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27"/>
  </p:notesMasterIdLst>
  <p:sldIdLst>
    <p:sldId id="379" r:id="rId3"/>
    <p:sldId id="256" r:id="rId4"/>
    <p:sldId id="276" r:id="rId5"/>
    <p:sldId id="277" r:id="rId6"/>
    <p:sldId id="278" r:id="rId7"/>
    <p:sldId id="279" r:id="rId8"/>
    <p:sldId id="280" r:id="rId9"/>
    <p:sldId id="257" r:id="rId10"/>
    <p:sldId id="281" r:id="rId11"/>
    <p:sldId id="282" r:id="rId12"/>
    <p:sldId id="283" r:id="rId13"/>
    <p:sldId id="284" r:id="rId14"/>
    <p:sldId id="285" r:id="rId15"/>
    <p:sldId id="258" r:id="rId16"/>
    <p:sldId id="286" r:id="rId17"/>
    <p:sldId id="287" r:id="rId18"/>
    <p:sldId id="288" r:id="rId19"/>
    <p:sldId id="289" r:id="rId20"/>
    <p:sldId id="290" r:id="rId21"/>
    <p:sldId id="259" r:id="rId22"/>
    <p:sldId id="291" r:id="rId23"/>
    <p:sldId id="292" r:id="rId24"/>
    <p:sldId id="293" r:id="rId25"/>
    <p:sldId id="294" r:id="rId26"/>
    <p:sldId id="295" r:id="rId27"/>
    <p:sldId id="260" r:id="rId28"/>
    <p:sldId id="296" r:id="rId29"/>
    <p:sldId id="297" r:id="rId30"/>
    <p:sldId id="298" r:id="rId31"/>
    <p:sldId id="299" r:id="rId32"/>
    <p:sldId id="300" r:id="rId33"/>
    <p:sldId id="261" r:id="rId34"/>
    <p:sldId id="301" r:id="rId35"/>
    <p:sldId id="302" r:id="rId36"/>
    <p:sldId id="303" r:id="rId37"/>
    <p:sldId id="304" r:id="rId38"/>
    <p:sldId id="305" r:id="rId39"/>
    <p:sldId id="262" r:id="rId40"/>
    <p:sldId id="306" r:id="rId41"/>
    <p:sldId id="307" r:id="rId42"/>
    <p:sldId id="308" r:id="rId43"/>
    <p:sldId id="309" r:id="rId44"/>
    <p:sldId id="310" r:id="rId45"/>
    <p:sldId id="263" r:id="rId46"/>
    <p:sldId id="311" r:id="rId47"/>
    <p:sldId id="312" r:id="rId48"/>
    <p:sldId id="313" r:id="rId49"/>
    <p:sldId id="314" r:id="rId50"/>
    <p:sldId id="315" r:id="rId51"/>
    <p:sldId id="264" r:id="rId52"/>
    <p:sldId id="316" r:id="rId53"/>
    <p:sldId id="317" r:id="rId54"/>
    <p:sldId id="318" r:id="rId55"/>
    <p:sldId id="319" r:id="rId56"/>
    <p:sldId id="320" r:id="rId57"/>
    <p:sldId id="265" r:id="rId58"/>
    <p:sldId id="321" r:id="rId59"/>
    <p:sldId id="322" r:id="rId60"/>
    <p:sldId id="323" r:id="rId61"/>
    <p:sldId id="324" r:id="rId62"/>
    <p:sldId id="325" r:id="rId63"/>
    <p:sldId id="266" r:id="rId64"/>
    <p:sldId id="326" r:id="rId65"/>
    <p:sldId id="327" r:id="rId66"/>
    <p:sldId id="328" r:id="rId67"/>
    <p:sldId id="329" r:id="rId68"/>
    <p:sldId id="330" r:id="rId69"/>
    <p:sldId id="331" r:id="rId70"/>
    <p:sldId id="267" r:id="rId71"/>
    <p:sldId id="332" r:id="rId72"/>
    <p:sldId id="333" r:id="rId73"/>
    <p:sldId id="334" r:id="rId74"/>
    <p:sldId id="335" r:id="rId75"/>
    <p:sldId id="336" r:id="rId76"/>
    <p:sldId id="268" r:id="rId77"/>
    <p:sldId id="337" r:id="rId78"/>
    <p:sldId id="338" r:id="rId79"/>
    <p:sldId id="339" r:id="rId80"/>
    <p:sldId id="340" r:id="rId81"/>
    <p:sldId id="341" r:id="rId82"/>
    <p:sldId id="269" r:id="rId83"/>
    <p:sldId id="342" r:id="rId84"/>
    <p:sldId id="343" r:id="rId85"/>
    <p:sldId id="344" r:id="rId86"/>
    <p:sldId id="345" r:id="rId87"/>
    <p:sldId id="346" r:id="rId88"/>
    <p:sldId id="270" r:id="rId89"/>
    <p:sldId id="347" r:id="rId90"/>
    <p:sldId id="348" r:id="rId91"/>
    <p:sldId id="349" r:id="rId92"/>
    <p:sldId id="350" r:id="rId93"/>
    <p:sldId id="351" r:id="rId94"/>
    <p:sldId id="271" r:id="rId95"/>
    <p:sldId id="352" r:id="rId96"/>
    <p:sldId id="353" r:id="rId97"/>
    <p:sldId id="354" r:id="rId98"/>
    <p:sldId id="355" r:id="rId99"/>
    <p:sldId id="356" r:id="rId100"/>
    <p:sldId id="272" r:id="rId101"/>
    <p:sldId id="357" r:id="rId102"/>
    <p:sldId id="358" r:id="rId103"/>
    <p:sldId id="359" r:id="rId104"/>
    <p:sldId id="360" r:id="rId105"/>
    <p:sldId id="361" r:id="rId106"/>
    <p:sldId id="274" r:id="rId107"/>
    <p:sldId id="362" r:id="rId108"/>
    <p:sldId id="363" r:id="rId109"/>
    <p:sldId id="364" r:id="rId110"/>
    <p:sldId id="365" r:id="rId111"/>
    <p:sldId id="366" r:id="rId112"/>
    <p:sldId id="367" r:id="rId113"/>
    <p:sldId id="275" r:id="rId114"/>
    <p:sldId id="368" r:id="rId115"/>
    <p:sldId id="369" r:id="rId116"/>
    <p:sldId id="370" r:id="rId117"/>
    <p:sldId id="371" r:id="rId118"/>
    <p:sldId id="372" r:id="rId119"/>
    <p:sldId id="273" r:id="rId120"/>
    <p:sldId id="373" r:id="rId121"/>
    <p:sldId id="374" r:id="rId122"/>
    <p:sldId id="375" r:id="rId123"/>
    <p:sldId id="376" r:id="rId124"/>
    <p:sldId id="377" r:id="rId125"/>
    <p:sldId id="380" r:id="rId12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95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>
        <p:scale>
          <a:sx n="100" d="100"/>
          <a:sy n="100" d="100"/>
        </p:scale>
        <p:origin x="1728" y="28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117" Type="http://schemas.openxmlformats.org/officeDocument/2006/relationships/slide" Target="slides/slide115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112" Type="http://schemas.openxmlformats.org/officeDocument/2006/relationships/slide" Target="slides/slide110.xml"/><Relationship Id="rId16" Type="http://schemas.openxmlformats.org/officeDocument/2006/relationships/slide" Target="slides/slide14.xml"/><Relationship Id="rId107" Type="http://schemas.openxmlformats.org/officeDocument/2006/relationships/slide" Target="slides/slide105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102" Type="http://schemas.openxmlformats.org/officeDocument/2006/relationships/slide" Target="slides/slide100.xml"/><Relationship Id="rId123" Type="http://schemas.openxmlformats.org/officeDocument/2006/relationships/slide" Target="slides/slide121.xml"/><Relationship Id="rId128" Type="http://schemas.openxmlformats.org/officeDocument/2006/relationships/presProps" Target="presProps.xml"/><Relationship Id="rId5" Type="http://schemas.openxmlformats.org/officeDocument/2006/relationships/slide" Target="slides/slide3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slide" Target="slides/slide103.xml"/><Relationship Id="rId113" Type="http://schemas.openxmlformats.org/officeDocument/2006/relationships/slide" Target="slides/slide111.xml"/><Relationship Id="rId118" Type="http://schemas.openxmlformats.org/officeDocument/2006/relationships/slide" Target="slides/slide116.xml"/><Relationship Id="rId126" Type="http://schemas.openxmlformats.org/officeDocument/2006/relationships/slide" Target="slides/slide124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121" Type="http://schemas.openxmlformats.org/officeDocument/2006/relationships/slide" Target="slides/slide11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103" Type="http://schemas.openxmlformats.org/officeDocument/2006/relationships/slide" Target="slides/slide101.xml"/><Relationship Id="rId108" Type="http://schemas.openxmlformats.org/officeDocument/2006/relationships/slide" Target="slides/slide106.xml"/><Relationship Id="rId116" Type="http://schemas.openxmlformats.org/officeDocument/2006/relationships/slide" Target="slides/slide114.xml"/><Relationship Id="rId124" Type="http://schemas.openxmlformats.org/officeDocument/2006/relationships/slide" Target="slides/slide122.xml"/><Relationship Id="rId129" Type="http://schemas.openxmlformats.org/officeDocument/2006/relationships/viewProps" Target="view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11" Type="http://schemas.openxmlformats.org/officeDocument/2006/relationships/slide" Target="slides/slide10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6" Type="http://schemas.openxmlformats.org/officeDocument/2006/relationships/slide" Target="slides/slide104.xml"/><Relationship Id="rId114" Type="http://schemas.openxmlformats.org/officeDocument/2006/relationships/slide" Target="slides/slide112.xml"/><Relationship Id="rId119" Type="http://schemas.openxmlformats.org/officeDocument/2006/relationships/slide" Target="slides/slide117.xml"/><Relationship Id="rId127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122" Type="http://schemas.openxmlformats.org/officeDocument/2006/relationships/slide" Target="slides/slide120.xml"/><Relationship Id="rId13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109" Type="http://schemas.openxmlformats.org/officeDocument/2006/relationships/slide" Target="slides/slide10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slide" Target="slides/slide102.xml"/><Relationship Id="rId120" Type="http://schemas.openxmlformats.org/officeDocument/2006/relationships/slide" Target="slides/slide118.xml"/><Relationship Id="rId125" Type="http://schemas.openxmlformats.org/officeDocument/2006/relationships/slide" Target="slides/slide123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110" Type="http://schemas.openxmlformats.org/officeDocument/2006/relationships/slide" Target="slides/slide108.xml"/><Relationship Id="rId115" Type="http://schemas.openxmlformats.org/officeDocument/2006/relationships/slide" Target="slides/slide113.xml"/><Relationship Id="rId131" Type="http://schemas.openxmlformats.org/officeDocument/2006/relationships/tableStyles" Target="tableStyles.xml"/><Relationship Id="rId61" Type="http://schemas.openxmlformats.org/officeDocument/2006/relationships/slide" Target="slides/slide59.xml"/><Relationship Id="rId82" Type="http://schemas.openxmlformats.org/officeDocument/2006/relationships/slide" Target="slides/slide8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7AECD3-DCF3-4896-A87A-7A367941190A}" type="datetimeFigureOut">
              <a:rPr lang="zh-CN" altLang="en-US" smtClean="0"/>
              <a:t>2021/1/1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62EEEB-9C8E-4D80-88FE-AF2D0DDA116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268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62EEEB-9C8E-4D80-88FE-AF2D0DDA1161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476000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62EEEB-9C8E-4D80-88FE-AF2D0DDA1161}" type="slidenum">
              <a:rPr lang="zh-CN" altLang="en-US" smtClean="0"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95781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62EEEB-9C8E-4D80-88FE-AF2D0DDA1161}" type="slidenum">
              <a:rPr lang="zh-CN" altLang="en-US" smtClean="0"/>
              <a:t>1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13927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BBA8ED5-6AE5-4069-B567-FE327BB74B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A4184A9B-30C3-47B8-88DC-66FF31CFEE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F3491EF2-E0FD-4C9A-B312-4E7486D1A0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2975B-8FC2-4841-AB96-D119D1B62E90}" type="datetimeFigureOut">
              <a:rPr lang="zh-CN" altLang="en-US" smtClean="0"/>
              <a:t>2021/1/1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2ACB6CB-40EC-4E37-8426-1D7F86DC1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142D16D-626D-434D-9D8E-B99DE06AF2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67D3ED-1FF4-41E6-8EAF-4AD21D7F0C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96303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978EA96-75CC-4D37-A4FC-ACE464C508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F004092D-B7EF-4066-82E5-AF715F7816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906948D-1DD5-4459-97DE-58A26FD26A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2975B-8FC2-4841-AB96-D119D1B62E90}" type="datetimeFigureOut">
              <a:rPr lang="zh-CN" altLang="en-US" smtClean="0"/>
              <a:t>2021/1/1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6DC2EEC-E662-4734-AA65-A3B17CFCF1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4614690-7B87-40FC-B449-A068374954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67D3ED-1FF4-41E6-8EAF-4AD21D7F0C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877628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6A90281E-1F29-4017-9384-17027BCD1C1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085A38AC-44A0-4341-9F72-0E5C1A2274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4AA32CE-49FF-40B6-9D05-7C4C696811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2975B-8FC2-4841-AB96-D119D1B62E90}" type="datetimeFigureOut">
              <a:rPr lang="zh-CN" altLang="en-US" smtClean="0"/>
              <a:t>2021/1/1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88DCDE0-2430-45D6-9CC1-C9B871376E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F0F8596-18C1-4068-880C-CC4E7168B6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67D3ED-1FF4-41E6-8EAF-4AD21D7F0C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28806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图片 75" descr="蓝色的截图&#10;&#10;描述已自动生成">
            <a:extLst>
              <a:ext uri="{FF2B5EF4-FFF2-40B4-BE49-F238E27FC236}">
                <a16:creationId xmlns:a16="http://schemas.microsoft.com/office/drawing/2014/main" id="{BA7FFBE1-A0E2-454F-BEDB-5138DDF021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3263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FB4FC6-9701-4F94-A89B-01F2DE912D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C4AF56A-DBD7-498D-9DD3-86BC3FB477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2802317-8671-460E-BD83-5E8924EE62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2975B-8FC2-4841-AB96-D119D1B62E90}" type="datetimeFigureOut">
              <a:rPr lang="zh-CN" altLang="en-US" smtClean="0"/>
              <a:t>2021/1/1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7E01F78-C42C-4727-8456-2DF4D25942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F81224E-FCFD-4F24-9DBC-8DF9B26CF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67D3ED-1FF4-41E6-8EAF-4AD21D7F0C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93161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151456-1B44-4781-8AEE-6814242BC5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E2ED9EA-8E3D-4C34-84F6-048BD203BC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ED4ADA7-9CBD-4307-8AFE-67565E77B7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2975B-8FC2-4841-AB96-D119D1B62E90}" type="datetimeFigureOut">
              <a:rPr lang="zh-CN" altLang="en-US" smtClean="0"/>
              <a:t>2021/1/1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E43C623-9800-40B3-B15D-672980189A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103A7BE-855B-42A3-ADFB-05368DEDE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67D3ED-1FF4-41E6-8EAF-4AD21D7F0C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05629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98E4234-96DA-4EEA-992C-2C7C113E83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CD80D7A-1957-4FD3-91B6-70AC1B26F6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85BA3F12-E849-4FCD-A3C7-9E183C5BB6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5EA5490-69A5-46F6-A23E-BF114AEB89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2975B-8FC2-4841-AB96-D119D1B62E90}" type="datetimeFigureOut">
              <a:rPr lang="zh-CN" altLang="en-US" smtClean="0"/>
              <a:t>2021/1/18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6BFF3A7-3A4D-4085-B19E-6EF2F6BE1F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BD0A7702-8125-4824-AD45-B358424A6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67D3ED-1FF4-41E6-8EAF-4AD21D7F0C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3475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31229D-7018-4F0F-8400-9259FF044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5FF5844-8EC9-4324-B17D-0702CB36C4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D43AAD44-1AF4-4169-B041-173EA7355F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81CAAF23-B7A3-491C-9D5D-575ACFEEB8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2D6591E5-A257-4161-81FC-DE10F6BA97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04F75EF9-F768-488E-97A6-3C7DCD904B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2975B-8FC2-4841-AB96-D119D1B62E90}" type="datetimeFigureOut">
              <a:rPr lang="zh-CN" altLang="en-US" smtClean="0"/>
              <a:t>2021/1/18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02CEC9B1-3F64-48A3-A9F5-559B64DF1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A51FACD1-384B-422D-A659-4328BF852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67D3ED-1FF4-41E6-8EAF-4AD21D7F0C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91287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0BEA878-AE86-41A2-8303-7D61DBE8D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6D5C91A0-5891-4FA7-9F73-E2ED1AEFAA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2975B-8FC2-4841-AB96-D119D1B62E90}" type="datetimeFigureOut">
              <a:rPr lang="zh-CN" altLang="en-US" smtClean="0"/>
              <a:t>2021/1/1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F50B1FF-155F-43C3-B3DD-DDB4FAE554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075A1C9F-5A8C-409F-B130-2ABDBA53C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67D3ED-1FF4-41E6-8EAF-4AD21D7F0C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34734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0C7ACE0C-9FC5-4053-8B7F-5ED094538F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2975B-8FC2-4841-AB96-D119D1B62E90}" type="datetimeFigureOut">
              <a:rPr lang="zh-CN" altLang="en-US" smtClean="0"/>
              <a:t>2021/1/18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3C66AA8-FB35-40F7-A7E6-891F4055D1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6AE0C94-7BCE-4330-A8B5-9A68A8F0B1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67D3ED-1FF4-41E6-8EAF-4AD21D7F0C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917595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9450066-033B-4FCA-9853-DA4165F6F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344A16B-5F56-4A36-A969-4FD24B35DE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B536CB81-1239-45DA-873F-07B79513D2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C2E2DB90-D81B-4364-A2FD-9DF4CAF1D1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2975B-8FC2-4841-AB96-D119D1B62E90}" type="datetimeFigureOut">
              <a:rPr lang="zh-CN" altLang="en-US" smtClean="0"/>
              <a:t>2021/1/18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3589D6BC-9092-403F-AC41-98DEEAB99A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31EF055-0AE3-46EA-B7A6-042CDFA76C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67D3ED-1FF4-41E6-8EAF-4AD21D7F0C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12297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E12D319-C1A8-4791-80F3-CE9F2BF78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8079E2BA-ED94-441A-942B-91476DCDB17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DB7457A3-C137-475D-8D42-8117CBD606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C699066-5E42-4799-9B9D-2779DACED7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2975B-8FC2-4841-AB96-D119D1B62E90}" type="datetimeFigureOut">
              <a:rPr lang="zh-CN" altLang="en-US" smtClean="0"/>
              <a:t>2021/1/18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5DF1D32-C25F-4D0D-9263-E26CAA34C9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C1ED4563-2092-469D-AB64-342492170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67D3ED-1FF4-41E6-8EAF-4AD21D7F0C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89544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4FE0DAD1-B6C2-4151-9ED7-932269A4B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2BDAF2E-A83B-480F-9D5E-F86291EB6D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9215D66-FC24-4666-9D15-6C9369F5B52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02975B-8FC2-4841-AB96-D119D1B62E90}" type="datetimeFigureOut">
              <a:rPr lang="zh-CN" altLang="en-US" smtClean="0"/>
              <a:t>2021/1/1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4A5340A-391F-48C3-BBA5-2018837EB6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8B2B4BC-958A-47D8-81C1-BCB3E758F9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67D3ED-1FF4-41E6-8EAF-4AD21D7F0CE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7457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93404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A2BECC-FDB1-4CF6-BEA7-2936A7C29BFA}" type="datetimeFigureOut">
              <a:rPr lang="zh-CN" altLang="en-US" smtClean="0"/>
              <a:t>2021/1/1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8FB1C0-F97D-4ACC-87A2-6B787DB9A25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0908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图形用户界面&#10;&#10;描述已自动生成">
            <a:extLst>
              <a:ext uri="{FF2B5EF4-FFF2-40B4-BE49-F238E27FC236}">
                <a16:creationId xmlns:a16="http://schemas.microsoft.com/office/drawing/2014/main" id="{A41D488E-E912-4859-B724-73E93DAB1B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3070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14">
            <a:extLst>
              <a:ext uri="{FF2B5EF4-FFF2-40B4-BE49-F238E27FC236}">
                <a16:creationId xmlns:a16="http://schemas.microsoft.com/office/drawing/2014/main" id="{B0B9BA47-2323-4DAD-AC4C-4CE27BF94904}"/>
              </a:ext>
            </a:extLst>
          </p:cNvPr>
          <p:cNvGrpSpPr/>
          <p:nvPr/>
        </p:nvGrpSpPr>
        <p:grpSpPr>
          <a:xfrm>
            <a:off x="2325719" y="2705128"/>
            <a:ext cx="3124066" cy="4022016"/>
            <a:chOff x="18746819" y="2705128"/>
            <a:chExt cx="3124066" cy="4022016"/>
          </a:xfrm>
        </p:grpSpPr>
        <p:grpSp>
          <p:nvGrpSpPr>
            <p:cNvPr id="3" name="图形 114">
              <a:extLst>
                <a:ext uri="{FF2B5EF4-FFF2-40B4-BE49-F238E27FC236}">
                  <a16:creationId xmlns:a16="http://schemas.microsoft.com/office/drawing/2014/main" id="{B1569195-AA32-4E10-B9B9-7F1164A70CE3}"/>
                </a:ext>
              </a:extLst>
            </p:cNvPr>
            <p:cNvGrpSpPr/>
            <p:nvPr/>
          </p:nvGrpSpPr>
          <p:grpSpPr>
            <a:xfrm>
              <a:off x="19084511" y="3842058"/>
              <a:ext cx="1267052" cy="2708603"/>
              <a:chOff x="19084511" y="3842058"/>
              <a:chExt cx="1267052" cy="2708603"/>
            </a:xfrm>
          </p:grpSpPr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5AFDC573-309E-4E2C-90DC-89B11317E04F}"/>
                  </a:ext>
                </a:extLst>
              </p:cNvPr>
              <p:cNvSpPr/>
              <p:nvPr/>
            </p:nvSpPr>
            <p:spPr>
              <a:xfrm rot="-10800000">
                <a:off x="19730106" y="5243830"/>
                <a:ext cx="122033" cy="1278305"/>
              </a:xfrm>
              <a:custGeom>
                <a:avLst/>
                <a:gdLst>
                  <a:gd name="connsiteX0" fmla="*/ -1 w 122033"/>
                  <a:gd name="connsiteY0" fmla="*/ 0 h 1278305"/>
                  <a:gd name="connsiteX1" fmla="*/ 122033 w 122033"/>
                  <a:gd name="connsiteY1" fmla="*/ 0 h 1278305"/>
                  <a:gd name="connsiteX2" fmla="*/ 122033 w 122033"/>
                  <a:gd name="connsiteY2" fmla="*/ 1278305 h 1278305"/>
                  <a:gd name="connsiteX3" fmla="*/ -1 w 122033"/>
                  <a:gd name="connsiteY3" fmla="*/ 1278305 h 1278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2033" h="1278305">
                    <a:moveTo>
                      <a:pt x="-1" y="0"/>
                    </a:moveTo>
                    <a:lnTo>
                      <a:pt x="122033" y="0"/>
                    </a:lnTo>
                    <a:lnTo>
                      <a:pt x="122033" y="1278305"/>
                    </a:lnTo>
                    <a:lnTo>
                      <a:pt x="-1" y="1278305"/>
                    </a:ln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B546F8E8-03AC-4CBB-A189-E8392189D4BD}"/>
                  </a:ext>
                </a:extLst>
              </p:cNvPr>
              <p:cNvSpPr/>
              <p:nvPr/>
            </p:nvSpPr>
            <p:spPr>
              <a:xfrm rot="-10800000">
                <a:off x="19461631" y="6495746"/>
                <a:ext cx="655932" cy="54915"/>
              </a:xfrm>
              <a:custGeom>
                <a:avLst/>
                <a:gdLst>
                  <a:gd name="connsiteX0" fmla="*/ 1 w 655932"/>
                  <a:gd name="connsiteY0" fmla="*/ 0 h 54915"/>
                  <a:gd name="connsiteX1" fmla="*/ 655933 w 655932"/>
                  <a:gd name="connsiteY1" fmla="*/ 0 h 54915"/>
                  <a:gd name="connsiteX2" fmla="*/ 655933 w 655932"/>
                  <a:gd name="connsiteY2" fmla="*/ 54915 h 54915"/>
                  <a:gd name="connsiteX3" fmla="*/ 1 w 655932"/>
                  <a:gd name="connsiteY3" fmla="*/ 54915 h 54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5932" h="54915">
                    <a:moveTo>
                      <a:pt x="1" y="0"/>
                    </a:moveTo>
                    <a:lnTo>
                      <a:pt x="655933" y="0"/>
                    </a:lnTo>
                    <a:lnTo>
                      <a:pt x="655933" y="54915"/>
                    </a:lnTo>
                    <a:lnTo>
                      <a:pt x="1" y="54915"/>
                    </a:ln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83680D4D-92B6-49E6-B2CC-864905EC2F92}"/>
                  </a:ext>
                </a:extLst>
              </p:cNvPr>
              <p:cNvSpPr/>
              <p:nvPr/>
            </p:nvSpPr>
            <p:spPr>
              <a:xfrm>
                <a:off x="19084511" y="3842058"/>
                <a:ext cx="961967" cy="1394237"/>
              </a:xfrm>
              <a:custGeom>
                <a:avLst/>
                <a:gdLst>
                  <a:gd name="connsiteX0" fmla="*/ 187052 w 961967"/>
                  <a:gd name="connsiteY0" fmla="*/ 1394237 h 1394237"/>
                  <a:gd name="connsiteX1" fmla="*/ 961968 w 961967"/>
                  <a:gd name="connsiteY1" fmla="*/ 1394237 h 1394237"/>
                  <a:gd name="connsiteX2" fmla="*/ 772815 w 961967"/>
                  <a:gd name="connsiteY2" fmla="*/ 109830 h 1394237"/>
                  <a:gd name="connsiteX3" fmla="*/ 644679 w 961967"/>
                  <a:gd name="connsiteY3" fmla="*/ 0 h 1394237"/>
                  <a:gd name="connsiteX4" fmla="*/ 129087 w 961967"/>
                  <a:gd name="connsiteY4" fmla="*/ 0 h 1394237"/>
                  <a:gd name="connsiteX5" fmla="*/ 951 w 961967"/>
                  <a:gd name="connsiteY5" fmla="*/ 146441 h 1394237"/>
                  <a:gd name="connsiteX6" fmla="*/ 187052 w 961967"/>
                  <a:gd name="connsiteY6" fmla="*/ 1394237 h 1394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61967" h="1394237">
                    <a:moveTo>
                      <a:pt x="187052" y="1394237"/>
                    </a:moveTo>
                    <a:lnTo>
                      <a:pt x="961968" y="1394237"/>
                    </a:lnTo>
                    <a:lnTo>
                      <a:pt x="772815" y="109830"/>
                    </a:lnTo>
                    <a:cubicBezTo>
                      <a:pt x="763663" y="45763"/>
                      <a:pt x="708748" y="0"/>
                      <a:pt x="644679" y="0"/>
                    </a:cubicBezTo>
                    <a:lnTo>
                      <a:pt x="129087" y="0"/>
                    </a:lnTo>
                    <a:cubicBezTo>
                      <a:pt x="49764" y="0"/>
                      <a:pt x="-8201" y="70169"/>
                      <a:pt x="951" y="146441"/>
                    </a:cubicBezTo>
                    <a:lnTo>
                      <a:pt x="187052" y="1394237"/>
                    </a:lnTo>
                    <a:close/>
                  </a:path>
                </a:pathLst>
              </a:custGeom>
              <a:solidFill>
                <a:srgbClr val="F1DDB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BC2C4E28-6A75-47B1-BE0C-F257C57C2219}"/>
                  </a:ext>
                </a:extLst>
              </p:cNvPr>
              <p:cNvSpPr/>
              <p:nvPr/>
            </p:nvSpPr>
            <p:spPr>
              <a:xfrm>
                <a:off x="19157732" y="3842058"/>
                <a:ext cx="961968" cy="1394237"/>
              </a:xfrm>
              <a:custGeom>
                <a:avLst/>
                <a:gdLst>
                  <a:gd name="connsiteX0" fmla="*/ 187052 w 961968"/>
                  <a:gd name="connsiteY0" fmla="*/ 1394237 h 1394237"/>
                  <a:gd name="connsiteX1" fmla="*/ 961968 w 961968"/>
                  <a:gd name="connsiteY1" fmla="*/ 1394237 h 1394237"/>
                  <a:gd name="connsiteX2" fmla="*/ 772815 w 961968"/>
                  <a:gd name="connsiteY2" fmla="*/ 109830 h 1394237"/>
                  <a:gd name="connsiteX3" fmla="*/ 644679 w 961968"/>
                  <a:gd name="connsiteY3" fmla="*/ 0 h 1394237"/>
                  <a:gd name="connsiteX4" fmla="*/ 129085 w 961968"/>
                  <a:gd name="connsiteY4" fmla="*/ 0 h 1394237"/>
                  <a:gd name="connsiteX5" fmla="*/ 951 w 961968"/>
                  <a:gd name="connsiteY5" fmla="*/ 146441 h 1394237"/>
                  <a:gd name="connsiteX6" fmla="*/ 187052 w 961968"/>
                  <a:gd name="connsiteY6" fmla="*/ 1394237 h 1394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61968" h="1394237">
                    <a:moveTo>
                      <a:pt x="187052" y="1394237"/>
                    </a:moveTo>
                    <a:lnTo>
                      <a:pt x="961968" y="1394237"/>
                    </a:lnTo>
                    <a:lnTo>
                      <a:pt x="772815" y="109830"/>
                    </a:lnTo>
                    <a:cubicBezTo>
                      <a:pt x="763663" y="45763"/>
                      <a:pt x="708747" y="0"/>
                      <a:pt x="644679" y="0"/>
                    </a:cubicBezTo>
                    <a:lnTo>
                      <a:pt x="129085" y="0"/>
                    </a:lnTo>
                    <a:cubicBezTo>
                      <a:pt x="49764" y="0"/>
                      <a:pt x="-8203" y="70169"/>
                      <a:pt x="951" y="146441"/>
                    </a:cubicBezTo>
                    <a:lnTo>
                      <a:pt x="187052" y="1394237"/>
                    </a:lnTo>
                    <a:close/>
                  </a:path>
                </a:pathLst>
              </a:custGeom>
              <a:solidFill>
                <a:srgbClr val="D3977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A9C02890-598D-4AE0-A457-3DEDD50C0D32}"/>
                  </a:ext>
                </a:extLst>
              </p:cNvPr>
              <p:cNvSpPr/>
              <p:nvPr/>
            </p:nvSpPr>
            <p:spPr>
              <a:xfrm>
                <a:off x="19170750" y="5111210"/>
                <a:ext cx="1119797" cy="213559"/>
              </a:xfrm>
              <a:custGeom>
                <a:avLst/>
                <a:gdLst>
                  <a:gd name="connsiteX0" fmla="*/ 103865 w 1119797"/>
                  <a:gd name="connsiteY0" fmla="*/ 213559 h 213559"/>
                  <a:gd name="connsiteX1" fmla="*/ 1013017 w 1119797"/>
                  <a:gd name="connsiteY1" fmla="*/ 213559 h 213559"/>
                  <a:gd name="connsiteX2" fmla="*/ 1119797 w 1119797"/>
                  <a:gd name="connsiteY2" fmla="*/ 106780 h 213559"/>
                  <a:gd name="connsiteX3" fmla="*/ 1119797 w 1119797"/>
                  <a:gd name="connsiteY3" fmla="*/ 106780 h 213559"/>
                  <a:gd name="connsiteX4" fmla="*/ 1013017 w 1119797"/>
                  <a:gd name="connsiteY4" fmla="*/ 0 h 213559"/>
                  <a:gd name="connsiteX5" fmla="*/ 106915 w 1119797"/>
                  <a:gd name="connsiteY5" fmla="*/ 0 h 213559"/>
                  <a:gd name="connsiteX6" fmla="*/ 136 w 1119797"/>
                  <a:gd name="connsiteY6" fmla="*/ 106780 h 213559"/>
                  <a:gd name="connsiteX7" fmla="*/ 136 w 1119797"/>
                  <a:gd name="connsiteY7" fmla="*/ 106780 h 213559"/>
                  <a:gd name="connsiteX8" fmla="*/ 103865 w 1119797"/>
                  <a:gd name="connsiteY8" fmla="*/ 213559 h 213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9797" h="213559">
                    <a:moveTo>
                      <a:pt x="103865" y="213559"/>
                    </a:moveTo>
                    <a:lnTo>
                      <a:pt x="1013017" y="213559"/>
                    </a:lnTo>
                    <a:cubicBezTo>
                      <a:pt x="1070984" y="213559"/>
                      <a:pt x="1119797" y="164746"/>
                      <a:pt x="1119797" y="106780"/>
                    </a:cubicBezTo>
                    <a:lnTo>
                      <a:pt x="1119797" y="106780"/>
                    </a:lnTo>
                    <a:cubicBezTo>
                      <a:pt x="1119797" y="48814"/>
                      <a:pt x="1070984" y="0"/>
                      <a:pt x="1013017" y="0"/>
                    </a:cubicBezTo>
                    <a:lnTo>
                      <a:pt x="106915" y="0"/>
                    </a:lnTo>
                    <a:cubicBezTo>
                      <a:pt x="48950" y="0"/>
                      <a:pt x="136" y="48814"/>
                      <a:pt x="136" y="106780"/>
                    </a:cubicBezTo>
                    <a:lnTo>
                      <a:pt x="136" y="106780"/>
                    </a:lnTo>
                    <a:cubicBezTo>
                      <a:pt x="-2914" y="164746"/>
                      <a:pt x="45898" y="213559"/>
                      <a:pt x="103865" y="213559"/>
                    </a:cubicBezTo>
                    <a:close/>
                  </a:path>
                </a:pathLst>
              </a:custGeom>
              <a:solidFill>
                <a:srgbClr val="F1DDB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011E998F-C232-4597-8A6A-27699E0CDA52}"/>
                  </a:ext>
                </a:extLst>
              </p:cNvPr>
              <p:cNvSpPr/>
              <p:nvPr/>
            </p:nvSpPr>
            <p:spPr>
              <a:xfrm>
                <a:off x="19231767" y="5111210"/>
                <a:ext cx="1119797" cy="213559"/>
              </a:xfrm>
              <a:custGeom>
                <a:avLst/>
                <a:gdLst>
                  <a:gd name="connsiteX0" fmla="*/ 103865 w 1119797"/>
                  <a:gd name="connsiteY0" fmla="*/ 213559 h 213559"/>
                  <a:gd name="connsiteX1" fmla="*/ 1013017 w 1119797"/>
                  <a:gd name="connsiteY1" fmla="*/ 213559 h 213559"/>
                  <a:gd name="connsiteX2" fmla="*/ 1119797 w 1119797"/>
                  <a:gd name="connsiteY2" fmla="*/ 106780 h 213559"/>
                  <a:gd name="connsiteX3" fmla="*/ 1119797 w 1119797"/>
                  <a:gd name="connsiteY3" fmla="*/ 106780 h 213559"/>
                  <a:gd name="connsiteX4" fmla="*/ 1013017 w 1119797"/>
                  <a:gd name="connsiteY4" fmla="*/ 0 h 213559"/>
                  <a:gd name="connsiteX5" fmla="*/ 106915 w 1119797"/>
                  <a:gd name="connsiteY5" fmla="*/ 0 h 213559"/>
                  <a:gd name="connsiteX6" fmla="*/ 136 w 1119797"/>
                  <a:gd name="connsiteY6" fmla="*/ 106780 h 213559"/>
                  <a:gd name="connsiteX7" fmla="*/ 136 w 1119797"/>
                  <a:gd name="connsiteY7" fmla="*/ 106780 h 213559"/>
                  <a:gd name="connsiteX8" fmla="*/ 103865 w 1119797"/>
                  <a:gd name="connsiteY8" fmla="*/ 213559 h 213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9797" h="213559">
                    <a:moveTo>
                      <a:pt x="103865" y="213559"/>
                    </a:moveTo>
                    <a:lnTo>
                      <a:pt x="1013017" y="213559"/>
                    </a:lnTo>
                    <a:cubicBezTo>
                      <a:pt x="1070984" y="213559"/>
                      <a:pt x="1119797" y="164746"/>
                      <a:pt x="1119797" y="106780"/>
                    </a:cubicBezTo>
                    <a:lnTo>
                      <a:pt x="1119797" y="106780"/>
                    </a:lnTo>
                    <a:cubicBezTo>
                      <a:pt x="1119797" y="48814"/>
                      <a:pt x="1070984" y="0"/>
                      <a:pt x="1013017" y="0"/>
                    </a:cubicBezTo>
                    <a:lnTo>
                      <a:pt x="106915" y="0"/>
                    </a:lnTo>
                    <a:cubicBezTo>
                      <a:pt x="48950" y="0"/>
                      <a:pt x="136" y="48814"/>
                      <a:pt x="136" y="106780"/>
                    </a:cubicBezTo>
                    <a:lnTo>
                      <a:pt x="136" y="106780"/>
                    </a:lnTo>
                    <a:cubicBezTo>
                      <a:pt x="-2914" y="164746"/>
                      <a:pt x="45898" y="213559"/>
                      <a:pt x="103865" y="213559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14">
              <a:extLst>
                <a:ext uri="{FF2B5EF4-FFF2-40B4-BE49-F238E27FC236}">
                  <a16:creationId xmlns:a16="http://schemas.microsoft.com/office/drawing/2014/main" id="{897ABF8C-9CAF-4CDC-9A59-CD2CB6C092FD}"/>
                </a:ext>
              </a:extLst>
            </p:cNvPr>
            <p:cNvGrpSpPr/>
            <p:nvPr/>
          </p:nvGrpSpPr>
          <p:grpSpPr>
            <a:xfrm>
              <a:off x="19601450" y="6078329"/>
              <a:ext cx="408418" cy="648815"/>
              <a:chOff x="19601450" y="6078329"/>
              <a:chExt cx="408418" cy="648815"/>
            </a:xfrm>
          </p:grpSpPr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C4DF1910-3C38-4A17-92F2-E3ABB7B123E0}"/>
                  </a:ext>
                </a:extLst>
              </p:cNvPr>
              <p:cNvSpPr/>
              <p:nvPr/>
            </p:nvSpPr>
            <p:spPr>
              <a:xfrm>
                <a:off x="19729190" y="6078329"/>
                <a:ext cx="280678" cy="268474"/>
              </a:xfrm>
              <a:custGeom>
                <a:avLst/>
                <a:gdLst>
                  <a:gd name="connsiteX0" fmla="*/ 36611 w 280678"/>
                  <a:gd name="connsiteY0" fmla="*/ 97627 h 268474"/>
                  <a:gd name="connsiteX1" fmla="*/ 219661 w 280678"/>
                  <a:gd name="connsiteY1" fmla="*/ 0 h 268474"/>
                  <a:gd name="connsiteX2" fmla="*/ 280678 w 280678"/>
                  <a:gd name="connsiteY2" fmla="*/ 167797 h 268474"/>
                  <a:gd name="connsiteX3" fmla="*/ 88475 w 280678"/>
                  <a:gd name="connsiteY3" fmla="*/ 268474 h 268474"/>
                  <a:gd name="connsiteX4" fmla="*/ 0 w 280678"/>
                  <a:gd name="connsiteY4" fmla="*/ 125084 h 268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0678" h="268474">
                    <a:moveTo>
                      <a:pt x="36611" y="97627"/>
                    </a:moveTo>
                    <a:lnTo>
                      <a:pt x="219661" y="0"/>
                    </a:lnTo>
                    <a:lnTo>
                      <a:pt x="280678" y="167797"/>
                    </a:lnTo>
                    <a:lnTo>
                      <a:pt x="88475" y="268474"/>
                    </a:lnTo>
                    <a:lnTo>
                      <a:pt x="0" y="125084"/>
                    </a:ln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7461FFED-08E8-4B14-85D0-18426B1DC204}"/>
                  </a:ext>
                </a:extLst>
              </p:cNvPr>
              <p:cNvSpPr/>
              <p:nvPr/>
            </p:nvSpPr>
            <p:spPr>
              <a:xfrm>
                <a:off x="19649869" y="6175956"/>
                <a:ext cx="231863" cy="533898"/>
              </a:xfrm>
              <a:custGeom>
                <a:avLst/>
                <a:gdLst>
                  <a:gd name="connsiteX0" fmla="*/ 115932 w 231863"/>
                  <a:gd name="connsiteY0" fmla="*/ 0 h 533898"/>
                  <a:gd name="connsiteX1" fmla="*/ 231864 w 231863"/>
                  <a:gd name="connsiteY1" fmla="*/ 161695 h 533898"/>
                  <a:gd name="connsiteX2" fmla="*/ 198305 w 231863"/>
                  <a:gd name="connsiteY2" fmla="*/ 329492 h 533898"/>
                  <a:gd name="connsiteX3" fmla="*/ 183051 w 231863"/>
                  <a:gd name="connsiteY3" fmla="*/ 533898 h 533898"/>
                  <a:gd name="connsiteX4" fmla="*/ 0 w 231863"/>
                  <a:gd name="connsiteY4" fmla="*/ 42712 h 533898"/>
                  <a:gd name="connsiteX5" fmla="*/ 115932 w 231863"/>
                  <a:gd name="connsiteY5" fmla="*/ 0 h 53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1863" h="533898">
                    <a:moveTo>
                      <a:pt x="115932" y="0"/>
                    </a:moveTo>
                    <a:cubicBezTo>
                      <a:pt x="115932" y="0"/>
                      <a:pt x="140338" y="122034"/>
                      <a:pt x="231864" y="161695"/>
                    </a:cubicBezTo>
                    <a:cubicBezTo>
                      <a:pt x="231864" y="161695"/>
                      <a:pt x="192203" y="280678"/>
                      <a:pt x="198305" y="329492"/>
                    </a:cubicBezTo>
                    <a:cubicBezTo>
                      <a:pt x="207457" y="378305"/>
                      <a:pt x="250170" y="494237"/>
                      <a:pt x="183051" y="533898"/>
                    </a:cubicBezTo>
                    <a:lnTo>
                      <a:pt x="0" y="42712"/>
                    </a:lnTo>
                    <a:cubicBezTo>
                      <a:pt x="0" y="42712"/>
                      <a:pt x="57967" y="0"/>
                      <a:pt x="115932" y="0"/>
                    </a:cubicBezTo>
                    <a:close/>
                  </a:path>
                </a:pathLst>
              </a:custGeom>
              <a:solidFill>
                <a:srgbClr val="F1DDB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6F1CBC06-D079-4DF3-8C3A-01CE72AB0478}"/>
                  </a:ext>
                </a:extLst>
              </p:cNvPr>
              <p:cNvSpPr/>
              <p:nvPr/>
            </p:nvSpPr>
            <p:spPr>
              <a:xfrm rot="-1225275">
                <a:off x="19691458" y="6210402"/>
                <a:ext cx="48810" cy="524716"/>
              </a:xfrm>
              <a:custGeom>
                <a:avLst/>
                <a:gdLst>
                  <a:gd name="connsiteX0" fmla="*/ 1 w 48810"/>
                  <a:gd name="connsiteY0" fmla="*/ 0 h 524716"/>
                  <a:gd name="connsiteX1" fmla="*/ 48811 w 48810"/>
                  <a:gd name="connsiteY1" fmla="*/ 0 h 524716"/>
                  <a:gd name="connsiteX2" fmla="*/ 48811 w 48810"/>
                  <a:gd name="connsiteY2" fmla="*/ 524716 h 524716"/>
                  <a:gd name="connsiteX3" fmla="*/ 1 w 48810"/>
                  <a:gd name="connsiteY3" fmla="*/ 524716 h 524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0" h="524716">
                    <a:moveTo>
                      <a:pt x="1" y="0"/>
                    </a:moveTo>
                    <a:lnTo>
                      <a:pt x="48811" y="0"/>
                    </a:lnTo>
                    <a:lnTo>
                      <a:pt x="48811" y="524716"/>
                    </a:lnTo>
                    <a:lnTo>
                      <a:pt x="1" y="524716"/>
                    </a:lnTo>
                    <a:close/>
                  </a:path>
                </a:pathLst>
              </a:custGeom>
              <a:solidFill>
                <a:srgbClr val="38333D"/>
              </a:solidFill>
              <a:ln w="305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B166E4D1-860B-4D68-84EA-8BCD1B66BD4D}"/>
                  </a:ext>
                </a:extLst>
              </p:cNvPr>
              <p:cNvSpPr/>
              <p:nvPr/>
            </p:nvSpPr>
            <p:spPr>
              <a:xfrm>
                <a:off x="19759698" y="6169854"/>
                <a:ext cx="128135" cy="170847"/>
              </a:xfrm>
              <a:custGeom>
                <a:avLst/>
                <a:gdLst>
                  <a:gd name="connsiteX0" fmla="*/ 122034 w 128135"/>
                  <a:gd name="connsiteY0" fmla="*/ 170847 h 170847"/>
                  <a:gd name="connsiteX1" fmla="*/ 122034 w 128135"/>
                  <a:gd name="connsiteY1" fmla="*/ 170847 h 170847"/>
                  <a:gd name="connsiteX2" fmla="*/ 0 w 128135"/>
                  <a:gd name="connsiteY2" fmla="*/ 6102 h 170847"/>
                  <a:gd name="connsiteX3" fmla="*/ 6102 w 128135"/>
                  <a:gd name="connsiteY3" fmla="*/ 0 h 170847"/>
                  <a:gd name="connsiteX4" fmla="*/ 12204 w 128135"/>
                  <a:gd name="connsiteY4" fmla="*/ 6102 h 170847"/>
                  <a:gd name="connsiteX5" fmla="*/ 125086 w 128135"/>
                  <a:gd name="connsiteY5" fmla="*/ 161695 h 170847"/>
                  <a:gd name="connsiteX6" fmla="*/ 128136 w 128135"/>
                  <a:gd name="connsiteY6" fmla="*/ 170847 h 170847"/>
                  <a:gd name="connsiteX7" fmla="*/ 122034 w 128135"/>
                  <a:gd name="connsiteY7" fmla="*/ 170847 h 170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8135" h="170847">
                    <a:moveTo>
                      <a:pt x="122034" y="170847"/>
                    </a:moveTo>
                    <a:cubicBezTo>
                      <a:pt x="122034" y="170847"/>
                      <a:pt x="118984" y="170847"/>
                      <a:pt x="122034" y="170847"/>
                    </a:cubicBezTo>
                    <a:cubicBezTo>
                      <a:pt x="24408" y="118983"/>
                      <a:pt x="3052" y="9152"/>
                      <a:pt x="0" y="6102"/>
                    </a:cubicBezTo>
                    <a:cubicBezTo>
                      <a:pt x="0" y="3051"/>
                      <a:pt x="3052" y="0"/>
                      <a:pt x="6102" y="0"/>
                    </a:cubicBezTo>
                    <a:cubicBezTo>
                      <a:pt x="9154" y="0"/>
                      <a:pt x="12204" y="3051"/>
                      <a:pt x="12204" y="6102"/>
                    </a:cubicBezTo>
                    <a:cubicBezTo>
                      <a:pt x="12204" y="6102"/>
                      <a:pt x="33560" y="115932"/>
                      <a:pt x="125086" y="161695"/>
                    </a:cubicBezTo>
                    <a:cubicBezTo>
                      <a:pt x="128136" y="164746"/>
                      <a:pt x="128136" y="167797"/>
                      <a:pt x="128136" y="170847"/>
                    </a:cubicBezTo>
                    <a:cubicBezTo>
                      <a:pt x="125086" y="170847"/>
                      <a:pt x="125086" y="170847"/>
                      <a:pt x="122034" y="17084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75CF8B0E-6DEF-4946-9068-848A754E8FFE}"/>
                  </a:ext>
                </a:extLst>
              </p:cNvPr>
              <p:cNvSpPr/>
              <p:nvPr/>
            </p:nvSpPr>
            <p:spPr>
              <a:xfrm>
                <a:off x="19822503" y="6359007"/>
                <a:ext cx="51341" cy="30508"/>
              </a:xfrm>
              <a:custGeom>
                <a:avLst/>
                <a:gdLst>
                  <a:gd name="connsiteX0" fmla="*/ 43975 w 51341"/>
                  <a:gd name="connsiteY0" fmla="*/ 30508 h 30508"/>
                  <a:gd name="connsiteX1" fmla="*/ 43975 w 51341"/>
                  <a:gd name="connsiteY1" fmla="*/ 30508 h 30508"/>
                  <a:gd name="connsiteX2" fmla="*/ 4314 w 51341"/>
                  <a:gd name="connsiteY2" fmla="*/ 12203 h 30508"/>
                  <a:gd name="connsiteX3" fmla="*/ 1264 w 51341"/>
                  <a:gd name="connsiteY3" fmla="*/ 3051 h 30508"/>
                  <a:gd name="connsiteX4" fmla="*/ 10416 w 51341"/>
                  <a:gd name="connsiteY4" fmla="*/ 0 h 30508"/>
                  <a:gd name="connsiteX5" fmla="*/ 47027 w 51341"/>
                  <a:gd name="connsiteY5" fmla="*/ 15254 h 30508"/>
                  <a:gd name="connsiteX6" fmla="*/ 50077 w 51341"/>
                  <a:gd name="connsiteY6" fmla="*/ 24407 h 30508"/>
                  <a:gd name="connsiteX7" fmla="*/ 43975 w 51341"/>
                  <a:gd name="connsiteY7" fmla="*/ 30508 h 30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341" h="30508">
                    <a:moveTo>
                      <a:pt x="43975" y="30508"/>
                    </a:moveTo>
                    <a:cubicBezTo>
                      <a:pt x="43975" y="30508"/>
                      <a:pt x="43975" y="30508"/>
                      <a:pt x="43975" y="30508"/>
                    </a:cubicBezTo>
                    <a:lnTo>
                      <a:pt x="4314" y="12203"/>
                    </a:lnTo>
                    <a:cubicBezTo>
                      <a:pt x="1264" y="12203"/>
                      <a:pt x="-1788" y="6102"/>
                      <a:pt x="1264" y="3051"/>
                    </a:cubicBezTo>
                    <a:cubicBezTo>
                      <a:pt x="1264" y="0"/>
                      <a:pt x="7366" y="0"/>
                      <a:pt x="10416" y="0"/>
                    </a:cubicBezTo>
                    <a:lnTo>
                      <a:pt x="47027" y="15254"/>
                    </a:lnTo>
                    <a:cubicBezTo>
                      <a:pt x="50077" y="15254"/>
                      <a:pt x="53129" y="21356"/>
                      <a:pt x="50077" y="24407"/>
                    </a:cubicBezTo>
                    <a:cubicBezTo>
                      <a:pt x="50077" y="27457"/>
                      <a:pt x="47027" y="30508"/>
                      <a:pt x="43975" y="305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F0A51A79-2632-4779-8032-65BA79445BD4}"/>
                  </a:ext>
                </a:extLst>
              </p:cNvPr>
              <p:cNvSpPr/>
              <p:nvPr/>
            </p:nvSpPr>
            <p:spPr>
              <a:xfrm>
                <a:off x="19810300" y="6407820"/>
                <a:ext cx="51341" cy="30508"/>
              </a:xfrm>
              <a:custGeom>
                <a:avLst/>
                <a:gdLst>
                  <a:gd name="connsiteX0" fmla="*/ 43976 w 51341"/>
                  <a:gd name="connsiteY0" fmla="*/ 30508 h 30508"/>
                  <a:gd name="connsiteX1" fmla="*/ 43976 w 51341"/>
                  <a:gd name="connsiteY1" fmla="*/ 30508 h 30508"/>
                  <a:gd name="connsiteX2" fmla="*/ 4315 w 51341"/>
                  <a:gd name="connsiteY2" fmla="*/ 12204 h 30508"/>
                  <a:gd name="connsiteX3" fmla="*/ 1263 w 51341"/>
                  <a:gd name="connsiteY3" fmla="*/ 3051 h 30508"/>
                  <a:gd name="connsiteX4" fmla="*/ 10416 w 51341"/>
                  <a:gd name="connsiteY4" fmla="*/ 0 h 30508"/>
                  <a:gd name="connsiteX5" fmla="*/ 47026 w 51341"/>
                  <a:gd name="connsiteY5" fmla="*/ 15254 h 30508"/>
                  <a:gd name="connsiteX6" fmla="*/ 50078 w 51341"/>
                  <a:gd name="connsiteY6" fmla="*/ 24407 h 30508"/>
                  <a:gd name="connsiteX7" fmla="*/ 43976 w 51341"/>
                  <a:gd name="connsiteY7" fmla="*/ 30508 h 30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341" h="30508">
                    <a:moveTo>
                      <a:pt x="43976" y="30508"/>
                    </a:moveTo>
                    <a:cubicBezTo>
                      <a:pt x="43976" y="30508"/>
                      <a:pt x="43976" y="30508"/>
                      <a:pt x="43976" y="30508"/>
                    </a:cubicBezTo>
                    <a:lnTo>
                      <a:pt x="4315" y="12204"/>
                    </a:lnTo>
                    <a:cubicBezTo>
                      <a:pt x="1263" y="12204"/>
                      <a:pt x="-1787" y="6102"/>
                      <a:pt x="1263" y="3051"/>
                    </a:cubicBezTo>
                    <a:cubicBezTo>
                      <a:pt x="1263" y="0"/>
                      <a:pt x="7365" y="0"/>
                      <a:pt x="10416" y="0"/>
                    </a:cubicBezTo>
                    <a:lnTo>
                      <a:pt x="47026" y="15254"/>
                    </a:lnTo>
                    <a:cubicBezTo>
                      <a:pt x="50078" y="15254"/>
                      <a:pt x="53128" y="21356"/>
                      <a:pt x="50078" y="24407"/>
                    </a:cubicBezTo>
                    <a:cubicBezTo>
                      <a:pt x="50078" y="30508"/>
                      <a:pt x="47026" y="30508"/>
                      <a:pt x="43976" y="305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68D0B12C-5709-4F66-8460-4D35B4926063}"/>
                </a:ext>
              </a:extLst>
            </p:cNvPr>
            <p:cNvSpPr/>
            <p:nvPr/>
          </p:nvSpPr>
          <p:spPr>
            <a:xfrm>
              <a:off x="20345462" y="3851210"/>
              <a:ext cx="720001" cy="741405"/>
            </a:xfrm>
            <a:custGeom>
              <a:avLst/>
              <a:gdLst>
                <a:gd name="connsiteX0" fmla="*/ 289831 w 720001"/>
                <a:gd name="connsiteY0" fmla="*/ 0 h 741405"/>
                <a:gd name="connsiteX1" fmla="*/ 414916 w 720001"/>
                <a:gd name="connsiteY1" fmla="*/ 363051 h 741405"/>
                <a:gd name="connsiteX2" fmla="*/ 677289 w 720001"/>
                <a:gd name="connsiteY2" fmla="*/ 45763 h 741405"/>
                <a:gd name="connsiteX3" fmla="*/ 720001 w 720001"/>
                <a:gd name="connsiteY3" fmla="*/ 192203 h 741405"/>
                <a:gd name="connsiteX4" fmla="*/ 350847 w 720001"/>
                <a:gd name="connsiteY4" fmla="*/ 741356 h 741405"/>
                <a:gd name="connsiteX5" fmla="*/ 0 w 720001"/>
                <a:gd name="connsiteY5" fmla="*/ 97627 h 741405"/>
                <a:gd name="connsiteX6" fmla="*/ 289831 w 720001"/>
                <a:gd name="connsiteY6" fmla="*/ 0 h 741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0001" h="741405">
                  <a:moveTo>
                    <a:pt x="289831" y="0"/>
                  </a:moveTo>
                  <a:lnTo>
                    <a:pt x="414916" y="363051"/>
                  </a:lnTo>
                  <a:lnTo>
                    <a:pt x="677289" y="45763"/>
                  </a:lnTo>
                  <a:lnTo>
                    <a:pt x="720001" y="192203"/>
                  </a:lnTo>
                  <a:cubicBezTo>
                    <a:pt x="720001" y="192203"/>
                    <a:pt x="509492" y="747458"/>
                    <a:pt x="350847" y="741356"/>
                  </a:cubicBezTo>
                  <a:cubicBezTo>
                    <a:pt x="222711" y="735254"/>
                    <a:pt x="0" y="97627"/>
                    <a:pt x="0" y="97627"/>
                  </a:cubicBezTo>
                  <a:lnTo>
                    <a:pt x="289831" y="0"/>
                  </a:ln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14">
              <a:extLst>
                <a:ext uri="{FF2B5EF4-FFF2-40B4-BE49-F238E27FC236}">
                  <a16:creationId xmlns:a16="http://schemas.microsoft.com/office/drawing/2014/main" id="{C42F8481-5CEE-410E-96FB-43AC2DB1DC96}"/>
                </a:ext>
              </a:extLst>
            </p:cNvPr>
            <p:cNvGrpSpPr/>
            <p:nvPr/>
          </p:nvGrpSpPr>
          <p:grpSpPr>
            <a:xfrm>
              <a:off x="20793936" y="6276634"/>
              <a:ext cx="549152" cy="375254"/>
              <a:chOff x="20793936" y="6276634"/>
              <a:chExt cx="549152" cy="375254"/>
            </a:xfrm>
          </p:grpSpPr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FB893421-CC19-46B3-9754-30CD0B452BC7}"/>
                  </a:ext>
                </a:extLst>
              </p:cNvPr>
              <p:cNvSpPr/>
              <p:nvPr/>
            </p:nvSpPr>
            <p:spPr>
              <a:xfrm>
                <a:off x="20793936" y="6276634"/>
                <a:ext cx="207457" cy="247118"/>
              </a:xfrm>
              <a:custGeom>
                <a:avLst/>
                <a:gdLst>
                  <a:gd name="connsiteX0" fmla="*/ 24406 w 207457"/>
                  <a:gd name="connsiteY0" fmla="*/ 204407 h 247118"/>
                  <a:gd name="connsiteX1" fmla="*/ 0 w 207457"/>
                  <a:gd name="connsiteY1" fmla="*/ 0 h 247118"/>
                  <a:gd name="connsiteX2" fmla="*/ 176949 w 207457"/>
                  <a:gd name="connsiteY2" fmla="*/ 0 h 247118"/>
                  <a:gd name="connsiteX3" fmla="*/ 207457 w 207457"/>
                  <a:gd name="connsiteY3" fmla="*/ 213559 h 247118"/>
                  <a:gd name="connsiteX4" fmla="*/ 39661 w 207457"/>
                  <a:gd name="connsiteY4" fmla="*/ 247118 h 247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7457" h="247118">
                    <a:moveTo>
                      <a:pt x="24406" y="204407"/>
                    </a:moveTo>
                    <a:lnTo>
                      <a:pt x="0" y="0"/>
                    </a:lnTo>
                    <a:lnTo>
                      <a:pt x="176949" y="0"/>
                    </a:lnTo>
                    <a:lnTo>
                      <a:pt x="207457" y="213559"/>
                    </a:lnTo>
                    <a:lnTo>
                      <a:pt x="39661" y="247118"/>
                    </a:ln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1366C418-1248-488D-AFC9-A05A2559A86F}"/>
                  </a:ext>
                </a:extLst>
              </p:cNvPr>
              <p:cNvSpPr/>
              <p:nvPr/>
            </p:nvSpPr>
            <p:spPr>
              <a:xfrm>
                <a:off x="20810208" y="6429176"/>
                <a:ext cx="532881" cy="176948"/>
              </a:xfrm>
              <a:custGeom>
                <a:avLst/>
                <a:gdLst>
                  <a:gd name="connsiteX0" fmla="*/ 8135 w 532881"/>
                  <a:gd name="connsiteY0" fmla="*/ 51864 h 176948"/>
                  <a:gd name="connsiteX1" fmla="*/ 200338 w 532881"/>
                  <a:gd name="connsiteY1" fmla="*/ 0 h 176948"/>
                  <a:gd name="connsiteX2" fmla="*/ 346780 w 532881"/>
                  <a:gd name="connsiteY2" fmla="*/ 88474 h 176948"/>
                  <a:gd name="connsiteX3" fmla="*/ 532881 w 532881"/>
                  <a:gd name="connsiteY3" fmla="*/ 176949 h 176948"/>
                  <a:gd name="connsiteX4" fmla="*/ 8135 w 532881"/>
                  <a:gd name="connsiteY4" fmla="*/ 176949 h 176948"/>
                  <a:gd name="connsiteX5" fmla="*/ 8135 w 532881"/>
                  <a:gd name="connsiteY5" fmla="*/ 51864 h 176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2881" h="176948">
                    <a:moveTo>
                      <a:pt x="8135" y="51864"/>
                    </a:moveTo>
                    <a:cubicBezTo>
                      <a:pt x="8135" y="51864"/>
                      <a:pt x="130169" y="73220"/>
                      <a:pt x="200338" y="0"/>
                    </a:cubicBezTo>
                    <a:cubicBezTo>
                      <a:pt x="200338" y="0"/>
                      <a:pt x="297966" y="79322"/>
                      <a:pt x="346780" y="88474"/>
                    </a:cubicBezTo>
                    <a:cubicBezTo>
                      <a:pt x="395593" y="97627"/>
                      <a:pt x="517627" y="97627"/>
                      <a:pt x="532881" y="176949"/>
                    </a:cubicBezTo>
                    <a:lnTo>
                      <a:pt x="8135" y="176949"/>
                    </a:lnTo>
                    <a:cubicBezTo>
                      <a:pt x="8135" y="173898"/>
                      <a:pt x="-10169" y="106780"/>
                      <a:pt x="8135" y="51864"/>
                    </a:cubicBezTo>
                    <a:close/>
                  </a:path>
                </a:pathLst>
              </a:custGeom>
              <a:solidFill>
                <a:srgbClr val="F1DDB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3F1779F6-AE34-4386-8E2F-04BD047F3B59}"/>
                  </a:ext>
                </a:extLst>
              </p:cNvPr>
              <p:cNvSpPr/>
              <p:nvPr/>
            </p:nvSpPr>
            <p:spPr>
              <a:xfrm>
                <a:off x="20818343" y="6603075"/>
                <a:ext cx="524745" cy="48813"/>
              </a:xfrm>
              <a:custGeom>
                <a:avLst/>
                <a:gdLst>
                  <a:gd name="connsiteX0" fmla="*/ 0 w 524745"/>
                  <a:gd name="connsiteY0" fmla="*/ 0 h 48813"/>
                  <a:gd name="connsiteX1" fmla="*/ 524746 w 524745"/>
                  <a:gd name="connsiteY1" fmla="*/ 0 h 48813"/>
                  <a:gd name="connsiteX2" fmla="*/ 524746 w 524745"/>
                  <a:gd name="connsiteY2" fmla="*/ 48814 h 48813"/>
                  <a:gd name="connsiteX3" fmla="*/ 0 w 524745"/>
                  <a:gd name="connsiteY3" fmla="*/ 48814 h 48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4745" h="48813">
                    <a:moveTo>
                      <a:pt x="0" y="0"/>
                    </a:moveTo>
                    <a:lnTo>
                      <a:pt x="524746" y="0"/>
                    </a:lnTo>
                    <a:lnTo>
                      <a:pt x="524746" y="48814"/>
                    </a:lnTo>
                    <a:lnTo>
                      <a:pt x="0" y="48814"/>
                    </a:lnTo>
                    <a:close/>
                  </a:path>
                </a:pathLst>
              </a:custGeom>
              <a:solidFill>
                <a:srgbClr val="38333D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27491CDB-0B5C-4A5D-BC86-F5C0DB4B4DB6}"/>
                  </a:ext>
                </a:extLst>
              </p:cNvPr>
              <p:cNvSpPr/>
              <p:nvPr/>
            </p:nvSpPr>
            <p:spPr>
              <a:xfrm>
                <a:off x="20812241" y="6417735"/>
                <a:ext cx="203644" cy="69406"/>
              </a:xfrm>
              <a:custGeom>
                <a:avLst/>
                <a:gdLst>
                  <a:gd name="connsiteX0" fmla="*/ 42713 w 203644"/>
                  <a:gd name="connsiteY0" fmla="*/ 69407 h 69406"/>
                  <a:gd name="connsiteX1" fmla="*/ 6102 w 203644"/>
                  <a:gd name="connsiteY1" fmla="*/ 66356 h 69406"/>
                  <a:gd name="connsiteX2" fmla="*/ 0 w 203644"/>
                  <a:gd name="connsiteY2" fmla="*/ 60254 h 69406"/>
                  <a:gd name="connsiteX3" fmla="*/ 6102 w 203644"/>
                  <a:gd name="connsiteY3" fmla="*/ 54153 h 69406"/>
                  <a:gd name="connsiteX4" fmla="*/ 192205 w 203644"/>
                  <a:gd name="connsiteY4" fmla="*/ 2288 h 69406"/>
                  <a:gd name="connsiteX5" fmla="*/ 201357 w 203644"/>
                  <a:gd name="connsiteY5" fmla="*/ 2288 h 69406"/>
                  <a:gd name="connsiteX6" fmla="*/ 201357 w 203644"/>
                  <a:gd name="connsiteY6" fmla="*/ 11441 h 69406"/>
                  <a:gd name="connsiteX7" fmla="*/ 42713 w 203644"/>
                  <a:gd name="connsiteY7" fmla="*/ 69407 h 69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3644" h="69406">
                    <a:moveTo>
                      <a:pt x="42713" y="69407"/>
                    </a:moveTo>
                    <a:cubicBezTo>
                      <a:pt x="21356" y="69407"/>
                      <a:pt x="9154" y="66356"/>
                      <a:pt x="6102" y="66356"/>
                    </a:cubicBezTo>
                    <a:cubicBezTo>
                      <a:pt x="3052" y="66356"/>
                      <a:pt x="0" y="63305"/>
                      <a:pt x="0" y="60254"/>
                    </a:cubicBezTo>
                    <a:cubicBezTo>
                      <a:pt x="0" y="57204"/>
                      <a:pt x="3052" y="54153"/>
                      <a:pt x="6102" y="54153"/>
                    </a:cubicBezTo>
                    <a:cubicBezTo>
                      <a:pt x="6102" y="54153"/>
                      <a:pt x="115934" y="72458"/>
                      <a:pt x="192205" y="2288"/>
                    </a:cubicBezTo>
                    <a:cubicBezTo>
                      <a:pt x="195255" y="-763"/>
                      <a:pt x="198305" y="-763"/>
                      <a:pt x="201357" y="2288"/>
                    </a:cubicBezTo>
                    <a:cubicBezTo>
                      <a:pt x="204407" y="5339"/>
                      <a:pt x="204407" y="8390"/>
                      <a:pt x="201357" y="11441"/>
                    </a:cubicBezTo>
                    <a:cubicBezTo>
                      <a:pt x="149492" y="63305"/>
                      <a:pt x="82373" y="69407"/>
                      <a:pt x="42713" y="694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7134277A-7B76-4EF3-AA1D-5E49E950BDC8}"/>
                  </a:ext>
                </a:extLst>
              </p:cNvPr>
              <p:cNvSpPr/>
              <p:nvPr/>
            </p:nvSpPr>
            <p:spPr>
              <a:xfrm>
                <a:off x="21014360" y="6448244"/>
                <a:ext cx="41185" cy="44999"/>
              </a:xfrm>
              <a:custGeom>
                <a:avLst/>
                <a:gdLst>
                  <a:gd name="connsiteX0" fmla="*/ 5340 w 41185"/>
                  <a:gd name="connsiteY0" fmla="*/ 45000 h 44999"/>
                  <a:gd name="connsiteX1" fmla="*/ 2288 w 41185"/>
                  <a:gd name="connsiteY1" fmla="*/ 41949 h 44999"/>
                  <a:gd name="connsiteX2" fmla="*/ 2288 w 41185"/>
                  <a:gd name="connsiteY2" fmla="*/ 32797 h 44999"/>
                  <a:gd name="connsiteX3" fmla="*/ 29746 w 41185"/>
                  <a:gd name="connsiteY3" fmla="*/ 2288 h 44999"/>
                  <a:gd name="connsiteX4" fmla="*/ 38898 w 41185"/>
                  <a:gd name="connsiteY4" fmla="*/ 2288 h 44999"/>
                  <a:gd name="connsiteX5" fmla="*/ 38898 w 41185"/>
                  <a:gd name="connsiteY5" fmla="*/ 11441 h 44999"/>
                  <a:gd name="connsiteX6" fmla="*/ 11440 w 41185"/>
                  <a:gd name="connsiteY6" fmla="*/ 41949 h 44999"/>
                  <a:gd name="connsiteX7" fmla="*/ 5340 w 41185"/>
                  <a:gd name="connsiteY7" fmla="*/ 45000 h 44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185" h="44999">
                    <a:moveTo>
                      <a:pt x="5340" y="45000"/>
                    </a:moveTo>
                    <a:cubicBezTo>
                      <a:pt x="2288" y="45000"/>
                      <a:pt x="2288" y="45000"/>
                      <a:pt x="2288" y="41949"/>
                    </a:cubicBezTo>
                    <a:cubicBezTo>
                      <a:pt x="-763" y="38898"/>
                      <a:pt x="-763" y="35847"/>
                      <a:pt x="2288" y="32797"/>
                    </a:cubicBezTo>
                    <a:lnTo>
                      <a:pt x="29746" y="2288"/>
                    </a:lnTo>
                    <a:cubicBezTo>
                      <a:pt x="32796" y="-763"/>
                      <a:pt x="35848" y="-763"/>
                      <a:pt x="38898" y="2288"/>
                    </a:cubicBezTo>
                    <a:cubicBezTo>
                      <a:pt x="41948" y="5339"/>
                      <a:pt x="41948" y="8390"/>
                      <a:pt x="38898" y="11441"/>
                    </a:cubicBezTo>
                    <a:lnTo>
                      <a:pt x="11440" y="41949"/>
                    </a:lnTo>
                    <a:cubicBezTo>
                      <a:pt x="8390" y="45000"/>
                      <a:pt x="8390" y="45000"/>
                      <a:pt x="5340" y="450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E824D14F-D017-43F8-86AA-2EF3C693F031}"/>
                  </a:ext>
                </a:extLst>
              </p:cNvPr>
              <p:cNvSpPr/>
              <p:nvPr/>
            </p:nvSpPr>
            <p:spPr>
              <a:xfrm>
                <a:off x="21057072" y="6478752"/>
                <a:ext cx="41187" cy="44999"/>
              </a:xfrm>
              <a:custGeom>
                <a:avLst/>
                <a:gdLst>
                  <a:gd name="connsiteX0" fmla="*/ 5339 w 41187"/>
                  <a:gd name="connsiteY0" fmla="*/ 45000 h 44999"/>
                  <a:gd name="connsiteX1" fmla="*/ 2289 w 41187"/>
                  <a:gd name="connsiteY1" fmla="*/ 41949 h 44999"/>
                  <a:gd name="connsiteX2" fmla="*/ 2289 w 41187"/>
                  <a:gd name="connsiteY2" fmla="*/ 32797 h 44999"/>
                  <a:gd name="connsiteX3" fmla="*/ 29745 w 41187"/>
                  <a:gd name="connsiteY3" fmla="*/ 2288 h 44999"/>
                  <a:gd name="connsiteX4" fmla="*/ 38900 w 41187"/>
                  <a:gd name="connsiteY4" fmla="*/ 2288 h 44999"/>
                  <a:gd name="connsiteX5" fmla="*/ 38900 w 41187"/>
                  <a:gd name="connsiteY5" fmla="*/ 11441 h 44999"/>
                  <a:gd name="connsiteX6" fmla="*/ 11441 w 41187"/>
                  <a:gd name="connsiteY6" fmla="*/ 41949 h 44999"/>
                  <a:gd name="connsiteX7" fmla="*/ 5339 w 41187"/>
                  <a:gd name="connsiteY7" fmla="*/ 45000 h 44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187" h="44999">
                    <a:moveTo>
                      <a:pt x="5339" y="45000"/>
                    </a:moveTo>
                    <a:cubicBezTo>
                      <a:pt x="2289" y="45000"/>
                      <a:pt x="2289" y="45000"/>
                      <a:pt x="2289" y="41949"/>
                    </a:cubicBezTo>
                    <a:cubicBezTo>
                      <a:pt x="-763" y="38898"/>
                      <a:pt x="-763" y="35847"/>
                      <a:pt x="2289" y="32797"/>
                    </a:cubicBezTo>
                    <a:lnTo>
                      <a:pt x="29745" y="2288"/>
                    </a:lnTo>
                    <a:cubicBezTo>
                      <a:pt x="32797" y="-763"/>
                      <a:pt x="35848" y="-763"/>
                      <a:pt x="38900" y="2288"/>
                    </a:cubicBezTo>
                    <a:cubicBezTo>
                      <a:pt x="41950" y="5339"/>
                      <a:pt x="41950" y="8390"/>
                      <a:pt x="38900" y="11441"/>
                    </a:cubicBezTo>
                    <a:lnTo>
                      <a:pt x="11441" y="41949"/>
                    </a:lnTo>
                    <a:cubicBezTo>
                      <a:pt x="8391" y="45000"/>
                      <a:pt x="8391" y="45000"/>
                      <a:pt x="5339" y="450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BFA31BDD-9CD7-4D8B-A89E-5EF492085340}"/>
                </a:ext>
              </a:extLst>
            </p:cNvPr>
            <p:cNvSpPr/>
            <p:nvPr/>
          </p:nvSpPr>
          <p:spPr>
            <a:xfrm>
              <a:off x="19459557" y="4763413"/>
              <a:ext cx="1105760" cy="1601694"/>
            </a:xfrm>
            <a:custGeom>
              <a:avLst/>
              <a:gdLst>
                <a:gd name="connsiteX0" fmla="*/ 19464 w 1105760"/>
                <a:gd name="connsiteY0" fmla="*/ 0 h 1601694"/>
                <a:gd name="connsiteX1" fmla="*/ 22515 w 1105760"/>
                <a:gd name="connsiteY1" fmla="*/ 341695 h 1601694"/>
                <a:gd name="connsiteX2" fmla="*/ 678447 w 1105760"/>
                <a:gd name="connsiteY2" fmla="*/ 802373 h 1601694"/>
                <a:gd name="connsiteX3" fmla="*/ 333701 w 1105760"/>
                <a:gd name="connsiteY3" fmla="*/ 1314916 h 1601694"/>
                <a:gd name="connsiteX4" fmla="*/ 553363 w 1105760"/>
                <a:gd name="connsiteY4" fmla="*/ 1601695 h 1601694"/>
                <a:gd name="connsiteX5" fmla="*/ 1105565 w 1105760"/>
                <a:gd name="connsiteY5" fmla="*/ 771865 h 1601694"/>
                <a:gd name="connsiteX6" fmla="*/ 519802 w 1105760"/>
                <a:gd name="connsiteY6" fmla="*/ 61017 h 1601694"/>
                <a:gd name="connsiteX7" fmla="*/ 19464 w 1105760"/>
                <a:gd name="connsiteY7" fmla="*/ 0 h 1601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5760" h="1601694">
                  <a:moveTo>
                    <a:pt x="19464" y="0"/>
                  </a:moveTo>
                  <a:cubicBezTo>
                    <a:pt x="19464" y="0"/>
                    <a:pt x="-26298" y="228814"/>
                    <a:pt x="22515" y="341695"/>
                  </a:cubicBezTo>
                  <a:cubicBezTo>
                    <a:pt x="68277" y="454576"/>
                    <a:pt x="638786" y="765763"/>
                    <a:pt x="678447" y="802373"/>
                  </a:cubicBezTo>
                  <a:cubicBezTo>
                    <a:pt x="644888" y="893898"/>
                    <a:pt x="333701" y="1314916"/>
                    <a:pt x="333701" y="1314916"/>
                  </a:cubicBezTo>
                  <a:cubicBezTo>
                    <a:pt x="333701" y="1314916"/>
                    <a:pt x="409973" y="1455254"/>
                    <a:pt x="553363" y="1601695"/>
                  </a:cubicBezTo>
                  <a:cubicBezTo>
                    <a:pt x="553363" y="1601695"/>
                    <a:pt x="1117770" y="918305"/>
                    <a:pt x="1105565" y="771865"/>
                  </a:cubicBezTo>
                  <a:cubicBezTo>
                    <a:pt x="1084209" y="512542"/>
                    <a:pt x="586921" y="76271"/>
                    <a:pt x="519802" y="61017"/>
                  </a:cubicBezTo>
                  <a:cubicBezTo>
                    <a:pt x="455735" y="48814"/>
                    <a:pt x="19464" y="0"/>
                    <a:pt x="19464" y="0"/>
                  </a:cubicBez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B4ABD12D-40A1-4A65-A1D0-8B5F6D72B1D3}"/>
                </a:ext>
              </a:extLst>
            </p:cNvPr>
            <p:cNvSpPr/>
            <p:nvPr/>
          </p:nvSpPr>
          <p:spPr>
            <a:xfrm>
              <a:off x="19848174" y="4797581"/>
              <a:ext cx="1201978" cy="1616340"/>
            </a:xfrm>
            <a:custGeom>
              <a:avLst/>
              <a:gdLst>
                <a:gd name="connsiteX0" fmla="*/ 0 w 1201978"/>
                <a:gd name="connsiteY0" fmla="*/ 11595 h 1616340"/>
                <a:gd name="connsiteX1" fmla="*/ 152542 w 1201978"/>
                <a:gd name="connsiteY1" fmla="*/ 307527 h 1616340"/>
                <a:gd name="connsiteX2" fmla="*/ 793220 w 1201978"/>
                <a:gd name="connsiteY2" fmla="*/ 633968 h 1616340"/>
                <a:gd name="connsiteX3" fmla="*/ 896950 w 1201978"/>
                <a:gd name="connsiteY3" fmla="*/ 1616341 h 1616340"/>
                <a:gd name="connsiteX4" fmla="*/ 1186780 w 1201978"/>
                <a:gd name="connsiteY4" fmla="*/ 1585832 h 1616340"/>
                <a:gd name="connsiteX5" fmla="*/ 1177626 w 1201978"/>
                <a:gd name="connsiteY5" fmla="*/ 472273 h 1616340"/>
                <a:gd name="connsiteX6" fmla="*/ 616272 w 1201978"/>
                <a:gd name="connsiteY6" fmla="*/ 5493 h 1616340"/>
                <a:gd name="connsiteX7" fmla="*/ 0 w 1201978"/>
                <a:gd name="connsiteY7" fmla="*/ 11595 h 1616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1978" h="1616340">
                  <a:moveTo>
                    <a:pt x="0" y="11595"/>
                  </a:moveTo>
                  <a:cubicBezTo>
                    <a:pt x="0" y="11595"/>
                    <a:pt x="106780" y="194646"/>
                    <a:pt x="152542" y="307527"/>
                  </a:cubicBezTo>
                  <a:cubicBezTo>
                    <a:pt x="198305" y="420408"/>
                    <a:pt x="765762" y="579052"/>
                    <a:pt x="793220" y="633968"/>
                  </a:cubicBezTo>
                  <a:cubicBezTo>
                    <a:pt x="820679" y="688883"/>
                    <a:pt x="896950" y="1616341"/>
                    <a:pt x="896950" y="1616341"/>
                  </a:cubicBezTo>
                  <a:cubicBezTo>
                    <a:pt x="896950" y="1616341"/>
                    <a:pt x="1107457" y="1613290"/>
                    <a:pt x="1186780" y="1585832"/>
                  </a:cubicBezTo>
                  <a:cubicBezTo>
                    <a:pt x="1186780" y="1585832"/>
                    <a:pt x="1226441" y="722442"/>
                    <a:pt x="1177626" y="472273"/>
                  </a:cubicBezTo>
                  <a:cubicBezTo>
                    <a:pt x="1150170" y="328883"/>
                    <a:pt x="683391" y="20747"/>
                    <a:pt x="616272" y="5493"/>
                  </a:cubicBezTo>
                  <a:cubicBezTo>
                    <a:pt x="552203" y="-9761"/>
                    <a:pt x="0" y="11595"/>
                    <a:pt x="0" y="11595"/>
                  </a:cubicBez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F4F11103-04D6-4B3D-A328-1376260FAACC}"/>
                </a:ext>
              </a:extLst>
            </p:cNvPr>
            <p:cNvSpPr/>
            <p:nvPr/>
          </p:nvSpPr>
          <p:spPr>
            <a:xfrm>
              <a:off x="20159361" y="4976973"/>
              <a:ext cx="336789" cy="375254"/>
            </a:xfrm>
            <a:custGeom>
              <a:avLst/>
              <a:gdLst>
                <a:gd name="connsiteX0" fmla="*/ 329491 w 336789"/>
                <a:gd name="connsiteY0" fmla="*/ 375254 h 375254"/>
                <a:gd name="connsiteX1" fmla="*/ 323389 w 336789"/>
                <a:gd name="connsiteY1" fmla="*/ 372203 h 375254"/>
                <a:gd name="connsiteX2" fmla="*/ 3050 w 336789"/>
                <a:gd name="connsiteY2" fmla="*/ 12203 h 375254"/>
                <a:gd name="connsiteX3" fmla="*/ 0 w 336789"/>
                <a:gd name="connsiteY3" fmla="*/ 3051 h 375254"/>
                <a:gd name="connsiteX4" fmla="*/ 9152 w 336789"/>
                <a:gd name="connsiteY4" fmla="*/ 0 h 375254"/>
                <a:gd name="connsiteX5" fmla="*/ 335593 w 336789"/>
                <a:gd name="connsiteY5" fmla="*/ 363051 h 375254"/>
                <a:gd name="connsiteX6" fmla="*/ 329491 w 336789"/>
                <a:gd name="connsiteY6" fmla="*/ 375254 h 375254"/>
                <a:gd name="connsiteX7" fmla="*/ 329491 w 336789"/>
                <a:gd name="connsiteY7" fmla="*/ 375254 h 37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6789" h="375254">
                  <a:moveTo>
                    <a:pt x="329491" y="375254"/>
                  </a:moveTo>
                  <a:cubicBezTo>
                    <a:pt x="326441" y="375254"/>
                    <a:pt x="326441" y="375254"/>
                    <a:pt x="323389" y="372203"/>
                  </a:cubicBezTo>
                  <a:cubicBezTo>
                    <a:pt x="323389" y="369153"/>
                    <a:pt x="216609" y="155593"/>
                    <a:pt x="3050" y="12203"/>
                  </a:cubicBezTo>
                  <a:cubicBezTo>
                    <a:pt x="0" y="9153"/>
                    <a:pt x="0" y="6102"/>
                    <a:pt x="0" y="3051"/>
                  </a:cubicBezTo>
                  <a:cubicBezTo>
                    <a:pt x="3050" y="0"/>
                    <a:pt x="6102" y="0"/>
                    <a:pt x="9152" y="0"/>
                  </a:cubicBezTo>
                  <a:cubicBezTo>
                    <a:pt x="225762" y="143390"/>
                    <a:pt x="332541" y="360000"/>
                    <a:pt x="335593" y="363051"/>
                  </a:cubicBezTo>
                  <a:cubicBezTo>
                    <a:pt x="338643" y="369153"/>
                    <a:pt x="335593" y="375254"/>
                    <a:pt x="329491" y="375254"/>
                  </a:cubicBezTo>
                  <a:cubicBezTo>
                    <a:pt x="332541" y="375254"/>
                    <a:pt x="332541" y="375254"/>
                    <a:pt x="329491" y="375254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60526B47-AAC3-41FB-8425-DAE55A8F7A1D}"/>
                </a:ext>
              </a:extLst>
            </p:cNvPr>
            <p:cNvSpPr/>
            <p:nvPr/>
          </p:nvSpPr>
          <p:spPr>
            <a:xfrm>
              <a:off x="19848174" y="3262397"/>
              <a:ext cx="250169" cy="258417"/>
            </a:xfrm>
            <a:custGeom>
              <a:avLst/>
              <a:gdLst>
                <a:gd name="connsiteX0" fmla="*/ 250170 w 250169"/>
                <a:gd name="connsiteY0" fmla="*/ 39661 h 258417"/>
                <a:gd name="connsiteX1" fmla="*/ 244068 w 250169"/>
                <a:gd name="connsiteY1" fmla="*/ 213559 h 258417"/>
                <a:gd name="connsiteX2" fmla="*/ 0 w 250169"/>
                <a:gd name="connsiteY2" fmla="*/ 204407 h 258417"/>
                <a:gd name="connsiteX3" fmla="*/ 15254 w 250169"/>
                <a:gd name="connsiteY3" fmla="*/ 0 h 258417"/>
                <a:gd name="connsiteX4" fmla="*/ 250170 w 250169"/>
                <a:gd name="connsiteY4" fmla="*/ 39661 h 25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69" h="258417">
                  <a:moveTo>
                    <a:pt x="250170" y="39661"/>
                  </a:moveTo>
                  <a:cubicBezTo>
                    <a:pt x="250170" y="39661"/>
                    <a:pt x="244068" y="140339"/>
                    <a:pt x="244068" y="213559"/>
                  </a:cubicBezTo>
                  <a:cubicBezTo>
                    <a:pt x="244068" y="213559"/>
                    <a:pt x="149492" y="320339"/>
                    <a:pt x="0" y="204407"/>
                  </a:cubicBezTo>
                  <a:cubicBezTo>
                    <a:pt x="0" y="143390"/>
                    <a:pt x="12204" y="64068"/>
                    <a:pt x="15254" y="0"/>
                  </a:cubicBezTo>
                  <a:cubicBezTo>
                    <a:pt x="12204" y="0"/>
                    <a:pt x="198305" y="51864"/>
                    <a:pt x="250170" y="39661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1389EA81-E071-40B5-8EC1-04BAB46744A6}"/>
                </a:ext>
              </a:extLst>
            </p:cNvPr>
            <p:cNvSpPr/>
            <p:nvPr/>
          </p:nvSpPr>
          <p:spPr>
            <a:xfrm>
              <a:off x="19408851" y="3424091"/>
              <a:ext cx="1058183" cy="1507491"/>
            </a:xfrm>
            <a:custGeom>
              <a:avLst/>
              <a:gdLst>
                <a:gd name="connsiteX0" fmla="*/ 421018 w 1058183"/>
                <a:gd name="connsiteY0" fmla="*/ 0 h 1507491"/>
                <a:gd name="connsiteX1" fmla="*/ 710849 w 1058183"/>
                <a:gd name="connsiteY1" fmla="*/ 0 h 1507491"/>
                <a:gd name="connsiteX2" fmla="*/ 1009832 w 1058183"/>
                <a:gd name="connsiteY2" fmla="*/ 131187 h 1507491"/>
                <a:gd name="connsiteX3" fmla="*/ 1055594 w 1058183"/>
                <a:gd name="connsiteY3" fmla="*/ 1378983 h 1507491"/>
                <a:gd name="connsiteX4" fmla="*/ 0 w 1058183"/>
                <a:gd name="connsiteY4" fmla="*/ 1476610 h 1507491"/>
                <a:gd name="connsiteX5" fmla="*/ 137288 w 1058183"/>
                <a:gd name="connsiteY5" fmla="*/ 106780 h 1507491"/>
                <a:gd name="connsiteX6" fmla="*/ 421018 w 1058183"/>
                <a:gd name="connsiteY6" fmla="*/ 0 h 1507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8183" h="1507491">
                  <a:moveTo>
                    <a:pt x="421018" y="0"/>
                  </a:moveTo>
                  <a:cubicBezTo>
                    <a:pt x="421018" y="0"/>
                    <a:pt x="594915" y="54915"/>
                    <a:pt x="710849" y="0"/>
                  </a:cubicBezTo>
                  <a:cubicBezTo>
                    <a:pt x="710849" y="0"/>
                    <a:pt x="985425" y="97627"/>
                    <a:pt x="1009832" y="131187"/>
                  </a:cubicBezTo>
                  <a:cubicBezTo>
                    <a:pt x="1034238" y="161695"/>
                    <a:pt x="1067797" y="1311864"/>
                    <a:pt x="1055594" y="1378983"/>
                  </a:cubicBezTo>
                  <a:cubicBezTo>
                    <a:pt x="1055594" y="1378983"/>
                    <a:pt x="579661" y="1583390"/>
                    <a:pt x="0" y="1476610"/>
                  </a:cubicBezTo>
                  <a:cubicBezTo>
                    <a:pt x="0" y="1119661"/>
                    <a:pt x="97627" y="137288"/>
                    <a:pt x="137288" y="106780"/>
                  </a:cubicBezTo>
                  <a:cubicBezTo>
                    <a:pt x="183051" y="70170"/>
                    <a:pt x="421018" y="0"/>
                    <a:pt x="421018" y="0"/>
                  </a:cubicBezTo>
                  <a:close/>
                </a:path>
              </a:pathLst>
            </a:custGeom>
            <a:solidFill>
              <a:srgbClr val="F6EBE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30B6857A-DC82-410D-A09A-CA469CE515BB}"/>
                </a:ext>
              </a:extLst>
            </p:cNvPr>
            <p:cNvSpPr/>
            <p:nvPr/>
          </p:nvSpPr>
          <p:spPr>
            <a:xfrm>
              <a:off x="20260658" y="3514051"/>
              <a:ext cx="450905" cy="611734"/>
            </a:xfrm>
            <a:custGeom>
              <a:avLst/>
              <a:gdLst>
                <a:gd name="connsiteX0" fmla="*/ 63447 w 450905"/>
                <a:gd name="connsiteY0" fmla="*/ 611735 h 611734"/>
                <a:gd name="connsiteX1" fmla="*/ 51245 w 450905"/>
                <a:gd name="connsiteY1" fmla="*/ 10718 h 611734"/>
                <a:gd name="connsiteX2" fmla="*/ 450905 w 450905"/>
                <a:gd name="connsiteY2" fmla="*/ 443938 h 611734"/>
                <a:gd name="connsiteX3" fmla="*/ 63447 w 450905"/>
                <a:gd name="connsiteY3" fmla="*/ 611735 h 611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0905" h="611734">
                  <a:moveTo>
                    <a:pt x="63447" y="611735"/>
                  </a:moveTo>
                  <a:cubicBezTo>
                    <a:pt x="63447" y="611735"/>
                    <a:pt x="-70789" y="90040"/>
                    <a:pt x="51245" y="10718"/>
                  </a:cubicBezTo>
                  <a:cubicBezTo>
                    <a:pt x="194635" y="-80807"/>
                    <a:pt x="450905" y="443938"/>
                    <a:pt x="450905" y="443938"/>
                  </a:cubicBezTo>
                  <a:cubicBezTo>
                    <a:pt x="450905" y="443938"/>
                    <a:pt x="277007" y="593430"/>
                    <a:pt x="63447" y="611735"/>
                  </a:cubicBezTo>
                  <a:close/>
                </a:path>
              </a:pathLst>
            </a:custGeom>
            <a:solidFill>
              <a:srgbClr val="F6EBE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D10EA864-87C3-4DA2-9B73-1CFFFCE1B420}"/>
                </a:ext>
              </a:extLst>
            </p:cNvPr>
            <p:cNvSpPr/>
            <p:nvPr/>
          </p:nvSpPr>
          <p:spPr>
            <a:xfrm>
              <a:off x="20412581" y="3549176"/>
              <a:ext cx="53128" cy="552203"/>
            </a:xfrm>
            <a:custGeom>
              <a:avLst/>
              <a:gdLst>
                <a:gd name="connsiteX0" fmla="*/ 48813 w 53128"/>
                <a:gd name="connsiteY0" fmla="*/ 552203 h 552203"/>
                <a:gd name="connsiteX1" fmla="*/ 42713 w 53128"/>
                <a:gd name="connsiteY1" fmla="*/ 546102 h 552203"/>
                <a:gd name="connsiteX2" fmla="*/ 0 w 53128"/>
                <a:gd name="connsiteY2" fmla="*/ 6102 h 552203"/>
                <a:gd name="connsiteX3" fmla="*/ 3050 w 53128"/>
                <a:gd name="connsiteY3" fmla="*/ 0 h 552203"/>
                <a:gd name="connsiteX4" fmla="*/ 9152 w 53128"/>
                <a:gd name="connsiteY4" fmla="*/ 3051 h 552203"/>
                <a:gd name="connsiteX5" fmla="*/ 51865 w 53128"/>
                <a:gd name="connsiteY5" fmla="*/ 546102 h 552203"/>
                <a:gd name="connsiteX6" fmla="*/ 48813 w 53128"/>
                <a:gd name="connsiteY6" fmla="*/ 552203 h 552203"/>
                <a:gd name="connsiteX7" fmla="*/ 48813 w 53128"/>
                <a:gd name="connsiteY7" fmla="*/ 552203 h 552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128" h="552203">
                  <a:moveTo>
                    <a:pt x="48813" y="552203"/>
                  </a:moveTo>
                  <a:cubicBezTo>
                    <a:pt x="45763" y="552203"/>
                    <a:pt x="42713" y="549152"/>
                    <a:pt x="42713" y="546102"/>
                  </a:cubicBezTo>
                  <a:cubicBezTo>
                    <a:pt x="42713" y="540000"/>
                    <a:pt x="6102" y="45763"/>
                    <a:pt x="0" y="6102"/>
                  </a:cubicBezTo>
                  <a:cubicBezTo>
                    <a:pt x="0" y="3051"/>
                    <a:pt x="0" y="0"/>
                    <a:pt x="3050" y="0"/>
                  </a:cubicBezTo>
                  <a:cubicBezTo>
                    <a:pt x="6102" y="0"/>
                    <a:pt x="9152" y="0"/>
                    <a:pt x="9152" y="3051"/>
                  </a:cubicBezTo>
                  <a:cubicBezTo>
                    <a:pt x="18304" y="42712"/>
                    <a:pt x="51865" y="524746"/>
                    <a:pt x="51865" y="546102"/>
                  </a:cubicBezTo>
                  <a:cubicBezTo>
                    <a:pt x="54915" y="549152"/>
                    <a:pt x="51865" y="552203"/>
                    <a:pt x="48813" y="552203"/>
                  </a:cubicBezTo>
                  <a:cubicBezTo>
                    <a:pt x="48813" y="552203"/>
                    <a:pt x="48813" y="552203"/>
                    <a:pt x="48813" y="552203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4" name="图形 114">
              <a:extLst>
                <a:ext uri="{FF2B5EF4-FFF2-40B4-BE49-F238E27FC236}">
                  <a16:creationId xmlns:a16="http://schemas.microsoft.com/office/drawing/2014/main" id="{FDCFF91C-88D2-4910-BA6B-DEBC43608752}"/>
                </a:ext>
              </a:extLst>
            </p:cNvPr>
            <p:cNvGrpSpPr/>
            <p:nvPr/>
          </p:nvGrpSpPr>
          <p:grpSpPr>
            <a:xfrm>
              <a:off x="18746819" y="4592566"/>
              <a:ext cx="3124066" cy="2028813"/>
              <a:chOff x="18746819" y="4592566"/>
              <a:chExt cx="3124066" cy="2028813"/>
            </a:xfrm>
          </p:grpSpPr>
          <p:grpSp>
            <p:nvGrpSpPr>
              <p:cNvPr id="53" name="图形 114">
                <a:extLst>
                  <a:ext uri="{FF2B5EF4-FFF2-40B4-BE49-F238E27FC236}">
                    <a16:creationId xmlns:a16="http://schemas.microsoft.com/office/drawing/2014/main" id="{1B1FE868-4099-42BF-A68A-CE3579B23B46}"/>
                  </a:ext>
                </a:extLst>
              </p:cNvPr>
              <p:cNvGrpSpPr/>
              <p:nvPr/>
            </p:nvGrpSpPr>
            <p:grpSpPr>
              <a:xfrm>
                <a:off x="18746819" y="4693244"/>
                <a:ext cx="3121016" cy="1928135"/>
                <a:chOff x="18746819" y="4693244"/>
                <a:chExt cx="3121016" cy="1928135"/>
              </a:xfrm>
              <a:solidFill>
                <a:srgbClr val="38343B"/>
              </a:solidFill>
            </p:grpSpPr>
            <p:sp>
              <p:nvSpPr>
                <p:cNvPr id="55" name="任意多边形: 形状 54">
                  <a:extLst>
                    <a:ext uri="{FF2B5EF4-FFF2-40B4-BE49-F238E27FC236}">
                      <a16:creationId xmlns:a16="http://schemas.microsoft.com/office/drawing/2014/main" id="{C7DD978D-89FE-4C6A-9430-6B6D635F75E1}"/>
                    </a:ext>
                  </a:extLst>
                </p:cNvPr>
                <p:cNvSpPr/>
                <p:nvPr/>
              </p:nvSpPr>
              <p:spPr>
                <a:xfrm>
                  <a:off x="21434614" y="4693244"/>
                  <a:ext cx="433220" cy="1928135"/>
                </a:xfrm>
                <a:custGeom>
                  <a:avLst/>
                  <a:gdLst>
                    <a:gd name="connsiteX0" fmla="*/ 372204 w 433220"/>
                    <a:gd name="connsiteY0" fmla="*/ 1928136 h 1928135"/>
                    <a:gd name="connsiteX1" fmla="*/ 433221 w 433220"/>
                    <a:gd name="connsiteY1" fmla="*/ 1928136 h 1928135"/>
                    <a:gd name="connsiteX2" fmla="*/ 61017 w 433220"/>
                    <a:gd name="connsiteY2" fmla="*/ 0 h 1928135"/>
                    <a:gd name="connsiteX3" fmla="*/ 0 w 433220"/>
                    <a:gd name="connsiteY3" fmla="*/ 0 h 1928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3220" h="1928135">
                      <a:moveTo>
                        <a:pt x="372204" y="1928136"/>
                      </a:moveTo>
                      <a:lnTo>
                        <a:pt x="433221" y="1928136"/>
                      </a:lnTo>
                      <a:lnTo>
                        <a:pt x="610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8343B"/>
                </a:solidFill>
                <a:ln w="305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6" name="任意多边形: 形状 55">
                  <a:extLst>
                    <a:ext uri="{FF2B5EF4-FFF2-40B4-BE49-F238E27FC236}">
                      <a16:creationId xmlns:a16="http://schemas.microsoft.com/office/drawing/2014/main" id="{5B9AB775-E907-44E3-903F-CB0648B6DB4B}"/>
                    </a:ext>
                  </a:extLst>
                </p:cNvPr>
                <p:cNvSpPr/>
                <p:nvPr/>
              </p:nvSpPr>
              <p:spPr>
                <a:xfrm>
                  <a:off x="18746819" y="4693244"/>
                  <a:ext cx="430168" cy="1928135"/>
                </a:xfrm>
                <a:custGeom>
                  <a:avLst/>
                  <a:gdLst>
                    <a:gd name="connsiteX0" fmla="*/ 57965 w 430168"/>
                    <a:gd name="connsiteY0" fmla="*/ 1928136 h 1928135"/>
                    <a:gd name="connsiteX1" fmla="*/ 0 w 430168"/>
                    <a:gd name="connsiteY1" fmla="*/ 1928136 h 1928135"/>
                    <a:gd name="connsiteX2" fmla="*/ 372202 w 430168"/>
                    <a:gd name="connsiteY2" fmla="*/ 0 h 1928135"/>
                    <a:gd name="connsiteX3" fmla="*/ 430169 w 430168"/>
                    <a:gd name="connsiteY3" fmla="*/ 0 h 1928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0168" h="1928135">
                      <a:moveTo>
                        <a:pt x="57965" y="1928136"/>
                      </a:moveTo>
                      <a:lnTo>
                        <a:pt x="0" y="1928136"/>
                      </a:lnTo>
                      <a:lnTo>
                        <a:pt x="372202" y="0"/>
                      </a:lnTo>
                      <a:lnTo>
                        <a:pt x="430169" y="0"/>
                      </a:lnTo>
                      <a:close/>
                    </a:path>
                  </a:pathLst>
                </a:custGeom>
                <a:solidFill>
                  <a:srgbClr val="38343B"/>
                </a:solidFill>
                <a:ln w="305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DAA012E5-077B-4FFE-AC6A-8518F5359821}"/>
                  </a:ext>
                </a:extLst>
              </p:cNvPr>
              <p:cNvSpPr/>
              <p:nvPr/>
            </p:nvSpPr>
            <p:spPr>
              <a:xfrm>
                <a:off x="18746819" y="4592566"/>
                <a:ext cx="3124066" cy="128135"/>
              </a:xfrm>
              <a:custGeom>
                <a:avLst/>
                <a:gdLst>
                  <a:gd name="connsiteX0" fmla="*/ 128134 w 3124066"/>
                  <a:gd name="connsiteY0" fmla="*/ 128136 h 128135"/>
                  <a:gd name="connsiteX1" fmla="*/ 2995931 w 3124066"/>
                  <a:gd name="connsiteY1" fmla="*/ 128136 h 128135"/>
                  <a:gd name="connsiteX2" fmla="*/ 3124067 w 3124066"/>
                  <a:gd name="connsiteY2" fmla="*/ 0 h 128135"/>
                  <a:gd name="connsiteX3" fmla="*/ 3124067 w 3124066"/>
                  <a:gd name="connsiteY3" fmla="*/ 0 h 128135"/>
                  <a:gd name="connsiteX4" fmla="*/ 0 w 3124066"/>
                  <a:gd name="connsiteY4" fmla="*/ 0 h 128135"/>
                  <a:gd name="connsiteX5" fmla="*/ 0 w 3124066"/>
                  <a:gd name="connsiteY5" fmla="*/ 0 h 128135"/>
                  <a:gd name="connsiteX6" fmla="*/ 128134 w 3124066"/>
                  <a:gd name="connsiteY6" fmla="*/ 128136 h 128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24066" h="128135">
                    <a:moveTo>
                      <a:pt x="128134" y="128136"/>
                    </a:moveTo>
                    <a:lnTo>
                      <a:pt x="2995931" y="128136"/>
                    </a:lnTo>
                    <a:cubicBezTo>
                      <a:pt x="3066102" y="128136"/>
                      <a:pt x="3124067" y="70169"/>
                      <a:pt x="3124067" y="0"/>
                    </a:cubicBezTo>
                    <a:lnTo>
                      <a:pt x="3124067" y="0"/>
                    </a:lnTo>
                    <a:lnTo>
                      <a:pt x="0" y="0"/>
                    </a:lnTo>
                    <a:lnTo>
                      <a:pt x="0" y="0"/>
                    </a:lnTo>
                    <a:cubicBezTo>
                      <a:pt x="0" y="70169"/>
                      <a:pt x="57965" y="128136"/>
                      <a:pt x="128134" y="12813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3B00A96B-4F51-4219-BA7D-2ADA2D560E98}"/>
                </a:ext>
              </a:extLst>
            </p:cNvPr>
            <p:cNvSpPr/>
            <p:nvPr/>
          </p:nvSpPr>
          <p:spPr>
            <a:xfrm>
              <a:off x="19500376" y="3774939"/>
              <a:ext cx="353899" cy="820700"/>
            </a:xfrm>
            <a:custGeom>
              <a:avLst/>
              <a:gdLst>
                <a:gd name="connsiteX0" fmla="*/ 228814 w 353899"/>
                <a:gd name="connsiteY0" fmla="*/ 0 h 820700"/>
                <a:gd name="connsiteX1" fmla="*/ 353899 w 353899"/>
                <a:gd name="connsiteY1" fmla="*/ 515593 h 820700"/>
                <a:gd name="connsiteX2" fmla="*/ 222713 w 353899"/>
                <a:gd name="connsiteY2" fmla="*/ 820678 h 820700"/>
                <a:gd name="connsiteX3" fmla="*/ 0 w 353899"/>
                <a:gd name="connsiteY3" fmla="*/ 143390 h 820700"/>
                <a:gd name="connsiteX4" fmla="*/ 228814 w 353899"/>
                <a:gd name="connsiteY4" fmla="*/ 0 h 820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899" h="820700">
                  <a:moveTo>
                    <a:pt x="228814" y="0"/>
                  </a:moveTo>
                  <a:lnTo>
                    <a:pt x="353899" y="515593"/>
                  </a:lnTo>
                  <a:cubicBezTo>
                    <a:pt x="353899" y="515593"/>
                    <a:pt x="350847" y="823729"/>
                    <a:pt x="222713" y="820678"/>
                  </a:cubicBezTo>
                  <a:cubicBezTo>
                    <a:pt x="94577" y="817627"/>
                    <a:pt x="0" y="143390"/>
                    <a:pt x="0" y="143390"/>
                  </a:cubicBezTo>
                  <a:lnTo>
                    <a:pt x="228814" y="0"/>
                  </a:ln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7F1E9E11-E11D-41AA-A7A6-74C84F4D717E}"/>
                </a:ext>
              </a:extLst>
            </p:cNvPr>
            <p:cNvSpPr/>
            <p:nvPr/>
          </p:nvSpPr>
          <p:spPr>
            <a:xfrm>
              <a:off x="19421675" y="3511080"/>
              <a:ext cx="438703" cy="594925"/>
            </a:xfrm>
            <a:custGeom>
              <a:avLst/>
              <a:gdLst>
                <a:gd name="connsiteX0" fmla="*/ 23787 w 438703"/>
                <a:gd name="connsiteY0" fmla="*/ 590299 h 594925"/>
                <a:gd name="connsiteX1" fmla="*/ 145821 w 438703"/>
                <a:gd name="connsiteY1" fmla="*/ 1486 h 594925"/>
                <a:gd name="connsiteX2" fmla="*/ 438703 w 438703"/>
                <a:gd name="connsiteY2" fmla="*/ 514028 h 594925"/>
                <a:gd name="connsiteX3" fmla="*/ 23787 w 438703"/>
                <a:gd name="connsiteY3" fmla="*/ 590299 h 59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703" h="594925">
                  <a:moveTo>
                    <a:pt x="23787" y="590299"/>
                  </a:moveTo>
                  <a:cubicBezTo>
                    <a:pt x="23787" y="590299"/>
                    <a:pt x="-79941" y="44198"/>
                    <a:pt x="145821" y="1486"/>
                  </a:cubicBezTo>
                  <a:cubicBezTo>
                    <a:pt x="313617" y="-32074"/>
                    <a:pt x="438703" y="514028"/>
                    <a:pt x="438703" y="514028"/>
                  </a:cubicBezTo>
                  <a:cubicBezTo>
                    <a:pt x="438703" y="514028"/>
                    <a:pt x="237346" y="617757"/>
                    <a:pt x="23787" y="590299"/>
                  </a:cubicBezTo>
                  <a:close/>
                </a:path>
              </a:pathLst>
            </a:custGeom>
            <a:solidFill>
              <a:srgbClr val="F6EBE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BDB30E01-FB20-42D8-B8A4-1E9517132A4E}"/>
                </a:ext>
              </a:extLst>
            </p:cNvPr>
            <p:cNvSpPr/>
            <p:nvPr/>
          </p:nvSpPr>
          <p:spPr>
            <a:xfrm>
              <a:off x="19460716" y="4919007"/>
              <a:ext cx="106779" cy="140338"/>
            </a:xfrm>
            <a:custGeom>
              <a:avLst/>
              <a:gdLst>
                <a:gd name="connsiteX0" fmla="*/ 6102 w 106779"/>
                <a:gd name="connsiteY0" fmla="*/ 140339 h 140338"/>
                <a:gd name="connsiteX1" fmla="*/ 0 w 106779"/>
                <a:gd name="connsiteY1" fmla="*/ 137288 h 140338"/>
                <a:gd name="connsiteX2" fmla="*/ 3052 w 106779"/>
                <a:gd name="connsiteY2" fmla="*/ 131187 h 140338"/>
                <a:gd name="connsiteX3" fmla="*/ 76271 w 106779"/>
                <a:gd name="connsiteY3" fmla="*/ 100678 h 140338"/>
                <a:gd name="connsiteX4" fmla="*/ 94577 w 106779"/>
                <a:gd name="connsiteY4" fmla="*/ 6102 h 140338"/>
                <a:gd name="connsiteX5" fmla="*/ 100678 w 106779"/>
                <a:gd name="connsiteY5" fmla="*/ 0 h 140338"/>
                <a:gd name="connsiteX6" fmla="*/ 106780 w 106779"/>
                <a:gd name="connsiteY6" fmla="*/ 6102 h 140338"/>
                <a:gd name="connsiteX7" fmla="*/ 85423 w 106779"/>
                <a:gd name="connsiteY7" fmla="*/ 106780 h 140338"/>
                <a:gd name="connsiteX8" fmla="*/ 6102 w 106779"/>
                <a:gd name="connsiteY8" fmla="*/ 140339 h 140338"/>
                <a:gd name="connsiteX9" fmla="*/ 6102 w 106779"/>
                <a:gd name="connsiteY9" fmla="*/ 140339 h 14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6779" h="140338">
                  <a:moveTo>
                    <a:pt x="6102" y="140339"/>
                  </a:moveTo>
                  <a:cubicBezTo>
                    <a:pt x="3052" y="140339"/>
                    <a:pt x="0" y="137288"/>
                    <a:pt x="0" y="137288"/>
                  </a:cubicBezTo>
                  <a:cubicBezTo>
                    <a:pt x="0" y="134237"/>
                    <a:pt x="0" y="131187"/>
                    <a:pt x="3052" y="131187"/>
                  </a:cubicBezTo>
                  <a:cubicBezTo>
                    <a:pt x="27458" y="125085"/>
                    <a:pt x="67119" y="109830"/>
                    <a:pt x="76271" y="100678"/>
                  </a:cubicBezTo>
                  <a:cubicBezTo>
                    <a:pt x="85423" y="91525"/>
                    <a:pt x="91525" y="36610"/>
                    <a:pt x="94577" y="6102"/>
                  </a:cubicBezTo>
                  <a:cubicBezTo>
                    <a:pt x="94577" y="3051"/>
                    <a:pt x="97627" y="0"/>
                    <a:pt x="100678" y="0"/>
                  </a:cubicBezTo>
                  <a:cubicBezTo>
                    <a:pt x="103730" y="0"/>
                    <a:pt x="106780" y="3051"/>
                    <a:pt x="106780" y="6102"/>
                  </a:cubicBezTo>
                  <a:cubicBezTo>
                    <a:pt x="106780" y="15254"/>
                    <a:pt x="97627" y="91525"/>
                    <a:pt x="85423" y="106780"/>
                  </a:cubicBezTo>
                  <a:cubicBezTo>
                    <a:pt x="73221" y="118983"/>
                    <a:pt x="15254" y="137288"/>
                    <a:pt x="6102" y="140339"/>
                  </a:cubicBezTo>
                  <a:cubicBezTo>
                    <a:pt x="6102" y="140339"/>
                    <a:pt x="6102" y="140339"/>
                    <a:pt x="6102" y="140339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8" name="图形 114">
              <a:extLst>
                <a:ext uri="{FF2B5EF4-FFF2-40B4-BE49-F238E27FC236}">
                  <a16:creationId xmlns:a16="http://schemas.microsoft.com/office/drawing/2014/main" id="{50563372-5BCA-4362-8FB3-088054C9E8B7}"/>
                </a:ext>
              </a:extLst>
            </p:cNvPr>
            <p:cNvGrpSpPr/>
            <p:nvPr/>
          </p:nvGrpSpPr>
          <p:grpSpPr>
            <a:xfrm>
              <a:off x="20287497" y="3683413"/>
              <a:ext cx="817626" cy="732203"/>
              <a:chOff x="20287497" y="3683413"/>
              <a:chExt cx="817626" cy="732203"/>
            </a:xfrm>
          </p:grpSpPr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9C26C0F9-5171-4979-B034-F5784839EBBA}"/>
                  </a:ext>
                </a:extLst>
              </p:cNvPr>
              <p:cNvSpPr/>
              <p:nvPr/>
            </p:nvSpPr>
            <p:spPr>
              <a:xfrm>
                <a:off x="20351564" y="3683413"/>
                <a:ext cx="738305" cy="372203"/>
              </a:xfrm>
              <a:custGeom>
                <a:avLst/>
                <a:gdLst>
                  <a:gd name="connsiteX0" fmla="*/ 738305 w 738305"/>
                  <a:gd name="connsiteY0" fmla="*/ 48814 h 372203"/>
                  <a:gd name="connsiteX1" fmla="*/ 701695 w 738305"/>
                  <a:gd name="connsiteY1" fmla="*/ 0 h 372203"/>
                  <a:gd name="connsiteX2" fmla="*/ 469831 w 738305"/>
                  <a:gd name="connsiteY2" fmla="*/ 216610 h 372203"/>
                  <a:gd name="connsiteX3" fmla="*/ 48813 w 738305"/>
                  <a:gd name="connsiteY3" fmla="*/ 88475 h 372203"/>
                  <a:gd name="connsiteX4" fmla="*/ 0 w 738305"/>
                  <a:gd name="connsiteY4" fmla="*/ 176949 h 372203"/>
                  <a:gd name="connsiteX5" fmla="*/ 320339 w 738305"/>
                  <a:gd name="connsiteY5" fmla="*/ 302034 h 372203"/>
                  <a:gd name="connsiteX6" fmla="*/ 570509 w 738305"/>
                  <a:gd name="connsiteY6" fmla="*/ 372204 h 372203"/>
                  <a:gd name="connsiteX7" fmla="*/ 738305 w 738305"/>
                  <a:gd name="connsiteY7" fmla="*/ 48814 h 372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8305" h="372203">
                    <a:moveTo>
                      <a:pt x="738305" y="48814"/>
                    </a:moveTo>
                    <a:lnTo>
                      <a:pt x="701695" y="0"/>
                    </a:lnTo>
                    <a:cubicBezTo>
                      <a:pt x="701695" y="0"/>
                      <a:pt x="530848" y="109830"/>
                      <a:pt x="469831" y="216610"/>
                    </a:cubicBezTo>
                    <a:cubicBezTo>
                      <a:pt x="469831" y="216610"/>
                      <a:pt x="216609" y="91525"/>
                      <a:pt x="48813" y="88475"/>
                    </a:cubicBezTo>
                    <a:lnTo>
                      <a:pt x="0" y="176949"/>
                    </a:lnTo>
                    <a:lnTo>
                      <a:pt x="320339" y="302034"/>
                    </a:lnTo>
                    <a:lnTo>
                      <a:pt x="570509" y="372204"/>
                    </a:lnTo>
                    <a:lnTo>
                      <a:pt x="738305" y="48814"/>
                    </a:lnTo>
                    <a:close/>
                  </a:path>
                </a:pathLst>
              </a:custGeom>
              <a:solidFill>
                <a:srgbClr val="F1DDB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4F901333-8E37-4716-A5B7-DB3CD40DF491}"/>
                  </a:ext>
                </a:extLst>
              </p:cNvPr>
              <p:cNvSpPr/>
              <p:nvPr/>
            </p:nvSpPr>
            <p:spPr>
              <a:xfrm>
                <a:off x="20287497" y="3698668"/>
                <a:ext cx="817626" cy="710847"/>
              </a:xfrm>
              <a:custGeom>
                <a:avLst/>
                <a:gdLst>
                  <a:gd name="connsiteX0" fmla="*/ 817627 w 817626"/>
                  <a:gd name="connsiteY0" fmla="*/ 0 h 710847"/>
                  <a:gd name="connsiteX1" fmla="*/ 799321 w 817626"/>
                  <a:gd name="connsiteY1" fmla="*/ 430169 h 710847"/>
                  <a:gd name="connsiteX2" fmla="*/ 543050 w 817626"/>
                  <a:gd name="connsiteY2" fmla="*/ 710848 h 710847"/>
                  <a:gd name="connsiteX3" fmla="*/ 439321 w 817626"/>
                  <a:gd name="connsiteY3" fmla="*/ 710848 h 710847"/>
                  <a:gd name="connsiteX4" fmla="*/ 0 w 817626"/>
                  <a:gd name="connsiteY4" fmla="*/ 652881 h 710847"/>
                  <a:gd name="connsiteX5" fmla="*/ 42711 w 817626"/>
                  <a:gd name="connsiteY5" fmla="*/ 134237 h 710847"/>
                  <a:gd name="connsiteX6" fmla="*/ 472881 w 817626"/>
                  <a:gd name="connsiteY6" fmla="*/ 228814 h 710847"/>
                  <a:gd name="connsiteX7" fmla="*/ 576609 w 817626"/>
                  <a:gd name="connsiteY7" fmla="*/ 231864 h 710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17626" h="710847">
                    <a:moveTo>
                      <a:pt x="817627" y="0"/>
                    </a:moveTo>
                    <a:lnTo>
                      <a:pt x="799321" y="430169"/>
                    </a:lnTo>
                    <a:lnTo>
                      <a:pt x="543050" y="710848"/>
                    </a:lnTo>
                    <a:lnTo>
                      <a:pt x="439321" y="710848"/>
                    </a:lnTo>
                    <a:lnTo>
                      <a:pt x="0" y="652881"/>
                    </a:lnTo>
                    <a:lnTo>
                      <a:pt x="42711" y="134237"/>
                    </a:lnTo>
                    <a:lnTo>
                      <a:pt x="472881" y="228814"/>
                    </a:lnTo>
                    <a:lnTo>
                      <a:pt x="576609" y="231864"/>
                    </a:lnTo>
                    <a:close/>
                  </a:path>
                </a:pathLst>
              </a:custGeom>
              <a:solidFill>
                <a:srgbClr val="7F95BC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E4B9CD82-5378-4C79-AB18-1664A9DECD89}"/>
                  </a:ext>
                </a:extLst>
              </p:cNvPr>
              <p:cNvSpPr/>
              <p:nvPr/>
            </p:nvSpPr>
            <p:spPr>
              <a:xfrm>
                <a:off x="20824445" y="3927481"/>
                <a:ext cx="45762" cy="488135"/>
              </a:xfrm>
              <a:custGeom>
                <a:avLst/>
                <a:gdLst>
                  <a:gd name="connsiteX0" fmla="*/ 6102 w 45762"/>
                  <a:gd name="connsiteY0" fmla="*/ 488136 h 488135"/>
                  <a:gd name="connsiteX1" fmla="*/ 6102 w 45762"/>
                  <a:gd name="connsiteY1" fmla="*/ 488136 h 488135"/>
                  <a:gd name="connsiteX2" fmla="*/ 0 w 45762"/>
                  <a:gd name="connsiteY2" fmla="*/ 482034 h 488135"/>
                  <a:gd name="connsiteX3" fmla="*/ 33559 w 45762"/>
                  <a:gd name="connsiteY3" fmla="*/ 6102 h 488135"/>
                  <a:gd name="connsiteX4" fmla="*/ 39661 w 45762"/>
                  <a:gd name="connsiteY4" fmla="*/ 0 h 488135"/>
                  <a:gd name="connsiteX5" fmla="*/ 39661 w 45762"/>
                  <a:gd name="connsiteY5" fmla="*/ 0 h 488135"/>
                  <a:gd name="connsiteX6" fmla="*/ 45763 w 45762"/>
                  <a:gd name="connsiteY6" fmla="*/ 6102 h 488135"/>
                  <a:gd name="connsiteX7" fmla="*/ 12204 w 45762"/>
                  <a:gd name="connsiteY7" fmla="*/ 482034 h 488135"/>
                  <a:gd name="connsiteX8" fmla="*/ 6102 w 45762"/>
                  <a:gd name="connsiteY8" fmla="*/ 488136 h 488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762" h="488135">
                    <a:moveTo>
                      <a:pt x="6102" y="488136"/>
                    </a:moveTo>
                    <a:cubicBezTo>
                      <a:pt x="6102" y="488136"/>
                      <a:pt x="6102" y="488136"/>
                      <a:pt x="6102" y="488136"/>
                    </a:cubicBezTo>
                    <a:cubicBezTo>
                      <a:pt x="3050" y="488136"/>
                      <a:pt x="0" y="485085"/>
                      <a:pt x="0" y="482034"/>
                    </a:cubicBezTo>
                    <a:lnTo>
                      <a:pt x="33559" y="6102"/>
                    </a:lnTo>
                    <a:cubicBezTo>
                      <a:pt x="33559" y="3051"/>
                      <a:pt x="36611" y="0"/>
                      <a:pt x="39661" y="0"/>
                    </a:cubicBezTo>
                    <a:cubicBezTo>
                      <a:pt x="39661" y="0"/>
                      <a:pt x="39661" y="0"/>
                      <a:pt x="39661" y="0"/>
                    </a:cubicBezTo>
                    <a:cubicBezTo>
                      <a:pt x="42713" y="0"/>
                      <a:pt x="45763" y="3051"/>
                      <a:pt x="45763" y="6102"/>
                    </a:cubicBezTo>
                    <a:lnTo>
                      <a:pt x="12204" y="482034"/>
                    </a:lnTo>
                    <a:cubicBezTo>
                      <a:pt x="9152" y="485085"/>
                      <a:pt x="9152" y="488136"/>
                      <a:pt x="6102" y="48813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FEB39067-5158-4C76-A8E0-0EACB84334D9}"/>
                  </a:ext>
                </a:extLst>
              </p:cNvPr>
              <p:cNvSpPr/>
              <p:nvPr/>
            </p:nvSpPr>
            <p:spPr>
              <a:xfrm>
                <a:off x="20720715" y="3921380"/>
                <a:ext cx="45762" cy="494237"/>
              </a:xfrm>
              <a:custGeom>
                <a:avLst/>
                <a:gdLst>
                  <a:gd name="connsiteX0" fmla="*/ 6102 w 45762"/>
                  <a:gd name="connsiteY0" fmla="*/ 494237 h 494237"/>
                  <a:gd name="connsiteX1" fmla="*/ 6102 w 45762"/>
                  <a:gd name="connsiteY1" fmla="*/ 494237 h 494237"/>
                  <a:gd name="connsiteX2" fmla="*/ 0 w 45762"/>
                  <a:gd name="connsiteY2" fmla="*/ 488136 h 494237"/>
                  <a:gd name="connsiteX3" fmla="*/ 33560 w 45762"/>
                  <a:gd name="connsiteY3" fmla="*/ 6102 h 494237"/>
                  <a:gd name="connsiteX4" fmla="*/ 39663 w 45762"/>
                  <a:gd name="connsiteY4" fmla="*/ 0 h 494237"/>
                  <a:gd name="connsiteX5" fmla="*/ 39663 w 45762"/>
                  <a:gd name="connsiteY5" fmla="*/ 0 h 494237"/>
                  <a:gd name="connsiteX6" fmla="*/ 45763 w 45762"/>
                  <a:gd name="connsiteY6" fmla="*/ 6102 h 494237"/>
                  <a:gd name="connsiteX7" fmla="*/ 12204 w 45762"/>
                  <a:gd name="connsiteY7" fmla="*/ 488136 h 494237"/>
                  <a:gd name="connsiteX8" fmla="*/ 6102 w 45762"/>
                  <a:gd name="connsiteY8" fmla="*/ 494237 h 494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762" h="494237">
                    <a:moveTo>
                      <a:pt x="6102" y="494237"/>
                    </a:moveTo>
                    <a:cubicBezTo>
                      <a:pt x="6102" y="494237"/>
                      <a:pt x="6102" y="494237"/>
                      <a:pt x="6102" y="494237"/>
                    </a:cubicBezTo>
                    <a:cubicBezTo>
                      <a:pt x="3052" y="494237"/>
                      <a:pt x="0" y="491186"/>
                      <a:pt x="0" y="488136"/>
                    </a:cubicBezTo>
                    <a:lnTo>
                      <a:pt x="33560" y="6102"/>
                    </a:lnTo>
                    <a:cubicBezTo>
                      <a:pt x="33560" y="3051"/>
                      <a:pt x="36611" y="0"/>
                      <a:pt x="39663" y="0"/>
                    </a:cubicBezTo>
                    <a:cubicBezTo>
                      <a:pt x="39663" y="0"/>
                      <a:pt x="39663" y="0"/>
                      <a:pt x="39663" y="0"/>
                    </a:cubicBezTo>
                    <a:cubicBezTo>
                      <a:pt x="42713" y="0"/>
                      <a:pt x="45763" y="3051"/>
                      <a:pt x="45763" y="6102"/>
                    </a:cubicBezTo>
                    <a:lnTo>
                      <a:pt x="12204" y="488136"/>
                    </a:lnTo>
                    <a:cubicBezTo>
                      <a:pt x="12204" y="491186"/>
                      <a:pt x="9154" y="494237"/>
                      <a:pt x="6102" y="49423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798B2A70-6822-4700-9B24-646734CE7404}"/>
                </a:ext>
              </a:extLst>
            </p:cNvPr>
            <p:cNvSpPr/>
            <p:nvPr/>
          </p:nvSpPr>
          <p:spPr>
            <a:xfrm>
              <a:off x="20131902" y="3904483"/>
              <a:ext cx="216817" cy="151134"/>
            </a:xfrm>
            <a:custGeom>
              <a:avLst/>
              <a:gdLst>
                <a:gd name="connsiteX0" fmla="*/ 0 w 216817"/>
                <a:gd name="connsiteY0" fmla="*/ 151134 h 151134"/>
                <a:gd name="connsiteX1" fmla="*/ 76271 w 216817"/>
                <a:gd name="connsiteY1" fmla="*/ 7744 h 151134"/>
                <a:gd name="connsiteX2" fmla="*/ 216611 w 216817"/>
                <a:gd name="connsiteY2" fmla="*/ 19948 h 151134"/>
                <a:gd name="connsiteX3" fmla="*/ 73221 w 216817"/>
                <a:gd name="connsiteY3" fmla="*/ 114524 h 151134"/>
                <a:gd name="connsiteX4" fmla="*/ 0 w 216817"/>
                <a:gd name="connsiteY4" fmla="*/ 151134 h 151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817" h="151134">
                  <a:moveTo>
                    <a:pt x="0" y="151134"/>
                  </a:moveTo>
                  <a:cubicBezTo>
                    <a:pt x="0" y="151134"/>
                    <a:pt x="39661" y="19948"/>
                    <a:pt x="76271" y="7744"/>
                  </a:cubicBezTo>
                  <a:cubicBezTo>
                    <a:pt x="128136" y="-10561"/>
                    <a:pt x="210509" y="7744"/>
                    <a:pt x="216611" y="19948"/>
                  </a:cubicBezTo>
                  <a:cubicBezTo>
                    <a:pt x="222711" y="32151"/>
                    <a:pt x="91525" y="102320"/>
                    <a:pt x="73221" y="114524"/>
                  </a:cubicBezTo>
                  <a:cubicBezTo>
                    <a:pt x="54915" y="129778"/>
                    <a:pt x="0" y="151134"/>
                    <a:pt x="0" y="151134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0" name="图形 114">
              <a:extLst>
                <a:ext uri="{FF2B5EF4-FFF2-40B4-BE49-F238E27FC236}">
                  <a16:creationId xmlns:a16="http://schemas.microsoft.com/office/drawing/2014/main" id="{3735CD1D-55EE-48C0-9A0C-BAEEAB76DFD3}"/>
                </a:ext>
              </a:extLst>
            </p:cNvPr>
            <p:cNvGrpSpPr/>
            <p:nvPr/>
          </p:nvGrpSpPr>
          <p:grpSpPr>
            <a:xfrm>
              <a:off x="20107496" y="3908836"/>
              <a:ext cx="388721" cy="274261"/>
              <a:chOff x="20107496" y="3908836"/>
              <a:chExt cx="388721" cy="274261"/>
            </a:xfrm>
          </p:grpSpPr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B7C82834-B3F8-45C1-B94E-A3383DB468E7}"/>
                  </a:ext>
                </a:extLst>
              </p:cNvPr>
              <p:cNvSpPr/>
              <p:nvPr/>
            </p:nvSpPr>
            <p:spPr>
              <a:xfrm>
                <a:off x="20107496" y="3918256"/>
                <a:ext cx="381430" cy="264840"/>
              </a:xfrm>
              <a:custGeom>
                <a:avLst/>
                <a:gdLst>
                  <a:gd name="connsiteX0" fmla="*/ 0 w 381430"/>
                  <a:gd name="connsiteY0" fmla="*/ 152615 h 264840"/>
                  <a:gd name="connsiteX1" fmla="*/ 118984 w 381430"/>
                  <a:gd name="connsiteY1" fmla="*/ 12276 h 264840"/>
                  <a:gd name="connsiteX2" fmla="*/ 363052 w 381430"/>
                  <a:gd name="connsiteY2" fmla="*/ 24479 h 264840"/>
                  <a:gd name="connsiteX3" fmla="*/ 292881 w 381430"/>
                  <a:gd name="connsiteY3" fmla="*/ 42784 h 264840"/>
                  <a:gd name="connsiteX4" fmla="*/ 381356 w 381430"/>
                  <a:gd name="connsiteY4" fmla="*/ 88547 h 264840"/>
                  <a:gd name="connsiteX5" fmla="*/ 347797 w 381430"/>
                  <a:gd name="connsiteY5" fmla="*/ 119055 h 264840"/>
                  <a:gd name="connsiteX6" fmla="*/ 311187 w 381430"/>
                  <a:gd name="connsiteY6" fmla="*/ 149564 h 264840"/>
                  <a:gd name="connsiteX7" fmla="*/ 314237 w 381430"/>
                  <a:gd name="connsiteY7" fmla="*/ 183123 h 264840"/>
                  <a:gd name="connsiteX8" fmla="*/ 192203 w 381430"/>
                  <a:gd name="connsiteY8" fmla="*/ 183123 h 264840"/>
                  <a:gd name="connsiteX9" fmla="*/ 131186 w 381430"/>
                  <a:gd name="connsiteY9" fmla="*/ 247191 h 264840"/>
                  <a:gd name="connsiteX10" fmla="*/ 33559 w 381430"/>
                  <a:gd name="connsiteY10" fmla="*/ 259395 h 264840"/>
                  <a:gd name="connsiteX11" fmla="*/ 0 w 381430"/>
                  <a:gd name="connsiteY11" fmla="*/ 152615 h 264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1430" h="264840">
                    <a:moveTo>
                      <a:pt x="0" y="152615"/>
                    </a:moveTo>
                    <a:cubicBezTo>
                      <a:pt x="0" y="152615"/>
                      <a:pt x="85423" y="27530"/>
                      <a:pt x="118984" y="12276"/>
                    </a:cubicBezTo>
                    <a:cubicBezTo>
                      <a:pt x="155592" y="-2978"/>
                      <a:pt x="360000" y="-9080"/>
                      <a:pt x="363052" y="24479"/>
                    </a:cubicBezTo>
                    <a:cubicBezTo>
                      <a:pt x="366102" y="58039"/>
                      <a:pt x="292881" y="42784"/>
                      <a:pt x="292881" y="42784"/>
                    </a:cubicBezTo>
                    <a:cubicBezTo>
                      <a:pt x="292881" y="42784"/>
                      <a:pt x="384406" y="61090"/>
                      <a:pt x="381356" y="88547"/>
                    </a:cubicBezTo>
                    <a:cubicBezTo>
                      <a:pt x="378306" y="116005"/>
                      <a:pt x="347797" y="119055"/>
                      <a:pt x="347797" y="119055"/>
                    </a:cubicBezTo>
                    <a:cubicBezTo>
                      <a:pt x="347797" y="119055"/>
                      <a:pt x="366102" y="152615"/>
                      <a:pt x="311187" y="149564"/>
                    </a:cubicBezTo>
                    <a:cubicBezTo>
                      <a:pt x="311187" y="149564"/>
                      <a:pt x="338643" y="177022"/>
                      <a:pt x="314237" y="183123"/>
                    </a:cubicBezTo>
                    <a:cubicBezTo>
                      <a:pt x="289831" y="186174"/>
                      <a:pt x="210509" y="170920"/>
                      <a:pt x="192203" y="183123"/>
                    </a:cubicBezTo>
                    <a:cubicBezTo>
                      <a:pt x="173899" y="192276"/>
                      <a:pt x="164747" y="228886"/>
                      <a:pt x="131186" y="247191"/>
                    </a:cubicBezTo>
                    <a:cubicBezTo>
                      <a:pt x="67119" y="277700"/>
                      <a:pt x="33559" y="259395"/>
                      <a:pt x="33559" y="259395"/>
                    </a:cubicBezTo>
                    <a:lnTo>
                      <a:pt x="0" y="152615"/>
                    </a:ln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5A251B30-806A-4BF3-9730-F6EE2BFC355C}"/>
                  </a:ext>
                </a:extLst>
              </p:cNvPr>
              <p:cNvSpPr/>
              <p:nvPr/>
            </p:nvSpPr>
            <p:spPr>
              <a:xfrm>
                <a:off x="20141054" y="3908836"/>
                <a:ext cx="341992" cy="110170"/>
              </a:xfrm>
              <a:custGeom>
                <a:avLst/>
                <a:gdLst>
                  <a:gd name="connsiteX0" fmla="*/ 6102 w 341992"/>
                  <a:gd name="connsiteY0" fmla="*/ 110171 h 110170"/>
                  <a:gd name="connsiteX1" fmla="*/ 6102 w 341992"/>
                  <a:gd name="connsiteY1" fmla="*/ 110171 h 110170"/>
                  <a:gd name="connsiteX2" fmla="*/ 0 w 341992"/>
                  <a:gd name="connsiteY2" fmla="*/ 101019 h 110170"/>
                  <a:gd name="connsiteX3" fmla="*/ 85425 w 341992"/>
                  <a:gd name="connsiteY3" fmla="*/ 12544 h 110170"/>
                  <a:gd name="connsiteX4" fmla="*/ 317289 w 341992"/>
                  <a:gd name="connsiteY4" fmla="*/ 9493 h 110170"/>
                  <a:gd name="connsiteX5" fmla="*/ 341695 w 341992"/>
                  <a:gd name="connsiteY5" fmla="*/ 30849 h 110170"/>
                  <a:gd name="connsiteX6" fmla="*/ 262374 w 341992"/>
                  <a:gd name="connsiteY6" fmla="*/ 52205 h 110170"/>
                  <a:gd name="connsiteX7" fmla="*/ 256272 w 341992"/>
                  <a:gd name="connsiteY7" fmla="*/ 46103 h 110170"/>
                  <a:gd name="connsiteX8" fmla="*/ 262374 w 341992"/>
                  <a:gd name="connsiteY8" fmla="*/ 40002 h 110170"/>
                  <a:gd name="connsiteX9" fmla="*/ 329493 w 341992"/>
                  <a:gd name="connsiteY9" fmla="*/ 27798 h 110170"/>
                  <a:gd name="connsiteX10" fmla="*/ 329493 w 341992"/>
                  <a:gd name="connsiteY10" fmla="*/ 27798 h 110170"/>
                  <a:gd name="connsiteX11" fmla="*/ 314239 w 341992"/>
                  <a:gd name="connsiteY11" fmla="*/ 18646 h 110170"/>
                  <a:gd name="connsiteX12" fmla="*/ 88475 w 341992"/>
                  <a:gd name="connsiteY12" fmla="*/ 21696 h 110170"/>
                  <a:gd name="connsiteX13" fmla="*/ 12204 w 341992"/>
                  <a:gd name="connsiteY13" fmla="*/ 104069 h 110170"/>
                  <a:gd name="connsiteX14" fmla="*/ 6102 w 341992"/>
                  <a:gd name="connsiteY14" fmla="*/ 110171 h 11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1992" h="110170">
                    <a:moveTo>
                      <a:pt x="6102" y="110171"/>
                    </a:moveTo>
                    <a:cubicBezTo>
                      <a:pt x="3052" y="110171"/>
                      <a:pt x="3052" y="110171"/>
                      <a:pt x="6102" y="110171"/>
                    </a:cubicBezTo>
                    <a:cubicBezTo>
                      <a:pt x="0" y="107120"/>
                      <a:pt x="0" y="104069"/>
                      <a:pt x="0" y="101019"/>
                    </a:cubicBezTo>
                    <a:cubicBezTo>
                      <a:pt x="0" y="97968"/>
                      <a:pt x="36611" y="21696"/>
                      <a:pt x="85425" y="12544"/>
                    </a:cubicBezTo>
                    <a:cubicBezTo>
                      <a:pt x="128136" y="3391"/>
                      <a:pt x="262374" y="-8812"/>
                      <a:pt x="317289" y="9493"/>
                    </a:cubicBezTo>
                    <a:cubicBezTo>
                      <a:pt x="323391" y="12544"/>
                      <a:pt x="344747" y="18646"/>
                      <a:pt x="341695" y="30849"/>
                    </a:cubicBezTo>
                    <a:cubicBezTo>
                      <a:pt x="338645" y="49154"/>
                      <a:pt x="286780" y="55256"/>
                      <a:pt x="262374" y="52205"/>
                    </a:cubicBezTo>
                    <a:cubicBezTo>
                      <a:pt x="259322" y="52205"/>
                      <a:pt x="256272" y="49154"/>
                      <a:pt x="256272" y="46103"/>
                    </a:cubicBezTo>
                    <a:cubicBezTo>
                      <a:pt x="256272" y="43052"/>
                      <a:pt x="259322" y="40002"/>
                      <a:pt x="262374" y="40002"/>
                    </a:cubicBezTo>
                    <a:cubicBezTo>
                      <a:pt x="292882" y="43052"/>
                      <a:pt x="326441" y="33900"/>
                      <a:pt x="329493" y="27798"/>
                    </a:cubicBezTo>
                    <a:lnTo>
                      <a:pt x="329493" y="27798"/>
                    </a:lnTo>
                    <a:cubicBezTo>
                      <a:pt x="329493" y="27798"/>
                      <a:pt x="329493" y="24747"/>
                      <a:pt x="314239" y="18646"/>
                    </a:cubicBezTo>
                    <a:cubicBezTo>
                      <a:pt x="262374" y="341"/>
                      <a:pt x="131188" y="12544"/>
                      <a:pt x="88475" y="21696"/>
                    </a:cubicBezTo>
                    <a:cubicBezTo>
                      <a:pt x="48815" y="30849"/>
                      <a:pt x="12204" y="104069"/>
                      <a:pt x="12204" y="104069"/>
                    </a:cubicBezTo>
                    <a:cubicBezTo>
                      <a:pt x="9154" y="110171"/>
                      <a:pt x="6102" y="110171"/>
                      <a:pt x="6102" y="11017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A4EE45D3-2A3C-41CE-A7AF-0BE5FC7B48EA}"/>
                  </a:ext>
                </a:extLst>
              </p:cNvPr>
              <p:cNvSpPr/>
              <p:nvPr/>
            </p:nvSpPr>
            <p:spPr>
              <a:xfrm>
                <a:off x="20249530" y="3944430"/>
                <a:ext cx="45331" cy="98983"/>
              </a:xfrm>
              <a:custGeom>
                <a:avLst/>
                <a:gdLst>
                  <a:gd name="connsiteX0" fmla="*/ 41017 w 45331"/>
                  <a:gd name="connsiteY0" fmla="*/ 98983 h 98983"/>
                  <a:gd name="connsiteX1" fmla="*/ 34915 w 45331"/>
                  <a:gd name="connsiteY1" fmla="*/ 92881 h 98983"/>
                  <a:gd name="connsiteX2" fmla="*/ 1356 w 45331"/>
                  <a:gd name="connsiteY2" fmla="*/ 10509 h 98983"/>
                  <a:gd name="connsiteX3" fmla="*/ 1356 w 45331"/>
                  <a:gd name="connsiteY3" fmla="*/ 1356 h 98983"/>
                  <a:gd name="connsiteX4" fmla="*/ 10509 w 45331"/>
                  <a:gd name="connsiteY4" fmla="*/ 1356 h 98983"/>
                  <a:gd name="connsiteX5" fmla="*/ 44067 w 45331"/>
                  <a:gd name="connsiteY5" fmla="*/ 89831 h 98983"/>
                  <a:gd name="connsiteX6" fmla="*/ 41017 w 45331"/>
                  <a:gd name="connsiteY6" fmla="*/ 98983 h 98983"/>
                  <a:gd name="connsiteX7" fmla="*/ 41017 w 45331"/>
                  <a:gd name="connsiteY7" fmla="*/ 98983 h 98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331" h="98983">
                    <a:moveTo>
                      <a:pt x="41017" y="98983"/>
                    </a:moveTo>
                    <a:cubicBezTo>
                      <a:pt x="37967" y="98983"/>
                      <a:pt x="34915" y="95932"/>
                      <a:pt x="34915" y="92881"/>
                    </a:cubicBezTo>
                    <a:cubicBezTo>
                      <a:pt x="31865" y="53220"/>
                      <a:pt x="4407" y="10509"/>
                      <a:pt x="1356" y="10509"/>
                    </a:cubicBezTo>
                    <a:cubicBezTo>
                      <a:pt x="-1696" y="7458"/>
                      <a:pt x="1356" y="4407"/>
                      <a:pt x="1356" y="1356"/>
                    </a:cubicBezTo>
                    <a:cubicBezTo>
                      <a:pt x="4407" y="-1695"/>
                      <a:pt x="7458" y="1356"/>
                      <a:pt x="10509" y="1356"/>
                    </a:cubicBezTo>
                    <a:cubicBezTo>
                      <a:pt x="10509" y="4407"/>
                      <a:pt x="41017" y="44068"/>
                      <a:pt x="44067" y="89831"/>
                    </a:cubicBezTo>
                    <a:cubicBezTo>
                      <a:pt x="47119" y="95932"/>
                      <a:pt x="44067" y="98983"/>
                      <a:pt x="41017" y="98983"/>
                    </a:cubicBezTo>
                    <a:cubicBezTo>
                      <a:pt x="41017" y="98983"/>
                      <a:pt x="41017" y="98983"/>
                      <a:pt x="41017" y="9898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AA7D40BB-EAC6-4879-AC09-BFF2221B6C47}"/>
                  </a:ext>
                </a:extLst>
              </p:cNvPr>
              <p:cNvSpPr/>
              <p:nvPr/>
            </p:nvSpPr>
            <p:spPr>
              <a:xfrm>
                <a:off x="20272242" y="3948349"/>
                <a:ext cx="223974" cy="82861"/>
              </a:xfrm>
              <a:custGeom>
                <a:avLst/>
                <a:gdLst>
                  <a:gd name="connsiteX0" fmla="*/ 189151 w 223974"/>
                  <a:gd name="connsiteY0" fmla="*/ 82861 h 82861"/>
                  <a:gd name="connsiteX1" fmla="*/ 167797 w 223974"/>
                  <a:gd name="connsiteY1" fmla="*/ 76759 h 82861"/>
                  <a:gd name="connsiteX2" fmla="*/ 24406 w 223974"/>
                  <a:gd name="connsiteY2" fmla="*/ 52353 h 82861"/>
                  <a:gd name="connsiteX3" fmla="*/ 18304 w 223974"/>
                  <a:gd name="connsiteY3" fmla="*/ 46251 h 82861"/>
                  <a:gd name="connsiteX4" fmla="*/ 24406 w 223974"/>
                  <a:gd name="connsiteY4" fmla="*/ 40149 h 82861"/>
                  <a:gd name="connsiteX5" fmla="*/ 173897 w 223974"/>
                  <a:gd name="connsiteY5" fmla="*/ 64556 h 82861"/>
                  <a:gd name="connsiteX6" fmla="*/ 210507 w 223974"/>
                  <a:gd name="connsiteY6" fmla="*/ 61505 h 82861"/>
                  <a:gd name="connsiteX7" fmla="*/ 210507 w 223974"/>
                  <a:gd name="connsiteY7" fmla="*/ 52353 h 82861"/>
                  <a:gd name="connsiteX8" fmla="*/ 167797 w 223974"/>
                  <a:gd name="connsiteY8" fmla="*/ 21844 h 82861"/>
                  <a:gd name="connsiteX9" fmla="*/ 6100 w 223974"/>
                  <a:gd name="connsiteY9" fmla="*/ 18793 h 82861"/>
                  <a:gd name="connsiteX10" fmla="*/ 0 w 223974"/>
                  <a:gd name="connsiteY10" fmla="*/ 12691 h 82861"/>
                  <a:gd name="connsiteX11" fmla="*/ 6100 w 223974"/>
                  <a:gd name="connsiteY11" fmla="*/ 6590 h 82861"/>
                  <a:gd name="connsiteX12" fmla="*/ 173897 w 223974"/>
                  <a:gd name="connsiteY12" fmla="*/ 12691 h 82861"/>
                  <a:gd name="connsiteX13" fmla="*/ 222711 w 223974"/>
                  <a:gd name="connsiteY13" fmla="*/ 49302 h 82861"/>
                  <a:gd name="connsiteX14" fmla="*/ 219660 w 223974"/>
                  <a:gd name="connsiteY14" fmla="*/ 67607 h 82861"/>
                  <a:gd name="connsiteX15" fmla="*/ 189151 w 223974"/>
                  <a:gd name="connsiteY15" fmla="*/ 82861 h 82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23974" h="82861">
                    <a:moveTo>
                      <a:pt x="189151" y="82861"/>
                    </a:moveTo>
                    <a:cubicBezTo>
                      <a:pt x="183051" y="82861"/>
                      <a:pt x="176949" y="82861"/>
                      <a:pt x="167797" y="76759"/>
                    </a:cubicBezTo>
                    <a:cubicBezTo>
                      <a:pt x="149490" y="67607"/>
                      <a:pt x="88473" y="49302"/>
                      <a:pt x="24406" y="52353"/>
                    </a:cubicBezTo>
                    <a:cubicBezTo>
                      <a:pt x="21354" y="52353"/>
                      <a:pt x="18304" y="49302"/>
                      <a:pt x="18304" y="46251"/>
                    </a:cubicBezTo>
                    <a:cubicBezTo>
                      <a:pt x="18304" y="43200"/>
                      <a:pt x="21354" y="40149"/>
                      <a:pt x="24406" y="40149"/>
                    </a:cubicBezTo>
                    <a:cubicBezTo>
                      <a:pt x="88473" y="34048"/>
                      <a:pt x="149490" y="52353"/>
                      <a:pt x="173897" y="64556"/>
                    </a:cubicBezTo>
                    <a:cubicBezTo>
                      <a:pt x="192203" y="73708"/>
                      <a:pt x="207457" y="64556"/>
                      <a:pt x="210507" y="61505"/>
                    </a:cubicBezTo>
                    <a:cubicBezTo>
                      <a:pt x="210507" y="61505"/>
                      <a:pt x="213559" y="58454"/>
                      <a:pt x="210507" y="52353"/>
                    </a:cubicBezTo>
                    <a:cubicBezTo>
                      <a:pt x="210507" y="46251"/>
                      <a:pt x="201355" y="34048"/>
                      <a:pt x="167797" y="21844"/>
                    </a:cubicBezTo>
                    <a:cubicBezTo>
                      <a:pt x="118982" y="488"/>
                      <a:pt x="9152" y="18793"/>
                      <a:pt x="6100" y="18793"/>
                    </a:cubicBezTo>
                    <a:cubicBezTo>
                      <a:pt x="3050" y="18793"/>
                      <a:pt x="0" y="15742"/>
                      <a:pt x="0" y="12691"/>
                    </a:cubicBezTo>
                    <a:cubicBezTo>
                      <a:pt x="0" y="9641"/>
                      <a:pt x="3050" y="6590"/>
                      <a:pt x="6100" y="6590"/>
                    </a:cubicBezTo>
                    <a:cubicBezTo>
                      <a:pt x="12202" y="6590"/>
                      <a:pt x="122034" y="-11715"/>
                      <a:pt x="173897" y="12691"/>
                    </a:cubicBezTo>
                    <a:cubicBezTo>
                      <a:pt x="201355" y="24895"/>
                      <a:pt x="216609" y="37098"/>
                      <a:pt x="222711" y="49302"/>
                    </a:cubicBezTo>
                    <a:cubicBezTo>
                      <a:pt x="225762" y="55403"/>
                      <a:pt x="222711" y="61505"/>
                      <a:pt x="219660" y="67607"/>
                    </a:cubicBezTo>
                    <a:cubicBezTo>
                      <a:pt x="213559" y="76759"/>
                      <a:pt x="201355" y="82861"/>
                      <a:pt x="189151" y="8286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DAE313F5-9FB1-4416-A011-215F90C8DEE8}"/>
                  </a:ext>
                </a:extLst>
              </p:cNvPr>
              <p:cNvSpPr/>
              <p:nvPr/>
            </p:nvSpPr>
            <p:spPr>
              <a:xfrm>
                <a:off x="20297411" y="4034261"/>
                <a:ext cx="149319" cy="67118"/>
              </a:xfrm>
              <a:custGeom>
                <a:avLst/>
                <a:gdLst>
                  <a:gd name="connsiteX0" fmla="*/ 127373 w 149319"/>
                  <a:gd name="connsiteY0" fmla="*/ 67119 h 67118"/>
                  <a:gd name="connsiteX1" fmla="*/ 96865 w 149319"/>
                  <a:gd name="connsiteY1" fmla="*/ 64068 h 67118"/>
                  <a:gd name="connsiteX2" fmla="*/ 11440 w 149319"/>
                  <a:gd name="connsiteY2" fmla="*/ 64068 h 67118"/>
                  <a:gd name="connsiteX3" fmla="*/ 2288 w 149319"/>
                  <a:gd name="connsiteY3" fmla="*/ 64068 h 67118"/>
                  <a:gd name="connsiteX4" fmla="*/ 2288 w 149319"/>
                  <a:gd name="connsiteY4" fmla="*/ 54915 h 67118"/>
                  <a:gd name="connsiteX5" fmla="*/ 99915 w 149319"/>
                  <a:gd name="connsiteY5" fmla="*/ 51865 h 67118"/>
                  <a:gd name="connsiteX6" fmla="*/ 130424 w 149319"/>
                  <a:gd name="connsiteY6" fmla="*/ 54915 h 67118"/>
                  <a:gd name="connsiteX7" fmla="*/ 139576 w 149319"/>
                  <a:gd name="connsiteY7" fmla="*/ 51865 h 67118"/>
                  <a:gd name="connsiteX8" fmla="*/ 124321 w 149319"/>
                  <a:gd name="connsiteY8" fmla="*/ 33559 h 67118"/>
                  <a:gd name="connsiteX9" fmla="*/ 23644 w 149319"/>
                  <a:gd name="connsiteY9" fmla="*/ 12203 h 67118"/>
                  <a:gd name="connsiteX10" fmla="*/ 17542 w 149319"/>
                  <a:gd name="connsiteY10" fmla="*/ 6102 h 67118"/>
                  <a:gd name="connsiteX11" fmla="*/ 23644 w 149319"/>
                  <a:gd name="connsiteY11" fmla="*/ 0 h 67118"/>
                  <a:gd name="connsiteX12" fmla="*/ 130424 w 149319"/>
                  <a:gd name="connsiteY12" fmla="*/ 24407 h 67118"/>
                  <a:gd name="connsiteX13" fmla="*/ 148728 w 149319"/>
                  <a:gd name="connsiteY13" fmla="*/ 54915 h 67118"/>
                  <a:gd name="connsiteX14" fmla="*/ 127373 w 149319"/>
                  <a:gd name="connsiteY14" fmla="*/ 67119 h 67118"/>
                  <a:gd name="connsiteX15" fmla="*/ 127373 w 149319"/>
                  <a:gd name="connsiteY15" fmla="*/ 67119 h 67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9319" h="67118">
                    <a:moveTo>
                      <a:pt x="127373" y="67119"/>
                    </a:moveTo>
                    <a:cubicBezTo>
                      <a:pt x="121271" y="67119"/>
                      <a:pt x="109067" y="67119"/>
                      <a:pt x="96865" y="64068"/>
                    </a:cubicBezTo>
                    <a:cubicBezTo>
                      <a:pt x="69407" y="61017"/>
                      <a:pt x="20594" y="54915"/>
                      <a:pt x="11440" y="64068"/>
                    </a:cubicBezTo>
                    <a:cubicBezTo>
                      <a:pt x="8390" y="67119"/>
                      <a:pt x="5340" y="67119"/>
                      <a:pt x="2288" y="64068"/>
                    </a:cubicBezTo>
                    <a:cubicBezTo>
                      <a:pt x="-763" y="61017"/>
                      <a:pt x="-763" y="57966"/>
                      <a:pt x="2288" y="54915"/>
                    </a:cubicBezTo>
                    <a:cubicBezTo>
                      <a:pt x="14492" y="42712"/>
                      <a:pt x="51102" y="45763"/>
                      <a:pt x="99915" y="51865"/>
                    </a:cubicBezTo>
                    <a:cubicBezTo>
                      <a:pt x="112119" y="54915"/>
                      <a:pt x="124321" y="54915"/>
                      <a:pt x="130424" y="54915"/>
                    </a:cubicBezTo>
                    <a:cubicBezTo>
                      <a:pt x="133474" y="54915"/>
                      <a:pt x="136526" y="54915"/>
                      <a:pt x="139576" y="51865"/>
                    </a:cubicBezTo>
                    <a:cubicBezTo>
                      <a:pt x="139576" y="48814"/>
                      <a:pt x="136526" y="39661"/>
                      <a:pt x="124321" y="33559"/>
                    </a:cubicBezTo>
                    <a:cubicBezTo>
                      <a:pt x="109067" y="24407"/>
                      <a:pt x="45000" y="15254"/>
                      <a:pt x="23644" y="12203"/>
                    </a:cubicBezTo>
                    <a:cubicBezTo>
                      <a:pt x="20594" y="12203"/>
                      <a:pt x="17542" y="9153"/>
                      <a:pt x="17542" y="6102"/>
                    </a:cubicBezTo>
                    <a:cubicBezTo>
                      <a:pt x="17542" y="3051"/>
                      <a:pt x="20594" y="0"/>
                      <a:pt x="23644" y="0"/>
                    </a:cubicBezTo>
                    <a:cubicBezTo>
                      <a:pt x="32796" y="0"/>
                      <a:pt x="112119" y="9153"/>
                      <a:pt x="130424" y="24407"/>
                    </a:cubicBezTo>
                    <a:cubicBezTo>
                      <a:pt x="142628" y="33559"/>
                      <a:pt x="151780" y="45763"/>
                      <a:pt x="148728" y="54915"/>
                    </a:cubicBezTo>
                    <a:cubicBezTo>
                      <a:pt x="142628" y="61017"/>
                      <a:pt x="139576" y="67119"/>
                      <a:pt x="127373" y="67119"/>
                    </a:cubicBezTo>
                    <a:cubicBezTo>
                      <a:pt x="127373" y="67119"/>
                      <a:pt x="127373" y="67119"/>
                      <a:pt x="127373" y="6711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19F48057-BFDE-432D-82C2-FBD9CF31A82E}"/>
                </a:ext>
              </a:extLst>
            </p:cNvPr>
            <p:cNvSpPr/>
            <p:nvPr/>
          </p:nvSpPr>
          <p:spPr>
            <a:xfrm>
              <a:off x="19665240" y="4049515"/>
              <a:ext cx="534445" cy="554330"/>
            </a:xfrm>
            <a:custGeom>
              <a:avLst/>
              <a:gdLst>
                <a:gd name="connsiteX0" fmla="*/ 454460 w 534445"/>
                <a:gd name="connsiteY0" fmla="*/ 0 h 554330"/>
                <a:gd name="connsiteX1" fmla="*/ 18187 w 534445"/>
                <a:gd name="connsiteY1" fmla="*/ 360000 h 554330"/>
                <a:gd name="connsiteX2" fmla="*/ 131069 w 534445"/>
                <a:gd name="connsiteY2" fmla="*/ 549153 h 554330"/>
                <a:gd name="connsiteX3" fmla="*/ 533781 w 534445"/>
                <a:gd name="connsiteY3" fmla="*/ 125085 h 554330"/>
                <a:gd name="connsiteX4" fmla="*/ 454460 w 534445"/>
                <a:gd name="connsiteY4" fmla="*/ 0 h 55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4445" h="554330">
                  <a:moveTo>
                    <a:pt x="454460" y="0"/>
                  </a:moveTo>
                  <a:cubicBezTo>
                    <a:pt x="454460" y="0"/>
                    <a:pt x="57850" y="274576"/>
                    <a:pt x="18187" y="360000"/>
                  </a:cubicBezTo>
                  <a:cubicBezTo>
                    <a:pt x="-24524" y="445424"/>
                    <a:pt x="5985" y="582712"/>
                    <a:pt x="131069" y="549153"/>
                  </a:cubicBezTo>
                  <a:cubicBezTo>
                    <a:pt x="256155" y="515593"/>
                    <a:pt x="524629" y="131187"/>
                    <a:pt x="533781" y="125085"/>
                  </a:cubicBezTo>
                  <a:cubicBezTo>
                    <a:pt x="542933" y="118983"/>
                    <a:pt x="454460" y="0"/>
                    <a:pt x="454460" y="0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2" name="图形 114">
              <a:extLst>
                <a:ext uri="{FF2B5EF4-FFF2-40B4-BE49-F238E27FC236}">
                  <a16:creationId xmlns:a16="http://schemas.microsoft.com/office/drawing/2014/main" id="{BBA113C3-6458-4E5E-9C12-0A2F68FD3590}"/>
                </a:ext>
              </a:extLst>
            </p:cNvPr>
            <p:cNvGrpSpPr/>
            <p:nvPr/>
          </p:nvGrpSpPr>
          <p:grpSpPr>
            <a:xfrm>
              <a:off x="21052645" y="3834858"/>
              <a:ext cx="83476" cy="186141"/>
              <a:chOff x="21052645" y="3834858"/>
              <a:chExt cx="83476" cy="186141"/>
            </a:xfrm>
          </p:grpSpPr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2FDF5674-752D-431C-8086-FEF060C96706}"/>
                  </a:ext>
                </a:extLst>
              </p:cNvPr>
              <p:cNvSpPr/>
              <p:nvPr/>
            </p:nvSpPr>
            <p:spPr>
              <a:xfrm>
                <a:off x="21057356" y="3842058"/>
                <a:ext cx="75224" cy="178941"/>
              </a:xfrm>
              <a:custGeom>
                <a:avLst/>
                <a:gdLst>
                  <a:gd name="connsiteX0" fmla="*/ 66072 w 75224"/>
                  <a:gd name="connsiteY0" fmla="*/ 42712 h 178941"/>
                  <a:gd name="connsiteX1" fmla="*/ 66072 w 75224"/>
                  <a:gd name="connsiteY1" fmla="*/ 42712 h 178941"/>
                  <a:gd name="connsiteX2" fmla="*/ 66072 w 75224"/>
                  <a:gd name="connsiteY2" fmla="*/ 39661 h 178941"/>
                  <a:gd name="connsiteX3" fmla="*/ 59970 w 75224"/>
                  <a:gd name="connsiteY3" fmla="*/ 3051 h 178941"/>
                  <a:gd name="connsiteX4" fmla="*/ 53870 w 75224"/>
                  <a:gd name="connsiteY4" fmla="*/ 0 h 178941"/>
                  <a:gd name="connsiteX5" fmla="*/ 47768 w 75224"/>
                  <a:gd name="connsiteY5" fmla="*/ 3051 h 178941"/>
                  <a:gd name="connsiteX6" fmla="*/ 5055 w 75224"/>
                  <a:gd name="connsiteY6" fmla="*/ 27457 h 178941"/>
                  <a:gd name="connsiteX7" fmla="*/ 2005 w 75224"/>
                  <a:gd name="connsiteY7" fmla="*/ 64068 h 178941"/>
                  <a:gd name="connsiteX8" fmla="*/ 11157 w 75224"/>
                  <a:gd name="connsiteY8" fmla="*/ 73220 h 178941"/>
                  <a:gd name="connsiteX9" fmla="*/ 11157 w 75224"/>
                  <a:gd name="connsiteY9" fmla="*/ 106780 h 178941"/>
                  <a:gd name="connsiteX10" fmla="*/ 17259 w 75224"/>
                  <a:gd name="connsiteY10" fmla="*/ 112881 h 178941"/>
                  <a:gd name="connsiteX11" fmla="*/ 14207 w 75224"/>
                  <a:gd name="connsiteY11" fmla="*/ 143390 h 178941"/>
                  <a:gd name="connsiteX12" fmla="*/ 23361 w 75224"/>
                  <a:gd name="connsiteY12" fmla="*/ 149491 h 178941"/>
                  <a:gd name="connsiteX13" fmla="*/ 20309 w 75224"/>
                  <a:gd name="connsiteY13" fmla="*/ 173898 h 178941"/>
                  <a:gd name="connsiteX14" fmla="*/ 32513 w 75224"/>
                  <a:gd name="connsiteY14" fmla="*/ 176949 h 178941"/>
                  <a:gd name="connsiteX15" fmla="*/ 50818 w 75224"/>
                  <a:gd name="connsiteY15" fmla="*/ 167797 h 178941"/>
                  <a:gd name="connsiteX16" fmla="*/ 63022 w 75224"/>
                  <a:gd name="connsiteY16" fmla="*/ 152542 h 178941"/>
                  <a:gd name="connsiteX17" fmla="*/ 59970 w 75224"/>
                  <a:gd name="connsiteY17" fmla="*/ 131186 h 178941"/>
                  <a:gd name="connsiteX18" fmla="*/ 69124 w 75224"/>
                  <a:gd name="connsiteY18" fmla="*/ 112881 h 178941"/>
                  <a:gd name="connsiteX19" fmla="*/ 69124 w 75224"/>
                  <a:gd name="connsiteY19" fmla="*/ 88474 h 178941"/>
                  <a:gd name="connsiteX20" fmla="*/ 75224 w 75224"/>
                  <a:gd name="connsiteY20" fmla="*/ 76271 h 178941"/>
                  <a:gd name="connsiteX21" fmla="*/ 66072 w 75224"/>
                  <a:gd name="connsiteY21" fmla="*/ 42712 h 178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5224" h="178941">
                    <a:moveTo>
                      <a:pt x="66072" y="42712"/>
                    </a:moveTo>
                    <a:cubicBezTo>
                      <a:pt x="63022" y="42712"/>
                      <a:pt x="63022" y="42712"/>
                      <a:pt x="66072" y="42712"/>
                    </a:cubicBezTo>
                    <a:cubicBezTo>
                      <a:pt x="63022" y="39661"/>
                      <a:pt x="66072" y="39661"/>
                      <a:pt x="66072" y="39661"/>
                    </a:cubicBezTo>
                    <a:cubicBezTo>
                      <a:pt x="69124" y="24407"/>
                      <a:pt x="66072" y="6102"/>
                      <a:pt x="59970" y="3051"/>
                    </a:cubicBezTo>
                    <a:cubicBezTo>
                      <a:pt x="56920" y="0"/>
                      <a:pt x="53870" y="0"/>
                      <a:pt x="53870" y="0"/>
                    </a:cubicBezTo>
                    <a:cubicBezTo>
                      <a:pt x="53870" y="0"/>
                      <a:pt x="47768" y="3051"/>
                      <a:pt x="47768" y="3051"/>
                    </a:cubicBezTo>
                    <a:cubicBezTo>
                      <a:pt x="32513" y="9152"/>
                      <a:pt x="14207" y="9152"/>
                      <a:pt x="5055" y="27457"/>
                    </a:cubicBezTo>
                    <a:cubicBezTo>
                      <a:pt x="-1047" y="36610"/>
                      <a:pt x="-1047" y="51864"/>
                      <a:pt x="2005" y="64068"/>
                    </a:cubicBezTo>
                    <a:cubicBezTo>
                      <a:pt x="5055" y="70169"/>
                      <a:pt x="8107" y="73220"/>
                      <a:pt x="11157" y="73220"/>
                    </a:cubicBezTo>
                    <a:cubicBezTo>
                      <a:pt x="8107" y="82373"/>
                      <a:pt x="5055" y="97627"/>
                      <a:pt x="11157" y="106780"/>
                    </a:cubicBezTo>
                    <a:cubicBezTo>
                      <a:pt x="14207" y="112881"/>
                      <a:pt x="14207" y="112881"/>
                      <a:pt x="17259" y="112881"/>
                    </a:cubicBezTo>
                    <a:cubicBezTo>
                      <a:pt x="14207" y="122034"/>
                      <a:pt x="11157" y="134237"/>
                      <a:pt x="14207" y="143390"/>
                    </a:cubicBezTo>
                    <a:cubicBezTo>
                      <a:pt x="17259" y="149491"/>
                      <a:pt x="20309" y="149491"/>
                      <a:pt x="23361" y="149491"/>
                    </a:cubicBezTo>
                    <a:cubicBezTo>
                      <a:pt x="20309" y="155593"/>
                      <a:pt x="20309" y="164746"/>
                      <a:pt x="20309" y="173898"/>
                    </a:cubicBezTo>
                    <a:cubicBezTo>
                      <a:pt x="23361" y="183051"/>
                      <a:pt x="29461" y="176949"/>
                      <a:pt x="32513" y="176949"/>
                    </a:cubicBezTo>
                    <a:cubicBezTo>
                      <a:pt x="38615" y="173898"/>
                      <a:pt x="44716" y="173898"/>
                      <a:pt x="50818" y="167797"/>
                    </a:cubicBezTo>
                    <a:cubicBezTo>
                      <a:pt x="53870" y="164746"/>
                      <a:pt x="63022" y="164746"/>
                      <a:pt x="63022" y="152542"/>
                    </a:cubicBezTo>
                    <a:cubicBezTo>
                      <a:pt x="66072" y="143390"/>
                      <a:pt x="63022" y="137288"/>
                      <a:pt x="59970" y="131186"/>
                    </a:cubicBezTo>
                    <a:cubicBezTo>
                      <a:pt x="63022" y="128136"/>
                      <a:pt x="69124" y="125085"/>
                      <a:pt x="69124" y="112881"/>
                    </a:cubicBezTo>
                    <a:cubicBezTo>
                      <a:pt x="72174" y="103729"/>
                      <a:pt x="69124" y="94576"/>
                      <a:pt x="69124" y="88474"/>
                    </a:cubicBezTo>
                    <a:cubicBezTo>
                      <a:pt x="72174" y="85424"/>
                      <a:pt x="72174" y="82373"/>
                      <a:pt x="75224" y="76271"/>
                    </a:cubicBezTo>
                    <a:cubicBezTo>
                      <a:pt x="75224" y="64068"/>
                      <a:pt x="72174" y="48814"/>
                      <a:pt x="66072" y="4271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827656AE-DF2A-4C4B-9494-022444009D60}"/>
                  </a:ext>
                </a:extLst>
              </p:cNvPr>
              <p:cNvSpPr/>
              <p:nvPr/>
            </p:nvSpPr>
            <p:spPr>
              <a:xfrm>
                <a:off x="21052645" y="3834858"/>
                <a:ext cx="83476" cy="123131"/>
              </a:xfrm>
              <a:custGeom>
                <a:avLst/>
                <a:gdLst>
                  <a:gd name="connsiteX0" fmla="*/ 25020 w 83476"/>
                  <a:gd name="connsiteY0" fmla="*/ 123132 h 123131"/>
                  <a:gd name="connsiteX1" fmla="*/ 12818 w 83476"/>
                  <a:gd name="connsiteY1" fmla="*/ 120081 h 123131"/>
                  <a:gd name="connsiteX2" fmla="*/ 614 w 83476"/>
                  <a:gd name="connsiteY2" fmla="*/ 98725 h 123131"/>
                  <a:gd name="connsiteX3" fmla="*/ 9766 w 83476"/>
                  <a:gd name="connsiteY3" fmla="*/ 71267 h 123131"/>
                  <a:gd name="connsiteX4" fmla="*/ 64681 w 83476"/>
                  <a:gd name="connsiteY4" fmla="*/ 28555 h 123131"/>
                  <a:gd name="connsiteX5" fmla="*/ 61631 w 83476"/>
                  <a:gd name="connsiteY5" fmla="*/ 16352 h 123131"/>
                  <a:gd name="connsiteX6" fmla="*/ 25020 w 83476"/>
                  <a:gd name="connsiteY6" fmla="*/ 25505 h 123131"/>
                  <a:gd name="connsiteX7" fmla="*/ 15868 w 83476"/>
                  <a:gd name="connsiteY7" fmla="*/ 22454 h 123131"/>
                  <a:gd name="connsiteX8" fmla="*/ 18918 w 83476"/>
                  <a:gd name="connsiteY8" fmla="*/ 13301 h 123131"/>
                  <a:gd name="connsiteX9" fmla="*/ 67733 w 83476"/>
                  <a:gd name="connsiteY9" fmla="*/ 4149 h 123131"/>
                  <a:gd name="connsiteX10" fmla="*/ 76885 w 83476"/>
                  <a:gd name="connsiteY10" fmla="*/ 25505 h 123131"/>
                  <a:gd name="connsiteX11" fmla="*/ 73835 w 83476"/>
                  <a:gd name="connsiteY11" fmla="*/ 37708 h 123131"/>
                  <a:gd name="connsiteX12" fmla="*/ 73835 w 83476"/>
                  <a:gd name="connsiteY12" fmla="*/ 37708 h 123131"/>
                  <a:gd name="connsiteX13" fmla="*/ 82987 w 83476"/>
                  <a:gd name="connsiteY13" fmla="*/ 74318 h 123131"/>
                  <a:gd name="connsiteX14" fmla="*/ 52479 w 83476"/>
                  <a:gd name="connsiteY14" fmla="*/ 110928 h 123131"/>
                  <a:gd name="connsiteX15" fmla="*/ 25020 w 83476"/>
                  <a:gd name="connsiteY15" fmla="*/ 123132 h 123131"/>
                  <a:gd name="connsiteX16" fmla="*/ 12818 w 83476"/>
                  <a:gd name="connsiteY16" fmla="*/ 83471 h 123131"/>
                  <a:gd name="connsiteX17" fmla="*/ 9766 w 83476"/>
                  <a:gd name="connsiteY17" fmla="*/ 98725 h 123131"/>
                  <a:gd name="connsiteX18" fmla="*/ 15868 w 83476"/>
                  <a:gd name="connsiteY18" fmla="*/ 110928 h 123131"/>
                  <a:gd name="connsiteX19" fmla="*/ 46376 w 83476"/>
                  <a:gd name="connsiteY19" fmla="*/ 104827 h 123131"/>
                  <a:gd name="connsiteX20" fmla="*/ 70783 w 83476"/>
                  <a:gd name="connsiteY20" fmla="*/ 77369 h 123131"/>
                  <a:gd name="connsiteX21" fmla="*/ 67733 w 83476"/>
                  <a:gd name="connsiteY21" fmla="*/ 56013 h 123131"/>
                  <a:gd name="connsiteX22" fmla="*/ 12818 w 83476"/>
                  <a:gd name="connsiteY22" fmla="*/ 83471 h 123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83476" h="123131">
                    <a:moveTo>
                      <a:pt x="25020" y="123132"/>
                    </a:moveTo>
                    <a:cubicBezTo>
                      <a:pt x="18918" y="123132"/>
                      <a:pt x="15868" y="123132"/>
                      <a:pt x="12818" y="120081"/>
                    </a:cubicBezTo>
                    <a:cubicBezTo>
                      <a:pt x="6716" y="117030"/>
                      <a:pt x="3664" y="107877"/>
                      <a:pt x="614" y="98725"/>
                    </a:cubicBezTo>
                    <a:cubicBezTo>
                      <a:pt x="-2436" y="74318"/>
                      <a:pt x="6716" y="71267"/>
                      <a:pt x="9766" y="71267"/>
                    </a:cubicBezTo>
                    <a:cubicBezTo>
                      <a:pt x="61631" y="62115"/>
                      <a:pt x="61631" y="40759"/>
                      <a:pt x="64681" y="28555"/>
                    </a:cubicBezTo>
                    <a:cubicBezTo>
                      <a:pt x="64681" y="22454"/>
                      <a:pt x="64681" y="19403"/>
                      <a:pt x="61631" y="16352"/>
                    </a:cubicBezTo>
                    <a:cubicBezTo>
                      <a:pt x="52479" y="10250"/>
                      <a:pt x="34172" y="22454"/>
                      <a:pt x="25020" y="25505"/>
                    </a:cubicBezTo>
                    <a:cubicBezTo>
                      <a:pt x="21970" y="28555"/>
                      <a:pt x="18918" y="25505"/>
                      <a:pt x="15868" y="22454"/>
                    </a:cubicBezTo>
                    <a:cubicBezTo>
                      <a:pt x="12818" y="19403"/>
                      <a:pt x="15868" y="16352"/>
                      <a:pt x="18918" y="13301"/>
                    </a:cubicBezTo>
                    <a:cubicBezTo>
                      <a:pt x="21970" y="10250"/>
                      <a:pt x="52479" y="-8055"/>
                      <a:pt x="67733" y="4149"/>
                    </a:cubicBezTo>
                    <a:cubicBezTo>
                      <a:pt x="73835" y="7200"/>
                      <a:pt x="76885" y="16352"/>
                      <a:pt x="76885" y="25505"/>
                    </a:cubicBezTo>
                    <a:cubicBezTo>
                      <a:pt x="76885" y="31606"/>
                      <a:pt x="76885" y="34657"/>
                      <a:pt x="73835" y="37708"/>
                    </a:cubicBezTo>
                    <a:cubicBezTo>
                      <a:pt x="73835" y="37708"/>
                      <a:pt x="73835" y="37708"/>
                      <a:pt x="73835" y="37708"/>
                    </a:cubicBezTo>
                    <a:cubicBezTo>
                      <a:pt x="73835" y="37708"/>
                      <a:pt x="86037" y="52962"/>
                      <a:pt x="82987" y="74318"/>
                    </a:cubicBezTo>
                    <a:cubicBezTo>
                      <a:pt x="82987" y="95674"/>
                      <a:pt x="67733" y="104827"/>
                      <a:pt x="52479" y="110928"/>
                    </a:cubicBezTo>
                    <a:cubicBezTo>
                      <a:pt x="40274" y="120081"/>
                      <a:pt x="31122" y="123132"/>
                      <a:pt x="25020" y="123132"/>
                    </a:cubicBezTo>
                    <a:close/>
                    <a:moveTo>
                      <a:pt x="12818" y="83471"/>
                    </a:moveTo>
                    <a:cubicBezTo>
                      <a:pt x="12818" y="83471"/>
                      <a:pt x="9766" y="89572"/>
                      <a:pt x="9766" y="98725"/>
                    </a:cubicBezTo>
                    <a:cubicBezTo>
                      <a:pt x="9766" y="104827"/>
                      <a:pt x="12818" y="107877"/>
                      <a:pt x="15868" y="110928"/>
                    </a:cubicBezTo>
                    <a:cubicBezTo>
                      <a:pt x="18918" y="113979"/>
                      <a:pt x="28072" y="113979"/>
                      <a:pt x="46376" y="104827"/>
                    </a:cubicBezTo>
                    <a:cubicBezTo>
                      <a:pt x="64681" y="95674"/>
                      <a:pt x="70783" y="89572"/>
                      <a:pt x="70783" y="77369"/>
                    </a:cubicBezTo>
                    <a:cubicBezTo>
                      <a:pt x="70783" y="68217"/>
                      <a:pt x="67733" y="62115"/>
                      <a:pt x="67733" y="56013"/>
                    </a:cubicBezTo>
                    <a:cubicBezTo>
                      <a:pt x="61631" y="68217"/>
                      <a:pt x="43326" y="77369"/>
                      <a:pt x="12818" y="8347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FE9096C7-DB28-4525-A65C-963915001BF7}"/>
                  </a:ext>
                </a:extLst>
              </p:cNvPr>
              <p:cNvSpPr/>
              <p:nvPr/>
            </p:nvSpPr>
            <p:spPr>
              <a:xfrm>
                <a:off x="21058096" y="3930532"/>
                <a:ext cx="70332" cy="70169"/>
              </a:xfrm>
              <a:custGeom>
                <a:avLst/>
                <a:gdLst>
                  <a:gd name="connsiteX0" fmla="*/ 16518 w 70332"/>
                  <a:gd name="connsiteY0" fmla="*/ 70170 h 70169"/>
                  <a:gd name="connsiteX1" fmla="*/ 7366 w 70332"/>
                  <a:gd name="connsiteY1" fmla="*/ 70170 h 70169"/>
                  <a:gd name="connsiteX2" fmla="*/ 1264 w 70332"/>
                  <a:gd name="connsiteY2" fmla="*/ 64068 h 70169"/>
                  <a:gd name="connsiteX3" fmla="*/ 4314 w 70332"/>
                  <a:gd name="connsiteY3" fmla="*/ 27458 h 70169"/>
                  <a:gd name="connsiteX4" fmla="*/ 10416 w 70332"/>
                  <a:gd name="connsiteY4" fmla="*/ 24407 h 70169"/>
                  <a:gd name="connsiteX5" fmla="*/ 13466 w 70332"/>
                  <a:gd name="connsiteY5" fmla="*/ 30508 h 70169"/>
                  <a:gd name="connsiteX6" fmla="*/ 10416 w 70332"/>
                  <a:gd name="connsiteY6" fmla="*/ 61017 h 70169"/>
                  <a:gd name="connsiteX7" fmla="*/ 50077 w 70332"/>
                  <a:gd name="connsiteY7" fmla="*/ 45763 h 70169"/>
                  <a:gd name="connsiteX8" fmla="*/ 59229 w 70332"/>
                  <a:gd name="connsiteY8" fmla="*/ 6102 h 70169"/>
                  <a:gd name="connsiteX9" fmla="*/ 62281 w 70332"/>
                  <a:gd name="connsiteY9" fmla="*/ 0 h 70169"/>
                  <a:gd name="connsiteX10" fmla="*/ 68383 w 70332"/>
                  <a:gd name="connsiteY10" fmla="*/ 3051 h 70169"/>
                  <a:gd name="connsiteX11" fmla="*/ 56179 w 70332"/>
                  <a:gd name="connsiteY11" fmla="*/ 54915 h 70169"/>
                  <a:gd name="connsiteX12" fmla="*/ 16518 w 70332"/>
                  <a:gd name="connsiteY12" fmla="*/ 70170 h 7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0332" h="70169">
                    <a:moveTo>
                      <a:pt x="16518" y="70170"/>
                    </a:moveTo>
                    <a:cubicBezTo>
                      <a:pt x="13466" y="70170"/>
                      <a:pt x="10416" y="70170"/>
                      <a:pt x="7366" y="70170"/>
                    </a:cubicBezTo>
                    <a:cubicBezTo>
                      <a:pt x="4314" y="70170"/>
                      <a:pt x="4314" y="67119"/>
                      <a:pt x="1264" y="64068"/>
                    </a:cubicBezTo>
                    <a:cubicBezTo>
                      <a:pt x="-1788" y="54915"/>
                      <a:pt x="1264" y="33560"/>
                      <a:pt x="4314" y="27458"/>
                    </a:cubicBezTo>
                    <a:cubicBezTo>
                      <a:pt x="4314" y="24407"/>
                      <a:pt x="10416" y="24407"/>
                      <a:pt x="10416" y="24407"/>
                    </a:cubicBezTo>
                    <a:cubicBezTo>
                      <a:pt x="13466" y="24407"/>
                      <a:pt x="13466" y="30508"/>
                      <a:pt x="13466" y="30508"/>
                    </a:cubicBezTo>
                    <a:cubicBezTo>
                      <a:pt x="10416" y="36610"/>
                      <a:pt x="10416" y="54915"/>
                      <a:pt x="10416" y="61017"/>
                    </a:cubicBezTo>
                    <a:cubicBezTo>
                      <a:pt x="13466" y="61017"/>
                      <a:pt x="31773" y="61017"/>
                      <a:pt x="50077" y="45763"/>
                    </a:cubicBezTo>
                    <a:cubicBezTo>
                      <a:pt x="65331" y="33560"/>
                      <a:pt x="59229" y="6102"/>
                      <a:pt x="59229" y="6102"/>
                    </a:cubicBezTo>
                    <a:cubicBezTo>
                      <a:pt x="59229" y="3051"/>
                      <a:pt x="59229" y="0"/>
                      <a:pt x="62281" y="0"/>
                    </a:cubicBezTo>
                    <a:cubicBezTo>
                      <a:pt x="65331" y="0"/>
                      <a:pt x="68383" y="0"/>
                      <a:pt x="68383" y="3051"/>
                    </a:cubicBezTo>
                    <a:cubicBezTo>
                      <a:pt x="68383" y="3051"/>
                      <a:pt x="77535" y="36610"/>
                      <a:pt x="56179" y="54915"/>
                    </a:cubicBezTo>
                    <a:cubicBezTo>
                      <a:pt x="47027" y="64068"/>
                      <a:pt x="28721" y="70170"/>
                      <a:pt x="16518" y="7017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E7C70925-4C39-4B2C-99A0-82799BB215B3}"/>
                </a:ext>
              </a:extLst>
            </p:cNvPr>
            <p:cNvSpPr/>
            <p:nvPr/>
          </p:nvSpPr>
          <p:spPr>
            <a:xfrm>
              <a:off x="19733004" y="4245532"/>
              <a:ext cx="117456" cy="102966"/>
            </a:xfrm>
            <a:custGeom>
              <a:avLst/>
              <a:gdLst>
                <a:gd name="connsiteX0" fmla="*/ 5340 w 117456"/>
                <a:gd name="connsiteY0" fmla="*/ 102966 h 102966"/>
                <a:gd name="connsiteX1" fmla="*/ 2288 w 117456"/>
                <a:gd name="connsiteY1" fmla="*/ 99915 h 102966"/>
                <a:gd name="connsiteX2" fmla="*/ 2288 w 117456"/>
                <a:gd name="connsiteY2" fmla="*/ 90763 h 102966"/>
                <a:gd name="connsiteX3" fmla="*/ 106017 w 117456"/>
                <a:gd name="connsiteY3" fmla="*/ 2288 h 102966"/>
                <a:gd name="connsiteX4" fmla="*/ 115169 w 117456"/>
                <a:gd name="connsiteY4" fmla="*/ 2288 h 102966"/>
                <a:gd name="connsiteX5" fmla="*/ 115169 w 117456"/>
                <a:gd name="connsiteY5" fmla="*/ 11441 h 102966"/>
                <a:gd name="connsiteX6" fmla="*/ 11440 w 117456"/>
                <a:gd name="connsiteY6" fmla="*/ 99915 h 102966"/>
                <a:gd name="connsiteX7" fmla="*/ 5340 w 117456"/>
                <a:gd name="connsiteY7" fmla="*/ 102966 h 102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456" h="102966">
                  <a:moveTo>
                    <a:pt x="5340" y="102966"/>
                  </a:moveTo>
                  <a:cubicBezTo>
                    <a:pt x="5340" y="102966"/>
                    <a:pt x="2288" y="102966"/>
                    <a:pt x="2288" y="99915"/>
                  </a:cubicBezTo>
                  <a:cubicBezTo>
                    <a:pt x="-763" y="96864"/>
                    <a:pt x="-763" y="93814"/>
                    <a:pt x="2288" y="90763"/>
                  </a:cubicBezTo>
                  <a:cubicBezTo>
                    <a:pt x="20594" y="72458"/>
                    <a:pt x="102965" y="5339"/>
                    <a:pt x="106017" y="2288"/>
                  </a:cubicBezTo>
                  <a:cubicBezTo>
                    <a:pt x="109067" y="-763"/>
                    <a:pt x="112119" y="-763"/>
                    <a:pt x="115169" y="2288"/>
                  </a:cubicBezTo>
                  <a:cubicBezTo>
                    <a:pt x="118219" y="5339"/>
                    <a:pt x="118219" y="8390"/>
                    <a:pt x="115169" y="11441"/>
                  </a:cubicBezTo>
                  <a:cubicBezTo>
                    <a:pt x="115169" y="11441"/>
                    <a:pt x="29746" y="81610"/>
                    <a:pt x="11440" y="99915"/>
                  </a:cubicBezTo>
                  <a:cubicBezTo>
                    <a:pt x="8390" y="99915"/>
                    <a:pt x="8390" y="102966"/>
                    <a:pt x="5340" y="102966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E547DE01-AF10-4309-9F37-4D3A20C00919}"/>
                </a:ext>
              </a:extLst>
            </p:cNvPr>
            <p:cNvSpPr/>
            <p:nvPr/>
          </p:nvSpPr>
          <p:spPr>
            <a:xfrm>
              <a:off x="19428682" y="3925473"/>
              <a:ext cx="407506" cy="99849"/>
            </a:xfrm>
            <a:custGeom>
              <a:avLst/>
              <a:gdLst>
                <a:gd name="connsiteX0" fmla="*/ 385933 w 407506"/>
                <a:gd name="connsiteY0" fmla="*/ 2008 h 99849"/>
                <a:gd name="connsiteX1" fmla="*/ 13730 w 407506"/>
                <a:gd name="connsiteY1" fmla="*/ 69127 h 99849"/>
                <a:gd name="connsiteX2" fmla="*/ 13730 w 407506"/>
                <a:gd name="connsiteY2" fmla="*/ 99635 h 99849"/>
                <a:gd name="connsiteX3" fmla="*/ 401188 w 407506"/>
                <a:gd name="connsiteY3" fmla="*/ 29466 h 99849"/>
                <a:gd name="connsiteX4" fmla="*/ 385933 w 407506"/>
                <a:gd name="connsiteY4" fmla="*/ 2008 h 99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506" h="99849">
                  <a:moveTo>
                    <a:pt x="385933" y="2008"/>
                  </a:moveTo>
                  <a:cubicBezTo>
                    <a:pt x="285254" y="66076"/>
                    <a:pt x="129661" y="56924"/>
                    <a:pt x="13730" y="69127"/>
                  </a:cubicBezTo>
                  <a:cubicBezTo>
                    <a:pt x="-4577" y="72178"/>
                    <a:pt x="-4577" y="102686"/>
                    <a:pt x="13730" y="99635"/>
                  </a:cubicBezTo>
                  <a:cubicBezTo>
                    <a:pt x="138814" y="87432"/>
                    <a:pt x="294408" y="96584"/>
                    <a:pt x="401188" y="29466"/>
                  </a:cubicBezTo>
                  <a:cubicBezTo>
                    <a:pt x="416442" y="17262"/>
                    <a:pt x="401188" y="-7144"/>
                    <a:pt x="385933" y="2008"/>
                  </a:cubicBezTo>
                  <a:close/>
                </a:path>
              </a:pathLst>
            </a:custGeom>
            <a:solidFill>
              <a:srgbClr val="7F95BC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9C395020-0FAD-4D21-A11B-D62DF2BDC21A}"/>
                </a:ext>
              </a:extLst>
            </p:cNvPr>
            <p:cNvSpPr/>
            <p:nvPr/>
          </p:nvSpPr>
          <p:spPr>
            <a:xfrm>
              <a:off x="19561393" y="3506464"/>
              <a:ext cx="305084" cy="573559"/>
            </a:xfrm>
            <a:custGeom>
              <a:avLst/>
              <a:gdLst>
                <a:gd name="connsiteX0" fmla="*/ 173899 w 305084"/>
                <a:gd name="connsiteY0" fmla="*/ 573559 h 573559"/>
                <a:gd name="connsiteX1" fmla="*/ 167797 w 305084"/>
                <a:gd name="connsiteY1" fmla="*/ 570509 h 573559"/>
                <a:gd name="connsiteX2" fmla="*/ 170849 w 305084"/>
                <a:gd name="connsiteY2" fmla="*/ 564407 h 573559"/>
                <a:gd name="connsiteX3" fmla="*/ 292882 w 305084"/>
                <a:gd name="connsiteY3" fmla="*/ 515593 h 573559"/>
                <a:gd name="connsiteX4" fmla="*/ 180001 w 305084"/>
                <a:gd name="connsiteY4" fmla="*/ 176949 h 573559"/>
                <a:gd name="connsiteX5" fmla="*/ 6102 w 305084"/>
                <a:gd name="connsiteY5" fmla="*/ 12203 h 573559"/>
                <a:gd name="connsiteX6" fmla="*/ 6102 w 305084"/>
                <a:gd name="connsiteY6" fmla="*/ 12203 h 573559"/>
                <a:gd name="connsiteX7" fmla="*/ 6102 w 305084"/>
                <a:gd name="connsiteY7" fmla="*/ 12203 h 573559"/>
                <a:gd name="connsiteX8" fmla="*/ 0 w 305084"/>
                <a:gd name="connsiteY8" fmla="*/ 6102 h 573559"/>
                <a:gd name="connsiteX9" fmla="*/ 6102 w 305084"/>
                <a:gd name="connsiteY9" fmla="*/ 0 h 573559"/>
                <a:gd name="connsiteX10" fmla="*/ 192205 w 305084"/>
                <a:gd name="connsiteY10" fmla="*/ 173898 h 573559"/>
                <a:gd name="connsiteX11" fmla="*/ 305085 w 305084"/>
                <a:gd name="connsiteY11" fmla="*/ 515593 h 573559"/>
                <a:gd name="connsiteX12" fmla="*/ 305085 w 305084"/>
                <a:gd name="connsiteY12" fmla="*/ 518644 h 573559"/>
                <a:gd name="connsiteX13" fmla="*/ 302035 w 305084"/>
                <a:gd name="connsiteY13" fmla="*/ 521695 h 573559"/>
                <a:gd name="connsiteX14" fmla="*/ 173899 w 305084"/>
                <a:gd name="connsiteY14" fmla="*/ 573559 h 573559"/>
                <a:gd name="connsiteX15" fmla="*/ 173899 w 305084"/>
                <a:gd name="connsiteY15" fmla="*/ 573559 h 57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5084" h="573559">
                  <a:moveTo>
                    <a:pt x="173899" y="573559"/>
                  </a:moveTo>
                  <a:cubicBezTo>
                    <a:pt x="170849" y="573559"/>
                    <a:pt x="167797" y="570509"/>
                    <a:pt x="167797" y="570509"/>
                  </a:cubicBezTo>
                  <a:cubicBezTo>
                    <a:pt x="167797" y="567458"/>
                    <a:pt x="167797" y="564407"/>
                    <a:pt x="170849" y="564407"/>
                  </a:cubicBezTo>
                  <a:cubicBezTo>
                    <a:pt x="225763" y="552203"/>
                    <a:pt x="277628" y="524746"/>
                    <a:pt x="292882" y="515593"/>
                  </a:cubicBezTo>
                  <a:cubicBezTo>
                    <a:pt x="283730" y="488136"/>
                    <a:pt x="241018" y="332542"/>
                    <a:pt x="180001" y="176949"/>
                  </a:cubicBezTo>
                  <a:cubicBezTo>
                    <a:pt x="115934" y="12203"/>
                    <a:pt x="9154" y="12203"/>
                    <a:pt x="6102" y="12203"/>
                  </a:cubicBezTo>
                  <a:cubicBezTo>
                    <a:pt x="6102" y="12203"/>
                    <a:pt x="6102" y="12203"/>
                    <a:pt x="6102" y="12203"/>
                  </a:cubicBezTo>
                  <a:cubicBezTo>
                    <a:pt x="6102" y="12203"/>
                    <a:pt x="6102" y="12203"/>
                    <a:pt x="6102" y="12203"/>
                  </a:cubicBezTo>
                  <a:cubicBezTo>
                    <a:pt x="3052" y="12203"/>
                    <a:pt x="0" y="9153"/>
                    <a:pt x="0" y="6102"/>
                  </a:cubicBezTo>
                  <a:cubicBezTo>
                    <a:pt x="0" y="3051"/>
                    <a:pt x="3052" y="0"/>
                    <a:pt x="6102" y="0"/>
                  </a:cubicBezTo>
                  <a:cubicBezTo>
                    <a:pt x="12204" y="0"/>
                    <a:pt x="125086" y="0"/>
                    <a:pt x="192205" y="173898"/>
                  </a:cubicBezTo>
                  <a:cubicBezTo>
                    <a:pt x="256272" y="344746"/>
                    <a:pt x="305085" y="515593"/>
                    <a:pt x="305085" y="515593"/>
                  </a:cubicBezTo>
                  <a:lnTo>
                    <a:pt x="305085" y="518644"/>
                  </a:lnTo>
                  <a:lnTo>
                    <a:pt x="302035" y="521695"/>
                  </a:lnTo>
                  <a:cubicBezTo>
                    <a:pt x="302035" y="521695"/>
                    <a:pt x="241018" y="558305"/>
                    <a:pt x="173899" y="573559"/>
                  </a:cubicBezTo>
                  <a:cubicBezTo>
                    <a:pt x="173899" y="573559"/>
                    <a:pt x="173899" y="573559"/>
                    <a:pt x="173899" y="573559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F73A29F7-749A-4C6C-A8CF-80D997EE95BE}"/>
                </a:ext>
              </a:extLst>
            </p:cNvPr>
            <p:cNvSpPr/>
            <p:nvPr/>
          </p:nvSpPr>
          <p:spPr>
            <a:xfrm>
              <a:off x="19796309" y="3131210"/>
              <a:ext cx="67119" cy="143389"/>
            </a:xfrm>
            <a:custGeom>
              <a:avLst/>
              <a:gdLst>
                <a:gd name="connsiteX0" fmla="*/ 0 w 67119"/>
                <a:gd name="connsiteY0" fmla="*/ 0 h 143389"/>
                <a:gd name="connsiteX1" fmla="*/ 57967 w 67119"/>
                <a:gd name="connsiteY1" fmla="*/ 143390 h 143389"/>
                <a:gd name="connsiteX2" fmla="*/ 67119 w 67119"/>
                <a:gd name="connsiteY2" fmla="*/ 57966 h 143389"/>
                <a:gd name="connsiteX3" fmla="*/ 0 w 67119"/>
                <a:gd name="connsiteY3" fmla="*/ 0 h 143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19" h="143389">
                  <a:moveTo>
                    <a:pt x="0" y="0"/>
                  </a:moveTo>
                  <a:cubicBezTo>
                    <a:pt x="0" y="0"/>
                    <a:pt x="6102" y="118983"/>
                    <a:pt x="57967" y="143390"/>
                  </a:cubicBezTo>
                  <a:lnTo>
                    <a:pt x="67119" y="579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189B7243-6EDA-4336-8AFE-228B4E535F6C}"/>
                </a:ext>
              </a:extLst>
            </p:cNvPr>
            <p:cNvSpPr/>
            <p:nvPr/>
          </p:nvSpPr>
          <p:spPr>
            <a:xfrm>
              <a:off x="20156851" y="2951210"/>
              <a:ext cx="105803" cy="234415"/>
            </a:xfrm>
            <a:custGeom>
              <a:avLst/>
              <a:gdLst>
                <a:gd name="connsiteX0" fmla="*/ 103187 w 105803"/>
                <a:gd name="connsiteY0" fmla="*/ 0 h 234415"/>
                <a:gd name="connsiteX1" fmla="*/ 45220 w 105803"/>
                <a:gd name="connsiteY1" fmla="*/ 231864 h 234415"/>
                <a:gd name="connsiteX2" fmla="*/ 5560 w 105803"/>
                <a:gd name="connsiteY2" fmla="*/ 9153 h 234415"/>
                <a:gd name="connsiteX3" fmla="*/ 103187 w 105803"/>
                <a:gd name="connsiteY3" fmla="*/ 0 h 23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03" h="234415">
                  <a:moveTo>
                    <a:pt x="103187" y="0"/>
                  </a:moveTo>
                  <a:cubicBezTo>
                    <a:pt x="103187" y="0"/>
                    <a:pt x="124544" y="198305"/>
                    <a:pt x="45220" y="231864"/>
                  </a:cubicBezTo>
                  <a:cubicBezTo>
                    <a:pt x="-21897" y="262373"/>
                    <a:pt x="5560" y="9153"/>
                    <a:pt x="5560" y="9153"/>
                  </a:cubicBezTo>
                  <a:lnTo>
                    <a:pt x="103187" y="0"/>
                  </a:lnTo>
                  <a:close/>
                </a:path>
              </a:pathLst>
            </a:custGeom>
            <a:solidFill>
              <a:srgbClr val="664241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07E14C67-4B83-457D-9DD6-E260D2352E97}"/>
                </a:ext>
              </a:extLst>
            </p:cNvPr>
            <p:cNvSpPr/>
            <p:nvPr/>
          </p:nvSpPr>
          <p:spPr>
            <a:xfrm>
              <a:off x="19801941" y="2801232"/>
              <a:ext cx="418087" cy="568078"/>
            </a:xfrm>
            <a:custGeom>
              <a:avLst/>
              <a:gdLst>
                <a:gd name="connsiteX0" fmla="*/ 415385 w 418087"/>
                <a:gd name="connsiteY0" fmla="*/ 192690 h 568078"/>
                <a:gd name="connsiteX1" fmla="*/ 400131 w 418087"/>
                <a:gd name="connsiteY1" fmla="*/ 442859 h 568078"/>
                <a:gd name="connsiteX2" fmla="*/ 232334 w 418087"/>
                <a:gd name="connsiteY2" fmla="*/ 567944 h 568078"/>
                <a:gd name="connsiteX3" fmla="*/ 24877 w 418087"/>
                <a:gd name="connsiteY3" fmla="*/ 412351 h 568078"/>
                <a:gd name="connsiteX4" fmla="*/ 470 w 418087"/>
                <a:gd name="connsiteY4" fmla="*/ 186588 h 568078"/>
                <a:gd name="connsiteX5" fmla="*/ 226234 w 418087"/>
                <a:gd name="connsiteY5" fmla="*/ 487 h 568078"/>
                <a:gd name="connsiteX6" fmla="*/ 415385 w 418087"/>
                <a:gd name="connsiteY6" fmla="*/ 192690 h 568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087" h="568078">
                  <a:moveTo>
                    <a:pt x="415385" y="192690"/>
                  </a:moveTo>
                  <a:cubicBezTo>
                    <a:pt x="415385" y="192690"/>
                    <a:pt x="427589" y="369639"/>
                    <a:pt x="400131" y="442859"/>
                  </a:cubicBezTo>
                  <a:cubicBezTo>
                    <a:pt x="378776" y="506927"/>
                    <a:pt x="284199" y="567944"/>
                    <a:pt x="232334" y="567944"/>
                  </a:cubicBezTo>
                  <a:cubicBezTo>
                    <a:pt x="165217" y="570995"/>
                    <a:pt x="49283" y="522181"/>
                    <a:pt x="24877" y="412351"/>
                  </a:cubicBezTo>
                  <a:cubicBezTo>
                    <a:pt x="9623" y="339131"/>
                    <a:pt x="-2580" y="235402"/>
                    <a:pt x="470" y="186588"/>
                  </a:cubicBezTo>
                  <a:cubicBezTo>
                    <a:pt x="6573" y="92012"/>
                    <a:pt x="40131" y="15741"/>
                    <a:pt x="226234" y="487"/>
                  </a:cubicBezTo>
                  <a:cubicBezTo>
                    <a:pt x="311657" y="-8666"/>
                    <a:pt x="400131" y="113368"/>
                    <a:pt x="415385" y="192690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2A4F347E-941E-4006-AA72-A6A657801297}"/>
                </a:ext>
              </a:extLst>
            </p:cNvPr>
            <p:cNvSpPr/>
            <p:nvPr/>
          </p:nvSpPr>
          <p:spPr>
            <a:xfrm>
              <a:off x="20020808" y="3070193"/>
              <a:ext cx="62770" cy="134237"/>
            </a:xfrm>
            <a:custGeom>
              <a:avLst/>
              <a:gdLst>
                <a:gd name="connsiteX0" fmla="*/ 31773 w 62770"/>
                <a:gd name="connsiteY0" fmla="*/ 134237 h 134237"/>
                <a:gd name="connsiteX1" fmla="*/ 4314 w 62770"/>
                <a:gd name="connsiteY1" fmla="*/ 131186 h 134237"/>
                <a:gd name="connsiteX2" fmla="*/ 1264 w 62770"/>
                <a:gd name="connsiteY2" fmla="*/ 125085 h 134237"/>
                <a:gd name="connsiteX3" fmla="*/ 7366 w 62770"/>
                <a:gd name="connsiteY3" fmla="*/ 122034 h 134237"/>
                <a:gd name="connsiteX4" fmla="*/ 47027 w 62770"/>
                <a:gd name="connsiteY4" fmla="*/ 122034 h 134237"/>
                <a:gd name="connsiteX5" fmla="*/ 50077 w 62770"/>
                <a:gd name="connsiteY5" fmla="*/ 118983 h 134237"/>
                <a:gd name="connsiteX6" fmla="*/ 40925 w 62770"/>
                <a:gd name="connsiteY6" fmla="*/ 6102 h 134237"/>
                <a:gd name="connsiteX7" fmla="*/ 47027 w 62770"/>
                <a:gd name="connsiteY7" fmla="*/ 0 h 134237"/>
                <a:gd name="connsiteX8" fmla="*/ 53129 w 62770"/>
                <a:gd name="connsiteY8" fmla="*/ 6102 h 134237"/>
                <a:gd name="connsiteX9" fmla="*/ 62281 w 62770"/>
                <a:gd name="connsiteY9" fmla="*/ 122034 h 134237"/>
                <a:gd name="connsiteX10" fmla="*/ 56179 w 62770"/>
                <a:gd name="connsiteY10" fmla="*/ 134237 h 134237"/>
                <a:gd name="connsiteX11" fmla="*/ 31773 w 62770"/>
                <a:gd name="connsiteY11" fmla="*/ 134237 h 13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770" h="134237">
                  <a:moveTo>
                    <a:pt x="31773" y="134237"/>
                  </a:moveTo>
                  <a:cubicBezTo>
                    <a:pt x="19569" y="134237"/>
                    <a:pt x="7366" y="131186"/>
                    <a:pt x="4314" y="131186"/>
                  </a:cubicBezTo>
                  <a:cubicBezTo>
                    <a:pt x="1264" y="131186"/>
                    <a:pt x="-1788" y="128136"/>
                    <a:pt x="1264" y="125085"/>
                  </a:cubicBezTo>
                  <a:cubicBezTo>
                    <a:pt x="1264" y="122034"/>
                    <a:pt x="4314" y="118983"/>
                    <a:pt x="7366" y="122034"/>
                  </a:cubicBezTo>
                  <a:cubicBezTo>
                    <a:pt x="19569" y="125085"/>
                    <a:pt x="40925" y="128136"/>
                    <a:pt x="47027" y="122034"/>
                  </a:cubicBezTo>
                  <a:cubicBezTo>
                    <a:pt x="47027" y="122034"/>
                    <a:pt x="50077" y="118983"/>
                    <a:pt x="50077" y="118983"/>
                  </a:cubicBezTo>
                  <a:cubicBezTo>
                    <a:pt x="50077" y="100678"/>
                    <a:pt x="40925" y="6102"/>
                    <a:pt x="40925" y="6102"/>
                  </a:cubicBezTo>
                  <a:cubicBezTo>
                    <a:pt x="40925" y="3051"/>
                    <a:pt x="43975" y="0"/>
                    <a:pt x="47027" y="0"/>
                  </a:cubicBezTo>
                  <a:cubicBezTo>
                    <a:pt x="50077" y="0"/>
                    <a:pt x="53129" y="3051"/>
                    <a:pt x="53129" y="6102"/>
                  </a:cubicBezTo>
                  <a:cubicBezTo>
                    <a:pt x="53129" y="9153"/>
                    <a:pt x="65331" y="100678"/>
                    <a:pt x="62281" y="122034"/>
                  </a:cubicBezTo>
                  <a:cubicBezTo>
                    <a:pt x="62281" y="128136"/>
                    <a:pt x="59229" y="131186"/>
                    <a:pt x="56179" y="134237"/>
                  </a:cubicBezTo>
                  <a:cubicBezTo>
                    <a:pt x="47027" y="131186"/>
                    <a:pt x="40925" y="134237"/>
                    <a:pt x="31773" y="134237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E431AEB8-C289-452A-8D07-C8F13AD2783F}"/>
                </a:ext>
              </a:extLst>
            </p:cNvPr>
            <p:cNvSpPr/>
            <p:nvPr/>
          </p:nvSpPr>
          <p:spPr>
            <a:xfrm>
              <a:off x="20116648" y="3048060"/>
              <a:ext cx="37387" cy="38165"/>
            </a:xfrm>
            <a:custGeom>
              <a:avLst/>
              <a:gdLst>
                <a:gd name="connsiteX0" fmla="*/ 0 w 37387"/>
                <a:gd name="connsiteY0" fmla="*/ 22133 h 38165"/>
                <a:gd name="connsiteX1" fmla="*/ 21356 w 37387"/>
                <a:gd name="connsiteY1" fmla="*/ 37388 h 38165"/>
                <a:gd name="connsiteX2" fmla="*/ 36611 w 37387"/>
                <a:gd name="connsiteY2" fmla="*/ 16032 h 38165"/>
                <a:gd name="connsiteX3" fmla="*/ 15254 w 37387"/>
                <a:gd name="connsiteY3" fmla="*/ 777 h 38165"/>
                <a:gd name="connsiteX4" fmla="*/ 0 w 37387"/>
                <a:gd name="connsiteY4" fmla="*/ 22133 h 38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87" h="38165">
                  <a:moveTo>
                    <a:pt x="0" y="22133"/>
                  </a:moveTo>
                  <a:cubicBezTo>
                    <a:pt x="3052" y="34337"/>
                    <a:pt x="12204" y="40438"/>
                    <a:pt x="21356" y="37388"/>
                  </a:cubicBezTo>
                  <a:cubicBezTo>
                    <a:pt x="33560" y="34337"/>
                    <a:pt x="39661" y="25184"/>
                    <a:pt x="36611" y="16032"/>
                  </a:cubicBezTo>
                  <a:cubicBezTo>
                    <a:pt x="33560" y="3828"/>
                    <a:pt x="24406" y="-2273"/>
                    <a:pt x="15254" y="777"/>
                  </a:cubicBezTo>
                  <a:cubicBezTo>
                    <a:pt x="6102" y="3828"/>
                    <a:pt x="0" y="12981"/>
                    <a:pt x="0" y="22133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7E8A4710-6BFD-4067-B545-B042C9019B95}"/>
                </a:ext>
              </a:extLst>
            </p:cNvPr>
            <p:cNvSpPr/>
            <p:nvPr/>
          </p:nvSpPr>
          <p:spPr>
            <a:xfrm>
              <a:off x="19932999" y="3057212"/>
              <a:ext cx="37985" cy="38165"/>
            </a:xfrm>
            <a:custGeom>
              <a:avLst/>
              <a:gdLst>
                <a:gd name="connsiteX0" fmla="*/ 598 w 37985"/>
                <a:gd name="connsiteY0" fmla="*/ 22133 h 38165"/>
                <a:gd name="connsiteX1" fmla="*/ 21954 w 37985"/>
                <a:gd name="connsiteY1" fmla="*/ 37388 h 38165"/>
                <a:gd name="connsiteX2" fmla="*/ 37209 w 37985"/>
                <a:gd name="connsiteY2" fmla="*/ 16032 h 38165"/>
                <a:gd name="connsiteX3" fmla="*/ 15852 w 37985"/>
                <a:gd name="connsiteY3" fmla="*/ 777 h 38165"/>
                <a:gd name="connsiteX4" fmla="*/ 598 w 37985"/>
                <a:gd name="connsiteY4" fmla="*/ 22133 h 38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85" h="38165">
                  <a:moveTo>
                    <a:pt x="598" y="22133"/>
                  </a:moveTo>
                  <a:cubicBezTo>
                    <a:pt x="3650" y="34337"/>
                    <a:pt x="12802" y="40439"/>
                    <a:pt x="21954" y="37388"/>
                  </a:cubicBezTo>
                  <a:cubicBezTo>
                    <a:pt x="34159" y="34337"/>
                    <a:pt x="40259" y="25184"/>
                    <a:pt x="37209" y="16032"/>
                  </a:cubicBezTo>
                  <a:cubicBezTo>
                    <a:pt x="34159" y="3828"/>
                    <a:pt x="25005" y="-2273"/>
                    <a:pt x="15852" y="777"/>
                  </a:cubicBezTo>
                  <a:cubicBezTo>
                    <a:pt x="6700" y="777"/>
                    <a:pt x="-2452" y="9930"/>
                    <a:pt x="598" y="22133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287224EE-292F-4EBD-AAB5-4B3A34FD07EB}"/>
                </a:ext>
              </a:extLst>
            </p:cNvPr>
            <p:cNvSpPr/>
            <p:nvPr/>
          </p:nvSpPr>
          <p:spPr>
            <a:xfrm>
              <a:off x="20094028" y="2998675"/>
              <a:ext cx="92026" cy="34908"/>
            </a:xfrm>
            <a:custGeom>
              <a:avLst/>
              <a:gdLst>
                <a:gd name="connsiteX0" fmla="*/ 83637 w 92026"/>
                <a:gd name="connsiteY0" fmla="*/ 34908 h 34908"/>
                <a:gd name="connsiteX1" fmla="*/ 77535 w 92026"/>
                <a:gd name="connsiteY1" fmla="*/ 31858 h 34908"/>
                <a:gd name="connsiteX2" fmla="*/ 10417 w 92026"/>
                <a:gd name="connsiteY2" fmla="*/ 19654 h 34908"/>
                <a:gd name="connsiteX3" fmla="*/ 1263 w 92026"/>
                <a:gd name="connsiteY3" fmla="*/ 16603 h 34908"/>
                <a:gd name="connsiteX4" fmla="*/ 4315 w 92026"/>
                <a:gd name="connsiteY4" fmla="*/ 7451 h 34908"/>
                <a:gd name="connsiteX5" fmla="*/ 89739 w 92026"/>
                <a:gd name="connsiteY5" fmla="*/ 22705 h 34908"/>
                <a:gd name="connsiteX6" fmla="*/ 89739 w 92026"/>
                <a:gd name="connsiteY6" fmla="*/ 34908 h 34908"/>
                <a:gd name="connsiteX7" fmla="*/ 83637 w 92026"/>
                <a:gd name="connsiteY7" fmla="*/ 34908 h 34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4908">
                  <a:moveTo>
                    <a:pt x="83637" y="34908"/>
                  </a:moveTo>
                  <a:cubicBezTo>
                    <a:pt x="80587" y="34908"/>
                    <a:pt x="80587" y="34908"/>
                    <a:pt x="77535" y="31858"/>
                  </a:cubicBezTo>
                  <a:cubicBezTo>
                    <a:pt x="53128" y="1349"/>
                    <a:pt x="10417" y="19654"/>
                    <a:pt x="10417" y="19654"/>
                  </a:cubicBezTo>
                  <a:cubicBezTo>
                    <a:pt x="7365" y="22705"/>
                    <a:pt x="1263" y="19654"/>
                    <a:pt x="1263" y="16603"/>
                  </a:cubicBezTo>
                  <a:cubicBezTo>
                    <a:pt x="-1787" y="13552"/>
                    <a:pt x="1263" y="7451"/>
                    <a:pt x="4315" y="7451"/>
                  </a:cubicBezTo>
                  <a:cubicBezTo>
                    <a:pt x="22620" y="-1702"/>
                    <a:pt x="65332" y="-7803"/>
                    <a:pt x="89739" y="22705"/>
                  </a:cubicBezTo>
                  <a:cubicBezTo>
                    <a:pt x="92789" y="25756"/>
                    <a:pt x="92789" y="31858"/>
                    <a:pt x="89739" y="34908"/>
                  </a:cubicBezTo>
                  <a:cubicBezTo>
                    <a:pt x="86689" y="34908"/>
                    <a:pt x="83637" y="34908"/>
                    <a:pt x="83637" y="34908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61B2A3A7-0F8D-4D3D-B109-FFD4DC17DCE5}"/>
                </a:ext>
              </a:extLst>
            </p:cNvPr>
            <p:cNvSpPr/>
            <p:nvPr/>
          </p:nvSpPr>
          <p:spPr>
            <a:xfrm>
              <a:off x="19903852" y="2988751"/>
              <a:ext cx="90762" cy="32629"/>
            </a:xfrm>
            <a:custGeom>
              <a:avLst/>
              <a:gdLst>
                <a:gd name="connsiteX0" fmla="*/ 8389 w 90762"/>
                <a:gd name="connsiteY0" fmla="*/ 32629 h 32629"/>
                <a:gd name="connsiteX1" fmla="*/ 2289 w 90762"/>
                <a:gd name="connsiteY1" fmla="*/ 29578 h 32629"/>
                <a:gd name="connsiteX2" fmla="*/ 2289 w 90762"/>
                <a:gd name="connsiteY2" fmla="*/ 17375 h 32629"/>
                <a:gd name="connsiteX3" fmla="*/ 87712 w 90762"/>
                <a:gd name="connsiteY3" fmla="*/ 14324 h 32629"/>
                <a:gd name="connsiteX4" fmla="*/ 90762 w 90762"/>
                <a:gd name="connsiteY4" fmla="*/ 26527 h 32629"/>
                <a:gd name="connsiteX5" fmla="*/ 78560 w 90762"/>
                <a:gd name="connsiteY5" fmla="*/ 29578 h 32629"/>
                <a:gd name="connsiteX6" fmla="*/ 11441 w 90762"/>
                <a:gd name="connsiteY6" fmla="*/ 32629 h 32629"/>
                <a:gd name="connsiteX7" fmla="*/ 8389 w 90762"/>
                <a:gd name="connsiteY7" fmla="*/ 32629 h 32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762" h="32629">
                  <a:moveTo>
                    <a:pt x="8389" y="32629"/>
                  </a:moveTo>
                  <a:cubicBezTo>
                    <a:pt x="5339" y="32629"/>
                    <a:pt x="5339" y="32629"/>
                    <a:pt x="2289" y="29578"/>
                  </a:cubicBezTo>
                  <a:cubicBezTo>
                    <a:pt x="-763" y="26527"/>
                    <a:pt x="-763" y="20426"/>
                    <a:pt x="2289" y="17375"/>
                  </a:cubicBezTo>
                  <a:cubicBezTo>
                    <a:pt x="17543" y="5171"/>
                    <a:pt x="54152" y="-13134"/>
                    <a:pt x="87712" y="14324"/>
                  </a:cubicBezTo>
                  <a:cubicBezTo>
                    <a:pt x="90762" y="17375"/>
                    <a:pt x="90762" y="20426"/>
                    <a:pt x="90762" y="26527"/>
                  </a:cubicBezTo>
                  <a:cubicBezTo>
                    <a:pt x="87712" y="29578"/>
                    <a:pt x="84660" y="29578"/>
                    <a:pt x="78560" y="29578"/>
                  </a:cubicBezTo>
                  <a:cubicBezTo>
                    <a:pt x="45000" y="5171"/>
                    <a:pt x="14491" y="32629"/>
                    <a:pt x="11441" y="32629"/>
                  </a:cubicBezTo>
                  <a:cubicBezTo>
                    <a:pt x="11441" y="32629"/>
                    <a:pt x="8389" y="32629"/>
                    <a:pt x="8389" y="32629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D8BB8C1F-B533-49CD-A9A8-2B2A8B062DD7}"/>
                </a:ext>
              </a:extLst>
            </p:cNvPr>
            <p:cNvSpPr/>
            <p:nvPr/>
          </p:nvSpPr>
          <p:spPr>
            <a:xfrm>
              <a:off x="19875632" y="3302058"/>
              <a:ext cx="230169" cy="73220"/>
            </a:xfrm>
            <a:custGeom>
              <a:avLst/>
              <a:gdLst>
                <a:gd name="connsiteX0" fmla="*/ 152542 w 230169"/>
                <a:gd name="connsiteY0" fmla="*/ 73220 h 73220"/>
                <a:gd name="connsiteX1" fmla="*/ 146440 w 230169"/>
                <a:gd name="connsiteY1" fmla="*/ 73220 h 73220"/>
                <a:gd name="connsiteX2" fmla="*/ 3050 w 230169"/>
                <a:gd name="connsiteY2" fmla="*/ 12203 h 73220"/>
                <a:gd name="connsiteX3" fmla="*/ 0 w 230169"/>
                <a:gd name="connsiteY3" fmla="*/ 3051 h 73220"/>
                <a:gd name="connsiteX4" fmla="*/ 9152 w 230169"/>
                <a:gd name="connsiteY4" fmla="*/ 0 h 73220"/>
                <a:gd name="connsiteX5" fmla="*/ 146440 w 230169"/>
                <a:gd name="connsiteY5" fmla="*/ 57966 h 73220"/>
                <a:gd name="connsiteX6" fmla="*/ 219660 w 230169"/>
                <a:gd name="connsiteY6" fmla="*/ 36610 h 73220"/>
                <a:gd name="connsiteX7" fmla="*/ 228814 w 230169"/>
                <a:gd name="connsiteY7" fmla="*/ 36610 h 73220"/>
                <a:gd name="connsiteX8" fmla="*/ 228814 w 230169"/>
                <a:gd name="connsiteY8" fmla="*/ 45763 h 73220"/>
                <a:gd name="connsiteX9" fmla="*/ 152542 w 230169"/>
                <a:gd name="connsiteY9" fmla="*/ 73220 h 7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0169" h="73220">
                  <a:moveTo>
                    <a:pt x="152542" y="73220"/>
                  </a:moveTo>
                  <a:cubicBezTo>
                    <a:pt x="149490" y="73220"/>
                    <a:pt x="149490" y="73220"/>
                    <a:pt x="146440" y="73220"/>
                  </a:cubicBezTo>
                  <a:cubicBezTo>
                    <a:pt x="94576" y="70170"/>
                    <a:pt x="9152" y="15254"/>
                    <a:pt x="3050" y="12203"/>
                  </a:cubicBezTo>
                  <a:cubicBezTo>
                    <a:pt x="0" y="9153"/>
                    <a:pt x="0" y="6102"/>
                    <a:pt x="0" y="3051"/>
                  </a:cubicBezTo>
                  <a:cubicBezTo>
                    <a:pt x="3050" y="0"/>
                    <a:pt x="6100" y="0"/>
                    <a:pt x="9152" y="0"/>
                  </a:cubicBezTo>
                  <a:cubicBezTo>
                    <a:pt x="9152" y="0"/>
                    <a:pt x="97626" y="54915"/>
                    <a:pt x="146440" y="57966"/>
                  </a:cubicBezTo>
                  <a:cubicBezTo>
                    <a:pt x="186101" y="61017"/>
                    <a:pt x="216609" y="36610"/>
                    <a:pt x="219660" y="36610"/>
                  </a:cubicBezTo>
                  <a:cubicBezTo>
                    <a:pt x="222711" y="33559"/>
                    <a:pt x="225762" y="36610"/>
                    <a:pt x="228814" y="36610"/>
                  </a:cubicBezTo>
                  <a:cubicBezTo>
                    <a:pt x="231864" y="39661"/>
                    <a:pt x="228814" y="42712"/>
                    <a:pt x="228814" y="45763"/>
                  </a:cubicBezTo>
                  <a:cubicBezTo>
                    <a:pt x="225762" y="51864"/>
                    <a:pt x="192203" y="73220"/>
                    <a:pt x="152542" y="73220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30B043BB-3F77-44F4-9196-B1ABF8FAE46F}"/>
                </a:ext>
              </a:extLst>
            </p:cNvPr>
            <p:cNvSpPr/>
            <p:nvPr/>
          </p:nvSpPr>
          <p:spPr>
            <a:xfrm>
              <a:off x="19768069" y="2810871"/>
              <a:ext cx="113663" cy="268474"/>
            </a:xfrm>
            <a:custGeom>
              <a:avLst/>
              <a:gdLst>
                <a:gd name="connsiteX0" fmla="*/ 113663 w 113663"/>
                <a:gd name="connsiteY0" fmla="*/ 131186 h 268474"/>
                <a:gd name="connsiteX1" fmla="*/ 55698 w 113663"/>
                <a:gd name="connsiteY1" fmla="*/ 268475 h 268474"/>
                <a:gd name="connsiteX2" fmla="*/ 3834 w 113663"/>
                <a:gd name="connsiteY2" fmla="*/ 164746 h 268474"/>
                <a:gd name="connsiteX3" fmla="*/ 74003 w 113663"/>
                <a:gd name="connsiteY3" fmla="*/ 0 h 268474"/>
                <a:gd name="connsiteX4" fmla="*/ 113663 w 113663"/>
                <a:gd name="connsiteY4" fmla="*/ 131186 h 268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63" h="268474">
                  <a:moveTo>
                    <a:pt x="113663" y="131186"/>
                  </a:moveTo>
                  <a:cubicBezTo>
                    <a:pt x="113663" y="131186"/>
                    <a:pt x="49596" y="237966"/>
                    <a:pt x="55698" y="268475"/>
                  </a:cubicBezTo>
                  <a:cubicBezTo>
                    <a:pt x="55698" y="268475"/>
                    <a:pt x="16038" y="222712"/>
                    <a:pt x="3834" y="164746"/>
                  </a:cubicBezTo>
                  <a:cubicBezTo>
                    <a:pt x="-8371" y="103729"/>
                    <a:pt x="6884" y="12203"/>
                    <a:pt x="74003" y="0"/>
                  </a:cubicBezTo>
                  <a:cubicBezTo>
                    <a:pt x="74003" y="0"/>
                    <a:pt x="77055" y="109830"/>
                    <a:pt x="113663" y="131186"/>
                  </a:cubicBezTo>
                  <a:close/>
                </a:path>
              </a:pathLst>
            </a:custGeom>
            <a:solidFill>
              <a:srgbClr val="664241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7CC675FE-D24B-4A13-8D12-A4931623FE38}"/>
                </a:ext>
              </a:extLst>
            </p:cNvPr>
            <p:cNvSpPr/>
            <p:nvPr/>
          </p:nvSpPr>
          <p:spPr>
            <a:xfrm>
              <a:off x="19827434" y="2705128"/>
              <a:ext cx="499723" cy="269478"/>
            </a:xfrm>
            <a:custGeom>
              <a:avLst/>
              <a:gdLst>
                <a:gd name="connsiteX0" fmla="*/ 54298 w 499723"/>
                <a:gd name="connsiteY0" fmla="*/ 236930 h 269478"/>
                <a:gd name="connsiteX1" fmla="*/ 179384 w 499723"/>
                <a:gd name="connsiteY1" fmla="*/ 206421 h 269478"/>
                <a:gd name="connsiteX2" fmla="*/ 499723 w 499723"/>
                <a:gd name="connsiteY2" fmla="*/ 215574 h 269478"/>
                <a:gd name="connsiteX3" fmla="*/ 139724 w 499723"/>
                <a:gd name="connsiteY3" fmla="*/ 5065 h 269478"/>
                <a:gd name="connsiteX4" fmla="*/ 14638 w 499723"/>
                <a:gd name="connsiteY4" fmla="*/ 105743 h 269478"/>
                <a:gd name="connsiteX5" fmla="*/ 54298 w 499723"/>
                <a:gd name="connsiteY5" fmla="*/ 236930 h 269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9723" h="269478">
                  <a:moveTo>
                    <a:pt x="54298" y="236930"/>
                  </a:moveTo>
                  <a:cubicBezTo>
                    <a:pt x="54298" y="236930"/>
                    <a:pt x="151926" y="203370"/>
                    <a:pt x="179384" y="206421"/>
                  </a:cubicBezTo>
                  <a:cubicBezTo>
                    <a:pt x="280062" y="215574"/>
                    <a:pt x="399046" y="337608"/>
                    <a:pt x="499723" y="215574"/>
                  </a:cubicBezTo>
                  <a:cubicBezTo>
                    <a:pt x="460063" y="111845"/>
                    <a:pt x="307520" y="-28494"/>
                    <a:pt x="139724" y="5065"/>
                  </a:cubicBezTo>
                  <a:cubicBezTo>
                    <a:pt x="60400" y="23370"/>
                    <a:pt x="20740" y="69133"/>
                    <a:pt x="14638" y="105743"/>
                  </a:cubicBezTo>
                  <a:cubicBezTo>
                    <a:pt x="14638" y="105743"/>
                    <a:pt x="-37227" y="218625"/>
                    <a:pt x="54298" y="236930"/>
                  </a:cubicBezTo>
                  <a:close/>
                </a:path>
              </a:pathLst>
            </a:custGeom>
            <a:solidFill>
              <a:srgbClr val="664241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2CFFA88C-46C0-4BA8-9825-7D9673F1CFBA}"/>
                </a:ext>
              </a:extLst>
            </p:cNvPr>
            <p:cNvSpPr/>
            <p:nvPr/>
          </p:nvSpPr>
          <p:spPr>
            <a:xfrm>
              <a:off x="19759352" y="3046039"/>
              <a:ext cx="76707" cy="115370"/>
            </a:xfrm>
            <a:custGeom>
              <a:avLst/>
              <a:gdLst>
                <a:gd name="connsiteX0" fmla="*/ 67465 w 76707"/>
                <a:gd name="connsiteY0" fmla="*/ 18052 h 115370"/>
                <a:gd name="connsiteX1" fmla="*/ 9500 w 76707"/>
                <a:gd name="connsiteY1" fmla="*/ 5849 h 115370"/>
                <a:gd name="connsiteX2" fmla="*/ 61363 w 76707"/>
                <a:gd name="connsiteY2" fmla="*/ 112629 h 115370"/>
                <a:gd name="connsiteX3" fmla="*/ 67465 w 76707"/>
                <a:gd name="connsiteY3" fmla="*/ 18052 h 115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707" h="115370">
                  <a:moveTo>
                    <a:pt x="67465" y="18052"/>
                  </a:moveTo>
                  <a:cubicBezTo>
                    <a:pt x="67465" y="18052"/>
                    <a:pt x="36957" y="-12456"/>
                    <a:pt x="9500" y="5849"/>
                  </a:cubicBezTo>
                  <a:cubicBezTo>
                    <a:pt x="-17958" y="24154"/>
                    <a:pt x="18652" y="133985"/>
                    <a:pt x="61363" y="112629"/>
                  </a:cubicBezTo>
                  <a:cubicBezTo>
                    <a:pt x="91872" y="91273"/>
                    <a:pt x="67465" y="18052"/>
                    <a:pt x="67465" y="18052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031EB895-E0C6-4ED4-848A-59D0BAE490D8}"/>
                </a:ext>
              </a:extLst>
            </p:cNvPr>
            <p:cNvSpPr/>
            <p:nvPr/>
          </p:nvSpPr>
          <p:spPr>
            <a:xfrm>
              <a:off x="19820294" y="2829176"/>
              <a:ext cx="73642" cy="241016"/>
            </a:xfrm>
            <a:custGeom>
              <a:avLst/>
              <a:gdLst>
                <a:gd name="connsiteX0" fmla="*/ 6524 w 73642"/>
                <a:gd name="connsiteY0" fmla="*/ 241017 h 241016"/>
                <a:gd name="connsiteX1" fmla="*/ 6524 w 73642"/>
                <a:gd name="connsiteY1" fmla="*/ 241017 h 241016"/>
                <a:gd name="connsiteX2" fmla="*/ 422 w 73642"/>
                <a:gd name="connsiteY2" fmla="*/ 234915 h 241016"/>
                <a:gd name="connsiteX3" fmla="*/ 52286 w 73642"/>
                <a:gd name="connsiteY3" fmla="*/ 115932 h 241016"/>
                <a:gd name="connsiteX4" fmla="*/ 6524 w 73642"/>
                <a:gd name="connsiteY4" fmla="*/ 70170 h 241016"/>
                <a:gd name="connsiteX5" fmla="*/ 9576 w 73642"/>
                <a:gd name="connsiteY5" fmla="*/ 3051 h 241016"/>
                <a:gd name="connsiteX6" fmla="*/ 18728 w 73642"/>
                <a:gd name="connsiteY6" fmla="*/ 0 h 241016"/>
                <a:gd name="connsiteX7" fmla="*/ 21778 w 73642"/>
                <a:gd name="connsiteY7" fmla="*/ 9153 h 241016"/>
                <a:gd name="connsiteX8" fmla="*/ 18728 w 73642"/>
                <a:gd name="connsiteY8" fmla="*/ 67119 h 241016"/>
                <a:gd name="connsiteX9" fmla="*/ 64491 w 73642"/>
                <a:gd name="connsiteY9" fmla="*/ 109831 h 241016"/>
                <a:gd name="connsiteX10" fmla="*/ 73643 w 73642"/>
                <a:gd name="connsiteY10" fmla="*/ 112881 h 241016"/>
                <a:gd name="connsiteX11" fmla="*/ 67541 w 73642"/>
                <a:gd name="connsiteY11" fmla="*/ 118983 h 241016"/>
                <a:gd name="connsiteX12" fmla="*/ 12626 w 73642"/>
                <a:gd name="connsiteY12" fmla="*/ 237966 h 241016"/>
                <a:gd name="connsiteX13" fmla="*/ 6524 w 73642"/>
                <a:gd name="connsiteY13" fmla="*/ 241017 h 241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642" h="241016">
                  <a:moveTo>
                    <a:pt x="6524" y="241017"/>
                  </a:moveTo>
                  <a:cubicBezTo>
                    <a:pt x="6524" y="241017"/>
                    <a:pt x="6524" y="241017"/>
                    <a:pt x="6524" y="241017"/>
                  </a:cubicBezTo>
                  <a:cubicBezTo>
                    <a:pt x="3474" y="241017"/>
                    <a:pt x="422" y="237966"/>
                    <a:pt x="422" y="234915"/>
                  </a:cubicBezTo>
                  <a:cubicBezTo>
                    <a:pt x="9576" y="183051"/>
                    <a:pt x="40084" y="134237"/>
                    <a:pt x="52286" y="115932"/>
                  </a:cubicBezTo>
                  <a:cubicBezTo>
                    <a:pt x="40084" y="109831"/>
                    <a:pt x="18728" y="94576"/>
                    <a:pt x="6524" y="70170"/>
                  </a:cubicBezTo>
                  <a:cubicBezTo>
                    <a:pt x="-2629" y="48814"/>
                    <a:pt x="-2629" y="27458"/>
                    <a:pt x="9576" y="3051"/>
                  </a:cubicBezTo>
                  <a:cubicBezTo>
                    <a:pt x="9576" y="0"/>
                    <a:pt x="15676" y="0"/>
                    <a:pt x="18728" y="0"/>
                  </a:cubicBezTo>
                  <a:cubicBezTo>
                    <a:pt x="21778" y="0"/>
                    <a:pt x="21778" y="6102"/>
                    <a:pt x="21778" y="9153"/>
                  </a:cubicBezTo>
                  <a:cubicBezTo>
                    <a:pt x="12626" y="30508"/>
                    <a:pt x="12626" y="48814"/>
                    <a:pt x="18728" y="67119"/>
                  </a:cubicBezTo>
                  <a:cubicBezTo>
                    <a:pt x="30930" y="97627"/>
                    <a:pt x="64491" y="109831"/>
                    <a:pt x="64491" y="109831"/>
                  </a:cubicBezTo>
                  <a:lnTo>
                    <a:pt x="73643" y="112881"/>
                  </a:lnTo>
                  <a:lnTo>
                    <a:pt x="67541" y="118983"/>
                  </a:lnTo>
                  <a:cubicBezTo>
                    <a:pt x="67541" y="118983"/>
                    <a:pt x="21778" y="176949"/>
                    <a:pt x="12626" y="237966"/>
                  </a:cubicBezTo>
                  <a:cubicBezTo>
                    <a:pt x="12626" y="237966"/>
                    <a:pt x="9576" y="241017"/>
                    <a:pt x="6524" y="241017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B4918FD1-DE16-4476-B889-3CA0A1B44F7A}"/>
                </a:ext>
              </a:extLst>
            </p:cNvPr>
            <p:cNvSpPr/>
            <p:nvPr/>
          </p:nvSpPr>
          <p:spPr>
            <a:xfrm>
              <a:off x="19997666" y="2886021"/>
              <a:ext cx="195725" cy="37731"/>
            </a:xfrm>
            <a:custGeom>
              <a:avLst/>
              <a:gdLst>
                <a:gd name="connsiteX0" fmla="*/ 192203 w 195725"/>
                <a:gd name="connsiteY0" fmla="*/ 37731 h 37731"/>
                <a:gd name="connsiteX1" fmla="*/ 189151 w 195725"/>
                <a:gd name="connsiteY1" fmla="*/ 37731 h 37731"/>
                <a:gd name="connsiteX2" fmla="*/ 9152 w 195725"/>
                <a:gd name="connsiteY2" fmla="*/ 31629 h 37731"/>
                <a:gd name="connsiteX3" fmla="*/ 0 w 195725"/>
                <a:gd name="connsiteY3" fmla="*/ 28579 h 37731"/>
                <a:gd name="connsiteX4" fmla="*/ 3050 w 195725"/>
                <a:gd name="connsiteY4" fmla="*/ 19426 h 37731"/>
                <a:gd name="connsiteX5" fmla="*/ 192203 w 195725"/>
                <a:gd name="connsiteY5" fmla="*/ 25528 h 37731"/>
                <a:gd name="connsiteX6" fmla="*/ 192203 w 195725"/>
                <a:gd name="connsiteY6" fmla="*/ 34680 h 37731"/>
                <a:gd name="connsiteX7" fmla="*/ 192203 w 195725"/>
                <a:gd name="connsiteY7" fmla="*/ 37731 h 37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725" h="37731">
                  <a:moveTo>
                    <a:pt x="192203" y="37731"/>
                  </a:moveTo>
                  <a:cubicBezTo>
                    <a:pt x="192203" y="37731"/>
                    <a:pt x="189151" y="37731"/>
                    <a:pt x="189151" y="37731"/>
                  </a:cubicBezTo>
                  <a:cubicBezTo>
                    <a:pt x="125084" y="-11083"/>
                    <a:pt x="12202" y="31629"/>
                    <a:pt x="9152" y="31629"/>
                  </a:cubicBezTo>
                  <a:cubicBezTo>
                    <a:pt x="6100" y="31629"/>
                    <a:pt x="3050" y="31629"/>
                    <a:pt x="0" y="28579"/>
                  </a:cubicBezTo>
                  <a:cubicBezTo>
                    <a:pt x="0" y="25528"/>
                    <a:pt x="0" y="22477"/>
                    <a:pt x="3050" y="19426"/>
                  </a:cubicBezTo>
                  <a:cubicBezTo>
                    <a:pt x="9152" y="16375"/>
                    <a:pt x="125084" y="-26337"/>
                    <a:pt x="192203" y="25528"/>
                  </a:cubicBezTo>
                  <a:cubicBezTo>
                    <a:pt x="195253" y="28579"/>
                    <a:pt x="195253" y="31629"/>
                    <a:pt x="192203" y="34680"/>
                  </a:cubicBezTo>
                  <a:cubicBezTo>
                    <a:pt x="198305" y="37731"/>
                    <a:pt x="195253" y="37731"/>
                    <a:pt x="192203" y="37731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EA963D52-BE59-40DF-95F6-DA8FBB35F02B}"/>
                </a:ext>
              </a:extLst>
            </p:cNvPr>
            <p:cNvSpPr/>
            <p:nvPr/>
          </p:nvSpPr>
          <p:spPr>
            <a:xfrm>
              <a:off x="19988512" y="3259346"/>
              <a:ext cx="120247" cy="30508"/>
            </a:xfrm>
            <a:custGeom>
              <a:avLst/>
              <a:gdLst>
                <a:gd name="connsiteX0" fmla="*/ 73221 w 120247"/>
                <a:gd name="connsiteY0" fmla="*/ 30508 h 30508"/>
                <a:gd name="connsiteX1" fmla="*/ 3052 w 120247"/>
                <a:gd name="connsiteY1" fmla="*/ 12203 h 30508"/>
                <a:gd name="connsiteX2" fmla="*/ 0 w 120247"/>
                <a:gd name="connsiteY2" fmla="*/ 3051 h 30508"/>
                <a:gd name="connsiteX3" fmla="*/ 9154 w 120247"/>
                <a:gd name="connsiteY3" fmla="*/ 0 h 30508"/>
                <a:gd name="connsiteX4" fmla="*/ 109832 w 120247"/>
                <a:gd name="connsiteY4" fmla="*/ 6102 h 30508"/>
                <a:gd name="connsiteX5" fmla="*/ 118984 w 120247"/>
                <a:gd name="connsiteY5" fmla="*/ 9153 h 30508"/>
                <a:gd name="connsiteX6" fmla="*/ 115934 w 120247"/>
                <a:gd name="connsiteY6" fmla="*/ 18305 h 30508"/>
                <a:gd name="connsiteX7" fmla="*/ 73221 w 120247"/>
                <a:gd name="connsiteY7" fmla="*/ 30508 h 3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247" h="30508">
                  <a:moveTo>
                    <a:pt x="73221" y="30508"/>
                  </a:moveTo>
                  <a:cubicBezTo>
                    <a:pt x="36611" y="30508"/>
                    <a:pt x="6102" y="12203"/>
                    <a:pt x="3052" y="12203"/>
                  </a:cubicBezTo>
                  <a:cubicBezTo>
                    <a:pt x="0" y="9153"/>
                    <a:pt x="0" y="6102"/>
                    <a:pt x="0" y="3051"/>
                  </a:cubicBezTo>
                  <a:cubicBezTo>
                    <a:pt x="3052" y="0"/>
                    <a:pt x="6102" y="0"/>
                    <a:pt x="9154" y="0"/>
                  </a:cubicBezTo>
                  <a:cubicBezTo>
                    <a:pt x="9154" y="0"/>
                    <a:pt x="70171" y="33559"/>
                    <a:pt x="109832" y="6102"/>
                  </a:cubicBezTo>
                  <a:cubicBezTo>
                    <a:pt x="112882" y="3051"/>
                    <a:pt x="115934" y="6102"/>
                    <a:pt x="118984" y="9153"/>
                  </a:cubicBezTo>
                  <a:cubicBezTo>
                    <a:pt x="122034" y="12203"/>
                    <a:pt x="118984" y="15254"/>
                    <a:pt x="115934" y="18305"/>
                  </a:cubicBezTo>
                  <a:cubicBezTo>
                    <a:pt x="103730" y="24407"/>
                    <a:pt x="88475" y="30508"/>
                    <a:pt x="73221" y="30508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75" name="图形 114">
            <a:extLst>
              <a:ext uri="{FF2B5EF4-FFF2-40B4-BE49-F238E27FC236}">
                <a16:creationId xmlns:a16="http://schemas.microsoft.com/office/drawing/2014/main" id="{8C0CF894-9728-464D-9C8A-C62F9110B0EA}"/>
              </a:ext>
            </a:extLst>
          </p:cNvPr>
          <p:cNvGrpSpPr/>
          <p:nvPr/>
        </p:nvGrpSpPr>
        <p:grpSpPr>
          <a:xfrm>
            <a:off x="6276566" y="2298119"/>
            <a:ext cx="2741802" cy="4465382"/>
            <a:chOff x="22697666" y="2298119"/>
            <a:chExt cx="2741802" cy="4465382"/>
          </a:xfrm>
        </p:grpSpPr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79F5B666-CBB9-4418-8EA4-740E4BAEF947}"/>
                </a:ext>
              </a:extLst>
            </p:cNvPr>
            <p:cNvSpPr/>
            <p:nvPr/>
          </p:nvSpPr>
          <p:spPr>
            <a:xfrm>
              <a:off x="23644190" y="2298119"/>
              <a:ext cx="475720" cy="802288"/>
            </a:xfrm>
            <a:custGeom>
              <a:avLst/>
              <a:gdLst>
                <a:gd name="connsiteX0" fmla="*/ 8391 w 475720"/>
                <a:gd name="connsiteY0" fmla="*/ 762921 h 802288"/>
                <a:gd name="connsiteX1" fmla="*/ 234152 w 475720"/>
                <a:gd name="connsiteY1" fmla="*/ 775125 h 802288"/>
                <a:gd name="connsiteX2" fmla="*/ 319577 w 475720"/>
                <a:gd name="connsiteY2" fmla="*/ 567667 h 802288"/>
                <a:gd name="connsiteX3" fmla="*/ 405001 w 475720"/>
                <a:gd name="connsiteY3" fmla="*/ 610379 h 802288"/>
                <a:gd name="connsiteX4" fmla="*/ 356186 w 475720"/>
                <a:gd name="connsiteY4" fmla="*/ 344955 h 802288"/>
                <a:gd name="connsiteX5" fmla="*/ 405001 w 475720"/>
                <a:gd name="connsiteY5" fmla="*/ 201565 h 802288"/>
                <a:gd name="connsiteX6" fmla="*/ 432457 w 475720"/>
                <a:gd name="connsiteY6" fmla="*/ 122243 h 802288"/>
                <a:gd name="connsiteX7" fmla="*/ 469068 w 475720"/>
                <a:gd name="connsiteY7" fmla="*/ 103938 h 802288"/>
                <a:gd name="connsiteX8" fmla="*/ 462966 w 475720"/>
                <a:gd name="connsiteY8" fmla="*/ 76481 h 802288"/>
                <a:gd name="connsiteX9" fmla="*/ 319577 w 475720"/>
                <a:gd name="connsiteY9" fmla="*/ 209 h 802288"/>
                <a:gd name="connsiteX10" fmla="*/ 255508 w 475720"/>
                <a:gd name="connsiteY10" fmla="*/ 24616 h 802288"/>
                <a:gd name="connsiteX11" fmla="*/ 234152 w 475720"/>
                <a:gd name="connsiteY11" fmla="*/ 52074 h 802288"/>
                <a:gd name="connsiteX12" fmla="*/ 136527 w 475720"/>
                <a:gd name="connsiteY12" fmla="*/ 149701 h 802288"/>
                <a:gd name="connsiteX13" fmla="*/ 81610 w 475720"/>
                <a:gd name="connsiteY13" fmla="*/ 244277 h 802288"/>
                <a:gd name="connsiteX14" fmla="*/ 87712 w 475720"/>
                <a:gd name="connsiteY14" fmla="*/ 259532 h 802288"/>
                <a:gd name="connsiteX15" fmla="*/ 69408 w 475720"/>
                <a:gd name="connsiteY15" fmla="*/ 348006 h 802288"/>
                <a:gd name="connsiteX16" fmla="*/ 48051 w 475720"/>
                <a:gd name="connsiteY16" fmla="*/ 473091 h 802288"/>
                <a:gd name="connsiteX17" fmla="*/ 23645 w 475720"/>
                <a:gd name="connsiteY17" fmla="*/ 595125 h 802288"/>
                <a:gd name="connsiteX18" fmla="*/ 17543 w 475720"/>
                <a:gd name="connsiteY18" fmla="*/ 686650 h 802288"/>
                <a:gd name="connsiteX19" fmla="*/ 5339 w 475720"/>
                <a:gd name="connsiteY19" fmla="*/ 714108 h 802288"/>
                <a:gd name="connsiteX20" fmla="*/ 8391 w 475720"/>
                <a:gd name="connsiteY20" fmla="*/ 762921 h 802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75720" h="802288">
                  <a:moveTo>
                    <a:pt x="8391" y="762921"/>
                  </a:moveTo>
                  <a:cubicBezTo>
                    <a:pt x="45001" y="823938"/>
                    <a:pt x="182289" y="802582"/>
                    <a:pt x="234152" y="775125"/>
                  </a:cubicBezTo>
                  <a:cubicBezTo>
                    <a:pt x="325678" y="729362"/>
                    <a:pt x="340932" y="646989"/>
                    <a:pt x="319577" y="567667"/>
                  </a:cubicBezTo>
                  <a:cubicBezTo>
                    <a:pt x="408051" y="640887"/>
                    <a:pt x="395849" y="662243"/>
                    <a:pt x="405001" y="610379"/>
                  </a:cubicBezTo>
                  <a:cubicBezTo>
                    <a:pt x="414153" y="567667"/>
                    <a:pt x="350086" y="396820"/>
                    <a:pt x="356186" y="344955"/>
                  </a:cubicBezTo>
                  <a:cubicBezTo>
                    <a:pt x="365340" y="293091"/>
                    <a:pt x="380594" y="247328"/>
                    <a:pt x="405001" y="201565"/>
                  </a:cubicBezTo>
                  <a:cubicBezTo>
                    <a:pt x="414153" y="180209"/>
                    <a:pt x="423305" y="149701"/>
                    <a:pt x="432457" y="122243"/>
                  </a:cubicBezTo>
                  <a:cubicBezTo>
                    <a:pt x="444661" y="116142"/>
                    <a:pt x="456866" y="110040"/>
                    <a:pt x="469068" y="103938"/>
                  </a:cubicBezTo>
                  <a:cubicBezTo>
                    <a:pt x="481272" y="94786"/>
                    <a:pt x="475170" y="79531"/>
                    <a:pt x="462966" y="76481"/>
                  </a:cubicBezTo>
                  <a:cubicBezTo>
                    <a:pt x="444661" y="27667"/>
                    <a:pt x="377542" y="-2841"/>
                    <a:pt x="319577" y="209"/>
                  </a:cubicBezTo>
                  <a:cubicBezTo>
                    <a:pt x="304323" y="209"/>
                    <a:pt x="276865" y="9362"/>
                    <a:pt x="255508" y="24616"/>
                  </a:cubicBezTo>
                  <a:cubicBezTo>
                    <a:pt x="246356" y="30718"/>
                    <a:pt x="240254" y="39870"/>
                    <a:pt x="234152" y="52074"/>
                  </a:cubicBezTo>
                  <a:cubicBezTo>
                    <a:pt x="173135" y="45972"/>
                    <a:pt x="127373" y="88684"/>
                    <a:pt x="136527" y="149701"/>
                  </a:cubicBezTo>
                  <a:cubicBezTo>
                    <a:pt x="90764" y="149701"/>
                    <a:pt x="72458" y="198515"/>
                    <a:pt x="81610" y="244277"/>
                  </a:cubicBezTo>
                  <a:cubicBezTo>
                    <a:pt x="84662" y="253430"/>
                    <a:pt x="84662" y="256481"/>
                    <a:pt x="87712" y="259532"/>
                  </a:cubicBezTo>
                  <a:cubicBezTo>
                    <a:pt x="63305" y="283938"/>
                    <a:pt x="54153" y="317498"/>
                    <a:pt x="69408" y="348006"/>
                  </a:cubicBezTo>
                  <a:cubicBezTo>
                    <a:pt x="26695" y="369362"/>
                    <a:pt x="23645" y="433430"/>
                    <a:pt x="48051" y="473091"/>
                  </a:cubicBezTo>
                  <a:cubicBezTo>
                    <a:pt x="5339" y="500548"/>
                    <a:pt x="5339" y="549362"/>
                    <a:pt x="23645" y="595125"/>
                  </a:cubicBezTo>
                  <a:cubicBezTo>
                    <a:pt x="-9916" y="616481"/>
                    <a:pt x="-3814" y="656142"/>
                    <a:pt x="17543" y="686650"/>
                  </a:cubicBezTo>
                  <a:cubicBezTo>
                    <a:pt x="8391" y="695803"/>
                    <a:pt x="5339" y="704955"/>
                    <a:pt x="5339" y="714108"/>
                  </a:cubicBezTo>
                  <a:cubicBezTo>
                    <a:pt x="-762" y="729362"/>
                    <a:pt x="-762" y="744616"/>
                    <a:pt x="8391" y="762921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D84E209D-3AF6-4908-95AF-3D7E464D1443}"/>
                </a:ext>
              </a:extLst>
            </p:cNvPr>
            <p:cNvSpPr/>
            <p:nvPr/>
          </p:nvSpPr>
          <p:spPr>
            <a:xfrm>
              <a:off x="24007260" y="2302895"/>
              <a:ext cx="602384" cy="967843"/>
            </a:xfrm>
            <a:custGeom>
              <a:avLst/>
              <a:gdLst>
                <a:gd name="connsiteX0" fmla="*/ 48033 w 602384"/>
                <a:gd name="connsiteY0" fmla="*/ 263908 h 967843"/>
                <a:gd name="connsiteX1" fmla="*/ 69387 w 602384"/>
                <a:gd name="connsiteY1" fmla="*/ 90010 h 967843"/>
                <a:gd name="connsiteX2" fmla="*/ 66337 w 602384"/>
                <a:gd name="connsiteY2" fmla="*/ 74756 h 967843"/>
                <a:gd name="connsiteX3" fmla="*/ 231084 w 602384"/>
                <a:gd name="connsiteY3" fmla="*/ 53400 h 967843"/>
                <a:gd name="connsiteX4" fmla="*/ 322609 w 602384"/>
                <a:gd name="connsiteY4" fmla="*/ 99163 h 967843"/>
                <a:gd name="connsiteX5" fmla="*/ 319557 w 602384"/>
                <a:gd name="connsiteY5" fmla="*/ 163230 h 967843"/>
                <a:gd name="connsiteX6" fmla="*/ 319557 w 602384"/>
                <a:gd name="connsiteY6" fmla="*/ 163230 h 967843"/>
                <a:gd name="connsiteX7" fmla="*/ 398880 w 602384"/>
                <a:gd name="connsiteY7" fmla="*/ 254756 h 967843"/>
                <a:gd name="connsiteX8" fmla="*/ 435489 w 602384"/>
                <a:gd name="connsiteY8" fmla="*/ 288315 h 967843"/>
                <a:gd name="connsiteX9" fmla="*/ 426337 w 602384"/>
                <a:gd name="connsiteY9" fmla="*/ 340180 h 967843"/>
                <a:gd name="connsiteX10" fmla="*/ 469049 w 602384"/>
                <a:gd name="connsiteY10" fmla="*/ 407298 h 967843"/>
                <a:gd name="connsiteX11" fmla="*/ 462947 w 602384"/>
                <a:gd name="connsiteY11" fmla="*/ 450010 h 967843"/>
                <a:gd name="connsiteX12" fmla="*/ 545320 w 602384"/>
                <a:gd name="connsiteY12" fmla="*/ 526281 h 967843"/>
                <a:gd name="connsiteX13" fmla="*/ 517862 w 602384"/>
                <a:gd name="connsiteY13" fmla="*/ 596451 h 967843"/>
                <a:gd name="connsiteX14" fmla="*/ 560575 w 602384"/>
                <a:gd name="connsiteY14" fmla="*/ 767298 h 967843"/>
                <a:gd name="connsiteX15" fmla="*/ 584981 w 602384"/>
                <a:gd name="connsiteY15" fmla="*/ 892383 h 967843"/>
                <a:gd name="connsiteX16" fmla="*/ 511760 w 602384"/>
                <a:gd name="connsiteY16" fmla="*/ 895434 h 967843"/>
                <a:gd name="connsiteX17" fmla="*/ 404980 w 602384"/>
                <a:gd name="connsiteY17" fmla="*/ 965603 h 967843"/>
                <a:gd name="connsiteX18" fmla="*/ 337863 w 602384"/>
                <a:gd name="connsiteY18" fmla="*/ 834417 h 967843"/>
                <a:gd name="connsiteX19" fmla="*/ 301253 w 602384"/>
                <a:gd name="connsiteY19" fmla="*/ 800858 h 967843"/>
                <a:gd name="connsiteX20" fmla="*/ 264642 w 602384"/>
                <a:gd name="connsiteY20" fmla="*/ 785603 h 967843"/>
                <a:gd name="connsiteX21" fmla="*/ 99896 w 602384"/>
                <a:gd name="connsiteY21" fmla="*/ 721536 h 967843"/>
                <a:gd name="connsiteX22" fmla="*/ 29726 w 602384"/>
                <a:gd name="connsiteY22" fmla="*/ 666620 h 967843"/>
                <a:gd name="connsiteX23" fmla="*/ 48033 w 602384"/>
                <a:gd name="connsiteY23" fmla="*/ 492722 h 967843"/>
                <a:gd name="connsiteX24" fmla="*/ 48033 w 602384"/>
                <a:gd name="connsiteY24" fmla="*/ 263908 h 96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02384" h="967843">
                  <a:moveTo>
                    <a:pt x="48033" y="263908"/>
                  </a:moveTo>
                  <a:cubicBezTo>
                    <a:pt x="-9934" y="218146"/>
                    <a:pt x="38879" y="141874"/>
                    <a:pt x="69387" y="90010"/>
                  </a:cubicBezTo>
                  <a:cubicBezTo>
                    <a:pt x="66337" y="86959"/>
                    <a:pt x="63287" y="80858"/>
                    <a:pt x="66337" y="74756"/>
                  </a:cubicBezTo>
                  <a:cubicBezTo>
                    <a:pt x="87693" y="-7617"/>
                    <a:pt x="234134" y="-32024"/>
                    <a:pt x="231084" y="53400"/>
                  </a:cubicBezTo>
                  <a:cubicBezTo>
                    <a:pt x="267692" y="56451"/>
                    <a:pt x="304303" y="65603"/>
                    <a:pt x="322609" y="99163"/>
                  </a:cubicBezTo>
                  <a:cubicBezTo>
                    <a:pt x="334811" y="120519"/>
                    <a:pt x="331761" y="144925"/>
                    <a:pt x="319557" y="163230"/>
                  </a:cubicBezTo>
                  <a:lnTo>
                    <a:pt x="319557" y="163230"/>
                  </a:lnTo>
                  <a:cubicBezTo>
                    <a:pt x="365320" y="175434"/>
                    <a:pt x="404980" y="202891"/>
                    <a:pt x="398880" y="254756"/>
                  </a:cubicBezTo>
                  <a:cubicBezTo>
                    <a:pt x="417185" y="257807"/>
                    <a:pt x="429389" y="266959"/>
                    <a:pt x="435489" y="288315"/>
                  </a:cubicBezTo>
                  <a:cubicBezTo>
                    <a:pt x="441591" y="306620"/>
                    <a:pt x="423287" y="327976"/>
                    <a:pt x="426337" y="340180"/>
                  </a:cubicBezTo>
                  <a:cubicBezTo>
                    <a:pt x="453795" y="349332"/>
                    <a:pt x="465997" y="376790"/>
                    <a:pt x="469049" y="407298"/>
                  </a:cubicBezTo>
                  <a:cubicBezTo>
                    <a:pt x="472099" y="425603"/>
                    <a:pt x="469049" y="437807"/>
                    <a:pt x="462947" y="450010"/>
                  </a:cubicBezTo>
                  <a:cubicBezTo>
                    <a:pt x="499558" y="462213"/>
                    <a:pt x="539218" y="483569"/>
                    <a:pt x="545320" y="526281"/>
                  </a:cubicBezTo>
                  <a:cubicBezTo>
                    <a:pt x="551423" y="556790"/>
                    <a:pt x="539218" y="581197"/>
                    <a:pt x="517862" y="596451"/>
                  </a:cubicBezTo>
                  <a:cubicBezTo>
                    <a:pt x="563625" y="642214"/>
                    <a:pt x="624642" y="736790"/>
                    <a:pt x="560575" y="767298"/>
                  </a:cubicBezTo>
                  <a:cubicBezTo>
                    <a:pt x="594133" y="800858"/>
                    <a:pt x="621592" y="852722"/>
                    <a:pt x="584981" y="892383"/>
                  </a:cubicBezTo>
                  <a:cubicBezTo>
                    <a:pt x="560575" y="916790"/>
                    <a:pt x="530066" y="913739"/>
                    <a:pt x="511760" y="895434"/>
                  </a:cubicBezTo>
                  <a:cubicBezTo>
                    <a:pt x="490406" y="938146"/>
                    <a:pt x="456845" y="977807"/>
                    <a:pt x="404980" y="965603"/>
                  </a:cubicBezTo>
                  <a:cubicBezTo>
                    <a:pt x="343963" y="950349"/>
                    <a:pt x="331761" y="889332"/>
                    <a:pt x="337863" y="834417"/>
                  </a:cubicBezTo>
                  <a:cubicBezTo>
                    <a:pt x="322609" y="828315"/>
                    <a:pt x="310405" y="816112"/>
                    <a:pt x="301253" y="800858"/>
                  </a:cubicBezTo>
                  <a:cubicBezTo>
                    <a:pt x="289049" y="797807"/>
                    <a:pt x="276846" y="791705"/>
                    <a:pt x="264642" y="785603"/>
                  </a:cubicBezTo>
                  <a:cubicBezTo>
                    <a:pt x="215829" y="871027"/>
                    <a:pt x="87693" y="822213"/>
                    <a:pt x="99896" y="721536"/>
                  </a:cubicBezTo>
                  <a:cubicBezTo>
                    <a:pt x="60235" y="718485"/>
                    <a:pt x="44981" y="718485"/>
                    <a:pt x="29726" y="666620"/>
                  </a:cubicBezTo>
                  <a:cubicBezTo>
                    <a:pt x="14472" y="608654"/>
                    <a:pt x="23624" y="547637"/>
                    <a:pt x="48033" y="492722"/>
                  </a:cubicBezTo>
                  <a:cubicBezTo>
                    <a:pt x="-34341" y="434756"/>
                    <a:pt x="5320" y="343230"/>
                    <a:pt x="48033" y="263908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8" name="图形 114">
              <a:extLst>
                <a:ext uri="{FF2B5EF4-FFF2-40B4-BE49-F238E27FC236}">
                  <a16:creationId xmlns:a16="http://schemas.microsoft.com/office/drawing/2014/main" id="{34A0BB66-E7D4-424E-BDA3-B7C5081308D5}"/>
                </a:ext>
              </a:extLst>
            </p:cNvPr>
            <p:cNvGrpSpPr/>
            <p:nvPr/>
          </p:nvGrpSpPr>
          <p:grpSpPr>
            <a:xfrm>
              <a:off x="23542295" y="6404770"/>
              <a:ext cx="395539" cy="358732"/>
              <a:chOff x="23542295" y="6404770"/>
              <a:chExt cx="395539" cy="358732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CE3A6B43-3E7E-42C2-9B21-A1AFF7B1D971}"/>
                  </a:ext>
                </a:extLst>
              </p:cNvPr>
              <p:cNvSpPr/>
              <p:nvPr/>
            </p:nvSpPr>
            <p:spPr>
              <a:xfrm>
                <a:off x="23542295" y="6526803"/>
                <a:ext cx="395539" cy="236698"/>
              </a:xfrm>
              <a:custGeom>
                <a:avLst/>
                <a:gdLst>
                  <a:gd name="connsiteX0" fmla="*/ 287235 w 395539"/>
                  <a:gd name="connsiteY0" fmla="*/ 0 h 236698"/>
                  <a:gd name="connsiteX1" fmla="*/ 128590 w 395539"/>
                  <a:gd name="connsiteY1" fmla="*/ 125084 h 236698"/>
                  <a:gd name="connsiteX2" fmla="*/ 323845 w 395539"/>
                  <a:gd name="connsiteY2" fmla="*/ 76271 h 236698"/>
                  <a:gd name="connsiteX3" fmla="*/ 394014 w 395539"/>
                  <a:gd name="connsiteY3" fmla="*/ 51864 h 236698"/>
                  <a:gd name="connsiteX4" fmla="*/ 387912 w 395539"/>
                  <a:gd name="connsiteY4" fmla="*/ 158644 h 236698"/>
                  <a:gd name="connsiteX5" fmla="*/ 156049 w 395539"/>
                  <a:gd name="connsiteY5" fmla="*/ 231864 h 236698"/>
                  <a:gd name="connsiteX6" fmla="*/ 18761 w 395539"/>
                  <a:gd name="connsiteY6" fmla="*/ 231864 h 236698"/>
                  <a:gd name="connsiteX7" fmla="*/ 12658 w 395539"/>
                  <a:gd name="connsiteY7" fmla="*/ 176949 h 236698"/>
                  <a:gd name="connsiteX8" fmla="*/ 287235 w 395539"/>
                  <a:gd name="connsiteY8" fmla="*/ 0 h 236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5539" h="236698">
                    <a:moveTo>
                      <a:pt x="287235" y="0"/>
                    </a:moveTo>
                    <a:cubicBezTo>
                      <a:pt x="287235" y="0"/>
                      <a:pt x="113336" y="112881"/>
                      <a:pt x="128590" y="125084"/>
                    </a:cubicBezTo>
                    <a:cubicBezTo>
                      <a:pt x="140794" y="140339"/>
                      <a:pt x="323845" y="76271"/>
                      <a:pt x="323845" y="76271"/>
                    </a:cubicBezTo>
                    <a:lnTo>
                      <a:pt x="394014" y="51864"/>
                    </a:lnTo>
                    <a:cubicBezTo>
                      <a:pt x="394014" y="51864"/>
                      <a:pt x="400116" y="134237"/>
                      <a:pt x="387912" y="158644"/>
                    </a:cubicBezTo>
                    <a:cubicBezTo>
                      <a:pt x="314693" y="195254"/>
                      <a:pt x="229268" y="219661"/>
                      <a:pt x="156049" y="231864"/>
                    </a:cubicBezTo>
                    <a:cubicBezTo>
                      <a:pt x="110286" y="241017"/>
                      <a:pt x="27913" y="234915"/>
                      <a:pt x="18761" y="231864"/>
                    </a:cubicBezTo>
                    <a:cubicBezTo>
                      <a:pt x="9608" y="228814"/>
                      <a:pt x="-14800" y="204407"/>
                      <a:pt x="12658" y="176949"/>
                    </a:cubicBezTo>
                    <a:cubicBezTo>
                      <a:pt x="76726" y="112881"/>
                      <a:pt x="287235" y="0"/>
                      <a:pt x="287235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374AF7CC-19ED-4802-839C-C0F15A752140}"/>
                  </a:ext>
                </a:extLst>
              </p:cNvPr>
              <p:cNvSpPr/>
              <p:nvPr/>
            </p:nvSpPr>
            <p:spPr>
              <a:xfrm>
                <a:off x="23669557" y="6404770"/>
                <a:ext cx="266752" cy="254245"/>
              </a:xfrm>
              <a:custGeom>
                <a:avLst/>
                <a:gdLst>
                  <a:gd name="connsiteX0" fmla="*/ 144718 w 266752"/>
                  <a:gd name="connsiteY0" fmla="*/ 0 h 254245"/>
                  <a:gd name="connsiteX1" fmla="*/ 159973 w 266752"/>
                  <a:gd name="connsiteY1" fmla="*/ 125084 h 254245"/>
                  <a:gd name="connsiteX2" fmla="*/ 1328 w 266752"/>
                  <a:gd name="connsiteY2" fmla="*/ 250169 h 254245"/>
                  <a:gd name="connsiteX3" fmla="*/ 239294 w 266752"/>
                  <a:gd name="connsiteY3" fmla="*/ 207458 h 254245"/>
                  <a:gd name="connsiteX4" fmla="*/ 266752 w 266752"/>
                  <a:gd name="connsiteY4" fmla="*/ 176949 h 254245"/>
                  <a:gd name="connsiteX5" fmla="*/ 266752 w 266752"/>
                  <a:gd name="connsiteY5" fmla="*/ 42712 h 254245"/>
                  <a:gd name="connsiteX6" fmla="*/ 144718 w 266752"/>
                  <a:gd name="connsiteY6" fmla="*/ 0 h 25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6752" h="254245">
                    <a:moveTo>
                      <a:pt x="144718" y="0"/>
                    </a:moveTo>
                    <a:lnTo>
                      <a:pt x="159973" y="125084"/>
                    </a:lnTo>
                    <a:cubicBezTo>
                      <a:pt x="159973" y="125084"/>
                      <a:pt x="-16976" y="228814"/>
                      <a:pt x="1328" y="250169"/>
                    </a:cubicBezTo>
                    <a:cubicBezTo>
                      <a:pt x="13532" y="265424"/>
                      <a:pt x="169125" y="234915"/>
                      <a:pt x="239294" y="207458"/>
                    </a:cubicBezTo>
                    <a:cubicBezTo>
                      <a:pt x="263702" y="198305"/>
                      <a:pt x="266752" y="176949"/>
                      <a:pt x="266752" y="176949"/>
                    </a:cubicBezTo>
                    <a:lnTo>
                      <a:pt x="266752" y="42712"/>
                    </a:lnTo>
                    <a:lnTo>
                      <a:pt x="144718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9" name="图形 114">
              <a:extLst>
                <a:ext uri="{FF2B5EF4-FFF2-40B4-BE49-F238E27FC236}">
                  <a16:creationId xmlns:a16="http://schemas.microsoft.com/office/drawing/2014/main" id="{889947A2-4E2F-4E62-8FE4-D829DCF912B5}"/>
                </a:ext>
              </a:extLst>
            </p:cNvPr>
            <p:cNvGrpSpPr/>
            <p:nvPr/>
          </p:nvGrpSpPr>
          <p:grpSpPr>
            <a:xfrm>
              <a:off x="24827157" y="6081379"/>
              <a:ext cx="302032" cy="486489"/>
              <a:chOff x="24827157" y="6081379"/>
              <a:chExt cx="302032" cy="486489"/>
            </a:xfrm>
          </p:grpSpPr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441CDB15-34EA-4B88-8A8C-3F84676CCCFE}"/>
                  </a:ext>
                </a:extLst>
              </p:cNvPr>
              <p:cNvSpPr/>
              <p:nvPr/>
            </p:nvSpPr>
            <p:spPr>
              <a:xfrm>
                <a:off x="24921986" y="6154600"/>
                <a:ext cx="207203" cy="413269"/>
              </a:xfrm>
              <a:custGeom>
                <a:avLst/>
                <a:gdLst>
                  <a:gd name="connsiteX0" fmla="*/ 18053 w 207203"/>
                  <a:gd name="connsiteY0" fmla="*/ 61017 h 413269"/>
                  <a:gd name="connsiteX1" fmla="*/ 33307 w 207203"/>
                  <a:gd name="connsiteY1" fmla="*/ 262373 h 413269"/>
                  <a:gd name="connsiteX2" fmla="*/ 103476 w 207203"/>
                  <a:gd name="connsiteY2" fmla="*/ 73220 h 413269"/>
                  <a:gd name="connsiteX3" fmla="*/ 121780 w 207203"/>
                  <a:gd name="connsiteY3" fmla="*/ 0 h 413269"/>
                  <a:gd name="connsiteX4" fmla="*/ 207204 w 207203"/>
                  <a:gd name="connsiteY4" fmla="*/ 64068 h 413269"/>
                  <a:gd name="connsiteX5" fmla="*/ 137035 w 207203"/>
                  <a:gd name="connsiteY5" fmla="*/ 295932 h 413269"/>
                  <a:gd name="connsiteX6" fmla="*/ 57713 w 207203"/>
                  <a:gd name="connsiteY6" fmla="*/ 408813 h 413269"/>
                  <a:gd name="connsiteX7" fmla="*/ 5849 w 207203"/>
                  <a:gd name="connsiteY7" fmla="*/ 381356 h 413269"/>
                  <a:gd name="connsiteX8" fmla="*/ 18053 w 207203"/>
                  <a:gd name="connsiteY8" fmla="*/ 61017 h 413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7203" h="413269">
                    <a:moveTo>
                      <a:pt x="18053" y="61017"/>
                    </a:moveTo>
                    <a:cubicBezTo>
                      <a:pt x="18053" y="61017"/>
                      <a:pt x="15001" y="265424"/>
                      <a:pt x="33307" y="262373"/>
                    </a:cubicBezTo>
                    <a:cubicBezTo>
                      <a:pt x="51611" y="259322"/>
                      <a:pt x="103476" y="73220"/>
                      <a:pt x="103476" y="73220"/>
                    </a:cubicBezTo>
                    <a:lnTo>
                      <a:pt x="121780" y="0"/>
                    </a:lnTo>
                    <a:cubicBezTo>
                      <a:pt x="121780" y="0"/>
                      <a:pt x="191950" y="42712"/>
                      <a:pt x="207204" y="64068"/>
                    </a:cubicBezTo>
                    <a:cubicBezTo>
                      <a:pt x="198052" y="143390"/>
                      <a:pt x="167543" y="228814"/>
                      <a:pt x="137035" y="295932"/>
                    </a:cubicBezTo>
                    <a:cubicBezTo>
                      <a:pt x="118730" y="338644"/>
                      <a:pt x="66866" y="405762"/>
                      <a:pt x="57713" y="408813"/>
                    </a:cubicBezTo>
                    <a:cubicBezTo>
                      <a:pt x="48561" y="414915"/>
                      <a:pt x="15001" y="421017"/>
                      <a:pt x="5849" y="381356"/>
                    </a:cubicBezTo>
                    <a:cubicBezTo>
                      <a:pt x="-12456" y="298983"/>
                      <a:pt x="18053" y="61017"/>
                      <a:pt x="18053" y="61017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CD10758B-13F1-4834-AE12-FEB3F5702E44}"/>
                  </a:ext>
                </a:extLst>
              </p:cNvPr>
              <p:cNvSpPr/>
              <p:nvPr/>
            </p:nvSpPr>
            <p:spPr>
              <a:xfrm>
                <a:off x="24827157" y="6081379"/>
                <a:ext cx="227007" cy="335627"/>
              </a:xfrm>
              <a:custGeom>
                <a:avLst/>
                <a:gdLst>
                  <a:gd name="connsiteX0" fmla="*/ 0 w 227007"/>
                  <a:gd name="connsiteY0" fmla="*/ 76271 h 335627"/>
                  <a:gd name="connsiteX1" fmla="*/ 109830 w 227007"/>
                  <a:gd name="connsiteY1" fmla="*/ 134238 h 335627"/>
                  <a:gd name="connsiteX2" fmla="*/ 125084 w 227007"/>
                  <a:gd name="connsiteY2" fmla="*/ 335593 h 335627"/>
                  <a:gd name="connsiteX3" fmla="*/ 225762 w 227007"/>
                  <a:gd name="connsiteY3" fmla="*/ 115932 h 335627"/>
                  <a:gd name="connsiteX4" fmla="*/ 213559 w 227007"/>
                  <a:gd name="connsiteY4" fmla="*/ 76271 h 335627"/>
                  <a:gd name="connsiteX5" fmla="*/ 103728 w 227007"/>
                  <a:gd name="connsiteY5" fmla="*/ 0 h 335627"/>
                  <a:gd name="connsiteX6" fmla="*/ 0 w 227007"/>
                  <a:gd name="connsiteY6" fmla="*/ 76271 h 335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7007" h="335627">
                    <a:moveTo>
                      <a:pt x="0" y="76271"/>
                    </a:moveTo>
                    <a:lnTo>
                      <a:pt x="109830" y="134238"/>
                    </a:lnTo>
                    <a:cubicBezTo>
                      <a:pt x="109830" y="134238"/>
                      <a:pt x="97627" y="338644"/>
                      <a:pt x="125084" y="335593"/>
                    </a:cubicBezTo>
                    <a:cubicBezTo>
                      <a:pt x="146440" y="335593"/>
                      <a:pt x="207457" y="189152"/>
                      <a:pt x="225762" y="115932"/>
                    </a:cubicBezTo>
                    <a:cubicBezTo>
                      <a:pt x="231864" y="91525"/>
                      <a:pt x="213559" y="76271"/>
                      <a:pt x="213559" y="76271"/>
                    </a:cubicBezTo>
                    <a:lnTo>
                      <a:pt x="103728" y="0"/>
                    </a:lnTo>
                    <a:lnTo>
                      <a:pt x="0" y="76271"/>
                    </a:ln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0" name="图形 114">
              <a:extLst>
                <a:ext uri="{FF2B5EF4-FFF2-40B4-BE49-F238E27FC236}">
                  <a16:creationId xmlns:a16="http://schemas.microsoft.com/office/drawing/2014/main" id="{069D20D6-A2CA-40BF-B0F6-D8DF687E784E}"/>
                </a:ext>
              </a:extLst>
            </p:cNvPr>
            <p:cNvGrpSpPr/>
            <p:nvPr/>
          </p:nvGrpSpPr>
          <p:grpSpPr>
            <a:xfrm>
              <a:off x="22697666" y="3973091"/>
              <a:ext cx="352012" cy="281070"/>
              <a:chOff x="22697666" y="3973091"/>
              <a:chExt cx="352012" cy="281070"/>
            </a:xfrm>
          </p:grpSpPr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38E18C3B-A9CD-4E81-908D-3B6E8C66E88C}"/>
                  </a:ext>
                </a:extLst>
              </p:cNvPr>
              <p:cNvSpPr/>
              <p:nvPr/>
            </p:nvSpPr>
            <p:spPr>
              <a:xfrm>
                <a:off x="22702565" y="3973091"/>
                <a:ext cx="347113" cy="281070"/>
              </a:xfrm>
              <a:custGeom>
                <a:avLst/>
                <a:gdLst>
                  <a:gd name="connsiteX0" fmla="*/ 159845 w 347113"/>
                  <a:gd name="connsiteY0" fmla="*/ 268627 h 281070"/>
                  <a:gd name="connsiteX1" fmla="*/ 233066 w 347113"/>
                  <a:gd name="connsiteY1" fmla="*/ 232017 h 281070"/>
                  <a:gd name="connsiteX2" fmla="*/ 336794 w 347113"/>
                  <a:gd name="connsiteY2" fmla="*/ 152695 h 281070"/>
                  <a:gd name="connsiteX3" fmla="*/ 327642 w 347113"/>
                  <a:gd name="connsiteY3" fmla="*/ 55068 h 281070"/>
                  <a:gd name="connsiteX4" fmla="*/ 321540 w 347113"/>
                  <a:gd name="connsiteY4" fmla="*/ 55068 h 281070"/>
                  <a:gd name="connsiteX5" fmla="*/ 321540 w 347113"/>
                  <a:gd name="connsiteY5" fmla="*/ 55068 h 281070"/>
                  <a:gd name="connsiteX6" fmla="*/ 111033 w 347113"/>
                  <a:gd name="connsiteY6" fmla="*/ 18458 h 281070"/>
                  <a:gd name="connsiteX7" fmla="*/ 111033 w 347113"/>
                  <a:gd name="connsiteY7" fmla="*/ 39814 h 281070"/>
                  <a:gd name="connsiteX8" fmla="*/ 208660 w 347113"/>
                  <a:gd name="connsiteY8" fmla="*/ 67271 h 281070"/>
                  <a:gd name="connsiteX9" fmla="*/ 22557 w 347113"/>
                  <a:gd name="connsiteY9" fmla="*/ 131339 h 281070"/>
                  <a:gd name="connsiteX10" fmla="*/ 13405 w 347113"/>
                  <a:gd name="connsiteY10" fmla="*/ 164898 h 281070"/>
                  <a:gd name="connsiteX11" fmla="*/ 62218 w 347113"/>
                  <a:gd name="connsiteY11" fmla="*/ 155746 h 281070"/>
                  <a:gd name="connsiteX12" fmla="*/ 123235 w 347113"/>
                  <a:gd name="connsiteY12" fmla="*/ 140491 h 281070"/>
                  <a:gd name="connsiteX13" fmla="*/ 53066 w 347113"/>
                  <a:gd name="connsiteY13" fmla="*/ 183203 h 281070"/>
                  <a:gd name="connsiteX14" fmla="*/ 4253 w 347113"/>
                  <a:gd name="connsiteY14" fmla="*/ 216763 h 281070"/>
                  <a:gd name="connsiteX15" fmla="*/ 7303 w 347113"/>
                  <a:gd name="connsiteY15" fmla="*/ 247271 h 281070"/>
                  <a:gd name="connsiteX16" fmla="*/ 40863 w 347113"/>
                  <a:gd name="connsiteY16" fmla="*/ 256424 h 281070"/>
                  <a:gd name="connsiteX17" fmla="*/ 40863 w 347113"/>
                  <a:gd name="connsiteY17" fmla="*/ 259475 h 281070"/>
                  <a:gd name="connsiteX18" fmla="*/ 43913 w 347113"/>
                  <a:gd name="connsiteY18" fmla="*/ 265576 h 281070"/>
                  <a:gd name="connsiteX19" fmla="*/ 95778 w 347113"/>
                  <a:gd name="connsiteY19" fmla="*/ 262525 h 281070"/>
                  <a:gd name="connsiteX20" fmla="*/ 120185 w 347113"/>
                  <a:gd name="connsiteY20" fmla="*/ 250322 h 281070"/>
                  <a:gd name="connsiteX21" fmla="*/ 117135 w 347113"/>
                  <a:gd name="connsiteY21" fmla="*/ 256424 h 281070"/>
                  <a:gd name="connsiteX22" fmla="*/ 120185 w 347113"/>
                  <a:gd name="connsiteY22" fmla="*/ 277780 h 281070"/>
                  <a:gd name="connsiteX23" fmla="*/ 159845 w 347113"/>
                  <a:gd name="connsiteY23" fmla="*/ 268627 h 281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7113" h="281070">
                    <a:moveTo>
                      <a:pt x="159845" y="268627"/>
                    </a:moveTo>
                    <a:cubicBezTo>
                      <a:pt x="184252" y="256424"/>
                      <a:pt x="208660" y="244220"/>
                      <a:pt x="233066" y="232017"/>
                    </a:cubicBezTo>
                    <a:cubicBezTo>
                      <a:pt x="272727" y="213712"/>
                      <a:pt x="321540" y="198458"/>
                      <a:pt x="336794" y="152695"/>
                    </a:cubicBezTo>
                    <a:cubicBezTo>
                      <a:pt x="345948" y="122186"/>
                      <a:pt x="358150" y="79475"/>
                      <a:pt x="327642" y="55068"/>
                    </a:cubicBezTo>
                    <a:cubicBezTo>
                      <a:pt x="324592" y="55068"/>
                      <a:pt x="324592" y="55068"/>
                      <a:pt x="321540" y="55068"/>
                    </a:cubicBezTo>
                    <a:cubicBezTo>
                      <a:pt x="321540" y="55068"/>
                      <a:pt x="321540" y="55068"/>
                      <a:pt x="321540" y="55068"/>
                    </a:cubicBezTo>
                    <a:cubicBezTo>
                      <a:pt x="257473" y="-2898"/>
                      <a:pt x="162897" y="-15102"/>
                      <a:pt x="111033" y="18458"/>
                    </a:cubicBezTo>
                    <a:cubicBezTo>
                      <a:pt x="107981" y="21509"/>
                      <a:pt x="107981" y="36763"/>
                      <a:pt x="111033" y="39814"/>
                    </a:cubicBezTo>
                    <a:cubicBezTo>
                      <a:pt x="144591" y="52017"/>
                      <a:pt x="187304" y="36763"/>
                      <a:pt x="208660" y="67271"/>
                    </a:cubicBezTo>
                    <a:cubicBezTo>
                      <a:pt x="147643" y="94729"/>
                      <a:pt x="77472" y="91678"/>
                      <a:pt x="22557" y="131339"/>
                    </a:cubicBezTo>
                    <a:cubicBezTo>
                      <a:pt x="13405" y="137441"/>
                      <a:pt x="-7951" y="158797"/>
                      <a:pt x="13405" y="164898"/>
                    </a:cubicBezTo>
                    <a:cubicBezTo>
                      <a:pt x="25609" y="167949"/>
                      <a:pt x="46964" y="158797"/>
                      <a:pt x="62218" y="155746"/>
                    </a:cubicBezTo>
                    <a:cubicBezTo>
                      <a:pt x="83574" y="149644"/>
                      <a:pt x="104930" y="146593"/>
                      <a:pt x="123235" y="140491"/>
                    </a:cubicBezTo>
                    <a:cubicBezTo>
                      <a:pt x="98828" y="155746"/>
                      <a:pt x="77472" y="167949"/>
                      <a:pt x="53066" y="183203"/>
                    </a:cubicBezTo>
                    <a:cubicBezTo>
                      <a:pt x="37811" y="192356"/>
                      <a:pt x="16455" y="201508"/>
                      <a:pt x="4253" y="216763"/>
                    </a:cubicBezTo>
                    <a:cubicBezTo>
                      <a:pt x="-1849" y="225915"/>
                      <a:pt x="-1849" y="238119"/>
                      <a:pt x="7303" y="247271"/>
                    </a:cubicBezTo>
                    <a:cubicBezTo>
                      <a:pt x="16455" y="256424"/>
                      <a:pt x="28659" y="256424"/>
                      <a:pt x="40863" y="256424"/>
                    </a:cubicBezTo>
                    <a:cubicBezTo>
                      <a:pt x="40863" y="256424"/>
                      <a:pt x="40863" y="259475"/>
                      <a:pt x="40863" y="259475"/>
                    </a:cubicBezTo>
                    <a:cubicBezTo>
                      <a:pt x="40863" y="262525"/>
                      <a:pt x="40863" y="265576"/>
                      <a:pt x="43913" y="265576"/>
                    </a:cubicBezTo>
                    <a:cubicBezTo>
                      <a:pt x="62218" y="274729"/>
                      <a:pt x="77472" y="271678"/>
                      <a:pt x="95778" y="262525"/>
                    </a:cubicBezTo>
                    <a:cubicBezTo>
                      <a:pt x="104930" y="259475"/>
                      <a:pt x="111033" y="253373"/>
                      <a:pt x="120185" y="250322"/>
                    </a:cubicBezTo>
                    <a:cubicBezTo>
                      <a:pt x="117135" y="253373"/>
                      <a:pt x="117135" y="253373"/>
                      <a:pt x="117135" y="256424"/>
                    </a:cubicBezTo>
                    <a:cubicBezTo>
                      <a:pt x="114083" y="262525"/>
                      <a:pt x="111033" y="271678"/>
                      <a:pt x="120185" y="277780"/>
                    </a:cubicBezTo>
                    <a:cubicBezTo>
                      <a:pt x="129337" y="286932"/>
                      <a:pt x="147643" y="274729"/>
                      <a:pt x="159845" y="26862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F1531DB7-2A8E-4662-9E48-A5B09C0F2EB8}"/>
                  </a:ext>
                </a:extLst>
              </p:cNvPr>
              <p:cNvSpPr/>
              <p:nvPr/>
            </p:nvSpPr>
            <p:spPr>
              <a:xfrm>
                <a:off x="22919113" y="4060455"/>
                <a:ext cx="68383" cy="40924"/>
              </a:xfrm>
              <a:custGeom>
                <a:avLst/>
                <a:gdLst>
                  <a:gd name="connsiteX0" fmla="*/ 53129 w 68383"/>
                  <a:gd name="connsiteY0" fmla="*/ 40925 h 40924"/>
                  <a:gd name="connsiteX1" fmla="*/ 1264 w 68383"/>
                  <a:gd name="connsiteY1" fmla="*/ 10416 h 40924"/>
                  <a:gd name="connsiteX2" fmla="*/ 4314 w 68383"/>
                  <a:gd name="connsiteY2" fmla="*/ 1264 h 40924"/>
                  <a:gd name="connsiteX3" fmla="*/ 13466 w 68383"/>
                  <a:gd name="connsiteY3" fmla="*/ 4314 h 40924"/>
                  <a:gd name="connsiteX4" fmla="*/ 62281 w 68383"/>
                  <a:gd name="connsiteY4" fmla="*/ 25671 h 40924"/>
                  <a:gd name="connsiteX5" fmla="*/ 68383 w 68383"/>
                  <a:gd name="connsiteY5" fmla="*/ 28721 h 40924"/>
                  <a:gd name="connsiteX6" fmla="*/ 65331 w 68383"/>
                  <a:gd name="connsiteY6" fmla="*/ 34823 h 40924"/>
                  <a:gd name="connsiteX7" fmla="*/ 53129 w 68383"/>
                  <a:gd name="connsiteY7" fmla="*/ 40925 h 40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383" h="40924">
                    <a:moveTo>
                      <a:pt x="53129" y="40925"/>
                    </a:moveTo>
                    <a:cubicBezTo>
                      <a:pt x="22621" y="40925"/>
                      <a:pt x="4314" y="13467"/>
                      <a:pt x="1264" y="10416"/>
                    </a:cubicBezTo>
                    <a:cubicBezTo>
                      <a:pt x="-1788" y="7365"/>
                      <a:pt x="1264" y="4314"/>
                      <a:pt x="4314" y="1264"/>
                    </a:cubicBezTo>
                    <a:cubicBezTo>
                      <a:pt x="7366" y="-1787"/>
                      <a:pt x="10416" y="1264"/>
                      <a:pt x="13466" y="4314"/>
                    </a:cubicBezTo>
                    <a:cubicBezTo>
                      <a:pt x="13466" y="4314"/>
                      <a:pt x="31773" y="34823"/>
                      <a:pt x="62281" y="25671"/>
                    </a:cubicBezTo>
                    <a:cubicBezTo>
                      <a:pt x="65331" y="25671"/>
                      <a:pt x="68383" y="25671"/>
                      <a:pt x="68383" y="28721"/>
                    </a:cubicBezTo>
                    <a:cubicBezTo>
                      <a:pt x="68383" y="31772"/>
                      <a:pt x="68383" y="34823"/>
                      <a:pt x="65331" y="34823"/>
                    </a:cubicBezTo>
                    <a:cubicBezTo>
                      <a:pt x="62281" y="40925"/>
                      <a:pt x="56179" y="40925"/>
                      <a:pt x="53129" y="4092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93849E48-D786-4D73-AEBF-8D6965DBCF66}"/>
                  </a:ext>
                </a:extLst>
              </p:cNvPr>
              <p:cNvSpPr/>
              <p:nvPr/>
            </p:nvSpPr>
            <p:spPr>
              <a:xfrm>
                <a:off x="22697666" y="4107481"/>
                <a:ext cx="152542" cy="122033"/>
              </a:xfrm>
              <a:custGeom>
                <a:avLst/>
                <a:gdLst>
                  <a:gd name="connsiteX0" fmla="*/ 33559 w 152542"/>
                  <a:gd name="connsiteY0" fmla="*/ 122034 h 122033"/>
                  <a:gd name="connsiteX1" fmla="*/ 12202 w 152542"/>
                  <a:gd name="connsiteY1" fmla="*/ 115932 h 122033"/>
                  <a:gd name="connsiteX2" fmla="*/ 0 w 152542"/>
                  <a:gd name="connsiteY2" fmla="*/ 91525 h 122033"/>
                  <a:gd name="connsiteX3" fmla="*/ 85423 w 152542"/>
                  <a:gd name="connsiteY3" fmla="*/ 24407 h 122033"/>
                  <a:gd name="connsiteX4" fmla="*/ 18304 w 152542"/>
                  <a:gd name="connsiteY4" fmla="*/ 36610 h 122033"/>
                  <a:gd name="connsiteX5" fmla="*/ 12202 w 152542"/>
                  <a:gd name="connsiteY5" fmla="*/ 30508 h 122033"/>
                  <a:gd name="connsiteX6" fmla="*/ 18304 w 152542"/>
                  <a:gd name="connsiteY6" fmla="*/ 24407 h 122033"/>
                  <a:gd name="connsiteX7" fmla="*/ 125084 w 152542"/>
                  <a:gd name="connsiteY7" fmla="*/ 0 h 122033"/>
                  <a:gd name="connsiteX8" fmla="*/ 131186 w 152542"/>
                  <a:gd name="connsiteY8" fmla="*/ 3051 h 122033"/>
                  <a:gd name="connsiteX9" fmla="*/ 128134 w 152542"/>
                  <a:gd name="connsiteY9" fmla="*/ 9153 h 122033"/>
                  <a:gd name="connsiteX10" fmla="*/ 12202 w 152542"/>
                  <a:gd name="connsiteY10" fmla="*/ 88475 h 122033"/>
                  <a:gd name="connsiteX11" fmla="*/ 18304 w 152542"/>
                  <a:gd name="connsiteY11" fmla="*/ 103729 h 122033"/>
                  <a:gd name="connsiteX12" fmla="*/ 42711 w 152542"/>
                  <a:gd name="connsiteY12" fmla="*/ 106780 h 122033"/>
                  <a:gd name="connsiteX13" fmla="*/ 143388 w 152542"/>
                  <a:gd name="connsiteY13" fmla="*/ 57966 h 122033"/>
                  <a:gd name="connsiteX14" fmla="*/ 152542 w 152542"/>
                  <a:gd name="connsiteY14" fmla="*/ 61017 h 122033"/>
                  <a:gd name="connsiteX15" fmla="*/ 149490 w 152542"/>
                  <a:gd name="connsiteY15" fmla="*/ 70170 h 122033"/>
                  <a:gd name="connsiteX16" fmla="*/ 45763 w 152542"/>
                  <a:gd name="connsiteY16" fmla="*/ 118983 h 122033"/>
                  <a:gd name="connsiteX17" fmla="*/ 33559 w 152542"/>
                  <a:gd name="connsiteY17" fmla="*/ 122034 h 122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2542" h="122033">
                    <a:moveTo>
                      <a:pt x="33559" y="122034"/>
                    </a:moveTo>
                    <a:cubicBezTo>
                      <a:pt x="24406" y="122034"/>
                      <a:pt x="18304" y="118983"/>
                      <a:pt x="12202" y="115932"/>
                    </a:cubicBezTo>
                    <a:cubicBezTo>
                      <a:pt x="6100" y="109830"/>
                      <a:pt x="0" y="100678"/>
                      <a:pt x="0" y="91525"/>
                    </a:cubicBezTo>
                    <a:cubicBezTo>
                      <a:pt x="0" y="76271"/>
                      <a:pt x="45763" y="48814"/>
                      <a:pt x="85423" y="24407"/>
                    </a:cubicBezTo>
                    <a:cubicBezTo>
                      <a:pt x="51863" y="30508"/>
                      <a:pt x="21354" y="36610"/>
                      <a:pt x="18304" y="36610"/>
                    </a:cubicBezTo>
                    <a:cubicBezTo>
                      <a:pt x="15254" y="36610"/>
                      <a:pt x="12202" y="33559"/>
                      <a:pt x="12202" y="30508"/>
                    </a:cubicBezTo>
                    <a:cubicBezTo>
                      <a:pt x="12202" y="27458"/>
                      <a:pt x="15254" y="24407"/>
                      <a:pt x="18304" y="24407"/>
                    </a:cubicBezTo>
                    <a:cubicBezTo>
                      <a:pt x="18304" y="24407"/>
                      <a:pt x="88473" y="12203"/>
                      <a:pt x="125084" y="0"/>
                    </a:cubicBezTo>
                    <a:cubicBezTo>
                      <a:pt x="128134" y="0"/>
                      <a:pt x="131186" y="0"/>
                      <a:pt x="131186" y="3051"/>
                    </a:cubicBezTo>
                    <a:cubicBezTo>
                      <a:pt x="131186" y="6102"/>
                      <a:pt x="131186" y="9153"/>
                      <a:pt x="128134" y="9153"/>
                    </a:cubicBezTo>
                    <a:cubicBezTo>
                      <a:pt x="73219" y="39661"/>
                      <a:pt x="12202" y="76271"/>
                      <a:pt x="12202" y="88475"/>
                    </a:cubicBezTo>
                    <a:cubicBezTo>
                      <a:pt x="12202" y="94576"/>
                      <a:pt x="15254" y="100678"/>
                      <a:pt x="18304" y="103729"/>
                    </a:cubicBezTo>
                    <a:cubicBezTo>
                      <a:pt x="24406" y="106780"/>
                      <a:pt x="33559" y="109830"/>
                      <a:pt x="42711" y="106780"/>
                    </a:cubicBezTo>
                    <a:cubicBezTo>
                      <a:pt x="61017" y="100678"/>
                      <a:pt x="143388" y="57966"/>
                      <a:pt x="143388" y="57966"/>
                    </a:cubicBezTo>
                    <a:cubicBezTo>
                      <a:pt x="146440" y="57966"/>
                      <a:pt x="149490" y="57966"/>
                      <a:pt x="152542" y="61017"/>
                    </a:cubicBezTo>
                    <a:cubicBezTo>
                      <a:pt x="152542" y="64068"/>
                      <a:pt x="152542" y="67119"/>
                      <a:pt x="149490" y="70170"/>
                    </a:cubicBezTo>
                    <a:cubicBezTo>
                      <a:pt x="146440" y="73220"/>
                      <a:pt x="64067" y="112881"/>
                      <a:pt x="45763" y="118983"/>
                    </a:cubicBezTo>
                    <a:cubicBezTo>
                      <a:pt x="42711" y="122034"/>
                      <a:pt x="39661" y="122034"/>
                      <a:pt x="33559" y="12203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B5AD7432-CA9E-4278-9579-ACF2EA8D6F68}"/>
                  </a:ext>
                </a:extLst>
              </p:cNvPr>
              <p:cNvSpPr/>
              <p:nvPr/>
            </p:nvSpPr>
            <p:spPr>
              <a:xfrm>
                <a:off x="22737327" y="4174600"/>
                <a:ext cx="152542" cy="76271"/>
              </a:xfrm>
              <a:custGeom>
                <a:avLst/>
                <a:gdLst>
                  <a:gd name="connsiteX0" fmla="*/ 21356 w 152542"/>
                  <a:gd name="connsiteY0" fmla="*/ 76271 h 76271"/>
                  <a:gd name="connsiteX1" fmla="*/ 21356 w 152542"/>
                  <a:gd name="connsiteY1" fmla="*/ 76271 h 76271"/>
                  <a:gd name="connsiteX2" fmla="*/ 0 w 152542"/>
                  <a:gd name="connsiteY2" fmla="*/ 48814 h 76271"/>
                  <a:gd name="connsiteX3" fmla="*/ 6102 w 152542"/>
                  <a:gd name="connsiteY3" fmla="*/ 42712 h 76271"/>
                  <a:gd name="connsiteX4" fmla="*/ 12202 w 152542"/>
                  <a:gd name="connsiteY4" fmla="*/ 48814 h 76271"/>
                  <a:gd name="connsiteX5" fmla="*/ 21356 w 152542"/>
                  <a:gd name="connsiteY5" fmla="*/ 64068 h 76271"/>
                  <a:gd name="connsiteX6" fmla="*/ 21356 w 152542"/>
                  <a:gd name="connsiteY6" fmla="*/ 64068 h 76271"/>
                  <a:gd name="connsiteX7" fmla="*/ 85423 w 152542"/>
                  <a:gd name="connsiteY7" fmla="*/ 36610 h 76271"/>
                  <a:gd name="connsiteX8" fmla="*/ 146440 w 152542"/>
                  <a:gd name="connsiteY8" fmla="*/ 0 h 76271"/>
                  <a:gd name="connsiteX9" fmla="*/ 152542 w 152542"/>
                  <a:gd name="connsiteY9" fmla="*/ 9153 h 76271"/>
                  <a:gd name="connsiteX10" fmla="*/ 91525 w 152542"/>
                  <a:gd name="connsiteY10" fmla="*/ 45763 h 76271"/>
                  <a:gd name="connsiteX11" fmla="*/ 21356 w 152542"/>
                  <a:gd name="connsiteY11" fmla="*/ 76271 h 76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2542" h="76271">
                    <a:moveTo>
                      <a:pt x="21356" y="76271"/>
                    </a:moveTo>
                    <a:cubicBezTo>
                      <a:pt x="21356" y="76271"/>
                      <a:pt x="21356" y="76271"/>
                      <a:pt x="21356" y="76271"/>
                    </a:cubicBezTo>
                    <a:cubicBezTo>
                      <a:pt x="6102" y="76271"/>
                      <a:pt x="0" y="57966"/>
                      <a:pt x="0" y="48814"/>
                    </a:cubicBezTo>
                    <a:cubicBezTo>
                      <a:pt x="0" y="45763"/>
                      <a:pt x="3050" y="42712"/>
                      <a:pt x="6102" y="42712"/>
                    </a:cubicBezTo>
                    <a:cubicBezTo>
                      <a:pt x="9152" y="42712"/>
                      <a:pt x="12202" y="45763"/>
                      <a:pt x="12202" y="48814"/>
                    </a:cubicBezTo>
                    <a:cubicBezTo>
                      <a:pt x="12202" y="48814"/>
                      <a:pt x="12202" y="64068"/>
                      <a:pt x="21356" y="64068"/>
                    </a:cubicBezTo>
                    <a:cubicBezTo>
                      <a:pt x="21356" y="64068"/>
                      <a:pt x="21356" y="64068"/>
                      <a:pt x="21356" y="64068"/>
                    </a:cubicBezTo>
                    <a:cubicBezTo>
                      <a:pt x="33559" y="64068"/>
                      <a:pt x="73219" y="45763"/>
                      <a:pt x="85423" y="36610"/>
                    </a:cubicBezTo>
                    <a:cubicBezTo>
                      <a:pt x="94576" y="30508"/>
                      <a:pt x="146440" y="0"/>
                      <a:pt x="146440" y="0"/>
                    </a:cubicBezTo>
                    <a:lnTo>
                      <a:pt x="152542" y="9153"/>
                    </a:lnTo>
                    <a:cubicBezTo>
                      <a:pt x="152542" y="9153"/>
                      <a:pt x="100678" y="39661"/>
                      <a:pt x="91525" y="45763"/>
                    </a:cubicBezTo>
                    <a:cubicBezTo>
                      <a:pt x="85423" y="51865"/>
                      <a:pt x="39661" y="76271"/>
                      <a:pt x="21356" y="7627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B26E7A8C-AE05-4BF0-B41F-28A5BF3335D7}"/>
                </a:ext>
              </a:extLst>
            </p:cNvPr>
            <p:cNvSpPr/>
            <p:nvPr/>
          </p:nvSpPr>
          <p:spPr>
            <a:xfrm>
              <a:off x="22984426" y="3046084"/>
              <a:ext cx="915425" cy="1116608"/>
            </a:xfrm>
            <a:custGeom>
              <a:avLst/>
              <a:gdLst>
                <a:gd name="connsiteX0" fmla="*/ 582731 w 915425"/>
                <a:gd name="connsiteY0" fmla="*/ 323092 h 1116608"/>
                <a:gd name="connsiteX1" fmla="*/ 451543 w 915425"/>
                <a:gd name="connsiteY1" fmla="*/ 692245 h 1116608"/>
                <a:gd name="connsiteX2" fmla="*/ 18 w 915425"/>
                <a:gd name="connsiteY2" fmla="*/ 924109 h 1116608"/>
                <a:gd name="connsiteX3" fmla="*/ 82391 w 915425"/>
                <a:gd name="connsiteY3" fmla="*/ 1116313 h 1116608"/>
                <a:gd name="connsiteX4" fmla="*/ 665102 w 915425"/>
                <a:gd name="connsiteY4" fmla="*/ 878346 h 1116608"/>
                <a:gd name="connsiteX5" fmla="*/ 903070 w 915425"/>
                <a:gd name="connsiteY5" fmla="*/ 265126 h 1116608"/>
                <a:gd name="connsiteX6" fmla="*/ 848153 w 915425"/>
                <a:gd name="connsiteY6" fmla="*/ 2753 h 1116608"/>
                <a:gd name="connsiteX7" fmla="*/ 582731 w 915425"/>
                <a:gd name="connsiteY7" fmla="*/ 323092 h 1116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425" h="1116608">
                  <a:moveTo>
                    <a:pt x="582731" y="323092"/>
                  </a:moveTo>
                  <a:cubicBezTo>
                    <a:pt x="555273" y="408516"/>
                    <a:pt x="500358" y="615974"/>
                    <a:pt x="451543" y="692245"/>
                  </a:cubicBezTo>
                  <a:cubicBezTo>
                    <a:pt x="381374" y="805126"/>
                    <a:pt x="-3032" y="914957"/>
                    <a:pt x="18" y="924109"/>
                  </a:cubicBezTo>
                  <a:cubicBezTo>
                    <a:pt x="9170" y="994279"/>
                    <a:pt x="27476" y="1073601"/>
                    <a:pt x="82391" y="1116313"/>
                  </a:cubicBezTo>
                  <a:cubicBezTo>
                    <a:pt x="91543" y="1122414"/>
                    <a:pt x="509510" y="1033940"/>
                    <a:pt x="665102" y="878346"/>
                  </a:cubicBezTo>
                  <a:cubicBezTo>
                    <a:pt x="713917" y="829533"/>
                    <a:pt x="854255" y="405465"/>
                    <a:pt x="903070" y="265126"/>
                  </a:cubicBezTo>
                  <a:cubicBezTo>
                    <a:pt x="930527" y="182753"/>
                    <a:pt x="912222" y="18007"/>
                    <a:pt x="848153" y="2753"/>
                  </a:cubicBezTo>
                  <a:cubicBezTo>
                    <a:pt x="747476" y="-24704"/>
                    <a:pt x="631544" y="158346"/>
                    <a:pt x="582731" y="323092"/>
                  </a:cubicBezTo>
                  <a:close/>
                </a:path>
              </a:pathLst>
            </a:custGeom>
            <a:solidFill>
              <a:srgbClr val="F1DDB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321102E0-A933-49DA-BB2D-3449667D90B3}"/>
                </a:ext>
              </a:extLst>
            </p:cNvPr>
            <p:cNvSpPr/>
            <p:nvPr/>
          </p:nvSpPr>
          <p:spPr>
            <a:xfrm>
              <a:off x="23596472" y="3973244"/>
              <a:ext cx="1380175" cy="2504745"/>
            </a:xfrm>
            <a:custGeom>
              <a:avLst/>
              <a:gdLst>
                <a:gd name="connsiteX0" fmla="*/ 788312 w 1380175"/>
                <a:gd name="connsiteY0" fmla="*/ 0 h 2504745"/>
                <a:gd name="connsiteX1" fmla="*/ 120176 w 1380175"/>
                <a:gd name="connsiteY1" fmla="*/ 0 h 2504745"/>
                <a:gd name="connsiteX2" fmla="*/ 1194 w 1380175"/>
                <a:gd name="connsiteY2" fmla="*/ 460678 h 2504745"/>
                <a:gd name="connsiteX3" fmla="*/ 181193 w 1380175"/>
                <a:gd name="connsiteY3" fmla="*/ 2486441 h 2504745"/>
                <a:gd name="connsiteX4" fmla="*/ 379498 w 1380175"/>
                <a:gd name="connsiteY4" fmla="*/ 2504746 h 2504745"/>
                <a:gd name="connsiteX5" fmla="*/ 461871 w 1380175"/>
                <a:gd name="connsiteY5" fmla="*/ 811525 h 2504745"/>
                <a:gd name="connsiteX6" fmla="*/ 553396 w 1380175"/>
                <a:gd name="connsiteY6" fmla="*/ 1757288 h 2504745"/>
                <a:gd name="connsiteX7" fmla="*/ 1276448 w 1380175"/>
                <a:gd name="connsiteY7" fmla="*/ 2275932 h 2504745"/>
                <a:gd name="connsiteX8" fmla="*/ 1380175 w 1380175"/>
                <a:gd name="connsiteY8" fmla="*/ 2086780 h 2504745"/>
                <a:gd name="connsiteX9" fmla="*/ 885939 w 1380175"/>
                <a:gd name="connsiteY9" fmla="*/ 1656610 h 2504745"/>
                <a:gd name="connsiteX10" fmla="*/ 922548 w 1380175"/>
                <a:gd name="connsiteY10" fmla="*/ 414915 h 2504745"/>
                <a:gd name="connsiteX11" fmla="*/ 788312 w 1380175"/>
                <a:gd name="connsiteY11" fmla="*/ 0 h 2504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0175" h="2504745">
                  <a:moveTo>
                    <a:pt x="788312" y="0"/>
                  </a:moveTo>
                  <a:lnTo>
                    <a:pt x="120176" y="0"/>
                  </a:lnTo>
                  <a:cubicBezTo>
                    <a:pt x="120176" y="0"/>
                    <a:pt x="22548" y="305085"/>
                    <a:pt x="1194" y="460678"/>
                  </a:cubicBezTo>
                  <a:cubicBezTo>
                    <a:pt x="-17113" y="613220"/>
                    <a:pt x="181193" y="2486441"/>
                    <a:pt x="181193" y="2486441"/>
                  </a:cubicBezTo>
                  <a:lnTo>
                    <a:pt x="379498" y="2504746"/>
                  </a:lnTo>
                  <a:lnTo>
                    <a:pt x="461871" y="811525"/>
                  </a:lnTo>
                  <a:cubicBezTo>
                    <a:pt x="461871" y="811525"/>
                    <a:pt x="547294" y="1742034"/>
                    <a:pt x="553396" y="1757288"/>
                  </a:cubicBezTo>
                  <a:lnTo>
                    <a:pt x="1276448" y="2275932"/>
                  </a:lnTo>
                  <a:lnTo>
                    <a:pt x="1380175" y="2086780"/>
                  </a:lnTo>
                  <a:lnTo>
                    <a:pt x="885939" y="1656610"/>
                  </a:lnTo>
                  <a:cubicBezTo>
                    <a:pt x="885939" y="1656610"/>
                    <a:pt x="916448" y="478983"/>
                    <a:pt x="922548" y="414915"/>
                  </a:cubicBezTo>
                  <a:cubicBezTo>
                    <a:pt x="931702" y="295932"/>
                    <a:pt x="788312" y="0"/>
                    <a:pt x="788312" y="0"/>
                  </a:cubicBezTo>
                  <a:close/>
                </a:path>
              </a:pathLst>
            </a:custGeom>
            <a:solidFill>
              <a:srgbClr val="7F95BC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6BE84719-5EDF-4DEE-AB79-051822637621}"/>
                </a:ext>
              </a:extLst>
            </p:cNvPr>
            <p:cNvSpPr/>
            <p:nvPr/>
          </p:nvSpPr>
          <p:spPr>
            <a:xfrm>
              <a:off x="24012580" y="4360702"/>
              <a:ext cx="868728" cy="1897627"/>
            </a:xfrm>
            <a:custGeom>
              <a:avLst/>
              <a:gdLst>
                <a:gd name="connsiteX0" fmla="*/ 860339 w 868728"/>
                <a:gd name="connsiteY0" fmla="*/ 1897627 h 1897627"/>
                <a:gd name="connsiteX1" fmla="*/ 857287 w 868728"/>
                <a:gd name="connsiteY1" fmla="*/ 1897627 h 1897627"/>
                <a:gd name="connsiteX2" fmla="*/ 134238 w 868728"/>
                <a:gd name="connsiteY2" fmla="*/ 1378983 h 1897627"/>
                <a:gd name="connsiteX3" fmla="*/ 131186 w 868728"/>
                <a:gd name="connsiteY3" fmla="*/ 1375932 h 1897627"/>
                <a:gd name="connsiteX4" fmla="*/ 39661 w 868728"/>
                <a:gd name="connsiteY4" fmla="*/ 427119 h 1897627"/>
                <a:gd name="connsiteX5" fmla="*/ 0 w 868728"/>
                <a:gd name="connsiteY5" fmla="*/ 6102 h 1897627"/>
                <a:gd name="connsiteX6" fmla="*/ 6102 w 868728"/>
                <a:gd name="connsiteY6" fmla="*/ 0 h 1897627"/>
                <a:gd name="connsiteX7" fmla="*/ 12204 w 868728"/>
                <a:gd name="connsiteY7" fmla="*/ 6102 h 1897627"/>
                <a:gd name="connsiteX8" fmla="*/ 54915 w 868728"/>
                <a:gd name="connsiteY8" fmla="*/ 424068 h 1897627"/>
                <a:gd name="connsiteX9" fmla="*/ 146440 w 868728"/>
                <a:gd name="connsiteY9" fmla="*/ 1369830 h 1897627"/>
                <a:gd name="connsiteX10" fmla="*/ 866441 w 868728"/>
                <a:gd name="connsiteY10" fmla="*/ 1888474 h 1897627"/>
                <a:gd name="connsiteX11" fmla="*/ 866441 w 868728"/>
                <a:gd name="connsiteY11" fmla="*/ 1897627 h 1897627"/>
                <a:gd name="connsiteX12" fmla="*/ 860339 w 868728"/>
                <a:gd name="connsiteY12" fmla="*/ 1897627 h 189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68728" h="1897627">
                  <a:moveTo>
                    <a:pt x="860339" y="1897627"/>
                  </a:moveTo>
                  <a:cubicBezTo>
                    <a:pt x="860339" y="1897627"/>
                    <a:pt x="857287" y="1897627"/>
                    <a:pt x="857287" y="1897627"/>
                  </a:cubicBezTo>
                  <a:lnTo>
                    <a:pt x="134238" y="1378983"/>
                  </a:lnTo>
                  <a:cubicBezTo>
                    <a:pt x="134238" y="1378983"/>
                    <a:pt x="131186" y="1378983"/>
                    <a:pt x="131186" y="1375932"/>
                  </a:cubicBezTo>
                  <a:cubicBezTo>
                    <a:pt x="125084" y="1357627"/>
                    <a:pt x="48813" y="521695"/>
                    <a:pt x="39661" y="427119"/>
                  </a:cubicBezTo>
                  <a:lnTo>
                    <a:pt x="0" y="6102"/>
                  </a:lnTo>
                  <a:cubicBezTo>
                    <a:pt x="0" y="3051"/>
                    <a:pt x="3050" y="0"/>
                    <a:pt x="6102" y="0"/>
                  </a:cubicBezTo>
                  <a:cubicBezTo>
                    <a:pt x="9152" y="0"/>
                    <a:pt x="12204" y="3051"/>
                    <a:pt x="12204" y="6102"/>
                  </a:cubicBezTo>
                  <a:lnTo>
                    <a:pt x="54915" y="424068"/>
                  </a:lnTo>
                  <a:cubicBezTo>
                    <a:pt x="82373" y="738305"/>
                    <a:pt x="137288" y="1330169"/>
                    <a:pt x="146440" y="1369830"/>
                  </a:cubicBezTo>
                  <a:lnTo>
                    <a:pt x="866441" y="1888474"/>
                  </a:lnTo>
                  <a:cubicBezTo>
                    <a:pt x="869492" y="1891525"/>
                    <a:pt x="869492" y="1894576"/>
                    <a:pt x="866441" y="1897627"/>
                  </a:cubicBezTo>
                  <a:cubicBezTo>
                    <a:pt x="863389" y="1894576"/>
                    <a:pt x="863389" y="1897627"/>
                    <a:pt x="860339" y="1897627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56608DA6-9FC1-469C-AAC3-5D910BA343CB}"/>
                </a:ext>
              </a:extLst>
            </p:cNvPr>
            <p:cNvSpPr/>
            <p:nvPr/>
          </p:nvSpPr>
          <p:spPr>
            <a:xfrm>
              <a:off x="24332919" y="4128837"/>
              <a:ext cx="181264" cy="189152"/>
            </a:xfrm>
            <a:custGeom>
              <a:avLst/>
              <a:gdLst>
                <a:gd name="connsiteX0" fmla="*/ 176949 w 181264"/>
                <a:gd name="connsiteY0" fmla="*/ 189153 h 189152"/>
                <a:gd name="connsiteX1" fmla="*/ 176949 w 181264"/>
                <a:gd name="connsiteY1" fmla="*/ 189153 h 189152"/>
                <a:gd name="connsiteX2" fmla="*/ 0 w 181264"/>
                <a:gd name="connsiteY2" fmla="*/ 6102 h 189152"/>
                <a:gd name="connsiteX3" fmla="*/ 3050 w 181264"/>
                <a:gd name="connsiteY3" fmla="*/ 0 h 189152"/>
                <a:gd name="connsiteX4" fmla="*/ 9152 w 181264"/>
                <a:gd name="connsiteY4" fmla="*/ 3051 h 189152"/>
                <a:gd name="connsiteX5" fmla="*/ 176949 w 181264"/>
                <a:gd name="connsiteY5" fmla="*/ 180000 h 189152"/>
                <a:gd name="connsiteX6" fmla="*/ 180001 w 181264"/>
                <a:gd name="connsiteY6" fmla="*/ 186102 h 189152"/>
                <a:gd name="connsiteX7" fmla="*/ 176949 w 181264"/>
                <a:gd name="connsiteY7" fmla="*/ 189153 h 189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264" h="189152">
                  <a:moveTo>
                    <a:pt x="176949" y="189153"/>
                  </a:moveTo>
                  <a:cubicBezTo>
                    <a:pt x="176949" y="189153"/>
                    <a:pt x="176949" y="189153"/>
                    <a:pt x="176949" y="189153"/>
                  </a:cubicBezTo>
                  <a:cubicBezTo>
                    <a:pt x="57967" y="155593"/>
                    <a:pt x="3050" y="12203"/>
                    <a:pt x="0" y="6102"/>
                  </a:cubicBezTo>
                  <a:cubicBezTo>
                    <a:pt x="0" y="3051"/>
                    <a:pt x="0" y="0"/>
                    <a:pt x="3050" y="0"/>
                  </a:cubicBezTo>
                  <a:cubicBezTo>
                    <a:pt x="6102" y="0"/>
                    <a:pt x="9152" y="0"/>
                    <a:pt x="9152" y="3051"/>
                  </a:cubicBezTo>
                  <a:cubicBezTo>
                    <a:pt x="9152" y="3051"/>
                    <a:pt x="64067" y="149492"/>
                    <a:pt x="176949" y="180000"/>
                  </a:cubicBezTo>
                  <a:cubicBezTo>
                    <a:pt x="180001" y="180000"/>
                    <a:pt x="183051" y="183051"/>
                    <a:pt x="180001" y="186102"/>
                  </a:cubicBezTo>
                  <a:cubicBezTo>
                    <a:pt x="183051" y="186102"/>
                    <a:pt x="180001" y="189153"/>
                    <a:pt x="176949" y="189153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138E5011-4F7E-4361-8D77-C6111672C6B7}"/>
                </a:ext>
              </a:extLst>
            </p:cNvPr>
            <p:cNvSpPr/>
            <p:nvPr/>
          </p:nvSpPr>
          <p:spPr>
            <a:xfrm>
              <a:off x="23615970" y="4128837"/>
              <a:ext cx="173898" cy="192203"/>
            </a:xfrm>
            <a:custGeom>
              <a:avLst/>
              <a:gdLst>
                <a:gd name="connsiteX0" fmla="*/ 6102 w 173898"/>
                <a:gd name="connsiteY0" fmla="*/ 192203 h 192203"/>
                <a:gd name="connsiteX1" fmla="*/ 0 w 173898"/>
                <a:gd name="connsiteY1" fmla="*/ 189153 h 192203"/>
                <a:gd name="connsiteX2" fmla="*/ 3050 w 173898"/>
                <a:gd name="connsiteY2" fmla="*/ 183051 h 192203"/>
                <a:gd name="connsiteX3" fmla="*/ 161695 w 173898"/>
                <a:gd name="connsiteY3" fmla="*/ 3051 h 192203"/>
                <a:gd name="connsiteX4" fmla="*/ 170847 w 173898"/>
                <a:gd name="connsiteY4" fmla="*/ 0 h 192203"/>
                <a:gd name="connsiteX5" fmla="*/ 173899 w 173898"/>
                <a:gd name="connsiteY5" fmla="*/ 9153 h 192203"/>
                <a:gd name="connsiteX6" fmla="*/ 6102 w 173898"/>
                <a:gd name="connsiteY6" fmla="*/ 192203 h 192203"/>
                <a:gd name="connsiteX7" fmla="*/ 6102 w 173898"/>
                <a:gd name="connsiteY7" fmla="*/ 192203 h 192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898" h="192203">
                  <a:moveTo>
                    <a:pt x="6102" y="192203"/>
                  </a:moveTo>
                  <a:cubicBezTo>
                    <a:pt x="3050" y="192203"/>
                    <a:pt x="3050" y="192203"/>
                    <a:pt x="0" y="189153"/>
                  </a:cubicBezTo>
                  <a:cubicBezTo>
                    <a:pt x="0" y="186102"/>
                    <a:pt x="0" y="183051"/>
                    <a:pt x="3050" y="183051"/>
                  </a:cubicBezTo>
                  <a:cubicBezTo>
                    <a:pt x="82373" y="152542"/>
                    <a:pt x="161695" y="3051"/>
                    <a:pt x="161695" y="3051"/>
                  </a:cubicBezTo>
                  <a:cubicBezTo>
                    <a:pt x="161695" y="0"/>
                    <a:pt x="167797" y="0"/>
                    <a:pt x="170847" y="0"/>
                  </a:cubicBezTo>
                  <a:cubicBezTo>
                    <a:pt x="173899" y="0"/>
                    <a:pt x="173899" y="6102"/>
                    <a:pt x="173899" y="9153"/>
                  </a:cubicBezTo>
                  <a:cubicBezTo>
                    <a:pt x="167797" y="12203"/>
                    <a:pt x="88475" y="158644"/>
                    <a:pt x="6102" y="192203"/>
                  </a:cubicBezTo>
                  <a:cubicBezTo>
                    <a:pt x="6102" y="192203"/>
                    <a:pt x="6102" y="192203"/>
                    <a:pt x="6102" y="192203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E75E1FBE-B6C3-4205-AD9E-D6A075B73B25}"/>
                </a:ext>
              </a:extLst>
            </p:cNvPr>
            <p:cNvSpPr/>
            <p:nvPr/>
          </p:nvSpPr>
          <p:spPr>
            <a:xfrm>
              <a:off x="23617078" y="3013861"/>
              <a:ext cx="818085" cy="986930"/>
            </a:xfrm>
            <a:custGeom>
              <a:avLst/>
              <a:gdLst>
                <a:gd name="connsiteX0" fmla="*/ 773808 w 818085"/>
                <a:gd name="connsiteY0" fmla="*/ 391925 h 986930"/>
                <a:gd name="connsiteX1" fmla="*/ 758554 w 818085"/>
                <a:gd name="connsiteY1" fmla="*/ 68535 h 986930"/>
                <a:gd name="connsiteX2" fmla="*/ 389400 w 818085"/>
                <a:gd name="connsiteY2" fmla="*/ 4468 h 986930"/>
                <a:gd name="connsiteX3" fmla="*/ 90417 w 818085"/>
                <a:gd name="connsiteY3" fmla="*/ 105146 h 986930"/>
                <a:gd name="connsiteX4" fmla="*/ 50757 w 818085"/>
                <a:gd name="connsiteY4" fmla="*/ 654298 h 986930"/>
                <a:gd name="connsiteX5" fmla="*/ 93467 w 818085"/>
                <a:gd name="connsiteY5" fmla="*/ 980739 h 986930"/>
                <a:gd name="connsiteX6" fmla="*/ 770756 w 818085"/>
                <a:gd name="connsiteY6" fmla="*/ 965485 h 986930"/>
                <a:gd name="connsiteX7" fmla="*/ 773808 w 818085"/>
                <a:gd name="connsiteY7" fmla="*/ 391925 h 986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8085" h="986930">
                  <a:moveTo>
                    <a:pt x="773808" y="391925"/>
                  </a:moveTo>
                  <a:cubicBezTo>
                    <a:pt x="782960" y="361417"/>
                    <a:pt x="877536" y="132603"/>
                    <a:pt x="758554" y="68535"/>
                  </a:cubicBezTo>
                  <a:cubicBezTo>
                    <a:pt x="654824" y="13620"/>
                    <a:pt x="508384" y="-10787"/>
                    <a:pt x="389400" y="4468"/>
                  </a:cubicBezTo>
                  <a:cubicBezTo>
                    <a:pt x="258214" y="19722"/>
                    <a:pt x="127028" y="41078"/>
                    <a:pt x="90417" y="105146"/>
                  </a:cubicBezTo>
                  <a:cubicBezTo>
                    <a:pt x="-22464" y="291247"/>
                    <a:pt x="-22464" y="455993"/>
                    <a:pt x="50757" y="654298"/>
                  </a:cubicBezTo>
                  <a:cubicBezTo>
                    <a:pt x="72113" y="712264"/>
                    <a:pt x="78213" y="846502"/>
                    <a:pt x="93467" y="980739"/>
                  </a:cubicBezTo>
                  <a:cubicBezTo>
                    <a:pt x="93467" y="980739"/>
                    <a:pt x="377198" y="1002095"/>
                    <a:pt x="770756" y="965485"/>
                  </a:cubicBezTo>
                  <a:cubicBezTo>
                    <a:pt x="737197" y="745824"/>
                    <a:pt x="767706" y="416332"/>
                    <a:pt x="773808" y="391925"/>
                  </a:cubicBezTo>
                  <a:close/>
                </a:path>
              </a:pathLst>
            </a:custGeom>
            <a:solidFill>
              <a:srgbClr val="F6EBE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38F2282E-995F-4CB5-AC90-DDFBA8B001CA}"/>
                </a:ext>
              </a:extLst>
            </p:cNvPr>
            <p:cNvSpPr/>
            <p:nvPr/>
          </p:nvSpPr>
          <p:spPr>
            <a:xfrm>
              <a:off x="23896649" y="2835278"/>
              <a:ext cx="308134" cy="326440"/>
            </a:xfrm>
            <a:custGeom>
              <a:avLst/>
              <a:gdLst>
                <a:gd name="connsiteX0" fmla="*/ 54915 w 308134"/>
                <a:gd name="connsiteY0" fmla="*/ 61017 h 326440"/>
                <a:gd name="connsiteX1" fmla="*/ 0 w 308134"/>
                <a:gd name="connsiteY1" fmla="*/ 201356 h 326440"/>
                <a:gd name="connsiteX2" fmla="*/ 39661 w 308134"/>
                <a:gd name="connsiteY2" fmla="*/ 326441 h 326440"/>
                <a:gd name="connsiteX3" fmla="*/ 308135 w 308134"/>
                <a:gd name="connsiteY3" fmla="*/ 186102 h 326440"/>
                <a:gd name="connsiteX4" fmla="*/ 256270 w 308134"/>
                <a:gd name="connsiteY4" fmla="*/ 0 h 326440"/>
                <a:gd name="connsiteX5" fmla="*/ 54915 w 308134"/>
                <a:gd name="connsiteY5" fmla="*/ 61017 h 32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134" h="326440">
                  <a:moveTo>
                    <a:pt x="54915" y="61017"/>
                  </a:moveTo>
                  <a:cubicBezTo>
                    <a:pt x="54915" y="61017"/>
                    <a:pt x="61017" y="170848"/>
                    <a:pt x="0" y="201356"/>
                  </a:cubicBezTo>
                  <a:lnTo>
                    <a:pt x="39661" y="326441"/>
                  </a:lnTo>
                  <a:cubicBezTo>
                    <a:pt x="39661" y="326441"/>
                    <a:pt x="256270" y="216610"/>
                    <a:pt x="308135" y="186102"/>
                  </a:cubicBezTo>
                  <a:cubicBezTo>
                    <a:pt x="253220" y="143390"/>
                    <a:pt x="256270" y="61017"/>
                    <a:pt x="256270" y="0"/>
                  </a:cubicBezTo>
                  <a:cubicBezTo>
                    <a:pt x="259322" y="0"/>
                    <a:pt x="109830" y="70169"/>
                    <a:pt x="54915" y="61017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BD76B219-503C-4F96-A29F-EEDF026D4024}"/>
                </a:ext>
              </a:extLst>
            </p:cNvPr>
            <p:cNvSpPr/>
            <p:nvPr/>
          </p:nvSpPr>
          <p:spPr>
            <a:xfrm>
              <a:off x="23615143" y="3115956"/>
              <a:ext cx="101505" cy="555254"/>
            </a:xfrm>
            <a:custGeom>
              <a:avLst/>
              <a:gdLst>
                <a:gd name="connsiteX0" fmla="*/ 55742 w 101505"/>
                <a:gd name="connsiteY0" fmla="*/ 555254 h 555254"/>
                <a:gd name="connsiteX1" fmla="*/ 49640 w 101505"/>
                <a:gd name="connsiteY1" fmla="*/ 552203 h 555254"/>
                <a:gd name="connsiteX2" fmla="*/ 34386 w 101505"/>
                <a:gd name="connsiteY2" fmla="*/ 497288 h 555254"/>
                <a:gd name="connsiteX3" fmla="*/ 828 w 101505"/>
                <a:gd name="connsiteY3" fmla="*/ 347797 h 555254"/>
                <a:gd name="connsiteX4" fmla="*/ 89303 w 101505"/>
                <a:gd name="connsiteY4" fmla="*/ 3051 h 555254"/>
                <a:gd name="connsiteX5" fmla="*/ 98455 w 101505"/>
                <a:gd name="connsiteY5" fmla="*/ 0 h 555254"/>
                <a:gd name="connsiteX6" fmla="*/ 101505 w 101505"/>
                <a:gd name="connsiteY6" fmla="*/ 9153 h 555254"/>
                <a:gd name="connsiteX7" fmla="*/ 13032 w 101505"/>
                <a:gd name="connsiteY7" fmla="*/ 347797 h 555254"/>
                <a:gd name="connsiteX8" fmla="*/ 46590 w 101505"/>
                <a:gd name="connsiteY8" fmla="*/ 497288 h 555254"/>
                <a:gd name="connsiteX9" fmla="*/ 61845 w 101505"/>
                <a:gd name="connsiteY9" fmla="*/ 552203 h 555254"/>
                <a:gd name="connsiteX10" fmla="*/ 55742 w 101505"/>
                <a:gd name="connsiteY10" fmla="*/ 555254 h 555254"/>
                <a:gd name="connsiteX11" fmla="*/ 55742 w 101505"/>
                <a:gd name="connsiteY11" fmla="*/ 555254 h 55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505" h="555254">
                  <a:moveTo>
                    <a:pt x="55742" y="555254"/>
                  </a:moveTo>
                  <a:cubicBezTo>
                    <a:pt x="52692" y="555254"/>
                    <a:pt x="49640" y="552203"/>
                    <a:pt x="49640" y="552203"/>
                  </a:cubicBezTo>
                  <a:cubicBezTo>
                    <a:pt x="43540" y="533898"/>
                    <a:pt x="40488" y="515593"/>
                    <a:pt x="34386" y="497288"/>
                  </a:cubicBezTo>
                  <a:cubicBezTo>
                    <a:pt x="19132" y="445424"/>
                    <a:pt x="3878" y="393559"/>
                    <a:pt x="828" y="347797"/>
                  </a:cubicBezTo>
                  <a:cubicBezTo>
                    <a:pt x="-5274" y="222712"/>
                    <a:pt x="22184" y="106780"/>
                    <a:pt x="89303" y="3051"/>
                  </a:cubicBezTo>
                  <a:cubicBezTo>
                    <a:pt x="92353" y="0"/>
                    <a:pt x="95403" y="0"/>
                    <a:pt x="98455" y="0"/>
                  </a:cubicBezTo>
                  <a:cubicBezTo>
                    <a:pt x="101505" y="3051"/>
                    <a:pt x="101505" y="6102"/>
                    <a:pt x="101505" y="9153"/>
                  </a:cubicBezTo>
                  <a:cubicBezTo>
                    <a:pt x="37438" y="112881"/>
                    <a:pt x="6930" y="225763"/>
                    <a:pt x="13032" y="347797"/>
                  </a:cubicBezTo>
                  <a:cubicBezTo>
                    <a:pt x="16082" y="393559"/>
                    <a:pt x="31336" y="445424"/>
                    <a:pt x="46590" y="497288"/>
                  </a:cubicBezTo>
                  <a:cubicBezTo>
                    <a:pt x="52692" y="515593"/>
                    <a:pt x="58794" y="533898"/>
                    <a:pt x="61845" y="552203"/>
                  </a:cubicBezTo>
                  <a:cubicBezTo>
                    <a:pt x="61845" y="552203"/>
                    <a:pt x="58794" y="555254"/>
                    <a:pt x="55742" y="555254"/>
                  </a:cubicBezTo>
                  <a:cubicBezTo>
                    <a:pt x="55742" y="555254"/>
                    <a:pt x="55742" y="555254"/>
                    <a:pt x="55742" y="555254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D70BAF8C-396E-40A7-B68C-2599B9BD18C8}"/>
                </a:ext>
              </a:extLst>
            </p:cNvPr>
            <p:cNvSpPr/>
            <p:nvPr/>
          </p:nvSpPr>
          <p:spPr>
            <a:xfrm>
              <a:off x="23734954" y="3555472"/>
              <a:ext cx="400923" cy="36415"/>
            </a:xfrm>
            <a:custGeom>
              <a:avLst/>
              <a:gdLst>
                <a:gd name="connsiteX0" fmla="*/ 6100 w 400923"/>
                <a:gd name="connsiteY0" fmla="*/ 36416 h 36415"/>
                <a:gd name="connsiteX1" fmla="*/ 0 w 400923"/>
                <a:gd name="connsiteY1" fmla="*/ 33365 h 36415"/>
                <a:gd name="connsiteX2" fmla="*/ 3050 w 400923"/>
                <a:gd name="connsiteY2" fmla="*/ 27263 h 36415"/>
                <a:gd name="connsiteX3" fmla="*/ 396610 w 400923"/>
                <a:gd name="connsiteY3" fmla="*/ 15060 h 36415"/>
                <a:gd name="connsiteX4" fmla="*/ 399660 w 400923"/>
                <a:gd name="connsiteY4" fmla="*/ 21162 h 36415"/>
                <a:gd name="connsiteX5" fmla="*/ 393558 w 400923"/>
                <a:gd name="connsiteY5" fmla="*/ 24213 h 36415"/>
                <a:gd name="connsiteX6" fmla="*/ 6100 w 400923"/>
                <a:gd name="connsiteY6" fmla="*/ 36416 h 36415"/>
                <a:gd name="connsiteX7" fmla="*/ 6100 w 400923"/>
                <a:gd name="connsiteY7" fmla="*/ 36416 h 3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923" h="36415">
                  <a:moveTo>
                    <a:pt x="6100" y="36416"/>
                  </a:moveTo>
                  <a:cubicBezTo>
                    <a:pt x="3050" y="36416"/>
                    <a:pt x="3050" y="36416"/>
                    <a:pt x="0" y="33365"/>
                  </a:cubicBezTo>
                  <a:cubicBezTo>
                    <a:pt x="0" y="30314"/>
                    <a:pt x="0" y="27263"/>
                    <a:pt x="3050" y="27263"/>
                  </a:cubicBezTo>
                  <a:cubicBezTo>
                    <a:pt x="88473" y="-3245"/>
                    <a:pt x="295931" y="-9347"/>
                    <a:pt x="396610" y="15060"/>
                  </a:cubicBezTo>
                  <a:cubicBezTo>
                    <a:pt x="399660" y="15060"/>
                    <a:pt x="402710" y="18111"/>
                    <a:pt x="399660" y="21162"/>
                  </a:cubicBezTo>
                  <a:cubicBezTo>
                    <a:pt x="399660" y="24213"/>
                    <a:pt x="396610" y="27263"/>
                    <a:pt x="393558" y="24213"/>
                  </a:cubicBezTo>
                  <a:cubicBezTo>
                    <a:pt x="298983" y="2857"/>
                    <a:pt x="91525" y="5908"/>
                    <a:pt x="6100" y="36416"/>
                  </a:cubicBezTo>
                  <a:cubicBezTo>
                    <a:pt x="9152" y="36416"/>
                    <a:pt x="6100" y="36416"/>
                    <a:pt x="6100" y="36416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CCDEC9C9-8672-4B6D-ABB3-0A2725752F71}"/>
                </a:ext>
              </a:extLst>
            </p:cNvPr>
            <p:cNvSpPr/>
            <p:nvPr/>
          </p:nvSpPr>
          <p:spPr>
            <a:xfrm>
              <a:off x="23707496" y="3967142"/>
              <a:ext cx="314236" cy="30508"/>
            </a:xfrm>
            <a:custGeom>
              <a:avLst/>
              <a:gdLst>
                <a:gd name="connsiteX0" fmla="*/ 6102 w 314236"/>
                <a:gd name="connsiteY0" fmla="*/ 30508 h 30508"/>
                <a:gd name="connsiteX1" fmla="*/ 0 w 314236"/>
                <a:gd name="connsiteY1" fmla="*/ 24407 h 30508"/>
                <a:gd name="connsiteX2" fmla="*/ 6102 w 314236"/>
                <a:gd name="connsiteY2" fmla="*/ 18305 h 30508"/>
                <a:gd name="connsiteX3" fmla="*/ 308135 w 314236"/>
                <a:gd name="connsiteY3" fmla="*/ 0 h 30508"/>
                <a:gd name="connsiteX4" fmla="*/ 314237 w 314236"/>
                <a:gd name="connsiteY4" fmla="*/ 3051 h 30508"/>
                <a:gd name="connsiteX5" fmla="*/ 311187 w 314236"/>
                <a:gd name="connsiteY5" fmla="*/ 9152 h 30508"/>
                <a:gd name="connsiteX6" fmla="*/ 6102 w 314236"/>
                <a:gd name="connsiteY6" fmla="*/ 30508 h 30508"/>
                <a:gd name="connsiteX7" fmla="*/ 6102 w 314236"/>
                <a:gd name="connsiteY7" fmla="*/ 30508 h 3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4236" h="30508">
                  <a:moveTo>
                    <a:pt x="6102" y="30508"/>
                  </a:moveTo>
                  <a:cubicBezTo>
                    <a:pt x="3050" y="30508"/>
                    <a:pt x="0" y="27458"/>
                    <a:pt x="0" y="24407"/>
                  </a:cubicBezTo>
                  <a:cubicBezTo>
                    <a:pt x="0" y="21356"/>
                    <a:pt x="3050" y="18305"/>
                    <a:pt x="6102" y="18305"/>
                  </a:cubicBezTo>
                  <a:cubicBezTo>
                    <a:pt x="9152" y="18305"/>
                    <a:pt x="216609" y="15254"/>
                    <a:pt x="308135" y="0"/>
                  </a:cubicBezTo>
                  <a:cubicBezTo>
                    <a:pt x="311187" y="0"/>
                    <a:pt x="314237" y="0"/>
                    <a:pt x="314237" y="3051"/>
                  </a:cubicBezTo>
                  <a:cubicBezTo>
                    <a:pt x="314237" y="6102"/>
                    <a:pt x="314237" y="9152"/>
                    <a:pt x="311187" y="9152"/>
                  </a:cubicBezTo>
                  <a:cubicBezTo>
                    <a:pt x="216609" y="27458"/>
                    <a:pt x="9152" y="30508"/>
                    <a:pt x="6102" y="30508"/>
                  </a:cubicBezTo>
                  <a:cubicBezTo>
                    <a:pt x="6102" y="30508"/>
                    <a:pt x="6102" y="30508"/>
                    <a:pt x="6102" y="30508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8C079F2D-5ED0-45AC-A1D9-DF34B74EC8C2}"/>
                </a:ext>
              </a:extLst>
            </p:cNvPr>
            <p:cNvSpPr/>
            <p:nvPr/>
          </p:nvSpPr>
          <p:spPr>
            <a:xfrm>
              <a:off x="24004461" y="3009176"/>
              <a:ext cx="664051" cy="1610847"/>
            </a:xfrm>
            <a:custGeom>
              <a:avLst/>
              <a:gdLst>
                <a:gd name="connsiteX0" fmla="*/ 23374 w 664051"/>
                <a:gd name="connsiteY0" fmla="*/ 308136 h 1610847"/>
                <a:gd name="connsiteX1" fmla="*/ 75238 w 664051"/>
                <a:gd name="connsiteY1" fmla="*/ 1037288 h 1610847"/>
                <a:gd name="connsiteX2" fmla="*/ 224729 w 664051"/>
                <a:gd name="connsiteY2" fmla="*/ 1610848 h 1610847"/>
                <a:gd name="connsiteX3" fmla="*/ 664052 w 664051"/>
                <a:gd name="connsiteY3" fmla="*/ 1385085 h 1610847"/>
                <a:gd name="connsiteX4" fmla="*/ 450492 w 664051"/>
                <a:gd name="connsiteY4" fmla="*/ 860339 h 1610847"/>
                <a:gd name="connsiteX5" fmla="*/ 450492 w 664051"/>
                <a:gd name="connsiteY5" fmla="*/ 390508 h 1610847"/>
                <a:gd name="connsiteX6" fmla="*/ 450492 w 664051"/>
                <a:gd name="connsiteY6" fmla="*/ 118983 h 1610847"/>
                <a:gd name="connsiteX7" fmla="*/ 188120 w 664051"/>
                <a:gd name="connsiteY7" fmla="*/ 0 h 1610847"/>
                <a:gd name="connsiteX8" fmla="*/ 23374 w 664051"/>
                <a:gd name="connsiteY8" fmla="*/ 308136 h 1610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4051" h="1610847">
                  <a:moveTo>
                    <a:pt x="23374" y="308136"/>
                  </a:moveTo>
                  <a:cubicBezTo>
                    <a:pt x="-37643" y="543051"/>
                    <a:pt x="35578" y="793220"/>
                    <a:pt x="75238" y="1037288"/>
                  </a:cubicBezTo>
                  <a:cubicBezTo>
                    <a:pt x="108797" y="1232542"/>
                    <a:pt x="154560" y="1424746"/>
                    <a:pt x="224729" y="1610848"/>
                  </a:cubicBezTo>
                  <a:cubicBezTo>
                    <a:pt x="419984" y="1583390"/>
                    <a:pt x="566424" y="1504068"/>
                    <a:pt x="664052" y="1385085"/>
                  </a:cubicBezTo>
                  <a:cubicBezTo>
                    <a:pt x="603035" y="1256949"/>
                    <a:pt x="477951" y="1000678"/>
                    <a:pt x="450492" y="860339"/>
                  </a:cubicBezTo>
                  <a:cubicBezTo>
                    <a:pt x="419984" y="704746"/>
                    <a:pt x="410832" y="546102"/>
                    <a:pt x="450492" y="390508"/>
                  </a:cubicBezTo>
                  <a:cubicBezTo>
                    <a:pt x="474899" y="298983"/>
                    <a:pt x="511509" y="204407"/>
                    <a:pt x="450492" y="118983"/>
                  </a:cubicBezTo>
                  <a:cubicBezTo>
                    <a:pt x="398627" y="48814"/>
                    <a:pt x="267441" y="12203"/>
                    <a:pt x="188120" y="0"/>
                  </a:cubicBezTo>
                  <a:cubicBezTo>
                    <a:pt x="182018" y="3051"/>
                    <a:pt x="47780" y="207458"/>
                    <a:pt x="23374" y="308136"/>
                  </a:cubicBezTo>
                  <a:close/>
                </a:path>
              </a:pathLst>
            </a:custGeom>
            <a:solidFill>
              <a:srgbClr val="F1DDB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5765C61D-BE98-4863-BD6B-566579FB5D1C}"/>
                </a:ext>
              </a:extLst>
            </p:cNvPr>
            <p:cNvSpPr/>
            <p:nvPr/>
          </p:nvSpPr>
          <p:spPr>
            <a:xfrm>
              <a:off x="23533504" y="3021380"/>
              <a:ext cx="390600" cy="1550730"/>
            </a:xfrm>
            <a:custGeom>
              <a:avLst/>
              <a:gdLst>
                <a:gd name="connsiteX0" fmla="*/ 93 w 390600"/>
                <a:gd name="connsiteY0" fmla="*/ 1522373 h 1550730"/>
                <a:gd name="connsiteX1" fmla="*/ 76364 w 390600"/>
                <a:gd name="connsiteY1" fmla="*/ 1546780 h 1550730"/>
                <a:gd name="connsiteX2" fmla="*/ 76364 w 390600"/>
                <a:gd name="connsiteY2" fmla="*/ 1443051 h 1550730"/>
                <a:gd name="connsiteX3" fmla="*/ 177041 w 390600"/>
                <a:gd name="connsiteY3" fmla="*/ 1080000 h 1550730"/>
                <a:gd name="connsiteX4" fmla="*/ 195348 w 390600"/>
                <a:gd name="connsiteY4" fmla="*/ 735254 h 1550730"/>
                <a:gd name="connsiteX5" fmla="*/ 366194 w 390600"/>
                <a:gd name="connsiteY5" fmla="*/ 18305 h 1550730"/>
                <a:gd name="connsiteX6" fmla="*/ 390601 w 390600"/>
                <a:gd name="connsiteY6" fmla="*/ 0 h 1550730"/>
                <a:gd name="connsiteX7" fmla="*/ 58060 w 390600"/>
                <a:gd name="connsiteY7" fmla="*/ 491186 h 1550730"/>
                <a:gd name="connsiteX8" fmla="*/ 88568 w 390600"/>
                <a:gd name="connsiteY8" fmla="*/ 723051 h 1550730"/>
                <a:gd name="connsiteX9" fmla="*/ 85516 w 390600"/>
                <a:gd name="connsiteY9" fmla="*/ 954915 h 1550730"/>
                <a:gd name="connsiteX10" fmla="*/ 93 w 390600"/>
                <a:gd name="connsiteY10" fmla="*/ 1522373 h 155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0600" h="1550730">
                  <a:moveTo>
                    <a:pt x="93" y="1522373"/>
                  </a:moveTo>
                  <a:cubicBezTo>
                    <a:pt x="-2957" y="1540678"/>
                    <a:pt x="70262" y="1558983"/>
                    <a:pt x="76364" y="1546780"/>
                  </a:cubicBezTo>
                  <a:cubicBezTo>
                    <a:pt x="79416" y="1543729"/>
                    <a:pt x="76364" y="1449153"/>
                    <a:pt x="76364" y="1443051"/>
                  </a:cubicBezTo>
                  <a:cubicBezTo>
                    <a:pt x="94670" y="1311864"/>
                    <a:pt x="131279" y="1202034"/>
                    <a:pt x="177041" y="1080000"/>
                  </a:cubicBezTo>
                  <a:cubicBezTo>
                    <a:pt x="216704" y="967119"/>
                    <a:pt x="207550" y="854237"/>
                    <a:pt x="195348" y="735254"/>
                  </a:cubicBezTo>
                  <a:cubicBezTo>
                    <a:pt x="167889" y="478983"/>
                    <a:pt x="207550" y="228814"/>
                    <a:pt x="366194" y="18305"/>
                  </a:cubicBezTo>
                  <a:cubicBezTo>
                    <a:pt x="369246" y="15254"/>
                    <a:pt x="378399" y="15254"/>
                    <a:pt x="390601" y="0"/>
                  </a:cubicBezTo>
                  <a:cubicBezTo>
                    <a:pt x="134331" y="6102"/>
                    <a:pt x="33653" y="280678"/>
                    <a:pt x="58060" y="491186"/>
                  </a:cubicBezTo>
                  <a:cubicBezTo>
                    <a:pt x="67212" y="570508"/>
                    <a:pt x="85516" y="643729"/>
                    <a:pt x="88568" y="723051"/>
                  </a:cubicBezTo>
                  <a:cubicBezTo>
                    <a:pt x="91618" y="799322"/>
                    <a:pt x="88568" y="878644"/>
                    <a:pt x="85516" y="954915"/>
                  </a:cubicBezTo>
                  <a:cubicBezTo>
                    <a:pt x="76364" y="1116610"/>
                    <a:pt x="18399" y="1360678"/>
                    <a:pt x="93" y="1522373"/>
                  </a:cubicBezTo>
                  <a:close/>
                </a:path>
              </a:pathLst>
            </a:custGeom>
            <a:solidFill>
              <a:srgbClr val="F1DDB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BFD0C305-62C6-4B80-B122-21DA15F3754C}"/>
                </a:ext>
              </a:extLst>
            </p:cNvPr>
            <p:cNvSpPr/>
            <p:nvPr/>
          </p:nvSpPr>
          <p:spPr>
            <a:xfrm>
              <a:off x="23574766" y="3204430"/>
              <a:ext cx="68662" cy="753559"/>
            </a:xfrm>
            <a:custGeom>
              <a:avLst/>
              <a:gdLst>
                <a:gd name="connsiteX0" fmla="*/ 41204 w 68662"/>
                <a:gd name="connsiteY0" fmla="*/ 753559 h 753559"/>
                <a:gd name="connsiteX1" fmla="*/ 41204 w 68662"/>
                <a:gd name="connsiteY1" fmla="*/ 753559 h 753559"/>
                <a:gd name="connsiteX2" fmla="*/ 35102 w 68662"/>
                <a:gd name="connsiteY2" fmla="*/ 747458 h 753559"/>
                <a:gd name="connsiteX3" fmla="*/ 10696 w 68662"/>
                <a:gd name="connsiteY3" fmla="*/ 329492 h 753559"/>
                <a:gd name="connsiteX4" fmla="*/ 1544 w 68662"/>
                <a:gd name="connsiteY4" fmla="*/ 265424 h 753559"/>
                <a:gd name="connsiteX5" fmla="*/ 56459 w 68662"/>
                <a:gd name="connsiteY5" fmla="*/ 3051 h 753559"/>
                <a:gd name="connsiteX6" fmla="*/ 65611 w 68662"/>
                <a:gd name="connsiteY6" fmla="*/ 0 h 753559"/>
                <a:gd name="connsiteX7" fmla="*/ 68663 w 68662"/>
                <a:gd name="connsiteY7" fmla="*/ 9153 h 753559"/>
                <a:gd name="connsiteX8" fmla="*/ 13746 w 68662"/>
                <a:gd name="connsiteY8" fmla="*/ 265424 h 753559"/>
                <a:gd name="connsiteX9" fmla="*/ 22900 w 68662"/>
                <a:gd name="connsiteY9" fmla="*/ 329492 h 753559"/>
                <a:gd name="connsiteX10" fmla="*/ 47306 w 68662"/>
                <a:gd name="connsiteY10" fmla="*/ 750508 h 753559"/>
                <a:gd name="connsiteX11" fmla="*/ 41204 w 68662"/>
                <a:gd name="connsiteY11" fmla="*/ 753559 h 75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662" h="753559">
                  <a:moveTo>
                    <a:pt x="41204" y="753559"/>
                  </a:moveTo>
                  <a:cubicBezTo>
                    <a:pt x="41204" y="753559"/>
                    <a:pt x="41204" y="753559"/>
                    <a:pt x="41204" y="753559"/>
                  </a:cubicBezTo>
                  <a:cubicBezTo>
                    <a:pt x="38154" y="753559"/>
                    <a:pt x="35102" y="750508"/>
                    <a:pt x="35102" y="747458"/>
                  </a:cubicBezTo>
                  <a:cubicBezTo>
                    <a:pt x="47306" y="628475"/>
                    <a:pt x="25950" y="448474"/>
                    <a:pt x="10696" y="329492"/>
                  </a:cubicBezTo>
                  <a:cubicBezTo>
                    <a:pt x="7646" y="305085"/>
                    <a:pt x="4594" y="283729"/>
                    <a:pt x="1544" y="265424"/>
                  </a:cubicBezTo>
                  <a:cubicBezTo>
                    <a:pt x="-10660" y="158644"/>
                    <a:pt x="53409" y="9153"/>
                    <a:pt x="56459" y="3051"/>
                  </a:cubicBezTo>
                  <a:cubicBezTo>
                    <a:pt x="56459" y="0"/>
                    <a:pt x="62561" y="0"/>
                    <a:pt x="65611" y="0"/>
                  </a:cubicBezTo>
                  <a:cubicBezTo>
                    <a:pt x="68663" y="0"/>
                    <a:pt x="68663" y="6102"/>
                    <a:pt x="68663" y="9153"/>
                  </a:cubicBezTo>
                  <a:cubicBezTo>
                    <a:pt x="68663" y="9153"/>
                    <a:pt x="1544" y="161695"/>
                    <a:pt x="13746" y="265424"/>
                  </a:cubicBezTo>
                  <a:cubicBezTo>
                    <a:pt x="16798" y="283729"/>
                    <a:pt x="19848" y="305085"/>
                    <a:pt x="22900" y="329492"/>
                  </a:cubicBezTo>
                  <a:cubicBezTo>
                    <a:pt x="38154" y="448474"/>
                    <a:pt x="62561" y="628475"/>
                    <a:pt x="47306" y="750508"/>
                  </a:cubicBezTo>
                  <a:cubicBezTo>
                    <a:pt x="47306" y="750508"/>
                    <a:pt x="44255" y="753559"/>
                    <a:pt x="41204" y="753559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2FCE5EE9-5048-449B-9CD9-7D95614E2543}"/>
                </a:ext>
              </a:extLst>
            </p:cNvPr>
            <p:cNvSpPr/>
            <p:nvPr/>
          </p:nvSpPr>
          <p:spPr>
            <a:xfrm>
              <a:off x="23836815" y="2379811"/>
              <a:ext cx="422883" cy="568667"/>
            </a:xfrm>
            <a:custGeom>
              <a:avLst/>
              <a:gdLst>
                <a:gd name="connsiteX0" fmla="*/ 7969 w 422883"/>
                <a:gd name="connsiteY0" fmla="*/ 183941 h 568667"/>
                <a:gd name="connsiteX1" fmla="*/ 20173 w 422883"/>
                <a:gd name="connsiteY1" fmla="*/ 440212 h 568667"/>
                <a:gd name="connsiteX2" fmla="*/ 169664 w 422883"/>
                <a:gd name="connsiteY2" fmla="*/ 568348 h 568667"/>
                <a:gd name="connsiteX3" fmla="*/ 386275 w 422883"/>
                <a:gd name="connsiteY3" fmla="*/ 424958 h 568667"/>
                <a:gd name="connsiteX4" fmla="*/ 422884 w 422883"/>
                <a:gd name="connsiteY4" fmla="*/ 199195 h 568667"/>
                <a:gd name="connsiteX5" fmla="*/ 209324 w 422883"/>
                <a:gd name="connsiteY5" fmla="*/ 890 h 568667"/>
                <a:gd name="connsiteX6" fmla="*/ 7969 w 422883"/>
                <a:gd name="connsiteY6" fmla="*/ 183941 h 568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2883" h="568667">
                  <a:moveTo>
                    <a:pt x="7969" y="183941"/>
                  </a:moveTo>
                  <a:cubicBezTo>
                    <a:pt x="7969" y="183941"/>
                    <a:pt x="-16437" y="373094"/>
                    <a:pt x="20173" y="440212"/>
                  </a:cubicBezTo>
                  <a:cubicBezTo>
                    <a:pt x="56782" y="507331"/>
                    <a:pt x="117799" y="565297"/>
                    <a:pt x="169664" y="568348"/>
                  </a:cubicBezTo>
                  <a:cubicBezTo>
                    <a:pt x="236783" y="574450"/>
                    <a:pt x="349665" y="492077"/>
                    <a:pt x="386275" y="424958"/>
                  </a:cubicBezTo>
                  <a:cubicBezTo>
                    <a:pt x="422884" y="357839"/>
                    <a:pt x="422884" y="251060"/>
                    <a:pt x="422884" y="199195"/>
                  </a:cubicBezTo>
                  <a:cubicBezTo>
                    <a:pt x="419834" y="104619"/>
                    <a:pt x="392375" y="25297"/>
                    <a:pt x="209324" y="890"/>
                  </a:cubicBezTo>
                  <a:cubicBezTo>
                    <a:pt x="120851" y="-11313"/>
                    <a:pt x="26274" y="104619"/>
                    <a:pt x="7969" y="183941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2004DB67-4B42-4BA3-B7BE-8AC01821BCAF}"/>
                </a:ext>
              </a:extLst>
            </p:cNvPr>
            <p:cNvSpPr/>
            <p:nvPr/>
          </p:nvSpPr>
          <p:spPr>
            <a:xfrm>
              <a:off x="23972920" y="2650963"/>
              <a:ext cx="54914" cy="132450"/>
            </a:xfrm>
            <a:custGeom>
              <a:avLst/>
              <a:gdLst>
                <a:gd name="connsiteX0" fmla="*/ 30508 w 54914"/>
                <a:gd name="connsiteY0" fmla="*/ 132450 h 132450"/>
                <a:gd name="connsiteX1" fmla="*/ 6102 w 54914"/>
                <a:gd name="connsiteY1" fmla="*/ 126349 h 132450"/>
                <a:gd name="connsiteX2" fmla="*/ 0 w 54914"/>
                <a:gd name="connsiteY2" fmla="*/ 114145 h 132450"/>
                <a:gd name="connsiteX3" fmla="*/ 27457 w 54914"/>
                <a:gd name="connsiteY3" fmla="*/ 4315 h 132450"/>
                <a:gd name="connsiteX4" fmla="*/ 33559 w 54914"/>
                <a:gd name="connsiteY4" fmla="*/ 1264 h 132450"/>
                <a:gd name="connsiteX5" fmla="*/ 36611 w 54914"/>
                <a:gd name="connsiteY5" fmla="*/ 7365 h 132450"/>
                <a:gd name="connsiteX6" fmla="*/ 9152 w 54914"/>
                <a:gd name="connsiteY6" fmla="*/ 114145 h 132450"/>
                <a:gd name="connsiteX7" fmla="*/ 9152 w 54914"/>
                <a:gd name="connsiteY7" fmla="*/ 117196 h 132450"/>
                <a:gd name="connsiteX8" fmla="*/ 48813 w 54914"/>
                <a:gd name="connsiteY8" fmla="*/ 117196 h 132450"/>
                <a:gd name="connsiteX9" fmla="*/ 54915 w 54914"/>
                <a:gd name="connsiteY9" fmla="*/ 123298 h 132450"/>
                <a:gd name="connsiteX10" fmla="*/ 48813 w 54914"/>
                <a:gd name="connsiteY10" fmla="*/ 129399 h 132450"/>
                <a:gd name="connsiteX11" fmla="*/ 30508 w 54914"/>
                <a:gd name="connsiteY11" fmla="*/ 132450 h 13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914" h="132450">
                  <a:moveTo>
                    <a:pt x="30508" y="132450"/>
                  </a:moveTo>
                  <a:cubicBezTo>
                    <a:pt x="21356" y="132450"/>
                    <a:pt x="12202" y="132450"/>
                    <a:pt x="6102" y="126349"/>
                  </a:cubicBezTo>
                  <a:cubicBezTo>
                    <a:pt x="3050" y="123298"/>
                    <a:pt x="0" y="120247"/>
                    <a:pt x="0" y="114145"/>
                  </a:cubicBezTo>
                  <a:cubicBezTo>
                    <a:pt x="0" y="92789"/>
                    <a:pt x="27457" y="7365"/>
                    <a:pt x="27457" y="4315"/>
                  </a:cubicBezTo>
                  <a:cubicBezTo>
                    <a:pt x="27457" y="1264"/>
                    <a:pt x="30508" y="-1787"/>
                    <a:pt x="33559" y="1264"/>
                  </a:cubicBezTo>
                  <a:cubicBezTo>
                    <a:pt x="36611" y="1264"/>
                    <a:pt x="39661" y="4315"/>
                    <a:pt x="36611" y="7365"/>
                  </a:cubicBezTo>
                  <a:cubicBezTo>
                    <a:pt x="30508" y="31772"/>
                    <a:pt x="9152" y="95840"/>
                    <a:pt x="9152" y="114145"/>
                  </a:cubicBezTo>
                  <a:cubicBezTo>
                    <a:pt x="9152" y="114145"/>
                    <a:pt x="9152" y="117196"/>
                    <a:pt x="9152" y="117196"/>
                  </a:cubicBezTo>
                  <a:cubicBezTo>
                    <a:pt x="15254" y="123298"/>
                    <a:pt x="36611" y="120247"/>
                    <a:pt x="48813" y="117196"/>
                  </a:cubicBezTo>
                  <a:cubicBezTo>
                    <a:pt x="51865" y="117196"/>
                    <a:pt x="54915" y="117196"/>
                    <a:pt x="54915" y="123298"/>
                  </a:cubicBezTo>
                  <a:cubicBezTo>
                    <a:pt x="54915" y="126349"/>
                    <a:pt x="54915" y="129399"/>
                    <a:pt x="48813" y="129399"/>
                  </a:cubicBezTo>
                  <a:cubicBezTo>
                    <a:pt x="48813" y="129399"/>
                    <a:pt x="39661" y="132450"/>
                    <a:pt x="30508" y="132450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22B451C0-0A32-4F94-A8F1-4C92A17A0F02}"/>
                </a:ext>
              </a:extLst>
            </p:cNvPr>
            <p:cNvSpPr/>
            <p:nvPr/>
          </p:nvSpPr>
          <p:spPr>
            <a:xfrm>
              <a:off x="23954614" y="2832227"/>
              <a:ext cx="106779" cy="54915"/>
            </a:xfrm>
            <a:custGeom>
              <a:avLst/>
              <a:gdLst>
                <a:gd name="connsiteX0" fmla="*/ 106780 w 106779"/>
                <a:gd name="connsiteY0" fmla="*/ 0 h 54915"/>
                <a:gd name="connsiteX1" fmla="*/ 0 w 106779"/>
                <a:gd name="connsiteY1" fmla="*/ 0 h 54915"/>
                <a:gd name="connsiteX2" fmla="*/ 51865 w 106779"/>
                <a:gd name="connsiteY2" fmla="*/ 54915 h 54915"/>
                <a:gd name="connsiteX3" fmla="*/ 106780 w 106779"/>
                <a:gd name="connsiteY3" fmla="*/ 0 h 54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779" h="54915">
                  <a:moveTo>
                    <a:pt x="106780" y="0"/>
                  </a:moveTo>
                  <a:cubicBezTo>
                    <a:pt x="51865" y="24407"/>
                    <a:pt x="0" y="0"/>
                    <a:pt x="0" y="0"/>
                  </a:cubicBezTo>
                  <a:cubicBezTo>
                    <a:pt x="0" y="0"/>
                    <a:pt x="15254" y="54915"/>
                    <a:pt x="51865" y="54915"/>
                  </a:cubicBezTo>
                  <a:cubicBezTo>
                    <a:pt x="91525" y="51864"/>
                    <a:pt x="106780" y="0"/>
                    <a:pt x="106780" y="0"/>
                  </a:cubicBezTo>
                  <a:close/>
                </a:path>
              </a:pathLst>
            </a:custGeom>
            <a:solidFill>
              <a:srgbClr val="FFFFFF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D9CB551B-69F8-4F9C-8E34-611947702D19}"/>
                </a:ext>
              </a:extLst>
            </p:cNvPr>
            <p:cNvSpPr/>
            <p:nvPr/>
          </p:nvSpPr>
          <p:spPr>
            <a:xfrm>
              <a:off x="23898922" y="2621120"/>
              <a:ext cx="41215" cy="41036"/>
            </a:xfrm>
            <a:custGeom>
              <a:avLst/>
              <a:gdLst>
                <a:gd name="connsiteX0" fmla="*/ 40438 w 41215"/>
                <a:gd name="connsiteY0" fmla="*/ 25005 h 41036"/>
                <a:gd name="connsiteX1" fmla="*/ 16031 w 41215"/>
                <a:gd name="connsiteY1" fmla="*/ 40259 h 41036"/>
                <a:gd name="connsiteX2" fmla="*/ 777 w 41215"/>
                <a:gd name="connsiteY2" fmla="*/ 15853 h 41036"/>
                <a:gd name="connsiteX3" fmla="*/ 25184 w 41215"/>
                <a:gd name="connsiteY3" fmla="*/ 598 h 41036"/>
                <a:gd name="connsiteX4" fmla="*/ 40438 w 41215"/>
                <a:gd name="connsiteY4" fmla="*/ 25005 h 4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5" h="41036">
                  <a:moveTo>
                    <a:pt x="40438" y="25005"/>
                  </a:moveTo>
                  <a:cubicBezTo>
                    <a:pt x="37388" y="37209"/>
                    <a:pt x="28235" y="43310"/>
                    <a:pt x="16031" y="40259"/>
                  </a:cubicBezTo>
                  <a:cubicBezTo>
                    <a:pt x="3829" y="37209"/>
                    <a:pt x="-2273" y="28056"/>
                    <a:pt x="777" y="15853"/>
                  </a:cubicBezTo>
                  <a:cubicBezTo>
                    <a:pt x="3829" y="6700"/>
                    <a:pt x="12981" y="-2452"/>
                    <a:pt x="25184" y="598"/>
                  </a:cubicBezTo>
                  <a:cubicBezTo>
                    <a:pt x="37388" y="3649"/>
                    <a:pt x="43490" y="15853"/>
                    <a:pt x="40438" y="25005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BEBE7BC4-20E3-4002-A059-47A07F3D425E}"/>
                </a:ext>
              </a:extLst>
            </p:cNvPr>
            <p:cNvSpPr/>
            <p:nvPr/>
          </p:nvSpPr>
          <p:spPr>
            <a:xfrm>
              <a:off x="24091304" y="2627043"/>
              <a:ext cx="40858" cy="41036"/>
            </a:xfrm>
            <a:custGeom>
              <a:avLst/>
              <a:gdLst>
                <a:gd name="connsiteX0" fmla="*/ 40261 w 40858"/>
                <a:gd name="connsiteY0" fmla="*/ 25184 h 41036"/>
                <a:gd name="connsiteX1" fmla="*/ 15852 w 40858"/>
                <a:gd name="connsiteY1" fmla="*/ 40438 h 41036"/>
                <a:gd name="connsiteX2" fmla="*/ 598 w 40858"/>
                <a:gd name="connsiteY2" fmla="*/ 16032 h 41036"/>
                <a:gd name="connsiteX3" fmla="*/ 25006 w 40858"/>
                <a:gd name="connsiteY3" fmla="*/ 777 h 41036"/>
                <a:gd name="connsiteX4" fmla="*/ 40261 w 40858"/>
                <a:gd name="connsiteY4" fmla="*/ 25184 h 4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58" h="41036">
                  <a:moveTo>
                    <a:pt x="40261" y="25184"/>
                  </a:moveTo>
                  <a:cubicBezTo>
                    <a:pt x="37209" y="34337"/>
                    <a:pt x="28057" y="43489"/>
                    <a:pt x="15852" y="40438"/>
                  </a:cubicBezTo>
                  <a:cubicBezTo>
                    <a:pt x="6700" y="37388"/>
                    <a:pt x="-2452" y="28235"/>
                    <a:pt x="598" y="16032"/>
                  </a:cubicBezTo>
                  <a:cubicBezTo>
                    <a:pt x="3650" y="3828"/>
                    <a:pt x="12802" y="-2273"/>
                    <a:pt x="25006" y="777"/>
                  </a:cubicBezTo>
                  <a:cubicBezTo>
                    <a:pt x="34159" y="3828"/>
                    <a:pt x="43311" y="16032"/>
                    <a:pt x="40261" y="25184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5BB0AD11-D785-43EA-831B-CB59E60D22D7}"/>
                </a:ext>
              </a:extLst>
            </p:cNvPr>
            <p:cNvSpPr/>
            <p:nvPr/>
          </p:nvSpPr>
          <p:spPr>
            <a:xfrm>
              <a:off x="23876055" y="2571739"/>
              <a:ext cx="92026" cy="34725"/>
            </a:xfrm>
            <a:custGeom>
              <a:avLst/>
              <a:gdLst>
                <a:gd name="connsiteX0" fmla="*/ 8390 w 92026"/>
                <a:gd name="connsiteY0" fmla="*/ 34725 h 34725"/>
                <a:gd name="connsiteX1" fmla="*/ 2288 w 92026"/>
                <a:gd name="connsiteY1" fmla="*/ 31674 h 34725"/>
                <a:gd name="connsiteX2" fmla="*/ 2288 w 92026"/>
                <a:gd name="connsiteY2" fmla="*/ 19471 h 34725"/>
                <a:gd name="connsiteX3" fmla="*/ 87713 w 92026"/>
                <a:gd name="connsiteY3" fmla="*/ 10318 h 34725"/>
                <a:gd name="connsiteX4" fmla="*/ 90763 w 92026"/>
                <a:gd name="connsiteY4" fmla="*/ 19471 h 34725"/>
                <a:gd name="connsiteX5" fmla="*/ 81611 w 92026"/>
                <a:gd name="connsiteY5" fmla="*/ 22522 h 34725"/>
                <a:gd name="connsiteX6" fmla="*/ 14492 w 92026"/>
                <a:gd name="connsiteY6" fmla="*/ 28623 h 34725"/>
                <a:gd name="connsiteX7" fmla="*/ 8390 w 92026"/>
                <a:gd name="connsiteY7" fmla="*/ 34725 h 3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4725">
                  <a:moveTo>
                    <a:pt x="8390" y="34725"/>
                  </a:moveTo>
                  <a:cubicBezTo>
                    <a:pt x="5340" y="34725"/>
                    <a:pt x="5340" y="34725"/>
                    <a:pt x="2288" y="31674"/>
                  </a:cubicBezTo>
                  <a:cubicBezTo>
                    <a:pt x="-763" y="28623"/>
                    <a:pt x="-763" y="22522"/>
                    <a:pt x="2288" y="19471"/>
                  </a:cubicBezTo>
                  <a:cubicBezTo>
                    <a:pt x="29746" y="-11038"/>
                    <a:pt x="69407" y="1166"/>
                    <a:pt x="87713" y="10318"/>
                  </a:cubicBezTo>
                  <a:cubicBezTo>
                    <a:pt x="90763" y="13369"/>
                    <a:pt x="93813" y="16420"/>
                    <a:pt x="90763" y="19471"/>
                  </a:cubicBezTo>
                  <a:cubicBezTo>
                    <a:pt x="87713" y="22522"/>
                    <a:pt x="84661" y="25573"/>
                    <a:pt x="81611" y="22522"/>
                  </a:cubicBezTo>
                  <a:cubicBezTo>
                    <a:pt x="78559" y="22522"/>
                    <a:pt x="38898" y="1166"/>
                    <a:pt x="14492" y="28623"/>
                  </a:cubicBezTo>
                  <a:cubicBezTo>
                    <a:pt x="11442" y="34725"/>
                    <a:pt x="8390" y="34725"/>
                    <a:pt x="8390" y="34725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55A1E61F-CD74-43F4-889C-D6BC95FEA6CC}"/>
                </a:ext>
              </a:extLst>
            </p:cNvPr>
            <p:cNvSpPr/>
            <p:nvPr/>
          </p:nvSpPr>
          <p:spPr>
            <a:xfrm>
              <a:off x="24063181" y="2573215"/>
              <a:ext cx="92026" cy="36299"/>
            </a:xfrm>
            <a:custGeom>
              <a:avLst/>
              <a:gdLst>
                <a:gd name="connsiteX0" fmla="*/ 86688 w 92026"/>
                <a:gd name="connsiteY0" fmla="*/ 36300 h 36299"/>
                <a:gd name="connsiteX1" fmla="*/ 80586 w 92026"/>
                <a:gd name="connsiteY1" fmla="*/ 33249 h 36299"/>
                <a:gd name="connsiteX2" fmla="*/ 13466 w 92026"/>
                <a:gd name="connsiteY2" fmla="*/ 27147 h 36299"/>
                <a:gd name="connsiteX3" fmla="*/ 1264 w 92026"/>
                <a:gd name="connsiteY3" fmla="*/ 24096 h 36299"/>
                <a:gd name="connsiteX4" fmla="*/ 4314 w 92026"/>
                <a:gd name="connsiteY4" fmla="*/ 11893 h 36299"/>
                <a:gd name="connsiteX5" fmla="*/ 89738 w 92026"/>
                <a:gd name="connsiteY5" fmla="*/ 21045 h 36299"/>
                <a:gd name="connsiteX6" fmla="*/ 89738 w 92026"/>
                <a:gd name="connsiteY6" fmla="*/ 33249 h 36299"/>
                <a:gd name="connsiteX7" fmla="*/ 86688 w 92026"/>
                <a:gd name="connsiteY7" fmla="*/ 36300 h 3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6299">
                  <a:moveTo>
                    <a:pt x="86688" y="36300"/>
                  </a:moveTo>
                  <a:cubicBezTo>
                    <a:pt x="83637" y="36300"/>
                    <a:pt x="83637" y="36300"/>
                    <a:pt x="80586" y="33249"/>
                  </a:cubicBezTo>
                  <a:cubicBezTo>
                    <a:pt x="80586" y="33249"/>
                    <a:pt x="50077" y="2740"/>
                    <a:pt x="13466" y="27147"/>
                  </a:cubicBezTo>
                  <a:cubicBezTo>
                    <a:pt x="10416" y="30198"/>
                    <a:pt x="4314" y="27147"/>
                    <a:pt x="1264" y="24096"/>
                  </a:cubicBezTo>
                  <a:cubicBezTo>
                    <a:pt x="-1788" y="21045"/>
                    <a:pt x="1264" y="14944"/>
                    <a:pt x="4314" y="11893"/>
                  </a:cubicBezTo>
                  <a:cubicBezTo>
                    <a:pt x="40925" y="-12514"/>
                    <a:pt x="77535" y="5791"/>
                    <a:pt x="89738" y="21045"/>
                  </a:cubicBezTo>
                  <a:cubicBezTo>
                    <a:pt x="92790" y="24096"/>
                    <a:pt x="92790" y="30198"/>
                    <a:pt x="89738" y="33249"/>
                  </a:cubicBezTo>
                  <a:cubicBezTo>
                    <a:pt x="89738" y="33249"/>
                    <a:pt x="89738" y="36300"/>
                    <a:pt x="86688" y="36300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ABF21D05-A768-49AB-9725-2FEC92FBDDB7}"/>
                </a:ext>
              </a:extLst>
            </p:cNvPr>
            <p:cNvSpPr/>
            <p:nvPr/>
          </p:nvSpPr>
          <p:spPr>
            <a:xfrm>
              <a:off x="23817187" y="2347921"/>
              <a:ext cx="276807" cy="258543"/>
            </a:xfrm>
            <a:custGeom>
              <a:avLst/>
              <a:gdLst>
                <a:gd name="connsiteX0" fmla="*/ 274715 w 276807"/>
                <a:gd name="connsiteY0" fmla="*/ 2272 h 258543"/>
                <a:gd name="connsiteX1" fmla="*/ 238106 w 276807"/>
                <a:gd name="connsiteY1" fmla="*/ 130408 h 258543"/>
                <a:gd name="connsiteX2" fmla="*/ 138 w 276807"/>
                <a:gd name="connsiteY2" fmla="*/ 258544 h 258543"/>
                <a:gd name="connsiteX3" fmla="*/ 274715 w 276807"/>
                <a:gd name="connsiteY3" fmla="*/ 2272 h 258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807" h="258543">
                  <a:moveTo>
                    <a:pt x="274715" y="2272"/>
                  </a:moveTo>
                  <a:cubicBezTo>
                    <a:pt x="274715" y="2272"/>
                    <a:pt x="289969" y="90747"/>
                    <a:pt x="238106" y="130408"/>
                  </a:cubicBezTo>
                  <a:cubicBezTo>
                    <a:pt x="238106" y="130408"/>
                    <a:pt x="27597" y="173120"/>
                    <a:pt x="138" y="258544"/>
                  </a:cubicBezTo>
                  <a:cubicBezTo>
                    <a:pt x="138" y="258544"/>
                    <a:pt x="-15116" y="-28236"/>
                    <a:pt x="274715" y="2272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BCFA720E-A942-45E2-8E07-DF2AD73F6A96}"/>
                </a:ext>
              </a:extLst>
            </p:cNvPr>
            <p:cNvSpPr/>
            <p:nvPr/>
          </p:nvSpPr>
          <p:spPr>
            <a:xfrm>
              <a:off x="24055293" y="2350193"/>
              <a:ext cx="224407" cy="314732"/>
            </a:xfrm>
            <a:custGeom>
              <a:avLst/>
              <a:gdLst>
                <a:gd name="connsiteX0" fmla="*/ 0 w 224407"/>
                <a:gd name="connsiteY0" fmla="*/ 128136 h 314732"/>
                <a:gd name="connsiteX1" fmla="*/ 140338 w 224407"/>
                <a:gd name="connsiteY1" fmla="*/ 183051 h 314732"/>
                <a:gd name="connsiteX2" fmla="*/ 198305 w 224407"/>
                <a:gd name="connsiteY2" fmla="*/ 302034 h 314732"/>
                <a:gd name="connsiteX3" fmla="*/ 222711 w 224407"/>
                <a:gd name="connsiteY3" fmla="*/ 298983 h 314732"/>
                <a:gd name="connsiteX4" fmla="*/ 33559 w 224407"/>
                <a:gd name="connsiteY4" fmla="*/ 0 h 314732"/>
                <a:gd name="connsiteX5" fmla="*/ 0 w 224407"/>
                <a:gd name="connsiteY5" fmla="*/ 128136 h 31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407" h="314732">
                  <a:moveTo>
                    <a:pt x="0" y="128136"/>
                  </a:moveTo>
                  <a:cubicBezTo>
                    <a:pt x="0" y="128136"/>
                    <a:pt x="91525" y="176949"/>
                    <a:pt x="140338" y="183051"/>
                  </a:cubicBezTo>
                  <a:cubicBezTo>
                    <a:pt x="192203" y="189153"/>
                    <a:pt x="198305" y="302034"/>
                    <a:pt x="198305" y="302034"/>
                  </a:cubicBezTo>
                  <a:cubicBezTo>
                    <a:pt x="198305" y="302034"/>
                    <a:pt x="219660" y="332542"/>
                    <a:pt x="222711" y="298983"/>
                  </a:cubicBezTo>
                  <a:cubicBezTo>
                    <a:pt x="228814" y="219661"/>
                    <a:pt x="228814" y="21356"/>
                    <a:pt x="33559" y="0"/>
                  </a:cubicBezTo>
                  <a:cubicBezTo>
                    <a:pt x="36609" y="0"/>
                    <a:pt x="24406" y="122034"/>
                    <a:pt x="0" y="128136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F04C500B-68EC-47B7-9DF3-41F2535ED353}"/>
                </a:ext>
              </a:extLst>
            </p:cNvPr>
            <p:cNvSpPr/>
            <p:nvPr/>
          </p:nvSpPr>
          <p:spPr>
            <a:xfrm>
              <a:off x="24052241" y="2395956"/>
              <a:ext cx="155594" cy="143389"/>
            </a:xfrm>
            <a:custGeom>
              <a:avLst/>
              <a:gdLst>
                <a:gd name="connsiteX0" fmla="*/ 146440 w 155594"/>
                <a:gd name="connsiteY0" fmla="*/ 143390 h 143389"/>
                <a:gd name="connsiteX1" fmla="*/ 146440 w 155594"/>
                <a:gd name="connsiteY1" fmla="*/ 143390 h 143389"/>
                <a:gd name="connsiteX2" fmla="*/ 48815 w 155594"/>
                <a:gd name="connsiteY2" fmla="*/ 109831 h 143389"/>
                <a:gd name="connsiteX3" fmla="*/ 3052 w 155594"/>
                <a:gd name="connsiteY3" fmla="*/ 85424 h 143389"/>
                <a:gd name="connsiteX4" fmla="*/ 0 w 155594"/>
                <a:gd name="connsiteY4" fmla="*/ 82373 h 143389"/>
                <a:gd name="connsiteX5" fmla="*/ 0 w 155594"/>
                <a:gd name="connsiteY5" fmla="*/ 76271 h 143389"/>
                <a:gd name="connsiteX6" fmla="*/ 27458 w 155594"/>
                <a:gd name="connsiteY6" fmla="*/ 6102 h 143389"/>
                <a:gd name="connsiteX7" fmla="*/ 33560 w 155594"/>
                <a:gd name="connsiteY7" fmla="*/ 0 h 143389"/>
                <a:gd name="connsiteX8" fmla="*/ 39661 w 155594"/>
                <a:gd name="connsiteY8" fmla="*/ 6102 h 143389"/>
                <a:gd name="connsiteX9" fmla="*/ 15254 w 155594"/>
                <a:gd name="connsiteY9" fmla="*/ 76271 h 143389"/>
                <a:gd name="connsiteX10" fmla="*/ 54915 w 155594"/>
                <a:gd name="connsiteY10" fmla="*/ 97627 h 143389"/>
                <a:gd name="connsiteX11" fmla="*/ 149492 w 155594"/>
                <a:gd name="connsiteY11" fmla="*/ 128136 h 143389"/>
                <a:gd name="connsiteX12" fmla="*/ 155594 w 155594"/>
                <a:gd name="connsiteY12" fmla="*/ 134237 h 143389"/>
                <a:gd name="connsiteX13" fmla="*/ 146440 w 155594"/>
                <a:gd name="connsiteY13" fmla="*/ 143390 h 143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5594" h="143389">
                  <a:moveTo>
                    <a:pt x="146440" y="143390"/>
                  </a:moveTo>
                  <a:cubicBezTo>
                    <a:pt x="146440" y="143390"/>
                    <a:pt x="146440" y="143390"/>
                    <a:pt x="146440" y="143390"/>
                  </a:cubicBezTo>
                  <a:cubicBezTo>
                    <a:pt x="109832" y="137288"/>
                    <a:pt x="73221" y="122034"/>
                    <a:pt x="48815" y="109831"/>
                  </a:cubicBezTo>
                  <a:cubicBezTo>
                    <a:pt x="21356" y="97627"/>
                    <a:pt x="3052" y="85424"/>
                    <a:pt x="3052" y="85424"/>
                  </a:cubicBezTo>
                  <a:cubicBezTo>
                    <a:pt x="3052" y="85424"/>
                    <a:pt x="0" y="82373"/>
                    <a:pt x="0" y="82373"/>
                  </a:cubicBezTo>
                  <a:cubicBezTo>
                    <a:pt x="0" y="79322"/>
                    <a:pt x="0" y="79322"/>
                    <a:pt x="0" y="76271"/>
                  </a:cubicBezTo>
                  <a:cubicBezTo>
                    <a:pt x="6102" y="70170"/>
                    <a:pt x="24406" y="30508"/>
                    <a:pt x="27458" y="6102"/>
                  </a:cubicBezTo>
                  <a:cubicBezTo>
                    <a:pt x="27458" y="3051"/>
                    <a:pt x="30508" y="0"/>
                    <a:pt x="33560" y="0"/>
                  </a:cubicBezTo>
                  <a:cubicBezTo>
                    <a:pt x="36611" y="0"/>
                    <a:pt x="39661" y="3051"/>
                    <a:pt x="39661" y="6102"/>
                  </a:cubicBezTo>
                  <a:cubicBezTo>
                    <a:pt x="39661" y="30508"/>
                    <a:pt x="24406" y="64068"/>
                    <a:pt x="15254" y="76271"/>
                  </a:cubicBezTo>
                  <a:cubicBezTo>
                    <a:pt x="21356" y="79322"/>
                    <a:pt x="36611" y="88475"/>
                    <a:pt x="54915" y="97627"/>
                  </a:cubicBezTo>
                  <a:cubicBezTo>
                    <a:pt x="79323" y="109831"/>
                    <a:pt x="115932" y="125085"/>
                    <a:pt x="149492" y="128136"/>
                  </a:cubicBezTo>
                  <a:cubicBezTo>
                    <a:pt x="152542" y="128136"/>
                    <a:pt x="155594" y="131186"/>
                    <a:pt x="155594" y="134237"/>
                  </a:cubicBezTo>
                  <a:cubicBezTo>
                    <a:pt x="152542" y="140339"/>
                    <a:pt x="149492" y="143390"/>
                    <a:pt x="146440" y="143390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EC9938E4-D9E6-4581-85BC-21568340DE37}"/>
                </a:ext>
              </a:extLst>
            </p:cNvPr>
            <p:cNvSpPr/>
            <p:nvPr/>
          </p:nvSpPr>
          <p:spPr>
            <a:xfrm>
              <a:off x="23937072" y="2876726"/>
              <a:ext cx="223213" cy="80585"/>
            </a:xfrm>
            <a:custGeom>
              <a:avLst/>
              <a:gdLst>
                <a:gd name="connsiteX0" fmla="*/ 72459 w 223213"/>
                <a:gd name="connsiteY0" fmla="*/ 80586 h 80585"/>
                <a:gd name="connsiteX1" fmla="*/ 2288 w 223213"/>
                <a:gd name="connsiteY1" fmla="*/ 53128 h 80585"/>
                <a:gd name="connsiteX2" fmla="*/ 2288 w 223213"/>
                <a:gd name="connsiteY2" fmla="*/ 43976 h 80585"/>
                <a:gd name="connsiteX3" fmla="*/ 11442 w 223213"/>
                <a:gd name="connsiteY3" fmla="*/ 43976 h 80585"/>
                <a:gd name="connsiteX4" fmla="*/ 81611 w 223213"/>
                <a:gd name="connsiteY4" fmla="*/ 68382 h 80585"/>
                <a:gd name="connsiteX5" fmla="*/ 212797 w 223213"/>
                <a:gd name="connsiteY5" fmla="*/ 1264 h 80585"/>
                <a:gd name="connsiteX6" fmla="*/ 221949 w 223213"/>
                <a:gd name="connsiteY6" fmla="*/ 4315 h 80585"/>
                <a:gd name="connsiteX7" fmla="*/ 218899 w 223213"/>
                <a:gd name="connsiteY7" fmla="*/ 13467 h 80585"/>
                <a:gd name="connsiteX8" fmla="*/ 81611 w 223213"/>
                <a:gd name="connsiteY8" fmla="*/ 80586 h 80585"/>
                <a:gd name="connsiteX9" fmla="*/ 72459 w 223213"/>
                <a:gd name="connsiteY9" fmla="*/ 80586 h 80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213" h="80585">
                  <a:moveTo>
                    <a:pt x="72459" y="80586"/>
                  </a:moveTo>
                  <a:cubicBezTo>
                    <a:pt x="32796" y="80586"/>
                    <a:pt x="5340" y="53128"/>
                    <a:pt x="2288" y="53128"/>
                  </a:cubicBezTo>
                  <a:cubicBezTo>
                    <a:pt x="-763" y="50077"/>
                    <a:pt x="-763" y="47026"/>
                    <a:pt x="2288" y="43976"/>
                  </a:cubicBezTo>
                  <a:cubicBezTo>
                    <a:pt x="5340" y="40925"/>
                    <a:pt x="8390" y="40925"/>
                    <a:pt x="11442" y="43976"/>
                  </a:cubicBezTo>
                  <a:cubicBezTo>
                    <a:pt x="11442" y="43976"/>
                    <a:pt x="45000" y="74484"/>
                    <a:pt x="81611" y="68382"/>
                  </a:cubicBezTo>
                  <a:cubicBezTo>
                    <a:pt x="121271" y="62281"/>
                    <a:pt x="212797" y="1264"/>
                    <a:pt x="212797" y="1264"/>
                  </a:cubicBezTo>
                  <a:cubicBezTo>
                    <a:pt x="215847" y="-1787"/>
                    <a:pt x="218899" y="1264"/>
                    <a:pt x="221949" y="4315"/>
                  </a:cubicBezTo>
                  <a:cubicBezTo>
                    <a:pt x="225001" y="7365"/>
                    <a:pt x="221949" y="10416"/>
                    <a:pt x="218899" y="13467"/>
                  </a:cubicBezTo>
                  <a:cubicBezTo>
                    <a:pt x="215847" y="16518"/>
                    <a:pt x="124321" y="77535"/>
                    <a:pt x="81611" y="80586"/>
                  </a:cubicBezTo>
                  <a:cubicBezTo>
                    <a:pt x="78559" y="80586"/>
                    <a:pt x="75509" y="80586"/>
                    <a:pt x="72459" y="80586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F3BDE901-DE59-46B9-B0AE-B13E9C559D5B}"/>
                </a:ext>
              </a:extLst>
            </p:cNvPr>
            <p:cNvSpPr/>
            <p:nvPr/>
          </p:nvSpPr>
          <p:spPr>
            <a:xfrm>
              <a:off x="24218683" y="2638538"/>
              <a:ext cx="78990" cy="114126"/>
            </a:xfrm>
            <a:custGeom>
              <a:avLst/>
              <a:gdLst>
                <a:gd name="connsiteX0" fmla="*/ 13559 w 78990"/>
                <a:gd name="connsiteY0" fmla="*/ 16740 h 114126"/>
                <a:gd name="connsiteX1" fmla="*/ 71524 w 78990"/>
                <a:gd name="connsiteY1" fmla="*/ 7587 h 114126"/>
                <a:gd name="connsiteX2" fmla="*/ 13559 w 78990"/>
                <a:gd name="connsiteY2" fmla="*/ 111316 h 114126"/>
                <a:gd name="connsiteX3" fmla="*/ 13559 w 78990"/>
                <a:gd name="connsiteY3" fmla="*/ 16740 h 11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90" h="114126">
                  <a:moveTo>
                    <a:pt x="13559" y="16740"/>
                  </a:moveTo>
                  <a:cubicBezTo>
                    <a:pt x="13559" y="16740"/>
                    <a:pt x="47118" y="-13769"/>
                    <a:pt x="71524" y="7587"/>
                  </a:cubicBezTo>
                  <a:cubicBezTo>
                    <a:pt x="95933" y="25892"/>
                    <a:pt x="56270" y="132672"/>
                    <a:pt x="13559" y="111316"/>
                  </a:cubicBezTo>
                  <a:cubicBezTo>
                    <a:pt x="-16949" y="89960"/>
                    <a:pt x="13559" y="16740"/>
                    <a:pt x="13559" y="16740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3141C791-1E78-4102-95D0-38E16ADC1097}"/>
                </a:ext>
              </a:extLst>
            </p:cNvPr>
            <p:cNvSpPr/>
            <p:nvPr/>
          </p:nvSpPr>
          <p:spPr>
            <a:xfrm>
              <a:off x="23811225" y="2469176"/>
              <a:ext cx="253219" cy="158644"/>
            </a:xfrm>
            <a:custGeom>
              <a:avLst/>
              <a:gdLst>
                <a:gd name="connsiteX0" fmla="*/ 6100 w 253219"/>
                <a:gd name="connsiteY0" fmla="*/ 158644 h 158644"/>
                <a:gd name="connsiteX1" fmla="*/ 6100 w 253219"/>
                <a:gd name="connsiteY1" fmla="*/ 158644 h 158644"/>
                <a:gd name="connsiteX2" fmla="*/ 0 w 253219"/>
                <a:gd name="connsiteY2" fmla="*/ 152542 h 158644"/>
                <a:gd name="connsiteX3" fmla="*/ 109830 w 253219"/>
                <a:gd name="connsiteY3" fmla="*/ 45763 h 158644"/>
                <a:gd name="connsiteX4" fmla="*/ 244068 w 253219"/>
                <a:gd name="connsiteY4" fmla="*/ 0 h 158644"/>
                <a:gd name="connsiteX5" fmla="*/ 253220 w 253219"/>
                <a:gd name="connsiteY5" fmla="*/ 3051 h 158644"/>
                <a:gd name="connsiteX6" fmla="*/ 250168 w 253219"/>
                <a:gd name="connsiteY6" fmla="*/ 12203 h 158644"/>
                <a:gd name="connsiteX7" fmla="*/ 115932 w 253219"/>
                <a:gd name="connsiteY7" fmla="*/ 57966 h 158644"/>
                <a:gd name="connsiteX8" fmla="*/ 15254 w 253219"/>
                <a:gd name="connsiteY8" fmla="*/ 155593 h 158644"/>
                <a:gd name="connsiteX9" fmla="*/ 6100 w 253219"/>
                <a:gd name="connsiteY9" fmla="*/ 158644 h 158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3219" h="158644">
                  <a:moveTo>
                    <a:pt x="6100" y="158644"/>
                  </a:moveTo>
                  <a:cubicBezTo>
                    <a:pt x="6100" y="158644"/>
                    <a:pt x="6100" y="158644"/>
                    <a:pt x="6100" y="158644"/>
                  </a:cubicBezTo>
                  <a:cubicBezTo>
                    <a:pt x="3050" y="158644"/>
                    <a:pt x="0" y="155593"/>
                    <a:pt x="0" y="152542"/>
                  </a:cubicBezTo>
                  <a:cubicBezTo>
                    <a:pt x="12202" y="82373"/>
                    <a:pt x="61017" y="61017"/>
                    <a:pt x="109830" y="45763"/>
                  </a:cubicBezTo>
                  <a:cubicBezTo>
                    <a:pt x="176949" y="27458"/>
                    <a:pt x="241016" y="0"/>
                    <a:pt x="244068" y="0"/>
                  </a:cubicBezTo>
                  <a:cubicBezTo>
                    <a:pt x="247118" y="0"/>
                    <a:pt x="250168" y="0"/>
                    <a:pt x="253220" y="3051"/>
                  </a:cubicBezTo>
                  <a:cubicBezTo>
                    <a:pt x="253220" y="6102"/>
                    <a:pt x="253220" y="9153"/>
                    <a:pt x="250168" y="12203"/>
                  </a:cubicBezTo>
                  <a:cubicBezTo>
                    <a:pt x="250168" y="12203"/>
                    <a:pt x="183051" y="36610"/>
                    <a:pt x="115932" y="57966"/>
                  </a:cubicBezTo>
                  <a:cubicBezTo>
                    <a:pt x="61017" y="73220"/>
                    <a:pt x="24406" y="97627"/>
                    <a:pt x="15254" y="155593"/>
                  </a:cubicBezTo>
                  <a:cubicBezTo>
                    <a:pt x="12202" y="158644"/>
                    <a:pt x="9152" y="158644"/>
                    <a:pt x="6100" y="158644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7D810900-E97A-4571-A61D-4A8658EA9E3C}"/>
                </a:ext>
              </a:extLst>
            </p:cNvPr>
            <p:cNvSpPr/>
            <p:nvPr/>
          </p:nvSpPr>
          <p:spPr>
            <a:xfrm>
              <a:off x="24626768" y="4308837"/>
              <a:ext cx="114965" cy="182891"/>
            </a:xfrm>
            <a:custGeom>
              <a:avLst/>
              <a:gdLst>
                <a:gd name="connsiteX0" fmla="*/ 114966 w 114965"/>
                <a:gd name="connsiteY0" fmla="*/ 0 h 182891"/>
                <a:gd name="connsiteX1" fmla="*/ 14286 w 114965"/>
                <a:gd name="connsiteY1" fmla="*/ 103729 h 182891"/>
                <a:gd name="connsiteX2" fmla="*/ 5134 w 114965"/>
                <a:gd name="connsiteY2" fmla="*/ 180000 h 182891"/>
                <a:gd name="connsiteX3" fmla="*/ 81405 w 114965"/>
                <a:gd name="connsiteY3" fmla="*/ 91525 h 182891"/>
                <a:gd name="connsiteX4" fmla="*/ 114966 w 114965"/>
                <a:gd name="connsiteY4" fmla="*/ 0 h 182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965" h="182891">
                  <a:moveTo>
                    <a:pt x="114966" y="0"/>
                  </a:moveTo>
                  <a:cubicBezTo>
                    <a:pt x="114966" y="0"/>
                    <a:pt x="23440" y="76271"/>
                    <a:pt x="14286" y="103729"/>
                  </a:cubicBezTo>
                  <a:cubicBezTo>
                    <a:pt x="5134" y="131187"/>
                    <a:pt x="-7068" y="173898"/>
                    <a:pt x="5134" y="180000"/>
                  </a:cubicBezTo>
                  <a:cubicBezTo>
                    <a:pt x="38695" y="201356"/>
                    <a:pt x="47847" y="97627"/>
                    <a:pt x="81405" y="91525"/>
                  </a:cubicBezTo>
                  <a:cubicBezTo>
                    <a:pt x="96660" y="91525"/>
                    <a:pt x="114966" y="0"/>
                    <a:pt x="114966" y="0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8" name="图形 114">
              <a:extLst>
                <a:ext uri="{FF2B5EF4-FFF2-40B4-BE49-F238E27FC236}">
                  <a16:creationId xmlns:a16="http://schemas.microsoft.com/office/drawing/2014/main" id="{6320EB4A-0DF8-44BE-A634-6F3573F47132}"/>
                </a:ext>
              </a:extLst>
            </p:cNvPr>
            <p:cNvGrpSpPr/>
            <p:nvPr/>
          </p:nvGrpSpPr>
          <p:grpSpPr>
            <a:xfrm>
              <a:off x="24200847" y="4360471"/>
              <a:ext cx="1238621" cy="1127656"/>
              <a:chOff x="24200847" y="4360471"/>
              <a:chExt cx="1238621" cy="1127656"/>
            </a:xfrm>
          </p:grpSpPr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08A1187A-91C7-4631-A3C5-497E57371EBC}"/>
                  </a:ext>
                </a:extLst>
              </p:cNvPr>
              <p:cNvSpPr/>
              <p:nvPr/>
            </p:nvSpPr>
            <p:spPr>
              <a:xfrm>
                <a:off x="24990002" y="4576509"/>
                <a:ext cx="449465" cy="828366"/>
              </a:xfrm>
              <a:custGeom>
                <a:avLst/>
                <a:gdLst>
                  <a:gd name="connsiteX0" fmla="*/ 447324 w 449465"/>
                  <a:gd name="connsiteY0" fmla="*/ 543853 h 828366"/>
                  <a:gd name="connsiteX1" fmla="*/ 319188 w 449465"/>
                  <a:gd name="connsiteY1" fmla="*/ 226565 h 828366"/>
                  <a:gd name="connsiteX2" fmla="*/ 221561 w 449465"/>
                  <a:gd name="connsiteY2" fmla="*/ 128938 h 828366"/>
                  <a:gd name="connsiteX3" fmla="*/ 17154 w 449465"/>
                  <a:gd name="connsiteY3" fmla="*/ 802 h 828366"/>
                  <a:gd name="connsiteX4" fmla="*/ 11053 w 449465"/>
                  <a:gd name="connsiteY4" fmla="*/ 31311 h 828366"/>
                  <a:gd name="connsiteX5" fmla="*/ 17154 w 449465"/>
                  <a:gd name="connsiteY5" fmla="*/ 34362 h 828366"/>
                  <a:gd name="connsiteX6" fmla="*/ 17154 w 449465"/>
                  <a:gd name="connsiteY6" fmla="*/ 55717 h 828366"/>
                  <a:gd name="connsiteX7" fmla="*/ 108679 w 449465"/>
                  <a:gd name="connsiteY7" fmla="*/ 110633 h 828366"/>
                  <a:gd name="connsiteX8" fmla="*/ 288680 w 449465"/>
                  <a:gd name="connsiteY8" fmla="*/ 369955 h 828366"/>
                  <a:gd name="connsiteX9" fmla="*/ 349697 w 449465"/>
                  <a:gd name="connsiteY9" fmla="*/ 592667 h 828366"/>
                  <a:gd name="connsiteX10" fmla="*/ 291730 w 449465"/>
                  <a:gd name="connsiteY10" fmla="*/ 729955 h 828366"/>
                  <a:gd name="connsiteX11" fmla="*/ 175798 w 449465"/>
                  <a:gd name="connsiteY11" fmla="*/ 717752 h 828366"/>
                  <a:gd name="connsiteX12" fmla="*/ 169696 w 449465"/>
                  <a:gd name="connsiteY12" fmla="*/ 717752 h 828366"/>
                  <a:gd name="connsiteX13" fmla="*/ 148341 w 449465"/>
                  <a:gd name="connsiteY13" fmla="*/ 708599 h 828366"/>
                  <a:gd name="connsiteX14" fmla="*/ 133087 w 449465"/>
                  <a:gd name="connsiteY14" fmla="*/ 733006 h 828366"/>
                  <a:gd name="connsiteX15" fmla="*/ 355799 w 449465"/>
                  <a:gd name="connsiteY15" fmla="*/ 815379 h 828366"/>
                  <a:gd name="connsiteX16" fmla="*/ 447324 w 449465"/>
                  <a:gd name="connsiteY16" fmla="*/ 543853 h 828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49465" h="828366">
                    <a:moveTo>
                      <a:pt x="447324" y="543853"/>
                    </a:moveTo>
                    <a:cubicBezTo>
                      <a:pt x="438172" y="424870"/>
                      <a:pt x="386307" y="318091"/>
                      <a:pt x="319188" y="226565"/>
                    </a:cubicBezTo>
                    <a:cubicBezTo>
                      <a:pt x="291730" y="186904"/>
                      <a:pt x="258171" y="156396"/>
                      <a:pt x="221561" y="128938"/>
                    </a:cubicBezTo>
                    <a:cubicBezTo>
                      <a:pt x="163596" y="67921"/>
                      <a:pt x="96477" y="25209"/>
                      <a:pt x="17154" y="802"/>
                    </a:cubicBezTo>
                    <a:cubicBezTo>
                      <a:pt x="-1151" y="-5299"/>
                      <a:pt x="-7253" y="25209"/>
                      <a:pt x="11053" y="31311"/>
                    </a:cubicBezTo>
                    <a:cubicBezTo>
                      <a:pt x="14103" y="31311"/>
                      <a:pt x="14103" y="34362"/>
                      <a:pt x="17154" y="34362"/>
                    </a:cubicBezTo>
                    <a:cubicBezTo>
                      <a:pt x="14103" y="40463"/>
                      <a:pt x="11053" y="49616"/>
                      <a:pt x="17154" y="55717"/>
                    </a:cubicBezTo>
                    <a:cubicBezTo>
                      <a:pt x="44612" y="80124"/>
                      <a:pt x="78171" y="95379"/>
                      <a:pt x="108679" y="110633"/>
                    </a:cubicBezTo>
                    <a:cubicBezTo>
                      <a:pt x="188002" y="174701"/>
                      <a:pt x="245967" y="272328"/>
                      <a:pt x="288680" y="369955"/>
                    </a:cubicBezTo>
                    <a:cubicBezTo>
                      <a:pt x="319188" y="440124"/>
                      <a:pt x="343595" y="516396"/>
                      <a:pt x="349697" y="592667"/>
                    </a:cubicBezTo>
                    <a:cubicBezTo>
                      <a:pt x="355799" y="653684"/>
                      <a:pt x="358849" y="708599"/>
                      <a:pt x="291730" y="729955"/>
                    </a:cubicBezTo>
                    <a:cubicBezTo>
                      <a:pt x="258171" y="742158"/>
                      <a:pt x="209358" y="726904"/>
                      <a:pt x="175798" y="717752"/>
                    </a:cubicBezTo>
                    <a:cubicBezTo>
                      <a:pt x="172748" y="717752"/>
                      <a:pt x="169696" y="717752"/>
                      <a:pt x="169696" y="717752"/>
                    </a:cubicBezTo>
                    <a:cubicBezTo>
                      <a:pt x="163596" y="714701"/>
                      <a:pt x="154442" y="711650"/>
                      <a:pt x="148341" y="708599"/>
                    </a:cubicBezTo>
                    <a:cubicBezTo>
                      <a:pt x="133087" y="702497"/>
                      <a:pt x="120883" y="720802"/>
                      <a:pt x="133087" y="733006"/>
                    </a:cubicBezTo>
                    <a:cubicBezTo>
                      <a:pt x="184950" y="797074"/>
                      <a:pt x="276476" y="855040"/>
                      <a:pt x="355799" y="815379"/>
                    </a:cubicBezTo>
                    <a:cubicBezTo>
                      <a:pt x="438172" y="772667"/>
                      <a:pt x="456476" y="635379"/>
                      <a:pt x="447324" y="5438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C6FA2CC8-7BBC-47F3-B18D-1597F90EB2A7}"/>
                  </a:ext>
                </a:extLst>
              </p:cNvPr>
              <p:cNvSpPr/>
              <p:nvPr/>
            </p:nvSpPr>
            <p:spPr>
              <a:xfrm>
                <a:off x="24551224" y="4360471"/>
                <a:ext cx="424983" cy="233669"/>
              </a:xfrm>
              <a:custGeom>
                <a:avLst/>
                <a:gdLst>
                  <a:gd name="connsiteX0" fmla="*/ 419323 w 424983"/>
                  <a:gd name="connsiteY0" fmla="*/ 103960 h 233669"/>
                  <a:gd name="connsiteX1" fmla="*/ 324746 w 424983"/>
                  <a:gd name="connsiteY1" fmla="*/ 9384 h 233669"/>
                  <a:gd name="connsiteX2" fmla="*/ 208814 w 424983"/>
                  <a:gd name="connsiteY2" fmla="*/ 231 h 233669"/>
                  <a:gd name="connsiteX3" fmla="*/ 59321 w 424983"/>
                  <a:gd name="connsiteY3" fmla="*/ 64299 h 233669"/>
                  <a:gd name="connsiteX4" fmla="*/ 1356 w 424983"/>
                  <a:gd name="connsiteY4" fmla="*/ 213791 h 233669"/>
                  <a:gd name="connsiteX5" fmla="*/ 1356 w 424983"/>
                  <a:gd name="connsiteY5" fmla="*/ 222943 h 233669"/>
                  <a:gd name="connsiteX6" fmla="*/ 4407 w 424983"/>
                  <a:gd name="connsiteY6" fmla="*/ 225994 h 233669"/>
                  <a:gd name="connsiteX7" fmla="*/ 59321 w 424983"/>
                  <a:gd name="connsiteY7" fmla="*/ 195485 h 233669"/>
                  <a:gd name="connsiteX8" fmla="*/ 144747 w 424983"/>
                  <a:gd name="connsiteY8" fmla="*/ 73451 h 233669"/>
                  <a:gd name="connsiteX9" fmla="*/ 309491 w 424983"/>
                  <a:gd name="connsiteY9" fmla="*/ 85655 h 233669"/>
                  <a:gd name="connsiteX10" fmla="*/ 343052 w 424983"/>
                  <a:gd name="connsiteY10" fmla="*/ 189384 h 233669"/>
                  <a:gd name="connsiteX11" fmla="*/ 364406 w 424983"/>
                  <a:gd name="connsiteY11" fmla="*/ 219892 h 233669"/>
                  <a:gd name="connsiteX12" fmla="*/ 422373 w 424983"/>
                  <a:gd name="connsiteY12" fmla="*/ 204638 h 233669"/>
                  <a:gd name="connsiteX13" fmla="*/ 419323 w 424983"/>
                  <a:gd name="connsiteY13" fmla="*/ 103960 h 233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4983" h="233669">
                    <a:moveTo>
                      <a:pt x="419323" y="103960"/>
                    </a:moveTo>
                    <a:cubicBezTo>
                      <a:pt x="419323" y="91757"/>
                      <a:pt x="382712" y="12434"/>
                      <a:pt x="324746" y="9384"/>
                    </a:cubicBezTo>
                    <a:cubicBezTo>
                      <a:pt x="285085" y="6333"/>
                      <a:pt x="248474" y="3282"/>
                      <a:pt x="208814" y="231"/>
                    </a:cubicBezTo>
                    <a:cubicBezTo>
                      <a:pt x="160001" y="-2820"/>
                      <a:pt x="95932" y="24638"/>
                      <a:pt x="59321" y="64299"/>
                    </a:cubicBezTo>
                    <a:cubicBezTo>
                      <a:pt x="22713" y="103960"/>
                      <a:pt x="28813" y="168028"/>
                      <a:pt x="1356" y="213791"/>
                    </a:cubicBezTo>
                    <a:cubicBezTo>
                      <a:pt x="-1696" y="216841"/>
                      <a:pt x="1356" y="219892"/>
                      <a:pt x="1356" y="222943"/>
                    </a:cubicBezTo>
                    <a:cubicBezTo>
                      <a:pt x="1356" y="222943"/>
                      <a:pt x="1356" y="225994"/>
                      <a:pt x="4407" y="225994"/>
                    </a:cubicBezTo>
                    <a:cubicBezTo>
                      <a:pt x="31865" y="247350"/>
                      <a:pt x="50169" y="219892"/>
                      <a:pt x="59321" y="195485"/>
                    </a:cubicBezTo>
                    <a:cubicBezTo>
                      <a:pt x="77628" y="152774"/>
                      <a:pt x="92882" y="76502"/>
                      <a:pt x="144747" y="73451"/>
                    </a:cubicBezTo>
                    <a:cubicBezTo>
                      <a:pt x="178305" y="70401"/>
                      <a:pt x="288135" y="79553"/>
                      <a:pt x="309491" y="85655"/>
                    </a:cubicBezTo>
                    <a:cubicBezTo>
                      <a:pt x="346102" y="97858"/>
                      <a:pt x="336950" y="158875"/>
                      <a:pt x="343052" y="189384"/>
                    </a:cubicBezTo>
                    <a:cubicBezTo>
                      <a:pt x="346102" y="201587"/>
                      <a:pt x="352204" y="210739"/>
                      <a:pt x="364406" y="219892"/>
                    </a:cubicBezTo>
                    <a:cubicBezTo>
                      <a:pt x="385762" y="232096"/>
                      <a:pt x="416271" y="229045"/>
                      <a:pt x="422373" y="204638"/>
                    </a:cubicBezTo>
                    <a:cubicBezTo>
                      <a:pt x="428475" y="174129"/>
                      <a:pt x="422373" y="134468"/>
                      <a:pt x="419323" y="103960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4D747463-B751-4812-864D-74B565F01C2F}"/>
                  </a:ext>
                </a:extLst>
              </p:cNvPr>
              <p:cNvSpPr/>
              <p:nvPr/>
            </p:nvSpPr>
            <p:spPr>
              <a:xfrm>
                <a:off x="24463927" y="4519140"/>
                <a:ext cx="794914" cy="945968"/>
              </a:xfrm>
              <a:custGeom>
                <a:avLst/>
                <a:gdLst>
                  <a:gd name="connsiteX0" fmla="*/ 762890 w 794914"/>
                  <a:gd name="connsiteY0" fmla="*/ 384613 h 945968"/>
                  <a:gd name="connsiteX1" fmla="*/ 653060 w 794914"/>
                  <a:gd name="connsiteY1" fmla="*/ 119189 h 945968"/>
                  <a:gd name="connsiteX2" fmla="*/ 439501 w 794914"/>
                  <a:gd name="connsiteY2" fmla="*/ 12409 h 945968"/>
                  <a:gd name="connsiteX3" fmla="*/ 207635 w 794914"/>
                  <a:gd name="connsiteY3" fmla="*/ 45969 h 945968"/>
                  <a:gd name="connsiteX4" fmla="*/ 73399 w 794914"/>
                  <a:gd name="connsiteY4" fmla="*/ 286986 h 945968"/>
                  <a:gd name="connsiteX5" fmla="*/ 178 w 794914"/>
                  <a:gd name="connsiteY5" fmla="*/ 637833 h 945968"/>
                  <a:gd name="connsiteX6" fmla="*/ 116110 w 794914"/>
                  <a:gd name="connsiteY6" fmla="*/ 930714 h 945968"/>
                  <a:gd name="connsiteX7" fmla="*/ 122212 w 794914"/>
                  <a:gd name="connsiteY7" fmla="*/ 945969 h 945968"/>
                  <a:gd name="connsiteX8" fmla="*/ 445603 w 794914"/>
                  <a:gd name="connsiteY8" fmla="*/ 924613 h 945968"/>
                  <a:gd name="connsiteX9" fmla="*/ 677467 w 794914"/>
                  <a:gd name="connsiteY9" fmla="*/ 881901 h 945968"/>
                  <a:gd name="connsiteX10" fmla="*/ 762890 w 794914"/>
                  <a:gd name="connsiteY10" fmla="*/ 384613 h 945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94914" h="945968">
                    <a:moveTo>
                      <a:pt x="762890" y="384613"/>
                    </a:moveTo>
                    <a:cubicBezTo>
                      <a:pt x="741534" y="293087"/>
                      <a:pt x="707975" y="192409"/>
                      <a:pt x="653060" y="119189"/>
                    </a:cubicBezTo>
                    <a:cubicBezTo>
                      <a:pt x="598145" y="49019"/>
                      <a:pt x="515772" y="27664"/>
                      <a:pt x="439501" y="12409"/>
                    </a:cubicBezTo>
                    <a:cubicBezTo>
                      <a:pt x="360178" y="-2845"/>
                      <a:pt x="274754" y="-15048"/>
                      <a:pt x="207635" y="45969"/>
                    </a:cubicBezTo>
                    <a:cubicBezTo>
                      <a:pt x="143568" y="103935"/>
                      <a:pt x="103908" y="201562"/>
                      <a:pt x="73399" y="286986"/>
                    </a:cubicBezTo>
                    <a:cubicBezTo>
                      <a:pt x="33739" y="393765"/>
                      <a:pt x="-2872" y="518850"/>
                      <a:pt x="178" y="637833"/>
                    </a:cubicBezTo>
                    <a:cubicBezTo>
                      <a:pt x="3230" y="750714"/>
                      <a:pt x="61195" y="845291"/>
                      <a:pt x="116110" y="930714"/>
                    </a:cubicBezTo>
                    <a:cubicBezTo>
                      <a:pt x="113060" y="936816"/>
                      <a:pt x="116110" y="945969"/>
                      <a:pt x="122212" y="945969"/>
                    </a:cubicBezTo>
                    <a:cubicBezTo>
                      <a:pt x="228992" y="939867"/>
                      <a:pt x="335771" y="930714"/>
                      <a:pt x="445603" y="924613"/>
                    </a:cubicBezTo>
                    <a:cubicBezTo>
                      <a:pt x="521874" y="918511"/>
                      <a:pt x="607297" y="921562"/>
                      <a:pt x="677467" y="881901"/>
                    </a:cubicBezTo>
                    <a:cubicBezTo>
                      <a:pt x="833059" y="796477"/>
                      <a:pt x="802551" y="540206"/>
                      <a:pt x="762890" y="384613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ECEDB7C5-4CB7-4CCE-B4CC-373B57472731}"/>
                  </a:ext>
                </a:extLst>
              </p:cNvPr>
              <p:cNvSpPr/>
              <p:nvPr/>
            </p:nvSpPr>
            <p:spPr>
              <a:xfrm>
                <a:off x="24200847" y="4519154"/>
                <a:ext cx="1008209" cy="968973"/>
              </a:xfrm>
              <a:custGeom>
                <a:avLst/>
                <a:gdLst>
                  <a:gd name="connsiteX0" fmla="*/ 977158 w 1008209"/>
                  <a:gd name="connsiteY0" fmla="*/ 329683 h 968973"/>
                  <a:gd name="connsiteX1" fmla="*/ 839870 w 1008209"/>
                  <a:gd name="connsiteY1" fmla="*/ 76463 h 968973"/>
                  <a:gd name="connsiteX2" fmla="*/ 510378 w 1008209"/>
                  <a:gd name="connsiteY2" fmla="*/ 3242 h 968973"/>
                  <a:gd name="connsiteX3" fmla="*/ 217496 w 1008209"/>
                  <a:gd name="connsiteY3" fmla="*/ 149683 h 968973"/>
                  <a:gd name="connsiteX4" fmla="*/ 22243 w 1008209"/>
                  <a:gd name="connsiteY4" fmla="*/ 814768 h 968973"/>
                  <a:gd name="connsiteX5" fmla="*/ 214446 w 1008209"/>
                  <a:gd name="connsiteY5" fmla="*/ 967310 h 968973"/>
                  <a:gd name="connsiteX6" fmla="*/ 586650 w 1008209"/>
                  <a:gd name="connsiteY6" fmla="*/ 955107 h 968973"/>
                  <a:gd name="connsiteX7" fmla="*/ 1001564 w 1008209"/>
                  <a:gd name="connsiteY7" fmla="*/ 662225 h 968973"/>
                  <a:gd name="connsiteX8" fmla="*/ 977158 w 1008209"/>
                  <a:gd name="connsiteY8" fmla="*/ 329683 h 968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8209" h="968973">
                    <a:moveTo>
                      <a:pt x="977158" y="329683"/>
                    </a:moveTo>
                    <a:cubicBezTo>
                      <a:pt x="952751" y="232056"/>
                      <a:pt x="913089" y="137480"/>
                      <a:pt x="839870" y="76463"/>
                    </a:cubicBezTo>
                    <a:cubicBezTo>
                      <a:pt x="748344" y="191"/>
                      <a:pt x="620208" y="-5910"/>
                      <a:pt x="510378" y="3242"/>
                    </a:cubicBezTo>
                    <a:cubicBezTo>
                      <a:pt x="400547" y="12395"/>
                      <a:pt x="275463" y="85615"/>
                      <a:pt x="217496" y="149683"/>
                    </a:cubicBezTo>
                    <a:cubicBezTo>
                      <a:pt x="104614" y="268666"/>
                      <a:pt x="-60131" y="567649"/>
                      <a:pt x="22243" y="814768"/>
                    </a:cubicBezTo>
                    <a:cubicBezTo>
                      <a:pt x="55801" y="912395"/>
                      <a:pt x="125970" y="961208"/>
                      <a:pt x="214446" y="967310"/>
                    </a:cubicBezTo>
                    <a:cubicBezTo>
                      <a:pt x="336480" y="973412"/>
                      <a:pt x="464616" y="961208"/>
                      <a:pt x="586650" y="955107"/>
                    </a:cubicBezTo>
                    <a:cubicBezTo>
                      <a:pt x="763598" y="945954"/>
                      <a:pt x="964954" y="897141"/>
                      <a:pt x="1001564" y="662225"/>
                    </a:cubicBezTo>
                    <a:cubicBezTo>
                      <a:pt x="1016818" y="552395"/>
                      <a:pt x="1004614" y="433412"/>
                      <a:pt x="977158" y="329683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2753D9BC-75DB-4A8F-8224-D4A65149B252}"/>
                  </a:ext>
                </a:extLst>
              </p:cNvPr>
              <p:cNvSpPr/>
              <p:nvPr/>
            </p:nvSpPr>
            <p:spPr>
              <a:xfrm>
                <a:off x="24286570" y="4985089"/>
                <a:ext cx="749627" cy="400697"/>
              </a:xfrm>
              <a:custGeom>
                <a:avLst/>
                <a:gdLst>
                  <a:gd name="connsiteX0" fmla="*/ 287367 w 749627"/>
                  <a:gd name="connsiteY0" fmla="*/ 400698 h 400697"/>
                  <a:gd name="connsiteX1" fmla="*/ 46349 w 749627"/>
                  <a:gd name="connsiteY1" fmla="*/ 373240 h 400697"/>
                  <a:gd name="connsiteX2" fmla="*/ 24993 w 749627"/>
                  <a:gd name="connsiteY2" fmla="*/ 59002 h 400697"/>
                  <a:gd name="connsiteX3" fmla="*/ 665671 w 749627"/>
                  <a:gd name="connsiteY3" fmla="*/ 13240 h 400697"/>
                  <a:gd name="connsiteX4" fmla="*/ 735840 w 749627"/>
                  <a:gd name="connsiteY4" fmla="*/ 37647 h 400697"/>
                  <a:gd name="connsiteX5" fmla="*/ 683977 w 749627"/>
                  <a:gd name="connsiteY5" fmla="*/ 367138 h 400697"/>
                  <a:gd name="connsiteX6" fmla="*/ 287367 w 749627"/>
                  <a:gd name="connsiteY6" fmla="*/ 400698 h 400697"/>
                  <a:gd name="connsiteX7" fmla="*/ 433807 w 749627"/>
                  <a:gd name="connsiteY7" fmla="*/ 13240 h 400697"/>
                  <a:gd name="connsiteX8" fmla="*/ 31095 w 749627"/>
                  <a:gd name="connsiteY8" fmla="*/ 68155 h 400697"/>
                  <a:gd name="connsiteX9" fmla="*/ 52451 w 749627"/>
                  <a:gd name="connsiteY9" fmla="*/ 367138 h 400697"/>
                  <a:gd name="connsiteX10" fmla="*/ 674823 w 749627"/>
                  <a:gd name="connsiteY10" fmla="*/ 357986 h 400697"/>
                  <a:gd name="connsiteX11" fmla="*/ 729740 w 749627"/>
                  <a:gd name="connsiteY11" fmla="*/ 208494 h 400697"/>
                  <a:gd name="connsiteX12" fmla="*/ 723637 w 749627"/>
                  <a:gd name="connsiteY12" fmla="*/ 43748 h 400697"/>
                  <a:gd name="connsiteX13" fmla="*/ 662621 w 749627"/>
                  <a:gd name="connsiteY13" fmla="*/ 25443 h 400697"/>
                  <a:gd name="connsiteX14" fmla="*/ 433807 w 749627"/>
                  <a:gd name="connsiteY14" fmla="*/ 13240 h 400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49627" h="400697">
                    <a:moveTo>
                      <a:pt x="287367" y="400698"/>
                    </a:moveTo>
                    <a:cubicBezTo>
                      <a:pt x="168383" y="400698"/>
                      <a:pt x="64653" y="394596"/>
                      <a:pt x="46349" y="373240"/>
                    </a:cubicBezTo>
                    <a:cubicBezTo>
                      <a:pt x="-2464" y="327477"/>
                      <a:pt x="-17718" y="104765"/>
                      <a:pt x="24993" y="59002"/>
                    </a:cubicBezTo>
                    <a:cubicBezTo>
                      <a:pt x="82959" y="-5065"/>
                      <a:pt x="500926" y="-11167"/>
                      <a:pt x="665671" y="13240"/>
                    </a:cubicBezTo>
                    <a:cubicBezTo>
                      <a:pt x="720586" y="22392"/>
                      <a:pt x="732790" y="31545"/>
                      <a:pt x="735840" y="37647"/>
                    </a:cubicBezTo>
                    <a:cubicBezTo>
                      <a:pt x="766348" y="98664"/>
                      <a:pt x="744994" y="324426"/>
                      <a:pt x="683977" y="367138"/>
                    </a:cubicBezTo>
                    <a:cubicBezTo>
                      <a:pt x="653468" y="388494"/>
                      <a:pt x="455163" y="400698"/>
                      <a:pt x="287367" y="400698"/>
                    </a:cubicBezTo>
                    <a:close/>
                    <a:moveTo>
                      <a:pt x="433807" y="13240"/>
                    </a:moveTo>
                    <a:cubicBezTo>
                      <a:pt x="259908" y="13240"/>
                      <a:pt x="67705" y="28494"/>
                      <a:pt x="31095" y="68155"/>
                    </a:cubicBezTo>
                    <a:cubicBezTo>
                      <a:pt x="-8566" y="110867"/>
                      <a:pt x="6688" y="321376"/>
                      <a:pt x="52451" y="367138"/>
                    </a:cubicBezTo>
                    <a:cubicBezTo>
                      <a:pt x="98214" y="409850"/>
                      <a:pt x="632112" y="385443"/>
                      <a:pt x="674823" y="357986"/>
                    </a:cubicBezTo>
                    <a:cubicBezTo>
                      <a:pt x="699231" y="342731"/>
                      <a:pt x="720586" y="284765"/>
                      <a:pt x="729740" y="208494"/>
                    </a:cubicBezTo>
                    <a:cubicBezTo>
                      <a:pt x="738892" y="138325"/>
                      <a:pt x="735840" y="71206"/>
                      <a:pt x="723637" y="43748"/>
                    </a:cubicBezTo>
                    <a:cubicBezTo>
                      <a:pt x="723637" y="43748"/>
                      <a:pt x="717535" y="34596"/>
                      <a:pt x="662621" y="25443"/>
                    </a:cubicBezTo>
                    <a:cubicBezTo>
                      <a:pt x="607706" y="19342"/>
                      <a:pt x="522280" y="13240"/>
                      <a:pt x="433807" y="1324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E22033C4-0096-4F41-8017-20F21373DA7A}"/>
                  </a:ext>
                </a:extLst>
              </p:cNvPr>
              <p:cNvSpPr/>
              <p:nvPr/>
            </p:nvSpPr>
            <p:spPr>
              <a:xfrm>
                <a:off x="24358373" y="4589539"/>
                <a:ext cx="689017" cy="268451"/>
              </a:xfrm>
              <a:custGeom>
                <a:avLst/>
                <a:gdLst>
                  <a:gd name="connsiteX0" fmla="*/ 325394 w 689017"/>
                  <a:gd name="connsiteY0" fmla="*/ 268451 h 268451"/>
                  <a:gd name="connsiteX1" fmla="*/ 5055 w 689017"/>
                  <a:gd name="connsiteY1" fmla="*/ 250146 h 268451"/>
                  <a:gd name="connsiteX2" fmla="*/ 2005 w 689017"/>
                  <a:gd name="connsiteY2" fmla="*/ 240993 h 268451"/>
                  <a:gd name="connsiteX3" fmla="*/ 145393 w 689017"/>
                  <a:gd name="connsiteY3" fmla="*/ 42688 h 268451"/>
                  <a:gd name="connsiteX4" fmla="*/ 145393 w 689017"/>
                  <a:gd name="connsiteY4" fmla="*/ 42688 h 268451"/>
                  <a:gd name="connsiteX5" fmla="*/ 621327 w 689017"/>
                  <a:gd name="connsiteY5" fmla="*/ 36587 h 268451"/>
                  <a:gd name="connsiteX6" fmla="*/ 688446 w 689017"/>
                  <a:gd name="connsiteY6" fmla="*/ 164722 h 268451"/>
                  <a:gd name="connsiteX7" fmla="*/ 660987 w 689017"/>
                  <a:gd name="connsiteY7" fmla="*/ 237943 h 268451"/>
                  <a:gd name="connsiteX8" fmla="*/ 325394 w 689017"/>
                  <a:gd name="connsiteY8" fmla="*/ 268451 h 268451"/>
                  <a:gd name="connsiteX9" fmla="*/ 14207 w 689017"/>
                  <a:gd name="connsiteY9" fmla="*/ 240993 h 268451"/>
                  <a:gd name="connsiteX10" fmla="*/ 319292 w 689017"/>
                  <a:gd name="connsiteY10" fmla="*/ 259299 h 268451"/>
                  <a:gd name="connsiteX11" fmla="*/ 319292 w 689017"/>
                  <a:gd name="connsiteY11" fmla="*/ 259299 h 268451"/>
                  <a:gd name="connsiteX12" fmla="*/ 651835 w 689017"/>
                  <a:gd name="connsiteY12" fmla="*/ 228790 h 268451"/>
                  <a:gd name="connsiteX13" fmla="*/ 676241 w 689017"/>
                  <a:gd name="connsiteY13" fmla="*/ 164722 h 268451"/>
                  <a:gd name="connsiteX14" fmla="*/ 618275 w 689017"/>
                  <a:gd name="connsiteY14" fmla="*/ 45739 h 268451"/>
                  <a:gd name="connsiteX15" fmla="*/ 151495 w 689017"/>
                  <a:gd name="connsiteY15" fmla="*/ 51841 h 268451"/>
                  <a:gd name="connsiteX16" fmla="*/ 14207 w 689017"/>
                  <a:gd name="connsiteY16" fmla="*/ 240993 h 268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89017" h="268451">
                    <a:moveTo>
                      <a:pt x="325394" y="268451"/>
                    </a:moveTo>
                    <a:cubicBezTo>
                      <a:pt x="172852" y="268451"/>
                      <a:pt x="23359" y="259299"/>
                      <a:pt x="5055" y="250146"/>
                    </a:cubicBezTo>
                    <a:cubicBezTo>
                      <a:pt x="-1047" y="247095"/>
                      <a:pt x="-1047" y="244044"/>
                      <a:pt x="2005" y="240993"/>
                    </a:cubicBezTo>
                    <a:cubicBezTo>
                      <a:pt x="20309" y="128112"/>
                      <a:pt x="139293" y="45739"/>
                      <a:pt x="145393" y="42688"/>
                    </a:cubicBezTo>
                    <a:lnTo>
                      <a:pt x="145393" y="42688"/>
                    </a:lnTo>
                    <a:cubicBezTo>
                      <a:pt x="362004" y="-42735"/>
                      <a:pt x="593868" y="24383"/>
                      <a:pt x="621327" y="36587"/>
                    </a:cubicBezTo>
                    <a:cubicBezTo>
                      <a:pt x="642683" y="45739"/>
                      <a:pt x="682343" y="109807"/>
                      <a:pt x="688446" y="164722"/>
                    </a:cubicBezTo>
                    <a:cubicBezTo>
                      <a:pt x="691496" y="198282"/>
                      <a:pt x="682343" y="222688"/>
                      <a:pt x="660987" y="237943"/>
                    </a:cubicBezTo>
                    <a:cubicBezTo>
                      <a:pt x="627429" y="262349"/>
                      <a:pt x="474886" y="268451"/>
                      <a:pt x="325394" y="268451"/>
                    </a:cubicBezTo>
                    <a:close/>
                    <a:moveTo>
                      <a:pt x="14207" y="240993"/>
                    </a:moveTo>
                    <a:cubicBezTo>
                      <a:pt x="32513" y="250146"/>
                      <a:pt x="157597" y="259299"/>
                      <a:pt x="319292" y="259299"/>
                    </a:cubicBezTo>
                    <a:cubicBezTo>
                      <a:pt x="319292" y="259299"/>
                      <a:pt x="319292" y="259299"/>
                      <a:pt x="319292" y="259299"/>
                    </a:cubicBezTo>
                    <a:cubicBezTo>
                      <a:pt x="499293" y="259299"/>
                      <a:pt x="627429" y="247095"/>
                      <a:pt x="651835" y="228790"/>
                    </a:cubicBezTo>
                    <a:cubicBezTo>
                      <a:pt x="670139" y="216587"/>
                      <a:pt x="679291" y="195231"/>
                      <a:pt x="676241" y="164722"/>
                    </a:cubicBezTo>
                    <a:cubicBezTo>
                      <a:pt x="670139" y="112858"/>
                      <a:pt x="633529" y="54892"/>
                      <a:pt x="618275" y="45739"/>
                    </a:cubicBezTo>
                    <a:cubicBezTo>
                      <a:pt x="593868" y="33536"/>
                      <a:pt x="362004" y="-27481"/>
                      <a:pt x="151495" y="51841"/>
                    </a:cubicBezTo>
                    <a:cubicBezTo>
                      <a:pt x="142343" y="60994"/>
                      <a:pt x="29461" y="137265"/>
                      <a:pt x="14207" y="24099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B0D64339-0441-4CEC-83B0-2DEFF2E0A523}"/>
                  </a:ext>
                </a:extLst>
              </p:cNvPr>
              <p:cNvSpPr/>
              <p:nvPr/>
            </p:nvSpPr>
            <p:spPr>
              <a:xfrm>
                <a:off x="24665463" y="4659685"/>
                <a:ext cx="67117" cy="67118"/>
              </a:xfrm>
              <a:custGeom>
                <a:avLst/>
                <a:gdLst>
                  <a:gd name="connsiteX0" fmla="*/ 67117 w 67117"/>
                  <a:gd name="connsiteY0" fmla="*/ 33559 h 67118"/>
                  <a:gd name="connsiteX1" fmla="*/ 33559 w 67117"/>
                  <a:gd name="connsiteY1" fmla="*/ 67119 h 67118"/>
                  <a:gd name="connsiteX2" fmla="*/ 0 w 67117"/>
                  <a:gd name="connsiteY2" fmla="*/ 33559 h 67118"/>
                  <a:gd name="connsiteX3" fmla="*/ 33559 w 67117"/>
                  <a:gd name="connsiteY3" fmla="*/ 0 h 67118"/>
                  <a:gd name="connsiteX4" fmla="*/ 67117 w 67117"/>
                  <a:gd name="connsiteY4" fmla="*/ 33559 h 67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117" h="67118">
                    <a:moveTo>
                      <a:pt x="67117" y="33559"/>
                    </a:moveTo>
                    <a:cubicBezTo>
                      <a:pt x="67117" y="51865"/>
                      <a:pt x="51863" y="67119"/>
                      <a:pt x="33559" y="67119"/>
                    </a:cubicBezTo>
                    <a:cubicBezTo>
                      <a:pt x="15254" y="67119"/>
                      <a:pt x="0" y="51865"/>
                      <a:pt x="0" y="33559"/>
                    </a:cubicBezTo>
                    <a:cubicBezTo>
                      <a:pt x="0" y="15254"/>
                      <a:pt x="15254" y="0"/>
                      <a:pt x="33559" y="0"/>
                    </a:cubicBezTo>
                    <a:cubicBezTo>
                      <a:pt x="51863" y="0"/>
                      <a:pt x="67117" y="15254"/>
                      <a:pt x="67117" y="3355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628E8ACD-61D5-4894-9EB7-0D957604E301}"/>
                  </a:ext>
                </a:extLst>
              </p:cNvPr>
              <p:cNvSpPr/>
              <p:nvPr/>
            </p:nvSpPr>
            <p:spPr>
              <a:xfrm>
                <a:off x="24387834" y="5086803"/>
                <a:ext cx="67119" cy="67118"/>
              </a:xfrm>
              <a:custGeom>
                <a:avLst/>
                <a:gdLst>
                  <a:gd name="connsiteX0" fmla="*/ 67119 w 67119"/>
                  <a:gd name="connsiteY0" fmla="*/ 33559 h 67118"/>
                  <a:gd name="connsiteX1" fmla="*/ 33560 w 67119"/>
                  <a:gd name="connsiteY1" fmla="*/ 67119 h 67118"/>
                  <a:gd name="connsiteX2" fmla="*/ 0 w 67119"/>
                  <a:gd name="connsiteY2" fmla="*/ 33559 h 67118"/>
                  <a:gd name="connsiteX3" fmla="*/ 33560 w 67119"/>
                  <a:gd name="connsiteY3" fmla="*/ 0 h 67118"/>
                  <a:gd name="connsiteX4" fmla="*/ 67119 w 67119"/>
                  <a:gd name="connsiteY4" fmla="*/ 33559 h 67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119" h="67118">
                    <a:moveTo>
                      <a:pt x="67119" y="33559"/>
                    </a:moveTo>
                    <a:cubicBezTo>
                      <a:pt x="67119" y="51865"/>
                      <a:pt x="51865" y="67119"/>
                      <a:pt x="33560" y="67119"/>
                    </a:cubicBezTo>
                    <a:cubicBezTo>
                      <a:pt x="15254" y="67119"/>
                      <a:pt x="0" y="51865"/>
                      <a:pt x="0" y="33559"/>
                    </a:cubicBezTo>
                    <a:cubicBezTo>
                      <a:pt x="0" y="15254"/>
                      <a:pt x="15254" y="0"/>
                      <a:pt x="33560" y="0"/>
                    </a:cubicBezTo>
                    <a:cubicBezTo>
                      <a:pt x="51865" y="0"/>
                      <a:pt x="67119" y="15254"/>
                      <a:pt x="67119" y="3355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5FA8033E-4241-4B56-8EF8-72D7A3F8CFE3}"/>
                  </a:ext>
                </a:extLst>
              </p:cNvPr>
              <p:cNvSpPr/>
              <p:nvPr/>
            </p:nvSpPr>
            <p:spPr>
              <a:xfrm>
                <a:off x="24869868" y="5080702"/>
                <a:ext cx="67119" cy="67118"/>
              </a:xfrm>
              <a:custGeom>
                <a:avLst/>
                <a:gdLst>
                  <a:gd name="connsiteX0" fmla="*/ 67119 w 67119"/>
                  <a:gd name="connsiteY0" fmla="*/ 33559 h 67118"/>
                  <a:gd name="connsiteX1" fmla="*/ 33560 w 67119"/>
                  <a:gd name="connsiteY1" fmla="*/ 67119 h 67118"/>
                  <a:gd name="connsiteX2" fmla="*/ 0 w 67119"/>
                  <a:gd name="connsiteY2" fmla="*/ 33559 h 67118"/>
                  <a:gd name="connsiteX3" fmla="*/ 33560 w 67119"/>
                  <a:gd name="connsiteY3" fmla="*/ 0 h 67118"/>
                  <a:gd name="connsiteX4" fmla="*/ 67119 w 67119"/>
                  <a:gd name="connsiteY4" fmla="*/ 33559 h 67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119" h="67118">
                    <a:moveTo>
                      <a:pt x="67119" y="33559"/>
                    </a:moveTo>
                    <a:cubicBezTo>
                      <a:pt x="67119" y="51864"/>
                      <a:pt x="51865" y="67119"/>
                      <a:pt x="33560" y="67119"/>
                    </a:cubicBezTo>
                    <a:cubicBezTo>
                      <a:pt x="15254" y="67119"/>
                      <a:pt x="0" y="51864"/>
                      <a:pt x="0" y="33559"/>
                    </a:cubicBezTo>
                    <a:cubicBezTo>
                      <a:pt x="0" y="15254"/>
                      <a:pt x="15254" y="0"/>
                      <a:pt x="33560" y="0"/>
                    </a:cubicBezTo>
                    <a:cubicBezTo>
                      <a:pt x="51865" y="0"/>
                      <a:pt x="67119" y="15254"/>
                      <a:pt x="67119" y="3355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9" name="图形 114">
              <a:extLst>
                <a:ext uri="{FF2B5EF4-FFF2-40B4-BE49-F238E27FC236}">
                  <a16:creationId xmlns:a16="http://schemas.microsoft.com/office/drawing/2014/main" id="{719CEFBD-8A21-46F4-AD45-57B742C32A16}"/>
                </a:ext>
              </a:extLst>
            </p:cNvPr>
            <p:cNvGrpSpPr/>
            <p:nvPr/>
          </p:nvGrpSpPr>
          <p:grpSpPr>
            <a:xfrm>
              <a:off x="24681442" y="4235483"/>
              <a:ext cx="221986" cy="279382"/>
              <a:chOff x="24681442" y="4235483"/>
              <a:chExt cx="221986" cy="279382"/>
            </a:xfrm>
          </p:grpSpPr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9FBEC653-B7C7-42F9-AC7E-0DD94DE5B89A}"/>
                  </a:ext>
                </a:extLst>
              </p:cNvPr>
              <p:cNvSpPr/>
              <p:nvPr/>
            </p:nvSpPr>
            <p:spPr>
              <a:xfrm>
                <a:off x="24687473" y="4235483"/>
                <a:ext cx="215954" cy="279382"/>
              </a:xfrm>
              <a:custGeom>
                <a:avLst/>
                <a:gdLst>
                  <a:gd name="connsiteX0" fmla="*/ 194599 w 215954"/>
                  <a:gd name="connsiteY0" fmla="*/ 12337 h 279382"/>
                  <a:gd name="connsiteX1" fmla="*/ 66463 w 215954"/>
                  <a:gd name="connsiteY1" fmla="*/ 6236 h 279382"/>
                  <a:gd name="connsiteX2" fmla="*/ 5446 w 215954"/>
                  <a:gd name="connsiteY2" fmla="*/ 207592 h 279382"/>
                  <a:gd name="connsiteX3" fmla="*/ 17650 w 215954"/>
                  <a:gd name="connsiteY3" fmla="*/ 265558 h 279382"/>
                  <a:gd name="connsiteX4" fmla="*/ 54260 w 215954"/>
                  <a:gd name="connsiteY4" fmla="*/ 262507 h 279382"/>
                  <a:gd name="connsiteX5" fmla="*/ 106123 w 215954"/>
                  <a:gd name="connsiteY5" fmla="*/ 268609 h 279382"/>
                  <a:gd name="connsiteX6" fmla="*/ 136632 w 215954"/>
                  <a:gd name="connsiteY6" fmla="*/ 277761 h 279382"/>
                  <a:gd name="connsiteX7" fmla="*/ 164090 w 215954"/>
                  <a:gd name="connsiteY7" fmla="*/ 250303 h 279382"/>
                  <a:gd name="connsiteX8" fmla="*/ 212903 w 215954"/>
                  <a:gd name="connsiteY8" fmla="*/ 235049 h 279382"/>
                  <a:gd name="connsiteX9" fmla="*/ 206803 w 215954"/>
                  <a:gd name="connsiteY9" fmla="*/ 155727 h 279382"/>
                  <a:gd name="connsiteX10" fmla="*/ 215955 w 215954"/>
                  <a:gd name="connsiteY10" fmla="*/ 61151 h 279382"/>
                  <a:gd name="connsiteX11" fmla="*/ 194599 w 215954"/>
                  <a:gd name="connsiteY11" fmla="*/ 12337 h 279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5954" h="279382">
                    <a:moveTo>
                      <a:pt x="194599" y="12337"/>
                    </a:moveTo>
                    <a:cubicBezTo>
                      <a:pt x="157988" y="-9019"/>
                      <a:pt x="66463" y="3185"/>
                      <a:pt x="66463" y="6236"/>
                    </a:cubicBezTo>
                    <a:cubicBezTo>
                      <a:pt x="45106" y="91659"/>
                      <a:pt x="14598" y="119117"/>
                      <a:pt x="5446" y="207592"/>
                    </a:cubicBezTo>
                    <a:cubicBezTo>
                      <a:pt x="5446" y="222846"/>
                      <a:pt x="-12859" y="253354"/>
                      <a:pt x="17650" y="265558"/>
                    </a:cubicBezTo>
                    <a:cubicBezTo>
                      <a:pt x="26802" y="268609"/>
                      <a:pt x="42056" y="274710"/>
                      <a:pt x="54260" y="262507"/>
                    </a:cubicBezTo>
                    <a:cubicBezTo>
                      <a:pt x="63413" y="283863"/>
                      <a:pt x="103073" y="283863"/>
                      <a:pt x="106123" y="268609"/>
                    </a:cubicBezTo>
                    <a:cubicBezTo>
                      <a:pt x="109175" y="274710"/>
                      <a:pt x="127480" y="280812"/>
                      <a:pt x="136632" y="277761"/>
                    </a:cubicBezTo>
                    <a:cubicBezTo>
                      <a:pt x="154938" y="274710"/>
                      <a:pt x="161040" y="268609"/>
                      <a:pt x="164090" y="250303"/>
                    </a:cubicBezTo>
                    <a:cubicBezTo>
                      <a:pt x="182395" y="262507"/>
                      <a:pt x="206803" y="259456"/>
                      <a:pt x="212903" y="235049"/>
                    </a:cubicBezTo>
                    <a:cubicBezTo>
                      <a:pt x="219005" y="201490"/>
                      <a:pt x="206803" y="189287"/>
                      <a:pt x="206803" y="155727"/>
                    </a:cubicBezTo>
                    <a:cubicBezTo>
                      <a:pt x="206803" y="122168"/>
                      <a:pt x="215955" y="91659"/>
                      <a:pt x="215955" y="61151"/>
                    </a:cubicBezTo>
                    <a:cubicBezTo>
                      <a:pt x="215955" y="30642"/>
                      <a:pt x="215955" y="24541"/>
                      <a:pt x="194599" y="1233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F50B93E8-95BC-4B57-A5DB-5BB3845F0CB6}"/>
                  </a:ext>
                </a:extLst>
              </p:cNvPr>
              <p:cNvSpPr/>
              <p:nvPr/>
            </p:nvSpPr>
            <p:spPr>
              <a:xfrm>
                <a:off x="24681442" y="4354600"/>
                <a:ext cx="69444" cy="152542"/>
              </a:xfrm>
              <a:custGeom>
                <a:avLst/>
                <a:gdLst>
                  <a:gd name="connsiteX0" fmla="*/ 32834 w 69444"/>
                  <a:gd name="connsiteY0" fmla="*/ 152542 h 152542"/>
                  <a:gd name="connsiteX1" fmla="*/ 17579 w 69444"/>
                  <a:gd name="connsiteY1" fmla="*/ 149492 h 152542"/>
                  <a:gd name="connsiteX2" fmla="*/ 2325 w 69444"/>
                  <a:gd name="connsiteY2" fmla="*/ 128136 h 152542"/>
                  <a:gd name="connsiteX3" fmla="*/ 32834 w 69444"/>
                  <a:gd name="connsiteY3" fmla="*/ 3051 h 152542"/>
                  <a:gd name="connsiteX4" fmla="*/ 41986 w 69444"/>
                  <a:gd name="connsiteY4" fmla="*/ 0 h 152542"/>
                  <a:gd name="connsiteX5" fmla="*/ 45038 w 69444"/>
                  <a:gd name="connsiteY5" fmla="*/ 9153 h 152542"/>
                  <a:gd name="connsiteX6" fmla="*/ 17579 w 69444"/>
                  <a:gd name="connsiteY6" fmla="*/ 125085 h 152542"/>
                  <a:gd name="connsiteX7" fmla="*/ 26732 w 69444"/>
                  <a:gd name="connsiteY7" fmla="*/ 137288 h 152542"/>
                  <a:gd name="connsiteX8" fmla="*/ 60292 w 69444"/>
                  <a:gd name="connsiteY8" fmla="*/ 131187 h 152542"/>
                  <a:gd name="connsiteX9" fmla="*/ 69444 w 69444"/>
                  <a:gd name="connsiteY9" fmla="*/ 134237 h 152542"/>
                  <a:gd name="connsiteX10" fmla="*/ 66392 w 69444"/>
                  <a:gd name="connsiteY10" fmla="*/ 143390 h 152542"/>
                  <a:gd name="connsiteX11" fmla="*/ 32834 w 69444"/>
                  <a:gd name="connsiteY11" fmla="*/ 152542 h 152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9444" h="152542">
                    <a:moveTo>
                      <a:pt x="32834" y="152542"/>
                    </a:moveTo>
                    <a:cubicBezTo>
                      <a:pt x="26732" y="152542"/>
                      <a:pt x="23682" y="152542"/>
                      <a:pt x="17579" y="149492"/>
                    </a:cubicBezTo>
                    <a:cubicBezTo>
                      <a:pt x="8427" y="146441"/>
                      <a:pt x="2325" y="140339"/>
                      <a:pt x="2325" y="128136"/>
                    </a:cubicBezTo>
                    <a:cubicBezTo>
                      <a:pt x="-9879" y="85424"/>
                      <a:pt x="29784" y="6102"/>
                      <a:pt x="32834" y="3051"/>
                    </a:cubicBezTo>
                    <a:cubicBezTo>
                      <a:pt x="32834" y="0"/>
                      <a:pt x="38936" y="0"/>
                      <a:pt x="41986" y="0"/>
                    </a:cubicBezTo>
                    <a:cubicBezTo>
                      <a:pt x="45038" y="0"/>
                      <a:pt x="45038" y="6102"/>
                      <a:pt x="45038" y="9153"/>
                    </a:cubicBezTo>
                    <a:cubicBezTo>
                      <a:pt x="45038" y="9153"/>
                      <a:pt x="5375" y="88475"/>
                      <a:pt x="17579" y="125085"/>
                    </a:cubicBezTo>
                    <a:cubicBezTo>
                      <a:pt x="20630" y="131187"/>
                      <a:pt x="23682" y="137288"/>
                      <a:pt x="26732" y="137288"/>
                    </a:cubicBezTo>
                    <a:cubicBezTo>
                      <a:pt x="38936" y="143390"/>
                      <a:pt x="54190" y="134237"/>
                      <a:pt x="60292" y="131187"/>
                    </a:cubicBezTo>
                    <a:cubicBezTo>
                      <a:pt x="63342" y="131187"/>
                      <a:pt x="66392" y="131187"/>
                      <a:pt x="69444" y="134237"/>
                    </a:cubicBezTo>
                    <a:cubicBezTo>
                      <a:pt x="69444" y="137288"/>
                      <a:pt x="69444" y="140339"/>
                      <a:pt x="66392" y="143390"/>
                    </a:cubicBezTo>
                    <a:cubicBezTo>
                      <a:pt x="60292" y="146441"/>
                      <a:pt x="45038" y="152542"/>
                      <a:pt x="32834" y="15254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B459DC69-6B10-431C-85DB-0CA0B16D4A37}"/>
                  </a:ext>
                </a:extLst>
              </p:cNvPr>
              <p:cNvSpPr/>
              <p:nvPr/>
            </p:nvSpPr>
            <p:spPr>
              <a:xfrm>
                <a:off x="24756988" y="4443075"/>
                <a:ext cx="88473" cy="24406"/>
              </a:xfrm>
              <a:custGeom>
                <a:avLst/>
                <a:gdLst>
                  <a:gd name="connsiteX0" fmla="*/ 12202 w 88473"/>
                  <a:gd name="connsiteY0" fmla="*/ 24407 h 24406"/>
                  <a:gd name="connsiteX1" fmla="*/ 6100 w 88473"/>
                  <a:gd name="connsiteY1" fmla="*/ 24407 h 24406"/>
                  <a:gd name="connsiteX2" fmla="*/ 0 w 88473"/>
                  <a:gd name="connsiteY2" fmla="*/ 18305 h 24406"/>
                  <a:gd name="connsiteX3" fmla="*/ 6100 w 88473"/>
                  <a:gd name="connsiteY3" fmla="*/ 12203 h 24406"/>
                  <a:gd name="connsiteX4" fmla="*/ 82371 w 88473"/>
                  <a:gd name="connsiteY4" fmla="*/ 0 h 24406"/>
                  <a:gd name="connsiteX5" fmla="*/ 88473 w 88473"/>
                  <a:gd name="connsiteY5" fmla="*/ 3051 h 24406"/>
                  <a:gd name="connsiteX6" fmla="*/ 85423 w 88473"/>
                  <a:gd name="connsiteY6" fmla="*/ 9153 h 24406"/>
                  <a:gd name="connsiteX7" fmla="*/ 12202 w 88473"/>
                  <a:gd name="connsiteY7" fmla="*/ 24407 h 24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473" h="24406">
                    <a:moveTo>
                      <a:pt x="12202" y="24407"/>
                    </a:moveTo>
                    <a:cubicBezTo>
                      <a:pt x="9152" y="24407"/>
                      <a:pt x="6100" y="24407"/>
                      <a:pt x="6100" y="24407"/>
                    </a:cubicBezTo>
                    <a:cubicBezTo>
                      <a:pt x="3050" y="24407"/>
                      <a:pt x="0" y="21356"/>
                      <a:pt x="0" y="18305"/>
                    </a:cubicBezTo>
                    <a:cubicBezTo>
                      <a:pt x="0" y="15254"/>
                      <a:pt x="3050" y="12203"/>
                      <a:pt x="6100" y="12203"/>
                    </a:cubicBezTo>
                    <a:cubicBezTo>
                      <a:pt x="21354" y="15254"/>
                      <a:pt x="67117" y="3051"/>
                      <a:pt x="82371" y="0"/>
                    </a:cubicBezTo>
                    <a:cubicBezTo>
                      <a:pt x="85423" y="0"/>
                      <a:pt x="88473" y="0"/>
                      <a:pt x="88473" y="3051"/>
                    </a:cubicBezTo>
                    <a:cubicBezTo>
                      <a:pt x="88473" y="6102"/>
                      <a:pt x="88473" y="9153"/>
                      <a:pt x="85423" y="9153"/>
                    </a:cubicBezTo>
                    <a:cubicBezTo>
                      <a:pt x="82371" y="12203"/>
                      <a:pt x="33559" y="24407"/>
                      <a:pt x="12202" y="2440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67BB0A7C-529E-400A-9484-0223D7939B11}"/>
                </a:ext>
              </a:extLst>
            </p:cNvPr>
            <p:cNvSpPr/>
            <p:nvPr/>
          </p:nvSpPr>
          <p:spPr>
            <a:xfrm>
              <a:off x="24242527" y="3060679"/>
              <a:ext cx="681607" cy="1249174"/>
            </a:xfrm>
            <a:custGeom>
              <a:avLst/>
              <a:gdLst>
                <a:gd name="connsiteX0" fmla="*/ 111749 w 681607"/>
                <a:gd name="connsiteY0" fmla="*/ 375615 h 1249174"/>
                <a:gd name="connsiteX1" fmla="*/ 343613 w 681607"/>
                <a:gd name="connsiteY1" fmla="*/ 647141 h 1249174"/>
                <a:gd name="connsiteX2" fmla="*/ 490053 w 681607"/>
                <a:gd name="connsiteY2" fmla="*/ 1232903 h 1249174"/>
                <a:gd name="connsiteX3" fmla="*/ 679206 w 681607"/>
                <a:gd name="connsiteY3" fmla="*/ 1223751 h 1249174"/>
                <a:gd name="connsiteX4" fmla="*/ 602935 w 681607"/>
                <a:gd name="connsiteY4" fmla="*/ 540361 h 1249174"/>
                <a:gd name="connsiteX5" fmla="*/ 285648 w 681607"/>
                <a:gd name="connsiteY5" fmla="*/ 88836 h 1249174"/>
                <a:gd name="connsiteX6" fmla="*/ 26326 w 681607"/>
                <a:gd name="connsiteY6" fmla="*/ 15615 h 1249174"/>
                <a:gd name="connsiteX7" fmla="*/ 111749 w 681607"/>
                <a:gd name="connsiteY7" fmla="*/ 375615 h 124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1607" h="1249174">
                  <a:moveTo>
                    <a:pt x="111749" y="375615"/>
                  </a:moveTo>
                  <a:cubicBezTo>
                    <a:pt x="169714" y="442734"/>
                    <a:pt x="297850" y="567819"/>
                    <a:pt x="343613" y="647141"/>
                  </a:cubicBezTo>
                  <a:cubicBezTo>
                    <a:pt x="410732" y="760022"/>
                    <a:pt x="483953" y="1229853"/>
                    <a:pt x="490053" y="1232903"/>
                  </a:cubicBezTo>
                  <a:cubicBezTo>
                    <a:pt x="557172" y="1257310"/>
                    <a:pt x="618189" y="1254260"/>
                    <a:pt x="679206" y="1223751"/>
                  </a:cubicBezTo>
                  <a:cubicBezTo>
                    <a:pt x="688358" y="1220700"/>
                    <a:pt x="673104" y="750870"/>
                    <a:pt x="602935" y="540361"/>
                  </a:cubicBezTo>
                  <a:cubicBezTo>
                    <a:pt x="581578" y="476293"/>
                    <a:pt x="419884" y="201717"/>
                    <a:pt x="285648" y="88836"/>
                  </a:cubicBezTo>
                  <a:cubicBezTo>
                    <a:pt x="218529" y="33920"/>
                    <a:pt x="72088" y="-30147"/>
                    <a:pt x="26326" y="15615"/>
                  </a:cubicBezTo>
                  <a:cubicBezTo>
                    <a:pt x="-40793" y="97988"/>
                    <a:pt x="32426" y="284090"/>
                    <a:pt x="111749" y="375615"/>
                  </a:cubicBezTo>
                  <a:close/>
                </a:path>
              </a:pathLst>
            </a:custGeom>
            <a:solidFill>
              <a:srgbClr val="F1DDB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241F74AB-0138-4576-8F15-814E85EA00B4}"/>
                </a:ext>
              </a:extLst>
            </p:cNvPr>
            <p:cNvSpPr/>
            <p:nvPr/>
          </p:nvSpPr>
          <p:spPr>
            <a:xfrm>
              <a:off x="24241891" y="3074007"/>
              <a:ext cx="224503" cy="484322"/>
            </a:xfrm>
            <a:custGeom>
              <a:avLst/>
              <a:gdLst>
                <a:gd name="connsiteX0" fmla="*/ 216112 w 224503"/>
                <a:gd name="connsiteY0" fmla="*/ 481271 h 484322"/>
                <a:gd name="connsiteX1" fmla="*/ 213062 w 224503"/>
                <a:gd name="connsiteY1" fmla="*/ 481271 h 484322"/>
                <a:gd name="connsiteX2" fmla="*/ 30011 w 224503"/>
                <a:gd name="connsiteY2" fmla="*/ 237203 h 484322"/>
                <a:gd name="connsiteX3" fmla="*/ 26961 w 224503"/>
                <a:gd name="connsiteY3" fmla="*/ 2288 h 484322"/>
                <a:gd name="connsiteX4" fmla="*/ 36114 w 224503"/>
                <a:gd name="connsiteY4" fmla="*/ 2288 h 484322"/>
                <a:gd name="connsiteX5" fmla="*/ 36114 w 224503"/>
                <a:gd name="connsiteY5" fmla="*/ 11441 h 484322"/>
                <a:gd name="connsiteX6" fmla="*/ 42216 w 224503"/>
                <a:gd name="connsiteY6" fmla="*/ 234153 h 484322"/>
                <a:gd name="connsiteX7" fmla="*/ 222214 w 224503"/>
                <a:gd name="connsiteY7" fmla="*/ 475170 h 484322"/>
                <a:gd name="connsiteX8" fmla="*/ 222214 w 224503"/>
                <a:gd name="connsiteY8" fmla="*/ 484322 h 484322"/>
                <a:gd name="connsiteX9" fmla="*/ 216112 w 224503"/>
                <a:gd name="connsiteY9" fmla="*/ 481271 h 484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503" h="484322">
                  <a:moveTo>
                    <a:pt x="216112" y="481271"/>
                  </a:moveTo>
                  <a:cubicBezTo>
                    <a:pt x="216112" y="481271"/>
                    <a:pt x="213062" y="481271"/>
                    <a:pt x="213062" y="481271"/>
                  </a:cubicBezTo>
                  <a:cubicBezTo>
                    <a:pt x="213062" y="481271"/>
                    <a:pt x="94078" y="389746"/>
                    <a:pt x="30011" y="237203"/>
                  </a:cubicBezTo>
                  <a:cubicBezTo>
                    <a:pt x="-34056" y="81610"/>
                    <a:pt x="23909" y="5339"/>
                    <a:pt x="26961" y="2288"/>
                  </a:cubicBezTo>
                  <a:cubicBezTo>
                    <a:pt x="30011" y="-763"/>
                    <a:pt x="33062" y="-763"/>
                    <a:pt x="36114" y="2288"/>
                  </a:cubicBezTo>
                  <a:cubicBezTo>
                    <a:pt x="39164" y="5339"/>
                    <a:pt x="39164" y="8390"/>
                    <a:pt x="36114" y="11441"/>
                  </a:cubicBezTo>
                  <a:cubicBezTo>
                    <a:pt x="36114" y="11441"/>
                    <a:pt x="-18801" y="87712"/>
                    <a:pt x="42216" y="234153"/>
                  </a:cubicBezTo>
                  <a:cubicBezTo>
                    <a:pt x="106283" y="383644"/>
                    <a:pt x="222214" y="472119"/>
                    <a:pt x="222214" y="475170"/>
                  </a:cubicBezTo>
                  <a:cubicBezTo>
                    <a:pt x="225266" y="478220"/>
                    <a:pt x="225266" y="481271"/>
                    <a:pt x="222214" y="484322"/>
                  </a:cubicBezTo>
                  <a:cubicBezTo>
                    <a:pt x="219164" y="481271"/>
                    <a:pt x="219164" y="481271"/>
                    <a:pt x="216112" y="481271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08705260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35D657F0-7B1E-482D-971D-5407D7378F8D}"/>
              </a:ext>
            </a:extLst>
          </p:cNvPr>
          <p:cNvGrpSpPr/>
          <p:nvPr/>
        </p:nvGrpSpPr>
        <p:grpSpPr>
          <a:xfrm>
            <a:off x="2177345" y="1982463"/>
            <a:ext cx="7694435" cy="4877389"/>
            <a:chOff x="10618635" y="1779248"/>
            <a:chExt cx="7694435" cy="4877389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3FE0F831-B96F-4080-9630-FFC2C8D05683}"/>
                </a:ext>
              </a:extLst>
            </p:cNvPr>
            <p:cNvSpPr/>
            <p:nvPr/>
          </p:nvSpPr>
          <p:spPr>
            <a:xfrm>
              <a:off x="13029037" y="2866653"/>
              <a:ext cx="280800" cy="261653"/>
            </a:xfrm>
            <a:custGeom>
              <a:avLst/>
              <a:gdLst>
                <a:gd name="connsiteX0" fmla="*/ 74057 w 280800"/>
                <a:gd name="connsiteY0" fmla="*/ 213072 h 261653"/>
                <a:gd name="connsiteX1" fmla="*/ 206743 w 280800"/>
                <a:gd name="connsiteY1" fmla="*/ 256272 h 261653"/>
                <a:gd name="connsiteX2" fmla="*/ 280800 w 280800"/>
                <a:gd name="connsiteY2" fmla="*/ 132843 h 261653"/>
                <a:gd name="connsiteX3" fmla="*/ 37029 w 280800"/>
                <a:gd name="connsiteY3" fmla="*/ 158 h 261653"/>
                <a:gd name="connsiteX4" fmla="*/ 21600 w 280800"/>
                <a:gd name="connsiteY4" fmla="*/ 46443 h 261653"/>
                <a:gd name="connsiteX5" fmla="*/ 0 w 280800"/>
                <a:gd name="connsiteY5" fmla="*/ 98900 h 261653"/>
                <a:gd name="connsiteX6" fmla="*/ 12343 w 280800"/>
                <a:gd name="connsiteY6" fmla="*/ 135929 h 261653"/>
                <a:gd name="connsiteX7" fmla="*/ 40115 w 280800"/>
                <a:gd name="connsiteY7" fmla="*/ 185300 h 261653"/>
                <a:gd name="connsiteX8" fmla="*/ 74057 w 280800"/>
                <a:gd name="connsiteY8" fmla="*/ 213072 h 261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800" h="261653">
                  <a:moveTo>
                    <a:pt x="74057" y="213072"/>
                  </a:moveTo>
                  <a:cubicBezTo>
                    <a:pt x="117258" y="228500"/>
                    <a:pt x="163543" y="277872"/>
                    <a:pt x="206743" y="256272"/>
                  </a:cubicBezTo>
                  <a:cubicBezTo>
                    <a:pt x="234514" y="240843"/>
                    <a:pt x="280800" y="132843"/>
                    <a:pt x="280800" y="132843"/>
                  </a:cubicBezTo>
                  <a:cubicBezTo>
                    <a:pt x="277714" y="46443"/>
                    <a:pt x="104914" y="9415"/>
                    <a:pt x="37029" y="158"/>
                  </a:cubicBezTo>
                  <a:cubicBezTo>
                    <a:pt x="24686" y="-2928"/>
                    <a:pt x="12343" y="40272"/>
                    <a:pt x="21600" y="46443"/>
                  </a:cubicBezTo>
                  <a:cubicBezTo>
                    <a:pt x="40115" y="58786"/>
                    <a:pt x="0" y="86557"/>
                    <a:pt x="0" y="98900"/>
                  </a:cubicBezTo>
                  <a:cubicBezTo>
                    <a:pt x="0" y="111243"/>
                    <a:pt x="12343" y="132843"/>
                    <a:pt x="12343" y="135929"/>
                  </a:cubicBezTo>
                  <a:cubicBezTo>
                    <a:pt x="18514" y="154443"/>
                    <a:pt x="40115" y="176043"/>
                    <a:pt x="40115" y="185300"/>
                  </a:cubicBezTo>
                  <a:cubicBezTo>
                    <a:pt x="40115" y="200729"/>
                    <a:pt x="46286" y="203815"/>
                    <a:pt x="74057" y="213072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AC9CDA5A-F4CE-4A2A-8DE4-6E4501EC900C}"/>
                </a:ext>
              </a:extLst>
            </p:cNvPr>
            <p:cNvSpPr/>
            <p:nvPr/>
          </p:nvSpPr>
          <p:spPr>
            <a:xfrm>
              <a:off x="13204923" y="2984067"/>
              <a:ext cx="160456" cy="237600"/>
            </a:xfrm>
            <a:custGeom>
              <a:avLst/>
              <a:gdLst>
                <a:gd name="connsiteX0" fmla="*/ 89486 w 160456"/>
                <a:gd name="connsiteY0" fmla="*/ 0 h 237600"/>
                <a:gd name="connsiteX1" fmla="*/ 160457 w 160456"/>
                <a:gd name="connsiteY1" fmla="*/ 101829 h 237600"/>
                <a:gd name="connsiteX2" fmla="*/ 83314 w 160456"/>
                <a:gd name="connsiteY2" fmla="*/ 237600 h 237600"/>
                <a:gd name="connsiteX3" fmla="*/ 0 w 160456"/>
                <a:gd name="connsiteY3" fmla="*/ 120343 h 237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456" h="237600">
                  <a:moveTo>
                    <a:pt x="89486" y="0"/>
                  </a:moveTo>
                  <a:lnTo>
                    <a:pt x="160457" y="101829"/>
                  </a:lnTo>
                  <a:lnTo>
                    <a:pt x="83314" y="237600"/>
                  </a:lnTo>
                  <a:lnTo>
                    <a:pt x="0" y="120343"/>
                  </a:ln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74FC8301-25A5-4B9F-86C3-B07FE8D1C30F}"/>
                </a:ext>
              </a:extLst>
            </p:cNvPr>
            <p:cNvGrpSpPr/>
            <p:nvPr/>
          </p:nvGrpSpPr>
          <p:grpSpPr>
            <a:xfrm>
              <a:off x="16017872" y="4172827"/>
              <a:ext cx="2295198" cy="2416645"/>
              <a:chOff x="16017872" y="4172827"/>
              <a:chExt cx="2295198" cy="2416645"/>
            </a:xfrm>
          </p:grpSpPr>
          <p:sp>
            <p:nvSpPr>
              <p:cNvPr id="201" name="任意多边形: 形状 200">
                <a:extLst>
                  <a:ext uri="{FF2B5EF4-FFF2-40B4-BE49-F238E27FC236}">
                    <a16:creationId xmlns:a16="http://schemas.microsoft.com/office/drawing/2014/main" id="{5F5A9C8D-1FB8-425A-B5C9-2CE5B614BCF8}"/>
                  </a:ext>
                </a:extLst>
              </p:cNvPr>
              <p:cNvSpPr/>
              <p:nvPr/>
            </p:nvSpPr>
            <p:spPr>
              <a:xfrm>
                <a:off x="16017872" y="4814652"/>
                <a:ext cx="555009" cy="1225483"/>
              </a:xfrm>
              <a:custGeom>
                <a:avLst/>
                <a:gdLst>
                  <a:gd name="connsiteX0" fmla="*/ 541222 w 555009"/>
                  <a:gd name="connsiteY0" fmla="*/ 514558 h 1225483"/>
                  <a:gd name="connsiteX1" fmla="*/ 451736 w 555009"/>
                  <a:gd name="connsiteY1" fmla="*/ 153530 h 1225483"/>
                  <a:gd name="connsiteX2" fmla="*/ 241908 w 555009"/>
                  <a:gd name="connsiteY2" fmla="*/ 2330 h 1225483"/>
                  <a:gd name="connsiteX3" fmla="*/ 28994 w 555009"/>
                  <a:gd name="connsiteY3" fmla="*/ 215244 h 1225483"/>
                  <a:gd name="connsiteX4" fmla="*/ 35165 w 555009"/>
                  <a:gd name="connsiteY4" fmla="*/ 579358 h 1225483"/>
                  <a:gd name="connsiteX5" fmla="*/ 399280 w 555009"/>
                  <a:gd name="connsiteY5" fmla="*/ 1215016 h 1225483"/>
                  <a:gd name="connsiteX6" fmla="*/ 408537 w 555009"/>
                  <a:gd name="connsiteY6" fmla="*/ 1218101 h 1225483"/>
                  <a:gd name="connsiteX7" fmla="*/ 430137 w 555009"/>
                  <a:gd name="connsiteY7" fmla="*/ 1224273 h 1225483"/>
                  <a:gd name="connsiteX8" fmla="*/ 547394 w 555009"/>
                  <a:gd name="connsiteY8" fmla="*/ 989759 h 1225483"/>
                  <a:gd name="connsiteX9" fmla="*/ 541222 w 555009"/>
                  <a:gd name="connsiteY9" fmla="*/ 514558 h 122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55009" h="1225483">
                    <a:moveTo>
                      <a:pt x="541222" y="514558"/>
                    </a:moveTo>
                    <a:cubicBezTo>
                      <a:pt x="528879" y="391130"/>
                      <a:pt x="510365" y="264616"/>
                      <a:pt x="451736" y="153530"/>
                    </a:cubicBezTo>
                    <a:cubicBezTo>
                      <a:pt x="411623" y="79473"/>
                      <a:pt x="334480" y="-16184"/>
                      <a:pt x="241908" y="2330"/>
                    </a:cubicBezTo>
                    <a:cubicBezTo>
                      <a:pt x="146251" y="20844"/>
                      <a:pt x="66022" y="128844"/>
                      <a:pt x="28994" y="215244"/>
                    </a:cubicBezTo>
                    <a:cubicBezTo>
                      <a:pt x="-20378" y="335587"/>
                      <a:pt x="1222" y="459016"/>
                      <a:pt x="35165" y="579358"/>
                    </a:cubicBezTo>
                    <a:cubicBezTo>
                      <a:pt x="96879" y="798444"/>
                      <a:pt x="174022" y="1107016"/>
                      <a:pt x="399280" y="1215016"/>
                    </a:cubicBezTo>
                    <a:cubicBezTo>
                      <a:pt x="402365" y="1215016"/>
                      <a:pt x="405451" y="1218101"/>
                      <a:pt x="408537" y="1218101"/>
                    </a:cubicBezTo>
                    <a:cubicBezTo>
                      <a:pt x="414708" y="1224273"/>
                      <a:pt x="420879" y="1227358"/>
                      <a:pt x="430137" y="1224273"/>
                    </a:cubicBezTo>
                    <a:cubicBezTo>
                      <a:pt x="516537" y="1174901"/>
                      <a:pt x="538137" y="1082330"/>
                      <a:pt x="547394" y="989759"/>
                    </a:cubicBezTo>
                    <a:cubicBezTo>
                      <a:pt x="559736" y="832387"/>
                      <a:pt x="556651" y="668844"/>
                      <a:pt x="541222" y="514558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2" name="任意多边形: 形状 201">
                <a:extLst>
                  <a:ext uri="{FF2B5EF4-FFF2-40B4-BE49-F238E27FC236}">
                    <a16:creationId xmlns:a16="http://schemas.microsoft.com/office/drawing/2014/main" id="{0F0E8830-8A71-4138-8193-79297E25A374}"/>
                  </a:ext>
                </a:extLst>
              </p:cNvPr>
              <p:cNvSpPr/>
              <p:nvPr/>
            </p:nvSpPr>
            <p:spPr>
              <a:xfrm>
                <a:off x="16553975" y="4172827"/>
                <a:ext cx="609170" cy="1473152"/>
              </a:xfrm>
              <a:custGeom>
                <a:avLst/>
                <a:gdLst>
                  <a:gd name="connsiteX0" fmla="*/ 538948 w 609170"/>
                  <a:gd name="connsiteY0" fmla="*/ 246097 h 1473152"/>
                  <a:gd name="connsiteX1" fmla="*/ 82262 w 609170"/>
                  <a:gd name="connsiteY1" fmla="*/ 39355 h 1473152"/>
                  <a:gd name="connsiteX2" fmla="*/ 2034 w 609170"/>
                  <a:gd name="connsiteY2" fmla="*/ 230669 h 1473152"/>
                  <a:gd name="connsiteX3" fmla="*/ 76091 w 609170"/>
                  <a:gd name="connsiteY3" fmla="*/ 687355 h 1473152"/>
                  <a:gd name="connsiteX4" fmla="*/ 245805 w 609170"/>
                  <a:gd name="connsiteY4" fmla="*/ 1455698 h 1473152"/>
                  <a:gd name="connsiteX5" fmla="*/ 251976 w 609170"/>
                  <a:gd name="connsiteY5" fmla="*/ 1464955 h 1473152"/>
                  <a:gd name="connsiteX6" fmla="*/ 255062 w 609170"/>
                  <a:gd name="connsiteY6" fmla="*/ 1468040 h 1473152"/>
                  <a:gd name="connsiteX7" fmla="*/ 276662 w 609170"/>
                  <a:gd name="connsiteY7" fmla="*/ 1471126 h 1473152"/>
                  <a:gd name="connsiteX8" fmla="*/ 437119 w 609170"/>
                  <a:gd name="connsiteY8" fmla="*/ 1347698 h 1473152"/>
                  <a:gd name="connsiteX9" fmla="*/ 563633 w 609170"/>
                  <a:gd name="connsiteY9" fmla="*/ 977412 h 1473152"/>
                  <a:gd name="connsiteX10" fmla="*/ 538948 w 609170"/>
                  <a:gd name="connsiteY10" fmla="*/ 246097 h 1473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9170" h="1473152">
                    <a:moveTo>
                      <a:pt x="538948" y="246097"/>
                    </a:moveTo>
                    <a:cubicBezTo>
                      <a:pt x="464891" y="79469"/>
                      <a:pt x="261234" y="-74817"/>
                      <a:pt x="82262" y="39355"/>
                    </a:cubicBezTo>
                    <a:cubicBezTo>
                      <a:pt x="14376" y="82555"/>
                      <a:pt x="-7224" y="150440"/>
                      <a:pt x="2034" y="230669"/>
                    </a:cubicBezTo>
                    <a:cubicBezTo>
                      <a:pt x="20547" y="384955"/>
                      <a:pt x="69919" y="529983"/>
                      <a:pt x="76091" y="687355"/>
                    </a:cubicBezTo>
                    <a:cubicBezTo>
                      <a:pt x="88433" y="949640"/>
                      <a:pt x="45234" y="1252040"/>
                      <a:pt x="245805" y="1455698"/>
                    </a:cubicBezTo>
                    <a:cubicBezTo>
                      <a:pt x="245805" y="1458783"/>
                      <a:pt x="248891" y="1461869"/>
                      <a:pt x="251976" y="1464955"/>
                    </a:cubicBezTo>
                    <a:cubicBezTo>
                      <a:pt x="251976" y="1464955"/>
                      <a:pt x="255062" y="1468040"/>
                      <a:pt x="255062" y="1468040"/>
                    </a:cubicBezTo>
                    <a:cubicBezTo>
                      <a:pt x="261234" y="1474212"/>
                      <a:pt x="270490" y="1474212"/>
                      <a:pt x="276662" y="1471126"/>
                    </a:cubicBezTo>
                    <a:cubicBezTo>
                      <a:pt x="356891" y="1483469"/>
                      <a:pt x="403177" y="1418669"/>
                      <a:pt x="437119" y="1347698"/>
                    </a:cubicBezTo>
                    <a:cubicBezTo>
                      <a:pt x="489576" y="1230440"/>
                      <a:pt x="532776" y="1103926"/>
                      <a:pt x="563633" y="977412"/>
                    </a:cubicBezTo>
                    <a:cubicBezTo>
                      <a:pt x="619177" y="742897"/>
                      <a:pt x="637690" y="471355"/>
                      <a:pt x="538948" y="246097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3" name="任意多边形: 形状 202">
                <a:extLst>
                  <a:ext uri="{FF2B5EF4-FFF2-40B4-BE49-F238E27FC236}">
                    <a16:creationId xmlns:a16="http://schemas.microsoft.com/office/drawing/2014/main" id="{357CF3AF-A3D4-4250-B9C2-E73D8197215B}"/>
                  </a:ext>
                </a:extLst>
              </p:cNvPr>
              <p:cNvSpPr/>
              <p:nvPr/>
            </p:nvSpPr>
            <p:spPr>
              <a:xfrm>
                <a:off x="17321593" y="4349179"/>
                <a:ext cx="991477" cy="1554671"/>
              </a:xfrm>
              <a:custGeom>
                <a:avLst/>
                <a:gdLst>
                  <a:gd name="connsiteX0" fmla="*/ 984016 w 991477"/>
                  <a:gd name="connsiteY0" fmla="*/ 369060 h 1554671"/>
                  <a:gd name="connsiteX1" fmla="*/ 835902 w 991477"/>
                  <a:gd name="connsiteY1" fmla="*/ 63574 h 1554671"/>
                  <a:gd name="connsiteX2" fmla="*/ 518072 w 991477"/>
                  <a:gd name="connsiteY2" fmla="*/ 26546 h 1554671"/>
                  <a:gd name="connsiteX3" fmla="*/ 249616 w 991477"/>
                  <a:gd name="connsiteY3" fmla="*/ 720831 h 1554671"/>
                  <a:gd name="connsiteX4" fmla="*/ 33616 w 991477"/>
                  <a:gd name="connsiteY4" fmla="*/ 1192946 h 1554671"/>
                  <a:gd name="connsiteX5" fmla="*/ 70644 w 991477"/>
                  <a:gd name="connsiteY5" fmla="*/ 1532374 h 1554671"/>
                  <a:gd name="connsiteX6" fmla="*/ 86072 w 991477"/>
                  <a:gd name="connsiteY6" fmla="*/ 1535460 h 1554671"/>
                  <a:gd name="connsiteX7" fmla="*/ 721730 w 991477"/>
                  <a:gd name="connsiteY7" fmla="*/ 1155917 h 1554671"/>
                  <a:gd name="connsiteX8" fmla="*/ 984016 w 991477"/>
                  <a:gd name="connsiteY8" fmla="*/ 369060 h 1554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91477" h="1554671">
                    <a:moveTo>
                      <a:pt x="984016" y="369060"/>
                    </a:moveTo>
                    <a:cubicBezTo>
                      <a:pt x="968587" y="254889"/>
                      <a:pt x="931559" y="137632"/>
                      <a:pt x="835902" y="63574"/>
                    </a:cubicBezTo>
                    <a:cubicBezTo>
                      <a:pt x="746416" y="-4311"/>
                      <a:pt x="622988" y="-19740"/>
                      <a:pt x="518072" y="26546"/>
                    </a:cubicBezTo>
                    <a:cubicBezTo>
                      <a:pt x="265044" y="140717"/>
                      <a:pt x="302072" y="495574"/>
                      <a:pt x="249616" y="720831"/>
                    </a:cubicBezTo>
                    <a:cubicBezTo>
                      <a:pt x="209501" y="896717"/>
                      <a:pt x="89158" y="1026317"/>
                      <a:pt x="33616" y="1192946"/>
                    </a:cubicBezTo>
                    <a:cubicBezTo>
                      <a:pt x="-3413" y="1300946"/>
                      <a:pt x="-31184" y="1452146"/>
                      <a:pt x="70644" y="1532374"/>
                    </a:cubicBezTo>
                    <a:cubicBezTo>
                      <a:pt x="73730" y="1535460"/>
                      <a:pt x="79902" y="1538546"/>
                      <a:pt x="86072" y="1535460"/>
                    </a:cubicBezTo>
                    <a:cubicBezTo>
                      <a:pt x="339101" y="1634203"/>
                      <a:pt x="582873" y="1328717"/>
                      <a:pt x="721730" y="1155917"/>
                    </a:cubicBezTo>
                    <a:cubicBezTo>
                      <a:pt x="897616" y="939917"/>
                      <a:pt x="1024130" y="659117"/>
                      <a:pt x="984016" y="369060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4" name="任意多边形: 形状 203">
                <a:extLst>
                  <a:ext uri="{FF2B5EF4-FFF2-40B4-BE49-F238E27FC236}">
                    <a16:creationId xmlns:a16="http://schemas.microsoft.com/office/drawing/2014/main" id="{0A8385E0-38B0-4219-8150-B13FD67D8503}"/>
                  </a:ext>
                </a:extLst>
              </p:cNvPr>
              <p:cNvSpPr/>
              <p:nvPr/>
            </p:nvSpPr>
            <p:spPr>
              <a:xfrm>
                <a:off x="16791538" y="4642891"/>
                <a:ext cx="113354" cy="1898098"/>
              </a:xfrm>
              <a:custGeom>
                <a:avLst/>
                <a:gdLst>
                  <a:gd name="connsiteX0" fmla="*/ 113156 w 113354"/>
                  <a:gd name="connsiteY0" fmla="*/ 1874319 h 1898098"/>
                  <a:gd name="connsiteX1" fmla="*/ 73042 w 113354"/>
                  <a:gd name="connsiteY1" fmla="*/ 880719 h 1898098"/>
                  <a:gd name="connsiteX2" fmla="*/ 66871 w 113354"/>
                  <a:gd name="connsiteY2" fmla="*/ 13634 h 1898098"/>
                  <a:gd name="connsiteX3" fmla="*/ 29842 w 113354"/>
                  <a:gd name="connsiteY3" fmla="*/ 22891 h 1898098"/>
                  <a:gd name="connsiteX4" fmla="*/ 20585 w 113354"/>
                  <a:gd name="connsiteY4" fmla="*/ 979462 h 1898098"/>
                  <a:gd name="connsiteX5" fmla="*/ 76127 w 113354"/>
                  <a:gd name="connsiteY5" fmla="*/ 1883576 h 1898098"/>
                  <a:gd name="connsiteX6" fmla="*/ 113156 w 113354"/>
                  <a:gd name="connsiteY6" fmla="*/ 1874319 h 1898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3354" h="1898098">
                    <a:moveTo>
                      <a:pt x="113156" y="1874319"/>
                    </a:moveTo>
                    <a:cubicBezTo>
                      <a:pt x="29842" y="1544148"/>
                      <a:pt x="23671" y="1217062"/>
                      <a:pt x="73042" y="880719"/>
                    </a:cubicBezTo>
                    <a:cubicBezTo>
                      <a:pt x="116242" y="587576"/>
                      <a:pt x="125499" y="303691"/>
                      <a:pt x="66871" y="13634"/>
                    </a:cubicBezTo>
                    <a:cubicBezTo>
                      <a:pt x="63785" y="-11052"/>
                      <a:pt x="26757" y="1291"/>
                      <a:pt x="29842" y="22891"/>
                    </a:cubicBezTo>
                    <a:cubicBezTo>
                      <a:pt x="94642" y="349976"/>
                      <a:pt x="63785" y="652376"/>
                      <a:pt x="20585" y="979462"/>
                    </a:cubicBezTo>
                    <a:cubicBezTo>
                      <a:pt x="-19529" y="1281862"/>
                      <a:pt x="-1015" y="1587348"/>
                      <a:pt x="76127" y="1883576"/>
                    </a:cubicBezTo>
                    <a:cubicBezTo>
                      <a:pt x="82299" y="1908262"/>
                      <a:pt x="116242" y="1899005"/>
                      <a:pt x="113156" y="1874319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5" name="任意多边形: 形状 204">
                <a:extLst>
                  <a:ext uri="{FF2B5EF4-FFF2-40B4-BE49-F238E27FC236}">
                    <a16:creationId xmlns:a16="http://schemas.microsoft.com/office/drawing/2014/main" id="{0C7F4191-5214-459F-AF4F-544D1D95B4AC}"/>
                  </a:ext>
                </a:extLst>
              </p:cNvPr>
              <p:cNvSpPr/>
              <p:nvPr/>
            </p:nvSpPr>
            <p:spPr>
              <a:xfrm>
                <a:off x="16981092" y="4810859"/>
                <a:ext cx="982001" cy="1778613"/>
              </a:xfrm>
              <a:custGeom>
                <a:avLst/>
                <a:gdLst>
                  <a:gd name="connsiteX0" fmla="*/ 941888 w 982001"/>
                  <a:gd name="connsiteY0" fmla="*/ 12294 h 1778613"/>
                  <a:gd name="connsiteX1" fmla="*/ 747488 w 982001"/>
                  <a:gd name="connsiteY1" fmla="*/ 583151 h 1778613"/>
                  <a:gd name="connsiteX2" fmla="*/ 463602 w 982001"/>
                  <a:gd name="connsiteY2" fmla="*/ 993551 h 1778613"/>
                  <a:gd name="connsiteX3" fmla="*/ 745 w 982001"/>
                  <a:gd name="connsiteY3" fmla="*/ 1755723 h 1778613"/>
                  <a:gd name="connsiteX4" fmla="*/ 37774 w 982001"/>
                  <a:gd name="connsiteY4" fmla="*/ 1764980 h 1778613"/>
                  <a:gd name="connsiteX5" fmla="*/ 562345 w 982001"/>
                  <a:gd name="connsiteY5" fmla="*/ 931837 h 1778613"/>
                  <a:gd name="connsiteX6" fmla="*/ 803031 w 982001"/>
                  <a:gd name="connsiteY6" fmla="*/ 564637 h 1778613"/>
                  <a:gd name="connsiteX7" fmla="*/ 982002 w 982001"/>
                  <a:gd name="connsiteY7" fmla="*/ 21551 h 1778613"/>
                  <a:gd name="connsiteX8" fmla="*/ 941888 w 982001"/>
                  <a:gd name="connsiteY8" fmla="*/ 12294 h 1778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2001" h="1778613">
                    <a:moveTo>
                      <a:pt x="941888" y="12294"/>
                    </a:moveTo>
                    <a:cubicBezTo>
                      <a:pt x="892516" y="206694"/>
                      <a:pt x="843144" y="404180"/>
                      <a:pt x="747488" y="583151"/>
                    </a:cubicBezTo>
                    <a:cubicBezTo>
                      <a:pt x="670345" y="731265"/>
                      <a:pt x="565430" y="863951"/>
                      <a:pt x="463602" y="993551"/>
                    </a:cubicBezTo>
                    <a:cubicBezTo>
                      <a:pt x="278459" y="1228066"/>
                      <a:pt x="84059" y="1462580"/>
                      <a:pt x="745" y="1755723"/>
                    </a:cubicBezTo>
                    <a:cubicBezTo>
                      <a:pt x="-5427" y="1777322"/>
                      <a:pt x="28516" y="1789666"/>
                      <a:pt x="37774" y="1764980"/>
                    </a:cubicBezTo>
                    <a:cubicBezTo>
                      <a:pt x="127259" y="1440980"/>
                      <a:pt x="358688" y="1191037"/>
                      <a:pt x="562345" y="931837"/>
                    </a:cubicBezTo>
                    <a:cubicBezTo>
                      <a:pt x="651831" y="814580"/>
                      <a:pt x="738230" y="697323"/>
                      <a:pt x="803031" y="564637"/>
                    </a:cubicBezTo>
                    <a:cubicBezTo>
                      <a:pt x="889430" y="391837"/>
                      <a:pt x="935716" y="206694"/>
                      <a:pt x="982002" y="21551"/>
                    </a:cubicBezTo>
                    <a:cubicBezTo>
                      <a:pt x="982002" y="-49"/>
                      <a:pt x="948060" y="-9306"/>
                      <a:pt x="941888" y="1229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6" name="任意多边形: 形状 205">
                <a:extLst>
                  <a:ext uri="{FF2B5EF4-FFF2-40B4-BE49-F238E27FC236}">
                    <a16:creationId xmlns:a16="http://schemas.microsoft.com/office/drawing/2014/main" id="{D37BCECF-5CD2-422D-968F-E68D18CD56C6}"/>
                  </a:ext>
                </a:extLst>
              </p:cNvPr>
              <p:cNvSpPr/>
              <p:nvPr/>
            </p:nvSpPr>
            <p:spPr>
              <a:xfrm>
                <a:off x="16327483" y="5307610"/>
                <a:ext cx="290422" cy="1207805"/>
              </a:xfrm>
              <a:custGeom>
                <a:avLst/>
                <a:gdLst>
                  <a:gd name="connsiteX0" fmla="*/ 210012 w 290422"/>
                  <a:gd name="connsiteY0" fmla="*/ 981257 h 1207805"/>
                  <a:gd name="connsiteX1" fmla="*/ 139040 w 290422"/>
                  <a:gd name="connsiteY1" fmla="*/ 654172 h 1207805"/>
                  <a:gd name="connsiteX2" fmla="*/ 37211 w 290422"/>
                  <a:gd name="connsiteY2" fmla="*/ 18514 h 1207805"/>
                  <a:gd name="connsiteX3" fmla="*/ 182 w 290422"/>
                  <a:gd name="connsiteY3" fmla="*/ 18514 h 1207805"/>
                  <a:gd name="connsiteX4" fmla="*/ 68068 w 290422"/>
                  <a:gd name="connsiteY4" fmla="*/ 324000 h 1207805"/>
                  <a:gd name="connsiteX5" fmla="*/ 98926 w 290422"/>
                  <a:gd name="connsiteY5" fmla="*/ 688114 h 1207805"/>
                  <a:gd name="connsiteX6" fmla="*/ 142125 w 290422"/>
                  <a:gd name="connsiteY6" fmla="*/ 922629 h 1207805"/>
                  <a:gd name="connsiteX7" fmla="*/ 253211 w 290422"/>
                  <a:gd name="connsiteY7" fmla="*/ 1194172 h 1207805"/>
                  <a:gd name="connsiteX8" fmla="*/ 290240 w 290422"/>
                  <a:gd name="connsiteY8" fmla="*/ 1184915 h 1207805"/>
                  <a:gd name="connsiteX9" fmla="*/ 210012 w 290422"/>
                  <a:gd name="connsiteY9" fmla="*/ 981257 h 1207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0422" h="1207805">
                    <a:moveTo>
                      <a:pt x="210012" y="981257"/>
                    </a:moveTo>
                    <a:cubicBezTo>
                      <a:pt x="154468" y="873257"/>
                      <a:pt x="132869" y="777600"/>
                      <a:pt x="139040" y="654172"/>
                    </a:cubicBezTo>
                    <a:cubicBezTo>
                      <a:pt x="148297" y="432000"/>
                      <a:pt x="61897" y="237600"/>
                      <a:pt x="37211" y="18514"/>
                    </a:cubicBezTo>
                    <a:cubicBezTo>
                      <a:pt x="34125" y="-6171"/>
                      <a:pt x="-2903" y="-6171"/>
                      <a:pt x="182" y="18514"/>
                    </a:cubicBezTo>
                    <a:cubicBezTo>
                      <a:pt x="12526" y="123429"/>
                      <a:pt x="46468" y="222171"/>
                      <a:pt x="68068" y="324000"/>
                    </a:cubicBezTo>
                    <a:cubicBezTo>
                      <a:pt x="95840" y="447428"/>
                      <a:pt x="102012" y="561600"/>
                      <a:pt x="98926" y="688114"/>
                    </a:cubicBezTo>
                    <a:cubicBezTo>
                      <a:pt x="95840" y="771428"/>
                      <a:pt x="105097" y="845486"/>
                      <a:pt x="142125" y="922629"/>
                    </a:cubicBezTo>
                    <a:cubicBezTo>
                      <a:pt x="182240" y="1015200"/>
                      <a:pt x="237783" y="1095429"/>
                      <a:pt x="253211" y="1194172"/>
                    </a:cubicBezTo>
                    <a:cubicBezTo>
                      <a:pt x="256297" y="1218857"/>
                      <a:pt x="293325" y="1206514"/>
                      <a:pt x="290240" y="1184915"/>
                    </a:cubicBezTo>
                    <a:cubicBezTo>
                      <a:pt x="277897" y="1110857"/>
                      <a:pt x="243955" y="1046057"/>
                      <a:pt x="210012" y="98125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C10DA310-3D82-4CFA-9E0B-BD0CDA926984}"/>
                </a:ext>
              </a:extLst>
            </p:cNvPr>
            <p:cNvSpPr/>
            <p:nvPr/>
          </p:nvSpPr>
          <p:spPr>
            <a:xfrm>
              <a:off x="13204923" y="2620612"/>
              <a:ext cx="1196065" cy="1119633"/>
            </a:xfrm>
            <a:custGeom>
              <a:avLst/>
              <a:gdLst>
                <a:gd name="connsiteX0" fmla="*/ 1129372 w 1196065"/>
                <a:gd name="connsiteY0" fmla="*/ 8598 h 1119633"/>
                <a:gd name="connsiteX1" fmla="*/ 752914 w 1196065"/>
                <a:gd name="connsiteY1" fmla="*/ 344941 h 1119633"/>
                <a:gd name="connsiteX2" fmla="*/ 533828 w 1196065"/>
                <a:gd name="connsiteY2" fmla="*/ 789284 h 1119633"/>
                <a:gd name="connsiteX3" fmla="*/ 151200 w 1196065"/>
                <a:gd name="connsiteY3" fmla="*/ 394312 h 1119633"/>
                <a:gd name="connsiteX4" fmla="*/ 0 w 1196065"/>
                <a:gd name="connsiteY4" fmla="*/ 551684 h 1119633"/>
                <a:gd name="connsiteX5" fmla="*/ 533828 w 1196065"/>
                <a:gd name="connsiteY5" fmla="*/ 1119455 h 1119633"/>
                <a:gd name="connsiteX6" fmla="*/ 1129372 w 1196065"/>
                <a:gd name="connsiteY6" fmla="*/ 8598 h 1119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6065" h="1119633">
                  <a:moveTo>
                    <a:pt x="1129372" y="8598"/>
                  </a:moveTo>
                  <a:cubicBezTo>
                    <a:pt x="1005943" y="-53117"/>
                    <a:pt x="823885" y="233855"/>
                    <a:pt x="752914" y="344941"/>
                  </a:cubicBezTo>
                  <a:cubicBezTo>
                    <a:pt x="691200" y="443683"/>
                    <a:pt x="533828" y="789284"/>
                    <a:pt x="533828" y="789284"/>
                  </a:cubicBezTo>
                  <a:lnTo>
                    <a:pt x="151200" y="394312"/>
                  </a:lnTo>
                  <a:lnTo>
                    <a:pt x="0" y="551684"/>
                  </a:lnTo>
                  <a:cubicBezTo>
                    <a:pt x="0" y="551684"/>
                    <a:pt x="404229" y="1113284"/>
                    <a:pt x="533828" y="1119455"/>
                  </a:cubicBezTo>
                  <a:cubicBezTo>
                    <a:pt x="756000" y="1134883"/>
                    <a:pt x="1404000" y="147455"/>
                    <a:pt x="1129372" y="8598"/>
                  </a:cubicBezTo>
                  <a:close/>
                </a:path>
              </a:pathLst>
            </a:custGeom>
            <a:solidFill>
              <a:srgbClr val="7F95BC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FB813527-32FF-4B96-A8F6-21A8771528F1}"/>
                </a:ext>
              </a:extLst>
            </p:cNvPr>
            <p:cNvGrpSpPr/>
            <p:nvPr/>
          </p:nvGrpSpPr>
          <p:grpSpPr>
            <a:xfrm>
              <a:off x="11725875" y="6239496"/>
              <a:ext cx="368961" cy="393912"/>
              <a:chOff x="11725875" y="6239496"/>
              <a:chExt cx="368961" cy="393912"/>
            </a:xfrm>
          </p:grpSpPr>
          <p:sp>
            <p:nvSpPr>
              <p:cNvPr id="199" name="任意多边形: 形状 198">
                <a:extLst>
                  <a:ext uri="{FF2B5EF4-FFF2-40B4-BE49-F238E27FC236}">
                    <a16:creationId xmlns:a16="http://schemas.microsoft.com/office/drawing/2014/main" id="{B56762FB-3E25-491A-AF8C-32F95D1DF26F}"/>
                  </a:ext>
                </a:extLst>
              </p:cNvPr>
              <p:cNvSpPr/>
              <p:nvPr/>
            </p:nvSpPr>
            <p:spPr>
              <a:xfrm>
                <a:off x="11725875" y="6369096"/>
                <a:ext cx="368961" cy="264312"/>
              </a:xfrm>
              <a:custGeom>
                <a:avLst/>
                <a:gdLst>
                  <a:gd name="connsiteX0" fmla="*/ 139848 w 368961"/>
                  <a:gd name="connsiteY0" fmla="*/ 0 h 264312"/>
                  <a:gd name="connsiteX1" fmla="*/ 260190 w 368961"/>
                  <a:gd name="connsiteY1" fmla="*/ 166628 h 264312"/>
                  <a:gd name="connsiteX2" fmla="*/ 41105 w 368961"/>
                  <a:gd name="connsiteY2" fmla="*/ 37028 h 264312"/>
                  <a:gd name="connsiteX3" fmla="*/ 19504 w 368961"/>
                  <a:gd name="connsiteY3" fmla="*/ 21600 h 264312"/>
                  <a:gd name="connsiteX4" fmla="*/ 991 w 368961"/>
                  <a:gd name="connsiteY4" fmla="*/ 98743 h 264312"/>
                  <a:gd name="connsiteX5" fmla="*/ 13333 w 368961"/>
                  <a:gd name="connsiteY5" fmla="*/ 237600 h 264312"/>
                  <a:gd name="connsiteX6" fmla="*/ 41105 w 368961"/>
                  <a:gd name="connsiteY6" fmla="*/ 237600 h 264312"/>
                  <a:gd name="connsiteX7" fmla="*/ 56533 w 368961"/>
                  <a:gd name="connsiteY7" fmla="*/ 126514 h 264312"/>
                  <a:gd name="connsiteX8" fmla="*/ 201562 w 368961"/>
                  <a:gd name="connsiteY8" fmla="*/ 259200 h 264312"/>
                  <a:gd name="connsiteX9" fmla="*/ 362019 w 368961"/>
                  <a:gd name="connsiteY9" fmla="*/ 262286 h 264312"/>
                  <a:gd name="connsiteX10" fmla="*/ 362019 w 368961"/>
                  <a:gd name="connsiteY10" fmla="*/ 216000 h 264312"/>
                  <a:gd name="connsiteX11" fmla="*/ 139848 w 368961"/>
                  <a:gd name="connsiteY11" fmla="*/ 0 h 26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8961" h="264312">
                    <a:moveTo>
                      <a:pt x="139848" y="0"/>
                    </a:moveTo>
                    <a:cubicBezTo>
                      <a:pt x="139848" y="0"/>
                      <a:pt x="275619" y="157371"/>
                      <a:pt x="260190" y="166628"/>
                    </a:cubicBezTo>
                    <a:cubicBezTo>
                      <a:pt x="241676" y="175886"/>
                      <a:pt x="41105" y="37028"/>
                      <a:pt x="41105" y="37028"/>
                    </a:cubicBezTo>
                    <a:lnTo>
                      <a:pt x="19504" y="21600"/>
                    </a:lnTo>
                    <a:cubicBezTo>
                      <a:pt x="19504" y="21600"/>
                      <a:pt x="-5181" y="70972"/>
                      <a:pt x="991" y="98743"/>
                    </a:cubicBezTo>
                    <a:cubicBezTo>
                      <a:pt x="7161" y="126514"/>
                      <a:pt x="13333" y="237600"/>
                      <a:pt x="13333" y="237600"/>
                    </a:cubicBezTo>
                    <a:lnTo>
                      <a:pt x="41105" y="237600"/>
                    </a:lnTo>
                    <a:lnTo>
                      <a:pt x="56533" y="126514"/>
                    </a:lnTo>
                    <a:cubicBezTo>
                      <a:pt x="56533" y="126514"/>
                      <a:pt x="179962" y="256114"/>
                      <a:pt x="201562" y="259200"/>
                    </a:cubicBezTo>
                    <a:cubicBezTo>
                      <a:pt x="223161" y="265371"/>
                      <a:pt x="349676" y="265371"/>
                      <a:pt x="362019" y="262286"/>
                    </a:cubicBezTo>
                    <a:cubicBezTo>
                      <a:pt x="371276" y="262286"/>
                      <a:pt x="371276" y="222171"/>
                      <a:pt x="362019" y="216000"/>
                    </a:cubicBezTo>
                    <a:cubicBezTo>
                      <a:pt x="281790" y="172800"/>
                      <a:pt x="139848" y="0"/>
                      <a:pt x="139848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0" name="任意多边形: 形状 199">
                <a:extLst>
                  <a:ext uri="{FF2B5EF4-FFF2-40B4-BE49-F238E27FC236}">
                    <a16:creationId xmlns:a16="http://schemas.microsoft.com/office/drawing/2014/main" id="{B7B04494-5B4D-4EBF-A367-D08DC8843133}"/>
                  </a:ext>
                </a:extLst>
              </p:cNvPr>
              <p:cNvSpPr/>
              <p:nvPr/>
            </p:nvSpPr>
            <p:spPr>
              <a:xfrm>
                <a:off x="11748433" y="6239496"/>
                <a:ext cx="239869" cy="297991"/>
              </a:xfrm>
              <a:custGeom>
                <a:avLst/>
                <a:gdLst>
                  <a:gd name="connsiteX0" fmla="*/ 67918 w 239869"/>
                  <a:gd name="connsiteY0" fmla="*/ 0 h 297991"/>
                  <a:gd name="connsiteX1" fmla="*/ 117290 w 239869"/>
                  <a:gd name="connsiteY1" fmla="*/ 129600 h 297991"/>
                  <a:gd name="connsiteX2" fmla="*/ 237633 w 239869"/>
                  <a:gd name="connsiteY2" fmla="*/ 296228 h 297991"/>
                  <a:gd name="connsiteX3" fmla="*/ 32 w 239869"/>
                  <a:gd name="connsiteY3" fmla="*/ 151200 h 297991"/>
                  <a:gd name="connsiteX4" fmla="*/ 9290 w 239869"/>
                  <a:gd name="connsiteY4" fmla="*/ 0 h 297991"/>
                  <a:gd name="connsiteX5" fmla="*/ 67918 w 239869"/>
                  <a:gd name="connsiteY5" fmla="*/ 0 h 297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9869" h="297991">
                    <a:moveTo>
                      <a:pt x="67918" y="0"/>
                    </a:moveTo>
                    <a:lnTo>
                      <a:pt x="117290" y="129600"/>
                    </a:lnTo>
                    <a:cubicBezTo>
                      <a:pt x="117290" y="129600"/>
                      <a:pt x="259232" y="280800"/>
                      <a:pt x="237633" y="296228"/>
                    </a:cubicBezTo>
                    <a:cubicBezTo>
                      <a:pt x="216032" y="314743"/>
                      <a:pt x="-3054" y="182057"/>
                      <a:pt x="32" y="151200"/>
                    </a:cubicBezTo>
                    <a:cubicBezTo>
                      <a:pt x="32" y="101828"/>
                      <a:pt x="9290" y="0"/>
                      <a:pt x="9290" y="0"/>
                    </a:cubicBezTo>
                    <a:lnTo>
                      <a:pt x="67918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A8ADC513-F7EC-43FF-85AF-E4B3CEDFEA81}"/>
                </a:ext>
              </a:extLst>
            </p:cNvPr>
            <p:cNvGrpSpPr/>
            <p:nvPr/>
          </p:nvGrpSpPr>
          <p:grpSpPr>
            <a:xfrm>
              <a:off x="10862866" y="6180867"/>
              <a:ext cx="333025" cy="459953"/>
              <a:chOff x="10862866" y="6180867"/>
              <a:chExt cx="333025" cy="459953"/>
            </a:xfrm>
          </p:grpSpPr>
          <p:sp>
            <p:nvSpPr>
              <p:cNvPr id="197" name="任意多边形: 形状 196">
                <a:extLst>
                  <a:ext uri="{FF2B5EF4-FFF2-40B4-BE49-F238E27FC236}">
                    <a16:creationId xmlns:a16="http://schemas.microsoft.com/office/drawing/2014/main" id="{12108D6E-8E90-4281-91A3-68AF8E84B004}"/>
                  </a:ext>
                </a:extLst>
              </p:cNvPr>
              <p:cNvSpPr/>
              <p:nvPr/>
            </p:nvSpPr>
            <p:spPr>
              <a:xfrm>
                <a:off x="10862866" y="6291953"/>
                <a:ext cx="333025" cy="348867"/>
              </a:xfrm>
              <a:custGeom>
                <a:avLst/>
                <a:gdLst>
                  <a:gd name="connsiteX0" fmla="*/ 197486 w 333025"/>
                  <a:gd name="connsiteY0" fmla="*/ 18514 h 348867"/>
                  <a:gd name="connsiteX1" fmla="*/ 253028 w 333025"/>
                  <a:gd name="connsiteY1" fmla="*/ 216000 h 348867"/>
                  <a:gd name="connsiteX2" fmla="*/ 92571 w 333025"/>
                  <a:gd name="connsiteY2" fmla="*/ 21600 h 348867"/>
                  <a:gd name="connsiteX3" fmla="*/ 80228 w 333025"/>
                  <a:gd name="connsiteY3" fmla="*/ 0 h 348867"/>
                  <a:gd name="connsiteX4" fmla="*/ 37028 w 333025"/>
                  <a:gd name="connsiteY4" fmla="*/ 67886 h 348867"/>
                  <a:gd name="connsiteX5" fmla="*/ 0 w 333025"/>
                  <a:gd name="connsiteY5" fmla="*/ 203657 h 348867"/>
                  <a:gd name="connsiteX6" fmla="*/ 24685 w 333025"/>
                  <a:gd name="connsiteY6" fmla="*/ 212914 h 348867"/>
                  <a:gd name="connsiteX7" fmla="*/ 77143 w 333025"/>
                  <a:gd name="connsiteY7" fmla="*/ 114171 h 348867"/>
                  <a:gd name="connsiteX8" fmla="*/ 166628 w 333025"/>
                  <a:gd name="connsiteY8" fmla="*/ 290057 h 348867"/>
                  <a:gd name="connsiteX9" fmla="*/ 314742 w 333025"/>
                  <a:gd name="connsiteY9" fmla="*/ 348686 h 348867"/>
                  <a:gd name="connsiteX10" fmla="*/ 330171 w 333025"/>
                  <a:gd name="connsiteY10" fmla="*/ 302400 h 348867"/>
                  <a:gd name="connsiteX11" fmla="*/ 197486 w 333025"/>
                  <a:gd name="connsiteY11" fmla="*/ 18514 h 348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025" h="348867">
                    <a:moveTo>
                      <a:pt x="197486" y="18514"/>
                    </a:moveTo>
                    <a:cubicBezTo>
                      <a:pt x="197486" y="18514"/>
                      <a:pt x="271543" y="212914"/>
                      <a:pt x="253028" y="216000"/>
                    </a:cubicBezTo>
                    <a:cubicBezTo>
                      <a:pt x="234514" y="219085"/>
                      <a:pt x="92571" y="21600"/>
                      <a:pt x="92571" y="21600"/>
                    </a:cubicBezTo>
                    <a:lnTo>
                      <a:pt x="80228" y="0"/>
                    </a:lnTo>
                    <a:cubicBezTo>
                      <a:pt x="80228" y="0"/>
                      <a:pt x="40114" y="40114"/>
                      <a:pt x="37028" y="67886"/>
                    </a:cubicBezTo>
                    <a:cubicBezTo>
                      <a:pt x="30857" y="95657"/>
                      <a:pt x="0" y="203657"/>
                      <a:pt x="0" y="203657"/>
                    </a:cubicBezTo>
                    <a:lnTo>
                      <a:pt x="24685" y="212914"/>
                    </a:lnTo>
                    <a:lnTo>
                      <a:pt x="77143" y="114171"/>
                    </a:lnTo>
                    <a:cubicBezTo>
                      <a:pt x="77143" y="114171"/>
                      <a:pt x="148114" y="277714"/>
                      <a:pt x="166628" y="290057"/>
                    </a:cubicBezTo>
                    <a:cubicBezTo>
                      <a:pt x="185143" y="302400"/>
                      <a:pt x="305486" y="345600"/>
                      <a:pt x="314742" y="348686"/>
                    </a:cubicBezTo>
                    <a:cubicBezTo>
                      <a:pt x="324000" y="351771"/>
                      <a:pt x="339429" y="314743"/>
                      <a:pt x="330171" y="302400"/>
                    </a:cubicBezTo>
                    <a:cubicBezTo>
                      <a:pt x="271543" y="228343"/>
                      <a:pt x="197486" y="18514"/>
                      <a:pt x="197486" y="18514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8" name="任意多边形: 形状 197">
                <a:extLst>
                  <a:ext uri="{FF2B5EF4-FFF2-40B4-BE49-F238E27FC236}">
                    <a16:creationId xmlns:a16="http://schemas.microsoft.com/office/drawing/2014/main" id="{08012033-61AB-4478-BC38-813087FD9212}"/>
                  </a:ext>
                </a:extLst>
              </p:cNvPr>
              <p:cNvSpPr/>
              <p:nvPr/>
            </p:nvSpPr>
            <p:spPr>
              <a:xfrm>
                <a:off x="10936530" y="6180867"/>
                <a:ext cx="181945" cy="324315"/>
              </a:xfrm>
              <a:custGeom>
                <a:avLst/>
                <a:gdLst>
                  <a:gd name="connsiteX0" fmla="*/ 163935 w 181945"/>
                  <a:gd name="connsiteY0" fmla="*/ 6171 h 324315"/>
                  <a:gd name="connsiteX1" fmla="*/ 120735 w 181945"/>
                  <a:gd name="connsiteY1" fmla="*/ 126514 h 324315"/>
                  <a:gd name="connsiteX2" fmla="*/ 176278 w 181945"/>
                  <a:gd name="connsiteY2" fmla="*/ 324000 h 324315"/>
                  <a:gd name="connsiteX3" fmla="*/ 392 w 181945"/>
                  <a:gd name="connsiteY3" fmla="*/ 104915 h 324315"/>
                  <a:gd name="connsiteX4" fmla="*/ 114563 w 181945"/>
                  <a:gd name="connsiteY4" fmla="*/ 0 h 324315"/>
                  <a:gd name="connsiteX5" fmla="*/ 163935 w 181945"/>
                  <a:gd name="connsiteY5" fmla="*/ 6171 h 324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945" h="324315">
                    <a:moveTo>
                      <a:pt x="163935" y="6171"/>
                    </a:moveTo>
                    <a:lnTo>
                      <a:pt x="120735" y="126514"/>
                    </a:lnTo>
                    <a:cubicBezTo>
                      <a:pt x="120735" y="126514"/>
                      <a:pt x="204050" y="314743"/>
                      <a:pt x="176278" y="324000"/>
                    </a:cubicBezTo>
                    <a:cubicBezTo>
                      <a:pt x="148506" y="333257"/>
                      <a:pt x="-8865" y="135772"/>
                      <a:pt x="392" y="104915"/>
                    </a:cubicBezTo>
                    <a:cubicBezTo>
                      <a:pt x="52849" y="67886"/>
                      <a:pt x="114563" y="0"/>
                      <a:pt x="114563" y="0"/>
                    </a:cubicBezTo>
                    <a:lnTo>
                      <a:pt x="163935" y="6171"/>
                    </a:ln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1EDD150F-048C-44AE-B75C-928EC1D1BF48}"/>
                </a:ext>
              </a:extLst>
            </p:cNvPr>
            <p:cNvSpPr/>
            <p:nvPr/>
          </p:nvSpPr>
          <p:spPr>
            <a:xfrm>
              <a:off x="10936923" y="3777096"/>
              <a:ext cx="1087536" cy="2613599"/>
            </a:xfrm>
            <a:custGeom>
              <a:avLst/>
              <a:gdLst>
                <a:gd name="connsiteX0" fmla="*/ 290057 w 1087536"/>
                <a:gd name="connsiteY0" fmla="*/ 0 h 2613599"/>
                <a:gd name="connsiteX1" fmla="*/ 965828 w 1087536"/>
                <a:gd name="connsiteY1" fmla="*/ 0 h 2613599"/>
                <a:gd name="connsiteX2" fmla="*/ 1086171 w 1087536"/>
                <a:gd name="connsiteY2" fmla="*/ 465943 h 2613599"/>
                <a:gd name="connsiteX3" fmla="*/ 928800 w 1087536"/>
                <a:gd name="connsiteY3" fmla="*/ 2592000 h 2613599"/>
                <a:gd name="connsiteX4" fmla="*/ 808457 w 1087536"/>
                <a:gd name="connsiteY4" fmla="*/ 2613600 h 2613599"/>
                <a:gd name="connsiteX5" fmla="*/ 620229 w 1087536"/>
                <a:gd name="connsiteY5" fmla="*/ 823886 h 2613599"/>
                <a:gd name="connsiteX6" fmla="*/ 549257 w 1087536"/>
                <a:gd name="connsiteY6" fmla="*/ 1644686 h 2613599"/>
                <a:gd name="connsiteX7" fmla="*/ 536914 w 1087536"/>
                <a:gd name="connsiteY7" fmla="*/ 1697143 h 2613599"/>
                <a:gd name="connsiteX8" fmla="*/ 120343 w 1087536"/>
                <a:gd name="connsiteY8" fmla="*/ 2530286 h 2613599"/>
                <a:gd name="connsiteX9" fmla="*/ 0 w 1087536"/>
                <a:gd name="connsiteY9" fmla="*/ 2508686 h 2613599"/>
                <a:gd name="connsiteX10" fmla="*/ 191314 w 1087536"/>
                <a:gd name="connsiteY10" fmla="*/ 1675543 h 2613599"/>
                <a:gd name="connsiteX11" fmla="*/ 154286 w 1087536"/>
                <a:gd name="connsiteY11" fmla="*/ 419657 h 2613599"/>
                <a:gd name="connsiteX12" fmla="*/ 290057 w 1087536"/>
                <a:gd name="connsiteY12" fmla="*/ 0 h 2613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87536" h="2613599">
                  <a:moveTo>
                    <a:pt x="290057" y="0"/>
                  </a:moveTo>
                  <a:lnTo>
                    <a:pt x="965828" y="0"/>
                  </a:lnTo>
                  <a:cubicBezTo>
                    <a:pt x="965828" y="0"/>
                    <a:pt x="1064572" y="308571"/>
                    <a:pt x="1086171" y="465943"/>
                  </a:cubicBezTo>
                  <a:cubicBezTo>
                    <a:pt x="1104685" y="620229"/>
                    <a:pt x="928800" y="2592000"/>
                    <a:pt x="928800" y="2592000"/>
                  </a:cubicBezTo>
                  <a:lnTo>
                    <a:pt x="808457" y="2613600"/>
                  </a:lnTo>
                  <a:lnTo>
                    <a:pt x="620229" y="823886"/>
                  </a:lnTo>
                  <a:lnTo>
                    <a:pt x="549257" y="1644686"/>
                  </a:lnTo>
                  <a:cubicBezTo>
                    <a:pt x="546171" y="1663200"/>
                    <a:pt x="543086" y="1681714"/>
                    <a:pt x="536914" y="1697143"/>
                  </a:cubicBezTo>
                  <a:lnTo>
                    <a:pt x="120343" y="2530286"/>
                  </a:lnTo>
                  <a:lnTo>
                    <a:pt x="0" y="2508686"/>
                  </a:lnTo>
                  <a:lnTo>
                    <a:pt x="191314" y="1675543"/>
                  </a:lnTo>
                  <a:cubicBezTo>
                    <a:pt x="191314" y="1675543"/>
                    <a:pt x="160457" y="484457"/>
                    <a:pt x="154286" y="419657"/>
                  </a:cubicBezTo>
                  <a:cubicBezTo>
                    <a:pt x="145028" y="299314"/>
                    <a:pt x="290057" y="0"/>
                    <a:pt x="290057" y="0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14488AA7-246C-47EF-8463-A0FF0AB03D86}"/>
                </a:ext>
              </a:extLst>
            </p:cNvPr>
            <p:cNvSpPr/>
            <p:nvPr/>
          </p:nvSpPr>
          <p:spPr>
            <a:xfrm>
              <a:off x="10634522" y="3780182"/>
              <a:ext cx="1687886" cy="1672551"/>
            </a:xfrm>
            <a:custGeom>
              <a:avLst/>
              <a:gdLst>
                <a:gd name="connsiteX0" fmla="*/ 0 w 1687886"/>
                <a:gd name="connsiteY0" fmla="*/ 1404000 h 1672551"/>
                <a:gd name="connsiteX1" fmla="*/ 33943 w 1687886"/>
                <a:gd name="connsiteY1" fmla="*/ 1431772 h 1672551"/>
                <a:gd name="connsiteX2" fmla="*/ 1687886 w 1687886"/>
                <a:gd name="connsiteY2" fmla="*/ 1589143 h 1672551"/>
                <a:gd name="connsiteX3" fmla="*/ 1542857 w 1687886"/>
                <a:gd name="connsiteY3" fmla="*/ 1283657 h 1672551"/>
                <a:gd name="connsiteX4" fmla="*/ 1533600 w 1687886"/>
                <a:gd name="connsiteY4" fmla="*/ 1255886 h 1672551"/>
                <a:gd name="connsiteX5" fmla="*/ 1447201 w 1687886"/>
                <a:gd name="connsiteY5" fmla="*/ 962743 h 1672551"/>
                <a:gd name="connsiteX6" fmla="*/ 1441029 w 1687886"/>
                <a:gd name="connsiteY6" fmla="*/ 931886 h 1672551"/>
                <a:gd name="connsiteX7" fmla="*/ 1397829 w 1687886"/>
                <a:gd name="connsiteY7" fmla="*/ 564686 h 1672551"/>
                <a:gd name="connsiteX8" fmla="*/ 1397829 w 1687886"/>
                <a:gd name="connsiteY8" fmla="*/ 533828 h 1672551"/>
                <a:gd name="connsiteX9" fmla="*/ 1394743 w 1687886"/>
                <a:gd name="connsiteY9" fmla="*/ 465943 h 1672551"/>
                <a:gd name="connsiteX10" fmla="*/ 1348458 w 1687886"/>
                <a:gd name="connsiteY10" fmla="*/ 206743 h 1672551"/>
                <a:gd name="connsiteX11" fmla="*/ 1339201 w 1687886"/>
                <a:gd name="connsiteY11" fmla="*/ 175886 h 1672551"/>
                <a:gd name="connsiteX12" fmla="*/ 1277487 w 1687886"/>
                <a:gd name="connsiteY12" fmla="*/ 18514 h 1672551"/>
                <a:gd name="connsiteX13" fmla="*/ 598629 w 1687886"/>
                <a:gd name="connsiteY13" fmla="*/ 0 h 1672551"/>
                <a:gd name="connsiteX14" fmla="*/ 524571 w 1687886"/>
                <a:gd name="connsiteY14" fmla="*/ 101828 h 1672551"/>
                <a:gd name="connsiteX15" fmla="*/ 509143 w 1687886"/>
                <a:gd name="connsiteY15" fmla="*/ 129600 h 1672551"/>
                <a:gd name="connsiteX16" fmla="*/ 509143 w 1687886"/>
                <a:gd name="connsiteY16" fmla="*/ 129600 h 1672551"/>
                <a:gd name="connsiteX17" fmla="*/ 345600 w 1687886"/>
                <a:gd name="connsiteY17" fmla="*/ 469028 h 1672551"/>
                <a:gd name="connsiteX18" fmla="*/ 333258 w 1687886"/>
                <a:gd name="connsiteY18" fmla="*/ 496800 h 1672551"/>
                <a:gd name="connsiteX19" fmla="*/ 191315 w 1687886"/>
                <a:gd name="connsiteY19" fmla="*/ 901029 h 1672551"/>
                <a:gd name="connsiteX20" fmla="*/ 182058 w 1687886"/>
                <a:gd name="connsiteY20" fmla="*/ 931886 h 1672551"/>
                <a:gd name="connsiteX21" fmla="*/ 9258 w 1687886"/>
                <a:gd name="connsiteY21" fmla="*/ 1394743 h 1672551"/>
                <a:gd name="connsiteX22" fmla="*/ 9258 w 1687886"/>
                <a:gd name="connsiteY22" fmla="*/ 1394743 h 1672551"/>
                <a:gd name="connsiteX23" fmla="*/ 0 w 1687886"/>
                <a:gd name="connsiteY23" fmla="*/ 1404000 h 1672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687886" h="1672551">
                  <a:moveTo>
                    <a:pt x="0" y="1404000"/>
                  </a:moveTo>
                  <a:cubicBezTo>
                    <a:pt x="12344" y="1413257"/>
                    <a:pt x="24686" y="1422514"/>
                    <a:pt x="33943" y="1431772"/>
                  </a:cubicBezTo>
                  <a:cubicBezTo>
                    <a:pt x="410401" y="1700229"/>
                    <a:pt x="1095429" y="1731086"/>
                    <a:pt x="1687886" y="1589143"/>
                  </a:cubicBezTo>
                  <a:cubicBezTo>
                    <a:pt x="1626172" y="1481143"/>
                    <a:pt x="1579886" y="1379314"/>
                    <a:pt x="1542857" y="1283657"/>
                  </a:cubicBezTo>
                  <a:cubicBezTo>
                    <a:pt x="1539772" y="1274400"/>
                    <a:pt x="1536686" y="1265143"/>
                    <a:pt x="1533600" y="1255886"/>
                  </a:cubicBezTo>
                  <a:cubicBezTo>
                    <a:pt x="1493487" y="1150971"/>
                    <a:pt x="1465714" y="1052229"/>
                    <a:pt x="1447201" y="962743"/>
                  </a:cubicBezTo>
                  <a:cubicBezTo>
                    <a:pt x="1444115" y="953486"/>
                    <a:pt x="1444115" y="941143"/>
                    <a:pt x="1441029" y="931886"/>
                  </a:cubicBezTo>
                  <a:cubicBezTo>
                    <a:pt x="1410172" y="783772"/>
                    <a:pt x="1400915" y="663429"/>
                    <a:pt x="1397829" y="564686"/>
                  </a:cubicBezTo>
                  <a:cubicBezTo>
                    <a:pt x="1397829" y="552343"/>
                    <a:pt x="1397829" y="543086"/>
                    <a:pt x="1397829" y="533828"/>
                  </a:cubicBezTo>
                  <a:cubicBezTo>
                    <a:pt x="1397829" y="509143"/>
                    <a:pt x="1394743" y="487543"/>
                    <a:pt x="1394743" y="465943"/>
                  </a:cubicBezTo>
                  <a:cubicBezTo>
                    <a:pt x="1388572" y="370286"/>
                    <a:pt x="1370058" y="280800"/>
                    <a:pt x="1348458" y="206743"/>
                  </a:cubicBezTo>
                  <a:cubicBezTo>
                    <a:pt x="1345372" y="197486"/>
                    <a:pt x="1342286" y="185143"/>
                    <a:pt x="1339201" y="175886"/>
                  </a:cubicBezTo>
                  <a:cubicBezTo>
                    <a:pt x="1308344" y="70971"/>
                    <a:pt x="1277487" y="18514"/>
                    <a:pt x="1277487" y="18514"/>
                  </a:cubicBezTo>
                  <a:cubicBezTo>
                    <a:pt x="1277487" y="18514"/>
                    <a:pt x="984344" y="40114"/>
                    <a:pt x="598629" y="0"/>
                  </a:cubicBezTo>
                  <a:cubicBezTo>
                    <a:pt x="573943" y="30857"/>
                    <a:pt x="549258" y="67886"/>
                    <a:pt x="524571" y="101828"/>
                  </a:cubicBezTo>
                  <a:cubicBezTo>
                    <a:pt x="518401" y="111086"/>
                    <a:pt x="512229" y="120343"/>
                    <a:pt x="509143" y="129600"/>
                  </a:cubicBezTo>
                  <a:lnTo>
                    <a:pt x="509143" y="129600"/>
                  </a:lnTo>
                  <a:cubicBezTo>
                    <a:pt x="447429" y="231429"/>
                    <a:pt x="391886" y="348686"/>
                    <a:pt x="345600" y="469028"/>
                  </a:cubicBezTo>
                  <a:cubicBezTo>
                    <a:pt x="342514" y="478286"/>
                    <a:pt x="339429" y="487543"/>
                    <a:pt x="333258" y="496800"/>
                  </a:cubicBezTo>
                  <a:cubicBezTo>
                    <a:pt x="283886" y="629486"/>
                    <a:pt x="237600" y="765257"/>
                    <a:pt x="191315" y="901029"/>
                  </a:cubicBezTo>
                  <a:cubicBezTo>
                    <a:pt x="188229" y="910286"/>
                    <a:pt x="185143" y="919543"/>
                    <a:pt x="182058" y="931886"/>
                  </a:cubicBezTo>
                  <a:cubicBezTo>
                    <a:pt x="126514" y="1095429"/>
                    <a:pt x="74058" y="1255886"/>
                    <a:pt x="9258" y="1394743"/>
                  </a:cubicBezTo>
                  <a:lnTo>
                    <a:pt x="9258" y="1394743"/>
                  </a:lnTo>
                  <a:cubicBezTo>
                    <a:pt x="3086" y="1397828"/>
                    <a:pt x="0" y="1400914"/>
                    <a:pt x="0" y="1404000"/>
                  </a:cubicBezTo>
                  <a:close/>
                </a:path>
              </a:pathLst>
            </a:custGeom>
            <a:solidFill>
              <a:srgbClr val="D16156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7936F5B-BE9D-4621-8037-05FAFD43E7F4}"/>
                </a:ext>
              </a:extLst>
            </p:cNvPr>
            <p:cNvSpPr/>
            <p:nvPr/>
          </p:nvSpPr>
          <p:spPr>
            <a:xfrm>
              <a:off x="10618635" y="3760124"/>
              <a:ext cx="1729293" cy="1700017"/>
            </a:xfrm>
            <a:custGeom>
              <a:avLst/>
              <a:gdLst>
                <a:gd name="connsiteX0" fmla="*/ 22059 w 1729293"/>
                <a:gd name="connsiteY0" fmla="*/ 1402457 h 1700017"/>
                <a:gd name="connsiteX1" fmla="*/ 154744 w 1729293"/>
                <a:gd name="connsiteY1" fmla="*/ 1488857 h 1700017"/>
                <a:gd name="connsiteX2" fmla="*/ 700916 w 1729293"/>
                <a:gd name="connsiteY2" fmla="*/ 29314 h 1700017"/>
                <a:gd name="connsiteX3" fmla="*/ 728688 w 1729293"/>
                <a:gd name="connsiteY3" fmla="*/ 44743 h 1700017"/>
                <a:gd name="connsiteX4" fmla="*/ 185602 w 1729293"/>
                <a:gd name="connsiteY4" fmla="*/ 1504286 h 1700017"/>
                <a:gd name="connsiteX5" fmla="*/ 383088 w 1729293"/>
                <a:gd name="connsiteY5" fmla="*/ 1603029 h 1700017"/>
                <a:gd name="connsiteX6" fmla="*/ 503431 w 1729293"/>
                <a:gd name="connsiteY6" fmla="*/ 1636972 h 1700017"/>
                <a:gd name="connsiteX7" fmla="*/ 528116 w 1729293"/>
                <a:gd name="connsiteY7" fmla="*/ 834686 h 1700017"/>
                <a:gd name="connsiteX8" fmla="*/ 796574 w 1729293"/>
                <a:gd name="connsiteY8" fmla="*/ 41657 h 1700017"/>
                <a:gd name="connsiteX9" fmla="*/ 827431 w 1729293"/>
                <a:gd name="connsiteY9" fmla="*/ 50914 h 1700017"/>
                <a:gd name="connsiteX10" fmla="*/ 565145 w 1729293"/>
                <a:gd name="connsiteY10" fmla="*/ 816171 h 1700017"/>
                <a:gd name="connsiteX11" fmla="*/ 537374 w 1729293"/>
                <a:gd name="connsiteY11" fmla="*/ 1640057 h 1700017"/>
                <a:gd name="connsiteX12" fmla="*/ 537374 w 1729293"/>
                <a:gd name="connsiteY12" fmla="*/ 1640057 h 1700017"/>
                <a:gd name="connsiteX13" fmla="*/ 827431 w 1729293"/>
                <a:gd name="connsiteY13" fmla="*/ 1661657 h 1700017"/>
                <a:gd name="connsiteX14" fmla="*/ 935431 w 1729293"/>
                <a:gd name="connsiteY14" fmla="*/ 1664743 h 1700017"/>
                <a:gd name="connsiteX15" fmla="*/ 876802 w 1729293"/>
                <a:gd name="connsiteY15" fmla="*/ 13886 h 1700017"/>
                <a:gd name="connsiteX16" fmla="*/ 907660 w 1729293"/>
                <a:gd name="connsiteY16" fmla="*/ 13886 h 1700017"/>
                <a:gd name="connsiteX17" fmla="*/ 966288 w 1729293"/>
                <a:gd name="connsiteY17" fmla="*/ 1664743 h 1700017"/>
                <a:gd name="connsiteX18" fmla="*/ 1342745 w 1729293"/>
                <a:gd name="connsiteY18" fmla="*/ 1652400 h 1700017"/>
                <a:gd name="connsiteX19" fmla="*/ 1086631 w 1729293"/>
                <a:gd name="connsiteY19" fmla="*/ 32400 h 1700017"/>
                <a:gd name="connsiteX20" fmla="*/ 1114402 w 1729293"/>
                <a:gd name="connsiteY20" fmla="*/ 16972 h 1700017"/>
                <a:gd name="connsiteX21" fmla="*/ 1379774 w 1729293"/>
                <a:gd name="connsiteY21" fmla="*/ 1649314 h 1700017"/>
                <a:gd name="connsiteX22" fmla="*/ 1709945 w 1729293"/>
                <a:gd name="connsiteY22" fmla="*/ 1578343 h 1700017"/>
                <a:gd name="connsiteX23" fmla="*/ 1719202 w 1729293"/>
                <a:gd name="connsiteY23" fmla="*/ 1609200 h 1700017"/>
                <a:gd name="connsiteX24" fmla="*/ 799660 w 1729293"/>
                <a:gd name="connsiteY24" fmla="*/ 1692514 h 1700017"/>
                <a:gd name="connsiteX25" fmla="*/ 380002 w 1729293"/>
                <a:gd name="connsiteY25" fmla="*/ 1630800 h 1700017"/>
                <a:gd name="connsiteX26" fmla="*/ 12802 w 1729293"/>
                <a:gd name="connsiteY26" fmla="*/ 1427143 h 1700017"/>
                <a:gd name="connsiteX27" fmla="*/ 22059 w 1729293"/>
                <a:gd name="connsiteY27" fmla="*/ 1402457 h 170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729293" h="1700017">
                  <a:moveTo>
                    <a:pt x="22059" y="1402457"/>
                  </a:moveTo>
                  <a:cubicBezTo>
                    <a:pt x="65259" y="1430229"/>
                    <a:pt x="111545" y="1461086"/>
                    <a:pt x="154744" y="1488857"/>
                  </a:cubicBezTo>
                  <a:cubicBezTo>
                    <a:pt x="241145" y="973543"/>
                    <a:pt x="426288" y="476743"/>
                    <a:pt x="700916" y="29314"/>
                  </a:cubicBezTo>
                  <a:cubicBezTo>
                    <a:pt x="710173" y="13886"/>
                    <a:pt x="737945" y="29314"/>
                    <a:pt x="728688" y="44743"/>
                  </a:cubicBezTo>
                  <a:cubicBezTo>
                    <a:pt x="454059" y="492171"/>
                    <a:pt x="268916" y="985886"/>
                    <a:pt x="185602" y="1504286"/>
                  </a:cubicBezTo>
                  <a:cubicBezTo>
                    <a:pt x="250402" y="1541314"/>
                    <a:pt x="315202" y="1575257"/>
                    <a:pt x="383088" y="1603029"/>
                  </a:cubicBezTo>
                  <a:cubicBezTo>
                    <a:pt x="423202" y="1618457"/>
                    <a:pt x="463316" y="1627714"/>
                    <a:pt x="503431" y="1636972"/>
                  </a:cubicBezTo>
                  <a:cubicBezTo>
                    <a:pt x="488002" y="1371600"/>
                    <a:pt x="469488" y="1096972"/>
                    <a:pt x="528116" y="834686"/>
                  </a:cubicBezTo>
                  <a:cubicBezTo>
                    <a:pt x="586745" y="566229"/>
                    <a:pt x="691660" y="294686"/>
                    <a:pt x="796574" y="41657"/>
                  </a:cubicBezTo>
                  <a:cubicBezTo>
                    <a:pt x="802745" y="23143"/>
                    <a:pt x="833602" y="32400"/>
                    <a:pt x="827431" y="50914"/>
                  </a:cubicBezTo>
                  <a:cubicBezTo>
                    <a:pt x="725602" y="297772"/>
                    <a:pt x="626859" y="556972"/>
                    <a:pt x="565145" y="816171"/>
                  </a:cubicBezTo>
                  <a:cubicBezTo>
                    <a:pt x="500345" y="1084629"/>
                    <a:pt x="518859" y="1368514"/>
                    <a:pt x="537374" y="1640057"/>
                  </a:cubicBezTo>
                  <a:cubicBezTo>
                    <a:pt x="537374" y="1640057"/>
                    <a:pt x="537374" y="1640057"/>
                    <a:pt x="537374" y="1640057"/>
                  </a:cubicBezTo>
                  <a:cubicBezTo>
                    <a:pt x="633030" y="1655486"/>
                    <a:pt x="728688" y="1658572"/>
                    <a:pt x="827431" y="1661657"/>
                  </a:cubicBezTo>
                  <a:cubicBezTo>
                    <a:pt x="864459" y="1664743"/>
                    <a:pt x="901488" y="1664743"/>
                    <a:pt x="935431" y="1664743"/>
                  </a:cubicBezTo>
                  <a:cubicBezTo>
                    <a:pt x="876802" y="1115486"/>
                    <a:pt x="858288" y="563143"/>
                    <a:pt x="876802" y="13886"/>
                  </a:cubicBezTo>
                  <a:cubicBezTo>
                    <a:pt x="876802" y="-4629"/>
                    <a:pt x="907660" y="-4629"/>
                    <a:pt x="907660" y="13886"/>
                  </a:cubicBezTo>
                  <a:cubicBezTo>
                    <a:pt x="889145" y="566229"/>
                    <a:pt x="910745" y="1118572"/>
                    <a:pt x="966288" y="1664743"/>
                  </a:cubicBezTo>
                  <a:cubicBezTo>
                    <a:pt x="1092802" y="1667829"/>
                    <a:pt x="1219316" y="1664743"/>
                    <a:pt x="1342745" y="1652400"/>
                  </a:cubicBezTo>
                  <a:cubicBezTo>
                    <a:pt x="1040345" y="1158686"/>
                    <a:pt x="1324231" y="544629"/>
                    <a:pt x="1086631" y="32400"/>
                  </a:cubicBezTo>
                  <a:cubicBezTo>
                    <a:pt x="1077374" y="13886"/>
                    <a:pt x="1105145" y="-1543"/>
                    <a:pt x="1114402" y="16972"/>
                  </a:cubicBezTo>
                  <a:cubicBezTo>
                    <a:pt x="1355088" y="535371"/>
                    <a:pt x="1068116" y="1155600"/>
                    <a:pt x="1379774" y="1649314"/>
                  </a:cubicBezTo>
                  <a:cubicBezTo>
                    <a:pt x="1490859" y="1636972"/>
                    <a:pt x="1601945" y="1612286"/>
                    <a:pt x="1709945" y="1578343"/>
                  </a:cubicBezTo>
                  <a:cubicBezTo>
                    <a:pt x="1728459" y="1572171"/>
                    <a:pt x="1737717" y="1603029"/>
                    <a:pt x="1719202" y="1609200"/>
                  </a:cubicBezTo>
                  <a:cubicBezTo>
                    <a:pt x="1422973" y="1707943"/>
                    <a:pt x="1108231" y="1707943"/>
                    <a:pt x="799660" y="1692514"/>
                  </a:cubicBezTo>
                  <a:cubicBezTo>
                    <a:pt x="657717" y="1686343"/>
                    <a:pt x="515773" y="1683257"/>
                    <a:pt x="380002" y="1630800"/>
                  </a:cubicBezTo>
                  <a:cubicBezTo>
                    <a:pt x="247316" y="1581429"/>
                    <a:pt x="130059" y="1504286"/>
                    <a:pt x="12802" y="1427143"/>
                  </a:cubicBezTo>
                  <a:cubicBezTo>
                    <a:pt x="-11884" y="1417886"/>
                    <a:pt x="3545" y="1393200"/>
                    <a:pt x="22059" y="1402457"/>
                  </a:cubicBezTo>
                  <a:close/>
                </a:path>
              </a:pathLst>
            </a:custGeom>
            <a:solidFill>
              <a:srgbClr val="F1DDBA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F9F62205-5CB5-4A72-B5F7-6078020F0084}"/>
                </a:ext>
              </a:extLst>
            </p:cNvPr>
            <p:cNvSpPr/>
            <p:nvPr/>
          </p:nvSpPr>
          <p:spPr>
            <a:xfrm>
              <a:off x="11919735" y="3126745"/>
              <a:ext cx="815130" cy="588684"/>
            </a:xfrm>
            <a:custGeom>
              <a:avLst/>
              <a:gdLst>
                <a:gd name="connsiteX0" fmla="*/ 199016 w 815130"/>
                <a:gd name="connsiteY0" fmla="*/ 33208 h 588684"/>
                <a:gd name="connsiteX1" fmla="*/ 473644 w 815130"/>
                <a:gd name="connsiteY1" fmla="*/ 403493 h 588684"/>
                <a:gd name="connsiteX2" fmla="*/ 794559 w 815130"/>
                <a:gd name="connsiteY2" fmla="*/ 357208 h 588684"/>
                <a:gd name="connsiteX3" fmla="*/ 813073 w 815130"/>
                <a:gd name="connsiteY3" fmla="*/ 437436 h 588684"/>
                <a:gd name="connsiteX4" fmla="*/ 405759 w 815130"/>
                <a:gd name="connsiteY4" fmla="*/ 588636 h 588684"/>
                <a:gd name="connsiteX5" fmla="*/ 16959 w 815130"/>
                <a:gd name="connsiteY5" fmla="*/ 224522 h 588684"/>
                <a:gd name="connsiteX6" fmla="*/ 199016 w 815130"/>
                <a:gd name="connsiteY6" fmla="*/ 33208 h 588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5130" h="588684">
                  <a:moveTo>
                    <a:pt x="199016" y="33208"/>
                  </a:moveTo>
                  <a:cubicBezTo>
                    <a:pt x="263816" y="94922"/>
                    <a:pt x="473644" y="403493"/>
                    <a:pt x="473644" y="403493"/>
                  </a:cubicBezTo>
                  <a:cubicBezTo>
                    <a:pt x="473644" y="403493"/>
                    <a:pt x="791473" y="351036"/>
                    <a:pt x="794559" y="357208"/>
                  </a:cubicBezTo>
                  <a:cubicBezTo>
                    <a:pt x="819245" y="422008"/>
                    <a:pt x="816159" y="415836"/>
                    <a:pt x="813073" y="437436"/>
                  </a:cubicBezTo>
                  <a:cubicBezTo>
                    <a:pt x="813073" y="446693"/>
                    <a:pt x="603245" y="591722"/>
                    <a:pt x="405759" y="588636"/>
                  </a:cubicBezTo>
                  <a:cubicBezTo>
                    <a:pt x="337873" y="588636"/>
                    <a:pt x="124959" y="326351"/>
                    <a:pt x="16959" y="224522"/>
                  </a:cubicBezTo>
                  <a:cubicBezTo>
                    <a:pt x="-44756" y="165893"/>
                    <a:pt x="72501" y="-90221"/>
                    <a:pt x="199016" y="33208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4C181324-DD3A-45BD-A0E6-D956FDDE213C}"/>
                </a:ext>
              </a:extLst>
            </p:cNvPr>
            <p:cNvSpPr/>
            <p:nvPr/>
          </p:nvSpPr>
          <p:spPr>
            <a:xfrm>
              <a:off x="11801717" y="2883165"/>
              <a:ext cx="400348" cy="539073"/>
            </a:xfrm>
            <a:custGeom>
              <a:avLst/>
              <a:gdLst>
                <a:gd name="connsiteX0" fmla="*/ 122634 w 400348"/>
                <a:gd name="connsiteY0" fmla="*/ 539074 h 539073"/>
                <a:gd name="connsiteX1" fmla="*/ 23891 w 400348"/>
                <a:gd name="connsiteY1" fmla="*/ 23760 h 539073"/>
                <a:gd name="connsiteX2" fmla="*/ 400348 w 400348"/>
                <a:gd name="connsiteY2" fmla="*/ 279874 h 539073"/>
                <a:gd name="connsiteX3" fmla="*/ 122634 w 400348"/>
                <a:gd name="connsiteY3" fmla="*/ 539074 h 539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348" h="539073">
                  <a:moveTo>
                    <a:pt x="122634" y="539074"/>
                  </a:moveTo>
                  <a:cubicBezTo>
                    <a:pt x="-19309" y="415645"/>
                    <a:pt x="-16223" y="94731"/>
                    <a:pt x="23891" y="23760"/>
                  </a:cubicBezTo>
                  <a:cubicBezTo>
                    <a:pt x="76348" y="-68812"/>
                    <a:pt x="258405" y="128674"/>
                    <a:pt x="400348" y="279874"/>
                  </a:cubicBezTo>
                  <a:cubicBezTo>
                    <a:pt x="384920" y="357017"/>
                    <a:pt x="212119" y="486617"/>
                    <a:pt x="122634" y="539074"/>
                  </a:cubicBezTo>
                  <a:close/>
                </a:path>
              </a:pathLst>
            </a:custGeom>
            <a:solidFill>
              <a:srgbClr val="F6EBE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F85C02D6-4E39-414F-9B76-692E9677D9A0}"/>
                </a:ext>
              </a:extLst>
            </p:cNvPr>
            <p:cNvSpPr/>
            <p:nvPr/>
          </p:nvSpPr>
          <p:spPr>
            <a:xfrm>
              <a:off x="11176023" y="2809834"/>
              <a:ext cx="830520" cy="998210"/>
            </a:xfrm>
            <a:custGeom>
              <a:avLst/>
              <a:gdLst>
                <a:gd name="connsiteX0" fmla="*/ 44784 w 830520"/>
                <a:gd name="connsiteY0" fmla="*/ 396404 h 998210"/>
                <a:gd name="connsiteX1" fmla="*/ 60213 w 830520"/>
                <a:gd name="connsiteY1" fmla="*/ 69319 h 998210"/>
                <a:gd name="connsiteX2" fmla="*/ 433585 w 830520"/>
                <a:gd name="connsiteY2" fmla="*/ 4519 h 998210"/>
                <a:gd name="connsiteX3" fmla="*/ 739070 w 830520"/>
                <a:gd name="connsiteY3" fmla="*/ 106347 h 998210"/>
                <a:gd name="connsiteX4" fmla="*/ 779185 w 830520"/>
                <a:gd name="connsiteY4" fmla="*/ 661776 h 998210"/>
                <a:gd name="connsiteX5" fmla="*/ 735985 w 830520"/>
                <a:gd name="connsiteY5" fmla="*/ 991947 h 998210"/>
                <a:gd name="connsiteX6" fmla="*/ 50956 w 830520"/>
                <a:gd name="connsiteY6" fmla="*/ 976519 h 998210"/>
                <a:gd name="connsiteX7" fmla="*/ 44784 w 830520"/>
                <a:gd name="connsiteY7" fmla="*/ 396404 h 998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0520" h="998210">
                  <a:moveTo>
                    <a:pt x="44784" y="396404"/>
                  </a:moveTo>
                  <a:cubicBezTo>
                    <a:pt x="35528" y="365547"/>
                    <a:pt x="-60130" y="134119"/>
                    <a:pt x="60213" y="69319"/>
                  </a:cubicBezTo>
                  <a:cubicBezTo>
                    <a:pt x="165128" y="13776"/>
                    <a:pt x="313242" y="-10910"/>
                    <a:pt x="433585" y="4519"/>
                  </a:cubicBezTo>
                  <a:cubicBezTo>
                    <a:pt x="566271" y="19947"/>
                    <a:pt x="698956" y="41547"/>
                    <a:pt x="739070" y="106347"/>
                  </a:cubicBezTo>
                  <a:cubicBezTo>
                    <a:pt x="853242" y="294576"/>
                    <a:pt x="853242" y="461204"/>
                    <a:pt x="779185" y="661776"/>
                  </a:cubicBezTo>
                  <a:cubicBezTo>
                    <a:pt x="757585" y="720404"/>
                    <a:pt x="751414" y="856176"/>
                    <a:pt x="735985" y="991947"/>
                  </a:cubicBezTo>
                  <a:cubicBezTo>
                    <a:pt x="735985" y="991947"/>
                    <a:pt x="449013" y="1013547"/>
                    <a:pt x="50956" y="976519"/>
                  </a:cubicBezTo>
                  <a:cubicBezTo>
                    <a:pt x="81813" y="754347"/>
                    <a:pt x="54042" y="418004"/>
                    <a:pt x="44784" y="396404"/>
                  </a:cubicBezTo>
                  <a:close/>
                </a:path>
              </a:pathLst>
            </a:custGeom>
            <a:solidFill>
              <a:srgbClr val="F6EBE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959ACAFE-B867-456C-99D8-15EC0DACF02B}"/>
                </a:ext>
              </a:extLst>
            </p:cNvPr>
            <p:cNvSpPr/>
            <p:nvPr/>
          </p:nvSpPr>
          <p:spPr>
            <a:xfrm>
              <a:off x="11409036" y="2629112"/>
              <a:ext cx="314743" cy="330269"/>
            </a:xfrm>
            <a:custGeom>
              <a:avLst/>
              <a:gdLst>
                <a:gd name="connsiteX0" fmla="*/ 259200 w 314743"/>
                <a:gd name="connsiteY0" fmla="*/ 61812 h 330269"/>
                <a:gd name="connsiteX1" fmla="*/ 314743 w 314743"/>
                <a:gd name="connsiteY1" fmla="*/ 203755 h 330269"/>
                <a:gd name="connsiteX2" fmla="*/ 197486 w 314743"/>
                <a:gd name="connsiteY2" fmla="*/ 330269 h 330269"/>
                <a:gd name="connsiteX3" fmla="*/ 0 w 314743"/>
                <a:gd name="connsiteY3" fmla="*/ 188326 h 330269"/>
                <a:gd name="connsiteX4" fmla="*/ 52458 w 314743"/>
                <a:gd name="connsiteY4" fmla="*/ 98 h 330269"/>
                <a:gd name="connsiteX5" fmla="*/ 259200 w 314743"/>
                <a:gd name="connsiteY5" fmla="*/ 61812 h 33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4743" h="330269">
                  <a:moveTo>
                    <a:pt x="259200" y="61812"/>
                  </a:moveTo>
                  <a:cubicBezTo>
                    <a:pt x="259200" y="61812"/>
                    <a:pt x="253029" y="172898"/>
                    <a:pt x="314743" y="203755"/>
                  </a:cubicBezTo>
                  <a:lnTo>
                    <a:pt x="197486" y="330269"/>
                  </a:lnTo>
                  <a:cubicBezTo>
                    <a:pt x="197486" y="330269"/>
                    <a:pt x="55543" y="219184"/>
                    <a:pt x="0" y="188326"/>
                  </a:cubicBezTo>
                  <a:cubicBezTo>
                    <a:pt x="55543" y="145126"/>
                    <a:pt x="52458" y="61812"/>
                    <a:pt x="52458" y="98"/>
                  </a:cubicBezTo>
                  <a:cubicBezTo>
                    <a:pt x="52458" y="-2988"/>
                    <a:pt x="203657" y="67984"/>
                    <a:pt x="259200" y="61812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E362004E-7225-450D-84C6-EDC223EC44A1}"/>
                </a:ext>
              </a:extLst>
            </p:cNvPr>
            <p:cNvSpPr/>
            <p:nvPr/>
          </p:nvSpPr>
          <p:spPr>
            <a:xfrm>
              <a:off x="11904558" y="2908732"/>
              <a:ext cx="104713" cy="565963"/>
            </a:xfrm>
            <a:custGeom>
              <a:avLst/>
              <a:gdLst>
                <a:gd name="connsiteX0" fmla="*/ 47564 w 104713"/>
                <a:gd name="connsiteY0" fmla="*/ 565964 h 565963"/>
                <a:gd name="connsiteX1" fmla="*/ 47564 w 104713"/>
                <a:gd name="connsiteY1" fmla="*/ 565964 h 565963"/>
                <a:gd name="connsiteX2" fmla="*/ 41392 w 104713"/>
                <a:gd name="connsiteY2" fmla="*/ 559792 h 565963"/>
                <a:gd name="connsiteX3" fmla="*/ 56821 w 104713"/>
                <a:gd name="connsiteY3" fmla="*/ 504250 h 565963"/>
                <a:gd name="connsiteX4" fmla="*/ 90764 w 104713"/>
                <a:gd name="connsiteY4" fmla="*/ 353050 h 565963"/>
                <a:gd name="connsiteX5" fmla="*/ 1278 w 104713"/>
                <a:gd name="connsiteY5" fmla="*/ 10535 h 565963"/>
                <a:gd name="connsiteX6" fmla="*/ 4364 w 104713"/>
                <a:gd name="connsiteY6" fmla="*/ 1278 h 565963"/>
                <a:gd name="connsiteX7" fmla="*/ 13621 w 104713"/>
                <a:gd name="connsiteY7" fmla="*/ 4364 h 565963"/>
                <a:gd name="connsiteX8" fmla="*/ 103106 w 104713"/>
                <a:gd name="connsiteY8" fmla="*/ 353050 h 565963"/>
                <a:gd name="connsiteX9" fmla="*/ 69164 w 104713"/>
                <a:gd name="connsiteY9" fmla="*/ 507335 h 565963"/>
                <a:gd name="connsiteX10" fmla="*/ 53736 w 104713"/>
                <a:gd name="connsiteY10" fmla="*/ 562878 h 565963"/>
                <a:gd name="connsiteX11" fmla="*/ 47564 w 104713"/>
                <a:gd name="connsiteY11" fmla="*/ 565964 h 565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713" h="565963">
                  <a:moveTo>
                    <a:pt x="47564" y="565964"/>
                  </a:moveTo>
                  <a:cubicBezTo>
                    <a:pt x="47564" y="565964"/>
                    <a:pt x="47564" y="565964"/>
                    <a:pt x="47564" y="565964"/>
                  </a:cubicBezTo>
                  <a:cubicBezTo>
                    <a:pt x="44478" y="565964"/>
                    <a:pt x="41392" y="562878"/>
                    <a:pt x="41392" y="559792"/>
                  </a:cubicBezTo>
                  <a:cubicBezTo>
                    <a:pt x="47564" y="541278"/>
                    <a:pt x="50650" y="522764"/>
                    <a:pt x="56821" y="504250"/>
                  </a:cubicBezTo>
                  <a:cubicBezTo>
                    <a:pt x="72249" y="451792"/>
                    <a:pt x="87678" y="399335"/>
                    <a:pt x="90764" y="353050"/>
                  </a:cubicBezTo>
                  <a:cubicBezTo>
                    <a:pt x="96936" y="229621"/>
                    <a:pt x="69164" y="115450"/>
                    <a:pt x="1278" y="10535"/>
                  </a:cubicBezTo>
                  <a:cubicBezTo>
                    <a:pt x="-1808" y="7450"/>
                    <a:pt x="1278" y="4364"/>
                    <a:pt x="4364" y="1278"/>
                  </a:cubicBezTo>
                  <a:cubicBezTo>
                    <a:pt x="7450" y="-1808"/>
                    <a:pt x="10535" y="1278"/>
                    <a:pt x="13621" y="4364"/>
                  </a:cubicBezTo>
                  <a:cubicBezTo>
                    <a:pt x="81507" y="112364"/>
                    <a:pt x="112364" y="229621"/>
                    <a:pt x="103106" y="353050"/>
                  </a:cubicBezTo>
                  <a:cubicBezTo>
                    <a:pt x="100021" y="399335"/>
                    <a:pt x="84593" y="454878"/>
                    <a:pt x="69164" y="507335"/>
                  </a:cubicBezTo>
                  <a:cubicBezTo>
                    <a:pt x="62993" y="525850"/>
                    <a:pt x="56821" y="544364"/>
                    <a:pt x="53736" y="562878"/>
                  </a:cubicBezTo>
                  <a:cubicBezTo>
                    <a:pt x="53736" y="562878"/>
                    <a:pt x="50650" y="565964"/>
                    <a:pt x="47564" y="565964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09E9E23A-9D41-4A55-AD8E-462D46E2E379}"/>
                </a:ext>
              </a:extLst>
            </p:cNvPr>
            <p:cNvSpPr/>
            <p:nvPr/>
          </p:nvSpPr>
          <p:spPr>
            <a:xfrm>
              <a:off x="11476923" y="3357635"/>
              <a:ext cx="405506" cy="36832"/>
            </a:xfrm>
            <a:custGeom>
              <a:avLst/>
              <a:gdLst>
                <a:gd name="connsiteX0" fmla="*/ 401143 w 405506"/>
                <a:gd name="connsiteY0" fmla="*/ 36832 h 36832"/>
                <a:gd name="connsiteX1" fmla="*/ 401143 w 405506"/>
                <a:gd name="connsiteY1" fmla="*/ 36832 h 36832"/>
                <a:gd name="connsiteX2" fmla="*/ 6171 w 405506"/>
                <a:gd name="connsiteY2" fmla="*/ 24489 h 36832"/>
                <a:gd name="connsiteX3" fmla="*/ 0 w 405506"/>
                <a:gd name="connsiteY3" fmla="*/ 21404 h 36832"/>
                <a:gd name="connsiteX4" fmla="*/ 3086 w 405506"/>
                <a:gd name="connsiteY4" fmla="*/ 15232 h 36832"/>
                <a:gd name="connsiteX5" fmla="*/ 401143 w 405506"/>
                <a:gd name="connsiteY5" fmla="*/ 27575 h 36832"/>
                <a:gd name="connsiteX6" fmla="*/ 404229 w 405506"/>
                <a:gd name="connsiteY6" fmla="*/ 33746 h 36832"/>
                <a:gd name="connsiteX7" fmla="*/ 401143 w 405506"/>
                <a:gd name="connsiteY7" fmla="*/ 36832 h 3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5506" h="36832">
                  <a:moveTo>
                    <a:pt x="401143" y="36832"/>
                  </a:moveTo>
                  <a:cubicBezTo>
                    <a:pt x="401143" y="36832"/>
                    <a:pt x="401143" y="36832"/>
                    <a:pt x="401143" y="36832"/>
                  </a:cubicBezTo>
                  <a:cubicBezTo>
                    <a:pt x="314742" y="5975"/>
                    <a:pt x="108000" y="-196"/>
                    <a:pt x="6171" y="24489"/>
                  </a:cubicBezTo>
                  <a:cubicBezTo>
                    <a:pt x="3086" y="24489"/>
                    <a:pt x="0" y="24489"/>
                    <a:pt x="0" y="21404"/>
                  </a:cubicBezTo>
                  <a:cubicBezTo>
                    <a:pt x="0" y="18318"/>
                    <a:pt x="0" y="15232"/>
                    <a:pt x="3086" y="15232"/>
                  </a:cubicBezTo>
                  <a:cubicBezTo>
                    <a:pt x="104914" y="-9453"/>
                    <a:pt x="314742" y="-3282"/>
                    <a:pt x="401143" y="27575"/>
                  </a:cubicBezTo>
                  <a:cubicBezTo>
                    <a:pt x="404229" y="27575"/>
                    <a:pt x="404229" y="30661"/>
                    <a:pt x="404229" y="33746"/>
                  </a:cubicBezTo>
                  <a:cubicBezTo>
                    <a:pt x="407314" y="33746"/>
                    <a:pt x="404229" y="36832"/>
                    <a:pt x="401143" y="36832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445C1513-292C-4B65-9131-6D86A6B58DA7}"/>
                </a:ext>
              </a:extLst>
            </p:cNvPr>
            <p:cNvSpPr/>
            <p:nvPr/>
          </p:nvSpPr>
          <p:spPr>
            <a:xfrm>
              <a:off x="11384351" y="2820524"/>
              <a:ext cx="364113" cy="157371"/>
            </a:xfrm>
            <a:custGeom>
              <a:avLst/>
              <a:gdLst>
                <a:gd name="connsiteX0" fmla="*/ 327086 w 364113"/>
                <a:gd name="connsiteY0" fmla="*/ 6171 h 157371"/>
                <a:gd name="connsiteX1" fmla="*/ 222171 w 364113"/>
                <a:gd name="connsiteY1" fmla="*/ 123429 h 157371"/>
                <a:gd name="connsiteX2" fmla="*/ 24685 w 364113"/>
                <a:gd name="connsiteY2" fmla="*/ 0 h 157371"/>
                <a:gd name="connsiteX3" fmla="*/ 0 w 364113"/>
                <a:gd name="connsiteY3" fmla="*/ 9257 h 157371"/>
                <a:gd name="connsiteX4" fmla="*/ 225257 w 364113"/>
                <a:gd name="connsiteY4" fmla="*/ 157372 h 157371"/>
                <a:gd name="connsiteX5" fmla="*/ 364114 w 364113"/>
                <a:gd name="connsiteY5" fmla="*/ 15429 h 157371"/>
                <a:gd name="connsiteX6" fmla="*/ 327086 w 364113"/>
                <a:gd name="connsiteY6" fmla="*/ 6171 h 15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113" h="157371">
                  <a:moveTo>
                    <a:pt x="327086" y="6171"/>
                  </a:moveTo>
                  <a:lnTo>
                    <a:pt x="222171" y="123429"/>
                  </a:lnTo>
                  <a:cubicBezTo>
                    <a:pt x="222171" y="123429"/>
                    <a:pt x="89486" y="21600"/>
                    <a:pt x="24685" y="0"/>
                  </a:cubicBezTo>
                  <a:lnTo>
                    <a:pt x="0" y="9257"/>
                  </a:lnTo>
                  <a:lnTo>
                    <a:pt x="225257" y="157372"/>
                  </a:lnTo>
                  <a:lnTo>
                    <a:pt x="364114" y="15429"/>
                  </a:lnTo>
                  <a:cubicBezTo>
                    <a:pt x="364114" y="12343"/>
                    <a:pt x="348685" y="6171"/>
                    <a:pt x="327086" y="6171"/>
                  </a:cubicBezTo>
                  <a:close/>
                </a:path>
              </a:pathLst>
            </a:custGeom>
            <a:solidFill>
              <a:srgbClr val="D16156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41942228-9201-4E8D-B4C7-E5BC62178CE1}"/>
                </a:ext>
              </a:extLst>
            </p:cNvPr>
            <p:cNvSpPr/>
            <p:nvPr/>
          </p:nvSpPr>
          <p:spPr>
            <a:xfrm>
              <a:off x="11220808" y="3736982"/>
              <a:ext cx="691200" cy="66142"/>
            </a:xfrm>
            <a:custGeom>
              <a:avLst/>
              <a:gdLst>
                <a:gd name="connsiteX0" fmla="*/ 0 w 691200"/>
                <a:gd name="connsiteY0" fmla="*/ 43200 h 66142"/>
                <a:gd name="connsiteX1" fmla="*/ 685029 w 691200"/>
                <a:gd name="connsiteY1" fmla="*/ 58629 h 66142"/>
                <a:gd name="connsiteX2" fmla="*/ 691201 w 691200"/>
                <a:gd name="connsiteY2" fmla="*/ 12343 h 66142"/>
                <a:gd name="connsiteX3" fmla="*/ 6172 w 691200"/>
                <a:gd name="connsiteY3" fmla="*/ 0 h 66142"/>
                <a:gd name="connsiteX4" fmla="*/ 0 w 691200"/>
                <a:gd name="connsiteY4" fmla="*/ 43200 h 66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1200" h="66142">
                  <a:moveTo>
                    <a:pt x="0" y="43200"/>
                  </a:moveTo>
                  <a:cubicBezTo>
                    <a:pt x="188229" y="83314"/>
                    <a:pt x="685029" y="58629"/>
                    <a:pt x="685029" y="58629"/>
                  </a:cubicBezTo>
                  <a:lnTo>
                    <a:pt x="691201" y="12343"/>
                  </a:lnTo>
                  <a:cubicBezTo>
                    <a:pt x="691201" y="12343"/>
                    <a:pt x="274629" y="40114"/>
                    <a:pt x="6172" y="0"/>
                  </a:cubicBezTo>
                  <a:lnTo>
                    <a:pt x="0" y="43200"/>
                  </a:ln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B61FAB96-C0F8-4E95-9E3A-9201E8505141}"/>
                </a:ext>
              </a:extLst>
            </p:cNvPr>
            <p:cNvSpPr/>
            <p:nvPr/>
          </p:nvSpPr>
          <p:spPr>
            <a:xfrm>
              <a:off x="11207699" y="2971438"/>
              <a:ext cx="806137" cy="1024744"/>
            </a:xfrm>
            <a:custGeom>
              <a:avLst/>
              <a:gdLst>
                <a:gd name="connsiteX0" fmla="*/ 766 w 806137"/>
                <a:gd name="connsiteY0" fmla="*/ 123715 h 1024744"/>
                <a:gd name="connsiteX1" fmla="*/ 256881 w 806137"/>
                <a:gd name="connsiteY1" fmla="*/ 108287 h 1024744"/>
                <a:gd name="connsiteX2" fmla="*/ 395738 w 806137"/>
                <a:gd name="connsiteY2" fmla="*/ 602001 h 1024744"/>
                <a:gd name="connsiteX3" fmla="*/ 806138 w 806137"/>
                <a:gd name="connsiteY3" fmla="*/ 932173 h 1024744"/>
                <a:gd name="connsiteX4" fmla="*/ 762938 w 806137"/>
                <a:gd name="connsiteY4" fmla="*/ 1024744 h 1024744"/>
                <a:gd name="connsiteX5" fmla="*/ 232195 w 806137"/>
                <a:gd name="connsiteY5" fmla="*/ 743944 h 1024744"/>
                <a:gd name="connsiteX6" fmla="*/ 766 w 806137"/>
                <a:gd name="connsiteY6" fmla="*/ 123715 h 102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6137" h="1024744">
                  <a:moveTo>
                    <a:pt x="766" y="123715"/>
                  </a:moveTo>
                  <a:cubicBezTo>
                    <a:pt x="-14663" y="-61427"/>
                    <a:pt x="207509" y="-15142"/>
                    <a:pt x="256881" y="108287"/>
                  </a:cubicBezTo>
                  <a:cubicBezTo>
                    <a:pt x="306252" y="228630"/>
                    <a:pt x="371052" y="524858"/>
                    <a:pt x="395738" y="602001"/>
                  </a:cubicBezTo>
                  <a:cubicBezTo>
                    <a:pt x="469795" y="663716"/>
                    <a:pt x="806138" y="932173"/>
                    <a:pt x="806138" y="932173"/>
                  </a:cubicBezTo>
                  <a:cubicBezTo>
                    <a:pt x="799966" y="966115"/>
                    <a:pt x="762938" y="1024744"/>
                    <a:pt x="762938" y="1024744"/>
                  </a:cubicBezTo>
                  <a:cubicBezTo>
                    <a:pt x="762938" y="1024744"/>
                    <a:pt x="334024" y="808744"/>
                    <a:pt x="232195" y="743944"/>
                  </a:cubicBezTo>
                  <a:cubicBezTo>
                    <a:pt x="170480" y="703830"/>
                    <a:pt x="16195" y="318115"/>
                    <a:pt x="766" y="123715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F90DEC49-D5AC-43F3-80C8-93144093E1FF}"/>
                </a:ext>
              </a:extLst>
            </p:cNvPr>
            <p:cNvSpPr/>
            <p:nvPr/>
          </p:nvSpPr>
          <p:spPr>
            <a:xfrm>
              <a:off x="11159834" y="2873080"/>
              <a:ext cx="403488" cy="419558"/>
            </a:xfrm>
            <a:custGeom>
              <a:avLst/>
              <a:gdLst>
                <a:gd name="connsiteX0" fmla="*/ 39375 w 403488"/>
                <a:gd name="connsiteY0" fmla="*/ 419558 h 419558"/>
                <a:gd name="connsiteX1" fmla="*/ 70232 w 403488"/>
                <a:gd name="connsiteY1" fmla="*/ 12244 h 419558"/>
                <a:gd name="connsiteX2" fmla="*/ 403488 w 403488"/>
                <a:gd name="connsiteY2" fmla="*/ 311558 h 419558"/>
                <a:gd name="connsiteX3" fmla="*/ 39375 w 403488"/>
                <a:gd name="connsiteY3" fmla="*/ 419558 h 419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3488" h="419558">
                  <a:moveTo>
                    <a:pt x="39375" y="419558"/>
                  </a:moveTo>
                  <a:cubicBezTo>
                    <a:pt x="-31597" y="246758"/>
                    <a:pt x="2346" y="58530"/>
                    <a:pt x="70232" y="12244"/>
                  </a:cubicBezTo>
                  <a:cubicBezTo>
                    <a:pt x="156631" y="-46384"/>
                    <a:pt x="341774" y="114073"/>
                    <a:pt x="403488" y="311558"/>
                  </a:cubicBezTo>
                  <a:cubicBezTo>
                    <a:pt x="354117" y="370187"/>
                    <a:pt x="141203" y="410301"/>
                    <a:pt x="39375" y="419558"/>
                  </a:cubicBezTo>
                  <a:close/>
                </a:path>
              </a:pathLst>
            </a:custGeom>
            <a:solidFill>
              <a:srgbClr val="F6EBE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EA65699F-A401-45D2-8D7B-77C4A6073A27}"/>
                </a:ext>
              </a:extLst>
            </p:cNvPr>
            <p:cNvSpPr/>
            <p:nvPr/>
          </p:nvSpPr>
          <p:spPr>
            <a:xfrm>
              <a:off x="11236236" y="2871791"/>
              <a:ext cx="327085" cy="383819"/>
            </a:xfrm>
            <a:custGeom>
              <a:avLst/>
              <a:gdLst>
                <a:gd name="connsiteX0" fmla="*/ 194401 w 327085"/>
                <a:gd name="connsiteY0" fmla="*/ 383820 h 383819"/>
                <a:gd name="connsiteX1" fmla="*/ 188229 w 327085"/>
                <a:gd name="connsiteY1" fmla="*/ 380734 h 383819"/>
                <a:gd name="connsiteX2" fmla="*/ 191315 w 327085"/>
                <a:gd name="connsiteY2" fmla="*/ 374563 h 383819"/>
                <a:gd name="connsiteX3" fmla="*/ 317829 w 327085"/>
                <a:gd name="connsiteY3" fmla="*/ 312848 h 383819"/>
                <a:gd name="connsiteX4" fmla="*/ 157372 w 327085"/>
                <a:gd name="connsiteY4" fmla="*/ 65991 h 383819"/>
                <a:gd name="connsiteX5" fmla="*/ 148115 w 327085"/>
                <a:gd name="connsiteY5" fmla="*/ 59820 h 383819"/>
                <a:gd name="connsiteX6" fmla="*/ 6172 w 327085"/>
                <a:gd name="connsiteY6" fmla="*/ 13534 h 383819"/>
                <a:gd name="connsiteX7" fmla="*/ 0 w 327085"/>
                <a:gd name="connsiteY7" fmla="*/ 10448 h 383819"/>
                <a:gd name="connsiteX8" fmla="*/ 3086 w 327085"/>
                <a:gd name="connsiteY8" fmla="*/ 4277 h 383819"/>
                <a:gd name="connsiteX9" fmla="*/ 154286 w 327085"/>
                <a:gd name="connsiteY9" fmla="*/ 53648 h 383819"/>
                <a:gd name="connsiteX10" fmla="*/ 160458 w 327085"/>
                <a:gd name="connsiteY10" fmla="*/ 59820 h 383819"/>
                <a:gd name="connsiteX11" fmla="*/ 327086 w 327085"/>
                <a:gd name="connsiteY11" fmla="*/ 315934 h 383819"/>
                <a:gd name="connsiteX12" fmla="*/ 327086 w 327085"/>
                <a:gd name="connsiteY12" fmla="*/ 319020 h 383819"/>
                <a:gd name="connsiteX13" fmla="*/ 324000 w 327085"/>
                <a:gd name="connsiteY13" fmla="*/ 322105 h 383819"/>
                <a:gd name="connsiteX14" fmla="*/ 194401 w 327085"/>
                <a:gd name="connsiteY14" fmla="*/ 383820 h 383819"/>
                <a:gd name="connsiteX15" fmla="*/ 194401 w 327085"/>
                <a:gd name="connsiteY15" fmla="*/ 383820 h 383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7085" h="383819">
                  <a:moveTo>
                    <a:pt x="194401" y="383820"/>
                  </a:moveTo>
                  <a:cubicBezTo>
                    <a:pt x="191315" y="383820"/>
                    <a:pt x="191315" y="383820"/>
                    <a:pt x="188229" y="380734"/>
                  </a:cubicBezTo>
                  <a:cubicBezTo>
                    <a:pt x="188229" y="377648"/>
                    <a:pt x="188229" y="374563"/>
                    <a:pt x="191315" y="374563"/>
                  </a:cubicBezTo>
                  <a:cubicBezTo>
                    <a:pt x="256115" y="352963"/>
                    <a:pt x="302401" y="334448"/>
                    <a:pt x="317829" y="312848"/>
                  </a:cubicBezTo>
                  <a:cubicBezTo>
                    <a:pt x="308571" y="275820"/>
                    <a:pt x="237600" y="124620"/>
                    <a:pt x="157372" y="65991"/>
                  </a:cubicBezTo>
                  <a:cubicBezTo>
                    <a:pt x="154286" y="62905"/>
                    <a:pt x="151201" y="62905"/>
                    <a:pt x="148115" y="59820"/>
                  </a:cubicBezTo>
                  <a:cubicBezTo>
                    <a:pt x="120344" y="38220"/>
                    <a:pt x="64800" y="-4980"/>
                    <a:pt x="6172" y="13534"/>
                  </a:cubicBezTo>
                  <a:cubicBezTo>
                    <a:pt x="3086" y="13534"/>
                    <a:pt x="0" y="13534"/>
                    <a:pt x="0" y="10448"/>
                  </a:cubicBezTo>
                  <a:cubicBezTo>
                    <a:pt x="0" y="7363"/>
                    <a:pt x="0" y="4277"/>
                    <a:pt x="3086" y="4277"/>
                  </a:cubicBezTo>
                  <a:cubicBezTo>
                    <a:pt x="67886" y="-14237"/>
                    <a:pt x="126514" y="32048"/>
                    <a:pt x="154286" y="53648"/>
                  </a:cubicBezTo>
                  <a:cubicBezTo>
                    <a:pt x="157372" y="56734"/>
                    <a:pt x="160458" y="56734"/>
                    <a:pt x="160458" y="59820"/>
                  </a:cubicBezTo>
                  <a:cubicBezTo>
                    <a:pt x="246857" y="124620"/>
                    <a:pt x="320915" y="285077"/>
                    <a:pt x="327086" y="315934"/>
                  </a:cubicBezTo>
                  <a:lnTo>
                    <a:pt x="327086" y="319020"/>
                  </a:lnTo>
                  <a:lnTo>
                    <a:pt x="324000" y="322105"/>
                  </a:lnTo>
                  <a:cubicBezTo>
                    <a:pt x="311657" y="337534"/>
                    <a:pt x="265372" y="356048"/>
                    <a:pt x="194401" y="383820"/>
                  </a:cubicBezTo>
                  <a:cubicBezTo>
                    <a:pt x="194401" y="383820"/>
                    <a:pt x="194401" y="383820"/>
                    <a:pt x="194401" y="383820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A4361B51-9B1B-4E6C-886F-62F90E3D7589}"/>
                </a:ext>
              </a:extLst>
            </p:cNvPr>
            <p:cNvSpPr/>
            <p:nvPr/>
          </p:nvSpPr>
          <p:spPr>
            <a:xfrm>
              <a:off x="10881379" y="1944665"/>
              <a:ext cx="691200" cy="810838"/>
            </a:xfrm>
            <a:custGeom>
              <a:avLst/>
              <a:gdLst>
                <a:gd name="connsiteX0" fmla="*/ 691201 w 691200"/>
                <a:gd name="connsiteY0" fmla="*/ 178488 h 810838"/>
                <a:gd name="connsiteX1" fmla="*/ 351772 w 691200"/>
                <a:gd name="connsiteY1" fmla="*/ 2602 h 810838"/>
                <a:gd name="connsiteX2" fmla="*/ 101829 w 691200"/>
                <a:gd name="connsiteY2" fmla="*/ 431517 h 810838"/>
                <a:gd name="connsiteX3" fmla="*/ 0 w 691200"/>
                <a:gd name="connsiteY3" fmla="*/ 730831 h 810838"/>
                <a:gd name="connsiteX4" fmla="*/ 333258 w 691200"/>
                <a:gd name="connsiteY4" fmla="*/ 727745 h 810838"/>
                <a:gd name="connsiteX5" fmla="*/ 536915 w 691200"/>
                <a:gd name="connsiteY5" fmla="*/ 237117 h 810838"/>
                <a:gd name="connsiteX6" fmla="*/ 691201 w 691200"/>
                <a:gd name="connsiteY6" fmla="*/ 178488 h 810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1200" h="810838">
                  <a:moveTo>
                    <a:pt x="691201" y="178488"/>
                  </a:moveTo>
                  <a:cubicBezTo>
                    <a:pt x="691201" y="178488"/>
                    <a:pt x="657258" y="-25169"/>
                    <a:pt x="351772" y="2602"/>
                  </a:cubicBezTo>
                  <a:cubicBezTo>
                    <a:pt x="163543" y="18031"/>
                    <a:pt x="70972" y="298831"/>
                    <a:pt x="101829" y="431517"/>
                  </a:cubicBezTo>
                  <a:cubicBezTo>
                    <a:pt x="132686" y="564202"/>
                    <a:pt x="111086" y="678374"/>
                    <a:pt x="0" y="730831"/>
                  </a:cubicBezTo>
                  <a:cubicBezTo>
                    <a:pt x="0" y="730831"/>
                    <a:pt x="219086" y="912888"/>
                    <a:pt x="333258" y="727745"/>
                  </a:cubicBezTo>
                  <a:cubicBezTo>
                    <a:pt x="379543" y="650602"/>
                    <a:pt x="394972" y="277231"/>
                    <a:pt x="536915" y="237117"/>
                  </a:cubicBezTo>
                  <a:cubicBezTo>
                    <a:pt x="601714" y="218602"/>
                    <a:pt x="691201" y="178488"/>
                    <a:pt x="691201" y="178488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D4B958D6-D031-4D0B-9AA9-55FF1BAC58F9}"/>
                </a:ext>
              </a:extLst>
            </p:cNvPr>
            <p:cNvSpPr/>
            <p:nvPr/>
          </p:nvSpPr>
          <p:spPr>
            <a:xfrm>
              <a:off x="10875208" y="2510675"/>
              <a:ext cx="201849" cy="170992"/>
            </a:xfrm>
            <a:custGeom>
              <a:avLst/>
              <a:gdLst>
                <a:gd name="connsiteX0" fmla="*/ 15429 w 201849"/>
                <a:gd name="connsiteY0" fmla="*/ 170992 h 170992"/>
                <a:gd name="connsiteX1" fmla="*/ 6171 w 201849"/>
                <a:gd name="connsiteY1" fmla="*/ 170992 h 170992"/>
                <a:gd name="connsiteX2" fmla="*/ 0 w 201849"/>
                <a:gd name="connsiteY2" fmla="*/ 164821 h 170992"/>
                <a:gd name="connsiteX3" fmla="*/ 6171 w 201849"/>
                <a:gd name="connsiteY3" fmla="*/ 158650 h 170992"/>
                <a:gd name="connsiteX4" fmla="*/ 191314 w 201849"/>
                <a:gd name="connsiteY4" fmla="*/ 4364 h 170992"/>
                <a:gd name="connsiteX5" fmla="*/ 197486 w 201849"/>
                <a:gd name="connsiteY5" fmla="*/ 1278 h 170992"/>
                <a:gd name="connsiteX6" fmla="*/ 200571 w 201849"/>
                <a:gd name="connsiteY6" fmla="*/ 7450 h 170992"/>
                <a:gd name="connsiteX7" fmla="*/ 15429 w 201849"/>
                <a:gd name="connsiteY7" fmla="*/ 170992 h 170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849" h="170992">
                  <a:moveTo>
                    <a:pt x="15429" y="170992"/>
                  </a:moveTo>
                  <a:cubicBezTo>
                    <a:pt x="9257" y="170992"/>
                    <a:pt x="6171" y="170992"/>
                    <a:pt x="6171" y="170992"/>
                  </a:cubicBezTo>
                  <a:cubicBezTo>
                    <a:pt x="3086" y="170992"/>
                    <a:pt x="0" y="167907"/>
                    <a:pt x="0" y="164821"/>
                  </a:cubicBezTo>
                  <a:cubicBezTo>
                    <a:pt x="0" y="161735"/>
                    <a:pt x="3086" y="158650"/>
                    <a:pt x="6171" y="158650"/>
                  </a:cubicBezTo>
                  <a:cubicBezTo>
                    <a:pt x="12343" y="158650"/>
                    <a:pt x="141943" y="170992"/>
                    <a:pt x="191314" y="4364"/>
                  </a:cubicBezTo>
                  <a:cubicBezTo>
                    <a:pt x="191314" y="1278"/>
                    <a:pt x="194400" y="-1808"/>
                    <a:pt x="197486" y="1278"/>
                  </a:cubicBezTo>
                  <a:cubicBezTo>
                    <a:pt x="200571" y="1278"/>
                    <a:pt x="203657" y="4364"/>
                    <a:pt x="200571" y="7450"/>
                  </a:cubicBezTo>
                  <a:cubicBezTo>
                    <a:pt x="160457" y="158650"/>
                    <a:pt x="46286" y="170992"/>
                    <a:pt x="15429" y="170992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3D2D8776-9527-4DBC-99E6-2622F5DC8A14}"/>
                </a:ext>
              </a:extLst>
            </p:cNvPr>
            <p:cNvSpPr/>
            <p:nvPr/>
          </p:nvSpPr>
          <p:spPr>
            <a:xfrm>
              <a:off x="11412285" y="2106434"/>
              <a:ext cx="234387" cy="152315"/>
            </a:xfrm>
            <a:custGeom>
              <a:avLst/>
              <a:gdLst>
                <a:gd name="connsiteX0" fmla="*/ 234352 w 234387"/>
                <a:gd name="connsiteY0" fmla="*/ 69177 h 152315"/>
                <a:gd name="connsiteX1" fmla="*/ 114010 w 234387"/>
                <a:gd name="connsiteY1" fmla="*/ 1291 h 152315"/>
                <a:gd name="connsiteX2" fmla="*/ 6010 w 234387"/>
                <a:gd name="connsiteY2" fmla="*/ 124720 h 152315"/>
                <a:gd name="connsiteX3" fmla="*/ 234352 w 234387"/>
                <a:gd name="connsiteY3" fmla="*/ 69177 h 152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87" h="152315">
                  <a:moveTo>
                    <a:pt x="234352" y="69177"/>
                  </a:moveTo>
                  <a:cubicBezTo>
                    <a:pt x="234352" y="69177"/>
                    <a:pt x="209666" y="-11052"/>
                    <a:pt x="114010" y="1291"/>
                  </a:cubicBezTo>
                  <a:cubicBezTo>
                    <a:pt x="52295" y="10548"/>
                    <a:pt x="-21763" y="56834"/>
                    <a:pt x="6010" y="124720"/>
                  </a:cubicBezTo>
                  <a:cubicBezTo>
                    <a:pt x="33781" y="195691"/>
                    <a:pt x="237438" y="112377"/>
                    <a:pt x="234352" y="69177"/>
                  </a:cubicBezTo>
                  <a:close/>
                </a:path>
              </a:pathLst>
            </a:custGeom>
            <a:solidFill>
              <a:srgbClr val="7E94B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A151B404-3B17-4B74-A6E4-43689D1CBF1E}"/>
                </a:ext>
              </a:extLst>
            </p:cNvPr>
            <p:cNvSpPr/>
            <p:nvPr/>
          </p:nvSpPr>
          <p:spPr>
            <a:xfrm>
              <a:off x="11525958" y="2156453"/>
              <a:ext cx="328885" cy="605341"/>
            </a:xfrm>
            <a:custGeom>
              <a:avLst/>
              <a:gdLst>
                <a:gd name="connsiteX0" fmla="*/ 40450 w 328885"/>
                <a:gd name="connsiteY0" fmla="*/ 577672 h 605341"/>
                <a:gd name="connsiteX1" fmla="*/ 139194 w 328885"/>
                <a:gd name="connsiteY1" fmla="*/ 525215 h 605341"/>
                <a:gd name="connsiteX2" fmla="*/ 318165 w 328885"/>
                <a:gd name="connsiteY2" fmla="*/ 185786 h 605341"/>
                <a:gd name="connsiteX3" fmla="*/ 336 w 328885"/>
                <a:gd name="connsiteY3" fmla="*/ 9900 h 605341"/>
                <a:gd name="connsiteX4" fmla="*/ 40450 w 328885"/>
                <a:gd name="connsiteY4" fmla="*/ 161100 h 605341"/>
                <a:gd name="connsiteX5" fmla="*/ 89822 w 328885"/>
                <a:gd name="connsiteY5" fmla="*/ 306129 h 605341"/>
                <a:gd name="connsiteX6" fmla="*/ 40450 w 328885"/>
                <a:gd name="connsiteY6" fmla="*/ 577672 h 605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8885" h="605341">
                  <a:moveTo>
                    <a:pt x="40450" y="577672"/>
                  </a:moveTo>
                  <a:cubicBezTo>
                    <a:pt x="49707" y="630129"/>
                    <a:pt x="37365" y="605443"/>
                    <a:pt x="139194" y="525215"/>
                  </a:cubicBezTo>
                  <a:cubicBezTo>
                    <a:pt x="364450" y="441900"/>
                    <a:pt x="333593" y="250586"/>
                    <a:pt x="318165" y="185786"/>
                  </a:cubicBezTo>
                  <a:cubicBezTo>
                    <a:pt x="287308" y="56186"/>
                    <a:pt x="117593" y="-30214"/>
                    <a:pt x="336" y="9900"/>
                  </a:cubicBezTo>
                  <a:cubicBezTo>
                    <a:pt x="-2749" y="9900"/>
                    <a:pt x="15765" y="111729"/>
                    <a:pt x="40450" y="161100"/>
                  </a:cubicBezTo>
                  <a:cubicBezTo>
                    <a:pt x="62051" y="207386"/>
                    <a:pt x="80564" y="256758"/>
                    <a:pt x="89822" y="306129"/>
                  </a:cubicBezTo>
                  <a:cubicBezTo>
                    <a:pt x="95993" y="361672"/>
                    <a:pt x="31194" y="534472"/>
                    <a:pt x="40450" y="577672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8B0A1E1C-45AD-4909-B887-E459309DEB93}"/>
                </a:ext>
              </a:extLst>
            </p:cNvPr>
            <p:cNvSpPr/>
            <p:nvPr/>
          </p:nvSpPr>
          <p:spPr>
            <a:xfrm>
              <a:off x="11356580" y="2196331"/>
              <a:ext cx="427717" cy="575146"/>
            </a:xfrm>
            <a:custGeom>
              <a:avLst/>
              <a:gdLst>
                <a:gd name="connsiteX0" fmla="*/ 419656 w 427717"/>
                <a:gd name="connsiteY0" fmla="*/ 186023 h 575146"/>
                <a:gd name="connsiteX1" fmla="*/ 407314 w 427717"/>
                <a:gd name="connsiteY1" fmla="*/ 445223 h 575146"/>
                <a:gd name="connsiteX2" fmla="*/ 256114 w 427717"/>
                <a:gd name="connsiteY2" fmla="*/ 574823 h 575146"/>
                <a:gd name="connsiteX3" fmla="*/ 37028 w 427717"/>
                <a:gd name="connsiteY3" fmla="*/ 429794 h 575146"/>
                <a:gd name="connsiteX4" fmla="*/ 0 w 427717"/>
                <a:gd name="connsiteY4" fmla="*/ 201451 h 575146"/>
                <a:gd name="connsiteX5" fmla="*/ 216000 w 427717"/>
                <a:gd name="connsiteY5" fmla="*/ 880 h 575146"/>
                <a:gd name="connsiteX6" fmla="*/ 419656 w 427717"/>
                <a:gd name="connsiteY6" fmla="*/ 186023 h 57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717" h="575146">
                  <a:moveTo>
                    <a:pt x="419656" y="186023"/>
                  </a:moveTo>
                  <a:cubicBezTo>
                    <a:pt x="419656" y="186023"/>
                    <a:pt x="444343" y="377337"/>
                    <a:pt x="407314" y="445223"/>
                  </a:cubicBezTo>
                  <a:cubicBezTo>
                    <a:pt x="370286" y="513108"/>
                    <a:pt x="308571" y="571737"/>
                    <a:pt x="256114" y="574823"/>
                  </a:cubicBezTo>
                  <a:cubicBezTo>
                    <a:pt x="188228" y="580994"/>
                    <a:pt x="74057" y="497680"/>
                    <a:pt x="37028" y="429794"/>
                  </a:cubicBezTo>
                  <a:cubicBezTo>
                    <a:pt x="0" y="361908"/>
                    <a:pt x="0" y="253908"/>
                    <a:pt x="0" y="201451"/>
                  </a:cubicBezTo>
                  <a:cubicBezTo>
                    <a:pt x="3085" y="105794"/>
                    <a:pt x="30857" y="25565"/>
                    <a:pt x="216000" y="880"/>
                  </a:cubicBezTo>
                  <a:cubicBezTo>
                    <a:pt x="305486" y="-11463"/>
                    <a:pt x="401143" y="108880"/>
                    <a:pt x="419656" y="186023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BA3EDE3A-C2EA-415A-8112-17FD9BA88FCE}"/>
                </a:ext>
              </a:extLst>
            </p:cNvPr>
            <p:cNvSpPr/>
            <p:nvPr/>
          </p:nvSpPr>
          <p:spPr>
            <a:xfrm>
              <a:off x="11584923" y="2471839"/>
              <a:ext cx="55542" cy="132685"/>
            </a:xfrm>
            <a:custGeom>
              <a:avLst/>
              <a:gdLst>
                <a:gd name="connsiteX0" fmla="*/ 30857 w 55542"/>
                <a:gd name="connsiteY0" fmla="*/ 132686 h 132685"/>
                <a:gd name="connsiteX1" fmla="*/ 6171 w 55542"/>
                <a:gd name="connsiteY1" fmla="*/ 129600 h 132685"/>
                <a:gd name="connsiteX2" fmla="*/ 0 w 55542"/>
                <a:gd name="connsiteY2" fmla="*/ 123429 h 132685"/>
                <a:gd name="connsiteX3" fmla="*/ 6171 w 55542"/>
                <a:gd name="connsiteY3" fmla="*/ 117257 h 132685"/>
                <a:gd name="connsiteX4" fmla="*/ 46286 w 55542"/>
                <a:gd name="connsiteY4" fmla="*/ 117257 h 132685"/>
                <a:gd name="connsiteX5" fmla="*/ 46286 w 55542"/>
                <a:gd name="connsiteY5" fmla="*/ 114171 h 132685"/>
                <a:gd name="connsiteX6" fmla="*/ 18514 w 55542"/>
                <a:gd name="connsiteY6" fmla="*/ 6171 h 132685"/>
                <a:gd name="connsiteX7" fmla="*/ 21599 w 55542"/>
                <a:gd name="connsiteY7" fmla="*/ 0 h 132685"/>
                <a:gd name="connsiteX8" fmla="*/ 27771 w 55542"/>
                <a:gd name="connsiteY8" fmla="*/ 3086 h 132685"/>
                <a:gd name="connsiteX9" fmla="*/ 55542 w 55542"/>
                <a:gd name="connsiteY9" fmla="*/ 114171 h 132685"/>
                <a:gd name="connsiteX10" fmla="*/ 49372 w 55542"/>
                <a:gd name="connsiteY10" fmla="*/ 126514 h 132685"/>
                <a:gd name="connsiteX11" fmla="*/ 30857 w 55542"/>
                <a:gd name="connsiteY11" fmla="*/ 132686 h 132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542" h="132685">
                  <a:moveTo>
                    <a:pt x="30857" y="132686"/>
                  </a:moveTo>
                  <a:cubicBezTo>
                    <a:pt x="18514" y="132686"/>
                    <a:pt x="9257" y="129600"/>
                    <a:pt x="6171" y="129600"/>
                  </a:cubicBezTo>
                  <a:cubicBezTo>
                    <a:pt x="3086" y="129600"/>
                    <a:pt x="0" y="126514"/>
                    <a:pt x="0" y="123429"/>
                  </a:cubicBezTo>
                  <a:cubicBezTo>
                    <a:pt x="0" y="120343"/>
                    <a:pt x="3086" y="117257"/>
                    <a:pt x="6171" y="117257"/>
                  </a:cubicBezTo>
                  <a:cubicBezTo>
                    <a:pt x="18514" y="120343"/>
                    <a:pt x="40114" y="120343"/>
                    <a:pt x="46286" y="117257"/>
                  </a:cubicBezTo>
                  <a:cubicBezTo>
                    <a:pt x="46286" y="117257"/>
                    <a:pt x="46286" y="114171"/>
                    <a:pt x="46286" y="114171"/>
                  </a:cubicBezTo>
                  <a:cubicBezTo>
                    <a:pt x="46286" y="98743"/>
                    <a:pt x="24685" y="30857"/>
                    <a:pt x="18514" y="6171"/>
                  </a:cubicBezTo>
                  <a:cubicBezTo>
                    <a:pt x="18514" y="3086"/>
                    <a:pt x="18514" y="0"/>
                    <a:pt x="21599" y="0"/>
                  </a:cubicBezTo>
                  <a:cubicBezTo>
                    <a:pt x="24685" y="0"/>
                    <a:pt x="27771" y="0"/>
                    <a:pt x="27771" y="3086"/>
                  </a:cubicBezTo>
                  <a:cubicBezTo>
                    <a:pt x="27771" y="6171"/>
                    <a:pt x="55542" y="92571"/>
                    <a:pt x="55542" y="114171"/>
                  </a:cubicBezTo>
                  <a:cubicBezTo>
                    <a:pt x="55542" y="120343"/>
                    <a:pt x="52457" y="123429"/>
                    <a:pt x="49372" y="126514"/>
                  </a:cubicBezTo>
                  <a:cubicBezTo>
                    <a:pt x="52457" y="129600"/>
                    <a:pt x="40114" y="132686"/>
                    <a:pt x="30857" y="132686"/>
                  </a:cubicBezTo>
                  <a:close/>
                </a:path>
              </a:pathLst>
            </a:custGeom>
            <a:solidFill>
              <a:srgbClr val="E58777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A8485ECF-9C49-4DA8-979A-BCC02D9FB251}"/>
                </a:ext>
              </a:extLst>
            </p:cNvPr>
            <p:cNvSpPr/>
            <p:nvPr/>
          </p:nvSpPr>
          <p:spPr>
            <a:xfrm>
              <a:off x="11557151" y="2653896"/>
              <a:ext cx="108000" cy="55542"/>
            </a:xfrm>
            <a:custGeom>
              <a:avLst/>
              <a:gdLst>
                <a:gd name="connsiteX0" fmla="*/ 0 w 108000"/>
                <a:gd name="connsiteY0" fmla="*/ 0 h 55542"/>
                <a:gd name="connsiteX1" fmla="*/ 108000 w 108000"/>
                <a:gd name="connsiteY1" fmla="*/ 0 h 55542"/>
                <a:gd name="connsiteX2" fmla="*/ 55542 w 108000"/>
                <a:gd name="connsiteY2" fmla="*/ 55543 h 55542"/>
                <a:gd name="connsiteX3" fmla="*/ 0 w 108000"/>
                <a:gd name="connsiteY3" fmla="*/ 0 h 5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000" h="55542">
                  <a:moveTo>
                    <a:pt x="0" y="0"/>
                  </a:moveTo>
                  <a:cubicBezTo>
                    <a:pt x="55542" y="24686"/>
                    <a:pt x="108000" y="0"/>
                    <a:pt x="108000" y="0"/>
                  </a:cubicBezTo>
                  <a:cubicBezTo>
                    <a:pt x="108000" y="0"/>
                    <a:pt x="92571" y="55543"/>
                    <a:pt x="55542" y="55543"/>
                  </a:cubicBezTo>
                  <a:cubicBezTo>
                    <a:pt x="15429" y="5554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7064D6D8-A9C2-478A-AD8A-ACA8D83DDF2E}"/>
                </a:ext>
              </a:extLst>
            </p:cNvPr>
            <p:cNvSpPr/>
            <p:nvPr/>
          </p:nvSpPr>
          <p:spPr>
            <a:xfrm>
              <a:off x="11679793" y="2440195"/>
              <a:ext cx="41686" cy="41686"/>
            </a:xfrm>
            <a:custGeom>
              <a:avLst/>
              <a:gdLst>
                <a:gd name="connsiteX0" fmla="*/ 786 w 41686"/>
                <a:gd name="connsiteY0" fmla="*/ 25472 h 41686"/>
                <a:gd name="connsiteX1" fmla="*/ 25472 w 41686"/>
                <a:gd name="connsiteY1" fmla="*/ 40901 h 41686"/>
                <a:gd name="connsiteX2" fmla="*/ 40900 w 41686"/>
                <a:gd name="connsiteY2" fmla="*/ 16215 h 41686"/>
                <a:gd name="connsiteX3" fmla="*/ 16215 w 41686"/>
                <a:gd name="connsiteY3" fmla="*/ 786 h 41686"/>
                <a:gd name="connsiteX4" fmla="*/ 786 w 41686"/>
                <a:gd name="connsiteY4" fmla="*/ 25472 h 41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86" h="41686">
                  <a:moveTo>
                    <a:pt x="786" y="25472"/>
                  </a:moveTo>
                  <a:cubicBezTo>
                    <a:pt x="3871" y="37815"/>
                    <a:pt x="13129" y="43986"/>
                    <a:pt x="25472" y="40901"/>
                  </a:cubicBezTo>
                  <a:cubicBezTo>
                    <a:pt x="37814" y="37815"/>
                    <a:pt x="43986" y="28558"/>
                    <a:pt x="40900" y="16215"/>
                  </a:cubicBezTo>
                  <a:cubicBezTo>
                    <a:pt x="37814" y="3872"/>
                    <a:pt x="28558" y="-2299"/>
                    <a:pt x="16215" y="786"/>
                  </a:cubicBezTo>
                  <a:cubicBezTo>
                    <a:pt x="3871" y="3872"/>
                    <a:pt x="-2299" y="16215"/>
                    <a:pt x="786" y="25472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88C1C85B-F3DC-4F6D-9C31-B77540F0E00F}"/>
                </a:ext>
              </a:extLst>
            </p:cNvPr>
            <p:cNvSpPr/>
            <p:nvPr/>
          </p:nvSpPr>
          <p:spPr>
            <a:xfrm>
              <a:off x="11485574" y="2449452"/>
              <a:ext cx="41506" cy="41505"/>
            </a:xfrm>
            <a:custGeom>
              <a:avLst/>
              <a:gdLst>
                <a:gd name="connsiteX0" fmla="*/ 605 w 41506"/>
                <a:gd name="connsiteY0" fmla="*/ 25472 h 41505"/>
                <a:gd name="connsiteX1" fmla="*/ 25292 w 41506"/>
                <a:gd name="connsiteY1" fmla="*/ 40901 h 41505"/>
                <a:gd name="connsiteX2" fmla="*/ 40720 w 41506"/>
                <a:gd name="connsiteY2" fmla="*/ 16215 h 41505"/>
                <a:gd name="connsiteX3" fmla="*/ 16034 w 41506"/>
                <a:gd name="connsiteY3" fmla="*/ 786 h 41505"/>
                <a:gd name="connsiteX4" fmla="*/ 605 w 41506"/>
                <a:gd name="connsiteY4" fmla="*/ 25472 h 4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6" h="41505">
                  <a:moveTo>
                    <a:pt x="605" y="25472"/>
                  </a:moveTo>
                  <a:cubicBezTo>
                    <a:pt x="3691" y="34729"/>
                    <a:pt x="12948" y="43986"/>
                    <a:pt x="25292" y="40901"/>
                  </a:cubicBezTo>
                  <a:cubicBezTo>
                    <a:pt x="37634" y="37815"/>
                    <a:pt x="43805" y="28558"/>
                    <a:pt x="40720" y="16215"/>
                  </a:cubicBezTo>
                  <a:cubicBezTo>
                    <a:pt x="37634" y="3872"/>
                    <a:pt x="28377" y="-2299"/>
                    <a:pt x="16034" y="786"/>
                  </a:cubicBezTo>
                  <a:cubicBezTo>
                    <a:pt x="6777" y="3872"/>
                    <a:pt x="-2481" y="13129"/>
                    <a:pt x="605" y="25472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CDA6F63C-BCC7-4171-AA02-ACB26E07351E}"/>
                </a:ext>
              </a:extLst>
            </p:cNvPr>
            <p:cNvSpPr/>
            <p:nvPr/>
          </p:nvSpPr>
          <p:spPr>
            <a:xfrm>
              <a:off x="11651530" y="2395059"/>
              <a:ext cx="93077" cy="33579"/>
            </a:xfrm>
            <a:custGeom>
              <a:avLst/>
              <a:gdLst>
                <a:gd name="connsiteX0" fmla="*/ 84592 w 93077"/>
                <a:gd name="connsiteY0" fmla="*/ 30494 h 33579"/>
                <a:gd name="connsiteX1" fmla="*/ 78421 w 93077"/>
                <a:gd name="connsiteY1" fmla="*/ 27408 h 33579"/>
                <a:gd name="connsiteX2" fmla="*/ 10536 w 93077"/>
                <a:gd name="connsiteY2" fmla="*/ 21237 h 33579"/>
                <a:gd name="connsiteX3" fmla="*/ 1278 w 93077"/>
                <a:gd name="connsiteY3" fmla="*/ 18151 h 33579"/>
                <a:gd name="connsiteX4" fmla="*/ 4364 w 93077"/>
                <a:gd name="connsiteY4" fmla="*/ 8894 h 33579"/>
                <a:gd name="connsiteX5" fmla="*/ 90764 w 93077"/>
                <a:gd name="connsiteY5" fmla="*/ 21237 h 33579"/>
                <a:gd name="connsiteX6" fmla="*/ 90764 w 93077"/>
                <a:gd name="connsiteY6" fmla="*/ 33580 h 33579"/>
                <a:gd name="connsiteX7" fmla="*/ 84592 w 93077"/>
                <a:gd name="connsiteY7" fmla="*/ 30494 h 33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7" h="33579">
                  <a:moveTo>
                    <a:pt x="84592" y="30494"/>
                  </a:moveTo>
                  <a:cubicBezTo>
                    <a:pt x="81507" y="30494"/>
                    <a:pt x="81507" y="30494"/>
                    <a:pt x="78421" y="27408"/>
                  </a:cubicBezTo>
                  <a:cubicBezTo>
                    <a:pt x="53735" y="-363"/>
                    <a:pt x="10536" y="21237"/>
                    <a:pt x="10536" y="21237"/>
                  </a:cubicBezTo>
                  <a:cubicBezTo>
                    <a:pt x="7450" y="24323"/>
                    <a:pt x="1278" y="21237"/>
                    <a:pt x="1278" y="18151"/>
                  </a:cubicBezTo>
                  <a:cubicBezTo>
                    <a:pt x="-1807" y="15065"/>
                    <a:pt x="1278" y="8894"/>
                    <a:pt x="4364" y="8894"/>
                  </a:cubicBezTo>
                  <a:cubicBezTo>
                    <a:pt x="22878" y="-363"/>
                    <a:pt x="62992" y="-9620"/>
                    <a:pt x="90764" y="21237"/>
                  </a:cubicBezTo>
                  <a:cubicBezTo>
                    <a:pt x="93849" y="24323"/>
                    <a:pt x="93849" y="30494"/>
                    <a:pt x="90764" y="33580"/>
                  </a:cubicBezTo>
                  <a:cubicBezTo>
                    <a:pt x="90764" y="30494"/>
                    <a:pt x="87678" y="30494"/>
                    <a:pt x="84592" y="30494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67F3E369-C9CF-47CB-9612-C969723CCA67}"/>
                </a:ext>
              </a:extLst>
            </p:cNvPr>
            <p:cNvSpPr/>
            <p:nvPr/>
          </p:nvSpPr>
          <p:spPr>
            <a:xfrm>
              <a:off x="11459180" y="2391924"/>
              <a:ext cx="93078" cy="36714"/>
            </a:xfrm>
            <a:custGeom>
              <a:avLst/>
              <a:gdLst>
                <a:gd name="connsiteX0" fmla="*/ 8485 w 93078"/>
                <a:gd name="connsiteY0" fmla="*/ 36715 h 36714"/>
                <a:gd name="connsiteX1" fmla="*/ 2314 w 93078"/>
                <a:gd name="connsiteY1" fmla="*/ 33629 h 36714"/>
                <a:gd name="connsiteX2" fmla="*/ 2314 w 93078"/>
                <a:gd name="connsiteY2" fmla="*/ 21286 h 36714"/>
                <a:gd name="connsiteX3" fmla="*/ 88714 w 93078"/>
                <a:gd name="connsiteY3" fmla="*/ 12029 h 36714"/>
                <a:gd name="connsiteX4" fmla="*/ 91800 w 93078"/>
                <a:gd name="connsiteY4" fmla="*/ 24372 h 36714"/>
                <a:gd name="connsiteX5" fmla="*/ 79457 w 93078"/>
                <a:gd name="connsiteY5" fmla="*/ 27457 h 36714"/>
                <a:gd name="connsiteX6" fmla="*/ 11571 w 93078"/>
                <a:gd name="connsiteY6" fmla="*/ 33629 h 36714"/>
                <a:gd name="connsiteX7" fmla="*/ 8485 w 93078"/>
                <a:gd name="connsiteY7" fmla="*/ 36715 h 3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6714">
                  <a:moveTo>
                    <a:pt x="8485" y="36715"/>
                  </a:moveTo>
                  <a:cubicBezTo>
                    <a:pt x="5400" y="36715"/>
                    <a:pt x="5400" y="36715"/>
                    <a:pt x="2314" y="33629"/>
                  </a:cubicBezTo>
                  <a:cubicBezTo>
                    <a:pt x="-771" y="30543"/>
                    <a:pt x="-771" y="24372"/>
                    <a:pt x="2314" y="21286"/>
                  </a:cubicBezTo>
                  <a:cubicBezTo>
                    <a:pt x="14657" y="5857"/>
                    <a:pt x="51686" y="-12657"/>
                    <a:pt x="88714" y="12029"/>
                  </a:cubicBezTo>
                  <a:cubicBezTo>
                    <a:pt x="91800" y="15115"/>
                    <a:pt x="94886" y="18200"/>
                    <a:pt x="91800" y="24372"/>
                  </a:cubicBezTo>
                  <a:cubicBezTo>
                    <a:pt x="88714" y="27457"/>
                    <a:pt x="85628" y="30543"/>
                    <a:pt x="79457" y="27457"/>
                  </a:cubicBezTo>
                  <a:cubicBezTo>
                    <a:pt x="42428" y="2772"/>
                    <a:pt x="14657" y="33629"/>
                    <a:pt x="11571" y="33629"/>
                  </a:cubicBezTo>
                  <a:cubicBezTo>
                    <a:pt x="11571" y="36715"/>
                    <a:pt x="11571" y="36715"/>
                    <a:pt x="8485" y="36715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C0AF290A-A8E5-4DC1-9285-D6CF9FB77309}"/>
                </a:ext>
              </a:extLst>
            </p:cNvPr>
            <p:cNvSpPr/>
            <p:nvPr/>
          </p:nvSpPr>
          <p:spPr>
            <a:xfrm>
              <a:off x="11524178" y="2164055"/>
              <a:ext cx="279970" cy="261498"/>
            </a:xfrm>
            <a:custGeom>
              <a:avLst/>
              <a:gdLst>
                <a:gd name="connsiteX0" fmla="*/ 2116 w 279970"/>
                <a:gd name="connsiteY0" fmla="*/ 2298 h 261498"/>
                <a:gd name="connsiteX1" fmla="*/ 39144 w 279970"/>
                <a:gd name="connsiteY1" fmla="*/ 131898 h 261498"/>
                <a:gd name="connsiteX2" fmla="*/ 279831 w 279970"/>
                <a:gd name="connsiteY2" fmla="*/ 261498 h 261498"/>
                <a:gd name="connsiteX3" fmla="*/ 2116 w 279970"/>
                <a:gd name="connsiteY3" fmla="*/ 2298 h 261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970" h="261498">
                  <a:moveTo>
                    <a:pt x="2116" y="2298"/>
                  </a:moveTo>
                  <a:cubicBezTo>
                    <a:pt x="2116" y="2298"/>
                    <a:pt x="-13312" y="91784"/>
                    <a:pt x="39144" y="131898"/>
                  </a:cubicBezTo>
                  <a:cubicBezTo>
                    <a:pt x="39144" y="131898"/>
                    <a:pt x="252059" y="175098"/>
                    <a:pt x="279831" y="261498"/>
                  </a:cubicBezTo>
                  <a:cubicBezTo>
                    <a:pt x="279831" y="261498"/>
                    <a:pt x="295259" y="-28559"/>
                    <a:pt x="2116" y="2298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99CD8836-22E1-4EE7-8173-9A6CD4B0DD83}"/>
                </a:ext>
              </a:extLst>
            </p:cNvPr>
            <p:cNvSpPr/>
            <p:nvPr/>
          </p:nvSpPr>
          <p:spPr>
            <a:xfrm>
              <a:off x="11336350" y="2166353"/>
              <a:ext cx="226971" cy="318329"/>
            </a:xfrm>
            <a:custGeom>
              <a:avLst/>
              <a:gdLst>
                <a:gd name="connsiteX0" fmla="*/ 226972 w 226971"/>
                <a:gd name="connsiteY0" fmla="*/ 129600 h 318329"/>
                <a:gd name="connsiteX1" fmla="*/ 85029 w 226971"/>
                <a:gd name="connsiteY1" fmla="*/ 185143 h 318329"/>
                <a:gd name="connsiteX2" fmla="*/ 26400 w 226971"/>
                <a:gd name="connsiteY2" fmla="*/ 305486 h 318329"/>
                <a:gd name="connsiteX3" fmla="*/ 1715 w 226971"/>
                <a:gd name="connsiteY3" fmla="*/ 302400 h 318329"/>
                <a:gd name="connsiteX4" fmla="*/ 193029 w 226971"/>
                <a:gd name="connsiteY4" fmla="*/ 0 h 318329"/>
                <a:gd name="connsiteX5" fmla="*/ 226972 w 226971"/>
                <a:gd name="connsiteY5" fmla="*/ 129600 h 318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6971" h="318329">
                  <a:moveTo>
                    <a:pt x="226972" y="129600"/>
                  </a:moveTo>
                  <a:cubicBezTo>
                    <a:pt x="226972" y="129600"/>
                    <a:pt x="134400" y="178971"/>
                    <a:pt x="85029" y="185143"/>
                  </a:cubicBezTo>
                  <a:cubicBezTo>
                    <a:pt x="32572" y="191314"/>
                    <a:pt x="26400" y="305486"/>
                    <a:pt x="26400" y="305486"/>
                  </a:cubicBezTo>
                  <a:cubicBezTo>
                    <a:pt x="26400" y="305486"/>
                    <a:pt x="4801" y="336343"/>
                    <a:pt x="1715" y="302400"/>
                  </a:cubicBezTo>
                  <a:cubicBezTo>
                    <a:pt x="-4457" y="222171"/>
                    <a:pt x="-4457" y="21600"/>
                    <a:pt x="193029" y="0"/>
                  </a:cubicBezTo>
                  <a:cubicBezTo>
                    <a:pt x="189944" y="0"/>
                    <a:pt x="202286" y="123429"/>
                    <a:pt x="226972" y="129600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1B004650-9F27-4563-8D3B-F1EC891EE37F}"/>
                </a:ext>
              </a:extLst>
            </p:cNvPr>
            <p:cNvSpPr/>
            <p:nvPr/>
          </p:nvSpPr>
          <p:spPr>
            <a:xfrm>
              <a:off x="11412122" y="2215724"/>
              <a:ext cx="158743" cy="141942"/>
            </a:xfrm>
            <a:custGeom>
              <a:avLst/>
              <a:gdLst>
                <a:gd name="connsiteX0" fmla="*/ 6172 w 158743"/>
                <a:gd name="connsiteY0" fmla="*/ 141943 h 141942"/>
                <a:gd name="connsiteX1" fmla="*/ 0 w 158743"/>
                <a:gd name="connsiteY1" fmla="*/ 135771 h 141942"/>
                <a:gd name="connsiteX2" fmla="*/ 6172 w 158743"/>
                <a:gd name="connsiteY2" fmla="*/ 129600 h 141942"/>
                <a:gd name="connsiteX3" fmla="*/ 101828 w 158743"/>
                <a:gd name="connsiteY3" fmla="*/ 98743 h 141942"/>
                <a:gd name="connsiteX4" fmla="*/ 141943 w 158743"/>
                <a:gd name="connsiteY4" fmla="*/ 77143 h 141942"/>
                <a:gd name="connsiteX5" fmla="*/ 117257 w 158743"/>
                <a:gd name="connsiteY5" fmla="*/ 6171 h 141942"/>
                <a:gd name="connsiteX6" fmla="*/ 123429 w 158743"/>
                <a:gd name="connsiteY6" fmla="*/ 0 h 141942"/>
                <a:gd name="connsiteX7" fmla="*/ 129600 w 158743"/>
                <a:gd name="connsiteY7" fmla="*/ 6171 h 141942"/>
                <a:gd name="connsiteX8" fmla="*/ 157372 w 158743"/>
                <a:gd name="connsiteY8" fmla="*/ 77143 h 141942"/>
                <a:gd name="connsiteX9" fmla="*/ 157372 w 158743"/>
                <a:gd name="connsiteY9" fmla="*/ 83314 h 141942"/>
                <a:gd name="connsiteX10" fmla="*/ 154286 w 158743"/>
                <a:gd name="connsiteY10" fmla="*/ 86400 h 141942"/>
                <a:gd name="connsiteX11" fmla="*/ 108000 w 158743"/>
                <a:gd name="connsiteY11" fmla="*/ 111086 h 141942"/>
                <a:gd name="connsiteX12" fmla="*/ 6172 w 158743"/>
                <a:gd name="connsiteY12" fmla="*/ 141943 h 141942"/>
                <a:gd name="connsiteX13" fmla="*/ 6172 w 158743"/>
                <a:gd name="connsiteY13" fmla="*/ 141943 h 141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8743" h="141942">
                  <a:moveTo>
                    <a:pt x="6172" y="141943"/>
                  </a:moveTo>
                  <a:cubicBezTo>
                    <a:pt x="3086" y="141943"/>
                    <a:pt x="0" y="138857"/>
                    <a:pt x="0" y="135771"/>
                  </a:cubicBezTo>
                  <a:cubicBezTo>
                    <a:pt x="0" y="132686"/>
                    <a:pt x="3086" y="129600"/>
                    <a:pt x="6172" y="129600"/>
                  </a:cubicBezTo>
                  <a:cubicBezTo>
                    <a:pt x="33943" y="126514"/>
                    <a:pt x="67886" y="114171"/>
                    <a:pt x="101828" y="98743"/>
                  </a:cubicBezTo>
                  <a:cubicBezTo>
                    <a:pt x="120343" y="89486"/>
                    <a:pt x="132685" y="83314"/>
                    <a:pt x="141943" y="77143"/>
                  </a:cubicBezTo>
                  <a:cubicBezTo>
                    <a:pt x="132685" y="61714"/>
                    <a:pt x="117257" y="27771"/>
                    <a:pt x="117257" y="6171"/>
                  </a:cubicBezTo>
                  <a:cubicBezTo>
                    <a:pt x="117257" y="3086"/>
                    <a:pt x="120343" y="0"/>
                    <a:pt x="123429" y="0"/>
                  </a:cubicBezTo>
                  <a:cubicBezTo>
                    <a:pt x="126514" y="0"/>
                    <a:pt x="129600" y="3086"/>
                    <a:pt x="129600" y="6171"/>
                  </a:cubicBezTo>
                  <a:cubicBezTo>
                    <a:pt x="132685" y="30857"/>
                    <a:pt x="151200" y="70971"/>
                    <a:pt x="157372" y="77143"/>
                  </a:cubicBezTo>
                  <a:cubicBezTo>
                    <a:pt x="157372" y="77143"/>
                    <a:pt x="160458" y="80229"/>
                    <a:pt x="157372" y="83314"/>
                  </a:cubicBezTo>
                  <a:cubicBezTo>
                    <a:pt x="157372" y="86400"/>
                    <a:pt x="157372" y="86400"/>
                    <a:pt x="154286" y="86400"/>
                  </a:cubicBezTo>
                  <a:cubicBezTo>
                    <a:pt x="154286" y="86400"/>
                    <a:pt x="135771" y="98743"/>
                    <a:pt x="108000" y="111086"/>
                  </a:cubicBezTo>
                  <a:cubicBezTo>
                    <a:pt x="70971" y="126514"/>
                    <a:pt x="37029" y="135771"/>
                    <a:pt x="6172" y="141943"/>
                  </a:cubicBezTo>
                  <a:cubicBezTo>
                    <a:pt x="6172" y="141943"/>
                    <a:pt x="6172" y="141943"/>
                    <a:pt x="6172" y="141943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FBC95488-7ACA-4F54-8181-5EB57EE04914}"/>
                </a:ext>
              </a:extLst>
            </p:cNvPr>
            <p:cNvSpPr/>
            <p:nvPr/>
          </p:nvSpPr>
          <p:spPr>
            <a:xfrm>
              <a:off x="11458408" y="2700182"/>
              <a:ext cx="224485" cy="80228"/>
            </a:xfrm>
            <a:custGeom>
              <a:avLst/>
              <a:gdLst>
                <a:gd name="connsiteX0" fmla="*/ 151200 w 224485"/>
                <a:gd name="connsiteY0" fmla="*/ 80229 h 80228"/>
                <a:gd name="connsiteX1" fmla="*/ 141943 w 224485"/>
                <a:gd name="connsiteY1" fmla="*/ 80229 h 80228"/>
                <a:gd name="connsiteX2" fmla="*/ 3086 w 224485"/>
                <a:gd name="connsiteY2" fmla="*/ 12343 h 80228"/>
                <a:gd name="connsiteX3" fmla="*/ 0 w 224485"/>
                <a:gd name="connsiteY3" fmla="*/ 3086 h 80228"/>
                <a:gd name="connsiteX4" fmla="*/ 9257 w 224485"/>
                <a:gd name="connsiteY4" fmla="*/ 0 h 80228"/>
                <a:gd name="connsiteX5" fmla="*/ 141943 w 224485"/>
                <a:gd name="connsiteY5" fmla="*/ 67886 h 80228"/>
                <a:gd name="connsiteX6" fmla="*/ 212914 w 224485"/>
                <a:gd name="connsiteY6" fmla="*/ 43200 h 80228"/>
                <a:gd name="connsiteX7" fmla="*/ 222172 w 224485"/>
                <a:gd name="connsiteY7" fmla="*/ 43200 h 80228"/>
                <a:gd name="connsiteX8" fmla="*/ 222172 w 224485"/>
                <a:gd name="connsiteY8" fmla="*/ 52457 h 80228"/>
                <a:gd name="connsiteX9" fmla="*/ 151200 w 224485"/>
                <a:gd name="connsiteY9" fmla="*/ 80229 h 8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485" h="80228">
                  <a:moveTo>
                    <a:pt x="151200" y="80229"/>
                  </a:moveTo>
                  <a:cubicBezTo>
                    <a:pt x="148114" y="80229"/>
                    <a:pt x="145029" y="80229"/>
                    <a:pt x="141943" y="80229"/>
                  </a:cubicBezTo>
                  <a:cubicBezTo>
                    <a:pt x="98743" y="74057"/>
                    <a:pt x="6172" y="12343"/>
                    <a:pt x="3086" y="12343"/>
                  </a:cubicBezTo>
                  <a:cubicBezTo>
                    <a:pt x="0" y="9257"/>
                    <a:pt x="0" y="6171"/>
                    <a:pt x="0" y="3086"/>
                  </a:cubicBezTo>
                  <a:cubicBezTo>
                    <a:pt x="3086" y="0"/>
                    <a:pt x="6172" y="0"/>
                    <a:pt x="9257" y="0"/>
                  </a:cubicBezTo>
                  <a:cubicBezTo>
                    <a:pt x="9257" y="0"/>
                    <a:pt x="104914" y="61714"/>
                    <a:pt x="141943" y="67886"/>
                  </a:cubicBezTo>
                  <a:cubicBezTo>
                    <a:pt x="178971" y="74057"/>
                    <a:pt x="212914" y="43200"/>
                    <a:pt x="212914" y="43200"/>
                  </a:cubicBezTo>
                  <a:cubicBezTo>
                    <a:pt x="216000" y="40114"/>
                    <a:pt x="219086" y="40114"/>
                    <a:pt x="222172" y="43200"/>
                  </a:cubicBezTo>
                  <a:cubicBezTo>
                    <a:pt x="225257" y="46286"/>
                    <a:pt x="225257" y="49371"/>
                    <a:pt x="222172" y="52457"/>
                  </a:cubicBezTo>
                  <a:cubicBezTo>
                    <a:pt x="219086" y="52457"/>
                    <a:pt x="191315" y="80229"/>
                    <a:pt x="151200" y="80229"/>
                  </a:cubicBezTo>
                  <a:close/>
                </a:path>
              </a:pathLst>
            </a:custGeom>
            <a:solidFill>
              <a:srgbClr val="E58777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A9A10D1E-1E99-4D43-A984-BECF07D4B91E}"/>
                </a:ext>
              </a:extLst>
            </p:cNvPr>
            <p:cNvSpPr/>
            <p:nvPr/>
          </p:nvSpPr>
          <p:spPr>
            <a:xfrm>
              <a:off x="11318172" y="2457993"/>
              <a:ext cx="79893" cy="115430"/>
            </a:xfrm>
            <a:custGeom>
              <a:avLst/>
              <a:gdLst>
                <a:gd name="connsiteX0" fmla="*/ 66180 w 79893"/>
                <a:gd name="connsiteY0" fmla="*/ 16931 h 115430"/>
                <a:gd name="connsiteX1" fmla="*/ 7551 w 79893"/>
                <a:gd name="connsiteY1" fmla="*/ 7674 h 115430"/>
                <a:gd name="connsiteX2" fmla="*/ 66180 w 79893"/>
                <a:gd name="connsiteY2" fmla="*/ 112588 h 115430"/>
                <a:gd name="connsiteX3" fmla="*/ 66180 w 79893"/>
                <a:gd name="connsiteY3" fmla="*/ 16931 h 115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893" h="115430">
                  <a:moveTo>
                    <a:pt x="66180" y="16931"/>
                  </a:moveTo>
                  <a:cubicBezTo>
                    <a:pt x="66180" y="16931"/>
                    <a:pt x="32237" y="-13926"/>
                    <a:pt x="7551" y="7674"/>
                  </a:cubicBezTo>
                  <a:cubicBezTo>
                    <a:pt x="-17135" y="26188"/>
                    <a:pt x="22980" y="134188"/>
                    <a:pt x="66180" y="112588"/>
                  </a:cubicBezTo>
                  <a:cubicBezTo>
                    <a:pt x="97037" y="90988"/>
                    <a:pt x="66180" y="16931"/>
                    <a:pt x="66180" y="16931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815F176E-BFBE-402F-A687-8B506A46B074}"/>
                </a:ext>
              </a:extLst>
            </p:cNvPr>
            <p:cNvSpPr/>
            <p:nvPr/>
          </p:nvSpPr>
          <p:spPr>
            <a:xfrm>
              <a:off x="11555873" y="2283610"/>
              <a:ext cx="257392" cy="163542"/>
            </a:xfrm>
            <a:custGeom>
              <a:avLst/>
              <a:gdLst>
                <a:gd name="connsiteX0" fmla="*/ 248135 w 257392"/>
                <a:gd name="connsiteY0" fmla="*/ 163543 h 163542"/>
                <a:gd name="connsiteX1" fmla="*/ 241964 w 257392"/>
                <a:gd name="connsiteY1" fmla="*/ 157371 h 163542"/>
                <a:gd name="connsiteX2" fmla="*/ 140135 w 257392"/>
                <a:gd name="connsiteY2" fmla="*/ 58629 h 163542"/>
                <a:gd name="connsiteX3" fmla="*/ 4363 w 257392"/>
                <a:gd name="connsiteY3" fmla="*/ 12343 h 163542"/>
                <a:gd name="connsiteX4" fmla="*/ 1278 w 257392"/>
                <a:gd name="connsiteY4" fmla="*/ 3086 h 163542"/>
                <a:gd name="connsiteX5" fmla="*/ 10535 w 257392"/>
                <a:gd name="connsiteY5" fmla="*/ 0 h 163542"/>
                <a:gd name="connsiteX6" fmla="*/ 146306 w 257392"/>
                <a:gd name="connsiteY6" fmla="*/ 46286 h 163542"/>
                <a:gd name="connsiteX7" fmla="*/ 257392 w 257392"/>
                <a:gd name="connsiteY7" fmla="*/ 154286 h 163542"/>
                <a:gd name="connsiteX8" fmla="*/ 248135 w 257392"/>
                <a:gd name="connsiteY8" fmla="*/ 163543 h 163542"/>
                <a:gd name="connsiteX9" fmla="*/ 248135 w 257392"/>
                <a:gd name="connsiteY9" fmla="*/ 163543 h 163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7392" h="163542">
                  <a:moveTo>
                    <a:pt x="248135" y="163543"/>
                  </a:moveTo>
                  <a:cubicBezTo>
                    <a:pt x="245049" y="163543"/>
                    <a:pt x="241964" y="160457"/>
                    <a:pt x="241964" y="157371"/>
                  </a:cubicBezTo>
                  <a:cubicBezTo>
                    <a:pt x="232707" y="98743"/>
                    <a:pt x="192592" y="74057"/>
                    <a:pt x="140135" y="58629"/>
                  </a:cubicBezTo>
                  <a:cubicBezTo>
                    <a:pt x="72249" y="40114"/>
                    <a:pt x="4363" y="12343"/>
                    <a:pt x="4363" y="12343"/>
                  </a:cubicBezTo>
                  <a:cubicBezTo>
                    <a:pt x="1278" y="12343"/>
                    <a:pt x="-1808" y="6171"/>
                    <a:pt x="1278" y="3086"/>
                  </a:cubicBezTo>
                  <a:cubicBezTo>
                    <a:pt x="1278" y="0"/>
                    <a:pt x="4363" y="0"/>
                    <a:pt x="10535" y="0"/>
                  </a:cubicBezTo>
                  <a:cubicBezTo>
                    <a:pt x="10535" y="0"/>
                    <a:pt x="78421" y="24686"/>
                    <a:pt x="146306" y="46286"/>
                  </a:cubicBezTo>
                  <a:cubicBezTo>
                    <a:pt x="198764" y="61714"/>
                    <a:pt x="245049" y="86400"/>
                    <a:pt x="257392" y="154286"/>
                  </a:cubicBezTo>
                  <a:cubicBezTo>
                    <a:pt x="254306" y="160457"/>
                    <a:pt x="251220" y="163543"/>
                    <a:pt x="248135" y="163543"/>
                  </a:cubicBezTo>
                  <a:cubicBezTo>
                    <a:pt x="248135" y="163543"/>
                    <a:pt x="248135" y="163543"/>
                    <a:pt x="248135" y="163543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0" name="图形 1">
              <a:extLst>
                <a:ext uri="{FF2B5EF4-FFF2-40B4-BE49-F238E27FC236}">
                  <a16:creationId xmlns:a16="http://schemas.microsoft.com/office/drawing/2014/main" id="{7D083B23-23A2-4A3F-8F45-6363ED20850D}"/>
                </a:ext>
              </a:extLst>
            </p:cNvPr>
            <p:cNvGrpSpPr/>
            <p:nvPr/>
          </p:nvGrpSpPr>
          <p:grpSpPr>
            <a:xfrm>
              <a:off x="14124426" y="6075953"/>
              <a:ext cx="434373" cy="580684"/>
              <a:chOff x="14124426" y="6075953"/>
              <a:chExt cx="434373" cy="580684"/>
            </a:xfrm>
          </p:grpSpPr>
          <p:sp>
            <p:nvSpPr>
              <p:cNvPr id="191" name="任意多边形: 形状 190">
                <a:extLst>
                  <a:ext uri="{FF2B5EF4-FFF2-40B4-BE49-F238E27FC236}">
                    <a16:creationId xmlns:a16="http://schemas.microsoft.com/office/drawing/2014/main" id="{72723619-B5B5-4B31-BAC7-CB98643A16A5}"/>
                  </a:ext>
                </a:extLst>
              </p:cNvPr>
              <p:cNvSpPr/>
              <p:nvPr/>
            </p:nvSpPr>
            <p:spPr>
              <a:xfrm>
                <a:off x="14235551" y="6075953"/>
                <a:ext cx="231428" cy="274628"/>
              </a:xfrm>
              <a:custGeom>
                <a:avLst/>
                <a:gdLst>
                  <a:gd name="connsiteX0" fmla="*/ 219086 w 231428"/>
                  <a:gd name="connsiteY0" fmla="*/ 169714 h 274628"/>
                  <a:gd name="connsiteX1" fmla="*/ 151200 w 231428"/>
                  <a:gd name="connsiteY1" fmla="*/ 0 h 274628"/>
                  <a:gd name="connsiteX2" fmla="*/ 0 w 231428"/>
                  <a:gd name="connsiteY2" fmla="*/ 104914 h 274628"/>
                  <a:gd name="connsiteX3" fmla="*/ 89486 w 231428"/>
                  <a:gd name="connsiteY3" fmla="*/ 274628 h 274628"/>
                  <a:gd name="connsiteX4" fmla="*/ 231429 w 231428"/>
                  <a:gd name="connsiteY4" fmla="*/ 209829 h 27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1428" h="274628">
                    <a:moveTo>
                      <a:pt x="219086" y="169714"/>
                    </a:moveTo>
                    <a:lnTo>
                      <a:pt x="151200" y="0"/>
                    </a:lnTo>
                    <a:lnTo>
                      <a:pt x="0" y="104914"/>
                    </a:lnTo>
                    <a:lnTo>
                      <a:pt x="89486" y="274628"/>
                    </a:lnTo>
                    <a:lnTo>
                      <a:pt x="231429" y="209829"/>
                    </a:ln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2" name="任意多边形: 形状 191">
                <a:extLst>
                  <a:ext uri="{FF2B5EF4-FFF2-40B4-BE49-F238E27FC236}">
                    <a16:creationId xmlns:a16="http://schemas.microsoft.com/office/drawing/2014/main" id="{0E6D6DA4-E7DC-4FA9-A2BE-DD5C6EFE6AB4}"/>
                  </a:ext>
                </a:extLst>
              </p:cNvPr>
              <p:cNvSpPr/>
              <p:nvPr/>
            </p:nvSpPr>
            <p:spPr>
              <a:xfrm>
                <a:off x="14124426" y="6239496"/>
                <a:ext cx="407353" cy="379542"/>
              </a:xfrm>
              <a:custGeom>
                <a:avLst/>
                <a:gdLst>
                  <a:gd name="connsiteX0" fmla="*/ 342553 w 407353"/>
                  <a:gd name="connsiteY0" fmla="*/ 0 h 379542"/>
                  <a:gd name="connsiteX1" fmla="*/ 160496 w 407353"/>
                  <a:gd name="connsiteY1" fmla="*/ 70971 h 379542"/>
                  <a:gd name="connsiteX2" fmla="*/ 98782 w 407353"/>
                  <a:gd name="connsiteY2" fmla="*/ 216000 h 379542"/>
                  <a:gd name="connsiteX3" fmla="*/ 6210 w 407353"/>
                  <a:gd name="connsiteY3" fmla="*/ 379542 h 379542"/>
                  <a:gd name="connsiteX4" fmla="*/ 407353 w 407353"/>
                  <a:gd name="connsiteY4" fmla="*/ 92571 h 379542"/>
                  <a:gd name="connsiteX5" fmla="*/ 342553 w 407353"/>
                  <a:gd name="connsiteY5" fmla="*/ 0 h 379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7353" h="379542">
                    <a:moveTo>
                      <a:pt x="342553" y="0"/>
                    </a:moveTo>
                    <a:cubicBezTo>
                      <a:pt x="342553" y="0"/>
                      <a:pt x="249982" y="89486"/>
                      <a:pt x="160496" y="70971"/>
                    </a:cubicBezTo>
                    <a:cubicBezTo>
                      <a:pt x="160496" y="70971"/>
                      <a:pt x="129639" y="182057"/>
                      <a:pt x="98782" y="216000"/>
                    </a:cubicBezTo>
                    <a:cubicBezTo>
                      <a:pt x="67925" y="249943"/>
                      <a:pt x="-24647" y="314743"/>
                      <a:pt x="6210" y="379542"/>
                    </a:cubicBezTo>
                    <a:lnTo>
                      <a:pt x="407353" y="92571"/>
                    </a:lnTo>
                    <a:cubicBezTo>
                      <a:pt x="407353" y="92571"/>
                      <a:pt x="385753" y="30857"/>
                      <a:pt x="342553" y="0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3" name="任意多边形: 形状 192">
                <a:extLst>
                  <a:ext uri="{FF2B5EF4-FFF2-40B4-BE49-F238E27FC236}">
                    <a16:creationId xmlns:a16="http://schemas.microsoft.com/office/drawing/2014/main" id="{1FDDE657-4E0E-4ACB-A642-3BDADB0D7CDB}"/>
                  </a:ext>
                </a:extLst>
              </p:cNvPr>
              <p:cNvSpPr/>
              <p:nvPr/>
            </p:nvSpPr>
            <p:spPr>
              <a:xfrm rot="-2131262">
                <a:off x="14097580" y="6471235"/>
                <a:ext cx="493712" cy="46285"/>
              </a:xfrm>
              <a:custGeom>
                <a:avLst/>
                <a:gdLst>
                  <a:gd name="connsiteX0" fmla="*/ 0 w 493712"/>
                  <a:gd name="connsiteY0" fmla="*/ 0 h 46285"/>
                  <a:gd name="connsiteX1" fmla="*/ 493713 w 493712"/>
                  <a:gd name="connsiteY1" fmla="*/ 0 h 46285"/>
                  <a:gd name="connsiteX2" fmla="*/ 493713 w 493712"/>
                  <a:gd name="connsiteY2" fmla="*/ 46286 h 46285"/>
                  <a:gd name="connsiteX3" fmla="*/ 0 w 493712"/>
                  <a:gd name="connsiteY3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712" h="46285">
                    <a:moveTo>
                      <a:pt x="0" y="0"/>
                    </a:moveTo>
                    <a:lnTo>
                      <a:pt x="493713" y="0"/>
                    </a:lnTo>
                    <a:lnTo>
                      <a:pt x="493713" y="46286"/>
                    </a:lnTo>
                    <a:lnTo>
                      <a:pt x="0" y="46286"/>
                    </a:ln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4" name="任意多边形: 形状 193">
                <a:extLst>
                  <a:ext uri="{FF2B5EF4-FFF2-40B4-BE49-F238E27FC236}">
                    <a16:creationId xmlns:a16="http://schemas.microsoft.com/office/drawing/2014/main" id="{DAEAFF3F-2C4F-4F2D-8A91-F09AAD43114F}"/>
                  </a:ext>
                </a:extLst>
              </p:cNvPr>
              <p:cNvSpPr/>
              <p:nvPr/>
            </p:nvSpPr>
            <p:spPr>
              <a:xfrm>
                <a:off x="14278751" y="6234096"/>
                <a:ext cx="193629" cy="82543"/>
              </a:xfrm>
              <a:custGeom>
                <a:avLst/>
                <a:gdLst>
                  <a:gd name="connsiteX0" fmla="*/ 24686 w 193629"/>
                  <a:gd name="connsiteY0" fmla="*/ 82543 h 82543"/>
                  <a:gd name="connsiteX1" fmla="*/ 6172 w 193629"/>
                  <a:gd name="connsiteY1" fmla="*/ 82543 h 82543"/>
                  <a:gd name="connsiteX2" fmla="*/ 0 w 193629"/>
                  <a:gd name="connsiteY2" fmla="*/ 76371 h 82543"/>
                  <a:gd name="connsiteX3" fmla="*/ 6172 w 193629"/>
                  <a:gd name="connsiteY3" fmla="*/ 70200 h 82543"/>
                  <a:gd name="connsiteX4" fmla="*/ 182057 w 193629"/>
                  <a:gd name="connsiteY4" fmla="*/ 2314 h 82543"/>
                  <a:gd name="connsiteX5" fmla="*/ 191315 w 193629"/>
                  <a:gd name="connsiteY5" fmla="*/ 2314 h 82543"/>
                  <a:gd name="connsiteX6" fmla="*/ 191315 w 193629"/>
                  <a:gd name="connsiteY6" fmla="*/ 11572 h 82543"/>
                  <a:gd name="connsiteX7" fmla="*/ 24686 w 193629"/>
                  <a:gd name="connsiteY7" fmla="*/ 82543 h 82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3629" h="82543">
                    <a:moveTo>
                      <a:pt x="24686" y="82543"/>
                    </a:moveTo>
                    <a:cubicBezTo>
                      <a:pt x="18514" y="82543"/>
                      <a:pt x="12343" y="82543"/>
                      <a:pt x="6172" y="82543"/>
                    </a:cubicBezTo>
                    <a:cubicBezTo>
                      <a:pt x="3086" y="82543"/>
                      <a:pt x="0" y="79457"/>
                      <a:pt x="0" y="76371"/>
                    </a:cubicBezTo>
                    <a:cubicBezTo>
                      <a:pt x="0" y="73286"/>
                      <a:pt x="3086" y="70200"/>
                      <a:pt x="6172" y="70200"/>
                    </a:cubicBezTo>
                    <a:cubicBezTo>
                      <a:pt x="98743" y="79457"/>
                      <a:pt x="182057" y="2314"/>
                      <a:pt x="182057" y="2314"/>
                    </a:cubicBezTo>
                    <a:cubicBezTo>
                      <a:pt x="185143" y="-771"/>
                      <a:pt x="188229" y="-771"/>
                      <a:pt x="191315" y="2314"/>
                    </a:cubicBezTo>
                    <a:cubicBezTo>
                      <a:pt x="194401" y="5400"/>
                      <a:pt x="194401" y="8486"/>
                      <a:pt x="191315" y="11572"/>
                    </a:cubicBezTo>
                    <a:cubicBezTo>
                      <a:pt x="188229" y="11572"/>
                      <a:pt x="114172" y="82543"/>
                      <a:pt x="24686" y="8254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5" name="任意多边形: 形状 194">
                <a:extLst>
                  <a:ext uri="{FF2B5EF4-FFF2-40B4-BE49-F238E27FC236}">
                    <a16:creationId xmlns:a16="http://schemas.microsoft.com/office/drawing/2014/main" id="{B6F1E40D-FB0B-4629-A368-A31B78B98FEB}"/>
                  </a:ext>
                </a:extLst>
              </p:cNvPr>
              <p:cNvSpPr/>
              <p:nvPr/>
            </p:nvSpPr>
            <p:spPr>
              <a:xfrm>
                <a:off x="14268216" y="6346218"/>
                <a:ext cx="48842" cy="16706"/>
              </a:xfrm>
              <a:custGeom>
                <a:avLst/>
                <a:gdLst>
                  <a:gd name="connsiteX0" fmla="*/ 41392 w 48842"/>
                  <a:gd name="connsiteY0" fmla="*/ 16707 h 16706"/>
                  <a:gd name="connsiteX1" fmla="*/ 41392 w 48842"/>
                  <a:gd name="connsiteY1" fmla="*/ 16707 h 16706"/>
                  <a:gd name="connsiteX2" fmla="*/ 4364 w 48842"/>
                  <a:gd name="connsiteY2" fmla="*/ 10535 h 16706"/>
                  <a:gd name="connsiteX3" fmla="*/ 1278 w 48842"/>
                  <a:gd name="connsiteY3" fmla="*/ 4364 h 16706"/>
                  <a:gd name="connsiteX4" fmla="*/ 7449 w 48842"/>
                  <a:gd name="connsiteY4" fmla="*/ 1278 h 16706"/>
                  <a:gd name="connsiteX5" fmla="*/ 44478 w 48842"/>
                  <a:gd name="connsiteY5" fmla="*/ 7450 h 16706"/>
                  <a:gd name="connsiteX6" fmla="*/ 47564 w 48842"/>
                  <a:gd name="connsiteY6" fmla="*/ 13621 h 16706"/>
                  <a:gd name="connsiteX7" fmla="*/ 41392 w 48842"/>
                  <a:gd name="connsiteY7" fmla="*/ 16707 h 16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842" h="16706">
                    <a:moveTo>
                      <a:pt x="41392" y="16707"/>
                    </a:moveTo>
                    <a:cubicBezTo>
                      <a:pt x="41392" y="16707"/>
                      <a:pt x="41392" y="16707"/>
                      <a:pt x="41392" y="16707"/>
                    </a:cubicBezTo>
                    <a:lnTo>
                      <a:pt x="4364" y="10535"/>
                    </a:lnTo>
                    <a:cubicBezTo>
                      <a:pt x="1278" y="10535"/>
                      <a:pt x="-1808" y="7450"/>
                      <a:pt x="1278" y="4364"/>
                    </a:cubicBezTo>
                    <a:cubicBezTo>
                      <a:pt x="1278" y="1278"/>
                      <a:pt x="4364" y="-1808"/>
                      <a:pt x="7449" y="1278"/>
                    </a:cubicBezTo>
                    <a:lnTo>
                      <a:pt x="44478" y="7450"/>
                    </a:lnTo>
                    <a:cubicBezTo>
                      <a:pt x="47564" y="7450"/>
                      <a:pt x="50650" y="10535"/>
                      <a:pt x="47564" y="13621"/>
                    </a:cubicBezTo>
                    <a:cubicBezTo>
                      <a:pt x="47564" y="16707"/>
                      <a:pt x="44478" y="16707"/>
                      <a:pt x="41392" y="167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6" name="任意多边形: 形状 195">
                <a:extLst>
                  <a:ext uri="{FF2B5EF4-FFF2-40B4-BE49-F238E27FC236}">
                    <a16:creationId xmlns:a16="http://schemas.microsoft.com/office/drawing/2014/main" id="{254DFD5D-B2C6-4B04-9EB4-D605ACAD05DD}"/>
                  </a:ext>
                </a:extLst>
              </p:cNvPr>
              <p:cNvSpPr/>
              <p:nvPr/>
            </p:nvSpPr>
            <p:spPr>
              <a:xfrm>
                <a:off x="14252787" y="6392504"/>
                <a:ext cx="48842" cy="16706"/>
              </a:xfrm>
              <a:custGeom>
                <a:avLst/>
                <a:gdLst>
                  <a:gd name="connsiteX0" fmla="*/ 41392 w 48842"/>
                  <a:gd name="connsiteY0" fmla="*/ 16707 h 16706"/>
                  <a:gd name="connsiteX1" fmla="*/ 41392 w 48842"/>
                  <a:gd name="connsiteY1" fmla="*/ 16707 h 16706"/>
                  <a:gd name="connsiteX2" fmla="*/ 4364 w 48842"/>
                  <a:gd name="connsiteY2" fmla="*/ 10535 h 16706"/>
                  <a:gd name="connsiteX3" fmla="*/ 1278 w 48842"/>
                  <a:gd name="connsiteY3" fmla="*/ 4364 h 16706"/>
                  <a:gd name="connsiteX4" fmla="*/ 7449 w 48842"/>
                  <a:gd name="connsiteY4" fmla="*/ 1278 h 16706"/>
                  <a:gd name="connsiteX5" fmla="*/ 44478 w 48842"/>
                  <a:gd name="connsiteY5" fmla="*/ 7450 h 16706"/>
                  <a:gd name="connsiteX6" fmla="*/ 47564 w 48842"/>
                  <a:gd name="connsiteY6" fmla="*/ 13621 h 16706"/>
                  <a:gd name="connsiteX7" fmla="*/ 41392 w 48842"/>
                  <a:gd name="connsiteY7" fmla="*/ 16707 h 16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842" h="16706">
                    <a:moveTo>
                      <a:pt x="41392" y="16707"/>
                    </a:moveTo>
                    <a:cubicBezTo>
                      <a:pt x="41392" y="16707"/>
                      <a:pt x="41392" y="16707"/>
                      <a:pt x="41392" y="16707"/>
                    </a:cubicBezTo>
                    <a:lnTo>
                      <a:pt x="4364" y="10535"/>
                    </a:lnTo>
                    <a:cubicBezTo>
                      <a:pt x="1278" y="10535"/>
                      <a:pt x="-1808" y="7450"/>
                      <a:pt x="1278" y="4364"/>
                    </a:cubicBezTo>
                    <a:cubicBezTo>
                      <a:pt x="1278" y="1278"/>
                      <a:pt x="4364" y="-1808"/>
                      <a:pt x="7449" y="1278"/>
                    </a:cubicBezTo>
                    <a:lnTo>
                      <a:pt x="44478" y="7450"/>
                    </a:lnTo>
                    <a:cubicBezTo>
                      <a:pt x="47564" y="7450"/>
                      <a:pt x="50650" y="10535"/>
                      <a:pt x="47564" y="13621"/>
                    </a:cubicBezTo>
                    <a:cubicBezTo>
                      <a:pt x="44478" y="13621"/>
                      <a:pt x="44478" y="16707"/>
                      <a:pt x="41392" y="167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1" name="图形 1">
              <a:extLst>
                <a:ext uri="{FF2B5EF4-FFF2-40B4-BE49-F238E27FC236}">
                  <a16:creationId xmlns:a16="http://schemas.microsoft.com/office/drawing/2014/main" id="{3522EA72-A6A2-405F-B102-1B2E6F6C5CDD}"/>
                </a:ext>
              </a:extLst>
            </p:cNvPr>
            <p:cNvGrpSpPr/>
            <p:nvPr/>
          </p:nvGrpSpPr>
          <p:grpSpPr>
            <a:xfrm>
              <a:off x="14587322" y="6295039"/>
              <a:ext cx="501942" cy="348685"/>
              <a:chOff x="14587322" y="6295039"/>
              <a:chExt cx="501942" cy="348685"/>
            </a:xfrm>
          </p:grpSpPr>
          <p:sp>
            <p:nvSpPr>
              <p:cNvPr id="185" name="任意多边形: 形状 184">
                <a:extLst>
                  <a:ext uri="{FF2B5EF4-FFF2-40B4-BE49-F238E27FC236}">
                    <a16:creationId xmlns:a16="http://schemas.microsoft.com/office/drawing/2014/main" id="{89B7653C-F442-41D6-B3D3-589B24FF23C3}"/>
                  </a:ext>
                </a:extLst>
              </p:cNvPr>
              <p:cNvSpPr/>
              <p:nvPr/>
            </p:nvSpPr>
            <p:spPr>
              <a:xfrm>
                <a:off x="14883551" y="6295039"/>
                <a:ext cx="185142" cy="228343"/>
              </a:xfrm>
              <a:custGeom>
                <a:avLst/>
                <a:gdLst>
                  <a:gd name="connsiteX0" fmla="*/ 182057 w 185142"/>
                  <a:gd name="connsiteY0" fmla="*/ 188229 h 228343"/>
                  <a:gd name="connsiteX1" fmla="*/ 185143 w 185142"/>
                  <a:gd name="connsiteY1" fmla="*/ 0 h 228343"/>
                  <a:gd name="connsiteX2" fmla="*/ 0 w 185142"/>
                  <a:gd name="connsiteY2" fmla="*/ 0 h 228343"/>
                  <a:gd name="connsiteX3" fmla="*/ 18514 w 185142"/>
                  <a:gd name="connsiteY3" fmla="*/ 197486 h 228343"/>
                  <a:gd name="connsiteX4" fmla="*/ 169714 w 185142"/>
                  <a:gd name="connsiteY4" fmla="*/ 228343 h 228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142" h="228343">
                    <a:moveTo>
                      <a:pt x="182057" y="188229"/>
                    </a:moveTo>
                    <a:lnTo>
                      <a:pt x="185143" y="0"/>
                    </a:lnTo>
                    <a:lnTo>
                      <a:pt x="0" y="0"/>
                    </a:lnTo>
                    <a:lnTo>
                      <a:pt x="18514" y="197486"/>
                    </a:lnTo>
                    <a:lnTo>
                      <a:pt x="169714" y="228343"/>
                    </a:ln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6" name="任意多边形: 形状 185">
                <a:extLst>
                  <a:ext uri="{FF2B5EF4-FFF2-40B4-BE49-F238E27FC236}">
                    <a16:creationId xmlns:a16="http://schemas.microsoft.com/office/drawing/2014/main" id="{969E674E-8902-41BE-9B0F-E4E562BDD7F4}"/>
                  </a:ext>
                </a:extLst>
              </p:cNvPr>
              <p:cNvSpPr/>
              <p:nvPr/>
            </p:nvSpPr>
            <p:spPr>
              <a:xfrm>
                <a:off x="14587322" y="6436982"/>
                <a:ext cx="501942" cy="160457"/>
              </a:xfrm>
              <a:custGeom>
                <a:avLst/>
                <a:gdLst>
                  <a:gd name="connsiteX0" fmla="*/ 493714 w 501942"/>
                  <a:gd name="connsiteY0" fmla="*/ 46286 h 160457"/>
                  <a:gd name="connsiteX1" fmla="*/ 305486 w 501942"/>
                  <a:gd name="connsiteY1" fmla="*/ 0 h 160457"/>
                  <a:gd name="connsiteX2" fmla="*/ 169714 w 501942"/>
                  <a:gd name="connsiteY2" fmla="*/ 80229 h 160457"/>
                  <a:gd name="connsiteX3" fmla="*/ 0 w 501942"/>
                  <a:gd name="connsiteY3" fmla="*/ 160457 h 160457"/>
                  <a:gd name="connsiteX4" fmla="*/ 493714 w 501942"/>
                  <a:gd name="connsiteY4" fmla="*/ 160457 h 160457"/>
                  <a:gd name="connsiteX5" fmla="*/ 493714 w 501942"/>
                  <a:gd name="connsiteY5" fmla="*/ 46286 h 160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942" h="160457">
                    <a:moveTo>
                      <a:pt x="493714" y="46286"/>
                    </a:moveTo>
                    <a:cubicBezTo>
                      <a:pt x="493714" y="46286"/>
                      <a:pt x="367200" y="64800"/>
                      <a:pt x="305486" y="0"/>
                    </a:cubicBezTo>
                    <a:cubicBezTo>
                      <a:pt x="305486" y="0"/>
                      <a:pt x="216000" y="70972"/>
                      <a:pt x="169714" y="80229"/>
                    </a:cubicBezTo>
                    <a:cubicBezTo>
                      <a:pt x="123429" y="89486"/>
                      <a:pt x="12343" y="86400"/>
                      <a:pt x="0" y="160457"/>
                    </a:cubicBezTo>
                    <a:lnTo>
                      <a:pt x="493714" y="160457"/>
                    </a:lnTo>
                    <a:cubicBezTo>
                      <a:pt x="493714" y="160457"/>
                      <a:pt x="512229" y="95657"/>
                      <a:pt x="493714" y="46286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7" name="任意多边形: 形状 186">
                <a:extLst>
                  <a:ext uri="{FF2B5EF4-FFF2-40B4-BE49-F238E27FC236}">
                    <a16:creationId xmlns:a16="http://schemas.microsoft.com/office/drawing/2014/main" id="{B2A0812A-3446-4FC2-A639-FF2C2726A762}"/>
                  </a:ext>
                </a:extLst>
              </p:cNvPr>
              <p:cNvSpPr/>
              <p:nvPr/>
            </p:nvSpPr>
            <p:spPr>
              <a:xfrm>
                <a:off x="14587322" y="6597439"/>
                <a:ext cx="493714" cy="46285"/>
              </a:xfrm>
              <a:custGeom>
                <a:avLst/>
                <a:gdLst>
                  <a:gd name="connsiteX0" fmla="*/ 0 w 493714"/>
                  <a:gd name="connsiteY0" fmla="*/ 0 h 46285"/>
                  <a:gd name="connsiteX1" fmla="*/ 493714 w 493714"/>
                  <a:gd name="connsiteY1" fmla="*/ 0 h 46285"/>
                  <a:gd name="connsiteX2" fmla="*/ 493714 w 493714"/>
                  <a:gd name="connsiteY2" fmla="*/ 46286 h 46285"/>
                  <a:gd name="connsiteX3" fmla="*/ 0 w 493714"/>
                  <a:gd name="connsiteY3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714" h="46285">
                    <a:moveTo>
                      <a:pt x="0" y="0"/>
                    </a:moveTo>
                    <a:lnTo>
                      <a:pt x="493714" y="0"/>
                    </a:lnTo>
                    <a:lnTo>
                      <a:pt x="493714" y="46286"/>
                    </a:lnTo>
                    <a:lnTo>
                      <a:pt x="0" y="46286"/>
                    </a:ln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8" name="任意多边形: 形状 187">
                <a:extLst>
                  <a:ext uri="{FF2B5EF4-FFF2-40B4-BE49-F238E27FC236}">
                    <a16:creationId xmlns:a16="http://schemas.microsoft.com/office/drawing/2014/main" id="{63BE7BE7-BC0B-4D7B-A8E6-D78B092A4D43}"/>
                  </a:ext>
                </a:extLst>
              </p:cNvPr>
              <p:cNvSpPr/>
              <p:nvPr/>
            </p:nvSpPr>
            <p:spPr>
              <a:xfrm>
                <a:off x="14884322" y="6425410"/>
                <a:ext cx="202885" cy="64028"/>
              </a:xfrm>
              <a:custGeom>
                <a:avLst/>
                <a:gdLst>
                  <a:gd name="connsiteX0" fmla="*/ 159686 w 202885"/>
                  <a:gd name="connsiteY0" fmla="*/ 64028 h 64028"/>
                  <a:gd name="connsiteX1" fmla="*/ 2314 w 202885"/>
                  <a:gd name="connsiteY1" fmla="*/ 11571 h 64028"/>
                  <a:gd name="connsiteX2" fmla="*/ 2314 w 202885"/>
                  <a:gd name="connsiteY2" fmla="*/ 2314 h 64028"/>
                  <a:gd name="connsiteX3" fmla="*/ 11571 w 202885"/>
                  <a:gd name="connsiteY3" fmla="*/ 2314 h 64028"/>
                  <a:gd name="connsiteX4" fmla="*/ 196714 w 202885"/>
                  <a:gd name="connsiteY4" fmla="*/ 48600 h 64028"/>
                  <a:gd name="connsiteX5" fmla="*/ 202886 w 202885"/>
                  <a:gd name="connsiteY5" fmla="*/ 54771 h 64028"/>
                  <a:gd name="connsiteX6" fmla="*/ 196714 w 202885"/>
                  <a:gd name="connsiteY6" fmla="*/ 60943 h 64028"/>
                  <a:gd name="connsiteX7" fmla="*/ 159686 w 202885"/>
                  <a:gd name="connsiteY7" fmla="*/ 64028 h 6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885" h="64028">
                    <a:moveTo>
                      <a:pt x="159686" y="64028"/>
                    </a:moveTo>
                    <a:cubicBezTo>
                      <a:pt x="119571" y="64028"/>
                      <a:pt x="51686" y="57857"/>
                      <a:pt x="2314" y="11571"/>
                    </a:cubicBezTo>
                    <a:cubicBezTo>
                      <a:pt x="-771" y="8485"/>
                      <a:pt x="-771" y="5400"/>
                      <a:pt x="2314" y="2314"/>
                    </a:cubicBezTo>
                    <a:cubicBezTo>
                      <a:pt x="5400" y="-771"/>
                      <a:pt x="8485" y="-771"/>
                      <a:pt x="11571" y="2314"/>
                    </a:cubicBezTo>
                    <a:cubicBezTo>
                      <a:pt x="79457" y="64028"/>
                      <a:pt x="193628" y="48600"/>
                      <a:pt x="196714" y="48600"/>
                    </a:cubicBezTo>
                    <a:cubicBezTo>
                      <a:pt x="199800" y="48600"/>
                      <a:pt x="202886" y="51686"/>
                      <a:pt x="202886" y="54771"/>
                    </a:cubicBezTo>
                    <a:cubicBezTo>
                      <a:pt x="202886" y="57857"/>
                      <a:pt x="199800" y="60943"/>
                      <a:pt x="196714" y="60943"/>
                    </a:cubicBezTo>
                    <a:cubicBezTo>
                      <a:pt x="196714" y="64028"/>
                      <a:pt x="181285" y="64028"/>
                      <a:pt x="159686" y="640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9" name="任意多边形: 形状 188">
                <a:extLst>
                  <a:ext uri="{FF2B5EF4-FFF2-40B4-BE49-F238E27FC236}">
                    <a16:creationId xmlns:a16="http://schemas.microsoft.com/office/drawing/2014/main" id="{69B9F9AA-A3EE-4B84-B7CC-5D43C76DB255}"/>
                  </a:ext>
                </a:extLst>
              </p:cNvPr>
              <p:cNvSpPr/>
              <p:nvPr/>
            </p:nvSpPr>
            <p:spPr>
              <a:xfrm>
                <a:off x="14850379" y="6453182"/>
                <a:ext cx="41657" cy="42428"/>
              </a:xfrm>
              <a:custGeom>
                <a:avLst/>
                <a:gdLst>
                  <a:gd name="connsiteX0" fmla="*/ 33172 w 41657"/>
                  <a:gd name="connsiteY0" fmla="*/ 42428 h 42428"/>
                  <a:gd name="connsiteX1" fmla="*/ 30086 w 41657"/>
                  <a:gd name="connsiteY1" fmla="*/ 39343 h 42428"/>
                  <a:gd name="connsiteX2" fmla="*/ 2314 w 41657"/>
                  <a:gd name="connsiteY2" fmla="*/ 11571 h 42428"/>
                  <a:gd name="connsiteX3" fmla="*/ 2314 w 41657"/>
                  <a:gd name="connsiteY3" fmla="*/ 2314 h 42428"/>
                  <a:gd name="connsiteX4" fmla="*/ 11571 w 41657"/>
                  <a:gd name="connsiteY4" fmla="*/ 2314 h 42428"/>
                  <a:gd name="connsiteX5" fmla="*/ 39343 w 41657"/>
                  <a:gd name="connsiteY5" fmla="*/ 30086 h 42428"/>
                  <a:gd name="connsiteX6" fmla="*/ 39343 w 41657"/>
                  <a:gd name="connsiteY6" fmla="*/ 39343 h 42428"/>
                  <a:gd name="connsiteX7" fmla="*/ 33172 w 41657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7" h="42428">
                    <a:moveTo>
                      <a:pt x="33172" y="42428"/>
                    </a:moveTo>
                    <a:cubicBezTo>
                      <a:pt x="33172" y="42428"/>
                      <a:pt x="30086" y="42428"/>
                      <a:pt x="30086" y="39343"/>
                    </a:cubicBezTo>
                    <a:lnTo>
                      <a:pt x="2314" y="11571"/>
                    </a:ln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0" y="-771"/>
                      <a:pt x="8486" y="-771"/>
                      <a:pt x="11571" y="2314"/>
                    </a:cubicBezTo>
                    <a:lnTo>
                      <a:pt x="39343" y="30086"/>
                    </a:lnTo>
                    <a:cubicBezTo>
                      <a:pt x="42428" y="33172"/>
                      <a:pt x="42428" y="36257"/>
                      <a:pt x="39343" y="39343"/>
                    </a:cubicBezTo>
                    <a:cubicBezTo>
                      <a:pt x="36257" y="42428"/>
                      <a:pt x="33172" y="42428"/>
                      <a:pt x="33172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0" name="任意多边形: 形状 189">
                <a:extLst>
                  <a:ext uri="{FF2B5EF4-FFF2-40B4-BE49-F238E27FC236}">
                    <a16:creationId xmlns:a16="http://schemas.microsoft.com/office/drawing/2014/main" id="{0C7D3F49-71A0-4BFA-986A-C37D9826089D}"/>
                  </a:ext>
                </a:extLst>
              </p:cNvPr>
              <p:cNvSpPr/>
              <p:nvPr/>
            </p:nvSpPr>
            <p:spPr>
              <a:xfrm>
                <a:off x="14813351" y="6477867"/>
                <a:ext cx="38571" cy="42428"/>
              </a:xfrm>
              <a:custGeom>
                <a:avLst/>
                <a:gdLst>
                  <a:gd name="connsiteX0" fmla="*/ 30086 w 38571"/>
                  <a:gd name="connsiteY0" fmla="*/ 42428 h 42428"/>
                  <a:gd name="connsiteX1" fmla="*/ 27000 w 38571"/>
                  <a:gd name="connsiteY1" fmla="*/ 39343 h 42428"/>
                  <a:gd name="connsiteX2" fmla="*/ 2314 w 38571"/>
                  <a:gd name="connsiteY2" fmla="*/ 11571 h 42428"/>
                  <a:gd name="connsiteX3" fmla="*/ 2314 w 38571"/>
                  <a:gd name="connsiteY3" fmla="*/ 2314 h 42428"/>
                  <a:gd name="connsiteX4" fmla="*/ 11571 w 38571"/>
                  <a:gd name="connsiteY4" fmla="*/ 2314 h 42428"/>
                  <a:gd name="connsiteX5" fmla="*/ 36257 w 38571"/>
                  <a:gd name="connsiteY5" fmla="*/ 30086 h 42428"/>
                  <a:gd name="connsiteX6" fmla="*/ 36257 w 38571"/>
                  <a:gd name="connsiteY6" fmla="*/ 39343 h 42428"/>
                  <a:gd name="connsiteX7" fmla="*/ 30086 w 38571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571" h="42428">
                    <a:moveTo>
                      <a:pt x="30086" y="42428"/>
                    </a:moveTo>
                    <a:cubicBezTo>
                      <a:pt x="30086" y="42428"/>
                      <a:pt x="27000" y="42428"/>
                      <a:pt x="27000" y="39343"/>
                    </a:cubicBezTo>
                    <a:lnTo>
                      <a:pt x="2314" y="11571"/>
                    </a:ln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0" y="-771"/>
                      <a:pt x="8486" y="-771"/>
                      <a:pt x="11571" y="2314"/>
                    </a:cubicBezTo>
                    <a:lnTo>
                      <a:pt x="36257" y="30086"/>
                    </a:lnTo>
                    <a:cubicBezTo>
                      <a:pt x="39343" y="33171"/>
                      <a:pt x="39343" y="36257"/>
                      <a:pt x="36257" y="39343"/>
                    </a:cubicBezTo>
                    <a:cubicBezTo>
                      <a:pt x="33171" y="42428"/>
                      <a:pt x="33171" y="42428"/>
                      <a:pt x="30086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F5502ADB-B43C-49C4-9F12-7F0A99949CCE}"/>
                </a:ext>
              </a:extLst>
            </p:cNvPr>
            <p:cNvSpPr/>
            <p:nvPr/>
          </p:nvSpPr>
          <p:spPr>
            <a:xfrm>
              <a:off x="13822065" y="4051724"/>
              <a:ext cx="1362316" cy="2311200"/>
            </a:xfrm>
            <a:custGeom>
              <a:avLst/>
              <a:gdLst>
                <a:gd name="connsiteX0" fmla="*/ 314742 w 1362316"/>
                <a:gd name="connsiteY0" fmla="*/ 21600 h 2311200"/>
                <a:gd name="connsiteX1" fmla="*/ 0 w 1362316"/>
                <a:gd name="connsiteY1" fmla="*/ 1296000 h 2311200"/>
                <a:gd name="connsiteX2" fmla="*/ 364114 w 1362316"/>
                <a:gd name="connsiteY2" fmla="*/ 2221714 h 2311200"/>
                <a:gd name="connsiteX3" fmla="*/ 678857 w 1362316"/>
                <a:gd name="connsiteY3" fmla="*/ 2064343 h 2311200"/>
                <a:gd name="connsiteX4" fmla="*/ 410400 w 1362316"/>
                <a:gd name="connsiteY4" fmla="*/ 1277486 h 2311200"/>
                <a:gd name="connsiteX5" fmla="*/ 817714 w 1362316"/>
                <a:gd name="connsiteY5" fmla="*/ 509143 h 2311200"/>
                <a:gd name="connsiteX6" fmla="*/ 864000 w 1362316"/>
                <a:gd name="connsiteY6" fmla="*/ 1493486 h 2311200"/>
                <a:gd name="connsiteX7" fmla="*/ 1012114 w 1362316"/>
                <a:gd name="connsiteY7" fmla="*/ 2301943 h 2311200"/>
                <a:gd name="connsiteX8" fmla="*/ 1302171 w 1362316"/>
                <a:gd name="connsiteY8" fmla="*/ 2311200 h 2311200"/>
                <a:gd name="connsiteX9" fmla="*/ 1271314 w 1362316"/>
                <a:gd name="connsiteY9" fmla="*/ 1474972 h 2311200"/>
                <a:gd name="connsiteX10" fmla="*/ 1351543 w 1362316"/>
                <a:gd name="connsiteY10" fmla="*/ 0 h 2311200"/>
                <a:gd name="connsiteX11" fmla="*/ 314742 w 1362316"/>
                <a:gd name="connsiteY11" fmla="*/ 21600 h 231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62316" h="2311200">
                  <a:moveTo>
                    <a:pt x="314742" y="21600"/>
                  </a:moveTo>
                  <a:lnTo>
                    <a:pt x="0" y="1296000"/>
                  </a:lnTo>
                  <a:lnTo>
                    <a:pt x="364114" y="2221714"/>
                  </a:lnTo>
                  <a:lnTo>
                    <a:pt x="678857" y="2064343"/>
                  </a:lnTo>
                  <a:lnTo>
                    <a:pt x="410400" y="1277486"/>
                  </a:lnTo>
                  <a:cubicBezTo>
                    <a:pt x="410400" y="1277486"/>
                    <a:pt x="808457" y="524571"/>
                    <a:pt x="817714" y="509143"/>
                  </a:cubicBezTo>
                  <a:cubicBezTo>
                    <a:pt x="833143" y="478286"/>
                    <a:pt x="864000" y="1493486"/>
                    <a:pt x="864000" y="1493486"/>
                  </a:cubicBezTo>
                  <a:lnTo>
                    <a:pt x="1012114" y="2301943"/>
                  </a:lnTo>
                  <a:lnTo>
                    <a:pt x="1302171" y="2311200"/>
                  </a:lnTo>
                  <a:cubicBezTo>
                    <a:pt x="1302171" y="2311200"/>
                    <a:pt x="1265143" y="1576800"/>
                    <a:pt x="1271314" y="1474972"/>
                  </a:cubicBezTo>
                  <a:cubicBezTo>
                    <a:pt x="1280572" y="1320686"/>
                    <a:pt x="1397828" y="98743"/>
                    <a:pt x="1351543" y="0"/>
                  </a:cubicBezTo>
                  <a:cubicBezTo>
                    <a:pt x="641828" y="37029"/>
                    <a:pt x="314742" y="21600"/>
                    <a:pt x="314742" y="21600"/>
                  </a:cubicBezTo>
                  <a:close/>
                </a:path>
              </a:pathLst>
            </a:custGeom>
            <a:solidFill>
              <a:srgbClr val="F1DDBA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470981F2-9AD4-410E-AACA-300A543A064E}"/>
                </a:ext>
              </a:extLst>
            </p:cNvPr>
            <p:cNvSpPr/>
            <p:nvPr/>
          </p:nvSpPr>
          <p:spPr>
            <a:xfrm>
              <a:off x="14574980" y="4202924"/>
              <a:ext cx="70971" cy="367200"/>
            </a:xfrm>
            <a:custGeom>
              <a:avLst/>
              <a:gdLst>
                <a:gd name="connsiteX0" fmla="*/ 64800 w 70971"/>
                <a:gd name="connsiteY0" fmla="*/ 367200 h 367200"/>
                <a:gd name="connsiteX1" fmla="*/ 58628 w 70971"/>
                <a:gd name="connsiteY1" fmla="*/ 364114 h 367200"/>
                <a:gd name="connsiteX2" fmla="*/ 0 w 70971"/>
                <a:gd name="connsiteY2" fmla="*/ 6172 h 367200"/>
                <a:gd name="connsiteX3" fmla="*/ 6172 w 70971"/>
                <a:gd name="connsiteY3" fmla="*/ 0 h 367200"/>
                <a:gd name="connsiteX4" fmla="*/ 6172 w 70971"/>
                <a:gd name="connsiteY4" fmla="*/ 0 h 367200"/>
                <a:gd name="connsiteX5" fmla="*/ 12343 w 70971"/>
                <a:gd name="connsiteY5" fmla="*/ 6172 h 367200"/>
                <a:gd name="connsiteX6" fmla="*/ 70971 w 70971"/>
                <a:gd name="connsiteY6" fmla="*/ 361029 h 367200"/>
                <a:gd name="connsiteX7" fmla="*/ 64800 w 70971"/>
                <a:gd name="connsiteY7" fmla="*/ 367200 h 367200"/>
                <a:gd name="connsiteX8" fmla="*/ 64800 w 70971"/>
                <a:gd name="connsiteY8" fmla="*/ 367200 h 3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971" h="367200">
                  <a:moveTo>
                    <a:pt x="64800" y="367200"/>
                  </a:moveTo>
                  <a:cubicBezTo>
                    <a:pt x="61714" y="367200"/>
                    <a:pt x="61714" y="367200"/>
                    <a:pt x="58628" y="364114"/>
                  </a:cubicBezTo>
                  <a:cubicBezTo>
                    <a:pt x="9257" y="246857"/>
                    <a:pt x="0" y="15429"/>
                    <a:pt x="0" y="6172"/>
                  </a:cubicBezTo>
                  <a:cubicBezTo>
                    <a:pt x="0" y="3086"/>
                    <a:pt x="3086" y="0"/>
                    <a:pt x="6172" y="0"/>
                  </a:cubicBezTo>
                  <a:cubicBezTo>
                    <a:pt x="6172" y="0"/>
                    <a:pt x="6172" y="0"/>
                    <a:pt x="6172" y="0"/>
                  </a:cubicBezTo>
                  <a:cubicBezTo>
                    <a:pt x="9257" y="0"/>
                    <a:pt x="12343" y="3086"/>
                    <a:pt x="12343" y="6172"/>
                  </a:cubicBezTo>
                  <a:cubicBezTo>
                    <a:pt x="12343" y="9257"/>
                    <a:pt x="21600" y="246857"/>
                    <a:pt x="70971" y="361029"/>
                  </a:cubicBezTo>
                  <a:cubicBezTo>
                    <a:pt x="70971" y="361029"/>
                    <a:pt x="70971" y="364114"/>
                    <a:pt x="64800" y="367200"/>
                  </a:cubicBezTo>
                  <a:cubicBezTo>
                    <a:pt x="64800" y="367200"/>
                    <a:pt x="64800" y="367200"/>
                    <a:pt x="64800" y="367200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FFC233D0-D79F-4428-B4B9-1B499B7FB44C}"/>
                </a:ext>
              </a:extLst>
            </p:cNvPr>
            <p:cNvSpPr/>
            <p:nvPr/>
          </p:nvSpPr>
          <p:spPr>
            <a:xfrm>
              <a:off x="14460808" y="4131953"/>
              <a:ext cx="157371" cy="357942"/>
            </a:xfrm>
            <a:custGeom>
              <a:avLst/>
              <a:gdLst>
                <a:gd name="connsiteX0" fmla="*/ 148115 w 157371"/>
                <a:gd name="connsiteY0" fmla="*/ 357943 h 357942"/>
                <a:gd name="connsiteX1" fmla="*/ 145029 w 157371"/>
                <a:gd name="connsiteY1" fmla="*/ 357943 h 357942"/>
                <a:gd name="connsiteX2" fmla="*/ 33943 w 157371"/>
                <a:gd name="connsiteY2" fmla="*/ 277714 h 357942"/>
                <a:gd name="connsiteX3" fmla="*/ 0 w 157371"/>
                <a:gd name="connsiteY3" fmla="*/ 6171 h 357942"/>
                <a:gd name="connsiteX4" fmla="*/ 6172 w 157371"/>
                <a:gd name="connsiteY4" fmla="*/ 0 h 357942"/>
                <a:gd name="connsiteX5" fmla="*/ 12344 w 157371"/>
                <a:gd name="connsiteY5" fmla="*/ 6171 h 357942"/>
                <a:gd name="connsiteX6" fmla="*/ 46286 w 157371"/>
                <a:gd name="connsiteY6" fmla="*/ 271543 h 357942"/>
                <a:gd name="connsiteX7" fmla="*/ 154286 w 157371"/>
                <a:gd name="connsiteY7" fmla="*/ 348686 h 357942"/>
                <a:gd name="connsiteX8" fmla="*/ 157372 w 157371"/>
                <a:gd name="connsiteY8" fmla="*/ 357943 h 357942"/>
                <a:gd name="connsiteX9" fmla="*/ 148115 w 157371"/>
                <a:gd name="connsiteY9" fmla="*/ 357943 h 35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1" h="357942">
                  <a:moveTo>
                    <a:pt x="148115" y="357943"/>
                  </a:moveTo>
                  <a:cubicBezTo>
                    <a:pt x="148115" y="357943"/>
                    <a:pt x="145029" y="357943"/>
                    <a:pt x="145029" y="357943"/>
                  </a:cubicBezTo>
                  <a:cubicBezTo>
                    <a:pt x="135772" y="351771"/>
                    <a:pt x="46286" y="293143"/>
                    <a:pt x="33943" y="277714"/>
                  </a:cubicBezTo>
                  <a:cubicBezTo>
                    <a:pt x="21600" y="262286"/>
                    <a:pt x="3086" y="49371"/>
                    <a:pt x="0" y="6171"/>
                  </a:cubicBezTo>
                  <a:cubicBezTo>
                    <a:pt x="0" y="3086"/>
                    <a:pt x="3086" y="0"/>
                    <a:pt x="6172" y="0"/>
                  </a:cubicBezTo>
                  <a:cubicBezTo>
                    <a:pt x="9258" y="0"/>
                    <a:pt x="12344" y="3086"/>
                    <a:pt x="12344" y="6171"/>
                  </a:cubicBezTo>
                  <a:cubicBezTo>
                    <a:pt x="21600" y="101828"/>
                    <a:pt x="37029" y="259200"/>
                    <a:pt x="46286" y="271543"/>
                  </a:cubicBezTo>
                  <a:cubicBezTo>
                    <a:pt x="55543" y="280800"/>
                    <a:pt x="114172" y="324000"/>
                    <a:pt x="154286" y="348686"/>
                  </a:cubicBezTo>
                  <a:cubicBezTo>
                    <a:pt x="157372" y="351771"/>
                    <a:pt x="157372" y="354857"/>
                    <a:pt x="157372" y="357943"/>
                  </a:cubicBezTo>
                  <a:cubicBezTo>
                    <a:pt x="151201" y="357943"/>
                    <a:pt x="151201" y="357943"/>
                    <a:pt x="148115" y="357943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9096C75C-6585-45CD-8786-0879F7A13B21}"/>
                </a:ext>
              </a:extLst>
            </p:cNvPr>
            <p:cNvSpPr/>
            <p:nvPr/>
          </p:nvSpPr>
          <p:spPr>
            <a:xfrm>
              <a:off x="14525608" y="2360753"/>
              <a:ext cx="253028" cy="261370"/>
            </a:xfrm>
            <a:custGeom>
              <a:avLst/>
              <a:gdLst>
                <a:gd name="connsiteX0" fmla="*/ 0 w 253028"/>
                <a:gd name="connsiteY0" fmla="*/ 40114 h 261370"/>
                <a:gd name="connsiteX1" fmla="*/ 6172 w 253028"/>
                <a:gd name="connsiteY1" fmla="*/ 216000 h 261370"/>
                <a:gd name="connsiteX2" fmla="*/ 253029 w 253028"/>
                <a:gd name="connsiteY2" fmla="*/ 206743 h 261370"/>
                <a:gd name="connsiteX3" fmla="*/ 237600 w 253028"/>
                <a:gd name="connsiteY3" fmla="*/ 0 h 261370"/>
                <a:gd name="connsiteX4" fmla="*/ 0 w 253028"/>
                <a:gd name="connsiteY4" fmla="*/ 40114 h 261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028" h="261370">
                  <a:moveTo>
                    <a:pt x="0" y="40114"/>
                  </a:moveTo>
                  <a:cubicBezTo>
                    <a:pt x="0" y="40114"/>
                    <a:pt x="6172" y="141943"/>
                    <a:pt x="6172" y="216000"/>
                  </a:cubicBezTo>
                  <a:cubicBezTo>
                    <a:pt x="6172" y="216000"/>
                    <a:pt x="101829" y="324000"/>
                    <a:pt x="253029" y="206743"/>
                  </a:cubicBezTo>
                  <a:cubicBezTo>
                    <a:pt x="253029" y="145029"/>
                    <a:pt x="240686" y="64800"/>
                    <a:pt x="237600" y="0"/>
                  </a:cubicBezTo>
                  <a:cubicBezTo>
                    <a:pt x="240686" y="0"/>
                    <a:pt x="52458" y="52457"/>
                    <a:pt x="0" y="40114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22FCC3DF-0B00-49E7-9440-9D23C224794F}"/>
                </a:ext>
              </a:extLst>
            </p:cNvPr>
            <p:cNvSpPr/>
            <p:nvPr/>
          </p:nvSpPr>
          <p:spPr>
            <a:xfrm>
              <a:off x="14114381" y="2527382"/>
              <a:ext cx="1083913" cy="1585870"/>
            </a:xfrm>
            <a:custGeom>
              <a:avLst/>
              <a:gdLst>
                <a:gd name="connsiteX0" fmla="*/ 682770 w 1083913"/>
                <a:gd name="connsiteY0" fmla="*/ 0 h 1585870"/>
                <a:gd name="connsiteX1" fmla="*/ 389628 w 1083913"/>
                <a:gd name="connsiteY1" fmla="*/ 0 h 1585870"/>
                <a:gd name="connsiteX2" fmla="*/ 87227 w 1083913"/>
                <a:gd name="connsiteY2" fmla="*/ 132686 h 1585870"/>
                <a:gd name="connsiteX3" fmla="*/ 827 w 1083913"/>
                <a:gd name="connsiteY3" fmla="*/ 1555200 h 1585870"/>
                <a:gd name="connsiteX4" fmla="*/ 1083913 w 1083913"/>
                <a:gd name="connsiteY4" fmla="*/ 1530514 h 1585870"/>
                <a:gd name="connsiteX5" fmla="*/ 966656 w 1083913"/>
                <a:gd name="connsiteY5" fmla="*/ 104914 h 1585870"/>
                <a:gd name="connsiteX6" fmla="*/ 682770 w 1083913"/>
                <a:gd name="connsiteY6" fmla="*/ 0 h 15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3913" h="1585870">
                  <a:moveTo>
                    <a:pt x="682770" y="0"/>
                  </a:moveTo>
                  <a:cubicBezTo>
                    <a:pt x="682770" y="0"/>
                    <a:pt x="506884" y="55543"/>
                    <a:pt x="389628" y="0"/>
                  </a:cubicBezTo>
                  <a:cubicBezTo>
                    <a:pt x="389628" y="0"/>
                    <a:pt x="111913" y="98743"/>
                    <a:pt x="87227" y="132686"/>
                  </a:cubicBezTo>
                  <a:cubicBezTo>
                    <a:pt x="62542" y="163543"/>
                    <a:pt x="-8430" y="1487314"/>
                    <a:pt x="827" y="1555200"/>
                  </a:cubicBezTo>
                  <a:cubicBezTo>
                    <a:pt x="827" y="1555200"/>
                    <a:pt x="497628" y="1638514"/>
                    <a:pt x="1083913" y="1530514"/>
                  </a:cubicBezTo>
                  <a:cubicBezTo>
                    <a:pt x="1083913" y="1169486"/>
                    <a:pt x="1009855" y="135771"/>
                    <a:pt x="966656" y="104914"/>
                  </a:cubicBezTo>
                  <a:cubicBezTo>
                    <a:pt x="923456" y="70971"/>
                    <a:pt x="682770" y="0"/>
                    <a:pt x="682770" y="0"/>
                  </a:cubicBezTo>
                  <a:close/>
                </a:path>
              </a:pathLst>
            </a:custGeom>
            <a:solidFill>
              <a:srgbClr val="7F95BC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C218CE46-08B8-484F-A4B3-8B00CE549D04}"/>
                </a:ext>
              </a:extLst>
            </p:cNvPr>
            <p:cNvSpPr/>
            <p:nvPr/>
          </p:nvSpPr>
          <p:spPr>
            <a:xfrm>
              <a:off x="14152236" y="2652618"/>
              <a:ext cx="53735" cy="751106"/>
            </a:xfrm>
            <a:custGeom>
              <a:avLst/>
              <a:gdLst>
                <a:gd name="connsiteX0" fmla="*/ 6172 w 53735"/>
                <a:gd name="connsiteY0" fmla="*/ 751107 h 751106"/>
                <a:gd name="connsiteX1" fmla="*/ 6172 w 53735"/>
                <a:gd name="connsiteY1" fmla="*/ 751107 h 751106"/>
                <a:gd name="connsiteX2" fmla="*/ 0 w 53735"/>
                <a:gd name="connsiteY2" fmla="*/ 744935 h 751106"/>
                <a:gd name="connsiteX3" fmla="*/ 43201 w 53735"/>
                <a:gd name="connsiteY3" fmla="*/ 4364 h 751106"/>
                <a:gd name="connsiteX4" fmla="*/ 49372 w 53735"/>
                <a:gd name="connsiteY4" fmla="*/ 1278 h 751106"/>
                <a:gd name="connsiteX5" fmla="*/ 52458 w 53735"/>
                <a:gd name="connsiteY5" fmla="*/ 7450 h 751106"/>
                <a:gd name="connsiteX6" fmla="*/ 9258 w 53735"/>
                <a:gd name="connsiteY6" fmla="*/ 744935 h 751106"/>
                <a:gd name="connsiteX7" fmla="*/ 6172 w 53735"/>
                <a:gd name="connsiteY7" fmla="*/ 751107 h 751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735" h="751106">
                  <a:moveTo>
                    <a:pt x="6172" y="751107"/>
                  </a:moveTo>
                  <a:cubicBezTo>
                    <a:pt x="6172" y="751107"/>
                    <a:pt x="6172" y="751107"/>
                    <a:pt x="6172" y="751107"/>
                  </a:cubicBezTo>
                  <a:cubicBezTo>
                    <a:pt x="3086" y="751107"/>
                    <a:pt x="0" y="748021"/>
                    <a:pt x="0" y="744935"/>
                  </a:cubicBezTo>
                  <a:cubicBezTo>
                    <a:pt x="0" y="717164"/>
                    <a:pt x="37029" y="44478"/>
                    <a:pt x="43201" y="4364"/>
                  </a:cubicBezTo>
                  <a:cubicBezTo>
                    <a:pt x="43201" y="1278"/>
                    <a:pt x="46286" y="-1808"/>
                    <a:pt x="49372" y="1278"/>
                  </a:cubicBezTo>
                  <a:cubicBezTo>
                    <a:pt x="52458" y="1278"/>
                    <a:pt x="55543" y="4364"/>
                    <a:pt x="52458" y="7450"/>
                  </a:cubicBezTo>
                  <a:cubicBezTo>
                    <a:pt x="43201" y="47564"/>
                    <a:pt x="9258" y="738764"/>
                    <a:pt x="9258" y="744935"/>
                  </a:cubicBezTo>
                  <a:cubicBezTo>
                    <a:pt x="12344" y="748021"/>
                    <a:pt x="9258" y="751107"/>
                    <a:pt x="6172" y="751107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8" name="图形 1">
              <a:extLst>
                <a:ext uri="{FF2B5EF4-FFF2-40B4-BE49-F238E27FC236}">
                  <a16:creationId xmlns:a16="http://schemas.microsoft.com/office/drawing/2014/main" id="{7B3AE558-4477-4017-B04E-187AF63301F4}"/>
                </a:ext>
              </a:extLst>
            </p:cNvPr>
            <p:cNvGrpSpPr/>
            <p:nvPr/>
          </p:nvGrpSpPr>
          <p:grpSpPr>
            <a:xfrm>
              <a:off x="15171288" y="3897439"/>
              <a:ext cx="295609" cy="390733"/>
              <a:chOff x="15171288" y="3897439"/>
              <a:chExt cx="295609" cy="390733"/>
            </a:xfrm>
          </p:grpSpPr>
          <p:sp>
            <p:nvSpPr>
              <p:cNvPr id="179" name="任意多边形: 形状 178">
                <a:extLst>
                  <a:ext uri="{FF2B5EF4-FFF2-40B4-BE49-F238E27FC236}">
                    <a16:creationId xmlns:a16="http://schemas.microsoft.com/office/drawing/2014/main" id="{DD60578B-273A-434D-971A-1EEABD079931}"/>
                  </a:ext>
                </a:extLst>
              </p:cNvPr>
              <p:cNvSpPr/>
              <p:nvPr/>
            </p:nvSpPr>
            <p:spPr>
              <a:xfrm>
                <a:off x="15181696" y="3928296"/>
                <a:ext cx="140026" cy="208597"/>
              </a:xfrm>
              <a:custGeom>
                <a:avLst/>
                <a:gdLst>
                  <a:gd name="connsiteX0" fmla="*/ 140027 w 140026"/>
                  <a:gd name="connsiteY0" fmla="*/ 0 h 208597"/>
                  <a:gd name="connsiteX1" fmla="*/ 38197 w 140026"/>
                  <a:gd name="connsiteY1" fmla="*/ 61714 h 208597"/>
                  <a:gd name="connsiteX2" fmla="*/ 7340 w 140026"/>
                  <a:gd name="connsiteY2" fmla="*/ 197486 h 208597"/>
                  <a:gd name="connsiteX3" fmla="*/ 44369 w 140026"/>
                  <a:gd name="connsiteY3" fmla="*/ 185143 h 208597"/>
                  <a:gd name="connsiteX4" fmla="*/ 140027 w 140026"/>
                  <a:gd name="connsiteY4" fmla="*/ 0 h 208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026" h="208597">
                    <a:moveTo>
                      <a:pt x="140027" y="0"/>
                    </a:moveTo>
                    <a:cubicBezTo>
                      <a:pt x="140027" y="0"/>
                      <a:pt x="62884" y="24686"/>
                      <a:pt x="38197" y="61714"/>
                    </a:cubicBezTo>
                    <a:cubicBezTo>
                      <a:pt x="16598" y="98743"/>
                      <a:pt x="-14259" y="166629"/>
                      <a:pt x="7340" y="197486"/>
                    </a:cubicBezTo>
                    <a:cubicBezTo>
                      <a:pt x="28941" y="228343"/>
                      <a:pt x="44369" y="185143"/>
                      <a:pt x="44369" y="185143"/>
                    </a:cubicBezTo>
                    <a:lnTo>
                      <a:pt x="140027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0" name="任意多边形: 形状 179">
                <a:extLst>
                  <a:ext uri="{FF2B5EF4-FFF2-40B4-BE49-F238E27FC236}">
                    <a16:creationId xmlns:a16="http://schemas.microsoft.com/office/drawing/2014/main" id="{520BE5B4-A9D9-4F8B-9F05-6EF2DC2DCDE5}"/>
                  </a:ext>
                </a:extLst>
              </p:cNvPr>
              <p:cNvSpPr/>
              <p:nvPr/>
            </p:nvSpPr>
            <p:spPr>
              <a:xfrm>
                <a:off x="15173825" y="3897439"/>
                <a:ext cx="293072" cy="390733"/>
              </a:xfrm>
              <a:custGeom>
                <a:avLst/>
                <a:gdLst>
                  <a:gd name="connsiteX0" fmla="*/ 280583 w 293072"/>
                  <a:gd name="connsiteY0" fmla="*/ 46286 h 390733"/>
                  <a:gd name="connsiteX1" fmla="*/ 157155 w 293072"/>
                  <a:gd name="connsiteY1" fmla="*/ 0 h 390733"/>
                  <a:gd name="connsiteX2" fmla="*/ 18298 w 293072"/>
                  <a:gd name="connsiteY2" fmla="*/ 228343 h 390733"/>
                  <a:gd name="connsiteX3" fmla="*/ 12126 w 293072"/>
                  <a:gd name="connsiteY3" fmla="*/ 305486 h 390733"/>
                  <a:gd name="connsiteX4" fmla="*/ 30640 w 293072"/>
                  <a:gd name="connsiteY4" fmla="*/ 296229 h 390733"/>
                  <a:gd name="connsiteX5" fmla="*/ 58412 w 293072"/>
                  <a:gd name="connsiteY5" fmla="*/ 259200 h 390733"/>
                  <a:gd name="connsiteX6" fmla="*/ 46069 w 293072"/>
                  <a:gd name="connsiteY6" fmla="*/ 320914 h 390733"/>
                  <a:gd name="connsiteX7" fmla="*/ 61498 w 293072"/>
                  <a:gd name="connsiteY7" fmla="*/ 388800 h 390733"/>
                  <a:gd name="connsiteX8" fmla="*/ 89269 w 293072"/>
                  <a:gd name="connsiteY8" fmla="*/ 370286 h 390733"/>
                  <a:gd name="connsiteX9" fmla="*/ 104697 w 293072"/>
                  <a:gd name="connsiteY9" fmla="*/ 379543 h 390733"/>
                  <a:gd name="connsiteX10" fmla="*/ 154069 w 293072"/>
                  <a:gd name="connsiteY10" fmla="*/ 317829 h 390733"/>
                  <a:gd name="connsiteX11" fmla="*/ 175669 w 293072"/>
                  <a:gd name="connsiteY11" fmla="*/ 265372 h 390733"/>
                  <a:gd name="connsiteX12" fmla="*/ 188012 w 293072"/>
                  <a:gd name="connsiteY12" fmla="*/ 333257 h 390733"/>
                  <a:gd name="connsiteX13" fmla="*/ 215783 w 293072"/>
                  <a:gd name="connsiteY13" fmla="*/ 283886 h 390733"/>
                  <a:gd name="connsiteX14" fmla="*/ 246640 w 293072"/>
                  <a:gd name="connsiteY14" fmla="*/ 188229 h 390733"/>
                  <a:gd name="connsiteX15" fmla="*/ 286755 w 293072"/>
                  <a:gd name="connsiteY15" fmla="*/ 98743 h 390733"/>
                  <a:gd name="connsiteX16" fmla="*/ 280583 w 293072"/>
                  <a:gd name="connsiteY16" fmla="*/ 46286 h 390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3072" h="390733">
                    <a:moveTo>
                      <a:pt x="280583" y="46286"/>
                    </a:moveTo>
                    <a:cubicBezTo>
                      <a:pt x="252812" y="15429"/>
                      <a:pt x="157155" y="0"/>
                      <a:pt x="157155" y="0"/>
                    </a:cubicBezTo>
                    <a:cubicBezTo>
                      <a:pt x="110869" y="77143"/>
                      <a:pt x="52241" y="145029"/>
                      <a:pt x="18298" y="228343"/>
                    </a:cubicBezTo>
                    <a:cubicBezTo>
                      <a:pt x="12126" y="240686"/>
                      <a:pt x="-15645" y="299314"/>
                      <a:pt x="12126" y="305486"/>
                    </a:cubicBezTo>
                    <a:cubicBezTo>
                      <a:pt x="21384" y="308571"/>
                      <a:pt x="27554" y="302400"/>
                      <a:pt x="30640" y="296229"/>
                    </a:cubicBezTo>
                    <a:cubicBezTo>
                      <a:pt x="39898" y="283886"/>
                      <a:pt x="49155" y="271543"/>
                      <a:pt x="58412" y="259200"/>
                    </a:cubicBezTo>
                    <a:cubicBezTo>
                      <a:pt x="52241" y="280800"/>
                      <a:pt x="49155" y="299314"/>
                      <a:pt x="46069" y="320914"/>
                    </a:cubicBezTo>
                    <a:cubicBezTo>
                      <a:pt x="42983" y="336343"/>
                      <a:pt x="42983" y="376457"/>
                      <a:pt x="61498" y="388800"/>
                    </a:cubicBezTo>
                    <a:cubicBezTo>
                      <a:pt x="70755" y="394972"/>
                      <a:pt x="80012" y="385714"/>
                      <a:pt x="89269" y="370286"/>
                    </a:cubicBezTo>
                    <a:cubicBezTo>
                      <a:pt x="92355" y="376457"/>
                      <a:pt x="95441" y="379543"/>
                      <a:pt x="104697" y="379543"/>
                    </a:cubicBezTo>
                    <a:cubicBezTo>
                      <a:pt x="126298" y="376457"/>
                      <a:pt x="144812" y="336343"/>
                      <a:pt x="154069" y="317829"/>
                    </a:cubicBezTo>
                    <a:cubicBezTo>
                      <a:pt x="163327" y="299314"/>
                      <a:pt x="169498" y="283886"/>
                      <a:pt x="175669" y="265372"/>
                    </a:cubicBezTo>
                    <a:cubicBezTo>
                      <a:pt x="169498" y="299314"/>
                      <a:pt x="166412" y="336343"/>
                      <a:pt x="188012" y="333257"/>
                    </a:cubicBezTo>
                    <a:cubicBezTo>
                      <a:pt x="203441" y="330172"/>
                      <a:pt x="212697" y="296229"/>
                      <a:pt x="215783" y="283886"/>
                    </a:cubicBezTo>
                    <a:cubicBezTo>
                      <a:pt x="228126" y="253029"/>
                      <a:pt x="234298" y="219086"/>
                      <a:pt x="246640" y="188229"/>
                    </a:cubicBezTo>
                    <a:cubicBezTo>
                      <a:pt x="258983" y="157372"/>
                      <a:pt x="274412" y="129600"/>
                      <a:pt x="286755" y="98743"/>
                    </a:cubicBezTo>
                    <a:cubicBezTo>
                      <a:pt x="296012" y="74057"/>
                      <a:pt x="296012" y="64800"/>
                      <a:pt x="280583" y="4628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1" name="任意多边形: 形状 180">
                <a:extLst>
                  <a:ext uri="{FF2B5EF4-FFF2-40B4-BE49-F238E27FC236}">
                    <a16:creationId xmlns:a16="http://schemas.microsoft.com/office/drawing/2014/main" id="{F9C9374C-1E90-4211-BD0F-8D74FAF33227}"/>
                  </a:ext>
                </a:extLst>
              </p:cNvPr>
              <p:cNvSpPr/>
              <p:nvPr/>
            </p:nvSpPr>
            <p:spPr>
              <a:xfrm>
                <a:off x="15256923" y="4101867"/>
                <a:ext cx="57856" cy="172028"/>
              </a:xfrm>
              <a:custGeom>
                <a:avLst/>
                <a:gdLst>
                  <a:gd name="connsiteX0" fmla="*/ 6171 w 57856"/>
                  <a:gd name="connsiteY0" fmla="*/ 172029 h 172028"/>
                  <a:gd name="connsiteX1" fmla="*/ 6171 w 57856"/>
                  <a:gd name="connsiteY1" fmla="*/ 172029 h 172028"/>
                  <a:gd name="connsiteX2" fmla="*/ 0 w 57856"/>
                  <a:gd name="connsiteY2" fmla="*/ 165857 h 172028"/>
                  <a:gd name="connsiteX3" fmla="*/ 46286 w 57856"/>
                  <a:gd name="connsiteY3" fmla="*/ 2314 h 172028"/>
                  <a:gd name="connsiteX4" fmla="*/ 55542 w 57856"/>
                  <a:gd name="connsiteY4" fmla="*/ 2314 h 172028"/>
                  <a:gd name="connsiteX5" fmla="*/ 55542 w 57856"/>
                  <a:gd name="connsiteY5" fmla="*/ 11571 h 172028"/>
                  <a:gd name="connsiteX6" fmla="*/ 12343 w 57856"/>
                  <a:gd name="connsiteY6" fmla="*/ 168943 h 172028"/>
                  <a:gd name="connsiteX7" fmla="*/ 6171 w 57856"/>
                  <a:gd name="connsiteY7" fmla="*/ 172029 h 172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856" h="172028">
                    <a:moveTo>
                      <a:pt x="6171" y="172029"/>
                    </a:moveTo>
                    <a:cubicBezTo>
                      <a:pt x="6171" y="172029"/>
                      <a:pt x="6171" y="172029"/>
                      <a:pt x="6171" y="172029"/>
                    </a:cubicBezTo>
                    <a:cubicBezTo>
                      <a:pt x="3086" y="172029"/>
                      <a:pt x="0" y="168943"/>
                      <a:pt x="0" y="165857"/>
                    </a:cubicBezTo>
                    <a:cubicBezTo>
                      <a:pt x="0" y="159686"/>
                      <a:pt x="24685" y="33171"/>
                      <a:pt x="46286" y="2314"/>
                    </a:cubicBezTo>
                    <a:cubicBezTo>
                      <a:pt x="49372" y="-771"/>
                      <a:pt x="52457" y="-771"/>
                      <a:pt x="55542" y="2314"/>
                    </a:cubicBezTo>
                    <a:cubicBezTo>
                      <a:pt x="58628" y="5400"/>
                      <a:pt x="58628" y="8486"/>
                      <a:pt x="55542" y="11571"/>
                    </a:cubicBezTo>
                    <a:cubicBezTo>
                      <a:pt x="33943" y="39343"/>
                      <a:pt x="12343" y="168943"/>
                      <a:pt x="12343" y="168943"/>
                    </a:cubicBezTo>
                    <a:cubicBezTo>
                      <a:pt x="12343" y="172029"/>
                      <a:pt x="9257" y="172029"/>
                      <a:pt x="6171" y="17202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2" name="任意多边形: 形状 181">
                <a:extLst>
                  <a:ext uri="{FF2B5EF4-FFF2-40B4-BE49-F238E27FC236}">
                    <a16:creationId xmlns:a16="http://schemas.microsoft.com/office/drawing/2014/main" id="{0D1FE33C-4EDE-4A50-AAF4-38520B038F0A}"/>
                  </a:ext>
                </a:extLst>
              </p:cNvPr>
              <p:cNvSpPr/>
              <p:nvPr/>
            </p:nvSpPr>
            <p:spPr>
              <a:xfrm>
                <a:off x="15343322" y="4110353"/>
                <a:ext cx="30857" cy="61714"/>
              </a:xfrm>
              <a:custGeom>
                <a:avLst/>
                <a:gdLst>
                  <a:gd name="connsiteX0" fmla="*/ 6172 w 30857"/>
                  <a:gd name="connsiteY0" fmla="*/ 61714 h 61714"/>
                  <a:gd name="connsiteX1" fmla="*/ 6172 w 30857"/>
                  <a:gd name="connsiteY1" fmla="*/ 61714 h 61714"/>
                  <a:gd name="connsiteX2" fmla="*/ 0 w 30857"/>
                  <a:gd name="connsiteY2" fmla="*/ 52457 h 61714"/>
                  <a:gd name="connsiteX3" fmla="*/ 21600 w 30857"/>
                  <a:gd name="connsiteY3" fmla="*/ 3086 h 61714"/>
                  <a:gd name="connsiteX4" fmla="*/ 27771 w 30857"/>
                  <a:gd name="connsiteY4" fmla="*/ 0 h 61714"/>
                  <a:gd name="connsiteX5" fmla="*/ 30857 w 30857"/>
                  <a:gd name="connsiteY5" fmla="*/ 6172 h 61714"/>
                  <a:gd name="connsiteX6" fmla="*/ 9258 w 30857"/>
                  <a:gd name="connsiteY6" fmla="*/ 55543 h 61714"/>
                  <a:gd name="connsiteX7" fmla="*/ 6172 w 30857"/>
                  <a:gd name="connsiteY7" fmla="*/ 61714 h 61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61714">
                    <a:moveTo>
                      <a:pt x="6172" y="61714"/>
                    </a:moveTo>
                    <a:cubicBezTo>
                      <a:pt x="6172" y="61714"/>
                      <a:pt x="6172" y="58629"/>
                      <a:pt x="6172" y="61714"/>
                    </a:cubicBezTo>
                    <a:cubicBezTo>
                      <a:pt x="0" y="58629"/>
                      <a:pt x="0" y="55543"/>
                      <a:pt x="0" y="52457"/>
                    </a:cubicBezTo>
                    <a:lnTo>
                      <a:pt x="21600" y="3086"/>
                    </a:lnTo>
                    <a:cubicBezTo>
                      <a:pt x="21600" y="0"/>
                      <a:pt x="24686" y="0"/>
                      <a:pt x="27771" y="0"/>
                    </a:cubicBezTo>
                    <a:cubicBezTo>
                      <a:pt x="30857" y="0"/>
                      <a:pt x="30857" y="3086"/>
                      <a:pt x="30857" y="6172"/>
                    </a:cubicBezTo>
                    <a:lnTo>
                      <a:pt x="9258" y="55543"/>
                    </a:lnTo>
                    <a:cubicBezTo>
                      <a:pt x="12343" y="58629"/>
                      <a:pt x="9258" y="61714"/>
                      <a:pt x="6172" y="6171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3" name="任意多边形: 形状 182">
                <a:extLst>
                  <a:ext uri="{FF2B5EF4-FFF2-40B4-BE49-F238E27FC236}">
                    <a16:creationId xmlns:a16="http://schemas.microsoft.com/office/drawing/2014/main" id="{802D69BC-E9DE-42BE-BFC6-96A43820DEB2}"/>
                  </a:ext>
                </a:extLst>
              </p:cNvPr>
              <p:cNvSpPr/>
              <p:nvPr/>
            </p:nvSpPr>
            <p:spPr>
              <a:xfrm>
                <a:off x="15291637" y="4018553"/>
                <a:ext cx="104142" cy="57857"/>
              </a:xfrm>
              <a:custGeom>
                <a:avLst/>
                <a:gdLst>
                  <a:gd name="connsiteX0" fmla="*/ 97971 w 104142"/>
                  <a:gd name="connsiteY0" fmla="*/ 57857 h 57857"/>
                  <a:gd name="connsiteX1" fmla="*/ 97971 w 104142"/>
                  <a:gd name="connsiteY1" fmla="*/ 57857 h 57857"/>
                  <a:gd name="connsiteX2" fmla="*/ 2314 w 104142"/>
                  <a:gd name="connsiteY2" fmla="*/ 11571 h 57857"/>
                  <a:gd name="connsiteX3" fmla="*/ 2314 w 104142"/>
                  <a:gd name="connsiteY3" fmla="*/ 2314 h 57857"/>
                  <a:gd name="connsiteX4" fmla="*/ 11571 w 104142"/>
                  <a:gd name="connsiteY4" fmla="*/ 2314 h 57857"/>
                  <a:gd name="connsiteX5" fmla="*/ 97971 w 104142"/>
                  <a:gd name="connsiteY5" fmla="*/ 45514 h 57857"/>
                  <a:gd name="connsiteX6" fmla="*/ 104143 w 104142"/>
                  <a:gd name="connsiteY6" fmla="*/ 51686 h 57857"/>
                  <a:gd name="connsiteX7" fmla="*/ 97971 w 104142"/>
                  <a:gd name="connsiteY7" fmla="*/ 57857 h 57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4142" h="57857">
                    <a:moveTo>
                      <a:pt x="97971" y="57857"/>
                    </a:moveTo>
                    <a:cubicBezTo>
                      <a:pt x="97971" y="57857"/>
                      <a:pt x="97971" y="57857"/>
                      <a:pt x="97971" y="57857"/>
                    </a:cubicBezTo>
                    <a:cubicBezTo>
                      <a:pt x="39343" y="54772"/>
                      <a:pt x="2314" y="14657"/>
                      <a:pt x="2314" y="11571"/>
                    </a:cubicBez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0" y="-771"/>
                      <a:pt x="8486" y="-771"/>
                      <a:pt x="11571" y="2314"/>
                    </a:cubicBezTo>
                    <a:cubicBezTo>
                      <a:pt x="11571" y="2314"/>
                      <a:pt x="45514" y="42429"/>
                      <a:pt x="97971" y="45514"/>
                    </a:cubicBezTo>
                    <a:cubicBezTo>
                      <a:pt x="101057" y="45514"/>
                      <a:pt x="104143" y="48600"/>
                      <a:pt x="104143" y="51686"/>
                    </a:cubicBezTo>
                    <a:cubicBezTo>
                      <a:pt x="104143" y="54772"/>
                      <a:pt x="101057" y="57857"/>
                      <a:pt x="97971" y="5785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4" name="任意多边形: 形状 183">
                <a:extLst>
                  <a:ext uri="{FF2B5EF4-FFF2-40B4-BE49-F238E27FC236}">
                    <a16:creationId xmlns:a16="http://schemas.microsoft.com/office/drawing/2014/main" id="{9436B2D8-F730-438A-8B48-E6A8DB9845F7}"/>
                  </a:ext>
                </a:extLst>
              </p:cNvPr>
              <p:cNvSpPr/>
              <p:nvPr/>
            </p:nvSpPr>
            <p:spPr>
              <a:xfrm>
                <a:off x="15171288" y="3963010"/>
                <a:ext cx="121891" cy="249171"/>
              </a:xfrm>
              <a:custGeom>
                <a:avLst/>
                <a:gdLst>
                  <a:gd name="connsiteX0" fmla="*/ 14663 w 121891"/>
                  <a:gd name="connsiteY0" fmla="*/ 249171 h 249171"/>
                  <a:gd name="connsiteX1" fmla="*/ 14663 w 121891"/>
                  <a:gd name="connsiteY1" fmla="*/ 249171 h 249171"/>
                  <a:gd name="connsiteX2" fmla="*/ 2320 w 121891"/>
                  <a:gd name="connsiteY2" fmla="*/ 239914 h 249171"/>
                  <a:gd name="connsiteX3" fmla="*/ 110320 w 121891"/>
                  <a:gd name="connsiteY3" fmla="*/ 2314 h 249171"/>
                  <a:gd name="connsiteX4" fmla="*/ 119578 w 121891"/>
                  <a:gd name="connsiteY4" fmla="*/ 2314 h 249171"/>
                  <a:gd name="connsiteX5" fmla="*/ 119578 w 121891"/>
                  <a:gd name="connsiteY5" fmla="*/ 11571 h 249171"/>
                  <a:gd name="connsiteX6" fmla="*/ 14663 w 121891"/>
                  <a:gd name="connsiteY6" fmla="*/ 236828 h 249171"/>
                  <a:gd name="connsiteX7" fmla="*/ 17749 w 121891"/>
                  <a:gd name="connsiteY7" fmla="*/ 239914 h 249171"/>
                  <a:gd name="connsiteX8" fmla="*/ 57864 w 121891"/>
                  <a:gd name="connsiteY8" fmla="*/ 196714 h 249171"/>
                  <a:gd name="connsiteX9" fmla="*/ 94892 w 121891"/>
                  <a:gd name="connsiteY9" fmla="*/ 113400 h 249171"/>
                  <a:gd name="connsiteX10" fmla="*/ 104149 w 121891"/>
                  <a:gd name="connsiteY10" fmla="*/ 110314 h 249171"/>
                  <a:gd name="connsiteX11" fmla="*/ 107234 w 121891"/>
                  <a:gd name="connsiteY11" fmla="*/ 119571 h 249171"/>
                  <a:gd name="connsiteX12" fmla="*/ 73292 w 121891"/>
                  <a:gd name="connsiteY12" fmla="*/ 199800 h 249171"/>
                  <a:gd name="connsiteX13" fmla="*/ 73292 w 121891"/>
                  <a:gd name="connsiteY13" fmla="*/ 202886 h 249171"/>
                  <a:gd name="connsiteX14" fmla="*/ 14663 w 121891"/>
                  <a:gd name="connsiteY14" fmla="*/ 249171 h 249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1891" h="249171">
                    <a:moveTo>
                      <a:pt x="14663" y="249171"/>
                    </a:moveTo>
                    <a:cubicBezTo>
                      <a:pt x="14663" y="249171"/>
                      <a:pt x="14663" y="249171"/>
                      <a:pt x="14663" y="249171"/>
                    </a:cubicBezTo>
                    <a:cubicBezTo>
                      <a:pt x="8492" y="249171"/>
                      <a:pt x="5406" y="246086"/>
                      <a:pt x="2320" y="239914"/>
                    </a:cubicBezTo>
                    <a:cubicBezTo>
                      <a:pt x="-10022" y="212143"/>
                      <a:pt x="27007" y="116486"/>
                      <a:pt x="110320" y="2314"/>
                    </a:cubicBezTo>
                    <a:cubicBezTo>
                      <a:pt x="113406" y="-771"/>
                      <a:pt x="116492" y="-771"/>
                      <a:pt x="119578" y="2314"/>
                    </a:cubicBezTo>
                    <a:cubicBezTo>
                      <a:pt x="122663" y="5400"/>
                      <a:pt x="122663" y="8486"/>
                      <a:pt x="119578" y="11571"/>
                    </a:cubicBezTo>
                    <a:cubicBezTo>
                      <a:pt x="27007" y="138086"/>
                      <a:pt x="5406" y="221400"/>
                      <a:pt x="14663" y="236828"/>
                    </a:cubicBezTo>
                    <a:cubicBezTo>
                      <a:pt x="14663" y="239914"/>
                      <a:pt x="17749" y="239914"/>
                      <a:pt x="17749" y="239914"/>
                    </a:cubicBezTo>
                    <a:cubicBezTo>
                      <a:pt x="33177" y="239914"/>
                      <a:pt x="51692" y="209057"/>
                      <a:pt x="57864" y="196714"/>
                    </a:cubicBezTo>
                    <a:cubicBezTo>
                      <a:pt x="60949" y="178200"/>
                      <a:pt x="85635" y="122657"/>
                      <a:pt x="94892" y="113400"/>
                    </a:cubicBezTo>
                    <a:cubicBezTo>
                      <a:pt x="97978" y="110314"/>
                      <a:pt x="101064" y="110314"/>
                      <a:pt x="104149" y="110314"/>
                    </a:cubicBezTo>
                    <a:cubicBezTo>
                      <a:pt x="107234" y="113400"/>
                      <a:pt x="107234" y="116486"/>
                      <a:pt x="107234" y="119571"/>
                    </a:cubicBezTo>
                    <a:cubicBezTo>
                      <a:pt x="91806" y="144257"/>
                      <a:pt x="73292" y="190543"/>
                      <a:pt x="73292" y="199800"/>
                    </a:cubicBezTo>
                    <a:cubicBezTo>
                      <a:pt x="73292" y="199800"/>
                      <a:pt x="73292" y="202886"/>
                      <a:pt x="73292" y="202886"/>
                    </a:cubicBezTo>
                    <a:cubicBezTo>
                      <a:pt x="64035" y="202886"/>
                      <a:pt x="42435" y="249171"/>
                      <a:pt x="14663" y="24917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18A3D7BE-272E-41A1-BDE6-542C61BA37AF}"/>
                </a:ext>
              </a:extLst>
            </p:cNvPr>
            <p:cNvSpPr/>
            <p:nvPr/>
          </p:nvSpPr>
          <p:spPr>
            <a:xfrm>
              <a:off x="14966666" y="2635789"/>
              <a:ext cx="768555" cy="1394335"/>
            </a:xfrm>
            <a:custGeom>
              <a:avLst/>
              <a:gdLst>
                <a:gd name="connsiteX0" fmla="*/ 34142 w 768555"/>
                <a:gd name="connsiteY0" fmla="*/ 24278 h 1394335"/>
                <a:gd name="connsiteX1" fmla="*/ 166828 w 768555"/>
                <a:gd name="connsiteY1" fmla="*/ 533421 h 1394335"/>
                <a:gd name="connsiteX2" fmla="*/ 478486 w 768555"/>
                <a:gd name="connsiteY2" fmla="*/ 817307 h 1394335"/>
                <a:gd name="connsiteX3" fmla="*/ 314942 w 768555"/>
                <a:gd name="connsiteY3" fmla="*/ 1277078 h 1394335"/>
                <a:gd name="connsiteX4" fmla="*/ 484657 w 768555"/>
                <a:gd name="connsiteY4" fmla="*/ 1394336 h 1394335"/>
                <a:gd name="connsiteX5" fmla="*/ 768543 w 768555"/>
                <a:gd name="connsiteY5" fmla="*/ 740164 h 1394335"/>
                <a:gd name="connsiteX6" fmla="*/ 34142 w 768555"/>
                <a:gd name="connsiteY6" fmla="*/ 24278 h 139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8555" h="1394335">
                  <a:moveTo>
                    <a:pt x="34142" y="24278"/>
                  </a:moveTo>
                  <a:cubicBezTo>
                    <a:pt x="-70772" y="113764"/>
                    <a:pt x="92771" y="422336"/>
                    <a:pt x="166828" y="533421"/>
                  </a:cubicBezTo>
                  <a:cubicBezTo>
                    <a:pt x="231629" y="632164"/>
                    <a:pt x="478486" y="817307"/>
                    <a:pt x="478486" y="817307"/>
                  </a:cubicBezTo>
                  <a:lnTo>
                    <a:pt x="314942" y="1277078"/>
                  </a:lnTo>
                  <a:lnTo>
                    <a:pt x="484657" y="1394336"/>
                  </a:lnTo>
                  <a:cubicBezTo>
                    <a:pt x="484657" y="1394336"/>
                    <a:pt x="765457" y="869764"/>
                    <a:pt x="768543" y="740164"/>
                  </a:cubicBezTo>
                  <a:cubicBezTo>
                    <a:pt x="771629" y="598221"/>
                    <a:pt x="231629" y="-142350"/>
                    <a:pt x="34142" y="24278"/>
                  </a:cubicBezTo>
                  <a:close/>
                </a:path>
              </a:pathLst>
            </a:custGeom>
            <a:solidFill>
              <a:srgbClr val="7F95BC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BC88F082-A8A6-4199-937A-79E9842D40BE}"/>
                </a:ext>
              </a:extLst>
            </p:cNvPr>
            <p:cNvSpPr/>
            <p:nvPr/>
          </p:nvSpPr>
          <p:spPr>
            <a:xfrm>
              <a:off x="14960657" y="2626022"/>
              <a:ext cx="209093" cy="589473"/>
            </a:xfrm>
            <a:custGeom>
              <a:avLst/>
              <a:gdLst>
                <a:gd name="connsiteX0" fmla="*/ 200608 w 209093"/>
                <a:gd name="connsiteY0" fmla="*/ 586388 h 589473"/>
                <a:gd name="connsiteX1" fmla="*/ 197522 w 209093"/>
                <a:gd name="connsiteY1" fmla="*/ 583302 h 589473"/>
                <a:gd name="connsiteX2" fmla="*/ 37 w 209093"/>
                <a:gd name="connsiteY2" fmla="*/ 179073 h 589473"/>
                <a:gd name="connsiteX3" fmla="*/ 52494 w 209093"/>
                <a:gd name="connsiteY3" fmla="*/ 24788 h 589473"/>
                <a:gd name="connsiteX4" fmla="*/ 120380 w 209093"/>
                <a:gd name="connsiteY4" fmla="*/ 102 h 589473"/>
                <a:gd name="connsiteX5" fmla="*/ 126551 w 209093"/>
                <a:gd name="connsiteY5" fmla="*/ 6273 h 589473"/>
                <a:gd name="connsiteX6" fmla="*/ 120380 w 209093"/>
                <a:gd name="connsiteY6" fmla="*/ 12445 h 589473"/>
                <a:gd name="connsiteX7" fmla="*/ 61751 w 209093"/>
                <a:gd name="connsiteY7" fmla="*/ 34045 h 589473"/>
                <a:gd name="connsiteX8" fmla="*/ 12380 w 209093"/>
                <a:gd name="connsiteY8" fmla="*/ 182159 h 589473"/>
                <a:gd name="connsiteX9" fmla="*/ 206780 w 209093"/>
                <a:gd name="connsiteY9" fmla="*/ 580216 h 589473"/>
                <a:gd name="connsiteX10" fmla="*/ 206780 w 209093"/>
                <a:gd name="connsiteY10" fmla="*/ 589473 h 589473"/>
                <a:gd name="connsiteX11" fmla="*/ 200608 w 209093"/>
                <a:gd name="connsiteY11" fmla="*/ 586388 h 589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093" h="589473">
                  <a:moveTo>
                    <a:pt x="200608" y="586388"/>
                  </a:moveTo>
                  <a:cubicBezTo>
                    <a:pt x="200608" y="586388"/>
                    <a:pt x="197522" y="586388"/>
                    <a:pt x="197522" y="583302"/>
                  </a:cubicBezTo>
                  <a:cubicBezTo>
                    <a:pt x="188266" y="574045"/>
                    <a:pt x="-3049" y="364216"/>
                    <a:pt x="37" y="179073"/>
                  </a:cubicBezTo>
                  <a:cubicBezTo>
                    <a:pt x="3123" y="105016"/>
                    <a:pt x="18551" y="52559"/>
                    <a:pt x="52494" y="24788"/>
                  </a:cubicBezTo>
                  <a:cubicBezTo>
                    <a:pt x="83352" y="-2984"/>
                    <a:pt x="117294" y="102"/>
                    <a:pt x="120380" y="102"/>
                  </a:cubicBezTo>
                  <a:cubicBezTo>
                    <a:pt x="123466" y="102"/>
                    <a:pt x="126551" y="3188"/>
                    <a:pt x="126551" y="6273"/>
                  </a:cubicBezTo>
                  <a:cubicBezTo>
                    <a:pt x="126551" y="9359"/>
                    <a:pt x="123466" y="12445"/>
                    <a:pt x="120380" y="12445"/>
                  </a:cubicBezTo>
                  <a:cubicBezTo>
                    <a:pt x="120380" y="12445"/>
                    <a:pt x="89522" y="9359"/>
                    <a:pt x="61751" y="34045"/>
                  </a:cubicBezTo>
                  <a:cubicBezTo>
                    <a:pt x="30894" y="61816"/>
                    <a:pt x="12380" y="111188"/>
                    <a:pt x="12380" y="182159"/>
                  </a:cubicBezTo>
                  <a:cubicBezTo>
                    <a:pt x="9294" y="364216"/>
                    <a:pt x="203694" y="577131"/>
                    <a:pt x="206780" y="580216"/>
                  </a:cubicBezTo>
                  <a:cubicBezTo>
                    <a:pt x="209865" y="583302"/>
                    <a:pt x="209865" y="586388"/>
                    <a:pt x="206780" y="589473"/>
                  </a:cubicBezTo>
                  <a:cubicBezTo>
                    <a:pt x="203694" y="586388"/>
                    <a:pt x="200608" y="586388"/>
                    <a:pt x="200608" y="586388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A8251468-6F4E-4297-B416-016305AC248E}"/>
                </a:ext>
              </a:extLst>
            </p:cNvPr>
            <p:cNvSpPr/>
            <p:nvPr/>
          </p:nvSpPr>
          <p:spPr>
            <a:xfrm>
              <a:off x="14784808" y="2221896"/>
              <a:ext cx="70971" cy="138857"/>
            </a:xfrm>
            <a:custGeom>
              <a:avLst/>
              <a:gdLst>
                <a:gd name="connsiteX0" fmla="*/ 70972 w 70971"/>
                <a:gd name="connsiteY0" fmla="*/ 0 h 138857"/>
                <a:gd name="connsiteX1" fmla="*/ 3086 w 70971"/>
                <a:gd name="connsiteY1" fmla="*/ 138857 h 138857"/>
                <a:gd name="connsiteX2" fmla="*/ 0 w 70971"/>
                <a:gd name="connsiteY2" fmla="*/ 52457 h 138857"/>
                <a:gd name="connsiteX3" fmla="*/ 70972 w 70971"/>
                <a:gd name="connsiteY3" fmla="*/ 0 h 13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971" h="138857">
                  <a:moveTo>
                    <a:pt x="70972" y="0"/>
                  </a:moveTo>
                  <a:cubicBezTo>
                    <a:pt x="70972" y="0"/>
                    <a:pt x="55543" y="120343"/>
                    <a:pt x="3086" y="138857"/>
                  </a:cubicBezTo>
                  <a:lnTo>
                    <a:pt x="0" y="52457"/>
                  </a:lnTo>
                  <a:lnTo>
                    <a:pt x="70972" y="0"/>
                  </a:ln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9545852E-A530-45C2-BE3C-7A8B8275582B}"/>
                </a:ext>
              </a:extLst>
            </p:cNvPr>
            <p:cNvSpPr/>
            <p:nvPr/>
          </p:nvSpPr>
          <p:spPr>
            <a:xfrm>
              <a:off x="14388245" y="2012067"/>
              <a:ext cx="103877" cy="240698"/>
            </a:xfrm>
            <a:custGeom>
              <a:avLst/>
              <a:gdLst>
                <a:gd name="connsiteX0" fmla="*/ 7764 w 103877"/>
                <a:gd name="connsiteY0" fmla="*/ 0 h 240698"/>
                <a:gd name="connsiteX1" fmla="*/ 47878 w 103877"/>
                <a:gd name="connsiteY1" fmla="*/ 237600 h 240698"/>
                <a:gd name="connsiteX2" fmla="*/ 103420 w 103877"/>
                <a:gd name="connsiteY2" fmla="*/ 15429 h 240698"/>
                <a:gd name="connsiteX3" fmla="*/ 7764 w 103877"/>
                <a:gd name="connsiteY3" fmla="*/ 0 h 24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77" h="240698">
                  <a:moveTo>
                    <a:pt x="7764" y="0"/>
                  </a:moveTo>
                  <a:cubicBezTo>
                    <a:pt x="7764" y="0"/>
                    <a:pt x="-26179" y="197486"/>
                    <a:pt x="47878" y="237600"/>
                  </a:cubicBezTo>
                  <a:cubicBezTo>
                    <a:pt x="112678" y="271543"/>
                    <a:pt x="103420" y="15429"/>
                    <a:pt x="103420" y="15429"/>
                  </a:cubicBezTo>
                  <a:lnTo>
                    <a:pt x="7764" y="0"/>
                  </a:ln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298ECE30-5B50-4554-820C-9FB4DFF1F2CA}"/>
                </a:ext>
              </a:extLst>
            </p:cNvPr>
            <p:cNvSpPr/>
            <p:nvPr/>
          </p:nvSpPr>
          <p:spPr>
            <a:xfrm>
              <a:off x="14424176" y="1872309"/>
              <a:ext cx="428517" cy="575454"/>
            </a:xfrm>
            <a:custGeom>
              <a:avLst/>
              <a:gdLst>
                <a:gd name="connsiteX0" fmla="*/ 11946 w 428517"/>
                <a:gd name="connsiteY0" fmla="*/ 182958 h 575454"/>
                <a:gd name="connsiteX1" fmla="*/ 8860 w 428517"/>
                <a:gd name="connsiteY1" fmla="*/ 435987 h 575454"/>
                <a:gd name="connsiteX2" fmla="*/ 169318 w 428517"/>
                <a:gd name="connsiteY2" fmla="*/ 574844 h 575454"/>
                <a:gd name="connsiteX3" fmla="*/ 388404 w 428517"/>
                <a:gd name="connsiteY3" fmla="*/ 432901 h 575454"/>
                <a:gd name="connsiteX4" fmla="*/ 428518 w 428517"/>
                <a:gd name="connsiteY4" fmla="*/ 204558 h 575454"/>
                <a:gd name="connsiteX5" fmla="*/ 215603 w 428517"/>
                <a:gd name="connsiteY5" fmla="*/ 901 h 575454"/>
                <a:gd name="connsiteX6" fmla="*/ 11946 w 428517"/>
                <a:gd name="connsiteY6" fmla="*/ 182958 h 575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8517" h="575454">
                  <a:moveTo>
                    <a:pt x="11946" y="182958"/>
                  </a:moveTo>
                  <a:cubicBezTo>
                    <a:pt x="11946" y="182958"/>
                    <a:pt x="-12739" y="361929"/>
                    <a:pt x="8860" y="435987"/>
                  </a:cubicBezTo>
                  <a:cubicBezTo>
                    <a:pt x="27375" y="503872"/>
                    <a:pt x="116860" y="568672"/>
                    <a:pt x="169318" y="574844"/>
                  </a:cubicBezTo>
                  <a:cubicBezTo>
                    <a:pt x="237203" y="581015"/>
                    <a:pt x="357547" y="540901"/>
                    <a:pt x="388404" y="432901"/>
                  </a:cubicBezTo>
                  <a:cubicBezTo>
                    <a:pt x="410003" y="358844"/>
                    <a:pt x="428518" y="257015"/>
                    <a:pt x="428518" y="204558"/>
                  </a:cubicBezTo>
                  <a:cubicBezTo>
                    <a:pt x="428518" y="108901"/>
                    <a:pt x="400746" y="28672"/>
                    <a:pt x="215603" y="901"/>
                  </a:cubicBezTo>
                  <a:cubicBezTo>
                    <a:pt x="132289" y="-11442"/>
                    <a:pt x="33546" y="105815"/>
                    <a:pt x="11946" y="182958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B68A348C-0218-4C37-8F22-D56F9295B6F1}"/>
                </a:ext>
              </a:extLst>
            </p:cNvPr>
            <p:cNvSpPr/>
            <p:nvPr/>
          </p:nvSpPr>
          <p:spPr>
            <a:xfrm>
              <a:off x="14562637" y="2138582"/>
              <a:ext cx="58628" cy="138857"/>
            </a:xfrm>
            <a:custGeom>
              <a:avLst/>
              <a:gdLst>
                <a:gd name="connsiteX0" fmla="*/ 33943 w 58628"/>
                <a:gd name="connsiteY0" fmla="*/ 138857 h 138857"/>
                <a:gd name="connsiteX1" fmla="*/ 6171 w 58628"/>
                <a:gd name="connsiteY1" fmla="*/ 132686 h 138857"/>
                <a:gd name="connsiteX2" fmla="*/ 0 w 58628"/>
                <a:gd name="connsiteY2" fmla="*/ 120343 h 138857"/>
                <a:gd name="connsiteX3" fmla="*/ 18514 w 58628"/>
                <a:gd name="connsiteY3" fmla="*/ 6171 h 138857"/>
                <a:gd name="connsiteX4" fmla="*/ 24685 w 58628"/>
                <a:gd name="connsiteY4" fmla="*/ 0 h 138857"/>
                <a:gd name="connsiteX5" fmla="*/ 30857 w 58628"/>
                <a:gd name="connsiteY5" fmla="*/ 6171 h 138857"/>
                <a:gd name="connsiteX6" fmla="*/ 12343 w 58628"/>
                <a:gd name="connsiteY6" fmla="*/ 120343 h 138857"/>
                <a:gd name="connsiteX7" fmla="*/ 12343 w 58628"/>
                <a:gd name="connsiteY7" fmla="*/ 123429 h 138857"/>
                <a:gd name="connsiteX8" fmla="*/ 52457 w 58628"/>
                <a:gd name="connsiteY8" fmla="*/ 126514 h 138857"/>
                <a:gd name="connsiteX9" fmla="*/ 58628 w 58628"/>
                <a:gd name="connsiteY9" fmla="*/ 132686 h 138857"/>
                <a:gd name="connsiteX10" fmla="*/ 52457 w 58628"/>
                <a:gd name="connsiteY10" fmla="*/ 138857 h 138857"/>
                <a:gd name="connsiteX11" fmla="*/ 33943 w 58628"/>
                <a:gd name="connsiteY11" fmla="*/ 138857 h 13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628" h="138857">
                  <a:moveTo>
                    <a:pt x="33943" y="138857"/>
                  </a:moveTo>
                  <a:cubicBezTo>
                    <a:pt x="24685" y="138857"/>
                    <a:pt x="12343" y="138857"/>
                    <a:pt x="6171" y="132686"/>
                  </a:cubicBezTo>
                  <a:cubicBezTo>
                    <a:pt x="3086" y="129600"/>
                    <a:pt x="0" y="126514"/>
                    <a:pt x="0" y="120343"/>
                  </a:cubicBezTo>
                  <a:cubicBezTo>
                    <a:pt x="0" y="98743"/>
                    <a:pt x="18514" y="9257"/>
                    <a:pt x="18514" y="6171"/>
                  </a:cubicBezTo>
                  <a:cubicBezTo>
                    <a:pt x="18514" y="3086"/>
                    <a:pt x="21599" y="0"/>
                    <a:pt x="24685" y="0"/>
                  </a:cubicBezTo>
                  <a:cubicBezTo>
                    <a:pt x="27771" y="0"/>
                    <a:pt x="30857" y="3086"/>
                    <a:pt x="30857" y="6171"/>
                  </a:cubicBezTo>
                  <a:cubicBezTo>
                    <a:pt x="30857" y="6171"/>
                    <a:pt x="12343" y="98743"/>
                    <a:pt x="12343" y="120343"/>
                  </a:cubicBezTo>
                  <a:cubicBezTo>
                    <a:pt x="12343" y="120343"/>
                    <a:pt x="12343" y="123429"/>
                    <a:pt x="12343" y="123429"/>
                  </a:cubicBezTo>
                  <a:cubicBezTo>
                    <a:pt x="18514" y="129600"/>
                    <a:pt x="40114" y="126514"/>
                    <a:pt x="52457" y="126514"/>
                  </a:cubicBezTo>
                  <a:cubicBezTo>
                    <a:pt x="55542" y="126514"/>
                    <a:pt x="58628" y="129600"/>
                    <a:pt x="58628" y="132686"/>
                  </a:cubicBezTo>
                  <a:cubicBezTo>
                    <a:pt x="58628" y="135771"/>
                    <a:pt x="55542" y="138857"/>
                    <a:pt x="52457" y="138857"/>
                  </a:cubicBezTo>
                  <a:cubicBezTo>
                    <a:pt x="52457" y="138857"/>
                    <a:pt x="43200" y="138857"/>
                    <a:pt x="33943" y="138857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C0CF5C56-791E-49AC-9EA4-6DE2F87208F8}"/>
                </a:ext>
              </a:extLst>
            </p:cNvPr>
            <p:cNvSpPr/>
            <p:nvPr/>
          </p:nvSpPr>
          <p:spPr>
            <a:xfrm>
              <a:off x="14494146" y="2116376"/>
              <a:ext cx="40720" cy="41324"/>
            </a:xfrm>
            <a:custGeom>
              <a:avLst/>
              <a:gdLst>
                <a:gd name="connsiteX0" fmla="*/ 40720 w 40720"/>
                <a:gd name="connsiteY0" fmla="*/ 25291 h 41324"/>
                <a:gd name="connsiteX1" fmla="*/ 16034 w 40720"/>
                <a:gd name="connsiteY1" fmla="*/ 40720 h 41324"/>
                <a:gd name="connsiteX2" fmla="*/ 605 w 40720"/>
                <a:gd name="connsiteY2" fmla="*/ 16034 h 41324"/>
                <a:gd name="connsiteX3" fmla="*/ 25292 w 40720"/>
                <a:gd name="connsiteY3" fmla="*/ 605 h 41324"/>
                <a:gd name="connsiteX4" fmla="*/ 40720 w 40720"/>
                <a:gd name="connsiteY4" fmla="*/ 25291 h 41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20" h="41324">
                  <a:moveTo>
                    <a:pt x="40720" y="25291"/>
                  </a:moveTo>
                  <a:cubicBezTo>
                    <a:pt x="37634" y="34548"/>
                    <a:pt x="28377" y="43805"/>
                    <a:pt x="16034" y="40720"/>
                  </a:cubicBezTo>
                  <a:cubicBezTo>
                    <a:pt x="6777" y="37634"/>
                    <a:pt x="-2481" y="28377"/>
                    <a:pt x="605" y="16034"/>
                  </a:cubicBezTo>
                  <a:cubicBezTo>
                    <a:pt x="3691" y="6777"/>
                    <a:pt x="12948" y="-2480"/>
                    <a:pt x="25292" y="605"/>
                  </a:cubicBezTo>
                  <a:cubicBezTo>
                    <a:pt x="34548" y="3691"/>
                    <a:pt x="40720" y="12948"/>
                    <a:pt x="40720" y="25291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D68D6BEF-CA19-4F0B-BE75-2ECA8EEB44D7}"/>
                </a:ext>
              </a:extLst>
            </p:cNvPr>
            <p:cNvSpPr/>
            <p:nvPr/>
          </p:nvSpPr>
          <p:spPr>
            <a:xfrm>
              <a:off x="14679288" y="2134891"/>
              <a:ext cx="40720" cy="41324"/>
            </a:xfrm>
            <a:custGeom>
              <a:avLst/>
              <a:gdLst>
                <a:gd name="connsiteX0" fmla="*/ 40720 w 40720"/>
                <a:gd name="connsiteY0" fmla="*/ 25291 h 41324"/>
                <a:gd name="connsiteX1" fmla="*/ 16034 w 40720"/>
                <a:gd name="connsiteY1" fmla="*/ 40720 h 41324"/>
                <a:gd name="connsiteX2" fmla="*/ 605 w 40720"/>
                <a:gd name="connsiteY2" fmla="*/ 16034 h 41324"/>
                <a:gd name="connsiteX3" fmla="*/ 25292 w 40720"/>
                <a:gd name="connsiteY3" fmla="*/ 605 h 41324"/>
                <a:gd name="connsiteX4" fmla="*/ 40720 w 40720"/>
                <a:gd name="connsiteY4" fmla="*/ 25291 h 41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20" h="41324">
                  <a:moveTo>
                    <a:pt x="40720" y="25291"/>
                  </a:moveTo>
                  <a:cubicBezTo>
                    <a:pt x="37634" y="34548"/>
                    <a:pt x="28377" y="43805"/>
                    <a:pt x="16034" y="40720"/>
                  </a:cubicBezTo>
                  <a:cubicBezTo>
                    <a:pt x="6777" y="37634"/>
                    <a:pt x="-2481" y="28377"/>
                    <a:pt x="605" y="16034"/>
                  </a:cubicBezTo>
                  <a:cubicBezTo>
                    <a:pt x="3691" y="6777"/>
                    <a:pt x="12948" y="-2480"/>
                    <a:pt x="25292" y="605"/>
                  </a:cubicBezTo>
                  <a:cubicBezTo>
                    <a:pt x="34548" y="3691"/>
                    <a:pt x="40720" y="16034"/>
                    <a:pt x="40720" y="25291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F0D2E630-484F-4F3D-916C-4D857FF847BF}"/>
                </a:ext>
              </a:extLst>
            </p:cNvPr>
            <p:cNvSpPr/>
            <p:nvPr/>
          </p:nvSpPr>
          <p:spPr>
            <a:xfrm>
              <a:off x="14467751" y="2067610"/>
              <a:ext cx="93078" cy="33942"/>
            </a:xfrm>
            <a:custGeom>
              <a:avLst/>
              <a:gdLst>
                <a:gd name="connsiteX0" fmla="*/ 8485 w 93078"/>
                <a:gd name="connsiteY0" fmla="*/ 33943 h 33942"/>
                <a:gd name="connsiteX1" fmla="*/ 2314 w 93078"/>
                <a:gd name="connsiteY1" fmla="*/ 30857 h 33942"/>
                <a:gd name="connsiteX2" fmla="*/ 2314 w 93078"/>
                <a:gd name="connsiteY2" fmla="*/ 18514 h 33942"/>
                <a:gd name="connsiteX3" fmla="*/ 88714 w 93078"/>
                <a:gd name="connsiteY3" fmla="*/ 9257 h 33942"/>
                <a:gd name="connsiteX4" fmla="*/ 91800 w 93078"/>
                <a:gd name="connsiteY4" fmla="*/ 21600 h 33942"/>
                <a:gd name="connsiteX5" fmla="*/ 79457 w 93078"/>
                <a:gd name="connsiteY5" fmla="*/ 24686 h 33942"/>
                <a:gd name="connsiteX6" fmla="*/ 11571 w 93078"/>
                <a:gd name="connsiteY6" fmla="*/ 30857 h 33942"/>
                <a:gd name="connsiteX7" fmla="*/ 8485 w 93078"/>
                <a:gd name="connsiteY7" fmla="*/ 33943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3942">
                  <a:moveTo>
                    <a:pt x="8485" y="33943"/>
                  </a:moveTo>
                  <a:cubicBezTo>
                    <a:pt x="5400" y="33943"/>
                    <a:pt x="5400" y="33943"/>
                    <a:pt x="2314" y="30857"/>
                  </a:cubicBezTo>
                  <a:cubicBezTo>
                    <a:pt x="-771" y="27771"/>
                    <a:pt x="-771" y="21600"/>
                    <a:pt x="2314" y="18514"/>
                  </a:cubicBezTo>
                  <a:cubicBezTo>
                    <a:pt x="30086" y="-9257"/>
                    <a:pt x="70200" y="0"/>
                    <a:pt x="88714" y="9257"/>
                  </a:cubicBezTo>
                  <a:cubicBezTo>
                    <a:pt x="91800" y="12343"/>
                    <a:pt x="94886" y="15429"/>
                    <a:pt x="91800" y="21600"/>
                  </a:cubicBezTo>
                  <a:cubicBezTo>
                    <a:pt x="88714" y="24686"/>
                    <a:pt x="85628" y="27771"/>
                    <a:pt x="79457" y="24686"/>
                  </a:cubicBezTo>
                  <a:cubicBezTo>
                    <a:pt x="76371" y="24686"/>
                    <a:pt x="39342" y="3086"/>
                    <a:pt x="11571" y="30857"/>
                  </a:cubicBezTo>
                  <a:cubicBezTo>
                    <a:pt x="14657" y="30857"/>
                    <a:pt x="11571" y="33943"/>
                    <a:pt x="8485" y="33943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03F7696C-DE48-4399-BEF5-7AACD2198ECF}"/>
                </a:ext>
              </a:extLst>
            </p:cNvPr>
            <p:cNvSpPr/>
            <p:nvPr/>
          </p:nvSpPr>
          <p:spPr>
            <a:xfrm>
              <a:off x="14657016" y="2068639"/>
              <a:ext cx="93078" cy="36000"/>
            </a:xfrm>
            <a:custGeom>
              <a:avLst/>
              <a:gdLst>
                <a:gd name="connsiteX0" fmla="*/ 87678 w 93078"/>
                <a:gd name="connsiteY0" fmla="*/ 36000 h 36000"/>
                <a:gd name="connsiteX1" fmla="*/ 81506 w 93078"/>
                <a:gd name="connsiteY1" fmla="*/ 32914 h 36000"/>
                <a:gd name="connsiteX2" fmla="*/ 13621 w 93078"/>
                <a:gd name="connsiteY2" fmla="*/ 26743 h 36000"/>
                <a:gd name="connsiteX3" fmla="*/ 1278 w 93078"/>
                <a:gd name="connsiteY3" fmla="*/ 23657 h 36000"/>
                <a:gd name="connsiteX4" fmla="*/ 4363 w 93078"/>
                <a:gd name="connsiteY4" fmla="*/ 11314 h 36000"/>
                <a:gd name="connsiteX5" fmla="*/ 90764 w 93078"/>
                <a:gd name="connsiteY5" fmla="*/ 20571 h 36000"/>
                <a:gd name="connsiteX6" fmla="*/ 90764 w 93078"/>
                <a:gd name="connsiteY6" fmla="*/ 32914 h 36000"/>
                <a:gd name="connsiteX7" fmla="*/ 87678 w 93078"/>
                <a:gd name="connsiteY7" fmla="*/ 36000 h 3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6000">
                  <a:moveTo>
                    <a:pt x="87678" y="36000"/>
                  </a:moveTo>
                  <a:cubicBezTo>
                    <a:pt x="84592" y="36000"/>
                    <a:pt x="84592" y="36000"/>
                    <a:pt x="81506" y="32914"/>
                  </a:cubicBezTo>
                  <a:cubicBezTo>
                    <a:pt x="81506" y="32914"/>
                    <a:pt x="50649" y="2057"/>
                    <a:pt x="13621" y="26743"/>
                  </a:cubicBezTo>
                  <a:cubicBezTo>
                    <a:pt x="10535" y="29829"/>
                    <a:pt x="4363" y="26743"/>
                    <a:pt x="1278" y="23657"/>
                  </a:cubicBezTo>
                  <a:cubicBezTo>
                    <a:pt x="-1808" y="20571"/>
                    <a:pt x="1278" y="14400"/>
                    <a:pt x="4363" y="11314"/>
                  </a:cubicBezTo>
                  <a:cubicBezTo>
                    <a:pt x="41392" y="-13371"/>
                    <a:pt x="78421" y="8229"/>
                    <a:pt x="90764" y="20571"/>
                  </a:cubicBezTo>
                  <a:cubicBezTo>
                    <a:pt x="93850" y="23657"/>
                    <a:pt x="93850" y="29829"/>
                    <a:pt x="90764" y="32914"/>
                  </a:cubicBezTo>
                  <a:cubicBezTo>
                    <a:pt x="93850" y="36000"/>
                    <a:pt x="90764" y="36000"/>
                    <a:pt x="87678" y="36000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B2B95E6D-6173-4495-BB2B-2004854275BD}"/>
                </a:ext>
              </a:extLst>
            </p:cNvPr>
            <p:cNvSpPr/>
            <p:nvPr/>
          </p:nvSpPr>
          <p:spPr>
            <a:xfrm>
              <a:off x="14526379" y="2391610"/>
              <a:ext cx="235021" cy="61714"/>
            </a:xfrm>
            <a:custGeom>
              <a:avLst/>
              <a:gdLst>
                <a:gd name="connsiteX0" fmla="*/ 82543 w 235021"/>
                <a:gd name="connsiteY0" fmla="*/ 61714 h 61714"/>
                <a:gd name="connsiteX1" fmla="*/ 82543 w 235021"/>
                <a:gd name="connsiteY1" fmla="*/ 61714 h 61714"/>
                <a:gd name="connsiteX2" fmla="*/ 2314 w 235021"/>
                <a:gd name="connsiteY2" fmla="*/ 33943 h 61714"/>
                <a:gd name="connsiteX3" fmla="*/ 2314 w 235021"/>
                <a:gd name="connsiteY3" fmla="*/ 24686 h 61714"/>
                <a:gd name="connsiteX4" fmla="*/ 11571 w 235021"/>
                <a:gd name="connsiteY4" fmla="*/ 24686 h 61714"/>
                <a:gd name="connsiteX5" fmla="*/ 82543 w 235021"/>
                <a:gd name="connsiteY5" fmla="*/ 49371 h 61714"/>
                <a:gd name="connsiteX6" fmla="*/ 82543 w 235021"/>
                <a:gd name="connsiteY6" fmla="*/ 49371 h 61714"/>
                <a:gd name="connsiteX7" fmla="*/ 224486 w 235021"/>
                <a:gd name="connsiteY7" fmla="*/ 0 h 61714"/>
                <a:gd name="connsiteX8" fmla="*/ 233743 w 235021"/>
                <a:gd name="connsiteY8" fmla="*/ 3086 h 61714"/>
                <a:gd name="connsiteX9" fmla="*/ 230657 w 235021"/>
                <a:gd name="connsiteY9" fmla="*/ 12343 h 61714"/>
                <a:gd name="connsiteX10" fmla="*/ 82543 w 235021"/>
                <a:gd name="connsiteY10" fmla="*/ 61714 h 61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5021" h="61714">
                  <a:moveTo>
                    <a:pt x="82543" y="61714"/>
                  </a:moveTo>
                  <a:cubicBezTo>
                    <a:pt x="82543" y="61714"/>
                    <a:pt x="82543" y="61714"/>
                    <a:pt x="82543" y="61714"/>
                  </a:cubicBezTo>
                  <a:cubicBezTo>
                    <a:pt x="39343" y="61714"/>
                    <a:pt x="5400" y="33943"/>
                    <a:pt x="2314" y="33943"/>
                  </a:cubicBezTo>
                  <a:cubicBezTo>
                    <a:pt x="-771" y="30857"/>
                    <a:pt x="-771" y="27771"/>
                    <a:pt x="2314" y="24686"/>
                  </a:cubicBezTo>
                  <a:cubicBezTo>
                    <a:pt x="5400" y="21600"/>
                    <a:pt x="8486" y="21600"/>
                    <a:pt x="11571" y="24686"/>
                  </a:cubicBezTo>
                  <a:cubicBezTo>
                    <a:pt x="11571" y="24686"/>
                    <a:pt x="42428" y="49371"/>
                    <a:pt x="82543" y="49371"/>
                  </a:cubicBezTo>
                  <a:cubicBezTo>
                    <a:pt x="82543" y="49371"/>
                    <a:pt x="82543" y="49371"/>
                    <a:pt x="82543" y="49371"/>
                  </a:cubicBezTo>
                  <a:cubicBezTo>
                    <a:pt x="131915" y="49371"/>
                    <a:pt x="221400" y="0"/>
                    <a:pt x="224486" y="0"/>
                  </a:cubicBezTo>
                  <a:cubicBezTo>
                    <a:pt x="227571" y="0"/>
                    <a:pt x="230657" y="0"/>
                    <a:pt x="233743" y="3086"/>
                  </a:cubicBezTo>
                  <a:cubicBezTo>
                    <a:pt x="236829" y="6171"/>
                    <a:pt x="233743" y="9257"/>
                    <a:pt x="230657" y="12343"/>
                  </a:cubicBezTo>
                  <a:cubicBezTo>
                    <a:pt x="224486" y="12343"/>
                    <a:pt x="135000" y="61714"/>
                    <a:pt x="82543" y="61714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9610157D-784E-46C1-8A7B-9953D0A6E8CA}"/>
                </a:ext>
              </a:extLst>
            </p:cNvPr>
            <p:cNvSpPr/>
            <p:nvPr/>
          </p:nvSpPr>
          <p:spPr>
            <a:xfrm>
              <a:off x="14778637" y="1897896"/>
              <a:ext cx="102202" cy="271542"/>
            </a:xfrm>
            <a:custGeom>
              <a:avLst/>
              <a:gdLst>
                <a:gd name="connsiteX0" fmla="*/ 0 w 102202"/>
                <a:gd name="connsiteY0" fmla="*/ 129600 h 271542"/>
                <a:gd name="connsiteX1" fmla="*/ 49372 w 102202"/>
                <a:gd name="connsiteY1" fmla="*/ 271543 h 271542"/>
                <a:gd name="connsiteX2" fmla="*/ 95657 w 102202"/>
                <a:gd name="connsiteY2" fmla="*/ 163543 h 271542"/>
                <a:gd name="connsiteX3" fmla="*/ 49372 w 102202"/>
                <a:gd name="connsiteY3" fmla="*/ 0 h 271542"/>
                <a:gd name="connsiteX4" fmla="*/ 0 w 102202"/>
                <a:gd name="connsiteY4" fmla="*/ 129600 h 27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202" h="271542">
                  <a:moveTo>
                    <a:pt x="0" y="129600"/>
                  </a:moveTo>
                  <a:cubicBezTo>
                    <a:pt x="0" y="129600"/>
                    <a:pt x="55542" y="240686"/>
                    <a:pt x="49372" y="271543"/>
                  </a:cubicBezTo>
                  <a:cubicBezTo>
                    <a:pt x="49372" y="271543"/>
                    <a:pt x="80229" y="253029"/>
                    <a:pt x="95657" y="163543"/>
                  </a:cubicBezTo>
                  <a:cubicBezTo>
                    <a:pt x="104914" y="101829"/>
                    <a:pt x="114171" y="15429"/>
                    <a:pt x="49372" y="0"/>
                  </a:cubicBezTo>
                  <a:cubicBezTo>
                    <a:pt x="49372" y="0"/>
                    <a:pt x="43200" y="111086"/>
                    <a:pt x="0" y="129600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63F6C14C-B907-4988-89E0-6882C78AF85A}"/>
                </a:ext>
              </a:extLst>
            </p:cNvPr>
            <p:cNvSpPr/>
            <p:nvPr/>
          </p:nvSpPr>
          <p:spPr>
            <a:xfrm>
              <a:off x="14331208" y="1779248"/>
              <a:ext cx="507995" cy="257536"/>
            </a:xfrm>
            <a:custGeom>
              <a:avLst/>
              <a:gdLst>
                <a:gd name="connsiteX0" fmla="*/ 447429 w 507995"/>
                <a:gd name="connsiteY0" fmla="*/ 248248 h 257536"/>
                <a:gd name="connsiteX1" fmla="*/ 324000 w 507995"/>
                <a:gd name="connsiteY1" fmla="*/ 208134 h 257536"/>
                <a:gd name="connsiteX2" fmla="*/ 0 w 507995"/>
                <a:gd name="connsiteY2" fmla="*/ 195791 h 257536"/>
                <a:gd name="connsiteX3" fmla="*/ 376457 w 507995"/>
                <a:gd name="connsiteY3" fmla="*/ 10648 h 257536"/>
                <a:gd name="connsiteX4" fmla="*/ 496800 w 507995"/>
                <a:gd name="connsiteY4" fmla="*/ 118648 h 257536"/>
                <a:gd name="connsiteX5" fmla="*/ 447429 w 507995"/>
                <a:gd name="connsiteY5" fmla="*/ 248248 h 257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7995" h="257536">
                  <a:moveTo>
                    <a:pt x="447429" y="248248"/>
                  </a:moveTo>
                  <a:cubicBezTo>
                    <a:pt x="447429" y="248248"/>
                    <a:pt x="351771" y="208134"/>
                    <a:pt x="324000" y="208134"/>
                  </a:cubicBezTo>
                  <a:cubicBezTo>
                    <a:pt x="222171" y="211219"/>
                    <a:pt x="92571" y="325391"/>
                    <a:pt x="0" y="195791"/>
                  </a:cubicBezTo>
                  <a:cubicBezTo>
                    <a:pt x="46286" y="93962"/>
                    <a:pt x="209828" y="-38724"/>
                    <a:pt x="376457" y="10648"/>
                  </a:cubicBezTo>
                  <a:cubicBezTo>
                    <a:pt x="456685" y="32248"/>
                    <a:pt x="490628" y="81619"/>
                    <a:pt x="496800" y="118648"/>
                  </a:cubicBezTo>
                  <a:cubicBezTo>
                    <a:pt x="496800" y="118648"/>
                    <a:pt x="543086" y="235905"/>
                    <a:pt x="447429" y="248248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21800214-2830-469F-B883-7837294F105C}"/>
                </a:ext>
              </a:extLst>
            </p:cNvPr>
            <p:cNvSpPr/>
            <p:nvPr/>
          </p:nvSpPr>
          <p:spPr>
            <a:xfrm>
              <a:off x="14814294" y="2138389"/>
              <a:ext cx="79577" cy="111841"/>
            </a:xfrm>
            <a:custGeom>
              <a:avLst/>
              <a:gdLst>
                <a:gd name="connsiteX0" fmla="*/ 13714 w 79577"/>
                <a:gd name="connsiteY0" fmla="*/ 15621 h 111841"/>
                <a:gd name="connsiteX1" fmla="*/ 72343 w 79577"/>
                <a:gd name="connsiteY1" fmla="*/ 6364 h 111841"/>
                <a:gd name="connsiteX2" fmla="*/ 13714 w 79577"/>
                <a:gd name="connsiteY2" fmla="*/ 108193 h 111841"/>
                <a:gd name="connsiteX3" fmla="*/ 13714 w 79577"/>
                <a:gd name="connsiteY3" fmla="*/ 15621 h 111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577" h="111841">
                  <a:moveTo>
                    <a:pt x="13714" y="15621"/>
                  </a:moveTo>
                  <a:cubicBezTo>
                    <a:pt x="13714" y="15621"/>
                    <a:pt x="47656" y="-12150"/>
                    <a:pt x="72343" y="6364"/>
                  </a:cubicBezTo>
                  <a:cubicBezTo>
                    <a:pt x="97028" y="24879"/>
                    <a:pt x="53828" y="132879"/>
                    <a:pt x="13714" y="108193"/>
                  </a:cubicBezTo>
                  <a:cubicBezTo>
                    <a:pt x="-17143" y="89679"/>
                    <a:pt x="13714" y="15621"/>
                    <a:pt x="13714" y="15621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B02493BE-23D5-4747-8F1B-26CE52290A0D}"/>
                </a:ext>
              </a:extLst>
            </p:cNvPr>
            <p:cNvSpPr/>
            <p:nvPr/>
          </p:nvSpPr>
          <p:spPr>
            <a:xfrm>
              <a:off x="14534866" y="2329896"/>
              <a:ext cx="108000" cy="52457"/>
            </a:xfrm>
            <a:custGeom>
              <a:avLst/>
              <a:gdLst>
                <a:gd name="connsiteX0" fmla="*/ 0 w 108000"/>
                <a:gd name="connsiteY0" fmla="*/ 0 h 52457"/>
                <a:gd name="connsiteX1" fmla="*/ 108000 w 108000"/>
                <a:gd name="connsiteY1" fmla="*/ 0 h 52457"/>
                <a:gd name="connsiteX2" fmla="*/ 46286 w 108000"/>
                <a:gd name="connsiteY2" fmla="*/ 52457 h 52457"/>
                <a:gd name="connsiteX3" fmla="*/ 0 w 108000"/>
                <a:gd name="connsiteY3" fmla="*/ 0 h 52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000" h="52457">
                  <a:moveTo>
                    <a:pt x="0" y="0"/>
                  </a:moveTo>
                  <a:cubicBezTo>
                    <a:pt x="46286" y="15429"/>
                    <a:pt x="108000" y="0"/>
                    <a:pt x="108000" y="0"/>
                  </a:cubicBezTo>
                  <a:cubicBezTo>
                    <a:pt x="108000" y="0"/>
                    <a:pt x="86400" y="52457"/>
                    <a:pt x="46286" y="52457"/>
                  </a:cubicBezTo>
                  <a:cubicBezTo>
                    <a:pt x="18514" y="4937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E8675130-6075-4849-B6A5-EB6737AB5DE4}"/>
                </a:ext>
              </a:extLst>
            </p:cNvPr>
            <p:cNvSpPr/>
            <p:nvPr/>
          </p:nvSpPr>
          <p:spPr>
            <a:xfrm>
              <a:off x="14309608" y="2962467"/>
              <a:ext cx="178971" cy="203657"/>
            </a:xfrm>
            <a:custGeom>
              <a:avLst/>
              <a:gdLst>
                <a:gd name="connsiteX0" fmla="*/ 74057 w 178971"/>
                <a:gd name="connsiteY0" fmla="*/ 200571 h 203657"/>
                <a:gd name="connsiteX1" fmla="*/ 70972 w 178971"/>
                <a:gd name="connsiteY1" fmla="*/ 197486 h 203657"/>
                <a:gd name="connsiteX2" fmla="*/ 3086 w 178971"/>
                <a:gd name="connsiteY2" fmla="*/ 129600 h 203657"/>
                <a:gd name="connsiteX3" fmla="*/ 0 w 178971"/>
                <a:gd name="connsiteY3" fmla="*/ 126514 h 203657"/>
                <a:gd name="connsiteX4" fmla="*/ 0 w 178971"/>
                <a:gd name="connsiteY4" fmla="*/ 9257 h 203657"/>
                <a:gd name="connsiteX5" fmla="*/ 6172 w 178971"/>
                <a:gd name="connsiteY5" fmla="*/ 3086 h 203657"/>
                <a:gd name="connsiteX6" fmla="*/ 172800 w 178971"/>
                <a:gd name="connsiteY6" fmla="*/ 0 h 203657"/>
                <a:gd name="connsiteX7" fmla="*/ 178972 w 178971"/>
                <a:gd name="connsiteY7" fmla="*/ 3086 h 203657"/>
                <a:gd name="connsiteX8" fmla="*/ 178972 w 178971"/>
                <a:gd name="connsiteY8" fmla="*/ 9257 h 203657"/>
                <a:gd name="connsiteX9" fmla="*/ 166628 w 178971"/>
                <a:gd name="connsiteY9" fmla="*/ 129600 h 203657"/>
                <a:gd name="connsiteX10" fmla="*/ 163543 w 178971"/>
                <a:gd name="connsiteY10" fmla="*/ 135771 h 203657"/>
                <a:gd name="connsiteX11" fmla="*/ 74057 w 178971"/>
                <a:gd name="connsiteY11" fmla="*/ 203657 h 203657"/>
                <a:gd name="connsiteX12" fmla="*/ 74057 w 178971"/>
                <a:gd name="connsiteY12" fmla="*/ 200571 h 203657"/>
                <a:gd name="connsiteX13" fmla="*/ 15429 w 178971"/>
                <a:gd name="connsiteY13" fmla="*/ 126514 h 203657"/>
                <a:gd name="connsiteX14" fmla="*/ 77143 w 178971"/>
                <a:gd name="connsiteY14" fmla="*/ 188229 h 203657"/>
                <a:gd name="connsiteX15" fmla="*/ 160458 w 178971"/>
                <a:gd name="connsiteY15" fmla="*/ 126514 h 203657"/>
                <a:gd name="connsiteX16" fmla="*/ 169714 w 178971"/>
                <a:gd name="connsiteY16" fmla="*/ 15429 h 203657"/>
                <a:gd name="connsiteX17" fmla="*/ 15429 w 178971"/>
                <a:gd name="connsiteY17" fmla="*/ 18514 h 203657"/>
                <a:gd name="connsiteX18" fmla="*/ 15429 w 178971"/>
                <a:gd name="connsiteY18" fmla="*/ 126514 h 203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8971" h="203657">
                  <a:moveTo>
                    <a:pt x="74057" y="200571"/>
                  </a:moveTo>
                  <a:cubicBezTo>
                    <a:pt x="74057" y="200571"/>
                    <a:pt x="70972" y="200571"/>
                    <a:pt x="70972" y="197486"/>
                  </a:cubicBezTo>
                  <a:lnTo>
                    <a:pt x="3086" y="129600"/>
                  </a:lnTo>
                  <a:cubicBezTo>
                    <a:pt x="3086" y="129600"/>
                    <a:pt x="0" y="126514"/>
                    <a:pt x="0" y="126514"/>
                  </a:cubicBezTo>
                  <a:lnTo>
                    <a:pt x="0" y="9257"/>
                  </a:lnTo>
                  <a:cubicBezTo>
                    <a:pt x="0" y="6171"/>
                    <a:pt x="3086" y="3086"/>
                    <a:pt x="6172" y="3086"/>
                  </a:cubicBezTo>
                  <a:lnTo>
                    <a:pt x="172800" y="0"/>
                  </a:lnTo>
                  <a:cubicBezTo>
                    <a:pt x="175886" y="0"/>
                    <a:pt x="175886" y="0"/>
                    <a:pt x="178972" y="3086"/>
                  </a:cubicBezTo>
                  <a:cubicBezTo>
                    <a:pt x="178972" y="3086"/>
                    <a:pt x="178972" y="6171"/>
                    <a:pt x="178972" y="9257"/>
                  </a:cubicBezTo>
                  <a:cubicBezTo>
                    <a:pt x="166628" y="46286"/>
                    <a:pt x="166628" y="126514"/>
                    <a:pt x="166628" y="129600"/>
                  </a:cubicBezTo>
                  <a:cubicBezTo>
                    <a:pt x="166628" y="132686"/>
                    <a:pt x="166628" y="132686"/>
                    <a:pt x="163543" y="135771"/>
                  </a:cubicBezTo>
                  <a:lnTo>
                    <a:pt x="74057" y="203657"/>
                  </a:lnTo>
                  <a:cubicBezTo>
                    <a:pt x="77143" y="200571"/>
                    <a:pt x="77143" y="200571"/>
                    <a:pt x="74057" y="200571"/>
                  </a:cubicBezTo>
                  <a:close/>
                  <a:moveTo>
                    <a:pt x="15429" y="126514"/>
                  </a:moveTo>
                  <a:lnTo>
                    <a:pt x="77143" y="188229"/>
                  </a:lnTo>
                  <a:lnTo>
                    <a:pt x="160458" y="126514"/>
                  </a:lnTo>
                  <a:cubicBezTo>
                    <a:pt x="160458" y="111086"/>
                    <a:pt x="160458" y="52457"/>
                    <a:pt x="169714" y="15429"/>
                  </a:cubicBezTo>
                  <a:lnTo>
                    <a:pt x="15429" y="18514"/>
                  </a:lnTo>
                  <a:lnTo>
                    <a:pt x="15429" y="126514"/>
                  </a:ln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0557E840-ADE4-4955-A609-CD4651621EE0}"/>
                </a:ext>
              </a:extLst>
            </p:cNvPr>
            <p:cNvSpPr/>
            <p:nvPr/>
          </p:nvSpPr>
          <p:spPr>
            <a:xfrm>
              <a:off x="14649037" y="1947267"/>
              <a:ext cx="167906" cy="86400"/>
            </a:xfrm>
            <a:custGeom>
              <a:avLst/>
              <a:gdLst>
                <a:gd name="connsiteX0" fmla="*/ 129600 w 167906"/>
                <a:gd name="connsiteY0" fmla="*/ 86400 h 86400"/>
                <a:gd name="connsiteX1" fmla="*/ 129600 w 167906"/>
                <a:gd name="connsiteY1" fmla="*/ 86400 h 86400"/>
                <a:gd name="connsiteX2" fmla="*/ 6172 w 167906"/>
                <a:gd name="connsiteY2" fmla="*/ 46286 h 86400"/>
                <a:gd name="connsiteX3" fmla="*/ 0 w 167906"/>
                <a:gd name="connsiteY3" fmla="*/ 40114 h 86400"/>
                <a:gd name="connsiteX4" fmla="*/ 6172 w 167906"/>
                <a:gd name="connsiteY4" fmla="*/ 33943 h 86400"/>
                <a:gd name="connsiteX5" fmla="*/ 6172 w 167906"/>
                <a:gd name="connsiteY5" fmla="*/ 33943 h 86400"/>
                <a:gd name="connsiteX6" fmla="*/ 126514 w 167906"/>
                <a:gd name="connsiteY6" fmla="*/ 70971 h 86400"/>
                <a:gd name="connsiteX7" fmla="*/ 157372 w 167906"/>
                <a:gd name="connsiteY7" fmla="*/ 3086 h 86400"/>
                <a:gd name="connsiteX8" fmla="*/ 163543 w 167906"/>
                <a:gd name="connsiteY8" fmla="*/ 0 h 86400"/>
                <a:gd name="connsiteX9" fmla="*/ 166628 w 167906"/>
                <a:gd name="connsiteY9" fmla="*/ 6171 h 86400"/>
                <a:gd name="connsiteX10" fmla="*/ 129600 w 167906"/>
                <a:gd name="connsiteY10" fmla="*/ 80229 h 86400"/>
                <a:gd name="connsiteX11" fmla="*/ 129600 w 167906"/>
                <a:gd name="connsiteY11" fmla="*/ 86400 h 8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7906" h="86400">
                  <a:moveTo>
                    <a:pt x="129600" y="86400"/>
                  </a:moveTo>
                  <a:cubicBezTo>
                    <a:pt x="129600" y="86400"/>
                    <a:pt x="129600" y="86400"/>
                    <a:pt x="129600" y="86400"/>
                  </a:cubicBezTo>
                  <a:cubicBezTo>
                    <a:pt x="126514" y="86400"/>
                    <a:pt x="52458" y="49371"/>
                    <a:pt x="6172" y="46286"/>
                  </a:cubicBezTo>
                  <a:cubicBezTo>
                    <a:pt x="3086" y="46286"/>
                    <a:pt x="0" y="43200"/>
                    <a:pt x="0" y="40114"/>
                  </a:cubicBezTo>
                  <a:cubicBezTo>
                    <a:pt x="0" y="37029"/>
                    <a:pt x="3086" y="33943"/>
                    <a:pt x="6172" y="33943"/>
                  </a:cubicBezTo>
                  <a:cubicBezTo>
                    <a:pt x="6172" y="33943"/>
                    <a:pt x="6172" y="33943"/>
                    <a:pt x="6172" y="33943"/>
                  </a:cubicBezTo>
                  <a:cubicBezTo>
                    <a:pt x="49372" y="33943"/>
                    <a:pt x="111086" y="61714"/>
                    <a:pt x="126514" y="70971"/>
                  </a:cubicBezTo>
                  <a:cubicBezTo>
                    <a:pt x="145029" y="46286"/>
                    <a:pt x="157372" y="6171"/>
                    <a:pt x="157372" y="3086"/>
                  </a:cubicBezTo>
                  <a:cubicBezTo>
                    <a:pt x="157372" y="0"/>
                    <a:pt x="160458" y="0"/>
                    <a:pt x="163543" y="0"/>
                  </a:cubicBezTo>
                  <a:cubicBezTo>
                    <a:pt x="166628" y="0"/>
                    <a:pt x="169714" y="3086"/>
                    <a:pt x="166628" y="6171"/>
                  </a:cubicBezTo>
                  <a:cubicBezTo>
                    <a:pt x="166628" y="9257"/>
                    <a:pt x="151200" y="55543"/>
                    <a:pt x="129600" y="80229"/>
                  </a:cubicBezTo>
                  <a:cubicBezTo>
                    <a:pt x="132686" y="86400"/>
                    <a:pt x="132686" y="86400"/>
                    <a:pt x="129600" y="86400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6" name="图形 1">
              <a:extLst>
                <a:ext uri="{FF2B5EF4-FFF2-40B4-BE49-F238E27FC236}">
                  <a16:creationId xmlns:a16="http://schemas.microsoft.com/office/drawing/2014/main" id="{0A8A8370-84F0-4821-848E-59C4B61678F1}"/>
                </a:ext>
              </a:extLst>
            </p:cNvPr>
            <p:cNvGrpSpPr/>
            <p:nvPr/>
          </p:nvGrpSpPr>
          <p:grpSpPr>
            <a:xfrm>
              <a:off x="12708605" y="2084155"/>
              <a:ext cx="912889" cy="1055883"/>
              <a:chOff x="12708605" y="2084155"/>
              <a:chExt cx="912889" cy="1055883"/>
            </a:xfrm>
          </p:grpSpPr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2164895A-6716-4D0A-AB76-78D31C72F427}"/>
                  </a:ext>
                </a:extLst>
              </p:cNvPr>
              <p:cNvSpPr/>
              <p:nvPr/>
            </p:nvSpPr>
            <p:spPr>
              <a:xfrm>
                <a:off x="12723551" y="2360753"/>
                <a:ext cx="848571" cy="779286"/>
              </a:xfrm>
              <a:custGeom>
                <a:avLst/>
                <a:gdLst>
                  <a:gd name="connsiteX0" fmla="*/ 823886 w 848571"/>
                  <a:gd name="connsiteY0" fmla="*/ 0 h 779286"/>
                  <a:gd name="connsiteX1" fmla="*/ 15429 w 848571"/>
                  <a:gd name="connsiteY1" fmla="*/ 46286 h 779286"/>
                  <a:gd name="connsiteX2" fmla="*/ 0 w 848571"/>
                  <a:gd name="connsiteY2" fmla="*/ 67886 h 779286"/>
                  <a:gd name="connsiteX3" fmla="*/ 3086 w 848571"/>
                  <a:gd name="connsiteY3" fmla="*/ 80229 h 779286"/>
                  <a:gd name="connsiteX4" fmla="*/ 262286 w 848571"/>
                  <a:gd name="connsiteY4" fmla="*/ 438171 h 779286"/>
                  <a:gd name="connsiteX5" fmla="*/ 336343 w 848571"/>
                  <a:gd name="connsiteY5" fmla="*/ 530743 h 779286"/>
                  <a:gd name="connsiteX6" fmla="*/ 394971 w 848571"/>
                  <a:gd name="connsiteY6" fmla="*/ 601714 h 779286"/>
                  <a:gd name="connsiteX7" fmla="*/ 339429 w 848571"/>
                  <a:gd name="connsiteY7" fmla="*/ 725143 h 779286"/>
                  <a:gd name="connsiteX8" fmla="*/ 367200 w 848571"/>
                  <a:gd name="connsiteY8" fmla="*/ 737486 h 779286"/>
                  <a:gd name="connsiteX9" fmla="*/ 404229 w 848571"/>
                  <a:gd name="connsiteY9" fmla="*/ 700457 h 779286"/>
                  <a:gd name="connsiteX10" fmla="*/ 435086 w 848571"/>
                  <a:gd name="connsiteY10" fmla="*/ 771429 h 779286"/>
                  <a:gd name="connsiteX11" fmla="*/ 462857 w 848571"/>
                  <a:gd name="connsiteY11" fmla="*/ 768343 h 779286"/>
                  <a:gd name="connsiteX12" fmla="*/ 472114 w 848571"/>
                  <a:gd name="connsiteY12" fmla="*/ 712800 h 779286"/>
                  <a:gd name="connsiteX13" fmla="*/ 509143 w 848571"/>
                  <a:gd name="connsiteY13" fmla="*/ 743657 h 779286"/>
                  <a:gd name="connsiteX14" fmla="*/ 533828 w 848571"/>
                  <a:gd name="connsiteY14" fmla="*/ 728229 h 779286"/>
                  <a:gd name="connsiteX15" fmla="*/ 469029 w 848571"/>
                  <a:gd name="connsiteY15" fmla="*/ 610971 h 779286"/>
                  <a:gd name="connsiteX16" fmla="*/ 700458 w 848571"/>
                  <a:gd name="connsiteY16" fmla="*/ 354857 h 779286"/>
                  <a:gd name="connsiteX17" fmla="*/ 848571 w 848571"/>
                  <a:gd name="connsiteY17" fmla="*/ 18514 h 779286"/>
                  <a:gd name="connsiteX18" fmla="*/ 823886 w 848571"/>
                  <a:gd name="connsiteY18" fmla="*/ 0 h 779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48571" h="779286">
                    <a:moveTo>
                      <a:pt x="823886" y="0"/>
                    </a:moveTo>
                    <a:cubicBezTo>
                      <a:pt x="555429" y="37029"/>
                      <a:pt x="286971" y="52457"/>
                      <a:pt x="15429" y="46286"/>
                    </a:cubicBezTo>
                    <a:cubicBezTo>
                      <a:pt x="3086" y="46286"/>
                      <a:pt x="0" y="58629"/>
                      <a:pt x="0" y="67886"/>
                    </a:cubicBezTo>
                    <a:cubicBezTo>
                      <a:pt x="0" y="70971"/>
                      <a:pt x="0" y="77143"/>
                      <a:pt x="3086" y="80229"/>
                    </a:cubicBezTo>
                    <a:cubicBezTo>
                      <a:pt x="83315" y="203657"/>
                      <a:pt x="169714" y="324000"/>
                      <a:pt x="262286" y="438171"/>
                    </a:cubicBezTo>
                    <a:cubicBezTo>
                      <a:pt x="286971" y="469029"/>
                      <a:pt x="311657" y="499886"/>
                      <a:pt x="336343" y="530743"/>
                    </a:cubicBezTo>
                    <a:cubicBezTo>
                      <a:pt x="351771" y="552343"/>
                      <a:pt x="373372" y="583200"/>
                      <a:pt x="394971" y="601714"/>
                    </a:cubicBezTo>
                    <a:cubicBezTo>
                      <a:pt x="361029" y="632572"/>
                      <a:pt x="339429" y="675771"/>
                      <a:pt x="339429" y="725143"/>
                    </a:cubicBezTo>
                    <a:cubicBezTo>
                      <a:pt x="339429" y="737486"/>
                      <a:pt x="357943" y="743657"/>
                      <a:pt x="367200" y="737486"/>
                    </a:cubicBezTo>
                    <a:cubicBezTo>
                      <a:pt x="379543" y="725143"/>
                      <a:pt x="391886" y="712800"/>
                      <a:pt x="404229" y="700457"/>
                    </a:cubicBezTo>
                    <a:cubicBezTo>
                      <a:pt x="410400" y="725143"/>
                      <a:pt x="422743" y="749829"/>
                      <a:pt x="435086" y="771429"/>
                    </a:cubicBezTo>
                    <a:cubicBezTo>
                      <a:pt x="441257" y="783771"/>
                      <a:pt x="459771" y="780686"/>
                      <a:pt x="462857" y="768343"/>
                    </a:cubicBezTo>
                    <a:cubicBezTo>
                      <a:pt x="465943" y="749829"/>
                      <a:pt x="469029" y="731314"/>
                      <a:pt x="472114" y="712800"/>
                    </a:cubicBezTo>
                    <a:cubicBezTo>
                      <a:pt x="484458" y="722057"/>
                      <a:pt x="496800" y="734400"/>
                      <a:pt x="509143" y="743657"/>
                    </a:cubicBezTo>
                    <a:cubicBezTo>
                      <a:pt x="521486" y="752914"/>
                      <a:pt x="536914" y="743657"/>
                      <a:pt x="533828" y="728229"/>
                    </a:cubicBezTo>
                    <a:cubicBezTo>
                      <a:pt x="527657" y="688114"/>
                      <a:pt x="506057" y="635657"/>
                      <a:pt x="469029" y="610971"/>
                    </a:cubicBezTo>
                    <a:cubicBezTo>
                      <a:pt x="561600" y="558514"/>
                      <a:pt x="641828" y="444343"/>
                      <a:pt x="700458" y="354857"/>
                    </a:cubicBezTo>
                    <a:cubicBezTo>
                      <a:pt x="768343" y="253029"/>
                      <a:pt x="817714" y="138857"/>
                      <a:pt x="848571" y="18514"/>
                    </a:cubicBezTo>
                    <a:cubicBezTo>
                      <a:pt x="845486" y="9257"/>
                      <a:pt x="833143" y="0"/>
                      <a:pt x="823886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8" name="图形 1">
                <a:extLst>
                  <a:ext uri="{FF2B5EF4-FFF2-40B4-BE49-F238E27FC236}">
                    <a16:creationId xmlns:a16="http://schemas.microsoft.com/office/drawing/2014/main" id="{DD8D2B14-E1B0-4F5D-A169-3C08F2BC1603}"/>
                  </a:ext>
                </a:extLst>
              </p:cNvPr>
              <p:cNvGrpSpPr/>
              <p:nvPr/>
            </p:nvGrpSpPr>
            <p:grpSpPr>
              <a:xfrm>
                <a:off x="12708605" y="2280306"/>
                <a:ext cx="235842" cy="232334"/>
                <a:chOff x="12708605" y="2280306"/>
                <a:chExt cx="235842" cy="232334"/>
              </a:xfrm>
            </p:grpSpPr>
            <p:sp>
              <p:nvSpPr>
                <p:cNvPr id="173" name="任意多边形: 形状 172">
                  <a:extLst>
                    <a:ext uri="{FF2B5EF4-FFF2-40B4-BE49-F238E27FC236}">
                      <a16:creationId xmlns:a16="http://schemas.microsoft.com/office/drawing/2014/main" id="{E39C909E-62F2-4782-8627-63B75A58F07B}"/>
                    </a:ext>
                  </a:extLst>
                </p:cNvPr>
                <p:cNvSpPr/>
                <p:nvPr/>
              </p:nvSpPr>
              <p:spPr>
                <a:xfrm>
                  <a:off x="12822294" y="2286456"/>
                  <a:ext cx="110002" cy="108239"/>
                </a:xfrm>
                <a:custGeom>
                  <a:avLst/>
                  <a:gdLst>
                    <a:gd name="connsiteX0" fmla="*/ 0 w 110002"/>
                    <a:gd name="connsiteY0" fmla="*/ 108240 h 108239"/>
                    <a:gd name="connsiteX1" fmla="*/ 95656 w 110002"/>
                    <a:gd name="connsiteY1" fmla="*/ 21840 h 108239"/>
                    <a:gd name="connsiteX2" fmla="*/ 0 w 110002"/>
                    <a:gd name="connsiteY2" fmla="*/ 108240 h 108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0002" h="108239">
                      <a:moveTo>
                        <a:pt x="0" y="108240"/>
                      </a:moveTo>
                      <a:cubicBezTo>
                        <a:pt x="0" y="108240"/>
                        <a:pt x="33942" y="-58389"/>
                        <a:pt x="95656" y="21840"/>
                      </a:cubicBezTo>
                      <a:cubicBezTo>
                        <a:pt x="157371" y="102068"/>
                        <a:pt x="0" y="108240"/>
                        <a:pt x="0" y="10824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4" name="任意多边形: 形状 173">
                  <a:extLst>
                    <a:ext uri="{FF2B5EF4-FFF2-40B4-BE49-F238E27FC236}">
                      <a16:creationId xmlns:a16="http://schemas.microsoft.com/office/drawing/2014/main" id="{F4FE97D0-214E-4469-8887-57E3A42C168C}"/>
                    </a:ext>
                  </a:extLst>
                </p:cNvPr>
                <p:cNvSpPr/>
                <p:nvPr/>
              </p:nvSpPr>
              <p:spPr>
                <a:xfrm>
                  <a:off x="12747996" y="2280306"/>
                  <a:ext cx="71212" cy="120561"/>
                </a:xfrm>
                <a:custGeom>
                  <a:avLst/>
                  <a:gdLst>
                    <a:gd name="connsiteX0" fmla="*/ 71213 w 71212"/>
                    <a:gd name="connsiteY0" fmla="*/ 120562 h 120561"/>
                    <a:gd name="connsiteX1" fmla="*/ 31098 w 71212"/>
                    <a:gd name="connsiteY1" fmla="*/ 219 h 120561"/>
                    <a:gd name="connsiteX2" fmla="*/ 71213 w 71212"/>
                    <a:gd name="connsiteY2" fmla="*/ 120562 h 120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1212" h="120561">
                      <a:moveTo>
                        <a:pt x="71213" y="120562"/>
                      </a:moveTo>
                      <a:cubicBezTo>
                        <a:pt x="71213" y="120562"/>
                        <a:pt x="71213" y="-5953"/>
                        <a:pt x="31098" y="219"/>
                      </a:cubicBezTo>
                      <a:cubicBezTo>
                        <a:pt x="-5930" y="12562"/>
                        <a:pt x="-27531" y="68104"/>
                        <a:pt x="71213" y="12056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5" name="任意多边形: 形状 174">
                  <a:extLst>
                    <a:ext uri="{FF2B5EF4-FFF2-40B4-BE49-F238E27FC236}">
                      <a16:creationId xmlns:a16="http://schemas.microsoft.com/office/drawing/2014/main" id="{8CCF7F7A-5AF0-4F02-A27D-26D7576633E4}"/>
                    </a:ext>
                  </a:extLst>
                </p:cNvPr>
                <p:cNvSpPr/>
                <p:nvPr/>
              </p:nvSpPr>
              <p:spPr>
                <a:xfrm>
                  <a:off x="12831551" y="2403374"/>
                  <a:ext cx="112896" cy="79137"/>
                </a:xfrm>
                <a:custGeom>
                  <a:avLst/>
                  <a:gdLst>
                    <a:gd name="connsiteX0" fmla="*/ 0 w 112896"/>
                    <a:gd name="connsiteY0" fmla="*/ 579 h 79137"/>
                    <a:gd name="connsiteX1" fmla="*/ 111086 w 112896"/>
                    <a:gd name="connsiteY1" fmla="*/ 46864 h 79137"/>
                    <a:gd name="connsiteX2" fmla="*/ 0 w 112896"/>
                    <a:gd name="connsiteY2" fmla="*/ 579 h 7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2896" h="79137">
                      <a:moveTo>
                        <a:pt x="0" y="579"/>
                      </a:moveTo>
                      <a:cubicBezTo>
                        <a:pt x="0" y="579"/>
                        <a:pt x="129600" y="-8679"/>
                        <a:pt x="111086" y="46864"/>
                      </a:cubicBezTo>
                      <a:cubicBezTo>
                        <a:pt x="89486" y="105493"/>
                        <a:pt x="9257" y="80807"/>
                        <a:pt x="0" y="57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6" name="任意多边形: 形状 175">
                  <a:extLst>
                    <a:ext uri="{FF2B5EF4-FFF2-40B4-BE49-F238E27FC236}">
                      <a16:creationId xmlns:a16="http://schemas.microsoft.com/office/drawing/2014/main" id="{70B0DE0C-6FF7-4696-BD7E-2EB97774D18E}"/>
                    </a:ext>
                  </a:extLst>
                </p:cNvPr>
                <p:cNvSpPr/>
                <p:nvPr/>
              </p:nvSpPr>
              <p:spPr>
                <a:xfrm>
                  <a:off x="12786808" y="2413210"/>
                  <a:ext cx="61111" cy="99429"/>
                </a:xfrm>
                <a:custGeom>
                  <a:avLst/>
                  <a:gdLst>
                    <a:gd name="connsiteX0" fmla="*/ 35486 w 61111"/>
                    <a:gd name="connsiteY0" fmla="*/ 0 h 99429"/>
                    <a:gd name="connsiteX1" fmla="*/ 38571 w 61111"/>
                    <a:gd name="connsiteY1" fmla="*/ 95657 h 99429"/>
                    <a:gd name="connsiteX2" fmla="*/ 35486 w 61111"/>
                    <a:gd name="connsiteY2" fmla="*/ 0 h 99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111" h="99429">
                      <a:moveTo>
                        <a:pt x="35486" y="0"/>
                      </a:moveTo>
                      <a:cubicBezTo>
                        <a:pt x="35486" y="0"/>
                        <a:pt x="91028" y="80229"/>
                        <a:pt x="38571" y="95657"/>
                      </a:cubicBezTo>
                      <a:cubicBezTo>
                        <a:pt x="-13886" y="114171"/>
                        <a:pt x="-10800" y="61714"/>
                        <a:pt x="35486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7" name="任意多边形: 形状 176">
                  <a:extLst>
                    <a:ext uri="{FF2B5EF4-FFF2-40B4-BE49-F238E27FC236}">
                      <a16:creationId xmlns:a16="http://schemas.microsoft.com/office/drawing/2014/main" id="{D239BF73-A33B-4035-BFCA-915005BCF611}"/>
                    </a:ext>
                  </a:extLst>
                </p:cNvPr>
                <p:cNvSpPr/>
                <p:nvPr/>
              </p:nvSpPr>
              <p:spPr>
                <a:xfrm>
                  <a:off x="12708605" y="2383230"/>
                  <a:ext cx="101346" cy="61463"/>
                </a:xfrm>
                <a:custGeom>
                  <a:avLst/>
                  <a:gdLst>
                    <a:gd name="connsiteX0" fmla="*/ 101346 w 101346"/>
                    <a:gd name="connsiteY0" fmla="*/ 29981 h 61463"/>
                    <a:gd name="connsiteX1" fmla="*/ 8775 w 101346"/>
                    <a:gd name="connsiteY1" fmla="*/ 14552 h 61463"/>
                    <a:gd name="connsiteX2" fmla="*/ 101346 w 101346"/>
                    <a:gd name="connsiteY2" fmla="*/ 29981 h 61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46" h="61463">
                      <a:moveTo>
                        <a:pt x="101346" y="29981"/>
                      </a:moveTo>
                      <a:cubicBezTo>
                        <a:pt x="101346" y="29981"/>
                        <a:pt x="36547" y="-25562"/>
                        <a:pt x="8775" y="14552"/>
                      </a:cubicBezTo>
                      <a:cubicBezTo>
                        <a:pt x="-18997" y="54666"/>
                        <a:pt x="21118" y="88609"/>
                        <a:pt x="101346" y="29981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8" name="任意多边形: 形状 177">
                  <a:extLst>
                    <a:ext uri="{FF2B5EF4-FFF2-40B4-BE49-F238E27FC236}">
                      <a16:creationId xmlns:a16="http://schemas.microsoft.com/office/drawing/2014/main" id="{DF1546EF-0AFC-4243-9EEA-2F63C3A77D87}"/>
                    </a:ext>
                  </a:extLst>
                </p:cNvPr>
                <p:cNvSpPr/>
                <p:nvPr/>
              </p:nvSpPr>
              <p:spPr>
                <a:xfrm>
                  <a:off x="12790961" y="2378791"/>
                  <a:ext cx="59580" cy="59580"/>
                </a:xfrm>
                <a:custGeom>
                  <a:avLst/>
                  <a:gdLst>
                    <a:gd name="connsiteX0" fmla="*/ 476 w 59580"/>
                    <a:gd name="connsiteY0" fmla="*/ 34419 h 59580"/>
                    <a:gd name="connsiteX1" fmla="*/ 25161 w 59580"/>
                    <a:gd name="connsiteY1" fmla="*/ 476 h 59580"/>
                    <a:gd name="connsiteX2" fmla="*/ 59104 w 59580"/>
                    <a:gd name="connsiteY2" fmla="*/ 25162 h 59580"/>
                    <a:gd name="connsiteX3" fmla="*/ 34418 w 59580"/>
                    <a:gd name="connsiteY3" fmla="*/ 59105 h 59580"/>
                    <a:gd name="connsiteX4" fmla="*/ 476 w 59580"/>
                    <a:gd name="connsiteY4" fmla="*/ 34419 h 59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580" h="59580">
                      <a:moveTo>
                        <a:pt x="476" y="34419"/>
                      </a:moveTo>
                      <a:cubicBezTo>
                        <a:pt x="-2610" y="18990"/>
                        <a:pt x="9733" y="3562"/>
                        <a:pt x="25161" y="476"/>
                      </a:cubicBezTo>
                      <a:cubicBezTo>
                        <a:pt x="40590" y="-2610"/>
                        <a:pt x="56019" y="9733"/>
                        <a:pt x="59104" y="25162"/>
                      </a:cubicBezTo>
                      <a:cubicBezTo>
                        <a:pt x="62190" y="40590"/>
                        <a:pt x="49847" y="56019"/>
                        <a:pt x="34418" y="59105"/>
                      </a:cubicBezTo>
                      <a:cubicBezTo>
                        <a:pt x="18990" y="62190"/>
                        <a:pt x="3561" y="49847"/>
                        <a:pt x="476" y="34419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89" name="图形 1">
                <a:extLst>
                  <a:ext uri="{FF2B5EF4-FFF2-40B4-BE49-F238E27FC236}">
                    <a16:creationId xmlns:a16="http://schemas.microsoft.com/office/drawing/2014/main" id="{2A3DA913-AFF1-4919-A082-929FBC7CDB52}"/>
                  </a:ext>
                </a:extLst>
              </p:cNvPr>
              <p:cNvGrpSpPr/>
              <p:nvPr/>
            </p:nvGrpSpPr>
            <p:grpSpPr>
              <a:xfrm>
                <a:off x="12848979" y="2292649"/>
                <a:ext cx="234325" cy="231289"/>
                <a:chOff x="12848979" y="2292649"/>
                <a:chExt cx="234325" cy="231289"/>
              </a:xfrm>
            </p:grpSpPr>
            <p:sp>
              <p:nvSpPr>
                <p:cNvPr id="167" name="任意多边形: 形状 166">
                  <a:extLst>
                    <a:ext uri="{FF2B5EF4-FFF2-40B4-BE49-F238E27FC236}">
                      <a16:creationId xmlns:a16="http://schemas.microsoft.com/office/drawing/2014/main" id="{E125D62D-E818-458A-AABC-0CDE262B3741}"/>
                    </a:ext>
                  </a:extLst>
                </p:cNvPr>
                <p:cNvSpPr/>
                <p:nvPr/>
              </p:nvSpPr>
              <p:spPr>
                <a:xfrm>
                  <a:off x="12964236" y="2295713"/>
                  <a:ext cx="108951" cy="108239"/>
                </a:xfrm>
                <a:custGeom>
                  <a:avLst/>
                  <a:gdLst>
                    <a:gd name="connsiteX0" fmla="*/ 0 w 108951"/>
                    <a:gd name="connsiteY0" fmla="*/ 108240 h 108239"/>
                    <a:gd name="connsiteX1" fmla="*/ 95657 w 108951"/>
                    <a:gd name="connsiteY1" fmla="*/ 21840 h 108239"/>
                    <a:gd name="connsiteX2" fmla="*/ 0 w 108951"/>
                    <a:gd name="connsiteY2" fmla="*/ 108240 h 108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8951" h="108239">
                      <a:moveTo>
                        <a:pt x="0" y="108240"/>
                      </a:moveTo>
                      <a:cubicBezTo>
                        <a:pt x="0" y="108240"/>
                        <a:pt x="33943" y="-58389"/>
                        <a:pt x="95657" y="21840"/>
                      </a:cubicBezTo>
                      <a:cubicBezTo>
                        <a:pt x="154286" y="105154"/>
                        <a:pt x="0" y="108240"/>
                        <a:pt x="0" y="10824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8" name="任意多边形: 形状 167">
                  <a:extLst>
                    <a:ext uri="{FF2B5EF4-FFF2-40B4-BE49-F238E27FC236}">
                      <a16:creationId xmlns:a16="http://schemas.microsoft.com/office/drawing/2014/main" id="{4F109892-0918-4C32-8D60-D4BADCD414DA}"/>
                    </a:ext>
                  </a:extLst>
                </p:cNvPr>
                <p:cNvSpPr/>
                <p:nvPr/>
              </p:nvSpPr>
              <p:spPr>
                <a:xfrm>
                  <a:off x="12887635" y="2292649"/>
                  <a:ext cx="73516" cy="120561"/>
                </a:xfrm>
                <a:custGeom>
                  <a:avLst/>
                  <a:gdLst>
                    <a:gd name="connsiteX0" fmla="*/ 73516 w 73516"/>
                    <a:gd name="connsiteY0" fmla="*/ 120562 h 120561"/>
                    <a:gd name="connsiteX1" fmla="*/ 33401 w 73516"/>
                    <a:gd name="connsiteY1" fmla="*/ 219 h 120561"/>
                    <a:gd name="connsiteX2" fmla="*/ 73516 w 73516"/>
                    <a:gd name="connsiteY2" fmla="*/ 120562 h 120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3516" h="120561">
                      <a:moveTo>
                        <a:pt x="73516" y="120562"/>
                      </a:moveTo>
                      <a:cubicBezTo>
                        <a:pt x="73516" y="120562"/>
                        <a:pt x="73516" y="-5953"/>
                        <a:pt x="33401" y="219"/>
                      </a:cubicBezTo>
                      <a:cubicBezTo>
                        <a:pt x="-6713" y="9476"/>
                        <a:pt x="-28313" y="65019"/>
                        <a:pt x="73516" y="12056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9" name="任意多边形: 形状 168">
                  <a:extLst>
                    <a:ext uri="{FF2B5EF4-FFF2-40B4-BE49-F238E27FC236}">
                      <a16:creationId xmlns:a16="http://schemas.microsoft.com/office/drawing/2014/main" id="{7E79D932-7572-4A01-AF0D-CF5CB7308AD3}"/>
                    </a:ext>
                  </a:extLst>
                </p:cNvPr>
                <p:cNvSpPr/>
                <p:nvPr/>
              </p:nvSpPr>
              <p:spPr>
                <a:xfrm>
                  <a:off x="12970408" y="2412632"/>
                  <a:ext cx="112896" cy="79137"/>
                </a:xfrm>
                <a:custGeom>
                  <a:avLst/>
                  <a:gdLst>
                    <a:gd name="connsiteX0" fmla="*/ 0 w 112896"/>
                    <a:gd name="connsiteY0" fmla="*/ 579 h 79137"/>
                    <a:gd name="connsiteX1" fmla="*/ 111086 w 112896"/>
                    <a:gd name="connsiteY1" fmla="*/ 46864 h 79137"/>
                    <a:gd name="connsiteX2" fmla="*/ 0 w 112896"/>
                    <a:gd name="connsiteY2" fmla="*/ 579 h 7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2896" h="79137">
                      <a:moveTo>
                        <a:pt x="0" y="579"/>
                      </a:moveTo>
                      <a:cubicBezTo>
                        <a:pt x="0" y="579"/>
                        <a:pt x="129600" y="-8679"/>
                        <a:pt x="111086" y="46864"/>
                      </a:cubicBezTo>
                      <a:cubicBezTo>
                        <a:pt x="92571" y="105493"/>
                        <a:pt x="12343" y="80807"/>
                        <a:pt x="0" y="57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0" name="任意多边形: 形状 169">
                  <a:extLst>
                    <a:ext uri="{FF2B5EF4-FFF2-40B4-BE49-F238E27FC236}">
                      <a16:creationId xmlns:a16="http://schemas.microsoft.com/office/drawing/2014/main" id="{A4103D3C-B20C-4806-9353-60B091FEAB57}"/>
                    </a:ext>
                  </a:extLst>
                </p:cNvPr>
                <p:cNvSpPr/>
                <p:nvPr/>
              </p:nvSpPr>
              <p:spPr>
                <a:xfrm>
                  <a:off x="12927980" y="2425553"/>
                  <a:ext cx="58797" cy="98385"/>
                </a:xfrm>
                <a:custGeom>
                  <a:avLst/>
                  <a:gdLst>
                    <a:gd name="connsiteX0" fmla="*/ 33172 w 58797"/>
                    <a:gd name="connsiteY0" fmla="*/ 0 h 98385"/>
                    <a:gd name="connsiteX1" fmla="*/ 36257 w 58797"/>
                    <a:gd name="connsiteY1" fmla="*/ 95657 h 98385"/>
                    <a:gd name="connsiteX2" fmla="*/ 33172 w 58797"/>
                    <a:gd name="connsiteY2" fmla="*/ 0 h 98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797" h="98385">
                      <a:moveTo>
                        <a:pt x="33172" y="0"/>
                      </a:moveTo>
                      <a:cubicBezTo>
                        <a:pt x="33172" y="0"/>
                        <a:pt x="88714" y="80229"/>
                        <a:pt x="36257" y="95657"/>
                      </a:cubicBezTo>
                      <a:cubicBezTo>
                        <a:pt x="-13114" y="111086"/>
                        <a:pt x="-10029" y="58629"/>
                        <a:pt x="33172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1" name="任意多边形: 形状 170">
                  <a:extLst>
                    <a:ext uri="{FF2B5EF4-FFF2-40B4-BE49-F238E27FC236}">
                      <a16:creationId xmlns:a16="http://schemas.microsoft.com/office/drawing/2014/main" id="{5D91E7DF-4004-4BCC-8ED6-BB18D0EB4079}"/>
                    </a:ext>
                  </a:extLst>
                </p:cNvPr>
                <p:cNvSpPr/>
                <p:nvPr/>
              </p:nvSpPr>
              <p:spPr>
                <a:xfrm>
                  <a:off x="12848979" y="2392487"/>
                  <a:ext cx="99829" cy="62323"/>
                </a:xfrm>
                <a:custGeom>
                  <a:avLst/>
                  <a:gdLst>
                    <a:gd name="connsiteX0" fmla="*/ 99829 w 99829"/>
                    <a:gd name="connsiteY0" fmla="*/ 29981 h 62323"/>
                    <a:gd name="connsiteX1" fmla="*/ 7258 w 99829"/>
                    <a:gd name="connsiteY1" fmla="*/ 14552 h 62323"/>
                    <a:gd name="connsiteX2" fmla="*/ 99829 w 99829"/>
                    <a:gd name="connsiteY2" fmla="*/ 29981 h 623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9829" h="62323">
                      <a:moveTo>
                        <a:pt x="99829" y="29981"/>
                      </a:moveTo>
                      <a:cubicBezTo>
                        <a:pt x="99829" y="29981"/>
                        <a:pt x="35030" y="-25562"/>
                        <a:pt x="7258" y="14552"/>
                      </a:cubicBezTo>
                      <a:cubicBezTo>
                        <a:pt x="-17428" y="57752"/>
                        <a:pt x="22686" y="88609"/>
                        <a:pt x="99829" y="29981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2" name="任意多边形: 形状 171">
                  <a:extLst>
                    <a:ext uri="{FF2B5EF4-FFF2-40B4-BE49-F238E27FC236}">
                      <a16:creationId xmlns:a16="http://schemas.microsoft.com/office/drawing/2014/main" id="{AB8B7124-D673-4CDF-8098-49037328A570}"/>
                    </a:ext>
                  </a:extLst>
                </p:cNvPr>
                <p:cNvSpPr/>
                <p:nvPr/>
              </p:nvSpPr>
              <p:spPr>
                <a:xfrm>
                  <a:off x="12929818" y="2388048"/>
                  <a:ext cx="59580" cy="59580"/>
                </a:xfrm>
                <a:custGeom>
                  <a:avLst/>
                  <a:gdLst>
                    <a:gd name="connsiteX0" fmla="*/ 476 w 59580"/>
                    <a:gd name="connsiteY0" fmla="*/ 34419 h 59580"/>
                    <a:gd name="connsiteX1" fmla="*/ 25161 w 59580"/>
                    <a:gd name="connsiteY1" fmla="*/ 476 h 59580"/>
                    <a:gd name="connsiteX2" fmla="*/ 59104 w 59580"/>
                    <a:gd name="connsiteY2" fmla="*/ 25162 h 59580"/>
                    <a:gd name="connsiteX3" fmla="*/ 34418 w 59580"/>
                    <a:gd name="connsiteY3" fmla="*/ 59105 h 59580"/>
                    <a:gd name="connsiteX4" fmla="*/ 476 w 59580"/>
                    <a:gd name="connsiteY4" fmla="*/ 34419 h 59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580" h="59580">
                      <a:moveTo>
                        <a:pt x="476" y="34419"/>
                      </a:moveTo>
                      <a:cubicBezTo>
                        <a:pt x="-2610" y="18990"/>
                        <a:pt x="9733" y="3562"/>
                        <a:pt x="25161" y="476"/>
                      </a:cubicBezTo>
                      <a:cubicBezTo>
                        <a:pt x="40590" y="-2610"/>
                        <a:pt x="56019" y="9733"/>
                        <a:pt x="59104" y="25162"/>
                      </a:cubicBezTo>
                      <a:cubicBezTo>
                        <a:pt x="62190" y="40590"/>
                        <a:pt x="49847" y="56019"/>
                        <a:pt x="34418" y="59105"/>
                      </a:cubicBezTo>
                      <a:cubicBezTo>
                        <a:pt x="18990" y="62190"/>
                        <a:pt x="3561" y="49847"/>
                        <a:pt x="476" y="34419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0" name="图形 1">
                <a:extLst>
                  <a:ext uri="{FF2B5EF4-FFF2-40B4-BE49-F238E27FC236}">
                    <a16:creationId xmlns:a16="http://schemas.microsoft.com/office/drawing/2014/main" id="{1EA796D6-DCA9-4ACC-902A-754A30A9ABF0}"/>
                  </a:ext>
                </a:extLst>
              </p:cNvPr>
              <p:cNvGrpSpPr/>
              <p:nvPr/>
            </p:nvGrpSpPr>
            <p:grpSpPr>
              <a:xfrm>
                <a:off x="12770319" y="2119849"/>
                <a:ext cx="235842" cy="231412"/>
                <a:chOff x="12770319" y="2119849"/>
                <a:chExt cx="235842" cy="231412"/>
              </a:xfrm>
            </p:grpSpPr>
            <p:sp>
              <p:nvSpPr>
                <p:cNvPr id="161" name="任意多边形: 形状 160">
                  <a:extLst>
                    <a:ext uri="{FF2B5EF4-FFF2-40B4-BE49-F238E27FC236}">
                      <a16:creationId xmlns:a16="http://schemas.microsoft.com/office/drawing/2014/main" id="{78D76935-D6D9-42D5-B2E5-BD9CD4406F6F}"/>
                    </a:ext>
                  </a:extLst>
                </p:cNvPr>
                <p:cNvSpPr/>
                <p:nvPr/>
              </p:nvSpPr>
              <p:spPr>
                <a:xfrm>
                  <a:off x="12884008" y="2125999"/>
                  <a:ext cx="110002" cy="108239"/>
                </a:xfrm>
                <a:custGeom>
                  <a:avLst/>
                  <a:gdLst>
                    <a:gd name="connsiteX0" fmla="*/ 0 w 110002"/>
                    <a:gd name="connsiteY0" fmla="*/ 108240 h 108239"/>
                    <a:gd name="connsiteX1" fmla="*/ 95656 w 110002"/>
                    <a:gd name="connsiteY1" fmla="*/ 21840 h 108239"/>
                    <a:gd name="connsiteX2" fmla="*/ 0 w 110002"/>
                    <a:gd name="connsiteY2" fmla="*/ 108240 h 108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0002" h="108239">
                      <a:moveTo>
                        <a:pt x="0" y="108240"/>
                      </a:moveTo>
                      <a:cubicBezTo>
                        <a:pt x="0" y="108240"/>
                        <a:pt x="33942" y="-58389"/>
                        <a:pt x="95656" y="21840"/>
                      </a:cubicBezTo>
                      <a:cubicBezTo>
                        <a:pt x="157371" y="102068"/>
                        <a:pt x="0" y="108240"/>
                        <a:pt x="0" y="10824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2" name="任意多边形: 形状 161">
                  <a:extLst>
                    <a:ext uri="{FF2B5EF4-FFF2-40B4-BE49-F238E27FC236}">
                      <a16:creationId xmlns:a16="http://schemas.microsoft.com/office/drawing/2014/main" id="{716D3AF8-65DC-43D8-9D0B-5606FF06DE12}"/>
                    </a:ext>
                  </a:extLst>
                </p:cNvPr>
                <p:cNvSpPr/>
                <p:nvPr/>
              </p:nvSpPr>
              <p:spPr>
                <a:xfrm>
                  <a:off x="12809710" y="2119849"/>
                  <a:ext cx="71212" cy="120561"/>
                </a:xfrm>
                <a:custGeom>
                  <a:avLst/>
                  <a:gdLst>
                    <a:gd name="connsiteX0" fmla="*/ 71213 w 71212"/>
                    <a:gd name="connsiteY0" fmla="*/ 120562 h 120561"/>
                    <a:gd name="connsiteX1" fmla="*/ 31098 w 71212"/>
                    <a:gd name="connsiteY1" fmla="*/ 219 h 120561"/>
                    <a:gd name="connsiteX2" fmla="*/ 71213 w 71212"/>
                    <a:gd name="connsiteY2" fmla="*/ 120562 h 120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1212" h="120561">
                      <a:moveTo>
                        <a:pt x="71213" y="120562"/>
                      </a:moveTo>
                      <a:cubicBezTo>
                        <a:pt x="71213" y="120562"/>
                        <a:pt x="71213" y="-5953"/>
                        <a:pt x="31098" y="219"/>
                      </a:cubicBezTo>
                      <a:cubicBezTo>
                        <a:pt x="-5930" y="12562"/>
                        <a:pt x="-27531" y="68104"/>
                        <a:pt x="71213" y="12056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3" name="任意多边形: 形状 162">
                  <a:extLst>
                    <a:ext uri="{FF2B5EF4-FFF2-40B4-BE49-F238E27FC236}">
                      <a16:creationId xmlns:a16="http://schemas.microsoft.com/office/drawing/2014/main" id="{ECF9E566-6379-477C-BE89-9D5F42C160A4}"/>
                    </a:ext>
                  </a:extLst>
                </p:cNvPr>
                <p:cNvSpPr/>
                <p:nvPr/>
              </p:nvSpPr>
              <p:spPr>
                <a:xfrm>
                  <a:off x="12893265" y="2242917"/>
                  <a:ext cx="112896" cy="77782"/>
                </a:xfrm>
                <a:custGeom>
                  <a:avLst/>
                  <a:gdLst>
                    <a:gd name="connsiteX0" fmla="*/ 0 w 112896"/>
                    <a:gd name="connsiteY0" fmla="*/ 579 h 77782"/>
                    <a:gd name="connsiteX1" fmla="*/ 111086 w 112896"/>
                    <a:gd name="connsiteY1" fmla="*/ 46864 h 77782"/>
                    <a:gd name="connsiteX2" fmla="*/ 0 w 112896"/>
                    <a:gd name="connsiteY2" fmla="*/ 579 h 77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2896" h="77782">
                      <a:moveTo>
                        <a:pt x="0" y="579"/>
                      </a:moveTo>
                      <a:cubicBezTo>
                        <a:pt x="0" y="579"/>
                        <a:pt x="129600" y="-8679"/>
                        <a:pt x="111086" y="46864"/>
                      </a:cubicBezTo>
                      <a:cubicBezTo>
                        <a:pt x="89486" y="102407"/>
                        <a:pt x="9257" y="80807"/>
                        <a:pt x="0" y="57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4" name="任意多边形: 形状 163">
                  <a:extLst>
                    <a:ext uri="{FF2B5EF4-FFF2-40B4-BE49-F238E27FC236}">
                      <a16:creationId xmlns:a16="http://schemas.microsoft.com/office/drawing/2014/main" id="{403ADC3D-B30C-4D81-B8A1-37BC11969FF3}"/>
                    </a:ext>
                  </a:extLst>
                </p:cNvPr>
                <p:cNvSpPr/>
                <p:nvPr/>
              </p:nvSpPr>
              <p:spPr>
                <a:xfrm>
                  <a:off x="12848523" y="2252753"/>
                  <a:ext cx="61111" cy="98507"/>
                </a:xfrm>
                <a:custGeom>
                  <a:avLst/>
                  <a:gdLst>
                    <a:gd name="connsiteX0" fmla="*/ 35486 w 61111"/>
                    <a:gd name="connsiteY0" fmla="*/ 0 h 98507"/>
                    <a:gd name="connsiteX1" fmla="*/ 38571 w 61111"/>
                    <a:gd name="connsiteY1" fmla="*/ 95657 h 98507"/>
                    <a:gd name="connsiteX2" fmla="*/ 35486 w 61111"/>
                    <a:gd name="connsiteY2" fmla="*/ 0 h 985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111" h="98507">
                      <a:moveTo>
                        <a:pt x="35486" y="0"/>
                      </a:moveTo>
                      <a:cubicBezTo>
                        <a:pt x="35486" y="0"/>
                        <a:pt x="91028" y="80229"/>
                        <a:pt x="38571" y="95657"/>
                      </a:cubicBezTo>
                      <a:cubicBezTo>
                        <a:pt x="-13886" y="111086"/>
                        <a:pt x="-10800" y="61714"/>
                        <a:pt x="35486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5" name="任意多边形: 形状 164">
                  <a:extLst>
                    <a:ext uri="{FF2B5EF4-FFF2-40B4-BE49-F238E27FC236}">
                      <a16:creationId xmlns:a16="http://schemas.microsoft.com/office/drawing/2014/main" id="{07E35940-763F-4E56-AFC0-443C750FB594}"/>
                    </a:ext>
                  </a:extLst>
                </p:cNvPr>
                <p:cNvSpPr/>
                <p:nvPr/>
              </p:nvSpPr>
              <p:spPr>
                <a:xfrm>
                  <a:off x="12770319" y="2222772"/>
                  <a:ext cx="101346" cy="60117"/>
                </a:xfrm>
                <a:custGeom>
                  <a:avLst/>
                  <a:gdLst>
                    <a:gd name="connsiteX0" fmla="*/ 101346 w 101346"/>
                    <a:gd name="connsiteY0" fmla="*/ 29981 h 60117"/>
                    <a:gd name="connsiteX1" fmla="*/ 8775 w 101346"/>
                    <a:gd name="connsiteY1" fmla="*/ 14552 h 60117"/>
                    <a:gd name="connsiteX2" fmla="*/ 101346 w 101346"/>
                    <a:gd name="connsiteY2" fmla="*/ 29981 h 601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46" h="60117">
                      <a:moveTo>
                        <a:pt x="101346" y="29981"/>
                      </a:moveTo>
                      <a:cubicBezTo>
                        <a:pt x="101346" y="29981"/>
                        <a:pt x="36547" y="-25562"/>
                        <a:pt x="8775" y="14552"/>
                      </a:cubicBezTo>
                      <a:cubicBezTo>
                        <a:pt x="-18997" y="54666"/>
                        <a:pt x="21118" y="85524"/>
                        <a:pt x="101346" y="29981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6" name="任意多边形: 形状 165">
                  <a:extLst>
                    <a:ext uri="{FF2B5EF4-FFF2-40B4-BE49-F238E27FC236}">
                      <a16:creationId xmlns:a16="http://schemas.microsoft.com/office/drawing/2014/main" id="{7CB8E47D-4754-4675-9D1E-4240993A1735}"/>
                    </a:ext>
                  </a:extLst>
                </p:cNvPr>
                <p:cNvSpPr/>
                <p:nvPr/>
              </p:nvSpPr>
              <p:spPr>
                <a:xfrm>
                  <a:off x="12852675" y="2218334"/>
                  <a:ext cx="59580" cy="59104"/>
                </a:xfrm>
                <a:custGeom>
                  <a:avLst/>
                  <a:gdLst>
                    <a:gd name="connsiteX0" fmla="*/ 476 w 59580"/>
                    <a:gd name="connsiteY0" fmla="*/ 34419 h 59104"/>
                    <a:gd name="connsiteX1" fmla="*/ 25161 w 59580"/>
                    <a:gd name="connsiteY1" fmla="*/ 476 h 59104"/>
                    <a:gd name="connsiteX2" fmla="*/ 59104 w 59580"/>
                    <a:gd name="connsiteY2" fmla="*/ 25162 h 59104"/>
                    <a:gd name="connsiteX3" fmla="*/ 34418 w 59580"/>
                    <a:gd name="connsiteY3" fmla="*/ 59105 h 59104"/>
                    <a:gd name="connsiteX4" fmla="*/ 476 w 59580"/>
                    <a:gd name="connsiteY4" fmla="*/ 34419 h 591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580" h="59104">
                      <a:moveTo>
                        <a:pt x="476" y="34419"/>
                      </a:moveTo>
                      <a:cubicBezTo>
                        <a:pt x="-2610" y="18990"/>
                        <a:pt x="9733" y="3562"/>
                        <a:pt x="25161" y="476"/>
                      </a:cubicBezTo>
                      <a:cubicBezTo>
                        <a:pt x="40590" y="-2610"/>
                        <a:pt x="56019" y="9733"/>
                        <a:pt x="59104" y="25162"/>
                      </a:cubicBezTo>
                      <a:cubicBezTo>
                        <a:pt x="62190" y="40590"/>
                        <a:pt x="49847" y="56019"/>
                        <a:pt x="34418" y="59105"/>
                      </a:cubicBezTo>
                      <a:cubicBezTo>
                        <a:pt x="15905" y="59105"/>
                        <a:pt x="3561" y="49847"/>
                        <a:pt x="476" y="34419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1" name="图形 1">
                <a:extLst>
                  <a:ext uri="{FF2B5EF4-FFF2-40B4-BE49-F238E27FC236}">
                    <a16:creationId xmlns:a16="http://schemas.microsoft.com/office/drawing/2014/main" id="{A13AB906-66CD-4841-806F-F85CA8FBD38F}"/>
                  </a:ext>
                </a:extLst>
              </p:cNvPr>
              <p:cNvGrpSpPr/>
              <p:nvPr/>
            </p:nvGrpSpPr>
            <p:grpSpPr>
              <a:xfrm>
                <a:off x="13044613" y="2260041"/>
                <a:ext cx="240592" cy="244374"/>
                <a:chOff x="13044613" y="2260041"/>
                <a:chExt cx="240592" cy="244374"/>
              </a:xfrm>
            </p:grpSpPr>
            <p:sp>
              <p:nvSpPr>
                <p:cNvPr id="155" name="任意多边形: 形状 154">
                  <a:extLst>
                    <a:ext uri="{FF2B5EF4-FFF2-40B4-BE49-F238E27FC236}">
                      <a16:creationId xmlns:a16="http://schemas.microsoft.com/office/drawing/2014/main" id="{E557B30E-3A0B-4C1A-952B-95C788690A48}"/>
                    </a:ext>
                  </a:extLst>
                </p:cNvPr>
                <p:cNvSpPr/>
                <p:nvPr/>
              </p:nvSpPr>
              <p:spPr>
                <a:xfrm>
                  <a:off x="13158637" y="2327034"/>
                  <a:ext cx="126568" cy="90764"/>
                </a:xfrm>
                <a:custGeom>
                  <a:avLst/>
                  <a:gdLst>
                    <a:gd name="connsiteX0" fmla="*/ 0 w 126568"/>
                    <a:gd name="connsiteY0" fmla="*/ 52233 h 90764"/>
                    <a:gd name="connsiteX1" fmla="*/ 126514 w 126568"/>
                    <a:gd name="connsiteY1" fmla="*/ 42976 h 90764"/>
                    <a:gd name="connsiteX2" fmla="*/ 0 w 126568"/>
                    <a:gd name="connsiteY2" fmla="*/ 52233 h 90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8" h="90764">
                      <a:moveTo>
                        <a:pt x="0" y="52233"/>
                      </a:moveTo>
                      <a:cubicBezTo>
                        <a:pt x="0" y="52233"/>
                        <a:pt x="129599" y="-58853"/>
                        <a:pt x="126514" y="42976"/>
                      </a:cubicBezTo>
                      <a:cubicBezTo>
                        <a:pt x="123429" y="144804"/>
                        <a:pt x="0" y="52233"/>
                        <a:pt x="0" y="5223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6" name="任意多边形: 形状 155">
                  <a:extLst>
                    <a:ext uri="{FF2B5EF4-FFF2-40B4-BE49-F238E27FC236}">
                      <a16:creationId xmlns:a16="http://schemas.microsoft.com/office/drawing/2014/main" id="{0F3431A0-A686-4F16-B780-B362989B1E99}"/>
                    </a:ext>
                  </a:extLst>
                </p:cNvPr>
                <p:cNvSpPr/>
                <p:nvPr/>
              </p:nvSpPr>
              <p:spPr>
                <a:xfrm>
                  <a:off x="13133060" y="2260041"/>
                  <a:ext cx="69282" cy="122312"/>
                </a:xfrm>
                <a:custGeom>
                  <a:avLst/>
                  <a:gdLst>
                    <a:gd name="connsiteX0" fmla="*/ 16319 w 69282"/>
                    <a:gd name="connsiteY0" fmla="*/ 122312 h 122312"/>
                    <a:gd name="connsiteX1" fmla="*/ 59520 w 69282"/>
                    <a:gd name="connsiteY1" fmla="*/ 5055 h 122312"/>
                    <a:gd name="connsiteX2" fmla="*/ 16319 w 69282"/>
                    <a:gd name="connsiteY2" fmla="*/ 122312 h 122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282" h="122312">
                      <a:moveTo>
                        <a:pt x="16319" y="122312"/>
                      </a:moveTo>
                      <a:cubicBezTo>
                        <a:pt x="16319" y="122312"/>
                        <a:pt x="96548" y="20483"/>
                        <a:pt x="59520" y="5055"/>
                      </a:cubicBezTo>
                      <a:cubicBezTo>
                        <a:pt x="25577" y="-13459"/>
                        <a:pt x="-26881" y="17398"/>
                        <a:pt x="16319" y="12231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7" name="任意多边形: 形状 156">
                  <a:extLst>
                    <a:ext uri="{FF2B5EF4-FFF2-40B4-BE49-F238E27FC236}">
                      <a16:creationId xmlns:a16="http://schemas.microsoft.com/office/drawing/2014/main" id="{0B5D3E72-5850-48BF-906A-0F8FFCFAA4CC}"/>
                    </a:ext>
                  </a:extLst>
                </p:cNvPr>
                <p:cNvSpPr/>
                <p:nvPr/>
              </p:nvSpPr>
              <p:spPr>
                <a:xfrm>
                  <a:off x="13142068" y="2391610"/>
                  <a:ext cx="86485" cy="112805"/>
                </a:xfrm>
                <a:custGeom>
                  <a:avLst/>
                  <a:gdLst>
                    <a:gd name="connsiteX0" fmla="*/ 16569 w 86485"/>
                    <a:gd name="connsiteY0" fmla="*/ 0 h 112805"/>
                    <a:gd name="connsiteX1" fmla="*/ 72111 w 86485"/>
                    <a:gd name="connsiteY1" fmla="*/ 104914 h 112805"/>
                    <a:gd name="connsiteX2" fmla="*/ 16569 w 86485"/>
                    <a:gd name="connsiteY2" fmla="*/ 0 h 1128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6485" h="112805">
                      <a:moveTo>
                        <a:pt x="16569" y="0"/>
                      </a:moveTo>
                      <a:cubicBezTo>
                        <a:pt x="16569" y="0"/>
                        <a:pt x="124569" y="74057"/>
                        <a:pt x="72111" y="104914"/>
                      </a:cubicBezTo>
                      <a:cubicBezTo>
                        <a:pt x="22740" y="135771"/>
                        <a:pt x="-26631" y="70971"/>
                        <a:pt x="16569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8" name="任意多边形: 形状 157">
                  <a:extLst>
                    <a:ext uri="{FF2B5EF4-FFF2-40B4-BE49-F238E27FC236}">
                      <a16:creationId xmlns:a16="http://schemas.microsoft.com/office/drawing/2014/main" id="{303C4E09-0C4D-4936-877F-F1A6E4806716}"/>
                    </a:ext>
                  </a:extLst>
                </p:cNvPr>
                <p:cNvSpPr/>
                <p:nvPr/>
              </p:nvSpPr>
              <p:spPr>
                <a:xfrm>
                  <a:off x="13062003" y="2394696"/>
                  <a:ext cx="81205" cy="79521"/>
                </a:xfrm>
                <a:custGeom>
                  <a:avLst/>
                  <a:gdLst>
                    <a:gd name="connsiteX0" fmla="*/ 81205 w 81205"/>
                    <a:gd name="connsiteY0" fmla="*/ 0 h 79521"/>
                    <a:gd name="connsiteX1" fmla="*/ 22577 w 81205"/>
                    <a:gd name="connsiteY1" fmla="*/ 77143 h 79521"/>
                    <a:gd name="connsiteX2" fmla="*/ 81205 w 81205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205" h="79521">
                      <a:moveTo>
                        <a:pt x="81205" y="0"/>
                      </a:moveTo>
                      <a:cubicBezTo>
                        <a:pt x="81205" y="0"/>
                        <a:pt x="75034" y="95657"/>
                        <a:pt x="22577" y="77143"/>
                      </a:cubicBezTo>
                      <a:cubicBezTo>
                        <a:pt x="-26795" y="55543"/>
                        <a:pt x="10233" y="18514"/>
                        <a:pt x="81205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9" name="任意多边形: 形状 158">
                  <a:extLst>
                    <a:ext uri="{FF2B5EF4-FFF2-40B4-BE49-F238E27FC236}">
                      <a16:creationId xmlns:a16="http://schemas.microsoft.com/office/drawing/2014/main" id="{4F3825A4-534A-4A17-A732-BA2C483D38B1}"/>
                    </a:ext>
                  </a:extLst>
                </p:cNvPr>
                <p:cNvSpPr/>
                <p:nvPr/>
              </p:nvSpPr>
              <p:spPr>
                <a:xfrm>
                  <a:off x="13044613" y="2313220"/>
                  <a:ext cx="89337" cy="72218"/>
                </a:xfrm>
                <a:custGeom>
                  <a:avLst/>
                  <a:gdLst>
                    <a:gd name="connsiteX0" fmla="*/ 89337 w 89337"/>
                    <a:gd name="connsiteY0" fmla="*/ 72219 h 72218"/>
                    <a:gd name="connsiteX1" fmla="*/ 24538 w 89337"/>
                    <a:gd name="connsiteY1" fmla="*/ 1247 h 72218"/>
                    <a:gd name="connsiteX2" fmla="*/ 89337 w 89337"/>
                    <a:gd name="connsiteY2" fmla="*/ 72219 h 72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9337" h="72218">
                      <a:moveTo>
                        <a:pt x="89337" y="72219"/>
                      </a:moveTo>
                      <a:cubicBezTo>
                        <a:pt x="89337" y="72219"/>
                        <a:pt x="73909" y="-11095"/>
                        <a:pt x="24538" y="1247"/>
                      </a:cubicBezTo>
                      <a:cubicBezTo>
                        <a:pt x="-18663" y="16676"/>
                        <a:pt x="-9405" y="66048"/>
                        <a:pt x="89337" y="7221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0" name="任意多边形: 形状 159">
                  <a:extLst>
                    <a:ext uri="{FF2B5EF4-FFF2-40B4-BE49-F238E27FC236}">
                      <a16:creationId xmlns:a16="http://schemas.microsoft.com/office/drawing/2014/main" id="{3719EBCA-0747-48B0-A25A-232113799686}"/>
                    </a:ext>
                  </a:extLst>
                </p:cNvPr>
                <p:cNvSpPr/>
                <p:nvPr/>
              </p:nvSpPr>
              <p:spPr>
                <a:xfrm>
                  <a:off x="13117151" y="2358632"/>
                  <a:ext cx="59035" cy="59785"/>
                </a:xfrm>
                <a:custGeom>
                  <a:avLst/>
                  <a:gdLst>
                    <a:gd name="connsiteX0" fmla="*/ 4457 w 59035"/>
                    <a:gd name="connsiteY0" fmla="*/ 14464 h 59785"/>
                    <a:gd name="connsiteX1" fmla="*/ 44572 w 59035"/>
                    <a:gd name="connsiteY1" fmla="*/ 5207 h 59785"/>
                    <a:gd name="connsiteX2" fmla="*/ 53829 w 59035"/>
                    <a:gd name="connsiteY2" fmla="*/ 45321 h 59785"/>
                    <a:gd name="connsiteX3" fmla="*/ 13715 w 59035"/>
                    <a:gd name="connsiteY3" fmla="*/ 54579 h 59785"/>
                    <a:gd name="connsiteX4" fmla="*/ 4457 w 59035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35" h="59785">
                      <a:moveTo>
                        <a:pt x="4457" y="14464"/>
                      </a:moveTo>
                      <a:cubicBezTo>
                        <a:pt x="13715" y="-964"/>
                        <a:pt x="32228" y="-4050"/>
                        <a:pt x="44572" y="5207"/>
                      </a:cubicBezTo>
                      <a:cubicBezTo>
                        <a:pt x="60000" y="14464"/>
                        <a:pt x="63085" y="32979"/>
                        <a:pt x="53829" y="45321"/>
                      </a:cubicBezTo>
                      <a:cubicBezTo>
                        <a:pt x="44572" y="60750"/>
                        <a:pt x="26057" y="63836"/>
                        <a:pt x="13715" y="54579"/>
                      </a:cubicBezTo>
                      <a:cubicBezTo>
                        <a:pt x="1371" y="45321"/>
                        <a:pt x="-4800" y="29893"/>
                        <a:pt x="4457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2" name="图形 1">
                <a:extLst>
                  <a:ext uri="{FF2B5EF4-FFF2-40B4-BE49-F238E27FC236}">
                    <a16:creationId xmlns:a16="http://schemas.microsoft.com/office/drawing/2014/main" id="{B06C2EA8-1344-47E9-B665-A792478D63AB}"/>
                  </a:ext>
                </a:extLst>
              </p:cNvPr>
              <p:cNvGrpSpPr/>
              <p:nvPr/>
            </p:nvGrpSpPr>
            <p:grpSpPr>
              <a:xfrm>
                <a:off x="13226671" y="2260041"/>
                <a:ext cx="240591" cy="244374"/>
                <a:chOff x="13226671" y="2260041"/>
                <a:chExt cx="240591" cy="244374"/>
              </a:xfrm>
            </p:grpSpPr>
            <p:sp>
              <p:nvSpPr>
                <p:cNvPr id="149" name="任意多边形: 形状 148">
                  <a:extLst>
                    <a:ext uri="{FF2B5EF4-FFF2-40B4-BE49-F238E27FC236}">
                      <a16:creationId xmlns:a16="http://schemas.microsoft.com/office/drawing/2014/main" id="{BEE2EE75-276D-457B-881B-2E1487A65887}"/>
                    </a:ext>
                  </a:extLst>
                </p:cNvPr>
                <p:cNvSpPr/>
                <p:nvPr/>
              </p:nvSpPr>
              <p:spPr>
                <a:xfrm>
                  <a:off x="13340694" y="2327034"/>
                  <a:ext cx="126568" cy="90764"/>
                </a:xfrm>
                <a:custGeom>
                  <a:avLst/>
                  <a:gdLst>
                    <a:gd name="connsiteX0" fmla="*/ 0 w 126568"/>
                    <a:gd name="connsiteY0" fmla="*/ 52233 h 90764"/>
                    <a:gd name="connsiteX1" fmla="*/ 126514 w 126568"/>
                    <a:gd name="connsiteY1" fmla="*/ 42976 h 90764"/>
                    <a:gd name="connsiteX2" fmla="*/ 0 w 126568"/>
                    <a:gd name="connsiteY2" fmla="*/ 52233 h 90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8" h="90764">
                      <a:moveTo>
                        <a:pt x="0" y="52233"/>
                      </a:moveTo>
                      <a:cubicBezTo>
                        <a:pt x="0" y="52233"/>
                        <a:pt x="129600" y="-58853"/>
                        <a:pt x="126514" y="42976"/>
                      </a:cubicBezTo>
                      <a:cubicBezTo>
                        <a:pt x="123429" y="144804"/>
                        <a:pt x="0" y="52233"/>
                        <a:pt x="0" y="5223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0" name="任意多边形: 形状 149">
                  <a:extLst>
                    <a:ext uri="{FF2B5EF4-FFF2-40B4-BE49-F238E27FC236}">
                      <a16:creationId xmlns:a16="http://schemas.microsoft.com/office/drawing/2014/main" id="{26E0754E-7571-4F8D-838F-2BB9FABF1239}"/>
                    </a:ext>
                  </a:extLst>
                </p:cNvPr>
                <p:cNvSpPr/>
                <p:nvPr/>
              </p:nvSpPr>
              <p:spPr>
                <a:xfrm>
                  <a:off x="13315117" y="2260041"/>
                  <a:ext cx="69282" cy="122312"/>
                </a:xfrm>
                <a:custGeom>
                  <a:avLst/>
                  <a:gdLst>
                    <a:gd name="connsiteX0" fmla="*/ 16320 w 69282"/>
                    <a:gd name="connsiteY0" fmla="*/ 122312 h 122312"/>
                    <a:gd name="connsiteX1" fmla="*/ 59519 w 69282"/>
                    <a:gd name="connsiteY1" fmla="*/ 5055 h 122312"/>
                    <a:gd name="connsiteX2" fmla="*/ 16320 w 69282"/>
                    <a:gd name="connsiteY2" fmla="*/ 122312 h 122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282" h="122312">
                      <a:moveTo>
                        <a:pt x="16320" y="122312"/>
                      </a:moveTo>
                      <a:cubicBezTo>
                        <a:pt x="16320" y="122312"/>
                        <a:pt x="96547" y="20483"/>
                        <a:pt x="59519" y="5055"/>
                      </a:cubicBezTo>
                      <a:cubicBezTo>
                        <a:pt x="25576" y="-13459"/>
                        <a:pt x="-26881" y="17398"/>
                        <a:pt x="16320" y="12231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1" name="任意多边形: 形状 150">
                  <a:extLst>
                    <a:ext uri="{FF2B5EF4-FFF2-40B4-BE49-F238E27FC236}">
                      <a16:creationId xmlns:a16="http://schemas.microsoft.com/office/drawing/2014/main" id="{93448EEA-8EAB-4CB0-A53E-0FBE8698164E}"/>
                    </a:ext>
                  </a:extLst>
                </p:cNvPr>
                <p:cNvSpPr/>
                <p:nvPr/>
              </p:nvSpPr>
              <p:spPr>
                <a:xfrm>
                  <a:off x="13324125" y="2391610"/>
                  <a:ext cx="86485" cy="112805"/>
                </a:xfrm>
                <a:custGeom>
                  <a:avLst/>
                  <a:gdLst>
                    <a:gd name="connsiteX0" fmla="*/ 16569 w 86485"/>
                    <a:gd name="connsiteY0" fmla="*/ 0 h 112805"/>
                    <a:gd name="connsiteX1" fmla="*/ 72111 w 86485"/>
                    <a:gd name="connsiteY1" fmla="*/ 104914 h 112805"/>
                    <a:gd name="connsiteX2" fmla="*/ 16569 w 86485"/>
                    <a:gd name="connsiteY2" fmla="*/ 0 h 1128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6485" h="112805">
                      <a:moveTo>
                        <a:pt x="16569" y="0"/>
                      </a:moveTo>
                      <a:cubicBezTo>
                        <a:pt x="16569" y="0"/>
                        <a:pt x="124569" y="74057"/>
                        <a:pt x="72111" y="104914"/>
                      </a:cubicBezTo>
                      <a:cubicBezTo>
                        <a:pt x="22740" y="135771"/>
                        <a:pt x="-26631" y="70971"/>
                        <a:pt x="16569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2" name="任意多边形: 形状 151">
                  <a:extLst>
                    <a:ext uri="{FF2B5EF4-FFF2-40B4-BE49-F238E27FC236}">
                      <a16:creationId xmlns:a16="http://schemas.microsoft.com/office/drawing/2014/main" id="{4EEE309F-8BD7-4F39-9614-7C2B597F1B58}"/>
                    </a:ext>
                  </a:extLst>
                </p:cNvPr>
                <p:cNvSpPr/>
                <p:nvPr/>
              </p:nvSpPr>
              <p:spPr>
                <a:xfrm>
                  <a:off x="13244060" y="2394696"/>
                  <a:ext cx="81205" cy="79521"/>
                </a:xfrm>
                <a:custGeom>
                  <a:avLst/>
                  <a:gdLst>
                    <a:gd name="connsiteX0" fmla="*/ 81205 w 81205"/>
                    <a:gd name="connsiteY0" fmla="*/ 0 h 79521"/>
                    <a:gd name="connsiteX1" fmla="*/ 22577 w 81205"/>
                    <a:gd name="connsiteY1" fmla="*/ 77143 h 79521"/>
                    <a:gd name="connsiteX2" fmla="*/ 81205 w 81205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205" h="79521">
                      <a:moveTo>
                        <a:pt x="81205" y="0"/>
                      </a:moveTo>
                      <a:cubicBezTo>
                        <a:pt x="81205" y="0"/>
                        <a:pt x="75033" y="95657"/>
                        <a:pt x="22577" y="77143"/>
                      </a:cubicBezTo>
                      <a:cubicBezTo>
                        <a:pt x="-26795" y="55543"/>
                        <a:pt x="10234" y="18514"/>
                        <a:pt x="81205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3" name="任意多边形: 形状 152">
                  <a:extLst>
                    <a:ext uri="{FF2B5EF4-FFF2-40B4-BE49-F238E27FC236}">
                      <a16:creationId xmlns:a16="http://schemas.microsoft.com/office/drawing/2014/main" id="{F916314F-3E19-4C89-B723-5397C3065A30}"/>
                    </a:ext>
                  </a:extLst>
                </p:cNvPr>
                <p:cNvSpPr/>
                <p:nvPr/>
              </p:nvSpPr>
              <p:spPr>
                <a:xfrm>
                  <a:off x="13226671" y="2313220"/>
                  <a:ext cx="89337" cy="72218"/>
                </a:xfrm>
                <a:custGeom>
                  <a:avLst/>
                  <a:gdLst>
                    <a:gd name="connsiteX0" fmla="*/ 89338 w 89337"/>
                    <a:gd name="connsiteY0" fmla="*/ 72219 h 72218"/>
                    <a:gd name="connsiteX1" fmla="*/ 24538 w 89337"/>
                    <a:gd name="connsiteY1" fmla="*/ 1247 h 72218"/>
                    <a:gd name="connsiteX2" fmla="*/ 89338 w 89337"/>
                    <a:gd name="connsiteY2" fmla="*/ 72219 h 72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9337" h="72218">
                      <a:moveTo>
                        <a:pt x="89338" y="72219"/>
                      </a:moveTo>
                      <a:cubicBezTo>
                        <a:pt x="89338" y="72219"/>
                        <a:pt x="73909" y="-11095"/>
                        <a:pt x="24538" y="1247"/>
                      </a:cubicBezTo>
                      <a:cubicBezTo>
                        <a:pt x="-18662" y="16676"/>
                        <a:pt x="-9405" y="66048"/>
                        <a:pt x="89338" y="7221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4" name="任意多边形: 形状 153">
                  <a:extLst>
                    <a:ext uri="{FF2B5EF4-FFF2-40B4-BE49-F238E27FC236}">
                      <a16:creationId xmlns:a16="http://schemas.microsoft.com/office/drawing/2014/main" id="{1DF55C08-5F73-4B41-B810-C5B7EABE2765}"/>
                    </a:ext>
                  </a:extLst>
                </p:cNvPr>
                <p:cNvSpPr/>
                <p:nvPr/>
              </p:nvSpPr>
              <p:spPr>
                <a:xfrm>
                  <a:off x="13299208" y="2358632"/>
                  <a:ext cx="59035" cy="59785"/>
                </a:xfrm>
                <a:custGeom>
                  <a:avLst/>
                  <a:gdLst>
                    <a:gd name="connsiteX0" fmla="*/ 4457 w 59035"/>
                    <a:gd name="connsiteY0" fmla="*/ 14464 h 59785"/>
                    <a:gd name="connsiteX1" fmla="*/ 44572 w 59035"/>
                    <a:gd name="connsiteY1" fmla="*/ 5207 h 59785"/>
                    <a:gd name="connsiteX2" fmla="*/ 53828 w 59035"/>
                    <a:gd name="connsiteY2" fmla="*/ 45321 h 59785"/>
                    <a:gd name="connsiteX3" fmla="*/ 13714 w 59035"/>
                    <a:gd name="connsiteY3" fmla="*/ 54579 h 59785"/>
                    <a:gd name="connsiteX4" fmla="*/ 4457 w 59035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35" h="59785">
                      <a:moveTo>
                        <a:pt x="4457" y="14464"/>
                      </a:moveTo>
                      <a:cubicBezTo>
                        <a:pt x="13714" y="-964"/>
                        <a:pt x="32229" y="-4050"/>
                        <a:pt x="44572" y="5207"/>
                      </a:cubicBezTo>
                      <a:cubicBezTo>
                        <a:pt x="60000" y="14464"/>
                        <a:pt x="63086" y="32979"/>
                        <a:pt x="53828" y="45321"/>
                      </a:cubicBezTo>
                      <a:cubicBezTo>
                        <a:pt x="44572" y="60750"/>
                        <a:pt x="26057" y="63836"/>
                        <a:pt x="13714" y="54579"/>
                      </a:cubicBezTo>
                      <a:cubicBezTo>
                        <a:pt x="1372" y="45321"/>
                        <a:pt x="-4800" y="29893"/>
                        <a:pt x="4457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3" name="图形 1">
                <a:extLst>
                  <a:ext uri="{FF2B5EF4-FFF2-40B4-BE49-F238E27FC236}">
                    <a16:creationId xmlns:a16="http://schemas.microsoft.com/office/drawing/2014/main" id="{838B5B21-143B-49C1-A4C9-5FA73B7374A5}"/>
                  </a:ext>
                </a:extLst>
              </p:cNvPr>
              <p:cNvGrpSpPr/>
              <p:nvPr/>
            </p:nvGrpSpPr>
            <p:grpSpPr>
              <a:xfrm>
                <a:off x="12952042" y="2084155"/>
                <a:ext cx="237506" cy="242407"/>
                <a:chOff x="12952042" y="2084155"/>
                <a:chExt cx="237506" cy="242407"/>
              </a:xfrm>
            </p:grpSpPr>
            <p:sp>
              <p:nvSpPr>
                <p:cNvPr id="143" name="任意多边形: 形状 142">
                  <a:extLst>
                    <a:ext uri="{FF2B5EF4-FFF2-40B4-BE49-F238E27FC236}">
                      <a16:creationId xmlns:a16="http://schemas.microsoft.com/office/drawing/2014/main" id="{85B0428D-0A07-4558-905F-8486F138E78E}"/>
                    </a:ext>
                  </a:extLst>
                </p:cNvPr>
                <p:cNvSpPr/>
                <p:nvPr/>
              </p:nvSpPr>
              <p:spPr>
                <a:xfrm>
                  <a:off x="13062980" y="2148063"/>
                  <a:ext cx="126568" cy="90764"/>
                </a:xfrm>
                <a:custGeom>
                  <a:avLst/>
                  <a:gdLst>
                    <a:gd name="connsiteX0" fmla="*/ 0 w 126568"/>
                    <a:gd name="connsiteY0" fmla="*/ 52233 h 90764"/>
                    <a:gd name="connsiteX1" fmla="*/ 126514 w 126568"/>
                    <a:gd name="connsiteY1" fmla="*/ 42976 h 90764"/>
                    <a:gd name="connsiteX2" fmla="*/ 0 w 126568"/>
                    <a:gd name="connsiteY2" fmla="*/ 52233 h 90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8" h="90764">
                      <a:moveTo>
                        <a:pt x="0" y="52233"/>
                      </a:moveTo>
                      <a:cubicBezTo>
                        <a:pt x="0" y="52233"/>
                        <a:pt x="129600" y="-58853"/>
                        <a:pt x="126514" y="42976"/>
                      </a:cubicBezTo>
                      <a:cubicBezTo>
                        <a:pt x="123429" y="144804"/>
                        <a:pt x="0" y="52233"/>
                        <a:pt x="0" y="5223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4" name="任意多边形: 形状 143">
                  <a:extLst>
                    <a:ext uri="{FF2B5EF4-FFF2-40B4-BE49-F238E27FC236}">
                      <a16:creationId xmlns:a16="http://schemas.microsoft.com/office/drawing/2014/main" id="{49EAE62E-2919-4096-9157-2F236AF66E31}"/>
                    </a:ext>
                  </a:extLst>
                </p:cNvPr>
                <p:cNvSpPr/>
                <p:nvPr/>
              </p:nvSpPr>
              <p:spPr>
                <a:xfrm>
                  <a:off x="13040489" y="2084155"/>
                  <a:ext cx="69282" cy="122312"/>
                </a:xfrm>
                <a:custGeom>
                  <a:avLst/>
                  <a:gdLst>
                    <a:gd name="connsiteX0" fmla="*/ 16319 w 69282"/>
                    <a:gd name="connsiteY0" fmla="*/ 122312 h 122312"/>
                    <a:gd name="connsiteX1" fmla="*/ 59520 w 69282"/>
                    <a:gd name="connsiteY1" fmla="*/ 5055 h 122312"/>
                    <a:gd name="connsiteX2" fmla="*/ 16319 w 69282"/>
                    <a:gd name="connsiteY2" fmla="*/ 122312 h 122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282" h="122312">
                      <a:moveTo>
                        <a:pt x="16319" y="122312"/>
                      </a:moveTo>
                      <a:cubicBezTo>
                        <a:pt x="16319" y="122312"/>
                        <a:pt x="96548" y="20483"/>
                        <a:pt x="59520" y="5055"/>
                      </a:cubicBezTo>
                      <a:cubicBezTo>
                        <a:pt x="25577" y="-13459"/>
                        <a:pt x="-26881" y="17398"/>
                        <a:pt x="16319" y="12231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5" name="任意多边形: 形状 144">
                  <a:extLst>
                    <a:ext uri="{FF2B5EF4-FFF2-40B4-BE49-F238E27FC236}">
                      <a16:creationId xmlns:a16="http://schemas.microsoft.com/office/drawing/2014/main" id="{AEC7B766-15D4-4127-9674-B32D21968336}"/>
                    </a:ext>
                  </a:extLst>
                </p:cNvPr>
                <p:cNvSpPr/>
                <p:nvPr/>
              </p:nvSpPr>
              <p:spPr>
                <a:xfrm>
                  <a:off x="13048994" y="2212639"/>
                  <a:ext cx="86987" cy="113923"/>
                </a:xfrm>
                <a:custGeom>
                  <a:avLst/>
                  <a:gdLst>
                    <a:gd name="connsiteX0" fmla="*/ 17071 w 86987"/>
                    <a:gd name="connsiteY0" fmla="*/ 0 h 113923"/>
                    <a:gd name="connsiteX1" fmla="*/ 72614 w 86987"/>
                    <a:gd name="connsiteY1" fmla="*/ 104914 h 113923"/>
                    <a:gd name="connsiteX2" fmla="*/ 17071 w 86987"/>
                    <a:gd name="connsiteY2" fmla="*/ 0 h 1139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6987" h="113923">
                      <a:moveTo>
                        <a:pt x="17071" y="0"/>
                      </a:moveTo>
                      <a:cubicBezTo>
                        <a:pt x="17071" y="0"/>
                        <a:pt x="125071" y="74057"/>
                        <a:pt x="72614" y="104914"/>
                      </a:cubicBezTo>
                      <a:cubicBezTo>
                        <a:pt x="20157" y="138857"/>
                        <a:pt x="-26128" y="70971"/>
                        <a:pt x="17071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6" name="任意多边形: 形状 145">
                  <a:extLst>
                    <a:ext uri="{FF2B5EF4-FFF2-40B4-BE49-F238E27FC236}">
                      <a16:creationId xmlns:a16="http://schemas.microsoft.com/office/drawing/2014/main" id="{24162DC0-35EC-4A16-A0E1-FCAAC2A7392C}"/>
                    </a:ext>
                  </a:extLst>
                </p:cNvPr>
                <p:cNvSpPr/>
                <p:nvPr/>
              </p:nvSpPr>
              <p:spPr>
                <a:xfrm>
                  <a:off x="12968788" y="2215724"/>
                  <a:ext cx="81848" cy="79521"/>
                </a:xfrm>
                <a:custGeom>
                  <a:avLst/>
                  <a:gdLst>
                    <a:gd name="connsiteX0" fmla="*/ 81849 w 81848"/>
                    <a:gd name="connsiteY0" fmla="*/ 0 h 79521"/>
                    <a:gd name="connsiteX1" fmla="*/ 23221 w 81848"/>
                    <a:gd name="connsiteY1" fmla="*/ 77143 h 79521"/>
                    <a:gd name="connsiteX2" fmla="*/ 81849 w 81848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848" h="79521">
                      <a:moveTo>
                        <a:pt x="81849" y="0"/>
                      </a:moveTo>
                      <a:cubicBezTo>
                        <a:pt x="81849" y="0"/>
                        <a:pt x="75677" y="95657"/>
                        <a:pt x="23221" y="77143"/>
                      </a:cubicBezTo>
                      <a:cubicBezTo>
                        <a:pt x="-26151" y="58629"/>
                        <a:pt x="7792" y="21600"/>
                        <a:pt x="81849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7" name="任意多边形: 形状 146">
                  <a:extLst>
                    <a:ext uri="{FF2B5EF4-FFF2-40B4-BE49-F238E27FC236}">
                      <a16:creationId xmlns:a16="http://schemas.microsoft.com/office/drawing/2014/main" id="{FCBA9999-EF6E-4606-918D-9372E6942A4F}"/>
                    </a:ext>
                  </a:extLst>
                </p:cNvPr>
                <p:cNvSpPr/>
                <p:nvPr/>
              </p:nvSpPr>
              <p:spPr>
                <a:xfrm>
                  <a:off x="12952042" y="2134248"/>
                  <a:ext cx="89337" cy="72218"/>
                </a:xfrm>
                <a:custGeom>
                  <a:avLst/>
                  <a:gdLst>
                    <a:gd name="connsiteX0" fmla="*/ 89337 w 89337"/>
                    <a:gd name="connsiteY0" fmla="*/ 72219 h 72218"/>
                    <a:gd name="connsiteX1" fmla="*/ 24538 w 89337"/>
                    <a:gd name="connsiteY1" fmla="*/ 1247 h 72218"/>
                    <a:gd name="connsiteX2" fmla="*/ 89337 w 89337"/>
                    <a:gd name="connsiteY2" fmla="*/ 72219 h 72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9337" h="72218">
                      <a:moveTo>
                        <a:pt x="89337" y="72219"/>
                      </a:moveTo>
                      <a:cubicBezTo>
                        <a:pt x="89337" y="72219"/>
                        <a:pt x="73909" y="-11095"/>
                        <a:pt x="24538" y="1247"/>
                      </a:cubicBezTo>
                      <a:cubicBezTo>
                        <a:pt x="-18663" y="19762"/>
                        <a:pt x="-9405" y="69133"/>
                        <a:pt x="89337" y="7221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B7E14AD3-4E94-4F9C-B61F-C8C842C568C6}"/>
                    </a:ext>
                  </a:extLst>
                </p:cNvPr>
                <p:cNvSpPr/>
                <p:nvPr/>
              </p:nvSpPr>
              <p:spPr>
                <a:xfrm>
                  <a:off x="13024580" y="2179660"/>
                  <a:ext cx="59035" cy="59785"/>
                </a:xfrm>
                <a:custGeom>
                  <a:avLst/>
                  <a:gdLst>
                    <a:gd name="connsiteX0" fmla="*/ 4457 w 59035"/>
                    <a:gd name="connsiteY0" fmla="*/ 14464 h 59785"/>
                    <a:gd name="connsiteX1" fmla="*/ 44572 w 59035"/>
                    <a:gd name="connsiteY1" fmla="*/ 5207 h 59785"/>
                    <a:gd name="connsiteX2" fmla="*/ 53829 w 59035"/>
                    <a:gd name="connsiteY2" fmla="*/ 45321 h 59785"/>
                    <a:gd name="connsiteX3" fmla="*/ 13715 w 59035"/>
                    <a:gd name="connsiteY3" fmla="*/ 54579 h 59785"/>
                    <a:gd name="connsiteX4" fmla="*/ 4457 w 59035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35" h="59785">
                      <a:moveTo>
                        <a:pt x="4457" y="14464"/>
                      </a:moveTo>
                      <a:cubicBezTo>
                        <a:pt x="13715" y="-964"/>
                        <a:pt x="32228" y="-4050"/>
                        <a:pt x="44572" y="5207"/>
                      </a:cubicBezTo>
                      <a:cubicBezTo>
                        <a:pt x="60000" y="14464"/>
                        <a:pt x="63085" y="32979"/>
                        <a:pt x="53829" y="45321"/>
                      </a:cubicBezTo>
                      <a:cubicBezTo>
                        <a:pt x="44572" y="60750"/>
                        <a:pt x="26057" y="63836"/>
                        <a:pt x="13715" y="54579"/>
                      </a:cubicBezTo>
                      <a:cubicBezTo>
                        <a:pt x="1371" y="48407"/>
                        <a:pt x="-4800" y="29893"/>
                        <a:pt x="4457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4" name="图形 1">
                <a:extLst>
                  <a:ext uri="{FF2B5EF4-FFF2-40B4-BE49-F238E27FC236}">
                    <a16:creationId xmlns:a16="http://schemas.microsoft.com/office/drawing/2014/main" id="{F191BCE4-0145-4648-9400-6340438E0545}"/>
                  </a:ext>
                </a:extLst>
              </p:cNvPr>
              <p:cNvGrpSpPr/>
              <p:nvPr/>
            </p:nvGrpSpPr>
            <p:grpSpPr>
              <a:xfrm>
                <a:off x="13154336" y="2118098"/>
                <a:ext cx="238869" cy="242407"/>
                <a:chOff x="13154336" y="2118098"/>
                <a:chExt cx="238869" cy="242407"/>
              </a:xfrm>
            </p:grpSpPr>
            <p:sp>
              <p:nvSpPr>
                <p:cNvPr id="137" name="任意多边形: 形状 136">
                  <a:extLst>
                    <a:ext uri="{FF2B5EF4-FFF2-40B4-BE49-F238E27FC236}">
                      <a16:creationId xmlns:a16="http://schemas.microsoft.com/office/drawing/2014/main" id="{0750D038-FA33-4994-BAA3-4123121A8D9A}"/>
                    </a:ext>
                  </a:extLst>
                </p:cNvPr>
                <p:cNvSpPr/>
                <p:nvPr/>
              </p:nvSpPr>
              <p:spPr>
                <a:xfrm>
                  <a:off x="13266637" y="2182006"/>
                  <a:ext cx="126568" cy="92131"/>
                </a:xfrm>
                <a:custGeom>
                  <a:avLst/>
                  <a:gdLst>
                    <a:gd name="connsiteX0" fmla="*/ 0 w 126568"/>
                    <a:gd name="connsiteY0" fmla="*/ 52233 h 92131"/>
                    <a:gd name="connsiteX1" fmla="*/ 126514 w 126568"/>
                    <a:gd name="connsiteY1" fmla="*/ 42976 h 92131"/>
                    <a:gd name="connsiteX2" fmla="*/ 0 w 126568"/>
                    <a:gd name="connsiteY2" fmla="*/ 52233 h 92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8" h="92131">
                      <a:moveTo>
                        <a:pt x="0" y="52233"/>
                      </a:moveTo>
                      <a:cubicBezTo>
                        <a:pt x="0" y="52233"/>
                        <a:pt x="129599" y="-58853"/>
                        <a:pt x="126514" y="42976"/>
                      </a:cubicBezTo>
                      <a:cubicBezTo>
                        <a:pt x="123429" y="147890"/>
                        <a:pt x="0" y="52233"/>
                        <a:pt x="0" y="5223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9CDA019A-30C5-4F60-A6F7-D3D74CA5AA66}"/>
                    </a:ext>
                  </a:extLst>
                </p:cNvPr>
                <p:cNvSpPr/>
                <p:nvPr/>
              </p:nvSpPr>
              <p:spPr>
                <a:xfrm>
                  <a:off x="13241060" y="2118098"/>
                  <a:ext cx="69282" cy="122312"/>
                </a:xfrm>
                <a:custGeom>
                  <a:avLst/>
                  <a:gdLst>
                    <a:gd name="connsiteX0" fmla="*/ 16319 w 69282"/>
                    <a:gd name="connsiteY0" fmla="*/ 122312 h 122312"/>
                    <a:gd name="connsiteX1" fmla="*/ 59520 w 69282"/>
                    <a:gd name="connsiteY1" fmla="*/ 5055 h 122312"/>
                    <a:gd name="connsiteX2" fmla="*/ 16319 w 69282"/>
                    <a:gd name="connsiteY2" fmla="*/ 122312 h 122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282" h="122312">
                      <a:moveTo>
                        <a:pt x="16319" y="122312"/>
                      </a:moveTo>
                      <a:cubicBezTo>
                        <a:pt x="16319" y="122312"/>
                        <a:pt x="96548" y="20483"/>
                        <a:pt x="59520" y="5055"/>
                      </a:cubicBezTo>
                      <a:cubicBezTo>
                        <a:pt x="25577" y="-13459"/>
                        <a:pt x="-26881" y="17398"/>
                        <a:pt x="16319" y="12231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852F1528-E693-4A57-8618-64E16ACD7F4D}"/>
                    </a:ext>
                  </a:extLst>
                </p:cNvPr>
                <p:cNvSpPr/>
                <p:nvPr/>
              </p:nvSpPr>
              <p:spPr>
                <a:xfrm>
                  <a:off x="13250068" y="2246582"/>
                  <a:ext cx="86485" cy="113923"/>
                </a:xfrm>
                <a:custGeom>
                  <a:avLst/>
                  <a:gdLst>
                    <a:gd name="connsiteX0" fmla="*/ 16569 w 86485"/>
                    <a:gd name="connsiteY0" fmla="*/ 0 h 113923"/>
                    <a:gd name="connsiteX1" fmla="*/ 72111 w 86485"/>
                    <a:gd name="connsiteY1" fmla="*/ 104914 h 113923"/>
                    <a:gd name="connsiteX2" fmla="*/ 16569 w 86485"/>
                    <a:gd name="connsiteY2" fmla="*/ 0 h 1139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6485" h="113923">
                      <a:moveTo>
                        <a:pt x="16569" y="0"/>
                      </a:moveTo>
                      <a:cubicBezTo>
                        <a:pt x="16569" y="0"/>
                        <a:pt x="124569" y="74057"/>
                        <a:pt x="72111" y="104914"/>
                      </a:cubicBezTo>
                      <a:cubicBezTo>
                        <a:pt x="22740" y="138857"/>
                        <a:pt x="-26631" y="70971"/>
                        <a:pt x="16569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0" name="任意多边形: 形状 139">
                  <a:extLst>
                    <a:ext uri="{FF2B5EF4-FFF2-40B4-BE49-F238E27FC236}">
                      <a16:creationId xmlns:a16="http://schemas.microsoft.com/office/drawing/2014/main" id="{75701517-529A-4CD5-8D3A-4F22A8A7158F}"/>
                    </a:ext>
                  </a:extLst>
                </p:cNvPr>
                <p:cNvSpPr/>
                <p:nvPr/>
              </p:nvSpPr>
              <p:spPr>
                <a:xfrm>
                  <a:off x="13170003" y="2249667"/>
                  <a:ext cx="81205" cy="79521"/>
                </a:xfrm>
                <a:custGeom>
                  <a:avLst/>
                  <a:gdLst>
                    <a:gd name="connsiteX0" fmla="*/ 81205 w 81205"/>
                    <a:gd name="connsiteY0" fmla="*/ 0 h 79521"/>
                    <a:gd name="connsiteX1" fmla="*/ 22577 w 81205"/>
                    <a:gd name="connsiteY1" fmla="*/ 77143 h 79521"/>
                    <a:gd name="connsiteX2" fmla="*/ 81205 w 81205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205" h="79521">
                      <a:moveTo>
                        <a:pt x="81205" y="0"/>
                      </a:moveTo>
                      <a:cubicBezTo>
                        <a:pt x="81205" y="0"/>
                        <a:pt x="75034" y="95657"/>
                        <a:pt x="22577" y="77143"/>
                      </a:cubicBezTo>
                      <a:cubicBezTo>
                        <a:pt x="-26795" y="58629"/>
                        <a:pt x="10233" y="21600"/>
                        <a:pt x="81205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1" name="任意多边形: 形状 140">
                  <a:extLst>
                    <a:ext uri="{FF2B5EF4-FFF2-40B4-BE49-F238E27FC236}">
                      <a16:creationId xmlns:a16="http://schemas.microsoft.com/office/drawing/2014/main" id="{2E498BFF-F2B7-42E9-A4BC-19E636CEA31A}"/>
                    </a:ext>
                  </a:extLst>
                </p:cNvPr>
                <p:cNvSpPr/>
                <p:nvPr/>
              </p:nvSpPr>
              <p:spPr>
                <a:xfrm>
                  <a:off x="13154336" y="2168191"/>
                  <a:ext cx="90700" cy="72218"/>
                </a:xfrm>
                <a:custGeom>
                  <a:avLst/>
                  <a:gdLst>
                    <a:gd name="connsiteX0" fmla="*/ 90701 w 90700"/>
                    <a:gd name="connsiteY0" fmla="*/ 72219 h 72218"/>
                    <a:gd name="connsiteX1" fmla="*/ 25900 w 90700"/>
                    <a:gd name="connsiteY1" fmla="*/ 1247 h 72218"/>
                    <a:gd name="connsiteX2" fmla="*/ 90701 w 90700"/>
                    <a:gd name="connsiteY2" fmla="*/ 72219 h 72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0700" h="72218">
                      <a:moveTo>
                        <a:pt x="90701" y="72219"/>
                      </a:moveTo>
                      <a:cubicBezTo>
                        <a:pt x="90701" y="72219"/>
                        <a:pt x="75272" y="-11095"/>
                        <a:pt x="25900" y="1247"/>
                      </a:cubicBezTo>
                      <a:cubicBezTo>
                        <a:pt x="-20385" y="19762"/>
                        <a:pt x="-8042" y="69133"/>
                        <a:pt x="90701" y="7221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2" name="任意多边形: 形状 141">
                  <a:extLst>
                    <a:ext uri="{FF2B5EF4-FFF2-40B4-BE49-F238E27FC236}">
                      <a16:creationId xmlns:a16="http://schemas.microsoft.com/office/drawing/2014/main" id="{28A7727B-1EED-4C79-9AE0-E512602EE699}"/>
                    </a:ext>
                  </a:extLst>
                </p:cNvPr>
                <p:cNvSpPr/>
                <p:nvPr/>
              </p:nvSpPr>
              <p:spPr>
                <a:xfrm>
                  <a:off x="13226522" y="2216689"/>
                  <a:ext cx="57664" cy="59785"/>
                </a:xfrm>
                <a:custGeom>
                  <a:avLst/>
                  <a:gdLst>
                    <a:gd name="connsiteX0" fmla="*/ 3085 w 57664"/>
                    <a:gd name="connsiteY0" fmla="*/ 14464 h 59785"/>
                    <a:gd name="connsiteX1" fmla="*/ 43200 w 57664"/>
                    <a:gd name="connsiteY1" fmla="*/ 5207 h 59785"/>
                    <a:gd name="connsiteX2" fmla="*/ 52457 w 57664"/>
                    <a:gd name="connsiteY2" fmla="*/ 45321 h 59785"/>
                    <a:gd name="connsiteX3" fmla="*/ 12343 w 57664"/>
                    <a:gd name="connsiteY3" fmla="*/ 54579 h 59785"/>
                    <a:gd name="connsiteX4" fmla="*/ 3085 w 57664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664" h="59785">
                      <a:moveTo>
                        <a:pt x="3085" y="14464"/>
                      </a:moveTo>
                      <a:cubicBezTo>
                        <a:pt x="12343" y="-964"/>
                        <a:pt x="30857" y="-4050"/>
                        <a:pt x="43200" y="5207"/>
                      </a:cubicBezTo>
                      <a:cubicBezTo>
                        <a:pt x="58629" y="14464"/>
                        <a:pt x="61714" y="32979"/>
                        <a:pt x="52457" y="45321"/>
                      </a:cubicBezTo>
                      <a:cubicBezTo>
                        <a:pt x="43200" y="60750"/>
                        <a:pt x="24686" y="63836"/>
                        <a:pt x="12343" y="54579"/>
                      </a:cubicBezTo>
                      <a:cubicBezTo>
                        <a:pt x="0" y="45321"/>
                        <a:pt x="-3085" y="26807"/>
                        <a:pt x="3085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5" name="图形 1">
                <a:extLst>
                  <a:ext uri="{FF2B5EF4-FFF2-40B4-BE49-F238E27FC236}">
                    <a16:creationId xmlns:a16="http://schemas.microsoft.com/office/drawing/2014/main" id="{B8DF3227-B410-483A-9865-0A046D78485C}"/>
                  </a:ext>
                </a:extLst>
              </p:cNvPr>
              <p:cNvGrpSpPr/>
              <p:nvPr/>
            </p:nvGrpSpPr>
            <p:grpSpPr>
              <a:xfrm>
                <a:off x="13311707" y="2148955"/>
                <a:ext cx="238868" cy="242407"/>
                <a:chOff x="13311707" y="2148955"/>
                <a:chExt cx="238868" cy="242407"/>
              </a:xfrm>
            </p:grpSpPr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ECB75CDE-FE20-4D38-9FA6-805D3ECA7FB8}"/>
                    </a:ext>
                  </a:extLst>
                </p:cNvPr>
                <p:cNvSpPr/>
                <p:nvPr/>
              </p:nvSpPr>
              <p:spPr>
                <a:xfrm>
                  <a:off x="13424009" y="2212863"/>
                  <a:ext cx="126567" cy="92131"/>
                </a:xfrm>
                <a:custGeom>
                  <a:avLst/>
                  <a:gdLst>
                    <a:gd name="connsiteX0" fmla="*/ 0 w 126567"/>
                    <a:gd name="connsiteY0" fmla="*/ 52233 h 92131"/>
                    <a:gd name="connsiteX1" fmla="*/ 126514 w 126567"/>
                    <a:gd name="connsiteY1" fmla="*/ 42976 h 92131"/>
                    <a:gd name="connsiteX2" fmla="*/ 0 w 126567"/>
                    <a:gd name="connsiteY2" fmla="*/ 52233 h 92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7" h="92131">
                      <a:moveTo>
                        <a:pt x="0" y="52233"/>
                      </a:moveTo>
                      <a:cubicBezTo>
                        <a:pt x="0" y="52233"/>
                        <a:pt x="129599" y="-58853"/>
                        <a:pt x="126514" y="42976"/>
                      </a:cubicBezTo>
                      <a:cubicBezTo>
                        <a:pt x="123429" y="147890"/>
                        <a:pt x="0" y="52233"/>
                        <a:pt x="0" y="5223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2" name="任意多边形: 形状 131">
                  <a:extLst>
                    <a:ext uri="{FF2B5EF4-FFF2-40B4-BE49-F238E27FC236}">
                      <a16:creationId xmlns:a16="http://schemas.microsoft.com/office/drawing/2014/main" id="{E2A93B1A-EDF6-4C22-9AD1-1DCF03DC714B}"/>
                    </a:ext>
                  </a:extLst>
                </p:cNvPr>
                <p:cNvSpPr/>
                <p:nvPr/>
              </p:nvSpPr>
              <p:spPr>
                <a:xfrm>
                  <a:off x="13398432" y="2148955"/>
                  <a:ext cx="69282" cy="122312"/>
                </a:xfrm>
                <a:custGeom>
                  <a:avLst/>
                  <a:gdLst>
                    <a:gd name="connsiteX0" fmla="*/ 16319 w 69282"/>
                    <a:gd name="connsiteY0" fmla="*/ 122312 h 122312"/>
                    <a:gd name="connsiteX1" fmla="*/ 59519 w 69282"/>
                    <a:gd name="connsiteY1" fmla="*/ 5055 h 122312"/>
                    <a:gd name="connsiteX2" fmla="*/ 16319 w 69282"/>
                    <a:gd name="connsiteY2" fmla="*/ 122312 h 122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282" h="122312">
                      <a:moveTo>
                        <a:pt x="16319" y="122312"/>
                      </a:moveTo>
                      <a:cubicBezTo>
                        <a:pt x="16319" y="122312"/>
                        <a:pt x="96548" y="20483"/>
                        <a:pt x="59519" y="5055"/>
                      </a:cubicBezTo>
                      <a:cubicBezTo>
                        <a:pt x="25577" y="-13459"/>
                        <a:pt x="-26881" y="17398"/>
                        <a:pt x="16319" y="12231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3" name="任意多边形: 形状 132">
                  <a:extLst>
                    <a:ext uri="{FF2B5EF4-FFF2-40B4-BE49-F238E27FC236}">
                      <a16:creationId xmlns:a16="http://schemas.microsoft.com/office/drawing/2014/main" id="{22350150-A4F2-4AA3-B7E0-9D02198D70BF}"/>
                    </a:ext>
                  </a:extLst>
                </p:cNvPr>
                <p:cNvSpPr/>
                <p:nvPr/>
              </p:nvSpPr>
              <p:spPr>
                <a:xfrm>
                  <a:off x="13407439" y="2277439"/>
                  <a:ext cx="86485" cy="113923"/>
                </a:xfrm>
                <a:custGeom>
                  <a:avLst/>
                  <a:gdLst>
                    <a:gd name="connsiteX0" fmla="*/ 16569 w 86485"/>
                    <a:gd name="connsiteY0" fmla="*/ 0 h 113923"/>
                    <a:gd name="connsiteX1" fmla="*/ 72112 w 86485"/>
                    <a:gd name="connsiteY1" fmla="*/ 104914 h 113923"/>
                    <a:gd name="connsiteX2" fmla="*/ 16569 w 86485"/>
                    <a:gd name="connsiteY2" fmla="*/ 0 h 1139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6485" h="113923">
                      <a:moveTo>
                        <a:pt x="16569" y="0"/>
                      </a:moveTo>
                      <a:cubicBezTo>
                        <a:pt x="16569" y="0"/>
                        <a:pt x="124569" y="74057"/>
                        <a:pt x="72112" y="104914"/>
                      </a:cubicBezTo>
                      <a:cubicBezTo>
                        <a:pt x="22740" y="138857"/>
                        <a:pt x="-26632" y="70971"/>
                        <a:pt x="16569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4" name="任意多边形: 形状 133">
                  <a:extLst>
                    <a:ext uri="{FF2B5EF4-FFF2-40B4-BE49-F238E27FC236}">
                      <a16:creationId xmlns:a16="http://schemas.microsoft.com/office/drawing/2014/main" id="{04C05369-DBDF-4D4B-A66D-2D53CABB9B75}"/>
                    </a:ext>
                  </a:extLst>
                </p:cNvPr>
                <p:cNvSpPr/>
                <p:nvPr/>
              </p:nvSpPr>
              <p:spPr>
                <a:xfrm>
                  <a:off x="13327374" y="2280524"/>
                  <a:ext cx="81205" cy="79521"/>
                </a:xfrm>
                <a:custGeom>
                  <a:avLst/>
                  <a:gdLst>
                    <a:gd name="connsiteX0" fmla="*/ 81206 w 81205"/>
                    <a:gd name="connsiteY0" fmla="*/ 0 h 79521"/>
                    <a:gd name="connsiteX1" fmla="*/ 22576 w 81205"/>
                    <a:gd name="connsiteY1" fmla="*/ 77143 h 79521"/>
                    <a:gd name="connsiteX2" fmla="*/ 81206 w 81205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205" h="79521">
                      <a:moveTo>
                        <a:pt x="81206" y="0"/>
                      </a:moveTo>
                      <a:cubicBezTo>
                        <a:pt x="81206" y="0"/>
                        <a:pt x="75034" y="95657"/>
                        <a:pt x="22576" y="77143"/>
                      </a:cubicBezTo>
                      <a:cubicBezTo>
                        <a:pt x="-26794" y="58629"/>
                        <a:pt x="10234" y="21600"/>
                        <a:pt x="81206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990AA48F-AD15-4C3E-B257-C309140F6500}"/>
                    </a:ext>
                  </a:extLst>
                </p:cNvPr>
                <p:cNvSpPr/>
                <p:nvPr/>
              </p:nvSpPr>
              <p:spPr>
                <a:xfrm>
                  <a:off x="13311707" y="2199048"/>
                  <a:ext cx="90700" cy="72218"/>
                </a:xfrm>
                <a:custGeom>
                  <a:avLst/>
                  <a:gdLst>
                    <a:gd name="connsiteX0" fmla="*/ 90701 w 90700"/>
                    <a:gd name="connsiteY0" fmla="*/ 72219 h 72218"/>
                    <a:gd name="connsiteX1" fmla="*/ 25901 w 90700"/>
                    <a:gd name="connsiteY1" fmla="*/ 1247 h 72218"/>
                    <a:gd name="connsiteX2" fmla="*/ 90701 w 90700"/>
                    <a:gd name="connsiteY2" fmla="*/ 72219 h 72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0700" h="72218">
                      <a:moveTo>
                        <a:pt x="90701" y="72219"/>
                      </a:moveTo>
                      <a:cubicBezTo>
                        <a:pt x="90701" y="72219"/>
                        <a:pt x="75272" y="-11095"/>
                        <a:pt x="25901" y="1247"/>
                      </a:cubicBezTo>
                      <a:cubicBezTo>
                        <a:pt x="-20385" y="19762"/>
                        <a:pt x="-8042" y="69133"/>
                        <a:pt x="90701" y="7221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805B5AC6-5AD8-4CBB-B9E0-9956570FBD5D}"/>
                    </a:ext>
                  </a:extLst>
                </p:cNvPr>
                <p:cNvSpPr/>
                <p:nvPr/>
              </p:nvSpPr>
              <p:spPr>
                <a:xfrm>
                  <a:off x="13382523" y="2247546"/>
                  <a:ext cx="59035" cy="59785"/>
                </a:xfrm>
                <a:custGeom>
                  <a:avLst/>
                  <a:gdLst>
                    <a:gd name="connsiteX0" fmla="*/ 4457 w 59035"/>
                    <a:gd name="connsiteY0" fmla="*/ 14464 h 59785"/>
                    <a:gd name="connsiteX1" fmla="*/ 44571 w 59035"/>
                    <a:gd name="connsiteY1" fmla="*/ 5207 h 59785"/>
                    <a:gd name="connsiteX2" fmla="*/ 53829 w 59035"/>
                    <a:gd name="connsiteY2" fmla="*/ 45321 h 59785"/>
                    <a:gd name="connsiteX3" fmla="*/ 13714 w 59035"/>
                    <a:gd name="connsiteY3" fmla="*/ 54579 h 59785"/>
                    <a:gd name="connsiteX4" fmla="*/ 4457 w 59035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35" h="59785">
                      <a:moveTo>
                        <a:pt x="4457" y="14464"/>
                      </a:moveTo>
                      <a:cubicBezTo>
                        <a:pt x="13714" y="-964"/>
                        <a:pt x="32228" y="-4050"/>
                        <a:pt x="44571" y="5207"/>
                      </a:cubicBezTo>
                      <a:cubicBezTo>
                        <a:pt x="60000" y="14464"/>
                        <a:pt x="63085" y="32979"/>
                        <a:pt x="53829" y="45321"/>
                      </a:cubicBezTo>
                      <a:cubicBezTo>
                        <a:pt x="44571" y="60750"/>
                        <a:pt x="26057" y="63836"/>
                        <a:pt x="13714" y="54579"/>
                      </a:cubicBezTo>
                      <a:cubicBezTo>
                        <a:pt x="1371" y="45321"/>
                        <a:pt x="-4800" y="26807"/>
                        <a:pt x="4457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6" name="图形 1">
                <a:extLst>
                  <a:ext uri="{FF2B5EF4-FFF2-40B4-BE49-F238E27FC236}">
                    <a16:creationId xmlns:a16="http://schemas.microsoft.com/office/drawing/2014/main" id="{53BDFE89-52F1-4E9F-993A-52EFFBF230D7}"/>
                  </a:ext>
                </a:extLst>
              </p:cNvPr>
              <p:cNvGrpSpPr/>
              <p:nvPr/>
            </p:nvGrpSpPr>
            <p:grpSpPr>
              <a:xfrm>
                <a:off x="13403038" y="2239494"/>
                <a:ext cx="218455" cy="222019"/>
                <a:chOff x="13403038" y="2239494"/>
                <a:chExt cx="218455" cy="222019"/>
              </a:xfrm>
            </p:grpSpPr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5B58FEF7-1C56-45A9-B7F2-E036637836A1}"/>
                    </a:ext>
                  </a:extLst>
                </p:cNvPr>
                <p:cNvSpPr/>
                <p:nvPr/>
              </p:nvSpPr>
              <p:spPr>
                <a:xfrm>
                  <a:off x="13504236" y="2302637"/>
                  <a:ext cx="117257" cy="81038"/>
                </a:xfrm>
                <a:custGeom>
                  <a:avLst/>
                  <a:gdLst>
                    <a:gd name="connsiteX0" fmla="*/ 0 w 117257"/>
                    <a:gd name="connsiteY0" fmla="*/ 45773 h 81038"/>
                    <a:gd name="connsiteX1" fmla="*/ 117258 w 117257"/>
                    <a:gd name="connsiteY1" fmla="*/ 39602 h 81038"/>
                    <a:gd name="connsiteX2" fmla="*/ 0 w 117257"/>
                    <a:gd name="connsiteY2" fmla="*/ 45773 h 810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7257" h="81038">
                      <a:moveTo>
                        <a:pt x="0" y="45773"/>
                      </a:moveTo>
                      <a:cubicBezTo>
                        <a:pt x="0" y="45773"/>
                        <a:pt x="117258" y="-52970"/>
                        <a:pt x="117258" y="39602"/>
                      </a:cubicBezTo>
                      <a:cubicBezTo>
                        <a:pt x="114172" y="129087"/>
                        <a:pt x="0" y="45773"/>
                        <a:pt x="0" y="4577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14487519-9ADF-442B-82AF-7D62CF6B6E17}"/>
                    </a:ext>
                  </a:extLst>
                </p:cNvPr>
                <p:cNvSpPr/>
                <p:nvPr/>
              </p:nvSpPr>
              <p:spPr>
                <a:xfrm>
                  <a:off x="13482519" y="2239494"/>
                  <a:ext cx="63433" cy="112001"/>
                </a:xfrm>
                <a:custGeom>
                  <a:avLst/>
                  <a:gdLst>
                    <a:gd name="connsiteX0" fmla="*/ 15546 w 63433"/>
                    <a:gd name="connsiteY0" fmla="*/ 112002 h 112001"/>
                    <a:gd name="connsiteX1" fmla="*/ 55660 w 63433"/>
                    <a:gd name="connsiteY1" fmla="*/ 4002 h 112001"/>
                    <a:gd name="connsiteX2" fmla="*/ 15546 w 63433"/>
                    <a:gd name="connsiteY2" fmla="*/ 112002 h 1120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3433" h="112001">
                      <a:moveTo>
                        <a:pt x="15546" y="112002"/>
                      </a:moveTo>
                      <a:cubicBezTo>
                        <a:pt x="15546" y="112002"/>
                        <a:pt x="86517" y="19430"/>
                        <a:pt x="55660" y="4002"/>
                      </a:cubicBezTo>
                      <a:cubicBezTo>
                        <a:pt x="21717" y="-11427"/>
                        <a:pt x="-24569" y="16345"/>
                        <a:pt x="15546" y="11200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84119F99-0DBC-4054-B3A8-23F212C20B5E}"/>
                    </a:ext>
                  </a:extLst>
                </p:cNvPr>
                <p:cNvSpPr/>
                <p:nvPr/>
              </p:nvSpPr>
              <p:spPr>
                <a:xfrm>
                  <a:off x="13490265" y="2357667"/>
                  <a:ext cx="77632" cy="103845"/>
                </a:xfrm>
                <a:custGeom>
                  <a:avLst/>
                  <a:gdLst>
                    <a:gd name="connsiteX0" fmla="*/ 13971 w 77632"/>
                    <a:gd name="connsiteY0" fmla="*/ 0 h 103845"/>
                    <a:gd name="connsiteX1" fmla="*/ 66428 w 77632"/>
                    <a:gd name="connsiteY1" fmla="*/ 95657 h 103845"/>
                    <a:gd name="connsiteX2" fmla="*/ 13971 w 77632"/>
                    <a:gd name="connsiteY2" fmla="*/ 0 h 1038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7632" h="103845">
                      <a:moveTo>
                        <a:pt x="13971" y="0"/>
                      </a:moveTo>
                      <a:cubicBezTo>
                        <a:pt x="13971" y="0"/>
                        <a:pt x="109628" y="67886"/>
                        <a:pt x="66428" y="95657"/>
                      </a:cubicBezTo>
                      <a:cubicBezTo>
                        <a:pt x="20143" y="126514"/>
                        <a:pt x="-23057" y="64800"/>
                        <a:pt x="13971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A554B527-9535-447D-9D4E-4C5D03892EF9}"/>
                    </a:ext>
                  </a:extLst>
                </p:cNvPr>
                <p:cNvSpPr/>
                <p:nvPr/>
              </p:nvSpPr>
              <p:spPr>
                <a:xfrm>
                  <a:off x="13418031" y="2360753"/>
                  <a:ext cx="73862" cy="72816"/>
                </a:xfrm>
                <a:custGeom>
                  <a:avLst/>
                  <a:gdLst>
                    <a:gd name="connsiteX0" fmla="*/ 73863 w 73862"/>
                    <a:gd name="connsiteY0" fmla="*/ 0 h 72816"/>
                    <a:gd name="connsiteX1" fmla="*/ 21406 w 73862"/>
                    <a:gd name="connsiteY1" fmla="*/ 70971 h 72816"/>
                    <a:gd name="connsiteX2" fmla="*/ 73863 w 73862"/>
                    <a:gd name="connsiteY2" fmla="*/ 0 h 72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3862" h="72816">
                      <a:moveTo>
                        <a:pt x="73863" y="0"/>
                      </a:moveTo>
                      <a:cubicBezTo>
                        <a:pt x="73863" y="0"/>
                        <a:pt x="67692" y="86400"/>
                        <a:pt x="21406" y="70971"/>
                      </a:cubicBezTo>
                      <a:cubicBezTo>
                        <a:pt x="-24880" y="52457"/>
                        <a:pt x="9062" y="18514"/>
                        <a:pt x="73863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775B3495-D9FD-4DF6-930E-55493C191879}"/>
                    </a:ext>
                  </a:extLst>
                </p:cNvPr>
                <p:cNvSpPr/>
                <p:nvPr/>
              </p:nvSpPr>
              <p:spPr>
                <a:xfrm>
                  <a:off x="13403038" y="2287742"/>
                  <a:ext cx="82684" cy="63754"/>
                </a:xfrm>
                <a:custGeom>
                  <a:avLst/>
                  <a:gdLst>
                    <a:gd name="connsiteX0" fmla="*/ 82684 w 82684"/>
                    <a:gd name="connsiteY0" fmla="*/ 63754 h 63754"/>
                    <a:gd name="connsiteX1" fmla="*/ 24055 w 82684"/>
                    <a:gd name="connsiteY1" fmla="*/ 2040 h 63754"/>
                    <a:gd name="connsiteX2" fmla="*/ 82684 w 82684"/>
                    <a:gd name="connsiteY2" fmla="*/ 63754 h 637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2684" h="63754">
                      <a:moveTo>
                        <a:pt x="82684" y="63754"/>
                      </a:moveTo>
                      <a:cubicBezTo>
                        <a:pt x="82684" y="63754"/>
                        <a:pt x="67256" y="-13388"/>
                        <a:pt x="24055" y="2040"/>
                      </a:cubicBezTo>
                      <a:cubicBezTo>
                        <a:pt x="-19145" y="14383"/>
                        <a:pt x="-6802" y="60669"/>
                        <a:pt x="82684" y="63754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127CC75C-01A9-4851-9CD1-9563666CA57D}"/>
                    </a:ext>
                  </a:extLst>
                </p:cNvPr>
                <p:cNvSpPr/>
                <p:nvPr/>
              </p:nvSpPr>
              <p:spPr>
                <a:xfrm>
                  <a:off x="13468922" y="2328525"/>
                  <a:ext cx="55199" cy="55199"/>
                </a:xfrm>
                <a:custGeom>
                  <a:avLst/>
                  <a:gdLst>
                    <a:gd name="connsiteX0" fmla="*/ 4457 w 55199"/>
                    <a:gd name="connsiteY0" fmla="*/ 13714 h 55199"/>
                    <a:gd name="connsiteX1" fmla="*/ 41486 w 55199"/>
                    <a:gd name="connsiteY1" fmla="*/ 4457 h 55199"/>
                    <a:gd name="connsiteX2" fmla="*/ 50743 w 55199"/>
                    <a:gd name="connsiteY2" fmla="*/ 41486 h 55199"/>
                    <a:gd name="connsiteX3" fmla="*/ 13714 w 55199"/>
                    <a:gd name="connsiteY3" fmla="*/ 50743 h 55199"/>
                    <a:gd name="connsiteX4" fmla="*/ 4457 w 55199"/>
                    <a:gd name="connsiteY4" fmla="*/ 13714 h 55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199" h="55199">
                      <a:moveTo>
                        <a:pt x="4457" y="13714"/>
                      </a:moveTo>
                      <a:cubicBezTo>
                        <a:pt x="10629" y="1371"/>
                        <a:pt x="29143" y="-4800"/>
                        <a:pt x="41486" y="4457"/>
                      </a:cubicBezTo>
                      <a:cubicBezTo>
                        <a:pt x="53828" y="10629"/>
                        <a:pt x="60000" y="29143"/>
                        <a:pt x="50743" y="41486"/>
                      </a:cubicBezTo>
                      <a:cubicBezTo>
                        <a:pt x="44572" y="53829"/>
                        <a:pt x="26057" y="60000"/>
                        <a:pt x="13714" y="50743"/>
                      </a:cubicBezTo>
                      <a:cubicBezTo>
                        <a:pt x="1372" y="41486"/>
                        <a:pt x="-4800" y="26057"/>
                        <a:pt x="4457" y="1371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7" name="图形 1">
                <a:extLst>
                  <a:ext uri="{FF2B5EF4-FFF2-40B4-BE49-F238E27FC236}">
                    <a16:creationId xmlns:a16="http://schemas.microsoft.com/office/drawing/2014/main" id="{B1603492-BD66-42D7-A488-53FBD3E58BEF}"/>
                  </a:ext>
                </a:extLst>
              </p:cNvPr>
              <p:cNvGrpSpPr/>
              <p:nvPr/>
            </p:nvGrpSpPr>
            <p:grpSpPr>
              <a:xfrm>
                <a:off x="12867365" y="2111927"/>
                <a:ext cx="238868" cy="242407"/>
                <a:chOff x="12867365" y="2111927"/>
                <a:chExt cx="238868" cy="242407"/>
              </a:xfrm>
            </p:grpSpPr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C43607CE-5EEC-4534-889E-11E166A0919F}"/>
                    </a:ext>
                  </a:extLst>
                </p:cNvPr>
                <p:cNvSpPr/>
                <p:nvPr/>
              </p:nvSpPr>
              <p:spPr>
                <a:xfrm>
                  <a:off x="12979665" y="2175834"/>
                  <a:ext cx="126568" cy="92131"/>
                </a:xfrm>
                <a:custGeom>
                  <a:avLst/>
                  <a:gdLst>
                    <a:gd name="connsiteX0" fmla="*/ 0 w 126568"/>
                    <a:gd name="connsiteY0" fmla="*/ 52233 h 92131"/>
                    <a:gd name="connsiteX1" fmla="*/ 126514 w 126568"/>
                    <a:gd name="connsiteY1" fmla="*/ 42976 h 92131"/>
                    <a:gd name="connsiteX2" fmla="*/ 0 w 126568"/>
                    <a:gd name="connsiteY2" fmla="*/ 52233 h 92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8" h="92131">
                      <a:moveTo>
                        <a:pt x="0" y="52233"/>
                      </a:moveTo>
                      <a:cubicBezTo>
                        <a:pt x="0" y="52233"/>
                        <a:pt x="129600" y="-58853"/>
                        <a:pt x="126514" y="42976"/>
                      </a:cubicBezTo>
                      <a:cubicBezTo>
                        <a:pt x="123429" y="147890"/>
                        <a:pt x="0" y="52233"/>
                        <a:pt x="0" y="52233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1889334F-E764-4611-96ED-117E5011B2C3}"/>
                    </a:ext>
                  </a:extLst>
                </p:cNvPr>
                <p:cNvSpPr/>
                <p:nvPr/>
              </p:nvSpPr>
              <p:spPr>
                <a:xfrm>
                  <a:off x="12954089" y="2111927"/>
                  <a:ext cx="69282" cy="122312"/>
                </a:xfrm>
                <a:custGeom>
                  <a:avLst/>
                  <a:gdLst>
                    <a:gd name="connsiteX0" fmla="*/ 16319 w 69282"/>
                    <a:gd name="connsiteY0" fmla="*/ 122312 h 122312"/>
                    <a:gd name="connsiteX1" fmla="*/ 59519 w 69282"/>
                    <a:gd name="connsiteY1" fmla="*/ 5055 h 122312"/>
                    <a:gd name="connsiteX2" fmla="*/ 16319 w 69282"/>
                    <a:gd name="connsiteY2" fmla="*/ 122312 h 122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282" h="122312">
                      <a:moveTo>
                        <a:pt x="16319" y="122312"/>
                      </a:moveTo>
                      <a:cubicBezTo>
                        <a:pt x="16319" y="122312"/>
                        <a:pt x="96548" y="20483"/>
                        <a:pt x="59519" y="5055"/>
                      </a:cubicBezTo>
                      <a:cubicBezTo>
                        <a:pt x="25576" y="-13459"/>
                        <a:pt x="-26881" y="17398"/>
                        <a:pt x="16319" y="122312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B13E8B7A-CAFA-4DAD-B286-A3EC297589C7}"/>
                    </a:ext>
                  </a:extLst>
                </p:cNvPr>
                <p:cNvSpPr/>
                <p:nvPr/>
              </p:nvSpPr>
              <p:spPr>
                <a:xfrm>
                  <a:off x="12963096" y="2240410"/>
                  <a:ext cx="86485" cy="113923"/>
                </a:xfrm>
                <a:custGeom>
                  <a:avLst/>
                  <a:gdLst>
                    <a:gd name="connsiteX0" fmla="*/ 16569 w 86485"/>
                    <a:gd name="connsiteY0" fmla="*/ 0 h 113923"/>
                    <a:gd name="connsiteX1" fmla="*/ 72112 w 86485"/>
                    <a:gd name="connsiteY1" fmla="*/ 104914 h 113923"/>
                    <a:gd name="connsiteX2" fmla="*/ 16569 w 86485"/>
                    <a:gd name="connsiteY2" fmla="*/ 0 h 1139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6485" h="113923">
                      <a:moveTo>
                        <a:pt x="16569" y="0"/>
                      </a:moveTo>
                      <a:cubicBezTo>
                        <a:pt x="16569" y="0"/>
                        <a:pt x="124569" y="74057"/>
                        <a:pt x="72112" y="104914"/>
                      </a:cubicBezTo>
                      <a:cubicBezTo>
                        <a:pt x="22740" y="138857"/>
                        <a:pt x="-26631" y="70971"/>
                        <a:pt x="16569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138D5A45-FAF2-44D0-B64B-B22D0D83F050}"/>
                    </a:ext>
                  </a:extLst>
                </p:cNvPr>
                <p:cNvSpPr/>
                <p:nvPr/>
              </p:nvSpPr>
              <p:spPr>
                <a:xfrm>
                  <a:off x="12883031" y="2243496"/>
                  <a:ext cx="81205" cy="79521"/>
                </a:xfrm>
                <a:custGeom>
                  <a:avLst/>
                  <a:gdLst>
                    <a:gd name="connsiteX0" fmla="*/ 81205 w 81205"/>
                    <a:gd name="connsiteY0" fmla="*/ 0 h 79521"/>
                    <a:gd name="connsiteX1" fmla="*/ 22577 w 81205"/>
                    <a:gd name="connsiteY1" fmla="*/ 77143 h 79521"/>
                    <a:gd name="connsiteX2" fmla="*/ 81205 w 81205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205" h="79521">
                      <a:moveTo>
                        <a:pt x="81205" y="0"/>
                      </a:moveTo>
                      <a:cubicBezTo>
                        <a:pt x="81205" y="0"/>
                        <a:pt x="75034" y="95657"/>
                        <a:pt x="22577" y="77143"/>
                      </a:cubicBezTo>
                      <a:cubicBezTo>
                        <a:pt x="-26795" y="58629"/>
                        <a:pt x="10234" y="21600"/>
                        <a:pt x="81205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CFE4EE4E-EC93-4275-8A3D-86F89AAB7B1F}"/>
                    </a:ext>
                  </a:extLst>
                </p:cNvPr>
                <p:cNvSpPr/>
                <p:nvPr/>
              </p:nvSpPr>
              <p:spPr>
                <a:xfrm>
                  <a:off x="12867365" y="2162020"/>
                  <a:ext cx="90700" cy="72218"/>
                </a:xfrm>
                <a:custGeom>
                  <a:avLst/>
                  <a:gdLst>
                    <a:gd name="connsiteX0" fmla="*/ 90701 w 90700"/>
                    <a:gd name="connsiteY0" fmla="*/ 72219 h 72218"/>
                    <a:gd name="connsiteX1" fmla="*/ 25901 w 90700"/>
                    <a:gd name="connsiteY1" fmla="*/ 1247 h 72218"/>
                    <a:gd name="connsiteX2" fmla="*/ 90701 w 90700"/>
                    <a:gd name="connsiteY2" fmla="*/ 72219 h 72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0700" h="72218">
                      <a:moveTo>
                        <a:pt x="90701" y="72219"/>
                      </a:moveTo>
                      <a:cubicBezTo>
                        <a:pt x="90701" y="72219"/>
                        <a:pt x="75272" y="-11095"/>
                        <a:pt x="25901" y="1247"/>
                      </a:cubicBezTo>
                      <a:cubicBezTo>
                        <a:pt x="-20385" y="19762"/>
                        <a:pt x="-8042" y="69133"/>
                        <a:pt x="90701" y="72219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50B71A24-E8AF-416C-A430-976F84FD0D5F}"/>
                    </a:ext>
                  </a:extLst>
                </p:cNvPr>
                <p:cNvSpPr/>
                <p:nvPr/>
              </p:nvSpPr>
              <p:spPr>
                <a:xfrm>
                  <a:off x="12939551" y="2207432"/>
                  <a:ext cx="57664" cy="59785"/>
                </a:xfrm>
                <a:custGeom>
                  <a:avLst/>
                  <a:gdLst>
                    <a:gd name="connsiteX0" fmla="*/ 3086 w 57664"/>
                    <a:gd name="connsiteY0" fmla="*/ 14464 h 59785"/>
                    <a:gd name="connsiteX1" fmla="*/ 43200 w 57664"/>
                    <a:gd name="connsiteY1" fmla="*/ 5207 h 59785"/>
                    <a:gd name="connsiteX2" fmla="*/ 52458 w 57664"/>
                    <a:gd name="connsiteY2" fmla="*/ 45321 h 59785"/>
                    <a:gd name="connsiteX3" fmla="*/ 12343 w 57664"/>
                    <a:gd name="connsiteY3" fmla="*/ 54579 h 59785"/>
                    <a:gd name="connsiteX4" fmla="*/ 3086 w 57664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664" h="59785">
                      <a:moveTo>
                        <a:pt x="3086" y="14464"/>
                      </a:moveTo>
                      <a:cubicBezTo>
                        <a:pt x="12343" y="-964"/>
                        <a:pt x="30857" y="-4050"/>
                        <a:pt x="43200" y="5207"/>
                      </a:cubicBezTo>
                      <a:cubicBezTo>
                        <a:pt x="58628" y="14464"/>
                        <a:pt x="61714" y="32979"/>
                        <a:pt x="52458" y="45321"/>
                      </a:cubicBezTo>
                      <a:cubicBezTo>
                        <a:pt x="43200" y="60750"/>
                        <a:pt x="24685" y="63836"/>
                        <a:pt x="12343" y="54579"/>
                      </a:cubicBezTo>
                      <a:cubicBezTo>
                        <a:pt x="0" y="48407"/>
                        <a:pt x="-3086" y="29893"/>
                        <a:pt x="3086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8" name="图形 1">
                <a:extLst>
                  <a:ext uri="{FF2B5EF4-FFF2-40B4-BE49-F238E27FC236}">
                    <a16:creationId xmlns:a16="http://schemas.microsoft.com/office/drawing/2014/main" id="{7448EE53-7751-4098-B741-16F277F2C3ED}"/>
                  </a:ext>
                </a:extLst>
              </p:cNvPr>
              <p:cNvGrpSpPr/>
              <p:nvPr/>
            </p:nvGrpSpPr>
            <p:grpSpPr>
              <a:xfrm>
                <a:off x="12952042" y="2236660"/>
                <a:ext cx="237506" cy="244187"/>
                <a:chOff x="12952042" y="2236660"/>
                <a:chExt cx="237506" cy="244187"/>
              </a:xfrm>
            </p:grpSpPr>
            <p:sp>
              <p:nvSpPr>
                <p:cNvPr id="113" name="任意多边形: 形状 112">
                  <a:extLst>
                    <a:ext uri="{FF2B5EF4-FFF2-40B4-BE49-F238E27FC236}">
                      <a16:creationId xmlns:a16="http://schemas.microsoft.com/office/drawing/2014/main" id="{1570F771-3830-4667-BC3D-7B55EBE92A7E}"/>
                    </a:ext>
                  </a:extLst>
                </p:cNvPr>
                <p:cNvSpPr/>
                <p:nvPr/>
              </p:nvSpPr>
              <p:spPr>
                <a:xfrm>
                  <a:off x="13062980" y="2302349"/>
                  <a:ext cx="126568" cy="90764"/>
                </a:xfrm>
                <a:custGeom>
                  <a:avLst/>
                  <a:gdLst>
                    <a:gd name="connsiteX0" fmla="*/ 0 w 126568"/>
                    <a:gd name="connsiteY0" fmla="*/ 52233 h 90764"/>
                    <a:gd name="connsiteX1" fmla="*/ 126514 w 126568"/>
                    <a:gd name="connsiteY1" fmla="*/ 42976 h 90764"/>
                    <a:gd name="connsiteX2" fmla="*/ 0 w 126568"/>
                    <a:gd name="connsiteY2" fmla="*/ 52233 h 90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8" h="90764">
                      <a:moveTo>
                        <a:pt x="0" y="52233"/>
                      </a:moveTo>
                      <a:cubicBezTo>
                        <a:pt x="0" y="52233"/>
                        <a:pt x="129600" y="-58853"/>
                        <a:pt x="126514" y="42976"/>
                      </a:cubicBezTo>
                      <a:cubicBezTo>
                        <a:pt x="126514" y="144804"/>
                        <a:pt x="0" y="52233"/>
                        <a:pt x="0" y="52233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D8F3C9F2-4C2C-4C5B-B3B1-D57DA73C9810}"/>
                    </a:ext>
                  </a:extLst>
                </p:cNvPr>
                <p:cNvSpPr/>
                <p:nvPr/>
              </p:nvSpPr>
              <p:spPr>
                <a:xfrm>
                  <a:off x="13040489" y="2236660"/>
                  <a:ext cx="69282" cy="121006"/>
                </a:xfrm>
                <a:custGeom>
                  <a:avLst/>
                  <a:gdLst>
                    <a:gd name="connsiteX0" fmla="*/ 16319 w 69282"/>
                    <a:gd name="connsiteY0" fmla="*/ 121007 h 121006"/>
                    <a:gd name="connsiteX1" fmla="*/ 59520 w 69282"/>
                    <a:gd name="connsiteY1" fmla="*/ 3750 h 121006"/>
                    <a:gd name="connsiteX2" fmla="*/ 16319 w 69282"/>
                    <a:gd name="connsiteY2" fmla="*/ 121007 h 12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282" h="121006">
                      <a:moveTo>
                        <a:pt x="16319" y="121007"/>
                      </a:moveTo>
                      <a:cubicBezTo>
                        <a:pt x="16319" y="121007"/>
                        <a:pt x="96548" y="19178"/>
                        <a:pt x="59520" y="3750"/>
                      </a:cubicBezTo>
                      <a:cubicBezTo>
                        <a:pt x="25577" y="-11679"/>
                        <a:pt x="-26881" y="19178"/>
                        <a:pt x="16319" y="121007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0DAE14F7-3F38-484C-BB69-DEF9FB909DB2}"/>
                    </a:ext>
                  </a:extLst>
                </p:cNvPr>
                <p:cNvSpPr/>
                <p:nvPr/>
              </p:nvSpPr>
              <p:spPr>
                <a:xfrm>
                  <a:off x="13048994" y="2366925"/>
                  <a:ext cx="86987" cy="113923"/>
                </a:xfrm>
                <a:custGeom>
                  <a:avLst/>
                  <a:gdLst>
                    <a:gd name="connsiteX0" fmla="*/ 17071 w 86987"/>
                    <a:gd name="connsiteY0" fmla="*/ 0 h 113923"/>
                    <a:gd name="connsiteX1" fmla="*/ 72614 w 86987"/>
                    <a:gd name="connsiteY1" fmla="*/ 104914 h 113923"/>
                    <a:gd name="connsiteX2" fmla="*/ 17071 w 86987"/>
                    <a:gd name="connsiteY2" fmla="*/ 0 h 1139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6987" h="113923">
                      <a:moveTo>
                        <a:pt x="17071" y="0"/>
                      </a:moveTo>
                      <a:cubicBezTo>
                        <a:pt x="17071" y="0"/>
                        <a:pt x="125071" y="74057"/>
                        <a:pt x="72614" y="104914"/>
                      </a:cubicBezTo>
                      <a:cubicBezTo>
                        <a:pt x="20157" y="138857"/>
                        <a:pt x="-26128" y="70971"/>
                        <a:pt x="17071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4E15D6D4-16C0-42E6-A9A8-E404DA446745}"/>
                    </a:ext>
                  </a:extLst>
                </p:cNvPr>
                <p:cNvSpPr/>
                <p:nvPr/>
              </p:nvSpPr>
              <p:spPr>
                <a:xfrm>
                  <a:off x="12968788" y="2370010"/>
                  <a:ext cx="81848" cy="79521"/>
                </a:xfrm>
                <a:custGeom>
                  <a:avLst/>
                  <a:gdLst>
                    <a:gd name="connsiteX0" fmla="*/ 81849 w 81848"/>
                    <a:gd name="connsiteY0" fmla="*/ 0 h 79521"/>
                    <a:gd name="connsiteX1" fmla="*/ 23221 w 81848"/>
                    <a:gd name="connsiteY1" fmla="*/ 77143 h 79521"/>
                    <a:gd name="connsiteX2" fmla="*/ 81849 w 81848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848" h="79521">
                      <a:moveTo>
                        <a:pt x="81849" y="0"/>
                      </a:moveTo>
                      <a:cubicBezTo>
                        <a:pt x="81849" y="0"/>
                        <a:pt x="75677" y="95657"/>
                        <a:pt x="23221" y="77143"/>
                      </a:cubicBezTo>
                      <a:cubicBezTo>
                        <a:pt x="-26151" y="55543"/>
                        <a:pt x="7792" y="18514"/>
                        <a:pt x="81849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51A0A036-4088-4D64-BE1B-513A75ABDD7C}"/>
                    </a:ext>
                  </a:extLst>
                </p:cNvPr>
                <p:cNvSpPr/>
                <p:nvPr/>
              </p:nvSpPr>
              <p:spPr>
                <a:xfrm>
                  <a:off x="12952042" y="2288534"/>
                  <a:ext cx="89337" cy="72218"/>
                </a:xfrm>
                <a:custGeom>
                  <a:avLst/>
                  <a:gdLst>
                    <a:gd name="connsiteX0" fmla="*/ 89337 w 89337"/>
                    <a:gd name="connsiteY0" fmla="*/ 72219 h 72218"/>
                    <a:gd name="connsiteX1" fmla="*/ 24538 w 89337"/>
                    <a:gd name="connsiteY1" fmla="*/ 1247 h 72218"/>
                    <a:gd name="connsiteX2" fmla="*/ 89337 w 89337"/>
                    <a:gd name="connsiteY2" fmla="*/ 72219 h 72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9337" h="72218">
                      <a:moveTo>
                        <a:pt x="89337" y="72219"/>
                      </a:moveTo>
                      <a:cubicBezTo>
                        <a:pt x="89337" y="72219"/>
                        <a:pt x="73909" y="-11095"/>
                        <a:pt x="24538" y="1247"/>
                      </a:cubicBezTo>
                      <a:cubicBezTo>
                        <a:pt x="-18663" y="16676"/>
                        <a:pt x="-9405" y="66048"/>
                        <a:pt x="89337" y="72219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446A5A82-C001-4E1B-AA4F-A0A7750B5654}"/>
                    </a:ext>
                  </a:extLst>
                </p:cNvPr>
                <p:cNvSpPr/>
                <p:nvPr/>
              </p:nvSpPr>
              <p:spPr>
                <a:xfrm>
                  <a:off x="13024580" y="2333946"/>
                  <a:ext cx="59035" cy="59785"/>
                </a:xfrm>
                <a:custGeom>
                  <a:avLst/>
                  <a:gdLst>
                    <a:gd name="connsiteX0" fmla="*/ 4457 w 59035"/>
                    <a:gd name="connsiteY0" fmla="*/ 14464 h 59785"/>
                    <a:gd name="connsiteX1" fmla="*/ 44572 w 59035"/>
                    <a:gd name="connsiteY1" fmla="*/ 5207 h 59785"/>
                    <a:gd name="connsiteX2" fmla="*/ 53829 w 59035"/>
                    <a:gd name="connsiteY2" fmla="*/ 45321 h 59785"/>
                    <a:gd name="connsiteX3" fmla="*/ 13715 w 59035"/>
                    <a:gd name="connsiteY3" fmla="*/ 54579 h 59785"/>
                    <a:gd name="connsiteX4" fmla="*/ 4457 w 59035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35" h="59785">
                      <a:moveTo>
                        <a:pt x="4457" y="14464"/>
                      </a:moveTo>
                      <a:cubicBezTo>
                        <a:pt x="13715" y="-964"/>
                        <a:pt x="32228" y="-4050"/>
                        <a:pt x="44572" y="5207"/>
                      </a:cubicBezTo>
                      <a:cubicBezTo>
                        <a:pt x="60000" y="14464"/>
                        <a:pt x="63085" y="32979"/>
                        <a:pt x="53829" y="45321"/>
                      </a:cubicBezTo>
                      <a:cubicBezTo>
                        <a:pt x="44572" y="60750"/>
                        <a:pt x="26057" y="63836"/>
                        <a:pt x="13715" y="54579"/>
                      </a:cubicBezTo>
                      <a:cubicBezTo>
                        <a:pt x="1371" y="48407"/>
                        <a:pt x="-4800" y="29893"/>
                        <a:pt x="4457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9" name="图形 1">
                <a:extLst>
                  <a:ext uri="{FF2B5EF4-FFF2-40B4-BE49-F238E27FC236}">
                    <a16:creationId xmlns:a16="http://schemas.microsoft.com/office/drawing/2014/main" id="{58334EA8-30DF-4131-8ACE-9D2E77BCFD9F}"/>
                  </a:ext>
                </a:extLst>
              </p:cNvPr>
              <p:cNvGrpSpPr/>
              <p:nvPr/>
            </p:nvGrpSpPr>
            <p:grpSpPr>
              <a:xfrm>
                <a:off x="13064850" y="2116318"/>
                <a:ext cx="238868" cy="244187"/>
                <a:chOff x="13064850" y="2116318"/>
                <a:chExt cx="238868" cy="244187"/>
              </a:xfrm>
            </p:grpSpPr>
            <p:sp>
              <p:nvSpPr>
                <p:cNvPr id="107" name="任意多边形: 形状 106">
                  <a:extLst>
                    <a:ext uri="{FF2B5EF4-FFF2-40B4-BE49-F238E27FC236}">
                      <a16:creationId xmlns:a16="http://schemas.microsoft.com/office/drawing/2014/main" id="{BA9EDBA3-BAA9-4B47-A2EE-C9668620E456}"/>
                    </a:ext>
                  </a:extLst>
                </p:cNvPr>
                <p:cNvSpPr/>
                <p:nvPr/>
              </p:nvSpPr>
              <p:spPr>
                <a:xfrm>
                  <a:off x="13177151" y="2182006"/>
                  <a:ext cx="126567" cy="90764"/>
                </a:xfrm>
                <a:custGeom>
                  <a:avLst/>
                  <a:gdLst>
                    <a:gd name="connsiteX0" fmla="*/ 0 w 126567"/>
                    <a:gd name="connsiteY0" fmla="*/ 52233 h 90764"/>
                    <a:gd name="connsiteX1" fmla="*/ 126514 w 126567"/>
                    <a:gd name="connsiteY1" fmla="*/ 42976 h 90764"/>
                    <a:gd name="connsiteX2" fmla="*/ 0 w 126567"/>
                    <a:gd name="connsiteY2" fmla="*/ 52233 h 90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7" h="90764">
                      <a:moveTo>
                        <a:pt x="0" y="52233"/>
                      </a:moveTo>
                      <a:cubicBezTo>
                        <a:pt x="0" y="52233"/>
                        <a:pt x="129599" y="-58853"/>
                        <a:pt x="126514" y="42976"/>
                      </a:cubicBezTo>
                      <a:cubicBezTo>
                        <a:pt x="123429" y="144804"/>
                        <a:pt x="0" y="52233"/>
                        <a:pt x="0" y="52233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8" name="任意多边形: 形状 107">
                  <a:extLst>
                    <a:ext uri="{FF2B5EF4-FFF2-40B4-BE49-F238E27FC236}">
                      <a16:creationId xmlns:a16="http://schemas.microsoft.com/office/drawing/2014/main" id="{BFF78A1B-9E07-416B-9512-C588DC349998}"/>
                    </a:ext>
                  </a:extLst>
                </p:cNvPr>
                <p:cNvSpPr/>
                <p:nvPr/>
              </p:nvSpPr>
              <p:spPr>
                <a:xfrm>
                  <a:off x="13151575" y="2116318"/>
                  <a:ext cx="69282" cy="121006"/>
                </a:xfrm>
                <a:custGeom>
                  <a:avLst/>
                  <a:gdLst>
                    <a:gd name="connsiteX0" fmla="*/ 16319 w 69282"/>
                    <a:gd name="connsiteY0" fmla="*/ 121007 h 121006"/>
                    <a:gd name="connsiteX1" fmla="*/ 59519 w 69282"/>
                    <a:gd name="connsiteY1" fmla="*/ 3750 h 121006"/>
                    <a:gd name="connsiteX2" fmla="*/ 16319 w 69282"/>
                    <a:gd name="connsiteY2" fmla="*/ 121007 h 12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282" h="121006">
                      <a:moveTo>
                        <a:pt x="16319" y="121007"/>
                      </a:moveTo>
                      <a:cubicBezTo>
                        <a:pt x="16319" y="121007"/>
                        <a:pt x="96548" y="19178"/>
                        <a:pt x="59519" y="3750"/>
                      </a:cubicBezTo>
                      <a:cubicBezTo>
                        <a:pt x="25577" y="-11679"/>
                        <a:pt x="-26881" y="19178"/>
                        <a:pt x="16319" y="121007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9" name="任意多边形: 形状 108">
                  <a:extLst>
                    <a:ext uri="{FF2B5EF4-FFF2-40B4-BE49-F238E27FC236}">
                      <a16:creationId xmlns:a16="http://schemas.microsoft.com/office/drawing/2014/main" id="{44B92964-7EC5-4ABD-A1B3-DF68ACC43677}"/>
                    </a:ext>
                  </a:extLst>
                </p:cNvPr>
                <p:cNvSpPr/>
                <p:nvPr/>
              </p:nvSpPr>
              <p:spPr>
                <a:xfrm>
                  <a:off x="13160582" y="2246582"/>
                  <a:ext cx="86485" cy="113923"/>
                </a:xfrm>
                <a:custGeom>
                  <a:avLst/>
                  <a:gdLst>
                    <a:gd name="connsiteX0" fmla="*/ 16569 w 86485"/>
                    <a:gd name="connsiteY0" fmla="*/ 0 h 113923"/>
                    <a:gd name="connsiteX1" fmla="*/ 72112 w 86485"/>
                    <a:gd name="connsiteY1" fmla="*/ 104914 h 113923"/>
                    <a:gd name="connsiteX2" fmla="*/ 16569 w 86485"/>
                    <a:gd name="connsiteY2" fmla="*/ 0 h 1139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6485" h="113923">
                      <a:moveTo>
                        <a:pt x="16569" y="0"/>
                      </a:moveTo>
                      <a:cubicBezTo>
                        <a:pt x="16569" y="0"/>
                        <a:pt x="124569" y="74057"/>
                        <a:pt x="72112" y="104914"/>
                      </a:cubicBezTo>
                      <a:cubicBezTo>
                        <a:pt x="22740" y="138857"/>
                        <a:pt x="-26632" y="70971"/>
                        <a:pt x="16569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" name="任意多边形: 形状 109">
                  <a:extLst>
                    <a:ext uri="{FF2B5EF4-FFF2-40B4-BE49-F238E27FC236}">
                      <a16:creationId xmlns:a16="http://schemas.microsoft.com/office/drawing/2014/main" id="{8F31DCE3-1589-46BB-AD53-955C0FD3D10F}"/>
                    </a:ext>
                  </a:extLst>
                </p:cNvPr>
                <p:cNvSpPr/>
                <p:nvPr/>
              </p:nvSpPr>
              <p:spPr>
                <a:xfrm>
                  <a:off x="13080517" y="2249667"/>
                  <a:ext cx="81205" cy="79521"/>
                </a:xfrm>
                <a:custGeom>
                  <a:avLst/>
                  <a:gdLst>
                    <a:gd name="connsiteX0" fmla="*/ 81206 w 81205"/>
                    <a:gd name="connsiteY0" fmla="*/ 0 h 79521"/>
                    <a:gd name="connsiteX1" fmla="*/ 22576 w 81205"/>
                    <a:gd name="connsiteY1" fmla="*/ 77143 h 79521"/>
                    <a:gd name="connsiteX2" fmla="*/ 81206 w 81205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205" h="79521">
                      <a:moveTo>
                        <a:pt x="81206" y="0"/>
                      </a:moveTo>
                      <a:cubicBezTo>
                        <a:pt x="81206" y="0"/>
                        <a:pt x="75034" y="95657"/>
                        <a:pt x="22576" y="77143"/>
                      </a:cubicBezTo>
                      <a:cubicBezTo>
                        <a:pt x="-26794" y="55543"/>
                        <a:pt x="10234" y="18514"/>
                        <a:pt x="81206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" name="任意多边形: 形状 110">
                  <a:extLst>
                    <a:ext uri="{FF2B5EF4-FFF2-40B4-BE49-F238E27FC236}">
                      <a16:creationId xmlns:a16="http://schemas.microsoft.com/office/drawing/2014/main" id="{BD86190B-328B-4B0C-BAD4-749AFB88A3C5}"/>
                    </a:ext>
                  </a:extLst>
                </p:cNvPr>
                <p:cNvSpPr/>
                <p:nvPr/>
              </p:nvSpPr>
              <p:spPr>
                <a:xfrm>
                  <a:off x="13064850" y="2168191"/>
                  <a:ext cx="90700" cy="72218"/>
                </a:xfrm>
                <a:custGeom>
                  <a:avLst/>
                  <a:gdLst>
                    <a:gd name="connsiteX0" fmla="*/ 90701 w 90700"/>
                    <a:gd name="connsiteY0" fmla="*/ 72219 h 72218"/>
                    <a:gd name="connsiteX1" fmla="*/ 25901 w 90700"/>
                    <a:gd name="connsiteY1" fmla="*/ 1247 h 72218"/>
                    <a:gd name="connsiteX2" fmla="*/ 90701 w 90700"/>
                    <a:gd name="connsiteY2" fmla="*/ 72219 h 72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0700" h="72218">
                      <a:moveTo>
                        <a:pt x="90701" y="72219"/>
                      </a:moveTo>
                      <a:cubicBezTo>
                        <a:pt x="90701" y="72219"/>
                        <a:pt x="75272" y="-11095"/>
                        <a:pt x="25901" y="1247"/>
                      </a:cubicBezTo>
                      <a:cubicBezTo>
                        <a:pt x="-20385" y="16676"/>
                        <a:pt x="-8042" y="66048"/>
                        <a:pt x="90701" y="72219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25793F8D-EAC8-4111-AD51-68FC65C6851D}"/>
                    </a:ext>
                  </a:extLst>
                </p:cNvPr>
                <p:cNvSpPr/>
                <p:nvPr/>
              </p:nvSpPr>
              <p:spPr>
                <a:xfrm>
                  <a:off x="13135665" y="2213603"/>
                  <a:ext cx="59035" cy="59785"/>
                </a:xfrm>
                <a:custGeom>
                  <a:avLst/>
                  <a:gdLst>
                    <a:gd name="connsiteX0" fmla="*/ 4457 w 59035"/>
                    <a:gd name="connsiteY0" fmla="*/ 14464 h 59785"/>
                    <a:gd name="connsiteX1" fmla="*/ 44571 w 59035"/>
                    <a:gd name="connsiteY1" fmla="*/ 5207 h 59785"/>
                    <a:gd name="connsiteX2" fmla="*/ 53829 w 59035"/>
                    <a:gd name="connsiteY2" fmla="*/ 45321 h 59785"/>
                    <a:gd name="connsiteX3" fmla="*/ 13714 w 59035"/>
                    <a:gd name="connsiteY3" fmla="*/ 54579 h 59785"/>
                    <a:gd name="connsiteX4" fmla="*/ 4457 w 59035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35" h="59785">
                      <a:moveTo>
                        <a:pt x="4457" y="14464"/>
                      </a:moveTo>
                      <a:cubicBezTo>
                        <a:pt x="13714" y="-964"/>
                        <a:pt x="32228" y="-4050"/>
                        <a:pt x="44571" y="5207"/>
                      </a:cubicBezTo>
                      <a:cubicBezTo>
                        <a:pt x="60000" y="14464"/>
                        <a:pt x="63085" y="32979"/>
                        <a:pt x="53829" y="45321"/>
                      </a:cubicBezTo>
                      <a:cubicBezTo>
                        <a:pt x="44571" y="60750"/>
                        <a:pt x="26057" y="63836"/>
                        <a:pt x="13714" y="54579"/>
                      </a:cubicBezTo>
                      <a:cubicBezTo>
                        <a:pt x="1371" y="48407"/>
                        <a:pt x="-4800" y="29893"/>
                        <a:pt x="4457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00" name="图形 1">
                <a:extLst>
                  <a:ext uri="{FF2B5EF4-FFF2-40B4-BE49-F238E27FC236}">
                    <a16:creationId xmlns:a16="http://schemas.microsoft.com/office/drawing/2014/main" id="{3DCC81DF-62BB-498F-A0AD-ACA01898F97A}"/>
                  </a:ext>
                </a:extLst>
              </p:cNvPr>
              <p:cNvGrpSpPr/>
              <p:nvPr/>
            </p:nvGrpSpPr>
            <p:grpSpPr>
              <a:xfrm>
                <a:off x="13229756" y="2150260"/>
                <a:ext cx="237506" cy="244187"/>
                <a:chOff x="13229756" y="2150260"/>
                <a:chExt cx="237506" cy="244187"/>
              </a:xfrm>
            </p:grpSpPr>
            <p:sp>
              <p:nvSpPr>
                <p:cNvPr id="101" name="任意多边形: 形状 100">
                  <a:extLst>
                    <a:ext uri="{FF2B5EF4-FFF2-40B4-BE49-F238E27FC236}">
                      <a16:creationId xmlns:a16="http://schemas.microsoft.com/office/drawing/2014/main" id="{41C4E929-CD29-4087-AF83-F4CDDE5D4E08}"/>
                    </a:ext>
                  </a:extLst>
                </p:cNvPr>
                <p:cNvSpPr/>
                <p:nvPr/>
              </p:nvSpPr>
              <p:spPr>
                <a:xfrm>
                  <a:off x="13340694" y="2215949"/>
                  <a:ext cx="126568" cy="90764"/>
                </a:xfrm>
                <a:custGeom>
                  <a:avLst/>
                  <a:gdLst>
                    <a:gd name="connsiteX0" fmla="*/ 0 w 126568"/>
                    <a:gd name="connsiteY0" fmla="*/ 52233 h 90764"/>
                    <a:gd name="connsiteX1" fmla="*/ 126514 w 126568"/>
                    <a:gd name="connsiteY1" fmla="*/ 42976 h 90764"/>
                    <a:gd name="connsiteX2" fmla="*/ 0 w 126568"/>
                    <a:gd name="connsiteY2" fmla="*/ 52233 h 90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8" h="90764">
                      <a:moveTo>
                        <a:pt x="0" y="52233"/>
                      </a:moveTo>
                      <a:cubicBezTo>
                        <a:pt x="0" y="52233"/>
                        <a:pt x="129600" y="-58853"/>
                        <a:pt x="126514" y="42976"/>
                      </a:cubicBezTo>
                      <a:cubicBezTo>
                        <a:pt x="126514" y="144804"/>
                        <a:pt x="0" y="52233"/>
                        <a:pt x="0" y="52233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2" name="任意多边形: 形状 101">
                  <a:extLst>
                    <a:ext uri="{FF2B5EF4-FFF2-40B4-BE49-F238E27FC236}">
                      <a16:creationId xmlns:a16="http://schemas.microsoft.com/office/drawing/2014/main" id="{5B6B118A-1BBC-4CE9-BE0B-1DFD2BBAA4EA}"/>
                    </a:ext>
                  </a:extLst>
                </p:cNvPr>
                <p:cNvSpPr/>
                <p:nvPr/>
              </p:nvSpPr>
              <p:spPr>
                <a:xfrm>
                  <a:off x="13317702" y="2150260"/>
                  <a:ext cx="69784" cy="121007"/>
                </a:xfrm>
                <a:custGeom>
                  <a:avLst/>
                  <a:gdLst>
                    <a:gd name="connsiteX0" fmla="*/ 16820 w 69784"/>
                    <a:gd name="connsiteY0" fmla="*/ 121007 h 121007"/>
                    <a:gd name="connsiteX1" fmla="*/ 60021 w 69784"/>
                    <a:gd name="connsiteY1" fmla="*/ 3750 h 121007"/>
                    <a:gd name="connsiteX2" fmla="*/ 16820 w 69784"/>
                    <a:gd name="connsiteY2" fmla="*/ 121007 h 1210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784" h="121007">
                      <a:moveTo>
                        <a:pt x="16820" y="121007"/>
                      </a:moveTo>
                      <a:cubicBezTo>
                        <a:pt x="16820" y="121007"/>
                        <a:pt x="97049" y="19178"/>
                        <a:pt x="60021" y="3750"/>
                      </a:cubicBezTo>
                      <a:cubicBezTo>
                        <a:pt x="22992" y="-11679"/>
                        <a:pt x="-26380" y="19178"/>
                        <a:pt x="16820" y="121007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3" name="任意多边形: 形状 102">
                  <a:extLst>
                    <a:ext uri="{FF2B5EF4-FFF2-40B4-BE49-F238E27FC236}">
                      <a16:creationId xmlns:a16="http://schemas.microsoft.com/office/drawing/2014/main" id="{0BEA3965-A769-440C-8E2D-490F7E692C6A}"/>
                    </a:ext>
                  </a:extLst>
                </p:cNvPr>
                <p:cNvSpPr/>
                <p:nvPr/>
              </p:nvSpPr>
              <p:spPr>
                <a:xfrm>
                  <a:off x="13325455" y="2280524"/>
                  <a:ext cx="85155" cy="113923"/>
                </a:xfrm>
                <a:custGeom>
                  <a:avLst/>
                  <a:gdLst>
                    <a:gd name="connsiteX0" fmla="*/ 15239 w 85155"/>
                    <a:gd name="connsiteY0" fmla="*/ 0 h 113923"/>
                    <a:gd name="connsiteX1" fmla="*/ 70782 w 85155"/>
                    <a:gd name="connsiteY1" fmla="*/ 104914 h 113923"/>
                    <a:gd name="connsiteX2" fmla="*/ 15239 w 85155"/>
                    <a:gd name="connsiteY2" fmla="*/ 0 h 1139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5155" h="113923">
                      <a:moveTo>
                        <a:pt x="15239" y="0"/>
                      </a:moveTo>
                      <a:cubicBezTo>
                        <a:pt x="15239" y="0"/>
                        <a:pt x="123239" y="74057"/>
                        <a:pt x="70782" y="104914"/>
                      </a:cubicBezTo>
                      <a:cubicBezTo>
                        <a:pt x="21411" y="138857"/>
                        <a:pt x="-24875" y="70971"/>
                        <a:pt x="15239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4" name="任意多边形: 形状 103">
                  <a:extLst>
                    <a:ext uri="{FF2B5EF4-FFF2-40B4-BE49-F238E27FC236}">
                      <a16:creationId xmlns:a16="http://schemas.microsoft.com/office/drawing/2014/main" id="{183E23D9-2438-46B7-A175-F3BD15418D75}"/>
                    </a:ext>
                  </a:extLst>
                </p:cNvPr>
                <p:cNvSpPr/>
                <p:nvPr/>
              </p:nvSpPr>
              <p:spPr>
                <a:xfrm>
                  <a:off x="13246502" y="2283610"/>
                  <a:ext cx="81848" cy="79521"/>
                </a:xfrm>
                <a:custGeom>
                  <a:avLst/>
                  <a:gdLst>
                    <a:gd name="connsiteX0" fmla="*/ 81849 w 81848"/>
                    <a:gd name="connsiteY0" fmla="*/ 0 h 79521"/>
                    <a:gd name="connsiteX1" fmla="*/ 23221 w 81848"/>
                    <a:gd name="connsiteY1" fmla="*/ 77143 h 79521"/>
                    <a:gd name="connsiteX2" fmla="*/ 81849 w 81848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848" h="79521">
                      <a:moveTo>
                        <a:pt x="81849" y="0"/>
                      </a:moveTo>
                      <a:cubicBezTo>
                        <a:pt x="81849" y="0"/>
                        <a:pt x="75677" y="95657"/>
                        <a:pt x="23221" y="77143"/>
                      </a:cubicBezTo>
                      <a:cubicBezTo>
                        <a:pt x="-26151" y="55543"/>
                        <a:pt x="7792" y="18514"/>
                        <a:pt x="81849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5" name="任意多边形: 形状 104">
                  <a:extLst>
                    <a:ext uri="{FF2B5EF4-FFF2-40B4-BE49-F238E27FC236}">
                      <a16:creationId xmlns:a16="http://schemas.microsoft.com/office/drawing/2014/main" id="{0804C0A8-33C9-47E6-B0B2-379B7ECD3BB3}"/>
                    </a:ext>
                  </a:extLst>
                </p:cNvPr>
                <p:cNvSpPr/>
                <p:nvPr/>
              </p:nvSpPr>
              <p:spPr>
                <a:xfrm>
                  <a:off x="13229756" y="2202134"/>
                  <a:ext cx="89337" cy="72218"/>
                </a:xfrm>
                <a:custGeom>
                  <a:avLst/>
                  <a:gdLst>
                    <a:gd name="connsiteX0" fmla="*/ 89337 w 89337"/>
                    <a:gd name="connsiteY0" fmla="*/ 72219 h 72218"/>
                    <a:gd name="connsiteX1" fmla="*/ 24538 w 89337"/>
                    <a:gd name="connsiteY1" fmla="*/ 1247 h 72218"/>
                    <a:gd name="connsiteX2" fmla="*/ 89337 w 89337"/>
                    <a:gd name="connsiteY2" fmla="*/ 72219 h 72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9337" h="72218">
                      <a:moveTo>
                        <a:pt x="89337" y="72219"/>
                      </a:moveTo>
                      <a:cubicBezTo>
                        <a:pt x="89337" y="72219"/>
                        <a:pt x="73909" y="-11095"/>
                        <a:pt x="24538" y="1247"/>
                      </a:cubicBezTo>
                      <a:cubicBezTo>
                        <a:pt x="-18663" y="16676"/>
                        <a:pt x="-9405" y="66047"/>
                        <a:pt x="89337" y="72219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6" name="任意多边形: 形状 105">
                  <a:extLst>
                    <a:ext uri="{FF2B5EF4-FFF2-40B4-BE49-F238E27FC236}">
                      <a16:creationId xmlns:a16="http://schemas.microsoft.com/office/drawing/2014/main" id="{1E97F28F-1B71-43F4-9777-20413D21A598}"/>
                    </a:ext>
                  </a:extLst>
                </p:cNvPr>
                <p:cNvSpPr/>
                <p:nvPr/>
              </p:nvSpPr>
              <p:spPr>
                <a:xfrm>
                  <a:off x="13302294" y="2247546"/>
                  <a:ext cx="59035" cy="59785"/>
                </a:xfrm>
                <a:custGeom>
                  <a:avLst/>
                  <a:gdLst>
                    <a:gd name="connsiteX0" fmla="*/ 4457 w 59035"/>
                    <a:gd name="connsiteY0" fmla="*/ 14464 h 59785"/>
                    <a:gd name="connsiteX1" fmla="*/ 44572 w 59035"/>
                    <a:gd name="connsiteY1" fmla="*/ 5207 h 59785"/>
                    <a:gd name="connsiteX2" fmla="*/ 53829 w 59035"/>
                    <a:gd name="connsiteY2" fmla="*/ 45321 h 59785"/>
                    <a:gd name="connsiteX3" fmla="*/ 13715 w 59035"/>
                    <a:gd name="connsiteY3" fmla="*/ 54579 h 59785"/>
                    <a:gd name="connsiteX4" fmla="*/ 4457 w 59035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35" h="59785">
                      <a:moveTo>
                        <a:pt x="4457" y="14464"/>
                      </a:moveTo>
                      <a:cubicBezTo>
                        <a:pt x="13715" y="-964"/>
                        <a:pt x="32228" y="-4050"/>
                        <a:pt x="44572" y="5207"/>
                      </a:cubicBezTo>
                      <a:cubicBezTo>
                        <a:pt x="60000" y="14464"/>
                        <a:pt x="63085" y="32979"/>
                        <a:pt x="53829" y="45321"/>
                      </a:cubicBezTo>
                      <a:cubicBezTo>
                        <a:pt x="44572" y="60750"/>
                        <a:pt x="26057" y="63836"/>
                        <a:pt x="13715" y="54579"/>
                      </a:cubicBezTo>
                      <a:cubicBezTo>
                        <a:pt x="1371" y="48407"/>
                        <a:pt x="-4800" y="29893"/>
                        <a:pt x="4457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67" name="图形 1">
              <a:extLst>
                <a:ext uri="{FF2B5EF4-FFF2-40B4-BE49-F238E27FC236}">
                  <a16:creationId xmlns:a16="http://schemas.microsoft.com/office/drawing/2014/main" id="{39004437-1FAF-4F19-BA63-29FDEAEA6062}"/>
                </a:ext>
              </a:extLst>
            </p:cNvPr>
            <p:cNvGrpSpPr/>
            <p:nvPr/>
          </p:nvGrpSpPr>
          <p:grpSpPr>
            <a:xfrm>
              <a:off x="12988923" y="2871557"/>
              <a:ext cx="194399" cy="202338"/>
              <a:chOff x="12988923" y="2871557"/>
              <a:chExt cx="194399" cy="202338"/>
            </a:xfrm>
          </p:grpSpPr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7B3CDBC5-4DD5-44DE-B70A-13B40DB2FE88}"/>
                  </a:ext>
                </a:extLst>
              </p:cNvPr>
              <p:cNvSpPr/>
              <p:nvPr/>
            </p:nvSpPr>
            <p:spPr>
              <a:xfrm>
                <a:off x="12988923" y="2871557"/>
                <a:ext cx="165475" cy="73383"/>
              </a:xfrm>
              <a:custGeom>
                <a:avLst/>
                <a:gdLst>
                  <a:gd name="connsiteX0" fmla="*/ 12343 w 165475"/>
                  <a:gd name="connsiteY0" fmla="*/ 7596 h 73383"/>
                  <a:gd name="connsiteX1" fmla="*/ 114171 w 165475"/>
                  <a:gd name="connsiteY1" fmla="*/ 7596 h 73383"/>
                  <a:gd name="connsiteX2" fmla="*/ 129599 w 165475"/>
                  <a:gd name="connsiteY2" fmla="*/ 7596 h 73383"/>
                  <a:gd name="connsiteX3" fmla="*/ 145028 w 165475"/>
                  <a:gd name="connsiteY3" fmla="*/ 13767 h 73383"/>
                  <a:gd name="connsiteX4" fmla="*/ 163543 w 165475"/>
                  <a:gd name="connsiteY4" fmla="*/ 60053 h 73383"/>
                  <a:gd name="connsiteX5" fmla="*/ 117257 w 165475"/>
                  <a:gd name="connsiteY5" fmla="*/ 72396 h 73383"/>
                  <a:gd name="connsiteX6" fmla="*/ 49372 w 165475"/>
                  <a:gd name="connsiteY6" fmla="*/ 66224 h 73383"/>
                  <a:gd name="connsiteX7" fmla="*/ 3086 w 165475"/>
                  <a:gd name="connsiteY7" fmla="*/ 44624 h 73383"/>
                  <a:gd name="connsiteX8" fmla="*/ 12343 w 165475"/>
                  <a:gd name="connsiteY8" fmla="*/ 7596 h 73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5475" h="73383">
                    <a:moveTo>
                      <a:pt x="12343" y="7596"/>
                    </a:moveTo>
                    <a:cubicBezTo>
                      <a:pt x="40114" y="-7833"/>
                      <a:pt x="77143" y="4510"/>
                      <a:pt x="114171" y="7596"/>
                    </a:cubicBezTo>
                    <a:cubicBezTo>
                      <a:pt x="117257" y="7596"/>
                      <a:pt x="126515" y="4510"/>
                      <a:pt x="129599" y="7596"/>
                    </a:cubicBezTo>
                    <a:cubicBezTo>
                      <a:pt x="135771" y="7596"/>
                      <a:pt x="141943" y="10681"/>
                      <a:pt x="145028" y="13767"/>
                    </a:cubicBezTo>
                    <a:cubicBezTo>
                      <a:pt x="160457" y="23024"/>
                      <a:pt x="169714" y="44624"/>
                      <a:pt x="163543" y="60053"/>
                    </a:cubicBezTo>
                    <a:cubicBezTo>
                      <a:pt x="157372" y="78567"/>
                      <a:pt x="132685" y="72396"/>
                      <a:pt x="117257" y="72396"/>
                    </a:cubicBezTo>
                    <a:cubicBezTo>
                      <a:pt x="95657" y="72396"/>
                      <a:pt x="74057" y="69310"/>
                      <a:pt x="49372" y="66224"/>
                    </a:cubicBezTo>
                    <a:cubicBezTo>
                      <a:pt x="33943" y="63139"/>
                      <a:pt x="15429" y="63139"/>
                      <a:pt x="3086" y="44624"/>
                    </a:cubicBezTo>
                    <a:cubicBezTo>
                      <a:pt x="-3086" y="32281"/>
                      <a:pt x="0" y="13767"/>
                      <a:pt x="12343" y="759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07A14D89-3250-44D6-8591-520D27D44897}"/>
                  </a:ext>
                </a:extLst>
              </p:cNvPr>
              <p:cNvSpPr/>
              <p:nvPr/>
            </p:nvSpPr>
            <p:spPr>
              <a:xfrm>
                <a:off x="13009029" y="2918962"/>
                <a:ext cx="166969" cy="78435"/>
              </a:xfrm>
              <a:custGeom>
                <a:avLst/>
                <a:gdLst>
                  <a:gd name="connsiteX0" fmla="*/ 10751 w 166969"/>
                  <a:gd name="connsiteY0" fmla="*/ 12648 h 78435"/>
                  <a:gd name="connsiteX1" fmla="*/ 121837 w 166969"/>
                  <a:gd name="connsiteY1" fmla="*/ 9562 h 78435"/>
                  <a:gd name="connsiteX2" fmla="*/ 131094 w 166969"/>
                  <a:gd name="connsiteY2" fmla="*/ 12648 h 78435"/>
                  <a:gd name="connsiteX3" fmla="*/ 146522 w 166969"/>
                  <a:gd name="connsiteY3" fmla="*/ 18820 h 78435"/>
                  <a:gd name="connsiteX4" fmla="*/ 165037 w 166969"/>
                  <a:gd name="connsiteY4" fmla="*/ 65105 h 78435"/>
                  <a:gd name="connsiteX5" fmla="*/ 118751 w 166969"/>
                  <a:gd name="connsiteY5" fmla="*/ 77448 h 78435"/>
                  <a:gd name="connsiteX6" fmla="*/ 50865 w 166969"/>
                  <a:gd name="connsiteY6" fmla="*/ 71277 h 78435"/>
                  <a:gd name="connsiteX7" fmla="*/ 4579 w 166969"/>
                  <a:gd name="connsiteY7" fmla="*/ 49677 h 78435"/>
                  <a:gd name="connsiteX8" fmla="*/ 10751 w 166969"/>
                  <a:gd name="connsiteY8" fmla="*/ 12648 h 78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6969" h="78435">
                    <a:moveTo>
                      <a:pt x="10751" y="12648"/>
                    </a:moveTo>
                    <a:cubicBezTo>
                      <a:pt x="41608" y="-12038"/>
                      <a:pt x="84808" y="6477"/>
                      <a:pt x="121837" y="9562"/>
                    </a:cubicBezTo>
                    <a:cubicBezTo>
                      <a:pt x="124922" y="9562"/>
                      <a:pt x="128008" y="9562"/>
                      <a:pt x="131094" y="12648"/>
                    </a:cubicBezTo>
                    <a:cubicBezTo>
                      <a:pt x="137265" y="12648"/>
                      <a:pt x="143436" y="15734"/>
                      <a:pt x="146522" y="18820"/>
                    </a:cubicBezTo>
                    <a:cubicBezTo>
                      <a:pt x="161951" y="28077"/>
                      <a:pt x="171208" y="49677"/>
                      <a:pt x="165037" y="65105"/>
                    </a:cubicBezTo>
                    <a:cubicBezTo>
                      <a:pt x="158865" y="83620"/>
                      <a:pt x="134180" y="77448"/>
                      <a:pt x="118751" y="77448"/>
                    </a:cubicBezTo>
                    <a:cubicBezTo>
                      <a:pt x="97151" y="77448"/>
                      <a:pt x="75551" y="74363"/>
                      <a:pt x="50865" y="71277"/>
                    </a:cubicBezTo>
                    <a:cubicBezTo>
                      <a:pt x="35436" y="68191"/>
                      <a:pt x="16922" y="68191"/>
                      <a:pt x="4579" y="49677"/>
                    </a:cubicBezTo>
                    <a:cubicBezTo>
                      <a:pt x="-4678" y="37334"/>
                      <a:pt x="1493" y="21905"/>
                      <a:pt x="10751" y="12648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966680CC-D4D8-4977-AAB9-054265DBE586}"/>
                  </a:ext>
                </a:extLst>
              </p:cNvPr>
              <p:cNvSpPr/>
              <p:nvPr/>
            </p:nvSpPr>
            <p:spPr>
              <a:xfrm>
                <a:off x="13022125" y="2972557"/>
                <a:ext cx="147733" cy="67304"/>
              </a:xfrm>
              <a:custGeom>
                <a:avLst/>
                <a:gdLst>
                  <a:gd name="connsiteX0" fmla="*/ 9998 w 147733"/>
                  <a:gd name="connsiteY0" fmla="*/ 11510 h 67304"/>
                  <a:gd name="connsiteX1" fmla="*/ 108741 w 147733"/>
                  <a:gd name="connsiteY1" fmla="*/ 5339 h 67304"/>
                  <a:gd name="connsiteX2" fmla="*/ 114912 w 147733"/>
                  <a:gd name="connsiteY2" fmla="*/ 8424 h 67304"/>
                  <a:gd name="connsiteX3" fmla="*/ 130340 w 147733"/>
                  <a:gd name="connsiteY3" fmla="*/ 14596 h 67304"/>
                  <a:gd name="connsiteX4" fmla="*/ 145769 w 147733"/>
                  <a:gd name="connsiteY4" fmla="*/ 54710 h 67304"/>
                  <a:gd name="connsiteX5" fmla="*/ 105655 w 147733"/>
                  <a:gd name="connsiteY5" fmla="*/ 67053 h 67304"/>
                  <a:gd name="connsiteX6" fmla="*/ 47027 w 147733"/>
                  <a:gd name="connsiteY6" fmla="*/ 63967 h 67304"/>
                  <a:gd name="connsiteX7" fmla="*/ 6912 w 147733"/>
                  <a:gd name="connsiteY7" fmla="*/ 48539 h 67304"/>
                  <a:gd name="connsiteX8" fmla="*/ 9998 w 147733"/>
                  <a:gd name="connsiteY8" fmla="*/ 11510 h 67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7733" h="67304">
                    <a:moveTo>
                      <a:pt x="9998" y="11510"/>
                    </a:moveTo>
                    <a:cubicBezTo>
                      <a:pt x="37769" y="-10090"/>
                      <a:pt x="74798" y="5339"/>
                      <a:pt x="108741" y="5339"/>
                    </a:cubicBezTo>
                    <a:cubicBezTo>
                      <a:pt x="111826" y="5339"/>
                      <a:pt x="114912" y="5339"/>
                      <a:pt x="114912" y="8424"/>
                    </a:cubicBezTo>
                    <a:cubicBezTo>
                      <a:pt x="121084" y="8424"/>
                      <a:pt x="124169" y="11510"/>
                      <a:pt x="130340" y="14596"/>
                    </a:cubicBezTo>
                    <a:cubicBezTo>
                      <a:pt x="142683" y="23853"/>
                      <a:pt x="151941" y="39281"/>
                      <a:pt x="145769" y="54710"/>
                    </a:cubicBezTo>
                    <a:cubicBezTo>
                      <a:pt x="139598" y="70139"/>
                      <a:pt x="117998" y="67053"/>
                      <a:pt x="105655" y="67053"/>
                    </a:cubicBezTo>
                    <a:cubicBezTo>
                      <a:pt x="87141" y="67053"/>
                      <a:pt x="65540" y="63967"/>
                      <a:pt x="47027" y="63967"/>
                    </a:cubicBezTo>
                    <a:cubicBezTo>
                      <a:pt x="34683" y="60881"/>
                      <a:pt x="16169" y="60881"/>
                      <a:pt x="6912" y="48539"/>
                    </a:cubicBezTo>
                    <a:cubicBezTo>
                      <a:pt x="-5431" y="30024"/>
                      <a:pt x="741" y="17681"/>
                      <a:pt x="9998" y="1151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6BA80976-E1B2-4484-B718-802B3E562B23}"/>
                  </a:ext>
                </a:extLst>
              </p:cNvPr>
              <p:cNvSpPr/>
              <p:nvPr/>
            </p:nvSpPr>
            <p:spPr>
              <a:xfrm>
                <a:off x="13038294" y="3021689"/>
                <a:ext cx="107398" cy="52206"/>
              </a:xfrm>
              <a:custGeom>
                <a:avLst/>
                <a:gdLst>
                  <a:gd name="connsiteX0" fmla="*/ 9257 w 107398"/>
                  <a:gd name="connsiteY0" fmla="*/ 8664 h 52206"/>
                  <a:gd name="connsiteX1" fmla="*/ 80228 w 107398"/>
                  <a:gd name="connsiteY1" fmla="*/ 5578 h 52206"/>
                  <a:gd name="connsiteX2" fmla="*/ 86400 w 107398"/>
                  <a:gd name="connsiteY2" fmla="*/ 8664 h 52206"/>
                  <a:gd name="connsiteX3" fmla="*/ 95656 w 107398"/>
                  <a:gd name="connsiteY3" fmla="*/ 11749 h 52206"/>
                  <a:gd name="connsiteX4" fmla="*/ 104914 w 107398"/>
                  <a:gd name="connsiteY4" fmla="*/ 42607 h 52206"/>
                  <a:gd name="connsiteX5" fmla="*/ 74057 w 107398"/>
                  <a:gd name="connsiteY5" fmla="*/ 51864 h 52206"/>
                  <a:gd name="connsiteX6" fmla="*/ 30857 w 107398"/>
                  <a:gd name="connsiteY6" fmla="*/ 48778 h 52206"/>
                  <a:gd name="connsiteX7" fmla="*/ 0 w 107398"/>
                  <a:gd name="connsiteY7" fmla="*/ 36435 h 52206"/>
                  <a:gd name="connsiteX8" fmla="*/ 9257 w 107398"/>
                  <a:gd name="connsiteY8" fmla="*/ 8664 h 52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398" h="52206">
                    <a:moveTo>
                      <a:pt x="9257" y="8664"/>
                    </a:moveTo>
                    <a:cubicBezTo>
                      <a:pt x="30857" y="-6765"/>
                      <a:pt x="55542" y="2492"/>
                      <a:pt x="80228" y="5578"/>
                    </a:cubicBezTo>
                    <a:cubicBezTo>
                      <a:pt x="83314" y="5578"/>
                      <a:pt x="83314" y="5578"/>
                      <a:pt x="86400" y="8664"/>
                    </a:cubicBezTo>
                    <a:cubicBezTo>
                      <a:pt x="89486" y="8664"/>
                      <a:pt x="92571" y="11749"/>
                      <a:pt x="95656" y="11749"/>
                    </a:cubicBezTo>
                    <a:cubicBezTo>
                      <a:pt x="104914" y="17921"/>
                      <a:pt x="111085" y="30264"/>
                      <a:pt x="104914" y="42607"/>
                    </a:cubicBezTo>
                    <a:cubicBezTo>
                      <a:pt x="98742" y="54949"/>
                      <a:pt x="83314" y="51864"/>
                      <a:pt x="74057" y="51864"/>
                    </a:cubicBezTo>
                    <a:cubicBezTo>
                      <a:pt x="58628" y="51864"/>
                      <a:pt x="46286" y="51864"/>
                      <a:pt x="30857" y="48778"/>
                    </a:cubicBezTo>
                    <a:cubicBezTo>
                      <a:pt x="21599" y="48778"/>
                      <a:pt x="9257" y="48778"/>
                      <a:pt x="0" y="36435"/>
                    </a:cubicBezTo>
                    <a:cubicBezTo>
                      <a:pt x="0" y="24092"/>
                      <a:pt x="3085" y="14835"/>
                      <a:pt x="9257" y="866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CA48E000-209C-49C2-A884-E869016634B7}"/>
                  </a:ext>
                </a:extLst>
              </p:cNvPr>
              <p:cNvSpPr/>
              <p:nvPr/>
            </p:nvSpPr>
            <p:spPr>
              <a:xfrm>
                <a:off x="13003073" y="2872982"/>
                <a:ext cx="180249" cy="129600"/>
              </a:xfrm>
              <a:custGeom>
                <a:avLst/>
                <a:gdLst>
                  <a:gd name="connsiteX0" fmla="*/ 133964 w 180249"/>
                  <a:gd name="connsiteY0" fmla="*/ 129600 h 129600"/>
                  <a:gd name="connsiteX1" fmla="*/ 109278 w 180249"/>
                  <a:gd name="connsiteY1" fmla="*/ 129600 h 129600"/>
                  <a:gd name="connsiteX2" fmla="*/ 1278 w 180249"/>
                  <a:gd name="connsiteY2" fmla="*/ 83314 h 129600"/>
                  <a:gd name="connsiteX3" fmla="*/ 4364 w 180249"/>
                  <a:gd name="connsiteY3" fmla="*/ 58629 h 129600"/>
                  <a:gd name="connsiteX4" fmla="*/ 19793 w 180249"/>
                  <a:gd name="connsiteY4" fmla="*/ 55543 h 129600"/>
                  <a:gd name="connsiteX5" fmla="*/ 140135 w 180249"/>
                  <a:gd name="connsiteY5" fmla="*/ 61714 h 129600"/>
                  <a:gd name="connsiteX6" fmla="*/ 146306 w 180249"/>
                  <a:gd name="connsiteY6" fmla="*/ 46286 h 129600"/>
                  <a:gd name="connsiteX7" fmla="*/ 143221 w 180249"/>
                  <a:gd name="connsiteY7" fmla="*/ 33943 h 129600"/>
                  <a:gd name="connsiteX8" fmla="*/ 38306 w 180249"/>
                  <a:gd name="connsiteY8" fmla="*/ 12343 h 129600"/>
                  <a:gd name="connsiteX9" fmla="*/ 38306 w 180249"/>
                  <a:gd name="connsiteY9" fmla="*/ 12343 h 129600"/>
                  <a:gd name="connsiteX10" fmla="*/ 32135 w 180249"/>
                  <a:gd name="connsiteY10" fmla="*/ 6171 h 129600"/>
                  <a:gd name="connsiteX11" fmla="*/ 38306 w 180249"/>
                  <a:gd name="connsiteY11" fmla="*/ 0 h 129600"/>
                  <a:gd name="connsiteX12" fmla="*/ 152478 w 180249"/>
                  <a:gd name="connsiteY12" fmla="*/ 24686 h 129600"/>
                  <a:gd name="connsiteX13" fmla="*/ 158650 w 180249"/>
                  <a:gd name="connsiteY13" fmla="*/ 46286 h 129600"/>
                  <a:gd name="connsiteX14" fmla="*/ 155564 w 180249"/>
                  <a:gd name="connsiteY14" fmla="*/ 61714 h 129600"/>
                  <a:gd name="connsiteX15" fmla="*/ 155564 w 180249"/>
                  <a:gd name="connsiteY15" fmla="*/ 61714 h 129600"/>
                  <a:gd name="connsiteX16" fmla="*/ 180249 w 180249"/>
                  <a:gd name="connsiteY16" fmla="*/ 108000 h 129600"/>
                  <a:gd name="connsiteX17" fmla="*/ 133964 w 180249"/>
                  <a:gd name="connsiteY17" fmla="*/ 129600 h 129600"/>
                  <a:gd name="connsiteX18" fmla="*/ 16707 w 180249"/>
                  <a:gd name="connsiteY18" fmla="*/ 64800 h 129600"/>
                  <a:gd name="connsiteX19" fmla="*/ 13621 w 180249"/>
                  <a:gd name="connsiteY19" fmla="*/ 64800 h 129600"/>
                  <a:gd name="connsiteX20" fmla="*/ 13621 w 180249"/>
                  <a:gd name="connsiteY20" fmla="*/ 77143 h 129600"/>
                  <a:gd name="connsiteX21" fmla="*/ 112364 w 180249"/>
                  <a:gd name="connsiteY21" fmla="*/ 114171 h 129600"/>
                  <a:gd name="connsiteX22" fmla="*/ 170993 w 180249"/>
                  <a:gd name="connsiteY22" fmla="*/ 101829 h 129600"/>
                  <a:gd name="connsiteX23" fmla="*/ 152478 w 180249"/>
                  <a:gd name="connsiteY23" fmla="*/ 64800 h 129600"/>
                  <a:gd name="connsiteX24" fmla="*/ 152478 w 180249"/>
                  <a:gd name="connsiteY24" fmla="*/ 64800 h 129600"/>
                  <a:gd name="connsiteX25" fmla="*/ 16707 w 180249"/>
                  <a:gd name="connsiteY25" fmla="*/ 64800 h 12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80249" h="129600">
                    <a:moveTo>
                      <a:pt x="133964" y="129600"/>
                    </a:moveTo>
                    <a:cubicBezTo>
                      <a:pt x="124707" y="129600"/>
                      <a:pt x="118535" y="129600"/>
                      <a:pt x="109278" y="129600"/>
                    </a:cubicBezTo>
                    <a:cubicBezTo>
                      <a:pt x="62993" y="126514"/>
                      <a:pt x="7449" y="117257"/>
                      <a:pt x="1278" y="83314"/>
                    </a:cubicBezTo>
                    <a:cubicBezTo>
                      <a:pt x="-1808" y="70971"/>
                      <a:pt x="1278" y="64800"/>
                      <a:pt x="4364" y="58629"/>
                    </a:cubicBezTo>
                    <a:cubicBezTo>
                      <a:pt x="10535" y="52457"/>
                      <a:pt x="16707" y="55543"/>
                      <a:pt x="19793" y="55543"/>
                    </a:cubicBezTo>
                    <a:cubicBezTo>
                      <a:pt x="84592" y="70971"/>
                      <a:pt x="127793" y="70971"/>
                      <a:pt x="140135" y="61714"/>
                    </a:cubicBezTo>
                    <a:cubicBezTo>
                      <a:pt x="146306" y="58629"/>
                      <a:pt x="146306" y="52457"/>
                      <a:pt x="146306" y="46286"/>
                    </a:cubicBezTo>
                    <a:cubicBezTo>
                      <a:pt x="146306" y="43200"/>
                      <a:pt x="146306" y="37029"/>
                      <a:pt x="143221" y="33943"/>
                    </a:cubicBezTo>
                    <a:cubicBezTo>
                      <a:pt x="124707" y="15429"/>
                      <a:pt x="59907" y="12343"/>
                      <a:pt x="38306" y="12343"/>
                    </a:cubicBezTo>
                    <a:cubicBezTo>
                      <a:pt x="38306" y="12343"/>
                      <a:pt x="38306" y="12343"/>
                      <a:pt x="38306" y="12343"/>
                    </a:cubicBezTo>
                    <a:cubicBezTo>
                      <a:pt x="35221" y="12343"/>
                      <a:pt x="32135" y="9257"/>
                      <a:pt x="32135" y="6171"/>
                    </a:cubicBezTo>
                    <a:cubicBezTo>
                      <a:pt x="32135" y="3086"/>
                      <a:pt x="35221" y="0"/>
                      <a:pt x="38306" y="0"/>
                    </a:cubicBezTo>
                    <a:cubicBezTo>
                      <a:pt x="41392" y="0"/>
                      <a:pt x="127793" y="0"/>
                      <a:pt x="152478" y="24686"/>
                    </a:cubicBezTo>
                    <a:cubicBezTo>
                      <a:pt x="158650" y="30857"/>
                      <a:pt x="161735" y="37029"/>
                      <a:pt x="158650" y="46286"/>
                    </a:cubicBezTo>
                    <a:cubicBezTo>
                      <a:pt x="158650" y="49371"/>
                      <a:pt x="158650" y="55543"/>
                      <a:pt x="155564" y="61714"/>
                    </a:cubicBezTo>
                    <a:cubicBezTo>
                      <a:pt x="155564" y="61714"/>
                      <a:pt x="155564" y="61714"/>
                      <a:pt x="155564" y="61714"/>
                    </a:cubicBezTo>
                    <a:cubicBezTo>
                      <a:pt x="155564" y="61714"/>
                      <a:pt x="180249" y="86400"/>
                      <a:pt x="180249" y="108000"/>
                    </a:cubicBezTo>
                    <a:cubicBezTo>
                      <a:pt x="177163" y="123429"/>
                      <a:pt x="158650" y="129600"/>
                      <a:pt x="133964" y="129600"/>
                    </a:cubicBezTo>
                    <a:close/>
                    <a:moveTo>
                      <a:pt x="16707" y="64800"/>
                    </a:moveTo>
                    <a:cubicBezTo>
                      <a:pt x="16707" y="64800"/>
                      <a:pt x="13621" y="64800"/>
                      <a:pt x="13621" y="64800"/>
                    </a:cubicBezTo>
                    <a:cubicBezTo>
                      <a:pt x="13621" y="64800"/>
                      <a:pt x="10535" y="67886"/>
                      <a:pt x="13621" y="77143"/>
                    </a:cubicBezTo>
                    <a:cubicBezTo>
                      <a:pt x="16707" y="98743"/>
                      <a:pt x="53735" y="111086"/>
                      <a:pt x="112364" y="114171"/>
                    </a:cubicBezTo>
                    <a:cubicBezTo>
                      <a:pt x="155564" y="117257"/>
                      <a:pt x="170993" y="114171"/>
                      <a:pt x="170993" y="101829"/>
                    </a:cubicBezTo>
                    <a:cubicBezTo>
                      <a:pt x="170993" y="89486"/>
                      <a:pt x="158650" y="70971"/>
                      <a:pt x="152478" y="64800"/>
                    </a:cubicBezTo>
                    <a:cubicBezTo>
                      <a:pt x="152478" y="64800"/>
                      <a:pt x="152478" y="64800"/>
                      <a:pt x="152478" y="64800"/>
                    </a:cubicBezTo>
                    <a:cubicBezTo>
                      <a:pt x="133964" y="74057"/>
                      <a:pt x="109278" y="83314"/>
                      <a:pt x="16707" y="648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18126AB0-4DCF-4880-9069-423771C62B2A}"/>
                  </a:ext>
                </a:extLst>
              </p:cNvPr>
              <p:cNvSpPr/>
              <p:nvPr/>
            </p:nvSpPr>
            <p:spPr>
              <a:xfrm>
                <a:off x="13016694" y="2976618"/>
                <a:ext cx="157728" cy="69163"/>
              </a:xfrm>
              <a:custGeom>
                <a:avLst/>
                <a:gdLst>
                  <a:gd name="connsiteX0" fmla="*/ 101828 w 157728"/>
                  <a:gd name="connsiteY0" fmla="*/ 69164 h 69163"/>
                  <a:gd name="connsiteX1" fmla="*/ 12343 w 157728"/>
                  <a:gd name="connsiteY1" fmla="*/ 53735 h 69163"/>
                  <a:gd name="connsiteX2" fmla="*/ 0 w 157728"/>
                  <a:gd name="connsiteY2" fmla="*/ 32135 h 69163"/>
                  <a:gd name="connsiteX3" fmla="*/ 12343 w 157728"/>
                  <a:gd name="connsiteY3" fmla="*/ 1278 h 69163"/>
                  <a:gd name="connsiteX4" fmla="*/ 21600 w 157728"/>
                  <a:gd name="connsiteY4" fmla="*/ 4364 h 69163"/>
                  <a:gd name="connsiteX5" fmla="*/ 18514 w 157728"/>
                  <a:gd name="connsiteY5" fmla="*/ 13621 h 69163"/>
                  <a:gd name="connsiteX6" fmla="*/ 12343 w 157728"/>
                  <a:gd name="connsiteY6" fmla="*/ 32135 h 69163"/>
                  <a:gd name="connsiteX7" fmla="*/ 18514 w 157728"/>
                  <a:gd name="connsiteY7" fmla="*/ 44478 h 69163"/>
                  <a:gd name="connsiteX8" fmla="*/ 123429 w 157728"/>
                  <a:gd name="connsiteY8" fmla="*/ 56821 h 69163"/>
                  <a:gd name="connsiteX9" fmla="*/ 141943 w 157728"/>
                  <a:gd name="connsiteY9" fmla="*/ 47564 h 69163"/>
                  <a:gd name="connsiteX10" fmla="*/ 138857 w 157728"/>
                  <a:gd name="connsiteY10" fmla="*/ 19792 h 69163"/>
                  <a:gd name="connsiteX11" fmla="*/ 141943 w 157728"/>
                  <a:gd name="connsiteY11" fmla="*/ 10535 h 69163"/>
                  <a:gd name="connsiteX12" fmla="*/ 151200 w 157728"/>
                  <a:gd name="connsiteY12" fmla="*/ 13621 h 69163"/>
                  <a:gd name="connsiteX13" fmla="*/ 154286 w 157728"/>
                  <a:gd name="connsiteY13" fmla="*/ 50650 h 69163"/>
                  <a:gd name="connsiteX14" fmla="*/ 126514 w 157728"/>
                  <a:gd name="connsiteY14" fmla="*/ 66078 h 69163"/>
                  <a:gd name="connsiteX15" fmla="*/ 101828 w 157728"/>
                  <a:gd name="connsiteY15" fmla="*/ 69164 h 69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7728" h="69163">
                    <a:moveTo>
                      <a:pt x="101828" y="69164"/>
                    </a:moveTo>
                    <a:cubicBezTo>
                      <a:pt x="61714" y="69164"/>
                      <a:pt x="24685" y="59907"/>
                      <a:pt x="12343" y="53735"/>
                    </a:cubicBezTo>
                    <a:cubicBezTo>
                      <a:pt x="6172" y="50650"/>
                      <a:pt x="0" y="41392"/>
                      <a:pt x="0" y="32135"/>
                    </a:cubicBezTo>
                    <a:cubicBezTo>
                      <a:pt x="0" y="19792"/>
                      <a:pt x="3086" y="7450"/>
                      <a:pt x="12343" y="1278"/>
                    </a:cubicBezTo>
                    <a:cubicBezTo>
                      <a:pt x="15429" y="-1808"/>
                      <a:pt x="18514" y="1278"/>
                      <a:pt x="21600" y="4364"/>
                    </a:cubicBezTo>
                    <a:cubicBezTo>
                      <a:pt x="24685" y="7450"/>
                      <a:pt x="21600" y="10535"/>
                      <a:pt x="18514" y="13621"/>
                    </a:cubicBezTo>
                    <a:cubicBezTo>
                      <a:pt x="15429" y="13621"/>
                      <a:pt x="12343" y="22878"/>
                      <a:pt x="12343" y="32135"/>
                    </a:cubicBezTo>
                    <a:cubicBezTo>
                      <a:pt x="12343" y="35221"/>
                      <a:pt x="12343" y="41392"/>
                      <a:pt x="18514" y="44478"/>
                    </a:cubicBezTo>
                    <a:cubicBezTo>
                      <a:pt x="33943" y="50650"/>
                      <a:pt x="83315" y="62992"/>
                      <a:pt x="123429" y="56821"/>
                    </a:cubicBezTo>
                    <a:cubicBezTo>
                      <a:pt x="132685" y="56821"/>
                      <a:pt x="138857" y="53735"/>
                      <a:pt x="141943" y="47564"/>
                    </a:cubicBezTo>
                    <a:cubicBezTo>
                      <a:pt x="148114" y="38307"/>
                      <a:pt x="138857" y="19792"/>
                      <a:pt x="138857" y="19792"/>
                    </a:cubicBezTo>
                    <a:cubicBezTo>
                      <a:pt x="138857" y="16707"/>
                      <a:pt x="138857" y="13621"/>
                      <a:pt x="141943" y="10535"/>
                    </a:cubicBezTo>
                    <a:cubicBezTo>
                      <a:pt x="145029" y="10535"/>
                      <a:pt x="148114" y="10535"/>
                      <a:pt x="151200" y="13621"/>
                    </a:cubicBezTo>
                    <a:cubicBezTo>
                      <a:pt x="151200" y="13621"/>
                      <a:pt x="163542" y="35221"/>
                      <a:pt x="154286" y="50650"/>
                    </a:cubicBezTo>
                    <a:cubicBezTo>
                      <a:pt x="148114" y="59907"/>
                      <a:pt x="138857" y="66078"/>
                      <a:pt x="126514" y="66078"/>
                    </a:cubicBezTo>
                    <a:cubicBezTo>
                      <a:pt x="117257" y="69164"/>
                      <a:pt x="111086" y="69164"/>
                      <a:pt x="101828" y="6916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8" name="图形 1">
              <a:extLst>
                <a:ext uri="{FF2B5EF4-FFF2-40B4-BE49-F238E27FC236}">
                  <a16:creationId xmlns:a16="http://schemas.microsoft.com/office/drawing/2014/main" id="{17A0B0C8-6E43-4128-A9C5-E442E1317ADD}"/>
                </a:ext>
              </a:extLst>
            </p:cNvPr>
            <p:cNvGrpSpPr/>
            <p:nvPr/>
          </p:nvGrpSpPr>
          <p:grpSpPr>
            <a:xfrm>
              <a:off x="13090751" y="2901928"/>
              <a:ext cx="165857" cy="131511"/>
              <a:chOff x="13090751" y="2901928"/>
              <a:chExt cx="165857" cy="131511"/>
            </a:xfrm>
          </p:grpSpPr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6A6B7266-AA9F-43FD-AD75-56FD52C60DEB}"/>
                  </a:ext>
                </a:extLst>
              </p:cNvPr>
              <p:cNvSpPr/>
              <p:nvPr/>
            </p:nvSpPr>
            <p:spPr>
              <a:xfrm>
                <a:off x="13099393" y="2904787"/>
                <a:ext cx="154792" cy="116406"/>
              </a:xfrm>
              <a:custGeom>
                <a:avLst/>
                <a:gdLst>
                  <a:gd name="connsiteX0" fmla="*/ 3700 w 154792"/>
                  <a:gd name="connsiteY0" fmla="*/ 85452 h 116406"/>
                  <a:gd name="connsiteX1" fmla="*/ 31472 w 154792"/>
                  <a:gd name="connsiteY1" fmla="*/ 73109 h 116406"/>
                  <a:gd name="connsiteX2" fmla="*/ 96272 w 154792"/>
                  <a:gd name="connsiteY2" fmla="*/ 73109 h 116406"/>
                  <a:gd name="connsiteX3" fmla="*/ 142557 w 154792"/>
                  <a:gd name="connsiteY3" fmla="*/ 116309 h 116406"/>
                  <a:gd name="connsiteX4" fmla="*/ 148729 w 154792"/>
                  <a:gd name="connsiteY4" fmla="*/ 32994 h 116406"/>
                  <a:gd name="connsiteX5" fmla="*/ 37643 w 154792"/>
                  <a:gd name="connsiteY5" fmla="*/ 5223 h 116406"/>
                  <a:gd name="connsiteX6" fmla="*/ 3700 w 154792"/>
                  <a:gd name="connsiteY6" fmla="*/ 85452 h 116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792" h="116406">
                    <a:moveTo>
                      <a:pt x="3700" y="85452"/>
                    </a:moveTo>
                    <a:cubicBezTo>
                      <a:pt x="9872" y="94709"/>
                      <a:pt x="22215" y="76195"/>
                      <a:pt x="31472" y="73109"/>
                    </a:cubicBezTo>
                    <a:cubicBezTo>
                      <a:pt x="56158" y="63852"/>
                      <a:pt x="74672" y="60766"/>
                      <a:pt x="96272" y="73109"/>
                    </a:cubicBezTo>
                    <a:cubicBezTo>
                      <a:pt x="108615" y="79280"/>
                      <a:pt x="133300" y="107052"/>
                      <a:pt x="142557" y="116309"/>
                    </a:cubicBezTo>
                    <a:cubicBezTo>
                      <a:pt x="145643" y="119395"/>
                      <a:pt x="164158" y="48423"/>
                      <a:pt x="148729" y="32994"/>
                    </a:cubicBezTo>
                    <a:cubicBezTo>
                      <a:pt x="124044" y="11395"/>
                      <a:pt x="71586" y="-10205"/>
                      <a:pt x="37643" y="5223"/>
                    </a:cubicBezTo>
                    <a:cubicBezTo>
                      <a:pt x="25300" y="17566"/>
                      <a:pt x="-11728" y="66937"/>
                      <a:pt x="3700" y="8545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0F3CFEFF-47E4-4A8D-B61A-36C41C98F028}"/>
                  </a:ext>
                </a:extLst>
              </p:cNvPr>
              <p:cNvSpPr/>
              <p:nvPr/>
            </p:nvSpPr>
            <p:spPr>
              <a:xfrm>
                <a:off x="13090751" y="2901928"/>
                <a:ext cx="165857" cy="131511"/>
              </a:xfrm>
              <a:custGeom>
                <a:avLst/>
                <a:gdLst>
                  <a:gd name="connsiteX0" fmla="*/ 120343 w 165857"/>
                  <a:gd name="connsiteY0" fmla="*/ 131511 h 131511"/>
                  <a:gd name="connsiteX1" fmla="*/ 117258 w 165857"/>
                  <a:gd name="connsiteY1" fmla="*/ 131511 h 131511"/>
                  <a:gd name="connsiteX2" fmla="*/ 101829 w 165857"/>
                  <a:gd name="connsiteY2" fmla="*/ 82140 h 131511"/>
                  <a:gd name="connsiteX3" fmla="*/ 40115 w 165857"/>
                  <a:gd name="connsiteY3" fmla="*/ 88311 h 131511"/>
                  <a:gd name="connsiteX4" fmla="*/ 9258 w 165857"/>
                  <a:gd name="connsiteY4" fmla="*/ 94483 h 131511"/>
                  <a:gd name="connsiteX5" fmla="*/ 0 w 165857"/>
                  <a:gd name="connsiteY5" fmla="*/ 79054 h 131511"/>
                  <a:gd name="connsiteX6" fmla="*/ 46286 w 165857"/>
                  <a:gd name="connsiteY6" fmla="*/ 8083 h 131511"/>
                  <a:gd name="connsiteX7" fmla="*/ 163543 w 165857"/>
                  <a:gd name="connsiteY7" fmla="*/ 35854 h 131511"/>
                  <a:gd name="connsiteX8" fmla="*/ 163543 w 165857"/>
                  <a:gd name="connsiteY8" fmla="*/ 45111 h 131511"/>
                  <a:gd name="connsiteX9" fmla="*/ 154286 w 165857"/>
                  <a:gd name="connsiteY9" fmla="*/ 45111 h 131511"/>
                  <a:gd name="connsiteX10" fmla="*/ 52458 w 165857"/>
                  <a:gd name="connsiteY10" fmla="*/ 17340 h 131511"/>
                  <a:gd name="connsiteX11" fmla="*/ 12343 w 165857"/>
                  <a:gd name="connsiteY11" fmla="*/ 75968 h 131511"/>
                  <a:gd name="connsiteX12" fmla="*/ 15429 w 165857"/>
                  <a:gd name="connsiteY12" fmla="*/ 82140 h 131511"/>
                  <a:gd name="connsiteX13" fmla="*/ 37029 w 165857"/>
                  <a:gd name="connsiteY13" fmla="*/ 75968 h 131511"/>
                  <a:gd name="connsiteX14" fmla="*/ 111086 w 165857"/>
                  <a:gd name="connsiteY14" fmla="*/ 69797 h 131511"/>
                  <a:gd name="connsiteX15" fmla="*/ 114172 w 165857"/>
                  <a:gd name="connsiteY15" fmla="*/ 75968 h 131511"/>
                  <a:gd name="connsiteX16" fmla="*/ 126514 w 165857"/>
                  <a:gd name="connsiteY16" fmla="*/ 119168 h 131511"/>
                  <a:gd name="connsiteX17" fmla="*/ 126514 w 165857"/>
                  <a:gd name="connsiteY17" fmla="*/ 128425 h 131511"/>
                  <a:gd name="connsiteX18" fmla="*/ 120343 w 165857"/>
                  <a:gd name="connsiteY18" fmla="*/ 131511 h 13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5857" h="131511">
                    <a:moveTo>
                      <a:pt x="120343" y="131511"/>
                    </a:moveTo>
                    <a:cubicBezTo>
                      <a:pt x="120343" y="131511"/>
                      <a:pt x="117258" y="131511"/>
                      <a:pt x="117258" y="131511"/>
                    </a:cubicBezTo>
                    <a:cubicBezTo>
                      <a:pt x="101829" y="119168"/>
                      <a:pt x="101829" y="91397"/>
                      <a:pt x="101829" y="82140"/>
                    </a:cubicBezTo>
                    <a:cubicBezTo>
                      <a:pt x="77143" y="69797"/>
                      <a:pt x="58628" y="82140"/>
                      <a:pt x="40115" y="88311"/>
                    </a:cubicBezTo>
                    <a:cubicBezTo>
                      <a:pt x="27771" y="94483"/>
                      <a:pt x="18514" y="97568"/>
                      <a:pt x="9258" y="94483"/>
                    </a:cubicBezTo>
                    <a:cubicBezTo>
                      <a:pt x="3086" y="91397"/>
                      <a:pt x="0" y="85225"/>
                      <a:pt x="0" y="79054"/>
                    </a:cubicBezTo>
                    <a:cubicBezTo>
                      <a:pt x="0" y="60540"/>
                      <a:pt x="15429" y="29683"/>
                      <a:pt x="46286" y="8083"/>
                    </a:cubicBezTo>
                    <a:cubicBezTo>
                      <a:pt x="86401" y="-19689"/>
                      <a:pt x="160458" y="32768"/>
                      <a:pt x="163543" y="35854"/>
                    </a:cubicBezTo>
                    <a:cubicBezTo>
                      <a:pt x="166628" y="38940"/>
                      <a:pt x="166628" y="42025"/>
                      <a:pt x="163543" y="45111"/>
                    </a:cubicBezTo>
                    <a:cubicBezTo>
                      <a:pt x="160458" y="48197"/>
                      <a:pt x="157372" y="48197"/>
                      <a:pt x="154286" y="45111"/>
                    </a:cubicBezTo>
                    <a:cubicBezTo>
                      <a:pt x="154286" y="45111"/>
                      <a:pt x="86401" y="-4260"/>
                      <a:pt x="52458" y="17340"/>
                    </a:cubicBezTo>
                    <a:cubicBezTo>
                      <a:pt x="24686" y="35854"/>
                      <a:pt x="9258" y="63625"/>
                      <a:pt x="12343" y="75968"/>
                    </a:cubicBezTo>
                    <a:cubicBezTo>
                      <a:pt x="12343" y="82140"/>
                      <a:pt x="15429" y="82140"/>
                      <a:pt x="15429" y="82140"/>
                    </a:cubicBezTo>
                    <a:cubicBezTo>
                      <a:pt x="18514" y="85225"/>
                      <a:pt x="27771" y="79054"/>
                      <a:pt x="37029" y="75968"/>
                    </a:cubicBezTo>
                    <a:cubicBezTo>
                      <a:pt x="55543" y="66711"/>
                      <a:pt x="80229" y="54368"/>
                      <a:pt x="111086" y="69797"/>
                    </a:cubicBezTo>
                    <a:cubicBezTo>
                      <a:pt x="114172" y="69797"/>
                      <a:pt x="114172" y="72883"/>
                      <a:pt x="114172" y="75968"/>
                    </a:cubicBezTo>
                    <a:cubicBezTo>
                      <a:pt x="114172" y="75968"/>
                      <a:pt x="111086" y="106826"/>
                      <a:pt x="126514" y="119168"/>
                    </a:cubicBezTo>
                    <a:cubicBezTo>
                      <a:pt x="129600" y="122254"/>
                      <a:pt x="129600" y="125340"/>
                      <a:pt x="126514" y="128425"/>
                    </a:cubicBezTo>
                    <a:cubicBezTo>
                      <a:pt x="123429" y="131511"/>
                      <a:pt x="123429" y="131511"/>
                      <a:pt x="120343" y="13151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9" name="图形 1">
              <a:extLst>
                <a:ext uri="{FF2B5EF4-FFF2-40B4-BE49-F238E27FC236}">
                  <a16:creationId xmlns:a16="http://schemas.microsoft.com/office/drawing/2014/main" id="{DC97A58A-4344-4EED-B6C7-1ABBCBFC4CC8}"/>
                </a:ext>
              </a:extLst>
            </p:cNvPr>
            <p:cNvGrpSpPr/>
            <p:nvPr/>
          </p:nvGrpSpPr>
          <p:grpSpPr>
            <a:xfrm>
              <a:off x="11945098" y="3878153"/>
              <a:ext cx="278567" cy="226028"/>
              <a:chOff x="11945098" y="3878153"/>
              <a:chExt cx="278567" cy="226028"/>
            </a:xfrm>
          </p:grpSpPr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E22BA6AB-A4A1-4F65-87EB-74DD9AFA04EA}"/>
                  </a:ext>
                </a:extLst>
              </p:cNvPr>
              <p:cNvSpPr/>
              <p:nvPr/>
            </p:nvSpPr>
            <p:spPr>
              <a:xfrm>
                <a:off x="11945098" y="3878153"/>
                <a:ext cx="272588" cy="217290"/>
              </a:xfrm>
              <a:custGeom>
                <a:avLst/>
                <a:gdLst>
                  <a:gd name="connsiteX0" fmla="*/ 37882 w 272588"/>
                  <a:gd name="connsiteY0" fmla="*/ 10029 h 217290"/>
                  <a:gd name="connsiteX1" fmla="*/ 47138 w 272588"/>
                  <a:gd name="connsiteY1" fmla="*/ 3857 h 217290"/>
                  <a:gd name="connsiteX2" fmla="*/ 192167 w 272588"/>
                  <a:gd name="connsiteY2" fmla="*/ 19286 h 217290"/>
                  <a:gd name="connsiteX3" fmla="*/ 256968 w 272588"/>
                  <a:gd name="connsiteY3" fmla="*/ 90257 h 217290"/>
                  <a:gd name="connsiteX4" fmla="*/ 269310 w 272588"/>
                  <a:gd name="connsiteY4" fmla="*/ 124200 h 217290"/>
                  <a:gd name="connsiteX5" fmla="*/ 260054 w 272588"/>
                  <a:gd name="connsiteY5" fmla="*/ 130372 h 217290"/>
                  <a:gd name="connsiteX6" fmla="*/ 244625 w 272588"/>
                  <a:gd name="connsiteY6" fmla="*/ 124200 h 217290"/>
                  <a:gd name="connsiteX7" fmla="*/ 263138 w 272588"/>
                  <a:gd name="connsiteY7" fmla="*/ 164314 h 217290"/>
                  <a:gd name="connsiteX8" fmla="*/ 266224 w 272588"/>
                  <a:gd name="connsiteY8" fmla="*/ 198257 h 217290"/>
                  <a:gd name="connsiteX9" fmla="*/ 244625 w 272588"/>
                  <a:gd name="connsiteY9" fmla="*/ 204429 h 217290"/>
                  <a:gd name="connsiteX10" fmla="*/ 244625 w 272588"/>
                  <a:gd name="connsiteY10" fmla="*/ 204429 h 217290"/>
                  <a:gd name="connsiteX11" fmla="*/ 241539 w 272588"/>
                  <a:gd name="connsiteY11" fmla="*/ 213686 h 217290"/>
                  <a:gd name="connsiteX12" fmla="*/ 179825 w 272588"/>
                  <a:gd name="connsiteY12" fmla="*/ 182829 h 217290"/>
                  <a:gd name="connsiteX13" fmla="*/ 173653 w 272588"/>
                  <a:gd name="connsiteY13" fmla="*/ 204429 h 217290"/>
                  <a:gd name="connsiteX14" fmla="*/ 161310 w 272588"/>
                  <a:gd name="connsiteY14" fmla="*/ 207514 h 217290"/>
                  <a:gd name="connsiteX15" fmla="*/ 87253 w 272588"/>
                  <a:gd name="connsiteY15" fmla="*/ 139629 h 217290"/>
                  <a:gd name="connsiteX16" fmla="*/ 19367 w 272588"/>
                  <a:gd name="connsiteY16" fmla="*/ 114943 h 217290"/>
                  <a:gd name="connsiteX17" fmla="*/ 37882 w 272588"/>
                  <a:gd name="connsiteY17" fmla="*/ 10029 h 217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72588" h="217290">
                    <a:moveTo>
                      <a:pt x="37882" y="10029"/>
                    </a:moveTo>
                    <a:cubicBezTo>
                      <a:pt x="37882" y="6943"/>
                      <a:pt x="40968" y="3857"/>
                      <a:pt x="47138" y="3857"/>
                    </a:cubicBezTo>
                    <a:cubicBezTo>
                      <a:pt x="90339" y="3857"/>
                      <a:pt x="155138" y="-11571"/>
                      <a:pt x="192167" y="19286"/>
                    </a:cubicBezTo>
                    <a:cubicBezTo>
                      <a:pt x="216853" y="37800"/>
                      <a:pt x="238453" y="65571"/>
                      <a:pt x="256968" y="90257"/>
                    </a:cubicBezTo>
                    <a:cubicBezTo>
                      <a:pt x="266224" y="102600"/>
                      <a:pt x="278567" y="111857"/>
                      <a:pt x="269310" y="124200"/>
                    </a:cubicBezTo>
                    <a:cubicBezTo>
                      <a:pt x="269310" y="127286"/>
                      <a:pt x="266224" y="130372"/>
                      <a:pt x="260054" y="130372"/>
                    </a:cubicBezTo>
                    <a:cubicBezTo>
                      <a:pt x="253882" y="130372"/>
                      <a:pt x="247710" y="127286"/>
                      <a:pt x="244625" y="124200"/>
                    </a:cubicBezTo>
                    <a:cubicBezTo>
                      <a:pt x="250796" y="136543"/>
                      <a:pt x="260054" y="148886"/>
                      <a:pt x="263138" y="164314"/>
                    </a:cubicBezTo>
                    <a:cubicBezTo>
                      <a:pt x="269310" y="176657"/>
                      <a:pt x="275482" y="189000"/>
                      <a:pt x="266224" y="198257"/>
                    </a:cubicBezTo>
                    <a:cubicBezTo>
                      <a:pt x="260054" y="207514"/>
                      <a:pt x="250796" y="207514"/>
                      <a:pt x="244625" y="204429"/>
                    </a:cubicBezTo>
                    <a:cubicBezTo>
                      <a:pt x="244625" y="204429"/>
                      <a:pt x="244625" y="204429"/>
                      <a:pt x="244625" y="204429"/>
                    </a:cubicBezTo>
                    <a:cubicBezTo>
                      <a:pt x="244625" y="207514"/>
                      <a:pt x="244625" y="210600"/>
                      <a:pt x="241539" y="213686"/>
                    </a:cubicBezTo>
                    <a:cubicBezTo>
                      <a:pt x="223025" y="226029"/>
                      <a:pt x="198339" y="204429"/>
                      <a:pt x="179825" y="182829"/>
                    </a:cubicBezTo>
                    <a:cubicBezTo>
                      <a:pt x="179825" y="189000"/>
                      <a:pt x="176739" y="195172"/>
                      <a:pt x="173653" y="204429"/>
                    </a:cubicBezTo>
                    <a:cubicBezTo>
                      <a:pt x="170567" y="207514"/>
                      <a:pt x="167482" y="210600"/>
                      <a:pt x="161310" y="207514"/>
                    </a:cubicBezTo>
                    <a:cubicBezTo>
                      <a:pt x="130453" y="192086"/>
                      <a:pt x="118110" y="155057"/>
                      <a:pt x="87253" y="139629"/>
                    </a:cubicBezTo>
                    <a:cubicBezTo>
                      <a:pt x="65653" y="130372"/>
                      <a:pt x="37882" y="133457"/>
                      <a:pt x="19367" y="114943"/>
                    </a:cubicBezTo>
                    <a:cubicBezTo>
                      <a:pt x="-17661" y="81000"/>
                      <a:pt x="3939" y="31629"/>
                      <a:pt x="37882" y="1002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10819EC5-55B7-4BEF-B7E9-247701F06671}"/>
                  </a:ext>
                </a:extLst>
              </p:cNvPr>
              <p:cNvSpPr/>
              <p:nvPr/>
            </p:nvSpPr>
            <p:spPr>
              <a:xfrm>
                <a:off x="12119522" y="3885867"/>
                <a:ext cx="104142" cy="125742"/>
              </a:xfrm>
              <a:custGeom>
                <a:avLst/>
                <a:gdLst>
                  <a:gd name="connsiteX0" fmla="*/ 82543 w 104142"/>
                  <a:gd name="connsiteY0" fmla="*/ 125743 h 125742"/>
                  <a:gd name="connsiteX1" fmla="*/ 67115 w 104142"/>
                  <a:gd name="connsiteY1" fmla="*/ 122657 h 125742"/>
                  <a:gd name="connsiteX2" fmla="*/ 64029 w 104142"/>
                  <a:gd name="connsiteY2" fmla="*/ 116486 h 125742"/>
                  <a:gd name="connsiteX3" fmla="*/ 70201 w 104142"/>
                  <a:gd name="connsiteY3" fmla="*/ 113400 h 125742"/>
                  <a:gd name="connsiteX4" fmla="*/ 88714 w 104142"/>
                  <a:gd name="connsiteY4" fmla="*/ 113400 h 125742"/>
                  <a:gd name="connsiteX5" fmla="*/ 88714 w 104142"/>
                  <a:gd name="connsiteY5" fmla="*/ 110314 h 125742"/>
                  <a:gd name="connsiteX6" fmla="*/ 2314 w 104142"/>
                  <a:gd name="connsiteY6" fmla="*/ 11571 h 125742"/>
                  <a:gd name="connsiteX7" fmla="*/ 2314 w 104142"/>
                  <a:gd name="connsiteY7" fmla="*/ 2314 h 125742"/>
                  <a:gd name="connsiteX8" fmla="*/ 11571 w 104142"/>
                  <a:gd name="connsiteY8" fmla="*/ 2314 h 125742"/>
                  <a:gd name="connsiteX9" fmla="*/ 104143 w 104142"/>
                  <a:gd name="connsiteY9" fmla="*/ 110314 h 125742"/>
                  <a:gd name="connsiteX10" fmla="*/ 97972 w 104142"/>
                  <a:gd name="connsiteY10" fmla="*/ 122657 h 125742"/>
                  <a:gd name="connsiteX11" fmla="*/ 82543 w 104142"/>
                  <a:gd name="connsiteY11" fmla="*/ 125743 h 125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4142" h="125742">
                    <a:moveTo>
                      <a:pt x="82543" y="125743"/>
                    </a:moveTo>
                    <a:cubicBezTo>
                      <a:pt x="73285" y="125743"/>
                      <a:pt x="67115" y="122657"/>
                      <a:pt x="67115" y="122657"/>
                    </a:cubicBezTo>
                    <a:cubicBezTo>
                      <a:pt x="64029" y="122657"/>
                      <a:pt x="60943" y="119571"/>
                      <a:pt x="64029" y="116486"/>
                    </a:cubicBezTo>
                    <a:cubicBezTo>
                      <a:pt x="64029" y="113400"/>
                      <a:pt x="67115" y="110314"/>
                      <a:pt x="70201" y="113400"/>
                    </a:cubicBezTo>
                    <a:cubicBezTo>
                      <a:pt x="73285" y="113400"/>
                      <a:pt x="85629" y="116486"/>
                      <a:pt x="88714" y="113400"/>
                    </a:cubicBezTo>
                    <a:cubicBezTo>
                      <a:pt x="88714" y="113400"/>
                      <a:pt x="88714" y="113400"/>
                      <a:pt x="88714" y="110314"/>
                    </a:cubicBezTo>
                    <a:cubicBezTo>
                      <a:pt x="88714" y="91800"/>
                      <a:pt x="36257" y="39343"/>
                      <a:pt x="2314" y="11571"/>
                    </a:cubicBez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0" y="-771"/>
                      <a:pt x="8486" y="-771"/>
                      <a:pt x="11571" y="2314"/>
                    </a:cubicBezTo>
                    <a:cubicBezTo>
                      <a:pt x="27000" y="14657"/>
                      <a:pt x="104143" y="82543"/>
                      <a:pt x="104143" y="110314"/>
                    </a:cubicBezTo>
                    <a:cubicBezTo>
                      <a:pt x="104143" y="116486"/>
                      <a:pt x="101058" y="119571"/>
                      <a:pt x="97972" y="122657"/>
                    </a:cubicBezTo>
                    <a:cubicBezTo>
                      <a:pt x="94886" y="122657"/>
                      <a:pt x="88714" y="125743"/>
                      <a:pt x="82543" y="12574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D3941B3C-0235-4D58-8074-1ACC29E00E61}"/>
                  </a:ext>
                </a:extLst>
              </p:cNvPr>
              <p:cNvSpPr/>
              <p:nvPr/>
            </p:nvSpPr>
            <p:spPr>
              <a:xfrm>
                <a:off x="12110265" y="3932153"/>
                <a:ext cx="107471" cy="159685"/>
              </a:xfrm>
              <a:custGeom>
                <a:avLst/>
                <a:gdLst>
                  <a:gd name="connsiteX0" fmla="*/ 79457 w 107471"/>
                  <a:gd name="connsiteY0" fmla="*/ 159686 h 159685"/>
                  <a:gd name="connsiteX1" fmla="*/ 73285 w 107471"/>
                  <a:gd name="connsiteY1" fmla="*/ 156600 h 159685"/>
                  <a:gd name="connsiteX2" fmla="*/ 2314 w 107471"/>
                  <a:gd name="connsiteY2" fmla="*/ 48600 h 159685"/>
                  <a:gd name="connsiteX3" fmla="*/ 2314 w 107471"/>
                  <a:gd name="connsiteY3" fmla="*/ 39343 h 159685"/>
                  <a:gd name="connsiteX4" fmla="*/ 11571 w 107471"/>
                  <a:gd name="connsiteY4" fmla="*/ 39343 h 159685"/>
                  <a:gd name="connsiteX5" fmla="*/ 82542 w 107471"/>
                  <a:gd name="connsiteY5" fmla="*/ 147343 h 159685"/>
                  <a:gd name="connsiteX6" fmla="*/ 94886 w 107471"/>
                  <a:gd name="connsiteY6" fmla="*/ 141171 h 159685"/>
                  <a:gd name="connsiteX7" fmla="*/ 85628 w 107471"/>
                  <a:gd name="connsiteY7" fmla="*/ 101057 h 159685"/>
                  <a:gd name="connsiteX8" fmla="*/ 85628 w 107471"/>
                  <a:gd name="connsiteY8" fmla="*/ 97971 h 159685"/>
                  <a:gd name="connsiteX9" fmla="*/ 17743 w 107471"/>
                  <a:gd name="connsiteY9" fmla="*/ 11571 h 159685"/>
                  <a:gd name="connsiteX10" fmla="*/ 17743 w 107471"/>
                  <a:gd name="connsiteY10" fmla="*/ 2314 h 159685"/>
                  <a:gd name="connsiteX11" fmla="*/ 27000 w 107471"/>
                  <a:gd name="connsiteY11" fmla="*/ 2314 h 159685"/>
                  <a:gd name="connsiteX12" fmla="*/ 94886 w 107471"/>
                  <a:gd name="connsiteY12" fmla="*/ 91800 h 159685"/>
                  <a:gd name="connsiteX13" fmla="*/ 94886 w 107471"/>
                  <a:gd name="connsiteY13" fmla="*/ 94886 h 159685"/>
                  <a:gd name="connsiteX14" fmla="*/ 104143 w 107471"/>
                  <a:gd name="connsiteY14" fmla="*/ 147343 h 159685"/>
                  <a:gd name="connsiteX15" fmla="*/ 79457 w 107471"/>
                  <a:gd name="connsiteY15" fmla="*/ 159686 h 159685"/>
                  <a:gd name="connsiteX16" fmla="*/ 79457 w 107471"/>
                  <a:gd name="connsiteY16" fmla="*/ 159686 h 159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7471" h="159685">
                    <a:moveTo>
                      <a:pt x="79457" y="159686"/>
                    </a:moveTo>
                    <a:cubicBezTo>
                      <a:pt x="76371" y="159686"/>
                      <a:pt x="76371" y="159686"/>
                      <a:pt x="73285" y="156600"/>
                    </a:cubicBezTo>
                    <a:cubicBezTo>
                      <a:pt x="73285" y="156600"/>
                      <a:pt x="33172" y="70200"/>
                      <a:pt x="2314" y="48600"/>
                    </a:cubicBezTo>
                    <a:cubicBezTo>
                      <a:pt x="-771" y="45514"/>
                      <a:pt x="-771" y="42428"/>
                      <a:pt x="2314" y="39343"/>
                    </a:cubicBezTo>
                    <a:cubicBezTo>
                      <a:pt x="5399" y="36257"/>
                      <a:pt x="8485" y="36257"/>
                      <a:pt x="11571" y="39343"/>
                    </a:cubicBezTo>
                    <a:cubicBezTo>
                      <a:pt x="39342" y="57857"/>
                      <a:pt x="76371" y="128828"/>
                      <a:pt x="82542" y="147343"/>
                    </a:cubicBezTo>
                    <a:cubicBezTo>
                      <a:pt x="88714" y="147343"/>
                      <a:pt x="94886" y="144257"/>
                      <a:pt x="94886" y="141171"/>
                    </a:cubicBezTo>
                    <a:cubicBezTo>
                      <a:pt x="101057" y="131914"/>
                      <a:pt x="91800" y="113400"/>
                      <a:pt x="85628" y="101057"/>
                    </a:cubicBezTo>
                    <a:lnTo>
                      <a:pt x="85628" y="97971"/>
                    </a:lnTo>
                    <a:cubicBezTo>
                      <a:pt x="76371" y="76371"/>
                      <a:pt x="17743" y="14657"/>
                      <a:pt x="17743" y="11571"/>
                    </a:cubicBezTo>
                    <a:cubicBezTo>
                      <a:pt x="14657" y="8486"/>
                      <a:pt x="14657" y="5400"/>
                      <a:pt x="17743" y="2314"/>
                    </a:cubicBezTo>
                    <a:cubicBezTo>
                      <a:pt x="20828" y="-771"/>
                      <a:pt x="23914" y="-771"/>
                      <a:pt x="27000" y="2314"/>
                    </a:cubicBezTo>
                    <a:cubicBezTo>
                      <a:pt x="30086" y="5400"/>
                      <a:pt x="85628" y="67114"/>
                      <a:pt x="94886" y="91800"/>
                    </a:cubicBezTo>
                    <a:lnTo>
                      <a:pt x="94886" y="94886"/>
                    </a:lnTo>
                    <a:cubicBezTo>
                      <a:pt x="101057" y="110314"/>
                      <a:pt x="113399" y="131914"/>
                      <a:pt x="104143" y="147343"/>
                    </a:cubicBezTo>
                    <a:cubicBezTo>
                      <a:pt x="101057" y="153514"/>
                      <a:pt x="91800" y="156600"/>
                      <a:pt x="79457" y="159686"/>
                    </a:cubicBezTo>
                    <a:cubicBezTo>
                      <a:pt x="79457" y="159686"/>
                      <a:pt x="79457" y="159686"/>
                      <a:pt x="79457" y="15968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7E80E34B-AFFE-4A85-BB0E-87448C1E5B58}"/>
                  </a:ext>
                </a:extLst>
              </p:cNvPr>
              <p:cNvSpPr/>
              <p:nvPr/>
            </p:nvSpPr>
            <p:spPr>
              <a:xfrm>
                <a:off x="12040330" y="3976389"/>
                <a:ext cx="155563" cy="127792"/>
              </a:xfrm>
              <a:custGeom>
                <a:avLst/>
                <a:gdLst>
                  <a:gd name="connsiteX0" fmla="*/ 130879 w 155563"/>
                  <a:gd name="connsiteY0" fmla="*/ 127792 h 127792"/>
                  <a:gd name="connsiteX1" fmla="*/ 118536 w 155563"/>
                  <a:gd name="connsiteY1" fmla="*/ 124707 h 127792"/>
                  <a:gd name="connsiteX2" fmla="*/ 78421 w 155563"/>
                  <a:gd name="connsiteY2" fmla="*/ 90764 h 127792"/>
                  <a:gd name="connsiteX3" fmla="*/ 44478 w 155563"/>
                  <a:gd name="connsiteY3" fmla="*/ 25964 h 127792"/>
                  <a:gd name="connsiteX4" fmla="*/ 4364 w 155563"/>
                  <a:gd name="connsiteY4" fmla="*/ 10535 h 127792"/>
                  <a:gd name="connsiteX5" fmla="*/ 1278 w 155563"/>
                  <a:gd name="connsiteY5" fmla="*/ 4364 h 127792"/>
                  <a:gd name="connsiteX6" fmla="*/ 7450 w 155563"/>
                  <a:gd name="connsiteY6" fmla="*/ 1278 h 127792"/>
                  <a:gd name="connsiteX7" fmla="*/ 50650 w 155563"/>
                  <a:gd name="connsiteY7" fmla="*/ 19792 h 127792"/>
                  <a:gd name="connsiteX8" fmla="*/ 87679 w 155563"/>
                  <a:gd name="connsiteY8" fmla="*/ 87678 h 127792"/>
                  <a:gd name="connsiteX9" fmla="*/ 87679 w 155563"/>
                  <a:gd name="connsiteY9" fmla="*/ 87678 h 127792"/>
                  <a:gd name="connsiteX10" fmla="*/ 121621 w 155563"/>
                  <a:gd name="connsiteY10" fmla="*/ 118535 h 127792"/>
                  <a:gd name="connsiteX11" fmla="*/ 143221 w 155563"/>
                  <a:gd name="connsiteY11" fmla="*/ 112364 h 127792"/>
                  <a:gd name="connsiteX12" fmla="*/ 152478 w 155563"/>
                  <a:gd name="connsiteY12" fmla="*/ 109278 h 127792"/>
                  <a:gd name="connsiteX13" fmla="*/ 155564 w 155563"/>
                  <a:gd name="connsiteY13" fmla="*/ 118535 h 127792"/>
                  <a:gd name="connsiteX14" fmla="*/ 130879 w 155563"/>
                  <a:gd name="connsiteY14" fmla="*/ 127792 h 127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5563" h="127792">
                    <a:moveTo>
                      <a:pt x="130879" y="127792"/>
                    </a:moveTo>
                    <a:cubicBezTo>
                      <a:pt x="127793" y="127792"/>
                      <a:pt x="124707" y="127792"/>
                      <a:pt x="118536" y="124707"/>
                    </a:cubicBezTo>
                    <a:cubicBezTo>
                      <a:pt x="96936" y="115450"/>
                      <a:pt x="78421" y="90764"/>
                      <a:pt x="78421" y="90764"/>
                    </a:cubicBezTo>
                    <a:cubicBezTo>
                      <a:pt x="69164" y="66078"/>
                      <a:pt x="50650" y="32135"/>
                      <a:pt x="44478" y="25964"/>
                    </a:cubicBezTo>
                    <a:cubicBezTo>
                      <a:pt x="38307" y="19792"/>
                      <a:pt x="13621" y="10535"/>
                      <a:pt x="4364" y="10535"/>
                    </a:cubicBezTo>
                    <a:cubicBezTo>
                      <a:pt x="1278" y="10535"/>
                      <a:pt x="-1808" y="7450"/>
                      <a:pt x="1278" y="4364"/>
                    </a:cubicBezTo>
                    <a:cubicBezTo>
                      <a:pt x="1278" y="1278"/>
                      <a:pt x="4364" y="-1808"/>
                      <a:pt x="7450" y="1278"/>
                    </a:cubicBezTo>
                    <a:cubicBezTo>
                      <a:pt x="10536" y="1278"/>
                      <a:pt x="41393" y="10535"/>
                      <a:pt x="50650" y="19792"/>
                    </a:cubicBezTo>
                    <a:cubicBezTo>
                      <a:pt x="59907" y="29049"/>
                      <a:pt x="81507" y="78421"/>
                      <a:pt x="87679" y="87678"/>
                    </a:cubicBezTo>
                    <a:lnTo>
                      <a:pt x="87679" y="87678"/>
                    </a:lnTo>
                    <a:cubicBezTo>
                      <a:pt x="87679" y="87678"/>
                      <a:pt x="103107" y="109278"/>
                      <a:pt x="121621" y="118535"/>
                    </a:cubicBezTo>
                    <a:cubicBezTo>
                      <a:pt x="137049" y="124707"/>
                      <a:pt x="143221" y="112364"/>
                      <a:pt x="143221" y="112364"/>
                    </a:cubicBezTo>
                    <a:cubicBezTo>
                      <a:pt x="143221" y="109278"/>
                      <a:pt x="149393" y="109278"/>
                      <a:pt x="152478" y="109278"/>
                    </a:cubicBezTo>
                    <a:cubicBezTo>
                      <a:pt x="155564" y="109278"/>
                      <a:pt x="155564" y="115450"/>
                      <a:pt x="155564" y="118535"/>
                    </a:cubicBezTo>
                    <a:cubicBezTo>
                      <a:pt x="152478" y="115450"/>
                      <a:pt x="143221" y="127792"/>
                      <a:pt x="130879" y="12779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0" name="图形 1">
              <a:extLst>
                <a:ext uri="{FF2B5EF4-FFF2-40B4-BE49-F238E27FC236}">
                  <a16:creationId xmlns:a16="http://schemas.microsoft.com/office/drawing/2014/main" id="{66081F57-F3B7-407F-97E3-10FC0423435D}"/>
                </a:ext>
              </a:extLst>
            </p:cNvPr>
            <p:cNvGrpSpPr/>
            <p:nvPr/>
          </p:nvGrpSpPr>
          <p:grpSpPr>
            <a:xfrm>
              <a:off x="12688872" y="3353862"/>
              <a:ext cx="315479" cy="229863"/>
              <a:chOff x="12688872" y="3353862"/>
              <a:chExt cx="315479" cy="229863"/>
            </a:xfrm>
          </p:grpSpPr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8BDEFDB2-9451-499A-A360-75123DF2592F}"/>
                  </a:ext>
                </a:extLst>
              </p:cNvPr>
              <p:cNvSpPr/>
              <p:nvPr/>
            </p:nvSpPr>
            <p:spPr>
              <a:xfrm>
                <a:off x="12688872" y="3353862"/>
                <a:ext cx="309307" cy="229863"/>
              </a:xfrm>
              <a:custGeom>
                <a:avLst/>
                <a:gdLst>
                  <a:gd name="connsiteX0" fmla="*/ 259936 w 309307"/>
                  <a:gd name="connsiteY0" fmla="*/ 154777 h 229863"/>
                  <a:gd name="connsiteX1" fmla="*/ 247593 w 309307"/>
                  <a:gd name="connsiteY1" fmla="*/ 139348 h 229863"/>
                  <a:gd name="connsiteX2" fmla="*/ 241423 w 309307"/>
                  <a:gd name="connsiteY2" fmla="*/ 139348 h 229863"/>
                  <a:gd name="connsiteX3" fmla="*/ 266108 w 309307"/>
                  <a:gd name="connsiteY3" fmla="*/ 133177 h 229863"/>
                  <a:gd name="connsiteX4" fmla="*/ 300051 w 309307"/>
                  <a:gd name="connsiteY4" fmla="*/ 105405 h 229863"/>
                  <a:gd name="connsiteX5" fmla="*/ 296965 w 309307"/>
                  <a:gd name="connsiteY5" fmla="*/ 99234 h 229863"/>
                  <a:gd name="connsiteX6" fmla="*/ 293879 w 309307"/>
                  <a:gd name="connsiteY6" fmla="*/ 99234 h 229863"/>
                  <a:gd name="connsiteX7" fmla="*/ 309308 w 309307"/>
                  <a:gd name="connsiteY7" fmla="*/ 74548 h 229863"/>
                  <a:gd name="connsiteX8" fmla="*/ 293879 w 309307"/>
                  <a:gd name="connsiteY8" fmla="*/ 56034 h 229863"/>
                  <a:gd name="connsiteX9" fmla="*/ 244507 w 309307"/>
                  <a:gd name="connsiteY9" fmla="*/ 65291 h 229863"/>
                  <a:gd name="connsiteX10" fmla="*/ 176622 w 309307"/>
                  <a:gd name="connsiteY10" fmla="*/ 80720 h 229863"/>
                  <a:gd name="connsiteX11" fmla="*/ 222908 w 309307"/>
                  <a:gd name="connsiteY11" fmla="*/ 52948 h 229863"/>
                  <a:gd name="connsiteX12" fmla="*/ 256851 w 309307"/>
                  <a:gd name="connsiteY12" fmla="*/ 31348 h 229863"/>
                  <a:gd name="connsiteX13" fmla="*/ 232165 w 309307"/>
                  <a:gd name="connsiteY13" fmla="*/ 15920 h 229863"/>
                  <a:gd name="connsiteX14" fmla="*/ 80965 w 309307"/>
                  <a:gd name="connsiteY14" fmla="*/ 89977 h 229863"/>
                  <a:gd name="connsiteX15" fmla="*/ 124165 w 309307"/>
                  <a:gd name="connsiteY15" fmla="*/ 12834 h 229863"/>
                  <a:gd name="connsiteX16" fmla="*/ 111822 w 309307"/>
                  <a:gd name="connsiteY16" fmla="*/ 491 h 229863"/>
                  <a:gd name="connsiteX17" fmla="*/ 3822 w 309307"/>
                  <a:gd name="connsiteY17" fmla="*/ 151691 h 229863"/>
                  <a:gd name="connsiteX18" fmla="*/ 3822 w 309307"/>
                  <a:gd name="connsiteY18" fmla="*/ 154777 h 229863"/>
                  <a:gd name="connsiteX19" fmla="*/ 736 w 309307"/>
                  <a:gd name="connsiteY19" fmla="*/ 157863 h 229863"/>
                  <a:gd name="connsiteX20" fmla="*/ 53194 w 309307"/>
                  <a:gd name="connsiteY20" fmla="*/ 222663 h 229863"/>
                  <a:gd name="connsiteX21" fmla="*/ 164280 w 309307"/>
                  <a:gd name="connsiteY21" fmla="*/ 207234 h 229863"/>
                  <a:gd name="connsiteX22" fmla="*/ 232165 w 309307"/>
                  <a:gd name="connsiteY22" fmla="*/ 185634 h 229863"/>
                  <a:gd name="connsiteX23" fmla="*/ 259936 w 309307"/>
                  <a:gd name="connsiteY23" fmla="*/ 154777 h 229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9307" h="229863">
                    <a:moveTo>
                      <a:pt x="259936" y="154777"/>
                    </a:moveTo>
                    <a:cubicBezTo>
                      <a:pt x="259936" y="145520"/>
                      <a:pt x="253765" y="142434"/>
                      <a:pt x="247593" y="139348"/>
                    </a:cubicBezTo>
                    <a:cubicBezTo>
                      <a:pt x="244507" y="139348"/>
                      <a:pt x="244507" y="139348"/>
                      <a:pt x="241423" y="139348"/>
                    </a:cubicBezTo>
                    <a:cubicBezTo>
                      <a:pt x="250679" y="136263"/>
                      <a:pt x="256851" y="136263"/>
                      <a:pt x="266108" y="133177"/>
                    </a:cubicBezTo>
                    <a:cubicBezTo>
                      <a:pt x="281536" y="127005"/>
                      <a:pt x="293879" y="120834"/>
                      <a:pt x="300051" y="105405"/>
                    </a:cubicBezTo>
                    <a:cubicBezTo>
                      <a:pt x="300051" y="102320"/>
                      <a:pt x="300051" y="102320"/>
                      <a:pt x="296965" y="99234"/>
                    </a:cubicBezTo>
                    <a:cubicBezTo>
                      <a:pt x="296965" y="99234"/>
                      <a:pt x="296965" y="99234"/>
                      <a:pt x="293879" y="99234"/>
                    </a:cubicBezTo>
                    <a:cubicBezTo>
                      <a:pt x="303137" y="93063"/>
                      <a:pt x="309308" y="83805"/>
                      <a:pt x="309308" y="74548"/>
                    </a:cubicBezTo>
                    <a:cubicBezTo>
                      <a:pt x="309308" y="65291"/>
                      <a:pt x="303137" y="56034"/>
                      <a:pt x="293879" y="56034"/>
                    </a:cubicBezTo>
                    <a:cubicBezTo>
                      <a:pt x="278451" y="52948"/>
                      <a:pt x="259936" y="62205"/>
                      <a:pt x="244507" y="65291"/>
                    </a:cubicBezTo>
                    <a:cubicBezTo>
                      <a:pt x="222908" y="71463"/>
                      <a:pt x="198222" y="74548"/>
                      <a:pt x="176622" y="80720"/>
                    </a:cubicBezTo>
                    <a:cubicBezTo>
                      <a:pt x="192051" y="71463"/>
                      <a:pt x="207479" y="62205"/>
                      <a:pt x="222908" y="52948"/>
                    </a:cubicBezTo>
                    <a:cubicBezTo>
                      <a:pt x="232165" y="46777"/>
                      <a:pt x="250679" y="40605"/>
                      <a:pt x="256851" y="31348"/>
                    </a:cubicBezTo>
                    <a:cubicBezTo>
                      <a:pt x="266108" y="15920"/>
                      <a:pt x="241423" y="15920"/>
                      <a:pt x="232165" y="15920"/>
                    </a:cubicBezTo>
                    <a:cubicBezTo>
                      <a:pt x="176622" y="25177"/>
                      <a:pt x="133423" y="71463"/>
                      <a:pt x="80965" y="89977"/>
                    </a:cubicBezTo>
                    <a:cubicBezTo>
                      <a:pt x="74793" y="59120"/>
                      <a:pt x="111822" y="40605"/>
                      <a:pt x="124165" y="12834"/>
                    </a:cubicBezTo>
                    <a:cubicBezTo>
                      <a:pt x="127251" y="9748"/>
                      <a:pt x="114908" y="-2595"/>
                      <a:pt x="111822" y="491"/>
                    </a:cubicBezTo>
                    <a:cubicBezTo>
                      <a:pt x="59365" y="9748"/>
                      <a:pt x="6908" y="77634"/>
                      <a:pt x="3822" y="151691"/>
                    </a:cubicBezTo>
                    <a:cubicBezTo>
                      <a:pt x="3822" y="151691"/>
                      <a:pt x="3822" y="151691"/>
                      <a:pt x="3822" y="154777"/>
                    </a:cubicBezTo>
                    <a:cubicBezTo>
                      <a:pt x="3822" y="154777"/>
                      <a:pt x="736" y="154777"/>
                      <a:pt x="736" y="157863"/>
                    </a:cubicBezTo>
                    <a:cubicBezTo>
                      <a:pt x="-5435" y="188720"/>
                      <a:pt x="28507" y="210320"/>
                      <a:pt x="53194" y="222663"/>
                    </a:cubicBezTo>
                    <a:cubicBezTo>
                      <a:pt x="90222" y="241177"/>
                      <a:pt x="127251" y="219577"/>
                      <a:pt x="164280" y="207234"/>
                    </a:cubicBezTo>
                    <a:cubicBezTo>
                      <a:pt x="185879" y="201063"/>
                      <a:pt x="207479" y="191805"/>
                      <a:pt x="232165" y="185634"/>
                    </a:cubicBezTo>
                    <a:cubicBezTo>
                      <a:pt x="241423" y="173291"/>
                      <a:pt x="259936" y="170205"/>
                      <a:pt x="259936" y="15477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1A65E919-0DD0-4A0A-96FC-A90186A901C2}"/>
                  </a:ext>
                </a:extLst>
              </p:cNvPr>
              <p:cNvSpPr/>
              <p:nvPr/>
            </p:nvSpPr>
            <p:spPr>
              <a:xfrm>
                <a:off x="12750044" y="3459267"/>
                <a:ext cx="29633" cy="61714"/>
              </a:xfrm>
              <a:custGeom>
                <a:avLst/>
                <a:gdLst>
                  <a:gd name="connsiteX0" fmla="*/ 7450 w 29633"/>
                  <a:gd name="connsiteY0" fmla="*/ 61714 h 61714"/>
                  <a:gd name="connsiteX1" fmla="*/ 1278 w 29633"/>
                  <a:gd name="connsiteY1" fmla="*/ 58629 h 61714"/>
                  <a:gd name="connsiteX2" fmla="*/ 4364 w 29633"/>
                  <a:gd name="connsiteY2" fmla="*/ 49371 h 61714"/>
                  <a:gd name="connsiteX3" fmla="*/ 19793 w 29633"/>
                  <a:gd name="connsiteY3" fmla="*/ 6171 h 61714"/>
                  <a:gd name="connsiteX4" fmla="*/ 22879 w 29633"/>
                  <a:gd name="connsiteY4" fmla="*/ 0 h 61714"/>
                  <a:gd name="connsiteX5" fmla="*/ 29049 w 29633"/>
                  <a:gd name="connsiteY5" fmla="*/ 3086 h 61714"/>
                  <a:gd name="connsiteX6" fmla="*/ 7450 w 29633"/>
                  <a:gd name="connsiteY6" fmla="*/ 58629 h 61714"/>
                  <a:gd name="connsiteX7" fmla="*/ 7450 w 29633"/>
                  <a:gd name="connsiteY7" fmla="*/ 61714 h 61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633" h="61714">
                    <a:moveTo>
                      <a:pt x="7450" y="61714"/>
                    </a:moveTo>
                    <a:cubicBezTo>
                      <a:pt x="4364" y="61714"/>
                      <a:pt x="4364" y="61714"/>
                      <a:pt x="1278" y="58629"/>
                    </a:cubicBezTo>
                    <a:cubicBezTo>
                      <a:pt x="-1808" y="55543"/>
                      <a:pt x="1278" y="52457"/>
                      <a:pt x="4364" y="49371"/>
                    </a:cubicBezTo>
                    <a:cubicBezTo>
                      <a:pt x="25965" y="33943"/>
                      <a:pt x="19793" y="6171"/>
                      <a:pt x="19793" y="6171"/>
                    </a:cubicBezTo>
                    <a:cubicBezTo>
                      <a:pt x="19793" y="3086"/>
                      <a:pt x="19793" y="0"/>
                      <a:pt x="22879" y="0"/>
                    </a:cubicBezTo>
                    <a:cubicBezTo>
                      <a:pt x="25965" y="0"/>
                      <a:pt x="29049" y="0"/>
                      <a:pt x="29049" y="3086"/>
                    </a:cubicBezTo>
                    <a:cubicBezTo>
                      <a:pt x="29049" y="3086"/>
                      <a:pt x="35221" y="40114"/>
                      <a:pt x="7450" y="58629"/>
                    </a:cubicBezTo>
                    <a:cubicBezTo>
                      <a:pt x="10536" y="61714"/>
                      <a:pt x="7450" y="61714"/>
                      <a:pt x="7450" y="6171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65F63D77-FC67-48E2-8E41-A0D29BD0A774}"/>
                  </a:ext>
                </a:extLst>
              </p:cNvPr>
              <p:cNvSpPr/>
              <p:nvPr/>
            </p:nvSpPr>
            <p:spPr>
              <a:xfrm>
                <a:off x="12859322" y="3377667"/>
                <a:ext cx="145028" cy="106285"/>
              </a:xfrm>
              <a:custGeom>
                <a:avLst/>
                <a:gdLst>
                  <a:gd name="connsiteX0" fmla="*/ 30857 w 145028"/>
                  <a:gd name="connsiteY0" fmla="*/ 106286 h 106285"/>
                  <a:gd name="connsiteX1" fmla="*/ 24686 w 145028"/>
                  <a:gd name="connsiteY1" fmla="*/ 103200 h 106285"/>
                  <a:gd name="connsiteX2" fmla="*/ 27771 w 145028"/>
                  <a:gd name="connsiteY2" fmla="*/ 97029 h 106285"/>
                  <a:gd name="connsiteX3" fmla="*/ 117258 w 145028"/>
                  <a:gd name="connsiteY3" fmla="*/ 66171 h 106285"/>
                  <a:gd name="connsiteX4" fmla="*/ 129600 w 145028"/>
                  <a:gd name="connsiteY4" fmla="*/ 50743 h 106285"/>
                  <a:gd name="connsiteX5" fmla="*/ 123429 w 145028"/>
                  <a:gd name="connsiteY5" fmla="*/ 38400 h 106285"/>
                  <a:gd name="connsiteX6" fmla="*/ 6172 w 145028"/>
                  <a:gd name="connsiteY6" fmla="*/ 63086 h 106285"/>
                  <a:gd name="connsiteX7" fmla="*/ 0 w 145028"/>
                  <a:gd name="connsiteY7" fmla="*/ 60000 h 106285"/>
                  <a:gd name="connsiteX8" fmla="*/ 3086 w 145028"/>
                  <a:gd name="connsiteY8" fmla="*/ 53829 h 106285"/>
                  <a:gd name="connsiteX9" fmla="*/ 83315 w 145028"/>
                  <a:gd name="connsiteY9" fmla="*/ 1371 h 106285"/>
                  <a:gd name="connsiteX10" fmla="*/ 92571 w 145028"/>
                  <a:gd name="connsiteY10" fmla="*/ 1371 h 106285"/>
                  <a:gd name="connsiteX11" fmla="*/ 92571 w 145028"/>
                  <a:gd name="connsiteY11" fmla="*/ 10629 h 106285"/>
                  <a:gd name="connsiteX12" fmla="*/ 49372 w 145028"/>
                  <a:gd name="connsiteY12" fmla="*/ 38400 h 106285"/>
                  <a:gd name="connsiteX13" fmla="*/ 135771 w 145028"/>
                  <a:gd name="connsiteY13" fmla="*/ 29143 h 106285"/>
                  <a:gd name="connsiteX14" fmla="*/ 145029 w 145028"/>
                  <a:gd name="connsiteY14" fmla="*/ 50743 h 106285"/>
                  <a:gd name="connsiteX15" fmla="*/ 126514 w 145028"/>
                  <a:gd name="connsiteY15" fmla="*/ 75429 h 106285"/>
                  <a:gd name="connsiteX16" fmla="*/ 30857 w 145028"/>
                  <a:gd name="connsiteY16" fmla="*/ 106286 h 106285"/>
                  <a:gd name="connsiteX17" fmla="*/ 30857 w 145028"/>
                  <a:gd name="connsiteY17" fmla="*/ 106286 h 10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5028" h="106285">
                    <a:moveTo>
                      <a:pt x="30857" y="106286"/>
                    </a:moveTo>
                    <a:cubicBezTo>
                      <a:pt x="27771" y="106286"/>
                      <a:pt x="24686" y="103200"/>
                      <a:pt x="24686" y="103200"/>
                    </a:cubicBezTo>
                    <a:cubicBezTo>
                      <a:pt x="24686" y="100114"/>
                      <a:pt x="24686" y="97029"/>
                      <a:pt x="27771" y="97029"/>
                    </a:cubicBezTo>
                    <a:cubicBezTo>
                      <a:pt x="27771" y="97029"/>
                      <a:pt x="104914" y="72343"/>
                      <a:pt x="117258" y="66171"/>
                    </a:cubicBezTo>
                    <a:cubicBezTo>
                      <a:pt x="123429" y="63086"/>
                      <a:pt x="129600" y="56914"/>
                      <a:pt x="129600" y="50743"/>
                    </a:cubicBezTo>
                    <a:cubicBezTo>
                      <a:pt x="129600" y="47657"/>
                      <a:pt x="129600" y="41486"/>
                      <a:pt x="123429" y="38400"/>
                    </a:cubicBezTo>
                    <a:cubicBezTo>
                      <a:pt x="114172" y="35314"/>
                      <a:pt x="55543" y="47657"/>
                      <a:pt x="6172" y="63086"/>
                    </a:cubicBezTo>
                    <a:cubicBezTo>
                      <a:pt x="3086" y="63086"/>
                      <a:pt x="0" y="63086"/>
                      <a:pt x="0" y="60000"/>
                    </a:cubicBezTo>
                    <a:cubicBezTo>
                      <a:pt x="0" y="56914"/>
                      <a:pt x="0" y="53829"/>
                      <a:pt x="3086" y="53829"/>
                    </a:cubicBezTo>
                    <a:cubicBezTo>
                      <a:pt x="33943" y="38400"/>
                      <a:pt x="83315" y="4457"/>
                      <a:pt x="83315" y="1371"/>
                    </a:cubicBezTo>
                    <a:cubicBezTo>
                      <a:pt x="86401" y="-1714"/>
                      <a:pt x="89486" y="1371"/>
                      <a:pt x="92571" y="1371"/>
                    </a:cubicBezTo>
                    <a:cubicBezTo>
                      <a:pt x="95657" y="4457"/>
                      <a:pt x="92571" y="7543"/>
                      <a:pt x="92571" y="10629"/>
                    </a:cubicBezTo>
                    <a:cubicBezTo>
                      <a:pt x="92571" y="10629"/>
                      <a:pt x="70972" y="26057"/>
                      <a:pt x="49372" y="38400"/>
                    </a:cubicBezTo>
                    <a:cubicBezTo>
                      <a:pt x="86401" y="29143"/>
                      <a:pt x="126514" y="19886"/>
                      <a:pt x="135771" y="29143"/>
                    </a:cubicBezTo>
                    <a:cubicBezTo>
                      <a:pt x="141943" y="35314"/>
                      <a:pt x="145029" y="44571"/>
                      <a:pt x="145029" y="50743"/>
                    </a:cubicBezTo>
                    <a:cubicBezTo>
                      <a:pt x="145029" y="60000"/>
                      <a:pt x="135771" y="69257"/>
                      <a:pt x="126514" y="75429"/>
                    </a:cubicBezTo>
                    <a:cubicBezTo>
                      <a:pt x="111086" y="81600"/>
                      <a:pt x="37029" y="106286"/>
                      <a:pt x="30857" y="106286"/>
                    </a:cubicBezTo>
                    <a:cubicBezTo>
                      <a:pt x="30857" y="106286"/>
                      <a:pt x="30857" y="106286"/>
                      <a:pt x="30857" y="10628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A5AF7496-893B-43CA-AA05-EF662EC2FFC9}"/>
                  </a:ext>
                </a:extLst>
              </p:cNvPr>
              <p:cNvSpPr/>
              <p:nvPr/>
            </p:nvSpPr>
            <p:spPr>
              <a:xfrm>
                <a:off x="12865494" y="3438439"/>
                <a:ext cx="131234" cy="76371"/>
              </a:xfrm>
              <a:custGeom>
                <a:avLst/>
                <a:gdLst>
                  <a:gd name="connsiteX0" fmla="*/ 3086 w 131234"/>
                  <a:gd name="connsiteY0" fmla="*/ 76371 h 76371"/>
                  <a:gd name="connsiteX1" fmla="*/ 0 w 131234"/>
                  <a:gd name="connsiteY1" fmla="*/ 64029 h 76371"/>
                  <a:gd name="connsiteX2" fmla="*/ 61714 w 131234"/>
                  <a:gd name="connsiteY2" fmla="*/ 48600 h 76371"/>
                  <a:gd name="connsiteX3" fmla="*/ 117257 w 131234"/>
                  <a:gd name="connsiteY3" fmla="*/ 27000 h 76371"/>
                  <a:gd name="connsiteX4" fmla="*/ 114171 w 131234"/>
                  <a:gd name="connsiteY4" fmla="*/ 11571 h 76371"/>
                  <a:gd name="connsiteX5" fmla="*/ 114171 w 131234"/>
                  <a:gd name="connsiteY5" fmla="*/ 2314 h 76371"/>
                  <a:gd name="connsiteX6" fmla="*/ 123429 w 131234"/>
                  <a:gd name="connsiteY6" fmla="*/ 2314 h 76371"/>
                  <a:gd name="connsiteX7" fmla="*/ 126514 w 131234"/>
                  <a:gd name="connsiteY7" fmla="*/ 33171 h 76371"/>
                  <a:gd name="connsiteX8" fmla="*/ 64800 w 131234"/>
                  <a:gd name="connsiteY8" fmla="*/ 60943 h 76371"/>
                  <a:gd name="connsiteX9" fmla="*/ 3086 w 131234"/>
                  <a:gd name="connsiteY9" fmla="*/ 76371 h 76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1234" h="76371">
                    <a:moveTo>
                      <a:pt x="3086" y="76371"/>
                    </a:moveTo>
                    <a:lnTo>
                      <a:pt x="0" y="64029"/>
                    </a:lnTo>
                    <a:cubicBezTo>
                      <a:pt x="0" y="64029"/>
                      <a:pt x="49372" y="51686"/>
                      <a:pt x="61714" y="48600"/>
                    </a:cubicBezTo>
                    <a:cubicBezTo>
                      <a:pt x="74057" y="45514"/>
                      <a:pt x="111086" y="33171"/>
                      <a:pt x="117257" y="27000"/>
                    </a:cubicBezTo>
                    <a:cubicBezTo>
                      <a:pt x="120343" y="20829"/>
                      <a:pt x="114171" y="11571"/>
                      <a:pt x="114171" y="11571"/>
                    </a:cubicBezTo>
                    <a:cubicBezTo>
                      <a:pt x="111086" y="8486"/>
                      <a:pt x="111086" y="5400"/>
                      <a:pt x="114171" y="2314"/>
                    </a:cubicBezTo>
                    <a:cubicBezTo>
                      <a:pt x="117257" y="-771"/>
                      <a:pt x="120343" y="-771"/>
                      <a:pt x="123429" y="2314"/>
                    </a:cubicBezTo>
                    <a:cubicBezTo>
                      <a:pt x="129599" y="8486"/>
                      <a:pt x="135771" y="20829"/>
                      <a:pt x="126514" y="33171"/>
                    </a:cubicBezTo>
                    <a:cubicBezTo>
                      <a:pt x="117257" y="45514"/>
                      <a:pt x="74057" y="57857"/>
                      <a:pt x="64800" y="60943"/>
                    </a:cubicBezTo>
                    <a:cubicBezTo>
                      <a:pt x="52457" y="64029"/>
                      <a:pt x="3086" y="76371"/>
                      <a:pt x="3086" y="7637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58819143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8BF8B302-4482-49DE-A4C4-13ABF2C77D5A}"/>
              </a:ext>
            </a:extLst>
          </p:cNvPr>
          <p:cNvGrpSpPr/>
          <p:nvPr/>
        </p:nvGrpSpPr>
        <p:grpSpPr>
          <a:xfrm>
            <a:off x="3430174" y="1984959"/>
            <a:ext cx="5188778" cy="4873041"/>
            <a:chOff x="19748898" y="1781744"/>
            <a:chExt cx="5188778" cy="4873041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5EEF00F2-58D9-4DB1-BF0E-A85982782C93}"/>
                </a:ext>
              </a:extLst>
            </p:cNvPr>
            <p:cNvSpPr/>
            <p:nvPr/>
          </p:nvSpPr>
          <p:spPr>
            <a:xfrm>
              <a:off x="20249609" y="3931382"/>
              <a:ext cx="151198" cy="132685"/>
            </a:xfrm>
            <a:custGeom>
              <a:avLst/>
              <a:gdLst>
                <a:gd name="connsiteX0" fmla="*/ 9257 w 151198"/>
                <a:gd name="connsiteY0" fmla="*/ 132686 h 132685"/>
                <a:gd name="connsiteX1" fmla="*/ 126514 w 151198"/>
                <a:gd name="connsiteY1" fmla="*/ 126514 h 132685"/>
                <a:gd name="connsiteX2" fmla="*/ 151199 w 151198"/>
                <a:gd name="connsiteY2" fmla="*/ 33943 h 132685"/>
                <a:gd name="connsiteX3" fmla="*/ 126514 w 151198"/>
                <a:gd name="connsiteY3" fmla="*/ 0 h 132685"/>
                <a:gd name="connsiteX4" fmla="*/ 0 w 151198"/>
                <a:gd name="connsiteY4" fmla="*/ 40114 h 132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198" h="132685">
                  <a:moveTo>
                    <a:pt x="9257" y="132686"/>
                  </a:moveTo>
                  <a:lnTo>
                    <a:pt x="126514" y="126514"/>
                  </a:lnTo>
                  <a:lnTo>
                    <a:pt x="151199" y="33943"/>
                  </a:lnTo>
                  <a:lnTo>
                    <a:pt x="126514" y="0"/>
                  </a:lnTo>
                  <a:lnTo>
                    <a:pt x="0" y="40114"/>
                  </a:ln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9D068AE0-699D-403F-8F3F-4CC2FE60C5B1}"/>
                </a:ext>
              </a:extLst>
            </p:cNvPr>
            <p:cNvSpPr/>
            <p:nvPr/>
          </p:nvSpPr>
          <p:spPr>
            <a:xfrm>
              <a:off x="20052912" y="3919638"/>
              <a:ext cx="249009" cy="177000"/>
            </a:xfrm>
            <a:custGeom>
              <a:avLst/>
              <a:gdLst>
                <a:gd name="connsiteX0" fmla="*/ 110296 w 249009"/>
                <a:gd name="connsiteY0" fmla="*/ 175286 h 177000"/>
                <a:gd name="connsiteX1" fmla="*/ 239896 w 249009"/>
                <a:gd name="connsiteY1" fmla="*/ 144429 h 177000"/>
                <a:gd name="connsiteX2" fmla="*/ 242983 w 249009"/>
                <a:gd name="connsiteY2" fmla="*/ 39515 h 177000"/>
                <a:gd name="connsiteX3" fmla="*/ 5382 w 249009"/>
                <a:gd name="connsiteY3" fmla="*/ 21001 h 177000"/>
                <a:gd name="connsiteX4" fmla="*/ 11554 w 249009"/>
                <a:gd name="connsiteY4" fmla="*/ 64201 h 177000"/>
                <a:gd name="connsiteX5" fmla="*/ 11554 w 249009"/>
                <a:gd name="connsiteY5" fmla="*/ 113572 h 177000"/>
                <a:gd name="connsiteX6" fmla="*/ 33153 w 249009"/>
                <a:gd name="connsiteY6" fmla="*/ 138258 h 177000"/>
                <a:gd name="connsiteX7" fmla="*/ 73269 w 249009"/>
                <a:gd name="connsiteY7" fmla="*/ 166029 h 177000"/>
                <a:gd name="connsiteX8" fmla="*/ 110296 w 249009"/>
                <a:gd name="connsiteY8" fmla="*/ 175286 h 17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009" h="177000">
                  <a:moveTo>
                    <a:pt x="110296" y="175286"/>
                  </a:moveTo>
                  <a:cubicBezTo>
                    <a:pt x="147325" y="172201"/>
                    <a:pt x="215211" y="178372"/>
                    <a:pt x="239896" y="144429"/>
                  </a:cubicBezTo>
                  <a:cubicBezTo>
                    <a:pt x="258411" y="122829"/>
                    <a:pt x="242983" y="39515"/>
                    <a:pt x="242983" y="39515"/>
                  </a:cubicBezTo>
                  <a:cubicBezTo>
                    <a:pt x="209039" y="-25285"/>
                    <a:pt x="60925" y="5572"/>
                    <a:pt x="5382" y="21001"/>
                  </a:cubicBezTo>
                  <a:cubicBezTo>
                    <a:pt x="-3874" y="24086"/>
                    <a:pt x="-789" y="61115"/>
                    <a:pt x="11554" y="64201"/>
                  </a:cubicBezTo>
                  <a:cubicBezTo>
                    <a:pt x="30068" y="67286"/>
                    <a:pt x="8467" y="104315"/>
                    <a:pt x="11554" y="113572"/>
                  </a:cubicBezTo>
                  <a:cubicBezTo>
                    <a:pt x="14639" y="122829"/>
                    <a:pt x="33153" y="135172"/>
                    <a:pt x="33153" y="138258"/>
                  </a:cubicBezTo>
                  <a:cubicBezTo>
                    <a:pt x="45496" y="150601"/>
                    <a:pt x="67097" y="159858"/>
                    <a:pt x="73269" y="166029"/>
                  </a:cubicBezTo>
                  <a:cubicBezTo>
                    <a:pt x="79438" y="178372"/>
                    <a:pt x="88697" y="178372"/>
                    <a:pt x="110296" y="175286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2582D17F-6A7E-4961-9B36-C25C956F3CC1}"/>
                </a:ext>
              </a:extLst>
            </p:cNvPr>
            <p:cNvGrpSpPr/>
            <p:nvPr/>
          </p:nvGrpSpPr>
          <p:grpSpPr>
            <a:xfrm>
              <a:off x="19748898" y="3483293"/>
              <a:ext cx="538990" cy="622259"/>
              <a:chOff x="19748898" y="3483293"/>
              <a:chExt cx="538990" cy="622259"/>
            </a:xfrm>
          </p:grpSpPr>
          <p:grpSp>
            <p:nvGrpSpPr>
              <p:cNvPr id="120" name="图形 1">
                <a:extLst>
                  <a:ext uri="{FF2B5EF4-FFF2-40B4-BE49-F238E27FC236}">
                    <a16:creationId xmlns:a16="http://schemas.microsoft.com/office/drawing/2014/main" id="{6E7530AC-7D69-4837-934A-D54DC019DD4B}"/>
                  </a:ext>
                </a:extLst>
              </p:cNvPr>
              <p:cNvGrpSpPr/>
              <p:nvPr/>
            </p:nvGrpSpPr>
            <p:grpSpPr>
              <a:xfrm>
                <a:off x="19748898" y="3654291"/>
                <a:ext cx="465224" cy="421060"/>
                <a:chOff x="19748898" y="3654291"/>
                <a:chExt cx="465224" cy="421060"/>
              </a:xfrm>
            </p:grpSpPr>
            <p:sp>
              <p:nvSpPr>
                <p:cNvPr id="153" name="任意多边形: 形状 152">
                  <a:extLst>
                    <a:ext uri="{FF2B5EF4-FFF2-40B4-BE49-F238E27FC236}">
                      <a16:creationId xmlns:a16="http://schemas.microsoft.com/office/drawing/2014/main" id="{1BD350D5-8B37-4454-8C58-F38190A40C04}"/>
                    </a:ext>
                  </a:extLst>
                </p:cNvPr>
                <p:cNvSpPr/>
                <p:nvPr/>
              </p:nvSpPr>
              <p:spPr>
                <a:xfrm>
                  <a:off x="19856902" y="3794790"/>
                  <a:ext cx="357220" cy="280561"/>
                </a:xfrm>
                <a:custGeom>
                  <a:avLst/>
                  <a:gdLst>
                    <a:gd name="connsiteX0" fmla="*/ 352592 w 357220"/>
                    <a:gd name="connsiteY0" fmla="*/ 278535 h 280561"/>
                    <a:gd name="connsiteX1" fmla="*/ 352592 w 357220"/>
                    <a:gd name="connsiteY1" fmla="*/ 278535 h 280561"/>
                    <a:gd name="connsiteX2" fmla="*/ 352592 w 357220"/>
                    <a:gd name="connsiteY2" fmla="*/ 263106 h 280561"/>
                    <a:gd name="connsiteX3" fmla="*/ 13163 w 357220"/>
                    <a:gd name="connsiteY3" fmla="*/ 821 h 280561"/>
                    <a:gd name="connsiteX4" fmla="*/ 821 w 357220"/>
                    <a:gd name="connsiteY4" fmla="*/ 10078 h 280561"/>
                    <a:gd name="connsiteX5" fmla="*/ 10078 w 357220"/>
                    <a:gd name="connsiteY5" fmla="*/ 22421 h 280561"/>
                    <a:gd name="connsiteX6" fmla="*/ 340250 w 357220"/>
                    <a:gd name="connsiteY6" fmla="*/ 275449 h 280561"/>
                    <a:gd name="connsiteX7" fmla="*/ 352592 w 357220"/>
                    <a:gd name="connsiteY7" fmla="*/ 278535 h 280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57220" h="280561">
                      <a:moveTo>
                        <a:pt x="352592" y="278535"/>
                      </a:moveTo>
                      <a:cubicBezTo>
                        <a:pt x="352592" y="278535"/>
                        <a:pt x="352592" y="278535"/>
                        <a:pt x="352592" y="278535"/>
                      </a:cubicBezTo>
                      <a:cubicBezTo>
                        <a:pt x="358763" y="275449"/>
                        <a:pt x="358763" y="266192"/>
                        <a:pt x="352592" y="263106"/>
                      </a:cubicBezTo>
                      <a:cubicBezTo>
                        <a:pt x="346422" y="256935"/>
                        <a:pt x="142763" y="37849"/>
                        <a:pt x="13163" y="821"/>
                      </a:cubicBezTo>
                      <a:cubicBezTo>
                        <a:pt x="6993" y="-2265"/>
                        <a:pt x="821" y="3906"/>
                        <a:pt x="821" y="10078"/>
                      </a:cubicBezTo>
                      <a:cubicBezTo>
                        <a:pt x="-2266" y="16249"/>
                        <a:pt x="3906" y="22421"/>
                        <a:pt x="10078" y="22421"/>
                      </a:cubicBezTo>
                      <a:cubicBezTo>
                        <a:pt x="133507" y="56363"/>
                        <a:pt x="337163" y="275449"/>
                        <a:pt x="340250" y="275449"/>
                      </a:cubicBezTo>
                      <a:cubicBezTo>
                        <a:pt x="340250" y="281621"/>
                        <a:pt x="349507" y="281621"/>
                        <a:pt x="352592" y="278535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4" name="任意多边形: 形状 153">
                  <a:extLst>
                    <a:ext uri="{FF2B5EF4-FFF2-40B4-BE49-F238E27FC236}">
                      <a16:creationId xmlns:a16="http://schemas.microsoft.com/office/drawing/2014/main" id="{27686B11-4E12-4118-BA43-51AB17273CDA}"/>
                    </a:ext>
                  </a:extLst>
                </p:cNvPr>
                <p:cNvSpPr/>
                <p:nvPr/>
              </p:nvSpPr>
              <p:spPr>
                <a:xfrm>
                  <a:off x="19836855" y="3654291"/>
                  <a:ext cx="89470" cy="128976"/>
                </a:xfrm>
                <a:custGeom>
                  <a:avLst/>
                  <a:gdLst>
                    <a:gd name="connsiteX0" fmla="*/ 17781 w 89470"/>
                    <a:gd name="connsiteY0" fmla="*/ 128976 h 128976"/>
                    <a:gd name="connsiteX1" fmla="*/ 54810 w 89470"/>
                    <a:gd name="connsiteY1" fmla="*/ 5548 h 128976"/>
                    <a:gd name="connsiteX2" fmla="*/ 17781 w 89470"/>
                    <a:gd name="connsiteY2" fmla="*/ 128976 h 1289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9470" h="128976">
                      <a:moveTo>
                        <a:pt x="17781" y="128976"/>
                      </a:moveTo>
                      <a:cubicBezTo>
                        <a:pt x="17781" y="128976"/>
                        <a:pt x="-40846" y="-31481"/>
                        <a:pt x="54810" y="5548"/>
                      </a:cubicBezTo>
                      <a:cubicBezTo>
                        <a:pt x="150469" y="42576"/>
                        <a:pt x="17781" y="128976"/>
                        <a:pt x="17781" y="128976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5" name="任意多边形: 形状 154">
                  <a:extLst>
                    <a:ext uri="{FF2B5EF4-FFF2-40B4-BE49-F238E27FC236}">
                      <a16:creationId xmlns:a16="http://schemas.microsoft.com/office/drawing/2014/main" id="{EC5AF75A-0D3B-4BD0-883A-D2CC88A06BFF}"/>
                    </a:ext>
                  </a:extLst>
                </p:cNvPr>
                <p:cNvSpPr/>
                <p:nvPr/>
              </p:nvSpPr>
              <p:spPr>
                <a:xfrm>
                  <a:off x="19748898" y="3705542"/>
                  <a:ext cx="108825" cy="87099"/>
                </a:xfrm>
                <a:custGeom>
                  <a:avLst/>
                  <a:gdLst>
                    <a:gd name="connsiteX0" fmla="*/ 108825 w 108825"/>
                    <a:gd name="connsiteY0" fmla="*/ 86982 h 87099"/>
                    <a:gd name="connsiteX1" fmla="*/ 13167 w 108825"/>
                    <a:gd name="connsiteY1" fmla="*/ 3668 h 87099"/>
                    <a:gd name="connsiteX2" fmla="*/ 108825 w 108825"/>
                    <a:gd name="connsiteY2" fmla="*/ 86982 h 87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8825" h="87099">
                      <a:moveTo>
                        <a:pt x="108825" y="86982"/>
                      </a:moveTo>
                      <a:cubicBezTo>
                        <a:pt x="108825" y="86982"/>
                        <a:pt x="40939" y="-21018"/>
                        <a:pt x="13167" y="3668"/>
                      </a:cubicBezTo>
                      <a:cubicBezTo>
                        <a:pt x="-14603" y="31439"/>
                        <a:pt x="-5347" y="90068"/>
                        <a:pt x="108825" y="8698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6" name="任意多边形: 形状 155">
                  <a:extLst>
                    <a:ext uri="{FF2B5EF4-FFF2-40B4-BE49-F238E27FC236}">
                      <a16:creationId xmlns:a16="http://schemas.microsoft.com/office/drawing/2014/main" id="{4DEDA634-BBDD-48A6-A62B-B60DF315DA2A}"/>
                    </a:ext>
                  </a:extLst>
                </p:cNvPr>
                <p:cNvSpPr/>
                <p:nvPr/>
              </p:nvSpPr>
              <p:spPr>
                <a:xfrm>
                  <a:off x="19866980" y="3748343"/>
                  <a:ext cx="119193" cy="77603"/>
                </a:xfrm>
                <a:custGeom>
                  <a:avLst/>
                  <a:gdLst>
                    <a:gd name="connsiteX0" fmla="*/ 0 w 119193"/>
                    <a:gd name="connsiteY0" fmla="*/ 38010 h 77603"/>
                    <a:gd name="connsiteX1" fmla="*/ 117257 w 119193"/>
                    <a:gd name="connsiteY1" fmla="*/ 22582 h 77603"/>
                    <a:gd name="connsiteX2" fmla="*/ 0 w 119193"/>
                    <a:gd name="connsiteY2" fmla="*/ 38010 h 77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9193" h="77603">
                      <a:moveTo>
                        <a:pt x="0" y="38010"/>
                      </a:moveTo>
                      <a:cubicBezTo>
                        <a:pt x="0" y="38010"/>
                        <a:pt x="104915" y="-36047"/>
                        <a:pt x="117257" y="22582"/>
                      </a:cubicBezTo>
                      <a:cubicBezTo>
                        <a:pt x="132685" y="81210"/>
                        <a:pt x="52458" y="102810"/>
                        <a:pt x="0" y="3801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7" name="任意多边形: 形状 156">
                  <a:extLst>
                    <a:ext uri="{FF2B5EF4-FFF2-40B4-BE49-F238E27FC236}">
                      <a16:creationId xmlns:a16="http://schemas.microsoft.com/office/drawing/2014/main" id="{DF53FA1C-D9D6-4B78-9EB0-6DDA4B468E57}"/>
                    </a:ext>
                  </a:extLst>
                </p:cNvPr>
                <p:cNvSpPr/>
                <p:nvPr/>
              </p:nvSpPr>
              <p:spPr>
                <a:xfrm>
                  <a:off x="19862946" y="3801782"/>
                  <a:ext cx="62382" cy="95033"/>
                </a:xfrm>
                <a:custGeom>
                  <a:avLst/>
                  <a:gdLst>
                    <a:gd name="connsiteX0" fmla="*/ 949 w 62382"/>
                    <a:gd name="connsiteY0" fmla="*/ 0 h 95033"/>
                    <a:gd name="connsiteX1" fmla="*/ 53404 w 62382"/>
                    <a:gd name="connsiteY1" fmla="*/ 80229 h 95033"/>
                    <a:gd name="connsiteX2" fmla="*/ 949 w 62382"/>
                    <a:gd name="connsiteY2" fmla="*/ 0 h 95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2382" h="95033">
                      <a:moveTo>
                        <a:pt x="949" y="0"/>
                      </a:moveTo>
                      <a:cubicBezTo>
                        <a:pt x="949" y="0"/>
                        <a:pt x="90433" y="40114"/>
                        <a:pt x="53404" y="80229"/>
                      </a:cubicBezTo>
                      <a:cubicBezTo>
                        <a:pt x="19462" y="120343"/>
                        <a:pt x="-5223" y="74057"/>
                        <a:pt x="949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8" name="任意多边形: 形状 157">
                  <a:extLst>
                    <a:ext uri="{FF2B5EF4-FFF2-40B4-BE49-F238E27FC236}">
                      <a16:creationId xmlns:a16="http://schemas.microsoft.com/office/drawing/2014/main" id="{8C8B519A-4CAF-44A7-BD38-B5A63FF93ABB}"/>
                    </a:ext>
                  </a:extLst>
                </p:cNvPr>
                <p:cNvSpPr/>
                <p:nvPr/>
              </p:nvSpPr>
              <p:spPr>
                <a:xfrm>
                  <a:off x="19768099" y="3803374"/>
                  <a:ext cx="86537" cy="72101"/>
                </a:xfrm>
                <a:custGeom>
                  <a:avLst/>
                  <a:gdLst>
                    <a:gd name="connsiteX0" fmla="*/ 86537 w 86537"/>
                    <a:gd name="connsiteY0" fmla="*/ 1493 h 72101"/>
                    <a:gd name="connsiteX1" fmla="*/ 138 w 86537"/>
                    <a:gd name="connsiteY1" fmla="*/ 35436 h 72101"/>
                    <a:gd name="connsiteX2" fmla="*/ 86537 w 86537"/>
                    <a:gd name="connsiteY2" fmla="*/ 1493 h 72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6537" h="72101">
                      <a:moveTo>
                        <a:pt x="86537" y="1493"/>
                      </a:moveTo>
                      <a:cubicBezTo>
                        <a:pt x="86537" y="1493"/>
                        <a:pt x="138" y="-10849"/>
                        <a:pt x="138" y="35436"/>
                      </a:cubicBezTo>
                      <a:cubicBezTo>
                        <a:pt x="-2947" y="84808"/>
                        <a:pt x="46423" y="94065"/>
                        <a:pt x="86537" y="149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9" name="任意多边形: 形状 158">
                  <a:extLst>
                    <a:ext uri="{FF2B5EF4-FFF2-40B4-BE49-F238E27FC236}">
                      <a16:creationId xmlns:a16="http://schemas.microsoft.com/office/drawing/2014/main" id="{75E69982-1DF4-4419-9D4A-877C17F33A42}"/>
                    </a:ext>
                  </a:extLst>
                </p:cNvPr>
                <p:cNvSpPr/>
                <p:nvPr/>
              </p:nvSpPr>
              <p:spPr>
                <a:xfrm>
                  <a:off x="19832609" y="3767412"/>
                  <a:ext cx="56397" cy="57656"/>
                </a:xfrm>
                <a:custGeom>
                  <a:avLst/>
                  <a:gdLst>
                    <a:gd name="connsiteX0" fmla="*/ 6598 w 56397"/>
                    <a:gd name="connsiteY0" fmla="*/ 46713 h 57656"/>
                    <a:gd name="connsiteX1" fmla="*/ 9685 w 56397"/>
                    <a:gd name="connsiteY1" fmla="*/ 6598 h 57656"/>
                    <a:gd name="connsiteX2" fmla="*/ 49799 w 56397"/>
                    <a:gd name="connsiteY2" fmla="*/ 9684 h 57656"/>
                    <a:gd name="connsiteX3" fmla="*/ 46714 w 56397"/>
                    <a:gd name="connsiteY3" fmla="*/ 49799 h 57656"/>
                    <a:gd name="connsiteX4" fmla="*/ 6598 w 56397"/>
                    <a:gd name="connsiteY4" fmla="*/ 46713 h 57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397" h="57656">
                      <a:moveTo>
                        <a:pt x="6598" y="46713"/>
                      </a:moveTo>
                      <a:cubicBezTo>
                        <a:pt x="-2659" y="34370"/>
                        <a:pt x="-2659" y="15856"/>
                        <a:pt x="9685" y="6598"/>
                      </a:cubicBezTo>
                      <a:cubicBezTo>
                        <a:pt x="22027" y="-2659"/>
                        <a:pt x="40542" y="-2659"/>
                        <a:pt x="49799" y="9684"/>
                      </a:cubicBezTo>
                      <a:cubicBezTo>
                        <a:pt x="59056" y="22027"/>
                        <a:pt x="59056" y="40542"/>
                        <a:pt x="46714" y="49799"/>
                      </a:cubicBezTo>
                      <a:cubicBezTo>
                        <a:pt x="34370" y="62141"/>
                        <a:pt x="15857" y="59056"/>
                        <a:pt x="6598" y="46713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21" name="图形 1">
                <a:extLst>
                  <a:ext uri="{FF2B5EF4-FFF2-40B4-BE49-F238E27FC236}">
                    <a16:creationId xmlns:a16="http://schemas.microsoft.com/office/drawing/2014/main" id="{8A4C24FA-8FC5-4B12-82E3-9A2349F857D9}"/>
                  </a:ext>
                </a:extLst>
              </p:cNvPr>
              <p:cNvGrpSpPr/>
              <p:nvPr/>
            </p:nvGrpSpPr>
            <p:grpSpPr>
              <a:xfrm>
                <a:off x="19799121" y="3483293"/>
                <a:ext cx="401115" cy="602374"/>
                <a:chOff x="19799121" y="3483293"/>
                <a:chExt cx="401115" cy="602374"/>
              </a:xfrm>
            </p:grpSpPr>
            <p:sp>
              <p:nvSpPr>
                <p:cNvPr id="146" name="任意多边形: 形状 145">
                  <a:extLst>
                    <a:ext uri="{FF2B5EF4-FFF2-40B4-BE49-F238E27FC236}">
                      <a16:creationId xmlns:a16="http://schemas.microsoft.com/office/drawing/2014/main" id="{B3ADAF3A-A125-4092-BE90-566C2239495E}"/>
                    </a:ext>
                  </a:extLst>
                </p:cNvPr>
                <p:cNvSpPr/>
                <p:nvPr/>
              </p:nvSpPr>
              <p:spPr>
                <a:xfrm>
                  <a:off x="19917409" y="3639298"/>
                  <a:ext cx="282826" cy="446369"/>
                </a:xfrm>
                <a:custGeom>
                  <a:avLst/>
                  <a:gdLst>
                    <a:gd name="connsiteX0" fmla="*/ 273570 w 282826"/>
                    <a:gd name="connsiteY0" fmla="*/ 446370 h 446369"/>
                    <a:gd name="connsiteX1" fmla="*/ 273570 w 282826"/>
                    <a:gd name="connsiteY1" fmla="*/ 446370 h 446369"/>
                    <a:gd name="connsiteX2" fmla="*/ 282827 w 282826"/>
                    <a:gd name="connsiteY2" fmla="*/ 430941 h 446369"/>
                    <a:gd name="connsiteX3" fmla="*/ 20541 w 282826"/>
                    <a:gd name="connsiteY3" fmla="*/ 2027 h 446369"/>
                    <a:gd name="connsiteX4" fmla="*/ 2028 w 282826"/>
                    <a:gd name="connsiteY4" fmla="*/ 5113 h 446369"/>
                    <a:gd name="connsiteX5" fmla="*/ 5113 w 282826"/>
                    <a:gd name="connsiteY5" fmla="*/ 23627 h 446369"/>
                    <a:gd name="connsiteX6" fmla="*/ 258142 w 282826"/>
                    <a:gd name="connsiteY6" fmla="*/ 440198 h 446369"/>
                    <a:gd name="connsiteX7" fmla="*/ 273570 w 282826"/>
                    <a:gd name="connsiteY7" fmla="*/ 446370 h 4463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82826" h="446369">
                      <a:moveTo>
                        <a:pt x="273570" y="446370"/>
                      </a:moveTo>
                      <a:cubicBezTo>
                        <a:pt x="273570" y="446370"/>
                        <a:pt x="273570" y="446370"/>
                        <a:pt x="273570" y="446370"/>
                      </a:cubicBezTo>
                      <a:cubicBezTo>
                        <a:pt x="279742" y="443284"/>
                        <a:pt x="282827" y="437113"/>
                        <a:pt x="282827" y="430941"/>
                      </a:cubicBezTo>
                      <a:cubicBezTo>
                        <a:pt x="279742" y="421684"/>
                        <a:pt x="147057" y="94598"/>
                        <a:pt x="20541" y="2027"/>
                      </a:cubicBezTo>
                      <a:cubicBezTo>
                        <a:pt x="14369" y="-1059"/>
                        <a:pt x="5113" y="-1059"/>
                        <a:pt x="2028" y="5113"/>
                      </a:cubicBezTo>
                      <a:cubicBezTo>
                        <a:pt x="-1059" y="11284"/>
                        <a:pt x="-1059" y="20541"/>
                        <a:pt x="5113" y="23627"/>
                      </a:cubicBezTo>
                      <a:cubicBezTo>
                        <a:pt x="125456" y="110027"/>
                        <a:pt x="258142" y="440198"/>
                        <a:pt x="258142" y="440198"/>
                      </a:cubicBezTo>
                      <a:cubicBezTo>
                        <a:pt x="258142" y="443284"/>
                        <a:pt x="267398" y="446370"/>
                        <a:pt x="273570" y="446370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7" name="任意多边形: 形状 146">
                  <a:extLst>
                    <a:ext uri="{FF2B5EF4-FFF2-40B4-BE49-F238E27FC236}">
                      <a16:creationId xmlns:a16="http://schemas.microsoft.com/office/drawing/2014/main" id="{D1ECB107-35D0-49F6-981D-A3B7A863E119}"/>
                    </a:ext>
                  </a:extLst>
                </p:cNvPr>
                <p:cNvSpPr/>
                <p:nvPr/>
              </p:nvSpPr>
              <p:spPr>
                <a:xfrm>
                  <a:off x="19925609" y="3483293"/>
                  <a:ext cx="116137" cy="136431"/>
                </a:xfrm>
                <a:custGeom>
                  <a:avLst/>
                  <a:gdLst>
                    <a:gd name="connsiteX0" fmla="*/ 0 w 116137"/>
                    <a:gd name="connsiteY0" fmla="*/ 136431 h 136431"/>
                    <a:gd name="connsiteX1" fmla="*/ 92571 w 116137"/>
                    <a:gd name="connsiteY1" fmla="*/ 19174 h 136431"/>
                    <a:gd name="connsiteX2" fmla="*/ 0 w 116137"/>
                    <a:gd name="connsiteY2" fmla="*/ 136431 h 136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6137" h="136431">
                      <a:moveTo>
                        <a:pt x="0" y="136431"/>
                      </a:moveTo>
                      <a:cubicBezTo>
                        <a:pt x="0" y="136431"/>
                        <a:pt x="6170" y="-61054"/>
                        <a:pt x="92571" y="19174"/>
                      </a:cubicBezTo>
                      <a:cubicBezTo>
                        <a:pt x="178971" y="99403"/>
                        <a:pt x="0" y="136431"/>
                        <a:pt x="0" y="136431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9B8BA55A-C4C6-4971-8482-6470C18932B3}"/>
                    </a:ext>
                  </a:extLst>
                </p:cNvPr>
                <p:cNvSpPr/>
                <p:nvPr/>
              </p:nvSpPr>
              <p:spPr>
                <a:xfrm>
                  <a:off x="19824292" y="3498232"/>
                  <a:ext cx="98230" cy="130749"/>
                </a:xfrm>
                <a:custGeom>
                  <a:avLst/>
                  <a:gdLst>
                    <a:gd name="connsiteX0" fmla="*/ 98230 w 98230"/>
                    <a:gd name="connsiteY0" fmla="*/ 130749 h 130749"/>
                    <a:gd name="connsiteX1" fmla="*/ 30344 w 98230"/>
                    <a:gd name="connsiteY1" fmla="*/ 1149 h 130749"/>
                    <a:gd name="connsiteX2" fmla="*/ 98230 w 98230"/>
                    <a:gd name="connsiteY2" fmla="*/ 130749 h 130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8230" h="130749">
                      <a:moveTo>
                        <a:pt x="98230" y="130749"/>
                      </a:moveTo>
                      <a:cubicBezTo>
                        <a:pt x="98230" y="130749"/>
                        <a:pt x="70460" y="-14279"/>
                        <a:pt x="30344" y="1149"/>
                      </a:cubicBezTo>
                      <a:cubicBezTo>
                        <a:pt x="-12855" y="19664"/>
                        <a:pt x="-25198" y="87549"/>
                        <a:pt x="98230" y="13074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9" name="任意多边形: 形状 148">
                  <a:extLst>
                    <a:ext uri="{FF2B5EF4-FFF2-40B4-BE49-F238E27FC236}">
                      <a16:creationId xmlns:a16="http://schemas.microsoft.com/office/drawing/2014/main" id="{04F879A0-CBAB-45C9-9134-AFE409F49585}"/>
                    </a:ext>
                  </a:extLst>
                </p:cNvPr>
                <p:cNvSpPr/>
                <p:nvPr/>
              </p:nvSpPr>
              <p:spPr>
                <a:xfrm>
                  <a:off x="19937951" y="3618902"/>
                  <a:ext cx="136197" cy="85481"/>
                </a:xfrm>
                <a:custGeom>
                  <a:avLst/>
                  <a:gdLst>
                    <a:gd name="connsiteX0" fmla="*/ 0 w 136197"/>
                    <a:gd name="connsiteY0" fmla="*/ 10080 h 85481"/>
                    <a:gd name="connsiteX1" fmla="*/ 135772 w 136197"/>
                    <a:gd name="connsiteY1" fmla="*/ 40937 h 85481"/>
                    <a:gd name="connsiteX2" fmla="*/ 0 w 136197"/>
                    <a:gd name="connsiteY2" fmla="*/ 10080 h 854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6197" h="85481">
                      <a:moveTo>
                        <a:pt x="0" y="10080"/>
                      </a:moveTo>
                      <a:cubicBezTo>
                        <a:pt x="0" y="10080"/>
                        <a:pt x="145029" y="-26949"/>
                        <a:pt x="135772" y="40937"/>
                      </a:cubicBezTo>
                      <a:cubicBezTo>
                        <a:pt x="123429" y="108823"/>
                        <a:pt x="27772" y="99565"/>
                        <a:pt x="0" y="1008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0" name="任意多边形: 形状 149">
                  <a:extLst>
                    <a:ext uri="{FF2B5EF4-FFF2-40B4-BE49-F238E27FC236}">
                      <a16:creationId xmlns:a16="http://schemas.microsoft.com/office/drawing/2014/main" id="{6A4B511B-B69A-4F52-A0E2-1C7C68521A0D}"/>
                    </a:ext>
                  </a:extLst>
                </p:cNvPr>
                <p:cNvSpPr/>
                <p:nvPr/>
              </p:nvSpPr>
              <p:spPr>
                <a:xfrm>
                  <a:off x="19902866" y="3641325"/>
                  <a:ext cx="67536" cy="116367"/>
                </a:xfrm>
                <a:custGeom>
                  <a:avLst/>
                  <a:gdLst>
                    <a:gd name="connsiteX0" fmla="*/ 25828 w 67536"/>
                    <a:gd name="connsiteY0" fmla="*/ 0 h 116367"/>
                    <a:gd name="connsiteX1" fmla="*/ 47428 w 67536"/>
                    <a:gd name="connsiteY1" fmla="*/ 108000 h 116367"/>
                    <a:gd name="connsiteX2" fmla="*/ 25828 w 67536"/>
                    <a:gd name="connsiteY2" fmla="*/ 0 h 1163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7536" h="116367">
                      <a:moveTo>
                        <a:pt x="25828" y="0"/>
                      </a:moveTo>
                      <a:cubicBezTo>
                        <a:pt x="25828" y="0"/>
                        <a:pt x="102971" y="80229"/>
                        <a:pt x="47428" y="108000"/>
                      </a:cubicBezTo>
                      <a:cubicBezTo>
                        <a:pt x="-8114" y="138857"/>
                        <a:pt x="-14286" y="80229"/>
                        <a:pt x="25828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1" name="任意多边形: 形状 150">
                  <a:extLst>
                    <a:ext uri="{FF2B5EF4-FFF2-40B4-BE49-F238E27FC236}">
                      <a16:creationId xmlns:a16="http://schemas.microsoft.com/office/drawing/2014/main" id="{FABCF59B-489C-4FB3-9C15-7116392CE55F}"/>
                    </a:ext>
                  </a:extLst>
                </p:cNvPr>
                <p:cNvSpPr/>
                <p:nvPr/>
              </p:nvSpPr>
              <p:spPr>
                <a:xfrm>
                  <a:off x="19799121" y="3623354"/>
                  <a:ext cx="114143" cy="71631"/>
                </a:xfrm>
                <a:custGeom>
                  <a:avLst/>
                  <a:gdLst>
                    <a:gd name="connsiteX0" fmla="*/ 114144 w 114143"/>
                    <a:gd name="connsiteY0" fmla="*/ 21056 h 71631"/>
                    <a:gd name="connsiteX1" fmla="*/ 6144 w 114143"/>
                    <a:gd name="connsiteY1" fmla="*/ 24142 h 71631"/>
                    <a:gd name="connsiteX2" fmla="*/ 114144 w 114143"/>
                    <a:gd name="connsiteY2" fmla="*/ 21056 h 71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143" h="71631">
                      <a:moveTo>
                        <a:pt x="114144" y="21056"/>
                      </a:moveTo>
                      <a:cubicBezTo>
                        <a:pt x="114144" y="21056"/>
                        <a:pt x="27744" y="-28315"/>
                        <a:pt x="6144" y="24142"/>
                      </a:cubicBezTo>
                      <a:cubicBezTo>
                        <a:pt x="-18541" y="73514"/>
                        <a:pt x="33916" y="101285"/>
                        <a:pt x="114144" y="21056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2" name="任意多边形: 形状 151">
                  <a:extLst>
                    <a:ext uri="{FF2B5EF4-FFF2-40B4-BE49-F238E27FC236}">
                      <a16:creationId xmlns:a16="http://schemas.microsoft.com/office/drawing/2014/main" id="{4906696B-8D3D-4C6A-BB1F-DA6428C07B17}"/>
                    </a:ext>
                  </a:extLst>
                </p:cNvPr>
                <p:cNvSpPr/>
                <p:nvPr/>
              </p:nvSpPr>
              <p:spPr>
                <a:xfrm>
                  <a:off x="19889761" y="3602392"/>
                  <a:ext cx="68608" cy="68326"/>
                </a:xfrm>
                <a:custGeom>
                  <a:avLst/>
                  <a:gdLst>
                    <a:gd name="connsiteX0" fmla="*/ 1904 w 68608"/>
                    <a:gd name="connsiteY0" fmla="*/ 45104 h 68326"/>
                    <a:gd name="connsiteX1" fmla="*/ 23504 w 68608"/>
                    <a:gd name="connsiteY1" fmla="*/ 1904 h 68326"/>
                    <a:gd name="connsiteX2" fmla="*/ 66705 w 68608"/>
                    <a:gd name="connsiteY2" fmla="*/ 23504 h 68326"/>
                    <a:gd name="connsiteX3" fmla="*/ 45105 w 68608"/>
                    <a:gd name="connsiteY3" fmla="*/ 66704 h 68326"/>
                    <a:gd name="connsiteX4" fmla="*/ 1904 w 68608"/>
                    <a:gd name="connsiteY4" fmla="*/ 45104 h 68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8608" h="68326">
                      <a:moveTo>
                        <a:pt x="1904" y="45104"/>
                      </a:moveTo>
                      <a:cubicBezTo>
                        <a:pt x="-4268" y="26590"/>
                        <a:pt x="4991" y="8075"/>
                        <a:pt x="23504" y="1904"/>
                      </a:cubicBezTo>
                      <a:cubicBezTo>
                        <a:pt x="42018" y="-4267"/>
                        <a:pt x="60533" y="4990"/>
                        <a:pt x="66705" y="23504"/>
                      </a:cubicBezTo>
                      <a:cubicBezTo>
                        <a:pt x="72875" y="42018"/>
                        <a:pt x="63618" y="60533"/>
                        <a:pt x="45105" y="66704"/>
                      </a:cubicBezTo>
                      <a:cubicBezTo>
                        <a:pt x="29676" y="72875"/>
                        <a:pt x="8076" y="60533"/>
                        <a:pt x="1904" y="4510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22" name="图形 1">
                <a:extLst>
                  <a:ext uri="{FF2B5EF4-FFF2-40B4-BE49-F238E27FC236}">
                    <a16:creationId xmlns:a16="http://schemas.microsoft.com/office/drawing/2014/main" id="{5F14319C-E944-4D69-BB4A-C0A8DA5570CC}"/>
                  </a:ext>
                </a:extLst>
              </p:cNvPr>
              <p:cNvGrpSpPr/>
              <p:nvPr/>
            </p:nvGrpSpPr>
            <p:grpSpPr>
              <a:xfrm>
                <a:off x="19921613" y="3744680"/>
                <a:ext cx="238509" cy="360872"/>
                <a:chOff x="19921613" y="3744680"/>
                <a:chExt cx="238509" cy="360872"/>
              </a:xfrm>
            </p:grpSpPr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50F79FF2-850A-4B4D-8276-35C66018D2D8}"/>
                    </a:ext>
                  </a:extLst>
                </p:cNvPr>
                <p:cNvSpPr/>
                <p:nvPr/>
              </p:nvSpPr>
              <p:spPr>
                <a:xfrm>
                  <a:off x="19988382" y="3836783"/>
                  <a:ext cx="171740" cy="268769"/>
                </a:xfrm>
                <a:custGeom>
                  <a:avLst/>
                  <a:gdLst>
                    <a:gd name="connsiteX0" fmla="*/ 165569 w 171740"/>
                    <a:gd name="connsiteY0" fmla="*/ 267398 h 268769"/>
                    <a:gd name="connsiteX1" fmla="*/ 165569 w 171740"/>
                    <a:gd name="connsiteY1" fmla="*/ 267398 h 268769"/>
                    <a:gd name="connsiteX2" fmla="*/ 171741 w 171740"/>
                    <a:gd name="connsiteY2" fmla="*/ 258141 h 268769"/>
                    <a:gd name="connsiteX3" fmla="*/ 14370 w 171740"/>
                    <a:gd name="connsiteY3" fmla="*/ 2027 h 268769"/>
                    <a:gd name="connsiteX4" fmla="*/ 2026 w 171740"/>
                    <a:gd name="connsiteY4" fmla="*/ 5113 h 268769"/>
                    <a:gd name="connsiteX5" fmla="*/ 5111 w 171740"/>
                    <a:gd name="connsiteY5" fmla="*/ 17456 h 268769"/>
                    <a:gd name="connsiteX6" fmla="*/ 156312 w 171740"/>
                    <a:gd name="connsiteY6" fmla="*/ 267398 h 268769"/>
                    <a:gd name="connsiteX7" fmla="*/ 165569 w 171740"/>
                    <a:gd name="connsiteY7" fmla="*/ 267398 h 2687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1740" h="268769">
                      <a:moveTo>
                        <a:pt x="165569" y="267398"/>
                      </a:moveTo>
                      <a:cubicBezTo>
                        <a:pt x="165569" y="267398"/>
                        <a:pt x="165569" y="267398"/>
                        <a:pt x="165569" y="267398"/>
                      </a:cubicBezTo>
                      <a:cubicBezTo>
                        <a:pt x="168656" y="267398"/>
                        <a:pt x="171741" y="261227"/>
                        <a:pt x="171741" y="258141"/>
                      </a:cubicBezTo>
                      <a:cubicBezTo>
                        <a:pt x="168656" y="251970"/>
                        <a:pt x="91513" y="57570"/>
                        <a:pt x="14370" y="2027"/>
                      </a:cubicBezTo>
                      <a:cubicBezTo>
                        <a:pt x="11283" y="-1059"/>
                        <a:pt x="5111" y="-1059"/>
                        <a:pt x="2026" y="5113"/>
                      </a:cubicBezTo>
                      <a:cubicBezTo>
                        <a:pt x="-1059" y="8198"/>
                        <a:pt x="-1059" y="14370"/>
                        <a:pt x="5111" y="17456"/>
                      </a:cubicBezTo>
                      <a:cubicBezTo>
                        <a:pt x="76084" y="69913"/>
                        <a:pt x="156312" y="264313"/>
                        <a:pt x="156312" y="267398"/>
                      </a:cubicBezTo>
                      <a:cubicBezTo>
                        <a:pt x="156312" y="267398"/>
                        <a:pt x="162484" y="270484"/>
                        <a:pt x="165569" y="267398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0" name="任意多边形: 形状 139">
                  <a:extLst>
                    <a:ext uri="{FF2B5EF4-FFF2-40B4-BE49-F238E27FC236}">
                      <a16:creationId xmlns:a16="http://schemas.microsoft.com/office/drawing/2014/main" id="{5CEF6C13-28AA-416E-A514-10D9264F2BAB}"/>
                    </a:ext>
                  </a:extLst>
                </p:cNvPr>
                <p:cNvSpPr/>
                <p:nvPr/>
              </p:nvSpPr>
              <p:spPr>
                <a:xfrm>
                  <a:off x="19996580" y="3744680"/>
                  <a:ext cx="68752" cy="81786"/>
                </a:xfrm>
                <a:custGeom>
                  <a:avLst/>
                  <a:gdLst>
                    <a:gd name="connsiteX0" fmla="*/ 0 w 68752"/>
                    <a:gd name="connsiteY0" fmla="*/ 81787 h 81786"/>
                    <a:gd name="connsiteX1" fmla="*/ 55542 w 68752"/>
                    <a:gd name="connsiteY1" fmla="*/ 10815 h 81786"/>
                    <a:gd name="connsiteX2" fmla="*/ 0 w 68752"/>
                    <a:gd name="connsiteY2" fmla="*/ 81787 h 81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8752" h="81786">
                      <a:moveTo>
                        <a:pt x="0" y="81787"/>
                      </a:moveTo>
                      <a:cubicBezTo>
                        <a:pt x="0" y="81787"/>
                        <a:pt x="3085" y="-35470"/>
                        <a:pt x="55542" y="10815"/>
                      </a:cubicBezTo>
                      <a:cubicBezTo>
                        <a:pt x="104913" y="60187"/>
                        <a:pt x="0" y="81787"/>
                        <a:pt x="0" y="81787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1" name="任意多边形: 形状 140">
                  <a:extLst>
                    <a:ext uri="{FF2B5EF4-FFF2-40B4-BE49-F238E27FC236}">
                      <a16:creationId xmlns:a16="http://schemas.microsoft.com/office/drawing/2014/main" id="{7D624A5E-AE65-4D32-9721-7B8090DDACC5}"/>
                    </a:ext>
                  </a:extLst>
                </p:cNvPr>
                <p:cNvSpPr/>
                <p:nvPr/>
              </p:nvSpPr>
              <p:spPr>
                <a:xfrm>
                  <a:off x="19935469" y="3754802"/>
                  <a:ext cx="58024" cy="77836"/>
                </a:xfrm>
                <a:custGeom>
                  <a:avLst/>
                  <a:gdLst>
                    <a:gd name="connsiteX0" fmla="*/ 58024 w 58024"/>
                    <a:gd name="connsiteY0" fmla="*/ 77837 h 77836"/>
                    <a:gd name="connsiteX1" fmla="*/ 17910 w 58024"/>
                    <a:gd name="connsiteY1" fmla="*/ 694 h 77836"/>
                    <a:gd name="connsiteX2" fmla="*/ 58024 w 58024"/>
                    <a:gd name="connsiteY2" fmla="*/ 77837 h 778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024" h="77836">
                      <a:moveTo>
                        <a:pt x="58024" y="77837"/>
                      </a:moveTo>
                      <a:cubicBezTo>
                        <a:pt x="58024" y="77837"/>
                        <a:pt x="42596" y="-8563"/>
                        <a:pt x="17910" y="694"/>
                      </a:cubicBezTo>
                      <a:cubicBezTo>
                        <a:pt x="-6775" y="13037"/>
                        <a:pt x="-16032" y="53151"/>
                        <a:pt x="58024" y="77837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2" name="任意多边形: 形状 141">
                  <a:extLst>
                    <a:ext uri="{FF2B5EF4-FFF2-40B4-BE49-F238E27FC236}">
                      <a16:creationId xmlns:a16="http://schemas.microsoft.com/office/drawing/2014/main" id="{5AEA9819-6AEC-41B5-A313-E3DAFB111A3F}"/>
                    </a:ext>
                  </a:extLst>
                </p:cNvPr>
                <p:cNvSpPr/>
                <p:nvPr/>
              </p:nvSpPr>
              <p:spPr>
                <a:xfrm>
                  <a:off x="20002752" y="3826831"/>
                  <a:ext cx="80543" cy="50396"/>
                </a:xfrm>
                <a:custGeom>
                  <a:avLst/>
                  <a:gdLst>
                    <a:gd name="connsiteX0" fmla="*/ 0 w 80543"/>
                    <a:gd name="connsiteY0" fmla="*/ 5807 h 50396"/>
                    <a:gd name="connsiteX1" fmla="*/ 80228 w 80543"/>
                    <a:gd name="connsiteY1" fmla="*/ 24322 h 50396"/>
                    <a:gd name="connsiteX2" fmla="*/ 0 w 80543"/>
                    <a:gd name="connsiteY2" fmla="*/ 5807 h 50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0543" h="50396">
                      <a:moveTo>
                        <a:pt x="0" y="5807"/>
                      </a:moveTo>
                      <a:cubicBezTo>
                        <a:pt x="0" y="5807"/>
                        <a:pt x="86400" y="-15793"/>
                        <a:pt x="80228" y="24322"/>
                      </a:cubicBezTo>
                      <a:cubicBezTo>
                        <a:pt x="74056" y="64436"/>
                        <a:pt x="18514" y="58265"/>
                        <a:pt x="0" y="5807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3" name="任意多边形: 形状 142">
                  <a:extLst>
                    <a:ext uri="{FF2B5EF4-FFF2-40B4-BE49-F238E27FC236}">
                      <a16:creationId xmlns:a16="http://schemas.microsoft.com/office/drawing/2014/main" id="{A18ECC07-3AA3-4BF1-A4D0-D8EF6C8EEEC8}"/>
                    </a:ext>
                  </a:extLst>
                </p:cNvPr>
                <p:cNvSpPr/>
                <p:nvPr/>
              </p:nvSpPr>
              <p:spPr>
                <a:xfrm>
                  <a:off x="19982653" y="3841896"/>
                  <a:ext cx="38707" cy="68571"/>
                </a:xfrm>
                <a:custGeom>
                  <a:avLst/>
                  <a:gdLst>
                    <a:gd name="connsiteX0" fmla="*/ 13927 w 38707"/>
                    <a:gd name="connsiteY0" fmla="*/ 0 h 68571"/>
                    <a:gd name="connsiteX1" fmla="*/ 26269 w 38707"/>
                    <a:gd name="connsiteY1" fmla="*/ 64800 h 68571"/>
                    <a:gd name="connsiteX2" fmla="*/ 13927 w 38707"/>
                    <a:gd name="connsiteY2" fmla="*/ 0 h 685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8707" h="68571">
                      <a:moveTo>
                        <a:pt x="13927" y="0"/>
                      </a:moveTo>
                      <a:cubicBezTo>
                        <a:pt x="13927" y="0"/>
                        <a:pt x="60213" y="49371"/>
                        <a:pt x="26269" y="64800"/>
                      </a:cubicBezTo>
                      <a:cubicBezTo>
                        <a:pt x="-4588" y="80229"/>
                        <a:pt x="-7673" y="46286"/>
                        <a:pt x="13927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4" name="任意多边形: 形状 143">
                  <a:extLst>
                    <a:ext uri="{FF2B5EF4-FFF2-40B4-BE49-F238E27FC236}">
                      <a16:creationId xmlns:a16="http://schemas.microsoft.com/office/drawing/2014/main" id="{512A46DF-5651-4783-8E9E-A29C9AF9B6C5}"/>
                    </a:ext>
                  </a:extLst>
                </p:cNvPr>
                <p:cNvSpPr/>
                <p:nvPr/>
              </p:nvSpPr>
              <p:spPr>
                <a:xfrm>
                  <a:off x="19921613" y="3828182"/>
                  <a:ext cx="68795" cy="44190"/>
                </a:xfrm>
                <a:custGeom>
                  <a:avLst/>
                  <a:gdLst>
                    <a:gd name="connsiteX0" fmla="*/ 68796 w 68795"/>
                    <a:gd name="connsiteY0" fmla="*/ 13714 h 44190"/>
                    <a:gd name="connsiteX1" fmla="*/ 3996 w 68795"/>
                    <a:gd name="connsiteY1" fmla="*/ 13714 h 44190"/>
                    <a:gd name="connsiteX2" fmla="*/ 68796 w 68795"/>
                    <a:gd name="connsiteY2" fmla="*/ 13714 h 44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8795" h="44190">
                      <a:moveTo>
                        <a:pt x="68796" y="13714"/>
                      </a:moveTo>
                      <a:cubicBezTo>
                        <a:pt x="68796" y="13714"/>
                        <a:pt x="16338" y="-17143"/>
                        <a:pt x="3996" y="13714"/>
                      </a:cubicBezTo>
                      <a:cubicBezTo>
                        <a:pt x="-11432" y="44571"/>
                        <a:pt x="19425" y="63086"/>
                        <a:pt x="68796" y="13714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5" name="任意多边形: 形状 144">
                  <a:extLst>
                    <a:ext uri="{FF2B5EF4-FFF2-40B4-BE49-F238E27FC236}">
                      <a16:creationId xmlns:a16="http://schemas.microsoft.com/office/drawing/2014/main" id="{01C1F587-F727-42AC-AF52-7DB2EC4D9B24}"/>
                    </a:ext>
                  </a:extLst>
                </p:cNvPr>
                <p:cNvSpPr/>
                <p:nvPr/>
              </p:nvSpPr>
              <p:spPr>
                <a:xfrm>
                  <a:off x="19977262" y="3816407"/>
                  <a:ext cx="38634" cy="40252"/>
                </a:xfrm>
                <a:custGeom>
                  <a:avLst/>
                  <a:gdLst>
                    <a:gd name="connsiteX0" fmla="*/ 802 w 38634"/>
                    <a:gd name="connsiteY0" fmla="*/ 25488 h 40252"/>
                    <a:gd name="connsiteX1" fmla="*/ 13146 w 38634"/>
                    <a:gd name="connsiteY1" fmla="*/ 803 h 40252"/>
                    <a:gd name="connsiteX2" fmla="*/ 37831 w 38634"/>
                    <a:gd name="connsiteY2" fmla="*/ 13146 h 40252"/>
                    <a:gd name="connsiteX3" fmla="*/ 25490 w 38634"/>
                    <a:gd name="connsiteY3" fmla="*/ 37831 h 40252"/>
                    <a:gd name="connsiteX4" fmla="*/ 802 w 38634"/>
                    <a:gd name="connsiteY4" fmla="*/ 25488 h 40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634" h="40252">
                      <a:moveTo>
                        <a:pt x="802" y="25488"/>
                      </a:moveTo>
                      <a:cubicBezTo>
                        <a:pt x="-2283" y="16231"/>
                        <a:pt x="3889" y="3888"/>
                        <a:pt x="13146" y="803"/>
                      </a:cubicBezTo>
                      <a:cubicBezTo>
                        <a:pt x="22403" y="-2283"/>
                        <a:pt x="34746" y="3888"/>
                        <a:pt x="37831" y="13146"/>
                      </a:cubicBezTo>
                      <a:cubicBezTo>
                        <a:pt x="40918" y="22403"/>
                        <a:pt x="34746" y="34745"/>
                        <a:pt x="25490" y="37831"/>
                      </a:cubicBezTo>
                      <a:cubicBezTo>
                        <a:pt x="13146" y="44003"/>
                        <a:pt x="3889" y="37831"/>
                        <a:pt x="802" y="25488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23" name="图形 1">
                <a:extLst>
                  <a:ext uri="{FF2B5EF4-FFF2-40B4-BE49-F238E27FC236}">
                    <a16:creationId xmlns:a16="http://schemas.microsoft.com/office/drawing/2014/main" id="{EDCB4AEA-5B3C-4409-9840-EFFF1A4F05B6}"/>
                  </a:ext>
                </a:extLst>
              </p:cNvPr>
              <p:cNvGrpSpPr/>
              <p:nvPr/>
            </p:nvGrpSpPr>
            <p:grpSpPr>
              <a:xfrm>
                <a:off x="20026293" y="3520837"/>
                <a:ext cx="241093" cy="577173"/>
                <a:chOff x="20026293" y="3520837"/>
                <a:chExt cx="241093" cy="577173"/>
              </a:xfrm>
            </p:grpSpPr>
            <p:sp>
              <p:nvSpPr>
                <p:cNvPr id="132" name="任意多边形: 形状 131">
                  <a:extLst>
                    <a:ext uri="{FF2B5EF4-FFF2-40B4-BE49-F238E27FC236}">
                      <a16:creationId xmlns:a16="http://schemas.microsoft.com/office/drawing/2014/main" id="{1840E7FD-9DD7-4EA8-9638-4B9CFAF140E6}"/>
                    </a:ext>
                  </a:extLst>
                </p:cNvPr>
                <p:cNvSpPr/>
                <p:nvPr/>
              </p:nvSpPr>
              <p:spPr>
                <a:xfrm>
                  <a:off x="20113321" y="3652457"/>
                  <a:ext cx="57269" cy="445553"/>
                </a:xfrm>
                <a:custGeom>
                  <a:avLst/>
                  <a:gdLst>
                    <a:gd name="connsiteX0" fmla="*/ 22116 w 57269"/>
                    <a:gd name="connsiteY0" fmla="*/ 445553 h 445553"/>
                    <a:gd name="connsiteX1" fmla="*/ 22116 w 57269"/>
                    <a:gd name="connsiteY1" fmla="*/ 445553 h 445553"/>
                    <a:gd name="connsiteX2" fmla="*/ 9773 w 57269"/>
                    <a:gd name="connsiteY2" fmla="*/ 436296 h 445553"/>
                    <a:gd name="connsiteX3" fmla="*/ 34458 w 57269"/>
                    <a:gd name="connsiteY3" fmla="*/ 7382 h 445553"/>
                    <a:gd name="connsiteX4" fmla="*/ 49887 w 57269"/>
                    <a:gd name="connsiteY4" fmla="*/ 1211 h 445553"/>
                    <a:gd name="connsiteX5" fmla="*/ 56058 w 57269"/>
                    <a:gd name="connsiteY5" fmla="*/ 16639 h 445553"/>
                    <a:gd name="connsiteX6" fmla="*/ 34458 w 57269"/>
                    <a:gd name="connsiteY6" fmla="*/ 433211 h 445553"/>
                    <a:gd name="connsiteX7" fmla="*/ 22116 w 57269"/>
                    <a:gd name="connsiteY7" fmla="*/ 445553 h 4455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7269" h="445553">
                      <a:moveTo>
                        <a:pt x="22116" y="445553"/>
                      </a:moveTo>
                      <a:cubicBezTo>
                        <a:pt x="22116" y="445553"/>
                        <a:pt x="22116" y="445553"/>
                        <a:pt x="22116" y="445553"/>
                      </a:cubicBezTo>
                      <a:cubicBezTo>
                        <a:pt x="15945" y="445553"/>
                        <a:pt x="9773" y="442468"/>
                        <a:pt x="9773" y="436296"/>
                      </a:cubicBezTo>
                      <a:cubicBezTo>
                        <a:pt x="9773" y="427039"/>
                        <a:pt x="-24169" y="127725"/>
                        <a:pt x="34458" y="7382"/>
                      </a:cubicBezTo>
                      <a:cubicBezTo>
                        <a:pt x="37545" y="1211"/>
                        <a:pt x="43717" y="-1875"/>
                        <a:pt x="49887" y="1211"/>
                      </a:cubicBezTo>
                      <a:cubicBezTo>
                        <a:pt x="56058" y="4296"/>
                        <a:pt x="59145" y="10468"/>
                        <a:pt x="56058" y="16639"/>
                      </a:cubicBezTo>
                      <a:cubicBezTo>
                        <a:pt x="516" y="130811"/>
                        <a:pt x="34458" y="430125"/>
                        <a:pt x="34458" y="433211"/>
                      </a:cubicBezTo>
                      <a:cubicBezTo>
                        <a:pt x="34458" y="439382"/>
                        <a:pt x="28288" y="442468"/>
                        <a:pt x="22116" y="445553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3" name="任意多边形: 形状 132">
                  <a:extLst>
                    <a:ext uri="{FF2B5EF4-FFF2-40B4-BE49-F238E27FC236}">
                      <a16:creationId xmlns:a16="http://schemas.microsoft.com/office/drawing/2014/main" id="{A057DE52-A578-40ED-AAE3-3D90DEB16F3F}"/>
                    </a:ext>
                  </a:extLst>
                </p:cNvPr>
                <p:cNvSpPr/>
                <p:nvPr/>
              </p:nvSpPr>
              <p:spPr>
                <a:xfrm>
                  <a:off x="20026293" y="3556693"/>
                  <a:ext cx="121486" cy="94361"/>
                </a:xfrm>
                <a:custGeom>
                  <a:avLst/>
                  <a:gdLst>
                    <a:gd name="connsiteX0" fmla="*/ 121486 w 121486"/>
                    <a:gd name="connsiteY0" fmla="*/ 84632 h 94361"/>
                    <a:gd name="connsiteX1" fmla="*/ 4229 w 121486"/>
                    <a:gd name="connsiteY1" fmla="*/ 32174 h 94361"/>
                    <a:gd name="connsiteX2" fmla="*/ 121486 w 121486"/>
                    <a:gd name="connsiteY2" fmla="*/ 84632 h 94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1486" h="94361">
                      <a:moveTo>
                        <a:pt x="121486" y="84632"/>
                      </a:moveTo>
                      <a:cubicBezTo>
                        <a:pt x="121486" y="84632"/>
                        <a:pt x="38173" y="-63483"/>
                        <a:pt x="4229" y="32174"/>
                      </a:cubicBezTo>
                      <a:cubicBezTo>
                        <a:pt x="-26628" y="127831"/>
                        <a:pt x="121486" y="84632"/>
                        <a:pt x="121486" y="84632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4" name="任意多边形: 形状 133">
                  <a:extLst>
                    <a:ext uri="{FF2B5EF4-FFF2-40B4-BE49-F238E27FC236}">
                      <a16:creationId xmlns:a16="http://schemas.microsoft.com/office/drawing/2014/main" id="{34962C26-A503-423E-A114-4BE86BF267E1}"/>
                    </a:ext>
                  </a:extLst>
                </p:cNvPr>
                <p:cNvSpPr/>
                <p:nvPr/>
              </p:nvSpPr>
              <p:spPr>
                <a:xfrm>
                  <a:off x="20136122" y="3520837"/>
                  <a:ext cx="62846" cy="126659"/>
                </a:xfrm>
                <a:custGeom>
                  <a:avLst/>
                  <a:gdLst>
                    <a:gd name="connsiteX0" fmla="*/ 17828 w 62846"/>
                    <a:gd name="connsiteY0" fmla="*/ 126659 h 126659"/>
                    <a:gd name="connsiteX1" fmla="*/ 17828 w 62846"/>
                    <a:gd name="connsiteY1" fmla="*/ 145 h 126659"/>
                    <a:gd name="connsiteX2" fmla="*/ 17828 w 62846"/>
                    <a:gd name="connsiteY2" fmla="*/ 126659 h 1266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2846" h="126659">
                      <a:moveTo>
                        <a:pt x="17828" y="126659"/>
                      </a:moveTo>
                      <a:cubicBezTo>
                        <a:pt x="17828" y="126659"/>
                        <a:pt x="-22286" y="6316"/>
                        <a:pt x="17828" y="145"/>
                      </a:cubicBezTo>
                      <a:cubicBezTo>
                        <a:pt x="57942" y="-2941"/>
                        <a:pt x="94971" y="43345"/>
                        <a:pt x="17828" y="126659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43362C79-0574-4086-A94F-FCD0281DE43D}"/>
                    </a:ext>
                  </a:extLst>
                </p:cNvPr>
                <p:cNvSpPr/>
                <p:nvPr/>
              </p:nvSpPr>
              <p:spPr>
                <a:xfrm>
                  <a:off x="20048419" y="3650582"/>
                  <a:ext cx="97755" cy="98631"/>
                </a:xfrm>
                <a:custGeom>
                  <a:avLst/>
                  <a:gdLst>
                    <a:gd name="connsiteX0" fmla="*/ 96275 w 97755"/>
                    <a:gd name="connsiteY0" fmla="*/ 0 h 98631"/>
                    <a:gd name="connsiteX1" fmla="*/ 6788 w 97755"/>
                    <a:gd name="connsiteY1" fmla="*/ 80229 h 98631"/>
                    <a:gd name="connsiteX2" fmla="*/ 96275 w 97755"/>
                    <a:gd name="connsiteY2" fmla="*/ 0 h 98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7755" h="98631">
                      <a:moveTo>
                        <a:pt x="96275" y="0"/>
                      </a:moveTo>
                      <a:cubicBezTo>
                        <a:pt x="96275" y="0"/>
                        <a:pt x="-30239" y="30857"/>
                        <a:pt x="6788" y="80229"/>
                      </a:cubicBezTo>
                      <a:cubicBezTo>
                        <a:pt x="40732" y="126514"/>
                        <a:pt x="108618" y="80229"/>
                        <a:pt x="96275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DF589DA8-46E0-40F4-B2DC-915935181F5A}"/>
                    </a:ext>
                  </a:extLst>
                </p:cNvPr>
                <p:cNvSpPr/>
                <p:nvPr/>
              </p:nvSpPr>
              <p:spPr>
                <a:xfrm>
                  <a:off x="20150094" y="3659839"/>
                  <a:ext cx="64494" cy="92571"/>
                </a:xfrm>
                <a:custGeom>
                  <a:avLst/>
                  <a:gdLst>
                    <a:gd name="connsiteX0" fmla="*/ 6943 w 64494"/>
                    <a:gd name="connsiteY0" fmla="*/ 0 h 92571"/>
                    <a:gd name="connsiteX1" fmla="*/ 34714 w 64494"/>
                    <a:gd name="connsiteY1" fmla="*/ 92571 h 92571"/>
                    <a:gd name="connsiteX2" fmla="*/ 6943 w 64494"/>
                    <a:gd name="connsiteY2" fmla="*/ 0 h 925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4494" h="92571">
                      <a:moveTo>
                        <a:pt x="6943" y="0"/>
                      </a:moveTo>
                      <a:cubicBezTo>
                        <a:pt x="6943" y="0"/>
                        <a:pt x="-20829" y="92571"/>
                        <a:pt x="34714" y="92571"/>
                      </a:cubicBezTo>
                      <a:cubicBezTo>
                        <a:pt x="87171" y="89486"/>
                        <a:pt x="65571" y="43200"/>
                        <a:pt x="6943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7" name="任意多边形: 形状 136">
                  <a:extLst>
                    <a:ext uri="{FF2B5EF4-FFF2-40B4-BE49-F238E27FC236}">
                      <a16:creationId xmlns:a16="http://schemas.microsoft.com/office/drawing/2014/main" id="{6FB321D8-554E-4FC1-BF39-FBACAC2A1F0B}"/>
                    </a:ext>
                  </a:extLst>
                </p:cNvPr>
                <p:cNvSpPr/>
                <p:nvPr/>
              </p:nvSpPr>
              <p:spPr>
                <a:xfrm>
                  <a:off x="20166294" y="3602946"/>
                  <a:ext cx="101092" cy="61337"/>
                </a:xfrm>
                <a:custGeom>
                  <a:avLst/>
                  <a:gdLst>
                    <a:gd name="connsiteX0" fmla="*/ 0 w 101092"/>
                    <a:gd name="connsiteY0" fmla="*/ 50722 h 61337"/>
                    <a:gd name="connsiteX1" fmla="*/ 83315 w 101092"/>
                    <a:gd name="connsiteY1" fmla="*/ 7522 h 61337"/>
                    <a:gd name="connsiteX2" fmla="*/ 0 w 101092"/>
                    <a:gd name="connsiteY2" fmla="*/ 50722 h 613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092" h="61337">
                      <a:moveTo>
                        <a:pt x="0" y="50722"/>
                      </a:moveTo>
                      <a:cubicBezTo>
                        <a:pt x="0" y="50722"/>
                        <a:pt x="46286" y="-23335"/>
                        <a:pt x="83315" y="7522"/>
                      </a:cubicBezTo>
                      <a:cubicBezTo>
                        <a:pt x="123429" y="38379"/>
                        <a:pt x="95656" y="81579"/>
                        <a:pt x="0" y="50722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EE9F54C9-7999-49B3-9B10-BE0F6AB87615}"/>
                    </a:ext>
                  </a:extLst>
                </p:cNvPr>
                <p:cNvSpPr/>
                <p:nvPr/>
              </p:nvSpPr>
              <p:spPr>
                <a:xfrm>
                  <a:off x="20125704" y="3622334"/>
                  <a:ext cx="59580" cy="59580"/>
                </a:xfrm>
                <a:custGeom>
                  <a:avLst/>
                  <a:gdLst>
                    <a:gd name="connsiteX0" fmla="*/ 59104 w 59580"/>
                    <a:gd name="connsiteY0" fmla="*/ 25162 h 59580"/>
                    <a:gd name="connsiteX1" fmla="*/ 25162 w 59580"/>
                    <a:gd name="connsiteY1" fmla="*/ 476 h 59580"/>
                    <a:gd name="connsiteX2" fmla="*/ 476 w 59580"/>
                    <a:gd name="connsiteY2" fmla="*/ 34419 h 59580"/>
                    <a:gd name="connsiteX3" fmla="*/ 34418 w 59580"/>
                    <a:gd name="connsiteY3" fmla="*/ 59105 h 59580"/>
                    <a:gd name="connsiteX4" fmla="*/ 59104 w 59580"/>
                    <a:gd name="connsiteY4" fmla="*/ 25162 h 59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580" h="59580">
                      <a:moveTo>
                        <a:pt x="59104" y="25162"/>
                      </a:moveTo>
                      <a:cubicBezTo>
                        <a:pt x="56019" y="9733"/>
                        <a:pt x="40590" y="-2610"/>
                        <a:pt x="25162" y="476"/>
                      </a:cubicBezTo>
                      <a:cubicBezTo>
                        <a:pt x="9733" y="3562"/>
                        <a:pt x="-2611" y="18990"/>
                        <a:pt x="476" y="34419"/>
                      </a:cubicBezTo>
                      <a:cubicBezTo>
                        <a:pt x="3561" y="49847"/>
                        <a:pt x="18990" y="62190"/>
                        <a:pt x="34418" y="59105"/>
                      </a:cubicBezTo>
                      <a:cubicBezTo>
                        <a:pt x="49847" y="56019"/>
                        <a:pt x="62191" y="40590"/>
                        <a:pt x="59104" y="25162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24" name="图形 1">
                <a:extLst>
                  <a:ext uri="{FF2B5EF4-FFF2-40B4-BE49-F238E27FC236}">
                    <a16:creationId xmlns:a16="http://schemas.microsoft.com/office/drawing/2014/main" id="{48F4691A-ECA9-450C-941C-A981C6730975}"/>
                  </a:ext>
                </a:extLst>
              </p:cNvPr>
              <p:cNvGrpSpPr/>
              <p:nvPr/>
            </p:nvGrpSpPr>
            <p:grpSpPr>
              <a:xfrm>
                <a:off x="20120086" y="3699742"/>
                <a:ext cx="167801" cy="401353"/>
                <a:chOff x="20120086" y="3699742"/>
                <a:chExt cx="167801" cy="401353"/>
              </a:xfrm>
            </p:grpSpPr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B4FBF5F8-FD55-4BB3-AFDC-95D6F7D4EBCE}"/>
                    </a:ext>
                  </a:extLst>
                </p:cNvPr>
                <p:cNvSpPr/>
                <p:nvPr/>
              </p:nvSpPr>
              <p:spPr>
                <a:xfrm>
                  <a:off x="20179000" y="3791246"/>
                  <a:ext cx="37943" cy="309849"/>
                </a:xfrm>
                <a:custGeom>
                  <a:avLst/>
                  <a:gdLst>
                    <a:gd name="connsiteX0" fmla="*/ 15064 w 37943"/>
                    <a:gd name="connsiteY0" fmla="*/ 309850 h 309849"/>
                    <a:gd name="connsiteX1" fmla="*/ 15064 w 37943"/>
                    <a:gd name="connsiteY1" fmla="*/ 309850 h 309849"/>
                    <a:gd name="connsiteX2" fmla="*/ 5807 w 37943"/>
                    <a:gd name="connsiteY2" fmla="*/ 303678 h 309849"/>
                    <a:gd name="connsiteX3" fmla="*/ 24323 w 37943"/>
                    <a:gd name="connsiteY3" fmla="*/ 4364 h 309849"/>
                    <a:gd name="connsiteX4" fmla="*/ 33580 w 37943"/>
                    <a:gd name="connsiteY4" fmla="*/ 1278 h 309849"/>
                    <a:gd name="connsiteX5" fmla="*/ 36665 w 37943"/>
                    <a:gd name="connsiteY5" fmla="*/ 10535 h 309849"/>
                    <a:gd name="connsiteX6" fmla="*/ 18151 w 37943"/>
                    <a:gd name="connsiteY6" fmla="*/ 300592 h 309849"/>
                    <a:gd name="connsiteX7" fmla="*/ 15064 w 37943"/>
                    <a:gd name="connsiteY7" fmla="*/ 309850 h 3098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943" h="309849">
                      <a:moveTo>
                        <a:pt x="15064" y="309850"/>
                      </a:moveTo>
                      <a:cubicBezTo>
                        <a:pt x="15064" y="309850"/>
                        <a:pt x="15064" y="309850"/>
                        <a:pt x="15064" y="309850"/>
                      </a:cubicBezTo>
                      <a:cubicBezTo>
                        <a:pt x="11979" y="309850"/>
                        <a:pt x="5807" y="306764"/>
                        <a:pt x="5807" y="303678"/>
                      </a:cubicBezTo>
                      <a:cubicBezTo>
                        <a:pt x="5807" y="297507"/>
                        <a:pt x="-15793" y="87678"/>
                        <a:pt x="24323" y="4364"/>
                      </a:cubicBezTo>
                      <a:cubicBezTo>
                        <a:pt x="27408" y="1278"/>
                        <a:pt x="30493" y="-1808"/>
                        <a:pt x="33580" y="1278"/>
                      </a:cubicBezTo>
                      <a:cubicBezTo>
                        <a:pt x="36665" y="4364"/>
                        <a:pt x="39751" y="7450"/>
                        <a:pt x="36665" y="10535"/>
                      </a:cubicBezTo>
                      <a:cubicBezTo>
                        <a:pt x="-3449" y="90764"/>
                        <a:pt x="18151" y="300592"/>
                        <a:pt x="18151" y="300592"/>
                      </a:cubicBezTo>
                      <a:cubicBezTo>
                        <a:pt x="21236" y="306764"/>
                        <a:pt x="18151" y="309850"/>
                        <a:pt x="15064" y="309850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80F46D18-80CF-4E30-A60F-BE3284CAC23F}"/>
                    </a:ext>
                  </a:extLst>
                </p:cNvPr>
                <p:cNvSpPr/>
                <p:nvPr/>
              </p:nvSpPr>
              <p:spPr>
                <a:xfrm>
                  <a:off x="20120086" y="3720290"/>
                  <a:ext cx="83237" cy="66888"/>
                </a:xfrm>
                <a:custGeom>
                  <a:avLst/>
                  <a:gdLst>
                    <a:gd name="connsiteX0" fmla="*/ 83237 w 83237"/>
                    <a:gd name="connsiteY0" fmla="*/ 59892 h 66888"/>
                    <a:gd name="connsiteX1" fmla="*/ 3008 w 83237"/>
                    <a:gd name="connsiteY1" fmla="*/ 22863 h 66888"/>
                    <a:gd name="connsiteX2" fmla="*/ 83237 w 83237"/>
                    <a:gd name="connsiteY2" fmla="*/ 59892 h 66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237" h="66888">
                      <a:moveTo>
                        <a:pt x="83237" y="59892"/>
                      </a:moveTo>
                      <a:cubicBezTo>
                        <a:pt x="83237" y="59892"/>
                        <a:pt x="24608" y="-45022"/>
                        <a:pt x="3008" y="22863"/>
                      </a:cubicBezTo>
                      <a:cubicBezTo>
                        <a:pt x="-18593" y="90749"/>
                        <a:pt x="83237" y="59892"/>
                        <a:pt x="83237" y="5989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6BCCFC93-958E-4C06-9268-7A3180E590BA}"/>
                    </a:ext>
                  </a:extLst>
                </p:cNvPr>
                <p:cNvSpPr/>
                <p:nvPr/>
              </p:nvSpPr>
              <p:spPr>
                <a:xfrm>
                  <a:off x="20197151" y="3699742"/>
                  <a:ext cx="43109" cy="86610"/>
                </a:xfrm>
                <a:custGeom>
                  <a:avLst/>
                  <a:gdLst>
                    <a:gd name="connsiteX0" fmla="*/ 12342 w 43109"/>
                    <a:gd name="connsiteY0" fmla="*/ 86611 h 86610"/>
                    <a:gd name="connsiteX1" fmla="*/ 12342 w 43109"/>
                    <a:gd name="connsiteY1" fmla="*/ 211 h 86610"/>
                    <a:gd name="connsiteX2" fmla="*/ 12342 w 43109"/>
                    <a:gd name="connsiteY2" fmla="*/ 86611 h 86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3109" h="86610">
                      <a:moveTo>
                        <a:pt x="12342" y="86611"/>
                      </a:moveTo>
                      <a:cubicBezTo>
                        <a:pt x="12342" y="86611"/>
                        <a:pt x="-15428" y="3297"/>
                        <a:pt x="12342" y="211"/>
                      </a:cubicBezTo>
                      <a:cubicBezTo>
                        <a:pt x="40115" y="-2875"/>
                        <a:pt x="64800" y="27982"/>
                        <a:pt x="12342" y="86611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96022F6B-1A12-44C3-AC0E-231DB9F31137}"/>
                    </a:ext>
                  </a:extLst>
                </p:cNvPr>
                <p:cNvSpPr/>
                <p:nvPr/>
              </p:nvSpPr>
              <p:spPr>
                <a:xfrm>
                  <a:off x="20134087" y="3789439"/>
                  <a:ext cx="67355" cy="67769"/>
                </a:xfrm>
                <a:custGeom>
                  <a:avLst/>
                  <a:gdLst>
                    <a:gd name="connsiteX0" fmla="*/ 66150 w 67355"/>
                    <a:gd name="connsiteY0" fmla="*/ 0 h 67769"/>
                    <a:gd name="connsiteX1" fmla="*/ 4436 w 67355"/>
                    <a:gd name="connsiteY1" fmla="*/ 55543 h 67769"/>
                    <a:gd name="connsiteX2" fmla="*/ 66150 w 67355"/>
                    <a:gd name="connsiteY2" fmla="*/ 0 h 677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7355" h="67769">
                      <a:moveTo>
                        <a:pt x="66150" y="0"/>
                      </a:moveTo>
                      <a:cubicBezTo>
                        <a:pt x="66150" y="0"/>
                        <a:pt x="-20250" y="21600"/>
                        <a:pt x="4436" y="55543"/>
                      </a:cubicBezTo>
                      <a:cubicBezTo>
                        <a:pt x="29121" y="86400"/>
                        <a:pt x="75407" y="55543"/>
                        <a:pt x="66150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67BFA7AD-E61C-4C3D-8AF7-E693E2DFA39F}"/>
                    </a:ext>
                  </a:extLst>
                </p:cNvPr>
                <p:cNvSpPr/>
                <p:nvPr/>
              </p:nvSpPr>
              <p:spPr>
                <a:xfrm>
                  <a:off x="20204865" y="3795610"/>
                  <a:ext cx="45068" cy="64799"/>
                </a:xfrm>
                <a:custGeom>
                  <a:avLst/>
                  <a:gdLst>
                    <a:gd name="connsiteX0" fmla="*/ 4628 w 45068"/>
                    <a:gd name="connsiteY0" fmla="*/ 0 h 64799"/>
                    <a:gd name="connsiteX1" fmla="*/ 23144 w 45068"/>
                    <a:gd name="connsiteY1" fmla="*/ 64800 h 64799"/>
                    <a:gd name="connsiteX2" fmla="*/ 4628 w 45068"/>
                    <a:gd name="connsiteY2" fmla="*/ 0 h 64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5068" h="64799">
                      <a:moveTo>
                        <a:pt x="4628" y="0"/>
                      </a:moveTo>
                      <a:cubicBezTo>
                        <a:pt x="4628" y="0"/>
                        <a:pt x="-13885" y="64800"/>
                        <a:pt x="23144" y="64800"/>
                      </a:cubicBezTo>
                      <a:cubicBezTo>
                        <a:pt x="60173" y="61714"/>
                        <a:pt x="47829" y="30857"/>
                        <a:pt x="4628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EDB6A551-9502-480F-8372-E84AD8C605B9}"/>
                    </a:ext>
                  </a:extLst>
                </p:cNvPr>
                <p:cNvSpPr/>
                <p:nvPr/>
              </p:nvSpPr>
              <p:spPr>
                <a:xfrm>
                  <a:off x="20218752" y="3754427"/>
                  <a:ext cx="69136" cy="42774"/>
                </a:xfrm>
                <a:custGeom>
                  <a:avLst/>
                  <a:gdLst>
                    <a:gd name="connsiteX0" fmla="*/ 0 w 69136"/>
                    <a:gd name="connsiteY0" fmla="*/ 35011 h 42774"/>
                    <a:gd name="connsiteX1" fmla="*/ 58627 w 69136"/>
                    <a:gd name="connsiteY1" fmla="*/ 4154 h 42774"/>
                    <a:gd name="connsiteX2" fmla="*/ 0 w 69136"/>
                    <a:gd name="connsiteY2" fmla="*/ 35011 h 42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136" h="42774">
                      <a:moveTo>
                        <a:pt x="0" y="35011"/>
                      </a:moveTo>
                      <a:cubicBezTo>
                        <a:pt x="0" y="35011"/>
                        <a:pt x="30857" y="-14360"/>
                        <a:pt x="58627" y="4154"/>
                      </a:cubicBezTo>
                      <a:cubicBezTo>
                        <a:pt x="83313" y="28840"/>
                        <a:pt x="64799" y="56611"/>
                        <a:pt x="0" y="35011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5312E8EB-1396-4199-9ECD-9862A51BC6C2}"/>
                    </a:ext>
                  </a:extLst>
                </p:cNvPr>
                <p:cNvSpPr/>
                <p:nvPr/>
              </p:nvSpPr>
              <p:spPr>
                <a:xfrm>
                  <a:off x="20187108" y="3770138"/>
                  <a:ext cx="41686" cy="41687"/>
                </a:xfrm>
                <a:custGeom>
                  <a:avLst/>
                  <a:gdLst>
                    <a:gd name="connsiteX0" fmla="*/ 40901 w 41686"/>
                    <a:gd name="connsiteY0" fmla="*/ 16215 h 41687"/>
                    <a:gd name="connsiteX1" fmla="*/ 16215 w 41686"/>
                    <a:gd name="connsiteY1" fmla="*/ 786 h 41687"/>
                    <a:gd name="connsiteX2" fmla="*/ 787 w 41686"/>
                    <a:gd name="connsiteY2" fmla="*/ 25472 h 41687"/>
                    <a:gd name="connsiteX3" fmla="*/ 25472 w 41686"/>
                    <a:gd name="connsiteY3" fmla="*/ 40901 h 41687"/>
                    <a:gd name="connsiteX4" fmla="*/ 40901 w 41686"/>
                    <a:gd name="connsiteY4" fmla="*/ 16215 h 41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686" h="41687">
                      <a:moveTo>
                        <a:pt x="40901" y="16215"/>
                      </a:moveTo>
                      <a:cubicBezTo>
                        <a:pt x="37814" y="3872"/>
                        <a:pt x="28557" y="-2299"/>
                        <a:pt x="16215" y="786"/>
                      </a:cubicBezTo>
                      <a:cubicBezTo>
                        <a:pt x="3872" y="3872"/>
                        <a:pt x="-2300" y="13129"/>
                        <a:pt x="787" y="25472"/>
                      </a:cubicBezTo>
                      <a:cubicBezTo>
                        <a:pt x="3872" y="37815"/>
                        <a:pt x="13129" y="43986"/>
                        <a:pt x="25472" y="40901"/>
                      </a:cubicBezTo>
                      <a:cubicBezTo>
                        <a:pt x="37814" y="37815"/>
                        <a:pt x="43986" y="28558"/>
                        <a:pt x="40901" y="16215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E3487AD1-237E-4649-B5A1-48C510810C26}"/>
                </a:ext>
              </a:extLst>
            </p:cNvPr>
            <p:cNvGrpSpPr/>
            <p:nvPr/>
          </p:nvGrpSpPr>
          <p:grpSpPr>
            <a:xfrm>
              <a:off x="20008922" y="3925152"/>
              <a:ext cx="197485" cy="176421"/>
              <a:chOff x="20008922" y="3925152"/>
              <a:chExt cx="197485" cy="176421"/>
            </a:xfrm>
          </p:grpSpPr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856EEF31-63B1-42B7-99D5-6A74ED29B75D}"/>
                  </a:ext>
                </a:extLst>
              </p:cNvPr>
              <p:cNvSpPr/>
              <p:nvPr/>
            </p:nvSpPr>
            <p:spPr>
              <a:xfrm>
                <a:off x="20008922" y="3934467"/>
                <a:ext cx="141943" cy="82031"/>
              </a:xfrm>
              <a:custGeom>
                <a:avLst/>
                <a:gdLst>
                  <a:gd name="connsiteX0" fmla="*/ 3086 w 141943"/>
                  <a:gd name="connsiteY0" fmla="*/ 40114 h 82031"/>
                  <a:gd name="connsiteX1" fmla="*/ 83314 w 141943"/>
                  <a:gd name="connsiteY1" fmla="*/ 6171 h 82031"/>
                  <a:gd name="connsiteX2" fmla="*/ 95658 w 141943"/>
                  <a:gd name="connsiteY2" fmla="*/ 0 h 82031"/>
                  <a:gd name="connsiteX3" fmla="*/ 111086 w 141943"/>
                  <a:gd name="connsiteY3" fmla="*/ 0 h 82031"/>
                  <a:gd name="connsiteX4" fmla="*/ 141943 w 141943"/>
                  <a:gd name="connsiteY4" fmla="*/ 30857 h 82031"/>
                  <a:gd name="connsiteX5" fmla="*/ 111086 w 141943"/>
                  <a:gd name="connsiteY5" fmla="*/ 58629 h 82031"/>
                  <a:gd name="connsiteX6" fmla="*/ 55544 w 141943"/>
                  <a:gd name="connsiteY6" fmla="*/ 77143 h 82031"/>
                  <a:gd name="connsiteX7" fmla="*/ 12343 w 141943"/>
                  <a:gd name="connsiteY7" fmla="*/ 77143 h 82031"/>
                  <a:gd name="connsiteX8" fmla="*/ 3086 w 141943"/>
                  <a:gd name="connsiteY8" fmla="*/ 40114 h 82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1943" h="82031">
                    <a:moveTo>
                      <a:pt x="3086" y="40114"/>
                    </a:moveTo>
                    <a:cubicBezTo>
                      <a:pt x="18515" y="18514"/>
                      <a:pt x="52457" y="15429"/>
                      <a:pt x="83314" y="6171"/>
                    </a:cubicBezTo>
                    <a:cubicBezTo>
                      <a:pt x="86401" y="6171"/>
                      <a:pt x="92571" y="0"/>
                      <a:pt x="95658" y="0"/>
                    </a:cubicBezTo>
                    <a:cubicBezTo>
                      <a:pt x="101829" y="0"/>
                      <a:pt x="104914" y="0"/>
                      <a:pt x="111086" y="0"/>
                    </a:cubicBezTo>
                    <a:cubicBezTo>
                      <a:pt x="126515" y="3086"/>
                      <a:pt x="141943" y="15429"/>
                      <a:pt x="141943" y="30857"/>
                    </a:cubicBezTo>
                    <a:cubicBezTo>
                      <a:pt x="141943" y="46286"/>
                      <a:pt x="123428" y="52457"/>
                      <a:pt x="111086" y="58629"/>
                    </a:cubicBezTo>
                    <a:cubicBezTo>
                      <a:pt x="92571" y="64800"/>
                      <a:pt x="74057" y="70971"/>
                      <a:pt x="55544" y="77143"/>
                    </a:cubicBezTo>
                    <a:cubicBezTo>
                      <a:pt x="43200" y="80229"/>
                      <a:pt x="27771" y="86400"/>
                      <a:pt x="12343" y="77143"/>
                    </a:cubicBezTo>
                    <a:cubicBezTo>
                      <a:pt x="-1" y="64800"/>
                      <a:pt x="-3086" y="49371"/>
                      <a:pt x="3086" y="4011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02CE3505-E71B-42C3-96A3-F6C5A04CA501}"/>
                  </a:ext>
                </a:extLst>
              </p:cNvPr>
              <p:cNvSpPr/>
              <p:nvPr/>
            </p:nvSpPr>
            <p:spPr>
              <a:xfrm>
                <a:off x="20044339" y="3968410"/>
                <a:ext cx="143555" cy="82032"/>
              </a:xfrm>
              <a:custGeom>
                <a:avLst/>
                <a:gdLst>
                  <a:gd name="connsiteX0" fmla="*/ 1612 w 143555"/>
                  <a:gd name="connsiteY0" fmla="*/ 40114 h 82032"/>
                  <a:gd name="connsiteX1" fmla="*/ 88012 w 143555"/>
                  <a:gd name="connsiteY1" fmla="*/ 0 h 82032"/>
                  <a:gd name="connsiteX2" fmla="*/ 97270 w 143555"/>
                  <a:gd name="connsiteY2" fmla="*/ 0 h 82032"/>
                  <a:gd name="connsiteX3" fmla="*/ 112699 w 143555"/>
                  <a:gd name="connsiteY3" fmla="*/ 0 h 82032"/>
                  <a:gd name="connsiteX4" fmla="*/ 143556 w 143555"/>
                  <a:gd name="connsiteY4" fmla="*/ 30857 h 82032"/>
                  <a:gd name="connsiteX5" fmla="*/ 112699 w 143555"/>
                  <a:gd name="connsiteY5" fmla="*/ 58629 h 82032"/>
                  <a:gd name="connsiteX6" fmla="*/ 57154 w 143555"/>
                  <a:gd name="connsiteY6" fmla="*/ 77143 h 82032"/>
                  <a:gd name="connsiteX7" fmla="*/ 13956 w 143555"/>
                  <a:gd name="connsiteY7" fmla="*/ 77143 h 82032"/>
                  <a:gd name="connsiteX8" fmla="*/ 1612 w 143555"/>
                  <a:gd name="connsiteY8" fmla="*/ 40114 h 82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555" h="82032">
                    <a:moveTo>
                      <a:pt x="1612" y="40114"/>
                    </a:moveTo>
                    <a:cubicBezTo>
                      <a:pt x="17040" y="9257"/>
                      <a:pt x="57154" y="9257"/>
                      <a:pt x="88012" y="0"/>
                    </a:cubicBezTo>
                    <a:cubicBezTo>
                      <a:pt x="91098" y="0"/>
                      <a:pt x="94183" y="0"/>
                      <a:pt x="97270" y="0"/>
                    </a:cubicBezTo>
                    <a:cubicBezTo>
                      <a:pt x="103440" y="0"/>
                      <a:pt x="106527" y="0"/>
                      <a:pt x="112699" y="0"/>
                    </a:cubicBezTo>
                    <a:cubicBezTo>
                      <a:pt x="128127" y="3086"/>
                      <a:pt x="143556" y="15429"/>
                      <a:pt x="143556" y="30857"/>
                    </a:cubicBezTo>
                    <a:cubicBezTo>
                      <a:pt x="143556" y="46286"/>
                      <a:pt x="125040" y="52457"/>
                      <a:pt x="112699" y="58629"/>
                    </a:cubicBezTo>
                    <a:cubicBezTo>
                      <a:pt x="94183" y="64800"/>
                      <a:pt x="75670" y="70972"/>
                      <a:pt x="57154" y="77143"/>
                    </a:cubicBezTo>
                    <a:cubicBezTo>
                      <a:pt x="44813" y="80229"/>
                      <a:pt x="29384" y="86400"/>
                      <a:pt x="13956" y="77143"/>
                    </a:cubicBezTo>
                    <a:cubicBezTo>
                      <a:pt x="-1473" y="64800"/>
                      <a:pt x="-1473" y="49371"/>
                      <a:pt x="1612" y="4011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11F7BC9B-42BA-46B0-8384-43500F78F341}"/>
                  </a:ext>
                </a:extLst>
              </p:cNvPr>
              <p:cNvSpPr/>
              <p:nvPr/>
            </p:nvSpPr>
            <p:spPr>
              <a:xfrm>
                <a:off x="20071877" y="4008525"/>
                <a:ext cx="119103" cy="72774"/>
              </a:xfrm>
              <a:custGeom>
                <a:avLst/>
                <a:gdLst>
                  <a:gd name="connsiteX0" fmla="*/ 1846 w 119103"/>
                  <a:gd name="connsiteY0" fmla="*/ 37028 h 72774"/>
                  <a:gd name="connsiteX1" fmla="*/ 75902 w 119103"/>
                  <a:gd name="connsiteY1" fmla="*/ 0 h 72774"/>
                  <a:gd name="connsiteX2" fmla="*/ 82074 w 119103"/>
                  <a:gd name="connsiteY2" fmla="*/ 0 h 72774"/>
                  <a:gd name="connsiteX3" fmla="*/ 94418 w 119103"/>
                  <a:gd name="connsiteY3" fmla="*/ 0 h 72774"/>
                  <a:gd name="connsiteX4" fmla="*/ 119103 w 119103"/>
                  <a:gd name="connsiteY4" fmla="*/ 24686 h 72774"/>
                  <a:gd name="connsiteX5" fmla="*/ 91331 w 119103"/>
                  <a:gd name="connsiteY5" fmla="*/ 49371 h 72774"/>
                  <a:gd name="connsiteX6" fmla="*/ 45045 w 119103"/>
                  <a:gd name="connsiteY6" fmla="*/ 67886 h 72774"/>
                  <a:gd name="connsiteX7" fmla="*/ 8018 w 119103"/>
                  <a:gd name="connsiteY7" fmla="*/ 67886 h 72774"/>
                  <a:gd name="connsiteX8" fmla="*/ 1846 w 119103"/>
                  <a:gd name="connsiteY8" fmla="*/ 37028 h 72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9103" h="72774">
                    <a:moveTo>
                      <a:pt x="1846" y="37028"/>
                    </a:moveTo>
                    <a:cubicBezTo>
                      <a:pt x="14188" y="9257"/>
                      <a:pt x="48132" y="9257"/>
                      <a:pt x="75902" y="0"/>
                    </a:cubicBezTo>
                    <a:cubicBezTo>
                      <a:pt x="78989" y="0"/>
                      <a:pt x="78989" y="0"/>
                      <a:pt x="82074" y="0"/>
                    </a:cubicBezTo>
                    <a:cubicBezTo>
                      <a:pt x="85161" y="0"/>
                      <a:pt x="91331" y="0"/>
                      <a:pt x="94418" y="0"/>
                    </a:cubicBezTo>
                    <a:cubicBezTo>
                      <a:pt x="106759" y="3086"/>
                      <a:pt x="119103" y="12343"/>
                      <a:pt x="119103" y="24686"/>
                    </a:cubicBezTo>
                    <a:cubicBezTo>
                      <a:pt x="119103" y="40114"/>
                      <a:pt x="100590" y="43200"/>
                      <a:pt x="91331" y="49371"/>
                    </a:cubicBezTo>
                    <a:cubicBezTo>
                      <a:pt x="75902" y="55543"/>
                      <a:pt x="60474" y="61714"/>
                      <a:pt x="45045" y="67886"/>
                    </a:cubicBezTo>
                    <a:cubicBezTo>
                      <a:pt x="35788" y="70971"/>
                      <a:pt x="20360" y="77143"/>
                      <a:pt x="8018" y="67886"/>
                    </a:cubicBezTo>
                    <a:cubicBezTo>
                      <a:pt x="-1241" y="58628"/>
                      <a:pt x="-1241" y="46286"/>
                      <a:pt x="1846" y="37028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E88C213D-C998-4D09-B8F6-45E6F3975F95}"/>
                  </a:ext>
                </a:extLst>
              </p:cNvPr>
              <p:cNvSpPr/>
              <p:nvPr/>
            </p:nvSpPr>
            <p:spPr>
              <a:xfrm>
                <a:off x="20102734" y="4048639"/>
                <a:ext cx="91330" cy="52934"/>
              </a:xfrm>
              <a:custGeom>
                <a:avLst/>
                <a:gdLst>
                  <a:gd name="connsiteX0" fmla="*/ 1846 w 91330"/>
                  <a:gd name="connsiteY0" fmla="*/ 27771 h 52934"/>
                  <a:gd name="connsiteX1" fmla="*/ 57389 w 91330"/>
                  <a:gd name="connsiteY1" fmla="*/ 0 h 52934"/>
                  <a:gd name="connsiteX2" fmla="*/ 63561 w 91330"/>
                  <a:gd name="connsiteY2" fmla="*/ 0 h 52934"/>
                  <a:gd name="connsiteX3" fmla="*/ 72817 w 91330"/>
                  <a:gd name="connsiteY3" fmla="*/ 0 h 52934"/>
                  <a:gd name="connsiteX4" fmla="*/ 91331 w 91330"/>
                  <a:gd name="connsiteY4" fmla="*/ 18514 h 52934"/>
                  <a:gd name="connsiteX5" fmla="*/ 69732 w 91330"/>
                  <a:gd name="connsiteY5" fmla="*/ 37029 h 52934"/>
                  <a:gd name="connsiteX6" fmla="*/ 35788 w 91330"/>
                  <a:gd name="connsiteY6" fmla="*/ 49371 h 52934"/>
                  <a:gd name="connsiteX7" fmla="*/ 8018 w 91330"/>
                  <a:gd name="connsiteY7" fmla="*/ 49371 h 52934"/>
                  <a:gd name="connsiteX8" fmla="*/ 1846 w 91330"/>
                  <a:gd name="connsiteY8" fmla="*/ 27771 h 52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1330" h="52934">
                    <a:moveTo>
                      <a:pt x="1846" y="27771"/>
                    </a:moveTo>
                    <a:cubicBezTo>
                      <a:pt x="11103" y="9257"/>
                      <a:pt x="35788" y="6172"/>
                      <a:pt x="57389" y="0"/>
                    </a:cubicBezTo>
                    <a:cubicBezTo>
                      <a:pt x="60474" y="0"/>
                      <a:pt x="60474" y="0"/>
                      <a:pt x="63561" y="0"/>
                    </a:cubicBezTo>
                    <a:cubicBezTo>
                      <a:pt x="66646" y="0"/>
                      <a:pt x="69732" y="0"/>
                      <a:pt x="72817" y="0"/>
                    </a:cubicBezTo>
                    <a:cubicBezTo>
                      <a:pt x="82074" y="3086"/>
                      <a:pt x="91331" y="9257"/>
                      <a:pt x="91331" y="18514"/>
                    </a:cubicBezTo>
                    <a:cubicBezTo>
                      <a:pt x="91331" y="27771"/>
                      <a:pt x="78989" y="33943"/>
                      <a:pt x="69732" y="37029"/>
                    </a:cubicBezTo>
                    <a:cubicBezTo>
                      <a:pt x="57389" y="43200"/>
                      <a:pt x="48132" y="46286"/>
                      <a:pt x="35788" y="49371"/>
                    </a:cubicBezTo>
                    <a:cubicBezTo>
                      <a:pt x="26532" y="52457"/>
                      <a:pt x="17275" y="55543"/>
                      <a:pt x="8018" y="49371"/>
                    </a:cubicBezTo>
                    <a:cubicBezTo>
                      <a:pt x="-1241" y="43200"/>
                      <a:pt x="-1241" y="33943"/>
                      <a:pt x="1846" y="27771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02E97B87-1540-4715-A747-C5F8EFD42677}"/>
                  </a:ext>
                </a:extLst>
              </p:cNvPr>
              <p:cNvSpPr/>
              <p:nvPr/>
            </p:nvSpPr>
            <p:spPr>
              <a:xfrm>
                <a:off x="20036694" y="3925152"/>
                <a:ext cx="153016" cy="123486"/>
              </a:xfrm>
              <a:custGeom>
                <a:avLst/>
                <a:gdLst>
                  <a:gd name="connsiteX0" fmla="*/ 40114 w 153016"/>
                  <a:gd name="connsiteY0" fmla="*/ 123487 h 123486"/>
                  <a:gd name="connsiteX1" fmla="*/ 6172 w 153016"/>
                  <a:gd name="connsiteY1" fmla="*/ 108058 h 123486"/>
                  <a:gd name="connsiteX2" fmla="*/ 0 w 153016"/>
                  <a:gd name="connsiteY2" fmla="*/ 86458 h 123486"/>
                  <a:gd name="connsiteX3" fmla="*/ 9257 w 153016"/>
                  <a:gd name="connsiteY3" fmla="*/ 77201 h 123486"/>
                  <a:gd name="connsiteX4" fmla="*/ 104915 w 153016"/>
                  <a:gd name="connsiteY4" fmla="*/ 37087 h 123486"/>
                  <a:gd name="connsiteX5" fmla="*/ 104915 w 153016"/>
                  <a:gd name="connsiteY5" fmla="*/ 21658 h 123486"/>
                  <a:gd name="connsiteX6" fmla="*/ 98743 w 153016"/>
                  <a:gd name="connsiteY6" fmla="*/ 15487 h 123486"/>
                  <a:gd name="connsiteX7" fmla="*/ 9257 w 153016"/>
                  <a:gd name="connsiteY7" fmla="*/ 34001 h 123486"/>
                  <a:gd name="connsiteX8" fmla="*/ 0 w 153016"/>
                  <a:gd name="connsiteY8" fmla="*/ 30915 h 123486"/>
                  <a:gd name="connsiteX9" fmla="*/ 3085 w 153016"/>
                  <a:gd name="connsiteY9" fmla="*/ 21658 h 123486"/>
                  <a:gd name="connsiteX10" fmla="*/ 101828 w 153016"/>
                  <a:gd name="connsiteY10" fmla="*/ 3144 h 123486"/>
                  <a:gd name="connsiteX11" fmla="*/ 114172 w 153016"/>
                  <a:gd name="connsiteY11" fmla="*/ 15487 h 123486"/>
                  <a:gd name="connsiteX12" fmla="*/ 117257 w 153016"/>
                  <a:gd name="connsiteY12" fmla="*/ 27830 h 123486"/>
                  <a:gd name="connsiteX13" fmla="*/ 151201 w 153016"/>
                  <a:gd name="connsiteY13" fmla="*/ 55601 h 123486"/>
                  <a:gd name="connsiteX14" fmla="*/ 104915 w 153016"/>
                  <a:gd name="connsiteY14" fmla="*/ 101887 h 123486"/>
                  <a:gd name="connsiteX15" fmla="*/ 40114 w 153016"/>
                  <a:gd name="connsiteY15" fmla="*/ 123487 h 123486"/>
                  <a:gd name="connsiteX16" fmla="*/ 12344 w 153016"/>
                  <a:gd name="connsiteY16" fmla="*/ 89544 h 123486"/>
                  <a:gd name="connsiteX17" fmla="*/ 12344 w 153016"/>
                  <a:gd name="connsiteY17" fmla="*/ 89544 h 123486"/>
                  <a:gd name="connsiteX18" fmla="*/ 15429 w 153016"/>
                  <a:gd name="connsiteY18" fmla="*/ 101887 h 123486"/>
                  <a:gd name="connsiteX19" fmla="*/ 104915 w 153016"/>
                  <a:gd name="connsiteY19" fmla="*/ 95715 h 123486"/>
                  <a:gd name="connsiteX20" fmla="*/ 145029 w 153016"/>
                  <a:gd name="connsiteY20" fmla="*/ 64858 h 123486"/>
                  <a:gd name="connsiteX21" fmla="*/ 117257 w 153016"/>
                  <a:gd name="connsiteY21" fmla="*/ 43258 h 123486"/>
                  <a:gd name="connsiteX22" fmla="*/ 117257 w 153016"/>
                  <a:gd name="connsiteY22" fmla="*/ 43258 h 123486"/>
                  <a:gd name="connsiteX23" fmla="*/ 12344 w 153016"/>
                  <a:gd name="connsiteY23" fmla="*/ 89544 h 123486"/>
                  <a:gd name="connsiteX24" fmla="*/ 12344 w 153016"/>
                  <a:gd name="connsiteY24" fmla="*/ 89544 h 123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53016" h="123486">
                    <a:moveTo>
                      <a:pt x="40114" y="123487"/>
                    </a:moveTo>
                    <a:cubicBezTo>
                      <a:pt x="24685" y="123487"/>
                      <a:pt x="12344" y="120401"/>
                      <a:pt x="6172" y="108058"/>
                    </a:cubicBezTo>
                    <a:cubicBezTo>
                      <a:pt x="0" y="98801"/>
                      <a:pt x="0" y="92630"/>
                      <a:pt x="0" y="86458"/>
                    </a:cubicBezTo>
                    <a:cubicBezTo>
                      <a:pt x="3085" y="80287"/>
                      <a:pt x="9257" y="77201"/>
                      <a:pt x="9257" y="77201"/>
                    </a:cubicBezTo>
                    <a:cubicBezTo>
                      <a:pt x="64799" y="64858"/>
                      <a:pt x="98743" y="52515"/>
                      <a:pt x="104915" y="37087"/>
                    </a:cubicBezTo>
                    <a:cubicBezTo>
                      <a:pt x="108000" y="34001"/>
                      <a:pt x="108000" y="27830"/>
                      <a:pt x="104915" y="21658"/>
                    </a:cubicBezTo>
                    <a:cubicBezTo>
                      <a:pt x="104915" y="18572"/>
                      <a:pt x="101828" y="15487"/>
                      <a:pt x="98743" y="15487"/>
                    </a:cubicBezTo>
                    <a:cubicBezTo>
                      <a:pt x="77143" y="6230"/>
                      <a:pt x="27772" y="27830"/>
                      <a:pt x="9257" y="34001"/>
                    </a:cubicBezTo>
                    <a:cubicBezTo>
                      <a:pt x="6172" y="34001"/>
                      <a:pt x="3085" y="34001"/>
                      <a:pt x="0" y="30915"/>
                    </a:cubicBezTo>
                    <a:cubicBezTo>
                      <a:pt x="0" y="27830"/>
                      <a:pt x="0" y="24744"/>
                      <a:pt x="3085" y="21658"/>
                    </a:cubicBezTo>
                    <a:cubicBezTo>
                      <a:pt x="9257" y="18572"/>
                      <a:pt x="74058" y="-9199"/>
                      <a:pt x="101828" y="3144"/>
                    </a:cubicBezTo>
                    <a:cubicBezTo>
                      <a:pt x="108000" y="6230"/>
                      <a:pt x="114172" y="9315"/>
                      <a:pt x="114172" y="15487"/>
                    </a:cubicBezTo>
                    <a:cubicBezTo>
                      <a:pt x="114172" y="18572"/>
                      <a:pt x="117257" y="21658"/>
                      <a:pt x="117257" y="27830"/>
                    </a:cubicBezTo>
                    <a:cubicBezTo>
                      <a:pt x="120344" y="27830"/>
                      <a:pt x="145029" y="40173"/>
                      <a:pt x="151201" y="55601"/>
                    </a:cubicBezTo>
                    <a:cubicBezTo>
                      <a:pt x="160458" y="80287"/>
                      <a:pt x="132685" y="89544"/>
                      <a:pt x="104915" y="101887"/>
                    </a:cubicBezTo>
                    <a:cubicBezTo>
                      <a:pt x="83315" y="114230"/>
                      <a:pt x="58629" y="123487"/>
                      <a:pt x="40114" y="123487"/>
                    </a:cubicBezTo>
                    <a:close/>
                    <a:moveTo>
                      <a:pt x="12344" y="89544"/>
                    </a:moveTo>
                    <a:cubicBezTo>
                      <a:pt x="12344" y="89544"/>
                      <a:pt x="9257" y="89544"/>
                      <a:pt x="12344" y="89544"/>
                    </a:cubicBezTo>
                    <a:cubicBezTo>
                      <a:pt x="9257" y="92630"/>
                      <a:pt x="12344" y="95715"/>
                      <a:pt x="15429" y="101887"/>
                    </a:cubicBezTo>
                    <a:cubicBezTo>
                      <a:pt x="24685" y="117315"/>
                      <a:pt x="58629" y="114230"/>
                      <a:pt x="104915" y="95715"/>
                    </a:cubicBezTo>
                    <a:cubicBezTo>
                      <a:pt x="138857" y="83373"/>
                      <a:pt x="148114" y="74115"/>
                      <a:pt x="145029" y="64858"/>
                    </a:cubicBezTo>
                    <a:cubicBezTo>
                      <a:pt x="141942" y="55601"/>
                      <a:pt x="126514" y="46344"/>
                      <a:pt x="117257" y="43258"/>
                    </a:cubicBezTo>
                    <a:cubicBezTo>
                      <a:pt x="117257" y="43258"/>
                      <a:pt x="117257" y="43258"/>
                      <a:pt x="117257" y="43258"/>
                    </a:cubicBezTo>
                    <a:cubicBezTo>
                      <a:pt x="108000" y="55601"/>
                      <a:pt x="92571" y="71030"/>
                      <a:pt x="12344" y="89544"/>
                    </a:cubicBezTo>
                    <a:lnTo>
                      <a:pt x="12344" y="89544"/>
                    </a:ln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62DD6153-F9D5-43FF-BA24-1AE317F3BCE1}"/>
                  </a:ext>
                </a:extLst>
              </p:cNvPr>
              <p:cNvSpPr/>
              <p:nvPr/>
            </p:nvSpPr>
            <p:spPr>
              <a:xfrm>
                <a:off x="20069358" y="3996953"/>
                <a:ext cx="137049" cy="85628"/>
              </a:xfrm>
              <a:custGeom>
                <a:avLst/>
                <a:gdLst>
                  <a:gd name="connsiteX0" fmla="*/ 22878 w 137049"/>
                  <a:gd name="connsiteY0" fmla="*/ 85628 h 85628"/>
                  <a:gd name="connsiteX1" fmla="*/ 22878 w 137049"/>
                  <a:gd name="connsiteY1" fmla="*/ 85628 h 85628"/>
                  <a:gd name="connsiteX2" fmla="*/ 4365 w 137049"/>
                  <a:gd name="connsiteY2" fmla="*/ 73286 h 85628"/>
                  <a:gd name="connsiteX3" fmla="*/ 1278 w 137049"/>
                  <a:gd name="connsiteY3" fmla="*/ 45514 h 85628"/>
                  <a:gd name="connsiteX4" fmla="*/ 10536 w 137049"/>
                  <a:gd name="connsiteY4" fmla="*/ 42429 h 85628"/>
                  <a:gd name="connsiteX5" fmla="*/ 13621 w 137049"/>
                  <a:gd name="connsiteY5" fmla="*/ 51686 h 85628"/>
                  <a:gd name="connsiteX6" fmla="*/ 16706 w 137049"/>
                  <a:gd name="connsiteY6" fmla="*/ 67114 h 85628"/>
                  <a:gd name="connsiteX7" fmla="*/ 25965 w 137049"/>
                  <a:gd name="connsiteY7" fmla="*/ 73286 h 85628"/>
                  <a:gd name="connsiteX8" fmla="*/ 112365 w 137049"/>
                  <a:gd name="connsiteY8" fmla="*/ 45514 h 85628"/>
                  <a:gd name="connsiteX9" fmla="*/ 124706 w 137049"/>
                  <a:gd name="connsiteY9" fmla="*/ 30086 h 85628"/>
                  <a:gd name="connsiteX10" fmla="*/ 112365 w 137049"/>
                  <a:gd name="connsiteY10" fmla="*/ 11571 h 85628"/>
                  <a:gd name="connsiteX11" fmla="*/ 112365 w 137049"/>
                  <a:gd name="connsiteY11" fmla="*/ 2314 h 85628"/>
                  <a:gd name="connsiteX12" fmla="*/ 121621 w 137049"/>
                  <a:gd name="connsiteY12" fmla="*/ 2314 h 85628"/>
                  <a:gd name="connsiteX13" fmla="*/ 137050 w 137049"/>
                  <a:gd name="connsiteY13" fmla="*/ 33171 h 85628"/>
                  <a:gd name="connsiteX14" fmla="*/ 118536 w 137049"/>
                  <a:gd name="connsiteY14" fmla="*/ 57857 h 85628"/>
                  <a:gd name="connsiteX15" fmla="*/ 22878 w 137049"/>
                  <a:gd name="connsiteY15" fmla="*/ 85628 h 85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7049" h="85628">
                    <a:moveTo>
                      <a:pt x="22878" y="85628"/>
                    </a:moveTo>
                    <a:cubicBezTo>
                      <a:pt x="19793" y="85628"/>
                      <a:pt x="19793" y="85628"/>
                      <a:pt x="22878" y="85628"/>
                    </a:cubicBezTo>
                    <a:cubicBezTo>
                      <a:pt x="13621" y="85628"/>
                      <a:pt x="7450" y="79457"/>
                      <a:pt x="4365" y="73286"/>
                    </a:cubicBezTo>
                    <a:cubicBezTo>
                      <a:pt x="1278" y="64029"/>
                      <a:pt x="-1807" y="51686"/>
                      <a:pt x="1278" y="45514"/>
                    </a:cubicBezTo>
                    <a:cubicBezTo>
                      <a:pt x="4365" y="42429"/>
                      <a:pt x="7450" y="42429"/>
                      <a:pt x="10536" y="42429"/>
                    </a:cubicBezTo>
                    <a:cubicBezTo>
                      <a:pt x="13621" y="45514"/>
                      <a:pt x="13621" y="48600"/>
                      <a:pt x="13621" y="51686"/>
                    </a:cubicBezTo>
                    <a:cubicBezTo>
                      <a:pt x="13621" y="54771"/>
                      <a:pt x="13621" y="60943"/>
                      <a:pt x="16706" y="67114"/>
                    </a:cubicBezTo>
                    <a:cubicBezTo>
                      <a:pt x="16706" y="70200"/>
                      <a:pt x="19793" y="73286"/>
                      <a:pt x="25965" y="73286"/>
                    </a:cubicBezTo>
                    <a:cubicBezTo>
                      <a:pt x="41394" y="73286"/>
                      <a:pt x="81507" y="64029"/>
                      <a:pt x="112365" y="45514"/>
                    </a:cubicBezTo>
                    <a:cubicBezTo>
                      <a:pt x="118536" y="42429"/>
                      <a:pt x="124706" y="36257"/>
                      <a:pt x="124706" y="30086"/>
                    </a:cubicBezTo>
                    <a:cubicBezTo>
                      <a:pt x="124706" y="20828"/>
                      <a:pt x="115450" y="14657"/>
                      <a:pt x="112365" y="11571"/>
                    </a:cubicBezTo>
                    <a:cubicBezTo>
                      <a:pt x="109278" y="8486"/>
                      <a:pt x="109278" y="5400"/>
                      <a:pt x="112365" y="2314"/>
                    </a:cubicBezTo>
                    <a:cubicBezTo>
                      <a:pt x="115450" y="-771"/>
                      <a:pt x="118536" y="-771"/>
                      <a:pt x="121621" y="2314"/>
                    </a:cubicBezTo>
                    <a:cubicBezTo>
                      <a:pt x="121621" y="2314"/>
                      <a:pt x="137050" y="14657"/>
                      <a:pt x="137050" y="33171"/>
                    </a:cubicBezTo>
                    <a:cubicBezTo>
                      <a:pt x="137050" y="42429"/>
                      <a:pt x="130878" y="51686"/>
                      <a:pt x="118536" y="57857"/>
                    </a:cubicBezTo>
                    <a:cubicBezTo>
                      <a:pt x="81507" y="76371"/>
                      <a:pt x="38307" y="85628"/>
                      <a:pt x="22878" y="8562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7999CC43-D2FB-46F4-8EBB-1595C167667D}"/>
                </a:ext>
              </a:extLst>
            </p:cNvPr>
            <p:cNvGrpSpPr/>
            <p:nvPr/>
          </p:nvGrpSpPr>
          <p:grpSpPr>
            <a:xfrm>
              <a:off x="20113232" y="3928194"/>
              <a:ext cx="144152" cy="105016"/>
              <a:chOff x="20113232" y="3928194"/>
              <a:chExt cx="144152" cy="105016"/>
            </a:xfrm>
          </p:grpSpPr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F61B7457-E358-42BC-BEC3-6A7303B05D7B}"/>
                  </a:ext>
                </a:extLst>
              </p:cNvPr>
              <p:cNvSpPr/>
              <p:nvPr/>
            </p:nvSpPr>
            <p:spPr>
              <a:xfrm>
                <a:off x="20122750" y="3932753"/>
                <a:ext cx="134634" cy="94689"/>
              </a:xfrm>
              <a:custGeom>
                <a:avLst/>
                <a:gdLst>
                  <a:gd name="connsiteX0" fmla="*/ 9601 w 134634"/>
                  <a:gd name="connsiteY0" fmla="*/ 94286 h 94689"/>
                  <a:gd name="connsiteX1" fmla="*/ 28116 w 134634"/>
                  <a:gd name="connsiteY1" fmla="*/ 75772 h 94689"/>
                  <a:gd name="connsiteX2" fmla="*/ 80574 w 134634"/>
                  <a:gd name="connsiteY2" fmla="*/ 51086 h 94689"/>
                  <a:gd name="connsiteX3" fmla="*/ 133029 w 134634"/>
                  <a:gd name="connsiteY3" fmla="*/ 69600 h 94689"/>
                  <a:gd name="connsiteX4" fmla="*/ 108344 w 134634"/>
                  <a:gd name="connsiteY4" fmla="*/ 4800 h 94689"/>
                  <a:gd name="connsiteX5" fmla="*/ 12688 w 134634"/>
                  <a:gd name="connsiteY5" fmla="*/ 23314 h 94689"/>
                  <a:gd name="connsiteX6" fmla="*/ 9601 w 134634"/>
                  <a:gd name="connsiteY6" fmla="*/ 94286 h 94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4634" h="94689">
                    <a:moveTo>
                      <a:pt x="9601" y="94286"/>
                    </a:moveTo>
                    <a:cubicBezTo>
                      <a:pt x="18859" y="97371"/>
                      <a:pt x="21944" y="81943"/>
                      <a:pt x="28116" y="75772"/>
                    </a:cubicBezTo>
                    <a:cubicBezTo>
                      <a:pt x="43545" y="60343"/>
                      <a:pt x="55886" y="51086"/>
                      <a:pt x="80574" y="51086"/>
                    </a:cubicBezTo>
                    <a:cubicBezTo>
                      <a:pt x="92915" y="51086"/>
                      <a:pt x="120688" y="66514"/>
                      <a:pt x="133029" y="69600"/>
                    </a:cubicBezTo>
                    <a:cubicBezTo>
                      <a:pt x="139201" y="69600"/>
                      <a:pt x="126859" y="10971"/>
                      <a:pt x="108344" y="4800"/>
                    </a:cubicBezTo>
                    <a:cubicBezTo>
                      <a:pt x="83659" y="-4457"/>
                      <a:pt x="34288" y="-1371"/>
                      <a:pt x="12688" y="23314"/>
                    </a:cubicBezTo>
                    <a:cubicBezTo>
                      <a:pt x="3431" y="32571"/>
                      <a:pt x="-8913" y="85029"/>
                      <a:pt x="9601" y="9428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96B3F2CC-867D-4AF7-ABB3-FC9EC909AC73}"/>
                  </a:ext>
                </a:extLst>
              </p:cNvPr>
              <p:cNvSpPr/>
              <p:nvPr/>
            </p:nvSpPr>
            <p:spPr>
              <a:xfrm>
                <a:off x="20113232" y="3928194"/>
                <a:ext cx="124033" cy="105016"/>
              </a:xfrm>
              <a:custGeom>
                <a:avLst/>
                <a:gdLst>
                  <a:gd name="connsiteX0" fmla="*/ 19118 w 124033"/>
                  <a:gd name="connsiteY0" fmla="*/ 105016 h 105016"/>
                  <a:gd name="connsiteX1" fmla="*/ 19118 w 124033"/>
                  <a:gd name="connsiteY1" fmla="*/ 105016 h 105016"/>
                  <a:gd name="connsiteX2" fmla="*/ 3690 w 124033"/>
                  <a:gd name="connsiteY2" fmla="*/ 95759 h 105016"/>
                  <a:gd name="connsiteX3" fmla="*/ 16034 w 124033"/>
                  <a:gd name="connsiteY3" fmla="*/ 24788 h 105016"/>
                  <a:gd name="connsiteX4" fmla="*/ 117862 w 124033"/>
                  <a:gd name="connsiteY4" fmla="*/ 3188 h 105016"/>
                  <a:gd name="connsiteX5" fmla="*/ 124034 w 124033"/>
                  <a:gd name="connsiteY5" fmla="*/ 9359 h 105016"/>
                  <a:gd name="connsiteX6" fmla="*/ 117862 w 124033"/>
                  <a:gd name="connsiteY6" fmla="*/ 15530 h 105016"/>
                  <a:gd name="connsiteX7" fmla="*/ 28377 w 124033"/>
                  <a:gd name="connsiteY7" fmla="*/ 30959 h 105016"/>
                  <a:gd name="connsiteX8" fmla="*/ 16034 w 124033"/>
                  <a:gd name="connsiteY8" fmla="*/ 89588 h 105016"/>
                  <a:gd name="connsiteX9" fmla="*/ 19118 w 124033"/>
                  <a:gd name="connsiteY9" fmla="*/ 92673 h 105016"/>
                  <a:gd name="connsiteX10" fmla="*/ 19118 w 124033"/>
                  <a:gd name="connsiteY10" fmla="*/ 92673 h 105016"/>
                  <a:gd name="connsiteX11" fmla="*/ 31462 w 124033"/>
                  <a:gd name="connsiteY11" fmla="*/ 80331 h 105016"/>
                  <a:gd name="connsiteX12" fmla="*/ 87005 w 124033"/>
                  <a:gd name="connsiteY12" fmla="*/ 49473 h 105016"/>
                  <a:gd name="connsiteX13" fmla="*/ 93176 w 124033"/>
                  <a:gd name="connsiteY13" fmla="*/ 52559 h 105016"/>
                  <a:gd name="connsiteX14" fmla="*/ 117862 w 124033"/>
                  <a:gd name="connsiteY14" fmla="*/ 83416 h 105016"/>
                  <a:gd name="connsiteX15" fmla="*/ 120949 w 124033"/>
                  <a:gd name="connsiteY15" fmla="*/ 89588 h 105016"/>
                  <a:gd name="connsiteX16" fmla="*/ 114777 w 124033"/>
                  <a:gd name="connsiteY16" fmla="*/ 92673 h 105016"/>
                  <a:gd name="connsiteX17" fmla="*/ 83920 w 124033"/>
                  <a:gd name="connsiteY17" fmla="*/ 58730 h 105016"/>
                  <a:gd name="connsiteX18" fmla="*/ 83920 w 124033"/>
                  <a:gd name="connsiteY18" fmla="*/ 58730 h 105016"/>
                  <a:gd name="connsiteX19" fmla="*/ 40719 w 124033"/>
                  <a:gd name="connsiteY19" fmla="*/ 86502 h 105016"/>
                  <a:gd name="connsiteX20" fmla="*/ 19118 w 124033"/>
                  <a:gd name="connsiteY20" fmla="*/ 105016 h 105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24033" h="105016">
                    <a:moveTo>
                      <a:pt x="19118" y="105016"/>
                    </a:moveTo>
                    <a:cubicBezTo>
                      <a:pt x="19118" y="105016"/>
                      <a:pt x="19118" y="105016"/>
                      <a:pt x="19118" y="105016"/>
                    </a:cubicBezTo>
                    <a:cubicBezTo>
                      <a:pt x="12949" y="105016"/>
                      <a:pt x="6777" y="101930"/>
                      <a:pt x="3690" y="95759"/>
                    </a:cubicBezTo>
                    <a:cubicBezTo>
                      <a:pt x="-2480" y="80331"/>
                      <a:pt x="-2480" y="49473"/>
                      <a:pt x="16034" y="24788"/>
                    </a:cubicBezTo>
                    <a:cubicBezTo>
                      <a:pt x="37634" y="-12241"/>
                      <a:pt x="114777" y="3188"/>
                      <a:pt x="117862" y="3188"/>
                    </a:cubicBezTo>
                    <a:cubicBezTo>
                      <a:pt x="120949" y="3188"/>
                      <a:pt x="124034" y="6273"/>
                      <a:pt x="124034" y="9359"/>
                    </a:cubicBezTo>
                    <a:cubicBezTo>
                      <a:pt x="124034" y="12445"/>
                      <a:pt x="120949" y="15530"/>
                      <a:pt x="117862" y="15530"/>
                    </a:cubicBezTo>
                    <a:cubicBezTo>
                      <a:pt x="99348" y="12445"/>
                      <a:pt x="43806" y="6273"/>
                      <a:pt x="28377" y="30959"/>
                    </a:cubicBezTo>
                    <a:cubicBezTo>
                      <a:pt x="12949" y="55645"/>
                      <a:pt x="12949" y="80331"/>
                      <a:pt x="16034" y="89588"/>
                    </a:cubicBezTo>
                    <a:cubicBezTo>
                      <a:pt x="19118" y="92673"/>
                      <a:pt x="19118" y="92673"/>
                      <a:pt x="19118" y="92673"/>
                    </a:cubicBezTo>
                    <a:cubicBezTo>
                      <a:pt x="19118" y="92673"/>
                      <a:pt x="19118" y="92673"/>
                      <a:pt x="19118" y="92673"/>
                    </a:cubicBezTo>
                    <a:cubicBezTo>
                      <a:pt x="22205" y="92673"/>
                      <a:pt x="28377" y="86502"/>
                      <a:pt x="31462" y="80331"/>
                    </a:cubicBezTo>
                    <a:cubicBezTo>
                      <a:pt x="40719" y="67988"/>
                      <a:pt x="59234" y="46388"/>
                      <a:pt x="87005" y="49473"/>
                    </a:cubicBezTo>
                    <a:cubicBezTo>
                      <a:pt x="90091" y="49473"/>
                      <a:pt x="90091" y="52559"/>
                      <a:pt x="93176" y="52559"/>
                    </a:cubicBezTo>
                    <a:cubicBezTo>
                      <a:pt x="96261" y="58730"/>
                      <a:pt x="105520" y="77245"/>
                      <a:pt x="117862" y="83416"/>
                    </a:cubicBezTo>
                    <a:cubicBezTo>
                      <a:pt x="120949" y="83416"/>
                      <a:pt x="124034" y="86502"/>
                      <a:pt x="120949" y="89588"/>
                    </a:cubicBezTo>
                    <a:cubicBezTo>
                      <a:pt x="120949" y="92673"/>
                      <a:pt x="117862" y="95759"/>
                      <a:pt x="114777" y="92673"/>
                    </a:cubicBezTo>
                    <a:cubicBezTo>
                      <a:pt x="99348" y="86502"/>
                      <a:pt x="87005" y="67988"/>
                      <a:pt x="83920" y="58730"/>
                    </a:cubicBezTo>
                    <a:cubicBezTo>
                      <a:pt x="83920" y="58730"/>
                      <a:pt x="83920" y="58730"/>
                      <a:pt x="83920" y="58730"/>
                    </a:cubicBezTo>
                    <a:cubicBezTo>
                      <a:pt x="62319" y="58730"/>
                      <a:pt x="53062" y="74159"/>
                      <a:pt x="40719" y="86502"/>
                    </a:cubicBezTo>
                    <a:cubicBezTo>
                      <a:pt x="34547" y="95759"/>
                      <a:pt x="28377" y="105016"/>
                      <a:pt x="19118" y="10501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2C7DE355-00CC-4AF6-94F0-21C413298172}"/>
                </a:ext>
              </a:extLst>
            </p:cNvPr>
            <p:cNvSpPr/>
            <p:nvPr/>
          </p:nvSpPr>
          <p:spPr>
            <a:xfrm>
              <a:off x="21224137" y="2144541"/>
              <a:ext cx="481156" cy="810252"/>
            </a:xfrm>
            <a:custGeom>
              <a:avLst/>
              <a:gdLst>
                <a:gd name="connsiteX0" fmla="*/ 475757 w 481156"/>
                <a:gd name="connsiteY0" fmla="*/ 722269 h 810252"/>
                <a:gd name="connsiteX1" fmla="*/ 463414 w 481156"/>
                <a:gd name="connsiteY1" fmla="*/ 694498 h 810252"/>
                <a:gd name="connsiteX2" fmla="*/ 457242 w 481156"/>
                <a:gd name="connsiteY2" fmla="*/ 601926 h 810252"/>
                <a:gd name="connsiteX3" fmla="*/ 432557 w 481156"/>
                <a:gd name="connsiteY3" fmla="*/ 478498 h 810252"/>
                <a:gd name="connsiteX4" fmla="*/ 410956 w 481156"/>
                <a:gd name="connsiteY4" fmla="*/ 351983 h 810252"/>
                <a:gd name="connsiteX5" fmla="*/ 392443 w 481156"/>
                <a:gd name="connsiteY5" fmla="*/ 262498 h 810252"/>
                <a:gd name="connsiteX6" fmla="*/ 398614 w 481156"/>
                <a:gd name="connsiteY6" fmla="*/ 247069 h 810252"/>
                <a:gd name="connsiteX7" fmla="*/ 343070 w 481156"/>
                <a:gd name="connsiteY7" fmla="*/ 151412 h 810252"/>
                <a:gd name="connsiteX8" fmla="*/ 244329 w 481156"/>
                <a:gd name="connsiteY8" fmla="*/ 52669 h 810252"/>
                <a:gd name="connsiteX9" fmla="*/ 222728 w 481156"/>
                <a:gd name="connsiteY9" fmla="*/ 24898 h 810252"/>
                <a:gd name="connsiteX10" fmla="*/ 157927 w 481156"/>
                <a:gd name="connsiteY10" fmla="*/ 212 h 810252"/>
                <a:gd name="connsiteX11" fmla="*/ 12900 w 481156"/>
                <a:gd name="connsiteY11" fmla="*/ 77355 h 810252"/>
                <a:gd name="connsiteX12" fmla="*/ 6728 w 481156"/>
                <a:gd name="connsiteY12" fmla="*/ 105126 h 810252"/>
                <a:gd name="connsiteX13" fmla="*/ 43757 w 481156"/>
                <a:gd name="connsiteY13" fmla="*/ 123640 h 810252"/>
                <a:gd name="connsiteX14" fmla="*/ 71528 w 481156"/>
                <a:gd name="connsiteY14" fmla="*/ 203869 h 810252"/>
                <a:gd name="connsiteX15" fmla="*/ 120900 w 481156"/>
                <a:gd name="connsiteY15" fmla="*/ 348898 h 810252"/>
                <a:gd name="connsiteX16" fmla="*/ 71528 w 481156"/>
                <a:gd name="connsiteY16" fmla="*/ 617355 h 810252"/>
                <a:gd name="connsiteX17" fmla="*/ 157927 w 481156"/>
                <a:gd name="connsiteY17" fmla="*/ 574155 h 810252"/>
                <a:gd name="connsiteX18" fmla="*/ 244329 w 481156"/>
                <a:gd name="connsiteY18" fmla="*/ 783983 h 810252"/>
                <a:gd name="connsiteX19" fmla="*/ 472670 w 481156"/>
                <a:gd name="connsiteY19" fmla="*/ 771641 h 810252"/>
                <a:gd name="connsiteX20" fmla="*/ 475757 w 481156"/>
                <a:gd name="connsiteY20" fmla="*/ 722269 h 810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81156" h="810252">
                  <a:moveTo>
                    <a:pt x="475757" y="722269"/>
                  </a:moveTo>
                  <a:cubicBezTo>
                    <a:pt x="475757" y="713012"/>
                    <a:pt x="472670" y="700669"/>
                    <a:pt x="463414" y="694498"/>
                  </a:cubicBezTo>
                  <a:cubicBezTo>
                    <a:pt x="485014" y="663641"/>
                    <a:pt x="491186" y="623526"/>
                    <a:pt x="457242" y="601926"/>
                  </a:cubicBezTo>
                  <a:cubicBezTo>
                    <a:pt x="475757" y="555640"/>
                    <a:pt x="475757" y="506269"/>
                    <a:pt x="432557" y="478498"/>
                  </a:cubicBezTo>
                  <a:cubicBezTo>
                    <a:pt x="457242" y="438383"/>
                    <a:pt x="454157" y="370498"/>
                    <a:pt x="410956" y="351983"/>
                  </a:cubicBezTo>
                  <a:cubicBezTo>
                    <a:pt x="426385" y="318040"/>
                    <a:pt x="417128" y="287183"/>
                    <a:pt x="392443" y="262498"/>
                  </a:cubicBezTo>
                  <a:cubicBezTo>
                    <a:pt x="392443" y="259412"/>
                    <a:pt x="395528" y="256326"/>
                    <a:pt x="398614" y="247069"/>
                  </a:cubicBezTo>
                  <a:cubicBezTo>
                    <a:pt x="410956" y="200783"/>
                    <a:pt x="392443" y="148326"/>
                    <a:pt x="343070" y="151412"/>
                  </a:cubicBezTo>
                  <a:cubicBezTo>
                    <a:pt x="349242" y="89698"/>
                    <a:pt x="306043" y="46498"/>
                    <a:pt x="244329" y="52669"/>
                  </a:cubicBezTo>
                  <a:cubicBezTo>
                    <a:pt x="238157" y="40326"/>
                    <a:pt x="231985" y="34155"/>
                    <a:pt x="222728" y="24898"/>
                  </a:cubicBezTo>
                  <a:cubicBezTo>
                    <a:pt x="201128" y="9469"/>
                    <a:pt x="173356" y="212"/>
                    <a:pt x="157927" y="212"/>
                  </a:cubicBezTo>
                  <a:cubicBezTo>
                    <a:pt x="99300" y="-2874"/>
                    <a:pt x="34499" y="27983"/>
                    <a:pt x="12900" y="77355"/>
                  </a:cubicBezTo>
                  <a:cubicBezTo>
                    <a:pt x="557" y="80440"/>
                    <a:pt x="-5615" y="98955"/>
                    <a:pt x="6728" y="105126"/>
                  </a:cubicBezTo>
                  <a:cubicBezTo>
                    <a:pt x="19070" y="111298"/>
                    <a:pt x="31414" y="117469"/>
                    <a:pt x="43757" y="123640"/>
                  </a:cubicBezTo>
                  <a:cubicBezTo>
                    <a:pt x="49927" y="151412"/>
                    <a:pt x="59186" y="182269"/>
                    <a:pt x="71528" y="203869"/>
                  </a:cubicBezTo>
                  <a:cubicBezTo>
                    <a:pt x="93128" y="250155"/>
                    <a:pt x="111641" y="299526"/>
                    <a:pt x="120900" y="348898"/>
                  </a:cubicBezTo>
                  <a:cubicBezTo>
                    <a:pt x="130157" y="401355"/>
                    <a:pt x="65356" y="574155"/>
                    <a:pt x="71528" y="617355"/>
                  </a:cubicBezTo>
                  <a:cubicBezTo>
                    <a:pt x="80784" y="666726"/>
                    <a:pt x="71528" y="648212"/>
                    <a:pt x="157927" y="574155"/>
                  </a:cubicBezTo>
                  <a:cubicBezTo>
                    <a:pt x="136329" y="654383"/>
                    <a:pt x="151757" y="737698"/>
                    <a:pt x="244329" y="783983"/>
                  </a:cubicBezTo>
                  <a:cubicBezTo>
                    <a:pt x="296784" y="811755"/>
                    <a:pt x="435641" y="830269"/>
                    <a:pt x="472670" y="771641"/>
                  </a:cubicBezTo>
                  <a:cubicBezTo>
                    <a:pt x="485014" y="750040"/>
                    <a:pt x="481927" y="734612"/>
                    <a:pt x="475757" y="722269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30BAD6AB-76BB-4451-8819-C2FBE94C32A6}"/>
                </a:ext>
              </a:extLst>
            </p:cNvPr>
            <p:cNvSpPr/>
            <p:nvPr/>
          </p:nvSpPr>
          <p:spPr>
            <a:xfrm>
              <a:off x="20731892" y="2146286"/>
              <a:ext cx="607971" cy="978904"/>
            </a:xfrm>
            <a:custGeom>
              <a:avLst/>
              <a:gdLst>
                <a:gd name="connsiteX0" fmla="*/ 560688 w 607971"/>
                <a:gd name="connsiteY0" fmla="*/ 266924 h 978904"/>
                <a:gd name="connsiteX1" fmla="*/ 539088 w 607971"/>
                <a:gd name="connsiteY1" fmla="*/ 91039 h 978904"/>
                <a:gd name="connsiteX2" fmla="*/ 542173 w 607971"/>
                <a:gd name="connsiteY2" fmla="*/ 75610 h 978904"/>
                <a:gd name="connsiteX3" fmla="*/ 375545 w 607971"/>
                <a:gd name="connsiteY3" fmla="*/ 54010 h 978904"/>
                <a:gd name="connsiteX4" fmla="*/ 282974 w 607971"/>
                <a:gd name="connsiteY4" fmla="*/ 100296 h 978904"/>
                <a:gd name="connsiteX5" fmla="*/ 286059 w 607971"/>
                <a:gd name="connsiteY5" fmla="*/ 165096 h 978904"/>
                <a:gd name="connsiteX6" fmla="*/ 286059 w 607971"/>
                <a:gd name="connsiteY6" fmla="*/ 165096 h 978904"/>
                <a:gd name="connsiteX7" fmla="*/ 205831 w 607971"/>
                <a:gd name="connsiteY7" fmla="*/ 257667 h 978904"/>
                <a:gd name="connsiteX8" fmla="*/ 168802 w 607971"/>
                <a:gd name="connsiteY8" fmla="*/ 291610 h 978904"/>
                <a:gd name="connsiteX9" fmla="*/ 178059 w 607971"/>
                <a:gd name="connsiteY9" fmla="*/ 344067 h 978904"/>
                <a:gd name="connsiteX10" fmla="*/ 134860 w 607971"/>
                <a:gd name="connsiteY10" fmla="*/ 411953 h 978904"/>
                <a:gd name="connsiteX11" fmla="*/ 141030 w 607971"/>
                <a:gd name="connsiteY11" fmla="*/ 455153 h 978904"/>
                <a:gd name="connsiteX12" fmla="*/ 57717 w 607971"/>
                <a:gd name="connsiteY12" fmla="*/ 532296 h 978904"/>
                <a:gd name="connsiteX13" fmla="*/ 85487 w 607971"/>
                <a:gd name="connsiteY13" fmla="*/ 603267 h 978904"/>
                <a:gd name="connsiteX14" fmla="*/ 42288 w 607971"/>
                <a:gd name="connsiteY14" fmla="*/ 776067 h 978904"/>
                <a:gd name="connsiteX15" fmla="*/ 17601 w 607971"/>
                <a:gd name="connsiteY15" fmla="*/ 902582 h 978904"/>
                <a:gd name="connsiteX16" fmla="*/ 91659 w 607971"/>
                <a:gd name="connsiteY16" fmla="*/ 905667 h 978904"/>
                <a:gd name="connsiteX17" fmla="*/ 199659 w 607971"/>
                <a:gd name="connsiteY17" fmla="*/ 976639 h 978904"/>
                <a:gd name="connsiteX18" fmla="*/ 267545 w 607971"/>
                <a:gd name="connsiteY18" fmla="*/ 843953 h 978904"/>
                <a:gd name="connsiteX19" fmla="*/ 304574 w 607971"/>
                <a:gd name="connsiteY19" fmla="*/ 810010 h 978904"/>
                <a:gd name="connsiteX20" fmla="*/ 341601 w 607971"/>
                <a:gd name="connsiteY20" fmla="*/ 794582 h 978904"/>
                <a:gd name="connsiteX21" fmla="*/ 508230 w 607971"/>
                <a:gd name="connsiteY21" fmla="*/ 729782 h 978904"/>
                <a:gd name="connsiteX22" fmla="*/ 579202 w 607971"/>
                <a:gd name="connsiteY22" fmla="*/ 674239 h 978904"/>
                <a:gd name="connsiteX23" fmla="*/ 560688 w 607971"/>
                <a:gd name="connsiteY23" fmla="*/ 498353 h 978904"/>
                <a:gd name="connsiteX24" fmla="*/ 560688 w 607971"/>
                <a:gd name="connsiteY24" fmla="*/ 266924 h 978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07971" h="978904">
                  <a:moveTo>
                    <a:pt x="560688" y="266924"/>
                  </a:moveTo>
                  <a:cubicBezTo>
                    <a:pt x="619315" y="220639"/>
                    <a:pt x="569945" y="143496"/>
                    <a:pt x="539088" y="91039"/>
                  </a:cubicBezTo>
                  <a:cubicBezTo>
                    <a:pt x="542173" y="87953"/>
                    <a:pt x="545259" y="81782"/>
                    <a:pt x="542173" y="75610"/>
                  </a:cubicBezTo>
                  <a:cubicBezTo>
                    <a:pt x="520574" y="-7704"/>
                    <a:pt x="372458" y="-32390"/>
                    <a:pt x="375545" y="54010"/>
                  </a:cubicBezTo>
                  <a:cubicBezTo>
                    <a:pt x="338516" y="57096"/>
                    <a:pt x="301487" y="66353"/>
                    <a:pt x="282974" y="100296"/>
                  </a:cubicBezTo>
                  <a:cubicBezTo>
                    <a:pt x="270630" y="121896"/>
                    <a:pt x="273717" y="146582"/>
                    <a:pt x="286059" y="165096"/>
                  </a:cubicBezTo>
                  <a:lnTo>
                    <a:pt x="286059" y="165096"/>
                  </a:lnTo>
                  <a:cubicBezTo>
                    <a:pt x="239773" y="177439"/>
                    <a:pt x="199659" y="205210"/>
                    <a:pt x="205831" y="257667"/>
                  </a:cubicBezTo>
                  <a:cubicBezTo>
                    <a:pt x="187315" y="260753"/>
                    <a:pt x="174974" y="270010"/>
                    <a:pt x="168802" y="291610"/>
                  </a:cubicBezTo>
                  <a:cubicBezTo>
                    <a:pt x="162630" y="310124"/>
                    <a:pt x="181146" y="331725"/>
                    <a:pt x="178059" y="344067"/>
                  </a:cubicBezTo>
                  <a:cubicBezTo>
                    <a:pt x="150288" y="353324"/>
                    <a:pt x="137945" y="381096"/>
                    <a:pt x="134860" y="411953"/>
                  </a:cubicBezTo>
                  <a:cubicBezTo>
                    <a:pt x="131773" y="430467"/>
                    <a:pt x="134860" y="442810"/>
                    <a:pt x="141030" y="455153"/>
                  </a:cubicBezTo>
                  <a:cubicBezTo>
                    <a:pt x="104003" y="467496"/>
                    <a:pt x="63887" y="489096"/>
                    <a:pt x="57717" y="532296"/>
                  </a:cubicBezTo>
                  <a:cubicBezTo>
                    <a:pt x="51545" y="563153"/>
                    <a:pt x="63887" y="587839"/>
                    <a:pt x="85487" y="603267"/>
                  </a:cubicBezTo>
                  <a:cubicBezTo>
                    <a:pt x="39202" y="649553"/>
                    <a:pt x="-22513" y="745210"/>
                    <a:pt x="42288" y="776067"/>
                  </a:cubicBezTo>
                  <a:cubicBezTo>
                    <a:pt x="8344" y="810010"/>
                    <a:pt x="-19426" y="862467"/>
                    <a:pt x="17601" y="902582"/>
                  </a:cubicBezTo>
                  <a:cubicBezTo>
                    <a:pt x="42288" y="927267"/>
                    <a:pt x="73146" y="924182"/>
                    <a:pt x="91659" y="905667"/>
                  </a:cubicBezTo>
                  <a:cubicBezTo>
                    <a:pt x="113259" y="948867"/>
                    <a:pt x="147202" y="988982"/>
                    <a:pt x="199659" y="976639"/>
                  </a:cubicBezTo>
                  <a:cubicBezTo>
                    <a:pt x="261373" y="961210"/>
                    <a:pt x="273717" y="899496"/>
                    <a:pt x="267545" y="843953"/>
                  </a:cubicBezTo>
                  <a:cubicBezTo>
                    <a:pt x="282974" y="837782"/>
                    <a:pt x="295315" y="825439"/>
                    <a:pt x="304574" y="810010"/>
                  </a:cubicBezTo>
                  <a:cubicBezTo>
                    <a:pt x="316916" y="806924"/>
                    <a:pt x="329259" y="800753"/>
                    <a:pt x="341601" y="794582"/>
                  </a:cubicBezTo>
                  <a:cubicBezTo>
                    <a:pt x="390974" y="880982"/>
                    <a:pt x="520574" y="831610"/>
                    <a:pt x="508230" y="729782"/>
                  </a:cubicBezTo>
                  <a:cubicBezTo>
                    <a:pt x="548344" y="726696"/>
                    <a:pt x="563773" y="726696"/>
                    <a:pt x="579202" y="674239"/>
                  </a:cubicBezTo>
                  <a:cubicBezTo>
                    <a:pt x="594630" y="615610"/>
                    <a:pt x="585373" y="553896"/>
                    <a:pt x="560688" y="498353"/>
                  </a:cubicBezTo>
                  <a:cubicBezTo>
                    <a:pt x="640916" y="436639"/>
                    <a:pt x="603887" y="347153"/>
                    <a:pt x="560688" y="266924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" name="图形 1">
              <a:extLst>
                <a:ext uri="{FF2B5EF4-FFF2-40B4-BE49-F238E27FC236}">
                  <a16:creationId xmlns:a16="http://schemas.microsoft.com/office/drawing/2014/main" id="{BAEA0E1B-4F8B-474D-AFAC-DC7D497558B4}"/>
                </a:ext>
              </a:extLst>
            </p:cNvPr>
            <p:cNvGrpSpPr/>
            <p:nvPr/>
          </p:nvGrpSpPr>
          <p:grpSpPr>
            <a:xfrm>
              <a:off x="20789148" y="6288867"/>
              <a:ext cx="400059" cy="365917"/>
              <a:chOff x="20789148" y="6288867"/>
              <a:chExt cx="400059" cy="365917"/>
            </a:xfrm>
          </p:grpSpPr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93FF9EAA-167F-49BC-A571-040709F6916C}"/>
                  </a:ext>
                </a:extLst>
              </p:cNvPr>
              <p:cNvSpPr/>
              <p:nvPr/>
            </p:nvSpPr>
            <p:spPr>
              <a:xfrm>
                <a:off x="20789148" y="6415382"/>
                <a:ext cx="400059" cy="239403"/>
              </a:xfrm>
              <a:custGeom>
                <a:avLst/>
                <a:gdLst>
                  <a:gd name="connsiteX0" fmla="*/ 290517 w 400059"/>
                  <a:gd name="connsiteY0" fmla="*/ 0 h 239403"/>
                  <a:gd name="connsiteX1" fmla="*/ 130059 w 400059"/>
                  <a:gd name="connsiteY1" fmla="*/ 126514 h 239403"/>
                  <a:gd name="connsiteX2" fmla="*/ 327546 w 400059"/>
                  <a:gd name="connsiteY2" fmla="*/ 77143 h 239403"/>
                  <a:gd name="connsiteX3" fmla="*/ 398517 w 400059"/>
                  <a:gd name="connsiteY3" fmla="*/ 52457 h 239403"/>
                  <a:gd name="connsiteX4" fmla="*/ 392345 w 400059"/>
                  <a:gd name="connsiteY4" fmla="*/ 160457 h 239403"/>
                  <a:gd name="connsiteX5" fmla="*/ 157831 w 400059"/>
                  <a:gd name="connsiteY5" fmla="*/ 234514 h 239403"/>
                  <a:gd name="connsiteX6" fmla="*/ 18974 w 400059"/>
                  <a:gd name="connsiteY6" fmla="*/ 234514 h 239403"/>
                  <a:gd name="connsiteX7" fmla="*/ 12802 w 400059"/>
                  <a:gd name="connsiteY7" fmla="*/ 178972 h 239403"/>
                  <a:gd name="connsiteX8" fmla="*/ 290517 w 400059"/>
                  <a:gd name="connsiteY8" fmla="*/ 0 h 239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0059" h="239403">
                    <a:moveTo>
                      <a:pt x="290517" y="0"/>
                    </a:moveTo>
                    <a:cubicBezTo>
                      <a:pt x="290517" y="0"/>
                      <a:pt x="114630" y="114171"/>
                      <a:pt x="130059" y="126514"/>
                    </a:cubicBezTo>
                    <a:cubicBezTo>
                      <a:pt x="142403" y="141943"/>
                      <a:pt x="327546" y="77143"/>
                      <a:pt x="327546" y="77143"/>
                    </a:cubicBezTo>
                    <a:lnTo>
                      <a:pt x="398517" y="52457"/>
                    </a:lnTo>
                    <a:cubicBezTo>
                      <a:pt x="398517" y="52457"/>
                      <a:pt x="404688" y="135771"/>
                      <a:pt x="392345" y="160457"/>
                    </a:cubicBezTo>
                    <a:cubicBezTo>
                      <a:pt x="318289" y="197486"/>
                      <a:pt x="231889" y="222171"/>
                      <a:pt x="157831" y="234514"/>
                    </a:cubicBezTo>
                    <a:cubicBezTo>
                      <a:pt x="111546" y="243771"/>
                      <a:pt x="28231" y="237600"/>
                      <a:pt x="18974" y="234514"/>
                    </a:cubicBezTo>
                    <a:cubicBezTo>
                      <a:pt x="9717" y="231429"/>
                      <a:pt x="-14968" y="206743"/>
                      <a:pt x="12802" y="178972"/>
                    </a:cubicBezTo>
                    <a:cubicBezTo>
                      <a:pt x="74517" y="114171"/>
                      <a:pt x="290517" y="0"/>
                      <a:pt x="290517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583D646F-3F75-4402-B1D4-DCD55D0C0BD7}"/>
                  </a:ext>
                </a:extLst>
              </p:cNvPr>
              <p:cNvSpPr/>
              <p:nvPr/>
            </p:nvSpPr>
            <p:spPr>
              <a:xfrm>
                <a:off x="20917864" y="6288867"/>
                <a:ext cx="269800" cy="257151"/>
              </a:xfrm>
              <a:custGeom>
                <a:avLst/>
                <a:gdLst>
                  <a:gd name="connsiteX0" fmla="*/ 146372 w 269800"/>
                  <a:gd name="connsiteY0" fmla="*/ 0 h 257151"/>
                  <a:gd name="connsiteX1" fmla="*/ 161801 w 269800"/>
                  <a:gd name="connsiteY1" fmla="*/ 126514 h 257151"/>
                  <a:gd name="connsiteX2" fmla="*/ 1343 w 269800"/>
                  <a:gd name="connsiteY2" fmla="*/ 253028 h 257151"/>
                  <a:gd name="connsiteX3" fmla="*/ 242031 w 269800"/>
                  <a:gd name="connsiteY3" fmla="*/ 209829 h 257151"/>
                  <a:gd name="connsiteX4" fmla="*/ 269801 w 269800"/>
                  <a:gd name="connsiteY4" fmla="*/ 178972 h 257151"/>
                  <a:gd name="connsiteX5" fmla="*/ 269801 w 269800"/>
                  <a:gd name="connsiteY5" fmla="*/ 43200 h 257151"/>
                  <a:gd name="connsiteX6" fmla="*/ 146372 w 269800"/>
                  <a:gd name="connsiteY6" fmla="*/ 0 h 25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800" h="257151">
                    <a:moveTo>
                      <a:pt x="146372" y="0"/>
                    </a:moveTo>
                    <a:lnTo>
                      <a:pt x="161801" y="126514"/>
                    </a:lnTo>
                    <a:cubicBezTo>
                      <a:pt x="161801" y="126514"/>
                      <a:pt x="-17170" y="231429"/>
                      <a:pt x="1343" y="253028"/>
                    </a:cubicBezTo>
                    <a:cubicBezTo>
                      <a:pt x="13687" y="268457"/>
                      <a:pt x="171058" y="237600"/>
                      <a:pt x="242031" y="209829"/>
                    </a:cubicBezTo>
                    <a:cubicBezTo>
                      <a:pt x="266716" y="200571"/>
                      <a:pt x="269801" y="178972"/>
                      <a:pt x="269801" y="178972"/>
                    </a:cubicBezTo>
                    <a:lnTo>
                      <a:pt x="269801" y="43200"/>
                    </a:lnTo>
                    <a:lnTo>
                      <a:pt x="146372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图形 1">
              <a:extLst>
                <a:ext uri="{FF2B5EF4-FFF2-40B4-BE49-F238E27FC236}">
                  <a16:creationId xmlns:a16="http://schemas.microsoft.com/office/drawing/2014/main" id="{97F2488B-64A5-4E18-BFFF-01ADFD5EAC1C}"/>
                </a:ext>
              </a:extLst>
            </p:cNvPr>
            <p:cNvGrpSpPr/>
            <p:nvPr/>
          </p:nvGrpSpPr>
          <p:grpSpPr>
            <a:xfrm>
              <a:off x="22088694" y="5964867"/>
              <a:ext cx="302399" cy="488964"/>
              <a:chOff x="22088694" y="5964867"/>
              <a:chExt cx="302399" cy="488964"/>
            </a:xfrm>
          </p:grpSpPr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8F542B70-8982-4407-82BD-C86A7C731AF8}"/>
                  </a:ext>
                </a:extLst>
              </p:cNvPr>
              <p:cNvSpPr/>
              <p:nvPr/>
            </p:nvSpPr>
            <p:spPr>
              <a:xfrm>
                <a:off x="22182771" y="6035839"/>
                <a:ext cx="208323" cy="417992"/>
              </a:xfrm>
              <a:custGeom>
                <a:avLst/>
                <a:gdLst>
                  <a:gd name="connsiteX0" fmla="*/ 17008 w 208323"/>
                  <a:gd name="connsiteY0" fmla="*/ 61714 h 417992"/>
                  <a:gd name="connsiteX1" fmla="*/ 32437 w 208323"/>
                  <a:gd name="connsiteY1" fmla="*/ 265372 h 417992"/>
                  <a:gd name="connsiteX2" fmla="*/ 103410 w 208323"/>
                  <a:gd name="connsiteY2" fmla="*/ 74057 h 417992"/>
                  <a:gd name="connsiteX3" fmla="*/ 121923 w 208323"/>
                  <a:gd name="connsiteY3" fmla="*/ 0 h 417992"/>
                  <a:gd name="connsiteX4" fmla="*/ 208323 w 208323"/>
                  <a:gd name="connsiteY4" fmla="*/ 64800 h 417992"/>
                  <a:gd name="connsiteX5" fmla="*/ 137352 w 208323"/>
                  <a:gd name="connsiteY5" fmla="*/ 299314 h 417992"/>
                  <a:gd name="connsiteX6" fmla="*/ 57124 w 208323"/>
                  <a:gd name="connsiteY6" fmla="*/ 413486 h 417992"/>
                  <a:gd name="connsiteX7" fmla="*/ 4667 w 208323"/>
                  <a:gd name="connsiteY7" fmla="*/ 385714 h 417992"/>
                  <a:gd name="connsiteX8" fmla="*/ 17008 w 208323"/>
                  <a:gd name="connsiteY8" fmla="*/ 61714 h 417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8323" h="417992">
                    <a:moveTo>
                      <a:pt x="17008" y="61714"/>
                    </a:moveTo>
                    <a:cubicBezTo>
                      <a:pt x="17008" y="61714"/>
                      <a:pt x="13923" y="271543"/>
                      <a:pt x="32437" y="265372"/>
                    </a:cubicBezTo>
                    <a:cubicBezTo>
                      <a:pt x="50952" y="262286"/>
                      <a:pt x="103410" y="74057"/>
                      <a:pt x="103410" y="74057"/>
                    </a:cubicBezTo>
                    <a:lnTo>
                      <a:pt x="121923" y="0"/>
                    </a:lnTo>
                    <a:cubicBezTo>
                      <a:pt x="121923" y="0"/>
                      <a:pt x="192894" y="43200"/>
                      <a:pt x="208323" y="64800"/>
                    </a:cubicBezTo>
                    <a:cubicBezTo>
                      <a:pt x="199066" y="145028"/>
                      <a:pt x="168209" y="231429"/>
                      <a:pt x="137352" y="299314"/>
                    </a:cubicBezTo>
                    <a:cubicBezTo>
                      <a:pt x="118838" y="342514"/>
                      <a:pt x="66381" y="410400"/>
                      <a:pt x="57124" y="413486"/>
                    </a:cubicBezTo>
                    <a:cubicBezTo>
                      <a:pt x="47865" y="419657"/>
                      <a:pt x="13923" y="425829"/>
                      <a:pt x="4667" y="385714"/>
                    </a:cubicBezTo>
                    <a:cubicBezTo>
                      <a:pt x="-10762" y="305486"/>
                      <a:pt x="17008" y="61714"/>
                      <a:pt x="17008" y="61714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F853AE62-FAC7-4FA3-9768-31AD2B3D7AA1}"/>
                  </a:ext>
                </a:extLst>
              </p:cNvPr>
              <p:cNvSpPr/>
              <p:nvPr/>
            </p:nvSpPr>
            <p:spPr>
              <a:xfrm>
                <a:off x="22088694" y="5964867"/>
                <a:ext cx="229602" cy="339462"/>
              </a:xfrm>
              <a:custGeom>
                <a:avLst/>
                <a:gdLst>
                  <a:gd name="connsiteX0" fmla="*/ 0 w 229602"/>
                  <a:gd name="connsiteY0" fmla="*/ 77143 h 339462"/>
                  <a:gd name="connsiteX1" fmla="*/ 111085 w 229602"/>
                  <a:gd name="connsiteY1" fmla="*/ 135772 h 339462"/>
                  <a:gd name="connsiteX2" fmla="*/ 126514 w 229602"/>
                  <a:gd name="connsiteY2" fmla="*/ 339429 h 339462"/>
                  <a:gd name="connsiteX3" fmla="*/ 228344 w 229602"/>
                  <a:gd name="connsiteY3" fmla="*/ 117257 h 339462"/>
                  <a:gd name="connsiteX4" fmla="*/ 216000 w 229602"/>
                  <a:gd name="connsiteY4" fmla="*/ 77143 h 339462"/>
                  <a:gd name="connsiteX5" fmla="*/ 104915 w 229602"/>
                  <a:gd name="connsiteY5" fmla="*/ 0 h 339462"/>
                  <a:gd name="connsiteX6" fmla="*/ 0 w 229602"/>
                  <a:gd name="connsiteY6" fmla="*/ 77143 h 33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9602" h="339462">
                    <a:moveTo>
                      <a:pt x="0" y="77143"/>
                    </a:moveTo>
                    <a:lnTo>
                      <a:pt x="111085" y="135772"/>
                    </a:lnTo>
                    <a:cubicBezTo>
                      <a:pt x="111085" y="135772"/>
                      <a:pt x="98743" y="342514"/>
                      <a:pt x="126514" y="339429"/>
                    </a:cubicBezTo>
                    <a:cubicBezTo>
                      <a:pt x="148114" y="339429"/>
                      <a:pt x="209828" y="191314"/>
                      <a:pt x="228344" y="117257"/>
                    </a:cubicBezTo>
                    <a:cubicBezTo>
                      <a:pt x="234514" y="92571"/>
                      <a:pt x="216000" y="77143"/>
                      <a:pt x="216000" y="77143"/>
                    </a:cubicBezTo>
                    <a:lnTo>
                      <a:pt x="104915" y="0"/>
                    </a:lnTo>
                    <a:lnTo>
                      <a:pt x="0" y="77143"/>
                    </a:ln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FE91C821-82C5-4C33-A206-B31BFC43ABAD}"/>
                </a:ext>
              </a:extLst>
            </p:cNvPr>
            <p:cNvSpPr/>
            <p:nvPr/>
          </p:nvSpPr>
          <p:spPr>
            <a:xfrm>
              <a:off x="20258866" y="2896421"/>
              <a:ext cx="877393" cy="1177135"/>
            </a:xfrm>
            <a:custGeom>
              <a:avLst/>
              <a:gdLst>
                <a:gd name="connsiteX0" fmla="*/ 549257 w 877393"/>
                <a:gd name="connsiteY0" fmla="*/ 343760 h 1177135"/>
                <a:gd name="connsiteX1" fmla="*/ 441257 w 877393"/>
                <a:gd name="connsiteY1" fmla="*/ 726389 h 1177135"/>
                <a:gd name="connsiteX2" fmla="*/ 0 w 877393"/>
                <a:gd name="connsiteY2" fmla="*/ 988675 h 1177135"/>
                <a:gd name="connsiteX3" fmla="*/ 95656 w 877393"/>
                <a:gd name="connsiteY3" fmla="*/ 1176903 h 1177135"/>
                <a:gd name="connsiteX4" fmla="*/ 669600 w 877393"/>
                <a:gd name="connsiteY4" fmla="*/ 899189 h 1177135"/>
                <a:gd name="connsiteX5" fmla="*/ 870172 w 877393"/>
                <a:gd name="connsiteY5" fmla="*/ 263532 h 1177135"/>
                <a:gd name="connsiteX6" fmla="*/ 799199 w 877393"/>
                <a:gd name="connsiteY6" fmla="*/ 1246 h 1177135"/>
                <a:gd name="connsiteX7" fmla="*/ 549257 w 877393"/>
                <a:gd name="connsiteY7" fmla="*/ 343760 h 1177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7393" h="1177135">
                  <a:moveTo>
                    <a:pt x="549257" y="343760"/>
                  </a:moveTo>
                  <a:cubicBezTo>
                    <a:pt x="527656" y="430160"/>
                    <a:pt x="487543" y="643074"/>
                    <a:pt x="441257" y="726389"/>
                  </a:cubicBezTo>
                  <a:cubicBezTo>
                    <a:pt x="376458" y="843646"/>
                    <a:pt x="0" y="982503"/>
                    <a:pt x="0" y="988675"/>
                  </a:cubicBezTo>
                  <a:cubicBezTo>
                    <a:pt x="12342" y="1056560"/>
                    <a:pt x="37029" y="1136789"/>
                    <a:pt x="95656" y="1176903"/>
                  </a:cubicBezTo>
                  <a:cubicBezTo>
                    <a:pt x="104913" y="1183074"/>
                    <a:pt x="521485" y="1065817"/>
                    <a:pt x="669600" y="899189"/>
                  </a:cubicBezTo>
                  <a:cubicBezTo>
                    <a:pt x="715886" y="846732"/>
                    <a:pt x="830056" y="408560"/>
                    <a:pt x="870172" y="263532"/>
                  </a:cubicBezTo>
                  <a:cubicBezTo>
                    <a:pt x="891770" y="180217"/>
                    <a:pt x="864000" y="13589"/>
                    <a:pt x="799199" y="1246"/>
                  </a:cubicBezTo>
                  <a:cubicBezTo>
                    <a:pt x="691199" y="-17268"/>
                    <a:pt x="589371" y="174046"/>
                    <a:pt x="549257" y="343760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78F25E87-A735-455B-AA35-1C7252590C96}"/>
                </a:ext>
              </a:extLst>
            </p:cNvPr>
            <p:cNvSpPr/>
            <p:nvPr/>
          </p:nvSpPr>
          <p:spPr>
            <a:xfrm>
              <a:off x="20843944" y="3832639"/>
              <a:ext cx="1392863" cy="2533371"/>
            </a:xfrm>
            <a:custGeom>
              <a:avLst/>
              <a:gdLst>
                <a:gd name="connsiteX0" fmla="*/ 797321 w 1392863"/>
                <a:gd name="connsiteY0" fmla="*/ 0 h 2533371"/>
                <a:gd name="connsiteX1" fmla="*/ 121549 w 1392863"/>
                <a:gd name="connsiteY1" fmla="*/ 0 h 2533371"/>
                <a:gd name="connsiteX2" fmla="*/ 1207 w 1392863"/>
                <a:gd name="connsiteY2" fmla="*/ 465943 h 2533371"/>
                <a:gd name="connsiteX3" fmla="*/ 183263 w 1392863"/>
                <a:gd name="connsiteY3" fmla="*/ 2514858 h 2533371"/>
                <a:gd name="connsiteX4" fmla="*/ 383835 w 1392863"/>
                <a:gd name="connsiteY4" fmla="*/ 2533372 h 2533371"/>
                <a:gd name="connsiteX5" fmla="*/ 467149 w 1392863"/>
                <a:gd name="connsiteY5" fmla="*/ 820800 h 2533371"/>
                <a:gd name="connsiteX6" fmla="*/ 550464 w 1392863"/>
                <a:gd name="connsiteY6" fmla="*/ 1718743 h 2533371"/>
                <a:gd name="connsiteX7" fmla="*/ 606007 w 1392863"/>
                <a:gd name="connsiteY7" fmla="*/ 1814400 h 2533371"/>
                <a:gd name="connsiteX8" fmla="*/ 1287951 w 1392863"/>
                <a:gd name="connsiteY8" fmla="*/ 2305029 h 2533371"/>
                <a:gd name="connsiteX9" fmla="*/ 1392864 w 1392863"/>
                <a:gd name="connsiteY9" fmla="*/ 2113715 h 2533371"/>
                <a:gd name="connsiteX10" fmla="*/ 892978 w 1392863"/>
                <a:gd name="connsiteY10" fmla="*/ 1678629 h 2533371"/>
                <a:gd name="connsiteX11" fmla="*/ 930007 w 1392863"/>
                <a:gd name="connsiteY11" fmla="*/ 422743 h 2533371"/>
                <a:gd name="connsiteX12" fmla="*/ 797321 w 1392863"/>
                <a:gd name="connsiteY12" fmla="*/ 0 h 2533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92863" h="2533371">
                  <a:moveTo>
                    <a:pt x="797321" y="0"/>
                  </a:moveTo>
                  <a:lnTo>
                    <a:pt x="121549" y="0"/>
                  </a:lnTo>
                  <a:cubicBezTo>
                    <a:pt x="121549" y="0"/>
                    <a:pt x="22808" y="308571"/>
                    <a:pt x="1207" y="465943"/>
                  </a:cubicBezTo>
                  <a:cubicBezTo>
                    <a:pt x="-17308" y="620229"/>
                    <a:pt x="183263" y="2514858"/>
                    <a:pt x="183263" y="2514858"/>
                  </a:cubicBezTo>
                  <a:lnTo>
                    <a:pt x="383835" y="2533372"/>
                  </a:lnTo>
                  <a:lnTo>
                    <a:pt x="467149" y="820800"/>
                  </a:lnTo>
                  <a:cubicBezTo>
                    <a:pt x="467149" y="820800"/>
                    <a:pt x="528864" y="1505829"/>
                    <a:pt x="550464" y="1718743"/>
                  </a:cubicBezTo>
                  <a:cubicBezTo>
                    <a:pt x="553549" y="1755772"/>
                    <a:pt x="575149" y="1792800"/>
                    <a:pt x="606007" y="1814400"/>
                  </a:cubicBezTo>
                  <a:lnTo>
                    <a:pt x="1287951" y="2305029"/>
                  </a:lnTo>
                  <a:lnTo>
                    <a:pt x="1392864" y="2113715"/>
                  </a:lnTo>
                  <a:lnTo>
                    <a:pt x="892978" y="1678629"/>
                  </a:lnTo>
                  <a:cubicBezTo>
                    <a:pt x="892978" y="1678629"/>
                    <a:pt x="923835" y="487543"/>
                    <a:pt x="930007" y="422743"/>
                  </a:cubicBezTo>
                  <a:cubicBezTo>
                    <a:pt x="942350" y="296229"/>
                    <a:pt x="797321" y="0"/>
                    <a:pt x="797321" y="0"/>
                  </a:cubicBezTo>
                  <a:close/>
                </a:path>
              </a:pathLst>
            </a:custGeom>
            <a:solidFill>
              <a:srgbClr val="7F95BC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C430F70-6E25-4D16-9F5C-94A76598F2F6}"/>
                </a:ext>
              </a:extLst>
            </p:cNvPr>
            <p:cNvSpPr/>
            <p:nvPr/>
          </p:nvSpPr>
          <p:spPr>
            <a:xfrm>
              <a:off x="21261723" y="4224525"/>
              <a:ext cx="875570" cy="1919314"/>
            </a:xfrm>
            <a:custGeom>
              <a:avLst/>
              <a:gdLst>
                <a:gd name="connsiteX0" fmla="*/ 873257 w 875570"/>
                <a:gd name="connsiteY0" fmla="*/ 1916228 h 1919314"/>
                <a:gd name="connsiteX1" fmla="*/ 870172 w 875570"/>
                <a:gd name="connsiteY1" fmla="*/ 1916228 h 1919314"/>
                <a:gd name="connsiteX2" fmla="*/ 188228 w 875570"/>
                <a:gd name="connsiteY2" fmla="*/ 1425600 h 1919314"/>
                <a:gd name="connsiteX3" fmla="*/ 129600 w 875570"/>
                <a:gd name="connsiteY3" fmla="*/ 1326857 h 1919314"/>
                <a:gd name="connsiteX4" fmla="*/ 46286 w 875570"/>
                <a:gd name="connsiteY4" fmla="*/ 428914 h 1919314"/>
                <a:gd name="connsiteX5" fmla="*/ 0 w 875570"/>
                <a:gd name="connsiteY5" fmla="*/ 6171 h 1919314"/>
                <a:gd name="connsiteX6" fmla="*/ 6172 w 875570"/>
                <a:gd name="connsiteY6" fmla="*/ 0 h 1919314"/>
                <a:gd name="connsiteX7" fmla="*/ 12342 w 875570"/>
                <a:gd name="connsiteY7" fmla="*/ 6171 h 1919314"/>
                <a:gd name="connsiteX8" fmla="*/ 55542 w 875570"/>
                <a:gd name="connsiteY8" fmla="*/ 428914 h 1919314"/>
                <a:gd name="connsiteX9" fmla="*/ 138857 w 875570"/>
                <a:gd name="connsiteY9" fmla="*/ 1326857 h 1919314"/>
                <a:gd name="connsiteX10" fmla="*/ 191315 w 875570"/>
                <a:gd name="connsiteY10" fmla="*/ 1419429 h 1919314"/>
                <a:gd name="connsiteX11" fmla="*/ 873257 w 875570"/>
                <a:gd name="connsiteY11" fmla="*/ 1910057 h 1919314"/>
                <a:gd name="connsiteX12" fmla="*/ 873257 w 875570"/>
                <a:gd name="connsiteY12" fmla="*/ 1919314 h 1919314"/>
                <a:gd name="connsiteX13" fmla="*/ 873257 w 875570"/>
                <a:gd name="connsiteY13" fmla="*/ 1916228 h 1919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5570" h="1919314">
                  <a:moveTo>
                    <a:pt x="873257" y="1916228"/>
                  </a:moveTo>
                  <a:cubicBezTo>
                    <a:pt x="873257" y="1916228"/>
                    <a:pt x="870172" y="1916228"/>
                    <a:pt x="870172" y="1916228"/>
                  </a:cubicBezTo>
                  <a:lnTo>
                    <a:pt x="188228" y="1425600"/>
                  </a:lnTo>
                  <a:cubicBezTo>
                    <a:pt x="154286" y="1400914"/>
                    <a:pt x="135770" y="1366971"/>
                    <a:pt x="129600" y="1326857"/>
                  </a:cubicBezTo>
                  <a:cubicBezTo>
                    <a:pt x="108000" y="1117029"/>
                    <a:pt x="46286" y="438171"/>
                    <a:pt x="46286" y="428914"/>
                  </a:cubicBezTo>
                  <a:lnTo>
                    <a:pt x="0" y="6171"/>
                  </a:lnTo>
                  <a:cubicBezTo>
                    <a:pt x="0" y="3086"/>
                    <a:pt x="3085" y="0"/>
                    <a:pt x="6172" y="0"/>
                  </a:cubicBezTo>
                  <a:cubicBezTo>
                    <a:pt x="9257" y="0"/>
                    <a:pt x="12342" y="3086"/>
                    <a:pt x="12342" y="6171"/>
                  </a:cubicBezTo>
                  <a:lnTo>
                    <a:pt x="55542" y="428914"/>
                  </a:lnTo>
                  <a:cubicBezTo>
                    <a:pt x="55542" y="435086"/>
                    <a:pt x="117257" y="1117029"/>
                    <a:pt x="138857" y="1326857"/>
                  </a:cubicBezTo>
                  <a:cubicBezTo>
                    <a:pt x="141942" y="1363886"/>
                    <a:pt x="163542" y="1397828"/>
                    <a:pt x="191315" y="1419429"/>
                  </a:cubicBezTo>
                  <a:lnTo>
                    <a:pt x="873257" y="1910057"/>
                  </a:lnTo>
                  <a:cubicBezTo>
                    <a:pt x="876342" y="1913143"/>
                    <a:pt x="876342" y="1916228"/>
                    <a:pt x="873257" y="1919314"/>
                  </a:cubicBezTo>
                  <a:cubicBezTo>
                    <a:pt x="876342" y="1916228"/>
                    <a:pt x="873257" y="1916228"/>
                    <a:pt x="873257" y="1916228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04476984-CE6F-4740-BD04-5622D52DDA25}"/>
                </a:ext>
              </a:extLst>
            </p:cNvPr>
            <p:cNvSpPr/>
            <p:nvPr/>
          </p:nvSpPr>
          <p:spPr>
            <a:xfrm>
              <a:off x="21588808" y="3986924"/>
              <a:ext cx="183335" cy="191314"/>
            </a:xfrm>
            <a:custGeom>
              <a:avLst/>
              <a:gdLst>
                <a:gd name="connsiteX0" fmla="*/ 178971 w 183335"/>
                <a:gd name="connsiteY0" fmla="*/ 191314 h 191314"/>
                <a:gd name="connsiteX1" fmla="*/ 178971 w 183335"/>
                <a:gd name="connsiteY1" fmla="*/ 191314 h 191314"/>
                <a:gd name="connsiteX2" fmla="*/ 0 w 183335"/>
                <a:gd name="connsiteY2" fmla="*/ 6172 h 191314"/>
                <a:gd name="connsiteX3" fmla="*/ 3087 w 183335"/>
                <a:gd name="connsiteY3" fmla="*/ 0 h 191314"/>
                <a:gd name="connsiteX4" fmla="*/ 9257 w 183335"/>
                <a:gd name="connsiteY4" fmla="*/ 3086 h 191314"/>
                <a:gd name="connsiteX5" fmla="*/ 178971 w 183335"/>
                <a:gd name="connsiteY5" fmla="*/ 182057 h 191314"/>
                <a:gd name="connsiteX6" fmla="*/ 182058 w 183335"/>
                <a:gd name="connsiteY6" fmla="*/ 188229 h 191314"/>
                <a:gd name="connsiteX7" fmla="*/ 178971 w 183335"/>
                <a:gd name="connsiteY7" fmla="*/ 191314 h 191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335" h="191314">
                  <a:moveTo>
                    <a:pt x="178971" y="191314"/>
                  </a:moveTo>
                  <a:cubicBezTo>
                    <a:pt x="178971" y="191314"/>
                    <a:pt x="178971" y="191314"/>
                    <a:pt x="178971" y="191314"/>
                  </a:cubicBezTo>
                  <a:cubicBezTo>
                    <a:pt x="58629" y="157371"/>
                    <a:pt x="3087" y="12343"/>
                    <a:pt x="0" y="6172"/>
                  </a:cubicBezTo>
                  <a:cubicBezTo>
                    <a:pt x="0" y="3086"/>
                    <a:pt x="0" y="0"/>
                    <a:pt x="3087" y="0"/>
                  </a:cubicBezTo>
                  <a:cubicBezTo>
                    <a:pt x="6172" y="0"/>
                    <a:pt x="9257" y="0"/>
                    <a:pt x="9257" y="3086"/>
                  </a:cubicBezTo>
                  <a:cubicBezTo>
                    <a:pt x="9257" y="3086"/>
                    <a:pt x="64801" y="151200"/>
                    <a:pt x="178971" y="182057"/>
                  </a:cubicBezTo>
                  <a:cubicBezTo>
                    <a:pt x="182058" y="182057"/>
                    <a:pt x="185143" y="185143"/>
                    <a:pt x="182058" y="188229"/>
                  </a:cubicBezTo>
                  <a:cubicBezTo>
                    <a:pt x="185143" y="191314"/>
                    <a:pt x="182058" y="191314"/>
                    <a:pt x="178971" y="191314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088AEF05-1776-425F-B5A1-2E15290926BA}"/>
                </a:ext>
              </a:extLst>
            </p:cNvPr>
            <p:cNvSpPr/>
            <p:nvPr/>
          </p:nvSpPr>
          <p:spPr>
            <a:xfrm>
              <a:off x="20860580" y="3990010"/>
              <a:ext cx="175886" cy="194400"/>
            </a:xfrm>
            <a:custGeom>
              <a:avLst/>
              <a:gdLst>
                <a:gd name="connsiteX0" fmla="*/ 6172 w 175886"/>
                <a:gd name="connsiteY0" fmla="*/ 194400 h 194400"/>
                <a:gd name="connsiteX1" fmla="*/ 0 w 175886"/>
                <a:gd name="connsiteY1" fmla="*/ 191314 h 194400"/>
                <a:gd name="connsiteX2" fmla="*/ 3085 w 175886"/>
                <a:gd name="connsiteY2" fmla="*/ 185143 h 194400"/>
                <a:gd name="connsiteX3" fmla="*/ 163542 w 175886"/>
                <a:gd name="connsiteY3" fmla="*/ 3086 h 194400"/>
                <a:gd name="connsiteX4" fmla="*/ 172799 w 175886"/>
                <a:gd name="connsiteY4" fmla="*/ 0 h 194400"/>
                <a:gd name="connsiteX5" fmla="*/ 175886 w 175886"/>
                <a:gd name="connsiteY5" fmla="*/ 9257 h 194400"/>
                <a:gd name="connsiteX6" fmla="*/ 6172 w 175886"/>
                <a:gd name="connsiteY6" fmla="*/ 194400 h 194400"/>
                <a:gd name="connsiteX7" fmla="*/ 6172 w 175886"/>
                <a:gd name="connsiteY7" fmla="*/ 194400 h 19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886" h="194400">
                  <a:moveTo>
                    <a:pt x="6172" y="194400"/>
                  </a:moveTo>
                  <a:cubicBezTo>
                    <a:pt x="3085" y="194400"/>
                    <a:pt x="3085" y="194400"/>
                    <a:pt x="0" y="191314"/>
                  </a:cubicBezTo>
                  <a:cubicBezTo>
                    <a:pt x="0" y="188229"/>
                    <a:pt x="0" y="185143"/>
                    <a:pt x="3085" y="185143"/>
                  </a:cubicBezTo>
                  <a:cubicBezTo>
                    <a:pt x="83315" y="154286"/>
                    <a:pt x="163542" y="3086"/>
                    <a:pt x="163542" y="3086"/>
                  </a:cubicBezTo>
                  <a:cubicBezTo>
                    <a:pt x="163542" y="0"/>
                    <a:pt x="169714" y="0"/>
                    <a:pt x="172799" y="0"/>
                  </a:cubicBezTo>
                  <a:cubicBezTo>
                    <a:pt x="175886" y="0"/>
                    <a:pt x="175886" y="6172"/>
                    <a:pt x="175886" y="9257"/>
                  </a:cubicBezTo>
                  <a:cubicBezTo>
                    <a:pt x="172799" y="12343"/>
                    <a:pt x="92571" y="160457"/>
                    <a:pt x="6172" y="194400"/>
                  </a:cubicBezTo>
                  <a:cubicBezTo>
                    <a:pt x="9257" y="194400"/>
                    <a:pt x="6172" y="194400"/>
                    <a:pt x="6172" y="194400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3610A8D2-FFE5-4E7C-A60A-E9297B17651A}"/>
                </a:ext>
              </a:extLst>
            </p:cNvPr>
            <p:cNvSpPr/>
            <p:nvPr/>
          </p:nvSpPr>
          <p:spPr>
            <a:xfrm>
              <a:off x="20861701" y="2862292"/>
              <a:ext cx="830520" cy="998210"/>
            </a:xfrm>
            <a:custGeom>
              <a:avLst/>
              <a:gdLst>
                <a:gd name="connsiteX0" fmla="*/ 785736 w 830520"/>
                <a:gd name="connsiteY0" fmla="*/ 396404 h 998210"/>
                <a:gd name="connsiteX1" fmla="*/ 770308 w 830520"/>
                <a:gd name="connsiteY1" fmla="*/ 69319 h 998210"/>
                <a:gd name="connsiteX2" fmla="*/ 396935 w 830520"/>
                <a:gd name="connsiteY2" fmla="*/ 4519 h 998210"/>
                <a:gd name="connsiteX3" fmla="*/ 91451 w 830520"/>
                <a:gd name="connsiteY3" fmla="*/ 106347 h 998210"/>
                <a:gd name="connsiteX4" fmla="*/ 51337 w 830520"/>
                <a:gd name="connsiteY4" fmla="*/ 661776 h 998210"/>
                <a:gd name="connsiteX5" fmla="*/ 94536 w 830520"/>
                <a:gd name="connsiteY5" fmla="*/ 991947 h 998210"/>
                <a:gd name="connsiteX6" fmla="*/ 779565 w 830520"/>
                <a:gd name="connsiteY6" fmla="*/ 976519 h 998210"/>
                <a:gd name="connsiteX7" fmla="*/ 785736 w 830520"/>
                <a:gd name="connsiteY7" fmla="*/ 396404 h 998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0520" h="998210">
                  <a:moveTo>
                    <a:pt x="785736" y="396404"/>
                  </a:moveTo>
                  <a:cubicBezTo>
                    <a:pt x="794993" y="365547"/>
                    <a:pt x="890650" y="134119"/>
                    <a:pt x="770308" y="69319"/>
                  </a:cubicBezTo>
                  <a:cubicBezTo>
                    <a:pt x="665393" y="13776"/>
                    <a:pt x="517279" y="-10910"/>
                    <a:pt x="396935" y="4519"/>
                  </a:cubicBezTo>
                  <a:cubicBezTo>
                    <a:pt x="264250" y="19947"/>
                    <a:pt x="131565" y="41547"/>
                    <a:pt x="91451" y="106347"/>
                  </a:cubicBezTo>
                  <a:cubicBezTo>
                    <a:pt x="-22721" y="294576"/>
                    <a:pt x="-22721" y="461204"/>
                    <a:pt x="51337" y="661776"/>
                  </a:cubicBezTo>
                  <a:cubicBezTo>
                    <a:pt x="72935" y="720404"/>
                    <a:pt x="79107" y="856176"/>
                    <a:pt x="94536" y="991947"/>
                  </a:cubicBezTo>
                  <a:cubicBezTo>
                    <a:pt x="94536" y="991947"/>
                    <a:pt x="381507" y="1013547"/>
                    <a:pt x="779565" y="976519"/>
                  </a:cubicBezTo>
                  <a:cubicBezTo>
                    <a:pt x="748708" y="754347"/>
                    <a:pt x="779565" y="421090"/>
                    <a:pt x="785736" y="396404"/>
                  </a:cubicBezTo>
                  <a:close/>
                </a:path>
              </a:pathLst>
            </a:custGeom>
            <a:solidFill>
              <a:srgbClr val="F6EBE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6A5D5B29-494A-4EB5-A473-9778556BB5A4}"/>
                </a:ext>
              </a:extLst>
            </p:cNvPr>
            <p:cNvSpPr/>
            <p:nvPr/>
          </p:nvSpPr>
          <p:spPr>
            <a:xfrm>
              <a:off x="21147551" y="2681667"/>
              <a:ext cx="311656" cy="330171"/>
            </a:xfrm>
            <a:custGeom>
              <a:avLst/>
              <a:gdLst>
                <a:gd name="connsiteX0" fmla="*/ 55542 w 311656"/>
                <a:gd name="connsiteY0" fmla="*/ 61714 h 330171"/>
                <a:gd name="connsiteX1" fmla="*/ 0 w 311656"/>
                <a:gd name="connsiteY1" fmla="*/ 203657 h 330171"/>
                <a:gd name="connsiteX2" fmla="*/ 40114 w 311656"/>
                <a:gd name="connsiteY2" fmla="*/ 330171 h 330171"/>
                <a:gd name="connsiteX3" fmla="*/ 311656 w 311656"/>
                <a:gd name="connsiteY3" fmla="*/ 188229 h 330171"/>
                <a:gd name="connsiteX4" fmla="*/ 259201 w 311656"/>
                <a:gd name="connsiteY4" fmla="*/ 0 h 330171"/>
                <a:gd name="connsiteX5" fmla="*/ 55542 w 311656"/>
                <a:gd name="connsiteY5" fmla="*/ 61714 h 330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1656" h="330171">
                  <a:moveTo>
                    <a:pt x="55542" y="61714"/>
                  </a:moveTo>
                  <a:cubicBezTo>
                    <a:pt x="55542" y="61714"/>
                    <a:pt x="61714" y="172800"/>
                    <a:pt x="0" y="203657"/>
                  </a:cubicBezTo>
                  <a:lnTo>
                    <a:pt x="40114" y="330171"/>
                  </a:lnTo>
                  <a:cubicBezTo>
                    <a:pt x="40114" y="330171"/>
                    <a:pt x="259201" y="219086"/>
                    <a:pt x="311656" y="188229"/>
                  </a:cubicBezTo>
                  <a:cubicBezTo>
                    <a:pt x="256114" y="145029"/>
                    <a:pt x="259201" y="61714"/>
                    <a:pt x="259201" y="0"/>
                  </a:cubicBezTo>
                  <a:cubicBezTo>
                    <a:pt x="259201" y="0"/>
                    <a:pt x="108000" y="67886"/>
                    <a:pt x="55542" y="61714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BBC4C6C2-864D-43DD-9ED3-D11D38ED730F}"/>
                </a:ext>
              </a:extLst>
            </p:cNvPr>
            <p:cNvSpPr/>
            <p:nvPr/>
          </p:nvSpPr>
          <p:spPr>
            <a:xfrm>
              <a:off x="20859743" y="2965553"/>
              <a:ext cx="102665" cy="561600"/>
            </a:xfrm>
            <a:custGeom>
              <a:avLst/>
              <a:gdLst>
                <a:gd name="connsiteX0" fmla="*/ 56380 w 102665"/>
                <a:gd name="connsiteY0" fmla="*/ 561600 h 561600"/>
                <a:gd name="connsiteX1" fmla="*/ 50208 w 102665"/>
                <a:gd name="connsiteY1" fmla="*/ 558514 h 561600"/>
                <a:gd name="connsiteX2" fmla="*/ 34779 w 102665"/>
                <a:gd name="connsiteY2" fmla="*/ 502971 h 561600"/>
                <a:gd name="connsiteX3" fmla="*/ 837 w 102665"/>
                <a:gd name="connsiteY3" fmla="*/ 351771 h 561600"/>
                <a:gd name="connsiteX4" fmla="*/ 90322 w 102665"/>
                <a:gd name="connsiteY4" fmla="*/ 3086 h 561600"/>
                <a:gd name="connsiteX5" fmla="*/ 99580 w 102665"/>
                <a:gd name="connsiteY5" fmla="*/ 0 h 561600"/>
                <a:gd name="connsiteX6" fmla="*/ 102665 w 102665"/>
                <a:gd name="connsiteY6" fmla="*/ 9257 h 561600"/>
                <a:gd name="connsiteX7" fmla="*/ 13179 w 102665"/>
                <a:gd name="connsiteY7" fmla="*/ 351771 h 561600"/>
                <a:gd name="connsiteX8" fmla="*/ 47123 w 102665"/>
                <a:gd name="connsiteY8" fmla="*/ 502971 h 561600"/>
                <a:gd name="connsiteX9" fmla="*/ 62551 w 102665"/>
                <a:gd name="connsiteY9" fmla="*/ 558514 h 561600"/>
                <a:gd name="connsiteX10" fmla="*/ 56380 w 102665"/>
                <a:gd name="connsiteY10" fmla="*/ 561600 h 561600"/>
                <a:gd name="connsiteX11" fmla="*/ 56380 w 102665"/>
                <a:gd name="connsiteY11" fmla="*/ 561600 h 56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665" h="561600">
                  <a:moveTo>
                    <a:pt x="56380" y="561600"/>
                  </a:moveTo>
                  <a:cubicBezTo>
                    <a:pt x="53295" y="561600"/>
                    <a:pt x="50208" y="558514"/>
                    <a:pt x="50208" y="558514"/>
                  </a:cubicBezTo>
                  <a:cubicBezTo>
                    <a:pt x="44036" y="540000"/>
                    <a:pt x="40951" y="521486"/>
                    <a:pt x="34779" y="502971"/>
                  </a:cubicBezTo>
                  <a:cubicBezTo>
                    <a:pt x="19351" y="450514"/>
                    <a:pt x="3922" y="398057"/>
                    <a:pt x="837" y="351771"/>
                  </a:cubicBezTo>
                  <a:cubicBezTo>
                    <a:pt x="-5335" y="225257"/>
                    <a:pt x="22437" y="108000"/>
                    <a:pt x="90322" y="3086"/>
                  </a:cubicBezTo>
                  <a:cubicBezTo>
                    <a:pt x="93408" y="0"/>
                    <a:pt x="96493" y="0"/>
                    <a:pt x="99580" y="0"/>
                  </a:cubicBezTo>
                  <a:cubicBezTo>
                    <a:pt x="102665" y="3086"/>
                    <a:pt x="102665" y="6171"/>
                    <a:pt x="102665" y="9257"/>
                  </a:cubicBezTo>
                  <a:cubicBezTo>
                    <a:pt x="37866" y="114171"/>
                    <a:pt x="7009" y="228343"/>
                    <a:pt x="13179" y="351771"/>
                  </a:cubicBezTo>
                  <a:cubicBezTo>
                    <a:pt x="16266" y="398057"/>
                    <a:pt x="31694" y="450514"/>
                    <a:pt x="47123" y="502971"/>
                  </a:cubicBezTo>
                  <a:cubicBezTo>
                    <a:pt x="53295" y="521486"/>
                    <a:pt x="59464" y="540000"/>
                    <a:pt x="62551" y="558514"/>
                  </a:cubicBezTo>
                  <a:cubicBezTo>
                    <a:pt x="62551" y="558514"/>
                    <a:pt x="62551" y="561600"/>
                    <a:pt x="56380" y="561600"/>
                  </a:cubicBezTo>
                  <a:cubicBezTo>
                    <a:pt x="59464" y="561600"/>
                    <a:pt x="56380" y="561600"/>
                    <a:pt x="56380" y="561600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6D264E16-8892-44FA-A9AA-B7102D4A943D}"/>
                </a:ext>
              </a:extLst>
            </p:cNvPr>
            <p:cNvSpPr/>
            <p:nvPr/>
          </p:nvSpPr>
          <p:spPr>
            <a:xfrm>
              <a:off x="20984009" y="3410675"/>
              <a:ext cx="405506" cy="36249"/>
            </a:xfrm>
            <a:custGeom>
              <a:avLst/>
              <a:gdLst>
                <a:gd name="connsiteX0" fmla="*/ 6172 w 405506"/>
                <a:gd name="connsiteY0" fmla="*/ 36249 h 36249"/>
                <a:gd name="connsiteX1" fmla="*/ 0 w 405506"/>
                <a:gd name="connsiteY1" fmla="*/ 33164 h 36249"/>
                <a:gd name="connsiteX2" fmla="*/ 3085 w 405506"/>
                <a:gd name="connsiteY2" fmla="*/ 26992 h 36249"/>
                <a:gd name="connsiteX3" fmla="*/ 401143 w 405506"/>
                <a:gd name="connsiteY3" fmla="*/ 17735 h 36249"/>
                <a:gd name="connsiteX4" fmla="*/ 404228 w 405506"/>
                <a:gd name="connsiteY4" fmla="*/ 23907 h 36249"/>
                <a:gd name="connsiteX5" fmla="*/ 398056 w 405506"/>
                <a:gd name="connsiteY5" fmla="*/ 26992 h 36249"/>
                <a:gd name="connsiteX6" fmla="*/ 6172 w 405506"/>
                <a:gd name="connsiteY6" fmla="*/ 36249 h 36249"/>
                <a:gd name="connsiteX7" fmla="*/ 6172 w 405506"/>
                <a:gd name="connsiteY7" fmla="*/ 36249 h 36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5506" h="36249">
                  <a:moveTo>
                    <a:pt x="6172" y="36249"/>
                  </a:moveTo>
                  <a:cubicBezTo>
                    <a:pt x="3085" y="36249"/>
                    <a:pt x="3085" y="36249"/>
                    <a:pt x="0" y="33164"/>
                  </a:cubicBezTo>
                  <a:cubicBezTo>
                    <a:pt x="0" y="30078"/>
                    <a:pt x="0" y="26992"/>
                    <a:pt x="3085" y="26992"/>
                  </a:cubicBezTo>
                  <a:cubicBezTo>
                    <a:pt x="89485" y="-3865"/>
                    <a:pt x="299315" y="-10036"/>
                    <a:pt x="401143" y="17735"/>
                  </a:cubicBezTo>
                  <a:cubicBezTo>
                    <a:pt x="404228" y="17735"/>
                    <a:pt x="407315" y="20821"/>
                    <a:pt x="404228" y="23907"/>
                  </a:cubicBezTo>
                  <a:cubicBezTo>
                    <a:pt x="404228" y="26992"/>
                    <a:pt x="401143" y="30078"/>
                    <a:pt x="398056" y="26992"/>
                  </a:cubicBezTo>
                  <a:cubicBezTo>
                    <a:pt x="299315" y="-779"/>
                    <a:pt x="92571" y="5392"/>
                    <a:pt x="6172" y="36249"/>
                  </a:cubicBezTo>
                  <a:cubicBezTo>
                    <a:pt x="6172" y="36249"/>
                    <a:pt x="6172" y="36249"/>
                    <a:pt x="6172" y="36249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B6B8C232-A484-4216-BE69-A5EC2E8A62BD}"/>
                </a:ext>
              </a:extLst>
            </p:cNvPr>
            <p:cNvSpPr/>
            <p:nvPr/>
          </p:nvSpPr>
          <p:spPr>
            <a:xfrm>
              <a:off x="20956236" y="3826467"/>
              <a:ext cx="317828" cy="30857"/>
            </a:xfrm>
            <a:custGeom>
              <a:avLst/>
              <a:gdLst>
                <a:gd name="connsiteX0" fmla="*/ 6172 w 317828"/>
                <a:gd name="connsiteY0" fmla="*/ 30857 h 30857"/>
                <a:gd name="connsiteX1" fmla="*/ 0 w 317828"/>
                <a:gd name="connsiteY1" fmla="*/ 24686 h 30857"/>
                <a:gd name="connsiteX2" fmla="*/ 6172 w 317828"/>
                <a:gd name="connsiteY2" fmla="*/ 18514 h 30857"/>
                <a:gd name="connsiteX3" fmla="*/ 311658 w 317828"/>
                <a:gd name="connsiteY3" fmla="*/ 0 h 30857"/>
                <a:gd name="connsiteX4" fmla="*/ 317828 w 317828"/>
                <a:gd name="connsiteY4" fmla="*/ 3086 h 30857"/>
                <a:gd name="connsiteX5" fmla="*/ 314743 w 317828"/>
                <a:gd name="connsiteY5" fmla="*/ 9257 h 30857"/>
                <a:gd name="connsiteX6" fmla="*/ 6172 w 317828"/>
                <a:gd name="connsiteY6" fmla="*/ 30857 h 30857"/>
                <a:gd name="connsiteX7" fmla="*/ 6172 w 317828"/>
                <a:gd name="connsiteY7" fmla="*/ 30857 h 3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7828" h="30857">
                  <a:moveTo>
                    <a:pt x="6172" y="30857"/>
                  </a:moveTo>
                  <a:cubicBezTo>
                    <a:pt x="3087" y="30857"/>
                    <a:pt x="0" y="27771"/>
                    <a:pt x="0" y="24686"/>
                  </a:cubicBezTo>
                  <a:cubicBezTo>
                    <a:pt x="0" y="21600"/>
                    <a:pt x="3087" y="18514"/>
                    <a:pt x="6172" y="18514"/>
                  </a:cubicBezTo>
                  <a:cubicBezTo>
                    <a:pt x="9257" y="18514"/>
                    <a:pt x="219087" y="15429"/>
                    <a:pt x="311658" y="0"/>
                  </a:cubicBezTo>
                  <a:cubicBezTo>
                    <a:pt x="314743" y="0"/>
                    <a:pt x="317828" y="0"/>
                    <a:pt x="317828" y="3086"/>
                  </a:cubicBezTo>
                  <a:cubicBezTo>
                    <a:pt x="317828" y="6171"/>
                    <a:pt x="317828" y="9257"/>
                    <a:pt x="314743" y="9257"/>
                  </a:cubicBezTo>
                  <a:cubicBezTo>
                    <a:pt x="219087" y="27771"/>
                    <a:pt x="6172" y="30857"/>
                    <a:pt x="6172" y="30857"/>
                  </a:cubicBezTo>
                  <a:cubicBezTo>
                    <a:pt x="6172" y="30857"/>
                    <a:pt x="6172" y="30857"/>
                    <a:pt x="6172" y="30857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8A5E7103-EDA9-4F38-A704-76E1DF9D8B84}"/>
                </a:ext>
              </a:extLst>
            </p:cNvPr>
            <p:cNvSpPr/>
            <p:nvPr/>
          </p:nvSpPr>
          <p:spPr>
            <a:xfrm>
              <a:off x="21253511" y="2857553"/>
              <a:ext cx="671640" cy="1629257"/>
            </a:xfrm>
            <a:custGeom>
              <a:avLst/>
              <a:gdLst>
                <a:gd name="connsiteX0" fmla="*/ 23641 w 671640"/>
                <a:gd name="connsiteY0" fmla="*/ 311657 h 1629257"/>
                <a:gd name="connsiteX1" fmla="*/ 76099 w 671640"/>
                <a:gd name="connsiteY1" fmla="*/ 1049143 h 1629257"/>
                <a:gd name="connsiteX2" fmla="*/ 227297 w 671640"/>
                <a:gd name="connsiteY2" fmla="*/ 1629257 h 1629257"/>
                <a:gd name="connsiteX3" fmla="*/ 671641 w 671640"/>
                <a:gd name="connsiteY3" fmla="*/ 1400914 h 1629257"/>
                <a:gd name="connsiteX4" fmla="*/ 455641 w 671640"/>
                <a:gd name="connsiteY4" fmla="*/ 870171 h 1629257"/>
                <a:gd name="connsiteX5" fmla="*/ 455641 w 671640"/>
                <a:gd name="connsiteY5" fmla="*/ 394971 h 1629257"/>
                <a:gd name="connsiteX6" fmla="*/ 455641 w 671640"/>
                <a:gd name="connsiteY6" fmla="*/ 120343 h 1629257"/>
                <a:gd name="connsiteX7" fmla="*/ 190268 w 671640"/>
                <a:gd name="connsiteY7" fmla="*/ 0 h 1629257"/>
                <a:gd name="connsiteX8" fmla="*/ 23641 w 671640"/>
                <a:gd name="connsiteY8" fmla="*/ 311657 h 1629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71640" h="1629257">
                  <a:moveTo>
                    <a:pt x="23641" y="311657"/>
                  </a:moveTo>
                  <a:cubicBezTo>
                    <a:pt x="-38073" y="549257"/>
                    <a:pt x="35983" y="802286"/>
                    <a:pt x="76099" y="1049143"/>
                  </a:cubicBezTo>
                  <a:cubicBezTo>
                    <a:pt x="110041" y="1246629"/>
                    <a:pt x="156326" y="1444114"/>
                    <a:pt x="227297" y="1629257"/>
                  </a:cubicBezTo>
                  <a:cubicBezTo>
                    <a:pt x="424784" y="1601486"/>
                    <a:pt x="572898" y="1521257"/>
                    <a:pt x="671641" y="1400914"/>
                  </a:cubicBezTo>
                  <a:cubicBezTo>
                    <a:pt x="609927" y="1271314"/>
                    <a:pt x="483411" y="1012114"/>
                    <a:pt x="455641" y="870171"/>
                  </a:cubicBezTo>
                  <a:cubicBezTo>
                    <a:pt x="424784" y="712800"/>
                    <a:pt x="415527" y="552343"/>
                    <a:pt x="455641" y="394971"/>
                  </a:cubicBezTo>
                  <a:cubicBezTo>
                    <a:pt x="480326" y="302400"/>
                    <a:pt x="517355" y="206743"/>
                    <a:pt x="455641" y="120343"/>
                  </a:cubicBezTo>
                  <a:cubicBezTo>
                    <a:pt x="403183" y="49371"/>
                    <a:pt x="270498" y="12343"/>
                    <a:pt x="190268" y="0"/>
                  </a:cubicBezTo>
                  <a:cubicBezTo>
                    <a:pt x="187183" y="0"/>
                    <a:pt x="51411" y="206743"/>
                    <a:pt x="23641" y="311657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BF76AE6B-CB18-4014-AED1-B42AD7BDC90A}"/>
                </a:ext>
              </a:extLst>
            </p:cNvPr>
            <p:cNvSpPr/>
            <p:nvPr/>
          </p:nvSpPr>
          <p:spPr>
            <a:xfrm>
              <a:off x="20780257" y="2869896"/>
              <a:ext cx="395066" cy="1568453"/>
            </a:xfrm>
            <a:custGeom>
              <a:avLst/>
              <a:gdLst>
                <a:gd name="connsiteX0" fmla="*/ 94 w 395066"/>
                <a:gd name="connsiteY0" fmla="*/ 1539772 h 1568453"/>
                <a:gd name="connsiteX1" fmla="*/ 77237 w 395066"/>
                <a:gd name="connsiteY1" fmla="*/ 1564457 h 1568453"/>
                <a:gd name="connsiteX2" fmla="*/ 77237 w 395066"/>
                <a:gd name="connsiteY2" fmla="*/ 1459543 h 1568453"/>
                <a:gd name="connsiteX3" fmla="*/ 179067 w 395066"/>
                <a:gd name="connsiteY3" fmla="*/ 1092343 h 1568453"/>
                <a:gd name="connsiteX4" fmla="*/ 197580 w 395066"/>
                <a:gd name="connsiteY4" fmla="*/ 743657 h 1568453"/>
                <a:gd name="connsiteX5" fmla="*/ 370379 w 395066"/>
                <a:gd name="connsiteY5" fmla="*/ 18514 h 1568453"/>
                <a:gd name="connsiteX6" fmla="*/ 395067 w 395066"/>
                <a:gd name="connsiteY6" fmla="*/ 0 h 1568453"/>
                <a:gd name="connsiteX7" fmla="*/ 52551 w 395066"/>
                <a:gd name="connsiteY7" fmla="*/ 493714 h 1568453"/>
                <a:gd name="connsiteX8" fmla="*/ 83408 w 395066"/>
                <a:gd name="connsiteY8" fmla="*/ 728229 h 1568453"/>
                <a:gd name="connsiteX9" fmla="*/ 80323 w 395066"/>
                <a:gd name="connsiteY9" fmla="*/ 962743 h 1568453"/>
                <a:gd name="connsiteX10" fmla="*/ 94 w 395066"/>
                <a:gd name="connsiteY10" fmla="*/ 1539772 h 1568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5066" h="1568453">
                  <a:moveTo>
                    <a:pt x="94" y="1539772"/>
                  </a:moveTo>
                  <a:cubicBezTo>
                    <a:pt x="-2991" y="1558286"/>
                    <a:pt x="71067" y="1576800"/>
                    <a:pt x="77237" y="1564457"/>
                  </a:cubicBezTo>
                  <a:cubicBezTo>
                    <a:pt x="80323" y="1561371"/>
                    <a:pt x="77237" y="1465714"/>
                    <a:pt x="77237" y="1459543"/>
                  </a:cubicBezTo>
                  <a:cubicBezTo>
                    <a:pt x="95752" y="1326857"/>
                    <a:pt x="132781" y="1215772"/>
                    <a:pt x="179067" y="1092343"/>
                  </a:cubicBezTo>
                  <a:cubicBezTo>
                    <a:pt x="219181" y="978171"/>
                    <a:pt x="209924" y="864000"/>
                    <a:pt x="197580" y="743657"/>
                  </a:cubicBezTo>
                  <a:cubicBezTo>
                    <a:pt x="169808" y="484457"/>
                    <a:pt x="209924" y="231429"/>
                    <a:pt x="370379" y="18514"/>
                  </a:cubicBezTo>
                  <a:cubicBezTo>
                    <a:pt x="373466" y="15429"/>
                    <a:pt x="382723" y="15429"/>
                    <a:pt x="395067" y="0"/>
                  </a:cubicBezTo>
                  <a:cubicBezTo>
                    <a:pt x="132781" y="3086"/>
                    <a:pt x="27866" y="280800"/>
                    <a:pt x="52551" y="493714"/>
                  </a:cubicBezTo>
                  <a:cubicBezTo>
                    <a:pt x="61808" y="573943"/>
                    <a:pt x="80323" y="648000"/>
                    <a:pt x="83408" y="728229"/>
                  </a:cubicBezTo>
                  <a:cubicBezTo>
                    <a:pt x="86495" y="805371"/>
                    <a:pt x="83408" y="885600"/>
                    <a:pt x="80323" y="962743"/>
                  </a:cubicBezTo>
                  <a:cubicBezTo>
                    <a:pt x="77237" y="1129371"/>
                    <a:pt x="18609" y="1373143"/>
                    <a:pt x="94" y="1539772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B7637058-7D27-4282-BD8F-482705408699}"/>
                </a:ext>
              </a:extLst>
            </p:cNvPr>
            <p:cNvSpPr/>
            <p:nvPr/>
          </p:nvSpPr>
          <p:spPr>
            <a:xfrm>
              <a:off x="20821990" y="3048867"/>
              <a:ext cx="66360" cy="765257"/>
            </a:xfrm>
            <a:custGeom>
              <a:avLst/>
              <a:gdLst>
                <a:gd name="connsiteX0" fmla="*/ 41675 w 66360"/>
                <a:gd name="connsiteY0" fmla="*/ 765257 h 765257"/>
                <a:gd name="connsiteX1" fmla="*/ 41675 w 66360"/>
                <a:gd name="connsiteY1" fmla="*/ 765257 h 765257"/>
                <a:gd name="connsiteX2" fmla="*/ 35504 w 66360"/>
                <a:gd name="connsiteY2" fmla="*/ 759086 h 765257"/>
                <a:gd name="connsiteX3" fmla="*/ 10818 w 66360"/>
                <a:gd name="connsiteY3" fmla="*/ 336343 h 765257"/>
                <a:gd name="connsiteX4" fmla="*/ 1561 w 66360"/>
                <a:gd name="connsiteY4" fmla="*/ 268457 h 765257"/>
                <a:gd name="connsiteX5" fmla="*/ 57104 w 66360"/>
                <a:gd name="connsiteY5" fmla="*/ 3086 h 765257"/>
                <a:gd name="connsiteX6" fmla="*/ 63276 w 66360"/>
                <a:gd name="connsiteY6" fmla="*/ 0 h 765257"/>
                <a:gd name="connsiteX7" fmla="*/ 66361 w 66360"/>
                <a:gd name="connsiteY7" fmla="*/ 6171 h 765257"/>
                <a:gd name="connsiteX8" fmla="*/ 10818 w 66360"/>
                <a:gd name="connsiteY8" fmla="*/ 265371 h 765257"/>
                <a:gd name="connsiteX9" fmla="*/ 20075 w 66360"/>
                <a:gd name="connsiteY9" fmla="*/ 333257 h 765257"/>
                <a:gd name="connsiteX10" fmla="*/ 44762 w 66360"/>
                <a:gd name="connsiteY10" fmla="*/ 759086 h 765257"/>
                <a:gd name="connsiteX11" fmla="*/ 41675 w 66360"/>
                <a:gd name="connsiteY11" fmla="*/ 765257 h 765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360" h="765257">
                  <a:moveTo>
                    <a:pt x="41675" y="765257"/>
                  </a:moveTo>
                  <a:cubicBezTo>
                    <a:pt x="41675" y="765257"/>
                    <a:pt x="41675" y="765257"/>
                    <a:pt x="41675" y="765257"/>
                  </a:cubicBezTo>
                  <a:cubicBezTo>
                    <a:pt x="38590" y="765257"/>
                    <a:pt x="35504" y="762171"/>
                    <a:pt x="35504" y="759086"/>
                  </a:cubicBezTo>
                  <a:cubicBezTo>
                    <a:pt x="47847" y="638743"/>
                    <a:pt x="26247" y="456686"/>
                    <a:pt x="10818" y="336343"/>
                  </a:cubicBezTo>
                  <a:cubicBezTo>
                    <a:pt x="7733" y="311657"/>
                    <a:pt x="4646" y="290057"/>
                    <a:pt x="1561" y="268457"/>
                  </a:cubicBezTo>
                  <a:cubicBezTo>
                    <a:pt x="-10782" y="160457"/>
                    <a:pt x="54019" y="9257"/>
                    <a:pt x="57104" y="3086"/>
                  </a:cubicBezTo>
                  <a:cubicBezTo>
                    <a:pt x="57104" y="0"/>
                    <a:pt x="60191" y="0"/>
                    <a:pt x="63276" y="0"/>
                  </a:cubicBezTo>
                  <a:cubicBezTo>
                    <a:pt x="66361" y="0"/>
                    <a:pt x="66361" y="3086"/>
                    <a:pt x="66361" y="6171"/>
                  </a:cubicBezTo>
                  <a:cubicBezTo>
                    <a:pt x="66361" y="6171"/>
                    <a:pt x="-1524" y="160457"/>
                    <a:pt x="10818" y="265371"/>
                  </a:cubicBezTo>
                  <a:cubicBezTo>
                    <a:pt x="13905" y="283886"/>
                    <a:pt x="16990" y="305486"/>
                    <a:pt x="20075" y="333257"/>
                  </a:cubicBezTo>
                  <a:cubicBezTo>
                    <a:pt x="35504" y="453600"/>
                    <a:pt x="60191" y="635657"/>
                    <a:pt x="44762" y="759086"/>
                  </a:cubicBezTo>
                  <a:cubicBezTo>
                    <a:pt x="47847" y="765257"/>
                    <a:pt x="44762" y="765257"/>
                    <a:pt x="41675" y="765257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8A7251F4-D208-4BE5-8DE2-0E527895A301}"/>
                </a:ext>
              </a:extLst>
            </p:cNvPr>
            <p:cNvSpPr/>
            <p:nvPr/>
          </p:nvSpPr>
          <p:spPr>
            <a:xfrm>
              <a:off x="21085837" y="2224081"/>
              <a:ext cx="427717" cy="575166"/>
            </a:xfrm>
            <a:custGeom>
              <a:avLst/>
              <a:gdLst>
                <a:gd name="connsiteX0" fmla="*/ 419656 w 427717"/>
                <a:gd name="connsiteY0" fmla="*/ 186043 h 575166"/>
                <a:gd name="connsiteX1" fmla="*/ 407315 w 427717"/>
                <a:gd name="connsiteY1" fmla="*/ 445243 h 575166"/>
                <a:gd name="connsiteX2" fmla="*/ 256114 w 427717"/>
                <a:gd name="connsiteY2" fmla="*/ 574843 h 575166"/>
                <a:gd name="connsiteX3" fmla="*/ 37029 w 427717"/>
                <a:gd name="connsiteY3" fmla="*/ 429815 h 575166"/>
                <a:gd name="connsiteX4" fmla="*/ 0 w 427717"/>
                <a:gd name="connsiteY4" fmla="*/ 201472 h 575166"/>
                <a:gd name="connsiteX5" fmla="*/ 216000 w 427717"/>
                <a:gd name="connsiteY5" fmla="*/ 901 h 575166"/>
                <a:gd name="connsiteX6" fmla="*/ 419656 w 427717"/>
                <a:gd name="connsiteY6" fmla="*/ 186043 h 575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717" h="575166">
                  <a:moveTo>
                    <a:pt x="419656" y="186043"/>
                  </a:moveTo>
                  <a:cubicBezTo>
                    <a:pt x="419656" y="186043"/>
                    <a:pt x="444344" y="377358"/>
                    <a:pt x="407315" y="445243"/>
                  </a:cubicBezTo>
                  <a:cubicBezTo>
                    <a:pt x="370286" y="513129"/>
                    <a:pt x="308571" y="571758"/>
                    <a:pt x="256114" y="574843"/>
                  </a:cubicBezTo>
                  <a:cubicBezTo>
                    <a:pt x="188228" y="581015"/>
                    <a:pt x="74058" y="497701"/>
                    <a:pt x="37029" y="429815"/>
                  </a:cubicBezTo>
                  <a:cubicBezTo>
                    <a:pt x="0" y="361929"/>
                    <a:pt x="0" y="253929"/>
                    <a:pt x="0" y="201472"/>
                  </a:cubicBezTo>
                  <a:cubicBezTo>
                    <a:pt x="3085" y="105815"/>
                    <a:pt x="30857" y="25586"/>
                    <a:pt x="216000" y="901"/>
                  </a:cubicBezTo>
                  <a:cubicBezTo>
                    <a:pt x="302400" y="-11442"/>
                    <a:pt x="398058" y="105815"/>
                    <a:pt x="419656" y="186043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6628D0FA-C192-41C1-8B60-0920B3FD6DBD}"/>
                </a:ext>
              </a:extLst>
            </p:cNvPr>
            <p:cNvSpPr/>
            <p:nvPr/>
          </p:nvSpPr>
          <p:spPr>
            <a:xfrm>
              <a:off x="21314180" y="2496524"/>
              <a:ext cx="55542" cy="132685"/>
            </a:xfrm>
            <a:custGeom>
              <a:avLst/>
              <a:gdLst>
                <a:gd name="connsiteX0" fmla="*/ 30857 w 55542"/>
                <a:gd name="connsiteY0" fmla="*/ 132686 h 132685"/>
                <a:gd name="connsiteX1" fmla="*/ 6170 w 55542"/>
                <a:gd name="connsiteY1" fmla="*/ 129600 h 132685"/>
                <a:gd name="connsiteX2" fmla="*/ 0 w 55542"/>
                <a:gd name="connsiteY2" fmla="*/ 123429 h 132685"/>
                <a:gd name="connsiteX3" fmla="*/ 6170 w 55542"/>
                <a:gd name="connsiteY3" fmla="*/ 117257 h 132685"/>
                <a:gd name="connsiteX4" fmla="*/ 46286 w 55542"/>
                <a:gd name="connsiteY4" fmla="*/ 117257 h 132685"/>
                <a:gd name="connsiteX5" fmla="*/ 46286 w 55542"/>
                <a:gd name="connsiteY5" fmla="*/ 114171 h 132685"/>
                <a:gd name="connsiteX6" fmla="*/ 18514 w 55542"/>
                <a:gd name="connsiteY6" fmla="*/ 6171 h 132685"/>
                <a:gd name="connsiteX7" fmla="*/ 21598 w 55542"/>
                <a:gd name="connsiteY7" fmla="*/ 0 h 132685"/>
                <a:gd name="connsiteX8" fmla="*/ 27770 w 55542"/>
                <a:gd name="connsiteY8" fmla="*/ 3086 h 132685"/>
                <a:gd name="connsiteX9" fmla="*/ 55542 w 55542"/>
                <a:gd name="connsiteY9" fmla="*/ 114171 h 132685"/>
                <a:gd name="connsiteX10" fmla="*/ 49371 w 55542"/>
                <a:gd name="connsiteY10" fmla="*/ 126514 h 132685"/>
                <a:gd name="connsiteX11" fmla="*/ 30857 w 55542"/>
                <a:gd name="connsiteY11" fmla="*/ 132686 h 132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542" h="132685">
                  <a:moveTo>
                    <a:pt x="30857" y="132686"/>
                  </a:moveTo>
                  <a:cubicBezTo>
                    <a:pt x="18514" y="132686"/>
                    <a:pt x="9257" y="129600"/>
                    <a:pt x="6170" y="129600"/>
                  </a:cubicBezTo>
                  <a:cubicBezTo>
                    <a:pt x="3085" y="129600"/>
                    <a:pt x="0" y="126514"/>
                    <a:pt x="0" y="123429"/>
                  </a:cubicBezTo>
                  <a:cubicBezTo>
                    <a:pt x="0" y="120343"/>
                    <a:pt x="3085" y="117257"/>
                    <a:pt x="6170" y="117257"/>
                  </a:cubicBezTo>
                  <a:cubicBezTo>
                    <a:pt x="18514" y="120343"/>
                    <a:pt x="40114" y="120343"/>
                    <a:pt x="46286" y="117257"/>
                  </a:cubicBezTo>
                  <a:cubicBezTo>
                    <a:pt x="46286" y="117257"/>
                    <a:pt x="46286" y="114171"/>
                    <a:pt x="46286" y="114171"/>
                  </a:cubicBezTo>
                  <a:cubicBezTo>
                    <a:pt x="46286" y="98743"/>
                    <a:pt x="24685" y="30857"/>
                    <a:pt x="18514" y="6171"/>
                  </a:cubicBezTo>
                  <a:cubicBezTo>
                    <a:pt x="18514" y="3086"/>
                    <a:pt x="18514" y="0"/>
                    <a:pt x="21598" y="0"/>
                  </a:cubicBezTo>
                  <a:cubicBezTo>
                    <a:pt x="24685" y="0"/>
                    <a:pt x="27770" y="0"/>
                    <a:pt x="27770" y="3086"/>
                  </a:cubicBezTo>
                  <a:cubicBezTo>
                    <a:pt x="27770" y="6171"/>
                    <a:pt x="55542" y="92571"/>
                    <a:pt x="55542" y="114171"/>
                  </a:cubicBezTo>
                  <a:cubicBezTo>
                    <a:pt x="55542" y="120343"/>
                    <a:pt x="52456" y="123429"/>
                    <a:pt x="49371" y="126514"/>
                  </a:cubicBezTo>
                  <a:cubicBezTo>
                    <a:pt x="49371" y="132686"/>
                    <a:pt x="40114" y="132686"/>
                    <a:pt x="30857" y="132686"/>
                  </a:cubicBezTo>
                  <a:close/>
                </a:path>
              </a:pathLst>
            </a:custGeom>
            <a:solidFill>
              <a:srgbClr val="E58777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804B10ED-5CB1-44D8-8E9F-62F33A41167C}"/>
                </a:ext>
              </a:extLst>
            </p:cNvPr>
            <p:cNvSpPr/>
            <p:nvPr/>
          </p:nvSpPr>
          <p:spPr>
            <a:xfrm>
              <a:off x="21286408" y="2681667"/>
              <a:ext cx="108000" cy="55542"/>
            </a:xfrm>
            <a:custGeom>
              <a:avLst/>
              <a:gdLst>
                <a:gd name="connsiteX0" fmla="*/ 0 w 108000"/>
                <a:gd name="connsiteY0" fmla="*/ 0 h 55542"/>
                <a:gd name="connsiteX1" fmla="*/ 108000 w 108000"/>
                <a:gd name="connsiteY1" fmla="*/ 0 h 55542"/>
                <a:gd name="connsiteX2" fmla="*/ 55542 w 108000"/>
                <a:gd name="connsiteY2" fmla="*/ 55543 h 55542"/>
                <a:gd name="connsiteX3" fmla="*/ 0 w 108000"/>
                <a:gd name="connsiteY3" fmla="*/ 0 h 5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000" h="55542">
                  <a:moveTo>
                    <a:pt x="0" y="0"/>
                  </a:moveTo>
                  <a:cubicBezTo>
                    <a:pt x="55542" y="24686"/>
                    <a:pt x="108000" y="0"/>
                    <a:pt x="108000" y="0"/>
                  </a:cubicBezTo>
                  <a:cubicBezTo>
                    <a:pt x="108000" y="0"/>
                    <a:pt x="92571" y="55543"/>
                    <a:pt x="55542" y="55543"/>
                  </a:cubicBezTo>
                  <a:cubicBezTo>
                    <a:pt x="12344" y="5245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B821E969-EADB-4867-B9BC-0C5F433FFD05}"/>
                </a:ext>
              </a:extLst>
            </p:cNvPr>
            <p:cNvSpPr/>
            <p:nvPr/>
          </p:nvSpPr>
          <p:spPr>
            <a:xfrm>
              <a:off x="21406146" y="2468148"/>
              <a:ext cx="41505" cy="41324"/>
            </a:xfrm>
            <a:custGeom>
              <a:avLst/>
              <a:gdLst>
                <a:gd name="connsiteX0" fmla="*/ 606 w 41505"/>
                <a:gd name="connsiteY0" fmla="*/ 25291 h 41324"/>
                <a:gd name="connsiteX1" fmla="*/ 25291 w 41505"/>
                <a:gd name="connsiteY1" fmla="*/ 40720 h 41324"/>
                <a:gd name="connsiteX2" fmla="*/ 40720 w 41505"/>
                <a:gd name="connsiteY2" fmla="*/ 16034 h 41324"/>
                <a:gd name="connsiteX3" fmla="*/ 16034 w 41505"/>
                <a:gd name="connsiteY3" fmla="*/ 605 h 41324"/>
                <a:gd name="connsiteX4" fmla="*/ 606 w 41505"/>
                <a:gd name="connsiteY4" fmla="*/ 25291 h 41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5" h="41324">
                  <a:moveTo>
                    <a:pt x="606" y="25291"/>
                  </a:moveTo>
                  <a:cubicBezTo>
                    <a:pt x="3691" y="34548"/>
                    <a:pt x="12947" y="43805"/>
                    <a:pt x="25291" y="40720"/>
                  </a:cubicBezTo>
                  <a:cubicBezTo>
                    <a:pt x="37633" y="37634"/>
                    <a:pt x="43805" y="28377"/>
                    <a:pt x="40720" y="16034"/>
                  </a:cubicBezTo>
                  <a:cubicBezTo>
                    <a:pt x="37633" y="6777"/>
                    <a:pt x="28376" y="-2480"/>
                    <a:pt x="16034" y="605"/>
                  </a:cubicBezTo>
                  <a:cubicBezTo>
                    <a:pt x="6776" y="3691"/>
                    <a:pt x="-2481" y="12948"/>
                    <a:pt x="606" y="25291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6CC9BC18-9B05-48E4-ACAF-506953191788}"/>
                </a:ext>
              </a:extLst>
            </p:cNvPr>
            <p:cNvSpPr/>
            <p:nvPr/>
          </p:nvSpPr>
          <p:spPr>
            <a:xfrm>
              <a:off x="21214650" y="2474138"/>
              <a:ext cx="41686" cy="41505"/>
            </a:xfrm>
            <a:custGeom>
              <a:avLst/>
              <a:gdLst>
                <a:gd name="connsiteX0" fmla="*/ 787 w 41686"/>
                <a:gd name="connsiteY0" fmla="*/ 25472 h 41505"/>
                <a:gd name="connsiteX1" fmla="*/ 25472 w 41686"/>
                <a:gd name="connsiteY1" fmla="*/ 40901 h 41505"/>
                <a:gd name="connsiteX2" fmla="*/ 40901 w 41686"/>
                <a:gd name="connsiteY2" fmla="*/ 16215 h 41505"/>
                <a:gd name="connsiteX3" fmla="*/ 16215 w 41686"/>
                <a:gd name="connsiteY3" fmla="*/ 786 h 41505"/>
                <a:gd name="connsiteX4" fmla="*/ 787 w 41686"/>
                <a:gd name="connsiteY4" fmla="*/ 25472 h 4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86" h="41505">
                  <a:moveTo>
                    <a:pt x="787" y="25472"/>
                  </a:moveTo>
                  <a:cubicBezTo>
                    <a:pt x="3872" y="34729"/>
                    <a:pt x="13129" y="43986"/>
                    <a:pt x="25472" y="40901"/>
                  </a:cubicBezTo>
                  <a:cubicBezTo>
                    <a:pt x="37816" y="37815"/>
                    <a:pt x="43986" y="28558"/>
                    <a:pt x="40901" y="16215"/>
                  </a:cubicBezTo>
                  <a:cubicBezTo>
                    <a:pt x="37816" y="3872"/>
                    <a:pt x="28557" y="-2299"/>
                    <a:pt x="16215" y="786"/>
                  </a:cubicBezTo>
                  <a:cubicBezTo>
                    <a:pt x="3872" y="3872"/>
                    <a:pt x="-2300" y="16215"/>
                    <a:pt x="787" y="25472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2A583A2A-C07C-4309-86F1-85978E7CEFBE}"/>
                </a:ext>
              </a:extLst>
            </p:cNvPr>
            <p:cNvSpPr/>
            <p:nvPr/>
          </p:nvSpPr>
          <p:spPr>
            <a:xfrm>
              <a:off x="21380787" y="2422467"/>
              <a:ext cx="93077" cy="30857"/>
            </a:xfrm>
            <a:custGeom>
              <a:avLst/>
              <a:gdLst>
                <a:gd name="connsiteX0" fmla="*/ 84592 w 93077"/>
                <a:gd name="connsiteY0" fmla="*/ 30857 h 30857"/>
                <a:gd name="connsiteX1" fmla="*/ 78421 w 93077"/>
                <a:gd name="connsiteY1" fmla="*/ 27771 h 30857"/>
                <a:gd name="connsiteX2" fmla="*/ 10536 w 93077"/>
                <a:gd name="connsiteY2" fmla="*/ 21600 h 30857"/>
                <a:gd name="connsiteX3" fmla="*/ 1278 w 93077"/>
                <a:gd name="connsiteY3" fmla="*/ 18514 h 30857"/>
                <a:gd name="connsiteX4" fmla="*/ 4365 w 93077"/>
                <a:gd name="connsiteY4" fmla="*/ 9257 h 30857"/>
                <a:gd name="connsiteX5" fmla="*/ 90764 w 93077"/>
                <a:gd name="connsiteY5" fmla="*/ 18514 h 30857"/>
                <a:gd name="connsiteX6" fmla="*/ 90764 w 93077"/>
                <a:gd name="connsiteY6" fmla="*/ 30857 h 30857"/>
                <a:gd name="connsiteX7" fmla="*/ 84592 w 93077"/>
                <a:gd name="connsiteY7" fmla="*/ 30857 h 3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7" h="30857">
                  <a:moveTo>
                    <a:pt x="84592" y="30857"/>
                  </a:moveTo>
                  <a:cubicBezTo>
                    <a:pt x="81507" y="30857"/>
                    <a:pt x="81507" y="30857"/>
                    <a:pt x="78421" y="27771"/>
                  </a:cubicBezTo>
                  <a:cubicBezTo>
                    <a:pt x="53735" y="0"/>
                    <a:pt x="13621" y="18514"/>
                    <a:pt x="10536" y="21600"/>
                  </a:cubicBezTo>
                  <a:cubicBezTo>
                    <a:pt x="7450" y="24686"/>
                    <a:pt x="1278" y="21600"/>
                    <a:pt x="1278" y="18514"/>
                  </a:cubicBezTo>
                  <a:cubicBezTo>
                    <a:pt x="-1807" y="15429"/>
                    <a:pt x="1278" y="9257"/>
                    <a:pt x="4365" y="9257"/>
                  </a:cubicBezTo>
                  <a:cubicBezTo>
                    <a:pt x="22878" y="0"/>
                    <a:pt x="62992" y="-9257"/>
                    <a:pt x="90764" y="18514"/>
                  </a:cubicBezTo>
                  <a:cubicBezTo>
                    <a:pt x="93849" y="21600"/>
                    <a:pt x="93849" y="27771"/>
                    <a:pt x="90764" y="30857"/>
                  </a:cubicBezTo>
                  <a:cubicBezTo>
                    <a:pt x="87679" y="30857"/>
                    <a:pt x="84592" y="30857"/>
                    <a:pt x="84592" y="30857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F8E365A9-8699-463D-984D-CB3BD2254AA0}"/>
                </a:ext>
              </a:extLst>
            </p:cNvPr>
            <p:cNvSpPr/>
            <p:nvPr/>
          </p:nvSpPr>
          <p:spPr>
            <a:xfrm>
              <a:off x="21185351" y="2416610"/>
              <a:ext cx="93077" cy="36714"/>
            </a:xfrm>
            <a:custGeom>
              <a:avLst/>
              <a:gdLst>
                <a:gd name="connsiteX0" fmla="*/ 8486 w 93077"/>
                <a:gd name="connsiteY0" fmla="*/ 36715 h 36714"/>
                <a:gd name="connsiteX1" fmla="*/ 2314 w 93077"/>
                <a:gd name="connsiteY1" fmla="*/ 33629 h 36714"/>
                <a:gd name="connsiteX2" fmla="*/ 2314 w 93077"/>
                <a:gd name="connsiteY2" fmla="*/ 21286 h 36714"/>
                <a:gd name="connsiteX3" fmla="*/ 88713 w 93077"/>
                <a:gd name="connsiteY3" fmla="*/ 12029 h 36714"/>
                <a:gd name="connsiteX4" fmla="*/ 91800 w 93077"/>
                <a:gd name="connsiteY4" fmla="*/ 24372 h 36714"/>
                <a:gd name="connsiteX5" fmla="*/ 79457 w 93077"/>
                <a:gd name="connsiteY5" fmla="*/ 27457 h 36714"/>
                <a:gd name="connsiteX6" fmla="*/ 11570 w 93077"/>
                <a:gd name="connsiteY6" fmla="*/ 33629 h 36714"/>
                <a:gd name="connsiteX7" fmla="*/ 8486 w 93077"/>
                <a:gd name="connsiteY7" fmla="*/ 36715 h 3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7" h="36714">
                  <a:moveTo>
                    <a:pt x="8486" y="36715"/>
                  </a:moveTo>
                  <a:cubicBezTo>
                    <a:pt x="5401" y="36715"/>
                    <a:pt x="5401" y="36715"/>
                    <a:pt x="2314" y="33629"/>
                  </a:cubicBezTo>
                  <a:cubicBezTo>
                    <a:pt x="-771" y="30543"/>
                    <a:pt x="-771" y="24372"/>
                    <a:pt x="2314" y="21286"/>
                  </a:cubicBezTo>
                  <a:cubicBezTo>
                    <a:pt x="14657" y="5857"/>
                    <a:pt x="51686" y="-12657"/>
                    <a:pt x="88713" y="12029"/>
                  </a:cubicBezTo>
                  <a:cubicBezTo>
                    <a:pt x="91800" y="15115"/>
                    <a:pt x="94885" y="18200"/>
                    <a:pt x="91800" y="24372"/>
                  </a:cubicBezTo>
                  <a:cubicBezTo>
                    <a:pt x="88713" y="27457"/>
                    <a:pt x="85628" y="30543"/>
                    <a:pt x="79457" y="27457"/>
                  </a:cubicBezTo>
                  <a:cubicBezTo>
                    <a:pt x="42428" y="2772"/>
                    <a:pt x="14657" y="33629"/>
                    <a:pt x="11570" y="33629"/>
                  </a:cubicBezTo>
                  <a:cubicBezTo>
                    <a:pt x="14657" y="36715"/>
                    <a:pt x="11570" y="36715"/>
                    <a:pt x="8486" y="36715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1C940185-4DA9-4B65-89D3-87240F2C9526}"/>
                </a:ext>
              </a:extLst>
            </p:cNvPr>
            <p:cNvSpPr/>
            <p:nvPr/>
          </p:nvSpPr>
          <p:spPr>
            <a:xfrm>
              <a:off x="21250350" y="2191363"/>
              <a:ext cx="280059" cy="261961"/>
            </a:xfrm>
            <a:custGeom>
              <a:avLst/>
              <a:gdLst>
                <a:gd name="connsiteX0" fmla="*/ 2116 w 280059"/>
                <a:gd name="connsiteY0" fmla="*/ 2762 h 261961"/>
                <a:gd name="connsiteX1" fmla="*/ 39144 w 280059"/>
                <a:gd name="connsiteY1" fmla="*/ 132362 h 261961"/>
                <a:gd name="connsiteX2" fmla="*/ 279831 w 280059"/>
                <a:gd name="connsiteY2" fmla="*/ 261962 h 261961"/>
                <a:gd name="connsiteX3" fmla="*/ 2116 w 280059"/>
                <a:gd name="connsiteY3" fmla="*/ 2762 h 261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059" h="261961">
                  <a:moveTo>
                    <a:pt x="2116" y="2762"/>
                  </a:moveTo>
                  <a:cubicBezTo>
                    <a:pt x="2116" y="2762"/>
                    <a:pt x="-13312" y="92248"/>
                    <a:pt x="39144" y="132362"/>
                  </a:cubicBezTo>
                  <a:cubicBezTo>
                    <a:pt x="39144" y="132362"/>
                    <a:pt x="252059" y="175562"/>
                    <a:pt x="279831" y="261962"/>
                  </a:cubicBezTo>
                  <a:cubicBezTo>
                    <a:pt x="279831" y="258876"/>
                    <a:pt x="298344" y="-31181"/>
                    <a:pt x="2116" y="2762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FB8CA410-0599-44D4-901D-56407F2939FD}"/>
                </a:ext>
              </a:extLst>
            </p:cNvPr>
            <p:cNvSpPr/>
            <p:nvPr/>
          </p:nvSpPr>
          <p:spPr>
            <a:xfrm>
              <a:off x="21062521" y="2194125"/>
              <a:ext cx="226971" cy="318329"/>
            </a:xfrm>
            <a:custGeom>
              <a:avLst/>
              <a:gdLst>
                <a:gd name="connsiteX0" fmla="*/ 226972 w 226971"/>
                <a:gd name="connsiteY0" fmla="*/ 129600 h 318329"/>
                <a:gd name="connsiteX1" fmla="*/ 85030 w 226971"/>
                <a:gd name="connsiteY1" fmla="*/ 185143 h 318329"/>
                <a:gd name="connsiteX2" fmla="*/ 26400 w 226971"/>
                <a:gd name="connsiteY2" fmla="*/ 305486 h 318329"/>
                <a:gd name="connsiteX3" fmla="*/ 1715 w 226971"/>
                <a:gd name="connsiteY3" fmla="*/ 302400 h 318329"/>
                <a:gd name="connsiteX4" fmla="*/ 193030 w 226971"/>
                <a:gd name="connsiteY4" fmla="*/ 0 h 318329"/>
                <a:gd name="connsiteX5" fmla="*/ 226972 w 226971"/>
                <a:gd name="connsiteY5" fmla="*/ 129600 h 318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6971" h="318329">
                  <a:moveTo>
                    <a:pt x="226972" y="129600"/>
                  </a:moveTo>
                  <a:cubicBezTo>
                    <a:pt x="226972" y="129600"/>
                    <a:pt x="134400" y="178971"/>
                    <a:pt x="85030" y="185143"/>
                  </a:cubicBezTo>
                  <a:cubicBezTo>
                    <a:pt x="32572" y="191314"/>
                    <a:pt x="26400" y="305486"/>
                    <a:pt x="26400" y="305486"/>
                  </a:cubicBezTo>
                  <a:cubicBezTo>
                    <a:pt x="26400" y="305486"/>
                    <a:pt x="4802" y="336343"/>
                    <a:pt x="1715" y="302400"/>
                  </a:cubicBezTo>
                  <a:cubicBezTo>
                    <a:pt x="-4457" y="222171"/>
                    <a:pt x="-4457" y="21600"/>
                    <a:pt x="193030" y="0"/>
                  </a:cubicBezTo>
                  <a:cubicBezTo>
                    <a:pt x="189945" y="0"/>
                    <a:pt x="202286" y="123429"/>
                    <a:pt x="226972" y="129600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AD022C2A-21A9-4E71-8D27-7FA851B7CB4F}"/>
                </a:ext>
              </a:extLst>
            </p:cNvPr>
            <p:cNvSpPr/>
            <p:nvPr/>
          </p:nvSpPr>
          <p:spPr>
            <a:xfrm>
              <a:off x="21141379" y="2240410"/>
              <a:ext cx="158743" cy="141942"/>
            </a:xfrm>
            <a:custGeom>
              <a:avLst/>
              <a:gdLst>
                <a:gd name="connsiteX0" fmla="*/ 6172 w 158743"/>
                <a:gd name="connsiteY0" fmla="*/ 141943 h 141942"/>
                <a:gd name="connsiteX1" fmla="*/ 0 w 158743"/>
                <a:gd name="connsiteY1" fmla="*/ 135771 h 141942"/>
                <a:gd name="connsiteX2" fmla="*/ 6172 w 158743"/>
                <a:gd name="connsiteY2" fmla="*/ 129600 h 141942"/>
                <a:gd name="connsiteX3" fmla="*/ 101828 w 158743"/>
                <a:gd name="connsiteY3" fmla="*/ 98743 h 141942"/>
                <a:gd name="connsiteX4" fmla="*/ 141944 w 158743"/>
                <a:gd name="connsiteY4" fmla="*/ 77143 h 141942"/>
                <a:gd name="connsiteX5" fmla="*/ 117257 w 158743"/>
                <a:gd name="connsiteY5" fmla="*/ 6171 h 141942"/>
                <a:gd name="connsiteX6" fmla="*/ 123429 w 158743"/>
                <a:gd name="connsiteY6" fmla="*/ 0 h 141942"/>
                <a:gd name="connsiteX7" fmla="*/ 129600 w 158743"/>
                <a:gd name="connsiteY7" fmla="*/ 6171 h 141942"/>
                <a:gd name="connsiteX8" fmla="*/ 157373 w 158743"/>
                <a:gd name="connsiteY8" fmla="*/ 77143 h 141942"/>
                <a:gd name="connsiteX9" fmla="*/ 157373 w 158743"/>
                <a:gd name="connsiteY9" fmla="*/ 83314 h 141942"/>
                <a:gd name="connsiteX10" fmla="*/ 154286 w 158743"/>
                <a:gd name="connsiteY10" fmla="*/ 86400 h 141942"/>
                <a:gd name="connsiteX11" fmla="*/ 108000 w 158743"/>
                <a:gd name="connsiteY11" fmla="*/ 111086 h 141942"/>
                <a:gd name="connsiteX12" fmla="*/ 6172 w 158743"/>
                <a:gd name="connsiteY12" fmla="*/ 141943 h 141942"/>
                <a:gd name="connsiteX13" fmla="*/ 6172 w 158743"/>
                <a:gd name="connsiteY13" fmla="*/ 141943 h 141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8743" h="141942">
                  <a:moveTo>
                    <a:pt x="6172" y="141943"/>
                  </a:moveTo>
                  <a:cubicBezTo>
                    <a:pt x="3087" y="141943"/>
                    <a:pt x="0" y="138857"/>
                    <a:pt x="0" y="135771"/>
                  </a:cubicBezTo>
                  <a:cubicBezTo>
                    <a:pt x="0" y="132686"/>
                    <a:pt x="3087" y="129600"/>
                    <a:pt x="6172" y="129600"/>
                  </a:cubicBezTo>
                  <a:cubicBezTo>
                    <a:pt x="40114" y="123429"/>
                    <a:pt x="77143" y="108000"/>
                    <a:pt x="101828" y="98743"/>
                  </a:cubicBezTo>
                  <a:cubicBezTo>
                    <a:pt x="120344" y="89486"/>
                    <a:pt x="132685" y="83314"/>
                    <a:pt x="141944" y="77143"/>
                  </a:cubicBezTo>
                  <a:cubicBezTo>
                    <a:pt x="132685" y="61714"/>
                    <a:pt x="117257" y="27771"/>
                    <a:pt x="117257" y="6171"/>
                  </a:cubicBezTo>
                  <a:cubicBezTo>
                    <a:pt x="117257" y="3086"/>
                    <a:pt x="120344" y="0"/>
                    <a:pt x="123429" y="0"/>
                  </a:cubicBezTo>
                  <a:cubicBezTo>
                    <a:pt x="126515" y="0"/>
                    <a:pt x="129600" y="3086"/>
                    <a:pt x="129600" y="6171"/>
                  </a:cubicBezTo>
                  <a:cubicBezTo>
                    <a:pt x="132685" y="30857"/>
                    <a:pt x="151201" y="70971"/>
                    <a:pt x="157373" y="77143"/>
                  </a:cubicBezTo>
                  <a:cubicBezTo>
                    <a:pt x="157373" y="77143"/>
                    <a:pt x="160458" y="80229"/>
                    <a:pt x="157373" y="83314"/>
                  </a:cubicBezTo>
                  <a:cubicBezTo>
                    <a:pt x="157373" y="86400"/>
                    <a:pt x="157373" y="86400"/>
                    <a:pt x="154286" y="86400"/>
                  </a:cubicBezTo>
                  <a:cubicBezTo>
                    <a:pt x="154286" y="86400"/>
                    <a:pt x="135772" y="98743"/>
                    <a:pt x="108000" y="111086"/>
                  </a:cubicBezTo>
                  <a:cubicBezTo>
                    <a:pt x="80230" y="120343"/>
                    <a:pt x="43201" y="135771"/>
                    <a:pt x="6172" y="141943"/>
                  </a:cubicBezTo>
                  <a:cubicBezTo>
                    <a:pt x="6172" y="141943"/>
                    <a:pt x="6172" y="141943"/>
                    <a:pt x="6172" y="141943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C1602548-351E-4257-9DC7-5D601AB2A675}"/>
                </a:ext>
              </a:extLst>
            </p:cNvPr>
            <p:cNvSpPr/>
            <p:nvPr/>
          </p:nvSpPr>
          <p:spPr>
            <a:xfrm>
              <a:off x="21187665" y="2724867"/>
              <a:ext cx="224485" cy="80228"/>
            </a:xfrm>
            <a:custGeom>
              <a:avLst/>
              <a:gdLst>
                <a:gd name="connsiteX0" fmla="*/ 151201 w 224485"/>
                <a:gd name="connsiteY0" fmla="*/ 80229 h 80228"/>
                <a:gd name="connsiteX1" fmla="*/ 141944 w 224485"/>
                <a:gd name="connsiteY1" fmla="*/ 80229 h 80228"/>
                <a:gd name="connsiteX2" fmla="*/ 3087 w 224485"/>
                <a:gd name="connsiteY2" fmla="*/ 12343 h 80228"/>
                <a:gd name="connsiteX3" fmla="*/ 0 w 224485"/>
                <a:gd name="connsiteY3" fmla="*/ 3086 h 80228"/>
                <a:gd name="connsiteX4" fmla="*/ 9257 w 224485"/>
                <a:gd name="connsiteY4" fmla="*/ 0 h 80228"/>
                <a:gd name="connsiteX5" fmla="*/ 141944 w 224485"/>
                <a:gd name="connsiteY5" fmla="*/ 67886 h 80228"/>
                <a:gd name="connsiteX6" fmla="*/ 212915 w 224485"/>
                <a:gd name="connsiteY6" fmla="*/ 43200 h 80228"/>
                <a:gd name="connsiteX7" fmla="*/ 222172 w 224485"/>
                <a:gd name="connsiteY7" fmla="*/ 43200 h 80228"/>
                <a:gd name="connsiteX8" fmla="*/ 222172 w 224485"/>
                <a:gd name="connsiteY8" fmla="*/ 52457 h 80228"/>
                <a:gd name="connsiteX9" fmla="*/ 151201 w 224485"/>
                <a:gd name="connsiteY9" fmla="*/ 80229 h 8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485" h="80228">
                  <a:moveTo>
                    <a:pt x="151201" y="80229"/>
                  </a:moveTo>
                  <a:cubicBezTo>
                    <a:pt x="148114" y="80229"/>
                    <a:pt x="145029" y="80229"/>
                    <a:pt x="141944" y="80229"/>
                  </a:cubicBezTo>
                  <a:cubicBezTo>
                    <a:pt x="98743" y="74057"/>
                    <a:pt x="6172" y="12343"/>
                    <a:pt x="3087" y="12343"/>
                  </a:cubicBezTo>
                  <a:cubicBezTo>
                    <a:pt x="0" y="9257"/>
                    <a:pt x="0" y="6171"/>
                    <a:pt x="0" y="3086"/>
                  </a:cubicBezTo>
                  <a:cubicBezTo>
                    <a:pt x="3087" y="0"/>
                    <a:pt x="6172" y="0"/>
                    <a:pt x="9257" y="0"/>
                  </a:cubicBezTo>
                  <a:cubicBezTo>
                    <a:pt x="9257" y="0"/>
                    <a:pt x="104915" y="61714"/>
                    <a:pt x="141944" y="67886"/>
                  </a:cubicBezTo>
                  <a:cubicBezTo>
                    <a:pt x="178971" y="74057"/>
                    <a:pt x="212915" y="43200"/>
                    <a:pt x="212915" y="43200"/>
                  </a:cubicBezTo>
                  <a:cubicBezTo>
                    <a:pt x="216000" y="40114"/>
                    <a:pt x="219087" y="40114"/>
                    <a:pt x="222172" y="43200"/>
                  </a:cubicBezTo>
                  <a:cubicBezTo>
                    <a:pt x="225257" y="46286"/>
                    <a:pt x="225257" y="49371"/>
                    <a:pt x="222172" y="52457"/>
                  </a:cubicBezTo>
                  <a:cubicBezTo>
                    <a:pt x="219087" y="52457"/>
                    <a:pt x="188230" y="80229"/>
                    <a:pt x="151201" y="80229"/>
                  </a:cubicBezTo>
                  <a:close/>
                </a:path>
              </a:pathLst>
            </a:custGeom>
            <a:solidFill>
              <a:srgbClr val="E58777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AFECF088-3833-4549-81D9-8D45D386FB54}"/>
                </a:ext>
              </a:extLst>
            </p:cNvPr>
            <p:cNvSpPr/>
            <p:nvPr/>
          </p:nvSpPr>
          <p:spPr>
            <a:xfrm>
              <a:off x="21047429" y="2482679"/>
              <a:ext cx="78522" cy="115430"/>
            </a:xfrm>
            <a:custGeom>
              <a:avLst/>
              <a:gdLst>
                <a:gd name="connsiteX0" fmla="*/ 66180 w 78522"/>
                <a:gd name="connsiteY0" fmla="*/ 16931 h 115430"/>
                <a:gd name="connsiteX1" fmla="*/ 7551 w 78522"/>
                <a:gd name="connsiteY1" fmla="*/ 7674 h 115430"/>
                <a:gd name="connsiteX2" fmla="*/ 66180 w 78522"/>
                <a:gd name="connsiteY2" fmla="*/ 112588 h 115430"/>
                <a:gd name="connsiteX3" fmla="*/ 66180 w 78522"/>
                <a:gd name="connsiteY3" fmla="*/ 16931 h 115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22" h="115430">
                  <a:moveTo>
                    <a:pt x="66180" y="16931"/>
                  </a:moveTo>
                  <a:cubicBezTo>
                    <a:pt x="66180" y="16931"/>
                    <a:pt x="32236" y="-13926"/>
                    <a:pt x="7551" y="7674"/>
                  </a:cubicBezTo>
                  <a:cubicBezTo>
                    <a:pt x="-17134" y="26188"/>
                    <a:pt x="22979" y="134188"/>
                    <a:pt x="66180" y="112588"/>
                  </a:cubicBezTo>
                  <a:cubicBezTo>
                    <a:pt x="93950" y="94074"/>
                    <a:pt x="66180" y="16931"/>
                    <a:pt x="66180" y="16931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F2756281-367D-464A-8F48-F07F62F989F8}"/>
                </a:ext>
              </a:extLst>
            </p:cNvPr>
            <p:cNvSpPr/>
            <p:nvPr/>
          </p:nvSpPr>
          <p:spPr>
            <a:xfrm>
              <a:off x="21282045" y="2311382"/>
              <a:ext cx="257392" cy="163542"/>
            </a:xfrm>
            <a:custGeom>
              <a:avLst/>
              <a:gdLst>
                <a:gd name="connsiteX0" fmla="*/ 248136 w 257392"/>
                <a:gd name="connsiteY0" fmla="*/ 163543 h 163542"/>
                <a:gd name="connsiteX1" fmla="*/ 241964 w 257392"/>
                <a:gd name="connsiteY1" fmla="*/ 157371 h 163542"/>
                <a:gd name="connsiteX2" fmla="*/ 140136 w 257392"/>
                <a:gd name="connsiteY2" fmla="*/ 58629 h 163542"/>
                <a:gd name="connsiteX3" fmla="*/ 4364 w 257392"/>
                <a:gd name="connsiteY3" fmla="*/ 12343 h 163542"/>
                <a:gd name="connsiteX4" fmla="*/ 1279 w 257392"/>
                <a:gd name="connsiteY4" fmla="*/ 3086 h 163542"/>
                <a:gd name="connsiteX5" fmla="*/ 10535 w 257392"/>
                <a:gd name="connsiteY5" fmla="*/ 0 h 163542"/>
                <a:gd name="connsiteX6" fmla="*/ 146306 w 257392"/>
                <a:gd name="connsiteY6" fmla="*/ 46286 h 163542"/>
                <a:gd name="connsiteX7" fmla="*/ 257393 w 257392"/>
                <a:gd name="connsiteY7" fmla="*/ 154286 h 163542"/>
                <a:gd name="connsiteX8" fmla="*/ 248136 w 257392"/>
                <a:gd name="connsiteY8" fmla="*/ 163543 h 163542"/>
                <a:gd name="connsiteX9" fmla="*/ 248136 w 257392"/>
                <a:gd name="connsiteY9" fmla="*/ 163543 h 163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7392" h="163542">
                  <a:moveTo>
                    <a:pt x="248136" y="163543"/>
                  </a:moveTo>
                  <a:cubicBezTo>
                    <a:pt x="245049" y="163543"/>
                    <a:pt x="241964" y="160457"/>
                    <a:pt x="241964" y="157371"/>
                  </a:cubicBezTo>
                  <a:cubicBezTo>
                    <a:pt x="232707" y="98743"/>
                    <a:pt x="192591" y="74057"/>
                    <a:pt x="140136" y="58629"/>
                  </a:cubicBezTo>
                  <a:cubicBezTo>
                    <a:pt x="72250" y="37029"/>
                    <a:pt x="4364" y="12343"/>
                    <a:pt x="4364" y="12343"/>
                  </a:cubicBezTo>
                  <a:cubicBezTo>
                    <a:pt x="1279" y="12343"/>
                    <a:pt x="-1808" y="6171"/>
                    <a:pt x="1279" y="3086"/>
                  </a:cubicBezTo>
                  <a:cubicBezTo>
                    <a:pt x="1279" y="0"/>
                    <a:pt x="4364" y="0"/>
                    <a:pt x="10535" y="0"/>
                  </a:cubicBezTo>
                  <a:cubicBezTo>
                    <a:pt x="10535" y="0"/>
                    <a:pt x="78422" y="24686"/>
                    <a:pt x="146306" y="46286"/>
                  </a:cubicBezTo>
                  <a:cubicBezTo>
                    <a:pt x="198763" y="61714"/>
                    <a:pt x="245049" y="86400"/>
                    <a:pt x="257393" y="154286"/>
                  </a:cubicBezTo>
                  <a:cubicBezTo>
                    <a:pt x="254306" y="160457"/>
                    <a:pt x="254306" y="163543"/>
                    <a:pt x="248136" y="163543"/>
                  </a:cubicBezTo>
                  <a:cubicBezTo>
                    <a:pt x="248136" y="163543"/>
                    <a:pt x="248136" y="163543"/>
                    <a:pt x="248136" y="163543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97E25581-40F1-4DB5-A062-B0DD1F14DA3F}"/>
                </a:ext>
              </a:extLst>
            </p:cNvPr>
            <p:cNvSpPr/>
            <p:nvPr/>
          </p:nvSpPr>
          <p:spPr>
            <a:xfrm>
              <a:off x="24507895" y="3912867"/>
              <a:ext cx="219084" cy="219085"/>
            </a:xfrm>
            <a:custGeom>
              <a:avLst/>
              <a:gdLst>
                <a:gd name="connsiteX0" fmla="*/ 0 w 219084"/>
                <a:gd name="connsiteY0" fmla="*/ 154286 h 219085"/>
                <a:gd name="connsiteX1" fmla="*/ 67884 w 219084"/>
                <a:gd name="connsiteY1" fmla="*/ 0 h 219085"/>
                <a:gd name="connsiteX2" fmla="*/ 219085 w 219084"/>
                <a:gd name="connsiteY2" fmla="*/ 33943 h 219085"/>
                <a:gd name="connsiteX3" fmla="*/ 148114 w 219084"/>
                <a:gd name="connsiteY3" fmla="*/ 219086 h 21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084" h="219085">
                  <a:moveTo>
                    <a:pt x="0" y="154286"/>
                  </a:moveTo>
                  <a:lnTo>
                    <a:pt x="67884" y="0"/>
                  </a:lnTo>
                  <a:lnTo>
                    <a:pt x="219085" y="33943"/>
                  </a:lnTo>
                  <a:lnTo>
                    <a:pt x="148114" y="219086"/>
                  </a:ln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0F35DC2A-0D9B-4D65-8542-D0FA9D861779}"/>
                </a:ext>
              </a:extLst>
            </p:cNvPr>
            <p:cNvSpPr/>
            <p:nvPr/>
          </p:nvSpPr>
          <p:spPr>
            <a:xfrm>
              <a:off x="22517609" y="3980753"/>
              <a:ext cx="169714" cy="228342"/>
            </a:xfrm>
            <a:custGeom>
              <a:avLst/>
              <a:gdLst>
                <a:gd name="connsiteX0" fmla="*/ 0 w 169714"/>
                <a:gd name="connsiteY0" fmla="*/ 67886 h 228342"/>
                <a:gd name="connsiteX1" fmla="*/ 95656 w 169714"/>
                <a:gd name="connsiteY1" fmla="*/ 0 h 228342"/>
                <a:gd name="connsiteX2" fmla="*/ 169714 w 169714"/>
                <a:gd name="connsiteY2" fmla="*/ 123429 h 228342"/>
                <a:gd name="connsiteX3" fmla="*/ 30857 w 169714"/>
                <a:gd name="connsiteY3" fmla="*/ 228343 h 228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714" h="228342">
                  <a:moveTo>
                    <a:pt x="0" y="67886"/>
                  </a:moveTo>
                  <a:lnTo>
                    <a:pt x="95656" y="0"/>
                  </a:lnTo>
                  <a:lnTo>
                    <a:pt x="169714" y="123429"/>
                  </a:lnTo>
                  <a:lnTo>
                    <a:pt x="30857" y="228343"/>
                  </a:ln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68DC607C-9846-439D-BD22-E7AFAEA38033}"/>
                </a:ext>
              </a:extLst>
            </p:cNvPr>
            <p:cNvSpPr/>
            <p:nvPr/>
          </p:nvSpPr>
          <p:spPr>
            <a:xfrm>
              <a:off x="22554636" y="2606915"/>
              <a:ext cx="1071843" cy="1558981"/>
            </a:xfrm>
            <a:custGeom>
              <a:avLst/>
              <a:gdLst>
                <a:gd name="connsiteX0" fmla="*/ 993600 w 1071843"/>
                <a:gd name="connsiteY0" fmla="*/ 6867 h 1558981"/>
                <a:gd name="connsiteX1" fmla="*/ 635658 w 1071843"/>
                <a:gd name="connsiteY1" fmla="*/ 361724 h 1558981"/>
                <a:gd name="connsiteX2" fmla="*/ 376458 w 1071843"/>
                <a:gd name="connsiteY2" fmla="*/ 873953 h 1558981"/>
                <a:gd name="connsiteX3" fmla="*/ 0 w 1071843"/>
                <a:gd name="connsiteY3" fmla="*/ 1383096 h 1558981"/>
                <a:gd name="connsiteX4" fmla="*/ 117259 w 1071843"/>
                <a:gd name="connsiteY4" fmla="*/ 1558981 h 1558981"/>
                <a:gd name="connsiteX5" fmla="*/ 589373 w 1071843"/>
                <a:gd name="connsiteY5" fmla="*/ 1083781 h 1558981"/>
                <a:gd name="connsiteX6" fmla="*/ 993600 w 1071843"/>
                <a:gd name="connsiteY6" fmla="*/ 6867 h 1558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1843" h="1558981">
                  <a:moveTo>
                    <a:pt x="993600" y="6867"/>
                  </a:moveTo>
                  <a:cubicBezTo>
                    <a:pt x="867087" y="-48676"/>
                    <a:pt x="700458" y="247553"/>
                    <a:pt x="635658" y="361724"/>
                  </a:cubicBezTo>
                  <a:cubicBezTo>
                    <a:pt x="577029" y="463553"/>
                    <a:pt x="376458" y="873953"/>
                    <a:pt x="376458" y="873953"/>
                  </a:cubicBezTo>
                  <a:lnTo>
                    <a:pt x="0" y="1383096"/>
                  </a:lnTo>
                  <a:lnTo>
                    <a:pt x="117259" y="1558981"/>
                  </a:lnTo>
                  <a:cubicBezTo>
                    <a:pt x="117259" y="1558981"/>
                    <a:pt x="521486" y="1179438"/>
                    <a:pt x="589373" y="1083781"/>
                  </a:cubicBezTo>
                  <a:cubicBezTo>
                    <a:pt x="718973" y="901724"/>
                    <a:pt x="1274402" y="133381"/>
                    <a:pt x="993600" y="6867"/>
                  </a:cubicBezTo>
                  <a:close/>
                </a:path>
              </a:pathLst>
            </a:custGeom>
            <a:solidFill>
              <a:srgbClr val="708686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1" name="图形 1">
              <a:extLst>
                <a:ext uri="{FF2B5EF4-FFF2-40B4-BE49-F238E27FC236}">
                  <a16:creationId xmlns:a16="http://schemas.microsoft.com/office/drawing/2014/main" id="{636E5E6F-BB8E-4105-96A8-ED034C0DB778}"/>
                </a:ext>
              </a:extLst>
            </p:cNvPr>
            <p:cNvGrpSpPr/>
            <p:nvPr/>
          </p:nvGrpSpPr>
          <p:grpSpPr>
            <a:xfrm>
              <a:off x="22684236" y="6233324"/>
              <a:ext cx="512229" cy="362046"/>
              <a:chOff x="22684236" y="6233324"/>
              <a:chExt cx="512229" cy="362046"/>
            </a:xfrm>
          </p:grpSpPr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B43CFA58-4B95-4419-9BD5-673A76C71266}"/>
                  </a:ext>
                </a:extLst>
              </p:cNvPr>
              <p:cNvSpPr/>
              <p:nvPr/>
            </p:nvSpPr>
            <p:spPr>
              <a:xfrm>
                <a:off x="23008237" y="6233324"/>
                <a:ext cx="185142" cy="240685"/>
              </a:xfrm>
              <a:custGeom>
                <a:avLst/>
                <a:gdLst>
                  <a:gd name="connsiteX0" fmla="*/ 166629 w 185142"/>
                  <a:gd name="connsiteY0" fmla="*/ 203657 h 240685"/>
                  <a:gd name="connsiteX1" fmla="*/ 185143 w 185142"/>
                  <a:gd name="connsiteY1" fmla="*/ 15429 h 240685"/>
                  <a:gd name="connsiteX2" fmla="*/ 3087 w 185142"/>
                  <a:gd name="connsiteY2" fmla="*/ 0 h 240685"/>
                  <a:gd name="connsiteX3" fmla="*/ 0 w 185142"/>
                  <a:gd name="connsiteY3" fmla="*/ 200571 h 240685"/>
                  <a:gd name="connsiteX4" fmla="*/ 151201 w 185142"/>
                  <a:gd name="connsiteY4" fmla="*/ 240686 h 240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142" h="240685">
                    <a:moveTo>
                      <a:pt x="166629" y="203657"/>
                    </a:moveTo>
                    <a:lnTo>
                      <a:pt x="185143" y="15429"/>
                    </a:lnTo>
                    <a:lnTo>
                      <a:pt x="3087" y="0"/>
                    </a:lnTo>
                    <a:lnTo>
                      <a:pt x="0" y="200571"/>
                    </a:lnTo>
                    <a:lnTo>
                      <a:pt x="151201" y="240686"/>
                    </a:ln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79AAC00F-5F99-4112-9423-F027CFF721E5}"/>
                  </a:ext>
                </a:extLst>
              </p:cNvPr>
              <p:cNvSpPr/>
              <p:nvPr/>
            </p:nvSpPr>
            <p:spPr>
              <a:xfrm>
                <a:off x="22684236" y="6375267"/>
                <a:ext cx="508472" cy="175885"/>
              </a:xfrm>
              <a:custGeom>
                <a:avLst/>
                <a:gdLst>
                  <a:gd name="connsiteX0" fmla="*/ 502971 w 508472"/>
                  <a:gd name="connsiteY0" fmla="*/ 61714 h 175885"/>
                  <a:gd name="connsiteX1" fmla="*/ 317828 w 508472"/>
                  <a:gd name="connsiteY1" fmla="*/ 0 h 175885"/>
                  <a:gd name="connsiteX2" fmla="*/ 175886 w 508472"/>
                  <a:gd name="connsiteY2" fmla="*/ 70972 h 175885"/>
                  <a:gd name="connsiteX3" fmla="*/ 0 w 508472"/>
                  <a:gd name="connsiteY3" fmla="*/ 135771 h 175885"/>
                  <a:gd name="connsiteX4" fmla="*/ 493714 w 508472"/>
                  <a:gd name="connsiteY4" fmla="*/ 175886 h 175885"/>
                  <a:gd name="connsiteX5" fmla="*/ 502971 w 508472"/>
                  <a:gd name="connsiteY5" fmla="*/ 61714 h 175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8472" h="175885">
                    <a:moveTo>
                      <a:pt x="502971" y="61714"/>
                    </a:moveTo>
                    <a:cubicBezTo>
                      <a:pt x="502971" y="61714"/>
                      <a:pt x="376458" y="70972"/>
                      <a:pt x="317828" y="0"/>
                    </a:cubicBezTo>
                    <a:cubicBezTo>
                      <a:pt x="317828" y="0"/>
                      <a:pt x="222172" y="64800"/>
                      <a:pt x="175886" y="70972"/>
                    </a:cubicBezTo>
                    <a:cubicBezTo>
                      <a:pt x="129600" y="77143"/>
                      <a:pt x="18515" y="64800"/>
                      <a:pt x="0" y="135771"/>
                    </a:cubicBezTo>
                    <a:lnTo>
                      <a:pt x="493714" y="175886"/>
                    </a:lnTo>
                    <a:cubicBezTo>
                      <a:pt x="496801" y="175886"/>
                      <a:pt x="518400" y="114171"/>
                      <a:pt x="502971" y="61714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83A99C48-121F-480D-8431-5CD00D258521}"/>
                  </a:ext>
                </a:extLst>
              </p:cNvPr>
              <p:cNvSpPr/>
              <p:nvPr/>
            </p:nvSpPr>
            <p:spPr>
              <a:xfrm rot="-5125320">
                <a:off x="22909486" y="6305745"/>
                <a:ext cx="46285" cy="493709"/>
              </a:xfrm>
              <a:custGeom>
                <a:avLst/>
                <a:gdLst>
                  <a:gd name="connsiteX0" fmla="*/ -1 w 46285"/>
                  <a:gd name="connsiteY0" fmla="*/ 0 h 493709"/>
                  <a:gd name="connsiteX1" fmla="*/ 46285 w 46285"/>
                  <a:gd name="connsiteY1" fmla="*/ 0 h 493709"/>
                  <a:gd name="connsiteX2" fmla="*/ 46285 w 46285"/>
                  <a:gd name="connsiteY2" fmla="*/ 493710 h 493709"/>
                  <a:gd name="connsiteX3" fmla="*/ -1 w 46285"/>
                  <a:gd name="connsiteY3" fmla="*/ 493710 h 493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285" h="493709">
                    <a:moveTo>
                      <a:pt x="-1" y="0"/>
                    </a:moveTo>
                    <a:lnTo>
                      <a:pt x="46285" y="0"/>
                    </a:lnTo>
                    <a:lnTo>
                      <a:pt x="46285" y="493710"/>
                    </a:lnTo>
                    <a:lnTo>
                      <a:pt x="-1" y="493710"/>
                    </a:ln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A445E05F-B913-46AF-9B17-90464B6DE2FD}"/>
                  </a:ext>
                </a:extLst>
              </p:cNvPr>
              <p:cNvSpPr/>
              <p:nvPr/>
            </p:nvSpPr>
            <p:spPr>
              <a:xfrm>
                <a:off x="22999751" y="6366782"/>
                <a:ext cx="196715" cy="76371"/>
              </a:xfrm>
              <a:custGeom>
                <a:avLst/>
                <a:gdLst>
                  <a:gd name="connsiteX0" fmla="*/ 178200 w 196715"/>
                  <a:gd name="connsiteY0" fmla="*/ 76371 h 76371"/>
                  <a:gd name="connsiteX1" fmla="*/ 2314 w 196715"/>
                  <a:gd name="connsiteY1" fmla="*/ 11572 h 76371"/>
                  <a:gd name="connsiteX2" fmla="*/ 2314 w 196715"/>
                  <a:gd name="connsiteY2" fmla="*/ 2314 h 76371"/>
                  <a:gd name="connsiteX3" fmla="*/ 11572 w 196715"/>
                  <a:gd name="connsiteY3" fmla="*/ 2314 h 76371"/>
                  <a:gd name="connsiteX4" fmla="*/ 190543 w 196715"/>
                  <a:gd name="connsiteY4" fmla="*/ 64029 h 76371"/>
                  <a:gd name="connsiteX5" fmla="*/ 196715 w 196715"/>
                  <a:gd name="connsiteY5" fmla="*/ 70200 h 76371"/>
                  <a:gd name="connsiteX6" fmla="*/ 190543 w 196715"/>
                  <a:gd name="connsiteY6" fmla="*/ 76371 h 76371"/>
                  <a:gd name="connsiteX7" fmla="*/ 178200 w 196715"/>
                  <a:gd name="connsiteY7" fmla="*/ 76371 h 76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6715" h="76371">
                    <a:moveTo>
                      <a:pt x="178200" y="76371"/>
                    </a:moveTo>
                    <a:cubicBezTo>
                      <a:pt x="147343" y="76371"/>
                      <a:pt x="57858" y="70200"/>
                      <a:pt x="2314" y="11572"/>
                    </a:cubicBez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1" y="-771"/>
                      <a:pt x="8486" y="-771"/>
                      <a:pt x="11572" y="2314"/>
                    </a:cubicBezTo>
                    <a:cubicBezTo>
                      <a:pt x="76372" y="70200"/>
                      <a:pt x="190543" y="64029"/>
                      <a:pt x="190543" y="64029"/>
                    </a:cubicBezTo>
                    <a:cubicBezTo>
                      <a:pt x="193628" y="64029"/>
                      <a:pt x="196715" y="67114"/>
                      <a:pt x="196715" y="70200"/>
                    </a:cubicBezTo>
                    <a:cubicBezTo>
                      <a:pt x="196715" y="73286"/>
                      <a:pt x="193628" y="76371"/>
                      <a:pt x="190543" y="76371"/>
                    </a:cubicBezTo>
                    <a:cubicBezTo>
                      <a:pt x="187457" y="76371"/>
                      <a:pt x="184372" y="76371"/>
                      <a:pt x="178200" y="7637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0476179A-6925-4FDD-8F82-68C9BD970613}"/>
                  </a:ext>
                </a:extLst>
              </p:cNvPr>
              <p:cNvSpPr/>
              <p:nvPr/>
            </p:nvSpPr>
            <p:spPr>
              <a:xfrm>
                <a:off x="22959637" y="6391467"/>
                <a:ext cx="38571" cy="42428"/>
              </a:xfrm>
              <a:custGeom>
                <a:avLst/>
                <a:gdLst>
                  <a:gd name="connsiteX0" fmla="*/ 30086 w 38571"/>
                  <a:gd name="connsiteY0" fmla="*/ 42428 h 42428"/>
                  <a:gd name="connsiteX1" fmla="*/ 26999 w 38571"/>
                  <a:gd name="connsiteY1" fmla="*/ 39343 h 42428"/>
                  <a:gd name="connsiteX2" fmla="*/ 2314 w 38571"/>
                  <a:gd name="connsiteY2" fmla="*/ 11571 h 42428"/>
                  <a:gd name="connsiteX3" fmla="*/ 2314 w 38571"/>
                  <a:gd name="connsiteY3" fmla="*/ 2314 h 42428"/>
                  <a:gd name="connsiteX4" fmla="*/ 11570 w 38571"/>
                  <a:gd name="connsiteY4" fmla="*/ 2314 h 42428"/>
                  <a:gd name="connsiteX5" fmla="*/ 36258 w 38571"/>
                  <a:gd name="connsiteY5" fmla="*/ 30086 h 42428"/>
                  <a:gd name="connsiteX6" fmla="*/ 36258 w 38571"/>
                  <a:gd name="connsiteY6" fmla="*/ 39343 h 42428"/>
                  <a:gd name="connsiteX7" fmla="*/ 30086 w 38571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571" h="42428">
                    <a:moveTo>
                      <a:pt x="30086" y="42428"/>
                    </a:moveTo>
                    <a:cubicBezTo>
                      <a:pt x="26999" y="42428"/>
                      <a:pt x="26999" y="42428"/>
                      <a:pt x="26999" y="39343"/>
                    </a:cubicBezTo>
                    <a:lnTo>
                      <a:pt x="2314" y="11571"/>
                    </a:ln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1" y="-771"/>
                      <a:pt x="8486" y="-771"/>
                      <a:pt x="11570" y="2314"/>
                    </a:cubicBezTo>
                    <a:lnTo>
                      <a:pt x="36258" y="30086"/>
                    </a:lnTo>
                    <a:cubicBezTo>
                      <a:pt x="39343" y="33172"/>
                      <a:pt x="39343" y="36257"/>
                      <a:pt x="36258" y="39343"/>
                    </a:cubicBezTo>
                    <a:cubicBezTo>
                      <a:pt x="33171" y="42428"/>
                      <a:pt x="33171" y="42428"/>
                      <a:pt x="30086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87215A2A-7511-4D65-886E-6A9B879F426A}"/>
                  </a:ext>
                </a:extLst>
              </p:cNvPr>
              <p:cNvSpPr/>
              <p:nvPr/>
            </p:nvSpPr>
            <p:spPr>
              <a:xfrm>
                <a:off x="22919523" y="6416153"/>
                <a:ext cx="38570" cy="42428"/>
              </a:xfrm>
              <a:custGeom>
                <a:avLst/>
                <a:gdLst>
                  <a:gd name="connsiteX0" fmla="*/ 30086 w 38570"/>
                  <a:gd name="connsiteY0" fmla="*/ 42428 h 42428"/>
                  <a:gd name="connsiteX1" fmla="*/ 26999 w 38570"/>
                  <a:gd name="connsiteY1" fmla="*/ 39343 h 42428"/>
                  <a:gd name="connsiteX2" fmla="*/ 2314 w 38570"/>
                  <a:gd name="connsiteY2" fmla="*/ 11571 h 42428"/>
                  <a:gd name="connsiteX3" fmla="*/ 2314 w 38570"/>
                  <a:gd name="connsiteY3" fmla="*/ 2314 h 42428"/>
                  <a:gd name="connsiteX4" fmla="*/ 11570 w 38570"/>
                  <a:gd name="connsiteY4" fmla="*/ 2314 h 42428"/>
                  <a:gd name="connsiteX5" fmla="*/ 36256 w 38570"/>
                  <a:gd name="connsiteY5" fmla="*/ 30086 h 42428"/>
                  <a:gd name="connsiteX6" fmla="*/ 36256 w 38570"/>
                  <a:gd name="connsiteY6" fmla="*/ 39343 h 42428"/>
                  <a:gd name="connsiteX7" fmla="*/ 30086 w 38570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570" h="42428">
                    <a:moveTo>
                      <a:pt x="30086" y="42428"/>
                    </a:moveTo>
                    <a:cubicBezTo>
                      <a:pt x="26999" y="42428"/>
                      <a:pt x="26999" y="42428"/>
                      <a:pt x="26999" y="39343"/>
                    </a:cubicBezTo>
                    <a:lnTo>
                      <a:pt x="2314" y="11571"/>
                    </a:ln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399" y="-771"/>
                      <a:pt x="8486" y="-771"/>
                      <a:pt x="11570" y="2314"/>
                    </a:cubicBezTo>
                    <a:lnTo>
                      <a:pt x="36256" y="30086"/>
                    </a:lnTo>
                    <a:cubicBezTo>
                      <a:pt x="39343" y="33171"/>
                      <a:pt x="39343" y="36257"/>
                      <a:pt x="36256" y="39343"/>
                    </a:cubicBezTo>
                    <a:cubicBezTo>
                      <a:pt x="33171" y="39343"/>
                      <a:pt x="33171" y="42428"/>
                      <a:pt x="30086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2" name="图形 1">
              <a:extLst>
                <a:ext uri="{FF2B5EF4-FFF2-40B4-BE49-F238E27FC236}">
                  <a16:creationId xmlns:a16="http://schemas.microsoft.com/office/drawing/2014/main" id="{356DAE5C-B00D-441F-A4C0-040509B84A6C}"/>
                </a:ext>
              </a:extLst>
            </p:cNvPr>
            <p:cNvGrpSpPr/>
            <p:nvPr/>
          </p:nvGrpSpPr>
          <p:grpSpPr>
            <a:xfrm>
              <a:off x="23804351" y="6279610"/>
              <a:ext cx="505028" cy="345600"/>
              <a:chOff x="23804351" y="6279610"/>
              <a:chExt cx="505028" cy="345600"/>
            </a:xfrm>
          </p:grpSpPr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0E02583D-A8EF-4FA0-970F-5D1A9DA7575E}"/>
                  </a:ext>
                </a:extLst>
              </p:cNvPr>
              <p:cNvSpPr/>
              <p:nvPr/>
            </p:nvSpPr>
            <p:spPr>
              <a:xfrm>
                <a:off x="24100580" y="6279610"/>
                <a:ext cx="185142" cy="225257"/>
              </a:xfrm>
              <a:custGeom>
                <a:avLst/>
                <a:gdLst>
                  <a:gd name="connsiteX0" fmla="*/ 185143 w 185142"/>
                  <a:gd name="connsiteY0" fmla="*/ 185143 h 225257"/>
                  <a:gd name="connsiteX1" fmla="*/ 185143 w 185142"/>
                  <a:gd name="connsiteY1" fmla="*/ 0 h 225257"/>
                  <a:gd name="connsiteX2" fmla="*/ 0 w 185142"/>
                  <a:gd name="connsiteY2" fmla="*/ 0 h 225257"/>
                  <a:gd name="connsiteX3" fmla="*/ 18514 w 185142"/>
                  <a:gd name="connsiteY3" fmla="*/ 197486 h 225257"/>
                  <a:gd name="connsiteX4" fmla="*/ 172799 w 185142"/>
                  <a:gd name="connsiteY4" fmla="*/ 225257 h 225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142" h="225257">
                    <a:moveTo>
                      <a:pt x="185143" y="185143"/>
                    </a:moveTo>
                    <a:lnTo>
                      <a:pt x="185143" y="0"/>
                    </a:lnTo>
                    <a:lnTo>
                      <a:pt x="0" y="0"/>
                    </a:lnTo>
                    <a:lnTo>
                      <a:pt x="18514" y="197486"/>
                    </a:lnTo>
                    <a:lnTo>
                      <a:pt x="172799" y="225257"/>
                    </a:ln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EFC3AECC-20B7-4CEE-BA10-A676F663A165}"/>
                  </a:ext>
                </a:extLst>
              </p:cNvPr>
              <p:cNvSpPr/>
              <p:nvPr/>
            </p:nvSpPr>
            <p:spPr>
              <a:xfrm>
                <a:off x="23807437" y="6418467"/>
                <a:ext cx="501942" cy="160457"/>
              </a:xfrm>
              <a:custGeom>
                <a:avLst/>
                <a:gdLst>
                  <a:gd name="connsiteX0" fmla="*/ 493714 w 501942"/>
                  <a:gd name="connsiteY0" fmla="*/ 46286 h 160457"/>
                  <a:gd name="connsiteX1" fmla="*/ 305485 w 501942"/>
                  <a:gd name="connsiteY1" fmla="*/ 0 h 160457"/>
                  <a:gd name="connsiteX2" fmla="*/ 169714 w 501942"/>
                  <a:gd name="connsiteY2" fmla="*/ 80229 h 160457"/>
                  <a:gd name="connsiteX3" fmla="*/ 0 w 501942"/>
                  <a:gd name="connsiteY3" fmla="*/ 160458 h 160457"/>
                  <a:gd name="connsiteX4" fmla="*/ 493714 w 501942"/>
                  <a:gd name="connsiteY4" fmla="*/ 160458 h 160457"/>
                  <a:gd name="connsiteX5" fmla="*/ 493714 w 501942"/>
                  <a:gd name="connsiteY5" fmla="*/ 46286 h 160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942" h="160457">
                    <a:moveTo>
                      <a:pt x="493714" y="46286"/>
                    </a:moveTo>
                    <a:cubicBezTo>
                      <a:pt x="493714" y="46286"/>
                      <a:pt x="367199" y="64800"/>
                      <a:pt x="305485" y="0"/>
                    </a:cubicBezTo>
                    <a:cubicBezTo>
                      <a:pt x="305485" y="0"/>
                      <a:pt x="216000" y="70972"/>
                      <a:pt x="169714" y="80229"/>
                    </a:cubicBezTo>
                    <a:cubicBezTo>
                      <a:pt x="123429" y="89486"/>
                      <a:pt x="12342" y="86400"/>
                      <a:pt x="0" y="160458"/>
                    </a:cubicBezTo>
                    <a:lnTo>
                      <a:pt x="493714" y="160458"/>
                    </a:lnTo>
                    <a:cubicBezTo>
                      <a:pt x="493714" y="160458"/>
                      <a:pt x="512228" y="98743"/>
                      <a:pt x="493714" y="46286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A2440F0D-5072-44F3-AA52-CE60B30D73BA}"/>
                  </a:ext>
                </a:extLst>
              </p:cNvPr>
              <p:cNvSpPr/>
              <p:nvPr/>
            </p:nvSpPr>
            <p:spPr>
              <a:xfrm>
                <a:off x="23804351" y="6578925"/>
                <a:ext cx="493714" cy="46285"/>
              </a:xfrm>
              <a:custGeom>
                <a:avLst/>
                <a:gdLst>
                  <a:gd name="connsiteX0" fmla="*/ -1 w 493714"/>
                  <a:gd name="connsiteY0" fmla="*/ 0 h 46285"/>
                  <a:gd name="connsiteX1" fmla="*/ 493714 w 493714"/>
                  <a:gd name="connsiteY1" fmla="*/ 0 h 46285"/>
                  <a:gd name="connsiteX2" fmla="*/ 493714 w 493714"/>
                  <a:gd name="connsiteY2" fmla="*/ 46286 h 46285"/>
                  <a:gd name="connsiteX3" fmla="*/ -1 w 493714"/>
                  <a:gd name="connsiteY3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714" h="46285">
                    <a:moveTo>
                      <a:pt x="-1" y="0"/>
                    </a:moveTo>
                    <a:lnTo>
                      <a:pt x="493714" y="0"/>
                    </a:lnTo>
                    <a:lnTo>
                      <a:pt x="493714" y="46286"/>
                    </a:lnTo>
                    <a:lnTo>
                      <a:pt x="-1" y="46286"/>
                    </a:ln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88032DE4-5B18-435D-8CDD-D5CAEB713FA5}"/>
                  </a:ext>
                </a:extLst>
              </p:cNvPr>
              <p:cNvSpPr/>
              <p:nvPr/>
            </p:nvSpPr>
            <p:spPr>
              <a:xfrm>
                <a:off x="24104437" y="6409982"/>
                <a:ext cx="202886" cy="64028"/>
              </a:xfrm>
              <a:custGeom>
                <a:avLst/>
                <a:gdLst>
                  <a:gd name="connsiteX0" fmla="*/ 159686 w 202886"/>
                  <a:gd name="connsiteY0" fmla="*/ 64028 h 64028"/>
                  <a:gd name="connsiteX1" fmla="*/ 2315 w 202886"/>
                  <a:gd name="connsiteY1" fmla="*/ 11571 h 64028"/>
                  <a:gd name="connsiteX2" fmla="*/ 2315 w 202886"/>
                  <a:gd name="connsiteY2" fmla="*/ 2314 h 64028"/>
                  <a:gd name="connsiteX3" fmla="*/ 11572 w 202886"/>
                  <a:gd name="connsiteY3" fmla="*/ 2314 h 64028"/>
                  <a:gd name="connsiteX4" fmla="*/ 196715 w 202886"/>
                  <a:gd name="connsiteY4" fmla="*/ 48600 h 64028"/>
                  <a:gd name="connsiteX5" fmla="*/ 202887 w 202886"/>
                  <a:gd name="connsiteY5" fmla="*/ 54771 h 64028"/>
                  <a:gd name="connsiteX6" fmla="*/ 196715 w 202886"/>
                  <a:gd name="connsiteY6" fmla="*/ 60943 h 64028"/>
                  <a:gd name="connsiteX7" fmla="*/ 159686 w 202886"/>
                  <a:gd name="connsiteY7" fmla="*/ 64028 h 6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886" h="64028">
                    <a:moveTo>
                      <a:pt x="159686" y="64028"/>
                    </a:moveTo>
                    <a:cubicBezTo>
                      <a:pt x="119572" y="64028"/>
                      <a:pt x="51686" y="57857"/>
                      <a:pt x="2315" y="11571"/>
                    </a:cubicBezTo>
                    <a:cubicBezTo>
                      <a:pt x="-772" y="8485"/>
                      <a:pt x="-772" y="5400"/>
                      <a:pt x="2315" y="2314"/>
                    </a:cubicBezTo>
                    <a:cubicBezTo>
                      <a:pt x="5400" y="-771"/>
                      <a:pt x="8485" y="-771"/>
                      <a:pt x="11572" y="2314"/>
                    </a:cubicBezTo>
                    <a:cubicBezTo>
                      <a:pt x="79458" y="64028"/>
                      <a:pt x="193628" y="48600"/>
                      <a:pt x="196715" y="48600"/>
                    </a:cubicBezTo>
                    <a:cubicBezTo>
                      <a:pt x="199800" y="48600"/>
                      <a:pt x="202887" y="51686"/>
                      <a:pt x="202887" y="54771"/>
                    </a:cubicBezTo>
                    <a:cubicBezTo>
                      <a:pt x="202887" y="57857"/>
                      <a:pt x="199800" y="60943"/>
                      <a:pt x="196715" y="60943"/>
                    </a:cubicBezTo>
                    <a:cubicBezTo>
                      <a:pt x="193628" y="60943"/>
                      <a:pt x="181286" y="64028"/>
                      <a:pt x="159686" y="640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273F0E83-2DA0-4F6B-9180-4985ABD0AA3E}"/>
                  </a:ext>
                </a:extLst>
              </p:cNvPr>
              <p:cNvSpPr/>
              <p:nvPr/>
            </p:nvSpPr>
            <p:spPr>
              <a:xfrm>
                <a:off x="24067408" y="6434667"/>
                <a:ext cx="41657" cy="42428"/>
              </a:xfrm>
              <a:custGeom>
                <a:avLst/>
                <a:gdLst>
                  <a:gd name="connsiteX0" fmla="*/ 33172 w 41657"/>
                  <a:gd name="connsiteY0" fmla="*/ 42429 h 42428"/>
                  <a:gd name="connsiteX1" fmla="*/ 30085 w 41657"/>
                  <a:gd name="connsiteY1" fmla="*/ 39343 h 42428"/>
                  <a:gd name="connsiteX2" fmla="*/ 2315 w 41657"/>
                  <a:gd name="connsiteY2" fmla="*/ 11572 h 42428"/>
                  <a:gd name="connsiteX3" fmla="*/ 2315 w 41657"/>
                  <a:gd name="connsiteY3" fmla="*/ 2314 h 42428"/>
                  <a:gd name="connsiteX4" fmla="*/ 11572 w 41657"/>
                  <a:gd name="connsiteY4" fmla="*/ 2314 h 42428"/>
                  <a:gd name="connsiteX5" fmla="*/ 39344 w 41657"/>
                  <a:gd name="connsiteY5" fmla="*/ 30086 h 42428"/>
                  <a:gd name="connsiteX6" fmla="*/ 39344 w 41657"/>
                  <a:gd name="connsiteY6" fmla="*/ 39343 h 42428"/>
                  <a:gd name="connsiteX7" fmla="*/ 33172 w 41657"/>
                  <a:gd name="connsiteY7" fmla="*/ 42429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7" h="42428">
                    <a:moveTo>
                      <a:pt x="33172" y="42429"/>
                    </a:moveTo>
                    <a:cubicBezTo>
                      <a:pt x="33172" y="42429"/>
                      <a:pt x="30085" y="42429"/>
                      <a:pt x="30085" y="39343"/>
                    </a:cubicBezTo>
                    <a:lnTo>
                      <a:pt x="2315" y="11572"/>
                    </a:lnTo>
                    <a:cubicBezTo>
                      <a:pt x="-772" y="8486"/>
                      <a:pt x="-772" y="5400"/>
                      <a:pt x="2315" y="2314"/>
                    </a:cubicBezTo>
                    <a:cubicBezTo>
                      <a:pt x="5400" y="-771"/>
                      <a:pt x="8487" y="-771"/>
                      <a:pt x="11572" y="2314"/>
                    </a:cubicBezTo>
                    <a:lnTo>
                      <a:pt x="39344" y="30086"/>
                    </a:lnTo>
                    <a:cubicBezTo>
                      <a:pt x="42429" y="33172"/>
                      <a:pt x="42429" y="36257"/>
                      <a:pt x="39344" y="39343"/>
                    </a:cubicBezTo>
                    <a:cubicBezTo>
                      <a:pt x="36257" y="42429"/>
                      <a:pt x="36257" y="42429"/>
                      <a:pt x="33172" y="424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1F6E0304-EC78-4F87-A250-5861B236C020}"/>
                  </a:ext>
                </a:extLst>
              </p:cNvPr>
              <p:cNvSpPr/>
              <p:nvPr/>
            </p:nvSpPr>
            <p:spPr>
              <a:xfrm>
                <a:off x="24033465" y="6462439"/>
                <a:ext cx="38571" cy="42428"/>
              </a:xfrm>
              <a:custGeom>
                <a:avLst/>
                <a:gdLst>
                  <a:gd name="connsiteX0" fmla="*/ 30086 w 38571"/>
                  <a:gd name="connsiteY0" fmla="*/ 42428 h 42428"/>
                  <a:gd name="connsiteX1" fmla="*/ 27001 w 38571"/>
                  <a:gd name="connsiteY1" fmla="*/ 39343 h 42428"/>
                  <a:gd name="connsiteX2" fmla="*/ 2314 w 38571"/>
                  <a:gd name="connsiteY2" fmla="*/ 11571 h 42428"/>
                  <a:gd name="connsiteX3" fmla="*/ 2314 w 38571"/>
                  <a:gd name="connsiteY3" fmla="*/ 2314 h 42428"/>
                  <a:gd name="connsiteX4" fmla="*/ 11572 w 38571"/>
                  <a:gd name="connsiteY4" fmla="*/ 2314 h 42428"/>
                  <a:gd name="connsiteX5" fmla="*/ 36258 w 38571"/>
                  <a:gd name="connsiteY5" fmla="*/ 30086 h 42428"/>
                  <a:gd name="connsiteX6" fmla="*/ 36258 w 38571"/>
                  <a:gd name="connsiteY6" fmla="*/ 39343 h 42428"/>
                  <a:gd name="connsiteX7" fmla="*/ 30086 w 38571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571" h="42428">
                    <a:moveTo>
                      <a:pt x="30086" y="42428"/>
                    </a:moveTo>
                    <a:cubicBezTo>
                      <a:pt x="30086" y="42428"/>
                      <a:pt x="27001" y="42428"/>
                      <a:pt x="27001" y="39343"/>
                    </a:cubicBezTo>
                    <a:lnTo>
                      <a:pt x="2314" y="11571"/>
                    </a:ln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1" y="-771"/>
                      <a:pt x="8486" y="-771"/>
                      <a:pt x="11572" y="2314"/>
                    </a:cubicBezTo>
                    <a:lnTo>
                      <a:pt x="36258" y="30086"/>
                    </a:lnTo>
                    <a:cubicBezTo>
                      <a:pt x="39343" y="33171"/>
                      <a:pt x="39343" y="36257"/>
                      <a:pt x="36258" y="39343"/>
                    </a:cubicBezTo>
                    <a:cubicBezTo>
                      <a:pt x="33171" y="42428"/>
                      <a:pt x="30086" y="42428"/>
                      <a:pt x="30086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9DD925A1-7792-4C2B-8B13-8BA042B96915}"/>
                </a:ext>
              </a:extLst>
            </p:cNvPr>
            <p:cNvSpPr/>
            <p:nvPr/>
          </p:nvSpPr>
          <p:spPr>
            <a:xfrm>
              <a:off x="22940350" y="4039382"/>
              <a:ext cx="1464147" cy="2311199"/>
            </a:xfrm>
            <a:custGeom>
              <a:avLst/>
              <a:gdLst>
                <a:gd name="connsiteX0" fmla="*/ 416571 w 1464147"/>
                <a:gd name="connsiteY0" fmla="*/ 18514 h 2311199"/>
                <a:gd name="connsiteX1" fmla="*/ 92571 w 1464147"/>
                <a:gd name="connsiteY1" fmla="*/ 1141714 h 2311199"/>
                <a:gd name="connsiteX2" fmla="*/ 0 w 1464147"/>
                <a:gd name="connsiteY2" fmla="*/ 2240228 h 2311199"/>
                <a:gd name="connsiteX3" fmla="*/ 283886 w 1464147"/>
                <a:gd name="connsiteY3" fmla="*/ 2298857 h 2311199"/>
                <a:gd name="connsiteX4" fmla="*/ 515315 w 1464147"/>
                <a:gd name="connsiteY4" fmla="*/ 1351543 h 2311199"/>
                <a:gd name="connsiteX5" fmla="*/ 919544 w 1464147"/>
                <a:gd name="connsiteY5" fmla="*/ 509143 h 2311199"/>
                <a:gd name="connsiteX6" fmla="*/ 965830 w 1464147"/>
                <a:gd name="connsiteY6" fmla="*/ 1493486 h 2311199"/>
                <a:gd name="connsiteX7" fmla="*/ 1113944 w 1464147"/>
                <a:gd name="connsiteY7" fmla="*/ 2301943 h 2311199"/>
                <a:gd name="connsiteX8" fmla="*/ 1404000 w 1464147"/>
                <a:gd name="connsiteY8" fmla="*/ 2311200 h 2311199"/>
                <a:gd name="connsiteX9" fmla="*/ 1373143 w 1464147"/>
                <a:gd name="connsiteY9" fmla="*/ 1474971 h 2311199"/>
                <a:gd name="connsiteX10" fmla="*/ 1453373 w 1464147"/>
                <a:gd name="connsiteY10" fmla="*/ 0 h 2311199"/>
                <a:gd name="connsiteX11" fmla="*/ 416571 w 1464147"/>
                <a:gd name="connsiteY11" fmla="*/ 18514 h 2311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4147" h="2311199">
                  <a:moveTo>
                    <a:pt x="416571" y="18514"/>
                  </a:moveTo>
                  <a:lnTo>
                    <a:pt x="92571" y="1141714"/>
                  </a:lnTo>
                  <a:lnTo>
                    <a:pt x="0" y="2240228"/>
                  </a:lnTo>
                  <a:lnTo>
                    <a:pt x="283886" y="2298857"/>
                  </a:lnTo>
                  <a:lnTo>
                    <a:pt x="515315" y="1351543"/>
                  </a:lnTo>
                  <a:cubicBezTo>
                    <a:pt x="515315" y="1351543"/>
                    <a:pt x="910286" y="524571"/>
                    <a:pt x="919544" y="509143"/>
                  </a:cubicBezTo>
                  <a:cubicBezTo>
                    <a:pt x="934973" y="478286"/>
                    <a:pt x="965830" y="1493486"/>
                    <a:pt x="965830" y="1493486"/>
                  </a:cubicBezTo>
                  <a:lnTo>
                    <a:pt x="1113944" y="2301943"/>
                  </a:lnTo>
                  <a:lnTo>
                    <a:pt x="1404000" y="2311200"/>
                  </a:lnTo>
                  <a:cubicBezTo>
                    <a:pt x="1404000" y="2311200"/>
                    <a:pt x="1366973" y="1576800"/>
                    <a:pt x="1373143" y="1474971"/>
                  </a:cubicBezTo>
                  <a:cubicBezTo>
                    <a:pt x="1382402" y="1320686"/>
                    <a:pt x="1499658" y="98743"/>
                    <a:pt x="1453373" y="0"/>
                  </a:cubicBezTo>
                  <a:cubicBezTo>
                    <a:pt x="743658" y="30857"/>
                    <a:pt x="416571" y="18514"/>
                    <a:pt x="416571" y="18514"/>
                  </a:cubicBezTo>
                  <a:close/>
                </a:path>
              </a:pathLst>
            </a:custGeom>
            <a:solidFill>
              <a:srgbClr val="F1DDBA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D2692A5D-834E-41DA-B16E-2157E424E9E6}"/>
                </a:ext>
              </a:extLst>
            </p:cNvPr>
            <p:cNvSpPr/>
            <p:nvPr/>
          </p:nvSpPr>
          <p:spPr>
            <a:xfrm>
              <a:off x="23795094" y="4187496"/>
              <a:ext cx="70971" cy="367200"/>
            </a:xfrm>
            <a:custGeom>
              <a:avLst/>
              <a:gdLst>
                <a:gd name="connsiteX0" fmla="*/ 64801 w 70971"/>
                <a:gd name="connsiteY0" fmla="*/ 367200 h 367200"/>
                <a:gd name="connsiteX1" fmla="*/ 58629 w 70971"/>
                <a:gd name="connsiteY1" fmla="*/ 364114 h 367200"/>
                <a:gd name="connsiteX2" fmla="*/ 0 w 70971"/>
                <a:gd name="connsiteY2" fmla="*/ 6172 h 367200"/>
                <a:gd name="connsiteX3" fmla="*/ 6172 w 70971"/>
                <a:gd name="connsiteY3" fmla="*/ 0 h 367200"/>
                <a:gd name="connsiteX4" fmla="*/ 12344 w 70971"/>
                <a:gd name="connsiteY4" fmla="*/ 6172 h 367200"/>
                <a:gd name="connsiteX5" fmla="*/ 70971 w 70971"/>
                <a:gd name="connsiteY5" fmla="*/ 361029 h 367200"/>
                <a:gd name="connsiteX6" fmla="*/ 64801 w 70971"/>
                <a:gd name="connsiteY6" fmla="*/ 367200 h 367200"/>
                <a:gd name="connsiteX7" fmla="*/ 64801 w 70971"/>
                <a:gd name="connsiteY7" fmla="*/ 367200 h 3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71" h="367200">
                  <a:moveTo>
                    <a:pt x="64801" y="367200"/>
                  </a:moveTo>
                  <a:cubicBezTo>
                    <a:pt x="61714" y="367200"/>
                    <a:pt x="61714" y="367200"/>
                    <a:pt x="58629" y="364114"/>
                  </a:cubicBezTo>
                  <a:cubicBezTo>
                    <a:pt x="9257" y="246857"/>
                    <a:pt x="0" y="15429"/>
                    <a:pt x="0" y="6172"/>
                  </a:cubicBezTo>
                  <a:cubicBezTo>
                    <a:pt x="0" y="3086"/>
                    <a:pt x="3087" y="0"/>
                    <a:pt x="6172" y="0"/>
                  </a:cubicBezTo>
                  <a:cubicBezTo>
                    <a:pt x="9257" y="0"/>
                    <a:pt x="12344" y="3086"/>
                    <a:pt x="12344" y="6172"/>
                  </a:cubicBezTo>
                  <a:cubicBezTo>
                    <a:pt x="12344" y="9257"/>
                    <a:pt x="21600" y="246857"/>
                    <a:pt x="70971" y="361029"/>
                  </a:cubicBezTo>
                  <a:cubicBezTo>
                    <a:pt x="70971" y="361029"/>
                    <a:pt x="67886" y="364114"/>
                    <a:pt x="64801" y="367200"/>
                  </a:cubicBezTo>
                  <a:cubicBezTo>
                    <a:pt x="64801" y="364114"/>
                    <a:pt x="64801" y="367200"/>
                    <a:pt x="64801" y="367200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6345A0C4-FB45-4FD5-905D-5423E6E61A0F}"/>
                </a:ext>
              </a:extLst>
            </p:cNvPr>
            <p:cNvSpPr/>
            <p:nvPr/>
          </p:nvSpPr>
          <p:spPr>
            <a:xfrm>
              <a:off x="23680922" y="4116525"/>
              <a:ext cx="157372" cy="357942"/>
            </a:xfrm>
            <a:custGeom>
              <a:avLst/>
              <a:gdLst>
                <a:gd name="connsiteX0" fmla="*/ 148116 w 157372"/>
                <a:gd name="connsiteY0" fmla="*/ 357943 h 357942"/>
                <a:gd name="connsiteX1" fmla="*/ 145029 w 157372"/>
                <a:gd name="connsiteY1" fmla="*/ 357943 h 357942"/>
                <a:gd name="connsiteX2" fmla="*/ 33944 w 157372"/>
                <a:gd name="connsiteY2" fmla="*/ 277714 h 357942"/>
                <a:gd name="connsiteX3" fmla="*/ 0 w 157372"/>
                <a:gd name="connsiteY3" fmla="*/ 6171 h 357942"/>
                <a:gd name="connsiteX4" fmla="*/ 6172 w 157372"/>
                <a:gd name="connsiteY4" fmla="*/ 0 h 357942"/>
                <a:gd name="connsiteX5" fmla="*/ 12344 w 157372"/>
                <a:gd name="connsiteY5" fmla="*/ 6171 h 357942"/>
                <a:gd name="connsiteX6" fmla="*/ 46286 w 157372"/>
                <a:gd name="connsiteY6" fmla="*/ 271543 h 357942"/>
                <a:gd name="connsiteX7" fmla="*/ 154286 w 157372"/>
                <a:gd name="connsiteY7" fmla="*/ 348686 h 357942"/>
                <a:gd name="connsiteX8" fmla="*/ 157373 w 157372"/>
                <a:gd name="connsiteY8" fmla="*/ 357943 h 357942"/>
                <a:gd name="connsiteX9" fmla="*/ 148116 w 157372"/>
                <a:gd name="connsiteY9" fmla="*/ 357943 h 35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2" h="357942">
                  <a:moveTo>
                    <a:pt x="148116" y="357943"/>
                  </a:moveTo>
                  <a:cubicBezTo>
                    <a:pt x="148116" y="357943"/>
                    <a:pt x="145029" y="357943"/>
                    <a:pt x="145029" y="357943"/>
                  </a:cubicBezTo>
                  <a:cubicBezTo>
                    <a:pt x="135772" y="351771"/>
                    <a:pt x="46286" y="293143"/>
                    <a:pt x="33944" y="277714"/>
                  </a:cubicBezTo>
                  <a:cubicBezTo>
                    <a:pt x="21600" y="262286"/>
                    <a:pt x="3087" y="49371"/>
                    <a:pt x="0" y="6171"/>
                  </a:cubicBezTo>
                  <a:cubicBezTo>
                    <a:pt x="0" y="3086"/>
                    <a:pt x="3087" y="0"/>
                    <a:pt x="6172" y="0"/>
                  </a:cubicBezTo>
                  <a:cubicBezTo>
                    <a:pt x="9259" y="0"/>
                    <a:pt x="12344" y="3086"/>
                    <a:pt x="12344" y="6171"/>
                  </a:cubicBezTo>
                  <a:cubicBezTo>
                    <a:pt x="21600" y="101828"/>
                    <a:pt x="37029" y="259200"/>
                    <a:pt x="46286" y="271543"/>
                  </a:cubicBezTo>
                  <a:cubicBezTo>
                    <a:pt x="55544" y="280800"/>
                    <a:pt x="114172" y="324000"/>
                    <a:pt x="154286" y="348686"/>
                  </a:cubicBezTo>
                  <a:cubicBezTo>
                    <a:pt x="157373" y="351771"/>
                    <a:pt x="157373" y="354857"/>
                    <a:pt x="157373" y="357943"/>
                  </a:cubicBezTo>
                  <a:cubicBezTo>
                    <a:pt x="151201" y="354857"/>
                    <a:pt x="151201" y="357943"/>
                    <a:pt x="148116" y="357943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C33BB228-C4D1-4475-9C8A-B5948A9C0D82}"/>
                </a:ext>
              </a:extLst>
            </p:cNvPr>
            <p:cNvSpPr/>
            <p:nvPr/>
          </p:nvSpPr>
          <p:spPr>
            <a:xfrm>
              <a:off x="23334496" y="2518125"/>
              <a:ext cx="1083912" cy="1576613"/>
            </a:xfrm>
            <a:custGeom>
              <a:avLst/>
              <a:gdLst>
                <a:gd name="connsiteX0" fmla="*/ 664256 w 1083912"/>
                <a:gd name="connsiteY0" fmla="*/ 0 h 1576613"/>
                <a:gd name="connsiteX1" fmla="*/ 417399 w 1083912"/>
                <a:gd name="connsiteY1" fmla="*/ 9257 h 1576613"/>
                <a:gd name="connsiteX2" fmla="*/ 87227 w 1083912"/>
                <a:gd name="connsiteY2" fmla="*/ 123429 h 1576613"/>
                <a:gd name="connsiteX3" fmla="*/ 827 w 1083912"/>
                <a:gd name="connsiteY3" fmla="*/ 1545943 h 1576613"/>
                <a:gd name="connsiteX4" fmla="*/ 1083913 w 1083912"/>
                <a:gd name="connsiteY4" fmla="*/ 1521257 h 1576613"/>
                <a:gd name="connsiteX5" fmla="*/ 966656 w 1083912"/>
                <a:gd name="connsiteY5" fmla="*/ 95657 h 1576613"/>
                <a:gd name="connsiteX6" fmla="*/ 664256 w 1083912"/>
                <a:gd name="connsiteY6" fmla="*/ 0 h 1576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3912" h="1576613">
                  <a:moveTo>
                    <a:pt x="664256" y="0"/>
                  </a:moveTo>
                  <a:cubicBezTo>
                    <a:pt x="664256" y="0"/>
                    <a:pt x="534656" y="67886"/>
                    <a:pt x="417399" y="9257"/>
                  </a:cubicBezTo>
                  <a:cubicBezTo>
                    <a:pt x="417399" y="9257"/>
                    <a:pt x="130426" y="64800"/>
                    <a:pt x="87227" y="123429"/>
                  </a:cubicBezTo>
                  <a:cubicBezTo>
                    <a:pt x="62542" y="157371"/>
                    <a:pt x="-8431" y="1478057"/>
                    <a:pt x="827" y="1545943"/>
                  </a:cubicBezTo>
                  <a:cubicBezTo>
                    <a:pt x="827" y="1545943"/>
                    <a:pt x="497627" y="1629257"/>
                    <a:pt x="1083913" y="1521257"/>
                  </a:cubicBezTo>
                  <a:cubicBezTo>
                    <a:pt x="1083913" y="1160229"/>
                    <a:pt x="1009855" y="126514"/>
                    <a:pt x="966656" y="95657"/>
                  </a:cubicBezTo>
                  <a:cubicBezTo>
                    <a:pt x="898770" y="46286"/>
                    <a:pt x="664256" y="0"/>
                    <a:pt x="664256" y="0"/>
                  </a:cubicBezTo>
                  <a:close/>
                </a:path>
              </a:pathLst>
            </a:custGeom>
            <a:solidFill>
              <a:srgbClr val="708686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A40DAB87-9F08-4E31-9905-283BA02CC16D}"/>
                </a:ext>
              </a:extLst>
            </p:cNvPr>
            <p:cNvSpPr/>
            <p:nvPr/>
          </p:nvSpPr>
          <p:spPr>
            <a:xfrm>
              <a:off x="23372350" y="2637189"/>
              <a:ext cx="53736" cy="751106"/>
            </a:xfrm>
            <a:custGeom>
              <a:avLst/>
              <a:gdLst>
                <a:gd name="connsiteX0" fmla="*/ 6172 w 53736"/>
                <a:gd name="connsiteY0" fmla="*/ 751107 h 751106"/>
                <a:gd name="connsiteX1" fmla="*/ 6172 w 53736"/>
                <a:gd name="connsiteY1" fmla="*/ 751107 h 751106"/>
                <a:gd name="connsiteX2" fmla="*/ 0 w 53736"/>
                <a:gd name="connsiteY2" fmla="*/ 744935 h 751106"/>
                <a:gd name="connsiteX3" fmla="*/ 43201 w 53736"/>
                <a:gd name="connsiteY3" fmla="*/ 4364 h 751106"/>
                <a:gd name="connsiteX4" fmla="*/ 49373 w 53736"/>
                <a:gd name="connsiteY4" fmla="*/ 1278 h 751106"/>
                <a:gd name="connsiteX5" fmla="*/ 52458 w 53736"/>
                <a:gd name="connsiteY5" fmla="*/ 7450 h 751106"/>
                <a:gd name="connsiteX6" fmla="*/ 9259 w 53736"/>
                <a:gd name="connsiteY6" fmla="*/ 744935 h 751106"/>
                <a:gd name="connsiteX7" fmla="*/ 6172 w 53736"/>
                <a:gd name="connsiteY7" fmla="*/ 751107 h 751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736" h="751106">
                  <a:moveTo>
                    <a:pt x="6172" y="751107"/>
                  </a:moveTo>
                  <a:cubicBezTo>
                    <a:pt x="6172" y="751107"/>
                    <a:pt x="6172" y="751107"/>
                    <a:pt x="6172" y="751107"/>
                  </a:cubicBezTo>
                  <a:cubicBezTo>
                    <a:pt x="3087" y="751107"/>
                    <a:pt x="0" y="748021"/>
                    <a:pt x="0" y="744935"/>
                  </a:cubicBezTo>
                  <a:cubicBezTo>
                    <a:pt x="0" y="717164"/>
                    <a:pt x="37029" y="44478"/>
                    <a:pt x="43201" y="4364"/>
                  </a:cubicBezTo>
                  <a:cubicBezTo>
                    <a:pt x="43201" y="1278"/>
                    <a:pt x="46286" y="-1808"/>
                    <a:pt x="49373" y="1278"/>
                  </a:cubicBezTo>
                  <a:cubicBezTo>
                    <a:pt x="52458" y="1278"/>
                    <a:pt x="55544" y="4364"/>
                    <a:pt x="52458" y="7450"/>
                  </a:cubicBezTo>
                  <a:cubicBezTo>
                    <a:pt x="43201" y="47564"/>
                    <a:pt x="9259" y="738764"/>
                    <a:pt x="9259" y="744935"/>
                  </a:cubicBezTo>
                  <a:cubicBezTo>
                    <a:pt x="12344" y="748021"/>
                    <a:pt x="9259" y="751107"/>
                    <a:pt x="6172" y="751107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5FD22D50-BC4E-459A-981E-F0F1C4599C44}"/>
                </a:ext>
              </a:extLst>
            </p:cNvPr>
            <p:cNvSpPr/>
            <p:nvPr/>
          </p:nvSpPr>
          <p:spPr>
            <a:xfrm>
              <a:off x="22264433" y="4036372"/>
              <a:ext cx="297609" cy="220978"/>
            </a:xfrm>
            <a:custGeom>
              <a:avLst/>
              <a:gdLst>
                <a:gd name="connsiteX0" fmla="*/ 160604 w 297609"/>
                <a:gd name="connsiteY0" fmla="*/ 212838 h 220978"/>
                <a:gd name="connsiteX1" fmla="*/ 293290 w 297609"/>
                <a:gd name="connsiteY1" fmla="*/ 169638 h 220978"/>
                <a:gd name="connsiteX2" fmla="*/ 277861 w 297609"/>
                <a:gd name="connsiteY2" fmla="*/ 27695 h 220978"/>
                <a:gd name="connsiteX3" fmla="*/ 3232 w 297609"/>
                <a:gd name="connsiteY3" fmla="*/ 67809 h 220978"/>
                <a:gd name="connsiteX4" fmla="*/ 18660 w 297609"/>
                <a:gd name="connsiteY4" fmla="*/ 114095 h 220978"/>
                <a:gd name="connsiteX5" fmla="*/ 31004 w 297609"/>
                <a:gd name="connsiteY5" fmla="*/ 169638 h 220978"/>
                <a:gd name="connsiteX6" fmla="*/ 61861 w 297609"/>
                <a:gd name="connsiteY6" fmla="*/ 191238 h 220978"/>
                <a:gd name="connsiteX7" fmla="*/ 114319 w 297609"/>
                <a:gd name="connsiteY7" fmla="*/ 212838 h 220978"/>
                <a:gd name="connsiteX8" fmla="*/ 160604 w 297609"/>
                <a:gd name="connsiteY8" fmla="*/ 212838 h 220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7609" h="220978">
                  <a:moveTo>
                    <a:pt x="160604" y="212838"/>
                  </a:moveTo>
                  <a:cubicBezTo>
                    <a:pt x="203803" y="197409"/>
                    <a:pt x="271689" y="212838"/>
                    <a:pt x="293290" y="169638"/>
                  </a:cubicBezTo>
                  <a:cubicBezTo>
                    <a:pt x="308718" y="141866"/>
                    <a:pt x="277861" y="27695"/>
                    <a:pt x="277861" y="27695"/>
                  </a:cubicBezTo>
                  <a:cubicBezTo>
                    <a:pt x="222319" y="-40191"/>
                    <a:pt x="61861" y="33866"/>
                    <a:pt x="3232" y="67809"/>
                  </a:cubicBezTo>
                  <a:cubicBezTo>
                    <a:pt x="-6025" y="73981"/>
                    <a:pt x="6319" y="114095"/>
                    <a:pt x="18660" y="114095"/>
                  </a:cubicBezTo>
                  <a:cubicBezTo>
                    <a:pt x="40261" y="111009"/>
                    <a:pt x="24832" y="160381"/>
                    <a:pt x="31004" y="169638"/>
                  </a:cubicBezTo>
                  <a:cubicBezTo>
                    <a:pt x="40261" y="178895"/>
                    <a:pt x="61861" y="191238"/>
                    <a:pt x="61861" y="191238"/>
                  </a:cubicBezTo>
                  <a:cubicBezTo>
                    <a:pt x="77290" y="203581"/>
                    <a:pt x="108147" y="206666"/>
                    <a:pt x="114319" y="212838"/>
                  </a:cubicBezTo>
                  <a:cubicBezTo>
                    <a:pt x="126660" y="225181"/>
                    <a:pt x="135917" y="222095"/>
                    <a:pt x="160604" y="212838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9" name="图形 1">
              <a:extLst>
                <a:ext uri="{FF2B5EF4-FFF2-40B4-BE49-F238E27FC236}">
                  <a16:creationId xmlns:a16="http://schemas.microsoft.com/office/drawing/2014/main" id="{C7245C59-90AB-41E1-9171-FA7AB4B1D884}"/>
                </a:ext>
              </a:extLst>
            </p:cNvPr>
            <p:cNvGrpSpPr/>
            <p:nvPr/>
          </p:nvGrpSpPr>
          <p:grpSpPr>
            <a:xfrm>
              <a:off x="23736466" y="2693613"/>
              <a:ext cx="83312" cy="1182225"/>
              <a:chOff x="23736466" y="2693613"/>
              <a:chExt cx="83312" cy="1182225"/>
            </a:xfrm>
            <a:solidFill>
              <a:srgbClr val="38333D"/>
            </a:solidFill>
          </p:grpSpPr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6E20749D-929B-4314-9FEB-4C001EBC6C87}"/>
                  </a:ext>
                </a:extLst>
              </p:cNvPr>
              <p:cNvSpPr/>
              <p:nvPr/>
            </p:nvSpPr>
            <p:spPr>
              <a:xfrm>
                <a:off x="23764237" y="2693613"/>
                <a:ext cx="55542" cy="55939"/>
              </a:xfrm>
              <a:custGeom>
                <a:avLst/>
                <a:gdLst>
                  <a:gd name="connsiteX0" fmla="*/ 55542 w 55542"/>
                  <a:gd name="connsiteY0" fmla="*/ 28169 h 55939"/>
                  <a:gd name="connsiteX1" fmla="*/ 27772 w 55542"/>
                  <a:gd name="connsiteY1" fmla="*/ 55940 h 55939"/>
                  <a:gd name="connsiteX2" fmla="*/ 0 w 55542"/>
                  <a:gd name="connsiteY2" fmla="*/ 28169 h 55939"/>
                  <a:gd name="connsiteX3" fmla="*/ 27772 w 55542"/>
                  <a:gd name="connsiteY3" fmla="*/ 397 h 55939"/>
                  <a:gd name="connsiteX4" fmla="*/ 55542 w 55542"/>
                  <a:gd name="connsiteY4" fmla="*/ 28169 h 55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542" h="55939">
                    <a:moveTo>
                      <a:pt x="55542" y="28169"/>
                    </a:moveTo>
                    <a:cubicBezTo>
                      <a:pt x="55542" y="43597"/>
                      <a:pt x="43201" y="55940"/>
                      <a:pt x="27772" y="55940"/>
                    </a:cubicBezTo>
                    <a:cubicBezTo>
                      <a:pt x="12344" y="55940"/>
                      <a:pt x="0" y="43597"/>
                      <a:pt x="0" y="28169"/>
                    </a:cubicBezTo>
                    <a:cubicBezTo>
                      <a:pt x="0" y="12740"/>
                      <a:pt x="12344" y="397"/>
                      <a:pt x="27772" y="397"/>
                    </a:cubicBezTo>
                    <a:cubicBezTo>
                      <a:pt x="43201" y="-2689"/>
                      <a:pt x="55542" y="12740"/>
                      <a:pt x="55542" y="28169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1D6282D1-5A7D-4A7E-AE8A-2DCD79370E4E}"/>
                  </a:ext>
                </a:extLst>
              </p:cNvPr>
              <p:cNvSpPr/>
              <p:nvPr/>
            </p:nvSpPr>
            <p:spPr>
              <a:xfrm>
                <a:off x="23736466" y="3135267"/>
                <a:ext cx="55542" cy="55542"/>
              </a:xfrm>
              <a:custGeom>
                <a:avLst/>
                <a:gdLst>
                  <a:gd name="connsiteX0" fmla="*/ 55542 w 55542"/>
                  <a:gd name="connsiteY0" fmla="*/ 27771 h 55542"/>
                  <a:gd name="connsiteX1" fmla="*/ 27770 w 55542"/>
                  <a:gd name="connsiteY1" fmla="*/ 55543 h 55542"/>
                  <a:gd name="connsiteX2" fmla="*/ 0 w 55542"/>
                  <a:gd name="connsiteY2" fmla="*/ 27771 h 55542"/>
                  <a:gd name="connsiteX3" fmla="*/ 27770 w 55542"/>
                  <a:gd name="connsiteY3" fmla="*/ 0 h 55542"/>
                  <a:gd name="connsiteX4" fmla="*/ 55542 w 55542"/>
                  <a:gd name="connsiteY4" fmla="*/ 27771 h 55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542" h="55542">
                    <a:moveTo>
                      <a:pt x="55542" y="27771"/>
                    </a:moveTo>
                    <a:cubicBezTo>
                      <a:pt x="55542" y="43200"/>
                      <a:pt x="43199" y="55543"/>
                      <a:pt x="27770" y="55543"/>
                    </a:cubicBezTo>
                    <a:cubicBezTo>
                      <a:pt x="12342" y="55543"/>
                      <a:pt x="0" y="43200"/>
                      <a:pt x="0" y="27771"/>
                    </a:cubicBezTo>
                    <a:cubicBezTo>
                      <a:pt x="0" y="12343"/>
                      <a:pt x="12342" y="0"/>
                      <a:pt x="27770" y="0"/>
                    </a:cubicBezTo>
                    <a:cubicBezTo>
                      <a:pt x="43199" y="0"/>
                      <a:pt x="55542" y="12343"/>
                      <a:pt x="55542" y="27771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C7DF75D2-12BD-476E-9A80-AA8DFB51BBFF}"/>
                  </a:ext>
                </a:extLst>
              </p:cNvPr>
              <p:cNvSpPr/>
              <p:nvPr/>
            </p:nvSpPr>
            <p:spPr>
              <a:xfrm>
                <a:off x="23736466" y="3820296"/>
                <a:ext cx="55542" cy="55542"/>
              </a:xfrm>
              <a:custGeom>
                <a:avLst/>
                <a:gdLst>
                  <a:gd name="connsiteX0" fmla="*/ 55542 w 55542"/>
                  <a:gd name="connsiteY0" fmla="*/ 27771 h 55542"/>
                  <a:gd name="connsiteX1" fmla="*/ 27770 w 55542"/>
                  <a:gd name="connsiteY1" fmla="*/ 55543 h 55542"/>
                  <a:gd name="connsiteX2" fmla="*/ 0 w 55542"/>
                  <a:gd name="connsiteY2" fmla="*/ 27771 h 55542"/>
                  <a:gd name="connsiteX3" fmla="*/ 27770 w 55542"/>
                  <a:gd name="connsiteY3" fmla="*/ 0 h 55542"/>
                  <a:gd name="connsiteX4" fmla="*/ 55542 w 55542"/>
                  <a:gd name="connsiteY4" fmla="*/ 27771 h 55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542" h="55542">
                    <a:moveTo>
                      <a:pt x="55542" y="27771"/>
                    </a:moveTo>
                    <a:cubicBezTo>
                      <a:pt x="55542" y="43200"/>
                      <a:pt x="43199" y="55543"/>
                      <a:pt x="27770" y="55543"/>
                    </a:cubicBezTo>
                    <a:cubicBezTo>
                      <a:pt x="12342" y="55543"/>
                      <a:pt x="0" y="43200"/>
                      <a:pt x="0" y="27771"/>
                    </a:cubicBezTo>
                    <a:cubicBezTo>
                      <a:pt x="0" y="12343"/>
                      <a:pt x="12342" y="0"/>
                      <a:pt x="27770" y="0"/>
                    </a:cubicBezTo>
                    <a:cubicBezTo>
                      <a:pt x="43199" y="0"/>
                      <a:pt x="55542" y="12343"/>
                      <a:pt x="55542" y="27771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D7B47EDC-C7DB-49BF-AD72-9BD40D4E01A2}"/>
                  </a:ext>
                </a:extLst>
              </p:cNvPr>
              <p:cNvSpPr/>
              <p:nvPr/>
            </p:nvSpPr>
            <p:spPr>
              <a:xfrm>
                <a:off x="23742636" y="2903839"/>
                <a:ext cx="55544" cy="55542"/>
              </a:xfrm>
              <a:custGeom>
                <a:avLst/>
                <a:gdLst>
                  <a:gd name="connsiteX0" fmla="*/ 55544 w 55544"/>
                  <a:gd name="connsiteY0" fmla="*/ 27771 h 55542"/>
                  <a:gd name="connsiteX1" fmla="*/ 27772 w 55544"/>
                  <a:gd name="connsiteY1" fmla="*/ 55543 h 55542"/>
                  <a:gd name="connsiteX2" fmla="*/ 0 w 55544"/>
                  <a:gd name="connsiteY2" fmla="*/ 27771 h 55542"/>
                  <a:gd name="connsiteX3" fmla="*/ 27772 w 55544"/>
                  <a:gd name="connsiteY3" fmla="*/ 0 h 55542"/>
                  <a:gd name="connsiteX4" fmla="*/ 55544 w 55544"/>
                  <a:gd name="connsiteY4" fmla="*/ 27771 h 55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544" h="55542">
                    <a:moveTo>
                      <a:pt x="55544" y="27771"/>
                    </a:moveTo>
                    <a:cubicBezTo>
                      <a:pt x="55544" y="43200"/>
                      <a:pt x="43201" y="55543"/>
                      <a:pt x="27772" y="55543"/>
                    </a:cubicBezTo>
                    <a:cubicBezTo>
                      <a:pt x="12344" y="55543"/>
                      <a:pt x="0" y="43200"/>
                      <a:pt x="0" y="27771"/>
                    </a:cubicBezTo>
                    <a:cubicBezTo>
                      <a:pt x="0" y="12343"/>
                      <a:pt x="12344" y="0"/>
                      <a:pt x="27772" y="0"/>
                    </a:cubicBezTo>
                    <a:cubicBezTo>
                      <a:pt x="43201" y="0"/>
                      <a:pt x="55544" y="12343"/>
                      <a:pt x="55544" y="27771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8AA7D41E-55E4-419B-97D8-ACE0716430D9}"/>
                  </a:ext>
                </a:extLst>
              </p:cNvPr>
              <p:cNvSpPr/>
              <p:nvPr/>
            </p:nvSpPr>
            <p:spPr>
              <a:xfrm>
                <a:off x="23736466" y="3601210"/>
                <a:ext cx="55542" cy="55542"/>
              </a:xfrm>
              <a:custGeom>
                <a:avLst/>
                <a:gdLst>
                  <a:gd name="connsiteX0" fmla="*/ 55542 w 55542"/>
                  <a:gd name="connsiteY0" fmla="*/ 27771 h 55542"/>
                  <a:gd name="connsiteX1" fmla="*/ 27770 w 55542"/>
                  <a:gd name="connsiteY1" fmla="*/ 55543 h 55542"/>
                  <a:gd name="connsiteX2" fmla="*/ 0 w 55542"/>
                  <a:gd name="connsiteY2" fmla="*/ 27771 h 55542"/>
                  <a:gd name="connsiteX3" fmla="*/ 27770 w 55542"/>
                  <a:gd name="connsiteY3" fmla="*/ 0 h 55542"/>
                  <a:gd name="connsiteX4" fmla="*/ 55542 w 55542"/>
                  <a:gd name="connsiteY4" fmla="*/ 27771 h 55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542" h="55542">
                    <a:moveTo>
                      <a:pt x="55542" y="27771"/>
                    </a:moveTo>
                    <a:cubicBezTo>
                      <a:pt x="55542" y="43200"/>
                      <a:pt x="43199" y="55543"/>
                      <a:pt x="27770" y="55543"/>
                    </a:cubicBezTo>
                    <a:cubicBezTo>
                      <a:pt x="12342" y="55543"/>
                      <a:pt x="0" y="43200"/>
                      <a:pt x="0" y="27771"/>
                    </a:cubicBezTo>
                    <a:cubicBezTo>
                      <a:pt x="0" y="12343"/>
                      <a:pt x="12342" y="0"/>
                      <a:pt x="27770" y="0"/>
                    </a:cubicBezTo>
                    <a:cubicBezTo>
                      <a:pt x="43199" y="0"/>
                      <a:pt x="55542" y="12343"/>
                      <a:pt x="55542" y="27771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005EE5BD-D1DB-4AC1-A24A-F5956FE3192B}"/>
                  </a:ext>
                </a:extLst>
              </p:cNvPr>
              <p:cNvSpPr/>
              <p:nvPr/>
            </p:nvSpPr>
            <p:spPr>
              <a:xfrm>
                <a:off x="23736466" y="3369384"/>
                <a:ext cx="55542" cy="55940"/>
              </a:xfrm>
              <a:custGeom>
                <a:avLst/>
                <a:gdLst>
                  <a:gd name="connsiteX0" fmla="*/ 55542 w 55542"/>
                  <a:gd name="connsiteY0" fmla="*/ 28169 h 55940"/>
                  <a:gd name="connsiteX1" fmla="*/ 27770 w 55542"/>
                  <a:gd name="connsiteY1" fmla="*/ 55940 h 55940"/>
                  <a:gd name="connsiteX2" fmla="*/ 0 w 55542"/>
                  <a:gd name="connsiteY2" fmla="*/ 28169 h 55940"/>
                  <a:gd name="connsiteX3" fmla="*/ 27770 w 55542"/>
                  <a:gd name="connsiteY3" fmla="*/ 397 h 55940"/>
                  <a:gd name="connsiteX4" fmla="*/ 55542 w 55542"/>
                  <a:gd name="connsiteY4" fmla="*/ 28169 h 55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542" h="55940">
                    <a:moveTo>
                      <a:pt x="55542" y="28169"/>
                    </a:moveTo>
                    <a:cubicBezTo>
                      <a:pt x="55542" y="43597"/>
                      <a:pt x="43199" y="55940"/>
                      <a:pt x="27770" y="55940"/>
                    </a:cubicBezTo>
                    <a:cubicBezTo>
                      <a:pt x="12342" y="55940"/>
                      <a:pt x="0" y="43597"/>
                      <a:pt x="0" y="28169"/>
                    </a:cubicBezTo>
                    <a:cubicBezTo>
                      <a:pt x="0" y="12740"/>
                      <a:pt x="12342" y="397"/>
                      <a:pt x="27770" y="397"/>
                    </a:cubicBezTo>
                    <a:cubicBezTo>
                      <a:pt x="43199" y="-2689"/>
                      <a:pt x="55542" y="12740"/>
                      <a:pt x="55542" y="28169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E86576E5-5F29-412A-AA40-A3497A2C5B6D}"/>
                </a:ext>
              </a:extLst>
            </p:cNvPr>
            <p:cNvSpPr/>
            <p:nvPr/>
          </p:nvSpPr>
          <p:spPr>
            <a:xfrm>
              <a:off x="23745723" y="2345324"/>
              <a:ext cx="253028" cy="227427"/>
            </a:xfrm>
            <a:custGeom>
              <a:avLst/>
              <a:gdLst>
                <a:gd name="connsiteX0" fmla="*/ 0 w 253028"/>
                <a:gd name="connsiteY0" fmla="*/ 40114 h 227427"/>
                <a:gd name="connsiteX1" fmla="*/ 6172 w 253028"/>
                <a:gd name="connsiteY1" fmla="*/ 182057 h 227427"/>
                <a:gd name="connsiteX2" fmla="*/ 253029 w 253028"/>
                <a:gd name="connsiteY2" fmla="*/ 172800 h 227427"/>
                <a:gd name="connsiteX3" fmla="*/ 237600 w 253028"/>
                <a:gd name="connsiteY3" fmla="*/ 0 h 227427"/>
                <a:gd name="connsiteX4" fmla="*/ 0 w 253028"/>
                <a:gd name="connsiteY4" fmla="*/ 40114 h 22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028" h="227427">
                  <a:moveTo>
                    <a:pt x="0" y="40114"/>
                  </a:moveTo>
                  <a:cubicBezTo>
                    <a:pt x="0" y="40114"/>
                    <a:pt x="6172" y="108000"/>
                    <a:pt x="6172" y="182057"/>
                  </a:cubicBezTo>
                  <a:cubicBezTo>
                    <a:pt x="6172" y="182057"/>
                    <a:pt x="101828" y="290057"/>
                    <a:pt x="253029" y="172800"/>
                  </a:cubicBezTo>
                  <a:cubicBezTo>
                    <a:pt x="253029" y="111086"/>
                    <a:pt x="240685" y="64800"/>
                    <a:pt x="237600" y="0"/>
                  </a:cubicBezTo>
                  <a:cubicBezTo>
                    <a:pt x="237600" y="0"/>
                    <a:pt x="52458" y="52457"/>
                    <a:pt x="0" y="40114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1" name="图形 1">
              <a:extLst>
                <a:ext uri="{FF2B5EF4-FFF2-40B4-BE49-F238E27FC236}">
                  <a16:creationId xmlns:a16="http://schemas.microsoft.com/office/drawing/2014/main" id="{8CFE7202-9ACD-420E-A83A-991BEF68F99F}"/>
                </a:ext>
              </a:extLst>
            </p:cNvPr>
            <p:cNvGrpSpPr/>
            <p:nvPr/>
          </p:nvGrpSpPr>
          <p:grpSpPr>
            <a:xfrm>
              <a:off x="22240674" y="3951705"/>
              <a:ext cx="267676" cy="371562"/>
              <a:chOff x="22240674" y="3951705"/>
              <a:chExt cx="267676" cy="371562"/>
            </a:xfrm>
          </p:grpSpPr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A3BD8412-BF67-44C7-BF46-A134D2328FF6}"/>
                  </a:ext>
                </a:extLst>
              </p:cNvPr>
              <p:cNvSpPr/>
              <p:nvPr/>
            </p:nvSpPr>
            <p:spPr>
              <a:xfrm>
                <a:off x="22240674" y="3951705"/>
                <a:ext cx="267676" cy="368476"/>
              </a:xfrm>
              <a:custGeom>
                <a:avLst/>
                <a:gdLst>
                  <a:gd name="connsiteX0" fmla="*/ 54763 w 267676"/>
                  <a:gd name="connsiteY0" fmla="*/ 275905 h 368476"/>
                  <a:gd name="connsiteX1" fmla="*/ 26991 w 267676"/>
                  <a:gd name="connsiteY1" fmla="*/ 195676 h 368476"/>
                  <a:gd name="connsiteX2" fmla="*/ 8477 w 267676"/>
                  <a:gd name="connsiteY2" fmla="*/ 62991 h 368476"/>
                  <a:gd name="connsiteX3" fmla="*/ 85620 w 267676"/>
                  <a:gd name="connsiteY3" fmla="*/ 1276 h 368476"/>
                  <a:gd name="connsiteX4" fmla="*/ 88705 w 267676"/>
                  <a:gd name="connsiteY4" fmla="*/ 4362 h 368476"/>
                  <a:gd name="connsiteX5" fmla="*/ 91792 w 267676"/>
                  <a:gd name="connsiteY5" fmla="*/ 4362 h 368476"/>
                  <a:gd name="connsiteX6" fmla="*/ 267676 w 267676"/>
                  <a:gd name="connsiteY6" fmla="*/ 130876 h 368476"/>
                  <a:gd name="connsiteX7" fmla="*/ 252248 w 267676"/>
                  <a:gd name="connsiteY7" fmla="*/ 146305 h 368476"/>
                  <a:gd name="connsiteX8" fmla="*/ 162763 w 267676"/>
                  <a:gd name="connsiteY8" fmla="*/ 96933 h 368476"/>
                  <a:gd name="connsiteX9" fmla="*/ 249163 w 267676"/>
                  <a:gd name="connsiteY9" fmla="*/ 275905 h 368476"/>
                  <a:gd name="connsiteX10" fmla="*/ 230649 w 267676"/>
                  <a:gd name="connsiteY10" fmla="*/ 306762 h 368476"/>
                  <a:gd name="connsiteX11" fmla="*/ 202877 w 267676"/>
                  <a:gd name="connsiteY11" fmla="*/ 266648 h 368476"/>
                  <a:gd name="connsiteX12" fmla="*/ 168935 w 267676"/>
                  <a:gd name="connsiteY12" fmla="*/ 211105 h 368476"/>
                  <a:gd name="connsiteX13" fmla="*/ 187448 w 267676"/>
                  <a:gd name="connsiteY13" fmla="*/ 291334 h 368476"/>
                  <a:gd name="connsiteX14" fmla="*/ 196705 w 267676"/>
                  <a:gd name="connsiteY14" fmla="*/ 349962 h 368476"/>
                  <a:gd name="connsiteX15" fmla="*/ 172020 w 267676"/>
                  <a:gd name="connsiteY15" fmla="*/ 368476 h 368476"/>
                  <a:gd name="connsiteX16" fmla="*/ 141163 w 267676"/>
                  <a:gd name="connsiteY16" fmla="*/ 349962 h 368476"/>
                  <a:gd name="connsiteX17" fmla="*/ 141163 w 267676"/>
                  <a:gd name="connsiteY17" fmla="*/ 353048 h 368476"/>
                  <a:gd name="connsiteX18" fmla="*/ 134991 w 267676"/>
                  <a:gd name="connsiteY18" fmla="*/ 356134 h 368476"/>
                  <a:gd name="connsiteX19" fmla="*/ 101049 w 267676"/>
                  <a:gd name="connsiteY19" fmla="*/ 316019 h 368476"/>
                  <a:gd name="connsiteX20" fmla="*/ 91792 w 267676"/>
                  <a:gd name="connsiteY20" fmla="*/ 288248 h 368476"/>
                  <a:gd name="connsiteX21" fmla="*/ 91792 w 267676"/>
                  <a:gd name="connsiteY21" fmla="*/ 294419 h 368476"/>
                  <a:gd name="connsiteX22" fmla="*/ 73276 w 267676"/>
                  <a:gd name="connsiteY22" fmla="*/ 309848 h 368476"/>
                  <a:gd name="connsiteX23" fmla="*/ 54763 w 267676"/>
                  <a:gd name="connsiteY23" fmla="*/ 275905 h 368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67676" h="368476">
                    <a:moveTo>
                      <a:pt x="54763" y="275905"/>
                    </a:moveTo>
                    <a:cubicBezTo>
                      <a:pt x="45506" y="248134"/>
                      <a:pt x="36248" y="223448"/>
                      <a:pt x="26991" y="195676"/>
                    </a:cubicBezTo>
                    <a:cubicBezTo>
                      <a:pt x="11562" y="152476"/>
                      <a:pt x="-13123" y="109276"/>
                      <a:pt x="8477" y="62991"/>
                    </a:cubicBezTo>
                    <a:cubicBezTo>
                      <a:pt x="23906" y="35219"/>
                      <a:pt x="45506" y="-7981"/>
                      <a:pt x="85620" y="1276"/>
                    </a:cubicBezTo>
                    <a:cubicBezTo>
                      <a:pt x="88705" y="1276"/>
                      <a:pt x="88705" y="4362"/>
                      <a:pt x="88705" y="4362"/>
                    </a:cubicBezTo>
                    <a:cubicBezTo>
                      <a:pt x="88705" y="4362"/>
                      <a:pt x="88705" y="4362"/>
                      <a:pt x="91792" y="4362"/>
                    </a:cubicBezTo>
                    <a:cubicBezTo>
                      <a:pt x="178192" y="7448"/>
                      <a:pt x="258419" y="69162"/>
                      <a:pt x="267676" y="130876"/>
                    </a:cubicBezTo>
                    <a:cubicBezTo>
                      <a:pt x="267676" y="137048"/>
                      <a:pt x="258419" y="146305"/>
                      <a:pt x="252248" y="146305"/>
                    </a:cubicBezTo>
                    <a:cubicBezTo>
                      <a:pt x="221390" y="130876"/>
                      <a:pt x="199792" y="90762"/>
                      <a:pt x="162763" y="96933"/>
                    </a:cubicBezTo>
                    <a:cubicBezTo>
                      <a:pt x="187448" y="158648"/>
                      <a:pt x="239906" y="208019"/>
                      <a:pt x="249163" y="275905"/>
                    </a:cubicBezTo>
                    <a:cubicBezTo>
                      <a:pt x="252248" y="288248"/>
                      <a:pt x="252248" y="316019"/>
                      <a:pt x="230649" y="306762"/>
                    </a:cubicBezTo>
                    <a:cubicBezTo>
                      <a:pt x="218305" y="300591"/>
                      <a:pt x="209049" y="278991"/>
                      <a:pt x="202877" y="266648"/>
                    </a:cubicBezTo>
                    <a:cubicBezTo>
                      <a:pt x="190533" y="248134"/>
                      <a:pt x="181276" y="229619"/>
                      <a:pt x="168935" y="211105"/>
                    </a:cubicBezTo>
                    <a:cubicBezTo>
                      <a:pt x="175105" y="238876"/>
                      <a:pt x="181276" y="263562"/>
                      <a:pt x="187448" y="291334"/>
                    </a:cubicBezTo>
                    <a:cubicBezTo>
                      <a:pt x="190533" y="309848"/>
                      <a:pt x="199792" y="331448"/>
                      <a:pt x="196705" y="349962"/>
                    </a:cubicBezTo>
                    <a:cubicBezTo>
                      <a:pt x="193620" y="362305"/>
                      <a:pt x="184363" y="368476"/>
                      <a:pt x="172020" y="368476"/>
                    </a:cubicBezTo>
                    <a:cubicBezTo>
                      <a:pt x="159676" y="368476"/>
                      <a:pt x="150419" y="359219"/>
                      <a:pt x="141163" y="349962"/>
                    </a:cubicBezTo>
                    <a:cubicBezTo>
                      <a:pt x="141163" y="349962"/>
                      <a:pt x="141163" y="353048"/>
                      <a:pt x="141163" y="353048"/>
                    </a:cubicBezTo>
                    <a:cubicBezTo>
                      <a:pt x="141163" y="356134"/>
                      <a:pt x="138078" y="356134"/>
                      <a:pt x="134991" y="356134"/>
                    </a:cubicBezTo>
                    <a:cubicBezTo>
                      <a:pt x="116477" y="349962"/>
                      <a:pt x="107220" y="334534"/>
                      <a:pt x="101049" y="316019"/>
                    </a:cubicBezTo>
                    <a:cubicBezTo>
                      <a:pt x="97962" y="306762"/>
                      <a:pt x="94877" y="297505"/>
                      <a:pt x="91792" y="288248"/>
                    </a:cubicBezTo>
                    <a:cubicBezTo>
                      <a:pt x="91792" y="291334"/>
                      <a:pt x="91792" y="294419"/>
                      <a:pt x="91792" y="294419"/>
                    </a:cubicBezTo>
                    <a:cubicBezTo>
                      <a:pt x="88705" y="303676"/>
                      <a:pt x="85620" y="309848"/>
                      <a:pt x="73276" y="309848"/>
                    </a:cubicBezTo>
                    <a:cubicBezTo>
                      <a:pt x="64020" y="306762"/>
                      <a:pt x="57848" y="288248"/>
                      <a:pt x="54763" y="275905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DD3F16AB-E990-4CB7-BF7D-D90734EB24DC}"/>
                  </a:ext>
                </a:extLst>
              </p:cNvPr>
              <p:cNvSpPr/>
              <p:nvPr/>
            </p:nvSpPr>
            <p:spPr>
              <a:xfrm>
                <a:off x="22309587" y="4025761"/>
                <a:ext cx="72249" cy="38306"/>
              </a:xfrm>
              <a:custGeom>
                <a:avLst/>
                <a:gdLst>
                  <a:gd name="connsiteX0" fmla="*/ 53736 w 72249"/>
                  <a:gd name="connsiteY0" fmla="*/ 38307 h 38306"/>
                  <a:gd name="connsiteX1" fmla="*/ 1279 w 72249"/>
                  <a:gd name="connsiteY1" fmla="*/ 10535 h 38306"/>
                  <a:gd name="connsiteX2" fmla="*/ 4364 w 72249"/>
                  <a:gd name="connsiteY2" fmla="*/ 1278 h 38306"/>
                  <a:gd name="connsiteX3" fmla="*/ 13620 w 72249"/>
                  <a:gd name="connsiteY3" fmla="*/ 4364 h 38306"/>
                  <a:gd name="connsiteX4" fmla="*/ 66078 w 72249"/>
                  <a:gd name="connsiteY4" fmla="*/ 22878 h 38306"/>
                  <a:gd name="connsiteX5" fmla="*/ 72250 w 72249"/>
                  <a:gd name="connsiteY5" fmla="*/ 29050 h 38306"/>
                  <a:gd name="connsiteX6" fmla="*/ 66078 w 72249"/>
                  <a:gd name="connsiteY6" fmla="*/ 35221 h 38306"/>
                  <a:gd name="connsiteX7" fmla="*/ 53736 w 72249"/>
                  <a:gd name="connsiteY7" fmla="*/ 38307 h 38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2249" h="38306">
                    <a:moveTo>
                      <a:pt x="53736" y="38307"/>
                    </a:moveTo>
                    <a:cubicBezTo>
                      <a:pt x="38308" y="38307"/>
                      <a:pt x="16707" y="35221"/>
                      <a:pt x="1279" y="10535"/>
                    </a:cubicBezTo>
                    <a:cubicBezTo>
                      <a:pt x="-1808" y="7449"/>
                      <a:pt x="1279" y="4364"/>
                      <a:pt x="4364" y="1278"/>
                    </a:cubicBezTo>
                    <a:cubicBezTo>
                      <a:pt x="7450" y="-1808"/>
                      <a:pt x="10535" y="1278"/>
                      <a:pt x="13620" y="4364"/>
                    </a:cubicBezTo>
                    <a:cubicBezTo>
                      <a:pt x="29049" y="32135"/>
                      <a:pt x="62993" y="25964"/>
                      <a:pt x="66078" y="22878"/>
                    </a:cubicBezTo>
                    <a:cubicBezTo>
                      <a:pt x="69165" y="22878"/>
                      <a:pt x="72250" y="22878"/>
                      <a:pt x="72250" y="29050"/>
                    </a:cubicBezTo>
                    <a:cubicBezTo>
                      <a:pt x="72250" y="32135"/>
                      <a:pt x="72250" y="35221"/>
                      <a:pt x="66078" y="35221"/>
                    </a:cubicBezTo>
                    <a:cubicBezTo>
                      <a:pt x="66078" y="35221"/>
                      <a:pt x="59906" y="38307"/>
                      <a:pt x="53736" y="3830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1964361F-7276-4567-A2DB-08A064FA16FB}"/>
                  </a:ext>
                </a:extLst>
              </p:cNvPr>
              <p:cNvSpPr/>
              <p:nvPr/>
            </p:nvSpPr>
            <p:spPr>
              <a:xfrm>
                <a:off x="22350980" y="4159724"/>
                <a:ext cx="121714" cy="163542"/>
              </a:xfrm>
              <a:custGeom>
                <a:avLst/>
                <a:gdLst>
                  <a:gd name="connsiteX0" fmla="*/ 67886 w 121714"/>
                  <a:gd name="connsiteY0" fmla="*/ 163543 h 163542"/>
                  <a:gd name="connsiteX1" fmla="*/ 64799 w 121714"/>
                  <a:gd name="connsiteY1" fmla="*/ 163543 h 163542"/>
                  <a:gd name="connsiteX2" fmla="*/ 37029 w 121714"/>
                  <a:gd name="connsiteY2" fmla="*/ 141943 h 163542"/>
                  <a:gd name="connsiteX3" fmla="*/ 0 w 121714"/>
                  <a:gd name="connsiteY3" fmla="*/ 33943 h 163542"/>
                  <a:gd name="connsiteX4" fmla="*/ 3085 w 121714"/>
                  <a:gd name="connsiteY4" fmla="*/ 27771 h 163542"/>
                  <a:gd name="connsiteX5" fmla="*/ 9257 w 121714"/>
                  <a:gd name="connsiteY5" fmla="*/ 30857 h 163542"/>
                  <a:gd name="connsiteX6" fmla="*/ 46286 w 121714"/>
                  <a:gd name="connsiteY6" fmla="*/ 138857 h 163542"/>
                  <a:gd name="connsiteX7" fmla="*/ 64799 w 121714"/>
                  <a:gd name="connsiteY7" fmla="*/ 154286 h 163542"/>
                  <a:gd name="connsiteX8" fmla="*/ 80228 w 121714"/>
                  <a:gd name="connsiteY8" fmla="*/ 148114 h 163542"/>
                  <a:gd name="connsiteX9" fmla="*/ 52458 w 121714"/>
                  <a:gd name="connsiteY9" fmla="*/ 6172 h 163542"/>
                  <a:gd name="connsiteX10" fmla="*/ 55542 w 121714"/>
                  <a:gd name="connsiteY10" fmla="*/ 0 h 163542"/>
                  <a:gd name="connsiteX11" fmla="*/ 61714 w 121714"/>
                  <a:gd name="connsiteY11" fmla="*/ 3086 h 163542"/>
                  <a:gd name="connsiteX12" fmla="*/ 120344 w 121714"/>
                  <a:gd name="connsiteY12" fmla="*/ 98743 h 163542"/>
                  <a:gd name="connsiteX13" fmla="*/ 120344 w 121714"/>
                  <a:gd name="connsiteY13" fmla="*/ 108000 h 163542"/>
                  <a:gd name="connsiteX14" fmla="*/ 111085 w 121714"/>
                  <a:gd name="connsiteY14" fmla="*/ 108000 h 163542"/>
                  <a:gd name="connsiteX15" fmla="*/ 74058 w 121714"/>
                  <a:gd name="connsiteY15" fmla="*/ 52457 h 163542"/>
                  <a:gd name="connsiteX16" fmla="*/ 86400 w 121714"/>
                  <a:gd name="connsiteY16" fmla="*/ 160457 h 163542"/>
                  <a:gd name="connsiteX17" fmla="*/ 67886 w 121714"/>
                  <a:gd name="connsiteY17" fmla="*/ 163543 h 163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714" h="163542">
                    <a:moveTo>
                      <a:pt x="67886" y="163543"/>
                    </a:moveTo>
                    <a:cubicBezTo>
                      <a:pt x="67886" y="163543"/>
                      <a:pt x="64799" y="163543"/>
                      <a:pt x="64799" y="163543"/>
                    </a:cubicBezTo>
                    <a:cubicBezTo>
                      <a:pt x="52458" y="160457"/>
                      <a:pt x="43201" y="154286"/>
                      <a:pt x="37029" y="141943"/>
                    </a:cubicBezTo>
                    <a:cubicBezTo>
                      <a:pt x="27772" y="123429"/>
                      <a:pt x="0" y="37029"/>
                      <a:pt x="0" y="33943"/>
                    </a:cubicBezTo>
                    <a:cubicBezTo>
                      <a:pt x="0" y="30857"/>
                      <a:pt x="0" y="27771"/>
                      <a:pt x="3085" y="27771"/>
                    </a:cubicBezTo>
                    <a:cubicBezTo>
                      <a:pt x="6172" y="27771"/>
                      <a:pt x="9257" y="27771"/>
                      <a:pt x="9257" y="30857"/>
                    </a:cubicBezTo>
                    <a:cubicBezTo>
                      <a:pt x="9257" y="30857"/>
                      <a:pt x="37029" y="120343"/>
                      <a:pt x="46286" y="138857"/>
                    </a:cubicBezTo>
                    <a:cubicBezTo>
                      <a:pt x="49371" y="148114"/>
                      <a:pt x="58629" y="151200"/>
                      <a:pt x="64799" y="154286"/>
                    </a:cubicBezTo>
                    <a:cubicBezTo>
                      <a:pt x="70971" y="154286"/>
                      <a:pt x="77143" y="154286"/>
                      <a:pt x="80228" y="148114"/>
                    </a:cubicBezTo>
                    <a:cubicBezTo>
                      <a:pt x="86400" y="138857"/>
                      <a:pt x="70971" y="67886"/>
                      <a:pt x="52458" y="6172"/>
                    </a:cubicBezTo>
                    <a:cubicBezTo>
                      <a:pt x="52458" y="3086"/>
                      <a:pt x="52458" y="0"/>
                      <a:pt x="55542" y="0"/>
                    </a:cubicBezTo>
                    <a:cubicBezTo>
                      <a:pt x="58629" y="0"/>
                      <a:pt x="61714" y="0"/>
                      <a:pt x="61714" y="3086"/>
                    </a:cubicBezTo>
                    <a:cubicBezTo>
                      <a:pt x="80228" y="40114"/>
                      <a:pt x="120344" y="98743"/>
                      <a:pt x="120344" y="98743"/>
                    </a:cubicBezTo>
                    <a:cubicBezTo>
                      <a:pt x="123429" y="101829"/>
                      <a:pt x="120344" y="104914"/>
                      <a:pt x="120344" y="108000"/>
                    </a:cubicBezTo>
                    <a:cubicBezTo>
                      <a:pt x="117257" y="111086"/>
                      <a:pt x="114172" y="108000"/>
                      <a:pt x="111085" y="108000"/>
                    </a:cubicBezTo>
                    <a:cubicBezTo>
                      <a:pt x="111085" y="104914"/>
                      <a:pt x="92571" y="80229"/>
                      <a:pt x="74058" y="52457"/>
                    </a:cubicBezTo>
                    <a:cubicBezTo>
                      <a:pt x="86400" y="95657"/>
                      <a:pt x="95656" y="148114"/>
                      <a:pt x="86400" y="160457"/>
                    </a:cubicBezTo>
                    <a:cubicBezTo>
                      <a:pt x="83315" y="160457"/>
                      <a:pt x="77143" y="163543"/>
                      <a:pt x="67886" y="16354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81490F5E-CB76-498A-ABB0-5B34227A7419}"/>
                  </a:ext>
                </a:extLst>
              </p:cNvPr>
              <p:cNvSpPr/>
              <p:nvPr/>
            </p:nvSpPr>
            <p:spPr>
              <a:xfrm>
                <a:off x="22317038" y="4159724"/>
                <a:ext cx="85627" cy="151200"/>
              </a:xfrm>
              <a:custGeom>
                <a:avLst/>
                <a:gdLst>
                  <a:gd name="connsiteX0" fmla="*/ 58627 w 85627"/>
                  <a:gd name="connsiteY0" fmla="*/ 151200 h 151200"/>
                  <a:gd name="connsiteX1" fmla="*/ 46286 w 85627"/>
                  <a:gd name="connsiteY1" fmla="*/ 145029 h 151200"/>
                  <a:gd name="connsiteX2" fmla="*/ 15429 w 85627"/>
                  <a:gd name="connsiteY2" fmla="*/ 74057 h 151200"/>
                  <a:gd name="connsiteX3" fmla="*/ 0 w 85627"/>
                  <a:gd name="connsiteY3" fmla="*/ 3086 h 151200"/>
                  <a:gd name="connsiteX4" fmla="*/ 12342 w 85627"/>
                  <a:gd name="connsiteY4" fmla="*/ 0 h 151200"/>
                  <a:gd name="connsiteX5" fmla="*/ 27770 w 85627"/>
                  <a:gd name="connsiteY5" fmla="*/ 70972 h 151200"/>
                  <a:gd name="connsiteX6" fmla="*/ 55542 w 85627"/>
                  <a:gd name="connsiteY6" fmla="*/ 135771 h 151200"/>
                  <a:gd name="connsiteX7" fmla="*/ 74056 w 85627"/>
                  <a:gd name="connsiteY7" fmla="*/ 132686 h 151200"/>
                  <a:gd name="connsiteX8" fmla="*/ 83313 w 85627"/>
                  <a:gd name="connsiteY8" fmla="*/ 132686 h 151200"/>
                  <a:gd name="connsiteX9" fmla="*/ 83313 w 85627"/>
                  <a:gd name="connsiteY9" fmla="*/ 141943 h 151200"/>
                  <a:gd name="connsiteX10" fmla="*/ 58627 w 85627"/>
                  <a:gd name="connsiteY10" fmla="*/ 151200 h 15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5627" h="151200">
                    <a:moveTo>
                      <a:pt x="58627" y="151200"/>
                    </a:moveTo>
                    <a:cubicBezTo>
                      <a:pt x="55542" y="151200"/>
                      <a:pt x="49371" y="151200"/>
                      <a:pt x="46286" y="145029"/>
                    </a:cubicBezTo>
                    <a:cubicBezTo>
                      <a:pt x="33942" y="132686"/>
                      <a:pt x="18514" y="83314"/>
                      <a:pt x="15429" y="74057"/>
                    </a:cubicBezTo>
                    <a:cubicBezTo>
                      <a:pt x="12342" y="61714"/>
                      <a:pt x="0" y="3086"/>
                      <a:pt x="0" y="3086"/>
                    </a:cubicBezTo>
                    <a:lnTo>
                      <a:pt x="12342" y="0"/>
                    </a:lnTo>
                    <a:cubicBezTo>
                      <a:pt x="12342" y="0"/>
                      <a:pt x="27770" y="61714"/>
                      <a:pt x="27770" y="70972"/>
                    </a:cubicBezTo>
                    <a:cubicBezTo>
                      <a:pt x="30857" y="86400"/>
                      <a:pt x="46286" y="129600"/>
                      <a:pt x="55542" y="135771"/>
                    </a:cubicBezTo>
                    <a:cubicBezTo>
                      <a:pt x="61714" y="141943"/>
                      <a:pt x="74056" y="132686"/>
                      <a:pt x="74056" y="132686"/>
                    </a:cubicBezTo>
                    <a:cubicBezTo>
                      <a:pt x="77143" y="129600"/>
                      <a:pt x="80228" y="129600"/>
                      <a:pt x="83313" y="132686"/>
                    </a:cubicBezTo>
                    <a:cubicBezTo>
                      <a:pt x="86400" y="135771"/>
                      <a:pt x="86400" y="138857"/>
                      <a:pt x="83313" y="141943"/>
                    </a:cubicBezTo>
                    <a:cubicBezTo>
                      <a:pt x="77143" y="148114"/>
                      <a:pt x="67884" y="151200"/>
                      <a:pt x="58627" y="15120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22901149-0904-4209-BC76-7B6E4205FAB4}"/>
                </a:ext>
              </a:extLst>
            </p:cNvPr>
            <p:cNvSpPr/>
            <p:nvPr/>
          </p:nvSpPr>
          <p:spPr>
            <a:xfrm>
              <a:off x="21495616" y="2917588"/>
              <a:ext cx="929912" cy="1127207"/>
            </a:xfrm>
            <a:custGeom>
              <a:avLst/>
              <a:gdLst>
                <a:gd name="connsiteX0" fmla="*/ 176507 w 929912"/>
                <a:gd name="connsiteY0" fmla="*/ 365793 h 1127207"/>
                <a:gd name="connsiteX1" fmla="*/ 466564 w 929912"/>
                <a:gd name="connsiteY1" fmla="*/ 578707 h 1127207"/>
                <a:gd name="connsiteX2" fmla="*/ 744279 w 929912"/>
                <a:gd name="connsiteY2" fmla="*/ 1124879 h 1127207"/>
                <a:gd name="connsiteX3" fmla="*/ 929422 w 929912"/>
                <a:gd name="connsiteY3" fmla="*/ 1072422 h 1127207"/>
                <a:gd name="connsiteX4" fmla="*/ 701078 w 929912"/>
                <a:gd name="connsiteY4" fmla="*/ 418250 h 1127207"/>
                <a:gd name="connsiteX5" fmla="*/ 284507 w 929912"/>
                <a:gd name="connsiteY5" fmla="*/ 44879 h 1127207"/>
                <a:gd name="connsiteX6" fmla="*/ 12964 w 929912"/>
                <a:gd name="connsiteY6" fmla="*/ 32536 h 1127207"/>
                <a:gd name="connsiteX7" fmla="*/ 176507 w 929912"/>
                <a:gd name="connsiteY7" fmla="*/ 365793 h 112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9912" h="1127207">
                  <a:moveTo>
                    <a:pt x="176507" y="365793"/>
                  </a:moveTo>
                  <a:cubicBezTo>
                    <a:pt x="250564" y="418250"/>
                    <a:pt x="401763" y="513907"/>
                    <a:pt x="466564" y="578707"/>
                  </a:cubicBezTo>
                  <a:cubicBezTo>
                    <a:pt x="559136" y="674365"/>
                    <a:pt x="738107" y="1121793"/>
                    <a:pt x="744279" y="1124879"/>
                  </a:cubicBezTo>
                  <a:cubicBezTo>
                    <a:pt x="815250" y="1134136"/>
                    <a:pt x="873877" y="1115622"/>
                    <a:pt x="929422" y="1072422"/>
                  </a:cubicBezTo>
                  <a:cubicBezTo>
                    <a:pt x="938678" y="1066250"/>
                    <a:pt x="815250" y="609565"/>
                    <a:pt x="701078" y="418250"/>
                  </a:cubicBezTo>
                  <a:cubicBezTo>
                    <a:pt x="667136" y="359622"/>
                    <a:pt x="444964" y="125107"/>
                    <a:pt x="284507" y="44879"/>
                  </a:cubicBezTo>
                  <a:cubicBezTo>
                    <a:pt x="207364" y="4765"/>
                    <a:pt x="43821" y="-26093"/>
                    <a:pt x="12964" y="32536"/>
                  </a:cubicBezTo>
                  <a:cubicBezTo>
                    <a:pt x="-39493" y="125107"/>
                    <a:pt x="77763" y="291736"/>
                    <a:pt x="176507" y="365793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2CAA14E4-6F00-4B30-A3FD-630A4B439815}"/>
                </a:ext>
              </a:extLst>
            </p:cNvPr>
            <p:cNvSpPr/>
            <p:nvPr/>
          </p:nvSpPr>
          <p:spPr>
            <a:xfrm>
              <a:off x="21494347" y="2943953"/>
              <a:ext cx="308746" cy="432000"/>
            </a:xfrm>
            <a:custGeom>
              <a:avLst/>
              <a:gdLst>
                <a:gd name="connsiteX0" fmla="*/ 307376 w 308746"/>
                <a:gd name="connsiteY0" fmla="*/ 432000 h 432000"/>
                <a:gd name="connsiteX1" fmla="*/ 307376 w 308746"/>
                <a:gd name="connsiteY1" fmla="*/ 432000 h 432000"/>
                <a:gd name="connsiteX2" fmla="*/ 66690 w 308746"/>
                <a:gd name="connsiteY2" fmla="*/ 231429 h 432000"/>
                <a:gd name="connsiteX3" fmla="*/ 8061 w 308746"/>
                <a:gd name="connsiteY3" fmla="*/ 3086 h 432000"/>
                <a:gd name="connsiteX4" fmla="*/ 14233 w 308746"/>
                <a:gd name="connsiteY4" fmla="*/ 0 h 432000"/>
                <a:gd name="connsiteX5" fmla="*/ 17318 w 308746"/>
                <a:gd name="connsiteY5" fmla="*/ 6171 h 432000"/>
                <a:gd name="connsiteX6" fmla="*/ 72860 w 308746"/>
                <a:gd name="connsiteY6" fmla="*/ 225257 h 432000"/>
                <a:gd name="connsiteX7" fmla="*/ 304289 w 308746"/>
                <a:gd name="connsiteY7" fmla="*/ 419657 h 432000"/>
                <a:gd name="connsiteX8" fmla="*/ 307376 w 308746"/>
                <a:gd name="connsiteY8" fmla="*/ 425829 h 432000"/>
                <a:gd name="connsiteX9" fmla="*/ 307376 w 308746"/>
                <a:gd name="connsiteY9" fmla="*/ 432000 h 43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746" h="432000">
                  <a:moveTo>
                    <a:pt x="307376" y="432000"/>
                  </a:moveTo>
                  <a:cubicBezTo>
                    <a:pt x="304289" y="432000"/>
                    <a:pt x="304289" y="432000"/>
                    <a:pt x="307376" y="432000"/>
                  </a:cubicBezTo>
                  <a:cubicBezTo>
                    <a:pt x="304289" y="432000"/>
                    <a:pt x="165432" y="367200"/>
                    <a:pt x="66690" y="231429"/>
                  </a:cubicBezTo>
                  <a:cubicBezTo>
                    <a:pt x="-32053" y="95657"/>
                    <a:pt x="8061" y="6171"/>
                    <a:pt x="8061" y="3086"/>
                  </a:cubicBezTo>
                  <a:cubicBezTo>
                    <a:pt x="8061" y="0"/>
                    <a:pt x="14233" y="0"/>
                    <a:pt x="14233" y="0"/>
                  </a:cubicBezTo>
                  <a:cubicBezTo>
                    <a:pt x="17318" y="0"/>
                    <a:pt x="17318" y="6171"/>
                    <a:pt x="17318" y="6171"/>
                  </a:cubicBezTo>
                  <a:cubicBezTo>
                    <a:pt x="17318" y="6171"/>
                    <a:pt x="-19711" y="92571"/>
                    <a:pt x="72860" y="225257"/>
                  </a:cubicBezTo>
                  <a:cubicBezTo>
                    <a:pt x="168518" y="357943"/>
                    <a:pt x="304289" y="419657"/>
                    <a:pt x="304289" y="419657"/>
                  </a:cubicBezTo>
                  <a:cubicBezTo>
                    <a:pt x="307376" y="419657"/>
                    <a:pt x="307376" y="425829"/>
                    <a:pt x="307376" y="425829"/>
                  </a:cubicBezTo>
                  <a:cubicBezTo>
                    <a:pt x="310460" y="432000"/>
                    <a:pt x="307376" y="432000"/>
                    <a:pt x="307376" y="432000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30C1FE16-5C43-4D1F-A0AC-A723AF4B06EC}"/>
                </a:ext>
              </a:extLst>
            </p:cNvPr>
            <p:cNvSpPr/>
            <p:nvPr/>
          </p:nvSpPr>
          <p:spPr>
            <a:xfrm>
              <a:off x="21935180" y="3068153"/>
              <a:ext cx="378771" cy="526885"/>
            </a:xfrm>
            <a:custGeom>
              <a:avLst/>
              <a:gdLst>
                <a:gd name="connsiteX0" fmla="*/ 372599 w 378771"/>
                <a:gd name="connsiteY0" fmla="*/ 526886 h 526885"/>
                <a:gd name="connsiteX1" fmla="*/ 366430 w 378771"/>
                <a:gd name="connsiteY1" fmla="*/ 523800 h 526885"/>
                <a:gd name="connsiteX2" fmla="*/ 255343 w 378771"/>
                <a:gd name="connsiteY2" fmla="*/ 270771 h 526885"/>
                <a:gd name="connsiteX3" fmla="*/ 2314 w 378771"/>
                <a:gd name="connsiteY3" fmla="*/ 11571 h 526885"/>
                <a:gd name="connsiteX4" fmla="*/ 2314 w 378771"/>
                <a:gd name="connsiteY4" fmla="*/ 2314 h 526885"/>
                <a:gd name="connsiteX5" fmla="*/ 11572 w 378771"/>
                <a:gd name="connsiteY5" fmla="*/ 2314 h 526885"/>
                <a:gd name="connsiteX6" fmla="*/ 267686 w 378771"/>
                <a:gd name="connsiteY6" fmla="*/ 264600 h 526885"/>
                <a:gd name="connsiteX7" fmla="*/ 378771 w 378771"/>
                <a:gd name="connsiteY7" fmla="*/ 517629 h 526885"/>
                <a:gd name="connsiteX8" fmla="*/ 372599 w 378771"/>
                <a:gd name="connsiteY8" fmla="*/ 526886 h 526885"/>
                <a:gd name="connsiteX9" fmla="*/ 372599 w 378771"/>
                <a:gd name="connsiteY9" fmla="*/ 526886 h 526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8771" h="526885">
                  <a:moveTo>
                    <a:pt x="372599" y="526886"/>
                  </a:moveTo>
                  <a:cubicBezTo>
                    <a:pt x="369514" y="526886"/>
                    <a:pt x="369514" y="526886"/>
                    <a:pt x="366430" y="523800"/>
                  </a:cubicBezTo>
                  <a:cubicBezTo>
                    <a:pt x="366430" y="520714"/>
                    <a:pt x="286200" y="329400"/>
                    <a:pt x="255343" y="270771"/>
                  </a:cubicBezTo>
                  <a:cubicBezTo>
                    <a:pt x="224486" y="212143"/>
                    <a:pt x="5401" y="14657"/>
                    <a:pt x="2314" y="11571"/>
                  </a:cubicBezTo>
                  <a:cubicBezTo>
                    <a:pt x="-771" y="8486"/>
                    <a:pt x="-771" y="5400"/>
                    <a:pt x="2314" y="2314"/>
                  </a:cubicBezTo>
                  <a:cubicBezTo>
                    <a:pt x="5401" y="-771"/>
                    <a:pt x="8486" y="-771"/>
                    <a:pt x="11572" y="2314"/>
                  </a:cubicBezTo>
                  <a:cubicBezTo>
                    <a:pt x="20829" y="11571"/>
                    <a:pt x="233742" y="205971"/>
                    <a:pt x="267686" y="264600"/>
                  </a:cubicBezTo>
                  <a:cubicBezTo>
                    <a:pt x="298543" y="323229"/>
                    <a:pt x="378771" y="514543"/>
                    <a:pt x="378771" y="517629"/>
                  </a:cubicBezTo>
                  <a:cubicBezTo>
                    <a:pt x="378771" y="520714"/>
                    <a:pt x="375686" y="523800"/>
                    <a:pt x="372599" y="526886"/>
                  </a:cubicBezTo>
                  <a:cubicBezTo>
                    <a:pt x="372599" y="523800"/>
                    <a:pt x="372599" y="526886"/>
                    <a:pt x="372599" y="526886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5" name="图形 1">
              <a:extLst>
                <a:ext uri="{FF2B5EF4-FFF2-40B4-BE49-F238E27FC236}">
                  <a16:creationId xmlns:a16="http://schemas.microsoft.com/office/drawing/2014/main" id="{6FCC21F2-8DCC-449A-8B2C-05E57DDDAA75}"/>
                </a:ext>
              </a:extLst>
            </p:cNvPr>
            <p:cNvGrpSpPr/>
            <p:nvPr/>
          </p:nvGrpSpPr>
          <p:grpSpPr>
            <a:xfrm>
              <a:off x="22199353" y="4072461"/>
              <a:ext cx="207850" cy="189586"/>
              <a:chOff x="22199353" y="4072461"/>
              <a:chExt cx="207850" cy="189586"/>
            </a:xfrm>
          </p:grpSpPr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89C72B27-6EC5-4FBF-9712-84C86C2D75F2}"/>
                  </a:ext>
                </a:extLst>
              </p:cNvPr>
              <p:cNvSpPr/>
              <p:nvPr/>
            </p:nvSpPr>
            <p:spPr>
              <a:xfrm>
                <a:off x="22199353" y="4072461"/>
                <a:ext cx="170538" cy="79225"/>
              </a:xfrm>
              <a:custGeom>
                <a:avLst/>
                <a:gdLst>
                  <a:gd name="connsiteX0" fmla="*/ 6598 w 170538"/>
                  <a:gd name="connsiteY0" fmla="*/ 28635 h 79225"/>
                  <a:gd name="connsiteX1" fmla="*/ 108426 w 170538"/>
                  <a:gd name="connsiteY1" fmla="*/ 3950 h 79225"/>
                  <a:gd name="connsiteX2" fmla="*/ 123855 w 170538"/>
                  <a:gd name="connsiteY2" fmla="*/ 864 h 79225"/>
                  <a:gd name="connsiteX3" fmla="*/ 142370 w 170538"/>
                  <a:gd name="connsiteY3" fmla="*/ 3950 h 79225"/>
                  <a:gd name="connsiteX4" fmla="*/ 170141 w 170538"/>
                  <a:gd name="connsiteY4" fmla="*/ 44064 h 79225"/>
                  <a:gd name="connsiteX5" fmla="*/ 126942 w 170538"/>
                  <a:gd name="connsiteY5" fmla="*/ 68750 h 79225"/>
                  <a:gd name="connsiteX6" fmla="*/ 59056 w 170538"/>
                  <a:gd name="connsiteY6" fmla="*/ 78007 h 79225"/>
                  <a:gd name="connsiteX7" fmla="*/ 9685 w 170538"/>
                  <a:gd name="connsiteY7" fmla="*/ 68750 h 79225"/>
                  <a:gd name="connsiteX8" fmla="*/ 6598 w 170538"/>
                  <a:gd name="connsiteY8" fmla="*/ 28635 h 79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0538" h="79225">
                    <a:moveTo>
                      <a:pt x="6598" y="28635"/>
                    </a:moveTo>
                    <a:cubicBezTo>
                      <a:pt x="28199" y="7035"/>
                      <a:pt x="68313" y="10121"/>
                      <a:pt x="108426" y="3950"/>
                    </a:cubicBezTo>
                    <a:cubicBezTo>
                      <a:pt x="111513" y="3950"/>
                      <a:pt x="120770" y="-2222"/>
                      <a:pt x="123855" y="864"/>
                    </a:cubicBezTo>
                    <a:cubicBezTo>
                      <a:pt x="130027" y="864"/>
                      <a:pt x="136199" y="864"/>
                      <a:pt x="142370" y="3950"/>
                    </a:cubicBezTo>
                    <a:cubicBezTo>
                      <a:pt x="157799" y="10121"/>
                      <a:pt x="173228" y="28635"/>
                      <a:pt x="170141" y="44064"/>
                    </a:cubicBezTo>
                    <a:cubicBezTo>
                      <a:pt x="167056" y="62578"/>
                      <a:pt x="142370" y="65664"/>
                      <a:pt x="126942" y="68750"/>
                    </a:cubicBezTo>
                    <a:cubicBezTo>
                      <a:pt x="105341" y="71835"/>
                      <a:pt x="83741" y="74921"/>
                      <a:pt x="59056" y="78007"/>
                    </a:cubicBezTo>
                    <a:cubicBezTo>
                      <a:pt x="43627" y="78007"/>
                      <a:pt x="25114" y="84178"/>
                      <a:pt x="9685" y="68750"/>
                    </a:cubicBezTo>
                    <a:cubicBezTo>
                      <a:pt x="-2659" y="56407"/>
                      <a:pt x="-2659" y="37892"/>
                      <a:pt x="6598" y="28635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E4EE3F26-24E5-4F9C-80BA-D9FE8D47C0D9}"/>
                  </a:ext>
                </a:extLst>
              </p:cNvPr>
              <p:cNvSpPr/>
              <p:nvPr/>
            </p:nvSpPr>
            <p:spPr>
              <a:xfrm>
                <a:off x="22233295" y="4119610"/>
                <a:ext cx="170539" cy="78361"/>
              </a:xfrm>
              <a:custGeom>
                <a:avLst/>
                <a:gdLst>
                  <a:gd name="connsiteX0" fmla="*/ 6600 w 170539"/>
                  <a:gd name="connsiteY0" fmla="*/ 27771 h 78361"/>
                  <a:gd name="connsiteX1" fmla="*/ 114600 w 170539"/>
                  <a:gd name="connsiteY1" fmla="*/ 0 h 78361"/>
                  <a:gd name="connsiteX2" fmla="*/ 123857 w 170539"/>
                  <a:gd name="connsiteY2" fmla="*/ 0 h 78361"/>
                  <a:gd name="connsiteX3" fmla="*/ 142370 w 170539"/>
                  <a:gd name="connsiteY3" fmla="*/ 3086 h 78361"/>
                  <a:gd name="connsiteX4" fmla="*/ 170142 w 170539"/>
                  <a:gd name="connsiteY4" fmla="*/ 43200 h 78361"/>
                  <a:gd name="connsiteX5" fmla="*/ 126942 w 170539"/>
                  <a:gd name="connsiteY5" fmla="*/ 67886 h 78361"/>
                  <a:gd name="connsiteX6" fmla="*/ 59055 w 170539"/>
                  <a:gd name="connsiteY6" fmla="*/ 77143 h 78361"/>
                  <a:gd name="connsiteX7" fmla="*/ 9685 w 170539"/>
                  <a:gd name="connsiteY7" fmla="*/ 67886 h 78361"/>
                  <a:gd name="connsiteX8" fmla="*/ 6600 w 170539"/>
                  <a:gd name="connsiteY8" fmla="*/ 27771 h 78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0539" h="78361">
                    <a:moveTo>
                      <a:pt x="6600" y="27771"/>
                    </a:moveTo>
                    <a:cubicBezTo>
                      <a:pt x="31285" y="-3086"/>
                      <a:pt x="77571" y="3086"/>
                      <a:pt x="114600" y="0"/>
                    </a:cubicBezTo>
                    <a:cubicBezTo>
                      <a:pt x="117685" y="0"/>
                      <a:pt x="120770" y="0"/>
                      <a:pt x="123857" y="0"/>
                    </a:cubicBezTo>
                    <a:cubicBezTo>
                      <a:pt x="130028" y="0"/>
                      <a:pt x="136198" y="0"/>
                      <a:pt x="142370" y="3086"/>
                    </a:cubicBezTo>
                    <a:cubicBezTo>
                      <a:pt x="157799" y="9257"/>
                      <a:pt x="173227" y="27771"/>
                      <a:pt x="170142" y="43200"/>
                    </a:cubicBezTo>
                    <a:cubicBezTo>
                      <a:pt x="167055" y="61714"/>
                      <a:pt x="142370" y="64800"/>
                      <a:pt x="126942" y="67886"/>
                    </a:cubicBezTo>
                    <a:cubicBezTo>
                      <a:pt x="105341" y="70971"/>
                      <a:pt x="83743" y="74057"/>
                      <a:pt x="59055" y="77143"/>
                    </a:cubicBezTo>
                    <a:cubicBezTo>
                      <a:pt x="43627" y="77143"/>
                      <a:pt x="25113" y="83314"/>
                      <a:pt x="9685" y="67886"/>
                    </a:cubicBezTo>
                    <a:cubicBezTo>
                      <a:pt x="-2659" y="55543"/>
                      <a:pt x="-2659" y="40114"/>
                      <a:pt x="6600" y="2777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F4A7F338-6A2F-46FF-942F-2096B95EF874}"/>
                  </a:ext>
                </a:extLst>
              </p:cNvPr>
              <p:cNvSpPr/>
              <p:nvPr/>
            </p:nvSpPr>
            <p:spPr>
              <a:xfrm>
                <a:off x="22257982" y="4168982"/>
                <a:ext cx="148540" cy="69428"/>
              </a:xfrm>
              <a:custGeom>
                <a:avLst/>
                <a:gdLst>
                  <a:gd name="connsiteX0" fmla="*/ 6598 w 148540"/>
                  <a:gd name="connsiteY0" fmla="*/ 27771 h 69428"/>
                  <a:gd name="connsiteX1" fmla="*/ 99170 w 148540"/>
                  <a:gd name="connsiteY1" fmla="*/ 0 h 69428"/>
                  <a:gd name="connsiteX2" fmla="*/ 108427 w 148540"/>
                  <a:gd name="connsiteY2" fmla="*/ 0 h 69428"/>
                  <a:gd name="connsiteX3" fmla="*/ 123855 w 148540"/>
                  <a:gd name="connsiteY3" fmla="*/ 3086 h 69428"/>
                  <a:gd name="connsiteX4" fmla="*/ 148541 w 148540"/>
                  <a:gd name="connsiteY4" fmla="*/ 37028 h 69428"/>
                  <a:gd name="connsiteX5" fmla="*/ 111512 w 148540"/>
                  <a:gd name="connsiteY5" fmla="*/ 58629 h 69428"/>
                  <a:gd name="connsiteX6" fmla="*/ 52884 w 148540"/>
                  <a:gd name="connsiteY6" fmla="*/ 67886 h 69428"/>
                  <a:gd name="connsiteX7" fmla="*/ 9683 w 148540"/>
                  <a:gd name="connsiteY7" fmla="*/ 61714 h 69428"/>
                  <a:gd name="connsiteX8" fmla="*/ 6598 w 148540"/>
                  <a:gd name="connsiteY8" fmla="*/ 27771 h 69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540" h="69428">
                    <a:moveTo>
                      <a:pt x="6598" y="27771"/>
                    </a:moveTo>
                    <a:cubicBezTo>
                      <a:pt x="28199" y="0"/>
                      <a:pt x="68313" y="6171"/>
                      <a:pt x="99170" y="0"/>
                    </a:cubicBezTo>
                    <a:cubicBezTo>
                      <a:pt x="102255" y="0"/>
                      <a:pt x="105342" y="0"/>
                      <a:pt x="108427" y="0"/>
                    </a:cubicBezTo>
                    <a:cubicBezTo>
                      <a:pt x="114598" y="0"/>
                      <a:pt x="117683" y="0"/>
                      <a:pt x="123855" y="3086"/>
                    </a:cubicBezTo>
                    <a:cubicBezTo>
                      <a:pt x="139284" y="9257"/>
                      <a:pt x="148541" y="24686"/>
                      <a:pt x="148541" y="37028"/>
                    </a:cubicBezTo>
                    <a:cubicBezTo>
                      <a:pt x="145456" y="52457"/>
                      <a:pt x="123855" y="55543"/>
                      <a:pt x="111512" y="58629"/>
                    </a:cubicBezTo>
                    <a:cubicBezTo>
                      <a:pt x="92998" y="61714"/>
                      <a:pt x="74485" y="67886"/>
                      <a:pt x="52884" y="67886"/>
                    </a:cubicBezTo>
                    <a:cubicBezTo>
                      <a:pt x="40541" y="67886"/>
                      <a:pt x="22027" y="74057"/>
                      <a:pt x="9683" y="61714"/>
                    </a:cubicBezTo>
                    <a:cubicBezTo>
                      <a:pt x="-2658" y="49371"/>
                      <a:pt x="-2658" y="37028"/>
                      <a:pt x="6598" y="2777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1206E1D7-8EB2-4AB8-8D69-C6A2F0ABA58B}"/>
                  </a:ext>
                </a:extLst>
              </p:cNvPr>
              <p:cNvSpPr/>
              <p:nvPr/>
            </p:nvSpPr>
            <p:spPr>
              <a:xfrm>
                <a:off x="22288051" y="4215267"/>
                <a:ext cx="109214" cy="46779"/>
              </a:xfrm>
              <a:custGeom>
                <a:avLst/>
                <a:gdLst>
                  <a:gd name="connsiteX0" fmla="*/ 4300 w 109214"/>
                  <a:gd name="connsiteY0" fmla="*/ 21600 h 46779"/>
                  <a:gd name="connsiteX1" fmla="*/ 72186 w 109214"/>
                  <a:gd name="connsiteY1" fmla="*/ 0 h 46779"/>
                  <a:gd name="connsiteX2" fmla="*/ 78358 w 109214"/>
                  <a:gd name="connsiteY2" fmla="*/ 0 h 46779"/>
                  <a:gd name="connsiteX3" fmla="*/ 90701 w 109214"/>
                  <a:gd name="connsiteY3" fmla="*/ 0 h 46779"/>
                  <a:gd name="connsiteX4" fmla="*/ 109215 w 109214"/>
                  <a:gd name="connsiteY4" fmla="*/ 24686 h 46779"/>
                  <a:gd name="connsiteX5" fmla="*/ 81443 w 109214"/>
                  <a:gd name="connsiteY5" fmla="*/ 40114 h 46779"/>
                  <a:gd name="connsiteX6" fmla="*/ 38244 w 109214"/>
                  <a:gd name="connsiteY6" fmla="*/ 46286 h 46779"/>
                  <a:gd name="connsiteX7" fmla="*/ 7387 w 109214"/>
                  <a:gd name="connsiteY7" fmla="*/ 40114 h 46779"/>
                  <a:gd name="connsiteX8" fmla="*/ 4300 w 109214"/>
                  <a:gd name="connsiteY8" fmla="*/ 2160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214" h="46779">
                    <a:moveTo>
                      <a:pt x="4300" y="21600"/>
                    </a:moveTo>
                    <a:cubicBezTo>
                      <a:pt x="19728" y="0"/>
                      <a:pt x="47501" y="6171"/>
                      <a:pt x="72186" y="0"/>
                    </a:cubicBezTo>
                    <a:cubicBezTo>
                      <a:pt x="75273" y="0"/>
                      <a:pt x="75273" y="0"/>
                      <a:pt x="78358" y="0"/>
                    </a:cubicBezTo>
                    <a:cubicBezTo>
                      <a:pt x="81443" y="0"/>
                      <a:pt x="84530" y="0"/>
                      <a:pt x="90701" y="0"/>
                    </a:cubicBezTo>
                    <a:cubicBezTo>
                      <a:pt x="99958" y="3086"/>
                      <a:pt x="109215" y="15429"/>
                      <a:pt x="109215" y="24686"/>
                    </a:cubicBezTo>
                    <a:cubicBezTo>
                      <a:pt x="106130" y="37028"/>
                      <a:pt x="90701" y="37028"/>
                      <a:pt x="81443" y="40114"/>
                    </a:cubicBezTo>
                    <a:cubicBezTo>
                      <a:pt x="69101" y="43200"/>
                      <a:pt x="53672" y="46286"/>
                      <a:pt x="38244" y="46286"/>
                    </a:cubicBezTo>
                    <a:cubicBezTo>
                      <a:pt x="28987" y="46286"/>
                      <a:pt x="16643" y="49371"/>
                      <a:pt x="7387" y="40114"/>
                    </a:cubicBezTo>
                    <a:cubicBezTo>
                      <a:pt x="-1870" y="40114"/>
                      <a:pt x="-1870" y="30857"/>
                      <a:pt x="4300" y="2160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A95DA633-B61C-403D-BFD2-A69145A54E68}"/>
                  </a:ext>
                </a:extLst>
              </p:cNvPr>
              <p:cNvSpPr/>
              <p:nvPr/>
            </p:nvSpPr>
            <p:spPr>
              <a:xfrm>
                <a:off x="22223988" y="4075083"/>
                <a:ext cx="183214" cy="124755"/>
              </a:xfrm>
              <a:custGeom>
                <a:avLst/>
                <a:gdLst>
                  <a:gd name="connsiteX0" fmla="*/ 65277 w 183214"/>
                  <a:gd name="connsiteY0" fmla="*/ 124755 h 124755"/>
                  <a:gd name="connsiteX1" fmla="*/ 3563 w 183214"/>
                  <a:gd name="connsiteY1" fmla="*/ 100070 h 124755"/>
                  <a:gd name="connsiteX2" fmla="*/ 3563 w 183214"/>
                  <a:gd name="connsiteY2" fmla="*/ 75384 h 124755"/>
                  <a:gd name="connsiteX3" fmla="*/ 15907 w 183214"/>
                  <a:gd name="connsiteY3" fmla="*/ 69213 h 124755"/>
                  <a:gd name="connsiteX4" fmla="*/ 133163 w 183214"/>
                  <a:gd name="connsiteY4" fmla="*/ 44527 h 124755"/>
                  <a:gd name="connsiteX5" fmla="*/ 136248 w 183214"/>
                  <a:gd name="connsiteY5" fmla="*/ 26013 h 124755"/>
                  <a:gd name="connsiteX6" fmla="*/ 130077 w 183214"/>
                  <a:gd name="connsiteY6" fmla="*/ 16755 h 124755"/>
                  <a:gd name="connsiteX7" fmla="*/ 22077 w 183214"/>
                  <a:gd name="connsiteY7" fmla="*/ 19841 h 124755"/>
                  <a:gd name="connsiteX8" fmla="*/ 15907 w 183214"/>
                  <a:gd name="connsiteY8" fmla="*/ 16755 h 124755"/>
                  <a:gd name="connsiteX9" fmla="*/ 18992 w 183214"/>
                  <a:gd name="connsiteY9" fmla="*/ 10584 h 124755"/>
                  <a:gd name="connsiteX10" fmla="*/ 136248 w 183214"/>
                  <a:gd name="connsiteY10" fmla="*/ 7498 h 124755"/>
                  <a:gd name="connsiteX11" fmla="*/ 148592 w 183214"/>
                  <a:gd name="connsiteY11" fmla="*/ 26013 h 124755"/>
                  <a:gd name="connsiteX12" fmla="*/ 148592 w 183214"/>
                  <a:gd name="connsiteY12" fmla="*/ 41441 h 124755"/>
                  <a:gd name="connsiteX13" fmla="*/ 148592 w 183214"/>
                  <a:gd name="connsiteY13" fmla="*/ 41441 h 124755"/>
                  <a:gd name="connsiteX14" fmla="*/ 182534 w 183214"/>
                  <a:gd name="connsiteY14" fmla="*/ 81555 h 124755"/>
                  <a:gd name="connsiteX15" fmla="*/ 120820 w 183214"/>
                  <a:gd name="connsiteY15" fmla="*/ 121670 h 124755"/>
                  <a:gd name="connsiteX16" fmla="*/ 65277 w 183214"/>
                  <a:gd name="connsiteY16" fmla="*/ 124755 h 124755"/>
                  <a:gd name="connsiteX17" fmla="*/ 15907 w 183214"/>
                  <a:gd name="connsiteY17" fmla="*/ 78470 h 124755"/>
                  <a:gd name="connsiteX18" fmla="*/ 15907 w 183214"/>
                  <a:gd name="connsiteY18" fmla="*/ 78470 h 124755"/>
                  <a:gd name="connsiteX19" fmla="*/ 15907 w 183214"/>
                  <a:gd name="connsiteY19" fmla="*/ 93898 h 124755"/>
                  <a:gd name="connsiteX20" fmla="*/ 120820 w 183214"/>
                  <a:gd name="connsiteY20" fmla="*/ 106241 h 124755"/>
                  <a:gd name="connsiteX21" fmla="*/ 173277 w 183214"/>
                  <a:gd name="connsiteY21" fmla="*/ 78470 h 124755"/>
                  <a:gd name="connsiteX22" fmla="*/ 145505 w 183214"/>
                  <a:gd name="connsiteY22" fmla="*/ 47613 h 124755"/>
                  <a:gd name="connsiteX23" fmla="*/ 145505 w 183214"/>
                  <a:gd name="connsiteY23" fmla="*/ 47613 h 124755"/>
                  <a:gd name="connsiteX24" fmla="*/ 15907 w 183214"/>
                  <a:gd name="connsiteY24" fmla="*/ 78470 h 124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83214" h="124755">
                    <a:moveTo>
                      <a:pt x="65277" y="124755"/>
                    </a:moveTo>
                    <a:cubicBezTo>
                      <a:pt x="37505" y="124755"/>
                      <a:pt x="12820" y="118584"/>
                      <a:pt x="3563" y="100070"/>
                    </a:cubicBezTo>
                    <a:cubicBezTo>
                      <a:pt x="478" y="90813"/>
                      <a:pt x="-2609" y="81555"/>
                      <a:pt x="3563" y="75384"/>
                    </a:cubicBezTo>
                    <a:cubicBezTo>
                      <a:pt x="6648" y="69213"/>
                      <a:pt x="15907" y="69213"/>
                      <a:pt x="15907" y="69213"/>
                    </a:cubicBezTo>
                    <a:cubicBezTo>
                      <a:pt x="83791" y="66127"/>
                      <a:pt x="123907" y="59956"/>
                      <a:pt x="133163" y="44527"/>
                    </a:cubicBezTo>
                    <a:cubicBezTo>
                      <a:pt x="136248" y="38355"/>
                      <a:pt x="136248" y="35270"/>
                      <a:pt x="136248" y="26013"/>
                    </a:cubicBezTo>
                    <a:cubicBezTo>
                      <a:pt x="136248" y="22927"/>
                      <a:pt x="133163" y="19841"/>
                      <a:pt x="130077" y="16755"/>
                    </a:cubicBezTo>
                    <a:cubicBezTo>
                      <a:pt x="108478" y="1327"/>
                      <a:pt x="43677" y="13670"/>
                      <a:pt x="22077" y="19841"/>
                    </a:cubicBezTo>
                    <a:cubicBezTo>
                      <a:pt x="18992" y="19841"/>
                      <a:pt x="15907" y="19841"/>
                      <a:pt x="15907" y="16755"/>
                    </a:cubicBezTo>
                    <a:cubicBezTo>
                      <a:pt x="15907" y="13670"/>
                      <a:pt x="15907" y="10584"/>
                      <a:pt x="18992" y="10584"/>
                    </a:cubicBezTo>
                    <a:cubicBezTo>
                      <a:pt x="22077" y="10584"/>
                      <a:pt x="105391" y="-11016"/>
                      <a:pt x="136248" y="7498"/>
                    </a:cubicBezTo>
                    <a:cubicBezTo>
                      <a:pt x="142420" y="10584"/>
                      <a:pt x="148592" y="16755"/>
                      <a:pt x="148592" y="26013"/>
                    </a:cubicBezTo>
                    <a:cubicBezTo>
                      <a:pt x="148592" y="29098"/>
                      <a:pt x="148592" y="35270"/>
                      <a:pt x="148592" y="41441"/>
                    </a:cubicBezTo>
                    <a:cubicBezTo>
                      <a:pt x="148592" y="41441"/>
                      <a:pt x="148592" y="41441"/>
                      <a:pt x="148592" y="41441"/>
                    </a:cubicBezTo>
                    <a:cubicBezTo>
                      <a:pt x="148592" y="41441"/>
                      <a:pt x="179449" y="59956"/>
                      <a:pt x="182534" y="81555"/>
                    </a:cubicBezTo>
                    <a:cubicBezTo>
                      <a:pt x="188706" y="109327"/>
                      <a:pt x="151677" y="115498"/>
                      <a:pt x="120820" y="121670"/>
                    </a:cubicBezTo>
                    <a:cubicBezTo>
                      <a:pt x="102306" y="121670"/>
                      <a:pt x="83791" y="124755"/>
                      <a:pt x="65277" y="124755"/>
                    </a:cubicBezTo>
                    <a:close/>
                    <a:moveTo>
                      <a:pt x="15907" y="78470"/>
                    </a:moveTo>
                    <a:cubicBezTo>
                      <a:pt x="15907" y="78470"/>
                      <a:pt x="12820" y="78470"/>
                      <a:pt x="15907" y="78470"/>
                    </a:cubicBezTo>
                    <a:cubicBezTo>
                      <a:pt x="12820" y="81555"/>
                      <a:pt x="12820" y="84641"/>
                      <a:pt x="15907" y="93898"/>
                    </a:cubicBezTo>
                    <a:cubicBezTo>
                      <a:pt x="25163" y="112413"/>
                      <a:pt x="62192" y="118584"/>
                      <a:pt x="120820" y="106241"/>
                    </a:cubicBezTo>
                    <a:cubicBezTo>
                      <a:pt x="164021" y="96984"/>
                      <a:pt x="176362" y="90813"/>
                      <a:pt x="173277" y="78470"/>
                    </a:cubicBezTo>
                    <a:cubicBezTo>
                      <a:pt x="170192" y="66127"/>
                      <a:pt x="151677" y="53784"/>
                      <a:pt x="145505" y="47613"/>
                    </a:cubicBezTo>
                    <a:cubicBezTo>
                      <a:pt x="145505" y="47613"/>
                      <a:pt x="145505" y="47613"/>
                      <a:pt x="145505" y="47613"/>
                    </a:cubicBezTo>
                    <a:cubicBezTo>
                      <a:pt x="133163" y="59956"/>
                      <a:pt x="111563" y="75384"/>
                      <a:pt x="15907" y="7847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F2835BCD-41F6-4E6B-91B5-0A84F83D2DBB}"/>
                  </a:ext>
                </a:extLst>
              </p:cNvPr>
              <p:cNvSpPr/>
              <p:nvPr/>
            </p:nvSpPr>
            <p:spPr>
              <a:xfrm>
                <a:off x="22250210" y="4163582"/>
                <a:ext cx="156720" cy="79457"/>
              </a:xfrm>
              <a:custGeom>
                <a:avLst/>
                <a:gdLst>
                  <a:gd name="connsiteX0" fmla="*/ 45227 w 156720"/>
                  <a:gd name="connsiteY0" fmla="*/ 79457 h 79457"/>
                  <a:gd name="connsiteX1" fmla="*/ 20542 w 156720"/>
                  <a:gd name="connsiteY1" fmla="*/ 76371 h 79457"/>
                  <a:gd name="connsiteX2" fmla="*/ 2026 w 156720"/>
                  <a:gd name="connsiteY2" fmla="*/ 57857 h 79457"/>
                  <a:gd name="connsiteX3" fmla="*/ 5113 w 156720"/>
                  <a:gd name="connsiteY3" fmla="*/ 27000 h 79457"/>
                  <a:gd name="connsiteX4" fmla="*/ 14370 w 156720"/>
                  <a:gd name="connsiteY4" fmla="*/ 27000 h 79457"/>
                  <a:gd name="connsiteX5" fmla="*/ 14370 w 156720"/>
                  <a:gd name="connsiteY5" fmla="*/ 36257 h 79457"/>
                  <a:gd name="connsiteX6" fmla="*/ 14370 w 156720"/>
                  <a:gd name="connsiteY6" fmla="*/ 54771 h 79457"/>
                  <a:gd name="connsiteX7" fmla="*/ 23627 w 156720"/>
                  <a:gd name="connsiteY7" fmla="*/ 64029 h 79457"/>
                  <a:gd name="connsiteX8" fmla="*/ 128542 w 156720"/>
                  <a:gd name="connsiteY8" fmla="*/ 51686 h 79457"/>
                  <a:gd name="connsiteX9" fmla="*/ 143970 w 156720"/>
                  <a:gd name="connsiteY9" fmla="*/ 36257 h 79457"/>
                  <a:gd name="connsiteX10" fmla="*/ 134712 w 156720"/>
                  <a:gd name="connsiteY10" fmla="*/ 11571 h 79457"/>
                  <a:gd name="connsiteX11" fmla="*/ 134712 w 156720"/>
                  <a:gd name="connsiteY11" fmla="*/ 2314 h 79457"/>
                  <a:gd name="connsiteX12" fmla="*/ 143970 w 156720"/>
                  <a:gd name="connsiteY12" fmla="*/ 2314 h 79457"/>
                  <a:gd name="connsiteX13" fmla="*/ 156312 w 156720"/>
                  <a:gd name="connsiteY13" fmla="*/ 39343 h 79457"/>
                  <a:gd name="connsiteX14" fmla="*/ 131627 w 156720"/>
                  <a:gd name="connsiteY14" fmla="*/ 60943 h 79457"/>
                  <a:gd name="connsiteX15" fmla="*/ 45227 w 156720"/>
                  <a:gd name="connsiteY15" fmla="*/ 79457 h 79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6720" h="79457">
                    <a:moveTo>
                      <a:pt x="45227" y="79457"/>
                    </a:moveTo>
                    <a:cubicBezTo>
                      <a:pt x="35970" y="79457"/>
                      <a:pt x="26712" y="79457"/>
                      <a:pt x="20542" y="76371"/>
                    </a:cubicBezTo>
                    <a:cubicBezTo>
                      <a:pt x="11283" y="73286"/>
                      <a:pt x="5113" y="67114"/>
                      <a:pt x="2026" y="57857"/>
                    </a:cubicBezTo>
                    <a:cubicBezTo>
                      <a:pt x="-1059" y="45514"/>
                      <a:pt x="-1059" y="33171"/>
                      <a:pt x="5113" y="27000"/>
                    </a:cubicBezTo>
                    <a:cubicBezTo>
                      <a:pt x="8198" y="23914"/>
                      <a:pt x="11283" y="23914"/>
                      <a:pt x="14370" y="27000"/>
                    </a:cubicBezTo>
                    <a:cubicBezTo>
                      <a:pt x="17455" y="30086"/>
                      <a:pt x="17455" y="33171"/>
                      <a:pt x="14370" y="36257"/>
                    </a:cubicBezTo>
                    <a:cubicBezTo>
                      <a:pt x="11283" y="39343"/>
                      <a:pt x="11283" y="48600"/>
                      <a:pt x="14370" y="54771"/>
                    </a:cubicBezTo>
                    <a:cubicBezTo>
                      <a:pt x="14370" y="57857"/>
                      <a:pt x="17455" y="64029"/>
                      <a:pt x="23627" y="64029"/>
                    </a:cubicBezTo>
                    <a:cubicBezTo>
                      <a:pt x="39055" y="67114"/>
                      <a:pt x="91513" y="67114"/>
                      <a:pt x="128542" y="51686"/>
                    </a:cubicBezTo>
                    <a:cubicBezTo>
                      <a:pt x="137798" y="48600"/>
                      <a:pt x="143970" y="42428"/>
                      <a:pt x="143970" y="36257"/>
                    </a:cubicBezTo>
                    <a:cubicBezTo>
                      <a:pt x="147055" y="23914"/>
                      <a:pt x="134712" y="11571"/>
                      <a:pt x="134712" y="11571"/>
                    </a:cubicBezTo>
                    <a:cubicBezTo>
                      <a:pt x="131627" y="8486"/>
                      <a:pt x="131627" y="5400"/>
                      <a:pt x="134712" y="2314"/>
                    </a:cubicBezTo>
                    <a:cubicBezTo>
                      <a:pt x="137798" y="-771"/>
                      <a:pt x="140883" y="-771"/>
                      <a:pt x="143970" y="2314"/>
                    </a:cubicBezTo>
                    <a:cubicBezTo>
                      <a:pt x="143970" y="2314"/>
                      <a:pt x="159399" y="20828"/>
                      <a:pt x="156312" y="39343"/>
                    </a:cubicBezTo>
                    <a:cubicBezTo>
                      <a:pt x="153227" y="48600"/>
                      <a:pt x="147055" y="57857"/>
                      <a:pt x="131627" y="60943"/>
                    </a:cubicBezTo>
                    <a:cubicBezTo>
                      <a:pt x="106941" y="76371"/>
                      <a:pt x="69912" y="79457"/>
                      <a:pt x="45227" y="7945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6" name="图形 1">
              <a:extLst>
                <a:ext uri="{FF2B5EF4-FFF2-40B4-BE49-F238E27FC236}">
                  <a16:creationId xmlns:a16="http://schemas.microsoft.com/office/drawing/2014/main" id="{8E5E65BF-9802-4A1F-B8AF-35984CFCA1EF}"/>
                </a:ext>
              </a:extLst>
            </p:cNvPr>
            <p:cNvGrpSpPr/>
            <p:nvPr/>
          </p:nvGrpSpPr>
          <p:grpSpPr>
            <a:xfrm>
              <a:off x="22319556" y="4046750"/>
              <a:ext cx="165802" cy="122231"/>
              <a:chOff x="22319556" y="4046750"/>
              <a:chExt cx="165802" cy="122231"/>
            </a:xfrm>
          </p:grpSpPr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5B7E97DA-59BC-4068-BAE4-CE3F9E4F0EDF}"/>
                  </a:ext>
                </a:extLst>
              </p:cNvPr>
              <p:cNvSpPr/>
              <p:nvPr/>
            </p:nvSpPr>
            <p:spPr>
              <a:xfrm>
                <a:off x="22328123" y="4055538"/>
                <a:ext cx="157235" cy="98109"/>
              </a:xfrm>
              <a:custGeom>
                <a:avLst/>
                <a:gdLst>
                  <a:gd name="connsiteX0" fmla="*/ 7428 w 157235"/>
                  <a:gd name="connsiteY0" fmla="*/ 91844 h 98109"/>
                  <a:gd name="connsiteX1" fmla="*/ 32114 w 157235"/>
                  <a:gd name="connsiteY1" fmla="*/ 76416 h 98109"/>
                  <a:gd name="connsiteX2" fmla="*/ 96915 w 157235"/>
                  <a:gd name="connsiteY2" fmla="*/ 64073 h 98109"/>
                  <a:gd name="connsiteX3" fmla="*/ 152457 w 157235"/>
                  <a:gd name="connsiteY3" fmla="*/ 98015 h 98109"/>
                  <a:gd name="connsiteX4" fmla="*/ 143201 w 157235"/>
                  <a:gd name="connsiteY4" fmla="*/ 17787 h 98109"/>
                  <a:gd name="connsiteX5" fmla="*/ 32114 w 157235"/>
                  <a:gd name="connsiteY5" fmla="*/ 11615 h 98109"/>
                  <a:gd name="connsiteX6" fmla="*/ 7428 w 157235"/>
                  <a:gd name="connsiteY6" fmla="*/ 91844 h 98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7235" h="98109">
                    <a:moveTo>
                      <a:pt x="7428" y="91844"/>
                    </a:moveTo>
                    <a:cubicBezTo>
                      <a:pt x="16685" y="98015"/>
                      <a:pt x="25942" y="79501"/>
                      <a:pt x="32114" y="76416"/>
                    </a:cubicBezTo>
                    <a:cubicBezTo>
                      <a:pt x="53714" y="64073"/>
                      <a:pt x="72228" y="57901"/>
                      <a:pt x="96915" y="64073"/>
                    </a:cubicBezTo>
                    <a:cubicBezTo>
                      <a:pt x="112343" y="67158"/>
                      <a:pt x="137029" y="91844"/>
                      <a:pt x="152457" y="98015"/>
                    </a:cubicBezTo>
                    <a:cubicBezTo>
                      <a:pt x="158629" y="101101"/>
                      <a:pt x="161714" y="27044"/>
                      <a:pt x="143201" y="17787"/>
                    </a:cubicBezTo>
                    <a:cubicBezTo>
                      <a:pt x="115428" y="2358"/>
                      <a:pt x="59886" y="-9985"/>
                      <a:pt x="32114" y="11615"/>
                    </a:cubicBezTo>
                    <a:cubicBezTo>
                      <a:pt x="16685" y="20873"/>
                      <a:pt x="-14172" y="76416"/>
                      <a:pt x="7428" y="9184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522DFF9E-52EF-4D1B-8907-B37F40DBF34A}"/>
                  </a:ext>
                </a:extLst>
              </p:cNvPr>
              <p:cNvSpPr/>
              <p:nvPr/>
            </p:nvSpPr>
            <p:spPr>
              <a:xfrm>
                <a:off x="22319556" y="4046750"/>
                <a:ext cx="157937" cy="122231"/>
              </a:xfrm>
              <a:custGeom>
                <a:avLst/>
                <a:gdLst>
                  <a:gd name="connsiteX0" fmla="*/ 127080 w 157937"/>
                  <a:gd name="connsiteY0" fmla="*/ 122231 h 122231"/>
                  <a:gd name="connsiteX1" fmla="*/ 127080 w 157937"/>
                  <a:gd name="connsiteY1" fmla="*/ 122231 h 122231"/>
                  <a:gd name="connsiteX2" fmla="*/ 99310 w 157937"/>
                  <a:gd name="connsiteY2" fmla="*/ 75946 h 122231"/>
                  <a:gd name="connsiteX3" fmla="*/ 40681 w 157937"/>
                  <a:gd name="connsiteY3" fmla="*/ 94460 h 122231"/>
                  <a:gd name="connsiteX4" fmla="*/ 12910 w 157937"/>
                  <a:gd name="connsiteY4" fmla="*/ 106803 h 122231"/>
                  <a:gd name="connsiteX5" fmla="*/ 567 w 157937"/>
                  <a:gd name="connsiteY5" fmla="*/ 91374 h 122231"/>
                  <a:gd name="connsiteX6" fmla="*/ 34509 w 157937"/>
                  <a:gd name="connsiteY6" fmla="*/ 14231 h 122231"/>
                  <a:gd name="connsiteX7" fmla="*/ 154853 w 157937"/>
                  <a:gd name="connsiteY7" fmla="*/ 20403 h 122231"/>
                  <a:gd name="connsiteX8" fmla="*/ 157938 w 157937"/>
                  <a:gd name="connsiteY8" fmla="*/ 26574 h 122231"/>
                  <a:gd name="connsiteX9" fmla="*/ 151768 w 157937"/>
                  <a:gd name="connsiteY9" fmla="*/ 29660 h 122231"/>
                  <a:gd name="connsiteX10" fmla="*/ 46853 w 157937"/>
                  <a:gd name="connsiteY10" fmla="*/ 23489 h 122231"/>
                  <a:gd name="connsiteX11" fmla="*/ 15995 w 157937"/>
                  <a:gd name="connsiteY11" fmla="*/ 88288 h 122231"/>
                  <a:gd name="connsiteX12" fmla="*/ 19080 w 157937"/>
                  <a:gd name="connsiteY12" fmla="*/ 94460 h 122231"/>
                  <a:gd name="connsiteX13" fmla="*/ 37596 w 157937"/>
                  <a:gd name="connsiteY13" fmla="*/ 85203 h 122231"/>
                  <a:gd name="connsiteX14" fmla="*/ 108567 w 157937"/>
                  <a:gd name="connsiteY14" fmla="*/ 66688 h 122231"/>
                  <a:gd name="connsiteX15" fmla="*/ 111652 w 157937"/>
                  <a:gd name="connsiteY15" fmla="*/ 72860 h 122231"/>
                  <a:gd name="connsiteX16" fmla="*/ 130167 w 157937"/>
                  <a:gd name="connsiteY16" fmla="*/ 112974 h 122231"/>
                  <a:gd name="connsiteX17" fmla="*/ 133252 w 157937"/>
                  <a:gd name="connsiteY17" fmla="*/ 122231 h 122231"/>
                  <a:gd name="connsiteX18" fmla="*/ 127080 w 157937"/>
                  <a:gd name="connsiteY18" fmla="*/ 122231 h 122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57937" h="122231">
                    <a:moveTo>
                      <a:pt x="127080" y="122231"/>
                    </a:moveTo>
                    <a:cubicBezTo>
                      <a:pt x="127080" y="122231"/>
                      <a:pt x="123995" y="122231"/>
                      <a:pt x="127080" y="122231"/>
                    </a:cubicBezTo>
                    <a:cubicBezTo>
                      <a:pt x="105482" y="109888"/>
                      <a:pt x="102395" y="85203"/>
                      <a:pt x="99310" y="75946"/>
                    </a:cubicBezTo>
                    <a:cubicBezTo>
                      <a:pt x="74625" y="69774"/>
                      <a:pt x="56109" y="82117"/>
                      <a:pt x="40681" y="94460"/>
                    </a:cubicBezTo>
                    <a:cubicBezTo>
                      <a:pt x="31424" y="103717"/>
                      <a:pt x="22167" y="109888"/>
                      <a:pt x="12910" y="106803"/>
                    </a:cubicBezTo>
                    <a:cubicBezTo>
                      <a:pt x="6739" y="103717"/>
                      <a:pt x="3652" y="100631"/>
                      <a:pt x="567" y="91374"/>
                    </a:cubicBezTo>
                    <a:cubicBezTo>
                      <a:pt x="-2518" y="72860"/>
                      <a:pt x="6739" y="38917"/>
                      <a:pt x="34509" y="14231"/>
                    </a:cubicBezTo>
                    <a:cubicBezTo>
                      <a:pt x="68453" y="-19712"/>
                      <a:pt x="148681" y="17317"/>
                      <a:pt x="154853" y="20403"/>
                    </a:cubicBezTo>
                    <a:cubicBezTo>
                      <a:pt x="157938" y="20403"/>
                      <a:pt x="157938" y="26574"/>
                      <a:pt x="157938" y="26574"/>
                    </a:cubicBezTo>
                    <a:cubicBezTo>
                      <a:pt x="157938" y="29660"/>
                      <a:pt x="151768" y="29660"/>
                      <a:pt x="151768" y="29660"/>
                    </a:cubicBezTo>
                    <a:cubicBezTo>
                      <a:pt x="151768" y="29660"/>
                      <a:pt x="74625" y="-7369"/>
                      <a:pt x="46853" y="23489"/>
                    </a:cubicBezTo>
                    <a:cubicBezTo>
                      <a:pt x="25252" y="45088"/>
                      <a:pt x="12910" y="75946"/>
                      <a:pt x="15995" y="88288"/>
                    </a:cubicBezTo>
                    <a:cubicBezTo>
                      <a:pt x="15995" y="94460"/>
                      <a:pt x="19080" y="94460"/>
                      <a:pt x="19080" y="94460"/>
                    </a:cubicBezTo>
                    <a:cubicBezTo>
                      <a:pt x="22167" y="94460"/>
                      <a:pt x="31424" y="91374"/>
                      <a:pt x="37596" y="85203"/>
                    </a:cubicBezTo>
                    <a:cubicBezTo>
                      <a:pt x="53024" y="72860"/>
                      <a:pt x="77710" y="54346"/>
                      <a:pt x="108567" y="66688"/>
                    </a:cubicBezTo>
                    <a:cubicBezTo>
                      <a:pt x="111652" y="66688"/>
                      <a:pt x="111652" y="69774"/>
                      <a:pt x="111652" y="72860"/>
                    </a:cubicBezTo>
                    <a:cubicBezTo>
                      <a:pt x="111652" y="72860"/>
                      <a:pt x="114739" y="103717"/>
                      <a:pt x="130167" y="112974"/>
                    </a:cubicBezTo>
                    <a:cubicBezTo>
                      <a:pt x="133252" y="116060"/>
                      <a:pt x="133252" y="119146"/>
                      <a:pt x="133252" y="122231"/>
                    </a:cubicBezTo>
                    <a:cubicBezTo>
                      <a:pt x="130167" y="122231"/>
                      <a:pt x="130167" y="122231"/>
                      <a:pt x="127080" y="12223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7" name="图形 1">
              <a:extLst>
                <a:ext uri="{FF2B5EF4-FFF2-40B4-BE49-F238E27FC236}">
                  <a16:creationId xmlns:a16="http://schemas.microsoft.com/office/drawing/2014/main" id="{5BA417DB-3E50-4035-AE53-0A7BB39DA7A5}"/>
                </a:ext>
              </a:extLst>
            </p:cNvPr>
            <p:cNvGrpSpPr/>
            <p:nvPr/>
          </p:nvGrpSpPr>
          <p:grpSpPr>
            <a:xfrm>
              <a:off x="24333868" y="4052624"/>
              <a:ext cx="322926" cy="227443"/>
              <a:chOff x="24333868" y="4052624"/>
              <a:chExt cx="322926" cy="227443"/>
            </a:xfrm>
          </p:grpSpPr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39CB67CE-94C5-48E3-B55E-C6BC3390BB3E}"/>
                  </a:ext>
                </a:extLst>
              </p:cNvPr>
              <p:cNvSpPr/>
              <p:nvPr/>
            </p:nvSpPr>
            <p:spPr>
              <a:xfrm>
                <a:off x="24333868" y="4052624"/>
                <a:ext cx="175545" cy="110662"/>
              </a:xfrm>
              <a:custGeom>
                <a:avLst/>
                <a:gdLst>
                  <a:gd name="connsiteX0" fmla="*/ 47512 w 175545"/>
                  <a:gd name="connsiteY0" fmla="*/ 23786 h 110662"/>
                  <a:gd name="connsiteX1" fmla="*/ 1226 w 175545"/>
                  <a:gd name="connsiteY1" fmla="*/ 85501 h 110662"/>
                  <a:gd name="connsiteX2" fmla="*/ 25911 w 175545"/>
                  <a:gd name="connsiteY2" fmla="*/ 110186 h 110662"/>
                  <a:gd name="connsiteX3" fmla="*/ 81456 w 175545"/>
                  <a:gd name="connsiteY3" fmla="*/ 73158 h 110662"/>
                  <a:gd name="connsiteX4" fmla="*/ 146255 w 175545"/>
                  <a:gd name="connsiteY4" fmla="*/ 45386 h 110662"/>
                  <a:gd name="connsiteX5" fmla="*/ 152427 w 175545"/>
                  <a:gd name="connsiteY5" fmla="*/ 33043 h 110662"/>
                  <a:gd name="connsiteX6" fmla="*/ 170940 w 175545"/>
                  <a:gd name="connsiteY6" fmla="*/ 8358 h 110662"/>
                  <a:gd name="connsiteX7" fmla="*/ 47512 w 175545"/>
                  <a:gd name="connsiteY7" fmla="*/ 23786 h 110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5545" h="110662">
                    <a:moveTo>
                      <a:pt x="47512" y="23786"/>
                    </a:moveTo>
                    <a:cubicBezTo>
                      <a:pt x="25911" y="39215"/>
                      <a:pt x="13570" y="63901"/>
                      <a:pt x="1226" y="85501"/>
                    </a:cubicBezTo>
                    <a:cubicBezTo>
                      <a:pt x="-4946" y="100929"/>
                      <a:pt x="13570" y="113272"/>
                      <a:pt x="25911" y="110186"/>
                    </a:cubicBezTo>
                    <a:cubicBezTo>
                      <a:pt x="50598" y="104015"/>
                      <a:pt x="62940" y="85501"/>
                      <a:pt x="81456" y="73158"/>
                    </a:cubicBezTo>
                    <a:cubicBezTo>
                      <a:pt x="99969" y="60815"/>
                      <a:pt x="127741" y="63901"/>
                      <a:pt x="146255" y="45386"/>
                    </a:cubicBezTo>
                    <a:cubicBezTo>
                      <a:pt x="149340" y="42300"/>
                      <a:pt x="152427" y="36129"/>
                      <a:pt x="152427" y="33043"/>
                    </a:cubicBezTo>
                    <a:cubicBezTo>
                      <a:pt x="158598" y="23786"/>
                      <a:pt x="186369" y="14529"/>
                      <a:pt x="170940" y="8358"/>
                    </a:cubicBezTo>
                    <a:cubicBezTo>
                      <a:pt x="121570" y="-10157"/>
                      <a:pt x="72197" y="5272"/>
                      <a:pt x="47512" y="2378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F673AA30-4B68-46D3-BD96-58D3F5E352EE}"/>
                  </a:ext>
                </a:extLst>
              </p:cNvPr>
              <p:cNvSpPr/>
              <p:nvPr/>
            </p:nvSpPr>
            <p:spPr>
              <a:xfrm>
                <a:off x="24396808" y="4056112"/>
                <a:ext cx="259986" cy="208032"/>
              </a:xfrm>
              <a:custGeom>
                <a:avLst/>
                <a:gdLst>
                  <a:gd name="connsiteX0" fmla="*/ 225257 w 259986"/>
                  <a:gd name="connsiteY0" fmla="*/ 149898 h 208032"/>
                  <a:gd name="connsiteX1" fmla="*/ 225257 w 259986"/>
                  <a:gd name="connsiteY1" fmla="*/ 149898 h 208032"/>
                  <a:gd name="connsiteX2" fmla="*/ 253029 w 259986"/>
                  <a:gd name="connsiteY2" fmla="*/ 51155 h 208032"/>
                  <a:gd name="connsiteX3" fmla="*/ 98743 w 259986"/>
                  <a:gd name="connsiteY3" fmla="*/ 1784 h 208032"/>
                  <a:gd name="connsiteX4" fmla="*/ 49373 w 259986"/>
                  <a:gd name="connsiteY4" fmla="*/ 41898 h 208032"/>
                  <a:gd name="connsiteX5" fmla="*/ 49373 w 259986"/>
                  <a:gd name="connsiteY5" fmla="*/ 41898 h 208032"/>
                  <a:gd name="connsiteX6" fmla="*/ 49373 w 259986"/>
                  <a:gd name="connsiteY6" fmla="*/ 41898 h 208032"/>
                  <a:gd name="connsiteX7" fmla="*/ 0 w 259986"/>
                  <a:gd name="connsiteY7" fmla="*/ 134469 h 208032"/>
                  <a:gd name="connsiteX8" fmla="*/ 3087 w 259986"/>
                  <a:gd name="connsiteY8" fmla="*/ 134469 h 208032"/>
                  <a:gd name="connsiteX9" fmla="*/ 3087 w 259986"/>
                  <a:gd name="connsiteY9" fmla="*/ 156069 h 208032"/>
                  <a:gd name="connsiteX10" fmla="*/ 46286 w 259986"/>
                  <a:gd name="connsiteY10" fmla="*/ 159155 h 208032"/>
                  <a:gd name="connsiteX11" fmla="*/ 92571 w 259986"/>
                  <a:gd name="connsiteY11" fmla="*/ 190012 h 208032"/>
                  <a:gd name="connsiteX12" fmla="*/ 145029 w 259986"/>
                  <a:gd name="connsiteY12" fmla="*/ 196183 h 208032"/>
                  <a:gd name="connsiteX13" fmla="*/ 182058 w 259986"/>
                  <a:gd name="connsiteY13" fmla="*/ 205441 h 208032"/>
                  <a:gd name="connsiteX14" fmla="*/ 225257 w 259986"/>
                  <a:gd name="connsiteY14" fmla="*/ 149898 h 208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9986" h="208032">
                    <a:moveTo>
                      <a:pt x="225257" y="149898"/>
                    </a:moveTo>
                    <a:lnTo>
                      <a:pt x="225257" y="149898"/>
                    </a:lnTo>
                    <a:cubicBezTo>
                      <a:pt x="249944" y="115955"/>
                      <a:pt x="271543" y="57326"/>
                      <a:pt x="253029" y="51155"/>
                    </a:cubicBezTo>
                    <a:cubicBezTo>
                      <a:pt x="231429" y="44984"/>
                      <a:pt x="123429" y="-10559"/>
                      <a:pt x="98743" y="1784"/>
                    </a:cubicBezTo>
                    <a:cubicBezTo>
                      <a:pt x="80230" y="11041"/>
                      <a:pt x="61714" y="26469"/>
                      <a:pt x="49373" y="41898"/>
                    </a:cubicBezTo>
                    <a:lnTo>
                      <a:pt x="49373" y="41898"/>
                    </a:lnTo>
                    <a:cubicBezTo>
                      <a:pt x="49373" y="41898"/>
                      <a:pt x="49373" y="41898"/>
                      <a:pt x="49373" y="41898"/>
                    </a:cubicBezTo>
                    <a:cubicBezTo>
                      <a:pt x="12344" y="85098"/>
                      <a:pt x="0" y="134469"/>
                      <a:pt x="0" y="134469"/>
                    </a:cubicBezTo>
                    <a:cubicBezTo>
                      <a:pt x="0" y="134469"/>
                      <a:pt x="0" y="134469"/>
                      <a:pt x="3087" y="134469"/>
                    </a:cubicBezTo>
                    <a:cubicBezTo>
                      <a:pt x="0" y="143726"/>
                      <a:pt x="0" y="149898"/>
                      <a:pt x="3087" y="156069"/>
                    </a:cubicBezTo>
                    <a:cubicBezTo>
                      <a:pt x="18515" y="186926"/>
                      <a:pt x="46286" y="159155"/>
                      <a:pt x="46286" y="159155"/>
                    </a:cubicBezTo>
                    <a:cubicBezTo>
                      <a:pt x="46286" y="159155"/>
                      <a:pt x="43201" y="205441"/>
                      <a:pt x="92571" y="190012"/>
                    </a:cubicBezTo>
                    <a:cubicBezTo>
                      <a:pt x="92571" y="190012"/>
                      <a:pt x="108000" y="220869"/>
                      <a:pt x="145029" y="196183"/>
                    </a:cubicBezTo>
                    <a:cubicBezTo>
                      <a:pt x="145029" y="196183"/>
                      <a:pt x="154286" y="214698"/>
                      <a:pt x="182058" y="205441"/>
                    </a:cubicBezTo>
                    <a:cubicBezTo>
                      <a:pt x="209828" y="196183"/>
                      <a:pt x="225257" y="149898"/>
                      <a:pt x="225257" y="149898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DFE4CDEC-B2CF-4727-B64B-56A7FACD5205}"/>
                  </a:ext>
                </a:extLst>
              </p:cNvPr>
              <p:cNvSpPr/>
              <p:nvPr/>
            </p:nvSpPr>
            <p:spPr>
              <a:xfrm>
                <a:off x="24394117" y="4098782"/>
                <a:ext cx="238484" cy="181285"/>
              </a:xfrm>
              <a:custGeom>
                <a:avLst/>
                <a:gdLst>
                  <a:gd name="connsiteX0" fmla="*/ 169320 w 238484"/>
                  <a:gd name="connsiteY0" fmla="*/ 175114 h 181285"/>
                  <a:gd name="connsiteX1" fmla="*/ 147720 w 238484"/>
                  <a:gd name="connsiteY1" fmla="*/ 165857 h 181285"/>
                  <a:gd name="connsiteX2" fmla="*/ 113778 w 238484"/>
                  <a:gd name="connsiteY2" fmla="*/ 172029 h 181285"/>
                  <a:gd name="connsiteX3" fmla="*/ 95262 w 238484"/>
                  <a:gd name="connsiteY3" fmla="*/ 159686 h 181285"/>
                  <a:gd name="connsiteX4" fmla="*/ 58234 w 238484"/>
                  <a:gd name="connsiteY4" fmla="*/ 156600 h 181285"/>
                  <a:gd name="connsiteX5" fmla="*/ 45892 w 238484"/>
                  <a:gd name="connsiteY5" fmla="*/ 131914 h 181285"/>
                  <a:gd name="connsiteX6" fmla="*/ 21206 w 238484"/>
                  <a:gd name="connsiteY6" fmla="*/ 138086 h 181285"/>
                  <a:gd name="connsiteX7" fmla="*/ 2691 w 238484"/>
                  <a:gd name="connsiteY7" fmla="*/ 122657 h 181285"/>
                  <a:gd name="connsiteX8" fmla="*/ 52064 w 238484"/>
                  <a:gd name="connsiteY8" fmla="*/ 2314 h 181285"/>
                  <a:gd name="connsiteX9" fmla="*/ 61320 w 238484"/>
                  <a:gd name="connsiteY9" fmla="*/ 2314 h 181285"/>
                  <a:gd name="connsiteX10" fmla="*/ 61320 w 238484"/>
                  <a:gd name="connsiteY10" fmla="*/ 11571 h 181285"/>
                  <a:gd name="connsiteX11" fmla="*/ 15035 w 238484"/>
                  <a:gd name="connsiteY11" fmla="*/ 119571 h 181285"/>
                  <a:gd name="connsiteX12" fmla="*/ 24291 w 238484"/>
                  <a:gd name="connsiteY12" fmla="*/ 128829 h 181285"/>
                  <a:gd name="connsiteX13" fmla="*/ 48977 w 238484"/>
                  <a:gd name="connsiteY13" fmla="*/ 119571 h 181285"/>
                  <a:gd name="connsiteX14" fmla="*/ 55149 w 238484"/>
                  <a:gd name="connsiteY14" fmla="*/ 119571 h 181285"/>
                  <a:gd name="connsiteX15" fmla="*/ 58234 w 238484"/>
                  <a:gd name="connsiteY15" fmla="*/ 125743 h 181285"/>
                  <a:gd name="connsiteX16" fmla="*/ 67492 w 238484"/>
                  <a:gd name="connsiteY16" fmla="*/ 150429 h 181285"/>
                  <a:gd name="connsiteX17" fmla="*/ 98349 w 238484"/>
                  <a:gd name="connsiteY17" fmla="*/ 150429 h 181285"/>
                  <a:gd name="connsiteX18" fmla="*/ 104519 w 238484"/>
                  <a:gd name="connsiteY18" fmla="*/ 153514 h 181285"/>
                  <a:gd name="connsiteX19" fmla="*/ 119948 w 238484"/>
                  <a:gd name="connsiteY19" fmla="*/ 165857 h 181285"/>
                  <a:gd name="connsiteX20" fmla="*/ 147720 w 238484"/>
                  <a:gd name="connsiteY20" fmla="*/ 159686 h 181285"/>
                  <a:gd name="connsiteX21" fmla="*/ 153892 w 238484"/>
                  <a:gd name="connsiteY21" fmla="*/ 159686 h 181285"/>
                  <a:gd name="connsiteX22" fmla="*/ 156977 w 238484"/>
                  <a:gd name="connsiteY22" fmla="*/ 162771 h 181285"/>
                  <a:gd name="connsiteX23" fmla="*/ 184749 w 238484"/>
                  <a:gd name="connsiteY23" fmla="*/ 168943 h 181285"/>
                  <a:gd name="connsiteX24" fmla="*/ 224863 w 238484"/>
                  <a:gd name="connsiteY24" fmla="*/ 116486 h 181285"/>
                  <a:gd name="connsiteX25" fmla="*/ 234120 w 238484"/>
                  <a:gd name="connsiteY25" fmla="*/ 113400 h 181285"/>
                  <a:gd name="connsiteX26" fmla="*/ 237206 w 238484"/>
                  <a:gd name="connsiteY26" fmla="*/ 122657 h 181285"/>
                  <a:gd name="connsiteX27" fmla="*/ 190921 w 238484"/>
                  <a:gd name="connsiteY27" fmla="*/ 181286 h 181285"/>
                  <a:gd name="connsiteX28" fmla="*/ 169320 w 238484"/>
                  <a:gd name="connsiteY28" fmla="*/ 175114 h 181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38484" h="181285">
                    <a:moveTo>
                      <a:pt x="169320" y="175114"/>
                    </a:moveTo>
                    <a:cubicBezTo>
                      <a:pt x="160064" y="175114"/>
                      <a:pt x="150805" y="168943"/>
                      <a:pt x="147720" y="165857"/>
                    </a:cubicBezTo>
                    <a:cubicBezTo>
                      <a:pt x="135376" y="172029"/>
                      <a:pt x="123035" y="175114"/>
                      <a:pt x="113778" y="172029"/>
                    </a:cubicBezTo>
                    <a:cubicBezTo>
                      <a:pt x="104519" y="168943"/>
                      <a:pt x="98349" y="162771"/>
                      <a:pt x="95262" y="159686"/>
                    </a:cubicBezTo>
                    <a:cubicBezTo>
                      <a:pt x="79834" y="162771"/>
                      <a:pt x="67492" y="162771"/>
                      <a:pt x="58234" y="156600"/>
                    </a:cubicBezTo>
                    <a:cubicBezTo>
                      <a:pt x="48977" y="150429"/>
                      <a:pt x="45892" y="141172"/>
                      <a:pt x="45892" y="131914"/>
                    </a:cubicBezTo>
                    <a:cubicBezTo>
                      <a:pt x="39720" y="135000"/>
                      <a:pt x="30463" y="141172"/>
                      <a:pt x="21206" y="138086"/>
                    </a:cubicBezTo>
                    <a:cubicBezTo>
                      <a:pt x="11948" y="135000"/>
                      <a:pt x="5778" y="131914"/>
                      <a:pt x="2691" y="122657"/>
                    </a:cubicBezTo>
                    <a:cubicBezTo>
                      <a:pt x="-12738" y="91800"/>
                      <a:pt x="42805" y="11571"/>
                      <a:pt x="52064" y="2314"/>
                    </a:cubicBezTo>
                    <a:cubicBezTo>
                      <a:pt x="55149" y="-771"/>
                      <a:pt x="58234" y="-771"/>
                      <a:pt x="61320" y="2314"/>
                    </a:cubicBezTo>
                    <a:cubicBezTo>
                      <a:pt x="64405" y="5400"/>
                      <a:pt x="64405" y="8486"/>
                      <a:pt x="61320" y="11571"/>
                    </a:cubicBezTo>
                    <a:cubicBezTo>
                      <a:pt x="39720" y="42429"/>
                      <a:pt x="5778" y="101057"/>
                      <a:pt x="15035" y="119571"/>
                    </a:cubicBezTo>
                    <a:cubicBezTo>
                      <a:pt x="18120" y="125743"/>
                      <a:pt x="21206" y="128829"/>
                      <a:pt x="24291" y="128829"/>
                    </a:cubicBezTo>
                    <a:cubicBezTo>
                      <a:pt x="33548" y="131914"/>
                      <a:pt x="45892" y="122657"/>
                      <a:pt x="48977" y="119571"/>
                    </a:cubicBezTo>
                    <a:cubicBezTo>
                      <a:pt x="52064" y="116486"/>
                      <a:pt x="52064" y="116486"/>
                      <a:pt x="55149" y="119571"/>
                    </a:cubicBezTo>
                    <a:cubicBezTo>
                      <a:pt x="58234" y="119571"/>
                      <a:pt x="58234" y="122657"/>
                      <a:pt x="58234" y="125743"/>
                    </a:cubicBezTo>
                    <a:cubicBezTo>
                      <a:pt x="58234" y="125743"/>
                      <a:pt x="58234" y="141172"/>
                      <a:pt x="67492" y="150429"/>
                    </a:cubicBezTo>
                    <a:cubicBezTo>
                      <a:pt x="73662" y="156600"/>
                      <a:pt x="82921" y="156600"/>
                      <a:pt x="98349" y="150429"/>
                    </a:cubicBezTo>
                    <a:cubicBezTo>
                      <a:pt x="101434" y="150429"/>
                      <a:pt x="104519" y="150429"/>
                      <a:pt x="104519" y="153514"/>
                    </a:cubicBezTo>
                    <a:cubicBezTo>
                      <a:pt x="104519" y="153514"/>
                      <a:pt x="110691" y="162771"/>
                      <a:pt x="119948" y="165857"/>
                    </a:cubicBezTo>
                    <a:cubicBezTo>
                      <a:pt x="129206" y="168943"/>
                      <a:pt x="138463" y="165857"/>
                      <a:pt x="147720" y="159686"/>
                    </a:cubicBezTo>
                    <a:cubicBezTo>
                      <a:pt x="147720" y="159686"/>
                      <a:pt x="150805" y="159686"/>
                      <a:pt x="153892" y="159686"/>
                    </a:cubicBezTo>
                    <a:cubicBezTo>
                      <a:pt x="156977" y="159686"/>
                      <a:pt x="156977" y="162771"/>
                      <a:pt x="156977" y="162771"/>
                    </a:cubicBezTo>
                    <a:cubicBezTo>
                      <a:pt x="156977" y="162771"/>
                      <a:pt x="166234" y="178200"/>
                      <a:pt x="184749" y="168943"/>
                    </a:cubicBezTo>
                    <a:cubicBezTo>
                      <a:pt x="209434" y="159686"/>
                      <a:pt x="224863" y="116486"/>
                      <a:pt x="224863" y="116486"/>
                    </a:cubicBezTo>
                    <a:cubicBezTo>
                      <a:pt x="224863" y="113400"/>
                      <a:pt x="231035" y="110314"/>
                      <a:pt x="234120" y="113400"/>
                    </a:cubicBezTo>
                    <a:cubicBezTo>
                      <a:pt x="237206" y="113400"/>
                      <a:pt x="240291" y="116486"/>
                      <a:pt x="237206" y="122657"/>
                    </a:cubicBezTo>
                    <a:cubicBezTo>
                      <a:pt x="237206" y="125743"/>
                      <a:pt x="218691" y="168943"/>
                      <a:pt x="190921" y="181286"/>
                    </a:cubicBezTo>
                    <a:cubicBezTo>
                      <a:pt x="181662" y="172029"/>
                      <a:pt x="175492" y="175114"/>
                      <a:pt x="169320" y="17511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95DF8619-11FF-4D8B-8D2C-B9FB641BECA4}"/>
                </a:ext>
              </a:extLst>
            </p:cNvPr>
            <p:cNvSpPr/>
            <p:nvPr/>
          </p:nvSpPr>
          <p:spPr>
            <a:xfrm>
              <a:off x="24073010" y="2610876"/>
              <a:ext cx="864665" cy="1514906"/>
            </a:xfrm>
            <a:custGeom>
              <a:avLst/>
              <a:gdLst>
                <a:gd name="connsiteX0" fmla="*/ 24483 w 864665"/>
                <a:gd name="connsiteY0" fmla="*/ 89306 h 1514906"/>
                <a:gd name="connsiteX1" fmla="*/ 123227 w 864665"/>
                <a:gd name="connsiteY1" fmla="*/ 391706 h 1514906"/>
                <a:gd name="connsiteX2" fmla="*/ 502769 w 864665"/>
                <a:gd name="connsiteY2" fmla="*/ 765077 h 1514906"/>
                <a:gd name="connsiteX3" fmla="*/ 431798 w 864665"/>
                <a:gd name="connsiteY3" fmla="*/ 1428506 h 1514906"/>
                <a:gd name="connsiteX4" fmla="*/ 598427 w 864665"/>
                <a:gd name="connsiteY4" fmla="*/ 1514906 h 1514906"/>
                <a:gd name="connsiteX5" fmla="*/ 863798 w 864665"/>
                <a:gd name="connsiteY5" fmla="*/ 672506 h 1514906"/>
                <a:gd name="connsiteX6" fmla="*/ 258999 w 864665"/>
                <a:gd name="connsiteY6" fmla="*/ 24506 h 1514906"/>
                <a:gd name="connsiteX7" fmla="*/ 24483 w 864665"/>
                <a:gd name="connsiteY7" fmla="*/ 89306 h 1514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64665" h="1514906">
                  <a:moveTo>
                    <a:pt x="24483" y="89306"/>
                  </a:moveTo>
                  <a:cubicBezTo>
                    <a:pt x="-24887" y="151020"/>
                    <a:pt x="-3287" y="271363"/>
                    <a:pt x="123227" y="391706"/>
                  </a:cubicBezTo>
                  <a:cubicBezTo>
                    <a:pt x="299113" y="555249"/>
                    <a:pt x="502769" y="765077"/>
                    <a:pt x="502769" y="765077"/>
                  </a:cubicBezTo>
                  <a:lnTo>
                    <a:pt x="431798" y="1428506"/>
                  </a:lnTo>
                  <a:lnTo>
                    <a:pt x="598427" y="1514906"/>
                  </a:lnTo>
                  <a:cubicBezTo>
                    <a:pt x="598427" y="1514906"/>
                    <a:pt x="882314" y="802106"/>
                    <a:pt x="863798" y="672506"/>
                  </a:cubicBezTo>
                  <a:cubicBezTo>
                    <a:pt x="848370" y="567592"/>
                    <a:pt x="552142" y="237420"/>
                    <a:pt x="258999" y="24506"/>
                  </a:cubicBezTo>
                  <a:cubicBezTo>
                    <a:pt x="178769" y="-31037"/>
                    <a:pt x="86198" y="15249"/>
                    <a:pt x="24483" y="89306"/>
                  </a:cubicBezTo>
                  <a:close/>
                </a:path>
              </a:pathLst>
            </a:custGeom>
            <a:solidFill>
              <a:srgbClr val="708686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F4B01533-7E45-41F7-82B3-07A5BBD7E145}"/>
                </a:ext>
              </a:extLst>
            </p:cNvPr>
            <p:cNvSpPr/>
            <p:nvPr/>
          </p:nvSpPr>
          <p:spPr>
            <a:xfrm>
              <a:off x="24132209" y="2947810"/>
              <a:ext cx="533056" cy="434314"/>
            </a:xfrm>
            <a:custGeom>
              <a:avLst/>
              <a:gdLst>
                <a:gd name="connsiteX0" fmla="*/ 440486 w 533056"/>
                <a:gd name="connsiteY0" fmla="*/ 434314 h 434314"/>
                <a:gd name="connsiteX1" fmla="*/ 440486 w 533056"/>
                <a:gd name="connsiteY1" fmla="*/ 434314 h 434314"/>
                <a:gd name="connsiteX2" fmla="*/ 104142 w 533056"/>
                <a:gd name="connsiteY2" fmla="*/ 101057 h 434314"/>
                <a:gd name="connsiteX3" fmla="*/ 2314 w 533056"/>
                <a:gd name="connsiteY3" fmla="*/ 11571 h 434314"/>
                <a:gd name="connsiteX4" fmla="*/ 2314 w 533056"/>
                <a:gd name="connsiteY4" fmla="*/ 2314 h 434314"/>
                <a:gd name="connsiteX5" fmla="*/ 11570 w 533056"/>
                <a:gd name="connsiteY5" fmla="*/ 2314 h 434314"/>
                <a:gd name="connsiteX6" fmla="*/ 113401 w 533056"/>
                <a:gd name="connsiteY6" fmla="*/ 91800 h 434314"/>
                <a:gd name="connsiteX7" fmla="*/ 446657 w 533056"/>
                <a:gd name="connsiteY7" fmla="*/ 421971 h 434314"/>
                <a:gd name="connsiteX8" fmla="*/ 526885 w 533056"/>
                <a:gd name="connsiteY8" fmla="*/ 412714 h 434314"/>
                <a:gd name="connsiteX9" fmla="*/ 533057 w 533056"/>
                <a:gd name="connsiteY9" fmla="*/ 418886 h 434314"/>
                <a:gd name="connsiteX10" fmla="*/ 526885 w 533056"/>
                <a:gd name="connsiteY10" fmla="*/ 425057 h 434314"/>
                <a:gd name="connsiteX11" fmla="*/ 440486 w 533056"/>
                <a:gd name="connsiteY11" fmla="*/ 434314 h 434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3056" h="434314">
                  <a:moveTo>
                    <a:pt x="440486" y="434314"/>
                  </a:moveTo>
                  <a:lnTo>
                    <a:pt x="440486" y="434314"/>
                  </a:lnTo>
                  <a:cubicBezTo>
                    <a:pt x="434314" y="428143"/>
                    <a:pt x="144258" y="141171"/>
                    <a:pt x="104142" y="101057"/>
                  </a:cubicBezTo>
                  <a:cubicBezTo>
                    <a:pt x="104142" y="101057"/>
                    <a:pt x="54771" y="48600"/>
                    <a:pt x="2314" y="11571"/>
                  </a:cubicBezTo>
                  <a:cubicBezTo>
                    <a:pt x="-771" y="8486"/>
                    <a:pt x="-771" y="5400"/>
                    <a:pt x="2314" y="2314"/>
                  </a:cubicBezTo>
                  <a:cubicBezTo>
                    <a:pt x="5401" y="-771"/>
                    <a:pt x="8486" y="-771"/>
                    <a:pt x="11570" y="2314"/>
                  </a:cubicBezTo>
                  <a:cubicBezTo>
                    <a:pt x="67115" y="39343"/>
                    <a:pt x="113401" y="91800"/>
                    <a:pt x="113401" y="91800"/>
                  </a:cubicBezTo>
                  <a:cubicBezTo>
                    <a:pt x="153514" y="131914"/>
                    <a:pt x="421972" y="394200"/>
                    <a:pt x="446657" y="421971"/>
                  </a:cubicBezTo>
                  <a:lnTo>
                    <a:pt x="526885" y="412714"/>
                  </a:lnTo>
                  <a:cubicBezTo>
                    <a:pt x="529972" y="412714"/>
                    <a:pt x="533057" y="415800"/>
                    <a:pt x="533057" y="418886"/>
                  </a:cubicBezTo>
                  <a:cubicBezTo>
                    <a:pt x="533057" y="421971"/>
                    <a:pt x="529972" y="425057"/>
                    <a:pt x="526885" y="425057"/>
                  </a:cubicBezTo>
                  <a:lnTo>
                    <a:pt x="440486" y="434314"/>
                  </a:ln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6FE53AA1-8DB3-4D5A-A958-71724A1319A4}"/>
                </a:ext>
              </a:extLst>
            </p:cNvPr>
            <p:cNvSpPr/>
            <p:nvPr/>
          </p:nvSpPr>
          <p:spPr>
            <a:xfrm>
              <a:off x="24011094" y="2240410"/>
              <a:ext cx="67886" cy="141942"/>
            </a:xfrm>
            <a:custGeom>
              <a:avLst/>
              <a:gdLst>
                <a:gd name="connsiteX0" fmla="*/ 67886 w 67886"/>
                <a:gd name="connsiteY0" fmla="*/ 0 h 141942"/>
                <a:gd name="connsiteX1" fmla="*/ 3087 w 67886"/>
                <a:gd name="connsiteY1" fmla="*/ 141943 h 141942"/>
                <a:gd name="connsiteX2" fmla="*/ 0 w 67886"/>
                <a:gd name="connsiteY2" fmla="*/ 55543 h 141942"/>
                <a:gd name="connsiteX3" fmla="*/ 67886 w 67886"/>
                <a:gd name="connsiteY3" fmla="*/ 0 h 141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86" h="141942">
                  <a:moveTo>
                    <a:pt x="67886" y="0"/>
                  </a:moveTo>
                  <a:cubicBezTo>
                    <a:pt x="67886" y="0"/>
                    <a:pt x="55542" y="120343"/>
                    <a:pt x="3087" y="141943"/>
                  </a:cubicBezTo>
                  <a:lnTo>
                    <a:pt x="0" y="55543"/>
                  </a:lnTo>
                  <a:lnTo>
                    <a:pt x="67886" y="0"/>
                  </a:lnTo>
                  <a:close/>
                </a:path>
              </a:pathLst>
            </a:custGeom>
            <a:solidFill>
              <a:srgbClr val="F1DDBA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25923F8D-7662-41BE-80F8-0D005B0FDDDC}"/>
                </a:ext>
              </a:extLst>
            </p:cNvPr>
            <p:cNvSpPr/>
            <p:nvPr/>
          </p:nvSpPr>
          <p:spPr>
            <a:xfrm>
              <a:off x="23612832" y="2036753"/>
              <a:ext cx="102972" cy="240698"/>
            </a:xfrm>
            <a:custGeom>
              <a:avLst/>
              <a:gdLst>
                <a:gd name="connsiteX0" fmla="*/ 6375 w 102972"/>
                <a:gd name="connsiteY0" fmla="*/ 0 h 240698"/>
                <a:gd name="connsiteX1" fmla="*/ 49576 w 102972"/>
                <a:gd name="connsiteY1" fmla="*/ 237600 h 240698"/>
                <a:gd name="connsiteX2" fmla="*/ 102034 w 102972"/>
                <a:gd name="connsiteY2" fmla="*/ 15429 h 240698"/>
                <a:gd name="connsiteX3" fmla="*/ 6375 w 102972"/>
                <a:gd name="connsiteY3" fmla="*/ 0 h 24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972" h="240698">
                  <a:moveTo>
                    <a:pt x="6375" y="0"/>
                  </a:moveTo>
                  <a:cubicBezTo>
                    <a:pt x="6375" y="0"/>
                    <a:pt x="-24482" y="197486"/>
                    <a:pt x="49576" y="237600"/>
                  </a:cubicBezTo>
                  <a:cubicBezTo>
                    <a:pt x="114375" y="271543"/>
                    <a:pt x="102034" y="15429"/>
                    <a:pt x="102034" y="15429"/>
                  </a:cubicBezTo>
                  <a:lnTo>
                    <a:pt x="6375" y="0"/>
                  </a:lnTo>
                  <a:close/>
                </a:path>
              </a:pathLst>
            </a:custGeom>
            <a:solidFill>
              <a:srgbClr val="F1DDBA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C391D34D-DF72-471A-80A3-3964B66D211F}"/>
                </a:ext>
              </a:extLst>
            </p:cNvPr>
            <p:cNvSpPr/>
            <p:nvPr/>
          </p:nvSpPr>
          <p:spPr>
            <a:xfrm>
              <a:off x="23649723" y="1893910"/>
              <a:ext cx="426171" cy="575453"/>
            </a:xfrm>
            <a:custGeom>
              <a:avLst/>
              <a:gdLst>
                <a:gd name="connsiteX0" fmla="*/ 9600 w 426171"/>
                <a:gd name="connsiteY0" fmla="*/ 186043 h 575453"/>
                <a:gd name="connsiteX1" fmla="*/ 9600 w 426171"/>
                <a:gd name="connsiteY1" fmla="*/ 439072 h 575453"/>
                <a:gd name="connsiteX2" fmla="*/ 170056 w 426171"/>
                <a:gd name="connsiteY2" fmla="*/ 574843 h 575453"/>
                <a:gd name="connsiteX3" fmla="*/ 389143 w 426171"/>
                <a:gd name="connsiteY3" fmla="*/ 429815 h 575453"/>
                <a:gd name="connsiteX4" fmla="*/ 426172 w 426171"/>
                <a:gd name="connsiteY4" fmla="*/ 201472 h 575453"/>
                <a:gd name="connsiteX5" fmla="*/ 210172 w 426171"/>
                <a:gd name="connsiteY5" fmla="*/ 901 h 575453"/>
                <a:gd name="connsiteX6" fmla="*/ 9600 w 426171"/>
                <a:gd name="connsiteY6" fmla="*/ 186043 h 575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171" h="575453">
                  <a:moveTo>
                    <a:pt x="9600" y="186043"/>
                  </a:moveTo>
                  <a:cubicBezTo>
                    <a:pt x="9600" y="186043"/>
                    <a:pt x="-12000" y="365015"/>
                    <a:pt x="9600" y="439072"/>
                  </a:cubicBezTo>
                  <a:cubicBezTo>
                    <a:pt x="28114" y="506958"/>
                    <a:pt x="120685" y="571758"/>
                    <a:pt x="170056" y="574843"/>
                  </a:cubicBezTo>
                  <a:cubicBezTo>
                    <a:pt x="237942" y="581015"/>
                    <a:pt x="358286" y="540901"/>
                    <a:pt x="389143" y="429815"/>
                  </a:cubicBezTo>
                  <a:cubicBezTo>
                    <a:pt x="410743" y="355758"/>
                    <a:pt x="426172" y="253929"/>
                    <a:pt x="426172" y="201472"/>
                  </a:cubicBezTo>
                  <a:cubicBezTo>
                    <a:pt x="423085" y="105815"/>
                    <a:pt x="398399" y="25586"/>
                    <a:pt x="210172" y="901"/>
                  </a:cubicBezTo>
                  <a:cubicBezTo>
                    <a:pt x="126857" y="-11442"/>
                    <a:pt x="31199" y="105815"/>
                    <a:pt x="9600" y="186043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E431B780-3299-42DC-B9AC-49BA97BADA63}"/>
                </a:ext>
              </a:extLst>
            </p:cNvPr>
            <p:cNvSpPr/>
            <p:nvPr/>
          </p:nvSpPr>
          <p:spPr>
            <a:xfrm>
              <a:off x="23788922" y="2160182"/>
              <a:ext cx="58629" cy="138857"/>
            </a:xfrm>
            <a:custGeom>
              <a:avLst/>
              <a:gdLst>
                <a:gd name="connsiteX0" fmla="*/ 30857 w 58629"/>
                <a:gd name="connsiteY0" fmla="*/ 138857 h 138857"/>
                <a:gd name="connsiteX1" fmla="*/ 6172 w 58629"/>
                <a:gd name="connsiteY1" fmla="*/ 132686 h 138857"/>
                <a:gd name="connsiteX2" fmla="*/ 0 w 58629"/>
                <a:gd name="connsiteY2" fmla="*/ 120343 h 138857"/>
                <a:gd name="connsiteX3" fmla="*/ 15429 w 58629"/>
                <a:gd name="connsiteY3" fmla="*/ 6171 h 138857"/>
                <a:gd name="connsiteX4" fmla="*/ 21600 w 58629"/>
                <a:gd name="connsiteY4" fmla="*/ 0 h 138857"/>
                <a:gd name="connsiteX5" fmla="*/ 27772 w 58629"/>
                <a:gd name="connsiteY5" fmla="*/ 6171 h 138857"/>
                <a:gd name="connsiteX6" fmla="*/ 12344 w 58629"/>
                <a:gd name="connsiteY6" fmla="*/ 120343 h 138857"/>
                <a:gd name="connsiteX7" fmla="*/ 12344 w 58629"/>
                <a:gd name="connsiteY7" fmla="*/ 123429 h 138857"/>
                <a:gd name="connsiteX8" fmla="*/ 52458 w 58629"/>
                <a:gd name="connsiteY8" fmla="*/ 123429 h 138857"/>
                <a:gd name="connsiteX9" fmla="*/ 58629 w 58629"/>
                <a:gd name="connsiteY9" fmla="*/ 129600 h 138857"/>
                <a:gd name="connsiteX10" fmla="*/ 52458 w 58629"/>
                <a:gd name="connsiteY10" fmla="*/ 135771 h 138857"/>
                <a:gd name="connsiteX11" fmla="*/ 30857 w 58629"/>
                <a:gd name="connsiteY11" fmla="*/ 138857 h 13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629" h="138857">
                  <a:moveTo>
                    <a:pt x="30857" y="138857"/>
                  </a:moveTo>
                  <a:cubicBezTo>
                    <a:pt x="21600" y="138857"/>
                    <a:pt x="12344" y="138857"/>
                    <a:pt x="6172" y="132686"/>
                  </a:cubicBezTo>
                  <a:cubicBezTo>
                    <a:pt x="3087" y="129600"/>
                    <a:pt x="0" y="126514"/>
                    <a:pt x="0" y="120343"/>
                  </a:cubicBezTo>
                  <a:cubicBezTo>
                    <a:pt x="0" y="98743"/>
                    <a:pt x="15429" y="9257"/>
                    <a:pt x="15429" y="6171"/>
                  </a:cubicBezTo>
                  <a:cubicBezTo>
                    <a:pt x="15429" y="3086"/>
                    <a:pt x="18515" y="0"/>
                    <a:pt x="21600" y="0"/>
                  </a:cubicBezTo>
                  <a:cubicBezTo>
                    <a:pt x="24687" y="0"/>
                    <a:pt x="27772" y="3086"/>
                    <a:pt x="27772" y="6171"/>
                  </a:cubicBezTo>
                  <a:cubicBezTo>
                    <a:pt x="27772" y="6171"/>
                    <a:pt x="12344" y="98743"/>
                    <a:pt x="12344" y="120343"/>
                  </a:cubicBezTo>
                  <a:cubicBezTo>
                    <a:pt x="12344" y="120343"/>
                    <a:pt x="12344" y="123429"/>
                    <a:pt x="12344" y="123429"/>
                  </a:cubicBezTo>
                  <a:cubicBezTo>
                    <a:pt x="18515" y="129600"/>
                    <a:pt x="40116" y="126514"/>
                    <a:pt x="52458" y="123429"/>
                  </a:cubicBezTo>
                  <a:cubicBezTo>
                    <a:pt x="55544" y="123429"/>
                    <a:pt x="58629" y="123429"/>
                    <a:pt x="58629" y="129600"/>
                  </a:cubicBezTo>
                  <a:cubicBezTo>
                    <a:pt x="58629" y="132686"/>
                    <a:pt x="58629" y="135771"/>
                    <a:pt x="52458" y="135771"/>
                  </a:cubicBezTo>
                  <a:cubicBezTo>
                    <a:pt x="52458" y="138857"/>
                    <a:pt x="43201" y="138857"/>
                    <a:pt x="30857" y="138857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FED20BC6-9BB9-4B7B-8610-EBFB2AD29F81}"/>
                </a:ext>
              </a:extLst>
            </p:cNvPr>
            <p:cNvSpPr/>
            <p:nvPr/>
          </p:nvSpPr>
          <p:spPr>
            <a:xfrm>
              <a:off x="23717165" y="2137795"/>
              <a:ext cx="41505" cy="41505"/>
            </a:xfrm>
            <a:custGeom>
              <a:avLst/>
              <a:gdLst>
                <a:gd name="connsiteX0" fmla="*/ 40900 w 41505"/>
                <a:gd name="connsiteY0" fmla="*/ 25472 h 41505"/>
                <a:gd name="connsiteX1" fmla="*/ 16215 w 41505"/>
                <a:gd name="connsiteY1" fmla="*/ 40901 h 41505"/>
                <a:gd name="connsiteX2" fmla="*/ 786 w 41505"/>
                <a:gd name="connsiteY2" fmla="*/ 16215 h 41505"/>
                <a:gd name="connsiteX3" fmla="*/ 25471 w 41505"/>
                <a:gd name="connsiteY3" fmla="*/ 786 h 41505"/>
                <a:gd name="connsiteX4" fmla="*/ 40900 w 41505"/>
                <a:gd name="connsiteY4" fmla="*/ 25472 h 4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5" h="41505">
                  <a:moveTo>
                    <a:pt x="40900" y="25472"/>
                  </a:moveTo>
                  <a:cubicBezTo>
                    <a:pt x="37815" y="34729"/>
                    <a:pt x="28558" y="43986"/>
                    <a:pt x="16215" y="40901"/>
                  </a:cubicBezTo>
                  <a:cubicBezTo>
                    <a:pt x="3873" y="37815"/>
                    <a:pt x="-2299" y="28558"/>
                    <a:pt x="786" y="16215"/>
                  </a:cubicBezTo>
                  <a:cubicBezTo>
                    <a:pt x="3873" y="3872"/>
                    <a:pt x="13130" y="-2299"/>
                    <a:pt x="25471" y="786"/>
                  </a:cubicBezTo>
                  <a:cubicBezTo>
                    <a:pt x="34730" y="3872"/>
                    <a:pt x="43987" y="16215"/>
                    <a:pt x="40900" y="25472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A0FA53B8-7F85-4B37-BF20-3C78FF05D38E}"/>
                </a:ext>
              </a:extLst>
            </p:cNvPr>
            <p:cNvSpPr/>
            <p:nvPr/>
          </p:nvSpPr>
          <p:spPr>
            <a:xfrm>
              <a:off x="23902308" y="2156310"/>
              <a:ext cx="41505" cy="41505"/>
            </a:xfrm>
            <a:custGeom>
              <a:avLst/>
              <a:gdLst>
                <a:gd name="connsiteX0" fmla="*/ 40900 w 41505"/>
                <a:gd name="connsiteY0" fmla="*/ 25472 h 41505"/>
                <a:gd name="connsiteX1" fmla="*/ 16215 w 41505"/>
                <a:gd name="connsiteY1" fmla="*/ 40901 h 41505"/>
                <a:gd name="connsiteX2" fmla="*/ 786 w 41505"/>
                <a:gd name="connsiteY2" fmla="*/ 16215 h 41505"/>
                <a:gd name="connsiteX3" fmla="*/ 25471 w 41505"/>
                <a:gd name="connsiteY3" fmla="*/ 786 h 41505"/>
                <a:gd name="connsiteX4" fmla="*/ 40900 w 41505"/>
                <a:gd name="connsiteY4" fmla="*/ 25472 h 4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5" h="41505">
                  <a:moveTo>
                    <a:pt x="40900" y="25472"/>
                  </a:moveTo>
                  <a:cubicBezTo>
                    <a:pt x="37815" y="34729"/>
                    <a:pt x="28558" y="43986"/>
                    <a:pt x="16215" y="40901"/>
                  </a:cubicBezTo>
                  <a:cubicBezTo>
                    <a:pt x="3873" y="37815"/>
                    <a:pt x="-2299" y="28558"/>
                    <a:pt x="786" y="16215"/>
                  </a:cubicBezTo>
                  <a:cubicBezTo>
                    <a:pt x="3873" y="3872"/>
                    <a:pt x="13130" y="-2299"/>
                    <a:pt x="25471" y="786"/>
                  </a:cubicBezTo>
                  <a:cubicBezTo>
                    <a:pt x="34730" y="3872"/>
                    <a:pt x="43987" y="13129"/>
                    <a:pt x="40900" y="25472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9895D89C-9239-4657-A2D7-4AFCB4D633F8}"/>
                </a:ext>
              </a:extLst>
            </p:cNvPr>
            <p:cNvSpPr/>
            <p:nvPr/>
          </p:nvSpPr>
          <p:spPr>
            <a:xfrm>
              <a:off x="23690952" y="2088031"/>
              <a:ext cx="93077" cy="35121"/>
            </a:xfrm>
            <a:custGeom>
              <a:avLst/>
              <a:gdLst>
                <a:gd name="connsiteX0" fmla="*/ 8486 w 93077"/>
                <a:gd name="connsiteY0" fmla="*/ 35122 h 35121"/>
                <a:gd name="connsiteX1" fmla="*/ 2314 w 93077"/>
                <a:gd name="connsiteY1" fmla="*/ 32036 h 35121"/>
                <a:gd name="connsiteX2" fmla="*/ 2314 w 93077"/>
                <a:gd name="connsiteY2" fmla="*/ 19693 h 35121"/>
                <a:gd name="connsiteX3" fmla="*/ 88713 w 93077"/>
                <a:gd name="connsiteY3" fmla="*/ 10436 h 35121"/>
                <a:gd name="connsiteX4" fmla="*/ 91800 w 93077"/>
                <a:gd name="connsiteY4" fmla="*/ 19693 h 35121"/>
                <a:gd name="connsiteX5" fmla="*/ 82542 w 93077"/>
                <a:gd name="connsiteY5" fmla="*/ 22779 h 35121"/>
                <a:gd name="connsiteX6" fmla="*/ 14657 w 93077"/>
                <a:gd name="connsiteY6" fmla="*/ 28951 h 35121"/>
                <a:gd name="connsiteX7" fmla="*/ 8486 w 93077"/>
                <a:gd name="connsiteY7" fmla="*/ 35122 h 35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7" h="35121">
                  <a:moveTo>
                    <a:pt x="8486" y="35122"/>
                  </a:moveTo>
                  <a:cubicBezTo>
                    <a:pt x="5399" y="35122"/>
                    <a:pt x="5399" y="35122"/>
                    <a:pt x="2314" y="32036"/>
                  </a:cubicBezTo>
                  <a:cubicBezTo>
                    <a:pt x="-771" y="28951"/>
                    <a:pt x="-771" y="22779"/>
                    <a:pt x="2314" y="19693"/>
                  </a:cubicBezTo>
                  <a:cubicBezTo>
                    <a:pt x="30086" y="-11164"/>
                    <a:pt x="70200" y="1179"/>
                    <a:pt x="88713" y="10436"/>
                  </a:cubicBezTo>
                  <a:cubicBezTo>
                    <a:pt x="91800" y="13522"/>
                    <a:pt x="94885" y="16608"/>
                    <a:pt x="91800" y="19693"/>
                  </a:cubicBezTo>
                  <a:cubicBezTo>
                    <a:pt x="88713" y="22779"/>
                    <a:pt x="85628" y="25865"/>
                    <a:pt x="82542" y="22779"/>
                  </a:cubicBezTo>
                  <a:cubicBezTo>
                    <a:pt x="79457" y="22779"/>
                    <a:pt x="39343" y="1179"/>
                    <a:pt x="14657" y="28951"/>
                  </a:cubicBezTo>
                  <a:cubicBezTo>
                    <a:pt x="11570" y="35122"/>
                    <a:pt x="11570" y="35122"/>
                    <a:pt x="8486" y="35122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5BBA503A-812A-41C1-B88C-67AA045CA592}"/>
                </a:ext>
              </a:extLst>
            </p:cNvPr>
            <p:cNvSpPr/>
            <p:nvPr/>
          </p:nvSpPr>
          <p:spPr>
            <a:xfrm>
              <a:off x="23880215" y="2086438"/>
              <a:ext cx="93077" cy="36714"/>
            </a:xfrm>
            <a:custGeom>
              <a:avLst/>
              <a:gdLst>
                <a:gd name="connsiteX0" fmla="*/ 87679 w 93077"/>
                <a:gd name="connsiteY0" fmla="*/ 36715 h 36714"/>
                <a:gd name="connsiteX1" fmla="*/ 81507 w 93077"/>
                <a:gd name="connsiteY1" fmla="*/ 33629 h 36714"/>
                <a:gd name="connsiteX2" fmla="*/ 13621 w 93077"/>
                <a:gd name="connsiteY2" fmla="*/ 27457 h 36714"/>
                <a:gd name="connsiteX3" fmla="*/ 1278 w 93077"/>
                <a:gd name="connsiteY3" fmla="*/ 24372 h 36714"/>
                <a:gd name="connsiteX4" fmla="*/ 4365 w 93077"/>
                <a:gd name="connsiteY4" fmla="*/ 12029 h 36714"/>
                <a:gd name="connsiteX5" fmla="*/ 90764 w 93077"/>
                <a:gd name="connsiteY5" fmla="*/ 21286 h 36714"/>
                <a:gd name="connsiteX6" fmla="*/ 90764 w 93077"/>
                <a:gd name="connsiteY6" fmla="*/ 33629 h 36714"/>
                <a:gd name="connsiteX7" fmla="*/ 87679 w 93077"/>
                <a:gd name="connsiteY7" fmla="*/ 36715 h 3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7" h="36714">
                  <a:moveTo>
                    <a:pt x="87679" y="36715"/>
                  </a:moveTo>
                  <a:cubicBezTo>
                    <a:pt x="84592" y="36715"/>
                    <a:pt x="84592" y="36715"/>
                    <a:pt x="81507" y="33629"/>
                  </a:cubicBezTo>
                  <a:cubicBezTo>
                    <a:pt x="81507" y="33629"/>
                    <a:pt x="50650" y="2772"/>
                    <a:pt x="13621" y="27457"/>
                  </a:cubicBezTo>
                  <a:cubicBezTo>
                    <a:pt x="10536" y="30543"/>
                    <a:pt x="4365" y="27457"/>
                    <a:pt x="1278" y="24372"/>
                  </a:cubicBezTo>
                  <a:cubicBezTo>
                    <a:pt x="-1807" y="21286"/>
                    <a:pt x="1278" y="15115"/>
                    <a:pt x="4365" y="12029"/>
                  </a:cubicBezTo>
                  <a:cubicBezTo>
                    <a:pt x="41394" y="-12657"/>
                    <a:pt x="78421" y="5857"/>
                    <a:pt x="90764" y="21286"/>
                  </a:cubicBezTo>
                  <a:cubicBezTo>
                    <a:pt x="93849" y="24372"/>
                    <a:pt x="93849" y="30543"/>
                    <a:pt x="90764" y="33629"/>
                  </a:cubicBezTo>
                  <a:cubicBezTo>
                    <a:pt x="93849" y="36715"/>
                    <a:pt x="90764" y="36715"/>
                    <a:pt x="87679" y="36715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A6C52297-3064-40DE-B679-238DD6F66BBF}"/>
                </a:ext>
              </a:extLst>
            </p:cNvPr>
            <p:cNvSpPr/>
            <p:nvPr/>
          </p:nvSpPr>
          <p:spPr>
            <a:xfrm>
              <a:off x="24038865" y="2152508"/>
              <a:ext cx="78522" cy="115430"/>
            </a:xfrm>
            <a:custGeom>
              <a:avLst/>
              <a:gdLst>
                <a:gd name="connsiteX0" fmla="*/ 12342 w 78522"/>
                <a:gd name="connsiteY0" fmla="*/ 16931 h 115430"/>
                <a:gd name="connsiteX1" fmla="*/ 70972 w 78522"/>
                <a:gd name="connsiteY1" fmla="*/ 7674 h 115430"/>
                <a:gd name="connsiteX2" fmla="*/ 12342 w 78522"/>
                <a:gd name="connsiteY2" fmla="*/ 112588 h 115430"/>
                <a:gd name="connsiteX3" fmla="*/ 12342 w 78522"/>
                <a:gd name="connsiteY3" fmla="*/ 16931 h 115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22" h="115430">
                  <a:moveTo>
                    <a:pt x="12342" y="16931"/>
                  </a:moveTo>
                  <a:cubicBezTo>
                    <a:pt x="12342" y="16931"/>
                    <a:pt x="46286" y="-13926"/>
                    <a:pt x="70972" y="7674"/>
                  </a:cubicBezTo>
                  <a:cubicBezTo>
                    <a:pt x="95657" y="26188"/>
                    <a:pt x="55543" y="134188"/>
                    <a:pt x="12342" y="112588"/>
                  </a:cubicBezTo>
                  <a:cubicBezTo>
                    <a:pt x="-15428" y="94074"/>
                    <a:pt x="12342" y="16931"/>
                    <a:pt x="12342" y="16931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7790C73C-2E8C-4571-93A2-4000D52B9939}"/>
                </a:ext>
              </a:extLst>
            </p:cNvPr>
            <p:cNvSpPr/>
            <p:nvPr/>
          </p:nvSpPr>
          <p:spPr>
            <a:xfrm>
              <a:off x="23603234" y="1781744"/>
              <a:ext cx="519467" cy="409295"/>
            </a:xfrm>
            <a:custGeom>
              <a:avLst/>
              <a:gdLst>
                <a:gd name="connsiteX0" fmla="*/ 454145 w 519467"/>
                <a:gd name="connsiteY0" fmla="*/ 137752 h 409295"/>
                <a:gd name="connsiteX1" fmla="*/ 435631 w 519467"/>
                <a:gd name="connsiteY1" fmla="*/ 97638 h 409295"/>
                <a:gd name="connsiteX2" fmla="*/ 423288 w 519467"/>
                <a:gd name="connsiteY2" fmla="*/ 100724 h 409295"/>
                <a:gd name="connsiteX3" fmla="*/ 392431 w 519467"/>
                <a:gd name="connsiteY3" fmla="*/ 79124 h 409295"/>
                <a:gd name="connsiteX4" fmla="*/ 380089 w 519467"/>
                <a:gd name="connsiteY4" fmla="*/ 60610 h 409295"/>
                <a:gd name="connsiteX5" fmla="*/ 349232 w 519467"/>
                <a:gd name="connsiteY5" fmla="*/ 26667 h 409295"/>
                <a:gd name="connsiteX6" fmla="*/ 315288 w 519467"/>
                <a:gd name="connsiteY6" fmla="*/ 23581 h 409295"/>
                <a:gd name="connsiteX7" fmla="*/ 259745 w 519467"/>
                <a:gd name="connsiteY7" fmla="*/ 8152 h 409295"/>
                <a:gd name="connsiteX8" fmla="*/ 247402 w 519467"/>
                <a:gd name="connsiteY8" fmla="*/ 1981 h 409295"/>
                <a:gd name="connsiteX9" fmla="*/ 120888 w 519467"/>
                <a:gd name="connsiteY9" fmla="*/ 39010 h 409295"/>
                <a:gd name="connsiteX10" fmla="*/ 59174 w 519467"/>
                <a:gd name="connsiteY10" fmla="*/ 60610 h 409295"/>
                <a:gd name="connsiteX11" fmla="*/ 43745 w 519467"/>
                <a:gd name="connsiteY11" fmla="*/ 103810 h 409295"/>
                <a:gd name="connsiteX12" fmla="*/ 25232 w 519467"/>
                <a:gd name="connsiteY12" fmla="*/ 131581 h 409295"/>
                <a:gd name="connsiteX13" fmla="*/ 19060 w 519467"/>
                <a:gd name="connsiteY13" fmla="*/ 168610 h 409295"/>
                <a:gd name="connsiteX14" fmla="*/ 22145 w 519467"/>
                <a:gd name="connsiteY14" fmla="*/ 202552 h 409295"/>
                <a:gd name="connsiteX15" fmla="*/ 3631 w 519467"/>
                <a:gd name="connsiteY15" fmla="*/ 245752 h 409295"/>
                <a:gd name="connsiteX16" fmla="*/ 22145 w 519467"/>
                <a:gd name="connsiteY16" fmla="*/ 344495 h 409295"/>
                <a:gd name="connsiteX17" fmla="*/ 31402 w 519467"/>
                <a:gd name="connsiteY17" fmla="*/ 347581 h 409295"/>
                <a:gd name="connsiteX18" fmla="*/ 40660 w 519467"/>
                <a:gd name="connsiteY18" fmla="*/ 378438 h 409295"/>
                <a:gd name="connsiteX19" fmla="*/ 59174 w 519467"/>
                <a:gd name="connsiteY19" fmla="*/ 322895 h 409295"/>
                <a:gd name="connsiteX20" fmla="*/ 90031 w 519467"/>
                <a:gd name="connsiteY20" fmla="*/ 310552 h 409295"/>
                <a:gd name="connsiteX21" fmla="*/ 108545 w 519467"/>
                <a:gd name="connsiteY21" fmla="*/ 288952 h 409295"/>
                <a:gd name="connsiteX22" fmla="*/ 114716 w 519467"/>
                <a:gd name="connsiteY22" fmla="*/ 279695 h 409295"/>
                <a:gd name="connsiteX23" fmla="*/ 120888 w 519467"/>
                <a:gd name="connsiteY23" fmla="*/ 276610 h 409295"/>
                <a:gd name="connsiteX24" fmla="*/ 127060 w 519467"/>
                <a:gd name="connsiteY24" fmla="*/ 276610 h 409295"/>
                <a:gd name="connsiteX25" fmla="*/ 133232 w 519467"/>
                <a:gd name="connsiteY25" fmla="*/ 273524 h 409295"/>
                <a:gd name="connsiteX26" fmla="*/ 142489 w 519467"/>
                <a:gd name="connsiteY26" fmla="*/ 267352 h 409295"/>
                <a:gd name="connsiteX27" fmla="*/ 154830 w 519467"/>
                <a:gd name="connsiteY27" fmla="*/ 270438 h 409295"/>
                <a:gd name="connsiteX28" fmla="*/ 167174 w 519467"/>
                <a:gd name="connsiteY28" fmla="*/ 270438 h 409295"/>
                <a:gd name="connsiteX29" fmla="*/ 204203 w 519467"/>
                <a:gd name="connsiteY29" fmla="*/ 261181 h 409295"/>
                <a:gd name="connsiteX30" fmla="*/ 256660 w 519467"/>
                <a:gd name="connsiteY30" fmla="*/ 245752 h 409295"/>
                <a:gd name="connsiteX31" fmla="*/ 272089 w 519467"/>
                <a:gd name="connsiteY31" fmla="*/ 255010 h 409295"/>
                <a:gd name="connsiteX32" fmla="*/ 309116 w 519467"/>
                <a:gd name="connsiteY32" fmla="*/ 233410 h 409295"/>
                <a:gd name="connsiteX33" fmla="*/ 321460 w 519467"/>
                <a:gd name="connsiteY33" fmla="*/ 236495 h 409295"/>
                <a:gd name="connsiteX34" fmla="*/ 398603 w 519467"/>
                <a:gd name="connsiteY34" fmla="*/ 264267 h 409295"/>
                <a:gd name="connsiteX35" fmla="*/ 407859 w 519467"/>
                <a:gd name="connsiteY35" fmla="*/ 267352 h 409295"/>
                <a:gd name="connsiteX36" fmla="*/ 460317 w 519467"/>
                <a:gd name="connsiteY36" fmla="*/ 409295 h 409295"/>
                <a:gd name="connsiteX37" fmla="*/ 518946 w 519467"/>
                <a:gd name="connsiteY37" fmla="*/ 307467 h 409295"/>
                <a:gd name="connsiteX38" fmla="*/ 454145 w 519467"/>
                <a:gd name="connsiteY38" fmla="*/ 137752 h 409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9467" h="409295">
                  <a:moveTo>
                    <a:pt x="454145" y="137752"/>
                  </a:moveTo>
                  <a:cubicBezTo>
                    <a:pt x="454145" y="122324"/>
                    <a:pt x="451060" y="106895"/>
                    <a:pt x="435631" y="97638"/>
                  </a:cubicBezTo>
                  <a:cubicBezTo>
                    <a:pt x="420203" y="85295"/>
                    <a:pt x="423288" y="97638"/>
                    <a:pt x="423288" y="100724"/>
                  </a:cubicBezTo>
                  <a:cubicBezTo>
                    <a:pt x="414031" y="94552"/>
                    <a:pt x="404774" y="85295"/>
                    <a:pt x="392431" y="79124"/>
                  </a:cubicBezTo>
                  <a:cubicBezTo>
                    <a:pt x="386259" y="72952"/>
                    <a:pt x="383174" y="66781"/>
                    <a:pt x="380089" y="60610"/>
                  </a:cubicBezTo>
                  <a:cubicBezTo>
                    <a:pt x="370830" y="48267"/>
                    <a:pt x="364660" y="35924"/>
                    <a:pt x="349232" y="26667"/>
                  </a:cubicBezTo>
                  <a:cubicBezTo>
                    <a:pt x="336888" y="20495"/>
                    <a:pt x="327631" y="23581"/>
                    <a:pt x="315288" y="23581"/>
                  </a:cubicBezTo>
                  <a:cubicBezTo>
                    <a:pt x="293688" y="23581"/>
                    <a:pt x="278259" y="17410"/>
                    <a:pt x="259745" y="8152"/>
                  </a:cubicBezTo>
                  <a:cubicBezTo>
                    <a:pt x="256660" y="5067"/>
                    <a:pt x="250489" y="1981"/>
                    <a:pt x="247402" y="1981"/>
                  </a:cubicBezTo>
                  <a:cubicBezTo>
                    <a:pt x="201116" y="-10362"/>
                    <a:pt x="167174" y="39010"/>
                    <a:pt x="120888" y="39010"/>
                  </a:cubicBezTo>
                  <a:cubicBezTo>
                    <a:pt x="96203" y="39010"/>
                    <a:pt x="71518" y="35924"/>
                    <a:pt x="59174" y="60610"/>
                  </a:cubicBezTo>
                  <a:cubicBezTo>
                    <a:pt x="53002" y="76038"/>
                    <a:pt x="53002" y="88381"/>
                    <a:pt x="43745" y="103810"/>
                  </a:cubicBezTo>
                  <a:cubicBezTo>
                    <a:pt x="37574" y="113067"/>
                    <a:pt x="28317" y="122324"/>
                    <a:pt x="25232" y="131581"/>
                  </a:cubicBezTo>
                  <a:cubicBezTo>
                    <a:pt x="19060" y="140838"/>
                    <a:pt x="15973" y="156267"/>
                    <a:pt x="19060" y="168610"/>
                  </a:cubicBezTo>
                  <a:cubicBezTo>
                    <a:pt x="22145" y="187124"/>
                    <a:pt x="31402" y="187124"/>
                    <a:pt x="22145" y="202552"/>
                  </a:cubicBezTo>
                  <a:cubicBezTo>
                    <a:pt x="15973" y="217981"/>
                    <a:pt x="6716" y="230324"/>
                    <a:pt x="3631" y="245752"/>
                  </a:cubicBezTo>
                  <a:cubicBezTo>
                    <a:pt x="-5625" y="279695"/>
                    <a:pt x="3631" y="313638"/>
                    <a:pt x="22145" y="344495"/>
                  </a:cubicBezTo>
                  <a:cubicBezTo>
                    <a:pt x="25232" y="347581"/>
                    <a:pt x="28317" y="347581"/>
                    <a:pt x="31402" y="347581"/>
                  </a:cubicBezTo>
                  <a:cubicBezTo>
                    <a:pt x="34489" y="366095"/>
                    <a:pt x="40660" y="378438"/>
                    <a:pt x="40660" y="378438"/>
                  </a:cubicBezTo>
                  <a:cubicBezTo>
                    <a:pt x="37574" y="359924"/>
                    <a:pt x="43745" y="341410"/>
                    <a:pt x="59174" y="322895"/>
                  </a:cubicBezTo>
                  <a:cubicBezTo>
                    <a:pt x="68431" y="319810"/>
                    <a:pt x="80774" y="316724"/>
                    <a:pt x="90031" y="310552"/>
                  </a:cubicBezTo>
                  <a:cubicBezTo>
                    <a:pt x="99288" y="304381"/>
                    <a:pt x="102375" y="295124"/>
                    <a:pt x="108545" y="288952"/>
                  </a:cubicBezTo>
                  <a:cubicBezTo>
                    <a:pt x="108545" y="285867"/>
                    <a:pt x="111631" y="282781"/>
                    <a:pt x="114716" y="279695"/>
                  </a:cubicBezTo>
                  <a:cubicBezTo>
                    <a:pt x="117803" y="279695"/>
                    <a:pt x="120888" y="276610"/>
                    <a:pt x="120888" y="276610"/>
                  </a:cubicBezTo>
                  <a:cubicBezTo>
                    <a:pt x="123973" y="276610"/>
                    <a:pt x="123973" y="276610"/>
                    <a:pt x="127060" y="276610"/>
                  </a:cubicBezTo>
                  <a:cubicBezTo>
                    <a:pt x="130145" y="273524"/>
                    <a:pt x="130145" y="273524"/>
                    <a:pt x="133232" y="273524"/>
                  </a:cubicBezTo>
                  <a:cubicBezTo>
                    <a:pt x="136317" y="270438"/>
                    <a:pt x="139402" y="270438"/>
                    <a:pt x="142489" y="267352"/>
                  </a:cubicBezTo>
                  <a:cubicBezTo>
                    <a:pt x="145574" y="267352"/>
                    <a:pt x="151745" y="267352"/>
                    <a:pt x="154830" y="270438"/>
                  </a:cubicBezTo>
                  <a:cubicBezTo>
                    <a:pt x="157917" y="270438"/>
                    <a:pt x="164089" y="270438"/>
                    <a:pt x="167174" y="270438"/>
                  </a:cubicBezTo>
                  <a:cubicBezTo>
                    <a:pt x="179518" y="270438"/>
                    <a:pt x="191859" y="267352"/>
                    <a:pt x="204203" y="261181"/>
                  </a:cubicBezTo>
                  <a:cubicBezTo>
                    <a:pt x="222716" y="251924"/>
                    <a:pt x="231973" y="236495"/>
                    <a:pt x="256660" y="245752"/>
                  </a:cubicBezTo>
                  <a:cubicBezTo>
                    <a:pt x="262830" y="248838"/>
                    <a:pt x="265917" y="255010"/>
                    <a:pt x="272089" y="255010"/>
                  </a:cubicBezTo>
                  <a:cubicBezTo>
                    <a:pt x="287518" y="258095"/>
                    <a:pt x="299859" y="245752"/>
                    <a:pt x="309116" y="233410"/>
                  </a:cubicBezTo>
                  <a:cubicBezTo>
                    <a:pt x="312203" y="233410"/>
                    <a:pt x="318375" y="236495"/>
                    <a:pt x="321460" y="236495"/>
                  </a:cubicBezTo>
                  <a:cubicBezTo>
                    <a:pt x="343060" y="251924"/>
                    <a:pt x="370830" y="261181"/>
                    <a:pt x="398603" y="264267"/>
                  </a:cubicBezTo>
                  <a:cubicBezTo>
                    <a:pt x="404774" y="267352"/>
                    <a:pt x="407859" y="267352"/>
                    <a:pt x="407859" y="267352"/>
                  </a:cubicBezTo>
                  <a:cubicBezTo>
                    <a:pt x="407859" y="267352"/>
                    <a:pt x="466489" y="378438"/>
                    <a:pt x="460317" y="409295"/>
                  </a:cubicBezTo>
                  <a:cubicBezTo>
                    <a:pt x="460317" y="409295"/>
                    <a:pt x="503518" y="363010"/>
                    <a:pt x="518946" y="307467"/>
                  </a:cubicBezTo>
                  <a:cubicBezTo>
                    <a:pt x="522031" y="245752"/>
                    <a:pt x="512774" y="159352"/>
                    <a:pt x="454145" y="137752"/>
                  </a:cubicBezTo>
                  <a:close/>
                </a:path>
              </a:pathLst>
            </a:custGeom>
            <a:solidFill>
              <a:srgbClr val="F1DDBA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79418836-42D0-43C7-9465-22F213BAF67D}"/>
                </a:ext>
              </a:extLst>
            </p:cNvPr>
            <p:cNvSpPr/>
            <p:nvPr/>
          </p:nvSpPr>
          <p:spPr>
            <a:xfrm>
              <a:off x="23995665" y="1928753"/>
              <a:ext cx="68656" cy="246857"/>
            </a:xfrm>
            <a:custGeom>
              <a:avLst/>
              <a:gdLst>
                <a:gd name="connsiteX0" fmla="*/ 55542 w 68656"/>
                <a:gd name="connsiteY0" fmla="*/ 246857 h 246857"/>
                <a:gd name="connsiteX1" fmla="*/ 49373 w 68656"/>
                <a:gd name="connsiteY1" fmla="*/ 240686 h 246857"/>
                <a:gd name="connsiteX2" fmla="*/ 0 w 68656"/>
                <a:gd name="connsiteY2" fmla="*/ 117257 h 246857"/>
                <a:gd name="connsiteX3" fmla="*/ 0 w 68656"/>
                <a:gd name="connsiteY3" fmla="*/ 111086 h 246857"/>
                <a:gd name="connsiteX4" fmla="*/ 3087 w 68656"/>
                <a:gd name="connsiteY4" fmla="*/ 108000 h 246857"/>
                <a:gd name="connsiteX5" fmla="*/ 52458 w 68656"/>
                <a:gd name="connsiteY5" fmla="*/ 67886 h 246857"/>
                <a:gd name="connsiteX6" fmla="*/ 52458 w 68656"/>
                <a:gd name="connsiteY6" fmla="*/ 9257 h 246857"/>
                <a:gd name="connsiteX7" fmla="*/ 55542 w 68656"/>
                <a:gd name="connsiteY7" fmla="*/ 0 h 246857"/>
                <a:gd name="connsiteX8" fmla="*/ 61714 w 68656"/>
                <a:gd name="connsiteY8" fmla="*/ 3086 h 246857"/>
                <a:gd name="connsiteX9" fmla="*/ 61714 w 68656"/>
                <a:gd name="connsiteY9" fmla="*/ 70971 h 246857"/>
                <a:gd name="connsiteX10" fmla="*/ 12344 w 68656"/>
                <a:gd name="connsiteY10" fmla="*/ 114171 h 246857"/>
                <a:gd name="connsiteX11" fmla="*/ 58629 w 68656"/>
                <a:gd name="connsiteY11" fmla="*/ 234514 h 246857"/>
                <a:gd name="connsiteX12" fmla="*/ 55542 w 68656"/>
                <a:gd name="connsiteY12" fmla="*/ 246857 h 246857"/>
                <a:gd name="connsiteX13" fmla="*/ 55542 w 68656"/>
                <a:gd name="connsiteY13" fmla="*/ 246857 h 246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656" h="246857">
                  <a:moveTo>
                    <a:pt x="55542" y="246857"/>
                  </a:moveTo>
                  <a:cubicBezTo>
                    <a:pt x="52458" y="246857"/>
                    <a:pt x="49373" y="243771"/>
                    <a:pt x="49373" y="240686"/>
                  </a:cubicBezTo>
                  <a:cubicBezTo>
                    <a:pt x="43201" y="178971"/>
                    <a:pt x="0" y="120343"/>
                    <a:pt x="0" y="117257"/>
                  </a:cubicBezTo>
                  <a:cubicBezTo>
                    <a:pt x="0" y="114171"/>
                    <a:pt x="0" y="114171"/>
                    <a:pt x="0" y="111086"/>
                  </a:cubicBezTo>
                  <a:cubicBezTo>
                    <a:pt x="0" y="108000"/>
                    <a:pt x="3087" y="108000"/>
                    <a:pt x="3087" y="108000"/>
                  </a:cubicBezTo>
                  <a:cubicBezTo>
                    <a:pt x="3087" y="108000"/>
                    <a:pt x="37029" y="95657"/>
                    <a:pt x="52458" y="67886"/>
                  </a:cubicBezTo>
                  <a:cubicBezTo>
                    <a:pt x="61714" y="52457"/>
                    <a:pt x="61714" y="30857"/>
                    <a:pt x="52458" y="9257"/>
                  </a:cubicBezTo>
                  <a:cubicBezTo>
                    <a:pt x="52458" y="6171"/>
                    <a:pt x="52458" y="3086"/>
                    <a:pt x="55542" y="0"/>
                  </a:cubicBezTo>
                  <a:cubicBezTo>
                    <a:pt x="58629" y="0"/>
                    <a:pt x="61714" y="0"/>
                    <a:pt x="61714" y="3086"/>
                  </a:cubicBezTo>
                  <a:cubicBezTo>
                    <a:pt x="70971" y="27771"/>
                    <a:pt x="70971" y="52457"/>
                    <a:pt x="61714" y="70971"/>
                  </a:cubicBezTo>
                  <a:cubicBezTo>
                    <a:pt x="49373" y="95657"/>
                    <a:pt x="24685" y="108000"/>
                    <a:pt x="12344" y="114171"/>
                  </a:cubicBezTo>
                  <a:cubicBezTo>
                    <a:pt x="24685" y="132686"/>
                    <a:pt x="52458" y="182057"/>
                    <a:pt x="58629" y="234514"/>
                  </a:cubicBezTo>
                  <a:cubicBezTo>
                    <a:pt x="61714" y="243771"/>
                    <a:pt x="58629" y="246857"/>
                    <a:pt x="55542" y="246857"/>
                  </a:cubicBezTo>
                  <a:cubicBezTo>
                    <a:pt x="55542" y="246857"/>
                    <a:pt x="55542" y="246857"/>
                    <a:pt x="55542" y="246857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557289FD-7BEF-40B3-AC41-B2ED075B4ECF}"/>
                </a:ext>
              </a:extLst>
            </p:cNvPr>
            <p:cNvSpPr/>
            <p:nvPr/>
          </p:nvSpPr>
          <p:spPr>
            <a:xfrm>
              <a:off x="23781473" y="2361524"/>
              <a:ext cx="117763" cy="33171"/>
            </a:xfrm>
            <a:custGeom>
              <a:avLst/>
              <a:gdLst>
                <a:gd name="connsiteX0" fmla="*/ 41393 w 117763"/>
                <a:gd name="connsiteY0" fmla="*/ 33171 h 33171"/>
                <a:gd name="connsiteX1" fmla="*/ 4364 w 117763"/>
                <a:gd name="connsiteY1" fmla="*/ 30086 h 33171"/>
                <a:gd name="connsiteX2" fmla="*/ 1279 w 117763"/>
                <a:gd name="connsiteY2" fmla="*/ 23914 h 33171"/>
                <a:gd name="connsiteX3" fmla="*/ 7449 w 117763"/>
                <a:gd name="connsiteY3" fmla="*/ 20829 h 33171"/>
                <a:gd name="connsiteX4" fmla="*/ 106192 w 117763"/>
                <a:gd name="connsiteY4" fmla="*/ 2314 h 33171"/>
                <a:gd name="connsiteX5" fmla="*/ 115449 w 117763"/>
                <a:gd name="connsiteY5" fmla="*/ 2314 h 33171"/>
                <a:gd name="connsiteX6" fmla="*/ 115449 w 117763"/>
                <a:gd name="connsiteY6" fmla="*/ 11571 h 33171"/>
                <a:gd name="connsiteX7" fmla="*/ 41393 w 117763"/>
                <a:gd name="connsiteY7" fmla="*/ 33171 h 33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763" h="33171">
                  <a:moveTo>
                    <a:pt x="41393" y="33171"/>
                  </a:moveTo>
                  <a:cubicBezTo>
                    <a:pt x="22877" y="33171"/>
                    <a:pt x="7449" y="30086"/>
                    <a:pt x="4364" y="30086"/>
                  </a:cubicBezTo>
                  <a:cubicBezTo>
                    <a:pt x="1279" y="30086"/>
                    <a:pt x="-1808" y="27000"/>
                    <a:pt x="1279" y="23914"/>
                  </a:cubicBezTo>
                  <a:cubicBezTo>
                    <a:pt x="1279" y="20829"/>
                    <a:pt x="4364" y="17743"/>
                    <a:pt x="7449" y="20829"/>
                  </a:cubicBezTo>
                  <a:cubicBezTo>
                    <a:pt x="7449" y="20829"/>
                    <a:pt x="72250" y="36257"/>
                    <a:pt x="106192" y="2314"/>
                  </a:cubicBezTo>
                  <a:cubicBezTo>
                    <a:pt x="109279" y="-771"/>
                    <a:pt x="112364" y="-771"/>
                    <a:pt x="115449" y="2314"/>
                  </a:cubicBezTo>
                  <a:cubicBezTo>
                    <a:pt x="118535" y="5400"/>
                    <a:pt x="118535" y="8486"/>
                    <a:pt x="115449" y="11571"/>
                  </a:cubicBezTo>
                  <a:cubicBezTo>
                    <a:pt x="96935" y="27000"/>
                    <a:pt x="66078" y="33171"/>
                    <a:pt x="41393" y="33171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9BAF691D-4DFD-4E03-B168-1CF3FF0DFB5E}"/>
                </a:ext>
              </a:extLst>
            </p:cNvPr>
            <p:cNvSpPr/>
            <p:nvPr/>
          </p:nvSpPr>
          <p:spPr>
            <a:xfrm>
              <a:off x="23696350" y="1910114"/>
              <a:ext cx="262285" cy="86525"/>
            </a:xfrm>
            <a:custGeom>
              <a:avLst/>
              <a:gdLst>
                <a:gd name="connsiteX0" fmla="*/ 6172 w 262285"/>
                <a:gd name="connsiteY0" fmla="*/ 86525 h 86525"/>
                <a:gd name="connsiteX1" fmla="*/ 0 w 262285"/>
                <a:gd name="connsiteY1" fmla="*/ 80354 h 86525"/>
                <a:gd name="connsiteX2" fmla="*/ 6172 w 262285"/>
                <a:gd name="connsiteY2" fmla="*/ 74182 h 86525"/>
                <a:gd name="connsiteX3" fmla="*/ 52458 w 262285"/>
                <a:gd name="connsiteY3" fmla="*/ 52582 h 86525"/>
                <a:gd name="connsiteX4" fmla="*/ 61714 w 262285"/>
                <a:gd name="connsiteY4" fmla="*/ 43325 h 86525"/>
                <a:gd name="connsiteX5" fmla="*/ 98743 w 262285"/>
                <a:gd name="connsiteY5" fmla="*/ 21725 h 86525"/>
                <a:gd name="connsiteX6" fmla="*/ 129600 w 262285"/>
                <a:gd name="connsiteY6" fmla="*/ 30982 h 86525"/>
                <a:gd name="connsiteX7" fmla="*/ 157373 w 262285"/>
                <a:gd name="connsiteY7" fmla="*/ 37154 h 86525"/>
                <a:gd name="connsiteX8" fmla="*/ 178973 w 262285"/>
                <a:gd name="connsiteY8" fmla="*/ 21725 h 86525"/>
                <a:gd name="connsiteX9" fmla="*/ 200571 w 262285"/>
                <a:gd name="connsiteY9" fmla="*/ 3211 h 86525"/>
                <a:gd name="connsiteX10" fmla="*/ 240687 w 262285"/>
                <a:gd name="connsiteY10" fmla="*/ 9382 h 86525"/>
                <a:gd name="connsiteX11" fmla="*/ 262286 w 262285"/>
                <a:gd name="connsiteY11" fmla="*/ 43325 h 86525"/>
                <a:gd name="connsiteX12" fmla="*/ 259201 w 262285"/>
                <a:gd name="connsiteY12" fmla="*/ 49496 h 86525"/>
                <a:gd name="connsiteX13" fmla="*/ 253029 w 262285"/>
                <a:gd name="connsiteY13" fmla="*/ 46411 h 86525"/>
                <a:gd name="connsiteX14" fmla="*/ 237600 w 262285"/>
                <a:gd name="connsiteY14" fmla="*/ 21725 h 86525"/>
                <a:gd name="connsiteX15" fmla="*/ 209830 w 262285"/>
                <a:gd name="connsiteY15" fmla="*/ 18639 h 86525"/>
                <a:gd name="connsiteX16" fmla="*/ 191315 w 262285"/>
                <a:gd name="connsiteY16" fmla="*/ 34068 h 86525"/>
                <a:gd name="connsiteX17" fmla="*/ 163544 w 262285"/>
                <a:gd name="connsiteY17" fmla="*/ 52582 h 86525"/>
                <a:gd name="connsiteX18" fmla="*/ 129600 w 262285"/>
                <a:gd name="connsiteY18" fmla="*/ 43325 h 86525"/>
                <a:gd name="connsiteX19" fmla="*/ 104915 w 262285"/>
                <a:gd name="connsiteY19" fmla="*/ 37154 h 86525"/>
                <a:gd name="connsiteX20" fmla="*/ 77143 w 262285"/>
                <a:gd name="connsiteY20" fmla="*/ 55668 h 86525"/>
                <a:gd name="connsiteX21" fmla="*/ 67886 w 262285"/>
                <a:gd name="connsiteY21" fmla="*/ 64925 h 86525"/>
                <a:gd name="connsiteX22" fmla="*/ 6172 w 262285"/>
                <a:gd name="connsiteY22" fmla="*/ 86525 h 86525"/>
                <a:gd name="connsiteX23" fmla="*/ 6172 w 262285"/>
                <a:gd name="connsiteY23" fmla="*/ 86525 h 86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2285" h="86525">
                  <a:moveTo>
                    <a:pt x="6172" y="86525"/>
                  </a:moveTo>
                  <a:cubicBezTo>
                    <a:pt x="3087" y="86525"/>
                    <a:pt x="0" y="83439"/>
                    <a:pt x="0" y="80354"/>
                  </a:cubicBezTo>
                  <a:cubicBezTo>
                    <a:pt x="0" y="77268"/>
                    <a:pt x="3087" y="74182"/>
                    <a:pt x="6172" y="74182"/>
                  </a:cubicBezTo>
                  <a:cubicBezTo>
                    <a:pt x="24687" y="71096"/>
                    <a:pt x="40116" y="64925"/>
                    <a:pt x="52458" y="52582"/>
                  </a:cubicBezTo>
                  <a:cubicBezTo>
                    <a:pt x="55544" y="49496"/>
                    <a:pt x="58629" y="46411"/>
                    <a:pt x="61714" y="43325"/>
                  </a:cubicBezTo>
                  <a:cubicBezTo>
                    <a:pt x="70973" y="34068"/>
                    <a:pt x="83315" y="21725"/>
                    <a:pt x="98743" y="21725"/>
                  </a:cubicBezTo>
                  <a:cubicBezTo>
                    <a:pt x="111087" y="21725"/>
                    <a:pt x="120344" y="24811"/>
                    <a:pt x="129600" y="30982"/>
                  </a:cubicBezTo>
                  <a:cubicBezTo>
                    <a:pt x="138857" y="34068"/>
                    <a:pt x="148116" y="40239"/>
                    <a:pt x="157373" y="37154"/>
                  </a:cubicBezTo>
                  <a:cubicBezTo>
                    <a:pt x="166629" y="34068"/>
                    <a:pt x="172801" y="27896"/>
                    <a:pt x="178973" y="21725"/>
                  </a:cubicBezTo>
                  <a:cubicBezTo>
                    <a:pt x="185143" y="15554"/>
                    <a:pt x="191315" y="9382"/>
                    <a:pt x="200571" y="3211"/>
                  </a:cubicBezTo>
                  <a:cubicBezTo>
                    <a:pt x="212915" y="-2961"/>
                    <a:pt x="228344" y="125"/>
                    <a:pt x="240687" y="9382"/>
                  </a:cubicBezTo>
                  <a:cubicBezTo>
                    <a:pt x="249944" y="15554"/>
                    <a:pt x="259201" y="27896"/>
                    <a:pt x="262286" y="43325"/>
                  </a:cubicBezTo>
                  <a:cubicBezTo>
                    <a:pt x="262286" y="46411"/>
                    <a:pt x="262286" y="49496"/>
                    <a:pt x="259201" y="49496"/>
                  </a:cubicBezTo>
                  <a:cubicBezTo>
                    <a:pt x="256116" y="49496"/>
                    <a:pt x="253029" y="49496"/>
                    <a:pt x="253029" y="46411"/>
                  </a:cubicBezTo>
                  <a:cubicBezTo>
                    <a:pt x="249944" y="34068"/>
                    <a:pt x="243772" y="24811"/>
                    <a:pt x="237600" y="21725"/>
                  </a:cubicBezTo>
                  <a:cubicBezTo>
                    <a:pt x="228344" y="15554"/>
                    <a:pt x="219087" y="12468"/>
                    <a:pt x="209830" y="18639"/>
                  </a:cubicBezTo>
                  <a:cubicBezTo>
                    <a:pt x="203658" y="21725"/>
                    <a:pt x="197486" y="27896"/>
                    <a:pt x="191315" y="34068"/>
                  </a:cubicBezTo>
                  <a:cubicBezTo>
                    <a:pt x="185143" y="43325"/>
                    <a:pt x="175886" y="49496"/>
                    <a:pt x="163544" y="52582"/>
                  </a:cubicBezTo>
                  <a:cubicBezTo>
                    <a:pt x="151201" y="55668"/>
                    <a:pt x="138857" y="49496"/>
                    <a:pt x="129600" y="43325"/>
                  </a:cubicBezTo>
                  <a:cubicBezTo>
                    <a:pt x="120344" y="40239"/>
                    <a:pt x="114172" y="34068"/>
                    <a:pt x="104915" y="37154"/>
                  </a:cubicBezTo>
                  <a:cubicBezTo>
                    <a:pt x="92571" y="37154"/>
                    <a:pt x="86402" y="46411"/>
                    <a:pt x="77143" y="55668"/>
                  </a:cubicBezTo>
                  <a:cubicBezTo>
                    <a:pt x="74058" y="58754"/>
                    <a:pt x="70973" y="61839"/>
                    <a:pt x="67886" y="64925"/>
                  </a:cubicBezTo>
                  <a:cubicBezTo>
                    <a:pt x="46286" y="77268"/>
                    <a:pt x="27772" y="86525"/>
                    <a:pt x="6172" y="86525"/>
                  </a:cubicBezTo>
                  <a:cubicBezTo>
                    <a:pt x="6172" y="86525"/>
                    <a:pt x="6172" y="86525"/>
                    <a:pt x="6172" y="86525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6B0DC897-66CE-43D7-975A-1A9184D3CB6A}"/>
                </a:ext>
              </a:extLst>
            </p:cNvPr>
            <p:cNvSpPr/>
            <p:nvPr/>
          </p:nvSpPr>
          <p:spPr>
            <a:xfrm>
              <a:off x="23671665" y="1829397"/>
              <a:ext cx="292371" cy="83927"/>
            </a:xfrm>
            <a:custGeom>
              <a:avLst/>
              <a:gdLst>
                <a:gd name="connsiteX0" fmla="*/ 6172 w 292371"/>
                <a:gd name="connsiteY0" fmla="*/ 83927 h 83927"/>
                <a:gd name="connsiteX1" fmla="*/ 6172 w 292371"/>
                <a:gd name="connsiteY1" fmla="*/ 83927 h 83927"/>
                <a:gd name="connsiteX2" fmla="*/ 0 w 292371"/>
                <a:gd name="connsiteY2" fmla="*/ 77756 h 83927"/>
                <a:gd name="connsiteX3" fmla="*/ 15429 w 292371"/>
                <a:gd name="connsiteY3" fmla="*/ 49984 h 83927"/>
                <a:gd name="connsiteX4" fmla="*/ 77143 w 292371"/>
                <a:gd name="connsiteY4" fmla="*/ 34556 h 83927"/>
                <a:gd name="connsiteX5" fmla="*/ 117257 w 292371"/>
                <a:gd name="connsiteY5" fmla="*/ 16041 h 83927"/>
                <a:gd name="connsiteX6" fmla="*/ 145029 w 292371"/>
                <a:gd name="connsiteY6" fmla="*/ 613 h 83927"/>
                <a:gd name="connsiteX7" fmla="*/ 200571 w 292371"/>
                <a:gd name="connsiteY7" fmla="*/ 12956 h 83927"/>
                <a:gd name="connsiteX8" fmla="*/ 228344 w 292371"/>
                <a:gd name="connsiteY8" fmla="*/ 19127 h 83927"/>
                <a:gd name="connsiteX9" fmla="*/ 290058 w 292371"/>
                <a:gd name="connsiteY9" fmla="*/ 40727 h 83927"/>
                <a:gd name="connsiteX10" fmla="*/ 290058 w 292371"/>
                <a:gd name="connsiteY10" fmla="*/ 49984 h 83927"/>
                <a:gd name="connsiteX11" fmla="*/ 280801 w 292371"/>
                <a:gd name="connsiteY11" fmla="*/ 49984 h 83927"/>
                <a:gd name="connsiteX12" fmla="*/ 234515 w 292371"/>
                <a:gd name="connsiteY12" fmla="*/ 31470 h 83927"/>
                <a:gd name="connsiteX13" fmla="*/ 194400 w 292371"/>
                <a:gd name="connsiteY13" fmla="*/ 25299 h 83927"/>
                <a:gd name="connsiteX14" fmla="*/ 148114 w 292371"/>
                <a:gd name="connsiteY14" fmla="*/ 12956 h 83927"/>
                <a:gd name="connsiteX15" fmla="*/ 123429 w 292371"/>
                <a:gd name="connsiteY15" fmla="*/ 28384 h 83927"/>
                <a:gd name="connsiteX16" fmla="*/ 74058 w 292371"/>
                <a:gd name="connsiteY16" fmla="*/ 49984 h 83927"/>
                <a:gd name="connsiteX17" fmla="*/ 21600 w 292371"/>
                <a:gd name="connsiteY17" fmla="*/ 62327 h 83927"/>
                <a:gd name="connsiteX18" fmla="*/ 9257 w 292371"/>
                <a:gd name="connsiteY18" fmla="*/ 80841 h 83927"/>
                <a:gd name="connsiteX19" fmla="*/ 6172 w 292371"/>
                <a:gd name="connsiteY19" fmla="*/ 83927 h 83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2371" h="83927">
                  <a:moveTo>
                    <a:pt x="6172" y="83927"/>
                  </a:moveTo>
                  <a:cubicBezTo>
                    <a:pt x="6172" y="83927"/>
                    <a:pt x="6172" y="83927"/>
                    <a:pt x="6172" y="83927"/>
                  </a:cubicBezTo>
                  <a:cubicBezTo>
                    <a:pt x="3087" y="83927"/>
                    <a:pt x="0" y="80841"/>
                    <a:pt x="0" y="77756"/>
                  </a:cubicBezTo>
                  <a:cubicBezTo>
                    <a:pt x="0" y="65413"/>
                    <a:pt x="6172" y="56156"/>
                    <a:pt x="15429" y="49984"/>
                  </a:cubicBezTo>
                  <a:cubicBezTo>
                    <a:pt x="33944" y="34556"/>
                    <a:pt x="61714" y="34556"/>
                    <a:pt x="77143" y="34556"/>
                  </a:cubicBezTo>
                  <a:cubicBezTo>
                    <a:pt x="86400" y="37641"/>
                    <a:pt x="104915" y="25299"/>
                    <a:pt x="117257" y="16041"/>
                  </a:cubicBezTo>
                  <a:cubicBezTo>
                    <a:pt x="129600" y="6784"/>
                    <a:pt x="138857" y="613"/>
                    <a:pt x="145029" y="613"/>
                  </a:cubicBezTo>
                  <a:cubicBezTo>
                    <a:pt x="169714" y="-2473"/>
                    <a:pt x="185143" y="6784"/>
                    <a:pt x="200571" y="12956"/>
                  </a:cubicBezTo>
                  <a:cubicBezTo>
                    <a:pt x="212915" y="19127"/>
                    <a:pt x="219087" y="22213"/>
                    <a:pt x="228344" y="19127"/>
                  </a:cubicBezTo>
                  <a:cubicBezTo>
                    <a:pt x="259201" y="3699"/>
                    <a:pt x="286971" y="37641"/>
                    <a:pt x="290058" y="40727"/>
                  </a:cubicBezTo>
                  <a:cubicBezTo>
                    <a:pt x="293143" y="43813"/>
                    <a:pt x="293143" y="46899"/>
                    <a:pt x="290058" y="49984"/>
                  </a:cubicBezTo>
                  <a:cubicBezTo>
                    <a:pt x="286971" y="53070"/>
                    <a:pt x="283886" y="53070"/>
                    <a:pt x="280801" y="49984"/>
                  </a:cubicBezTo>
                  <a:cubicBezTo>
                    <a:pt x="280801" y="49984"/>
                    <a:pt x="256114" y="22213"/>
                    <a:pt x="234515" y="31470"/>
                  </a:cubicBezTo>
                  <a:cubicBezTo>
                    <a:pt x="219087" y="40727"/>
                    <a:pt x="206743" y="31470"/>
                    <a:pt x="194400" y="25299"/>
                  </a:cubicBezTo>
                  <a:cubicBezTo>
                    <a:pt x="182058" y="19127"/>
                    <a:pt x="169714" y="9870"/>
                    <a:pt x="148114" y="12956"/>
                  </a:cubicBezTo>
                  <a:cubicBezTo>
                    <a:pt x="141944" y="12956"/>
                    <a:pt x="132685" y="19127"/>
                    <a:pt x="123429" y="28384"/>
                  </a:cubicBezTo>
                  <a:cubicBezTo>
                    <a:pt x="108000" y="40727"/>
                    <a:pt x="89486" y="53070"/>
                    <a:pt x="74058" y="49984"/>
                  </a:cubicBezTo>
                  <a:cubicBezTo>
                    <a:pt x="61714" y="46899"/>
                    <a:pt x="37029" y="49984"/>
                    <a:pt x="21600" y="62327"/>
                  </a:cubicBezTo>
                  <a:cubicBezTo>
                    <a:pt x="15429" y="68499"/>
                    <a:pt x="12344" y="74670"/>
                    <a:pt x="9257" y="80841"/>
                  </a:cubicBezTo>
                  <a:cubicBezTo>
                    <a:pt x="12344" y="80841"/>
                    <a:pt x="9257" y="83927"/>
                    <a:pt x="6172" y="83927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9C5E596A-D527-4A85-AA80-09081E90E887}"/>
                </a:ext>
              </a:extLst>
            </p:cNvPr>
            <p:cNvSpPr/>
            <p:nvPr/>
          </p:nvSpPr>
          <p:spPr>
            <a:xfrm>
              <a:off x="23739551" y="2408846"/>
              <a:ext cx="248134" cy="69163"/>
            </a:xfrm>
            <a:custGeom>
              <a:avLst/>
              <a:gdLst>
                <a:gd name="connsiteX0" fmla="*/ 104915 w 248134"/>
                <a:gd name="connsiteY0" fmla="*/ 69164 h 69163"/>
                <a:gd name="connsiteX1" fmla="*/ 83315 w 248134"/>
                <a:gd name="connsiteY1" fmla="*/ 66078 h 69163"/>
                <a:gd name="connsiteX2" fmla="*/ 27772 w 248134"/>
                <a:gd name="connsiteY2" fmla="*/ 47564 h 69163"/>
                <a:gd name="connsiteX3" fmla="*/ 3085 w 248134"/>
                <a:gd name="connsiteY3" fmla="*/ 35221 h 69163"/>
                <a:gd name="connsiteX4" fmla="*/ 0 w 248134"/>
                <a:gd name="connsiteY4" fmla="*/ 25964 h 69163"/>
                <a:gd name="connsiteX5" fmla="*/ 9257 w 248134"/>
                <a:gd name="connsiteY5" fmla="*/ 22878 h 69163"/>
                <a:gd name="connsiteX6" fmla="*/ 18514 w 248134"/>
                <a:gd name="connsiteY6" fmla="*/ 29050 h 69163"/>
                <a:gd name="connsiteX7" fmla="*/ 24685 w 248134"/>
                <a:gd name="connsiteY7" fmla="*/ 29050 h 69163"/>
                <a:gd name="connsiteX8" fmla="*/ 33942 w 248134"/>
                <a:gd name="connsiteY8" fmla="*/ 35221 h 69163"/>
                <a:gd name="connsiteX9" fmla="*/ 83315 w 248134"/>
                <a:gd name="connsiteY9" fmla="*/ 53735 h 69163"/>
                <a:gd name="connsiteX10" fmla="*/ 95656 w 248134"/>
                <a:gd name="connsiteY10" fmla="*/ 53735 h 69163"/>
                <a:gd name="connsiteX11" fmla="*/ 95656 w 248134"/>
                <a:gd name="connsiteY11" fmla="*/ 53735 h 69163"/>
                <a:gd name="connsiteX12" fmla="*/ 188228 w 248134"/>
                <a:gd name="connsiteY12" fmla="*/ 25964 h 69163"/>
                <a:gd name="connsiteX13" fmla="*/ 237600 w 248134"/>
                <a:gd name="connsiteY13" fmla="*/ 1278 h 69163"/>
                <a:gd name="connsiteX14" fmla="*/ 246857 w 248134"/>
                <a:gd name="connsiteY14" fmla="*/ 4364 h 69163"/>
                <a:gd name="connsiteX15" fmla="*/ 243772 w 248134"/>
                <a:gd name="connsiteY15" fmla="*/ 13621 h 69163"/>
                <a:gd name="connsiteX16" fmla="*/ 194400 w 248134"/>
                <a:gd name="connsiteY16" fmla="*/ 38307 h 69163"/>
                <a:gd name="connsiteX17" fmla="*/ 120344 w 248134"/>
                <a:gd name="connsiteY17" fmla="*/ 66078 h 69163"/>
                <a:gd name="connsiteX18" fmla="*/ 104915 w 248134"/>
                <a:gd name="connsiteY18" fmla="*/ 69164 h 69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8134" h="69163">
                  <a:moveTo>
                    <a:pt x="104915" y="69164"/>
                  </a:moveTo>
                  <a:cubicBezTo>
                    <a:pt x="98743" y="69164"/>
                    <a:pt x="89486" y="69164"/>
                    <a:pt x="83315" y="66078"/>
                  </a:cubicBezTo>
                  <a:cubicBezTo>
                    <a:pt x="58629" y="62992"/>
                    <a:pt x="40114" y="53735"/>
                    <a:pt x="27772" y="47564"/>
                  </a:cubicBezTo>
                  <a:cubicBezTo>
                    <a:pt x="15429" y="41392"/>
                    <a:pt x="6172" y="35221"/>
                    <a:pt x="3085" y="35221"/>
                  </a:cubicBezTo>
                  <a:cubicBezTo>
                    <a:pt x="0" y="32135"/>
                    <a:pt x="0" y="29050"/>
                    <a:pt x="0" y="25964"/>
                  </a:cubicBezTo>
                  <a:cubicBezTo>
                    <a:pt x="3085" y="22878"/>
                    <a:pt x="6172" y="22878"/>
                    <a:pt x="9257" y="22878"/>
                  </a:cubicBezTo>
                  <a:cubicBezTo>
                    <a:pt x="9257" y="22878"/>
                    <a:pt x="12344" y="25964"/>
                    <a:pt x="18514" y="29050"/>
                  </a:cubicBezTo>
                  <a:cubicBezTo>
                    <a:pt x="21600" y="29050"/>
                    <a:pt x="21600" y="29050"/>
                    <a:pt x="24685" y="29050"/>
                  </a:cubicBezTo>
                  <a:cubicBezTo>
                    <a:pt x="24685" y="29050"/>
                    <a:pt x="27772" y="32135"/>
                    <a:pt x="33942" y="35221"/>
                  </a:cubicBezTo>
                  <a:cubicBezTo>
                    <a:pt x="49371" y="41392"/>
                    <a:pt x="67886" y="50650"/>
                    <a:pt x="83315" y="53735"/>
                  </a:cubicBezTo>
                  <a:cubicBezTo>
                    <a:pt x="86400" y="53735"/>
                    <a:pt x="92571" y="53735"/>
                    <a:pt x="95656" y="53735"/>
                  </a:cubicBezTo>
                  <a:cubicBezTo>
                    <a:pt x="95656" y="53735"/>
                    <a:pt x="95656" y="53735"/>
                    <a:pt x="95656" y="53735"/>
                  </a:cubicBezTo>
                  <a:cubicBezTo>
                    <a:pt x="120344" y="53735"/>
                    <a:pt x="157371" y="38307"/>
                    <a:pt x="188228" y="25964"/>
                  </a:cubicBezTo>
                  <a:cubicBezTo>
                    <a:pt x="216000" y="13621"/>
                    <a:pt x="237600" y="1278"/>
                    <a:pt x="237600" y="1278"/>
                  </a:cubicBezTo>
                  <a:cubicBezTo>
                    <a:pt x="240685" y="-1808"/>
                    <a:pt x="243772" y="1278"/>
                    <a:pt x="246857" y="4364"/>
                  </a:cubicBezTo>
                  <a:cubicBezTo>
                    <a:pt x="249942" y="7450"/>
                    <a:pt x="246857" y="10535"/>
                    <a:pt x="243772" y="13621"/>
                  </a:cubicBezTo>
                  <a:cubicBezTo>
                    <a:pt x="240685" y="13621"/>
                    <a:pt x="219085" y="25964"/>
                    <a:pt x="194400" y="38307"/>
                  </a:cubicBezTo>
                  <a:cubicBezTo>
                    <a:pt x="169714" y="50650"/>
                    <a:pt x="138857" y="62992"/>
                    <a:pt x="120344" y="66078"/>
                  </a:cubicBezTo>
                  <a:cubicBezTo>
                    <a:pt x="114172" y="69164"/>
                    <a:pt x="108000" y="69164"/>
                    <a:pt x="104915" y="69164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395957305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1871905A-F1DE-4770-9FEB-8D83BDD58B44}"/>
              </a:ext>
            </a:extLst>
          </p:cNvPr>
          <p:cNvGrpSpPr/>
          <p:nvPr/>
        </p:nvGrpSpPr>
        <p:grpSpPr>
          <a:xfrm>
            <a:off x="2853679" y="1673995"/>
            <a:ext cx="5820935" cy="5184005"/>
            <a:chOff x="2586979" y="7381204"/>
            <a:chExt cx="5820935" cy="5184005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74E41327-A440-4475-9026-80A681C7F1A0}"/>
                </a:ext>
              </a:extLst>
            </p:cNvPr>
            <p:cNvSpPr/>
            <p:nvPr/>
          </p:nvSpPr>
          <p:spPr>
            <a:xfrm>
              <a:off x="4366735" y="8439610"/>
              <a:ext cx="1031573" cy="728714"/>
            </a:xfrm>
            <a:custGeom>
              <a:avLst/>
              <a:gdLst>
                <a:gd name="connsiteX0" fmla="*/ 16131 w 1031573"/>
                <a:gd name="connsiteY0" fmla="*/ 129600 h 728714"/>
                <a:gd name="connsiteX1" fmla="*/ 445045 w 1031573"/>
                <a:gd name="connsiteY1" fmla="*/ 222172 h 728714"/>
                <a:gd name="connsiteX2" fmla="*/ 802988 w 1031573"/>
                <a:gd name="connsiteY2" fmla="*/ 462857 h 728714"/>
                <a:gd name="connsiteX3" fmla="*/ 923331 w 1031573"/>
                <a:gd name="connsiteY3" fmla="*/ 0 h 728714"/>
                <a:gd name="connsiteX4" fmla="*/ 1031331 w 1031573"/>
                <a:gd name="connsiteY4" fmla="*/ 86400 h 728714"/>
                <a:gd name="connsiteX5" fmla="*/ 944931 w 1031573"/>
                <a:gd name="connsiteY5" fmla="*/ 712800 h 728714"/>
                <a:gd name="connsiteX6" fmla="*/ 16131 w 1031573"/>
                <a:gd name="connsiteY6" fmla="*/ 129600 h 72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1573" h="728714">
                  <a:moveTo>
                    <a:pt x="16131" y="129600"/>
                  </a:moveTo>
                  <a:cubicBezTo>
                    <a:pt x="80931" y="30857"/>
                    <a:pt x="343216" y="169714"/>
                    <a:pt x="445045" y="222172"/>
                  </a:cubicBezTo>
                  <a:cubicBezTo>
                    <a:pt x="534531" y="268458"/>
                    <a:pt x="802988" y="462857"/>
                    <a:pt x="802988" y="462857"/>
                  </a:cubicBezTo>
                  <a:lnTo>
                    <a:pt x="923331" y="0"/>
                  </a:lnTo>
                  <a:lnTo>
                    <a:pt x="1031331" y="86400"/>
                  </a:lnTo>
                  <a:cubicBezTo>
                    <a:pt x="1031331" y="86400"/>
                    <a:pt x="1040588" y="651086"/>
                    <a:pt x="944931" y="712800"/>
                  </a:cubicBezTo>
                  <a:cubicBezTo>
                    <a:pt x="784473" y="820800"/>
                    <a:pt x="-131984" y="351772"/>
                    <a:pt x="16131" y="129600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96E55D97-2A2A-4A85-A9B7-40DD78426FA6}"/>
                </a:ext>
              </a:extLst>
            </p:cNvPr>
            <p:cNvSpPr/>
            <p:nvPr/>
          </p:nvSpPr>
          <p:spPr>
            <a:xfrm>
              <a:off x="4243047" y="8416823"/>
              <a:ext cx="584161" cy="550444"/>
            </a:xfrm>
            <a:custGeom>
              <a:avLst/>
              <a:gdLst>
                <a:gd name="connsiteX0" fmla="*/ 340390 w 584161"/>
                <a:gd name="connsiteY0" fmla="*/ 550444 h 550444"/>
                <a:gd name="connsiteX1" fmla="*/ 7133 w 584161"/>
                <a:gd name="connsiteY1" fmla="*/ 44387 h 550444"/>
                <a:gd name="connsiteX2" fmla="*/ 584161 w 584161"/>
                <a:gd name="connsiteY2" fmla="*/ 198673 h 550444"/>
                <a:gd name="connsiteX3" fmla="*/ 340390 w 584161"/>
                <a:gd name="connsiteY3" fmla="*/ 550444 h 550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161" h="550444">
                  <a:moveTo>
                    <a:pt x="340390" y="550444"/>
                  </a:moveTo>
                  <a:cubicBezTo>
                    <a:pt x="340390" y="550444"/>
                    <a:pt x="-57667" y="177073"/>
                    <a:pt x="7133" y="44387"/>
                  </a:cubicBezTo>
                  <a:cubicBezTo>
                    <a:pt x="81190" y="-112984"/>
                    <a:pt x="584161" y="198673"/>
                    <a:pt x="584161" y="198673"/>
                  </a:cubicBezTo>
                  <a:cubicBezTo>
                    <a:pt x="584161" y="198673"/>
                    <a:pt x="513190" y="417758"/>
                    <a:pt x="340390" y="550444"/>
                  </a:cubicBezTo>
                  <a:close/>
                </a:path>
              </a:pathLst>
            </a:custGeom>
            <a:solidFill>
              <a:srgbClr val="F1DDBA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64F2AA9B-5AE5-4E8F-90BD-AC6F115AEE3B}"/>
                </a:ext>
              </a:extLst>
            </p:cNvPr>
            <p:cNvGrpSpPr/>
            <p:nvPr/>
          </p:nvGrpSpPr>
          <p:grpSpPr>
            <a:xfrm>
              <a:off x="4142179" y="12062238"/>
              <a:ext cx="490628" cy="345600"/>
              <a:chOff x="4142179" y="12062238"/>
              <a:chExt cx="490628" cy="345600"/>
            </a:xfrm>
          </p:grpSpPr>
          <p:sp>
            <p:nvSpPr>
              <p:cNvPr id="197" name="任意多边形: 形状 196">
                <a:extLst>
                  <a:ext uri="{FF2B5EF4-FFF2-40B4-BE49-F238E27FC236}">
                    <a16:creationId xmlns:a16="http://schemas.microsoft.com/office/drawing/2014/main" id="{34E329EC-0DAC-4CF2-8D98-C0BF8D3EB917}"/>
                  </a:ext>
                </a:extLst>
              </p:cNvPr>
              <p:cNvSpPr/>
              <p:nvPr/>
            </p:nvSpPr>
            <p:spPr>
              <a:xfrm>
                <a:off x="4151437" y="12062238"/>
                <a:ext cx="216000" cy="225257"/>
              </a:xfrm>
              <a:custGeom>
                <a:avLst/>
                <a:gdLst>
                  <a:gd name="connsiteX0" fmla="*/ 0 w 216000"/>
                  <a:gd name="connsiteY0" fmla="*/ 185143 h 225257"/>
                  <a:gd name="connsiteX1" fmla="*/ 9257 w 216000"/>
                  <a:gd name="connsiteY1" fmla="*/ 0 h 225257"/>
                  <a:gd name="connsiteX2" fmla="*/ 216000 w 216000"/>
                  <a:gd name="connsiteY2" fmla="*/ 0 h 225257"/>
                  <a:gd name="connsiteX3" fmla="*/ 166629 w 216000"/>
                  <a:gd name="connsiteY3" fmla="*/ 197486 h 225257"/>
                  <a:gd name="connsiteX4" fmla="*/ 12343 w 216000"/>
                  <a:gd name="connsiteY4" fmla="*/ 225258 h 225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6000" h="225257">
                    <a:moveTo>
                      <a:pt x="0" y="185143"/>
                    </a:moveTo>
                    <a:lnTo>
                      <a:pt x="9257" y="0"/>
                    </a:lnTo>
                    <a:lnTo>
                      <a:pt x="216000" y="0"/>
                    </a:lnTo>
                    <a:lnTo>
                      <a:pt x="166629" y="197486"/>
                    </a:lnTo>
                    <a:lnTo>
                      <a:pt x="12343" y="225258"/>
                    </a:ln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8" name="任意多边形: 形状 197">
                <a:extLst>
                  <a:ext uri="{FF2B5EF4-FFF2-40B4-BE49-F238E27FC236}">
                    <a16:creationId xmlns:a16="http://schemas.microsoft.com/office/drawing/2014/main" id="{F3EC2F0C-FABF-43B9-9F24-66175CE2CA8E}"/>
                  </a:ext>
                </a:extLst>
              </p:cNvPr>
              <p:cNvSpPr/>
              <p:nvPr/>
            </p:nvSpPr>
            <p:spPr>
              <a:xfrm>
                <a:off x="4143208" y="12201096"/>
                <a:ext cx="489600" cy="160457"/>
              </a:xfrm>
              <a:custGeom>
                <a:avLst/>
                <a:gdLst>
                  <a:gd name="connsiteX0" fmla="*/ 8229 w 489600"/>
                  <a:gd name="connsiteY0" fmla="*/ 46286 h 160457"/>
                  <a:gd name="connsiteX1" fmla="*/ 184114 w 489600"/>
                  <a:gd name="connsiteY1" fmla="*/ 0 h 160457"/>
                  <a:gd name="connsiteX2" fmla="*/ 319886 w 489600"/>
                  <a:gd name="connsiteY2" fmla="*/ 80229 h 160457"/>
                  <a:gd name="connsiteX3" fmla="*/ 489600 w 489600"/>
                  <a:gd name="connsiteY3" fmla="*/ 160458 h 160457"/>
                  <a:gd name="connsiteX4" fmla="*/ 8229 w 489600"/>
                  <a:gd name="connsiteY4" fmla="*/ 160458 h 160457"/>
                  <a:gd name="connsiteX5" fmla="*/ 8229 w 489600"/>
                  <a:gd name="connsiteY5" fmla="*/ 46286 h 160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9600" h="160457">
                    <a:moveTo>
                      <a:pt x="8229" y="46286"/>
                    </a:moveTo>
                    <a:cubicBezTo>
                      <a:pt x="8229" y="46286"/>
                      <a:pt x="119314" y="64800"/>
                      <a:pt x="184114" y="0"/>
                    </a:cubicBezTo>
                    <a:cubicBezTo>
                      <a:pt x="184114" y="0"/>
                      <a:pt x="273600" y="70972"/>
                      <a:pt x="319886" y="80229"/>
                    </a:cubicBezTo>
                    <a:cubicBezTo>
                      <a:pt x="366172" y="89486"/>
                      <a:pt x="477257" y="86401"/>
                      <a:pt x="489600" y="160458"/>
                    </a:cubicBezTo>
                    <a:lnTo>
                      <a:pt x="8229" y="160458"/>
                    </a:lnTo>
                    <a:cubicBezTo>
                      <a:pt x="8229" y="160458"/>
                      <a:pt x="-10286" y="98743"/>
                      <a:pt x="8229" y="4628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9" name="任意多边形: 形状 198">
                <a:extLst>
                  <a:ext uri="{FF2B5EF4-FFF2-40B4-BE49-F238E27FC236}">
                    <a16:creationId xmlns:a16="http://schemas.microsoft.com/office/drawing/2014/main" id="{32081C5D-BADF-4C5C-B357-71C921CFBBA9}"/>
                  </a:ext>
                </a:extLst>
              </p:cNvPr>
              <p:cNvSpPr/>
              <p:nvPr/>
            </p:nvSpPr>
            <p:spPr>
              <a:xfrm>
                <a:off x="4151437" y="12361553"/>
                <a:ext cx="481371" cy="46285"/>
              </a:xfrm>
              <a:custGeom>
                <a:avLst/>
                <a:gdLst>
                  <a:gd name="connsiteX0" fmla="*/ 0 w 481371"/>
                  <a:gd name="connsiteY0" fmla="*/ 0 h 46285"/>
                  <a:gd name="connsiteX1" fmla="*/ 481372 w 481371"/>
                  <a:gd name="connsiteY1" fmla="*/ 0 h 46285"/>
                  <a:gd name="connsiteX2" fmla="*/ 481372 w 481371"/>
                  <a:gd name="connsiteY2" fmla="*/ 46286 h 46285"/>
                  <a:gd name="connsiteX3" fmla="*/ 0 w 481371"/>
                  <a:gd name="connsiteY3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1371" h="46285">
                    <a:moveTo>
                      <a:pt x="0" y="0"/>
                    </a:moveTo>
                    <a:lnTo>
                      <a:pt x="481372" y="0"/>
                    </a:lnTo>
                    <a:lnTo>
                      <a:pt x="481372" y="46286"/>
                    </a:lnTo>
                    <a:lnTo>
                      <a:pt x="0" y="46286"/>
                    </a:ln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0" name="任意多边形: 形状 199">
                <a:extLst>
                  <a:ext uri="{FF2B5EF4-FFF2-40B4-BE49-F238E27FC236}">
                    <a16:creationId xmlns:a16="http://schemas.microsoft.com/office/drawing/2014/main" id="{25870368-1B4A-4AC9-8B10-E49A84FBC03E}"/>
                  </a:ext>
                </a:extLst>
              </p:cNvPr>
              <p:cNvSpPr/>
              <p:nvPr/>
            </p:nvSpPr>
            <p:spPr>
              <a:xfrm>
                <a:off x="4142179" y="12192610"/>
                <a:ext cx="187457" cy="64028"/>
              </a:xfrm>
              <a:custGeom>
                <a:avLst/>
                <a:gdLst>
                  <a:gd name="connsiteX0" fmla="*/ 40114 w 187457"/>
                  <a:gd name="connsiteY0" fmla="*/ 64029 h 64028"/>
                  <a:gd name="connsiteX1" fmla="*/ 6171 w 187457"/>
                  <a:gd name="connsiteY1" fmla="*/ 60943 h 64028"/>
                  <a:gd name="connsiteX2" fmla="*/ 0 w 187457"/>
                  <a:gd name="connsiteY2" fmla="*/ 54771 h 64028"/>
                  <a:gd name="connsiteX3" fmla="*/ 6171 w 187457"/>
                  <a:gd name="connsiteY3" fmla="*/ 48600 h 64028"/>
                  <a:gd name="connsiteX4" fmla="*/ 175886 w 187457"/>
                  <a:gd name="connsiteY4" fmla="*/ 2314 h 64028"/>
                  <a:gd name="connsiteX5" fmla="*/ 185143 w 187457"/>
                  <a:gd name="connsiteY5" fmla="*/ 2314 h 64028"/>
                  <a:gd name="connsiteX6" fmla="*/ 185143 w 187457"/>
                  <a:gd name="connsiteY6" fmla="*/ 11571 h 64028"/>
                  <a:gd name="connsiteX7" fmla="*/ 40114 w 187457"/>
                  <a:gd name="connsiteY7" fmla="*/ 64029 h 6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7457" h="64028">
                    <a:moveTo>
                      <a:pt x="40114" y="64029"/>
                    </a:moveTo>
                    <a:cubicBezTo>
                      <a:pt x="21600" y="64029"/>
                      <a:pt x="9257" y="60943"/>
                      <a:pt x="6171" y="60943"/>
                    </a:cubicBezTo>
                    <a:cubicBezTo>
                      <a:pt x="3086" y="60943"/>
                      <a:pt x="0" y="57857"/>
                      <a:pt x="0" y="54771"/>
                    </a:cubicBezTo>
                    <a:cubicBezTo>
                      <a:pt x="0" y="51686"/>
                      <a:pt x="3086" y="48600"/>
                      <a:pt x="6171" y="48600"/>
                    </a:cubicBezTo>
                    <a:cubicBezTo>
                      <a:pt x="6171" y="48600"/>
                      <a:pt x="108000" y="64029"/>
                      <a:pt x="175886" y="2314"/>
                    </a:cubicBezTo>
                    <a:cubicBezTo>
                      <a:pt x="178971" y="-771"/>
                      <a:pt x="182057" y="-771"/>
                      <a:pt x="185143" y="2314"/>
                    </a:cubicBezTo>
                    <a:cubicBezTo>
                      <a:pt x="188229" y="5400"/>
                      <a:pt x="188229" y="8485"/>
                      <a:pt x="185143" y="11571"/>
                    </a:cubicBezTo>
                    <a:cubicBezTo>
                      <a:pt x="138857" y="54771"/>
                      <a:pt x="77143" y="64029"/>
                      <a:pt x="40114" y="640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1" name="任意多边形: 形状 200">
                <a:extLst>
                  <a:ext uri="{FF2B5EF4-FFF2-40B4-BE49-F238E27FC236}">
                    <a16:creationId xmlns:a16="http://schemas.microsoft.com/office/drawing/2014/main" id="{DCDE70F1-145D-498F-85D5-A6654E616CC9}"/>
                  </a:ext>
                </a:extLst>
              </p:cNvPr>
              <p:cNvSpPr/>
              <p:nvPr/>
            </p:nvSpPr>
            <p:spPr>
              <a:xfrm>
                <a:off x="4331179" y="12217296"/>
                <a:ext cx="41657" cy="42429"/>
              </a:xfrm>
              <a:custGeom>
                <a:avLst/>
                <a:gdLst>
                  <a:gd name="connsiteX0" fmla="*/ 5400 w 41657"/>
                  <a:gd name="connsiteY0" fmla="*/ 42429 h 42429"/>
                  <a:gd name="connsiteX1" fmla="*/ 2314 w 41657"/>
                  <a:gd name="connsiteY1" fmla="*/ 39343 h 42429"/>
                  <a:gd name="connsiteX2" fmla="*/ 2314 w 41657"/>
                  <a:gd name="connsiteY2" fmla="*/ 30086 h 42429"/>
                  <a:gd name="connsiteX3" fmla="*/ 30086 w 41657"/>
                  <a:gd name="connsiteY3" fmla="*/ 2314 h 42429"/>
                  <a:gd name="connsiteX4" fmla="*/ 39343 w 41657"/>
                  <a:gd name="connsiteY4" fmla="*/ 2314 h 42429"/>
                  <a:gd name="connsiteX5" fmla="*/ 39343 w 41657"/>
                  <a:gd name="connsiteY5" fmla="*/ 11572 h 42429"/>
                  <a:gd name="connsiteX6" fmla="*/ 11571 w 41657"/>
                  <a:gd name="connsiteY6" fmla="*/ 39343 h 42429"/>
                  <a:gd name="connsiteX7" fmla="*/ 5400 w 41657"/>
                  <a:gd name="connsiteY7" fmla="*/ 42429 h 42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7" h="42429">
                    <a:moveTo>
                      <a:pt x="5400" y="42429"/>
                    </a:moveTo>
                    <a:cubicBezTo>
                      <a:pt x="5400" y="42429"/>
                      <a:pt x="2314" y="42429"/>
                      <a:pt x="2314" y="39343"/>
                    </a:cubicBezTo>
                    <a:cubicBezTo>
                      <a:pt x="-771" y="36257"/>
                      <a:pt x="-771" y="33172"/>
                      <a:pt x="2314" y="30086"/>
                    </a:cubicBezTo>
                    <a:lnTo>
                      <a:pt x="30086" y="2314"/>
                    </a:lnTo>
                    <a:cubicBezTo>
                      <a:pt x="33171" y="-771"/>
                      <a:pt x="36257" y="-771"/>
                      <a:pt x="39343" y="2314"/>
                    </a:cubicBezTo>
                    <a:cubicBezTo>
                      <a:pt x="42429" y="5400"/>
                      <a:pt x="42429" y="8486"/>
                      <a:pt x="39343" y="11572"/>
                    </a:cubicBezTo>
                    <a:lnTo>
                      <a:pt x="11571" y="39343"/>
                    </a:lnTo>
                    <a:cubicBezTo>
                      <a:pt x="8486" y="42429"/>
                      <a:pt x="5400" y="42429"/>
                      <a:pt x="5400" y="424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2" name="任意多边形: 形状 201">
                <a:extLst>
                  <a:ext uri="{FF2B5EF4-FFF2-40B4-BE49-F238E27FC236}">
                    <a16:creationId xmlns:a16="http://schemas.microsoft.com/office/drawing/2014/main" id="{BEE4F69B-5763-48BD-9C35-9505ADCDD913}"/>
                  </a:ext>
                </a:extLst>
              </p:cNvPr>
              <p:cNvSpPr/>
              <p:nvPr/>
            </p:nvSpPr>
            <p:spPr>
              <a:xfrm>
                <a:off x="4368208" y="12245068"/>
                <a:ext cx="38571" cy="42428"/>
              </a:xfrm>
              <a:custGeom>
                <a:avLst/>
                <a:gdLst>
                  <a:gd name="connsiteX0" fmla="*/ 5400 w 38571"/>
                  <a:gd name="connsiteY0" fmla="*/ 42429 h 42428"/>
                  <a:gd name="connsiteX1" fmla="*/ 2314 w 38571"/>
                  <a:gd name="connsiteY1" fmla="*/ 39343 h 42428"/>
                  <a:gd name="connsiteX2" fmla="*/ 2314 w 38571"/>
                  <a:gd name="connsiteY2" fmla="*/ 30086 h 42428"/>
                  <a:gd name="connsiteX3" fmla="*/ 27000 w 38571"/>
                  <a:gd name="connsiteY3" fmla="*/ 2314 h 42428"/>
                  <a:gd name="connsiteX4" fmla="*/ 36257 w 38571"/>
                  <a:gd name="connsiteY4" fmla="*/ 2314 h 42428"/>
                  <a:gd name="connsiteX5" fmla="*/ 36257 w 38571"/>
                  <a:gd name="connsiteY5" fmla="*/ 11571 h 42428"/>
                  <a:gd name="connsiteX6" fmla="*/ 11571 w 38571"/>
                  <a:gd name="connsiteY6" fmla="*/ 39343 h 42428"/>
                  <a:gd name="connsiteX7" fmla="*/ 5400 w 38571"/>
                  <a:gd name="connsiteY7" fmla="*/ 42429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571" h="42428">
                    <a:moveTo>
                      <a:pt x="5400" y="42429"/>
                    </a:moveTo>
                    <a:cubicBezTo>
                      <a:pt x="5400" y="42429"/>
                      <a:pt x="2314" y="42429"/>
                      <a:pt x="2314" y="39343"/>
                    </a:cubicBezTo>
                    <a:cubicBezTo>
                      <a:pt x="-771" y="36257"/>
                      <a:pt x="-771" y="33171"/>
                      <a:pt x="2314" y="30086"/>
                    </a:cubicBezTo>
                    <a:lnTo>
                      <a:pt x="27000" y="2314"/>
                    </a:lnTo>
                    <a:cubicBezTo>
                      <a:pt x="30086" y="-771"/>
                      <a:pt x="33171" y="-771"/>
                      <a:pt x="36257" y="2314"/>
                    </a:cubicBezTo>
                    <a:cubicBezTo>
                      <a:pt x="39343" y="5400"/>
                      <a:pt x="39343" y="8486"/>
                      <a:pt x="36257" y="11571"/>
                    </a:cubicBezTo>
                    <a:lnTo>
                      <a:pt x="11571" y="39343"/>
                    </a:lnTo>
                    <a:cubicBezTo>
                      <a:pt x="8486" y="42429"/>
                      <a:pt x="8486" y="42429"/>
                      <a:pt x="5400" y="424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300ACB1D-A1B8-4908-AE36-23C6C354B12E}"/>
                </a:ext>
              </a:extLst>
            </p:cNvPr>
            <p:cNvSpPr/>
            <p:nvPr/>
          </p:nvSpPr>
          <p:spPr>
            <a:xfrm>
              <a:off x="3907665" y="8152639"/>
              <a:ext cx="253028" cy="261370"/>
            </a:xfrm>
            <a:custGeom>
              <a:avLst/>
              <a:gdLst>
                <a:gd name="connsiteX0" fmla="*/ 253029 w 253028"/>
                <a:gd name="connsiteY0" fmla="*/ 40114 h 261370"/>
                <a:gd name="connsiteX1" fmla="*/ 246857 w 253028"/>
                <a:gd name="connsiteY1" fmla="*/ 216000 h 261370"/>
                <a:gd name="connsiteX2" fmla="*/ 0 w 253028"/>
                <a:gd name="connsiteY2" fmla="*/ 206743 h 261370"/>
                <a:gd name="connsiteX3" fmla="*/ 15429 w 253028"/>
                <a:gd name="connsiteY3" fmla="*/ 0 h 261370"/>
                <a:gd name="connsiteX4" fmla="*/ 253029 w 253028"/>
                <a:gd name="connsiteY4" fmla="*/ 40114 h 261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028" h="261370">
                  <a:moveTo>
                    <a:pt x="253029" y="40114"/>
                  </a:moveTo>
                  <a:cubicBezTo>
                    <a:pt x="253029" y="40114"/>
                    <a:pt x="246857" y="141943"/>
                    <a:pt x="246857" y="216000"/>
                  </a:cubicBezTo>
                  <a:cubicBezTo>
                    <a:pt x="246857" y="216000"/>
                    <a:pt x="151200" y="324000"/>
                    <a:pt x="0" y="206743"/>
                  </a:cubicBezTo>
                  <a:cubicBezTo>
                    <a:pt x="0" y="145028"/>
                    <a:pt x="12343" y="64800"/>
                    <a:pt x="15429" y="0"/>
                  </a:cubicBezTo>
                  <a:cubicBezTo>
                    <a:pt x="12343" y="0"/>
                    <a:pt x="200571" y="52457"/>
                    <a:pt x="253029" y="40114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F8A0BE7F-D0CF-4EB1-8039-7CC8D8AFA5A9}"/>
                </a:ext>
              </a:extLst>
            </p:cNvPr>
            <p:cNvSpPr/>
            <p:nvPr/>
          </p:nvSpPr>
          <p:spPr>
            <a:xfrm>
              <a:off x="3815094" y="8032296"/>
              <a:ext cx="70971" cy="138857"/>
            </a:xfrm>
            <a:custGeom>
              <a:avLst/>
              <a:gdLst>
                <a:gd name="connsiteX0" fmla="*/ 0 w 70971"/>
                <a:gd name="connsiteY0" fmla="*/ 0 h 138857"/>
                <a:gd name="connsiteX1" fmla="*/ 67886 w 70971"/>
                <a:gd name="connsiteY1" fmla="*/ 138857 h 138857"/>
                <a:gd name="connsiteX2" fmla="*/ 70971 w 70971"/>
                <a:gd name="connsiteY2" fmla="*/ 52457 h 138857"/>
                <a:gd name="connsiteX3" fmla="*/ 0 w 70971"/>
                <a:gd name="connsiteY3" fmla="*/ 0 h 13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971" h="138857">
                  <a:moveTo>
                    <a:pt x="0" y="0"/>
                  </a:moveTo>
                  <a:cubicBezTo>
                    <a:pt x="0" y="0"/>
                    <a:pt x="15429" y="120343"/>
                    <a:pt x="67886" y="138857"/>
                  </a:cubicBezTo>
                  <a:lnTo>
                    <a:pt x="70971" y="524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DDBA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37BFAA05-F1E5-4BF1-976F-5192045CA6A8}"/>
                </a:ext>
              </a:extLst>
            </p:cNvPr>
            <p:cNvSpPr/>
            <p:nvPr/>
          </p:nvSpPr>
          <p:spPr>
            <a:xfrm>
              <a:off x="4175665" y="7819382"/>
              <a:ext cx="103878" cy="240698"/>
            </a:xfrm>
            <a:custGeom>
              <a:avLst/>
              <a:gdLst>
                <a:gd name="connsiteX0" fmla="*/ 96114 w 103878"/>
                <a:gd name="connsiteY0" fmla="*/ 0 h 240698"/>
                <a:gd name="connsiteX1" fmla="*/ 56000 w 103878"/>
                <a:gd name="connsiteY1" fmla="*/ 237600 h 240698"/>
                <a:gd name="connsiteX2" fmla="*/ 457 w 103878"/>
                <a:gd name="connsiteY2" fmla="*/ 15429 h 240698"/>
                <a:gd name="connsiteX3" fmla="*/ 96114 w 103878"/>
                <a:gd name="connsiteY3" fmla="*/ 0 h 24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78" h="240698">
                  <a:moveTo>
                    <a:pt x="96114" y="0"/>
                  </a:moveTo>
                  <a:cubicBezTo>
                    <a:pt x="96114" y="0"/>
                    <a:pt x="130057" y="197486"/>
                    <a:pt x="56000" y="237600"/>
                  </a:cubicBezTo>
                  <a:cubicBezTo>
                    <a:pt x="-8800" y="271543"/>
                    <a:pt x="457" y="15429"/>
                    <a:pt x="457" y="15429"/>
                  </a:cubicBezTo>
                  <a:lnTo>
                    <a:pt x="96114" y="0"/>
                  </a:lnTo>
                  <a:close/>
                </a:path>
              </a:pathLst>
            </a:custGeom>
            <a:solidFill>
              <a:srgbClr val="F1DDBA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617584DB-4D47-4FD7-ACEC-4BD182311E12}"/>
                </a:ext>
              </a:extLst>
            </p:cNvPr>
            <p:cNvSpPr/>
            <p:nvPr/>
          </p:nvSpPr>
          <p:spPr>
            <a:xfrm>
              <a:off x="3815094" y="7682229"/>
              <a:ext cx="428517" cy="575934"/>
            </a:xfrm>
            <a:custGeom>
              <a:avLst/>
              <a:gdLst>
                <a:gd name="connsiteX0" fmla="*/ 416571 w 428517"/>
                <a:gd name="connsiteY0" fmla="*/ 183438 h 575934"/>
                <a:gd name="connsiteX1" fmla="*/ 419657 w 428517"/>
                <a:gd name="connsiteY1" fmla="*/ 436467 h 575934"/>
                <a:gd name="connsiteX2" fmla="*/ 259200 w 428517"/>
                <a:gd name="connsiteY2" fmla="*/ 575324 h 575934"/>
                <a:gd name="connsiteX3" fmla="*/ 40114 w 428517"/>
                <a:gd name="connsiteY3" fmla="*/ 433381 h 575934"/>
                <a:gd name="connsiteX4" fmla="*/ 0 w 428517"/>
                <a:gd name="connsiteY4" fmla="*/ 205038 h 575934"/>
                <a:gd name="connsiteX5" fmla="*/ 212914 w 428517"/>
                <a:gd name="connsiteY5" fmla="*/ 1381 h 575934"/>
                <a:gd name="connsiteX6" fmla="*/ 416571 w 428517"/>
                <a:gd name="connsiteY6" fmla="*/ 183438 h 575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8517" h="575934">
                  <a:moveTo>
                    <a:pt x="416571" y="183438"/>
                  </a:moveTo>
                  <a:cubicBezTo>
                    <a:pt x="416571" y="183438"/>
                    <a:pt x="441257" y="362410"/>
                    <a:pt x="419657" y="436467"/>
                  </a:cubicBezTo>
                  <a:cubicBezTo>
                    <a:pt x="401143" y="504352"/>
                    <a:pt x="311657" y="569153"/>
                    <a:pt x="259200" y="575324"/>
                  </a:cubicBezTo>
                  <a:cubicBezTo>
                    <a:pt x="191314" y="581495"/>
                    <a:pt x="70971" y="541381"/>
                    <a:pt x="40114" y="433381"/>
                  </a:cubicBezTo>
                  <a:cubicBezTo>
                    <a:pt x="18514" y="359324"/>
                    <a:pt x="0" y="257495"/>
                    <a:pt x="0" y="205038"/>
                  </a:cubicBezTo>
                  <a:cubicBezTo>
                    <a:pt x="0" y="109381"/>
                    <a:pt x="27771" y="29153"/>
                    <a:pt x="212914" y="1381"/>
                  </a:cubicBezTo>
                  <a:cubicBezTo>
                    <a:pt x="299314" y="-14048"/>
                    <a:pt x="394971" y="103210"/>
                    <a:pt x="416571" y="183438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0CC7A136-58BD-4CB3-8B33-486902BE849A}"/>
                </a:ext>
              </a:extLst>
            </p:cNvPr>
            <p:cNvSpPr/>
            <p:nvPr/>
          </p:nvSpPr>
          <p:spPr>
            <a:xfrm>
              <a:off x="4046522" y="7945896"/>
              <a:ext cx="58628" cy="141943"/>
            </a:xfrm>
            <a:custGeom>
              <a:avLst/>
              <a:gdLst>
                <a:gd name="connsiteX0" fmla="*/ 27771 w 58628"/>
                <a:gd name="connsiteY0" fmla="*/ 141943 h 141943"/>
                <a:gd name="connsiteX1" fmla="*/ 6171 w 58628"/>
                <a:gd name="connsiteY1" fmla="*/ 138857 h 141943"/>
                <a:gd name="connsiteX2" fmla="*/ 0 w 58628"/>
                <a:gd name="connsiteY2" fmla="*/ 132686 h 141943"/>
                <a:gd name="connsiteX3" fmla="*/ 6171 w 58628"/>
                <a:gd name="connsiteY3" fmla="*/ 126514 h 141943"/>
                <a:gd name="connsiteX4" fmla="*/ 46286 w 58628"/>
                <a:gd name="connsiteY4" fmla="*/ 123429 h 141943"/>
                <a:gd name="connsiteX5" fmla="*/ 46286 w 58628"/>
                <a:gd name="connsiteY5" fmla="*/ 120343 h 141943"/>
                <a:gd name="connsiteX6" fmla="*/ 27771 w 58628"/>
                <a:gd name="connsiteY6" fmla="*/ 6172 h 141943"/>
                <a:gd name="connsiteX7" fmla="*/ 33943 w 58628"/>
                <a:gd name="connsiteY7" fmla="*/ 0 h 141943"/>
                <a:gd name="connsiteX8" fmla="*/ 40114 w 58628"/>
                <a:gd name="connsiteY8" fmla="*/ 6172 h 141943"/>
                <a:gd name="connsiteX9" fmla="*/ 58629 w 58628"/>
                <a:gd name="connsiteY9" fmla="*/ 120343 h 141943"/>
                <a:gd name="connsiteX10" fmla="*/ 52457 w 58628"/>
                <a:gd name="connsiteY10" fmla="*/ 132686 h 141943"/>
                <a:gd name="connsiteX11" fmla="*/ 27771 w 58628"/>
                <a:gd name="connsiteY11" fmla="*/ 141943 h 141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628" h="141943">
                  <a:moveTo>
                    <a:pt x="27771" y="141943"/>
                  </a:moveTo>
                  <a:cubicBezTo>
                    <a:pt x="18514" y="141943"/>
                    <a:pt x="9257" y="138857"/>
                    <a:pt x="6171" y="138857"/>
                  </a:cubicBezTo>
                  <a:cubicBezTo>
                    <a:pt x="3086" y="138857"/>
                    <a:pt x="0" y="135772"/>
                    <a:pt x="0" y="132686"/>
                  </a:cubicBezTo>
                  <a:cubicBezTo>
                    <a:pt x="0" y="129600"/>
                    <a:pt x="3086" y="126514"/>
                    <a:pt x="6171" y="126514"/>
                  </a:cubicBezTo>
                  <a:cubicBezTo>
                    <a:pt x="18514" y="129600"/>
                    <a:pt x="40114" y="129600"/>
                    <a:pt x="46286" y="123429"/>
                  </a:cubicBezTo>
                  <a:cubicBezTo>
                    <a:pt x="46286" y="123429"/>
                    <a:pt x="46286" y="120343"/>
                    <a:pt x="46286" y="120343"/>
                  </a:cubicBezTo>
                  <a:cubicBezTo>
                    <a:pt x="46286" y="101829"/>
                    <a:pt x="27771" y="9257"/>
                    <a:pt x="27771" y="6172"/>
                  </a:cubicBezTo>
                  <a:cubicBezTo>
                    <a:pt x="27771" y="3086"/>
                    <a:pt x="27771" y="0"/>
                    <a:pt x="33943" y="0"/>
                  </a:cubicBezTo>
                  <a:cubicBezTo>
                    <a:pt x="37029" y="0"/>
                    <a:pt x="40114" y="0"/>
                    <a:pt x="40114" y="6172"/>
                  </a:cubicBezTo>
                  <a:cubicBezTo>
                    <a:pt x="40114" y="9257"/>
                    <a:pt x="58629" y="101829"/>
                    <a:pt x="58629" y="120343"/>
                  </a:cubicBezTo>
                  <a:cubicBezTo>
                    <a:pt x="58629" y="126514"/>
                    <a:pt x="55543" y="129600"/>
                    <a:pt x="52457" y="132686"/>
                  </a:cubicBezTo>
                  <a:cubicBezTo>
                    <a:pt x="49372" y="138857"/>
                    <a:pt x="37029" y="141943"/>
                    <a:pt x="27771" y="141943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616DDBB3-1EBE-4034-AAC8-C57A4ADD2FA0}"/>
                </a:ext>
              </a:extLst>
            </p:cNvPr>
            <p:cNvSpPr/>
            <p:nvPr/>
          </p:nvSpPr>
          <p:spPr>
            <a:xfrm>
              <a:off x="4015665" y="8137210"/>
              <a:ext cx="108000" cy="52580"/>
            </a:xfrm>
            <a:custGeom>
              <a:avLst/>
              <a:gdLst>
                <a:gd name="connsiteX0" fmla="*/ 108000 w 108000"/>
                <a:gd name="connsiteY0" fmla="*/ 0 h 52580"/>
                <a:gd name="connsiteX1" fmla="*/ 0 w 108000"/>
                <a:gd name="connsiteY1" fmla="*/ 0 h 52580"/>
                <a:gd name="connsiteX2" fmla="*/ 52457 w 108000"/>
                <a:gd name="connsiteY2" fmla="*/ 52457 h 52580"/>
                <a:gd name="connsiteX3" fmla="*/ 108000 w 108000"/>
                <a:gd name="connsiteY3" fmla="*/ 0 h 5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000" h="52580">
                  <a:moveTo>
                    <a:pt x="108000" y="0"/>
                  </a:moveTo>
                  <a:cubicBezTo>
                    <a:pt x="108000" y="0"/>
                    <a:pt x="52457" y="15429"/>
                    <a:pt x="0" y="0"/>
                  </a:cubicBezTo>
                  <a:cubicBezTo>
                    <a:pt x="0" y="0"/>
                    <a:pt x="3086" y="52457"/>
                    <a:pt x="52457" y="52457"/>
                  </a:cubicBezTo>
                  <a:cubicBezTo>
                    <a:pt x="95657" y="55542"/>
                    <a:pt x="108000" y="0"/>
                    <a:pt x="108000" y="0"/>
                  </a:cubicBezTo>
                  <a:close/>
                </a:path>
              </a:pathLst>
            </a:custGeom>
            <a:solidFill>
              <a:srgbClr val="FFFFFF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A3EA91A2-5B8D-474F-B863-83054DB3813A}"/>
                </a:ext>
              </a:extLst>
            </p:cNvPr>
            <p:cNvSpPr/>
            <p:nvPr/>
          </p:nvSpPr>
          <p:spPr>
            <a:xfrm>
              <a:off x="4135222" y="7923691"/>
              <a:ext cx="41505" cy="41324"/>
            </a:xfrm>
            <a:custGeom>
              <a:avLst/>
              <a:gdLst>
                <a:gd name="connsiteX0" fmla="*/ 786 w 41505"/>
                <a:gd name="connsiteY0" fmla="*/ 25291 h 41324"/>
                <a:gd name="connsiteX1" fmla="*/ 25472 w 41505"/>
                <a:gd name="connsiteY1" fmla="*/ 40720 h 41324"/>
                <a:gd name="connsiteX2" fmla="*/ 40901 w 41505"/>
                <a:gd name="connsiteY2" fmla="*/ 16034 h 41324"/>
                <a:gd name="connsiteX3" fmla="*/ 16215 w 41505"/>
                <a:gd name="connsiteY3" fmla="*/ 605 h 41324"/>
                <a:gd name="connsiteX4" fmla="*/ 786 w 41505"/>
                <a:gd name="connsiteY4" fmla="*/ 25291 h 41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5" h="41324">
                  <a:moveTo>
                    <a:pt x="786" y="25291"/>
                  </a:moveTo>
                  <a:cubicBezTo>
                    <a:pt x="3872" y="34548"/>
                    <a:pt x="13129" y="43805"/>
                    <a:pt x="25472" y="40720"/>
                  </a:cubicBezTo>
                  <a:cubicBezTo>
                    <a:pt x="34729" y="37634"/>
                    <a:pt x="43986" y="28377"/>
                    <a:pt x="40901" y="16034"/>
                  </a:cubicBezTo>
                  <a:cubicBezTo>
                    <a:pt x="37815" y="6777"/>
                    <a:pt x="28558" y="-2480"/>
                    <a:pt x="16215" y="605"/>
                  </a:cubicBezTo>
                  <a:cubicBezTo>
                    <a:pt x="3872" y="3691"/>
                    <a:pt x="-2299" y="16034"/>
                    <a:pt x="786" y="25291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3B7C4243-38AC-46BE-8B94-2D22DEC42915}"/>
                </a:ext>
              </a:extLst>
            </p:cNvPr>
            <p:cNvSpPr/>
            <p:nvPr/>
          </p:nvSpPr>
          <p:spPr>
            <a:xfrm>
              <a:off x="3950079" y="7945291"/>
              <a:ext cx="41505" cy="41324"/>
            </a:xfrm>
            <a:custGeom>
              <a:avLst/>
              <a:gdLst>
                <a:gd name="connsiteX0" fmla="*/ 786 w 41505"/>
                <a:gd name="connsiteY0" fmla="*/ 25291 h 41324"/>
                <a:gd name="connsiteX1" fmla="*/ 25472 w 41505"/>
                <a:gd name="connsiteY1" fmla="*/ 40720 h 41324"/>
                <a:gd name="connsiteX2" fmla="*/ 40901 w 41505"/>
                <a:gd name="connsiteY2" fmla="*/ 16034 h 41324"/>
                <a:gd name="connsiteX3" fmla="*/ 16215 w 41505"/>
                <a:gd name="connsiteY3" fmla="*/ 605 h 41324"/>
                <a:gd name="connsiteX4" fmla="*/ 786 w 41505"/>
                <a:gd name="connsiteY4" fmla="*/ 25291 h 41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5" h="41324">
                  <a:moveTo>
                    <a:pt x="786" y="25291"/>
                  </a:moveTo>
                  <a:cubicBezTo>
                    <a:pt x="3872" y="34548"/>
                    <a:pt x="13129" y="43805"/>
                    <a:pt x="25472" y="40720"/>
                  </a:cubicBezTo>
                  <a:cubicBezTo>
                    <a:pt x="34729" y="37634"/>
                    <a:pt x="43986" y="28377"/>
                    <a:pt x="40901" y="16034"/>
                  </a:cubicBezTo>
                  <a:cubicBezTo>
                    <a:pt x="37815" y="6777"/>
                    <a:pt x="28558" y="-2480"/>
                    <a:pt x="16215" y="605"/>
                  </a:cubicBezTo>
                  <a:cubicBezTo>
                    <a:pt x="3872" y="3691"/>
                    <a:pt x="-2299" y="12948"/>
                    <a:pt x="786" y="25291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BAB1D6CB-BAB7-4035-8422-973F81D06B71}"/>
                </a:ext>
              </a:extLst>
            </p:cNvPr>
            <p:cNvSpPr/>
            <p:nvPr/>
          </p:nvSpPr>
          <p:spPr>
            <a:xfrm>
              <a:off x="4103873" y="7874925"/>
              <a:ext cx="93078" cy="33942"/>
            </a:xfrm>
            <a:custGeom>
              <a:avLst/>
              <a:gdLst>
                <a:gd name="connsiteX0" fmla="*/ 87678 w 93078"/>
                <a:gd name="connsiteY0" fmla="*/ 33943 h 33942"/>
                <a:gd name="connsiteX1" fmla="*/ 81507 w 93078"/>
                <a:gd name="connsiteY1" fmla="*/ 30857 h 33942"/>
                <a:gd name="connsiteX2" fmla="*/ 13621 w 93078"/>
                <a:gd name="connsiteY2" fmla="*/ 24685 h 33942"/>
                <a:gd name="connsiteX3" fmla="*/ 1278 w 93078"/>
                <a:gd name="connsiteY3" fmla="*/ 21600 h 33942"/>
                <a:gd name="connsiteX4" fmla="*/ 4364 w 93078"/>
                <a:gd name="connsiteY4" fmla="*/ 9257 h 33942"/>
                <a:gd name="connsiteX5" fmla="*/ 90764 w 93078"/>
                <a:gd name="connsiteY5" fmla="*/ 18514 h 33942"/>
                <a:gd name="connsiteX6" fmla="*/ 90764 w 93078"/>
                <a:gd name="connsiteY6" fmla="*/ 30857 h 33942"/>
                <a:gd name="connsiteX7" fmla="*/ 87678 w 93078"/>
                <a:gd name="connsiteY7" fmla="*/ 33943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3942">
                  <a:moveTo>
                    <a:pt x="87678" y="33943"/>
                  </a:moveTo>
                  <a:cubicBezTo>
                    <a:pt x="84592" y="33943"/>
                    <a:pt x="84592" y="33943"/>
                    <a:pt x="81507" y="30857"/>
                  </a:cubicBezTo>
                  <a:cubicBezTo>
                    <a:pt x="53735" y="3086"/>
                    <a:pt x="13621" y="24685"/>
                    <a:pt x="13621" y="24685"/>
                  </a:cubicBezTo>
                  <a:cubicBezTo>
                    <a:pt x="10535" y="27771"/>
                    <a:pt x="4364" y="24685"/>
                    <a:pt x="1278" y="21600"/>
                  </a:cubicBezTo>
                  <a:cubicBezTo>
                    <a:pt x="-1808" y="18514"/>
                    <a:pt x="1278" y="12343"/>
                    <a:pt x="4364" y="9257"/>
                  </a:cubicBezTo>
                  <a:cubicBezTo>
                    <a:pt x="22878" y="0"/>
                    <a:pt x="62992" y="-9257"/>
                    <a:pt x="90764" y="18514"/>
                  </a:cubicBezTo>
                  <a:cubicBezTo>
                    <a:pt x="93850" y="21600"/>
                    <a:pt x="93850" y="27771"/>
                    <a:pt x="90764" y="30857"/>
                  </a:cubicBezTo>
                  <a:cubicBezTo>
                    <a:pt x="93850" y="33943"/>
                    <a:pt x="90764" y="33943"/>
                    <a:pt x="87678" y="33943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EF98B495-965A-4728-B780-A156647F29F6}"/>
                </a:ext>
              </a:extLst>
            </p:cNvPr>
            <p:cNvSpPr/>
            <p:nvPr/>
          </p:nvSpPr>
          <p:spPr>
            <a:xfrm>
              <a:off x="3914608" y="7878324"/>
              <a:ext cx="93078" cy="36714"/>
            </a:xfrm>
            <a:custGeom>
              <a:avLst/>
              <a:gdLst>
                <a:gd name="connsiteX0" fmla="*/ 8486 w 93078"/>
                <a:gd name="connsiteY0" fmla="*/ 36714 h 36714"/>
                <a:gd name="connsiteX1" fmla="*/ 2314 w 93078"/>
                <a:gd name="connsiteY1" fmla="*/ 33629 h 36714"/>
                <a:gd name="connsiteX2" fmla="*/ 2314 w 93078"/>
                <a:gd name="connsiteY2" fmla="*/ 21286 h 36714"/>
                <a:gd name="connsiteX3" fmla="*/ 88714 w 93078"/>
                <a:gd name="connsiteY3" fmla="*/ 12029 h 36714"/>
                <a:gd name="connsiteX4" fmla="*/ 91800 w 93078"/>
                <a:gd name="connsiteY4" fmla="*/ 24372 h 36714"/>
                <a:gd name="connsiteX5" fmla="*/ 79457 w 93078"/>
                <a:gd name="connsiteY5" fmla="*/ 27458 h 36714"/>
                <a:gd name="connsiteX6" fmla="*/ 11571 w 93078"/>
                <a:gd name="connsiteY6" fmla="*/ 33629 h 36714"/>
                <a:gd name="connsiteX7" fmla="*/ 8486 w 93078"/>
                <a:gd name="connsiteY7" fmla="*/ 36714 h 3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6714">
                  <a:moveTo>
                    <a:pt x="8486" y="36714"/>
                  </a:moveTo>
                  <a:cubicBezTo>
                    <a:pt x="5400" y="36714"/>
                    <a:pt x="5400" y="36714"/>
                    <a:pt x="2314" y="33629"/>
                  </a:cubicBezTo>
                  <a:cubicBezTo>
                    <a:pt x="-771" y="30543"/>
                    <a:pt x="-771" y="24372"/>
                    <a:pt x="2314" y="21286"/>
                  </a:cubicBezTo>
                  <a:cubicBezTo>
                    <a:pt x="14657" y="5857"/>
                    <a:pt x="51686" y="-12657"/>
                    <a:pt x="88714" y="12029"/>
                  </a:cubicBezTo>
                  <a:cubicBezTo>
                    <a:pt x="91800" y="15114"/>
                    <a:pt x="94886" y="18200"/>
                    <a:pt x="91800" y="24372"/>
                  </a:cubicBezTo>
                  <a:cubicBezTo>
                    <a:pt x="88714" y="27458"/>
                    <a:pt x="85629" y="30543"/>
                    <a:pt x="79457" y="27458"/>
                  </a:cubicBezTo>
                  <a:cubicBezTo>
                    <a:pt x="42429" y="2772"/>
                    <a:pt x="14657" y="33629"/>
                    <a:pt x="11571" y="33629"/>
                  </a:cubicBezTo>
                  <a:cubicBezTo>
                    <a:pt x="11571" y="33629"/>
                    <a:pt x="11571" y="36714"/>
                    <a:pt x="8486" y="36714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1CFDD84E-179E-4102-9C2B-B040856B1135}"/>
                </a:ext>
              </a:extLst>
            </p:cNvPr>
            <p:cNvSpPr/>
            <p:nvPr/>
          </p:nvSpPr>
          <p:spPr>
            <a:xfrm>
              <a:off x="3910751" y="8198925"/>
              <a:ext cx="233742" cy="64799"/>
            </a:xfrm>
            <a:custGeom>
              <a:avLst/>
              <a:gdLst>
                <a:gd name="connsiteX0" fmla="*/ 151200 w 233742"/>
                <a:gd name="connsiteY0" fmla="*/ 64800 h 64799"/>
                <a:gd name="connsiteX1" fmla="*/ 3086 w 233742"/>
                <a:gd name="connsiteY1" fmla="*/ 12343 h 64799"/>
                <a:gd name="connsiteX2" fmla="*/ 0 w 233742"/>
                <a:gd name="connsiteY2" fmla="*/ 3085 h 64799"/>
                <a:gd name="connsiteX3" fmla="*/ 9257 w 233742"/>
                <a:gd name="connsiteY3" fmla="*/ 0 h 64799"/>
                <a:gd name="connsiteX4" fmla="*/ 151200 w 233742"/>
                <a:gd name="connsiteY4" fmla="*/ 49371 h 64799"/>
                <a:gd name="connsiteX5" fmla="*/ 151200 w 233742"/>
                <a:gd name="connsiteY5" fmla="*/ 49371 h 64799"/>
                <a:gd name="connsiteX6" fmla="*/ 222171 w 233742"/>
                <a:gd name="connsiteY6" fmla="*/ 24685 h 64799"/>
                <a:gd name="connsiteX7" fmla="*/ 231429 w 233742"/>
                <a:gd name="connsiteY7" fmla="*/ 24685 h 64799"/>
                <a:gd name="connsiteX8" fmla="*/ 231429 w 233742"/>
                <a:gd name="connsiteY8" fmla="*/ 33943 h 64799"/>
                <a:gd name="connsiteX9" fmla="*/ 151200 w 233742"/>
                <a:gd name="connsiteY9" fmla="*/ 64800 h 64799"/>
                <a:gd name="connsiteX10" fmla="*/ 151200 w 233742"/>
                <a:gd name="connsiteY10" fmla="*/ 64800 h 6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742" h="64799">
                  <a:moveTo>
                    <a:pt x="151200" y="64800"/>
                  </a:moveTo>
                  <a:cubicBezTo>
                    <a:pt x="98743" y="64800"/>
                    <a:pt x="9257" y="15429"/>
                    <a:pt x="3086" y="12343"/>
                  </a:cubicBezTo>
                  <a:cubicBezTo>
                    <a:pt x="0" y="9257"/>
                    <a:pt x="0" y="6171"/>
                    <a:pt x="0" y="3085"/>
                  </a:cubicBezTo>
                  <a:cubicBezTo>
                    <a:pt x="3086" y="0"/>
                    <a:pt x="6171" y="0"/>
                    <a:pt x="9257" y="0"/>
                  </a:cubicBezTo>
                  <a:cubicBezTo>
                    <a:pt x="9257" y="0"/>
                    <a:pt x="101829" y="49371"/>
                    <a:pt x="151200" y="49371"/>
                  </a:cubicBezTo>
                  <a:cubicBezTo>
                    <a:pt x="151200" y="49371"/>
                    <a:pt x="151200" y="49371"/>
                    <a:pt x="151200" y="49371"/>
                  </a:cubicBezTo>
                  <a:cubicBezTo>
                    <a:pt x="191314" y="49371"/>
                    <a:pt x="222171" y="24685"/>
                    <a:pt x="222171" y="24685"/>
                  </a:cubicBezTo>
                  <a:cubicBezTo>
                    <a:pt x="225257" y="21600"/>
                    <a:pt x="228343" y="21600"/>
                    <a:pt x="231429" y="24685"/>
                  </a:cubicBezTo>
                  <a:cubicBezTo>
                    <a:pt x="234514" y="27771"/>
                    <a:pt x="234514" y="30857"/>
                    <a:pt x="231429" y="33943"/>
                  </a:cubicBezTo>
                  <a:cubicBezTo>
                    <a:pt x="228343" y="37028"/>
                    <a:pt x="194400" y="64800"/>
                    <a:pt x="151200" y="64800"/>
                  </a:cubicBezTo>
                  <a:cubicBezTo>
                    <a:pt x="151200" y="64800"/>
                    <a:pt x="151200" y="64800"/>
                    <a:pt x="151200" y="64800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6F986213-9E40-45AB-B8A4-C5BB7E829F15}"/>
                </a:ext>
              </a:extLst>
            </p:cNvPr>
            <p:cNvSpPr/>
            <p:nvPr/>
          </p:nvSpPr>
          <p:spPr>
            <a:xfrm>
              <a:off x="3774659" y="7705210"/>
              <a:ext cx="114491" cy="271542"/>
            </a:xfrm>
            <a:custGeom>
              <a:avLst/>
              <a:gdLst>
                <a:gd name="connsiteX0" fmla="*/ 114492 w 114491"/>
                <a:gd name="connsiteY0" fmla="*/ 129600 h 271542"/>
                <a:gd name="connsiteX1" fmla="*/ 65120 w 114491"/>
                <a:gd name="connsiteY1" fmla="*/ 271542 h 271542"/>
                <a:gd name="connsiteX2" fmla="*/ 6492 w 114491"/>
                <a:gd name="connsiteY2" fmla="*/ 169714 h 271542"/>
                <a:gd name="connsiteX3" fmla="*/ 65120 w 114491"/>
                <a:gd name="connsiteY3" fmla="*/ 0 h 271542"/>
                <a:gd name="connsiteX4" fmla="*/ 114492 w 114491"/>
                <a:gd name="connsiteY4" fmla="*/ 129600 h 27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491" h="271542">
                  <a:moveTo>
                    <a:pt x="114492" y="129600"/>
                  </a:moveTo>
                  <a:cubicBezTo>
                    <a:pt x="114492" y="129600"/>
                    <a:pt x="58949" y="240685"/>
                    <a:pt x="65120" y="271542"/>
                  </a:cubicBezTo>
                  <a:cubicBezTo>
                    <a:pt x="65120" y="271542"/>
                    <a:pt x="21920" y="225257"/>
                    <a:pt x="6492" y="169714"/>
                  </a:cubicBezTo>
                  <a:cubicBezTo>
                    <a:pt x="-8937" y="111085"/>
                    <a:pt x="320" y="15429"/>
                    <a:pt x="65120" y="0"/>
                  </a:cubicBezTo>
                  <a:cubicBezTo>
                    <a:pt x="65120" y="3085"/>
                    <a:pt x="74377" y="111085"/>
                    <a:pt x="114492" y="129600"/>
                  </a:cubicBezTo>
                  <a:close/>
                </a:path>
              </a:pathLst>
            </a:custGeom>
            <a:solidFill>
              <a:srgbClr val="F1DDBA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4E2FED90-0915-4AB3-9250-6AED439AB297}"/>
                </a:ext>
              </a:extLst>
            </p:cNvPr>
            <p:cNvSpPr/>
            <p:nvPr/>
          </p:nvSpPr>
          <p:spPr>
            <a:xfrm>
              <a:off x="3829711" y="7588491"/>
              <a:ext cx="442682" cy="354319"/>
            </a:xfrm>
            <a:custGeom>
              <a:avLst/>
              <a:gdLst>
                <a:gd name="connsiteX0" fmla="*/ 59439 w 442682"/>
                <a:gd name="connsiteY0" fmla="*/ 246320 h 354319"/>
                <a:gd name="connsiteX1" fmla="*/ 182868 w 442682"/>
                <a:gd name="connsiteY1" fmla="*/ 206205 h 354319"/>
                <a:gd name="connsiteX2" fmla="*/ 426639 w 442682"/>
                <a:gd name="connsiteY2" fmla="*/ 354320 h 354319"/>
                <a:gd name="connsiteX3" fmla="*/ 429725 w 442682"/>
                <a:gd name="connsiteY3" fmla="*/ 184605 h 354319"/>
                <a:gd name="connsiteX4" fmla="*/ 337154 w 442682"/>
                <a:gd name="connsiteY4" fmla="*/ 33405 h 354319"/>
                <a:gd name="connsiteX5" fmla="*/ 133497 w 442682"/>
                <a:gd name="connsiteY5" fmla="*/ 17976 h 354319"/>
                <a:gd name="connsiteX6" fmla="*/ 10068 w 442682"/>
                <a:gd name="connsiteY6" fmla="*/ 113634 h 354319"/>
                <a:gd name="connsiteX7" fmla="*/ 59439 w 442682"/>
                <a:gd name="connsiteY7" fmla="*/ 246320 h 35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2682" h="354319">
                  <a:moveTo>
                    <a:pt x="59439" y="246320"/>
                  </a:moveTo>
                  <a:cubicBezTo>
                    <a:pt x="59439" y="246320"/>
                    <a:pt x="155097" y="206205"/>
                    <a:pt x="182868" y="206205"/>
                  </a:cubicBezTo>
                  <a:cubicBezTo>
                    <a:pt x="284697" y="209291"/>
                    <a:pt x="442068" y="280262"/>
                    <a:pt x="426639" y="354320"/>
                  </a:cubicBezTo>
                  <a:cubicBezTo>
                    <a:pt x="426639" y="354320"/>
                    <a:pt x="460582" y="249405"/>
                    <a:pt x="429725" y="184605"/>
                  </a:cubicBezTo>
                  <a:cubicBezTo>
                    <a:pt x="429725" y="184605"/>
                    <a:pt x="429725" y="58091"/>
                    <a:pt x="337154" y="33405"/>
                  </a:cubicBezTo>
                  <a:cubicBezTo>
                    <a:pt x="244582" y="8720"/>
                    <a:pt x="204468" y="-19052"/>
                    <a:pt x="133497" y="17976"/>
                  </a:cubicBezTo>
                  <a:cubicBezTo>
                    <a:pt x="62525" y="58091"/>
                    <a:pt x="16239" y="76605"/>
                    <a:pt x="10068" y="113634"/>
                  </a:cubicBezTo>
                  <a:cubicBezTo>
                    <a:pt x="10068" y="119805"/>
                    <a:pt x="-33132" y="233976"/>
                    <a:pt x="59439" y="246320"/>
                  </a:cubicBezTo>
                  <a:close/>
                </a:path>
              </a:pathLst>
            </a:custGeom>
            <a:solidFill>
              <a:srgbClr val="F1DDBA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E7321D6A-378B-4D7F-A298-E0C93C00F0F6}"/>
                </a:ext>
              </a:extLst>
            </p:cNvPr>
            <p:cNvSpPr/>
            <p:nvPr/>
          </p:nvSpPr>
          <p:spPr>
            <a:xfrm>
              <a:off x="3777002" y="7945703"/>
              <a:ext cx="78206" cy="111840"/>
            </a:xfrm>
            <a:custGeom>
              <a:avLst/>
              <a:gdLst>
                <a:gd name="connsiteX0" fmla="*/ 65863 w 78206"/>
                <a:gd name="connsiteY0" fmla="*/ 15621 h 111840"/>
                <a:gd name="connsiteX1" fmla="*/ 7235 w 78206"/>
                <a:gd name="connsiteY1" fmla="*/ 6364 h 111840"/>
                <a:gd name="connsiteX2" fmla="*/ 65863 w 78206"/>
                <a:gd name="connsiteY2" fmla="*/ 108193 h 111840"/>
                <a:gd name="connsiteX3" fmla="*/ 65863 w 78206"/>
                <a:gd name="connsiteY3" fmla="*/ 15621 h 111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06" h="111840">
                  <a:moveTo>
                    <a:pt x="65863" y="15621"/>
                  </a:moveTo>
                  <a:cubicBezTo>
                    <a:pt x="65863" y="15621"/>
                    <a:pt x="31921" y="-12150"/>
                    <a:pt x="7235" y="6364"/>
                  </a:cubicBezTo>
                  <a:cubicBezTo>
                    <a:pt x="-17451" y="24878"/>
                    <a:pt x="25749" y="132878"/>
                    <a:pt x="65863" y="108193"/>
                  </a:cubicBezTo>
                  <a:cubicBezTo>
                    <a:pt x="93635" y="89679"/>
                    <a:pt x="65863" y="15621"/>
                    <a:pt x="65863" y="15621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8717A9BE-9DA9-4BED-8EE0-CCEFB1A69CE4}"/>
                </a:ext>
              </a:extLst>
            </p:cNvPr>
            <p:cNvSpPr/>
            <p:nvPr/>
          </p:nvSpPr>
          <p:spPr>
            <a:xfrm>
              <a:off x="3824933" y="7722446"/>
              <a:ext cx="67303" cy="245049"/>
            </a:xfrm>
            <a:custGeom>
              <a:avLst/>
              <a:gdLst>
                <a:gd name="connsiteX0" fmla="*/ 17932 w 67303"/>
                <a:gd name="connsiteY0" fmla="*/ 245050 h 245049"/>
                <a:gd name="connsiteX1" fmla="*/ 17932 w 67303"/>
                <a:gd name="connsiteY1" fmla="*/ 245050 h 245049"/>
                <a:gd name="connsiteX2" fmla="*/ 11761 w 67303"/>
                <a:gd name="connsiteY2" fmla="*/ 238878 h 245049"/>
                <a:gd name="connsiteX3" fmla="*/ 58047 w 67303"/>
                <a:gd name="connsiteY3" fmla="*/ 115449 h 245049"/>
                <a:gd name="connsiteX4" fmla="*/ 8675 w 67303"/>
                <a:gd name="connsiteY4" fmla="*/ 72250 h 245049"/>
                <a:gd name="connsiteX5" fmla="*/ 5589 w 67303"/>
                <a:gd name="connsiteY5" fmla="*/ 4364 h 245049"/>
                <a:gd name="connsiteX6" fmla="*/ 11761 w 67303"/>
                <a:gd name="connsiteY6" fmla="*/ 1278 h 245049"/>
                <a:gd name="connsiteX7" fmla="*/ 14847 w 67303"/>
                <a:gd name="connsiteY7" fmla="*/ 7449 h 245049"/>
                <a:gd name="connsiteX8" fmla="*/ 14847 w 67303"/>
                <a:gd name="connsiteY8" fmla="*/ 66078 h 245049"/>
                <a:gd name="connsiteX9" fmla="*/ 64218 w 67303"/>
                <a:gd name="connsiteY9" fmla="*/ 106193 h 245049"/>
                <a:gd name="connsiteX10" fmla="*/ 67304 w 67303"/>
                <a:gd name="connsiteY10" fmla="*/ 109278 h 245049"/>
                <a:gd name="connsiteX11" fmla="*/ 67304 w 67303"/>
                <a:gd name="connsiteY11" fmla="*/ 115449 h 245049"/>
                <a:gd name="connsiteX12" fmla="*/ 21018 w 67303"/>
                <a:gd name="connsiteY12" fmla="*/ 238878 h 245049"/>
                <a:gd name="connsiteX13" fmla="*/ 17932 w 67303"/>
                <a:gd name="connsiteY13" fmla="*/ 245050 h 24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7303" h="245049">
                  <a:moveTo>
                    <a:pt x="17932" y="245050"/>
                  </a:moveTo>
                  <a:cubicBezTo>
                    <a:pt x="17932" y="245050"/>
                    <a:pt x="17932" y="245050"/>
                    <a:pt x="17932" y="245050"/>
                  </a:cubicBezTo>
                  <a:cubicBezTo>
                    <a:pt x="14847" y="245050"/>
                    <a:pt x="11761" y="241964"/>
                    <a:pt x="11761" y="238878"/>
                  </a:cubicBezTo>
                  <a:cubicBezTo>
                    <a:pt x="14847" y="186421"/>
                    <a:pt x="45704" y="133964"/>
                    <a:pt x="58047" y="115449"/>
                  </a:cubicBezTo>
                  <a:cubicBezTo>
                    <a:pt x="45704" y="109278"/>
                    <a:pt x="21018" y="96935"/>
                    <a:pt x="8675" y="72250"/>
                  </a:cubicBezTo>
                  <a:cubicBezTo>
                    <a:pt x="-582" y="53735"/>
                    <a:pt x="-3668" y="29050"/>
                    <a:pt x="5589" y="4364"/>
                  </a:cubicBezTo>
                  <a:cubicBezTo>
                    <a:pt x="5589" y="1278"/>
                    <a:pt x="8675" y="-1807"/>
                    <a:pt x="11761" y="1278"/>
                  </a:cubicBezTo>
                  <a:cubicBezTo>
                    <a:pt x="14847" y="1278"/>
                    <a:pt x="17932" y="4364"/>
                    <a:pt x="14847" y="7449"/>
                  </a:cubicBezTo>
                  <a:cubicBezTo>
                    <a:pt x="8675" y="29050"/>
                    <a:pt x="8675" y="47564"/>
                    <a:pt x="14847" y="66078"/>
                  </a:cubicBezTo>
                  <a:cubicBezTo>
                    <a:pt x="30275" y="93849"/>
                    <a:pt x="64218" y="106193"/>
                    <a:pt x="64218" y="106193"/>
                  </a:cubicBezTo>
                  <a:cubicBezTo>
                    <a:pt x="67304" y="106193"/>
                    <a:pt x="67304" y="109278"/>
                    <a:pt x="67304" y="109278"/>
                  </a:cubicBezTo>
                  <a:cubicBezTo>
                    <a:pt x="67304" y="112364"/>
                    <a:pt x="67304" y="112364"/>
                    <a:pt x="67304" y="115449"/>
                  </a:cubicBezTo>
                  <a:cubicBezTo>
                    <a:pt x="67304" y="115449"/>
                    <a:pt x="24104" y="177164"/>
                    <a:pt x="21018" y="238878"/>
                  </a:cubicBezTo>
                  <a:cubicBezTo>
                    <a:pt x="21018" y="241964"/>
                    <a:pt x="21018" y="245050"/>
                    <a:pt x="17932" y="245050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62443B06-67E6-4EDB-BAC6-BCBA77F8882E}"/>
                </a:ext>
              </a:extLst>
            </p:cNvPr>
            <p:cNvSpPr/>
            <p:nvPr/>
          </p:nvSpPr>
          <p:spPr>
            <a:xfrm>
              <a:off x="3596008" y="12028296"/>
              <a:ext cx="203657" cy="256113"/>
            </a:xfrm>
            <a:custGeom>
              <a:avLst/>
              <a:gdLst>
                <a:gd name="connsiteX0" fmla="*/ 0 w 203657"/>
                <a:gd name="connsiteY0" fmla="*/ 219085 h 256113"/>
                <a:gd name="connsiteX1" fmla="*/ 0 w 203657"/>
                <a:gd name="connsiteY1" fmla="*/ 0 h 256113"/>
                <a:gd name="connsiteX2" fmla="*/ 203657 w 203657"/>
                <a:gd name="connsiteY2" fmla="*/ 0 h 256113"/>
                <a:gd name="connsiteX3" fmla="*/ 163543 w 203657"/>
                <a:gd name="connsiteY3" fmla="*/ 228343 h 256113"/>
                <a:gd name="connsiteX4" fmla="*/ 12343 w 203657"/>
                <a:gd name="connsiteY4" fmla="*/ 256114 h 256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657" h="256113">
                  <a:moveTo>
                    <a:pt x="0" y="219085"/>
                  </a:moveTo>
                  <a:lnTo>
                    <a:pt x="0" y="0"/>
                  </a:lnTo>
                  <a:lnTo>
                    <a:pt x="203657" y="0"/>
                  </a:lnTo>
                  <a:lnTo>
                    <a:pt x="163543" y="228343"/>
                  </a:lnTo>
                  <a:lnTo>
                    <a:pt x="12343" y="256114"/>
                  </a:ln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6360023-3449-40AE-931F-BE5BBCD286CD}"/>
                </a:ext>
              </a:extLst>
            </p:cNvPr>
            <p:cNvSpPr/>
            <p:nvPr/>
          </p:nvSpPr>
          <p:spPr>
            <a:xfrm>
              <a:off x="3492347" y="9846696"/>
              <a:ext cx="1163164" cy="2283428"/>
            </a:xfrm>
            <a:custGeom>
              <a:avLst/>
              <a:gdLst>
                <a:gd name="connsiteX0" fmla="*/ 1057146 w 1163164"/>
                <a:gd name="connsiteY0" fmla="*/ 18514 h 2283428"/>
                <a:gd name="connsiteX1" fmla="*/ 1155889 w 1163164"/>
                <a:gd name="connsiteY1" fmla="*/ 1407086 h 2283428"/>
                <a:gd name="connsiteX2" fmla="*/ 872004 w 1163164"/>
                <a:gd name="connsiteY2" fmla="*/ 2283429 h 2283428"/>
                <a:gd name="connsiteX3" fmla="*/ 581946 w 1163164"/>
                <a:gd name="connsiteY3" fmla="*/ 2283429 h 2283428"/>
                <a:gd name="connsiteX4" fmla="*/ 736232 w 1163164"/>
                <a:gd name="connsiteY4" fmla="*/ 1271315 h 2283428"/>
                <a:gd name="connsiteX5" fmla="*/ 554175 w 1163164"/>
                <a:gd name="connsiteY5" fmla="*/ 506057 h 2283428"/>
                <a:gd name="connsiteX6" fmla="*/ 523318 w 1163164"/>
                <a:gd name="connsiteY6" fmla="*/ 1255886 h 2283428"/>
                <a:gd name="connsiteX7" fmla="*/ 356689 w 1163164"/>
                <a:gd name="connsiteY7" fmla="*/ 2277257 h 2283428"/>
                <a:gd name="connsiteX8" fmla="*/ 45032 w 1163164"/>
                <a:gd name="connsiteY8" fmla="*/ 2261828 h 2283428"/>
                <a:gd name="connsiteX9" fmla="*/ 26518 w 1163164"/>
                <a:gd name="connsiteY9" fmla="*/ 1175657 h 2283428"/>
                <a:gd name="connsiteX10" fmla="*/ 23432 w 1163164"/>
                <a:gd name="connsiteY10" fmla="*/ 0 h 2283428"/>
                <a:gd name="connsiteX11" fmla="*/ 1057146 w 1163164"/>
                <a:gd name="connsiteY11" fmla="*/ 18514 h 2283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3164" h="2283428">
                  <a:moveTo>
                    <a:pt x="1057146" y="18514"/>
                  </a:moveTo>
                  <a:cubicBezTo>
                    <a:pt x="1057146" y="18514"/>
                    <a:pt x="1196004" y="1302172"/>
                    <a:pt x="1155889" y="1407086"/>
                  </a:cubicBezTo>
                  <a:cubicBezTo>
                    <a:pt x="1118861" y="1515086"/>
                    <a:pt x="872004" y="2283429"/>
                    <a:pt x="872004" y="2283429"/>
                  </a:cubicBezTo>
                  <a:lnTo>
                    <a:pt x="581946" y="2283429"/>
                  </a:lnTo>
                  <a:cubicBezTo>
                    <a:pt x="581946" y="2283429"/>
                    <a:pt x="730061" y="1370057"/>
                    <a:pt x="736232" y="1271315"/>
                  </a:cubicBezTo>
                  <a:cubicBezTo>
                    <a:pt x="742404" y="1172571"/>
                    <a:pt x="569604" y="536914"/>
                    <a:pt x="554175" y="506057"/>
                  </a:cubicBezTo>
                  <a:cubicBezTo>
                    <a:pt x="538746" y="475200"/>
                    <a:pt x="523318" y="1255886"/>
                    <a:pt x="523318" y="1255886"/>
                  </a:cubicBezTo>
                  <a:lnTo>
                    <a:pt x="356689" y="2277257"/>
                  </a:lnTo>
                  <a:lnTo>
                    <a:pt x="45032" y="2261828"/>
                  </a:lnTo>
                  <a:cubicBezTo>
                    <a:pt x="45032" y="2261828"/>
                    <a:pt x="41946" y="1274400"/>
                    <a:pt x="26518" y="1175657"/>
                  </a:cubicBezTo>
                  <a:cubicBezTo>
                    <a:pt x="11089" y="1076914"/>
                    <a:pt x="-22854" y="98743"/>
                    <a:pt x="23432" y="0"/>
                  </a:cubicBezTo>
                  <a:cubicBezTo>
                    <a:pt x="730061" y="30857"/>
                    <a:pt x="1057146" y="18514"/>
                    <a:pt x="1057146" y="18514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90AAEBFB-6A77-4415-A04D-9270AB9BFF57}"/>
                </a:ext>
              </a:extLst>
            </p:cNvPr>
            <p:cNvSpPr/>
            <p:nvPr/>
          </p:nvSpPr>
          <p:spPr>
            <a:xfrm>
              <a:off x="4006408" y="7764368"/>
              <a:ext cx="196714" cy="39585"/>
            </a:xfrm>
            <a:custGeom>
              <a:avLst/>
              <a:gdLst>
                <a:gd name="connsiteX0" fmla="*/ 6171 w 196714"/>
                <a:gd name="connsiteY0" fmla="*/ 39585 h 39585"/>
                <a:gd name="connsiteX1" fmla="*/ 0 w 196714"/>
                <a:gd name="connsiteY1" fmla="*/ 36499 h 39585"/>
                <a:gd name="connsiteX2" fmla="*/ 3086 w 196714"/>
                <a:gd name="connsiteY2" fmla="*/ 27242 h 39585"/>
                <a:gd name="connsiteX3" fmla="*/ 194400 w 196714"/>
                <a:gd name="connsiteY3" fmla="*/ 21071 h 39585"/>
                <a:gd name="connsiteX4" fmla="*/ 194400 w 196714"/>
                <a:gd name="connsiteY4" fmla="*/ 30328 h 39585"/>
                <a:gd name="connsiteX5" fmla="*/ 185143 w 196714"/>
                <a:gd name="connsiteY5" fmla="*/ 30328 h 39585"/>
                <a:gd name="connsiteX6" fmla="*/ 6171 w 196714"/>
                <a:gd name="connsiteY6" fmla="*/ 39585 h 39585"/>
                <a:gd name="connsiteX7" fmla="*/ 6171 w 196714"/>
                <a:gd name="connsiteY7" fmla="*/ 39585 h 39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714" h="39585">
                  <a:moveTo>
                    <a:pt x="6171" y="39585"/>
                  </a:moveTo>
                  <a:cubicBezTo>
                    <a:pt x="3086" y="39585"/>
                    <a:pt x="3086" y="39585"/>
                    <a:pt x="0" y="36499"/>
                  </a:cubicBezTo>
                  <a:cubicBezTo>
                    <a:pt x="0" y="33414"/>
                    <a:pt x="0" y="30328"/>
                    <a:pt x="3086" y="27242"/>
                  </a:cubicBezTo>
                  <a:cubicBezTo>
                    <a:pt x="9257" y="24156"/>
                    <a:pt x="123429" y="-28301"/>
                    <a:pt x="194400" y="21071"/>
                  </a:cubicBezTo>
                  <a:cubicBezTo>
                    <a:pt x="197486" y="24156"/>
                    <a:pt x="197486" y="27242"/>
                    <a:pt x="194400" y="30328"/>
                  </a:cubicBezTo>
                  <a:cubicBezTo>
                    <a:pt x="191314" y="33414"/>
                    <a:pt x="188229" y="33414"/>
                    <a:pt x="185143" y="30328"/>
                  </a:cubicBezTo>
                  <a:cubicBezTo>
                    <a:pt x="123429" y="-12872"/>
                    <a:pt x="9257" y="36499"/>
                    <a:pt x="6171" y="39585"/>
                  </a:cubicBezTo>
                  <a:cubicBezTo>
                    <a:pt x="9257" y="39585"/>
                    <a:pt x="6171" y="39585"/>
                    <a:pt x="6171" y="39585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6B475BB6-8B2E-4311-90EB-F76998CC8F84}"/>
                </a:ext>
              </a:extLst>
            </p:cNvPr>
            <p:cNvSpPr/>
            <p:nvPr/>
          </p:nvSpPr>
          <p:spPr>
            <a:xfrm>
              <a:off x="3488008" y="8319267"/>
              <a:ext cx="1083913" cy="1585870"/>
            </a:xfrm>
            <a:custGeom>
              <a:avLst/>
              <a:gdLst>
                <a:gd name="connsiteX0" fmla="*/ 401143 w 1083913"/>
                <a:gd name="connsiteY0" fmla="*/ 0 h 1585870"/>
                <a:gd name="connsiteX1" fmla="*/ 694286 w 1083913"/>
                <a:gd name="connsiteY1" fmla="*/ 0 h 1585870"/>
                <a:gd name="connsiteX2" fmla="*/ 996686 w 1083913"/>
                <a:gd name="connsiteY2" fmla="*/ 132686 h 1585870"/>
                <a:gd name="connsiteX3" fmla="*/ 1083086 w 1083913"/>
                <a:gd name="connsiteY3" fmla="*/ 1555200 h 1585870"/>
                <a:gd name="connsiteX4" fmla="*/ 0 w 1083913"/>
                <a:gd name="connsiteY4" fmla="*/ 1530515 h 1585870"/>
                <a:gd name="connsiteX5" fmla="*/ 117257 w 1083913"/>
                <a:gd name="connsiteY5" fmla="*/ 104914 h 1585870"/>
                <a:gd name="connsiteX6" fmla="*/ 401143 w 1083913"/>
                <a:gd name="connsiteY6" fmla="*/ 0 h 15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3913" h="1585870">
                  <a:moveTo>
                    <a:pt x="401143" y="0"/>
                  </a:moveTo>
                  <a:cubicBezTo>
                    <a:pt x="401143" y="0"/>
                    <a:pt x="577029" y="55543"/>
                    <a:pt x="694286" y="0"/>
                  </a:cubicBezTo>
                  <a:cubicBezTo>
                    <a:pt x="694286" y="0"/>
                    <a:pt x="972000" y="98743"/>
                    <a:pt x="996686" y="132686"/>
                  </a:cubicBezTo>
                  <a:cubicBezTo>
                    <a:pt x="1021372" y="163543"/>
                    <a:pt x="1092343" y="1487315"/>
                    <a:pt x="1083086" y="1555200"/>
                  </a:cubicBezTo>
                  <a:cubicBezTo>
                    <a:pt x="1083086" y="1555200"/>
                    <a:pt x="586286" y="1638515"/>
                    <a:pt x="0" y="1530515"/>
                  </a:cubicBezTo>
                  <a:cubicBezTo>
                    <a:pt x="0" y="1169486"/>
                    <a:pt x="74057" y="135771"/>
                    <a:pt x="117257" y="104914"/>
                  </a:cubicBezTo>
                  <a:cubicBezTo>
                    <a:pt x="160457" y="70972"/>
                    <a:pt x="401143" y="0"/>
                    <a:pt x="401143" y="0"/>
                  </a:cubicBezTo>
                  <a:close/>
                </a:path>
              </a:pathLst>
            </a:custGeom>
            <a:solidFill>
              <a:srgbClr val="F1DDBA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A2A59880-43A0-451D-A3E0-C5780C8BEACE}"/>
                </a:ext>
              </a:extLst>
            </p:cNvPr>
            <p:cNvSpPr/>
            <p:nvPr/>
          </p:nvSpPr>
          <p:spPr>
            <a:xfrm>
              <a:off x="3889151" y="8319267"/>
              <a:ext cx="182057" cy="120342"/>
            </a:xfrm>
            <a:custGeom>
              <a:avLst/>
              <a:gdLst>
                <a:gd name="connsiteX0" fmla="*/ 182057 w 182057"/>
                <a:gd name="connsiteY0" fmla="*/ 21600 h 120342"/>
                <a:gd name="connsiteX1" fmla="*/ 154286 w 182057"/>
                <a:gd name="connsiteY1" fmla="*/ 120343 h 120342"/>
                <a:gd name="connsiteX2" fmla="*/ 0 w 182057"/>
                <a:gd name="connsiteY2" fmla="*/ 0 h 120342"/>
                <a:gd name="connsiteX3" fmla="*/ 182057 w 182057"/>
                <a:gd name="connsiteY3" fmla="*/ 21600 h 12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057" h="120342">
                  <a:moveTo>
                    <a:pt x="182057" y="21600"/>
                  </a:moveTo>
                  <a:lnTo>
                    <a:pt x="154286" y="120343"/>
                  </a:lnTo>
                  <a:lnTo>
                    <a:pt x="0" y="0"/>
                  </a:lnTo>
                  <a:cubicBezTo>
                    <a:pt x="0" y="0"/>
                    <a:pt x="138857" y="21600"/>
                    <a:pt x="182057" y="21600"/>
                  </a:cubicBezTo>
                  <a:close/>
                </a:path>
              </a:pathLst>
            </a:custGeom>
            <a:solidFill>
              <a:srgbClr val="FFFFFF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904253A3-7945-4ABA-B7B8-7F03D60F29B7}"/>
                </a:ext>
              </a:extLst>
            </p:cNvPr>
            <p:cNvSpPr/>
            <p:nvPr/>
          </p:nvSpPr>
          <p:spPr>
            <a:xfrm>
              <a:off x="4071208" y="8319267"/>
              <a:ext cx="111085" cy="117257"/>
            </a:xfrm>
            <a:custGeom>
              <a:avLst/>
              <a:gdLst>
                <a:gd name="connsiteX0" fmla="*/ 0 w 111085"/>
                <a:gd name="connsiteY0" fmla="*/ 21600 h 117257"/>
                <a:gd name="connsiteX1" fmla="*/ 37029 w 111085"/>
                <a:gd name="connsiteY1" fmla="*/ 117257 h 117257"/>
                <a:gd name="connsiteX2" fmla="*/ 111086 w 111085"/>
                <a:gd name="connsiteY2" fmla="*/ 0 h 117257"/>
                <a:gd name="connsiteX3" fmla="*/ 0 w 111085"/>
                <a:gd name="connsiteY3" fmla="*/ 21600 h 117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085" h="117257">
                  <a:moveTo>
                    <a:pt x="0" y="21600"/>
                  </a:moveTo>
                  <a:lnTo>
                    <a:pt x="37029" y="117257"/>
                  </a:lnTo>
                  <a:lnTo>
                    <a:pt x="111086" y="0"/>
                  </a:lnTo>
                  <a:cubicBezTo>
                    <a:pt x="111086" y="0"/>
                    <a:pt x="40114" y="21600"/>
                    <a:pt x="0" y="21600"/>
                  </a:cubicBezTo>
                  <a:close/>
                </a:path>
              </a:pathLst>
            </a:custGeom>
            <a:solidFill>
              <a:srgbClr val="FFFFFF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986E31C8-CD6D-4800-B94D-2D3F7CDAC789}"/>
                </a:ext>
              </a:extLst>
            </p:cNvPr>
            <p:cNvSpPr/>
            <p:nvPr/>
          </p:nvSpPr>
          <p:spPr>
            <a:xfrm>
              <a:off x="4478522" y="8445782"/>
              <a:ext cx="53735" cy="558514"/>
            </a:xfrm>
            <a:custGeom>
              <a:avLst/>
              <a:gdLst>
                <a:gd name="connsiteX0" fmla="*/ 49372 w 53735"/>
                <a:gd name="connsiteY0" fmla="*/ 558514 h 558514"/>
                <a:gd name="connsiteX1" fmla="*/ 43200 w 53735"/>
                <a:gd name="connsiteY1" fmla="*/ 552343 h 558514"/>
                <a:gd name="connsiteX2" fmla="*/ 0 w 53735"/>
                <a:gd name="connsiteY2" fmla="*/ 6171 h 558514"/>
                <a:gd name="connsiteX3" fmla="*/ 3086 w 53735"/>
                <a:gd name="connsiteY3" fmla="*/ 0 h 558514"/>
                <a:gd name="connsiteX4" fmla="*/ 9257 w 53735"/>
                <a:gd name="connsiteY4" fmla="*/ 3085 h 558514"/>
                <a:gd name="connsiteX5" fmla="*/ 52457 w 53735"/>
                <a:gd name="connsiteY5" fmla="*/ 552343 h 558514"/>
                <a:gd name="connsiteX6" fmla="*/ 49372 w 53735"/>
                <a:gd name="connsiteY6" fmla="*/ 558514 h 558514"/>
                <a:gd name="connsiteX7" fmla="*/ 49372 w 53735"/>
                <a:gd name="connsiteY7" fmla="*/ 558514 h 55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735" h="558514">
                  <a:moveTo>
                    <a:pt x="49372" y="558514"/>
                  </a:moveTo>
                  <a:cubicBezTo>
                    <a:pt x="46286" y="558514"/>
                    <a:pt x="43200" y="555429"/>
                    <a:pt x="43200" y="552343"/>
                  </a:cubicBezTo>
                  <a:cubicBezTo>
                    <a:pt x="43200" y="546171"/>
                    <a:pt x="6171" y="46286"/>
                    <a:pt x="0" y="6171"/>
                  </a:cubicBezTo>
                  <a:cubicBezTo>
                    <a:pt x="0" y="3085"/>
                    <a:pt x="0" y="0"/>
                    <a:pt x="3086" y="0"/>
                  </a:cubicBezTo>
                  <a:cubicBezTo>
                    <a:pt x="6171" y="0"/>
                    <a:pt x="9257" y="0"/>
                    <a:pt x="9257" y="3085"/>
                  </a:cubicBezTo>
                  <a:cubicBezTo>
                    <a:pt x="18514" y="43200"/>
                    <a:pt x="52457" y="530743"/>
                    <a:pt x="52457" y="552343"/>
                  </a:cubicBezTo>
                  <a:cubicBezTo>
                    <a:pt x="55543" y="555429"/>
                    <a:pt x="52457" y="558514"/>
                    <a:pt x="49372" y="558514"/>
                  </a:cubicBezTo>
                  <a:cubicBezTo>
                    <a:pt x="49372" y="558514"/>
                    <a:pt x="49372" y="558514"/>
                    <a:pt x="49372" y="558514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504D2DA-656C-427D-8CF0-AE719B20119A}"/>
                </a:ext>
              </a:extLst>
            </p:cNvPr>
            <p:cNvSpPr/>
            <p:nvPr/>
          </p:nvSpPr>
          <p:spPr>
            <a:xfrm>
              <a:off x="4040351" y="9988639"/>
              <a:ext cx="70971" cy="370285"/>
            </a:xfrm>
            <a:custGeom>
              <a:avLst/>
              <a:gdLst>
                <a:gd name="connsiteX0" fmla="*/ 6171 w 70971"/>
                <a:gd name="connsiteY0" fmla="*/ 370286 h 370285"/>
                <a:gd name="connsiteX1" fmla="*/ 6171 w 70971"/>
                <a:gd name="connsiteY1" fmla="*/ 370286 h 370285"/>
                <a:gd name="connsiteX2" fmla="*/ 0 w 70971"/>
                <a:gd name="connsiteY2" fmla="*/ 361028 h 370285"/>
                <a:gd name="connsiteX3" fmla="*/ 58629 w 70971"/>
                <a:gd name="connsiteY3" fmla="*/ 6171 h 370285"/>
                <a:gd name="connsiteX4" fmla="*/ 64800 w 70971"/>
                <a:gd name="connsiteY4" fmla="*/ 0 h 370285"/>
                <a:gd name="connsiteX5" fmla="*/ 70972 w 70971"/>
                <a:gd name="connsiteY5" fmla="*/ 6171 h 370285"/>
                <a:gd name="connsiteX6" fmla="*/ 12343 w 70971"/>
                <a:gd name="connsiteY6" fmla="*/ 364114 h 370285"/>
                <a:gd name="connsiteX7" fmla="*/ 6171 w 70971"/>
                <a:gd name="connsiteY7" fmla="*/ 370286 h 37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71" h="370285">
                  <a:moveTo>
                    <a:pt x="6171" y="370286"/>
                  </a:moveTo>
                  <a:cubicBezTo>
                    <a:pt x="6171" y="370286"/>
                    <a:pt x="6171" y="370286"/>
                    <a:pt x="6171" y="370286"/>
                  </a:cubicBezTo>
                  <a:cubicBezTo>
                    <a:pt x="0" y="367200"/>
                    <a:pt x="0" y="364114"/>
                    <a:pt x="0" y="361028"/>
                  </a:cubicBezTo>
                  <a:cubicBezTo>
                    <a:pt x="49372" y="246857"/>
                    <a:pt x="58629" y="9257"/>
                    <a:pt x="58629" y="6171"/>
                  </a:cubicBezTo>
                  <a:cubicBezTo>
                    <a:pt x="58629" y="3086"/>
                    <a:pt x="61714" y="0"/>
                    <a:pt x="64800" y="0"/>
                  </a:cubicBezTo>
                  <a:cubicBezTo>
                    <a:pt x="67886" y="0"/>
                    <a:pt x="70972" y="3086"/>
                    <a:pt x="70972" y="6171"/>
                  </a:cubicBezTo>
                  <a:cubicBezTo>
                    <a:pt x="70972" y="15429"/>
                    <a:pt x="61714" y="246857"/>
                    <a:pt x="12343" y="364114"/>
                  </a:cubicBezTo>
                  <a:cubicBezTo>
                    <a:pt x="12343" y="370286"/>
                    <a:pt x="9257" y="370286"/>
                    <a:pt x="6171" y="370286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FB45D3A1-75C2-4DC4-B484-1358AA133313}"/>
                </a:ext>
              </a:extLst>
            </p:cNvPr>
            <p:cNvSpPr/>
            <p:nvPr/>
          </p:nvSpPr>
          <p:spPr>
            <a:xfrm>
              <a:off x="4069930" y="9920753"/>
              <a:ext cx="158649" cy="361028"/>
            </a:xfrm>
            <a:custGeom>
              <a:avLst/>
              <a:gdLst>
                <a:gd name="connsiteX0" fmla="*/ 7450 w 158649"/>
                <a:gd name="connsiteY0" fmla="*/ 361029 h 361028"/>
                <a:gd name="connsiteX1" fmla="*/ 1278 w 158649"/>
                <a:gd name="connsiteY1" fmla="*/ 357943 h 361028"/>
                <a:gd name="connsiteX2" fmla="*/ 4364 w 158649"/>
                <a:gd name="connsiteY2" fmla="*/ 348686 h 361028"/>
                <a:gd name="connsiteX3" fmla="*/ 112364 w 158649"/>
                <a:gd name="connsiteY3" fmla="*/ 271543 h 361028"/>
                <a:gd name="connsiteX4" fmla="*/ 146307 w 158649"/>
                <a:gd name="connsiteY4" fmla="*/ 6172 h 361028"/>
                <a:gd name="connsiteX5" fmla="*/ 152478 w 158649"/>
                <a:gd name="connsiteY5" fmla="*/ 0 h 361028"/>
                <a:gd name="connsiteX6" fmla="*/ 158650 w 158649"/>
                <a:gd name="connsiteY6" fmla="*/ 6172 h 361028"/>
                <a:gd name="connsiteX7" fmla="*/ 124707 w 158649"/>
                <a:gd name="connsiteY7" fmla="*/ 277714 h 361028"/>
                <a:gd name="connsiteX8" fmla="*/ 13621 w 158649"/>
                <a:gd name="connsiteY8" fmla="*/ 357943 h 361028"/>
                <a:gd name="connsiteX9" fmla="*/ 7450 w 158649"/>
                <a:gd name="connsiteY9" fmla="*/ 361029 h 36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8649" h="361028">
                  <a:moveTo>
                    <a:pt x="7450" y="361029"/>
                  </a:moveTo>
                  <a:cubicBezTo>
                    <a:pt x="4364" y="361029"/>
                    <a:pt x="4364" y="361029"/>
                    <a:pt x="1278" y="357943"/>
                  </a:cubicBezTo>
                  <a:cubicBezTo>
                    <a:pt x="-1808" y="354857"/>
                    <a:pt x="1278" y="351771"/>
                    <a:pt x="4364" y="348686"/>
                  </a:cubicBezTo>
                  <a:cubicBezTo>
                    <a:pt x="44478" y="324000"/>
                    <a:pt x="103107" y="280800"/>
                    <a:pt x="112364" y="271543"/>
                  </a:cubicBezTo>
                  <a:cubicBezTo>
                    <a:pt x="121621" y="259200"/>
                    <a:pt x="137050" y="101829"/>
                    <a:pt x="146307" y="6172"/>
                  </a:cubicBezTo>
                  <a:cubicBezTo>
                    <a:pt x="146307" y="3086"/>
                    <a:pt x="149393" y="0"/>
                    <a:pt x="152478" y="0"/>
                  </a:cubicBezTo>
                  <a:cubicBezTo>
                    <a:pt x="155564" y="0"/>
                    <a:pt x="158650" y="3086"/>
                    <a:pt x="158650" y="6172"/>
                  </a:cubicBezTo>
                  <a:cubicBezTo>
                    <a:pt x="155564" y="49372"/>
                    <a:pt x="133964" y="262286"/>
                    <a:pt x="124707" y="277714"/>
                  </a:cubicBezTo>
                  <a:cubicBezTo>
                    <a:pt x="112364" y="293143"/>
                    <a:pt x="22878" y="351771"/>
                    <a:pt x="13621" y="357943"/>
                  </a:cubicBezTo>
                  <a:cubicBezTo>
                    <a:pt x="10535" y="357943"/>
                    <a:pt x="7450" y="361029"/>
                    <a:pt x="7450" y="361029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BF409013-976F-4156-976E-F598156DD170}"/>
                </a:ext>
              </a:extLst>
            </p:cNvPr>
            <p:cNvSpPr/>
            <p:nvPr/>
          </p:nvSpPr>
          <p:spPr>
            <a:xfrm>
              <a:off x="3513037" y="12225782"/>
              <a:ext cx="289458" cy="339428"/>
            </a:xfrm>
            <a:custGeom>
              <a:avLst/>
              <a:gdLst>
                <a:gd name="connsiteX0" fmla="*/ 2743 w 289458"/>
                <a:gd name="connsiteY0" fmla="*/ 228343 h 339428"/>
                <a:gd name="connsiteX1" fmla="*/ 2743 w 289458"/>
                <a:gd name="connsiteY1" fmla="*/ 283885 h 339428"/>
                <a:gd name="connsiteX2" fmla="*/ 138514 w 289458"/>
                <a:gd name="connsiteY2" fmla="*/ 339429 h 339428"/>
                <a:gd name="connsiteX3" fmla="*/ 283543 w 289458"/>
                <a:gd name="connsiteY3" fmla="*/ 283885 h 339428"/>
                <a:gd name="connsiteX4" fmla="*/ 271200 w 289458"/>
                <a:gd name="connsiteY4" fmla="*/ 40114 h 339428"/>
                <a:gd name="connsiteX5" fmla="*/ 255771 w 289458"/>
                <a:gd name="connsiteY5" fmla="*/ 0 h 339428"/>
                <a:gd name="connsiteX6" fmla="*/ 237257 w 289458"/>
                <a:gd name="connsiteY6" fmla="*/ 228343 h 339428"/>
                <a:gd name="connsiteX7" fmla="*/ 2743 w 289458"/>
                <a:gd name="connsiteY7" fmla="*/ 228343 h 339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9458" h="339428">
                  <a:moveTo>
                    <a:pt x="2743" y="228343"/>
                  </a:moveTo>
                  <a:cubicBezTo>
                    <a:pt x="2743" y="228343"/>
                    <a:pt x="-3429" y="271542"/>
                    <a:pt x="2743" y="283885"/>
                  </a:cubicBezTo>
                  <a:cubicBezTo>
                    <a:pt x="12000" y="302400"/>
                    <a:pt x="73714" y="339429"/>
                    <a:pt x="138514" y="339429"/>
                  </a:cubicBezTo>
                  <a:cubicBezTo>
                    <a:pt x="215657" y="339429"/>
                    <a:pt x="268114" y="302400"/>
                    <a:pt x="283543" y="283885"/>
                  </a:cubicBezTo>
                  <a:cubicBezTo>
                    <a:pt x="302057" y="265372"/>
                    <a:pt x="271200" y="40114"/>
                    <a:pt x="271200" y="40114"/>
                  </a:cubicBezTo>
                  <a:lnTo>
                    <a:pt x="255771" y="0"/>
                  </a:lnTo>
                  <a:lnTo>
                    <a:pt x="237257" y="228343"/>
                  </a:lnTo>
                  <a:lnTo>
                    <a:pt x="2743" y="228343"/>
                  </a:ln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D2DE65EB-5BCF-4A8D-90E3-55981D2BDEC8}"/>
                </a:ext>
              </a:extLst>
            </p:cNvPr>
            <p:cNvSpPr/>
            <p:nvPr/>
          </p:nvSpPr>
          <p:spPr>
            <a:xfrm>
              <a:off x="3514917" y="12210353"/>
              <a:ext cx="274482" cy="314955"/>
            </a:xfrm>
            <a:custGeom>
              <a:avLst/>
              <a:gdLst>
                <a:gd name="connsiteX0" fmla="*/ 78006 w 274482"/>
                <a:gd name="connsiteY0" fmla="*/ 0 h 314955"/>
                <a:gd name="connsiteX1" fmla="*/ 256977 w 274482"/>
                <a:gd name="connsiteY1" fmla="*/ 15429 h 314955"/>
                <a:gd name="connsiteX2" fmla="*/ 272406 w 274482"/>
                <a:gd name="connsiteY2" fmla="*/ 253028 h 314955"/>
                <a:gd name="connsiteX3" fmla="*/ 130463 w 274482"/>
                <a:gd name="connsiteY3" fmla="*/ 314742 h 314955"/>
                <a:gd name="connsiteX4" fmla="*/ 863 w 274482"/>
                <a:gd name="connsiteY4" fmla="*/ 249943 h 314955"/>
                <a:gd name="connsiteX5" fmla="*/ 78006 w 274482"/>
                <a:gd name="connsiteY5" fmla="*/ 0 h 314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4482" h="314955">
                  <a:moveTo>
                    <a:pt x="78006" y="0"/>
                  </a:moveTo>
                  <a:cubicBezTo>
                    <a:pt x="78006" y="0"/>
                    <a:pt x="139720" y="70971"/>
                    <a:pt x="256977" y="15429"/>
                  </a:cubicBezTo>
                  <a:cubicBezTo>
                    <a:pt x="256977" y="15429"/>
                    <a:pt x="281663" y="219086"/>
                    <a:pt x="272406" y="253028"/>
                  </a:cubicBezTo>
                  <a:cubicBezTo>
                    <a:pt x="260063" y="286971"/>
                    <a:pt x="170577" y="317828"/>
                    <a:pt x="130463" y="314742"/>
                  </a:cubicBezTo>
                  <a:cubicBezTo>
                    <a:pt x="90348" y="311657"/>
                    <a:pt x="13206" y="274628"/>
                    <a:pt x="863" y="249943"/>
                  </a:cubicBezTo>
                  <a:cubicBezTo>
                    <a:pt x="-8394" y="228343"/>
                    <a:pt x="59491" y="52457"/>
                    <a:pt x="78006" y="0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932FA374-DCF2-43CF-9399-9398C2C44282}"/>
                </a:ext>
              </a:extLst>
            </p:cNvPr>
            <p:cNvSpPr/>
            <p:nvPr/>
          </p:nvSpPr>
          <p:spPr>
            <a:xfrm>
              <a:off x="3585473" y="12202903"/>
              <a:ext cx="192592" cy="50649"/>
            </a:xfrm>
            <a:custGeom>
              <a:avLst/>
              <a:gdLst>
                <a:gd name="connsiteX0" fmla="*/ 93850 w 192592"/>
                <a:gd name="connsiteY0" fmla="*/ 50650 h 50649"/>
                <a:gd name="connsiteX1" fmla="*/ 1278 w 192592"/>
                <a:gd name="connsiteY1" fmla="*/ 10536 h 50649"/>
                <a:gd name="connsiteX2" fmla="*/ 4364 w 192592"/>
                <a:gd name="connsiteY2" fmla="*/ 1278 h 50649"/>
                <a:gd name="connsiteX3" fmla="*/ 13621 w 192592"/>
                <a:gd name="connsiteY3" fmla="*/ 4364 h 50649"/>
                <a:gd name="connsiteX4" fmla="*/ 186421 w 192592"/>
                <a:gd name="connsiteY4" fmla="*/ 16707 h 50649"/>
                <a:gd name="connsiteX5" fmla="*/ 192592 w 192592"/>
                <a:gd name="connsiteY5" fmla="*/ 19793 h 50649"/>
                <a:gd name="connsiteX6" fmla="*/ 189507 w 192592"/>
                <a:gd name="connsiteY6" fmla="*/ 25965 h 50649"/>
                <a:gd name="connsiteX7" fmla="*/ 93850 w 192592"/>
                <a:gd name="connsiteY7" fmla="*/ 50650 h 50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2592" h="50649">
                  <a:moveTo>
                    <a:pt x="93850" y="50650"/>
                  </a:moveTo>
                  <a:cubicBezTo>
                    <a:pt x="29050" y="50650"/>
                    <a:pt x="4364" y="13621"/>
                    <a:pt x="1278" y="10536"/>
                  </a:cubicBezTo>
                  <a:cubicBezTo>
                    <a:pt x="-1808" y="7450"/>
                    <a:pt x="1278" y="4364"/>
                    <a:pt x="4364" y="1278"/>
                  </a:cubicBezTo>
                  <a:cubicBezTo>
                    <a:pt x="7450" y="-1808"/>
                    <a:pt x="10535" y="1278"/>
                    <a:pt x="13621" y="4364"/>
                  </a:cubicBezTo>
                  <a:cubicBezTo>
                    <a:pt x="16707" y="7450"/>
                    <a:pt x="59907" y="72250"/>
                    <a:pt x="186421" y="16707"/>
                  </a:cubicBezTo>
                  <a:cubicBezTo>
                    <a:pt x="189507" y="16707"/>
                    <a:pt x="192592" y="16707"/>
                    <a:pt x="192592" y="19793"/>
                  </a:cubicBezTo>
                  <a:cubicBezTo>
                    <a:pt x="192592" y="22879"/>
                    <a:pt x="192592" y="25965"/>
                    <a:pt x="189507" y="25965"/>
                  </a:cubicBezTo>
                  <a:cubicBezTo>
                    <a:pt x="149392" y="44478"/>
                    <a:pt x="118535" y="50650"/>
                    <a:pt x="93850" y="50650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73C90F9B-0316-4FBB-875E-2C79017CE4BA}"/>
                </a:ext>
              </a:extLst>
            </p:cNvPr>
            <p:cNvSpPr/>
            <p:nvPr/>
          </p:nvSpPr>
          <p:spPr>
            <a:xfrm>
              <a:off x="3602179" y="12281324"/>
              <a:ext cx="126514" cy="27771"/>
            </a:xfrm>
            <a:custGeom>
              <a:avLst/>
              <a:gdLst>
                <a:gd name="connsiteX0" fmla="*/ 80229 w 126514"/>
                <a:gd name="connsiteY0" fmla="*/ 27771 h 27771"/>
                <a:gd name="connsiteX1" fmla="*/ 3086 w 126514"/>
                <a:gd name="connsiteY1" fmla="*/ 9258 h 27771"/>
                <a:gd name="connsiteX2" fmla="*/ 0 w 126514"/>
                <a:gd name="connsiteY2" fmla="*/ 3086 h 27771"/>
                <a:gd name="connsiteX3" fmla="*/ 9257 w 126514"/>
                <a:gd name="connsiteY3" fmla="*/ 0 h 27771"/>
                <a:gd name="connsiteX4" fmla="*/ 120343 w 126514"/>
                <a:gd name="connsiteY4" fmla="*/ 12343 h 27771"/>
                <a:gd name="connsiteX5" fmla="*/ 126514 w 126514"/>
                <a:gd name="connsiteY5" fmla="*/ 15429 h 27771"/>
                <a:gd name="connsiteX6" fmla="*/ 123429 w 126514"/>
                <a:gd name="connsiteY6" fmla="*/ 21600 h 27771"/>
                <a:gd name="connsiteX7" fmla="*/ 80229 w 126514"/>
                <a:gd name="connsiteY7" fmla="*/ 27771 h 27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514" h="27771">
                  <a:moveTo>
                    <a:pt x="80229" y="27771"/>
                  </a:moveTo>
                  <a:cubicBezTo>
                    <a:pt x="33943" y="27771"/>
                    <a:pt x="3086" y="12343"/>
                    <a:pt x="3086" y="9258"/>
                  </a:cubicBezTo>
                  <a:cubicBezTo>
                    <a:pt x="0" y="9258"/>
                    <a:pt x="0" y="3086"/>
                    <a:pt x="0" y="3086"/>
                  </a:cubicBezTo>
                  <a:cubicBezTo>
                    <a:pt x="0" y="0"/>
                    <a:pt x="6171" y="0"/>
                    <a:pt x="9257" y="0"/>
                  </a:cubicBezTo>
                  <a:cubicBezTo>
                    <a:pt x="9257" y="0"/>
                    <a:pt x="58629" y="24686"/>
                    <a:pt x="120343" y="12343"/>
                  </a:cubicBezTo>
                  <a:cubicBezTo>
                    <a:pt x="123429" y="12343"/>
                    <a:pt x="126514" y="12343"/>
                    <a:pt x="126514" y="15429"/>
                  </a:cubicBezTo>
                  <a:cubicBezTo>
                    <a:pt x="126514" y="18514"/>
                    <a:pt x="126514" y="21600"/>
                    <a:pt x="123429" y="21600"/>
                  </a:cubicBezTo>
                  <a:cubicBezTo>
                    <a:pt x="108000" y="24686"/>
                    <a:pt x="92571" y="27771"/>
                    <a:pt x="80229" y="27771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89B44DAC-1867-46AF-AF49-F36E0B498208}"/>
                </a:ext>
              </a:extLst>
            </p:cNvPr>
            <p:cNvSpPr/>
            <p:nvPr/>
          </p:nvSpPr>
          <p:spPr>
            <a:xfrm>
              <a:off x="3589837" y="12336868"/>
              <a:ext cx="123428" cy="27771"/>
            </a:xfrm>
            <a:custGeom>
              <a:avLst/>
              <a:gdLst>
                <a:gd name="connsiteX0" fmla="*/ 80229 w 123428"/>
                <a:gd name="connsiteY0" fmla="*/ 27771 h 27771"/>
                <a:gd name="connsiteX1" fmla="*/ 3086 w 123428"/>
                <a:gd name="connsiteY1" fmla="*/ 9257 h 27771"/>
                <a:gd name="connsiteX2" fmla="*/ 0 w 123428"/>
                <a:gd name="connsiteY2" fmla="*/ 3085 h 27771"/>
                <a:gd name="connsiteX3" fmla="*/ 6171 w 123428"/>
                <a:gd name="connsiteY3" fmla="*/ 0 h 27771"/>
                <a:gd name="connsiteX4" fmla="*/ 117257 w 123428"/>
                <a:gd name="connsiteY4" fmla="*/ 12343 h 27771"/>
                <a:gd name="connsiteX5" fmla="*/ 123429 w 123428"/>
                <a:gd name="connsiteY5" fmla="*/ 15429 h 27771"/>
                <a:gd name="connsiteX6" fmla="*/ 120343 w 123428"/>
                <a:gd name="connsiteY6" fmla="*/ 21599 h 27771"/>
                <a:gd name="connsiteX7" fmla="*/ 80229 w 123428"/>
                <a:gd name="connsiteY7" fmla="*/ 27771 h 27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428" h="27771">
                  <a:moveTo>
                    <a:pt x="80229" y="27771"/>
                  </a:moveTo>
                  <a:cubicBezTo>
                    <a:pt x="33943" y="27771"/>
                    <a:pt x="3086" y="12343"/>
                    <a:pt x="3086" y="9257"/>
                  </a:cubicBezTo>
                  <a:cubicBezTo>
                    <a:pt x="0" y="9257"/>
                    <a:pt x="0" y="3085"/>
                    <a:pt x="0" y="3085"/>
                  </a:cubicBezTo>
                  <a:cubicBezTo>
                    <a:pt x="0" y="0"/>
                    <a:pt x="6171" y="0"/>
                    <a:pt x="6171" y="0"/>
                  </a:cubicBezTo>
                  <a:cubicBezTo>
                    <a:pt x="6171" y="0"/>
                    <a:pt x="55543" y="24685"/>
                    <a:pt x="117257" y="12343"/>
                  </a:cubicBezTo>
                  <a:cubicBezTo>
                    <a:pt x="120343" y="12343"/>
                    <a:pt x="123429" y="12343"/>
                    <a:pt x="123429" y="15429"/>
                  </a:cubicBezTo>
                  <a:cubicBezTo>
                    <a:pt x="123429" y="18514"/>
                    <a:pt x="123429" y="21599"/>
                    <a:pt x="120343" y="21599"/>
                  </a:cubicBezTo>
                  <a:cubicBezTo>
                    <a:pt x="104914" y="24685"/>
                    <a:pt x="92571" y="27771"/>
                    <a:pt x="80229" y="27771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5" name="图形 1">
              <a:extLst>
                <a:ext uri="{FF2B5EF4-FFF2-40B4-BE49-F238E27FC236}">
                  <a16:creationId xmlns:a16="http://schemas.microsoft.com/office/drawing/2014/main" id="{EA495224-5E24-48EC-89E6-4444C7986E89}"/>
                </a:ext>
              </a:extLst>
            </p:cNvPr>
            <p:cNvGrpSpPr/>
            <p:nvPr/>
          </p:nvGrpSpPr>
          <p:grpSpPr>
            <a:xfrm>
              <a:off x="2586979" y="7381204"/>
              <a:ext cx="391979" cy="261893"/>
              <a:chOff x="2586979" y="7381204"/>
              <a:chExt cx="391979" cy="261893"/>
            </a:xfrm>
          </p:grpSpPr>
          <p:grpSp>
            <p:nvGrpSpPr>
              <p:cNvPr id="191" name="图形 1">
                <a:extLst>
                  <a:ext uri="{FF2B5EF4-FFF2-40B4-BE49-F238E27FC236}">
                    <a16:creationId xmlns:a16="http://schemas.microsoft.com/office/drawing/2014/main" id="{1DE1FB02-DC4D-4070-8C27-B52044B06958}"/>
                  </a:ext>
                </a:extLst>
              </p:cNvPr>
              <p:cNvGrpSpPr/>
              <p:nvPr/>
            </p:nvGrpSpPr>
            <p:grpSpPr>
              <a:xfrm>
                <a:off x="2586979" y="7381204"/>
                <a:ext cx="391979" cy="261893"/>
                <a:chOff x="2586979" y="7381204"/>
                <a:chExt cx="391979" cy="261893"/>
              </a:xfrm>
            </p:grpSpPr>
            <p:sp>
              <p:nvSpPr>
                <p:cNvPr id="194" name="任意多边形: 形状 193">
                  <a:extLst>
                    <a:ext uri="{FF2B5EF4-FFF2-40B4-BE49-F238E27FC236}">
                      <a16:creationId xmlns:a16="http://schemas.microsoft.com/office/drawing/2014/main" id="{61C167DE-47E9-4A40-8AFA-C61D7C2F96AC}"/>
                    </a:ext>
                  </a:extLst>
                </p:cNvPr>
                <p:cNvSpPr/>
                <p:nvPr/>
              </p:nvSpPr>
              <p:spPr>
                <a:xfrm>
                  <a:off x="2586979" y="7381204"/>
                  <a:ext cx="391979" cy="261893"/>
                </a:xfrm>
                <a:custGeom>
                  <a:avLst/>
                  <a:gdLst>
                    <a:gd name="connsiteX0" fmla="*/ 178971 w 391979"/>
                    <a:gd name="connsiteY0" fmla="*/ 231435 h 261893"/>
                    <a:gd name="connsiteX1" fmla="*/ 324000 w 391979"/>
                    <a:gd name="connsiteY1" fmla="*/ 256120 h 261893"/>
                    <a:gd name="connsiteX2" fmla="*/ 391886 w 391979"/>
                    <a:gd name="connsiteY2" fmla="*/ 169720 h 261893"/>
                    <a:gd name="connsiteX3" fmla="*/ 302400 w 391979"/>
                    <a:gd name="connsiteY3" fmla="*/ 6177 h 261893"/>
                    <a:gd name="connsiteX4" fmla="*/ 268457 w 391979"/>
                    <a:gd name="connsiteY4" fmla="*/ 30863 h 261893"/>
                    <a:gd name="connsiteX5" fmla="*/ 290057 w 391979"/>
                    <a:gd name="connsiteY5" fmla="*/ 108006 h 261893"/>
                    <a:gd name="connsiteX6" fmla="*/ 98743 w 391979"/>
                    <a:gd name="connsiteY6" fmla="*/ 40120 h 261893"/>
                    <a:gd name="connsiteX7" fmla="*/ 64800 w 391979"/>
                    <a:gd name="connsiteY7" fmla="*/ 55548 h 261893"/>
                    <a:gd name="connsiteX8" fmla="*/ 108000 w 391979"/>
                    <a:gd name="connsiteY8" fmla="*/ 77149 h 261893"/>
                    <a:gd name="connsiteX9" fmla="*/ 166629 w 391979"/>
                    <a:gd name="connsiteY9" fmla="*/ 104920 h 261893"/>
                    <a:gd name="connsiteX10" fmla="*/ 83314 w 391979"/>
                    <a:gd name="connsiteY10" fmla="*/ 92577 h 261893"/>
                    <a:gd name="connsiteX11" fmla="*/ 21600 w 391979"/>
                    <a:gd name="connsiteY11" fmla="*/ 86406 h 261893"/>
                    <a:gd name="connsiteX12" fmla="*/ 0 w 391979"/>
                    <a:gd name="connsiteY12" fmla="*/ 108006 h 261893"/>
                    <a:gd name="connsiteX13" fmla="*/ 18514 w 391979"/>
                    <a:gd name="connsiteY13" fmla="*/ 132691 h 261893"/>
                    <a:gd name="connsiteX14" fmla="*/ 15429 w 391979"/>
                    <a:gd name="connsiteY14" fmla="*/ 132691 h 261893"/>
                    <a:gd name="connsiteX15" fmla="*/ 6171 w 391979"/>
                    <a:gd name="connsiteY15" fmla="*/ 141949 h 261893"/>
                    <a:gd name="connsiteX16" fmla="*/ 52457 w 391979"/>
                    <a:gd name="connsiteY16" fmla="*/ 163548 h 261893"/>
                    <a:gd name="connsiteX17" fmla="*/ 80229 w 391979"/>
                    <a:gd name="connsiteY17" fmla="*/ 169720 h 261893"/>
                    <a:gd name="connsiteX18" fmla="*/ 70971 w 391979"/>
                    <a:gd name="connsiteY18" fmla="*/ 169720 h 261893"/>
                    <a:gd name="connsiteX19" fmla="*/ 55543 w 391979"/>
                    <a:gd name="connsiteY19" fmla="*/ 185149 h 261893"/>
                    <a:gd name="connsiteX20" fmla="*/ 178971 w 391979"/>
                    <a:gd name="connsiteY20" fmla="*/ 231435 h 2618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91979" h="261893">
                      <a:moveTo>
                        <a:pt x="178971" y="231435"/>
                      </a:moveTo>
                      <a:cubicBezTo>
                        <a:pt x="225257" y="243777"/>
                        <a:pt x="277714" y="274634"/>
                        <a:pt x="324000" y="256120"/>
                      </a:cubicBezTo>
                      <a:cubicBezTo>
                        <a:pt x="354857" y="243777"/>
                        <a:pt x="391886" y="203663"/>
                        <a:pt x="391886" y="169720"/>
                      </a:cubicBezTo>
                      <a:cubicBezTo>
                        <a:pt x="394971" y="120349"/>
                        <a:pt x="320914" y="77149"/>
                        <a:pt x="302400" y="6177"/>
                      </a:cubicBezTo>
                      <a:cubicBezTo>
                        <a:pt x="296229" y="-9251"/>
                        <a:pt x="265371" y="6177"/>
                        <a:pt x="268457" y="30863"/>
                      </a:cubicBezTo>
                      <a:cubicBezTo>
                        <a:pt x="271543" y="61720"/>
                        <a:pt x="280800" y="89492"/>
                        <a:pt x="290057" y="108006"/>
                      </a:cubicBezTo>
                      <a:cubicBezTo>
                        <a:pt x="225257" y="89492"/>
                        <a:pt x="169714" y="46292"/>
                        <a:pt x="98743" y="40120"/>
                      </a:cubicBezTo>
                      <a:cubicBezTo>
                        <a:pt x="86400" y="40120"/>
                        <a:pt x="55543" y="40120"/>
                        <a:pt x="64800" y="55548"/>
                      </a:cubicBezTo>
                      <a:cubicBezTo>
                        <a:pt x="70971" y="64806"/>
                        <a:pt x="95657" y="70977"/>
                        <a:pt x="108000" y="77149"/>
                      </a:cubicBezTo>
                      <a:cubicBezTo>
                        <a:pt x="126514" y="86406"/>
                        <a:pt x="148114" y="95663"/>
                        <a:pt x="166629" y="104920"/>
                      </a:cubicBezTo>
                      <a:cubicBezTo>
                        <a:pt x="138857" y="101834"/>
                        <a:pt x="111086" y="95663"/>
                        <a:pt x="83314" y="92577"/>
                      </a:cubicBezTo>
                      <a:cubicBezTo>
                        <a:pt x="64800" y="89492"/>
                        <a:pt x="43200" y="83320"/>
                        <a:pt x="21600" y="86406"/>
                      </a:cubicBezTo>
                      <a:cubicBezTo>
                        <a:pt x="9257" y="89492"/>
                        <a:pt x="0" y="95663"/>
                        <a:pt x="0" y="108006"/>
                      </a:cubicBezTo>
                      <a:cubicBezTo>
                        <a:pt x="0" y="120349"/>
                        <a:pt x="9257" y="126520"/>
                        <a:pt x="18514" y="132691"/>
                      </a:cubicBezTo>
                      <a:cubicBezTo>
                        <a:pt x="18514" y="132691"/>
                        <a:pt x="15429" y="132691"/>
                        <a:pt x="15429" y="132691"/>
                      </a:cubicBezTo>
                      <a:cubicBezTo>
                        <a:pt x="12343" y="132691"/>
                        <a:pt x="6171" y="141949"/>
                        <a:pt x="6171" y="141949"/>
                      </a:cubicBezTo>
                      <a:cubicBezTo>
                        <a:pt x="12343" y="157377"/>
                        <a:pt x="33943" y="160463"/>
                        <a:pt x="52457" y="163548"/>
                      </a:cubicBezTo>
                      <a:cubicBezTo>
                        <a:pt x="61714" y="166634"/>
                        <a:pt x="70971" y="166634"/>
                        <a:pt x="80229" y="169720"/>
                      </a:cubicBezTo>
                      <a:cubicBezTo>
                        <a:pt x="77143" y="169720"/>
                        <a:pt x="74057" y="169720"/>
                        <a:pt x="70971" y="169720"/>
                      </a:cubicBezTo>
                      <a:cubicBezTo>
                        <a:pt x="61714" y="172806"/>
                        <a:pt x="55543" y="175892"/>
                        <a:pt x="55543" y="185149"/>
                      </a:cubicBezTo>
                      <a:cubicBezTo>
                        <a:pt x="64800" y="203663"/>
                        <a:pt x="151200" y="225263"/>
                        <a:pt x="178971" y="231435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5" name="任意多边形: 形状 194">
                  <a:extLst>
                    <a:ext uri="{FF2B5EF4-FFF2-40B4-BE49-F238E27FC236}">
                      <a16:creationId xmlns:a16="http://schemas.microsoft.com/office/drawing/2014/main" id="{9595A073-8006-48CB-9AB2-C31DF14D8205}"/>
                    </a:ext>
                  </a:extLst>
                </p:cNvPr>
                <p:cNvSpPr/>
                <p:nvPr/>
              </p:nvSpPr>
              <p:spPr>
                <a:xfrm>
                  <a:off x="2860665" y="7506446"/>
                  <a:ext cx="34885" cy="59906"/>
                </a:xfrm>
                <a:custGeom>
                  <a:avLst/>
                  <a:gdLst>
                    <a:gd name="connsiteX0" fmla="*/ 31800 w 34885"/>
                    <a:gd name="connsiteY0" fmla="*/ 59907 h 59906"/>
                    <a:gd name="connsiteX1" fmla="*/ 31800 w 34885"/>
                    <a:gd name="connsiteY1" fmla="*/ 59907 h 59906"/>
                    <a:gd name="connsiteX2" fmla="*/ 942 w 34885"/>
                    <a:gd name="connsiteY2" fmla="*/ 4364 h 59906"/>
                    <a:gd name="connsiteX3" fmla="*/ 7114 w 34885"/>
                    <a:gd name="connsiteY3" fmla="*/ 1278 h 59906"/>
                    <a:gd name="connsiteX4" fmla="*/ 10200 w 34885"/>
                    <a:gd name="connsiteY4" fmla="*/ 7449 h 59906"/>
                    <a:gd name="connsiteX5" fmla="*/ 31800 w 34885"/>
                    <a:gd name="connsiteY5" fmla="*/ 50650 h 59906"/>
                    <a:gd name="connsiteX6" fmla="*/ 34885 w 34885"/>
                    <a:gd name="connsiteY6" fmla="*/ 56821 h 59906"/>
                    <a:gd name="connsiteX7" fmla="*/ 31800 w 34885"/>
                    <a:gd name="connsiteY7" fmla="*/ 59907 h 59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885" h="59906">
                      <a:moveTo>
                        <a:pt x="31800" y="59907"/>
                      </a:moveTo>
                      <a:cubicBezTo>
                        <a:pt x="31800" y="59907"/>
                        <a:pt x="28714" y="59907"/>
                        <a:pt x="31800" y="59907"/>
                      </a:cubicBezTo>
                      <a:cubicBezTo>
                        <a:pt x="942" y="44478"/>
                        <a:pt x="-2143" y="16707"/>
                        <a:pt x="942" y="4364"/>
                      </a:cubicBezTo>
                      <a:cubicBezTo>
                        <a:pt x="942" y="1278"/>
                        <a:pt x="4028" y="-1807"/>
                        <a:pt x="7114" y="1278"/>
                      </a:cubicBezTo>
                      <a:cubicBezTo>
                        <a:pt x="10200" y="1278"/>
                        <a:pt x="13285" y="4364"/>
                        <a:pt x="10200" y="7449"/>
                      </a:cubicBezTo>
                      <a:cubicBezTo>
                        <a:pt x="10200" y="7449"/>
                        <a:pt x="4028" y="35221"/>
                        <a:pt x="31800" y="50650"/>
                      </a:cubicBezTo>
                      <a:cubicBezTo>
                        <a:pt x="34885" y="50650"/>
                        <a:pt x="34885" y="56821"/>
                        <a:pt x="34885" y="56821"/>
                      </a:cubicBezTo>
                      <a:cubicBezTo>
                        <a:pt x="34885" y="59907"/>
                        <a:pt x="34885" y="59907"/>
                        <a:pt x="31800" y="59907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6" name="任意多边形: 形状 195">
                  <a:extLst>
                    <a:ext uri="{FF2B5EF4-FFF2-40B4-BE49-F238E27FC236}">
                      <a16:creationId xmlns:a16="http://schemas.microsoft.com/office/drawing/2014/main" id="{25DA1219-D4E4-4684-AAA2-02D209ACC432}"/>
                    </a:ext>
                  </a:extLst>
                </p:cNvPr>
                <p:cNvSpPr/>
                <p:nvPr/>
              </p:nvSpPr>
              <p:spPr>
                <a:xfrm>
                  <a:off x="2586979" y="7427496"/>
                  <a:ext cx="178971" cy="80228"/>
                </a:xfrm>
                <a:custGeom>
                  <a:avLst/>
                  <a:gdLst>
                    <a:gd name="connsiteX0" fmla="*/ 21600 w 178971"/>
                    <a:gd name="connsiteY0" fmla="*/ 80228 h 80228"/>
                    <a:gd name="connsiteX1" fmla="*/ 21600 w 178971"/>
                    <a:gd name="connsiteY1" fmla="*/ 80228 h 80228"/>
                    <a:gd name="connsiteX2" fmla="*/ 0 w 178971"/>
                    <a:gd name="connsiteY2" fmla="*/ 58628 h 80228"/>
                    <a:gd name="connsiteX3" fmla="*/ 12343 w 178971"/>
                    <a:gd name="connsiteY3" fmla="*/ 33943 h 80228"/>
                    <a:gd name="connsiteX4" fmla="*/ 123429 w 178971"/>
                    <a:gd name="connsiteY4" fmla="*/ 40114 h 80228"/>
                    <a:gd name="connsiteX5" fmla="*/ 67886 w 178971"/>
                    <a:gd name="connsiteY5" fmla="*/ 12343 h 80228"/>
                    <a:gd name="connsiteX6" fmla="*/ 64800 w 178971"/>
                    <a:gd name="connsiteY6" fmla="*/ 3085 h 80228"/>
                    <a:gd name="connsiteX7" fmla="*/ 74057 w 178971"/>
                    <a:gd name="connsiteY7" fmla="*/ 0 h 80228"/>
                    <a:gd name="connsiteX8" fmla="*/ 175886 w 178971"/>
                    <a:gd name="connsiteY8" fmla="*/ 49371 h 80228"/>
                    <a:gd name="connsiteX9" fmla="*/ 178971 w 178971"/>
                    <a:gd name="connsiteY9" fmla="*/ 55542 h 80228"/>
                    <a:gd name="connsiteX10" fmla="*/ 172800 w 178971"/>
                    <a:gd name="connsiteY10" fmla="*/ 58628 h 80228"/>
                    <a:gd name="connsiteX11" fmla="*/ 21600 w 178971"/>
                    <a:gd name="connsiteY11" fmla="*/ 40114 h 80228"/>
                    <a:gd name="connsiteX12" fmla="*/ 15429 w 178971"/>
                    <a:gd name="connsiteY12" fmla="*/ 52457 h 80228"/>
                    <a:gd name="connsiteX13" fmla="*/ 27771 w 178971"/>
                    <a:gd name="connsiteY13" fmla="*/ 64800 h 80228"/>
                    <a:gd name="connsiteX14" fmla="*/ 30857 w 178971"/>
                    <a:gd name="connsiteY14" fmla="*/ 70971 h 80228"/>
                    <a:gd name="connsiteX15" fmla="*/ 21600 w 178971"/>
                    <a:gd name="connsiteY15" fmla="*/ 80228 h 80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78971" h="80228">
                      <a:moveTo>
                        <a:pt x="21600" y="80228"/>
                      </a:moveTo>
                      <a:cubicBezTo>
                        <a:pt x="21600" y="80228"/>
                        <a:pt x="21600" y="80228"/>
                        <a:pt x="21600" y="80228"/>
                      </a:cubicBezTo>
                      <a:cubicBezTo>
                        <a:pt x="9257" y="74057"/>
                        <a:pt x="0" y="67886"/>
                        <a:pt x="0" y="58628"/>
                      </a:cubicBezTo>
                      <a:cubicBezTo>
                        <a:pt x="0" y="49371"/>
                        <a:pt x="3086" y="40114"/>
                        <a:pt x="12343" y="33943"/>
                      </a:cubicBezTo>
                      <a:cubicBezTo>
                        <a:pt x="21600" y="24685"/>
                        <a:pt x="77143" y="33943"/>
                        <a:pt x="123429" y="40114"/>
                      </a:cubicBezTo>
                      <a:cubicBezTo>
                        <a:pt x="95657" y="27771"/>
                        <a:pt x="67886" y="12343"/>
                        <a:pt x="67886" y="12343"/>
                      </a:cubicBezTo>
                      <a:cubicBezTo>
                        <a:pt x="64800" y="12343"/>
                        <a:pt x="64800" y="6171"/>
                        <a:pt x="64800" y="3085"/>
                      </a:cubicBezTo>
                      <a:cubicBezTo>
                        <a:pt x="64800" y="0"/>
                        <a:pt x="70971" y="0"/>
                        <a:pt x="74057" y="0"/>
                      </a:cubicBezTo>
                      <a:cubicBezTo>
                        <a:pt x="74057" y="0"/>
                        <a:pt x="135771" y="33943"/>
                        <a:pt x="175886" y="49371"/>
                      </a:cubicBezTo>
                      <a:cubicBezTo>
                        <a:pt x="178971" y="49371"/>
                        <a:pt x="178971" y="52457"/>
                        <a:pt x="178971" y="55542"/>
                      </a:cubicBezTo>
                      <a:cubicBezTo>
                        <a:pt x="178971" y="58628"/>
                        <a:pt x="175886" y="61714"/>
                        <a:pt x="172800" y="58628"/>
                      </a:cubicBezTo>
                      <a:cubicBezTo>
                        <a:pt x="104914" y="46286"/>
                        <a:pt x="30857" y="33943"/>
                        <a:pt x="21600" y="40114"/>
                      </a:cubicBezTo>
                      <a:cubicBezTo>
                        <a:pt x="18514" y="43200"/>
                        <a:pt x="12343" y="46286"/>
                        <a:pt x="15429" y="52457"/>
                      </a:cubicBezTo>
                      <a:cubicBezTo>
                        <a:pt x="15429" y="58628"/>
                        <a:pt x="21600" y="61714"/>
                        <a:pt x="27771" y="64800"/>
                      </a:cubicBezTo>
                      <a:cubicBezTo>
                        <a:pt x="30857" y="64800"/>
                        <a:pt x="30857" y="67886"/>
                        <a:pt x="30857" y="70971"/>
                      </a:cubicBezTo>
                      <a:cubicBezTo>
                        <a:pt x="27771" y="80228"/>
                        <a:pt x="24686" y="80228"/>
                        <a:pt x="21600" y="80228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92" name="任意多边形: 形状 191">
                <a:extLst>
                  <a:ext uri="{FF2B5EF4-FFF2-40B4-BE49-F238E27FC236}">
                    <a16:creationId xmlns:a16="http://schemas.microsoft.com/office/drawing/2014/main" id="{83BB777B-BC9D-4457-B26C-C9BC3F935B81}"/>
                  </a:ext>
                </a:extLst>
              </p:cNvPr>
              <p:cNvSpPr/>
              <p:nvPr/>
            </p:nvSpPr>
            <p:spPr>
              <a:xfrm>
                <a:off x="2645608" y="7538582"/>
                <a:ext cx="135771" cy="77142"/>
              </a:xfrm>
              <a:custGeom>
                <a:avLst/>
                <a:gdLst>
                  <a:gd name="connsiteX0" fmla="*/ 104914 w 135771"/>
                  <a:gd name="connsiteY0" fmla="*/ 77143 h 77142"/>
                  <a:gd name="connsiteX1" fmla="*/ 104914 w 135771"/>
                  <a:gd name="connsiteY1" fmla="*/ 77143 h 77142"/>
                  <a:gd name="connsiteX2" fmla="*/ 0 w 135771"/>
                  <a:gd name="connsiteY2" fmla="*/ 24686 h 77142"/>
                  <a:gd name="connsiteX3" fmla="*/ 6171 w 135771"/>
                  <a:gd name="connsiteY3" fmla="*/ 6171 h 77142"/>
                  <a:gd name="connsiteX4" fmla="*/ 37029 w 135771"/>
                  <a:gd name="connsiteY4" fmla="*/ 0 h 77142"/>
                  <a:gd name="connsiteX5" fmla="*/ 77143 w 135771"/>
                  <a:gd name="connsiteY5" fmla="*/ 9257 h 77142"/>
                  <a:gd name="connsiteX6" fmla="*/ 129600 w 135771"/>
                  <a:gd name="connsiteY6" fmla="*/ 21600 h 77142"/>
                  <a:gd name="connsiteX7" fmla="*/ 135771 w 135771"/>
                  <a:gd name="connsiteY7" fmla="*/ 27772 h 77142"/>
                  <a:gd name="connsiteX8" fmla="*/ 129600 w 135771"/>
                  <a:gd name="connsiteY8" fmla="*/ 33943 h 77142"/>
                  <a:gd name="connsiteX9" fmla="*/ 77143 w 135771"/>
                  <a:gd name="connsiteY9" fmla="*/ 21600 h 77142"/>
                  <a:gd name="connsiteX10" fmla="*/ 37029 w 135771"/>
                  <a:gd name="connsiteY10" fmla="*/ 12343 h 77142"/>
                  <a:gd name="connsiteX11" fmla="*/ 15429 w 135771"/>
                  <a:gd name="connsiteY11" fmla="*/ 15429 h 77142"/>
                  <a:gd name="connsiteX12" fmla="*/ 12343 w 135771"/>
                  <a:gd name="connsiteY12" fmla="*/ 24686 h 77142"/>
                  <a:gd name="connsiteX13" fmla="*/ 108000 w 135771"/>
                  <a:gd name="connsiteY13" fmla="*/ 64800 h 77142"/>
                  <a:gd name="connsiteX14" fmla="*/ 111086 w 135771"/>
                  <a:gd name="connsiteY14" fmla="*/ 70972 h 77142"/>
                  <a:gd name="connsiteX15" fmla="*/ 104914 w 135771"/>
                  <a:gd name="connsiteY15" fmla="*/ 77143 h 77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5771" h="77142">
                    <a:moveTo>
                      <a:pt x="104914" y="77143"/>
                    </a:moveTo>
                    <a:cubicBezTo>
                      <a:pt x="104914" y="77143"/>
                      <a:pt x="104914" y="77143"/>
                      <a:pt x="104914" y="77143"/>
                    </a:cubicBezTo>
                    <a:cubicBezTo>
                      <a:pt x="74057" y="67886"/>
                      <a:pt x="3086" y="46286"/>
                      <a:pt x="0" y="24686"/>
                    </a:cubicBezTo>
                    <a:cubicBezTo>
                      <a:pt x="0" y="15429"/>
                      <a:pt x="3086" y="9257"/>
                      <a:pt x="6171" y="6171"/>
                    </a:cubicBezTo>
                    <a:cubicBezTo>
                      <a:pt x="12343" y="0"/>
                      <a:pt x="21600" y="0"/>
                      <a:pt x="37029" y="0"/>
                    </a:cubicBezTo>
                    <a:cubicBezTo>
                      <a:pt x="46286" y="0"/>
                      <a:pt x="61714" y="6171"/>
                      <a:pt x="77143" y="9257"/>
                    </a:cubicBezTo>
                    <a:cubicBezTo>
                      <a:pt x="98743" y="15429"/>
                      <a:pt x="120343" y="21600"/>
                      <a:pt x="129600" y="21600"/>
                    </a:cubicBezTo>
                    <a:cubicBezTo>
                      <a:pt x="132686" y="21600"/>
                      <a:pt x="135771" y="24686"/>
                      <a:pt x="135771" y="27772"/>
                    </a:cubicBezTo>
                    <a:cubicBezTo>
                      <a:pt x="135771" y="30857"/>
                      <a:pt x="132686" y="33943"/>
                      <a:pt x="129600" y="33943"/>
                    </a:cubicBezTo>
                    <a:cubicBezTo>
                      <a:pt x="120343" y="33943"/>
                      <a:pt x="98743" y="27772"/>
                      <a:pt x="77143" y="21600"/>
                    </a:cubicBezTo>
                    <a:cubicBezTo>
                      <a:pt x="61714" y="18514"/>
                      <a:pt x="46286" y="12343"/>
                      <a:pt x="37029" y="12343"/>
                    </a:cubicBezTo>
                    <a:cubicBezTo>
                      <a:pt x="27771" y="9257"/>
                      <a:pt x="18514" y="12343"/>
                      <a:pt x="15429" y="15429"/>
                    </a:cubicBezTo>
                    <a:cubicBezTo>
                      <a:pt x="15429" y="15429"/>
                      <a:pt x="12343" y="18514"/>
                      <a:pt x="12343" y="24686"/>
                    </a:cubicBezTo>
                    <a:cubicBezTo>
                      <a:pt x="12343" y="33943"/>
                      <a:pt x="55543" y="52457"/>
                      <a:pt x="108000" y="64800"/>
                    </a:cubicBezTo>
                    <a:cubicBezTo>
                      <a:pt x="111086" y="64800"/>
                      <a:pt x="114171" y="67886"/>
                      <a:pt x="111086" y="70972"/>
                    </a:cubicBezTo>
                    <a:cubicBezTo>
                      <a:pt x="111086" y="74057"/>
                      <a:pt x="108000" y="77143"/>
                      <a:pt x="104914" y="7714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3" name="任意多边形: 形状 192">
                <a:extLst>
                  <a:ext uri="{FF2B5EF4-FFF2-40B4-BE49-F238E27FC236}">
                    <a16:creationId xmlns:a16="http://schemas.microsoft.com/office/drawing/2014/main" id="{78FDA2B8-D55A-4C08-9E0D-AB12FDA262ED}"/>
                  </a:ext>
                </a:extLst>
              </p:cNvPr>
              <p:cNvSpPr/>
              <p:nvPr/>
            </p:nvSpPr>
            <p:spPr>
              <a:xfrm>
                <a:off x="2591779" y="7492296"/>
                <a:ext cx="183428" cy="58628"/>
              </a:xfrm>
              <a:custGeom>
                <a:avLst/>
                <a:gdLst>
                  <a:gd name="connsiteX0" fmla="*/ 69257 w 183428"/>
                  <a:gd name="connsiteY0" fmla="*/ 58629 h 58628"/>
                  <a:gd name="connsiteX1" fmla="*/ 69257 w 183428"/>
                  <a:gd name="connsiteY1" fmla="*/ 58629 h 58628"/>
                  <a:gd name="connsiteX2" fmla="*/ 1371 w 183428"/>
                  <a:gd name="connsiteY2" fmla="*/ 30857 h 58628"/>
                  <a:gd name="connsiteX3" fmla="*/ 1371 w 183428"/>
                  <a:gd name="connsiteY3" fmla="*/ 15429 h 58628"/>
                  <a:gd name="connsiteX4" fmla="*/ 35314 w 183428"/>
                  <a:gd name="connsiteY4" fmla="*/ 0 h 58628"/>
                  <a:gd name="connsiteX5" fmla="*/ 35314 w 183428"/>
                  <a:gd name="connsiteY5" fmla="*/ 0 h 58628"/>
                  <a:gd name="connsiteX6" fmla="*/ 103200 w 183428"/>
                  <a:gd name="connsiteY6" fmla="*/ 18514 h 58628"/>
                  <a:gd name="connsiteX7" fmla="*/ 115543 w 183428"/>
                  <a:gd name="connsiteY7" fmla="*/ 21600 h 58628"/>
                  <a:gd name="connsiteX8" fmla="*/ 177257 w 183428"/>
                  <a:gd name="connsiteY8" fmla="*/ 30857 h 58628"/>
                  <a:gd name="connsiteX9" fmla="*/ 183429 w 183428"/>
                  <a:gd name="connsiteY9" fmla="*/ 37028 h 58628"/>
                  <a:gd name="connsiteX10" fmla="*/ 177257 w 183428"/>
                  <a:gd name="connsiteY10" fmla="*/ 43200 h 58628"/>
                  <a:gd name="connsiteX11" fmla="*/ 115543 w 183428"/>
                  <a:gd name="connsiteY11" fmla="*/ 33943 h 58628"/>
                  <a:gd name="connsiteX12" fmla="*/ 103200 w 183428"/>
                  <a:gd name="connsiteY12" fmla="*/ 30857 h 58628"/>
                  <a:gd name="connsiteX13" fmla="*/ 38400 w 183428"/>
                  <a:gd name="connsiteY13" fmla="*/ 15429 h 58628"/>
                  <a:gd name="connsiteX14" fmla="*/ 38400 w 183428"/>
                  <a:gd name="connsiteY14" fmla="*/ 15429 h 58628"/>
                  <a:gd name="connsiteX15" fmla="*/ 13714 w 183428"/>
                  <a:gd name="connsiteY15" fmla="*/ 24686 h 58628"/>
                  <a:gd name="connsiteX16" fmla="*/ 13714 w 183428"/>
                  <a:gd name="connsiteY16" fmla="*/ 27772 h 58628"/>
                  <a:gd name="connsiteX17" fmla="*/ 72343 w 183428"/>
                  <a:gd name="connsiteY17" fmla="*/ 49372 h 58628"/>
                  <a:gd name="connsiteX18" fmla="*/ 75429 w 183428"/>
                  <a:gd name="connsiteY18" fmla="*/ 55543 h 58628"/>
                  <a:gd name="connsiteX19" fmla="*/ 69257 w 183428"/>
                  <a:gd name="connsiteY19" fmla="*/ 58629 h 58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83428" h="58628">
                    <a:moveTo>
                      <a:pt x="69257" y="58629"/>
                    </a:moveTo>
                    <a:cubicBezTo>
                      <a:pt x="69257" y="58629"/>
                      <a:pt x="69257" y="58629"/>
                      <a:pt x="69257" y="58629"/>
                    </a:cubicBezTo>
                    <a:cubicBezTo>
                      <a:pt x="50743" y="55543"/>
                      <a:pt x="7543" y="43200"/>
                      <a:pt x="1371" y="30857"/>
                    </a:cubicBezTo>
                    <a:cubicBezTo>
                      <a:pt x="-1714" y="24686"/>
                      <a:pt x="1371" y="21600"/>
                      <a:pt x="1371" y="15429"/>
                    </a:cubicBezTo>
                    <a:cubicBezTo>
                      <a:pt x="7543" y="6171"/>
                      <a:pt x="22971" y="0"/>
                      <a:pt x="35314" y="0"/>
                    </a:cubicBezTo>
                    <a:cubicBezTo>
                      <a:pt x="35314" y="0"/>
                      <a:pt x="35314" y="0"/>
                      <a:pt x="35314" y="0"/>
                    </a:cubicBezTo>
                    <a:cubicBezTo>
                      <a:pt x="47657" y="0"/>
                      <a:pt x="78514" y="9257"/>
                      <a:pt x="103200" y="18514"/>
                    </a:cubicBezTo>
                    <a:cubicBezTo>
                      <a:pt x="109371" y="18514"/>
                      <a:pt x="112457" y="21600"/>
                      <a:pt x="115543" y="21600"/>
                    </a:cubicBezTo>
                    <a:cubicBezTo>
                      <a:pt x="121714" y="24686"/>
                      <a:pt x="158743" y="27772"/>
                      <a:pt x="177257" y="30857"/>
                    </a:cubicBezTo>
                    <a:cubicBezTo>
                      <a:pt x="180343" y="30857"/>
                      <a:pt x="183429" y="33943"/>
                      <a:pt x="183429" y="37028"/>
                    </a:cubicBezTo>
                    <a:cubicBezTo>
                      <a:pt x="183429" y="40114"/>
                      <a:pt x="180343" y="43200"/>
                      <a:pt x="177257" y="43200"/>
                    </a:cubicBezTo>
                    <a:cubicBezTo>
                      <a:pt x="174171" y="43200"/>
                      <a:pt x="124800" y="33943"/>
                      <a:pt x="115543" y="33943"/>
                    </a:cubicBezTo>
                    <a:cubicBezTo>
                      <a:pt x="112457" y="33943"/>
                      <a:pt x="109371" y="30857"/>
                      <a:pt x="103200" y="30857"/>
                    </a:cubicBezTo>
                    <a:cubicBezTo>
                      <a:pt x="84686" y="24686"/>
                      <a:pt x="47657" y="15429"/>
                      <a:pt x="38400" y="15429"/>
                    </a:cubicBezTo>
                    <a:cubicBezTo>
                      <a:pt x="38400" y="15429"/>
                      <a:pt x="38400" y="15429"/>
                      <a:pt x="38400" y="15429"/>
                    </a:cubicBezTo>
                    <a:cubicBezTo>
                      <a:pt x="29143" y="15429"/>
                      <a:pt x="16800" y="18514"/>
                      <a:pt x="13714" y="24686"/>
                    </a:cubicBezTo>
                    <a:cubicBezTo>
                      <a:pt x="13714" y="24686"/>
                      <a:pt x="13714" y="27772"/>
                      <a:pt x="13714" y="27772"/>
                    </a:cubicBezTo>
                    <a:cubicBezTo>
                      <a:pt x="16800" y="33943"/>
                      <a:pt x="44571" y="43200"/>
                      <a:pt x="72343" y="49372"/>
                    </a:cubicBezTo>
                    <a:cubicBezTo>
                      <a:pt x="75429" y="49372"/>
                      <a:pt x="78514" y="52457"/>
                      <a:pt x="75429" y="55543"/>
                    </a:cubicBezTo>
                    <a:cubicBezTo>
                      <a:pt x="75429" y="55543"/>
                      <a:pt x="72343" y="58629"/>
                      <a:pt x="69257" y="5862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6EBB5475-3E63-475E-A99D-D34487899A1D}"/>
                </a:ext>
              </a:extLst>
            </p:cNvPr>
            <p:cNvSpPr/>
            <p:nvPr/>
          </p:nvSpPr>
          <p:spPr>
            <a:xfrm>
              <a:off x="2753107" y="7560181"/>
              <a:ext cx="1038254" cy="1086062"/>
            </a:xfrm>
            <a:custGeom>
              <a:avLst/>
              <a:gdLst>
                <a:gd name="connsiteX0" fmla="*/ 1024959 w 1038254"/>
                <a:gd name="connsiteY0" fmla="*/ 984343 h 1086062"/>
                <a:gd name="connsiteX1" fmla="*/ 781187 w 1038254"/>
                <a:gd name="connsiteY1" fmla="*/ 771429 h 1086062"/>
                <a:gd name="connsiteX2" fmla="*/ 253530 w 1038254"/>
                <a:gd name="connsiteY2" fmla="*/ 629486 h 1086062"/>
                <a:gd name="connsiteX3" fmla="*/ 222673 w 1038254"/>
                <a:gd name="connsiteY3" fmla="*/ 0 h 1086062"/>
                <a:gd name="connsiteX4" fmla="*/ 56044 w 1038254"/>
                <a:gd name="connsiteY4" fmla="*/ 52458 h 1086062"/>
                <a:gd name="connsiteX5" fmla="*/ 19016 w 1038254"/>
                <a:gd name="connsiteY5" fmla="*/ 826972 h 1086062"/>
                <a:gd name="connsiteX6" fmla="*/ 812044 w 1038254"/>
                <a:gd name="connsiteY6" fmla="*/ 1083086 h 1086062"/>
                <a:gd name="connsiteX7" fmla="*/ 1024959 w 1038254"/>
                <a:gd name="connsiteY7" fmla="*/ 984343 h 1086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8254" h="1086062">
                  <a:moveTo>
                    <a:pt x="1024959" y="984343"/>
                  </a:moveTo>
                  <a:cubicBezTo>
                    <a:pt x="1083587" y="928800"/>
                    <a:pt x="938559" y="820800"/>
                    <a:pt x="781187" y="771429"/>
                  </a:cubicBezTo>
                  <a:cubicBezTo>
                    <a:pt x="531244" y="691200"/>
                    <a:pt x="253530" y="629486"/>
                    <a:pt x="253530" y="629486"/>
                  </a:cubicBezTo>
                  <a:lnTo>
                    <a:pt x="222673" y="0"/>
                  </a:lnTo>
                  <a:lnTo>
                    <a:pt x="56044" y="52458"/>
                  </a:lnTo>
                  <a:cubicBezTo>
                    <a:pt x="56044" y="52458"/>
                    <a:pt x="-39613" y="722057"/>
                    <a:pt x="19016" y="826972"/>
                  </a:cubicBezTo>
                  <a:cubicBezTo>
                    <a:pt x="71473" y="919543"/>
                    <a:pt x="444844" y="1024458"/>
                    <a:pt x="812044" y="1083086"/>
                  </a:cubicBezTo>
                  <a:cubicBezTo>
                    <a:pt x="907701" y="1098515"/>
                    <a:pt x="950901" y="1052229"/>
                    <a:pt x="1024959" y="984343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B3D64D4B-3852-4521-B4E1-C0F88B589051}"/>
                </a:ext>
              </a:extLst>
            </p:cNvPr>
            <p:cNvSpPr/>
            <p:nvPr/>
          </p:nvSpPr>
          <p:spPr>
            <a:xfrm>
              <a:off x="3250408" y="8211267"/>
              <a:ext cx="609388" cy="464231"/>
            </a:xfrm>
            <a:custGeom>
              <a:avLst/>
              <a:gdLst>
                <a:gd name="connsiteX0" fmla="*/ 89486 w 609388"/>
                <a:gd name="connsiteY0" fmla="*/ 0 h 464231"/>
                <a:gd name="connsiteX1" fmla="*/ 607886 w 609388"/>
                <a:gd name="connsiteY1" fmla="*/ 268457 h 464231"/>
                <a:gd name="connsiteX2" fmla="*/ 0 w 609388"/>
                <a:gd name="connsiteY2" fmla="*/ 416571 h 464231"/>
                <a:gd name="connsiteX3" fmla="*/ 89486 w 609388"/>
                <a:gd name="connsiteY3" fmla="*/ 0 h 46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9388" h="464231">
                  <a:moveTo>
                    <a:pt x="89486" y="0"/>
                  </a:moveTo>
                  <a:cubicBezTo>
                    <a:pt x="89486" y="0"/>
                    <a:pt x="641829" y="123429"/>
                    <a:pt x="607886" y="268457"/>
                  </a:cubicBezTo>
                  <a:cubicBezTo>
                    <a:pt x="530743" y="592457"/>
                    <a:pt x="0" y="416571"/>
                    <a:pt x="0" y="416571"/>
                  </a:cubicBezTo>
                  <a:cubicBezTo>
                    <a:pt x="0" y="416571"/>
                    <a:pt x="0" y="203657"/>
                    <a:pt x="89486" y="0"/>
                  </a:cubicBezTo>
                  <a:close/>
                </a:path>
              </a:pathLst>
            </a:custGeom>
            <a:solidFill>
              <a:srgbClr val="F1DDBA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F7CDE1F3-B5F2-48F2-9032-D423E9EA4A71}"/>
                </a:ext>
              </a:extLst>
            </p:cNvPr>
            <p:cNvSpPr/>
            <p:nvPr/>
          </p:nvSpPr>
          <p:spPr>
            <a:xfrm>
              <a:off x="3537379" y="8606239"/>
              <a:ext cx="46285" cy="348685"/>
            </a:xfrm>
            <a:custGeom>
              <a:avLst/>
              <a:gdLst>
                <a:gd name="connsiteX0" fmla="*/ 6171 w 46285"/>
                <a:gd name="connsiteY0" fmla="*/ 348686 h 348685"/>
                <a:gd name="connsiteX1" fmla="*/ 6171 w 46285"/>
                <a:gd name="connsiteY1" fmla="*/ 348686 h 348685"/>
                <a:gd name="connsiteX2" fmla="*/ 0 w 46285"/>
                <a:gd name="connsiteY2" fmla="*/ 342514 h 348685"/>
                <a:gd name="connsiteX3" fmla="*/ 33943 w 46285"/>
                <a:gd name="connsiteY3" fmla="*/ 6171 h 348685"/>
                <a:gd name="connsiteX4" fmla="*/ 40114 w 46285"/>
                <a:gd name="connsiteY4" fmla="*/ 0 h 348685"/>
                <a:gd name="connsiteX5" fmla="*/ 46286 w 46285"/>
                <a:gd name="connsiteY5" fmla="*/ 6171 h 348685"/>
                <a:gd name="connsiteX6" fmla="*/ 12343 w 46285"/>
                <a:gd name="connsiteY6" fmla="*/ 342514 h 348685"/>
                <a:gd name="connsiteX7" fmla="*/ 6171 w 46285"/>
                <a:gd name="connsiteY7" fmla="*/ 348686 h 34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85" h="348685">
                  <a:moveTo>
                    <a:pt x="6171" y="348686"/>
                  </a:moveTo>
                  <a:cubicBezTo>
                    <a:pt x="6171" y="348686"/>
                    <a:pt x="6171" y="348686"/>
                    <a:pt x="6171" y="348686"/>
                  </a:cubicBezTo>
                  <a:cubicBezTo>
                    <a:pt x="3086" y="348686"/>
                    <a:pt x="0" y="345600"/>
                    <a:pt x="0" y="342514"/>
                  </a:cubicBezTo>
                  <a:cubicBezTo>
                    <a:pt x="6171" y="243771"/>
                    <a:pt x="33943" y="9257"/>
                    <a:pt x="33943" y="6171"/>
                  </a:cubicBezTo>
                  <a:cubicBezTo>
                    <a:pt x="33943" y="3085"/>
                    <a:pt x="37029" y="0"/>
                    <a:pt x="40114" y="0"/>
                  </a:cubicBezTo>
                  <a:cubicBezTo>
                    <a:pt x="43200" y="0"/>
                    <a:pt x="46286" y="3085"/>
                    <a:pt x="46286" y="6171"/>
                  </a:cubicBezTo>
                  <a:cubicBezTo>
                    <a:pt x="46286" y="9257"/>
                    <a:pt x="18514" y="240686"/>
                    <a:pt x="12343" y="342514"/>
                  </a:cubicBezTo>
                  <a:cubicBezTo>
                    <a:pt x="9257" y="345600"/>
                    <a:pt x="9257" y="348686"/>
                    <a:pt x="6171" y="348686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5169814C-C9E2-40C8-85B7-6F060BAB48FE}"/>
                </a:ext>
              </a:extLst>
            </p:cNvPr>
            <p:cNvSpPr/>
            <p:nvPr/>
          </p:nvSpPr>
          <p:spPr>
            <a:xfrm>
              <a:off x="3335530" y="8203818"/>
              <a:ext cx="454106" cy="170992"/>
            </a:xfrm>
            <a:custGeom>
              <a:avLst/>
              <a:gdLst>
                <a:gd name="connsiteX0" fmla="*/ 448707 w 454106"/>
                <a:gd name="connsiteY0" fmla="*/ 170993 h 170992"/>
                <a:gd name="connsiteX1" fmla="*/ 445621 w 454106"/>
                <a:gd name="connsiteY1" fmla="*/ 170993 h 170992"/>
                <a:gd name="connsiteX2" fmla="*/ 4364 w 454106"/>
                <a:gd name="connsiteY2" fmla="*/ 10535 h 170992"/>
                <a:gd name="connsiteX3" fmla="*/ 1278 w 454106"/>
                <a:gd name="connsiteY3" fmla="*/ 4364 h 170992"/>
                <a:gd name="connsiteX4" fmla="*/ 7450 w 454106"/>
                <a:gd name="connsiteY4" fmla="*/ 1278 h 170992"/>
                <a:gd name="connsiteX5" fmla="*/ 451793 w 454106"/>
                <a:gd name="connsiteY5" fmla="*/ 161735 h 170992"/>
                <a:gd name="connsiteX6" fmla="*/ 451793 w 454106"/>
                <a:gd name="connsiteY6" fmla="*/ 170993 h 170992"/>
                <a:gd name="connsiteX7" fmla="*/ 448707 w 454106"/>
                <a:gd name="connsiteY7" fmla="*/ 170993 h 170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4106" h="170992">
                  <a:moveTo>
                    <a:pt x="448707" y="170993"/>
                  </a:moveTo>
                  <a:cubicBezTo>
                    <a:pt x="448707" y="170993"/>
                    <a:pt x="445621" y="170993"/>
                    <a:pt x="445621" y="170993"/>
                  </a:cubicBezTo>
                  <a:cubicBezTo>
                    <a:pt x="337621" y="93850"/>
                    <a:pt x="7450" y="13621"/>
                    <a:pt x="4364" y="10535"/>
                  </a:cubicBezTo>
                  <a:cubicBezTo>
                    <a:pt x="1278" y="10535"/>
                    <a:pt x="-1808" y="7450"/>
                    <a:pt x="1278" y="4364"/>
                  </a:cubicBezTo>
                  <a:cubicBezTo>
                    <a:pt x="1278" y="1278"/>
                    <a:pt x="4364" y="-1808"/>
                    <a:pt x="7450" y="1278"/>
                  </a:cubicBezTo>
                  <a:cubicBezTo>
                    <a:pt x="19792" y="4364"/>
                    <a:pt x="343793" y="84592"/>
                    <a:pt x="451793" y="161735"/>
                  </a:cubicBezTo>
                  <a:cubicBezTo>
                    <a:pt x="454878" y="164821"/>
                    <a:pt x="454878" y="167907"/>
                    <a:pt x="451793" y="170993"/>
                  </a:cubicBezTo>
                  <a:cubicBezTo>
                    <a:pt x="451793" y="170993"/>
                    <a:pt x="448707" y="170993"/>
                    <a:pt x="448707" y="170993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6F681040-DFBB-49E9-B45C-8300B0B4FCFC}"/>
                </a:ext>
              </a:extLst>
            </p:cNvPr>
            <p:cNvSpPr/>
            <p:nvPr/>
          </p:nvSpPr>
          <p:spPr>
            <a:xfrm>
              <a:off x="6312094" y="8782423"/>
              <a:ext cx="1008625" cy="521219"/>
            </a:xfrm>
            <a:custGeom>
              <a:avLst/>
              <a:gdLst>
                <a:gd name="connsiteX0" fmla="*/ 792371 w 1008625"/>
                <a:gd name="connsiteY0" fmla="*/ 24387 h 521219"/>
                <a:gd name="connsiteX1" fmla="*/ 459114 w 1008625"/>
                <a:gd name="connsiteY1" fmla="*/ 326788 h 521219"/>
                <a:gd name="connsiteX2" fmla="*/ 36371 w 1008625"/>
                <a:gd name="connsiteY2" fmla="*/ 320616 h 521219"/>
                <a:gd name="connsiteX3" fmla="*/ 8600 w 1008625"/>
                <a:gd name="connsiteY3" fmla="*/ 413187 h 521219"/>
                <a:gd name="connsiteX4" fmla="*/ 499228 w 1008625"/>
                <a:gd name="connsiteY4" fmla="*/ 521187 h 521219"/>
                <a:gd name="connsiteX5" fmla="*/ 986771 w 1008625"/>
                <a:gd name="connsiteY5" fmla="*/ 218788 h 521219"/>
                <a:gd name="connsiteX6" fmla="*/ 792371 w 1008625"/>
                <a:gd name="connsiteY6" fmla="*/ 24387 h 521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8625" h="521219">
                  <a:moveTo>
                    <a:pt x="792371" y="24387"/>
                  </a:moveTo>
                  <a:cubicBezTo>
                    <a:pt x="718314" y="76845"/>
                    <a:pt x="459114" y="326788"/>
                    <a:pt x="459114" y="326788"/>
                  </a:cubicBezTo>
                  <a:cubicBezTo>
                    <a:pt x="459114" y="326788"/>
                    <a:pt x="39457" y="314444"/>
                    <a:pt x="36371" y="320616"/>
                  </a:cubicBezTo>
                  <a:cubicBezTo>
                    <a:pt x="2429" y="382330"/>
                    <a:pt x="-9914" y="345302"/>
                    <a:pt x="8600" y="413187"/>
                  </a:cubicBezTo>
                  <a:cubicBezTo>
                    <a:pt x="11686" y="422444"/>
                    <a:pt x="243114" y="511930"/>
                    <a:pt x="499228" y="521187"/>
                  </a:cubicBezTo>
                  <a:cubicBezTo>
                    <a:pt x="567114" y="524273"/>
                    <a:pt x="863343" y="302102"/>
                    <a:pt x="986771" y="218788"/>
                  </a:cubicBezTo>
                  <a:cubicBezTo>
                    <a:pt x="1060829" y="169416"/>
                    <a:pt x="934314" y="-77441"/>
                    <a:pt x="792371" y="24387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77E1C0F7-53BB-4448-8A3E-7FFB071F2EC3}"/>
                </a:ext>
              </a:extLst>
            </p:cNvPr>
            <p:cNvSpPr/>
            <p:nvPr/>
          </p:nvSpPr>
          <p:spPr>
            <a:xfrm>
              <a:off x="7675253" y="8243544"/>
              <a:ext cx="725211" cy="720872"/>
            </a:xfrm>
            <a:custGeom>
              <a:avLst/>
              <a:gdLst>
                <a:gd name="connsiteX0" fmla="*/ 69 w 725211"/>
                <a:gd name="connsiteY0" fmla="*/ 17095 h 720872"/>
                <a:gd name="connsiteX1" fmla="*/ 293212 w 725211"/>
                <a:gd name="connsiteY1" fmla="*/ 10923 h 720872"/>
                <a:gd name="connsiteX2" fmla="*/ 623384 w 725211"/>
                <a:gd name="connsiteY2" fmla="*/ 415152 h 720872"/>
                <a:gd name="connsiteX3" fmla="*/ 725212 w 725211"/>
                <a:gd name="connsiteY3" fmla="*/ 714466 h 720872"/>
                <a:gd name="connsiteX4" fmla="*/ 293212 w 725211"/>
                <a:gd name="connsiteY4" fmla="*/ 554009 h 720872"/>
                <a:gd name="connsiteX5" fmla="*/ 69 w 725211"/>
                <a:gd name="connsiteY5" fmla="*/ 17095 h 720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5211" h="720872">
                  <a:moveTo>
                    <a:pt x="69" y="17095"/>
                  </a:moveTo>
                  <a:cubicBezTo>
                    <a:pt x="69" y="17095"/>
                    <a:pt x="-12274" y="-16848"/>
                    <a:pt x="293212" y="10923"/>
                  </a:cubicBezTo>
                  <a:cubicBezTo>
                    <a:pt x="481441" y="26352"/>
                    <a:pt x="617212" y="254695"/>
                    <a:pt x="623384" y="415152"/>
                  </a:cubicBezTo>
                  <a:cubicBezTo>
                    <a:pt x="629555" y="550923"/>
                    <a:pt x="614126" y="662009"/>
                    <a:pt x="725212" y="714466"/>
                  </a:cubicBezTo>
                  <a:cubicBezTo>
                    <a:pt x="725212" y="714466"/>
                    <a:pt x="311726" y="770009"/>
                    <a:pt x="293212" y="554009"/>
                  </a:cubicBezTo>
                  <a:cubicBezTo>
                    <a:pt x="265441" y="226923"/>
                    <a:pt x="69" y="17095"/>
                    <a:pt x="69" y="17095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190F5835-E97F-4DC5-AE4B-EA76F33F4F4F}"/>
                </a:ext>
              </a:extLst>
            </p:cNvPr>
            <p:cNvSpPr/>
            <p:nvPr/>
          </p:nvSpPr>
          <p:spPr>
            <a:xfrm>
              <a:off x="8141265" y="8640181"/>
              <a:ext cx="266649" cy="320914"/>
            </a:xfrm>
            <a:custGeom>
              <a:avLst/>
              <a:gdLst>
                <a:gd name="connsiteX0" fmla="*/ 259200 w 266649"/>
                <a:gd name="connsiteY0" fmla="*/ 320915 h 320914"/>
                <a:gd name="connsiteX1" fmla="*/ 259200 w 266649"/>
                <a:gd name="connsiteY1" fmla="*/ 320915 h 320914"/>
                <a:gd name="connsiteX2" fmla="*/ 0 w 266649"/>
                <a:gd name="connsiteY2" fmla="*/ 6172 h 320914"/>
                <a:gd name="connsiteX3" fmla="*/ 6171 w 266649"/>
                <a:gd name="connsiteY3" fmla="*/ 0 h 320914"/>
                <a:gd name="connsiteX4" fmla="*/ 12343 w 266649"/>
                <a:gd name="connsiteY4" fmla="*/ 6172 h 320914"/>
                <a:gd name="connsiteX5" fmla="*/ 262286 w 266649"/>
                <a:gd name="connsiteY5" fmla="*/ 311657 h 320914"/>
                <a:gd name="connsiteX6" fmla="*/ 265372 w 266649"/>
                <a:gd name="connsiteY6" fmla="*/ 317829 h 320914"/>
                <a:gd name="connsiteX7" fmla="*/ 259200 w 266649"/>
                <a:gd name="connsiteY7" fmla="*/ 320915 h 32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6649" h="320914">
                  <a:moveTo>
                    <a:pt x="259200" y="320915"/>
                  </a:moveTo>
                  <a:cubicBezTo>
                    <a:pt x="259200" y="320915"/>
                    <a:pt x="259200" y="320915"/>
                    <a:pt x="259200" y="320915"/>
                  </a:cubicBezTo>
                  <a:cubicBezTo>
                    <a:pt x="256114" y="320915"/>
                    <a:pt x="24686" y="243772"/>
                    <a:pt x="0" y="6172"/>
                  </a:cubicBezTo>
                  <a:cubicBezTo>
                    <a:pt x="0" y="3086"/>
                    <a:pt x="3086" y="0"/>
                    <a:pt x="6171" y="0"/>
                  </a:cubicBezTo>
                  <a:cubicBezTo>
                    <a:pt x="9257" y="0"/>
                    <a:pt x="12343" y="3086"/>
                    <a:pt x="12343" y="6172"/>
                  </a:cubicBezTo>
                  <a:cubicBezTo>
                    <a:pt x="33943" y="237600"/>
                    <a:pt x="259200" y="311657"/>
                    <a:pt x="262286" y="311657"/>
                  </a:cubicBezTo>
                  <a:cubicBezTo>
                    <a:pt x="265372" y="311657"/>
                    <a:pt x="268457" y="314743"/>
                    <a:pt x="265372" y="317829"/>
                  </a:cubicBezTo>
                  <a:cubicBezTo>
                    <a:pt x="265372" y="320915"/>
                    <a:pt x="262286" y="320915"/>
                    <a:pt x="259200" y="320915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FAF18D64-E7B0-410C-995F-1D8C425860CA}"/>
                </a:ext>
              </a:extLst>
            </p:cNvPr>
            <p:cNvSpPr/>
            <p:nvPr/>
          </p:nvSpPr>
          <p:spPr>
            <a:xfrm>
              <a:off x="6962522" y="8663957"/>
              <a:ext cx="449332" cy="439081"/>
            </a:xfrm>
            <a:custGeom>
              <a:avLst/>
              <a:gdLst>
                <a:gd name="connsiteX0" fmla="*/ 286972 w 449332"/>
                <a:gd name="connsiteY0" fmla="*/ 439081 h 439081"/>
                <a:gd name="connsiteX1" fmla="*/ 435085 w 449332"/>
                <a:gd name="connsiteY1" fmla="*/ 28682 h 439081"/>
                <a:gd name="connsiteX2" fmla="*/ 0 w 449332"/>
                <a:gd name="connsiteY2" fmla="*/ 204567 h 439081"/>
                <a:gd name="connsiteX3" fmla="*/ 286972 w 449332"/>
                <a:gd name="connsiteY3" fmla="*/ 439081 h 43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332" h="439081">
                  <a:moveTo>
                    <a:pt x="286972" y="439081"/>
                  </a:moveTo>
                  <a:cubicBezTo>
                    <a:pt x="410400" y="300224"/>
                    <a:pt x="481371" y="93481"/>
                    <a:pt x="435085" y="28682"/>
                  </a:cubicBezTo>
                  <a:cubicBezTo>
                    <a:pt x="373371" y="-57718"/>
                    <a:pt x="114171" y="65710"/>
                    <a:pt x="0" y="204567"/>
                  </a:cubicBezTo>
                  <a:cubicBezTo>
                    <a:pt x="27771" y="275539"/>
                    <a:pt x="191314" y="398967"/>
                    <a:pt x="286972" y="439081"/>
                  </a:cubicBezTo>
                  <a:close/>
                </a:path>
              </a:pathLst>
            </a:custGeom>
            <a:solidFill>
              <a:srgbClr val="F6EBE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4" name="图形 1">
              <a:extLst>
                <a:ext uri="{FF2B5EF4-FFF2-40B4-BE49-F238E27FC236}">
                  <a16:creationId xmlns:a16="http://schemas.microsoft.com/office/drawing/2014/main" id="{46BF6727-FF61-468C-8FCC-2776DA1960F3}"/>
                </a:ext>
              </a:extLst>
            </p:cNvPr>
            <p:cNvGrpSpPr/>
            <p:nvPr/>
          </p:nvGrpSpPr>
          <p:grpSpPr>
            <a:xfrm>
              <a:off x="6733408" y="12034467"/>
              <a:ext cx="383399" cy="393913"/>
              <a:chOff x="6733408" y="12034467"/>
              <a:chExt cx="383399" cy="393913"/>
            </a:xfrm>
          </p:grpSpPr>
          <p:sp>
            <p:nvSpPr>
              <p:cNvPr id="189" name="任意多边形: 形状 188">
                <a:extLst>
                  <a:ext uri="{FF2B5EF4-FFF2-40B4-BE49-F238E27FC236}">
                    <a16:creationId xmlns:a16="http://schemas.microsoft.com/office/drawing/2014/main" id="{E7049C5A-2372-4BF0-8014-990C43091470}"/>
                  </a:ext>
                </a:extLst>
              </p:cNvPr>
              <p:cNvSpPr/>
              <p:nvPr/>
            </p:nvSpPr>
            <p:spPr>
              <a:xfrm>
                <a:off x="6733408" y="12164068"/>
                <a:ext cx="368961" cy="264312"/>
              </a:xfrm>
              <a:custGeom>
                <a:avLst/>
                <a:gdLst>
                  <a:gd name="connsiteX0" fmla="*/ 229114 w 368961"/>
                  <a:gd name="connsiteY0" fmla="*/ 0 h 264312"/>
                  <a:gd name="connsiteX1" fmla="*/ 108771 w 368961"/>
                  <a:gd name="connsiteY1" fmla="*/ 166628 h 264312"/>
                  <a:gd name="connsiteX2" fmla="*/ 327857 w 368961"/>
                  <a:gd name="connsiteY2" fmla="*/ 37028 h 264312"/>
                  <a:gd name="connsiteX3" fmla="*/ 349457 w 368961"/>
                  <a:gd name="connsiteY3" fmla="*/ 21599 h 264312"/>
                  <a:gd name="connsiteX4" fmla="*/ 367971 w 368961"/>
                  <a:gd name="connsiteY4" fmla="*/ 98742 h 264312"/>
                  <a:gd name="connsiteX5" fmla="*/ 355628 w 368961"/>
                  <a:gd name="connsiteY5" fmla="*/ 237599 h 264312"/>
                  <a:gd name="connsiteX6" fmla="*/ 327857 w 368961"/>
                  <a:gd name="connsiteY6" fmla="*/ 237599 h 264312"/>
                  <a:gd name="connsiteX7" fmla="*/ 312428 w 368961"/>
                  <a:gd name="connsiteY7" fmla="*/ 126514 h 264312"/>
                  <a:gd name="connsiteX8" fmla="*/ 167400 w 368961"/>
                  <a:gd name="connsiteY8" fmla="*/ 259200 h 264312"/>
                  <a:gd name="connsiteX9" fmla="*/ 6943 w 368961"/>
                  <a:gd name="connsiteY9" fmla="*/ 262286 h 264312"/>
                  <a:gd name="connsiteX10" fmla="*/ 6943 w 368961"/>
                  <a:gd name="connsiteY10" fmla="*/ 216000 h 264312"/>
                  <a:gd name="connsiteX11" fmla="*/ 229114 w 368961"/>
                  <a:gd name="connsiteY11" fmla="*/ 0 h 26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8961" h="264312">
                    <a:moveTo>
                      <a:pt x="229114" y="0"/>
                    </a:moveTo>
                    <a:cubicBezTo>
                      <a:pt x="229114" y="0"/>
                      <a:pt x="93343" y="157372"/>
                      <a:pt x="108771" y="166628"/>
                    </a:cubicBezTo>
                    <a:cubicBezTo>
                      <a:pt x="127286" y="175885"/>
                      <a:pt x="327857" y="37028"/>
                      <a:pt x="327857" y="37028"/>
                    </a:cubicBezTo>
                    <a:lnTo>
                      <a:pt x="349457" y="21599"/>
                    </a:lnTo>
                    <a:cubicBezTo>
                      <a:pt x="349457" y="21599"/>
                      <a:pt x="374143" y="70971"/>
                      <a:pt x="367971" y="98742"/>
                    </a:cubicBezTo>
                    <a:cubicBezTo>
                      <a:pt x="361800" y="126514"/>
                      <a:pt x="355628" y="237599"/>
                      <a:pt x="355628" y="237599"/>
                    </a:cubicBezTo>
                    <a:lnTo>
                      <a:pt x="327857" y="237599"/>
                    </a:lnTo>
                    <a:lnTo>
                      <a:pt x="312428" y="126514"/>
                    </a:lnTo>
                    <a:cubicBezTo>
                      <a:pt x="312428" y="126514"/>
                      <a:pt x="189000" y="256114"/>
                      <a:pt x="167400" y="259200"/>
                    </a:cubicBezTo>
                    <a:cubicBezTo>
                      <a:pt x="145800" y="265372"/>
                      <a:pt x="19286" y="265372"/>
                      <a:pt x="6943" y="262286"/>
                    </a:cubicBezTo>
                    <a:cubicBezTo>
                      <a:pt x="-2314" y="262286"/>
                      <a:pt x="-2314" y="222171"/>
                      <a:pt x="6943" y="216000"/>
                    </a:cubicBezTo>
                    <a:cubicBezTo>
                      <a:pt x="84086" y="172800"/>
                      <a:pt x="229114" y="0"/>
                      <a:pt x="229114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0" name="任意多边形: 形状 189">
                <a:extLst>
                  <a:ext uri="{FF2B5EF4-FFF2-40B4-BE49-F238E27FC236}">
                    <a16:creationId xmlns:a16="http://schemas.microsoft.com/office/drawing/2014/main" id="{826A4B9B-335D-4278-AE8A-910134A37F21}"/>
                  </a:ext>
                </a:extLst>
              </p:cNvPr>
              <p:cNvSpPr/>
              <p:nvPr/>
            </p:nvSpPr>
            <p:spPr>
              <a:xfrm>
                <a:off x="6839942" y="12034467"/>
                <a:ext cx="276865" cy="297992"/>
              </a:xfrm>
              <a:custGeom>
                <a:avLst/>
                <a:gdLst>
                  <a:gd name="connsiteX0" fmla="*/ 171951 w 276865"/>
                  <a:gd name="connsiteY0" fmla="*/ 0 h 297992"/>
                  <a:gd name="connsiteX1" fmla="*/ 122580 w 276865"/>
                  <a:gd name="connsiteY1" fmla="*/ 129600 h 297992"/>
                  <a:gd name="connsiteX2" fmla="*/ 2237 w 276865"/>
                  <a:gd name="connsiteY2" fmla="*/ 296229 h 297992"/>
                  <a:gd name="connsiteX3" fmla="*/ 239837 w 276865"/>
                  <a:gd name="connsiteY3" fmla="*/ 151200 h 297992"/>
                  <a:gd name="connsiteX4" fmla="*/ 276866 w 276865"/>
                  <a:gd name="connsiteY4" fmla="*/ 0 h 297992"/>
                  <a:gd name="connsiteX5" fmla="*/ 171951 w 276865"/>
                  <a:gd name="connsiteY5" fmla="*/ 0 h 297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6865" h="297992">
                    <a:moveTo>
                      <a:pt x="171951" y="0"/>
                    </a:moveTo>
                    <a:lnTo>
                      <a:pt x="122580" y="129600"/>
                    </a:lnTo>
                    <a:cubicBezTo>
                      <a:pt x="122580" y="129600"/>
                      <a:pt x="-19363" y="280800"/>
                      <a:pt x="2237" y="296229"/>
                    </a:cubicBezTo>
                    <a:cubicBezTo>
                      <a:pt x="23837" y="314743"/>
                      <a:pt x="242923" y="182057"/>
                      <a:pt x="239837" y="151200"/>
                    </a:cubicBezTo>
                    <a:cubicBezTo>
                      <a:pt x="239837" y="101829"/>
                      <a:pt x="276866" y="0"/>
                      <a:pt x="276866" y="0"/>
                    </a:cubicBezTo>
                    <a:lnTo>
                      <a:pt x="171951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5" name="图形 1">
              <a:extLst>
                <a:ext uri="{FF2B5EF4-FFF2-40B4-BE49-F238E27FC236}">
                  <a16:creationId xmlns:a16="http://schemas.microsoft.com/office/drawing/2014/main" id="{AA7FACB2-8B99-4A49-A7FE-1ABD99B70896}"/>
                </a:ext>
              </a:extLst>
            </p:cNvPr>
            <p:cNvGrpSpPr/>
            <p:nvPr/>
          </p:nvGrpSpPr>
          <p:grpSpPr>
            <a:xfrm>
              <a:off x="7514094" y="12034467"/>
              <a:ext cx="368961" cy="393913"/>
              <a:chOff x="7514094" y="12034467"/>
              <a:chExt cx="368961" cy="393913"/>
            </a:xfrm>
          </p:grpSpPr>
          <p:sp>
            <p:nvSpPr>
              <p:cNvPr id="187" name="任意多边形: 形状 186">
                <a:extLst>
                  <a:ext uri="{FF2B5EF4-FFF2-40B4-BE49-F238E27FC236}">
                    <a16:creationId xmlns:a16="http://schemas.microsoft.com/office/drawing/2014/main" id="{792603E4-B00E-45AC-9357-21E4748645AD}"/>
                  </a:ext>
                </a:extLst>
              </p:cNvPr>
              <p:cNvSpPr/>
              <p:nvPr/>
            </p:nvSpPr>
            <p:spPr>
              <a:xfrm>
                <a:off x="7514094" y="12164068"/>
                <a:ext cx="368961" cy="264312"/>
              </a:xfrm>
              <a:custGeom>
                <a:avLst/>
                <a:gdLst>
                  <a:gd name="connsiteX0" fmla="*/ 229114 w 368961"/>
                  <a:gd name="connsiteY0" fmla="*/ 0 h 264312"/>
                  <a:gd name="connsiteX1" fmla="*/ 108771 w 368961"/>
                  <a:gd name="connsiteY1" fmla="*/ 166628 h 264312"/>
                  <a:gd name="connsiteX2" fmla="*/ 327857 w 368961"/>
                  <a:gd name="connsiteY2" fmla="*/ 37028 h 264312"/>
                  <a:gd name="connsiteX3" fmla="*/ 349457 w 368961"/>
                  <a:gd name="connsiteY3" fmla="*/ 21599 h 264312"/>
                  <a:gd name="connsiteX4" fmla="*/ 367972 w 368961"/>
                  <a:gd name="connsiteY4" fmla="*/ 98742 h 264312"/>
                  <a:gd name="connsiteX5" fmla="*/ 355628 w 368961"/>
                  <a:gd name="connsiteY5" fmla="*/ 237599 h 264312"/>
                  <a:gd name="connsiteX6" fmla="*/ 327857 w 368961"/>
                  <a:gd name="connsiteY6" fmla="*/ 237599 h 264312"/>
                  <a:gd name="connsiteX7" fmla="*/ 312429 w 368961"/>
                  <a:gd name="connsiteY7" fmla="*/ 126514 h 264312"/>
                  <a:gd name="connsiteX8" fmla="*/ 167400 w 368961"/>
                  <a:gd name="connsiteY8" fmla="*/ 259200 h 264312"/>
                  <a:gd name="connsiteX9" fmla="*/ 6943 w 368961"/>
                  <a:gd name="connsiteY9" fmla="*/ 262286 h 264312"/>
                  <a:gd name="connsiteX10" fmla="*/ 6943 w 368961"/>
                  <a:gd name="connsiteY10" fmla="*/ 216000 h 264312"/>
                  <a:gd name="connsiteX11" fmla="*/ 229114 w 368961"/>
                  <a:gd name="connsiteY11" fmla="*/ 0 h 26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8961" h="264312">
                    <a:moveTo>
                      <a:pt x="229114" y="0"/>
                    </a:moveTo>
                    <a:cubicBezTo>
                      <a:pt x="229114" y="0"/>
                      <a:pt x="93343" y="157372"/>
                      <a:pt x="108771" y="166628"/>
                    </a:cubicBezTo>
                    <a:cubicBezTo>
                      <a:pt x="127286" y="175885"/>
                      <a:pt x="327857" y="37028"/>
                      <a:pt x="327857" y="37028"/>
                    </a:cubicBezTo>
                    <a:lnTo>
                      <a:pt x="349457" y="21599"/>
                    </a:lnTo>
                    <a:cubicBezTo>
                      <a:pt x="349457" y="21599"/>
                      <a:pt x="374143" y="70971"/>
                      <a:pt x="367972" y="98742"/>
                    </a:cubicBezTo>
                    <a:cubicBezTo>
                      <a:pt x="361800" y="126514"/>
                      <a:pt x="355628" y="237599"/>
                      <a:pt x="355628" y="237599"/>
                    </a:cubicBezTo>
                    <a:lnTo>
                      <a:pt x="327857" y="237599"/>
                    </a:lnTo>
                    <a:lnTo>
                      <a:pt x="312429" y="126514"/>
                    </a:lnTo>
                    <a:cubicBezTo>
                      <a:pt x="312429" y="126514"/>
                      <a:pt x="189000" y="256114"/>
                      <a:pt x="167400" y="259200"/>
                    </a:cubicBezTo>
                    <a:cubicBezTo>
                      <a:pt x="145800" y="265372"/>
                      <a:pt x="19286" y="265372"/>
                      <a:pt x="6943" y="262286"/>
                    </a:cubicBezTo>
                    <a:cubicBezTo>
                      <a:pt x="-2314" y="262286"/>
                      <a:pt x="-2314" y="222171"/>
                      <a:pt x="6943" y="216000"/>
                    </a:cubicBezTo>
                    <a:cubicBezTo>
                      <a:pt x="87171" y="172800"/>
                      <a:pt x="229114" y="0"/>
                      <a:pt x="229114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8" name="任意多边形: 形状 187">
                <a:extLst>
                  <a:ext uri="{FF2B5EF4-FFF2-40B4-BE49-F238E27FC236}">
                    <a16:creationId xmlns:a16="http://schemas.microsoft.com/office/drawing/2014/main" id="{14CC44B3-DFD8-4F53-9F77-857C271500FA}"/>
                  </a:ext>
                </a:extLst>
              </p:cNvPr>
              <p:cNvSpPr/>
              <p:nvPr/>
            </p:nvSpPr>
            <p:spPr>
              <a:xfrm>
                <a:off x="7617543" y="12034467"/>
                <a:ext cx="239869" cy="297992"/>
              </a:xfrm>
              <a:custGeom>
                <a:avLst/>
                <a:gdLst>
                  <a:gd name="connsiteX0" fmla="*/ 125666 w 239869"/>
                  <a:gd name="connsiteY0" fmla="*/ 0 h 297992"/>
                  <a:gd name="connsiteX1" fmla="*/ 122580 w 239869"/>
                  <a:gd name="connsiteY1" fmla="*/ 129600 h 297992"/>
                  <a:gd name="connsiteX2" fmla="*/ 2237 w 239869"/>
                  <a:gd name="connsiteY2" fmla="*/ 296229 h 297992"/>
                  <a:gd name="connsiteX3" fmla="*/ 239837 w 239869"/>
                  <a:gd name="connsiteY3" fmla="*/ 151200 h 297992"/>
                  <a:gd name="connsiteX4" fmla="*/ 239837 w 239869"/>
                  <a:gd name="connsiteY4" fmla="*/ 0 h 297992"/>
                  <a:gd name="connsiteX5" fmla="*/ 125666 w 239869"/>
                  <a:gd name="connsiteY5" fmla="*/ 0 h 297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9869" h="297992">
                    <a:moveTo>
                      <a:pt x="125666" y="0"/>
                    </a:moveTo>
                    <a:lnTo>
                      <a:pt x="122580" y="129600"/>
                    </a:lnTo>
                    <a:cubicBezTo>
                      <a:pt x="122580" y="129600"/>
                      <a:pt x="-19363" y="280800"/>
                      <a:pt x="2237" y="296229"/>
                    </a:cubicBezTo>
                    <a:cubicBezTo>
                      <a:pt x="23837" y="314743"/>
                      <a:pt x="242922" y="182057"/>
                      <a:pt x="239837" y="151200"/>
                    </a:cubicBezTo>
                    <a:cubicBezTo>
                      <a:pt x="239837" y="101829"/>
                      <a:pt x="239837" y="0"/>
                      <a:pt x="239837" y="0"/>
                    </a:cubicBezTo>
                    <a:lnTo>
                      <a:pt x="125666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10FC6874-31F7-4C95-ACEA-AEDFB0D99572}"/>
                </a:ext>
              </a:extLst>
            </p:cNvPr>
            <p:cNvSpPr/>
            <p:nvPr/>
          </p:nvSpPr>
          <p:spPr>
            <a:xfrm>
              <a:off x="6984122" y="9572068"/>
              <a:ext cx="1056059" cy="2551885"/>
            </a:xfrm>
            <a:custGeom>
              <a:avLst/>
              <a:gdLst>
                <a:gd name="connsiteX0" fmla="*/ 922628 w 1056059"/>
                <a:gd name="connsiteY0" fmla="*/ 0 h 2551885"/>
                <a:gd name="connsiteX1" fmla="*/ 246857 w 1056059"/>
                <a:gd name="connsiteY1" fmla="*/ 0 h 2551885"/>
                <a:gd name="connsiteX2" fmla="*/ 126514 w 1056059"/>
                <a:gd name="connsiteY2" fmla="*/ 465943 h 2551885"/>
                <a:gd name="connsiteX3" fmla="*/ 0 w 1056059"/>
                <a:gd name="connsiteY3" fmla="*/ 2514857 h 2551885"/>
                <a:gd name="connsiteX4" fmla="*/ 175886 w 1056059"/>
                <a:gd name="connsiteY4" fmla="*/ 2551885 h 2551885"/>
                <a:gd name="connsiteX5" fmla="*/ 549257 w 1056059"/>
                <a:gd name="connsiteY5" fmla="*/ 873257 h 2551885"/>
                <a:gd name="connsiteX6" fmla="*/ 700457 w 1056059"/>
                <a:gd name="connsiteY6" fmla="*/ 2542629 h 2551885"/>
                <a:gd name="connsiteX7" fmla="*/ 897943 w 1056059"/>
                <a:gd name="connsiteY7" fmla="*/ 2542629 h 2551885"/>
                <a:gd name="connsiteX8" fmla="*/ 1055314 w 1056059"/>
                <a:gd name="connsiteY8" fmla="*/ 422742 h 2551885"/>
                <a:gd name="connsiteX9" fmla="*/ 922628 w 1056059"/>
                <a:gd name="connsiteY9" fmla="*/ 0 h 2551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56059" h="2551885">
                  <a:moveTo>
                    <a:pt x="922628" y="0"/>
                  </a:moveTo>
                  <a:lnTo>
                    <a:pt x="246857" y="0"/>
                  </a:lnTo>
                  <a:cubicBezTo>
                    <a:pt x="246857" y="0"/>
                    <a:pt x="148114" y="308571"/>
                    <a:pt x="126514" y="465943"/>
                  </a:cubicBezTo>
                  <a:cubicBezTo>
                    <a:pt x="108000" y="620229"/>
                    <a:pt x="0" y="2514857"/>
                    <a:pt x="0" y="2514857"/>
                  </a:cubicBezTo>
                  <a:lnTo>
                    <a:pt x="175886" y="2551885"/>
                  </a:lnTo>
                  <a:lnTo>
                    <a:pt x="549257" y="873257"/>
                  </a:lnTo>
                  <a:lnTo>
                    <a:pt x="700457" y="2542629"/>
                  </a:lnTo>
                  <a:lnTo>
                    <a:pt x="897943" y="2542629"/>
                  </a:lnTo>
                  <a:cubicBezTo>
                    <a:pt x="897943" y="2542629"/>
                    <a:pt x="1046057" y="543086"/>
                    <a:pt x="1055314" y="422742"/>
                  </a:cubicBezTo>
                  <a:cubicBezTo>
                    <a:pt x="1067657" y="299314"/>
                    <a:pt x="922628" y="0"/>
                    <a:pt x="922628" y="0"/>
                  </a:cubicBezTo>
                  <a:close/>
                </a:path>
              </a:pathLst>
            </a:custGeom>
            <a:solidFill>
              <a:srgbClr val="7F95BC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47980B46-1263-4C30-ADBE-ECCFB0BC2861}"/>
                </a:ext>
              </a:extLst>
            </p:cNvPr>
            <p:cNvSpPr/>
            <p:nvPr/>
          </p:nvSpPr>
          <p:spPr>
            <a:xfrm>
              <a:off x="7209380" y="9618353"/>
              <a:ext cx="728228" cy="12342"/>
            </a:xfrm>
            <a:custGeom>
              <a:avLst/>
              <a:gdLst>
                <a:gd name="connsiteX0" fmla="*/ 722057 w 728228"/>
                <a:gd name="connsiteY0" fmla="*/ 12343 h 12342"/>
                <a:gd name="connsiteX1" fmla="*/ 6171 w 728228"/>
                <a:gd name="connsiteY1" fmla="*/ 12343 h 12342"/>
                <a:gd name="connsiteX2" fmla="*/ 0 w 728228"/>
                <a:gd name="connsiteY2" fmla="*/ 6171 h 12342"/>
                <a:gd name="connsiteX3" fmla="*/ 6171 w 728228"/>
                <a:gd name="connsiteY3" fmla="*/ 0 h 12342"/>
                <a:gd name="connsiteX4" fmla="*/ 722057 w 728228"/>
                <a:gd name="connsiteY4" fmla="*/ 0 h 12342"/>
                <a:gd name="connsiteX5" fmla="*/ 728228 w 728228"/>
                <a:gd name="connsiteY5" fmla="*/ 6171 h 12342"/>
                <a:gd name="connsiteX6" fmla="*/ 722057 w 728228"/>
                <a:gd name="connsiteY6" fmla="*/ 12343 h 1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8228" h="12342">
                  <a:moveTo>
                    <a:pt x="722057" y="12343"/>
                  </a:moveTo>
                  <a:lnTo>
                    <a:pt x="6171" y="12343"/>
                  </a:lnTo>
                  <a:cubicBezTo>
                    <a:pt x="3085" y="12343"/>
                    <a:pt x="0" y="9257"/>
                    <a:pt x="0" y="6171"/>
                  </a:cubicBezTo>
                  <a:cubicBezTo>
                    <a:pt x="0" y="3085"/>
                    <a:pt x="3085" y="0"/>
                    <a:pt x="6171" y="0"/>
                  </a:cubicBezTo>
                  <a:lnTo>
                    <a:pt x="722057" y="0"/>
                  </a:lnTo>
                  <a:cubicBezTo>
                    <a:pt x="725143" y="0"/>
                    <a:pt x="728228" y="3085"/>
                    <a:pt x="728228" y="6171"/>
                  </a:cubicBezTo>
                  <a:cubicBezTo>
                    <a:pt x="728228" y="9257"/>
                    <a:pt x="725143" y="12343"/>
                    <a:pt x="722057" y="12343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9D9E07DD-0D3D-4695-9BC1-7EC6F39D4D96}"/>
                </a:ext>
              </a:extLst>
            </p:cNvPr>
            <p:cNvSpPr/>
            <p:nvPr/>
          </p:nvSpPr>
          <p:spPr>
            <a:xfrm>
              <a:off x="7530294" y="9963953"/>
              <a:ext cx="163542" cy="2156915"/>
            </a:xfrm>
            <a:custGeom>
              <a:avLst/>
              <a:gdLst>
                <a:gd name="connsiteX0" fmla="*/ 157372 w 163542"/>
                <a:gd name="connsiteY0" fmla="*/ 2156915 h 2156915"/>
                <a:gd name="connsiteX1" fmla="*/ 151200 w 163542"/>
                <a:gd name="connsiteY1" fmla="*/ 2150743 h 2156915"/>
                <a:gd name="connsiteX2" fmla="*/ 0 w 163542"/>
                <a:gd name="connsiteY2" fmla="*/ 481372 h 2156915"/>
                <a:gd name="connsiteX3" fmla="*/ 0 w 163542"/>
                <a:gd name="connsiteY3" fmla="*/ 6172 h 2156915"/>
                <a:gd name="connsiteX4" fmla="*/ 6171 w 163542"/>
                <a:gd name="connsiteY4" fmla="*/ 0 h 2156915"/>
                <a:gd name="connsiteX5" fmla="*/ 12343 w 163542"/>
                <a:gd name="connsiteY5" fmla="*/ 6172 h 2156915"/>
                <a:gd name="connsiteX6" fmla="*/ 12343 w 163542"/>
                <a:gd name="connsiteY6" fmla="*/ 481372 h 2156915"/>
                <a:gd name="connsiteX7" fmla="*/ 163543 w 163542"/>
                <a:gd name="connsiteY7" fmla="*/ 2150743 h 2156915"/>
                <a:gd name="connsiteX8" fmla="*/ 157372 w 163542"/>
                <a:gd name="connsiteY8" fmla="*/ 2156915 h 2156915"/>
                <a:gd name="connsiteX9" fmla="*/ 157372 w 163542"/>
                <a:gd name="connsiteY9" fmla="*/ 2156915 h 2156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542" h="2156915">
                  <a:moveTo>
                    <a:pt x="157372" y="2156915"/>
                  </a:moveTo>
                  <a:cubicBezTo>
                    <a:pt x="154286" y="2156915"/>
                    <a:pt x="151200" y="2153829"/>
                    <a:pt x="151200" y="2150743"/>
                  </a:cubicBezTo>
                  <a:lnTo>
                    <a:pt x="0" y="481372"/>
                  </a:lnTo>
                  <a:lnTo>
                    <a:pt x="0" y="6172"/>
                  </a:lnTo>
                  <a:cubicBezTo>
                    <a:pt x="0" y="3086"/>
                    <a:pt x="3086" y="0"/>
                    <a:pt x="6171" y="0"/>
                  </a:cubicBezTo>
                  <a:cubicBezTo>
                    <a:pt x="9257" y="0"/>
                    <a:pt x="12343" y="3086"/>
                    <a:pt x="12343" y="6172"/>
                  </a:cubicBezTo>
                  <a:lnTo>
                    <a:pt x="12343" y="481372"/>
                  </a:lnTo>
                  <a:lnTo>
                    <a:pt x="163543" y="2150743"/>
                  </a:lnTo>
                  <a:cubicBezTo>
                    <a:pt x="163543" y="2153829"/>
                    <a:pt x="160457" y="2156915"/>
                    <a:pt x="157372" y="2156915"/>
                  </a:cubicBezTo>
                  <a:cubicBezTo>
                    <a:pt x="157372" y="2156915"/>
                    <a:pt x="157372" y="2156915"/>
                    <a:pt x="157372" y="2156915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38F12B55-3535-47D8-9307-13BCBE422034}"/>
                </a:ext>
              </a:extLst>
            </p:cNvPr>
            <p:cNvSpPr/>
            <p:nvPr/>
          </p:nvSpPr>
          <p:spPr>
            <a:xfrm>
              <a:off x="7139529" y="8607892"/>
              <a:ext cx="830520" cy="998209"/>
            </a:xfrm>
            <a:custGeom>
              <a:avLst/>
              <a:gdLst>
                <a:gd name="connsiteX0" fmla="*/ 785736 w 830520"/>
                <a:gd name="connsiteY0" fmla="*/ 396404 h 998209"/>
                <a:gd name="connsiteX1" fmla="*/ 770308 w 830520"/>
                <a:gd name="connsiteY1" fmla="*/ 69319 h 998209"/>
                <a:gd name="connsiteX2" fmla="*/ 396936 w 830520"/>
                <a:gd name="connsiteY2" fmla="*/ 4519 h 998209"/>
                <a:gd name="connsiteX3" fmla="*/ 91450 w 830520"/>
                <a:gd name="connsiteY3" fmla="*/ 106347 h 998209"/>
                <a:gd name="connsiteX4" fmla="*/ 51336 w 830520"/>
                <a:gd name="connsiteY4" fmla="*/ 661776 h 998209"/>
                <a:gd name="connsiteX5" fmla="*/ 94536 w 830520"/>
                <a:gd name="connsiteY5" fmla="*/ 991947 h 998209"/>
                <a:gd name="connsiteX6" fmla="*/ 779565 w 830520"/>
                <a:gd name="connsiteY6" fmla="*/ 976519 h 998209"/>
                <a:gd name="connsiteX7" fmla="*/ 785736 w 830520"/>
                <a:gd name="connsiteY7" fmla="*/ 396404 h 998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0520" h="998209">
                  <a:moveTo>
                    <a:pt x="785736" y="396404"/>
                  </a:moveTo>
                  <a:cubicBezTo>
                    <a:pt x="794993" y="365547"/>
                    <a:pt x="890650" y="134119"/>
                    <a:pt x="770308" y="69319"/>
                  </a:cubicBezTo>
                  <a:cubicBezTo>
                    <a:pt x="665394" y="13776"/>
                    <a:pt x="517279" y="-10910"/>
                    <a:pt x="396936" y="4519"/>
                  </a:cubicBezTo>
                  <a:cubicBezTo>
                    <a:pt x="264251" y="19947"/>
                    <a:pt x="131565" y="41547"/>
                    <a:pt x="91450" y="106347"/>
                  </a:cubicBezTo>
                  <a:cubicBezTo>
                    <a:pt x="-22721" y="294576"/>
                    <a:pt x="-22721" y="461204"/>
                    <a:pt x="51336" y="661776"/>
                  </a:cubicBezTo>
                  <a:cubicBezTo>
                    <a:pt x="72936" y="720404"/>
                    <a:pt x="79108" y="856176"/>
                    <a:pt x="94536" y="991947"/>
                  </a:cubicBezTo>
                  <a:cubicBezTo>
                    <a:pt x="94536" y="991947"/>
                    <a:pt x="381507" y="1013547"/>
                    <a:pt x="779565" y="976519"/>
                  </a:cubicBezTo>
                  <a:cubicBezTo>
                    <a:pt x="748708" y="754347"/>
                    <a:pt x="776479" y="418004"/>
                    <a:pt x="785736" y="396404"/>
                  </a:cubicBezTo>
                  <a:close/>
                </a:path>
              </a:pathLst>
            </a:custGeom>
            <a:solidFill>
              <a:srgbClr val="F6EBE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9A0C75B1-C7EA-4BF0-9301-42274297146D}"/>
                </a:ext>
              </a:extLst>
            </p:cNvPr>
            <p:cNvSpPr/>
            <p:nvPr/>
          </p:nvSpPr>
          <p:spPr>
            <a:xfrm>
              <a:off x="7300488" y="7923653"/>
              <a:ext cx="328885" cy="606113"/>
            </a:xfrm>
            <a:custGeom>
              <a:avLst/>
              <a:gdLst>
                <a:gd name="connsiteX0" fmla="*/ 239063 w 328885"/>
                <a:gd name="connsiteY0" fmla="*/ 306129 h 606113"/>
                <a:gd name="connsiteX1" fmla="*/ 288435 w 328885"/>
                <a:gd name="connsiteY1" fmla="*/ 161100 h 606113"/>
                <a:gd name="connsiteX2" fmla="*/ 328549 w 328885"/>
                <a:gd name="connsiteY2" fmla="*/ 9900 h 606113"/>
                <a:gd name="connsiteX3" fmla="*/ 10720 w 328885"/>
                <a:gd name="connsiteY3" fmla="*/ 185786 h 606113"/>
                <a:gd name="connsiteX4" fmla="*/ 189692 w 328885"/>
                <a:gd name="connsiteY4" fmla="*/ 525215 h 606113"/>
                <a:gd name="connsiteX5" fmla="*/ 288435 w 328885"/>
                <a:gd name="connsiteY5" fmla="*/ 577672 h 606113"/>
                <a:gd name="connsiteX6" fmla="*/ 239063 w 328885"/>
                <a:gd name="connsiteY6" fmla="*/ 306129 h 606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8885" h="606113">
                  <a:moveTo>
                    <a:pt x="239063" y="306129"/>
                  </a:moveTo>
                  <a:cubicBezTo>
                    <a:pt x="248320" y="253672"/>
                    <a:pt x="263749" y="207386"/>
                    <a:pt x="288435" y="161100"/>
                  </a:cubicBezTo>
                  <a:cubicBezTo>
                    <a:pt x="313120" y="111729"/>
                    <a:pt x="331635" y="9900"/>
                    <a:pt x="328549" y="9900"/>
                  </a:cubicBezTo>
                  <a:cubicBezTo>
                    <a:pt x="214377" y="-30214"/>
                    <a:pt x="44663" y="56186"/>
                    <a:pt x="10720" y="185786"/>
                  </a:cubicBezTo>
                  <a:cubicBezTo>
                    <a:pt x="-4708" y="250586"/>
                    <a:pt x="-35565" y="441900"/>
                    <a:pt x="189692" y="525215"/>
                  </a:cubicBezTo>
                  <a:cubicBezTo>
                    <a:pt x="288435" y="608529"/>
                    <a:pt x="276092" y="630129"/>
                    <a:pt x="288435" y="577672"/>
                  </a:cubicBezTo>
                  <a:cubicBezTo>
                    <a:pt x="294606" y="531386"/>
                    <a:pt x="229806" y="358586"/>
                    <a:pt x="239063" y="306129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2341DE47-2FD7-47F0-9A81-290A0F9C2AA2}"/>
                </a:ext>
              </a:extLst>
            </p:cNvPr>
            <p:cNvSpPr/>
            <p:nvPr/>
          </p:nvSpPr>
          <p:spPr>
            <a:xfrm>
              <a:off x="7367947" y="7963510"/>
              <a:ext cx="427717" cy="575167"/>
            </a:xfrm>
            <a:custGeom>
              <a:avLst/>
              <a:gdLst>
                <a:gd name="connsiteX0" fmla="*/ 8061 w 427717"/>
                <a:gd name="connsiteY0" fmla="*/ 186043 h 575167"/>
                <a:gd name="connsiteX1" fmla="*/ 20404 w 427717"/>
                <a:gd name="connsiteY1" fmla="*/ 445243 h 575167"/>
                <a:gd name="connsiteX2" fmla="*/ 171604 w 427717"/>
                <a:gd name="connsiteY2" fmla="*/ 574844 h 575167"/>
                <a:gd name="connsiteX3" fmla="*/ 390690 w 427717"/>
                <a:gd name="connsiteY3" fmla="*/ 429815 h 575167"/>
                <a:gd name="connsiteX4" fmla="*/ 427718 w 427717"/>
                <a:gd name="connsiteY4" fmla="*/ 201472 h 575167"/>
                <a:gd name="connsiteX5" fmla="*/ 211718 w 427717"/>
                <a:gd name="connsiteY5" fmla="*/ 900 h 575167"/>
                <a:gd name="connsiteX6" fmla="*/ 8061 w 427717"/>
                <a:gd name="connsiteY6" fmla="*/ 186043 h 575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717" h="575167">
                  <a:moveTo>
                    <a:pt x="8061" y="186043"/>
                  </a:moveTo>
                  <a:cubicBezTo>
                    <a:pt x="8061" y="186043"/>
                    <a:pt x="-16625" y="377358"/>
                    <a:pt x="20404" y="445243"/>
                  </a:cubicBezTo>
                  <a:cubicBezTo>
                    <a:pt x="57432" y="513129"/>
                    <a:pt x="119147" y="571758"/>
                    <a:pt x="171604" y="574844"/>
                  </a:cubicBezTo>
                  <a:cubicBezTo>
                    <a:pt x="239489" y="581015"/>
                    <a:pt x="353661" y="497701"/>
                    <a:pt x="390690" y="429815"/>
                  </a:cubicBezTo>
                  <a:cubicBezTo>
                    <a:pt x="427718" y="361929"/>
                    <a:pt x="427718" y="253929"/>
                    <a:pt x="427718" y="201472"/>
                  </a:cubicBezTo>
                  <a:cubicBezTo>
                    <a:pt x="424632" y="105815"/>
                    <a:pt x="396861" y="25586"/>
                    <a:pt x="211718" y="900"/>
                  </a:cubicBezTo>
                  <a:cubicBezTo>
                    <a:pt x="125318" y="-11442"/>
                    <a:pt x="29661" y="105815"/>
                    <a:pt x="8061" y="186043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E6F1533B-C0E6-44B5-8B08-F0D1B3852391}"/>
                </a:ext>
              </a:extLst>
            </p:cNvPr>
            <p:cNvSpPr/>
            <p:nvPr/>
          </p:nvSpPr>
          <p:spPr>
            <a:xfrm>
              <a:off x="7505608" y="8234675"/>
              <a:ext cx="55542" cy="133964"/>
            </a:xfrm>
            <a:custGeom>
              <a:avLst/>
              <a:gdLst>
                <a:gd name="connsiteX0" fmla="*/ 30857 w 55542"/>
                <a:gd name="connsiteY0" fmla="*/ 133964 h 133964"/>
                <a:gd name="connsiteX1" fmla="*/ 6172 w 55542"/>
                <a:gd name="connsiteY1" fmla="*/ 127792 h 133964"/>
                <a:gd name="connsiteX2" fmla="*/ 0 w 55542"/>
                <a:gd name="connsiteY2" fmla="*/ 115450 h 133964"/>
                <a:gd name="connsiteX3" fmla="*/ 27772 w 55542"/>
                <a:gd name="connsiteY3" fmla="*/ 4364 h 133964"/>
                <a:gd name="connsiteX4" fmla="*/ 33943 w 55542"/>
                <a:gd name="connsiteY4" fmla="*/ 1278 h 133964"/>
                <a:gd name="connsiteX5" fmla="*/ 37029 w 55542"/>
                <a:gd name="connsiteY5" fmla="*/ 7450 h 133964"/>
                <a:gd name="connsiteX6" fmla="*/ 9257 w 55542"/>
                <a:gd name="connsiteY6" fmla="*/ 115450 h 133964"/>
                <a:gd name="connsiteX7" fmla="*/ 9257 w 55542"/>
                <a:gd name="connsiteY7" fmla="*/ 118535 h 133964"/>
                <a:gd name="connsiteX8" fmla="*/ 49372 w 55542"/>
                <a:gd name="connsiteY8" fmla="*/ 118535 h 133964"/>
                <a:gd name="connsiteX9" fmla="*/ 55543 w 55542"/>
                <a:gd name="connsiteY9" fmla="*/ 124707 h 133964"/>
                <a:gd name="connsiteX10" fmla="*/ 49372 w 55542"/>
                <a:gd name="connsiteY10" fmla="*/ 130878 h 133964"/>
                <a:gd name="connsiteX11" fmla="*/ 30857 w 55542"/>
                <a:gd name="connsiteY11" fmla="*/ 133964 h 13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542" h="133964">
                  <a:moveTo>
                    <a:pt x="30857" y="133964"/>
                  </a:moveTo>
                  <a:cubicBezTo>
                    <a:pt x="21600" y="133964"/>
                    <a:pt x="12343" y="133964"/>
                    <a:pt x="6172" y="127792"/>
                  </a:cubicBezTo>
                  <a:cubicBezTo>
                    <a:pt x="3086" y="124707"/>
                    <a:pt x="0" y="121621"/>
                    <a:pt x="0" y="115450"/>
                  </a:cubicBezTo>
                  <a:cubicBezTo>
                    <a:pt x="0" y="93850"/>
                    <a:pt x="27772" y="7450"/>
                    <a:pt x="27772" y="4364"/>
                  </a:cubicBezTo>
                  <a:cubicBezTo>
                    <a:pt x="27772" y="1278"/>
                    <a:pt x="30857" y="-1808"/>
                    <a:pt x="33943" y="1278"/>
                  </a:cubicBezTo>
                  <a:cubicBezTo>
                    <a:pt x="37029" y="1278"/>
                    <a:pt x="40114" y="4364"/>
                    <a:pt x="37029" y="7450"/>
                  </a:cubicBezTo>
                  <a:cubicBezTo>
                    <a:pt x="30857" y="32135"/>
                    <a:pt x="9257" y="96935"/>
                    <a:pt x="9257" y="115450"/>
                  </a:cubicBezTo>
                  <a:cubicBezTo>
                    <a:pt x="9257" y="115450"/>
                    <a:pt x="9257" y="118535"/>
                    <a:pt x="9257" y="118535"/>
                  </a:cubicBezTo>
                  <a:cubicBezTo>
                    <a:pt x="15429" y="124707"/>
                    <a:pt x="37029" y="121621"/>
                    <a:pt x="49372" y="118535"/>
                  </a:cubicBezTo>
                  <a:cubicBezTo>
                    <a:pt x="52458" y="118535"/>
                    <a:pt x="55543" y="118535"/>
                    <a:pt x="55543" y="124707"/>
                  </a:cubicBezTo>
                  <a:cubicBezTo>
                    <a:pt x="55543" y="127792"/>
                    <a:pt x="55543" y="130878"/>
                    <a:pt x="49372" y="130878"/>
                  </a:cubicBezTo>
                  <a:cubicBezTo>
                    <a:pt x="52458" y="130878"/>
                    <a:pt x="43200" y="133964"/>
                    <a:pt x="30857" y="133964"/>
                  </a:cubicBezTo>
                  <a:close/>
                </a:path>
              </a:pathLst>
            </a:custGeom>
            <a:solidFill>
              <a:srgbClr val="E58777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02E647B1-6565-48D7-A412-61401C54953E}"/>
                </a:ext>
              </a:extLst>
            </p:cNvPr>
            <p:cNvSpPr/>
            <p:nvPr/>
          </p:nvSpPr>
          <p:spPr>
            <a:xfrm>
              <a:off x="7487094" y="8418010"/>
              <a:ext cx="108000" cy="55542"/>
            </a:xfrm>
            <a:custGeom>
              <a:avLst/>
              <a:gdLst>
                <a:gd name="connsiteX0" fmla="*/ 108000 w 108000"/>
                <a:gd name="connsiteY0" fmla="*/ 0 h 55542"/>
                <a:gd name="connsiteX1" fmla="*/ 0 w 108000"/>
                <a:gd name="connsiteY1" fmla="*/ 0 h 55542"/>
                <a:gd name="connsiteX2" fmla="*/ 52457 w 108000"/>
                <a:gd name="connsiteY2" fmla="*/ 55543 h 55542"/>
                <a:gd name="connsiteX3" fmla="*/ 108000 w 108000"/>
                <a:gd name="connsiteY3" fmla="*/ 0 h 5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000" h="55542">
                  <a:moveTo>
                    <a:pt x="108000" y="0"/>
                  </a:moveTo>
                  <a:cubicBezTo>
                    <a:pt x="52457" y="24686"/>
                    <a:pt x="0" y="0"/>
                    <a:pt x="0" y="0"/>
                  </a:cubicBezTo>
                  <a:cubicBezTo>
                    <a:pt x="0" y="0"/>
                    <a:pt x="15429" y="55543"/>
                    <a:pt x="52457" y="55543"/>
                  </a:cubicBezTo>
                  <a:cubicBezTo>
                    <a:pt x="95657" y="55543"/>
                    <a:pt x="108000" y="0"/>
                    <a:pt x="108000" y="0"/>
                  </a:cubicBezTo>
                  <a:close/>
                </a:path>
              </a:pathLst>
            </a:custGeom>
            <a:solidFill>
              <a:srgbClr val="FFFFFF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0804AC2B-7837-45EA-90EC-8D18EF1F4109}"/>
                </a:ext>
              </a:extLst>
            </p:cNvPr>
            <p:cNvSpPr/>
            <p:nvPr/>
          </p:nvSpPr>
          <p:spPr>
            <a:xfrm>
              <a:off x="7433850" y="8207395"/>
              <a:ext cx="41505" cy="41505"/>
            </a:xfrm>
            <a:custGeom>
              <a:avLst/>
              <a:gdLst>
                <a:gd name="connsiteX0" fmla="*/ 40900 w 41505"/>
                <a:gd name="connsiteY0" fmla="*/ 25472 h 41505"/>
                <a:gd name="connsiteX1" fmla="*/ 16215 w 41505"/>
                <a:gd name="connsiteY1" fmla="*/ 40901 h 41505"/>
                <a:gd name="connsiteX2" fmla="*/ 786 w 41505"/>
                <a:gd name="connsiteY2" fmla="*/ 16215 h 41505"/>
                <a:gd name="connsiteX3" fmla="*/ 25472 w 41505"/>
                <a:gd name="connsiteY3" fmla="*/ 786 h 41505"/>
                <a:gd name="connsiteX4" fmla="*/ 40900 w 41505"/>
                <a:gd name="connsiteY4" fmla="*/ 25472 h 4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5" h="41505">
                  <a:moveTo>
                    <a:pt x="40900" y="25472"/>
                  </a:moveTo>
                  <a:cubicBezTo>
                    <a:pt x="37815" y="34729"/>
                    <a:pt x="28558" y="43987"/>
                    <a:pt x="16215" y="40901"/>
                  </a:cubicBezTo>
                  <a:cubicBezTo>
                    <a:pt x="3872" y="37815"/>
                    <a:pt x="-2299" y="28558"/>
                    <a:pt x="786" y="16215"/>
                  </a:cubicBezTo>
                  <a:cubicBezTo>
                    <a:pt x="3872" y="3872"/>
                    <a:pt x="13129" y="-2299"/>
                    <a:pt x="25472" y="786"/>
                  </a:cubicBezTo>
                  <a:cubicBezTo>
                    <a:pt x="34729" y="3872"/>
                    <a:pt x="43986" y="13129"/>
                    <a:pt x="40900" y="25472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6C12314D-00E7-48A9-B1A6-833DF4EDD99A}"/>
                </a:ext>
              </a:extLst>
            </p:cNvPr>
            <p:cNvSpPr/>
            <p:nvPr/>
          </p:nvSpPr>
          <p:spPr>
            <a:xfrm>
              <a:off x="7625165" y="8213567"/>
              <a:ext cx="41687" cy="41686"/>
            </a:xfrm>
            <a:custGeom>
              <a:avLst/>
              <a:gdLst>
                <a:gd name="connsiteX0" fmla="*/ 40901 w 41687"/>
                <a:gd name="connsiteY0" fmla="*/ 25472 h 41686"/>
                <a:gd name="connsiteX1" fmla="*/ 16215 w 41687"/>
                <a:gd name="connsiteY1" fmla="*/ 40900 h 41686"/>
                <a:gd name="connsiteX2" fmla="*/ 786 w 41687"/>
                <a:gd name="connsiteY2" fmla="*/ 16215 h 41686"/>
                <a:gd name="connsiteX3" fmla="*/ 25472 w 41687"/>
                <a:gd name="connsiteY3" fmla="*/ 786 h 41686"/>
                <a:gd name="connsiteX4" fmla="*/ 40901 w 41687"/>
                <a:gd name="connsiteY4" fmla="*/ 25472 h 41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87" h="41686">
                  <a:moveTo>
                    <a:pt x="40901" y="25472"/>
                  </a:moveTo>
                  <a:cubicBezTo>
                    <a:pt x="37815" y="37815"/>
                    <a:pt x="28558" y="43986"/>
                    <a:pt x="16215" y="40900"/>
                  </a:cubicBezTo>
                  <a:cubicBezTo>
                    <a:pt x="3872" y="37815"/>
                    <a:pt x="-2299" y="28558"/>
                    <a:pt x="786" y="16215"/>
                  </a:cubicBezTo>
                  <a:cubicBezTo>
                    <a:pt x="3872" y="3872"/>
                    <a:pt x="13129" y="-2299"/>
                    <a:pt x="25472" y="786"/>
                  </a:cubicBezTo>
                  <a:cubicBezTo>
                    <a:pt x="37815" y="3872"/>
                    <a:pt x="43986" y="13129"/>
                    <a:pt x="40901" y="25472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E0F2EC28-C7D1-4AC8-9FAE-AD46ADF8CB25}"/>
                </a:ext>
              </a:extLst>
            </p:cNvPr>
            <p:cNvSpPr/>
            <p:nvPr/>
          </p:nvSpPr>
          <p:spPr>
            <a:xfrm>
              <a:off x="7407637" y="8157631"/>
              <a:ext cx="93078" cy="35121"/>
            </a:xfrm>
            <a:custGeom>
              <a:avLst/>
              <a:gdLst>
                <a:gd name="connsiteX0" fmla="*/ 8486 w 93078"/>
                <a:gd name="connsiteY0" fmla="*/ 35122 h 35121"/>
                <a:gd name="connsiteX1" fmla="*/ 2314 w 93078"/>
                <a:gd name="connsiteY1" fmla="*/ 32036 h 35121"/>
                <a:gd name="connsiteX2" fmla="*/ 2314 w 93078"/>
                <a:gd name="connsiteY2" fmla="*/ 19693 h 35121"/>
                <a:gd name="connsiteX3" fmla="*/ 88715 w 93078"/>
                <a:gd name="connsiteY3" fmla="*/ 10436 h 35121"/>
                <a:gd name="connsiteX4" fmla="*/ 91800 w 93078"/>
                <a:gd name="connsiteY4" fmla="*/ 19693 h 35121"/>
                <a:gd name="connsiteX5" fmla="*/ 82543 w 93078"/>
                <a:gd name="connsiteY5" fmla="*/ 22779 h 35121"/>
                <a:gd name="connsiteX6" fmla="*/ 14657 w 93078"/>
                <a:gd name="connsiteY6" fmla="*/ 28950 h 35121"/>
                <a:gd name="connsiteX7" fmla="*/ 8486 w 93078"/>
                <a:gd name="connsiteY7" fmla="*/ 35122 h 35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5121">
                  <a:moveTo>
                    <a:pt x="8486" y="35122"/>
                  </a:moveTo>
                  <a:cubicBezTo>
                    <a:pt x="5400" y="35122"/>
                    <a:pt x="5400" y="35122"/>
                    <a:pt x="2314" y="32036"/>
                  </a:cubicBezTo>
                  <a:cubicBezTo>
                    <a:pt x="-771" y="28950"/>
                    <a:pt x="-771" y="22779"/>
                    <a:pt x="2314" y="19693"/>
                  </a:cubicBezTo>
                  <a:cubicBezTo>
                    <a:pt x="30086" y="-11164"/>
                    <a:pt x="70200" y="1179"/>
                    <a:pt x="88715" y="10436"/>
                  </a:cubicBezTo>
                  <a:cubicBezTo>
                    <a:pt x="91800" y="13522"/>
                    <a:pt x="94886" y="16608"/>
                    <a:pt x="91800" y="19693"/>
                  </a:cubicBezTo>
                  <a:cubicBezTo>
                    <a:pt x="88715" y="22779"/>
                    <a:pt x="85629" y="25865"/>
                    <a:pt x="82543" y="22779"/>
                  </a:cubicBezTo>
                  <a:cubicBezTo>
                    <a:pt x="79457" y="22779"/>
                    <a:pt x="39343" y="1179"/>
                    <a:pt x="14657" y="28950"/>
                  </a:cubicBezTo>
                  <a:cubicBezTo>
                    <a:pt x="14657" y="32036"/>
                    <a:pt x="11572" y="35122"/>
                    <a:pt x="8486" y="35122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D34CB280-7FBD-4F7B-92AB-F1B3A0EB4899}"/>
                </a:ext>
              </a:extLst>
            </p:cNvPr>
            <p:cNvSpPr/>
            <p:nvPr/>
          </p:nvSpPr>
          <p:spPr>
            <a:xfrm>
              <a:off x="7596901" y="8156039"/>
              <a:ext cx="93078" cy="36714"/>
            </a:xfrm>
            <a:custGeom>
              <a:avLst/>
              <a:gdLst>
                <a:gd name="connsiteX0" fmla="*/ 87678 w 93078"/>
                <a:gd name="connsiteY0" fmla="*/ 36714 h 36714"/>
                <a:gd name="connsiteX1" fmla="*/ 81507 w 93078"/>
                <a:gd name="connsiteY1" fmla="*/ 33629 h 36714"/>
                <a:gd name="connsiteX2" fmla="*/ 13621 w 93078"/>
                <a:gd name="connsiteY2" fmla="*/ 27458 h 36714"/>
                <a:gd name="connsiteX3" fmla="*/ 1278 w 93078"/>
                <a:gd name="connsiteY3" fmla="*/ 24372 h 36714"/>
                <a:gd name="connsiteX4" fmla="*/ 4364 w 93078"/>
                <a:gd name="connsiteY4" fmla="*/ 12029 h 36714"/>
                <a:gd name="connsiteX5" fmla="*/ 90764 w 93078"/>
                <a:gd name="connsiteY5" fmla="*/ 21286 h 36714"/>
                <a:gd name="connsiteX6" fmla="*/ 90764 w 93078"/>
                <a:gd name="connsiteY6" fmla="*/ 33629 h 36714"/>
                <a:gd name="connsiteX7" fmla="*/ 87678 w 93078"/>
                <a:gd name="connsiteY7" fmla="*/ 36714 h 3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6714">
                  <a:moveTo>
                    <a:pt x="87678" y="36714"/>
                  </a:moveTo>
                  <a:cubicBezTo>
                    <a:pt x="84593" y="36714"/>
                    <a:pt x="84593" y="36714"/>
                    <a:pt x="81507" y="33629"/>
                  </a:cubicBezTo>
                  <a:cubicBezTo>
                    <a:pt x="81507" y="33629"/>
                    <a:pt x="50650" y="2772"/>
                    <a:pt x="13621" y="27458"/>
                  </a:cubicBezTo>
                  <a:cubicBezTo>
                    <a:pt x="10535" y="30543"/>
                    <a:pt x="4364" y="27458"/>
                    <a:pt x="1278" y="24372"/>
                  </a:cubicBezTo>
                  <a:cubicBezTo>
                    <a:pt x="-1807" y="21286"/>
                    <a:pt x="1278" y="15114"/>
                    <a:pt x="4364" y="12029"/>
                  </a:cubicBezTo>
                  <a:cubicBezTo>
                    <a:pt x="41392" y="-12657"/>
                    <a:pt x="78421" y="5857"/>
                    <a:pt x="90764" y="21286"/>
                  </a:cubicBezTo>
                  <a:cubicBezTo>
                    <a:pt x="93849" y="24372"/>
                    <a:pt x="93849" y="30543"/>
                    <a:pt x="90764" y="33629"/>
                  </a:cubicBezTo>
                  <a:cubicBezTo>
                    <a:pt x="93849" y="36714"/>
                    <a:pt x="90764" y="36714"/>
                    <a:pt x="87678" y="36714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B89D651B-29F7-48BE-8D6A-AD2C567D1565}"/>
                </a:ext>
              </a:extLst>
            </p:cNvPr>
            <p:cNvSpPr/>
            <p:nvPr/>
          </p:nvSpPr>
          <p:spPr>
            <a:xfrm>
              <a:off x="7351094" y="7930791"/>
              <a:ext cx="280059" cy="261961"/>
            </a:xfrm>
            <a:custGeom>
              <a:avLst/>
              <a:gdLst>
                <a:gd name="connsiteX0" fmla="*/ 277943 w 280059"/>
                <a:gd name="connsiteY0" fmla="*/ 2762 h 261961"/>
                <a:gd name="connsiteX1" fmla="*/ 240914 w 280059"/>
                <a:gd name="connsiteY1" fmla="*/ 132362 h 261961"/>
                <a:gd name="connsiteX2" fmla="*/ 229 w 280059"/>
                <a:gd name="connsiteY2" fmla="*/ 261962 h 261961"/>
                <a:gd name="connsiteX3" fmla="*/ 277943 w 280059"/>
                <a:gd name="connsiteY3" fmla="*/ 2762 h 261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059" h="261961">
                  <a:moveTo>
                    <a:pt x="277943" y="2762"/>
                  </a:moveTo>
                  <a:cubicBezTo>
                    <a:pt x="277943" y="2762"/>
                    <a:pt x="293371" y="92248"/>
                    <a:pt x="240914" y="132362"/>
                  </a:cubicBezTo>
                  <a:cubicBezTo>
                    <a:pt x="240914" y="132362"/>
                    <a:pt x="28000" y="175562"/>
                    <a:pt x="229" y="261962"/>
                  </a:cubicBezTo>
                  <a:cubicBezTo>
                    <a:pt x="229" y="258876"/>
                    <a:pt x="-18285" y="-31181"/>
                    <a:pt x="277943" y="2762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3228F9C4-C5C0-4D29-BCEC-0049E4B910EA}"/>
                </a:ext>
              </a:extLst>
            </p:cNvPr>
            <p:cNvSpPr/>
            <p:nvPr/>
          </p:nvSpPr>
          <p:spPr>
            <a:xfrm>
              <a:off x="7592008" y="7933553"/>
              <a:ext cx="226972" cy="318329"/>
            </a:xfrm>
            <a:custGeom>
              <a:avLst/>
              <a:gdLst>
                <a:gd name="connsiteX0" fmla="*/ 0 w 226972"/>
                <a:gd name="connsiteY0" fmla="*/ 129600 h 318329"/>
                <a:gd name="connsiteX1" fmla="*/ 141943 w 226972"/>
                <a:gd name="connsiteY1" fmla="*/ 185143 h 318329"/>
                <a:gd name="connsiteX2" fmla="*/ 200571 w 226972"/>
                <a:gd name="connsiteY2" fmla="*/ 305486 h 318329"/>
                <a:gd name="connsiteX3" fmla="*/ 225257 w 226972"/>
                <a:gd name="connsiteY3" fmla="*/ 302400 h 318329"/>
                <a:gd name="connsiteX4" fmla="*/ 33943 w 226972"/>
                <a:gd name="connsiteY4" fmla="*/ 0 h 318329"/>
                <a:gd name="connsiteX5" fmla="*/ 0 w 226972"/>
                <a:gd name="connsiteY5" fmla="*/ 129600 h 318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6972" h="318329">
                  <a:moveTo>
                    <a:pt x="0" y="129600"/>
                  </a:moveTo>
                  <a:cubicBezTo>
                    <a:pt x="0" y="129600"/>
                    <a:pt x="92571" y="178972"/>
                    <a:pt x="141943" y="185143"/>
                  </a:cubicBezTo>
                  <a:cubicBezTo>
                    <a:pt x="194400" y="191314"/>
                    <a:pt x="200571" y="305486"/>
                    <a:pt x="200571" y="305486"/>
                  </a:cubicBezTo>
                  <a:cubicBezTo>
                    <a:pt x="200571" y="305486"/>
                    <a:pt x="222171" y="336343"/>
                    <a:pt x="225257" y="302400"/>
                  </a:cubicBezTo>
                  <a:cubicBezTo>
                    <a:pt x="231429" y="222171"/>
                    <a:pt x="231429" y="21600"/>
                    <a:pt x="33943" y="0"/>
                  </a:cubicBezTo>
                  <a:cubicBezTo>
                    <a:pt x="37028" y="0"/>
                    <a:pt x="24686" y="123429"/>
                    <a:pt x="0" y="129600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D6CE73B8-827B-4EAA-8979-3B9C675FFA99}"/>
                </a:ext>
              </a:extLst>
            </p:cNvPr>
            <p:cNvSpPr/>
            <p:nvPr/>
          </p:nvSpPr>
          <p:spPr>
            <a:xfrm>
              <a:off x="7585837" y="7976753"/>
              <a:ext cx="157371" cy="145028"/>
            </a:xfrm>
            <a:custGeom>
              <a:avLst/>
              <a:gdLst>
                <a:gd name="connsiteX0" fmla="*/ 148114 w 157371"/>
                <a:gd name="connsiteY0" fmla="*/ 145029 h 145028"/>
                <a:gd name="connsiteX1" fmla="*/ 148114 w 157371"/>
                <a:gd name="connsiteY1" fmla="*/ 145029 h 145028"/>
                <a:gd name="connsiteX2" fmla="*/ 49372 w 157371"/>
                <a:gd name="connsiteY2" fmla="*/ 111086 h 145028"/>
                <a:gd name="connsiteX3" fmla="*/ 3086 w 157371"/>
                <a:gd name="connsiteY3" fmla="*/ 86400 h 145028"/>
                <a:gd name="connsiteX4" fmla="*/ 0 w 157371"/>
                <a:gd name="connsiteY4" fmla="*/ 83315 h 145028"/>
                <a:gd name="connsiteX5" fmla="*/ 0 w 157371"/>
                <a:gd name="connsiteY5" fmla="*/ 77143 h 145028"/>
                <a:gd name="connsiteX6" fmla="*/ 27771 w 157371"/>
                <a:gd name="connsiteY6" fmla="*/ 6172 h 145028"/>
                <a:gd name="connsiteX7" fmla="*/ 33943 w 157371"/>
                <a:gd name="connsiteY7" fmla="*/ 0 h 145028"/>
                <a:gd name="connsiteX8" fmla="*/ 33943 w 157371"/>
                <a:gd name="connsiteY8" fmla="*/ 0 h 145028"/>
                <a:gd name="connsiteX9" fmla="*/ 40114 w 157371"/>
                <a:gd name="connsiteY9" fmla="*/ 6172 h 145028"/>
                <a:gd name="connsiteX10" fmla="*/ 15429 w 157371"/>
                <a:gd name="connsiteY10" fmla="*/ 77143 h 145028"/>
                <a:gd name="connsiteX11" fmla="*/ 55543 w 157371"/>
                <a:gd name="connsiteY11" fmla="*/ 98743 h 145028"/>
                <a:gd name="connsiteX12" fmla="*/ 151200 w 157371"/>
                <a:gd name="connsiteY12" fmla="*/ 129600 h 145028"/>
                <a:gd name="connsiteX13" fmla="*/ 157372 w 157371"/>
                <a:gd name="connsiteY13" fmla="*/ 135772 h 145028"/>
                <a:gd name="connsiteX14" fmla="*/ 148114 w 157371"/>
                <a:gd name="connsiteY14" fmla="*/ 145029 h 145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371" h="145028">
                  <a:moveTo>
                    <a:pt x="148114" y="145029"/>
                  </a:moveTo>
                  <a:cubicBezTo>
                    <a:pt x="148114" y="145029"/>
                    <a:pt x="148114" y="145029"/>
                    <a:pt x="148114" y="145029"/>
                  </a:cubicBezTo>
                  <a:cubicBezTo>
                    <a:pt x="111086" y="138857"/>
                    <a:pt x="74057" y="123429"/>
                    <a:pt x="49372" y="111086"/>
                  </a:cubicBezTo>
                  <a:cubicBezTo>
                    <a:pt x="21600" y="98743"/>
                    <a:pt x="3086" y="86400"/>
                    <a:pt x="3086" y="86400"/>
                  </a:cubicBezTo>
                  <a:cubicBezTo>
                    <a:pt x="3086" y="86400"/>
                    <a:pt x="0" y="83315"/>
                    <a:pt x="0" y="83315"/>
                  </a:cubicBezTo>
                  <a:cubicBezTo>
                    <a:pt x="0" y="80229"/>
                    <a:pt x="0" y="80229"/>
                    <a:pt x="0" y="77143"/>
                  </a:cubicBezTo>
                  <a:cubicBezTo>
                    <a:pt x="6171" y="70972"/>
                    <a:pt x="24686" y="30857"/>
                    <a:pt x="27771" y="6172"/>
                  </a:cubicBezTo>
                  <a:cubicBezTo>
                    <a:pt x="27771" y="3086"/>
                    <a:pt x="30857" y="0"/>
                    <a:pt x="33943" y="0"/>
                  </a:cubicBezTo>
                  <a:cubicBezTo>
                    <a:pt x="33943" y="0"/>
                    <a:pt x="33943" y="0"/>
                    <a:pt x="33943" y="0"/>
                  </a:cubicBezTo>
                  <a:cubicBezTo>
                    <a:pt x="37028" y="0"/>
                    <a:pt x="40114" y="3086"/>
                    <a:pt x="40114" y="6172"/>
                  </a:cubicBezTo>
                  <a:cubicBezTo>
                    <a:pt x="40114" y="30857"/>
                    <a:pt x="24686" y="64800"/>
                    <a:pt x="15429" y="77143"/>
                  </a:cubicBezTo>
                  <a:cubicBezTo>
                    <a:pt x="21600" y="80229"/>
                    <a:pt x="37028" y="89486"/>
                    <a:pt x="55543" y="98743"/>
                  </a:cubicBezTo>
                  <a:cubicBezTo>
                    <a:pt x="80229" y="111086"/>
                    <a:pt x="117257" y="126514"/>
                    <a:pt x="151200" y="129600"/>
                  </a:cubicBezTo>
                  <a:cubicBezTo>
                    <a:pt x="154286" y="129600"/>
                    <a:pt x="157372" y="132686"/>
                    <a:pt x="157372" y="135772"/>
                  </a:cubicBezTo>
                  <a:cubicBezTo>
                    <a:pt x="154286" y="141943"/>
                    <a:pt x="151200" y="145029"/>
                    <a:pt x="148114" y="145029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33568F1A-F96F-4470-B4BE-C285B910C6D8}"/>
                </a:ext>
              </a:extLst>
            </p:cNvPr>
            <p:cNvSpPr/>
            <p:nvPr/>
          </p:nvSpPr>
          <p:spPr>
            <a:xfrm>
              <a:off x="7422294" y="8427170"/>
              <a:ext cx="311657" cy="227126"/>
            </a:xfrm>
            <a:custGeom>
              <a:avLst/>
              <a:gdLst>
                <a:gd name="connsiteX0" fmla="*/ 55543 w 311657"/>
                <a:gd name="connsiteY0" fmla="*/ 61812 h 227126"/>
                <a:gd name="connsiteX1" fmla="*/ 0 w 311657"/>
                <a:gd name="connsiteY1" fmla="*/ 203755 h 227126"/>
                <a:gd name="connsiteX2" fmla="*/ 311657 w 311657"/>
                <a:gd name="connsiteY2" fmla="*/ 188327 h 227126"/>
                <a:gd name="connsiteX3" fmla="*/ 259200 w 311657"/>
                <a:gd name="connsiteY3" fmla="*/ 98 h 227126"/>
                <a:gd name="connsiteX4" fmla="*/ 55543 w 311657"/>
                <a:gd name="connsiteY4" fmla="*/ 61812 h 22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657" h="227126">
                  <a:moveTo>
                    <a:pt x="55543" y="61812"/>
                  </a:moveTo>
                  <a:cubicBezTo>
                    <a:pt x="55543" y="61812"/>
                    <a:pt x="61714" y="172898"/>
                    <a:pt x="0" y="203755"/>
                  </a:cubicBezTo>
                  <a:cubicBezTo>
                    <a:pt x="0" y="203755"/>
                    <a:pt x="182057" y="265469"/>
                    <a:pt x="311657" y="188327"/>
                  </a:cubicBezTo>
                  <a:cubicBezTo>
                    <a:pt x="256114" y="145126"/>
                    <a:pt x="259200" y="61812"/>
                    <a:pt x="259200" y="98"/>
                  </a:cubicBezTo>
                  <a:cubicBezTo>
                    <a:pt x="262286" y="-2988"/>
                    <a:pt x="111086" y="67983"/>
                    <a:pt x="55543" y="61812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8E7D5FBF-D91F-4935-9098-20D43FED218F}"/>
                </a:ext>
              </a:extLst>
            </p:cNvPr>
            <p:cNvSpPr/>
            <p:nvPr/>
          </p:nvSpPr>
          <p:spPr>
            <a:xfrm>
              <a:off x="7469351" y="8463018"/>
              <a:ext cx="225763" cy="81506"/>
            </a:xfrm>
            <a:custGeom>
              <a:avLst/>
              <a:gdLst>
                <a:gd name="connsiteX0" fmla="*/ 73286 w 225763"/>
                <a:gd name="connsiteY0" fmla="*/ 81507 h 81506"/>
                <a:gd name="connsiteX1" fmla="*/ 2314 w 225763"/>
                <a:gd name="connsiteY1" fmla="*/ 53735 h 81506"/>
                <a:gd name="connsiteX2" fmla="*/ 2314 w 225763"/>
                <a:gd name="connsiteY2" fmla="*/ 44478 h 81506"/>
                <a:gd name="connsiteX3" fmla="*/ 11572 w 225763"/>
                <a:gd name="connsiteY3" fmla="*/ 44478 h 81506"/>
                <a:gd name="connsiteX4" fmla="*/ 82543 w 225763"/>
                <a:gd name="connsiteY4" fmla="*/ 69164 h 81506"/>
                <a:gd name="connsiteX5" fmla="*/ 215229 w 225763"/>
                <a:gd name="connsiteY5" fmla="*/ 1278 h 81506"/>
                <a:gd name="connsiteX6" fmla="*/ 224486 w 225763"/>
                <a:gd name="connsiteY6" fmla="*/ 4364 h 81506"/>
                <a:gd name="connsiteX7" fmla="*/ 221400 w 225763"/>
                <a:gd name="connsiteY7" fmla="*/ 13621 h 81506"/>
                <a:gd name="connsiteX8" fmla="*/ 82543 w 225763"/>
                <a:gd name="connsiteY8" fmla="*/ 81507 h 81506"/>
                <a:gd name="connsiteX9" fmla="*/ 73286 w 225763"/>
                <a:gd name="connsiteY9" fmla="*/ 81507 h 8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763" h="81506">
                  <a:moveTo>
                    <a:pt x="73286" y="81507"/>
                  </a:moveTo>
                  <a:cubicBezTo>
                    <a:pt x="33172" y="81507"/>
                    <a:pt x="5400" y="53735"/>
                    <a:pt x="2314" y="53735"/>
                  </a:cubicBezTo>
                  <a:cubicBezTo>
                    <a:pt x="-771" y="50650"/>
                    <a:pt x="-771" y="47564"/>
                    <a:pt x="2314" y="44478"/>
                  </a:cubicBezTo>
                  <a:cubicBezTo>
                    <a:pt x="5400" y="41392"/>
                    <a:pt x="8486" y="41392"/>
                    <a:pt x="11572" y="44478"/>
                  </a:cubicBezTo>
                  <a:cubicBezTo>
                    <a:pt x="11572" y="44478"/>
                    <a:pt x="45514" y="75335"/>
                    <a:pt x="82543" y="69164"/>
                  </a:cubicBezTo>
                  <a:cubicBezTo>
                    <a:pt x="122657" y="62992"/>
                    <a:pt x="215229" y="1278"/>
                    <a:pt x="215229" y="1278"/>
                  </a:cubicBezTo>
                  <a:cubicBezTo>
                    <a:pt x="218314" y="-1807"/>
                    <a:pt x="221400" y="1278"/>
                    <a:pt x="224486" y="4364"/>
                  </a:cubicBezTo>
                  <a:cubicBezTo>
                    <a:pt x="227572" y="7449"/>
                    <a:pt x="224486" y="10535"/>
                    <a:pt x="221400" y="13621"/>
                  </a:cubicBezTo>
                  <a:cubicBezTo>
                    <a:pt x="218314" y="16707"/>
                    <a:pt x="125743" y="78421"/>
                    <a:pt x="82543" y="81507"/>
                  </a:cubicBezTo>
                  <a:cubicBezTo>
                    <a:pt x="79457" y="81507"/>
                    <a:pt x="76371" y="81507"/>
                    <a:pt x="73286" y="81507"/>
                  </a:cubicBezTo>
                  <a:close/>
                </a:path>
              </a:pathLst>
            </a:custGeom>
            <a:solidFill>
              <a:srgbClr val="E58777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A04049B3-FDEB-4068-9C08-728599BA3169}"/>
                </a:ext>
              </a:extLst>
            </p:cNvPr>
            <p:cNvSpPr/>
            <p:nvPr/>
          </p:nvSpPr>
          <p:spPr>
            <a:xfrm>
              <a:off x="7137571" y="8711153"/>
              <a:ext cx="102665" cy="561599"/>
            </a:xfrm>
            <a:custGeom>
              <a:avLst/>
              <a:gdLst>
                <a:gd name="connsiteX0" fmla="*/ 56380 w 102665"/>
                <a:gd name="connsiteY0" fmla="*/ 561600 h 561599"/>
                <a:gd name="connsiteX1" fmla="*/ 50209 w 102665"/>
                <a:gd name="connsiteY1" fmla="*/ 558515 h 561599"/>
                <a:gd name="connsiteX2" fmla="*/ 34780 w 102665"/>
                <a:gd name="connsiteY2" fmla="*/ 502972 h 561599"/>
                <a:gd name="connsiteX3" fmla="*/ 837 w 102665"/>
                <a:gd name="connsiteY3" fmla="*/ 351772 h 561599"/>
                <a:gd name="connsiteX4" fmla="*/ 90322 w 102665"/>
                <a:gd name="connsiteY4" fmla="*/ 3086 h 561599"/>
                <a:gd name="connsiteX5" fmla="*/ 99580 w 102665"/>
                <a:gd name="connsiteY5" fmla="*/ 0 h 561599"/>
                <a:gd name="connsiteX6" fmla="*/ 102666 w 102665"/>
                <a:gd name="connsiteY6" fmla="*/ 9257 h 561599"/>
                <a:gd name="connsiteX7" fmla="*/ 13180 w 102665"/>
                <a:gd name="connsiteY7" fmla="*/ 351772 h 561599"/>
                <a:gd name="connsiteX8" fmla="*/ 47123 w 102665"/>
                <a:gd name="connsiteY8" fmla="*/ 502972 h 561599"/>
                <a:gd name="connsiteX9" fmla="*/ 62551 w 102665"/>
                <a:gd name="connsiteY9" fmla="*/ 558515 h 561599"/>
                <a:gd name="connsiteX10" fmla="*/ 56380 w 102665"/>
                <a:gd name="connsiteY10" fmla="*/ 561600 h 561599"/>
                <a:gd name="connsiteX11" fmla="*/ 56380 w 102665"/>
                <a:gd name="connsiteY11" fmla="*/ 561600 h 561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665" h="561599">
                  <a:moveTo>
                    <a:pt x="56380" y="561600"/>
                  </a:moveTo>
                  <a:cubicBezTo>
                    <a:pt x="53294" y="561600"/>
                    <a:pt x="50209" y="558515"/>
                    <a:pt x="50209" y="558515"/>
                  </a:cubicBezTo>
                  <a:cubicBezTo>
                    <a:pt x="44037" y="540000"/>
                    <a:pt x="40951" y="521486"/>
                    <a:pt x="34780" y="502972"/>
                  </a:cubicBezTo>
                  <a:cubicBezTo>
                    <a:pt x="19351" y="450514"/>
                    <a:pt x="3923" y="398057"/>
                    <a:pt x="837" y="351772"/>
                  </a:cubicBezTo>
                  <a:cubicBezTo>
                    <a:pt x="-5334" y="225257"/>
                    <a:pt x="22437" y="108000"/>
                    <a:pt x="90322" y="3086"/>
                  </a:cubicBezTo>
                  <a:cubicBezTo>
                    <a:pt x="93408" y="0"/>
                    <a:pt x="96494" y="0"/>
                    <a:pt x="99580" y="0"/>
                  </a:cubicBezTo>
                  <a:cubicBezTo>
                    <a:pt x="102666" y="3086"/>
                    <a:pt x="102666" y="6171"/>
                    <a:pt x="102666" y="9257"/>
                  </a:cubicBezTo>
                  <a:cubicBezTo>
                    <a:pt x="37865" y="114171"/>
                    <a:pt x="7008" y="228343"/>
                    <a:pt x="13180" y="351772"/>
                  </a:cubicBezTo>
                  <a:cubicBezTo>
                    <a:pt x="16266" y="398057"/>
                    <a:pt x="31694" y="450514"/>
                    <a:pt x="47123" y="502972"/>
                  </a:cubicBezTo>
                  <a:cubicBezTo>
                    <a:pt x="53294" y="521486"/>
                    <a:pt x="59465" y="540000"/>
                    <a:pt x="62551" y="558515"/>
                  </a:cubicBezTo>
                  <a:cubicBezTo>
                    <a:pt x="62551" y="555429"/>
                    <a:pt x="59465" y="558515"/>
                    <a:pt x="56380" y="561600"/>
                  </a:cubicBezTo>
                  <a:cubicBezTo>
                    <a:pt x="56380" y="561600"/>
                    <a:pt x="56380" y="561600"/>
                    <a:pt x="56380" y="561600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F21E7019-49A7-4EDD-A6F8-727396084C73}"/>
                </a:ext>
              </a:extLst>
            </p:cNvPr>
            <p:cNvSpPr/>
            <p:nvPr/>
          </p:nvSpPr>
          <p:spPr>
            <a:xfrm>
              <a:off x="7261837" y="9155692"/>
              <a:ext cx="405506" cy="36832"/>
            </a:xfrm>
            <a:custGeom>
              <a:avLst/>
              <a:gdLst>
                <a:gd name="connsiteX0" fmla="*/ 6171 w 405506"/>
                <a:gd name="connsiteY0" fmla="*/ 36832 h 36832"/>
                <a:gd name="connsiteX1" fmla="*/ 0 w 405506"/>
                <a:gd name="connsiteY1" fmla="*/ 33746 h 36832"/>
                <a:gd name="connsiteX2" fmla="*/ 3086 w 405506"/>
                <a:gd name="connsiteY2" fmla="*/ 27575 h 36832"/>
                <a:gd name="connsiteX3" fmla="*/ 401143 w 405506"/>
                <a:gd name="connsiteY3" fmla="*/ 15232 h 36832"/>
                <a:gd name="connsiteX4" fmla="*/ 404229 w 405506"/>
                <a:gd name="connsiteY4" fmla="*/ 21404 h 36832"/>
                <a:gd name="connsiteX5" fmla="*/ 398057 w 405506"/>
                <a:gd name="connsiteY5" fmla="*/ 24489 h 36832"/>
                <a:gd name="connsiteX6" fmla="*/ 6171 w 405506"/>
                <a:gd name="connsiteY6" fmla="*/ 36832 h 36832"/>
                <a:gd name="connsiteX7" fmla="*/ 6171 w 405506"/>
                <a:gd name="connsiteY7" fmla="*/ 36832 h 3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5506" h="36832">
                  <a:moveTo>
                    <a:pt x="6171" y="36832"/>
                  </a:moveTo>
                  <a:cubicBezTo>
                    <a:pt x="3086" y="36832"/>
                    <a:pt x="3086" y="36832"/>
                    <a:pt x="0" y="33746"/>
                  </a:cubicBezTo>
                  <a:cubicBezTo>
                    <a:pt x="0" y="30661"/>
                    <a:pt x="0" y="27575"/>
                    <a:pt x="3086" y="27575"/>
                  </a:cubicBezTo>
                  <a:cubicBezTo>
                    <a:pt x="89486" y="-3282"/>
                    <a:pt x="299314" y="-9454"/>
                    <a:pt x="401143" y="15232"/>
                  </a:cubicBezTo>
                  <a:cubicBezTo>
                    <a:pt x="404229" y="15232"/>
                    <a:pt x="407314" y="18318"/>
                    <a:pt x="404229" y="21404"/>
                  </a:cubicBezTo>
                  <a:cubicBezTo>
                    <a:pt x="404229" y="24489"/>
                    <a:pt x="401143" y="27575"/>
                    <a:pt x="398057" y="24489"/>
                  </a:cubicBezTo>
                  <a:cubicBezTo>
                    <a:pt x="299314" y="-196"/>
                    <a:pt x="89486" y="5975"/>
                    <a:pt x="6171" y="36832"/>
                  </a:cubicBezTo>
                  <a:cubicBezTo>
                    <a:pt x="6171" y="36832"/>
                    <a:pt x="6171" y="36832"/>
                    <a:pt x="6171" y="36832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1EABAF47-9887-4E0B-9F43-AF53B453F5B5}"/>
                </a:ext>
              </a:extLst>
            </p:cNvPr>
            <p:cNvSpPr/>
            <p:nvPr/>
          </p:nvSpPr>
          <p:spPr>
            <a:xfrm>
              <a:off x="7397608" y="8615496"/>
              <a:ext cx="364114" cy="64799"/>
            </a:xfrm>
            <a:custGeom>
              <a:avLst/>
              <a:gdLst>
                <a:gd name="connsiteX0" fmla="*/ 37029 w 364114"/>
                <a:gd name="connsiteY0" fmla="*/ 9257 h 64799"/>
                <a:gd name="connsiteX1" fmla="*/ 339429 w 364114"/>
                <a:gd name="connsiteY1" fmla="*/ 0 h 64799"/>
                <a:gd name="connsiteX2" fmla="*/ 364114 w 364114"/>
                <a:gd name="connsiteY2" fmla="*/ 9257 h 64799"/>
                <a:gd name="connsiteX3" fmla="*/ 172800 w 364114"/>
                <a:gd name="connsiteY3" fmla="*/ 64800 h 64799"/>
                <a:gd name="connsiteX4" fmla="*/ 0 w 364114"/>
                <a:gd name="connsiteY4" fmla="*/ 15429 h 64799"/>
                <a:gd name="connsiteX5" fmla="*/ 37029 w 364114"/>
                <a:gd name="connsiteY5" fmla="*/ 9257 h 6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4114" h="64799">
                  <a:moveTo>
                    <a:pt x="37029" y="9257"/>
                  </a:moveTo>
                  <a:cubicBezTo>
                    <a:pt x="37029" y="9257"/>
                    <a:pt x="151200" y="67886"/>
                    <a:pt x="339429" y="0"/>
                  </a:cubicBezTo>
                  <a:lnTo>
                    <a:pt x="364114" y="9257"/>
                  </a:lnTo>
                  <a:cubicBezTo>
                    <a:pt x="364114" y="9257"/>
                    <a:pt x="283886" y="64800"/>
                    <a:pt x="172800" y="64800"/>
                  </a:cubicBezTo>
                  <a:cubicBezTo>
                    <a:pt x="67886" y="64800"/>
                    <a:pt x="0" y="15429"/>
                    <a:pt x="0" y="15429"/>
                  </a:cubicBezTo>
                  <a:cubicBezTo>
                    <a:pt x="0" y="15429"/>
                    <a:pt x="15429" y="9257"/>
                    <a:pt x="37029" y="9257"/>
                  </a:cubicBezTo>
                  <a:close/>
                </a:path>
              </a:pathLst>
            </a:custGeom>
            <a:solidFill>
              <a:srgbClr val="F6EBE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5B9E3172-3810-48BC-BA87-49FC9A02D8EA}"/>
                </a:ext>
              </a:extLst>
            </p:cNvPr>
            <p:cNvSpPr/>
            <p:nvPr/>
          </p:nvSpPr>
          <p:spPr>
            <a:xfrm>
              <a:off x="7860465" y="9729439"/>
              <a:ext cx="183335" cy="191313"/>
            </a:xfrm>
            <a:custGeom>
              <a:avLst/>
              <a:gdLst>
                <a:gd name="connsiteX0" fmla="*/ 175886 w 183335"/>
                <a:gd name="connsiteY0" fmla="*/ 191314 h 191313"/>
                <a:gd name="connsiteX1" fmla="*/ 175886 w 183335"/>
                <a:gd name="connsiteY1" fmla="*/ 191314 h 191313"/>
                <a:gd name="connsiteX2" fmla="*/ 0 w 183335"/>
                <a:gd name="connsiteY2" fmla="*/ 6171 h 191313"/>
                <a:gd name="connsiteX3" fmla="*/ 3086 w 183335"/>
                <a:gd name="connsiteY3" fmla="*/ 0 h 191313"/>
                <a:gd name="connsiteX4" fmla="*/ 9257 w 183335"/>
                <a:gd name="connsiteY4" fmla="*/ 3085 h 191313"/>
                <a:gd name="connsiteX5" fmla="*/ 178972 w 183335"/>
                <a:gd name="connsiteY5" fmla="*/ 182057 h 191313"/>
                <a:gd name="connsiteX6" fmla="*/ 182057 w 183335"/>
                <a:gd name="connsiteY6" fmla="*/ 188228 h 191313"/>
                <a:gd name="connsiteX7" fmla="*/ 175886 w 183335"/>
                <a:gd name="connsiteY7" fmla="*/ 191314 h 191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335" h="191313">
                  <a:moveTo>
                    <a:pt x="175886" y="191314"/>
                  </a:moveTo>
                  <a:cubicBezTo>
                    <a:pt x="175886" y="191314"/>
                    <a:pt x="172800" y="191314"/>
                    <a:pt x="175886" y="191314"/>
                  </a:cubicBezTo>
                  <a:cubicBezTo>
                    <a:pt x="55543" y="157371"/>
                    <a:pt x="0" y="12343"/>
                    <a:pt x="0" y="6171"/>
                  </a:cubicBezTo>
                  <a:cubicBezTo>
                    <a:pt x="0" y="3085"/>
                    <a:pt x="0" y="0"/>
                    <a:pt x="3086" y="0"/>
                  </a:cubicBezTo>
                  <a:cubicBezTo>
                    <a:pt x="6172" y="0"/>
                    <a:pt x="9257" y="0"/>
                    <a:pt x="9257" y="3085"/>
                  </a:cubicBezTo>
                  <a:cubicBezTo>
                    <a:pt x="9257" y="3085"/>
                    <a:pt x="64800" y="151200"/>
                    <a:pt x="178972" y="182057"/>
                  </a:cubicBezTo>
                  <a:cubicBezTo>
                    <a:pt x="182057" y="182057"/>
                    <a:pt x="185143" y="185143"/>
                    <a:pt x="182057" y="188228"/>
                  </a:cubicBezTo>
                  <a:cubicBezTo>
                    <a:pt x="178972" y="188228"/>
                    <a:pt x="175886" y="191314"/>
                    <a:pt x="175886" y="191314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C9639483-2B41-4DD1-A3DA-8FCEE9631439}"/>
                </a:ext>
              </a:extLst>
            </p:cNvPr>
            <p:cNvSpPr/>
            <p:nvPr/>
          </p:nvSpPr>
          <p:spPr>
            <a:xfrm>
              <a:off x="7129151" y="9729439"/>
              <a:ext cx="172800" cy="194399"/>
            </a:xfrm>
            <a:custGeom>
              <a:avLst/>
              <a:gdLst>
                <a:gd name="connsiteX0" fmla="*/ 6171 w 172800"/>
                <a:gd name="connsiteY0" fmla="*/ 194400 h 194399"/>
                <a:gd name="connsiteX1" fmla="*/ 0 w 172800"/>
                <a:gd name="connsiteY1" fmla="*/ 191314 h 194399"/>
                <a:gd name="connsiteX2" fmla="*/ 3086 w 172800"/>
                <a:gd name="connsiteY2" fmla="*/ 185143 h 194399"/>
                <a:gd name="connsiteX3" fmla="*/ 163543 w 172800"/>
                <a:gd name="connsiteY3" fmla="*/ 3085 h 194399"/>
                <a:gd name="connsiteX4" fmla="*/ 169714 w 172800"/>
                <a:gd name="connsiteY4" fmla="*/ 0 h 194399"/>
                <a:gd name="connsiteX5" fmla="*/ 172800 w 172800"/>
                <a:gd name="connsiteY5" fmla="*/ 6171 h 194399"/>
                <a:gd name="connsiteX6" fmla="*/ 6171 w 172800"/>
                <a:gd name="connsiteY6" fmla="*/ 194400 h 194399"/>
                <a:gd name="connsiteX7" fmla="*/ 6171 w 172800"/>
                <a:gd name="connsiteY7" fmla="*/ 194400 h 19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2800" h="194399">
                  <a:moveTo>
                    <a:pt x="6171" y="194400"/>
                  </a:moveTo>
                  <a:cubicBezTo>
                    <a:pt x="3086" y="194400"/>
                    <a:pt x="3086" y="194400"/>
                    <a:pt x="0" y="191314"/>
                  </a:cubicBezTo>
                  <a:cubicBezTo>
                    <a:pt x="0" y="188228"/>
                    <a:pt x="0" y="185143"/>
                    <a:pt x="3086" y="185143"/>
                  </a:cubicBezTo>
                  <a:cubicBezTo>
                    <a:pt x="83314" y="154286"/>
                    <a:pt x="163543" y="3085"/>
                    <a:pt x="163543" y="3085"/>
                  </a:cubicBezTo>
                  <a:cubicBezTo>
                    <a:pt x="163543" y="0"/>
                    <a:pt x="169714" y="0"/>
                    <a:pt x="169714" y="0"/>
                  </a:cubicBezTo>
                  <a:cubicBezTo>
                    <a:pt x="172800" y="0"/>
                    <a:pt x="172800" y="6171"/>
                    <a:pt x="172800" y="6171"/>
                  </a:cubicBezTo>
                  <a:cubicBezTo>
                    <a:pt x="169714" y="12343"/>
                    <a:pt x="89486" y="160457"/>
                    <a:pt x="6171" y="194400"/>
                  </a:cubicBezTo>
                  <a:cubicBezTo>
                    <a:pt x="6171" y="194400"/>
                    <a:pt x="6171" y="194400"/>
                    <a:pt x="6171" y="194400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4095198F-55C5-4D44-BA9F-BB8481791A88}"/>
                </a:ext>
              </a:extLst>
            </p:cNvPr>
            <p:cNvSpPr/>
            <p:nvPr/>
          </p:nvSpPr>
          <p:spPr>
            <a:xfrm>
              <a:off x="7755551" y="8222108"/>
              <a:ext cx="78522" cy="115430"/>
            </a:xfrm>
            <a:custGeom>
              <a:avLst/>
              <a:gdLst>
                <a:gd name="connsiteX0" fmla="*/ 12343 w 78522"/>
                <a:gd name="connsiteY0" fmla="*/ 16931 h 115430"/>
                <a:gd name="connsiteX1" fmla="*/ 70972 w 78522"/>
                <a:gd name="connsiteY1" fmla="*/ 7674 h 115430"/>
                <a:gd name="connsiteX2" fmla="*/ 12343 w 78522"/>
                <a:gd name="connsiteY2" fmla="*/ 112588 h 115430"/>
                <a:gd name="connsiteX3" fmla="*/ 12343 w 78522"/>
                <a:gd name="connsiteY3" fmla="*/ 16931 h 115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22" h="115430">
                  <a:moveTo>
                    <a:pt x="12343" y="16931"/>
                  </a:moveTo>
                  <a:cubicBezTo>
                    <a:pt x="12343" y="16931"/>
                    <a:pt x="46286" y="-13926"/>
                    <a:pt x="70972" y="7674"/>
                  </a:cubicBezTo>
                  <a:cubicBezTo>
                    <a:pt x="95657" y="26188"/>
                    <a:pt x="55543" y="134188"/>
                    <a:pt x="12343" y="112588"/>
                  </a:cubicBezTo>
                  <a:cubicBezTo>
                    <a:pt x="-15428" y="90988"/>
                    <a:pt x="12343" y="16931"/>
                    <a:pt x="12343" y="16931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F6E9A821-4233-479C-A2F8-05FD3D1CBC0F}"/>
                </a:ext>
              </a:extLst>
            </p:cNvPr>
            <p:cNvSpPr/>
            <p:nvPr/>
          </p:nvSpPr>
          <p:spPr>
            <a:xfrm>
              <a:off x="7345151" y="8053896"/>
              <a:ext cx="256114" cy="160457"/>
            </a:xfrm>
            <a:custGeom>
              <a:avLst/>
              <a:gdLst>
                <a:gd name="connsiteX0" fmla="*/ 6171 w 256114"/>
                <a:gd name="connsiteY0" fmla="*/ 160458 h 160457"/>
                <a:gd name="connsiteX1" fmla="*/ 6171 w 256114"/>
                <a:gd name="connsiteY1" fmla="*/ 160458 h 160457"/>
                <a:gd name="connsiteX2" fmla="*/ 0 w 256114"/>
                <a:gd name="connsiteY2" fmla="*/ 154286 h 160457"/>
                <a:gd name="connsiteX3" fmla="*/ 111086 w 256114"/>
                <a:gd name="connsiteY3" fmla="*/ 46286 h 160457"/>
                <a:gd name="connsiteX4" fmla="*/ 246857 w 256114"/>
                <a:gd name="connsiteY4" fmla="*/ 0 h 160457"/>
                <a:gd name="connsiteX5" fmla="*/ 256114 w 256114"/>
                <a:gd name="connsiteY5" fmla="*/ 3086 h 160457"/>
                <a:gd name="connsiteX6" fmla="*/ 253028 w 256114"/>
                <a:gd name="connsiteY6" fmla="*/ 12343 h 160457"/>
                <a:gd name="connsiteX7" fmla="*/ 117257 w 256114"/>
                <a:gd name="connsiteY7" fmla="*/ 58629 h 160457"/>
                <a:gd name="connsiteX8" fmla="*/ 15429 w 256114"/>
                <a:gd name="connsiteY8" fmla="*/ 157372 h 160457"/>
                <a:gd name="connsiteX9" fmla="*/ 6171 w 256114"/>
                <a:gd name="connsiteY9" fmla="*/ 160458 h 160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6114" h="160457">
                  <a:moveTo>
                    <a:pt x="6171" y="160458"/>
                  </a:moveTo>
                  <a:cubicBezTo>
                    <a:pt x="6171" y="160458"/>
                    <a:pt x="3086" y="160458"/>
                    <a:pt x="6171" y="160458"/>
                  </a:cubicBezTo>
                  <a:cubicBezTo>
                    <a:pt x="3086" y="160458"/>
                    <a:pt x="0" y="157372"/>
                    <a:pt x="0" y="154286"/>
                  </a:cubicBezTo>
                  <a:cubicBezTo>
                    <a:pt x="12343" y="83315"/>
                    <a:pt x="61714" y="61714"/>
                    <a:pt x="111086" y="46286"/>
                  </a:cubicBezTo>
                  <a:cubicBezTo>
                    <a:pt x="178972" y="27772"/>
                    <a:pt x="243772" y="0"/>
                    <a:pt x="246857" y="0"/>
                  </a:cubicBezTo>
                  <a:cubicBezTo>
                    <a:pt x="249943" y="0"/>
                    <a:pt x="253028" y="0"/>
                    <a:pt x="256114" y="3086"/>
                  </a:cubicBezTo>
                  <a:cubicBezTo>
                    <a:pt x="256114" y="6172"/>
                    <a:pt x="256114" y="9257"/>
                    <a:pt x="253028" y="12343"/>
                  </a:cubicBezTo>
                  <a:cubicBezTo>
                    <a:pt x="253028" y="12343"/>
                    <a:pt x="185143" y="37029"/>
                    <a:pt x="117257" y="58629"/>
                  </a:cubicBezTo>
                  <a:cubicBezTo>
                    <a:pt x="61714" y="74057"/>
                    <a:pt x="24686" y="98743"/>
                    <a:pt x="15429" y="157372"/>
                  </a:cubicBezTo>
                  <a:cubicBezTo>
                    <a:pt x="9257" y="157372"/>
                    <a:pt x="9257" y="160458"/>
                    <a:pt x="6171" y="160458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93FAFDBC-F4BF-4963-BBCA-F541EE3A8096}"/>
                </a:ext>
              </a:extLst>
            </p:cNvPr>
            <p:cNvSpPr/>
            <p:nvPr/>
          </p:nvSpPr>
          <p:spPr>
            <a:xfrm>
              <a:off x="7616694" y="8792315"/>
              <a:ext cx="555434" cy="1088323"/>
            </a:xfrm>
            <a:custGeom>
              <a:avLst/>
              <a:gdLst>
                <a:gd name="connsiteX0" fmla="*/ 438171 w 555434"/>
                <a:gd name="connsiteY0" fmla="*/ 76210 h 1088323"/>
                <a:gd name="connsiteX1" fmla="*/ 206743 w 555434"/>
                <a:gd name="connsiteY1" fmla="*/ 187295 h 1088323"/>
                <a:gd name="connsiteX2" fmla="*/ 336343 w 555434"/>
                <a:gd name="connsiteY2" fmla="*/ 662495 h 1088323"/>
                <a:gd name="connsiteX3" fmla="*/ 0 w 555434"/>
                <a:gd name="connsiteY3" fmla="*/ 983410 h 1088323"/>
                <a:gd name="connsiteX4" fmla="*/ 77143 w 555434"/>
                <a:gd name="connsiteY4" fmla="*/ 1088324 h 1088323"/>
                <a:gd name="connsiteX5" fmla="*/ 540000 w 555434"/>
                <a:gd name="connsiteY5" fmla="*/ 730381 h 1088323"/>
                <a:gd name="connsiteX6" fmla="*/ 438171 w 555434"/>
                <a:gd name="connsiteY6" fmla="*/ 76210 h 1088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5434" h="1088323">
                  <a:moveTo>
                    <a:pt x="438171" y="76210"/>
                  </a:moveTo>
                  <a:cubicBezTo>
                    <a:pt x="361028" y="-93505"/>
                    <a:pt x="188229" y="54610"/>
                    <a:pt x="206743" y="187295"/>
                  </a:cubicBezTo>
                  <a:cubicBezTo>
                    <a:pt x="222171" y="316895"/>
                    <a:pt x="320914" y="582267"/>
                    <a:pt x="336343" y="662495"/>
                  </a:cubicBezTo>
                  <a:cubicBezTo>
                    <a:pt x="299314" y="751981"/>
                    <a:pt x="0" y="983410"/>
                    <a:pt x="0" y="983410"/>
                  </a:cubicBezTo>
                  <a:cubicBezTo>
                    <a:pt x="21600" y="1008095"/>
                    <a:pt x="77143" y="1088324"/>
                    <a:pt x="77143" y="1088324"/>
                  </a:cubicBezTo>
                  <a:cubicBezTo>
                    <a:pt x="77143" y="1088324"/>
                    <a:pt x="456686" y="835295"/>
                    <a:pt x="540000" y="730381"/>
                  </a:cubicBezTo>
                  <a:cubicBezTo>
                    <a:pt x="586286" y="674838"/>
                    <a:pt x="521486" y="255181"/>
                    <a:pt x="438171" y="76210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79A3AE62-9EC3-471F-8951-B4B14433D57C}"/>
                </a:ext>
              </a:extLst>
            </p:cNvPr>
            <p:cNvSpPr/>
            <p:nvPr/>
          </p:nvSpPr>
          <p:spPr>
            <a:xfrm>
              <a:off x="7770361" y="8667042"/>
              <a:ext cx="395589" cy="448586"/>
            </a:xfrm>
            <a:custGeom>
              <a:avLst/>
              <a:gdLst>
                <a:gd name="connsiteX0" fmla="*/ 395590 w 395589"/>
                <a:gd name="connsiteY0" fmla="*/ 278625 h 448586"/>
                <a:gd name="connsiteX1" fmla="*/ 96275 w 395589"/>
                <a:gd name="connsiteY1" fmla="*/ 911 h 448586"/>
                <a:gd name="connsiteX2" fmla="*/ 56161 w 395589"/>
                <a:gd name="connsiteY2" fmla="*/ 448339 h 448586"/>
                <a:gd name="connsiteX3" fmla="*/ 395590 w 395589"/>
                <a:gd name="connsiteY3" fmla="*/ 278625 h 44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89" h="448586">
                  <a:moveTo>
                    <a:pt x="395590" y="278625"/>
                  </a:moveTo>
                  <a:cubicBezTo>
                    <a:pt x="330790" y="102740"/>
                    <a:pt x="176504" y="-11432"/>
                    <a:pt x="96275" y="911"/>
                  </a:cubicBezTo>
                  <a:cubicBezTo>
                    <a:pt x="-8639" y="16339"/>
                    <a:pt x="-36410" y="260111"/>
                    <a:pt x="56161" y="448339"/>
                  </a:cubicBezTo>
                  <a:cubicBezTo>
                    <a:pt x="133304" y="454511"/>
                    <a:pt x="315361" y="343425"/>
                    <a:pt x="395590" y="278625"/>
                  </a:cubicBezTo>
                  <a:close/>
                </a:path>
              </a:pathLst>
            </a:custGeom>
            <a:solidFill>
              <a:srgbClr val="F6EBE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C72B969A-CB52-41F2-BBDD-C8FFF5A379D1}"/>
                </a:ext>
              </a:extLst>
            </p:cNvPr>
            <p:cNvSpPr/>
            <p:nvPr/>
          </p:nvSpPr>
          <p:spPr>
            <a:xfrm>
              <a:off x="7771549" y="8671039"/>
              <a:ext cx="200001" cy="447428"/>
            </a:xfrm>
            <a:custGeom>
              <a:avLst/>
              <a:gdLst>
                <a:gd name="connsiteX0" fmla="*/ 64231 w 200001"/>
                <a:gd name="connsiteY0" fmla="*/ 447429 h 447428"/>
                <a:gd name="connsiteX1" fmla="*/ 51888 w 200001"/>
                <a:gd name="connsiteY1" fmla="*/ 444343 h 447428"/>
                <a:gd name="connsiteX2" fmla="*/ 51888 w 200001"/>
                <a:gd name="connsiteY2" fmla="*/ 444343 h 447428"/>
                <a:gd name="connsiteX3" fmla="*/ 51888 w 200001"/>
                <a:gd name="connsiteY3" fmla="*/ 444343 h 447428"/>
                <a:gd name="connsiteX4" fmla="*/ 17945 w 200001"/>
                <a:gd name="connsiteY4" fmla="*/ 55543 h 447428"/>
                <a:gd name="connsiteX5" fmla="*/ 64231 w 200001"/>
                <a:gd name="connsiteY5" fmla="*/ 0 h 447428"/>
                <a:gd name="connsiteX6" fmla="*/ 70402 w 200001"/>
                <a:gd name="connsiteY6" fmla="*/ 3086 h 447428"/>
                <a:gd name="connsiteX7" fmla="*/ 67316 w 200001"/>
                <a:gd name="connsiteY7" fmla="*/ 9257 h 447428"/>
                <a:gd name="connsiteX8" fmla="*/ 27202 w 200001"/>
                <a:gd name="connsiteY8" fmla="*/ 58629 h 447428"/>
                <a:gd name="connsiteX9" fmla="*/ 58059 w 200001"/>
                <a:gd name="connsiteY9" fmla="*/ 435086 h 447428"/>
                <a:gd name="connsiteX10" fmla="*/ 190745 w 200001"/>
                <a:gd name="connsiteY10" fmla="*/ 385714 h 447428"/>
                <a:gd name="connsiteX11" fmla="*/ 200002 w 200001"/>
                <a:gd name="connsiteY11" fmla="*/ 388800 h 447428"/>
                <a:gd name="connsiteX12" fmla="*/ 196916 w 200001"/>
                <a:gd name="connsiteY12" fmla="*/ 398057 h 447428"/>
                <a:gd name="connsiteX13" fmla="*/ 64231 w 200001"/>
                <a:gd name="connsiteY13" fmla="*/ 447429 h 447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0001" h="447428">
                  <a:moveTo>
                    <a:pt x="64231" y="447429"/>
                  </a:moveTo>
                  <a:cubicBezTo>
                    <a:pt x="54973" y="447429"/>
                    <a:pt x="51888" y="444343"/>
                    <a:pt x="51888" y="444343"/>
                  </a:cubicBezTo>
                  <a:lnTo>
                    <a:pt x="51888" y="444343"/>
                  </a:lnTo>
                  <a:lnTo>
                    <a:pt x="51888" y="444343"/>
                  </a:lnTo>
                  <a:cubicBezTo>
                    <a:pt x="5602" y="351772"/>
                    <a:pt x="-19084" y="154286"/>
                    <a:pt x="17945" y="55543"/>
                  </a:cubicBezTo>
                  <a:cubicBezTo>
                    <a:pt x="30288" y="27772"/>
                    <a:pt x="45716" y="6172"/>
                    <a:pt x="64231" y="0"/>
                  </a:cubicBezTo>
                  <a:cubicBezTo>
                    <a:pt x="67316" y="0"/>
                    <a:pt x="70402" y="0"/>
                    <a:pt x="70402" y="3086"/>
                  </a:cubicBezTo>
                  <a:cubicBezTo>
                    <a:pt x="70402" y="6172"/>
                    <a:pt x="70402" y="9257"/>
                    <a:pt x="67316" y="9257"/>
                  </a:cubicBezTo>
                  <a:cubicBezTo>
                    <a:pt x="48802" y="15429"/>
                    <a:pt x="36459" y="33943"/>
                    <a:pt x="27202" y="58629"/>
                  </a:cubicBezTo>
                  <a:cubicBezTo>
                    <a:pt x="-9827" y="154286"/>
                    <a:pt x="14859" y="345600"/>
                    <a:pt x="58059" y="435086"/>
                  </a:cubicBezTo>
                  <a:cubicBezTo>
                    <a:pt x="64231" y="435086"/>
                    <a:pt x="95088" y="438172"/>
                    <a:pt x="190745" y="385714"/>
                  </a:cubicBezTo>
                  <a:cubicBezTo>
                    <a:pt x="193831" y="385714"/>
                    <a:pt x="196916" y="385714"/>
                    <a:pt x="200002" y="388800"/>
                  </a:cubicBezTo>
                  <a:cubicBezTo>
                    <a:pt x="200002" y="391886"/>
                    <a:pt x="200002" y="394972"/>
                    <a:pt x="196916" y="398057"/>
                  </a:cubicBezTo>
                  <a:cubicBezTo>
                    <a:pt x="119773" y="441257"/>
                    <a:pt x="82745" y="447429"/>
                    <a:pt x="64231" y="447429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CAAB5745-9C66-42F3-98A8-4E51DAEAA51B}"/>
                </a:ext>
              </a:extLst>
            </p:cNvPr>
            <p:cNvSpPr/>
            <p:nvPr/>
          </p:nvSpPr>
          <p:spPr>
            <a:xfrm>
              <a:off x="7403583" y="9785570"/>
              <a:ext cx="194596" cy="77276"/>
            </a:xfrm>
            <a:custGeom>
              <a:avLst/>
              <a:gdLst>
                <a:gd name="connsiteX0" fmla="*/ 194596 w 194596"/>
                <a:gd name="connsiteY0" fmla="*/ 8669 h 77276"/>
                <a:gd name="connsiteX1" fmla="*/ 52654 w 194596"/>
                <a:gd name="connsiteY1" fmla="*/ 17926 h 77276"/>
                <a:gd name="connsiteX2" fmla="*/ 197 w 194596"/>
                <a:gd name="connsiteY2" fmla="*/ 67298 h 77276"/>
                <a:gd name="connsiteX3" fmla="*/ 105111 w 194596"/>
                <a:gd name="connsiteY3" fmla="*/ 51869 h 77276"/>
                <a:gd name="connsiteX4" fmla="*/ 194596 w 194596"/>
                <a:gd name="connsiteY4" fmla="*/ 8669 h 77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596" h="77276">
                  <a:moveTo>
                    <a:pt x="194596" y="8669"/>
                  </a:moveTo>
                  <a:cubicBezTo>
                    <a:pt x="194596" y="8669"/>
                    <a:pt x="108197" y="-16017"/>
                    <a:pt x="52654" y="17926"/>
                  </a:cubicBezTo>
                  <a:cubicBezTo>
                    <a:pt x="31054" y="33355"/>
                    <a:pt x="-2889" y="51869"/>
                    <a:pt x="197" y="67298"/>
                  </a:cubicBezTo>
                  <a:cubicBezTo>
                    <a:pt x="12539" y="101240"/>
                    <a:pt x="77339" y="36441"/>
                    <a:pt x="105111" y="51869"/>
                  </a:cubicBezTo>
                  <a:cubicBezTo>
                    <a:pt x="120539" y="58040"/>
                    <a:pt x="194596" y="8669"/>
                    <a:pt x="194596" y="8669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4" name="图形 1">
              <a:extLst>
                <a:ext uri="{FF2B5EF4-FFF2-40B4-BE49-F238E27FC236}">
                  <a16:creationId xmlns:a16="http://schemas.microsoft.com/office/drawing/2014/main" id="{D816D20D-B84A-4DCD-90AF-4445051F79D3}"/>
                </a:ext>
              </a:extLst>
            </p:cNvPr>
            <p:cNvGrpSpPr/>
            <p:nvPr/>
          </p:nvGrpSpPr>
          <p:grpSpPr>
            <a:xfrm>
              <a:off x="7444665" y="9757210"/>
              <a:ext cx="284304" cy="239482"/>
              <a:chOff x="7444665" y="9757210"/>
              <a:chExt cx="284304" cy="239482"/>
            </a:xfrm>
          </p:grpSpPr>
          <p:sp>
            <p:nvSpPr>
              <p:cNvPr id="184" name="任意多边形: 形状 183">
                <a:extLst>
                  <a:ext uri="{FF2B5EF4-FFF2-40B4-BE49-F238E27FC236}">
                    <a16:creationId xmlns:a16="http://schemas.microsoft.com/office/drawing/2014/main" id="{1FE45211-9969-4DB8-A6AE-362AE1B75AEE}"/>
                  </a:ext>
                </a:extLst>
              </p:cNvPr>
              <p:cNvSpPr/>
              <p:nvPr/>
            </p:nvSpPr>
            <p:spPr>
              <a:xfrm>
                <a:off x="7447192" y="9757210"/>
                <a:ext cx="281776" cy="239482"/>
              </a:xfrm>
              <a:custGeom>
                <a:avLst/>
                <a:gdLst>
                  <a:gd name="connsiteX0" fmla="*/ 274416 w 281776"/>
                  <a:gd name="connsiteY0" fmla="*/ 77143 h 239482"/>
                  <a:gd name="connsiteX1" fmla="*/ 200359 w 281776"/>
                  <a:gd name="connsiteY1" fmla="*/ 0 h 239482"/>
                  <a:gd name="connsiteX2" fmla="*/ 30644 w 281776"/>
                  <a:gd name="connsiteY2" fmla="*/ 95657 h 239482"/>
                  <a:gd name="connsiteX3" fmla="*/ 2873 w 281776"/>
                  <a:gd name="connsiteY3" fmla="*/ 141943 h 239482"/>
                  <a:gd name="connsiteX4" fmla="*/ 30644 w 281776"/>
                  <a:gd name="connsiteY4" fmla="*/ 160457 h 239482"/>
                  <a:gd name="connsiteX5" fmla="*/ 61501 w 281776"/>
                  <a:gd name="connsiteY5" fmla="*/ 194400 h 239482"/>
                  <a:gd name="connsiteX6" fmla="*/ 76930 w 281776"/>
                  <a:gd name="connsiteY6" fmla="*/ 219086 h 239482"/>
                  <a:gd name="connsiteX7" fmla="*/ 110873 w 281776"/>
                  <a:gd name="connsiteY7" fmla="*/ 216000 h 239482"/>
                  <a:gd name="connsiteX8" fmla="*/ 154073 w 281776"/>
                  <a:gd name="connsiteY8" fmla="*/ 234514 h 239482"/>
                  <a:gd name="connsiteX9" fmla="*/ 197273 w 281776"/>
                  <a:gd name="connsiteY9" fmla="*/ 178971 h 239482"/>
                  <a:gd name="connsiteX10" fmla="*/ 268244 w 281776"/>
                  <a:gd name="connsiteY10" fmla="*/ 95657 h 239482"/>
                  <a:gd name="connsiteX11" fmla="*/ 274416 w 281776"/>
                  <a:gd name="connsiteY11" fmla="*/ 77143 h 239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1776" h="239482">
                    <a:moveTo>
                      <a:pt x="274416" y="77143"/>
                    </a:moveTo>
                    <a:cubicBezTo>
                      <a:pt x="262073" y="40114"/>
                      <a:pt x="197273" y="0"/>
                      <a:pt x="200359" y="0"/>
                    </a:cubicBezTo>
                    <a:cubicBezTo>
                      <a:pt x="135558" y="43200"/>
                      <a:pt x="89273" y="43200"/>
                      <a:pt x="30644" y="95657"/>
                    </a:cubicBezTo>
                    <a:cubicBezTo>
                      <a:pt x="21387" y="104914"/>
                      <a:pt x="-9470" y="117257"/>
                      <a:pt x="2873" y="141943"/>
                    </a:cubicBezTo>
                    <a:cubicBezTo>
                      <a:pt x="5959" y="148114"/>
                      <a:pt x="15216" y="163542"/>
                      <a:pt x="30644" y="160457"/>
                    </a:cubicBezTo>
                    <a:cubicBezTo>
                      <a:pt x="24473" y="178971"/>
                      <a:pt x="52244" y="203657"/>
                      <a:pt x="61501" y="194400"/>
                    </a:cubicBezTo>
                    <a:cubicBezTo>
                      <a:pt x="61501" y="200571"/>
                      <a:pt x="70759" y="216000"/>
                      <a:pt x="76930" y="219086"/>
                    </a:cubicBezTo>
                    <a:cubicBezTo>
                      <a:pt x="92359" y="228343"/>
                      <a:pt x="101616" y="228343"/>
                      <a:pt x="110873" y="216000"/>
                    </a:cubicBezTo>
                    <a:cubicBezTo>
                      <a:pt x="117044" y="234514"/>
                      <a:pt x="135558" y="246857"/>
                      <a:pt x="154073" y="234514"/>
                    </a:cubicBezTo>
                    <a:cubicBezTo>
                      <a:pt x="178759" y="216000"/>
                      <a:pt x="175673" y="197486"/>
                      <a:pt x="197273" y="178971"/>
                    </a:cubicBezTo>
                    <a:cubicBezTo>
                      <a:pt x="246644" y="132685"/>
                      <a:pt x="246644" y="114171"/>
                      <a:pt x="268244" y="95657"/>
                    </a:cubicBezTo>
                    <a:cubicBezTo>
                      <a:pt x="286759" y="77143"/>
                      <a:pt x="283673" y="95657"/>
                      <a:pt x="274416" y="77143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5" name="任意多边形: 形状 184">
                <a:extLst>
                  <a:ext uri="{FF2B5EF4-FFF2-40B4-BE49-F238E27FC236}">
                    <a16:creationId xmlns:a16="http://schemas.microsoft.com/office/drawing/2014/main" id="{AAEDF1EC-AC44-4B0A-AF1E-D46E2AD89049}"/>
                  </a:ext>
                </a:extLst>
              </p:cNvPr>
              <p:cNvSpPr/>
              <p:nvPr/>
            </p:nvSpPr>
            <p:spPr>
              <a:xfrm>
                <a:off x="7444665" y="9809667"/>
                <a:ext cx="104143" cy="114171"/>
              </a:xfrm>
              <a:custGeom>
                <a:avLst/>
                <a:gdLst>
                  <a:gd name="connsiteX0" fmla="*/ 36257 w 104143"/>
                  <a:gd name="connsiteY0" fmla="*/ 114172 h 114171"/>
                  <a:gd name="connsiteX1" fmla="*/ 36257 w 104143"/>
                  <a:gd name="connsiteY1" fmla="*/ 114172 h 114171"/>
                  <a:gd name="connsiteX2" fmla="*/ 2314 w 104143"/>
                  <a:gd name="connsiteY2" fmla="*/ 92571 h 114171"/>
                  <a:gd name="connsiteX3" fmla="*/ 2314 w 104143"/>
                  <a:gd name="connsiteY3" fmla="*/ 67886 h 114171"/>
                  <a:gd name="connsiteX4" fmla="*/ 94886 w 104143"/>
                  <a:gd name="connsiteY4" fmla="*/ 0 h 114171"/>
                  <a:gd name="connsiteX5" fmla="*/ 104143 w 104143"/>
                  <a:gd name="connsiteY5" fmla="*/ 3086 h 114171"/>
                  <a:gd name="connsiteX6" fmla="*/ 101057 w 104143"/>
                  <a:gd name="connsiteY6" fmla="*/ 12344 h 114171"/>
                  <a:gd name="connsiteX7" fmla="*/ 14657 w 104143"/>
                  <a:gd name="connsiteY7" fmla="*/ 74058 h 114171"/>
                  <a:gd name="connsiteX8" fmla="*/ 14657 w 104143"/>
                  <a:gd name="connsiteY8" fmla="*/ 89486 h 114171"/>
                  <a:gd name="connsiteX9" fmla="*/ 39343 w 104143"/>
                  <a:gd name="connsiteY9" fmla="*/ 104915 h 114171"/>
                  <a:gd name="connsiteX10" fmla="*/ 42429 w 104143"/>
                  <a:gd name="connsiteY10" fmla="*/ 111086 h 114171"/>
                  <a:gd name="connsiteX11" fmla="*/ 36257 w 104143"/>
                  <a:gd name="connsiteY11" fmla="*/ 114172 h 114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4143" h="114171">
                    <a:moveTo>
                      <a:pt x="36257" y="114172"/>
                    </a:moveTo>
                    <a:cubicBezTo>
                      <a:pt x="33172" y="114172"/>
                      <a:pt x="33172" y="114172"/>
                      <a:pt x="36257" y="114172"/>
                    </a:cubicBezTo>
                    <a:cubicBezTo>
                      <a:pt x="33172" y="114172"/>
                      <a:pt x="8486" y="108000"/>
                      <a:pt x="2314" y="92571"/>
                    </a:cubicBezTo>
                    <a:cubicBezTo>
                      <a:pt x="-771" y="86401"/>
                      <a:pt x="-771" y="77143"/>
                      <a:pt x="2314" y="67886"/>
                    </a:cubicBezTo>
                    <a:cubicBezTo>
                      <a:pt x="20829" y="30857"/>
                      <a:pt x="91800" y="3086"/>
                      <a:pt x="94886" y="0"/>
                    </a:cubicBezTo>
                    <a:cubicBezTo>
                      <a:pt x="97972" y="0"/>
                      <a:pt x="101057" y="0"/>
                      <a:pt x="104143" y="3086"/>
                    </a:cubicBezTo>
                    <a:cubicBezTo>
                      <a:pt x="104143" y="6172"/>
                      <a:pt x="104143" y="9258"/>
                      <a:pt x="101057" y="12344"/>
                    </a:cubicBezTo>
                    <a:cubicBezTo>
                      <a:pt x="101057" y="12344"/>
                      <a:pt x="30086" y="43201"/>
                      <a:pt x="14657" y="74058"/>
                    </a:cubicBezTo>
                    <a:cubicBezTo>
                      <a:pt x="11572" y="80229"/>
                      <a:pt x="11572" y="83315"/>
                      <a:pt x="14657" y="89486"/>
                    </a:cubicBezTo>
                    <a:cubicBezTo>
                      <a:pt x="17743" y="98743"/>
                      <a:pt x="33172" y="104915"/>
                      <a:pt x="39343" y="104915"/>
                    </a:cubicBezTo>
                    <a:cubicBezTo>
                      <a:pt x="42429" y="104915"/>
                      <a:pt x="45514" y="108000"/>
                      <a:pt x="42429" y="111086"/>
                    </a:cubicBezTo>
                    <a:cubicBezTo>
                      <a:pt x="39343" y="111086"/>
                      <a:pt x="36257" y="114172"/>
                      <a:pt x="36257" y="11417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6" name="任意多边形: 形状 185">
                <a:extLst>
                  <a:ext uri="{FF2B5EF4-FFF2-40B4-BE49-F238E27FC236}">
                    <a16:creationId xmlns:a16="http://schemas.microsoft.com/office/drawing/2014/main" id="{D463042C-64B3-4F21-ACE0-E4C654860BE6}"/>
                  </a:ext>
                </a:extLst>
              </p:cNvPr>
              <p:cNvSpPr/>
              <p:nvPr/>
            </p:nvSpPr>
            <p:spPr>
              <a:xfrm>
                <a:off x="7509465" y="9899925"/>
                <a:ext cx="73285" cy="51685"/>
              </a:xfrm>
              <a:custGeom>
                <a:avLst/>
                <a:gdLst>
                  <a:gd name="connsiteX0" fmla="*/ 67114 w 73285"/>
                  <a:gd name="connsiteY0" fmla="*/ 51685 h 51685"/>
                  <a:gd name="connsiteX1" fmla="*/ 67114 w 73285"/>
                  <a:gd name="connsiteY1" fmla="*/ 51685 h 51685"/>
                  <a:gd name="connsiteX2" fmla="*/ 2314 w 73285"/>
                  <a:gd name="connsiteY2" fmla="*/ 11571 h 51685"/>
                  <a:gd name="connsiteX3" fmla="*/ 2314 w 73285"/>
                  <a:gd name="connsiteY3" fmla="*/ 2314 h 51685"/>
                  <a:gd name="connsiteX4" fmla="*/ 11571 w 73285"/>
                  <a:gd name="connsiteY4" fmla="*/ 2314 h 51685"/>
                  <a:gd name="connsiteX5" fmla="*/ 70200 w 73285"/>
                  <a:gd name="connsiteY5" fmla="*/ 39343 h 51685"/>
                  <a:gd name="connsiteX6" fmla="*/ 73285 w 73285"/>
                  <a:gd name="connsiteY6" fmla="*/ 48599 h 51685"/>
                  <a:gd name="connsiteX7" fmla="*/ 67114 w 73285"/>
                  <a:gd name="connsiteY7" fmla="*/ 51685 h 51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285" h="51685">
                    <a:moveTo>
                      <a:pt x="67114" y="51685"/>
                    </a:moveTo>
                    <a:cubicBezTo>
                      <a:pt x="64029" y="51685"/>
                      <a:pt x="64029" y="51685"/>
                      <a:pt x="67114" y="51685"/>
                    </a:cubicBezTo>
                    <a:cubicBezTo>
                      <a:pt x="57857" y="48599"/>
                      <a:pt x="14657" y="23914"/>
                      <a:pt x="2314" y="11571"/>
                    </a:cubicBez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0" y="-771"/>
                      <a:pt x="8486" y="-771"/>
                      <a:pt x="11571" y="2314"/>
                    </a:cubicBezTo>
                    <a:cubicBezTo>
                      <a:pt x="20828" y="11571"/>
                      <a:pt x="57857" y="33171"/>
                      <a:pt x="70200" y="39343"/>
                    </a:cubicBezTo>
                    <a:cubicBezTo>
                      <a:pt x="73285" y="39343"/>
                      <a:pt x="73285" y="45514"/>
                      <a:pt x="73285" y="48599"/>
                    </a:cubicBezTo>
                    <a:cubicBezTo>
                      <a:pt x="70200" y="51685"/>
                      <a:pt x="67114" y="51685"/>
                      <a:pt x="67114" y="5168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5" name="图形 1">
              <a:extLst>
                <a:ext uri="{FF2B5EF4-FFF2-40B4-BE49-F238E27FC236}">
                  <a16:creationId xmlns:a16="http://schemas.microsoft.com/office/drawing/2014/main" id="{8838A97D-0D5C-4C03-B9BC-5818C1CC3C25}"/>
                </a:ext>
              </a:extLst>
            </p:cNvPr>
            <p:cNvGrpSpPr/>
            <p:nvPr/>
          </p:nvGrpSpPr>
          <p:grpSpPr>
            <a:xfrm>
              <a:off x="6069473" y="8976525"/>
              <a:ext cx="321928" cy="221510"/>
              <a:chOff x="6069473" y="8976525"/>
              <a:chExt cx="321928" cy="221510"/>
            </a:xfrm>
          </p:grpSpPr>
          <p:sp>
            <p:nvSpPr>
              <p:cNvPr id="180" name="任意多边形: 形状 179">
                <a:extLst>
                  <a:ext uri="{FF2B5EF4-FFF2-40B4-BE49-F238E27FC236}">
                    <a16:creationId xmlns:a16="http://schemas.microsoft.com/office/drawing/2014/main" id="{0D09D193-BA2D-4DC7-97ED-17AF27FD1F3A}"/>
                  </a:ext>
                </a:extLst>
              </p:cNvPr>
              <p:cNvSpPr/>
              <p:nvPr/>
            </p:nvSpPr>
            <p:spPr>
              <a:xfrm>
                <a:off x="6073034" y="8976525"/>
                <a:ext cx="318367" cy="221510"/>
              </a:xfrm>
              <a:custGeom>
                <a:avLst/>
                <a:gdLst>
                  <a:gd name="connsiteX0" fmla="*/ 93374 w 318367"/>
                  <a:gd name="connsiteY0" fmla="*/ 203657 h 221510"/>
                  <a:gd name="connsiteX1" fmla="*/ 164346 w 318367"/>
                  <a:gd name="connsiteY1" fmla="*/ 212914 h 221510"/>
                  <a:gd name="connsiteX2" fmla="*/ 275431 w 318367"/>
                  <a:gd name="connsiteY2" fmla="*/ 206743 h 221510"/>
                  <a:gd name="connsiteX3" fmla="*/ 315545 w 318367"/>
                  <a:gd name="connsiteY3" fmla="*/ 132686 h 221510"/>
                  <a:gd name="connsiteX4" fmla="*/ 312460 w 318367"/>
                  <a:gd name="connsiteY4" fmla="*/ 129600 h 221510"/>
                  <a:gd name="connsiteX5" fmla="*/ 312460 w 318367"/>
                  <a:gd name="connsiteY5" fmla="*/ 126514 h 221510"/>
                  <a:gd name="connsiteX6" fmla="*/ 179774 w 318367"/>
                  <a:gd name="connsiteY6" fmla="*/ 0 h 221510"/>
                  <a:gd name="connsiteX7" fmla="*/ 170517 w 318367"/>
                  <a:gd name="connsiteY7" fmla="*/ 15429 h 221510"/>
                  <a:gd name="connsiteX8" fmla="*/ 226060 w 318367"/>
                  <a:gd name="connsiteY8" fmla="*/ 83314 h 221510"/>
                  <a:gd name="connsiteX9" fmla="*/ 62517 w 318367"/>
                  <a:gd name="connsiteY9" fmla="*/ 40114 h 221510"/>
                  <a:gd name="connsiteX10" fmla="*/ 40917 w 318367"/>
                  <a:gd name="connsiteY10" fmla="*/ 58628 h 221510"/>
                  <a:gd name="connsiteX11" fmla="*/ 77946 w 318367"/>
                  <a:gd name="connsiteY11" fmla="*/ 74057 h 221510"/>
                  <a:gd name="connsiteX12" fmla="*/ 130403 w 318367"/>
                  <a:gd name="connsiteY12" fmla="*/ 92571 h 221510"/>
                  <a:gd name="connsiteX13" fmla="*/ 62517 w 318367"/>
                  <a:gd name="connsiteY13" fmla="*/ 89486 h 221510"/>
                  <a:gd name="connsiteX14" fmla="*/ 13146 w 318367"/>
                  <a:gd name="connsiteY14" fmla="*/ 89486 h 221510"/>
                  <a:gd name="connsiteX15" fmla="*/ 803 w 318367"/>
                  <a:gd name="connsiteY15" fmla="*/ 111085 h 221510"/>
                  <a:gd name="connsiteX16" fmla="*/ 19317 w 318367"/>
                  <a:gd name="connsiteY16" fmla="*/ 132686 h 221510"/>
                  <a:gd name="connsiteX17" fmla="*/ 16231 w 318367"/>
                  <a:gd name="connsiteY17" fmla="*/ 132686 h 221510"/>
                  <a:gd name="connsiteX18" fmla="*/ 16231 w 318367"/>
                  <a:gd name="connsiteY18" fmla="*/ 138857 h 221510"/>
                  <a:gd name="connsiteX19" fmla="*/ 53260 w 318367"/>
                  <a:gd name="connsiteY19" fmla="*/ 160457 h 221510"/>
                  <a:gd name="connsiteX20" fmla="*/ 77946 w 318367"/>
                  <a:gd name="connsiteY20" fmla="*/ 163543 h 221510"/>
                  <a:gd name="connsiteX21" fmla="*/ 71774 w 318367"/>
                  <a:gd name="connsiteY21" fmla="*/ 166628 h 221510"/>
                  <a:gd name="connsiteX22" fmla="*/ 62517 w 318367"/>
                  <a:gd name="connsiteY22" fmla="*/ 182057 h 221510"/>
                  <a:gd name="connsiteX23" fmla="*/ 93374 w 318367"/>
                  <a:gd name="connsiteY23" fmla="*/ 203657 h 22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18367" h="221510">
                    <a:moveTo>
                      <a:pt x="93374" y="203657"/>
                    </a:moveTo>
                    <a:cubicBezTo>
                      <a:pt x="118060" y="206743"/>
                      <a:pt x="139660" y="209829"/>
                      <a:pt x="164346" y="212914"/>
                    </a:cubicBezTo>
                    <a:cubicBezTo>
                      <a:pt x="201374" y="219085"/>
                      <a:pt x="244574" y="231429"/>
                      <a:pt x="275431" y="206743"/>
                    </a:cubicBezTo>
                    <a:cubicBezTo>
                      <a:pt x="297031" y="191314"/>
                      <a:pt x="327888" y="163543"/>
                      <a:pt x="315545" y="132686"/>
                    </a:cubicBezTo>
                    <a:cubicBezTo>
                      <a:pt x="315545" y="129600"/>
                      <a:pt x="312460" y="129600"/>
                      <a:pt x="312460" y="129600"/>
                    </a:cubicBezTo>
                    <a:cubicBezTo>
                      <a:pt x="312460" y="129600"/>
                      <a:pt x="312460" y="129600"/>
                      <a:pt x="312460" y="126514"/>
                    </a:cubicBezTo>
                    <a:cubicBezTo>
                      <a:pt x="297031" y="55543"/>
                      <a:pt x="232231" y="0"/>
                      <a:pt x="179774" y="0"/>
                    </a:cubicBezTo>
                    <a:cubicBezTo>
                      <a:pt x="176688" y="0"/>
                      <a:pt x="167431" y="12343"/>
                      <a:pt x="170517" y="15429"/>
                    </a:cubicBezTo>
                    <a:cubicBezTo>
                      <a:pt x="185946" y="40114"/>
                      <a:pt x="226060" y="49371"/>
                      <a:pt x="226060" y="83314"/>
                    </a:cubicBezTo>
                    <a:cubicBezTo>
                      <a:pt x="170517" y="74057"/>
                      <a:pt x="121146" y="37028"/>
                      <a:pt x="62517" y="40114"/>
                    </a:cubicBezTo>
                    <a:cubicBezTo>
                      <a:pt x="53260" y="40114"/>
                      <a:pt x="28574" y="43200"/>
                      <a:pt x="40917" y="58628"/>
                    </a:cubicBezTo>
                    <a:cubicBezTo>
                      <a:pt x="47088" y="67886"/>
                      <a:pt x="68688" y="70972"/>
                      <a:pt x="77946" y="74057"/>
                    </a:cubicBezTo>
                    <a:cubicBezTo>
                      <a:pt x="93374" y="80228"/>
                      <a:pt x="111888" y="86400"/>
                      <a:pt x="130403" y="92571"/>
                    </a:cubicBezTo>
                    <a:cubicBezTo>
                      <a:pt x="108803" y="92571"/>
                      <a:pt x="84117" y="89486"/>
                      <a:pt x="62517" y="89486"/>
                    </a:cubicBezTo>
                    <a:cubicBezTo>
                      <a:pt x="47088" y="89486"/>
                      <a:pt x="28574" y="83314"/>
                      <a:pt x="13146" y="89486"/>
                    </a:cubicBezTo>
                    <a:cubicBezTo>
                      <a:pt x="3888" y="92571"/>
                      <a:pt x="-2283" y="101829"/>
                      <a:pt x="803" y="111085"/>
                    </a:cubicBezTo>
                    <a:cubicBezTo>
                      <a:pt x="3888" y="120343"/>
                      <a:pt x="10060" y="126514"/>
                      <a:pt x="19317" y="132686"/>
                    </a:cubicBezTo>
                    <a:cubicBezTo>
                      <a:pt x="19317" y="132686"/>
                      <a:pt x="19317" y="132686"/>
                      <a:pt x="16231" y="132686"/>
                    </a:cubicBezTo>
                    <a:cubicBezTo>
                      <a:pt x="16231" y="132686"/>
                      <a:pt x="13146" y="135771"/>
                      <a:pt x="16231" y="138857"/>
                    </a:cubicBezTo>
                    <a:cubicBezTo>
                      <a:pt x="25488" y="154286"/>
                      <a:pt x="37831" y="157371"/>
                      <a:pt x="53260" y="160457"/>
                    </a:cubicBezTo>
                    <a:cubicBezTo>
                      <a:pt x="62517" y="160457"/>
                      <a:pt x="68688" y="163543"/>
                      <a:pt x="77946" y="163543"/>
                    </a:cubicBezTo>
                    <a:cubicBezTo>
                      <a:pt x="74860" y="163543"/>
                      <a:pt x="74860" y="163543"/>
                      <a:pt x="71774" y="166628"/>
                    </a:cubicBezTo>
                    <a:cubicBezTo>
                      <a:pt x="65603" y="169714"/>
                      <a:pt x="59431" y="175886"/>
                      <a:pt x="62517" y="182057"/>
                    </a:cubicBezTo>
                    <a:cubicBezTo>
                      <a:pt x="65603" y="200571"/>
                      <a:pt x="84117" y="200571"/>
                      <a:pt x="93374" y="20365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1" name="任意多边形: 形状 180">
                <a:extLst>
                  <a:ext uri="{FF2B5EF4-FFF2-40B4-BE49-F238E27FC236}">
                    <a16:creationId xmlns:a16="http://schemas.microsoft.com/office/drawing/2014/main" id="{6E704B1F-0C52-4EB4-942E-4CE5CE3C18F7}"/>
                  </a:ext>
                </a:extLst>
              </p:cNvPr>
              <p:cNvSpPr/>
              <p:nvPr/>
            </p:nvSpPr>
            <p:spPr>
              <a:xfrm>
                <a:off x="6289837" y="9078353"/>
                <a:ext cx="40114" cy="58628"/>
              </a:xfrm>
              <a:custGeom>
                <a:avLst/>
                <a:gdLst>
                  <a:gd name="connsiteX0" fmla="*/ 33943 w 40114"/>
                  <a:gd name="connsiteY0" fmla="*/ 58628 h 58628"/>
                  <a:gd name="connsiteX1" fmla="*/ 33943 w 40114"/>
                  <a:gd name="connsiteY1" fmla="*/ 58628 h 58628"/>
                  <a:gd name="connsiteX2" fmla="*/ 0 w 40114"/>
                  <a:gd name="connsiteY2" fmla="*/ 6171 h 58628"/>
                  <a:gd name="connsiteX3" fmla="*/ 6171 w 40114"/>
                  <a:gd name="connsiteY3" fmla="*/ 0 h 58628"/>
                  <a:gd name="connsiteX4" fmla="*/ 6171 w 40114"/>
                  <a:gd name="connsiteY4" fmla="*/ 0 h 58628"/>
                  <a:gd name="connsiteX5" fmla="*/ 12343 w 40114"/>
                  <a:gd name="connsiteY5" fmla="*/ 6171 h 58628"/>
                  <a:gd name="connsiteX6" fmla="*/ 37028 w 40114"/>
                  <a:gd name="connsiteY6" fmla="*/ 46286 h 58628"/>
                  <a:gd name="connsiteX7" fmla="*/ 40114 w 40114"/>
                  <a:gd name="connsiteY7" fmla="*/ 55542 h 58628"/>
                  <a:gd name="connsiteX8" fmla="*/ 33943 w 40114"/>
                  <a:gd name="connsiteY8" fmla="*/ 58628 h 58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114" h="58628">
                    <a:moveTo>
                      <a:pt x="33943" y="58628"/>
                    </a:moveTo>
                    <a:cubicBezTo>
                      <a:pt x="33943" y="58628"/>
                      <a:pt x="33943" y="58628"/>
                      <a:pt x="33943" y="58628"/>
                    </a:cubicBezTo>
                    <a:cubicBezTo>
                      <a:pt x="0" y="46286"/>
                      <a:pt x="0" y="9257"/>
                      <a:pt x="0" y="6171"/>
                    </a:cubicBezTo>
                    <a:cubicBezTo>
                      <a:pt x="0" y="3085"/>
                      <a:pt x="3086" y="0"/>
                      <a:pt x="6171" y="0"/>
                    </a:cubicBezTo>
                    <a:cubicBezTo>
                      <a:pt x="6171" y="0"/>
                      <a:pt x="6171" y="0"/>
                      <a:pt x="6171" y="0"/>
                    </a:cubicBezTo>
                    <a:cubicBezTo>
                      <a:pt x="9257" y="0"/>
                      <a:pt x="12343" y="3085"/>
                      <a:pt x="12343" y="6171"/>
                    </a:cubicBezTo>
                    <a:cubicBezTo>
                      <a:pt x="12343" y="6171"/>
                      <a:pt x="12343" y="37028"/>
                      <a:pt x="37028" y="46286"/>
                    </a:cubicBezTo>
                    <a:cubicBezTo>
                      <a:pt x="40114" y="46286"/>
                      <a:pt x="40114" y="52457"/>
                      <a:pt x="40114" y="55542"/>
                    </a:cubicBezTo>
                    <a:cubicBezTo>
                      <a:pt x="40114" y="58628"/>
                      <a:pt x="37028" y="58628"/>
                      <a:pt x="33943" y="5862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2" name="任意多边形: 形状 181">
                <a:extLst>
                  <a:ext uri="{FF2B5EF4-FFF2-40B4-BE49-F238E27FC236}">
                    <a16:creationId xmlns:a16="http://schemas.microsoft.com/office/drawing/2014/main" id="{42D8A660-EA21-41B5-875A-EEFB992F0A7D}"/>
                  </a:ext>
                </a:extLst>
              </p:cNvPr>
              <p:cNvSpPr/>
              <p:nvPr/>
            </p:nvSpPr>
            <p:spPr>
              <a:xfrm>
                <a:off x="6069473" y="9028982"/>
                <a:ext cx="144499" cy="98742"/>
              </a:xfrm>
              <a:custGeom>
                <a:avLst/>
                <a:gdLst>
                  <a:gd name="connsiteX0" fmla="*/ 118535 w 144499"/>
                  <a:gd name="connsiteY0" fmla="*/ 98743 h 98742"/>
                  <a:gd name="connsiteX1" fmla="*/ 118535 w 144499"/>
                  <a:gd name="connsiteY1" fmla="*/ 98743 h 98742"/>
                  <a:gd name="connsiteX2" fmla="*/ 22878 w 144499"/>
                  <a:gd name="connsiteY2" fmla="*/ 83314 h 98742"/>
                  <a:gd name="connsiteX3" fmla="*/ 1278 w 144499"/>
                  <a:gd name="connsiteY3" fmla="*/ 64800 h 98742"/>
                  <a:gd name="connsiteX4" fmla="*/ 4364 w 144499"/>
                  <a:gd name="connsiteY4" fmla="*/ 40114 h 98742"/>
                  <a:gd name="connsiteX5" fmla="*/ 90764 w 144499"/>
                  <a:gd name="connsiteY5" fmla="*/ 33943 h 98742"/>
                  <a:gd name="connsiteX6" fmla="*/ 44478 w 144499"/>
                  <a:gd name="connsiteY6" fmla="*/ 12343 h 98742"/>
                  <a:gd name="connsiteX7" fmla="*/ 41392 w 144499"/>
                  <a:gd name="connsiteY7" fmla="*/ 3086 h 98742"/>
                  <a:gd name="connsiteX8" fmla="*/ 50650 w 144499"/>
                  <a:gd name="connsiteY8" fmla="*/ 0 h 98742"/>
                  <a:gd name="connsiteX9" fmla="*/ 140135 w 144499"/>
                  <a:gd name="connsiteY9" fmla="*/ 33943 h 98742"/>
                  <a:gd name="connsiteX10" fmla="*/ 143221 w 144499"/>
                  <a:gd name="connsiteY10" fmla="*/ 40114 h 98742"/>
                  <a:gd name="connsiteX11" fmla="*/ 137050 w 144499"/>
                  <a:gd name="connsiteY11" fmla="*/ 46286 h 98742"/>
                  <a:gd name="connsiteX12" fmla="*/ 16707 w 144499"/>
                  <a:gd name="connsiteY12" fmla="*/ 46286 h 98742"/>
                  <a:gd name="connsiteX13" fmla="*/ 13621 w 144499"/>
                  <a:gd name="connsiteY13" fmla="*/ 58628 h 98742"/>
                  <a:gd name="connsiteX14" fmla="*/ 29050 w 144499"/>
                  <a:gd name="connsiteY14" fmla="*/ 70972 h 98742"/>
                  <a:gd name="connsiteX15" fmla="*/ 124707 w 144499"/>
                  <a:gd name="connsiteY15" fmla="*/ 86400 h 98742"/>
                  <a:gd name="connsiteX16" fmla="*/ 130878 w 144499"/>
                  <a:gd name="connsiteY16" fmla="*/ 92571 h 98742"/>
                  <a:gd name="connsiteX17" fmla="*/ 118535 w 144499"/>
                  <a:gd name="connsiteY17" fmla="*/ 98743 h 98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4499" h="98742">
                    <a:moveTo>
                      <a:pt x="118535" y="98743"/>
                    </a:moveTo>
                    <a:cubicBezTo>
                      <a:pt x="118535" y="98743"/>
                      <a:pt x="118535" y="98743"/>
                      <a:pt x="118535" y="98743"/>
                    </a:cubicBezTo>
                    <a:cubicBezTo>
                      <a:pt x="115449" y="98743"/>
                      <a:pt x="38307" y="89486"/>
                      <a:pt x="22878" y="83314"/>
                    </a:cubicBezTo>
                    <a:cubicBezTo>
                      <a:pt x="13621" y="80229"/>
                      <a:pt x="4364" y="74057"/>
                      <a:pt x="1278" y="64800"/>
                    </a:cubicBezTo>
                    <a:cubicBezTo>
                      <a:pt x="-1808" y="55543"/>
                      <a:pt x="1278" y="49372"/>
                      <a:pt x="4364" y="40114"/>
                    </a:cubicBezTo>
                    <a:cubicBezTo>
                      <a:pt x="10535" y="30857"/>
                      <a:pt x="50650" y="30857"/>
                      <a:pt x="90764" y="33943"/>
                    </a:cubicBezTo>
                    <a:cubicBezTo>
                      <a:pt x="66078" y="24686"/>
                      <a:pt x="44478" y="15429"/>
                      <a:pt x="44478" y="12343"/>
                    </a:cubicBezTo>
                    <a:cubicBezTo>
                      <a:pt x="41392" y="12343"/>
                      <a:pt x="41392" y="6171"/>
                      <a:pt x="41392" y="3086"/>
                    </a:cubicBezTo>
                    <a:cubicBezTo>
                      <a:pt x="41392" y="0"/>
                      <a:pt x="47564" y="0"/>
                      <a:pt x="50650" y="0"/>
                    </a:cubicBezTo>
                    <a:cubicBezTo>
                      <a:pt x="50650" y="0"/>
                      <a:pt x="106192" y="24686"/>
                      <a:pt x="140135" y="33943"/>
                    </a:cubicBezTo>
                    <a:cubicBezTo>
                      <a:pt x="143221" y="33943"/>
                      <a:pt x="146307" y="37028"/>
                      <a:pt x="143221" y="40114"/>
                    </a:cubicBezTo>
                    <a:cubicBezTo>
                      <a:pt x="143221" y="43200"/>
                      <a:pt x="140135" y="46286"/>
                      <a:pt x="137050" y="46286"/>
                    </a:cubicBezTo>
                    <a:cubicBezTo>
                      <a:pt x="84592" y="40114"/>
                      <a:pt x="22878" y="40114"/>
                      <a:pt x="16707" y="46286"/>
                    </a:cubicBezTo>
                    <a:cubicBezTo>
                      <a:pt x="13621" y="49372"/>
                      <a:pt x="13621" y="55543"/>
                      <a:pt x="13621" y="58628"/>
                    </a:cubicBezTo>
                    <a:cubicBezTo>
                      <a:pt x="16707" y="64800"/>
                      <a:pt x="19792" y="67886"/>
                      <a:pt x="29050" y="70972"/>
                    </a:cubicBezTo>
                    <a:cubicBezTo>
                      <a:pt x="44478" y="74057"/>
                      <a:pt x="121621" y="86400"/>
                      <a:pt x="124707" y="86400"/>
                    </a:cubicBezTo>
                    <a:cubicBezTo>
                      <a:pt x="127792" y="86400"/>
                      <a:pt x="130878" y="89486"/>
                      <a:pt x="130878" y="92571"/>
                    </a:cubicBezTo>
                    <a:cubicBezTo>
                      <a:pt x="124707" y="95657"/>
                      <a:pt x="121621" y="98743"/>
                      <a:pt x="118535" y="9874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3" name="任意多边形: 形状 182">
                <a:extLst>
                  <a:ext uri="{FF2B5EF4-FFF2-40B4-BE49-F238E27FC236}">
                    <a16:creationId xmlns:a16="http://schemas.microsoft.com/office/drawing/2014/main" id="{3C436C00-73C6-4397-A913-8F4348AF0EA6}"/>
                  </a:ext>
                </a:extLst>
              </p:cNvPr>
              <p:cNvSpPr/>
              <p:nvPr/>
            </p:nvSpPr>
            <p:spPr>
              <a:xfrm>
                <a:off x="6083094" y="9099953"/>
                <a:ext cx="135771" cy="52457"/>
              </a:xfrm>
              <a:custGeom>
                <a:avLst/>
                <a:gdLst>
                  <a:gd name="connsiteX0" fmla="*/ 132686 w 135771"/>
                  <a:gd name="connsiteY0" fmla="*/ 52457 h 52457"/>
                  <a:gd name="connsiteX1" fmla="*/ 70971 w 135771"/>
                  <a:gd name="connsiteY1" fmla="*/ 49371 h 52457"/>
                  <a:gd name="connsiteX2" fmla="*/ 6171 w 135771"/>
                  <a:gd name="connsiteY2" fmla="*/ 33943 h 52457"/>
                  <a:gd name="connsiteX3" fmla="*/ 3086 w 135771"/>
                  <a:gd name="connsiteY3" fmla="*/ 3085 h 52457"/>
                  <a:gd name="connsiteX4" fmla="*/ 12343 w 135771"/>
                  <a:gd name="connsiteY4" fmla="*/ 0 h 52457"/>
                  <a:gd name="connsiteX5" fmla="*/ 15429 w 135771"/>
                  <a:gd name="connsiteY5" fmla="*/ 9257 h 52457"/>
                  <a:gd name="connsiteX6" fmla="*/ 15429 w 135771"/>
                  <a:gd name="connsiteY6" fmla="*/ 24686 h 52457"/>
                  <a:gd name="connsiteX7" fmla="*/ 74057 w 135771"/>
                  <a:gd name="connsiteY7" fmla="*/ 37028 h 52457"/>
                  <a:gd name="connsiteX8" fmla="*/ 135771 w 135771"/>
                  <a:gd name="connsiteY8" fmla="*/ 40114 h 52457"/>
                  <a:gd name="connsiteX9" fmla="*/ 132686 w 135771"/>
                  <a:gd name="connsiteY9" fmla="*/ 52457 h 52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5771" h="52457">
                    <a:moveTo>
                      <a:pt x="132686" y="52457"/>
                    </a:moveTo>
                    <a:cubicBezTo>
                      <a:pt x="132686" y="52457"/>
                      <a:pt x="80229" y="49371"/>
                      <a:pt x="70971" y="49371"/>
                    </a:cubicBezTo>
                    <a:cubicBezTo>
                      <a:pt x="64800" y="49371"/>
                      <a:pt x="18514" y="43200"/>
                      <a:pt x="6171" y="33943"/>
                    </a:cubicBezTo>
                    <a:cubicBezTo>
                      <a:pt x="-3086" y="24686"/>
                      <a:pt x="0" y="9257"/>
                      <a:pt x="3086" y="3085"/>
                    </a:cubicBezTo>
                    <a:cubicBezTo>
                      <a:pt x="6171" y="0"/>
                      <a:pt x="9257" y="0"/>
                      <a:pt x="12343" y="0"/>
                    </a:cubicBezTo>
                    <a:cubicBezTo>
                      <a:pt x="15429" y="3085"/>
                      <a:pt x="15429" y="6171"/>
                      <a:pt x="15429" y="9257"/>
                    </a:cubicBezTo>
                    <a:cubicBezTo>
                      <a:pt x="15429" y="9257"/>
                      <a:pt x="9257" y="21600"/>
                      <a:pt x="15429" y="24686"/>
                    </a:cubicBezTo>
                    <a:cubicBezTo>
                      <a:pt x="21600" y="30857"/>
                      <a:pt x="61714" y="37028"/>
                      <a:pt x="74057" y="37028"/>
                    </a:cubicBezTo>
                    <a:cubicBezTo>
                      <a:pt x="83314" y="37028"/>
                      <a:pt x="135771" y="40114"/>
                      <a:pt x="135771" y="40114"/>
                    </a:cubicBezTo>
                    <a:lnTo>
                      <a:pt x="132686" y="52457"/>
                    </a:ln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32737A8A-E0E5-4842-860E-886249E1DD4D}"/>
                </a:ext>
              </a:extLst>
            </p:cNvPr>
            <p:cNvSpPr/>
            <p:nvPr/>
          </p:nvSpPr>
          <p:spPr>
            <a:xfrm>
              <a:off x="5286979" y="8312938"/>
              <a:ext cx="280799" cy="261429"/>
            </a:xfrm>
            <a:custGeom>
              <a:avLst/>
              <a:gdLst>
                <a:gd name="connsiteX0" fmla="*/ 240686 w 280799"/>
                <a:gd name="connsiteY0" fmla="*/ 185300 h 261429"/>
                <a:gd name="connsiteX1" fmla="*/ 268457 w 280799"/>
                <a:gd name="connsiteY1" fmla="*/ 135929 h 261429"/>
                <a:gd name="connsiteX2" fmla="*/ 280800 w 280799"/>
                <a:gd name="connsiteY2" fmla="*/ 98900 h 261429"/>
                <a:gd name="connsiteX3" fmla="*/ 259200 w 280799"/>
                <a:gd name="connsiteY3" fmla="*/ 46443 h 261429"/>
                <a:gd name="connsiteX4" fmla="*/ 243771 w 280799"/>
                <a:gd name="connsiteY4" fmla="*/ 158 h 261429"/>
                <a:gd name="connsiteX5" fmla="*/ 0 w 280799"/>
                <a:gd name="connsiteY5" fmla="*/ 132843 h 261429"/>
                <a:gd name="connsiteX6" fmla="*/ 74057 w 280799"/>
                <a:gd name="connsiteY6" fmla="*/ 256272 h 261429"/>
                <a:gd name="connsiteX7" fmla="*/ 206743 w 280799"/>
                <a:gd name="connsiteY7" fmla="*/ 213072 h 261429"/>
                <a:gd name="connsiteX8" fmla="*/ 240686 w 280799"/>
                <a:gd name="connsiteY8" fmla="*/ 185300 h 26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99" h="261429">
                  <a:moveTo>
                    <a:pt x="240686" y="185300"/>
                  </a:moveTo>
                  <a:cubicBezTo>
                    <a:pt x="240686" y="176043"/>
                    <a:pt x="262286" y="154443"/>
                    <a:pt x="268457" y="135929"/>
                  </a:cubicBezTo>
                  <a:cubicBezTo>
                    <a:pt x="268457" y="132843"/>
                    <a:pt x="280800" y="111243"/>
                    <a:pt x="280800" y="98900"/>
                  </a:cubicBezTo>
                  <a:cubicBezTo>
                    <a:pt x="280800" y="86558"/>
                    <a:pt x="240686" y="58786"/>
                    <a:pt x="259200" y="46443"/>
                  </a:cubicBezTo>
                  <a:cubicBezTo>
                    <a:pt x="271543" y="40272"/>
                    <a:pt x="256114" y="-2928"/>
                    <a:pt x="243771" y="158"/>
                  </a:cubicBezTo>
                  <a:cubicBezTo>
                    <a:pt x="175886" y="9415"/>
                    <a:pt x="3086" y="46443"/>
                    <a:pt x="0" y="132843"/>
                  </a:cubicBezTo>
                  <a:cubicBezTo>
                    <a:pt x="0" y="132843"/>
                    <a:pt x="43200" y="240843"/>
                    <a:pt x="74057" y="256272"/>
                  </a:cubicBezTo>
                  <a:cubicBezTo>
                    <a:pt x="117257" y="277872"/>
                    <a:pt x="163543" y="225415"/>
                    <a:pt x="206743" y="213072"/>
                  </a:cubicBezTo>
                  <a:cubicBezTo>
                    <a:pt x="231429" y="203814"/>
                    <a:pt x="240686" y="200729"/>
                    <a:pt x="240686" y="185300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83E80C8A-25B2-4B95-85CD-1F42E252D490}"/>
                </a:ext>
              </a:extLst>
            </p:cNvPr>
            <p:cNvGrpSpPr/>
            <p:nvPr/>
          </p:nvGrpSpPr>
          <p:grpSpPr>
            <a:xfrm>
              <a:off x="4975322" y="7528660"/>
              <a:ext cx="912888" cy="1057664"/>
              <a:chOff x="4975322" y="7528660"/>
              <a:chExt cx="912888" cy="1057664"/>
            </a:xfrm>
          </p:grpSpPr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747E0F00-BC3B-449B-938A-5143714F1D02}"/>
                  </a:ext>
                </a:extLst>
              </p:cNvPr>
              <p:cNvSpPr/>
              <p:nvPr/>
            </p:nvSpPr>
            <p:spPr>
              <a:xfrm>
                <a:off x="5030280" y="7803953"/>
                <a:ext cx="849942" cy="782371"/>
              </a:xfrm>
              <a:custGeom>
                <a:avLst/>
                <a:gdLst>
                  <a:gd name="connsiteX0" fmla="*/ 585 w 849942"/>
                  <a:gd name="connsiteY0" fmla="*/ 21600 h 782371"/>
                  <a:gd name="connsiteX1" fmla="*/ 148699 w 849942"/>
                  <a:gd name="connsiteY1" fmla="*/ 357943 h 782371"/>
                  <a:gd name="connsiteX2" fmla="*/ 380128 w 849942"/>
                  <a:gd name="connsiteY2" fmla="*/ 614057 h 782371"/>
                  <a:gd name="connsiteX3" fmla="*/ 315328 w 849942"/>
                  <a:gd name="connsiteY3" fmla="*/ 731314 h 782371"/>
                  <a:gd name="connsiteX4" fmla="*/ 340013 w 849942"/>
                  <a:gd name="connsiteY4" fmla="*/ 746743 h 782371"/>
                  <a:gd name="connsiteX5" fmla="*/ 377042 w 849942"/>
                  <a:gd name="connsiteY5" fmla="*/ 715886 h 782371"/>
                  <a:gd name="connsiteX6" fmla="*/ 386299 w 849942"/>
                  <a:gd name="connsiteY6" fmla="*/ 771429 h 782371"/>
                  <a:gd name="connsiteX7" fmla="*/ 414071 w 849942"/>
                  <a:gd name="connsiteY7" fmla="*/ 774514 h 782371"/>
                  <a:gd name="connsiteX8" fmla="*/ 444928 w 849942"/>
                  <a:gd name="connsiteY8" fmla="*/ 703543 h 782371"/>
                  <a:gd name="connsiteX9" fmla="*/ 481956 w 849942"/>
                  <a:gd name="connsiteY9" fmla="*/ 740571 h 782371"/>
                  <a:gd name="connsiteX10" fmla="*/ 509728 w 849942"/>
                  <a:gd name="connsiteY10" fmla="*/ 728228 h 782371"/>
                  <a:gd name="connsiteX11" fmla="*/ 454185 w 849942"/>
                  <a:gd name="connsiteY11" fmla="*/ 604800 h 782371"/>
                  <a:gd name="connsiteX12" fmla="*/ 512814 w 849942"/>
                  <a:gd name="connsiteY12" fmla="*/ 530743 h 782371"/>
                  <a:gd name="connsiteX13" fmla="*/ 586870 w 849942"/>
                  <a:gd name="connsiteY13" fmla="*/ 438171 h 782371"/>
                  <a:gd name="connsiteX14" fmla="*/ 846071 w 849942"/>
                  <a:gd name="connsiteY14" fmla="*/ 80228 h 782371"/>
                  <a:gd name="connsiteX15" fmla="*/ 849156 w 849942"/>
                  <a:gd name="connsiteY15" fmla="*/ 67886 h 782371"/>
                  <a:gd name="connsiteX16" fmla="*/ 833728 w 849942"/>
                  <a:gd name="connsiteY16" fmla="*/ 46286 h 782371"/>
                  <a:gd name="connsiteX17" fmla="*/ 25271 w 849942"/>
                  <a:gd name="connsiteY17" fmla="*/ 0 h 782371"/>
                  <a:gd name="connsiteX18" fmla="*/ 585 w 849942"/>
                  <a:gd name="connsiteY18" fmla="*/ 21600 h 782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49942" h="782371">
                    <a:moveTo>
                      <a:pt x="585" y="21600"/>
                    </a:moveTo>
                    <a:cubicBezTo>
                      <a:pt x="31442" y="141943"/>
                      <a:pt x="80813" y="253028"/>
                      <a:pt x="148699" y="357943"/>
                    </a:cubicBezTo>
                    <a:cubicBezTo>
                      <a:pt x="207328" y="444343"/>
                      <a:pt x="287556" y="561600"/>
                      <a:pt x="380128" y="614057"/>
                    </a:cubicBezTo>
                    <a:cubicBezTo>
                      <a:pt x="343099" y="638743"/>
                      <a:pt x="321499" y="691200"/>
                      <a:pt x="315328" y="731314"/>
                    </a:cubicBezTo>
                    <a:cubicBezTo>
                      <a:pt x="312242" y="746743"/>
                      <a:pt x="327671" y="756000"/>
                      <a:pt x="340013" y="746743"/>
                    </a:cubicBezTo>
                    <a:cubicBezTo>
                      <a:pt x="352356" y="737486"/>
                      <a:pt x="364699" y="725143"/>
                      <a:pt x="377042" y="715886"/>
                    </a:cubicBezTo>
                    <a:cubicBezTo>
                      <a:pt x="377042" y="734400"/>
                      <a:pt x="380128" y="752914"/>
                      <a:pt x="386299" y="771429"/>
                    </a:cubicBezTo>
                    <a:cubicBezTo>
                      <a:pt x="389385" y="783771"/>
                      <a:pt x="407899" y="786857"/>
                      <a:pt x="414071" y="774514"/>
                    </a:cubicBezTo>
                    <a:cubicBezTo>
                      <a:pt x="426413" y="752914"/>
                      <a:pt x="438756" y="728228"/>
                      <a:pt x="444928" y="703543"/>
                    </a:cubicBezTo>
                    <a:cubicBezTo>
                      <a:pt x="457271" y="715886"/>
                      <a:pt x="469613" y="728228"/>
                      <a:pt x="481956" y="740571"/>
                    </a:cubicBezTo>
                    <a:cubicBezTo>
                      <a:pt x="491213" y="749829"/>
                      <a:pt x="509728" y="743657"/>
                      <a:pt x="509728" y="728228"/>
                    </a:cubicBezTo>
                    <a:cubicBezTo>
                      <a:pt x="506642" y="681943"/>
                      <a:pt x="488128" y="638743"/>
                      <a:pt x="454185" y="604800"/>
                    </a:cubicBezTo>
                    <a:cubicBezTo>
                      <a:pt x="475785" y="586286"/>
                      <a:pt x="494299" y="552343"/>
                      <a:pt x="512814" y="530743"/>
                    </a:cubicBezTo>
                    <a:cubicBezTo>
                      <a:pt x="537499" y="499886"/>
                      <a:pt x="562185" y="469028"/>
                      <a:pt x="586870" y="438171"/>
                    </a:cubicBezTo>
                    <a:cubicBezTo>
                      <a:pt x="676356" y="320914"/>
                      <a:pt x="762756" y="200571"/>
                      <a:pt x="846071" y="80228"/>
                    </a:cubicBezTo>
                    <a:cubicBezTo>
                      <a:pt x="849156" y="77143"/>
                      <a:pt x="849156" y="70972"/>
                      <a:pt x="849156" y="67886"/>
                    </a:cubicBezTo>
                    <a:cubicBezTo>
                      <a:pt x="852242" y="58628"/>
                      <a:pt x="846071" y="46286"/>
                      <a:pt x="833728" y="46286"/>
                    </a:cubicBezTo>
                    <a:cubicBezTo>
                      <a:pt x="562185" y="52457"/>
                      <a:pt x="293728" y="37028"/>
                      <a:pt x="25271" y="0"/>
                    </a:cubicBezTo>
                    <a:cubicBezTo>
                      <a:pt x="6756" y="3085"/>
                      <a:pt x="-2501" y="9257"/>
                      <a:pt x="585" y="2160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9" name="图形 1">
                <a:extLst>
                  <a:ext uri="{FF2B5EF4-FFF2-40B4-BE49-F238E27FC236}">
                    <a16:creationId xmlns:a16="http://schemas.microsoft.com/office/drawing/2014/main" id="{16B8C585-CE98-443C-80BD-C980F692C445}"/>
                  </a:ext>
                </a:extLst>
              </p:cNvPr>
              <p:cNvGrpSpPr/>
              <p:nvPr/>
            </p:nvGrpSpPr>
            <p:grpSpPr>
              <a:xfrm>
                <a:off x="5652369" y="7726592"/>
                <a:ext cx="235842" cy="231412"/>
                <a:chOff x="5652369" y="7726592"/>
                <a:chExt cx="235842" cy="231412"/>
              </a:xfrm>
            </p:grpSpPr>
            <p:sp>
              <p:nvSpPr>
                <p:cNvPr id="174" name="任意多边形: 形状 173">
                  <a:extLst>
                    <a:ext uri="{FF2B5EF4-FFF2-40B4-BE49-F238E27FC236}">
                      <a16:creationId xmlns:a16="http://schemas.microsoft.com/office/drawing/2014/main" id="{142B9FF2-C99E-4ECF-BD5A-0F865324C0DB}"/>
                    </a:ext>
                  </a:extLst>
                </p:cNvPr>
                <p:cNvSpPr/>
                <p:nvPr/>
              </p:nvSpPr>
              <p:spPr>
                <a:xfrm>
                  <a:off x="5664519" y="7732742"/>
                  <a:ext cx="110003" cy="108239"/>
                </a:xfrm>
                <a:custGeom>
                  <a:avLst/>
                  <a:gdLst>
                    <a:gd name="connsiteX0" fmla="*/ 110004 w 110003"/>
                    <a:gd name="connsiteY0" fmla="*/ 108240 h 108239"/>
                    <a:gd name="connsiteX1" fmla="*/ 14346 w 110003"/>
                    <a:gd name="connsiteY1" fmla="*/ 21840 h 108239"/>
                    <a:gd name="connsiteX2" fmla="*/ 110004 w 110003"/>
                    <a:gd name="connsiteY2" fmla="*/ 108240 h 108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0003" h="108239">
                      <a:moveTo>
                        <a:pt x="110004" y="108240"/>
                      </a:moveTo>
                      <a:cubicBezTo>
                        <a:pt x="110004" y="108240"/>
                        <a:pt x="76061" y="-58389"/>
                        <a:pt x="14346" y="21840"/>
                      </a:cubicBezTo>
                      <a:cubicBezTo>
                        <a:pt x="-47368" y="102069"/>
                        <a:pt x="110004" y="108240"/>
                        <a:pt x="110004" y="10824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5" name="任意多边形: 形状 174">
                  <a:extLst>
                    <a:ext uri="{FF2B5EF4-FFF2-40B4-BE49-F238E27FC236}">
                      <a16:creationId xmlns:a16="http://schemas.microsoft.com/office/drawing/2014/main" id="{76E2A3E5-8B2B-4FA9-9810-E11A19C5D1CF}"/>
                    </a:ext>
                  </a:extLst>
                </p:cNvPr>
                <p:cNvSpPr/>
                <p:nvPr/>
              </p:nvSpPr>
              <p:spPr>
                <a:xfrm>
                  <a:off x="5777608" y="7726592"/>
                  <a:ext cx="71212" cy="120561"/>
                </a:xfrm>
                <a:custGeom>
                  <a:avLst/>
                  <a:gdLst>
                    <a:gd name="connsiteX0" fmla="*/ 0 w 71212"/>
                    <a:gd name="connsiteY0" fmla="*/ 120561 h 120561"/>
                    <a:gd name="connsiteX1" fmla="*/ 40114 w 71212"/>
                    <a:gd name="connsiteY1" fmla="*/ 219 h 120561"/>
                    <a:gd name="connsiteX2" fmla="*/ 0 w 71212"/>
                    <a:gd name="connsiteY2" fmla="*/ 120561 h 120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1212" h="120561">
                      <a:moveTo>
                        <a:pt x="0" y="120561"/>
                      </a:moveTo>
                      <a:cubicBezTo>
                        <a:pt x="0" y="120561"/>
                        <a:pt x="0" y="-5953"/>
                        <a:pt x="40114" y="219"/>
                      </a:cubicBezTo>
                      <a:cubicBezTo>
                        <a:pt x="77143" y="9476"/>
                        <a:pt x="98743" y="68104"/>
                        <a:pt x="0" y="120561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6" name="任意多边形: 形状 175">
                  <a:extLst>
                    <a:ext uri="{FF2B5EF4-FFF2-40B4-BE49-F238E27FC236}">
                      <a16:creationId xmlns:a16="http://schemas.microsoft.com/office/drawing/2014/main" id="{227BD3BC-5B07-45F5-8E06-2BC1F95C1153}"/>
                    </a:ext>
                  </a:extLst>
                </p:cNvPr>
                <p:cNvSpPr/>
                <p:nvPr/>
              </p:nvSpPr>
              <p:spPr>
                <a:xfrm>
                  <a:off x="5652369" y="7849660"/>
                  <a:ext cx="112895" cy="77782"/>
                </a:xfrm>
                <a:custGeom>
                  <a:avLst/>
                  <a:gdLst>
                    <a:gd name="connsiteX0" fmla="*/ 112896 w 112895"/>
                    <a:gd name="connsiteY0" fmla="*/ 579 h 77782"/>
                    <a:gd name="connsiteX1" fmla="*/ 1810 w 112895"/>
                    <a:gd name="connsiteY1" fmla="*/ 46864 h 77782"/>
                    <a:gd name="connsiteX2" fmla="*/ 112896 w 112895"/>
                    <a:gd name="connsiteY2" fmla="*/ 579 h 77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2895" h="77782">
                      <a:moveTo>
                        <a:pt x="112896" y="579"/>
                      </a:moveTo>
                      <a:cubicBezTo>
                        <a:pt x="112896" y="579"/>
                        <a:pt x="-16704" y="-8679"/>
                        <a:pt x="1810" y="46864"/>
                      </a:cubicBezTo>
                      <a:cubicBezTo>
                        <a:pt x="23410" y="102407"/>
                        <a:pt x="100553" y="80807"/>
                        <a:pt x="112896" y="57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7" name="任意多边形: 形状 176">
                  <a:extLst>
                    <a:ext uri="{FF2B5EF4-FFF2-40B4-BE49-F238E27FC236}">
                      <a16:creationId xmlns:a16="http://schemas.microsoft.com/office/drawing/2014/main" id="{464C99BD-7D4C-4A9C-94B1-1C3F04654A7B}"/>
                    </a:ext>
                  </a:extLst>
                </p:cNvPr>
                <p:cNvSpPr/>
                <p:nvPr/>
              </p:nvSpPr>
              <p:spPr>
                <a:xfrm>
                  <a:off x="5748896" y="7859496"/>
                  <a:ext cx="59963" cy="98507"/>
                </a:xfrm>
                <a:custGeom>
                  <a:avLst/>
                  <a:gdLst>
                    <a:gd name="connsiteX0" fmla="*/ 25626 w 59963"/>
                    <a:gd name="connsiteY0" fmla="*/ 0 h 98507"/>
                    <a:gd name="connsiteX1" fmla="*/ 22540 w 59963"/>
                    <a:gd name="connsiteY1" fmla="*/ 95657 h 98507"/>
                    <a:gd name="connsiteX2" fmla="*/ 25626 w 59963"/>
                    <a:gd name="connsiteY2" fmla="*/ 0 h 985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9963" h="98507">
                      <a:moveTo>
                        <a:pt x="25626" y="0"/>
                      </a:moveTo>
                      <a:cubicBezTo>
                        <a:pt x="25626" y="0"/>
                        <a:pt x="-29917" y="80228"/>
                        <a:pt x="22540" y="95657"/>
                      </a:cubicBezTo>
                      <a:cubicBezTo>
                        <a:pt x="74998" y="111085"/>
                        <a:pt x="68826" y="61714"/>
                        <a:pt x="25626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8" name="任意多边形: 形状 177">
                  <a:extLst>
                    <a:ext uri="{FF2B5EF4-FFF2-40B4-BE49-F238E27FC236}">
                      <a16:creationId xmlns:a16="http://schemas.microsoft.com/office/drawing/2014/main" id="{74BF41D1-1D42-4C96-97AD-AC4F9D77245E}"/>
                    </a:ext>
                  </a:extLst>
                </p:cNvPr>
                <p:cNvSpPr/>
                <p:nvPr/>
              </p:nvSpPr>
              <p:spPr>
                <a:xfrm>
                  <a:off x="5786865" y="7829515"/>
                  <a:ext cx="101346" cy="60117"/>
                </a:xfrm>
                <a:custGeom>
                  <a:avLst/>
                  <a:gdLst>
                    <a:gd name="connsiteX0" fmla="*/ 0 w 101346"/>
                    <a:gd name="connsiteY0" fmla="*/ 29981 h 60117"/>
                    <a:gd name="connsiteX1" fmla="*/ 92571 w 101346"/>
                    <a:gd name="connsiteY1" fmla="*/ 14552 h 60117"/>
                    <a:gd name="connsiteX2" fmla="*/ 0 w 101346"/>
                    <a:gd name="connsiteY2" fmla="*/ 29981 h 601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46" h="60117">
                      <a:moveTo>
                        <a:pt x="0" y="29981"/>
                      </a:moveTo>
                      <a:cubicBezTo>
                        <a:pt x="0" y="29981"/>
                        <a:pt x="64800" y="-25562"/>
                        <a:pt x="92571" y="14552"/>
                      </a:cubicBezTo>
                      <a:cubicBezTo>
                        <a:pt x="120343" y="54666"/>
                        <a:pt x="80229" y="85523"/>
                        <a:pt x="0" y="29981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9" name="任意多边形: 形状 178">
                  <a:extLst>
                    <a:ext uri="{FF2B5EF4-FFF2-40B4-BE49-F238E27FC236}">
                      <a16:creationId xmlns:a16="http://schemas.microsoft.com/office/drawing/2014/main" id="{6AC2AB4E-977E-494A-B616-4B9195985F46}"/>
                    </a:ext>
                  </a:extLst>
                </p:cNvPr>
                <p:cNvSpPr/>
                <p:nvPr/>
              </p:nvSpPr>
              <p:spPr>
                <a:xfrm>
                  <a:off x="5746275" y="7821991"/>
                  <a:ext cx="59580" cy="59689"/>
                </a:xfrm>
                <a:custGeom>
                  <a:avLst/>
                  <a:gdLst>
                    <a:gd name="connsiteX0" fmla="*/ 59105 w 59580"/>
                    <a:gd name="connsiteY0" fmla="*/ 34419 h 59689"/>
                    <a:gd name="connsiteX1" fmla="*/ 34419 w 59580"/>
                    <a:gd name="connsiteY1" fmla="*/ 476 h 59689"/>
                    <a:gd name="connsiteX2" fmla="*/ 476 w 59580"/>
                    <a:gd name="connsiteY2" fmla="*/ 25162 h 59689"/>
                    <a:gd name="connsiteX3" fmla="*/ 25162 w 59580"/>
                    <a:gd name="connsiteY3" fmla="*/ 59105 h 59689"/>
                    <a:gd name="connsiteX4" fmla="*/ 59105 w 59580"/>
                    <a:gd name="connsiteY4" fmla="*/ 34419 h 59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580" h="59689">
                      <a:moveTo>
                        <a:pt x="59105" y="34419"/>
                      </a:moveTo>
                      <a:cubicBezTo>
                        <a:pt x="62190" y="18990"/>
                        <a:pt x="49847" y="3562"/>
                        <a:pt x="34419" y="476"/>
                      </a:cubicBezTo>
                      <a:cubicBezTo>
                        <a:pt x="18990" y="-2609"/>
                        <a:pt x="3562" y="9733"/>
                        <a:pt x="476" y="25162"/>
                      </a:cubicBezTo>
                      <a:cubicBezTo>
                        <a:pt x="-2610" y="40590"/>
                        <a:pt x="9733" y="56019"/>
                        <a:pt x="25162" y="59105"/>
                      </a:cubicBezTo>
                      <a:cubicBezTo>
                        <a:pt x="40590" y="62190"/>
                        <a:pt x="56019" y="52933"/>
                        <a:pt x="59105" y="34419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0" name="图形 1">
                <a:extLst>
                  <a:ext uri="{FF2B5EF4-FFF2-40B4-BE49-F238E27FC236}">
                    <a16:creationId xmlns:a16="http://schemas.microsoft.com/office/drawing/2014/main" id="{B4C038CC-BB2C-4DBB-8803-1D5751073FDD}"/>
                  </a:ext>
                </a:extLst>
              </p:cNvPr>
              <p:cNvGrpSpPr/>
              <p:nvPr/>
            </p:nvGrpSpPr>
            <p:grpSpPr>
              <a:xfrm>
                <a:off x="5513512" y="7735849"/>
                <a:ext cx="232756" cy="232333"/>
                <a:chOff x="5513512" y="7735849"/>
                <a:chExt cx="232756" cy="232333"/>
              </a:xfrm>
            </p:grpSpPr>
            <p:sp>
              <p:nvSpPr>
                <p:cNvPr id="168" name="任意多边形: 形状 167">
                  <a:extLst>
                    <a:ext uri="{FF2B5EF4-FFF2-40B4-BE49-F238E27FC236}">
                      <a16:creationId xmlns:a16="http://schemas.microsoft.com/office/drawing/2014/main" id="{494E4FEA-81CC-40A4-9E84-32EB07686611}"/>
                    </a:ext>
                  </a:extLst>
                </p:cNvPr>
                <p:cNvSpPr/>
                <p:nvPr/>
              </p:nvSpPr>
              <p:spPr>
                <a:xfrm>
                  <a:off x="5522576" y="7741999"/>
                  <a:ext cx="110003" cy="108240"/>
                </a:xfrm>
                <a:custGeom>
                  <a:avLst/>
                  <a:gdLst>
                    <a:gd name="connsiteX0" fmla="*/ 110003 w 110003"/>
                    <a:gd name="connsiteY0" fmla="*/ 108240 h 108240"/>
                    <a:gd name="connsiteX1" fmla="*/ 14346 w 110003"/>
                    <a:gd name="connsiteY1" fmla="*/ 21840 h 108240"/>
                    <a:gd name="connsiteX2" fmla="*/ 110003 w 110003"/>
                    <a:gd name="connsiteY2" fmla="*/ 108240 h 1082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0003" h="108240">
                      <a:moveTo>
                        <a:pt x="110003" y="108240"/>
                      </a:moveTo>
                      <a:cubicBezTo>
                        <a:pt x="110003" y="108240"/>
                        <a:pt x="76061" y="-58389"/>
                        <a:pt x="14346" y="21840"/>
                      </a:cubicBezTo>
                      <a:cubicBezTo>
                        <a:pt x="-47368" y="102069"/>
                        <a:pt x="110003" y="108240"/>
                        <a:pt x="110003" y="10824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9" name="任意多边形: 形状 168">
                  <a:extLst>
                    <a:ext uri="{FF2B5EF4-FFF2-40B4-BE49-F238E27FC236}">
                      <a16:creationId xmlns:a16="http://schemas.microsoft.com/office/drawing/2014/main" id="{78F1EE45-C1D3-48C7-8674-EA0508273DB7}"/>
                    </a:ext>
                  </a:extLst>
                </p:cNvPr>
                <p:cNvSpPr/>
                <p:nvPr/>
              </p:nvSpPr>
              <p:spPr>
                <a:xfrm>
                  <a:off x="5635665" y="7735849"/>
                  <a:ext cx="71212" cy="120561"/>
                </a:xfrm>
                <a:custGeom>
                  <a:avLst/>
                  <a:gdLst>
                    <a:gd name="connsiteX0" fmla="*/ 0 w 71212"/>
                    <a:gd name="connsiteY0" fmla="*/ 120561 h 120561"/>
                    <a:gd name="connsiteX1" fmla="*/ 40114 w 71212"/>
                    <a:gd name="connsiteY1" fmla="*/ 219 h 120561"/>
                    <a:gd name="connsiteX2" fmla="*/ 0 w 71212"/>
                    <a:gd name="connsiteY2" fmla="*/ 120561 h 120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1212" h="120561">
                      <a:moveTo>
                        <a:pt x="0" y="120561"/>
                      </a:moveTo>
                      <a:cubicBezTo>
                        <a:pt x="0" y="120561"/>
                        <a:pt x="0" y="-5953"/>
                        <a:pt x="40114" y="219"/>
                      </a:cubicBezTo>
                      <a:cubicBezTo>
                        <a:pt x="77143" y="12561"/>
                        <a:pt x="98743" y="68104"/>
                        <a:pt x="0" y="120561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0" name="任意多边形: 形状 169">
                  <a:extLst>
                    <a:ext uri="{FF2B5EF4-FFF2-40B4-BE49-F238E27FC236}">
                      <a16:creationId xmlns:a16="http://schemas.microsoft.com/office/drawing/2014/main" id="{DF460E71-1165-4A5C-8F87-76F1B3299BD6}"/>
                    </a:ext>
                  </a:extLst>
                </p:cNvPr>
                <p:cNvSpPr/>
                <p:nvPr/>
              </p:nvSpPr>
              <p:spPr>
                <a:xfrm>
                  <a:off x="5513512" y="7858918"/>
                  <a:ext cx="112895" cy="79137"/>
                </a:xfrm>
                <a:custGeom>
                  <a:avLst/>
                  <a:gdLst>
                    <a:gd name="connsiteX0" fmla="*/ 112896 w 112895"/>
                    <a:gd name="connsiteY0" fmla="*/ 579 h 79137"/>
                    <a:gd name="connsiteX1" fmla="*/ 1810 w 112895"/>
                    <a:gd name="connsiteY1" fmla="*/ 46864 h 79137"/>
                    <a:gd name="connsiteX2" fmla="*/ 112896 w 112895"/>
                    <a:gd name="connsiteY2" fmla="*/ 579 h 7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2895" h="79137">
                      <a:moveTo>
                        <a:pt x="112896" y="579"/>
                      </a:moveTo>
                      <a:cubicBezTo>
                        <a:pt x="112896" y="579"/>
                        <a:pt x="-16704" y="-8679"/>
                        <a:pt x="1810" y="46864"/>
                      </a:cubicBezTo>
                      <a:cubicBezTo>
                        <a:pt x="20325" y="105493"/>
                        <a:pt x="100553" y="80807"/>
                        <a:pt x="112896" y="57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1" name="任意多边形: 形状 170">
                  <a:extLst>
                    <a:ext uri="{FF2B5EF4-FFF2-40B4-BE49-F238E27FC236}">
                      <a16:creationId xmlns:a16="http://schemas.microsoft.com/office/drawing/2014/main" id="{9903B7A8-F60F-4F3D-A60F-7A897385672A}"/>
                    </a:ext>
                  </a:extLst>
                </p:cNvPr>
                <p:cNvSpPr/>
                <p:nvPr/>
              </p:nvSpPr>
              <p:spPr>
                <a:xfrm>
                  <a:off x="5610039" y="7868753"/>
                  <a:ext cx="58797" cy="99429"/>
                </a:xfrm>
                <a:custGeom>
                  <a:avLst/>
                  <a:gdLst>
                    <a:gd name="connsiteX0" fmla="*/ 25626 w 58797"/>
                    <a:gd name="connsiteY0" fmla="*/ 0 h 99429"/>
                    <a:gd name="connsiteX1" fmla="*/ 22540 w 58797"/>
                    <a:gd name="connsiteY1" fmla="*/ 95657 h 99429"/>
                    <a:gd name="connsiteX2" fmla="*/ 25626 w 58797"/>
                    <a:gd name="connsiteY2" fmla="*/ 0 h 99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797" h="99429">
                      <a:moveTo>
                        <a:pt x="25626" y="0"/>
                      </a:moveTo>
                      <a:cubicBezTo>
                        <a:pt x="25626" y="0"/>
                        <a:pt x="-29917" y="80229"/>
                        <a:pt x="22540" y="95657"/>
                      </a:cubicBezTo>
                      <a:cubicBezTo>
                        <a:pt x="71912" y="114172"/>
                        <a:pt x="68826" y="61714"/>
                        <a:pt x="25626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2" name="任意多边形: 形状 171">
                  <a:extLst>
                    <a:ext uri="{FF2B5EF4-FFF2-40B4-BE49-F238E27FC236}">
                      <a16:creationId xmlns:a16="http://schemas.microsoft.com/office/drawing/2014/main" id="{8E956D4D-7A98-41AD-92C4-C04A14BB84E3}"/>
                    </a:ext>
                  </a:extLst>
                </p:cNvPr>
                <p:cNvSpPr/>
                <p:nvPr/>
              </p:nvSpPr>
              <p:spPr>
                <a:xfrm>
                  <a:off x="5644922" y="7838772"/>
                  <a:ext cx="101346" cy="61463"/>
                </a:xfrm>
                <a:custGeom>
                  <a:avLst/>
                  <a:gdLst>
                    <a:gd name="connsiteX0" fmla="*/ 0 w 101346"/>
                    <a:gd name="connsiteY0" fmla="*/ 29980 h 61463"/>
                    <a:gd name="connsiteX1" fmla="*/ 92571 w 101346"/>
                    <a:gd name="connsiteY1" fmla="*/ 14552 h 61463"/>
                    <a:gd name="connsiteX2" fmla="*/ 0 w 101346"/>
                    <a:gd name="connsiteY2" fmla="*/ 29980 h 61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46" h="61463">
                      <a:moveTo>
                        <a:pt x="0" y="29980"/>
                      </a:moveTo>
                      <a:cubicBezTo>
                        <a:pt x="0" y="29980"/>
                        <a:pt x="64800" y="-25562"/>
                        <a:pt x="92571" y="14552"/>
                      </a:cubicBezTo>
                      <a:cubicBezTo>
                        <a:pt x="120343" y="54666"/>
                        <a:pt x="80229" y="88609"/>
                        <a:pt x="0" y="2998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3" name="任意多边形: 形状 172">
                  <a:extLst>
                    <a:ext uri="{FF2B5EF4-FFF2-40B4-BE49-F238E27FC236}">
                      <a16:creationId xmlns:a16="http://schemas.microsoft.com/office/drawing/2014/main" id="{232FD71C-D86B-43FE-9AC2-B658B9B7CEA6}"/>
                    </a:ext>
                  </a:extLst>
                </p:cNvPr>
                <p:cNvSpPr/>
                <p:nvPr/>
              </p:nvSpPr>
              <p:spPr>
                <a:xfrm>
                  <a:off x="5604332" y="7834334"/>
                  <a:ext cx="59580" cy="59580"/>
                </a:xfrm>
                <a:custGeom>
                  <a:avLst/>
                  <a:gdLst>
                    <a:gd name="connsiteX0" fmla="*/ 59104 w 59580"/>
                    <a:gd name="connsiteY0" fmla="*/ 34419 h 59580"/>
                    <a:gd name="connsiteX1" fmla="*/ 34419 w 59580"/>
                    <a:gd name="connsiteY1" fmla="*/ 476 h 59580"/>
                    <a:gd name="connsiteX2" fmla="*/ 476 w 59580"/>
                    <a:gd name="connsiteY2" fmla="*/ 25162 h 59580"/>
                    <a:gd name="connsiteX3" fmla="*/ 25162 w 59580"/>
                    <a:gd name="connsiteY3" fmla="*/ 59104 h 59580"/>
                    <a:gd name="connsiteX4" fmla="*/ 59104 w 59580"/>
                    <a:gd name="connsiteY4" fmla="*/ 34419 h 59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580" h="59580">
                      <a:moveTo>
                        <a:pt x="59104" y="34419"/>
                      </a:moveTo>
                      <a:cubicBezTo>
                        <a:pt x="62190" y="18990"/>
                        <a:pt x="49847" y="3561"/>
                        <a:pt x="34419" y="476"/>
                      </a:cubicBezTo>
                      <a:cubicBezTo>
                        <a:pt x="18990" y="-2610"/>
                        <a:pt x="3562" y="9733"/>
                        <a:pt x="476" y="25162"/>
                      </a:cubicBezTo>
                      <a:cubicBezTo>
                        <a:pt x="-2610" y="40590"/>
                        <a:pt x="9733" y="56019"/>
                        <a:pt x="25162" y="59104"/>
                      </a:cubicBezTo>
                      <a:cubicBezTo>
                        <a:pt x="43676" y="62190"/>
                        <a:pt x="59104" y="49847"/>
                        <a:pt x="59104" y="34419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1" name="图形 1">
                <a:extLst>
                  <a:ext uri="{FF2B5EF4-FFF2-40B4-BE49-F238E27FC236}">
                    <a16:creationId xmlns:a16="http://schemas.microsoft.com/office/drawing/2014/main" id="{EAB03643-254B-44DF-928E-167365649505}"/>
                  </a:ext>
                </a:extLst>
              </p:cNvPr>
              <p:cNvGrpSpPr/>
              <p:nvPr/>
            </p:nvGrpSpPr>
            <p:grpSpPr>
              <a:xfrm>
                <a:off x="5590655" y="7566135"/>
                <a:ext cx="235842" cy="231412"/>
                <a:chOff x="5590655" y="7566135"/>
                <a:chExt cx="235842" cy="231412"/>
              </a:xfrm>
            </p:grpSpPr>
            <p:sp>
              <p:nvSpPr>
                <p:cNvPr id="162" name="任意多边形: 形状 161">
                  <a:extLst>
                    <a:ext uri="{FF2B5EF4-FFF2-40B4-BE49-F238E27FC236}">
                      <a16:creationId xmlns:a16="http://schemas.microsoft.com/office/drawing/2014/main" id="{2EBC6D34-A227-4AD0-89F6-4891CC457895}"/>
                    </a:ext>
                  </a:extLst>
                </p:cNvPr>
                <p:cNvSpPr/>
                <p:nvPr/>
              </p:nvSpPr>
              <p:spPr>
                <a:xfrm>
                  <a:off x="5602804" y="7569199"/>
                  <a:ext cx="110003" cy="108239"/>
                </a:xfrm>
                <a:custGeom>
                  <a:avLst/>
                  <a:gdLst>
                    <a:gd name="connsiteX0" fmla="*/ 110004 w 110003"/>
                    <a:gd name="connsiteY0" fmla="*/ 108240 h 108239"/>
                    <a:gd name="connsiteX1" fmla="*/ 14346 w 110003"/>
                    <a:gd name="connsiteY1" fmla="*/ 21840 h 108239"/>
                    <a:gd name="connsiteX2" fmla="*/ 110004 w 110003"/>
                    <a:gd name="connsiteY2" fmla="*/ 108240 h 108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0003" h="108239">
                      <a:moveTo>
                        <a:pt x="110004" y="108240"/>
                      </a:moveTo>
                      <a:cubicBezTo>
                        <a:pt x="110004" y="108240"/>
                        <a:pt x="76061" y="-58389"/>
                        <a:pt x="14346" y="21840"/>
                      </a:cubicBezTo>
                      <a:cubicBezTo>
                        <a:pt x="-47368" y="105154"/>
                        <a:pt x="110004" y="108240"/>
                        <a:pt x="110004" y="10824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3" name="任意多边形: 形状 162">
                  <a:extLst>
                    <a:ext uri="{FF2B5EF4-FFF2-40B4-BE49-F238E27FC236}">
                      <a16:creationId xmlns:a16="http://schemas.microsoft.com/office/drawing/2014/main" id="{FD9AD212-C6B4-47A1-A5FD-2558B3AC0874}"/>
                    </a:ext>
                  </a:extLst>
                </p:cNvPr>
                <p:cNvSpPr/>
                <p:nvPr/>
              </p:nvSpPr>
              <p:spPr>
                <a:xfrm>
                  <a:off x="5715894" y="7566135"/>
                  <a:ext cx="71212" cy="120561"/>
                </a:xfrm>
                <a:custGeom>
                  <a:avLst/>
                  <a:gdLst>
                    <a:gd name="connsiteX0" fmla="*/ 0 w 71212"/>
                    <a:gd name="connsiteY0" fmla="*/ 120561 h 120561"/>
                    <a:gd name="connsiteX1" fmla="*/ 40114 w 71212"/>
                    <a:gd name="connsiteY1" fmla="*/ 219 h 120561"/>
                    <a:gd name="connsiteX2" fmla="*/ 0 w 71212"/>
                    <a:gd name="connsiteY2" fmla="*/ 120561 h 120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1212" h="120561">
                      <a:moveTo>
                        <a:pt x="0" y="120561"/>
                      </a:moveTo>
                      <a:cubicBezTo>
                        <a:pt x="0" y="120561"/>
                        <a:pt x="0" y="-5953"/>
                        <a:pt x="40114" y="219"/>
                      </a:cubicBezTo>
                      <a:cubicBezTo>
                        <a:pt x="77143" y="9475"/>
                        <a:pt x="98743" y="68104"/>
                        <a:pt x="0" y="120561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4" name="任意多边形: 形状 163">
                  <a:extLst>
                    <a:ext uri="{FF2B5EF4-FFF2-40B4-BE49-F238E27FC236}">
                      <a16:creationId xmlns:a16="http://schemas.microsoft.com/office/drawing/2014/main" id="{CF2096A2-5D2A-44F6-9FD8-E6B4DDA850BE}"/>
                    </a:ext>
                  </a:extLst>
                </p:cNvPr>
                <p:cNvSpPr/>
                <p:nvPr/>
              </p:nvSpPr>
              <p:spPr>
                <a:xfrm>
                  <a:off x="5590655" y="7686117"/>
                  <a:ext cx="112895" cy="79962"/>
                </a:xfrm>
                <a:custGeom>
                  <a:avLst/>
                  <a:gdLst>
                    <a:gd name="connsiteX0" fmla="*/ 112896 w 112895"/>
                    <a:gd name="connsiteY0" fmla="*/ 579 h 79962"/>
                    <a:gd name="connsiteX1" fmla="*/ 1810 w 112895"/>
                    <a:gd name="connsiteY1" fmla="*/ 46864 h 79962"/>
                    <a:gd name="connsiteX2" fmla="*/ 112896 w 112895"/>
                    <a:gd name="connsiteY2" fmla="*/ 579 h 799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2895" h="79962">
                      <a:moveTo>
                        <a:pt x="112896" y="579"/>
                      </a:moveTo>
                      <a:cubicBezTo>
                        <a:pt x="112896" y="579"/>
                        <a:pt x="-16704" y="-8679"/>
                        <a:pt x="1810" y="46864"/>
                      </a:cubicBezTo>
                      <a:cubicBezTo>
                        <a:pt x="23410" y="105493"/>
                        <a:pt x="103639" y="83893"/>
                        <a:pt x="112896" y="57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5" name="任意多边形: 形状 164">
                  <a:extLst>
                    <a:ext uri="{FF2B5EF4-FFF2-40B4-BE49-F238E27FC236}">
                      <a16:creationId xmlns:a16="http://schemas.microsoft.com/office/drawing/2014/main" id="{EA96A937-B4BF-4FF0-8B7F-B2DDF290F63C}"/>
                    </a:ext>
                  </a:extLst>
                </p:cNvPr>
                <p:cNvSpPr/>
                <p:nvPr/>
              </p:nvSpPr>
              <p:spPr>
                <a:xfrm>
                  <a:off x="5687182" y="7699039"/>
                  <a:ext cx="59963" cy="98508"/>
                </a:xfrm>
                <a:custGeom>
                  <a:avLst/>
                  <a:gdLst>
                    <a:gd name="connsiteX0" fmla="*/ 25626 w 59963"/>
                    <a:gd name="connsiteY0" fmla="*/ 0 h 98508"/>
                    <a:gd name="connsiteX1" fmla="*/ 22540 w 59963"/>
                    <a:gd name="connsiteY1" fmla="*/ 95657 h 98508"/>
                    <a:gd name="connsiteX2" fmla="*/ 25626 w 59963"/>
                    <a:gd name="connsiteY2" fmla="*/ 0 h 98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9963" h="98508">
                      <a:moveTo>
                        <a:pt x="25626" y="0"/>
                      </a:moveTo>
                      <a:cubicBezTo>
                        <a:pt x="25626" y="0"/>
                        <a:pt x="-29917" y="80229"/>
                        <a:pt x="22540" y="95657"/>
                      </a:cubicBezTo>
                      <a:cubicBezTo>
                        <a:pt x="74998" y="111086"/>
                        <a:pt x="68826" y="61714"/>
                        <a:pt x="25626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6" name="任意多边形: 形状 165">
                  <a:extLst>
                    <a:ext uri="{FF2B5EF4-FFF2-40B4-BE49-F238E27FC236}">
                      <a16:creationId xmlns:a16="http://schemas.microsoft.com/office/drawing/2014/main" id="{ACF4110C-BFDE-492F-B479-2133942B29DE}"/>
                    </a:ext>
                  </a:extLst>
                </p:cNvPr>
                <p:cNvSpPr/>
                <p:nvPr/>
              </p:nvSpPr>
              <p:spPr>
                <a:xfrm>
                  <a:off x="5725151" y="7665972"/>
                  <a:ext cx="101346" cy="62323"/>
                </a:xfrm>
                <a:custGeom>
                  <a:avLst/>
                  <a:gdLst>
                    <a:gd name="connsiteX0" fmla="*/ 0 w 101346"/>
                    <a:gd name="connsiteY0" fmla="*/ 29981 h 62323"/>
                    <a:gd name="connsiteX1" fmla="*/ 92571 w 101346"/>
                    <a:gd name="connsiteY1" fmla="*/ 14552 h 62323"/>
                    <a:gd name="connsiteX2" fmla="*/ 0 w 101346"/>
                    <a:gd name="connsiteY2" fmla="*/ 29981 h 623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46" h="62323">
                      <a:moveTo>
                        <a:pt x="0" y="29981"/>
                      </a:moveTo>
                      <a:cubicBezTo>
                        <a:pt x="0" y="29981"/>
                        <a:pt x="64800" y="-25562"/>
                        <a:pt x="92571" y="14552"/>
                      </a:cubicBezTo>
                      <a:cubicBezTo>
                        <a:pt x="120343" y="57752"/>
                        <a:pt x="80229" y="88609"/>
                        <a:pt x="0" y="29981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7" name="任意多边形: 形状 166">
                  <a:extLst>
                    <a:ext uri="{FF2B5EF4-FFF2-40B4-BE49-F238E27FC236}">
                      <a16:creationId xmlns:a16="http://schemas.microsoft.com/office/drawing/2014/main" id="{42E76578-8E3A-4C7C-838D-32F1F37DEF91}"/>
                    </a:ext>
                  </a:extLst>
                </p:cNvPr>
                <p:cNvSpPr/>
                <p:nvPr/>
              </p:nvSpPr>
              <p:spPr>
                <a:xfrm>
                  <a:off x="5684561" y="7661534"/>
                  <a:ext cx="59580" cy="59580"/>
                </a:xfrm>
                <a:custGeom>
                  <a:avLst/>
                  <a:gdLst>
                    <a:gd name="connsiteX0" fmla="*/ 59105 w 59580"/>
                    <a:gd name="connsiteY0" fmla="*/ 34419 h 59580"/>
                    <a:gd name="connsiteX1" fmla="*/ 34419 w 59580"/>
                    <a:gd name="connsiteY1" fmla="*/ 476 h 59580"/>
                    <a:gd name="connsiteX2" fmla="*/ 476 w 59580"/>
                    <a:gd name="connsiteY2" fmla="*/ 25162 h 59580"/>
                    <a:gd name="connsiteX3" fmla="*/ 25162 w 59580"/>
                    <a:gd name="connsiteY3" fmla="*/ 59105 h 59580"/>
                    <a:gd name="connsiteX4" fmla="*/ 59105 w 59580"/>
                    <a:gd name="connsiteY4" fmla="*/ 34419 h 59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580" h="59580">
                      <a:moveTo>
                        <a:pt x="59105" y="34419"/>
                      </a:moveTo>
                      <a:cubicBezTo>
                        <a:pt x="62190" y="18990"/>
                        <a:pt x="49847" y="3562"/>
                        <a:pt x="34419" y="476"/>
                      </a:cubicBezTo>
                      <a:cubicBezTo>
                        <a:pt x="18990" y="-2609"/>
                        <a:pt x="3562" y="9733"/>
                        <a:pt x="476" y="25162"/>
                      </a:cubicBezTo>
                      <a:cubicBezTo>
                        <a:pt x="-2610" y="40590"/>
                        <a:pt x="9733" y="56019"/>
                        <a:pt x="25162" y="59105"/>
                      </a:cubicBezTo>
                      <a:cubicBezTo>
                        <a:pt x="40590" y="62190"/>
                        <a:pt x="56019" y="49848"/>
                        <a:pt x="59105" y="34419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2" name="图形 1">
                <a:extLst>
                  <a:ext uri="{FF2B5EF4-FFF2-40B4-BE49-F238E27FC236}">
                    <a16:creationId xmlns:a16="http://schemas.microsoft.com/office/drawing/2014/main" id="{2A6C561D-A214-4A5A-9D5C-1DA5D0FCEDF4}"/>
                  </a:ext>
                </a:extLst>
              </p:cNvPr>
              <p:cNvGrpSpPr/>
              <p:nvPr/>
            </p:nvGrpSpPr>
            <p:grpSpPr>
              <a:xfrm>
                <a:off x="5311611" y="7706327"/>
                <a:ext cx="239821" cy="244144"/>
                <a:chOff x="5311611" y="7706327"/>
                <a:chExt cx="239821" cy="244144"/>
              </a:xfrm>
            </p:grpSpPr>
            <p:sp>
              <p:nvSpPr>
                <p:cNvPr id="156" name="任意多边形: 形状 155">
                  <a:extLst>
                    <a:ext uri="{FF2B5EF4-FFF2-40B4-BE49-F238E27FC236}">
                      <a16:creationId xmlns:a16="http://schemas.microsoft.com/office/drawing/2014/main" id="{202CFEE5-6E69-4360-8FCC-4C6984A7E374}"/>
                    </a:ext>
                  </a:extLst>
                </p:cNvPr>
                <p:cNvSpPr/>
                <p:nvPr/>
              </p:nvSpPr>
              <p:spPr>
                <a:xfrm>
                  <a:off x="5311611" y="7770234"/>
                  <a:ext cx="126568" cy="92131"/>
                </a:xfrm>
                <a:custGeom>
                  <a:avLst/>
                  <a:gdLst>
                    <a:gd name="connsiteX0" fmla="*/ 126568 w 126568"/>
                    <a:gd name="connsiteY0" fmla="*/ 52233 h 92131"/>
                    <a:gd name="connsiteX1" fmla="*/ 54 w 126568"/>
                    <a:gd name="connsiteY1" fmla="*/ 42976 h 92131"/>
                    <a:gd name="connsiteX2" fmla="*/ 126568 w 126568"/>
                    <a:gd name="connsiteY2" fmla="*/ 52233 h 92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8" h="92131">
                      <a:moveTo>
                        <a:pt x="126568" y="52233"/>
                      </a:moveTo>
                      <a:cubicBezTo>
                        <a:pt x="126568" y="52233"/>
                        <a:pt x="-3032" y="-58853"/>
                        <a:pt x="54" y="42976"/>
                      </a:cubicBezTo>
                      <a:cubicBezTo>
                        <a:pt x="3140" y="147890"/>
                        <a:pt x="126568" y="52233"/>
                        <a:pt x="126568" y="5223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7" name="任意多边形: 形状 156">
                  <a:extLst>
                    <a:ext uri="{FF2B5EF4-FFF2-40B4-BE49-F238E27FC236}">
                      <a16:creationId xmlns:a16="http://schemas.microsoft.com/office/drawing/2014/main" id="{33B81857-DF52-4B68-9F6F-D0A56216903C}"/>
                    </a:ext>
                  </a:extLst>
                </p:cNvPr>
                <p:cNvSpPr/>
                <p:nvPr/>
              </p:nvSpPr>
              <p:spPr>
                <a:xfrm>
                  <a:off x="5394473" y="7706327"/>
                  <a:ext cx="69282" cy="122312"/>
                </a:xfrm>
                <a:custGeom>
                  <a:avLst/>
                  <a:gdLst>
                    <a:gd name="connsiteX0" fmla="*/ 52963 w 69282"/>
                    <a:gd name="connsiteY0" fmla="*/ 122312 h 122312"/>
                    <a:gd name="connsiteX1" fmla="*/ 9763 w 69282"/>
                    <a:gd name="connsiteY1" fmla="*/ 5055 h 122312"/>
                    <a:gd name="connsiteX2" fmla="*/ 52963 w 69282"/>
                    <a:gd name="connsiteY2" fmla="*/ 122312 h 122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282" h="122312">
                      <a:moveTo>
                        <a:pt x="52963" y="122312"/>
                      </a:moveTo>
                      <a:cubicBezTo>
                        <a:pt x="52963" y="122312"/>
                        <a:pt x="-27265" y="20484"/>
                        <a:pt x="9763" y="5055"/>
                      </a:cubicBezTo>
                      <a:cubicBezTo>
                        <a:pt x="43706" y="-13459"/>
                        <a:pt x="96163" y="17398"/>
                        <a:pt x="52963" y="12231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8" name="任意多边形: 形状 157">
                  <a:extLst>
                    <a:ext uri="{FF2B5EF4-FFF2-40B4-BE49-F238E27FC236}">
                      <a16:creationId xmlns:a16="http://schemas.microsoft.com/office/drawing/2014/main" id="{E773B789-20D5-497B-A603-238465FF290B}"/>
                    </a:ext>
                  </a:extLst>
                </p:cNvPr>
                <p:cNvSpPr/>
                <p:nvPr/>
              </p:nvSpPr>
              <p:spPr>
                <a:xfrm>
                  <a:off x="5368263" y="7837896"/>
                  <a:ext cx="86485" cy="112576"/>
                </a:xfrm>
                <a:custGeom>
                  <a:avLst/>
                  <a:gdLst>
                    <a:gd name="connsiteX0" fmla="*/ 69917 w 86485"/>
                    <a:gd name="connsiteY0" fmla="*/ 0 h 112576"/>
                    <a:gd name="connsiteX1" fmla="*/ 14374 w 86485"/>
                    <a:gd name="connsiteY1" fmla="*/ 104915 h 112576"/>
                    <a:gd name="connsiteX2" fmla="*/ 69917 w 86485"/>
                    <a:gd name="connsiteY2" fmla="*/ 0 h 112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6485" h="112576">
                      <a:moveTo>
                        <a:pt x="69917" y="0"/>
                      </a:moveTo>
                      <a:cubicBezTo>
                        <a:pt x="69917" y="0"/>
                        <a:pt x="-38083" y="74057"/>
                        <a:pt x="14374" y="104915"/>
                      </a:cubicBezTo>
                      <a:cubicBezTo>
                        <a:pt x="63745" y="135772"/>
                        <a:pt x="113117" y="67886"/>
                        <a:pt x="69917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9" name="任意多边形: 形状 158">
                  <a:extLst>
                    <a:ext uri="{FF2B5EF4-FFF2-40B4-BE49-F238E27FC236}">
                      <a16:creationId xmlns:a16="http://schemas.microsoft.com/office/drawing/2014/main" id="{ED7C363E-417F-463D-921F-6B81AD83A5B7}"/>
                    </a:ext>
                  </a:extLst>
                </p:cNvPr>
                <p:cNvSpPr/>
                <p:nvPr/>
              </p:nvSpPr>
              <p:spPr>
                <a:xfrm>
                  <a:off x="5453608" y="7837896"/>
                  <a:ext cx="81205" cy="79521"/>
                </a:xfrm>
                <a:custGeom>
                  <a:avLst/>
                  <a:gdLst>
                    <a:gd name="connsiteX0" fmla="*/ 0 w 81205"/>
                    <a:gd name="connsiteY0" fmla="*/ 0 h 79521"/>
                    <a:gd name="connsiteX1" fmla="*/ 58629 w 81205"/>
                    <a:gd name="connsiteY1" fmla="*/ 77143 h 79521"/>
                    <a:gd name="connsiteX2" fmla="*/ 0 w 81205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205" h="79521">
                      <a:moveTo>
                        <a:pt x="0" y="0"/>
                      </a:moveTo>
                      <a:cubicBezTo>
                        <a:pt x="0" y="0"/>
                        <a:pt x="6171" y="95657"/>
                        <a:pt x="58629" y="77143"/>
                      </a:cubicBezTo>
                      <a:cubicBezTo>
                        <a:pt x="108000" y="58629"/>
                        <a:pt x="70971" y="21600"/>
                        <a:pt x="0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0" name="任意多边形: 形状 159">
                  <a:extLst>
                    <a:ext uri="{FF2B5EF4-FFF2-40B4-BE49-F238E27FC236}">
                      <a16:creationId xmlns:a16="http://schemas.microsoft.com/office/drawing/2014/main" id="{C64D72D2-CD2E-49D5-B8CF-8FD1BD33E618}"/>
                    </a:ext>
                  </a:extLst>
                </p:cNvPr>
                <p:cNvSpPr/>
                <p:nvPr/>
              </p:nvSpPr>
              <p:spPr>
                <a:xfrm>
                  <a:off x="5462865" y="7756420"/>
                  <a:ext cx="88567" cy="72219"/>
                </a:xfrm>
                <a:custGeom>
                  <a:avLst/>
                  <a:gdLst>
                    <a:gd name="connsiteX0" fmla="*/ 0 w 88567"/>
                    <a:gd name="connsiteY0" fmla="*/ 72219 h 72219"/>
                    <a:gd name="connsiteX1" fmla="*/ 64800 w 88567"/>
                    <a:gd name="connsiteY1" fmla="*/ 1248 h 72219"/>
                    <a:gd name="connsiteX2" fmla="*/ 0 w 88567"/>
                    <a:gd name="connsiteY2" fmla="*/ 72219 h 72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567" h="72219">
                      <a:moveTo>
                        <a:pt x="0" y="72219"/>
                      </a:moveTo>
                      <a:cubicBezTo>
                        <a:pt x="0" y="72219"/>
                        <a:pt x="15429" y="-11096"/>
                        <a:pt x="64800" y="1248"/>
                      </a:cubicBezTo>
                      <a:cubicBezTo>
                        <a:pt x="108000" y="19762"/>
                        <a:pt x="95657" y="69133"/>
                        <a:pt x="0" y="7221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1" name="任意多边形: 形状 160">
                  <a:extLst>
                    <a:ext uri="{FF2B5EF4-FFF2-40B4-BE49-F238E27FC236}">
                      <a16:creationId xmlns:a16="http://schemas.microsoft.com/office/drawing/2014/main" id="{9A95461A-791A-42F8-B02B-55803AEC7772}"/>
                    </a:ext>
                  </a:extLst>
                </p:cNvPr>
                <p:cNvSpPr/>
                <p:nvPr/>
              </p:nvSpPr>
              <p:spPr>
                <a:xfrm>
                  <a:off x="5420629" y="7804917"/>
                  <a:ext cx="59035" cy="59785"/>
                </a:xfrm>
                <a:custGeom>
                  <a:avLst/>
                  <a:gdLst>
                    <a:gd name="connsiteX0" fmla="*/ 54579 w 59035"/>
                    <a:gd name="connsiteY0" fmla="*/ 14464 h 59785"/>
                    <a:gd name="connsiteX1" fmla="*/ 14464 w 59035"/>
                    <a:gd name="connsiteY1" fmla="*/ 5207 h 59785"/>
                    <a:gd name="connsiteX2" fmla="*/ 5207 w 59035"/>
                    <a:gd name="connsiteY2" fmla="*/ 45322 h 59785"/>
                    <a:gd name="connsiteX3" fmla="*/ 45322 w 59035"/>
                    <a:gd name="connsiteY3" fmla="*/ 54579 h 59785"/>
                    <a:gd name="connsiteX4" fmla="*/ 54579 w 59035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35" h="59785">
                      <a:moveTo>
                        <a:pt x="54579" y="14464"/>
                      </a:moveTo>
                      <a:cubicBezTo>
                        <a:pt x="45322" y="-964"/>
                        <a:pt x="26807" y="-4050"/>
                        <a:pt x="14464" y="5207"/>
                      </a:cubicBezTo>
                      <a:cubicBezTo>
                        <a:pt x="-964" y="14464"/>
                        <a:pt x="-4050" y="32978"/>
                        <a:pt x="5207" y="45322"/>
                      </a:cubicBezTo>
                      <a:cubicBezTo>
                        <a:pt x="14464" y="60750"/>
                        <a:pt x="32979" y="63836"/>
                        <a:pt x="45322" y="54579"/>
                      </a:cubicBezTo>
                      <a:cubicBezTo>
                        <a:pt x="57664" y="45322"/>
                        <a:pt x="63836" y="26807"/>
                        <a:pt x="54579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3" name="图形 1">
                <a:extLst>
                  <a:ext uri="{FF2B5EF4-FFF2-40B4-BE49-F238E27FC236}">
                    <a16:creationId xmlns:a16="http://schemas.microsoft.com/office/drawing/2014/main" id="{F7203639-6DF7-4CCE-85D7-7304207CE71E}"/>
                  </a:ext>
                </a:extLst>
              </p:cNvPr>
              <p:cNvGrpSpPr/>
              <p:nvPr/>
            </p:nvGrpSpPr>
            <p:grpSpPr>
              <a:xfrm>
                <a:off x="5129554" y="7706327"/>
                <a:ext cx="239821" cy="244144"/>
                <a:chOff x="5129554" y="7706327"/>
                <a:chExt cx="239821" cy="244144"/>
              </a:xfrm>
            </p:grpSpPr>
            <p:sp>
              <p:nvSpPr>
                <p:cNvPr id="150" name="任意多边形: 形状 149">
                  <a:extLst>
                    <a:ext uri="{FF2B5EF4-FFF2-40B4-BE49-F238E27FC236}">
                      <a16:creationId xmlns:a16="http://schemas.microsoft.com/office/drawing/2014/main" id="{B5941A40-EDF6-4FC7-99BE-510CD7C7E22F}"/>
                    </a:ext>
                  </a:extLst>
                </p:cNvPr>
                <p:cNvSpPr/>
                <p:nvPr/>
              </p:nvSpPr>
              <p:spPr>
                <a:xfrm>
                  <a:off x="5129554" y="7770234"/>
                  <a:ext cx="126568" cy="92131"/>
                </a:xfrm>
                <a:custGeom>
                  <a:avLst/>
                  <a:gdLst>
                    <a:gd name="connsiteX0" fmla="*/ 126568 w 126568"/>
                    <a:gd name="connsiteY0" fmla="*/ 52233 h 92131"/>
                    <a:gd name="connsiteX1" fmla="*/ 54 w 126568"/>
                    <a:gd name="connsiteY1" fmla="*/ 42976 h 92131"/>
                    <a:gd name="connsiteX2" fmla="*/ 126568 w 126568"/>
                    <a:gd name="connsiteY2" fmla="*/ 52233 h 92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8" h="92131">
                      <a:moveTo>
                        <a:pt x="126568" y="52233"/>
                      </a:moveTo>
                      <a:cubicBezTo>
                        <a:pt x="126568" y="52233"/>
                        <a:pt x="-3031" y="-58853"/>
                        <a:pt x="54" y="42976"/>
                      </a:cubicBezTo>
                      <a:cubicBezTo>
                        <a:pt x="3140" y="147890"/>
                        <a:pt x="126568" y="52233"/>
                        <a:pt x="126568" y="5223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1" name="任意多边形: 形状 150">
                  <a:extLst>
                    <a:ext uri="{FF2B5EF4-FFF2-40B4-BE49-F238E27FC236}">
                      <a16:creationId xmlns:a16="http://schemas.microsoft.com/office/drawing/2014/main" id="{D57FE15E-BB20-41D9-9731-3AA93BC86538}"/>
                    </a:ext>
                  </a:extLst>
                </p:cNvPr>
                <p:cNvSpPr/>
                <p:nvPr/>
              </p:nvSpPr>
              <p:spPr>
                <a:xfrm>
                  <a:off x="5212416" y="7706327"/>
                  <a:ext cx="69282" cy="122312"/>
                </a:xfrm>
                <a:custGeom>
                  <a:avLst/>
                  <a:gdLst>
                    <a:gd name="connsiteX0" fmla="*/ 52963 w 69282"/>
                    <a:gd name="connsiteY0" fmla="*/ 122312 h 122312"/>
                    <a:gd name="connsiteX1" fmla="*/ 9763 w 69282"/>
                    <a:gd name="connsiteY1" fmla="*/ 5055 h 122312"/>
                    <a:gd name="connsiteX2" fmla="*/ 52963 w 69282"/>
                    <a:gd name="connsiteY2" fmla="*/ 122312 h 122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282" h="122312">
                      <a:moveTo>
                        <a:pt x="52963" y="122312"/>
                      </a:moveTo>
                      <a:cubicBezTo>
                        <a:pt x="52963" y="122312"/>
                        <a:pt x="-27265" y="20484"/>
                        <a:pt x="9763" y="5055"/>
                      </a:cubicBezTo>
                      <a:cubicBezTo>
                        <a:pt x="43706" y="-13459"/>
                        <a:pt x="96163" y="17398"/>
                        <a:pt x="52963" y="12231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2" name="任意多边形: 形状 151">
                  <a:extLst>
                    <a:ext uri="{FF2B5EF4-FFF2-40B4-BE49-F238E27FC236}">
                      <a16:creationId xmlns:a16="http://schemas.microsoft.com/office/drawing/2014/main" id="{61F1C9E8-80C6-433D-8411-722AB8256AF6}"/>
                    </a:ext>
                  </a:extLst>
                </p:cNvPr>
                <p:cNvSpPr/>
                <p:nvPr/>
              </p:nvSpPr>
              <p:spPr>
                <a:xfrm>
                  <a:off x="5186205" y="7837896"/>
                  <a:ext cx="86485" cy="112576"/>
                </a:xfrm>
                <a:custGeom>
                  <a:avLst/>
                  <a:gdLst>
                    <a:gd name="connsiteX0" fmla="*/ 69917 w 86485"/>
                    <a:gd name="connsiteY0" fmla="*/ 0 h 112576"/>
                    <a:gd name="connsiteX1" fmla="*/ 14374 w 86485"/>
                    <a:gd name="connsiteY1" fmla="*/ 104915 h 112576"/>
                    <a:gd name="connsiteX2" fmla="*/ 69917 w 86485"/>
                    <a:gd name="connsiteY2" fmla="*/ 0 h 112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6485" h="112576">
                      <a:moveTo>
                        <a:pt x="69917" y="0"/>
                      </a:moveTo>
                      <a:cubicBezTo>
                        <a:pt x="69917" y="0"/>
                        <a:pt x="-38083" y="74057"/>
                        <a:pt x="14374" y="104915"/>
                      </a:cubicBezTo>
                      <a:cubicBezTo>
                        <a:pt x="63745" y="135772"/>
                        <a:pt x="113117" y="67886"/>
                        <a:pt x="69917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3" name="任意多边形: 形状 152">
                  <a:extLst>
                    <a:ext uri="{FF2B5EF4-FFF2-40B4-BE49-F238E27FC236}">
                      <a16:creationId xmlns:a16="http://schemas.microsoft.com/office/drawing/2014/main" id="{87550567-41CC-4DEE-B83D-842271B69565}"/>
                    </a:ext>
                  </a:extLst>
                </p:cNvPr>
                <p:cNvSpPr/>
                <p:nvPr/>
              </p:nvSpPr>
              <p:spPr>
                <a:xfrm>
                  <a:off x="5271551" y="7837896"/>
                  <a:ext cx="81205" cy="79521"/>
                </a:xfrm>
                <a:custGeom>
                  <a:avLst/>
                  <a:gdLst>
                    <a:gd name="connsiteX0" fmla="*/ 0 w 81205"/>
                    <a:gd name="connsiteY0" fmla="*/ 0 h 79521"/>
                    <a:gd name="connsiteX1" fmla="*/ 58629 w 81205"/>
                    <a:gd name="connsiteY1" fmla="*/ 77143 h 79521"/>
                    <a:gd name="connsiteX2" fmla="*/ 0 w 81205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205" h="79521">
                      <a:moveTo>
                        <a:pt x="0" y="0"/>
                      </a:moveTo>
                      <a:cubicBezTo>
                        <a:pt x="0" y="0"/>
                        <a:pt x="6171" y="95657"/>
                        <a:pt x="58629" y="77143"/>
                      </a:cubicBezTo>
                      <a:cubicBezTo>
                        <a:pt x="108000" y="58629"/>
                        <a:pt x="70972" y="21600"/>
                        <a:pt x="0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4" name="任意多边形: 形状 153">
                  <a:extLst>
                    <a:ext uri="{FF2B5EF4-FFF2-40B4-BE49-F238E27FC236}">
                      <a16:creationId xmlns:a16="http://schemas.microsoft.com/office/drawing/2014/main" id="{D7208803-771F-4A74-A821-19B9D365EB03}"/>
                    </a:ext>
                  </a:extLst>
                </p:cNvPr>
                <p:cNvSpPr/>
                <p:nvPr/>
              </p:nvSpPr>
              <p:spPr>
                <a:xfrm>
                  <a:off x="5280808" y="7756420"/>
                  <a:ext cx="88566" cy="72219"/>
                </a:xfrm>
                <a:custGeom>
                  <a:avLst/>
                  <a:gdLst>
                    <a:gd name="connsiteX0" fmla="*/ 0 w 88566"/>
                    <a:gd name="connsiteY0" fmla="*/ 72219 h 72219"/>
                    <a:gd name="connsiteX1" fmla="*/ 64800 w 88566"/>
                    <a:gd name="connsiteY1" fmla="*/ 1248 h 72219"/>
                    <a:gd name="connsiteX2" fmla="*/ 0 w 88566"/>
                    <a:gd name="connsiteY2" fmla="*/ 72219 h 72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566" h="72219">
                      <a:moveTo>
                        <a:pt x="0" y="72219"/>
                      </a:moveTo>
                      <a:cubicBezTo>
                        <a:pt x="0" y="72219"/>
                        <a:pt x="15429" y="-11096"/>
                        <a:pt x="64800" y="1248"/>
                      </a:cubicBezTo>
                      <a:cubicBezTo>
                        <a:pt x="108000" y="19762"/>
                        <a:pt x="95657" y="69133"/>
                        <a:pt x="0" y="7221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5" name="任意多边形: 形状 154">
                  <a:extLst>
                    <a:ext uri="{FF2B5EF4-FFF2-40B4-BE49-F238E27FC236}">
                      <a16:creationId xmlns:a16="http://schemas.microsoft.com/office/drawing/2014/main" id="{0A2315BA-DC14-4793-A359-C3CF8EEA754B}"/>
                    </a:ext>
                  </a:extLst>
                </p:cNvPr>
                <p:cNvSpPr/>
                <p:nvPr/>
              </p:nvSpPr>
              <p:spPr>
                <a:xfrm>
                  <a:off x="5238572" y="7804917"/>
                  <a:ext cx="59035" cy="59785"/>
                </a:xfrm>
                <a:custGeom>
                  <a:avLst/>
                  <a:gdLst>
                    <a:gd name="connsiteX0" fmla="*/ 54578 w 59035"/>
                    <a:gd name="connsiteY0" fmla="*/ 14464 h 59785"/>
                    <a:gd name="connsiteX1" fmla="*/ 14464 w 59035"/>
                    <a:gd name="connsiteY1" fmla="*/ 5207 h 59785"/>
                    <a:gd name="connsiteX2" fmla="*/ 5207 w 59035"/>
                    <a:gd name="connsiteY2" fmla="*/ 45322 h 59785"/>
                    <a:gd name="connsiteX3" fmla="*/ 45321 w 59035"/>
                    <a:gd name="connsiteY3" fmla="*/ 54579 h 59785"/>
                    <a:gd name="connsiteX4" fmla="*/ 54578 w 59035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35" h="59785">
                      <a:moveTo>
                        <a:pt x="54578" y="14464"/>
                      </a:moveTo>
                      <a:cubicBezTo>
                        <a:pt x="45321" y="-964"/>
                        <a:pt x="26807" y="-4050"/>
                        <a:pt x="14464" y="5207"/>
                      </a:cubicBezTo>
                      <a:cubicBezTo>
                        <a:pt x="-964" y="14464"/>
                        <a:pt x="-4050" y="32978"/>
                        <a:pt x="5207" y="45322"/>
                      </a:cubicBezTo>
                      <a:cubicBezTo>
                        <a:pt x="14464" y="60750"/>
                        <a:pt x="32979" y="63836"/>
                        <a:pt x="45321" y="54579"/>
                      </a:cubicBezTo>
                      <a:cubicBezTo>
                        <a:pt x="57664" y="45322"/>
                        <a:pt x="63836" y="26807"/>
                        <a:pt x="54578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4" name="图形 1">
                <a:extLst>
                  <a:ext uri="{FF2B5EF4-FFF2-40B4-BE49-F238E27FC236}">
                    <a16:creationId xmlns:a16="http://schemas.microsoft.com/office/drawing/2014/main" id="{1D6C26B1-736C-439C-925D-C467F3754075}"/>
                  </a:ext>
                </a:extLst>
              </p:cNvPr>
              <p:cNvGrpSpPr/>
              <p:nvPr/>
            </p:nvGrpSpPr>
            <p:grpSpPr>
              <a:xfrm>
                <a:off x="5404182" y="7528660"/>
                <a:ext cx="239821" cy="244187"/>
                <a:chOff x="5404182" y="7528660"/>
                <a:chExt cx="239821" cy="244187"/>
              </a:xfrm>
            </p:grpSpPr>
            <p:sp>
              <p:nvSpPr>
                <p:cNvPr id="144" name="任意多边形: 形状 143">
                  <a:extLst>
                    <a:ext uri="{FF2B5EF4-FFF2-40B4-BE49-F238E27FC236}">
                      <a16:creationId xmlns:a16="http://schemas.microsoft.com/office/drawing/2014/main" id="{EDCFD9B2-31EA-4106-93FB-EB1AFB0786B9}"/>
                    </a:ext>
                  </a:extLst>
                </p:cNvPr>
                <p:cNvSpPr/>
                <p:nvPr/>
              </p:nvSpPr>
              <p:spPr>
                <a:xfrm>
                  <a:off x="5404182" y="7594349"/>
                  <a:ext cx="126568" cy="90764"/>
                </a:xfrm>
                <a:custGeom>
                  <a:avLst/>
                  <a:gdLst>
                    <a:gd name="connsiteX0" fmla="*/ 126568 w 126568"/>
                    <a:gd name="connsiteY0" fmla="*/ 52233 h 90764"/>
                    <a:gd name="connsiteX1" fmla="*/ 54 w 126568"/>
                    <a:gd name="connsiteY1" fmla="*/ 42976 h 90764"/>
                    <a:gd name="connsiteX2" fmla="*/ 126568 w 126568"/>
                    <a:gd name="connsiteY2" fmla="*/ 52233 h 90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8" h="90764">
                      <a:moveTo>
                        <a:pt x="126568" y="52233"/>
                      </a:moveTo>
                      <a:cubicBezTo>
                        <a:pt x="126568" y="52233"/>
                        <a:pt x="-3032" y="-58853"/>
                        <a:pt x="54" y="42976"/>
                      </a:cubicBezTo>
                      <a:cubicBezTo>
                        <a:pt x="3140" y="144804"/>
                        <a:pt x="126568" y="52233"/>
                        <a:pt x="126568" y="5223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5" name="任意多边形: 形状 144">
                  <a:extLst>
                    <a:ext uri="{FF2B5EF4-FFF2-40B4-BE49-F238E27FC236}">
                      <a16:creationId xmlns:a16="http://schemas.microsoft.com/office/drawing/2014/main" id="{79492F24-7432-474C-9474-FA1050536E40}"/>
                    </a:ext>
                  </a:extLst>
                </p:cNvPr>
                <p:cNvSpPr/>
                <p:nvPr/>
              </p:nvSpPr>
              <p:spPr>
                <a:xfrm>
                  <a:off x="5487045" y="7528660"/>
                  <a:ext cx="69282" cy="121007"/>
                </a:xfrm>
                <a:custGeom>
                  <a:avLst/>
                  <a:gdLst>
                    <a:gd name="connsiteX0" fmla="*/ 52963 w 69282"/>
                    <a:gd name="connsiteY0" fmla="*/ 121007 h 121007"/>
                    <a:gd name="connsiteX1" fmla="*/ 9763 w 69282"/>
                    <a:gd name="connsiteY1" fmla="*/ 3750 h 121007"/>
                    <a:gd name="connsiteX2" fmla="*/ 52963 w 69282"/>
                    <a:gd name="connsiteY2" fmla="*/ 121007 h 1210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282" h="121007">
                      <a:moveTo>
                        <a:pt x="52963" y="121007"/>
                      </a:moveTo>
                      <a:cubicBezTo>
                        <a:pt x="52963" y="121007"/>
                        <a:pt x="-27265" y="19178"/>
                        <a:pt x="9763" y="3750"/>
                      </a:cubicBezTo>
                      <a:cubicBezTo>
                        <a:pt x="43706" y="-11679"/>
                        <a:pt x="96163" y="19178"/>
                        <a:pt x="52963" y="121007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6" name="任意多边形: 形状 145">
                  <a:extLst>
                    <a:ext uri="{FF2B5EF4-FFF2-40B4-BE49-F238E27FC236}">
                      <a16:creationId xmlns:a16="http://schemas.microsoft.com/office/drawing/2014/main" id="{6DE8C7DB-4329-450A-BDCF-138289D1A478}"/>
                    </a:ext>
                  </a:extLst>
                </p:cNvPr>
                <p:cNvSpPr/>
                <p:nvPr/>
              </p:nvSpPr>
              <p:spPr>
                <a:xfrm>
                  <a:off x="5460834" y="7658925"/>
                  <a:ext cx="86485" cy="113923"/>
                </a:xfrm>
                <a:custGeom>
                  <a:avLst/>
                  <a:gdLst>
                    <a:gd name="connsiteX0" fmla="*/ 69917 w 86485"/>
                    <a:gd name="connsiteY0" fmla="*/ 0 h 113923"/>
                    <a:gd name="connsiteX1" fmla="*/ 14374 w 86485"/>
                    <a:gd name="connsiteY1" fmla="*/ 104914 h 113923"/>
                    <a:gd name="connsiteX2" fmla="*/ 69917 w 86485"/>
                    <a:gd name="connsiteY2" fmla="*/ 0 h 1139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6485" h="113923">
                      <a:moveTo>
                        <a:pt x="69917" y="0"/>
                      </a:moveTo>
                      <a:cubicBezTo>
                        <a:pt x="69917" y="0"/>
                        <a:pt x="-38083" y="74057"/>
                        <a:pt x="14374" y="104914"/>
                      </a:cubicBezTo>
                      <a:cubicBezTo>
                        <a:pt x="63745" y="138857"/>
                        <a:pt x="113117" y="70971"/>
                        <a:pt x="69917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7" name="任意多边形: 形状 146">
                  <a:extLst>
                    <a:ext uri="{FF2B5EF4-FFF2-40B4-BE49-F238E27FC236}">
                      <a16:creationId xmlns:a16="http://schemas.microsoft.com/office/drawing/2014/main" id="{092ECCC4-3533-4E9B-885F-96CE34A58FC8}"/>
                    </a:ext>
                  </a:extLst>
                </p:cNvPr>
                <p:cNvSpPr/>
                <p:nvPr/>
              </p:nvSpPr>
              <p:spPr>
                <a:xfrm>
                  <a:off x="5546179" y="7662010"/>
                  <a:ext cx="81205" cy="79521"/>
                </a:xfrm>
                <a:custGeom>
                  <a:avLst/>
                  <a:gdLst>
                    <a:gd name="connsiteX0" fmla="*/ 0 w 81205"/>
                    <a:gd name="connsiteY0" fmla="*/ 0 h 79521"/>
                    <a:gd name="connsiteX1" fmla="*/ 58629 w 81205"/>
                    <a:gd name="connsiteY1" fmla="*/ 77143 h 79521"/>
                    <a:gd name="connsiteX2" fmla="*/ 0 w 81205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205" h="79521">
                      <a:moveTo>
                        <a:pt x="0" y="0"/>
                      </a:moveTo>
                      <a:cubicBezTo>
                        <a:pt x="0" y="0"/>
                        <a:pt x="6171" y="95657"/>
                        <a:pt x="58629" y="77143"/>
                      </a:cubicBezTo>
                      <a:cubicBezTo>
                        <a:pt x="108000" y="55543"/>
                        <a:pt x="70971" y="18514"/>
                        <a:pt x="0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BB92A932-F439-4601-A9AF-63AC6AAE6D74}"/>
                    </a:ext>
                  </a:extLst>
                </p:cNvPr>
                <p:cNvSpPr/>
                <p:nvPr/>
              </p:nvSpPr>
              <p:spPr>
                <a:xfrm>
                  <a:off x="5555436" y="7580534"/>
                  <a:ext cx="88567" cy="72218"/>
                </a:xfrm>
                <a:custGeom>
                  <a:avLst/>
                  <a:gdLst>
                    <a:gd name="connsiteX0" fmla="*/ 0 w 88567"/>
                    <a:gd name="connsiteY0" fmla="*/ 72219 h 72218"/>
                    <a:gd name="connsiteX1" fmla="*/ 64800 w 88567"/>
                    <a:gd name="connsiteY1" fmla="*/ 1248 h 72218"/>
                    <a:gd name="connsiteX2" fmla="*/ 0 w 88567"/>
                    <a:gd name="connsiteY2" fmla="*/ 72219 h 72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567" h="72218">
                      <a:moveTo>
                        <a:pt x="0" y="72219"/>
                      </a:moveTo>
                      <a:cubicBezTo>
                        <a:pt x="0" y="72219"/>
                        <a:pt x="15429" y="-11096"/>
                        <a:pt x="64800" y="1248"/>
                      </a:cubicBezTo>
                      <a:cubicBezTo>
                        <a:pt x="108000" y="16676"/>
                        <a:pt x="95657" y="66047"/>
                        <a:pt x="0" y="7221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9" name="任意多边形: 形状 148">
                  <a:extLst>
                    <a:ext uri="{FF2B5EF4-FFF2-40B4-BE49-F238E27FC236}">
                      <a16:creationId xmlns:a16="http://schemas.microsoft.com/office/drawing/2014/main" id="{3CF02575-8F78-485D-87A0-1D657DBA986A}"/>
                    </a:ext>
                  </a:extLst>
                </p:cNvPr>
                <p:cNvSpPr/>
                <p:nvPr/>
              </p:nvSpPr>
              <p:spPr>
                <a:xfrm>
                  <a:off x="5513201" y="7625946"/>
                  <a:ext cx="59035" cy="59785"/>
                </a:xfrm>
                <a:custGeom>
                  <a:avLst/>
                  <a:gdLst>
                    <a:gd name="connsiteX0" fmla="*/ 54579 w 59035"/>
                    <a:gd name="connsiteY0" fmla="*/ 14464 h 59785"/>
                    <a:gd name="connsiteX1" fmla="*/ 14464 w 59035"/>
                    <a:gd name="connsiteY1" fmla="*/ 5207 h 59785"/>
                    <a:gd name="connsiteX2" fmla="*/ 5207 w 59035"/>
                    <a:gd name="connsiteY2" fmla="*/ 45322 h 59785"/>
                    <a:gd name="connsiteX3" fmla="*/ 45322 w 59035"/>
                    <a:gd name="connsiteY3" fmla="*/ 54579 h 59785"/>
                    <a:gd name="connsiteX4" fmla="*/ 54579 w 59035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35" h="59785">
                      <a:moveTo>
                        <a:pt x="54579" y="14464"/>
                      </a:moveTo>
                      <a:cubicBezTo>
                        <a:pt x="45322" y="-964"/>
                        <a:pt x="26807" y="-4050"/>
                        <a:pt x="14464" y="5207"/>
                      </a:cubicBezTo>
                      <a:cubicBezTo>
                        <a:pt x="-964" y="14464"/>
                        <a:pt x="-4050" y="32979"/>
                        <a:pt x="5207" y="45322"/>
                      </a:cubicBezTo>
                      <a:cubicBezTo>
                        <a:pt x="14464" y="60750"/>
                        <a:pt x="32979" y="63836"/>
                        <a:pt x="45322" y="54579"/>
                      </a:cubicBezTo>
                      <a:cubicBezTo>
                        <a:pt x="57664" y="48407"/>
                        <a:pt x="63836" y="29893"/>
                        <a:pt x="54579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5" name="图形 1">
                <a:extLst>
                  <a:ext uri="{FF2B5EF4-FFF2-40B4-BE49-F238E27FC236}">
                    <a16:creationId xmlns:a16="http://schemas.microsoft.com/office/drawing/2014/main" id="{068CB67C-BC4B-41A0-96DA-E0B26661E170}"/>
                  </a:ext>
                </a:extLst>
              </p:cNvPr>
              <p:cNvGrpSpPr/>
              <p:nvPr/>
            </p:nvGrpSpPr>
            <p:grpSpPr>
              <a:xfrm>
                <a:off x="5203611" y="7564384"/>
                <a:ext cx="238868" cy="242407"/>
                <a:chOff x="5203611" y="7564384"/>
                <a:chExt cx="238868" cy="242407"/>
              </a:xfrm>
            </p:grpSpPr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1740DDDE-92A9-4EC8-8A13-A1D115F12CB9}"/>
                    </a:ext>
                  </a:extLst>
                </p:cNvPr>
                <p:cNvSpPr/>
                <p:nvPr/>
              </p:nvSpPr>
              <p:spPr>
                <a:xfrm>
                  <a:off x="5203611" y="7628292"/>
                  <a:ext cx="126568" cy="92131"/>
                </a:xfrm>
                <a:custGeom>
                  <a:avLst/>
                  <a:gdLst>
                    <a:gd name="connsiteX0" fmla="*/ 126568 w 126568"/>
                    <a:gd name="connsiteY0" fmla="*/ 52233 h 92131"/>
                    <a:gd name="connsiteX1" fmla="*/ 54 w 126568"/>
                    <a:gd name="connsiteY1" fmla="*/ 42976 h 92131"/>
                    <a:gd name="connsiteX2" fmla="*/ 126568 w 126568"/>
                    <a:gd name="connsiteY2" fmla="*/ 52233 h 92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8" h="92131">
                      <a:moveTo>
                        <a:pt x="126568" y="52233"/>
                      </a:moveTo>
                      <a:cubicBezTo>
                        <a:pt x="126568" y="52233"/>
                        <a:pt x="-3032" y="-58853"/>
                        <a:pt x="54" y="42976"/>
                      </a:cubicBezTo>
                      <a:cubicBezTo>
                        <a:pt x="3140" y="147890"/>
                        <a:pt x="126568" y="52233"/>
                        <a:pt x="126568" y="5223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87A86B8C-B6E8-436E-A4C1-811F1705B49C}"/>
                    </a:ext>
                  </a:extLst>
                </p:cNvPr>
                <p:cNvSpPr/>
                <p:nvPr/>
              </p:nvSpPr>
              <p:spPr>
                <a:xfrm>
                  <a:off x="5283387" y="7564384"/>
                  <a:ext cx="71125" cy="122312"/>
                </a:xfrm>
                <a:custGeom>
                  <a:avLst/>
                  <a:gdLst>
                    <a:gd name="connsiteX0" fmla="*/ 52963 w 71125"/>
                    <a:gd name="connsiteY0" fmla="*/ 122312 h 122312"/>
                    <a:gd name="connsiteX1" fmla="*/ 9763 w 71125"/>
                    <a:gd name="connsiteY1" fmla="*/ 5055 h 122312"/>
                    <a:gd name="connsiteX2" fmla="*/ 52963 w 71125"/>
                    <a:gd name="connsiteY2" fmla="*/ 122312 h 122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1125" h="122312">
                      <a:moveTo>
                        <a:pt x="52963" y="122312"/>
                      </a:moveTo>
                      <a:cubicBezTo>
                        <a:pt x="52963" y="122312"/>
                        <a:pt x="-27265" y="20483"/>
                        <a:pt x="9763" y="5055"/>
                      </a:cubicBezTo>
                      <a:cubicBezTo>
                        <a:pt x="46792" y="-13459"/>
                        <a:pt x="99249" y="17398"/>
                        <a:pt x="52963" y="12231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0" name="任意多边形: 形状 139">
                  <a:extLst>
                    <a:ext uri="{FF2B5EF4-FFF2-40B4-BE49-F238E27FC236}">
                      <a16:creationId xmlns:a16="http://schemas.microsoft.com/office/drawing/2014/main" id="{575E266A-8FDD-4C1C-A827-BAC4D49DA1F1}"/>
                    </a:ext>
                  </a:extLst>
                </p:cNvPr>
                <p:cNvSpPr/>
                <p:nvPr/>
              </p:nvSpPr>
              <p:spPr>
                <a:xfrm>
                  <a:off x="5260263" y="7692867"/>
                  <a:ext cx="85156" cy="113923"/>
                </a:xfrm>
                <a:custGeom>
                  <a:avLst/>
                  <a:gdLst>
                    <a:gd name="connsiteX0" fmla="*/ 69917 w 85156"/>
                    <a:gd name="connsiteY0" fmla="*/ 0 h 113923"/>
                    <a:gd name="connsiteX1" fmla="*/ 14374 w 85156"/>
                    <a:gd name="connsiteY1" fmla="*/ 104915 h 113923"/>
                    <a:gd name="connsiteX2" fmla="*/ 69917 w 85156"/>
                    <a:gd name="connsiteY2" fmla="*/ 0 h 1139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5156" h="113923">
                      <a:moveTo>
                        <a:pt x="69917" y="0"/>
                      </a:moveTo>
                      <a:cubicBezTo>
                        <a:pt x="69917" y="0"/>
                        <a:pt x="-38083" y="74057"/>
                        <a:pt x="14374" y="104915"/>
                      </a:cubicBezTo>
                      <a:cubicBezTo>
                        <a:pt x="63745" y="138857"/>
                        <a:pt x="110031" y="70972"/>
                        <a:pt x="69917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1" name="任意多边形: 形状 140">
                  <a:extLst>
                    <a:ext uri="{FF2B5EF4-FFF2-40B4-BE49-F238E27FC236}">
                      <a16:creationId xmlns:a16="http://schemas.microsoft.com/office/drawing/2014/main" id="{9AE24195-4645-49F7-B645-39EF72CB56F2}"/>
                    </a:ext>
                  </a:extLst>
                </p:cNvPr>
                <p:cNvSpPr/>
                <p:nvPr/>
              </p:nvSpPr>
              <p:spPr>
                <a:xfrm>
                  <a:off x="5342522" y="7695953"/>
                  <a:ext cx="81848" cy="79521"/>
                </a:xfrm>
                <a:custGeom>
                  <a:avLst/>
                  <a:gdLst>
                    <a:gd name="connsiteX0" fmla="*/ 0 w 81848"/>
                    <a:gd name="connsiteY0" fmla="*/ 0 h 79521"/>
                    <a:gd name="connsiteX1" fmla="*/ 58628 w 81848"/>
                    <a:gd name="connsiteY1" fmla="*/ 77143 h 79521"/>
                    <a:gd name="connsiteX2" fmla="*/ 0 w 81848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848" h="79521">
                      <a:moveTo>
                        <a:pt x="0" y="0"/>
                      </a:moveTo>
                      <a:cubicBezTo>
                        <a:pt x="0" y="0"/>
                        <a:pt x="6171" y="95657"/>
                        <a:pt x="58628" y="77143"/>
                      </a:cubicBezTo>
                      <a:cubicBezTo>
                        <a:pt x="108000" y="55543"/>
                        <a:pt x="74057" y="21600"/>
                        <a:pt x="0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2" name="任意多边形: 形状 141">
                  <a:extLst>
                    <a:ext uri="{FF2B5EF4-FFF2-40B4-BE49-F238E27FC236}">
                      <a16:creationId xmlns:a16="http://schemas.microsoft.com/office/drawing/2014/main" id="{41C43361-CF0D-4E4E-B565-D65CDA0F153C}"/>
                    </a:ext>
                  </a:extLst>
                </p:cNvPr>
                <p:cNvSpPr/>
                <p:nvPr/>
              </p:nvSpPr>
              <p:spPr>
                <a:xfrm>
                  <a:off x="5351779" y="7614477"/>
                  <a:ext cx="90700" cy="72218"/>
                </a:xfrm>
                <a:custGeom>
                  <a:avLst/>
                  <a:gdLst>
                    <a:gd name="connsiteX0" fmla="*/ 0 w 90700"/>
                    <a:gd name="connsiteY0" fmla="*/ 72219 h 72218"/>
                    <a:gd name="connsiteX1" fmla="*/ 64800 w 90700"/>
                    <a:gd name="connsiteY1" fmla="*/ 1247 h 72218"/>
                    <a:gd name="connsiteX2" fmla="*/ 0 w 90700"/>
                    <a:gd name="connsiteY2" fmla="*/ 72219 h 72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0700" h="72218">
                      <a:moveTo>
                        <a:pt x="0" y="72219"/>
                      </a:moveTo>
                      <a:cubicBezTo>
                        <a:pt x="0" y="72219"/>
                        <a:pt x="15429" y="-11095"/>
                        <a:pt x="64800" y="1247"/>
                      </a:cubicBezTo>
                      <a:cubicBezTo>
                        <a:pt x="111086" y="16676"/>
                        <a:pt x="98743" y="69133"/>
                        <a:pt x="0" y="7221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3" name="任意多边形: 形状 142">
                  <a:extLst>
                    <a:ext uri="{FF2B5EF4-FFF2-40B4-BE49-F238E27FC236}">
                      <a16:creationId xmlns:a16="http://schemas.microsoft.com/office/drawing/2014/main" id="{EF3DC9AD-C066-464D-97BA-0B868B05F896}"/>
                    </a:ext>
                  </a:extLst>
                </p:cNvPr>
                <p:cNvSpPr/>
                <p:nvPr/>
              </p:nvSpPr>
              <p:spPr>
                <a:xfrm>
                  <a:off x="5312629" y="7659889"/>
                  <a:ext cx="57664" cy="59785"/>
                </a:xfrm>
                <a:custGeom>
                  <a:avLst/>
                  <a:gdLst>
                    <a:gd name="connsiteX0" fmla="*/ 54579 w 57664"/>
                    <a:gd name="connsiteY0" fmla="*/ 14464 h 59785"/>
                    <a:gd name="connsiteX1" fmla="*/ 14464 w 57664"/>
                    <a:gd name="connsiteY1" fmla="*/ 5207 h 59785"/>
                    <a:gd name="connsiteX2" fmla="*/ 5207 w 57664"/>
                    <a:gd name="connsiteY2" fmla="*/ 45322 h 59785"/>
                    <a:gd name="connsiteX3" fmla="*/ 45322 w 57664"/>
                    <a:gd name="connsiteY3" fmla="*/ 54578 h 59785"/>
                    <a:gd name="connsiteX4" fmla="*/ 54579 w 57664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664" h="59785">
                      <a:moveTo>
                        <a:pt x="54579" y="14464"/>
                      </a:moveTo>
                      <a:cubicBezTo>
                        <a:pt x="45322" y="-964"/>
                        <a:pt x="26807" y="-4050"/>
                        <a:pt x="14464" y="5207"/>
                      </a:cubicBezTo>
                      <a:cubicBezTo>
                        <a:pt x="-964" y="14464"/>
                        <a:pt x="-4050" y="32978"/>
                        <a:pt x="5207" y="45322"/>
                      </a:cubicBezTo>
                      <a:cubicBezTo>
                        <a:pt x="14464" y="60750"/>
                        <a:pt x="32979" y="63836"/>
                        <a:pt x="45322" y="54578"/>
                      </a:cubicBezTo>
                      <a:cubicBezTo>
                        <a:pt x="57664" y="48407"/>
                        <a:pt x="60750" y="29893"/>
                        <a:pt x="54579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6" name="图形 1">
                <a:extLst>
                  <a:ext uri="{FF2B5EF4-FFF2-40B4-BE49-F238E27FC236}">
                    <a16:creationId xmlns:a16="http://schemas.microsoft.com/office/drawing/2014/main" id="{BD188F20-56E1-4863-9E32-8646EFE3D459}"/>
                  </a:ext>
                </a:extLst>
              </p:cNvPr>
              <p:cNvGrpSpPr/>
              <p:nvPr/>
            </p:nvGrpSpPr>
            <p:grpSpPr>
              <a:xfrm>
                <a:off x="5046239" y="7593461"/>
                <a:ext cx="238869" cy="244187"/>
                <a:chOff x="5046239" y="7593461"/>
                <a:chExt cx="238869" cy="244187"/>
              </a:xfrm>
            </p:grpSpPr>
            <p:sp>
              <p:nvSpPr>
                <p:cNvPr id="132" name="任意多边形: 形状 131">
                  <a:extLst>
                    <a:ext uri="{FF2B5EF4-FFF2-40B4-BE49-F238E27FC236}">
                      <a16:creationId xmlns:a16="http://schemas.microsoft.com/office/drawing/2014/main" id="{6EB5E8B6-1940-4661-928D-5130C84FFF26}"/>
                    </a:ext>
                  </a:extLst>
                </p:cNvPr>
                <p:cNvSpPr/>
                <p:nvPr/>
              </p:nvSpPr>
              <p:spPr>
                <a:xfrm>
                  <a:off x="5046239" y="7659149"/>
                  <a:ext cx="126568" cy="92131"/>
                </a:xfrm>
                <a:custGeom>
                  <a:avLst/>
                  <a:gdLst>
                    <a:gd name="connsiteX0" fmla="*/ 126569 w 126568"/>
                    <a:gd name="connsiteY0" fmla="*/ 52233 h 92131"/>
                    <a:gd name="connsiteX1" fmla="*/ 54 w 126568"/>
                    <a:gd name="connsiteY1" fmla="*/ 42976 h 92131"/>
                    <a:gd name="connsiteX2" fmla="*/ 126569 w 126568"/>
                    <a:gd name="connsiteY2" fmla="*/ 52233 h 92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8" h="92131">
                      <a:moveTo>
                        <a:pt x="126569" y="52233"/>
                      </a:moveTo>
                      <a:cubicBezTo>
                        <a:pt x="126569" y="52233"/>
                        <a:pt x="-3031" y="-58853"/>
                        <a:pt x="54" y="42976"/>
                      </a:cubicBezTo>
                      <a:cubicBezTo>
                        <a:pt x="3140" y="147890"/>
                        <a:pt x="126569" y="52233"/>
                        <a:pt x="126569" y="5223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3" name="任意多边形: 形状 132">
                  <a:extLst>
                    <a:ext uri="{FF2B5EF4-FFF2-40B4-BE49-F238E27FC236}">
                      <a16:creationId xmlns:a16="http://schemas.microsoft.com/office/drawing/2014/main" id="{7F5A823F-2C06-43D4-ADF2-9817AB993DA9}"/>
                    </a:ext>
                  </a:extLst>
                </p:cNvPr>
                <p:cNvSpPr/>
                <p:nvPr/>
              </p:nvSpPr>
              <p:spPr>
                <a:xfrm>
                  <a:off x="5129102" y="7593461"/>
                  <a:ext cx="69282" cy="121006"/>
                </a:xfrm>
                <a:custGeom>
                  <a:avLst/>
                  <a:gdLst>
                    <a:gd name="connsiteX0" fmla="*/ 52963 w 69282"/>
                    <a:gd name="connsiteY0" fmla="*/ 121007 h 121006"/>
                    <a:gd name="connsiteX1" fmla="*/ 9763 w 69282"/>
                    <a:gd name="connsiteY1" fmla="*/ 3750 h 121006"/>
                    <a:gd name="connsiteX2" fmla="*/ 52963 w 69282"/>
                    <a:gd name="connsiteY2" fmla="*/ 121007 h 12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282" h="121006">
                      <a:moveTo>
                        <a:pt x="52963" y="121007"/>
                      </a:moveTo>
                      <a:cubicBezTo>
                        <a:pt x="52963" y="121007"/>
                        <a:pt x="-27265" y="19178"/>
                        <a:pt x="9763" y="3750"/>
                      </a:cubicBezTo>
                      <a:cubicBezTo>
                        <a:pt x="43706" y="-11679"/>
                        <a:pt x="96163" y="19178"/>
                        <a:pt x="52963" y="121007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4" name="任意多边形: 形状 133">
                  <a:extLst>
                    <a:ext uri="{FF2B5EF4-FFF2-40B4-BE49-F238E27FC236}">
                      <a16:creationId xmlns:a16="http://schemas.microsoft.com/office/drawing/2014/main" id="{1DD7057A-36B9-496A-AE36-FA429724590B}"/>
                    </a:ext>
                  </a:extLst>
                </p:cNvPr>
                <p:cNvSpPr/>
                <p:nvPr/>
              </p:nvSpPr>
              <p:spPr>
                <a:xfrm>
                  <a:off x="5102891" y="7723724"/>
                  <a:ext cx="85156" cy="113923"/>
                </a:xfrm>
                <a:custGeom>
                  <a:avLst/>
                  <a:gdLst>
                    <a:gd name="connsiteX0" fmla="*/ 69917 w 85156"/>
                    <a:gd name="connsiteY0" fmla="*/ 0 h 113923"/>
                    <a:gd name="connsiteX1" fmla="*/ 14374 w 85156"/>
                    <a:gd name="connsiteY1" fmla="*/ 104915 h 113923"/>
                    <a:gd name="connsiteX2" fmla="*/ 69917 w 85156"/>
                    <a:gd name="connsiteY2" fmla="*/ 0 h 1139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5156" h="113923">
                      <a:moveTo>
                        <a:pt x="69917" y="0"/>
                      </a:moveTo>
                      <a:cubicBezTo>
                        <a:pt x="69917" y="0"/>
                        <a:pt x="-38083" y="74057"/>
                        <a:pt x="14374" y="104915"/>
                      </a:cubicBezTo>
                      <a:cubicBezTo>
                        <a:pt x="63745" y="138857"/>
                        <a:pt x="110031" y="70972"/>
                        <a:pt x="69917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FD19FBC3-41E7-48C2-978D-C673F872FAF9}"/>
                    </a:ext>
                  </a:extLst>
                </p:cNvPr>
                <p:cNvSpPr/>
                <p:nvPr/>
              </p:nvSpPr>
              <p:spPr>
                <a:xfrm>
                  <a:off x="5188237" y="7726810"/>
                  <a:ext cx="79836" cy="79521"/>
                </a:xfrm>
                <a:custGeom>
                  <a:avLst/>
                  <a:gdLst>
                    <a:gd name="connsiteX0" fmla="*/ 0 w 79836"/>
                    <a:gd name="connsiteY0" fmla="*/ 0 h 79521"/>
                    <a:gd name="connsiteX1" fmla="*/ 58628 w 79836"/>
                    <a:gd name="connsiteY1" fmla="*/ 77143 h 79521"/>
                    <a:gd name="connsiteX2" fmla="*/ 0 w 79836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9836" h="79521">
                      <a:moveTo>
                        <a:pt x="0" y="0"/>
                      </a:moveTo>
                      <a:cubicBezTo>
                        <a:pt x="0" y="0"/>
                        <a:pt x="6171" y="95657"/>
                        <a:pt x="58628" y="77143"/>
                      </a:cubicBezTo>
                      <a:cubicBezTo>
                        <a:pt x="104914" y="55543"/>
                        <a:pt x="70971" y="18514"/>
                        <a:pt x="0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BBEC858E-073E-4939-BECD-180B2D7B053E}"/>
                    </a:ext>
                  </a:extLst>
                </p:cNvPr>
                <p:cNvSpPr/>
                <p:nvPr/>
              </p:nvSpPr>
              <p:spPr>
                <a:xfrm>
                  <a:off x="5194408" y="7645334"/>
                  <a:ext cx="90700" cy="72218"/>
                </a:xfrm>
                <a:custGeom>
                  <a:avLst/>
                  <a:gdLst>
                    <a:gd name="connsiteX0" fmla="*/ 0 w 90700"/>
                    <a:gd name="connsiteY0" fmla="*/ 72219 h 72218"/>
                    <a:gd name="connsiteX1" fmla="*/ 64800 w 90700"/>
                    <a:gd name="connsiteY1" fmla="*/ 1247 h 72218"/>
                    <a:gd name="connsiteX2" fmla="*/ 0 w 90700"/>
                    <a:gd name="connsiteY2" fmla="*/ 72219 h 72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0700" h="72218">
                      <a:moveTo>
                        <a:pt x="0" y="72219"/>
                      </a:moveTo>
                      <a:cubicBezTo>
                        <a:pt x="0" y="72219"/>
                        <a:pt x="15429" y="-11095"/>
                        <a:pt x="64800" y="1247"/>
                      </a:cubicBezTo>
                      <a:cubicBezTo>
                        <a:pt x="111086" y="16676"/>
                        <a:pt x="98743" y="69133"/>
                        <a:pt x="0" y="7221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7" name="任意多边形: 形状 136">
                  <a:extLst>
                    <a:ext uri="{FF2B5EF4-FFF2-40B4-BE49-F238E27FC236}">
                      <a16:creationId xmlns:a16="http://schemas.microsoft.com/office/drawing/2014/main" id="{8A9CDDF7-EC63-429A-9B8D-7A228D6834D8}"/>
                    </a:ext>
                  </a:extLst>
                </p:cNvPr>
                <p:cNvSpPr/>
                <p:nvPr/>
              </p:nvSpPr>
              <p:spPr>
                <a:xfrm>
                  <a:off x="5155258" y="7690746"/>
                  <a:ext cx="57664" cy="59785"/>
                </a:xfrm>
                <a:custGeom>
                  <a:avLst/>
                  <a:gdLst>
                    <a:gd name="connsiteX0" fmla="*/ 54579 w 57664"/>
                    <a:gd name="connsiteY0" fmla="*/ 14464 h 59785"/>
                    <a:gd name="connsiteX1" fmla="*/ 14464 w 57664"/>
                    <a:gd name="connsiteY1" fmla="*/ 5207 h 59785"/>
                    <a:gd name="connsiteX2" fmla="*/ 5207 w 57664"/>
                    <a:gd name="connsiteY2" fmla="*/ 45322 h 59785"/>
                    <a:gd name="connsiteX3" fmla="*/ 45321 w 57664"/>
                    <a:gd name="connsiteY3" fmla="*/ 54578 h 59785"/>
                    <a:gd name="connsiteX4" fmla="*/ 54579 w 57664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664" h="59785">
                      <a:moveTo>
                        <a:pt x="54579" y="14464"/>
                      </a:moveTo>
                      <a:cubicBezTo>
                        <a:pt x="45321" y="-964"/>
                        <a:pt x="26807" y="-4050"/>
                        <a:pt x="14464" y="5207"/>
                      </a:cubicBezTo>
                      <a:cubicBezTo>
                        <a:pt x="-964" y="14464"/>
                        <a:pt x="-4050" y="32978"/>
                        <a:pt x="5207" y="45322"/>
                      </a:cubicBezTo>
                      <a:cubicBezTo>
                        <a:pt x="14464" y="60750"/>
                        <a:pt x="32979" y="63836"/>
                        <a:pt x="45321" y="54578"/>
                      </a:cubicBezTo>
                      <a:cubicBezTo>
                        <a:pt x="57664" y="48407"/>
                        <a:pt x="60750" y="29893"/>
                        <a:pt x="54579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7" name="图形 1">
                <a:extLst>
                  <a:ext uri="{FF2B5EF4-FFF2-40B4-BE49-F238E27FC236}">
                    <a16:creationId xmlns:a16="http://schemas.microsoft.com/office/drawing/2014/main" id="{3F12402A-5E75-4298-921A-B014ED0405A7}"/>
                  </a:ext>
                </a:extLst>
              </p:cNvPr>
              <p:cNvGrpSpPr/>
              <p:nvPr/>
            </p:nvGrpSpPr>
            <p:grpSpPr>
              <a:xfrm>
                <a:off x="4975322" y="7685780"/>
                <a:ext cx="218455" cy="222018"/>
                <a:chOff x="4975322" y="7685780"/>
                <a:chExt cx="218455" cy="222018"/>
              </a:xfrm>
            </p:grpSpPr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66BC70D2-C35C-4E3C-8A09-DA3559FC73A1}"/>
                    </a:ext>
                  </a:extLst>
                </p:cNvPr>
                <p:cNvSpPr/>
                <p:nvPr/>
              </p:nvSpPr>
              <p:spPr>
                <a:xfrm>
                  <a:off x="4975322" y="7745837"/>
                  <a:ext cx="117257" cy="82407"/>
                </a:xfrm>
                <a:custGeom>
                  <a:avLst/>
                  <a:gdLst>
                    <a:gd name="connsiteX0" fmla="*/ 117257 w 117257"/>
                    <a:gd name="connsiteY0" fmla="*/ 45773 h 82407"/>
                    <a:gd name="connsiteX1" fmla="*/ 0 w 117257"/>
                    <a:gd name="connsiteY1" fmla="*/ 39602 h 82407"/>
                    <a:gd name="connsiteX2" fmla="*/ 117257 w 117257"/>
                    <a:gd name="connsiteY2" fmla="*/ 45773 h 824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7257" h="82407">
                      <a:moveTo>
                        <a:pt x="117257" y="45773"/>
                      </a:moveTo>
                      <a:cubicBezTo>
                        <a:pt x="117257" y="45773"/>
                        <a:pt x="0" y="-52970"/>
                        <a:pt x="0" y="39602"/>
                      </a:cubicBezTo>
                      <a:cubicBezTo>
                        <a:pt x="3086" y="132173"/>
                        <a:pt x="117257" y="45773"/>
                        <a:pt x="117257" y="4577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A8F3B1E3-2F59-4849-8869-994316877F4F}"/>
                    </a:ext>
                  </a:extLst>
                </p:cNvPr>
                <p:cNvSpPr/>
                <p:nvPr/>
              </p:nvSpPr>
              <p:spPr>
                <a:xfrm>
                  <a:off x="5050863" y="7685780"/>
                  <a:ext cx="63433" cy="112001"/>
                </a:xfrm>
                <a:custGeom>
                  <a:avLst/>
                  <a:gdLst>
                    <a:gd name="connsiteX0" fmla="*/ 47888 w 63433"/>
                    <a:gd name="connsiteY0" fmla="*/ 112002 h 112001"/>
                    <a:gd name="connsiteX1" fmla="*/ 7773 w 63433"/>
                    <a:gd name="connsiteY1" fmla="*/ 4002 h 112001"/>
                    <a:gd name="connsiteX2" fmla="*/ 47888 w 63433"/>
                    <a:gd name="connsiteY2" fmla="*/ 112002 h 1120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3433" h="112001">
                      <a:moveTo>
                        <a:pt x="47888" y="112002"/>
                      </a:moveTo>
                      <a:cubicBezTo>
                        <a:pt x="47888" y="112002"/>
                        <a:pt x="-23084" y="19430"/>
                        <a:pt x="7773" y="4002"/>
                      </a:cubicBezTo>
                      <a:cubicBezTo>
                        <a:pt x="41716" y="-11427"/>
                        <a:pt x="88002" y="16345"/>
                        <a:pt x="47888" y="11200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EEB9D66F-2409-4E16-BD3D-7C2FCF1C92B5}"/>
                    </a:ext>
                  </a:extLst>
                </p:cNvPr>
                <p:cNvSpPr/>
                <p:nvPr/>
              </p:nvSpPr>
              <p:spPr>
                <a:xfrm>
                  <a:off x="5028918" y="7803953"/>
                  <a:ext cx="77632" cy="103845"/>
                </a:xfrm>
                <a:custGeom>
                  <a:avLst/>
                  <a:gdLst>
                    <a:gd name="connsiteX0" fmla="*/ 63661 w 77632"/>
                    <a:gd name="connsiteY0" fmla="*/ 0 h 103845"/>
                    <a:gd name="connsiteX1" fmla="*/ 11204 w 77632"/>
                    <a:gd name="connsiteY1" fmla="*/ 95657 h 103845"/>
                    <a:gd name="connsiteX2" fmla="*/ 63661 w 77632"/>
                    <a:gd name="connsiteY2" fmla="*/ 0 h 1038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7632" h="103845">
                      <a:moveTo>
                        <a:pt x="63661" y="0"/>
                      </a:moveTo>
                      <a:cubicBezTo>
                        <a:pt x="63661" y="0"/>
                        <a:pt x="-31996" y="67886"/>
                        <a:pt x="11204" y="95657"/>
                      </a:cubicBezTo>
                      <a:cubicBezTo>
                        <a:pt x="57490" y="126514"/>
                        <a:pt x="100690" y="64800"/>
                        <a:pt x="63661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9A8154A9-24DA-443F-AE83-3112AC969483}"/>
                    </a:ext>
                  </a:extLst>
                </p:cNvPr>
                <p:cNvSpPr/>
                <p:nvPr/>
              </p:nvSpPr>
              <p:spPr>
                <a:xfrm>
                  <a:off x="5104922" y="7807039"/>
                  <a:ext cx="72493" cy="72816"/>
                </a:xfrm>
                <a:custGeom>
                  <a:avLst/>
                  <a:gdLst>
                    <a:gd name="connsiteX0" fmla="*/ 0 w 72493"/>
                    <a:gd name="connsiteY0" fmla="*/ 0 h 72816"/>
                    <a:gd name="connsiteX1" fmla="*/ 52457 w 72493"/>
                    <a:gd name="connsiteY1" fmla="*/ 70972 h 72816"/>
                    <a:gd name="connsiteX2" fmla="*/ 0 w 72493"/>
                    <a:gd name="connsiteY2" fmla="*/ 0 h 72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2493" h="72816">
                      <a:moveTo>
                        <a:pt x="0" y="0"/>
                      </a:moveTo>
                      <a:cubicBezTo>
                        <a:pt x="0" y="0"/>
                        <a:pt x="6172" y="86400"/>
                        <a:pt x="52457" y="70972"/>
                      </a:cubicBezTo>
                      <a:cubicBezTo>
                        <a:pt x="95657" y="49372"/>
                        <a:pt x="64800" y="18514"/>
                        <a:pt x="0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60AE7211-7100-4654-A5E8-063027683C4F}"/>
                    </a:ext>
                  </a:extLst>
                </p:cNvPr>
                <p:cNvSpPr/>
                <p:nvPr/>
              </p:nvSpPr>
              <p:spPr>
                <a:xfrm>
                  <a:off x="5111094" y="7734027"/>
                  <a:ext cx="82683" cy="63754"/>
                </a:xfrm>
                <a:custGeom>
                  <a:avLst/>
                  <a:gdLst>
                    <a:gd name="connsiteX0" fmla="*/ 0 w 82683"/>
                    <a:gd name="connsiteY0" fmla="*/ 63754 h 63754"/>
                    <a:gd name="connsiteX1" fmla="*/ 58628 w 82683"/>
                    <a:gd name="connsiteY1" fmla="*/ 2040 h 63754"/>
                    <a:gd name="connsiteX2" fmla="*/ 0 w 82683"/>
                    <a:gd name="connsiteY2" fmla="*/ 63754 h 637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2683" h="63754">
                      <a:moveTo>
                        <a:pt x="0" y="63754"/>
                      </a:moveTo>
                      <a:cubicBezTo>
                        <a:pt x="0" y="63754"/>
                        <a:pt x="15429" y="-13388"/>
                        <a:pt x="58628" y="2040"/>
                      </a:cubicBezTo>
                      <a:cubicBezTo>
                        <a:pt x="101828" y="14383"/>
                        <a:pt x="89486" y="60669"/>
                        <a:pt x="0" y="63754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698F9855-56D8-4A80-A7EC-9B29BF332C28}"/>
                    </a:ext>
                  </a:extLst>
                </p:cNvPr>
                <p:cNvSpPr/>
                <p:nvPr/>
              </p:nvSpPr>
              <p:spPr>
                <a:xfrm>
                  <a:off x="5072694" y="7774810"/>
                  <a:ext cx="55200" cy="55200"/>
                </a:xfrm>
                <a:custGeom>
                  <a:avLst/>
                  <a:gdLst>
                    <a:gd name="connsiteX0" fmla="*/ 50743 w 55200"/>
                    <a:gd name="connsiteY0" fmla="*/ 13714 h 55200"/>
                    <a:gd name="connsiteX1" fmla="*/ 13714 w 55200"/>
                    <a:gd name="connsiteY1" fmla="*/ 4457 h 55200"/>
                    <a:gd name="connsiteX2" fmla="*/ 4457 w 55200"/>
                    <a:gd name="connsiteY2" fmla="*/ 41486 h 55200"/>
                    <a:gd name="connsiteX3" fmla="*/ 41486 w 55200"/>
                    <a:gd name="connsiteY3" fmla="*/ 50743 h 55200"/>
                    <a:gd name="connsiteX4" fmla="*/ 50743 w 55200"/>
                    <a:gd name="connsiteY4" fmla="*/ 13714 h 55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00" h="55200">
                      <a:moveTo>
                        <a:pt x="50743" y="13714"/>
                      </a:moveTo>
                      <a:cubicBezTo>
                        <a:pt x="44571" y="1371"/>
                        <a:pt x="26057" y="-4800"/>
                        <a:pt x="13714" y="4457"/>
                      </a:cubicBezTo>
                      <a:cubicBezTo>
                        <a:pt x="1371" y="10629"/>
                        <a:pt x="-4800" y="29143"/>
                        <a:pt x="4457" y="41486"/>
                      </a:cubicBezTo>
                      <a:cubicBezTo>
                        <a:pt x="10629" y="53829"/>
                        <a:pt x="29143" y="60000"/>
                        <a:pt x="41486" y="50743"/>
                      </a:cubicBezTo>
                      <a:cubicBezTo>
                        <a:pt x="53829" y="41486"/>
                        <a:pt x="60000" y="26057"/>
                        <a:pt x="50743" y="1371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8" name="图形 1">
                <a:extLst>
                  <a:ext uri="{FF2B5EF4-FFF2-40B4-BE49-F238E27FC236}">
                    <a16:creationId xmlns:a16="http://schemas.microsoft.com/office/drawing/2014/main" id="{CDD2AAB8-4814-441A-914B-379FB756B189}"/>
                  </a:ext>
                </a:extLst>
              </p:cNvPr>
              <p:cNvGrpSpPr/>
              <p:nvPr/>
            </p:nvGrpSpPr>
            <p:grpSpPr>
              <a:xfrm>
                <a:off x="5490582" y="7556432"/>
                <a:ext cx="238869" cy="244187"/>
                <a:chOff x="5490582" y="7556432"/>
                <a:chExt cx="238869" cy="244187"/>
              </a:xfrm>
            </p:grpSpPr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57AE8081-0217-458A-9B9A-F9BAC1663D80}"/>
                    </a:ext>
                  </a:extLst>
                </p:cNvPr>
                <p:cNvSpPr/>
                <p:nvPr/>
              </p:nvSpPr>
              <p:spPr>
                <a:xfrm>
                  <a:off x="5490582" y="7622120"/>
                  <a:ext cx="126568" cy="90764"/>
                </a:xfrm>
                <a:custGeom>
                  <a:avLst/>
                  <a:gdLst>
                    <a:gd name="connsiteX0" fmla="*/ 126568 w 126568"/>
                    <a:gd name="connsiteY0" fmla="*/ 52233 h 90764"/>
                    <a:gd name="connsiteX1" fmla="*/ 54 w 126568"/>
                    <a:gd name="connsiteY1" fmla="*/ 42976 h 90764"/>
                    <a:gd name="connsiteX2" fmla="*/ 126568 w 126568"/>
                    <a:gd name="connsiteY2" fmla="*/ 52233 h 90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8" h="90764">
                      <a:moveTo>
                        <a:pt x="126568" y="52233"/>
                      </a:moveTo>
                      <a:cubicBezTo>
                        <a:pt x="126568" y="52233"/>
                        <a:pt x="-3031" y="-58853"/>
                        <a:pt x="54" y="42976"/>
                      </a:cubicBezTo>
                      <a:cubicBezTo>
                        <a:pt x="3140" y="144805"/>
                        <a:pt x="126568" y="52233"/>
                        <a:pt x="126568" y="52233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D42DA912-D8FB-4930-AF28-A3501EC6471C}"/>
                    </a:ext>
                  </a:extLst>
                </p:cNvPr>
                <p:cNvSpPr/>
                <p:nvPr/>
              </p:nvSpPr>
              <p:spPr>
                <a:xfrm>
                  <a:off x="5570359" y="7556432"/>
                  <a:ext cx="71125" cy="121007"/>
                </a:xfrm>
                <a:custGeom>
                  <a:avLst/>
                  <a:gdLst>
                    <a:gd name="connsiteX0" fmla="*/ 52963 w 71125"/>
                    <a:gd name="connsiteY0" fmla="*/ 121007 h 121007"/>
                    <a:gd name="connsiteX1" fmla="*/ 9763 w 71125"/>
                    <a:gd name="connsiteY1" fmla="*/ 3750 h 121007"/>
                    <a:gd name="connsiteX2" fmla="*/ 52963 w 71125"/>
                    <a:gd name="connsiteY2" fmla="*/ 121007 h 1210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1125" h="121007">
                      <a:moveTo>
                        <a:pt x="52963" y="121007"/>
                      </a:moveTo>
                      <a:cubicBezTo>
                        <a:pt x="52963" y="121007"/>
                        <a:pt x="-27265" y="19178"/>
                        <a:pt x="9763" y="3750"/>
                      </a:cubicBezTo>
                      <a:cubicBezTo>
                        <a:pt x="46792" y="-11679"/>
                        <a:pt x="99249" y="19178"/>
                        <a:pt x="52963" y="121007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A7F140B6-7204-4FB0-A8A4-1352F2732B1F}"/>
                    </a:ext>
                  </a:extLst>
                </p:cNvPr>
                <p:cNvSpPr/>
                <p:nvPr/>
              </p:nvSpPr>
              <p:spPr>
                <a:xfrm>
                  <a:off x="5547234" y="7686696"/>
                  <a:ext cx="85156" cy="113923"/>
                </a:xfrm>
                <a:custGeom>
                  <a:avLst/>
                  <a:gdLst>
                    <a:gd name="connsiteX0" fmla="*/ 69917 w 85156"/>
                    <a:gd name="connsiteY0" fmla="*/ 0 h 113923"/>
                    <a:gd name="connsiteX1" fmla="*/ 14374 w 85156"/>
                    <a:gd name="connsiteY1" fmla="*/ 104914 h 113923"/>
                    <a:gd name="connsiteX2" fmla="*/ 69917 w 85156"/>
                    <a:gd name="connsiteY2" fmla="*/ 0 h 1139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5156" h="113923">
                      <a:moveTo>
                        <a:pt x="69917" y="0"/>
                      </a:moveTo>
                      <a:cubicBezTo>
                        <a:pt x="69917" y="0"/>
                        <a:pt x="-38083" y="74057"/>
                        <a:pt x="14374" y="104914"/>
                      </a:cubicBezTo>
                      <a:cubicBezTo>
                        <a:pt x="63745" y="138857"/>
                        <a:pt x="110031" y="70972"/>
                        <a:pt x="69917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DC7C3701-6135-4B5F-9AAA-B0E95953CFB1}"/>
                    </a:ext>
                  </a:extLst>
                </p:cNvPr>
                <p:cNvSpPr/>
                <p:nvPr/>
              </p:nvSpPr>
              <p:spPr>
                <a:xfrm>
                  <a:off x="5629494" y="7689782"/>
                  <a:ext cx="81849" cy="79521"/>
                </a:xfrm>
                <a:custGeom>
                  <a:avLst/>
                  <a:gdLst>
                    <a:gd name="connsiteX0" fmla="*/ 0 w 81849"/>
                    <a:gd name="connsiteY0" fmla="*/ 0 h 79521"/>
                    <a:gd name="connsiteX1" fmla="*/ 58629 w 81849"/>
                    <a:gd name="connsiteY1" fmla="*/ 77143 h 79521"/>
                    <a:gd name="connsiteX2" fmla="*/ 0 w 81849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849" h="79521">
                      <a:moveTo>
                        <a:pt x="0" y="0"/>
                      </a:moveTo>
                      <a:cubicBezTo>
                        <a:pt x="0" y="0"/>
                        <a:pt x="6172" y="95657"/>
                        <a:pt x="58629" y="77143"/>
                      </a:cubicBezTo>
                      <a:cubicBezTo>
                        <a:pt x="108000" y="55542"/>
                        <a:pt x="74057" y="18514"/>
                        <a:pt x="0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38FD8CC5-76B8-4D52-BA45-C2107F9ACF25}"/>
                    </a:ext>
                  </a:extLst>
                </p:cNvPr>
                <p:cNvSpPr/>
                <p:nvPr/>
              </p:nvSpPr>
              <p:spPr>
                <a:xfrm>
                  <a:off x="5638751" y="7608306"/>
                  <a:ext cx="90700" cy="72218"/>
                </a:xfrm>
                <a:custGeom>
                  <a:avLst/>
                  <a:gdLst>
                    <a:gd name="connsiteX0" fmla="*/ 0 w 90700"/>
                    <a:gd name="connsiteY0" fmla="*/ 72219 h 72218"/>
                    <a:gd name="connsiteX1" fmla="*/ 64800 w 90700"/>
                    <a:gd name="connsiteY1" fmla="*/ 1247 h 72218"/>
                    <a:gd name="connsiteX2" fmla="*/ 0 w 90700"/>
                    <a:gd name="connsiteY2" fmla="*/ 72219 h 72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0700" h="72218">
                      <a:moveTo>
                        <a:pt x="0" y="72219"/>
                      </a:moveTo>
                      <a:cubicBezTo>
                        <a:pt x="0" y="72219"/>
                        <a:pt x="15429" y="-11095"/>
                        <a:pt x="64800" y="1247"/>
                      </a:cubicBezTo>
                      <a:cubicBezTo>
                        <a:pt x="111086" y="16676"/>
                        <a:pt x="98743" y="66048"/>
                        <a:pt x="0" y="72219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02E68067-ECFF-4CB2-B946-8B48DBC6AA48}"/>
                    </a:ext>
                  </a:extLst>
                </p:cNvPr>
                <p:cNvSpPr/>
                <p:nvPr/>
              </p:nvSpPr>
              <p:spPr>
                <a:xfrm>
                  <a:off x="5599601" y="7653717"/>
                  <a:ext cx="57664" cy="59785"/>
                </a:xfrm>
                <a:custGeom>
                  <a:avLst/>
                  <a:gdLst>
                    <a:gd name="connsiteX0" fmla="*/ 54579 w 57664"/>
                    <a:gd name="connsiteY0" fmla="*/ 14464 h 59785"/>
                    <a:gd name="connsiteX1" fmla="*/ 14464 w 57664"/>
                    <a:gd name="connsiteY1" fmla="*/ 5207 h 59785"/>
                    <a:gd name="connsiteX2" fmla="*/ 5207 w 57664"/>
                    <a:gd name="connsiteY2" fmla="*/ 45321 h 59785"/>
                    <a:gd name="connsiteX3" fmla="*/ 45321 w 57664"/>
                    <a:gd name="connsiteY3" fmla="*/ 54578 h 59785"/>
                    <a:gd name="connsiteX4" fmla="*/ 54579 w 57664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664" h="59785">
                      <a:moveTo>
                        <a:pt x="54579" y="14464"/>
                      </a:moveTo>
                      <a:cubicBezTo>
                        <a:pt x="45321" y="-965"/>
                        <a:pt x="26807" y="-4050"/>
                        <a:pt x="14464" y="5207"/>
                      </a:cubicBezTo>
                      <a:cubicBezTo>
                        <a:pt x="-964" y="14464"/>
                        <a:pt x="-4050" y="32979"/>
                        <a:pt x="5207" y="45321"/>
                      </a:cubicBezTo>
                      <a:cubicBezTo>
                        <a:pt x="14464" y="60750"/>
                        <a:pt x="32978" y="63836"/>
                        <a:pt x="45321" y="54578"/>
                      </a:cubicBezTo>
                      <a:cubicBezTo>
                        <a:pt x="57664" y="48407"/>
                        <a:pt x="60750" y="29893"/>
                        <a:pt x="54579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9" name="图形 1">
                <a:extLst>
                  <a:ext uri="{FF2B5EF4-FFF2-40B4-BE49-F238E27FC236}">
                    <a16:creationId xmlns:a16="http://schemas.microsoft.com/office/drawing/2014/main" id="{047447A6-4505-4FAF-9BB4-2ACC59ABA5EE}"/>
                  </a:ext>
                </a:extLst>
              </p:cNvPr>
              <p:cNvGrpSpPr/>
              <p:nvPr/>
            </p:nvGrpSpPr>
            <p:grpSpPr>
              <a:xfrm>
                <a:off x="5404182" y="7681641"/>
                <a:ext cx="239821" cy="244144"/>
                <a:chOff x="5404182" y="7681641"/>
                <a:chExt cx="239821" cy="244144"/>
              </a:xfrm>
            </p:grpSpPr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239D307B-2FAB-4175-8404-744BDC275922}"/>
                    </a:ext>
                  </a:extLst>
                </p:cNvPr>
                <p:cNvSpPr/>
                <p:nvPr/>
              </p:nvSpPr>
              <p:spPr>
                <a:xfrm>
                  <a:off x="5404182" y="7748634"/>
                  <a:ext cx="126568" cy="90764"/>
                </a:xfrm>
                <a:custGeom>
                  <a:avLst/>
                  <a:gdLst>
                    <a:gd name="connsiteX0" fmla="*/ 126568 w 126568"/>
                    <a:gd name="connsiteY0" fmla="*/ 52233 h 90764"/>
                    <a:gd name="connsiteX1" fmla="*/ 54 w 126568"/>
                    <a:gd name="connsiteY1" fmla="*/ 42976 h 90764"/>
                    <a:gd name="connsiteX2" fmla="*/ 126568 w 126568"/>
                    <a:gd name="connsiteY2" fmla="*/ 52233 h 90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8" h="90764">
                      <a:moveTo>
                        <a:pt x="126568" y="52233"/>
                      </a:moveTo>
                      <a:cubicBezTo>
                        <a:pt x="126568" y="52233"/>
                        <a:pt x="-3032" y="-58853"/>
                        <a:pt x="54" y="42976"/>
                      </a:cubicBezTo>
                      <a:cubicBezTo>
                        <a:pt x="3140" y="144804"/>
                        <a:pt x="126568" y="52233"/>
                        <a:pt x="126568" y="52233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6937F8A5-DBF8-4D3D-8FC4-2DEAF3B9F8A4}"/>
                    </a:ext>
                  </a:extLst>
                </p:cNvPr>
                <p:cNvSpPr/>
                <p:nvPr/>
              </p:nvSpPr>
              <p:spPr>
                <a:xfrm>
                  <a:off x="5487045" y="7681641"/>
                  <a:ext cx="69282" cy="122312"/>
                </a:xfrm>
                <a:custGeom>
                  <a:avLst/>
                  <a:gdLst>
                    <a:gd name="connsiteX0" fmla="*/ 52963 w 69282"/>
                    <a:gd name="connsiteY0" fmla="*/ 122312 h 122312"/>
                    <a:gd name="connsiteX1" fmla="*/ 9763 w 69282"/>
                    <a:gd name="connsiteY1" fmla="*/ 5055 h 122312"/>
                    <a:gd name="connsiteX2" fmla="*/ 52963 w 69282"/>
                    <a:gd name="connsiteY2" fmla="*/ 122312 h 122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282" h="122312">
                      <a:moveTo>
                        <a:pt x="52963" y="122312"/>
                      </a:moveTo>
                      <a:cubicBezTo>
                        <a:pt x="52963" y="122312"/>
                        <a:pt x="-27265" y="20484"/>
                        <a:pt x="9763" y="5055"/>
                      </a:cubicBezTo>
                      <a:cubicBezTo>
                        <a:pt x="43706" y="-13459"/>
                        <a:pt x="96163" y="17398"/>
                        <a:pt x="52963" y="122312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D42B6824-32CF-47AA-88BA-BAE4340B41E8}"/>
                    </a:ext>
                  </a:extLst>
                </p:cNvPr>
                <p:cNvSpPr/>
                <p:nvPr/>
              </p:nvSpPr>
              <p:spPr>
                <a:xfrm>
                  <a:off x="5460834" y="7813210"/>
                  <a:ext cx="86485" cy="112575"/>
                </a:xfrm>
                <a:custGeom>
                  <a:avLst/>
                  <a:gdLst>
                    <a:gd name="connsiteX0" fmla="*/ 69917 w 86485"/>
                    <a:gd name="connsiteY0" fmla="*/ 0 h 112575"/>
                    <a:gd name="connsiteX1" fmla="*/ 14374 w 86485"/>
                    <a:gd name="connsiteY1" fmla="*/ 104914 h 112575"/>
                    <a:gd name="connsiteX2" fmla="*/ 69917 w 86485"/>
                    <a:gd name="connsiteY2" fmla="*/ 0 h 112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6485" h="112575">
                      <a:moveTo>
                        <a:pt x="69917" y="0"/>
                      </a:moveTo>
                      <a:cubicBezTo>
                        <a:pt x="69917" y="0"/>
                        <a:pt x="-38083" y="74057"/>
                        <a:pt x="14374" y="104914"/>
                      </a:cubicBezTo>
                      <a:cubicBezTo>
                        <a:pt x="63745" y="135771"/>
                        <a:pt x="113117" y="67886"/>
                        <a:pt x="69917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AEB3EC19-E7BD-4459-90E6-88EBB761AC56}"/>
                    </a:ext>
                  </a:extLst>
                </p:cNvPr>
                <p:cNvSpPr/>
                <p:nvPr/>
              </p:nvSpPr>
              <p:spPr>
                <a:xfrm>
                  <a:off x="5546179" y="7816296"/>
                  <a:ext cx="81205" cy="79521"/>
                </a:xfrm>
                <a:custGeom>
                  <a:avLst/>
                  <a:gdLst>
                    <a:gd name="connsiteX0" fmla="*/ 0 w 81205"/>
                    <a:gd name="connsiteY0" fmla="*/ 0 h 79521"/>
                    <a:gd name="connsiteX1" fmla="*/ 58629 w 81205"/>
                    <a:gd name="connsiteY1" fmla="*/ 77143 h 79521"/>
                    <a:gd name="connsiteX2" fmla="*/ 0 w 81205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205" h="79521">
                      <a:moveTo>
                        <a:pt x="0" y="0"/>
                      </a:moveTo>
                      <a:cubicBezTo>
                        <a:pt x="0" y="0"/>
                        <a:pt x="6171" y="95657"/>
                        <a:pt x="58629" y="77143"/>
                      </a:cubicBezTo>
                      <a:cubicBezTo>
                        <a:pt x="108000" y="55543"/>
                        <a:pt x="70971" y="18514"/>
                        <a:pt x="0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82BD70B1-6452-4800-859C-FD1C7DEDEDDE}"/>
                    </a:ext>
                  </a:extLst>
                </p:cNvPr>
                <p:cNvSpPr/>
                <p:nvPr/>
              </p:nvSpPr>
              <p:spPr>
                <a:xfrm>
                  <a:off x="5555436" y="7734820"/>
                  <a:ext cx="88567" cy="72218"/>
                </a:xfrm>
                <a:custGeom>
                  <a:avLst/>
                  <a:gdLst>
                    <a:gd name="connsiteX0" fmla="*/ 0 w 88567"/>
                    <a:gd name="connsiteY0" fmla="*/ 72219 h 72218"/>
                    <a:gd name="connsiteX1" fmla="*/ 64800 w 88567"/>
                    <a:gd name="connsiteY1" fmla="*/ 1248 h 72218"/>
                    <a:gd name="connsiteX2" fmla="*/ 0 w 88567"/>
                    <a:gd name="connsiteY2" fmla="*/ 72219 h 72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567" h="72218">
                      <a:moveTo>
                        <a:pt x="0" y="72219"/>
                      </a:moveTo>
                      <a:cubicBezTo>
                        <a:pt x="0" y="72219"/>
                        <a:pt x="15429" y="-11096"/>
                        <a:pt x="64800" y="1248"/>
                      </a:cubicBezTo>
                      <a:cubicBezTo>
                        <a:pt x="108000" y="16676"/>
                        <a:pt x="95657" y="66047"/>
                        <a:pt x="0" y="72219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D12C09FD-2F0B-42C2-9D5D-2486E2FD40FA}"/>
                    </a:ext>
                  </a:extLst>
                </p:cNvPr>
                <p:cNvSpPr/>
                <p:nvPr/>
              </p:nvSpPr>
              <p:spPr>
                <a:xfrm>
                  <a:off x="5513201" y="7780232"/>
                  <a:ext cx="59035" cy="59785"/>
                </a:xfrm>
                <a:custGeom>
                  <a:avLst/>
                  <a:gdLst>
                    <a:gd name="connsiteX0" fmla="*/ 54579 w 59035"/>
                    <a:gd name="connsiteY0" fmla="*/ 14464 h 59785"/>
                    <a:gd name="connsiteX1" fmla="*/ 14464 w 59035"/>
                    <a:gd name="connsiteY1" fmla="*/ 5207 h 59785"/>
                    <a:gd name="connsiteX2" fmla="*/ 5207 w 59035"/>
                    <a:gd name="connsiteY2" fmla="*/ 45322 h 59785"/>
                    <a:gd name="connsiteX3" fmla="*/ 45322 w 59035"/>
                    <a:gd name="connsiteY3" fmla="*/ 54579 h 59785"/>
                    <a:gd name="connsiteX4" fmla="*/ 54579 w 59035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35" h="59785">
                      <a:moveTo>
                        <a:pt x="54579" y="14464"/>
                      </a:moveTo>
                      <a:cubicBezTo>
                        <a:pt x="45322" y="-964"/>
                        <a:pt x="26807" y="-4050"/>
                        <a:pt x="14464" y="5207"/>
                      </a:cubicBezTo>
                      <a:cubicBezTo>
                        <a:pt x="-964" y="14464"/>
                        <a:pt x="-4050" y="32979"/>
                        <a:pt x="5207" y="45322"/>
                      </a:cubicBezTo>
                      <a:cubicBezTo>
                        <a:pt x="14464" y="60750"/>
                        <a:pt x="32979" y="63836"/>
                        <a:pt x="45322" y="54579"/>
                      </a:cubicBezTo>
                      <a:cubicBezTo>
                        <a:pt x="57664" y="45322"/>
                        <a:pt x="63836" y="26807"/>
                        <a:pt x="54579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00" name="图形 1">
                <a:extLst>
                  <a:ext uri="{FF2B5EF4-FFF2-40B4-BE49-F238E27FC236}">
                    <a16:creationId xmlns:a16="http://schemas.microsoft.com/office/drawing/2014/main" id="{8FBFB52C-8544-41AE-9793-179BC269C9A7}"/>
                  </a:ext>
                </a:extLst>
              </p:cNvPr>
              <p:cNvGrpSpPr/>
              <p:nvPr/>
            </p:nvGrpSpPr>
            <p:grpSpPr>
              <a:xfrm>
                <a:off x="5293097" y="7561298"/>
                <a:ext cx="238869" cy="244144"/>
                <a:chOff x="5293097" y="7561298"/>
                <a:chExt cx="238869" cy="244144"/>
              </a:xfrm>
            </p:grpSpPr>
            <p:sp>
              <p:nvSpPr>
                <p:cNvPr id="108" name="任意多边形: 形状 107">
                  <a:extLst>
                    <a:ext uri="{FF2B5EF4-FFF2-40B4-BE49-F238E27FC236}">
                      <a16:creationId xmlns:a16="http://schemas.microsoft.com/office/drawing/2014/main" id="{59B6CFE1-B742-44D7-BC5D-1C43DCBC23DD}"/>
                    </a:ext>
                  </a:extLst>
                </p:cNvPr>
                <p:cNvSpPr/>
                <p:nvPr/>
              </p:nvSpPr>
              <p:spPr>
                <a:xfrm>
                  <a:off x="5293097" y="7628292"/>
                  <a:ext cx="126568" cy="90764"/>
                </a:xfrm>
                <a:custGeom>
                  <a:avLst/>
                  <a:gdLst>
                    <a:gd name="connsiteX0" fmla="*/ 126569 w 126568"/>
                    <a:gd name="connsiteY0" fmla="*/ 52233 h 90764"/>
                    <a:gd name="connsiteX1" fmla="*/ 54 w 126568"/>
                    <a:gd name="connsiteY1" fmla="*/ 42976 h 90764"/>
                    <a:gd name="connsiteX2" fmla="*/ 126569 w 126568"/>
                    <a:gd name="connsiteY2" fmla="*/ 52233 h 90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8" h="90764">
                      <a:moveTo>
                        <a:pt x="126569" y="52233"/>
                      </a:moveTo>
                      <a:cubicBezTo>
                        <a:pt x="126569" y="52233"/>
                        <a:pt x="-3031" y="-58853"/>
                        <a:pt x="54" y="42976"/>
                      </a:cubicBezTo>
                      <a:cubicBezTo>
                        <a:pt x="3140" y="144805"/>
                        <a:pt x="126569" y="52233"/>
                        <a:pt x="126569" y="52233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9" name="任意多边形: 形状 108">
                  <a:extLst>
                    <a:ext uri="{FF2B5EF4-FFF2-40B4-BE49-F238E27FC236}">
                      <a16:creationId xmlns:a16="http://schemas.microsoft.com/office/drawing/2014/main" id="{2E5485D5-758A-453C-9925-F01FC65D6761}"/>
                    </a:ext>
                  </a:extLst>
                </p:cNvPr>
                <p:cNvSpPr/>
                <p:nvPr/>
              </p:nvSpPr>
              <p:spPr>
                <a:xfrm>
                  <a:off x="5372873" y="7561298"/>
                  <a:ext cx="71125" cy="122311"/>
                </a:xfrm>
                <a:custGeom>
                  <a:avLst/>
                  <a:gdLst>
                    <a:gd name="connsiteX0" fmla="*/ 52963 w 71125"/>
                    <a:gd name="connsiteY0" fmla="*/ 122312 h 122311"/>
                    <a:gd name="connsiteX1" fmla="*/ 9763 w 71125"/>
                    <a:gd name="connsiteY1" fmla="*/ 5055 h 122311"/>
                    <a:gd name="connsiteX2" fmla="*/ 52963 w 71125"/>
                    <a:gd name="connsiteY2" fmla="*/ 122312 h 122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1125" h="122311">
                      <a:moveTo>
                        <a:pt x="52963" y="122312"/>
                      </a:moveTo>
                      <a:cubicBezTo>
                        <a:pt x="52963" y="122312"/>
                        <a:pt x="-27265" y="20484"/>
                        <a:pt x="9763" y="5055"/>
                      </a:cubicBezTo>
                      <a:cubicBezTo>
                        <a:pt x="46792" y="-13459"/>
                        <a:pt x="99249" y="17398"/>
                        <a:pt x="52963" y="122312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" name="任意多边形: 形状 109">
                  <a:extLst>
                    <a:ext uri="{FF2B5EF4-FFF2-40B4-BE49-F238E27FC236}">
                      <a16:creationId xmlns:a16="http://schemas.microsoft.com/office/drawing/2014/main" id="{9DD1BE31-8661-48E8-AF35-E950E088B7B1}"/>
                    </a:ext>
                  </a:extLst>
                </p:cNvPr>
                <p:cNvSpPr/>
                <p:nvPr/>
              </p:nvSpPr>
              <p:spPr>
                <a:xfrm>
                  <a:off x="5349748" y="7692867"/>
                  <a:ext cx="85156" cy="112575"/>
                </a:xfrm>
                <a:custGeom>
                  <a:avLst/>
                  <a:gdLst>
                    <a:gd name="connsiteX0" fmla="*/ 69917 w 85156"/>
                    <a:gd name="connsiteY0" fmla="*/ 0 h 112575"/>
                    <a:gd name="connsiteX1" fmla="*/ 14374 w 85156"/>
                    <a:gd name="connsiteY1" fmla="*/ 104915 h 112575"/>
                    <a:gd name="connsiteX2" fmla="*/ 69917 w 85156"/>
                    <a:gd name="connsiteY2" fmla="*/ 0 h 112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5156" h="112575">
                      <a:moveTo>
                        <a:pt x="69917" y="0"/>
                      </a:moveTo>
                      <a:cubicBezTo>
                        <a:pt x="69917" y="0"/>
                        <a:pt x="-38083" y="74057"/>
                        <a:pt x="14374" y="104915"/>
                      </a:cubicBezTo>
                      <a:cubicBezTo>
                        <a:pt x="63745" y="135772"/>
                        <a:pt x="110031" y="67886"/>
                        <a:pt x="69917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" name="任意多边形: 形状 110">
                  <a:extLst>
                    <a:ext uri="{FF2B5EF4-FFF2-40B4-BE49-F238E27FC236}">
                      <a16:creationId xmlns:a16="http://schemas.microsoft.com/office/drawing/2014/main" id="{5DAA299D-BF3A-4731-9904-342A22032779}"/>
                    </a:ext>
                  </a:extLst>
                </p:cNvPr>
                <p:cNvSpPr/>
                <p:nvPr/>
              </p:nvSpPr>
              <p:spPr>
                <a:xfrm>
                  <a:off x="5435094" y="7695953"/>
                  <a:ext cx="82573" cy="79521"/>
                </a:xfrm>
                <a:custGeom>
                  <a:avLst/>
                  <a:gdLst>
                    <a:gd name="connsiteX0" fmla="*/ 0 w 82573"/>
                    <a:gd name="connsiteY0" fmla="*/ 0 h 79521"/>
                    <a:gd name="connsiteX1" fmla="*/ 58628 w 82573"/>
                    <a:gd name="connsiteY1" fmla="*/ 77143 h 79521"/>
                    <a:gd name="connsiteX2" fmla="*/ 0 w 82573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2573" h="79521">
                      <a:moveTo>
                        <a:pt x="0" y="0"/>
                      </a:moveTo>
                      <a:cubicBezTo>
                        <a:pt x="0" y="0"/>
                        <a:pt x="6171" y="95657"/>
                        <a:pt x="58628" y="77143"/>
                      </a:cubicBezTo>
                      <a:cubicBezTo>
                        <a:pt x="111086" y="58628"/>
                        <a:pt x="70971" y="18514"/>
                        <a:pt x="0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781556B0-C131-46CE-A68A-E66D3CAE124E}"/>
                    </a:ext>
                  </a:extLst>
                </p:cNvPr>
                <p:cNvSpPr/>
                <p:nvPr/>
              </p:nvSpPr>
              <p:spPr>
                <a:xfrm>
                  <a:off x="5441265" y="7614477"/>
                  <a:ext cx="90700" cy="72218"/>
                </a:xfrm>
                <a:custGeom>
                  <a:avLst/>
                  <a:gdLst>
                    <a:gd name="connsiteX0" fmla="*/ 0 w 90700"/>
                    <a:gd name="connsiteY0" fmla="*/ 72219 h 72218"/>
                    <a:gd name="connsiteX1" fmla="*/ 64800 w 90700"/>
                    <a:gd name="connsiteY1" fmla="*/ 1247 h 72218"/>
                    <a:gd name="connsiteX2" fmla="*/ 0 w 90700"/>
                    <a:gd name="connsiteY2" fmla="*/ 72219 h 72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0700" h="72218">
                      <a:moveTo>
                        <a:pt x="0" y="72219"/>
                      </a:moveTo>
                      <a:cubicBezTo>
                        <a:pt x="0" y="72219"/>
                        <a:pt x="15429" y="-11095"/>
                        <a:pt x="64800" y="1247"/>
                      </a:cubicBezTo>
                      <a:cubicBezTo>
                        <a:pt x="111086" y="16676"/>
                        <a:pt x="98743" y="66048"/>
                        <a:pt x="0" y="72219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" name="任意多边形: 形状 112">
                  <a:extLst>
                    <a:ext uri="{FF2B5EF4-FFF2-40B4-BE49-F238E27FC236}">
                      <a16:creationId xmlns:a16="http://schemas.microsoft.com/office/drawing/2014/main" id="{7CDC75AE-8ED4-41F9-9B16-5C8E6F5123D6}"/>
                    </a:ext>
                  </a:extLst>
                </p:cNvPr>
                <p:cNvSpPr/>
                <p:nvPr/>
              </p:nvSpPr>
              <p:spPr>
                <a:xfrm>
                  <a:off x="5402115" y="7659889"/>
                  <a:ext cx="57664" cy="59785"/>
                </a:xfrm>
                <a:custGeom>
                  <a:avLst/>
                  <a:gdLst>
                    <a:gd name="connsiteX0" fmla="*/ 54579 w 57664"/>
                    <a:gd name="connsiteY0" fmla="*/ 14464 h 59785"/>
                    <a:gd name="connsiteX1" fmla="*/ 14464 w 57664"/>
                    <a:gd name="connsiteY1" fmla="*/ 5207 h 59785"/>
                    <a:gd name="connsiteX2" fmla="*/ 5207 w 57664"/>
                    <a:gd name="connsiteY2" fmla="*/ 45322 h 59785"/>
                    <a:gd name="connsiteX3" fmla="*/ 45321 w 57664"/>
                    <a:gd name="connsiteY3" fmla="*/ 54578 h 59785"/>
                    <a:gd name="connsiteX4" fmla="*/ 54579 w 57664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664" h="59785">
                      <a:moveTo>
                        <a:pt x="54579" y="14464"/>
                      </a:moveTo>
                      <a:cubicBezTo>
                        <a:pt x="45321" y="-964"/>
                        <a:pt x="26807" y="-4050"/>
                        <a:pt x="14464" y="5207"/>
                      </a:cubicBezTo>
                      <a:cubicBezTo>
                        <a:pt x="-964" y="14464"/>
                        <a:pt x="-4050" y="32978"/>
                        <a:pt x="5207" y="45322"/>
                      </a:cubicBezTo>
                      <a:cubicBezTo>
                        <a:pt x="14464" y="60750"/>
                        <a:pt x="32979" y="63836"/>
                        <a:pt x="45321" y="54578"/>
                      </a:cubicBezTo>
                      <a:cubicBezTo>
                        <a:pt x="57664" y="45322"/>
                        <a:pt x="60750" y="26807"/>
                        <a:pt x="54579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01" name="图形 1">
                <a:extLst>
                  <a:ext uri="{FF2B5EF4-FFF2-40B4-BE49-F238E27FC236}">
                    <a16:creationId xmlns:a16="http://schemas.microsoft.com/office/drawing/2014/main" id="{F7B14E51-B836-4EA0-9F04-2AA537CA600A}"/>
                  </a:ext>
                </a:extLst>
              </p:cNvPr>
              <p:cNvGrpSpPr/>
              <p:nvPr/>
            </p:nvGrpSpPr>
            <p:grpSpPr>
              <a:xfrm>
                <a:off x="5129554" y="7595241"/>
                <a:ext cx="237506" cy="244144"/>
                <a:chOff x="5129554" y="7595241"/>
                <a:chExt cx="237506" cy="244144"/>
              </a:xfrm>
            </p:grpSpPr>
            <p:sp>
              <p:nvSpPr>
                <p:cNvPr id="102" name="任意多边形: 形状 101">
                  <a:extLst>
                    <a:ext uri="{FF2B5EF4-FFF2-40B4-BE49-F238E27FC236}">
                      <a16:creationId xmlns:a16="http://schemas.microsoft.com/office/drawing/2014/main" id="{F971BCAA-336D-4265-AC09-EB6BF7CBF618}"/>
                    </a:ext>
                  </a:extLst>
                </p:cNvPr>
                <p:cNvSpPr/>
                <p:nvPr/>
              </p:nvSpPr>
              <p:spPr>
                <a:xfrm>
                  <a:off x="5129554" y="7662234"/>
                  <a:ext cx="126568" cy="90764"/>
                </a:xfrm>
                <a:custGeom>
                  <a:avLst/>
                  <a:gdLst>
                    <a:gd name="connsiteX0" fmla="*/ 126568 w 126568"/>
                    <a:gd name="connsiteY0" fmla="*/ 52233 h 90764"/>
                    <a:gd name="connsiteX1" fmla="*/ 54 w 126568"/>
                    <a:gd name="connsiteY1" fmla="*/ 42976 h 90764"/>
                    <a:gd name="connsiteX2" fmla="*/ 126568 w 126568"/>
                    <a:gd name="connsiteY2" fmla="*/ 52233 h 90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6568" h="90764">
                      <a:moveTo>
                        <a:pt x="126568" y="52233"/>
                      </a:moveTo>
                      <a:cubicBezTo>
                        <a:pt x="126568" y="52233"/>
                        <a:pt x="-3031" y="-58853"/>
                        <a:pt x="54" y="42976"/>
                      </a:cubicBezTo>
                      <a:cubicBezTo>
                        <a:pt x="54" y="144804"/>
                        <a:pt x="126568" y="52233"/>
                        <a:pt x="126568" y="52233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3" name="任意多边形: 形状 102">
                  <a:extLst>
                    <a:ext uri="{FF2B5EF4-FFF2-40B4-BE49-F238E27FC236}">
                      <a16:creationId xmlns:a16="http://schemas.microsoft.com/office/drawing/2014/main" id="{739BED39-692E-47DC-815D-A2454025412D}"/>
                    </a:ext>
                  </a:extLst>
                </p:cNvPr>
                <p:cNvSpPr/>
                <p:nvPr/>
              </p:nvSpPr>
              <p:spPr>
                <a:xfrm>
                  <a:off x="5209330" y="7595241"/>
                  <a:ext cx="69282" cy="122312"/>
                </a:xfrm>
                <a:custGeom>
                  <a:avLst/>
                  <a:gdLst>
                    <a:gd name="connsiteX0" fmla="*/ 52963 w 69282"/>
                    <a:gd name="connsiteY0" fmla="*/ 122312 h 122312"/>
                    <a:gd name="connsiteX1" fmla="*/ 9763 w 69282"/>
                    <a:gd name="connsiteY1" fmla="*/ 5055 h 122312"/>
                    <a:gd name="connsiteX2" fmla="*/ 52963 w 69282"/>
                    <a:gd name="connsiteY2" fmla="*/ 122312 h 122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9282" h="122312">
                      <a:moveTo>
                        <a:pt x="52963" y="122312"/>
                      </a:moveTo>
                      <a:cubicBezTo>
                        <a:pt x="52963" y="122312"/>
                        <a:pt x="-27265" y="20483"/>
                        <a:pt x="9763" y="5055"/>
                      </a:cubicBezTo>
                      <a:cubicBezTo>
                        <a:pt x="43706" y="-13459"/>
                        <a:pt x="96163" y="17398"/>
                        <a:pt x="52963" y="122312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4" name="任意多边形: 形状 103">
                  <a:extLst>
                    <a:ext uri="{FF2B5EF4-FFF2-40B4-BE49-F238E27FC236}">
                      <a16:creationId xmlns:a16="http://schemas.microsoft.com/office/drawing/2014/main" id="{A160A914-263E-4B74-A089-AEDAA2C9A928}"/>
                    </a:ext>
                  </a:extLst>
                </p:cNvPr>
                <p:cNvSpPr/>
                <p:nvPr/>
              </p:nvSpPr>
              <p:spPr>
                <a:xfrm>
                  <a:off x="5183120" y="7726810"/>
                  <a:ext cx="86485" cy="112575"/>
                </a:xfrm>
                <a:custGeom>
                  <a:avLst/>
                  <a:gdLst>
                    <a:gd name="connsiteX0" fmla="*/ 69917 w 86485"/>
                    <a:gd name="connsiteY0" fmla="*/ 0 h 112575"/>
                    <a:gd name="connsiteX1" fmla="*/ 14374 w 86485"/>
                    <a:gd name="connsiteY1" fmla="*/ 104914 h 112575"/>
                    <a:gd name="connsiteX2" fmla="*/ 69917 w 86485"/>
                    <a:gd name="connsiteY2" fmla="*/ 0 h 112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6485" h="112575">
                      <a:moveTo>
                        <a:pt x="69917" y="0"/>
                      </a:moveTo>
                      <a:cubicBezTo>
                        <a:pt x="69917" y="0"/>
                        <a:pt x="-38083" y="74057"/>
                        <a:pt x="14374" y="104914"/>
                      </a:cubicBezTo>
                      <a:cubicBezTo>
                        <a:pt x="63745" y="135771"/>
                        <a:pt x="113117" y="67886"/>
                        <a:pt x="69917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5" name="任意多边形: 形状 104">
                  <a:extLst>
                    <a:ext uri="{FF2B5EF4-FFF2-40B4-BE49-F238E27FC236}">
                      <a16:creationId xmlns:a16="http://schemas.microsoft.com/office/drawing/2014/main" id="{6F3B77C3-B2EE-4AB6-A2B4-0095E5491D54}"/>
                    </a:ext>
                  </a:extLst>
                </p:cNvPr>
                <p:cNvSpPr/>
                <p:nvPr/>
              </p:nvSpPr>
              <p:spPr>
                <a:xfrm>
                  <a:off x="5268465" y="7729896"/>
                  <a:ext cx="81205" cy="79521"/>
                </a:xfrm>
                <a:custGeom>
                  <a:avLst/>
                  <a:gdLst>
                    <a:gd name="connsiteX0" fmla="*/ 0 w 81205"/>
                    <a:gd name="connsiteY0" fmla="*/ 0 h 79521"/>
                    <a:gd name="connsiteX1" fmla="*/ 58629 w 81205"/>
                    <a:gd name="connsiteY1" fmla="*/ 77143 h 79521"/>
                    <a:gd name="connsiteX2" fmla="*/ 0 w 81205"/>
                    <a:gd name="connsiteY2" fmla="*/ 0 h 79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205" h="79521">
                      <a:moveTo>
                        <a:pt x="0" y="0"/>
                      </a:moveTo>
                      <a:cubicBezTo>
                        <a:pt x="0" y="0"/>
                        <a:pt x="6171" y="95657"/>
                        <a:pt x="58629" y="77143"/>
                      </a:cubicBezTo>
                      <a:cubicBezTo>
                        <a:pt x="108000" y="55543"/>
                        <a:pt x="70971" y="18514"/>
                        <a:pt x="0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6" name="任意多边形: 形状 105">
                  <a:extLst>
                    <a:ext uri="{FF2B5EF4-FFF2-40B4-BE49-F238E27FC236}">
                      <a16:creationId xmlns:a16="http://schemas.microsoft.com/office/drawing/2014/main" id="{720CDD6F-5840-4271-A41D-16E04D28F7F1}"/>
                    </a:ext>
                  </a:extLst>
                </p:cNvPr>
                <p:cNvSpPr/>
                <p:nvPr/>
              </p:nvSpPr>
              <p:spPr>
                <a:xfrm>
                  <a:off x="5277722" y="7648420"/>
                  <a:ext cx="89337" cy="72219"/>
                </a:xfrm>
                <a:custGeom>
                  <a:avLst/>
                  <a:gdLst>
                    <a:gd name="connsiteX0" fmla="*/ 0 w 89337"/>
                    <a:gd name="connsiteY0" fmla="*/ 72219 h 72219"/>
                    <a:gd name="connsiteX1" fmla="*/ 64800 w 89337"/>
                    <a:gd name="connsiteY1" fmla="*/ 1248 h 72219"/>
                    <a:gd name="connsiteX2" fmla="*/ 0 w 89337"/>
                    <a:gd name="connsiteY2" fmla="*/ 72219 h 72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9337" h="72219">
                      <a:moveTo>
                        <a:pt x="0" y="72219"/>
                      </a:moveTo>
                      <a:cubicBezTo>
                        <a:pt x="0" y="72219"/>
                        <a:pt x="15429" y="-11096"/>
                        <a:pt x="64800" y="1248"/>
                      </a:cubicBezTo>
                      <a:cubicBezTo>
                        <a:pt x="108000" y="16676"/>
                        <a:pt x="98743" y="66047"/>
                        <a:pt x="0" y="72219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7" name="任意多边形: 形状 106">
                  <a:extLst>
                    <a:ext uri="{FF2B5EF4-FFF2-40B4-BE49-F238E27FC236}">
                      <a16:creationId xmlns:a16="http://schemas.microsoft.com/office/drawing/2014/main" id="{8C7FEDDE-A2D9-4D5F-9E78-A234EEA6B00B}"/>
                    </a:ext>
                  </a:extLst>
                </p:cNvPr>
                <p:cNvSpPr/>
                <p:nvPr/>
              </p:nvSpPr>
              <p:spPr>
                <a:xfrm>
                  <a:off x="5235487" y="7693832"/>
                  <a:ext cx="59035" cy="59785"/>
                </a:xfrm>
                <a:custGeom>
                  <a:avLst/>
                  <a:gdLst>
                    <a:gd name="connsiteX0" fmla="*/ 54579 w 59035"/>
                    <a:gd name="connsiteY0" fmla="*/ 14464 h 59785"/>
                    <a:gd name="connsiteX1" fmla="*/ 14464 w 59035"/>
                    <a:gd name="connsiteY1" fmla="*/ 5207 h 59785"/>
                    <a:gd name="connsiteX2" fmla="*/ 5207 w 59035"/>
                    <a:gd name="connsiteY2" fmla="*/ 45321 h 59785"/>
                    <a:gd name="connsiteX3" fmla="*/ 45322 w 59035"/>
                    <a:gd name="connsiteY3" fmla="*/ 54579 h 59785"/>
                    <a:gd name="connsiteX4" fmla="*/ 54579 w 59035"/>
                    <a:gd name="connsiteY4" fmla="*/ 14464 h 59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35" h="59785">
                      <a:moveTo>
                        <a:pt x="54579" y="14464"/>
                      </a:moveTo>
                      <a:cubicBezTo>
                        <a:pt x="45322" y="-964"/>
                        <a:pt x="26807" y="-4050"/>
                        <a:pt x="14464" y="5207"/>
                      </a:cubicBezTo>
                      <a:cubicBezTo>
                        <a:pt x="-964" y="14464"/>
                        <a:pt x="-4050" y="32979"/>
                        <a:pt x="5207" y="45321"/>
                      </a:cubicBezTo>
                      <a:cubicBezTo>
                        <a:pt x="14464" y="60750"/>
                        <a:pt x="32979" y="63836"/>
                        <a:pt x="45322" y="54579"/>
                      </a:cubicBezTo>
                      <a:cubicBezTo>
                        <a:pt x="57664" y="45321"/>
                        <a:pt x="63836" y="26807"/>
                        <a:pt x="54579" y="1446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8" name="图形 1">
              <a:extLst>
                <a:ext uri="{FF2B5EF4-FFF2-40B4-BE49-F238E27FC236}">
                  <a16:creationId xmlns:a16="http://schemas.microsoft.com/office/drawing/2014/main" id="{D6C1846C-6550-4DB3-BD37-AE59025F876C}"/>
                </a:ext>
              </a:extLst>
            </p:cNvPr>
            <p:cNvGrpSpPr/>
            <p:nvPr/>
          </p:nvGrpSpPr>
          <p:grpSpPr>
            <a:xfrm>
              <a:off x="5413227" y="8310010"/>
              <a:ext cx="194666" cy="210171"/>
              <a:chOff x="5413227" y="8310010"/>
              <a:chExt cx="194666" cy="210171"/>
            </a:xfrm>
          </p:grpSpPr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7B4CA6A1-655D-482E-BA02-F3B342D60DAD}"/>
                  </a:ext>
                </a:extLst>
              </p:cNvPr>
              <p:cNvSpPr/>
              <p:nvPr/>
            </p:nvSpPr>
            <p:spPr>
              <a:xfrm>
                <a:off x="5442418" y="8314757"/>
                <a:ext cx="165475" cy="73382"/>
              </a:xfrm>
              <a:custGeom>
                <a:avLst/>
                <a:gdLst>
                  <a:gd name="connsiteX0" fmla="*/ 153133 w 165475"/>
                  <a:gd name="connsiteY0" fmla="*/ 7596 h 73382"/>
                  <a:gd name="connsiteX1" fmla="*/ 51304 w 165475"/>
                  <a:gd name="connsiteY1" fmla="*/ 7596 h 73382"/>
                  <a:gd name="connsiteX2" fmla="*/ 35876 w 165475"/>
                  <a:gd name="connsiteY2" fmla="*/ 7596 h 73382"/>
                  <a:gd name="connsiteX3" fmla="*/ 20447 w 165475"/>
                  <a:gd name="connsiteY3" fmla="*/ 13767 h 73382"/>
                  <a:gd name="connsiteX4" fmla="*/ 1933 w 165475"/>
                  <a:gd name="connsiteY4" fmla="*/ 60053 h 73382"/>
                  <a:gd name="connsiteX5" fmla="*/ 48219 w 165475"/>
                  <a:gd name="connsiteY5" fmla="*/ 72396 h 73382"/>
                  <a:gd name="connsiteX6" fmla="*/ 116105 w 165475"/>
                  <a:gd name="connsiteY6" fmla="*/ 66224 h 73382"/>
                  <a:gd name="connsiteX7" fmla="*/ 162390 w 165475"/>
                  <a:gd name="connsiteY7" fmla="*/ 44624 h 73382"/>
                  <a:gd name="connsiteX8" fmla="*/ 153133 w 165475"/>
                  <a:gd name="connsiteY8" fmla="*/ 7596 h 73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5475" h="73382">
                    <a:moveTo>
                      <a:pt x="153133" y="7596"/>
                    </a:moveTo>
                    <a:cubicBezTo>
                      <a:pt x="125362" y="-7833"/>
                      <a:pt x="88333" y="4510"/>
                      <a:pt x="51304" y="7596"/>
                    </a:cubicBezTo>
                    <a:cubicBezTo>
                      <a:pt x="48219" y="7596"/>
                      <a:pt x="38962" y="4510"/>
                      <a:pt x="35876" y="7596"/>
                    </a:cubicBezTo>
                    <a:cubicBezTo>
                      <a:pt x="29705" y="7596"/>
                      <a:pt x="23533" y="10681"/>
                      <a:pt x="20447" y="13767"/>
                    </a:cubicBezTo>
                    <a:cubicBezTo>
                      <a:pt x="5019" y="23024"/>
                      <a:pt x="-4238" y="44624"/>
                      <a:pt x="1933" y="60053"/>
                    </a:cubicBezTo>
                    <a:cubicBezTo>
                      <a:pt x="8105" y="78567"/>
                      <a:pt x="32790" y="72396"/>
                      <a:pt x="48219" y="72396"/>
                    </a:cubicBezTo>
                    <a:cubicBezTo>
                      <a:pt x="69819" y="72396"/>
                      <a:pt x="91419" y="69310"/>
                      <a:pt x="116105" y="66224"/>
                    </a:cubicBezTo>
                    <a:cubicBezTo>
                      <a:pt x="131533" y="63138"/>
                      <a:pt x="150047" y="63138"/>
                      <a:pt x="162390" y="44624"/>
                    </a:cubicBezTo>
                    <a:cubicBezTo>
                      <a:pt x="168562" y="32281"/>
                      <a:pt x="165476" y="13767"/>
                      <a:pt x="153133" y="759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5C8C1BF8-374A-4E88-9F08-6C201086802C}"/>
                  </a:ext>
                </a:extLst>
              </p:cNvPr>
              <p:cNvSpPr/>
              <p:nvPr/>
            </p:nvSpPr>
            <p:spPr>
              <a:xfrm>
                <a:off x="5420818" y="8365248"/>
                <a:ext cx="166969" cy="78435"/>
              </a:xfrm>
              <a:custGeom>
                <a:avLst/>
                <a:gdLst>
                  <a:gd name="connsiteX0" fmla="*/ 156219 w 166969"/>
                  <a:gd name="connsiteY0" fmla="*/ 12648 h 78435"/>
                  <a:gd name="connsiteX1" fmla="*/ 45133 w 166969"/>
                  <a:gd name="connsiteY1" fmla="*/ 9563 h 78435"/>
                  <a:gd name="connsiteX2" fmla="*/ 35876 w 166969"/>
                  <a:gd name="connsiteY2" fmla="*/ 12648 h 78435"/>
                  <a:gd name="connsiteX3" fmla="*/ 20447 w 166969"/>
                  <a:gd name="connsiteY3" fmla="*/ 18820 h 78435"/>
                  <a:gd name="connsiteX4" fmla="*/ 1933 w 166969"/>
                  <a:gd name="connsiteY4" fmla="*/ 65106 h 78435"/>
                  <a:gd name="connsiteX5" fmla="*/ 48219 w 166969"/>
                  <a:gd name="connsiteY5" fmla="*/ 77448 h 78435"/>
                  <a:gd name="connsiteX6" fmla="*/ 116104 w 166969"/>
                  <a:gd name="connsiteY6" fmla="*/ 71277 h 78435"/>
                  <a:gd name="connsiteX7" fmla="*/ 162390 w 166969"/>
                  <a:gd name="connsiteY7" fmla="*/ 49677 h 78435"/>
                  <a:gd name="connsiteX8" fmla="*/ 156219 w 166969"/>
                  <a:gd name="connsiteY8" fmla="*/ 12648 h 78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6969" h="78435">
                    <a:moveTo>
                      <a:pt x="156219" y="12648"/>
                    </a:moveTo>
                    <a:cubicBezTo>
                      <a:pt x="125362" y="-12037"/>
                      <a:pt x="82162" y="6477"/>
                      <a:pt x="45133" y="9563"/>
                    </a:cubicBezTo>
                    <a:cubicBezTo>
                      <a:pt x="42047" y="9563"/>
                      <a:pt x="38962" y="9563"/>
                      <a:pt x="35876" y="12648"/>
                    </a:cubicBezTo>
                    <a:cubicBezTo>
                      <a:pt x="29705" y="12648"/>
                      <a:pt x="23533" y="15734"/>
                      <a:pt x="20447" y="18820"/>
                    </a:cubicBezTo>
                    <a:cubicBezTo>
                      <a:pt x="5019" y="28077"/>
                      <a:pt x="-4238" y="49677"/>
                      <a:pt x="1933" y="65106"/>
                    </a:cubicBezTo>
                    <a:cubicBezTo>
                      <a:pt x="8104" y="83620"/>
                      <a:pt x="32790" y="77448"/>
                      <a:pt x="48219" y="77448"/>
                    </a:cubicBezTo>
                    <a:cubicBezTo>
                      <a:pt x="69819" y="77448"/>
                      <a:pt x="91419" y="74362"/>
                      <a:pt x="116104" y="71277"/>
                    </a:cubicBezTo>
                    <a:cubicBezTo>
                      <a:pt x="131533" y="68191"/>
                      <a:pt x="150047" y="68191"/>
                      <a:pt x="162390" y="49677"/>
                    </a:cubicBezTo>
                    <a:cubicBezTo>
                      <a:pt x="171647" y="34248"/>
                      <a:pt x="165476" y="18820"/>
                      <a:pt x="156219" y="12648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84D89D72-B384-4D43-9A27-0556B8257C9B}"/>
                  </a:ext>
                </a:extLst>
              </p:cNvPr>
              <p:cNvSpPr/>
              <p:nvPr/>
            </p:nvSpPr>
            <p:spPr>
              <a:xfrm>
                <a:off x="5426958" y="8415757"/>
                <a:ext cx="147733" cy="67304"/>
              </a:xfrm>
              <a:custGeom>
                <a:avLst/>
                <a:gdLst>
                  <a:gd name="connsiteX0" fmla="*/ 137736 w 147733"/>
                  <a:gd name="connsiteY0" fmla="*/ 11510 h 67304"/>
                  <a:gd name="connsiteX1" fmla="*/ 38993 w 147733"/>
                  <a:gd name="connsiteY1" fmla="*/ 5339 h 67304"/>
                  <a:gd name="connsiteX2" fmla="*/ 32821 w 147733"/>
                  <a:gd name="connsiteY2" fmla="*/ 8424 h 67304"/>
                  <a:gd name="connsiteX3" fmla="*/ 17393 w 147733"/>
                  <a:gd name="connsiteY3" fmla="*/ 14596 h 67304"/>
                  <a:gd name="connsiteX4" fmla="*/ 1964 w 147733"/>
                  <a:gd name="connsiteY4" fmla="*/ 54710 h 67304"/>
                  <a:gd name="connsiteX5" fmla="*/ 42079 w 147733"/>
                  <a:gd name="connsiteY5" fmla="*/ 67053 h 67304"/>
                  <a:gd name="connsiteX6" fmla="*/ 100707 w 147733"/>
                  <a:gd name="connsiteY6" fmla="*/ 63967 h 67304"/>
                  <a:gd name="connsiteX7" fmla="*/ 140821 w 147733"/>
                  <a:gd name="connsiteY7" fmla="*/ 48538 h 67304"/>
                  <a:gd name="connsiteX8" fmla="*/ 137736 w 147733"/>
                  <a:gd name="connsiteY8" fmla="*/ 11510 h 67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7733" h="67304">
                    <a:moveTo>
                      <a:pt x="137736" y="11510"/>
                    </a:moveTo>
                    <a:cubicBezTo>
                      <a:pt x="109964" y="-10090"/>
                      <a:pt x="72936" y="5339"/>
                      <a:pt x="38993" y="5339"/>
                    </a:cubicBezTo>
                    <a:cubicBezTo>
                      <a:pt x="35907" y="5339"/>
                      <a:pt x="32821" y="5339"/>
                      <a:pt x="32821" y="8424"/>
                    </a:cubicBezTo>
                    <a:cubicBezTo>
                      <a:pt x="26650" y="8424"/>
                      <a:pt x="23564" y="11510"/>
                      <a:pt x="17393" y="14596"/>
                    </a:cubicBezTo>
                    <a:cubicBezTo>
                      <a:pt x="5050" y="23853"/>
                      <a:pt x="-4207" y="39281"/>
                      <a:pt x="1964" y="54710"/>
                    </a:cubicBezTo>
                    <a:cubicBezTo>
                      <a:pt x="8136" y="70138"/>
                      <a:pt x="29736" y="67053"/>
                      <a:pt x="42079" y="67053"/>
                    </a:cubicBezTo>
                    <a:cubicBezTo>
                      <a:pt x="60593" y="67053"/>
                      <a:pt x="82193" y="63967"/>
                      <a:pt x="100707" y="63967"/>
                    </a:cubicBezTo>
                    <a:cubicBezTo>
                      <a:pt x="113050" y="60882"/>
                      <a:pt x="131564" y="60882"/>
                      <a:pt x="140821" y="48538"/>
                    </a:cubicBezTo>
                    <a:cubicBezTo>
                      <a:pt x="153164" y="33110"/>
                      <a:pt x="146993" y="20767"/>
                      <a:pt x="137736" y="1151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61CEC9B7-BE5C-425C-9BDB-7C60EC6D8E3E}"/>
                  </a:ext>
                </a:extLst>
              </p:cNvPr>
              <p:cNvSpPr/>
              <p:nvPr/>
            </p:nvSpPr>
            <p:spPr>
              <a:xfrm>
                <a:off x="5448038" y="8467975"/>
                <a:ext cx="108555" cy="52206"/>
              </a:xfrm>
              <a:custGeom>
                <a:avLst/>
                <a:gdLst>
                  <a:gd name="connsiteX0" fmla="*/ 98141 w 108555"/>
                  <a:gd name="connsiteY0" fmla="*/ 8664 h 52206"/>
                  <a:gd name="connsiteX1" fmla="*/ 27170 w 108555"/>
                  <a:gd name="connsiteY1" fmla="*/ 5578 h 52206"/>
                  <a:gd name="connsiteX2" fmla="*/ 20998 w 108555"/>
                  <a:gd name="connsiteY2" fmla="*/ 8664 h 52206"/>
                  <a:gd name="connsiteX3" fmla="*/ 11741 w 108555"/>
                  <a:gd name="connsiteY3" fmla="*/ 11749 h 52206"/>
                  <a:gd name="connsiteX4" fmla="*/ 2484 w 108555"/>
                  <a:gd name="connsiteY4" fmla="*/ 42606 h 52206"/>
                  <a:gd name="connsiteX5" fmla="*/ 33341 w 108555"/>
                  <a:gd name="connsiteY5" fmla="*/ 51864 h 52206"/>
                  <a:gd name="connsiteX6" fmla="*/ 76541 w 108555"/>
                  <a:gd name="connsiteY6" fmla="*/ 48778 h 52206"/>
                  <a:gd name="connsiteX7" fmla="*/ 107398 w 108555"/>
                  <a:gd name="connsiteY7" fmla="*/ 36435 h 52206"/>
                  <a:gd name="connsiteX8" fmla="*/ 98141 w 108555"/>
                  <a:gd name="connsiteY8" fmla="*/ 8664 h 52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555" h="52206">
                    <a:moveTo>
                      <a:pt x="98141" y="8664"/>
                    </a:moveTo>
                    <a:cubicBezTo>
                      <a:pt x="76541" y="-6765"/>
                      <a:pt x="51856" y="2492"/>
                      <a:pt x="27170" y="5578"/>
                    </a:cubicBezTo>
                    <a:cubicBezTo>
                      <a:pt x="24084" y="5578"/>
                      <a:pt x="24084" y="5578"/>
                      <a:pt x="20998" y="8664"/>
                    </a:cubicBezTo>
                    <a:cubicBezTo>
                      <a:pt x="17913" y="8664"/>
                      <a:pt x="14827" y="11749"/>
                      <a:pt x="11741" y="11749"/>
                    </a:cubicBezTo>
                    <a:cubicBezTo>
                      <a:pt x="2484" y="17921"/>
                      <a:pt x="-3687" y="30264"/>
                      <a:pt x="2484" y="42606"/>
                    </a:cubicBezTo>
                    <a:cubicBezTo>
                      <a:pt x="8656" y="54949"/>
                      <a:pt x="24084" y="51864"/>
                      <a:pt x="33341" y="51864"/>
                    </a:cubicBezTo>
                    <a:cubicBezTo>
                      <a:pt x="48770" y="51864"/>
                      <a:pt x="61113" y="51864"/>
                      <a:pt x="76541" y="48778"/>
                    </a:cubicBezTo>
                    <a:cubicBezTo>
                      <a:pt x="85798" y="48778"/>
                      <a:pt x="98141" y="48778"/>
                      <a:pt x="107398" y="36435"/>
                    </a:cubicBezTo>
                    <a:cubicBezTo>
                      <a:pt x="110484" y="24092"/>
                      <a:pt x="107398" y="14835"/>
                      <a:pt x="98141" y="866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4B1BFD1F-D679-4F47-8A9A-EADA5097B769}"/>
                  </a:ext>
                </a:extLst>
              </p:cNvPr>
              <p:cNvSpPr/>
              <p:nvPr/>
            </p:nvSpPr>
            <p:spPr>
              <a:xfrm>
                <a:off x="5413227" y="8310010"/>
                <a:ext cx="181264" cy="135771"/>
              </a:xfrm>
              <a:custGeom>
                <a:avLst/>
                <a:gdLst>
                  <a:gd name="connsiteX0" fmla="*/ 46552 w 181264"/>
                  <a:gd name="connsiteY0" fmla="*/ 135772 h 135771"/>
                  <a:gd name="connsiteX1" fmla="*/ 266 w 181264"/>
                  <a:gd name="connsiteY1" fmla="*/ 111086 h 135771"/>
                  <a:gd name="connsiteX2" fmla="*/ 24952 w 181264"/>
                  <a:gd name="connsiteY2" fmla="*/ 64800 h 135771"/>
                  <a:gd name="connsiteX3" fmla="*/ 24952 w 181264"/>
                  <a:gd name="connsiteY3" fmla="*/ 64800 h 135771"/>
                  <a:gd name="connsiteX4" fmla="*/ 21866 w 181264"/>
                  <a:gd name="connsiteY4" fmla="*/ 49372 h 135771"/>
                  <a:gd name="connsiteX5" fmla="*/ 28038 w 181264"/>
                  <a:gd name="connsiteY5" fmla="*/ 27772 h 135771"/>
                  <a:gd name="connsiteX6" fmla="*/ 142209 w 181264"/>
                  <a:gd name="connsiteY6" fmla="*/ 0 h 135771"/>
                  <a:gd name="connsiteX7" fmla="*/ 148381 w 181264"/>
                  <a:gd name="connsiteY7" fmla="*/ 6171 h 135771"/>
                  <a:gd name="connsiteX8" fmla="*/ 142209 w 181264"/>
                  <a:gd name="connsiteY8" fmla="*/ 12343 h 135771"/>
                  <a:gd name="connsiteX9" fmla="*/ 139123 w 181264"/>
                  <a:gd name="connsiteY9" fmla="*/ 12343 h 135771"/>
                  <a:gd name="connsiteX10" fmla="*/ 37295 w 181264"/>
                  <a:gd name="connsiteY10" fmla="*/ 33943 h 135771"/>
                  <a:gd name="connsiteX11" fmla="*/ 34209 w 181264"/>
                  <a:gd name="connsiteY11" fmla="*/ 46286 h 135771"/>
                  <a:gd name="connsiteX12" fmla="*/ 40381 w 181264"/>
                  <a:gd name="connsiteY12" fmla="*/ 61714 h 135771"/>
                  <a:gd name="connsiteX13" fmla="*/ 160724 w 181264"/>
                  <a:gd name="connsiteY13" fmla="*/ 55543 h 135771"/>
                  <a:gd name="connsiteX14" fmla="*/ 176152 w 181264"/>
                  <a:gd name="connsiteY14" fmla="*/ 58629 h 135771"/>
                  <a:gd name="connsiteX15" fmla="*/ 179238 w 181264"/>
                  <a:gd name="connsiteY15" fmla="*/ 83314 h 135771"/>
                  <a:gd name="connsiteX16" fmla="*/ 71238 w 181264"/>
                  <a:gd name="connsiteY16" fmla="*/ 129600 h 135771"/>
                  <a:gd name="connsiteX17" fmla="*/ 46552 w 181264"/>
                  <a:gd name="connsiteY17" fmla="*/ 135772 h 135771"/>
                  <a:gd name="connsiteX18" fmla="*/ 31123 w 181264"/>
                  <a:gd name="connsiteY18" fmla="*/ 74057 h 135771"/>
                  <a:gd name="connsiteX19" fmla="*/ 12609 w 181264"/>
                  <a:gd name="connsiteY19" fmla="*/ 111086 h 135771"/>
                  <a:gd name="connsiteX20" fmla="*/ 71238 w 181264"/>
                  <a:gd name="connsiteY20" fmla="*/ 123429 h 135771"/>
                  <a:gd name="connsiteX21" fmla="*/ 169981 w 181264"/>
                  <a:gd name="connsiteY21" fmla="*/ 86400 h 135771"/>
                  <a:gd name="connsiteX22" fmla="*/ 169981 w 181264"/>
                  <a:gd name="connsiteY22" fmla="*/ 74057 h 135771"/>
                  <a:gd name="connsiteX23" fmla="*/ 166895 w 181264"/>
                  <a:gd name="connsiteY23" fmla="*/ 74057 h 135771"/>
                  <a:gd name="connsiteX24" fmla="*/ 31123 w 181264"/>
                  <a:gd name="connsiteY24" fmla="*/ 74057 h 135771"/>
                  <a:gd name="connsiteX25" fmla="*/ 31123 w 181264"/>
                  <a:gd name="connsiteY25" fmla="*/ 74057 h 135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81264" h="135771">
                    <a:moveTo>
                      <a:pt x="46552" y="135772"/>
                    </a:moveTo>
                    <a:cubicBezTo>
                      <a:pt x="21866" y="135772"/>
                      <a:pt x="3352" y="132686"/>
                      <a:pt x="266" y="111086"/>
                    </a:cubicBezTo>
                    <a:cubicBezTo>
                      <a:pt x="-2819" y="89486"/>
                      <a:pt x="21866" y="64800"/>
                      <a:pt x="24952" y="64800"/>
                    </a:cubicBezTo>
                    <a:cubicBezTo>
                      <a:pt x="24952" y="64800"/>
                      <a:pt x="24952" y="64800"/>
                      <a:pt x="24952" y="64800"/>
                    </a:cubicBezTo>
                    <a:cubicBezTo>
                      <a:pt x="21866" y="58629"/>
                      <a:pt x="21866" y="55543"/>
                      <a:pt x="21866" y="49372"/>
                    </a:cubicBezTo>
                    <a:cubicBezTo>
                      <a:pt x="21866" y="43200"/>
                      <a:pt x="24952" y="33943"/>
                      <a:pt x="28038" y="27772"/>
                    </a:cubicBezTo>
                    <a:cubicBezTo>
                      <a:pt x="52724" y="0"/>
                      <a:pt x="139123" y="3086"/>
                      <a:pt x="142209" y="0"/>
                    </a:cubicBezTo>
                    <a:cubicBezTo>
                      <a:pt x="145295" y="0"/>
                      <a:pt x="148381" y="3086"/>
                      <a:pt x="148381" y="6171"/>
                    </a:cubicBezTo>
                    <a:cubicBezTo>
                      <a:pt x="148381" y="9257"/>
                      <a:pt x="145295" y="12343"/>
                      <a:pt x="142209" y="12343"/>
                    </a:cubicBezTo>
                    <a:cubicBezTo>
                      <a:pt x="142209" y="12343"/>
                      <a:pt x="142209" y="12343"/>
                      <a:pt x="139123" y="12343"/>
                    </a:cubicBezTo>
                    <a:cubicBezTo>
                      <a:pt x="114438" y="12343"/>
                      <a:pt x="52724" y="15429"/>
                      <a:pt x="37295" y="33943"/>
                    </a:cubicBezTo>
                    <a:cubicBezTo>
                      <a:pt x="34209" y="37028"/>
                      <a:pt x="31123" y="40114"/>
                      <a:pt x="34209" y="46286"/>
                    </a:cubicBezTo>
                    <a:cubicBezTo>
                      <a:pt x="34209" y="52457"/>
                      <a:pt x="37295" y="58629"/>
                      <a:pt x="40381" y="61714"/>
                    </a:cubicBezTo>
                    <a:cubicBezTo>
                      <a:pt x="55809" y="70972"/>
                      <a:pt x="95923" y="70972"/>
                      <a:pt x="160724" y="55543"/>
                    </a:cubicBezTo>
                    <a:cubicBezTo>
                      <a:pt x="160724" y="55543"/>
                      <a:pt x="169981" y="55543"/>
                      <a:pt x="176152" y="58629"/>
                    </a:cubicBezTo>
                    <a:cubicBezTo>
                      <a:pt x="182323" y="64800"/>
                      <a:pt x="182323" y="70972"/>
                      <a:pt x="179238" y="83314"/>
                    </a:cubicBezTo>
                    <a:cubicBezTo>
                      <a:pt x="173066" y="117257"/>
                      <a:pt x="117524" y="126514"/>
                      <a:pt x="71238" y="129600"/>
                    </a:cubicBezTo>
                    <a:cubicBezTo>
                      <a:pt x="61981" y="135772"/>
                      <a:pt x="52724" y="135772"/>
                      <a:pt x="46552" y="135772"/>
                    </a:cubicBezTo>
                    <a:close/>
                    <a:moveTo>
                      <a:pt x="31123" y="74057"/>
                    </a:moveTo>
                    <a:cubicBezTo>
                      <a:pt x="24952" y="80229"/>
                      <a:pt x="9524" y="98743"/>
                      <a:pt x="12609" y="111086"/>
                    </a:cubicBezTo>
                    <a:cubicBezTo>
                      <a:pt x="12609" y="123429"/>
                      <a:pt x="28038" y="126514"/>
                      <a:pt x="71238" y="123429"/>
                    </a:cubicBezTo>
                    <a:cubicBezTo>
                      <a:pt x="129866" y="120343"/>
                      <a:pt x="163809" y="108000"/>
                      <a:pt x="169981" y="86400"/>
                    </a:cubicBezTo>
                    <a:cubicBezTo>
                      <a:pt x="173066" y="77143"/>
                      <a:pt x="169981" y="74057"/>
                      <a:pt x="169981" y="74057"/>
                    </a:cubicBezTo>
                    <a:cubicBezTo>
                      <a:pt x="169981" y="74057"/>
                      <a:pt x="166895" y="74057"/>
                      <a:pt x="166895" y="74057"/>
                    </a:cubicBezTo>
                    <a:cubicBezTo>
                      <a:pt x="71238" y="92571"/>
                      <a:pt x="43466" y="83314"/>
                      <a:pt x="31123" y="74057"/>
                    </a:cubicBezTo>
                    <a:cubicBezTo>
                      <a:pt x="34209" y="74057"/>
                      <a:pt x="31123" y="74057"/>
                      <a:pt x="31123" y="7405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625A541E-B8AF-4FC1-8FE5-C1AC99F0939C}"/>
                  </a:ext>
                </a:extLst>
              </p:cNvPr>
              <p:cNvSpPr/>
              <p:nvPr/>
            </p:nvSpPr>
            <p:spPr>
              <a:xfrm>
                <a:off x="5422394" y="8427267"/>
                <a:ext cx="157728" cy="64800"/>
              </a:xfrm>
              <a:custGeom>
                <a:avLst/>
                <a:gdLst>
                  <a:gd name="connsiteX0" fmla="*/ 52814 w 157728"/>
                  <a:gd name="connsiteY0" fmla="*/ 64800 h 64800"/>
                  <a:gd name="connsiteX1" fmla="*/ 31214 w 157728"/>
                  <a:gd name="connsiteY1" fmla="*/ 64800 h 64800"/>
                  <a:gd name="connsiteX2" fmla="*/ 3443 w 157728"/>
                  <a:gd name="connsiteY2" fmla="*/ 49372 h 64800"/>
                  <a:gd name="connsiteX3" fmla="*/ 6528 w 157728"/>
                  <a:gd name="connsiteY3" fmla="*/ 12343 h 64800"/>
                  <a:gd name="connsiteX4" fmla="*/ 15786 w 157728"/>
                  <a:gd name="connsiteY4" fmla="*/ 9257 h 64800"/>
                  <a:gd name="connsiteX5" fmla="*/ 18871 w 157728"/>
                  <a:gd name="connsiteY5" fmla="*/ 18514 h 64800"/>
                  <a:gd name="connsiteX6" fmla="*/ 15786 w 157728"/>
                  <a:gd name="connsiteY6" fmla="*/ 46286 h 64800"/>
                  <a:gd name="connsiteX7" fmla="*/ 34300 w 157728"/>
                  <a:gd name="connsiteY7" fmla="*/ 55543 h 64800"/>
                  <a:gd name="connsiteX8" fmla="*/ 139214 w 157728"/>
                  <a:gd name="connsiteY8" fmla="*/ 43200 h 64800"/>
                  <a:gd name="connsiteX9" fmla="*/ 145386 w 157728"/>
                  <a:gd name="connsiteY9" fmla="*/ 30857 h 64800"/>
                  <a:gd name="connsiteX10" fmla="*/ 139214 w 157728"/>
                  <a:gd name="connsiteY10" fmla="*/ 12343 h 64800"/>
                  <a:gd name="connsiteX11" fmla="*/ 136129 w 157728"/>
                  <a:gd name="connsiteY11" fmla="*/ 3086 h 64800"/>
                  <a:gd name="connsiteX12" fmla="*/ 145386 w 157728"/>
                  <a:gd name="connsiteY12" fmla="*/ 0 h 64800"/>
                  <a:gd name="connsiteX13" fmla="*/ 157729 w 157728"/>
                  <a:gd name="connsiteY13" fmla="*/ 30857 h 64800"/>
                  <a:gd name="connsiteX14" fmla="*/ 145386 w 157728"/>
                  <a:gd name="connsiteY14" fmla="*/ 52457 h 64800"/>
                  <a:gd name="connsiteX15" fmla="*/ 52814 w 157728"/>
                  <a:gd name="connsiteY15" fmla="*/ 64800 h 64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7728" h="64800">
                    <a:moveTo>
                      <a:pt x="52814" y="64800"/>
                    </a:moveTo>
                    <a:cubicBezTo>
                      <a:pt x="46643" y="64800"/>
                      <a:pt x="37386" y="64800"/>
                      <a:pt x="31214" y="64800"/>
                    </a:cubicBezTo>
                    <a:cubicBezTo>
                      <a:pt x="15786" y="61714"/>
                      <a:pt x="6528" y="58628"/>
                      <a:pt x="3443" y="49372"/>
                    </a:cubicBezTo>
                    <a:cubicBezTo>
                      <a:pt x="-5814" y="33943"/>
                      <a:pt x="6528" y="12343"/>
                      <a:pt x="6528" y="12343"/>
                    </a:cubicBezTo>
                    <a:cubicBezTo>
                      <a:pt x="9614" y="9257"/>
                      <a:pt x="12700" y="9257"/>
                      <a:pt x="15786" y="9257"/>
                    </a:cubicBezTo>
                    <a:cubicBezTo>
                      <a:pt x="18871" y="9257"/>
                      <a:pt x="18871" y="15429"/>
                      <a:pt x="18871" y="18514"/>
                    </a:cubicBezTo>
                    <a:cubicBezTo>
                      <a:pt x="15786" y="21600"/>
                      <a:pt x="12700" y="37028"/>
                      <a:pt x="15786" y="46286"/>
                    </a:cubicBezTo>
                    <a:cubicBezTo>
                      <a:pt x="18871" y="52457"/>
                      <a:pt x="25043" y="55543"/>
                      <a:pt x="34300" y="55543"/>
                    </a:cubicBezTo>
                    <a:cubicBezTo>
                      <a:pt x="77500" y="61714"/>
                      <a:pt x="126871" y="49372"/>
                      <a:pt x="139214" y="43200"/>
                    </a:cubicBezTo>
                    <a:cubicBezTo>
                      <a:pt x="142300" y="40114"/>
                      <a:pt x="145386" y="33943"/>
                      <a:pt x="145386" y="30857"/>
                    </a:cubicBezTo>
                    <a:cubicBezTo>
                      <a:pt x="145386" y="21600"/>
                      <a:pt x="142300" y="12343"/>
                      <a:pt x="139214" y="12343"/>
                    </a:cubicBezTo>
                    <a:cubicBezTo>
                      <a:pt x="136129" y="9257"/>
                      <a:pt x="136129" y="6171"/>
                      <a:pt x="136129" y="3086"/>
                    </a:cubicBezTo>
                    <a:cubicBezTo>
                      <a:pt x="139214" y="0"/>
                      <a:pt x="142300" y="0"/>
                      <a:pt x="145386" y="0"/>
                    </a:cubicBezTo>
                    <a:cubicBezTo>
                      <a:pt x="151557" y="3086"/>
                      <a:pt x="157729" y="18514"/>
                      <a:pt x="157729" y="30857"/>
                    </a:cubicBezTo>
                    <a:cubicBezTo>
                      <a:pt x="157729" y="40114"/>
                      <a:pt x="151557" y="49372"/>
                      <a:pt x="145386" y="52457"/>
                    </a:cubicBezTo>
                    <a:cubicBezTo>
                      <a:pt x="129957" y="55543"/>
                      <a:pt x="92929" y="64800"/>
                      <a:pt x="52814" y="648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9" name="图形 1">
              <a:extLst>
                <a:ext uri="{FF2B5EF4-FFF2-40B4-BE49-F238E27FC236}">
                  <a16:creationId xmlns:a16="http://schemas.microsoft.com/office/drawing/2014/main" id="{E08AE819-BC74-4F17-83A8-0A231828122E}"/>
                </a:ext>
              </a:extLst>
            </p:cNvPr>
            <p:cNvGrpSpPr/>
            <p:nvPr/>
          </p:nvGrpSpPr>
          <p:grpSpPr>
            <a:xfrm>
              <a:off x="5335874" y="8348213"/>
              <a:ext cx="173276" cy="131511"/>
              <a:chOff x="5335874" y="8348213"/>
              <a:chExt cx="173276" cy="131511"/>
            </a:xfrm>
          </p:grpSpPr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B0CD2A61-2EAA-41B7-9D1F-B4A6413B1134}"/>
                  </a:ext>
                </a:extLst>
              </p:cNvPr>
              <p:cNvSpPr/>
              <p:nvPr/>
            </p:nvSpPr>
            <p:spPr>
              <a:xfrm>
                <a:off x="5335874" y="8357244"/>
                <a:ext cx="157924" cy="116406"/>
              </a:xfrm>
              <a:custGeom>
                <a:avLst/>
                <a:gdLst>
                  <a:gd name="connsiteX0" fmla="*/ 117734 w 157924"/>
                  <a:gd name="connsiteY0" fmla="*/ 5223 h 116406"/>
                  <a:gd name="connsiteX1" fmla="*/ 6648 w 157924"/>
                  <a:gd name="connsiteY1" fmla="*/ 32995 h 116406"/>
                  <a:gd name="connsiteX2" fmla="*/ 12820 w 157924"/>
                  <a:gd name="connsiteY2" fmla="*/ 116309 h 116406"/>
                  <a:gd name="connsiteX3" fmla="*/ 59106 w 157924"/>
                  <a:gd name="connsiteY3" fmla="*/ 73109 h 116406"/>
                  <a:gd name="connsiteX4" fmla="*/ 123905 w 157924"/>
                  <a:gd name="connsiteY4" fmla="*/ 73109 h 116406"/>
                  <a:gd name="connsiteX5" fmla="*/ 151677 w 157924"/>
                  <a:gd name="connsiteY5" fmla="*/ 85452 h 116406"/>
                  <a:gd name="connsiteX6" fmla="*/ 117734 w 157924"/>
                  <a:gd name="connsiteY6" fmla="*/ 5223 h 116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7924" h="116406">
                    <a:moveTo>
                      <a:pt x="117734" y="5223"/>
                    </a:moveTo>
                    <a:cubicBezTo>
                      <a:pt x="86877" y="-10206"/>
                      <a:pt x="31334" y="11395"/>
                      <a:pt x="6648" y="32995"/>
                    </a:cubicBezTo>
                    <a:cubicBezTo>
                      <a:pt x="-8780" y="48423"/>
                      <a:pt x="6648" y="119395"/>
                      <a:pt x="12820" y="116309"/>
                    </a:cubicBezTo>
                    <a:cubicBezTo>
                      <a:pt x="25163" y="107052"/>
                      <a:pt x="46763" y="79280"/>
                      <a:pt x="59106" y="73109"/>
                    </a:cubicBezTo>
                    <a:cubicBezTo>
                      <a:pt x="83791" y="60766"/>
                      <a:pt x="102306" y="63852"/>
                      <a:pt x="123905" y="73109"/>
                    </a:cubicBezTo>
                    <a:cubicBezTo>
                      <a:pt x="133163" y="76195"/>
                      <a:pt x="145506" y="91623"/>
                      <a:pt x="151677" y="85452"/>
                    </a:cubicBezTo>
                    <a:cubicBezTo>
                      <a:pt x="173277" y="60766"/>
                      <a:pt x="133163" y="11395"/>
                      <a:pt x="117734" y="5223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BCC0BF80-7BEC-444D-902A-A15F421BA2FB}"/>
                  </a:ext>
                </a:extLst>
              </p:cNvPr>
              <p:cNvSpPr/>
              <p:nvPr/>
            </p:nvSpPr>
            <p:spPr>
              <a:xfrm>
                <a:off x="5344237" y="8348213"/>
                <a:ext cx="164914" cy="131511"/>
              </a:xfrm>
              <a:custGeom>
                <a:avLst/>
                <a:gdLst>
                  <a:gd name="connsiteX0" fmla="*/ 41486 w 164914"/>
                  <a:gd name="connsiteY0" fmla="*/ 131511 h 131511"/>
                  <a:gd name="connsiteX1" fmla="*/ 38400 w 164914"/>
                  <a:gd name="connsiteY1" fmla="*/ 128426 h 131511"/>
                  <a:gd name="connsiteX2" fmla="*/ 38400 w 164914"/>
                  <a:gd name="connsiteY2" fmla="*/ 119168 h 131511"/>
                  <a:gd name="connsiteX3" fmla="*/ 50743 w 164914"/>
                  <a:gd name="connsiteY3" fmla="*/ 75968 h 131511"/>
                  <a:gd name="connsiteX4" fmla="*/ 53828 w 164914"/>
                  <a:gd name="connsiteY4" fmla="*/ 69797 h 131511"/>
                  <a:gd name="connsiteX5" fmla="*/ 127886 w 164914"/>
                  <a:gd name="connsiteY5" fmla="*/ 75968 h 131511"/>
                  <a:gd name="connsiteX6" fmla="*/ 149486 w 164914"/>
                  <a:gd name="connsiteY6" fmla="*/ 82140 h 131511"/>
                  <a:gd name="connsiteX7" fmla="*/ 152571 w 164914"/>
                  <a:gd name="connsiteY7" fmla="*/ 75968 h 131511"/>
                  <a:gd name="connsiteX8" fmla="*/ 112457 w 164914"/>
                  <a:gd name="connsiteY8" fmla="*/ 17340 h 131511"/>
                  <a:gd name="connsiteX9" fmla="*/ 10628 w 164914"/>
                  <a:gd name="connsiteY9" fmla="*/ 45111 h 131511"/>
                  <a:gd name="connsiteX10" fmla="*/ 1371 w 164914"/>
                  <a:gd name="connsiteY10" fmla="*/ 45111 h 131511"/>
                  <a:gd name="connsiteX11" fmla="*/ 1371 w 164914"/>
                  <a:gd name="connsiteY11" fmla="*/ 35854 h 131511"/>
                  <a:gd name="connsiteX12" fmla="*/ 118628 w 164914"/>
                  <a:gd name="connsiteY12" fmla="*/ 8083 h 131511"/>
                  <a:gd name="connsiteX13" fmla="*/ 164914 w 164914"/>
                  <a:gd name="connsiteY13" fmla="*/ 79054 h 131511"/>
                  <a:gd name="connsiteX14" fmla="*/ 155657 w 164914"/>
                  <a:gd name="connsiteY14" fmla="*/ 94483 h 131511"/>
                  <a:gd name="connsiteX15" fmla="*/ 124800 w 164914"/>
                  <a:gd name="connsiteY15" fmla="*/ 88311 h 131511"/>
                  <a:gd name="connsiteX16" fmla="*/ 63086 w 164914"/>
                  <a:gd name="connsiteY16" fmla="*/ 82140 h 131511"/>
                  <a:gd name="connsiteX17" fmla="*/ 47657 w 164914"/>
                  <a:gd name="connsiteY17" fmla="*/ 131511 h 131511"/>
                  <a:gd name="connsiteX18" fmla="*/ 41486 w 164914"/>
                  <a:gd name="connsiteY18" fmla="*/ 131511 h 13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4914" h="131511">
                    <a:moveTo>
                      <a:pt x="41486" y="131511"/>
                    </a:moveTo>
                    <a:cubicBezTo>
                      <a:pt x="41486" y="131511"/>
                      <a:pt x="38400" y="131511"/>
                      <a:pt x="38400" y="128426"/>
                    </a:cubicBezTo>
                    <a:cubicBezTo>
                      <a:pt x="35314" y="125340"/>
                      <a:pt x="35314" y="122254"/>
                      <a:pt x="38400" y="119168"/>
                    </a:cubicBezTo>
                    <a:cubicBezTo>
                      <a:pt x="53828" y="106825"/>
                      <a:pt x="50743" y="75968"/>
                      <a:pt x="50743" y="75968"/>
                    </a:cubicBezTo>
                    <a:cubicBezTo>
                      <a:pt x="50743" y="72883"/>
                      <a:pt x="50743" y="72883"/>
                      <a:pt x="53828" y="69797"/>
                    </a:cubicBezTo>
                    <a:cubicBezTo>
                      <a:pt x="84686" y="54368"/>
                      <a:pt x="109371" y="66711"/>
                      <a:pt x="127886" y="75968"/>
                    </a:cubicBezTo>
                    <a:cubicBezTo>
                      <a:pt x="137143" y="79054"/>
                      <a:pt x="143314" y="85225"/>
                      <a:pt x="149486" y="82140"/>
                    </a:cubicBezTo>
                    <a:cubicBezTo>
                      <a:pt x="149486" y="82140"/>
                      <a:pt x="152571" y="82140"/>
                      <a:pt x="152571" y="75968"/>
                    </a:cubicBezTo>
                    <a:cubicBezTo>
                      <a:pt x="152571" y="60540"/>
                      <a:pt x="137143" y="32768"/>
                      <a:pt x="112457" y="17340"/>
                    </a:cubicBezTo>
                    <a:cubicBezTo>
                      <a:pt x="78514" y="-4260"/>
                      <a:pt x="10628" y="42026"/>
                      <a:pt x="10628" y="45111"/>
                    </a:cubicBezTo>
                    <a:cubicBezTo>
                      <a:pt x="7543" y="48197"/>
                      <a:pt x="4457" y="45111"/>
                      <a:pt x="1371" y="45111"/>
                    </a:cubicBezTo>
                    <a:cubicBezTo>
                      <a:pt x="-1714" y="42026"/>
                      <a:pt x="1371" y="38940"/>
                      <a:pt x="1371" y="35854"/>
                    </a:cubicBezTo>
                    <a:cubicBezTo>
                      <a:pt x="4457" y="32768"/>
                      <a:pt x="75429" y="-19689"/>
                      <a:pt x="118628" y="8083"/>
                    </a:cubicBezTo>
                    <a:cubicBezTo>
                      <a:pt x="149486" y="29682"/>
                      <a:pt x="164914" y="60540"/>
                      <a:pt x="164914" y="79054"/>
                    </a:cubicBezTo>
                    <a:cubicBezTo>
                      <a:pt x="164914" y="85225"/>
                      <a:pt x="161828" y="91397"/>
                      <a:pt x="155657" y="94483"/>
                    </a:cubicBezTo>
                    <a:cubicBezTo>
                      <a:pt x="146400" y="97569"/>
                      <a:pt x="137143" y="94483"/>
                      <a:pt x="124800" y="88311"/>
                    </a:cubicBezTo>
                    <a:cubicBezTo>
                      <a:pt x="109371" y="79054"/>
                      <a:pt x="87771" y="69797"/>
                      <a:pt x="63086" y="82140"/>
                    </a:cubicBezTo>
                    <a:cubicBezTo>
                      <a:pt x="63086" y="91397"/>
                      <a:pt x="63086" y="119168"/>
                      <a:pt x="47657" y="131511"/>
                    </a:cubicBezTo>
                    <a:cubicBezTo>
                      <a:pt x="44571" y="131511"/>
                      <a:pt x="41486" y="131511"/>
                      <a:pt x="41486" y="13151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83455214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9BBEBCB7-D4A8-4FC7-8B84-8FCCCC4B17F0}"/>
              </a:ext>
            </a:extLst>
          </p:cNvPr>
          <p:cNvGrpSpPr/>
          <p:nvPr/>
        </p:nvGrpSpPr>
        <p:grpSpPr>
          <a:xfrm>
            <a:off x="1972769" y="2045770"/>
            <a:ext cx="7218774" cy="4812230"/>
            <a:chOff x="9649919" y="7752980"/>
            <a:chExt cx="7218774" cy="4812230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99D862E9-55C3-4350-83AA-55F3696EB719}"/>
                </a:ext>
              </a:extLst>
            </p:cNvPr>
            <p:cNvGrpSpPr/>
            <p:nvPr/>
          </p:nvGrpSpPr>
          <p:grpSpPr>
            <a:xfrm>
              <a:off x="9649919" y="10129347"/>
              <a:ext cx="2056447" cy="2412720"/>
              <a:chOff x="9649919" y="10129347"/>
              <a:chExt cx="2056447" cy="2412720"/>
            </a:xfrm>
          </p:grpSpPr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80A4468B-5D0F-4E18-B0A6-362F5CBC0107}"/>
                  </a:ext>
                </a:extLst>
              </p:cNvPr>
              <p:cNvSpPr/>
              <p:nvPr/>
            </p:nvSpPr>
            <p:spPr>
              <a:xfrm>
                <a:off x="9649919" y="10311646"/>
                <a:ext cx="777100" cy="761886"/>
              </a:xfrm>
              <a:custGeom>
                <a:avLst/>
                <a:gdLst>
                  <a:gd name="connsiteX0" fmla="*/ 669860 w 777100"/>
                  <a:gd name="connsiteY0" fmla="*/ 432993 h 761886"/>
                  <a:gd name="connsiteX1" fmla="*/ 709974 w 777100"/>
                  <a:gd name="connsiteY1" fmla="*/ 179964 h 761886"/>
                  <a:gd name="connsiteX2" fmla="*/ 500146 w 777100"/>
                  <a:gd name="connsiteY2" fmla="*/ 99735 h 761886"/>
                  <a:gd name="connsiteX3" fmla="*/ 265631 w 777100"/>
                  <a:gd name="connsiteY3" fmla="*/ 16421 h 761886"/>
                  <a:gd name="connsiteX4" fmla="*/ 145289 w 777100"/>
                  <a:gd name="connsiteY4" fmla="*/ 260192 h 761886"/>
                  <a:gd name="connsiteX5" fmla="*/ 260 w 777100"/>
                  <a:gd name="connsiteY5" fmla="*/ 392878 h 761886"/>
                  <a:gd name="connsiteX6" fmla="*/ 58889 w 777100"/>
                  <a:gd name="connsiteY6" fmla="*/ 534821 h 761886"/>
                  <a:gd name="connsiteX7" fmla="*/ 318088 w 777100"/>
                  <a:gd name="connsiteY7" fmla="*/ 713793 h 761886"/>
                  <a:gd name="connsiteX8" fmla="*/ 666774 w 777100"/>
                  <a:gd name="connsiteY8" fmla="*/ 719964 h 761886"/>
                  <a:gd name="connsiteX9" fmla="*/ 669860 w 777100"/>
                  <a:gd name="connsiteY9" fmla="*/ 432993 h 761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7100" h="761886">
                    <a:moveTo>
                      <a:pt x="669860" y="432993"/>
                    </a:moveTo>
                    <a:cubicBezTo>
                      <a:pt x="728489" y="362021"/>
                      <a:pt x="759346" y="269449"/>
                      <a:pt x="709974" y="179964"/>
                    </a:cubicBezTo>
                    <a:cubicBezTo>
                      <a:pt x="666774" y="96650"/>
                      <a:pt x="583460" y="71964"/>
                      <a:pt x="500146" y="99735"/>
                    </a:cubicBezTo>
                    <a:cubicBezTo>
                      <a:pt x="469289" y="4078"/>
                      <a:pt x="361289" y="-20608"/>
                      <a:pt x="265631" y="16421"/>
                    </a:cubicBezTo>
                    <a:cubicBezTo>
                      <a:pt x="148374" y="59621"/>
                      <a:pt x="126774" y="155278"/>
                      <a:pt x="145289" y="260192"/>
                    </a:cubicBezTo>
                    <a:cubicBezTo>
                      <a:pt x="71231" y="254021"/>
                      <a:pt x="3346" y="312650"/>
                      <a:pt x="260" y="392878"/>
                    </a:cubicBezTo>
                    <a:cubicBezTo>
                      <a:pt x="-2826" y="451507"/>
                      <a:pt x="21860" y="497793"/>
                      <a:pt x="58889" y="534821"/>
                    </a:cubicBezTo>
                    <a:cubicBezTo>
                      <a:pt x="55803" y="670592"/>
                      <a:pt x="234774" y="781678"/>
                      <a:pt x="318088" y="713793"/>
                    </a:cubicBezTo>
                    <a:cubicBezTo>
                      <a:pt x="376717" y="797107"/>
                      <a:pt x="592717" y="753907"/>
                      <a:pt x="666774" y="719964"/>
                    </a:cubicBezTo>
                    <a:cubicBezTo>
                      <a:pt x="811803" y="652078"/>
                      <a:pt x="814888" y="466936"/>
                      <a:pt x="669860" y="432993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B76F8E9F-E672-461B-9B05-F126CAC59CC2}"/>
                  </a:ext>
                </a:extLst>
              </p:cNvPr>
              <p:cNvSpPr/>
              <p:nvPr/>
            </p:nvSpPr>
            <p:spPr>
              <a:xfrm>
                <a:off x="10038720" y="10157361"/>
                <a:ext cx="774786" cy="761886"/>
              </a:xfrm>
              <a:custGeom>
                <a:avLst/>
                <a:gdLst>
                  <a:gd name="connsiteX0" fmla="*/ 669860 w 774786"/>
                  <a:gd name="connsiteY0" fmla="*/ 432993 h 761886"/>
                  <a:gd name="connsiteX1" fmla="*/ 709974 w 774786"/>
                  <a:gd name="connsiteY1" fmla="*/ 179964 h 761886"/>
                  <a:gd name="connsiteX2" fmla="*/ 500146 w 774786"/>
                  <a:gd name="connsiteY2" fmla="*/ 99735 h 761886"/>
                  <a:gd name="connsiteX3" fmla="*/ 265632 w 774786"/>
                  <a:gd name="connsiteY3" fmla="*/ 16421 h 761886"/>
                  <a:gd name="connsiteX4" fmla="*/ 145288 w 774786"/>
                  <a:gd name="connsiteY4" fmla="*/ 260192 h 761886"/>
                  <a:gd name="connsiteX5" fmla="*/ 260 w 774786"/>
                  <a:gd name="connsiteY5" fmla="*/ 392878 h 761886"/>
                  <a:gd name="connsiteX6" fmla="*/ 58888 w 774786"/>
                  <a:gd name="connsiteY6" fmla="*/ 534821 h 761886"/>
                  <a:gd name="connsiteX7" fmla="*/ 318089 w 774786"/>
                  <a:gd name="connsiteY7" fmla="*/ 713793 h 761886"/>
                  <a:gd name="connsiteX8" fmla="*/ 666774 w 774786"/>
                  <a:gd name="connsiteY8" fmla="*/ 719964 h 761886"/>
                  <a:gd name="connsiteX9" fmla="*/ 669860 w 774786"/>
                  <a:gd name="connsiteY9" fmla="*/ 432993 h 761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4786" h="761886">
                    <a:moveTo>
                      <a:pt x="669860" y="432993"/>
                    </a:moveTo>
                    <a:cubicBezTo>
                      <a:pt x="728489" y="362021"/>
                      <a:pt x="759346" y="269449"/>
                      <a:pt x="709974" y="179964"/>
                    </a:cubicBezTo>
                    <a:cubicBezTo>
                      <a:pt x="666774" y="96650"/>
                      <a:pt x="583460" y="71964"/>
                      <a:pt x="500146" y="99735"/>
                    </a:cubicBezTo>
                    <a:cubicBezTo>
                      <a:pt x="469289" y="4078"/>
                      <a:pt x="361288" y="-20608"/>
                      <a:pt x="265632" y="16421"/>
                    </a:cubicBezTo>
                    <a:cubicBezTo>
                      <a:pt x="148374" y="59621"/>
                      <a:pt x="126774" y="155278"/>
                      <a:pt x="145288" y="260192"/>
                    </a:cubicBezTo>
                    <a:cubicBezTo>
                      <a:pt x="71231" y="254021"/>
                      <a:pt x="3346" y="312650"/>
                      <a:pt x="260" y="392878"/>
                    </a:cubicBezTo>
                    <a:cubicBezTo>
                      <a:pt x="-2826" y="451507"/>
                      <a:pt x="21860" y="497793"/>
                      <a:pt x="58888" y="534821"/>
                    </a:cubicBezTo>
                    <a:cubicBezTo>
                      <a:pt x="55803" y="670592"/>
                      <a:pt x="234774" y="781678"/>
                      <a:pt x="318089" y="713793"/>
                    </a:cubicBezTo>
                    <a:cubicBezTo>
                      <a:pt x="376717" y="797107"/>
                      <a:pt x="592717" y="753907"/>
                      <a:pt x="666774" y="719964"/>
                    </a:cubicBezTo>
                    <a:cubicBezTo>
                      <a:pt x="808717" y="652078"/>
                      <a:pt x="811802" y="466936"/>
                      <a:pt x="669860" y="432993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03C393BC-41D5-4F5D-96AE-2FF0DD443670}"/>
                  </a:ext>
                </a:extLst>
              </p:cNvPr>
              <p:cNvSpPr/>
              <p:nvPr/>
            </p:nvSpPr>
            <p:spPr>
              <a:xfrm>
                <a:off x="10888063" y="10129347"/>
                <a:ext cx="790751" cy="806457"/>
              </a:xfrm>
              <a:custGeom>
                <a:avLst/>
                <a:gdLst>
                  <a:gd name="connsiteX0" fmla="*/ 789431 w 790751"/>
                  <a:gd name="connsiteY0" fmla="*/ 300548 h 806457"/>
                  <a:gd name="connsiteX1" fmla="*/ 638231 w 790751"/>
                  <a:gd name="connsiteY1" fmla="*/ 155520 h 806457"/>
                  <a:gd name="connsiteX2" fmla="*/ 545660 w 790751"/>
                  <a:gd name="connsiteY2" fmla="*/ 7405 h 806457"/>
                  <a:gd name="connsiteX3" fmla="*/ 437660 w 790751"/>
                  <a:gd name="connsiteY3" fmla="*/ 16663 h 806457"/>
                  <a:gd name="connsiteX4" fmla="*/ 308060 w 790751"/>
                  <a:gd name="connsiteY4" fmla="*/ 59863 h 806457"/>
                  <a:gd name="connsiteX5" fmla="*/ 30345 w 790751"/>
                  <a:gd name="connsiteY5" fmla="*/ 106149 h 806457"/>
                  <a:gd name="connsiteX6" fmla="*/ 64288 w 790751"/>
                  <a:gd name="connsiteY6" fmla="*/ 315977 h 806457"/>
                  <a:gd name="connsiteX7" fmla="*/ 61202 w 790751"/>
                  <a:gd name="connsiteY7" fmla="*/ 319063 h 806457"/>
                  <a:gd name="connsiteX8" fmla="*/ 159946 w 790751"/>
                  <a:gd name="connsiteY8" fmla="*/ 569006 h 806457"/>
                  <a:gd name="connsiteX9" fmla="*/ 468517 w 790751"/>
                  <a:gd name="connsiteY9" fmla="*/ 738720 h 806457"/>
                  <a:gd name="connsiteX10" fmla="*/ 690688 w 790751"/>
                  <a:gd name="connsiteY10" fmla="*/ 488777 h 806457"/>
                  <a:gd name="connsiteX11" fmla="*/ 789431 w 790751"/>
                  <a:gd name="connsiteY11" fmla="*/ 300548 h 806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90751" h="806457">
                    <a:moveTo>
                      <a:pt x="789431" y="300548"/>
                    </a:moveTo>
                    <a:cubicBezTo>
                      <a:pt x="780174" y="214149"/>
                      <a:pt x="718459" y="155520"/>
                      <a:pt x="638231" y="155520"/>
                    </a:cubicBezTo>
                    <a:cubicBezTo>
                      <a:pt x="638231" y="90720"/>
                      <a:pt x="610459" y="29006"/>
                      <a:pt x="545660" y="7405"/>
                    </a:cubicBezTo>
                    <a:cubicBezTo>
                      <a:pt x="511717" y="-4937"/>
                      <a:pt x="471602" y="-1851"/>
                      <a:pt x="437660" y="16663"/>
                    </a:cubicBezTo>
                    <a:cubicBezTo>
                      <a:pt x="375946" y="47520"/>
                      <a:pt x="385203" y="69120"/>
                      <a:pt x="308060" y="59863"/>
                    </a:cubicBezTo>
                    <a:cubicBezTo>
                      <a:pt x="221660" y="50605"/>
                      <a:pt x="98231" y="35177"/>
                      <a:pt x="30345" y="106149"/>
                    </a:cubicBezTo>
                    <a:cubicBezTo>
                      <a:pt x="-31369" y="174034"/>
                      <a:pt x="11831" y="257349"/>
                      <a:pt x="64288" y="315977"/>
                    </a:cubicBezTo>
                    <a:cubicBezTo>
                      <a:pt x="64288" y="315977"/>
                      <a:pt x="61202" y="319063"/>
                      <a:pt x="61202" y="319063"/>
                    </a:cubicBezTo>
                    <a:cubicBezTo>
                      <a:pt x="18003" y="423977"/>
                      <a:pt x="42688" y="565920"/>
                      <a:pt x="159946" y="569006"/>
                    </a:cubicBezTo>
                    <a:cubicBezTo>
                      <a:pt x="95146" y="754149"/>
                      <a:pt x="335831" y="896092"/>
                      <a:pt x="468517" y="738720"/>
                    </a:cubicBezTo>
                    <a:cubicBezTo>
                      <a:pt x="632060" y="852891"/>
                      <a:pt x="783259" y="649235"/>
                      <a:pt x="690688" y="488777"/>
                    </a:cubicBezTo>
                    <a:cubicBezTo>
                      <a:pt x="758574" y="445577"/>
                      <a:pt x="798688" y="386949"/>
                      <a:pt x="789431" y="300548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7F4BDAF1-70F3-47F1-A9CA-D6A5C7CA60B0}"/>
                  </a:ext>
                </a:extLst>
              </p:cNvPr>
              <p:cNvSpPr/>
              <p:nvPr/>
            </p:nvSpPr>
            <p:spPr>
              <a:xfrm>
                <a:off x="9655569" y="11104021"/>
                <a:ext cx="772328" cy="773001"/>
              </a:xfrm>
              <a:custGeom>
                <a:avLst/>
                <a:gdLst>
                  <a:gd name="connsiteX0" fmla="*/ 645697 w 772328"/>
                  <a:gd name="connsiteY0" fmla="*/ 171360 h 773001"/>
                  <a:gd name="connsiteX1" fmla="*/ 259982 w 772328"/>
                  <a:gd name="connsiteY1" fmla="*/ 146675 h 773001"/>
                  <a:gd name="connsiteX2" fmla="*/ 783 w 772328"/>
                  <a:gd name="connsiteY2" fmla="*/ 424389 h 773001"/>
                  <a:gd name="connsiteX3" fmla="*/ 179754 w 772328"/>
                  <a:gd name="connsiteY3" fmla="*/ 594103 h 773001"/>
                  <a:gd name="connsiteX4" fmla="*/ 222954 w 772328"/>
                  <a:gd name="connsiteY4" fmla="*/ 763818 h 773001"/>
                  <a:gd name="connsiteX5" fmla="*/ 571640 w 772328"/>
                  <a:gd name="connsiteY5" fmla="*/ 652732 h 773001"/>
                  <a:gd name="connsiteX6" fmla="*/ 654954 w 772328"/>
                  <a:gd name="connsiteY6" fmla="*/ 665075 h 773001"/>
                  <a:gd name="connsiteX7" fmla="*/ 735182 w 772328"/>
                  <a:gd name="connsiteY7" fmla="*/ 412046 h 773001"/>
                  <a:gd name="connsiteX8" fmla="*/ 735182 w 772328"/>
                  <a:gd name="connsiteY8" fmla="*/ 405875 h 773001"/>
                  <a:gd name="connsiteX9" fmla="*/ 645697 w 772328"/>
                  <a:gd name="connsiteY9" fmla="*/ 171360 h 773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2328" h="773001">
                    <a:moveTo>
                      <a:pt x="645697" y="171360"/>
                    </a:moveTo>
                    <a:cubicBezTo>
                      <a:pt x="648783" y="-19954"/>
                      <a:pt x="253811" y="-81668"/>
                      <a:pt x="259982" y="146675"/>
                    </a:cubicBezTo>
                    <a:cubicBezTo>
                      <a:pt x="124211" y="174446"/>
                      <a:pt x="-11561" y="270103"/>
                      <a:pt x="783" y="424389"/>
                    </a:cubicBezTo>
                    <a:cubicBezTo>
                      <a:pt x="10039" y="523132"/>
                      <a:pt x="90268" y="594103"/>
                      <a:pt x="179754" y="594103"/>
                    </a:cubicBezTo>
                    <a:cubicBezTo>
                      <a:pt x="124211" y="665075"/>
                      <a:pt x="96439" y="732961"/>
                      <a:pt x="222954" y="763818"/>
                    </a:cubicBezTo>
                    <a:cubicBezTo>
                      <a:pt x="349468" y="794675"/>
                      <a:pt x="482154" y="745303"/>
                      <a:pt x="571640" y="652732"/>
                    </a:cubicBezTo>
                    <a:cubicBezTo>
                      <a:pt x="590154" y="674332"/>
                      <a:pt x="621011" y="680503"/>
                      <a:pt x="654954" y="665075"/>
                    </a:cubicBezTo>
                    <a:cubicBezTo>
                      <a:pt x="729011" y="631132"/>
                      <a:pt x="725925" y="473761"/>
                      <a:pt x="735182" y="412046"/>
                    </a:cubicBezTo>
                    <a:cubicBezTo>
                      <a:pt x="735182" y="408961"/>
                      <a:pt x="735182" y="408961"/>
                      <a:pt x="735182" y="405875"/>
                    </a:cubicBezTo>
                    <a:cubicBezTo>
                      <a:pt x="812325" y="316389"/>
                      <a:pt x="762953" y="186789"/>
                      <a:pt x="645697" y="171360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4B3E3958-2C77-4BE0-832C-6401D6D20E63}"/>
                  </a:ext>
                </a:extLst>
              </p:cNvPr>
              <p:cNvSpPr/>
              <p:nvPr/>
            </p:nvSpPr>
            <p:spPr>
              <a:xfrm>
                <a:off x="10972493" y="11337609"/>
                <a:ext cx="733873" cy="715423"/>
              </a:xfrm>
              <a:custGeom>
                <a:avLst/>
                <a:gdLst>
                  <a:gd name="connsiteX0" fmla="*/ 57001 w 733873"/>
                  <a:gd name="connsiteY0" fmla="*/ 274116 h 715423"/>
                  <a:gd name="connsiteX1" fmla="*/ 368658 w 733873"/>
                  <a:gd name="connsiteY1" fmla="*/ 79715 h 715423"/>
                  <a:gd name="connsiteX2" fmla="*/ 714258 w 733873"/>
                  <a:gd name="connsiteY2" fmla="*/ 209315 h 715423"/>
                  <a:gd name="connsiteX3" fmla="*/ 643287 w 733873"/>
                  <a:gd name="connsiteY3" fmla="*/ 440744 h 715423"/>
                  <a:gd name="connsiteX4" fmla="*/ 686487 w 733873"/>
                  <a:gd name="connsiteY4" fmla="*/ 607372 h 715423"/>
                  <a:gd name="connsiteX5" fmla="*/ 343972 w 733873"/>
                  <a:gd name="connsiteY5" fmla="*/ 666001 h 715423"/>
                  <a:gd name="connsiteX6" fmla="*/ 282258 w 733873"/>
                  <a:gd name="connsiteY6" fmla="*/ 715372 h 715423"/>
                  <a:gd name="connsiteX7" fmla="*/ 97115 w 733873"/>
                  <a:gd name="connsiteY7" fmla="*/ 527144 h 715423"/>
                  <a:gd name="connsiteX8" fmla="*/ 94029 w 733873"/>
                  <a:gd name="connsiteY8" fmla="*/ 520973 h 715423"/>
                  <a:gd name="connsiteX9" fmla="*/ 57001 w 733873"/>
                  <a:gd name="connsiteY9" fmla="*/ 274116 h 715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33873" h="715423">
                    <a:moveTo>
                      <a:pt x="57001" y="274116"/>
                    </a:moveTo>
                    <a:cubicBezTo>
                      <a:pt x="-35570" y="107486"/>
                      <a:pt x="263743" y="-123942"/>
                      <a:pt x="368658" y="79715"/>
                    </a:cubicBezTo>
                    <a:cubicBezTo>
                      <a:pt x="495172" y="42687"/>
                      <a:pt x="652544" y="67372"/>
                      <a:pt x="714258" y="209315"/>
                    </a:cubicBezTo>
                    <a:cubicBezTo>
                      <a:pt x="754373" y="301887"/>
                      <a:pt x="720430" y="397544"/>
                      <a:pt x="643287" y="440744"/>
                    </a:cubicBezTo>
                    <a:cubicBezTo>
                      <a:pt x="720430" y="477772"/>
                      <a:pt x="779058" y="524058"/>
                      <a:pt x="686487" y="607372"/>
                    </a:cubicBezTo>
                    <a:cubicBezTo>
                      <a:pt x="593915" y="690687"/>
                      <a:pt x="461230" y="706116"/>
                      <a:pt x="343972" y="666001"/>
                    </a:cubicBezTo>
                    <a:cubicBezTo>
                      <a:pt x="337801" y="693772"/>
                      <a:pt x="316201" y="712287"/>
                      <a:pt x="282258" y="715372"/>
                    </a:cubicBezTo>
                    <a:cubicBezTo>
                      <a:pt x="205115" y="718458"/>
                      <a:pt x="134144" y="579601"/>
                      <a:pt x="97115" y="527144"/>
                    </a:cubicBezTo>
                    <a:cubicBezTo>
                      <a:pt x="97115" y="527144"/>
                      <a:pt x="97115" y="524058"/>
                      <a:pt x="94029" y="520973"/>
                    </a:cubicBezTo>
                    <a:cubicBezTo>
                      <a:pt x="-13971" y="474687"/>
                      <a:pt x="-32484" y="342001"/>
                      <a:pt x="57001" y="274116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E79A8275-72E2-491B-A118-DFE61996A915}"/>
                  </a:ext>
                </a:extLst>
              </p:cNvPr>
              <p:cNvSpPr/>
              <p:nvPr/>
            </p:nvSpPr>
            <p:spPr>
              <a:xfrm>
                <a:off x="9911719" y="10538064"/>
                <a:ext cx="1425720" cy="2004003"/>
              </a:xfrm>
              <a:custGeom>
                <a:avLst/>
                <a:gdLst>
                  <a:gd name="connsiteX0" fmla="*/ 1386232 w 1425720"/>
                  <a:gd name="connsiteY0" fmla="*/ 1187832 h 2004003"/>
                  <a:gd name="connsiteX1" fmla="*/ 944975 w 1425720"/>
                  <a:gd name="connsiteY1" fmla="*/ 1508746 h 2004003"/>
                  <a:gd name="connsiteX2" fmla="*/ 883261 w 1425720"/>
                  <a:gd name="connsiteY2" fmla="*/ 1212518 h 2004003"/>
                  <a:gd name="connsiteX3" fmla="*/ 892517 w 1425720"/>
                  <a:gd name="connsiteY3" fmla="*/ 1200175 h 2004003"/>
                  <a:gd name="connsiteX4" fmla="*/ 1006689 w 1425720"/>
                  <a:gd name="connsiteY4" fmla="*/ 610804 h 2004003"/>
                  <a:gd name="connsiteX5" fmla="*/ 1281318 w 1425720"/>
                  <a:gd name="connsiteY5" fmla="*/ 36861 h 2004003"/>
                  <a:gd name="connsiteX6" fmla="*/ 1238118 w 1425720"/>
                  <a:gd name="connsiteY6" fmla="*/ 12175 h 2004003"/>
                  <a:gd name="connsiteX7" fmla="*/ 1059147 w 1425720"/>
                  <a:gd name="connsiteY7" fmla="*/ 333090 h 2004003"/>
                  <a:gd name="connsiteX8" fmla="*/ 938803 w 1425720"/>
                  <a:gd name="connsiteY8" fmla="*/ 126346 h 2004003"/>
                  <a:gd name="connsiteX9" fmla="*/ 895603 w 1425720"/>
                  <a:gd name="connsiteY9" fmla="*/ 151032 h 2004003"/>
                  <a:gd name="connsiteX10" fmla="*/ 1025204 w 1425720"/>
                  <a:gd name="connsiteY10" fmla="*/ 373204 h 2004003"/>
                  <a:gd name="connsiteX11" fmla="*/ 1034460 w 1425720"/>
                  <a:gd name="connsiteY11" fmla="*/ 382460 h 2004003"/>
                  <a:gd name="connsiteX12" fmla="*/ 969660 w 1425720"/>
                  <a:gd name="connsiteY12" fmla="*/ 555261 h 2004003"/>
                  <a:gd name="connsiteX13" fmla="*/ 861660 w 1425720"/>
                  <a:gd name="connsiteY13" fmla="*/ 1123032 h 2004003"/>
                  <a:gd name="connsiteX14" fmla="*/ 858575 w 1425720"/>
                  <a:gd name="connsiteY14" fmla="*/ 1104518 h 2004003"/>
                  <a:gd name="connsiteX15" fmla="*/ 633318 w 1425720"/>
                  <a:gd name="connsiteY15" fmla="*/ 154118 h 2004003"/>
                  <a:gd name="connsiteX16" fmla="*/ 587032 w 1425720"/>
                  <a:gd name="connsiteY16" fmla="*/ 166460 h 2004003"/>
                  <a:gd name="connsiteX17" fmla="*/ 676517 w 1425720"/>
                  <a:gd name="connsiteY17" fmla="*/ 539832 h 2004003"/>
                  <a:gd name="connsiteX18" fmla="*/ 40860 w 1425720"/>
                  <a:gd name="connsiteY18" fmla="*/ 215832 h 2004003"/>
                  <a:gd name="connsiteX19" fmla="*/ 6918 w 1425720"/>
                  <a:gd name="connsiteY19" fmla="*/ 249775 h 2004003"/>
                  <a:gd name="connsiteX20" fmla="*/ 682689 w 1425720"/>
                  <a:gd name="connsiteY20" fmla="*/ 589204 h 2004003"/>
                  <a:gd name="connsiteX21" fmla="*/ 685775 w 1425720"/>
                  <a:gd name="connsiteY21" fmla="*/ 589204 h 2004003"/>
                  <a:gd name="connsiteX22" fmla="*/ 799946 w 1425720"/>
                  <a:gd name="connsiteY22" fmla="*/ 1070575 h 2004003"/>
                  <a:gd name="connsiteX23" fmla="*/ 840061 w 1425720"/>
                  <a:gd name="connsiteY23" fmla="*/ 1237204 h 2004003"/>
                  <a:gd name="connsiteX24" fmla="*/ 219832 w 1425720"/>
                  <a:gd name="connsiteY24" fmla="*/ 968746 h 2004003"/>
                  <a:gd name="connsiteX25" fmla="*/ 195146 w 1425720"/>
                  <a:gd name="connsiteY25" fmla="*/ 1011947 h 2004003"/>
                  <a:gd name="connsiteX26" fmla="*/ 833889 w 1425720"/>
                  <a:gd name="connsiteY26" fmla="*/ 1286575 h 2004003"/>
                  <a:gd name="connsiteX27" fmla="*/ 849318 w 1425720"/>
                  <a:gd name="connsiteY27" fmla="*/ 1283489 h 2004003"/>
                  <a:gd name="connsiteX28" fmla="*/ 929546 w 1425720"/>
                  <a:gd name="connsiteY28" fmla="*/ 1980861 h 2004003"/>
                  <a:gd name="connsiteX29" fmla="*/ 978918 w 1425720"/>
                  <a:gd name="connsiteY29" fmla="*/ 1980861 h 2004003"/>
                  <a:gd name="connsiteX30" fmla="*/ 948061 w 1425720"/>
                  <a:gd name="connsiteY30" fmla="*/ 1545775 h 2004003"/>
                  <a:gd name="connsiteX31" fmla="*/ 963489 w 1425720"/>
                  <a:gd name="connsiteY31" fmla="*/ 1545775 h 2004003"/>
                  <a:gd name="connsiteX32" fmla="*/ 1417089 w 1425720"/>
                  <a:gd name="connsiteY32" fmla="*/ 1215603 h 2004003"/>
                  <a:gd name="connsiteX33" fmla="*/ 1386232 w 1425720"/>
                  <a:gd name="connsiteY33" fmla="*/ 1187832 h 2004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425720" h="2004003">
                    <a:moveTo>
                      <a:pt x="1386232" y="1187832"/>
                    </a:moveTo>
                    <a:cubicBezTo>
                      <a:pt x="1262803" y="1329775"/>
                      <a:pt x="1117775" y="1434689"/>
                      <a:pt x="944975" y="1508746"/>
                    </a:cubicBezTo>
                    <a:cubicBezTo>
                      <a:pt x="929546" y="1410004"/>
                      <a:pt x="907946" y="1311261"/>
                      <a:pt x="883261" y="1212518"/>
                    </a:cubicBezTo>
                    <a:cubicBezTo>
                      <a:pt x="886347" y="1209432"/>
                      <a:pt x="889432" y="1206346"/>
                      <a:pt x="892517" y="1200175"/>
                    </a:cubicBezTo>
                    <a:cubicBezTo>
                      <a:pt x="963489" y="1008861"/>
                      <a:pt x="954232" y="805204"/>
                      <a:pt x="1006689" y="610804"/>
                    </a:cubicBezTo>
                    <a:cubicBezTo>
                      <a:pt x="1062232" y="404061"/>
                      <a:pt x="1173318" y="218918"/>
                      <a:pt x="1281318" y="36861"/>
                    </a:cubicBezTo>
                    <a:cubicBezTo>
                      <a:pt x="1296746" y="9090"/>
                      <a:pt x="1256632" y="-15597"/>
                      <a:pt x="1238118" y="12175"/>
                    </a:cubicBezTo>
                    <a:cubicBezTo>
                      <a:pt x="1176404" y="117090"/>
                      <a:pt x="1111603" y="222004"/>
                      <a:pt x="1059147" y="333090"/>
                    </a:cubicBezTo>
                    <a:cubicBezTo>
                      <a:pt x="1025204" y="262118"/>
                      <a:pt x="985089" y="191147"/>
                      <a:pt x="938803" y="126346"/>
                    </a:cubicBezTo>
                    <a:cubicBezTo>
                      <a:pt x="920290" y="101661"/>
                      <a:pt x="877089" y="126346"/>
                      <a:pt x="895603" y="151032"/>
                    </a:cubicBezTo>
                    <a:cubicBezTo>
                      <a:pt x="944975" y="222004"/>
                      <a:pt x="988175" y="296061"/>
                      <a:pt x="1025204" y="373204"/>
                    </a:cubicBezTo>
                    <a:cubicBezTo>
                      <a:pt x="1028290" y="379375"/>
                      <a:pt x="1031375" y="382460"/>
                      <a:pt x="1034460" y="382460"/>
                    </a:cubicBezTo>
                    <a:cubicBezTo>
                      <a:pt x="1009775" y="438004"/>
                      <a:pt x="985089" y="496632"/>
                      <a:pt x="969660" y="555261"/>
                    </a:cubicBezTo>
                    <a:cubicBezTo>
                      <a:pt x="911032" y="740403"/>
                      <a:pt x="917204" y="937889"/>
                      <a:pt x="861660" y="1123032"/>
                    </a:cubicBezTo>
                    <a:cubicBezTo>
                      <a:pt x="861660" y="1116861"/>
                      <a:pt x="858575" y="1110689"/>
                      <a:pt x="858575" y="1104518"/>
                    </a:cubicBezTo>
                    <a:cubicBezTo>
                      <a:pt x="784517" y="786689"/>
                      <a:pt x="707375" y="471947"/>
                      <a:pt x="633318" y="154118"/>
                    </a:cubicBezTo>
                    <a:cubicBezTo>
                      <a:pt x="627147" y="123261"/>
                      <a:pt x="577775" y="135603"/>
                      <a:pt x="587032" y="166460"/>
                    </a:cubicBezTo>
                    <a:cubicBezTo>
                      <a:pt x="617889" y="289889"/>
                      <a:pt x="645660" y="413317"/>
                      <a:pt x="676517" y="539832"/>
                    </a:cubicBezTo>
                    <a:cubicBezTo>
                      <a:pt x="432746" y="508975"/>
                      <a:pt x="210575" y="394804"/>
                      <a:pt x="40860" y="215832"/>
                    </a:cubicBezTo>
                    <a:cubicBezTo>
                      <a:pt x="19261" y="194233"/>
                      <a:pt x="-14682" y="228175"/>
                      <a:pt x="6918" y="249775"/>
                    </a:cubicBezTo>
                    <a:cubicBezTo>
                      <a:pt x="188975" y="441090"/>
                      <a:pt x="420403" y="558346"/>
                      <a:pt x="682689" y="589204"/>
                    </a:cubicBezTo>
                    <a:cubicBezTo>
                      <a:pt x="685775" y="589204"/>
                      <a:pt x="685775" y="589204"/>
                      <a:pt x="685775" y="589204"/>
                    </a:cubicBezTo>
                    <a:cubicBezTo>
                      <a:pt x="722803" y="749661"/>
                      <a:pt x="762918" y="910118"/>
                      <a:pt x="799946" y="1070575"/>
                    </a:cubicBezTo>
                    <a:cubicBezTo>
                      <a:pt x="812290" y="1126118"/>
                      <a:pt x="824632" y="1181661"/>
                      <a:pt x="840061" y="1237204"/>
                    </a:cubicBezTo>
                    <a:cubicBezTo>
                      <a:pt x="611718" y="1200175"/>
                      <a:pt x="404975" y="1110689"/>
                      <a:pt x="219832" y="968746"/>
                    </a:cubicBezTo>
                    <a:cubicBezTo>
                      <a:pt x="195146" y="950233"/>
                      <a:pt x="170460" y="993432"/>
                      <a:pt x="195146" y="1011947"/>
                    </a:cubicBezTo>
                    <a:cubicBezTo>
                      <a:pt x="383375" y="1156975"/>
                      <a:pt x="599375" y="1249546"/>
                      <a:pt x="833889" y="1286575"/>
                    </a:cubicBezTo>
                    <a:cubicBezTo>
                      <a:pt x="840061" y="1286575"/>
                      <a:pt x="846232" y="1286575"/>
                      <a:pt x="849318" y="1283489"/>
                    </a:cubicBezTo>
                    <a:cubicBezTo>
                      <a:pt x="898689" y="1511832"/>
                      <a:pt x="938803" y="1743261"/>
                      <a:pt x="929546" y="1980861"/>
                    </a:cubicBezTo>
                    <a:cubicBezTo>
                      <a:pt x="929546" y="2011718"/>
                      <a:pt x="975832" y="2011718"/>
                      <a:pt x="978918" y="1980861"/>
                    </a:cubicBezTo>
                    <a:cubicBezTo>
                      <a:pt x="985089" y="1832746"/>
                      <a:pt x="972746" y="1687718"/>
                      <a:pt x="948061" y="1545775"/>
                    </a:cubicBezTo>
                    <a:cubicBezTo>
                      <a:pt x="954232" y="1545775"/>
                      <a:pt x="957318" y="1545775"/>
                      <a:pt x="963489" y="1545775"/>
                    </a:cubicBezTo>
                    <a:cubicBezTo>
                      <a:pt x="1139375" y="1471718"/>
                      <a:pt x="1290575" y="1360632"/>
                      <a:pt x="1417089" y="1215603"/>
                    </a:cubicBezTo>
                    <a:cubicBezTo>
                      <a:pt x="1441775" y="1197090"/>
                      <a:pt x="1407832" y="1163147"/>
                      <a:pt x="1386232" y="1187832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D7CD8A54-738D-4CA1-A7B2-8EEF2F3A3999}"/>
                </a:ext>
              </a:extLst>
            </p:cNvPr>
            <p:cNvSpPr/>
            <p:nvPr/>
          </p:nvSpPr>
          <p:spPr>
            <a:xfrm>
              <a:off x="11972902" y="8956467"/>
              <a:ext cx="344553" cy="290073"/>
            </a:xfrm>
            <a:custGeom>
              <a:avLst/>
              <a:gdLst>
                <a:gd name="connsiteX0" fmla="*/ 53277 w 344553"/>
                <a:gd name="connsiteY0" fmla="*/ 192857 h 290073"/>
                <a:gd name="connsiteX1" fmla="*/ 124249 w 344553"/>
                <a:gd name="connsiteY1" fmla="*/ 239143 h 290073"/>
                <a:gd name="connsiteX2" fmla="*/ 247678 w 344553"/>
                <a:gd name="connsiteY2" fmla="*/ 288514 h 290073"/>
                <a:gd name="connsiteX3" fmla="*/ 343334 w 344553"/>
                <a:gd name="connsiteY3" fmla="*/ 214457 h 290073"/>
                <a:gd name="connsiteX4" fmla="*/ 102649 w 344553"/>
                <a:gd name="connsiteY4" fmla="*/ 4629 h 290073"/>
                <a:gd name="connsiteX5" fmla="*/ 68706 w 344553"/>
                <a:gd name="connsiteY5" fmla="*/ 13886 h 290073"/>
                <a:gd name="connsiteX6" fmla="*/ 102649 w 344553"/>
                <a:gd name="connsiteY6" fmla="*/ 50914 h 290073"/>
                <a:gd name="connsiteX7" fmla="*/ 148935 w 344553"/>
                <a:gd name="connsiteY7" fmla="*/ 97200 h 290073"/>
                <a:gd name="connsiteX8" fmla="*/ 77964 w 344553"/>
                <a:gd name="connsiteY8" fmla="*/ 60172 h 290073"/>
                <a:gd name="connsiteX9" fmla="*/ 25506 w 344553"/>
                <a:gd name="connsiteY9" fmla="*/ 35486 h 290073"/>
                <a:gd name="connsiteX10" fmla="*/ 821 w 344553"/>
                <a:gd name="connsiteY10" fmla="*/ 54000 h 290073"/>
                <a:gd name="connsiteX11" fmla="*/ 10078 w 344553"/>
                <a:gd name="connsiteY11" fmla="*/ 87943 h 290073"/>
                <a:gd name="connsiteX12" fmla="*/ 6992 w 344553"/>
                <a:gd name="connsiteY12" fmla="*/ 87943 h 290073"/>
                <a:gd name="connsiteX13" fmla="*/ 3906 w 344553"/>
                <a:gd name="connsiteY13" fmla="*/ 94114 h 290073"/>
                <a:gd name="connsiteX14" fmla="*/ 34763 w 344553"/>
                <a:gd name="connsiteY14" fmla="*/ 137315 h 290073"/>
                <a:gd name="connsiteX15" fmla="*/ 59449 w 344553"/>
                <a:gd name="connsiteY15" fmla="*/ 152743 h 290073"/>
                <a:gd name="connsiteX16" fmla="*/ 53277 w 344553"/>
                <a:gd name="connsiteY16" fmla="*/ 152743 h 290073"/>
                <a:gd name="connsiteX17" fmla="*/ 34763 w 344553"/>
                <a:gd name="connsiteY17" fmla="*/ 165086 h 290073"/>
                <a:gd name="connsiteX18" fmla="*/ 53277 w 344553"/>
                <a:gd name="connsiteY18" fmla="*/ 192857 h 290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44553" h="290073">
                  <a:moveTo>
                    <a:pt x="53277" y="192857"/>
                  </a:moveTo>
                  <a:cubicBezTo>
                    <a:pt x="77964" y="208286"/>
                    <a:pt x="99563" y="223714"/>
                    <a:pt x="124249" y="239143"/>
                  </a:cubicBezTo>
                  <a:cubicBezTo>
                    <a:pt x="161277" y="263829"/>
                    <a:pt x="198306" y="297772"/>
                    <a:pt x="247678" y="288514"/>
                  </a:cubicBezTo>
                  <a:cubicBezTo>
                    <a:pt x="278535" y="282343"/>
                    <a:pt x="343334" y="214457"/>
                    <a:pt x="343334" y="214457"/>
                  </a:cubicBezTo>
                  <a:cubicBezTo>
                    <a:pt x="361849" y="131143"/>
                    <a:pt x="164363" y="32400"/>
                    <a:pt x="102649" y="4629"/>
                  </a:cubicBezTo>
                  <a:cubicBezTo>
                    <a:pt x="93392" y="1543"/>
                    <a:pt x="62535" y="-7714"/>
                    <a:pt x="68706" y="13886"/>
                  </a:cubicBezTo>
                  <a:cubicBezTo>
                    <a:pt x="71792" y="26229"/>
                    <a:pt x="93392" y="41657"/>
                    <a:pt x="102649" y="50914"/>
                  </a:cubicBezTo>
                  <a:cubicBezTo>
                    <a:pt x="118078" y="66343"/>
                    <a:pt x="133506" y="81772"/>
                    <a:pt x="148935" y="97200"/>
                  </a:cubicBezTo>
                  <a:cubicBezTo>
                    <a:pt x="124249" y="84857"/>
                    <a:pt x="99563" y="72514"/>
                    <a:pt x="77964" y="60172"/>
                  </a:cubicBezTo>
                  <a:cubicBezTo>
                    <a:pt x="62535" y="50914"/>
                    <a:pt x="44021" y="38571"/>
                    <a:pt x="25506" y="35486"/>
                  </a:cubicBezTo>
                  <a:cubicBezTo>
                    <a:pt x="13164" y="35486"/>
                    <a:pt x="3906" y="41657"/>
                    <a:pt x="821" y="54000"/>
                  </a:cubicBezTo>
                  <a:cubicBezTo>
                    <a:pt x="-2265" y="66343"/>
                    <a:pt x="3906" y="78686"/>
                    <a:pt x="10078" y="87943"/>
                  </a:cubicBezTo>
                  <a:cubicBezTo>
                    <a:pt x="10078" y="87943"/>
                    <a:pt x="6992" y="87943"/>
                    <a:pt x="6992" y="87943"/>
                  </a:cubicBezTo>
                  <a:cubicBezTo>
                    <a:pt x="3906" y="87943"/>
                    <a:pt x="3906" y="91029"/>
                    <a:pt x="3906" y="94114"/>
                  </a:cubicBezTo>
                  <a:cubicBezTo>
                    <a:pt x="6992" y="112629"/>
                    <a:pt x="16249" y="124971"/>
                    <a:pt x="34763" y="137315"/>
                  </a:cubicBezTo>
                  <a:cubicBezTo>
                    <a:pt x="44021" y="143486"/>
                    <a:pt x="50192" y="146571"/>
                    <a:pt x="59449" y="152743"/>
                  </a:cubicBezTo>
                  <a:cubicBezTo>
                    <a:pt x="56363" y="152743"/>
                    <a:pt x="53277" y="152743"/>
                    <a:pt x="53277" y="152743"/>
                  </a:cubicBezTo>
                  <a:cubicBezTo>
                    <a:pt x="44021" y="152743"/>
                    <a:pt x="37849" y="155829"/>
                    <a:pt x="34763" y="165086"/>
                  </a:cubicBezTo>
                  <a:cubicBezTo>
                    <a:pt x="22420" y="174343"/>
                    <a:pt x="40935" y="186686"/>
                    <a:pt x="53277" y="192857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2E1D0067-D332-4463-9411-E897AE429513}"/>
                </a:ext>
              </a:extLst>
            </p:cNvPr>
            <p:cNvSpPr/>
            <p:nvPr/>
          </p:nvSpPr>
          <p:spPr>
            <a:xfrm>
              <a:off x="12122854" y="9045941"/>
              <a:ext cx="152873" cy="131567"/>
            </a:xfrm>
            <a:custGeom>
              <a:avLst/>
              <a:gdLst>
                <a:gd name="connsiteX0" fmla="*/ 2068 w 152873"/>
                <a:gd name="connsiteY0" fmla="*/ 54012 h 131567"/>
                <a:gd name="connsiteX1" fmla="*/ 26754 w 152873"/>
                <a:gd name="connsiteY1" fmla="*/ 60183 h 131567"/>
                <a:gd name="connsiteX2" fmla="*/ 91554 w 152873"/>
                <a:gd name="connsiteY2" fmla="*/ 75612 h 131567"/>
                <a:gd name="connsiteX3" fmla="*/ 125497 w 152873"/>
                <a:gd name="connsiteY3" fmla="*/ 131155 h 131567"/>
                <a:gd name="connsiteX4" fmla="*/ 150182 w 152873"/>
                <a:gd name="connsiteY4" fmla="*/ 54012 h 131567"/>
                <a:gd name="connsiteX5" fmla="*/ 51440 w 152873"/>
                <a:gd name="connsiteY5" fmla="*/ 1555 h 131567"/>
                <a:gd name="connsiteX6" fmla="*/ 2068 w 152873"/>
                <a:gd name="connsiteY6" fmla="*/ 54012 h 131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873" h="131567">
                  <a:moveTo>
                    <a:pt x="2068" y="54012"/>
                  </a:moveTo>
                  <a:cubicBezTo>
                    <a:pt x="8239" y="63269"/>
                    <a:pt x="20583" y="60183"/>
                    <a:pt x="26754" y="60183"/>
                  </a:cubicBezTo>
                  <a:cubicBezTo>
                    <a:pt x="51440" y="57097"/>
                    <a:pt x="69953" y="60183"/>
                    <a:pt x="91554" y="75612"/>
                  </a:cubicBezTo>
                  <a:cubicBezTo>
                    <a:pt x="103896" y="84869"/>
                    <a:pt x="116239" y="118812"/>
                    <a:pt x="125497" y="131155"/>
                  </a:cubicBezTo>
                  <a:cubicBezTo>
                    <a:pt x="128583" y="137326"/>
                    <a:pt x="162525" y="72526"/>
                    <a:pt x="150182" y="54012"/>
                  </a:cubicBezTo>
                  <a:cubicBezTo>
                    <a:pt x="131668" y="26240"/>
                    <a:pt x="85382" y="-7702"/>
                    <a:pt x="51440" y="1555"/>
                  </a:cubicBezTo>
                  <a:cubicBezTo>
                    <a:pt x="36011" y="1555"/>
                    <a:pt x="-10274" y="32412"/>
                    <a:pt x="2068" y="54012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2EC21CD4-3F1D-43E4-B784-23957308A617}"/>
                </a:ext>
              </a:extLst>
            </p:cNvPr>
            <p:cNvSpPr/>
            <p:nvPr/>
          </p:nvSpPr>
          <p:spPr>
            <a:xfrm>
              <a:off x="12106408" y="9035961"/>
              <a:ext cx="168942" cy="141135"/>
            </a:xfrm>
            <a:custGeom>
              <a:avLst/>
              <a:gdLst>
                <a:gd name="connsiteX0" fmla="*/ 108000 w 168942"/>
                <a:gd name="connsiteY0" fmla="*/ 141135 h 141135"/>
                <a:gd name="connsiteX1" fmla="*/ 101828 w 168942"/>
                <a:gd name="connsiteY1" fmla="*/ 138049 h 141135"/>
                <a:gd name="connsiteX2" fmla="*/ 98743 w 168942"/>
                <a:gd name="connsiteY2" fmla="*/ 85592 h 141135"/>
                <a:gd name="connsiteX3" fmla="*/ 37029 w 168942"/>
                <a:gd name="connsiteY3" fmla="*/ 76335 h 141135"/>
                <a:gd name="connsiteX4" fmla="*/ 6172 w 168942"/>
                <a:gd name="connsiteY4" fmla="*/ 76335 h 141135"/>
                <a:gd name="connsiteX5" fmla="*/ 0 w 168942"/>
                <a:gd name="connsiteY5" fmla="*/ 57821 h 141135"/>
                <a:gd name="connsiteX6" fmla="*/ 61714 w 168942"/>
                <a:gd name="connsiteY6" fmla="*/ 2278 h 141135"/>
                <a:gd name="connsiteX7" fmla="*/ 166628 w 168942"/>
                <a:gd name="connsiteY7" fmla="*/ 57821 h 141135"/>
                <a:gd name="connsiteX8" fmla="*/ 166628 w 168942"/>
                <a:gd name="connsiteY8" fmla="*/ 67078 h 141135"/>
                <a:gd name="connsiteX9" fmla="*/ 157372 w 168942"/>
                <a:gd name="connsiteY9" fmla="*/ 67078 h 141135"/>
                <a:gd name="connsiteX10" fmla="*/ 64800 w 168942"/>
                <a:gd name="connsiteY10" fmla="*/ 14621 h 141135"/>
                <a:gd name="connsiteX11" fmla="*/ 9257 w 168942"/>
                <a:gd name="connsiteY11" fmla="*/ 60906 h 141135"/>
                <a:gd name="connsiteX12" fmla="*/ 12343 w 168942"/>
                <a:gd name="connsiteY12" fmla="*/ 67078 h 141135"/>
                <a:gd name="connsiteX13" fmla="*/ 33943 w 168942"/>
                <a:gd name="connsiteY13" fmla="*/ 67078 h 141135"/>
                <a:gd name="connsiteX14" fmla="*/ 108000 w 168942"/>
                <a:gd name="connsiteY14" fmla="*/ 79421 h 141135"/>
                <a:gd name="connsiteX15" fmla="*/ 108000 w 168942"/>
                <a:gd name="connsiteY15" fmla="*/ 85592 h 141135"/>
                <a:gd name="connsiteX16" fmla="*/ 108000 w 168942"/>
                <a:gd name="connsiteY16" fmla="*/ 131878 h 141135"/>
                <a:gd name="connsiteX17" fmla="*/ 108000 w 168942"/>
                <a:gd name="connsiteY17" fmla="*/ 141135 h 141135"/>
                <a:gd name="connsiteX18" fmla="*/ 108000 w 168942"/>
                <a:gd name="connsiteY18" fmla="*/ 141135 h 141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8942" h="141135">
                  <a:moveTo>
                    <a:pt x="108000" y="141135"/>
                  </a:moveTo>
                  <a:cubicBezTo>
                    <a:pt x="104914" y="141135"/>
                    <a:pt x="104914" y="141135"/>
                    <a:pt x="101828" y="138049"/>
                  </a:cubicBezTo>
                  <a:cubicBezTo>
                    <a:pt x="92571" y="119535"/>
                    <a:pt x="95657" y="94849"/>
                    <a:pt x="98743" y="85592"/>
                  </a:cubicBezTo>
                  <a:cubicBezTo>
                    <a:pt x="80229" y="70164"/>
                    <a:pt x="55542" y="73249"/>
                    <a:pt x="37029" y="76335"/>
                  </a:cubicBezTo>
                  <a:cubicBezTo>
                    <a:pt x="24685" y="79421"/>
                    <a:pt x="12343" y="82506"/>
                    <a:pt x="6172" y="76335"/>
                  </a:cubicBezTo>
                  <a:cubicBezTo>
                    <a:pt x="0" y="73249"/>
                    <a:pt x="0" y="67078"/>
                    <a:pt x="0" y="57821"/>
                  </a:cubicBezTo>
                  <a:cubicBezTo>
                    <a:pt x="3086" y="39306"/>
                    <a:pt x="27771" y="14621"/>
                    <a:pt x="61714" y="2278"/>
                  </a:cubicBezTo>
                  <a:cubicBezTo>
                    <a:pt x="108000" y="-13151"/>
                    <a:pt x="163542" y="54735"/>
                    <a:pt x="166628" y="57821"/>
                  </a:cubicBezTo>
                  <a:cubicBezTo>
                    <a:pt x="169714" y="60906"/>
                    <a:pt x="169714" y="63992"/>
                    <a:pt x="166628" y="67078"/>
                  </a:cubicBezTo>
                  <a:cubicBezTo>
                    <a:pt x="163542" y="70164"/>
                    <a:pt x="160458" y="70164"/>
                    <a:pt x="157372" y="67078"/>
                  </a:cubicBezTo>
                  <a:cubicBezTo>
                    <a:pt x="157372" y="67078"/>
                    <a:pt x="101828" y="2278"/>
                    <a:pt x="64800" y="14621"/>
                  </a:cubicBezTo>
                  <a:cubicBezTo>
                    <a:pt x="33943" y="23878"/>
                    <a:pt x="12343" y="48564"/>
                    <a:pt x="9257" y="60906"/>
                  </a:cubicBezTo>
                  <a:cubicBezTo>
                    <a:pt x="9257" y="67078"/>
                    <a:pt x="9257" y="67078"/>
                    <a:pt x="12343" y="67078"/>
                  </a:cubicBezTo>
                  <a:cubicBezTo>
                    <a:pt x="15429" y="70164"/>
                    <a:pt x="24685" y="67078"/>
                    <a:pt x="33943" y="67078"/>
                  </a:cubicBezTo>
                  <a:cubicBezTo>
                    <a:pt x="55542" y="63992"/>
                    <a:pt x="83315" y="57821"/>
                    <a:pt x="108000" y="79421"/>
                  </a:cubicBezTo>
                  <a:cubicBezTo>
                    <a:pt x="111086" y="79421"/>
                    <a:pt x="111086" y="82506"/>
                    <a:pt x="108000" y="85592"/>
                  </a:cubicBezTo>
                  <a:cubicBezTo>
                    <a:pt x="108000" y="85592"/>
                    <a:pt x="98743" y="113363"/>
                    <a:pt x="108000" y="131878"/>
                  </a:cubicBezTo>
                  <a:cubicBezTo>
                    <a:pt x="114172" y="134964"/>
                    <a:pt x="114172" y="138049"/>
                    <a:pt x="108000" y="141135"/>
                  </a:cubicBezTo>
                  <a:cubicBezTo>
                    <a:pt x="111086" y="141135"/>
                    <a:pt x="108000" y="141135"/>
                    <a:pt x="108000" y="141135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D0BC390B-9F77-4ED6-8153-DFC0F4A45EAC}"/>
                </a:ext>
              </a:extLst>
            </p:cNvPr>
            <p:cNvGrpSpPr/>
            <p:nvPr/>
          </p:nvGrpSpPr>
          <p:grpSpPr>
            <a:xfrm>
              <a:off x="12266941" y="12077667"/>
              <a:ext cx="561524" cy="385548"/>
              <a:chOff x="12266941" y="12077667"/>
              <a:chExt cx="561524" cy="385548"/>
            </a:xfrm>
          </p:grpSpPr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D5E4A22B-B4FC-481A-96DB-3A6079DD3FD2}"/>
                  </a:ext>
                </a:extLst>
              </p:cNvPr>
              <p:cNvSpPr/>
              <p:nvPr/>
            </p:nvSpPr>
            <p:spPr>
              <a:xfrm>
                <a:off x="12609379" y="12077667"/>
                <a:ext cx="219085" cy="262285"/>
              </a:xfrm>
              <a:custGeom>
                <a:avLst/>
                <a:gdLst>
                  <a:gd name="connsiteX0" fmla="*/ 160458 w 219085"/>
                  <a:gd name="connsiteY0" fmla="*/ 228344 h 262285"/>
                  <a:gd name="connsiteX1" fmla="*/ 219086 w 219085"/>
                  <a:gd name="connsiteY1" fmla="*/ 49372 h 262285"/>
                  <a:gd name="connsiteX2" fmla="*/ 40115 w 219085"/>
                  <a:gd name="connsiteY2" fmla="*/ 0 h 262285"/>
                  <a:gd name="connsiteX3" fmla="*/ 0 w 219085"/>
                  <a:gd name="connsiteY3" fmla="*/ 191315 h 262285"/>
                  <a:gd name="connsiteX4" fmla="*/ 138857 w 219085"/>
                  <a:gd name="connsiteY4" fmla="*/ 262286 h 262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9085" h="262285">
                    <a:moveTo>
                      <a:pt x="160458" y="228344"/>
                    </a:moveTo>
                    <a:lnTo>
                      <a:pt x="219086" y="49372"/>
                    </a:lnTo>
                    <a:lnTo>
                      <a:pt x="40115" y="0"/>
                    </a:lnTo>
                    <a:lnTo>
                      <a:pt x="0" y="191315"/>
                    </a:lnTo>
                    <a:lnTo>
                      <a:pt x="138857" y="262286"/>
                    </a:ln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C8707297-C054-42C7-9239-590400CD9A31}"/>
                  </a:ext>
                </a:extLst>
              </p:cNvPr>
              <p:cNvSpPr/>
              <p:nvPr/>
            </p:nvSpPr>
            <p:spPr>
              <a:xfrm>
                <a:off x="12282294" y="12210353"/>
                <a:ext cx="503154" cy="204128"/>
              </a:xfrm>
              <a:custGeom>
                <a:avLst/>
                <a:gdLst>
                  <a:gd name="connsiteX0" fmla="*/ 502971 w 503154"/>
                  <a:gd name="connsiteY0" fmla="*/ 98742 h 204128"/>
                  <a:gd name="connsiteX1" fmla="*/ 336343 w 503154"/>
                  <a:gd name="connsiteY1" fmla="*/ 0 h 204128"/>
                  <a:gd name="connsiteX2" fmla="*/ 185143 w 503154"/>
                  <a:gd name="connsiteY2" fmla="*/ 40114 h 204128"/>
                  <a:gd name="connsiteX3" fmla="*/ 0 w 503154"/>
                  <a:gd name="connsiteY3" fmla="*/ 67885 h 204128"/>
                  <a:gd name="connsiteX4" fmla="*/ 475200 w 503154"/>
                  <a:gd name="connsiteY4" fmla="*/ 203657 h 204128"/>
                  <a:gd name="connsiteX5" fmla="*/ 502971 w 503154"/>
                  <a:gd name="connsiteY5" fmla="*/ 98742 h 204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3154" h="204128">
                    <a:moveTo>
                      <a:pt x="502971" y="98742"/>
                    </a:moveTo>
                    <a:cubicBezTo>
                      <a:pt x="502971" y="98742"/>
                      <a:pt x="376457" y="83314"/>
                      <a:pt x="336343" y="0"/>
                    </a:cubicBezTo>
                    <a:cubicBezTo>
                      <a:pt x="336343" y="0"/>
                      <a:pt x="231429" y="43200"/>
                      <a:pt x="185143" y="40114"/>
                    </a:cubicBezTo>
                    <a:cubicBezTo>
                      <a:pt x="138857" y="37028"/>
                      <a:pt x="30857" y="3086"/>
                      <a:pt x="0" y="67885"/>
                    </a:cubicBezTo>
                    <a:lnTo>
                      <a:pt x="475200" y="203657"/>
                    </a:lnTo>
                    <a:cubicBezTo>
                      <a:pt x="469028" y="209828"/>
                      <a:pt x="506057" y="154286"/>
                      <a:pt x="502971" y="98742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EA5E7A79-02A8-4F32-AC24-0135C139279B}"/>
                  </a:ext>
                </a:extLst>
              </p:cNvPr>
              <p:cNvSpPr/>
              <p:nvPr/>
            </p:nvSpPr>
            <p:spPr>
              <a:xfrm rot="-4433738">
                <a:off x="12487397" y="12125634"/>
                <a:ext cx="46287" cy="493735"/>
              </a:xfrm>
              <a:custGeom>
                <a:avLst/>
                <a:gdLst>
                  <a:gd name="connsiteX0" fmla="*/ 0 w 46287"/>
                  <a:gd name="connsiteY0" fmla="*/ 0 h 493735"/>
                  <a:gd name="connsiteX1" fmla="*/ 46287 w 46287"/>
                  <a:gd name="connsiteY1" fmla="*/ 0 h 493735"/>
                  <a:gd name="connsiteX2" fmla="*/ 46287 w 46287"/>
                  <a:gd name="connsiteY2" fmla="*/ 493736 h 493735"/>
                  <a:gd name="connsiteX3" fmla="*/ 0 w 46287"/>
                  <a:gd name="connsiteY3" fmla="*/ 493736 h 493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287" h="493735">
                    <a:moveTo>
                      <a:pt x="0" y="0"/>
                    </a:moveTo>
                    <a:lnTo>
                      <a:pt x="46287" y="0"/>
                    </a:lnTo>
                    <a:lnTo>
                      <a:pt x="46287" y="493736"/>
                    </a:lnTo>
                    <a:lnTo>
                      <a:pt x="0" y="493736"/>
                    </a:lnTo>
                    <a:close/>
                  </a:path>
                </a:pathLst>
              </a:custGeom>
              <a:solidFill>
                <a:srgbClr val="38333D"/>
              </a:solidFill>
              <a:ln w="308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3BE075D0-980C-4BD7-BF04-AC41257E1982}"/>
                  </a:ext>
                </a:extLst>
              </p:cNvPr>
              <p:cNvSpPr/>
              <p:nvPr/>
            </p:nvSpPr>
            <p:spPr>
              <a:xfrm>
                <a:off x="12611187" y="12202903"/>
                <a:ext cx="183335" cy="112364"/>
              </a:xfrm>
              <a:custGeom>
                <a:avLst/>
                <a:gdLst>
                  <a:gd name="connsiteX0" fmla="*/ 174078 w 183335"/>
                  <a:gd name="connsiteY0" fmla="*/ 112364 h 112364"/>
                  <a:gd name="connsiteX1" fmla="*/ 174078 w 183335"/>
                  <a:gd name="connsiteY1" fmla="*/ 112364 h 112364"/>
                  <a:gd name="connsiteX2" fmla="*/ 1278 w 183335"/>
                  <a:gd name="connsiteY2" fmla="*/ 10536 h 112364"/>
                  <a:gd name="connsiteX3" fmla="*/ 4364 w 183335"/>
                  <a:gd name="connsiteY3" fmla="*/ 1278 h 112364"/>
                  <a:gd name="connsiteX4" fmla="*/ 13621 w 183335"/>
                  <a:gd name="connsiteY4" fmla="*/ 4364 h 112364"/>
                  <a:gd name="connsiteX5" fmla="*/ 177164 w 183335"/>
                  <a:gd name="connsiteY5" fmla="*/ 100021 h 112364"/>
                  <a:gd name="connsiteX6" fmla="*/ 183335 w 183335"/>
                  <a:gd name="connsiteY6" fmla="*/ 106192 h 112364"/>
                  <a:gd name="connsiteX7" fmla="*/ 174078 w 183335"/>
                  <a:gd name="connsiteY7" fmla="*/ 112364 h 112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3335" h="112364">
                    <a:moveTo>
                      <a:pt x="174078" y="112364"/>
                    </a:moveTo>
                    <a:cubicBezTo>
                      <a:pt x="174078" y="112364"/>
                      <a:pt x="174078" y="112364"/>
                      <a:pt x="174078" y="112364"/>
                    </a:cubicBezTo>
                    <a:cubicBezTo>
                      <a:pt x="167907" y="112364"/>
                      <a:pt x="53736" y="93850"/>
                      <a:pt x="1278" y="10536"/>
                    </a:cubicBezTo>
                    <a:cubicBezTo>
                      <a:pt x="-1808" y="7450"/>
                      <a:pt x="1278" y="4364"/>
                      <a:pt x="4364" y="1278"/>
                    </a:cubicBezTo>
                    <a:cubicBezTo>
                      <a:pt x="7450" y="-1808"/>
                      <a:pt x="10536" y="1278"/>
                      <a:pt x="13621" y="4364"/>
                    </a:cubicBezTo>
                    <a:cubicBezTo>
                      <a:pt x="62993" y="84593"/>
                      <a:pt x="177164" y="100021"/>
                      <a:pt x="177164" y="100021"/>
                    </a:cubicBezTo>
                    <a:cubicBezTo>
                      <a:pt x="180250" y="100021"/>
                      <a:pt x="183335" y="103107"/>
                      <a:pt x="183335" y="106192"/>
                    </a:cubicBezTo>
                    <a:cubicBezTo>
                      <a:pt x="177164" y="109278"/>
                      <a:pt x="177164" y="112364"/>
                      <a:pt x="174078" y="11236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222F5CCE-F7D6-4B5E-85F5-B2AA8E05A2B3}"/>
                  </a:ext>
                </a:extLst>
              </p:cNvPr>
              <p:cNvSpPr/>
              <p:nvPr/>
            </p:nvSpPr>
            <p:spPr>
              <a:xfrm>
                <a:off x="12566179" y="12219610"/>
                <a:ext cx="32067" cy="46285"/>
              </a:xfrm>
              <a:custGeom>
                <a:avLst/>
                <a:gdLst>
                  <a:gd name="connsiteX0" fmla="*/ 24686 w 32067"/>
                  <a:gd name="connsiteY0" fmla="*/ 46286 h 46285"/>
                  <a:gd name="connsiteX1" fmla="*/ 18514 w 32067"/>
                  <a:gd name="connsiteY1" fmla="*/ 43200 h 46285"/>
                  <a:gd name="connsiteX2" fmla="*/ 0 w 32067"/>
                  <a:gd name="connsiteY2" fmla="*/ 9258 h 46285"/>
                  <a:gd name="connsiteX3" fmla="*/ 3086 w 32067"/>
                  <a:gd name="connsiteY3" fmla="*/ 0 h 46285"/>
                  <a:gd name="connsiteX4" fmla="*/ 12343 w 32067"/>
                  <a:gd name="connsiteY4" fmla="*/ 3086 h 46285"/>
                  <a:gd name="connsiteX5" fmla="*/ 30857 w 32067"/>
                  <a:gd name="connsiteY5" fmla="*/ 37029 h 46285"/>
                  <a:gd name="connsiteX6" fmla="*/ 24686 w 32067"/>
                  <a:gd name="connsiteY6" fmla="*/ 46286 h 46285"/>
                  <a:gd name="connsiteX7" fmla="*/ 24686 w 32067"/>
                  <a:gd name="connsiteY7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067" h="46285">
                    <a:moveTo>
                      <a:pt x="24686" y="46286"/>
                    </a:moveTo>
                    <a:cubicBezTo>
                      <a:pt x="21600" y="46286"/>
                      <a:pt x="21600" y="46286"/>
                      <a:pt x="18514" y="43200"/>
                    </a:cubicBezTo>
                    <a:lnTo>
                      <a:pt x="0" y="9258"/>
                    </a:lnTo>
                    <a:cubicBezTo>
                      <a:pt x="0" y="6172"/>
                      <a:pt x="0" y="3086"/>
                      <a:pt x="3086" y="0"/>
                    </a:cubicBezTo>
                    <a:cubicBezTo>
                      <a:pt x="6172" y="0"/>
                      <a:pt x="9258" y="0"/>
                      <a:pt x="12343" y="3086"/>
                    </a:cubicBezTo>
                    <a:lnTo>
                      <a:pt x="30857" y="37029"/>
                    </a:lnTo>
                    <a:cubicBezTo>
                      <a:pt x="33943" y="43200"/>
                      <a:pt x="30857" y="46286"/>
                      <a:pt x="24686" y="46286"/>
                    </a:cubicBezTo>
                    <a:cubicBezTo>
                      <a:pt x="27771" y="46286"/>
                      <a:pt x="27771" y="46286"/>
                      <a:pt x="24686" y="4628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4A20184D-3EE2-4023-9EDF-72CE3A9E1500}"/>
                  </a:ext>
                </a:extLst>
              </p:cNvPr>
              <p:cNvSpPr/>
              <p:nvPr/>
            </p:nvSpPr>
            <p:spPr>
              <a:xfrm>
                <a:off x="12522980" y="12235039"/>
                <a:ext cx="30857" cy="46285"/>
              </a:xfrm>
              <a:custGeom>
                <a:avLst/>
                <a:gdLst>
                  <a:gd name="connsiteX0" fmla="*/ 24685 w 30857"/>
                  <a:gd name="connsiteY0" fmla="*/ 46286 h 46285"/>
                  <a:gd name="connsiteX1" fmla="*/ 18514 w 30857"/>
                  <a:gd name="connsiteY1" fmla="*/ 43200 h 46285"/>
                  <a:gd name="connsiteX2" fmla="*/ 0 w 30857"/>
                  <a:gd name="connsiteY2" fmla="*/ 9258 h 46285"/>
                  <a:gd name="connsiteX3" fmla="*/ 3086 w 30857"/>
                  <a:gd name="connsiteY3" fmla="*/ 0 h 46285"/>
                  <a:gd name="connsiteX4" fmla="*/ 12343 w 30857"/>
                  <a:gd name="connsiteY4" fmla="*/ 3086 h 46285"/>
                  <a:gd name="connsiteX5" fmla="*/ 30857 w 30857"/>
                  <a:gd name="connsiteY5" fmla="*/ 37029 h 46285"/>
                  <a:gd name="connsiteX6" fmla="*/ 24685 w 30857"/>
                  <a:gd name="connsiteY6" fmla="*/ 46286 h 46285"/>
                  <a:gd name="connsiteX7" fmla="*/ 24685 w 30857"/>
                  <a:gd name="connsiteY7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46285">
                    <a:moveTo>
                      <a:pt x="24685" y="46286"/>
                    </a:moveTo>
                    <a:cubicBezTo>
                      <a:pt x="21600" y="46286"/>
                      <a:pt x="21600" y="46286"/>
                      <a:pt x="18514" y="43200"/>
                    </a:cubicBezTo>
                    <a:lnTo>
                      <a:pt x="0" y="9258"/>
                    </a:lnTo>
                    <a:cubicBezTo>
                      <a:pt x="0" y="6172"/>
                      <a:pt x="0" y="3086"/>
                      <a:pt x="3086" y="0"/>
                    </a:cubicBezTo>
                    <a:cubicBezTo>
                      <a:pt x="6172" y="0"/>
                      <a:pt x="9257" y="0"/>
                      <a:pt x="12343" y="3086"/>
                    </a:cubicBezTo>
                    <a:lnTo>
                      <a:pt x="30857" y="37029"/>
                    </a:lnTo>
                    <a:cubicBezTo>
                      <a:pt x="30857" y="43200"/>
                      <a:pt x="30857" y="46286"/>
                      <a:pt x="24685" y="46286"/>
                    </a:cubicBezTo>
                    <a:cubicBezTo>
                      <a:pt x="27771" y="46286"/>
                      <a:pt x="24685" y="46286"/>
                      <a:pt x="24685" y="4628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98A37890-A4E1-4B27-A0D1-F4164491EA5B}"/>
                </a:ext>
              </a:extLst>
            </p:cNvPr>
            <p:cNvGrpSpPr/>
            <p:nvPr/>
          </p:nvGrpSpPr>
          <p:grpSpPr>
            <a:xfrm>
              <a:off x="13535093" y="12219610"/>
              <a:ext cx="502972" cy="345600"/>
              <a:chOff x="13535093" y="12219610"/>
              <a:chExt cx="502972" cy="345600"/>
            </a:xfrm>
          </p:grpSpPr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C3A6904F-E0CB-464D-BC92-8888BDF89CEE}"/>
                  </a:ext>
                </a:extLst>
              </p:cNvPr>
              <p:cNvSpPr/>
              <p:nvPr/>
            </p:nvSpPr>
            <p:spPr>
              <a:xfrm>
                <a:off x="13831322" y="12219610"/>
                <a:ext cx="185142" cy="225257"/>
              </a:xfrm>
              <a:custGeom>
                <a:avLst/>
                <a:gdLst>
                  <a:gd name="connsiteX0" fmla="*/ 185143 w 185142"/>
                  <a:gd name="connsiteY0" fmla="*/ 188229 h 225257"/>
                  <a:gd name="connsiteX1" fmla="*/ 185143 w 185142"/>
                  <a:gd name="connsiteY1" fmla="*/ 0 h 225257"/>
                  <a:gd name="connsiteX2" fmla="*/ 0 w 185142"/>
                  <a:gd name="connsiteY2" fmla="*/ 0 h 225257"/>
                  <a:gd name="connsiteX3" fmla="*/ 18514 w 185142"/>
                  <a:gd name="connsiteY3" fmla="*/ 197486 h 225257"/>
                  <a:gd name="connsiteX4" fmla="*/ 172800 w 185142"/>
                  <a:gd name="connsiteY4" fmla="*/ 225258 h 225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142" h="225257">
                    <a:moveTo>
                      <a:pt x="185143" y="188229"/>
                    </a:moveTo>
                    <a:lnTo>
                      <a:pt x="185143" y="0"/>
                    </a:lnTo>
                    <a:lnTo>
                      <a:pt x="0" y="0"/>
                    </a:lnTo>
                    <a:lnTo>
                      <a:pt x="18514" y="197486"/>
                    </a:lnTo>
                    <a:lnTo>
                      <a:pt x="172800" y="225258"/>
                    </a:ln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AEB0F880-B465-47EF-8EE1-9832022563E5}"/>
                  </a:ext>
                </a:extLst>
              </p:cNvPr>
              <p:cNvSpPr/>
              <p:nvPr/>
            </p:nvSpPr>
            <p:spPr>
              <a:xfrm>
                <a:off x="13535093" y="12361553"/>
                <a:ext cx="501942" cy="160457"/>
              </a:xfrm>
              <a:custGeom>
                <a:avLst/>
                <a:gdLst>
                  <a:gd name="connsiteX0" fmla="*/ 493714 w 501942"/>
                  <a:gd name="connsiteY0" fmla="*/ 46286 h 160457"/>
                  <a:gd name="connsiteX1" fmla="*/ 305486 w 501942"/>
                  <a:gd name="connsiteY1" fmla="*/ 0 h 160457"/>
                  <a:gd name="connsiteX2" fmla="*/ 169714 w 501942"/>
                  <a:gd name="connsiteY2" fmla="*/ 80229 h 160457"/>
                  <a:gd name="connsiteX3" fmla="*/ 0 w 501942"/>
                  <a:gd name="connsiteY3" fmla="*/ 160458 h 160457"/>
                  <a:gd name="connsiteX4" fmla="*/ 493714 w 501942"/>
                  <a:gd name="connsiteY4" fmla="*/ 160458 h 160457"/>
                  <a:gd name="connsiteX5" fmla="*/ 493714 w 501942"/>
                  <a:gd name="connsiteY5" fmla="*/ 46286 h 160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942" h="160457">
                    <a:moveTo>
                      <a:pt x="493714" y="46286"/>
                    </a:moveTo>
                    <a:cubicBezTo>
                      <a:pt x="493714" y="46286"/>
                      <a:pt x="367201" y="64800"/>
                      <a:pt x="305486" y="0"/>
                    </a:cubicBezTo>
                    <a:cubicBezTo>
                      <a:pt x="305486" y="0"/>
                      <a:pt x="216000" y="70971"/>
                      <a:pt x="169714" y="80229"/>
                    </a:cubicBezTo>
                    <a:cubicBezTo>
                      <a:pt x="123429" y="89486"/>
                      <a:pt x="12344" y="86400"/>
                      <a:pt x="0" y="160458"/>
                    </a:cubicBezTo>
                    <a:lnTo>
                      <a:pt x="493714" y="160458"/>
                    </a:lnTo>
                    <a:cubicBezTo>
                      <a:pt x="493714" y="157372"/>
                      <a:pt x="512229" y="95657"/>
                      <a:pt x="493714" y="46286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8B022E2F-16DD-4873-9730-5D08FD6D665B}"/>
                  </a:ext>
                </a:extLst>
              </p:cNvPr>
              <p:cNvSpPr/>
              <p:nvPr/>
            </p:nvSpPr>
            <p:spPr>
              <a:xfrm>
                <a:off x="13535094" y="12518925"/>
                <a:ext cx="493714" cy="46285"/>
              </a:xfrm>
              <a:custGeom>
                <a:avLst/>
                <a:gdLst>
                  <a:gd name="connsiteX0" fmla="*/ 0 w 493714"/>
                  <a:gd name="connsiteY0" fmla="*/ 0 h 46285"/>
                  <a:gd name="connsiteX1" fmla="*/ 493714 w 493714"/>
                  <a:gd name="connsiteY1" fmla="*/ 0 h 46285"/>
                  <a:gd name="connsiteX2" fmla="*/ 493714 w 493714"/>
                  <a:gd name="connsiteY2" fmla="*/ 46286 h 46285"/>
                  <a:gd name="connsiteX3" fmla="*/ 0 w 493714"/>
                  <a:gd name="connsiteY3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714" h="46285">
                    <a:moveTo>
                      <a:pt x="0" y="0"/>
                    </a:moveTo>
                    <a:lnTo>
                      <a:pt x="493714" y="0"/>
                    </a:lnTo>
                    <a:lnTo>
                      <a:pt x="493714" y="46286"/>
                    </a:lnTo>
                    <a:lnTo>
                      <a:pt x="0" y="46286"/>
                    </a:ln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BD909020-06D6-44A9-9BEC-81DCA3B3B90B}"/>
                  </a:ext>
                </a:extLst>
              </p:cNvPr>
              <p:cNvSpPr/>
              <p:nvPr/>
            </p:nvSpPr>
            <p:spPr>
              <a:xfrm>
                <a:off x="13835180" y="12349982"/>
                <a:ext cx="202885" cy="64028"/>
              </a:xfrm>
              <a:custGeom>
                <a:avLst/>
                <a:gdLst>
                  <a:gd name="connsiteX0" fmla="*/ 159686 w 202885"/>
                  <a:gd name="connsiteY0" fmla="*/ 64029 h 64028"/>
                  <a:gd name="connsiteX1" fmla="*/ 2314 w 202885"/>
                  <a:gd name="connsiteY1" fmla="*/ 11571 h 64028"/>
                  <a:gd name="connsiteX2" fmla="*/ 2314 w 202885"/>
                  <a:gd name="connsiteY2" fmla="*/ 2314 h 64028"/>
                  <a:gd name="connsiteX3" fmla="*/ 11571 w 202885"/>
                  <a:gd name="connsiteY3" fmla="*/ 2314 h 64028"/>
                  <a:gd name="connsiteX4" fmla="*/ 196714 w 202885"/>
                  <a:gd name="connsiteY4" fmla="*/ 48600 h 64028"/>
                  <a:gd name="connsiteX5" fmla="*/ 202886 w 202885"/>
                  <a:gd name="connsiteY5" fmla="*/ 54771 h 64028"/>
                  <a:gd name="connsiteX6" fmla="*/ 196714 w 202885"/>
                  <a:gd name="connsiteY6" fmla="*/ 60943 h 64028"/>
                  <a:gd name="connsiteX7" fmla="*/ 159686 w 202885"/>
                  <a:gd name="connsiteY7" fmla="*/ 64029 h 6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885" h="64028">
                    <a:moveTo>
                      <a:pt x="159686" y="64029"/>
                    </a:moveTo>
                    <a:cubicBezTo>
                      <a:pt x="119571" y="64029"/>
                      <a:pt x="51686" y="57857"/>
                      <a:pt x="2314" y="11571"/>
                    </a:cubicBezTo>
                    <a:cubicBezTo>
                      <a:pt x="-771" y="8485"/>
                      <a:pt x="-771" y="5399"/>
                      <a:pt x="2314" y="2314"/>
                    </a:cubicBezTo>
                    <a:cubicBezTo>
                      <a:pt x="5400" y="-771"/>
                      <a:pt x="8485" y="-771"/>
                      <a:pt x="11571" y="2314"/>
                    </a:cubicBezTo>
                    <a:cubicBezTo>
                      <a:pt x="79457" y="64029"/>
                      <a:pt x="193628" y="48600"/>
                      <a:pt x="196714" y="48600"/>
                    </a:cubicBezTo>
                    <a:cubicBezTo>
                      <a:pt x="199800" y="48600"/>
                      <a:pt x="202886" y="51685"/>
                      <a:pt x="202886" y="54771"/>
                    </a:cubicBezTo>
                    <a:cubicBezTo>
                      <a:pt x="202886" y="57857"/>
                      <a:pt x="199800" y="60943"/>
                      <a:pt x="196714" y="60943"/>
                    </a:cubicBezTo>
                    <a:cubicBezTo>
                      <a:pt x="193628" y="60943"/>
                      <a:pt x="178200" y="64029"/>
                      <a:pt x="159686" y="640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5D2EE18E-E282-45C0-A749-D9A14B8AAA1F}"/>
                  </a:ext>
                </a:extLst>
              </p:cNvPr>
              <p:cNvSpPr/>
              <p:nvPr/>
            </p:nvSpPr>
            <p:spPr>
              <a:xfrm>
                <a:off x="13801237" y="12377753"/>
                <a:ext cx="38571" cy="42428"/>
              </a:xfrm>
              <a:custGeom>
                <a:avLst/>
                <a:gdLst>
                  <a:gd name="connsiteX0" fmla="*/ 30086 w 38571"/>
                  <a:gd name="connsiteY0" fmla="*/ 42428 h 42428"/>
                  <a:gd name="connsiteX1" fmla="*/ 27000 w 38571"/>
                  <a:gd name="connsiteY1" fmla="*/ 39342 h 42428"/>
                  <a:gd name="connsiteX2" fmla="*/ 2314 w 38571"/>
                  <a:gd name="connsiteY2" fmla="*/ 11571 h 42428"/>
                  <a:gd name="connsiteX3" fmla="*/ 2314 w 38571"/>
                  <a:gd name="connsiteY3" fmla="*/ 2314 h 42428"/>
                  <a:gd name="connsiteX4" fmla="*/ 11571 w 38571"/>
                  <a:gd name="connsiteY4" fmla="*/ 2314 h 42428"/>
                  <a:gd name="connsiteX5" fmla="*/ 36257 w 38571"/>
                  <a:gd name="connsiteY5" fmla="*/ 30086 h 42428"/>
                  <a:gd name="connsiteX6" fmla="*/ 36257 w 38571"/>
                  <a:gd name="connsiteY6" fmla="*/ 39342 h 42428"/>
                  <a:gd name="connsiteX7" fmla="*/ 30086 w 38571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571" h="42428">
                    <a:moveTo>
                      <a:pt x="30086" y="42428"/>
                    </a:moveTo>
                    <a:cubicBezTo>
                      <a:pt x="30086" y="42428"/>
                      <a:pt x="27000" y="42428"/>
                      <a:pt x="27000" y="39342"/>
                    </a:cubicBezTo>
                    <a:lnTo>
                      <a:pt x="2314" y="11571"/>
                    </a:lnTo>
                    <a:cubicBezTo>
                      <a:pt x="-771" y="8485"/>
                      <a:pt x="-771" y="5400"/>
                      <a:pt x="2314" y="2314"/>
                    </a:cubicBezTo>
                    <a:cubicBezTo>
                      <a:pt x="5400" y="-771"/>
                      <a:pt x="8486" y="-771"/>
                      <a:pt x="11571" y="2314"/>
                    </a:cubicBezTo>
                    <a:lnTo>
                      <a:pt x="36257" y="30086"/>
                    </a:lnTo>
                    <a:cubicBezTo>
                      <a:pt x="39343" y="33172"/>
                      <a:pt x="39343" y="36257"/>
                      <a:pt x="36257" y="39342"/>
                    </a:cubicBezTo>
                    <a:cubicBezTo>
                      <a:pt x="33172" y="39342"/>
                      <a:pt x="30086" y="42428"/>
                      <a:pt x="30086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9B30D82F-31C3-4B6D-9257-A0C4B5DFFF9F}"/>
                  </a:ext>
                </a:extLst>
              </p:cNvPr>
              <p:cNvSpPr/>
              <p:nvPr/>
            </p:nvSpPr>
            <p:spPr>
              <a:xfrm>
                <a:off x="13761123" y="12402438"/>
                <a:ext cx="41656" cy="42429"/>
              </a:xfrm>
              <a:custGeom>
                <a:avLst/>
                <a:gdLst>
                  <a:gd name="connsiteX0" fmla="*/ 33172 w 41656"/>
                  <a:gd name="connsiteY0" fmla="*/ 42429 h 42429"/>
                  <a:gd name="connsiteX1" fmla="*/ 30086 w 41656"/>
                  <a:gd name="connsiteY1" fmla="*/ 39343 h 42429"/>
                  <a:gd name="connsiteX2" fmla="*/ 2314 w 41656"/>
                  <a:gd name="connsiteY2" fmla="*/ 11572 h 42429"/>
                  <a:gd name="connsiteX3" fmla="*/ 2314 w 41656"/>
                  <a:gd name="connsiteY3" fmla="*/ 2314 h 42429"/>
                  <a:gd name="connsiteX4" fmla="*/ 11571 w 41656"/>
                  <a:gd name="connsiteY4" fmla="*/ 2314 h 42429"/>
                  <a:gd name="connsiteX5" fmla="*/ 39342 w 41656"/>
                  <a:gd name="connsiteY5" fmla="*/ 30086 h 42429"/>
                  <a:gd name="connsiteX6" fmla="*/ 39342 w 41656"/>
                  <a:gd name="connsiteY6" fmla="*/ 39343 h 42429"/>
                  <a:gd name="connsiteX7" fmla="*/ 33172 w 41656"/>
                  <a:gd name="connsiteY7" fmla="*/ 42429 h 42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6" h="42429">
                    <a:moveTo>
                      <a:pt x="33172" y="42429"/>
                    </a:moveTo>
                    <a:cubicBezTo>
                      <a:pt x="33172" y="42429"/>
                      <a:pt x="30086" y="42429"/>
                      <a:pt x="30086" y="39343"/>
                    </a:cubicBezTo>
                    <a:lnTo>
                      <a:pt x="2314" y="11572"/>
                    </a:ln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399" y="-771"/>
                      <a:pt x="8485" y="-771"/>
                      <a:pt x="11571" y="2314"/>
                    </a:cubicBezTo>
                    <a:lnTo>
                      <a:pt x="39342" y="30086"/>
                    </a:lnTo>
                    <a:cubicBezTo>
                      <a:pt x="42428" y="33172"/>
                      <a:pt x="42428" y="36257"/>
                      <a:pt x="39342" y="39343"/>
                    </a:cubicBezTo>
                    <a:cubicBezTo>
                      <a:pt x="33172" y="42429"/>
                      <a:pt x="33172" y="42429"/>
                      <a:pt x="33172" y="424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4AE8859A-3F34-4FFC-B921-0546148F484C}"/>
                </a:ext>
              </a:extLst>
            </p:cNvPr>
            <p:cNvSpPr/>
            <p:nvPr/>
          </p:nvSpPr>
          <p:spPr>
            <a:xfrm>
              <a:off x="12587780" y="9979381"/>
              <a:ext cx="1544373" cy="2311200"/>
            </a:xfrm>
            <a:custGeom>
              <a:avLst/>
              <a:gdLst>
                <a:gd name="connsiteX0" fmla="*/ 496800 w 1544373"/>
                <a:gd name="connsiteY0" fmla="*/ 18514 h 2311200"/>
                <a:gd name="connsiteX1" fmla="*/ 24685 w 1544373"/>
                <a:gd name="connsiteY1" fmla="*/ 1126286 h 2311200"/>
                <a:gd name="connsiteX2" fmla="*/ 0 w 1544373"/>
                <a:gd name="connsiteY2" fmla="*/ 2156915 h 2311200"/>
                <a:gd name="connsiteX3" fmla="*/ 293143 w 1544373"/>
                <a:gd name="connsiteY3" fmla="*/ 2274172 h 2311200"/>
                <a:gd name="connsiteX4" fmla="*/ 447429 w 1544373"/>
                <a:gd name="connsiteY4" fmla="*/ 1336115 h 2311200"/>
                <a:gd name="connsiteX5" fmla="*/ 999771 w 1544373"/>
                <a:gd name="connsiteY5" fmla="*/ 509143 h 2311200"/>
                <a:gd name="connsiteX6" fmla="*/ 1046057 w 1544373"/>
                <a:gd name="connsiteY6" fmla="*/ 1493487 h 2311200"/>
                <a:gd name="connsiteX7" fmla="*/ 1194171 w 1544373"/>
                <a:gd name="connsiteY7" fmla="*/ 2301943 h 2311200"/>
                <a:gd name="connsiteX8" fmla="*/ 1484229 w 1544373"/>
                <a:gd name="connsiteY8" fmla="*/ 2311201 h 2311200"/>
                <a:gd name="connsiteX9" fmla="*/ 1453372 w 1544373"/>
                <a:gd name="connsiteY9" fmla="*/ 1474972 h 2311200"/>
                <a:gd name="connsiteX10" fmla="*/ 1533600 w 1544373"/>
                <a:gd name="connsiteY10" fmla="*/ 0 h 2311200"/>
                <a:gd name="connsiteX11" fmla="*/ 496800 w 1544373"/>
                <a:gd name="connsiteY11" fmla="*/ 18514 h 231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44373" h="2311200">
                  <a:moveTo>
                    <a:pt x="496800" y="18514"/>
                  </a:moveTo>
                  <a:lnTo>
                    <a:pt x="24685" y="1126286"/>
                  </a:lnTo>
                  <a:lnTo>
                    <a:pt x="0" y="2156915"/>
                  </a:lnTo>
                  <a:lnTo>
                    <a:pt x="293143" y="2274172"/>
                  </a:lnTo>
                  <a:lnTo>
                    <a:pt x="447429" y="1336115"/>
                  </a:lnTo>
                  <a:cubicBezTo>
                    <a:pt x="447429" y="1336115"/>
                    <a:pt x="990515" y="524571"/>
                    <a:pt x="999771" y="509143"/>
                  </a:cubicBezTo>
                  <a:cubicBezTo>
                    <a:pt x="1015200" y="478286"/>
                    <a:pt x="1046057" y="1493487"/>
                    <a:pt x="1046057" y="1493487"/>
                  </a:cubicBezTo>
                  <a:lnTo>
                    <a:pt x="1194171" y="2301943"/>
                  </a:lnTo>
                  <a:lnTo>
                    <a:pt x="1484229" y="2311201"/>
                  </a:lnTo>
                  <a:cubicBezTo>
                    <a:pt x="1484229" y="2311201"/>
                    <a:pt x="1447200" y="1573714"/>
                    <a:pt x="1453372" y="1474972"/>
                  </a:cubicBezTo>
                  <a:cubicBezTo>
                    <a:pt x="1462628" y="1320686"/>
                    <a:pt x="1579885" y="98743"/>
                    <a:pt x="1533600" y="0"/>
                  </a:cubicBezTo>
                  <a:cubicBezTo>
                    <a:pt x="826971" y="30857"/>
                    <a:pt x="496800" y="18514"/>
                    <a:pt x="496800" y="18514"/>
                  </a:cubicBezTo>
                  <a:close/>
                </a:path>
              </a:pathLst>
            </a:custGeom>
            <a:solidFill>
              <a:srgbClr val="F6EBE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7F207735-2D01-4830-91BC-A4D6C254B7B8}"/>
                </a:ext>
              </a:extLst>
            </p:cNvPr>
            <p:cNvSpPr/>
            <p:nvPr/>
          </p:nvSpPr>
          <p:spPr>
            <a:xfrm>
              <a:off x="13522751" y="10127496"/>
              <a:ext cx="70971" cy="367199"/>
            </a:xfrm>
            <a:custGeom>
              <a:avLst/>
              <a:gdLst>
                <a:gd name="connsiteX0" fmla="*/ 64800 w 70971"/>
                <a:gd name="connsiteY0" fmla="*/ 367200 h 367199"/>
                <a:gd name="connsiteX1" fmla="*/ 58628 w 70971"/>
                <a:gd name="connsiteY1" fmla="*/ 364114 h 367199"/>
                <a:gd name="connsiteX2" fmla="*/ 0 w 70971"/>
                <a:gd name="connsiteY2" fmla="*/ 6171 h 367199"/>
                <a:gd name="connsiteX3" fmla="*/ 6172 w 70971"/>
                <a:gd name="connsiteY3" fmla="*/ 0 h 367199"/>
                <a:gd name="connsiteX4" fmla="*/ 12343 w 70971"/>
                <a:gd name="connsiteY4" fmla="*/ 6171 h 367199"/>
                <a:gd name="connsiteX5" fmla="*/ 70972 w 70971"/>
                <a:gd name="connsiteY5" fmla="*/ 361028 h 367199"/>
                <a:gd name="connsiteX6" fmla="*/ 64800 w 70971"/>
                <a:gd name="connsiteY6" fmla="*/ 367200 h 367199"/>
                <a:gd name="connsiteX7" fmla="*/ 64800 w 70971"/>
                <a:gd name="connsiteY7" fmla="*/ 367200 h 367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71" h="367199">
                  <a:moveTo>
                    <a:pt x="64800" y="367200"/>
                  </a:moveTo>
                  <a:cubicBezTo>
                    <a:pt x="61714" y="367200"/>
                    <a:pt x="61714" y="367200"/>
                    <a:pt x="58628" y="364114"/>
                  </a:cubicBezTo>
                  <a:cubicBezTo>
                    <a:pt x="9258" y="246857"/>
                    <a:pt x="0" y="15429"/>
                    <a:pt x="0" y="6171"/>
                  </a:cubicBezTo>
                  <a:cubicBezTo>
                    <a:pt x="0" y="3086"/>
                    <a:pt x="3086" y="0"/>
                    <a:pt x="6172" y="0"/>
                  </a:cubicBezTo>
                  <a:cubicBezTo>
                    <a:pt x="9258" y="0"/>
                    <a:pt x="12343" y="3086"/>
                    <a:pt x="12343" y="6171"/>
                  </a:cubicBezTo>
                  <a:cubicBezTo>
                    <a:pt x="12343" y="9257"/>
                    <a:pt x="21600" y="246857"/>
                    <a:pt x="70972" y="361028"/>
                  </a:cubicBezTo>
                  <a:cubicBezTo>
                    <a:pt x="70972" y="361028"/>
                    <a:pt x="70972" y="364114"/>
                    <a:pt x="64800" y="367200"/>
                  </a:cubicBezTo>
                  <a:cubicBezTo>
                    <a:pt x="67886" y="367200"/>
                    <a:pt x="64800" y="367200"/>
                    <a:pt x="64800" y="367200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DC81E9CD-FA47-4BEB-A978-8FA2663CA29C}"/>
                </a:ext>
              </a:extLst>
            </p:cNvPr>
            <p:cNvSpPr/>
            <p:nvPr/>
          </p:nvSpPr>
          <p:spPr>
            <a:xfrm>
              <a:off x="13411665" y="10056524"/>
              <a:ext cx="157371" cy="357943"/>
            </a:xfrm>
            <a:custGeom>
              <a:avLst/>
              <a:gdLst>
                <a:gd name="connsiteX0" fmla="*/ 148115 w 157371"/>
                <a:gd name="connsiteY0" fmla="*/ 357943 h 357943"/>
                <a:gd name="connsiteX1" fmla="*/ 145029 w 157371"/>
                <a:gd name="connsiteY1" fmla="*/ 357943 h 357943"/>
                <a:gd name="connsiteX2" fmla="*/ 33943 w 157371"/>
                <a:gd name="connsiteY2" fmla="*/ 277714 h 357943"/>
                <a:gd name="connsiteX3" fmla="*/ 0 w 157371"/>
                <a:gd name="connsiteY3" fmla="*/ 6172 h 357943"/>
                <a:gd name="connsiteX4" fmla="*/ 6172 w 157371"/>
                <a:gd name="connsiteY4" fmla="*/ 0 h 357943"/>
                <a:gd name="connsiteX5" fmla="*/ 12344 w 157371"/>
                <a:gd name="connsiteY5" fmla="*/ 6172 h 357943"/>
                <a:gd name="connsiteX6" fmla="*/ 46286 w 157371"/>
                <a:gd name="connsiteY6" fmla="*/ 271543 h 357943"/>
                <a:gd name="connsiteX7" fmla="*/ 154286 w 157371"/>
                <a:gd name="connsiteY7" fmla="*/ 348686 h 357943"/>
                <a:gd name="connsiteX8" fmla="*/ 157372 w 157371"/>
                <a:gd name="connsiteY8" fmla="*/ 357943 h 357943"/>
                <a:gd name="connsiteX9" fmla="*/ 148115 w 157371"/>
                <a:gd name="connsiteY9" fmla="*/ 357943 h 357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1" h="357943">
                  <a:moveTo>
                    <a:pt x="148115" y="357943"/>
                  </a:moveTo>
                  <a:cubicBezTo>
                    <a:pt x="148115" y="357943"/>
                    <a:pt x="145029" y="357943"/>
                    <a:pt x="145029" y="357943"/>
                  </a:cubicBezTo>
                  <a:cubicBezTo>
                    <a:pt x="135772" y="351772"/>
                    <a:pt x="46286" y="293143"/>
                    <a:pt x="33943" y="277714"/>
                  </a:cubicBezTo>
                  <a:cubicBezTo>
                    <a:pt x="21600" y="262286"/>
                    <a:pt x="3086" y="49372"/>
                    <a:pt x="0" y="6172"/>
                  </a:cubicBezTo>
                  <a:cubicBezTo>
                    <a:pt x="0" y="3086"/>
                    <a:pt x="3086" y="0"/>
                    <a:pt x="6172" y="0"/>
                  </a:cubicBezTo>
                  <a:cubicBezTo>
                    <a:pt x="9258" y="0"/>
                    <a:pt x="12344" y="3086"/>
                    <a:pt x="12344" y="6172"/>
                  </a:cubicBezTo>
                  <a:cubicBezTo>
                    <a:pt x="21600" y="101829"/>
                    <a:pt x="37029" y="259201"/>
                    <a:pt x="46286" y="271543"/>
                  </a:cubicBezTo>
                  <a:cubicBezTo>
                    <a:pt x="55543" y="280800"/>
                    <a:pt x="114172" y="324000"/>
                    <a:pt x="154286" y="348686"/>
                  </a:cubicBezTo>
                  <a:cubicBezTo>
                    <a:pt x="157372" y="351772"/>
                    <a:pt x="157372" y="354857"/>
                    <a:pt x="157372" y="357943"/>
                  </a:cubicBezTo>
                  <a:cubicBezTo>
                    <a:pt x="151201" y="357943"/>
                    <a:pt x="148115" y="357943"/>
                    <a:pt x="148115" y="357943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2D746CC9-5095-4938-BF8B-F388103AC9F9}"/>
                </a:ext>
              </a:extLst>
            </p:cNvPr>
            <p:cNvSpPr/>
            <p:nvPr/>
          </p:nvSpPr>
          <p:spPr>
            <a:xfrm>
              <a:off x="13874522" y="10059610"/>
              <a:ext cx="206743" cy="225257"/>
            </a:xfrm>
            <a:custGeom>
              <a:avLst/>
              <a:gdLst>
                <a:gd name="connsiteX0" fmla="*/ 169714 w 206743"/>
                <a:gd name="connsiteY0" fmla="*/ 225258 h 225257"/>
                <a:gd name="connsiteX1" fmla="*/ 166629 w 206743"/>
                <a:gd name="connsiteY1" fmla="*/ 225258 h 225257"/>
                <a:gd name="connsiteX2" fmla="*/ 0 w 206743"/>
                <a:gd name="connsiteY2" fmla="*/ 21600 h 225257"/>
                <a:gd name="connsiteX3" fmla="*/ 0 w 206743"/>
                <a:gd name="connsiteY3" fmla="*/ 18514 h 225257"/>
                <a:gd name="connsiteX4" fmla="*/ 3086 w 206743"/>
                <a:gd name="connsiteY4" fmla="*/ 15429 h 225257"/>
                <a:gd name="connsiteX5" fmla="*/ 49372 w 206743"/>
                <a:gd name="connsiteY5" fmla="*/ 0 h 225257"/>
                <a:gd name="connsiteX6" fmla="*/ 55543 w 206743"/>
                <a:gd name="connsiteY6" fmla="*/ 3086 h 225257"/>
                <a:gd name="connsiteX7" fmla="*/ 203657 w 206743"/>
                <a:gd name="connsiteY7" fmla="*/ 185143 h 225257"/>
                <a:gd name="connsiteX8" fmla="*/ 206743 w 206743"/>
                <a:gd name="connsiteY8" fmla="*/ 188229 h 225257"/>
                <a:gd name="connsiteX9" fmla="*/ 206743 w 206743"/>
                <a:gd name="connsiteY9" fmla="*/ 191315 h 225257"/>
                <a:gd name="connsiteX10" fmla="*/ 175886 w 206743"/>
                <a:gd name="connsiteY10" fmla="*/ 225258 h 225257"/>
                <a:gd name="connsiteX11" fmla="*/ 169714 w 206743"/>
                <a:gd name="connsiteY11" fmla="*/ 225258 h 225257"/>
                <a:gd name="connsiteX12" fmla="*/ 12344 w 206743"/>
                <a:gd name="connsiteY12" fmla="*/ 18514 h 225257"/>
                <a:gd name="connsiteX13" fmla="*/ 169714 w 206743"/>
                <a:gd name="connsiteY13" fmla="*/ 209829 h 225257"/>
                <a:gd name="connsiteX14" fmla="*/ 194401 w 206743"/>
                <a:gd name="connsiteY14" fmla="*/ 185143 h 225257"/>
                <a:gd name="connsiteX15" fmla="*/ 49372 w 206743"/>
                <a:gd name="connsiteY15" fmla="*/ 6172 h 225257"/>
                <a:gd name="connsiteX16" fmla="*/ 12344 w 206743"/>
                <a:gd name="connsiteY16" fmla="*/ 18514 h 225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6743" h="225257">
                  <a:moveTo>
                    <a:pt x="169714" y="225258"/>
                  </a:moveTo>
                  <a:cubicBezTo>
                    <a:pt x="169714" y="225258"/>
                    <a:pt x="166629" y="225258"/>
                    <a:pt x="166629" y="225258"/>
                  </a:cubicBezTo>
                  <a:cubicBezTo>
                    <a:pt x="160458" y="222172"/>
                    <a:pt x="33943" y="114172"/>
                    <a:pt x="0" y="21600"/>
                  </a:cubicBezTo>
                  <a:cubicBezTo>
                    <a:pt x="0" y="21600"/>
                    <a:pt x="0" y="18514"/>
                    <a:pt x="0" y="18514"/>
                  </a:cubicBezTo>
                  <a:cubicBezTo>
                    <a:pt x="0" y="18514"/>
                    <a:pt x="3086" y="15429"/>
                    <a:pt x="3086" y="15429"/>
                  </a:cubicBezTo>
                  <a:lnTo>
                    <a:pt x="49372" y="0"/>
                  </a:lnTo>
                  <a:cubicBezTo>
                    <a:pt x="52458" y="0"/>
                    <a:pt x="55543" y="0"/>
                    <a:pt x="55543" y="3086"/>
                  </a:cubicBezTo>
                  <a:cubicBezTo>
                    <a:pt x="55543" y="3086"/>
                    <a:pt x="117258" y="114172"/>
                    <a:pt x="203657" y="185143"/>
                  </a:cubicBezTo>
                  <a:cubicBezTo>
                    <a:pt x="203657" y="185143"/>
                    <a:pt x="206743" y="188229"/>
                    <a:pt x="206743" y="188229"/>
                  </a:cubicBezTo>
                  <a:cubicBezTo>
                    <a:pt x="206743" y="188229"/>
                    <a:pt x="206743" y="191315"/>
                    <a:pt x="206743" y="191315"/>
                  </a:cubicBezTo>
                  <a:lnTo>
                    <a:pt x="175886" y="225258"/>
                  </a:lnTo>
                  <a:cubicBezTo>
                    <a:pt x="172800" y="222172"/>
                    <a:pt x="169714" y="225258"/>
                    <a:pt x="169714" y="225258"/>
                  </a:cubicBezTo>
                  <a:close/>
                  <a:moveTo>
                    <a:pt x="12344" y="18514"/>
                  </a:moveTo>
                  <a:cubicBezTo>
                    <a:pt x="46286" y="98743"/>
                    <a:pt x="148115" y="191315"/>
                    <a:pt x="169714" y="209829"/>
                  </a:cubicBezTo>
                  <a:lnTo>
                    <a:pt x="194401" y="185143"/>
                  </a:lnTo>
                  <a:cubicBezTo>
                    <a:pt x="117258" y="120343"/>
                    <a:pt x="61714" y="27771"/>
                    <a:pt x="49372" y="6172"/>
                  </a:cubicBezTo>
                  <a:lnTo>
                    <a:pt x="12344" y="18514"/>
                  </a:ln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B149F310-D551-4CEF-99E8-21453D6E929D}"/>
                </a:ext>
              </a:extLst>
            </p:cNvPr>
            <p:cNvSpPr/>
            <p:nvPr/>
          </p:nvSpPr>
          <p:spPr>
            <a:xfrm>
              <a:off x="13035208" y="10062696"/>
              <a:ext cx="98742" cy="104914"/>
            </a:xfrm>
            <a:custGeom>
              <a:avLst/>
              <a:gdLst>
                <a:gd name="connsiteX0" fmla="*/ 6171 w 98742"/>
                <a:gd name="connsiteY0" fmla="*/ 104914 h 104914"/>
                <a:gd name="connsiteX1" fmla="*/ 0 w 98742"/>
                <a:gd name="connsiteY1" fmla="*/ 101828 h 104914"/>
                <a:gd name="connsiteX2" fmla="*/ 3086 w 98742"/>
                <a:gd name="connsiteY2" fmla="*/ 92571 h 104914"/>
                <a:gd name="connsiteX3" fmla="*/ 86400 w 98742"/>
                <a:gd name="connsiteY3" fmla="*/ 46286 h 104914"/>
                <a:gd name="connsiteX4" fmla="*/ 86400 w 98742"/>
                <a:gd name="connsiteY4" fmla="*/ 15429 h 104914"/>
                <a:gd name="connsiteX5" fmla="*/ 21599 w 98742"/>
                <a:gd name="connsiteY5" fmla="*/ 43200 h 104914"/>
                <a:gd name="connsiteX6" fmla="*/ 15429 w 98742"/>
                <a:gd name="connsiteY6" fmla="*/ 40114 h 104914"/>
                <a:gd name="connsiteX7" fmla="*/ 18514 w 98742"/>
                <a:gd name="connsiteY7" fmla="*/ 33943 h 104914"/>
                <a:gd name="connsiteX8" fmla="*/ 89486 w 98742"/>
                <a:gd name="connsiteY8" fmla="*/ 0 h 104914"/>
                <a:gd name="connsiteX9" fmla="*/ 95657 w 98742"/>
                <a:gd name="connsiteY9" fmla="*/ 0 h 104914"/>
                <a:gd name="connsiteX10" fmla="*/ 98742 w 98742"/>
                <a:gd name="connsiteY10" fmla="*/ 6172 h 104914"/>
                <a:gd name="connsiteX11" fmla="*/ 98742 w 98742"/>
                <a:gd name="connsiteY11" fmla="*/ 49372 h 104914"/>
                <a:gd name="connsiteX12" fmla="*/ 95657 w 98742"/>
                <a:gd name="connsiteY12" fmla="*/ 55542 h 104914"/>
                <a:gd name="connsiteX13" fmla="*/ 6171 w 98742"/>
                <a:gd name="connsiteY13" fmla="*/ 104914 h 104914"/>
                <a:gd name="connsiteX14" fmla="*/ 6171 w 98742"/>
                <a:gd name="connsiteY14" fmla="*/ 104914 h 104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8742" h="104914">
                  <a:moveTo>
                    <a:pt x="6171" y="104914"/>
                  </a:moveTo>
                  <a:cubicBezTo>
                    <a:pt x="3086" y="104914"/>
                    <a:pt x="3086" y="104914"/>
                    <a:pt x="0" y="101828"/>
                  </a:cubicBezTo>
                  <a:cubicBezTo>
                    <a:pt x="0" y="98743"/>
                    <a:pt x="0" y="95657"/>
                    <a:pt x="3086" y="92571"/>
                  </a:cubicBezTo>
                  <a:lnTo>
                    <a:pt x="86400" y="46286"/>
                  </a:lnTo>
                  <a:lnTo>
                    <a:pt x="86400" y="15429"/>
                  </a:lnTo>
                  <a:cubicBezTo>
                    <a:pt x="64800" y="27771"/>
                    <a:pt x="24685" y="43200"/>
                    <a:pt x="21599" y="43200"/>
                  </a:cubicBezTo>
                  <a:cubicBezTo>
                    <a:pt x="18514" y="43200"/>
                    <a:pt x="15429" y="43200"/>
                    <a:pt x="15429" y="40114"/>
                  </a:cubicBezTo>
                  <a:cubicBezTo>
                    <a:pt x="15429" y="37029"/>
                    <a:pt x="15429" y="33943"/>
                    <a:pt x="18514" y="33943"/>
                  </a:cubicBezTo>
                  <a:cubicBezTo>
                    <a:pt x="18514" y="33943"/>
                    <a:pt x="74057" y="9257"/>
                    <a:pt x="89486" y="0"/>
                  </a:cubicBezTo>
                  <a:cubicBezTo>
                    <a:pt x="92571" y="0"/>
                    <a:pt x="92571" y="0"/>
                    <a:pt x="95657" y="0"/>
                  </a:cubicBezTo>
                  <a:cubicBezTo>
                    <a:pt x="98742" y="0"/>
                    <a:pt x="98742" y="3086"/>
                    <a:pt x="98742" y="6172"/>
                  </a:cubicBezTo>
                  <a:lnTo>
                    <a:pt x="98742" y="49372"/>
                  </a:lnTo>
                  <a:cubicBezTo>
                    <a:pt x="98742" y="52458"/>
                    <a:pt x="98742" y="52458"/>
                    <a:pt x="95657" y="55542"/>
                  </a:cubicBezTo>
                  <a:lnTo>
                    <a:pt x="6171" y="104914"/>
                  </a:lnTo>
                  <a:cubicBezTo>
                    <a:pt x="9257" y="101828"/>
                    <a:pt x="9257" y="104914"/>
                    <a:pt x="6171" y="104914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261CBFF7-4BB3-4C45-8F17-53155793622D}"/>
                </a:ext>
              </a:extLst>
            </p:cNvPr>
            <p:cNvSpPr/>
            <p:nvPr/>
          </p:nvSpPr>
          <p:spPr>
            <a:xfrm>
              <a:off x="12198980" y="8712841"/>
              <a:ext cx="1052332" cy="973695"/>
            </a:xfrm>
            <a:custGeom>
              <a:avLst/>
              <a:gdLst>
                <a:gd name="connsiteX0" fmla="*/ 993600 w 1052332"/>
                <a:gd name="connsiteY0" fmla="*/ 10655 h 973695"/>
                <a:gd name="connsiteX1" fmla="*/ 700458 w 1052332"/>
                <a:gd name="connsiteY1" fmla="*/ 257513 h 973695"/>
                <a:gd name="connsiteX2" fmla="*/ 518400 w 1052332"/>
                <a:gd name="connsiteY2" fmla="*/ 686427 h 973695"/>
                <a:gd name="connsiteX3" fmla="*/ 98743 w 1052332"/>
                <a:gd name="connsiteY3" fmla="*/ 433398 h 973695"/>
                <a:gd name="connsiteX4" fmla="*/ 0 w 1052332"/>
                <a:gd name="connsiteY4" fmla="*/ 516712 h 973695"/>
                <a:gd name="connsiteX5" fmla="*/ 506057 w 1052332"/>
                <a:gd name="connsiteY5" fmla="*/ 973398 h 973695"/>
                <a:gd name="connsiteX6" fmla="*/ 993600 w 1052332"/>
                <a:gd name="connsiteY6" fmla="*/ 10655 h 973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2332" h="973695">
                  <a:moveTo>
                    <a:pt x="993600" y="10655"/>
                  </a:moveTo>
                  <a:cubicBezTo>
                    <a:pt x="888685" y="-47973"/>
                    <a:pt x="734400" y="149513"/>
                    <a:pt x="700458" y="257513"/>
                  </a:cubicBezTo>
                  <a:cubicBezTo>
                    <a:pt x="654172" y="396370"/>
                    <a:pt x="518400" y="686427"/>
                    <a:pt x="518400" y="686427"/>
                  </a:cubicBezTo>
                  <a:lnTo>
                    <a:pt x="98743" y="433398"/>
                  </a:lnTo>
                  <a:lnTo>
                    <a:pt x="0" y="516712"/>
                  </a:lnTo>
                  <a:cubicBezTo>
                    <a:pt x="0" y="516712"/>
                    <a:pt x="394971" y="964141"/>
                    <a:pt x="506057" y="973398"/>
                  </a:cubicBezTo>
                  <a:cubicBezTo>
                    <a:pt x="697372" y="991912"/>
                    <a:pt x="1228114" y="140255"/>
                    <a:pt x="993600" y="10655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BB48E02E-2F7C-4163-A55F-E2A4887E6ADB}"/>
                </a:ext>
              </a:extLst>
            </p:cNvPr>
            <p:cNvSpPr/>
            <p:nvPr/>
          </p:nvSpPr>
          <p:spPr>
            <a:xfrm>
              <a:off x="12822294" y="8548797"/>
              <a:ext cx="479298" cy="619041"/>
            </a:xfrm>
            <a:custGeom>
              <a:avLst/>
              <a:gdLst>
                <a:gd name="connsiteX0" fmla="*/ 376457 w 479298"/>
                <a:gd name="connsiteY0" fmla="*/ 619042 h 619041"/>
                <a:gd name="connsiteX1" fmla="*/ 438171 w 479298"/>
                <a:gd name="connsiteY1" fmla="*/ 14242 h 619041"/>
                <a:gd name="connsiteX2" fmla="*/ 0 w 479298"/>
                <a:gd name="connsiteY2" fmla="*/ 418471 h 619041"/>
                <a:gd name="connsiteX3" fmla="*/ 376457 w 479298"/>
                <a:gd name="connsiteY3" fmla="*/ 619042 h 619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298" h="619041">
                  <a:moveTo>
                    <a:pt x="376457" y="619042"/>
                  </a:moveTo>
                  <a:cubicBezTo>
                    <a:pt x="376457" y="619042"/>
                    <a:pt x="558514" y="103728"/>
                    <a:pt x="438171" y="14242"/>
                  </a:cubicBezTo>
                  <a:cubicBezTo>
                    <a:pt x="299314" y="-90672"/>
                    <a:pt x="0" y="418471"/>
                    <a:pt x="0" y="418471"/>
                  </a:cubicBezTo>
                  <a:cubicBezTo>
                    <a:pt x="0" y="418471"/>
                    <a:pt x="163542" y="585099"/>
                    <a:pt x="376457" y="619042"/>
                  </a:cubicBezTo>
                  <a:close/>
                </a:path>
              </a:pathLst>
            </a:custGeom>
            <a:solidFill>
              <a:srgbClr val="708686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2BCD3729-E015-4A9A-9282-1583CC625658}"/>
                </a:ext>
              </a:extLst>
            </p:cNvPr>
            <p:cNvSpPr/>
            <p:nvPr/>
          </p:nvSpPr>
          <p:spPr>
            <a:xfrm>
              <a:off x="13448694" y="8288410"/>
              <a:ext cx="253028" cy="261370"/>
            </a:xfrm>
            <a:custGeom>
              <a:avLst/>
              <a:gdLst>
                <a:gd name="connsiteX0" fmla="*/ 0 w 253028"/>
                <a:gd name="connsiteY0" fmla="*/ 40114 h 261370"/>
                <a:gd name="connsiteX1" fmla="*/ 6172 w 253028"/>
                <a:gd name="connsiteY1" fmla="*/ 216000 h 261370"/>
                <a:gd name="connsiteX2" fmla="*/ 253029 w 253028"/>
                <a:gd name="connsiteY2" fmla="*/ 206743 h 261370"/>
                <a:gd name="connsiteX3" fmla="*/ 237600 w 253028"/>
                <a:gd name="connsiteY3" fmla="*/ 0 h 261370"/>
                <a:gd name="connsiteX4" fmla="*/ 0 w 253028"/>
                <a:gd name="connsiteY4" fmla="*/ 40114 h 261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028" h="261370">
                  <a:moveTo>
                    <a:pt x="0" y="40114"/>
                  </a:moveTo>
                  <a:cubicBezTo>
                    <a:pt x="0" y="40114"/>
                    <a:pt x="6172" y="141943"/>
                    <a:pt x="6172" y="216000"/>
                  </a:cubicBezTo>
                  <a:cubicBezTo>
                    <a:pt x="6172" y="216000"/>
                    <a:pt x="101828" y="324000"/>
                    <a:pt x="253029" y="206743"/>
                  </a:cubicBezTo>
                  <a:cubicBezTo>
                    <a:pt x="253029" y="145028"/>
                    <a:pt x="240685" y="64800"/>
                    <a:pt x="237600" y="0"/>
                  </a:cubicBezTo>
                  <a:cubicBezTo>
                    <a:pt x="240685" y="0"/>
                    <a:pt x="52458" y="52457"/>
                    <a:pt x="0" y="40114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70CF4F9B-3E6D-4030-959D-BBE0C98298AB}"/>
                </a:ext>
              </a:extLst>
            </p:cNvPr>
            <p:cNvSpPr/>
            <p:nvPr/>
          </p:nvSpPr>
          <p:spPr>
            <a:xfrm>
              <a:off x="13368465" y="8183496"/>
              <a:ext cx="67886" cy="141942"/>
            </a:xfrm>
            <a:custGeom>
              <a:avLst/>
              <a:gdLst>
                <a:gd name="connsiteX0" fmla="*/ 0 w 67886"/>
                <a:gd name="connsiteY0" fmla="*/ 0 h 141942"/>
                <a:gd name="connsiteX1" fmla="*/ 61714 w 67886"/>
                <a:gd name="connsiteY1" fmla="*/ 141943 h 141942"/>
                <a:gd name="connsiteX2" fmla="*/ 67886 w 67886"/>
                <a:gd name="connsiteY2" fmla="*/ 55542 h 141942"/>
                <a:gd name="connsiteX3" fmla="*/ 0 w 67886"/>
                <a:gd name="connsiteY3" fmla="*/ 0 h 141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86" h="141942">
                  <a:moveTo>
                    <a:pt x="0" y="0"/>
                  </a:moveTo>
                  <a:cubicBezTo>
                    <a:pt x="0" y="0"/>
                    <a:pt x="9258" y="120343"/>
                    <a:pt x="61714" y="141943"/>
                  </a:cubicBezTo>
                  <a:lnTo>
                    <a:pt x="67886" y="555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C851933F-97AB-4F07-B608-B2BBB6A597EE}"/>
                </a:ext>
              </a:extLst>
            </p:cNvPr>
            <p:cNvSpPr/>
            <p:nvPr/>
          </p:nvSpPr>
          <p:spPr>
            <a:xfrm>
              <a:off x="13736303" y="7989096"/>
              <a:ext cx="102055" cy="240664"/>
            </a:xfrm>
            <a:custGeom>
              <a:avLst/>
              <a:gdLst>
                <a:gd name="connsiteX0" fmla="*/ 98106 w 102055"/>
                <a:gd name="connsiteY0" fmla="*/ 0 h 240664"/>
                <a:gd name="connsiteX1" fmla="*/ 48734 w 102055"/>
                <a:gd name="connsiteY1" fmla="*/ 237600 h 240664"/>
                <a:gd name="connsiteX2" fmla="*/ 2448 w 102055"/>
                <a:gd name="connsiteY2" fmla="*/ 12343 h 240664"/>
                <a:gd name="connsiteX3" fmla="*/ 98106 w 102055"/>
                <a:gd name="connsiteY3" fmla="*/ 0 h 24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055" h="240664">
                  <a:moveTo>
                    <a:pt x="98106" y="0"/>
                  </a:moveTo>
                  <a:cubicBezTo>
                    <a:pt x="98106" y="0"/>
                    <a:pt x="122791" y="197486"/>
                    <a:pt x="48734" y="237600"/>
                  </a:cubicBezTo>
                  <a:cubicBezTo>
                    <a:pt x="-16066" y="271543"/>
                    <a:pt x="2448" y="12343"/>
                    <a:pt x="2448" y="12343"/>
                  </a:cubicBezTo>
                  <a:lnTo>
                    <a:pt x="98106" y="0"/>
                  </a:ln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E2B518FB-22B4-43BE-85F7-0FB3FAC84E05}"/>
                </a:ext>
              </a:extLst>
            </p:cNvPr>
            <p:cNvSpPr/>
            <p:nvPr/>
          </p:nvSpPr>
          <p:spPr>
            <a:xfrm>
              <a:off x="13374242" y="7846274"/>
              <a:ext cx="422305" cy="574975"/>
            </a:xfrm>
            <a:custGeom>
              <a:avLst/>
              <a:gdLst>
                <a:gd name="connsiteX0" fmla="*/ 416967 w 422305"/>
                <a:gd name="connsiteY0" fmla="*/ 189108 h 574975"/>
                <a:gd name="connsiteX1" fmla="*/ 410795 w 422305"/>
                <a:gd name="connsiteY1" fmla="*/ 442137 h 574975"/>
                <a:gd name="connsiteX2" fmla="*/ 244166 w 422305"/>
                <a:gd name="connsiteY2" fmla="*/ 574822 h 574975"/>
                <a:gd name="connsiteX3" fmla="*/ 31252 w 422305"/>
                <a:gd name="connsiteY3" fmla="*/ 423622 h 574975"/>
                <a:gd name="connsiteX4" fmla="*/ 395 w 422305"/>
                <a:gd name="connsiteY4" fmla="*/ 195279 h 574975"/>
                <a:gd name="connsiteX5" fmla="*/ 222566 w 422305"/>
                <a:gd name="connsiteY5" fmla="*/ 879 h 574975"/>
                <a:gd name="connsiteX6" fmla="*/ 416967 w 422305"/>
                <a:gd name="connsiteY6" fmla="*/ 189108 h 574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2305" h="574975">
                  <a:moveTo>
                    <a:pt x="416967" y="189108"/>
                  </a:moveTo>
                  <a:cubicBezTo>
                    <a:pt x="416967" y="189108"/>
                    <a:pt x="432395" y="368080"/>
                    <a:pt x="410795" y="442137"/>
                  </a:cubicBezTo>
                  <a:cubicBezTo>
                    <a:pt x="389195" y="506937"/>
                    <a:pt x="296624" y="571737"/>
                    <a:pt x="244166" y="574822"/>
                  </a:cubicBezTo>
                  <a:cubicBezTo>
                    <a:pt x="176280" y="577908"/>
                    <a:pt x="59024" y="534708"/>
                    <a:pt x="31252" y="423622"/>
                  </a:cubicBezTo>
                  <a:cubicBezTo>
                    <a:pt x="12738" y="349565"/>
                    <a:pt x="-2691" y="247736"/>
                    <a:pt x="395" y="195279"/>
                  </a:cubicBezTo>
                  <a:cubicBezTo>
                    <a:pt x="3481" y="99622"/>
                    <a:pt x="34338" y="19394"/>
                    <a:pt x="222566" y="879"/>
                  </a:cubicBezTo>
                  <a:cubicBezTo>
                    <a:pt x="308967" y="-11463"/>
                    <a:pt x="401538" y="108879"/>
                    <a:pt x="416967" y="189108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5253B483-D863-43CF-A4ED-19E2B5B94355}"/>
                </a:ext>
              </a:extLst>
            </p:cNvPr>
            <p:cNvSpPr/>
            <p:nvPr/>
          </p:nvSpPr>
          <p:spPr>
            <a:xfrm>
              <a:off x="13595530" y="8112525"/>
              <a:ext cx="59907" cy="135771"/>
            </a:xfrm>
            <a:custGeom>
              <a:avLst/>
              <a:gdLst>
                <a:gd name="connsiteX0" fmla="*/ 32135 w 59907"/>
                <a:gd name="connsiteY0" fmla="*/ 135771 h 135771"/>
                <a:gd name="connsiteX1" fmla="*/ 4364 w 59907"/>
                <a:gd name="connsiteY1" fmla="*/ 132686 h 135771"/>
                <a:gd name="connsiteX2" fmla="*/ 1278 w 59907"/>
                <a:gd name="connsiteY2" fmla="*/ 126514 h 135771"/>
                <a:gd name="connsiteX3" fmla="*/ 7450 w 59907"/>
                <a:gd name="connsiteY3" fmla="*/ 123429 h 135771"/>
                <a:gd name="connsiteX4" fmla="*/ 47564 w 59907"/>
                <a:gd name="connsiteY4" fmla="*/ 123429 h 135771"/>
                <a:gd name="connsiteX5" fmla="*/ 47564 w 59907"/>
                <a:gd name="connsiteY5" fmla="*/ 120343 h 135771"/>
                <a:gd name="connsiteX6" fmla="*/ 35221 w 59907"/>
                <a:gd name="connsiteY6" fmla="*/ 6171 h 135771"/>
                <a:gd name="connsiteX7" fmla="*/ 41393 w 59907"/>
                <a:gd name="connsiteY7" fmla="*/ 0 h 135771"/>
                <a:gd name="connsiteX8" fmla="*/ 47564 w 59907"/>
                <a:gd name="connsiteY8" fmla="*/ 6171 h 135771"/>
                <a:gd name="connsiteX9" fmla="*/ 59907 w 59907"/>
                <a:gd name="connsiteY9" fmla="*/ 120343 h 135771"/>
                <a:gd name="connsiteX10" fmla="*/ 53735 w 59907"/>
                <a:gd name="connsiteY10" fmla="*/ 132686 h 135771"/>
                <a:gd name="connsiteX11" fmla="*/ 32135 w 59907"/>
                <a:gd name="connsiteY11" fmla="*/ 135771 h 135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907" h="135771">
                  <a:moveTo>
                    <a:pt x="32135" y="135771"/>
                  </a:moveTo>
                  <a:cubicBezTo>
                    <a:pt x="19792" y="135771"/>
                    <a:pt x="7450" y="132686"/>
                    <a:pt x="4364" y="132686"/>
                  </a:cubicBezTo>
                  <a:cubicBezTo>
                    <a:pt x="1278" y="132686"/>
                    <a:pt x="-1807" y="129600"/>
                    <a:pt x="1278" y="126514"/>
                  </a:cubicBezTo>
                  <a:cubicBezTo>
                    <a:pt x="1278" y="123429"/>
                    <a:pt x="4364" y="120343"/>
                    <a:pt x="7450" y="123429"/>
                  </a:cubicBezTo>
                  <a:cubicBezTo>
                    <a:pt x="19792" y="126514"/>
                    <a:pt x="41393" y="129600"/>
                    <a:pt x="47564" y="123429"/>
                  </a:cubicBezTo>
                  <a:cubicBezTo>
                    <a:pt x="47564" y="123429"/>
                    <a:pt x="47564" y="120343"/>
                    <a:pt x="47564" y="120343"/>
                  </a:cubicBezTo>
                  <a:cubicBezTo>
                    <a:pt x="47564" y="101829"/>
                    <a:pt x="35221" y="6171"/>
                    <a:pt x="35221" y="6171"/>
                  </a:cubicBezTo>
                  <a:cubicBezTo>
                    <a:pt x="35221" y="3085"/>
                    <a:pt x="38307" y="0"/>
                    <a:pt x="41393" y="0"/>
                  </a:cubicBezTo>
                  <a:cubicBezTo>
                    <a:pt x="44479" y="0"/>
                    <a:pt x="47564" y="3085"/>
                    <a:pt x="47564" y="6171"/>
                  </a:cubicBezTo>
                  <a:cubicBezTo>
                    <a:pt x="47564" y="9257"/>
                    <a:pt x="59907" y="101829"/>
                    <a:pt x="59907" y="120343"/>
                  </a:cubicBezTo>
                  <a:cubicBezTo>
                    <a:pt x="59907" y="126514"/>
                    <a:pt x="56821" y="129600"/>
                    <a:pt x="53735" y="132686"/>
                  </a:cubicBezTo>
                  <a:cubicBezTo>
                    <a:pt x="50649" y="135771"/>
                    <a:pt x="41393" y="135771"/>
                    <a:pt x="32135" y="135771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EE4E8F91-C519-4A3F-9985-130E21E62DD4}"/>
                </a:ext>
              </a:extLst>
            </p:cNvPr>
            <p:cNvSpPr/>
            <p:nvPr/>
          </p:nvSpPr>
          <p:spPr>
            <a:xfrm>
              <a:off x="13691860" y="8090138"/>
              <a:ext cx="41506" cy="41686"/>
            </a:xfrm>
            <a:custGeom>
              <a:avLst/>
              <a:gdLst>
                <a:gd name="connsiteX0" fmla="*/ 605 w 41506"/>
                <a:gd name="connsiteY0" fmla="*/ 25472 h 41686"/>
                <a:gd name="connsiteX1" fmla="*/ 25292 w 41506"/>
                <a:gd name="connsiteY1" fmla="*/ 40900 h 41686"/>
                <a:gd name="connsiteX2" fmla="*/ 40720 w 41506"/>
                <a:gd name="connsiteY2" fmla="*/ 16215 h 41686"/>
                <a:gd name="connsiteX3" fmla="*/ 16034 w 41506"/>
                <a:gd name="connsiteY3" fmla="*/ 786 h 41686"/>
                <a:gd name="connsiteX4" fmla="*/ 605 w 41506"/>
                <a:gd name="connsiteY4" fmla="*/ 25472 h 41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6" h="41686">
                  <a:moveTo>
                    <a:pt x="605" y="25472"/>
                  </a:moveTo>
                  <a:cubicBezTo>
                    <a:pt x="3691" y="37815"/>
                    <a:pt x="12948" y="43986"/>
                    <a:pt x="25292" y="40900"/>
                  </a:cubicBezTo>
                  <a:cubicBezTo>
                    <a:pt x="37634" y="37815"/>
                    <a:pt x="43805" y="28558"/>
                    <a:pt x="40720" y="16215"/>
                  </a:cubicBezTo>
                  <a:cubicBezTo>
                    <a:pt x="37634" y="3872"/>
                    <a:pt x="28377" y="-2299"/>
                    <a:pt x="16034" y="786"/>
                  </a:cubicBezTo>
                  <a:cubicBezTo>
                    <a:pt x="6777" y="3872"/>
                    <a:pt x="-2481" y="13129"/>
                    <a:pt x="605" y="25472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CA168B30-BC13-4B32-B894-936F8FDBF59F}"/>
                </a:ext>
              </a:extLst>
            </p:cNvPr>
            <p:cNvSpPr/>
            <p:nvPr/>
          </p:nvSpPr>
          <p:spPr>
            <a:xfrm>
              <a:off x="13506536" y="8102481"/>
              <a:ext cx="41687" cy="41687"/>
            </a:xfrm>
            <a:custGeom>
              <a:avLst/>
              <a:gdLst>
                <a:gd name="connsiteX0" fmla="*/ 786 w 41687"/>
                <a:gd name="connsiteY0" fmla="*/ 25472 h 41687"/>
                <a:gd name="connsiteX1" fmla="*/ 25473 w 41687"/>
                <a:gd name="connsiteY1" fmla="*/ 40901 h 41687"/>
                <a:gd name="connsiteX2" fmla="*/ 40901 w 41687"/>
                <a:gd name="connsiteY2" fmla="*/ 16215 h 41687"/>
                <a:gd name="connsiteX3" fmla="*/ 16215 w 41687"/>
                <a:gd name="connsiteY3" fmla="*/ 786 h 41687"/>
                <a:gd name="connsiteX4" fmla="*/ 786 w 41687"/>
                <a:gd name="connsiteY4" fmla="*/ 25472 h 41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87" h="41687">
                  <a:moveTo>
                    <a:pt x="786" y="25472"/>
                  </a:moveTo>
                  <a:cubicBezTo>
                    <a:pt x="3872" y="37815"/>
                    <a:pt x="13129" y="43986"/>
                    <a:pt x="25473" y="40901"/>
                  </a:cubicBezTo>
                  <a:cubicBezTo>
                    <a:pt x="37815" y="37815"/>
                    <a:pt x="43986" y="28558"/>
                    <a:pt x="40901" y="16215"/>
                  </a:cubicBezTo>
                  <a:cubicBezTo>
                    <a:pt x="37815" y="3872"/>
                    <a:pt x="28558" y="-2300"/>
                    <a:pt x="16215" y="786"/>
                  </a:cubicBezTo>
                  <a:cubicBezTo>
                    <a:pt x="3872" y="3872"/>
                    <a:pt x="-2300" y="13129"/>
                    <a:pt x="786" y="25472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73BCF731-B790-4F1A-B3CA-009E477F739E}"/>
                </a:ext>
              </a:extLst>
            </p:cNvPr>
            <p:cNvSpPr/>
            <p:nvPr/>
          </p:nvSpPr>
          <p:spPr>
            <a:xfrm>
              <a:off x="13666502" y="8041916"/>
              <a:ext cx="93078" cy="33579"/>
            </a:xfrm>
            <a:custGeom>
              <a:avLst/>
              <a:gdLst>
                <a:gd name="connsiteX0" fmla="*/ 84592 w 93078"/>
                <a:gd name="connsiteY0" fmla="*/ 33580 h 33579"/>
                <a:gd name="connsiteX1" fmla="*/ 78421 w 93078"/>
                <a:gd name="connsiteY1" fmla="*/ 30494 h 33579"/>
                <a:gd name="connsiteX2" fmla="*/ 10535 w 93078"/>
                <a:gd name="connsiteY2" fmla="*/ 21237 h 33579"/>
                <a:gd name="connsiteX3" fmla="*/ 1278 w 93078"/>
                <a:gd name="connsiteY3" fmla="*/ 18151 h 33579"/>
                <a:gd name="connsiteX4" fmla="*/ 4364 w 93078"/>
                <a:gd name="connsiteY4" fmla="*/ 8894 h 33579"/>
                <a:gd name="connsiteX5" fmla="*/ 90764 w 93078"/>
                <a:gd name="connsiteY5" fmla="*/ 21237 h 33579"/>
                <a:gd name="connsiteX6" fmla="*/ 90764 w 93078"/>
                <a:gd name="connsiteY6" fmla="*/ 33580 h 33579"/>
                <a:gd name="connsiteX7" fmla="*/ 84592 w 93078"/>
                <a:gd name="connsiteY7" fmla="*/ 33580 h 33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3579">
                  <a:moveTo>
                    <a:pt x="84592" y="33580"/>
                  </a:moveTo>
                  <a:cubicBezTo>
                    <a:pt x="81507" y="33580"/>
                    <a:pt x="81507" y="33580"/>
                    <a:pt x="78421" y="30494"/>
                  </a:cubicBezTo>
                  <a:cubicBezTo>
                    <a:pt x="53735" y="2723"/>
                    <a:pt x="10535" y="21237"/>
                    <a:pt x="10535" y="21237"/>
                  </a:cubicBezTo>
                  <a:cubicBezTo>
                    <a:pt x="7449" y="24323"/>
                    <a:pt x="1278" y="21237"/>
                    <a:pt x="1278" y="18151"/>
                  </a:cubicBezTo>
                  <a:cubicBezTo>
                    <a:pt x="-1808" y="15065"/>
                    <a:pt x="1278" y="8894"/>
                    <a:pt x="4364" y="8894"/>
                  </a:cubicBezTo>
                  <a:cubicBezTo>
                    <a:pt x="22878" y="-363"/>
                    <a:pt x="62993" y="-9620"/>
                    <a:pt x="90764" y="21237"/>
                  </a:cubicBezTo>
                  <a:cubicBezTo>
                    <a:pt x="93850" y="24323"/>
                    <a:pt x="93850" y="30494"/>
                    <a:pt x="90764" y="33580"/>
                  </a:cubicBezTo>
                  <a:cubicBezTo>
                    <a:pt x="87678" y="33580"/>
                    <a:pt x="87678" y="33580"/>
                    <a:pt x="84592" y="33580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854185F3-087C-4900-ADCD-F6284A3512B9}"/>
                </a:ext>
              </a:extLst>
            </p:cNvPr>
            <p:cNvSpPr/>
            <p:nvPr/>
          </p:nvSpPr>
          <p:spPr>
            <a:xfrm>
              <a:off x="13474151" y="8035556"/>
              <a:ext cx="91799" cy="33767"/>
            </a:xfrm>
            <a:custGeom>
              <a:avLst/>
              <a:gdLst>
                <a:gd name="connsiteX0" fmla="*/ 8486 w 91799"/>
                <a:gd name="connsiteY0" fmla="*/ 33768 h 33767"/>
                <a:gd name="connsiteX1" fmla="*/ 2314 w 91799"/>
                <a:gd name="connsiteY1" fmla="*/ 30682 h 33767"/>
                <a:gd name="connsiteX2" fmla="*/ 2314 w 91799"/>
                <a:gd name="connsiteY2" fmla="*/ 18339 h 33767"/>
                <a:gd name="connsiteX3" fmla="*/ 88715 w 91799"/>
                <a:gd name="connsiteY3" fmla="*/ 12168 h 33767"/>
                <a:gd name="connsiteX4" fmla="*/ 91800 w 91799"/>
                <a:gd name="connsiteY4" fmla="*/ 24511 h 33767"/>
                <a:gd name="connsiteX5" fmla="*/ 79457 w 91799"/>
                <a:gd name="connsiteY5" fmla="*/ 27596 h 33767"/>
                <a:gd name="connsiteX6" fmla="*/ 11572 w 91799"/>
                <a:gd name="connsiteY6" fmla="*/ 33768 h 33767"/>
                <a:gd name="connsiteX7" fmla="*/ 8486 w 91799"/>
                <a:gd name="connsiteY7" fmla="*/ 33768 h 33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99" h="33767">
                  <a:moveTo>
                    <a:pt x="8486" y="33768"/>
                  </a:moveTo>
                  <a:cubicBezTo>
                    <a:pt x="5400" y="33768"/>
                    <a:pt x="5400" y="33768"/>
                    <a:pt x="2314" y="30682"/>
                  </a:cubicBezTo>
                  <a:cubicBezTo>
                    <a:pt x="-771" y="27596"/>
                    <a:pt x="-771" y="21425"/>
                    <a:pt x="2314" y="18339"/>
                  </a:cubicBezTo>
                  <a:cubicBezTo>
                    <a:pt x="17743" y="5997"/>
                    <a:pt x="51686" y="-12518"/>
                    <a:pt x="88715" y="12168"/>
                  </a:cubicBezTo>
                  <a:cubicBezTo>
                    <a:pt x="91800" y="15254"/>
                    <a:pt x="91800" y="18339"/>
                    <a:pt x="91800" y="24511"/>
                  </a:cubicBezTo>
                  <a:cubicBezTo>
                    <a:pt x="88715" y="27596"/>
                    <a:pt x="85629" y="27596"/>
                    <a:pt x="79457" y="27596"/>
                  </a:cubicBezTo>
                  <a:cubicBezTo>
                    <a:pt x="42429" y="2911"/>
                    <a:pt x="14657" y="30682"/>
                    <a:pt x="11572" y="33768"/>
                  </a:cubicBezTo>
                  <a:cubicBezTo>
                    <a:pt x="11572" y="33768"/>
                    <a:pt x="8486" y="33768"/>
                    <a:pt x="8486" y="33768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E9C71C1E-7304-4D9F-8210-DF9A3CF79539}"/>
                </a:ext>
              </a:extLst>
            </p:cNvPr>
            <p:cNvSpPr/>
            <p:nvPr/>
          </p:nvSpPr>
          <p:spPr>
            <a:xfrm>
              <a:off x="13457951" y="8353210"/>
              <a:ext cx="229714" cy="70971"/>
            </a:xfrm>
            <a:custGeom>
              <a:avLst/>
              <a:gdLst>
                <a:gd name="connsiteX0" fmla="*/ 151201 w 229714"/>
                <a:gd name="connsiteY0" fmla="*/ 70971 h 70971"/>
                <a:gd name="connsiteX1" fmla="*/ 148115 w 229714"/>
                <a:gd name="connsiteY1" fmla="*/ 70971 h 70971"/>
                <a:gd name="connsiteX2" fmla="*/ 3086 w 229714"/>
                <a:gd name="connsiteY2" fmla="*/ 12343 h 70971"/>
                <a:gd name="connsiteX3" fmla="*/ 0 w 229714"/>
                <a:gd name="connsiteY3" fmla="*/ 3085 h 70971"/>
                <a:gd name="connsiteX4" fmla="*/ 9258 w 229714"/>
                <a:gd name="connsiteY4" fmla="*/ 0 h 70971"/>
                <a:gd name="connsiteX5" fmla="*/ 148115 w 229714"/>
                <a:gd name="connsiteY5" fmla="*/ 55542 h 70971"/>
                <a:gd name="connsiteX6" fmla="*/ 219086 w 229714"/>
                <a:gd name="connsiteY6" fmla="*/ 33943 h 70971"/>
                <a:gd name="connsiteX7" fmla="*/ 228344 w 229714"/>
                <a:gd name="connsiteY7" fmla="*/ 33943 h 70971"/>
                <a:gd name="connsiteX8" fmla="*/ 228344 w 229714"/>
                <a:gd name="connsiteY8" fmla="*/ 43200 h 70971"/>
                <a:gd name="connsiteX9" fmla="*/ 151201 w 229714"/>
                <a:gd name="connsiteY9" fmla="*/ 70971 h 70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9714" h="70971">
                  <a:moveTo>
                    <a:pt x="151201" y="70971"/>
                  </a:moveTo>
                  <a:cubicBezTo>
                    <a:pt x="151201" y="70971"/>
                    <a:pt x="148115" y="70971"/>
                    <a:pt x="148115" y="70971"/>
                  </a:cubicBezTo>
                  <a:cubicBezTo>
                    <a:pt x="95657" y="67886"/>
                    <a:pt x="6172" y="15429"/>
                    <a:pt x="3086" y="12343"/>
                  </a:cubicBezTo>
                  <a:cubicBezTo>
                    <a:pt x="0" y="9257"/>
                    <a:pt x="0" y="6171"/>
                    <a:pt x="0" y="3085"/>
                  </a:cubicBezTo>
                  <a:cubicBezTo>
                    <a:pt x="3086" y="0"/>
                    <a:pt x="6172" y="0"/>
                    <a:pt x="9258" y="0"/>
                  </a:cubicBezTo>
                  <a:cubicBezTo>
                    <a:pt x="9258" y="0"/>
                    <a:pt x="98743" y="55542"/>
                    <a:pt x="148115" y="55542"/>
                  </a:cubicBezTo>
                  <a:cubicBezTo>
                    <a:pt x="188229" y="55542"/>
                    <a:pt x="219086" y="33943"/>
                    <a:pt x="219086" y="33943"/>
                  </a:cubicBezTo>
                  <a:cubicBezTo>
                    <a:pt x="222172" y="30857"/>
                    <a:pt x="225258" y="33943"/>
                    <a:pt x="228344" y="33943"/>
                  </a:cubicBezTo>
                  <a:cubicBezTo>
                    <a:pt x="231429" y="37028"/>
                    <a:pt x="228344" y="40114"/>
                    <a:pt x="228344" y="43200"/>
                  </a:cubicBezTo>
                  <a:cubicBezTo>
                    <a:pt x="225258" y="46286"/>
                    <a:pt x="191315" y="70971"/>
                    <a:pt x="151201" y="70971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33707FDF-920F-4621-A386-6B642A156996}"/>
                </a:ext>
              </a:extLst>
            </p:cNvPr>
            <p:cNvSpPr/>
            <p:nvPr/>
          </p:nvSpPr>
          <p:spPr>
            <a:xfrm>
              <a:off x="13336427" y="7865420"/>
              <a:ext cx="115352" cy="268704"/>
            </a:xfrm>
            <a:custGeom>
              <a:avLst/>
              <a:gdLst>
                <a:gd name="connsiteX0" fmla="*/ 115352 w 115352"/>
                <a:gd name="connsiteY0" fmla="*/ 126762 h 268704"/>
                <a:gd name="connsiteX1" fmla="*/ 59809 w 115352"/>
                <a:gd name="connsiteY1" fmla="*/ 268705 h 268704"/>
                <a:gd name="connsiteX2" fmla="*/ 4267 w 115352"/>
                <a:gd name="connsiteY2" fmla="*/ 166876 h 268704"/>
                <a:gd name="connsiteX3" fmla="*/ 69067 w 115352"/>
                <a:gd name="connsiteY3" fmla="*/ 248 h 268704"/>
                <a:gd name="connsiteX4" fmla="*/ 115352 w 115352"/>
                <a:gd name="connsiteY4" fmla="*/ 126762 h 268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52" h="268704">
                  <a:moveTo>
                    <a:pt x="115352" y="126762"/>
                  </a:moveTo>
                  <a:cubicBezTo>
                    <a:pt x="115352" y="126762"/>
                    <a:pt x="53638" y="234762"/>
                    <a:pt x="59809" y="268705"/>
                  </a:cubicBezTo>
                  <a:cubicBezTo>
                    <a:pt x="59809" y="268705"/>
                    <a:pt x="16609" y="222419"/>
                    <a:pt x="4267" y="166876"/>
                  </a:cubicBezTo>
                  <a:cubicBezTo>
                    <a:pt x="-8076" y="105162"/>
                    <a:pt x="4267" y="12590"/>
                    <a:pt x="69067" y="248"/>
                  </a:cubicBezTo>
                  <a:cubicBezTo>
                    <a:pt x="72153" y="-5924"/>
                    <a:pt x="75238" y="105162"/>
                    <a:pt x="115352" y="126762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52E46B1B-E14D-459F-B41E-D26AABEF98BE}"/>
                </a:ext>
              </a:extLst>
            </p:cNvPr>
            <p:cNvSpPr/>
            <p:nvPr/>
          </p:nvSpPr>
          <p:spPr>
            <a:xfrm>
              <a:off x="13395428" y="7752980"/>
              <a:ext cx="438208" cy="362630"/>
            </a:xfrm>
            <a:custGeom>
              <a:avLst/>
              <a:gdLst>
                <a:gd name="connsiteX0" fmla="*/ 56352 w 438208"/>
                <a:gd name="connsiteY0" fmla="*/ 239202 h 362630"/>
                <a:gd name="connsiteX1" fmla="*/ 179781 w 438208"/>
                <a:gd name="connsiteY1" fmla="*/ 205259 h 362630"/>
                <a:gd name="connsiteX2" fmla="*/ 417380 w 438208"/>
                <a:gd name="connsiteY2" fmla="*/ 362630 h 362630"/>
                <a:gd name="connsiteX3" fmla="*/ 429724 w 438208"/>
                <a:gd name="connsiteY3" fmla="*/ 192916 h 362630"/>
                <a:gd name="connsiteX4" fmla="*/ 343323 w 438208"/>
                <a:gd name="connsiteY4" fmla="*/ 38630 h 362630"/>
                <a:gd name="connsiteX5" fmla="*/ 139666 w 438208"/>
                <a:gd name="connsiteY5" fmla="*/ 17031 h 362630"/>
                <a:gd name="connsiteX6" fmla="*/ 13152 w 438208"/>
                <a:gd name="connsiteY6" fmla="*/ 109602 h 362630"/>
                <a:gd name="connsiteX7" fmla="*/ 56352 w 438208"/>
                <a:gd name="connsiteY7" fmla="*/ 239202 h 36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8208" h="362630">
                  <a:moveTo>
                    <a:pt x="56352" y="239202"/>
                  </a:moveTo>
                  <a:cubicBezTo>
                    <a:pt x="56352" y="239202"/>
                    <a:pt x="155094" y="202173"/>
                    <a:pt x="179781" y="205259"/>
                  </a:cubicBezTo>
                  <a:cubicBezTo>
                    <a:pt x="281609" y="211431"/>
                    <a:pt x="435894" y="288573"/>
                    <a:pt x="417380" y="362630"/>
                  </a:cubicBezTo>
                  <a:cubicBezTo>
                    <a:pt x="417380" y="362630"/>
                    <a:pt x="454409" y="260802"/>
                    <a:pt x="429724" y="192916"/>
                  </a:cubicBezTo>
                  <a:cubicBezTo>
                    <a:pt x="429724" y="192916"/>
                    <a:pt x="435894" y="66402"/>
                    <a:pt x="343323" y="38630"/>
                  </a:cubicBezTo>
                  <a:cubicBezTo>
                    <a:pt x="250752" y="10859"/>
                    <a:pt x="213724" y="-19998"/>
                    <a:pt x="139666" y="17031"/>
                  </a:cubicBezTo>
                  <a:cubicBezTo>
                    <a:pt x="65609" y="54059"/>
                    <a:pt x="22409" y="72573"/>
                    <a:pt x="13152" y="109602"/>
                  </a:cubicBezTo>
                  <a:cubicBezTo>
                    <a:pt x="13152" y="106517"/>
                    <a:pt x="-36220" y="220688"/>
                    <a:pt x="56352" y="239202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1262DE30-B5B8-44E6-9387-4104728BFA9D}"/>
                </a:ext>
              </a:extLst>
            </p:cNvPr>
            <p:cNvSpPr/>
            <p:nvPr/>
          </p:nvSpPr>
          <p:spPr>
            <a:xfrm>
              <a:off x="13073763" y="8455039"/>
              <a:ext cx="1047616" cy="1556380"/>
            </a:xfrm>
            <a:custGeom>
              <a:avLst/>
              <a:gdLst>
                <a:gd name="connsiteX0" fmla="*/ 646474 w 1047616"/>
                <a:gd name="connsiteY0" fmla="*/ 0 h 1556380"/>
                <a:gd name="connsiteX1" fmla="*/ 353331 w 1047616"/>
                <a:gd name="connsiteY1" fmla="*/ 0 h 1556380"/>
                <a:gd name="connsiteX2" fmla="*/ 50931 w 1047616"/>
                <a:gd name="connsiteY2" fmla="*/ 132686 h 1556380"/>
                <a:gd name="connsiteX3" fmla="*/ 1559 w 1047616"/>
                <a:gd name="connsiteY3" fmla="*/ 1552115 h 1556380"/>
                <a:gd name="connsiteX4" fmla="*/ 1047616 w 1047616"/>
                <a:gd name="connsiteY4" fmla="*/ 1530515 h 1556380"/>
                <a:gd name="connsiteX5" fmla="*/ 930360 w 1047616"/>
                <a:gd name="connsiteY5" fmla="*/ 104915 h 1556380"/>
                <a:gd name="connsiteX6" fmla="*/ 646474 w 1047616"/>
                <a:gd name="connsiteY6" fmla="*/ 0 h 155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616" h="1556380">
                  <a:moveTo>
                    <a:pt x="646474" y="0"/>
                  </a:moveTo>
                  <a:cubicBezTo>
                    <a:pt x="646474" y="0"/>
                    <a:pt x="470588" y="55543"/>
                    <a:pt x="353331" y="0"/>
                  </a:cubicBezTo>
                  <a:cubicBezTo>
                    <a:pt x="353331" y="0"/>
                    <a:pt x="75616" y="98743"/>
                    <a:pt x="50931" y="132686"/>
                  </a:cubicBezTo>
                  <a:cubicBezTo>
                    <a:pt x="26246" y="163543"/>
                    <a:pt x="-7697" y="1484229"/>
                    <a:pt x="1559" y="1552115"/>
                  </a:cubicBezTo>
                  <a:cubicBezTo>
                    <a:pt x="1559" y="1552115"/>
                    <a:pt x="445902" y="1570628"/>
                    <a:pt x="1047616" y="1530515"/>
                  </a:cubicBezTo>
                  <a:cubicBezTo>
                    <a:pt x="1047616" y="1169486"/>
                    <a:pt x="973559" y="135772"/>
                    <a:pt x="930360" y="104915"/>
                  </a:cubicBezTo>
                  <a:cubicBezTo>
                    <a:pt x="887160" y="74057"/>
                    <a:pt x="646474" y="0"/>
                    <a:pt x="646474" y="0"/>
                  </a:cubicBezTo>
                  <a:close/>
                </a:path>
              </a:pathLst>
            </a:custGeom>
            <a:solidFill>
              <a:srgbClr val="708686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FA468B91-9B5F-4725-9074-E5A37E1F8615}"/>
                </a:ext>
              </a:extLst>
            </p:cNvPr>
            <p:cNvSpPr/>
            <p:nvPr/>
          </p:nvSpPr>
          <p:spPr>
            <a:xfrm>
              <a:off x="13084580" y="8580275"/>
              <a:ext cx="44478" cy="581392"/>
            </a:xfrm>
            <a:custGeom>
              <a:avLst/>
              <a:gdLst>
                <a:gd name="connsiteX0" fmla="*/ 6171 w 44478"/>
                <a:gd name="connsiteY0" fmla="*/ 581393 h 581392"/>
                <a:gd name="connsiteX1" fmla="*/ 6171 w 44478"/>
                <a:gd name="connsiteY1" fmla="*/ 581393 h 581392"/>
                <a:gd name="connsiteX2" fmla="*/ 0 w 44478"/>
                <a:gd name="connsiteY2" fmla="*/ 575221 h 581392"/>
                <a:gd name="connsiteX3" fmla="*/ 33942 w 44478"/>
                <a:gd name="connsiteY3" fmla="*/ 4364 h 581392"/>
                <a:gd name="connsiteX4" fmla="*/ 40114 w 44478"/>
                <a:gd name="connsiteY4" fmla="*/ 1278 h 581392"/>
                <a:gd name="connsiteX5" fmla="*/ 43200 w 44478"/>
                <a:gd name="connsiteY5" fmla="*/ 7450 h 581392"/>
                <a:gd name="connsiteX6" fmla="*/ 9257 w 44478"/>
                <a:gd name="connsiteY6" fmla="*/ 578307 h 581392"/>
                <a:gd name="connsiteX7" fmla="*/ 6171 w 44478"/>
                <a:gd name="connsiteY7" fmla="*/ 581393 h 58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478" h="581392">
                  <a:moveTo>
                    <a:pt x="6171" y="581393"/>
                  </a:moveTo>
                  <a:cubicBezTo>
                    <a:pt x="6171" y="581393"/>
                    <a:pt x="6171" y="581393"/>
                    <a:pt x="6171" y="581393"/>
                  </a:cubicBezTo>
                  <a:cubicBezTo>
                    <a:pt x="3085" y="581393"/>
                    <a:pt x="0" y="578307"/>
                    <a:pt x="0" y="575221"/>
                  </a:cubicBezTo>
                  <a:cubicBezTo>
                    <a:pt x="0" y="553621"/>
                    <a:pt x="24685" y="44478"/>
                    <a:pt x="33942" y="4364"/>
                  </a:cubicBezTo>
                  <a:cubicBezTo>
                    <a:pt x="33942" y="1278"/>
                    <a:pt x="37028" y="-1808"/>
                    <a:pt x="40114" y="1278"/>
                  </a:cubicBezTo>
                  <a:cubicBezTo>
                    <a:pt x="43200" y="1278"/>
                    <a:pt x="46286" y="4364"/>
                    <a:pt x="43200" y="7450"/>
                  </a:cubicBezTo>
                  <a:cubicBezTo>
                    <a:pt x="33942" y="47564"/>
                    <a:pt x="9257" y="572135"/>
                    <a:pt x="9257" y="578307"/>
                  </a:cubicBezTo>
                  <a:cubicBezTo>
                    <a:pt x="12343" y="578307"/>
                    <a:pt x="9257" y="581393"/>
                    <a:pt x="6171" y="581393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E1E68278-DA67-42FA-A70B-FBA04AD0D373}"/>
                </a:ext>
              </a:extLst>
            </p:cNvPr>
            <p:cNvSpPr/>
            <p:nvPr/>
          </p:nvSpPr>
          <p:spPr>
            <a:xfrm>
              <a:off x="13331517" y="8097351"/>
              <a:ext cx="77917" cy="114391"/>
            </a:xfrm>
            <a:custGeom>
              <a:avLst/>
              <a:gdLst>
                <a:gd name="connsiteX0" fmla="*/ 67806 w 77917"/>
                <a:gd name="connsiteY0" fmla="*/ 18259 h 114391"/>
                <a:gd name="connsiteX1" fmla="*/ 9177 w 77917"/>
                <a:gd name="connsiteY1" fmla="*/ 5916 h 114391"/>
                <a:gd name="connsiteX2" fmla="*/ 64720 w 77917"/>
                <a:gd name="connsiteY2" fmla="*/ 110830 h 114391"/>
                <a:gd name="connsiteX3" fmla="*/ 67806 w 77917"/>
                <a:gd name="connsiteY3" fmla="*/ 18259 h 114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917" h="114391">
                  <a:moveTo>
                    <a:pt x="67806" y="18259"/>
                  </a:moveTo>
                  <a:cubicBezTo>
                    <a:pt x="67806" y="18259"/>
                    <a:pt x="33863" y="-12599"/>
                    <a:pt x="9177" y="5916"/>
                  </a:cubicBezTo>
                  <a:cubicBezTo>
                    <a:pt x="-18594" y="24430"/>
                    <a:pt x="21520" y="135516"/>
                    <a:pt x="64720" y="110830"/>
                  </a:cubicBezTo>
                  <a:cubicBezTo>
                    <a:pt x="92492" y="92316"/>
                    <a:pt x="67806" y="18259"/>
                    <a:pt x="67806" y="18259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A6330F25-BAE8-49BB-8C6A-D4AFC7FB0C21}"/>
                </a:ext>
              </a:extLst>
            </p:cNvPr>
            <p:cNvSpPr/>
            <p:nvPr/>
          </p:nvSpPr>
          <p:spPr>
            <a:xfrm>
              <a:off x="12538408" y="12056068"/>
              <a:ext cx="373371" cy="240685"/>
            </a:xfrm>
            <a:custGeom>
              <a:avLst/>
              <a:gdLst>
                <a:gd name="connsiteX0" fmla="*/ 373372 w 373371"/>
                <a:gd name="connsiteY0" fmla="*/ 138857 h 240685"/>
                <a:gd name="connsiteX1" fmla="*/ 324000 w 373371"/>
                <a:gd name="connsiteY1" fmla="*/ 240685 h 240685"/>
                <a:gd name="connsiteX2" fmla="*/ 0 w 373371"/>
                <a:gd name="connsiteY2" fmla="*/ 92571 h 240685"/>
                <a:gd name="connsiteX3" fmla="*/ 43200 w 373371"/>
                <a:gd name="connsiteY3" fmla="*/ 0 h 240685"/>
                <a:gd name="connsiteX4" fmla="*/ 373372 w 373371"/>
                <a:gd name="connsiteY4" fmla="*/ 138857 h 240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371" h="240685">
                  <a:moveTo>
                    <a:pt x="373372" y="138857"/>
                  </a:moveTo>
                  <a:cubicBezTo>
                    <a:pt x="373372" y="138857"/>
                    <a:pt x="354857" y="203657"/>
                    <a:pt x="324000" y="240685"/>
                  </a:cubicBezTo>
                  <a:cubicBezTo>
                    <a:pt x="324000" y="240685"/>
                    <a:pt x="135771" y="194400"/>
                    <a:pt x="0" y="92571"/>
                  </a:cubicBezTo>
                  <a:cubicBezTo>
                    <a:pt x="0" y="92571"/>
                    <a:pt x="18514" y="37028"/>
                    <a:pt x="43200" y="0"/>
                  </a:cubicBezTo>
                  <a:cubicBezTo>
                    <a:pt x="43200" y="0"/>
                    <a:pt x="271543" y="123429"/>
                    <a:pt x="373372" y="138857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0B4C2171-9C4E-44F4-B59F-53B3D7BA90A5}"/>
                </a:ext>
              </a:extLst>
            </p:cNvPr>
            <p:cNvSpPr/>
            <p:nvPr/>
          </p:nvSpPr>
          <p:spPr>
            <a:xfrm>
              <a:off x="13742180" y="12216524"/>
              <a:ext cx="363085" cy="128497"/>
            </a:xfrm>
            <a:custGeom>
              <a:avLst/>
              <a:gdLst>
                <a:gd name="connsiteX0" fmla="*/ 357600 w 363085"/>
                <a:gd name="connsiteY0" fmla="*/ 0 h 128497"/>
                <a:gd name="connsiteX1" fmla="*/ 357600 w 363085"/>
                <a:gd name="connsiteY1" fmla="*/ 111086 h 128497"/>
                <a:gd name="connsiteX2" fmla="*/ 2743 w 363085"/>
                <a:gd name="connsiteY2" fmla="*/ 114172 h 128497"/>
                <a:gd name="connsiteX3" fmla="*/ 2743 w 363085"/>
                <a:gd name="connsiteY3" fmla="*/ 12344 h 128497"/>
                <a:gd name="connsiteX4" fmla="*/ 357600 w 363085"/>
                <a:gd name="connsiteY4" fmla="*/ 0 h 12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3085" h="128497">
                  <a:moveTo>
                    <a:pt x="357600" y="0"/>
                  </a:moveTo>
                  <a:cubicBezTo>
                    <a:pt x="357600" y="0"/>
                    <a:pt x="369943" y="64800"/>
                    <a:pt x="357600" y="111086"/>
                  </a:cubicBezTo>
                  <a:cubicBezTo>
                    <a:pt x="357600" y="111086"/>
                    <a:pt x="166286" y="148115"/>
                    <a:pt x="2743" y="114172"/>
                  </a:cubicBezTo>
                  <a:cubicBezTo>
                    <a:pt x="2743" y="114172"/>
                    <a:pt x="-3429" y="55543"/>
                    <a:pt x="2743" y="12344"/>
                  </a:cubicBezTo>
                  <a:cubicBezTo>
                    <a:pt x="2743" y="12344"/>
                    <a:pt x="258857" y="30857"/>
                    <a:pt x="357600" y="0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122FBFA1-D9D3-4F7C-9B55-E3653003E320}"/>
                </a:ext>
              </a:extLst>
            </p:cNvPr>
            <p:cNvSpPr/>
            <p:nvPr/>
          </p:nvSpPr>
          <p:spPr>
            <a:xfrm>
              <a:off x="13561587" y="8299382"/>
              <a:ext cx="126077" cy="29143"/>
            </a:xfrm>
            <a:custGeom>
              <a:avLst/>
              <a:gdLst>
                <a:gd name="connsiteX0" fmla="*/ 62993 w 126077"/>
                <a:gd name="connsiteY0" fmla="*/ 29143 h 29143"/>
                <a:gd name="connsiteX1" fmla="*/ 4363 w 126077"/>
                <a:gd name="connsiteY1" fmla="*/ 19886 h 29143"/>
                <a:gd name="connsiteX2" fmla="*/ 1278 w 126077"/>
                <a:gd name="connsiteY2" fmla="*/ 10629 h 29143"/>
                <a:gd name="connsiteX3" fmla="*/ 10535 w 126077"/>
                <a:gd name="connsiteY3" fmla="*/ 7543 h 29143"/>
                <a:gd name="connsiteX4" fmla="*/ 115449 w 126077"/>
                <a:gd name="connsiteY4" fmla="*/ 1371 h 29143"/>
                <a:gd name="connsiteX5" fmla="*/ 124707 w 126077"/>
                <a:gd name="connsiteY5" fmla="*/ 1371 h 29143"/>
                <a:gd name="connsiteX6" fmla="*/ 124707 w 126077"/>
                <a:gd name="connsiteY6" fmla="*/ 10629 h 29143"/>
                <a:gd name="connsiteX7" fmla="*/ 62993 w 126077"/>
                <a:gd name="connsiteY7" fmla="*/ 29143 h 29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077" h="29143">
                  <a:moveTo>
                    <a:pt x="62993" y="29143"/>
                  </a:moveTo>
                  <a:cubicBezTo>
                    <a:pt x="32135" y="29143"/>
                    <a:pt x="7449" y="19886"/>
                    <a:pt x="4363" y="19886"/>
                  </a:cubicBezTo>
                  <a:cubicBezTo>
                    <a:pt x="1278" y="19886"/>
                    <a:pt x="-1808" y="13714"/>
                    <a:pt x="1278" y="10629"/>
                  </a:cubicBezTo>
                  <a:cubicBezTo>
                    <a:pt x="1278" y="7543"/>
                    <a:pt x="7449" y="7543"/>
                    <a:pt x="10535" y="7543"/>
                  </a:cubicBezTo>
                  <a:cubicBezTo>
                    <a:pt x="10535" y="7543"/>
                    <a:pt x="75335" y="32228"/>
                    <a:pt x="115449" y="1371"/>
                  </a:cubicBezTo>
                  <a:cubicBezTo>
                    <a:pt x="118535" y="-1714"/>
                    <a:pt x="121621" y="1371"/>
                    <a:pt x="124707" y="1371"/>
                  </a:cubicBezTo>
                  <a:cubicBezTo>
                    <a:pt x="127792" y="4457"/>
                    <a:pt x="124707" y="7543"/>
                    <a:pt x="124707" y="10629"/>
                  </a:cubicBezTo>
                  <a:cubicBezTo>
                    <a:pt x="103106" y="26057"/>
                    <a:pt x="81506" y="29143"/>
                    <a:pt x="62993" y="29143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0E76DB09-B7E6-4358-AE86-F8B33E9BCDF5}"/>
                </a:ext>
              </a:extLst>
            </p:cNvPr>
            <p:cNvGrpSpPr/>
            <p:nvPr/>
          </p:nvGrpSpPr>
          <p:grpSpPr>
            <a:xfrm>
              <a:off x="14740836" y="12179496"/>
              <a:ext cx="368961" cy="378483"/>
              <a:chOff x="14740836" y="12179496"/>
              <a:chExt cx="368961" cy="378483"/>
            </a:xfrm>
          </p:grpSpPr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D0121D0B-F72C-4140-ACB8-954094C83B97}"/>
                  </a:ext>
                </a:extLst>
              </p:cNvPr>
              <p:cNvSpPr/>
              <p:nvPr/>
            </p:nvSpPr>
            <p:spPr>
              <a:xfrm>
                <a:off x="14740836" y="12293667"/>
                <a:ext cx="368961" cy="264312"/>
              </a:xfrm>
              <a:custGeom>
                <a:avLst/>
                <a:gdLst>
                  <a:gd name="connsiteX0" fmla="*/ 229114 w 368961"/>
                  <a:gd name="connsiteY0" fmla="*/ 0 h 264312"/>
                  <a:gd name="connsiteX1" fmla="*/ 108771 w 368961"/>
                  <a:gd name="connsiteY1" fmla="*/ 166629 h 264312"/>
                  <a:gd name="connsiteX2" fmla="*/ 327857 w 368961"/>
                  <a:gd name="connsiteY2" fmla="*/ 37029 h 264312"/>
                  <a:gd name="connsiteX3" fmla="*/ 349458 w 368961"/>
                  <a:gd name="connsiteY3" fmla="*/ 21600 h 264312"/>
                  <a:gd name="connsiteX4" fmla="*/ 367971 w 368961"/>
                  <a:gd name="connsiteY4" fmla="*/ 98743 h 264312"/>
                  <a:gd name="connsiteX5" fmla="*/ 355629 w 368961"/>
                  <a:gd name="connsiteY5" fmla="*/ 237600 h 264312"/>
                  <a:gd name="connsiteX6" fmla="*/ 327857 w 368961"/>
                  <a:gd name="connsiteY6" fmla="*/ 237600 h 264312"/>
                  <a:gd name="connsiteX7" fmla="*/ 312429 w 368961"/>
                  <a:gd name="connsiteY7" fmla="*/ 126514 h 264312"/>
                  <a:gd name="connsiteX8" fmla="*/ 167400 w 368961"/>
                  <a:gd name="connsiteY8" fmla="*/ 259201 h 264312"/>
                  <a:gd name="connsiteX9" fmla="*/ 6943 w 368961"/>
                  <a:gd name="connsiteY9" fmla="*/ 262286 h 264312"/>
                  <a:gd name="connsiteX10" fmla="*/ 6943 w 368961"/>
                  <a:gd name="connsiteY10" fmla="*/ 216000 h 264312"/>
                  <a:gd name="connsiteX11" fmla="*/ 229114 w 368961"/>
                  <a:gd name="connsiteY11" fmla="*/ 0 h 26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8961" h="264312">
                    <a:moveTo>
                      <a:pt x="229114" y="0"/>
                    </a:moveTo>
                    <a:cubicBezTo>
                      <a:pt x="229114" y="0"/>
                      <a:pt x="93343" y="157372"/>
                      <a:pt x="108771" y="166629"/>
                    </a:cubicBezTo>
                    <a:cubicBezTo>
                      <a:pt x="127286" y="175886"/>
                      <a:pt x="327857" y="37029"/>
                      <a:pt x="327857" y="37029"/>
                    </a:cubicBezTo>
                    <a:lnTo>
                      <a:pt x="349458" y="21600"/>
                    </a:lnTo>
                    <a:cubicBezTo>
                      <a:pt x="349458" y="21600"/>
                      <a:pt x="374143" y="70972"/>
                      <a:pt x="367971" y="98743"/>
                    </a:cubicBezTo>
                    <a:cubicBezTo>
                      <a:pt x="361800" y="126514"/>
                      <a:pt x="355629" y="237600"/>
                      <a:pt x="355629" y="237600"/>
                    </a:cubicBezTo>
                    <a:lnTo>
                      <a:pt x="327857" y="237600"/>
                    </a:lnTo>
                    <a:lnTo>
                      <a:pt x="312429" y="126514"/>
                    </a:lnTo>
                    <a:cubicBezTo>
                      <a:pt x="312429" y="126514"/>
                      <a:pt x="189000" y="256115"/>
                      <a:pt x="167400" y="259201"/>
                    </a:cubicBezTo>
                    <a:cubicBezTo>
                      <a:pt x="145800" y="265372"/>
                      <a:pt x="19286" y="265372"/>
                      <a:pt x="6943" y="262286"/>
                    </a:cubicBezTo>
                    <a:cubicBezTo>
                      <a:pt x="-2314" y="262286"/>
                      <a:pt x="-2314" y="222172"/>
                      <a:pt x="6943" y="216000"/>
                    </a:cubicBezTo>
                    <a:cubicBezTo>
                      <a:pt x="87172" y="172800"/>
                      <a:pt x="229114" y="0"/>
                      <a:pt x="229114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2B91F96F-93AB-47F2-A79D-3E6B81D415C6}"/>
                  </a:ext>
                </a:extLst>
              </p:cNvPr>
              <p:cNvSpPr/>
              <p:nvPr/>
            </p:nvSpPr>
            <p:spPr>
              <a:xfrm>
                <a:off x="14847371" y="12179496"/>
                <a:ext cx="249093" cy="279477"/>
              </a:xfrm>
              <a:custGeom>
                <a:avLst/>
                <a:gdLst>
                  <a:gd name="connsiteX0" fmla="*/ 138008 w 249093"/>
                  <a:gd name="connsiteY0" fmla="*/ 0 h 279477"/>
                  <a:gd name="connsiteX1" fmla="*/ 122579 w 249093"/>
                  <a:gd name="connsiteY1" fmla="*/ 111086 h 279477"/>
                  <a:gd name="connsiteX2" fmla="*/ 2237 w 249093"/>
                  <a:gd name="connsiteY2" fmla="*/ 277714 h 279477"/>
                  <a:gd name="connsiteX3" fmla="*/ 239837 w 249093"/>
                  <a:gd name="connsiteY3" fmla="*/ 132685 h 279477"/>
                  <a:gd name="connsiteX4" fmla="*/ 249094 w 249093"/>
                  <a:gd name="connsiteY4" fmla="*/ 0 h 279477"/>
                  <a:gd name="connsiteX5" fmla="*/ 138008 w 249093"/>
                  <a:gd name="connsiteY5" fmla="*/ 0 h 279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9093" h="279477">
                    <a:moveTo>
                      <a:pt x="138008" y="0"/>
                    </a:moveTo>
                    <a:lnTo>
                      <a:pt x="122579" y="111086"/>
                    </a:lnTo>
                    <a:cubicBezTo>
                      <a:pt x="122579" y="111086"/>
                      <a:pt x="-19363" y="262286"/>
                      <a:pt x="2237" y="277714"/>
                    </a:cubicBezTo>
                    <a:cubicBezTo>
                      <a:pt x="23837" y="296229"/>
                      <a:pt x="242923" y="163542"/>
                      <a:pt x="239837" y="132685"/>
                    </a:cubicBezTo>
                    <a:cubicBezTo>
                      <a:pt x="239837" y="83314"/>
                      <a:pt x="249094" y="0"/>
                      <a:pt x="249094" y="0"/>
                    </a:cubicBezTo>
                    <a:lnTo>
                      <a:pt x="138008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5" name="图形 1">
              <a:extLst>
                <a:ext uri="{FF2B5EF4-FFF2-40B4-BE49-F238E27FC236}">
                  <a16:creationId xmlns:a16="http://schemas.microsoft.com/office/drawing/2014/main" id="{7987DDB4-0D43-43B9-8CCF-10901F2031A6}"/>
                </a:ext>
              </a:extLst>
            </p:cNvPr>
            <p:cNvGrpSpPr/>
            <p:nvPr/>
          </p:nvGrpSpPr>
          <p:grpSpPr>
            <a:xfrm>
              <a:off x="16019094" y="11824639"/>
              <a:ext cx="364114" cy="486958"/>
              <a:chOff x="16019094" y="11824639"/>
              <a:chExt cx="364114" cy="486958"/>
            </a:xfrm>
          </p:grpSpPr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AE50561E-7095-4AA3-B692-351510FBD448}"/>
                  </a:ext>
                </a:extLst>
              </p:cNvPr>
              <p:cNvSpPr/>
              <p:nvPr/>
            </p:nvSpPr>
            <p:spPr>
              <a:xfrm>
                <a:off x="16111665" y="11892524"/>
                <a:ext cx="271543" cy="419073"/>
              </a:xfrm>
              <a:custGeom>
                <a:avLst/>
                <a:gdLst>
                  <a:gd name="connsiteX0" fmla="*/ 0 w 271543"/>
                  <a:gd name="connsiteY0" fmla="*/ 95657 h 419073"/>
                  <a:gd name="connsiteX1" fmla="*/ 95657 w 271543"/>
                  <a:gd name="connsiteY1" fmla="*/ 277714 h 419073"/>
                  <a:gd name="connsiteX2" fmla="*/ 77143 w 271543"/>
                  <a:gd name="connsiteY2" fmla="*/ 24686 h 419073"/>
                  <a:gd name="connsiteX3" fmla="*/ 70972 w 271543"/>
                  <a:gd name="connsiteY3" fmla="*/ 0 h 419073"/>
                  <a:gd name="connsiteX4" fmla="*/ 151201 w 271543"/>
                  <a:gd name="connsiteY4" fmla="*/ 18514 h 419073"/>
                  <a:gd name="connsiteX5" fmla="*/ 271543 w 271543"/>
                  <a:gd name="connsiteY5" fmla="*/ 92571 h 419073"/>
                  <a:gd name="connsiteX6" fmla="*/ 259201 w 271543"/>
                  <a:gd name="connsiteY6" fmla="*/ 117258 h 419073"/>
                  <a:gd name="connsiteX7" fmla="*/ 151201 w 271543"/>
                  <a:gd name="connsiteY7" fmla="*/ 83315 h 419073"/>
                  <a:gd name="connsiteX8" fmla="*/ 206743 w 271543"/>
                  <a:gd name="connsiteY8" fmla="*/ 271543 h 419073"/>
                  <a:gd name="connsiteX9" fmla="*/ 138857 w 271543"/>
                  <a:gd name="connsiteY9" fmla="*/ 416571 h 419073"/>
                  <a:gd name="connsiteX10" fmla="*/ 95657 w 271543"/>
                  <a:gd name="connsiteY10" fmla="*/ 394972 h 419073"/>
                  <a:gd name="connsiteX11" fmla="*/ 0 w 271543"/>
                  <a:gd name="connsiteY11" fmla="*/ 95657 h 419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1543" h="419073">
                    <a:moveTo>
                      <a:pt x="0" y="95657"/>
                    </a:moveTo>
                    <a:cubicBezTo>
                      <a:pt x="0" y="95657"/>
                      <a:pt x="80229" y="286972"/>
                      <a:pt x="95657" y="277714"/>
                    </a:cubicBezTo>
                    <a:cubicBezTo>
                      <a:pt x="111086" y="265372"/>
                      <a:pt x="77143" y="24686"/>
                      <a:pt x="77143" y="24686"/>
                    </a:cubicBezTo>
                    <a:lnTo>
                      <a:pt x="70972" y="0"/>
                    </a:lnTo>
                    <a:cubicBezTo>
                      <a:pt x="70972" y="0"/>
                      <a:pt x="126514" y="0"/>
                      <a:pt x="151201" y="18514"/>
                    </a:cubicBezTo>
                    <a:cubicBezTo>
                      <a:pt x="172800" y="33943"/>
                      <a:pt x="271543" y="92571"/>
                      <a:pt x="271543" y="92571"/>
                    </a:cubicBezTo>
                    <a:lnTo>
                      <a:pt x="259201" y="117258"/>
                    </a:lnTo>
                    <a:lnTo>
                      <a:pt x="151201" y="83315"/>
                    </a:lnTo>
                    <a:cubicBezTo>
                      <a:pt x="151201" y="83315"/>
                      <a:pt x="212915" y="249943"/>
                      <a:pt x="206743" y="271543"/>
                    </a:cubicBezTo>
                    <a:cubicBezTo>
                      <a:pt x="200571" y="293143"/>
                      <a:pt x="145029" y="407315"/>
                      <a:pt x="138857" y="416571"/>
                    </a:cubicBezTo>
                    <a:cubicBezTo>
                      <a:pt x="132686" y="425829"/>
                      <a:pt x="98743" y="407315"/>
                      <a:pt x="95657" y="394972"/>
                    </a:cubicBezTo>
                    <a:cubicBezTo>
                      <a:pt x="92571" y="299315"/>
                      <a:pt x="0" y="95657"/>
                      <a:pt x="0" y="95657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2A62468C-20F7-4328-80D9-CB8658637C6F}"/>
                  </a:ext>
                </a:extLst>
              </p:cNvPr>
              <p:cNvSpPr/>
              <p:nvPr/>
            </p:nvSpPr>
            <p:spPr>
              <a:xfrm>
                <a:off x="16019094" y="11824639"/>
                <a:ext cx="199038" cy="346163"/>
              </a:xfrm>
              <a:custGeom>
                <a:avLst/>
                <a:gdLst>
                  <a:gd name="connsiteX0" fmla="*/ 0 w 199038"/>
                  <a:gd name="connsiteY0" fmla="*/ 98742 h 346163"/>
                  <a:gd name="connsiteX1" fmla="*/ 92571 w 199038"/>
                  <a:gd name="connsiteY1" fmla="*/ 163542 h 346163"/>
                  <a:gd name="connsiteX2" fmla="*/ 188229 w 199038"/>
                  <a:gd name="connsiteY2" fmla="*/ 345599 h 346163"/>
                  <a:gd name="connsiteX3" fmla="*/ 163543 w 199038"/>
                  <a:gd name="connsiteY3" fmla="*/ 67885 h 346163"/>
                  <a:gd name="connsiteX4" fmla="*/ 49372 w 199038"/>
                  <a:gd name="connsiteY4" fmla="*/ 0 h 346163"/>
                  <a:gd name="connsiteX5" fmla="*/ 0 w 199038"/>
                  <a:gd name="connsiteY5" fmla="*/ 98742 h 346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9038" h="346163">
                    <a:moveTo>
                      <a:pt x="0" y="98742"/>
                    </a:moveTo>
                    <a:lnTo>
                      <a:pt x="92571" y="163542"/>
                    </a:lnTo>
                    <a:cubicBezTo>
                      <a:pt x="92571" y="163542"/>
                      <a:pt x="163543" y="357943"/>
                      <a:pt x="188229" y="345599"/>
                    </a:cubicBezTo>
                    <a:cubicBezTo>
                      <a:pt x="212915" y="333257"/>
                      <a:pt x="191315" y="80229"/>
                      <a:pt x="163543" y="67885"/>
                    </a:cubicBezTo>
                    <a:cubicBezTo>
                      <a:pt x="120344" y="43200"/>
                      <a:pt x="49372" y="0"/>
                      <a:pt x="49372" y="0"/>
                    </a:cubicBezTo>
                    <a:lnTo>
                      <a:pt x="0" y="98742"/>
                    </a:ln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7B26AD87-0587-46CD-BE76-55F66BDFF431}"/>
                </a:ext>
              </a:extLst>
            </p:cNvPr>
            <p:cNvSpPr/>
            <p:nvPr/>
          </p:nvSpPr>
          <p:spPr>
            <a:xfrm>
              <a:off x="14758915" y="9726353"/>
              <a:ext cx="1414464" cy="2517943"/>
            </a:xfrm>
            <a:custGeom>
              <a:avLst/>
              <a:gdLst>
                <a:gd name="connsiteX0" fmla="*/ 797321 w 1414464"/>
                <a:gd name="connsiteY0" fmla="*/ 0 h 2517943"/>
                <a:gd name="connsiteX1" fmla="*/ 121550 w 1414464"/>
                <a:gd name="connsiteY1" fmla="*/ 0 h 2517943"/>
                <a:gd name="connsiteX2" fmla="*/ 1207 w 1414464"/>
                <a:gd name="connsiteY2" fmla="*/ 465943 h 2517943"/>
                <a:gd name="connsiteX3" fmla="*/ 183264 w 1414464"/>
                <a:gd name="connsiteY3" fmla="*/ 2514857 h 2517943"/>
                <a:gd name="connsiteX4" fmla="*/ 359150 w 1414464"/>
                <a:gd name="connsiteY4" fmla="*/ 2517943 h 2517943"/>
                <a:gd name="connsiteX5" fmla="*/ 467150 w 1414464"/>
                <a:gd name="connsiteY5" fmla="*/ 820800 h 2517943"/>
                <a:gd name="connsiteX6" fmla="*/ 556636 w 1414464"/>
                <a:gd name="connsiteY6" fmla="*/ 1749599 h 2517943"/>
                <a:gd name="connsiteX7" fmla="*/ 584407 w 1414464"/>
                <a:gd name="connsiteY7" fmla="*/ 1792800 h 2517943"/>
                <a:gd name="connsiteX8" fmla="*/ 1306464 w 1414464"/>
                <a:gd name="connsiteY8" fmla="*/ 2277257 h 2517943"/>
                <a:gd name="connsiteX9" fmla="*/ 1414464 w 1414464"/>
                <a:gd name="connsiteY9" fmla="*/ 2085943 h 2517943"/>
                <a:gd name="connsiteX10" fmla="*/ 896064 w 1414464"/>
                <a:gd name="connsiteY10" fmla="*/ 1678628 h 2517943"/>
                <a:gd name="connsiteX11" fmla="*/ 933093 w 1414464"/>
                <a:gd name="connsiteY11" fmla="*/ 422742 h 2517943"/>
                <a:gd name="connsiteX12" fmla="*/ 797321 w 1414464"/>
                <a:gd name="connsiteY12" fmla="*/ 0 h 2517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14464" h="2517943">
                  <a:moveTo>
                    <a:pt x="797321" y="0"/>
                  </a:moveTo>
                  <a:lnTo>
                    <a:pt x="121550" y="0"/>
                  </a:lnTo>
                  <a:cubicBezTo>
                    <a:pt x="121550" y="0"/>
                    <a:pt x="22808" y="308571"/>
                    <a:pt x="1207" y="465943"/>
                  </a:cubicBezTo>
                  <a:cubicBezTo>
                    <a:pt x="-17307" y="620229"/>
                    <a:pt x="183264" y="2514857"/>
                    <a:pt x="183264" y="2514857"/>
                  </a:cubicBezTo>
                  <a:lnTo>
                    <a:pt x="359150" y="2517943"/>
                  </a:lnTo>
                  <a:lnTo>
                    <a:pt x="467150" y="820800"/>
                  </a:lnTo>
                  <a:cubicBezTo>
                    <a:pt x="467150" y="820800"/>
                    <a:pt x="538121" y="1592229"/>
                    <a:pt x="556636" y="1749599"/>
                  </a:cubicBezTo>
                  <a:cubicBezTo>
                    <a:pt x="559722" y="1768114"/>
                    <a:pt x="568978" y="1783543"/>
                    <a:pt x="584407" y="1792800"/>
                  </a:cubicBezTo>
                  <a:lnTo>
                    <a:pt x="1306464" y="2277257"/>
                  </a:lnTo>
                  <a:lnTo>
                    <a:pt x="1414464" y="2085943"/>
                  </a:lnTo>
                  <a:lnTo>
                    <a:pt x="896064" y="1678628"/>
                  </a:lnTo>
                  <a:cubicBezTo>
                    <a:pt x="896064" y="1678628"/>
                    <a:pt x="926922" y="487542"/>
                    <a:pt x="933093" y="422742"/>
                  </a:cubicBezTo>
                  <a:cubicBezTo>
                    <a:pt x="942350" y="299314"/>
                    <a:pt x="797321" y="0"/>
                    <a:pt x="797321" y="0"/>
                  </a:cubicBezTo>
                  <a:close/>
                </a:path>
              </a:pathLst>
            </a:custGeom>
            <a:solidFill>
              <a:srgbClr val="7F95BC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C2D57EDF-9DEF-497A-9335-C1A7F1890885}"/>
                </a:ext>
              </a:extLst>
            </p:cNvPr>
            <p:cNvSpPr/>
            <p:nvPr/>
          </p:nvSpPr>
          <p:spPr>
            <a:xfrm>
              <a:off x="15176694" y="10121324"/>
              <a:ext cx="132685" cy="1231199"/>
            </a:xfrm>
            <a:custGeom>
              <a:avLst/>
              <a:gdLst>
                <a:gd name="connsiteX0" fmla="*/ 126514 w 132685"/>
                <a:gd name="connsiteY0" fmla="*/ 1231200 h 1231199"/>
                <a:gd name="connsiteX1" fmla="*/ 120343 w 132685"/>
                <a:gd name="connsiteY1" fmla="*/ 1228115 h 1231199"/>
                <a:gd name="connsiteX2" fmla="*/ 43200 w 132685"/>
                <a:gd name="connsiteY2" fmla="*/ 428914 h 1231199"/>
                <a:gd name="connsiteX3" fmla="*/ 0 w 132685"/>
                <a:gd name="connsiteY3" fmla="*/ 6172 h 1231199"/>
                <a:gd name="connsiteX4" fmla="*/ 6172 w 132685"/>
                <a:gd name="connsiteY4" fmla="*/ 0 h 1231199"/>
                <a:gd name="connsiteX5" fmla="*/ 12343 w 132685"/>
                <a:gd name="connsiteY5" fmla="*/ 6172 h 1231199"/>
                <a:gd name="connsiteX6" fmla="*/ 55542 w 132685"/>
                <a:gd name="connsiteY6" fmla="*/ 428914 h 1231199"/>
                <a:gd name="connsiteX7" fmla="*/ 132685 w 132685"/>
                <a:gd name="connsiteY7" fmla="*/ 1225029 h 1231199"/>
                <a:gd name="connsiteX8" fmla="*/ 126514 w 132685"/>
                <a:gd name="connsiteY8" fmla="*/ 1231200 h 1231199"/>
                <a:gd name="connsiteX9" fmla="*/ 126514 w 132685"/>
                <a:gd name="connsiteY9" fmla="*/ 1231200 h 1231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2685" h="1231199">
                  <a:moveTo>
                    <a:pt x="126514" y="1231200"/>
                  </a:moveTo>
                  <a:cubicBezTo>
                    <a:pt x="123429" y="1231200"/>
                    <a:pt x="123429" y="1231200"/>
                    <a:pt x="120343" y="1228115"/>
                  </a:cubicBezTo>
                  <a:cubicBezTo>
                    <a:pt x="114172" y="1209600"/>
                    <a:pt x="49372" y="509143"/>
                    <a:pt x="43200" y="428914"/>
                  </a:cubicBezTo>
                  <a:lnTo>
                    <a:pt x="0" y="6172"/>
                  </a:lnTo>
                  <a:cubicBezTo>
                    <a:pt x="0" y="3086"/>
                    <a:pt x="3086" y="0"/>
                    <a:pt x="6172" y="0"/>
                  </a:cubicBezTo>
                  <a:cubicBezTo>
                    <a:pt x="9257" y="0"/>
                    <a:pt x="12343" y="3086"/>
                    <a:pt x="12343" y="6172"/>
                  </a:cubicBezTo>
                  <a:lnTo>
                    <a:pt x="55542" y="428914"/>
                  </a:lnTo>
                  <a:cubicBezTo>
                    <a:pt x="74057" y="644914"/>
                    <a:pt x="126514" y="1206515"/>
                    <a:pt x="132685" y="1225029"/>
                  </a:cubicBezTo>
                  <a:cubicBezTo>
                    <a:pt x="132685" y="1225029"/>
                    <a:pt x="132685" y="1228115"/>
                    <a:pt x="126514" y="1231200"/>
                  </a:cubicBezTo>
                  <a:cubicBezTo>
                    <a:pt x="129600" y="1231200"/>
                    <a:pt x="129600" y="1231200"/>
                    <a:pt x="126514" y="1231200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C94DA514-E9BE-4CB3-B533-0A7391BD0ECB}"/>
                </a:ext>
              </a:extLst>
            </p:cNvPr>
            <p:cNvSpPr/>
            <p:nvPr/>
          </p:nvSpPr>
          <p:spPr>
            <a:xfrm>
              <a:off x="15545608" y="11398810"/>
              <a:ext cx="115543" cy="40114"/>
            </a:xfrm>
            <a:custGeom>
              <a:avLst/>
              <a:gdLst>
                <a:gd name="connsiteX0" fmla="*/ 4457 w 115543"/>
                <a:gd name="connsiteY0" fmla="*/ 40115 h 40114"/>
                <a:gd name="connsiteX1" fmla="*/ 1372 w 115543"/>
                <a:gd name="connsiteY1" fmla="*/ 37029 h 40114"/>
                <a:gd name="connsiteX2" fmla="*/ 1372 w 115543"/>
                <a:gd name="connsiteY2" fmla="*/ 27772 h 40114"/>
                <a:gd name="connsiteX3" fmla="*/ 109372 w 115543"/>
                <a:gd name="connsiteY3" fmla="*/ 0 h 40114"/>
                <a:gd name="connsiteX4" fmla="*/ 115543 w 115543"/>
                <a:gd name="connsiteY4" fmla="*/ 6172 h 40114"/>
                <a:gd name="connsiteX5" fmla="*/ 109372 w 115543"/>
                <a:gd name="connsiteY5" fmla="*/ 12344 h 40114"/>
                <a:gd name="connsiteX6" fmla="*/ 7543 w 115543"/>
                <a:gd name="connsiteY6" fmla="*/ 37029 h 40114"/>
                <a:gd name="connsiteX7" fmla="*/ 4457 w 115543"/>
                <a:gd name="connsiteY7" fmla="*/ 40115 h 4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543" h="40114">
                  <a:moveTo>
                    <a:pt x="4457" y="40115"/>
                  </a:moveTo>
                  <a:cubicBezTo>
                    <a:pt x="1372" y="40115"/>
                    <a:pt x="1372" y="40115"/>
                    <a:pt x="1372" y="37029"/>
                  </a:cubicBezTo>
                  <a:cubicBezTo>
                    <a:pt x="-1714" y="33943"/>
                    <a:pt x="1372" y="30857"/>
                    <a:pt x="1372" y="27772"/>
                  </a:cubicBezTo>
                  <a:cubicBezTo>
                    <a:pt x="32229" y="6172"/>
                    <a:pt x="106286" y="0"/>
                    <a:pt x="109372" y="0"/>
                  </a:cubicBezTo>
                  <a:cubicBezTo>
                    <a:pt x="112457" y="0"/>
                    <a:pt x="115543" y="3086"/>
                    <a:pt x="115543" y="6172"/>
                  </a:cubicBezTo>
                  <a:cubicBezTo>
                    <a:pt x="115543" y="9258"/>
                    <a:pt x="112457" y="12344"/>
                    <a:pt x="109372" y="12344"/>
                  </a:cubicBezTo>
                  <a:cubicBezTo>
                    <a:pt x="109372" y="12344"/>
                    <a:pt x="35315" y="18514"/>
                    <a:pt x="7543" y="37029"/>
                  </a:cubicBezTo>
                  <a:cubicBezTo>
                    <a:pt x="7543" y="40115"/>
                    <a:pt x="4457" y="40115"/>
                    <a:pt x="4457" y="40115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A336B6A5-41E9-4DA9-897A-EFF2EF35DC5F}"/>
                </a:ext>
              </a:extLst>
            </p:cNvPr>
            <p:cNvSpPr/>
            <p:nvPr/>
          </p:nvSpPr>
          <p:spPr>
            <a:xfrm>
              <a:off x="14680436" y="8083386"/>
              <a:ext cx="570651" cy="763663"/>
            </a:xfrm>
            <a:custGeom>
              <a:avLst/>
              <a:gdLst>
                <a:gd name="connsiteX0" fmla="*/ 480830 w 570651"/>
                <a:gd name="connsiteY0" fmla="*/ 470396 h 763663"/>
                <a:gd name="connsiteX1" fmla="*/ 480830 w 570651"/>
                <a:gd name="connsiteY1" fmla="*/ 306853 h 763663"/>
                <a:gd name="connsiteX2" fmla="*/ 530201 w 570651"/>
                <a:gd name="connsiteY2" fmla="*/ 161825 h 763663"/>
                <a:gd name="connsiteX3" fmla="*/ 570315 w 570651"/>
                <a:gd name="connsiteY3" fmla="*/ 10624 h 763663"/>
                <a:gd name="connsiteX4" fmla="*/ 249401 w 570651"/>
                <a:gd name="connsiteY4" fmla="*/ 180339 h 763663"/>
                <a:gd name="connsiteX5" fmla="*/ 246315 w 570651"/>
                <a:gd name="connsiteY5" fmla="*/ 238967 h 763663"/>
                <a:gd name="connsiteX6" fmla="*/ 196943 w 570651"/>
                <a:gd name="connsiteY6" fmla="*/ 294510 h 763663"/>
                <a:gd name="connsiteX7" fmla="*/ 141401 w 570651"/>
                <a:gd name="connsiteY7" fmla="*/ 362396 h 763663"/>
                <a:gd name="connsiteX8" fmla="*/ 138315 w 570651"/>
                <a:gd name="connsiteY8" fmla="*/ 451882 h 763663"/>
                <a:gd name="connsiteX9" fmla="*/ 113630 w 570651"/>
                <a:gd name="connsiteY9" fmla="*/ 525939 h 763663"/>
                <a:gd name="connsiteX10" fmla="*/ 58086 w 570651"/>
                <a:gd name="connsiteY10" fmla="*/ 559882 h 763663"/>
                <a:gd name="connsiteX11" fmla="*/ 17972 w 570651"/>
                <a:gd name="connsiteY11" fmla="*/ 683310 h 763663"/>
                <a:gd name="connsiteX12" fmla="*/ 224716 w 570651"/>
                <a:gd name="connsiteY12" fmla="*/ 717253 h 763663"/>
                <a:gd name="connsiteX13" fmla="*/ 298773 w 570651"/>
                <a:gd name="connsiteY13" fmla="*/ 760453 h 763663"/>
                <a:gd name="connsiteX14" fmla="*/ 394430 w 570651"/>
                <a:gd name="connsiteY14" fmla="*/ 754282 h 763663"/>
                <a:gd name="connsiteX15" fmla="*/ 493172 w 570651"/>
                <a:gd name="connsiteY15" fmla="*/ 596910 h 763663"/>
                <a:gd name="connsiteX16" fmla="*/ 480830 w 570651"/>
                <a:gd name="connsiteY16" fmla="*/ 470396 h 763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0651" h="763663">
                  <a:moveTo>
                    <a:pt x="480830" y="470396"/>
                  </a:moveTo>
                  <a:cubicBezTo>
                    <a:pt x="474658" y="417939"/>
                    <a:pt x="471573" y="362396"/>
                    <a:pt x="480830" y="306853"/>
                  </a:cubicBezTo>
                  <a:cubicBezTo>
                    <a:pt x="490086" y="254396"/>
                    <a:pt x="505515" y="208110"/>
                    <a:pt x="530201" y="161825"/>
                  </a:cubicBezTo>
                  <a:cubicBezTo>
                    <a:pt x="554886" y="112453"/>
                    <a:pt x="573401" y="10624"/>
                    <a:pt x="570315" y="10624"/>
                  </a:cubicBezTo>
                  <a:cubicBezTo>
                    <a:pt x="456144" y="-29490"/>
                    <a:pt x="249401" y="47653"/>
                    <a:pt x="249401" y="180339"/>
                  </a:cubicBezTo>
                  <a:cubicBezTo>
                    <a:pt x="249401" y="201939"/>
                    <a:pt x="252487" y="220453"/>
                    <a:pt x="246315" y="238967"/>
                  </a:cubicBezTo>
                  <a:cubicBezTo>
                    <a:pt x="240144" y="269825"/>
                    <a:pt x="218544" y="279081"/>
                    <a:pt x="196943" y="294510"/>
                  </a:cubicBezTo>
                  <a:cubicBezTo>
                    <a:pt x="172258" y="309939"/>
                    <a:pt x="150658" y="331539"/>
                    <a:pt x="141401" y="362396"/>
                  </a:cubicBezTo>
                  <a:cubicBezTo>
                    <a:pt x="129058" y="393253"/>
                    <a:pt x="135229" y="421024"/>
                    <a:pt x="138315" y="451882"/>
                  </a:cubicBezTo>
                  <a:cubicBezTo>
                    <a:pt x="144487" y="485825"/>
                    <a:pt x="141401" y="507425"/>
                    <a:pt x="113630" y="525939"/>
                  </a:cubicBezTo>
                  <a:cubicBezTo>
                    <a:pt x="95115" y="538282"/>
                    <a:pt x="76601" y="547539"/>
                    <a:pt x="58086" y="559882"/>
                  </a:cubicBezTo>
                  <a:cubicBezTo>
                    <a:pt x="17972" y="584567"/>
                    <a:pt x="-25227" y="640110"/>
                    <a:pt x="17972" y="683310"/>
                  </a:cubicBezTo>
                  <a:cubicBezTo>
                    <a:pt x="73515" y="741939"/>
                    <a:pt x="163001" y="677139"/>
                    <a:pt x="224716" y="717253"/>
                  </a:cubicBezTo>
                  <a:cubicBezTo>
                    <a:pt x="249401" y="732682"/>
                    <a:pt x="267915" y="754282"/>
                    <a:pt x="298773" y="760453"/>
                  </a:cubicBezTo>
                  <a:cubicBezTo>
                    <a:pt x="326544" y="766624"/>
                    <a:pt x="366658" y="763539"/>
                    <a:pt x="394430" y="754282"/>
                  </a:cubicBezTo>
                  <a:cubicBezTo>
                    <a:pt x="449972" y="735767"/>
                    <a:pt x="483915" y="649367"/>
                    <a:pt x="493172" y="596910"/>
                  </a:cubicBezTo>
                  <a:cubicBezTo>
                    <a:pt x="496258" y="556796"/>
                    <a:pt x="487001" y="513596"/>
                    <a:pt x="480830" y="470396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76BF5CFB-E9C1-4C53-B913-1DEFDD99FF44}"/>
                </a:ext>
              </a:extLst>
            </p:cNvPr>
            <p:cNvSpPr/>
            <p:nvPr/>
          </p:nvSpPr>
          <p:spPr>
            <a:xfrm>
              <a:off x="15226543" y="8405542"/>
              <a:ext cx="280943" cy="450602"/>
            </a:xfrm>
            <a:custGeom>
              <a:avLst/>
              <a:gdLst>
                <a:gd name="connsiteX0" fmla="*/ 271065 w 280943"/>
                <a:gd name="connsiteY0" fmla="*/ 351896 h 450602"/>
                <a:gd name="connsiteX1" fmla="*/ 218608 w 280943"/>
                <a:gd name="connsiteY1" fmla="*/ 293268 h 450602"/>
                <a:gd name="connsiteX2" fmla="*/ 227865 w 280943"/>
                <a:gd name="connsiteY2" fmla="*/ 197611 h 450602"/>
                <a:gd name="connsiteX3" fmla="*/ 193922 w 280943"/>
                <a:gd name="connsiteY3" fmla="*/ 21725 h 450602"/>
                <a:gd name="connsiteX4" fmla="*/ 197008 w 280943"/>
                <a:gd name="connsiteY4" fmla="*/ 9382 h 450602"/>
                <a:gd name="connsiteX5" fmla="*/ 184665 w 280943"/>
                <a:gd name="connsiteY5" fmla="*/ 3211 h 450602"/>
                <a:gd name="connsiteX6" fmla="*/ 175407 w 280943"/>
                <a:gd name="connsiteY6" fmla="*/ 12468 h 450602"/>
                <a:gd name="connsiteX7" fmla="*/ 178493 w 280943"/>
                <a:gd name="connsiteY7" fmla="*/ 24811 h 450602"/>
                <a:gd name="connsiteX8" fmla="*/ 126037 w 280943"/>
                <a:gd name="connsiteY8" fmla="*/ 92697 h 450602"/>
                <a:gd name="connsiteX9" fmla="*/ 85922 w 280943"/>
                <a:gd name="connsiteY9" fmla="*/ 163668 h 450602"/>
                <a:gd name="connsiteX10" fmla="*/ 5693 w 280943"/>
                <a:gd name="connsiteY10" fmla="*/ 321039 h 450602"/>
                <a:gd name="connsiteX11" fmla="*/ 122951 w 280943"/>
                <a:gd name="connsiteY11" fmla="*/ 444468 h 450602"/>
                <a:gd name="connsiteX12" fmla="*/ 221693 w 280943"/>
                <a:gd name="connsiteY12" fmla="*/ 447554 h 450602"/>
                <a:gd name="connsiteX13" fmla="*/ 264894 w 280943"/>
                <a:gd name="connsiteY13" fmla="*/ 429039 h 450602"/>
                <a:gd name="connsiteX14" fmla="*/ 271065 w 280943"/>
                <a:gd name="connsiteY14" fmla="*/ 351896 h 450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0943" h="450602">
                  <a:moveTo>
                    <a:pt x="271065" y="351896"/>
                  </a:moveTo>
                  <a:cubicBezTo>
                    <a:pt x="258722" y="330297"/>
                    <a:pt x="230951" y="317954"/>
                    <a:pt x="218608" y="293268"/>
                  </a:cubicBezTo>
                  <a:cubicBezTo>
                    <a:pt x="206264" y="262411"/>
                    <a:pt x="227865" y="228468"/>
                    <a:pt x="227865" y="197611"/>
                  </a:cubicBezTo>
                  <a:cubicBezTo>
                    <a:pt x="234037" y="142068"/>
                    <a:pt x="209350" y="77268"/>
                    <a:pt x="193922" y="21725"/>
                  </a:cubicBezTo>
                  <a:cubicBezTo>
                    <a:pt x="193922" y="18639"/>
                    <a:pt x="197008" y="12468"/>
                    <a:pt x="197008" y="9382"/>
                  </a:cubicBezTo>
                  <a:cubicBezTo>
                    <a:pt x="197008" y="125"/>
                    <a:pt x="187751" y="-2961"/>
                    <a:pt x="184665" y="3211"/>
                  </a:cubicBezTo>
                  <a:cubicBezTo>
                    <a:pt x="178493" y="3211"/>
                    <a:pt x="172322" y="6297"/>
                    <a:pt x="175407" y="12468"/>
                  </a:cubicBezTo>
                  <a:cubicBezTo>
                    <a:pt x="175407" y="15554"/>
                    <a:pt x="178493" y="18639"/>
                    <a:pt x="178493" y="24811"/>
                  </a:cubicBezTo>
                  <a:cubicBezTo>
                    <a:pt x="169236" y="52582"/>
                    <a:pt x="144550" y="71097"/>
                    <a:pt x="126037" y="92697"/>
                  </a:cubicBezTo>
                  <a:cubicBezTo>
                    <a:pt x="107522" y="114297"/>
                    <a:pt x="98264" y="138982"/>
                    <a:pt x="85922" y="163668"/>
                  </a:cubicBezTo>
                  <a:cubicBezTo>
                    <a:pt x="61236" y="216125"/>
                    <a:pt x="21121" y="265496"/>
                    <a:pt x="5693" y="321039"/>
                  </a:cubicBezTo>
                  <a:cubicBezTo>
                    <a:pt x="-18992" y="401268"/>
                    <a:pt x="39636" y="472240"/>
                    <a:pt x="122951" y="444468"/>
                  </a:cubicBezTo>
                  <a:cubicBezTo>
                    <a:pt x="163065" y="432125"/>
                    <a:pt x="184665" y="447554"/>
                    <a:pt x="221693" y="447554"/>
                  </a:cubicBezTo>
                  <a:cubicBezTo>
                    <a:pt x="237121" y="447554"/>
                    <a:pt x="252550" y="441382"/>
                    <a:pt x="264894" y="429039"/>
                  </a:cubicBezTo>
                  <a:cubicBezTo>
                    <a:pt x="283407" y="404353"/>
                    <a:pt x="286493" y="373496"/>
                    <a:pt x="271065" y="351896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D9EEC15F-D79C-445A-8467-651FB34C5BE0}"/>
                </a:ext>
              </a:extLst>
            </p:cNvPr>
            <p:cNvSpPr/>
            <p:nvPr/>
          </p:nvSpPr>
          <p:spPr>
            <a:xfrm>
              <a:off x="14088349" y="9041831"/>
              <a:ext cx="840075" cy="684013"/>
            </a:xfrm>
            <a:custGeom>
              <a:avLst/>
              <a:gdLst>
                <a:gd name="connsiteX0" fmla="*/ 659431 w 840075"/>
                <a:gd name="connsiteY0" fmla="*/ 36522 h 684013"/>
                <a:gd name="connsiteX1" fmla="*/ 437259 w 840075"/>
                <a:gd name="connsiteY1" fmla="*/ 502464 h 684013"/>
                <a:gd name="connsiteX2" fmla="*/ 14517 w 840075"/>
                <a:gd name="connsiteY2" fmla="*/ 520979 h 684013"/>
                <a:gd name="connsiteX3" fmla="*/ 29945 w 840075"/>
                <a:gd name="connsiteY3" fmla="*/ 622808 h 684013"/>
                <a:gd name="connsiteX4" fmla="*/ 563774 w 840075"/>
                <a:gd name="connsiteY4" fmla="*/ 659836 h 684013"/>
                <a:gd name="connsiteX5" fmla="*/ 838402 w 840075"/>
                <a:gd name="connsiteY5" fmla="*/ 181550 h 684013"/>
                <a:gd name="connsiteX6" fmla="*/ 659431 w 840075"/>
                <a:gd name="connsiteY6" fmla="*/ 36522 h 68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0075" h="684013">
                  <a:moveTo>
                    <a:pt x="659431" y="36522"/>
                  </a:moveTo>
                  <a:cubicBezTo>
                    <a:pt x="588459" y="95150"/>
                    <a:pt x="437259" y="502464"/>
                    <a:pt x="437259" y="502464"/>
                  </a:cubicBezTo>
                  <a:cubicBezTo>
                    <a:pt x="437259" y="502464"/>
                    <a:pt x="17602" y="514807"/>
                    <a:pt x="14517" y="520979"/>
                  </a:cubicBezTo>
                  <a:cubicBezTo>
                    <a:pt x="-16340" y="585779"/>
                    <a:pt x="8345" y="558007"/>
                    <a:pt x="29945" y="622808"/>
                  </a:cubicBezTo>
                  <a:cubicBezTo>
                    <a:pt x="33030" y="632064"/>
                    <a:pt x="347774" y="727722"/>
                    <a:pt x="563774" y="659836"/>
                  </a:cubicBezTo>
                  <a:cubicBezTo>
                    <a:pt x="628574" y="638236"/>
                    <a:pt x="819888" y="351265"/>
                    <a:pt x="838402" y="181550"/>
                  </a:cubicBezTo>
                  <a:cubicBezTo>
                    <a:pt x="850745" y="95150"/>
                    <a:pt x="795202" y="-74564"/>
                    <a:pt x="659431" y="36522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AA0A3A7D-2A90-49FE-AC57-B1BB52DDD929}"/>
                </a:ext>
              </a:extLst>
            </p:cNvPr>
            <p:cNvSpPr/>
            <p:nvPr/>
          </p:nvSpPr>
          <p:spPr>
            <a:xfrm>
              <a:off x="13894153" y="9510718"/>
              <a:ext cx="240385" cy="173623"/>
            </a:xfrm>
            <a:custGeom>
              <a:avLst/>
              <a:gdLst>
                <a:gd name="connsiteX0" fmla="*/ 91455 w 240385"/>
                <a:gd name="connsiteY0" fmla="*/ 169350 h 173623"/>
                <a:gd name="connsiteX1" fmla="*/ 224141 w 240385"/>
                <a:gd name="connsiteY1" fmla="*/ 157007 h 173623"/>
                <a:gd name="connsiteX2" fmla="*/ 239570 w 240385"/>
                <a:gd name="connsiteY2" fmla="*/ 55178 h 173623"/>
                <a:gd name="connsiteX3" fmla="*/ 8141 w 240385"/>
                <a:gd name="connsiteY3" fmla="*/ 5807 h 173623"/>
                <a:gd name="connsiteX4" fmla="*/ 8141 w 240385"/>
                <a:gd name="connsiteY4" fmla="*/ 49007 h 173623"/>
                <a:gd name="connsiteX5" fmla="*/ 1970 w 240385"/>
                <a:gd name="connsiteY5" fmla="*/ 98378 h 173623"/>
                <a:gd name="connsiteX6" fmla="*/ 20484 w 240385"/>
                <a:gd name="connsiteY6" fmla="*/ 126150 h 173623"/>
                <a:gd name="connsiteX7" fmla="*/ 54427 w 240385"/>
                <a:gd name="connsiteY7" fmla="*/ 160092 h 173623"/>
                <a:gd name="connsiteX8" fmla="*/ 91455 w 240385"/>
                <a:gd name="connsiteY8" fmla="*/ 169350 h 173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0385" h="173623">
                  <a:moveTo>
                    <a:pt x="91455" y="169350"/>
                  </a:moveTo>
                  <a:cubicBezTo>
                    <a:pt x="128484" y="169350"/>
                    <a:pt x="193284" y="184779"/>
                    <a:pt x="224141" y="157007"/>
                  </a:cubicBezTo>
                  <a:cubicBezTo>
                    <a:pt x="245741" y="138493"/>
                    <a:pt x="239570" y="55178"/>
                    <a:pt x="239570" y="55178"/>
                  </a:cubicBezTo>
                  <a:cubicBezTo>
                    <a:pt x="214884" y="-15793"/>
                    <a:pt x="63684" y="-364"/>
                    <a:pt x="8141" y="5807"/>
                  </a:cubicBezTo>
                  <a:cubicBezTo>
                    <a:pt x="-1116" y="5807"/>
                    <a:pt x="-4202" y="45921"/>
                    <a:pt x="8141" y="49007"/>
                  </a:cubicBezTo>
                  <a:cubicBezTo>
                    <a:pt x="26655" y="52093"/>
                    <a:pt x="-1116" y="86035"/>
                    <a:pt x="1970" y="98378"/>
                  </a:cubicBezTo>
                  <a:cubicBezTo>
                    <a:pt x="5056" y="107636"/>
                    <a:pt x="20484" y="123064"/>
                    <a:pt x="20484" y="126150"/>
                  </a:cubicBezTo>
                  <a:cubicBezTo>
                    <a:pt x="29741" y="138493"/>
                    <a:pt x="51341" y="150835"/>
                    <a:pt x="54427" y="160092"/>
                  </a:cubicBezTo>
                  <a:cubicBezTo>
                    <a:pt x="60598" y="166264"/>
                    <a:pt x="66770" y="169350"/>
                    <a:pt x="91455" y="169350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717A3CCF-D272-4192-A185-C14A86037E30}"/>
                </a:ext>
              </a:extLst>
            </p:cNvPr>
            <p:cNvSpPr/>
            <p:nvPr/>
          </p:nvSpPr>
          <p:spPr>
            <a:xfrm>
              <a:off x="13956176" y="9522284"/>
              <a:ext cx="132790" cy="84977"/>
            </a:xfrm>
            <a:custGeom>
              <a:avLst/>
              <a:gdLst>
                <a:gd name="connsiteX0" fmla="*/ 7833 w 132790"/>
                <a:gd name="connsiteY0" fmla="*/ 83726 h 84977"/>
                <a:gd name="connsiteX1" fmla="*/ 29432 w 132790"/>
                <a:gd name="connsiteY1" fmla="*/ 68298 h 84977"/>
                <a:gd name="connsiteX2" fmla="*/ 81890 w 132790"/>
                <a:gd name="connsiteY2" fmla="*/ 52869 h 84977"/>
                <a:gd name="connsiteX3" fmla="*/ 131261 w 132790"/>
                <a:gd name="connsiteY3" fmla="*/ 77555 h 84977"/>
                <a:gd name="connsiteX4" fmla="*/ 115833 w 132790"/>
                <a:gd name="connsiteY4" fmla="*/ 9669 h 84977"/>
                <a:gd name="connsiteX5" fmla="*/ 20175 w 132790"/>
                <a:gd name="connsiteY5" fmla="*/ 15841 h 84977"/>
                <a:gd name="connsiteX6" fmla="*/ 7833 w 132790"/>
                <a:gd name="connsiteY6" fmla="*/ 83726 h 8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790" h="84977">
                  <a:moveTo>
                    <a:pt x="7833" y="83726"/>
                  </a:moveTo>
                  <a:cubicBezTo>
                    <a:pt x="17089" y="89898"/>
                    <a:pt x="23261" y="71384"/>
                    <a:pt x="29432" y="68298"/>
                  </a:cubicBezTo>
                  <a:cubicBezTo>
                    <a:pt x="44861" y="55955"/>
                    <a:pt x="60289" y="46698"/>
                    <a:pt x="81890" y="52869"/>
                  </a:cubicBezTo>
                  <a:cubicBezTo>
                    <a:pt x="94232" y="55955"/>
                    <a:pt x="118918" y="71384"/>
                    <a:pt x="131261" y="77555"/>
                  </a:cubicBezTo>
                  <a:cubicBezTo>
                    <a:pt x="134346" y="80641"/>
                    <a:pt x="134346" y="18927"/>
                    <a:pt x="115833" y="9669"/>
                  </a:cubicBezTo>
                  <a:cubicBezTo>
                    <a:pt x="91146" y="-2674"/>
                    <a:pt x="41775" y="-5759"/>
                    <a:pt x="20175" y="15841"/>
                  </a:cubicBezTo>
                  <a:cubicBezTo>
                    <a:pt x="7833" y="22012"/>
                    <a:pt x="-10682" y="74469"/>
                    <a:pt x="7833" y="83726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D5BA7A05-DF1E-4BE9-8F40-192EB4D09116}"/>
                </a:ext>
              </a:extLst>
            </p:cNvPr>
            <p:cNvSpPr/>
            <p:nvPr/>
          </p:nvSpPr>
          <p:spPr>
            <a:xfrm>
              <a:off x="13949397" y="9511143"/>
              <a:ext cx="130060" cy="104124"/>
            </a:xfrm>
            <a:custGeom>
              <a:avLst/>
              <a:gdLst>
                <a:gd name="connsiteX0" fmla="*/ 113354 w 130060"/>
                <a:gd name="connsiteY0" fmla="*/ 104125 h 104124"/>
                <a:gd name="connsiteX1" fmla="*/ 113354 w 130060"/>
                <a:gd name="connsiteY1" fmla="*/ 104125 h 104124"/>
                <a:gd name="connsiteX2" fmla="*/ 85583 w 130060"/>
                <a:gd name="connsiteY2" fmla="*/ 67096 h 104124"/>
                <a:gd name="connsiteX3" fmla="*/ 39297 w 130060"/>
                <a:gd name="connsiteY3" fmla="*/ 88696 h 104124"/>
                <a:gd name="connsiteX4" fmla="*/ 14612 w 130060"/>
                <a:gd name="connsiteY4" fmla="*/ 101039 h 104124"/>
                <a:gd name="connsiteX5" fmla="*/ 2268 w 130060"/>
                <a:gd name="connsiteY5" fmla="*/ 88696 h 104124"/>
                <a:gd name="connsiteX6" fmla="*/ 23868 w 130060"/>
                <a:gd name="connsiteY6" fmla="*/ 17725 h 104124"/>
                <a:gd name="connsiteX7" fmla="*/ 125697 w 130060"/>
                <a:gd name="connsiteY7" fmla="*/ 11553 h 104124"/>
                <a:gd name="connsiteX8" fmla="*/ 128782 w 130060"/>
                <a:gd name="connsiteY8" fmla="*/ 17725 h 104124"/>
                <a:gd name="connsiteX9" fmla="*/ 122612 w 130060"/>
                <a:gd name="connsiteY9" fmla="*/ 20811 h 104124"/>
                <a:gd name="connsiteX10" fmla="*/ 33125 w 130060"/>
                <a:gd name="connsiteY10" fmla="*/ 23896 h 104124"/>
                <a:gd name="connsiteX11" fmla="*/ 14612 w 130060"/>
                <a:gd name="connsiteY11" fmla="*/ 82525 h 104124"/>
                <a:gd name="connsiteX12" fmla="*/ 17697 w 130060"/>
                <a:gd name="connsiteY12" fmla="*/ 85610 h 104124"/>
                <a:gd name="connsiteX13" fmla="*/ 33125 w 130060"/>
                <a:gd name="connsiteY13" fmla="*/ 76354 h 104124"/>
                <a:gd name="connsiteX14" fmla="*/ 94839 w 130060"/>
                <a:gd name="connsiteY14" fmla="*/ 54753 h 104124"/>
                <a:gd name="connsiteX15" fmla="*/ 97925 w 130060"/>
                <a:gd name="connsiteY15" fmla="*/ 57839 h 104124"/>
                <a:gd name="connsiteX16" fmla="*/ 116440 w 130060"/>
                <a:gd name="connsiteY16" fmla="*/ 88696 h 104124"/>
                <a:gd name="connsiteX17" fmla="*/ 119526 w 130060"/>
                <a:gd name="connsiteY17" fmla="*/ 97953 h 104124"/>
                <a:gd name="connsiteX18" fmla="*/ 113354 w 130060"/>
                <a:gd name="connsiteY18" fmla="*/ 104125 h 104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0060" h="104124">
                  <a:moveTo>
                    <a:pt x="113354" y="104125"/>
                  </a:moveTo>
                  <a:cubicBezTo>
                    <a:pt x="110268" y="104125"/>
                    <a:pt x="110268" y="104125"/>
                    <a:pt x="113354" y="104125"/>
                  </a:cubicBezTo>
                  <a:cubicBezTo>
                    <a:pt x="94839" y="94868"/>
                    <a:pt x="88669" y="76354"/>
                    <a:pt x="85583" y="67096"/>
                  </a:cubicBezTo>
                  <a:cubicBezTo>
                    <a:pt x="63982" y="64010"/>
                    <a:pt x="51640" y="76354"/>
                    <a:pt x="39297" y="88696"/>
                  </a:cubicBezTo>
                  <a:cubicBezTo>
                    <a:pt x="30040" y="97953"/>
                    <a:pt x="23868" y="104125"/>
                    <a:pt x="14612" y="101039"/>
                  </a:cubicBezTo>
                  <a:cubicBezTo>
                    <a:pt x="8440" y="101039"/>
                    <a:pt x="5354" y="94868"/>
                    <a:pt x="2268" y="88696"/>
                  </a:cubicBezTo>
                  <a:cubicBezTo>
                    <a:pt x="-3903" y="73268"/>
                    <a:pt x="2268" y="42410"/>
                    <a:pt x="23868" y="17725"/>
                  </a:cubicBezTo>
                  <a:cubicBezTo>
                    <a:pt x="51640" y="-16218"/>
                    <a:pt x="122612" y="8467"/>
                    <a:pt x="125697" y="11553"/>
                  </a:cubicBezTo>
                  <a:cubicBezTo>
                    <a:pt x="128782" y="11553"/>
                    <a:pt x="131868" y="14639"/>
                    <a:pt x="128782" y="17725"/>
                  </a:cubicBezTo>
                  <a:cubicBezTo>
                    <a:pt x="128782" y="20811"/>
                    <a:pt x="122612" y="23896"/>
                    <a:pt x="122612" y="20811"/>
                  </a:cubicBezTo>
                  <a:cubicBezTo>
                    <a:pt x="104097" y="14639"/>
                    <a:pt x="51640" y="2296"/>
                    <a:pt x="33125" y="23896"/>
                  </a:cubicBezTo>
                  <a:cubicBezTo>
                    <a:pt x="14612" y="45496"/>
                    <a:pt x="11526" y="73268"/>
                    <a:pt x="14612" y="82525"/>
                  </a:cubicBezTo>
                  <a:cubicBezTo>
                    <a:pt x="14612" y="85610"/>
                    <a:pt x="17697" y="85610"/>
                    <a:pt x="17697" y="85610"/>
                  </a:cubicBezTo>
                  <a:cubicBezTo>
                    <a:pt x="20782" y="85610"/>
                    <a:pt x="26954" y="79439"/>
                    <a:pt x="33125" y="76354"/>
                  </a:cubicBezTo>
                  <a:cubicBezTo>
                    <a:pt x="45469" y="64010"/>
                    <a:pt x="63982" y="48582"/>
                    <a:pt x="94839" y="54753"/>
                  </a:cubicBezTo>
                  <a:cubicBezTo>
                    <a:pt x="97925" y="54753"/>
                    <a:pt x="97925" y="57839"/>
                    <a:pt x="97925" y="57839"/>
                  </a:cubicBezTo>
                  <a:cubicBezTo>
                    <a:pt x="97925" y="64010"/>
                    <a:pt x="107183" y="85610"/>
                    <a:pt x="116440" y="88696"/>
                  </a:cubicBezTo>
                  <a:cubicBezTo>
                    <a:pt x="119526" y="88696"/>
                    <a:pt x="119526" y="94868"/>
                    <a:pt x="119526" y="97953"/>
                  </a:cubicBezTo>
                  <a:cubicBezTo>
                    <a:pt x="116440" y="104125"/>
                    <a:pt x="113354" y="104125"/>
                    <a:pt x="113354" y="104125"/>
                  </a:cubicBezTo>
                  <a:close/>
                </a:path>
              </a:pathLst>
            </a:custGeom>
            <a:solidFill>
              <a:srgbClr val="E58777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4423BBEE-BDB3-4130-B702-922EAFE11F1E}"/>
                </a:ext>
              </a:extLst>
            </p:cNvPr>
            <p:cNvSpPr/>
            <p:nvPr/>
          </p:nvSpPr>
          <p:spPr>
            <a:xfrm>
              <a:off x="14618179" y="8835953"/>
              <a:ext cx="372347" cy="509305"/>
            </a:xfrm>
            <a:custGeom>
              <a:avLst/>
              <a:gdLst>
                <a:gd name="connsiteX0" fmla="*/ 354857 w 372347"/>
                <a:gd name="connsiteY0" fmla="*/ 507772 h 509305"/>
                <a:gd name="connsiteX1" fmla="*/ 305486 w 372347"/>
                <a:gd name="connsiteY1" fmla="*/ 4800 h 509305"/>
                <a:gd name="connsiteX2" fmla="*/ 0 w 372347"/>
                <a:gd name="connsiteY2" fmla="*/ 372000 h 509305"/>
                <a:gd name="connsiteX3" fmla="*/ 354857 w 372347"/>
                <a:gd name="connsiteY3" fmla="*/ 507772 h 509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2347" h="509305">
                  <a:moveTo>
                    <a:pt x="354857" y="507772"/>
                  </a:moveTo>
                  <a:cubicBezTo>
                    <a:pt x="385714" y="322629"/>
                    <a:pt x="379543" y="35657"/>
                    <a:pt x="305486" y="4800"/>
                  </a:cubicBezTo>
                  <a:cubicBezTo>
                    <a:pt x="206743" y="-35314"/>
                    <a:pt x="70972" y="183772"/>
                    <a:pt x="0" y="372000"/>
                  </a:cubicBezTo>
                  <a:cubicBezTo>
                    <a:pt x="61714" y="418286"/>
                    <a:pt x="253029" y="523200"/>
                    <a:pt x="354857" y="507772"/>
                  </a:cubicBezTo>
                  <a:close/>
                </a:path>
              </a:pathLst>
            </a:custGeom>
            <a:solidFill>
              <a:srgbClr val="D16156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97643839-0216-4AE3-8A00-11DAB45A5941}"/>
                </a:ext>
              </a:extLst>
            </p:cNvPr>
            <p:cNvSpPr/>
            <p:nvPr/>
          </p:nvSpPr>
          <p:spPr>
            <a:xfrm>
              <a:off x="14776672" y="8765263"/>
              <a:ext cx="830520" cy="998209"/>
            </a:xfrm>
            <a:custGeom>
              <a:avLst/>
              <a:gdLst>
                <a:gd name="connsiteX0" fmla="*/ 785736 w 830520"/>
                <a:gd name="connsiteY0" fmla="*/ 396404 h 998209"/>
                <a:gd name="connsiteX1" fmla="*/ 770308 w 830520"/>
                <a:gd name="connsiteY1" fmla="*/ 69318 h 998209"/>
                <a:gd name="connsiteX2" fmla="*/ 396936 w 830520"/>
                <a:gd name="connsiteY2" fmla="*/ 4519 h 998209"/>
                <a:gd name="connsiteX3" fmla="*/ 91451 w 830520"/>
                <a:gd name="connsiteY3" fmla="*/ 106347 h 998209"/>
                <a:gd name="connsiteX4" fmla="*/ 51337 w 830520"/>
                <a:gd name="connsiteY4" fmla="*/ 661776 h 998209"/>
                <a:gd name="connsiteX5" fmla="*/ 94537 w 830520"/>
                <a:gd name="connsiteY5" fmla="*/ 991947 h 998209"/>
                <a:gd name="connsiteX6" fmla="*/ 779565 w 830520"/>
                <a:gd name="connsiteY6" fmla="*/ 976519 h 998209"/>
                <a:gd name="connsiteX7" fmla="*/ 785736 w 830520"/>
                <a:gd name="connsiteY7" fmla="*/ 396404 h 998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0520" h="998209">
                  <a:moveTo>
                    <a:pt x="785736" y="396404"/>
                  </a:moveTo>
                  <a:cubicBezTo>
                    <a:pt x="794993" y="365547"/>
                    <a:pt x="890651" y="134119"/>
                    <a:pt x="770308" y="69318"/>
                  </a:cubicBezTo>
                  <a:cubicBezTo>
                    <a:pt x="665394" y="13775"/>
                    <a:pt x="517279" y="-10910"/>
                    <a:pt x="396936" y="4519"/>
                  </a:cubicBezTo>
                  <a:cubicBezTo>
                    <a:pt x="264251" y="19947"/>
                    <a:pt x="131565" y="41547"/>
                    <a:pt x="91451" y="106347"/>
                  </a:cubicBezTo>
                  <a:cubicBezTo>
                    <a:pt x="-22721" y="294576"/>
                    <a:pt x="-22721" y="461204"/>
                    <a:pt x="51337" y="661776"/>
                  </a:cubicBezTo>
                  <a:cubicBezTo>
                    <a:pt x="72936" y="720404"/>
                    <a:pt x="79108" y="856176"/>
                    <a:pt x="94537" y="991947"/>
                  </a:cubicBezTo>
                  <a:cubicBezTo>
                    <a:pt x="94537" y="991947"/>
                    <a:pt x="381508" y="1013547"/>
                    <a:pt x="779565" y="976519"/>
                  </a:cubicBezTo>
                  <a:cubicBezTo>
                    <a:pt x="748708" y="754347"/>
                    <a:pt x="776480" y="418004"/>
                    <a:pt x="785736" y="396404"/>
                  </a:cubicBezTo>
                  <a:close/>
                </a:path>
              </a:pathLst>
            </a:custGeom>
            <a:solidFill>
              <a:srgbClr val="D16156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2E41104C-957B-47B1-81D4-2E5C8323D78F}"/>
                </a:ext>
              </a:extLst>
            </p:cNvPr>
            <p:cNvSpPr/>
            <p:nvPr/>
          </p:nvSpPr>
          <p:spPr>
            <a:xfrm>
              <a:off x="15059437" y="8584541"/>
              <a:ext cx="311656" cy="227125"/>
            </a:xfrm>
            <a:custGeom>
              <a:avLst/>
              <a:gdLst>
                <a:gd name="connsiteX0" fmla="*/ 55542 w 311656"/>
                <a:gd name="connsiteY0" fmla="*/ 61812 h 227125"/>
                <a:gd name="connsiteX1" fmla="*/ 0 w 311656"/>
                <a:gd name="connsiteY1" fmla="*/ 203755 h 227125"/>
                <a:gd name="connsiteX2" fmla="*/ 311656 w 311656"/>
                <a:gd name="connsiteY2" fmla="*/ 188326 h 227125"/>
                <a:gd name="connsiteX3" fmla="*/ 259200 w 311656"/>
                <a:gd name="connsiteY3" fmla="*/ 98 h 227125"/>
                <a:gd name="connsiteX4" fmla="*/ 55542 w 311656"/>
                <a:gd name="connsiteY4" fmla="*/ 61812 h 2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656" h="227125">
                  <a:moveTo>
                    <a:pt x="55542" y="61812"/>
                  </a:moveTo>
                  <a:cubicBezTo>
                    <a:pt x="55542" y="61812"/>
                    <a:pt x="61714" y="172898"/>
                    <a:pt x="0" y="203755"/>
                  </a:cubicBezTo>
                  <a:cubicBezTo>
                    <a:pt x="0" y="203755"/>
                    <a:pt x="182057" y="265469"/>
                    <a:pt x="311656" y="188326"/>
                  </a:cubicBezTo>
                  <a:cubicBezTo>
                    <a:pt x="256114" y="145126"/>
                    <a:pt x="259200" y="61812"/>
                    <a:pt x="259200" y="98"/>
                  </a:cubicBezTo>
                  <a:cubicBezTo>
                    <a:pt x="262286" y="-2988"/>
                    <a:pt x="111085" y="67983"/>
                    <a:pt x="55542" y="61812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5D43BFF2-2E34-41D0-8C31-C116D71AD89B}"/>
                </a:ext>
              </a:extLst>
            </p:cNvPr>
            <p:cNvSpPr/>
            <p:nvPr/>
          </p:nvSpPr>
          <p:spPr>
            <a:xfrm>
              <a:off x="14774714" y="8865439"/>
              <a:ext cx="102665" cy="564685"/>
            </a:xfrm>
            <a:custGeom>
              <a:avLst/>
              <a:gdLst>
                <a:gd name="connsiteX0" fmla="*/ 56380 w 102665"/>
                <a:gd name="connsiteY0" fmla="*/ 564686 h 564685"/>
                <a:gd name="connsiteX1" fmla="*/ 50209 w 102665"/>
                <a:gd name="connsiteY1" fmla="*/ 561600 h 564685"/>
                <a:gd name="connsiteX2" fmla="*/ 34780 w 102665"/>
                <a:gd name="connsiteY2" fmla="*/ 506057 h 564685"/>
                <a:gd name="connsiteX3" fmla="*/ 837 w 102665"/>
                <a:gd name="connsiteY3" fmla="*/ 351772 h 564685"/>
                <a:gd name="connsiteX4" fmla="*/ 90323 w 102665"/>
                <a:gd name="connsiteY4" fmla="*/ 3086 h 564685"/>
                <a:gd name="connsiteX5" fmla="*/ 99580 w 102665"/>
                <a:gd name="connsiteY5" fmla="*/ 0 h 564685"/>
                <a:gd name="connsiteX6" fmla="*/ 102665 w 102665"/>
                <a:gd name="connsiteY6" fmla="*/ 9257 h 564685"/>
                <a:gd name="connsiteX7" fmla="*/ 13180 w 102665"/>
                <a:gd name="connsiteY7" fmla="*/ 351772 h 564685"/>
                <a:gd name="connsiteX8" fmla="*/ 47123 w 102665"/>
                <a:gd name="connsiteY8" fmla="*/ 502972 h 564685"/>
                <a:gd name="connsiteX9" fmla="*/ 62551 w 102665"/>
                <a:gd name="connsiteY9" fmla="*/ 558515 h 564685"/>
                <a:gd name="connsiteX10" fmla="*/ 56380 w 102665"/>
                <a:gd name="connsiteY10" fmla="*/ 564686 h 564685"/>
                <a:gd name="connsiteX11" fmla="*/ 56380 w 102665"/>
                <a:gd name="connsiteY11" fmla="*/ 564686 h 564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665" h="564685">
                  <a:moveTo>
                    <a:pt x="56380" y="564686"/>
                  </a:moveTo>
                  <a:cubicBezTo>
                    <a:pt x="53295" y="564686"/>
                    <a:pt x="50209" y="561600"/>
                    <a:pt x="50209" y="561600"/>
                  </a:cubicBezTo>
                  <a:cubicBezTo>
                    <a:pt x="44037" y="543086"/>
                    <a:pt x="40951" y="524571"/>
                    <a:pt x="34780" y="506057"/>
                  </a:cubicBezTo>
                  <a:cubicBezTo>
                    <a:pt x="19352" y="453600"/>
                    <a:pt x="3923" y="401143"/>
                    <a:pt x="837" y="351772"/>
                  </a:cubicBezTo>
                  <a:cubicBezTo>
                    <a:pt x="-5335" y="225257"/>
                    <a:pt x="22437" y="108000"/>
                    <a:pt x="90323" y="3086"/>
                  </a:cubicBezTo>
                  <a:cubicBezTo>
                    <a:pt x="93408" y="0"/>
                    <a:pt x="96494" y="0"/>
                    <a:pt x="99580" y="0"/>
                  </a:cubicBezTo>
                  <a:cubicBezTo>
                    <a:pt x="102665" y="3086"/>
                    <a:pt x="102665" y="6171"/>
                    <a:pt x="102665" y="9257"/>
                  </a:cubicBezTo>
                  <a:cubicBezTo>
                    <a:pt x="37866" y="114171"/>
                    <a:pt x="7009" y="228343"/>
                    <a:pt x="13180" y="351772"/>
                  </a:cubicBezTo>
                  <a:cubicBezTo>
                    <a:pt x="16266" y="398057"/>
                    <a:pt x="31694" y="450514"/>
                    <a:pt x="47123" y="502972"/>
                  </a:cubicBezTo>
                  <a:cubicBezTo>
                    <a:pt x="53295" y="521486"/>
                    <a:pt x="59465" y="540000"/>
                    <a:pt x="62551" y="558515"/>
                  </a:cubicBezTo>
                  <a:cubicBezTo>
                    <a:pt x="62551" y="558515"/>
                    <a:pt x="62551" y="561600"/>
                    <a:pt x="56380" y="564686"/>
                  </a:cubicBezTo>
                  <a:cubicBezTo>
                    <a:pt x="56380" y="564686"/>
                    <a:pt x="56380" y="564686"/>
                    <a:pt x="56380" y="564686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EA082022-01A7-4FFA-96E4-C0CA9BE98F30}"/>
                </a:ext>
              </a:extLst>
            </p:cNvPr>
            <p:cNvSpPr/>
            <p:nvPr/>
          </p:nvSpPr>
          <p:spPr>
            <a:xfrm>
              <a:off x="14898980" y="9313064"/>
              <a:ext cx="405506" cy="36832"/>
            </a:xfrm>
            <a:custGeom>
              <a:avLst/>
              <a:gdLst>
                <a:gd name="connsiteX0" fmla="*/ 6172 w 405506"/>
                <a:gd name="connsiteY0" fmla="*/ 36832 h 36832"/>
                <a:gd name="connsiteX1" fmla="*/ 0 w 405506"/>
                <a:gd name="connsiteY1" fmla="*/ 33747 h 36832"/>
                <a:gd name="connsiteX2" fmla="*/ 3086 w 405506"/>
                <a:gd name="connsiteY2" fmla="*/ 27575 h 36832"/>
                <a:gd name="connsiteX3" fmla="*/ 401143 w 405506"/>
                <a:gd name="connsiteY3" fmla="*/ 15232 h 36832"/>
                <a:gd name="connsiteX4" fmla="*/ 404229 w 405506"/>
                <a:gd name="connsiteY4" fmla="*/ 21403 h 36832"/>
                <a:gd name="connsiteX5" fmla="*/ 398057 w 405506"/>
                <a:gd name="connsiteY5" fmla="*/ 24489 h 36832"/>
                <a:gd name="connsiteX6" fmla="*/ 6172 w 405506"/>
                <a:gd name="connsiteY6" fmla="*/ 36832 h 36832"/>
                <a:gd name="connsiteX7" fmla="*/ 6172 w 405506"/>
                <a:gd name="connsiteY7" fmla="*/ 36832 h 3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5506" h="36832">
                  <a:moveTo>
                    <a:pt x="6172" y="36832"/>
                  </a:moveTo>
                  <a:cubicBezTo>
                    <a:pt x="3086" y="36832"/>
                    <a:pt x="3086" y="36832"/>
                    <a:pt x="0" y="33747"/>
                  </a:cubicBezTo>
                  <a:cubicBezTo>
                    <a:pt x="0" y="30661"/>
                    <a:pt x="0" y="27575"/>
                    <a:pt x="3086" y="27575"/>
                  </a:cubicBezTo>
                  <a:cubicBezTo>
                    <a:pt x="89486" y="-3282"/>
                    <a:pt x="299315" y="-9454"/>
                    <a:pt x="401143" y="15232"/>
                  </a:cubicBezTo>
                  <a:cubicBezTo>
                    <a:pt x="404229" y="15232"/>
                    <a:pt x="407315" y="18318"/>
                    <a:pt x="404229" y="21403"/>
                  </a:cubicBezTo>
                  <a:cubicBezTo>
                    <a:pt x="404229" y="24489"/>
                    <a:pt x="401143" y="27575"/>
                    <a:pt x="398057" y="24489"/>
                  </a:cubicBezTo>
                  <a:cubicBezTo>
                    <a:pt x="299315" y="-196"/>
                    <a:pt x="89486" y="5975"/>
                    <a:pt x="6172" y="36832"/>
                  </a:cubicBezTo>
                  <a:cubicBezTo>
                    <a:pt x="6172" y="36832"/>
                    <a:pt x="6172" y="36832"/>
                    <a:pt x="6172" y="36832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3F55BD41-CAE6-499E-832B-F5515A589DC5}"/>
                </a:ext>
              </a:extLst>
            </p:cNvPr>
            <p:cNvSpPr/>
            <p:nvPr/>
          </p:nvSpPr>
          <p:spPr>
            <a:xfrm>
              <a:off x="15034751" y="8772867"/>
              <a:ext cx="364114" cy="64800"/>
            </a:xfrm>
            <a:custGeom>
              <a:avLst/>
              <a:gdLst>
                <a:gd name="connsiteX0" fmla="*/ 37029 w 364114"/>
                <a:gd name="connsiteY0" fmla="*/ 9257 h 64800"/>
                <a:gd name="connsiteX1" fmla="*/ 339429 w 364114"/>
                <a:gd name="connsiteY1" fmla="*/ 0 h 64800"/>
                <a:gd name="connsiteX2" fmla="*/ 364115 w 364114"/>
                <a:gd name="connsiteY2" fmla="*/ 9257 h 64800"/>
                <a:gd name="connsiteX3" fmla="*/ 172800 w 364114"/>
                <a:gd name="connsiteY3" fmla="*/ 64800 h 64800"/>
                <a:gd name="connsiteX4" fmla="*/ 0 w 364114"/>
                <a:gd name="connsiteY4" fmla="*/ 15429 h 64800"/>
                <a:gd name="connsiteX5" fmla="*/ 37029 w 364114"/>
                <a:gd name="connsiteY5" fmla="*/ 9257 h 6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4114" h="64800">
                  <a:moveTo>
                    <a:pt x="37029" y="9257"/>
                  </a:moveTo>
                  <a:cubicBezTo>
                    <a:pt x="37029" y="9257"/>
                    <a:pt x="151200" y="67886"/>
                    <a:pt x="339429" y="0"/>
                  </a:cubicBezTo>
                  <a:lnTo>
                    <a:pt x="364115" y="9257"/>
                  </a:lnTo>
                  <a:cubicBezTo>
                    <a:pt x="364115" y="9257"/>
                    <a:pt x="283886" y="64800"/>
                    <a:pt x="172800" y="64800"/>
                  </a:cubicBezTo>
                  <a:cubicBezTo>
                    <a:pt x="67886" y="64800"/>
                    <a:pt x="0" y="15429"/>
                    <a:pt x="0" y="15429"/>
                  </a:cubicBezTo>
                  <a:cubicBezTo>
                    <a:pt x="0" y="15429"/>
                    <a:pt x="15429" y="9257"/>
                    <a:pt x="37029" y="9257"/>
                  </a:cubicBezTo>
                  <a:close/>
                </a:path>
              </a:pathLst>
            </a:custGeom>
            <a:solidFill>
              <a:srgbClr val="F6EBE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36465BFA-2D96-4F80-A5D8-BD2E5E2C3149}"/>
                </a:ext>
              </a:extLst>
            </p:cNvPr>
            <p:cNvSpPr/>
            <p:nvPr/>
          </p:nvSpPr>
          <p:spPr>
            <a:xfrm>
              <a:off x="15489225" y="8904008"/>
              <a:ext cx="974211" cy="638588"/>
            </a:xfrm>
            <a:custGeom>
              <a:avLst/>
              <a:gdLst>
                <a:gd name="connsiteX0" fmla="*/ 5297 w 974211"/>
                <a:gd name="connsiteY0" fmla="*/ 115716 h 638588"/>
                <a:gd name="connsiteX1" fmla="*/ 208954 w 974211"/>
                <a:gd name="connsiteY1" fmla="*/ 91030 h 638588"/>
                <a:gd name="connsiteX2" fmla="*/ 532954 w 974211"/>
                <a:gd name="connsiteY2" fmla="*/ 442802 h 638588"/>
                <a:gd name="connsiteX3" fmla="*/ 931011 w 974211"/>
                <a:gd name="connsiteY3" fmla="*/ 418116 h 638588"/>
                <a:gd name="connsiteX4" fmla="*/ 974212 w 974211"/>
                <a:gd name="connsiteY4" fmla="*/ 535373 h 638588"/>
                <a:gd name="connsiteX5" fmla="*/ 415697 w 974211"/>
                <a:gd name="connsiteY5" fmla="*/ 624859 h 638588"/>
                <a:gd name="connsiteX6" fmla="*/ 5297 w 974211"/>
                <a:gd name="connsiteY6" fmla="*/ 115716 h 638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4211" h="638588">
                  <a:moveTo>
                    <a:pt x="5297" y="115716"/>
                  </a:moveTo>
                  <a:cubicBezTo>
                    <a:pt x="60840" y="-63255"/>
                    <a:pt x="119468" y="-4627"/>
                    <a:pt x="208954" y="91030"/>
                  </a:cubicBezTo>
                  <a:cubicBezTo>
                    <a:pt x="301525" y="192859"/>
                    <a:pt x="505183" y="427373"/>
                    <a:pt x="532954" y="442802"/>
                  </a:cubicBezTo>
                  <a:cubicBezTo>
                    <a:pt x="594668" y="439716"/>
                    <a:pt x="931011" y="418116"/>
                    <a:pt x="931011" y="418116"/>
                  </a:cubicBezTo>
                  <a:cubicBezTo>
                    <a:pt x="924840" y="448973"/>
                    <a:pt x="974212" y="535373"/>
                    <a:pt x="974212" y="535373"/>
                  </a:cubicBezTo>
                  <a:cubicBezTo>
                    <a:pt x="974212" y="535373"/>
                    <a:pt x="539126" y="683488"/>
                    <a:pt x="415697" y="624859"/>
                  </a:cubicBezTo>
                  <a:cubicBezTo>
                    <a:pt x="347811" y="600173"/>
                    <a:pt x="-50246" y="294688"/>
                    <a:pt x="5297" y="115716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AC802623-5F3B-42FB-8FCA-327C72BC9362}"/>
                </a:ext>
              </a:extLst>
            </p:cNvPr>
            <p:cNvSpPr/>
            <p:nvPr/>
          </p:nvSpPr>
          <p:spPr>
            <a:xfrm>
              <a:off x="15394706" y="8812012"/>
              <a:ext cx="408387" cy="451483"/>
            </a:xfrm>
            <a:custGeom>
              <a:avLst/>
              <a:gdLst>
                <a:gd name="connsiteX0" fmla="*/ 408387 w 408387"/>
                <a:gd name="connsiteY0" fmla="*/ 232398 h 451483"/>
                <a:gd name="connsiteX1" fmla="*/ 68959 w 408387"/>
                <a:gd name="connsiteY1" fmla="*/ 4055 h 451483"/>
                <a:gd name="connsiteX2" fmla="*/ 96731 w 408387"/>
                <a:gd name="connsiteY2" fmla="*/ 451484 h 451483"/>
                <a:gd name="connsiteX3" fmla="*/ 408387 w 408387"/>
                <a:gd name="connsiteY3" fmla="*/ 232398 h 451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387" h="451483">
                  <a:moveTo>
                    <a:pt x="408387" y="232398"/>
                  </a:moveTo>
                  <a:cubicBezTo>
                    <a:pt x="318902" y="68855"/>
                    <a:pt x="146102" y="-20631"/>
                    <a:pt x="68959" y="4055"/>
                  </a:cubicBezTo>
                  <a:cubicBezTo>
                    <a:pt x="-32869" y="34912"/>
                    <a:pt x="-20527" y="278684"/>
                    <a:pt x="96731" y="451484"/>
                  </a:cubicBezTo>
                  <a:cubicBezTo>
                    <a:pt x="173874" y="448398"/>
                    <a:pt x="337416" y="309541"/>
                    <a:pt x="408387" y="232398"/>
                  </a:cubicBezTo>
                  <a:close/>
                </a:path>
              </a:pathLst>
            </a:custGeom>
            <a:solidFill>
              <a:srgbClr val="D16156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33F2C9FF-B95D-4E66-98EC-2974BD89E8A4}"/>
                </a:ext>
              </a:extLst>
            </p:cNvPr>
            <p:cNvSpPr/>
            <p:nvPr/>
          </p:nvSpPr>
          <p:spPr>
            <a:xfrm>
              <a:off x="15394103" y="8827132"/>
              <a:ext cx="237562" cy="442535"/>
            </a:xfrm>
            <a:custGeom>
              <a:avLst/>
              <a:gdLst>
                <a:gd name="connsiteX0" fmla="*/ 103505 w 237562"/>
                <a:gd name="connsiteY0" fmla="*/ 442535 h 442535"/>
                <a:gd name="connsiteX1" fmla="*/ 97335 w 237562"/>
                <a:gd name="connsiteY1" fmla="*/ 442535 h 442535"/>
                <a:gd name="connsiteX2" fmla="*/ 97335 w 237562"/>
                <a:gd name="connsiteY2" fmla="*/ 442535 h 442535"/>
                <a:gd name="connsiteX3" fmla="*/ 97335 w 237562"/>
                <a:gd name="connsiteY3" fmla="*/ 442535 h 442535"/>
                <a:gd name="connsiteX4" fmla="*/ 4763 w 237562"/>
                <a:gd name="connsiteY4" fmla="*/ 62993 h 442535"/>
                <a:gd name="connsiteX5" fmla="*/ 41791 w 237562"/>
                <a:gd name="connsiteY5" fmla="*/ 1278 h 442535"/>
                <a:gd name="connsiteX6" fmla="*/ 51049 w 237562"/>
                <a:gd name="connsiteY6" fmla="*/ 4364 h 442535"/>
                <a:gd name="connsiteX7" fmla="*/ 47963 w 237562"/>
                <a:gd name="connsiteY7" fmla="*/ 13621 h 442535"/>
                <a:gd name="connsiteX8" fmla="*/ 14020 w 237562"/>
                <a:gd name="connsiteY8" fmla="*/ 69164 h 442535"/>
                <a:gd name="connsiteX9" fmla="*/ 103505 w 237562"/>
                <a:gd name="connsiteY9" fmla="*/ 436364 h 442535"/>
                <a:gd name="connsiteX10" fmla="*/ 226934 w 237562"/>
                <a:gd name="connsiteY10" fmla="*/ 368478 h 442535"/>
                <a:gd name="connsiteX11" fmla="*/ 236192 w 237562"/>
                <a:gd name="connsiteY11" fmla="*/ 368478 h 442535"/>
                <a:gd name="connsiteX12" fmla="*/ 236192 w 237562"/>
                <a:gd name="connsiteY12" fmla="*/ 377735 h 442535"/>
                <a:gd name="connsiteX13" fmla="*/ 103505 w 237562"/>
                <a:gd name="connsiteY13" fmla="*/ 442535 h 442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7562" h="442535">
                  <a:moveTo>
                    <a:pt x="103505" y="442535"/>
                  </a:moveTo>
                  <a:cubicBezTo>
                    <a:pt x="100420" y="442535"/>
                    <a:pt x="97335" y="442535"/>
                    <a:pt x="97335" y="442535"/>
                  </a:cubicBezTo>
                  <a:lnTo>
                    <a:pt x="97335" y="442535"/>
                  </a:lnTo>
                  <a:lnTo>
                    <a:pt x="97335" y="442535"/>
                  </a:lnTo>
                  <a:cubicBezTo>
                    <a:pt x="38705" y="359221"/>
                    <a:pt x="-16837" y="167907"/>
                    <a:pt x="4763" y="62993"/>
                  </a:cubicBezTo>
                  <a:cubicBezTo>
                    <a:pt x="10934" y="32135"/>
                    <a:pt x="23277" y="10535"/>
                    <a:pt x="41791" y="1278"/>
                  </a:cubicBezTo>
                  <a:cubicBezTo>
                    <a:pt x="44877" y="-1808"/>
                    <a:pt x="47963" y="1278"/>
                    <a:pt x="51049" y="4364"/>
                  </a:cubicBezTo>
                  <a:cubicBezTo>
                    <a:pt x="54134" y="7450"/>
                    <a:pt x="51049" y="10535"/>
                    <a:pt x="47963" y="13621"/>
                  </a:cubicBezTo>
                  <a:cubicBezTo>
                    <a:pt x="32534" y="22878"/>
                    <a:pt x="20192" y="41393"/>
                    <a:pt x="14020" y="69164"/>
                  </a:cubicBezTo>
                  <a:cubicBezTo>
                    <a:pt x="-7580" y="167907"/>
                    <a:pt x="44877" y="353049"/>
                    <a:pt x="103505" y="436364"/>
                  </a:cubicBezTo>
                  <a:cubicBezTo>
                    <a:pt x="109677" y="436364"/>
                    <a:pt x="140534" y="433278"/>
                    <a:pt x="226934" y="368478"/>
                  </a:cubicBezTo>
                  <a:cubicBezTo>
                    <a:pt x="230020" y="365393"/>
                    <a:pt x="233106" y="368478"/>
                    <a:pt x="236192" y="368478"/>
                  </a:cubicBezTo>
                  <a:cubicBezTo>
                    <a:pt x="239277" y="371564"/>
                    <a:pt x="236192" y="374650"/>
                    <a:pt x="236192" y="377735"/>
                  </a:cubicBezTo>
                  <a:cubicBezTo>
                    <a:pt x="149791" y="433278"/>
                    <a:pt x="115848" y="442535"/>
                    <a:pt x="103505" y="442535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CFC65EE5-EBB2-4DE1-81E6-ECADD2C1F7D2}"/>
                </a:ext>
              </a:extLst>
            </p:cNvPr>
            <p:cNvSpPr/>
            <p:nvPr/>
          </p:nvSpPr>
          <p:spPr>
            <a:xfrm>
              <a:off x="14868122" y="9732524"/>
              <a:ext cx="697371" cy="33943"/>
            </a:xfrm>
            <a:custGeom>
              <a:avLst/>
              <a:gdLst>
                <a:gd name="connsiteX0" fmla="*/ 246857 w 697371"/>
                <a:gd name="connsiteY0" fmla="*/ 33943 h 33943"/>
                <a:gd name="connsiteX1" fmla="*/ 6172 w 697371"/>
                <a:gd name="connsiteY1" fmla="*/ 27772 h 33943"/>
                <a:gd name="connsiteX2" fmla="*/ 0 w 697371"/>
                <a:gd name="connsiteY2" fmla="*/ 21600 h 33943"/>
                <a:gd name="connsiteX3" fmla="*/ 6172 w 697371"/>
                <a:gd name="connsiteY3" fmla="*/ 15429 h 33943"/>
                <a:gd name="connsiteX4" fmla="*/ 691200 w 697371"/>
                <a:gd name="connsiteY4" fmla="*/ 0 h 33943"/>
                <a:gd name="connsiteX5" fmla="*/ 697372 w 697371"/>
                <a:gd name="connsiteY5" fmla="*/ 6172 h 33943"/>
                <a:gd name="connsiteX6" fmla="*/ 691200 w 697371"/>
                <a:gd name="connsiteY6" fmla="*/ 12344 h 33943"/>
                <a:gd name="connsiteX7" fmla="*/ 246857 w 697371"/>
                <a:gd name="connsiteY7" fmla="*/ 33943 h 33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7371" h="33943">
                  <a:moveTo>
                    <a:pt x="246857" y="33943"/>
                  </a:moveTo>
                  <a:cubicBezTo>
                    <a:pt x="101828" y="33943"/>
                    <a:pt x="9257" y="27772"/>
                    <a:pt x="6172" y="27772"/>
                  </a:cubicBezTo>
                  <a:cubicBezTo>
                    <a:pt x="3086" y="27772"/>
                    <a:pt x="0" y="24686"/>
                    <a:pt x="0" y="21600"/>
                  </a:cubicBezTo>
                  <a:cubicBezTo>
                    <a:pt x="0" y="18514"/>
                    <a:pt x="3086" y="15429"/>
                    <a:pt x="6172" y="15429"/>
                  </a:cubicBezTo>
                  <a:cubicBezTo>
                    <a:pt x="9257" y="15429"/>
                    <a:pt x="317828" y="40115"/>
                    <a:pt x="691200" y="0"/>
                  </a:cubicBezTo>
                  <a:cubicBezTo>
                    <a:pt x="694286" y="0"/>
                    <a:pt x="697372" y="3086"/>
                    <a:pt x="697372" y="6172"/>
                  </a:cubicBezTo>
                  <a:cubicBezTo>
                    <a:pt x="697372" y="9258"/>
                    <a:pt x="694286" y="12344"/>
                    <a:pt x="691200" y="12344"/>
                  </a:cubicBezTo>
                  <a:cubicBezTo>
                    <a:pt x="524571" y="27772"/>
                    <a:pt x="367200" y="33943"/>
                    <a:pt x="246857" y="33943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07F1C398-9EB9-4470-98F7-83E609DE5D1D}"/>
                </a:ext>
              </a:extLst>
            </p:cNvPr>
            <p:cNvSpPr/>
            <p:nvPr/>
          </p:nvSpPr>
          <p:spPr>
            <a:xfrm>
              <a:off x="14989662" y="8123486"/>
              <a:ext cx="427717" cy="575647"/>
            </a:xfrm>
            <a:custGeom>
              <a:avLst/>
              <a:gdLst>
                <a:gd name="connsiteX0" fmla="*/ 8061 w 427717"/>
                <a:gd name="connsiteY0" fmla="*/ 183438 h 575647"/>
                <a:gd name="connsiteX1" fmla="*/ 20404 w 427717"/>
                <a:gd name="connsiteY1" fmla="*/ 442638 h 575647"/>
                <a:gd name="connsiteX2" fmla="*/ 171603 w 427717"/>
                <a:gd name="connsiteY2" fmla="*/ 575324 h 575647"/>
                <a:gd name="connsiteX3" fmla="*/ 390689 w 427717"/>
                <a:gd name="connsiteY3" fmla="*/ 430295 h 575647"/>
                <a:gd name="connsiteX4" fmla="*/ 427717 w 427717"/>
                <a:gd name="connsiteY4" fmla="*/ 201952 h 575647"/>
                <a:gd name="connsiteX5" fmla="*/ 211717 w 427717"/>
                <a:gd name="connsiteY5" fmla="*/ 1381 h 575647"/>
                <a:gd name="connsiteX6" fmla="*/ 8061 w 427717"/>
                <a:gd name="connsiteY6" fmla="*/ 183438 h 57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717" h="575647">
                  <a:moveTo>
                    <a:pt x="8061" y="183438"/>
                  </a:moveTo>
                  <a:cubicBezTo>
                    <a:pt x="8061" y="183438"/>
                    <a:pt x="-16625" y="374753"/>
                    <a:pt x="20404" y="442638"/>
                  </a:cubicBezTo>
                  <a:cubicBezTo>
                    <a:pt x="57432" y="510524"/>
                    <a:pt x="119146" y="569153"/>
                    <a:pt x="171603" y="575324"/>
                  </a:cubicBezTo>
                  <a:cubicBezTo>
                    <a:pt x="239489" y="581495"/>
                    <a:pt x="353660" y="498181"/>
                    <a:pt x="390689" y="430295"/>
                  </a:cubicBezTo>
                  <a:cubicBezTo>
                    <a:pt x="427717" y="362409"/>
                    <a:pt x="427717" y="254409"/>
                    <a:pt x="427717" y="201952"/>
                  </a:cubicBezTo>
                  <a:cubicBezTo>
                    <a:pt x="424632" y="106295"/>
                    <a:pt x="399946" y="26067"/>
                    <a:pt x="211717" y="1381"/>
                  </a:cubicBezTo>
                  <a:cubicBezTo>
                    <a:pt x="125318" y="-14048"/>
                    <a:pt x="29660" y="103210"/>
                    <a:pt x="8061" y="183438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5831F5E8-4A7B-434C-A960-3E21CD757CDC}"/>
                </a:ext>
              </a:extLst>
            </p:cNvPr>
            <p:cNvSpPr/>
            <p:nvPr/>
          </p:nvSpPr>
          <p:spPr>
            <a:xfrm>
              <a:off x="15127322" y="8395132"/>
              <a:ext cx="55543" cy="133964"/>
            </a:xfrm>
            <a:custGeom>
              <a:avLst/>
              <a:gdLst>
                <a:gd name="connsiteX0" fmla="*/ 30857 w 55543"/>
                <a:gd name="connsiteY0" fmla="*/ 133964 h 133964"/>
                <a:gd name="connsiteX1" fmla="*/ 6172 w 55543"/>
                <a:gd name="connsiteY1" fmla="*/ 127793 h 133964"/>
                <a:gd name="connsiteX2" fmla="*/ 0 w 55543"/>
                <a:gd name="connsiteY2" fmla="*/ 115450 h 133964"/>
                <a:gd name="connsiteX3" fmla="*/ 27771 w 55543"/>
                <a:gd name="connsiteY3" fmla="*/ 4364 h 133964"/>
                <a:gd name="connsiteX4" fmla="*/ 33943 w 55543"/>
                <a:gd name="connsiteY4" fmla="*/ 1278 h 133964"/>
                <a:gd name="connsiteX5" fmla="*/ 37029 w 55543"/>
                <a:gd name="connsiteY5" fmla="*/ 7450 h 133964"/>
                <a:gd name="connsiteX6" fmla="*/ 9258 w 55543"/>
                <a:gd name="connsiteY6" fmla="*/ 115450 h 133964"/>
                <a:gd name="connsiteX7" fmla="*/ 9258 w 55543"/>
                <a:gd name="connsiteY7" fmla="*/ 118535 h 133964"/>
                <a:gd name="connsiteX8" fmla="*/ 49372 w 55543"/>
                <a:gd name="connsiteY8" fmla="*/ 118535 h 133964"/>
                <a:gd name="connsiteX9" fmla="*/ 55543 w 55543"/>
                <a:gd name="connsiteY9" fmla="*/ 124707 h 133964"/>
                <a:gd name="connsiteX10" fmla="*/ 49372 w 55543"/>
                <a:gd name="connsiteY10" fmla="*/ 130878 h 133964"/>
                <a:gd name="connsiteX11" fmla="*/ 30857 w 55543"/>
                <a:gd name="connsiteY11" fmla="*/ 133964 h 13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543" h="133964">
                  <a:moveTo>
                    <a:pt x="30857" y="133964"/>
                  </a:moveTo>
                  <a:cubicBezTo>
                    <a:pt x="21600" y="133964"/>
                    <a:pt x="12343" y="133964"/>
                    <a:pt x="6172" y="127793"/>
                  </a:cubicBezTo>
                  <a:cubicBezTo>
                    <a:pt x="3086" y="124707"/>
                    <a:pt x="0" y="121621"/>
                    <a:pt x="0" y="115450"/>
                  </a:cubicBezTo>
                  <a:cubicBezTo>
                    <a:pt x="0" y="93850"/>
                    <a:pt x="27771" y="7450"/>
                    <a:pt x="27771" y="4364"/>
                  </a:cubicBezTo>
                  <a:cubicBezTo>
                    <a:pt x="27771" y="1278"/>
                    <a:pt x="30857" y="-1808"/>
                    <a:pt x="33943" y="1278"/>
                  </a:cubicBezTo>
                  <a:cubicBezTo>
                    <a:pt x="37029" y="1278"/>
                    <a:pt x="40115" y="4364"/>
                    <a:pt x="37029" y="7450"/>
                  </a:cubicBezTo>
                  <a:cubicBezTo>
                    <a:pt x="30857" y="32135"/>
                    <a:pt x="9258" y="96936"/>
                    <a:pt x="9258" y="115450"/>
                  </a:cubicBezTo>
                  <a:cubicBezTo>
                    <a:pt x="9258" y="115450"/>
                    <a:pt x="9258" y="118535"/>
                    <a:pt x="9258" y="118535"/>
                  </a:cubicBezTo>
                  <a:cubicBezTo>
                    <a:pt x="15429" y="124707"/>
                    <a:pt x="37029" y="121621"/>
                    <a:pt x="49372" y="118535"/>
                  </a:cubicBezTo>
                  <a:cubicBezTo>
                    <a:pt x="52458" y="118535"/>
                    <a:pt x="55543" y="118535"/>
                    <a:pt x="55543" y="124707"/>
                  </a:cubicBezTo>
                  <a:cubicBezTo>
                    <a:pt x="55543" y="127793"/>
                    <a:pt x="55543" y="130878"/>
                    <a:pt x="49372" y="130878"/>
                  </a:cubicBezTo>
                  <a:cubicBezTo>
                    <a:pt x="52458" y="130878"/>
                    <a:pt x="43200" y="133964"/>
                    <a:pt x="30857" y="133964"/>
                  </a:cubicBezTo>
                  <a:close/>
                </a:path>
              </a:pathLst>
            </a:custGeom>
            <a:solidFill>
              <a:srgbClr val="E58777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FDF6F072-6898-4945-86E5-D9BA7970F276}"/>
                </a:ext>
              </a:extLst>
            </p:cNvPr>
            <p:cNvSpPr/>
            <p:nvPr/>
          </p:nvSpPr>
          <p:spPr>
            <a:xfrm>
              <a:off x="15105723" y="8569210"/>
              <a:ext cx="121620" cy="27771"/>
            </a:xfrm>
            <a:custGeom>
              <a:avLst/>
              <a:gdLst>
                <a:gd name="connsiteX0" fmla="*/ 61714 w 121620"/>
                <a:gd name="connsiteY0" fmla="*/ 27771 h 27771"/>
                <a:gd name="connsiteX1" fmla="*/ 3085 w 121620"/>
                <a:gd name="connsiteY1" fmla="*/ 12343 h 27771"/>
                <a:gd name="connsiteX2" fmla="*/ 0 w 121620"/>
                <a:gd name="connsiteY2" fmla="*/ 3085 h 27771"/>
                <a:gd name="connsiteX3" fmla="*/ 9257 w 121620"/>
                <a:gd name="connsiteY3" fmla="*/ 0 h 27771"/>
                <a:gd name="connsiteX4" fmla="*/ 111085 w 121620"/>
                <a:gd name="connsiteY4" fmla="*/ 0 h 27771"/>
                <a:gd name="connsiteX5" fmla="*/ 120343 w 121620"/>
                <a:gd name="connsiteY5" fmla="*/ 3085 h 27771"/>
                <a:gd name="connsiteX6" fmla="*/ 117257 w 121620"/>
                <a:gd name="connsiteY6" fmla="*/ 12343 h 27771"/>
                <a:gd name="connsiteX7" fmla="*/ 61714 w 121620"/>
                <a:gd name="connsiteY7" fmla="*/ 27771 h 27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620" h="27771">
                  <a:moveTo>
                    <a:pt x="61714" y="27771"/>
                  </a:moveTo>
                  <a:cubicBezTo>
                    <a:pt x="27771" y="27771"/>
                    <a:pt x="6171" y="15429"/>
                    <a:pt x="3085" y="12343"/>
                  </a:cubicBezTo>
                  <a:cubicBezTo>
                    <a:pt x="0" y="9257"/>
                    <a:pt x="0" y="6171"/>
                    <a:pt x="0" y="3085"/>
                  </a:cubicBezTo>
                  <a:cubicBezTo>
                    <a:pt x="3085" y="0"/>
                    <a:pt x="6171" y="0"/>
                    <a:pt x="9257" y="0"/>
                  </a:cubicBezTo>
                  <a:cubicBezTo>
                    <a:pt x="9257" y="0"/>
                    <a:pt x="61714" y="27771"/>
                    <a:pt x="111085" y="0"/>
                  </a:cubicBezTo>
                  <a:cubicBezTo>
                    <a:pt x="114171" y="0"/>
                    <a:pt x="117257" y="0"/>
                    <a:pt x="120343" y="3085"/>
                  </a:cubicBezTo>
                  <a:cubicBezTo>
                    <a:pt x="123429" y="6171"/>
                    <a:pt x="120343" y="9257"/>
                    <a:pt x="117257" y="12343"/>
                  </a:cubicBezTo>
                  <a:cubicBezTo>
                    <a:pt x="95656" y="24685"/>
                    <a:pt x="77143" y="27771"/>
                    <a:pt x="61714" y="27771"/>
                  </a:cubicBezTo>
                  <a:close/>
                </a:path>
              </a:pathLst>
            </a:custGeom>
            <a:solidFill>
              <a:srgbClr val="E58777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D3C4F46E-4C3B-43B3-B665-5EF24B253475}"/>
                </a:ext>
              </a:extLst>
            </p:cNvPr>
            <p:cNvSpPr/>
            <p:nvPr/>
          </p:nvSpPr>
          <p:spPr>
            <a:xfrm>
              <a:off x="15055565" y="8364767"/>
              <a:ext cx="41686" cy="41687"/>
            </a:xfrm>
            <a:custGeom>
              <a:avLst/>
              <a:gdLst>
                <a:gd name="connsiteX0" fmla="*/ 40900 w 41686"/>
                <a:gd name="connsiteY0" fmla="*/ 25472 h 41687"/>
                <a:gd name="connsiteX1" fmla="*/ 16215 w 41686"/>
                <a:gd name="connsiteY1" fmla="*/ 40901 h 41687"/>
                <a:gd name="connsiteX2" fmla="*/ 786 w 41686"/>
                <a:gd name="connsiteY2" fmla="*/ 16215 h 41687"/>
                <a:gd name="connsiteX3" fmla="*/ 25472 w 41686"/>
                <a:gd name="connsiteY3" fmla="*/ 786 h 41687"/>
                <a:gd name="connsiteX4" fmla="*/ 40900 w 41686"/>
                <a:gd name="connsiteY4" fmla="*/ 25472 h 41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86" h="41687">
                  <a:moveTo>
                    <a:pt x="40900" y="25472"/>
                  </a:moveTo>
                  <a:cubicBezTo>
                    <a:pt x="37814" y="37815"/>
                    <a:pt x="28558" y="43986"/>
                    <a:pt x="16215" y="40901"/>
                  </a:cubicBezTo>
                  <a:cubicBezTo>
                    <a:pt x="3872" y="37815"/>
                    <a:pt x="-2300" y="28558"/>
                    <a:pt x="786" y="16215"/>
                  </a:cubicBezTo>
                  <a:cubicBezTo>
                    <a:pt x="3872" y="3872"/>
                    <a:pt x="13129" y="-2300"/>
                    <a:pt x="25472" y="786"/>
                  </a:cubicBezTo>
                  <a:cubicBezTo>
                    <a:pt x="37814" y="3872"/>
                    <a:pt x="43986" y="16215"/>
                    <a:pt x="40900" y="25472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1E7F849D-DA83-4C8D-AA6F-02258433D4E4}"/>
                </a:ext>
              </a:extLst>
            </p:cNvPr>
            <p:cNvSpPr/>
            <p:nvPr/>
          </p:nvSpPr>
          <p:spPr>
            <a:xfrm>
              <a:off x="15247060" y="8374205"/>
              <a:ext cx="41506" cy="41505"/>
            </a:xfrm>
            <a:custGeom>
              <a:avLst/>
              <a:gdLst>
                <a:gd name="connsiteX0" fmla="*/ 40720 w 41506"/>
                <a:gd name="connsiteY0" fmla="*/ 25291 h 41505"/>
                <a:gd name="connsiteX1" fmla="*/ 16034 w 41506"/>
                <a:gd name="connsiteY1" fmla="*/ 40720 h 41505"/>
                <a:gd name="connsiteX2" fmla="*/ 605 w 41506"/>
                <a:gd name="connsiteY2" fmla="*/ 16034 h 41505"/>
                <a:gd name="connsiteX3" fmla="*/ 25291 w 41506"/>
                <a:gd name="connsiteY3" fmla="*/ 605 h 41505"/>
                <a:gd name="connsiteX4" fmla="*/ 40720 w 41506"/>
                <a:gd name="connsiteY4" fmla="*/ 25291 h 4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6" h="41505">
                  <a:moveTo>
                    <a:pt x="40720" y="25291"/>
                  </a:moveTo>
                  <a:cubicBezTo>
                    <a:pt x="37634" y="37634"/>
                    <a:pt x="28377" y="43805"/>
                    <a:pt x="16034" y="40720"/>
                  </a:cubicBezTo>
                  <a:cubicBezTo>
                    <a:pt x="6777" y="37634"/>
                    <a:pt x="-2480" y="28377"/>
                    <a:pt x="605" y="16034"/>
                  </a:cubicBezTo>
                  <a:cubicBezTo>
                    <a:pt x="3691" y="6777"/>
                    <a:pt x="12949" y="-2481"/>
                    <a:pt x="25291" y="605"/>
                  </a:cubicBezTo>
                  <a:cubicBezTo>
                    <a:pt x="37634" y="3691"/>
                    <a:pt x="43806" y="12948"/>
                    <a:pt x="40720" y="25291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3DBB13B9-14FB-4D4E-B226-72CD4BEFC483}"/>
                </a:ext>
              </a:extLst>
            </p:cNvPr>
            <p:cNvSpPr/>
            <p:nvPr/>
          </p:nvSpPr>
          <p:spPr>
            <a:xfrm>
              <a:off x="15029351" y="8315002"/>
              <a:ext cx="93077" cy="35122"/>
            </a:xfrm>
            <a:custGeom>
              <a:avLst/>
              <a:gdLst>
                <a:gd name="connsiteX0" fmla="*/ 8486 w 93077"/>
                <a:gd name="connsiteY0" fmla="*/ 35122 h 35122"/>
                <a:gd name="connsiteX1" fmla="*/ 2314 w 93077"/>
                <a:gd name="connsiteY1" fmla="*/ 32036 h 35122"/>
                <a:gd name="connsiteX2" fmla="*/ 2314 w 93077"/>
                <a:gd name="connsiteY2" fmla="*/ 19693 h 35122"/>
                <a:gd name="connsiteX3" fmla="*/ 88714 w 93077"/>
                <a:gd name="connsiteY3" fmla="*/ 10436 h 35122"/>
                <a:gd name="connsiteX4" fmla="*/ 91800 w 93077"/>
                <a:gd name="connsiteY4" fmla="*/ 19693 h 35122"/>
                <a:gd name="connsiteX5" fmla="*/ 82542 w 93077"/>
                <a:gd name="connsiteY5" fmla="*/ 22779 h 35122"/>
                <a:gd name="connsiteX6" fmla="*/ 14657 w 93077"/>
                <a:gd name="connsiteY6" fmla="*/ 28951 h 35122"/>
                <a:gd name="connsiteX7" fmla="*/ 8486 w 93077"/>
                <a:gd name="connsiteY7" fmla="*/ 35122 h 3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7" h="35122">
                  <a:moveTo>
                    <a:pt x="8486" y="35122"/>
                  </a:moveTo>
                  <a:cubicBezTo>
                    <a:pt x="5400" y="35122"/>
                    <a:pt x="5400" y="35122"/>
                    <a:pt x="2314" y="32036"/>
                  </a:cubicBezTo>
                  <a:cubicBezTo>
                    <a:pt x="-771" y="28951"/>
                    <a:pt x="-771" y="22779"/>
                    <a:pt x="2314" y="19693"/>
                  </a:cubicBezTo>
                  <a:cubicBezTo>
                    <a:pt x="30086" y="-11164"/>
                    <a:pt x="70200" y="1179"/>
                    <a:pt x="88714" y="10436"/>
                  </a:cubicBezTo>
                  <a:cubicBezTo>
                    <a:pt x="91800" y="13522"/>
                    <a:pt x="94885" y="16608"/>
                    <a:pt x="91800" y="19693"/>
                  </a:cubicBezTo>
                  <a:cubicBezTo>
                    <a:pt x="88714" y="22779"/>
                    <a:pt x="85628" y="25865"/>
                    <a:pt x="82542" y="22779"/>
                  </a:cubicBezTo>
                  <a:cubicBezTo>
                    <a:pt x="79457" y="22779"/>
                    <a:pt x="39343" y="1179"/>
                    <a:pt x="14657" y="28951"/>
                  </a:cubicBezTo>
                  <a:cubicBezTo>
                    <a:pt x="14657" y="35122"/>
                    <a:pt x="11571" y="35122"/>
                    <a:pt x="8486" y="35122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CAC51782-6712-4DE5-B798-31D2EDE280CF}"/>
                </a:ext>
              </a:extLst>
            </p:cNvPr>
            <p:cNvSpPr/>
            <p:nvPr/>
          </p:nvSpPr>
          <p:spPr>
            <a:xfrm>
              <a:off x="15221701" y="8316496"/>
              <a:ext cx="93078" cy="36714"/>
            </a:xfrm>
            <a:custGeom>
              <a:avLst/>
              <a:gdLst>
                <a:gd name="connsiteX0" fmla="*/ 87678 w 93078"/>
                <a:gd name="connsiteY0" fmla="*/ 36715 h 36714"/>
                <a:gd name="connsiteX1" fmla="*/ 81507 w 93078"/>
                <a:gd name="connsiteY1" fmla="*/ 33629 h 36714"/>
                <a:gd name="connsiteX2" fmla="*/ 13621 w 93078"/>
                <a:gd name="connsiteY2" fmla="*/ 27457 h 36714"/>
                <a:gd name="connsiteX3" fmla="*/ 1278 w 93078"/>
                <a:gd name="connsiteY3" fmla="*/ 24372 h 36714"/>
                <a:gd name="connsiteX4" fmla="*/ 4364 w 93078"/>
                <a:gd name="connsiteY4" fmla="*/ 12029 h 36714"/>
                <a:gd name="connsiteX5" fmla="*/ 90764 w 93078"/>
                <a:gd name="connsiteY5" fmla="*/ 21286 h 36714"/>
                <a:gd name="connsiteX6" fmla="*/ 90764 w 93078"/>
                <a:gd name="connsiteY6" fmla="*/ 33629 h 36714"/>
                <a:gd name="connsiteX7" fmla="*/ 87678 w 93078"/>
                <a:gd name="connsiteY7" fmla="*/ 36715 h 3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6714">
                  <a:moveTo>
                    <a:pt x="87678" y="36715"/>
                  </a:moveTo>
                  <a:cubicBezTo>
                    <a:pt x="84593" y="36715"/>
                    <a:pt x="84593" y="36715"/>
                    <a:pt x="81507" y="33629"/>
                  </a:cubicBezTo>
                  <a:cubicBezTo>
                    <a:pt x="81507" y="33629"/>
                    <a:pt x="50650" y="2772"/>
                    <a:pt x="13621" y="27457"/>
                  </a:cubicBezTo>
                  <a:cubicBezTo>
                    <a:pt x="10535" y="30543"/>
                    <a:pt x="4364" y="27457"/>
                    <a:pt x="1278" y="24372"/>
                  </a:cubicBezTo>
                  <a:cubicBezTo>
                    <a:pt x="-1808" y="21286"/>
                    <a:pt x="1278" y="15114"/>
                    <a:pt x="4364" y="12029"/>
                  </a:cubicBezTo>
                  <a:cubicBezTo>
                    <a:pt x="41392" y="-12657"/>
                    <a:pt x="78421" y="5858"/>
                    <a:pt x="90764" y="21286"/>
                  </a:cubicBezTo>
                  <a:cubicBezTo>
                    <a:pt x="93850" y="24372"/>
                    <a:pt x="93850" y="30543"/>
                    <a:pt x="90764" y="33629"/>
                  </a:cubicBezTo>
                  <a:cubicBezTo>
                    <a:pt x="90764" y="36715"/>
                    <a:pt x="87678" y="36715"/>
                    <a:pt x="87678" y="36715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7FC2DC5A-55AA-4ED1-A5D7-E0242A178714}"/>
                </a:ext>
              </a:extLst>
            </p:cNvPr>
            <p:cNvSpPr/>
            <p:nvPr/>
          </p:nvSpPr>
          <p:spPr>
            <a:xfrm>
              <a:off x="14972808" y="8088626"/>
              <a:ext cx="280059" cy="258437"/>
            </a:xfrm>
            <a:custGeom>
              <a:avLst/>
              <a:gdLst>
                <a:gd name="connsiteX0" fmla="*/ 277943 w 280059"/>
                <a:gd name="connsiteY0" fmla="*/ 2299 h 258437"/>
                <a:gd name="connsiteX1" fmla="*/ 240915 w 280059"/>
                <a:gd name="connsiteY1" fmla="*/ 131899 h 258437"/>
                <a:gd name="connsiteX2" fmla="*/ 229 w 280059"/>
                <a:gd name="connsiteY2" fmla="*/ 258413 h 258437"/>
                <a:gd name="connsiteX3" fmla="*/ 277943 w 280059"/>
                <a:gd name="connsiteY3" fmla="*/ 2299 h 258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059" h="258437">
                  <a:moveTo>
                    <a:pt x="277943" y="2299"/>
                  </a:moveTo>
                  <a:cubicBezTo>
                    <a:pt x="277943" y="2299"/>
                    <a:pt x="293371" y="91784"/>
                    <a:pt x="240915" y="131899"/>
                  </a:cubicBezTo>
                  <a:cubicBezTo>
                    <a:pt x="240915" y="131899"/>
                    <a:pt x="28000" y="175098"/>
                    <a:pt x="229" y="258413"/>
                  </a:cubicBezTo>
                  <a:cubicBezTo>
                    <a:pt x="229" y="261499"/>
                    <a:pt x="-18286" y="-28558"/>
                    <a:pt x="277943" y="2299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66278BD6-2846-47F5-8233-0E05BC0EB199}"/>
                </a:ext>
              </a:extLst>
            </p:cNvPr>
            <p:cNvSpPr/>
            <p:nvPr/>
          </p:nvSpPr>
          <p:spPr>
            <a:xfrm>
              <a:off x="15213723" y="8090925"/>
              <a:ext cx="228013" cy="318329"/>
            </a:xfrm>
            <a:custGeom>
              <a:avLst/>
              <a:gdLst>
                <a:gd name="connsiteX0" fmla="*/ 0 w 228013"/>
                <a:gd name="connsiteY0" fmla="*/ 129600 h 318329"/>
                <a:gd name="connsiteX1" fmla="*/ 141942 w 228013"/>
                <a:gd name="connsiteY1" fmla="*/ 185143 h 318329"/>
                <a:gd name="connsiteX2" fmla="*/ 200571 w 228013"/>
                <a:gd name="connsiteY2" fmla="*/ 305486 h 318329"/>
                <a:gd name="connsiteX3" fmla="*/ 225257 w 228013"/>
                <a:gd name="connsiteY3" fmla="*/ 302400 h 318329"/>
                <a:gd name="connsiteX4" fmla="*/ 33942 w 228013"/>
                <a:gd name="connsiteY4" fmla="*/ 0 h 318329"/>
                <a:gd name="connsiteX5" fmla="*/ 0 w 228013"/>
                <a:gd name="connsiteY5" fmla="*/ 129600 h 318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013" h="318329">
                  <a:moveTo>
                    <a:pt x="0" y="129600"/>
                  </a:moveTo>
                  <a:cubicBezTo>
                    <a:pt x="0" y="129600"/>
                    <a:pt x="89486" y="178971"/>
                    <a:pt x="141942" y="185143"/>
                  </a:cubicBezTo>
                  <a:cubicBezTo>
                    <a:pt x="194400" y="191314"/>
                    <a:pt x="200571" y="305486"/>
                    <a:pt x="200571" y="305486"/>
                  </a:cubicBezTo>
                  <a:cubicBezTo>
                    <a:pt x="200571" y="305486"/>
                    <a:pt x="222171" y="336343"/>
                    <a:pt x="225257" y="302400"/>
                  </a:cubicBezTo>
                  <a:cubicBezTo>
                    <a:pt x="234514" y="222171"/>
                    <a:pt x="231429" y="21600"/>
                    <a:pt x="33942" y="0"/>
                  </a:cubicBezTo>
                  <a:cubicBezTo>
                    <a:pt x="37028" y="0"/>
                    <a:pt x="24685" y="123429"/>
                    <a:pt x="0" y="129600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9B8F6A3B-B106-4F56-AE83-C54BDD25554E}"/>
                </a:ext>
              </a:extLst>
            </p:cNvPr>
            <p:cNvSpPr/>
            <p:nvPr/>
          </p:nvSpPr>
          <p:spPr>
            <a:xfrm>
              <a:off x="15377265" y="8382565"/>
              <a:ext cx="78522" cy="113150"/>
            </a:xfrm>
            <a:custGeom>
              <a:avLst/>
              <a:gdLst>
                <a:gd name="connsiteX0" fmla="*/ 12343 w 78522"/>
                <a:gd name="connsiteY0" fmla="*/ 16931 h 113150"/>
                <a:gd name="connsiteX1" fmla="*/ 70971 w 78522"/>
                <a:gd name="connsiteY1" fmla="*/ 7674 h 113150"/>
                <a:gd name="connsiteX2" fmla="*/ 12343 w 78522"/>
                <a:gd name="connsiteY2" fmla="*/ 109503 h 113150"/>
                <a:gd name="connsiteX3" fmla="*/ 12343 w 78522"/>
                <a:gd name="connsiteY3" fmla="*/ 16931 h 113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22" h="113150">
                  <a:moveTo>
                    <a:pt x="12343" y="16931"/>
                  </a:moveTo>
                  <a:cubicBezTo>
                    <a:pt x="12343" y="16931"/>
                    <a:pt x="46286" y="-13926"/>
                    <a:pt x="70971" y="7674"/>
                  </a:cubicBezTo>
                  <a:cubicBezTo>
                    <a:pt x="95657" y="26188"/>
                    <a:pt x="55543" y="134188"/>
                    <a:pt x="12343" y="109503"/>
                  </a:cubicBezTo>
                  <a:cubicBezTo>
                    <a:pt x="-15428" y="90988"/>
                    <a:pt x="12343" y="16931"/>
                    <a:pt x="12343" y="16931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B5037BD4-C046-4600-9DC2-E7838CA476C4}"/>
                </a:ext>
              </a:extLst>
            </p:cNvPr>
            <p:cNvSpPr/>
            <p:nvPr/>
          </p:nvSpPr>
          <p:spPr>
            <a:xfrm>
              <a:off x="15207551" y="8087839"/>
              <a:ext cx="211106" cy="305485"/>
            </a:xfrm>
            <a:custGeom>
              <a:avLst/>
              <a:gdLst>
                <a:gd name="connsiteX0" fmla="*/ 206743 w 211106"/>
                <a:gd name="connsiteY0" fmla="*/ 305486 h 305485"/>
                <a:gd name="connsiteX1" fmla="*/ 200571 w 211106"/>
                <a:gd name="connsiteY1" fmla="*/ 299314 h 305485"/>
                <a:gd name="connsiteX2" fmla="*/ 148114 w 211106"/>
                <a:gd name="connsiteY2" fmla="*/ 194400 h 305485"/>
                <a:gd name="connsiteX3" fmla="*/ 3086 w 211106"/>
                <a:gd name="connsiteY3" fmla="*/ 135771 h 305485"/>
                <a:gd name="connsiteX4" fmla="*/ 0 w 211106"/>
                <a:gd name="connsiteY4" fmla="*/ 132686 h 305485"/>
                <a:gd name="connsiteX5" fmla="*/ 0 w 211106"/>
                <a:gd name="connsiteY5" fmla="*/ 126514 h 305485"/>
                <a:gd name="connsiteX6" fmla="*/ 18514 w 211106"/>
                <a:gd name="connsiteY6" fmla="*/ 101829 h 305485"/>
                <a:gd name="connsiteX7" fmla="*/ 27771 w 211106"/>
                <a:gd name="connsiteY7" fmla="*/ 61714 h 305485"/>
                <a:gd name="connsiteX8" fmla="*/ 30857 w 211106"/>
                <a:gd name="connsiteY8" fmla="*/ 33943 h 305485"/>
                <a:gd name="connsiteX9" fmla="*/ 33943 w 211106"/>
                <a:gd name="connsiteY9" fmla="*/ 6171 h 305485"/>
                <a:gd name="connsiteX10" fmla="*/ 40114 w 211106"/>
                <a:gd name="connsiteY10" fmla="*/ 0 h 305485"/>
                <a:gd name="connsiteX11" fmla="*/ 46286 w 211106"/>
                <a:gd name="connsiteY11" fmla="*/ 6171 h 305485"/>
                <a:gd name="connsiteX12" fmla="*/ 43200 w 211106"/>
                <a:gd name="connsiteY12" fmla="*/ 33943 h 305485"/>
                <a:gd name="connsiteX13" fmla="*/ 40114 w 211106"/>
                <a:gd name="connsiteY13" fmla="*/ 61714 h 305485"/>
                <a:gd name="connsiteX14" fmla="*/ 27771 w 211106"/>
                <a:gd name="connsiteY14" fmla="*/ 104914 h 305485"/>
                <a:gd name="connsiteX15" fmla="*/ 12343 w 211106"/>
                <a:gd name="connsiteY15" fmla="*/ 126514 h 305485"/>
                <a:gd name="connsiteX16" fmla="*/ 148114 w 211106"/>
                <a:gd name="connsiteY16" fmla="*/ 178972 h 305485"/>
                <a:gd name="connsiteX17" fmla="*/ 209828 w 211106"/>
                <a:gd name="connsiteY17" fmla="*/ 296229 h 305485"/>
                <a:gd name="connsiteX18" fmla="*/ 206743 w 211106"/>
                <a:gd name="connsiteY18" fmla="*/ 305486 h 305485"/>
                <a:gd name="connsiteX19" fmla="*/ 206743 w 211106"/>
                <a:gd name="connsiteY19" fmla="*/ 305486 h 305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1106" h="305485">
                  <a:moveTo>
                    <a:pt x="206743" y="305486"/>
                  </a:moveTo>
                  <a:cubicBezTo>
                    <a:pt x="203657" y="305486"/>
                    <a:pt x="200571" y="302400"/>
                    <a:pt x="200571" y="299314"/>
                  </a:cubicBezTo>
                  <a:cubicBezTo>
                    <a:pt x="200571" y="299314"/>
                    <a:pt x="200571" y="203657"/>
                    <a:pt x="148114" y="194400"/>
                  </a:cubicBezTo>
                  <a:cubicBezTo>
                    <a:pt x="77143" y="185143"/>
                    <a:pt x="6172" y="138857"/>
                    <a:pt x="3086" y="135771"/>
                  </a:cubicBezTo>
                  <a:cubicBezTo>
                    <a:pt x="3086" y="135771"/>
                    <a:pt x="0" y="132686"/>
                    <a:pt x="0" y="132686"/>
                  </a:cubicBezTo>
                  <a:cubicBezTo>
                    <a:pt x="0" y="129600"/>
                    <a:pt x="0" y="129600"/>
                    <a:pt x="0" y="126514"/>
                  </a:cubicBezTo>
                  <a:cubicBezTo>
                    <a:pt x="6172" y="120343"/>
                    <a:pt x="12343" y="111086"/>
                    <a:pt x="18514" y="101829"/>
                  </a:cubicBezTo>
                  <a:cubicBezTo>
                    <a:pt x="24685" y="89486"/>
                    <a:pt x="27771" y="74057"/>
                    <a:pt x="27771" y="61714"/>
                  </a:cubicBezTo>
                  <a:cubicBezTo>
                    <a:pt x="27771" y="55543"/>
                    <a:pt x="30857" y="43200"/>
                    <a:pt x="30857" y="33943"/>
                  </a:cubicBezTo>
                  <a:cubicBezTo>
                    <a:pt x="30857" y="21600"/>
                    <a:pt x="33943" y="12343"/>
                    <a:pt x="33943" y="6171"/>
                  </a:cubicBezTo>
                  <a:cubicBezTo>
                    <a:pt x="33943" y="3086"/>
                    <a:pt x="37029" y="0"/>
                    <a:pt x="40114" y="0"/>
                  </a:cubicBezTo>
                  <a:cubicBezTo>
                    <a:pt x="43200" y="0"/>
                    <a:pt x="46286" y="3086"/>
                    <a:pt x="46286" y="6171"/>
                  </a:cubicBezTo>
                  <a:cubicBezTo>
                    <a:pt x="46286" y="12343"/>
                    <a:pt x="43200" y="24686"/>
                    <a:pt x="43200" y="33943"/>
                  </a:cubicBezTo>
                  <a:cubicBezTo>
                    <a:pt x="43200" y="46286"/>
                    <a:pt x="40114" y="55543"/>
                    <a:pt x="40114" y="61714"/>
                  </a:cubicBezTo>
                  <a:cubicBezTo>
                    <a:pt x="37029" y="77143"/>
                    <a:pt x="37029" y="92571"/>
                    <a:pt x="27771" y="104914"/>
                  </a:cubicBezTo>
                  <a:cubicBezTo>
                    <a:pt x="24685" y="111086"/>
                    <a:pt x="18514" y="120343"/>
                    <a:pt x="12343" y="126514"/>
                  </a:cubicBezTo>
                  <a:cubicBezTo>
                    <a:pt x="30857" y="138857"/>
                    <a:pt x="89486" y="169714"/>
                    <a:pt x="148114" y="178972"/>
                  </a:cubicBezTo>
                  <a:cubicBezTo>
                    <a:pt x="206743" y="188229"/>
                    <a:pt x="209828" y="290057"/>
                    <a:pt x="209828" y="296229"/>
                  </a:cubicBezTo>
                  <a:cubicBezTo>
                    <a:pt x="212914" y="302400"/>
                    <a:pt x="209828" y="305486"/>
                    <a:pt x="206743" y="305486"/>
                  </a:cubicBezTo>
                  <a:cubicBezTo>
                    <a:pt x="206743" y="305486"/>
                    <a:pt x="206743" y="305486"/>
                    <a:pt x="206743" y="305486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49FFCA43-B830-4405-BF91-B13E3C43034E}"/>
                </a:ext>
              </a:extLst>
            </p:cNvPr>
            <p:cNvSpPr/>
            <p:nvPr/>
          </p:nvSpPr>
          <p:spPr>
            <a:xfrm>
              <a:off x="14877042" y="8232867"/>
              <a:ext cx="281137" cy="290057"/>
            </a:xfrm>
            <a:custGeom>
              <a:avLst/>
              <a:gdLst>
                <a:gd name="connsiteX0" fmla="*/ 6509 w 281137"/>
                <a:gd name="connsiteY0" fmla="*/ 290057 h 290057"/>
                <a:gd name="connsiteX1" fmla="*/ 338 w 281137"/>
                <a:gd name="connsiteY1" fmla="*/ 283886 h 290057"/>
                <a:gd name="connsiteX2" fmla="*/ 37366 w 281137"/>
                <a:gd name="connsiteY2" fmla="*/ 219086 h 290057"/>
                <a:gd name="connsiteX3" fmla="*/ 89824 w 281137"/>
                <a:gd name="connsiteY3" fmla="*/ 132686 h 290057"/>
                <a:gd name="connsiteX4" fmla="*/ 274967 w 281137"/>
                <a:gd name="connsiteY4" fmla="*/ 0 h 290057"/>
                <a:gd name="connsiteX5" fmla="*/ 281138 w 281137"/>
                <a:gd name="connsiteY5" fmla="*/ 6171 h 290057"/>
                <a:gd name="connsiteX6" fmla="*/ 274967 w 281137"/>
                <a:gd name="connsiteY6" fmla="*/ 12343 h 290057"/>
                <a:gd name="connsiteX7" fmla="*/ 99081 w 281137"/>
                <a:gd name="connsiteY7" fmla="*/ 135772 h 290057"/>
                <a:gd name="connsiteX8" fmla="*/ 43538 w 281137"/>
                <a:gd name="connsiteY8" fmla="*/ 231429 h 290057"/>
                <a:gd name="connsiteX9" fmla="*/ 12681 w 281137"/>
                <a:gd name="connsiteY9" fmla="*/ 286972 h 290057"/>
                <a:gd name="connsiteX10" fmla="*/ 6509 w 281137"/>
                <a:gd name="connsiteY10" fmla="*/ 290057 h 290057"/>
                <a:gd name="connsiteX11" fmla="*/ 6509 w 281137"/>
                <a:gd name="connsiteY11" fmla="*/ 290057 h 290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1137" h="290057">
                  <a:moveTo>
                    <a:pt x="6509" y="290057"/>
                  </a:moveTo>
                  <a:cubicBezTo>
                    <a:pt x="3423" y="290057"/>
                    <a:pt x="338" y="286972"/>
                    <a:pt x="338" y="283886"/>
                  </a:cubicBezTo>
                  <a:cubicBezTo>
                    <a:pt x="-2747" y="246857"/>
                    <a:pt x="15766" y="234514"/>
                    <a:pt x="37366" y="219086"/>
                  </a:cubicBezTo>
                  <a:cubicBezTo>
                    <a:pt x="58967" y="203657"/>
                    <a:pt x="83652" y="185143"/>
                    <a:pt x="89824" y="132686"/>
                  </a:cubicBezTo>
                  <a:cubicBezTo>
                    <a:pt x="99081" y="24686"/>
                    <a:pt x="268795" y="0"/>
                    <a:pt x="274967" y="0"/>
                  </a:cubicBezTo>
                  <a:cubicBezTo>
                    <a:pt x="278052" y="0"/>
                    <a:pt x="281138" y="3086"/>
                    <a:pt x="281138" y="6171"/>
                  </a:cubicBezTo>
                  <a:cubicBezTo>
                    <a:pt x="281138" y="9257"/>
                    <a:pt x="278052" y="12343"/>
                    <a:pt x="274967" y="12343"/>
                  </a:cubicBezTo>
                  <a:cubicBezTo>
                    <a:pt x="271881" y="12343"/>
                    <a:pt x="108338" y="37028"/>
                    <a:pt x="99081" y="135772"/>
                  </a:cubicBezTo>
                  <a:cubicBezTo>
                    <a:pt x="95995" y="194400"/>
                    <a:pt x="65138" y="216000"/>
                    <a:pt x="43538" y="231429"/>
                  </a:cubicBezTo>
                  <a:cubicBezTo>
                    <a:pt x="25024" y="246857"/>
                    <a:pt x="9595" y="256114"/>
                    <a:pt x="12681" y="286972"/>
                  </a:cubicBezTo>
                  <a:cubicBezTo>
                    <a:pt x="12681" y="286972"/>
                    <a:pt x="9595" y="290057"/>
                    <a:pt x="6509" y="290057"/>
                  </a:cubicBezTo>
                  <a:cubicBezTo>
                    <a:pt x="6509" y="290057"/>
                    <a:pt x="6509" y="290057"/>
                    <a:pt x="6509" y="290057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CA2DE299-7FF7-4915-88A7-661EF858AEEF}"/>
                </a:ext>
              </a:extLst>
            </p:cNvPr>
            <p:cNvSpPr/>
            <p:nvPr/>
          </p:nvSpPr>
          <p:spPr>
            <a:xfrm>
              <a:off x="14742225" y="8625524"/>
              <a:ext cx="122039" cy="119571"/>
            </a:xfrm>
            <a:custGeom>
              <a:avLst/>
              <a:gdLst>
                <a:gd name="connsiteX0" fmla="*/ 8640 w 122039"/>
                <a:gd name="connsiteY0" fmla="*/ 119572 h 119571"/>
                <a:gd name="connsiteX1" fmla="*/ 2469 w 122039"/>
                <a:gd name="connsiteY1" fmla="*/ 116486 h 119571"/>
                <a:gd name="connsiteX2" fmla="*/ 33326 w 122039"/>
                <a:gd name="connsiteY2" fmla="*/ 54771 h 119571"/>
                <a:gd name="connsiteX3" fmla="*/ 110469 w 122039"/>
                <a:gd name="connsiteY3" fmla="*/ 2314 h 119571"/>
                <a:gd name="connsiteX4" fmla="*/ 119725 w 122039"/>
                <a:gd name="connsiteY4" fmla="*/ 2314 h 119571"/>
                <a:gd name="connsiteX5" fmla="*/ 119725 w 122039"/>
                <a:gd name="connsiteY5" fmla="*/ 11572 h 119571"/>
                <a:gd name="connsiteX6" fmla="*/ 39498 w 122039"/>
                <a:gd name="connsiteY6" fmla="*/ 67115 h 119571"/>
                <a:gd name="connsiteX7" fmla="*/ 14811 w 122039"/>
                <a:gd name="connsiteY7" fmla="*/ 113400 h 119571"/>
                <a:gd name="connsiteX8" fmla="*/ 8640 w 122039"/>
                <a:gd name="connsiteY8" fmla="*/ 119572 h 119571"/>
                <a:gd name="connsiteX9" fmla="*/ 8640 w 122039"/>
                <a:gd name="connsiteY9" fmla="*/ 119572 h 119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2039" h="119571">
                  <a:moveTo>
                    <a:pt x="8640" y="119572"/>
                  </a:moveTo>
                  <a:cubicBezTo>
                    <a:pt x="5554" y="119572"/>
                    <a:pt x="2469" y="119572"/>
                    <a:pt x="2469" y="116486"/>
                  </a:cubicBezTo>
                  <a:cubicBezTo>
                    <a:pt x="2469" y="116486"/>
                    <a:pt x="-12960" y="73286"/>
                    <a:pt x="33326" y="54771"/>
                  </a:cubicBezTo>
                  <a:cubicBezTo>
                    <a:pt x="73440" y="36257"/>
                    <a:pt x="110469" y="2314"/>
                    <a:pt x="110469" y="2314"/>
                  </a:cubicBezTo>
                  <a:cubicBezTo>
                    <a:pt x="113554" y="-771"/>
                    <a:pt x="116640" y="-771"/>
                    <a:pt x="119725" y="2314"/>
                  </a:cubicBezTo>
                  <a:cubicBezTo>
                    <a:pt x="122811" y="5400"/>
                    <a:pt x="122811" y="8486"/>
                    <a:pt x="119725" y="11572"/>
                  </a:cubicBezTo>
                  <a:cubicBezTo>
                    <a:pt x="116640" y="11572"/>
                    <a:pt x="79611" y="48600"/>
                    <a:pt x="39498" y="67115"/>
                  </a:cubicBezTo>
                  <a:cubicBezTo>
                    <a:pt x="2469" y="82543"/>
                    <a:pt x="14811" y="113400"/>
                    <a:pt x="14811" y="113400"/>
                  </a:cubicBezTo>
                  <a:cubicBezTo>
                    <a:pt x="14811" y="113400"/>
                    <a:pt x="14811" y="116486"/>
                    <a:pt x="8640" y="119572"/>
                  </a:cubicBezTo>
                  <a:cubicBezTo>
                    <a:pt x="8640" y="119572"/>
                    <a:pt x="8640" y="119572"/>
                    <a:pt x="8640" y="119572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174781F6-60D6-43B4-A4B4-3CA6731EB20D}"/>
                </a:ext>
              </a:extLst>
            </p:cNvPr>
            <p:cNvSpPr/>
            <p:nvPr/>
          </p:nvSpPr>
          <p:spPr>
            <a:xfrm>
              <a:off x="15091065" y="8623475"/>
              <a:ext cx="225763" cy="81506"/>
            </a:xfrm>
            <a:custGeom>
              <a:avLst/>
              <a:gdLst>
                <a:gd name="connsiteX0" fmla="*/ 73286 w 225763"/>
                <a:gd name="connsiteY0" fmla="*/ 81507 h 81506"/>
                <a:gd name="connsiteX1" fmla="*/ 2314 w 225763"/>
                <a:gd name="connsiteY1" fmla="*/ 53736 h 81506"/>
                <a:gd name="connsiteX2" fmla="*/ 2314 w 225763"/>
                <a:gd name="connsiteY2" fmla="*/ 44478 h 81506"/>
                <a:gd name="connsiteX3" fmla="*/ 11571 w 225763"/>
                <a:gd name="connsiteY3" fmla="*/ 44478 h 81506"/>
                <a:gd name="connsiteX4" fmla="*/ 82542 w 225763"/>
                <a:gd name="connsiteY4" fmla="*/ 69164 h 81506"/>
                <a:gd name="connsiteX5" fmla="*/ 215229 w 225763"/>
                <a:gd name="connsiteY5" fmla="*/ 1278 h 81506"/>
                <a:gd name="connsiteX6" fmla="*/ 224486 w 225763"/>
                <a:gd name="connsiteY6" fmla="*/ 4364 h 81506"/>
                <a:gd name="connsiteX7" fmla="*/ 221400 w 225763"/>
                <a:gd name="connsiteY7" fmla="*/ 13621 h 81506"/>
                <a:gd name="connsiteX8" fmla="*/ 82542 w 225763"/>
                <a:gd name="connsiteY8" fmla="*/ 81507 h 81506"/>
                <a:gd name="connsiteX9" fmla="*/ 73286 w 225763"/>
                <a:gd name="connsiteY9" fmla="*/ 81507 h 8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763" h="81506">
                  <a:moveTo>
                    <a:pt x="73286" y="81507"/>
                  </a:moveTo>
                  <a:cubicBezTo>
                    <a:pt x="33171" y="81507"/>
                    <a:pt x="5400" y="53736"/>
                    <a:pt x="2314" y="53736"/>
                  </a:cubicBezTo>
                  <a:cubicBezTo>
                    <a:pt x="-771" y="50650"/>
                    <a:pt x="-771" y="47564"/>
                    <a:pt x="2314" y="44478"/>
                  </a:cubicBezTo>
                  <a:cubicBezTo>
                    <a:pt x="5400" y="41392"/>
                    <a:pt x="8486" y="41392"/>
                    <a:pt x="11571" y="44478"/>
                  </a:cubicBezTo>
                  <a:cubicBezTo>
                    <a:pt x="11571" y="44478"/>
                    <a:pt x="42429" y="75335"/>
                    <a:pt x="82542" y="69164"/>
                  </a:cubicBezTo>
                  <a:cubicBezTo>
                    <a:pt x="122657" y="62992"/>
                    <a:pt x="215229" y="1278"/>
                    <a:pt x="215229" y="1278"/>
                  </a:cubicBezTo>
                  <a:cubicBezTo>
                    <a:pt x="218314" y="-1807"/>
                    <a:pt x="221400" y="1278"/>
                    <a:pt x="224486" y="4364"/>
                  </a:cubicBezTo>
                  <a:cubicBezTo>
                    <a:pt x="227571" y="7450"/>
                    <a:pt x="224486" y="10535"/>
                    <a:pt x="221400" y="13621"/>
                  </a:cubicBezTo>
                  <a:cubicBezTo>
                    <a:pt x="218314" y="16707"/>
                    <a:pt x="125742" y="78421"/>
                    <a:pt x="82542" y="81507"/>
                  </a:cubicBezTo>
                  <a:cubicBezTo>
                    <a:pt x="79457" y="81507"/>
                    <a:pt x="76372" y="81507"/>
                    <a:pt x="73286" y="81507"/>
                  </a:cubicBezTo>
                  <a:close/>
                </a:path>
              </a:pathLst>
            </a:custGeom>
            <a:solidFill>
              <a:srgbClr val="E58777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ED14A7A8-9441-47FB-9FB4-A8B76525E986}"/>
                </a:ext>
              </a:extLst>
            </p:cNvPr>
            <p:cNvSpPr/>
            <p:nvPr/>
          </p:nvSpPr>
          <p:spPr>
            <a:xfrm>
              <a:off x="13485723" y="8995039"/>
              <a:ext cx="780209" cy="925714"/>
            </a:xfrm>
            <a:custGeom>
              <a:avLst/>
              <a:gdLst>
                <a:gd name="connsiteX0" fmla="*/ 416571 w 780209"/>
                <a:gd name="connsiteY0" fmla="*/ 27772 h 925714"/>
                <a:gd name="connsiteX1" fmla="*/ 502971 w 780209"/>
                <a:gd name="connsiteY1" fmla="*/ 620229 h 925714"/>
                <a:gd name="connsiteX2" fmla="*/ 0 w 780209"/>
                <a:gd name="connsiteY2" fmla="*/ 796115 h 925714"/>
                <a:gd name="connsiteX3" fmla="*/ 74057 w 780209"/>
                <a:gd name="connsiteY3" fmla="*/ 925714 h 925714"/>
                <a:gd name="connsiteX4" fmla="*/ 740571 w 780209"/>
                <a:gd name="connsiteY4" fmla="*/ 762172 h 925714"/>
                <a:gd name="connsiteX5" fmla="*/ 715885 w 780209"/>
                <a:gd name="connsiteY5" fmla="*/ 0 h 925714"/>
                <a:gd name="connsiteX6" fmla="*/ 416571 w 780209"/>
                <a:gd name="connsiteY6" fmla="*/ 27772 h 92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0209" h="925714">
                  <a:moveTo>
                    <a:pt x="416571" y="27772"/>
                  </a:moveTo>
                  <a:lnTo>
                    <a:pt x="502971" y="620229"/>
                  </a:lnTo>
                  <a:lnTo>
                    <a:pt x="0" y="796115"/>
                  </a:lnTo>
                  <a:lnTo>
                    <a:pt x="74057" y="925714"/>
                  </a:lnTo>
                  <a:cubicBezTo>
                    <a:pt x="74057" y="925714"/>
                    <a:pt x="638742" y="842401"/>
                    <a:pt x="740571" y="762172"/>
                  </a:cubicBezTo>
                  <a:cubicBezTo>
                    <a:pt x="842400" y="681943"/>
                    <a:pt x="715885" y="0"/>
                    <a:pt x="715885" y="0"/>
                  </a:cubicBezTo>
                  <a:lnTo>
                    <a:pt x="416571" y="27772"/>
                  </a:ln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6A2EF0FD-742D-46B9-9E80-1AF6210FED99}"/>
                </a:ext>
              </a:extLst>
            </p:cNvPr>
            <p:cNvSpPr/>
            <p:nvPr/>
          </p:nvSpPr>
          <p:spPr>
            <a:xfrm>
              <a:off x="13908465" y="8991953"/>
              <a:ext cx="138857" cy="644914"/>
            </a:xfrm>
            <a:custGeom>
              <a:avLst/>
              <a:gdLst>
                <a:gd name="connsiteX0" fmla="*/ 129600 w 138857"/>
                <a:gd name="connsiteY0" fmla="*/ 644914 h 644914"/>
                <a:gd name="connsiteX1" fmla="*/ 129600 w 138857"/>
                <a:gd name="connsiteY1" fmla="*/ 644914 h 644914"/>
                <a:gd name="connsiteX2" fmla="*/ 77143 w 138857"/>
                <a:gd name="connsiteY2" fmla="*/ 626400 h 644914"/>
                <a:gd name="connsiteX3" fmla="*/ 74057 w 138857"/>
                <a:gd name="connsiteY3" fmla="*/ 623314 h 644914"/>
                <a:gd name="connsiteX4" fmla="*/ 0 w 138857"/>
                <a:gd name="connsiteY4" fmla="*/ 6171 h 644914"/>
                <a:gd name="connsiteX5" fmla="*/ 6172 w 138857"/>
                <a:gd name="connsiteY5" fmla="*/ 0 h 644914"/>
                <a:gd name="connsiteX6" fmla="*/ 12343 w 138857"/>
                <a:gd name="connsiteY6" fmla="*/ 6171 h 644914"/>
                <a:gd name="connsiteX7" fmla="*/ 86401 w 138857"/>
                <a:gd name="connsiteY7" fmla="*/ 620228 h 644914"/>
                <a:gd name="connsiteX8" fmla="*/ 132686 w 138857"/>
                <a:gd name="connsiteY8" fmla="*/ 635657 h 644914"/>
                <a:gd name="connsiteX9" fmla="*/ 138857 w 138857"/>
                <a:gd name="connsiteY9" fmla="*/ 641829 h 644914"/>
                <a:gd name="connsiteX10" fmla="*/ 129600 w 138857"/>
                <a:gd name="connsiteY10" fmla="*/ 644914 h 644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8857" h="644914">
                  <a:moveTo>
                    <a:pt x="129600" y="644914"/>
                  </a:moveTo>
                  <a:cubicBezTo>
                    <a:pt x="126514" y="644914"/>
                    <a:pt x="126514" y="644914"/>
                    <a:pt x="129600" y="644914"/>
                  </a:cubicBezTo>
                  <a:cubicBezTo>
                    <a:pt x="108000" y="641829"/>
                    <a:pt x="77143" y="626400"/>
                    <a:pt x="77143" y="626400"/>
                  </a:cubicBezTo>
                  <a:cubicBezTo>
                    <a:pt x="74057" y="626400"/>
                    <a:pt x="74057" y="623314"/>
                    <a:pt x="74057" y="623314"/>
                  </a:cubicBezTo>
                  <a:cubicBezTo>
                    <a:pt x="55543" y="515314"/>
                    <a:pt x="0" y="9257"/>
                    <a:pt x="0" y="6171"/>
                  </a:cubicBezTo>
                  <a:cubicBezTo>
                    <a:pt x="0" y="3085"/>
                    <a:pt x="3086" y="0"/>
                    <a:pt x="6172" y="0"/>
                  </a:cubicBezTo>
                  <a:cubicBezTo>
                    <a:pt x="9258" y="0"/>
                    <a:pt x="12343" y="3085"/>
                    <a:pt x="12343" y="6171"/>
                  </a:cubicBezTo>
                  <a:cubicBezTo>
                    <a:pt x="12343" y="12343"/>
                    <a:pt x="67886" y="506057"/>
                    <a:pt x="86401" y="620228"/>
                  </a:cubicBezTo>
                  <a:cubicBezTo>
                    <a:pt x="92571" y="623314"/>
                    <a:pt x="117258" y="632571"/>
                    <a:pt x="132686" y="635657"/>
                  </a:cubicBezTo>
                  <a:cubicBezTo>
                    <a:pt x="135771" y="635657"/>
                    <a:pt x="138857" y="638743"/>
                    <a:pt x="138857" y="641829"/>
                  </a:cubicBezTo>
                  <a:cubicBezTo>
                    <a:pt x="132686" y="644914"/>
                    <a:pt x="129600" y="644914"/>
                    <a:pt x="129600" y="644914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887FE78D-1AB0-441C-B355-CF2026D19FF1}"/>
                </a:ext>
              </a:extLst>
            </p:cNvPr>
            <p:cNvSpPr/>
            <p:nvPr/>
          </p:nvSpPr>
          <p:spPr>
            <a:xfrm>
              <a:off x="13829185" y="8550401"/>
              <a:ext cx="427966" cy="591208"/>
            </a:xfrm>
            <a:custGeom>
              <a:avLst/>
              <a:gdLst>
                <a:gd name="connsiteX0" fmla="*/ 427966 w 427966"/>
                <a:gd name="connsiteY0" fmla="*/ 537209 h 591208"/>
                <a:gd name="connsiteX1" fmla="*/ 144080 w 427966"/>
                <a:gd name="connsiteY1" fmla="*/ 295 h 591208"/>
                <a:gd name="connsiteX2" fmla="*/ 2137 w 427966"/>
                <a:gd name="connsiteY2" fmla="*/ 580409 h 591208"/>
                <a:gd name="connsiteX3" fmla="*/ 427966 w 427966"/>
                <a:gd name="connsiteY3" fmla="*/ 537209 h 591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966" h="591208">
                  <a:moveTo>
                    <a:pt x="427966" y="537209"/>
                  </a:moveTo>
                  <a:cubicBezTo>
                    <a:pt x="427966" y="537209"/>
                    <a:pt x="350823" y="15723"/>
                    <a:pt x="144080" y="295"/>
                  </a:cubicBezTo>
                  <a:cubicBezTo>
                    <a:pt x="-28720" y="-15134"/>
                    <a:pt x="2137" y="580409"/>
                    <a:pt x="2137" y="580409"/>
                  </a:cubicBezTo>
                  <a:cubicBezTo>
                    <a:pt x="2137" y="580409"/>
                    <a:pt x="227395" y="623609"/>
                    <a:pt x="427966" y="537209"/>
                  </a:cubicBezTo>
                  <a:close/>
                </a:path>
              </a:pathLst>
            </a:custGeom>
            <a:solidFill>
              <a:srgbClr val="708686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63CFB1C9-0FF7-4A45-9719-20F3EFE3ACCC}"/>
                </a:ext>
              </a:extLst>
            </p:cNvPr>
            <p:cNvSpPr/>
            <p:nvPr/>
          </p:nvSpPr>
          <p:spPr>
            <a:xfrm>
              <a:off x="13825151" y="8547610"/>
              <a:ext cx="154285" cy="601714"/>
            </a:xfrm>
            <a:custGeom>
              <a:avLst/>
              <a:gdLst>
                <a:gd name="connsiteX0" fmla="*/ 123429 w 154285"/>
                <a:gd name="connsiteY0" fmla="*/ 601714 h 601714"/>
                <a:gd name="connsiteX1" fmla="*/ 3085 w 154285"/>
                <a:gd name="connsiteY1" fmla="*/ 586286 h 601714"/>
                <a:gd name="connsiteX2" fmla="*/ 0 w 154285"/>
                <a:gd name="connsiteY2" fmla="*/ 586286 h 601714"/>
                <a:gd name="connsiteX3" fmla="*/ 0 w 154285"/>
                <a:gd name="connsiteY3" fmla="*/ 583200 h 601714"/>
                <a:gd name="connsiteX4" fmla="*/ 15429 w 154285"/>
                <a:gd name="connsiteY4" fmla="*/ 219086 h 601714"/>
                <a:gd name="connsiteX5" fmla="*/ 148114 w 154285"/>
                <a:gd name="connsiteY5" fmla="*/ 0 h 601714"/>
                <a:gd name="connsiteX6" fmla="*/ 154286 w 154285"/>
                <a:gd name="connsiteY6" fmla="*/ 3086 h 601714"/>
                <a:gd name="connsiteX7" fmla="*/ 151200 w 154285"/>
                <a:gd name="connsiteY7" fmla="*/ 9257 h 601714"/>
                <a:gd name="connsiteX8" fmla="*/ 27771 w 154285"/>
                <a:gd name="connsiteY8" fmla="*/ 219086 h 601714"/>
                <a:gd name="connsiteX9" fmla="*/ 12343 w 154285"/>
                <a:gd name="connsiteY9" fmla="*/ 577029 h 601714"/>
                <a:gd name="connsiteX10" fmla="*/ 145028 w 154285"/>
                <a:gd name="connsiteY10" fmla="*/ 589372 h 601714"/>
                <a:gd name="connsiteX11" fmla="*/ 151200 w 154285"/>
                <a:gd name="connsiteY11" fmla="*/ 595543 h 601714"/>
                <a:gd name="connsiteX12" fmla="*/ 145028 w 154285"/>
                <a:gd name="connsiteY12" fmla="*/ 601714 h 601714"/>
                <a:gd name="connsiteX13" fmla="*/ 123429 w 154285"/>
                <a:gd name="connsiteY13" fmla="*/ 601714 h 601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4285" h="601714">
                  <a:moveTo>
                    <a:pt x="123429" y="601714"/>
                  </a:moveTo>
                  <a:cubicBezTo>
                    <a:pt x="61714" y="601714"/>
                    <a:pt x="3085" y="589372"/>
                    <a:pt x="3085" y="586286"/>
                  </a:cubicBezTo>
                  <a:lnTo>
                    <a:pt x="0" y="586286"/>
                  </a:lnTo>
                  <a:lnTo>
                    <a:pt x="0" y="583200"/>
                  </a:lnTo>
                  <a:cubicBezTo>
                    <a:pt x="0" y="580114"/>
                    <a:pt x="0" y="401143"/>
                    <a:pt x="15429" y="219086"/>
                  </a:cubicBezTo>
                  <a:cubicBezTo>
                    <a:pt x="30857" y="30857"/>
                    <a:pt x="141942" y="0"/>
                    <a:pt x="148114" y="0"/>
                  </a:cubicBezTo>
                  <a:cubicBezTo>
                    <a:pt x="151200" y="0"/>
                    <a:pt x="154286" y="0"/>
                    <a:pt x="154286" y="3086"/>
                  </a:cubicBezTo>
                  <a:cubicBezTo>
                    <a:pt x="154286" y="6172"/>
                    <a:pt x="154286" y="9257"/>
                    <a:pt x="151200" y="9257"/>
                  </a:cubicBezTo>
                  <a:cubicBezTo>
                    <a:pt x="151200" y="9257"/>
                    <a:pt x="43200" y="40114"/>
                    <a:pt x="27771" y="219086"/>
                  </a:cubicBezTo>
                  <a:cubicBezTo>
                    <a:pt x="12343" y="385714"/>
                    <a:pt x="12343" y="549257"/>
                    <a:pt x="12343" y="577029"/>
                  </a:cubicBezTo>
                  <a:cubicBezTo>
                    <a:pt x="27771" y="580114"/>
                    <a:pt x="86400" y="592458"/>
                    <a:pt x="145028" y="589372"/>
                  </a:cubicBezTo>
                  <a:cubicBezTo>
                    <a:pt x="148114" y="589372"/>
                    <a:pt x="151200" y="592458"/>
                    <a:pt x="151200" y="595543"/>
                  </a:cubicBezTo>
                  <a:cubicBezTo>
                    <a:pt x="151200" y="598629"/>
                    <a:pt x="148114" y="601714"/>
                    <a:pt x="145028" y="601714"/>
                  </a:cubicBezTo>
                  <a:cubicBezTo>
                    <a:pt x="135771" y="601714"/>
                    <a:pt x="129599" y="601714"/>
                    <a:pt x="123429" y="601714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F880C869-EF02-4FA5-A8F1-EDF9296FB863}"/>
                </a:ext>
              </a:extLst>
            </p:cNvPr>
            <p:cNvGrpSpPr/>
            <p:nvPr/>
          </p:nvGrpSpPr>
          <p:grpSpPr>
            <a:xfrm>
              <a:off x="13185601" y="9770120"/>
              <a:ext cx="395778" cy="273520"/>
              <a:chOff x="13185601" y="9770120"/>
              <a:chExt cx="395778" cy="273520"/>
            </a:xfrm>
          </p:grpSpPr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F88558DC-32EE-452E-B00B-B5651CD61998}"/>
                  </a:ext>
                </a:extLst>
              </p:cNvPr>
              <p:cNvSpPr/>
              <p:nvPr/>
            </p:nvSpPr>
            <p:spPr>
              <a:xfrm>
                <a:off x="13265991" y="9770120"/>
                <a:ext cx="232074" cy="101352"/>
              </a:xfrm>
              <a:custGeom>
                <a:avLst/>
                <a:gdLst>
                  <a:gd name="connsiteX0" fmla="*/ 232074 w 232074"/>
                  <a:gd name="connsiteY0" fmla="*/ 27204 h 101352"/>
                  <a:gd name="connsiteX1" fmla="*/ 117902 w 232074"/>
                  <a:gd name="connsiteY1" fmla="*/ 2519 h 101352"/>
                  <a:gd name="connsiteX2" fmla="*/ 646 w 232074"/>
                  <a:gd name="connsiteY2" fmla="*/ 79662 h 101352"/>
                  <a:gd name="connsiteX3" fmla="*/ 34589 w 232074"/>
                  <a:gd name="connsiteY3" fmla="*/ 95090 h 101352"/>
                  <a:gd name="connsiteX4" fmla="*/ 232074 w 232074"/>
                  <a:gd name="connsiteY4" fmla="*/ 27204 h 101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2074" h="101352">
                    <a:moveTo>
                      <a:pt x="232074" y="27204"/>
                    </a:moveTo>
                    <a:cubicBezTo>
                      <a:pt x="232074" y="27204"/>
                      <a:pt x="158017" y="-9824"/>
                      <a:pt x="117902" y="2519"/>
                    </a:cubicBezTo>
                    <a:cubicBezTo>
                      <a:pt x="77788" y="14862"/>
                      <a:pt x="6816" y="39547"/>
                      <a:pt x="646" y="79662"/>
                    </a:cubicBezTo>
                    <a:cubicBezTo>
                      <a:pt x="-5526" y="116690"/>
                      <a:pt x="34589" y="95090"/>
                      <a:pt x="34589" y="95090"/>
                    </a:cubicBezTo>
                    <a:lnTo>
                      <a:pt x="232074" y="27204"/>
                    </a:ln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C711F30F-A6C1-4BCA-B2A0-12FEA6855EF6}"/>
                  </a:ext>
                </a:extLst>
              </p:cNvPr>
              <p:cNvSpPr/>
              <p:nvPr/>
            </p:nvSpPr>
            <p:spPr>
              <a:xfrm>
                <a:off x="13185601" y="9781806"/>
                <a:ext cx="395778" cy="261834"/>
              </a:xfrm>
              <a:custGeom>
                <a:avLst/>
                <a:gdLst>
                  <a:gd name="connsiteX0" fmla="*/ 395778 w 395778"/>
                  <a:gd name="connsiteY0" fmla="*/ 117348 h 261834"/>
                  <a:gd name="connsiteX1" fmla="*/ 340236 w 395778"/>
                  <a:gd name="connsiteY1" fmla="*/ 90 h 261834"/>
                  <a:gd name="connsiteX2" fmla="*/ 81036 w 395778"/>
                  <a:gd name="connsiteY2" fmla="*/ 64890 h 261834"/>
                  <a:gd name="connsiteX3" fmla="*/ 22407 w 395778"/>
                  <a:gd name="connsiteY3" fmla="*/ 117348 h 261834"/>
                  <a:gd name="connsiteX4" fmla="*/ 44007 w 395778"/>
                  <a:gd name="connsiteY4" fmla="*/ 123518 h 261834"/>
                  <a:gd name="connsiteX5" fmla="*/ 90293 w 395778"/>
                  <a:gd name="connsiteY5" fmla="*/ 117348 h 261834"/>
                  <a:gd name="connsiteX6" fmla="*/ 37836 w 395778"/>
                  <a:gd name="connsiteY6" fmla="*/ 154376 h 261834"/>
                  <a:gd name="connsiteX7" fmla="*/ 807 w 395778"/>
                  <a:gd name="connsiteY7" fmla="*/ 213004 h 261834"/>
                  <a:gd name="connsiteX8" fmla="*/ 31664 w 395778"/>
                  <a:gd name="connsiteY8" fmla="*/ 219176 h 261834"/>
                  <a:gd name="connsiteX9" fmla="*/ 34750 w 395778"/>
                  <a:gd name="connsiteY9" fmla="*/ 234604 h 261834"/>
                  <a:gd name="connsiteX10" fmla="*/ 111893 w 395778"/>
                  <a:gd name="connsiteY10" fmla="*/ 225348 h 261834"/>
                  <a:gd name="connsiteX11" fmla="*/ 164350 w 395778"/>
                  <a:gd name="connsiteY11" fmla="*/ 203747 h 261834"/>
                  <a:gd name="connsiteX12" fmla="*/ 127322 w 395778"/>
                  <a:gd name="connsiteY12" fmla="*/ 259290 h 261834"/>
                  <a:gd name="connsiteX13" fmla="*/ 182864 w 395778"/>
                  <a:gd name="connsiteY13" fmla="*/ 243861 h 261834"/>
                  <a:gd name="connsiteX14" fmla="*/ 272350 w 395778"/>
                  <a:gd name="connsiteY14" fmla="*/ 194490 h 261834"/>
                  <a:gd name="connsiteX15" fmla="*/ 364921 w 395778"/>
                  <a:gd name="connsiteY15" fmla="*/ 157461 h 261834"/>
                  <a:gd name="connsiteX16" fmla="*/ 395778 w 395778"/>
                  <a:gd name="connsiteY16" fmla="*/ 117348 h 26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95778" h="261834">
                    <a:moveTo>
                      <a:pt x="395778" y="117348"/>
                    </a:moveTo>
                    <a:cubicBezTo>
                      <a:pt x="395778" y="74147"/>
                      <a:pt x="340236" y="-2996"/>
                      <a:pt x="340236" y="90"/>
                    </a:cubicBezTo>
                    <a:cubicBezTo>
                      <a:pt x="253836" y="21690"/>
                      <a:pt x="164350" y="30947"/>
                      <a:pt x="81036" y="64890"/>
                    </a:cubicBezTo>
                    <a:cubicBezTo>
                      <a:pt x="68693" y="71062"/>
                      <a:pt x="6979" y="92661"/>
                      <a:pt x="22407" y="117348"/>
                    </a:cubicBezTo>
                    <a:cubicBezTo>
                      <a:pt x="28578" y="126604"/>
                      <a:pt x="34750" y="123518"/>
                      <a:pt x="44007" y="123518"/>
                    </a:cubicBezTo>
                    <a:cubicBezTo>
                      <a:pt x="59436" y="123518"/>
                      <a:pt x="74864" y="120433"/>
                      <a:pt x="90293" y="117348"/>
                    </a:cubicBezTo>
                    <a:cubicBezTo>
                      <a:pt x="71778" y="126604"/>
                      <a:pt x="53265" y="138947"/>
                      <a:pt x="37836" y="154376"/>
                    </a:cubicBezTo>
                    <a:cubicBezTo>
                      <a:pt x="25492" y="163633"/>
                      <a:pt x="-5365" y="191405"/>
                      <a:pt x="807" y="213004"/>
                    </a:cubicBezTo>
                    <a:cubicBezTo>
                      <a:pt x="3893" y="222262"/>
                      <a:pt x="16236" y="225348"/>
                      <a:pt x="31664" y="219176"/>
                    </a:cubicBezTo>
                    <a:cubicBezTo>
                      <a:pt x="28578" y="225348"/>
                      <a:pt x="28578" y="231518"/>
                      <a:pt x="34750" y="234604"/>
                    </a:cubicBezTo>
                    <a:cubicBezTo>
                      <a:pt x="53265" y="246947"/>
                      <a:pt x="93379" y="231518"/>
                      <a:pt x="111893" y="225348"/>
                    </a:cubicBezTo>
                    <a:cubicBezTo>
                      <a:pt x="130408" y="219176"/>
                      <a:pt x="145836" y="209919"/>
                      <a:pt x="164350" y="203747"/>
                    </a:cubicBezTo>
                    <a:cubicBezTo>
                      <a:pt x="136578" y="222262"/>
                      <a:pt x="108807" y="246947"/>
                      <a:pt x="127322" y="259290"/>
                    </a:cubicBezTo>
                    <a:cubicBezTo>
                      <a:pt x="139664" y="268547"/>
                      <a:pt x="170521" y="250033"/>
                      <a:pt x="182864" y="243861"/>
                    </a:cubicBezTo>
                    <a:cubicBezTo>
                      <a:pt x="213721" y="228433"/>
                      <a:pt x="241492" y="209919"/>
                      <a:pt x="272350" y="194490"/>
                    </a:cubicBezTo>
                    <a:cubicBezTo>
                      <a:pt x="303207" y="179062"/>
                      <a:pt x="334064" y="169804"/>
                      <a:pt x="364921" y="157461"/>
                    </a:cubicBezTo>
                    <a:cubicBezTo>
                      <a:pt x="386521" y="148205"/>
                      <a:pt x="392693" y="145119"/>
                      <a:pt x="395778" y="117348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FDA31079-9E1E-4BE7-91EA-E47341E6F12A}"/>
                  </a:ext>
                </a:extLst>
              </p:cNvPr>
              <p:cNvSpPr/>
              <p:nvPr/>
            </p:nvSpPr>
            <p:spPr>
              <a:xfrm>
                <a:off x="13212808" y="9911496"/>
                <a:ext cx="152571" cy="95657"/>
              </a:xfrm>
              <a:custGeom>
                <a:avLst/>
                <a:gdLst>
                  <a:gd name="connsiteX0" fmla="*/ 4457 w 152571"/>
                  <a:gd name="connsiteY0" fmla="*/ 95657 h 95657"/>
                  <a:gd name="connsiteX1" fmla="*/ 1372 w 152571"/>
                  <a:gd name="connsiteY1" fmla="*/ 92571 h 95657"/>
                  <a:gd name="connsiteX2" fmla="*/ 1372 w 152571"/>
                  <a:gd name="connsiteY2" fmla="*/ 83314 h 95657"/>
                  <a:gd name="connsiteX3" fmla="*/ 146400 w 152571"/>
                  <a:gd name="connsiteY3" fmla="*/ 0 h 95657"/>
                  <a:gd name="connsiteX4" fmla="*/ 152571 w 152571"/>
                  <a:gd name="connsiteY4" fmla="*/ 6171 h 95657"/>
                  <a:gd name="connsiteX5" fmla="*/ 146400 w 152571"/>
                  <a:gd name="connsiteY5" fmla="*/ 12343 h 95657"/>
                  <a:gd name="connsiteX6" fmla="*/ 4457 w 152571"/>
                  <a:gd name="connsiteY6" fmla="*/ 95657 h 95657"/>
                  <a:gd name="connsiteX7" fmla="*/ 4457 w 152571"/>
                  <a:gd name="connsiteY7" fmla="*/ 95657 h 95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2571" h="95657">
                    <a:moveTo>
                      <a:pt x="4457" y="95657"/>
                    </a:moveTo>
                    <a:cubicBezTo>
                      <a:pt x="1372" y="95657"/>
                      <a:pt x="1372" y="95657"/>
                      <a:pt x="1372" y="92571"/>
                    </a:cubicBezTo>
                    <a:cubicBezTo>
                      <a:pt x="-1714" y="89486"/>
                      <a:pt x="1372" y="86400"/>
                      <a:pt x="1372" y="83314"/>
                    </a:cubicBezTo>
                    <a:cubicBezTo>
                      <a:pt x="4457" y="80229"/>
                      <a:pt x="109372" y="6171"/>
                      <a:pt x="146400" y="0"/>
                    </a:cubicBezTo>
                    <a:cubicBezTo>
                      <a:pt x="149486" y="0"/>
                      <a:pt x="152571" y="3086"/>
                      <a:pt x="152571" y="6171"/>
                    </a:cubicBezTo>
                    <a:cubicBezTo>
                      <a:pt x="152571" y="9257"/>
                      <a:pt x="149486" y="12343"/>
                      <a:pt x="146400" y="12343"/>
                    </a:cubicBezTo>
                    <a:cubicBezTo>
                      <a:pt x="112457" y="18514"/>
                      <a:pt x="7543" y="92571"/>
                      <a:pt x="4457" y="95657"/>
                    </a:cubicBezTo>
                    <a:cubicBezTo>
                      <a:pt x="7543" y="92571"/>
                      <a:pt x="7543" y="95657"/>
                      <a:pt x="4457" y="9565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17020037-5D00-4620-BE6F-FECFAC4A633A}"/>
                  </a:ext>
                </a:extLst>
              </p:cNvPr>
              <p:cNvSpPr/>
              <p:nvPr/>
            </p:nvSpPr>
            <p:spPr>
              <a:xfrm>
                <a:off x="13346866" y="9960868"/>
                <a:ext cx="58628" cy="30857"/>
              </a:xfrm>
              <a:custGeom>
                <a:avLst/>
                <a:gdLst>
                  <a:gd name="connsiteX0" fmla="*/ 6171 w 58628"/>
                  <a:gd name="connsiteY0" fmla="*/ 30857 h 30857"/>
                  <a:gd name="connsiteX1" fmla="*/ 0 w 58628"/>
                  <a:gd name="connsiteY1" fmla="*/ 27771 h 30857"/>
                  <a:gd name="connsiteX2" fmla="*/ 3085 w 58628"/>
                  <a:gd name="connsiteY2" fmla="*/ 21599 h 30857"/>
                  <a:gd name="connsiteX3" fmla="*/ 52457 w 58628"/>
                  <a:gd name="connsiteY3" fmla="*/ 0 h 30857"/>
                  <a:gd name="connsiteX4" fmla="*/ 58628 w 58628"/>
                  <a:gd name="connsiteY4" fmla="*/ 3085 h 30857"/>
                  <a:gd name="connsiteX5" fmla="*/ 55542 w 58628"/>
                  <a:gd name="connsiteY5" fmla="*/ 9257 h 30857"/>
                  <a:gd name="connsiteX6" fmla="*/ 6171 w 58628"/>
                  <a:gd name="connsiteY6" fmla="*/ 30857 h 30857"/>
                  <a:gd name="connsiteX7" fmla="*/ 6171 w 58628"/>
                  <a:gd name="connsiteY7" fmla="*/ 30857 h 30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8628" h="30857">
                    <a:moveTo>
                      <a:pt x="6171" y="30857"/>
                    </a:moveTo>
                    <a:cubicBezTo>
                      <a:pt x="3085" y="30857"/>
                      <a:pt x="3085" y="30857"/>
                      <a:pt x="0" y="27771"/>
                    </a:cubicBezTo>
                    <a:cubicBezTo>
                      <a:pt x="0" y="24685"/>
                      <a:pt x="0" y="21599"/>
                      <a:pt x="3085" y="21599"/>
                    </a:cubicBezTo>
                    <a:lnTo>
                      <a:pt x="52457" y="0"/>
                    </a:lnTo>
                    <a:cubicBezTo>
                      <a:pt x="55542" y="0"/>
                      <a:pt x="58628" y="0"/>
                      <a:pt x="58628" y="3085"/>
                    </a:cubicBezTo>
                    <a:cubicBezTo>
                      <a:pt x="58628" y="6171"/>
                      <a:pt x="58628" y="9257"/>
                      <a:pt x="55542" y="9257"/>
                    </a:cubicBezTo>
                    <a:lnTo>
                      <a:pt x="6171" y="30857"/>
                    </a:lnTo>
                    <a:cubicBezTo>
                      <a:pt x="6171" y="30857"/>
                      <a:pt x="6171" y="30857"/>
                      <a:pt x="6171" y="3085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AEE64378-B7A3-44A0-A2E0-811AD020610A}"/>
                  </a:ext>
                </a:extLst>
              </p:cNvPr>
              <p:cNvSpPr/>
              <p:nvPr/>
            </p:nvSpPr>
            <p:spPr>
              <a:xfrm>
                <a:off x="13408525" y="9843610"/>
                <a:ext cx="48654" cy="108000"/>
              </a:xfrm>
              <a:custGeom>
                <a:avLst/>
                <a:gdLst>
                  <a:gd name="connsiteX0" fmla="*/ 40169 w 48654"/>
                  <a:gd name="connsiteY0" fmla="*/ 108000 h 108000"/>
                  <a:gd name="connsiteX1" fmla="*/ 37083 w 48654"/>
                  <a:gd name="connsiteY1" fmla="*/ 104914 h 108000"/>
                  <a:gd name="connsiteX2" fmla="*/ 55 w 48654"/>
                  <a:gd name="connsiteY2" fmla="*/ 6172 h 108000"/>
                  <a:gd name="connsiteX3" fmla="*/ 6226 w 48654"/>
                  <a:gd name="connsiteY3" fmla="*/ 0 h 108000"/>
                  <a:gd name="connsiteX4" fmla="*/ 12398 w 48654"/>
                  <a:gd name="connsiteY4" fmla="*/ 6172 h 108000"/>
                  <a:gd name="connsiteX5" fmla="*/ 46341 w 48654"/>
                  <a:gd name="connsiteY5" fmla="*/ 95657 h 108000"/>
                  <a:gd name="connsiteX6" fmla="*/ 46341 w 48654"/>
                  <a:gd name="connsiteY6" fmla="*/ 104914 h 108000"/>
                  <a:gd name="connsiteX7" fmla="*/ 40169 w 48654"/>
                  <a:gd name="connsiteY7" fmla="*/ 108000 h 10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654" h="108000">
                    <a:moveTo>
                      <a:pt x="40169" y="108000"/>
                    </a:moveTo>
                    <a:cubicBezTo>
                      <a:pt x="40169" y="108000"/>
                      <a:pt x="37083" y="108000"/>
                      <a:pt x="37083" y="104914"/>
                    </a:cubicBezTo>
                    <a:cubicBezTo>
                      <a:pt x="-3031" y="61714"/>
                      <a:pt x="55" y="6172"/>
                      <a:pt x="55" y="6172"/>
                    </a:cubicBezTo>
                    <a:cubicBezTo>
                      <a:pt x="55" y="3086"/>
                      <a:pt x="3140" y="0"/>
                      <a:pt x="6226" y="0"/>
                    </a:cubicBezTo>
                    <a:cubicBezTo>
                      <a:pt x="9312" y="0"/>
                      <a:pt x="12398" y="3086"/>
                      <a:pt x="12398" y="6172"/>
                    </a:cubicBezTo>
                    <a:cubicBezTo>
                      <a:pt x="12398" y="6172"/>
                      <a:pt x="9312" y="58628"/>
                      <a:pt x="46341" y="95657"/>
                    </a:cubicBezTo>
                    <a:cubicBezTo>
                      <a:pt x="49426" y="98743"/>
                      <a:pt x="49426" y="101829"/>
                      <a:pt x="46341" y="104914"/>
                    </a:cubicBezTo>
                    <a:cubicBezTo>
                      <a:pt x="43255" y="108000"/>
                      <a:pt x="40169" y="108000"/>
                      <a:pt x="40169" y="1080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AA6E0B8E-645E-4264-B746-02808CDF0DCA}"/>
                  </a:ext>
                </a:extLst>
              </p:cNvPr>
              <p:cNvSpPr/>
              <p:nvPr/>
            </p:nvSpPr>
            <p:spPr>
              <a:xfrm>
                <a:off x="13197473" y="9794238"/>
                <a:ext cx="248135" cy="120343"/>
              </a:xfrm>
              <a:custGeom>
                <a:avLst/>
                <a:gdLst>
                  <a:gd name="connsiteX0" fmla="*/ 32135 w 248135"/>
                  <a:gd name="connsiteY0" fmla="*/ 120344 h 120343"/>
                  <a:gd name="connsiteX1" fmla="*/ 4364 w 248135"/>
                  <a:gd name="connsiteY1" fmla="*/ 111086 h 120343"/>
                  <a:gd name="connsiteX2" fmla="*/ 1278 w 248135"/>
                  <a:gd name="connsiteY2" fmla="*/ 95657 h 120343"/>
                  <a:gd name="connsiteX3" fmla="*/ 241965 w 248135"/>
                  <a:gd name="connsiteY3" fmla="*/ 0 h 120343"/>
                  <a:gd name="connsiteX4" fmla="*/ 248135 w 248135"/>
                  <a:gd name="connsiteY4" fmla="*/ 6172 h 120343"/>
                  <a:gd name="connsiteX5" fmla="*/ 241965 w 248135"/>
                  <a:gd name="connsiteY5" fmla="*/ 12344 h 120343"/>
                  <a:gd name="connsiteX6" fmla="*/ 7450 w 248135"/>
                  <a:gd name="connsiteY6" fmla="*/ 98743 h 120343"/>
                  <a:gd name="connsiteX7" fmla="*/ 7450 w 248135"/>
                  <a:gd name="connsiteY7" fmla="*/ 101829 h 120343"/>
                  <a:gd name="connsiteX8" fmla="*/ 69164 w 248135"/>
                  <a:gd name="connsiteY8" fmla="*/ 98743 h 120343"/>
                  <a:gd name="connsiteX9" fmla="*/ 155564 w 248135"/>
                  <a:gd name="connsiteY9" fmla="*/ 61714 h 120343"/>
                  <a:gd name="connsiteX10" fmla="*/ 161736 w 248135"/>
                  <a:gd name="connsiteY10" fmla="*/ 64800 h 120343"/>
                  <a:gd name="connsiteX11" fmla="*/ 158650 w 248135"/>
                  <a:gd name="connsiteY11" fmla="*/ 70972 h 120343"/>
                  <a:gd name="connsiteX12" fmla="*/ 78421 w 248135"/>
                  <a:gd name="connsiteY12" fmla="*/ 104915 h 120343"/>
                  <a:gd name="connsiteX13" fmla="*/ 75335 w 248135"/>
                  <a:gd name="connsiteY13" fmla="*/ 108000 h 120343"/>
                  <a:gd name="connsiteX14" fmla="*/ 32135 w 248135"/>
                  <a:gd name="connsiteY14" fmla="*/ 120344 h 120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8135" h="120343">
                    <a:moveTo>
                      <a:pt x="32135" y="120344"/>
                    </a:moveTo>
                    <a:cubicBezTo>
                      <a:pt x="22879" y="120344"/>
                      <a:pt x="10536" y="117258"/>
                      <a:pt x="4364" y="111086"/>
                    </a:cubicBezTo>
                    <a:cubicBezTo>
                      <a:pt x="1278" y="108000"/>
                      <a:pt x="-1808" y="101829"/>
                      <a:pt x="1278" y="95657"/>
                    </a:cubicBezTo>
                    <a:cubicBezTo>
                      <a:pt x="10536" y="67886"/>
                      <a:pt x="103107" y="24686"/>
                      <a:pt x="241965" y="0"/>
                    </a:cubicBezTo>
                    <a:cubicBezTo>
                      <a:pt x="245049" y="0"/>
                      <a:pt x="248135" y="3086"/>
                      <a:pt x="248135" y="6172"/>
                    </a:cubicBezTo>
                    <a:cubicBezTo>
                      <a:pt x="248135" y="9258"/>
                      <a:pt x="245049" y="12344"/>
                      <a:pt x="241965" y="12344"/>
                    </a:cubicBezTo>
                    <a:cubicBezTo>
                      <a:pt x="87679" y="37029"/>
                      <a:pt x="13621" y="83315"/>
                      <a:pt x="7450" y="98743"/>
                    </a:cubicBezTo>
                    <a:cubicBezTo>
                      <a:pt x="7450" y="101829"/>
                      <a:pt x="7450" y="101829"/>
                      <a:pt x="7450" y="101829"/>
                    </a:cubicBezTo>
                    <a:cubicBezTo>
                      <a:pt x="19793" y="114172"/>
                      <a:pt x="56822" y="104915"/>
                      <a:pt x="69164" y="98743"/>
                    </a:cubicBezTo>
                    <a:cubicBezTo>
                      <a:pt x="84593" y="86401"/>
                      <a:pt x="140135" y="67886"/>
                      <a:pt x="155564" y="61714"/>
                    </a:cubicBezTo>
                    <a:cubicBezTo>
                      <a:pt x="158650" y="61714"/>
                      <a:pt x="161736" y="61714"/>
                      <a:pt x="161736" y="64800"/>
                    </a:cubicBezTo>
                    <a:cubicBezTo>
                      <a:pt x="161736" y="67886"/>
                      <a:pt x="161736" y="70972"/>
                      <a:pt x="158650" y="70972"/>
                    </a:cubicBezTo>
                    <a:cubicBezTo>
                      <a:pt x="130879" y="77143"/>
                      <a:pt x="87679" y="98743"/>
                      <a:pt x="78421" y="104915"/>
                    </a:cubicBezTo>
                    <a:cubicBezTo>
                      <a:pt x="78421" y="104915"/>
                      <a:pt x="75335" y="108000"/>
                      <a:pt x="75335" y="108000"/>
                    </a:cubicBezTo>
                    <a:cubicBezTo>
                      <a:pt x="75335" y="111086"/>
                      <a:pt x="53736" y="120344"/>
                      <a:pt x="32135" y="12034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4" name="图形 1">
              <a:extLst>
                <a:ext uri="{FF2B5EF4-FFF2-40B4-BE49-F238E27FC236}">
                  <a16:creationId xmlns:a16="http://schemas.microsoft.com/office/drawing/2014/main" id="{03559B96-E0E1-437D-8B94-268CEA3970BB}"/>
                </a:ext>
              </a:extLst>
            </p:cNvPr>
            <p:cNvGrpSpPr/>
            <p:nvPr/>
          </p:nvGrpSpPr>
          <p:grpSpPr>
            <a:xfrm>
              <a:off x="13845981" y="9512575"/>
              <a:ext cx="183235" cy="165178"/>
              <a:chOff x="13845981" y="9512575"/>
              <a:chExt cx="183235" cy="165178"/>
            </a:xfrm>
          </p:grpSpPr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7BCDBE1F-3948-48CA-9382-36E1CC4DE30F}"/>
                  </a:ext>
                </a:extLst>
              </p:cNvPr>
              <p:cNvSpPr/>
              <p:nvPr/>
            </p:nvSpPr>
            <p:spPr>
              <a:xfrm>
                <a:off x="13845981" y="9512575"/>
                <a:ext cx="145798" cy="70292"/>
              </a:xfrm>
              <a:custGeom>
                <a:avLst/>
                <a:gdLst>
                  <a:gd name="connsiteX0" fmla="*/ 3856 w 145798"/>
                  <a:gd name="connsiteY0" fmla="*/ 28636 h 70292"/>
                  <a:gd name="connsiteX1" fmla="*/ 90256 w 145798"/>
                  <a:gd name="connsiteY1" fmla="*/ 3950 h 70292"/>
                  <a:gd name="connsiteX2" fmla="*/ 102599 w 145798"/>
                  <a:gd name="connsiteY2" fmla="*/ 864 h 70292"/>
                  <a:gd name="connsiteX3" fmla="*/ 118028 w 145798"/>
                  <a:gd name="connsiteY3" fmla="*/ 3950 h 70292"/>
                  <a:gd name="connsiteX4" fmla="*/ 145799 w 145798"/>
                  <a:gd name="connsiteY4" fmla="*/ 37892 h 70292"/>
                  <a:gd name="connsiteX5" fmla="*/ 111856 w 145798"/>
                  <a:gd name="connsiteY5" fmla="*/ 59493 h 70292"/>
                  <a:gd name="connsiteX6" fmla="*/ 56313 w 145798"/>
                  <a:gd name="connsiteY6" fmla="*/ 68749 h 70292"/>
                  <a:gd name="connsiteX7" fmla="*/ 13113 w 145798"/>
                  <a:gd name="connsiteY7" fmla="*/ 62578 h 70292"/>
                  <a:gd name="connsiteX8" fmla="*/ 3856 w 145798"/>
                  <a:gd name="connsiteY8" fmla="*/ 28636 h 70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5798" h="70292">
                    <a:moveTo>
                      <a:pt x="3856" y="28636"/>
                    </a:moveTo>
                    <a:cubicBezTo>
                      <a:pt x="22370" y="10121"/>
                      <a:pt x="56313" y="10121"/>
                      <a:pt x="90256" y="3950"/>
                    </a:cubicBezTo>
                    <a:cubicBezTo>
                      <a:pt x="93341" y="3950"/>
                      <a:pt x="99513" y="-2222"/>
                      <a:pt x="102599" y="864"/>
                    </a:cubicBezTo>
                    <a:cubicBezTo>
                      <a:pt x="108770" y="864"/>
                      <a:pt x="111856" y="864"/>
                      <a:pt x="118028" y="3950"/>
                    </a:cubicBezTo>
                    <a:cubicBezTo>
                      <a:pt x="133456" y="10121"/>
                      <a:pt x="145799" y="22464"/>
                      <a:pt x="145799" y="37892"/>
                    </a:cubicBezTo>
                    <a:cubicBezTo>
                      <a:pt x="145799" y="53321"/>
                      <a:pt x="124199" y="56407"/>
                      <a:pt x="111856" y="59493"/>
                    </a:cubicBezTo>
                    <a:cubicBezTo>
                      <a:pt x="93341" y="65664"/>
                      <a:pt x="74827" y="68749"/>
                      <a:pt x="56313" y="68749"/>
                    </a:cubicBezTo>
                    <a:cubicBezTo>
                      <a:pt x="43970" y="68749"/>
                      <a:pt x="25456" y="74921"/>
                      <a:pt x="13113" y="62578"/>
                    </a:cubicBezTo>
                    <a:cubicBezTo>
                      <a:pt x="-2316" y="50235"/>
                      <a:pt x="-2316" y="34807"/>
                      <a:pt x="3856" y="2863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0D45603B-4703-4C25-8E81-C95D87218AE9}"/>
                  </a:ext>
                </a:extLst>
              </p:cNvPr>
              <p:cNvSpPr/>
              <p:nvPr/>
            </p:nvSpPr>
            <p:spPr>
              <a:xfrm>
                <a:off x="13876838" y="9550467"/>
                <a:ext cx="145798" cy="69428"/>
              </a:xfrm>
              <a:custGeom>
                <a:avLst/>
                <a:gdLst>
                  <a:gd name="connsiteX0" fmla="*/ 3856 w 145798"/>
                  <a:gd name="connsiteY0" fmla="*/ 27772 h 69428"/>
                  <a:gd name="connsiteX1" fmla="*/ 93341 w 145798"/>
                  <a:gd name="connsiteY1" fmla="*/ 0 h 69428"/>
                  <a:gd name="connsiteX2" fmla="*/ 102599 w 145798"/>
                  <a:gd name="connsiteY2" fmla="*/ 0 h 69428"/>
                  <a:gd name="connsiteX3" fmla="*/ 118028 w 145798"/>
                  <a:gd name="connsiteY3" fmla="*/ 3086 h 69428"/>
                  <a:gd name="connsiteX4" fmla="*/ 145799 w 145798"/>
                  <a:gd name="connsiteY4" fmla="*/ 37029 h 69428"/>
                  <a:gd name="connsiteX5" fmla="*/ 111856 w 145798"/>
                  <a:gd name="connsiteY5" fmla="*/ 58629 h 69428"/>
                  <a:gd name="connsiteX6" fmla="*/ 56313 w 145798"/>
                  <a:gd name="connsiteY6" fmla="*/ 67886 h 69428"/>
                  <a:gd name="connsiteX7" fmla="*/ 13113 w 145798"/>
                  <a:gd name="connsiteY7" fmla="*/ 61714 h 69428"/>
                  <a:gd name="connsiteX8" fmla="*/ 3856 w 145798"/>
                  <a:gd name="connsiteY8" fmla="*/ 27772 h 69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5798" h="69428">
                    <a:moveTo>
                      <a:pt x="3856" y="27772"/>
                    </a:moveTo>
                    <a:cubicBezTo>
                      <a:pt x="22370" y="0"/>
                      <a:pt x="62484" y="6172"/>
                      <a:pt x="93341" y="0"/>
                    </a:cubicBezTo>
                    <a:cubicBezTo>
                      <a:pt x="96427" y="0"/>
                      <a:pt x="99513" y="0"/>
                      <a:pt x="102599" y="0"/>
                    </a:cubicBezTo>
                    <a:cubicBezTo>
                      <a:pt x="108770" y="0"/>
                      <a:pt x="111856" y="0"/>
                      <a:pt x="118028" y="3086"/>
                    </a:cubicBezTo>
                    <a:cubicBezTo>
                      <a:pt x="133456" y="9257"/>
                      <a:pt x="145799" y="21600"/>
                      <a:pt x="145799" y="37029"/>
                    </a:cubicBezTo>
                    <a:cubicBezTo>
                      <a:pt x="145799" y="52458"/>
                      <a:pt x="124199" y="55543"/>
                      <a:pt x="111856" y="58629"/>
                    </a:cubicBezTo>
                    <a:cubicBezTo>
                      <a:pt x="93341" y="64800"/>
                      <a:pt x="74827" y="67886"/>
                      <a:pt x="56313" y="67886"/>
                    </a:cubicBezTo>
                    <a:cubicBezTo>
                      <a:pt x="43970" y="67886"/>
                      <a:pt x="25456" y="74057"/>
                      <a:pt x="13113" y="61714"/>
                    </a:cubicBezTo>
                    <a:cubicBezTo>
                      <a:pt x="-2316" y="52458"/>
                      <a:pt x="-2316" y="37029"/>
                      <a:pt x="3856" y="2777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E83D4DCE-C3B0-442B-9D4F-2DAB8FB8B873}"/>
                  </a:ext>
                </a:extLst>
              </p:cNvPr>
              <p:cNvSpPr/>
              <p:nvPr/>
            </p:nvSpPr>
            <p:spPr>
              <a:xfrm>
                <a:off x="13897665" y="9590582"/>
                <a:ext cx="122365" cy="61714"/>
              </a:xfrm>
              <a:custGeom>
                <a:avLst/>
                <a:gdLst>
                  <a:gd name="connsiteX0" fmla="*/ 4629 w 122365"/>
                  <a:gd name="connsiteY0" fmla="*/ 27772 h 61714"/>
                  <a:gd name="connsiteX1" fmla="*/ 81772 w 122365"/>
                  <a:gd name="connsiteY1" fmla="*/ 0 h 61714"/>
                  <a:gd name="connsiteX2" fmla="*/ 87943 w 122365"/>
                  <a:gd name="connsiteY2" fmla="*/ 0 h 61714"/>
                  <a:gd name="connsiteX3" fmla="*/ 100285 w 122365"/>
                  <a:gd name="connsiteY3" fmla="*/ 0 h 61714"/>
                  <a:gd name="connsiteX4" fmla="*/ 121886 w 122365"/>
                  <a:gd name="connsiteY4" fmla="*/ 27772 h 61714"/>
                  <a:gd name="connsiteX5" fmla="*/ 91028 w 122365"/>
                  <a:gd name="connsiteY5" fmla="*/ 49372 h 61714"/>
                  <a:gd name="connsiteX6" fmla="*/ 41657 w 122365"/>
                  <a:gd name="connsiteY6" fmla="*/ 58629 h 61714"/>
                  <a:gd name="connsiteX7" fmla="*/ 4629 w 122365"/>
                  <a:gd name="connsiteY7" fmla="*/ 55543 h 61714"/>
                  <a:gd name="connsiteX8" fmla="*/ 4629 w 122365"/>
                  <a:gd name="connsiteY8" fmla="*/ 27772 h 61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2365" h="61714">
                    <a:moveTo>
                      <a:pt x="4629" y="27772"/>
                    </a:moveTo>
                    <a:cubicBezTo>
                      <a:pt x="23142" y="3086"/>
                      <a:pt x="54000" y="6171"/>
                      <a:pt x="81772" y="0"/>
                    </a:cubicBezTo>
                    <a:cubicBezTo>
                      <a:pt x="84857" y="0"/>
                      <a:pt x="87943" y="0"/>
                      <a:pt x="87943" y="0"/>
                    </a:cubicBezTo>
                    <a:cubicBezTo>
                      <a:pt x="91028" y="0"/>
                      <a:pt x="97200" y="0"/>
                      <a:pt x="100285" y="0"/>
                    </a:cubicBezTo>
                    <a:cubicBezTo>
                      <a:pt x="112629" y="3086"/>
                      <a:pt x="124972" y="15429"/>
                      <a:pt x="121886" y="27772"/>
                    </a:cubicBezTo>
                    <a:cubicBezTo>
                      <a:pt x="121886" y="43200"/>
                      <a:pt x="103371" y="43200"/>
                      <a:pt x="91028" y="49372"/>
                    </a:cubicBezTo>
                    <a:cubicBezTo>
                      <a:pt x="75600" y="55543"/>
                      <a:pt x="60171" y="58629"/>
                      <a:pt x="41657" y="58629"/>
                    </a:cubicBezTo>
                    <a:cubicBezTo>
                      <a:pt x="29314" y="61714"/>
                      <a:pt x="16972" y="64800"/>
                      <a:pt x="4629" y="55543"/>
                    </a:cubicBezTo>
                    <a:cubicBezTo>
                      <a:pt x="-1543" y="49372"/>
                      <a:pt x="-1543" y="33943"/>
                      <a:pt x="4629" y="2777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F99D0C6B-2ED3-4A7D-A2F1-DBF60E4CC411}"/>
                  </a:ext>
                </a:extLst>
              </p:cNvPr>
              <p:cNvSpPr/>
              <p:nvPr/>
            </p:nvSpPr>
            <p:spPr>
              <a:xfrm>
                <a:off x="13925764" y="9630696"/>
                <a:ext cx="94392" cy="47057"/>
              </a:xfrm>
              <a:custGeom>
                <a:avLst/>
                <a:gdLst>
                  <a:gd name="connsiteX0" fmla="*/ 4301 w 94392"/>
                  <a:gd name="connsiteY0" fmla="*/ 21600 h 47057"/>
                  <a:gd name="connsiteX1" fmla="*/ 62930 w 94392"/>
                  <a:gd name="connsiteY1" fmla="*/ 0 h 47057"/>
                  <a:gd name="connsiteX2" fmla="*/ 69102 w 94392"/>
                  <a:gd name="connsiteY2" fmla="*/ 0 h 47057"/>
                  <a:gd name="connsiteX3" fmla="*/ 78358 w 94392"/>
                  <a:gd name="connsiteY3" fmla="*/ 0 h 47057"/>
                  <a:gd name="connsiteX4" fmla="*/ 93787 w 94392"/>
                  <a:gd name="connsiteY4" fmla="*/ 21600 h 47057"/>
                  <a:gd name="connsiteX5" fmla="*/ 72187 w 94392"/>
                  <a:gd name="connsiteY5" fmla="*/ 37029 h 47057"/>
                  <a:gd name="connsiteX6" fmla="*/ 35159 w 94392"/>
                  <a:gd name="connsiteY6" fmla="*/ 46286 h 47057"/>
                  <a:gd name="connsiteX7" fmla="*/ 7387 w 94392"/>
                  <a:gd name="connsiteY7" fmla="*/ 43200 h 47057"/>
                  <a:gd name="connsiteX8" fmla="*/ 4301 w 94392"/>
                  <a:gd name="connsiteY8" fmla="*/ 21600 h 4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392" h="47057">
                    <a:moveTo>
                      <a:pt x="4301" y="21600"/>
                    </a:moveTo>
                    <a:cubicBezTo>
                      <a:pt x="16644" y="3086"/>
                      <a:pt x="41329" y="6171"/>
                      <a:pt x="62930" y="0"/>
                    </a:cubicBezTo>
                    <a:cubicBezTo>
                      <a:pt x="66016" y="0"/>
                      <a:pt x="66016" y="0"/>
                      <a:pt x="69102" y="0"/>
                    </a:cubicBezTo>
                    <a:cubicBezTo>
                      <a:pt x="72187" y="0"/>
                      <a:pt x="75272" y="0"/>
                      <a:pt x="78358" y="0"/>
                    </a:cubicBezTo>
                    <a:cubicBezTo>
                      <a:pt x="87615" y="3086"/>
                      <a:pt x="96873" y="12343"/>
                      <a:pt x="93787" y="21600"/>
                    </a:cubicBezTo>
                    <a:cubicBezTo>
                      <a:pt x="93787" y="30857"/>
                      <a:pt x="78358" y="33943"/>
                      <a:pt x="72187" y="37029"/>
                    </a:cubicBezTo>
                    <a:cubicBezTo>
                      <a:pt x="59844" y="40114"/>
                      <a:pt x="47501" y="43200"/>
                      <a:pt x="35159" y="46286"/>
                    </a:cubicBezTo>
                    <a:cubicBezTo>
                      <a:pt x="25901" y="46286"/>
                      <a:pt x="16644" y="49372"/>
                      <a:pt x="7387" y="43200"/>
                    </a:cubicBezTo>
                    <a:cubicBezTo>
                      <a:pt x="-1870" y="37029"/>
                      <a:pt x="-1870" y="27771"/>
                      <a:pt x="4301" y="21600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8AB1305B-3CA7-4358-BEAC-76EB9CEB9762}"/>
                  </a:ext>
                </a:extLst>
              </p:cNvPr>
              <p:cNvSpPr/>
              <p:nvPr/>
            </p:nvSpPr>
            <p:spPr>
              <a:xfrm>
                <a:off x="13867073" y="9516632"/>
                <a:ext cx="159446" cy="104806"/>
              </a:xfrm>
              <a:custGeom>
                <a:avLst/>
                <a:gdLst>
                  <a:gd name="connsiteX0" fmla="*/ 50650 w 159446"/>
                  <a:gd name="connsiteY0" fmla="*/ 104806 h 104806"/>
                  <a:gd name="connsiteX1" fmla="*/ 4364 w 159446"/>
                  <a:gd name="connsiteY1" fmla="*/ 86292 h 104806"/>
                  <a:gd name="connsiteX2" fmla="*/ 1278 w 159446"/>
                  <a:gd name="connsiteY2" fmla="*/ 64692 h 104806"/>
                  <a:gd name="connsiteX3" fmla="*/ 13621 w 159446"/>
                  <a:gd name="connsiteY3" fmla="*/ 58521 h 104806"/>
                  <a:gd name="connsiteX4" fmla="*/ 112364 w 159446"/>
                  <a:gd name="connsiteY4" fmla="*/ 33835 h 104806"/>
                  <a:gd name="connsiteX5" fmla="*/ 112364 w 159446"/>
                  <a:gd name="connsiteY5" fmla="*/ 18406 h 104806"/>
                  <a:gd name="connsiteX6" fmla="*/ 106192 w 159446"/>
                  <a:gd name="connsiteY6" fmla="*/ 12235 h 104806"/>
                  <a:gd name="connsiteX7" fmla="*/ 16707 w 159446"/>
                  <a:gd name="connsiteY7" fmla="*/ 21492 h 104806"/>
                  <a:gd name="connsiteX8" fmla="*/ 10535 w 159446"/>
                  <a:gd name="connsiteY8" fmla="*/ 18406 h 104806"/>
                  <a:gd name="connsiteX9" fmla="*/ 13621 w 159446"/>
                  <a:gd name="connsiteY9" fmla="*/ 12235 h 104806"/>
                  <a:gd name="connsiteX10" fmla="*/ 115449 w 159446"/>
                  <a:gd name="connsiteY10" fmla="*/ 6064 h 104806"/>
                  <a:gd name="connsiteX11" fmla="*/ 127793 w 159446"/>
                  <a:gd name="connsiteY11" fmla="*/ 21492 h 104806"/>
                  <a:gd name="connsiteX12" fmla="*/ 127793 w 159446"/>
                  <a:gd name="connsiteY12" fmla="*/ 33835 h 104806"/>
                  <a:gd name="connsiteX13" fmla="*/ 158650 w 159446"/>
                  <a:gd name="connsiteY13" fmla="*/ 67778 h 104806"/>
                  <a:gd name="connsiteX14" fmla="*/ 106192 w 159446"/>
                  <a:gd name="connsiteY14" fmla="*/ 104806 h 104806"/>
                  <a:gd name="connsiteX15" fmla="*/ 50650 w 159446"/>
                  <a:gd name="connsiteY15" fmla="*/ 104806 h 104806"/>
                  <a:gd name="connsiteX16" fmla="*/ 13621 w 159446"/>
                  <a:gd name="connsiteY16" fmla="*/ 67778 h 104806"/>
                  <a:gd name="connsiteX17" fmla="*/ 13621 w 159446"/>
                  <a:gd name="connsiteY17" fmla="*/ 67778 h 104806"/>
                  <a:gd name="connsiteX18" fmla="*/ 13621 w 159446"/>
                  <a:gd name="connsiteY18" fmla="*/ 80121 h 104806"/>
                  <a:gd name="connsiteX19" fmla="*/ 103106 w 159446"/>
                  <a:gd name="connsiteY19" fmla="*/ 86292 h 104806"/>
                  <a:gd name="connsiteX20" fmla="*/ 146306 w 159446"/>
                  <a:gd name="connsiteY20" fmla="*/ 61607 h 104806"/>
                  <a:gd name="connsiteX21" fmla="*/ 121621 w 159446"/>
                  <a:gd name="connsiteY21" fmla="*/ 36921 h 104806"/>
                  <a:gd name="connsiteX22" fmla="*/ 121621 w 159446"/>
                  <a:gd name="connsiteY22" fmla="*/ 36921 h 104806"/>
                  <a:gd name="connsiteX23" fmla="*/ 13621 w 159446"/>
                  <a:gd name="connsiteY23" fmla="*/ 67778 h 104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59446" h="104806">
                    <a:moveTo>
                      <a:pt x="50650" y="104806"/>
                    </a:moveTo>
                    <a:cubicBezTo>
                      <a:pt x="25964" y="104806"/>
                      <a:pt x="10535" y="98635"/>
                      <a:pt x="4364" y="86292"/>
                    </a:cubicBezTo>
                    <a:cubicBezTo>
                      <a:pt x="1278" y="77035"/>
                      <a:pt x="-1808" y="70864"/>
                      <a:pt x="1278" y="64692"/>
                    </a:cubicBezTo>
                    <a:cubicBezTo>
                      <a:pt x="4364" y="58521"/>
                      <a:pt x="10535" y="58521"/>
                      <a:pt x="13621" y="58521"/>
                    </a:cubicBezTo>
                    <a:cubicBezTo>
                      <a:pt x="72249" y="52349"/>
                      <a:pt x="103106" y="46178"/>
                      <a:pt x="112364" y="33835"/>
                    </a:cubicBezTo>
                    <a:cubicBezTo>
                      <a:pt x="115449" y="30749"/>
                      <a:pt x="115449" y="24578"/>
                      <a:pt x="112364" y="18406"/>
                    </a:cubicBezTo>
                    <a:cubicBezTo>
                      <a:pt x="112364" y="15321"/>
                      <a:pt x="109278" y="12235"/>
                      <a:pt x="106192" y="12235"/>
                    </a:cubicBezTo>
                    <a:cubicBezTo>
                      <a:pt x="87678" y="-108"/>
                      <a:pt x="35221" y="15321"/>
                      <a:pt x="16707" y="21492"/>
                    </a:cubicBezTo>
                    <a:cubicBezTo>
                      <a:pt x="13621" y="21492"/>
                      <a:pt x="10535" y="21492"/>
                      <a:pt x="10535" y="18406"/>
                    </a:cubicBezTo>
                    <a:cubicBezTo>
                      <a:pt x="10535" y="15321"/>
                      <a:pt x="10535" y="12235"/>
                      <a:pt x="13621" y="12235"/>
                    </a:cubicBezTo>
                    <a:cubicBezTo>
                      <a:pt x="19793" y="9149"/>
                      <a:pt x="87678" y="-9365"/>
                      <a:pt x="115449" y="6064"/>
                    </a:cubicBezTo>
                    <a:cubicBezTo>
                      <a:pt x="121621" y="9149"/>
                      <a:pt x="124707" y="15321"/>
                      <a:pt x="127793" y="21492"/>
                    </a:cubicBezTo>
                    <a:cubicBezTo>
                      <a:pt x="127793" y="24578"/>
                      <a:pt x="130878" y="27663"/>
                      <a:pt x="127793" y="33835"/>
                    </a:cubicBezTo>
                    <a:cubicBezTo>
                      <a:pt x="130878" y="36921"/>
                      <a:pt x="155564" y="49263"/>
                      <a:pt x="158650" y="67778"/>
                    </a:cubicBezTo>
                    <a:cubicBezTo>
                      <a:pt x="164821" y="92464"/>
                      <a:pt x="133964" y="98635"/>
                      <a:pt x="106192" y="104806"/>
                    </a:cubicBezTo>
                    <a:cubicBezTo>
                      <a:pt x="84592" y="101721"/>
                      <a:pt x="66078" y="104806"/>
                      <a:pt x="50650" y="104806"/>
                    </a:cubicBezTo>
                    <a:close/>
                    <a:moveTo>
                      <a:pt x="13621" y="67778"/>
                    </a:moveTo>
                    <a:cubicBezTo>
                      <a:pt x="13621" y="67778"/>
                      <a:pt x="13621" y="67778"/>
                      <a:pt x="13621" y="67778"/>
                    </a:cubicBezTo>
                    <a:cubicBezTo>
                      <a:pt x="10535" y="70864"/>
                      <a:pt x="10535" y="73949"/>
                      <a:pt x="13621" y="80121"/>
                    </a:cubicBezTo>
                    <a:cubicBezTo>
                      <a:pt x="22878" y="95549"/>
                      <a:pt x="53735" y="98635"/>
                      <a:pt x="103106" y="86292"/>
                    </a:cubicBezTo>
                    <a:cubicBezTo>
                      <a:pt x="140135" y="77035"/>
                      <a:pt x="149392" y="70864"/>
                      <a:pt x="146306" y="61607"/>
                    </a:cubicBezTo>
                    <a:cubicBezTo>
                      <a:pt x="143221" y="52349"/>
                      <a:pt x="130878" y="40007"/>
                      <a:pt x="121621" y="36921"/>
                    </a:cubicBezTo>
                    <a:cubicBezTo>
                      <a:pt x="121621" y="36921"/>
                      <a:pt x="121621" y="36921"/>
                      <a:pt x="121621" y="36921"/>
                    </a:cubicBezTo>
                    <a:cubicBezTo>
                      <a:pt x="115449" y="46178"/>
                      <a:pt x="96936" y="61607"/>
                      <a:pt x="13621" y="6777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AEAC51F1-B563-4D21-8286-24E3CA96A59B}"/>
                  </a:ext>
                </a:extLst>
              </p:cNvPr>
              <p:cNvSpPr/>
              <p:nvPr/>
            </p:nvSpPr>
            <p:spPr>
              <a:xfrm>
                <a:off x="13894095" y="9588267"/>
                <a:ext cx="135120" cy="70199"/>
              </a:xfrm>
              <a:custGeom>
                <a:avLst/>
                <a:gdLst>
                  <a:gd name="connsiteX0" fmla="*/ 29798 w 135120"/>
                  <a:gd name="connsiteY0" fmla="*/ 70200 h 70199"/>
                  <a:gd name="connsiteX1" fmla="*/ 17456 w 135120"/>
                  <a:gd name="connsiteY1" fmla="*/ 70200 h 70199"/>
                  <a:gd name="connsiteX2" fmla="*/ 2027 w 135120"/>
                  <a:gd name="connsiteY2" fmla="*/ 54771 h 70199"/>
                  <a:gd name="connsiteX3" fmla="*/ 5113 w 135120"/>
                  <a:gd name="connsiteY3" fmla="*/ 27000 h 70199"/>
                  <a:gd name="connsiteX4" fmla="*/ 14370 w 135120"/>
                  <a:gd name="connsiteY4" fmla="*/ 27000 h 70199"/>
                  <a:gd name="connsiteX5" fmla="*/ 14370 w 135120"/>
                  <a:gd name="connsiteY5" fmla="*/ 36257 h 70199"/>
                  <a:gd name="connsiteX6" fmla="*/ 14370 w 135120"/>
                  <a:gd name="connsiteY6" fmla="*/ 51686 h 70199"/>
                  <a:gd name="connsiteX7" fmla="*/ 20541 w 135120"/>
                  <a:gd name="connsiteY7" fmla="*/ 60943 h 70199"/>
                  <a:gd name="connsiteX8" fmla="*/ 110027 w 135120"/>
                  <a:gd name="connsiteY8" fmla="*/ 45514 h 70199"/>
                  <a:gd name="connsiteX9" fmla="*/ 122370 w 135120"/>
                  <a:gd name="connsiteY9" fmla="*/ 33171 h 70199"/>
                  <a:gd name="connsiteX10" fmla="*/ 113113 w 135120"/>
                  <a:gd name="connsiteY10" fmla="*/ 11571 h 70199"/>
                  <a:gd name="connsiteX11" fmla="*/ 113113 w 135120"/>
                  <a:gd name="connsiteY11" fmla="*/ 2314 h 70199"/>
                  <a:gd name="connsiteX12" fmla="*/ 122370 w 135120"/>
                  <a:gd name="connsiteY12" fmla="*/ 2314 h 70199"/>
                  <a:gd name="connsiteX13" fmla="*/ 134712 w 135120"/>
                  <a:gd name="connsiteY13" fmla="*/ 33171 h 70199"/>
                  <a:gd name="connsiteX14" fmla="*/ 113113 w 135120"/>
                  <a:gd name="connsiteY14" fmla="*/ 54771 h 70199"/>
                  <a:gd name="connsiteX15" fmla="*/ 29798 w 135120"/>
                  <a:gd name="connsiteY15" fmla="*/ 70200 h 70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5120" h="70199">
                    <a:moveTo>
                      <a:pt x="29798" y="70200"/>
                    </a:moveTo>
                    <a:cubicBezTo>
                      <a:pt x="23627" y="70200"/>
                      <a:pt x="20541" y="70200"/>
                      <a:pt x="17456" y="70200"/>
                    </a:cubicBezTo>
                    <a:cubicBezTo>
                      <a:pt x="11284" y="70200"/>
                      <a:pt x="5113" y="64028"/>
                      <a:pt x="2027" y="54771"/>
                    </a:cubicBezTo>
                    <a:cubicBezTo>
                      <a:pt x="-1059" y="45514"/>
                      <a:pt x="-1059" y="33171"/>
                      <a:pt x="5113" y="27000"/>
                    </a:cubicBezTo>
                    <a:cubicBezTo>
                      <a:pt x="8199" y="23914"/>
                      <a:pt x="11284" y="23914"/>
                      <a:pt x="14370" y="27000"/>
                    </a:cubicBezTo>
                    <a:cubicBezTo>
                      <a:pt x="17456" y="30086"/>
                      <a:pt x="17456" y="33171"/>
                      <a:pt x="14370" y="36257"/>
                    </a:cubicBezTo>
                    <a:cubicBezTo>
                      <a:pt x="14370" y="39343"/>
                      <a:pt x="11284" y="45514"/>
                      <a:pt x="14370" y="51686"/>
                    </a:cubicBezTo>
                    <a:cubicBezTo>
                      <a:pt x="14370" y="54771"/>
                      <a:pt x="17456" y="57857"/>
                      <a:pt x="20541" y="60943"/>
                    </a:cubicBezTo>
                    <a:cubicBezTo>
                      <a:pt x="32884" y="64028"/>
                      <a:pt x="76084" y="60943"/>
                      <a:pt x="110027" y="45514"/>
                    </a:cubicBezTo>
                    <a:cubicBezTo>
                      <a:pt x="116199" y="42428"/>
                      <a:pt x="122370" y="39343"/>
                      <a:pt x="122370" y="33171"/>
                    </a:cubicBezTo>
                    <a:cubicBezTo>
                      <a:pt x="125456" y="23914"/>
                      <a:pt x="116199" y="14657"/>
                      <a:pt x="113113" y="11571"/>
                    </a:cubicBezTo>
                    <a:cubicBezTo>
                      <a:pt x="110027" y="8485"/>
                      <a:pt x="110027" y="5400"/>
                      <a:pt x="113113" y="2314"/>
                    </a:cubicBezTo>
                    <a:cubicBezTo>
                      <a:pt x="116199" y="-771"/>
                      <a:pt x="119284" y="-771"/>
                      <a:pt x="122370" y="2314"/>
                    </a:cubicBezTo>
                    <a:cubicBezTo>
                      <a:pt x="122370" y="2314"/>
                      <a:pt x="137798" y="17743"/>
                      <a:pt x="134712" y="33171"/>
                    </a:cubicBezTo>
                    <a:cubicBezTo>
                      <a:pt x="131627" y="42428"/>
                      <a:pt x="125456" y="48600"/>
                      <a:pt x="113113" y="54771"/>
                    </a:cubicBezTo>
                    <a:cubicBezTo>
                      <a:pt x="85342" y="64028"/>
                      <a:pt x="51399" y="70200"/>
                      <a:pt x="29798" y="7020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0F8D517C-E0A3-404A-930F-B989FFCC71D4}"/>
                </a:ext>
              </a:extLst>
            </p:cNvPr>
            <p:cNvSpPr/>
            <p:nvPr/>
          </p:nvSpPr>
          <p:spPr>
            <a:xfrm>
              <a:off x="16401723" y="9260228"/>
              <a:ext cx="243771" cy="200115"/>
            </a:xfrm>
            <a:custGeom>
              <a:avLst/>
              <a:gdLst>
                <a:gd name="connsiteX0" fmla="*/ 200571 w 243771"/>
                <a:gd name="connsiteY0" fmla="*/ 157554 h 200115"/>
                <a:gd name="connsiteX1" fmla="*/ 228343 w 243771"/>
                <a:gd name="connsiteY1" fmla="*/ 117440 h 200115"/>
                <a:gd name="connsiteX2" fmla="*/ 243771 w 243771"/>
                <a:gd name="connsiteY2" fmla="*/ 86582 h 200115"/>
                <a:gd name="connsiteX3" fmla="*/ 228343 w 243771"/>
                <a:gd name="connsiteY3" fmla="*/ 40297 h 200115"/>
                <a:gd name="connsiteX4" fmla="*/ 219085 w 243771"/>
                <a:gd name="connsiteY4" fmla="*/ 182 h 200115"/>
                <a:gd name="connsiteX5" fmla="*/ 0 w 243771"/>
                <a:gd name="connsiteY5" fmla="*/ 92754 h 200115"/>
                <a:gd name="connsiteX6" fmla="*/ 33942 w 243771"/>
                <a:gd name="connsiteY6" fmla="*/ 191497 h 200115"/>
                <a:gd name="connsiteX7" fmla="*/ 166628 w 243771"/>
                <a:gd name="connsiteY7" fmla="*/ 179154 h 200115"/>
                <a:gd name="connsiteX8" fmla="*/ 200571 w 243771"/>
                <a:gd name="connsiteY8" fmla="*/ 157554 h 200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771" h="200115">
                  <a:moveTo>
                    <a:pt x="200571" y="157554"/>
                  </a:moveTo>
                  <a:cubicBezTo>
                    <a:pt x="200571" y="148297"/>
                    <a:pt x="222171" y="132868"/>
                    <a:pt x="228343" y="117440"/>
                  </a:cubicBezTo>
                  <a:cubicBezTo>
                    <a:pt x="228343" y="114354"/>
                    <a:pt x="240685" y="98925"/>
                    <a:pt x="243771" y="86582"/>
                  </a:cubicBezTo>
                  <a:cubicBezTo>
                    <a:pt x="243771" y="77325"/>
                    <a:pt x="212914" y="49554"/>
                    <a:pt x="228343" y="40297"/>
                  </a:cubicBezTo>
                  <a:cubicBezTo>
                    <a:pt x="237599" y="34125"/>
                    <a:pt x="228343" y="-2904"/>
                    <a:pt x="219085" y="182"/>
                  </a:cubicBezTo>
                  <a:cubicBezTo>
                    <a:pt x="160457" y="3268"/>
                    <a:pt x="12343" y="18697"/>
                    <a:pt x="0" y="92754"/>
                  </a:cubicBezTo>
                  <a:cubicBezTo>
                    <a:pt x="0" y="92754"/>
                    <a:pt x="12343" y="176068"/>
                    <a:pt x="33942" y="191497"/>
                  </a:cubicBezTo>
                  <a:cubicBezTo>
                    <a:pt x="67885" y="213096"/>
                    <a:pt x="129599" y="188411"/>
                    <a:pt x="166628" y="179154"/>
                  </a:cubicBezTo>
                  <a:cubicBezTo>
                    <a:pt x="191314" y="172982"/>
                    <a:pt x="197486" y="169897"/>
                    <a:pt x="200571" y="157554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5947B831-D511-42CC-8C2E-98BFE79A4DA6}"/>
                </a:ext>
              </a:extLst>
            </p:cNvPr>
            <p:cNvGrpSpPr/>
            <p:nvPr/>
          </p:nvGrpSpPr>
          <p:grpSpPr>
            <a:xfrm>
              <a:off x="16326579" y="8772820"/>
              <a:ext cx="542114" cy="678904"/>
              <a:chOff x="16326579" y="8772820"/>
              <a:chExt cx="542114" cy="678904"/>
            </a:xfrm>
          </p:grpSpPr>
          <p:grpSp>
            <p:nvGrpSpPr>
              <p:cNvPr id="87" name="图形 1">
                <a:extLst>
                  <a:ext uri="{FF2B5EF4-FFF2-40B4-BE49-F238E27FC236}">
                    <a16:creationId xmlns:a16="http://schemas.microsoft.com/office/drawing/2014/main" id="{85DB54BB-226E-4FC0-B4FE-7FC8A63B338E}"/>
                  </a:ext>
                </a:extLst>
              </p:cNvPr>
              <p:cNvGrpSpPr/>
              <p:nvPr/>
            </p:nvGrpSpPr>
            <p:grpSpPr>
              <a:xfrm>
                <a:off x="16511598" y="8924747"/>
                <a:ext cx="357095" cy="506588"/>
                <a:chOff x="16511598" y="8924747"/>
                <a:chExt cx="357095" cy="506588"/>
              </a:xfrm>
            </p:grpSpPr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DF8E95A2-EA09-43A0-9C51-976EB930F02C}"/>
                    </a:ext>
                  </a:extLst>
                </p:cNvPr>
                <p:cNvSpPr/>
                <p:nvPr/>
              </p:nvSpPr>
              <p:spPr>
                <a:xfrm>
                  <a:off x="16511598" y="9057812"/>
                  <a:ext cx="259352" cy="373523"/>
                </a:xfrm>
                <a:custGeom>
                  <a:avLst/>
                  <a:gdLst>
                    <a:gd name="connsiteX0" fmla="*/ 7382 w 259352"/>
                    <a:gd name="connsiteY0" fmla="*/ 372313 h 373523"/>
                    <a:gd name="connsiteX1" fmla="*/ 7382 w 259352"/>
                    <a:gd name="connsiteY1" fmla="*/ 372313 h 373523"/>
                    <a:gd name="connsiteX2" fmla="*/ 1210 w 259352"/>
                    <a:gd name="connsiteY2" fmla="*/ 356884 h 373523"/>
                    <a:gd name="connsiteX3" fmla="*/ 241897 w 259352"/>
                    <a:gd name="connsiteY3" fmla="*/ 2027 h 373523"/>
                    <a:gd name="connsiteX4" fmla="*/ 257325 w 259352"/>
                    <a:gd name="connsiteY4" fmla="*/ 5113 h 373523"/>
                    <a:gd name="connsiteX5" fmla="*/ 254239 w 259352"/>
                    <a:gd name="connsiteY5" fmla="*/ 20541 h 373523"/>
                    <a:gd name="connsiteX6" fmla="*/ 22811 w 259352"/>
                    <a:gd name="connsiteY6" fmla="*/ 366141 h 373523"/>
                    <a:gd name="connsiteX7" fmla="*/ 7382 w 259352"/>
                    <a:gd name="connsiteY7" fmla="*/ 372313 h 3735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9352" h="373523">
                      <a:moveTo>
                        <a:pt x="7382" y="372313"/>
                      </a:moveTo>
                      <a:cubicBezTo>
                        <a:pt x="7382" y="372313"/>
                        <a:pt x="7382" y="372313"/>
                        <a:pt x="7382" y="372313"/>
                      </a:cubicBezTo>
                      <a:cubicBezTo>
                        <a:pt x="1210" y="369227"/>
                        <a:pt x="-1875" y="363055"/>
                        <a:pt x="1210" y="356884"/>
                      </a:cubicBezTo>
                      <a:cubicBezTo>
                        <a:pt x="4296" y="347627"/>
                        <a:pt x="130811" y="76084"/>
                        <a:pt x="241897" y="2027"/>
                      </a:cubicBezTo>
                      <a:cubicBezTo>
                        <a:pt x="248067" y="-1059"/>
                        <a:pt x="254239" y="-1059"/>
                        <a:pt x="257325" y="5113"/>
                      </a:cubicBezTo>
                      <a:cubicBezTo>
                        <a:pt x="260411" y="11284"/>
                        <a:pt x="260411" y="17456"/>
                        <a:pt x="254239" y="20541"/>
                      </a:cubicBezTo>
                      <a:cubicBezTo>
                        <a:pt x="146239" y="91513"/>
                        <a:pt x="22811" y="363055"/>
                        <a:pt x="22811" y="366141"/>
                      </a:cubicBezTo>
                      <a:cubicBezTo>
                        <a:pt x="19725" y="372313"/>
                        <a:pt x="13554" y="375399"/>
                        <a:pt x="7382" y="372313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ACC9F889-F012-4B21-B4FC-05F03E0B3F25}"/>
                    </a:ext>
                  </a:extLst>
                </p:cNvPr>
                <p:cNvSpPr/>
                <p:nvPr/>
              </p:nvSpPr>
              <p:spPr>
                <a:xfrm>
                  <a:off x="16666768" y="8924747"/>
                  <a:ext cx="95999" cy="119663"/>
                </a:xfrm>
                <a:custGeom>
                  <a:avLst/>
                  <a:gdLst>
                    <a:gd name="connsiteX0" fmla="*/ 95983 w 95999"/>
                    <a:gd name="connsiteY0" fmla="*/ 119663 h 119663"/>
                    <a:gd name="connsiteX1" fmla="*/ 21926 w 95999"/>
                    <a:gd name="connsiteY1" fmla="*/ 14749 h 119663"/>
                    <a:gd name="connsiteX2" fmla="*/ 95983 w 95999"/>
                    <a:gd name="connsiteY2" fmla="*/ 119663 h 119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5999" h="119663">
                      <a:moveTo>
                        <a:pt x="95983" y="119663"/>
                      </a:moveTo>
                      <a:cubicBezTo>
                        <a:pt x="95983" y="119663"/>
                        <a:pt x="99069" y="-50051"/>
                        <a:pt x="21926" y="14749"/>
                      </a:cubicBezTo>
                      <a:cubicBezTo>
                        <a:pt x="-55217" y="79549"/>
                        <a:pt x="95983" y="119663"/>
                        <a:pt x="95983" y="11966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73514348-4B88-4CE6-8A14-21E9646B3F6F}"/>
                    </a:ext>
                  </a:extLst>
                </p:cNvPr>
                <p:cNvSpPr/>
                <p:nvPr/>
              </p:nvSpPr>
              <p:spPr>
                <a:xfrm>
                  <a:off x="16765837" y="8944333"/>
                  <a:ext cx="87762" cy="109334"/>
                </a:xfrm>
                <a:custGeom>
                  <a:avLst/>
                  <a:gdLst>
                    <a:gd name="connsiteX0" fmla="*/ 0 w 87762"/>
                    <a:gd name="connsiteY0" fmla="*/ 109335 h 109334"/>
                    <a:gd name="connsiteX1" fmla="*/ 64800 w 87762"/>
                    <a:gd name="connsiteY1" fmla="*/ 1335 h 109334"/>
                    <a:gd name="connsiteX2" fmla="*/ 0 w 87762"/>
                    <a:gd name="connsiteY2" fmla="*/ 109335 h 109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7762" h="109334">
                      <a:moveTo>
                        <a:pt x="0" y="109335"/>
                      </a:moveTo>
                      <a:cubicBezTo>
                        <a:pt x="0" y="109335"/>
                        <a:pt x="27771" y="-14094"/>
                        <a:pt x="64800" y="1335"/>
                      </a:cubicBezTo>
                      <a:cubicBezTo>
                        <a:pt x="98743" y="16763"/>
                        <a:pt x="108000" y="78478"/>
                        <a:pt x="0" y="109335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679FA3D4-6B00-4409-A7FE-98E7562C92E7}"/>
                    </a:ext>
                  </a:extLst>
                </p:cNvPr>
                <p:cNvSpPr/>
                <p:nvPr/>
              </p:nvSpPr>
              <p:spPr>
                <a:xfrm>
                  <a:off x="16636012" y="9039046"/>
                  <a:ext cx="117481" cy="74927"/>
                </a:xfrm>
                <a:custGeom>
                  <a:avLst/>
                  <a:gdLst>
                    <a:gd name="connsiteX0" fmla="*/ 117482 w 117481"/>
                    <a:gd name="connsiteY0" fmla="*/ 11535 h 74927"/>
                    <a:gd name="connsiteX1" fmla="*/ 224 w 117481"/>
                    <a:gd name="connsiteY1" fmla="*/ 33135 h 74927"/>
                    <a:gd name="connsiteX2" fmla="*/ 117482 w 117481"/>
                    <a:gd name="connsiteY2" fmla="*/ 11535 h 749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7481" h="74927">
                      <a:moveTo>
                        <a:pt x="117482" y="11535"/>
                      </a:moveTo>
                      <a:cubicBezTo>
                        <a:pt x="117482" y="11535"/>
                        <a:pt x="-5947" y="-25493"/>
                        <a:pt x="224" y="33135"/>
                      </a:cubicBezTo>
                      <a:cubicBezTo>
                        <a:pt x="6396" y="94849"/>
                        <a:pt x="89710" y="88678"/>
                        <a:pt x="117482" y="11535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4A617F38-B8E1-4807-BD3B-A6508393024F}"/>
                    </a:ext>
                  </a:extLst>
                </p:cNvPr>
                <p:cNvSpPr/>
                <p:nvPr/>
              </p:nvSpPr>
              <p:spPr>
                <a:xfrm>
                  <a:off x="16719306" y="9062925"/>
                  <a:ext cx="59219" cy="100429"/>
                </a:xfrm>
                <a:custGeom>
                  <a:avLst/>
                  <a:gdLst>
                    <a:gd name="connsiteX0" fmla="*/ 40359 w 59219"/>
                    <a:gd name="connsiteY0" fmla="*/ 0 h 100429"/>
                    <a:gd name="connsiteX1" fmla="*/ 15673 w 59219"/>
                    <a:gd name="connsiteY1" fmla="*/ 92571 h 100429"/>
                    <a:gd name="connsiteX2" fmla="*/ 40359 w 59219"/>
                    <a:gd name="connsiteY2" fmla="*/ 0 h 100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9219" h="100429">
                      <a:moveTo>
                        <a:pt x="40359" y="0"/>
                      </a:moveTo>
                      <a:cubicBezTo>
                        <a:pt x="40359" y="0"/>
                        <a:pt x="-30612" y="64800"/>
                        <a:pt x="15673" y="92571"/>
                      </a:cubicBezTo>
                      <a:cubicBezTo>
                        <a:pt x="65045" y="120343"/>
                        <a:pt x="71216" y="70971"/>
                        <a:pt x="40359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A89FB401-4BE2-4CBE-A633-04F07CE08964}"/>
                    </a:ext>
                  </a:extLst>
                </p:cNvPr>
                <p:cNvSpPr/>
                <p:nvPr/>
              </p:nvSpPr>
              <p:spPr>
                <a:xfrm>
                  <a:off x="16772009" y="9049878"/>
                  <a:ext cx="96684" cy="64529"/>
                </a:xfrm>
                <a:custGeom>
                  <a:avLst/>
                  <a:gdLst>
                    <a:gd name="connsiteX0" fmla="*/ 0 w 96684"/>
                    <a:gd name="connsiteY0" fmla="*/ 16132 h 64529"/>
                    <a:gd name="connsiteX1" fmla="*/ 92571 w 96684"/>
                    <a:gd name="connsiteY1" fmla="*/ 22303 h 64529"/>
                    <a:gd name="connsiteX2" fmla="*/ 0 w 96684"/>
                    <a:gd name="connsiteY2" fmla="*/ 16132 h 64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6684" h="64529">
                      <a:moveTo>
                        <a:pt x="0" y="16132"/>
                      </a:moveTo>
                      <a:cubicBezTo>
                        <a:pt x="0" y="16132"/>
                        <a:pt x="77143" y="-23983"/>
                        <a:pt x="92571" y="22303"/>
                      </a:cubicBezTo>
                      <a:cubicBezTo>
                        <a:pt x="111085" y="68589"/>
                        <a:pt x="64799" y="90189"/>
                        <a:pt x="0" y="1613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531BB42B-6EE5-48C3-95A7-6DF1DF9CF63F}"/>
                    </a:ext>
                  </a:extLst>
                </p:cNvPr>
                <p:cNvSpPr/>
                <p:nvPr/>
              </p:nvSpPr>
              <p:spPr>
                <a:xfrm>
                  <a:off x="16736101" y="9030103"/>
                  <a:ext cx="56385" cy="56786"/>
                </a:xfrm>
                <a:custGeom>
                  <a:avLst/>
                  <a:gdLst>
                    <a:gd name="connsiteX0" fmla="*/ 54421 w 56385"/>
                    <a:gd name="connsiteY0" fmla="*/ 38993 h 56786"/>
                    <a:gd name="connsiteX1" fmla="*/ 38993 w 56385"/>
                    <a:gd name="connsiteY1" fmla="*/ 1965 h 56786"/>
                    <a:gd name="connsiteX2" fmla="*/ 1964 w 56385"/>
                    <a:gd name="connsiteY2" fmla="*/ 17393 h 56786"/>
                    <a:gd name="connsiteX3" fmla="*/ 17393 w 56385"/>
                    <a:gd name="connsiteY3" fmla="*/ 54422 h 56786"/>
                    <a:gd name="connsiteX4" fmla="*/ 54421 w 56385"/>
                    <a:gd name="connsiteY4" fmla="*/ 38993 h 56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385" h="56786">
                      <a:moveTo>
                        <a:pt x="54421" y="38993"/>
                      </a:moveTo>
                      <a:cubicBezTo>
                        <a:pt x="60593" y="23564"/>
                        <a:pt x="51336" y="8136"/>
                        <a:pt x="38993" y="1965"/>
                      </a:cubicBezTo>
                      <a:cubicBezTo>
                        <a:pt x="23564" y="-4207"/>
                        <a:pt x="8135" y="5050"/>
                        <a:pt x="1964" y="17393"/>
                      </a:cubicBezTo>
                      <a:cubicBezTo>
                        <a:pt x="-4207" y="32822"/>
                        <a:pt x="5050" y="48250"/>
                        <a:pt x="17393" y="54422"/>
                      </a:cubicBezTo>
                      <a:cubicBezTo>
                        <a:pt x="32822" y="60593"/>
                        <a:pt x="48250" y="54422"/>
                        <a:pt x="54421" y="38993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88" name="图形 1">
                <a:extLst>
                  <a:ext uri="{FF2B5EF4-FFF2-40B4-BE49-F238E27FC236}">
                    <a16:creationId xmlns:a16="http://schemas.microsoft.com/office/drawing/2014/main" id="{D3ECB371-E374-4722-97A8-99A20269CA9D}"/>
                  </a:ext>
                </a:extLst>
              </p:cNvPr>
              <p:cNvGrpSpPr/>
              <p:nvPr/>
            </p:nvGrpSpPr>
            <p:grpSpPr>
              <a:xfrm>
                <a:off x="16511375" y="8772820"/>
                <a:ext cx="271099" cy="663476"/>
                <a:chOff x="16511375" y="8772820"/>
                <a:chExt cx="271099" cy="663476"/>
              </a:xfrm>
            </p:grpSpPr>
            <p:sp>
              <p:nvSpPr>
                <p:cNvPr id="113" name="任意多边形: 形状 112">
                  <a:extLst>
                    <a:ext uri="{FF2B5EF4-FFF2-40B4-BE49-F238E27FC236}">
                      <a16:creationId xmlns:a16="http://schemas.microsoft.com/office/drawing/2014/main" id="{B8AAD9BF-7AFD-4845-8BF8-30EB9501C74B}"/>
                    </a:ext>
                  </a:extLst>
                </p:cNvPr>
                <p:cNvSpPr/>
                <p:nvPr/>
              </p:nvSpPr>
              <p:spPr>
                <a:xfrm>
                  <a:off x="16528236" y="8928212"/>
                  <a:ext cx="137798" cy="508083"/>
                </a:xfrm>
                <a:custGeom>
                  <a:avLst/>
                  <a:gdLst>
                    <a:gd name="connsiteX0" fmla="*/ 12344 w 137798"/>
                    <a:gd name="connsiteY0" fmla="*/ 508084 h 508083"/>
                    <a:gd name="connsiteX1" fmla="*/ 12344 w 137798"/>
                    <a:gd name="connsiteY1" fmla="*/ 508084 h 508083"/>
                    <a:gd name="connsiteX2" fmla="*/ 0 w 137798"/>
                    <a:gd name="connsiteY2" fmla="*/ 495741 h 508083"/>
                    <a:gd name="connsiteX3" fmla="*/ 114172 w 137798"/>
                    <a:gd name="connsiteY3" fmla="*/ 5112 h 508083"/>
                    <a:gd name="connsiteX4" fmla="*/ 132686 w 137798"/>
                    <a:gd name="connsiteY4" fmla="*/ 2027 h 508083"/>
                    <a:gd name="connsiteX5" fmla="*/ 135772 w 137798"/>
                    <a:gd name="connsiteY5" fmla="*/ 20541 h 508083"/>
                    <a:gd name="connsiteX6" fmla="*/ 27772 w 137798"/>
                    <a:gd name="connsiteY6" fmla="*/ 495741 h 508083"/>
                    <a:gd name="connsiteX7" fmla="*/ 12344 w 137798"/>
                    <a:gd name="connsiteY7" fmla="*/ 508084 h 5080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7798" h="508083">
                      <a:moveTo>
                        <a:pt x="12344" y="508084"/>
                      </a:moveTo>
                      <a:cubicBezTo>
                        <a:pt x="12344" y="508084"/>
                        <a:pt x="12344" y="508084"/>
                        <a:pt x="12344" y="508084"/>
                      </a:cubicBezTo>
                      <a:cubicBezTo>
                        <a:pt x="6172" y="508084"/>
                        <a:pt x="0" y="501913"/>
                        <a:pt x="0" y="495741"/>
                      </a:cubicBezTo>
                      <a:cubicBezTo>
                        <a:pt x="0" y="486484"/>
                        <a:pt x="24686" y="131627"/>
                        <a:pt x="114172" y="5112"/>
                      </a:cubicBezTo>
                      <a:cubicBezTo>
                        <a:pt x="117258" y="-1059"/>
                        <a:pt x="126514" y="-1059"/>
                        <a:pt x="132686" y="2027"/>
                      </a:cubicBezTo>
                      <a:cubicBezTo>
                        <a:pt x="138857" y="5112"/>
                        <a:pt x="138857" y="14370"/>
                        <a:pt x="135772" y="20541"/>
                      </a:cubicBezTo>
                      <a:cubicBezTo>
                        <a:pt x="49372" y="140884"/>
                        <a:pt x="27772" y="492655"/>
                        <a:pt x="27772" y="495741"/>
                      </a:cubicBezTo>
                      <a:cubicBezTo>
                        <a:pt x="24686" y="501913"/>
                        <a:pt x="18514" y="508084"/>
                        <a:pt x="12344" y="508084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9FBA35C7-8857-4178-B06E-868CF7DEEFA8}"/>
                    </a:ext>
                  </a:extLst>
                </p:cNvPr>
                <p:cNvSpPr/>
                <p:nvPr/>
              </p:nvSpPr>
              <p:spPr>
                <a:xfrm>
                  <a:off x="16511375" y="8796603"/>
                  <a:ext cx="134119" cy="116958"/>
                </a:xfrm>
                <a:custGeom>
                  <a:avLst/>
                  <a:gdLst>
                    <a:gd name="connsiteX0" fmla="*/ 134119 w 134119"/>
                    <a:gd name="connsiteY0" fmla="*/ 115121 h 116958"/>
                    <a:gd name="connsiteX1" fmla="*/ 10691 w 134119"/>
                    <a:gd name="connsiteY1" fmla="*/ 31807 h 116958"/>
                    <a:gd name="connsiteX2" fmla="*/ 134119 w 134119"/>
                    <a:gd name="connsiteY2" fmla="*/ 115121 h 1169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4119" h="116958">
                      <a:moveTo>
                        <a:pt x="134119" y="115121"/>
                      </a:moveTo>
                      <a:cubicBezTo>
                        <a:pt x="134119" y="115121"/>
                        <a:pt x="66233" y="-73107"/>
                        <a:pt x="10691" y="31807"/>
                      </a:cubicBezTo>
                      <a:cubicBezTo>
                        <a:pt x="-44853" y="136721"/>
                        <a:pt x="134119" y="115121"/>
                        <a:pt x="134119" y="115121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D61B6782-0127-4D2E-A4D1-E361C858A8CF}"/>
                    </a:ext>
                  </a:extLst>
                </p:cNvPr>
                <p:cNvSpPr/>
                <p:nvPr/>
              </p:nvSpPr>
              <p:spPr>
                <a:xfrm>
                  <a:off x="16646631" y="8772820"/>
                  <a:ext cx="74129" cy="145076"/>
                </a:xfrm>
                <a:custGeom>
                  <a:avLst/>
                  <a:gdLst>
                    <a:gd name="connsiteX0" fmla="*/ 5034 w 74129"/>
                    <a:gd name="connsiteY0" fmla="*/ 145076 h 145076"/>
                    <a:gd name="connsiteX1" fmla="*/ 29720 w 74129"/>
                    <a:gd name="connsiteY1" fmla="*/ 48 h 145076"/>
                    <a:gd name="connsiteX2" fmla="*/ 5034 w 74129"/>
                    <a:gd name="connsiteY2" fmla="*/ 145076 h 145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4129" h="145076">
                      <a:moveTo>
                        <a:pt x="5034" y="145076"/>
                      </a:moveTo>
                      <a:cubicBezTo>
                        <a:pt x="5034" y="145076"/>
                        <a:pt x="-16566" y="-3038"/>
                        <a:pt x="29720" y="48"/>
                      </a:cubicBezTo>
                      <a:cubicBezTo>
                        <a:pt x="76006" y="6219"/>
                        <a:pt x="109949" y="67933"/>
                        <a:pt x="5034" y="145076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591ED626-03A3-4267-9130-A2D273952280}"/>
                    </a:ext>
                  </a:extLst>
                </p:cNvPr>
                <p:cNvSpPr/>
                <p:nvPr/>
              </p:nvSpPr>
              <p:spPr>
                <a:xfrm>
                  <a:off x="16517100" y="8924068"/>
                  <a:ext cx="122222" cy="101523"/>
                </a:xfrm>
                <a:custGeom>
                  <a:avLst/>
                  <a:gdLst>
                    <a:gd name="connsiteX0" fmla="*/ 122222 w 122222"/>
                    <a:gd name="connsiteY0" fmla="*/ 0 h 101523"/>
                    <a:gd name="connsiteX1" fmla="*/ 4965 w 122222"/>
                    <a:gd name="connsiteY1" fmla="*/ 74057 h 101523"/>
                    <a:gd name="connsiteX2" fmla="*/ 122222 w 122222"/>
                    <a:gd name="connsiteY2" fmla="*/ 0 h 1015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2222" h="101523">
                      <a:moveTo>
                        <a:pt x="122222" y="0"/>
                      </a:moveTo>
                      <a:cubicBezTo>
                        <a:pt x="122222" y="0"/>
                        <a:pt x="-28978" y="12343"/>
                        <a:pt x="4965" y="74057"/>
                      </a:cubicBezTo>
                      <a:cubicBezTo>
                        <a:pt x="35822" y="132685"/>
                        <a:pt x="122222" y="92571"/>
                        <a:pt x="122222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A538C014-8FF0-452C-807C-C57361AAFB8A}"/>
                    </a:ext>
                  </a:extLst>
                </p:cNvPr>
                <p:cNvSpPr/>
                <p:nvPr/>
              </p:nvSpPr>
              <p:spPr>
                <a:xfrm>
                  <a:off x="16632969" y="8933324"/>
                  <a:ext cx="71613" cy="112098"/>
                </a:xfrm>
                <a:custGeom>
                  <a:avLst/>
                  <a:gdLst>
                    <a:gd name="connsiteX0" fmla="*/ 18696 w 71613"/>
                    <a:gd name="connsiteY0" fmla="*/ 0 h 112098"/>
                    <a:gd name="connsiteX1" fmla="*/ 31040 w 71613"/>
                    <a:gd name="connsiteY1" fmla="*/ 111086 h 112098"/>
                    <a:gd name="connsiteX2" fmla="*/ 18696 w 71613"/>
                    <a:gd name="connsiteY2" fmla="*/ 0 h 112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1613" h="112098">
                      <a:moveTo>
                        <a:pt x="18696" y="0"/>
                      </a:moveTo>
                      <a:cubicBezTo>
                        <a:pt x="18696" y="0"/>
                        <a:pt x="-30674" y="101829"/>
                        <a:pt x="31040" y="111086"/>
                      </a:cubicBezTo>
                      <a:cubicBezTo>
                        <a:pt x="92754" y="120343"/>
                        <a:pt x="80411" y="64800"/>
                        <a:pt x="18696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43CF27EF-8BCF-47A8-9B9E-1E116D29F76C}"/>
                    </a:ext>
                  </a:extLst>
                </p:cNvPr>
                <p:cNvSpPr/>
                <p:nvPr/>
              </p:nvSpPr>
              <p:spPr>
                <a:xfrm>
                  <a:off x="16664009" y="8884383"/>
                  <a:ext cx="118465" cy="69975"/>
                </a:xfrm>
                <a:custGeom>
                  <a:avLst/>
                  <a:gdLst>
                    <a:gd name="connsiteX0" fmla="*/ 0 w 118465"/>
                    <a:gd name="connsiteY0" fmla="*/ 45856 h 69975"/>
                    <a:gd name="connsiteX1" fmla="*/ 104914 w 118465"/>
                    <a:gd name="connsiteY1" fmla="*/ 11912 h 69975"/>
                    <a:gd name="connsiteX2" fmla="*/ 0 w 118465"/>
                    <a:gd name="connsiteY2" fmla="*/ 45856 h 69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8465" h="69975">
                      <a:moveTo>
                        <a:pt x="0" y="45856"/>
                      </a:moveTo>
                      <a:cubicBezTo>
                        <a:pt x="0" y="45856"/>
                        <a:pt x="67885" y="-28202"/>
                        <a:pt x="104914" y="11912"/>
                      </a:cubicBezTo>
                      <a:cubicBezTo>
                        <a:pt x="141942" y="55113"/>
                        <a:pt x="101828" y="98313"/>
                        <a:pt x="0" y="45856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F97B5F86-F4D9-403E-8E02-8F988C6F1443}"/>
                    </a:ext>
                  </a:extLst>
                </p:cNvPr>
                <p:cNvSpPr/>
                <p:nvPr/>
              </p:nvSpPr>
              <p:spPr>
                <a:xfrm>
                  <a:off x="16617723" y="8893210"/>
                  <a:ext cx="67885" cy="67885"/>
                </a:xfrm>
                <a:custGeom>
                  <a:avLst/>
                  <a:gdLst>
                    <a:gd name="connsiteX0" fmla="*/ 67885 w 67885"/>
                    <a:gd name="connsiteY0" fmla="*/ 33943 h 67885"/>
                    <a:gd name="connsiteX1" fmla="*/ 33942 w 67885"/>
                    <a:gd name="connsiteY1" fmla="*/ 0 h 67885"/>
                    <a:gd name="connsiteX2" fmla="*/ 0 w 67885"/>
                    <a:gd name="connsiteY2" fmla="*/ 33943 h 67885"/>
                    <a:gd name="connsiteX3" fmla="*/ 33942 w 67885"/>
                    <a:gd name="connsiteY3" fmla="*/ 67886 h 67885"/>
                    <a:gd name="connsiteX4" fmla="*/ 67885 w 67885"/>
                    <a:gd name="connsiteY4" fmla="*/ 33943 h 678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7885" h="67885">
                      <a:moveTo>
                        <a:pt x="67885" y="33943"/>
                      </a:moveTo>
                      <a:cubicBezTo>
                        <a:pt x="67885" y="15429"/>
                        <a:pt x="52457" y="0"/>
                        <a:pt x="33942" y="0"/>
                      </a:cubicBezTo>
                      <a:cubicBezTo>
                        <a:pt x="15429" y="0"/>
                        <a:pt x="0" y="15429"/>
                        <a:pt x="0" y="33943"/>
                      </a:cubicBezTo>
                      <a:cubicBezTo>
                        <a:pt x="0" y="52457"/>
                        <a:pt x="15429" y="67886"/>
                        <a:pt x="33942" y="67886"/>
                      </a:cubicBezTo>
                      <a:cubicBezTo>
                        <a:pt x="52457" y="67886"/>
                        <a:pt x="67885" y="52457"/>
                        <a:pt x="67885" y="33943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89" name="图形 1">
                <a:extLst>
                  <a:ext uri="{FF2B5EF4-FFF2-40B4-BE49-F238E27FC236}">
                    <a16:creationId xmlns:a16="http://schemas.microsoft.com/office/drawing/2014/main" id="{6EAD495B-751F-43E7-ADDE-67BC6405B6A1}"/>
                  </a:ext>
                </a:extLst>
              </p:cNvPr>
              <p:cNvGrpSpPr/>
              <p:nvPr/>
            </p:nvGrpSpPr>
            <p:grpSpPr>
              <a:xfrm>
                <a:off x="16564836" y="9047418"/>
                <a:ext cx="161089" cy="395049"/>
                <a:chOff x="16564836" y="9047418"/>
                <a:chExt cx="161089" cy="395049"/>
              </a:xfrm>
            </p:grpSpPr>
            <p:sp>
              <p:nvSpPr>
                <p:cNvPr id="106" name="任意多边形: 形状 105">
                  <a:extLst>
                    <a:ext uri="{FF2B5EF4-FFF2-40B4-BE49-F238E27FC236}">
                      <a16:creationId xmlns:a16="http://schemas.microsoft.com/office/drawing/2014/main" id="{D4456D17-D390-4548-AFDF-4DD5E5C8BCF4}"/>
                    </a:ext>
                  </a:extLst>
                </p:cNvPr>
                <p:cNvSpPr/>
                <p:nvPr/>
              </p:nvSpPr>
              <p:spPr>
                <a:xfrm>
                  <a:off x="16571437" y="9136982"/>
                  <a:ext cx="83313" cy="305485"/>
                </a:xfrm>
                <a:custGeom>
                  <a:avLst/>
                  <a:gdLst>
                    <a:gd name="connsiteX0" fmla="*/ 9257 w 83313"/>
                    <a:gd name="connsiteY0" fmla="*/ 305486 h 305485"/>
                    <a:gd name="connsiteX1" fmla="*/ 9257 w 83313"/>
                    <a:gd name="connsiteY1" fmla="*/ 305486 h 305485"/>
                    <a:gd name="connsiteX2" fmla="*/ 0 w 83313"/>
                    <a:gd name="connsiteY2" fmla="*/ 296229 h 305485"/>
                    <a:gd name="connsiteX3" fmla="*/ 67885 w 83313"/>
                    <a:gd name="connsiteY3" fmla="*/ 3086 h 305485"/>
                    <a:gd name="connsiteX4" fmla="*/ 80228 w 83313"/>
                    <a:gd name="connsiteY4" fmla="*/ 0 h 305485"/>
                    <a:gd name="connsiteX5" fmla="*/ 83314 w 83313"/>
                    <a:gd name="connsiteY5" fmla="*/ 12343 h 305485"/>
                    <a:gd name="connsiteX6" fmla="*/ 18514 w 83313"/>
                    <a:gd name="connsiteY6" fmla="*/ 296229 h 305485"/>
                    <a:gd name="connsiteX7" fmla="*/ 9257 w 83313"/>
                    <a:gd name="connsiteY7" fmla="*/ 305486 h 3054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3313" h="305485">
                      <a:moveTo>
                        <a:pt x="9257" y="305486"/>
                      </a:moveTo>
                      <a:cubicBezTo>
                        <a:pt x="9257" y="305486"/>
                        <a:pt x="9257" y="305486"/>
                        <a:pt x="9257" y="305486"/>
                      </a:cubicBezTo>
                      <a:cubicBezTo>
                        <a:pt x="6171" y="305486"/>
                        <a:pt x="0" y="302400"/>
                        <a:pt x="0" y="296229"/>
                      </a:cubicBezTo>
                      <a:cubicBezTo>
                        <a:pt x="0" y="290057"/>
                        <a:pt x="15429" y="80229"/>
                        <a:pt x="67885" y="3086"/>
                      </a:cubicBezTo>
                      <a:cubicBezTo>
                        <a:pt x="70971" y="0"/>
                        <a:pt x="74057" y="0"/>
                        <a:pt x="80228" y="0"/>
                      </a:cubicBezTo>
                      <a:cubicBezTo>
                        <a:pt x="83314" y="3086"/>
                        <a:pt x="83314" y="6171"/>
                        <a:pt x="83314" y="12343"/>
                      </a:cubicBezTo>
                      <a:cubicBezTo>
                        <a:pt x="30857" y="83314"/>
                        <a:pt x="18514" y="296229"/>
                        <a:pt x="18514" y="296229"/>
                      </a:cubicBezTo>
                      <a:cubicBezTo>
                        <a:pt x="18514" y="302400"/>
                        <a:pt x="12343" y="305486"/>
                        <a:pt x="9257" y="305486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7" name="任意多边形: 形状 106">
                  <a:extLst>
                    <a:ext uri="{FF2B5EF4-FFF2-40B4-BE49-F238E27FC236}">
                      <a16:creationId xmlns:a16="http://schemas.microsoft.com/office/drawing/2014/main" id="{A81F051F-382F-4907-AA34-57767DE937E9}"/>
                    </a:ext>
                  </a:extLst>
                </p:cNvPr>
                <p:cNvSpPr/>
                <p:nvPr/>
              </p:nvSpPr>
              <p:spPr>
                <a:xfrm>
                  <a:off x="16564836" y="9062773"/>
                  <a:ext cx="80658" cy="69045"/>
                </a:xfrm>
                <a:custGeom>
                  <a:avLst/>
                  <a:gdLst>
                    <a:gd name="connsiteX0" fmla="*/ 80658 w 80658"/>
                    <a:gd name="connsiteY0" fmla="*/ 68038 h 69045"/>
                    <a:gd name="connsiteX1" fmla="*/ 6601 w 80658"/>
                    <a:gd name="connsiteY1" fmla="*/ 18666 h 69045"/>
                    <a:gd name="connsiteX2" fmla="*/ 80658 w 80658"/>
                    <a:gd name="connsiteY2" fmla="*/ 68038 h 69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0658" h="69045">
                      <a:moveTo>
                        <a:pt x="80658" y="68038"/>
                      </a:moveTo>
                      <a:cubicBezTo>
                        <a:pt x="80658" y="68038"/>
                        <a:pt x="40543" y="-43048"/>
                        <a:pt x="6601" y="18666"/>
                      </a:cubicBezTo>
                      <a:cubicBezTo>
                        <a:pt x="-27342" y="80380"/>
                        <a:pt x="80658" y="68038"/>
                        <a:pt x="80658" y="68038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8" name="任意多边形: 形状 107">
                  <a:extLst>
                    <a:ext uri="{FF2B5EF4-FFF2-40B4-BE49-F238E27FC236}">
                      <a16:creationId xmlns:a16="http://schemas.microsoft.com/office/drawing/2014/main" id="{20D42C80-A819-40B6-A1C7-1A77D9D44F45}"/>
                    </a:ext>
                  </a:extLst>
                </p:cNvPr>
                <p:cNvSpPr/>
                <p:nvPr/>
              </p:nvSpPr>
              <p:spPr>
                <a:xfrm>
                  <a:off x="16645846" y="9047418"/>
                  <a:ext cx="42888" cy="86477"/>
                </a:xfrm>
                <a:custGeom>
                  <a:avLst/>
                  <a:gdLst>
                    <a:gd name="connsiteX0" fmla="*/ 2734 w 42888"/>
                    <a:gd name="connsiteY0" fmla="*/ 86478 h 86477"/>
                    <a:gd name="connsiteX1" fmla="*/ 18162 w 42888"/>
                    <a:gd name="connsiteY1" fmla="*/ 78 h 86477"/>
                    <a:gd name="connsiteX2" fmla="*/ 2734 w 42888"/>
                    <a:gd name="connsiteY2" fmla="*/ 86478 h 864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2888" h="86477">
                      <a:moveTo>
                        <a:pt x="2734" y="86478"/>
                      </a:moveTo>
                      <a:cubicBezTo>
                        <a:pt x="2734" y="86478"/>
                        <a:pt x="-9610" y="-3008"/>
                        <a:pt x="18162" y="78"/>
                      </a:cubicBezTo>
                      <a:cubicBezTo>
                        <a:pt x="42848" y="3163"/>
                        <a:pt x="64448" y="40192"/>
                        <a:pt x="2734" y="86478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9" name="任意多边形: 形状 108">
                  <a:extLst>
                    <a:ext uri="{FF2B5EF4-FFF2-40B4-BE49-F238E27FC236}">
                      <a16:creationId xmlns:a16="http://schemas.microsoft.com/office/drawing/2014/main" id="{99B02528-7DDF-4F49-83AA-3CF372A74436}"/>
                    </a:ext>
                  </a:extLst>
                </p:cNvPr>
                <p:cNvSpPr/>
                <p:nvPr/>
              </p:nvSpPr>
              <p:spPr>
                <a:xfrm>
                  <a:off x="16565829" y="9136982"/>
                  <a:ext cx="73493" cy="61487"/>
                </a:xfrm>
                <a:custGeom>
                  <a:avLst/>
                  <a:gdLst>
                    <a:gd name="connsiteX0" fmla="*/ 73493 w 73493"/>
                    <a:gd name="connsiteY0" fmla="*/ 0 h 61487"/>
                    <a:gd name="connsiteX1" fmla="*/ 2522 w 73493"/>
                    <a:gd name="connsiteY1" fmla="*/ 43200 h 61487"/>
                    <a:gd name="connsiteX2" fmla="*/ 73493 w 73493"/>
                    <a:gd name="connsiteY2" fmla="*/ 0 h 614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3493" h="61487">
                      <a:moveTo>
                        <a:pt x="73493" y="0"/>
                      </a:moveTo>
                      <a:cubicBezTo>
                        <a:pt x="73493" y="0"/>
                        <a:pt x="-15992" y="6171"/>
                        <a:pt x="2522" y="43200"/>
                      </a:cubicBezTo>
                      <a:cubicBezTo>
                        <a:pt x="21037" y="80229"/>
                        <a:pt x="73493" y="58628"/>
                        <a:pt x="73493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" name="任意多边形: 形状 109">
                  <a:extLst>
                    <a:ext uri="{FF2B5EF4-FFF2-40B4-BE49-F238E27FC236}">
                      <a16:creationId xmlns:a16="http://schemas.microsoft.com/office/drawing/2014/main" id="{9C19B2C1-9F38-4FFD-BBB9-8953DEED3225}"/>
                    </a:ext>
                  </a:extLst>
                </p:cNvPr>
                <p:cNvSpPr/>
                <p:nvPr/>
              </p:nvSpPr>
              <p:spPr>
                <a:xfrm>
                  <a:off x="16636526" y="9143153"/>
                  <a:ext cx="42064" cy="66238"/>
                </a:xfrm>
                <a:custGeom>
                  <a:avLst/>
                  <a:gdLst>
                    <a:gd name="connsiteX0" fmla="*/ 12054 w 42064"/>
                    <a:gd name="connsiteY0" fmla="*/ 0 h 66238"/>
                    <a:gd name="connsiteX1" fmla="*/ 18225 w 42064"/>
                    <a:gd name="connsiteY1" fmla="*/ 64800 h 66238"/>
                    <a:gd name="connsiteX2" fmla="*/ 12054 w 42064"/>
                    <a:gd name="connsiteY2" fmla="*/ 0 h 66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2064" h="66238">
                      <a:moveTo>
                        <a:pt x="12054" y="0"/>
                      </a:moveTo>
                      <a:cubicBezTo>
                        <a:pt x="12054" y="0"/>
                        <a:pt x="-18803" y="61714"/>
                        <a:pt x="18225" y="64800"/>
                      </a:cubicBezTo>
                      <a:cubicBezTo>
                        <a:pt x="55254" y="74057"/>
                        <a:pt x="45996" y="37028"/>
                        <a:pt x="12054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" name="任意多边形: 形状 110">
                  <a:extLst>
                    <a:ext uri="{FF2B5EF4-FFF2-40B4-BE49-F238E27FC236}">
                      <a16:creationId xmlns:a16="http://schemas.microsoft.com/office/drawing/2014/main" id="{7EF2A0E0-8AD3-4A6F-B6A0-F1EB0341061B}"/>
                    </a:ext>
                  </a:extLst>
                </p:cNvPr>
                <p:cNvSpPr/>
                <p:nvPr/>
              </p:nvSpPr>
              <p:spPr>
                <a:xfrm>
                  <a:off x="16654751" y="9113934"/>
                  <a:ext cx="71174" cy="41904"/>
                </a:xfrm>
                <a:custGeom>
                  <a:avLst/>
                  <a:gdLst>
                    <a:gd name="connsiteX0" fmla="*/ 0 w 71174"/>
                    <a:gd name="connsiteY0" fmla="*/ 26134 h 41904"/>
                    <a:gd name="connsiteX1" fmla="*/ 61714 w 71174"/>
                    <a:gd name="connsiteY1" fmla="*/ 7619 h 41904"/>
                    <a:gd name="connsiteX2" fmla="*/ 0 w 71174"/>
                    <a:gd name="connsiteY2" fmla="*/ 26134 h 419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1174" h="41904">
                      <a:moveTo>
                        <a:pt x="0" y="26134"/>
                      </a:moveTo>
                      <a:cubicBezTo>
                        <a:pt x="0" y="26134"/>
                        <a:pt x="40115" y="-17067"/>
                        <a:pt x="61714" y="7619"/>
                      </a:cubicBezTo>
                      <a:cubicBezTo>
                        <a:pt x="86401" y="32305"/>
                        <a:pt x="61714" y="60076"/>
                        <a:pt x="0" y="26134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16D4AF3C-3291-4BDD-8DCF-A78E51863E62}"/>
                    </a:ext>
                  </a:extLst>
                </p:cNvPr>
                <p:cNvSpPr/>
                <p:nvPr/>
              </p:nvSpPr>
              <p:spPr>
                <a:xfrm>
                  <a:off x="16623894" y="9118467"/>
                  <a:ext cx="43199" cy="43200"/>
                </a:xfrm>
                <a:custGeom>
                  <a:avLst/>
                  <a:gdLst>
                    <a:gd name="connsiteX0" fmla="*/ 43200 w 43199"/>
                    <a:gd name="connsiteY0" fmla="*/ 21600 h 43200"/>
                    <a:gd name="connsiteX1" fmla="*/ 21600 w 43199"/>
                    <a:gd name="connsiteY1" fmla="*/ 0 h 43200"/>
                    <a:gd name="connsiteX2" fmla="*/ 0 w 43199"/>
                    <a:gd name="connsiteY2" fmla="*/ 21600 h 43200"/>
                    <a:gd name="connsiteX3" fmla="*/ 21600 w 43199"/>
                    <a:gd name="connsiteY3" fmla="*/ 43200 h 43200"/>
                    <a:gd name="connsiteX4" fmla="*/ 43200 w 43199"/>
                    <a:gd name="connsiteY4" fmla="*/ 21600 h 43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3199" h="43200">
                      <a:moveTo>
                        <a:pt x="43200" y="21600"/>
                      </a:moveTo>
                      <a:cubicBezTo>
                        <a:pt x="43200" y="9257"/>
                        <a:pt x="33943" y="0"/>
                        <a:pt x="21600" y="0"/>
                      </a:cubicBezTo>
                      <a:cubicBezTo>
                        <a:pt x="9258" y="0"/>
                        <a:pt x="0" y="9257"/>
                        <a:pt x="0" y="21600"/>
                      </a:cubicBezTo>
                      <a:cubicBezTo>
                        <a:pt x="0" y="33943"/>
                        <a:pt x="9258" y="43200"/>
                        <a:pt x="21600" y="43200"/>
                      </a:cubicBezTo>
                      <a:cubicBezTo>
                        <a:pt x="33943" y="40114"/>
                        <a:pt x="43200" y="30857"/>
                        <a:pt x="43200" y="21600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0" name="图形 1">
                <a:extLst>
                  <a:ext uri="{FF2B5EF4-FFF2-40B4-BE49-F238E27FC236}">
                    <a16:creationId xmlns:a16="http://schemas.microsoft.com/office/drawing/2014/main" id="{4F0EAC4B-9EAE-4E30-8231-36EA68C7F299}"/>
                  </a:ext>
                </a:extLst>
              </p:cNvPr>
              <p:cNvGrpSpPr/>
              <p:nvPr/>
            </p:nvGrpSpPr>
            <p:grpSpPr>
              <a:xfrm>
                <a:off x="16326579" y="8886820"/>
                <a:ext cx="278800" cy="543304"/>
                <a:chOff x="16326579" y="8886820"/>
                <a:chExt cx="278800" cy="543304"/>
              </a:xfrm>
            </p:grpSpPr>
            <p:sp>
              <p:nvSpPr>
                <p:cNvPr id="99" name="任意多边形: 形状 98">
                  <a:extLst>
                    <a:ext uri="{FF2B5EF4-FFF2-40B4-BE49-F238E27FC236}">
                      <a16:creationId xmlns:a16="http://schemas.microsoft.com/office/drawing/2014/main" id="{136A593D-8016-4C2B-91A1-D407AAC45C5C}"/>
                    </a:ext>
                  </a:extLst>
                </p:cNvPr>
                <p:cNvSpPr/>
                <p:nvPr/>
              </p:nvSpPr>
              <p:spPr>
                <a:xfrm>
                  <a:off x="16430266" y="9017410"/>
                  <a:ext cx="175113" cy="412714"/>
                </a:xfrm>
                <a:custGeom>
                  <a:avLst/>
                  <a:gdLst>
                    <a:gd name="connsiteX0" fmla="*/ 165857 w 175113"/>
                    <a:gd name="connsiteY0" fmla="*/ 412714 h 412714"/>
                    <a:gd name="connsiteX1" fmla="*/ 165857 w 175113"/>
                    <a:gd name="connsiteY1" fmla="*/ 412714 h 412714"/>
                    <a:gd name="connsiteX2" fmla="*/ 175114 w 175113"/>
                    <a:gd name="connsiteY2" fmla="*/ 400372 h 412714"/>
                    <a:gd name="connsiteX3" fmla="*/ 17743 w 175113"/>
                    <a:gd name="connsiteY3" fmla="*/ 2314 h 412714"/>
                    <a:gd name="connsiteX4" fmla="*/ 2314 w 175113"/>
                    <a:gd name="connsiteY4" fmla="*/ 2314 h 412714"/>
                    <a:gd name="connsiteX5" fmla="*/ 2314 w 175113"/>
                    <a:gd name="connsiteY5" fmla="*/ 17743 h 412714"/>
                    <a:gd name="connsiteX6" fmla="*/ 153514 w 175113"/>
                    <a:gd name="connsiteY6" fmla="*/ 406543 h 412714"/>
                    <a:gd name="connsiteX7" fmla="*/ 165857 w 175113"/>
                    <a:gd name="connsiteY7" fmla="*/ 412714 h 412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5113" h="412714">
                      <a:moveTo>
                        <a:pt x="165857" y="412714"/>
                      </a:moveTo>
                      <a:cubicBezTo>
                        <a:pt x="165857" y="412714"/>
                        <a:pt x="165857" y="412714"/>
                        <a:pt x="165857" y="412714"/>
                      </a:cubicBezTo>
                      <a:cubicBezTo>
                        <a:pt x="172029" y="412714"/>
                        <a:pt x="175114" y="406543"/>
                        <a:pt x="175114" y="400372"/>
                      </a:cubicBezTo>
                      <a:cubicBezTo>
                        <a:pt x="172029" y="391114"/>
                        <a:pt x="110314" y="97971"/>
                        <a:pt x="17743" y="2314"/>
                      </a:cubicBezTo>
                      <a:cubicBezTo>
                        <a:pt x="14657" y="-771"/>
                        <a:pt x="5399" y="-771"/>
                        <a:pt x="2314" y="2314"/>
                      </a:cubicBezTo>
                      <a:cubicBezTo>
                        <a:pt x="-771" y="5400"/>
                        <a:pt x="-771" y="14657"/>
                        <a:pt x="2314" y="17743"/>
                      </a:cubicBezTo>
                      <a:cubicBezTo>
                        <a:pt x="91800" y="110314"/>
                        <a:pt x="153514" y="403457"/>
                        <a:pt x="153514" y="406543"/>
                      </a:cubicBezTo>
                      <a:cubicBezTo>
                        <a:pt x="153514" y="409628"/>
                        <a:pt x="159685" y="412714"/>
                        <a:pt x="165857" y="412714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0" name="任意多边形: 形状 99">
                  <a:extLst>
                    <a:ext uri="{FF2B5EF4-FFF2-40B4-BE49-F238E27FC236}">
                      <a16:creationId xmlns:a16="http://schemas.microsoft.com/office/drawing/2014/main" id="{39BD0C92-6B85-4E85-BAE7-A866A4FCBE26}"/>
                    </a:ext>
                  </a:extLst>
                </p:cNvPr>
                <p:cNvSpPr/>
                <p:nvPr/>
              </p:nvSpPr>
              <p:spPr>
                <a:xfrm>
                  <a:off x="16441837" y="8892970"/>
                  <a:ext cx="108951" cy="108240"/>
                </a:xfrm>
                <a:custGeom>
                  <a:avLst/>
                  <a:gdLst>
                    <a:gd name="connsiteX0" fmla="*/ 0 w 108951"/>
                    <a:gd name="connsiteY0" fmla="*/ 108240 h 108240"/>
                    <a:gd name="connsiteX1" fmla="*/ 95657 w 108951"/>
                    <a:gd name="connsiteY1" fmla="*/ 21840 h 108240"/>
                    <a:gd name="connsiteX2" fmla="*/ 0 w 108951"/>
                    <a:gd name="connsiteY2" fmla="*/ 108240 h 1082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8951" h="108240">
                      <a:moveTo>
                        <a:pt x="0" y="108240"/>
                      </a:moveTo>
                      <a:cubicBezTo>
                        <a:pt x="0" y="108240"/>
                        <a:pt x="33943" y="-58389"/>
                        <a:pt x="95657" y="21840"/>
                      </a:cubicBezTo>
                      <a:cubicBezTo>
                        <a:pt x="154286" y="102068"/>
                        <a:pt x="0" y="108240"/>
                        <a:pt x="0" y="10824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1" name="任意多边形: 形状 100">
                  <a:extLst>
                    <a:ext uri="{FF2B5EF4-FFF2-40B4-BE49-F238E27FC236}">
                      <a16:creationId xmlns:a16="http://schemas.microsoft.com/office/drawing/2014/main" id="{1BE602F8-0C37-4F0E-924B-FD2E185AA2D4}"/>
                    </a:ext>
                  </a:extLst>
                </p:cNvPr>
                <p:cNvSpPr/>
                <p:nvPr/>
              </p:nvSpPr>
              <p:spPr>
                <a:xfrm>
                  <a:off x="16365235" y="8886820"/>
                  <a:ext cx="73515" cy="120561"/>
                </a:xfrm>
                <a:custGeom>
                  <a:avLst/>
                  <a:gdLst>
                    <a:gd name="connsiteX0" fmla="*/ 73516 w 73515"/>
                    <a:gd name="connsiteY0" fmla="*/ 120562 h 120561"/>
                    <a:gd name="connsiteX1" fmla="*/ 33402 w 73515"/>
                    <a:gd name="connsiteY1" fmla="*/ 219 h 120561"/>
                    <a:gd name="connsiteX2" fmla="*/ 73516 w 73515"/>
                    <a:gd name="connsiteY2" fmla="*/ 120562 h 120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3515" h="120561">
                      <a:moveTo>
                        <a:pt x="73516" y="120562"/>
                      </a:moveTo>
                      <a:cubicBezTo>
                        <a:pt x="73516" y="120562"/>
                        <a:pt x="73516" y="-5953"/>
                        <a:pt x="33402" y="219"/>
                      </a:cubicBezTo>
                      <a:cubicBezTo>
                        <a:pt x="-6713" y="12562"/>
                        <a:pt x="-28312" y="68105"/>
                        <a:pt x="73516" y="120562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2" name="任意多边形: 形状 101">
                  <a:extLst>
                    <a:ext uri="{FF2B5EF4-FFF2-40B4-BE49-F238E27FC236}">
                      <a16:creationId xmlns:a16="http://schemas.microsoft.com/office/drawing/2014/main" id="{F99C106A-18F7-4FA2-9660-BF5A9B4E2B5C}"/>
                    </a:ext>
                  </a:extLst>
                </p:cNvPr>
                <p:cNvSpPr/>
                <p:nvPr/>
              </p:nvSpPr>
              <p:spPr>
                <a:xfrm>
                  <a:off x="16448009" y="9009889"/>
                  <a:ext cx="112895" cy="79137"/>
                </a:xfrm>
                <a:custGeom>
                  <a:avLst/>
                  <a:gdLst>
                    <a:gd name="connsiteX0" fmla="*/ 0 w 112895"/>
                    <a:gd name="connsiteY0" fmla="*/ 579 h 79137"/>
                    <a:gd name="connsiteX1" fmla="*/ 111085 w 112895"/>
                    <a:gd name="connsiteY1" fmla="*/ 46864 h 79137"/>
                    <a:gd name="connsiteX2" fmla="*/ 0 w 112895"/>
                    <a:gd name="connsiteY2" fmla="*/ 579 h 7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2895" h="79137">
                      <a:moveTo>
                        <a:pt x="0" y="579"/>
                      </a:moveTo>
                      <a:cubicBezTo>
                        <a:pt x="0" y="579"/>
                        <a:pt x="129599" y="-8678"/>
                        <a:pt x="111085" y="46864"/>
                      </a:cubicBezTo>
                      <a:cubicBezTo>
                        <a:pt x="92571" y="105493"/>
                        <a:pt x="12343" y="80807"/>
                        <a:pt x="0" y="579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3" name="任意多边形: 形状 102">
                  <a:extLst>
                    <a:ext uri="{FF2B5EF4-FFF2-40B4-BE49-F238E27FC236}">
                      <a16:creationId xmlns:a16="http://schemas.microsoft.com/office/drawing/2014/main" id="{1BBC8F5D-1BFE-4860-AC59-BBE5D4BED130}"/>
                    </a:ext>
                  </a:extLst>
                </p:cNvPr>
                <p:cNvSpPr/>
                <p:nvPr/>
              </p:nvSpPr>
              <p:spPr>
                <a:xfrm>
                  <a:off x="16405580" y="9019724"/>
                  <a:ext cx="58797" cy="99429"/>
                </a:xfrm>
                <a:custGeom>
                  <a:avLst/>
                  <a:gdLst>
                    <a:gd name="connsiteX0" fmla="*/ 33171 w 58797"/>
                    <a:gd name="connsiteY0" fmla="*/ 0 h 99429"/>
                    <a:gd name="connsiteX1" fmla="*/ 36257 w 58797"/>
                    <a:gd name="connsiteY1" fmla="*/ 95657 h 99429"/>
                    <a:gd name="connsiteX2" fmla="*/ 33171 w 58797"/>
                    <a:gd name="connsiteY2" fmla="*/ 0 h 99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797" h="99429">
                      <a:moveTo>
                        <a:pt x="33171" y="0"/>
                      </a:moveTo>
                      <a:cubicBezTo>
                        <a:pt x="33171" y="0"/>
                        <a:pt x="88715" y="80229"/>
                        <a:pt x="36257" y="95657"/>
                      </a:cubicBezTo>
                      <a:cubicBezTo>
                        <a:pt x="-13114" y="114171"/>
                        <a:pt x="-10028" y="61714"/>
                        <a:pt x="33171" y="0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4" name="任意多边形: 形状 103">
                  <a:extLst>
                    <a:ext uri="{FF2B5EF4-FFF2-40B4-BE49-F238E27FC236}">
                      <a16:creationId xmlns:a16="http://schemas.microsoft.com/office/drawing/2014/main" id="{A9B69B4C-55C9-4B4F-85D5-0CB86575C18F}"/>
                    </a:ext>
                  </a:extLst>
                </p:cNvPr>
                <p:cNvSpPr/>
                <p:nvPr/>
              </p:nvSpPr>
              <p:spPr>
                <a:xfrm>
                  <a:off x="16326579" y="8989744"/>
                  <a:ext cx="99829" cy="61463"/>
                </a:xfrm>
                <a:custGeom>
                  <a:avLst/>
                  <a:gdLst>
                    <a:gd name="connsiteX0" fmla="*/ 99829 w 99829"/>
                    <a:gd name="connsiteY0" fmla="*/ 29981 h 61463"/>
                    <a:gd name="connsiteX1" fmla="*/ 7258 w 99829"/>
                    <a:gd name="connsiteY1" fmla="*/ 14552 h 61463"/>
                    <a:gd name="connsiteX2" fmla="*/ 99829 w 99829"/>
                    <a:gd name="connsiteY2" fmla="*/ 29981 h 61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9829" h="61463">
                      <a:moveTo>
                        <a:pt x="99829" y="29981"/>
                      </a:moveTo>
                      <a:cubicBezTo>
                        <a:pt x="99829" y="29981"/>
                        <a:pt x="35029" y="-25562"/>
                        <a:pt x="7258" y="14552"/>
                      </a:cubicBezTo>
                      <a:cubicBezTo>
                        <a:pt x="-17428" y="54667"/>
                        <a:pt x="22686" y="88610"/>
                        <a:pt x="99829" y="29981"/>
                      </a:cubicBezTo>
                      <a:close/>
                    </a:path>
                  </a:pathLst>
                </a:custGeom>
                <a:solidFill>
                  <a:srgbClr val="E2706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5" name="任意多边形: 形状 104">
                  <a:extLst>
                    <a:ext uri="{FF2B5EF4-FFF2-40B4-BE49-F238E27FC236}">
                      <a16:creationId xmlns:a16="http://schemas.microsoft.com/office/drawing/2014/main" id="{404FD98A-2630-4EE6-8509-CB4FEFAFE312}"/>
                    </a:ext>
                  </a:extLst>
                </p:cNvPr>
                <p:cNvSpPr/>
                <p:nvPr/>
              </p:nvSpPr>
              <p:spPr>
                <a:xfrm>
                  <a:off x="16410504" y="8985306"/>
                  <a:ext cx="59580" cy="59104"/>
                </a:xfrm>
                <a:custGeom>
                  <a:avLst/>
                  <a:gdLst>
                    <a:gd name="connsiteX0" fmla="*/ 476 w 59580"/>
                    <a:gd name="connsiteY0" fmla="*/ 34419 h 59104"/>
                    <a:gd name="connsiteX1" fmla="*/ 25161 w 59580"/>
                    <a:gd name="connsiteY1" fmla="*/ 476 h 59104"/>
                    <a:gd name="connsiteX2" fmla="*/ 59104 w 59580"/>
                    <a:gd name="connsiteY2" fmla="*/ 25161 h 59104"/>
                    <a:gd name="connsiteX3" fmla="*/ 34419 w 59580"/>
                    <a:gd name="connsiteY3" fmla="*/ 59104 h 59104"/>
                    <a:gd name="connsiteX4" fmla="*/ 476 w 59580"/>
                    <a:gd name="connsiteY4" fmla="*/ 34419 h 591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580" h="59104">
                      <a:moveTo>
                        <a:pt x="476" y="34419"/>
                      </a:moveTo>
                      <a:cubicBezTo>
                        <a:pt x="-2610" y="18990"/>
                        <a:pt x="9733" y="3561"/>
                        <a:pt x="25161" y="476"/>
                      </a:cubicBezTo>
                      <a:cubicBezTo>
                        <a:pt x="40590" y="-2610"/>
                        <a:pt x="56019" y="9733"/>
                        <a:pt x="59104" y="25161"/>
                      </a:cubicBezTo>
                      <a:cubicBezTo>
                        <a:pt x="62190" y="40590"/>
                        <a:pt x="49848" y="56019"/>
                        <a:pt x="34419" y="59104"/>
                      </a:cubicBezTo>
                      <a:cubicBezTo>
                        <a:pt x="15905" y="59104"/>
                        <a:pt x="476" y="49847"/>
                        <a:pt x="476" y="34419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1" name="图形 1">
                <a:extLst>
                  <a:ext uri="{FF2B5EF4-FFF2-40B4-BE49-F238E27FC236}">
                    <a16:creationId xmlns:a16="http://schemas.microsoft.com/office/drawing/2014/main" id="{F3FD2110-777C-4ABA-9BFD-3A6BFFF00495}"/>
                  </a:ext>
                </a:extLst>
              </p:cNvPr>
              <p:cNvGrpSpPr/>
              <p:nvPr/>
            </p:nvGrpSpPr>
            <p:grpSpPr>
              <a:xfrm>
                <a:off x="16352810" y="9074962"/>
                <a:ext cx="197026" cy="376762"/>
                <a:chOff x="16352810" y="9074962"/>
                <a:chExt cx="197026" cy="376762"/>
              </a:xfrm>
            </p:grpSpPr>
            <p:sp>
              <p:nvSpPr>
                <p:cNvPr id="92" name="任意多边形: 形状 91">
                  <a:extLst>
                    <a:ext uri="{FF2B5EF4-FFF2-40B4-BE49-F238E27FC236}">
                      <a16:creationId xmlns:a16="http://schemas.microsoft.com/office/drawing/2014/main" id="{87A0F713-2518-4644-97C5-7EDB64FD9B72}"/>
                    </a:ext>
                  </a:extLst>
                </p:cNvPr>
                <p:cNvSpPr/>
                <p:nvPr/>
              </p:nvSpPr>
              <p:spPr>
                <a:xfrm>
                  <a:off x="16424094" y="9162439"/>
                  <a:ext cx="125743" cy="289285"/>
                </a:xfrm>
                <a:custGeom>
                  <a:avLst/>
                  <a:gdLst>
                    <a:gd name="connsiteX0" fmla="*/ 119571 w 125743"/>
                    <a:gd name="connsiteY0" fmla="*/ 289286 h 289285"/>
                    <a:gd name="connsiteX1" fmla="*/ 119571 w 125743"/>
                    <a:gd name="connsiteY1" fmla="*/ 289286 h 289285"/>
                    <a:gd name="connsiteX2" fmla="*/ 125743 w 125743"/>
                    <a:gd name="connsiteY2" fmla="*/ 280028 h 289285"/>
                    <a:gd name="connsiteX3" fmla="*/ 14657 w 125743"/>
                    <a:gd name="connsiteY3" fmla="*/ 2314 h 289285"/>
                    <a:gd name="connsiteX4" fmla="*/ 2314 w 125743"/>
                    <a:gd name="connsiteY4" fmla="*/ 2314 h 289285"/>
                    <a:gd name="connsiteX5" fmla="*/ 2314 w 125743"/>
                    <a:gd name="connsiteY5" fmla="*/ 14657 h 289285"/>
                    <a:gd name="connsiteX6" fmla="*/ 110314 w 125743"/>
                    <a:gd name="connsiteY6" fmla="*/ 286200 h 289285"/>
                    <a:gd name="connsiteX7" fmla="*/ 119571 w 125743"/>
                    <a:gd name="connsiteY7" fmla="*/ 289286 h 289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5743" h="289285">
                      <a:moveTo>
                        <a:pt x="119571" y="289286"/>
                      </a:moveTo>
                      <a:cubicBezTo>
                        <a:pt x="119571" y="289286"/>
                        <a:pt x="119571" y="289286"/>
                        <a:pt x="119571" y="289286"/>
                      </a:cubicBezTo>
                      <a:cubicBezTo>
                        <a:pt x="122657" y="289286"/>
                        <a:pt x="125743" y="283114"/>
                        <a:pt x="125743" y="280028"/>
                      </a:cubicBezTo>
                      <a:cubicBezTo>
                        <a:pt x="125743" y="273857"/>
                        <a:pt x="79457" y="67114"/>
                        <a:pt x="14657" y="2314"/>
                      </a:cubicBezTo>
                      <a:cubicBezTo>
                        <a:pt x="11571" y="-771"/>
                        <a:pt x="5400" y="-771"/>
                        <a:pt x="2314" y="2314"/>
                      </a:cubicBezTo>
                      <a:cubicBezTo>
                        <a:pt x="-771" y="5400"/>
                        <a:pt x="-771" y="11571"/>
                        <a:pt x="2314" y="14657"/>
                      </a:cubicBezTo>
                      <a:cubicBezTo>
                        <a:pt x="64029" y="79457"/>
                        <a:pt x="110314" y="283114"/>
                        <a:pt x="110314" y="286200"/>
                      </a:cubicBezTo>
                      <a:cubicBezTo>
                        <a:pt x="110314" y="289286"/>
                        <a:pt x="113400" y="289286"/>
                        <a:pt x="119571" y="289286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3" name="任意多边形: 形状 92">
                  <a:extLst>
                    <a:ext uri="{FF2B5EF4-FFF2-40B4-BE49-F238E27FC236}">
                      <a16:creationId xmlns:a16="http://schemas.microsoft.com/office/drawing/2014/main" id="{47D20A5E-20A6-4A24-B02A-22F8E7FA9173}"/>
                    </a:ext>
                  </a:extLst>
                </p:cNvPr>
                <p:cNvSpPr/>
                <p:nvPr/>
              </p:nvSpPr>
              <p:spPr>
                <a:xfrm>
                  <a:off x="16432580" y="9075760"/>
                  <a:ext cx="74999" cy="76649"/>
                </a:xfrm>
                <a:custGeom>
                  <a:avLst/>
                  <a:gdLst>
                    <a:gd name="connsiteX0" fmla="*/ 0 w 74999"/>
                    <a:gd name="connsiteY0" fmla="*/ 76650 h 76649"/>
                    <a:gd name="connsiteX1" fmla="*/ 64799 w 74999"/>
                    <a:gd name="connsiteY1" fmla="*/ 14936 h 76649"/>
                    <a:gd name="connsiteX2" fmla="*/ 0 w 74999"/>
                    <a:gd name="connsiteY2" fmla="*/ 76650 h 766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4999" h="76649">
                      <a:moveTo>
                        <a:pt x="0" y="76650"/>
                      </a:moveTo>
                      <a:cubicBezTo>
                        <a:pt x="0" y="76650"/>
                        <a:pt x="21599" y="-40607"/>
                        <a:pt x="64799" y="14936"/>
                      </a:cubicBezTo>
                      <a:cubicBezTo>
                        <a:pt x="108000" y="73564"/>
                        <a:pt x="0" y="76650"/>
                        <a:pt x="0" y="7665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4" name="任意多边形: 形状 93">
                  <a:extLst>
                    <a:ext uri="{FF2B5EF4-FFF2-40B4-BE49-F238E27FC236}">
                      <a16:creationId xmlns:a16="http://schemas.microsoft.com/office/drawing/2014/main" id="{61083B9D-25C9-4EFE-8450-73205967D3E0}"/>
                    </a:ext>
                  </a:extLst>
                </p:cNvPr>
                <p:cNvSpPr/>
                <p:nvPr/>
              </p:nvSpPr>
              <p:spPr>
                <a:xfrm>
                  <a:off x="16379499" y="9074962"/>
                  <a:ext cx="49995" cy="83619"/>
                </a:xfrm>
                <a:custGeom>
                  <a:avLst/>
                  <a:gdLst>
                    <a:gd name="connsiteX0" fmla="*/ 49995 w 49995"/>
                    <a:gd name="connsiteY0" fmla="*/ 83619 h 83619"/>
                    <a:gd name="connsiteX1" fmla="*/ 22224 w 49995"/>
                    <a:gd name="connsiteY1" fmla="*/ 305 h 83619"/>
                    <a:gd name="connsiteX2" fmla="*/ 49995 w 49995"/>
                    <a:gd name="connsiteY2" fmla="*/ 83619 h 836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995" h="83619">
                      <a:moveTo>
                        <a:pt x="49995" y="83619"/>
                      </a:moveTo>
                      <a:cubicBezTo>
                        <a:pt x="49995" y="83619"/>
                        <a:pt x="49995" y="-5866"/>
                        <a:pt x="22224" y="305"/>
                      </a:cubicBezTo>
                      <a:cubicBezTo>
                        <a:pt x="-5548" y="6476"/>
                        <a:pt x="-17891" y="46591"/>
                        <a:pt x="49995" y="8361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5" name="任意多边形: 形状 94">
                  <a:extLst>
                    <a:ext uri="{FF2B5EF4-FFF2-40B4-BE49-F238E27FC236}">
                      <a16:creationId xmlns:a16="http://schemas.microsoft.com/office/drawing/2014/main" id="{7917D022-22BA-46F9-B692-812C0B984F03}"/>
                    </a:ext>
                  </a:extLst>
                </p:cNvPr>
                <p:cNvSpPr/>
                <p:nvPr/>
              </p:nvSpPr>
              <p:spPr>
                <a:xfrm>
                  <a:off x="16438751" y="9158196"/>
                  <a:ext cx="78311" cy="53758"/>
                </a:xfrm>
                <a:custGeom>
                  <a:avLst/>
                  <a:gdLst>
                    <a:gd name="connsiteX0" fmla="*/ 0 w 78311"/>
                    <a:gd name="connsiteY0" fmla="*/ 386 h 53758"/>
                    <a:gd name="connsiteX1" fmla="*/ 77143 w 78311"/>
                    <a:gd name="connsiteY1" fmla="*/ 31243 h 53758"/>
                    <a:gd name="connsiteX2" fmla="*/ 0 w 78311"/>
                    <a:gd name="connsiteY2" fmla="*/ 386 h 537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8311" h="53758">
                      <a:moveTo>
                        <a:pt x="0" y="386"/>
                      </a:moveTo>
                      <a:cubicBezTo>
                        <a:pt x="0" y="386"/>
                        <a:pt x="89486" y="-5786"/>
                        <a:pt x="77143" y="31243"/>
                      </a:cubicBezTo>
                      <a:cubicBezTo>
                        <a:pt x="61714" y="71357"/>
                        <a:pt x="6172" y="55929"/>
                        <a:pt x="0" y="386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6" name="任意多边形: 形状 95">
                  <a:extLst>
                    <a:ext uri="{FF2B5EF4-FFF2-40B4-BE49-F238E27FC236}">
                      <a16:creationId xmlns:a16="http://schemas.microsoft.com/office/drawing/2014/main" id="{7ACEBBEE-CB10-4620-B501-61941C01931C}"/>
                    </a:ext>
                  </a:extLst>
                </p:cNvPr>
                <p:cNvSpPr/>
                <p:nvPr/>
              </p:nvSpPr>
              <p:spPr>
                <a:xfrm>
                  <a:off x="16409809" y="9167839"/>
                  <a:ext cx="40181" cy="70157"/>
                </a:xfrm>
                <a:custGeom>
                  <a:avLst/>
                  <a:gdLst>
                    <a:gd name="connsiteX0" fmla="*/ 22771 w 40181"/>
                    <a:gd name="connsiteY0" fmla="*/ 0 h 70157"/>
                    <a:gd name="connsiteX1" fmla="*/ 25856 w 40181"/>
                    <a:gd name="connsiteY1" fmla="*/ 67886 h 70157"/>
                    <a:gd name="connsiteX2" fmla="*/ 22771 w 40181"/>
                    <a:gd name="connsiteY2" fmla="*/ 0 h 701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0181" h="70157">
                      <a:moveTo>
                        <a:pt x="22771" y="0"/>
                      </a:moveTo>
                      <a:cubicBezTo>
                        <a:pt x="22771" y="0"/>
                        <a:pt x="59799" y="55543"/>
                        <a:pt x="25856" y="67886"/>
                      </a:cubicBezTo>
                      <a:cubicBezTo>
                        <a:pt x="-8086" y="80229"/>
                        <a:pt x="-8086" y="40114"/>
                        <a:pt x="22771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7" name="任意多边形: 形状 96">
                  <a:extLst>
                    <a:ext uri="{FF2B5EF4-FFF2-40B4-BE49-F238E27FC236}">
                      <a16:creationId xmlns:a16="http://schemas.microsoft.com/office/drawing/2014/main" id="{F0E6DCD4-208B-4CC3-8A74-372CCCD48FCA}"/>
                    </a:ext>
                  </a:extLst>
                </p:cNvPr>
                <p:cNvSpPr/>
                <p:nvPr/>
              </p:nvSpPr>
              <p:spPr>
                <a:xfrm>
                  <a:off x="16352810" y="9145168"/>
                  <a:ext cx="70511" cy="41656"/>
                </a:xfrm>
                <a:custGeom>
                  <a:avLst/>
                  <a:gdLst>
                    <a:gd name="connsiteX0" fmla="*/ 70512 w 70511"/>
                    <a:gd name="connsiteY0" fmla="*/ 19585 h 41656"/>
                    <a:gd name="connsiteX1" fmla="*/ 5712 w 70511"/>
                    <a:gd name="connsiteY1" fmla="*/ 10328 h 41656"/>
                    <a:gd name="connsiteX2" fmla="*/ 70512 w 70511"/>
                    <a:gd name="connsiteY2" fmla="*/ 19585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511" h="41656">
                      <a:moveTo>
                        <a:pt x="70512" y="19585"/>
                      </a:moveTo>
                      <a:cubicBezTo>
                        <a:pt x="70512" y="19585"/>
                        <a:pt x="24226" y="-17443"/>
                        <a:pt x="5712" y="10328"/>
                      </a:cubicBezTo>
                      <a:cubicBezTo>
                        <a:pt x="-12802" y="38100"/>
                        <a:pt x="14969" y="59700"/>
                        <a:pt x="70512" y="19585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" name="任意多边形: 形状 97">
                  <a:extLst>
                    <a:ext uri="{FF2B5EF4-FFF2-40B4-BE49-F238E27FC236}">
                      <a16:creationId xmlns:a16="http://schemas.microsoft.com/office/drawing/2014/main" id="{DACD4D34-FCDB-4685-871E-E419D3DA87B8}"/>
                    </a:ext>
                  </a:extLst>
                </p:cNvPr>
                <p:cNvSpPr/>
                <p:nvPr/>
              </p:nvSpPr>
              <p:spPr>
                <a:xfrm>
                  <a:off x="16410382" y="9139469"/>
                  <a:ext cx="44396" cy="43797"/>
                </a:xfrm>
                <a:custGeom>
                  <a:avLst/>
                  <a:gdLst>
                    <a:gd name="connsiteX0" fmla="*/ 598 w 44396"/>
                    <a:gd name="connsiteY0" fmla="*/ 25283 h 43797"/>
                    <a:gd name="connsiteX1" fmla="*/ 19113 w 44396"/>
                    <a:gd name="connsiteY1" fmla="*/ 598 h 43797"/>
                    <a:gd name="connsiteX2" fmla="*/ 43798 w 44396"/>
                    <a:gd name="connsiteY2" fmla="*/ 19112 h 43797"/>
                    <a:gd name="connsiteX3" fmla="*/ 25283 w 44396"/>
                    <a:gd name="connsiteY3" fmla="*/ 43798 h 43797"/>
                    <a:gd name="connsiteX4" fmla="*/ 598 w 44396"/>
                    <a:gd name="connsiteY4" fmla="*/ 25283 h 437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4396" h="43797">
                      <a:moveTo>
                        <a:pt x="598" y="25283"/>
                      </a:moveTo>
                      <a:cubicBezTo>
                        <a:pt x="-2488" y="12941"/>
                        <a:pt x="6770" y="3684"/>
                        <a:pt x="19113" y="598"/>
                      </a:cubicBezTo>
                      <a:cubicBezTo>
                        <a:pt x="31455" y="-2488"/>
                        <a:pt x="40712" y="6769"/>
                        <a:pt x="43798" y="19112"/>
                      </a:cubicBezTo>
                      <a:cubicBezTo>
                        <a:pt x="46884" y="31455"/>
                        <a:pt x="37627" y="40712"/>
                        <a:pt x="25283" y="43798"/>
                      </a:cubicBezTo>
                      <a:cubicBezTo>
                        <a:pt x="12941" y="43798"/>
                        <a:pt x="598" y="37627"/>
                        <a:pt x="598" y="25283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59985AE2-8C1C-4204-AC78-0BB001D48820}"/>
                </a:ext>
              </a:extLst>
            </p:cNvPr>
            <p:cNvGrpSpPr/>
            <p:nvPr/>
          </p:nvGrpSpPr>
          <p:grpSpPr>
            <a:xfrm>
              <a:off x="16509723" y="9261524"/>
              <a:ext cx="173226" cy="168600"/>
              <a:chOff x="16509723" y="9261524"/>
              <a:chExt cx="173226" cy="168600"/>
            </a:xfrm>
          </p:grpSpPr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2CB0A797-1FC9-48AE-92B2-944DE7CEA0B0}"/>
                  </a:ext>
                </a:extLst>
              </p:cNvPr>
              <p:cNvSpPr/>
              <p:nvPr/>
            </p:nvSpPr>
            <p:spPr>
              <a:xfrm>
                <a:off x="16535852" y="9263496"/>
                <a:ext cx="147097" cy="58628"/>
              </a:xfrm>
              <a:custGeom>
                <a:avLst/>
                <a:gdLst>
                  <a:gd name="connsiteX0" fmla="*/ 140499 w 147097"/>
                  <a:gd name="connsiteY0" fmla="*/ 12343 h 58628"/>
                  <a:gd name="connsiteX1" fmla="*/ 51013 w 147097"/>
                  <a:gd name="connsiteY1" fmla="*/ 3085 h 58628"/>
                  <a:gd name="connsiteX2" fmla="*/ 35585 w 147097"/>
                  <a:gd name="connsiteY2" fmla="*/ 0 h 58628"/>
                  <a:gd name="connsiteX3" fmla="*/ 20156 w 147097"/>
                  <a:gd name="connsiteY3" fmla="*/ 3085 h 58628"/>
                  <a:gd name="connsiteX4" fmla="*/ 1642 w 147097"/>
                  <a:gd name="connsiteY4" fmla="*/ 43200 h 58628"/>
                  <a:gd name="connsiteX5" fmla="*/ 38670 w 147097"/>
                  <a:gd name="connsiteY5" fmla="*/ 58628 h 58628"/>
                  <a:gd name="connsiteX6" fmla="*/ 97299 w 147097"/>
                  <a:gd name="connsiteY6" fmla="*/ 58628 h 58628"/>
                  <a:gd name="connsiteX7" fmla="*/ 137413 w 147097"/>
                  <a:gd name="connsiteY7" fmla="*/ 46286 h 58628"/>
                  <a:gd name="connsiteX8" fmla="*/ 140499 w 147097"/>
                  <a:gd name="connsiteY8" fmla="*/ 12343 h 58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7097" h="58628">
                    <a:moveTo>
                      <a:pt x="140499" y="12343"/>
                    </a:moveTo>
                    <a:cubicBezTo>
                      <a:pt x="118898" y="-3086"/>
                      <a:pt x="84955" y="3085"/>
                      <a:pt x="51013" y="3085"/>
                    </a:cubicBezTo>
                    <a:cubicBezTo>
                      <a:pt x="47927" y="3085"/>
                      <a:pt x="38670" y="0"/>
                      <a:pt x="35585" y="0"/>
                    </a:cubicBezTo>
                    <a:cubicBezTo>
                      <a:pt x="29413" y="0"/>
                      <a:pt x="26327" y="3085"/>
                      <a:pt x="20156" y="3085"/>
                    </a:cubicBezTo>
                    <a:cubicBezTo>
                      <a:pt x="7813" y="9257"/>
                      <a:pt x="-4530" y="27771"/>
                      <a:pt x="1642" y="43200"/>
                    </a:cubicBezTo>
                    <a:cubicBezTo>
                      <a:pt x="4728" y="58628"/>
                      <a:pt x="26327" y="58628"/>
                      <a:pt x="38670" y="58628"/>
                    </a:cubicBezTo>
                    <a:cubicBezTo>
                      <a:pt x="57184" y="58628"/>
                      <a:pt x="75699" y="58628"/>
                      <a:pt x="97299" y="58628"/>
                    </a:cubicBezTo>
                    <a:cubicBezTo>
                      <a:pt x="109642" y="58628"/>
                      <a:pt x="128156" y="58628"/>
                      <a:pt x="137413" y="46286"/>
                    </a:cubicBezTo>
                    <a:cubicBezTo>
                      <a:pt x="149756" y="33943"/>
                      <a:pt x="149756" y="18514"/>
                      <a:pt x="140499" y="12343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F56C2E01-A408-4439-B3F9-A509F47353DB}"/>
                  </a:ext>
                </a:extLst>
              </p:cNvPr>
              <p:cNvSpPr/>
              <p:nvPr/>
            </p:nvSpPr>
            <p:spPr>
              <a:xfrm>
                <a:off x="16514252" y="9303610"/>
                <a:ext cx="145553" cy="64799"/>
              </a:xfrm>
              <a:custGeom>
                <a:avLst/>
                <a:gdLst>
                  <a:gd name="connsiteX0" fmla="*/ 137413 w 145553"/>
                  <a:gd name="connsiteY0" fmla="*/ 15428 h 64799"/>
                  <a:gd name="connsiteX1" fmla="*/ 41756 w 145553"/>
                  <a:gd name="connsiteY1" fmla="*/ 3086 h 64799"/>
                  <a:gd name="connsiteX2" fmla="*/ 35584 w 145553"/>
                  <a:gd name="connsiteY2" fmla="*/ 6172 h 64799"/>
                  <a:gd name="connsiteX3" fmla="*/ 20156 w 145553"/>
                  <a:gd name="connsiteY3" fmla="*/ 9257 h 64799"/>
                  <a:gd name="connsiteX4" fmla="*/ 1641 w 145553"/>
                  <a:gd name="connsiteY4" fmla="*/ 49371 h 64799"/>
                  <a:gd name="connsiteX5" fmla="*/ 38670 w 145553"/>
                  <a:gd name="connsiteY5" fmla="*/ 64800 h 64799"/>
                  <a:gd name="connsiteX6" fmla="*/ 97299 w 145553"/>
                  <a:gd name="connsiteY6" fmla="*/ 64800 h 64799"/>
                  <a:gd name="connsiteX7" fmla="*/ 137413 w 145553"/>
                  <a:gd name="connsiteY7" fmla="*/ 52457 h 64799"/>
                  <a:gd name="connsiteX8" fmla="*/ 137413 w 145553"/>
                  <a:gd name="connsiteY8" fmla="*/ 15428 h 6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5553" h="64799">
                    <a:moveTo>
                      <a:pt x="137413" y="15428"/>
                    </a:moveTo>
                    <a:cubicBezTo>
                      <a:pt x="112727" y="-9257"/>
                      <a:pt x="75698" y="3086"/>
                      <a:pt x="41756" y="3086"/>
                    </a:cubicBezTo>
                    <a:cubicBezTo>
                      <a:pt x="38670" y="3086"/>
                      <a:pt x="35584" y="3086"/>
                      <a:pt x="35584" y="6172"/>
                    </a:cubicBezTo>
                    <a:cubicBezTo>
                      <a:pt x="29413" y="6172"/>
                      <a:pt x="26328" y="9257"/>
                      <a:pt x="20156" y="9257"/>
                    </a:cubicBezTo>
                    <a:cubicBezTo>
                      <a:pt x="7813" y="15428"/>
                      <a:pt x="-4530" y="33943"/>
                      <a:pt x="1641" y="49371"/>
                    </a:cubicBezTo>
                    <a:cubicBezTo>
                      <a:pt x="4727" y="64800"/>
                      <a:pt x="26328" y="64800"/>
                      <a:pt x="38670" y="64800"/>
                    </a:cubicBezTo>
                    <a:cubicBezTo>
                      <a:pt x="57185" y="64800"/>
                      <a:pt x="75698" y="64800"/>
                      <a:pt x="97299" y="64800"/>
                    </a:cubicBezTo>
                    <a:cubicBezTo>
                      <a:pt x="109641" y="64800"/>
                      <a:pt x="128156" y="64800"/>
                      <a:pt x="137413" y="52457"/>
                    </a:cubicBezTo>
                    <a:cubicBezTo>
                      <a:pt x="149756" y="37029"/>
                      <a:pt x="146670" y="24686"/>
                      <a:pt x="137413" y="15428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F667DD38-3B6A-431F-9092-7EA8A2A72E70}"/>
                  </a:ext>
                </a:extLst>
              </p:cNvPr>
              <p:cNvSpPr/>
              <p:nvPr/>
            </p:nvSpPr>
            <p:spPr>
              <a:xfrm>
                <a:off x="16521279" y="9347924"/>
                <a:ext cx="123885" cy="56743"/>
              </a:xfrm>
              <a:custGeom>
                <a:avLst/>
                <a:gdLst>
                  <a:gd name="connsiteX0" fmla="*/ 118043 w 123885"/>
                  <a:gd name="connsiteY0" fmla="*/ 14315 h 56743"/>
                  <a:gd name="connsiteX1" fmla="*/ 34729 w 123885"/>
                  <a:gd name="connsiteY1" fmla="*/ 1972 h 56743"/>
                  <a:gd name="connsiteX2" fmla="*/ 28558 w 123885"/>
                  <a:gd name="connsiteY2" fmla="*/ 1972 h 56743"/>
                  <a:gd name="connsiteX3" fmla="*/ 16215 w 123885"/>
                  <a:gd name="connsiteY3" fmla="*/ 5058 h 56743"/>
                  <a:gd name="connsiteX4" fmla="*/ 786 w 123885"/>
                  <a:gd name="connsiteY4" fmla="*/ 39001 h 56743"/>
                  <a:gd name="connsiteX5" fmla="*/ 34729 w 123885"/>
                  <a:gd name="connsiteY5" fmla="*/ 54429 h 56743"/>
                  <a:gd name="connsiteX6" fmla="*/ 84100 w 123885"/>
                  <a:gd name="connsiteY6" fmla="*/ 54429 h 56743"/>
                  <a:gd name="connsiteX7" fmla="*/ 118043 w 123885"/>
                  <a:gd name="connsiteY7" fmla="*/ 45172 h 56743"/>
                  <a:gd name="connsiteX8" fmla="*/ 118043 w 123885"/>
                  <a:gd name="connsiteY8" fmla="*/ 14315 h 56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85" h="56743">
                    <a:moveTo>
                      <a:pt x="118043" y="14315"/>
                    </a:moveTo>
                    <a:cubicBezTo>
                      <a:pt x="96444" y="-7285"/>
                      <a:pt x="62501" y="1972"/>
                      <a:pt x="34729" y="1972"/>
                    </a:cubicBezTo>
                    <a:cubicBezTo>
                      <a:pt x="31644" y="1972"/>
                      <a:pt x="28558" y="1972"/>
                      <a:pt x="28558" y="1972"/>
                    </a:cubicBezTo>
                    <a:cubicBezTo>
                      <a:pt x="25472" y="1972"/>
                      <a:pt x="19301" y="1972"/>
                      <a:pt x="16215" y="5058"/>
                    </a:cubicBezTo>
                    <a:cubicBezTo>
                      <a:pt x="3872" y="11229"/>
                      <a:pt x="-2300" y="26658"/>
                      <a:pt x="786" y="39001"/>
                    </a:cubicBezTo>
                    <a:cubicBezTo>
                      <a:pt x="3872" y="51343"/>
                      <a:pt x="22386" y="51343"/>
                      <a:pt x="34729" y="54429"/>
                    </a:cubicBezTo>
                    <a:cubicBezTo>
                      <a:pt x="50158" y="57515"/>
                      <a:pt x="68672" y="57515"/>
                      <a:pt x="84100" y="54429"/>
                    </a:cubicBezTo>
                    <a:cubicBezTo>
                      <a:pt x="96444" y="54429"/>
                      <a:pt x="108786" y="54429"/>
                      <a:pt x="118043" y="45172"/>
                    </a:cubicBezTo>
                    <a:cubicBezTo>
                      <a:pt x="127301" y="32829"/>
                      <a:pt x="124215" y="20486"/>
                      <a:pt x="118043" y="14315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9E179946-C14E-432F-814B-2B2090693CF2}"/>
                  </a:ext>
                </a:extLst>
              </p:cNvPr>
              <p:cNvSpPr/>
              <p:nvPr/>
            </p:nvSpPr>
            <p:spPr>
              <a:xfrm>
                <a:off x="16530520" y="9391877"/>
                <a:ext cx="93374" cy="38247"/>
              </a:xfrm>
              <a:custGeom>
                <a:avLst/>
                <a:gdLst>
                  <a:gd name="connsiteX0" fmla="*/ 90288 w 93374"/>
                  <a:gd name="connsiteY0" fmla="*/ 10476 h 38247"/>
                  <a:gd name="connsiteX1" fmla="*/ 28574 w 93374"/>
                  <a:gd name="connsiteY1" fmla="*/ 1219 h 38247"/>
                  <a:gd name="connsiteX2" fmla="*/ 22403 w 93374"/>
                  <a:gd name="connsiteY2" fmla="*/ 1219 h 38247"/>
                  <a:gd name="connsiteX3" fmla="*/ 13145 w 93374"/>
                  <a:gd name="connsiteY3" fmla="*/ 4304 h 38247"/>
                  <a:gd name="connsiteX4" fmla="*/ 803 w 93374"/>
                  <a:gd name="connsiteY4" fmla="*/ 28990 h 38247"/>
                  <a:gd name="connsiteX5" fmla="*/ 25489 w 93374"/>
                  <a:gd name="connsiteY5" fmla="*/ 38247 h 38247"/>
                  <a:gd name="connsiteX6" fmla="*/ 62517 w 93374"/>
                  <a:gd name="connsiteY6" fmla="*/ 38247 h 38247"/>
                  <a:gd name="connsiteX7" fmla="*/ 87203 w 93374"/>
                  <a:gd name="connsiteY7" fmla="*/ 32076 h 38247"/>
                  <a:gd name="connsiteX8" fmla="*/ 90288 w 93374"/>
                  <a:gd name="connsiteY8" fmla="*/ 10476 h 38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374" h="38247">
                    <a:moveTo>
                      <a:pt x="90288" y="10476"/>
                    </a:moveTo>
                    <a:cubicBezTo>
                      <a:pt x="74860" y="-4952"/>
                      <a:pt x="50174" y="1219"/>
                      <a:pt x="28574" y="1219"/>
                    </a:cubicBezTo>
                    <a:cubicBezTo>
                      <a:pt x="25489" y="1219"/>
                      <a:pt x="25489" y="1219"/>
                      <a:pt x="22403" y="1219"/>
                    </a:cubicBezTo>
                    <a:cubicBezTo>
                      <a:pt x="19317" y="1219"/>
                      <a:pt x="16231" y="1219"/>
                      <a:pt x="13145" y="4304"/>
                    </a:cubicBezTo>
                    <a:cubicBezTo>
                      <a:pt x="3889" y="7390"/>
                      <a:pt x="-2283" y="19733"/>
                      <a:pt x="803" y="28990"/>
                    </a:cubicBezTo>
                    <a:cubicBezTo>
                      <a:pt x="3889" y="38247"/>
                      <a:pt x="16231" y="38247"/>
                      <a:pt x="25489" y="38247"/>
                    </a:cubicBezTo>
                    <a:cubicBezTo>
                      <a:pt x="37832" y="38247"/>
                      <a:pt x="50174" y="38247"/>
                      <a:pt x="62517" y="38247"/>
                    </a:cubicBezTo>
                    <a:cubicBezTo>
                      <a:pt x="71775" y="38247"/>
                      <a:pt x="81032" y="38247"/>
                      <a:pt x="87203" y="32076"/>
                    </a:cubicBezTo>
                    <a:cubicBezTo>
                      <a:pt x="96460" y="22819"/>
                      <a:pt x="93374" y="13562"/>
                      <a:pt x="90288" y="1047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42576DF8-5EC6-409E-9F7C-33214C87D69B}"/>
                  </a:ext>
                </a:extLst>
              </p:cNvPr>
              <p:cNvSpPr/>
              <p:nvPr/>
            </p:nvSpPr>
            <p:spPr>
              <a:xfrm>
                <a:off x="16509723" y="9261524"/>
                <a:ext cx="160456" cy="109971"/>
              </a:xfrm>
              <a:custGeom>
                <a:avLst/>
                <a:gdLst>
                  <a:gd name="connsiteX0" fmla="*/ 77143 w 160456"/>
                  <a:gd name="connsiteY0" fmla="*/ 109972 h 109971"/>
                  <a:gd name="connsiteX1" fmla="*/ 58628 w 160456"/>
                  <a:gd name="connsiteY1" fmla="*/ 109972 h 109971"/>
                  <a:gd name="connsiteX2" fmla="*/ 0 w 160456"/>
                  <a:gd name="connsiteY2" fmla="*/ 82200 h 109971"/>
                  <a:gd name="connsiteX3" fmla="*/ 24685 w 160456"/>
                  <a:gd name="connsiteY3" fmla="*/ 45172 h 109971"/>
                  <a:gd name="connsiteX4" fmla="*/ 24685 w 160456"/>
                  <a:gd name="connsiteY4" fmla="*/ 32829 h 109971"/>
                  <a:gd name="connsiteX5" fmla="*/ 33942 w 160456"/>
                  <a:gd name="connsiteY5" fmla="*/ 14315 h 109971"/>
                  <a:gd name="connsiteX6" fmla="*/ 132685 w 160456"/>
                  <a:gd name="connsiteY6" fmla="*/ 1972 h 109971"/>
                  <a:gd name="connsiteX7" fmla="*/ 138857 w 160456"/>
                  <a:gd name="connsiteY7" fmla="*/ 8143 h 109971"/>
                  <a:gd name="connsiteX8" fmla="*/ 132685 w 160456"/>
                  <a:gd name="connsiteY8" fmla="*/ 14315 h 109971"/>
                  <a:gd name="connsiteX9" fmla="*/ 43200 w 160456"/>
                  <a:gd name="connsiteY9" fmla="*/ 23572 h 109971"/>
                  <a:gd name="connsiteX10" fmla="*/ 40114 w 160456"/>
                  <a:gd name="connsiteY10" fmla="*/ 32829 h 109971"/>
                  <a:gd name="connsiteX11" fmla="*/ 43200 w 160456"/>
                  <a:gd name="connsiteY11" fmla="*/ 45172 h 109971"/>
                  <a:gd name="connsiteX12" fmla="*/ 145028 w 160456"/>
                  <a:gd name="connsiteY12" fmla="*/ 51343 h 109971"/>
                  <a:gd name="connsiteX13" fmla="*/ 157371 w 160456"/>
                  <a:gd name="connsiteY13" fmla="*/ 57514 h 109971"/>
                  <a:gd name="connsiteX14" fmla="*/ 160457 w 160456"/>
                  <a:gd name="connsiteY14" fmla="*/ 79115 h 109971"/>
                  <a:gd name="connsiteX15" fmla="*/ 77143 w 160456"/>
                  <a:gd name="connsiteY15" fmla="*/ 109972 h 109971"/>
                  <a:gd name="connsiteX16" fmla="*/ 30857 w 160456"/>
                  <a:gd name="connsiteY16" fmla="*/ 54429 h 109971"/>
                  <a:gd name="connsiteX17" fmla="*/ 12343 w 160456"/>
                  <a:gd name="connsiteY17" fmla="*/ 82200 h 109971"/>
                  <a:gd name="connsiteX18" fmla="*/ 58628 w 160456"/>
                  <a:gd name="connsiteY18" fmla="*/ 97629 h 109971"/>
                  <a:gd name="connsiteX19" fmla="*/ 145028 w 160456"/>
                  <a:gd name="connsiteY19" fmla="*/ 76029 h 109971"/>
                  <a:gd name="connsiteX20" fmla="*/ 145028 w 160456"/>
                  <a:gd name="connsiteY20" fmla="*/ 66772 h 109971"/>
                  <a:gd name="connsiteX21" fmla="*/ 141942 w 160456"/>
                  <a:gd name="connsiteY21" fmla="*/ 66772 h 109971"/>
                  <a:gd name="connsiteX22" fmla="*/ 30857 w 160456"/>
                  <a:gd name="connsiteY22" fmla="*/ 54429 h 109971"/>
                  <a:gd name="connsiteX23" fmla="*/ 30857 w 160456"/>
                  <a:gd name="connsiteY23" fmla="*/ 54429 h 10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0456" h="109971">
                    <a:moveTo>
                      <a:pt x="77143" y="109972"/>
                    </a:moveTo>
                    <a:cubicBezTo>
                      <a:pt x="70971" y="109972"/>
                      <a:pt x="64799" y="109972"/>
                      <a:pt x="58628" y="109972"/>
                    </a:cubicBezTo>
                    <a:cubicBezTo>
                      <a:pt x="27771" y="109972"/>
                      <a:pt x="0" y="106886"/>
                      <a:pt x="0" y="82200"/>
                    </a:cubicBezTo>
                    <a:cubicBezTo>
                      <a:pt x="0" y="63686"/>
                      <a:pt x="21599" y="48258"/>
                      <a:pt x="24685" y="45172"/>
                    </a:cubicBezTo>
                    <a:cubicBezTo>
                      <a:pt x="24685" y="39000"/>
                      <a:pt x="24685" y="35915"/>
                      <a:pt x="24685" y="32829"/>
                    </a:cubicBezTo>
                    <a:cubicBezTo>
                      <a:pt x="24685" y="26657"/>
                      <a:pt x="27771" y="20486"/>
                      <a:pt x="33942" y="14315"/>
                    </a:cubicBezTo>
                    <a:cubicBezTo>
                      <a:pt x="58628" y="-7285"/>
                      <a:pt x="126514" y="1972"/>
                      <a:pt x="132685" y="1972"/>
                    </a:cubicBezTo>
                    <a:cubicBezTo>
                      <a:pt x="135771" y="1972"/>
                      <a:pt x="138857" y="5057"/>
                      <a:pt x="138857" y="8143"/>
                    </a:cubicBezTo>
                    <a:cubicBezTo>
                      <a:pt x="138857" y="11229"/>
                      <a:pt x="135771" y="14315"/>
                      <a:pt x="132685" y="14315"/>
                    </a:cubicBezTo>
                    <a:cubicBezTo>
                      <a:pt x="114171" y="11229"/>
                      <a:pt x="58628" y="8143"/>
                      <a:pt x="43200" y="23572"/>
                    </a:cubicBezTo>
                    <a:cubicBezTo>
                      <a:pt x="40114" y="26657"/>
                      <a:pt x="40114" y="29743"/>
                      <a:pt x="40114" y="32829"/>
                    </a:cubicBezTo>
                    <a:cubicBezTo>
                      <a:pt x="40114" y="39000"/>
                      <a:pt x="40114" y="42086"/>
                      <a:pt x="43200" y="45172"/>
                    </a:cubicBezTo>
                    <a:cubicBezTo>
                      <a:pt x="55542" y="54429"/>
                      <a:pt x="89486" y="57514"/>
                      <a:pt x="145028" y="51343"/>
                    </a:cubicBezTo>
                    <a:cubicBezTo>
                      <a:pt x="145028" y="51343"/>
                      <a:pt x="154286" y="51343"/>
                      <a:pt x="157371" y="57514"/>
                    </a:cubicBezTo>
                    <a:cubicBezTo>
                      <a:pt x="160457" y="63686"/>
                      <a:pt x="160457" y="69858"/>
                      <a:pt x="160457" y="79115"/>
                    </a:cubicBezTo>
                    <a:cubicBezTo>
                      <a:pt x="148114" y="103800"/>
                      <a:pt x="111085" y="109972"/>
                      <a:pt x="77143" y="109972"/>
                    </a:cubicBezTo>
                    <a:close/>
                    <a:moveTo>
                      <a:pt x="30857" y="54429"/>
                    </a:moveTo>
                    <a:cubicBezTo>
                      <a:pt x="24685" y="60600"/>
                      <a:pt x="12343" y="72943"/>
                      <a:pt x="12343" y="82200"/>
                    </a:cubicBezTo>
                    <a:cubicBezTo>
                      <a:pt x="12343" y="91458"/>
                      <a:pt x="21599" y="94543"/>
                      <a:pt x="58628" y="97629"/>
                    </a:cubicBezTo>
                    <a:cubicBezTo>
                      <a:pt x="108000" y="100715"/>
                      <a:pt x="138857" y="91458"/>
                      <a:pt x="145028" y="76029"/>
                    </a:cubicBezTo>
                    <a:cubicBezTo>
                      <a:pt x="148114" y="69858"/>
                      <a:pt x="145028" y="66772"/>
                      <a:pt x="145028" y="66772"/>
                    </a:cubicBezTo>
                    <a:cubicBezTo>
                      <a:pt x="145028" y="66772"/>
                      <a:pt x="141942" y="66772"/>
                      <a:pt x="141942" y="66772"/>
                    </a:cubicBezTo>
                    <a:cubicBezTo>
                      <a:pt x="61714" y="72943"/>
                      <a:pt x="40114" y="60600"/>
                      <a:pt x="30857" y="54429"/>
                    </a:cubicBezTo>
                    <a:cubicBezTo>
                      <a:pt x="30857" y="54429"/>
                      <a:pt x="30857" y="54429"/>
                      <a:pt x="30857" y="5442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31F374F1-0603-4848-AB8A-C865ED1394C7}"/>
                  </a:ext>
                </a:extLst>
              </p:cNvPr>
              <p:cNvSpPr/>
              <p:nvPr/>
            </p:nvSpPr>
            <p:spPr>
              <a:xfrm>
                <a:off x="16511080" y="9349896"/>
                <a:ext cx="141795" cy="58628"/>
              </a:xfrm>
              <a:custGeom>
                <a:avLst/>
                <a:gdLst>
                  <a:gd name="connsiteX0" fmla="*/ 69614 w 141795"/>
                  <a:gd name="connsiteY0" fmla="*/ 58629 h 58628"/>
                  <a:gd name="connsiteX1" fmla="*/ 26414 w 141795"/>
                  <a:gd name="connsiteY1" fmla="*/ 55543 h 58628"/>
                  <a:gd name="connsiteX2" fmla="*/ 1728 w 141795"/>
                  <a:gd name="connsiteY2" fmla="*/ 37029 h 58628"/>
                  <a:gd name="connsiteX3" fmla="*/ 7900 w 141795"/>
                  <a:gd name="connsiteY3" fmla="*/ 3086 h 58628"/>
                  <a:gd name="connsiteX4" fmla="*/ 17156 w 141795"/>
                  <a:gd name="connsiteY4" fmla="*/ 0 h 58628"/>
                  <a:gd name="connsiteX5" fmla="*/ 20242 w 141795"/>
                  <a:gd name="connsiteY5" fmla="*/ 9257 h 58628"/>
                  <a:gd name="connsiteX6" fmla="*/ 14071 w 141795"/>
                  <a:gd name="connsiteY6" fmla="*/ 30857 h 58628"/>
                  <a:gd name="connsiteX7" fmla="*/ 29500 w 141795"/>
                  <a:gd name="connsiteY7" fmla="*/ 40114 h 58628"/>
                  <a:gd name="connsiteX8" fmla="*/ 122071 w 141795"/>
                  <a:gd name="connsiteY8" fmla="*/ 37029 h 58628"/>
                  <a:gd name="connsiteX9" fmla="*/ 128242 w 141795"/>
                  <a:gd name="connsiteY9" fmla="*/ 27772 h 58628"/>
                  <a:gd name="connsiteX10" fmla="*/ 125156 w 141795"/>
                  <a:gd name="connsiteY10" fmla="*/ 12343 h 58628"/>
                  <a:gd name="connsiteX11" fmla="*/ 125156 w 141795"/>
                  <a:gd name="connsiteY11" fmla="*/ 3086 h 58628"/>
                  <a:gd name="connsiteX12" fmla="*/ 134414 w 141795"/>
                  <a:gd name="connsiteY12" fmla="*/ 3086 h 58628"/>
                  <a:gd name="connsiteX13" fmla="*/ 140585 w 141795"/>
                  <a:gd name="connsiteY13" fmla="*/ 30857 h 58628"/>
                  <a:gd name="connsiteX14" fmla="*/ 128242 w 141795"/>
                  <a:gd name="connsiteY14" fmla="*/ 49372 h 58628"/>
                  <a:gd name="connsiteX15" fmla="*/ 69614 w 141795"/>
                  <a:gd name="connsiteY15" fmla="*/ 58629 h 58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1795" h="58628">
                    <a:moveTo>
                      <a:pt x="69614" y="58629"/>
                    </a:moveTo>
                    <a:cubicBezTo>
                      <a:pt x="54185" y="58629"/>
                      <a:pt x="38757" y="58629"/>
                      <a:pt x="26414" y="55543"/>
                    </a:cubicBezTo>
                    <a:cubicBezTo>
                      <a:pt x="14071" y="52458"/>
                      <a:pt x="4814" y="46286"/>
                      <a:pt x="1728" y="37029"/>
                    </a:cubicBezTo>
                    <a:cubicBezTo>
                      <a:pt x="-4443" y="21600"/>
                      <a:pt x="7900" y="6172"/>
                      <a:pt x="7900" y="3086"/>
                    </a:cubicBezTo>
                    <a:cubicBezTo>
                      <a:pt x="10985" y="0"/>
                      <a:pt x="14071" y="0"/>
                      <a:pt x="17156" y="0"/>
                    </a:cubicBezTo>
                    <a:cubicBezTo>
                      <a:pt x="20242" y="3086"/>
                      <a:pt x="20242" y="6172"/>
                      <a:pt x="20242" y="9257"/>
                    </a:cubicBezTo>
                    <a:cubicBezTo>
                      <a:pt x="17156" y="12343"/>
                      <a:pt x="14071" y="24686"/>
                      <a:pt x="14071" y="30857"/>
                    </a:cubicBezTo>
                    <a:cubicBezTo>
                      <a:pt x="17156" y="37029"/>
                      <a:pt x="20242" y="40114"/>
                      <a:pt x="29500" y="40114"/>
                    </a:cubicBezTo>
                    <a:cubicBezTo>
                      <a:pt x="63442" y="49372"/>
                      <a:pt x="109728" y="43200"/>
                      <a:pt x="122071" y="37029"/>
                    </a:cubicBezTo>
                    <a:cubicBezTo>
                      <a:pt x="125156" y="37029"/>
                      <a:pt x="128242" y="30857"/>
                      <a:pt x="128242" y="27772"/>
                    </a:cubicBezTo>
                    <a:cubicBezTo>
                      <a:pt x="128242" y="21600"/>
                      <a:pt x="128242" y="12343"/>
                      <a:pt x="125156" y="12343"/>
                    </a:cubicBezTo>
                    <a:cubicBezTo>
                      <a:pt x="122071" y="9257"/>
                      <a:pt x="122071" y="6172"/>
                      <a:pt x="125156" y="3086"/>
                    </a:cubicBezTo>
                    <a:cubicBezTo>
                      <a:pt x="128242" y="0"/>
                      <a:pt x="131328" y="0"/>
                      <a:pt x="134414" y="3086"/>
                    </a:cubicBezTo>
                    <a:cubicBezTo>
                      <a:pt x="140585" y="9257"/>
                      <a:pt x="143671" y="21600"/>
                      <a:pt x="140585" y="30857"/>
                    </a:cubicBezTo>
                    <a:cubicBezTo>
                      <a:pt x="140585" y="40114"/>
                      <a:pt x="134414" y="46286"/>
                      <a:pt x="128242" y="49372"/>
                    </a:cubicBezTo>
                    <a:cubicBezTo>
                      <a:pt x="115900" y="55543"/>
                      <a:pt x="94299" y="58629"/>
                      <a:pt x="69614" y="5862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8" name="图形 1">
              <a:extLst>
                <a:ext uri="{FF2B5EF4-FFF2-40B4-BE49-F238E27FC236}">
                  <a16:creationId xmlns:a16="http://schemas.microsoft.com/office/drawing/2014/main" id="{0F7DD29A-65A3-4194-8079-261EEC4336C0}"/>
                </a:ext>
              </a:extLst>
            </p:cNvPr>
            <p:cNvGrpSpPr/>
            <p:nvPr/>
          </p:nvGrpSpPr>
          <p:grpSpPr>
            <a:xfrm>
              <a:off x="16446730" y="9277915"/>
              <a:ext cx="140601" cy="112095"/>
              <a:chOff x="16446730" y="9277915"/>
              <a:chExt cx="140601" cy="112095"/>
            </a:xfrm>
          </p:grpSpPr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1C6F1254-020A-4F96-AAAF-5C888BCE9E1F}"/>
                  </a:ext>
                </a:extLst>
              </p:cNvPr>
              <p:cNvSpPr/>
              <p:nvPr/>
            </p:nvSpPr>
            <p:spPr>
              <a:xfrm>
                <a:off x="16448602" y="9287263"/>
                <a:ext cx="132106" cy="90516"/>
              </a:xfrm>
              <a:custGeom>
                <a:avLst/>
                <a:gdLst>
                  <a:gd name="connsiteX0" fmla="*/ 104321 w 132106"/>
                  <a:gd name="connsiteY0" fmla="*/ 7090 h 90516"/>
                  <a:gd name="connsiteX1" fmla="*/ 8664 w 132106"/>
                  <a:gd name="connsiteY1" fmla="*/ 19433 h 90516"/>
                  <a:gd name="connsiteX2" fmla="*/ 5578 w 132106"/>
                  <a:gd name="connsiteY2" fmla="*/ 90404 h 90516"/>
                  <a:gd name="connsiteX3" fmla="*/ 48778 w 132106"/>
                  <a:gd name="connsiteY3" fmla="*/ 56461 h 90516"/>
                  <a:gd name="connsiteX4" fmla="*/ 104321 w 132106"/>
                  <a:gd name="connsiteY4" fmla="*/ 62633 h 90516"/>
                  <a:gd name="connsiteX5" fmla="*/ 125921 w 132106"/>
                  <a:gd name="connsiteY5" fmla="*/ 74976 h 90516"/>
                  <a:gd name="connsiteX6" fmla="*/ 104321 w 132106"/>
                  <a:gd name="connsiteY6" fmla="*/ 7090 h 90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2106" h="90516">
                    <a:moveTo>
                      <a:pt x="104321" y="7090"/>
                    </a:moveTo>
                    <a:cubicBezTo>
                      <a:pt x="79635" y="-8338"/>
                      <a:pt x="30264" y="4004"/>
                      <a:pt x="8664" y="19433"/>
                    </a:cubicBezTo>
                    <a:cubicBezTo>
                      <a:pt x="-6765" y="31776"/>
                      <a:pt x="2492" y="93490"/>
                      <a:pt x="5578" y="90404"/>
                    </a:cubicBezTo>
                    <a:cubicBezTo>
                      <a:pt x="14836" y="84233"/>
                      <a:pt x="36435" y="62633"/>
                      <a:pt x="48778" y="56461"/>
                    </a:cubicBezTo>
                    <a:cubicBezTo>
                      <a:pt x="70378" y="47204"/>
                      <a:pt x="85807" y="53376"/>
                      <a:pt x="104321" y="62633"/>
                    </a:cubicBezTo>
                    <a:cubicBezTo>
                      <a:pt x="110492" y="65719"/>
                      <a:pt x="119750" y="81147"/>
                      <a:pt x="125921" y="74976"/>
                    </a:cubicBezTo>
                    <a:cubicBezTo>
                      <a:pt x="144435" y="62633"/>
                      <a:pt x="116664" y="16347"/>
                      <a:pt x="104321" y="7090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9B135DA8-3269-4C32-9CF6-A5E023EAFEA2}"/>
                  </a:ext>
                </a:extLst>
              </p:cNvPr>
              <p:cNvSpPr/>
              <p:nvPr/>
            </p:nvSpPr>
            <p:spPr>
              <a:xfrm>
                <a:off x="16446730" y="9277915"/>
                <a:ext cx="140601" cy="112095"/>
              </a:xfrm>
              <a:custGeom>
                <a:avLst/>
                <a:gdLst>
                  <a:gd name="connsiteX0" fmla="*/ 35220 w 140601"/>
                  <a:gd name="connsiteY0" fmla="*/ 112095 h 112095"/>
                  <a:gd name="connsiteX1" fmla="*/ 29049 w 140601"/>
                  <a:gd name="connsiteY1" fmla="*/ 109010 h 112095"/>
                  <a:gd name="connsiteX2" fmla="*/ 29049 w 140601"/>
                  <a:gd name="connsiteY2" fmla="*/ 99753 h 112095"/>
                  <a:gd name="connsiteX3" fmla="*/ 41392 w 140601"/>
                  <a:gd name="connsiteY3" fmla="*/ 65810 h 112095"/>
                  <a:gd name="connsiteX4" fmla="*/ 44478 w 140601"/>
                  <a:gd name="connsiteY4" fmla="*/ 59638 h 112095"/>
                  <a:gd name="connsiteX5" fmla="*/ 109278 w 140601"/>
                  <a:gd name="connsiteY5" fmla="*/ 71981 h 112095"/>
                  <a:gd name="connsiteX6" fmla="*/ 124707 w 140601"/>
                  <a:gd name="connsiteY6" fmla="*/ 78153 h 112095"/>
                  <a:gd name="connsiteX7" fmla="*/ 127792 w 140601"/>
                  <a:gd name="connsiteY7" fmla="*/ 75067 h 112095"/>
                  <a:gd name="connsiteX8" fmla="*/ 100021 w 140601"/>
                  <a:gd name="connsiteY8" fmla="*/ 22610 h 112095"/>
                  <a:gd name="connsiteX9" fmla="*/ 10535 w 140601"/>
                  <a:gd name="connsiteY9" fmla="*/ 34952 h 112095"/>
                  <a:gd name="connsiteX10" fmla="*/ 1278 w 140601"/>
                  <a:gd name="connsiteY10" fmla="*/ 31867 h 112095"/>
                  <a:gd name="connsiteX11" fmla="*/ 4363 w 140601"/>
                  <a:gd name="connsiteY11" fmla="*/ 22610 h 112095"/>
                  <a:gd name="connsiteX12" fmla="*/ 106192 w 140601"/>
                  <a:gd name="connsiteY12" fmla="*/ 10267 h 112095"/>
                  <a:gd name="connsiteX13" fmla="*/ 140135 w 140601"/>
                  <a:gd name="connsiteY13" fmla="*/ 75067 h 112095"/>
                  <a:gd name="connsiteX14" fmla="*/ 130878 w 140601"/>
                  <a:gd name="connsiteY14" fmla="*/ 87409 h 112095"/>
                  <a:gd name="connsiteX15" fmla="*/ 103106 w 140601"/>
                  <a:gd name="connsiteY15" fmla="*/ 78153 h 112095"/>
                  <a:gd name="connsiteX16" fmla="*/ 53735 w 140601"/>
                  <a:gd name="connsiteY16" fmla="*/ 65810 h 112095"/>
                  <a:gd name="connsiteX17" fmla="*/ 35220 w 140601"/>
                  <a:gd name="connsiteY17" fmla="*/ 105924 h 112095"/>
                  <a:gd name="connsiteX18" fmla="*/ 35220 w 140601"/>
                  <a:gd name="connsiteY18" fmla="*/ 112095 h 112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0601" h="112095">
                    <a:moveTo>
                      <a:pt x="35220" y="112095"/>
                    </a:moveTo>
                    <a:cubicBezTo>
                      <a:pt x="32135" y="112095"/>
                      <a:pt x="32135" y="112095"/>
                      <a:pt x="29049" y="109010"/>
                    </a:cubicBezTo>
                    <a:cubicBezTo>
                      <a:pt x="25964" y="105924"/>
                      <a:pt x="29049" y="102838"/>
                      <a:pt x="29049" y="99753"/>
                    </a:cubicBezTo>
                    <a:cubicBezTo>
                      <a:pt x="38306" y="90495"/>
                      <a:pt x="41392" y="71981"/>
                      <a:pt x="41392" y="65810"/>
                    </a:cubicBezTo>
                    <a:cubicBezTo>
                      <a:pt x="41392" y="62724"/>
                      <a:pt x="41392" y="62724"/>
                      <a:pt x="44478" y="59638"/>
                    </a:cubicBezTo>
                    <a:cubicBezTo>
                      <a:pt x="72249" y="47296"/>
                      <a:pt x="93850" y="62724"/>
                      <a:pt x="109278" y="71981"/>
                    </a:cubicBezTo>
                    <a:cubicBezTo>
                      <a:pt x="115449" y="75067"/>
                      <a:pt x="121621" y="81238"/>
                      <a:pt x="124707" y="78153"/>
                    </a:cubicBezTo>
                    <a:cubicBezTo>
                      <a:pt x="124707" y="78153"/>
                      <a:pt x="127792" y="78153"/>
                      <a:pt x="127792" y="75067"/>
                    </a:cubicBezTo>
                    <a:cubicBezTo>
                      <a:pt x="130878" y="65810"/>
                      <a:pt x="121621" y="41124"/>
                      <a:pt x="100021" y="22610"/>
                    </a:cubicBezTo>
                    <a:cubicBezTo>
                      <a:pt x="78421" y="4095"/>
                      <a:pt x="29049" y="25695"/>
                      <a:pt x="10535" y="34952"/>
                    </a:cubicBezTo>
                    <a:cubicBezTo>
                      <a:pt x="7449" y="38038"/>
                      <a:pt x="4363" y="34952"/>
                      <a:pt x="1278" y="31867"/>
                    </a:cubicBezTo>
                    <a:cubicBezTo>
                      <a:pt x="-1808" y="28781"/>
                      <a:pt x="1278" y="25695"/>
                      <a:pt x="4363" y="22610"/>
                    </a:cubicBezTo>
                    <a:cubicBezTo>
                      <a:pt x="7449" y="19524"/>
                      <a:pt x="75335" y="-17505"/>
                      <a:pt x="106192" y="10267"/>
                    </a:cubicBezTo>
                    <a:cubicBezTo>
                      <a:pt x="130878" y="31867"/>
                      <a:pt x="143220" y="59638"/>
                      <a:pt x="140135" y="75067"/>
                    </a:cubicBezTo>
                    <a:cubicBezTo>
                      <a:pt x="140135" y="81238"/>
                      <a:pt x="133964" y="87409"/>
                      <a:pt x="130878" y="87409"/>
                    </a:cubicBezTo>
                    <a:cubicBezTo>
                      <a:pt x="121621" y="90495"/>
                      <a:pt x="115449" y="84324"/>
                      <a:pt x="103106" y="78153"/>
                    </a:cubicBezTo>
                    <a:cubicBezTo>
                      <a:pt x="90764" y="68895"/>
                      <a:pt x="75335" y="59638"/>
                      <a:pt x="53735" y="65810"/>
                    </a:cubicBezTo>
                    <a:cubicBezTo>
                      <a:pt x="53735" y="75067"/>
                      <a:pt x="50649" y="96667"/>
                      <a:pt x="35220" y="105924"/>
                    </a:cubicBezTo>
                    <a:cubicBezTo>
                      <a:pt x="38306" y="112095"/>
                      <a:pt x="35220" y="112095"/>
                      <a:pt x="35220" y="11209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88618591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BCF58059-CF3E-4F13-B990-FE1929DE12EB}"/>
              </a:ext>
            </a:extLst>
          </p:cNvPr>
          <p:cNvGrpSpPr/>
          <p:nvPr/>
        </p:nvGrpSpPr>
        <p:grpSpPr>
          <a:xfrm>
            <a:off x="2752889" y="2003840"/>
            <a:ext cx="7252515" cy="4854160"/>
            <a:chOff x="18507239" y="7709991"/>
            <a:chExt cx="7252515" cy="4854160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DD27364A-0675-4B6C-B825-818720F845DD}"/>
                </a:ext>
              </a:extLst>
            </p:cNvPr>
            <p:cNvGrpSpPr/>
            <p:nvPr/>
          </p:nvGrpSpPr>
          <p:grpSpPr>
            <a:xfrm>
              <a:off x="23447081" y="10120152"/>
              <a:ext cx="2312674" cy="2050921"/>
              <a:chOff x="23447081" y="10120152"/>
              <a:chExt cx="2312674" cy="2050921"/>
            </a:xfrm>
          </p:grpSpPr>
          <p:grpSp>
            <p:nvGrpSpPr>
              <p:cNvPr id="108" name="图形 1">
                <a:extLst>
                  <a:ext uri="{FF2B5EF4-FFF2-40B4-BE49-F238E27FC236}">
                    <a16:creationId xmlns:a16="http://schemas.microsoft.com/office/drawing/2014/main" id="{08628659-D21C-467A-880D-FA59304A7664}"/>
                  </a:ext>
                </a:extLst>
              </p:cNvPr>
              <p:cNvGrpSpPr/>
              <p:nvPr/>
            </p:nvGrpSpPr>
            <p:grpSpPr>
              <a:xfrm>
                <a:off x="24516869" y="10190348"/>
                <a:ext cx="1242885" cy="1980725"/>
                <a:chOff x="24516869" y="10190348"/>
                <a:chExt cx="1242885" cy="1980725"/>
              </a:xfrm>
            </p:grpSpPr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BB530A19-AE56-4B40-A192-CC80072D2D7A}"/>
                    </a:ext>
                  </a:extLst>
                </p:cNvPr>
                <p:cNvSpPr/>
                <p:nvPr/>
              </p:nvSpPr>
              <p:spPr>
                <a:xfrm>
                  <a:off x="24831083" y="10577866"/>
                  <a:ext cx="596631" cy="1593207"/>
                </a:xfrm>
                <a:custGeom>
                  <a:avLst/>
                  <a:gdLst>
                    <a:gd name="connsiteX0" fmla="*/ 568582 w 596631"/>
                    <a:gd name="connsiteY0" fmla="*/ 6315 h 1593207"/>
                    <a:gd name="connsiteX1" fmla="*/ 192124 w 596631"/>
                    <a:gd name="connsiteY1" fmla="*/ 725288 h 1593207"/>
                    <a:gd name="connsiteX2" fmla="*/ 812 w 596631"/>
                    <a:gd name="connsiteY2" fmla="*/ 1573859 h 1593207"/>
                    <a:gd name="connsiteX3" fmla="*/ 31669 w 596631"/>
                    <a:gd name="connsiteY3" fmla="*/ 1583116 h 1593207"/>
                    <a:gd name="connsiteX4" fmla="*/ 213725 w 596631"/>
                    <a:gd name="connsiteY4" fmla="*/ 759230 h 1593207"/>
                    <a:gd name="connsiteX5" fmla="*/ 593267 w 596631"/>
                    <a:gd name="connsiteY5" fmla="*/ 24830 h 1593207"/>
                    <a:gd name="connsiteX6" fmla="*/ 568582 w 596631"/>
                    <a:gd name="connsiteY6" fmla="*/ 6315 h 1593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6631" h="1593207">
                      <a:moveTo>
                        <a:pt x="568582" y="6315"/>
                      </a:moveTo>
                      <a:cubicBezTo>
                        <a:pt x="408124" y="225401"/>
                        <a:pt x="281611" y="466087"/>
                        <a:pt x="192124" y="725288"/>
                      </a:cubicBezTo>
                      <a:cubicBezTo>
                        <a:pt x="99553" y="1003002"/>
                        <a:pt x="90296" y="1296145"/>
                        <a:pt x="812" y="1573859"/>
                      </a:cubicBezTo>
                      <a:cubicBezTo>
                        <a:pt x="-5360" y="1592373"/>
                        <a:pt x="25497" y="1601630"/>
                        <a:pt x="31669" y="1583116"/>
                      </a:cubicBezTo>
                      <a:cubicBezTo>
                        <a:pt x="118068" y="1314658"/>
                        <a:pt x="127325" y="1027687"/>
                        <a:pt x="213725" y="759230"/>
                      </a:cubicBezTo>
                      <a:cubicBezTo>
                        <a:pt x="300124" y="493859"/>
                        <a:pt x="429725" y="247002"/>
                        <a:pt x="593267" y="24830"/>
                      </a:cubicBezTo>
                      <a:cubicBezTo>
                        <a:pt x="605611" y="6315"/>
                        <a:pt x="580926" y="-9113"/>
                        <a:pt x="568582" y="6315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05A11389-DA00-4206-A19F-E7FFA1285ABA}"/>
                    </a:ext>
                  </a:extLst>
                </p:cNvPr>
                <p:cNvSpPr/>
                <p:nvPr/>
              </p:nvSpPr>
              <p:spPr>
                <a:xfrm>
                  <a:off x="25384237" y="10210219"/>
                  <a:ext cx="346439" cy="400675"/>
                </a:xfrm>
                <a:custGeom>
                  <a:avLst/>
                  <a:gdLst>
                    <a:gd name="connsiteX0" fmla="*/ 333257 w 346439"/>
                    <a:gd name="connsiteY0" fmla="*/ 22191 h 400675"/>
                    <a:gd name="connsiteX1" fmla="*/ 296230 w 346439"/>
                    <a:gd name="connsiteY1" fmla="*/ 591 h 400675"/>
                    <a:gd name="connsiteX2" fmla="*/ 0 w 346439"/>
                    <a:gd name="connsiteY2" fmla="*/ 370877 h 400675"/>
                    <a:gd name="connsiteX3" fmla="*/ 43201 w 346439"/>
                    <a:gd name="connsiteY3" fmla="*/ 398649 h 400675"/>
                    <a:gd name="connsiteX4" fmla="*/ 67886 w 346439"/>
                    <a:gd name="connsiteY4" fmla="*/ 395563 h 400675"/>
                    <a:gd name="connsiteX5" fmla="*/ 299315 w 346439"/>
                    <a:gd name="connsiteY5" fmla="*/ 259792 h 400675"/>
                    <a:gd name="connsiteX6" fmla="*/ 333257 w 346439"/>
                    <a:gd name="connsiteY6" fmla="*/ 22191 h 400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6439" h="400675">
                      <a:moveTo>
                        <a:pt x="333257" y="22191"/>
                      </a:moveTo>
                      <a:cubicBezTo>
                        <a:pt x="327087" y="6763"/>
                        <a:pt x="311658" y="-2494"/>
                        <a:pt x="296230" y="591"/>
                      </a:cubicBezTo>
                      <a:cubicBezTo>
                        <a:pt x="120344" y="43792"/>
                        <a:pt x="3087" y="191906"/>
                        <a:pt x="0" y="370877"/>
                      </a:cubicBezTo>
                      <a:cubicBezTo>
                        <a:pt x="0" y="395563"/>
                        <a:pt x="24685" y="404820"/>
                        <a:pt x="43201" y="398649"/>
                      </a:cubicBezTo>
                      <a:cubicBezTo>
                        <a:pt x="49373" y="401734"/>
                        <a:pt x="58629" y="401734"/>
                        <a:pt x="67886" y="395563"/>
                      </a:cubicBezTo>
                      <a:cubicBezTo>
                        <a:pt x="148114" y="346191"/>
                        <a:pt x="237600" y="340020"/>
                        <a:pt x="299315" y="259792"/>
                      </a:cubicBezTo>
                      <a:cubicBezTo>
                        <a:pt x="348685" y="191906"/>
                        <a:pt x="357944" y="105506"/>
                        <a:pt x="333257" y="22191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2B7508CC-956A-423B-B68A-7F749839D60E}"/>
                    </a:ext>
                  </a:extLst>
                </p:cNvPr>
                <p:cNvSpPr/>
                <p:nvPr/>
              </p:nvSpPr>
              <p:spPr>
                <a:xfrm>
                  <a:off x="25121286" y="10190348"/>
                  <a:ext cx="638469" cy="615646"/>
                </a:xfrm>
                <a:custGeom>
                  <a:avLst/>
                  <a:gdLst>
                    <a:gd name="connsiteX0" fmla="*/ 636324 w 638469"/>
                    <a:gd name="connsiteY0" fmla="*/ 501834 h 615646"/>
                    <a:gd name="connsiteX1" fmla="*/ 451181 w 638469"/>
                    <a:gd name="connsiteY1" fmla="*/ 461720 h 615646"/>
                    <a:gd name="connsiteX2" fmla="*/ 225922 w 638469"/>
                    <a:gd name="connsiteY2" fmla="*/ 508005 h 615646"/>
                    <a:gd name="connsiteX3" fmla="*/ 74723 w 638469"/>
                    <a:gd name="connsiteY3" fmla="*/ 14291 h 615646"/>
                    <a:gd name="connsiteX4" fmla="*/ 19181 w 638469"/>
                    <a:gd name="connsiteY4" fmla="*/ 20462 h 615646"/>
                    <a:gd name="connsiteX5" fmla="*/ 145694 w 638469"/>
                    <a:gd name="connsiteY5" fmla="*/ 545033 h 615646"/>
                    <a:gd name="connsiteX6" fmla="*/ 158038 w 638469"/>
                    <a:gd name="connsiteY6" fmla="*/ 594405 h 615646"/>
                    <a:gd name="connsiteX7" fmla="*/ 636324 w 638469"/>
                    <a:gd name="connsiteY7" fmla="*/ 501834 h 615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8469" h="615646">
                      <a:moveTo>
                        <a:pt x="636324" y="501834"/>
                      </a:moveTo>
                      <a:cubicBezTo>
                        <a:pt x="620895" y="437033"/>
                        <a:pt x="494380" y="458634"/>
                        <a:pt x="451181" y="461720"/>
                      </a:cubicBezTo>
                      <a:cubicBezTo>
                        <a:pt x="370951" y="464806"/>
                        <a:pt x="296895" y="480234"/>
                        <a:pt x="225922" y="508005"/>
                      </a:cubicBezTo>
                      <a:cubicBezTo>
                        <a:pt x="210493" y="332119"/>
                        <a:pt x="185808" y="159319"/>
                        <a:pt x="74723" y="14291"/>
                      </a:cubicBezTo>
                      <a:cubicBezTo>
                        <a:pt x="59295" y="-4223"/>
                        <a:pt x="25351" y="-7309"/>
                        <a:pt x="19181" y="20462"/>
                      </a:cubicBezTo>
                      <a:cubicBezTo>
                        <a:pt x="-24020" y="227205"/>
                        <a:pt x="665" y="390748"/>
                        <a:pt x="145694" y="545033"/>
                      </a:cubicBezTo>
                      <a:cubicBezTo>
                        <a:pt x="133351" y="560462"/>
                        <a:pt x="133351" y="588234"/>
                        <a:pt x="158038" y="594405"/>
                      </a:cubicBezTo>
                      <a:cubicBezTo>
                        <a:pt x="219752" y="616005"/>
                        <a:pt x="673351" y="656119"/>
                        <a:pt x="636324" y="501834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AC1C7625-75EB-42BC-844B-6FC029C520B9}"/>
                    </a:ext>
                  </a:extLst>
                </p:cNvPr>
                <p:cNvSpPr/>
                <p:nvPr/>
              </p:nvSpPr>
              <p:spPr>
                <a:xfrm>
                  <a:off x="24951465" y="10512668"/>
                  <a:ext cx="621363" cy="512906"/>
                </a:xfrm>
                <a:custGeom>
                  <a:avLst/>
                  <a:gdLst>
                    <a:gd name="connsiteX0" fmla="*/ 488314 w 621363"/>
                    <a:gd name="connsiteY0" fmla="*/ 355400 h 512906"/>
                    <a:gd name="connsiteX1" fmla="*/ 281573 w 621363"/>
                    <a:gd name="connsiteY1" fmla="*/ 376999 h 512906"/>
                    <a:gd name="connsiteX2" fmla="*/ 192086 w 621363"/>
                    <a:gd name="connsiteY2" fmla="*/ 133228 h 512906"/>
                    <a:gd name="connsiteX3" fmla="*/ 40885 w 621363"/>
                    <a:gd name="connsiteY3" fmla="*/ 6714 h 512906"/>
                    <a:gd name="connsiteX4" fmla="*/ 19287 w 621363"/>
                    <a:gd name="connsiteY4" fmla="*/ 219629 h 512906"/>
                    <a:gd name="connsiteX5" fmla="*/ 198258 w 621363"/>
                    <a:gd name="connsiteY5" fmla="*/ 451057 h 512906"/>
                    <a:gd name="connsiteX6" fmla="*/ 213687 w 621363"/>
                    <a:gd name="connsiteY6" fmla="*/ 497343 h 512906"/>
                    <a:gd name="connsiteX7" fmla="*/ 513001 w 621363"/>
                    <a:gd name="connsiteY7" fmla="*/ 497343 h 512906"/>
                    <a:gd name="connsiteX8" fmla="*/ 621001 w 621363"/>
                    <a:gd name="connsiteY8" fmla="*/ 426371 h 512906"/>
                    <a:gd name="connsiteX9" fmla="*/ 488314 w 621363"/>
                    <a:gd name="connsiteY9" fmla="*/ 355400 h 512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21363" h="512906">
                      <a:moveTo>
                        <a:pt x="488314" y="355400"/>
                      </a:moveTo>
                      <a:cubicBezTo>
                        <a:pt x="417343" y="346142"/>
                        <a:pt x="346372" y="346142"/>
                        <a:pt x="281573" y="376999"/>
                      </a:cubicBezTo>
                      <a:cubicBezTo>
                        <a:pt x="272314" y="290600"/>
                        <a:pt x="241457" y="207285"/>
                        <a:pt x="192086" y="133228"/>
                      </a:cubicBezTo>
                      <a:cubicBezTo>
                        <a:pt x="167401" y="96200"/>
                        <a:pt x="99515" y="-30314"/>
                        <a:pt x="40885" y="6714"/>
                      </a:cubicBezTo>
                      <a:cubicBezTo>
                        <a:pt x="-20829" y="40657"/>
                        <a:pt x="771" y="170257"/>
                        <a:pt x="19287" y="219629"/>
                      </a:cubicBezTo>
                      <a:cubicBezTo>
                        <a:pt x="50144" y="315285"/>
                        <a:pt x="121115" y="389343"/>
                        <a:pt x="198258" y="451057"/>
                      </a:cubicBezTo>
                      <a:cubicBezTo>
                        <a:pt x="189001" y="466486"/>
                        <a:pt x="192086" y="491171"/>
                        <a:pt x="213687" y="497343"/>
                      </a:cubicBezTo>
                      <a:cubicBezTo>
                        <a:pt x="309343" y="525114"/>
                        <a:pt x="417343" y="509686"/>
                        <a:pt x="513001" y="497343"/>
                      </a:cubicBezTo>
                      <a:cubicBezTo>
                        <a:pt x="553115" y="491171"/>
                        <a:pt x="627171" y="484999"/>
                        <a:pt x="621001" y="426371"/>
                      </a:cubicBezTo>
                      <a:cubicBezTo>
                        <a:pt x="614829" y="370829"/>
                        <a:pt x="534600" y="361571"/>
                        <a:pt x="488314" y="355400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DB4CD73F-99D4-4C6A-AE0C-C3F82508A0DD}"/>
                    </a:ext>
                  </a:extLst>
                </p:cNvPr>
                <p:cNvSpPr/>
                <p:nvPr/>
              </p:nvSpPr>
              <p:spPr>
                <a:xfrm>
                  <a:off x="24843038" y="10802481"/>
                  <a:ext cx="699280" cy="466654"/>
                </a:xfrm>
                <a:custGeom>
                  <a:avLst/>
                  <a:gdLst>
                    <a:gd name="connsiteX0" fmla="*/ 698571 w 699280"/>
                    <a:gd name="connsiteY0" fmla="*/ 312444 h 466654"/>
                    <a:gd name="connsiteX1" fmla="*/ 519598 w 699280"/>
                    <a:gd name="connsiteY1" fmla="*/ 269244 h 466654"/>
                    <a:gd name="connsiteX2" fmla="*/ 285084 w 699280"/>
                    <a:gd name="connsiteY2" fmla="*/ 346387 h 466654"/>
                    <a:gd name="connsiteX3" fmla="*/ 223370 w 699280"/>
                    <a:gd name="connsiteY3" fmla="*/ 158158 h 466654"/>
                    <a:gd name="connsiteX4" fmla="*/ 47484 w 699280"/>
                    <a:gd name="connsiteY4" fmla="*/ 786 h 466654"/>
                    <a:gd name="connsiteX5" fmla="*/ 13542 w 699280"/>
                    <a:gd name="connsiteY5" fmla="*/ 16215 h 466654"/>
                    <a:gd name="connsiteX6" fmla="*/ 38227 w 699280"/>
                    <a:gd name="connsiteY6" fmla="*/ 238387 h 466654"/>
                    <a:gd name="connsiteX7" fmla="*/ 198685 w 699280"/>
                    <a:gd name="connsiteY7" fmla="*/ 423530 h 466654"/>
                    <a:gd name="connsiteX8" fmla="*/ 226455 w 699280"/>
                    <a:gd name="connsiteY8" fmla="*/ 457472 h 466654"/>
                    <a:gd name="connsiteX9" fmla="*/ 565884 w 699280"/>
                    <a:gd name="connsiteY9" fmla="*/ 451301 h 466654"/>
                    <a:gd name="connsiteX10" fmla="*/ 698571 w 699280"/>
                    <a:gd name="connsiteY10" fmla="*/ 312444 h 466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99280" h="466654">
                      <a:moveTo>
                        <a:pt x="698571" y="312444"/>
                      </a:moveTo>
                      <a:cubicBezTo>
                        <a:pt x="689312" y="226043"/>
                        <a:pt x="578227" y="259986"/>
                        <a:pt x="519598" y="269244"/>
                      </a:cubicBezTo>
                      <a:cubicBezTo>
                        <a:pt x="439370" y="284673"/>
                        <a:pt x="352970" y="303186"/>
                        <a:pt x="285084" y="346387"/>
                      </a:cubicBezTo>
                      <a:cubicBezTo>
                        <a:pt x="288169" y="278501"/>
                        <a:pt x="266571" y="216786"/>
                        <a:pt x="223370" y="158158"/>
                      </a:cubicBezTo>
                      <a:cubicBezTo>
                        <a:pt x="183256" y="102615"/>
                        <a:pt x="112285" y="25472"/>
                        <a:pt x="47484" y="786"/>
                      </a:cubicBezTo>
                      <a:cubicBezTo>
                        <a:pt x="35142" y="-2300"/>
                        <a:pt x="19714" y="3872"/>
                        <a:pt x="13542" y="16215"/>
                      </a:cubicBezTo>
                      <a:cubicBezTo>
                        <a:pt x="-17315" y="77929"/>
                        <a:pt x="10455" y="179757"/>
                        <a:pt x="38227" y="238387"/>
                      </a:cubicBezTo>
                      <a:cubicBezTo>
                        <a:pt x="72169" y="315530"/>
                        <a:pt x="127714" y="377244"/>
                        <a:pt x="198685" y="423530"/>
                      </a:cubicBezTo>
                      <a:cubicBezTo>
                        <a:pt x="195598" y="442043"/>
                        <a:pt x="204856" y="460558"/>
                        <a:pt x="226455" y="457472"/>
                      </a:cubicBezTo>
                      <a:cubicBezTo>
                        <a:pt x="340627" y="445129"/>
                        <a:pt x="451714" y="488329"/>
                        <a:pt x="565884" y="451301"/>
                      </a:cubicBezTo>
                      <a:cubicBezTo>
                        <a:pt x="624513" y="435872"/>
                        <a:pt x="707827" y="389587"/>
                        <a:pt x="698571" y="312444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9588ECE8-14A9-42D3-BC2B-3E7DAB44692D}"/>
                    </a:ext>
                  </a:extLst>
                </p:cNvPr>
                <p:cNvSpPr/>
                <p:nvPr/>
              </p:nvSpPr>
              <p:spPr>
                <a:xfrm>
                  <a:off x="24669675" y="11249895"/>
                  <a:ext cx="655153" cy="381662"/>
                </a:xfrm>
                <a:custGeom>
                  <a:avLst/>
                  <a:gdLst>
                    <a:gd name="connsiteX0" fmla="*/ 541763 w 655153"/>
                    <a:gd name="connsiteY0" fmla="*/ 170516 h 381662"/>
                    <a:gd name="connsiteX1" fmla="*/ 316506 w 655153"/>
                    <a:gd name="connsiteY1" fmla="*/ 238402 h 381662"/>
                    <a:gd name="connsiteX2" fmla="*/ 180734 w 655153"/>
                    <a:gd name="connsiteY2" fmla="*/ 53259 h 381662"/>
                    <a:gd name="connsiteX3" fmla="*/ 17191 w 655153"/>
                    <a:gd name="connsiteY3" fmla="*/ 28573 h 381662"/>
                    <a:gd name="connsiteX4" fmla="*/ 57305 w 655153"/>
                    <a:gd name="connsiteY4" fmla="*/ 195201 h 381662"/>
                    <a:gd name="connsiteX5" fmla="*/ 273305 w 655153"/>
                    <a:gd name="connsiteY5" fmla="*/ 300116 h 381662"/>
                    <a:gd name="connsiteX6" fmla="*/ 273305 w 655153"/>
                    <a:gd name="connsiteY6" fmla="*/ 300116 h 381662"/>
                    <a:gd name="connsiteX7" fmla="*/ 288734 w 655153"/>
                    <a:gd name="connsiteY7" fmla="*/ 315545 h 381662"/>
                    <a:gd name="connsiteX8" fmla="*/ 297990 w 655153"/>
                    <a:gd name="connsiteY8" fmla="*/ 324801 h 381662"/>
                    <a:gd name="connsiteX9" fmla="*/ 523247 w 655153"/>
                    <a:gd name="connsiteY9" fmla="*/ 374173 h 381662"/>
                    <a:gd name="connsiteX10" fmla="*/ 652848 w 655153"/>
                    <a:gd name="connsiteY10" fmla="*/ 238402 h 381662"/>
                    <a:gd name="connsiteX11" fmla="*/ 541763 w 655153"/>
                    <a:gd name="connsiteY11" fmla="*/ 170516 h 381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655153" h="381662">
                      <a:moveTo>
                        <a:pt x="541763" y="170516"/>
                      </a:moveTo>
                      <a:cubicBezTo>
                        <a:pt x="467705" y="179772"/>
                        <a:pt x="375133" y="185944"/>
                        <a:pt x="316506" y="238402"/>
                      </a:cubicBezTo>
                      <a:cubicBezTo>
                        <a:pt x="282562" y="167430"/>
                        <a:pt x="242448" y="102630"/>
                        <a:pt x="180734" y="53259"/>
                      </a:cubicBezTo>
                      <a:cubicBezTo>
                        <a:pt x="137533" y="19316"/>
                        <a:pt x="60390" y="-33142"/>
                        <a:pt x="17191" y="28573"/>
                      </a:cubicBezTo>
                      <a:cubicBezTo>
                        <a:pt x="-22923" y="84116"/>
                        <a:pt x="14104" y="158173"/>
                        <a:pt x="57305" y="195201"/>
                      </a:cubicBezTo>
                      <a:cubicBezTo>
                        <a:pt x="115934" y="244573"/>
                        <a:pt x="196162" y="275430"/>
                        <a:pt x="273305" y="300116"/>
                      </a:cubicBezTo>
                      <a:cubicBezTo>
                        <a:pt x="273305" y="300116"/>
                        <a:pt x="273305" y="300116"/>
                        <a:pt x="273305" y="300116"/>
                      </a:cubicBezTo>
                      <a:cubicBezTo>
                        <a:pt x="276390" y="309373"/>
                        <a:pt x="282562" y="312459"/>
                        <a:pt x="288734" y="315545"/>
                      </a:cubicBezTo>
                      <a:cubicBezTo>
                        <a:pt x="291819" y="318630"/>
                        <a:pt x="294906" y="321715"/>
                        <a:pt x="297990" y="324801"/>
                      </a:cubicBezTo>
                      <a:cubicBezTo>
                        <a:pt x="362792" y="368001"/>
                        <a:pt x="443019" y="395772"/>
                        <a:pt x="523247" y="374173"/>
                      </a:cubicBezTo>
                      <a:cubicBezTo>
                        <a:pt x="584962" y="355659"/>
                        <a:pt x="643591" y="303201"/>
                        <a:pt x="652848" y="238402"/>
                      </a:cubicBezTo>
                      <a:cubicBezTo>
                        <a:pt x="668276" y="155087"/>
                        <a:pt x="603477" y="164344"/>
                        <a:pt x="541763" y="170516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E929C5DB-262F-4F20-8A7B-9B1ACC7FB2D2}"/>
                    </a:ext>
                  </a:extLst>
                </p:cNvPr>
                <p:cNvSpPr/>
                <p:nvPr/>
              </p:nvSpPr>
              <p:spPr>
                <a:xfrm>
                  <a:off x="24516869" y="11638779"/>
                  <a:ext cx="831457" cy="309091"/>
                </a:xfrm>
                <a:custGeom>
                  <a:avLst/>
                  <a:gdLst>
                    <a:gd name="connsiteX0" fmla="*/ 830338 w 831457"/>
                    <a:gd name="connsiteY0" fmla="*/ 148831 h 309091"/>
                    <a:gd name="connsiteX1" fmla="*/ 657539 w 831457"/>
                    <a:gd name="connsiteY1" fmla="*/ 114888 h 309091"/>
                    <a:gd name="connsiteX2" fmla="*/ 413767 w 831457"/>
                    <a:gd name="connsiteY2" fmla="*/ 195116 h 309091"/>
                    <a:gd name="connsiteX3" fmla="*/ 15711 w 831457"/>
                    <a:gd name="connsiteY3" fmla="*/ 59345 h 309091"/>
                    <a:gd name="connsiteX4" fmla="*/ 413767 w 831457"/>
                    <a:gd name="connsiteY4" fmla="*/ 284602 h 309091"/>
                    <a:gd name="connsiteX5" fmla="*/ 423026 w 831457"/>
                    <a:gd name="connsiteY5" fmla="*/ 281517 h 309091"/>
                    <a:gd name="connsiteX6" fmla="*/ 691481 w 831457"/>
                    <a:gd name="connsiteY6" fmla="*/ 293860 h 309091"/>
                    <a:gd name="connsiteX7" fmla="*/ 830338 w 831457"/>
                    <a:gd name="connsiteY7" fmla="*/ 148831 h 309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31457" h="309091">
                      <a:moveTo>
                        <a:pt x="830338" y="148831"/>
                      </a:moveTo>
                      <a:cubicBezTo>
                        <a:pt x="817997" y="77860"/>
                        <a:pt x="703825" y="111803"/>
                        <a:pt x="657539" y="114888"/>
                      </a:cubicBezTo>
                      <a:cubicBezTo>
                        <a:pt x="568053" y="121060"/>
                        <a:pt x="484740" y="136488"/>
                        <a:pt x="413767" y="195116"/>
                      </a:cubicBezTo>
                      <a:cubicBezTo>
                        <a:pt x="345883" y="96374"/>
                        <a:pt x="92854" y="-98026"/>
                        <a:pt x="15711" y="59345"/>
                      </a:cubicBezTo>
                      <a:cubicBezTo>
                        <a:pt x="-83032" y="263003"/>
                        <a:pt x="311939" y="281517"/>
                        <a:pt x="413767" y="284602"/>
                      </a:cubicBezTo>
                      <a:cubicBezTo>
                        <a:pt x="416854" y="284602"/>
                        <a:pt x="419939" y="284602"/>
                        <a:pt x="423026" y="281517"/>
                      </a:cubicBezTo>
                      <a:cubicBezTo>
                        <a:pt x="509425" y="312374"/>
                        <a:pt x="601997" y="318545"/>
                        <a:pt x="691481" y="293860"/>
                      </a:cubicBezTo>
                      <a:cubicBezTo>
                        <a:pt x="750111" y="278431"/>
                        <a:pt x="842682" y="229060"/>
                        <a:pt x="830338" y="148831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09" name="图形 1">
                <a:extLst>
                  <a:ext uri="{FF2B5EF4-FFF2-40B4-BE49-F238E27FC236}">
                    <a16:creationId xmlns:a16="http://schemas.microsoft.com/office/drawing/2014/main" id="{FAD11B37-C376-4508-886F-C7321BA7837C}"/>
                  </a:ext>
                </a:extLst>
              </p:cNvPr>
              <p:cNvGrpSpPr/>
              <p:nvPr/>
            </p:nvGrpSpPr>
            <p:grpSpPr>
              <a:xfrm>
                <a:off x="23447081" y="10120152"/>
                <a:ext cx="1315421" cy="2027974"/>
                <a:chOff x="23447081" y="10120152"/>
                <a:chExt cx="1315421" cy="2027974"/>
              </a:xfrm>
            </p:grpSpPr>
            <p:sp>
              <p:nvSpPr>
                <p:cNvPr id="110" name="任意多边形: 形状 109">
                  <a:extLst>
                    <a:ext uri="{FF2B5EF4-FFF2-40B4-BE49-F238E27FC236}">
                      <a16:creationId xmlns:a16="http://schemas.microsoft.com/office/drawing/2014/main" id="{061045E5-59FE-47CD-8C44-35A108AE4DB4}"/>
                    </a:ext>
                  </a:extLst>
                </p:cNvPr>
                <p:cNvSpPr/>
                <p:nvPr/>
              </p:nvSpPr>
              <p:spPr>
                <a:xfrm>
                  <a:off x="23820835" y="10577791"/>
                  <a:ext cx="823641" cy="1570335"/>
                </a:xfrm>
                <a:custGeom>
                  <a:avLst/>
                  <a:gdLst>
                    <a:gd name="connsiteX0" fmla="*/ 822830 w 823641"/>
                    <a:gd name="connsiteY0" fmla="*/ 1552334 h 1570335"/>
                    <a:gd name="connsiteX1" fmla="*/ 572888 w 823641"/>
                    <a:gd name="connsiteY1" fmla="*/ 685248 h 1570335"/>
                    <a:gd name="connsiteX2" fmla="*/ 29801 w 823641"/>
                    <a:gd name="connsiteY2" fmla="*/ 6391 h 1570335"/>
                    <a:gd name="connsiteX3" fmla="*/ 2031 w 823641"/>
                    <a:gd name="connsiteY3" fmla="*/ 21819 h 1570335"/>
                    <a:gd name="connsiteX4" fmla="*/ 532774 w 823641"/>
                    <a:gd name="connsiteY4" fmla="*/ 675991 h 1570335"/>
                    <a:gd name="connsiteX5" fmla="*/ 791973 w 823641"/>
                    <a:gd name="connsiteY5" fmla="*/ 1561591 h 1570335"/>
                    <a:gd name="connsiteX6" fmla="*/ 822830 w 823641"/>
                    <a:gd name="connsiteY6" fmla="*/ 1552334 h 1570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3641" h="1570335">
                      <a:moveTo>
                        <a:pt x="822830" y="1552334"/>
                      </a:moveTo>
                      <a:cubicBezTo>
                        <a:pt x="751859" y="1262277"/>
                        <a:pt x="702489" y="953705"/>
                        <a:pt x="572888" y="685248"/>
                      </a:cubicBezTo>
                      <a:cubicBezTo>
                        <a:pt x="443288" y="419876"/>
                        <a:pt x="199516" y="243991"/>
                        <a:pt x="29801" y="6391"/>
                      </a:cubicBezTo>
                      <a:cubicBezTo>
                        <a:pt x="17460" y="-9038"/>
                        <a:pt x="-7226" y="6391"/>
                        <a:pt x="2031" y="21819"/>
                      </a:cubicBezTo>
                      <a:cubicBezTo>
                        <a:pt x="168658" y="250162"/>
                        <a:pt x="403174" y="422962"/>
                        <a:pt x="532774" y="675991"/>
                      </a:cubicBezTo>
                      <a:cubicBezTo>
                        <a:pt x="671631" y="947534"/>
                        <a:pt x="721002" y="1268448"/>
                        <a:pt x="791973" y="1561591"/>
                      </a:cubicBezTo>
                      <a:cubicBezTo>
                        <a:pt x="798145" y="1577019"/>
                        <a:pt x="829002" y="1570848"/>
                        <a:pt x="822830" y="1552334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" name="任意多边形: 形状 110">
                  <a:extLst>
                    <a:ext uri="{FF2B5EF4-FFF2-40B4-BE49-F238E27FC236}">
                      <a16:creationId xmlns:a16="http://schemas.microsoft.com/office/drawing/2014/main" id="{D3F371FE-0250-418A-BCDF-C65FED542671}"/>
                    </a:ext>
                  </a:extLst>
                </p:cNvPr>
                <p:cNvSpPr/>
                <p:nvPr/>
              </p:nvSpPr>
              <p:spPr>
                <a:xfrm>
                  <a:off x="23447081" y="10120152"/>
                  <a:ext cx="437978" cy="538762"/>
                </a:xfrm>
                <a:custGeom>
                  <a:avLst/>
                  <a:gdLst>
                    <a:gd name="connsiteX0" fmla="*/ 437499 w 437978"/>
                    <a:gd name="connsiteY0" fmla="*/ 494887 h 538762"/>
                    <a:gd name="connsiteX1" fmla="*/ 273957 w 437978"/>
                    <a:gd name="connsiteY1" fmla="*/ 152373 h 538762"/>
                    <a:gd name="connsiteX2" fmla="*/ 33270 w 437978"/>
                    <a:gd name="connsiteY2" fmla="*/ 13515 h 538762"/>
                    <a:gd name="connsiteX3" fmla="*/ 88814 w 437978"/>
                    <a:gd name="connsiteY3" fmla="*/ 275801 h 538762"/>
                    <a:gd name="connsiteX4" fmla="*/ 375785 w 437978"/>
                    <a:gd name="connsiteY4" fmla="*/ 535002 h 538762"/>
                    <a:gd name="connsiteX5" fmla="*/ 415899 w 437978"/>
                    <a:gd name="connsiteY5" fmla="*/ 522658 h 538762"/>
                    <a:gd name="connsiteX6" fmla="*/ 437499 w 437978"/>
                    <a:gd name="connsiteY6" fmla="*/ 494887 h 538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7978" h="538762">
                      <a:moveTo>
                        <a:pt x="437499" y="494887"/>
                      </a:moveTo>
                      <a:cubicBezTo>
                        <a:pt x="422071" y="362202"/>
                        <a:pt x="360356" y="251116"/>
                        <a:pt x="273957" y="152373"/>
                      </a:cubicBezTo>
                      <a:cubicBezTo>
                        <a:pt x="230756" y="103002"/>
                        <a:pt x="116584" y="-45113"/>
                        <a:pt x="33270" y="13515"/>
                      </a:cubicBezTo>
                      <a:cubicBezTo>
                        <a:pt x="-53130" y="72145"/>
                        <a:pt x="51785" y="223345"/>
                        <a:pt x="88814" y="275801"/>
                      </a:cubicBezTo>
                      <a:cubicBezTo>
                        <a:pt x="169042" y="389973"/>
                        <a:pt x="249270" y="473288"/>
                        <a:pt x="375785" y="535002"/>
                      </a:cubicBezTo>
                      <a:cubicBezTo>
                        <a:pt x="391214" y="544259"/>
                        <a:pt x="409727" y="535002"/>
                        <a:pt x="415899" y="522658"/>
                      </a:cubicBezTo>
                      <a:cubicBezTo>
                        <a:pt x="428242" y="522658"/>
                        <a:pt x="440584" y="513402"/>
                        <a:pt x="437499" y="494887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588C4517-B02C-46B0-80F0-A6A80CAE8009}"/>
                    </a:ext>
                  </a:extLst>
                </p:cNvPr>
                <p:cNvSpPr/>
                <p:nvPr/>
              </p:nvSpPr>
              <p:spPr>
                <a:xfrm>
                  <a:off x="23510133" y="10239363"/>
                  <a:ext cx="706663" cy="699815"/>
                </a:xfrm>
                <a:custGeom>
                  <a:avLst/>
                  <a:gdLst>
                    <a:gd name="connsiteX0" fmla="*/ 664503 w 706663"/>
                    <a:gd name="connsiteY0" fmla="*/ 5390 h 699815"/>
                    <a:gd name="connsiteX1" fmla="*/ 476275 w 706663"/>
                    <a:gd name="connsiteY1" fmla="*/ 150419 h 699815"/>
                    <a:gd name="connsiteX2" fmla="*/ 457762 w 706663"/>
                    <a:gd name="connsiteY2" fmla="*/ 523790 h 699815"/>
                    <a:gd name="connsiteX3" fmla="*/ 460847 w 706663"/>
                    <a:gd name="connsiteY3" fmla="*/ 526875 h 699815"/>
                    <a:gd name="connsiteX4" fmla="*/ 4161 w 706663"/>
                    <a:gd name="connsiteY4" fmla="*/ 560819 h 699815"/>
                    <a:gd name="connsiteX5" fmla="*/ 241762 w 706663"/>
                    <a:gd name="connsiteY5" fmla="*/ 696590 h 699815"/>
                    <a:gd name="connsiteX6" fmla="*/ 491704 w 706663"/>
                    <a:gd name="connsiteY6" fmla="*/ 594762 h 699815"/>
                    <a:gd name="connsiteX7" fmla="*/ 504048 w 706663"/>
                    <a:gd name="connsiteY7" fmla="*/ 582419 h 699815"/>
                    <a:gd name="connsiteX8" fmla="*/ 504048 w 706663"/>
                    <a:gd name="connsiteY8" fmla="*/ 582419 h 699815"/>
                    <a:gd name="connsiteX9" fmla="*/ 695360 w 706663"/>
                    <a:gd name="connsiteY9" fmla="*/ 246076 h 699815"/>
                    <a:gd name="connsiteX10" fmla="*/ 664503 w 706663"/>
                    <a:gd name="connsiteY10" fmla="*/ 5390 h 699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06663" h="699815">
                      <a:moveTo>
                        <a:pt x="664503" y="5390"/>
                      </a:moveTo>
                      <a:cubicBezTo>
                        <a:pt x="596619" y="-28553"/>
                        <a:pt x="504048" y="107219"/>
                        <a:pt x="476275" y="150419"/>
                      </a:cubicBezTo>
                      <a:cubicBezTo>
                        <a:pt x="408389" y="264590"/>
                        <a:pt x="408389" y="403447"/>
                        <a:pt x="457762" y="523790"/>
                      </a:cubicBezTo>
                      <a:cubicBezTo>
                        <a:pt x="457762" y="523790"/>
                        <a:pt x="457762" y="526875"/>
                        <a:pt x="460847" y="526875"/>
                      </a:cubicBezTo>
                      <a:cubicBezTo>
                        <a:pt x="359019" y="486762"/>
                        <a:pt x="-45211" y="400362"/>
                        <a:pt x="4161" y="560819"/>
                      </a:cubicBezTo>
                      <a:cubicBezTo>
                        <a:pt x="28847" y="641047"/>
                        <a:pt x="170789" y="684247"/>
                        <a:pt x="241762" y="696590"/>
                      </a:cubicBezTo>
                      <a:cubicBezTo>
                        <a:pt x="352847" y="715104"/>
                        <a:pt x="408389" y="650304"/>
                        <a:pt x="491704" y="594762"/>
                      </a:cubicBezTo>
                      <a:cubicBezTo>
                        <a:pt x="497876" y="591676"/>
                        <a:pt x="500961" y="585505"/>
                        <a:pt x="504048" y="582419"/>
                      </a:cubicBezTo>
                      <a:cubicBezTo>
                        <a:pt x="504048" y="582419"/>
                        <a:pt x="504048" y="582419"/>
                        <a:pt x="504048" y="582419"/>
                      </a:cubicBezTo>
                      <a:cubicBezTo>
                        <a:pt x="605876" y="496018"/>
                        <a:pt x="673762" y="378762"/>
                        <a:pt x="695360" y="246076"/>
                      </a:cubicBezTo>
                      <a:cubicBezTo>
                        <a:pt x="704619" y="202875"/>
                        <a:pt x="726218" y="36247"/>
                        <a:pt x="664503" y="5390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" name="任意多边形: 形状 112">
                  <a:extLst>
                    <a:ext uri="{FF2B5EF4-FFF2-40B4-BE49-F238E27FC236}">
                      <a16:creationId xmlns:a16="http://schemas.microsoft.com/office/drawing/2014/main" id="{04C79C28-FBF8-408D-ACB6-E57671D7FD02}"/>
                    </a:ext>
                  </a:extLst>
                </p:cNvPr>
                <p:cNvSpPr/>
                <p:nvPr/>
              </p:nvSpPr>
              <p:spPr>
                <a:xfrm>
                  <a:off x="23763368" y="10490755"/>
                  <a:ext cx="673528" cy="730454"/>
                </a:xfrm>
                <a:custGeom>
                  <a:avLst/>
                  <a:gdLst>
                    <a:gd name="connsiteX0" fmla="*/ 642697 w 673528"/>
                    <a:gd name="connsiteY0" fmla="*/ 3940 h 730454"/>
                    <a:gd name="connsiteX1" fmla="*/ 472983 w 673528"/>
                    <a:gd name="connsiteY1" fmla="*/ 148969 h 730454"/>
                    <a:gd name="connsiteX2" fmla="*/ 402012 w 673528"/>
                    <a:gd name="connsiteY2" fmla="*/ 451369 h 730454"/>
                    <a:gd name="connsiteX3" fmla="*/ 386583 w 673528"/>
                    <a:gd name="connsiteY3" fmla="*/ 460626 h 730454"/>
                    <a:gd name="connsiteX4" fmla="*/ 84183 w 673528"/>
                    <a:gd name="connsiteY4" fmla="*/ 559369 h 730454"/>
                    <a:gd name="connsiteX5" fmla="*/ 19384 w 673528"/>
                    <a:gd name="connsiteY5" fmla="*/ 707483 h 730454"/>
                    <a:gd name="connsiteX6" fmla="*/ 238469 w 673528"/>
                    <a:gd name="connsiteY6" fmla="*/ 695140 h 730454"/>
                    <a:gd name="connsiteX7" fmla="*/ 432869 w 673528"/>
                    <a:gd name="connsiteY7" fmla="*/ 506912 h 730454"/>
                    <a:gd name="connsiteX8" fmla="*/ 435956 w 673528"/>
                    <a:gd name="connsiteY8" fmla="*/ 503827 h 730454"/>
                    <a:gd name="connsiteX9" fmla="*/ 466813 w 673528"/>
                    <a:gd name="connsiteY9" fmla="*/ 482226 h 730454"/>
                    <a:gd name="connsiteX10" fmla="*/ 639612 w 673528"/>
                    <a:gd name="connsiteY10" fmla="*/ 216855 h 730454"/>
                    <a:gd name="connsiteX11" fmla="*/ 642697 w 673528"/>
                    <a:gd name="connsiteY11" fmla="*/ 3940 h 730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673528" h="730454">
                      <a:moveTo>
                        <a:pt x="642697" y="3940"/>
                      </a:moveTo>
                      <a:cubicBezTo>
                        <a:pt x="571726" y="-23831"/>
                        <a:pt x="497670" y="102684"/>
                        <a:pt x="472983" y="148969"/>
                      </a:cubicBezTo>
                      <a:cubicBezTo>
                        <a:pt x="420527" y="241541"/>
                        <a:pt x="398927" y="343369"/>
                        <a:pt x="402012" y="451369"/>
                      </a:cubicBezTo>
                      <a:cubicBezTo>
                        <a:pt x="395840" y="451369"/>
                        <a:pt x="392755" y="457541"/>
                        <a:pt x="386583" y="460626"/>
                      </a:cubicBezTo>
                      <a:cubicBezTo>
                        <a:pt x="281670" y="472969"/>
                        <a:pt x="173670" y="503827"/>
                        <a:pt x="84183" y="559369"/>
                      </a:cubicBezTo>
                      <a:cubicBezTo>
                        <a:pt x="40983" y="587140"/>
                        <a:pt x="-36160" y="655026"/>
                        <a:pt x="19384" y="707483"/>
                      </a:cubicBezTo>
                      <a:cubicBezTo>
                        <a:pt x="71840" y="753769"/>
                        <a:pt x="182927" y="719827"/>
                        <a:pt x="238469" y="695140"/>
                      </a:cubicBezTo>
                      <a:cubicBezTo>
                        <a:pt x="324869" y="658112"/>
                        <a:pt x="392755" y="590226"/>
                        <a:pt x="432869" y="506912"/>
                      </a:cubicBezTo>
                      <a:cubicBezTo>
                        <a:pt x="432869" y="506912"/>
                        <a:pt x="435956" y="503827"/>
                        <a:pt x="435956" y="503827"/>
                      </a:cubicBezTo>
                      <a:cubicBezTo>
                        <a:pt x="448297" y="503827"/>
                        <a:pt x="463726" y="497655"/>
                        <a:pt x="466813" y="482226"/>
                      </a:cubicBezTo>
                      <a:cubicBezTo>
                        <a:pt x="543956" y="408169"/>
                        <a:pt x="605670" y="318684"/>
                        <a:pt x="639612" y="216855"/>
                      </a:cubicBezTo>
                      <a:cubicBezTo>
                        <a:pt x="651956" y="176741"/>
                        <a:pt x="707498" y="28626"/>
                        <a:pt x="642697" y="3940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9DE42591-15A9-4DFB-814C-2B534A21F338}"/>
                    </a:ext>
                  </a:extLst>
                </p:cNvPr>
                <p:cNvSpPr/>
                <p:nvPr/>
              </p:nvSpPr>
              <p:spPr>
                <a:xfrm>
                  <a:off x="23873542" y="10685531"/>
                  <a:ext cx="824167" cy="805966"/>
                </a:xfrm>
                <a:custGeom>
                  <a:avLst/>
                  <a:gdLst>
                    <a:gd name="connsiteX0" fmla="*/ 816409 w 824167"/>
                    <a:gd name="connsiteY0" fmla="*/ 22079 h 805966"/>
                    <a:gd name="connsiteX1" fmla="*/ 785552 w 824167"/>
                    <a:gd name="connsiteY1" fmla="*/ 480 h 805966"/>
                    <a:gd name="connsiteX2" fmla="*/ 572639 w 824167"/>
                    <a:gd name="connsiteY2" fmla="*/ 154765 h 805966"/>
                    <a:gd name="connsiteX3" fmla="*/ 446123 w 824167"/>
                    <a:gd name="connsiteY3" fmla="*/ 491108 h 805966"/>
                    <a:gd name="connsiteX4" fmla="*/ 446123 w 824167"/>
                    <a:gd name="connsiteY4" fmla="*/ 503451 h 805966"/>
                    <a:gd name="connsiteX5" fmla="*/ 443038 w 824167"/>
                    <a:gd name="connsiteY5" fmla="*/ 506537 h 805966"/>
                    <a:gd name="connsiteX6" fmla="*/ 433781 w 824167"/>
                    <a:gd name="connsiteY6" fmla="*/ 506537 h 805966"/>
                    <a:gd name="connsiteX7" fmla="*/ 48067 w 824167"/>
                    <a:gd name="connsiteY7" fmla="*/ 617623 h 805966"/>
                    <a:gd name="connsiteX8" fmla="*/ 38808 w 824167"/>
                    <a:gd name="connsiteY8" fmla="*/ 784251 h 805966"/>
                    <a:gd name="connsiteX9" fmla="*/ 288752 w 824167"/>
                    <a:gd name="connsiteY9" fmla="*/ 759565 h 805966"/>
                    <a:gd name="connsiteX10" fmla="*/ 486237 w 824167"/>
                    <a:gd name="connsiteY10" fmla="*/ 549736 h 805966"/>
                    <a:gd name="connsiteX11" fmla="*/ 501666 w 824167"/>
                    <a:gd name="connsiteY11" fmla="*/ 543565 h 805966"/>
                    <a:gd name="connsiteX12" fmla="*/ 748523 w 824167"/>
                    <a:gd name="connsiteY12" fmla="*/ 284365 h 805966"/>
                    <a:gd name="connsiteX13" fmla="*/ 816409 w 824167"/>
                    <a:gd name="connsiteY13" fmla="*/ 22079 h 8059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24167" h="805966">
                      <a:moveTo>
                        <a:pt x="816409" y="22079"/>
                      </a:moveTo>
                      <a:cubicBezTo>
                        <a:pt x="813324" y="9736"/>
                        <a:pt x="800980" y="-2606"/>
                        <a:pt x="785552" y="480"/>
                      </a:cubicBezTo>
                      <a:cubicBezTo>
                        <a:pt x="702237" y="9736"/>
                        <a:pt x="618924" y="93051"/>
                        <a:pt x="572639" y="154765"/>
                      </a:cubicBezTo>
                      <a:cubicBezTo>
                        <a:pt x="498581" y="253508"/>
                        <a:pt x="476980" y="373850"/>
                        <a:pt x="446123" y="491108"/>
                      </a:cubicBezTo>
                      <a:cubicBezTo>
                        <a:pt x="446123" y="497279"/>
                        <a:pt x="446123" y="500365"/>
                        <a:pt x="446123" y="503451"/>
                      </a:cubicBezTo>
                      <a:cubicBezTo>
                        <a:pt x="446123" y="503451"/>
                        <a:pt x="443038" y="506537"/>
                        <a:pt x="443038" y="506537"/>
                      </a:cubicBezTo>
                      <a:cubicBezTo>
                        <a:pt x="439951" y="506537"/>
                        <a:pt x="436866" y="506537"/>
                        <a:pt x="433781" y="506537"/>
                      </a:cubicBezTo>
                      <a:cubicBezTo>
                        <a:pt x="313438" y="531222"/>
                        <a:pt x="146808" y="540480"/>
                        <a:pt x="48067" y="617623"/>
                      </a:cubicBezTo>
                      <a:cubicBezTo>
                        <a:pt x="-4390" y="660822"/>
                        <a:pt x="-22906" y="741051"/>
                        <a:pt x="38808" y="784251"/>
                      </a:cubicBezTo>
                      <a:cubicBezTo>
                        <a:pt x="103610" y="830537"/>
                        <a:pt x="223951" y="793508"/>
                        <a:pt x="288752" y="759565"/>
                      </a:cubicBezTo>
                      <a:cubicBezTo>
                        <a:pt x="375152" y="713279"/>
                        <a:pt x="433781" y="633051"/>
                        <a:pt x="486237" y="549736"/>
                      </a:cubicBezTo>
                      <a:cubicBezTo>
                        <a:pt x="492409" y="549736"/>
                        <a:pt x="495496" y="546651"/>
                        <a:pt x="501666" y="543565"/>
                      </a:cubicBezTo>
                      <a:cubicBezTo>
                        <a:pt x="584980" y="463337"/>
                        <a:pt x="686809" y="383108"/>
                        <a:pt x="748523" y="284365"/>
                      </a:cubicBezTo>
                      <a:cubicBezTo>
                        <a:pt x="791724" y="222651"/>
                        <a:pt x="844181" y="102308"/>
                        <a:pt x="816409" y="22079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7CD44615-F834-4595-92BE-96FE0703822F}"/>
                    </a:ext>
                  </a:extLst>
                </p:cNvPr>
                <p:cNvSpPr/>
                <p:nvPr/>
              </p:nvSpPr>
              <p:spPr>
                <a:xfrm>
                  <a:off x="24140676" y="11094528"/>
                  <a:ext cx="621826" cy="571100"/>
                </a:xfrm>
                <a:custGeom>
                  <a:avLst/>
                  <a:gdLst>
                    <a:gd name="connsiteX0" fmla="*/ 607904 w 621826"/>
                    <a:gd name="connsiteY0" fmla="*/ 23483 h 571100"/>
                    <a:gd name="connsiteX1" fmla="*/ 561619 w 621826"/>
                    <a:gd name="connsiteY1" fmla="*/ 4968 h 571100"/>
                    <a:gd name="connsiteX2" fmla="*/ 314761 w 621826"/>
                    <a:gd name="connsiteY2" fmla="*/ 399939 h 571100"/>
                    <a:gd name="connsiteX3" fmla="*/ 6190 w 621826"/>
                    <a:gd name="connsiteY3" fmla="*/ 514111 h 571100"/>
                    <a:gd name="connsiteX4" fmla="*/ 351790 w 621826"/>
                    <a:gd name="connsiteY4" fmla="*/ 470911 h 571100"/>
                    <a:gd name="connsiteX5" fmla="*/ 373389 w 621826"/>
                    <a:gd name="connsiteY5" fmla="*/ 467825 h 571100"/>
                    <a:gd name="connsiteX6" fmla="*/ 607904 w 621826"/>
                    <a:gd name="connsiteY6" fmla="*/ 23483 h 571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1826" h="571100">
                      <a:moveTo>
                        <a:pt x="607904" y="23483"/>
                      </a:moveTo>
                      <a:cubicBezTo>
                        <a:pt x="601733" y="4968"/>
                        <a:pt x="580132" y="-7374"/>
                        <a:pt x="561619" y="4968"/>
                      </a:cubicBezTo>
                      <a:cubicBezTo>
                        <a:pt x="419675" y="94454"/>
                        <a:pt x="364132" y="245654"/>
                        <a:pt x="314761" y="399939"/>
                      </a:cubicBezTo>
                      <a:cubicBezTo>
                        <a:pt x="216018" y="387597"/>
                        <a:pt x="-43183" y="365996"/>
                        <a:pt x="6190" y="514111"/>
                      </a:cubicBezTo>
                      <a:cubicBezTo>
                        <a:pt x="52476" y="649882"/>
                        <a:pt x="265389" y="504853"/>
                        <a:pt x="351790" y="470911"/>
                      </a:cubicBezTo>
                      <a:cubicBezTo>
                        <a:pt x="357960" y="473996"/>
                        <a:pt x="367219" y="470911"/>
                        <a:pt x="373389" y="467825"/>
                      </a:cubicBezTo>
                      <a:cubicBezTo>
                        <a:pt x="530761" y="378340"/>
                        <a:pt x="666532" y="217882"/>
                        <a:pt x="607904" y="23483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C6F209FE-DE32-4E1F-B75F-8D5183C878DC}"/>
                    </a:ext>
                  </a:extLst>
                </p:cNvPr>
                <p:cNvSpPr/>
                <p:nvPr/>
              </p:nvSpPr>
              <p:spPr>
                <a:xfrm>
                  <a:off x="24263422" y="11560587"/>
                  <a:ext cx="444041" cy="348312"/>
                </a:xfrm>
                <a:custGeom>
                  <a:avLst/>
                  <a:gdLst>
                    <a:gd name="connsiteX0" fmla="*/ 408015 w 444041"/>
                    <a:gd name="connsiteY0" fmla="*/ 4852 h 348312"/>
                    <a:gd name="connsiteX1" fmla="*/ 312357 w 444041"/>
                    <a:gd name="connsiteY1" fmla="*/ 72737 h 348312"/>
                    <a:gd name="connsiteX2" fmla="*/ 275330 w 444041"/>
                    <a:gd name="connsiteY2" fmla="*/ 239365 h 348312"/>
                    <a:gd name="connsiteX3" fmla="*/ 145729 w 444041"/>
                    <a:gd name="connsiteY3" fmla="*/ 205423 h 348312"/>
                    <a:gd name="connsiteX4" fmla="*/ 6872 w 444041"/>
                    <a:gd name="connsiteY4" fmla="*/ 248623 h 348312"/>
                    <a:gd name="connsiteX5" fmla="*/ 74758 w 444041"/>
                    <a:gd name="connsiteY5" fmla="*/ 344280 h 348312"/>
                    <a:gd name="connsiteX6" fmla="*/ 303100 w 444041"/>
                    <a:gd name="connsiteY6" fmla="*/ 322680 h 348312"/>
                    <a:gd name="connsiteX7" fmla="*/ 324700 w 444041"/>
                    <a:gd name="connsiteY7" fmla="*/ 297995 h 348312"/>
                    <a:gd name="connsiteX8" fmla="*/ 333957 w 444041"/>
                    <a:gd name="connsiteY8" fmla="*/ 288737 h 348312"/>
                    <a:gd name="connsiteX9" fmla="*/ 432700 w 444041"/>
                    <a:gd name="connsiteY9" fmla="*/ 134451 h 348312"/>
                    <a:gd name="connsiteX10" fmla="*/ 408015 w 444041"/>
                    <a:gd name="connsiteY10" fmla="*/ 4852 h 348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44041" h="348312">
                      <a:moveTo>
                        <a:pt x="408015" y="4852"/>
                      </a:moveTo>
                      <a:cubicBezTo>
                        <a:pt x="364814" y="-16749"/>
                        <a:pt x="327785" y="38794"/>
                        <a:pt x="312357" y="72737"/>
                      </a:cubicBezTo>
                      <a:cubicBezTo>
                        <a:pt x="287672" y="125195"/>
                        <a:pt x="281500" y="183823"/>
                        <a:pt x="275330" y="239365"/>
                      </a:cubicBezTo>
                      <a:cubicBezTo>
                        <a:pt x="235214" y="217766"/>
                        <a:pt x="192015" y="208508"/>
                        <a:pt x="145729" y="205423"/>
                      </a:cubicBezTo>
                      <a:cubicBezTo>
                        <a:pt x="99444" y="202337"/>
                        <a:pt x="31558" y="196166"/>
                        <a:pt x="6872" y="248623"/>
                      </a:cubicBezTo>
                      <a:cubicBezTo>
                        <a:pt x="-17813" y="297995"/>
                        <a:pt x="28473" y="338109"/>
                        <a:pt x="74758" y="344280"/>
                      </a:cubicBezTo>
                      <a:cubicBezTo>
                        <a:pt x="148814" y="356623"/>
                        <a:pt x="232129" y="338109"/>
                        <a:pt x="303100" y="322680"/>
                      </a:cubicBezTo>
                      <a:cubicBezTo>
                        <a:pt x="318529" y="319594"/>
                        <a:pt x="324700" y="307251"/>
                        <a:pt x="324700" y="297995"/>
                      </a:cubicBezTo>
                      <a:cubicBezTo>
                        <a:pt x="327785" y="294909"/>
                        <a:pt x="330872" y="291823"/>
                        <a:pt x="333957" y="288737"/>
                      </a:cubicBezTo>
                      <a:cubicBezTo>
                        <a:pt x="367901" y="239365"/>
                        <a:pt x="411100" y="189995"/>
                        <a:pt x="432700" y="134451"/>
                      </a:cubicBezTo>
                      <a:cubicBezTo>
                        <a:pt x="448129" y="94337"/>
                        <a:pt x="454301" y="29537"/>
                        <a:pt x="408015" y="4852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A34959BC-F529-4AE7-9426-F295156A6C3C}"/>
                </a:ext>
              </a:extLst>
            </p:cNvPr>
            <p:cNvSpPr/>
            <p:nvPr/>
          </p:nvSpPr>
          <p:spPr>
            <a:xfrm>
              <a:off x="22429319" y="9878854"/>
              <a:ext cx="339447" cy="269263"/>
            </a:xfrm>
            <a:custGeom>
              <a:avLst/>
              <a:gdLst>
                <a:gd name="connsiteX0" fmla="*/ 217889 w 339447"/>
                <a:gd name="connsiteY0" fmla="*/ 264071 h 269263"/>
                <a:gd name="connsiteX1" fmla="*/ 220976 w 339447"/>
                <a:gd name="connsiteY1" fmla="*/ 242470 h 269263"/>
                <a:gd name="connsiteX2" fmla="*/ 217889 w 339447"/>
                <a:gd name="connsiteY2" fmla="*/ 236299 h 269263"/>
                <a:gd name="connsiteX3" fmla="*/ 242576 w 339447"/>
                <a:gd name="connsiteY3" fmla="*/ 251728 h 269263"/>
                <a:gd name="connsiteX4" fmla="*/ 295032 w 339447"/>
                <a:gd name="connsiteY4" fmla="*/ 257899 h 269263"/>
                <a:gd name="connsiteX5" fmla="*/ 298119 w 339447"/>
                <a:gd name="connsiteY5" fmla="*/ 251728 h 269263"/>
                <a:gd name="connsiteX6" fmla="*/ 298119 w 339447"/>
                <a:gd name="connsiteY6" fmla="*/ 248642 h 269263"/>
                <a:gd name="connsiteX7" fmla="*/ 332061 w 339447"/>
                <a:gd name="connsiteY7" fmla="*/ 239384 h 269263"/>
                <a:gd name="connsiteX8" fmla="*/ 335148 w 339447"/>
                <a:gd name="connsiteY8" fmla="*/ 208527 h 269263"/>
                <a:gd name="connsiteX9" fmla="*/ 288862 w 339447"/>
                <a:gd name="connsiteY9" fmla="*/ 174585 h 269263"/>
                <a:gd name="connsiteX10" fmla="*/ 220976 w 339447"/>
                <a:gd name="connsiteY10" fmla="*/ 131384 h 269263"/>
                <a:gd name="connsiteX11" fmla="*/ 282690 w 339447"/>
                <a:gd name="connsiteY11" fmla="*/ 146813 h 269263"/>
                <a:gd name="connsiteX12" fmla="*/ 328976 w 339447"/>
                <a:gd name="connsiteY12" fmla="*/ 156071 h 269263"/>
                <a:gd name="connsiteX13" fmla="*/ 319719 w 339447"/>
                <a:gd name="connsiteY13" fmla="*/ 122127 h 269263"/>
                <a:gd name="connsiteX14" fmla="*/ 20404 w 339447"/>
                <a:gd name="connsiteY14" fmla="*/ 14127 h 269263"/>
                <a:gd name="connsiteX15" fmla="*/ 1889 w 339447"/>
                <a:gd name="connsiteY15" fmla="*/ 134470 h 269263"/>
                <a:gd name="connsiteX16" fmla="*/ 106804 w 339447"/>
                <a:gd name="connsiteY16" fmla="*/ 217785 h 269263"/>
                <a:gd name="connsiteX17" fmla="*/ 180862 w 339447"/>
                <a:gd name="connsiteY17" fmla="*/ 254813 h 269263"/>
                <a:gd name="connsiteX18" fmla="*/ 217889 w 339447"/>
                <a:gd name="connsiteY18" fmla="*/ 264071 h 269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9447" h="269263">
                  <a:moveTo>
                    <a:pt x="217889" y="264071"/>
                  </a:moveTo>
                  <a:cubicBezTo>
                    <a:pt x="224061" y="257899"/>
                    <a:pt x="224061" y="248642"/>
                    <a:pt x="220976" y="242470"/>
                  </a:cubicBezTo>
                  <a:cubicBezTo>
                    <a:pt x="220976" y="239384"/>
                    <a:pt x="217889" y="239384"/>
                    <a:pt x="217889" y="236299"/>
                  </a:cubicBezTo>
                  <a:cubicBezTo>
                    <a:pt x="227148" y="242470"/>
                    <a:pt x="233318" y="245556"/>
                    <a:pt x="242576" y="251728"/>
                  </a:cubicBezTo>
                  <a:cubicBezTo>
                    <a:pt x="261090" y="260985"/>
                    <a:pt x="276518" y="264071"/>
                    <a:pt x="295032" y="257899"/>
                  </a:cubicBezTo>
                  <a:cubicBezTo>
                    <a:pt x="298119" y="257899"/>
                    <a:pt x="298119" y="254813"/>
                    <a:pt x="298119" y="251728"/>
                  </a:cubicBezTo>
                  <a:cubicBezTo>
                    <a:pt x="298119" y="251728"/>
                    <a:pt x="298119" y="248642"/>
                    <a:pt x="298119" y="248642"/>
                  </a:cubicBezTo>
                  <a:cubicBezTo>
                    <a:pt x="310460" y="248642"/>
                    <a:pt x="322804" y="248642"/>
                    <a:pt x="332061" y="239384"/>
                  </a:cubicBezTo>
                  <a:cubicBezTo>
                    <a:pt x="341318" y="230127"/>
                    <a:pt x="341318" y="220871"/>
                    <a:pt x="335148" y="208527"/>
                  </a:cubicBezTo>
                  <a:cubicBezTo>
                    <a:pt x="325889" y="193099"/>
                    <a:pt x="301204" y="183842"/>
                    <a:pt x="288862" y="174585"/>
                  </a:cubicBezTo>
                  <a:cubicBezTo>
                    <a:pt x="267262" y="159156"/>
                    <a:pt x="242576" y="143728"/>
                    <a:pt x="220976" y="131384"/>
                  </a:cubicBezTo>
                  <a:cubicBezTo>
                    <a:pt x="242576" y="137556"/>
                    <a:pt x="261090" y="143728"/>
                    <a:pt x="282690" y="146813"/>
                  </a:cubicBezTo>
                  <a:cubicBezTo>
                    <a:pt x="295032" y="149899"/>
                    <a:pt x="316632" y="162241"/>
                    <a:pt x="328976" y="156071"/>
                  </a:cubicBezTo>
                  <a:cubicBezTo>
                    <a:pt x="350576" y="149899"/>
                    <a:pt x="328976" y="128299"/>
                    <a:pt x="319719" y="122127"/>
                  </a:cubicBezTo>
                  <a:cubicBezTo>
                    <a:pt x="264175" y="82014"/>
                    <a:pt x="85204" y="-41415"/>
                    <a:pt x="20404" y="14127"/>
                  </a:cubicBezTo>
                  <a:cubicBezTo>
                    <a:pt x="20404" y="14127"/>
                    <a:pt x="-7368" y="103613"/>
                    <a:pt x="1889" y="134470"/>
                  </a:cubicBezTo>
                  <a:cubicBezTo>
                    <a:pt x="17318" y="180756"/>
                    <a:pt x="66690" y="196184"/>
                    <a:pt x="106804" y="217785"/>
                  </a:cubicBezTo>
                  <a:cubicBezTo>
                    <a:pt x="131489" y="230127"/>
                    <a:pt x="156175" y="242470"/>
                    <a:pt x="180862" y="254813"/>
                  </a:cubicBezTo>
                  <a:cubicBezTo>
                    <a:pt x="190119" y="264071"/>
                    <a:pt x="205547" y="276413"/>
                    <a:pt x="217889" y="264071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5F8B8A8D-B702-4411-866E-B0F346AF4443}"/>
                </a:ext>
              </a:extLst>
            </p:cNvPr>
            <p:cNvSpPr/>
            <p:nvPr/>
          </p:nvSpPr>
          <p:spPr>
            <a:xfrm>
              <a:off x="22486752" y="9886810"/>
              <a:ext cx="143875" cy="157371"/>
            </a:xfrm>
            <a:custGeom>
              <a:avLst/>
              <a:gdLst>
                <a:gd name="connsiteX0" fmla="*/ 111085 w 143875"/>
                <a:gd name="connsiteY0" fmla="*/ 157372 h 157371"/>
                <a:gd name="connsiteX1" fmla="*/ 104913 w 143875"/>
                <a:gd name="connsiteY1" fmla="*/ 157372 h 157371"/>
                <a:gd name="connsiteX2" fmla="*/ 89485 w 143875"/>
                <a:gd name="connsiteY2" fmla="*/ 129600 h 157371"/>
                <a:gd name="connsiteX3" fmla="*/ 52456 w 143875"/>
                <a:gd name="connsiteY3" fmla="*/ 80229 h 157371"/>
                <a:gd name="connsiteX4" fmla="*/ 6170 w 143875"/>
                <a:gd name="connsiteY4" fmla="*/ 104915 h 157371"/>
                <a:gd name="connsiteX5" fmla="*/ 0 w 143875"/>
                <a:gd name="connsiteY5" fmla="*/ 98743 h 157371"/>
                <a:gd name="connsiteX6" fmla="*/ 6170 w 143875"/>
                <a:gd name="connsiteY6" fmla="*/ 92571 h 157371"/>
                <a:gd name="connsiteX7" fmla="*/ 6170 w 143875"/>
                <a:gd name="connsiteY7" fmla="*/ 92571 h 157371"/>
                <a:gd name="connsiteX8" fmla="*/ 43199 w 143875"/>
                <a:gd name="connsiteY8" fmla="*/ 70972 h 157371"/>
                <a:gd name="connsiteX9" fmla="*/ 49371 w 143875"/>
                <a:gd name="connsiteY9" fmla="*/ 67886 h 157371"/>
                <a:gd name="connsiteX10" fmla="*/ 98741 w 143875"/>
                <a:gd name="connsiteY10" fmla="*/ 123429 h 157371"/>
                <a:gd name="connsiteX11" fmla="*/ 108000 w 143875"/>
                <a:gd name="connsiteY11" fmla="*/ 141943 h 157371"/>
                <a:gd name="connsiteX12" fmla="*/ 114170 w 143875"/>
                <a:gd name="connsiteY12" fmla="*/ 138857 h 157371"/>
                <a:gd name="connsiteX13" fmla="*/ 129598 w 143875"/>
                <a:gd name="connsiteY13" fmla="*/ 67886 h 157371"/>
                <a:gd name="connsiteX14" fmla="*/ 40114 w 143875"/>
                <a:gd name="connsiteY14" fmla="*/ 12344 h 157371"/>
                <a:gd name="connsiteX15" fmla="*/ 37027 w 143875"/>
                <a:gd name="connsiteY15" fmla="*/ 6172 h 157371"/>
                <a:gd name="connsiteX16" fmla="*/ 43199 w 143875"/>
                <a:gd name="connsiteY16" fmla="*/ 0 h 157371"/>
                <a:gd name="connsiteX17" fmla="*/ 141942 w 143875"/>
                <a:gd name="connsiteY17" fmla="*/ 64800 h 157371"/>
                <a:gd name="connsiteX18" fmla="*/ 123429 w 143875"/>
                <a:gd name="connsiteY18" fmla="*/ 148115 h 157371"/>
                <a:gd name="connsiteX19" fmla="*/ 111085 w 143875"/>
                <a:gd name="connsiteY19" fmla="*/ 157372 h 15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3875" h="157371">
                  <a:moveTo>
                    <a:pt x="111085" y="157372"/>
                  </a:moveTo>
                  <a:cubicBezTo>
                    <a:pt x="108000" y="157372"/>
                    <a:pt x="108000" y="157372"/>
                    <a:pt x="104913" y="157372"/>
                  </a:cubicBezTo>
                  <a:cubicBezTo>
                    <a:pt x="95656" y="154286"/>
                    <a:pt x="92571" y="141943"/>
                    <a:pt x="89485" y="129600"/>
                  </a:cubicBezTo>
                  <a:cubicBezTo>
                    <a:pt x="83313" y="111086"/>
                    <a:pt x="77143" y="89486"/>
                    <a:pt x="52456" y="80229"/>
                  </a:cubicBezTo>
                  <a:cubicBezTo>
                    <a:pt x="46286" y="86401"/>
                    <a:pt x="24685" y="104915"/>
                    <a:pt x="6170" y="104915"/>
                  </a:cubicBezTo>
                  <a:cubicBezTo>
                    <a:pt x="3085" y="104915"/>
                    <a:pt x="0" y="101829"/>
                    <a:pt x="0" y="98743"/>
                  </a:cubicBezTo>
                  <a:cubicBezTo>
                    <a:pt x="0" y="95657"/>
                    <a:pt x="3085" y="92571"/>
                    <a:pt x="6170" y="92571"/>
                  </a:cubicBezTo>
                  <a:cubicBezTo>
                    <a:pt x="6170" y="92571"/>
                    <a:pt x="6170" y="92571"/>
                    <a:pt x="6170" y="92571"/>
                  </a:cubicBezTo>
                  <a:cubicBezTo>
                    <a:pt x="24685" y="92571"/>
                    <a:pt x="43199" y="70972"/>
                    <a:pt x="43199" y="70972"/>
                  </a:cubicBezTo>
                  <a:cubicBezTo>
                    <a:pt x="43199" y="67886"/>
                    <a:pt x="46286" y="67886"/>
                    <a:pt x="49371" y="67886"/>
                  </a:cubicBezTo>
                  <a:cubicBezTo>
                    <a:pt x="83313" y="77143"/>
                    <a:pt x="89485" y="104915"/>
                    <a:pt x="98741" y="123429"/>
                  </a:cubicBezTo>
                  <a:cubicBezTo>
                    <a:pt x="101828" y="132686"/>
                    <a:pt x="104913" y="141943"/>
                    <a:pt x="108000" y="141943"/>
                  </a:cubicBezTo>
                  <a:cubicBezTo>
                    <a:pt x="108000" y="141943"/>
                    <a:pt x="111085" y="141943"/>
                    <a:pt x="114170" y="138857"/>
                  </a:cubicBezTo>
                  <a:cubicBezTo>
                    <a:pt x="126514" y="129600"/>
                    <a:pt x="135770" y="98743"/>
                    <a:pt x="129598" y="67886"/>
                  </a:cubicBezTo>
                  <a:cubicBezTo>
                    <a:pt x="123429" y="27772"/>
                    <a:pt x="40114" y="12344"/>
                    <a:pt x="40114" y="12344"/>
                  </a:cubicBezTo>
                  <a:cubicBezTo>
                    <a:pt x="37027" y="12344"/>
                    <a:pt x="33942" y="9258"/>
                    <a:pt x="37027" y="6172"/>
                  </a:cubicBezTo>
                  <a:cubicBezTo>
                    <a:pt x="37027" y="3086"/>
                    <a:pt x="40114" y="0"/>
                    <a:pt x="43199" y="0"/>
                  </a:cubicBezTo>
                  <a:cubicBezTo>
                    <a:pt x="46286" y="0"/>
                    <a:pt x="135770" y="15429"/>
                    <a:pt x="141942" y="64800"/>
                  </a:cubicBezTo>
                  <a:cubicBezTo>
                    <a:pt x="148114" y="101829"/>
                    <a:pt x="138857" y="135772"/>
                    <a:pt x="123429" y="148115"/>
                  </a:cubicBezTo>
                  <a:cubicBezTo>
                    <a:pt x="120342" y="154286"/>
                    <a:pt x="114170" y="157372"/>
                    <a:pt x="111085" y="157372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04EBDC38-8245-48DA-A644-2D3623C83ADF}"/>
                </a:ext>
              </a:extLst>
            </p:cNvPr>
            <p:cNvSpPr/>
            <p:nvPr/>
          </p:nvSpPr>
          <p:spPr>
            <a:xfrm>
              <a:off x="21557909" y="8831902"/>
              <a:ext cx="928843" cy="1206108"/>
            </a:xfrm>
            <a:custGeom>
              <a:avLst/>
              <a:gdLst>
                <a:gd name="connsiteX0" fmla="*/ 42 w 928843"/>
                <a:gd name="connsiteY0" fmla="*/ 274223 h 1206108"/>
                <a:gd name="connsiteX1" fmla="*/ 237643 w 928843"/>
                <a:gd name="connsiteY1" fmla="*/ 8851 h 1206108"/>
                <a:gd name="connsiteX2" fmla="*/ 459814 w 928843"/>
                <a:gd name="connsiteY2" fmla="*/ 786451 h 1206108"/>
                <a:gd name="connsiteX3" fmla="*/ 928843 w 928843"/>
                <a:gd name="connsiteY3" fmla="*/ 1073422 h 1206108"/>
                <a:gd name="connsiteX4" fmla="*/ 882558 w 928843"/>
                <a:gd name="connsiteY4" fmla="*/ 1206109 h 1206108"/>
                <a:gd name="connsiteX5" fmla="*/ 240728 w 928843"/>
                <a:gd name="connsiteY5" fmla="*/ 965422 h 1206108"/>
                <a:gd name="connsiteX6" fmla="*/ 42 w 928843"/>
                <a:gd name="connsiteY6" fmla="*/ 274223 h 120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8843" h="1206108">
                  <a:moveTo>
                    <a:pt x="42" y="274223"/>
                  </a:moveTo>
                  <a:cubicBezTo>
                    <a:pt x="3129" y="126108"/>
                    <a:pt x="172843" y="-40520"/>
                    <a:pt x="237643" y="8851"/>
                  </a:cubicBezTo>
                  <a:cubicBezTo>
                    <a:pt x="311701" y="67480"/>
                    <a:pt x="441299" y="783365"/>
                    <a:pt x="459814" y="786451"/>
                  </a:cubicBezTo>
                  <a:cubicBezTo>
                    <a:pt x="465986" y="789537"/>
                    <a:pt x="928843" y="1073422"/>
                    <a:pt x="928843" y="1073422"/>
                  </a:cubicBezTo>
                  <a:cubicBezTo>
                    <a:pt x="904156" y="1128966"/>
                    <a:pt x="882558" y="1206109"/>
                    <a:pt x="882558" y="1206109"/>
                  </a:cubicBezTo>
                  <a:cubicBezTo>
                    <a:pt x="882558" y="1206109"/>
                    <a:pt x="299357" y="1024051"/>
                    <a:pt x="240728" y="965422"/>
                  </a:cubicBezTo>
                  <a:cubicBezTo>
                    <a:pt x="163585" y="891365"/>
                    <a:pt x="-3043" y="462451"/>
                    <a:pt x="42" y="274223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19248CEB-E648-4065-B619-22CD45A05380}"/>
                </a:ext>
              </a:extLst>
            </p:cNvPr>
            <p:cNvSpPr/>
            <p:nvPr/>
          </p:nvSpPr>
          <p:spPr>
            <a:xfrm>
              <a:off x="21469092" y="8527513"/>
              <a:ext cx="456059" cy="618726"/>
            </a:xfrm>
            <a:custGeom>
              <a:avLst/>
              <a:gdLst>
                <a:gd name="connsiteX0" fmla="*/ 64174 w 456059"/>
                <a:gd name="connsiteY0" fmla="*/ 618726 h 618726"/>
                <a:gd name="connsiteX1" fmla="*/ 51830 w 456059"/>
                <a:gd name="connsiteY1" fmla="*/ 10840 h 618726"/>
                <a:gd name="connsiteX2" fmla="*/ 456060 w 456059"/>
                <a:gd name="connsiteY2" fmla="*/ 449012 h 618726"/>
                <a:gd name="connsiteX3" fmla="*/ 64174 w 456059"/>
                <a:gd name="connsiteY3" fmla="*/ 618726 h 61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059" h="618726">
                  <a:moveTo>
                    <a:pt x="64174" y="618726"/>
                  </a:moveTo>
                  <a:cubicBezTo>
                    <a:pt x="64174" y="618726"/>
                    <a:pt x="-71598" y="91069"/>
                    <a:pt x="51830" y="10840"/>
                  </a:cubicBezTo>
                  <a:cubicBezTo>
                    <a:pt x="196859" y="-81731"/>
                    <a:pt x="456060" y="449012"/>
                    <a:pt x="456060" y="449012"/>
                  </a:cubicBezTo>
                  <a:cubicBezTo>
                    <a:pt x="456060" y="449012"/>
                    <a:pt x="280174" y="600212"/>
                    <a:pt x="64174" y="618726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F3697940-5368-4B60-8B78-64D86074964B}"/>
                </a:ext>
              </a:extLst>
            </p:cNvPr>
            <p:cNvSpPr/>
            <p:nvPr/>
          </p:nvSpPr>
          <p:spPr>
            <a:xfrm>
              <a:off x="21295665" y="10263267"/>
              <a:ext cx="737486" cy="2172342"/>
            </a:xfrm>
            <a:custGeom>
              <a:avLst/>
              <a:gdLst>
                <a:gd name="connsiteX0" fmla="*/ 737487 w 737486"/>
                <a:gd name="connsiteY0" fmla="*/ 2024229 h 2172342"/>
                <a:gd name="connsiteX1" fmla="*/ 552344 w 737486"/>
                <a:gd name="connsiteY1" fmla="*/ 916458 h 2172342"/>
                <a:gd name="connsiteX2" fmla="*/ 357944 w 737486"/>
                <a:gd name="connsiteY2" fmla="*/ 0 h 2172342"/>
                <a:gd name="connsiteX3" fmla="*/ 0 w 737486"/>
                <a:gd name="connsiteY3" fmla="*/ 231429 h 2172342"/>
                <a:gd name="connsiteX4" fmla="*/ 234515 w 737486"/>
                <a:gd name="connsiteY4" fmla="*/ 1061486 h 2172342"/>
                <a:gd name="connsiteX5" fmla="*/ 617143 w 737486"/>
                <a:gd name="connsiteY5" fmla="*/ 2172343 h 2172342"/>
                <a:gd name="connsiteX6" fmla="*/ 737487 w 737486"/>
                <a:gd name="connsiteY6" fmla="*/ 2024229 h 217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486" h="2172342">
                  <a:moveTo>
                    <a:pt x="737487" y="2024229"/>
                  </a:moveTo>
                  <a:cubicBezTo>
                    <a:pt x="737487" y="2024229"/>
                    <a:pt x="564685" y="956571"/>
                    <a:pt x="552344" y="916458"/>
                  </a:cubicBezTo>
                  <a:cubicBezTo>
                    <a:pt x="540000" y="876343"/>
                    <a:pt x="357944" y="0"/>
                    <a:pt x="357944" y="0"/>
                  </a:cubicBezTo>
                  <a:lnTo>
                    <a:pt x="0" y="231429"/>
                  </a:lnTo>
                  <a:cubicBezTo>
                    <a:pt x="0" y="231429"/>
                    <a:pt x="188230" y="956571"/>
                    <a:pt x="234515" y="1061486"/>
                  </a:cubicBezTo>
                  <a:cubicBezTo>
                    <a:pt x="253029" y="1101600"/>
                    <a:pt x="617143" y="2172343"/>
                    <a:pt x="617143" y="2172343"/>
                  </a:cubicBezTo>
                  <a:lnTo>
                    <a:pt x="737487" y="2024229"/>
                  </a:ln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652CF80F-FC5E-47EB-8DF2-F0AC4A142DB2}"/>
                </a:ext>
              </a:extLst>
            </p:cNvPr>
            <p:cNvSpPr/>
            <p:nvPr/>
          </p:nvSpPr>
          <p:spPr>
            <a:xfrm>
              <a:off x="20697038" y="10426810"/>
              <a:ext cx="410399" cy="1996457"/>
            </a:xfrm>
            <a:custGeom>
              <a:avLst/>
              <a:gdLst>
                <a:gd name="connsiteX0" fmla="*/ 52456 w 410399"/>
                <a:gd name="connsiteY0" fmla="*/ 1996458 h 1996457"/>
                <a:gd name="connsiteX1" fmla="*/ 98741 w 410399"/>
                <a:gd name="connsiteY1" fmla="*/ 1024458 h 1996457"/>
                <a:gd name="connsiteX2" fmla="*/ 0 w 410399"/>
                <a:gd name="connsiteY2" fmla="*/ 24686 h 1996457"/>
                <a:gd name="connsiteX3" fmla="*/ 410400 w 410399"/>
                <a:gd name="connsiteY3" fmla="*/ 0 h 1996457"/>
                <a:gd name="connsiteX4" fmla="*/ 394971 w 410399"/>
                <a:gd name="connsiteY4" fmla="*/ 1012115 h 1996457"/>
                <a:gd name="connsiteX5" fmla="*/ 200571 w 410399"/>
                <a:gd name="connsiteY5" fmla="*/ 1965600 h 1996457"/>
                <a:gd name="connsiteX6" fmla="*/ 52456 w 410399"/>
                <a:gd name="connsiteY6" fmla="*/ 1996458 h 1996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0399" h="1996457">
                  <a:moveTo>
                    <a:pt x="52456" y="1996458"/>
                  </a:moveTo>
                  <a:cubicBezTo>
                    <a:pt x="52456" y="1996458"/>
                    <a:pt x="101828" y="1055315"/>
                    <a:pt x="98741" y="1024458"/>
                  </a:cubicBezTo>
                  <a:cubicBezTo>
                    <a:pt x="95656" y="993600"/>
                    <a:pt x="0" y="24686"/>
                    <a:pt x="0" y="24686"/>
                  </a:cubicBezTo>
                  <a:lnTo>
                    <a:pt x="410400" y="0"/>
                  </a:lnTo>
                  <a:cubicBezTo>
                    <a:pt x="410400" y="0"/>
                    <a:pt x="401143" y="938058"/>
                    <a:pt x="394971" y="1012115"/>
                  </a:cubicBezTo>
                  <a:cubicBezTo>
                    <a:pt x="385714" y="1086172"/>
                    <a:pt x="200571" y="1965600"/>
                    <a:pt x="200571" y="1965600"/>
                  </a:cubicBezTo>
                  <a:lnTo>
                    <a:pt x="52456" y="1996458"/>
                  </a:ln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" name="图形 1">
              <a:extLst>
                <a:ext uri="{FF2B5EF4-FFF2-40B4-BE49-F238E27FC236}">
                  <a16:creationId xmlns:a16="http://schemas.microsoft.com/office/drawing/2014/main" id="{065C7CD7-FE36-45C7-A077-3D961CE830D5}"/>
                </a:ext>
              </a:extLst>
            </p:cNvPr>
            <p:cNvGrpSpPr/>
            <p:nvPr/>
          </p:nvGrpSpPr>
          <p:grpSpPr>
            <a:xfrm>
              <a:off x="21866522" y="12253553"/>
              <a:ext cx="524694" cy="260273"/>
              <a:chOff x="21866522" y="12253553"/>
              <a:chExt cx="524694" cy="260273"/>
            </a:xfrm>
          </p:grpSpPr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A8E2BF0A-971B-413E-A037-E2AC2CF92D49}"/>
                  </a:ext>
                </a:extLst>
              </p:cNvPr>
              <p:cNvSpPr/>
              <p:nvPr/>
            </p:nvSpPr>
            <p:spPr>
              <a:xfrm>
                <a:off x="21872694" y="12256639"/>
                <a:ext cx="502971" cy="216000"/>
              </a:xfrm>
              <a:custGeom>
                <a:avLst/>
                <a:gdLst>
                  <a:gd name="connsiteX0" fmla="*/ 0 w 502971"/>
                  <a:gd name="connsiteY0" fmla="*/ 108000 h 216000"/>
                  <a:gd name="connsiteX1" fmla="*/ 160458 w 502971"/>
                  <a:gd name="connsiteY1" fmla="*/ 0 h 216000"/>
                  <a:gd name="connsiteX2" fmla="*/ 314743 w 502971"/>
                  <a:gd name="connsiteY2" fmla="*/ 30857 h 216000"/>
                  <a:gd name="connsiteX3" fmla="*/ 502971 w 502971"/>
                  <a:gd name="connsiteY3" fmla="*/ 49372 h 216000"/>
                  <a:gd name="connsiteX4" fmla="*/ 37029 w 502971"/>
                  <a:gd name="connsiteY4" fmla="*/ 216000 h 216000"/>
                  <a:gd name="connsiteX5" fmla="*/ 0 w 502971"/>
                  <a:gd name="connsiteY5" fmla="*/ 108000 h 216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2971" h="216000">
                    <a:moveTo>
                      <a:pt x="0" y="108000"/>
                    </a:moveTo>
                    <a:cubicBezTo>
                      <a:pt x="0" y="108000"/>
                      <a:pt x="123429" y="83314"/>
                      <a:pt x="160458" y="0"/>
                    </a:cubicBezTo>
                    <a:cubicBezTo>
                      <a:pt x="160458" y="0"/>
                      <a:pt x="268458" y="37028"/>
                      <a:pt x="314743" y="30857"/>
                    </a:cubicBezTo>
                    <a:cubicBezTo>
                      <a:pt x="361029" y="24685"/>
                      <a:pt x="465942" y="-15429"/>
                      <a:pt x="502971" y="49372"/>
                    </a:cubicBezTo>
                    <a:lnTo>
                      <a:pt x="37029" y="216000"/>
                    </a:lnTo>
                    <a:cubicBezTo>
                      <a:pt x="37029" y="212914"/>
                      <a:pt x="0" y="160457"/>
                      <a:pt x="0" y="108000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B40D2CED-BF92-4B5B-B523-3707A28CC84C}"/>
                  </a:ext>
                </a:extLst>
              </p:cNvPr>
              <p:cNvSpPr/>
              <p:nvPr/>
            </p:nvSpPr>
            <p:spPr>
              <a:xfrm rot="-1175784">
                <a:off x="21904028" y="12386084"/>
                <a:ext cx="493725" cy="46286"/>
              </a:xfrm>
              <a:custGeom>
                <a:avLst/>
                <a:gdLst>
                  <a:gd name="connsiteX0" fmla="*/ 0 w 493725"/>
                  <a:gd name="connsiteY0" fmla="*/ 0 h 46286"/>
                  <a:gd name="connsiteX1" fmla="*/ 493726 w 493725"/>
                  <a:gd name="connsiteY1" fmla="*/ 0 h 46286"/>
                  <a:gd name="connsiteX2" fmla="*/ 493726 w 493725"/>
                  <a:gd name="connsiteY2" fmla="*/ 46286 h 46286"/>
                  <a:gd name="connsiteX3" fmla="*/ 0 w 493725"/>
                  <a:gd name="connsiteY3" fmla="*/ 46286 h 46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725" h="46286">
                    <a:moveTo>
                      <a:pt x="0" y="0"/>
                    </a:moveTo>
                    <a:lnTo>
                      <a:pt x="493726" y="0"/>
                    </a:lnTo>
                    <a:lnTo>
                      <a:pt x="493726" y="46286"/>
                    </a:lnTo>
                    <a:lnTo>
                      <a:pt x="0" y="46286"/>
                    </a:lnTo>
                    <a:close/>
                  </a:path>
                </a:pathLst>
              </a:custGeom>
              <a:solidFill>
                <a:srgbClr val="38333D"/>
              </a:solidFill>
              <a:ln w="308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55FE5FC8-A1EB-4E0B-9373-796839F135FE}"/>
                  </a:ext>
                </a:extLst>
              </p:cNvPr>
              <p:cNvSpPr/>
              <p:nvPr/>
            </p:nvSpPr>
            <p:spPr>
              <a:xfrm>
                <a:off x="21866522" y="12253553"/>
                <a:ext cx="172801" cy="117256"/>
              </a:xfrm>
              <a:custGeom>
                <a:avLst/>
                <a:gdLst>
                  <a:gd name="connsiteX0" fmla="*/ 6172 w 172801"/>
                  <a:gd name="connsiteY0" fmla="*/ 117257 h 117256"/>
                  <a:gd name="connsiteX1" fmla="*/ 0 w 172801"/>
                  <a:gd name="connsiteY1" fmla="*/ 114172 h 117256"/>
                  <a:gd name="connsiteX2" fmla="*/ 3087 w 172801"/>
                  <a:gd name="connsiteY2" fmla="*/ 108000 h 117256"/>
                  <a:gd name="connsiteX3" fmla="*/ 160458 w 172801"/>
                  <a:gd name="connsiteY3" fmla="*/ 3086 h 117256"/>
                  <a:gd name="connsiteX4" fmla="*/ 169714 w 172801"/>
                  <a:gd name="connsiteY4" fmla="*/ 0 h 117256"/>
                  <a:gd name="connsiteX5" fmla="*/ 172801 w 172801"/>
                  <a:gd name="connsiteY5" fmla="*/ 9257 h 117256"/>
                  <a:gd name="connsiteX6" fmla="*/ 6172 w 172801"/>
                  <a:gd name="connsiteY6" fmla="*/ 117257 h 117256"/>
                  <a:gd name="connsiteX7" fmla="*/ 6172 w 172801"/>
                  <a:gd name="connsiteY7" fmla="*/ 117257 h 117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2801" h="117256">
                    <a:moveTo>
                      <a:pt x="6172" y="117257"/>
                    </a:moveTo>
                    <a:cubicBezTo>
                      <a:pt x="3087" y="117257"/>
                      <a:pt x="0" y="114172"/>
                      <a:pt x="0" y="114172"/>
                    </a:cubicBezTo>
                    <a:cubicBezTo>
                      <a:pt x="0" y="111086"/>
                      <a:pt x="0" y="108000"/>
                      <a:pt x="3087" y="108000"/>
                    </a:cubicBezTo>
                    <a:cubicBezTo>
                      <a:pt x="3087" y="108000"/>
                      <a:pt x="117257" y="83315"/>
                      <a:pt x="160458" y="3086"/>
                    </a:cubicBezTo>
                    <a:cubicBezTo>
                      <a:pt x="160458" y="0"/>
                      <a:pt x="166629" y="0"/>
                      <a:pt x="169714" y="0"/>
                    </a:cubicBezTo>
                    <a:cubicBezTo>
                      <a:pt x="172801" y="0"/>
                      <a:pt x="172801" y="6172"/>
                      <a:pt x="172801" y="9257"/>
                    </a:cubicBezTo>
                    <a:cubicBezTo>
                      <a:pt x="123429" y="92571"/>
                      <a:pt x="12344" y="114172"/>
                      <a:pt x="6172" y="117257"/>
                    </a:cubicBezTo>
                    <a:cubicBezTo>
                      <a:pt x="6172" y="117257"/>
                      <a:pt x="6172" y="117257"/>
                      <a:pt x="6172" y="11725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6944CA84-9A63-4366-B53F-26F13D59D581}"/>
                  </a:ext>
                </a:extLst>
              </p:cNvPr>
              <p:cNvSpPr/>
              <p:nvPr/>
            </p:nvSpPr>
            <p:spPr>
              <a:xfrm>
                <a:off x="22054752" y="12262810"/>
                <a:ext cx="24685" cy="46285"/>
              </a:xfrm>
              <a:custGeom>
                <a:avLst/>
                <a:gdLst>
                  <a:gd name="connsiteX0" fmla="*/ 6170 w 24685"/>
                  <a:gd name="connsiteY0" fmla="*/ 46286 h 46285"/>
                  <a:gd name="connsiteX1" fmla="*/ 6170 w 24685"/>
                  <a:gd name="connsiteY1" fmla="*/ 46286 h 46285"/>
                  <a:gd name="connsiteX2" fmla="*/ 0 w 24685"/>
                  <a:gd name="connsiteY2" fmla="*/ 37029 h 46285"/>
                  <a:gd name="connsiteX3" fmla="*/ 15429 w 24685"/>
                  <a:gd name="connsiteY3" fmla="*/ 3086 h 46285"/>
                  <a:gd name="connsiteX4" fmla="*/ 21598 w 24685"/>
                  <a:gd name="connsiteY4" fmla="*/ 0 h 46285"/>
                  <a:gd name="connsiteX5" fmla="*/ 24685 w 24685"/>
                  <a:gd name="connsiteY5" fmla="*/ 6172 h 46285"/>
                  <a:gd name="connsiteX6" fmla="*/ 9257 w 24685"/>
                  <a:gd name="connsiteY6" fmla="*/ 40115 h 46285"/>
                  <a:gd name="connsiteX7" fmla="*/ 6170 w 24685"/>
                  <a:gd name="connsiteY7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685" h="46285">
                    <a:moveTo>
                      <a:pt x="6170" y="46286"/>
                    </a:moveTo>
                    <a:cubicBezTo>
                      <a:pt x="6170" y="46286"/>
                      <a:pt x="3085" y="46286"/>
                      <a:pt x="6170" y="46286"/>
                    </a:cubicBezTo>
                    <a:cubicBezTo>
                      <a:pt x="0" y="43201"/>
                      <a:pt x="0" y="40115"/>
                      <a:pt x="0" y="37029"/>
                    </a:cubicBezTo>
                    <a:lnTo>
                      <a:pt x="15429" y="3086"/>
                    </a:lnTo>
                    <a:cubicBezTo>
                      <a:pt x="15429" y="0"/>
                      <a:pt x="21598" y="0"/>
                      <a:pt x="21598" y="0"/>
                    </a:cubicBezTo>
                    <a:cubicBezTo>
                      <a:pt x="24685" y="0"/>
                      <a:pt x="24685" y="6172"/>
                      <a:pt x="24685" y="6172"/>
                    </a:cubicBezTo>
                    <a:lnTo>
                      <a:pt x="9257" y="40115"/>
                    </a:lnTo>
                    <a:cubicBezTo>
                      <a:pt x="9257" y="46286"/>
                      <a:pt x="9257" y="46286"/>
                      <a:pt x="6170" y="4628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F5D605D0-DBA0-4499-8B89-B8A3090D4318}"/>
                  </a:ext>
                </a:extLst>
              </p:cNvPr>
              <p:cNvSpPr/>
              <p:nvPr/>
            </p:nvSpPr>
            <p:spPr>
              <a:xfrm>
                <a:off x="22101038" y="12275153"/>
                <a:ext cx="24685" cy="46285"/>
              </a:xfrm>
              <a:custGeom>
                <a:avLst/>
                <a:gdLst>
                  <a:gd name="connsiteX0" fmla="*/ 6170 w 24685"/>
                  <a:gd name="connsiteY0" fmla="*/ 46286 h 46285"/>
                  <a:gd name="connsiteX1" fmla="*/ 6170 w 24685"/>
                  <a:gd name="connsiteY1" fmla="*/ 46286 h 46285"/>
                  <a:gd name="connsiteX2" fmla="*/ 0 w 24685"/>
                  <a:gd name="connsiteY2" fmla="*/ 37028 h 46285"/>
                  <a:gd name="connsiteX3" fmla="*/ 15429 w 24685"/>
                  <a:gd name="connsiteY3" fmla="*/ 3085 h 46285"/>
                  <a:gd name="connsiteX4" fmla="*/ 21598 w 24685"/>
                  <a:gd name="connsiteY4" fmla="*/ 0 h 46285"/>
                  <a:gd name="connsiteX5" fmla="*/ 24685 w 24685"/>
                  <a:gd name="connsiteY5" fmla="*/ 6171 h 46285"/>
                  <a:gd name="connsiteX6" fmla="*/ 9257 w 24685"/>
                  <a:gd name="connsiteY6" fmla="*/ 40114 h 46285"/>
                  <a:gd name="connsiteX7" fmla="*/ 6170 w 24685"/>
                  <a:gd name="connsiteY7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685" h="46285">
                    <a:moveTo>
                      <a:pt x="6170" y="46286"/>
                    </a:moveTo>
                    <a:cubicBezTo>
                      <a:pt x="3085" y="46286"/>
                      <a:pt x="3085" y="46286"/>
                      <a:pt x="6170" y="46286"/>
                    </a:cubicBezTo>
                    <a:cubicBezTo>
                      <a:pt x="0" y="43200"/>
                      <a:pt x="0" y="40114"/>
                      <a:pt x="0" y="37028"/>
                    </a:cubicBezTo>
                    <a:lnTo>
                      <a:pt x="15429" y="3085"/>
                    </a:lnTo>
                    <a:cubicBezTo>
                      <a:pt x="15429" y="0"/>
                      <a:pt x="21598" y="0"/>
                      <a:pt x="21598" y="0"/>
                    </a:cubicBezTo>
                    <a:cubicBezTo>
                      <a:pt x="24685" y="0"/>
                      <a:pt x="24685" y="6171"/>
                      <a:pt x="24685" y="6171"/>
                    </a:cubicBezTo>
                    <a:lnTo>
                      <a:pt x="9257" y="40114"/>
                    </a:lnTo>
                    <a:cubicBezTo>
                      <a:pt x="9257" y="46286"/>
                      <a:pt x="6170" y="46286"/>
                      <a:pt x="6170" y="4628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图形 1">
              <a:extLst>
                <a:ext uri="{FF2B5EF4-FFF2-40B4-BE49-F238E27FC236}">
                  <a16:creationId xmlns:a16="http://schemas.microsoft.com/office/drawing/2014/main" id="{45A52001-C865-48BA-A4EB-255486B0FD3D}"/>
                </a:ext>
              </a:extLst>
            </p:cNvPr>
            <p:cNvGrpSpPr/>
            <p:nvPr/>
          </p:nvGrpSpPr>
          <p:grpSpPr>
            <a:xfrm>
              <a:off x="20728922" y="12328382"/>
              <a:ext cx="501943" cy="215228"/>
              <a:chOff x="20728922" y="12328382"/>
              <a:chExt cx="501943" cy="215228"/>
            </a:xfrm>
          </p:grpSpPr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2621C6D9-3A03-40F3-AC2F-FC08181EBB77}"/>
                  </a:ext>
                </a:extLst>
              </p:cNvPr>
              <p:cNvSpPr/>
              <p:nvPr/>
            </p:nvSpPr>
            <p:spPr>
              <a:xfrm>
                <a:off x="20728922" y="12336868"/>
                <a:ext cx="501943" cy="160456"/>
              </a:xfrm>
              <a:custGeom>
                <a:avLst/>
                <a:gdLst>
                  <a:gd name="connsiteX0" fmla="*/ 8229 w 501943"/>
                  <a:gd name="connsiteY0" fmla="*/ 46286 h 160456"/>
                  <a:gd name="connsiteX1" fmla="*/ 196457 w 501943"/>
                  <a:gd name="connsiteY1" fmla="*/ 0 h 160456"/>
                  <a:gd name="connsiteX2" fmla="*/ 332229 w 501943"/>
                  <a:gd name="connsiteY2" fmla="*/ 80228 h 160456"/>
                  <a:gd name="connsiteX3" fmla="*/ 501943 w 501943"/>
                  <a:gd name="connsiteY3" fmla="*/ 160457 h 160456"/>
                  <a:gd name="connsiteX4" fmla="*/ 8229 w 501943"/>
                  <a:gd name="connsiteY4" fmla="*/ 160457 h 160456"/>
                  <a:gd name="connsiteX5" fmla="*/ 8229 w 501943"/>
                  <a:gd name="connsiteY5" fmla="*/ 46286 h 16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943" h="160456">
                    <a:moveTo>
                      <a:pt x="8229" y="46286"/>
                    </a:moveTo>
                    <a:cubicBezTo>
                      <a:pt x="8229" y="46286"/>
                      <a:pt x="134743" y="64799"/>
                      <a:pt x="196457" y="0"/>
                    </a:cubicBezTo>
                    <a:cubicBezTo>
                      <a:pt x="196457" y="0"/>
                      <a:pt x="285943" y="70971"/>
                      <a:pt x="332229" y="80228"/>
                    </a:cubicBezTo>
                    <a:cubicBezTo>
                      <a:pt x="378515" y="89486"/>
                      <a:pt x="489600" y="86400"/>
                      <a:pt x="501943" y="160457"/>
                    </a:cubicBezTo>
                    <a:lnTo>
                      <a:pt x="8229" y="160457"/>
                    </a:lnTo>
                    <a:cubicBezTo>
                      <a:pt x="8229" y="160457"/>
                      <a:pt x="-10286" y="98742"/>
                      <a:pt x="8229" y="46286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2AE20772-AF1A-4D03-94F8-AAD9FC3C9402}"/>
                  </a:ext>
                </a:extLst>
              </p:cNvPr>
              <p:cNvSpPr/>
              <p:nvPr/>
            </p:nvSpPr>
            <p:spPr>
              <a:xfrm>
                <a:off x="20737151" y="12497325"/>
                <a:ext cx="493714" cy="46285"/>
              </a:xfrm>
              <a:custGeom>
                <a:avLst/>
                <a:gdLst>
                  <a:gd name="connsiteX0" fmla="*/ 0 w 493714"/>
                  <a:gd name="connsiteY0" fmla="*/ 0 h 46285"/>
                  <a:gd name="connsiteX1" fmla="*/ 493715 w 493714"/>
                  <a:gd name="connsiteY1" fmla="*/ 0 h 46285"/>
                  <a:gd name="connsiteX2" fmla="*/ 493715 w 493714"/>
                  <a:gd name="connsiteY2" fmla="*/ 46286 h 46285"/>
                  <a:gd name="connsiteX3" fmla="*/ 0 w 493714"/>
                  <a:gd name="connsiteY3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714" h="46285">
                    <a:moveTo>
                      <a:pt x="0" y="0"/>
                    </a:moveTo>
                    <a:lnTo>
                      <a:pt x="493715" y="0"/>
                    </a:lnTo>
                    <a:lnTo>
                      <a:pt x="493715" y="46286"/>
                    </a:lnTo>
                    <a:lnTo>
                      <a:pt x="0" y="46286"/>
                    </a:ln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CAF5C543-369B-483E-BABB-B35C8E1FBD82}"/>
                  </a:ext>
                </a:extLst>
              </p:cNvPr>
              <p:cNvSpPr/>
              <p:nvPr/>
            </p:nvSpPr>
            <p:spPr>
              <a:xfrm>
                <a:off x="20730980" y="12328382"/>
                <a:ext cx="202885" cy="64028"/>
              </a:xfrm>
              <a:custGeom>
                <a:avLst/>
                <a:gdLst>
                  <a:gd name="connsiteX0" fmla="*/ 43201 w 202885"/>
                  <a:gd name="connsiteY0" fmla="*/ 64029 h 64028"/>
                  <a:gd name="connsiteX1" fmla="*/ 6172 w 202885"/>
                  <a:gd name="connsiteY1" fmla="*/ 60943 h 64028"/>
                  <a:gd name="connsiteX2" fmla="*/ 0 w 202885"/>
                  <a:gd name="connsiteY2" fmla="*/ 54772 h 64028"/>
                  <a:gd name="connsiteX3" fmla="*/ 6172 w 202885"/>
                  <a:gd name="connsiteY3" fmla="*/ 48600 h 64028"/>
                  <a:gd name="connsiteX4" fmla="*/ 191315 w 202885"/>
                  <a:gd name="connsiteY4" fmla="*/ 2314 h 64028"/>
                  <a:gd name="connsiteX5" fmla="*/ 200571 w 202885"/>
                  <a:gd name="connsiteY5" fmla="*/ 2314 h 64028"/>
                  <a:gd name="connsiteX6" fmla="*/ 200571 w 202885"/>
                  <a:gd name="connsiteY6" fmla="*/ 11571 h 64028"/>
                  <a:gd name="connsiteX7" fmla="*/ 43201 w 202885"/>
                  <a:gd name="connsiteY7" fmla="*/ 64029 h 6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885" h="64028">
                    <a:moveTo>
                      <a:pt x="43201" y="64029"/>
                    </a:moveTo>
                    <a:cubicBezTo>
                      <a:pt x="21600" y="64029"/>
                      <a:pt x="9257" y="60943"/>
                      <a:pt x="6172" y="60943"/>
                    </a:cubicBezTo>
                    <a:cubicBezTo>
                      <a:pt x="3085" y="60943"/>
                      <a:pt x="0" y="57857"/>
                      <a:pt x="0" y="54772"/>
                    </a:cubicBezTo>
                    <a:cubicBezTo>
                      <a:pt x="0" y="51686"/>
                      <a:pt x="3085" y="48600"/>
                      <a:pt x="6172" y="48600"/>
                    </a:cubicBezTo>
                    <a:cubicBezTo>
                      <a:pt x="6172" y="48600"/>
                      <a:pt x="120344" y="64029"/>
                      <a:pt x="191315" y="2314"/>
                    </a:cubicBezTo>
                    <a:cubicBezTo>
                      <a:pt x="194400" y="-771"/>
                      <a:pt x="197486" y="-771"/>
                      <a:pt x="200571" y="2314"/>
                    </a:cubicBezTo>
                    <a:cubicBezTo>
                      <a:pt x="203656" y="5400"/>
                      <a:pt x="203656" y="8486"/>
                      <a:pt x="200571" y="11571"/>
                    </a:cubicBezTo>
                    <a:cubicBezTo>
                      <a:pt x="151201" y="54772"/>
                      <a:pt x="83315" y="64029"/>
                      <a:pt x="43201" y="640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326366CC-81E7-43AE-997E-7948BA6DC5FF}"/>
                  </a:ext>
                </a:extLst>
              </p:cNvPr>
              <p:cNvSpPr/>
              <p:nvPr/>
            </p:nvSpPr>
            <p:spPr>
              <a:xfrm>
                <a:off x="20929237" y="12353068"/>
                <a:ext cx="41656" cy="42428"/>
              </a:xfrm>
              <a:custGeom>
                <a:avLst/>
                <a:gdLst>
                  <a:gd name="connsiteX0" fmla="*/ 5399 w 41656"/>
                  <a:gd name="connsiteY0" fmla="*/ 42429 h 42428"/>
                  <a:gd name="connsiteX1" fmla="*/ 2314 w 41656"/>
                  <a:gd name="connsiteY1" fmla="*/ 39343 h 42428"/>
                  <a:gd name="connsiteX2" fmla="*/ 2314 w 41656"/>
                  <a:gd name="connsiteY2" fmla="*/ 30086 h 42428"/>
                  <a:gd name="connsiteX3" fmla="*/ 30086 w 41656"/>
                  <a:gd name="connsiteY3" fmla="*/ 2314 h 42428"/>
                  <a:gd name="connsiteX4" fmla="*/ 39343 w 41656"/>
                  <a:gd name="connsiteY4" fmla="*/ 2314 h 42428"/>
                  <a:gd name="connsiteX5" fmla="*/ 39343 w 41656"/>
                  <a:gd name="connsiteY5" fmla="*/ 11571 h 42428"/>
                  <a:gd name="connsiteX6" fmla="*/ 11570 w 41656"/>
                  <a:gd name="connsiteY6" fmla="*/ 39343 h 42428"/>
                  <a:gd name="connsiteX7" fmla="*/ 5399 w 41656"/>
                  <a:gd name="connsiteY7" fmla="*/ 42429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6" h="42428">
                    <a:moveTo>
                      <a:pt x="5399" y="42429"/>
                    </a:moveTo>
                    <a:cubicBezTo>
                      <a:pt x="5399" y="42429"/>
                      <a:pt x="2314" y="42429"/>
                      <a:pt x="2314" y="39343"/>
                    </a:cubicBezTo>
                    <a:cubicBezTo>
                      <a:pt x="-771" y="36257"/>
                      <a:pt x="-771" y="33171"/>
                      <a:pt x="2314" y="30086"/>
                    </a:cubicBezTo>
                    <a:lnTo>
                      <a:pt x="30086" y="2314"/>
                    </a:lnTo>
                    <a:cubicBezTo>
                      <a:pt x="33171" y="-771"/>
                      <a:pt x="36256" y="-771"/>
                      <a:pt x="39343" y="2314"/>
                    </a:cubicBezTo>
                    <a:cubicBezTo>
                      <a:pt x="42428" y="5400"/>
                      <a:pt x="42428" y="8486"/>
                      <a:pt x="39343" y="11571"/>
                    </a:cubicBezTo>
                    <a:lnTo>
                      <a:pt x="11570" y="39343"/>
                    </a:lnTo>
                    <a:cubicBezTo>
                      <a:pt x="8486" y="42429"/>
                      <a:pt x="8486" y="42429"/>
                      <a:pt x="5399" y="424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DAE96347-79B4-441D-A528-2DDAF9AE2941}"/>
                  </a:ext>
                </a:extLst>
              </p:cNvPr>
              <p:cNvSpPr/>
              <p:nvPr/>
            </p:nvSpPr>
            <p:spPr>
              <a:xfrm>
                <a:off x="20969351" y="12380839"/>
                <a:ext cx="38571" cy="42428"/>
              </a:xfrm>
              <a:custGeom>
                <a:avLst/>
                <a:gdLst>
                  <a:gd name="connsiteX0" fmla="*/ 5401 w 38571"/>
                  <a:gd name="connsiteY0" fmla="*/ 42428 h 42428"/>
                  <a:gd name="connsiteX1" fmla="*/ 2314 w 38571"/>
                  <a:gd name="connsiteY1" fmla="*/ 39342 h 42428"/>
                  <a:gd name="connsiteX2" fmla="*/ 2314 w 38571"/>
                  <a:gd name="connsiteY2" fmla="*/ 30086 h 42428"/>
                  <a:gd name="connsiteX3" fmla="*/ 26999 w 38571"/>
                  <a:gd name="connsiteY3" fmla="*/ 2314 h 42428"/>
                  <a:gd name="connsiteX4" fmla="*/ 36258 w 38571"/>
                  <a:gd name="connsiteY4" fmla="*/ 2314 h 42428"/>
                  <a:gd name="connsiteX5" fmla="*/ 36258 w 38571"/>
                  <a:gd name="connsiteY5" fmla="*/ 11571 h 42428"/>
                  <a:gd name="connsiteX6" fmla="*/ 11570 w 38571"/>
                  <a:gd name="connsiteY6" fmla="*/ 39342 h 42428"/>
                  <a:gd name="connsiteX7" fmla="*/ 5401 w 38571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571" h="42428">
                    <a:moveTo>
                      <a:pt x="5401" y="42428"/>
                    </a:moveTo>
                    <a:cubicBezTo>
                      <a:pt x="5401" y="42428"/>
                      <a:pt x="2314" y="42428"/>
                      <a:pt x="2314" y="39342"/>
                    </a:cubicBezTo>
                    <a:cubicBezTo>
                      <a:pt x="-771" y="36257"/>
                      <a:pt x="-771" y="33172"/>
                      <a:pt x="2314" y="30086"/>
                    </a:cubicBezTo>
                    <a:lnTo>
                      <a:pt x="26999" y="2314"/>
                    </a:lnTo>
                    <a:cubicBezTo>
                      <a:pt x="30086" y="-771"/>
                      <a:pt x="33171" y="-771"/>
                      <a:pt x="36258" y="2314"/>
                    </a:cubicBezTo>
                    <a:cubicBezTo>
                      <a:pt x="39343" y="5399"/>
                      <a:pt x="39343" y="8485"/>
                      <a:pt x="36258" y="11571"/>
                    </a:cubicBezTo>
                    <a:lnTo>
                      <a:pt x="11570" y="39342"/>
                    </a:lnTo>
                    <a:cubicBezTo>
                      <a:pt x="8486" y="42428"/>
                      <a:pt x="5401" y="42428"/>
                      <a:pt x="5401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A8EB9FE5-E389-460E-BB0E-0F1E0E32868C}"/>
                </a:ext>
              </a:extLst>
            </p:cNvPr>
            <p:cNvSpPr/>
            <p:nvPr/>
          </p:nvSpPr>
          <p:spPr>
            <a:xfrm>
              <a:off x="20632126" y="9954696"/>
              <a:ext cx="1249824" cy="1398171"/>
            </a:xfrm>
            <a:custGeom>
              <a:avLst/>
              <a:gdLst>
                <a:gd name="connsiteX0" fmla="*/ 1049253 w 1249824"/>
                <a:gd name="connsiteY0" fmla="*/ 21600 h 1398171"/>
                <a:gd name="connsiteX1" fmla="*/ 1249825 w 1249824"/>
                <a:gd name="connsiteY1" fmla="*/ 1175657 h 1398171"/>
                <a:gd name="connsiteX2" fmla="*/ 802396 w 1249824"/>
                <a:gd name="connsiteY2" fmla="*/ 1348458 h 1398171"/>
                <a:gd name="connsiteX3" fmla="*/ 546282 w 1249824"/>
                <a:gd name="connsiteY3" fmla="*/ 509143 h 1398171"/>
                <a:gd name="connsiteX4" fmla="*/ 546282 w 1249824"/>
                <a:gd name="connsiteY4" fmla="*/ 1376229 h 1398171"/>
                <a:gd name="connsiteX5" fmla="*/ 49483 w 1249824"/>
                <a:gd name="connsiteY5" fmla="*/ 1376229 h 1398171"/>
                <a:gd name="connsiteX6" fmla="*/ 15539 w 1249824"/>
                <a:gd name="connsiteY6" fmla="*/ 0 h 1398171"/>
                <a:gd name="connsiteX7" fmla="*/ 1049253 w 1249824"/>
                <a:gd name="connsiteY7" fmla="*/ 21600 h 139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9824" h="1398171">
                  <a:moveTo>
                    <a:pt x="1049253" y="21600"/>
                  </a:moveTo>
                  <a:lnTo>
                    <a:pt x="1249825" y="1175657"/>
                  </a:lnTo>
                  <a:cubicBezTo>
                    <a:pt x="1249825" y="1175657"/>
                    <a:pt x="965938" y="1357714"/>
                    <a:pt x="802396" y="1348458"/>
                  </a:cubicBezTo>
                  <a:cubicBezTo>
                    <a:pt x="645025" y="925714"/>
                    <a:pt x="552454" y="524571"/>
                    <a:pt x="546282" y="509143"/>
                  </a:cubicBezTo>
                  <a:cubicBezTo>
                    <a:pt x="530853" y="478286"/>
                    <a:pt x="546282" y="1376229"/>
                    <a:pt x="546282" y="1376229"/>
                  </a:cubicBezTo>
                  <a:cubicBezTo>
                    <a:pt x="546282" y="1376229"/>
                    <a:pt x="283996" y="1425600"/>
                    <a:pt x="49483" y="1376229"/>
                  </a:cubicBezTo>
                  <a:cubicBezTo>
                    <a:pt x="40224" y="1221943"/>
                    <a:pt x="-30747" y="98743"/>
                    <a:pt x="15539" y="0"/>
                  </a:cubicBezTo>
                  <a:cubicBezTo>
                    <a:pt x="722168" y="33943"/>
                    <a:pt x="1049253" y="21600"/>
                    <a:pt x="1049253" y="21600"/>
                  </a:cubicBezTo>
                  <a:close/>
                </a:path>
              </a:pathLst>
            </a:custGeom>
            <a:solidFill>
              <a:srgbClr val="F1DDBA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2AEDA69C-11A9-4353-98D4-BF254B211117}"/>
                </a:ext>
              </a:extLst>
            </p:cNvPr>
            <p:cNvSpPr/>
            <p:nvPr/>
          </p:nvSpPr>
          <p:spPr>
            <a:xfrm>
              <a:off x="21172236" y="10099725"/>
              <a:ext cx="70971" cy="370285"/>
            </a:xfrm>
            <a:custGeom>
              <a:avLst/>
              <a:gdLst>
                <a:gd name="connsiteX0" fmla="*/ 6172 w 70971"/>
                <a:gd name="connsiteY0" fmla="*/ 370286 h 370285"/>
                <a:gd name="connsiteX1" fmla="*/ 6172 w 70971"/>
                <a:gd name="connsiteY1" fmla="*/ 370286 h 370285"/>
                <a:gd name="connsiteX2" fmla="*/ 0 w 70971"/>
                <a:gd name="connsiteY2" fmla="*/ 361028 h 370285"/>
                <a:gd name="connsiteX3" fmla="*/ 58629 w 70971"/>
                <a:gd name="connsiteY3" fmla="*/ 6171 h 370285"/>
                <a:gd name="connsiteX4" fmla="*/ 64801 w 70971"/>
                <a:gd name="connsiteY4" fmla="*/ 0 h 370285"/>
                <a:gd name="connsiteX5" fmla="*/ 70971 w 70971"/>
                <a:gd name="connsiteY5" fmla="*/ 6171 h 370285"/>
                <a:gd name="connsiteX6" fmla="*/ 12344 w 70971"/>
                <a:gd name="connsiteY6" fmla="*/ 364114 h 370285"/>
                <a:gd name="connsiteX7" fmla="*/ 6172 w 70971"/>
                <a:gd name="connsiteY7" fmla="*/ 370286 h 37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71" h="370285">
                  <a:moveTo>
                    <a:pt x="6172" y="370286"/>
                  </a:moveTo>
                  <a:cubicBezTo>
                    <a:pt x="6172" y="370286"/>
                    <a:pt x="6172" y="370286"/>
                    <a:pt x="6172" y="370286"/>
                  </a:cubicBezTo>
                  <a:cubicBezTo>
                    <a:pt x="0" y="367200"/>
                    <a:pt x="0" y="364114"/>
                    <a:pt x="0" y="361028"/>
                  </a:cubicBezTo>
                  <a:cubicBezTo>
                    <a:pt x="49373" y="246857"/>
                    <a:pt x="58629" y="9257"/>
                    <a:pt x="58629" y="6171"/>
                  </a:cubicBezTo>
                  <a:cubicBezTo>
                    <a:pt x="58629" y="3085"/>
                    <a:pt x="61714" y="0"/>
                    <a:pt x="64801" y="0"/>
                  </a:cubicBezTo>
                  <a:cubicBezTo>
                    <a:pt x="67886" y="0"/>
                    <a:pt x="70971" y="3085"/>
                    <a:pt x="70971" y="6171"/>
                  </a:cubicBezTo>
                  <a:cubicBezTo>
                    <a:pt x="70971" y="15429"/>
                    <a:pt x="61714" y="246857"/>
                    <a:pt x="12344" y="364114"/>
                  </a:cubicBezTo>
                  <a:cubicBezTo>
                    <a:pt x="9257" y="370286"/>
                    <a:pt x="9257" y="370286"/>
                    <a:pt x="6172" y="370286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062D936F-DF00-49FB-8F2E-EB92AB916730}"/>
                </a:ext>
              </a:extLst>
            </p:cNvPr>
            <p:cNvSpPr/>
            <p:nvPr/>
          </p:nvSpPr>
          <p:spPr>
            <a:xfrm>
              <a:off x="21201816" y="10031839"/>
              <a:ext cx="158650" cy="361028"/>
            </a:xfrm>
            <a:custGeom>
              <a:avLst/>
              <a:gdLst>
                <a:gd name="connsiteX0" fmla="*/ 7450 w 158650"/>
                <a:gd name="connsiteY0" fmla="*/ 361029 h 361028"/>
                <a:gd name="connsiteX1" fmla="*/ 1278 w 158650"/>
                <a:gd name="connsiteY1" fmla="*/ 357943 h 361028"/>
                <a:gd name="connsiteX2" fmla="*/ 4365 w 158650"/>
                <a:gd name="connsiteY2" fmla="*/ 348685 h 361028"/>
                <a:gd name="connsiteX3" fmla="*/ 112365 w 158650"/>
                <a:gd name="connsiteY3" fmla="*/ 271542 h 361028"/>
                <a:gd name="connsiteX4" fmla="*/ 146307 w 158650"/>
                <a:gd name="connsiteY4" fmla="*/ 6172 h 361028"/>
                <a:gd name="connsiteX5" fmla="*/ 152479 w 158650"/>
                <a:gd name="connsiteY5" fmla="*/ 0 h 361028"/>
                <a:gd name="connsiteX6" fmla="*/ 158650 w 158650"/>
                <a:gd name="connsiteY6" fmla="*/ 6172 h 361028"/>
                <a:gd name="connsiteX7" fmla="*/ 124706 w 158650"/>
                <a:gd name="connsiteY7" fmla="*/ 277714 h 361028"/>
                <a:gd name="connsiteX8" fmla="*/ 13621 w 158650"/>
                <a:gd name="connsiteY8" fmla="*/ 357943 h 361028"/>
                <a:gd name="connsiteX9" fmla="*/ 7450 w 158650"/>
                <a:gd name="connsiteY9" fmla="*/ 361029 h 36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8650" h="361028">
                  <a:moveTo>
                    <a:pt x="7450" y="361029"/>
                  </a:moveTo>
                  <a:cubicBezTo>
                    <a:pt x="4365" y="361029"/>
                    <a:pt x="4365" y="361029"/>
                    <a:pt x="1278" y="357943"/>
                  </a:cubicBezTo>
                  <a:cubicBezTo>
                    <a:pt x="-1807" y="354857"/>
                    <a:pt x="1278" y="351771"/>
                    <a:pt x="4365" y="348685"/>
                  </a:cubicBezTo>
                  <a:cubicBezTo>
                    <a:pt x="44479" y="324000"/>
                    <a:pt x="103106" y="280800"/>
                    <a:pt x="112365" y="271542"/>
                  </a:cubicBezTo>
                  <a:cubicBezTo>
                    <a:pt x="121621" y="259200"/>
                    <a:pt x="137050" y="101828"/>
                    <a:pt x="146307" y="6172"/>
                  </a:cubicBezTo>
                  <a:cubicBezTo>
                    <a:pt x="146307" y="3086"/>
                    <a:pt x="149392" y="0"/>
                    <a:pt x="152479" y="0"/>
                  </a:cubicBezTo>
                  <a:cubicBezTo>
                    <a:pt x="155564" y="0"/>
                    <a:pt x="158650" y="3086"/>
                    <a:pt x="158650" y="6172"/>
                  </a:cubicBezTo>
                  <a:cubicBezTo>
                    <a:pt x="155564" y="49372"/>
                    <a:pt x="133963" y="262286"/>
                    <a:pt x="124706" y="277714"/>
                  </a:cubicBezTo>
                  <a:cubicBezTo>
                    <a:pt x="112365" y="293143"/>
                    <a:pt x="22878" y="351771"/>
                    <a:pt x="13621" y="357943"/>
                  </a:cubicBezTo>
                  <a:cubicBezTo>
                    <a:pt x="7450" y="361029"/>
                    <a:pt x="7450" y="361029"/>
                    <a:pt x="7450" y="361029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3259E6BE-9FEF-4387-91E3-3C51EC9049D4}"/>
                </a:ext>
              </a:extLst>
            </p:cNvPr>
            <p:cNvSpPr/>
            <p:nvPr/>
          </p:nvSpPr>
          <p:spPr>
            <a:xfrm>
              <a:off x="21039551" y="8263724"/>
              <a:ext cx="253028" cy="261370"/>
            </a:xfrm>
            <a:custGeom>
              <a:avLst/>
              <a:gdLst>
                <a:gd name="connsiteX0" fmla="*/ 253029 w 253028"/>
                <a:gd name="connsiteY0" fmla="*/ 40114 h 261370"/>
                <a:gd name="connsiteX1" fmla="*/ 246857 w 253028"/>
                <a:gd name="connsiteY1" fmla="*/ 216000 h 261370"/>
                <a:gd name="connsiteX2" fmla="*/ 0 w 253028"/>
                <a:gd name="connsiteY2" fmla="*/ 206743 h 261370"/>
                <a:gd name="connsiteX3" fmla="*/ 15429 w 253028"/>
                <a:gd name="connsiteY3" fmla="*/ 0 h 261370"/>
                <a:gd name="connsiteX4" fmla="*/ 253029 w 253028"/>
                <a:gd name="connsiteY4" fmla="*/ 40114 h 261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028" h="261370">
                  <a:moveTo>
                    <a:pt x="253029" y="40114"/>
                  </a:moveTo>
                  <a:cubicBezTo>
                    <a:pt x="253029" y="40114"/>
                    <a:pt x="246857" y="141943"/>
                    <a:pt x="246857" y="216000"/>
                  </a:cubicBezTo>
                  <a:cubicBezTo>
                    <a:pt x="246857" y="216000"/>
                    <a:pt x="151201" y="324000"/>
                    <a:pt x="0" y="206743"/>
                  </a:cubicBezTo>
                  <a:cubicBezTo>
                    <a:pt x="0" y="145028"/>
                    <a:pt x="12344" y="64800"/>
                    <a:pt x="15429" y="0"/>
                  </a:cubicBezTo>
                  <a:cubicBezTo>
                    <a:pt x="12344" y="0"/>
                    <a:pt x="200571" y="52457"/>
                    <a:pt x="253029" y="40114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A526DA63-63FD-4078-B5D1-38DF018B8B83}"/>
                </a:ext>
              </a:extLst>
            </p:cNvPr>
            <p:cNvSpPr/>
            <p:nvPr/>
          </p:nvSpPr>
          <p:spPr>
            <a:xfrm>
              <a:off x="21308009" y="8155724"/>
              <a:ext cx="70971" cy="138857"/>
            </a:xfrm>
            <a:custGeom>
              <a:avLst/>
              <a:gdLst>
                <a:gd name="connsiteX0" fmla="*/ 70971 w 70971"/>
                <a:gd name="connsiteY0" fmla="*/ 0 h 138857"/>
                <a:gd name="connsiteX1" fmla="*/ 3085 w 70971"/>
                <a:gd name="connsiteY1" fmla="*/ 138857 h 138857"/>
                <a:gd name="connsiteX2" fmla="*/ 0 w 70971"/>
                <a:gd name="connsiteY2" fmla="*/ 52457 h 138857"/>
                <a:gd name="connsiteX3" fmla="*/ 70971 w 70971"/>
                <a:gd name="connsiteY3" fmla="*/ 0 h 13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971" h="138857">
                  <a:moveTo>
                    <a:pt x="70971" y="0"/>
                  </a:moveTo>
                  <a:cubicBezTo>
                    <a:pt x="70971" y="0"/>
                    <a:pt x="55542" y="120343"/>
                    <a:pt x="3085" y="138857"/>
                  </a:cubicBezTo>
                  <a:lnTo>
                    <a:pt x="0" y="52457"/>
                  </a:lnTo>
                  <a:lnTo>
                    <a:pt x="70971" y="0"/>
                  </a:ln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D6F5CE82-75D4-4503-A328-D383811C88E4}"/>
                </a:ext>
              </a:extLst>
            </p:cNvPr>
            <p:cNvSpPr/>
            <p:nvPr/>
          </p:nvSpPr>
          <p:spPr>
            <a:xfrm>
              <a:off x="20914530" y="7942810"/>
              <a:ext cx="103877" cy="240698"/>
            </a:xfrm>
            <a:custGeom>
              <a:avLst/>
              <a:gdLst>
                <a:gd name="connsiteX0" fmla="*/ 7764 w 103877"/>
                <a:gd name="connsiteY0" fmla="*/ 0 h 240698"/>
                <a:gd name="connsiteX1" fmla="*/ 47878 w 103877"/>
                <a:gd name="connsiteY1" fmla="*/ 237600 h 240698"/>
                <a:gd name="connsiteX2" fmla="*/ 103421 w 103877"/>
                <a:gd name="connsiteY2" fmla="*/ 15429 h 240698"/>
                <a:gd name="connsiteX3" fmla="*/ 7764 w 103877"/>
                <a:gd name="connsiteY3" fmla="*/ 0 h 24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77" h="240698">
                  <a:moveTo>
                    <a:pt x="7764" y="0"/>
                  </a:moveTo>
                  <a:cubicBezTo>
                    <a:pt x="7764" y="0"/>
                    <a:pt x="-26180" y="197486"/>
                    <a:pt x="47878" y="237600"/>
                  </a:cubicBezTo>
                  <a:cubicBezTo>
                    <a:pt x="112677" y="271543"/>
                    <a:pt x="103421" y="15429"/>
                    <a:pt x="103421" y="15429"/>
                  </a:cubicBezTo>
                  <a:lnTo>
                    <a:pt x="7764" y="0"/>
                  </a:ln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C015DC20-00D6-4B8E-A6A4-80DF2239610E}"/>
                </a:ext>
              </a:extLst>
            </p:cNvPr>
            <p:cNvSpPr/>
            <p:nvPr/>
          </p:nvSpPr>
          <p:spPr>
            <a:xfrm>
              <a:off x="20950462" y="7805658"/>
              <a:ext cx="428517" cy="575934"/>
            </a:xfrm>
            <a:custGeom>
              <a:avLst/>
              <a:gdLst>
                <a:gd name="connsiteX0" fmla="*/ 11946 w 428517"/>
                <a:gd name="connsiteY0" fmla="*/ 183438 h 575934"/>
                <a:gd name="connsiteX1" fmla="*/ 8861 w 428517"/>
                <a:gd name="connsiteY1" fmla="*/ 436467 h 575934"/>
                <a:gd name="connsiteX2" fmla="*/ 169316 w 428517"/>
                <a:gd name="connsiteY2" fmla="*/ 575324 h 575934"/>
                <a:gd name="connsiteX3" fmla="*/ 388403 w 428517"/>
                <a:gd name="connsiteY3" fmla="*/ 433381 h 575934"/>
                <a:gd name="connsiteX4" fmla="*/ 428517 w 428517"/>
                <a:gd name="connsiteY4" fmla="*/ 205038 h 575934"/>
                <a:gd name="connsiteX5" fmla="*/ 215602 w 428517"/>
                <a:gd name="connsiteY5" fmla="*/ 1381 h 575934"/>
                <a:gd name="connsiteX6" fmla="*/ 11946 w 428517"/>
                <a:gd name="connsiteY6" fmla="*/ 183438 h 575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8517" h="575934">
                  <a:moveTo>
                    <a:pt x="11946" y="183438"/>
                  </a:moveTo>
                  <a:cubicBezTo>
                    <a:pt x="11946" y="183438"/>
                    <a:pt x="-12740" y="362410"/>
                    <a:pt x="8861" y="436467"/>
                  </a:cubicBezTo>
                  <a:cubicBezTo>
                    <a:pt x="27374" y="504352"/>
                    <a:pt x="116861" y="569153"/>
                    <a:pt x="169316" y="575324"/>
                  </a:cubicBezTo>
                  <a:cubicBezTo>
                    <a:pt x="237203" y="581495"/>
                    <a:pt x="357546" y="541381"/>
                    <a:pt x="388403" y="433381"/>
                  </a:cubicBezTo>
                  <a:cubicBezTo>
                    <a:pt x="410004" y="359324"/>
                    <a:pt x="428517" y="257495"/>
                    <a:pt x="428517" y="205038"/>
                  </a:cubicBezTo>
                  <a:cubicBezTo>
                    <a:pt x="428517" y="109381"/>
                    <a:pt x="400745" y="29153"/>
                    <a:pt x="215602" y="1381"/>
                  </a:cubicBezTo>
                  <a:cubicBezTo>
                    <a:pt x="129203" y="-14048"/>
                    <a:pt x="33546" y="103210"/>
                    <a:pt x="11946" y="183438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8B89313A-1BC1-4F58-80B1-8BD194B88823}"/>
                </a:ext>
              </a:extLst>
            </p:cNvPr>
            <p:cNvSpPr/>
            <p:nvPr/>
          </p:nvSpPr>
          <p:spPr>
            <a:xfrm>
              <a:off x="21085837" y="8072410"/>
              <a:ext cx="58629" cy="138857"/>
            </a:xfrm>
            <a:custGeom>
              <a:avLst/>
              <a:gdLst>
                <a:gd name="connsiteX0" fmla="*/ 33942 w 58629"/>
                <a:gd name="connsiteY0" fmla="*/ 138857 h 138857"/>
                <a:gd name="connsiteX1" fmla="*/ 6172 w 58629"/>
                <a:gd name="connsiteY1" fmla="*/ 132686 h 138857"/>
                <a:gd name="connsiteX2" fmla="*/ 0 w 58629"/>
                <a:gd name="connsiteY2" fmla="*/ 120343 h 138857"/>
                <a:gd name="connsiteX3" fmla="*/ 18514 w 58629"/>
                <a:gd name="connsiteY3" fmla="*/ 6171 h 138857"/>
                <a:gd name="connsiteX4" fmla="*/ 24685 w 58629"/>
                <a:gd name="connsiteY4" fmla="*/ 0 h 138857"/>
                <a:gd name="connsiteX5" fmla="*/ 30857 w 58629"/>
                <a:gd name="connsiteY5" fmla="*/ 6171 h 138857"/>
                <a:gd name="connsiteX6" fmla="*/ 12344 w 58629"/>
                <a:gd name="connsiteY6" fmla="*/ 120343 h 138857"/>
                <a:gd name="connsiteX7" fmla="*/ 12344 w 58629"/>
                <a:gd name="connsiteY7" fmla="*/ 123429 h 138857"/>
                <a:gd name="connsiteX8" fmla="*/ 52458 w 58629"/>
                <a:gd name="connsiteY8" fmla="*/ 126514 h 138857"/>
                <a:gd name="connsiteX9" fmla="*/ 58629 w 58629"/>
                <a:gd name="connsiteY9" fmla="*/ 132686 h 138857"/>
                <a:gd name="connsiteX10" fmla="*/ 52458 w 58629"/>
                <a:gd name="connsiteY10" fmla="*/ 138857 h 138857"/>
                <a:gd name="connsiteX11" fmla="*/ 33942 w 58629"/>
                <a:gd name="connsiteY11" fmla="*/ 138857 h 13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629" h="138857">
                  <a:moveTo>
                    <a:pt x="33942" y="138857"/>
                  </a:moveTo>
                  <a:cubicBezTo>
                    <a:pt x="24685" y="138857"/>
                    <a:pt x="12344" y="138857"/>
                    <a:pt x="6172" y="132686"/>
                  </a:cubicBezTo>
                  <a:cubicBezTo>
                    <a:pt x="3085" y="129600"/>
                    <a:pt x="0" y="126514"/>
                    <a:pt x="0" y="120343"/>
                  </a:cubicBezTo>
                  <a:cubicBezTo>
                    <a:pt x="0" y="98743"/>
                    <a:pt x="18514" y="9257"/>
                    <a:pt x="18514" y="6171"/>
                  </a:cubicBezTo>
                  <a:cubicBezTo>
                    <a:pt x="18514" y="3086"/>
                    <a:pt x="21600" y="0"/>
                    <a:pt x="24685" y="0"/>
                  </a:cubicBezTo>
                  <a:cubicBezTo>
                    <a:pt x="27772" y="0"/>
                    <a:pt x="30857" y="3086"/>
                    <a:pt x="30857" y="6171"/>
                  </a:cubicBezTo>
                  <a:cubicBezTo>
                    <a:pt x="30857" y="6171"/>
                    <a:pt x="12344" y="98743"/>
                    <a:pt x="12344" y="120343"/>
                  </a:cubicBezTo>
                  <a:cubicBezTo>
                    <a:pt x="12344" y="120343"/>
                    <a:pt x="12344" y="123429"/>
                    <a:pt x="12344" y="123429"/>
                  </a:cubicBezTo>
                  <a:cubicBezTo>
                    <a:pt x="18514" y="129600"/>
                    <a:pt x="40114" y="126514"/>
                    <a:pt x="52458" y="126514"/>
                  </a:cubicBezTo>
                  <a:cubicBezTo>
                    <a:pt x="55542" y="126514"/>
                    <a:pt x="58629" y="129600"/>
                    <a:pt x="58629" y="132686"/>
                  </a:cubicBezTo>
                  <a:cubicBezTo>
                    <a:pt x="58629" y="135771"/>
                    <a:pt x="55542" y="138857"/>
                    <a:pt x="52458" y="138857"/>
                  </a:cubicBezTo>
                  <a:cubicBezTo>
                    <a:pt x="55542" y="135771"/>
                    <a:pt x="43201" y="138857"/>
                    <a:pt x="33942" y="138857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4003CFEF-5B85-4015-97EA-D2FC705BF3CB}"/>
                </a:ext>
              </a:extLst>
            </p:cNvPr>
            <p:cNvSpPr/>
            <p:nvPr/>
          </p:nvSpPr>
          <p:spPr>
            <a:xfrm>
              <a:off x="21017346" y="8047119"/>
              <a:ext cx="41505" cy="41324"/>
            </a:xfrm>
            <a:custGeom>
              <a:avLst/>
              <a:gdLst>
                <a:gd name="connsiteX0" fmla="*/ 40719 w 41505"/>
                <a:gd name="connsiteY0" fmla="*/ 25291 h 41324"/>
                <a:gd name="connsiteX1" fmla="*/ 16034 w 41505"/>
                <a:gd name="connsiteY1" fmla="*/ 40720 h 41324"/>
                <a:gd name="connsiteX2" fmla="*/ 605 w 41505"/>
                <a:gd name="connsiteY2" fmla="*/ 16034 h 41324"/>
                <a:gd name="connsiteX3" fmla="*/ 25290 w 41505"/>
                <a:gd name="connsiteY3" fmla="*/ 605 h 41324"/>
                <a:gd name="connsiteX4" fmla="*/ 40719 w 41505"/>
                <a:gd name="connsiteY4" fmla="*/ 25291 h 41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5" h="41324">
                  <a:moveTo>
                    <a:pt x="40719" y="25291"/>
                  </a:moveTo>
                  <a:cubicBezTo>
                    <a:pt x="37634" y="34548"/>
                    <a:pt x="28377" y="43805"/>
                    <a:pt x="16034" y="40720"/>
                  </a:cubicBezTo>
                  <a:cubicBezTo>
                    <a:pt x="6777" y="37634"/>
                    <a:pt x="-2480" y="28377"/>
                    <a:pt x="605" y="16034"/>
                  </a:cubicBezTo>
                  <a:cubicBezTo>
                    <a:pt x="3692" y="6777"/>
                    <a:pt x="12949" y="-2480"/>
                    <a:pt x="25290" y="605"/>
                  </a:cubicBezTo>
                  <a:cubicBezTo>
                    <a:pt x="37634" y="3691"/>
                    <a:pt x="43806" y="16034"/>
                    <a:pt x="40719" y="25291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AD8C5243-59D5-4A23-B1EF-2C522F3C07B1}"/>
                </a:ext>
              </a:extLst>
            </p:cNvPr>
            <p:cNvSpPr/>
            <p:nvPr/>
          </p:nvSpPr>
          <p:spPr>
            <a:xfrm>
              <a:off x="21202489" y="8068719"/>
              <a:ext cx="41505" cy="41324"/>
            </a:xfrm>
            <a:custGeom>
              <a:avLst/>
              <a:gdLst>
                <a:gd name="connsiteX0" fmla="*/ 40719 w 41505"/>
                <a:gd name="connsiteY0" fmla="*/ 25291 h 41324"/>
                <a:gd name="connsiteX1" fmla="*/ 16034 w 41505"/>
                <a:gd name="connsiteY1" fmla="*/ 40720 h 41324"/>
                <a:gd name="connsiteX2" fmla="*/ 605 w 41505"/>
                <a:gd name="connsiteY2" fmla="*/ 16034 h 41324"/>
                <a:gd name="connsiteX3" fmla="*/ 25290 w 41505"/>
                <a:gd name="connsiteY3" fmla="*/ 605 h 41324"/>
                <a:gd name="connsiteX4" fmla="*/ 40719 w 41505"/>
                <a:gd name="connsiteY4" fmla="*/ 25291 h 41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5" h="41324">
                  <a:moveTo>
                    <a:pt x="40719" y="25291"/>
                  </a:moveTo>
                  <a:cubicBezTo>
                    <a:pt x="37634" y="34548"/>
                    <a:pt x="28377" y="43805"/>
                    <a:pt x="16034" y="40720"/>
                  </a:cubicBezTo>
                  <a:cubicBezTo>
                    <a:pt x="6777" y="37634"/>
                    <a:pt x="-2480" y="28377"/>
                    <a:pt x="605" y="16034"/>
                  </a:cubicBezTo>
                  <a:cubicBezTo>
                    <a:pt x="3692" y="6777"/>
                    <a:pt x="12949" y="-2480"/>
                    <a:pt x="25290" y="605"/>
                  </a:cubicBezTo>
                  <a:cubicBezTo>
                    <a:pt x="37634" y="3691"/>
                    <a:pt x="43806" y="12948"/>
                    <a:pt x="40719" y="25291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07CF6872-89AA-4500-B8FC-B72E478D0406}"/>
                </a:ext>
              </a:extLst>
            </p:cNvPr>
            <p:cNvSpPr/>
            <p:nvPr/>
          </p:nvSpPr>
          <p:spPr>
            <a:xfrm>
              <a:off x="20994037" y="7998353"/>
              <a:ext cx="93078" cy="33942"/>
            </a:xfrm>
            <a:custGeom>
              <a:avLst/>
              <a:gdLst>
                <a:gd name="connsiteX0" fmla="*/ 8486 w 93078"/>
                <a:gd name="connsiteY0" fmla="*/ 33943 h 33942"/>
                <a:gd name="connsiteX1" fmla="*/ 2314 w 93078"/>
                <a:gd name="connsiteY1" fmla="*/ 30857 h 33942"/>
                <a:gd name="connsiteX2" fmla="*/ 2314 w 93078"/>
                <a:gd name="connsiteY2" fmla="*/ 18514 h 33942"/>
                <a:gd name="connsiteX3" fmla="*/ 88715 w 93078"/>
                <a:gd name="connsiteY3" fmla="*/ 9257 h 33942"/>
                <a:gd name="connsiteX4" fmla="*/ 91800 w 93078"/>
                <a:gd name="connsiteY4" fmla="*/ 21600 h 33942"/>
                <a:gd name="connsiteX5" fmla="*/ 79457 w 93078"/>
                <a:gd name="connsiteY5" fmla="*/ 24685 h 33942"/>
                <a:gd name="connsiteX6" fmla="*/ 11572 w 93078"/>
                <a:gd name="connsiteY6" fmla="*/ 30857 h 33942"/>
                <a:gd name="connsiteX7" fmla="*/ 8486 w 93078"/>
                <a:gd name="connsiteY7" fmla="*/ 33943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3942">
                  <a:moveTo>
                    <a:pt x="8486" y="33943"/>
                  </a:moveTo>
                  <a:cubicBezTo>
                    <a:pt x="5401" y="33943"/>
                    <a:pt x="5401" y="33943"/>
                    <a:pt x="2314" y="30857"/>
                  </a:cubicBezTo>
                  <a:cubicBezTo>
                    <a:pt x="-771" y="27771"/>
                    <a:pt x="-771" y="21600"/>
                    <a:pt x="2314" y="18514"/>
                  </a:cubicBezTo>
                  <a:cubicBezTo>
                    <a:pt x="30086" y="-9257"/>
                    <a:pt x="70200" y="0"/>
                    <a:pt x="88715" y="9257"/>
                  </a:cubicBezTo>
                  <a:cubicBezTo>
                    <a:pt x="91800" y="12343"/>
                    <a:pt x="94885" y="15429"/>
                    <a:pt x="91800" y="21600"/>
                  </a:cubicBezTo>
                  <a:cubicBezTo>
                    <a:pt x="88715" y="24685"/>
                    <a:pt x="85628" y="27771"/>
                    <a:pt x="79457" y="24685"/>
                  </a:cubicBezTo>
                  <a:cubicBezTo>
                    <a:pt x="76372" y="24685"/>
                    <a:pt x="39343" y="3086"/>
                    <a:pt x="11572" y="30857"/>
                  </a:cubicBezTo>
                  <a:cubicBezTo>
                    <a:pt x="11572" y="33943"/>
                    <a:pt x="8486" y="33943"/>
                    <a:pt x="8486" y="33943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0ECD6E76-8C3B-49DB-AB43-9E17468563CC}"/>
                </a:ext>
              </a:extLst>
            </p:cNvPr>
            <p:cNvSpPr/>
            <p:nvPr/>
          </p:nvSpPr>
          <p:spPr>
            <a:xfrm>
              <a:off x="21183301" y="8002467"/>
              <a:ext cx="93078" cy="35999"/>
            </a:xfrm>
            <a:custGeom>
              <a:avLst/>
              <a:gdLst>
                <a:gd name="connsiteX0" fmla="*/ 87678 w 93078"/>
                <a:gd name="connsiteY0" fmla="*/ 36000 h 35999"/>
                <a:gd name="connsiteX1" fmla="*/ 81506 w 93078"/>
                <a:gd name="connsiteY1" fmla="*/ 32914 h 35999"/>
                <a:gd name="connsiteX2" fmla="*/ 13620 w 93078"/>
                <a:gd name="connsiteY2" fmla="*/ 26743 h 35999"/>
                <a:gd name="connsiteX3" fmla="*/ 1279 w 93078"/>
                <a:gd name="connsiteY3" fmla="*/ 23657 h 35999"/>
                <a:gd name="connsiteX4" fmla="*/ 4364 w 93078"/>
                <a:gd name="connsiteY4" fmla="*/ 11314 h 35999"/>
                <a:gd name="connsiteX5" fmla="*/ 90763 w 93078"/>
                <a:gd name="connsiteY5" fmla="*/ 20571 h 35999"/>
                <a:gd name="connsiteX6" fmla="*/ 90763 w 93078"/>
                <a:gd name="connsiteY6" fmla="*/ 32914 h 35999"/>
                <a:gd name="connsiteX7" fmla="*/ 87678 w 93078"/>
                <a:gd name="connsiteY7" fmla="*/ 36000 h 35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5999">
                  <a:moveTo>
                    <a:pt x="87678" y="36000"/>
                  </a:moveTo>
                  <a:cubicBezTo>
                    <a:pt x="84593" y="36000"/>
                    <a:pt x="84593" y="36000"/>
                    <a:pt x="81506" y="32914"/>
                  </a:cubicBezTo>
                  <a:cubicBezTo>
                    <a:pt x="81506" y="32914"/>
                    <a:pt x="50649" y="2057"/>
                    <a:pt x="13620" y="26743"/>
                  </a:cubicBezTo>
                  <a:cubicBezTo>
                    <a:pt x="10535" y="29828"/>
                    <a:pt x="4364" y="26743"/>
                    <a:pt x="1279" y="23657"/>
                  </a:cubicBezTo>
                  <a:cubicBezTo>
                    <a:pt x="-1808" y="20571"/>
                    <a:pt x="1279" y="14400"/>
                    <a:pt x="4364" y="11314"/>
                  </a:cubicBezTo>
                  <a:cubicBezTo>
                    <a:pt x="41393" y="-13371"/>
                    <a:pt x="78422" y="8228"/>
                    <a:pt x="90763" y="20571"/>
                  </a:cubicBezTo>
                  <a:cubicBezTo>
                    <a:pt x="93850" y="23657"/>
                    <a:pt x="93850" y="29828"/>
                    <a:pt x="90763" y="32914"/>
                  </a:cubicBezTo>
                  <a:cubicBezTo>
                    <a:pt x="90763" y="32914"/>
                    <a:pt x="87678" y="36000"/>
                    <a:pt x="87678" y="36000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E69241DB-D171-4981-979A-69C013EA53A1}"/>
                </a:ext>
              </a:extLst>
            </p:cNvPr>
            <p:cNvSpPr/>
            <p:nvPr/>
          </p:nvSpPr>
          <p:spPr>
            <a:xfrm>
              <a:off x="21049580" y="8325439"/>
              <a:ext cx="235021" cy="61714"/>
            </a:xfrm>
            <a:custGeom>
              <a:avLst/>
              <a:gdLst>
                <a:gd name="connsiteX0" fmla="*/ 82543 w 235021"/>
                <a:gd name="connsiteY0" fmla="*/ 61714 h 61714"/>
                <a:gd name="connsiteX1" fmla="*/ 82543 w 235021"/>
                <a:gd name="connsiteY1" fmla="*/ 61714 h 61714"/>
                <a:gd name="connsiteX2" fmla="*/ 2315 w 235021"/>
                <a:gd name="connsiteY2" fmla="*/ 33943 h 61714"/>
                <a:gd name="connsiteX3" fmla="*/ 2315 w 235021"/>
                <a:gd name="connsiteY3" fmla="*/ 24686 h 61714"/>
                <a:gd name="connsiteX4" fmla="*/ 11572 w 235021"/>
                <a:gd name="connsiteY4" fmla="*/ 24686 h 61714"/>
                <a:gd name="connsiteX5" fmla="*/ 82543 w 235021"/>
                <a:gd name="connsiteY5" fmla="*/ 49372 h 61714"/>
                <a:gd name="connsiteX6" fmla="*/ 82543 w 235021"/>
                <a:gd name="connsiteY6" fmla="*/ 49372 h 61714"/>
                <a:gd name="connsiteX7" fmla="*/ 224485 w 235021"/>
                <a:gd name="connsiteY7" fmla="*/ 0 h 61714"/>
                <a:gd name="connsiteX8" fmla="*/ 233744 w 235021"/>
                <a:gd name="connsiteY8" fmla="*/ 3086 h 61714"/>
                <a:gd name="connsiteX9" fmla="*/ 230657 w 235021"/>
                <a:gd name="connsiteY9" fmla="*/ 12343 h 61714"/>
                <a:gd name="connsiteX10" fmla="*/ 82543 w 235021"/>
                <a:gd name="connsiteY10" fmla="*/ 61714 h 61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5021" h="61714">
                  <a:moveTo>
                    <a:pt x="82543" y="61714"/>
                  </a:moveTo>
                  <a:cubicBezTo>
                    <a:pt x="82543" y="61714"/>
                    <a:pt x="82543" y="61714"/>
                    <a:pt x="82543" y="61714"/>
                  </a:cubicBezTo>
                  <a:cubicBezTo>
                    <a:pt x="39342" y="61714"/>
                    <a:pt x="5400" y="33943"/>
                    <a:pt x="2315" y="33943"/>
                  </a:cubicBezTo>
                  <a:cubicBezTo>
                    <a:pt x="-772" y="30857"/>
                    <a:pt x="-772" y="27772"/>
                    <a:pt x="2315" y="24686"/>
                  </a:cubicBezTo>
                  <a:cubicBezTo>
                    <a:pt x="5400" y="21600"/>
                    <a:pt x="8485" y="21600"/>
                    <a:pt x="11572" y="24686"/>
                  </a:cubicBezTo>
                  <a:cubicBezTo>
                    <a:pt x="11572" y="24686"/>
                    <a:pt x="42429" y="49372"/>
                    <a:pt x="82543" y="49372"/>
                  </a:cubicBezTo>
                  <a:cubicBezTo>
                    <a:pt x="82543" y="49372"/>
                    <a:pt x="82543" y="49372"/>
                    <a:pt x="82543" y="49372"/>
                  </a:cubicBezTo>
                  <a:cubicBezTo>
                    <a:pt x="131914" y="49372"/>
                    <a:pt x="221400" y="0"/>
                    <a:pt x="224485" y="0"/>
                  </a:cubicBezTo>
                  <a:cubicBezTo>
                    <a:pt x="227572" y="0"/>
                    <a:pt x="230657" y="0"/>
                    <a:pt x="233744" y="3086"/>
                  </a:cubicBezTo>
                  <a:cubicBezTo>
                    <a:pt x="236829" y="6171"/>
                    <a:pt x="233744" y="9257"/>
                    <a:pt x="230657" y="12343"/>
                  </a:cubicBezTo>
                  <a:cubicBezTo>
                    <a:pt x="227572" y="12343"/>
                    <a:pt x="135000" y="61714"/>
                    <a:pt x="82543" y="61714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1418158A-1FD9-4ED3-B8E1-E73C5D100373}"/>
                </a:ext>
              </a:extLst>
            </p:cNvPr>
            <p:cNvSpPr/>
            <p:nvPr/>
          </p:nvSpPr>
          <p:spPr>
            <a:xfrm>
              <a:off x="21304922" y="7828639"/>
              <a:ext cx="114491" cy="271542"/>
            </a:xfrm>
            <a:custGeom>
              <a:avLst/>
              <a:gdLst>
                <a:gd name="connsiteX0" fmla="*/ 0 w 114491"/>
                <a:gd name="connsiteY0" fmla="*/ 129600 h 271542"/>
                <a:gd name="connsiteX1" fmla="*/ 49373 w 114491"/>
                <a:gd name="connsiteY1" fmla="*/ 271542 h 271542"/>
                <a:gd name="connsiteX2" fmla="*/ 108000 w 114491"/>
                <a:gd name="connsiteY2" fmla="*/ 169714 h 271542"/>
                <a:gd name="connsiteX3" fmla="*/ 49373 w 114491"/>
                <a:gd name="connsiteY3" fmla="*/ 0 h 271542"/>
                <a:gd name="connsiteX4" fmla="*/ 0 w 114491"/>
                <a:gd name="connsiteY4" fmla="*/ 129600 h 27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491" h="271542">
                  <a:moveTo>
                    <a:pt x="0" y="129600"/>
                  </a:moveTo>
                  <a:cubicBezTo>
                    <a:pt x="0" y="129600"/>
                    <a:pt x="55544" y="240685"/>
                    <a:pt x="49373" y="271542"/>
                  </a:cubicBezTo>
                  <a:cubicBezTo>
                    <a:pt x="49373" y="271542"/>
                    <a:pt x="92571" y="225257"/>
                    <a:pt x="108000" y="169714"/>
                  </a:cubicBezTo>
                  <a:cubicBezTo>
                    <a:pt x="123429" y="111085"/>
                    <a:pt x="114172" y="15429"/>
                    <a:pt x="49373" y="0"/>
                  </a:cubicBezTo>
                  <a:cubicBezTo>
                    <a:pt x="46286" y="3085"/>
                    <a:pt x="40116" y="111085"/>
                    <a:pt x="0" y="129600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4C293B5A-9806-4554-937E-1F02EC28C4B4}"/>
                </a:ext>
              </a:extLst>
            </p:cNvPr>
            <p:cNvSpPr/>
            <p:nvPr/>
          </p:nvSpPr>
          <p:spPr>
            <a:xfrm>
              <a:off x="20857493" y="7709991"/>
              <a:ext cx="505681" cy="257536"/>
            </a:xfrm>
            <a:custGeom>
              <a:avLst/>
              <a:gdLst>
                <a:gd name="connsiteX0" fmla="*/ 447429 w 505681"/>
                <a:gd name="connsiteY0" fmla="*/ 248248 h 257536"/>
                <a:gd name="connsiteX1" fmla="*/ 324000 w 505681"/>
                <a:gd name="connsiteY1" fmla="*/ 208134 h 257536"/>
                <a:gd name="connsiteX2" fmla="*/ 0 w 505681"/>
                <a:gd name="connsiteY2" fmla="*/ 195791 h 257536"/>
                <a:gd name="connsiteX3" fmla="*/ 376458 w 505681"/>
                <a:gd name="connsiteY3" fmla="*/ 10648 h 257536"/>
                <a:gd name="connsiteX4" fmla="*/ 496801 w 505681"/>
                <a:gd name="connsiteY4" fmla="*/ 118648 h 257536"/>
                <a:gd name="connsiteX5" fmla="*/ 447429 w 505681"/>
                <a:gd name="connsiteY5" fmla="*/ 248248 h 257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681" h="257536">
                  <a:moveTo>
                    <a:pt x="447429" y="248248"/>
                  </a:moveTo>
                  <a:cubicBezTo>
                    <a:pt x="447429" y="248248"/>
                    <a:pt x="351772" y="208134"/>
                    <a:pt x="324000" y="208134"/>
                  </a:cubicBezTo>
                  <a:cubicBezTo>
                    <a:pt x="222172" y="211219"/>
                    <a:pt x="92571" y="325391"/>
                    <a:pt x="0" y="195791"/>
                  </a:cubicBezTo>
                  <a:cubicBezTo>
                    <a:pt x="46286" y="93962"/>
                    <a:pt x="209830" y="-38724"/>
                    <a:pt x="376458" y="10648"/>
                  </a:cubicBezTo>
                  <a:cubicBezTo>
                    <a:pt x="456687" y="32248"/>
                    <a:pt x="490629" y="81619"/>
                    <a:pt x="496801" y="118648"/>
                  </a:cubicBezTo>
                  <a:cubicBezTo>
                    <a:pt x="493714" y="121733"/>
                    <a:pt x="540000" y="235905"/>
                    <a:pt x="447429" y="248248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593B805B-1DED-4F07-9E50-8B4C7D7950B1}"/>
                </a:ext>
              </a:extLst>
            </p:cNvPr>
            <p:cNvSpPr/>
            <p:nvPr/>
          </p:nvSpPr>
          <p:spPr>
            <a:xfrm>
              <a:off x="21338865" y="8069132"/>
              <a:ext cx="78206" cy="111928"/>
            </a:xfrm>
            <a:custGeom>
              <a:avLst/>
              <a:gdLst>
                <a:gd name="connsiteX0" fmla="*/ 12342 w 78206"/>
                <a:gd name="connsiteY0" fmla="*/ 15621 h 111928"/>
                <a:gd name="connsiteX1" fmla="*/ 70972 w 78206"/>
                <a:gd name="connsiteY1" fmla="*/ 6364 h 111928"/>
                <a:gd name="connsiteX2" fmla="*/ 12342 w 78206"/>
                <a:gd name="connsiteY2" fmla="*/ 108193 h 111928"/>
                <a:gd name="connsiteX3" fmla="*/ 12342 w 78206"/>
                <a:gd name="connsiteY3" fmla="*/ 15621 h 111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06" h="111928">
                  <a:moveTo>
                    <a:pt x="12342" y="15621"/>
                  </a:moveTo>
                  <a:cubicBezTo>
                    <a:pt x="12342" y="15621"/>
                    <a:pt x="46286" y="-12150"/>
                    <a:pt x="70972" y="6364"/>
                  </a:cubicBezTo>
                  <a:cubicBezTo>
                    <a:pt x="95657" y="27964"/>
                    <a:pt x="52458" y="132878"/>
                    <a:pt x="12342" y="108193"/>
                  </a:cubicBezTo>
                  <a:cubicBezTo>
                    <a:pt x="-15428" y="89679"/>
                    <a:pt x="12342" y="15621"/>
                    <a:pt x="12342" y="15621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3B651681-D7AE-473D-905A-19C95D839EFA}"/>
                </a:ext>
              </a:extLst>
            </p:cNvPr>
            <p:cNvSpPr/>
            <p:nvPr/>
          </p:nvSpPr>
          <p:spPr>
            <a:xfrm>
              <a:off x="21298752" y="7847153"/>
              <a:ext cx="68312" cy="243771"/>
            </a:xfrm>
            <a:custGeom>
              <a:avLst/>
              <a:gdLst>
                <a:gd name="connsiteX0" fmla="*/ 52456 w 68312"/>
                <a:gd name="connsiteY0" fmla="*/ 243772 h 243771"/>
                <a:gd name="connsiteX1" fmla="*/ 46286 w 68312"/>
                <a:gd name="connsiteY1" fmla="*/ 237600 h 243771"/>
                <a:gd name="connsiteX2" fmla="*/ 0 w 68312"/>
                <a:gd name="connsiteY2" fmla="*/ 114171 h 243771"/>
                <a:gd name="connsiteX3" fmla="*/ 0 w 68312"/>
                <a:gd name="connsiteY3" fmla="*/ 108000 h 243771"/>
                <a:gd name="connsiteX4" fmla="*/ 3085 w 68312"/>
                <a:gd name="connsiteY4" fmla="*/ 104915 h 243771"/>
                <a:gd name="connsiteX5" fmla="*/ 52456 w 68312"/>
                <a:gd name="connsiteY5" fmla="*/ 64800 h 243771"/>
                <a:gd name="connsiteX6" fmla="*/ 52456 w 68312"/>
                <a:gd name="connsiteY6" fmla="*/ 6171 h 243771"/>
                <a:gd name="connsiteX7" fmla="*/ 55542 w 68312"/>
                <a:gd name="connsiteY7" fmla="*/ 0 h 243771"/>
                <a:gd name="connsiteX8" fmla="*/ 61714 w 68312"/>
                <a:gd name="connsiteY8" fmla="*/ 3086 h 243771"/>
                <a:gd name="connsiteX9" fmla="*/ 58627 w 68312"/>
                <a:gd name="connsiteY9" fmla="*/ 70972 h 243771"/>
                <a:gd name="connsiteX10" fmla="*/ 9257 w 68312"/>
                <a:gd name="connsiteY10" fmla="*/ 114171 h 243771"/>
                <a:gd name="connsiteX11" fmla="*/ 55542 w 68312"/>
                <a:gd name="connsiteY11" fmla="*/ 237600 h 243771"/>
                <a:gd name="connsiteX12" fmla="*/ 52456 w 68312"/>
                <a:gd name="connsiteY12" fmla="*/ 243772 h 243771"/>
                <a:gd name="connsiteX13" fmla="*/ 52456 w 68312"/>
                <a:gd name="connsiteY13" fmla="*/ 243772 h 24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312" h="243771">
                  <a:moveTo>
                    <a:pt x="52456" y="243772"/>
                  </a:moveTo>
                  <a:cubicBezTo>
                    <a:pt x="49371" y="243772"/>
                    <a:pt x="46286" y="240686"/>
                    <a:pt x="46286" y="237600"/>
                  </a:cubicBezTo>
                  <a:cubicBezTo>
                    <a:pt x="40114" y="175886"/>
                    <a:pt x="0" y="114171"/>
                    <a:pt x="0" y="114171"/>
                  </a:cubicBezTo>
                  <a:cubicBezTo>
                    <a:pt x="0" y="111086"/>
                    <a:pt x="0" y="111086"/>
                    <a:pt x="0" y="108000"/>
                  </a:cubicBezTo>
                  <a:cubicBezTo>
                    <a:pt x="0" y="104915"/>
                    <a:pt x="3085" y="104915"/>
                    <a:pt x="3085" y="104915"/>
                  </a:cubicBezTo>
                  <a:cubicBezTo>
                    <a:pt x="3085" y="104915"/>
                    <a:pt x="37027" y="92571"/>
                    <a:pt x="52456" y="64800"/>
                  </a:cubicBezTo>
                  <a:cubicBezTo>
                    <a:pt x="61714" y="49372"/>
                    <a:pt x="61714" y="27772"/>
                    <a:pt x="52456" y="6171"/>
                  </a:cubicBezTo>
                  <a:cubicBezTo>
                    <a:pt x="52456" y="3086"/>
                    <a:pt x="52456" y="0"/>
                    <a:pt x="55542" y="0"/>
                  </a:cubicBezTo>
                  <a:cubicBezTo>
                    <a:pt x="58627" y="0"/>
                    <a:pt x="61714" y="0"/>
                    <a:pt x="61714" y="3086"/>
                  </a:cubicBezTo>
                  <a:cubicBezTo>
                    <a:pt x="70971" y="27772"/>
                    <a:pt x="70971" y="52457"/>
                    <a:pt x="58627" y="70972"/>
                  </a:cubicBezTo>
                  <a:cubicBezTo>
                    <a:pt x="46286" y="95657"/>
                    <a:pt x="21598" y="108000"/>
                    <a:pt x="9257" y="114171"/>
                  </a:cubicBezTo>
                  <a:cubicBezTo>
                    <a:pt x="21598" y="132686"/>
                    <a:pt x="49371" y="182057"/>
                    <a:pt x="55542" y="237600"/>
                  </a:cubicBezTo>
                  <a:cubicBezTo>
                    <a:pt x="58627" y="240686"/>
                    <a:pt x="58627" y="243772"/>
                    <a:pt x="52456" y="243772"/>
                  </a:cubicBezTo>
                  <a:cubicBezTo>
                    <a:pt x="52456" y="243772"/>
                    <a:pt x="52456" y="243772"/>
                    <a:pt x="52456" y="243772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A4F68CE0-7ADB-4DF5-9EA7-A1789E217D21}"/>
                </a:ext>
              </a:extLst>
            </p:cNvPr>
            <p:cNvSpPr/>
            <p:nvPr/>
          </p:nvSpPr>
          <p:spPr>
            <a:xfrm>
              <a:off x="20619895" y="8430353"/>
              <a:ext cx="1083912" cy="1585870"/>
            </a:xfrm>
            <a:custGeom>
              <a:avLst/>
              <a:gdLst>
                <a:gd name="connsiteX0" fmla="*/ 401143 w 1083912"/>
                <a:gd name="connsiteY0" fmla="*/ 0 h 1585870"/>
                <a:gd name="connsiteX1" fmla="*/ 694286 w 1083912"/>
                <a:gd name="connsiteY1" fmla="*/ 0 h 1585870"/>
                <a:gd name="connsiteX2" fmla="*/ 996685 w 1083912"/>
                <a:gd name="connsiteY2" fmla="*/ 132685 h 1585870"/>
                <a:gd name="connsiteX3" fmla="*/ 1083085 w 1083912"/>
                <a:gd name="connsiteY3" fmla="*/ 1555200 h 1585870"/>
                <a:gd name="connsiteX4" fmla="*/ 0 w 1083912"/>
                <a:gd name="connsiteY4" fmla="*/ 1530515 h 1585870"/>
                <a:gd name="connsiteX5" fmla="*/ 117257 w 1083912"/>
                <a:gd name="connsiteY5" fmla="*/ 104914 h 1585870"/>
                <a:gd name="connsiteX6" fmla="*/ 401143 w 1083912"/>
                <a:gd name="connsiteY6" fmla="*/ 0 h 15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3912" h="1585870">
                  <a:moveTo>
                    <a:pt x="401143" y="0"/>
                  </a:moveTo>
                  <a:cubicBezTo>
                    <a:pt x="401143" y="0"/>
                    <a:pt x="577027" y="55542"/>
                    <a:pt x="694286" y="0"/>
                  </a:cubicBezTo>
                  <a:cubicBezTo>
                    <a:pt x="694286" y="0"/>
                    <a:pt x="972000" y="98743"/>
                    <a:pt x="996685" y="132685"/>
                  </a:cubicBezTo>
                  <a:cubicBezTo>
                    <a:pt x="1021371" y="163542"/>
                    <a:pt x="1092342" y="1487314"/>
                    <a:pt x="1083085" y="1555200"/>
                  </a:cubicBezTo>
                  <a:cubicBezTo>
                    <a:pt x="1083085" y="1555200"/>
                    <a:pt x="586286" y="1638515"/>
                    <a:pt x="0" y="1530515"/>
                  </a:cubicBezTo>
                  <a:cubicBezTo>
                    <a:pt x="0" y="1169486"/>
                    <a:pt x="74056" y="135771"/>
                    <a:pt x="117257" y="104914"/>
                  </a:cubicBezTo>
                  <a:cubicBezTo>
                    <a:pt x="160456" y="70971"/>
                    <a:pt x="401143" y="0"/>
                    <a:pt x="401143" y="0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2244989C-42FB-496D-A2D1-A85B2642BCE0}"/>
                </a:ext>
              </a:extLst>
            </p:cNvPr>
            <p:cNvSpPr/>
            <p:nvPr/>
          </p:nvSpPr>
          <p:spPr>
            <a:xfrm>
              <a:off x="21610408" y="8556867"/>
              <a:ext cx="53735" cy="749828"/>
            </a:xfrm>
            <a:custGeom>
              <a:avLst/>
              <a:gdLst>
                <a:gd name="connsiteX0" fmla="*/ 49371 w 53735"/>
                <a:gd name="connsiteY0" fmla="*/ 749829 h 749828"/>
                <a:gd name="connsiteX1" fmla="*/ 43201 w 53735"/>
                <a:gd name="connsiteY1" fmla="*/ 743657 h 749828"/>
                <a:gd name="connsiteX2" fmla="*/ 0 w 53735"/>
                <a:gd name="connsiteY2" fmla="*/ 6171 h 749828"/>
                <a:gd name="connsiteX3" fmla="*/ 3085 w 53735"/>
                <a:gd name="connsiteY3" fmla="*/ 0 h 749828"/>
                <a:gd name="connsiteX4" fmla="*/ 9257 w 53735"/>
                <a:gd name="connsiteY4" fmla="*/ 3086 h 749828"/>
                <a:gd name="connsiteX5" fmla="*/ 52458 w 53735"/>
                <a:gd name="connsiteY5" fmla="*/ 743657 h 749828"/>
                <a:gd name="connsiteX6" fmla="*/ 49371 w 53735"/>
                <a:gd name="connsiteY6" fmla="*/ 749829 h 749828"/>
                <a:gd name="connsiteX7" fmla="*/ 49371 w 53735"/>
                <a:gd name="connsiteY7" fmla="*/ 749829 h 749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735" h="749828">
                  <a:moveTo>
                    <a:pt x="49371" y="749829"/>
                  </a:moveTo>
                  <a:cubicBezTo>
                    <a:pt x="46286" y="749829"/>
                    <a:pt x="43201" y="746743"/>
                    <a:pt x="43201" y="743657"/>
                  </a:cubicBezTo>
                  <a:cubicBezTo>
                    <a:pt x="43201" y="737486"/>
                    <a:pt x="6172" y="43200"/>
                    <a:pt x="0" y="6171"/>
                  </a:cubicBezTo>
                  <a:cubicBezTo>
                    <a:pt x="0" y="3086"/>
                    <a:pt x="0" y="0"/>
                    <a:pt x="3085" y="0"/>
                  </a:cubicBezTo>
                  <a:cubicBezTo>
                    <a:pt x="6172" y="0"/>
                    <a:pt x="9257" y="0"/>
                    <a:pt x="9257" y="3086"/>
                  </a:cubicBezTo>
                  <a:cubicBezTo>
                    <a:pt x="18514" y="43200"/>
                    <a:pt x="52458" y="715886"/>
                    <a:pt x="52458" y="743657"/>
                  </a:cubicBezTo>
                  <a:cubicBezTo>
                    <a:pt x="55542" y="746743"/>
                    <a:pt x="52458" y="749829"/>
                    <a:pt x="49371" y="749829"/>
                  </a:cubicBezTo>
                  <a:cubicBezTo>
                    <a:pt x="49371" y="749829"/>
                    <a:pt x="49371" y="749829"/>
                    <a:pt x="49371" y="749829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4537F852-6130-4489-B7BD-4FEA10C19A4B}"/>
                </a:ext>
              </a:extLst>
            </p:cNvPr>
            <p:cNvSpPr/>
            <p:nvPr/>
          </p:nvSpPr>
          <p:spPr>
            <a:xfrm>
              <a:off x="21052666" y="8270667"/>
              <a:ext cx="122657" cy="27000"/>
            </a:xfrm>
            <a:custGeom>
              <a:avLst/>
              <a:gdLst>
                <a:gd name="connsiteX0" fmla="*/ 51684 w 122657"/>
                <a:gd name="connsiteY0" fmla="*/ 27000 h 27000"/>
                <a:gd name="connsiteX1" fmla="*/ 2314 w 122657"/>
                <a:gd name="connsiteY1" fmla="*/ 11572 h 27000"/>
                <a:gd name="connsiteX2" fmla="*/ 2314 w 122657"/>
                <a:gd name="connsiteY2" fmla="*/ 2314 h 27000"/>
                <a:gd name="connsiteX3" fmla="*/ 11570 w 122657"/>
                <a:gd name="connsiteY3" fmla="*/ 2314 h 27000"/>
                <a:gd name="connsiteX4" fmla="*/ 113399 w 122657"/>
                <a:gd name="connsiteY4" fmla="*/ 2314 h 27000"/>
                <a:gd name="connsiteX5" fmla="*/ 122657 w 122657"/>
                <a:gd name="connsiteY5" fmla="*/ 5400 h 27000"/>
                <a:gd name="connsiteX6" fmla="*/ 119570 w 122657"/>
                <a:gd name="connsiteY6" fmla="*/ 14657 h 27000"/>
                <a:gd name="connsiteX7" fmla="*/ 51684 w 122657"/>
                <a:gd name="connsiteY7" fmla="*/ 27000 h 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657" h="27000">
                  <a:moveTo>
                    <a:pt x="51684" y="27000"/>
                  </a:moveTo>
                  <a:cubicBezTo>
                    <a:pt x="33171" y="27000"/>
                    <a:pt x="17742" y="23914"/>
                    <a:pt x="2314" y="11572"/>
                  </a:cubicBezTo>
                  <a:cubicBezTo>
                    <a:pt x="-771" y="8486"/>
                    <a:pt x="-771" y="5400"/>
                    <a:pt x="2314" y="2314"/>
                  </a:cubicBezTo>
                  <a:cubicBezTo>
                    <a:pt x="5399" y="-771"/>
                    <a:pt x="8486" y="-771"/>
                    <a:pt x="11570" y="2314"/>
                  </a:cubicBezTo>
                  <a:cubicBezTo>
                    <a:pt x="51684" y="33172"/>
                    <a:pt x="113399" y="2314"/>
                    <a:pt x="113399" y="2314"/>
                  </a:cubicBezTo>
                  <a:cubicBezTo>
                    <a:pt x="116486" y="2314"/>
                    <a:pt x="119570" y="2314"/>
                    <a:pt x="122657" y="5400"/>
                  </a:cubicBezTo>
                  <a:cubicBezTo>
                    <a:pt x="122657" y="8486"/>
                    <a:pt x="122657" y="11572"/>
                    <a:pt x="119570" y="14657"/>
                  </a:cubicBezTo>
                  <a:cubicBezTo>
                    <a:pt x="116486" y="11572"/>
                    <a:pt x="85628" y="27000"/>
                    <a:pt x="51684" y="27000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33DFC0B2-D7E6-4A01-9F2C-BDA1869CB525}"/>
                </a:ext>
              </a:extLst>
            </p:cNvPr>
            <p:cNvSpPr/>
            <p:nvPr/>
          </p:nvSpPr>
          <p:spPr>
            <a:xfrm>
              <a:off x="19882254" y="8770083"/>
              <a:ext cx="938212" cy="1003727"/>
            </a:xfrm>
            <a:custGeom>
              <a:avLst/>
              <a:gdLst>
                <a:gd name="connsiteX0" fmla="*/ 333411 w 938212"/>
                <a:gd name="connsiteY0" fmla="*/ 326785 h 1003727"/>
                <a:gd name="connsiteX1" fmla="*/ 466096 w 938212"/>
                <a:gd name="connsiteY1" fmla="*/ 700156 h 1003727"/>
                <a:gd name="connsiteX2" fmla="*/ 938212 w 938212"/>
                <a:gd name="connsiteY2" fmla="*/ 811242 h 1003727"/>
                <a:gd name="connsiteX3" fmla="*/ 901183 w 938212"/>
                <a:gd name="connsiteY3" fmla="*/ 1002556 h 1003727"/>
                <a:gd name="connsiteX4" fmla="*/ 253183 w 938212"/>
                <a:gd name="connsiteY4" fmla="*/ 888385 h 1003727"/>
                <a:gd name="connsiteX5" fmla="*/ 12498 w 938212"/>
                <a:gd name="connsiteY5" fmla="*/ 268156 h 1003727"/>
                <a:gd name="connsiteX6" fmla="*/ 68040 w 938212"/>
                <a:gd name="connsiteY6" fmla="*/ 2785 h 1003727"/>
                <a:gd name="connsiteX7" fmla="*/ 333411 w 938212"/>
                <a:gd name="connsiteY7" fmla="*/ 326785 h 1003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212" h="1003727">
                  <a:moveTo>
                    <a:pt x="333411" y="326785"/>
                  </a:moveTo>
                  <a:cubicBezTo>
                    <a:pt x="361183" y="413185"/>
                    <a:pt x="416726" y="623013"/>
                    <a:pt x="466096" y="700156"/>
                  </a:cubicBezTo>
                  <a:cubicBezTo>
                    <a:pt x="509297" y="768042"/>
                    <a:pt x="938212" y="805070"/>
                    <a:pt x="938212" y="811242"/>
                  </a:cubicBezTo>
                  <a:cubicBezTo>
                    <a:pt x="928953" y="882213"/>
                    <a:pt x="956726" y="959357"/>
                    <a:pt x="901183" y="1002556"/>
                  </a:cubicBezTo>
                  <a:cubicBezTo>
                    <a:pt x="891926" y="1008727"/>
                    <a:pt x="395125" y="993299"/>
                    <a:pt x="253183" y="888385"/>
                  </a:cubicBezTo>
                  <a:cubicBezTo>
                    <a:pt x="197641" y="848271"/>
                    <a:pt x="61868" y="410099"/>
                    <a:pt x="12498" y="268156"/>
                  </a:cubicBezTo>
                  <a:cubicBezTo>
                    <a:pt x="-15274" y="184842"/>
                    <a:pt x="3239" y="18213"/>
                    <a:pt x="68040" y="2785"/>
                  </a:cubicBezTo>
                  <a:cubicBezTo>
                    <a:pt x="169868" y="-24987"/>
                    <a:pt x="284040" y="160156"/>
                    <a:pt x="333411" y="326785"/>
                  </a:cubicBezTo>
                  <a:close/>
                </a:path>
              </a:pathLst>
            </a:custGeom>
            <a:solidFill>
              <a:srgbClr val="F1DDB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6418EDA6-4CFB-419D-9CBC-25A4BAD19AC9}"/>
                </a:ext>
              </a:extLst>
            </p:cNvPr>
            <p:cNvSpPr/>
            <p:nvPr/>
          </p:nvSpPr>
          <p:spPr>
            <a:xfrm>
              <a:off x="18975182" y="10165492"/>
              <a:ext cx="1287686" cy="1230837"/>
            </a:xfrm>
            <a:custGeom>
              <a:avLst/>
              <a:gdLst>
                <a:gd name="connsiteX0" fmla="*/ 1277512 w 1287686"/>
                <a:gd name="connsiteY0" fmla="*/ 640861 h 1230837"/>
                <a:gd name="connsiteX1" fmla="*/ 1234311 w 1287686"/>
                <a:gd name="connsiteY1" fmla="*/ 387832 h 1230837"/>
                <a:gd name="connsiteX2" fmla="*/ 1209626 w 1287686"/>
                <a:gd name="connsiteY2" fmla="*/ 70004 h 1230837"/>
                <a:gd name="connsiteX3" fmla="*/ 1184940 w 1287686"/>
                <a:gd name="connsiteY3" fmla="*/ 57661 h 1230837"/>
                <a:gd name="connsiteX4" fmla="*/ 901054 w 1287686"/>
                <a:gd name="connsiteY4" fmla="*/ 20632 h 1230837"/>
                <a:gd name="connsiteX5" fmla="*/ 651112 w 1287686"/>
                <a:gd name="connsiteY5" fmla="*/ 289090 h 1230837"/>
                <a:gd name="connsiteX6" fmla="*/ 169740 w 1287686"/>
                <a:gd name="connsiteY6" fmla="*/ 350804 h 1230837"/>
                <a:gd name="connsiteX7" fmla="*/ 169740 w 1287686"/>
                <a:gd name="connsiteY7" fmla="*/ 647032 h 1230837"/>
                <a:gd name="connsiteX8" fmla="*/ 25 w 1287686"/>
                <a:gd name="connsiteY8" fmla="*/ 1026575 h 1230837"/>
                <a:gd name="connsiteX9" fmla="*/ 286998 w 1287686"/>
                <a:gd name="connsiteY9" fmla="*/ 1097546 h 1230837"/>
                <a:gd name="connsiteX10" fmla="*/ 786882 w 1287686"/>
                <a:gd name="connsiteY10" fmla="*/ 1146918 h 1230837"/>
                <a:gd name="connsiteX11" fmla="*/ 1237398 w 1287686"/>
                <a:gd name="connsiteY11" fmla="*/ 1230232 h 1230837"/>
                <a:gd name="connsiteX12" fmla="*/ 1255911 w 1287686"/>
                <a:gd name="connsiteY12" fmla="*/ 1214804 h 1230837"/>
                <a:gd name="connsiteX13" fmla="*/ 1277512 w 1287686"/>
                <a:gd name="connsiteY13" fmla="*/ 640861 h 1230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7686" h="1230837">
                  <a:moveTo>
                    <a:pt x="1277512" y="640861"/>
                  </a:moveTo>
                  <a:cubicBezTo>
                    <a:pt x="1268255" y="554460"/>
                    <a:pt x="1246655" y="474232"/>
                    <a:pt x="1234311" y="387832"/>
                  </a:cubicBezTo>
                  <a:cubicBezTo>
                    <a:pt x="1215797" y="282918"/>
                    <a:pt x="1212713" y="178004"/>
                    <a:pt x="1209626" y="70004"/>
                  </a:cubicBezTo>
                  <a:cubicBezTo>
                    <a:pt x="1209626" y="57661"/>
                    <a:pt x="1194197" y="51489"/>
                    <a:pt x="1184940" y="57661"/>
                  </a:cubicBezTo>
                  <a:cubicBezTo>
                    <a:pt x="1101626" y="2118"/>
                    <a:pt x="996713" y="-19482"/>
                    <a:pt x="901054" y="20632"/>
                  </a:cubicBezTo>
                  <a:cubicBezTo>
                    <a:pt x="789969" y="70004"/>
                    <a:pt x="709740" y="190346"/>
                    <a:pt x="651112" y="289090"/>
                  </a:cubicBezTo>
                  <a:cubicBezTo>
                    <a:pt x="580141" y="406346"/>
                    <a:pt x="222197" y="224289"/>
                    <a:pt x="169740" y="350804"/>
                  </a:cubicBezTo>
                  <a:cubicBezTo>
                    <a:pt x="138882" y="421775"/>
                    <a:pt x="200597" y="576061"/>
                    <a:pt x="169740" y="647032"/>
                  </a:cubicBezTo>
                  <a:cubicBezTo>
                    <a:pt x="141969" y="705661"/>
                    <a:pt x="18541" y="961775"/>
                    <a:pt x="25" y="1026575"/>
                  </a:cubicBezTo>
                  <a:cubicBezTo>
                    <a:pt x="-3060" y="1032746"/>
                    <a:pt x="277740" y="1094460"/>
                    <a:pt x="286998" y="1097546"/>
                  </a:cubicBezTo>
                  <a:lnTo>
                    <a:pt x="786882" y="1146918"/>
                  </a:lnTo>
                  <a:cubicBezTo>
                    <a:pt x="938083" y="1168518"/>
                    <a:pt x="1092369" y="1183947"/>
                    <a:pt x="1237398" y="1230232"/>
                  </a:cubicBezTo>
                  <a:cubicBezTo>
                    <a:pt x="1246655" y="1233317"/>
                    <a:pt x="1255911" y="1224061"/>
                    <a:pt x="1255911" y="1214804"/>
                  </a:cubicBezTo>
                  <a:cubicBezTo>
                    <a:pt x="1283684" y="1026575"/>
                    <a:pt x="1299112" y="832175"/>
                    <a:pt x="1277512" y="640861"/>
                  </a:cubicBezTo>
                  <a:close/>
                </a:path>
              </a:pathLst>
            </a:custGeom>
            <a:solidFill>
              <a:srgbClr val="F1DDB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D842C89F-42CB-4FD0-85D3-D296281667C2}"/>
                </a:ext>
              </a:extLst>
            </p:cNvPr>
            <p:cNvSpPr/>
            <p:nvPr/>
          </p:nvSpPr>
          <p:spPr>
            <a:xfrm>
              <a:off x="19340923" y="7908623"/>
              <a:ext cx="428797" cy="393763"/>
            </a:xfrm>
            <a:custGeom>
              <a:avLst/>
              <a:gdLst>
                <a:gd name="connsiteX0" fmla="*/ 418056 w 428797"/>
                <a:gd name="connsiteY0" fmla="*/ 123673 h 393763"/>
                <a:gd name="connsiteX1" fmla="*/ 279199 w 428797"/>
                <a:gd name="connsiteY1" fmla="*/ 379787 h 393763"/>
                <a:gd name="connsiteX2" fmla="*/ 10742 w 428797"/>
                <a:gd name="connsiteY2" fmla="*/ 271787 h 393763"/>
                <a:gd name="connsiteX3" fmla="*/ 149599 w 428797"/>
                <a:gd name="connsiteY3" fmla="*/ 15673 h 393763"/>
                <a:gd name="connsiteX4" fmla="*/ 418056 w 428797"/>
                <a:gd name="connsiteY4" fmla="*/ 123673 h 393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797" h="393763">
                  <a:moveTo>
                    <a:pt x="418056" y="123673"/>
                  </a:moveTo>
                  <a:cubicBezTo>
                    <a:pt x="455085" y="225501"/>
                    <a:pt x="393371" y="339673"/>
                    <a:pt x="279199" y="379787"/>
                  </a:cubicBezTo>
                  <a:cubicBezTo>
                    <a:pt x="165027" y="419901"/>
                    <a:pt x="44686" y="370530"/>
                    <a:pt x="10742" y="271787"/>
                  </a:cubicBezTo>
                  <a:cubicBezTo>
                    <a:pt x="-26287" y="169958"/>
                    <a:pt x="35427" y="55787"/>
                    <a:pt x="149599" y="15673"/>
                  </a:cubicBezTo>
                  <a:cubicBezTo>
                    <a:pt x="260686" y="-27527"/>
                    <a:pt x="381027" y="21844"/>
                    <a:pt x="418056" y="123673"/>
                  </a:cubicBezTo>
                  <a:close/>
                </a:path>
              </a:pathLst>
            </a:custGeom>
            <a:solidFill>
              <a:srgbClr val="664241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F7146A53-BC1E-478B-A934-E30FD87CFF9F}"/>
                </a:ext>
              </a:extLst>
            </p:cNvPr>
            <p:cNvSpPr/>
            <p:nvPr/>
          </p:nvSpPr>
          <p:spPr>
            <a:xfrm>
              <a:off x="19410294" y="8319085"/>
              <a:ext cx="406285" cy="306517"/>
            </a:xfrm>
            <a:custGeom>
              <a:avLst/>
              <a:gdLst>
                <a:gd name="connsiteX0" fmla="*/ 0 w 406285"/>
                <a:gd name="connsiteY0" fmla="*/ 34125 h 306517"/>
                <a:gd name="connsiteX1" fmla="*/ 299315 w 406285"/>
                <a:gd name="connsiteY1" fmla="*/ 305668 h 306517"/>
                <a:gd name="connsiteX2" fmla="*/ 299315 w 406285"/>
                <a:gd name="connsiteY2" fmla="*/ 52639 h 306517"/>
                <a:gd name="connsiteX3" fmla="*/ 0 w 406285"/>
                <a:gd name="connsiteY3" fmla="*/ 34125 h 306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285" h="306517">
                  <a:moveTo>
                    <a:pt x="0" y="34125"/>
                  </a:moveTo>
                  <a:cubicBezTo>
                    <a:pt x="0" y="34125"/>
                    <a:pt x="61714" y="324182"/>
                    <a:pt x="299315" y="305668"/>
                  </a:cubicBezTo>
                  <a:cubicBezTo>
                    <a:pt x="540000" y="287154"/>
                    <a:pt x="299315" y="52639"/>
                    <a:pt x="299315" y="52639"/>
                  </a:cubicBezTo>
                  <a:cubicBezTo>
                    <a:pt x="299315" y="52639"/>
                    <a:pt x="33942" y="-52275"/>
                    <a:pt x="0" y="34125"/>
                  </a:cubicBezTo>
                  <a:close/>
                </a:path>
              </a:pathLst>
            </a:custGeom>
            <a:solidFill>
              <a:srgbClr val="664241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4B7588EA-44B7-4491-8AD9-768D2296AB5B}"/>
                </a:ext>
              </a:extLst>
            </p:cNvPr>
            <p:cNvGrpSpPr/>
            <p:nvPr/>
          </p:nvGrpSpPr>
          <p:grpSpPr>
            <a:xfrm>
              <a:off x="19873151" y="12170238"/>
              <a:ext cx="383400" cy="393913"/>
              <a:chOff x="19873151" y="12170238"/>
              <a:chExt cx="383400" cy="393913"/>
            </a:xfrm>
          </p:grpSpPr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DE382F28-EA16-44F9-8E79-013075253AEC}"/>
                  </a:ext>
                </a:extLst>
              </p:cNvPr>
              <p:cNvSpPr/>
              <p:nvPr/>
            </p:nvSpPr>
            <p:spPr>
              <a:xfrm>
                <a:off x="19887589" y="12299839"/>
                <a:ext cx="368962" cy="264312"/>
              </a:xfrm>
              <a:custGeom>
                <a:avLst/>
                <a:gdLst>
                  <a:gd name="connsiteX0" fmla="*/ 139848 w 368962"/>
                  <a:gd name="connsiteY0" fmla="*/ 0 h 264312"/>
                  <a:gd name="connsiteX1" fmla="*/ 260189 w 368962"/>
                  <a:gd name="connsiteY1" fmla="*/ 166628 h 264312"/>
                  <a:gd name="connsiteX2" fmla="*/ 41105 w 368962"/>
                  <a:gd name="connsiteY2" fmla="*/ 37029 h 264312"/>
                  <a:gd name="connsiteX3" fmla="*/ 19504 w 368962"/>
                  <a:gd name="connsiteY3" fmla="*/ 21600 h 264312"/>
                  <a:gd name="connsiteX4" fmla="*/ 991 w 368962"/>
                  <a:gd name="connsiteY4" fmla="*/ 98743 h 264312"/>
                  <a:gd name="connsiteX5" fmla="*/ 13332 w 368962"/>
                  <a:gd name="connsiteY5" fmla="*/ 237600 h 264312"/>
                  <a:gd name="connsiteX6" fmla="*/ 41105 w 368962"/>
                  <a:gd name="connsiteY6" fmla="*/ 237600 h 264312"/>
                  <a:gd name="connsiteX7" fmla="*/ 56533 w 368962"/>
                  <a:gd name="connsiteY7" fmla="*/ 126514 h 264312"/>
                  <a:gd name="connsiteX8" fmla="*/ 201562 w 368962"/>
                  <a:gd name="connsiteY8" fmla="*/ 259200 h 264312"/>
                  <a:gd name="connsiteX9" fmla="*/ 362020 w 368962"/>
                  <a:gd name="connsiteY9" fmla="*/ 262286 h 264312"/>
                  <a:gd name="connsiteX10" fmla="*/ 362020 w 368962"/>
                  <a:gd name="connsiteY10" fmla="*/ 216000 h 264312"/>
                  <a:gd name="connsiteX11" fmla="*/ 139848 w 368962"/>
                  <a:gd name="connsiteY11" fmla="*/ 0 h 26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8962" h="264312">
                    <a:moveTo>
                      <a:pt x="139848" y="0"/>
                    </a:moveTo>
                    <a:cubicBezTo>
                      <a:pt x="139848" y="0"/>
                      <a:pt x="275618" y="157372"/>
                      <a:pt x="260189" y="166628"/>
                    </a:cubicBezTo>
                    <a:cubicBezTo>
                      <a:pt x="241676" y="175886"/>
                      <a:pt x="41105" y="37029"/>
                      <a:pt x="41105" y="37029"/>
                    </a:cubicBezTo>
                    <a:lnTo>
                      <a:pt x="19504" y="21600"/>
                    </a:lnTo>
                    <a:cubicBezTo>
                      <a:pt x="19504" y="21600"/>
                      <a:pt x="-5181" y="70971"/>
                      <a:pt x="991" y="98743"/>
                    </a:cubicBezTo>
                    <a:cubicBezTo>
                      <a:pt x="7162" y="126514"/>
                      <a:pt x="13332" y="237600"/>
                      <a:pt x="13332" y="237600"/>
                    </a:cubicBezTo>
                    <a:lnTo>
                      <a:pt x="41105" y="237600"/>
                    </a:lnTo>
                    <a:lnTo>
                      <a:pt x="56533" y="126514"/>
                    </a:lnTo>
                    <a:cubicBezTo>
                      <a:pt x="56533" y="126514"/>
                      <a:pt x="179962" y="256114"/>
                      <a:pt x="201562" y="259200"/>
                    </a:cubicBezTo>
                    <a:cubicBezTo>
                      <a:pt x="223162" y="265372"/>
                      <a:pt x="349676" y="265372"/>
                      <a:pt x="362020" y="262286"/>
                    </a:cubicBezTo>
                    <a:cubicBezTo>
                      <a:pt x="371276" y="262286"/>
                      <a:pt x="371276" y="222172"/>
                      <a:pt x="362020" y="216000"/>
                    </a:cubicBezTo>
                    <a:cubicBezTo>
                      <a:pt x="281790" y="172800"/>
                      <a:pt x="139848" y="0"/>
                      <a:pt x="139848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7AD0681E-0030-4E43-B96E-59BECDE3C1AA}"/>
                  </a:ext>
                </a:extLst>
              </p:cNvPr>
              <p:cNvSpPr/>
              <p:nvPr/>
            </p:nvSpPr>
            <p:spPr>
              <a:xfrm>
                <a:off x="19873151" y="12170238"/>
                <a:ext cx="276864" cy="297992"/>
              </a:xfrm>
              <a:custGeom>
                <a:avLst/>
                <a:gdLst>
                  <a:gd name="connsiteX0" fmla="*/ 104913 w 276864"/>
                  <a:gd name="connsiteY0" fmla="*/ 0 h 297992"/>
                  <a:gd name="connsiteX1" fmla="*/ 154286 w 276864"/>
                  <a:gd name="connsiteY1" fmla="*/ 129600 h 297992"/>
                  <a:gd name="connsiteX2" fmla="*/ 274627 w 276864"/>
                  <a:gd name="connsiteY2" fmla="*/ 296229 h 297992"/>
                  <a:gd name="connsiteX3" fmla="*/ 37029 w 276864"/>
                  <a:gd name="connsiteY3" fmla="*/ 151201 h 297992"/>
                  <a:gd name="connsiteX4" fmla="*/ 0 w 276864"/>
                  <a:gd name="connsiteY4" fmla="*/ 0 h 297992"/>
                  <a:gd name="connsiteX5" fmla="*/ 104913 w 276864"/>
                  <a:gd name="connsiteY5" fmla="*/ 0 h 297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6864" h="297992">
                    <a:moveTo>
                      <a:pt x="104913" y="0"/>
                    </a:moveTo>
                    <a:lnTo>
                      <a:pt x="154286" y="129600"/>
                    </a:lnTo>
                    <a:cubicBezTo>
                      <a:pt x="154286" y="129600"/>
                      <a:pt x="296228" y="280800"/>
                      <a:pt x="274627" y="296229"/>
                    </a:cubicBezTo>
                    <a:cubicBezTo>
                      <a:pt x="253029" y="314743"/>
                      <a:pt x="33942" y="182058"/>
                      <a:pt x="37029" y="151201"/>
                    </a:cubicBezTo>
                    <a:cubicBezTo>
                      <a:pt x="37029" y="101829"/>
                      <a:pt x="0" y="0"/>
                      <a:pt x="0" y="0"/>
                    </a:cubicBezTo>
                    <a:lnTo>
                      <a:pt x="104913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7" name="图形 1">
              <a:extLst>
                <a:ext uri="{FF2B5EF4-FFF2-40B4-BE49-F238E27FC236}">
                  <a16:creationId xmlns:a16="http://schemas.microsoft.com/office/drawing/2014/main" id="{8EF2E7A5-8238-4C94-B7B2-D16B2B5A5F63}"/>
                </a:ext>
              </a:extLst>
            </p:cNvPr>
            <p:cNvGrpSpPr/>
            <p:nvPr/>
          </p:nvGrpSpPr>
          <p:grpSpPr>
            <a:xfrm>
              <a:off x="18580236" y="11796868"/>
              <a:ext cx="373372" cy="497885"/>
              <a:chOff x="18580236" y="11796868"/>
              <a:chExt cx="373372" cy="497885"/>
            </a:xfrm>
          </p:grpSpPr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7851CF6A-5EDD-432E-B78B-A539FF34AF2A}"/>
                  </a:ext>
                </a:extLst>
              </p:cNvPr>
              <p:cNvSpPr/>
              <p:nvPr/>
            </p:nvSpPr>
            <p:spPr>
              <a:xfrm>
                <a:off x="18580236" y="11877096"/>
                <a:ext cx="268457" cy="417657"/>
              </a:xfrm>
              <a:custGeom>
                <a:avLst/>
                <a:gdLst>
                  <a:gd name="connsiteX0" fmla="*/ 268458 w 268457"/>
                  <a:gd name="connsiteY0" fmla="*/ 89486 h 417657"/>
                  <a:gd name="connsiteX1" fmla="*/ 197486 w 268457"/>
                  <a:gd name="connsiteY1" fmla="*/ 280800 h 417657"/>
                  <a:gd name="connsiteX2" fmla="*/ 178971 w 268457"/>
                  <a:gd name="connsiteY2" fmla="*/ 27772 h 417657"/>
                  <a:gd name="connsiteX3" fmla="*/ 182058 w 268457"/>
                  <a:gd name="connsiteY3" fmla="*/ 0 h 417657"/>
                  <a:gd name="connsiteX4" fmla="*/ 108000 w 268457"/>
                  <a:gd name="connsiteY4" fmla="*/ 27772 h 417657"/>
                  <a:gd name="connsiteX5" fmla="*/ 0 w 268457"/>
                  <a:gd name="connsiteY5" fmla="*/ 117258 h 417657"/>
                  <a:gd name="connsiteX6" fmla="*/ 15429 w 268457"/>
                  <a:gd name="connsiteY6" fmla="*/ 138857 h 417657"/>
                  <a:gd name="connsiteX7" fmla="*/ 117257 w 268457"/>
                  <a:gd name="connsiteY7" fmla="*/ 89486 h 417657"/>
                  <a:gd name="connsiteX8" fmla="*/ 89486 w 268457"/>
                  <a:gd name="connsiteY8" fmla="*/ 283886 h 417657"/>
                  <a:gd name="connsiteX9" fmla="*/ 175886 w 268457"/>
                  <a:gd name="connsiteY9" fmla="*/ 416571 h 417657"/>
                  <a:gd name="connsiteX10" fmla="*/ 216000 w 268457"/>
                  <a:gd name="connsiteY10" fmla="*/ 388800 h 417657"/>
                  <a:gd name="connsiteX11" fmla="*/ 268458 w 268457"/>
                  <a:gd name="connsiteY11" fmla="*/ 89486 h 41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8457" h="417657">
                    <a:moveTo>
                      <a:pt x="268458" y="89486"/>
                    </a:moveTo>
                    <a:cubicBezTo>
                      <a:pt x="268458" y="89486"/>
                      <a:pt x="216000" y="290058"/>
                      <a:pt x="197486" y="280800"/>
                    </a:cubicBezTo>
                    <a:cubicBezTo>
                      <a:pt x="178971" y="271543"/>
                      <a:pt x="178971" y="27772"/>
                      <a:pt x="178971" y="27772"/>
                    </a:cubicBezTo>
                    <a:lnTo>
                      <a:pt x="182058" y="0"/>
                    </a:lnTo>
                    <a:cubicBezTo>
                      <a:pt x="182058" y="0"/>
                      <a:pt x="126515" y="9258"/>
                      <a:pt x="108000" y="27772"/>
                    </a:cubicBezTo>
                    <a:cubicBezTo>
                      <a:pt x="86400" y="46286"/>
                      <a:pt x="0" y="117258"/>
                      <a:pt x="0" y="117258"/>
                    </a:cubicBezTo>
                    <a:lnTo>
                      <a:pt x="15429" y="138857"/>
                    </a:lnTo>
                    <a:lnTo>
                      <a:pt x="117257" y="89486"/>
                    </a:lnTo>
                    <a:cubicBezTo>
                      <a:pt x="117257" y="89486"/>
                      <a:pt x="80230" y="262286"/>
                      <a:pt x="89486" y="283886"/>
                    </a:cubicBezTo>
                    <a:cubicBezTo>
                      <a:pt x="98743" y="305486"/>
                      <a:pt x="169714" y="410401"/>
                      <a:pt x="175886" y="416571"/>
                    </a:cubicBezTo>
                    <a:cubicBezTo>
                      <a:pt x="182058" y="422743"/>
                      <a:pt x="216000" y="401143"/>
                      <a:pt x="216000" y="388800"/>
                    </a:cubicBezTo>
                    <a:cubicBezTo>
                      <a:pt x="206743" y="302401"/>
                      <a:pt x="268458" y="89486"/>
                      <a:pt x="268458" y="89486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CAB46279-B1D4-4048-9D85-0237F53CCB39}"/>
                  </a:ext>
                </a:extLst>
              </p:cNvPr>
              <p:cNvSpPr/>
              <p:nvPr/>
            </p:nvSpPr>
            <p:spPr>
              <a:xfrm>
                <a:off x="18749005" y="11796868"/>
                <a:ext cx="204603" cy="361338"/>
              </a:xfrm>
              <a:custGeom>
                <a:avLst/>
                <a:gdLst>
                  <a:gd name="connsiteX0" fmla="*/ 204604 w 204603"/>
                  <a:gd name="connsiteY0" fmla="*/ 95656 h 361338"/>
                  <a:gd name="connsiteX1" fmla="*/ 99689 w 204603"/>
                  <a:gd name="connsiteY1" fmla="*/ 169714 h 361338"/>
                  <a:gd name="connsiteX2" fmla="*/ 28718 w 204603"/>
                  <a:gd name="connsiteY2" fmla="*/ 361028 h 361338"/>
                  <a:gd name="connsiteX3" fmla="*/ 13289 w 204603"/>
                  <a:gd name="connsiteY3" fmla="*/ 83314 h 361338"/>
                  <a:gd name="connsiteX4" fmla="*/ 136718 w 204603"/>
                  <a:gd name="connsiteY4" fmla="*/ 0 h 361338"/>
                  <a:gd name="connsiteX5" fmla="*/ 204604 w 204603"/>
                  <a:gd name="connsiteY5" fmla="*/ 95656 h 361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4603" h="361338">
                    <a:moveTo>
                      <a:pt x="204604" y="95656"/>
                    </a:moveTo>
                    <a:lnTo>
                      <a:pt x="99689" y="169714"/>
                    </a:lnTo>
                    <a:cubicBezTo>
                      <a:pt x="99689" y="169714"/>
                      <a:pt x="56488" y="370286"/>
                      <a:pt x="28718" y="361028"/>
                    </a:cubicBezTo>
                    <a:cubicBezTo>
                      <a:pt x="946" y="351771"/>
                      <a:pt x="-11396" y="98742"/>
                      <a:pt x="13289" y="83314"/>
                    </a:cubicBezTo>
                    <a:cubicBezTo>
                      <a:pt x="53403" y="52457"/>
                      <a:pt x="136718" y="0"/>
                      <a:pt x="136718" y="0"/>
                    </a:cubicBezTo>
                    <a:lnTo>
                      <a:pt x="204604" y="95656"/>
                    </a:ln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57486298-D351-4EEA-9FBE-1C7C3C4A527F}"/>
                </a:ext>
              </a:extLst>
            </p:cNvPr>
            <p:cNvSpPr/>
            <p:nvPr/>
          </p:nvSpPr>
          <p:spPr>
            <a:xfrm>
              <a:off x="18765379" y="9707839"/>
              <a:ext cx="1420635" cy="2551886"/>
            </a:xfrm>
            <a:custGeom>
              <a:avLst/>
              <a:gdLst>
                <a:gd name="connsiteX0" fmla="*/ 623315 w 1420635"/>
                <a:gd name="connsiteY0" fmla="*/ 0 h 2551886"/>
                <a:gd name="connsiteX1" fmla="*/ 1299087 w 1420635"/>
                <a:gd name="connsiteY1" fmla="*/ 0 h 2551886"/>
                <a:gd name="connsiteX2" fmla="*/ 1419429 w 1420635"/>
                <a:gd name="connsiteY2" fmla="*/ 465943 h 2551886"/>
                <a:gd name="connsiteX3" fmla="*/ 1237373 w 1420635"/>
                <a:gd name="connsiteY3" fmla="*/ 2514857 h 2551886"/>
                <a:gd name="connsiteX4" fmla="*/ 1061487 w 1420635"/>
                <a:gd name="connsiteY4" fmla="*/ 2551886 h 2551886"/>
                <a:gd name="connsiteX5" fmla="*/ 953487 w 1420635"/>
                <a:gd name="connsiteY5" fmla="*/ 820800 h 2551886"/>
                <a:gd name="connsiteX6" fmla="*/ 860915 w 1420635"/>
                <a:gd name="connsiteY6" fmla="*/ 1777372 h 2551886"/>
                <a:gd name="connsiteX7" fmla="*/ 129600 w 1420635"/>
                <a:gd name="connsiteY7" fmla="*/ 2301943 h 2551886"/>
                <a:gd name="connsiteX8" fmla="*/ 0 w 1420635"/>
                <a:gd name="connsiteY8" fmla="*/ 2070515 h 2551886"/>
                <a:gd name="connsiteX9" fmla="*/ 524571 w 1420635"/>
                <a:gd name="connsiteY9" fmla="*/ 1675543 h 2551886"/>
                <a:gd name="connsiteX10" fmla="*/ 487543 w 1420635"/>
                <a:gd name="connsiteY10" fmla="*/ 419657 h 2551886"/>
                <a:gd name="connsiteX11" fmla="*/ 623315 w 1420635"/>
                <a:gd name="connsiteY11" fmla="*/ 0 h 2551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20635" h="2551886">
                  <a:moveTo>
                    <a:pt x="623315" y="0"/>
                  </a:moveTo>
                  <a:lnTo>
                    <a:pt x="1299087" y="0"/>
                  </a:lnTo>
                  <a:cubicBezTo>
                    <a:pt x="1299087" y="0"/>
                    <a:pt x="1397828" y="308571"/>
                    <a:pt x="1419429" y="465943"/>
                  </a:cubicBezTo>
                  <a:cubicBezTo>
                    <a:pt x="1437944" y="620229"/>
                    <a:pt x="1237373" y="2514857"/>
                    <a:pt x="1237373" y="2514857"/>
                  </a:cubicBezTo>
                  <a:lnTo>
                    <a:pt x="1061487" y="2551886"/>
                  </a:lnTo>
                  <a:lnTo>
                    <a:pt x="953487" y="820800"/>
                  </a:lnTo>
                  <a:cubicBezTo>
                    <a:pt x="953487" y="820800"/>
                    <a:pt x="867087" y="1761943"/>
                    <a:pt x="860915" y="1777372"/>
                  </a:cubicBezTo>
                  <a:lnTo>
                    <a:pt x="129600" y="2301943"/>
                  </a:lnTo>
                  <a:lnTo>
                    <a:pt x="0" y="2070515"/>
                  </a:lnTo>
                  <a:lnTo>
                    <a:pt x="524571" y="1675543"/>
                  </a:lnTo>
                  <a:cubicBezTo>
                    <a:pt x="524571" y="1675543"/>
                    <a:pt x="493714" y="484458"/>
                    <a:pt x="487543" y="419657"/>
                  </a:cubicBezTo>
                  <a:cubicBezTo>
                    <a:pt x="478286" y="299315"/>
                    <a:pt x="623315" y="0"/>
                    <a:pt x="623315" y="0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5BE5B1FF-FA78-4B90-9B1C-48F90A8B3228}"/>
                </a:ext>
              </a:extLst>
            </p:cNvPr>
            <p:cNvSpPr/>
            <p:nvPr/>
          </p:nvSpPr>
          <p:spPr>
            <a:xfrm>
              <a:off x="18890523" y="10099725"/>
              <a:ext cx="877713" cy="1919313"/>
            </a:xfrm>
            <a:custGeom>
              <a:avLst/>
              <a:gdLst>
                <a:gd name="connsiteX0" fmla="*/ 4457 w 877713"/>
                <a:gd name="connsiteY0" fmla="*/ 1919314 h 1919313"/>
                <a:gd name="connsiteX1" fmla="*/ 1372 w 877713"/>
                <a:gd name="connsiteY1" fmla="*/ 1916228 h 1919313"/>
                <a:gd name="connsiteX2" fmla="*/ 1372 w 877713"/>
                <a:gd name="connsiteY2" fmla="*/ 1906971 h 1919313"/>
                <a:gd name="connsiteX3" fmla="*/ 729600 w 877713"/>
                <a:gd name="connsiteY3" fmla="*/ 1382400 h 1919313"/>
                <a:gd name="connsiteX4" fmla="*/ 822171 w 877713"/>
                <a:gd name="connsiteY4" fmla="*/ 428914 h 1919313"/>
                <a:gd name="connsiteX5" fmla="*/ 865372 w 877713"/>
                <a:gd name="connsiteY5" fmla="*/ 6171 h 1919313"/>
                <a:gd name="connsiteX6" fmla="*/ 871542 w 877713"/>
                <a:gd name="connsiteY6" fmla="*/ 0 h 1919313"/>
                <a:gd name="connsiteX7" fmla="*/ 877714 w 877713"/>
                <a:gd name="connsiteY7" fmla="*/ 6171 h 1919313"/>
                <a:gd name="connsiteX8" fmla="*/ 834515 w 877713"/>
                <a:gd name="connsiteY8" fmla="*/ 428914 h 1919313"/>
                <a:gd name="connsiteX9" fmla="*/ 741943 w 877713"/>
                <a:gd name="connsiteY9" fmla="*/ 1388571 h 1919313"/>
                <a:gd name="connsiteX10" fmla="*/ 738857 w 877713"/>
                <a:gd name="connsiteY10" fmla="*/ 1391656 h 1919313"/>
                <a:gd name="connsiteX11" fmla="*/ 7542 w 877713"/>
                <a:gd name="connsiteY11" fmla="*/ 1916228 h 1919313"/>
                <a:gd name="connsiteX12" fmla="*/ 4457 w 877713"/>
                <a:gd name="connsiteY12" fmla="*/ 1919314 h 191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7713" h="1919313">
                  <a:moveTo>
                    <a:pt x="4457" y="1919314"/>
                  </a:moveTo>
                  <a:cubicBezTo>
                    <a:pt x="1372" y="1919314"/>
                    <a:pt x="1372" y="1919314"/>
                    <a:pt x="1372" y="1916228"/>
                  </a:cubicBezTo>
                  <a:cubicBezTo>
                    <a:pt x="-1715" y="1913143"/>
                    <a:pt x="1372" y="1910057"/>
                    <a:pt x="1372" y="1906971"/>
                  </a:cubicBezTo>
                  <a:lnTo>
                    <a:pt x="729600" y="1382400"/>
                  </a:lnTo>
                  <a:cubicBezTo>
                    <a:pt x="735772" y="1345371"/>
                    <a:pt x="791314" y="743656"/>
                    <a:pt x="822171" y="428914"/>
                  </a:cubicBezTo>
                  <a:lnTo>
                    <a:pt x="865372" y="6171"/>
                  </a:lnTo>
                  <a:cubicBezTo>
                    <a:pt x="865372" y="3085"/>
                    <a:pt x="868457" y="0"/>
                    <a:pt x="871542" y="0"/>
                  </a:cubicBezTo>
                  <a:cubicBezTo>
                    <a:pt x="874629" y="0"/>
                    <a:pt x="877714" y="3085"/>
                    <a:pt x="877714" y="6171"/>
                  </a:cubicBezTo>
                  <a:lnTo>
                    <a:pt x="834515" y="428914"/>
                  </a:lnTo>
                  <a:cubicBezTo>
                    <a:pt x="825256" y="524571"/>
                    <a:pt x="748113" y="1370057"/>
                    <a:pt x="741943" y="1388571"/>
                  </a:cubicBezTo>
                  <a:cubicBezTo>
                    <a:pt x="741943" y="1388571"/>
                    <a:pt x="741943" y="1391656"/>
                    <a:pt x="738857" y="1391656"/>
                  </a:cubicBezTo>
                  <a:lnTo>
                    <a:pt x="7542" y="1916228"/>
                  </a:lnTo>
                  <a:cubicBezTo>
                    <a:pt x="7542" y="1919314"/>
                    <a:pt x="4457" y="1919314"/>
                    <a:pt x="4457" y="1919314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FCFB59FA-B7C4-4293-8E89-7E0DF4BC8785}"/>
                </a:ext>
              </a:extLst>
            </p:cNvPr>
            <p:cNvSpPr/>
            <p:nvPr/>
          </p:nvSpPr>
          <p:spPr>
            <a:xfrm>
              <a:off x="19256009" y="9865210"/>
              <a:ext cx="182056" cy="191313"/>
            </a:xfrm>
            <a:custGeom>
              <a:avLst/>
              <a:gdLst>
                <a:gd name="connsiteX0" fmla="*/ 6172 w 182056"/>
                <a:gd name="connsiteY0" fmla="*/ 191314 h 191313"/>
                <a:gd name="connsiteX1" fmla="*/ 0 w 182056"/>
                <a:gd name="connsiteY1" fmla="*/ 188229 h 191313"/>
                <a:gd name="connsiteX2" fmla="*/ 3085 w 182056"/>
                <a:gd name="connsiteY2" fmla="*/ 182057 h 191313"/>
                <a:gd name="connsiteX3" fmla="*/ 172799 w 182056"/>
                <a:gd name="connsiteY3" fmla="*/ 3086 h 191313"/>
                <a:gd name="connsiteX4" fmla="*/ 178971 w 182056"/>
                <a:gd name="connsiteY4" fmla="*/ 0 h 191313"/>
                <a:gd name="connsiteX5" fmla="*/ 182056 w 182056"/>
                <a:gd name="connsiteY5" fmla="*/ 6171 h 191313"/>
                <a:gd name="connsiteX6" fmla="*/ 6172 w 182056"/>
                <a:gd name="connsiteY6" fmla="*/ 191314 h 191313"/>
                <a:gd name="connsiteX7" fmla="*/ 6172 w 182056"/>
                <a:gd name="connsiteY7" fmla="*/ 191314 h 191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056" h="191313">
                  <a:moveTo>
                    <a:pt x="6172" y="191314"/>
                  </a:moveTo>
                  <a:cubicBezTo>
                    <a:pt x="3085" y="191314"/>
                    <a:pt x="0" y="188229"/>
                    <a:pt x="0" y="188229"/>
                  </a:cubicBezTo>
                  <a:cubicBezTo>
                    <a:pt x="0" y="185143"/>
                    <a:pt x="0" y="182057"/>
                    <a:pt x="3085" y="182057"/>
                  </a:cubicBezTo>
                  <a:cubicBezTo>
                    <a:pt x="117257" y="151200"/>
                    <a:pt x="169714" y="6171"/>
                    <a:pt x="172799" y="3086"/>
                  </a:cubicBezTo>
                  <a:cubicBezTo>
                    <a:pt x="172799" y="0"/>
                    <a:pt x="175886" y="0"/>
                    <a:pt x="178971" y="0"/>
                  </a:cubicBezTo>
                  <a:cubicBezTo>
                    <a:pt x="182056" y="0"/>
                    <a:pt x="182056" y="3086"/>
                    <a:pt x="182056" y="6171"/>
                  </a:cubicBezTo>
                  <a:cubicBezTo>
                    <a:pt x="182056" y="12343"/>
                    <a:pt x="126514" y="157372"/>
                    <a:pt x="6172" y="191314"/>
                  </a:cubicBezTo>
                  <a:cubicBezTo>
                    <a:pt x="6172" y="191314"/>
                    <a:pt x="6172" y="191314"/>
                    <a:pt x="6172" y="191314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EF0B0172-8CA1-458F-A79D-232C6B55D92B}"/>
                </a:ext>
              </a:extLst>
            </p:cNvPr>
            <p:cNvSpPr/>
            <p:nvPr/>
          </p:nvSpPr>
          <p:spPr>
            <a:xfrm>
              <a:off x="19993493" y="9862125"/>
              <a:ext cx="175886" cy="197485"/>
            </a:xfrm>
            <a:custGeom>
              <a:avLst/>
              <a:gdLst>
                <a:gd name="connsiteX0" fmla="*/ 169714 w 175886"/>
                <a:gd name="connsiteY0" fmla="*/ 197486 h 197485"/>
                <a:gd name="connsiteX1" fmla="*/ 169714 w 175886"/>
                <a:gd name="connsiteY1" fmla="*/ 197486 h 197485"/>
                <a:gd name="connsiteX2" fmla="*/ 0 w 175886"/>
                <a:gd name="connsiteY2" fmla="*/ 9257 h 197485"/>
                <a:gd name="connsiteX3" fmla="*/ 3087 w 175886"/>
                <a:gd name="connsiteY3" fmla="*/ 0 h 197485"/>
                <a:gd name="connsiteX4" fmla="*/ 12344 w 175886"/>
                <a:gd name="connsiteY4" fmla="*/ 3086 h 197485"/>
                <a:gd name="connsiteX5" fmla="*/ 172801 w 175886"/>
                <a:gd name="connsiteY5" fmla="*/ 185143 h 197485"/>
                <a:gd name="connsiteX6" fmla="*/ 175886 w 175886"/>
                <a:gd name="connsiteY6" fmla="*/ 191315 h 197485"/>
                <a:gd name="connsiteX7" fmla="*/ 169714 w 175886"/>
                <a:gd name="connsiteY7" fmla="*/ 197486 h 19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886" h="197485">
                  <a:moveTo>
                    <a:pt x="169714" y="197486"/>
                  </a:moveTo>
                  <a:cubicBezTo>
                    <a:pt x="166629" y="197486"/>
                    <a:pt x="166629" y="197486"/>
                    <a:pt x="169714" y="197486"/>
                  </a:cubicBezTo>
                  <a:cubicBezTo>
                    <a:pt x="86402" y="163542"/>
                    <a:pt x="3087" y="15429"/>
                    <a:pt x="0" y="9257"/>
                  </a:cubicBezTo>
                  <a:cubicBezTo>
                    <a:pt x="0" y="6172"/>
                    <a:pt x="0" y="3086"/>
                    <a:pt x="3087" y="0"/>
                  </a:cubicBezTo>
                  <a:cubicBezTo>
                    <a:pt x="6172" y="0"/>
                    <a:pt x="9259" y="0"/>
                    <a:pt x="12344" y="3086"/>
                  </a:cubicBezTo>
                  <a:cubicBezTo>
                    <a:pt x="12344" y="3086"/>
                    <a:pt x="95658" y="154286"/>
                    <a:pt x="172801" y="185143"/>
                  </a:cubicBezTo>
                  <a:cubicBezTo>
                    <a:pt x="175886" y="185143"/>
                    <a:pt x="175886" y="188229"/>
                    <a:pt x="175886" y="191315"/>
                  </a:cubicBezTo>
                  <a:cubicBezTo>
                    <a:pt x="172801" y="197486"/>
                    <a:pt x="169714" y="197486"/>
                    <a:pt x="169714" y="197486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D54C1EAF-0B72-4E75-860F-1674C4B2CDC9}"/>
                </a:ext>
              </a:extLst>
            </p:cNvPr>
            <p:cNvSpPr/>
            <p:nvPr/>
          </p:nvSpPr>
          <p:spPr>
            <a:xfrm>
              <a:off x="19337738" y="8737491"/>
              <a:ext cx="830520" cy="998210"/>
            </a:xfrm>
            <a:custGeom>
              <a:avLst/>
              <a:gdLst>
                <a:gd name="connsiteX0" fmla="*/ 44784 w 830520"/>
                <a:gd name="connsiteY0" fmla="*/ 396404 h 998210"/>
                <a:gd name="connsiteX1" fmla="*/ 60213 w 830520"/>
                <a:gd name="connsiteY1" fmla="*/ 69319 h 998210"/>
                <a:gd name="connsiteX2" fmla="*/ 433585 w 830520"/>
                <a:gd name="connsiteY2" fmla="*/ 4519 h 998210"/>
                <a:gd name="connsiteX3" fmla="*/ 739070 w 830520"/>
                <a:gd name="connsiteY3" fmla="*/ 106347 h 998210"/>
                <a:gd name="connsiteX4" fmla="*/ 779184 w 830520"/>
                <a:gd name="connsiteY4" fmla="*/ 661776 h 998210"/>
                <a:gd name="connsiteX5" fmla="*/ 735985 w 830520"/>
                <a:gd name="connsiteY5" fmla="*/ 991948 h 998210"/>
                <a:gd name="connsiteX6" fmla="*/ 50956 w 830520"/>
                <a:gd name="connsiteY6" fmla="*/ 976519 h 998210"/>
                <a:gd name="connsiteX7" fmla="*/ 44784 w 830520"/>
                <a:gd name="connsiteY7" fmla="*/ 396404 h 998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0520" h="998210">
                  <a:moveTo>
                    <a:pt x="44784" y="396404"/>
                  </a:moveTo>
                  <a:cubicBezTo>
                    <a:pt x="35527" y="365547"/>
                    <a:pt x="-60129" y="134119"/>
                    <a:pt x="60213" y="69319"/>
                  </a:cubicBezTo>
                  <a:cubicBezTo>
                    <a:pt x="165128" y="13776"/>
                    <a:pt x="313241" y="-10910"/>
                    <a:pt x="433585" y="4519"/>
                  </a:cubicBezTo>
                  <a:cubicBezTo>
                    <a:pt x="566270" y="19947"/>
                    <a:pt x="698956" y="41547"/>
                    <a:pt x="739070" y="106347"/>
                  </a:cubicBezTo>
                  <a:cubicBezTo>
                    <a:pt x="853242" y="294576"/>
                    <a:pt x="853242" y="461204"/>
                    <a:pt x="779184" y="661776"/>
                  </a:cubicBezTo>
                  <a:cubicBezTo>
                    <a:pt x="757585" y="720404"/>
                    <a:pt x="751413" y="856176"/>
                    <a:pt x="735985" y="991948"/>
                  </a:cubicBezTo>
                  <a:cubicBezTo>
                    <a:pt x="735985" y="991948"/>
                    <a:pt x="449014" y="1013547"/>
                    <a:pt x="50956" y="976519"/>
                  </a:cubicBezTo>
                  <a:cubicBezTo>
                    <a:pt x="81813" y="754347"/>
                    <a:pt x="50956" y="421090"/>
                    <a:pt x="44784" y="396404"/>
                  </a:cubicBezTo>
                  <a:close/>
                </a:path>
              </a:pathLst>
            </a:custGeom>
            <a:solidFill>
              <a:srgbClr val="F6EBE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01183068-6CF6-4CBA-BA3F-37BBBD9F885C}"/>
                </a:ext>
              </a:extLst>
            </p:cNvPr>
            <p:cNvSpPr/>
            <p:nvPr/>
          </p:nvSpPr>
          <p:spPr>
            <a:xfrm>
              <a:off x="19681499" y="8038806"/>
              <a:ext cx="325118" cy="596921"/>
            </a:xfrm>
            <a:custGeom>
              <a:avLst/>
              <a:gdLst>
                <a:gd name="connsiteX0" fmla="*/ 145367 w 325118"/>
                <a:gd name="connsiteY0" fmla="*/ 582861 h 596921"/>
                <a:gd name="connsiteX1" fmla="*/ 324338 w 325118"/>
                <a:gd name="connsiteY1" fmla="*/ 234175 h 596921"/>
                <a:gd name="connsiteX2" fmla="*/ 338 w 325118"/>
                <a:gd name="connsiteY2" fmla="*/ 8918 h 596921"/>
                <a:gd name="connsiteX3" fmla="*/ 37366 w 325118"/>
                <a:gd name="connsiteY3" fmla="*/ 178632 h 596921"/>
                <a:gd name="connsiteX4" fmla="*/ 86737 w 325118"/>
                <a:gd name="connsiteY4" fmla="*/ 323661 h 596921"/>
                <a:gd name="connsiteX5" fmla="*/ 145367 w 325118"/>
                <a:gd name="connsiteY5" fmla="*/ 582861 h 596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5118" h="596921">
                  <a:moveTo>
                    <a:pt x="145367" y="582861"/>
                  </a:moveTo>
                  <a:cubicBezTo>
                    <a:pt x="302737" y="552004"/>
                    <a:pt x="330509" y="298976"/>
                    <a:pt x="324338" y="234175"/>
                  </a:cubicBezTo>
                  <a:cubicBezTo>
                    <a:pt x="302737" y="67547"/>
                    <a:pt x="117594" y="-31196"/>
                    <a:pt x="338" y="8918"/>
                  </a:cubicBezTo>
                  <a:cubicBezTo>
                    <a:pt x="-2747" y="8918"/>
                    <a:pt x="15766" y="129261"/>
                    <a:pt x="37366" y="178632"/>
                  </a:cubicBezTo>
                  <a:cubicBezTo>
                    <a:pt x="58967" y="224918"/>
                    <a:pt x="77480" y="274290"/>
                    <a:pt x="86737" y="323661"/>
                  </a:cubicBezTo>
                  <a:cubicBezTo>
                    <a:pt x="95994" y="376118"/>
                    <a:pt x="46623" y="663089"/>
                    <a:pt x="145367" y="582861"/>
                  </a:cubicBezTo>
                  <a:close/>
                </a:path>
              </a:pathLst>
            </a:custGeom>
            <a:solidFill>
              <a:srgbClr val="664241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D6778B01-B242-476D-8956-23E11CFC89C1}"/>
                </a:ext>
              </a:extLst>
            </p:cNvPr>
            <p:cNvSpPr/>
            <p:nvPr/>
          </p:nvSpPr>
          <p:spPr>
            <a:xfrm>
              <a:off x="19509038" y="8093130"/>
              <a:ext cx="427716" cy="575146"/>
            </a:xfrm>
            <a:custGeom>
              <a:avLst/>
              <a:gdLst>
                <a:gd name="connsiteX0" fmla="*/ 419656 w 427716"/>
                <a:gd name="connsiteY0" fmla="*/ 186023 h 575146"/>
                <a:gd name="connsiteX1" fmla="*/ 407313 w 427716"/>
                <a:gd name="connsiteY1" fmla="*/ 445223 h 575146"/>
                <a:gd name="connsiteX2" fmla="*/ 256114 w 427716"/>
                <a:gd name="connsiteY2" fmla="*/ 574823 h 575146"/>
                <a:gd name="connsiteX3" fmla="*/ 37027 w 427716"/>
                <a:gd name="connsiteY3" fmla="*/ 429794 h 575146"/>
                <a:gd name="connsiteX4" fmla="*/ 0 w 427716"/>
                <a:gd name="connsiteY4" fmla="*/ 201451 h 575146"/>
                <a:gd name="connsiteX5" fmla="*/ 216000 w 427716"/>
                <a:gd name="connsiteY5" fmla="*/ 880 h 575146"/>
                <a:gd name="connsiteX6" fmla="*/ 419656 w 427716"/>
                <a:gd name="connsiteY6" fmla="*/ 186023 h 57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716" h="575146">
                  <a:moveTo>
                    <a:pt x="419656" y="186023"/>
                  </a:moveTo>
                  <a:cubicBezTo>
                    <a:pt x="419656" y="186023"/>
                    <a:pt x="444342" y="377337"/>
                    <a:pt x="407313" y="445223"/>
                  </a:cubicBezTo>
                  <a:cubicBezTo>
                    <a:pt x="370286" y="513108"/>
                    <a:pt x="308571" y="571737"/>
                    <a:pt x="256114" y="574823"/>
                  </a:cubicBezTo>
                  <a:cubicBezTo>
                    <a:pt x="188228" y="580994"/>
                    <a:pt x="74056" y="497680"/>
                    <a:pt x="37027" y="429794"/>
                  </a:cubicBezTo>
                  <a:cubicBezTo>
                    <a:pt x="0" y="361908"/>
                    <a:pt x="0" y="253908"/>
                    <a:pt x="0" y="201451"/>
                  </a:cubicBezTo>
                  <a:cubicBezTo>
                    <a:pt x="3085" y="105794"/>
                    <a:pt x="30857" y="25565"/>
                    <a:pt x="216000" y="880"/>
                  </a:cubicBezTo>
                  <a:cubicBezTo>
                    <a:pt x="305485" y="-11463"/>
                    <a:pt x="401143" y="108880"/>
                    <a:pt x="419656" y="186023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A984A235-4434-49E5-B32A-B763AC137046}"/>
                </a:ext>
              </a:extLst>
            </p:cNvPr>
            <p:cNvSpPr/>
            <p:nvPr/>
          </p:nvSpPr>
          <p:spPr>
            <a:xfrm>
              <a:off x="19737379" y="8368639"/>
              <a:ext cx="55542" cy="132685"/>
            </a:xfrm>
            <a:custGeom>
              <a:avLst/>
              <a:gdLst>
                <a:gd name="connsiteX0" fmla="*/ 30857 w 55542"/>
                <a:gd name="connsiteY0" fmla="*/ 132685 h 132685"/>
                <a:gd name="connsiteX1" fmla="*/ 6172 w 55542"/>
                <a:gd name="connsiteY1" fmla="*/ 129600 h 132685"/>
                <a:gd name="connsiteX2" fmla="*/ 0 w 55542"/>
                <a:gd name="connsiteY2" fmla="*/ 123429 h 132685"/>
                <a:gd name="connsiteX3" fmla="*/ 6172 w 55542"/>
                <a:gd name="connsiteY3" fmla="*/ 117257 h 132685"/>
                <a:gd name="connsiteX4" fmla="*/ 46286 w 55542"/>
                <a:gd name="connsiteY4" fmla="*/ 117257 h 132685"/>
                <a:gd name="connsiteX5" fmla="*/ 46286 w 55542"/>
                <a:gd name="connsiteY5" fmla="*/ 114171 h 132685"/>
                <a:gd name="connsiteX6" fmla="*/ 18515 w 55542"/>
                <a:gd name="connsiteY6" fmla="*/ 6171 h 132685"/>
                <a:gd name="connsiteX7" fmla="*/ 21600 w 55542"/>
                <a:gd name="connsiteY7" fmla="*/ 0 h 132685"/>
                <a:gd name="connsiteX8" fmla="*/ 27772 w 55542"/>
                <a:gd name="connsiteY8" fmla="*/ 3085 h 132685"/>
                <a:gd name="connsiteX9" fmla="*/ 55542 w 55542"/>
                <a:gd name="connsiteY9" fmla="*/ 114171 h 132685"/>
                <a:gd name="connsiteX10" fmla="*/ 49373 w 55542"/>
                <a:gd name="connsiteY10" fmla="*/ 126514 h 132685"/>
                <a:gd name="connsiteX11" fmla="*/ 30857 w 55542"/>
                <a:gd name="connsiteY11" fmla="*/ 132685 h 132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542" h="132685">
                  <a:moveTo>
                    <a:pt x="30857" y="132685"/>
                  </a:moveTo>
                  <a:cubicBezTo>
                    <a:pt x="18515" y="132685"/>
                    <a:pt x="9257" y="129600"/>
                    <a:pt x="6172" y="129600"/>
                  </a:cubicBezTo>
                  <a:cubicBezTo>
                    <a:pt x="3087" y="129600"/>
                    <a:pt x="0" y="126514"/>
                    <a:pt x="0" y="123429"/>
                  </a:cubicBezTo>
                  <a:cubicBezTo>
                    <a:pt x="0" y="120343"/>
                    <a:pt x="3087" y="117257"/>
                    <a:pt x="6172" y="117257"/>
                  </a:cubicBezTo>
                  <a:cubicBezTo>
                    <a:pt x="18515" y="120343"/>
                    <a:pt x="40114" y="120343"/>
                    <a:pt x="46286" y="117257"/>
                  </a:cubicBezTo>
                  <a:cubicBezTo>
                    <a:pt x="46286" y="117257"/>
                    <a:pt x="46286" y="114171"/>
                    <a:pt x="46286" y="114171"/>
                  </a:cubicBezTo>
                  <a:cubicBezTo>
                    <a:pt x="46286" y="98743"/>
                    <a:pt x="24685" y="30857"/>
                    <a:pt x="18515" y="6171"/>
                  </a:cubicBezTo>
                  <a:cubicBezTo>
                    <a:pt x="18515" y="3085"/>
                    <a:pt x="18515" y="0"/>
                    <a:pt x="21600" y="0"/>
                  </a:cubicBezTo>
                  <a:cubicBezTo>
                    <a:pt x="24685" y="0"/>
                    <a:pt x="27772" y="0"/>
                    <a:pt x="27772" y="3085"/>
                  </a:cubicBezTo>
                  <a:cubicBezTo>
                    <a:pt x="27772" y="6171"/>
                    <a:pt x="55542" y="92571"/>
                    <a:pt x="55542" y="114171"/>
                  </a:cubicBezTo>
                  <a:cubicBezTo>
                    <a:pt x="55542" y="120343"/>
                    <a:pt x="52458" y="123429"/>
                    <a:pt x="49373" y="126514"/>
                  </a:cubicBezTo>
                  <a:cubicBezTo>
                    <a:pt x="52458" y="129600"/>
                    <a:pt x="43201" y="132685"/>
                    <a:pt x="30857" y="132685"/>
                  </a:cubicBezTo>
                  <a:close/>
                </a:path>
              </a:pathLst>
            </a:custGeom>
            <a:solidFill>
              <a:srgbClr val="E58777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97B65960-248E-4BC4-99A2-9D8417CB04D5}"/>
                </a:ext>
              </a:extLst>
            </p:cNvPr>
            <p:cNvSpPr/>
            <p:nvPr/>
          </p:nvSpPr>
          <p:spPr>
            <a:xfrm>
              <a:off x="19832251" y="8336995"/>
              <a:ext cx="41505" cy="41505"/>
            </a:xfrm>
            <a:custGeom>
              <a:avLst/>
              <a:gdLst>
                <a:gd name="connsiteX0" fmla="*/ 787 w 41505"/>
                <a:gd name="connsiteY0" fmla="*/ 25472 h 41505"/>
                <a:gd name="connsiteX1" fmla="*/ 25472 w 41505"/>
                <a:gd name="connsiteY1" fmla="*/ 40900 h 41505"/>
                <a:gd name="connsiteX2" fmla="*/ 40901 w 41505"/>
                <a:gd name="connsiteY2" fmla="*/ 16215 h 41505"/>
                <a:gd name="connsiteX3" fmla="*/ 16215 w 41505"/>
                <a:gd name="connsiteY3" fmla="*/ 786 h 41505"/>
                <a:gd name="connsiteX4" fmla="*/ 787 w 41505"/>
                <a:gd name="connsiteY4" fmla="*/ 25472 h 4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5" h="41505">
                  <a:moveTo>
                    <a:pt x="787" y="25472"/>
                  </a:moveTo>
                  <a:cubicBezTo>
                    <a:pt x="3872" y="34729"/>
                    <a:pt x="13129" y="43986"/>
                    <a:pt x="25472" y="40900"/>
                  </a:cubicBezTo>
                  <a:cubicBezTo>
                    <a:pt x="34729" y="37815"/>
                    <a:pt x="43986" y="28558"/>
                    <a:pt x="40901" y="16215"/>
                  </a:cubicBezTo>
                  <a:cubicBezTo>
                    <a:pt x="37814" y="3872"/>
                    <a:pt x="28557" y="-2299"/>
                    <a:pt x="16215" y="786"/>
                  </a:cubicBezTo>
                  <a:cubicBezTo>
                    <a:pt x="3872" y="6958"/>
                    <a:pt x="-2300" y="16215"/>
                    <a:pt x="787" y="25472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83EBE5A4-A554-4045-B344-C2ADB5D24AB5}"/>
                </a:ext>
              </a:extLst>
            </p:cNvPr>
            <p:cNvSpPr/>
            <p:nvPr/>
          </p:nvSpPr>
          <p:spPr>
            <a:xfrm>
              <a:off x="19638636" y="8346433"/>
              <a:ext cx="40720" cy="41324"/>
            </a:xfrm>
            <a:custGeom>
              <a:avLst/>
              <a:gdLst>
                <a:gd name="connsiteX0" fmla="*/ 0 w 40720"/>
                <a:gd name="connsiteY0" fmla="*/ 25291 h 41324"/>
                <a:gd name="connsiteX1" fmla="*/ 24687 w 40720"/>
                <a:gd name="connsiteY1" fmla="*/ 40720 h 41324"/>
                <a:gd name="connsiteX2" fmla="*/ 40116 w 40720"/>
                <a:gd name="connsiteY2" fmla="*/ 16034 h 41324"/>
                <a:gd name="connsiteX3" fmla="*/ 15429 w 40720"/>
                <a:gd name="connsiteY3" fmla="*/ 605 h 41324"/>
                <a:gd name="connsiteX4" fmla="*/ 0 w 40720"/>
                <a:gd name="connsiteY4" fmla="*/ 25291 h 41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20" h="41324">
                  <a:moveTo>
                    <a:pt x="0" y="25291"/>
                  </a:moveTo>
                  <a:cubicBezTo>
                    <a:pt x="3087" y="34548"/>
                    <a:pt x="12344" y="43805"/>
                    <a:pt x="24687" y="40720"/>
                  </a:cubicBezTo>
                  <a:cubicBezTo>
                    <a:pt x="33944" y="37634"/>
                    <a:pt x="43201" y="28377"/>
                    <a:pt x="40116" y="16034"/>
                  </a:cubicBezTo>
                  <a:cubicBezTo>
                    <a:pt x="37029" y="6777"/>
                    <a:pt x="27772" y="-2480"/>
                    <a:pt x="15429" y="605"/>
                  </a:cubicBezTo>
                  <a:cubicBezTo>
                    <a:pt x="6172" y="3691"/>
                    <a:pt x="0" y="12948"/>
                    <a:pt x="0" y="25291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8F0B20A1-9F42-4059-BCA3-1CB4B93C9CB2}"/>
                </a:ext>
              </a:extLst>
            </p:cNvPr>
            <p:cNvSpPr/>
            <p:nvPr/>
          </p:nvSpPr>
          <p:spPr>
            <a:xfrm>
              <a:off x="19803988" y="8291496"/>
              <a:ext cx="93078" cy="30857"/>
            </a:xfrm>
            <a:custGeom>
              <a:avLst/>
              <a:gdLst>
                <a:gd name="connsiteX0" fmla="*/ 84593 w 93078"/>
                <a:gd name="connsiteY0" fmla="*/ 30857 h 30857"/>
                <a:gd name="connsiteX1" fmla="*/ 78421 w 93078"/>
                <a:gd name="connsiteY1" fmla="*/ 27771 h 30857"/>
                <a:gd name="connsiteX2" fmla="*/ 10535 w 93078"/>
                <a:gd name="connsiteY2" fmla="*/ 21600 h 30857"/>
                <a:gd name="connsiteX3" fmla="*/ 1278 w 93078"/>
                <a:gd name="connsiteY3" fmla="*/ 18514 h 30857"/>
                <a:gd name="connsiteX4" fmla="*/ 4363 w 93078"/>
                <a:gd name="connsiteY4" fmla="*/ 9257 h 30857"/>
                <a:gd name="connsiteX5" fmla="*/ 90764 w 93078"/>
                <a:gd name="connsiteY5" fmla="*/ 18514 h 30857"/>
                <a:gd name="connsiteX6" fmla="*/ 90764 w 93078"/>
                <a:gd name="connsiteY6" fmla="*/ 30857 h 30857"/>
                <a:gd name="connsiteX7" fmla="*/ 84593 w 93078"/>
                <a:gd name="connsiteY7" fmla="*/ 30857 h 3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0857">
                  <a:moveTo>
                    <a:pt x="84593" y="30857"/>
                  </a:moveTo>
                  <a:cubicBezTo>
                    <a:pt x="81506" y="30857"/>
                    <a:pt x="81506" y="30857"/>
                    <a:pt x="78421" y="27771"/>
                  </a:cubicBezTo>
                  <a:cubicBezTo>
                    <a:pt x="53735" y="0"/>
                    <a:pt x="13621" y="18514"/>
                    <a:pt x="10535" y="21600"/>
                  </a:cubicBezTo>
                  <a:cubicBezTo>
                    <a:pt x="7450" y="24685"/>
                    <a:pt x="1278" y="21600"/>
                    <a:pt x="1278" y="18514"/>
                  </a:cubicBezTo>
                  <a:cubicBezTo>
                    <a:pt x="-1807" y="15429"/>
                    <a:pt x="1278" y="9257"/>
                    <a:pt x="4363" y="9257"/>
                  </a:cubicBezTo>
                  <a:cubicBezTo>
                    <a:pt x="22878" y="0"/>
                    <a:pt x="62992" y="-9257"/>
                    <a:pt x="90764" y="18514"/>
                  </a:cubicBezTo>
                  <a:cubicBezTo>
                    <a:pt x="93849" y="21600"/>
                    <a:pt x="93849" y="27771"/>
                    <a:pt x="90764" y="30857"/>
                  </a:cubicBezTo>
                  <a:cubicBezTo>
                    <a:pt x="90764" y="30857"/>
                    <a:pt x="87677" y="30857"/>
                    <a:pt x="84593" y="30857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8577A9EE-7D1A-4C6B-90EA-52980F19D77E}"/>
                </a:ext>
              </a:extLst>
            </p:cNvPr>
            <p:cNvSpPr/>
            <p:nvPr/>
          </p:nvSpPr>
          <p:spPr>
            <a:xfrm>
              <a:off x="19611637" y="8289439"/>
              <a:ext cx="93077" cy="35999"/>
            </a:xfrm>
            <a:custGeom>
              <a:avLst/>
              <a:gdLst>
                <a:gd name="connsiteX0" fmla="*/ 8486 w 93077"/>
                <a:gd name="connsiteY0" fmla="*/ 36000 h 35999"/>
                <a:gd name="connsiteX1" fmla="*/ 2314 w 93077"/>
                <a:gd name="connsiteY1" fmla="*/ 32914 h 35999"/>
                <a:gd name="connsiteX2" fmla="*/ 2314 w 93077"/>
                <a:gd name="connsiteY2" fmla="*/ 20571 h 35999"/>
                <a:gd name="connsiteX3" fmla="*/ 88713 w 93077"/>
                <a:gd name="connsiteY3" fmla="*/ 11314 h 35999"/>
                <a:gd name="connsiteX4" fmla="*/ 91800 w 93077"/>
                <a:gd name="connsiteY4" fmla="*/ 23657 h 35999"/>
                <a:gd name="connsiteX5" fmla="*/ 79457 w 93077"/>
                <a:gd name="connsiteY5" fmla="*/ 26743 h 35999"/>
                <a:gd name="connsiteX6" fmla="*/ 11570 w 93077"/>
                <a:gd name="connsiteY6" fmla="*/ 32914 h 35999"/>
                <a:gd name="connsiteX7" fmla="*/ 8486 w 93077"/>
                <a:gd name="connsiteY7" fmla="*/ 36000 h 35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7" h="35999">
                  <a:moveTo>
                    <a:pt x="8486" y="36000"/>
                  </a:moveTo>
                  <a:cubicBezTo>
                    <a:pt x="5401" y="36000"/>
                    <a:pt x="5401" y="36000"/>
                    <a:pt x="2314" y="32914"/>
                  </a:cubicBezTo>
                  <a:cubicBezTo>
                    <a:pt x="-771" y="29829"/>
                    <a:pt x="-771" y="23657"/>
                    <a:pt x="2314" y="20571"/>
                  </a:cubicBezTo>
                  <a:cubicBezTo>
                    <a:pt x="14657" y="8229"/>
                    <a:pt x="51686" y="-13371"/>
                    <a:pt x="88713" y="11314"/>
                  </a:cubicBezTo>
                  <a:cubicBezTo>
                    <a:pt x="91800" y="14400"/>
                    <a:pt x="94885" y="17486"/>
                    <a:pt x="91800" y="23657"/>
                  </a:cubicBezTo>
                  <a:cubicBezTo>
                    <a:pt x="88713" y="26743"/>
                    <a:pt x="85628" y="29829"/>
                    <a:pt x="79457" y="26743"/>
                  </a:cubicBezTo>
                  <a:cubicBezTo>
                    <a:pt x="42428" y="2057"/>
                    <a:pt x="14657" y="32914"/>
                    <a:pt x="11570" y="32914"/>
                  </a:cubicBezTo>
                  <a:cubicBezTo>
                    <a:pt x="11570" y="36000"/>
                    <a:pt x="11570" y="36000"/>
                    <a:pt x="8486" y="36000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24014F1A-2948-44AB-888B-EE0C1B48CDC1}"/>
                </a:ext>
              </a:extLst>
            </p:cNvPr>
            <p:cNvSpPr/>
            <p:nvPr/>
          </p:nvSpPr>
          <p:spPr>
            <a:xfrm>
              <a:off x="19678667" y="8042470"/>
              <a:ext cx="278032" cy="279883"/>
            </a:xfrm>
            <a:custGeom>
              <a:avLst/>
              <a:gdLst>
                <a:gd name="connsiteX0" fmla="*/ 3170 w 278032"/>
                <a:gd name="connsiteY0" fmla="*/ 2169 h 279883"/>
                <a:gd name="connsiteX1" fmla="*/ 37112 w 278032"/>
                <a:gd name="connsiteY1" fmla="*/ 150283 h 279883"/>
                <a:gd name="connsiteX2" fmla="*/ 277799 w 278032"/>
                <a:gd name="connsiteY2" fmla="*/ 279883 h 279883"/>
                <a:gd name="connsiteX3" fmla="*/ 3170 w 278032"/>
                <a:gd name="connsiteY3" fmla="*/ 2169 h 279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032" h="279883">
                  <a:moveTo>
                    <a:pt x="3170" y="2169"/>
                  </a:moveTo>
                  <a:cubicBezTo>
                    <a:pt x="3170" y="2169"/>
                    <a:pt x="-15344" y="110169"/>
                    <a:pt x="37112" y="150283"/>
                  </a:cubicBezTo>
                  <a:cubicBezTo>
                    <a:pt x="37112" y="150283"/>
                    <a:pt x="250027" y="193483"/>
                    <a:pt x="277799" y="279883"/>
                  </a:cubicBezTo>
                  <a:cubicBezTo>
                    <a:pt x="277799" y="279883"/>
                    <a:pt x="296313" y="-28688"/>
                    <a:pt x="3170" y="2169"/>
                  </a:cubicBezTo>
                  <a:close/>
                </a:path>
              </a:pathLst>
            </a:custGeom>
            <a:solidFill>
              <a:srgbClr val="664241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55D80844-1E09-4C7E-8EC1-A6E4736CFD55}"/>
                </a:ext>
              </a:extLst>
            </p:cNvPr>
            <p:cNvSpPr/>
            <p:nvPr/>
          </p:nvSpPr>
          <p:spPr>
            <a:xfrm>
              <a:off x="19415057" y="8044639"/>
              <a:ext cx="300721" cy="355322"/>
            </a:xfrm>
            <a:custGeom>
              <a:avLst/>
              <a:gdLst>
                <a:gd name="connsiteX0" fmla="*/ 300722 w 300721"/>
                <a:gd name="connsiteY0" fmla="*/ 148114 h 355322"/>
                <a:gd name="connsiteX1" fmla="*/ 158780 w 300721"/>
                <a:gd name="connsiteY1" fmla="*/ 203657 h 355322"/>
                <a:gd name="connsiteX2" fmla="*/ 100150 w 300721"/>
                <a:gd name="connsiteY2" fmla="*/ 324000 h 355322"/>
                <a:gd name="connsiteX3" fmla="*/ 10666 w 300721"/>
                <a:gd name="connsiteY3" fmla="*/ 345600 h 355322"/>
                <a:gd name="connsiteX4" fmla="*/ 269865 w 300721"/>
                <a:gd name="connsiteY4" fmla="*/ 0 h 355322"/>
                <a:gd name="connsiteX5" fmla="*/ 300722 w 300721"/>
                <a:gd name="connsiteY5" fmla="*/ 148114 h 355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0721" h="355322">
                  <a:moveTo>
                    <a:pt x="300722" y="148114"/>
                  </a:moveTo>
                  <a:cubicBezTo>
                    <a:pt x="300722" y="148114"/>
                    <a:pt x="208150" y="197486"/>
                    <a:pt x="158780" y="203657"/>
                  </a:cubicBezTo>
                  <a:cubicBezTo>
                    <a:pt x="106322" y="209828"/>
                    <a:pt x="100150" y="324000"/>
                    <a:pt x="100150" y="324000"/>
                  </a:cubicBezTo>
                  <a:cubicBezTo>
                    <a:pt x="100150" y="324000"/>
                    <a:pt x="26094" y="376457"/>
                    <a:pt x="10666" y="345600"/>
                  </a:cubicBezTo>
                  <a:cubicBezTo>
                    <a:pt x="-23278" y="277714"/>
                    <a:pt x="13751" y="0"/>
                    <a:pt x="269865" y="0"/>
                  </a:cubicBezTo>
                  <a:cubicBezTo>
                    <a:pt x="266780" y="0"/>
                    <a:pt x="276036" y="145028"/>
                    <a:pt x="300722" y="148114"/>
                  </a:cubicBezTo>
                  <a:close/>
                </a:path>
              </a:pathLst>
            </a:custGeom>
            <a:solidFill>
              <a:srgbClr val="664241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F634F569-36B0-4F42-81E0-2E26D8E6DF11}"/>
                </a:ext>
              </a:extLst>
            </p:cNvPr>
            <p:cNvSpPr/>
            <p:nvPr/>
          </p:nvSpPr>
          <p:spPr>
            <a:xfrm>
              <a:off x="19570752" y="8559855"/>
              <a:ext cx="311656" cy="330269"/>
            </a:xfrm>
            <a:custGeom>
              <a:avLst/>
              <a:gdLst>
                <a:gd name="connsiteX0" fmla="*/ 256114 w 311656"/>
                <a:gd name="connsiteY0" fmla="*/ 61812 h 330269"/>
                <a:gd name="connsiteX1" fmla="*/ 311656 w 311656"/>
                <a:gd name="connsiteY1" fmla="*/ 203755 h 330269"/>
                <a:gd name="connsiteX2" fmla="*/ 271543 w 311656"/>
                <a:gd name="connsiteY2" fmla="*/ 330269 h 330269"/>
                <a:gd name="connsiteX3" fmla="*/ 0 w 311656"/>
                <a:gd name="connsiteY3" fmla="*/ 188326 h 330269"/>
                <a:gd name="connsiteX4" fmla="*/ 52456 w 311656"/>
                <a:gd name="connsiteY4" fmla="*/ 98 h 330269"/>
                <a:gd name="connsiteX5" fmla="*/ 256114 w 311656"/>
                <a:gd name="connsiteY5" fmla="*/ 61812 h 33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1656" h="330269">
                  <a:moveTo>
                    <a:pt x="256114" y="61812"/>
                  </a:moveTo>
                  <a:cubicBezTo>
                    <a:pt x="256114" y="61812"/>
                    <a:pt x="249942" y="172898"/>
                    <a:pt x="311656" y="203755"/>
                  </a:cubicBezTo>
                  <a:lnTo>
                    <a:pt x="271543" y="330269"/>
                  </a:lnTo>
                  <a:cubicBezTo>
                    <a:pt x="271543" y="330269"/>
                    <a:pt x="52456" y="219183"/>
                    <a:pt x="0" y="188326"/>
                  </a:cubicBezTo>
                  <a:cubicBezTo>
                    <a:pt x="55542" y="145126"/>
                    <a:pt x="52456" y="61812"/>
                    <a:pt x="52456" y="98"/>
                  </a:cubicBezTo>
                  <a:cubicBezTo>
                    <a:pt x="52456" y="-2988"/>
                    <a:pt x="203656" y="67983"/>
                    <a:pt x="256114" y="61812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6DDC7423-3A29-453D-9BAC-238F0BE276F9}"/>
                </a:ext>
              </a:extLst>
            </p:cNvPr>
            <p:cNvSpPr/>
            <p:nvPr/>
          </p:nvSpPr>
          <p:spPr>
            <a:xfrm>
              <a:off x="19610866" y="8596982"/>
              <a:ext cx="224485" cy="80228"/>
            </a:xfrm>
            <a:custGeom>
              <a:avLst/>
              <a:gdLst>
                <a:gd name="connsiteX0" fmla="*/ 151199 w 224485"/>
                <a:gd name="connsiteY0" fmla="*/ 80229 h 80228"/>
                <a:gd name="connsiteX1" fmla="*/ 141942 w 224485"/>
                <a:gd name="connsiteY1" fmla="*/ 80229 h 80228"/>
                <a:gd name="connsiteX2" fmla="*/ 3085 w 224485"/>
                <a:gd name="connsiteY2" fmla="*/ 12343 h 80228"/>
                <a:gd name="connsiteX3" fmla="*/ 0 w 224485"/>
                <a:gd name="connsiteY3" fmla="*/ 3086 h 80228"/>
                <a:gd name="connsiteX4" fmla="*/ 9257 w 224485"/>
                <a:gd name="connsiteY4" fmla="*/ 0 h 80228"/>
                <a:gd name="connsiteX5" fmla="*/ 141942 w 224485"/>
                <a:gd name="connsiteY5" fmla="*/ 67886 h 80228"/>
                <a:gd name="connsiteX6" fmla="*/ 212913 w 224485"/>
                <a:gd name="connsiteY6" fmla="*/ 43200 h 80228"/>
                <a:gd name="connsiteX7" fmla="*/ 222172 w 224485"/>
                <a:gd name="connsiteY7" fmla="*/ 43200 h 80228"/>
                <a:gd name="connsiteX8" fmla="*/ 222172 w 224485"/>
                <a:gd name="connsiteY8" fmla="*/ 52457 h 80228"/>
                <a:gd name="connsiteX9" fmla="*/ 151199 w 224485"/>
                <a:gd name="connsiteY9" fmla="*/ 80229 h 8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485" h="80228">
                  <a:moveTo>
                    <a:pt x="151199" y="80229"/>
                  </a:moveTo>
                  <a:cubicBezTo>
                    <a:pt x="148114" y="80229"/>
                    <a:pt x="145029" y="80229"/>
                    <a:pt x="141942" y="80229"/>
                  </a:cubicBezTo>
                  <a:cubicBezTo>
                    <a:pt x="98743" y="74057"/>
                    <a:pt x="6172" y="12343"/>
                    <a:pt x="3085" y="12343"/>
                  </a:cubicBezTo>
                  <a:cubicBezTo>
                    <a:pt x="0" y="9257"/>
                    <a:pt x="0" y="6171"/>
                    <a:pt x="0" y="3086"/>
                  </a:cubicBezTo>
                  <a:cubicBezTo>
                    <a:pt x="3085" y="0"/>
                    <a:pt x="6172" y="0"/>
                    <a:pt x="9257" y="0"/>
                  </a:cubicBezTo>
                  <a:cubicBezTo>
                    <a:pt x="9257" y="0"/>
                    <a:pt x="104913" y="61714"/>
                    <a:pt x="141942" y="67886"/>
                  </a:cubicBezTo>
                  <a:cubicBezTo>
                    <a:pt x="178971" y="74057"/>
                    <a:pt x="212913" y="43200"/>
                    <a:pt x="212913" y="43200"/>
                  </a:cubicBezTo>
                  <a:cubicBezTo>
                    <a:pt x="216000" y="40114"/>
                    <a:pt x="219085" y="40114"/>
                    <a:pt x="222172" y="43200"/>
                  </a:cubicBezTo>
                  <a:cubicBezTo>
                    <a:pt x="225257" y="46286"/>
                    <a:pt x="225257" y="49372"/>
                    <a:pt x="222172" y="52457"/>
                  </a:cubicBezTo>
                  <a:cubicBezTo>
                    <a:pt x="222172" y="52457"/>
                    <a:pt x="191315" y="80229"/>
                    <a:pt x="151199" y="80229"/>
                  </a:cubicBezTo>
                  <a:close/>
                </a:path>
              </a:pathLst>
            </a:custGeom>
            <a:solidFill>
              <a:srgbClr val="E58777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DBD1CA21-E607-438B-8E59-E8818535C2B1}"/>
                </a:ext>
              </a:extLst>
            </p:cNvPr>
            <p:cNvSpPr/>
            <p:nvPr/>
          </p:nvSpPr>
          <p:spPr>
            <a:xfrm>
              <a:off x="20066273" y="8839475"/>
              <a:ext cx="104712" cy="565963"/>
            </a:xfrm>
            <a:custGeom>
              <a:avLst/>
              <a:gdLst>
                <a:gd name="connsiteX0" fmla="*/ 47564 w 104712"/>
                <a:gd name="connsiteY0" fmla="*/ 565964 h 565963"/>
                <a:gd name="connsiteX1" fmla="*/ 47564 w 104712"/>
                <a:gd name="connsiteY1" fmla="*/ 565964 h 565963"/>
                <a:gd name="connsiteX2" fmla="*/ 41392 w 104712"/>
                <a:gd name="connsiteY2" fmla="*/ 559793 h 565963"/>
                <a:gd name="connsiteX3" fmla="*/ 56820 w 104712"/>
                <a:gd name="connsiteY3" fmla="*/ 504250 h 565963"/>
                <a:gd name="connsiteX4" fmla="*/ 90764 w 104712"/>
                <a:gd name="connsiteY4" fmla="*/ 353050 h 565963"/>
                <a:gd name="connsiteX5" fmla="*/ 1278 w 104712"/>
                <a:gd name="connsiteY5" fmla="*/ 10535 h 565963"/>
                <a:gd name="connsiteX6" fmla="*/ 4363 w 104712"/>
                <a:gd name="connsiteY6" fmla="*/ 1278 h 565963"/>
                <a:gd name="connsiteX7" fmla="*/ 13621 w 104712"/>
                <a:gd name="connsiteY7" fmla="*/ 4364 h 565963"/>
                <a:gd name="connsiteX8" fmla="*/ 103106 w 104712"/>
                <a:gd name="connsiteY8" fmla="*/ 353050 h 565963"/>
                <a:gd name="connsiteX9" fmla="*/ 69164 w 104712"/>
                <a:gd name="connsiteY9" fmla="*/ 504250 h 565963"/>
                <a:gd name="connsiteX10" fmla="*/ 53735 w 104712"/>
                <a:gd name="connsiteY10" fmla="*/ 559793 h 565963"/>
                <a:gd name="connsiteX11" fmla="*/ 47564 w 104712"/>
                <a:gd name="connsiteY11" fmla="*/ 565964 h 565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712" h="565963">
                  <a:moveTo>
                    <a:pt x="47564" y="565964"/>
                  </a:moveTo>
                  <a:cubicBezTo>
                    <a:pt x="44479" y="565964"/>
                    <a:pt x="44479" y="562878"/>
                    <a:pt x="47564" y="565964"/>
                  </a:cubicBezTo>
                  <a:cubicBezTo>
                    <a:pt x="44479" y="565964"/>
                    <a:pt x="41392" y="562878"/>
                    <a:pt x="41392" y="559793"/>
                  </a:cubicBezTo>
                  <a:cubicBezTo>
                    <a:pt x="47564" y="541278"/>
                    <a:pt x="50649" y="522764"/>
                    <a:pt x="56820" y="504250"/>
                  </a:cubicBezTo>
                  <a:cubicBezTo>
                    <a:pt x="72249" y="451793"/>
                    <a:pt x="87677" y="399335"/>
                    <a:pt x="90764" y="353050"/>
                  </a:cubicBezTo>
                  <a:cubicBezTo>
                    <a:pt x="96934" y="229621"/>
                    <a:pt x="69164" y="115450"/>
                    <a:pt x="1278" y="10535"/>
                  </a:cubicBezTo>
                  <a:cubicBezTo>
                    <a:pt x="-1807" y="7450"/>
                    <a:pt x="1278" y="4364"/>
                    <a:pt x="4363" y="1278"/>
                  </a:cubicBezTo>
                  <a:cubicBezTo>
                    <a:pt x="7450" y="-1807"/>
                    <a:pt x="10535" y="1278"/>
                    <a:pt x="13621" y="4364"/>
                  </a:cubicBezTo>
                  <a:cubicBezTo>
                    <a:pt x="81506" y="112364"/>
                    <a:pt x="112363" y="229621"/>
                    <a:pt x="103106" y="353050"/>
                  </a:cubicBezTo>
                  <a:cubicBezTo>
                    <a:pt x="100021" y="399335"/>
                    <a:pt x="84593" y="454878"/>
                    <a:pt x="69164" y="504250"/>
                  </a:cubicBezTo>
                  <a:cubicBezTo>
                    <a:pt x="62992" y="522764"/>
                    <a:pt x="56820" y="541278"/>
                    <a:pt x="53735" y="559793"/>
                  </a:cubicBezTo>
                  <a:cubicBezTo>
                    <a:pt x="50649" y="562878"/>
                    <a:pt x="47564" y="565964"/>
                    <a:pt x="47564" y="565964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915F7E5E-760A-4DEE-BDF3-27DFEF1D2BBD}"/>
                </a:ext>
              </a:extLst>
            </p:cNvPr>
            <p:cNvSpPr/>
            <p:nvPr/>
          </p:nvSpPr>
          <p:spPr>
            <a:xfrm>
              <a:off x="19638636" y="9285292"/>
              <a:ext cx="405507" cy="36832"/>
            </a:xfrm>
            <a:custGeom>
              <a:avLst/>
              <a:gdLst>
                <a:gd name="connsiteX0" fmla="*/ 401143 w 405507"/>
                <a:gd name="connsiteY0" fmla="*/ 36832 h 36832"/>
                <a:gd name="connsiteX1" fmla="*/ 401143 w 405507"/>
                <a:gd name="connsiteY1" fmla="*/ 36832 h 36832"/>
                <a:gd name="connsiteX2" fmla="*/ 6172 w 405507"/>
                <a:gd name="connsiteY2" fmla="*/ 24490 h 36832"/>
                <a:gd name="connsiteX3" fmla="*/ 0 w 405507"/>
                <a:gd name="connsiteY3" fmla="*/ 21404 h 36832"/>
                <a:gd name="connsiteX4" fmla="*/ 3087 w 405507"/>
                <a:gd name="connsiteY4" fmla="*/ 15232 h 36832"/>
                <a:gd name="connsiteX5" fmla="*/ 401143 w 405507"/>
                <a:gd name="connsiteY5" fmla="*/ 27575 h 36832"/>
                <a:gd name="connsiteX6" fmla="*/ 404230 w 405507"/>
                <a:gd name="connsiteY6" fmla="*/ 33746 h 36832"/>
                <a:gd name="connsiteX7" fmla="*/ 401143 w 405507"/>
                <a:gd name="connsiteY7" fmla="*/ 36832 h 3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5507" h="36832">
                  <a:moveTo>
                    <a:pt x="401143" y="36832"/>
                  </a:moveTo>
                  <a:cubicBezTo>
                    <a:pt x="401143" y="36832"/>
                    <a:pt x="401143" y="36832"/>
                    <a:pt x="401143" y="36832"/>
                  </a:cubicBezTo>
                  <a:cubicBezTo>
                    <a:pt x="314743" y="5975"/>
                    <a:pt x="108000" y="-196"/>
                    <a:pt x="6172" y="24490"/>
                  </a:cubicBezTo>
                  <a:cubicBezTo>
                    <a:pt x="3087" y="24490"/>
                    <a:pt x="0" y="24490"/>
                    <a:pt x="0" y="21404"/>
                  </a:cubicBezTo>
                  <a:cubicBezTo>
                    <a:pt x="0" y="18318"/>
                    <a:pt x="0" y="15232"/>
                    <a:pt x="3087" y="15232"/>
                  </a:cubicBezTo>
                  <a:cubicBezTo>
                    <a:pt x="104915" y="-9454"/>
                    <a:pt x="314743" y="-3282"/>
                    <a:pt x="401143" y="27575"/>
                  </a:cubicBezTo>
                  <a:cubicBezTo>
                    <a:pt x="404230" y="27575"/>
                    <a:pt x="404230" y="30661"/>
                    <a:pt x="404230" y="33746"/>
                  </a:cubicBezTo>
                  <a:cubicBezTo>
                    <a:pt x="407315" y="36832"/>
                    <a:pt x="404230" y="36832"/>
                    <a:pt x="401143" y="36832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9CA83E0C-3BCB-4F1C-B322-950CAF7A8E7F}"/>
                </a:ext>
              </a:extLst>
            </p:cNvPr>
            <p:cNvSpPr/>
            <p:nvPr/>
          </p:nvSpPr>
          <p:spPr>
            <a:xfrm>
              <a:off x="19470629" y="8354793"/>
              <a:ext cx="79893" cy="115431"/>
            </a:xfrm>
            <a:custGeom>
              <a:avLst/>
              <a:gdLst>
                <a:gd name="connsiteX0" fmla="*/ 66179 w 79893"/>
                <a:gd name="connsiteY0" fmla="*/ 16931 h 115431"/>
                <a:gd name="connsiteX1" fmla="*/ 7552 w 79893"/>
                <a:gd name="connsiteY1" fmla="*/ 7674 h 115431"/>
                <a:gd name="connsiteX2" fmla="*/ 66179 w 79893"/>
                <a:gd name="connsiteY2" fmla="*/ 112589 h 115431"/>
                <a:gd name="connsiteX3" fmla="*/ 66179 w 79893"/>
                <a:gd name="connsiteY3" fmla="*/ 16931 h 115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893" h="115431">
                  <a:moveTo>
                    <a:pt x="66179" y="16931"/>
                  </a:moveTo>
                  <a:cubicBezTo>
                    <a:pt x="66179" y="16931"/>
                    <a:pt x="32237" y="-13926"/>
                    <a:pt x="7552" y="7674"/>
                  </a:cubicBezTo>
                  <a:cubicBezTo>
                    <a:pt x="-17136" y="26188"/>
                    <a:pt x="22980" y="134189"/>
                    <a:pt x="66179" y="112589"/>
                  </a:cubicBezTo>
                  <a:cubicBezTo>
                    <a:pt x="97036" y="90989"/>
                    <a:pt x="66179" y="16931"/>
                    <a:pt x="66179" y="16931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78124FB7-13FC-4E8F-B513-70C2D2194517}"/>
                </a:ext>
              </a:extLst>
            </p:cNvPr>
            <p:cNvSpPr/>
            <p:nvPr/>
          </p:nvSpPr>
          <p:spPr>
            <a:xfrm>
              <a:off x="19841016" y="8231589"/>
              <a:ext cx="149392" cy="164820"/>
            </a:xfrm>
            <a:custGeom>
              <a:avLst/>
              <a:gdLst>
                <a:gd name="connsiteX0" fmla="*/ 143221 w 149392"/>
                <a:gd name="connsiteY0" fmla="*/ 164821 h 164820"/>
                <a:gd name="connsiteX1" fmla="*/ 137049 w 149392"/>
                <a:gd name="connsiteY1" fmla="*/ 161735 h 164820"/>
                <a:gd name="connsiteX2" fmla="*/ 4364 w 149392"/>
                <a:gd name="connsiteY2" fmla="*/ 10535 h 164820"/>
                <a:gd name="connsiteX3" fmla="*/ 1279 w 149392"/>
                <a:gd name="connsiteY3" fmla="*/ 4364 h 164820"/>
                <a:gd name="connsiteX4" fmla="*/ 7450 w 149392"/>
                <a:gd name="connsiteY4" fmla="*/ 1278 h 164820"/>
                <a:gd name="connsiteX5" fmla="*/ 149393 w 149392"/>
                <a:gd name="connsiteY5" fmla="*/ 161735 h 164820"/>
                <a:gd name="connsiteX6" fmla="*/ 143221 w 149392"/>
                <a:gd name="connsiteY6" fmla="*/ 164821 h 164820"/>
                <a:gd name="connsiteX7" fmla="*/ 143221 w 149392"/>
                <a:gd name="connsiteY7" fmla="*/ 164821 h 16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392" h="164820">
                  <a:moveTo>
                    <a:pt x="143221" y="164821"/>
                  </a:moveTo>
                  <a:cubicBezTo>
                    <a:pt x="140136" y="164821"/>
                    <a:pt x="137049" y="161735"/>
                    <a:pt x="137049" y="161735"/>
                  </a:cubicBezTo>
                  <a:cubicBezTo>
                    <a:pt x="112364" y="38306"/>
                    <a:pt x="4364" y="10535"/>
                    <a:pt x="4364" y="10535"/>
                  </a:cubicBezTo>
                  <a:cubicBezTo>
                    <a:pt x="1279" y="10535"/>
                    <a:pt x="-1808" y="7449"/>
                    <a:pt x="1279" y="4364"/>
                  </a:cubicBezTo>
                  <a:cubicBezTo>
                    <a:pt x="1279" y="1278"/>
                    <a:pt x="4364" y="-1807"/>
                    <a:pt x="7450" y="1278"/>
                  </a:cubicBezTo>
                  <a:cubicBezTo>
                    <a:pt x="7450" y="1278"/>
                    <a:pt x="124707" y="32135"/>
                    <a:pt x="149393" y="161735"/>
                  </a:cubicBezTo>
                  <a:cubicBezTo>
                    <a:pt x="149393" y="161735"/>
                    <a:pt x="146308" y="164821"/>
                    <a:pt x="143221" y="164821"/>
                  </a:cubicBezTo>
                  <a:cubicBezTo>
                    <a:pt x="143221" y="164821"/>
                    <a:pt x="143221" y="164821"/>
                    <a:pt x="143221" y="164821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AB49CEB3-3B4C-492E-A3C9-6A9EEF8AC385}"/>
                </a:ext>
              </a:extLst>
            </p:cNvPr>
            <p:cNvSpPr/>
            <p:nvPr/>
          </p:nvSpPr>
          <p:spPr>
            <a:xfrm>
              <a:off x="19754616" y="9703475"/>
              <a:ext cx="319106" cy="29049"/>
            </a:xfrm>
            <a:custGeom>
              <a:avLst/>
              <a:gdLst>
                <a:gd name="connsiteX0" fmla="*/ 312935 w 319106"/>
                <a:gd name="connsiteY0" fmla="*/ 29049 h 29049"/>
                <a:gd name="connsiteX1" fmla="*/ 312935 w 319106"/>
                <a:gd name="connsiteY1" fmla="*/ 29049 h 29049"/>
                <a:gd name="connsiteX2" fmla="*/ 4364 w 319106"/>
                <a:gd name="connsiteY2" fmla="*/ 10536 h 29049"/>
                <a:gd name="connsiteX3" fmla="*/ 1279 w 319106"/>
                <a:gd name="connsiteY3" fmla="*/ 4364 h 29049"/>
                <a:gd name="connsiteX4" fmla="*/ 7449 w 319106"/>
                <a:gd name="connsiteY4" fmla="*/ 1278 h 29049"/>
                <a:gd name="connsiteX5" fmla="*/ 312935 w 319106"/>
                <a:gd name="connsiteY5" fmla="*/ 19793 h 29049"/>
                <a:gd name="connsiteX6" fmla="*/ 319107 w 319106"/>
                <a:gd name="connsiteY6" fmla="*/ 25965 h 29049"/>
                <a:gd name="connsiteX7" fmla="*/ 312935 w 319106"/>
                <a:gd name="connsiteY7" fmla="*/ 29049 h 2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9106" h="29049">
                  <a:moveTo>
                    <a:pt x="312935" y="29049"/>
                  </a:moveTo>
                  <a:cubicBezTo>
                    <a:pt x="312935" y="29049"/>
                    <a:pt x="312935" y="29049"/>
                    <a:pt x="312935" y="29049"/>
                  </a:cubicBezTo>
                  <a:cubicBezTo>
                    <a:pt x="309850" y="29049"/>
                    <a:pt x="100020" y="25965"/>
                    <a:pt x="4364" y="10536"/>
                  </a:cubicBezTo>
                  <a:cubicBezTo>
                    <a:pt x="1279" y="10536"/>
                    <a:pt x="-1808" y="7450"/>
                    <a:pt x="1279" y="4364"/>
                  </a:cubicBezTo>
                  <a:cubicBezTo>
                    <a:pt x="1279" y="1278"/>
                    <a:pt x="4364" y="-1808"/>
                    <a:pt x="7449" y="1278"/>
                  </a:cubicBezTo>
                  <a:cubicBezTo>
                    <a:pt x="103107" y="19793"/>
                    <a:pt x="312935" y="19793"/>
                    <a:pt x="312935" y="19793"/>
                  </a:cubicBezTo>
                  <a:cubicBezTo>
                    <a:pt x="316020" y="19793"/>
                    <a:pt x="319107" y="22879"/>
                    <a:pt x="319107" y="25965"/>
                  </a:cubicBezTo>
                  <a:cubicBezTo>
                    <a:pt x="319107" y="25965"/>
                    <a:pt x="316020" y="29049"/>
                    <a:pt x="312935" y="29049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9561D217-E9D7-430D-9CE0-74306910564A}"/>
                </a:ext>
              </a:extLst>
            </p:cNvPr>
            <p:cNvSpPr/>
            <p:nvPr/>
          </p:nvSpPr>
          <p:spPr>
            <a:xfrm>
              <a:off x="19412102" y="8044639"/>
              <a:ext cx="306764" cy="499885"/>
            </a:xfrm>
            <a:custGeom>
              <a:avLst/>
              <a:gdLst>
                <a:gd name="connsiteX0" fmla="*/ 180249 w 306764"/>
                <a:gd name="connsiteY0" fmla="*/ 499886 h 499885"/>
                <a:gd name="connsiteX1" fmla="*/ 180249 w 306764"/>
                <a:gd name="connsiteY1" fmla="*/ 499886 h 499885"/>
                <a:gd name="connsiteX2" fmla="*/ 174079 w 306764"/>
                <a:gd name="connsiteY2" fmla="*/ 493714 h 499885"/>
                <a:gd name="connsiteX3" fmla="*/ 170992 w 306764"/>
                <a:gd name="connsiteY3" fmla="*/ 376457 h 499885"/>
                <a:gd name="connsiteX4" fmla="*/ 164820 w 306764"/>
                <a:gd name="connsiteY4" fmla="*/ 277714 h 499885"/>
                <a:gd name="connsiteX5" fmla="*/ 251222 w 306764"/>
                <a:gd name="connsiteY5" fmla="*/ 166628 h 499885"/>
                <a:gd name="connsiteX6" fmla="*/ 291336 w 306764"/>
                <a:gd name="connsiteY6" fmla="*/ 145028 h 499885"/>
                <a:gd name="connsiteX7" fmla="*/ 275907 w 306764"/>
                <a:gd name="connsiteY7" fmla="*/ 123429 h 499885"/>
                <a:gd name="connsiteX8" fmla="*/ 263564 w 306764"/>
                <a:gd name="connsiteY8" fmla="*/ 80228 h 499885"/>
                <a:gd name="connsiteX9" fmla="*/ 263564 w 306764"/>
                <a:gd name="connsiteY9" fmla="*/ 55542 h 499885"/>
                <a:gd name="connsiteX10" fmla="*/ 263564 w 306764"/>
                <a:gd name="connsiteY10" fmla="*/ 9257 h 499885"/>
                <a:gd name="connsiteX11" fmla="*/ 10535 w 306764"/>
                <a:gd name="connsiteY11" fmla="*/ 219085 h 499885"/>
                <a:gd name="connsiteX12" fmla="*/ 4365 w 306764"/>
                <a:gd name="connsiteY12" fmla="*/ 222171 h 499885"/>
                <a:gd name="connsiteX13" fmla="*/ 1278 w 306764"/>
                <a:gd name="connsiteY13" fmla="*/ 216000 h 499885"/>
                <a:gd name="connsiteX14" fmla="*/ 266650 w 306764"/>
                <a:gd name="connsiteY14" fmla="*/ 0 h 499885"/>
                <a:gd name="connsiteX15" fmla="*/ 272820 w 306764"/>
                <a:gd name="connsiteY15" fmla="*/ 3085 h 499885"/>
                <a:gd name="connsiteX16" fmla="*/ 275907 w 306764"/>
                <a:gd name="connsiteY16" fmla="*/ 58628 h 499885"/>
                <a:gd name="connsiteX17" fmla="*/ 275907 w 306764"/>
                <a:gd name="connsiteY17" fmla="*/ 83314 h 499885"/>
                <a:gd name="connsiteX18" fmla="*/ 285164 w 306764"/>
                <a:gd name="connsiteY18" fmla="*/ 123429 h 499885"/>
                <a:gd name="connsiteX19" fmla="*/ 303677 w 306764"/>
                <a:gd name="connsiteY19" fmla="*/ 148114 h 499885"/>
                <a:gd name="connsiteX20" fmla="*/ 306764 w 306764"/>
                <a:gd name="connsiteY20" fmla="*/ 154286 h 499885"/>
                <a:gd name="connsiteX21" fmla="*/ 300592 w 306764"/>
                <a:gd name="connsiteY21" fmla="*/ 157371 h 499885"/>
                <a:gd name="connsiteX22" fmla="*/ 254307 w 306764"/>
                <a:gd name="connsiteY22" fmla="*/ 182057 h 499885"/>
                <a:gd name="connsiteX23" fmla="*/ 174079 w 306764"/>
                <a:gd name="connsiteY23" fmla="*/ 283886 h 499885"/>
                <a:gd name="connsiteX24" fmla="*/ 180249 w 306764"/>
                <a:gd name="connsiteY24" fmla="*/ 379542 h 499885"/>
                <a:gd name="connsiteX25" fmla="*/ 183336 w 306764"/>
                <a:gd name="connsiteY25" fmla="*/ 499886 h 499885"/>
                <a:gd name="connsiteX26" fmla="*/ 180249 w 306764"/>
                <a:gd name="connsiteY26" fmla="*/ 499886 h 499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06764" h="499885">
                  <a:moveTo>
                    <a:pt x="180249" y="499886"/>
                  </a:moveTo>
                  <a:cubicBezTo>
                    <a:pt x="180249" y="499886"/>
                    <a:pt x="180249" y="499886"/>
                    <a:pt x="180249" y="499886"/>
                  </a:cubicBezTo>
                  <a:cubicBezTo>
                    <a:pt x="177164" y="499886"/>
                    <a:pt x="174079" y="496800"/>
                    <a:pt x="174079" y="493714"/>
                  </a:cubicBezTo>
                  <a:cubicBezTo>
                    <a:pt x="186421" y="450514"/>
                    <a:pt x="180249" y="413486"/>
                    <a:pt x="170992" y="376457"/>
                  </a:cubicBezTo>
                  <a:cubicBezTo>
                    <a:pt x="164820" y="345600"/>
                    <a:pt x="158650" y="311657"/>
                    <a:pt x="164820" y="277714"/>
                  </a:cubicBezTo>
                  <a:cubicBezTo>
                    <a:pt x="177164" y="216000"/>
                    <a:pt x="241963" y="172800"/>
                    <a:pt x="251222" y="166628"/>
                  </a:cubicBezTo>
                  <a:cubicBezTo>
                    <a:pt x="269735" y="157371"/>
                    <a:pt x="282079" y="151200"/>
                    <a:pt x="291336" y="145028"/>
                  </a:cubicBezTo>
                  <a:cubicBezTo>
                    <a:pt x="285164" y="138857"/>
                    <a:pt x="278992" y="132685"/>
                    <a:pt x="275907" y="123429"/>
                  </a:cubicBezTo>
                  <a:cubicBezTo>
                    <a:pt x="269735" y="108000"/>
                    <a:pt x="266650" y="92571"/>
                    <a:pt x="263564" y="80228"/>
                  </a:cubicBezTo>
                  <a:cubicBezTo>
                    <a:pt x="263564" y="74057"/>
                    <a:pt x="263564" y="64800"/>
                    <a:pt x="263564" y="55542"/>
                  </a:cubicBezTo>
                  <a:cubicBezTo>
                    <a:pt x="263564" y="43200"/>
                    <a:pt x="266650" y="15429"/>
                    <a:pt x="263564" y="9257"/>
                  </a:cubicBezTo>
                  <a:cubicBezTo>
                    <a:pt x="50650" y="21600"/>
                    <a:pt x="10535" y="216000"/>
                    <a:pt x="10535" y="219085"/>
                  </a:cubicBezTo>
                  <a:cubicBezTo>
                    <a:pt x="10535" y="222171"/>
                    <a:pt x="7450" y="225257"/>
                    <a:pt x="4365" y="222171"/>
                  </a:cubicBezTo>
                  <a:cubicBezTo>
                    <a:pt x="1278" y="222171"/>
                    <a:pt x="-1807" y="219085"/>
                    <a:pt x="1278" y="216000"/>
                  </a:cubicBezTo>
                  <a:cubicBezTo>
                    <a:pt x="1278" y="212914"/>
                    <a:pt x="44479" y="9257"/>
                    <a:pt x="266650" y="0"/>
                  </a:cubicBezTo>
                  <a:cubicBezTo>
                    <a:pt x="269735" y="0"/>
                    <a:pt x="272820" y="0"/>
                    <a:pt x="272820" y="3085"/>
                  </a:cubicBezTo>
                  <a:cubicBezTo>
                    <a:pt x="278992" y="9257"/>
                    <a:pt x="278992" y="30857"/>
                    <a:pt x="275907" y="58628"/>
                  </a:cubicBezTo>
                  <a:cubicBezTo>
                    <a:pt x="275907" y="67886"/>
                    <a:pt x="272820" y="77143"/>
                    <a:pt x="275907" y="83314"/>
                  </a:cubicBezTo>
                  <a:cubicBezTo>
                    <a:pt x="278992" y="98743"/>
                    <a:pt x="278992" y="111085"/>
                    <a:pt x="285164" y="123429"/>
                  </a:cubicBezTo>
                  <a:cubicBezTo>
                    <a:pt x="288249" y="132685"/>
                    <a:pt x="297508" y="138857"/>
                    <a:pt x="303677" y="148114"/>
                  </a:cubicBezTo>
                  <a:lnTo>
                    <a:pt x="306764" y="154286"/>
                  </a:lnTo>
                  <a:lnTo>
                    <a:pt x="300592" y="157371"/>
                  </a:lnTo>
                  <a:cubicBezTo>
                    <a:pt x="300592" y="157371"/>
                    <a:pt x="282079" y="169714"/>
                    <a:pt x="254307" y="182057"/>
                  </a:cubicBezTo>
                  <a:cubicBezTo>
                    <a:pt x="245050" y="185143"/>
                    <a:pt x="183336" y="228343"/>
                    <a:pt x="174079" y="283886"/>
                  </a:cubicBezTo>
                  <a:cubicBezTo>
                    <a:pt x="167907" y="317828"/>
                    <a:pt x="174079" y="348685"/>
                    <a:pt x="180249" y="379542"/>
                  </a:cubicBezTo>
                  <a:cubicBezTo>
                    <a:pt x="189507" y="416571"/>
                    <a:pt x="195677" y="456685"/>
                    <a:pt x="183336" y="499886"/>
                  </a:cubicBezTo>
                  <a:cubicBezTo>
                    <a:pt x="186421" y="496800"/>
                    <a:pt x="183336" y="499886"/>
                    <a:pt x="180249" y="499886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6A38A2D8-678D-4C1A-9C36-CC3DA6BB9B09}"/>
                </a:ext>
              </a:extLst>
            </p:cNvPr>
            <p:cNvSpPr/>
            <p:nvPr/>
          </p:nvSpPr>
          <p:spPr>
            <a:xfrm>
              <a:off x="19675665" y="8028243"/>
              <a:ext cx="126515" cy="25653"/>
            </a:xfrm>
            <a:custGeom>
              <a:avLst/>
              <a:gdLst>
                <a:gd name="connsiteX0" fmla="*/ 6172 w 126515"/>
                <a:gd name="connsiteY0" fmla="*/ 25653 h 25653"/>
                <a:gd name="connsiteX1" fmla="*/ 0 w 126515"/>
                <a:gd name="connsiteY1" fmla="*/ 22568 h 25653"/>
                <a:gd name="connsiteX2" fmla="*/ 3087 w 126515"/>
                <a:gd name="connsiteY2" fmla="*/ 13311 h 25653"/>
                <a:gd name="connsiteX3" fmla="*/ 123429 w 126515"/>
                <a:gd name="connsiteY3" fmla="*/ 10225 h 25653"/>
                <a:gd name="connsiteX4" fmla="*/ 126515 w 126515"/>
                <a:gd name="connsiteY4" fmla="*/ 16396 h 25653"/>
                <a:gd name="connsiteX5" fmla="*/ 120344 w 126515"/>
                <a:gd name="connsiteY5" fmla="*/ 19482 h 25653"/>
                <a:gd name="connsiteX6" fmla="*/ 6172 w 126515"/>
                <a:gd name="connsiteY6" fmla="*/ 25653 h 25653"/>
                <a:gd name="connsiteX7" fmla="*/ 6172 w 126515"/>
                <a:gd name="connsiteY7" fmla="*/ 25653 h 25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515" h="25653">
                  <a:moveTo>
                    <a:pt x="6172" y="25653"/>
                  </a:moveTo>
                  <a:cubicBezTo>
                    <a:pt x="3087" y="25653"/>
                    <a:pt x="3087" y="25653"/>
                    <a:pt x="0" y="22568"/>
                  </a:cubicBezTo>
                  <a:cubicBezTo>
                    <a:pt x="0" y="19482"/>
                    <a:pt x="0" y="16396"/>
                    <a:pt x="3087" y="13311"/>
                  </a:cubicBezTo>
                  <a:cubicBezTo>
                    <a:pt x="6172" y="13311"/>
                    <a:pt x="52458" y="-14461"/>
                    <a:pt x="123429" y="10225"/>
                  </a:cubicBezTo>
                  <a:cubicBezTo>
                    <a:pt x="126515" y="10225"/>
                    <a:pt x="126515" y="13311"/>
                    <a:pt x="126515" y="16396"/>
                  </a:cubicBezTo>
                  <a:cubicBezTo>
                    <a:pt x="126515" y="19482"/>
                    <a:pt x="123429" y="19482"/>
                    <a:pt x="120344" y="19482"/>
                  </a:cubicBezTo>
                  <a:cubicBezTo>
                    <a:pt x="52458" y="-2118"/>
                    <a:pt x="9257" y="22568"/>
                    <a:pt x="6172" y="25653"/>
                  </a:cubicBezTo>
                  <a:cubicBezTo>
                    <a:pt x="6172" y="25653"/>
                    <a:pt x="6172" y="25653"/>
                    <a:pt x="6172" y="25653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BCBC9BD3-2F1A-426B-84A7-6B361F944DBF}"/>
                </a:ext>
              </a:extLst>
            </p:cNvPr>
            <p:cNvSpPr/>
            <p:nvPr/>
          </p:nvSpPr>
          <p:spPr>
            <a:xfrm>
              <a:off x="18507239" y="8735839"/>
              <a:ext cx="1259952" cy="2643217"/>
            </a:xfrm>
            <a:custGeom>
              <a:avLst/>
              <a:gdLst>
                <a:gd name="connsiteX0" fmla="*/ 1072770 w 1259952"/>
                <a:gd name="connsiteY0" fmla="*/ 0 h 2643217"/>
                <a:gd name="connsiteX1" fmla="*/ 807397 w 1259952"/>
                <a:gd name="connsiteY1" fmla="*/ 120343 h 2643217"/>
                <a:gd name="connsiteX2" fmla="*/ 807397 w 1259952"/>
                <a:gd name="connsiteY2" fmla="*/ 394972 h 2643217"/>
                <a:gd name="connsiteX3" fmla="*/ 807397 w 1259952"/>
                <a:gd name="connsiteY3" fmla="*/ 870171 h 2643217"/>
                <a:gd name="connsiteX4" fmla="*/ 677799 w 1259952"/>
                <a:gd name="connsiteY4" fmla="*/ 1286743 h 2643217"/>
                <a:gd name="connsiteX5" fmla="*/ 251968 w 1259952"/>
                <a:gd name="connsiteY5" fmla="*/ 1839086 h 2643217"/>
                <a:gd name="connsiteX6" fmla="*/ 5111 w 1259952"/>
                <a:gd name="connsiteY6" fmla="*/ 2521029 h 2643217"/>
                <a:gd name="connsiteX7" fmla="*/ 2026 w 1259952"/>
                <a:gd name="connsiteY7" fmla="*/ 2542629 h 2643217"/>
                <a:gd name="connsiteX8" fmla="*/ 29799 w 1259952"/>
                <a:gd name="connsiteY8" fmla="*/ 2545714 h 2643217"/>
                <a:gd name="connsiteX9" fmla="*/ 538941 w 1259952"/>
                <a:gd name="connsiteY9" fmla="*/ 2641372 h 2643217"/>
                <a:gd name="connsiteX10" fmla="*/ 560540 w 1259952"/>
                <a:gd name="connsiteY10" fmla="*/ 2635200 h 2643217"/>
                <a:gd name="connsiteX11" fmla="*/ 801227 w 1259952"/>
                <a:gd name="connsiteY11" fmla="*/ 2113714 h 2643217"/>
                <a:gd name="connsiteX12" fmla="*/ 801227 w 1259952"/>
                <a:gd name="connsiteY12" fmla="*/ 2113714 h 2643217"/>
                <a:gd name="connsiteX13" fmla="*/ 1032656 w 1259952"/>
                <a:gd name="connsiteY13" fmla="*/ 1629257 h 2643217"/>
                <a:gd name="connsiteX14" fmla="*/ 1183855 w 1259952"/>
                <a:gd name="connsiteY14" fmla="*/ 1049143 h 2643217"/>
                <a:gd name="connsiteX15" fmla="*/ 1236312 w 1259952"/>
                <a:gd name="connsiteY15" fmla="*/ 311657 h 2643217"/>
                <a:gd name="connsiteX16" fmla="*/ 1072770 w 1259952"/>
                <a:gd name="connsiteY16" fmla="*/ 0 h 2643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59952" h="2643217">
                  <a:moveTo>
                    <a:pt x="1072770" y="0"/>
                  </a:moveTo>
                  <a:cubicBezTo>
                    <a:pt x="992540" y="9257"/>
                    <a:pt x="859855" y="46286"/>
                    <a:pt x="807397" y="120343"/>
                  </a:cubicBezTo>
                  <a:cubicBezTo>
                    <a:pt x="745683" y="206743"/>
                    <a:pt x="782712" y="302400"/>
                    <a:pt x="807397" y="394972"/>
                  </a:cubicBezTo>
                  <a:cubicBezTo>
                    <a:pt x="850598" y="552343"/>
                    <a:pt x="841341" y="712800"/>
                    <a:pt x="807397" y="870171"/>
                  </a:cubicBezTo>
                  <a:cubicBezTo>
                    <a:pt x="779627" y="1012114"/>
                    <a:pt x="739513" y="1157143"/>
                    <a:pt x="677799" y="1286743"/>
                  </a:cubicBezTo>
                  <a:cubicBezTo>
                    <a:pt x="575969" y="1496571"/>
                    <a:pt x="393912" y="1653943"/>
                    <a:pt x="251968" y="1839086"/>
                  </a:cubicBezTo>
                  <a:cubicBezTo>
                    <a:pt x="97683" y="2042743"/>
                    <a:pt x="45227" y="2274172"/>
                    <a:pt x="5111" y="2521029"/>
                  </a:cubicBezTo>
                  <a:cubicBezTo>
                    <a:pt x="-1059" y="2527200"/>
                    <a:pt x="-1059" y="2536458"/>
                    <a:pt x="2026" y="2542629"/>
                  </a:cubicBezTo>
                  <a:cubicBezTo>
                    <a:pt x="5111" y="2558057"/>
                    <a:pt x="26712" y="2561143"/>
                    <a:pt x="29799" y="2545714"/>
                  </a:cubicBezTo>
                  <a:cubicBezTo>
                    <a:pt x="205683" y="2530286"/>
                    <a:pt x="378484" y="2564229"/>
                    <a:pt x="538941" y="2641372"/>
                  </a:cubicBezTo>
                  <a:cubicBezTo>
                    <a:pt x="545111" y="2644458"/>
                    <a:pt x="554370" y="2644458"/>
                    <a:pt x="560540" y="2635200"/>
                  </a:cubicBezTo>
                  <a:cubicBezTo>
                    <a:pt x="650026" y="2465486"/>
                    <a:pt x="730254" y="2292685"/>
                    <a:pt x="801227" y="2113714"/>
                  </a:cubicBezTo>
                  <a:cubicBezTo>
                    <a:pt x="801227" y="2113714"/>
                    <a:pt x="801227" y="2113714"/>
                    <a:pt x="801227" y="2113714"/>
                  </a:cubicBezTo>
                  <a:cubicBezTo>
                    <a:pt x="884540" y="1956343"/>
                    <a:pt x="967855" y="1795886"/>
                    <a:pt x="1032656" y="1629257"/>
                  </a:cubicBezTo>
                  <a:cubicBezTo>
                    <a:pt x="1103627" y="1441029"/>
                    <a:pt x="1149913" y="1246628"/>
                    <a:pt x="1183855" y="1049143"/>
                  </a:cubicBezTo>
                  <a:cubicBezTo>
                    <a:pt x="1223969" y="805372"/>
                    <a:pt x="1298026" y="552343"/>
                    <a:pt x="1236312" y="311657"/>
                  </a:cubicBezTo>
                  <a:cubicBezTo>
                    <a:pt x="1217799" y="206743"/>
                    <a:pt x="1082026" y="0"/>
                    <a:pt x="1072770" y="0"/>
                  </a:cubicBezTo>
                  <a:close/>
                </a:path>
              </a:pathLst>
            </a:custGeom>
            <a:solidFill>
              <a:srgbClr val="F1DDB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897BD09A-149D-4CF8-A01A-FD02C2344E0D}"/>
                </a:ext>
              </a:extLst>
            </p:cNvPr>
            <p:cNvSpPr/>
            <p:nvPr/>
          </p:nvSpPr>
          <p:spPr>
            <a:xfrm>
              <a:off x="18864894" y="9565896"/>
              <a:ext cx="554657" cy="956571"/>
            </a:xfrm>
            <a:custGeom>
              <a:avLst/>
              <a:gdLst>
                <a:gd name="connsiteX0" fmla="*/ 5401 w 554657"/>
                <a:gd name="connsiteY0" fmla="*/ 953486 h 956571"/>
                <a:gd name="connsiteX1" fmla="*/ 2314 w 554657"/>
                <a:gd name="connsiteY1" fmla="*/ 953486 h 956571"/>
                <a:gd name="connsiteX2" fmla="*/ 2314 w 554657"/>
                <a:gd name="connsiteY2" fmla="*/ 944229 h 956571"/>
                <a:gd name="connsiteX3" fmla="*/ 338657 w 554657"/>
                <a:gd name="connsiteY3" fmla="*/ 416571 h 956571"/>
                <a:gd name="connsiteX4" fmla="*/ 542314 w 554657"/>
                <a:gd name="connsiteY4" fmla="*/ 3086 h 956571"/>
                <a:gd name="connsiteX5" fmla="*/ 551572 w 554657"/>
                <a:gd name="connsiteY5" fmla="*/ 0 h 956571"/>
                <a:gd name="connsiteX6" fmla="*/ 554657 w 554657"/>
                <a:gd name="connsiteY6" fmla="*/ 9257 h 956571"/>
                <a:gd name="connsiteX7" fmla="*/ 351001 w 554657"/>
                <a:gd name="connsiteY7" fmla="*/ 425829 h 956571"/>
                <a:gd name="connsiteX8" fmla="*/ 14657 w 554657"/>
                <a:gd name="connsiteY8" fmla="*/ 956571 h 956571"/>
                <a:gd name="connsiteX9" fmla="*/ 5401 w 554657"/>
                <a:gd name="connsiteY9" fmla="*/ 953486 h 95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4657" h="956571">
                  <a:moveTo>
                    <a:pt x="5401" y="953486"/>
                  </a:moveTo>
                  <a:cubicBezTo>
                    <a:pt x="5401" y="953486"/>
                    <a:pt x="2314" y="953486"/>
                    <a:pt x="2314" y="953486"/>
                  </a:cubicBezTo>
                  <a:cubicBezTo>
                    <a:pt x="-771" y="950401"/>
                    <a:pt x="-771" y="947315"/>
                    <a:pt x="2314" y="944229"/>
                  </a:cubicBezTo>
                  <a:cubicBezTo>
                    <a:pt x="97972" y="826972"/>
                    <a:pt x="335572" y="419657"/>
                    <a:pt x="338657" y="416571"/>
                  </a:cubicBezTo>
                  <a:lnTo>
                    <a:pt x="542314" y="3086"/>
                  </a:lnTo>
                  <a:cubicBezTo>
                    <a:pt x="542314" y="0"/>
                    <a:pt x="548486" y="0"/>
                    <a:pt x="551572" y="0"/>
                  </a:cubicBezTo>
                  <a:cubicBezTo>
                    <a:pt x="554657" y="0"/>
                    <a:pt x="554657" y="6172"/>
                    <a:pt x="554657" y="9257"/>
                  </a:cubicBezTo>
                  <a:lnTo>
                    <a:pt x="351001" y="425829"/>
                  </a:lnTo>
                  <a:cubicBezTo>
                    <a:pt x="347914" y="428914"/>
                    <a:pt x="110314" y="839315"/>
                    <a:pt x="14657" y="956571"/>
                  </a:cubicBezTo>
                  <a:cubicBezTo>
                    <a:pt x="8486" y="953486"/>
                    <a:pt x="5401" y="953486"/>
                    <a:pt x="5401" y="953486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3A80F1E5-AE23-41D4-A637-E3C940FAB4BA}"/>
                </a:ext>
              </a:extLst>
            </p:cNvPr>
            <p:cNvSpPr/>
            <p:nvPr/>
          </p:nvSpPr>
          <p:spPr>
            <a:xfrm>
              <a:off x="19857723" y="8745096"/>
              <a:ext cx="348950" cy="1477401"/>
            </a:xfrm>
            <a:custGeom>
              <a:avLst/>
              <a:gdLst>
                <a:gd name="connsiteX0" fmla="*/ 308571 w 348950"/>
                <a:gd name="connsiteY0" fmla="*/ 965829 h 1477401"/>
                <a:gd name="connsiteX1" fmla="*/ 305485 w 348950"/>
                <a:gd name="connsiteY1" fmla="*/ 731314 h 1477401"/>
                <a:gd name="connsiteX2" fmla="*/ 336342 w 348950"/>
                <a:gd name="connsiteY2" fmla="*/ 496800 h 1477401"/>
                <a:gd name="connsiteX3" fmla="*/ 0 w 348950"/>
                <a:gd name="connsiteY3" fmla="*/ 0 h 1477401"/>
                <a:gd name="connsiteX4" fmla="*/ 24685 w 348950"/>
                <a:gd name="connsiteY4" fmla="*/ 18514 h 1477401"/>
                <a:gd name="connsiteX5" fmla="*/ 197485 w 348950"/>
                <a:gd name="connsiteY5" fmla="*/ 743657 h 1477401"/>
                <a:gd name="connsiteX6" fmla="*/ 216000 w 348950"/>
                <a:gd name="connsiteY6" fmla="*/ 1092343 h 1477401"/>
                <a:gd name="connsiteX7" fmla="*/ 317828 w 348950"/>
                <a:gd name="connsiteY7" fmla="*/ 1459543 h 1477401"/>
                <a:gd name="connsiteX8" fmla="*/ 320913 w 348950"/>
                <a:gd name="connsiteY8" fmla="*/ 1468800 h 1477401"/>
                <a:gd name="connsiteX9" fmla="*/ 348685 w 348950"/>
                <a:gd name="connsiteY9" fmla="*/ 1462629 h 1477401"/>
                <a:gd name="connsiteX10" fmla="*/ 308571 w 348950"/>
                <a:gd name="connsiteY10" fmla="*/ 965829 h 1477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8950" h="1477401">
                  <a:moveTo>
                    <a:pt x="308571" y="965829"/>
                  </a:moveTo>
                  <a:cubicBezTo>
                    <a:pt x="305485" y="888686"/>
                    <a:pt x="302400" y="808457"/>
                    <a:pt x="305485" y="731314"/>
                  </a:cubicBezTo>
                  <a:cubicBezTo>
                    <a:pt x="308571" y="651085"/>
                    <a:pt x="327085" y="573943"/>
                    <a:pt x="336342" y="496800"/>
                  </a:cubicBezTo>
                  <a:cubicBezTo>
                    <a:pt x="361029" y="283886"/>
                    <a:pt x="259199" y="6171"/>
                    <a:pt x="0" y="0"/>
                  </a:cubicBezTo>
                  <a:cubicBezTo>
                    <a:pt x="12342" y="15429"/>
                    <a:pt x="21600" y="15429"/>
                    <a:pt x="24685" y="18514"/>
                  </a:cubicBezTo>
                  <a:cubicBezTo>
                    <a:pt x="185143" y="231429"/>
                    <a:pt x="222172" y="484457"/>
                    <a:pt x="197485" y="743657"/>
                  </a:cubicBezTo>
                  <a:cubicBezTo>
                    <a:pt x="185143" y="864000"/>
                    <a:pt x="175886" y="978171"/>
                    <a:pt x="216000" y="1092343"/>
                  </a:cubicBezTo>
                  <a:cubicBezTo>
                    <a:pt x="259199" y="1215772"/>
                    <a:pt x="299315" y="1329943"/>
                    <a:pt x="317828" y="1459543"/>
                  </a:cubicBezTo>
                  <a:cubicBezTo>
                    <a:pt x="317828" y="1462629"/>
                    <a:pt x="320913" y="1465714"/>
                    <a:pt x="320913" y="1468800"/>
                  </a:cubicBezTo>
                  <a:cubicBezTo>
                    <a:pt x="327085" y="1481142"/>
                    <a:pt x="351770" y="1481142"/>
                    <a:pt x="348685" y="1462629"/>
                  </a:cubicBezTo>
                  <a:cubicBezTo>
                    <a:pt x="327085" y="1296000"/>
                    <a:pt x="314743" y="1132457"/>
                    <a:pt x="308571" y="965829"/>
                  </a:cubicBezTo>
                  <a:close/>
                </a:path>
              </a:pathLst>
            </a:custGeom>
            <a:solidFill>
              <a:srgbClr val="F1DDB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43560F5E-DD9F-4B2D-A959-11E1F28B6E98}"/>
                </a:ext>
              </a:extLst>
            </p:cNvPr>
            <p:cNvSpPr/>
            <p:nvPr/>
          </p:nvSpPr>
          <p:spPr>
            <a:xfrm>
              <a:off x="20138522" y="8924068"/>
              <a:ext cx="69447" cy="768342"/>
            </a:xfrm>
            <a:custGeom>
              <a:avLst/>
              <a:gdLst>
                <a:gd name="connsiteX0" fmla="*/ 27772 w 69447"/>
                <a:gd name="connsiteY0" fmla="*/ 768343 h 768342"/>
                <a:gd name="connsiteX1" fmla="*/ 21600 w 69447"/>
                <a:gd name="connsiteY1" fmla="*/ 762171 h 768342"/>
                <a:gd name="connsiteX2" fmla="*/ 46286 w 69447"/>
                <a:gd name="connsiteY2" fmla="*/ 336343 h 768342"/>
                <a:gd name="connsiteX3" fmla="*/ 55542 w 69447"/>
                <a:gd name="connsiteY3" fmla="*/ 268457 h 768342"/>
                <a:gd name="connsiteX4" fmla="*/ 0 w 69447"/>
                <a:gd name="connsiteY4" fmla="*/ 9257 h 768342"/>
                <a:gd name="connsiteX5" fmla="*/ 3087 w 69447"/>
                <a:gd name="connsiteY5" fmla="*/ 0 h 768342"/>
                <a:gd name="connsiteX6" fmla="*/ 12344 w 69447"/>
                <a:gd name="connsiteY6" fmla="*/ 3085 h 768342"/>
                <a:gd name="connsiteX7" fmla="*/ 67886 w 69447"/>
                <a:gd name="connsiteY7" fmla="*/ 268457 h 768342"/>
                <a:gd name="connsiteX8" fmla="*/ 58629 w 69447"/>
                <a:gd name="connsiteY8" fmla="*/ 336343 h 768342"/>
                <a:gd name="connsiteX9" fmla="*/ 33944 w 69447"/>
                <a:gd name="connsiteY9" fmla="*/ 759086 h 768342"/>
                <a:gd name="connsiteX10" fmla="*/ 27772 w 69447"/>
                <a:gd name="connsiteY10" fmla="*/ 768343 h 768342"/>
                <a:gd name="connsiteX11" fmla="*/ 27772 w 69447"/>
                <a:gd name="connsiteY11" fmla="*/ 768343 h 768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9447" h="768342">
                  <a:moveTo>
                    <a:pt x="27772" y="768343"/>
                  </a:moveTo>
                  <a:cubicBezTo>
                    <a:pt x="24685" y="768343"/>
                    <a:pt x="21600" y="765257"/>
                    <a:pt x="21600" y="762171"/>
                  </a:cubicBezTo>
                  <a:cubicBezTo>
                    <a:pt x="6172" y="638743"/>
                    <a:pt x="30857" y="456685"/>
                    <a:pt x="46286" y="336343"/>
                  </a:cubicBezTo>
                  <a:cubicBezTo>
                    <a:pt x="49373" y="311657"/>
                    <a:pt x="52458" y="290057"/>
                    <a:pt x="55542" y="268457"/>
                  </a:cubicBezTo>
                  <a:cubicBezTo>
                    <a:pt x="67886" y="163542"/>
                    <a:pt x="3087" y="9257"/>
                    <a:pt x="0" y="9257"/>
                  </a:cubicBezTo>
                  <a:cubicBezTo>
                    <a:pt x="0" y="6171"/>
                    <a:pt x="0" y="3085"/>
                    <a:pt x="3087" y="0"/>
                  </a:cubicBezTo>
                  <a:cubicBezTo>
                    <a:pt x="6172" y="0"/>
                    <a:pt x="9257" y="0"/>
                    <a:pt x="12344" y="3085"/>
                  </a:cubicBezTo>
                  <a:cubicBezTo>
                    <a:pt x="15429" y="9257"/>
                    <a:pt x="80230" y="160457"/>
                    <a:pt x="67886" y="268457"/>
                  </a:cubicBezTo>
                  <a:cubicBezTo>
                    <a:pt x="64801" y="286971"/>
                    <a:pt x="61714" y="308571"/>
                    <a:pt x="58629" y="336343"/>
                  </a:cubicBezTo>
                  <a:cubicBezTo>
                    <a:pt x="43201" y="456685"/>
                    <a:pt x="21600" y="638743"/>
                    <a:pt x="33944" y="759086"/>
                  </a:cubicBezTo>
                  <a:cubicBezTo>
                    <a:pt x="33944" y="765257"/>
                    <a:pt x="30857" y="768343"/>
                    <a:pt x="27772" y="768343"/>
                  </a:cubicBezTo>
                  <a:cubicBezTo>
                    <a:pt x="27772" y="768343"/>
                    <a:pt x="27772" y="768343"/>
                    <a:pt x="27772" y="768343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135C27D1-DF74-4760-8F4F-68980A97F1DF}"/>
                </a:ext>
              </a:extLst>
            </p:cNvPr>
            <p:cNvSpPr/>
            <p:nvPr/>
          </p:nvSpPr>
          <p:spPr>
            <a:xfrm>
              <a:off x="19719637" y="8546332"/>
              <a:ext cx="120849" cy="29049"/>
            </a:xfrm>
            <a:custGeom>
              <a:avLst/>
              <a:gdLst>
                <a:gd name="connsiteX0" fmla="*/ 51686 w 120849"/>
                <a:gd name="connsiteY0" fmla="*/ 29050 h 29049"/>
                <a:gd name="connsiteX1" fmla="*/ 2314 w 120849"/>
                <a:gd name="connsiteY1" fmla="*/ 16707 h 29049"/>
                <a:gd name="connsiteX2" fmla="*/ 2314 w 120849"/>
                <a:gd name="connsiteY2" fmla="*/ 7450 h 29049"/>
                <a:gd name="connsiteX3" fmla="*/ 11570 w 120849"/>
                <a:gd name="connsiteY3" fmla="*/ 7450 h 29049"/>
                <a:gd name="connsiteX4" fmla="*/ 110314 w 120849"/>
                <a:gd name="connsiteY4" fmla="*/ 1278 h 29049"/>
                <a:gd name="connsiteX5" fmla="*/ 119570 w 120849"/>
                <a:gd name="connsiteY5" fmla="*/ 4364 h 29049"/>
                <a:gd name="connsiteX6" fmla="*/ 116486 w 120849"/>
                <a:gd name="connsiteY6" fmla="*/ 13621 h 29049"/>
                <a:gd name="connsiteX7" fmla="*/ 51686 w 120849"/>
                <a:gd name="connsiteY7" fmla="*/ 29050 h 2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849" h="29049">
                  <a:moveTo>
                    <a:pt x="51686" y="29050"/>
                  </a:moveTo>
                  <a:cubicBezTo>
                    <a:pt x="23914" y="29050"/>
                    <a:pt x="5401" y="16707"/>
                    <a:pt x="2314" y="16707"/>
                  </a:cubicBezTo>
                  <a:cubicBezTo>
                    <a:pt x="-771" y="13621"/>
                    <a:pt x="-771" y="10535"/>
                    <a:pt x="2314" y="7450"/>
                  </a:cubicBezTo>
                  <a:cubicBezTo>
                    <a:pt x="5401" y="4364"/>
                    <a:pt x="8486" y="4364"/>
                    <a:pt x="11570" y="7450"/>
                  </a:cubicBezTo>
                  <a:cubicBezTo>
                    <a:pt x="14657" y="7450"/>
                    <a:pt x="54771" y="38307"/>
                    <a:pt x="110314" y="1278"/>
                  </a:cubicBezTo>
                  <a:cubicBezTo>
                    <a:pt x="113401" y="-1807"/>
                    <a:pt x="116486" y="1278"/>
                    <a:pt x="119570" y="4364"/>
                  </a:cubicBezTo>
                  <a:cubicBezTo>
                    <a:pt x="122657" y="7450"/>
                    <a:pt x="119570" y="10535"/>
                    <a:pt x="116486" y="13621"/>
                  </a:cubicBezTo>
                  <a:cubicBezTo>
                    <a:pt x="91800" y="25964"/>
                    <a:pt x="67115" y="29050"/>
                    <a:pt x="51686" y="29050"/>
                  </a:cubicBezTo>
                  <a:close/>
                </a:path>
              </a:pathLst>
            </a:custGeom>
            <a:solidFill>
              <a:srgbClr val="E58777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56739A1C-066B-46B6-8A41-03888FEB234C}"/>
                </a:ext>
              </a:extLst>
            </p:cNvPr>
            <p:cNvSpPr/>
            <p:nvPr/>
          </p:nvSpPr>
          <p:spPr>
            <a:xfrm>
              <a:off x="20500125" y="9001210"/>
              <a:ext cx="804797" cy="836228"/>
            </a:xfrm>
            <a:custGeom>
              <a:avLst/>
              <a:gdLst>
                <a:gd name="connsiteX0" fmla="*/ 326512 w 804797"/>
                <a:gd name="connsiteY0" fmla="*/ 3085 h 836228"/>
                <a:gd name="connsiteX1" fmla="*/ 267884 w 804797"/>
                <a:gd name="connsiteY1" fmla="*/ 549257 h 836228"/>
                <a:gd name="connsiteX2" fmla="*/ 804797 w 804797"/>
                <a:gd name="connsiteY2" fmla="*/ 700457 h 836228"/>
                <a:gd name="connsiteX3" fmla="*/ 798627 w 804797"/>
                <a:gd name="connsiteY3" fmla="*/ 836229 h 836228"/>
                <a:gd name="connsiteX4" fmla="*/ 45712 w 804797"/>
                <a:gd name="connsiteY4" fmla="*/ 712800 h 836228"/>
                <a:gd name="connsiteX5" fmla="*/ 54969 w 804797"/>
                <a:gd name="connsiteY5" fmla="*/ 0 h 836228"/>
                <a:gd name="connsiteX6" fmla="*/ 326512 w 804797"/>
                <a:gd name="connsiteY6" fmla="*/ 3085 h 836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4797" h="836228">
                  <a:moveTo>
                    <a:pt x="326512" y="3085"/>
                  </a:moveTo>
                  <a:lnTo>
                    <a:pt x="267884" y="549257"/>
                  </a:lnTo>
                  <a:lnTo>
                    <a:pt x="804797" y="700457"/>
                  </a:lnTo>
                  <a:lnTo>
                    <a:pt x="798627" y="836229"/>
                  </a:lnTo>
                  <a:cubicBezTo>
                    <a:pt x="798627" y="836229"/>
                    <a:pt x="153712" y="783771"/>
                    <a:pt x="45712" y="712800"/>
                  </a:cubicBezTo>
                  <a:cubicBezTo>
                    <a:pt x="-62288" y="641828"/>
                    <a:pt x="54969" y="0"/>
                    <a:pt x="54969" y="0"/>
                  </a:cubicBezTo>
                  <a:lnTo>
                    <a:pt x="326512" y="3085"/>
                  </a:ln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508C56F5-83C5-4599-9676-11201F03A5A3}"/>
                </a:ext>
              </a:extLst>
            </p:cNvPr>
            <p:cNvSpPr/>
            <p:nvPr/>
          </p:nvSpPr>
          <p:spPr>
            <a:xfrm>
              <a:off x="20706294" y="9106125"/>
              <a:ext cx="114171" cy="487542"/>
            </a:xfrm>
            <a:custGeom>
              <a:avLst/>
              <a:gdLst>
                <a:gd name="connsiteX0" fmla="*/ 6172 w 114171"/>
                <a:gd name="connsiteY0" fmla="*/ 487543 h 487542"/>
                <a:gd name="connsiteX1" fmla="*/ 0 w 114171"/>
                <a:gd name="connsiteY1" fmla="*/ 484457 h 487542"/>
                <a:gd name="connsiteX2" fmla="*/ 3085 w 114171"/>
                <a:gd name="connsiteY2" fmla="*/ 478286 h 487542"/>
                <a:gd name="connsiteX3" fmla="*/ 55542 w 114171"/>
                <a:gd name="connsiteY3" fmla="*/ 441257 h 487542"/>
                <a:gd name="connsiteX4" fmla="*/ 101828 w 114171"/>
                <a:gd name="connsiteY4" fmla="*/ 0 h 487542"/>
                <a:gd name="connsiteX5" fmla="*/ 114172 w 114171"/>
                <a:gd name="connsiteY5" fmla="*/ 0 h 487542"/>
                <a:gd name="connsiteX6" fmla="*/ 67886 w 114171"/>
                <a:gd name="connsiteY6" fmla="*/ 444343 h 487542"/>
                <a:gd name="connsiteX7" fmla="*/ 64799 w 114171"/>
                <a:gd name="connsiteY7" fmla="*/ 447429 h 487542"/>
                <a:gd name="connsiteX8" fmla="*/ 6172 w 114171"/>
                <a:gd name="connsiteY8" fmla="*/ 487543 h 487542"/>
                <a:gd name="connsiteX9" fmla="*/ 6172 w 114171"/>
                <a:gd name="connsiteY9" fmla="*/ 487543 h 487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4171" h="487542">
                  <a:moveTo>
                    <a:pt x="6172" y="487543"/>
                  </a:moveTo>
                  <a:cubicBezTo>
                    <a:pt x="3085" y="487543"/>
                    <a:pt x="3085" y="487543"/>
                    <a:pt x="0" y="484457"/>
                  </a:cubicBezTo>
                  <a:cubicBezTo>
                    <a:pt x="0" y="481372"/>
                    <a:pt x="0" y="478286"/>
                    <a:pt x="3085" y="478286"/>
                  </a:cubicBezTo>
                  <a:cubicBezTo>
                    <a:pt x="18514" y="469028"/>
                    <a:pt x="49371" y="447429"/>
                    <a:pt x="55542" y="441257"/>
                  </a:cubicBezTo>
                  <a:cubicBezTo>
                    <a:pt x="67886" y="320914"/>
                    <a:pt x="101828" y="0"/>
                    <a:pt x="101828" y="0"/>
                  </a:cubicBezTo>
                  <a:lnTo>
                    <a:pt x="114172" y="0"/>
                  </a:lnTo>
                  <a:cubicBezTo>
                    <a:pt x="114172" y="0"/>
                    <a:pt x="80228" y="324000"/>
                    <a:pt x="67886" y="444343"/>
                  </a:cubicBezTo>
                  <a:cubicBezTo>
                    <a:pt x="67886" y="447429"/>
                    <a:pt x="67886" y="447429"/>
                    <a:pt x="64799" y="447429"/>
                  </a:cubicBezTo>
                  <a:cubicBezTo>
                    <a:pt x="61714" y="450514"/>
                    <a:pt x="24685" y="478286"/>
                    <a:pt x="6172" y="487543"/>
                  </a:cubicBezTo>
                  <a:cubicBezTo>
                    <a:pt x="6172" y="487543"/>
                    <a:pt x="6172" y="487543"/>
                    <a:pt x="6172" y="487543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D4CF097E-D580-46EA-A8B9-D50D17672BFC}"/>
                </a:ext>
              </a:extLst>
            </p:cNvPr>
            <p:cNvSpPr/>
            <p:nvPr/>
          </p:nvSpPr>
          <p:spPr>
            <a:xfrm>
              <a:off x="20493379" y="8513370"/>
              <a:ext cx="426021" cy="592376"/>
            </a:xfrm>
            <a:custGeom>
              <a:avLst/>
              <a:gdLst>
                <a:gd name="connsiteX0" fmla="*/ 0 w 426021"/>
                <a:gd name="connsiteY0" fmla="*/ 546469 h 592376"/>
                <a:gd name="connsiteX1" fmla="*/ 265373 w 426021"/>
                <a:gd name="connsiteY1" fmla="*/ 298 h 592376"/>
                <a:gd name="connsiteX2" fmla="*/ 425828 w 426021"/>
                <a:gd name="connsiteY2" fmla="*/ 574240 h 592376"/>
                <a:gd name="connsiteX3" fmla="*/ 0 w 426021"/>
                <a:gd name="connsiteY3" fmla="*/ 546469 h 592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021" h="592376">
                  <a:moveTo>
                    <a:pt x="0" y="546469"/>
                  </a:moveTo>
                  <a:cubicBezTo>
                    <a:pt x="0" y="546469"/>
                    <a:pt x="117257" y="15726"/>
                    <a:pt x="265373" y="298"/>
                  </a:cubicBezTo>
                  <a:cubicBezTo>
                    <a:pt x="438172" y="-15131"/>
                    <a:pt x="425828" y="574240"/>
                    <a:pt x="425828" y="574240"/>
                  </a:cubicBezTo>
                  <a:cubicBezTo>
                    <a:pt x="425828" y="574240"/>
                    <a:pt x="200571" y="629783"/>
                    <a:pt x="0" y="546469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C9C444C2-2E3F-462A-83BF-E78BCE765BD4}"/>
                </a:ext>
              </a:extLst>
            </p:cNvPr>
            <p:cNvSpPr/>
            <p:nvPr/>
          </p:nvSpPr>
          <p:spPr>
            <a:xfrm>
              <a:off x="20757473" y="8509304"/>
              <a:ext cx="174077" cy="602992"/>
            </a:xfrm>
            <a:custGeom>
              <a:avLst/>
              <a:gdLst>
                <a:gd name="connsiteX0" fmla="*/ 35221 w 174077"/>
                <a:gd name="connsiteY0" fmla="*/ 602992 h 602992"/>
                <a:gd name="connsiteX1" fmla="*/ 29049 w 174077"/>
                <a:gd name="connsiteY1" fmla="*/ 602992 h 602992"/>
                <a:gd name="connsiteX2" fmla="*/ 22877 w 174077"/>
                <a:gd name="connsiteY2" fmla="*/ 596821 h 602992"/>
                <a:gd name="connsiteX3" fmla="*/ 29049 w 174077"/>
                <a:gd name="connsiteY3" fmla="*/ 590650 h 602992"/>
                <a:gd name="connsiteX4" fmla="*/ 29049 w 174077"/>
                <a:gd name="connsiteY4" fmla="*/ 590650 h 602992"/>
                <a:gd name="connsiteX5" fmla="*/ 158649 w 174077"/>
                <a:gd name="connsiteY5" fmla="*/ 575221 h 602992"/>
                <a:gd name="connsiteX6" fmla="*/ 133964 w 174077"/>
                <a:gd name="connsiteY6" fmla="*/ 217278 h 602992"/>
                <a:gd name="connsiteX7" fmla="*/ 4364 w 174077"/>
                <a:gd name="connsiteY7" fmla="*/ 10535 h 602992"/>
                <a:gd name="connsiteX8" fmla="*/ 1279 w 174077"/>
                <a:gd name="connsiteY8" fmla="*/ 4364 h 602992"/>
                <a:gd name="connsiteX9" fmla="*/ 7449 w 174077"/>
                <a:gd name="connsiteY9" fmla="*/ 1278 h 602992"/>
                <a:gd name="connsiteX10" fmla="*/ 146306 w 174077"/>
                <a:gd name="connsiteY10" fmla="*/ 217278 h 602992"/>
                <a:gd name="connsiteX11" fmla="*/ 174078 w 174077"/>
                <a:gd name="connsiteY11" fmla="*/ 581392 h 602992"/>
                <a:gd name="connsiteX12" fmla="*/ 174078 w 174077"/>
                <a:gd name="connsiteY12" fmla="*/ 584478 h 602992"/>
                <a:gd name="connsiteX13" fmla="*/ 170993 w 174077"/>
                <a:gd name="connsiteY13" fmla="*/ 584478 h 602992"/>
                <a:gd name="connsiteX14" fmla="*/ 35221 w 174077"/>
                <a:gd name="connsiteY14" fmla="*/ 602992 h 602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4077" h="602992">
                  <a:moveTo>
                    <a:pt x="35221" y="602992"/>
                  </a:moveTo>
                  <a:cubicBezTo>
                    <a:pt x="32136" y="602992"/>
                    <a:pt x="29049" y="602992"/>
                    <a:pt x="29049" y="602992"/>
                  </a:cubicBezTo>
                  <a:cubicBezTo>
                    <a:pt x="25964" y="602992"/>
                    <a:pt x="22877" y="599907"/>
                    <a:pt x="22877" y="596821"/>
                  </a:cubicBezTo>
                  <a:cubicBezTo>
                    <a:pt x="22877" y="593735"/>
                    <a:pt x="25964" y="590650"/>
                    <a:pt x="29049" y="590650"/>
                  </a:cubicBezTo>
                  <a:cubicBezTo>
                    <a:pt x="29049" y="590650"/>
                    <a:pt x="29049" y="590650"/>
                    <a:pt x="29049" y="590650"/>
                  </a:cubicBezTo>
                  <a:cubicBezTo>
                    <a:pt x="84591" y="593735"/>
                    <a:pt x="143221" y="578307"/>
                    <a:pt x="158649" y="575221"/>
                  </a:cubicBezTo>
                  <a:cubicBezTo>
                    <a:pt x="158649" y="547449"/>
                    <a:pt x="152478" y="383907"/>
                    <a:pt x="133964" y="217278"/>
                  </a:cubicBezTo>
                  <a:cubicBezTo>
                    <a:pt x="112364" y="38306"/>
                    <a:pt x="4364" y="10535"/>
                    <a:pt x="4364" y="10535"/>
                  </a:cubicBezTo>
                  <a:cubicBezTo>
                    <a:pt x="1279" y="10535"/>
                    <a:pt x="-1808" y="7449"/>
                    <a:pt x="1279" y="4364"/>
                  </a:cubicBezTo>
                  <a:cubicBezTo>
                    <a:pt x="1279" y="1278"/>
                    <a:pt x="4364" y="-1807"/>
                    <a:pt x="7449" y="1278"/>
                  </a:cubicBezTo>
                  <a:cubicBezTo>
                    <a:pt x="13620" y="1278"/>
                    <a:pt x="124707" y="29050"/>
                    <a:pt x="146306" y="217278"/>
                  </a:cubicBezTo>
                  <a:cubicBezTo>
                    <a:pt x="167906" y="399335"/>
                    <a:pt x="174078" y="578307"/>
                    <a:pt x="174078" y="581392"/>
                  </a:cubicBezTo>
                  <a:lnTo>
                    <a:pt x="174078" y="584478"/>
                  </a:lnTo>
                  <a:lnTo>
                    <a:pt x="170993" y="584478"/>
                  </a:lnTo>
                  <a:cubicBezTo>
                    <a:pt x="164821" y="587564"/>
                    <a:pt x="100020" y="602992"/>
                    <a:pt x="35221" y="602992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0" name="图形 1">
              <a:extLst>
                <a:ext uri="{FF2B5EF4-FFF2-40B4-BE49-F238E27FC236}">
                  <a16:creationId xmlns:a16="http://schemas.microsoft.com/office/drawing/2014/main" id="{CD49AE87-B356-4E86-81D3-D2F5AF77DC89}"/>
                </a:ext>
              </a:extLst>
            </p:cNvPr>
            <p:cNvGrpSpPr/>
            <p:nvPr/>
          </p:nvGrpSpPr>
          <p:grpSpPr>
            <a:xfrm>
              <a:off x="20786854" y="9507596"/>
              <a:ext cx="163210" cy="138528"/>
              <a:chOff x="20786854" y="9507596"/>
              <a:chExt cx="163210" cy="138528"/>
            </a:xfrm>
          </p:grpSpPr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6509E83F-669A-4F12-BFEA-D2C781E95255}"/>
                  </a:ext>
                </a:extLst>
              </p:cNvPr>
              <p:cNvSpPr/>
              <p:nvPr/>
            </p:nvSpPr>
            <p:spPr>
              <a:xfrm>
                <a:off x="20786854" y="9507596"/>
                <a:ext cx="163210" cy="133143"/>
              </a:xfrm>
              <a:custGeom>
                <a:avLst/>
                <a:gdLst>
                  <a:gd name="connsiteX0" fmla="*/ 123097 w 163210"/>
                  <a:gd name="connsiteY0" fmla="*/ 126186 h 133143"/>
                  <a:gd name="connsiteX1" fmla="*/ 98411 w 163210"/>
                  <a:gd name="connsiteY1" fmla="*/ 123100 h 133143"/>
                  <a:gd name="connsiteX2" fmla="*/ 89155 w 163210"/>
                  <a:gd name="connsiteY2" fmla="*/ 132357 h 133143"/>
                  <a:gd name="connsiteX3" fmla="*/ 52126 w 163210"/>
                  <a:gd name="connsiteY3" fmla="*/ 116928 h 133143"/>
                  <a:gd name="connsiteX4" fmla="*/ 49041 w 163210"/>
                  <a:gd name="connsiteY4" fmla="*/ 113842 h 133143"/>
                  <a:gd name="connsiteX5" fmla="*/ 45954 w 163210"/>
                  <a:gd name="connsiteY5" fmla="*/ 113842 h 133143"/>
                  <a:gd name="connsiteX6" fmla="*/ 8925 w 163210"/>
                  <a:gd name="connsiteY6" fmla="*/ 98414 h 133143"/>
                  <a:gd name="connsiteX7" fmla="*/ 2755 w 163210"/>
                  <a:gd name="connsiteY7" fmla="*/ 86071 h 133143"/>
                  <a:gd name="connsiteX8" fmla="*/ 2755 w 163210"/>
                  <a:gd name="connsiteY8" fmla="*/ 73728 h 133143"/>
                  <a:gd name="connsiteX9" fmla="*/ 8925 w 163210"/>
                  <a:gd name="connsiteY9" fmla="*/ 5842 h 133143"/>
                  <a:gd name="connsiteX10" fmla="*/ 42869 w 163210"/>
                  <a:gd name="connsiteY10" fmla="*/ 5842 h 133143"/>
                  <a:gd name="connsiteX11" fmla="*/ 55211 w 163210"/>
                  <a:gd name="connsiteY11" fmla="*/ 21271 h 133143"/>
                  <a:gd name="connsiteX12" fmla="*/ 86068 w 163210"/>
                  <a:gd name="connsiteY12" fmla="*/ 21271 h 133143"/>
                  <a:gd name="connsiteX13" fmla="*/ 95326 w 163210"/>
                  <a:gd name="connsiteY13" fmla="*/ 33614 h 133143"/>
                  <a:gd name="connsiteX14" fmla="*/ 123097 w 163210"/>
                  <a:gd name="connsiteY14" fmla="*/ 33614 h 133143"/>
                  <a:gd name="connsiteX15" fmla="*/ 132354 w 163210"/>
                  <a:gd name="connsiteY15" fmla="*/ 49043 h 133143"/>
                  <a:gd name="connsiteX16" fmla="*/ 153954 w 163210"/>
                  <a:gd name="connsiteY16" fmla="*/ 49043 h 133143"/>
                  <a:gd name="connsiteX17" fmla="*/ 163211 w 163210"/>
                  <a:gd name="connsiteY17" fmla="*/ 70643 h 133143"/>
                  <a:gd name="connsiteX18" fmla="*/ 163211 w 163210"/>
                  <a:gd name="connsiteY18" fmla="*/ 98414 h 133143"/>
                  <a:gd name="connsiteX19" fmla="*/ 153954 w 163210"/>
                  <a:gd name="connsiteY19" fmla="*/ 116928 h 133143"/>
                  <a:gd name="connsiteX20" fmla="*/ 132354 w 163210"/>
                  <a:gd name="connsiteY20" fmla="*/ 110757 h 133143"/>
                  <a:gd name="connsiteX21" fmla="*/ 123097 w 163210"/>
                  <a:gd name="connsiteY21" fmla="*/ 126186 h 133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63210" h="133143">
                    <a:moveTo>
                      <a:pt x="123097" y="126186"/>
                    </a:moveTo>
                    <a:cubicBezTo>
                      <a:pt x="113840" y="129271"/>
                      <a:pt x="107668" y="126186"/>
                      <a:pt x="98411" y="123100"/>
                    </a:cubicBezTo>
                    <a:cubicBezTo>
                      <a:pt x="95326" y="126186"/>
                      <a:pt x="92240" y="129271"/>
                      <a:pt x="89155" y="132357"/>
                    </a:cubicBezTo>
                    <a:cubicBezTo>
                      <a:pt x="73726" y="135442"/>
                      <a:pt x="58298" y="129271"/>
                      <a:pt x="52126" y="116928"/>
                    </a:cubicBezTo>
                    <a:cubicBezTo>
                      <a:pt x="52126" y="116928"/>
                      <a:pt x="52126" y="113842"/>
                      <a:pt x="49041" y="113842"/>
                    </a:cubicBezTo>
                    <a:cubicBezTo>
                      <a:pt x="49041" y="113842"/>
                      <a:pt x="49041" y="113842"/>
                      <a:pt x="45954" y="113842"/>
                    </a:cubicBezTo>
                    <a:cubicBezTo>
                      <a:pt x="30525" y="116928"/>
                      <a:pt x="15097" y="110757"/>
                      <a:pt x="8925" y="98414"/>
                    </a:cubicBezTo>
                    <a:cubicBezTo>
                      <a:pt x="5840" y="95328"/>
                      <a:pt x="5840" y="92243"/>
                      <a:pt x="2755" y="86071"/>
                    </a:cubicBezTo>
                    <a:cubicBezTo>
                      <a:pt x="2755" y="82985"/>
                      <a:pt x="2755" y="76814"/>
                      <a:pt x="2755" y="73728"/>
                    </a:cubicBezTo>
                    <a:cubicBezTo>
                      <a:pt x="2755" y="49043"/>
                      <a:pt x="-6504" y="21271"/>
                      <a:pt x="8925" y="5842"/>
                    </a:cubicBezTo>
                    <a:cubicBezTo>
                      <a:pt x="15097" y="-329"/>
                      <a:pt x="30525" y="-3415"/>
                      <a:pt x="42869" y="5842"/>
                    </a:cubicBezTo>
                    <a:cubicBezTo>
                      <a:pt x="49041" y="8928"/>
                      <a:pt x="52126" y="15100"/>
                      <a:pt x="55211" y="21271"/>
                    </a:cubicBezTo>
                    <a:cubicBezTo>
                      <a:pt x="64469" y="15100"/>
                      <a:pt x="73726" y="15100"/>
                      <a:pt x="86068" y="21271"/>
                    </a:cubicBezTo>
                    <a:cubicBezTo>
                      <a:pt x="92240" y="24357"/>
                      <a:pt x="95326" y="27442"/>
                      <a:pt x="95326" y="33614"/>
                    </a:cubicBezTo>
                    <a:cubicBezTo>
                      <a:pt x="101496" y="27442"/>
                      <a:pt x="113840" y="27442"/>
                      <a:pt x="123097" y="33614"/>
                    </a:cubicBezTo>
                    <a:cubicBezTo>
                      <a:pt x="129269" y="36700"/>
                      <a:pt x="132354" y="42871"/>
                      <a:pt x="132354" y="49043"/>
                    </a:cubicBezTo>
                    <a:cubicBezTo>
                      <a:pt x="138525" y="45957"/>
                      <a:pt x="144697" y="42871"/>
                      <a:pt x="153954" y="49043"/>
                    </a:cubicBezTo>
                    <a:cubicBezTo>
                      <a:pt x="163211" y="55214"/>
                      <a:pt x="160126" y="61385"/>
                      <a:pt x="163211" y="70643"/>
                    </a:cubicBezTo>
                    <a:cubicBezTo>
                      <a:pt x="163211" y="79900"/>
                      <a:pt x="163211" y="89157"/>
                      <a:pt x="163211" y="98414"/>
                    </a:cubicBezTo>
                    <a:cubicBezTo>
                      <a:pt x="163211" y="104585"/>
                      <a:pt x="163211" y="116928"/>
                      <a:pt x="153954" y="116928"/>
                    </a:cubicBezTo>
                    <a:cubicBezTo>
                      <a:pt x="147782" y="120014"/>
                      <a:pt x="138525" y="116928"/>
                      <a:pt x="132354" y="110757"/>
                    </a:cubicBezTo>
                    <a:cubicBezTo>
                      <a:pt x="135440" y="116928"/>
                      <a:pt x="132354" y="123100"/>
                      <a:pt x="123097" y="12618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C8EAA15D-F439-4B06-A85E-D798F2300855}"/>
                  </a:ext>
                </a:extLst>
              </p:cNvPr>
              <p:cNvSpPr/>
              <p:nvPr/>
            </p:nvSpPr>
            <p:spPr>
              <a:xfrm>
                <a:off x="20788621" y="9518332"/>
                <a:ext cx="112072" cy="127792"/>
              </a:xfrm>
              <a:custGeom>
                <a:avLst/>
                <a:gdLst>
                  <a:gd name="connsiteX0" fmla="*/ 81215 w 112072"/>
                  <a:gd name="connsiteY0" fmla="*/ 127792 h 127792"/>
                  <a:gd name="connsiteX1" fmla="*/ 81215 w 112072"/>
                  <a:gd name="connsiteY1" fmla="*/ 127792 h 127792"/>
                  <a:gd name="connsiteX2" fmla="*/ 44186 w 112072"/>
                  <a:gd name="connsiteY2" fmla="*/ 109278 h 127792"/>
                  <a:gd name="connsiteX3" fmla="*/ 31845 w 112072"/>
                  <a:gd name="connsiteY3" fmla="*/ 109278 h 127792"/>
                  <a:gd name="connsiteX4" fmla="*/ 13329 w 112072"/>
                  <a:gd name="connsiteY4" fmla="*/ 100021 h 127792"/>
                  <a:gd name="connsiteX5" fmla="*/ 988 w 112072"/>
                  <a:gd name="connsiteY5" fmla="*/ 22878 h 127792"/>
                  <a:gd name="connsiteX6" fmla="*/ 7158 w 112072"/>
                  <a:gd name="connsiteY6" fmla="*/ 16707 h 127792"/>
                  <a:gd name="connsiteX7" fmla="*/ 13329 w 112072"/>
                  <a:gd name="connsiteY7" fmla="*/ 22878 h 127792"/>
                  <a:gd name="connsiteX8" fmla="*/ 22586 w 112072"/>
                  <a:gd name="connsiteY8" fmla="*/ 90764 h 127792"/>
                  <a:gd name="connsiteX9" fmla="*/ 34930 w 112072"/>
                  <a:gd name="connsiteY9" fmla="*/ 96935 h 127792"/>
                  <a:gd name="connsiteX10" fmla="*/ 50358 w 112072"/>
                  <a:gd name="connsiteY10" fmla="*/ 90764 h 127792"/>
                  <a:gd name="connsiteX11" fmla="*/ 53443 w 112072"/>
                  <a:gd name="connsiteY11" fmla="*/ 13621 h 127792"/>
                  <a:gd name="connsiteX12" fmla="*/ 56530 w 112072"/>
                  <a:gd name="connsiteY12" fmla="*/ 4364 h 127792"/>
                  <a:gd name="connsiteX13" fmla="*/ 78130 w 112072"/>
                  <a:gd name="connsiteY13" fmla="*/ 1278 h 127792"/>
                  <a:gd name="connsiteX14" fmla="*/ 112073 w 112072"/>
                  <a:gd name="connsiteY14" fmla="*/ 78421 h 127792"/>
                  <a:gd name="connsiteX15" fmla="*/ 81215 w 112072"/>
                  <a:gd name="connsiteY15" fmla="*/ 127792 h 127792"/>
                  <a:gd name="connsiteX16" fmla="*/ 53443 w 112072"/>
                  <a:gd name="connsiteY16" fmla="*/ 100021 h 127792"/>
                  <a:gd name="connsiteX17" fmla="*/ 81215 w 112072"/>
                  <a:gd name="connsiteY17" fmla="*/ 112364 h 127792"/>
                  <a:gd name="connsiteX18" fmla="*/ 81215 w 112072"/>
                  <a:gd name="connsiteY18" fmla="*/ 112364 h 127792"/>
                  <a:gd name="connsiteX19" fmla="*/ 96644 w 112072"/>
                  <a:gd name="connsiteY19" fmla="*/ 75335 h 127792"/>
                  <a:gd name="connsiteX20" fmla="*/ 71959 w 112072"/>
                  <a:gd name="connsiteY20" fmla="*/ 10535 h 127792"/>
                  <a:gd name="connsiteX21" fmla="*/ 59615 w 112072"/>
                  <a:gd name="connsiteY21" fmla="*/ 10535 h 127792"/>
                  <a:gd name="connsiteX22" fmla="*/ 53443 w 112072"/>
                  <a:gd name="connsiteY22" fmla="*/ 100021 h 127792"/>
                  <a:gd name="connsiteX23" fmla="*/ 53443 w 112072"/>
                  <a:gd name="connsiteY23" fmla="*/ 100021 h 127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12072" h="127792">
                    <a:moveTo>
                      <a:pt x="81215" y="127792"/>
                    </a:moveTo>
                    <a:cubicBezTo>
                      <a:pt x="81215" y="127792"/>
                      <a:pt x="81215" y="127792"/>
                      <a:pt x="81215" y="127792"/>
                    </a:cubicBezTo>
                    <a:cubicBezTo>
                      <a:pt x="62702" y="127792"/>
                      <a:pt x="44186" y="109278"/>
                      <a:pt x="44186" y="109278"/>
                    </a:cubicBezTo>
                    <a:cubicBezTo>
                      <a:pt x="41102" y="109278"/>
                      <a:pt x="34930" y="109278"/>
                      <a:pt x="31845" y="109278"/>
                    </a:cubicBezTo>
                    <a:cubicBezTo>
                      <a:pt x="22586" y="109278"/>
                      <a:pt x="16416" y="106193"/>
                      <a:pt x="13329" y="100021"/>
                    </a:cubicBezTo>
                    <a:cubicBezTo>
                      <a:pt x="-5184" y="78421"/>
                      <a:pt x="988" y="29050"/>
                      <a:pt x="988" y="22878"/>
                    </a:cubicBezTo>
                    <a:cubicBezTo>
                      <a:pt x="988" y="19792"/>
                      <a:pt x="4073" y="16707"/>
                      <a:pt x="7158" y="16707"/>
                    </a:cubicBezTo>
                    <a:cubicBezTo>
                      <a:pt x="10244" y="16707"/>
                      <a:pt x="13329" y="19792"/>
                      <a:pt x="13329" y="22878"/>
                    </a:cubicBezTo>
                    <a:cubicBezTo>
                      <a:pt x="10244" y="38307"/>
                      <a:pt x="10244" y="75335"/>
                      <a:pt x="22586" y="90764"/>
                    </a:cubicBezTo>
                    <a:cubicBezTo>
                      <a:pt x="25673" y="93849"/>
                      <a:pt x="28758" y="96935"/>
                      <a:pt x="34930" y="96935"/>
                    </a:cubicBezTo>
                    <a:cubicBezTo>
                      <a:pt x="41102" y="96935"/>
                      <a:pt x="47273" y="96935"/>
                      <a:pt x="50358" y="90764"/>
                    </a:cubicBezTo>
                    <a:cubicBezTo>
                      <a:pt x="56530" y="84593"/>
                      <a:pt x="59615" y="66078"/>
                      <a:pt x="53443" y="13621"/>
                    </a:cubicBezTo>
                    <a:cubicBezTo>
                      <a:pt x="53443" y="10535"/>
                      <a:pt x="53443" y="7450"/>
                      <a:pt x="56530" y="4364"/>
                    </a:cubicBezTo>
                    <a:cubicBezTo>
                      <a:pt x="59615" y="1278"/>
                      <a:pt x="68872" y="-1807"/>
                      <a:pt x="78130" y="1278"/>
                    </a:cubicBezTo>
                    <a:cubicBezTo>
                      <a:pt x="93559" y="4364"/>
                      <a:pt x="112073" y="19792"/>
                      <a:pt x="112073" y="78421"/>
                    </a:cubicBezTo>
                    <a:cubicBezTo>
                      <a:pt x="105901" y="100021"/>
                      <a:pt x="105901" y="127792"/>
                      <a:pt x="81215" y="127792"/>
                    </a:cubicBezTo>
                    <a:close/>
                    <a:moveTo>
                      <a:pt x="53443" y="100021"/>
                    </a:moveTo>
                    <a:cubicBezTo>
                      <a:pt x="59615" y="106193"/>
                      <a:pt x="71959" y="112364"/>
                      <a:pt x="81215" y="112364"/>
                    </a:cubicBezTo>
                    <a:cubicBezTo>
                      <a:pt x="81215" y="112364"/>
                      <a:pt x="81215" y="112364"/>
                      <a:pt x="81215" y="112364"/>
                    </a:cubicBezTo>
                    <a:cubicBezTo>
                      <a:pt x="90472" y="112364"/>
                      <a:pt x="93559" y="106193"/>
                      <a:pt x="96644" y="75335"/>
                    </a:cubicBezTo>
                    <a:cubicBezTo>
                      <a:pt x="96644" y="53736"/>
                      <a:pt x="96644" y="16707"/>
                      <a:pt x="71959" y="10535"/>
                    </a:cubicBezTo>
                    <a:cubicBezTo>
                      <a:pt x="62702" y="7450"/>
                      <a:pt x="59615" y="10535"/>
                      <a:pt x="59615" y="10535"/>
                    </a:cubicBezTo>
                    <a:cubicBezTo>
                      <a:pt x="65787" y="59907"/>
                      <a:pt x="65787" y="87678"/>
                      <a:pt x="53443" y="100021"/>
                    </a:cubicBezTo>
                    <a:cubicBezTo>
                      <a:pt x="53443" y="100021"/>
                      <a:pt x="53443" y="100021"/>
                      <a:pt x="53443" y="10002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E76E0B53-87B4-4841-B8DA-80035272E11D}"/>
                  </a:ext>
                </a:extLst>
              </p:cNvPr>
              <p:cNvSpPr/>
              <p:nvPr/>
            </p:nvSpPr>
            <p:spPr>
              <a:xfrm>
                <a:off x="20879094" y="9531953"/>
                <a:ext cx="55013" cy="111085"/>
              </a:xfrm>
              <a:custGeom>
                <a:avLst/>
                <a:gdLst>
                  <a:gd name="connsiteX0" fmla="*/ 24685 w 55013"/>
                  <a:gd name="connsiteY0" fmla="*/ 111085 h 111085"/>
                  <a:gd name="connsiteX1" fmla="*/ 3087 w 55013"/>
                  <a:gd name="connsiteY1" fmla="*/ 104914 h 111085"/>
                  <a:gd name="connsiteX2" fmla="*/ 0 w 55013"/>
                  <a:gd name="connsiteY2" fmla="*/ 95657 h 111085"/>
                  <a:gd name="connsiteX3" fmla="*/ 9257 w 55013"/>
                  <a:gd name="connsiteY3" fmla="*/ 92571 h 111085"/>
                  <a:gd name="connsiteX4" fmla="*/ 33944 w 55013"/>
                  <a:gd name="connsiteY4" fmla="*/ 95657 h 111085"/>
                  <a:gd name="connsiteX5" fmla="*/ 40114 w 55013"/>
                  <a:gd name="connsiteY5" fmla="*/ 86400 h 111085"/>
                  <a:gd name="connsiteX6" fmla="*/ 37029 w 55013"/>
                  <a:gd name="connsiteY6" fmla="*/ 15429 h 111085"/>
                  <a:gd name="connsiteX7" fmla="*/ 30857 w 55013"/>
                  <a:gd name="connsiteY7" fmla="*/ 12343 h 111085"/>
                  <a:gd name="connsiteX8" fmla="*/ 12344 w 55013"/>
                  <a:gd name="connsiteY8" fmla="*/ 15429 h 111085"/>
                  <a:gd name="connsiteX9" fmla="*/ 3087 w 55013"/>
                  <a:gd name="connsiteY9" fmla="*/ 15429 h 111085"/>
                  <a:gd name="connsiteX10" fmla="*/ 3087 w 55013"/>
                  <a:gd name="connsiteY10" fmla="*/ 6171 h 111085"/>
                  <a:gd name="connsiteX11" fmla="*/ 30857 w 55013"/>
                  <a:gd name="connsiteY11" fmla="*/ 0 h 111085"/>
                  <a:gd name="connsiteX12" fmla="*/ 46286 w 55013"/>
                  <a:gd name="connsiteY12" fmla="*/ 9257 h 111085"/>
                  <a:gd name="connsiteX13" fmla="*/ 52458 w 55013"/>
                  <a:gd name="connsiteY13" fmla="*/ 86400 h 111085"/>
                  <a:gd name="connsiteX14" fmla="*/ 37029 w 55013"/>
                  <a:gd name="connsiteY14" fmla="*/ 104914 h 111085"/>
                  <a:gd name="connsiteX15" fmla="*/ 24685 w 55013"/>
                  <a:gd name="connsiteY15" fmla="*/ 111085 h 111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5013" h="111085">
                    <a:moveTo>
                      <a:pt x="24685" y="111085"/>
                    </a:moveTo>
                    <a:cubicBezTo>
                      <a:pt x="12344" y="111085"/>
                      <a:pt x="3087" y="104914"/>
                      <a:pt x="3087" y="104914"/>
                    </a:cubicBezTo>
                    <a:cubicBezTo>
                      <a:pt x="0" y="104914"/>
                      <a:pt x="0" y="98743"/>
                      <a:pt x="0" y="95657"/>
                    </a:cubicBezTo>
                    <a:cubicBezTo>
                      <a:pt x="0" y="92571"/>
                      <a:pt x="6172" y="92571"/>
                      <a:pt x="9257" y="92571"/>
                    </a:cubicBezTo>
                    <a:cubicBezTo>
                      <a:pt x="12344" y="95657"/>
                      <a:pt x="24685" y="98743"/>
                      <a:pt x="33944" y="95657"/>
                    </a:cubicBezTo>
                    <a:cubicBezTo>
                      <a:pt x="37029" y="92571"/>
                      <a:pt x="40114" y="89486"/>
                      <a:pt x="40114" y="86400"/>
                    </a:cubicBezTo>
                    <a:cubicBezTo>
                      <a:pt x="46286" y="58628"/>
                      <a:pt x="40114" y="27771"/>
                      <a:pt x="37029" y="15429"/>
                    </a:cubicBezTo>
                    <a:cubicBezTo>
                      <a:pt x="37029" y="12343"/>
                      <a:pt x="33944" y="12343"/>
                      <a:pt x="30857" y="12343"/>
                    </a:cubicBezTo>
                    <a:cubicBezTo>
                      <a:pt x="21600" y="12343"/>
                      <a:pt x="15429" y="12343"/>
                      <a:pt x="12344" y="15429"/>
                    </a:cubicBezTo>
                    <a:cubicBezTo>
                      <a:pt x="9257" y="18514"/>
                      <a:pt x="6172" y="18514"/>
                      <a:pt x="3087" y="15429"/>
                    </a:cubicBezTo>
                    <a:cubicBezTo>
                      <a:pt x="0" y="12343"/>
                      <a:pt x="0" y="9257"/>
                      <a:pt x="3087" y="6171"/>
                    </a:cubicBezTo>
                    <a:cubicBezTo>
                      <a:pt x="9257" y="0"/>
                      <a:pt x="21600" y="0"/>
                      <a:pt x="30857" y="0"/>
                    </a:cubicBezTo>
                    <a:cubicBezTo>
                      <a:pt x="40114" y="0"/>
                      <a:pt x="43201" y="6171"/>
                      <a:pt x="46286" y="9257"/>
                    </a:cubicBezTo>
                    <a:cubicBezTo>
                      <a:pt x="52458" y="21600"/>
                      <a:pt x="58629" y="58628"/>
                      <a:pt x="52458" y="86400"/>
                    </a:cubicBezTo>
                    <a:cubicBezTo>
                      <a:pt x="49373" y="95657"/>
                      <a:pt x="46286" y="101829"/>
                      <a:pt x="37029" y="104914"/>
                    </a:cubicBezTo>
                    <a:cubicBezTo>
                      <a:pt x="30857" y="108000"/>
                      <a:pt x="27772" y="111085"/>
                      <a:pt x="24685" y="11108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23F13718-152D-46E6-B2F1-098C37AA432F}"/>
                </a:ext>
              </a:extLst>
            </p:cNvPr>
            <p:cNvSpPr/>
            <p:nvPr/>
          </p:nvSpPr>
          <p:spPr>
            <a:xfrm>
              <a:off x="19054136" y="10056524"/>
              <a:ext cx="59929" cy="190747"/>
            </a:xfrm>
            <a:custGeom>
              <a:avLst/>
              <a:gdLst>
                <a:gd name="connsiteX0" fmla="*/ 13643 w 59929"/>
                <a:gd name="connsiteY0" fmla="*/ 0 h 190747"/>
                <a:gd name="connsiteX1" fmla="*/ 59929 w 59929"/>
                <a:gd name="connsiteY1" fmla="*/ 86401 h 190747"/>
                <a:gd name="connsiteX2" fmla="*/ 22902 w 59929"/>
                <a:gd name="connsiteY2" fmla="*/ 188229 h 190747"/>
                <a:gd name="connsiteX3" fmla="*/ 1302 w 59929"/>
                <a:gd name="connsiteY3" fmla="*/ 163543 h 190747"/>
                <a:gd name="connsiteX4" fmla="*/ 13643 w 59929"/>
                <a:gd name="connsiteY4" fmla="*/ 0 h 190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29" h="190747">
                  <a:moveTo>
                    <a:pt x="13643" y="0"/>
                  </a:moveTo>
                  <a:cubicBezTo>
                    <a:pt x="13643" y="0"/>
                    <a:pt x="59929" y="52458"/>
                    <a:pt x="59929" y="86401"/>
                  </a:cubicBezTo>
                  <a:cubicBezTo>
                    <a:pt x="59929" y="120344"/>
                    <a:pt x="50672" y="178972"/>
                    <a:pt x="22902" y="188229"/>
                  </a:cubicBezTo>
                  <a:cubicBezTo>
                    <a:pt x="-7955" y="200571"/>
                    <a:pt x="1302" y="163543"/>
                    <a:pt x="1302" y="163543"/>
                  </a:cubicBezTo>
                  <a:lnTo>
                    <a:pt x="13643" y="0"/>
                  </a:ln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2" name="图形 1">
              <a:extLst>
                <a:ext uri="{FF2B5EF4-FFF2-40B4-BE49-F238E27FC236}">
                  <a16:creationId xmlns:a16="http://schemas.microsoft.com/office/drawing/2014/main" id="{0D05F4E0-7E42-41B3-87B1-348392CB9BA6}"/>
                </a:ext>
              </a:extLst>
            </p:cNvPr>
            <p:cNvGrpSpPr/>
            <p:nvPr/>
          </p:nvGrpSpPr>
          <p:grpSpPr>
            <a:xfrm>
              <a:off x="18684164" y="10180945"/>
              <a:ext cx="608873" cy="362779"/>
              <a:chOff x="18684164" y="10180945"/>
              <a:chExt cx="608873" cy="362779"/>
            </a:xfrm>
          </p:grpSpPr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D76C4331-209F-4824-B29C-EA421AD24FB2}"/>
                  </a:ext>
                </a:extLst>
              </p:cNvPr>
              <p:cNvSpPr/>
              <p:nvPr/>
            </p:nvSpPr>
            <p:spPr>
              <a:xfrm>
                <a:off x="18684164" y="10194567"/>
                <a:ext cx="608873" cy="349157"/>
              </a:xfrm>
              <a:custGeom>
                <a:avLst/>
                <a:gdLst>
                  <a:gd name="connsiteX0" fmla="*/ 608874 w 608873"/>
                  <a:gd name="connsiteY0" fmla="*/ 50186 h 349157"/>
                  <a:gd name="connsiteX1" fmla="*/ 578017 w 608873"/>
                  <a:gd name="connsiteY1" fmla="*/ 337158 h 349157"/>
                  <a:gd name="connsiteX2" fmla="*/ 988 w 608873"/>
                  <a:gd name="connsiteY2" fmla="*/ 324814 h 349157"/>
                  <a:gd name="connsiteX3" fmla="*/ 13329 w 608873"/>
                  <a:gd name="connsiteY3" fmla="*/ 10072 h 349157"/>
                  <a:gd name="connsiteX4" fmla="*/ 608874 w 608873"/>
                  <a:gd name="connsiteY4" fmla="*/ 50186 h 349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8873" h="349157">
                    <a:moveTo>
                      <a:pt x="608874" y="50186"/>
                    </a:moveTo>
                    <a:cubicBezTo>
                      <a:pt x="608874" y="50186"/>
                      <a:pt x="605787" y="229158"/>
                      <a:pt x="578017" y="337158"/>
                    </a:cubicBezTo>
                    <a:cubicBezTo>
                      <a:pt x="578017" y="337158"/>
                      <a:pt x="254017" y="371100"/>
                      <a:pt x="988" y="324814"/>
                    </a:cubicBezTo>
                    <a:cubicBezTo>
                      <a:pt x="988" y="324814"/>
                      <a:pt x="-5184" y="121158"/>
                      <a:pt x="13329" y="10072"/>
                    </a:cubicBezTo>
                    <a:cubicBezTo>
                      <a:pt x="16416" y="13158"/>
                      <a:pt x="439159" y="-33128"/>
                      <a:pt x="608874" y="5018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A638D1E9-9B4D-4D69-9786-E31F11E34F3E}"/>
                  </a:ext>
                </a:extLst>
              </p:cNvPr>
              <p:cNvSpPr/>
              <p:nvPr/>
            </p:nvSpPr>
            <p:spPr>
              <a:xfrm>
                <a:off x="18700580" y="10180945"/>
                <a:ext cx="592457" cy="230470"/>
              </a:xfrm>
              <a:custGeom>
                <a:avLst/>
                <a:gdLst>
                  <a:gd name="connsiteX0" fmla="*/ 592458 w 592457"/>
                  <a:gd name="connsiteY0" fmla="*/ 63808 h 230470"/>
                  <a:gd name="connsiteX1" fmla="*/ 0 w 592457"/>
                  <a:gd name="connsiteY1" fmla="*/ 23694 h 230470"/>
                  <a:gd name="connsiteX2" fmla="*/ 290056 w 592457"/>
                  <a:gd name="connsiteY2" fmla="*/ 230436 h 230470"/>
                  <a:gd name="connsiteX3" fmla="*/ 592458 w 592457"/>
                  <a:gd name="connsiteY3" fmla="*/ 63808 h 230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2457" h="230470">
                    <a:moveTo>
                      <a:pt x="592458" y="63808"/>
                    </a:moveTo>
                    <a:cubicBezTo>
                      <a:pt x="592458" y="63808"/>
                      <a:pt x="379543" y="-47278"/>
                      <a:pt x="0" y="23694"/>
                    </a:cubicBezTo>
                    <a:cubicBezTo>
                      <a:pt x="0" y="23694"/>
                      <a:pt x="246857" y="233522"/>
                      <a:pt x="290056" y="230436"/>
                    </a:cubicBezTo>
                    <a:cubicBezTo>
                      <a:pt x="330172" y="230436"/>
                      <a:pt x="592458" y="63808"/>
                      <a:pt x="592458" y="63808"/>
                    </a:cubicBezTo>
                    <a:close/>
                  </a:path>
                </a:pathLst>
              </a:custGeom>
              <a:solidFill>
                <a:srgbClr val="7F737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04DE068B-F782-469B-AAD2-A1BE03F074DB}"/>
                  </a:ext>
                </a:extLst>
              </p:cNvPr>
              <p:cNvSpPr/>
              <p:nvPr/>
            </p:nvSpPr>
            <p:spPr>
              <a:xfrm>
                <a:off x="18950522" y="10374353"/>
                <a:ext cx="80229" cy="80228"/>
              </a:xfrm>
              <a:custGeom>
                <a:avLst/>
                <a:gdLst>
                  <a:gd name="connsiteX0" fmla="*/ 0 w 80229"/>
                  <a:gd name="connsiteY0" fmla="*/ 40114 h 80228"/>
                  <a:gd name="connsiteX1" fmla="*/ 40114 w 80229"/>
                  <a:gd name="connsiteY1" fmla="*/ 0 h 80228"/>
                  <a:gd name="connsiteX2" fmla="*/ 80230 w 80229"/>
                  <a:gd name="connsiteY2" fmla="*/ 40114 h 80228"/>
                  <a:gd name="connsiteX3" fmla="*/ 40114 w 80229"/>
                  <a:gd name="connsiteY3" fmla="*/ 80229 h 80228"/>
                  <a:gd name="connsiteX4" fmla="*/ 0 w 80229"/>
                  <a:gd name="connsiteY4" fmla="*/ 40114 h 80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229" h="80228">
                    <a:moveTo>
                      <a:pt x="0" y="40114"/>
                    </a:moveTo>
                    <a:cubicBezTo>
                      <a:pt x="0" y="18514"/>
                      <a:pt x="18515" y="0"/>
                      <a:pt x="40114" y="0"/>
                    </a:cubicBezTo>
                    <a:cubicBezTo>
                      <a:pt x="61714" y="0"/>
                      <a:pt x="80230" y="18514"/>
                      <a:pt x="80230" y="40114"/>
                    </a:cubicBezTo>
                    <a:cubicBezTo>
                      <a:pt x="80230" y="61714"/>
                      <a:pt x="61714" y="80229"/>
                      <a:pt x="40114" y="80229"/>
                    </a:cubicBezTo>
                    <a:cubicBezTo>
                      <a:pt x="18515" y="80229"/>
                      <a:pt x="0" y="61714"/>
                      <a:pt x="0" y="40114"/>
                    </a:cubicBezTo>
                    <a:close/>
                  </a:path>
                </a:pathLst>
              </a:custGeom>
              <a:solidFill>
                <a:srgbClr val="F1DDB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C2DE0493-A4FE-4FE5-A8F0-BCC348D62A20}"/>
                </a:ext>
              </a:extLst>
            </p:cNvPr>
            <p:cNvGrpSpPr/>
            <p:nvPr/>
          </p:nvGrpSpPr>
          <p:grpSpPr>
            <a:xfrm>
              <a:off x="18896262" y="10008639"/>
              <a:ext cx="197113" cy="319666"/>
              <a:chOff x="18896262" y="10008639"/>
              <a:chExt cx="197113" cy="319666"/>
            </a:xfrm>
          </p:grpSpPr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FE63EC17-2784-4129-B98F-1E13E920AB75}"/>
                  </a:ext>
                </a:extLst>
              </p:cNvPr>
              <p:cNvSpPr/>
              <p:nvPr/>
            </p:nvSpPr>
            <p:spPr>
              <a:xfrm>
                <a:off x="18896262" y="10008639"/>
                <a:ext cx="181696" cy="319666"/>
              </a:xfrm>
              <a:custGeom>
                <a:avLst/>
                <a:gdLst>
                  <a:gd name="connsiteX0" fmla="*/ 38831 w 181696"/>
                  <a:gd name="connsiteY0" fmla="*/ 29372 h 319666"/>
                  <a:gd name="connsiteX1" fmla="*/ 26490 w 181696"/>
                  <a:gd name="connsiteY1" fmla="*/ 106515 h 319666"/>
                  <a:gd name="connsiteX2" fmla="*/ 4889 w 181696"/>
                  <a:gd name="connsiteY2" fmla="*/ 183657 h 319666"/>
                  <a:gd name="connsiteX3" fmla="*/ 4889 w 181696"/>
                  <a:gd name="connsiteY3" fmla="*/ 226857 h 319666"/>
                  <a:gd name="connsiteX4" fmla="*/ 45003 w 181696"/>
                  <a:gd name="connsiteY4" fmla="*/ 189828 h 319666"/>
                  <a:gd name="connsiteX5" fmla="*/ 38831 w 181696"/>
                  <a:gd name="connsiteY5" fmla="*/ 233028 h 319666"/>
                  <a:gd name="connsiteX6" fmla="*/ 48088 w 181696"/>
                  <a:gd name="connsiteY6" fmla="*/ 294742 h 319666"/>
                  <a:gd name="connsiteX7" fmla="*/ 63517 w 181696"/>
                  <a:gd name="connsiteY7" fmla="*/ 294742 h 319666"/>
                  <a:gd name="connsiteX8" fmla="*/ 75860 w 181696"/>
                  <a:gd name="connsiteY8" fmla="*/ 319429 h 319666"/>
                  <a:gd name="connsiteX9" fmla="*/ 115974 w 181696"/>
                  <a:gd name="connsiteY9" fmla="*/ 282400 h 319666"/>
                  <a:gd name="connsiteX10" fmla="*/ 134490 w 181696"/>
                  <a:gd name="connsiteY10" fmla="*/ 236114 h 319666"/>
                  <a:gd name="connsiteX11" fmla="*/ 137575 w 181696"/>
                  <a:gd name="connsiteY11" fmla="*/ 273143 h 319666"/>
                  <a:gd name="connsiteX12" fmla="*/ 146831 w 181696"/>
                  <a:gd name="connsiteY12" fmla="*/ 288572 h 319666"/>
                  <a:gd name="connsiteX13" fmla="*/ 177689 w 181696"/>
                  <a:gd name="connsiteY13" fmla="*/ 236114 h 319666"/>
                  <a:gd name="connsiteX14" fmla="*/ 174604 w 181696"/>
                  <a:gd name="connsiteY14" fmla="*/ 26286 h 319666"/>
                  <a:gd name="connsiteX15" fmla="*/ 63517 w 181696"/>
                  <a:gd name="connsiteY15" fmla="*/ 1600 h 319666"/>
                  <a:gd name="connsiteX16" fmla="*/ 38831 w 181696"/>
                  <a:gd name="connsiteY16" fmla="*/ 29372 h 319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81696" h="319666">
                    <a:moveTo>
                      <a:pt x="38831" y="29372"/>
                    </a:moveTo>
                    <a:cubicBezTo>
                      <a:pt x="32660" y="54057"/>
                      <a:pt x="32660" y="81828"/>
                      <a:pt x="26490" y="106515"/>
                    </a:cubicBezTo>
                    <a:cubicBezTo>
                      <a:pt x="20318" y="131200"/>
                      <a:pt x="11061" y="155885"/>
                      <a:pt x="4889" y="183657"/>
                    </a:cubicBezTo>
                    <a:cubicBezTo>
                      <a:pt x="1802" y="192914"/>
                      <a:pt x="-4367" y="220685"/>
                      <a:pt x="4889" y="226857"/>
                    </a:cubicBezTo>
                    <a:cubicBezTo>
                      <a:pt x="20318" y="239200"/>
                      <a:pt x="32660" y="214515"/>
                      <a:pt x="45003" y="189828"/>
                    </a:cubicBezTo>
                    <a:cubicBezTo>
                      <a:pt x="41918" y="205257"/>
                      <a:pt x="38831" y="217600"/>
                      <a:pt x="38831" y="233028"/>
                    </a:cubicBezTo>
                    <a:cubicBezTo>
                      <a:pt x="38831" y="248457"/>
                      <a:pt x="32660" y="282400"/>
                      <a:pt x="48088" y="294742"/>
                    </a:cubicBezTo>
                    <a:cubicBezTo>
                      <a:pt x="54260" y="297828"/>
                      <a:pt x="57347" y="297828"/>
                      <a:pt x="63517" y="294742"/>
                    </a:cubicBezTo>
                    <a:cubicBezTo>
                      <a:pt x="63517" y="307086"/>
                      <a:pt x="66604" y="316343"/>
                      <a:pt x="75860" y="319429"/>
                    </a:cubicBezTo>
                    <a:cubicBezTo>
                      <a:pt x="94374" y="322515"/>
                      <a:pt x="109803" y="294742"/>
                      <a:pt x="115974" y="282400"/>
                    </a:cubicBezTo>
                    <a:cubicBezTo>
                      <a:pt x="125231" y="266971"/>
                      <a:pt x="131403" y="251543"/>
                      <a:pt x="134490" y="236114"/>
                    </a:cubicBezTo>
                    <a:cubicBezTo>
                      <a:pt x="134490" y="248457"/>
                      <a:pt x="134490" y="260800"/>
                      <a:pt x="137575" y="273143"/>
                    </a:cubicBezTo>
                    <a:cubicBezTo>
                      <a:pt x="137575" y="279314"/>
                      <a:pt x="140660" y="285486"/>
                      <a:pt x="146831" y="288572"/>
                    </a:cubicBezTo>
                    <a:cubicBezTo>
                      <a:pt x="171517" y="297828"/>
                      <a:pt x="177689" y="248457"/>
                      <a:pt x="177689" y="236114"/>
                    </a:cubicBezTo>
                    <a:cubicBezTo>
                      <a:pt x="186945" y="168229"/>
                      <a:pt x="177689" y="94171"/>
                      <a:pt x="174604" y="26286"/>
                    </a:cubicBezTo>
                    <a:cubicBezTo>
                      <a:pt x="177689" y="26286"/>
                      <a:pt x="97461" y="-7657"/>
                      <a:pt x="63517" y="1600"/>
                    </a:cubicBezTo>
                    <a:cubicBezTo>
                      <a:pt x="45003" y="4685"/>
                      <a:pt x="41918" y="7771"/>
                      <a:pt x="38831" y="2937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B4AEDC50-542D-4E6F-86D5-B3E937CBBBE7}"/>
                  </a:ext>
                </a:extLst>
              </p:cNvPr>
              <p:cNvSpPr/>
              <p:nvPr/>
            </p:nvSpPr>
            <p:spPr>
              <a:xfrm>
                <a:off x="18953609" y="10173782"/>
                <a:ext cx="49539" cy="135771"/>
              </a:xfrm>
              <a:custGeom>
                <a:avLst/>
                <a:gdLst>
                  <a:gd name="connsiteX0" fmla="*/ 6170 w 49539"/>
                  <a:gd name="connsiteY0" fmla="*/ 135771 h 135771"/>
                  <a:gd name="connsiteX1" fmla="*/ 6170 w 49539"/>
                  <a:gd name="connsiteY1" fmla="*/ 135771 h 135771"/>
                  <a:gd name="connsiteX2" fmla="*/ 0 w 49539"/>
                  <a:gd name="connsiteY2" fmla="*/ 126514 h 135771"/>
                  <a:gd name="connsiteX3" fmla="*/ 37027 w 49539"/>
                  <a:gd name="connsiteY3" fmla="*/ 6171 h 135771"/>
                  <a:gd name="connsiteX4" fmla="*/ 43199 w 49539"/>
                  <a:gd name="connsiteY4" fmla="*/ 0 h 135771"/>
                  <a:gd name="connsiteX5" fmla="*/ 49371 w 49539"/>
                  <a:gd name="connsiteY5" fmla="*/ 6171 h 135771"/>
                  <a:gd name="connsiteX6" fmla="*/ 9257 w 49539"/>
                  <a:gd name="connsiteY6" fmla="*/ 132685 h 135771"/>
                  <a:gd name="connsiteX7" fmla="*/ 6170 w 49539"/>
                  <a:gd name="connsiteY7" fmla="*/ 135771 h 135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539" h="135771">
                    <a:moveTo>
                      <a:pt x="6170" y="135771"/>
                    </a:moveTo>
                    <a:cubicBezTo>
                      <a:pt x="6170" y="135771"/>
                      <a:pt x="3085" y="135771"/>
                      <a:pt x="6170" y="135771"/>
                    </a:cubicBezTo>
                    <a:cubicBezTo>
                      <a:pt x="0" y="132685"/>
                      <a:pt x="0" y="129599"/>
                      <a:pt x="0" y="126514"/>
                    </a:cubicBezTo>
                    <a:cubicBezTo>
                      <a:pt x="12342" y="101828"/>
                      <a:pt x="40114" y="27771"/>
                      <a:pt x="37027" y="6171"/>
                    </a:cubicBezTo>
                    <a:cubicBezTo>
                      <a:pt x="37027" y="3086"/>
                      <a:pt x="40114" y="0"/>
                      <a:pt x="43199" y="0"/>
                    </a:cubicBezTo>
                    <a:cubicBezTo>
                      <a:pt x="46286" y="0"/>
                      <a:pt x="49371" y="3086"/>
                      <a:pt x="49371" y="6171"/>
                    </a:cubicBezTo>
                    <a:cubicBezTo>
                      <a:pt x="52456" y="37028"/>
                      <a:pt x="12342" y="129599"/>
                      <a:pt x="9257" y="132685"/>
                    </a:cubicBezTo>
                    <a:cubicBezTo>
                      <a:pt x="9257" y="132685"/>
                      <a:pt x="9257" y="135771"/>
                      <a:pt x="6170" y="13577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7F15CA55-D710-43E9-9225-15521C8DED61}"/>
                  </a:ext>
                </a:extLst>
              </p:cNvPr>
              <p:cNvSpPr/>
              <p:nvPr/>
            </p:nvSpPr>
            <p:spPr>
              <a:xfrm>
                <a:off x="18935094" y="10146011"/>
                <a:ext cx="18515" cy="55542"/>
              </a:xfrm>
              <a:custGeom>
                <a:avLst/>
                <a:gdLst>
                  <a:gd name="connsiteX0" fmla="*/ 6172 w 18515"/>
                  <a:gd name="connsiteY0" fmla="*/ 55542 h 55542"/>
                  <a:gd name="connsiteX1" fmla="*/ 6172 w 18515"/>
                  <a:gd name="connsiteY1" fmla="*/ 55542 h 55542"/>
                  <a:gd name="connsiteX2" fmla="*/ 0 w 18515"/>
                  <a:gd name="connsiteY2" fmla="*/ 49371 h 55542"/>
                  <a:gd name="connsiteX3" fmla="*/ 6172 w 18515"/>
                  <a:gd name="connsiteY3" fmla="*/ 6171 h 55542"/>
                  <a:gd name="connsiteX4" fmla="*/ 12344 w 18515"/>
                  <a:gd name="connsiteY4" fmla="*/ 0 h 55542"/>
                  <a:gd name="connsiteX5" fmla="*/ 18515 w 18515"/>
                  <a:gd name="connsiteY5" fmla="*/ 6171 h 55542"/>
                  <a:gd name="connsiteX6" fmla="*/ 12344 w 18515"/>
                  <a:gd name="connsiteY6" fmla="*/ 49371 h 55542"/>
                  <a:gd name="connsiteX7" fmla="*/ 6172 w 18515"/>
                  <a:gd name="connsiteY7" fmla="*/ 55542 h 55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515" h="55542">
                    <a:moveTo>
                      <a:pt x="6172" y="55542"/>
                    </a:moveTo>
                    <a:cubicBezTo>
                      <a:pt x="6172" y="55542"/>
                      <a:pt x="6172" y="55542"/>
                      <a:pt x="6172" y="55542"/>
                    </a:cubicBezTo>
                    <a:cubicBezTo>
                      <a:pt x="3087" y="55542"/>
                      <a:pt x="0" y="52457"/>
                      <a:pt x="0" y="49371"/>
                    </a:cubicBezTo>
                    <a:lnTo>
                      <a:pt x="6172" y="6171"/>
                    </a:lnTo>
                    <a:cubicBezTo>
                      <a:pt x="6172" y="3085"/>
                      <a:pt x="9257" y="0"/>
                      <a:pt x="12344" y="0"/>
                    </a:cubicBezTo>
                    <a:cubicBezTo>
                      <a:pt x="15429" y="0"/>
                      <a:pt x="18515" y="3085"/>
                      <a:pt x="18515" y="6171"/>
                    </a:cubicBezTo>
                    <a:lnTo>
                      <a:pt x="12344" y="49371"/>
                    </a:lnTo>
                    <a:cubicBezTo>
                      <a:pt x="12344" y="55542"/>
                      <a:pt x="9257" y="55542"/>
                      <a:pt x="6172" y="5554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017D0BE0-6987-4C54-99A3-585116304563}"/>
                  </a:ext>
                </a:extLst>
              </p:cNvPr>
              <p:cNvSpPr/>
              <p:nvPr/>
            </p:nvSpPr>
            <p:spPr>
              <a:xfrm>
                <a:off x="18947437" y="10108982"/>
                <a:ext cx="98743" cy="27771"/>
              </a:xfrm>
              <a:custGeom>
                <a:avLst/>
                <a:gdLst>
                  <a:gd name="connsiteX0" fmla="*/ 67886 w 98743"/>
                  <a:gd name="connsiteY0" fmla="*/ 27771 h 27771"/>
                  <a:gd name="connsiteX1" fmla="*/ 3085 w 98743"/>
                  <a:gd name="connsiteY1" fmla="*/ 12343 h 27771"/>
                  <a:gd name="connsiteX2" fmla="*/ 0 w 98743"/>
                  <a:gd name="connsiteY2" fmla="*/ 3086 h 27771"/>
                  <a:gd name="connsiteX3" fmla="*/ 9257 w 98743"/>
                  <a:gd name="connsiteY3" fmla="*/ 0 h 27771"/>
                  <a:gd name="connsiteX4" fmla="*/ 92571 w 98743"/>
                  <a:gd name="connsiteY4" fmla="*/ 12343 h 27771"/>
                  <a:gd name="connsiteX5" fmla="*/ 98743 w 98743"/>
                  <a:gd name="connsiteY5" fmla="*/ 15429 h 27771"/>
                  <a:gd name="connsiteX6" fmla="*/ 95656 w 98743"/>
                  <a:gd name="connsiteY6" fmla="*/ 21600 h 27771"/>
                  <a:gd name="connsiteX7" fmla="*/ 67886 w 98743"/>
                  <a:gd name="connsiteY7" fmla="*/ 27771 h 27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743" h="27771">
                    <a:moveTo>
                      <a:pt x="67886" y="27771"/>
                    </a:moveTo>
                    <a:cubicBezTo>
                      <a:pt x="49371" y="27771"/>
                      <a:pt x="27770" y="24685"/>
                      <a:pt x="3085" y="12343"/>
                    </a:cubicBezTo>
                    <a:cubicBezTo>
                      <a:pt x="0" y="9257"/>
                      <a:pt x="0" y="6172"/>
                      <a:pt x="0" y="3086"/>
                    </a:cubicBezTo>
                    <a:cubicBezTo>
                      <a:pt x="0" y="0"/>
                      <a:pt x="6172" y="0"/>
                      <a:pt x="9257" y="0"/>
                    </a:cubicBezTo>
                    <a:cubicBezTo>
                      <a:pt x="49371" y="21600"/>
                      <a:pt x="92571" y="12343"/>
                      <a:pt x="92571" y="12343"/>
                    </a:cubicBezTo>
                    <a:cubicBezTo>
                      <a:pt x="95656" y="12343"/>
                      <a:pt x="98743" y="12343"/>
                      <a:pt x="98743" y="15429"/>
                    </a:cubicBezTo>
                    <a:cubicBezTo>
                      <a:pt x="98743" y="18514"/>
                      <a:pt x="98743" y="21600"/>
                      <a:pt x="95656" y="21600"/>
                    </a:cubicBezTo>
                    <a:cubicBezTo>
                      <a:pt x="95656" y="24685"/>
                      <a:pt x="83315" y="27771"/>
                      <a:pt x="67886" y="2777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A40EA1A1-E084-4D1D-9695-6798ED9D017B}"/>
                  </a:ext>
                </a:extLst>
              </p:cNvPr>
              <p:cNvSpPr/>
              <p:nvPr/>
            </p:nvSpPr>
            <p:spPr>
              <a:xfrm>
                <a:off x="19025483" y="10093553"/>
                <a:ext cx="67892" cy="209828"/>
              </a:xfrm>
              <a:custGeom>
                <a:avLst/>
                <a:gdLst>
                  <a:gd name="connsiteX0" fmla="*/ 23782 w 67892"/>
                  <a:gd name="connsiteY0" fmla="*/ 209828 h 209828"/>
                  <a:gd name="connsiteX1" fmla="*/ 17610 w 67892"/>
                  <a:gd name="connsiteY1" fmla="*/ 206743 h 209828"/>
                  <a:gd name="connsiteX2" fmla="*/ 2182 w 67892"/>
                  <a:gd name="connsiteY2" fmla="*/ 148114 h 209828"/>
                  <a:gd name="connsiteX3" fmla="*/ 5269 w 67892"/>
                  <a:gd name="connsiteY3" fmla="*/ 145029 h 209828"/>
                  <a:gd name="connsiteX4" fmla="*/ 14525 w 67892"/>
                  <a:gd name="connsiteY4" fmla="*/ 80229 h 209828"/>
                  <a:gd name="connsiteX5" fmla="*/ 20697 w 67892"/>
                  <a:gd name="connsiteY5" fmla="*/ 74057 h 209828"/>
                  <a:gd name="connsiteX6" fmla="*/ 26867 w 67892"/>
                  <a:gd name="connsiteY6" fmla="*/ 80229 h 209828"/>
                  <a:gd name="connsiteX7" fmla="*/ 14525 w 67892"/>
                  <a:gd name="connsiteY7" fmla="*/ 151200 h 209828"/>
                  <a:gd name="connsiteX8" fmla="*/ 26867 w 67892"/>
                  <a:gd name="connsiteY8" fmla="*/ 197486 h 209828"/>
                  <a:gd name="connsiteX9" fmla="*/ 29954 w 67892"/>
                  <a:gd name="connsiteY9" fmla="*/ 197486 h 209828"/>
                  <a:gd name="connsiteX10" fmla="*/ 51554 w 67892"/>
                  <a:gd name="connsiteY10" fmla="*/ 6172 h 209828"/>
                  <a:gd name="connsiteX11" fmla="*/ 57724 w 67892"/>
                  <a:gd name="connsiteY11" fmla="*/ 0 h 209828"/>
                  <a:gd name="connsiteX12" fmla="*/ 63896 w 67892"/>
                  <a:gd name="connsiteY12" fmla="*/ 6172 h 209828"/>
                  <a:gd name="connsiteX13" fmla="*/ 39211 w 67892"/>
                  <a:gd name="connsiteY13" fmla="*/ 209828 h 209828"/>
                  <a:gd name="connsiteX14" fmla="*/ 23782 w 67892"/>
                  <a:gd name="connsiteY14" fmla="*/ 209828 h 209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7892" h="209828">
                    <a:moveTo>
                      <a:pt x="23782" y="209828"/>
                    </a:moveTo>
                    <a:cubicBezTo>
                      <a:pt x="20697" y="209828"/>
                      <a:pt x="20697" y="209828"/>
                      <a:pt x="17610" y="206743"/>
                    </a:cubicBezTo>
                    <a:cubicBezTo>
                      <a:pt x="-3990" y="194400"/>
                      <a:pt x="-903" y="154286"/>
                      <a:pt x="2182" y="148114"/>
                    </a:cubicBezTo>
                    <a:cubicBezTo>
                      <a:pt x="2182" y="148114"/>
                      <a:pt x="2182" y="145029"/>
                      <a:pt x="5269" y="145029"/>
                    </a:cubicBezTo>
                    <a:cubicBezTo>
                      <a:pt x="8353" y="138857"/>
                      <a:pt x="14525" y="101828"/>
                      <a:pt x="14525" y="80229"/>
                    </a:cubicBezTo>
                    <a:cubicBezTo>
                      <a:pt x="14525" y="77143"/>
                      <a:pt x="17610" y="74057"/>
                      <a:pt x="20697" y="74057"/>
                    </a:cubicBezTo>
                    <a:cubicBezTo>
                      <a:pt x="23782" y="74057"/>
                      <a:pt x="26867" y="77143"/>
                      <a:pt x="26867" y="80229"/>
                    </a:cubicBezTo>
                    <a:cubicBezTo>
                      <a:pt x="26867" y="89486"/>
                      <a:pt x="23782" y="135771"/>
                      <a:pt x="14525" y="151200"/>
                    </a:cubicBezTo>
                    <a:cubicBezTo>
                      <a:pt x="14525" y="163542"/>
                      <a:pt x="14525" y="191315"/>
                      <a:pt x="26867" y="197486"/>
                    </a:cubicBezTo>
                    <a:cubicBezTo>
                      <a:pt x="26867" y="197486"/>
                      <a:pt x="26867" y="197486"/>
                      <a:pt x="29954" y="197486"/>
                    </a:cubicBezTo>
                    <a:cubicBezTo>
                      <a:pt x="42296" y="188229"/>
                      <a:pt x="63896" y="123429"/>
                      <a:pt x="51554" y="6172"/>
                    </a:cubicBezTo>
                    <a:cubicBezTo>
                      <a:pt x="51554" y="3086"/>
                      <a:pt x="54639" y="0"/>
                      <a:pt x="57724" y="0"/>
                    </a:cubicBezTo>
                    <a:cubicBezTo>
                      <a:pt x="60811" y="0"/>
                      <a:pt x="63896" y="3086"/>
                      <a:pt x="63896" y="6172"/>
                    </a:cubicBezTo>
                    <a:cubicBezTo>
                      <a:pt x="76240" y="120343"/>
                      <a:pt x="57724" y="194400"/>
                      <a:pt x="39211" y="209828"/>
                    </a:cubicBezTo>
                    <a:cubicBezTo>
                      <a:pt x="29954" y="209828"/>
                      <a:pt x="26867" y="209828"/>
                      <a:pt x="23782" y="20982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35251470-B8B6-433A-8B5C-81FF03BCEB5B}"/>
                </a:ext>
              </a:extLst>
            </p:cNvPr>
            <p:cNvSpPr/>
            <p:nvPr/>
          </p:nvSpPr>
          <p:spPr>
            <a:xfrm>
              <a:off x="18884185" y="8773775"/>
              <a:ext cx="622524" cy="1283923"/>
            </a:xfrm>
            <a:custGeom>
              <a:avLst/>
              <a:gdLst>
                <a:gd name="connsiteX0" fmla="*/ 523023 w 622524"/>
                <a:gd name="connsiteY0" fmla="*/ 381721 h 1283923"/>
                <a:gd name="connsiteX1" fmla="*/ 300853 w 622524"/>
                <a:gd name="connsiteY1" fmla="*/ 665606 h 1283923"/>
                <a:gd name="connsiteX2" fmla="*/ 211366 w 622524"/>
                <a:gd name="connsiteY2" fmla="*/ 1264235 h 1283923"/>
                <a:gd name="connsiteX3" fmla="*/ 20052 w 622524"/>
                <a:gd name="connsiteY3" fmla="*/ 1264235 h 1283923"/>
                <a:gd name="connsiteX4" fmla="*/ 32395 w 622524"/>
                <a:gd name="connsiteY4" fmla="*/ 573035 h 1283923"/>
                <a:gd name="connsiteX5" fmla="*/ 331710 w 622524"/>
                <a:gd name="connsiteY5" fmla="*/ 100921 h 1283923"/>
                <a:gd name="connsiteX6" fmla="*/ 587824 w 622524"/>
                <a:gd name="connsiteY6" fmla="*/ 14521 h 1283923"/>
                <a:gd name="connsiteX7" fmla="*/ 523023 w 622524"/>
                <a:gd name="connsiteY7" fmla="*/ 381721 h 1283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2524" h="1283923">
                  <a:moveTo>
                    <a:pt x="523023" y="381721"/>
                  </a:moveTo>
                  <a:cubicBezTo>
                    <a:pt x="467480" y="452692"/>
                    <a:pt x="344052" y="585378"/>
                    <a:pt x="300853" y="665606"/>
                  </a:cubicBezTo>
                  <a:cubicBezTo>
                    <a:pt x="239139" y="782864"/>
                    <a:pt x="217538" y="1261149"/>
                    <a:pt x="211366" y="1264235"/>
                  </a:cubicBezTo>
                  <a:cubicBezTo>
                    <a:pt x="146567" y="1292007"/>
                    <a:pt x="84853" y="1288921"/>
                    <a:pt x="20052" y="1264235"/>
                  </a:cubicBezTo>
                  <a:cubicBezTo>
                    <a:pt x="10795" y="1261149"/>
                    <a:pt x="-26234" y="789035"/>
                    <a:pt x="32395" y="573035"/>
                  </a:cubicBezTo>
                  <a:cubicBezTo>
                    <a:pt x="50909" y="505149"/>
                    <a:pt x="199023" y="221263"/>
                    <a:pt x="331710" y="100921"/>
                  </a:cubicBezTo>
                  <a:cubicBezTo>
                    <a:pt x="396509" y="42292"/>
                    <a:pt x="544623" y="-31765"/>
                    <a:pt x="587824" y="14521"/>
                  </a:cubicBezTo>
                  <a:cubicBezTo>
                    <a:pt x="664967" y="94749"/>
                    <a:pt x="600166" y="286063"/>
                    <a:pt x="523023" y="381721"/>
                  </a:cubicBezTo>
                  <a:close/>
                </a:path>
              </a:pathLst>
            </a:custGeom>
            <a:solidFill>
              <a:srgbClr val="F1DDB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3FDAECAA-0382-4EE3-94F8-794873900FA7}"/>
                </a:ext>
              </a:extLst>
            </p:cNvPr>
            <p:cNvSpPr/>
            <p:nvPr/>
          </p:nvSpPr>
          <p:spPr>
            <a:xfrm>
              <a:off x="19303066" y="8782896"/>
              <a:ext cx="209549" cy="499114"/>
            </a:xfrm>
            <a:custGeom>
              <a:avLst/>
              <a:gdLst>
                <a:gd name="connsiteX0" fmla="*/ 5401 w 209549"/>
                <a:gd name="connsiteY0" fmla="*/ 499114 h 499114"/>
                <a:gd name="connsiteX1" fmla="*/ 2314 w 209549"/>
                <a:gd name="connsiteY1" fmla="*/ 496029 h 499114"/>
                <a:gd name="connsiteX2" fmla="*/ 2314 w 209549"/>
                <a:gd name="connsiteY2" fmla="*/ 486771 h 499114"/>
                <a:gd name="connsiteX3" fmla="*/ 172028 w 209549"/>
                <a:gd name="connsiteY3" fmla="*/ 236828 h 499114"/>
                <a:gd name="connsiteX4" fmla="*/ 168943 w 209549"/>
                <a:gd name="connsiteY4" fmla="*/ 11571 h 499114"/>
                <a:gd name="connsiteX5" fmla="*/ 168943 w 209549"/>
                <a:gd name="connsiteY5" fmla="*/ 2314 h 499114"/>
                <a:gd name="connsiteX6" fmla="*/ 178200 w 209549"/>
                <a:gd name="connsiteY6" fmla="*/ 2314 h 499114"/>
                <a:gd name="connsiteX7" fmla="*/ 184372 w 209549"/>
                <a:gd name="connsiteY7" fmla="*/ 239914 h 499114"/>
                <a:gd name="connsiteX8" fmla="*/ 8486 w 209549"/>
                <a:gd name="connsiteY8" fmla="*/ 496029 h 499114"/>
                <a:gd name="connsiteX9" fmla="*/ 5401 w 209549"/>
                <a:gd name="connsiteY9" fmla="*/ 499114 h 499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549" h="499114">
                  <a:moveTo>
                    <a:pt x="5401" y="499114"/>
                  </a:moveTo>
                  <a:cubicBezTo>
                    <a:pt x="2314" y="499114"/>
                    <a:pt x="2314" y="499114"/>
                    <a:pt x="2314" y="496029"/>
                  </a:cubicBezTo>
                  <a:cubicBezTo>
                    <a:pt x="-771" y="492943"/>
                    <a:pt x="-771" y="489857"/>
                    <a:pt x="2314" y="486771"/>
                  </a:cubicBezTo>
                  <a:cubicBezTo>
                    <a:pt x="2314" y="486771"/>
                    <a:pt x="116486" y="391114"/>
                    <a:pt x="172028" y="236828"/>
                  </a:cubicBezTo>
                  <a:cubicBezTo>
                    <a:pt x="227570" y="85629"/>
                    <a:pt x="168943" y="11571"/>
                    <a:pt x="168943" y="11571"/>
                  </a:cubicBezTo>
                  <a:cubicBezTo>
                    <a:pt x="165856" y="8486"/>
                    <a:pt x="165856" y="5400"/>
                    <a:pt x="168943" y="2314"/>
                  </a:cubicBezTo>
                  <a:cubicBezTo>
                    <a:pt x="172028" y="-771"/>
                    <a:pt x="175115" y="-771"/>
                    <a:pt x="178200" y="2314"/>
                  </a:cubicBezTo>
                  <a:cubicBezTo>
                    <a:pt x="181285" y="5400"/>
                    <a:pt x="242999" y="79457"/>
                    <a:pt x="184372" y="239914"/>
                  </a:cubicBezTo>
                  <a:cubicBezTo>
                    <a:pt x="125742" y="397285"/>
                    <a:pt x="11570" y="496029"/>
                    <a:pt x="8486" y="496029"/>
                  </a:cubicBezTo>
                  <a:cubicBezTo>
                    <a:pt x="8486" y="499114"/>
                    <a:pt x="8486" y="499114"/>
                    <a:pt x="5401" y="499114"/>
                  </a:cubicBezTo>
                  <a:close/>
                </a:path>
              </a:pathLst>
            </a:custGeom>
            <a:solidFill>
              <a:srgbClr val="D3977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0D31D68D-438F-47D4-A35A-254E65102E71}"/>
                </a:ext>
              </a:extLst>
            </p:cNvPr>
            <p:cNvGrpSpPr/>
            <p:nvPr/>
          </p:nvGrpSpPr>
          <p:grpSpPr>
            <a:xfrm>
              <a:off x="21236920" y="9686805"/>
              <a:ext cx="395968" cy="272406"/>
              <a:chOff x="21236920" y="9686805"/>
              <a:chExt cx="395968" cy="272406"/>
            </a:xfrm>
          </p:grpSpPr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4601DC45-8981-4956-B312-AA0FF85C5016}"/>
                  </a:ext>
                </a:extLst>
              </p:cNvPr>
              <p:cNvSpPr/>
              <p:nvPr/>
            </p:nvSpPr>
            <p:spPr>
              <a:xfrm>
                <a:off x="21320350" y="9686805"/>
                <a:ext cx="232074" cy="101353"/>
              </a:xfrm>
              <a:custGeom>
                <a:avLst/>
                <a:gdLst>
                  <a:gd name="connsiteX0" fmla="*/ 0 w 232074"/>
                  <a:gd name="connsiteY0" fmla="*/ 27205 h 101353"/>
                  <a:gd name="connsiteX1" fmla="*/ 114172 w 232074"/>
                  <a:gd name="connsiteY1" fmla="*/ 2519 h 101353"/>
                  <a:gd name="connsiteX2" fmla="*/ 231429 w 232074"/>
                  <a:gd name="connsiteY2" fmla="*/ 79662 h 101353"/>
                  <a:gd name="connsiteX3" fmla="*/ 197486 w 232074"/>
                  <a:gd name="connsiteY3" fmla="*/ 95090 h 101353"/>
                  <a:gd name="connsiteX4" fmla="*/ 0 w 232074"/>
                  <a:gd name="connsiteY4" fmla="*/ 27205 h 101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2074" h="101353">
                    <a:moveTo>
                      <a:pt x="0" y="27205"/>
                    </a:moveTo>
                    <a:cubicBezTo>
                      <a:pt x="0" y="27205"/>
                      <a:pt x="74058" y="-9824"/>
                      <a:pt x="114172" y="2519"/>
                    </a:cubicBezTo>
                    <a:cubicBezTo>
                      <a:pt x="154286" y="11777"/>
                      <a:pt x="225259" y="39548"/>
                      <a:pt x="231429" y="79662"/>
                    </a:cubicBezTo>
                    <a:cubicBezTo>
                      <a:pt x="237600" y="116691"/>
                      <a:pt x="197486" y="95090"/>
                      <a:pt x="197486" y="95090"/>
                    </a:cubicBezTo>
                    <a:lnTo>
                      <a:pt x="0" y="27205"/>
                    </a:ln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C31299D5-8CB1-4064-B555-B26B1A0B6D87}"/>
                  </a:ext>
                </a:extLst>
              </p:cNvPr>
              <p:cNvSpPr/>
              <p:nvPr/>
            </p:nvSpPr>
            <p:spPr>
              <a:xfrm>
                <a:off x="21236920" y="9698492"/>
                <a:ext cx="395968" cy="260719"/>
              </a:xfrm>
              <a:custGeom>
                <a:avLst/>
                <a:gdLst>
                  <a:gd name="connsiteX0" fmla="*/ 30975 w 395968"/>
                  <a:gd name="connsiteY0" fmla="*/ 157461 h 260719"/>
                  <a:gd name="connsiteX1" fmla="*/ 123546 w 395968"/>
                  <a:gd name="connsiteY1" fmla="*/ 194489 h 260719"/>
                  <a:gd name="connsiteX2" fmla="*/ 213031 w 395968"/>
                  <a:gd name="connsiteY2" fmla="*/ 243861 h 260719"/>
                  <a:gd name="connsiteX3" fmla="*/ 268573 w 395968"/>
                  <a:gd name="connsiteY3" fmla="*/ 259290 h 260719"/>
                  <a:gd name="connsiteX4" fmla="*/ 231546 w 395968"/>
                  <a:gd name="connsiteY4" fmla="*/ 203746 h 260719"/>
                  <a:gd name="connsiteX5" fmla="*/ 284002 w 395968"/>
                  <a:gd name="connsiteY5" fmla="*/ 225347 h 260719"/>
                  <a:gd name="connsiteX6" fmla="*/ 361145 w 395968"/>
                  <a:gd name="connsiteY6" fmla="*/ 234603 h 260719"/>
                  <a:gd name="connsiteX7" fmla="*/ 364232 w 395968"/>
                  <a:gd name="connsiteY7" fmla="*/ 219175 h 260719"/>
                  <a:gd name="connsiteX8" fmla="*/ 395089 w 395968"/>
                  <a:gd name="connsiteY8" fmla="*/ 213004 h 260719"/>
                  <a:gd name="connsiteX9" fmla="*/ 358060 w 395968"/>
                  <a:gd name="connsiteY9" fmla="*/ 154376 h 260719"/>
                  <a:gd name="connsiteX10" fmla="*/ 305602 w 395968"/>
                  <a:gd name="connsiteY10" fmla="*/ 117347 h 260719"/>
                  <a:gd name="connsiteX11" fmla="*/ 351888 w 395968"/>
                  <a:gd name="connsiteY11" fmla="*/ 123518 h 260719"/>
                  <a:gd name="connsiteX12" fmla="*/ 373488 w 395968"/>
                  <a:gd name="connsiteY12" fmla="*/ 117347 h 260719"/>
                  <a:gd name="connsiteX13" fmla="*/ 314859 w 395968"/>
                  <a:gd name="connsiteY13" fmla="*/ 64889 h 260719"/>
                  <a:gd name="connsiteX14" fmla="*/ 55660 w 395968"/>
                  <a:gd name="connsiteY14" fmla="*/ 90 h 260719"/>
                  <a:gd name="connsiteX15" fmla="*/ 118 w 395968"/>
                  <a:gd name="connsiteY15" fmla="*/ 117347 h 260719"/>
                  <a:gd name="connsiteX16" fmla="*/ 30975 w 395968"/>
                  <a:gd name="connsiteY16" fmla="*/ 157461 h 260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95968" h="260719">
                    <a:moveTo>
                      <a:pt x="30975" y="157461"/>
                    </a:moveTo>
                    <a:cubicBezTo>
                      <a:pt x="61832" y="169804"/>
                      <a:pt x="92689" y="182147"/>
                      <a:pt x="123546" y="194489"/>
                    </a:cubicBezTo>
                    <a:cubicBezTo>
                      <a:pt x="154403" y="209918"/>
                      <a:pt x="182174" y="228433"/>
                      <a:pt x="213031" y="243861"/>
                    </a:cubicBezTo>
                    <a:cubicBezTo>
                      <a:pt x="225375" y="250032"/>
                      <a:pt x="256232" y="265461"/>
                      <a:pt x="268573" y="259290"/>
                    </a:cubicBezTo>
                    <a:cubicBezTo>
                      <a:pt x="287089" y="246947"/>
                      <a:pt x="259317" y="222261"/>
                      <a:pt x="231546" y="203746"/>
                    </a:cubicBezTo>
                    <a:cubicBezTo>
                      <a:pt x="250060" y="209918"/>
                      <a:pt x="265488" y="219175"/>
                      <a:pt x="284002" y="225347"/>
                    </a:cubicBezTo>
                    <a:cubicBezTo>
                      <a:pt x="302517" y="231518"/>
                      <a:pt x="342631" y="246947"/>
                      <a:pt x="361145" y="234603"/>
                    </a:cubicBezTo>
                    <a:cubicBezTo>
                      <a:pt x="367317" y="231518"/>
                      <a:pt x="367317" y="225347"/>
                      <a:pt x="364232" y="219175"/>
                    </a:cubicBezTo>
                    <a:cubicBezTo>
                      <a:pt x="379660" y="222261"/>
                      <a:pt x="392002" y="222261"/>
                      <a:pt x="395089" y="213004"/>
                    </a:cubicBezTo>
                    <a:cubicBezTo>
                      <a:pt x="401261" y="191404"/>
                      <a:pt x="373488" y="166718"/>
                      <a:pt x="358060" y="154376"/>
                    </a:cubicBezTo>
                    <a:cubicBezTo>
                      <a:pt x="342631" y="142032"/>
                      <a:pt x="324118" y="129689"/>
                      <a:pt x="305602" y="117347"/>
                    </a:cubicBezTo>
                    <a:cubicBezTo>
                      <a:pt x="321031" y="120433"/>
                      <a:pt x="336459" y="123518"/>
                      <a:pt x="351888" y="123518"/>
                    </a:cubicBezTo>
                    <a:cubicBezTo>
                      <a:pt x="361145" y="123518"/>
                      <a:pt x="367317" y="126603"/>
                      <a:pt x="373488" y="117347"/>
                    </a:cubicBezTo>
                    <a:cubicBezTo>
                      <a:pt x="388917" y="92661"/>
                      <a:pt x="330288" y="71061"/>
                      <a:pt x="314859" y="64889"/>
                    </a:cubicBezTo>
                    <a:cubicBezTo>
                      <a:pt x="231546" y="30947"/>
                      <a:pt x="142060" y="21689"/>
                      <a:pt x="55660" y="90"/>
                    </a:cubicBezTo>
                    <a:cubicBezTo>
                      <a:pt x="55660" y="-2996"/>
                      <a:pt x="-2969" y="74147"/>
                      <a:pt x="118" y="117347"/>
                    </a:cubicBezTo>
                    <a:cubicBezTo>
                      <a:pt x="118" y="145118"/>
                      <a:pt x="6288" y="148204"/>
                      <a:pt x="30975" y="15746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F29F7345-1E96-4C0E-9D2F-24EE0097D2BC}"/>
                  </a:ext>
                </a:extLst>
              </p:cNvPr>
              <p:cNvSpPr/>
              <p:nvPr/>
            </p:nvSpPr>
            <p:spPr>
              <a:xfrm>
                <a:off x="21449951" y="9828181"/>
                <a:ext cx="153514" cy="95657"/>
              </a:xfrm>
              <a:custGeom>
                <a:avLst/>
                <a:gdLst>
                  <a:gd name="connsiteX0" fmla="*/ 151201 w 153514"/>
                  <a:gd name="connsiteY0" fmla="*/ 95657 h 95657"/>
                  <a:gd name="connsiteX1" fmla="*/ 148114 w 153514"/>
                  <a:gd name="connsiteY1" fmla="*/ 95657 h 95657"/>
                  <a:gd name="connsiteX2" fmla="*/ 6172 w 153514"/>
                  <a:gd name="connsiteY2" fmla="*/ 12343 h 95657"/>
                  <a:gd name="connsiteX3" fmla="*/ 0 w 153514"/>
                  <a:gd name="connsiteY3" fmla="*/ 6172 h 95657"/>
                  <a:gd name="connsiteX4" fmla="*/ 6172 w 153514"/>
                  <a:gd name="connsiteY4" fmla="*/ 0 h 95657"/>
                  <a:gd name="connsiteX5" fmla="*/ 151201 w 153514"/>
                  <a:gd name="connsiteY5" fmla="*/ 83315 h 95657"/>
                  <a:gd name="connsiteX6" fmla="*/ 151201 w 153514"/>
                  <a:gd name="connsiteY6" fmla="*/ 92571 h 95657"/>
                  <a:gd name="connsiteX7" fmla="*/ 151201 w 153514"/>
                  <a:gd name="connsiteY7" fmla="*/ 95657 h 95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514" h="95657">
                    <a:moveTo>
                      <a:pt x="151201" y="95657"/>
                    </a:moveTo>
                    <a:cubicBezTo>
                      <a:pt x="151201" y="95657"/>
                      <a:pt x="148114" y="95657"/>
                      <a:pt x="148114" y="95657"/>
                    </a:cubicBezTo>
                    <a:cubicBezTo>
                      <a:pt x="148114" y="95657"/>
                      <a:pt x="40114" y="18514"/>
                      <a:pt x="6172" y="12343"/>
                    </a:cubicBezTo>
                    <a:cubicBezTo>
                      <a:pt x="3087" y="12343"/>
                      <a:pt x="0" y="9258"/>
                      <a:pt x="0" y="6172"/>
                    </a:cubicBezTo>
                    <a:cubicBezTo>
                      <a:pt x="0" y="3086"/>
                      <a:pt x="3087" y="0"/>
                      <a:pt x="6172" y="0"/>
                    </a:cubicBezTo>
                    <a:cubicBezTo>
                      <a:pt x="43201" y="6172"/>
                      <a:pt x="148114" y="80229"/>
                      <a:pt x="151201" y="83315"/>
                    </a:cubicBezTo>
                    <a:cubicBezTo>
                      <a:pt x="154286" y="86401"/>
                      <a:pt x="154286" y="89486"/>
                      <a:pt x="151201" y="92571"/>
                    </a:cubicBezTo>
                    <a:cubicBezTo>
                      <a:pt x="154286" y="92571"/>
                      <a:pt x="151201" y="95657"/>
                      <a:pt x="151201" y="9565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0D422363-8E63-4335-B803-43B2AA8E53FA}"/>
                  </a:ext>
                </a:extLst>
              </p:cNvPr>
              <p:cNvSpPr/>
              <p:nvPr/>
            </p:nvSpPr>
            <p:spPr>
              <a:xfrm>
                <a:off x="21409837" y="9877553"/>
                <a:ext cx="58629" cy="30857"/>
              </a:xfrm>
              <a:custGeom>
                <a:avLst/>
                <a:gdLst>
                  <a:gd name="connsiteX0" fmla="*/ 55542 w 58629"/>
                  <a:gd name="connsiteY0" fmla="*/ 30857 h 30857"/>
                  <a:gd name="connsiteX1" fmla="*/ 55542 w 58629"/>
                  <a:gd name="connsiteY1" fmla="*/ 30857 h 30857"/>
                  <a:gd name="connsiteX2" fmla="*/ 3085 w 58629"/>
                  <a:gd name="connsiteY2" fmla="*/ 9257 h 30857"/>
                  <a:gd name="connsiteX3" fmla="*/ 0 w 58629"/>
                  <a:gd name="connsiteY3" fmla="*/ 3086 h 30857"/>
                  <a:gd name="connsiteX4" fmla="*/ 6172 w 58629"/>
                  <a:gd name="connsiteY4" fmla="*/ 0 h 30857"/>
                  <a:gd name="connsiteX5" fmla="*/ 55542 w 58629"/>
                  <a:gd name="connsiteY5" fmla="*/ 21600 h 30857"/>
                  <a:gd name="connsiteX6" fmla="*/ 58629 w 58629"/>
                  <a:gd name="connsiteY6" fmla="*/ 27771 h 30857"/>
                  <a:gd name="connsiteX7" fmla="*/ 55542 w 58629"/>
                  <a:gd name="connsiteY7" fmla="*/ 30857 h 30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8629" h="30857">
                    <a:moveTo>
                      <a:pt x="55542" y="30857"/>
                    </a:moveTo>
                    <a:cubicBezTo>
                      <a:pt x="55542" y="30857"/>
                      <a:pt x="52458" y="30857"/>
                      <a:pt x="55542" y="30857"/>
                    </a:cubicBezTo>
                    <a:lnTo>
                      <a:pt x="3085" y="9257"/>
                    </a:lnTo>
                    <a:cubicBezTo>
                      <a:pt x="0" y="9257"/>
                      <a:pt x="0" y="6172"/>
                      <a:pt x="0" y="3086"/>
                    </a:cubicBezTo>
                    <a:cubicBezTo>
                      <a:pt x="0" y="0"/>
                      <a:pt x="3085" y="0"/>
                      <a:pt x="6172" y="0"/>
                    </a:cubicBezTo>
                    <a:lnTo>
                      <a:pt x="55542" y="21600"/>
                    </a:lnTo>
                    <a:cubicBezTo>
                      <a:pt x="58629" y="21600"/>
                      <a:pt x="58629" y="24685"/>
                      <a:pt x="58629" y="27771"/>
                    </a:cubicBezTo>
                    <a:cubicBezTo>
                      <a:pt x="58629" y="27771"/>
                      <a:pt x="58629" y="30857"/>
                      <a:pt x="55542" y="3085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B8BDE34E-CE4B-4909-912C-593B17DC6A2A}"/>
                  </a:ext>
                </a:extLst>
              </p:cNvPr>
              <p:cNvSpPr/>
              <p:nvPr/>
            </p:nvSpPr>
            <p:spPr>
              <a:xfrm>
                <a:off x="21364322" y="9760296"/>
                <a:ext cx="48654" cy="108000"/>
              </a:xfrm>
              <a:custGeom>
                <a:avLst/>
                <a:gdLst>
                  <a:gd name="connsiteX0" fmla="*/ 5401 w 48654"/>
                  <a:gd name="connsiteY0" fmla="*/ 108000 h 108000"/>
                  <a:gd name="connsiteX1" fmla="*/ 2314 w 48654"/>
                  <a:gd name="connsiteY1" fmla="*/ 104914 h 108000"/>
                  <a:gd name="connsiteX2" fmla="*/ 2314 w 48654"/>
                  <a:gd name="connsiteY2" fmla="*/ 95656 h 108000"/>
                  <a:gd name="connsiteX3" fmla="*/ 36258 w 48654"/>
                  <a:gd name="connsiteY3" fmla="*/ 6171 h 108000"/>
                  <a:gd name="connsiteX4" fmla="*/ 42430 w 48654"/>
                  <a:gd name="connsiteY4" fmla="*/ 0 h 108000"/>
                  <a:gd name="connsiteX5" fmla="*/ 48599 w 48654"/>
                  <a:gd name="connsiteY5" fmla="*/ 6171 h 108000"/>
                  <a:gd name="connsiteX6" fmla="*/ 11572 w 48654"/>
                  <a:gd name="connsiteY6" fmla="*/ 104914 h 108000"/>
                  <a:gd name="connsiteX7" fmla="*/ 5401 w 48654"/>
                  <a:gd name="connsiteY7" fmla="*/ 108000 h 10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654" h="108000">
                    <a:moveTo>
                      <a:pt x="5401" y="108000"/>
                    </a:moveTo>
                    <a:cubicBezTo>
                      <a:pt x="5401" y="108000"/>
                      <a:pt x="2314" y="108000"/>
                      <a:pt x="2314" y="104914"/>
                    </a:cubicBezTo>
                    <a:cubicBezTo>
                      <a:pt x="-771" y="101828"/>
                      <a:pt x="-771" y="98742"/>
                      <a:pt x="2314" y="95656"/>
                    </a:cubicBezTo>
                    <a:cubicBezTo>
                      <a:pt x="39343" y="58628"/>
                      <a:pt x="36258" y="6171"/>
                      <a:pt x="36258" y="6171"/>
                    </a:cubicBezTo>
                    <a:cubicBezTo>
                      <a:pt x="36258" y="3085"/>
                      <a:pt x="39343" y="0"/>
                      <a:pt x="42430" y="0"/>
                    </a:cubicBezTo>
                    <a:cubicBezTo>
                      <a:pt x="45514" y="0"/>
                      <a:pt x="48599" y="3085"/>
                      <a:pt x="48599" y="6171"/>
                    </a:cubicBezTo>
                    <a:cubicBezTo>
                      <a:pt x="48599" y="9257"/>
                      <a:pt x="51686" y="64799"/>
                      <a:pt x="11572" y="104914"/>
                    </a:cubicBezTo>
                    <a:cubicBezTo>
                      <a:pt x="8486" y="108000"/>
                      <a:pt x="8486" y="108000"/>
                      <a:pt x="5401" y="1080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D291159B-073A-4FDD-87F7-93714FC8674A}"/>
                  </a:ext>
                </a:extLst>
              </p:cNvPr>
              <p:cNvSpPr/>
              <p:nvPr/>
            </p:nvSpPr>
            <p:spPr>
              <a:xfrm>
                <a:off x="21369723" y="9714011"/>
                <a:ext cx="248134" cy="117256"/>
              </a:xfrm>
              <a:custGeom>
                <a:avLst/>
                <a:gdLst>
                  <a:gd name="connsiteX0" fmla="*/ 219085 w 248134"/>
                  <a:gd name="connsiteY0" fmla="*/ 117257 h 117256"/>
                  <a:gd name="connsiteX1" fmla="*/ 172799 w 248134"/>
                  <a:gd name="connsiteY1" fmla="*/ 108000 h 117256"/>
                  <a:gd name="connsiteX2" fmla="*/ 169714 w 248134"/>
                  <a:gd name="connsiteY2" fmla="*/ 104914 h 117256"/>
                  <a:gd name="connsiteX3" fmla="*/ 89485 w 248134"/>
                  <a:gd name="connsiteY3" fmla="*/ 70971 h 117256"/>
                  <a:gd name="connsiteX4" fmla="*/ 86400 w 248134"/>
                  <a:gd name="connsiteY4" fmla="*/ 64799 h 117256"/>
                  <a:gd name="connsiteX5" fmla="*/ 92571 w 248134"/>
                  <a:gd name="connsiteY5" fmla="*/ 61714 h 117256"/>
                  <a:gd name="connsiteX6" fmla="*/ 178971 w 248134"/>
                  <a:gd name="connsiteY6" fmla="*/ 98742 h 117256"/>
                  <a:gd name="connsiteX7" fmla="*/ 240685 w 248134"/>
                  <a:gd name="connsiteY7" fmla="*/ 101828 h 117256"/>
                  <a:gd name="connsiteX8" fmla="*/ 240685 w 248134"/>
                  <a:gd name="connsiteY8" fmla="*/ 98742 h 117256"/>
                  <a:gd name="connsiteX9" fmla="*/ 6172 w 248134"/>
                  <a:gd name="connsiteY9" fmla="*/ 12343 h 117256"/>
                  <a:gd name="connsiteX10" fmla="*/ 0 w 248134"/>
                  <a:gd name="connsiteY10" fmla="*/ 6171 h 117256"/>
                  <a:gd name="connsiteX11" fmla="*/ 6172 w 248134"/>
                  <a:gd name="connsiteY11" fmla="*/ 0 h 117256"/>
                  <a:gd name="connsiteX12" fmla="*/ 246857 w 248134"/>
                  <a:gd name="connsiteY12" fmla="*/ 95656 h 117256"/>
                  <a:gd name="connsiteX13" fmla="*/ 243770 w 248134"/>
                  <a:gd name="connsiteY13" fmla="*/ 111085 h 117256"/>
                  <a:gd name="connsiteX14" fmla="*/ 219085 w 248134"/>
                  <a:gd name="connsiteY14" fmla="*/ 117257 h 117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8134" h="117256">
                    <a:moveTo>
                      <a:pt x="219085" y="117257"/>
                    </a:moveTo>
                    <a:cubicBezTo>
                      <a:pt x="200571" y="117257"/>
                      <a:pt x="178971" y="108000"/>
                      <a:pt x="172799" y="108000"/>
                    </a:cubicBezTo>
                    <a:cubicBezTo>
                      <a:pt x="172799" y="108000"/>
                      <a:pt x="169714" y="108000"/>
                      <a:pt x="169714" y="104914"/>
                    </a:cubicBezTo>
                    <a:cubicBezTo>
                      <a:pt x="160458" y="98742"/>
                      <a:pt x="117257" y="80228"/>
                      <a:pt x="89485" y="70971"/>
                    </a:cubicBezTo>
                    <a:cubicBezTo>
                      <a:pt x="86400" y="70971"/>
                      <a:pt x="83315" y="67885"/>
                      <a:pt x="86400" y="64799"/>
                    </a:cubicBezTo>
                    <a:cubicBezTo>
                      <a:pt x="86400" y="61714"/>
                      <a:pt x="89485" y="58628"/>
                      <a:pt x="92571" y="61714"/>
                    </a:cubicBezTo>
                    <a:cubicBezTo>
                      <a:pt x="104913" y="64799"/>
                      <a:pt x="163542" y="86400"/>
                      <a:pt x="178971" y="98742"/>
                    </a:cubicBezTo>
                    <a:cubicBezTo>
                      <a:pt x="191315" y="104914"/>
                      <a:pt x="228342" y="114171"/>
                      <a:pt x="240685" y="101828"/>
                    </a:cubicBezTo>
                    <a:cubicBezTo>
                      <a:pt x="240685" y="101828"/>
                      <a:pt x="240685" y="101828"/>
                      <a:pt x="240685" y="98742"/>
                    </a:cubicBezTo>
                    <a:cubicBezTo>
                      <a:pt x="234514" y="80228"/>
                      <a:pt x="160458" y="37028"/>
                      <a:pt x="6172" y="12343"/>
                    </a:cubicBezTo>
                    <a:cubicBezTo>
                      <a:pt x="3085" y="12343"/>
                      <a:pt x="0" y="9257"/>
                      <a:pt x="0" y="6171"/>
                    </a:cubicBezTo>
                    <a:cubicBezTo>
                      <a:pt x="0" y="3085"/>
                      <a:pt x="3085" y="0"/>
                      <a:pt x="6172" y="0"/>
                    </a:cubicBezTo>
                    <a:cubicBezTo>
                      <a:pt x="145029" y="24685"/>
                      <a:pt x="237600" y="67885"/>
                      <a:pt x="246857" y="95656"/>
                    </a:cubicBezTo>
                    <a:cubicBezTo>
                      <a:pt x="249942" y="101828"/>
                      <a:pt x="246857" y="104914"/>
                      <a:pt x="243770" y="111085"/>
                    </a:cubicBezTo>
                    <a:cubicBezTo>
                      <a:pt x="237600" y="114171"/>
                      <a:pt x="228342" y="117257"/>
                      <a:pt x="219085" y="11725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60850003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1" name="图形 1">
            <a:extLst>
              <a:ext uri="{FF2B5EF4-FFF2-40B4-BE49-F238E27FC236}">
                <a16:creationId xmlns:a16="http://schemas.microsoft.com/office/drawing/2014/main" id="{07858376-37E8-482D-A3C7-0D04C69FA559}"/>
              </a:ext>
            </a:extLst>
          </p:cNvPr>
          <p:cNvGrpSpPr/>
          <p:nvPr/>
        </p:nvGrpSpPr>
        <p:grpSpPr>
          <a:xfrm>
            <a:off x="2369853" y="1913127"/>
            <a:ext cx="6343082" cy="4836990"/>
            <a:chOff x="2250632" y="1741677"/>
            <a:chExt cx="6343082" cy="4836990"/>
          </a:xfrm>
        </p:grpSpPr>
        <p:grpSp>
          <p:nvGrpSpPr>
            <p:cNvPr id="342" name="图形 1">
              <a:extLst>
                <a:ext uri="{FF2B5EF4-FFF2-40B4-BE49-F238E27FC236}">
                  <a16:creationId xmlns:a16="http://schemas.microsoft.com/office/drawing/2014/main" id="{07858376-37E8-482D-A3C7-0D04C69FA559}"/>
                </a:ext>
              </a:extLst>
            </p:cNvPr>
            <p:cNvGrpSpPr/>
            <p:nvPr/>
          </p:nvGrpSpPr>
          <p:grpSpPr>
            <a:xfrm>
              <a:off x="2250632" y="1999346"/>
              <a:ext cx="3290750" cy="4579322"/>
              <a:chOff x="2250632" y="1999346"/>
              <a:chExt cx="3290750" cy="4579322"/>
            </a:xfrm>
          </p:grpSpPr>
          <p:grpSp>
            <p:nvGrpSpPr>
              <p:cNvPr id="343" name="图形 1">
                <a:extLst>
                  <a:ext uri="{FF2B5EF4-FFF2-40B4-BE49-F238E27FC236}">
                    <a16:creationId xmlns:a16="http://schemas.microsoft.com/office/drawing/2014/main" id="{07858376-37E8-482D-A3C7-0D04C69FA559}"/>
                  </a:ext>
                </a:extLst>
              </p:cNvPr>
              <p:cNvGrpSpPr/>
              <p:nvPr/>
            </p:nvGrpSpPr>
            <p:grpSpPr>
              <a:xfrm>
                <a:off x="2250632" y="1999346"/>
                <a:ext cx="3290750" cy="4442867"/>
                <a:chOff x="2250632" y="1999346"/>
                <a:chExt cx="3290750" cy="4442867"/>
              </a:xfrm>
            </p:grpSpPr>
            <p:sp>
              <p:nvSpPr>
                <p:cNvPr id="344" name="任意多边形: 形状 343">
                  <a:extLst>
                    <a:ext uri="{FF2B5EF4-FFF2-40B4-BE49-F238E27FC236}">
                      <a16:creationId xmlns:a16="http://schemas.microsoft.com/office/drawing/2014/main" id="{61618052-B32E-4C78-9994-6825EE0B3E0F}"/>
                    </a:ext>
                  </a:extLst>
                </p:cNvPr>
                <p:cNvSpPr/>
                <p:nvPr/>
              </p:nvSpPr>
              <p:spPr>
                <a:xfrm>
                  <a:off x="2250632" y="2571242"/>
                  <a:ext cx="3290750" cy="3870970"/>
                </a:xfrm>
                <a:custGeom>
                  <a:avLst/>
                  <a:gdLst>
                    <a:gd name="connsiteX0" fmla="*/ 3280724 w 3290750"/>
                    <a:gd name="connsiteY0" fmla="*/ 3644375 h 3870970"/>
                    <a:gd name="connsiteX1" fmla="*/ 3189199 w 3290750"/>
                    <a:gd name="connsiteY1" fmla="*/ 3540646 h 3870970"/>
                    <a:gd name="connsiteX2" fmla="*/ 2813945 w 3290750"/>
                    <a:gd name="connsiteY2" fmla="*/ 3122680 h 3870970"/>
                    <a:gd name="connsiteX3" fmla="*/ 2914623 w 3290750"/>
                    <a:gd name="connsiteY3" fmla="*/ 3083019 h 3870970"/>
                    <a:gd name="connsiteX4" fmla="*/ 2911572 w 3290750"/>
                    <a:gd name="connsiteY4" fmla="*/ 3070816 h 3870970"/>
                    <a:gd name="connsiteX5" fmla="*/ 2414284 w 3290750"/>
                    <a:gd name="connsiteY5" fmla="*/ 2494206 h 3870970"/>
                    <a:gd name="connsiteX6" fmla="*/ 2560724 w 3290750"/>
                    <a:gd name="connsiteY6" fmla="*/ 2506409 h 3870970"/>
                    <a:gd name="connsiteX7" fmla="*/ 2643097 w 3290750"/>
                    <a:gd name="connsiteY7" fmla="*/ 2512511 h 3870970"/>
                    <a:gd name="connsiteX8" fmla="*/ 2698012 w 3290750"/>
                    <a:gd name="connsiteY8" fmla="*/ 2527765 h 3870970"/>
                    <a:gd name="connsiteX9" fmla="*/ 2780385 w 3290750"/>
                    <a:gd name="connsiteY9" fmla="*/ 2497256 h 3870970"/>
                    <a:gd name="connsiteX10" fmla="*/ 2780385 w 3290750"/>
                    <a:gd name="connsiteY10" fmla="*/ 2485053 h 3870970"/>
                    <a:gd name="connsiteX11" fmla="*/ 2694962 w 3290750"/>
                    <a:gd name="connsiteY11" fmla="*/ 2402680 h 3870970"/>
                    <a:gd name="connsiteX12" fmla="*/ 2765131 w 3290750"/>
                    <a:gd name="connsiteY12" fmla="*/ 2372172 h 3870970"/>
                    <a:gd name="connsiteX13" fmla="*/ 2765131 w 3290750"/>
                    <a:gd name="connsiteY13" fmla="*/ 2359968 h 3870970"/>
                    <a:gd name="connsiteX14" fmla="*/ 2240385 w 3290750"/>
                    <a:gd name="connsiteY14" fmla="*/ 1737595 h 3870970"/>
                    <a:gd name="connsiteX15" fmla="*/ 2341063 w 3290750"/>
                    <a:gd name="connsiteY15" fmla="*/ 1783358 h 3870970"/>
                    <a:gd name="connsiteX16" fmla="*/ 2383775 w 3290750"/>
                    <a:gd name="connsiteY16" fmla="*/ 1749799 h 3870970"/>
                    <a:gd name="connsiteX17" fmla="*/ 2521063 w 3290750"/>
                    <a:gd name="connsiteY17" fmla="*/ 1774205 h 3870970"/>
                    <a:gd name="connsiteX18" fmla="*/ 2444792 w 3290750"/>
                    <a:gd name="connsiteY18" fmla="*/ 1618612 h 3870970"/>
                    <a:gd name="connsiteX19" fmla="*/ 2219029 w 3290750"/>
                    <a:gd name="connsiteY19" fmla="*/ 1411155 h 3870970"/>
                    <a:gd name="connsiteX20" fmla="*/ 2045131 w 3290750"/>
                    <a:gd name="connsiteY20" fmla="*/ 1206748 h 3870970"/>
                    <a:gd name="connsiteX21" fmla="*/ 2084792 w 3290750"/>
                    <a:gd name="connsiteY21" fmla="*/ 1194544 h 3870970"/>
                    <a:gd name="connsiteX22" fmla="*/ 2258690 w 3290750"/>
                    <a:gd name="connsiteY22" fmla="*/ 1289121 h 3870970"/>
                    <a:gd name="connsiteX23" fmla="*/ 2267843 w 3290750"/>
                    <a:gd name="connsiteY23" fmla="*/ 1279968 h 3870970"/>
                    <a:gd name="connsiteX24" fmla="*/ 2261741 w 3290750"/>
                    <a:gd name="connsiteY24" fmla="*/ 1264714 h 3870970"/>
                    <a:gd name="connsiteX25" fmla="*/ 2325809 w 3290750"/>
                    <a:gd name="connsiteY25" fmla="*/ 1243358 h 3870970"/>
                    <a:gd name="connsiteX26" fmla="*/ 2240385 w 3290750"/>
                    <a:gd name="connsiteY26" fmla="*/ 1118273 h 3870970"/>
                    <a:gd name="connsiteX27" fmla="*/ 1938351 w 3290750"/>
                    <a:gd name="connsiteY27" fmla="*/ 773527 h 3870970"/>
                    <a:gd name="connsiteX28" fmla="*/ 1776656 w 3290750"/>
                    <a:gd name="connsiteY28" fmla="*/ 367765 h 3870970"/>
                    <a:gd name="connsiteX29" fmla="*/ 1706487 w 3290750"/>
                    <a:gd name="connsiteY29" fmla="*/ 163358 h 3870970"/>
                    <a:gd name="connsiteX30" fmla="*/ 1621063 w 3290750"/>
                    <a:gd name="connsiteY30" fmla="*/ 1663 h 3870970"/>
                    <a:gd name="connsiteX31" fmla="*/ 1608860 w 3290750"/>
                    <a:gd name="connsiteY31" fmla="*/ 13866 h 3870970"/>
                    <a:gd name="connsiteX32" fmla="*/ 1608860 w 3290750"/>
                    <a:gd name="connsiteY32" fmla="*/ 13866 h 3870970"/>
                    <a:gd name="connsiteX33" fmla="*/ 1605809 w 3290750"/>
                    <a:gd name="connsiteY33" fmla="*/ 16917 h 3870970"/>
                    <a:gd name="connsiteX34" fmla="*/ 1404453 w 3290750"/>
                    <a:gd name="connsiteY34" fmla="*/ 547765 h 3870970"/>
                    <a:gd name="connsiteX35" fmla="*/ 1126826 w 3290750"/>
                    <a:gd name="connsiteY35" fmla="*/ 1042002 h 3870970"/>
                    <a:gd name="connsiteX36" fmla="*/ 806487 w 3290750"/>
                    <a:gd name="connsiteY36" fmla="*/ 1508782 h 3870970"/>
                    <a:gd name="connsiteX37" fmla="*/ 623436 w 3290750"/>
                    <a:gd name="connsiteY37" fmla="*/ 1707087 h 3870970"/>
                    <a:gd name="connsiteX38" fmla="*/ 528860 w 3290750"/>
                    <a:gd name="connsiteY38" fmla="*/ 1804714 h 3870970"/>
                    <a:gd name="connsiteX39" fmla="*/ 486148 w 3290750"/>
                    <a:gd name="connsiteY39" fmla="*/ 1874883 h 3870970"/>
                    <a:gd name="connsiteX40" fmla="*/ 611233 w 3290750"/>
                    <a:gd name="connsiteY40" fmla="*/ 1902341 h 3870970"/>
                    <a:gd name="connsiteX41" fmla="*/ 800385 w 3290750"/>
                    <a:gd name="connsiteY41" fmla="*/ 1786409 h 3870970"/>
                    <a:gd name="connsiteX42" fmla="*/ 830894 w 3290750"/>
                    <a:gd name="connsiteY42" fmla="*/ 1826070 h 3870970"/>
                    <a:gd name="connsiteX43" fmla="*/ 955978 w 3290750"/>
                    <a:gd name="connsiteY43" fmla="*/ 1771154 h 3870970"/>
                    <a:gd name="connsiteX44" fmla="*/ 928521 w 3290750"/>
                    <a:gd name="connsiteY44" fmla="*/ 1884036 h 3870970"/>
                    <a:gd name="connsiteX45" fmla="*/ 928521 w 3290750"/>
                    <a:gd name="connsiteY45" fmla="*/ 1884036 h 3870970"/>
                    <a:gd name="connsiteX46" fmla="*/ 919368 w 3290750"/>
                    <a:gd name="connsiteY46" fmla="*/ 1887087 h 3870970"/>
                    <a:gd name="connsiteX47" fmla="*/ 669199 w 3290750"/>
                    <a:gd name="connsiteY47" fmla="*/ 2265392 h 3870970"/>
                    <a:gd name="connsiteX48" fmla="*/ 361063 w 3290750"/>
                    <a:gd name="connsiteY48" fmla="*/ 2649799 h 3870970"/>
                    <a:gd name="connsiteX49" fmla="*/ 370216 w 3290750"/>
                    <a:gd name="connsiteY49" fmla="*/ 2665053 h 3870970"/>
                    <a:gd name="connsiteX50" fmla="*/ 480046 w 3290750"/>
                    <a:gd name="connsiteY50" fmla="*/ 2619290 h 3870970"/>
                    <a:gd name="connsiteX51" fmla="*/ 446487 w 3290750"/>
                    <a:gd name="connsiteY51" fmla="*/ 2686409 h 3870970"/>
                    <a:gd name="connsiteX52" fmla="*/ 440385 w 3290750"/>
                    <a:gd name="connsiteY52" fmla="*/ 2716917 h 3870970"/>
                    <a:gd name="connsiteX53" fmla="*/ 541063 w 3290750"/>
                    <a:gd name="connsiteY53" fmla="*/ 2723019 h 3870970"/>
                    <a:gd name="connsiteX54" fmla="*/ 772928 w 3290750"/>
                    <a:gd name="connsiteY54" fmla="*/ 2561324 h 3870970"/>
                    <a:gd name="connsiteX55" fmla="*/ 855300 w 3290750"/>
                    <a:gd name="connsiteY55" fmla="*/ 2622341 h 3870970"/>
                    <a:gd name="connsiteX56" fmla="*/ 641741 w 3290750"/>
                    <a:gd name="connsiteY56" fmla="*/ 2915222 h 3870970"/>
                    <a:gd name="connsiteX57" fmla="*/ 379368 w 3290750"/>
                    <a:gd name="connsiteY57" fmla="*/ 3238612 h 3870970"/>
                    <a:gd name="connsiteX58" fmla="*/ 141402 w 3290750"/>
                    <a:gd name="connsiteY58" fmla="*/ 3555900 h 3870970"/>
                    <a:gd name="connsiteX59" fmla="*/ 22419 w 3290750"/>
                    <a:gd name="connsiteY59" fmla="*/ 3723697 h 3870970"/>
                    <a:gd name="connsiteX60" fmla="*/ 16317 w 3290750"/>
                    <a:gd name="connsiteY60" fmla="*/ 3818273 h 3870970"/>
                    <a:gd name="connsiteX61" fmla="*/ 150555 w 3290750"/>
                    <a:gd name="connsiteY61" fmla="*/ 3845731 h 3870970"/>
                    <a:gd name="connsiteX62" fmla="*/ 245131 w 3290750"/>
                    <a:gd name="connsiteY62" fmla="*/ 3803019 h 3870970"/>
                    <a:gd name="connsiteX63" fmla="*/ 400724 w 3290750"/>
                    <a:gd name="connsiteY63" fmla="*/ 3809121 h 3870970"/>
                    <a:gd name="connsiteX64" fmla="*/ 440385 w 3290750"/>
                    <a:gd name="connsiteY64" fmla="*/ 3864036 h 3870970"/>
                    <a:gd name="connsiteX65" fmla="*/ 577673 w 3290750"/>
                    <a:gd name="connsiteY65" fmla="*/ 3839629 h 3870970"/>
                    <a:gd name="connsiteX66" fmla="*/ 745470 w 3290750"/>
                    <a:gd name="connsiteY66" fmla="*/ 3726748 h 3870970"/>
                    <a:gd name="connsiteX67" fmla="*/ 730216 w 3290750"/>
                    <a:gd name="connsiteY67" fmla="*/ 3766409 h 3870970"/>
                    <a:gd name="connsiteX68" fmla="*/ 739368 w 3290750"/>
                    <a:gd name="connsiteY68" fmla="*/ 3775561 h 3870970"/>
                    <a:gd name="connsiteX69" fmla="*/ 855300 w 3290750"/>
                    <a:gd name="connsiteY69" fmla="*/ 3717595 h 3870970"/>
                    <a:gd name="connsiteX70" fmla="*/ 959029 w 3290750"/>
                    <a:gd name="connsiteY70" fmla="*/ 3754205 h 3870970"/>
                    <a:gd name="connsiteX71" fmla="*/ 1200046 w 3290750"/>
                    <a:gd name="connsiteY71" fmla="*/ 3677934 h 3870970"/>
                    <a:gd name="connsiteX72" fmla="*/ 1334284 w 3290750"/>
                    <a:gd name="connsiteY72" fmla="*/ 3796918 h 3870970"/>
                    <a:gd name="connsiteX73" fmla="*/ 1560046 w 3290750"/>
                    <a:gd name="connsiteY73" fmla="*/ 3693188 h 3870970"/>
                    <a:gd name="connsiteX74" fmla="*/ 1779707 w 3290750"/>
                    <a:gd name="connsiteY74" fmla="*/ 3763358 h 3870970"/>
                    <a:gd name="connsiteX75" fmla="*/ 1865131 w 3290750"/>
                    <a:gd name="connsiteY75" fmla="*/ 3763358 h 3870970"/>
                    <a:gd name="connsiteX76" fmla="*/ 1907843 w 3290750"/>
                    <a:gd name="connsiteY76" fmla="*/ 3784714 h 3870970"/>
                    <a:gd name="connsiteX77" fmla="*/ 1999368 w 3290750"/>
                    <a:gd name="connsiteY77" fmla="*/ 3809121 h 3870970"/>
                    <a:gd name="connsiteX78" fmla="*/ 2170216 w 3290750"/>
                    <a:gd name="connsiteY78" fmla="*/ 3781663 h 3870970"/>
                    <a:gd name="connsiteX79" fmla="*/ 2182419 w 3290750"/>
                    <a:gd name="connsiteY79" fmla="*/ 3787765 h 3870970"/>
                    <a:gd name="connsiteX80" fmla="*/ 2206826 w 3290750"/>
                    <a:gd name="connsiteY80" fmla="*/ 3671833 h 3870970"/>
                    <a:gd name="connsiteX81" fmla="*/ 2511911 w 3290750"/>
                    <a:gd name="connsiteY81" fmla="*/ 3717595 h 3870970"/>
                    <a:gd name="connsiteX82" fmla="*/ 2521063 w 3290750"/>
                    <a:gd name="connsiteY82" fmla="*/ 3708443 h 3870970"/>
                    <a:gd name="connsiteX83" fmla="*/ 2502758 w 3290750"/>
                    <a:gd name="connsiteY83" fmla="*/ 3653527 h 3870970"/>
                    <a:gd name="connsiteX84" fmla="*/ 2640046 w 3290750"/>
                    <a:gd name="connsiteY84" fmla="*/ 3696239 h 3870970"/>
                    <a:gd name="connsiteX85" fmla="*/ 2792589 w 3290750"/>
                    <a:gd name="connsiteY85" fmla="*/ 3742002 h 3870970"/>
                    <a:gd name="connsiteX86" fmla="*/ 2914623 w 3290750"/>
                    <a:gd name="connsiteY86" fmla="*/ 3671833 h 3870970"/>
                    <a:gd name="connsiteX87" fmla="*/ 3122080 w 3290750"/>
                    <a:gd name="connsiteY87" fmla="*/ 3754205 h 3870970"/>
                    <a:gd name="connsiteX88" fmla="*/ 3128182 w 3290750"/>
                    <a:gd name="connsiteY88" fmla="*/ 3742002 h 3870970"/>
                    <a:gd name="connsiteX89" fmla="*/ 3112928 w 3290750"/>
                    <a:gd name="connsiteY89" fmla="*/ 3705392 h 3870970"/>
                    <a:gd name="connsiteX90" fmla="*/ 3219707 w 3290750"/>
                    <a:gd name="connsiteY90" fmla="*/ 3723697 h 3870970"/>
                    <a:gd name="connsiteX91" fmla="*/ 3277674 w 3290750"/>
                    <a:gd name="connsiteY91" fmla="*/ 3711494 h 3870970"/>
                    <a:gd name="connsiteX92" fmla="*/ 3280724 w 3290750"/>
                    <a:gd name="connsiteY92" fmla="*/ 3644375 h 3870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</a:cxnLst>
                  <a:rect l="l" t="t" r="r" b="b"/>
                  <a:pathLst>
                    <a:path w="3290750" h="3870970">
                      <a:moveTo>
                        <a:pt x="3280724" y="3644375"/>
                      </a:moveTo>
                      <a:cubicBezTo>
                        <a:pt x="3256317" y="3607765"/>
                        <a:pt x="3219707" y="3574206"/>
                        <a:pt x="3189199" y="3540646"/>
                      </a:cubicBezTo>
                      <a:cubicBezTo>
                        <a:pt x="3064114" y="3400307"/>
                        <a:pt x="2939029" y="3259968"/>
                        <a:pt x="2813945" y="3122680"/>
                      </a:cubicBezTo>
                      <a:cubicBezTo>
                        <a:pt x="2850555" y="3119629"/>
                        <a:pt x="2884114" y="3107426"/>
                        <a:pt x="2914623" y="3083019"/>
                      </a:cubicBezTo>
                      <a:cubicBezTo>
                        <a:pt x="2920724" y="3079968"/>
                        <a:pt x="2917673" y="3073867"/>
                        <a:pt x="2911572" y="3070816"/>
                      </a:cubicBezTo>
                      <a:cubicBezTo>
                        <a:pt x="2704114" y="2918273"/>
                        <a:pt x="2536317" y="2719968"/>
                        <a:pt x="2414284" y="2494206"/>
                      </a:cubicBezTo>
                      <a:cubicBezTo>
                        <a:pt x="2456995" y="2518612"/>
                        <a:pt x="2511911" y="2509460"/>
                        <a:pt x="2560724" y="2506409"/>
                      </a:cubicBezTo>
                      <a:cubicBezTo>
                        <a:pt x="2588182" y="2503358"/>
                        <a:pt x="2615639" y="2503358"/>
                        <a:pt x="2643097" y="2512511"/>
                      </a:cubicBezTo>
                      <a:cubicBezTo>
                        <a:pt x="2661402" y="2518612"/>
                        <a:pt x="2679707" y="2524714"/>
                        <a:pt x="2698012" y="2527765"/>
                      </a:cubicBezTo>
                      <a:cubicBezTo>
                        <a:pt x="2731572" y="2530816"/>
                        <a:pt x="2759029" y="2518612"/>
                        <a:pt x="2780385" y="2497256"/>
                      </a:cubicBezTo>
                      <a:cubicBezTo>
                        <a:pt x="2783436" y="2494206"/>
                        <a:pt x="2783436" y="2488104"/>
                        <a:pt x="2780385" y="2485053"/>
                      </a:cubicBezTo>
                      <a:cubicBezTo>
                        <a:pt x="2749877" y="2460646"/>
                        <a:pt x="2719368" y="2433189"/>
                        <a:pt x="2694962" y="2402680"/>
                      </a:cubicBezTo>
                      <a:cubicBezTo>
                        <a:pt x="2722419" y="2402680"/>
                        <a:pt x="2743775" y="2390477"/>
                        <a:pt x="2765131" y="2372172"/>
                      </a:cubicBezTo>
                      <a:cubicBezTo>
                        <a:pt x="2768182" y="2369121"/>
                        <a:pt x="2768182" y="2363019"/>
                        <a:pt x="2765131" y="2359968"/>
                      </a:cubicBezTo>
                      <a:cubicBezTo>
                        <a:pt x="2563775" y="2176917"/>
                        <a:pt x="2386826" y="1966409"/>
                        <a:pt x="2240385" y="1737595"/>
                      </a:cubicBezTo>
                      <a:cubicBezTo>
                        <a:pt x="2270894" y="1762002"/>
                        <a:pt x="2307504" y="1786409"/>
                        <a:pt x="2341063" y="1783358"/>
                      </a:cubicBezTo>
                      <a:cubicBezTo>
                        <a:pt x="2362419" y="1783358"/>
                        <a:pt x="2380724" y="1768104"/>
                        <a:pt x="2383775" y="1749799"/>
                      </a:cubicBezTo>
                      <a:cubicBezTo>
                        <a:pt x="2420385" y="1783358"/>
                        <a:pt x="2475301" y="1816917"/>
                        <a:pt x="2521063" y="1774205"/>
                      </a:cubicBezTo>
                      <a:cubicBezTo>
                        <a:pt x="2575979" y="1719290"/>
                        <a:pt x="2481402" y="1652172"/>
                        <a:pt x="2444792" y="1618612"/>
                      </a:cubicBezTo>
                      <a:cubicBezTo>
                        <a:pt x="2368521" y="1548443"/>
                        <a:pt x="2295300" y="1478273"/>
                        <a:pt x="2219029" y="1411155"/>
                      </a:cubicBezTo>
                      <a:cubicBezTo>
                        <a:pt x="2154962" y="1350138"/>
                        <a:pt x="2081741" y="1292171"/>
                        <a:pt x="2045131" y="1206748"/>
                      </a:cubicBezTo>
                      <a:cubicBezTo>
                        <a:pt x="2060385" y="1209799"/>
                        <a:pt x="2072589" y="1206748"/>
                        <a:pt x="2084792" y="1194544"/>
                      </a:cubicBezTo>
                      <a:cubicBezTo>
                        <a:pt x="2130555" y="1246409"/>
                        <a:pt x="2191572" y="1276917"/>
                        <a:pt x="2258690" y="1289121"/>
                      </a:cubicBezTo>
                      <a:cubicBezTo>
                        <a:pt x="2264792" y="1289121"/>
                        <a:pt x="2270894" y="1286070"/>
                        <a:pt x="2267843" y="1279968"/>
                      </a:cubicBezTo>
                      <a:cubicBezTo>
                        <a:pt x="2264792" y="1273866"/>
                        <a:pt x="2264792" y="1267765"/>
                        <a:pt x="2261741" y="1264714"/>
                      </a:cubicBezTo>
                      <a:cubicBezTo>
                        <a:pt x="2289199" y="1273866"/>
                        <a:pt x="2319707" y="1276917"/>
                        <a:pt x="2325809" y="1243358"/>
                      </a:cubicBezTo>
                      <a:cubicBezTo>
                        <a:pt x="2334962" y="1197595"/>
                        <a:pt x="2267843" y="1145731"/>
                        <a:pt x="2240385" y="1118273"/>
                      </a:cubicBezTo>
                      <a:cubicBezTo>
                        <a:pt x="2130555" y="1008443"/>
                        <a:pt x="2017673" y="907765"/>
                        <a:pt x="1938351" y="773527"/>
                      </a:cubicBezTo>
                      <a:cubicBezTo>
                        <a:pt x="1865131" y="648443"/>
                        <a:pt x="1822419" y="508104"/>
                        <a:pt x="1776656" y="367765"/>
                      </a:cubicBezTo>
                      <a:cubicBezTo>
                        <a:pt x="1755301" y="300646"/>
                        <a:pt x="1733945" y="230477"/>
                        <a:pt x="1706487" y="163358"/>
                      </a:cubicBezTo>
                      <a:cubicBezTo>
                        <a:pt x="1685131" y="108443"/>
                        <a:pt x="1666826" y="41324"/>
                        <a:pt x="1621063" y="1663"/>
                      </a:cubicBezTo>
                      <a:cubicBezTo>
                        <a:pt x="1611911" y="-4439"/>
                        <a:pt x="1599707" y="7765"/>
                        <a:pt x="1608860" y="13866"/>
                      </a:cubicBezTo>
                      <a:cubicBezTo>
                        <a:pt x="1608860" y="13866"/>
                        <a:pt x="1608860" y="13866"/>
                        <a:pt x="1608860" y="13866"/>
                      </a:cubicBezTo>
                      <a:cubicBezTo>
                        <a:pt x="1608860" y="13866"/>
                        <a:pt x="1605809" y="16917"/>
                        <a:pt x="1605809" y="16917"/>
                      </a:cubicBezTo>
                      <a:cubicBezTo>
                        <a:pt x="1529538" y="190816"/>
                        <a:pt x="1486826" y="373866"/>
                        <a:pt x="1404453" y="547765"/>
                      </a:cubicBezTo>
                      <a:cubicBezTo>
                        <a:pt x="1325131" y="718612"/>
                        <a:pt x="1221402" y="877256"/>
                        <a:pt x="1126826" y="1042002"/>
                      </a:cubicBezTo>
                      <a:cubicBezTo>
                        <a:pt x="1032250" y="1206748"/>
                        <a:pt x="931572" y="1365392"/>
                        <a:pt x="806487" y="1508782"/>
                      </a:cubicBezTo>
                      <a:cubicBezTo>
                        <a:pt x="748521" y="1575900"/>
                        <a:pt x="684453" y="1643019"/>
                        <a:pt x="623436" y="1707087"/>
                      </a:cubicBezTo>
                      <a:cubicBezTo>
                        <a:pt x="592928" y="1740646"/>
                        <a:pt x="559368" y="1771154"/>
                        <a:pt x="528860" y="1804714"/>
                      </a:cubicBezTo>
                      <a:cubicBezTo>
                        <a:pt x="510555" y="1823019"/>
                        <a:pt x="489199" y="1847426"/>
                        <a:pt x="486148" y="1874883"/>
                      </a:cubicBezTo>
                      <a:cubicBezTo>
                        <a:pt x="483097" y="1938951"/>
                        <a:pt x="577673" y="1911494"/>
                        <a:pt x="611233" y="1902341"/>
                      </a:cubicBezTo>
                      <a:cubicBezTo>
                        <a:pt x="684453" y="1880985"/>
                        <a:pt x="748521" y="1841324"/>
                        <a:pt x="800385" y="1786409"/>
                      </a:cubicBezTo>
                      <a:cubicBezTo>
                        <a:pt x="803436" y="1804714"/>
                        <a:pt x="812589" y="1819968"/>
                        <a:pt x="830894" y="1826070"/>
                      </a:cubicBezTo>
                      <a:cubicBezTo>
                        <a:pt x="879707" y="1847426"/>
                        <a:pt x="922419" y="1801663"/>
                        <a:pt x="955978" y="1771154"/>
                      </a:cubicBezTo>
                      <a:cubicBezTo>
                        <a:pt x="943775" y="1807765"/>
                        <a:pt x="937673" y="1844375"/>
                        <a:pt x="928521" y="1884036"/>
                      </a:cubicBezTo>
                      <a:cubicBezTo>
                        <a:pt x="928521" y="1884036"/>
                        <a:pt x="928521" y="1884036"/>
                        <a:pt x="928521" y="1884036"/>
                      </a:cubicBezTo>
                      <a:cubicBezTo>
                        <a:pt x="925470" y="1884036"/>
                        <a:pt x="922419" y="1884036"/>
                        <a:pt x="919368" y="1887087"/>
                      </a:cubicBezTo>
                      <a:cubicBezTo>
                        <a:pt x="815639" y="1999968"/>
                        <a:pt x="748521" y="2134205"/>
                        <a:pt x="669199" y="2265392"/>
                      </a:cubicBezTo>
                      <a:cubicBezTo>
                        <a:pt x="583775" y="2405731"/>
                        <a:pt x="480046" y="2536917"/>
                        <a:pt x="361063" y="2649799"/>
                      </a:cubicBezTo>
                      <a:cubicBezTo>
                        <a:pt x="354961" y="2655900"/>
                        <a:pt x="361063" y="2665053"/>
                        <a:pt x="370216" y="2665053"/>
                      </a:cubicBezTo>
                      <a:cubicBezTo>
                        <a:pt x="409877" y="2655900"/>
                        <a:pt x="446487" y="2640646"/>
                        <a:pt x="480046" y="2619290"/>
                      </a:cubicBezTo>
                      <a:cubicBezTo>
                        <a:pt x="467843" y="2640646"/>
                        <a:pt x="455639" y="2662002"/>
                        <a:pt x="446487" y="2686409"/>
                      </a:cubicBezTo>
                      <a:cubicBezTo>
                        <a:pt x="443436" y="2695561"/>
                        <a:pt x="437334" y="2704714"/>
                        <a:pt x="440385" y="2716917"/>
                      </a:cubicBezTo>
                      <a:cubicBezTo>
                        <a:pt x="452589" y="2750477"/>
                        <a:pt x="516656" y="2729121"/>
                        <a:pt x="541063" y="2723019"/>
                      </a:cubicBezTo>
                      <a:cubicBezTo>
                        <a:pt x="632589" y="2695561"/>
                        <a:pt x="705809" y="2628443"/>
                        <a:pt x="772928" y="2561324"/>
                      </a:cubicBezTo>
                      <a:cubicBezTo>
                        <a:pt x="769877" y="2604036"/>
                        <a:pt x="812589" y="2637595"/>
                        <a:pt x="855300" y="2622341"/>
                      </a:cubicBezTo>
                      <a:cubicBezTo>
                        <a:pt x="797334" y="2729121"/>
                        <a:pt x="721063" y="2820646"/>
                        <a:pt x="641741" y="2915222"/>
                      </a:cubicBezTo>
                      <a:cubicBezTo>
                        <a:pt x="553267" y="3022002"/>
                        <a:pt x="464792" y="3128782"/>
                        <a:pt x="379368" y="3238612"/>
                      </a:cubicBezTo>
                      <a:cubicBezTo>
                        <a:pt x="296995" y="3342341"/>
                        <a:pt x="217673" y="3449121"/>
                        <a:pt x="141402" y="3555900"/>
                      </a:cubicBezTo>
                      <a:cubicBezTo>
                        <a:pt x="101741" y="3610816"/>
                        <a:pt x="59029" y="3665731"/>
                        <a:pt x="22419" y="3723697"/>
                      </a:cubicBezTo>
                      <a:cubicBezTo>
                        <a:pt x="4114" y="3751155"/>
                        <a:pt x="-14191" y="3790815"/>
                        <a:pt x="16317" y="3818273"/>
                      </a:cubicBezTo>
                      <a:cubicBezTo>
                        <a:pt x="46826" y="3845731"/>
                        <a:pt x="110894" y="3845731"/>
                        <a:pt x="150555" y="3845731"/>
                      </a:cubicBezTo>
                      <a:cubicBezTo>
                        <a:pt x="187165" y="3842680"/>
                        <a:pt x="220724" y="3833528"/>
                        <a:pt x="245131" y="3803019"/>
                      </a:cubicBezTo>
                      <a:cubicBezTo>
                        <a:pt x="275639" y="3860985"/>
                        <a:pt x="351911" y="3836578"/>
                        <a:pt x="400724" y="3809121"/>
                      </a:cubicBezTo>
                      <a:cubicBezTo>
                        <a:pt x="403775" y="3833528"/>
                        <a:pt x="415978" y="3854883"/>
                        <a:pt x="440385" y="3864036"/>
                      </a:cubicBezTo>
                      <a:cubicBezTo>
                        <a:pt x="486148" y="3882341"/>
                        <a:pt x="534961" y="3860985"/>
                        <a:pt x="577673" y="3839629"/>
                      </a:cubicBezTo>
                      <a:cubicBezTo>
                        <a:pt x="638690" y="3812172"/>
                        <a:pt x="696656" y="3772511"/>
                        <a:pt x="745470" y="3726748"/>
                      </a:cubicBezTo>
                      <a:cubicBezTo>
                        <a:pt x="739368" y="3738951"/>
                        <a:pt x="736317" y="3751155"/>
                        <a:pt x="730216" y="3766409"/>
                      </a:cubicBezTo>
                      <a:cubicBezTo>
                        <a:pt x="727165" y="3772511"/>
                        <a:pt x="733267" y="3778612"/>
                        <a:pt x="739368" y="3775561"/>
                      </a:cubicBezTo>
                      <a:cubicBezTo>
                        <a:pt x="785131" y="3769460"/>
                        <a:pt x="824792" y="3751155"/>
                        <a:pt x="855300" y="3717595"/>
                      </a:cubicBezTo>
                      <a:cubicBezTo>
                        <a:pt x="870555" y="3754205"/>
                        <a:pt x="922419" y="3757256"/>
                        <a:pt x="959029" y="3754205"/>
                      </a:cubicBezTo>
                      <a:cubicBezTo>
                        <a:pt x="1041402" y="3742002"/>
                        <a:pt x="1123775" y="3714544"/>
                        <a:pt x="1200046" y="3677934"/>
                      </a:cubicBezTo>
                      <a:cubicBezTo>
                        <a:pt x="1209199" y="3742002"/>
                        <a:pt x="1270216" y="3787765"/>
                        <a:pt x="1334284" y="3796918"/>
                      </a:cubicBezTo>
                      <a:cubicBezTo>
                        <a:pt x="1422758" y="3806070"/>
                        <a:pt x="1499029" y="3748104"/>
                        <a:pt x="1560046" y="3693188"/>
                      </a:cubicBezTo>
                      <a:cubicBezTo>
                        <a:pt x="1593606" y="3775561"/>
                        <a:pt x="1700385" y="3799968"/>
                        <a:pt x="1779707" y="3763358"/>
                      </a:cubicBezTo>
                      <a:cubicBezTo>
                        <a:pt x="1810216" y="3751155"/>
                        <a:pt x="1834622" y="3748104"/>
                        <a:pt x="1865131" y="3763358"/>
                      </a:cubicBezTo>
                      <a:cubicBezTo>
                        <a:pt x="1877334" y="3772511"/>
                        <a:pt x="1892589" y="3778612"/>
                        <a:pt x="1907843" y="3784714"/>
                      </a:cubicBezTo>
                      <a:cubicBezTo>
                        <a:pt x="1935301" y="3796918"/>
                        <a:pt x="1968860" y="3806070"/>
                        <a:pt x="1999368" y="3809121"/>
                      </a:cubicBezTo>
                      <a:cubicBezTo>
                        <a:pt x="2057334" y="3815222"/>
                        <a:pt x="2115301" y="3806070"/>
                        <a:pt x="2170216" y="3781663"/>
                      </a:cubicBezTo>
                      <a:cubicBezTo>
                        <a:pt x="2173267" y="3784714"/>
                        <a:pt x="2176318" y="3787765"/>
                        <a:pt x="2182419" y="3787765"/>
                      </a:cubicBezTo>
                      <a:cubicBezTo>
                        <a:pt x="2231233" y="3766409"/>
                        <a:pt x="2225131" y="3714544"/>
                        <a:pt x="2206826" y="3671833"/>
                      </a:cubicBezTo>
                      <a:cubicBezTo>
                        <a:pt x="2304453" y="3711494"/>
                        <a:pt x="2408182" y="3726748"/>
                        <a:pt x="2511911" y="3717595"/>
                      </a:cubicBezTo>
                      <a:cubicBezTo>
                        <a:pt x="2518012" y="3717595"/>
                        <a:pt x="2521063" y="3711494"/>
                        <a:pt x="2521063" y="3708443"/>
                      </a:cubicBezTo>
                      <a:cubicBezTo>
                        <a:pt x="2514962" y="3690138"/>
                        <a:pt x="2508860" y="3671833"/>
                        <a:pt x="2502758" y="3653527"/>
                      </a:cubicBezTo>
                      <a:cubicBezTo>
                        <a:pt x="2548521" y="3668782"/>
                        <a:pt x="2594284" y="3680985"/>
                        <a:pt x="2640046" y="3696239"/>
                      </a:cubicBezTo>
                      <a:cubicBezTo>
                        <a:pt x="2688860" y="3711494"/>
                        <a:pt x="2740724" y="3732850"/>
                        <a:pt x="2792589" y="3742002"/>
                      </a:cubicBezTo>
                      <a:cubicBezTo>
                        <a:pt x="2844453" y="3748104"/>
                        <a:pt x="2908521" y="3726748"/>
                        <a:pt x="2914623" y="3671833"/>
                      </a:cubicBezTo>
                      <a:cubicBezTo>
                        <a:pt x="2972589" y="3720646"/>
                        <a:pt x="3042758" y="3748104"/>
                        <a:pt x="3122080" y="3754205"/>
                      </a:cubicBezTo>
                      <a:cubicBezTo>
                        <a:pt x="3128182" y="3754205"/>
                        <a:pt x="3131233" y="3748104"/>
                        <a:pt x="3128182" y="3742002"/>
                      </a:cubicBezTo>
                      <a:cubicBezTo>
                        <a:pt x="3122080" y="3729798"/>
                        <a:pt x="3115979" y="3717595"/>
                        <a:pt x="3112928" y="3705392"/>
                      </a:cubicBezTo>
                      <a:cubicBezTo>
                        <a:pt x="3146487" y="3714544"/>
                        <a:pt x="3183097" y="3720646"/>
                        <a:pt x="3219707" y="3723697"/>
                      </a:cubicBezTo>
                      <a:cubicBezTo>
                        <a:pt x="3238012" y="3723697"/>
                        <a:pt x="3265470" y="3726748"/>
                        <a:pt x="3277674" y="3711494"/>
                      </a:cubicBezTo>
                      <a:cubicBezTo>
                        <a:pt x="3299029" y="3680985"/>
                        <a:pt x="3289877" y="3659629"/>
                        <a:pt x="3280724" y="3644375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45" name="任意多边形: 形状 344">
                  <a:extLst>
                    <a:ext uri="{FF2B5EF4-FFF2-40B4-BE49-F238E27FC236}">
                      <a16:creationId xmlns:a16="http://schemas.microsoft.com/office/drawing/2014/main" id="{A2D7F90B-F16A-4912-AC24-41C92A77E98B}"/>
                    </a:ext>
                  </a:extLst>
                </p:cNvPr>
                <p:cNvSpPr/>
                <p:nvPr/>
              </p:nvSpPr>
              <p:spPr>
                <a:xfrm>
                  <a:off x="3682359" y="3655956"/>
                  <a:ext cx="507888" cy="277627"/>
                </a:xfrm>
                <a:custGeom>
                  <a:avLst/>
                  <a:gdLst>
                    <a:gd name="connsiteX0" fmla="*/ 363235 w 507888"/>
                    <a:gd name="connsiteY0" fmla="*/ 277627 h 277627"/>
                    <a:gd name="connsiteX1" fmla="*/ 222896 w 507888"/>
                    <a:gd name="connsiteY1" fmla="*/ 155593 h 277627"/>
                    <a:gd name="connsiteX2" fmla="*/ 174082 w 507888"/>
                    <a:gd name="connsiteY2" fmla="*/ 183051 h 277627"/>
                    <a:gd name="connsiteX3" fmla="*/ 122218 w 507888"/>
                    <a:gd name="connsiteY3" fmla="*/ 88475 h 277627"/>
                    <a:gd name="connsiteX4" fmla="*/ 30693 w 507888"/>
                    <a:gd name="connsiteY4" fmla="*/ 146441 h 277627"/>
                    <a:gd name="connsiteX5" fmla="*/ 6286 w 507888"/>
                    <a:gd name="connsiteY5" fmla="*/ 131186 h 277627"/>
                    <a:gd name="connsiteX6" fmla="*/ 27642 w 507888"/>
                    <a:gd name="connsiteY6" fmla="*/ 3051 h 277627"/>
                    <a:gd name="connsiteX7" fmla="*/ 33743 w 507888"/>
                    <a:gd name="connsiteY7" fmla="*/ 0 h 277627"/>
                    <a:gd name="connsiteX8" fmla="*/ 36794 w 507888"/>
                    <a:gd name="connsiteY8" fmla="*/ 6102 h 277627"/>
                    <a:gd name="connsiteX9" fmla="*/ 15438 w 507888"/>
                    <a:gd name="connsiteY9" fmla="*/ 122034 h 277627"/>
                    <a:gd name="connsiteX10" fmla="*/ 30693 w 507888"/>
                    <a:gd name="connsiteY10" fmla="*/ 131186 h 277627"/>
                    <a:gd name="connsiteX11" fmla="*/ 33743 w 507888"/>
                    <a:gd name="connsiteY11" fmla="*/ 131186 h 277627"/>
                    <a:gd name="connsiteX12" fmla="*/ 116116 w 507888"/>
                    <a:gd name="connsiteY12" fmla="*/ 67119 h 277627"/>
                    <a:gd name="connsiteX13" fmla="*/ 122218 w 507888"/>
                    <a:gd name="connsiteY13" fmla="*/ 64068 h 277627"/>
                    <a:gd name="connsiteX14" fmla="*/ 128320 w 507888"/>
                    <a:gd name="connsiteY14" fmla="*/ 67119 h 277627"/>
                    <a:gd name="connsiteX15" fmla="*/ 174082 w 507888"/>
                    <a:gd name="connsiteY15" fmla="*/ 167797 h 277627"/>
                    <a:gd name="connsiteX16" fmla="*/ 219845 w 507888"/>
                    <a:gd name="connsiteY16" fmla="*/ 140339 h 277627"/>
                    <a:gd name="connsiteX17" fmla="*/ 222896 w 507888"/>
                    <a:gd name="connsiteY17" fmla="*/ 137288 h 277627"/>
                    <a:gd name="connsiteX18" fmla="*/ 222896 w 507888"/>
                    <a:gd name="connsiteY18" fmla="*/ 137288 h 277627"/>
                    <a:gd name="connsiteX19" fmla="*/ 225947 w 507888"/>
                    <a:gd name="connsiteY19" fmla="*/ 140339 h 277627"/>
                    <a:gd name="connsiteX20" fmla="*/ 363235 w 507888"/>
                    <a:gd name="connsiteY20" fmla="*/ 265424 h 277627"/>
                    <a:gd name="connsiteX21" fmla="*/ 384591 w 507888"/>
                    <a:gd name="connsiteY21" fmla="*/ 39661 h 277627"/>
                    <a:gd name="connsiteX22" fmla="*/ 387642 w 507888"/>
                    <a:gd name="connsiteY22" fmla="*/ 33559 h 277627"/>
                    <a:gd name="connsiteX23" fmla="*/ 393743 w 507888"/>
                    <a:gd name="connsiteY23" fmla="*/ 36610 h 277627"/>
                    <a:gd name="connsiteX24" fmla="*/ 460862 w 507888"/>
                    <a:gd name="connsiteY24" fmla="*/ 88475 h 277627"/>
                    <a:gd name="connsiteX25" fmla="*/ 497472 w 507888"/>
                    <a:gd name="connsiteY25" fmla="*/ 24407 h 277627"/>
                    <a:gd name="connsiteX26" fmla="*/ 503574 w 507888"/>
                    <a:gd name="connsiteY26" fmla="*/ 21356 h 277627"/>
                    <a:gd name="connsiteX27" fmla="*/ 506625 w 507888"/>
                    <a:gd name="connsiteY27" fmla="*/ 27458 h 277627"/>
                    <a:gd name="connsiteX28" fmla="*/ 457811 w 507888"/>
                    <a:gd name="connsiteY28" fmla="*/ 97627 h 277627"/>
                    <a:gd name="connsiteX29" fmla="*/ 393743 w 507888"/>
                    <a:gd name="connsiteY29" fmla="*/ 51864 h 277627"/>
                    <a:gd name="connsiteX30" fmla="*/ 363235 w 507888"/>
                    <a:gd name="connsiteY30" fmla="*/ 271525 h 277627"/>
                    <a:gd name="connsiteX31" fmla="*/ 363235 w 507888"/>
                    <a:gd name="connsiteY31" fmla="*/ 277627 h 27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507888" h="277627">
                      <a:moveTo>
                        <a:pt x="363235" y="277627"/>
                      </a:moveTo>
                      <a:cubicBezTo>
                        <a:pt x="326625" y="277627"/>
                        <a:pt x="247303" y="183051"/>
                        <a:pt x="222896" y="155593"/>
                      </a:cubicBezTo>
                      <a:cubicBezTo>
                        <a:pt x="213744" y="164746"/>
                        <a:pt x="195438" y="183051"/>
                        <a:pt x="174082" y="183051"/>
                      </a:cubicBezTo>
                      <a:cubicBezTo>
                        <a:pt x="149676" y="183051"/>
                        <a:pt x="131371" y="122034"/>
                        <a:pt x="122218" y="88475"/>
                      </a:cubicBezTo>
                      <a:cubicBezTo>
                        <a:pt x="110015" y="109831"/>
                        <a:pt x="76455" y="149491"/>
                        <a:pt x="30693" y="146441"/>
                      </a:cubicBezTo>
                      <a:cubicBezTo>
                        <a:pt x="18489" y="146441"/>
                        <a:pt x="9337" y="140339"/>
                        <a:pt x="6286" y="131186"/>
                      </a:cubicBezTo>
                      <a:cubicBezTo>
                        <a:pt x="-15070" y="97627"/>
                        <a:pt x="24591" y="6102"/>
                        <a:pt x="27642" y="3051"/>
                      </a:cubicBezTo>
                      <a:cubicBezTo>
                        <a:pt x="27642" y="0"/>
                        <a:pt x="30693" y="0"/>
                        <a:pt x="33743" y="0"/>
                      </a:cubicBezTo>
                      <a:cubicBezTo>
                        <a:pt x="36794" y="0"/>
                        <a:pt x="36794" y="6102"/>
                        <a:pt x="36794" y="6102"/>
                      </a:cubicBezTo>
                      <a:cubicBezTo>
                        <a:pt x="24591" y="30508"/>
                        <a:pt x="184" y="97627"/>
                        <a:pt x="15438" y="122034"/>
                      </a:cubicBezTo>
                      <a:cubicBezTo>
                        <a:pt x="18489" y="128136"/>
                        <a:pt x="24591" y="131186"/>
                        <a:pt x="30693" y="131186"/>
                      </a:cubicBezTo>
                      <a:cubicBezTo>
                        <a:pt x="30693" y="131186"/>
                        <a:pt x="33743" y="131186"/>
                        <a:pt x="33743" y="131186"/>
                      </a:cubicBezTo>
                      <a:cubicBezTo>
                        <a:pt x="85608" y="131186"/>
                        <a:pt x="116116" y="67119"/>
                        <a:pt x="116116" y="67119"/>
                      </a:cubicBezTo>
                      <a:cubicBezTo>
                        <a:pt x="116116" y="64068"/>
                        <a:pt x="119167" y="64068"/>
                        <a:pt x="122218" y="64068"/>
                      </a:cubicBezTo>
                      <a:cubicBezTo>
                        <a:pt x="125269" y="64068"/>
                        <a:pt x="125269" y="67119"/>
                        <a:pt x="128320" y="67119"/>
                      </a:cubicBezTo>
                      <a:cubicBezTo>
                        <a:pt x="140523" y="115932"/>
                        <a:pt x="161879" y="167797"/>
                        <a:pt x="174082" y="167797"/>
                      </a:cubicBezTo>
                      <a:cubicBezTo>
                        <a:pt x="195438" y="167797"/>
                        <a:pt x="219845" y="140339"/>
                        <a:pt x="219845" y="140339"/>
                      </a:cubicBezTo>
                      <a:cubicBezTo>
                        <a:pt x="219845" y="140339"/>
                        <a:pt x="222896" y="137288"/>
                        <a:pt x="222896" y="137288"/>
                      </a:cubicBezTo>
                      <a:lnTo>
                        <a:pt x="222896" y="137288"/>
                      </a:lnTo>
                      <a:cubicBezTo>
                        <a:pt x="225947" y="137288"/>
                        <a:pt x="225947" y="137288"/>
                        <a:pt x="225947" y="140339"/>
                      </a:cubicBezTo>
                      <a:cubicBezTo>
                        <a:pt x="268659" y="192203"/>
                        <a:pt x="341879" y="268475"/>
                        <a:pt x="363235" y="265424"/>
                      </a:cubicBezTo>
                      <a:cubicBezTo>
                        <a:pt x="381540" y="262373"/>
                        <a:pt x="387642" y="146441"/>
                        <a:pt x="384591" y="39661"/>
                      </a:cubicBezTo>
                      <a:cubicBezTo>
                        <a:pt x="384591" y="36610"/>
                        <a:pt x="384591" y="33559"/>
                        <a:pt x="387642" y="33559"/>
                      </a:cubicBezTo>
                      <a:cubicBezTo>
                        <a:pt x="390693" y="33559"/>
                        <a:pt x="393743" y="33559"/>
                        <a:pt x="393743" y="36610"/>
                      </a:cubicBezTo>
                      <a:cubicBezTo>
                        <a:pt x="405947" y="51864"/>
                        <a:pt x="442557" y="88475"/>
                        <a:pt x="460862" y="88475"/>
                      </a:cubicBezTo>
                      <a:cubicBezTo>
                        <a:pt x="476116" y="88475"/>
                        <a:pt x="491371" y="51864"/>
                        <a:pt x="497472" y="24407"/>
                      </a:cubicBezTo>
                      <a:cubicBezTo>
                        <a:pt x="497472" y="21356"/>
                        <a:pt x="500523" y="18305"/>
                        <a:pt x="503574" y="21356"/>
                      </a:cubicBezTo>
                      <a:cubicBezTo>
                        <a:pt x="506625" y="21356"/>
                        <a:pt x="509676" y="24407"/>
                        <a:pt x="506625" y="27458"/>
                      </a:cubicBezTo>
                      <a:cubicBezTo>
                        <a:pt x="503574" y="33559"/>
                        <a:pt x="488320" y="97627"/>
                        <a:pt x="457811" y="97627"/>
                      </a:cubicBezTo>
                      <a:cubicBezTo>
                        <a:pt x="436455" y="97627"/>
                        <a:pt x="408998" y="70169"/>
                        <a:pt x="393743" y="51864"/>
                      </a:cubicBezTo>
                      <a:cubicBezTo>
                        <a:pt x="396794" y="115932"/>
                        <a:pt x="396794" y="265424"/>
                        <a:pt x="363235" y="271525"/>
                      </a:cubicBezTo>
                      <a:cubicBezTo>
                        <a:pt x="366286" y="277627"/>
                        <a:pt x="366286" y="277627"/>
                        <a:pt x="363235" y="277627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46" name="任意多边形: 形状 345">
                  <a:extLst>
                    <a:ext uri="{FF2B5EF4-FFF2-40B4-BE49-F238E27FC236}">
                      <a16:creationId xmlns:a16="http://schemas.microsoft.com/office/drawing/2014/main" id="{DA892B2C-8C44-401C-BC88-65F22C1D43EF}"/>
                    </a:ext>
                  </a:extLst>
                </p:cNvPr>
                <p:cNvSpPr/>
                <p:nvPr/>
              </p:nvSpPr>
              <p:spPr>
                <a:xfrm>
                  <a:off x="4186695" y="4147905"/>
                  <a:ext cx="613191" cy="224999"/>
                </a:xfrm>
                <a:custGeom>
                  <a:avLst/>
                  <a:gdLst>
                    <a:gd name="connsiteX0" fmla="*/ 536186 w 613191"/>
                    <a:gd name="connsiteY0" fmla="*/ 221949 h 224999"/>
                    <a:gd name="connsiteX1" fmla="*/ 450763 w 613191"/>
                    <a:gd name="connsiteY1" fmla="*/ 176186 h 224999"/>
                    <a:gd name="connsiteX2" fmla="*/ 426356 w 613191"/>
                    <a:gd name="connsiteY2" fmla="*/ 203644 h 224999"/>
                    <a:gd name="connsiteX3" fmla="*/ 301271 w 613191"/>
                    <a:gd name="connsiteY3" fmla="*/ 157881 h 224999"/>
                    <a:gd name="connsiteX4" fmla="*/ 270763 w 613191"/>
                    <a:gd name="connsiteY4" fmla="*/ 130424 h 224999"/>
                    <a:gd name="connsiteX5" fmla="*/ 289068 w 613191"/>
                    <a:gd name="connsiteY5" fmla="*/ 206695 h 224999"/>
                    <a:gd name="connsiteX6" fmla="*/ 279915 w 613191"/>
                    <a:gd name="connsiteY6" fmla="*/ 209746 h 224999"/>
                    <a:gd name="connsiteX7" fmla="*/ 142627 w 613191"/>
                    <a:gd name="connsiteY7" fmla="*/ 154830 h 224999"/>
                    <a:gd name="connsiteX8" fmla="*/ 96864 w 613191"/>
                    <a:gd name="connsiteY8" fmla="*/ 209746 h 224999"/>
                    <a:gd name="connsiteX9" fmla="*/ 96864 w 613191"/>
                    <a:gd name="connsiteY9" fmla="*/ 209746 h 224999"/>
                    <a:gd name="connsiteX10" fmla="*/ 2288 w 613191"/>
                    <a:gd name="connsiteY10" fmla="*/ 160932 h 224999"/>
                    <a:gd name="connsiteX11" fmla="*/ 2288 w 613191"/>
                    <a:gd name="connsiteY11" fmla="*/ 151780 h 224999"/>
                    <a:gd name="connsiteX12" fmla="*/ 11441 w 613191"/>
                    <a:gd name="connsiteY12" fmla="*/ 151780 h 224999"/>
                    <a:gd name="connsiteX13" fmla="*/ 99915 w 613191"/>
                    <a:gd name="connsiteY13" fmla="*/ 197542 h 224999"/>
                    <a:gd name="connsiteX14" fmla="*/ 99915 w 613191"/>
                    <a:gd name="connsiteY14" fmla="*/ 197542 h 224999"/>
                    <a:gd name="connsiteX15" fmla="*/ 136525 w 613191"/>
                    <a:gd name="connsiteY15" fmla="*/ 142627 h 224999"/>
                    <a:gd name="connsiteX16" fmla="*/ 139576 w 613191"/>
                    <a:gd name="connsiteY16" fmla="*/ 139576 h 224999"/>
                    <a:gd name="connsiteX17" fmla="*/ 145678 w 613191"/>
                    <a:gd name="connsiteY17" fmla="*/ 139576 h 224999"/>
                    <a:gd name="connsiteX18" fmla="*/ 286017 w 613191"/>
                    <a:gd name="connsiteY18" fmla="*/ 197542 h 224999"/>
                    <a:gd name="connsiteX19" fmla="*/ 255509 w 613191"/>
                    <a:gd name="connsiteY19" fmla="*/ 109068 h 224999"/>
                    <a:gd name="connsiteX20" fmla="*/ 258559 w 613191"/>
                    <a:gd name="connsiteY20" fmla="*/ 102966 h 224999"/>
                    <a:gd name="connsiteX21" fmla="*/ 264661 w 613191"/>
                    <a:gd name="connsiteY21" fmla="*/ 102966 h 224999"/>
                    <a:gd name="connsiteX22" fmla="*/ 313474 w 613191"/>
                    <a:gd name="connsiteY22" fmla="*/ 148729 h 224999"/>
                    <a:gd name="connsiteX23" fmla="*/ 429407 w 613191"/>
                    <a:gd name="connsiteY23" fmla="*/ 191441 h 224999"/>
                    <a:gd name="connsiteX24" fmla="*/ 450763 w 613191"/>
                    <a:gd name="connsiteY24" fmla="*/ 163983 h 224999"/>
                    <a:gd name="connsiteX25" fmla="*/ 453814 w 613191"/>
                    <a:gd name="connsiteY25" fmla="*/ 160932 h 224999"/>
                    <a:gd name="connsiteX26" fmla="*/ 459915 w 613191"/>
                    <a:gd name="connsiteY26" fmla="*/ 163983 h 224999"/>
                    <a:gd name="connsiteX27" fmla="*/ 545339 w 613191"/>
                    <a:gd name="connsiteY27" fmla="*/ 212797 h 224999"/>
                    <a:gd name="connsiteX28" fmla="*/ 548390 w 613191"/>
                    <a:gd name="connsiteY28" fmla="*/ 212797 h 224999"/>
                    <a:gd name="connsiteX29" fmla="*/ 588051 w 613191"/>
                    <a:gd name="connsiteY29" fmla="*/ 188390 h 224999"/>
                    <a:gd name="connsiteX30" fmla="*/ 575848 w 613191"/>
                    <a:gd name="connsiteY30" fmla="*/ 99915 h 224999"/>
                    <a:gd name="connsiteX31" fmla="*/ 481271 w 613191"/>
                    <a:gd name="connsiteY31" fmla="*/ 11441 h 224999"/>
                    <a:gd name="connsiteX32" fmla="*/ 481271 w 613191"/>
                    <a:gd name="connsiteY32" fmla="*/ 2288 h 224999"/>
                    <a:gd name="connsiteX33" fmla="*/ 490424 w 613191"/>
                    <a:gd name="connsiteY33" fmla="*/ 2288 h 224999"/>
                    <a:gd name="connsiteX34" fmla="*/ 585000 w 613191"/>
                    <a:gd name="connsiteY34" fmla="*/ 90763 h 224999"/>
                    <a:gd name="connsiteX35" fmla="*/ 597203 w 613191"/>
                    <a:gd name="connsiteY35" fmla="*/ 194491 h 224999"/>
                    <a:gd name="connsiteX36" fmla="*/ 548390 w 613191"/>
                    <a:gd name="connsiteY36" fmla="*/ 225000 h 224999"/>
                    <a:gd name="connsiteX37" fmla="*/ 536186 w 613191"/>
                    <a:gd name="connsiteY37" fmla="*/ 221949 h 2249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613191" h="224999">
                      <a:moveTo>
                        <a:pt x="536186" y="221949"/>
                      </a:moveTo>
                      <a:cubicBezTo>
                        <a:pt x="499576" y="221949"/>
                        <a:pt x="462966" y="191441"/>
                        <a:pt x="450763" y="176186"/>
                      </a:cubicBezTo>
                      <a:cubicBezTo>
                        <a:pt x="444661" y="188390"/>
                        <a:pt x="438559" y="197542"/>
                        <a:pt x="426356" y="203644"/>
                      </a:cubicBezTo>
                      <a:cubicBezTo>
                        <a:pt x="386695" y="218898"/>
                        <a:pt x="319576" y="173136"/>
                        <a:pt x="301271" y="157881"/>
                      </a:cubicBezTo>
                      <a:lnTo>
                        <a:pt x="270763" y="130424"/>
                      </a:lnTo>
                      <a:cubicBezTo>
                        <a:pt x="282966" y="157881"/>
                        <a:pt x="295169" y="194491"/>
                        <a:pt x="289068" y="206695"/>
                      </a:cubicBezTo>
                      <a:cubicBezTo>
                        <a:pt x="286017" y="209746"/>
                        <a:pt x="282966" y="209746"/>
                        <a:pt x="279915" y="209746"/>
                      </a:cubicBezTo>
                      <a:cubicBezTo>
                        <a:pt x="261610" y="206695"/>
                        <a:pt x="170085" y="167034"/>
                        <a:pt x="142627" y="154830"/>
                      </a:cubicBezTo>
                      <a:cubicBezTo>
                        <a:pt x="139576" y="170085"/>
                        <a:pt x="124322" y="209746"/>
                        <a:pt x="96864" y="209746"/>
                      </a:cubicBezTo>
                      <a:cubicBezTo>
                        <a:pt x="96864" y="209746"/>
                        <a:pt x="96864" y="209746"/>
                        <a:pt x="96864" y="209746"/>
                      </a:cubicBezTo>
                      <a:cubicBezTo>
                        <a:pt x="63305" y="209746"/>
                        <a:pt x="2288" y="160932"/>
                        <a:pt x="2288" y="160932"/>
                      </a:cubicBezTo>
                      <a:cubicBezTo>
                        <a:pt x="-763" y="157881"/>
                        <a:pt x="-763" y="154830"/>
                        <a:pt x="2288" y="151780"/>
                      </a:cubicBezTo>
                      <a:cubicBezTo>
                        <a:pt x="5339" y="148729"/>
                        <a:pt x="8390" y="148729"/>
                        <a:pt x="11441" y="151780"/>
                      </a:cubicBezTo>
                      <a:cubicBezTo>
                        <a:pt x="26695" y="163983"/>
                        <a:pt x="75508" y="197542"/>
                        <a:pt x="99915" y="197542"/>
                      </a:cubicBezTo>
                      <a:lnTo>
                        <a:pt x="99915" y="197542"/>
                      </a:lnTo>
                      <a:cubicBezTo>
                        <a:pt x="121271" y="197542"/>
                        <a:pt x="133475" y="157881"/>
                        <a:pt x="136525" y="142627"/>
                      </a:cubicBezTo>
                      <a:cubicBezTo>
                        <a:pt x="136525" y="139576"/>
                        <a:pt x="136525" y="139576"/>
                        <a:pt x="139576" y="139576"/>
                      </a:cubicBezTo>
                      <a:cubicBezTo>
                        <a:pt x="139576" y="139576"/>
                        <a:pt x="142627" y="139576"/>
                        <a:pt x="145678" y="139576"/>
                      </a:cubicBezTo>
                      <a:cubicBezTo>
                        <a:pt x="179237" y="154830"/>
                        <a:pt x="267712" y="194491"/>
                        <a:pt x="286017" y="197542"/>
                      </a:cubicBezTo>
                      <a:cubicBezTo>
                        <a:pt x="289068" y="188390"/>
                        <a:pt x="273814" y="145678"/>
                        <a:pt x="255509" y="109068"/>
                      </a:cubicBezTo>
                      <a:cubicBezTo>
                        <a:pt x="255509" y="106017"/>
                        <a:pt x="255509" y="102966"/>
                        <a:pt x="258559" y="102966"/>
                      </a:cubicBezTo>
                      <a:cubicBezTo>
                        <a:pt x="261610" y="99915"/>
                        <a:pt x="264661" y="102966"/>
                        <a:pt x="264661" y="102966"/>
                      </a:cubicBezTo>
                      <a:lnTo>
                        <a:pt x="313474" y="148729"/>
                      </a:lnTo>
                      <a:cubicBezTo>
                        <a:pt x="350085" y="176186"/>
                        <a:pt x="401949" y="203644"/>
                        <a:pt x="429407" y="191441"/>
                      </a:cubicBezTo>
                      <a:cubicBezTo>
                        <a:pt x="438559" y="188390"/>
                        <a:pt x="447712" y="179237"/>
                        <a:pt x="450763" y="163983"/>
                      </a:cubicBezTo>
                      <a:cubicBezTo>
                        <a:pt x="450763" y="160932"/>
                        <a:pt x="453814" y="160932"/>
                        <a:pt x="453814" y="160932"/>
                      </a:cubicBezTo>
                      <a:cubicBezTo>
                        <a:pt x="456864" y="160932"/>
                        <a:pt x="456864" y="160932"/>
                        <a:pt x="459915" y="163983"/>
                      </a:cubicBezTo>
                      <a:cubicBezTo>
                        <a:pt x="459915" y="163983"/>
                        <a:pt x="505678" y="212797"/>
                        <a:pt x="545339" y="212797"/>
                      </a:cubicBezTo>
                      <a:cubicBezTo>
                        <a:pt x="545339" y="212797"/>
                        <a:pt x="548390" y="212797"/>
                        <a:pt x="548390" y="212797"/>
                      </a:cubicBezTo>
                      <a:cubicBezTo>
                        <a:pt x="563644" y="212797"/>
                        <a:pt x="575848" y="203644"/>
                        <a:pt x="588051" y="188390"/>
                      </a:cubicBezTo>
                      <a:cubicBezTo>
                        <a:pt x="603305" y="163983"/>
                        <a:pt x="615508" y="136525"/>
                        <a:pt x="575848" y="99915"/>
                      </a:cubicBezTo>
                      <a:cubicBezTo>
                        <a:pt x="530085" y="57203"/>
                        <a:pt x="481271" y="11441"/>
                        <a:pt x="481271" y="11441"/>
                      </a:cubicBezTo>
                      <a:cubicBezTo>
                        <a:pt x="478220" y="8390"/>
                        <a:pt x="478220" y="5339"/>
                        <a:pt x="481271" y="2288"/>
                      </a:cubicBezTo>
                      <a:cubicBezTo>
                        <a:pt x="484322" y="-763"/>
                        <a:pt x="487373" y="-763"/>
                        <a:pt x="490424" y="2288"/>
                      </a:cubicBezTo>
                      <a:cubicBezTo>
                        <a:pt x="490424" y="2288"/>
                        <a:pt x="542288" y="48051"/>
                        <a:pt x="585000" y="90763"/>
                      </a:cubicBezTo>
                      <a:cubicBezTo>
                        <a:pt x="633813" y="139576"/>
                        <a:pt x="606356" y="179237"/>
                        <a:pt x="597203" y="194491"/>
                      </a:cubicBezTo>
                      <a:cubicBezTo>
                        <a:pt x="585000" y="212797"/>
                        <a:pt x="569746" y="221949"/>
                        <a:pt x="548390" y="225000"/>
                      </a:cubicBezTo>
                      <a:cubicBezTo>
                        <a:pt x="539237" y="221949"/>
                        <a:pt x="536186" y="221949"/>
                        <a:pt x="536186" y="221949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47" name="任意多边形: 形状 346">
                  <a:extLst>
                    <a:ext uri="{FF2B5EF4-FFF2-40B4-BE49-F238E27FC236}">
                      <a16:creationId xmlns:a16="http://schemas.microsoft.com/office/drawing/2014/main" id="{B483D76E-ED52-4B3D-9941-5D810783E638}"/>
                    </a:ext>
                  </a:extLst>
                </p:cNvPr>
                <p:cNvSpPr/>
                <p:nvPr/>
              </p:nvSpPr>
              <p:spPr>
                <a:xfrm>
                  <a:off x="2733729" y="4311888"/>
                  <a:ext cx="905339" cy="170847"/>
                </a:xfrm>
                <a:custGeom>
                  <a:avLst/>
                  <a:gdLst>
                    <a:gd name="connsiteX0" fmla="*/ 64068 w 905339"/>
                    <a:gd name="connsiteY0" fmla="*/ 170848 h 170847"/>
                    <a:gd name="connsiteX1" fmla="*/ 12203 w 905339"/>
                    <a:gd name="connsiteY1" fmla="*/ 155593 h 170847"/>
                    <a:gd name="connsiteX2" fmla="*/ 0 w 905339"/>
                    <a:gd name="connsiteY2" fmla="*/ 131187 h 170847"/>
                    <a:gd name="connsiteX3" fmla="*/ 91525 w 905339"/>
                    <a:gd name="connsiteY3" fmla="*/ 6102 h 170847"/>
                    <a:gd name="connsiteX4" fmla="*/ 100678 w 905339"/>
                    <a:gd name="connsiteY4" fmla="*/ 6102 h 170847"/>
                    <a:gd name="connsiteX5" fmla="*/ 100678 w 905339"/>
                    <a:gd name="connsiteY5" fmla="*/ 15254 h 170847"/>
                    <a:gd name="connsiteX6" fmla="*/ 12203 w 905339"/>
                    <a:gd name="connsiteY6" fmla="*/ 131187 h 170847"/>
                    <a:gd name="connsiteX7" fmla="*/ 18305 w 905339"/>
                    <a:gd name="connsiteY7" fmla="*/ 146441 h 170847"/>
                    <a:gd name="connsiteX8" fmla="*/ 320339 w 905339"/>
                    <a:gd name="connsiteY8" fmla="*/ 33560 h 170847"/>
                    <a:gd name="connsiteX9" fmla="*/ 326441 w 905339"/>
                    <a:gd name="connsiteY9" fmla="*/ 33560 h 170847"/>
                    <a:gd name="connsiteX10" fmla="*/ 329492 w 905339"/>
                    <a:gd name="connsiteY10" fmla="*/ 36610 h 170847"/>
                    <a:gd name="connsiteX11" fmla="*/ 366102 w 905339"/>
                    <a:gd name="connsiteY11" fmla="*/ 79322 h 170847"/>
                    <a:gd name="connsiteX12" fmla="*/ 478983 w 905339"/>
                    <a:gd name="connsiteY12" fmla="*/ 18305 h 170847"/>
                    <a:gd name="connsiteX13" fmla="*/ 485085 w 905339"/>
                    <a:gd name="connsiteY13" fmla="*/ 18305 h 170847"/>
                    <a:gd name="connsiteX14" fmla="*/ 488136 w 905339"/>
                    <a:gd name="connsiteY14" fmla="*/ 24407 h 170847"/>
                    <a:gd name="connsiteX15" fmla="*/ 469831 w 905339"/>
                    <a:gd name="connsiteY15" fmla="*/ 143390 h 170847"/>
                    <a:gd name="connsiteX16" fmla="*/ 530848 w 905339"/>
                    <a:gd name="connsiteY16" fmla="*/ 140339 h 170847"/>
                    <a:gd name="connsiteX17" fmla="*/ 716949 w 905339"/>
                    <a:gd name="connsiteY17" fmla="*/ 3051 h 170847"/>
                    <a:gd name="connsiteX18" fmla="*/ 723051 w 905339"/>
                    <a:gd name="connsiteY18" fmla="*/ 0 h 170847"/>
                    <a:gd name="connsiteX19" fmla="*/ 729153 w 905339"/>
                    <a:gd name="connsiteY19" fmla="*/ 3051 h 170847"/>
                    <a:gd name="connsiteX20" fmla="*/ 787119 w 905339"/>
                    <a:gd name="connsiteY20" fmla="*/ 12203 h 170847"/>
                    <a:gd name="connsiteX21" fmla="*/ 793220 w 905339"/>
                    <a:gd name="connsiteY21" fmla="*/ 12203 h 170847"/>
                    <a:gd name="connsiteX22" fmla="*/ 793220 w 905339"/>
                    <a:gd name="connsiteY22" fmla="*/ 18305 h 170847"/>
                    <a:gd name="connsiteX23" fmla="*/ 784068 w 905339"/>
                    <a:gd name="connsiteY23" fmla="*/ 97627 h 170847"/>
                    <a:gd name="connsiteX24" fmla="*/ 787119 w 905339"/>
                    <a:gd name="connsiteY24" fmla="*/ 100678 h 170847"/>
                    <a:gd name="connsiteX25" fmla="*/ 893898 w 905339"/>
                    <a:gd name="connsiteY25" fmla="*/ 24407 h 170847"/>
                    <a:gd name="connsiteX26" fmla="*/ 903051 w 905339"/>
                    <a:gd name="connsiteY26" fmla="*/ 24407 h 170847"/>
                    <a:gd name="connsiteX27" fmla="*/ 903051 w 905339"/>
                    <a:gd name="connsiteY27" fmla="*/ 33560 h 170847"/>
                    <a:gd name="connsiteX28" fmla="*/ 787119 w 905339"/>
                    <a:gd name="connsiteY28" fmla="*/ 112881 h 170847"/>
                    <a:gd name="connsiteX29" fmla="*/ 774915 w 905339"/>
                    <a:gd name="connsiteY29" fmla="*/ 106780 h 170847"/>
                    <a:gd name="connsiteX30" fmla="*/ 781017 w 905339"/>
                    <a:gd name="connsiteY30" fmla="*/ 24407 h 170847"/>
                    <a:gd name="connsiteX31" fmla="*/ 726102 w 905339"/>
                    <a:gd name="connsiteY31" fmla="*/ 12203 h 170847"/>
                    <a:gd name="connsiteX32" fmla="*/ 536949 w 905339"/>
                    <a:gd name="connsiteY32" fmla="*/ 146441 h 170847"/>
                    <a:gd name="connsiteX33" fmla="*/ 463729 w 905339"/>
                    <a:gd name="connsiteY33" fmla="*/ 146441 h 170847"/>
                    <a:gd name="connsiteX34" fmla="*/ 469831 w 905339"/>
                    <a:gd name="connsiteY34" fmla="*/ 39661 h 170847"/>
                    <a:gd name="connsiteX35" fmla="*/ 366102 w 905339"/>
                    <a:gd name="connsiteY35" fmla="*/ 82373 h 170847"/>
                    <a:gd name="connsiteX36" fmla="*/ 326441 w 905339"/>
                    <a:gd name="connsiteY36" fmla="*/ 39661 h 170847"/>
                    <a:gd name="connsiteX37" fmla="*/ 64068 w 905339"/>
                    <a:gd name="connsiteY37" fmla="*/ 170848 h 170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905339" h="170847">
                      <a:moveTo>
                        <a:pt x="64068" y="170848"/>
                      </a:moveTo>
                      <a:cubicBezTo>
                        <a:pt x="42712" y="170848"/>
                        <a:pt x="24407" y="164746"/>
                        <a:pt x="12203" y="155593"/>
                      </a:cubicBezTo>
                      <a:cubicBezTo>
                        <a:pt x="6102" y="149492"/>
                        <a:pt x="0" y="140339"/>
                        <a:pt x="0" y="131187"/>
                      </a:cubicBezTo>
                      <a:cubicBezTo>
                        <a:pt x="0" y="82373"/>
                        <a:pt x="88475" y="9153"/>
                        <a:pt x="91525" y="6102"/>
                      </a:cubicBezTo>
                      <a:cubicBezTo>
                        <a:pt x="94576" y="3051"/>
                        <a:pt x="97627" y="3051"/>
                        <a:pt x="100678" y="6102"/>
                      </a:cubicBezTo>
                      <a:cubicBezTo>
                        <a:pt x="103729" y="9153"/>
                        <a:pt x="103729" y="12203"/>
                        <a:pt x="100678" y="15254"/>
                      </a:cubicBezTo>
                      <a:cubicBezTo>
                        <a:pt x="100678" y="15254"/>
                        <a:pt x="12203" y="88475"/>
                        <a:pt x="12203" y="131187"/>
                      </a:cubicBezTo>
                      <a:cubicBezTo>
                        <a:pt x="12203" y="137288"/>
                        <a:pt x="15254" y="143390"/>
                        <a:pt x="18305" y="146441"/>
                      </a:cubicBezTo>
                      <a:cubicBezTo>
                        <a:pt x="54915" y="180000"/>
                        <a:pt x="173898" y="149492"/>
                        <a:pt x="320339" y="33560"/>
                      </a:cubicBezTo>
                      <a:cubicBezTo>
                        <a:pt x="320339" y="33560"/>
                        <a:pt x="323390" y="30508"/>
                        <a:pt x="326441" y="33560"/>
                      </a:cubicBezTo>
                      <a:cubicBezTo>
                        <a:pt x="329492" y="33560"/>
                        <a:pt x="329492" y="36610"/>
                        <a:pt x="329492" y="36610"/>
                      </a:cubicBezTo>
                      <a:cubicBezTo>
                        <a:pt x="329492" y="36610"/>
                        <a:pt x="338644" y="73220"/>
                        <a:pt x="366102" y="79322"/>
                      </a:cubicBezTo>
                      <a:cubicBezTo>
                        <a:pt x="393559" y="88475"/>
                        <a:pt x="433220" y="67119"/>
                        <a:pt x="478983" y="18305"/>
                      </a:cubicBezTo>
                      <a:cubicBezTo>
                        <a:pt x="482034" y="15254"/>
                        <a:pt x="485085" y="15254"/>
                        <a:pt x="485085" y="18305"/>
                      </a:cubicBezTo>
                      <a:cubicBezTo>
                        <a:pt x="488136" y="21356"/>
                        <a:pt x="488136" y="21356"/>
                        <a:pt x="488136" y="24407"/>
                      </a:cubicBezTo>
                      <a:cubicBezTo>
                        <a:pt x="475932" y="48814"/>
                        <a:pt x="448475" y="122034"/>
                        <a:pt x="469831" y="143390"/>
                      </a:cubicBezTo>
                      <a:cubicBezTo>
                        <a:pt x="478983" y="152542"/>
                        <a:pt x="500339" y="152542"/>
                        <a:pt x="530848" y="140339"/>
                      </a:cubicBezTo>
                      <a:cubicBezTo>
                        <a:pt x="662034" y="88475"/>
                        <a:pt x="716949" y="3051"/>
                        <a:pt x="716949" y="3051"/>
                      </a:cubicBezTo>
                      <a:cubicBezTo>
                        <a:pt x="716949" y="0"/>
                        <a:pt x="720000" y="0"/>
                        <a:pt x="723051" y="0"/>
                      </a:cubicBezTo>
                      <a:cubicBezTo>
                        <a:pt x="726102" y="0"/>
                        <a:pt x="726102" y="0"/>
                        <a:pt x="729153" y="3051"/>
                      </a:cubicBezTo>
                      <a:cubicBezTo>
                        <a:pt x="729153" y="3051"/>
                        <a:pt x="741356" y="27458"/>
                        <a:pt x="787119" y="12203"/>
                      </a:cubicBezTo>
                      <a:cubicBezTo>
                        <a:pt x="790170" y="12203"/>
                        <a:pt x="790170" y="12203"/>
                        <a:pt x="793220" y="12203"/>
                      </a:cubicBezTo>
                      <a:cubicBezTo>
                        <a:pt x="793220" y="12203"/>
                        <a:pt x="796271" y="15254"/>
                        <a:pt x="793220" y="18305"/>
                      </a:cubicBezTo>
                      <a:cubicBezTo>
                        <a:pt x="784068" y="42712"/>
                        <a:pt x="774915" y="88475"/>
                        <a:pt x="784068" y="97627"/>
                      </a:cubicBezTo>
                      <a:cubicBezTo>
                        <a:pt x="784068" y="97627"/>
                        <a:pt x="787119" y="100678"/>
                        <a:pt x="787119" y="100678"/>
                      </a:cubicBezTo>
                      <a:cubicBezTo>
                        <a:pt x="805424" y="100678"/>
                        <a:pt x="863390" y="54915"/>
                        <a:pt x="893898" y="24407"/>
                      </a:cubicBezTo>
                      <a:cubicBezTo>
                        <a:pt x="896949" y="21356"/>
                        <a:pt x="900000" y="21356"/>
                        <a:pt x="903051" y="24407"/>
                      </a:cubicBezTo>
                      <a:cubicBezTo>
                        <a:pt x="906102" y="27458"/>
                        <a:pt x="906102" y="30508"/>
                        <a:pt x="903051" y="33560"/>
                      </a:cubicBezTo>
                      <a:cubicBezTo>
                        <a:pt x="893898" y="42712"/>
                        <a:pt x="817627" y="112881"/>
                        <a:pt x="787119" y="112881"/>
                      </a:cubicBezTo>
                      <a:cubicBezTo>
                        <a:pt x="781017" y="112881"/>
                        <a:pt x="777966" y="109831"/>
                        <a:pt x="774915" y="106780"/>
                      </a:cubicBezTo>
                      <a:cubicBezTo>
                        <a:pt x="762712" y="91525"/>
                        <a:pt x="774915" y="45763"/>
                        <a:pt x="781017" y="24407"/>
                      </a:cubicBezTo>
                      <a:cubicBezTo>
                        <a:pt x="750509" y="30508"/>
                        <a:pt x="732203" y="21356"/>
                        <a:pt x="726102" y="12203"/>
                      </a:cubicBezTo>
                      <a:cubicBezTo>
                        <a:pt x="710847" y="33560"/>
                        <a:pt x="652881" y="100678"/>
                        <a:pt x="536949" y="146441"/>
                      </a:cubicBezTo>
                      <a:cubicBezTo>
                        <a:pt x="503390" y="161695"/>
                        <a:pt x="478983" y="158644"/>
                        <a:pt x="463729" y="146441"/>
                      </a:cubicBezTo>
                      <a:cubicBezTo>
                        <a:pt x="442373" y="122034"/>
                        <a:pt x="457627" y="70170"/>
                        <a:pt x="469831" y="39661"/>
                      </a:cubicBezTo>
                      <a:cubicBezTo>
                        <a:pt x="427119" y="76271"/>
                        <a:pt x="393559" y="91525"/>
                        <a:pt x="366102" y="82373"/>
                      </a:cubicBezTo>
                      <a:cubicBezTo>
                        <a:pt x="341695" y="76271"/>
                        <a:pt x="329492" y="51865"/>
                        <a:pt x="326441" y="39661"/>
                      </a:cubicBezTo>
                      <a:cubicBezTo>
                        <a:pt x="225763" y="125085"/>
                        <a:pt x="128136" y="170848"/>
                        <a:pt x="64068" y="170848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48" name="任意多边形: 形状 347">
                  <a:extLst>
                    <a:ext uri="{FF2B5EF4-FFF2-40B4-BE49-F238E27FC236}">
                      <a16:creationId xmlns:a16="http://schemas.microsoft.com/office/drawing/2014/main" id="{18896C1E-A509-4CBF-81BD-A6751877D030}"/>
                    </a:ext>
                  </a:extLst>
                </p:cNvPr>
                <p:cNvSpPr/>
                <p:nvPr/>
              </p:nvSpPr>
              <p:spPr>
                <a:xfrm>
                  <a:off x="2617067" y="5102820"/>
                  <a:ext cx="964034" cy="243305"/>
                </a:xfrm>
                <a:custGeom>
                  <a:avLst/>
                  <a:gdLst>
                    <a:gd name="connsiteX0" fmla="*/ 571238 w 964034"/>
                    <a:gd name="connsiteY0" fmla="*/ 240254 h 243305"/>
                    <a:gd name="connsiteX1" fmla="*/ 525476 w 964034"/>
                    <a:gd name="connsiteY1" fmla="*/ 221949 h 243305"/>
                    <a:gd name="connsiteX2" fmla="*/ 498018 w 964034"/>
                    <a:gd name="connsiteY2" fmla="*/ 87712 h 243305"/>
                    <a:gd name="connsiteX3" fmla="*/ 440052 w 964034"/>
                    <a:gd name="connsiteY3" fmla="*/ 75508 h 243305"/>
                    <a:gd name="connsiteX4" fmla="*/ 418696 w 964034"/>
                    <a:gd name="connsiteY4" fmla="*/ 32797 h 243305"/>
                    <a:gd name="connsiteX5" fmla="*/ 238696 w 964034"/>
                    <a:gd name="connsiteY5" fmla="*/ 167034 h 243305"/>
                    <a:gd name="connsiteX6" fmla="*/ 98357 w 964034"/>
                    <a:gd name="connsiteY6" fmla="*/ 191441 h 243305"/>
                    <a:gd name="connsiteX7" fmla="*/ 83103 w 964034"/>
                    <a:gd name="connsiteY7" fmla="*/ 170085 h 243305"/>
                    <a:gd name="connsiteX8" fmla="*/ 107510 w 964034"/>
                    <a:gd name="connsiteY8" fmla="*/ 99915 h 243305"/>
                    <a:gd name="connsiteX9" fmla="*/ 15984 w 964034"/>
                    <a:gd name="connsiteY9" fmla="*/ 130424 h 243305"/>
                    <a:gd name="connsiteX10" fmla="*/ 730 w 964034"/>
                    <a:gd name="connsiteY10" fmla="*/ 121271 h 243305"/>
                    <a:gd name="connsiteX11" fmla="*/ 104459 w 964034"/>
                    <a:gd name="connsiteY11" fmla="*/ 2288 h 243305"/>
                    <a:gd name="connsiteX12" fmla="*/ 113611 w 964034"/>
                    <a:gd name="connsiteY12" fmla="*/ 2288 h 243305"/>
                    <a:gd name="connsiteX13" fmla="*/ 113611 w 964034"/>
                    <a:gd name="connsiteY13" fmla="*/ 11441 h 243305"/>
                    <a:gd name="connsiteX14" fmla="*/ 12933 w 964034"/>
                    <a:gd name="connsiteY14" fmla="*/ 118220 h 243305"/>
                    <a:gd name="connsiteX15" fmla="*/ 12933 w 964034"/>
                    <a:gd name="connsiteY15" fmla="*/ 118220 h 243305"/>
                    <a:gd name="connsiteX16" fmla="*/ 19035 w 964034"/>
                    <a:gd name="connsiteY16" fmla="*/ 118220 h 243305"/>
                    <a:gd name="connsiteX17" fmla="*/ 125815 w 964034"/>
                    <a:gd name="connsiteY17" fmla="*/ 75508 h 243305"/>
                    <a:gd name="connsiteX18" fmla="*/ 131916 w 964034"/>
                    <a:gd name="connsiteY18" fmla="*/ 75508 h 243305"/>
                    <a:gd name="connsiteX19" fmla="*/ 131916 w 964034"/>
                    <a:gd name="connsiteY19" fmla="*/ 81610 h 243305"/>
                    <a:gd name="connsiteX20" fmla="*/ 95306 w 964034"/>
                    <a:gd name="connsiteY20" fmla="*/ 167034 h 243305"/>
                    <a:gd name="connsiteX21" fmla="*/ 104459 w 964034"/>
                    <a:gd name="connsiteY21" fmla="*/ 182288 h 243305"/>
                    <a:gd name="connsiteX22" fmla="*/ 418696 w 964034"/>
                    <a:gd name="connsiteY22" fmla="*/ 14492 h 243305"/>
                    <a:gd name="connsiteX23" fmla="*/ 424798 w 964034"/>
                    <a:gd name="connsiteY23" fmla="*/ 11441 h 243305"/>
                    <a:gd name="connsiteX24" fmla="*/ 427849 w 964034"/>
                    <a:gd name="connsiteY24" fmla="*/ 17542 h 243305"/>
                    <a:gd name="connsiteX25" fmla="*/ 446154 w 964034"/>
                    <a:gd name="connsiteY25" fmla="*/ 66356 h 243305"/>
                    <a:gd name="connsiteX26" fmla="*/ 501069 w 964034"/>
                    <a:gd name="connsiteY26" fmla="*/ 75508 h 243305"/>
                    <a:gd name="connsiteX27" fmla="*/ 507171 w 964034"/>
                    <a:gd name="connsiteY27" fmla="*/ 75508 h 243305"/>
                    <a:gd name="connsiteX28" fmla="*/ 510221 w 964034"/>
                    <a:gd name="connsiteY28" fmla="*/ 81610 h 243305"/>
                    <a:gd name="connsiteX29" fmla="*/ 531577 w 964034"/>
                    <a:gd name="connsiteY29" fmla="*/ 215847 h 243305"/>
                    <a:gd name="connsiteX30" fmla="*/ 580391 w 964034"/>
                    <a:gd name="connsiteY30" fmla="*/ 231102 h 243305"/>
                    <a:gd name="connsiteX31" fmla="*/ 797001 w 964034"/>
                    <a:gd name="connsiteY31" fmla="*/ 84661 h 243305"/>
                    <a:gd name="connsiteX32" fmla="*/ 803103 w 964034"/>
                    <a:gd name="connsiteY32" fmla="*/ 84661 h 243305"/>
                    <a:gd name="connsiteX33" fmla="*/ 806154 w 964034"/>
                    <a:gd name="connsiteY33" fmla="*/ 90763 h 243305"/>
                    <a:gd name="connsiteX34" fmla="*/ 815306 w 964034"/>
                    <a:gd name="connsiteY34" fmla="*/ 188390 h 243305"/>
                    <a:gd name="connsiteX35" fmla="*/ 827510 w 964034"/>
                    <a:gd name="connsiteY35" fmla="*/ 194492 h 243305"/>
                    <a:gd name="connsiteX36" fmla="*/ 952594 w 964034"/>
                    <a:gd name="connsiteY36" fmla="*/ 118220 h 243305"/>
                    <a:gd name="connsiteX37" fmla="*/ 961747 w 964034"/>
                    <a:gd name="connsiteY37" fmla="*/ 118220 h 243305"/>
                    <a:gd name="connsiteX38" fmla="*/ 961747 w 964034"/>
                    <a:gd name="connsiteY38" fmla="*/ 127373 h 243305"/>
                    <a:gd name="connsiteX39" fmla="*/ 827510 w 964034"/>
                    <a:gd name="connsiteY39" fmla="*/ 206695 h 243305"/>
                    <a:gd name="connsiteX40" fmla="*/ 806154 w 964034"/>
                    <a:gd name="connsiteY40" fmla="*/ 197542 h 243305"/>
                    <a:gd name="connsiteX41" fmla="*/ 793950 w 964034"/>
                    <a:gd name="connsiteY41" fmla="*/ 106017 h 243305"/>
                    <a:gd name="connsiteX42" fmla="*/ 583442 w 964034"/>
                    <a:gd name="connsiteY42" fmla="*/ 243305 h 243305"/>
                    <a:gd name="connsiteX43" fmla="*/ 571238 w 964034"/>
                    <a:gd name="connsiteY43" fmla="*/ 240254 h 243305"/>
                    <a:gd name="connsiteX44" fmla="*/ 12933 w 964034"/>
                    <a:gd name="connsiteY44" fmla="*/ 118220 h 243305"/>
                    <a:gd name="connsiteX45" fmla="*/ 12933 w 964034"/>
                    <a:gd name="connsiteY45" fmla="*/ 118220 h 243305"/>
                    <a:gd name="connsiteX46" fmla="*/ 12933 w 964034"/>
                    <a:gd name="connsiteY46" fmla="*/ 118220 h 243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</a:cxnLst>
                  <a:rect l="l" t="t" r="r" b="b"/>
                  <a:pathLst>
                    <a:path w="964034" h="243305">
                      <a:moveTo>
                        <a:pt x="571238" y="240254"/>
                      </a:moveTo>
                      <a:cubicBezTo>
                        <a:pt x="552933" y="240254"/>
                        <a:pt x="537679" y="234153"/>
                        <a:pt x="525476" y="221949"/>
                      </a:cubicBezTo>
                      <a:cubicBezTo>
                        <a:pt x="491916" y="185339"/>
                        <a:pt x="494967" y="112119"/>
                        <a:pt x="498018" y="87712"/>
                      </a:cubicBezTo>
                      <a:cubicBezTo>
                        <a:pt x="473611" y="90763"/>
                        <a:pt x="455306" y="87712"/>
                        <a:pt x="440052" y="75508"/>
                      </a:cubicBezTo>
                      <a:cubicBezTo>
                        <a:pt x="424798" y="63305"/>
                        <a:pt x="418696" y="45000"/>
                        <a:pt x="418696" y="32797"/>
                      </a:cubicBezTo>
                      <a:cubicBezTo>
                        <a:pt x="372933" y="87712"/>
                        <a:pt x="305815" y="133475"/>
                        <a:pt x="238696" y="167034"/>
                      </a:cubicBezTo>
                      <a:cubicBezTo>
                        <a:pt x="174628" y="197542"/>
                        <a:pt x="119713" y="206695"/>
                        <a:pt x="98357" y="191441"/>
                      </a:cubicBezTo>
                      <a:cubicBezTo>
                        <a:pt x="89204" y="185339"/>
                        <a:pt x="86154" y="179237"/>
                        <a:pt x="83103" y="170085"/>
                      </a:cubicBezTo>
                      <a:cubicBezTo>
                        <a:pt x="80052" y="148729"/>
                        <a:pt x="95306" y="118220"/>
                        <a:pt x="107510" y="99915"/>
                      </a:cubicBezTo>
                      <a:cubicBezTo>
                        <a:pt x="86154" y="112119"/>
                        <a:pt x="49543" y="130424"/>
                        <a:pt x="15984" y="130424"/>
                      </a:cubicBezTo>
                      <a:cubicBezTo>
                        <a:pt x="3781" y="130424"/>
                        <a:pt x="730" y="127373"/>
                        <a:pt x="730" y="121271"/>
                      </a:cubicBezTo>
                      <a:cubicBezTo>
                        <a:pt x="-8423" y="99915"/>
                        <a:pt x="70899" y="29746"/>
                        <a:pt x="104459" y="2288"/>
                      </a:cubicBezTo>
                      <a:cubicBezTo>
                        <a:pt x="107510" y="-763"/>
                        <a:pt x="110560" y="-763"/>
                        <a:pt x="113611" y="2288"/>
                      </a:cubicBezTo>
                      <a:cubicBezTo>
                        <a:pt x="116662" y="5339"/>
                        <a:pt x="116662" y="8390"/>
                        <a:pt x="113611" y="11441"/>
                      </a:cubicBezTo>
                      <a:cubicBezTo>
                        <a:pt x="55645" y="60254"/>
                        <a:pt x="9882" y="109068"/>
                        <a:pt x="12933" y="118220"/>
                      </a:cubicBezTo>
                      <a:lnTo>
                        <a:pt x="12933" y="118220"/>
                      </a:lnTo>
                      <a:cubicBezTo>
                        <a:pt x="12933" y="118220"/>
                        <a:pt x="12933" y="118220"/>
                        <a:pt x="19035" y="118220"/>
                      </a:cubicBezTo>
                      <a:cubicBezTo>
                        <a:pt x="67849" y="115170"/>
                        <a:pt x="125815" y="75508"/>
                        <a:pt x="125815" y="75508"/>
                      </a:cubicBezTo>
                      <a:cubicBezTo>
                        <a:pt x="128865" y="72458"/>
                        <a:pt x="131916" y="75508"/>
                        <a:pt x="131916" y="75508"/>
                      </a:cubicBezTo>
                      <a:cubicBezTo>
                        <a:pt x="134967" y="78559"/>
                        <a:pt x="134967" y="81610"/>
                        <a:pt x="131916" y="81610"/>
                      </a:cubicBezTo>
                      <a:cubicBezTo>
                        <a:pt x="131916" y="81610"/>
                        <a:pt x="89204" y="133475"/>
                        <a:pt x="95306" y="167034"/>
                      </a:cubicBezTo>
                      <a:cubicBezTo>
                        <a:pt x="95306" y="173136"/>
                        <a:pt x="98357" y="179237"/>
                        <a:pt x="104459" y="182288"/>
                      </a:cubicBezTo>
                      <a:cubicBezTo>
                        <a:pt x="141069" y="206695"/>
                        <a:pt x="314967" y="142627"/>
                        <a:pt x="418696" y="14492"/>
                      </a:cubicBezTo>
                      <a:cubicBezTo>
                        <a:pt x="418696" y="11441"/>
                        <a:pt x="421747" y="11441"/>
                        <a:pt x="424798" y="11441"/>
                      </a:cubicBezTo>
                      <a:cubicBezTo>
                        <a:pt x="427849" y="11441"/>
                        <a:pt x="427849" y="14492"/>
                        <a:pt x="427849" y="17542"/>
                      </a:cubicBezTo>
                      <a:cubicBezTo>
                        <a:pt x="427849" y="17542"/>
                        <a:pt x="427849" y="48051"/>
                        <a:pt x="446154" y="66356"/>
                      </a:cubicBezTo>
                      <a:cubicBezTo>
                        <a:pt x="458357" y="78559"/>
                        <a:pt x="476662" y="81610"/>
                        <a:pt x="501069" y="75508"/>
                      </a:cubicBezTo>
                      <a:cubicBezTo>
                        <a:pt x="504120" y="75508"/>
                        <a:pt x="504120" y="75508"/>
                        <a:pt x="507171" y="75508"/>
                      </a:cubicBezTo>
                      <a:cubicBezTo>
                        <a:pt x="507171" y="75508"/>
                        <a:pt x="510221" y="78559"/>
                        <a:pt x="510221" y="81610"/>
                      </a:cubicBezTo>
                      <a:cubicBezTo>
                        <a:pt x="510221" y="81610"/>
                        <a:pt x="494967" y="176187"/>
                        <a:pt x="531577" y="215847"/>
                      </a:cubicBezTo>
                      <a:cubicBezTo>
                        <a:pt x="543781" y="228051"/>
                        <a:pt x="559035" y="234153"/>
                        <a:pt x="580391" y="231102"/>
                      </a:cubicBezTo>
                      <a:cubicBezTo>
                        <a:pt x="681069" y="218898"/>
                        <a:pt x="797001" y="87712"/>
                        <a:pt x="797001" y="84661"/>
                      </a:cubicBezTo>
                      <a:cubicBezTo>
                        <a:pt x="800052" y="81610"/>
                        <a:pt x="800052" y="81610"/>
                        <a:pt x="803103" y="84661"/>
                      </a:cubicBezTo>
                      <a:cubicBezTo>
                        <a:pt x="806154" y="84661"/>
                        <a:pt x="806154" y="87712"/>
                        <a:pt x="806154" y="90763"/>
                      </a:cubicBezTo>
                      <a:cubicBezTo>
                        <a:pt x="803103" y="112119"/>
                        <a:pt x="797001" y="170085"/>
                        <a:pt x="815306" y="188390"/>
                      </a:cubicBezTo>
                      <a:cubicBezTo>
                        <a:pt x="818357" y="191441"/>
                        <a:pt x="824459" y="194492"/>
                        <a:pt x="827510" y="194492"/>
                      </a:cubicBezTo>
                      <a:cubicBezTo>
                        <a:pt x="870221" y="194492"/>
                        <a:pt x="952594" y="118220"/>
                        <a:pt x="952594" y="118220"/>
                      </a:cubicBezTo>
                      <a:cubicBezTo>
                        <a:pt x="955645" y="115170"/>
                        <a:pt x="958696" y="115170"/>
                        <a:pt x="961747" y="118220"/>
                      </a:cubicBezTo>
                      <a:cubicBezTo>
                        <a:pt x="964798" y="121271"/>
                        <a:pt x="964798" y="124322"/>
                        <a:pt x="961747" y="127373"/>
                      </a:cubicBezTo>
                      <a:cubicBezTo>
                        <a:pt x="958696" y="130424"/>
                        <a:pt x="873272" y="206695"/>
                        <a:pt x="827510" y="206695"/>
                      </a:cubicBezTo>
                      <a:cubicBezTo>
                        <a:pt x="818357" y="206695"/>
                        <a:pt x="812255" y="203644"/>
                        <a:pt x="806154" y="197542"/>
                      </a:cubicBezTo>
                      <a:cubicBezTo>
                        <a:pt x="787849" y="179237"/>
                        <a:pt x="790899" y="133475"/>
                        <a:pt x="793950" y="106017"/>
                      </a:cubicBezTo>
                      <a:cubicBezTo>
                        <a:pt x="760391" y="139576"/>
                        <a:pt x="668866" y="231102"/>
                        <a:pt x="583442" y="243305"/>
                      </a:cubicBezTo>
                      <a:cubicBezTo>
                        <a:pt x="580391" y="240254"/>
                        <a:pt x="574289" y="240254"/>
                        <a:pt x="571238" y="240254"/>
                      </a:cubicBezTo>
                      <a:close/>
                      <a:moveTo>
                        <a:pt x="12933" y="118220"/>
                      </a:moveTo>
                      <a:lnTo>
                        <a:pt x="12933" y="118220"/>
                      </a:lnTo>
                      <a:lnTo>
                        <a:pt x="12933" y="118220"/>
                      </a:lnTo>
                      <a:close/>
                    </a:path>
                  </a:pathLst>
                </a:custGeom>
                <a:solidFill>
                  <a:srgbClr val="38343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49" name="任意多边形: 形状 348">
                  <a:extLst>
                    <a:ext uri="{FF2B5EF4-FFF2-40B4-BE49-F238E27FC236}">
                      <a16:creationId xmlns:a16="http://schemas.microsoft.com/office/drawing/2014/main" id="{30D750CF-978C-48BD-9ACB-9092EDFF3078}"/>
                    </a:ext>
                  </a:extLst>
                </p:cNvPr>
                <p:cNvSpPr/>
                <p:nvPr/>
              </p:nvSpPr>
              <p:spPr>
                <a:xfrm>
                  <a:off x="3981526" y="5050193"/>
                  <a:ext cx="365879" cy="381355"/>
                </a:xfrm>
                <a:custGeom>
                  <a:avLst/>
                  <a:gdLst>
                    <a:gd name="connsiteX0" fmla="*/ 256271 w 365879"/>
                    <a:gd name="connsiteY0" fmla="*/ 375254 h 381355"/>
                    <a:gd name="connsiteX1" fmla="*/ 115932 w 365879"/>
                    <a:gd name="connsiteY1" fmla="*/ 295932 h 381355"/>
                    <a:gd name="connsiteX2" fmla="*/ 76271 w 365879"/>
                    <a:gd name="connsiteY2" fmla="*/ 308136 h 381355"/>
                    <a:gd name="connsiteX3" fmla="*/ 0 w 365879"/>
                    <a:gd name="connsiteY3" fmla="*/ 222712 h 381355"/>
                    <a:gd name="connsiteX4" fmla="*/ 3051 w 365879"/>
                    <a:gd name="connsiteY4" fmla="*/ 216610 h 381355"/>
                    <a:gd name="connsiteX5" fmla="*/ 9153 w 365879"/>
                    <a:gd name="connsiteY5" fmla="*/ 219661 h 381355"/>
                    <a:gd name="connsiteX6" fmla="*/ 76271 w 365879"/>
                    <a:gd name="connsiteY6" fmla="*/ 298983 h 381355"/>
                    <a:gd name="connsiteX7" fmla="*/ 109830 w 365879"/>
                    <a:gd name="connsiteY7" fmla="*/ 286780 h 381355"/>
                    <a:gd name="connsiteX8" fmla="*/ 118983 w 365879"/>
                    <a:gd name="connsiteY8" fmla="*/ 286780 h 381355"/>
                    <a:gd name="connsiteX9" fmla="*/ 262373 w 365879"/>
                    <a:gd name="connsiteY9" fmla="*/ 366102 h 381355"/>
                    <a:gd name="connsiteX10" fmla="*/ 280678 w 365879"/>
                    <a:gd name="connsiteY10" fmla="*/ 353898 h 381355"/>
                    <a:gd name="connsiteX11" fmla="*/ 234915 w 365879"/>
                    <a:gd name="connsiteY11" fmla="*/ 228814 h 381355"/>
                    <a:gd name="connsiteX12" fmla="*/ 234915 w 365879"/>
                    <a:gd name="connsiteY12" fmla="*/ 222712 h 381355"/>
                    <a:gd name="connsiteX13" fmla="*/ 241017 w 365879"/>
                    <a:gd name="connsiteY13" fmla="*/ 219661 h 381355"/>
                    <a:gd name="connsiteX14" fmla="*/ 350847 w 365879"/>
                    <a:gd name="connsiteY14" fmla="*/ 237966 h 381355"/>
                    <a:gd name="connsiteX15" fmla="*/ 329492 w 365879"/>
                    <a:gd name="connsiteY15" fmla="*/ 170847 h 381355"/>
                    <a:gd name="connsiteX16" fmla="*/ 271525 w 365879"/>
                    <a:gd name="connsiteY16" fmla="*/ 6102 h 381355"/>
                    <a:gd name="connsiteX17" fmla="*/ 277627 w 365879"/>
                    <a:gd name="connsiteY17" fmla="*/ 0 h 381355"/>
                    <a:gd name="connsiteX18" fmla="*/ 283729 w 365879"/>
                    <a:gd name="connsiteY18" fmla="*/ 6102 h 381355"/>
                    <a:gd name="connsiteX19" fmla="*/ 341695 w 365879"/>
                    <a:gd name="connsiteY19" fmla="*/ 167797 h 381355"/>
                    <a:gd name="connsiteX20" fmla="*/ 356949 w 365879"/>
                    <a:gd name="connsiteY20" fmla="*/ 250169 h 381355"/>
                    <a:gd name="connsiteX21" fmla="*/ 259322 w 365879"/>
                    <a:gd name="connsiteY21" fmla="*/ 241017 h 381355"/>
                    <a:gd name="connsiteX22" fmla="*/ 289830 w 365879"/>
                    <a:gd name="connsiteY22" fmla="*/ 363051 h 381355"/>
                    <a:gd name="connsiteX23" fmla="*/ 265424 w 365879"/>
                    <a:gd name="connsiteY23" fmla="*/ 381356 h 381355"/>
                    <a:gd name="connsiteX24" fmla="*/ 256271 w 365879"/>
                    <a:gd name="connsiteY24" fmla="*/ 375254 h 381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65879" h="381355">
                      <a:moveTo>
                        <a:pt x="256271" y="375254"/>
                      </a:moveTo>
                      <a:cubicBezTo>
                        <a:pt x="207458" y="375254"/>
                        <a:pt x="134237" y="311186"/>
                        <a:pt x="115932" y="295932"/>
                      </a:cubicBezTo>
                      <a:cubicBezTo>
                        <a:pt x="103729" y="305085"/>
                        <a:pt x="91525" y="311186"/>
                        <a:pt x="76271" y="308136"/>
                      </a:cubicBezTo>
                      <a:cubicBezTo>
                        <a:pt x="33559" y="298983"/>
                        <a:pt x="3051" y="225763"/>
                        <a:pt x="0" y="222712"/>
                      </a:cubicBezTo>
                      <a:cubicBezTo>
                        <a:pt x="0" y="219661"/>
                        <a:pt x="0" y="216610"/>
                        <a:pt x="3051" y="216610"/>
                      </a:cubicBezTo>
                      <a:cubicBezTo>
                        <a:pt x="6102" y="216610"/>
                        <a:pt x="9153" y="216610"/>
                        <a:pt x="9153" y="219661"/>
                      </a:cubicBezTo>
                      <a:cubicBezTo>
                        <a:pt x="9153" y="219661"/>
                        <a:pt x="39661" y="289831"/>
                        <a:pt x="76271" y="298983"/>
                      </a:cubicBezTo>
                      <a:cubicBezTo>
                        <a:pt x="88475" y="302034"/>
                        <a:pt x="97627" y="295932"/>
                        <a:pt x="109830" y="286780"/>
                      </a:cubicBezTo>
                      <a:cubicBezTo>
                        <a:pt x="112881" y="283729"/>
                        <a:pt x="115932" y="283729"/>
                        <a:pt x="118983" y="286780"/>
                      </a:cubicBezTo>
                      <a:cubicBezTo>
                        <a:pt x="118983" y="286780"/>
                        <a:pt x="216610" y="375254"/>
                        <a:pt x="262373" y="366102"/>
                      </a:cubicBezTo>
                      <a:cubicBezTo>
                        <a:pt x="271525" y="366102"/>
                        <a:pt x="274576" y="360000"/>
                        <a:pt x="280678" y="353898"/>
                      </a:cubicBezTo>
                      <a:cubicBezTo>
                        <a:pt x="311186" y="298983"/>
                        <a:pt x="237966" y="228814"/>
                        <a:pt x="234915" y="228814"/>
                      </a:cubicBezTo>
                      <a:cubicBezTo>
                        <a:pt x="231864" y="225763"/>
                        <a:pt x="231864" y="222712"/>
                        <a:pt x="234915" y="222712"/>
                      </a:cubicBezTo>
                      <a:cubicBezTo>
                        <a:pt x="234915" y="219661"/>
                        <a:pt x="237966" y="219661"/>
                        <a:pt x="241017" y="219661"/>
                      </a:cubicBezTo>
                      <a:cubicBezTo>
                        <a:pt x="265424" y="228814"/>
                        <a:pt x="332542" y="247119"/>
                        <a:pt x="350847" y="237966"/>
                      </a:cubicBezTo>
                      <a:cubicBezTo>
                        <a:pt x="360000" y="234915"/>
                        <a:pt x="344746" y="204407"/>
                        <a:pt x="329492" y="170847"/>
                      </a:cubicBezTo>
                      <a:cubicBezTo>
                        <a:pt x="308136" y="128136"/>
                        <a:pt x="280678" y="70169"/>
                        <a:pt x="271525" y="6102"/>
                      </a:cubicBezTo>
                      <a:cubicBezTo>
                        <a:pt x="271525" y="3051"/>
                        <a:pt x="274576" y="0"/>
                        <a:pt x="277627" y="0"/>
                      </a:cubicBezTo>
                      <a:cubicBezTo>
                        <a:pt x="280678" y="0"/>
                        <a:pt x="283729" y="3051"/>
                        <a:pt x="283729" y="6102"/>
                      </a:cubicBezTo>
                      <a:cubicBezTo>
                        <a:pt x="292881" y="67119"/>
                        <a:pt x="320339" y="125085"/>
                        <a:pt x="341695" y="167797"/>
                      </a:cubicBezTo>
                      <a:cubicBezTo>
                        <a:pt x="363051" y="213559"/>
                        <a:pt x="375254" y="237966"/>
                        <a:pt x="356949" y="250169"/>
                      </a:cubicBezTo>
                      <a:cubicBezTo>
                        <a:pt x="335593" y="262373"/>
                        <a:pt x="286780" y="250169"/>
                        <a:pt x="259322" y="241017"/>
                      </a:cubicBezTo>
                      <a:cubicBezTo>
                        <a:pt x="280678" y="265424"/>
                        <a:pt x="314237" y="317288"/>
                        <a:pt x="289830" y="363051"/>
                      </a:cubicBezTo>
                      <a:cubicBezTo>
                        <a:pt x="283729" y="372203"/>
                        <a:pt x="274576" y="381356"/>
                        <a:pt x="265424" y="381356"/>
                      </a:cubicBezTo>
                      <a:cubicBezTo>
                        <a:pt x="262373" y="375254"/>
                        <a:pt x="259322" y="375254"/>
                        <a:pt x="256271" y="375254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50" name="任意多边形: 形状 349">
                  <a:extLst>
                    <a:ext uri="{FF2B5EF4-FFF2-40B4-BE49-F238E27FC236}">
                      <a16:creationId xmlns:a16="http://schemas.microsoft.com/office/drawing/2014/main" id="{78906BF4-3388-425B-92DF-3E26026871C2}"/>
                    </a:ext>
                  </a:extLst>
                </p:cNvPr>
                <p:cNvSpPr/>
                <p:nvPr/>
              </p:nvSpPr>
              <p:spPr>
                <a:xfrm>
                  <a:off x="3481187" y="1999346"/>
                  <a:ext cx="756610" cy="726101"/>
                </a:xfrm>
                <a:custGeom>
                  <a:avLst/>
                  <a:gdLst>
                    <a:gd name="connsiteX0" fmla="*/ 625424 w 756610"/>
                    <a:gd name="connsiteY0" fmla="*/ 713898 h 726101"/>
                    <a:gd name="connsiteX1" fmla="*/ 387458 w 756610"/>
                    <a:gd name="connsiteY1" fmla="*/ 628475 h 726101"/>
                    <a:gd name="connsiteX2" fmla="*/ 155593 w 756610"/>
                    <a:gd name="connsiteY2" fmla="*/ 726102 h 726101"/>
                    <a:gd name="connsiteX3" fmla="*/ 161695 w 756610"/>
                    <a:gd name="connsiteY3" fmla="*/ 475932 h 726101"/>
                    <a:gd name="connsiteX4" fmla="*/ 0 w 756610"/>
                    <a:gd name="connsiteY4" fmla="*/ 286780 h 726101"/>
                    <a:gd name="connsiteX5" fmla="*/ 241017 w 756610"/>
                    <a:gd name="connsiteY5" fmla="*/ 213559 h 726101"/>
                    <a:gd name="connsiteX6" fmla="*/ 369153 w 756610"/>
                    <a:gd name="connsiteY6" fmla="*/ 0 h 726101"/>
                    <a:gd name="connsiteX7" fmla="*/ 512542 w 756610"/>
                    <a:gd name="connsiteY7" fmla="*/ 207458 h 726101"/>
                    <a:gd name="connsiteX8" fmla="*/ 756610 w 756610"/>
                    <a:gd name="connsiteY8" fmla="*/ 265424 h 726101"/>
                    <a:gd name="connsiteX9" fmla="*/ 604068 w 756610"/>
                    <a:gd name="connsiteY9" fmla="*/ 463729 h 7261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56610" h="726101">
                      <a:moveTo>
                        <a:pt x="625424" y="713898"/>
                      </a:moveTo>
                      <a:lnTo>
                        <a:pt x="387458" y="628475"/>
                      </a:lnTo>
                      <a:lnTo>
                        <a:pt x="155593" y="726102"/>
                      </a:lnTo>
                      <a:lnTo>
                        <a:pt x="161695" y="475932"/>
                      </a:lnTo>
                      <a:lnTo>
                        <a:pt x="0" y="286780"/>
                      </a:lnTo>
                      <a:lnTo>
                        <a:pt x="241017" y="213559"/>
                      </a:lnTo>
                      <a:lnTo>
                        <a:pt x="369153" y="0"/>
                      </a:lnTo>
                      <a:lnTo>
                        <a:pt x="512542" y="207458"/>
                      </a:lnTo>
                      <a:lnTo>
                        <a:pt x="756610" y="265424"/>
                      </a:lnTo>
                      <a:lnTo>
                        <a:pt x="604068" y="463729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51" name="图形 1">
                  <a:extLst>
                    <a:ext uri="{FF2B5EF4-FFF2-40B4-BE49-F238E27FC236}">
                      <a16:creationId xmlns:a16="http://schemas.microsoft.com/office/drawing/2014/main" id="{07858376-37E8-482D-A3C7-0D04C69FA559}"/>
                    </a:ext>
                  </a:extLst>
                </p:cNvPr>
                <p:cNvGrpSpPr/>
                <p:nvPr/>
              </p:nvGrpSpPr>
              <p:grpSpPr>
                <a:xfrm>
                  <a:off x="3063221" y="4726803"/>
                  <a:ext cx="311186" cy="366101"/>
                  <a:chOff x="3063221" y="4726803"/>
                  <a:chExt cx="311186" cy="366101"/>
                </a:xfrm>
              </p:grpSpPr>
              <p:grpSp>
                <p:nvGrpSpPr>
                  <p:cNvPr id="352" name="图形 1">
                    <a:extLst>
                      <a:ext uri="{FF2B5EF4-FFF2-40B4-BE49-F238E27FC236}">
                        <a16:creationId xmlns:a16="http://schemas.microsoft.com/office/drawing/2014/main" id="{07858376-37E8-482D-A3C7-0D04C69FA559}"/>
                      </a:ext>
                    </a:extLst>
                  </p:cNvPr>
                  <p:cNvGrpSpPr/>
                  <p:nvPr/>
                </p:nvGrpSpPr>
                <p:grpSpPr>
                  <a:xfrm>
                    <a:off x="3063221" y="4726803"/>
                    <a:ext cx="311186" cy="366101"/>
                    <a:chOff x="3063221" y="4726803"/>
                    <a:chExt cx="311186" cy="366101"/>
                  </a:xfrm>
                </p:grpSpPr>
                <p:sp>
                  <p:nvSpPr>
                    <p:cNvPr id="353" name="任意多边形: 形状 352">
                      <a:extLst>
                        <a:ext uri="{FF2B5EF4-FFF2-40B4-BE49-F238E27FC236}">
                          <a16:creationId xmlns:a16="http://schemas.microsoft.com/office/drawing/2014/main" id="{033FDB41-FBA0-4CE1-9EB5-8747C6A5F3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73051" y="4726803"/>
                      <a:ext cx="88474" cy="137288"/>
                    </a:xfrm>
                    <a:custGeom>
                      <a:avLst/>
                      <a:gdLst>
                        <a:gd name="connsiteX0" fmla="*/ 76271 w 88474"/>
                        <a:gd name="connsiteY0" fmla="*/ 0 h 137288"/>
                        <a:gd name="connsiteX1" fmla="*/ 12203 w 88474"/>
                        <a:gd name="connsiteY1" fmla="*/ 0 h 137288"/>
                        <a:gd name="connsiteX2" fmla="*/ 0 w 88474"/>
                        <a:gd name="connsiteY2" fmla="*/ 12203 h 137288"/>
                        <a:gd name="connsiteX3" fmla="*/ 0 w 88474"/>
                        <a:gd name="connsiteY3" fmla="*/ 125085 h 137288"/>
                        <a:gd name="connsiteX4" fmla="*/ 12203 w 88474"/>
                        <a:gd name="connsiteY4" fmla="*/ 137288 h 137288"/>
                        <a:gd name="connsiteX5" fmla="*/ 76271 w 88474"/>
                        <a:gd name="connsiteY5" fmla="*/ 137288 h 137288"/>
                        <a:gd name="connsiteX6" fmla="*/ 88475 w 88474"/>
                        <a:gd name="connsiteY6" fmla="*/ 125085 h 137288"/>
                        <a:gd name="connsiteX7" fmla="*/ 88475 w 88474"/>
                        <a:gd name="connsiteY7" fmla="*/ 12203 h 137288"/>
                        <a:gd name="connsiteX8" fmla="*/ 76271 w 88474"/>
                        <a:gd name="connsiteY8" fmla="*/ 0 h 1372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474" h="137288">
                          <a:moveTo>
                            <a:pt x="76271" y="0"/>
                          </a:moveTo>
                          <a:lnTo>
                            <a:pt x="12203" y="0"/>
                          </a:lnTo>
                          <a:cubicBezTo>
                            <a:pt x="6102" y="0"/>
                            <a:pt x="0" y="6102"/>
                            <a:pt x="0" y="12203"/>
                          </a:cubicBezTo>
                          <a:lnTo>
                            <a:pt x="0" y="125085"/>
                          </a:lnTo>
                          <a:cubicBezTo>
                            <a:pt x="0" y="131186"/>
                            <a:pt x="6102" y="137288"/>
                            <a:pt x="12203" y="137288"/>
                          </a:cubicBezTo>
                          <a:lnTo>
                            <a:pt x="76271" y="137288"/>
                          </a:lnTo>
                          <a:cubicBezTo>
                            <a:pt x="82373" y="137288"/>
                            <a:pt x="88475" y="131186"/>
                            <a:pt x="88475" y="125085"/>
                          </a:cubicBezTo>
                          <a:lnTo>
                            <a:pt x="88475" y="12203"/>
                          </a:lnTo>
                          <a:cubicBezTo>
                            <a:pt x="88475" y="3051"/>
                            <a:pt x="82373" y="0"/>
                            <a:pt x="76271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354" name="任意多边形: 形状 353">
                      <a:extLst>
                        <a:ext uri="{FF2B5EF4-FFF2-40B4-BE49-F238E27FC236}">
                          <a16:creationId xmlns:a16="http://schemas.microsoft.com/office/drawing/2014/main" id="{50A40A97-B716-46BB-B0B3-6649B8F0DF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63221" y="4781719"/>
                      <a:ext cx="311186" cy="311186"/>
                    </a:xfrm>
                    <a:custGeom>
                      <a:avLst/>
                      <a:gdLst>
                        <a:gd name="connsiteX0" fmla="*/ 155593 w 311186"/>
                        <a:gd name="connsiteY0" fmla="*/ 0 h 311186"/>
                        <a:gd name="connsiteX1" fmla="*/ 0 w 311186"/>
                        <a:gd name="connsiteY1" fmla="*/ 155593 h 311186"/>
                        <a:gd name="connsiteX2" fmla="*/ 155593 w 311186"/>
                        <a:gd name="connsiteY2" fmla="*/ 311187 h 311186"/>
                        <a:gd name="connsiteX3" fmla="*/ 311186 w 311186"/>
                        <a:gd name="connsiteY3" fmla="*/ 155593 h 311186"/>
                        <a:gd name="connsiteX4" fmla="*/ 155593 w 311186"/>
                        <a:gd name="connsiteY4" fmla="*/ 0 h 3111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11186" h="311186">
                          <a:moveTo>
                            <a:pt x="155593" y="0"/>
                          </a:moveTo>
                          <a:cubicBezTo>
                            <a:pt x="70169" y="0"/>
                            <a:pt x="0" y="70170"/>
                            <a:pt x="0" y="155593"/>
                          </a:cubicBezTo>
                          <a:cubicBezTo>
                            <a:pt x="0" y="241017"/>
                            <a:pt x="70169" y="311187"/>
                            <a:pt x="155593" y="311187"/>
                          </a:cubicBezTo>
                          <a:cubicBezTo>
                            <a:pt x="241017" y="311187"/>
                            <a:pt x="311186" y="241017"/>
                            <a:pt x="311186" y="155593"/>
                          </a:cubicBezTo>
                          <a:cubicBezTo>
                            <a:pt x="308136" y="70170"/>
                            <a:pt x="241017" y="0"/>
                            <a:pt x="155593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355" name="任意多边形: 形状 354">
                    <a:extLst>
                      <a:ext uri="{FF2B5EF4-FFF2-40B4-BE49-F238E27FC236}">
                        <a16:creationId xmlns:a16="http://schemas.microsoft.com/office/drawing/2014/main" id="{50CE4687-B867-4E86-AC07-8B33BA6ECC5B}"/>
                      </a:ext>
                    </a:extLst>
                  </p:cNvPr>
                  <p:cNvSpPr/>
                  <p:nvPr/>
                </p:nvSpPr>
                <p:spPr>
                  <a:xfrm>
                    <a:off x="3242946" y="4836359"/>
                    <a:ext cx="82764" cy="131461"/>
                  </a:xfrm>
                  <a:custGeom>
                    <a:avLst/>
                    <a:gdLst>
                      <a:gd name="connsiteX0" fmla="*/ 67394 w 82764"/>
                      <a:gd name="connsiteY0" fmla="*/ 131461 h 131461"/>
                      <a:gd name="connsiteX1" fmla="*/ 67394 w 82764"/>
                      <a:gd name="connsiteY1" fmla="*/ 131461 h 131461"/>
                      <a:gd name="connsiteX2" fmla="*/ 52140 w 82764"/>
                      <a:gd name="connsiteY2" fmla="*/ 116207 h 131461"/>
                      <a:gd name="connsiteX3" fmla="*/ 6377 w 82764"/>
                      <a:gd name="connsiteY3" fmla="*/ 27733 h 131461"/>
                      <a:gd name="connsiteX4" fmla="*/ 3326 w 82764"/>
                      <a:gd name="connsiteY4" fmla="*/ 6377 h 131461"/>
                      <a:gd name="connsiteX5" fmla="*/ 24682 w 82764"/>
                      <a:gd name="connsiteY5" fmla="*/ 3326 h 131461"/>
                      <a:gd name="connsiteX6" fmla="*/ 82648 w 82764"/>
                      <a:gd name="connsiteY6" fmla="*/ 119258 h 131461"/>
                      <a:gd name="connsiteX7" fmla="*/ 67394 w 82764"/>
                      <a:gd name="connsiteY7" fmla="*/ 131461 h 131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764" h="131461">
                        <a:moveTo>
                          <a:pt x="67394" y="131461"/>
                        </a:moveTo>
                        <a:cubicBezTo>
                          <a:pt x="67394" y="131461"/>
                          <a:pt x="67394" y="131461"/>
                          <a:pt x="67394" y="131461"/>
                        </a:cubicBezTo>
                        <a:cubicBezTo>
                          <a:pt x="58241" y="131461"/>
                          <a:pt x="52140" y="125360"/>
                          <a:pt x="52140" y="116207"/>
                        </a:cubicBezTo>
                        <a:cubicBezTo>
                          <a:pt x="55190" y="61292"/>
                          <a:pt x="6377" y="27733"/>
                          <a:pt x="6377" y="27733"/>
                        </a:cubicBezTo>
                        <a:cubicBezTo>
                          <a:pt x="275" y="21631"/>
                          <a:pt x="-2776" y="12479"/>
                          <a:pt x="3326" y="6377"/>
                        </a:cubicBezTo>
                        <a:cubicBezTo>
                          <a:pt x="9428" y="275"/>
                          <a:pt x="18580" y="-2776"/>
                          <a:pt x="24682" y="3326"/>
                        </a:cubicBezTo>
                        <a:cubicBezTo>
                          <a:pt x="27733" y="6377"/>
                          <a:pt x="85699" y="46038"/>
                          <a:pt x="82648" y="119258"/>
                        </a:cubicBezTo>
                        <a:cubicBezTo>
                          <a:pt x="82648" y="122309"/>
                          <a:pt x="76546" y="131461"/>
                          <a:pt x="67394" y="131461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050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356" name="图形 1">
                  <a:extLst>
                    <a:ext uri="{FF2B5EF4-FFF2-40B4-BE49-F238E27FC236}">
                      <a16:creationId xmlns:a16="http://schemas.microsoft.com/office/drawing/2014/main" id="{07858376-37E8-482D-A3C7-0D04C69FA559}"/>
                    </a:ext>
                  </a:extLst>
                </p:cNvPr>
                <p:cNvGrpSpPr/>
                <p:nvPr/>
              </p:nvGrpSpPr>
              <p:grpSpPr>
                <a:xfrm>
                  <a:off x="3633729" y="5419346"/>
                  <a:ext cx="311186" cy="369152"/>
                  <a:chOff x="3633729" y="5419346"/>
                  <a:chExt cx="311186" cy="369152"/>
                </a:xfrm>
              </p:grpSpPr>
              <p:grpSp>
                <p:nvGrpSpPr>
                  <p:cNvPr id="357" name="图形 1">
                    <a:extLst>
                      <a:ext uri="{FF2B5EF4-FFF2-40B4-BE49-F238E27FC236}">
                        <a16:creationId xmlns:a16="http://schemas.microsoft.com/office/drawing/2014/main" id="{07858376-37E8-482D-A3C7-0D04C69FA559}"/>
                      </a:ext>
                    </a:extLst>
                  </p:cNvPr>
                  <p:cNvGrpSpPr/>
                  <p:nvPr/>
                </p:nvGrpSpPr>
                <p:grpSpPr>
                  <a:xfrm>
                    <a:off x="3633729" y="5419346"/>
                    <a:ext cx="311186" cy="369152"/>
                    <a:chOff x="3633729" y="5419346"/>
                    <a:chExt cx="311186" cy="369152"/>
                  </a:xfrm>
                </p:grpSpPr>
                <p:sp>
                  <p:nvSpPr>
                    <p:cNvPr id="358" name="任意多边形: 形状 357">
                      <a:extLst>
                        <a:ext uri="{FF2B5EF4-FFF2-40B4-BE49-F238E27FC236}">
                          <a16:creationId xmlns:a16="http://schemas.microsoft.com/office/drawing/2014/main" id="{D8898002-0C59-485A-9963-7DD6677542B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743560" y="5419346"/>
                      <a:ext cx="88474" cy="137288"/>
                    </a:xfrm>
                    <a:custGeom>
                      <a:avLst/>
                      <a:gdLst>
                        <a:gd name="connsiteX0" fmla="*/ 76271 w 88474"/>
                        <a:gd name="connsiteY0" fmla="*/ 0 h 137288"/>
                        <a:gd name="connsiteX1" fmla="*/ 12203 w 88474"/>
                        <a:gd name="connsiteY1" fmla="*/ 0 h 137288"/>
                        <a:gd name="connsiteX2" fmla="*/ 0 w 88474"/>
                        <a:gd name="connsiteY2" fmla="*/ 12203 h 137288"/>
                        <a:gd name="connsiteX3" fmla="*/ 0 w 88474"/>
                        <a:gd name="connsiteY3" fmla="*/ 125085 h 137288"/>
                        <a:gd name="connsiteX4" fmla="*/ 12203 w 88474"/>
                        <a:gd name="connsiteY4" fmla="*/ 137288 h 137288"/>
                        <a:gd name="connsiteX5" fmla="*/ 76271 w 88474"/>
                        <a:gd name="connsiteY5" fmla="*/ 137288 h 137288"/>
                        <a:gd name="connsiteX6" fmla="*/ 88475 w 88474"/>
                        <a:gd name="connsiteY6" fmla="*/ 125085 h 137288"/>
                        <a:gd name="connsiteX7" fmla="*/ 88475 w 88474"/>
                        <a:gd name="connsiteY7" fmla="*/ 12203 h 137288"/>
                        <a:gd name="connsiteX8" fmla="*/ 76271 w 88474"/>
                        <a:gd name="connsiteY8" fmla="*/ 0 h 1372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474" h="137288">
                          <a:moveTo>
                            <a:pt x="76271" y="0"/>
                          </a:moveTo>
                          <a:lnTo>
                            <a:pt x="12203" y="0"/>
                          </a:lnTo>
                          <a:cubicBezTo>
                            <a:pt x="6102" y="0"/>
                            <a:pt x="0" y="6102"/>
                            <a:pt x="0" y="12203"/>
                          </a:cubicBezTo>
                          <a:lnTo>
                            <a:pt x="0" y="125085"/>
                          </a:lnTo>
                          <a:cubicBezTo>
                            <a:pt x="0" y="131187"/>
                            <a:pt x="6102" y="137288"/>
                            <a:pt x="12203" y="137288"/>
                          </a:cubicBezTo>
                          <a:lnTo>
                            <a:pt x="76271" y="137288"/>
                          </a:lnTo>
                          <a:cubicBezTo>
                            <a:pt x="82373" y="137288"/>
                            <a:pt x="88475" y="131187"/>
                            <a:pt x="88475" y="125085"/>
                          </a:cubicBezTo>
                          <a:lnTo>
                            <a:pt x="88475" y="12203"/>
                          </a:lnTo>
                          <a:cubicBezTo>
                            <a:pt x="88475" y="6102"/>
                            <a:pt x="82373" y="0"/>
                            <a:pt x="76271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359" name="任意多边形: 形状 358">
                      <a:extLst>
                        <a:ext uri="{FF2B5EF4-FFF2-40B4-BE49-F238E27FC236}">
                          <a16:creationId xmlns:a16="http://schemas.microsoft.com/office/drawing/2014/main" id="{B3956E25-3E6C-40C0-89A8-3D74025C79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33729" y="5477312"/>
                      <a:ext cx="311186" cy="311186"/>
                    </a:xfrm>
                    <a:custGeom>
                      <a:avLst/>
                      <a:gdLst>
                        <a:gd name="connsiteX0" fmla="*/ 155593 w 311186"/>
                        <a:gd name="connsiteY0" fmla="*/ 0 h 311186"/>
                        <a:gd name="connsiteX1" fmla="*/ 0 w 311186"/>
                        <a:gd name="connsiteY1" fmla="*/ 155593 h 311186"/>
                        <a:gd name="connsiteX2" fmla="*/ 155593 w 311186"/>
                        <a:gd name="connsiteY2" fmla="*/ 311187 h 311186"/>
                        <a:gd name="connsiteX3" fmla="*/ 311186 w 311186"/>
                        <a:gd name="connsiteY3" fmla="*/ 155593 h 311186"/>
                        <a:gd name="connsiteX4" fmla="*/ 155593 w 311186"/>
                        <a:gd name="connsiteY4" fmla="*/ 0 h 3111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11186" h="311186">
                          <a:moveTo>
                            <a:pt x="155593" y="0"/>
                          </a:moveTo>
                          <a:cubicBezTo>
                            <a:pt x="70169" y="0"/>
                            <a:pt x="0" y="70169"/>
                            <a:pt x="0" y="155593"/>
                          </a:cubicBezTo>
                          <a:cubicBezTo>
                            <a:pt x="0" y="241017"/>
                            <a:pt x="70169" y="311187"/>
                            <a:pt x="155593" y="311187"/>
                          </a:cubicBezTo>
                          <a:cubicBezTo>
                            <a:pt x="241017" y="311187"/>
                            <a:pt x="311186" y="241017"/>
                            <a:pt x="311186" y="155593"/>
                          </a:cubicBezTo>
                          <a:cubicBezTo>
                            <a:pt x="311186" y="67119"/>
                            <a:pt x="241017" y="0"/>
                            <a:pt x="155593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360" name="任意多边形: 形状 359">
                    <a:extLst>
                      <a:ext uri="{FF2B5EF4-FFF2-40B4-BE49-F238E27FC236}">
                        <a16:creationId xmlns:a16="http://schemas.microsoft.com/office/drawing/2014/main" id="{DDEE49AD-65F0-4201-9602-FFE783EE0E17}"/>
                      </a:ext>
                    </a:extLst>
                  </p:cNvPr>
                  <p:cNvSpPr/>
                  <p:nvPr/>
                </p:nvSpPr>
                <p:spPr>
                  <a:xfrm>
                    <a:off x="3816505" y="5528901"/>
                    <a:ext cx="82764" cy="131461"/>
                  </a:xfrm>
                  <a:custGeom>
                    <a:avLst/>
                    <a:gdLst>
                      <a:gd name="connsiteX0" fmla="*/ 67394 w 82764"/>
                      <a:gd name="connsiteY0" fmla="*/ 131461 h 131461"/>
                      <a:gd name="connsiteX1" fmla="*/ 67394 w 82764"/>
                      <a:gd name="connsiteY1" fmla="*/ 131461 h 131461"/>
                      <a:gd name="connsiteX2" fmla="*/ 52139 w 82764"/>
                      <a:gd name="connsiteY2" fmla="*/ 116207 h 131461"/>
                      <a:gd name="connsiteX3" fmla="*/ 6377 w 82764"/>
                      <a:gd name="connsiteY3" fmla="*/ 27733 h 131461"/>
                      <a:gd name="connsiteX4" fmla="*/ 3326 w 82764"/>
                      <a:gd name="connsiteY4" fmla="*/ 6377 h 131461"/>
                      <a:gd name="connsiteX5" fmla="*/ 24682 w 82764"/>
                      <a:gd name="connsiteY5" fmla="*/ 3326 h 131461"/>
                      <a:gd name="connsiteX6" fmla="*/ 82648 w 82764"/>
                      <a:gd name="connsiteY6" fmla="*/ 119258 h 131461"/>
                      <a:gd name="connsiteX7" fmla="*/ 67394 w 82764"/>
                      <a:gd name="connsiteY7" fmla="*/ 131461 h 131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764" h="131461">
                        <a:moveTo>
                          <a:pt x="67394" y="131461"/>
                        </a:moveTo>
                        <a:cubicBezTo>
                          <a:pt x="67394" y="131461"/>
                          <a:pt x="67394" y="131461"/>
                          <a:pt x="67394" y="131461"/>
                        </a:cubicBezTo>
                        <a:cubicBezTo>
                          <a:pt x="58241" y="131461"/>
                          <a:pt x="52139" y="125360"/>
                          <a:pt x="52139" y="116207"/>
                        </a:cubicBezTo>
                        <a:cubicBezTo>
                          <a:pt x="55190" y="61292"/>
                          <a:pt x="6377" y="27733"/>
                          <a:pt x="6377" y="27733"/>
                        </a:cubicBezTo>
                        <a:cubicBezTo>
                          <a:pt x="275" y="21631"/>
                          <a:pt x="-2776" y="12479"/>
                          <a:pt x="3326" y="6377"/>
                        </a:cubicBezTo>
                        <a:cubicBezTo>
                          <a:pt x="9428" y="275"/>
                          <a:pt x="18580" y="-2776"/>
                          <a:pt x="24682" y="3326"/>
                        </a:cubicBezTo>
                        <a:cubicBezTo>
                          <a:pt x="27733" y="6377"/>
                          <a:pt x="85699" y="46038"/>
                          <a:pt x="82648" y="119258"/>
                        </a:cubicBezTo>
                        <a:cubicBezTo>
                          <a:pt x="82648" y="125360"/>
                          <a:pt x="73495" y="131461"/>
                          <a:pt x="67394" y="131461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050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361" name="图形 1">
                  <a:extLst>
                    <a:ext uri="{FF2B5EF4-FFF2-40B4-BE49-F238E27FC236}">
                      <a16:creationId xmlns:a16="http://schemas.microsoft.com/office/drawing/2014/main" id="{07858376-37E8-482D-A3C7-0D04C69FA559}"/>
                    </a:ext>
                  </a:extLst>
                </p:cNvPr>
                <p:cNvGrpSpPr/>
                <p:nvPr/>
              </p:nvGrpSpPr>
              <p:grpSpPr>
                <a:xfrm>
                  <a:off x="4066950" y="4540702"/>
                  <a:ext cx="311186" cy="369152"/>
                  <a:chOff x="4066950" y="4540702"/>
                  <a:chExt cx="311186" cy="369152"/>
                </a:xfrm>
              </p:grpSpPr>
              <p:grpSp>
                <p:nvGrpSpPr>
                  <p:cNvPr id="362" name="图形 1">
                    <a:extLst>
                      <a:ext uri="{FF2B5EF4-FFF2-40B4-BE49-F238E27FC236}">
                        <a16:creationId xmlns:a16="http://schemas.microsoft.com/office/drawing/2014/main" id="{07858376-37E8-482D-A3C7-0D04C69FA559}"/>
                      </a:ext>
                    </a:extLst>
                  </p:cNvPr>
                  <p:cNvGrpSpPr/>
                  <p:nvPr/>
                </p:nvGrpSpPr>
                <p:grpSpPr>
                  <a:xfrm>
                    <a:off x="4066950" y="4540702"/>
                    <a:ext cx="311186" cy="369152"/>
                    <a:chOff x="4066950" y="4540702"/>
                    <a:chExt cx="311186" cy="369152"/>
                  </a:xfrm>
                </p:grpSpPr>
                <p:sp>
                  <p:nvSpPr>
                    <p:cNvPr id="363" name="任意多边形: 形状 362">
                      <a:extLst>
                        <a:ext uri="{FF2B5EF4-FFF2-40B4-BE49-F238E27FC236}">
                          <a16:creationId xmlns:a16="http://schemas.microsoft.com/office/drawing/2014/main" id="{45266CB7-F4FF-4199-ACAD-CB91525BFD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76780" y="4540702"/>
                      <a:ext cx="88474" cy="137288"/>
                    </a:xfrm>
                    <a:custGeom>
                      <a:avLst/>
                      <a:gdLst>
                        <a:gd name="connsiteX0" fmla="*/ 76271 w 88474"/>
                        <a:gd name="connsiteY0" fmla="*/ 0 h 137288"/>
                        <a:gd name="connsiteX1" fmla="*/ 12203 w 88474"/>
                        <a:gd name="connsiteY1" fmla="*/ 0 h 137288"/>
                        <a:gd name="connsiteX2" fmla="*/ 0 w 88474"/>
                        <a:gd name="connsiteY2" fmla="*/ 12203 h 137288"/>
                        <a:gd name="connsiteX3" fmla="*/ 0 w 88474"/>
                        <a:gd name="connsiteY3" fmla="*/ 125085 h 137288"/>
                        <a:gd name="connsiteX4" fmla="*/ 12203 w 88474"/>
                        <a:gd name="connsiteY4" fmla="*/ 137288 h 137288"/>
                        <a:gd name="connsiteX5" fmla="*/ 76271 w 88474"/>
                        <a:gd name="connsiteY5" fmla="*/ 137288 h 137288"/>
                        <a:gd name="connsiteX6" fmla="*/ 88475 w 88474"/>
                        <a:gd name="connsiteY6" fmla="*/ 125085 h 137288"/>
                        <a:gd name="connsiteX7" fmla="*/ 88475 w 88474"/>
                        <a:gd name="connsiteY7" fmla="*/ 12203 h 137288"/>
                        <a:gd name="connsiteX8" fmla="*/ 76271 w 88474"/>
                        <a:gd name="connsiteY8" fmla="*/ 0 h 1372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474" h="137288">
                          <a:moveTo>
                            <a:pt x="76271" y="0"/>
                          </a:moveTo>
                          <a:lnTo>
                            <a:pt x="12203" y="0"/>
                          </a:lnTo>
                          <a:cubicBezTo>
                            <a:pt x="6102" y="0"/>
                            <a:pt x="0" y="6102"/>
                            <a:pt x="0" y="12203"/>
                          </a:cubicBezTo>
                          <a:lnTo>
                            <a:pt x="0" y="125085"/>
                          </a:lnTo>
                          <a:cubicBezTo>
                            <a:pt x="0" y="131187"/>
                            <a:pt x="6102" y="137288"/>
                            <a:pt x="12203" y="137288"/>
                          </a:cubicBezTo>
                          <a:lnTo>
                            <a:pt x="76271" y="137288"/>
                          </a:lnTo>
                          <a:cubicBezTo>
                            <a:pt x="82373" y="137288"/>
                            <a:pt x="88475" y="131187"/>
                            <a:pt x="88475" y="125085"/>
                          </a:cubicBezTo>
                          <a:lnTo>
                            <a:pt x="88475" y="12203"/>
                          </a:lnTo>
                          <a:cubicBezTo>
                            <a:pt x="88475" y="6102"/>
                            <a:pt x="82373" y="0"/>
                            <a:pt x="76271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364" name="任意多边形: 形状 363">
                      <a:extLst>
                        <a:ext uri="{FF2B5EF4-FFF2-40B4-BE49-F238E27FC236}">
                          <a16:creationId xmlns:a16="http://schemas.microsoft.com/office/drawing/2014/main" id="{33CC11B5-AFD4-4992-B79C-B2EEEA1BB1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66950" y="4598668"/>
                      <a:ext cx="311186" cy="311186"/>
                    </a:xfrm>
                    <a:custGeom>
                      <a:avLst/>
                      <a:gdLst>
                        <a:gd name="connsiteX0" fmla="*/ 155593 w 311186"/>
                        <a:gd name="connsiteY0" fmla="*/ 0 h 311186"/>
                        <a:gd name="connsiteX1" fmla="*/ 0 w 311186"/>
                        <a:gd name="connsiteY1" fmla="*/ 155593 h 311186"/>
                        <a:gd name="connsiteX2" fmla="*/ 155593 w 311186"/>
                        <a:gd name="connsiteY2" fmla="*/ 311187 h 311186"/>
                        <a:gd name="connsiteX3" fmla="*/ 311186 w 311186"/>
                        <a:gd name="connsiteY3" fmla="*/ 155593 h 311186"/>
                        <a:gd name="connsiteX4" fmla="*/ 155593 w 311186"/>
                        <a:gd name="connsiteY4" fmla="*/ 0 h 3111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11186" h="311186">
                          <a:moveTo>
                            <a:pt x="155593" y="0"/>
                          </a:moveTo>
                          <a:cubicBezTo>
                            <a:pt x="70169" y="0"/>
                            <a:pt x="0" y="70170"/>
                            <a:pt x="0" y="155593"/>
                          </a:cubicBezTo>
                          <a:cubicBezTo>
                            <a:pt x="0" y="241017"/>
                            <a:pt x="70169" y="311187"/>
                            <a:pt x="155593" y="311187"/>
                          </a:cubicBezTo>
                          <a:cubicBezTo>
                            <a:pt x="241017" y="311187"/>
                            <a:pt x="311186" y="241017"/>
                            <a:pt x="311186" y="155593"/>
                          </a:cubicBezTo>
                          <a:cubicBezTo>
                            <a:pt x="311186" y="70170"/>
                            <a:pt x="241017" y="0"/>
                            <a:pt x="155593" y="0"/>
                          </a:cubicBezTo>
                          <a:close/>
                        </a:path>
                      </a:pathLst>
                    </a:custGeom>
                    <a:solidFill>
                      <a:srgbClr val="7F95BC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365" name="任意多边形: 形状 364">
                    <a:extLst>
                      <a:ext uri="{FF2B5EF4-FFF2-40B4-BE49-F238E27FC236}">
                        <a16:creationId xmlns:a16="http://schemas.microsoft.com/office/drawing/2014/main" id="{FA80530B-8EC2-4C8A-93E2-90FD60A32986}"/>
                      </a:ext>
                    </a:extLst>
                  </p:cNvPr>
                  <p:cNvSpPr/>
                  <p:nvPr/>
                </p:nvSpPr>
                <p:spPr>
                  <a:xfrm>
                    <a:off x="4249725" y="4653308"/>
                    <a:ext cx="82764" cy="131461"/>
                  </a:xfrm>
                  <a:custGeom>
                    <a:avLst/>
                    <a:gdLst>
                      <a:gd name="connsiteX0" fmla="*/ 67394 w 82764"/>
                      <a:gd name="connsiteY0" fmla="*/ 131461 h 131461"/>
                      <a:gd name="connsiteX1" fmla="*/ 67394 w 82764"/>
                      <a:gd name="connsiteY1" fmla="*/ 131461 h 131461"/>
                      <a:gd name="connsiteX2" fmla="*/ 52139 w 82764"/>
                      <a:gd name="connsiteY2" fmla="*/ 116207 h 131461"/>
                      <a:gd name="connsiteX3" fmla="*/ 6377 w 82764"/>
                      <a:gd name="connsiteY3" fmla="*/ 27733 h 131461"/>
                      <a:gd name="connsiteX4" fmla="*/ 3326 w 82764"/>
                      <a:gd name="connsiteY4" fmla="*/ 6377 h 131461"/>
                      <a:gd name="connsiteX5" fmla="*/ 24682 w 82764"/>
                      <a:gd name="connsiteY5" fmla="*/ 3326 h 131461"/>
                      <a:gd name="connsiteX6" fmla="*/ 82648 w 82764"/>
                      <a:gd name="connsiteY6" fmla="*/ 119258 h 131461"/>
                      <a:gd name="connsiteX7" fmla="*/ 67394 w 82764"/>
                      <a:gd name="connsiteY7" fmla="*/ 131461 h 131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764" h="131461">
                        <a:moveTo>
                          <a:pt x="67394" y="131461"/>
                        </a:moveTo>
                        <a:cubicBezTo>
                          <a:pt x="67394" y="131461"/>
                          <a:pt x="67394" y="131461"/>
                          <a:pt x="67394" y="131461"/>
                        </a:cubicBezTo>
                        <a:cubicBezTo>
                          <a:pt x="58241" y="131461"/>
                          <a:pt x="52139" y="125360"/>
                          <a:pt x="52139" y="116207"/>
                        </a:cubicBezTo>
                        <a:cubicBezTo>
                          <a:pt x="55190" y="61292"/>
                          <a:pt x="6377" y="27733"/>
                          <a:pt x="6377" y="27733"/>
                        </a:cubicBezTo>
                        <a:cubicBezTo>
                          <a:pt x="275" y="21631"/>
                          <a:pt x="-2776" y="12479"/>
                          <a:pt x="3326" y="6377"/>
                        </a:cubicBezTo>
                        <a:cubicBezTo>
                          <a:pt x="9428" y="275"/>
                          <a:pt x="18580" y="-2776"/>
                          <a:pt x="24682" y="3326"/>
                        </a:cubicBezTo>
                        <a:cubicBezTo>
                          <a:pt x="27733" y="6377"/>
                          <a:pt x="85699" y="46038"/>
                          <a:pt x="82648" y="119258"/>
                        </a:cubicBezTo>
                        <a:cubicBezTo>
                          <a:pt x="82648" y="122309"/>
                          <a:pt x="76546" y="131461"/>
                          <a:pt x="67394" y="131461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050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366" name="图形 1">
                  <a:extLst>
                    <a:ext uri="{FF2B5EF4-FFF2-40B4-BE49-F238E27FC236}">
                      <a16:creationId xmlns:a16="http://schemas.microsoft.com/office/drawing/2014/main" id="{07858376-37E8-482D-A3C7-0D04C69FA559}"/>
                    </a:ext>
                  </a:extLst>
                </p:cNvPr>
                <p:cNvGrpSpPr/>
                <p:nvPr/>
              </p:nvGrpSpPr>
              <p:grpSpPr>
                <a:xfrm>
                  <a:off x="2788644" y="5516973"/>
                  <a:ext cx="311186" cy="366101"/>
                  <a:chOff x="2788644" y="5516973"/>
                  <a:chExt cx="311186" cy="366101"/>
                </a:xfrm>
              </p:grpSpPr>
              <p:grpSp>
                <p:nvGrpSpPr>
                  <p:cNvPr id="367" name="图形 1">
                    <a:extLst>
                      <a:ext uri="{FF2B5EF4-FFF2-40B4-BE49-F238E27FC236}">
                        <a16:creationId xmlns:a16="http://schemas.microsoft.com/office/drawing/2014/main" id="{07858376-37E8-482D-A3C7-0D04C69FA559}"/>
                      </a:ext>
                    </a:extLst>
                  </p:cNvPr>
                  <p:cNvGrpSpPr/>
                  <p:nvPr/>
                </p:nvGrpSpPr>
                <p:grpSpPr>
                  <a:xfrm>
                    <a:off x="2788644" y="5516973"/>
                    <a:ext cx="311186" cy="366101"/>
                    <a:chOff x="2788644" y="5516973"/>
                    <a:chExt cx="311186" cy="366101"/>
                  </a:xfrm>
                </p:grpSpPr>
                <p:sp>
                  <p:nvSpPr>
                    <p:cNvPr id="368" name="任意多边形: 形状 367">
                      <a:extLst>
                        <a:ext uri="{FF2B5EF4-FFF2-40B4-BE49-F238E27FC236}">
                          <a16:creationId xmlns:a16="http://schemas.microsoft.com/office/drawing/2014/main" id="{AB9E1EB7-A1D0-407A-B9D1-A049D213EE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901526" y="5516973"/>
                      <a:ext cx="88474" cy="137288"/>
                    </a:xfrm>
                    <a:custGeom>
                      <a:avLst/>
                      <a:gdLst>
                        <a:gd name="connsiteX0" fmla="*/ 76271 w 88474"/>
                        <a:gd name="connsiteY0" fmla="*/ 0 h 137288"/>
                        <a:gd name="connsiteX1" fmla="*/ 12203 w 88474"/>
                        <a:gd name="connsiteY1" fmla="*/ 0 h 137288"/>
                        <a:gd name="connsiteX2" fmla="*/ 0 w 88474"/>
                        <a:gd name="connsiteY2" fmla="*/ 12203 h 137288"/>
                        <a:gd name="connsiteX3" fmla="*/ 0 w 88474"/>
                        <a:gd name="connsiteY3" fmla="*/ 125085 h 137288"/>
                        <a:gd name="connsiteX4" fmla="*/ 12203 w 88474"/>
                        <a:gd name="connsiteY4" fmla="*/ 137288 h 137288"/>
                        <a:gd name="connsiteX5" fmla="*/ 76271 w 88474"/>
                        <a:gd name="connsiteY5" fmla="*/ 137288 h 137288"/>
                        <a:gd name="connsiteX6" fmla="*/ 88475 w 88474"/>
                        <a:gd name="connsiteY6" fmla="*/ 125085 h 137288"/>
                        <a:gd name="connsiteX7" fmla="*/ 88475 w 88474"/>
                        <a:gd name="connsiteY7" fmla="*/ 9153 h 137288"/>
                        <a:gd name="connsiteX8" fmla="*/ 76271 w 88474"/>
                        <a:gd name="connsiteY8" fmla="*/ 0 h 1372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474" h="137288">
                          <a:moveTo>
                            <a:pt x="76271" y="0"/>
                          </a:moveTo>
                          <a:lnTo>
                            <a:pt x="12203" y="0"/>
                          </a:lnTo>
                          <a:cubicBezTo>
                            <a:pt x="6102" y="0"/>
                            <a:pt x="0" y="6102"/>
                            <a:pt x="0" y="12203"/>
                          </a:cubicBezTo>
                          <a:lnTo>
                            <a:pt x="0" y="125085"/>
                          </a:lnTo>
                          <a:cubicBezTo>
                            <a:pt x="0" y="131187"/>
                            <a:pt x="6102" y="137288"/>
                            <a:pt x="12203" y="137288"/>
                          </a:cubicBezTo>
                          <a:lnTo>
                            <a:pt x="76271" y="137288"/>
                          </a:lnTo>
                          <a:cubicBezTo>
                            <a:pt x="82373" y="137288"/>
                            <a:pt x="88475" y="131187"/>
                            <a:pt x="88475" y="125085"/>
                          </a:cubicBezTo>
                          <a:lnTo>
                            <a:pt x="88475" y="9153"/>
                          </a:lnTo>
                          <a:cubicBezTo>
                            <a:pt x="85424" y="3051"/>
                            <a:pt x="82373" y="0"/>
                            <a:pt x="76271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369" name="任意多边形: 形状 368">
                      <a:extLst>
                        <a:ext uri="{FF2B5EF4-FFF2-40B4-BE49-F238E27FC236}">
                          <a16:creationId xmlns:a16="http://schemas.microsoft.com/office/drawing/2014/main" id="{338A215A-55F3-48B1-90EF-D2668CF415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88644" y="5571888"/>
                      <a:ext cx="311186" cy="311186"/>
                    </a:xfrm>
                    <a:custGeom>
                      <a:avLst/>
                      <a:gdLst>
                        <a:gd name="connsiteX0" fmla="*/ 155593 w 311186"/>
                        <a:gd name="connsiteY0" fmla="*/ 0 h 311186"/>
                        <a:gd name="connsiteX1" fmla="*/ 0 w 311186"/>
                        <a:gd name="connsiteY1" fmla="*/ 155593 h 311186"/>
                        <a:gd name="connsiteX2" fmla="*/ 155593 w 311186"/>
                        <a:gd name="connsiteY2" fmla="*/ 311186 h 311186"/>
                        <a:gd name="connsiteX3" fmla="*/ 311186 w 311186"/>
                        <a:gd name="connsiteY3" fmla="*/ 155593 h 311186"/>
                        <a:gd name="connsiteX4" fmla="*/ 155593 w 311186"/>
                        <a:gd name="connsiteY4" fmla="*/ 0 h 3111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11186" h="311186">
                          <a:moveTo>
                            <a:pt x="155593" y="0"/>
                          </a:moveTo>
                          <a:cubicBezTo>
                            <a:pt x="70169" y="0"/>
                            <a:pt x="0" y="70170"/>
                            <a:pt x="0" y="155593"/>
                          </a:cubicBezTo>
                          <a:cubicBezTo>
                            <a:pt x="0" y="241017"/>
                            <a:pt x="70169" y="311186"/>
                            <a:pt x="155593" y="311186"/>
                          </a:cubicBezTo>
                          <a:cubicBezTo>
                            <a:pt x="241017" y="311186"/>
                            <a:pt x="311186" y="241017"/>
                            <a:pt x="311186" y="155593"/>
                          </a:cubicBezTo>
                          <a:cubicBezTo>
                            <a:pt x="311186" y="70170"/>
                            <a:pt x="244068" y="0"/>
                            <a:pt x="155593" y="0"/>
                          </a:cubicBezTo>
                          <a:close/>
                        </a:path>
                      </a:pathLst>
                    </a:custGeom>
                    <a:solidFill>
                      <a:srgbClr val="7F95BC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370" name="任意多边形: 形状 369">
                    <a:extLst>
                      <a:ext uri="{FF2B5EF4-FFF2-40B4-BE49-F238E27FC236}">
                        <a16:creationId xmlns:a16="http://schemas.microsoft.com/office/drawing/2014/main" id="{57267069-68F2-44E0-BDC4-2BBC9FA462C7}"/>
                      </a:ext>
                    </a:extLst>
                  </p:cNvPr>
                  <p:cNvSpPr/>
                  <p:nvPr/>
                </p:nvSpPr>
                <p:spPr>
                  <a:xfrm>
                    <a:off x="2971420" y="5626528"/>
                    <a:ext cx="82764" cy="131461"/>
                  </a:xfrm>
                  <a:custGeom>
                    <a:avLst/>
                    <a:gdLst>
                      <a:gd name="connsiteX0" fmla="*/ 67394 w 82764"/>
                      <a:gd name="connsiteY0" fmla="*/ 131462 h 131461"/>
                      <a:gd name="connsiteX1" fmla="*/ 67394 w 82764"/>
                      <a:gd name="connsiteY1" fmla="*/ 131462 h 131461"/>
                      <a:gd name="connsiteX2" fmla="*/ 52139 w 82764"/>
                      <a:gd name="connsiteY2" fmla="*/ 116207 h 131461"/>
                      <a:gd name="connsiteX3" fmla="*/ 6377 w 82764"/>
                      <a:gd name="connsiteY3" fmla="*/ 27733 h 131461"/>
                      <a:gd name="connsiteX4" fmla="*/ 3326 w 82764"/>
                      <a:gd name="connsiteY4" fmla="*/ 6377 h 131461"/>
                      <a:gd name="connsiteX5" fmla="*/ 24682 w 82764"/>
                      <a:gd name="connsiteY5" fmla="*/ 3326 h 131461"/>
                      <a:gd name="connsiteX6" fmla="*/ 82648 w 82764"/>
                      <a:gd name="connsiteY6" fmla="*/ 119258 h 131461"/>
                      <a:gd name="connsiteX7" fmla="*/ 67394 w 82764"/>
                      <a:gd name="connsiteY7" fmla="*/ 131462 h 131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764" h="131461">
                        <a:moveTo>
                          <a:pt x="67394" y="131462"/>
                        </a:moveTo>
                        <a:cubicBezTo>
                          <a:pt x="67394" y="131462"/>
                          <a:pt x="67394" y="131462"/>
                          <a:pt x="67394" y="131462"/>
                        </a:cubicBezTo>
                        <a:cubicBezTo>
                          <a:pt x="58241" y="131462"/>
                          <a:pt x="52139" y="125360"/>
                          <a:pt x="52139" y="116207"/>
                        </a:cubicBezTo>
                        <a:cubicBezTo>
                          <a:pt x="55190" y="61292"/>
                          <a:pt x="6377" y="27733"/>
                          <a:pt x="6377" y="27733"/>
                        </a:cubicBezTo>
                        <a:cubicBezTo>
                          <a:pt x="275" y="21631"/>
                          <a:pt x="-2776" y="12478"/>
                          <a:pt x="3326" y="6377"/>
                        </a:cubicBezTo>
                        <a:cubicBezTo>
                          <a:pt x="9428" y="275"/>
                          <a:pt x="18580" y="-2776"/>
                          <a:pt x="24682" y="3326"/>
                        </a:cubicBezTo>
                        <a:cubicBezTo>
                          <a:pt x="27733" y="6377"/>
                          <a:pt x="85699" y="46038"/>
                          <a:pt x="82648" y="119258"/>
                        </a:cubicBezTo>
                        <a:cubicBezTo>
                          <a:pt x="82648" y="122309"/>
                          <a:pt x="76546" y="131462"/>
                          <a:pt x="67394" y="131462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050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371" name="图形 1">
                  <a:extLst>
                    <a:ext uri="{FF2B5EF4-FFF2-40B4-BE49-F238E27FC236}">
                      <a16:creationId xmlns:a16="http://schemas.microsoft.com/office/drawing/2014/main" id="{07858376-37E8-482D-A3C7-0D04C69FA559}"/>
                    </a:ext>
                  </a:extLst>
                </p:cNvPr>
                <p:cNvGrpSpPr/>
                <p:nvPr/>
              </p:nvGrpSpPr>
              <p:grpSpPr>
                <a:xfrm>
                  <a:off x="4628306" y="5446803"/>
                  <a:ext cx="311186" cy="369152"/>
                  <a:chOff x="4628306" y="5446803"/>
                  <a:chExt cx="311186" cy="369152"/>
                </a:xfrm>
              </p:grpSpPr>
              <p:grpSp>
                <p:nvGrpSpPr>
                  <p:cNvPr id="372" name="图形 1">
                    <a:extLst>
                      <a:ext uri="{FF2B5EF4-FFF2-40B4-BE49-F238E27FC236}">
                        <a16:creationId xmlns:a16="http://schemas.microsoft.com/office/drawing/2014/main" id="{07858376-37E8-482D-A3C7-0D04C69FA559}"/>
                      </a:ext>
                    </a:extLst>
                  </p:cNvPr>
                  <p:cNvGrpSpPr/>
                  <p:nvPr/>
                </p:nvGrpSpPr>
                <p:grpSpPr>
                  <a:xfrm>
                    <a:off x="4628306" y="5446803"/>
                    <a:ext cx="311186" cy="369152"/>
                    <a:chOff x="4628306" y="5446803"/>
                    <a:chExt cx="311186" cy="369152"/>
                  </a:xfrm>
                </p:grpSpPr>
                <p:sp>
                  <p:nvSpPr>
                    <p:cNvPr id="373" name="任意多边形: 形状 372">
                      <a:extLst>
                        <a:ext uri="{FF2B5EF4-FFF2-40B4-BE49-F238E27FC236}">
                          <a16:creationId xmlns:a16="http://schemas.microsoft.com/office/drawing/2014/main" id="{33D909B7-1824-485F-AFDB-F60CBD7DAC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41187" y="5446803"/>
                      <a:ext cx="88474" cy="137288"/>
                    </a:xfrm>
                    <a:custGeom>
                      <a:avLst/>
                      <a:gdLst>
                        <a:gd name="connsiteX0" fmla="*/ 76271 w 88474"/>
                        <a:gd name="connsiteY0" fmla="*/ 0 h 137288"/>
                        <a:gd name="connsiteX1" fmla="*/ 12203 w 88474"/>
                        <a:gd name="connsiteY1" fmla="*/ 0 h 137288"/>
                        <a:gd name="connsiteX2" fmla="*/ 0 w 88474"/>
                        <a:gd name="connsiteY2" fmla="*/ 12203 h 137288"/>
                        <a:gd name="connsiteX3" fmla="*/ 0 w 88474"/>
                        <a:gd name="connsiteY3" fmla="*/ 125085 h 137288"/>
                        <a:gd name="connsiteX4" fmla="*/ 12203 w 88474"/>
                        <a:gd name="connsiteY4" fmla="*/ 137288 h 137288"/>
                        <a:gd name="connsiteX5" fmla="*/ 76271 w 88474"/>
                        <a:gd name="connsiteY5" fmla="*/ 137288 h 137288"/>
                        <a:gd name="connsiteX6" fmla="*/ 88475 w 88474"/>
                        <a:gd name="connsiteY6" fmla="*/ 125085 h 137288"/>
                        <a:gd name="connsiteX7" fmla="*/ 88475 w 88474"/>
                        <a:gd name="connsiteY7" fmla="*/ 12203 h 137288"/>
                        <a:gd name="connsiteX8" fmla="*/ 76271 w 88474"/>
                        <a:gd name="connsiteY8" fmla="*/ 0 h 1372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474" h="137288">
                          <a:moveTo>
                            <a:pt x="76271" y="0"/>
                          </a:moveTo>
                          <a:lnTo>
                            <a:pt x="12203" y="0"/>
                          </a:lnTo>
                          <a:cubicBezTo>
                            <a:pt x="6102" y="0"/>
                            <a:pt x="0" y="6102"/>
                            <a:pt x="0" y="12203"/>
                          </a:cubicBezTo>
                          <a:lnTo>
                            <a:pt x="0" y="125085"/>
                          </a:lnTo>
                          <a:cubicBezTo>
                            <a:pt x="0" y="131186"/>
                            <a:pt x="6102" y="137288"/>
                            <a:pt x="12203" y="137288"/>
                          </a:cubicBezTo>
                          <a:lnTo>
                            <a:pt x="76271" y="137288"/>
                          </a:lnTo>
                          <a:cubicBezTo>
                            <a:pt x="82373" y="137288"/>
                            <a:pt x="88475" y="131186"/>
                            <a:pt x="88475" y="125085"/>
                          </a:cubicBezTo>
                          <a:lnTo>
                            <a:pt x="88475" y="12203"/>
                          </a:lnTo>
                          <a:cubicBezTo>
                            <a:pt x="85424" y="6102"/>
                            <a:pt x="82373" y="0"/>
                            <a:pt x="76271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374" name="任意多边形: 形状 373">
                      <a:extLst>
                        <a:ext uri="{FF2B5EF4-FFF2-40B4-BE49-F238E27FC236}">
                          <a16:creationId xmlns:a16="http://schemas.microsoft.com/office/drawing/2014/main" id="{4FD97AA9-D756-4E72-BCFF-9D01209660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628306" y="5504770"/>
                      <a:ext cx="311186" cy="311186"/>
                    </a:xfrm>
                    <a:custGeom>
                      <a:avLst/>
                      <a:gdLst>
                        <a:gd name="connsiteX0" fmla="*/ 155593 w 311186"/>
                        <a:gd name="connsiteY0" fmla="*/ 0 h 311186"/>
                        <a:gd name="connsiteX1" fmla="*/ 0 w 311186"/>
                        <a:gd name="connsiteY1" fmla="*/ 155593 h 311186"/>
                        <a:gd name="connsiteX2" fmla="*/ 155593 w 311186"/>
                        <a:gd name="connsiteY2" fmla="*/ 311186 h 311186"/>
                        <a:gd name="connsiteX3" fmla="*/ 311186 w 311186"/>
                        <a:gd name="connsiteY3" fmla="*/ 155593 h 311186"/>
                        <a:gd name="connsiteX4" fmla="*/ 155593 w 311186"/>
                        <a:gd name="connsiteY4" fmla="*/ 0 h 3111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11186" h="311186">
                          <a:moveTo>
                            <a:pt x="155593" y="0"/>
                          </a:moveTo>
                          <a:cubicBezTo>
                            <a:pt x="70169" y="0"/>
                            <a:pt x="0" y="70169"/>
                            <a:pt x="0" y="155593"/>
                          </a:cubicBezTo>
                          <a:cubicBezTo>
                            <a:pt x="0" y="241017"/>
                            <a:pt x="70169" y="311186"/>
                            <a:pt x="155593" y="311186"/>
                          </a:cubicBezTo>
                          <a:cubicBezTo>
                            <a:pt x="241017" y="311186"/>
                            <a:pt x="311186" y="241017"/>
                            <a:pt x="311186" y="155593"/>
                          </a:cubicBezTo>
                          <a:cubicBezTo>
                            <a:pt x="311186" y="70169"/>
                            <a:pt x="244068" y="0"/>
                            <a:pt x="155593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375" name="任意多边形: 形状 374">
                    <a:extLst>
                      <a:ext uri="{FF2B5EF4-FFF2-40B4-BE49-F238E27FC236}">
                        <a16:creationId xmlns:a16="http://schemas.microsoft.com/office/drawing/2014/main" id="{EF92503E-5F43-4663-AA93-1F9E2B36CA17}"/>
                      </a:ext>
                    </a:extLst>
                  </p:cNvPr>
                  <p:cNvSpPr/>
                  <p:nvPr/>
                </p:nvSpPr>
                <p:spPr>
                  <a:xfrm>
                    <a:off x="4811081" y="5556359"/>
                    <a:ext cx="82764" cy="131461"/>
                  </a:xfrm>
                  <a:custGeom>
                    <a:avLst/>
                    <a:gdLst>
                      <a:gd name="connsiteX0" fmla="*/ 67394 w 82764"/>
                      <a:gd name="connsiteY0" fmla="*/ 131462 h 131461"/>
                      <a:gd name="connsiteX1" fmla="*/ 67394 w 82764"/>
                      <a:gd name="connsiteY1" fmla="*/ 131462 h 131461"/>
                      <a:gd name="connsiteX2" fmla="*/ 52139 w 82764"/>
                      <a:gd name="connsiteY2" fmla="*/ 116207 h 131461"/>
                      <a:gd name="connsiteX3" fmla="*/ 6377 w 82764"/>
                      <a:gd name="connsiteY3" fmla="*/ 27733 h 131461"/>
                      <a:gd name="connsiteX4" fmla="*/ 3326 w 82764"/>
                      <a:gd name="connsiteY4" fmla="*/ 6377 h 131461"/>
                      <a:gd name="connsiteX5" fmla="*/ 24682 w 82764"/>
                      <a:gd name="connsiteY5" fmla="*/ 3326 h 131461"/>
                      <a:gd name="connsiteX6" fmla="*/ 82648 w 82764"/>
                      <a:gd name="connsiteY6" fmla="*/ 119258 h 131461"/>
                      <a:gd name="connsiteX7" fmla="*/ 67394 w 82764"/>
                      <a:gd name="connsiteY7" fmla="*/ 131462 h 131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764" h="131461">
                        <a:moveTo>
                          <a:pt x="67394" y="131462"/>
                        </a:moveTo>
                        <a:cubicBezTo>
                          <a:pt x="67394" y="131462"/>
                          <a:pt x="67394" y="131462"/>
                          <a:pt x="67394" y="131462"/>
                        </a:cubicBezTo>
                        <a:cubicBezTo>
                          <a:pt x="58241" y="131462"/>
                          <a:pt x="52139" y="125360"/>
                          <a:pt x="52139" y="116207"/>
                        </a:cubicBezTo>
                        <a:cubicBezTo>
                          <a:pt x="55190" y="61292"/>
                          <a:pt x="6377" y="27733"/>
                          <a:pt x="6377" y="27733"/>
                        </a:cubicBezTo>
                        <a:cubicBezTo>
                          <a:pt x="275" y="21631"/>
                          <a:pt x="-2776" y="12479"/>
                          <a:pt x="3326" y="6377"/>
                        </a:cubicBezTo>
                        <a:cubicBezTo>
                          <a:pt x="9427" y="275"/>
                          <a:pt x="18580" y="-2776"/>
                          <a:pt x="24682" y="3326"/>
                        </a:cubicBezTo>
                        <a:cubicBezTo>
                          <a:pt x="27733" y="6377"/>
                          <a:pt x="85699" y="46038"/>
                          <a:pt x="82648" y="119258"/>
                        </a:cubicBezTo>
                        <a:cubicBezTo>
                          <a:pt x="82648" y="125360"/>
                          <a:pt x="76546" y="131462"/>
                          <a:pt x="67394" y="131462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050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376" name="图形 1">
                  <a:extLst>
                    <a:ext uri="{FF2B5EF4-FFF2-40B4-BE49-F238E27FC236}">
                      <a16:creationId xmlns:a16="http://schemas.microsoft.com/office/drawing/2014/main" id="{07858376-37E8-482D-A3C7-0D04C69FA559}"/>
                    </a:ext>
                  </a:extLst>
                </p:cNvPr>
                <p:cNvGrpSpPr/>
                <p:nvPr/>
              </p:nvGrpSpPr>
              <p:grpSpPr>
                <a:xfrm>
                  <a:off x="3346950" y="3793244"/>
                  <a:ext cx="311186" cy="369152"/>
                  <a:chOff x="3346950" y="3793244"/>
                  <a:chExt cx="311186" cy="369152"/>
                </a:xfrm>
              </p:grpSpPr>
              <p:grpSp>
                <p:nvGrpSpPr>
                  <p:cNvPr id="377" name="图形 1">
                    <a:extLst>
                      <a:ext uri="{FF2B5EF4-FFF2-40B4-BE49-F238E27FC236}">
                        <a16:creationId xmlns:a16="http://schemas.microsoft.com/office/drawing/2014/main" id="{07858376-37E8-482D-A3C7-0D04C69FA559}"/>
                      </a:ext>
                    </a:extLst>
                  </p:cNvPr>
                  <p:cNvGrpSpPr/>
                  <p:nvPr/>
                </p:nvGrpSpPr>
                <p:grpSpPr>
                  <a:xfrm>
                    <a:off x="3346950" y="3793244"/>
                    <a:ext cx="311186" cy="369152"/>
                    <a:chOff x="3346950" y="3793244"/>
                    <a:chExt cx="311186" cy="369152"/>
                  </a:xfrm>
                </p:grpSpPr>
                <p:sp>
                  <p:nvSpPr>
                    <p:cNvPr id="378" name="任意多边形: 形状 377">
                      <a:extLst>
                        <a:ext uri="{FF2B5EF4-FFF2-40B4-BE49-F238E27FC236}">
                          <a16:creationId xmlns:a16="http://schemas.microsoft.com/office/drawing/2014/main" id="{4388F57C-27E5-4B1E-B9BC-AD4FBE1BBF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459831" y="3793244"/>
                      <a:ext cx="88474" cy="137288"/>
                    </a:xfrm>
                    <a:custGeom>
                      <a:avLst/>
                      <a:gdLst>
                        <a:gd name="connsiteX0" fmla="*/ 76271 w 88474"/>
                        <a:gd name="connsiteY0" fmla="*/ 0 h 137288"/>
                        <a:gd name="connsiteX1" fmla="*/ 12203 w 88474"/>
                        <a:gd name="connsiteY1" fmla="*/ 0 h 137288"/>
                        <a:gd name="connsiteX2" fmla="*/ 0 w 88474"/>
                        <a:gd name="connsiteY2" fmla="*/ 12203 h 137288"/>
                        <a:gd name="connsiteX3" fmla="*/ 0 w 88474"/>
                        <a:gd name="connsiteY3" fmla="*/ 125085 h 137288"/>
                        <a:gd name="connsiteX4" fmla="*/ 12203 w 88474"/>
                        <a:gd name="connsiteY4" fmla="*/ 137288 h 137288"/>
                        <a:gd name="connsiteX5" fmla="*/ 76271 w 88474"/>
                        <a:gd name="connsiteY5" fmla="*/ 137288 h 137288"/>
                        <a:gd name="connsiteX6" fmla="*/ 88475 w 88474"/>
                        <a:gd name="connsiteY6" fmla="*/ 125085 h 137288"/>
                        <a:gd name="connsiteX7" fmla="*/ 88475 w 88474"/>
                        <a:gd name="connsiteY7" fmla="*/ 12203 h 137288"/>
                        <a:gd name="connsiteX8" fmla="*/ 76271 w 88474"/>
                        <a:gd name="connsiteY8" fmla="*/ 0 h 1372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474" h="137288">
                          <a:moveTo>
                            <a:pt x="76271" y="0"/>
                          </a:moveTo>
                          <a:lnTo>
                            <a:pt x="12203" y="0"/>
                          </a:lnTo>
                          <a:cubicBezTo>
                            <a:pt x="6102" y="0"/>
                            <a:pt x="0" y="6102"/>
                            <a:pt x="0" y="12203"/>
                          </a:cubicBezTo>
                          <a:lnTo>
                            <a:pt x="0" y="125085"/>
                          </a:lnTo>
                          <a:cubicBezTo>
                            <a:pt x="0" y="131187"/>
                            <a:pt x="6102" y="137288"/>
                            <a:pt x="12203" y="137288"/>
                          </a:cubicBezTo>
                          <a:lnTo>
                            <a:pt x="76271" y="137288"/>
                          </a:lnTo>
                          <a:cubicBezTo>
                            <a:pt x="82373" y="137288"/>
                            <a:pt x="88475" y="131187"/>
                            <a:pt x="88475" y="125085"/>
                          </a:cubicBezTo>
                          <a:lnTo>
                            <a:pt x="88475" y="12203"/>
                          </a:lnTo>
                          <a:cubicBezTo>
                            <a:pt x="85424" y="6102"/>
                            <a:pt x="82373" y="0"/>
                            <a:pt x="76271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379" name="任意多边形: 形状 378">
                      <a:extLst>
                        <a:ext uri="{FF2B5EF4-FFF2-40B4-BE49-F238E27FC236}">
                          <a16:creationId xmlns:a16="http://schemas.microsoft.com/office/drawing/2014/main" id="{C95098F1-57C2-4494-A3C2-E987700AE3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346950" y="3851210"/>
                      <a:ext cx="311186" cy="311186"/>
                    </a:xfrm>
                    <a:custGeom>
                      <a:avLst/>
                      <a:gdLst>
                        <a:gd name="connsiteX0" fmla="*/ 155593 w 311186"/>
                        <a:gd name="connsiteY0" fmla="*/ 0 h 311186"/>
                        <a:gd name="connsiteX1" fmla="*/ 0 w 311186"/>
                        <a:gd name="connsiteY1" fmla="*/ 155593 h 311186"/>
                        <a:gd name="connsiteX2" fmla="*/ 155593 w 311186"/>
                        <a:gd name="connsiteY2" fmla="*/ 311187 h 311186"/>
                        <a:gd name="connsiteX3" fmla="*/ 311186 w 311186"/>
                        <a:gd name="connsiteY3" fmla="*/ 155593 h 311186"/>
                        <a:gd name="connsiteX4" fmla="*/ 155593 w 311186"/>
                        <a:gd name="connsiteY4" fmla="*/ 0 h 3111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11186" h="311186">
                          <a:moveTo>
                            <a:pt x="155593" y="0"/>
                          </a:moveTo>
                          <a:cubicBezTo>
                            <a:pt x="70169" y="0"/>
                            <a:pt x="0" y="70170"/>
                            <a:pt x="0" y="155593"/>
                          </a:cubicBezTo>
                          <a:cubicBezTo>
                            <a:pt x="0" y="241017"/>
                            <a:pt x="70169" y="311187"/>
                            <a:pt x="155593" y="311187"/>
                          </a:cubicBezTo>
                          <a:cubicBezTo>
                            <a:pt x="241017" y="311187"/>
                            <a:pt x="311186" y="241017"/>
                            <a:pt x="311186" y="155593"/>
                          </a:cubicBezTo>
                          <a:cubicBezTo>
                            <a:pt x="311186" y="70170"/>
                            <a:pt x="241017" y="0"/>
                            <a:pt x="155593" y="0"/>
                          </a:cubicBezTo>
                          <a:close/>
                        </a:path>
                      </a:pathLst>
                    </a:custGeom>
                    <a:solidFill>
                      <a:srgbClr val="7F95BC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380" name="任意多边形: 形状 379">
                    <a:extLst>
                      <a:ext uri="{FF2B5EF4-FFF2-40B4-BE49-F238E27FC236}">
                        <a16:creationId xmlns:a16="http://schemas.microsoft.com/office/drawing/2014/main" id="{B752EC64-C4CE-44BF-BCF6-0F14DD5C9C11}"/>
                      </a:ext>
                    </a:extLst>
                  </p:cNvPr>
                  <p:cNvSpPr/>
                  <p:nvPr/>
                </p:nvSpPr>
                <p:spPr>
                  <a:xfrm>
                    <a:off x="3529725" y="3902799"/>
                    <a:ext cx="82764" cy="131461"/>
                  </a:xfrm>
                  <a:custGeom>
                    <a:avLst/>
                    <a:gdLst>
                      <a:gd name="connsiteX0" fmla="*/ 67394 w 82764"/>
                      <a:gd name="connsiteY0" fmla="*/ 131462 h 131461"/>
                      <a:gd name="connsiteX1" fmla="*/ 67394 w 82764"/>
                      <a:gd name="connsiteY1" fmla="*/ 131462 h 131461"/>
                      <a:gd name="connsiteX2" fmla="*/ 52139 w 82764"/>
                      <a:gd name="connsiteY2" fmla="*/ 116207 h 131461"/>
                      <a:gd name="connsiteX3" fmla="*/ 6377 w 82764"/>
                      <a:gd name="connsiteY3" fmla="*/ 27733 h 131461"/>
                      <a:gd name="connsiteX4" fmla="*/ 3326 w 82764"/>
                      <a:gd name="connsiteY4" fmla="*/ 6377 h 131461"/>
                      <a:gd name="connsiteX5" fmla="*/ 24682 w 82764"/>
                      <a:gd name="connsiteY5" fmla="*/ 3326 h 131461"/>
                      <a:gd name="connsiteX6" fmla="*/ 82648 w 82764"/>
                      <a:gd name="connsiteY6" fmla="*/ 119258 h 131461"/>
                      <a:gd name="connsiteX7" fmla="*/ 67394 w 82764"/>
                      <a:gd name="connsiteY7" fmla="*/ 131462 h 131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764" h="131461">
                        <a:moveTo>
                          <a:pt x="67394" y="131462"/>
                        </a:moveTo>
                        <a:cubicBezTo>
                          <a:pt x="67394" y="131462"/>
                          <a:pt x="67394" y="131462"/>
                          <a:pt x="67394" y="131462"/>
                        </a:cubicBezTo>
                        <a:cubicBezTo>
                          <a:pt x="58241" y="131462"/>
                          <a:pt x="52139" y="125360"/>
                          <a:pt x="52139" y="116207"/>
                        </a:cubicBezTo>
                        <a:cubicBezTo>
                          <a:pt x="55190" y="61292"/>
                          <a:pt x="6377" y="27733"/>
                          <a:pt x="6377" y="27733"/>
                        </a:cubicBezTo>
                        <a:cubicBezTo>
                          <a:pt x="275" y="21631"/>
                          <a:pt x="-2776" y="12478"/>
                          <a:pt x="3326" y="6377"/>
                        </a:cubicBezTo>
                        <a:cubicBezTo>
                          <a:pt x="9428" y="275"/>
                          <a:pt x="18580" y="-2776"/>
                          <a:pt x="24682" y="3326"/>
                        </a:cubicBezTo>
                        <a:cubicBezTo>
                          <a:pt x="27733" y="6377"/>
                          <a:pt x="85699" y="46038"/>
                          <a:pt x="82648" y="119258"/>
                        </a:cubicBezTo>
                        <a:cubicBezTo>
                          <a:pt x="82648" y="125360"/>
                          <a:pt x="76546" y="131462"/>
                          <a:pt x="67394" y="131462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050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381" name="图形 1">
                  <a:extLst>
                    <a:ext uri="{FF2B5EF4-FFF2-40B4-BE49-F238E27FC236}">
                      <a16:creationId xmlns:a16="http://schemas.microsoft.com/office/drawing/2014/main" id="{07858376-37E8-482D-A3C7-0D04C69FA559}"/>
                    </a:ext>
                  </a:extLst>
                </p:cNvPr>
                <p:cNvGrpSpPr/>
                <p:nvPr/>
              </p:nvGrpSpPr>
              <p:grpSpPr>
                <a:xfrm>
                  <a:off x="3859492" y="3021380"/>
                  <a:ext cx="311186" cy="369152"/>
                  <a:chOff x="3859492" y="3021380"/>
                  <a:chExt cx="311186" cy="369152"/>
                </a:xfrm>
              </p:grpSpPr>
              <p:grpSp>
                <p:nvGrpSpPr>
                  <p:cNvPr id="382" name="图形 1">
                    <a:extLst>
                      <a:ext uri="{FF2B5EF4-FFF2-40B4-BE49-F238E27FC236}">
                        <a16:creationId xmlns:a16="http://schemas.microsoft.com/office/drawing/2014/main" id="{07858376-37E8-482D-A3C7-0D04C69FA559}"/>
                      </a:ext>
                    </a:extLst>
                  </p:cNvPr>
                  <p:cNvGrpSpPr/>
                  <p:nvPr/>
                </p:nvGrpSpPr>
                <p:grpSpPr>
                  <a:xfrm>
                    <a:off x="3859492" y="3021380"/>
                    <a:ext cx="311186" cy="369152"/>
                    <a:chOff x="3859492" y="3021380"/>
                    <a:chExt cx="311186" cy="369152"/>
                  </a:xfrm>
                </p:grpSpPr>
                <p:sp>
                  <p:nvSpPr>
                    <p:cNvPr id="383" name="任意多边形: 形状 382">
                      <a:extLst>
                        <a:ext uri="{FF2B5EF4-FFF2-40B4-BE49-F238E27FC236}">
                          <a16:creationId xmlns:a16="http://schemas.microsoft.com/office/drawing/2014/main" id="{C03192DA-EACB-463D-9042-CA2C9EA832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969322" y="3021380"/>
                      <a:ext cx="88474" cy="137288"/>
                    </a:xfrm>
                    <a:custGeom>
                      <a:avLst/>
                      <a:gdLst>
                        <a:gd name="connsiteX0" fmla="*/ 76271 w 88474"/>
                        <a:gd name="connsiteY0" fmla="*/ 0 h 137288"/>
                        <a:gd name="connsiteX1" fmla="*/ 12203 w 88474"/>
                        <a:gd name="connsiteY1" fmla="*/ 0 h 137288"/>
                        <a:gd name="connsiteX2" fmla="*/ 0 w 88474"/>
                        <a:gd name="connsiteY2" fmla="*/ 12203 h 137288"/>
                        <a:gd name="connsiteX3" fmla="*/ 0 w 88474"/>
                        <a:gd name="connsiteY3" fmla="*/ 125085 h 137288"/>
                        <a:gd name="connsiteX4" fmla="*/ 12203 w 88474"/>
                        <a:gd name="connsiteY4" fmla="*/ 137288 h 137288"/>
                        <a:gd name="connsiteX5" fmla="*/ 76271 w 88474"/>
                        <a:gd name="connsiteY5" fmla="*/ 137288 h 137288"/>
                        <a:gd name="connsiteX6" fmla="*/ 88475 w 88474"/>
                        <a:gd name="connsiteY6" fmla="*/ 125085 h 137288"/>
                        <a:gd name="connsiteX7" fmla="*/ 88475 w 88474"/>
                        <a:gd name="connsiteY7" fmla="*/ 12203 h 137288"/>
                        <a:gd name="connsiteX8" fmla="*/ 76271 w 88474"/>
                        <a:gd name="connsiteY8" fmla="*/ 0 h 1372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474" h="137288">
                          <a:moveTo>
                            <a:pt x="76271" y="0"/>
                          </a:moveTo>
                          <a:lnTo>
                            <a:pt x="12203" y="0"/>
                          </a:lnTo>
                          <a:cubicBezTo>
                            <a:pt x="6102" y="0"/>
                            <a:pt x="0" y="6102"/>
                            <a:pt x="0" y="12203"/>
                          </a:cubicBezTo>
                          <a:lnTo>
                            <a:pt x="0" y="125085"/>
                          </a:lnTo>
                          <a:cubicBezTo>
                            <a:pt x="0" y="131186"/>
                            <a:pt x="6102" y="137288"/>
                            <a:pt x="12203" y="137288"/>
                          </a:cubicBezTo>
                          <a:lnTo>
                            <a:pt x="76271" y="137288"/>
                          </a:lnTo>
                          <a:cubicBezTo>
                            <a:pt x="82373" y="137288"/>
                            <a:pt x="88475" y="131186"/>
                            <a:pt x="88475" y="125085"/>
                          </a:cubicBezTo>
                          <a:lnTo>
                            <a:pt x="88475" y="12203"/>
                          </a:lnTo>
                          <a:cubicBezTo>
                            <a:pt x="88475" y="6102"/>
                            <a:pt x="82373" y="0"/>
                            <a:pt x="76271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384" name="任意多边形: 形状 383">
                      <a:extLst>
                        <a:ext uri="{FF2B5EF4-FFF2-40B4-BE49-F238E27FC236}">
                          <a16:creationId xmlns:a16="http://schemas.microsoft.com/office/drawing/2014/main" id="{00ABA589-4F56-42FA-A628-149336E893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59492" y="3079346"/>
                      <a:ext cx="311186" cy="311186"/>
                    </a:xfrm>
                    <a:custGeom>
                      <a:avLst/>
                      <a:gdLst>
                        <a:gd name="connsiteX0" fmla="*/ 155593 w 311186"/>
                        <a:gd name="connsiteY0" fmla="*/ 0 h 311186"/>
                        <a:gd name="connsiteX1" fmla="*/ 0 w 311186"/>
                        <a:gd name="connsiteY1" fmla="*/ 155593 h 311186"/>
                        <a:gd name="connsiteX2" fmla="*/ 155593 w 311186"/>
                        <a:gd name="connsiteY2" fmla="*/ 311186 h 311186"/>
                        <a:gd name="connsiteX3" fmla="*/ 311186 w 311186"/>
                        <a:gd name="connsiteY3" fmla="*/ 155593 h 311186"/>
                        <a:gd name="connsiteX4" fmla="*/ 155593 w 311186"/>
                        <a:gd name="connsiteY4" fmla="*/ 0 h 3111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11186" h="311186">
                          <a:moveTo>
                            <a:pt x="155593" y="0"/>
                          </a:moveTo>
                          <a:cubicBezTo>
                            <a:pt x="70169" y="0"/>
                            <a:pt x="0" y="70169"/>
                            <a:pt x="0" y="155593"/>
                          </a:cubicBezTo>
                          <a:cubicBezTo>
                            <a:pt x="0" y="241017"/>
                            <a:pt x="70169" y="311186"/>
                            <a:pt x="155593" y="311186"/>
                          </a:cubicBezTo>
                          <a:cubicBezTo>
                            <a:pt x="241017" y="311186"/>
                            <a:pt x="311186" y="241017"/>
                            <a:pt x="311186" y="155593"/>
                          </a:cubicBezTo>
                          <a:cubicBezTo>
                            <a:pt x="311186" y="70169"/>
                            <a:pt x="241017" y="0"/>
                            <a:pt x="155593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385" name="任意多边形: 形状 384">
                    <a:extLst>
                      <a:ext uri="{FF2B5EF4-FFF2-40B4-BE49-F238E27FC236}">
                        <a16:creationId xmlns:a16="http://schemas.microsoft.com/office/drawing/2014/main" id="{DFACA664-E6C6-4C5A-A9BA-BF532C47DCA1}"/>
                      </a:ext>
                    </a:extLst>
                  </p:cNvPr>
                  <p:cNvSpPr/>
                  <p:nvPr/>
                </p:nvSpPr>
                <p:spPr>
                  <a:xfrm>
                    <a:off x="4042268" y="3130935"/>
                    <a:ext cx="82764" cy="131461"/>
                  </a:xfrm>
                  <a:custGeom>
                    <a:avLst/>
                    <a:gdLst>
                      <a:gd name="connsiteX0" fmla="*/ 67394 w 82764"/>
                      <a:gd name="connsiteY0" fmla="*/ 131462 h 131461"/>
                      <a:gd name="connsiteX1" fmla="*/ 67394 w 82764"/>
                      <a:gd name="connsiteY1" fmla="*/ 131462 h 131461"/>
                      <a:gd name="connsiteX2" fmla="*/ 52140 w 82764"/>
                      <a:gd name="connsiteY2" fmla="*/ 116207 h 131461"/>
                      <a:gd name="connsiteX3" fmla="*/ 6377 w 82764"/>
                      <a:gd name="connsiteY3" fmla="*/ 27733 h 131461"/>
                      <a:gd name="connsiteX4" fmla="*/ 3326 w 82764"/>
                      <a:gd name="connsiteY4" fmla="*/ 6377 h 131461"/>
                      <a:gd name="connsiteX5" fmla="*/ 24682 w 82764"/>
                      <a:gd name="connsiteY5" fmla="*/ 3326 h 131461"/>
                      <a:gd name="connsiteX6" fmla="*/ 82648 w 82764"/>
                      <a:gd name="connsiteY6" fmla="*/ 119258 h 131461"/>
                      <a:gd name="connsiteX7" fmla="*/ 67394 w 82764"/>
                      <a:gd name="connsiteY7" fmla="*/ 131462 h 131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764" h="131461">
                        <a:moveTo>
                          <a:pt x="67394" y="131462"/>
                        </a:moveTo>
                        <a:cubicBezTo>
                          <a:pt x="67394" y="131462"/>
                          <a:pt x="64343" y="131462"/>
                          <a:pt x="67394" y="131462"/>
                        </a:cubicBezTo>
                        <a:cubicBezTo>
                          <a:pt x="58241" y="131462"/>
                          <a:pt x="52140" y="125360"/>
                          <a:pt x="52140" y="116207"/>
                        </a:cubicBezTo>
                        <a:cubicBezTo>
                          <a:pt x="55190" y="61292"/>
                          <a:pt x="6377" y="27733"/>
                          <a:pt x="6377" y="27733"/>
                        </a:cubicBezTo>
                        <a:cubicBezTo>
                          <a:pt x="275" y="21631"/>
                          <a:pt x="-2776" y="12479"/>
                          <a:pt x="3326" y="6377"/>
                        </a:cubicBezTo>
                        <a:cubicBezTo>
                          <a:pt x="9428" y="275"/>
                          <a:pt x="18580" y="-2776"/>
                          <a:pt x="24682" y="3326"/>
                        </a:cubicBezTo>
                        <a:cubicBezTo>
                          <a:pt x="27733" y="6377"/>
                          <a:pt x="85699" y="46038"/>
                          <a:pt x="82648" y="119258"/>
                        </a:cubicBezTo>
                        <a:cubicBezTo>
                          <a:pt x="79597" y="125360"/>
                          <a:pt x="73495" y="131462"/>
                          <a:pt x="67394" y="131462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050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386" name="图形 1">
                <a:extLst>
                  <a:ext uri="{FF2B5EF4-FFF2-40B4-BE49-F238E27FC236}">
                    <a16:creationId xmlns:a16="http://schemas.microsoft.com/office/drawing/2014/main" id="{07858376-37E8-482D-A3C7-0D04C69FA559}"/>
                  </a:ext>
                </a:extLst>
              </p:cNvPr>
              <p:cNvGrpSpPr/>
              <p:nvPr/>
            </p:nvGrpSpPr>
            <p:grpSpPr>
              <a:xfrm>
                <a:off x="2919831" y="5563937"/>
                <a:ext cx="970169" cy="1014731"/>
                <a:chOff x="2919831" y="5563937"/>
                <a:chExt cx="970169" cy="1014731"/>
              </a:xfrm>
            </p:grpSpPr>
            <p:sp>
              <p:nvSpPr>
                <p:cNvPr id="387" name="任意多边形: 形状 386">
                  <a:extLst>
                    <a:ext uri="{FF2B5EF4-FFF2-40B4-BE49-F238E27FC236}">
                      <a16:creationId xmlns:a16="http://schemas.microsoft.com/office/drawing/2014/main" id="{2D296A90-E5F7-4653-8098-70CCF6B8150B}"/>
                    </a:ext>
                  </a:extLst>
                </p:cNvPr>
                <p:cNvSpPr/>
                <p:nvPr/>
              </p:nvSpPr>
              <p:spPr>
                <a:xfrm>
                  <a:off x="3093729" y="5974600"/>
                  <a:ext cx="796271" cy="604067"/>
                </a:xfrm>
                <a:custGeom>
                  <a:avLst/>
                  <a:gdLst>
                    <a:gd name="connsiteX0" fmla="*/ 0 w 796271"/>
                    <a:gd name="connsiteY0" fmla="*/ 0 h 604067"/>
                    <a:gd name="connsiteX1" fmla="*/ 796271 w 796271"/>
                    <a:gd name="connsiteY1" fmla="*/ 0 h 604067"/>
                    <a:gd name="connsiteX2" fmla="*/ 796271 w 796271"/>
                    <a:gd name="connsiteY2" fmla="*/ 604068 h 604067"/>
                    <a:gd name="connsiteX3" fmla="*/ 0 w 796271"/>
                    <a:gd name="connsiteY3" fmla="*/ 604068 h 604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96271" h="604067">
                      <a:moveTo>
                        <a:pt x="0" y="0"/>
                      </a:moveTo>
                      <a:lnTo>
                        <a:pt x="796271" y="0"/>
                      </a:lnTo>
                      <a:lnTo>
                        <a:pt x="796271" y="604068"/>
                      </a:lnTo>
                      <a:lnTo>
                        <a:pt x="0" y="604068"/>
                      </a:lnTo>
                      <a:close/>
                    </a:path>
                  </a:pathLst>
                </a:custGeom>
                <a:solidFill>
                  <a:srgbClr val="C4544E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88" name="任意多边形: 形状 387">
                  <a:extLst>
                    <a:ext uri="{FF2B5EF4-FFF2-40B4-BE49-F238E27FC236}">
                      <a16:creationId xmlns:a16="http://schemas.microsoft.com/office/drawing/2014/main" id="{98527C8B-DA47-462A-96AC-712AFB015E5F}"/>
                    </a:ext>
                  </a:extLst>
                </p:cNvPr>
                <p:cNvSpPr/>
                <p:nvPr/>
              </p:nvSpPr>
              <p:spPr>
                <a:xfrm>
                  <a:off x="2919831" y="5974600"/>
                  <a:ext cx="796271" cy="604067"/>
                </a:xfrm>
                <a:custGeom>
                  <a:avLst/>
                  <a:gdLst>
                    <a:gd name="connsiteX0" fmla="*/ 0 w 796271"/>
                    <a:gd name="connsiteY0" fmla="*/ 0 h 604067"/>
                    <a:gd name="connsiteX1" fmla="*/ 796271 w 796271"/>
                    <a:gd name="connsiteY1" fmla="*/ 0 h 604067"/>
                    <a:gd name="connsiteX2" fmla="*/ 796271 w 796271"/>
                    <a:gd name="connsiteY2" fmla="*/ 604068 h 604067"/>
                    <a:gd name="connsiteX3" fmla="*/ 0 w 796271"/>
                    <a:gd name="connsiteY3" fmla="*/ 604068 h 604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96271" h="604067">
                      <a:moveTo>
                        <a:pt x="0" y="0"/>
                      </a:moveTo>
                      <a:lnTo>
                        <a:pt x="796271" y="0"/>
                      </a:lnTo>
                      <a:lnTo>
                        <a:pt x="796271" y="604068"/>
                      </a:lnTo>
                      <a:lnTo>
                        <a:pt x="0" y="604068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89" name="任意多边形: 形状 388">
                  <a:extLst>
                    <a:ext uri="{FF2B5EF4-FFF2-40B4-BE49-F238E27FC236}">
                      <a16:creationId xmlns:a16="http://schemas.microsoft.com/office/drawing/2014/main" id="{407A5443-6B3F-446B-98DC-EC34DA3E9657}"/>
                    </a:ext>
                  </a:extLst>
                </p:cNvPr>
                <p:cNvSpPr/>
                <p:nvPr/>
              </p:nvSpPr>
              <p:spPr>
                <a:xfrm>
                  <a:off x="3261526" y="5974600"/>
                  <a:ext cx="109830" cy="604067"/>
                </a:xfrm>
                <a:custGeom>
                  <a:avLst/>
                  <a:gdLst>
                    <a:gd name="connsiteX0" fmla="*/ 0 w 109830"/>
                    <a:gd name="connsiteY0" fmla="*/ 0 h 604067"/>
                    <a:gd name="connsiteX1" fmla="*/ 109830 w 109830"/>
                    <a:gd name="connsiteY1" fmla="*/ 0 h 604067"/>
                    <a:gd name="connsiteX2" fmla="*/ 109830 w 109830"/>
                    <a:gd name="connsiteY2" fmla="*/ 604068 h 604067"/>
                    <a:gd name="connsiteX3" fmla="*/ 0 w 109830"/>
                    <a:gd name="connsiteY3" fmla="*/ 604068 h 604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830" h="604067">
                      <a:moveTo>
                        <a:pt x="0" y="0"/>
                      </a:moveTo>
                      <a:lnTo>
                        <a:pt x="109830" y="0"/>
                      </a:lnTo>
                      <a:lnTo>
                        <a:pt x="109830" y="604068"/>
                      </a:lnTo>
                      <a:lnTo>
                        <a:pt x="0" y="604068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90" name="任意多边形: 形状 389">
                  <a:extLst>
                    <a:ext uri="{FF2B5EF4-FFF2-40B4-BE49-F238E27FC236}">
                      <a16:creationId xmlns:a16="http://schemas.microsoft.com/office/drawing/2014/main" id="{B3C27407-8B43-43CF-9AEF-465A367C5655}"/>
                    </a:ext>
                  </a:extLst>
                </p:cNvPr>
                <p:cNvSpPr/>
                <p:nvPr/>
              </p:nvSpPr>
              <p:spPr>
                <a:xfrm>
                  <a:off x="3130239" y="5563937"/>
                  <a:ext cx="605164" cy="445557"/>
                </a:xfrm>
                <a:custGeom>
                  <a:avLst/>
                  <a:gdLst>
                    <a:gd name="connsiteX0" fmla="*/ 591965 w 605164"/>
                    <a:gd name="connsiteY0" fmla="*/ 117782 h 445557"/>
                    <a:gd name="connsiteX1" fmla="*/ 375354 w 605164"/>
                    <a:gd name="connsiteY1" fmla="*/ 123884 h 445557"/>
                    <a:gd name="connsiteX2" fmla="*/ 274676 w 605164"/>
                    <a:gd name="connsiteY2" fmla="*/ 242867 h 445557"/>
                    <a:gd name="connsiteX3" fmla="*/ 265524 w 605164"/>
                    <a:gd name="connsiteY3" fmla="*/ 169647 h 445557"/>
                    <a:gd name="connsiteX4" fmla="*/ 134337 w 605164"/>
                    <a:gd name="connsiteY4" fmla="*/ 1850 h 445557"/>
                    <a:gd name="connsiteX5" fmla="*/ 100 w 605164"/>
                    <a:gd name="connsiteY5" fmla="*/ 187951 h 445557"/>
                    <a:gd name="connsiteX6" fmla="*/ 149592 w 605164"/>
                    <a:gd name="connsiteY6" fmla="*/ 419816 h 445557"/>
                    <a:gd name="connsiteX7" fmla="*/ 186202 w 605164"/>
                    <a:gd name="connsiteY7" fmla="*/ 441172 h 445557"/>
                    <a:gd name="connsiteX8" fmla="*/ 201456 w 605164"/>
                    <a:gd name="connsiteY8" fmla="*/ 432019 h 445557"/>
                    <a:gd name="connsiteX9" fmla="*/ 512642 w 605164"/>
                    <a:gd name="connsiteY9" fmla="*/ 316087 h 445557"/>
                    <a:gd name="connsiteX10" fmla="*/ 591965 w 605164"/>
                    <a:gd name="connsiteY10" fmla="*/ 117782 h 445557"/>
                    <a:gd name="connsiteX11" fmla="*/ 430270 w 605164"/>
                    <a:gd name="connsiteY11" fmla="*/ 166596 h 445557"/>
                    <a:gd name="connsiteX12" fmla="*/ 442473 w 605164"/>
                    <a:gd name="connsiteY12" fmla="*/ 252019 h 445557"/>
                    <a:gd name="connsiteX13" fmla="*/ 366202 w 605164"/>
                    <a:gd name="connsiteY13" fmla="*/ 306935 h 445557"/>
                    <a:gd name="connsiteX14" fmla="*/ 259422 w 605164"/>
                    <a:gd name="connsiteY14" fmla="*/ 361850 h 445557"/>
                    <a:gd name="connsiteX15" fmla="*/ 265524 w 605164"/>
                    <a:gd name="connsiteY15" fmla="*/ 346596 h 445557"/>
                    <a:gd name="connsiteX16" fmla="*/ 430270 w 605164"/>
                    <a:gd name="connsiteY16" fmla="*/ 166596 h 445557"/>
                    <a:gd name="connsiteX17" fmla="*/ 128236 w 605164"/>
                    <a:gd name="connsiteY17" fmla="*/ 258121 h 445557"/>
                    <a:gd name="connsiteX18" fmla="*/ 116032 w 605164"/>
                    <a:gd name="connsiteY18" fmla="*/ 117782 h 445557"/>
                    <a:gd name="connsiteX19" fmla="*/ 201456 w 605164"/>
                    <a:gd name="connsiteY19" fmla="*/ 148291 h 445557"/>
                    <a:gd name="connsiteX20" fmla="*/ 186202 w 605164"/>
                    <a:gd name="connsiteY20" fmla="*/ 352697 h 445557"/>
                    <a:gd name="connsiteX21" fmla="*/ 128236 w 605164"/>
                    <a:gd name="connsiteY21" fmla="*/ 258121 h 445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605164" h="445557">
                      <a:moveTo>
                        <a:pt x="591965" y="117782"/>
                      </a:moveTo>
                      <a:cubicBezTo>
                        <a:pt x="546202" y="47613"/>
                        <a:pt x="430270" y="84223"/>
                        <a:pt x="375354" y="123884"/>
                      </a:cubicBezTo>
                      <a:cubicBezTo>
                        <a:pt x="332642" y="154392"/>
                        <a:pt x="302134" y="200155"/>
                        <a:pt x="274676" y="242867"/>
                      </a:cubicBezTo>
                      <a:cubicBezTo>
                        <a:pt x="274676" y="218460"/>
                        <a:pt x="271626" y="194053"/>
                        <a:pt x="265524" y="169647"/>
                      </a:cubicBezTo>
                      <a:cubicBezTo>
                        <a:pt x="256371" y="105579"/>
                        <a:pt x="225863" y="-16455"/>
                        <a:pt x="134337" y="1850"/>
                      </a:cubicBezTo>
                      <a:cubicBezTo>
                        <a:pt x="51964" y="17104"/>
                        <a:pt x="3151" y="114731"/>
                        <a:pt x="100" y="187951"/>
                      </a:cubicBezTo>
                      <a:cubicBezTo>
                        <a:pt x="-2951" y="291680"/>
                        <a:pt x="64168" y="374053"/>
                        <a:pt x="149592" y="419816"/>
                      </a:cubicBezTo>
                      <a:cubicBezTo>
                        <a:pt x="149592" y="438121"/>
                        <a:pt x="170948" y="453375"/>
                        <a:pt x="186202" y="441172"/>
                      </a:cubicBezTo>
                      <a:cubicBezTo>
                        <a:pt x="192303" y="438121"/>
                        <a:pt x="195354" y="435070"/>
                        <a:pt x="201456" y="432019"/>
                      </a:cubicBezTo>
                      <a:cubicBezTo>
                        <a:pt x="308236" y="404562"/>
                        <a:pt x="424168" y="386256"/>
                        <a:pt x="512642" y="316087"/>
                      </a:cubicBezTo>
                      <a:cubicBezTo>
                        <a:pt x="564507" y="276426"/>
                        <a:pt x="634676" y="181850"/>
                        <a:pt x="591965" y="117782"/>
                      </a:cubicBezTo>
                      <a:close/>
                      <a:moveTo>
                        <a:pt x="430270" y="166596"/>
                      </a:moveTo>
                      <a:cubicBezTo>
                        <a:pt x="457727" y="172697"/>
                        <a:pt x="472981" y="215409"/>
                        <a:pt x="442473" y="252019"/>
                      </a:cubicBezTo>
                      <a:cubicBezTo>
                        <a:pt x="424168" y="273375"/>
                        <a:pt x="390608" y="291680"/>
                        <a:pt x="366202" y="306935"/>
                      </a:cubicBezTo>
                      <a:cubicBezTo>
                        <a:pt x="332642" y="328291"/>
                        <a:pt x="296032" y="349646"/>
                        <a:pt x="259422" y="361850"/>
                      </a:cubicBezTo>
                      <a:cubicBezTo>
                        <a:pt x="262473" y="355748"/>
                        <a:pt x="262473" y="349646"/>
                        <a:pt x="265524" y="346596"/>
                      </a:cubicBezTo>
                      <a:cubicBezTo>
                        <a:pt x="289931" y="306935"/>
                        <a:pt x="344846" y="181850"/>
                        <a:pt x="430270" y="166596"/>
                      </a:cubicBezTo>
                      <a:close/>
                      <a:moveTo>
                        <a:pt x="128236" y="258121"/>
                      </a:moveTo>
                      <a:cubicBezTo>
                        <a:pt x="106880" y="212358"/>
                        <a:pt x="94676" y="166596"/>
                        <a:pt x="116032" y="117782"/>
                      </a:cubicBezTo>
                      <a:cubicBezTo>
                        <a:pt x="140439" y="62867"/>
                        <a:pt x="192303" y="102528"/>
                        <a:pt x="201456" y="148291"/>
                      </a:cubicBezTo>
                      <a:cubicBezTo>
                        <a:pt x="216710" y="209308"/>
                        <a:pt x="207558" y="288629"/>
                        <a:pt x="186202" y="352697"/>
                      </a:cubicBezTo>
                      <a:cubicBezTo>
                        <a:pt x="161795" y="322189"/>
                        <a:pt x="143490" y="291680"/>
                        <a:pt x="128236" y="258121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91" name="任意多边形: 形状 390">
                  <a:extLst>
                    <a:ext uri="{FF2B5EF4-FFF2-40B4-BE49-F238E27FC236}">
                      <a16:creationId xmlns:a16="http://schemas.microsoft.com/office/drawing/2014/main" id="{EFAC9743-34F1-4F97-8889-EFF9861735AC}"/>
                    </a:ext>
                  </a:extLst>
                </p:cNvPr>
                <p:cNvSpPr/>
                <p:nvPr/>
              </p:nvSpPr>
              <p:spPr>
                <a:xfrm>
                  <a:off x="3054068" y="5962499"/>
                  <a:ext cx="249651" cy="445899"/>
                </a:xfrm>
                <a:custGeom>
                  <a:avLst/>
                  <a:gdLst>
                    <a:gd name="connsiteX0" fmla="*/ 207458 w 249651"/>
                    <a:gd name="connsiteY0" fmla="*/ 5999 h 445899"/>
                    <a:gd name="connsiteX1" fmla="*/ 0 w 249651"/>
                    <a:gd name="connsiteY1" fmla="*/ 420915 h 445899"/>
                    <a:gd name="connsiteX2" fmla="*/ 30508 w 249651"/>
                    <a:gd name="connsiteY2" fmla="*/ 445321 h 445899"/>
                    <a:gd name="connsiteX3" fmla="*/ 88475 w 249651"/>
                    <a:gd name="connsiteY3" fmla="*/ 433118 h 445899"/>
                    <a:gd name="connsiteX4" fmla="*/ 106780 w 249651"/>
                    <a:gd name="connsiteY4" fmla="*/ 408711 h 445899"/>
                    <a:gd name="connsiteX5" fmla="*/ 134237 w 249651"/>
                    <a:gd name="connsiteY5" fmla="*/ 204304 h 445899"/>
                    <a:gd name="connsiteX6" fmla="*/ 241017 w 249651"/>
                    <a:gd name="connsiteY6" fmla="*/ 45660 h 445899"/>
                    <a:gd name="connsiteX7" fmla="*/ 244068 w 249651"/>
                    <a:gd name="connsiteY7" fmla="*/ 36508 h 445899"/>
                    <a:gd name="connsiteX8" fmla="*/ 207458 w 249651"/>
                    <a:gd name="connsiteY8" fmla="*/ 5999 h 445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49651" h="445899">
                      <a:moveTo>
                        <a:pt x="207458" y="5999"/>
                      </a:moveTo>
                      <a:cubicBezTo>
                        <a:pt x="79322" y="109728"/>
                        <a:pt x="6102" y="259220"/>
                        <a:pt x="0" y="420915"/>
                      </a:cubicBezTo>
                      <a:cubicBezTo>
                        <a:pt x="0" y="439219"/>
                        <a:pt x="15254" y="448372"/>
                        <a:pt x="30508" y="445321"/>
                      </a:cubicBezTo>
                      <a:cubicBezTo>
                        <a:pt x="48814" y="442270"/>
                        <a:pt x="70170" y="439219"/>
                        <a:pt x="88475" y="433118"/>
                      </a:cubicBezTo>
                      <a:cubicBezTo>
                        <a:pt x="97627" y="430067"/>
                        <a:pt x="106780" y="417863"/>
                        <a:pt x="106780" y="408711"/>
                      </a:cubicBezTo>
                      <a:cubicBezTo>
                        <a:pt x="97627" y="335491"/>
                        <a:pt x="106780" y="268372"/>
                        <a:pt x="134237" y="204304"/>
                      </a:cubicBezTo>
                      <a:cubicBezTo>
                        <a:pt x="170847" y="146338"/>
                        <a:pt x="213559" y="91423"/>
                        <a:pt x="241017" y="45660"/>
                      </a:cubicBezTo>
                      <a:cubicBezTo>
                        <a:pt x="244068" y="42609"/>
                        <a:pt x="244068" y="39559"/>
                        <a:pt x="244068" y="36508"/>
                      </a:cubicBezTo>
                      <a:cubicBezTo>
                        <a:pt x="262373" y="15152"/>
                        <a:pt x="231864" y="-12306"/>
                        <a:pt x="207458" y="5999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92" name="任意多边形: 形状 391">
                  <a:extLst>
                    <a:ext uri="{FF2B5EF4-FFF2-40B4-BE49-F238E27FC236}">
                      <a16:creationId xmlns:a16="http://schemas.microsoft.com/office/drawing/2014/main" id="{C09C440B-9BD9-4C01-8AF1-E5ED69C7F6D5}"/>
                    </a:ext>
                  </a:extLst>
                </p:cNvPr>
                <p:cNvSpPr/>
                <p:nvPr/>
              </p:nvSpPr>
              <p:spPr>
                <a:xfrm>
                  <a:off x="3340657" y="5975704"/>
                  <a:ext cx="142817" cy="300167"/>
                </a:xfrm>
                <a:custGeom>
                  <a:avLst/>
                  <a:gdLst>
                    <a:gd name="connsiteX0" fmla="*/ 134428 w 142817"/>
                    <a:gd name="connsiteY0" fmla="*/ 181947 h 300167"/>
                    <a:gd name="connsiteX1" fmla="*/ 64258 w 142817"/>
                    <a:gd name="connsiteY1" fmla="*/ 20252 h 300167"/>
                    <a:gd name="connsiteX2" fmla="*/ 55106 w 142817"/>
                    <a:gd name="connsiteY2" fmla="*/ 4998 h 300167"/>
                    <a:gd name="connsiteX3" fmla="*/ 15445 w 142817"/>
                    <a:gd name="connsiteY3" fmla="*/ 17201 h 300167"/>
                    <a:gd name="connsiteX4" fmla="*/ 42903 w 142817"/>
                    <a:gd name="connsiteY4" fmla="*/ 288726 h 300167"/>
                    <a:gd name="connsiteX5" fmla="*/ 85614 w 142817"/>
                    <a:gd name="connsiteY5" fmla="*/ 288726 h 300167"/>
                    <a:gd name="connsiteX6" fmla="*/ 137479 w 142817"/>
                    <a:gd name="connsiteY6" fmla="*/ 218557 h 300167"/>
                    <a:gd name="connsiteX7" fmla="*/ 134428 w 142817"/>
                    <a:gd name="connsiteY7" fmla="*/ 181947 h 300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2817" h="300167">
                      <a:moveTo>
                        <a:pt x="134428" y="181947"/>
                      </a:moveTo>
                      <a:cubicBezTo>
                        <a:pt x="82564" y="142286"/>
                        <a:pt x="73411" y="81269"/>
                        <a:pt x="64258" y="20252"/>
                      </a:cubicBezTo>
                      <a:cubicBezTo>
                        <a:pt x="64258" y="11100"/>
                        <a:pt x="58157" y="8049"/>
                        <a:pt x="55106" y="4998"/>
                      </a:cubicBezTo>
                      <a:cubicBezTo>
                        <a:pt x="42903" y="-4155"/>
                        <a:pt x="21547" y="-1104"/>
                        <a:pt x="15445" y="17201"/>
                      </a:cubicBezTo>
                      <a:cubicBezTo>
                        <a:pt x="-12013" y="108727"/>
                        <a:pt x="-2860" y="203303"/>
                        <a:pt x="42903" y="288726"/>
                      </a:cubicBezTo>
                      <a:cubicBezTo>
                        <a:pt x="52055" y="303981"/>
                        <a:pt x="76462" y="303981"/>
                        <a:pt x="85614" y="288726"/>
                      </a:cubicBezTo>
                      <a:cubicBezTo>
                        <a:pt x="100869" y="264320"/>
                        <a:pt x="116123" y="239913"/>
                        <a:pt x="137479" y="218557"/>
                      </a:cubicBezTo>
                      <a:cubicBezTo>
                        <a:pt x="143581" y="209405"/>
                        <a:pt x="146631" y="191099"/>
                        <a:pt x="134428" y="181947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393" name="图形 1">
                <a:extLst>
                  <a:ext uri="{FF2B5EF4-FFF2-40B4-BE49-F238E27FC236}">
                    <a16:creationId xmlns:a16="http://schemas.microsoft.com/office/drawing/2014/main" id="{07858376-37E8-482D-A3C7-0D04C69FA559}"/>
                  </a:ext>
                </a:extLst>
              </p:cNvPr>
              <p:cNvGrpSpPr/>
              <p:nvPr/>
            </p:nvGrpSpPr>
            <p:grpSpPr>
              <a:xfrm>
                <a:off x="3844238" y="5729626"/>
                <a:ext cx="970169" cy="849041"/>
                <a:chOff x="3844238" y="5729626"/>
                <a:chExt cx="970169" cy="849041"/>
              </a:xfrm>
            </p:grpSpPr>
            <p:sp>
              <p:nvSpPr>
                <p:cNvPr id="394" name="任意多边形: 形状 393">
                  <a:extLst>
                    <a:ext uri="{FF2B5EF4-FFF2-40B4-BE49-F238E27FC236}">
                      <a16:creationId xmlns:a16="http://schemas.microsoft.com/office/drawing/2014/main" id="{37D30E2C-AAE5-4124-99E5-C7BCEE0C970C}"/>
                    </a:ext>
                  </a:extLst>
                </p:cNvPr>
                <p:cNvSpPr/>
                <p:nvPr/>
              </p:nvSpPr>
              <p:spPr>
                <a:xfrm>
                  <a:off x="4018136" y="6096634"/>
                  <a:ext cx="796271" cy="482033"/>
                </a:xfrm>
                <a:custGeom>
                  <a:avLst/>
                  <a:gdLst>
                    <a:gd name="connsiteX0" fmla="*/ 0 w 796271"/>
                    <a:gd name="connsiteY0" fmla="*/ 0 h 482033"/>
                    <a:gd name="connsiteX1" fmla="*/ 796271 w 796271"/>
                    <a:gd name="connsiteY1" fmla="*/ 0 h 482033"/>
                    <a:gd name="connsiteX2" fmla="*/ 796271 w 796271"/>
                    <a:gd name="connsiteY2" fmla="*/ 482034 h 482033"/>
                    <a:gd name="connsiteX3" fmla="*/ 0 w 796271"/>
                    <a:gd name="connsiteY3" fmla="*/ 482034 h 482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96271" h="482033">
                      <a:moveTo>
                        <a:pt x="0" y="0"/>
                      </a:moveTo>
                      <a:lnTo>
                        <a:pt x="796271" y="0"/>
                      </a:lnTo>
                      <a:lnTo>
                        <a:pt x="796271" y="482034"/>
                      </a:lnTo>
                      <a:lnTo>
                        <a:pt x="0" y="482034"/>
                      </a:lnTo>
                      <a:close/>
                    </a:path>
                  </a:pathLst>
                </a:custGeom>
                <a:solidFill>
                  <a:srgbClr val="728CB2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95" name="任意多边形: 形状 394">
                  <a:extLst>
                    <a:ext uri="{FF2B5EF4-FFF2-40B4-BE49-F238E27FC236}">
                      <a16:creationId xmlns:a16="http://schemas.microsoft.com/office/drawing/2014/main" id="{77B3E7D8-D542-4C08-A1BE-FA7B6CF355C3}"/>
                    </a:ext>
                  </a:extLst>
                </p:cNvPr>
                <p:cNvSpPr/>
                <p:nvPr/>
              </p:nvSpPr>
              <p:spPr>
                <a:xfrm>
                  <a:off x="3844238" y="6096634"/>
                  <a:ext cx="796271" cy="482033"/>
                </a:xfrm>
                <a:custGeom>
                  <a:avLst/>
                  <a:gdLst>
                    <a:gd name="connsiteX0" fmla="*/ 0 w 796271"/>
                    <a:gd name="connsiteY0" fmla="*/ 0 h 482033"/>
                    <a:gd name="connsiteX1" fmla="*/ 796271 w 796271"/>
                    <a:gd name="connsiteY1" fmla="*/ 0 h 482033"/>
                    <a:gd name="connsiteX2" fmla="*/ 796271 w 796271"/>
                    <a:gd name="connsiteY2" fmla="*/ 482034 h 482033"/>
                    <a:gd name="connsiteX3" fmla="*/ 0 w 796271"/>
                    <a:gd name="connsiteY3" fmla="*/ 482034 h 482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96271" h="482033">
                      <a:moveTo>
                        <a:pt x="0" y="0"/>
                      </a:moveTo>
                      <a:lnTo>
                        <a:pt x="796271" y="0"/>
                      </a:lnTo>
                      <a:lnTo>
                        <a:pt x="796271" y="482034"/>
                      </a:lnTo>
                      <a:lnTo>
                        <a:pt x="0" y="482034"/>
                      </a:lnTo>
                      <a:close/>
                    </a:path>
                  </a:pathLst>
                </a:custGeom>
                <a:solidFill>
                  <a:srgbClr val="7F95BC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96" name="任意多边形: 形状 395">
                  <a:extLst>
                    <a:ext uri="{FF2B5EF4-FFF2-40B4-BE49-F238E27FC236}">
                      <a16:creationId xmlns:a16="http://schemas.microsoft.com/office/drawing/2014/main" id="{C679AADB-6D47-405E-94B4-B57BDE4481DE}"/>
                    </a:ext>
                  </a:extLst>
                </p:cNvPr>
                <p:cNvSpPr/>
                <p:nvPr/>
              </p:nvSpPr>
              <p:spPr>
                <a:xfrm>
                  <a:off x="4185933" y="6096634"/>
                  <a:ext cx="109830" cy="482033"/>
                </a:xfrm>
                <a:custGeom>
                  <a:avLst/>
                  <a:gdLst>
                    <a:gd name="connsiteX0" fmla="*/ 0 w 109830"/>
                    <a:gd name="connsiteY0" fmla="*/ 0 h 482033"/>
                    <a:gd name="connsiteX1" fmla="*/ 109831 w 109830"/>
                    <a:gd name="connsiteY1" fmla="*/ 0 h 482033"/>
                    <a:gd name="connsiteX2" fmla="*/ 109831 w 109830"/>
                    <a:gd name="connsiteY2" fmla="*/ 482034 h 482033"/>
                    <a:gd name="connsiteX3" fmla="*/ 0 w 109830"/>
                    <a:gd name="connsiteY3" fmla="*/ 482034 h 482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830" h="482033">
                      <a:moveTo>
                        <a:pt x="0" y="0"/>
                      </a:moveTo>
                      <a:lnTo>
                        <a:pt x="109831" y="0"/>
                      </a:lnTo>
                      <a:lnTo>
                        <a:pt x="109831" y="482034"/>
                      </a:lnTo>
                      <a:lnTo>
                        <a:pt x="0" y="482034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97" name="任意多边形: 形状 396">
                  <a:extLst>
                    <a:ext uri="{FF2B5EF4-FFF2-40B4-BE49-F238E27FC236}">
                      <a16:creationId xmlns:a16="http://schemas.microsoft.com/office/drawing/2014/main" id="{805823FA-1223-4D41-8685-ECB9EC8284EB}"/>
                    </a:ext>
                  </a:extLst>
                </p:cNvPr>
                <p:cNvSpPr/>
                <p:nvPr/>
              </p:nvSpPr>
              <p:spPr>
                <a:xfrm>
                  <a:off x="3966417" y="5729626"/>
                  <a:ext cx="500168" cy="411457"/>
                </a:xfrm>
                <a:custGeom>
                  <a:avLst/>
                  <a:gdLst>
                    <a:gd name="connsiteX0" fmla="*/ 30363 w 500168"/>
                    <a:gd name="connsiteY0" fmla="*/ 16160 h 411457"/>
                    <a:gd name="connsiteX1" fmla="*/ 204261 w 500168"/>
                    <a:gd name="connsiteY1" fmla="*/ 80228 h 411457"/>
                    <a:gd name="connsiteX2" fmla="*/ 253075 w 500168"/>
                    <a:gd name="connsiteY2" fmla="*/ 208364 h 411457"/>
                    <a:gd name="connsiteX3" fmla="*/ 280532 w 500168"/>
                    <a:gd name="connsiteY3" fmla="*/ 150398 h 411457"/>
                    <a:gd name="connsiteX4" fmla="*/ 436126 w 500168"/>
                    <a:gd name="connsiteY4" fmla="*/ 43618 h 411457"/>
                    <a:gd name="connsiteX5" fmla="*/ 491041 w 500168"/>
                    <a:gd name="connsiteY5" fmla="*/ 238872 h 411457"/>
                    <a:gd name="connsiteX6" fmla="*/ 301888 w 500168"/>
                    <a:gd name="connsiteY6" fmla="*/ 394466 h 411457"/>
                    <a:gd name="connsiteX7" fmla="*/ 265278 w 500168"/>
                    <a:gd name="connsiteY7" fmla="*/ 403618 h 411457"/>
                    <a:gd name="connsiteX8" fmla="*/ 256126 w 500168"/>
                    <a:gd name="connsiteY8" fmla="*/ 391415 h 411457"/>
                    <a:gd name="connsiteX9" fmla="*/ 36465 w 500168"/>
                    <a:gd name="connsiteY9" fmla="*/ 205313 h 411457"/>
                    <a:gd name="connsiteX10" fmla="*/ 30363 w 500168"/>
                    <a:gd name="connsiteY10" fmla="*/ 16160 h 411457"/>
                    <a:gd name="connsiteX11" fmla="*/ 146295 w 500168"/>
                    <a:gd name="connsiteY11" fmla="*/ 101584 h 411457"/>
                    <a:gd name="connsiteX12" fmla="*/ 112736 w 500168"/>
                    <a:gd name="connsiteY12" fmla="*/ 171754 h 411457"/>
                    <a:gd name="connsiteX13" fmla="*/ 158499 w 500168"/>
                    <a:gd name="connsiteY13" fmla="*/ 238872 h 411457"/>
                    <a:gd name="connsiteX14" fmla="*/ 231719 w 500168"/>
                    <a:gd name="connsiteY14" fmla="*/ 315143 h 411457"/>
                    <a:gd name="connsiteX15" fmla="*/ 231719 w 500168"/>
                    <a:gd name="connsiteY15" fmla="*/ 299889 h 411457"/>
                    <a:gd name="connsiteX16" fmla="*/ 146295 w 500168"/>
                    <a:gd name="connsiteY16" fmla="*/ 101584 h 411457"/>
                    <a:gd name="connsiteX17" fmla="*/ 372058 w 500168"/>
                    <a:gd name="connsiteY17" fmla="*/ 263279 h 411457"/>
                    <a:gd name="connsiteX18" fmla="*/ 423922 w 500168"/>
                    <a:gd name="connsiteY18" fmla="*/ 150398 h 411457"/>
                    <a:gd name="connsiteX19" fmla="*/ 344600 w 500168"/>
                    <a:gd name="connsiteY19" fmla="*/ 153448 h 411457"/>
                    <a:gd name="connsiteX20" fmla="*/ 298837 w 500168"/>
                    <a:gd name="connsiteY20" fmla="*/ 330398 h 411457"/>
                    <a:gd name="connsiteX21" fmla="*/ 372058 w 500168"/>
                    <a:gd name="connsiteY21" fmla="*/ 263279 h 411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00168" h="411457">
                      <a:moveTo>
                        <a:pt x="30363" y="16160"/>
                      </a:moveTo>
                      <a:cubicBezTo>
                        <a:pt x="88329" y="-29602"/>
                        <a:pt x="173753" y="31415"/>
                        <a:pt x="204261" y="80228"/>
                      </a:cubicBezTo>
                      <a:cubicBezTo>
                        <a:pt x="228668" y="119889"/>
                        <a:pt x="240871" y="162601"/>
                        <a:pt x="253075" y="208364"/>
                      </a:cubicBezTo>
                      <a:cubicBezTo>
                        <a:pt x="262227" y="187008"/>
                        <a:pt x="271380" y="168703"/>
                        <a:pt x="280532" y="150398"/>
                      </a:cubicBezTo>
                      <a:cubicBezTo>
                        <a:pt x="307990" y="98533"/>
                        <a:pt x="365956" y="3957"/>
                        <a:pt x="436126" y="43618"/>
                      </a:cubicBezTo>
                      <a:cubicBezTo>
                        <a:pt x="497143" y="77177"/>
                        <a:pt x="512397" y="174804"/>
                        <a:pt x="491041" y="238872"/>
                      </a:cubicBezTo>
                      <a:cubicBezTo>
                        <a:pt x="463583" y="327347"/>
                        <a:pt x="384261" y="376160"/>
                        <a:pt x="301888" y="394466"/>
                      </a:cubicBezTo>
                      <a:cubicBezTo>
                        <a:pt x="298837" y="409720"/>
                        <a:pt x="277482" y="418872"/>
                        <a:pt x="265278" y="403618"/>
                      </a:cubicBezTo>
                      <a:cubicBezTo>
                        <a:pt x="262227" y="400567"/>
                        <a:pt x="259176" y="394466"/>
                        <a:pt x="256126" y="391415"/>
                      </a:cubicBezTo>
                      <a:cubicBezTo>
                        <a:pt x="176804" y="339550"/>
                        <a:pt x="85278" y="290737"/>
                        <a:pt x="36465" y="205313"/>
                      </a:cubicBezTo>
                      <a:cubicBezTo>
                        <a:pt x="5956" y="159550"/>
                        <a:pt x="-24552" y="58872"/>
                        <a:pt x="30363" y="16160"/>
                      </a:cubicBezTo>
                      <a:close/>
                      <a:moveTo>
                        <a:pt x="146295" y="101584"/>
                      </a:moveTo>
                      <a:cubicBezTo>
                        <a:pt x="121888" y="101584"/>
                        <a:pt x="97482" y="132093"/>
                        <a:pt x="112736" y="171754"/>
                      </a:cubicBezTo>
                      <a:cubicBezTo>
                        <a:pt x="121888" y="196161"/>
                        <a:pt x="143244" y="220567"/>
                        <a:pt x="158499" y="238872"/>
                      </a:cubicBezTo>
                      <a:cubicBezTo>
                        <a:pt x="179854" y="266330"/>
                        <a:pt x="204261" y="293788"/>
                        <a:pt x="231719" y="315143"/>
                      </a:cubicBezTo>
                      <a:cubicBezTo>
                        <a:pt x="231719" y="309042"/>
                        <a:pt x="231719" y="305991"/>
                        <a:pt x="231719" y="299889"/>
                      </a:cubicBezTo>
                      <a:cubicBezTo>
                        <a:pt x="222566" y="260228"/>
                        <a:pt x="213414" y="138194"/>
                        <a:pt x="146295" y="101584"/>
                      </a:cubicBezTo>
                      <a:close/>
                      <a:moveTo>
                        <a:pt x="372058" y="263279"/>
                      </a:moveTo>
                      <a:cubicBezTo>
                        <a:pt x="402566" y="232771"/>
                        <a:pt x="426973" y="196161"/>
                        <a:pt x="423922" y="150398"/>
                      </a:cubicBezTo>
                      <a:cubicBezTo>
                        <a:pt x="420871" y="95483"/>
                        <a:pt x="365956" y="116838"/>
                        <a:pt x="344600" y="153448"/>
                      </a:cubicBezTo>
                      <a:cubicBezTo>
                        <a:pt x="314092" y="199211"/>
                        <a:pt x="298837" y="269381"/>
                        <a:pt x="298837" y="330398"/>
                      </a:cubicBezTo>
                      <a:cubicBezTo>
                        <a:pt x="323244" y="309042"/>
                        <a:pt x="347651" y="287686"/>
                        <a:pt x="372058" y="263279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98" name="任意多边形: 形状 397">
                  <a:extLst>
                    <a:ext uri="{FF2B5EF4-FFF2-40B4-BE49-F238E27FC236}">
                      <a16:creationId xmlns:a16="http://schemas.microsoft.com/office/drawing/2014/main" id="{B58EC31B-E112-4778-BE7F-F2CB60547F09}"/>
                    </a:ext>
                  </a:extLst>
                </p:cNvPr>
                <p:cNvSpPr/>
                <p:nvPr/>
              </p:nvSpPr>
              <p:spPr>
                <a:xfrm>
                  <a:off x="4280509" y="6093481"/>
                  <a:ext cx="214925" cy="238458"/>
                </a:xfrm>
                <a:custGeom>
                  <a:avLst/>
                  <a:gdLst>
                    <a:gd name="connsiteX0" fmla="*/ 79322 w 214925"/>
                    <a:gd name="connsiteY0" fmla="*/ 201458 h 238458"/>
                    <a:gd name="connsiteX1" fmla="*/ 6102 w 214925"/>
                    <a:gd name="connsiteY1" fmla="*/ 39763 h 238458"/>
                    <a:gd name="connsiteX2" fmla="*/ 0 w 214925"/>
                    <a:gd name="connsiteY2" fmla="*/ 21458 h 238458"/>
                    <a:gd name="connsiteX3" fmla="*/ 33559 w 214925"/>
                    <a:gd name="connsiteY3" fmla="*/ 3153 h 238458"/>
                    <a:gd name="connsiteX4" fmla="*/ 213559 w 214925"/>
                    <a:gd name="connsiteY4" fmla="*/ 207559 h 238458"/>
                    <a:gd name="connsiteX5" fmla="*/ 186102 w 214925"/>
                    <a:gd name="connsiteY5" fmla="*/ 238068 h 238458"/>
                    <a:gd name="connsiteX6" fmla="*/ 103729 w 214925"/>
                    <a:gd name="connsiteY6" fmla="*/ 225865 h 238458"/>
                    <a:gd name="connsiteX7" fmla="*/ 79322 w 214925"/>
                    <a:gd name="connsiteY7" fmla="*/ 201458 h 2384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4925" h="238458">
                      <a:moveTo>
                        <a:pt x="79322" y="201458"/>
                      </a:moveTo>
                      <a:cubicBezTo>
                        <a:pt x="82373" y="137390"/>
                        <a:pt x="45763" y="88576"/>
                        <a:pt x="6102" y="39763"/>
                      </a:cubicBezTo>
                      <a:cubicBezTo>
                        <a:pt x="0" y="33661"/>
                        <a:pt x="0" y="27560"/>
                        <a:pt x="0" y="21458"/>
                      </a:cubicBezTo>
                      <a:cubicBezTo>
                        <a:pt x="0" y="6204"/>
                        <a:pt x="15254" y="-6000"/>
                        <a:pt x="33559" y="3153"/>
                      </a:cubicBezTo>
                      <a:cubicBezTo>
                        <a:pt x="118983" y="45865"/>
                        <a:pt x="180000" y="119085"/>
                        <a:pt x="213559" y="207559"/>
                      </a:cubicBezTo>
                      <a:cubicBezTo>
                        <a:pt x="219661" y="225865"/>
                        <a:pt x="204407" y="241119"/>
                        <a:pt x="186102" y="238068"/>
                      </a:cubicBezTo>
                      <a:cubicBezTo>
                        <a:pt x="158644" y="231966"/>
                        <a:pt x="131187" y="225865"/>
                        <a:pt x="103729" y="225865"/>
                      </a:cubicBezTo>
                      <a:cubicBezTo>
                        <a:pt x="91525" y="225865"/>
                        <a:pt x="79322" y="216712"/>
                        <a:pt x="79322" y="201458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399" name="任意多边形: 形状 398">
              <a:extLst>
                <a:ext uri="{FF2B5EF4-FFF2-40B4-BE49-F238E27FC236}">
                  <a16:creationId xmlns:a16="http://schemas.microsoft.com/office/drawing/2014/main" id="{8D5A58E8-7FC6-4CF7-9920-73721543FD36}"/>
                </a:ext>
              </a:extLst>
            </p:cNvPr>
            <p:cNvSpPr/>
            <p:nvPr/>
          </p:nvSpPr>
          <p:spPr>
            <a:xfrm>
              <a:off x="6255521" y="4080024"/>
              <a:ext cx="1498352" cy="2278220"/>
            </a:xfrm>
            <a:custGeom>
              <a:avLst/>
              <a:gdLst>
                <a:gd name="connsiteX0" fmla="*/ 465666 w 1498352"/>
                <a:gd name="connsiteY0" fmla="*/ 21356 h 2278220"/>
                <a:gd name="connsiteX1" fmla="*/ 145327 w 1498352"/>
                <a:gd name="connsiteY1" fmla="*/ 1131864 h 2278220"/>
                <a:gd name="connsiteX2" fmla="*/ 4987 w 1498352"/>
                <a:gd name="connsiteY2" fmla="*/ 2144746 h 2278220"/>
                <a:gd name="connsiteX3" fmla="*/ 230750 w 1498352"/>
                <a:gd name="connsiteY3" fmla="*/ 2227119 h 2278220"/>
                <a:gd name="connsiteX4" fmla="*/ 563293 w 1498352"/>
                <a:gd name="connsiteY4" fmla="*/ 1336271 h 2278220"/>
                <a:gd name="connsiteX5" fmla="*/ 962954 w 1498352"/>
                <a:gd name="connsiteY5" fmla="*/ 503390 h 2278220"/>
                <a:gd name="connsiteX6" fmla="*/ 947700 w 1498352"/>
                <a:gd name="connsiteY6" fmla="*/ 1452203 h 2278220"/>
                <a:gd name="connsiteX7" fmla="*/ 1179564 w 1498352"/>
                <a:gd name="connsiteY7" fmla="*/ 2242373 h 2278220"/>
                <a:gd name="connsiteX8" fmla="*/ 1423632 w 1498352"/>
                <a:gd name="connsiteY8" fmla="*/ 2236271 h 2278220"/>
                <a:gd name="connsiteX9" fmla="*/ 1408377 w 1498352"/>
                <a:gd name="connsiteY9" fmla="*/ 1458305 h 2278220"/>
                <a:gd name="connsiteX10" fmla="*/ 1487700 w 1498352"/>
                <a:gd name="connsiteY10" fmla="*/ 0 h 2278220"/>
                <a:gd name="connsiteX11" fmla="*/ 465666 w 1498352"/>
                <a:gd name="connsiteY11" fmla="*/ 21356 h 2278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98352" h="2278220">
                  <a:moveTo>
                    <a:pt x="465666" y="21356"/>
                  </a:moveTo>
                  <a:lnTo>
                    <a:pt x="145327" y="1131864"/>
                  </a:lnTo>
                  <a:cubicBezTo>
                    <a:pt x="145327" y="1131864"/>
                    <a:pt x="-31623" y="1952543"/>
                    <a:pt x="4987" y="2144746"/>
                  </a:cubicBezTo>
                  <a:cubicBezTo>
                    <a:pt x="17191" y="2211865"/>
                    <a:pt x="181937" y="2260678"/>
                    <a:pt x="230750" y="2227119"/>
                  </a:cubicBezTo>
                  <a:cubicBezTo>
                    <a:pt x="352784" y="2169153"/>
                    <a:pt x="563293" y="1336271"/>
                    <a:pt x="563293" y="1336271"/>
                  </a:cubicBezTo>
                  <a:cubicBezTo>
                    <a:pt x="563293" y="1336271"/>
                    <a:pt x="953801" y="518644"/>
                    <a:pt x="962954" y="503390"/>
                  </a:cubicBezTo>
                  <a:cubicBezTo>
                    <a:pt x="978208" y="472881"/>
                    <a:pt x="947700" y="1452203"/>
                    <a:pt x="947700" y="1452203"/>
                  </a:cubicBezTo>
                  <a:cubicBezTo>
                    <a:pt x="947700" y="1452203"/>
                    <a:pt x="1054479" y="2181356"/>
                    <a:pt x="1179564" y="2242373"/>
                  </a:cubicBezTo>
                  <a:cubicBezTo>
                    <a:pt x="1234479" y="2288136"/>
                    <a:pt x="1380920" y="2294238"/>
                    <a:pt x="1423632" y="2236271"/>
                  </a:cubicBezTo>
                  <a:cubicBezTo>
                    <a:pt x="1512106" y="2117288"/>
                    <a:pt x="1405327" y="1558983"/>
                    <a:pt x="1408377" y="1458305"/>
                  </a:cubicBezTo>
                  <a:cubicBezTo>
                    <a:pt x="1417530" y="1305763"/>
                    <a:pt x="1533462" y="97627"/>
                    <a:pt x="1487700" y="0"/>
                  </a:cubicBezTo>
                  <a:cubicBezTo>
                    <a:pt x="789056" y="33559"/>
                    <a:pt x="465666" y="21356"/>
                    <a:pt x="465666" y="21356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0" name="任意多边形: 形状 399">
              <a:extLst>
                <a:ext uri="{FF2B5EF4-FFF2-40B4-BE49-F238E27FC236}">
                  <a16:creationId xmlns:a16="http://schemas.microsoft.com/office/drawing/2014/main" id="{56647E9B-C6EB-411A-8948-D6FBD2C41487}"/>
                </a:ext>
              </a:extLst>
            </p:cNvPr>
            <p:cNvSpPr/>
            <p:nvPr/>
          </p:nvSpPr>
          <p:spPr>
            <a:xfrm>
              <a:off x="7154407" y="4226464"/>
              <a:ext cx="70169" cy="363050"/>
            </a:xfrm>
            <a:custGeom>
              <a:avLst/>
              <a:gdLst>
                <a:gd name="connsiteX0" fmla="*/ 64068 w 70169"/>
                <a:gd name="connsiteY0" fmla="*/ 363051 h 363050"/>
                <a:gd name="connsiteX1" fmla="*/ 57966 w 70169"/>
                <a:gd name="connsiteY1" fmla="*/ 360000 h 363050"/>
                <a:gd name="connsiteX2" fmla="*/ 0 w 70169"/>
                <a:gd name="connsiteY2" fmla="*/ 6102 h 363050"/>
                <a:gd name="connsiteX3" fmla="*/ 6102 w 70169"/>
                <a:gd name="connsiteY3" fmla="*/ 0 h 363050"/>
                <a:gd name="connsiteX4" fmla="*/ 12204 w 70169"/>
                <a:gd name="connsiteY4" fmla="*/ 6102 h 363050"/>
                <a:gd name="connsiteX5" fmla="*/ 70170 w 70169"/>
                <a:gd name="connsiteY5" fmla="*/ 356949 h 363050"/>
                <a:gd name="connsiteX6" fmla="*/ 64068 w 70169"/>
                <a:gd name="connsiteY6" fmla="*/ 363051 h 363050"/>
                <a:gd name="connsiteX7" fmla="*/ 64068 w 70169"/>
                <a:gd name="connsiteY7" fmla="*/ 363051 h 36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169" h="363050">
                  <a:moveTo>
                    <a:pt x="64068" y="363051"/>
                  </a:moveTo>
                  <a:cubicBezTo>
                    <a:pt x="61017" y="363051"/>
                    <a:pt x="61017" y="363051"/>
                    <a:pt x="57966" y="360000"/>
                  </a:cubicBezTo>
                  <a:cubicBezTo>
                    <a:pt x="9153" y="244068"/>
                    <a:pt x="0" y="15254"/>
                    <a:pt x="0" y="6102"/>
                  </a:cubicBezTo>
                  <a:cubicBezTo>
                    <a:pt x="0" y="3051"/>
                    <a:pt x="3051" y="0"/>
                    <a:pt x="6102" y="0"/>
                  </a:cubicBezTo>
                  <a:cubicBezTo>
                    <a:pt x="9153" y="0"/>
                    <a:pt x="12204" y="3051"/>
                    <a:pt x="12204" y="6102"/>
                  </a:cubicBezTo>
                  <a:cubicBezTo>
                    <a:pt x="12204" y="9152"/>
                    <a:pt x="21356" y="244068"/>
                    <a:pt x="70170" y="356949"/>
                  </a:cubicBezTo>
                  <a:cubicBezTo>
                    <a:pt x="70170" y="360000"/>
                    <a:pt x="70170" y="363051"/>
                    <a:pt x="64068" y="363051"/>
                  </a:cubicBezTo>
                  <a:cubicBezTo>
                    <a:pt x="64068" y="363051"/>
                    <a:pt x="64068" y="363051"/>
                    <a:pt x="64068" y="363051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1" name="任意多边形: 形状 400">
              <a:extLst>
                <a:ext uri="{FF2B5EF4-FFF2-40B4-BE49-F238E27FC236}">
                  <a16:creationId xmlns:a16="http://schemas.microsoft.com/office/drawing/2014/main" id="{1549D557-AF9F-46C0-851A-40C1F5622CE2}"/>
                </a:ext>
              </a:extLst>
            </p:cNvPr>
            <p:cNvSpPr/>
            <p:nvPr/>
          </p:nvSpPr>
          <p:spPr>
            <a:xfrm>
              <a:off x="7041526" y="4159346"/>
              <a:ext cx="155593" cy="353898"/>
            </a:xfrm>
            <a:custGeom>
              <a:avLst/>
              <a:gdLst>
                <a:gd name="connsiteX0" fmla="*/ 146441 w 155593"/>
                <a:gd name="connsiteY0" fmla="*/ 353899 h 353898"/>
                <a:gd name="connsiteX1" fmla="*/ 143390 w 155593"/>
                <a:gd name="connsiteY1" fmla="*/ 353899 h 353898"/>
                <a:gd name="connsiteX2" fmla="*/ 33560 w 155593"/>
                <a:gd name="connsiteY2" fmla="*/ 274576 h 353898"/>
                <a:gd name="connsiteX3" fmla="*/ 0 w 155593"/>
                <a:gd name="connsiteY3" fmla="*/ 6102 h 353898"/>
                <a:gd name="connsiteX4" fmla="*/ 6102 w 155593"/>
                <a:gd name="connsiteY4" fmla="*/ 0 h 353898"/>
                <a:gd name="connsiteX5" fmla="*/ 6102 w 155593"/>
                <a:gd name="connsiteY5" fmla="*/ 0 h 353898"/>
                <a:gd name="connsiteX6" fmla="*/ 12203 w 155593"/>
                <a:gd name="connsiteY6" fmla="*/ 6102 h 353898"/>
                <a:gd name="connsiteX7" fmla="*/ 45763 w 155593"/>
                <a:gd name="connsiteY7" fmla="*/ 268475 h 353898"/>
                <a:gd name="connsiteX8" fmla="*/ 152542 w 155593"/>
                <a:gd name="connsiteY8" fmla="*/ 344746 h 353898"/>
                <a:gd name="connsiteX9" fmla="*/ 155593 w 155593"/>
                <a:gd name="connsiteY9" fmla="*/ 353899 h 353898"/>
                <a:gd name="connsiteX10" fmla="*/ 146441 w 155593"/>
                <a:gd name="connsiteY10" fmla="*/ 353899 h 353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5593" h="353898">
                  <a:moveTo>
                    <a:pt x="146441" y="353899"/>
                  </a:moveTo>
                  <a:cubicBezTo>
                    <a:pt x="146441" y="353899"/>
                    <a:pt x="143390" y="353899"/>
                    <a:pt x="143390" y="353899"/>
                  </a:cubicBezTo>
                  <a:cubicBezTo>
                    <a:pt x="134237" y="347797"/>
                    <a:pt x="45763" y="289831"/>
                    <a:pt x="33560" y="274576"/>
                  </a:cubicBezTo>
                  <a:cubicBezTo>
                    <a:pt x="21356" y="259322"/>
                    <a:pt x="3051" y="48814"/>
                    <a:pt x="0" y="6102"/>
                  </a:cubicBezTo>
                  <a:cubicBezTo>
                    <a:pt x="0" y="3051"/>
                    <a:pt x="3051" y="0"/>
                    <a:pt x="6102" y="0"/>
                  </a:cubicBezTo>
                  <a:cubicBezTo>
                    <a:pt x="6102" y="0"/>
                    <a:pt x="6102" y="0"/>
                    <a:pt x="6102" y="0"/>
                  </a:cubicBezTo>
                  <a:cubicBezTo>
                    <a:pt x="9153" y="0"/>
                    <a:pt x="12203" y="3051"/>
                    <a:pt x="12203" y="6102"/>
                  </a:cubicBezTo>
                  <a:cubicBezTo>
                    <a:pt x="21356" y="100678"/>
                    <a:pt x="36610" y="256271"/>
                    <a:pt x="45763" y="268475"/>
                  </a:cubicBezTo>
                  <a:cubicBezTo>
                    <a:pt x="54915" y="277627"/>
                    <a:pt x="112881" y="320339"/>
                    <a:pt x="152542" y="344746"/>
                  </a:cubicBezTo>
                  <a:cubicBezTo>
                    <a:pt x="155593" y="347797"/>
                    <a:pt x="155593" y="350847"/>
                    <a:pt x="155593" y="353899"/>
                  </a:cubicBezTo>
                  <a:cubicBezTo>
                    <a:pt x="149491" y="350847"/>
                    <a:pt x="149491" y="353899"/>
                    <a:pt x="146441" y="353899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02" name="图形 1">
              <a:extLst>
                <a:ext uri="{FF2B5EF4-FFF2-40B4-BE49-F238E27FC236}">
                  <a16:creationId xmlns:a16="http://schemas.microsoft.com/office/drawing/2014/main" id="{07858376-37E8-482D-A3C7-0D04C69FA559}"/>
                </a:ext>
              </a:extLst>
            </p:cNvPr>
            <p:cNvGrpSpPr/>
            <p:nvPr/>
          </p:nvGrpSpPr>
          <p:grpSpPr>
            <a:xfrm>
              <a:off x="7187967" y="6249176"/>
              <a:ext cx="525342" cy="329491"/>
              <a:chOff x="7187967" y="6249176"/>
              <a:chExt cx="525342" cy="329491"/>
            </a:xfrm>
          </p:grpSpPr>
          <p:sp>
            <p:nvSpPr>
              <p:cNvPr id="403" name="任意多边形: 形状 402">
                <a:extLst>
                  <a:ext uri="{FF2B5EF4-FFF2-40B4-BE49-F238E27FC236}">
                    <a16:creationId xmlns:a16="http://schemas.microsoft.com/office/drawing/2014/main" id="{28923007-2F13-4068-B090-99EC0B6FE042}"/>
                  </a:ext>
                </a:extLst>
              </p:cNvPr>
              <p:cNvSpPr/>
              <p:nvPr/>
            </p:nvSpPr>
            <p:spPr>
              <a:xfrm>
                <a:off x="7187967" y="6532905"/>
                <a:ext cx="488135" cy="45762"/>
              </a:xfrm>
              <a:custGeom>
                <a:avLst/>
                <a:gdLst>
                  <a:gd name="connsiteX0" fmla="*/ 0 w 488135"/>
                  <a:gd name="connsiteY0" fmla="*/ 0 h 45762"/>
                  <a:gd name="connsiteX1" fmla="*/ 488136 w 488135"/>
                  <a:gd name="connsiteY1" fmla="*/ 0 h 45762"/>
                  <a:gd name="connsiteX2" fmla="*/ 488136 w 488135"/>
                  <a:gd name="connsiteY2" fmla="*/ 45763 h 45762"/>
                  <a:gd name="connsiteX3" fmla="*/ 0 w 488135"/>
                  <a:gd name="connsiteY3" fmla="*/ 45763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5" h="45762">
                    <a:moveTo>
                      <a:pt x="0" y="0"/>
                    </a:moveTo>
                    <a:lnTo>
                      <a:pt x="488136" y="0"/>
                    </a:lnTo>
                    <a:lnTo>
                      <a:pt x="488136" y="45763"/>
                    </a:lnTo>
                    <a:lnTo>
                      <a:pt x="0" y="45763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4" name="任意多边形: 形状 403">
                <a:extLst>
                  <a:ext uri="{FF2B5EF4-FFF2-40B4-BE49-F238E27FC236}">
                    <a16:creationId xmlns:a16="http://schemas.microsoft.com/office/drawing/2014/main" id="{6D526ECB-4D58-4F37-9788-C53D0293B752}"/>
                  </a:ext>
                </a:extLst>
              </p:cNvPr>
              <p:cNvSpPr/>
              <p:nvPr/>
            </p:nvSpPr>
            <p:spPr>
              <a:xfrm>
                <a:off x="7187967" y="6249176"/>
                <a:ext cx="525342" cy="286779"/>
              </a:xfrm>
              <a:custGeom>
                <a:avLst/>
                <a:gdLst>
                  <a:gd name="connsiteX0" fmla="*/ 524746 w 525342"/>
                  <a:gd name="connsiteY0" fmla="*/ 0 h 286779"/>
                  <a:gd name="connsiteX1" fmla="*/ 186101 w 525342"/>
                  <a:gd name="connsiteY1" fmla="*/ 18305 h 286779"/>
                  <a:gd name="connsiteX2" fmla="*/ 225763 w 525342"/>
                  <a:gd name="connsiteY2" fmla="*/ 158644 h 286779"/>
                  <a:gd name="connsiteX3" fmla="*/ 167797 w 525342"/>
                  <a:gd name="connsiteY3" fmla="*/ 180000 h 286779"/>
                  <a:gd name="connsiteX4" fmla="*/ 0 w 525342"/>
                  <a:gd name="connsiteY4" fmla="*/ 286780 h 286779"/>
                  <a:gd name="connsiteX5" fmla="*/ 488136 w 525342"/>
                  <a:gd name="connsiteY5" fmla="*/ 286780 h 286779"/>
                  <a:gd name="connsiteX6" fmla="*/ 524746 w 525342"/>
                  <a:gd name="connsiteY6" fmla="*/ 0 h 28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5342" h="286779">
                    <a:moveTo>
                      <a:pt x="524746" y="0"/>
                    </a:moveTo>
                    <a:lnTo>
                      <a:pt x="186101" y="18305"/>
                    </a:lnTo>
                    <a:lnTo>
                      <a:pt x="225763" y="158644"/>
                    </a:lnTo>
                    <a:cubicBezTo>
                      <a:pt x="204407" y="167797"/>
                      <a:pt x="186101" y="173898"/>
                      <a:pt x="167797" y="180000"/>
                    </a:cubicBezTo>
                    <a:cubicBezTo>
                      <a:pt x="125084" y="195255"/>
                      <a:pt x="12203" y="213559"/>
                      <a:pt x="0" y="286780"/>
                    </a:cubicBezTo>
                    <a:lnTo>
                      <a:pt x="488136" y="286780"/>
                    </a:lnTo>
                    <a:cubicBezTo>
                      <a:pt x="488136" y="283729"/>
                      <a:pt x="530847" y="192203"/>
                      <a:pt x="524746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05" name="图形 1">
              <a:extLst>
                <a:ext uri="{FF2B5EF4-FFF2-40B4-BE49-F238E27FC236}">
                  <a16:creationId xmlns:a16="http://schemas.microsoft.com/office/drawing/2014/main" id="{07858376-37E8-482D-A3C7-0D04C69FA559}"/>
                </a:ext>
              </a:extLst>
            </p:cNvPr>
            <p:cNvGrpSpPr/>
            <p:nvPr/>
          </p:nvGrpSpPr>
          <p:grpSpPr>
            <a:xfrm>
              <a:off x="5948058" y="6154600"/>
              <a:ext cx="605332" cy="398047"/>
              <a:chOff x="5948058" y="6154600"/>
              <a:chExt cx="605332" cy="398047"/>
            </a:xfrm>
          </p:grpSpPr>
          <p:sp>
            <p:nvSpPr>
              <p:cNvPr id="406" name="任意多边形: 形状 405">
                <a:extLst>
                  <a:ext uri="{FF2B5EF4-FFF2-40B4-BE49-F238E27FC236}">
                    <a16:creationId xmlns:a16="http://schemas.microsoft.com/office/drawing/2014/main" id="{19494197-65B2-4615-A73E-D23AC27091A9}"/>
                  </a:ext>
                </a:extLst>
              </p:cNvPr>
              <p:cNvSpPr/>
              <p:nvPr/>
            </p:nvSpPr>
            <p:spPr>
              <a:xfrm rot="-4173638">
                <a:off x="6161859" y="6201923"/>
                <a:ext cx="45760" cy="488113"/>
              </a:xfrm>
              <a:custGeom>
                <a:avLst/>
                <a:gdLst>
                  <a:gd name="connsiteX0" fmla="*/ 0 w 45760"/>
                  <a:gd name="connsiteY0" fmla="*/ 0 h 488113"/>
                  <a:gd name="connsiteX1" fmla="*/ 45761 w 45760"/>
                  <a:gd name="connsiteY1" fmla="*/ 0 h 488113"/>
                  <a:gd name="connsiteX2" fmla="*/ 45761 w 45760"/>
                  <a:gd name="connsiteY2" fmla="*/ 488114 h 488113"/>
                  <a:gd name="connsiteX3" fmla="*/ 0 w 45760"/>
                  <a:gd name="connsiteY3" fmla="*/ 488114 h 488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760" h="488113">
                    <a:moveTo>
                      <a:pt x="0" y="0"/>
                    </a:moveTo>
                    <a:lnTo>
                      <a:pt x="45761" y="0"/>
                    </a:lnTo>
                    <a:lnTo>
                      <a:pt x="45761" y="488114"/>
                    </a:lnTo>
                    <a:lnTo>
                      <a:pt x="0" y="488114"/>
                    </a:lnTo>
                    <a:close/>
                  </a:path>
                </a:pathLst>
              </a:custGeom>
              <a:solidFill>
                <a:srgbClr val="38333D"/>
              </a:solidFill>
              <a:ln w="30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7" name="任意多边形: 形状 406">
                <a:extLst>
                  <a:ext uri="{FF2B5EF4-FFF2-40B4-BE49-F238E27FC236}">
                    <a16:creationId xmlns:a16="http://schemas.microsoft.com/office/drawing/2014/main" id="{2A2C1AF0-9F76-475C-A5A8-072E8551D1DC}"/>
                  </a:ext>
                </a:extLst>
              </p:cNvPr>
              <p:cNvSpPr/>
              <p:nvPr/>
            </p:nvSpPr>
            <p:spPr>
              <a:xfrm>
                <a:off x="5964577" y="6154600"/>
                <a:ext cx="588813" cy="353898"/>
              </a:xfrm>
              <a:custGeom>
                <a:avLst/>
                <a:gdLst>
                  <a:gd name="connsiteX0" fmla="*/ 268475 w 588813"/>
                  <a:gd name="connsiteY0" fmla="*/ 0 h 353898"/>
                  <a:gd name="connsiteX1" fmla="*/ 256271 w 588813"/>
                  <a:gd name="connsiteY1" fmla="*/ 143390 h 353898"/>
                  <a:gd name="connsiteX2" fmla="*/ 195254 w 588813"/>
                  <a:gd name="connsiteY2" fmla="*/ 143390 h 353898"/>
                  <a:gd name="connsiteX3" fmla="*/ 0 w 588813"/>
                  <a:gd name="connsiteY3" fmla="*/ 183051 h 353898"/>
                  <a:gd name="connsiteX4" fmla="*/ 457627 w 588813"/>
                  <a:gd name="connsiteY4" fmla="*/ 353898 h 353898"/>
                  <a:gd name="connsiteX5" fmla="*/ 588814 w 588813"/>
                  <a:gd name="connsiteY5" fmla="*/ 100678 h 353898"/>
                  <a:gd name="connsiteX6" fmla="*/ 268475 w 588813"/>
                  <a:gd name="connsiteY6" fmla="*/ 0 h 35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8813" h="353898">
                    <a:moveTo>
                      <a:pt x="268475" y="0"/>
                    </a:moveTo>
                    <a:lnTo>
                      <a:pt x="256271" y="143390"/>
                    </a:lnTo>
                    <a:cubicBezTo>
                      <a:pt x="234915" y="143390"/>
                      <a:pt x="213559" y="143390"/>
                      <a:pt x="195254" y="143390"/>
                    </a:cubicBezTo>
                    <a:cubicBezTo>
                      <a:pt x="149492" y="140339"/>
                      <a:pt x="39661" y="122034"/>
                      <a:pt x="0" y="183051"/>
                    </a:cubicBezTo>
                    <a:lnTo>
                      <a:pt x="457627" y="353898"/>
                    </a:lnTo>
                    <a:cubicBezTo>
                      <a:pt x="457627" y="353898"/>
                      <a:pt x="527797" y="280678"/>
                      <a:pt x="588814" y="100678"/>
                    </a:cubicBezTo>
                    <a:lnTo>
                      <a:pt x="268475" y="0"/>
                    </a:ln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08" name="任意多边形: 形状 407">
              <a:extLst>
                <a:ext uri="{FF2B5EF4-FFF2-40B4-BE49-F238E27FC236}">
                  <a16:creationId xmlns:a16="http://schemas.microsoft.com/office/drawing/2014/main" id="{05ABB6B5-6950-496E-B75D-FEF81876CB52}"/>
                </a:ext>
              </a:extLst>
            </p:cNvPr>
            <p:cNvSpPr/>
            <p:nvPr/>
          </p:nvSpPr>
          <p:spPr>
            <a:xfrm>
              <a:off x="8216102" y="3988498"/>
              <a:ext cx="89152" cy="218476"/>
            </a:xfrm>
            <a:custGeom>
              <a:avLst/>
              <a:gdLst>
                <a:gd name="connsiteX0" fmla="*/ 82373 w 89152"/>
                <a:gd name="connsiteY0" fmla="*/ 0 h 218476"/>
                <a:gd name="connsiteX1" fmla="*/ 6102 w 89152"/>
                <a:gd name="connsiteY1" fmla="*/ 125085 h 218476"/>
                <a:gd name="connsiteX2" fmla="*/ 12203 w 89152"/>
                <a:gd name="connsiteY2" fmla="*/ 216610 h 218476"/>
                <a:gd name="connsiteX3" fmla="*/ 82373 w 89152"/>
                <a:gd name="connsiteY3" fmla="*/ 97627 h 218476"/>
                <a:gd name="connsiteX4" fmla="*/ 82373 w 89152"/>
                <a:gd name="connsiteY4" fmla="*/ 0 h 218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152" h="218476">
                  <a:moveTo>
                    <a:pt x="82373" y="0"/>
                  </a:moveTo>
                  <a:cubicBezTo>
                    <a:pt x="82373" y="0"/>
                    <a:pt x="9153" y="88475"/>
                    <a:pt x="6102" y="125085"/>
                  </a:cubicBezTo>
                  <a:cubicBezTo>
                    <a:pt x="0" y="161695"/>
                    <a:pt x="-6102" y="210509"/>
                    <a:pt x="12203" y="216610"/>
                  </a:cubicBezTo>
                  <a:cubicBezTo>
                    <a:pt x="54915" y="234915"/>
                    <a:pt x="45763" y="112881"/>
                    <a:pt x="82373" y="97627"/>
                  </a:cubicBezTo>
                  <a:cubicBezTo>
                    <a:pt x="97627" y="91525"/>
                    <a:pt x="82373" y="0"/>
                    <a:pt x="82373" y="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9" name="任意多边形: 形状 408">
              <a:extLst>
                <a:ext uri="{FF2B5EF4-FFF2-40B4-BE49-F238E27FC236}">
                  <a16:creationId xmlns:a16="http://schemas.microsoft.com/office/drawing/2014/main" id="{EE49EAF7-3794-4CF8-B303-46F91B3F2FC4}"/>
                </a:ext>
              </a:extLst>
            </p:cNvPr>
            <p:cNvSpPr/>
            <p:nvPr/>
          </p:nvSpPr>
          <p:spPr>
            <a:xfrm>
              <a:off x="5264883" y="2577263"/>
              <a:ext cx="352444" cy="278918"/>
            </a:xfrm>
            <a:custGeom>
              <a:avLst/>
              <a:gdLst>
                <a:gd name="connsiteX0" fmla="*/ 138338 w 352444"/>
                <a:gd name="connsiteY0" fmla="*/ 233608 h 278918"/>
                <a:gd name="connsiteX1" fmla="*/ 260372 w 352444"/>
                <a:gd name="connsiteY1" fmla="*/ 276320 h 278918"/>
                <a:gd name="connsiteX2" fmla="*/ 351897 w 352444"/>
                <a:gd name="connsiteY2" fmla="*/ 196998 h 278918"/>
                <a:gd name="connsiteX3" fmla="*/ 104778 w 352444"/>
                <a:gd name="connsiteY3" fmla="*/ 1743 h 278918"/>
                <a:gd name="connsiteX4" fmla="*/ 37660 w 352444"/>
                <a:gd name="connsiteY4" fmla="*/ 157337 h 278918"/>
                <a:gd name="connsiteX5" fmla="*/ 138338 w 352444"/>
                <a:gd name="connsiteY5" fmla="*/ 233608 h 278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2444" h="278918">
                  <a:moveTo>
                    <a:pt x="138338" y="233608"/>
                  </a:moveTo>
                  <a:cubicBezTo>
                    <a:pt x="177999" y="254964"/>
                    <a:pt x="214609" y="288523"/>
                    <a:pt x="260372" y="276320"/>
                  </a:cubicBezTo>
                  <a:cubicBezTo>
                    <a:pt x="290880" y="267167"/>
                    <a:pt x="351897" y="200048"/>
                    <a:pt x="351897" y="196998"/>
                  </a:cubicBezTo>
                  <a:cubicBezTo>
                    <a:pt x="364101" y="111574"/>
                    <a:pt x="168846" y="16998"/>
                    <a:pt x="104778" y="1743"/>
                  </a:cubicBezTo>
                  <a:cubicBezTo>
                    <a:pt x="49863" y="-10460"/>
                    <a:pt x="-56916" y="41404"/>
                    <a:pt x="37660" y="157337"/>
                  </a:cubicBezTo>
                  <a:cubicBezTo>
                    <a:pt x="49863" y="172591"/>
                    <a:pt x="113931" y="221404"/>
                    <a:pt x="138338" y="233608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0" name="任意多边形: 形状 409">
              <a:extLst>
                <a:ext uri="{FF2B5EF4-FFF2-40B4-BE49-F238E27FC236}">
                  <a16:creationId xmlns:a16="http://schemas.microsoft.com/office/drawing/2014/main" id="{3D425451-BDB0-4A8F-80FD-2492835E8186}"/>
                </a:ext>
              </a:extLst>
            </p:cNvPr>
            <p:cNvSpPr/>
            <p:nvPr/>
          </p:nvSpPr>
          <p:spPr>
            <a:xfrm>
              <a:off x="5519092" y="2687044"/>
              <a:ext cx="1564185" cy="659876"/>
            </a:xfrm>
            <a:custGeom>
              <a:avLst/>
              <a:gdLst>
                <a:gd name="connsiteX0" fmla="*/ 1549891 w 1564185"/>
                <a:gd name="connsiteY0" fmla="*/ 56708 h 659876"/>
                <a:gd name="connsiteX1" fmla="*/ 1031247 w 1564185"/>
                <a:gd name="connsiteY1" fmla="*/ 84166 h 659876"/>
                <a:gd name="connsiteX2" fmla="*/ 616332 w 1564185"/>
                <a:gd name="connsiteY2" fmla="*/ 291623 h 659876"/>
                <a:gd name="connsiteX3" fmla="*/ 103789 w 1564185"/>
                <a:gd name="connsiteY3" fmla="*/ 44505 h 659876"/>
                <a:gd name="connsiteX4" fmla="*/ 60 w 1564185"/>
                <a:gd name="connsiteY4" fmla="*/ 175691 h 659876"/>
                <a:gd name="connsiteX5" fmla="*/ 576671 w 1564185"/>
                <a:gd name="connsiteY5" fmla="*/ 657725 h 659876"/>
                <a:gd name="connsiteX6" fmla="*/ 1549891 w 1564185"/>
                <a:gd name="connsiteY6" fmla="*/ 56708 h 659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4185" h="659876">
                  <a:moveTo>
                    <a:pt x="1549891" y="56708"/>
                  </a:moveTo>
                  <a:cubicBezTo>
                    <a:pt x="1485823" y="-62275"/>
                    <a:pt x="1150230" y="35352"/>
                    <a:pt x="1031247" y="84166"/>
                  </a:cubicBezTo>
                  <a:cubicBezTo>
                    <a:pt x="924467" y="126878"/>
                    <a:pt x="616332" y="291623"/>
                    <a:pt x="616332" y="291623"/>
                  </a:cubicBezTo>
                  <a:cubicBezTo>
                    <a:pt x="616332" y="291623"/>
                    <a:pt x="198366" y="-22614"/>
                    <a:pt x="103789" y="44505"/>
                  </a:cubicBezTo>
                  <a:cubicBezTo>
                    <a:pt x="58027" y="87217"/>
                    <a:pt x="18365" y="139081"/>
                    <a:pt x="60" y="175691"/>
                  </a:cubicBezTo>
                  <a:cubicBezTo>
                    <a:pt x="-6041" y="361793"/>
                    <a:pt x="451586" y="630267"/>
                    <a:pt x="576671" y="657725"/>
                  </a:cubicBezTo>
                  <a:cubicBezTo>
                    <a:pt x="713959" y="691284"/>
                    <a:pt x="1693281" y="325183"/>
                    <a:pt x="1549891" y="56708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" name="任意多边形: 形状 410">
              <a:extLst>
                <a:ext uri="{FF2B5EF4-FFF2-40B4-BE49-F238E27FC236}">
                  <a16:creationId xmlns:a16="http://schemas.microsoft.com/office/drawing/2014/main" id="{E5CC0A03-F32B-471E-ADAB-FAE1C88A08BD}"/>
                </a:ext>
              </a:extLst>
            </p:cNvPr>
            <p:cNvSpPr/>
            <p:nvPr/>
          </p:nvSpPr>
          <p:spPr>
            <a:xfrm>
              <a:off x="7346611" y="2292227"/>
              <a:ext cx="67118" cy="140338"/>
            </a:xfrm>
            <a:custGeom>
              <a:avLst/>
              <a:gdLst>
                <a:gd name="connsiteX0" fmla="*/ 67119 w 67118"/>
                <a:gd name="connsiteY0" fmla="*/ 0 h 140338"/>
                <a:gd name="connsiteX1" fmla="*/ 3051 w 67118"/>
                <a:gd name="connsiteY1" fmla="*/ 140339 h 140338"/>
                <a:gd name="connsiteX2" fmla="*/ 0 w 67118"/>
                <a:gd name="connsiteY2" fmla="*/ 54915 h 140338"/>
                <a:gd name="connsiteX3" fmla="*/ 67119 w 67118"/>
                <a:gd name="connsiteY3" fmla="*/ 0 h 14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18" h="140338">
                  <a:moveTo>
                    <a:pt x="67119" y="0"/>
                  </a:moveTo>
                  <a:cubicBezTo>
                    <a:pt x="67119" y="0"/>
                    <a:pt x="54915" y="118983"/>
                    <a:pt x="3051" y="140339"/>
                  </a:cubicBezTo>
                  <a:lnTo>
                    <a:pt x="0" y="54915"/>
                  </a:lnTo>
                  <a:lnTo>
                    <a:pt x="67119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" name="任意多边形: 形状 411">
              <a:extLst>
                <a:ext uri="{FF2B5EF4-FFF2-40B4-BE49-F238E27FC236}">
                  <a16:creationId xmlns:a16="http://schemas.microsoft.com/office/drawing/2014/main" id="{603E06A4-FEEB-4715-A9C2-818290FFEF54}"/>
                </a:ext>
              </a:extLst>
            </p:cNvPr>
            <p:cNvSpPr/>
            <p:nvPr/>
          </p:nvSpPr>
          <p:spPr>
            <a:xfrm>
              <a:off x="6952850" y="2087820"/>
              <a:ext cx="101808" cy="237945"/>
            </a:xfrm>
            <a:custGeom>
              <a:avLst/>
              <a:gdLst>
                <a:gd name="connsiteX0" fmla="*/ 6303 w 101808"/>
                <a:gd name="connsiteY0" fmla="*/ 0 h 237945"/>
                <a:gd name="connsiteX1" fmla="*/ 49015 w 101808"/>
                <a:gd name="connsiteY1" fmla="*/ 234915 h 237945"/>
                <a:gd name="connsiteX2" fmla="*/ 100879 w 101808"/>
                <a:gd name="connsiteY2" fmla="*/ 12203 h 237945"/>
                <a:gd name="connsiteX3" fmla="*/ 6303 w 101808"/>
                <a:gd name="connsiteY3" fmla="*/ 0 h 23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08" h="237945">
                  <a:moveTo>
                    <a:pt x="6303" y="0"/>
                  </a:moveTo>
                  <a:cubicBezTo>
                    <a:pt x="6303" y="0"/>
                    <a:pt x="-24205" y="195254"/>
                    <a:pt x="49015" y="234915"/>
                  </a:cubicBezTo>
                  <a:cubicBezTo>
                    <a:pt x="113083" y="268475"/>
                    <a:pt x="100879" y="12203"/>
                    <a:pt x="100879" y="12203"/>
                  </a:cubicBezTo>
                  <a:lnTo>
                    <a:pt x="6303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3" name="任意多边形: 形状 412">
              <a:extLst>
                <a:ext uri="{FF2B5EF4-FFF2-40B4-BE49-F238E27FC236}">
                  <a16:creationId xmlns:a16="http://schemas.microsoft.com/office/drawing/2014/main" id="{70944F4F-FD61-4430-BA3D-B056AA13853B}"/>
                </a:ext>
              </a:extLst>
            </p:cNvPr>
            <p:cNvSpPr/>
            <p:nvPr/>
          </p:nvSpPr>
          <p:spPr>
            <a:xfrm>
              <a:off x="6989322" y="1949642"/>
              <a:ext cx="421356" cy="568951"/>
            </a:xfrm>
            <a:custGeom>
              <a:avLst/>
              <a:gdLst>
                <a:gd name="connsiteX0" fmla="*/ 9492 w 421356"/>
                <a:gd name="connsiteY0" fmla="*/ 183941 h 568951"/>
                <a:gd name="connsiteX1" fmla="*/ 9492 w 421356"/>
                <a:gd name="connsiteY1" fmla="*/ 434111 h 568951"/>
                <a:gd name="connsiteX2" fmla="*/ 168136 w 421356"/>
                <a:gd name="connsiteY2" fmla="*/ 568348 h 568951"/>
                <a:gd name="connsiteX3" fmla="*/ 384746 w 421356"/>
                <a:gd name="connsiteY3" fmla="*/ 424958 h 568951"/>
                <a:gd name="connsiteX4" fmla="*/ 421356 w 421356"/>
                <a:gd name="connsiteY4" fmla="*/ 199195 h 568951"/>
                <a:gd name="connsiteX5" fmla="*/ 207797 w 421356"/>
                <a:gd name="connsiteY5" fmla="*/ 890 h 568951"/>
                <a:gd name="connsiteX6" fmla="*/ 9492 w 421356"/>
                <a:gd name="connsiteY6" fmla="*/ 183941 h 568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356" h="568951">
                  <a:moveTo>
                    <a:pt x="9492" y="183941"/>
                  </a:moveTo>
                  <a:cubicBezTo>
                    <a:pt x="9492" y="183941"/>
                    <a:pt x="-11865" y="360890"/>
                    <a:pt x="9492" y="434111"/>
                  </a:cubicBezTo>
                  <a:cubicBezTo>
                    <a:pt x="27796" y="501229"/>
                    <a:pt x="119322" y="565297"/>
                    <a:pt x="168136" y="568348"/>
                  </a:cubicBezTo>
                  <a:cubicBezTo>
                    <a:pt x="235254" y="574450"/>
                    <a:pt x="354237" y="534789"/>
                    <a:pt x="384746" y="424958"/>
                  </a:cubicBezTo>
                  <a:cubicBezTo>
                    <a:pt x="406102" y="351738"/>
                    <a:pt x="421356" y="251060"/>
                    <a:pt x="421356" y="199195"/>
                  </a:cubicBezTo>
                  <a:cubicBezTo>
                    <a:pt x="418305" y="104619"/>
                    <a:pt x="393898" y="25297"/>
                    <a:pt x="207797" y="890"/>
                  </a:cubicBezTo>
                  <a:cubicBezTo>
                    <a:pt x="125424" y="-11313"/>
                    <a:pt x="30848" y="104619"/>
                    <a:pt x="9492" y="18394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4" name="任意多边形: 形状 413">
              <a:extLst>
                <a:ext uri="{FF2B5EF4-FFF2-40B4-BE49-F238E27FC236}">
                  <a16:creationId xmlns:a16="http://schemas.microsoft.com/office/drawing/2014/main" id="{C6BEC97F-DE51-4AFE-94E2-D6C8F0F53BF1}"/>
                </a:ext>
              </a:extLst>
            </p:cNvPr>
            <p:cNvSpPr/>
            <p:nvPr/>
          </p:nvSpPr>
          <p:spPr>
            <a:xfrm>
              <a:off x="7056003" y="2190951"/>
              <a:ext cx="41036" cy="40857"/>
            </a:xfrm>
            <a:custGeom>
              <a:avLst/>
              <a:gdLst>
                <a:gd name="connsiteX0" fmla="*/ 40439 w 41036"/>
                <a:gd name="connsiteY0" fmla="*/ 25005 h 40857"/>
                <a:gd name="connsiteX1" fmla="*/ 16032 w 41036"/>
                <a:gd name="connsiteY1" fmla="*/ 40259 h 40857"/>
                <a:gd name="connsiteX2" fmla="*/ 778 w 41036"/>
                <a:gd name="connsiteY2" fmla="*/ 15853 h 40857"/>
                <a:gd name="connsiteX3" fmla="*/ 25184 w 41036"/>
                <a:gd name="connsiteY3" fmla="*/ 598 h 40857"/>
                <a:gd name="connsiteX4" fmla="*/ 40439 w 41036"/>
                <a:gd name="connsiteY4" fmla="*/ 25005 h 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6" h="40857">
                  <a:moveTo>
                    <a:pt x="40439" y="25005"/>
                  </a:moveTo>
                  <a:cubicBezTo>
                    <a:pt x="37388" y="34158"/>
                    <a:pt x="28235" y="43310"/>
                    <a:pt x="16032" y="40259"/>
                  </a:cubicBezTo>
                  <a:cubicBezTo>
                    <a:pt x="3829" y="37209"/>
                    <a:pt x="-2274" y="28056"/>
                    <a:pt x="778" y="15853"/>
                  </a:cubicBezTo>
                  <a:cubicBezTo>
                    <a:pt x="3829" y="6700"/>
                    <a:pt x="12981" y="-2452"/>
                    <a:pt x="25184" y="598"/>
                  </a:cubicBezTo>
                  <a:cubicBezTo>
                    <a:pt x="34337" y="3649"/>
                    <a:pt x="43489" y="12802"/>
                    <a:pt x="40439" y="25005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5" name="任意多边形: 形状 414">
              <a:extLst>
                <a:ext uri="{FF2B5EF4-FFF2-40B4-BE49-F238E27FC236}">
                  <a16:creationId xmlns:a16="http://schemas.microsoft.com/office/drawing/2014/main" id="{C1643CDC-C1BA-4815-9ADF-878222DC84E6}"/>
                </a:ext>
              </a:extLst>
            </p:cNvPr>
            <p:cNvSpPr/>
            <p:nvPr/>
          </p:nvSpPr>
          <p:spPr>
            <a:xfrm>
              <a:off x="7239053" y="2206205"/>
              <a:ext cx="41036" cy="41036"/>
            </a:xfrm>
            <a:custGeom>
              <a:avLst/>
              <a:gdLst>
                <a:gd name="connsiteX0" fmla="*/ 40439 w 41036"/>
                <a:gd name="connsiteY0" fmla="*/ 25005 h 41036"/>
                <a:gd name="connsiteX1" fmla="*/ 16032 w 41036"/>
                <a:gd name="connsiteY1" fmla="*/ 40259 h 41036"/>
                <a:gd name="connsiteX2" fmla="*/ 778 w 41036"/>
                <a:gd name="connsiteY2" fmla="*/ 15853 h 41036"/>
                <a:gd name="connsiteX3" fmla="*/ 25184 w 41036"/>
                <a:gd name="connsiteY3" fmla="*/ 598 h 41036"/>
                <a:gd name="connsiteX4" fmla="*/ 40439 w 41036"/>
                <a:gd name="connsiteY4" fmla="*/ 25005 h 4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6" h="41036">
                  <a:moveTo>
                    <a:pt x="40439" y="25005"/>
                  </a:moveTo>
                  <a:cubicBezTo>
                    <a:pt x="37388" y="37209"/>
                    <a:pt x="28235" y="43310"/>
                    <a:pt x="16032" y="40259"/>
                  </a:cubicBezTo>
                  <a:cubicBezTo>
                    <a:pt x="3829" y="37209"/>
                    <a:pt x="-2274" y="28056"/>
                    <a:pt x="778" y="15853"/>
                  </a:cubicBezTo>
                  <a:cubicBezTo>
                    <a:pt x="3829" y="6700"/>
                    <a:pt x="12981" y="-2452"/>
                    <a:pt x="25184" y="598"/>
                  </a:cubicBezTo>
                  <a:cubicBezTo>
                    <a:pt x="34337" y="3649"/>
                    <a:pt x="43489" y="15853"/>
                    <a:pt x="40439" y="25005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6" name="任意多边形: 形状 415">
              <a:extLst>
                <a:ext uri="{FF2B5EF4-FFF2-40B4-BE49-F238E27FC236}">
                  <a16:creationId xmlns:a16="http://schemas.microsoft.com/office/drawing/2014/main" id="{891DD29E-7673-4EFB-BCA5-9B02A2A76714}"/>
                </a:ext>
              </a:extLst>
            </p:cNvPr>
            <p:cNvSpPr/>
            <p:nvPr/>
          </p:nvSpPr>
          <p:spPr>
            <a:xfrm>
              <a:off x="7030085" y="2141570"/>
              <a:ext cx="92026" cy="34725"/>
            </a:xfrm>
            <a:custGeom>
              <a:avLst/>
              <a:gdLst>
                <a:gd name="connsiteX0" fmla="*/ 8390 w 92026"/>
                <a:gd name="connsiteY0" fmla="*/ 34725 h 34725"/>
                <a:gd name="connsiteX1" fmla="*/ 2288 w 92026"/>
                <a:gd name="connsiteY1" fmla="*/ 31674 h 34725"/>
                <a:gd name="connsiteX2" fmla="*/ 2288 w 92026"/>
                <a:gd name="connsiteY2" fmla="*/ 19471 h 34725"/>
                <a:gd name="connsiteX3" fmla="*/ 87712 w 92026"/>
                <a:gd name="connsiteY3" fmla="*/ 10318 h 34725"/>
                <a:gd name="connsiteX4" fmla="*/ 90763 w 92026"/>
                <a:gd name="connsiteY4" fmla="*/ 19471 h 34725"/>
                <a:gd name="connsiteX5" fmla="*/ 81610 w 92026"/>
                <a:gd name="connsiteY5" fmla="*/ 22522 h 34725"/>
                <a:gd name="connsiteX6" fmla="*/ 14492 w 92026"/>
                <a:gd name="connsiteY6" fmla="*/ 28623 h 34725"/>
                <a:gd name="connsiteX7" fmla="*/ 8390 w 92026"/>
                <a:gd name="connsiteY7" fmla="*/ 34725 h 3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4725">
                  <a:moveTo>
                    <a:pt x="8390" y="34725"/>
                  </a:moveTo>
                  <a:cubicBezTo>
                    <a:pt x="5339" y="34725"/>
                    <a:pt x="5339" y="34725"/>
                    <a:pt x="2288" y="31674"/>
                  </a:cubicBezTo>
                  <a:cubicBezTo>
                    <a:pt x="-763" y="28623"/>
                    <a:pt x="-763" y="22522"/>
                    <a:pt x="2288" y="19471"/>
                  </a:cubicBezTo>
                  <a:cubicBezTo>
                    <a:pt x="29746" y="-11038"/>
                    <a:pt x="69406" y="1166"/>
                    <a:pt x="87712" y="10318"/>
                  </a:cubicBezTo>
                  <a:cubicBezTo>
                    <a:pt x="90763" y="13369"/>
                    <a:pt x="93813" y="16420"/>
                    <a:pt x="90763" y="19471"/>
                  </a:cubicBezTo>
                  <a:cubicBezTo>
                    <a:pt x="87712" y="22522"/>
                    <a:pt x="84661" y="25573"/>
                    <a:pt x="81610" y="22522"/>
                  </a:cubicBezTo>
                  <a:cubicBezTo>
                    <a:pt x="78559" y="22522"/>
                    <a:pt x="38898" y="1166"/>
                    <a:pt x="14492" y="28623"/>
                  </a:cubicBezTo>
                  <a:cubicBezTo>
                    <a:pt x="11441" y="31674"/>
                    <a:pt x="11441" y="34725"/>
                    <a:pt x="8390" y="34725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7" name="任意多边形: 形状 416">
              <a:extLst>
                <a:ext uri="{FF2B5EF4-FFF2-40B4-BE49-F238E27FC236}">
                  <a16:creationId xmlns:a16="http://schemas.microsoft.com/office/drawing/2014/main" id="{D933F5BA-5BF3-4C64-983D-DF7212A28CC7}"/>
                </a:ext>
              </a:extLst>
            </p:cNvPr>
            <p:cNvSpPr/>
            <p:nvPr/>
          </p:nvSpPr>
          <p:spPr>
            <a:xfrm>
              <a:off x="7217211" y="2139995"/>
              <a:ext cx="92026" cy="36299"/>
            </a:xfrm>
            <a:custGeom>
              <a:avLst/>
              <a:gdLst>
                <a:gd name="connsiteX0" fmla="*/ 86688 w 92026"/>
                <a:gd name="connsiteY0" fmla="*/ 36300 h 36299"/>
                <a:gd name="connsiteX1" fmla="*/ 80586 w 92026"/>
                <a:gd name="connsiteY1" fmla="*/ 33249 h 36299"/>
                <a:gd name="connsiteX2" fmla="*/ 13467 w 92026"/>
                <a:gd name="connsiteY2" fmla="*/ 27147 h 36299"/>
                <a:gd name="connsiteX3" fmla="*/ 1264 w 92026"/>
                <a:gd name="connsiteY3" fmla="*/ 24096 h 36299"/>
                <a:gd name="connsiteX4" fmla="*/ 4314 w 92026"/>
                <a:gd name="connsiteY4" fmla="*/ 11893 h 36299"/>
                <a:gd name="connsiteX5" fmla="*/ 89738 w 92026"/>
                <a:gd name="connsiteY5" fmla="*/ 21045 h 36299"/>
                <a:gd name="connsiteX6" fmla="*/ 89738 w 92026"/>
                <a:gd name="connsiteY6" fmla="*/ 33249 h 36299"/>
                <a:gd name="connsiteX7" fmla="*/ 86688 w 92026"/>
                <a:gd name="connsiteY7" fmla="*/ 36300 h 3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6299">
                  <a:moveTo>
                    <a:pt x="86688" y="36300"/>
                  </a:moveTo>
                  <a:cubicBezTo>
                    <a:pt x="83637" y="36300"/>
                    <a:pt x="83637" y="36300"/>
                    <a:pt x="80586" y="33249"/>
                  </a:cubicBezTo>
                  <a:cubicBezTo>
                    <a:pt x="80586" y="33249"/>
                    <a:pt x="50077" y="2740"/>
                    <a:pt x="13467" y="27147"/>
                  </a:cubicBezTo>
                  <a:cubicBezTo>
                    <a:pt x="10416" y="30198"/>
                    <a:pt x="4314" y="27147"/>
                    <a:pt x="1264" y="24096"/>
                  </a:cubicBezTo>
                  <a:cubicBezTo>
                    <a:pt x="-1787" y="21045"/>
                    <a:pt x="1264" y="14944"/>
                    <a:pt x="4314" y="11893"/>
                  </a:cubicBezTo>
                  <a:cubicBezTo>
                    <a:pt x="40925" y="-12514"/>
                    <a:pt x="77535" y="5791"/>
                    <a:pt x="89738" y="21045"/>
                  </a:cubicBezTo>
                  <a:cubicBezTo>
                    <a:pt x="92789" y="24096"/>
                    <a:pt x="92789" y="30198"/>
                    <a:pt x="89738" y="33249"/>
                  </a:cubicBezTo>
                  <a:cubicBezTo>
                    <a:pt x="92789" y="36300"/>
                    <a:pt x="89738" y="36300"/>
                    <a:pt x="86688" y="36300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8" name="任意多边形: 形状 417">
              <a:extLst>
                <a:ext uri="{FF2B5EF4-FFF2-40B4-BE49-F238E27FC236}">
                  <a16:creationId xmlns:a16="http://schemas.microsoft.com/office/drawing/2014/main" id="{9F318B87-E6E9-4C88-B8BA-34236D18C2C8}"/>
                </a:ext>
              </a:extLst>
            </p:cNvPr>
            <p:cNvSpPr/>
            <p:nvPr/>
          </p:nvSpPr>
          <p:spPr>
            <a:xfrm>
              <a:off x="7374068" y="2205318"/>
              <a:ext cx="77635" cy="114126"/>
            </a:xfrm>
            <a:custGeom>
              <a:avLst/>
              <a:gdLst>
                <a:gd name="connsiteX0" fmla="*/ 12204 w 77635"/>
                <a:gd name="connsiteY0" fmla="*/ 16740 h 114126"/>
                <a:gd name="connsiteX1" fmla="*/ 70169 w 77635"/>
                <a:gd name="connsiteY1" fmla="*/ 7587 h 114126"/>
                <a:gd name="connsiteX2" fmla="*/ 12204 w 77635"/>
                <a:gd name="connsiteY2" fmla="*/ 111316 h 114126"/>
                <a:gd name="connsiteX3" fmla="*/ 12204 w 77635"/>
                <a:gd name="connsiteY3" fmla="*/ 16740 h 11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635" h="114126">
                  <a:moveTo>
                    <a:pt x="12204" y="16740"/>
                  </a:moveTo>
                  <a:cubicBezTo>
                    <a:pt x="12204" y="16740"/>
                    <a:pt x="45763" y="-13769"/>
                    <a:pt x="70169" y="7587"/>
                  </a:cubicBezTo>
                  <a:cubicBezTo>
                    <a:pt x="94576" y="25892"/>
                    <a:pt x="54915" y="132672"/>
                    <a:pt x="12204" y="111316"/>
                  </a:cubicBezTo>
                  <a:cubicBezTo>
                    <a:pt x="-15254" y="93011"/>
                    <a:pt x="12204" y="16740"/>
                    <a:pt x="12204" y="16740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9" name="任意多边形: 形状 418">
              <a:extLst>
                <a:ext uri="{FF2B5EF4-FFF2-40B4-BE49-F238E27FC236}">
                  <a16:creationId xmlns:a16="http://schemas.microsoft.com/office/drawing/2014/main" id="{F247B17D-C806-4FAD-BFD7-12B2026A53B1}"/>
                </a:ext>
              </a:extLst>
            </p:cNvPr>
            <p:cNvSpPr/>
            <p:nvPr/>
          </p:nvSpPr>
          <p:spPr>
            <a:xfrm>
              <a:off x="6943359" y="1838743"/>
              <a:ext cx="511655" cy="404670"/>
            </a:xfrm>
            <a:custGeom>
              <a:avLst/>
              <a:gdLst>
                <a:gd name="connsiteX0" fmla="*/ 449014 w 511655"/>
                <a:gd name="connsiteY0" fmla="*/ 136196 h 404670"/>
                <a:gd name="connsiteX1" fmla="*/ 430709 w 511655"/>
                <a:gd name="connsiteY1" fmla="*/ 96535 h 404670"/>
                <a:gd name="connsiteX2" fmla="*/ 418506 w 511655"/>
                <a:gd name="connsiteY2" fmla="*/ 99586 h 404670"/>
                <a:gd name="connsiteX3" fmla="*/ 387997 w 511655"/>
                <a:gd name="connsiteY3" fmla="*/ 78230 h 404670"/>
                <a:gd name="connsiteX4" fmla="*/ 375794 w 511655"/>
                <a:gd name="connsiteY4" fmla="*/ 59925 h 404670"/>
                <a:gd name="connsiteX5" fmla="*/ 345286 w 511655"/>
                <a:gd name="connsiteY5" fmla="*/ 26365 h 404670"/>
                <a:gd name="connsiteX6" fmla="*/ 311726 w 511655"/>
                <a:gd name="connsiteY6" fmla="*/ 23315 h 404670"/>
                <a:gd name="connsiteX7" fmla="*/ 256811 w 511655"/>
                <a:gd name="connsiteY7" fmla="*/ 8060 h 404670"/>
                <a:gd name="connsiteX8" fmla="*/ 244608 w 511655"/>
                <a:gd name="connsiteY8" fmla="*/ 1959 h 404670"/>
                <a:gd name="connsiteX9" fmla="*/ 119523 w 511655"/>
                <a:gd name="connsiteY9" fmla="*/ 38569 h 404670"/>
                <a:gd name="connsiteX10" fmla="*/ 58506 w 511655"/>
                <a:gd name="connsiteY10" fmla="*/ 59925 h 404670"/>
                <a:gd name="connsiteX11" fmla="*/ 43252 w 511655"/>
                <a:gd name="connsiteY11" fmla="*/ 102637 h 404670"/>
                <a:gd name="connsiteX12" fmla="*/ 24947 w 511655"/>
                <a:gd name="connsiteY12" fmla="*/ 130094 h 404670"/>
                <a:gd name="connsiteX13" fmla="*/ 18845 w 511655"/>
                <a:gd name="connsiteY13" fmla="*/ 166704 h 404670"/>
                <a:gd name="connsiteX14" fmla="*/ 21896 w 511655"/>
                <a:gd name="connsiteY14" fmla="*/ 200264 h 404670"/>
                <a:gd name="connsiteX15" fmla="*/ 3590 w 511655"/>
                <a:gd name="connsiteY15" fmla="*/ 242976 h 404670"/>
                <a:gd name="connsiteX16" fmla="*/ 21896 w 511655"/>
                <a:gd name="connsiteY16" fmla="*/ 340603 h 404670"/>
                <a:gd name="connsiteX17" fmla="*/ 31048 w 511655"/>
                <a:gd name="connsiteY17" fmla="*/ 343653 h 404670"/>
                <a:gd name="connsiteX18" fmla="*/ 40201 w 511655"/>
                <a:gd name="connsiteY18" fmla="*/ 374162 h 404670"/>
                <a:gd name="connsiteX19" fmla="*/ 58506 w 511655"/>
                <a:gd name="connsiteY19" fmla="*/ 319247 h 404670"/>
                <a:gd name="connsiteX20" fmla="*/ 85964 w 511655"/>
                <a:gd name="connsiteY20" fmla="*/ 307043 h 404670"/>
                <a:gd name="connsiteX21" fmla="*/ 104268 w 511655"/>
                <a:gd name="connsiteY21" fmla="*/ 285687 h 404670"/>
                <a:gd name="connsiteX22" fmla="*/ 110370 w 511655"/>
                <a:gd name="connsiteY22" fmla="*/ 276535 h 404670"/>
                <a:gd name="connsiteX23" fmla="*/ 116472 w 511655"/>
                <a:gd name="connsiteY23" fmla="*/ 273484 h 404670"/>
                <a:gd name="connsiteX24" fmla="*/ 122574 w 511655"/>
                <a:gd name="connsiteY24" fmla="*/ 273484 h 404670"/>
                <a:gd name="connsiteX25" fmla="*/ 128675 w 511655"/>
                <a:gd name="connsiteY25" fmla="*/ 270433 h 404670"/>
                <a:gd name="connsiteX26" fmla="*/ 137828 w 511655"/>
                <a:gd name="connsiteY26" fmla="*/ 264331 h 404670"/>
                <a:gd name="connsiteX27" fmla="*/ 150031 w 511655"/>
                <a:gd name="connsiteY27" fmla="*/ 267382 h 404670"/>
                <a:gd name="connsiteX28" fmla="*/ 162235 w 511655"/>
                <a:gd name="connsiteY28" fmla="*/ 267382 h 404670"/>
                <a:gd name="connsiteX29" fmla="*/ 198845 w 511655"/>
                <a:gd name="connsiteY29" fmla="*/ 258230 h 404670"/>
                <a:gd name="connsiteX30" fmla="*/ 250709 w 511655"/>
                <a:gd name="connsiteY30" fmla="*/ 242976 h 404670"/>
                <a:gd name="connsiteX31" fmla="*/ 265964 w 511655"/>
                <a:gd name="connsiteY31" fmla="*/ 252128 h 404670"/>
                <a:gd name="connsiteX32" fmla="*/ 302574 w 511655"/>
                <a:gd name="connsiteY32" fmla="*/ 230772 h 404670"/>
                <a:gd name="connsiteX33" fmla="*/ 314777 w 511655"/>
                <a:gd name="connsiteY33" fmla="*/ 233823 h 404670"/>
                <a:gd name="connsiteX34" fmla="*/ 391048 w 511655"/>
                <a:gd name="connsiteY34" fmla="*/ 261281 h 404670"/>
                <a:gd name="connsiteX35" fmla="*/ 400201 w 511655"/>
                <a:gd name="connsiteY35" fmla="*/ 264331 h 404670"/>
                <a:gd name="connsiteX36" fmla="*/ 452065 w 511655"/>
                <a:gd name="connsiteY36" fmla="*/ 404670 h 404670"/>
                <a:gd name="connsiteX37" fmla="*/ 510031 w 511655"/>
                <a:gd name="connsiteY37" fmla="*/ 303992 h 404670"/>
                <a:gd name="connsiteX38" fmla="*/ 449014 w 511655"/>
                <a:gd name="connsiteY38" fmla="*/ 136196 h 40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1655" h="404670">
                  <a:moveTo>
                    <a:pt x="449014" y="136196"/>
                  </a:moveTo>
                  <a:cubicBezTo>
                    <a:pt x="449014" y="120942"/>
                    <a:pt x="445963" y="105687"/>
                    <a:pt x="430709" y="96535"/>
                  </a:cubicBezTo>
                  <a:cubicBezTo>
                    <a:pt x="415455" y="84331"/>
                    <a:pt x="418506" y="96535"/>
                    <a:pt x="418506" y="99586"/>
                  </a:cubicBezTo>
                  <a:cubicBezTo>
                    <a:pt x="409353" y="93484"/>
                    <a:pt x="400201" y="84331"/>
                    <a:pt x="387997" y="78230"/>
                  </a:cubicBezTo>
                  <a:cubicBezTo>
                    <a:pt x="381896" y="72128"/>
                    <a:pt x="378845" y="66026"/>
                    <a:pt x="375794" y="59925"/>
                  </a:cubicBezTo>
                  <a:cubicBezTo>
                    <a:pt x="366642" y="47721"/>
                    <a:pt x="360540" y="35518"/>
                    <a:pt x="345286" y="26365"/>
                  </a:cubicBezTo>
                  <a:cubicBezTo>
                    <a:pt x="333082" y="20264"/>
                    <a:pt x="323929" y="23315"/>
                    <a:pt x="311726" y="23315"/>
                  </a:cubicBezTo>
                  <a:cubicBezTo>
                    <a:pt x="290370" y="23315"/>
                    <a:pt x="275116" y="17213"/>
                    <a:pt x="256811" y="8060"/>
                  </a:cubicBezTo>
                  <a:cubicBezTo>
                    <a:pt x="253760" y="5009"/>
                    <a:pt x="247658" y="1959"/>
                    <a:pt x="244608" y="1959"/>
                  </a:cubicBezTo>
                  <a:cubicBezTo>
                    <a:pt x="198845" y="-10245"/>
                    <a:pt x="165285" y="38569"/>
                    <a:pt x="119523" y="38569"/>
                  </a:cubicBezTo>
                  <a:cubicBezTo>
                    <a:pt x="95116" y="38569"/>
                    <a:pt x="70709" y="35518"/>
                    <a:pt x="58506" y="59925"/>
                  </a:cubicBezTo>
                  <a:cubicBezTo>
                    <a:pt x="52404" y="75179"/>
                    <a:pt x="52404" y="87382"/>
                    <a:pt x="43252" y="102637"/>
                  </a:cubicBezTo>
                  <a:cubicBezTo>
                    <a:pt x="37150" y="111789"/>
                    <a:pt x="27997" y="120942"/>
                    <a:pt x="24947" y="130094"/>
                  </a:cubicBezTo>
                  <a:cubicBezTo>
                    <a:pt x="18845" y="139247"/>
                    <a:pt x="15794" y="154501"/>
                    <a:pt x="18845" y="166704"/>
                  </a:cubicBezTo>
                  <a:cubicBezTo>
                    <a:pt x="21896" y="185009"/>
                    <a:pt x="31048" y="185009"/>
                    <a:pt x="21896" y="200264"/>
                  </a:cubicBezTo>
                  <a:cubicBezTo>
                    <a:pt x="15794" y="215518"/>
                    <a:pt x="6641" y="227721"/>
                    <a:pt x="3590" y="242976"/>
                  </a:cubicBezTo>
                  <a:cubicBezTo>
                    <a:pt x="-5562" y="276535"/>
                    <a:pt x="3590" y="310094"/>
                    <a:pt x="21896" y="340603"/>
                  </a:cubicBezTo>
                  <a:cubicBezTo>
                    <a:pt x="24947" y="343653"/>
                    <a:pt x="27997" y="343653"/>
                    <a:pt x="31048" y="343653"/>
                  </a:cubicBezTo>
                  <a:cubicBezTo>
                    <a:pt x="34099" y="361959"/>
                    <a:pt x="40201" y="374162"/>
                    <a:pt x="40201" y="374162"/>
                  </a:cubicBezTo>
                  <a:cubicBezTo>
                    <a:pt x="37150" y="355857"/>
                    <a:pt x="43252" y="337552"/>
                    <a:pt x="58506" y="319247"/>
                  </a:cubicBezTo>
                  <a:cubicBezTo>
                    <a:pt x="67658" y="316196"/>
                    <a:pt x="79862" y="313145"/>
                    <a:pt x="85964" y="307043"/>
                  </a:cubicBezTo>
                  <a:cubicBezTo>
                    <a:pt x="95116" y="300942"/>
                    <a:pt x="98167" y="291789"/>
                    <a:pt x="104268" y="285687"/>
                  </a:cubicBezTo>
                  <a:cubicBezTo>
                    <a:pt x="104268" y="282637"/>
                    <a:pt x="107320" y="279586"/>
                    <a:pt x="110370" y="276535"/>
                  </a:cubicBezTo>
                  <a:cubicBezTo>
                    <a:pt x="113421" y="276535"/>
                    <a:pt x="116472" y="273484"/>
                    <a:pt x="116472" y="273484"/>
                  </a:cubicBezTo>
                  <a:cubicBezTo>
                    <a:pt x="119523" y="273484"/>
                    <a:pt x="119523" y="273484"/>
                    <a:pt x="122574" y="273484"/>
                  </a:cubicBezTo>
                  <a:cubicBezTo>
                    <a:pt x="125624" y="270433"/>
                    <a:pt x="125624" y="270433"/>
                    <a:pt x="128675" y="270433"/>
                  </a:cubicBezTo>
                  <a:cubicBezTo>
                    <a:pt x="131726" y="267382"/>
                    <a:pt x="134777" y="267382"/>
                    <a:pt x="137828" y="264331"/>
                  </a:cubicBezTo>
                  <a:cubicBezTo>
                    <a:pt x="140879" y="264331"/>
                    <a:pt x="146981" y="264331"/>
                    <a:pt x="150031" y="267382"/>
                  </a:cubicBezTo>
                  <a:cubicBezTo>
                    <a:pt x="153082" y="267382"/>
                    <a:pt x="159184" y="267382"/>
                    <a:pt x="162235" y="267382"/>
                  </a:cubicBezTo>
                  <a:cubicBezTo>
                    <a:pt x="174438" y="267382"/>
                    <a:pt x="186641" y="264331"/>
                    <a:pt x="198845" y="258230"/>
                  </a:cubicBezTo>
                  <a:cubicBezTo>
                    <a:pt x="217150" y="249077"/>
                    <a:pt x="226302" y="233823"/>
                    <a:pt x="250709" y="242976"/>
                  </a:cubicBezTo>
                  <a:cubicBezTo>
                    <a:pt x="256811" y="246026"/>
                    <a:pt x="259862" y="252128"/>
                    <a:pt x="265964" y="252128"/>
                  </a:cubicBezTo>
                  <a:cubicBezTo>
                    <a:pt x="281218" y="255179"/>
                    <a:pt x="293421" y="242976"/>
                    <a:pt x="302574" y="230772"/>
                  </a:cubicBezTo>
                  <a:cubicBezTo>
                    <a:pt x="305625" y="230772"/>
                    <a:pt x="311726" y="233823"/>
                    <a:pt x="314777" y="233823"/>
                  </a:cubicBezTo>
                  <a:cubicBezTo>
                    <a:pt x="336133" y="249077"/>
                    <a:pt x="363591" y="258230"/>
                    <a:pt x="391048" y="261281"/>
                  </a:cubicBezTo>
                  <a:cubicBezTo>
                    <a:pt x="397150" y="264331"/>
                    <a:pt x="400201" y="264331"/>
                    <a:pt x="400201" y="264331"/>
                  </a:cubicBezTo>
                  <a:cubicBezTo>
                    <a:pt x="400201" y="264331"/>
                    <a:pt x="458167" y="374162"/>
                    <a:pt x="452065" y="404670"/>
                  </a:cubicBezTo>
                  <a:cubicBezTo>
                    <a:pt x="452065" y="404670"/>
                    <a:pt x="494777" y="358908"/>
                    <a:pt x="510031" y="303992"/>
                  </a:cubicBezTo>
                  <a:cubicBezTo>
                    <a:pt x="516133" y="242976"/>
                    <a:pt x="506980" y="154501"/>
                    <a:pt x="449014" y="136196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0" name="任意多边形: 形状 419">
              <a:extLst>
                <a:ext uri="{FF2B5EF4-FFF2-40B4-BE49-F238E27FC236}">
                  <a16:creationId xmlns:a16="http://schemas.microsoft.com/office/drawing/2014/main" id="{6D2FC1B2-10B4-4737-B42D-85193E320F80}"/>
                </a:ext>
              </a:extLst>
            </p:cNvPr>
            <p:cNvSpPr/>
            <p:nvPr/>
          </p:nvSpPr>
          <p:spPr>
            <a:xfrm>
              <a:off x="7084238" y="2429515"/>
              <a:ext cx="250169" cy="258417"/>
            </a:xfrm>
            <a:custGeom>
              <a:avLst/>
              <a:gdLst>
                <a:gd name="connsiteX0" fmla="*/ 0 w 250169"/>
                <a:gd name="connsiteY0" fmla="*/ 39661 h 258417"/>
                <a:gd name="connsiteX1" fmla="*/ 6102 w 250169"/>
                <a:gd name="connsiteY1" fmla="*/ 213559 h 258417"/>
                <a:gd name="connsiteX2" fmla="*/ 250170 w 250169"/>
                <a:gd name="connsiteY2" fmla="*/ 204407 h 258417"/>
                <a:gd name="connsiteX3" fmla="*/ 234916 w 250169"/>
                <a:gd name="connsiteY3" fmla="*/ 0 h 258417"/>
                <a:gd name="connsiteX4" fmla="*/ 0 w 250169"/>
                <a:gd name="connsiteY4" fmla="*/ 39661 h 25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69" h="258417">
                  <a:moveTo>
                    <a:pt x="0" y="39661"/>
                  </a:moveTo>
                  <a:cubicBezTo>
                    <a:pt x="0" y="39661"/>
                    <a:pt x="6102" y="140339"/>
                    <a:pt x="6102" y="213559"/>
                  </a:cubicBezTo>
                  <a:cubicBezTo>
                    <a:pt x="6102" y="213559"/>
                    <a:pt x="100678" y="320339"/>
                    <a:pt x="250170" y="204407"/>
                  </a:cubicBezTo>
                  <a:cubicBezTo>
                    <a:pt x="250170" y="143390"/>
                    <a:pt x="237966" y="64068"/>
                    <a:pt x="234916" y="0"/>
                  </a:cubicBezTo>
                  <a:cubicBezTo>
                    <a:pt x="237966" y="0"/>
                    <a:pt x="51865" y="51864"/>
                    <a:pt x="0" y="3966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1" name="任意多边形: 形状 420">
              <a:extLst>
                <a:ext uri="{FF2B5EF4-FFF2-40B4-BE49-F238E27FC236}">
                  <a16:creationId xmlns:a16="http://schemas.microsoft.com/office/drawing/2014/main" id="{751664EA-1FAA-40B7-81C9-ED73212A2336}"/>
                </a:ext>
              </a:extLst>
            </p:cNvPr>
            <p:cNvSpPr/>
            <p:nvPr/>
          </p:nvSpPr>
          <p:spPr>
            <a:xfrm>
              <a:off x="6525478" y="2591210"/>
              <a:ext cx="1223844" cy="1567951"/>
            </a:xfrm>
            <a:custGeom>
              <a:avLst/>
              <a:gdLst>
                <a:gd name="connsiteX0" fmla="*/ 827234 w 1223844"/>
                <a:gd name="connsiteY0" fmla="*/ 0 h 1567951"/>
                <a:gd name="connsiteX1" fmla="*/ 537404 w 1223844"/>
                <a:gd name="connsiteY1" fmla="*/ 0 h 1567951"/>
                <a:gd name="connsiteX2" fmla="*/ 238420 w 1223844"/>
                <a:gd name="connsiteY2" fmla="*/ 131186 h 1567951"/>
                <a:gd name="connsiteX3" fmla="*/ 152997 w 1223844"/>
                <a:gd name="connsiteY3" fmla="*/ 1537627 h 1567951"/>
                <a:gd name="connsiteX4" fmla="*/ 1223844 w 1223844"/>
                <a:gd name="connsiteY4" fmla="*/ 1513220 h 1567951"/>
                <a:gd name="connsiteX5" fmla="*/ 1107912 w 1223844"/>
                <a:gd name="connsiteY5" fmla="*/ 103729 h 1567951"/>
                <a:gd name="connsiteX6" fmla="*/ 827234 w 1223844"/>
                <a:gd name="connsiteY6" fmla="*/ 0 h 156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3844" h="1567951">
                  <a:moveTo>
                    <a:pt x="827234" y="0"/>
                  </a:moveTo>
                  <a:cubicBezTo>
                    <a:pt x="827234" y="0"/>
                    <a:pt x="653336" y="54915"/>
                    <a:pt x="537404" y="0"/>
                  </a:cubicBezTo>
                  <a:cubicBezTo>
                    <a:pt x="537404" y="0"/>
                    <a:pt x="262827" y="97627"/>
                    <a:pt x="238420" y="131186"/>
                  </a:cubicBezTo>
                  <a:cubicBezTo>
                    <a:pt x="214014" y="161695"/>
                    <a:pt x="-225308" y="1202034"/>
                    <a:pt x="152997" y="1537627"/>
                  </a:cubicBezTo>
                  <a:cubicBezTo>
                    <a:pt x="152997" y="1537627"/>
                    <a:pt x="644183" y="1620000"/>
                    <a:pt x="1223844" y="1513220"/>
                  </a:cubicBezTo>
                  <a:cubicBezTo>
                    <a:pt x="1223844" y="1156271"/>
                    <a:pt x="1150624" y="134237"/>
                    <a:pt x="1107912" y="103729"/>
                  </a:cubicBezTo>
                  <a:cubicBezTo>
                    <a:pt x="1065200" y="70170"/>
                    <a:pt x="827234" y="0"/>
                    <a:pt x="827234" y="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2" name="任意多边形: 形状 421">
              <a:extLst>
                <a:ext uri="{FF2B5EF4-FFF2-40B4-BE49-F238E27FC236}">
                  <a16:creationId xmlns:a16="http://schemas.microsoft.com/office/drawing/2014/main" id="{E2D031A2-E446-45D1-87EA-F4BF272EA55C}"/>
                </a:ext>
              </a:extLst>
            </p:cNvPr>
            <p:cNvSpPr/>
            <p:nvPr/>
          </p:nvSpPr>
          <p:spPr>
            <a:xfrm>
              <a:off x="6519831" y="2717058"/>
              <a:ext cx="249407" cy="850423"/>
            </a:xfrm>
            <a:custGeom>
              <a:avLst/>
              <a:gdLst>
                <a:gd name="connsiteX0" fmla="*/ 6102 w 249407"/>
                <a:gd name="connsiteY0" fmla="*/ 850424 h 850423"/>
                <a:gd name="connsiteX1" fmla="*/ 6102 w 249407"/>
                <a:gd name="connsiteY1" fmla="*/ 850424 h 850423"/>
                <a:gd name="connsiteX2" fmla="*/ 0 w 249407"/>
                <a:gd name="connsiteY2" fmla="*/ 844322 h 850423"/>
                <a:gd name="connsiteX3" fmla="*/ 237966 w 249407"/>
                <a:gd name="connsiteY3" fmla="*/ 2288 h 850423"/>
                <a:gd name="connsiteX4" fmla="*/ 247119 w 249407"/>
                <a:gd name="connsiteY4" fmla="*/ 2288 h 850423"/>
                <a:gd name="connsiteX5" fmla="*/ 247119 w 249407"/>
                <a:gd name="connsiteY5" fmla="*/ 11441 h 850423"/>
                <a:gd name="connsiteX6" fmla="*/ 9153 w 249407"/>
                <a:gd name="connsiteY6" fmla="*/ 847373 h 850423"/>
                <a:gd name="connsiteX7" fmla="*/ 6102 w 249407"/>
                <a:gd name="connsiteY7" fmla="*/ 850424 h 850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407" h="850423">
                  <a:moveTo>
                    <a:pt x="6102" y="850424"/>
                  </a:moveTo>
                  <a:cubicBezTo>
                    <a:pt x="6102" y="850424"/>
                    <a:pt x="6102" y="850424"/>
                    <a:pt x="6102" y="850424"/>
                  </a:cubicBezTo>
                  <a:cubicBezTo>
                    <a:pt x="3051" y="850424"/>
                    <a:pt x="0" y="847373"/>
                    <a:pt x="0" y="844322"/>
                  </a:cubicBezTo>
                  <a:cubicBezTo>
                    <a:pt x="0" y="838220"/>
                    <a:pt x="97627" y="200593"/>
                    <a:pt x="237966" y="2288"/>
                  </a:cubicBezTo>
                  <a:cubicBezTo>
                    <a:pt x="241017" y="-763"/>
                    <a:pt x="244068" y="-763"/>
                    <a:pt x="247119" y="2288"/>
                  </a:cubicBezTo>
                  <a:cubicBezTo>
                    <a:pt x="250170" y="5339"/>
                    <a:pt x="250170" y="8390"/>
                    <a:pt x="247119" y="11441"/>
                  </a:cubicBezTo>
                  <a:cubicBezTo>
                    <a:pt x="109831" y="206695"/>
                    <a:pt x="12204" y="841271"/>
                    <a:pt x="9153" y="847373"/>
                  </a:cubicBezTo>
                  <a:cubicBezTo>
                    <a:pt x="12204" y="847373"/>
                    <a:pt x="9153" y="850424"/>
                    <a:pt x="6102" y="850424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3" name="任意多边形: 形状 422">
              <a:extLst>
                <a:ext uri="{FF2B5EF4-FFF2-40B4-BE49-F238E27FC236}">
                  <a16:creationId xmlns:a16="http://schemas.microsoft.com/office/drawing/2014/main" id="{BC811044-1356-432B-B798-7C77B33AA5A9}"/>
                </a:ext>
              </a:extLst>
            </p:cNvPr>
            <p:cNvSpPr/>
            <p:nvPr/>
          </p:nvSpPr>
          <p:spPr>
            <a:xfrm>
              <a:off x="7078136" y="2455709"/>
              <a:ext cx="245331" cy="68382"/>
            </a:xfrm>
            <a:custGeom>
              <a:avLst/>
              <a:gdLst>
                <a:gd name="connsiteX0" fmla="*/ 103729 w 245331"/>
                <a:gd name="connsiteY0" fmla="*/ 68382 h 68382"/>
                <a:gd name="connsiteX1" fmla="*/ 82373 w 245331"/>
                <a:gd name="connsiteY1" fmla="*/ 65332 h 68382"/>
                <a:gd name="connsiteX2" fmla="*/ 27458 w 245331"/>
                <a:gd name="connsiteY2" fmla="*/ 47026 h 68382"/>
                <a:gd name="connsiteX3" fmla="*/ 3051 w 245331"/>
                <a:gd name="connsiteY3" fmla="*/ 34823 h 68382"/>
                <a:gd name="connsiteX4" fmla="*/ 0 w 245331"/>
                <a:gd name="connsiteY4" fmla="*/ 25671 h 68382"/>
                <a:gd name="connsiteX5" fmla="*/ 9153 w 245331"/>
                <a:gd name="connsiteY5" fmla="*/ 22620 h 68382"/>
                <a:gd name="connsiteX6" fmla="*/ 18305 w 245331"/>
                <a:gd name="connsiteY6" fmla="*/ 28721 h 68382"/>
                <a:gd name="connsiteX7" fmla="*/ 24407 w 245331"/>
                <a:gd name="connsiteY7" fmla="*/ 28721 h 68382"/>
                <a:gd name="connsiteX8" fmla="*/ 33560 w 245331"/>
                <a:gd name="connsiteY8" fmla="*/ 34823 h 68382"/>
                <a:gd name="connsiteX9" fmla="*/ 82373 w 245331"/>
                <a:gd name="connsiteY9" fmla="*/ 53128 h 68382"/>
                <a:gd name="connsiteX10" fmla="*/ 94576 w 245331"/>
                <a:gd name="connsiteY10" fmla="*/ 53128 h 68382"/>
                <a:gd name="connsiteX11" fmla="*/ 186102 w 245331"/>
                <a:gd name="connsiteY11" fmla="*/ 25671 h 68382"/>
                <a:gd name="connsiteX12" fmla="*/ 234915 w 245331"/>
                <a:gd name="connsiteY12" fmla="*/ 1264 h 68382"/>
                <a:gd name="connsiteX13" fmla="*/ 244068 w 245331"/>
                <a:gd name="connsiteY13" fmla="*/ 4315 h 68382"/>
                <a:gd name="connsiteX14" fmla="*/ 241017 w 245331"/>
                <a:gd name="connsiteY14" fmla="*/ 13467 h 68382"/>
                <a:gd name="connsiteX15" fmla="*/ 192203 w 245331"/>
                <a:gd name="connsiteY15" fmla="*/ 37874 h 68382"/>
                <a:gd name="connsiteX16" fmla="*/ 118983 w 245331"/>
                <a:gd name="connsiteY16" fmla="*/ 65332 h 68382"/>
                <a:gd name="connsiteX17" fmla="*/ 103729 w 245331"/>
                <a:gd name="connsiteY17" fmla="*/ 68382 h 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5331" h="68382">
                  <a:moveTo>
                    <a:pt x="103729" y="68382"/>
                  </a:moveTo>
                  <a:cubicBezTo>
                    <a:pt x="97627" y="68382"/>
                    <a:pt x="88475" y="68382"/>
                    <a:pt x="82373" y="65332"/>
                  </a:cubicBezTo>
                  <a:cubicBezTo>
                    <a:pt x="57966" y="62281"/>
                    <a:pt x="39661" y="53128"/>
                    <a:pt x="27458" y="47026"/>
                  </a:cubicBezTo>
                  <a:cubicBezTo>
                    <a:pt x="15254" y="40925"/>
                    <a:pt x="6102" y="34823"/>
                    <a:pt x="3051" y="34823"/>
                  </a:cubicBezTo>
                  <a:cubicBezTo>
                    <a:pt x="0" y="31772"/>
                    <a:pt x="0" y="28721"/>
                    <a:pt x="0" y="25671"/>
                  </a:cubicBezTo>
                  <a:cubicBezTo>
                    <a:pt x="3051" y="22620"/>
                    <a:pt x="6102" y="22620"/>
                    <a:pt x="9153" y="22620"/>
                  </a:cubicBezTo>
                  <a:cubicBezTo>
                    <a:pt x="9153" y="22620"/>
                    <a:pt x="12204" y="25671"/>
                    <a:pt x="18305" y="28721"/>
                  </a:cubicBezTo>
                  <a:cubicBezTo>
                    <a:pt x="21356" y="28721"/>
                    <a:pt x="21356" y="28721"/>
                    <a:pt x="24407" y="28721"/>
                  </a:cubicBezTo>
                  <a:cubicBezTo>
                    <a:pt x="24407" y="28721"/>
                    <a:pt x="27458" y="31772"/>
                    <a:pt x="33560" y="34823"/>
                  </a:cubicBezTo>
                  <a:cubicBezTo>
                    <a:pt x="48814" y="40925"/>
                    <a:pt x="67119" y="50077"/>
                    <a:pt x="82373" y="53128"/>
                  </a:cubicBezTo>
                  <a:cubicBezTo>
                    <a:pt x="85424" y="53128"/>
                    <a:pt x="91525" y="53128"/>
                    <a:pt x="94576" y="53128"/>
                  </a:cubicBezTo>
                  <a:cubicBezTo>
                    <a:pt x="118983" y="53128"/>
                    <a:pt x="155593" y="37874"/>
                    <a:pt x="186102" y="25671"/>
                  </a:cubicBezTo>
                  <a:cubicBezTo>
                    <a:pt x="213559" y="13467"/>
                    <a:pt x="234915" y="1264"/>
                    <a:pt x="234915" y="1264"/>
                  </a:cubicBezTo>
                  <a:cubicBezTo>
                    <a:pt x="237966" y="-1787"/>
                    <a:pt x="241017" y="1264"/>
                    <a:pt x="244068" y="4315"/>
                  </a:cubicBezTo>
                  <a:cubicBezTo>
                    <a:pt x="247119" y="7365"/>
                    <a:pt x="244068" y="10416"/>
                    <a:pt x="241017" y="13467"/>
                  </a:cubicBezTo>
                  <a:cubicBezTo>
                    <a:pt x="237966" y="13467"/>
                    <a:pt x="216610" y="25671"/>
                    <a:pt x="192203" y="37874"/>
                  </a:cubicBezTo>
                  <a:cubicBezTo>
                    <a:pt x="167797" y="50077"/>
                    <a:pt x="137288" y="62281"/>
                    <a:pt x="118983" y="65332"/>
                  </a:cubicBezTo>
                  <a:cubicBezTo>
                    <a:pt x="112881" y="68382"/>
                    <a:pt x="106780" y="68382"/>
                    <a:pt x="103729" y="68382"/>
                  </a:cubicBezTo>
                  <a:close/>
                </a:path>
              </a:pathLst>
            </a:custGeom>
            <a:solidFill>
              <a:srgbClr val="E87952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24" name="图形 1">
              <a:extLst>
                <a:ext uri="{FF2B5EF4-FFF2-40B4-BE49-F238E27FC236}">
                  <a16:creationId xmlns:a16="http://schemas.microsoft.com/office/drawing/2014/main" id="{07858376-37E8-482D-A3C7-0D04C69FA559}"/>
                </a:ext>
              </a:extLst>
            </p:cNvPr>
            <p:cNvGrpSpPr/>
            <p:nvPr/>
          </p:nvGrpSpPr>
          <p:grpSpPr>
            <a:xfrm>
              <a:off x="8252970" y="3885022"/>
              <a:ext cx="256311" cy="341442"/>
              <a:chOff x="8252970" y="3885022"/>
              <a:chExt cx="256311" cy="341442"/>
            </a:xfrm>
          </p:grpSpPr>
          <p:sp>
            <p:nvSpPr>
              <p:cNvPr id="425" name="任意多边形: 形状 424">
                <a:extLst>
                  <a:ext uri="{FF2B5EF4-FFF2-40B4-BE49-F238E27FC236}">
                    <a16:creationId xmlns:a16="http://schemas.microsoft.com/office/drawing/2014/main" id="{4A638652-0161-4065-96B2-08D670F55D1C}"/>
                  </a:ext>
                </a:extLst>
              </p:cNvPr>
              <p:cNvSpPr/>
              <p:nvPr/>
            </p:nvSpPr>
            <p:spPr>
              <a:xfrm>
                <a:off x="8262963" y="3885022"/>
                <a:ext cx="246317" cy="334697"/>
              </a:xfrm>
              <a:custGeom>
                <a:avLst/>
                <a:gdLst>
                  <a:gd name="connsiteX0" fmla="*/ 181952 w 246317"/>
                  <a:gd name="connsiteY0" fmla="*/ 5849 h 334697"/>
                  <a:gd name="connsiteX1" fmla="*/ 44664 w 246317"/>
                  <a:gd name="connsiteY1" fmla="*/ 18052 h 334697"/>
                  <a:gd name="connsiteX2" fmla="*/ 1953 w 246317"/>
                  <a:gd name="connsiteY2" fmla="*/ 268222 h 334697"/>
                  <a:gd name="connsiteX3" fmla="*/ 26359 w 246317"/>
                  <a:gd name="connsiteY3" fmla="*/ 332290 h 334697"/>
                  <a:gd name="connsiteX4" fmla="*/ 246020 w 246317"/>
                  <a:gd name="connsiteY4" fmla="*/ 256018 h 334697"/>
                  <a:gd name="connsiteX5" fmla="*/ 224664 w 246317"/>
                  <a:gd name="connsiteY5" fmla="*/ 164493 h 334697"/>
                  <a:gd name="connsiteX6" fmla="*/ 218563 w 246317"/>
                  <a:gd name="connsiteY6" fmla="*/ 51612 h 334697"/>
                  <a:gd name="connsiteX7" fmla="*/ 181952 w 246317"/>
                  <a:gd name="connsiteY7" fmla="*/ 5849 h 33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6317" h="334697">
                    <a:moveTo>
                      <a:pt x="181952" y="5849"/>
                    </a:moveTo>
                    <a:cubicBezTo>
                      <a:pt x="136190" y="-12456"/>
                      <a:pt x="41613" y="18052"/>
                      <a:pt x="44664" y="18052"/>
                    </a:cubicBezTo>
                    <a:cubicBezTo>
                      <a:pt x="35512" y="121781"/>
                      <a:pt x="-4149" y="164493"/>
                      <a:pt x="1953" y="268222"/>
                    </a:cubicBezTo>
                    <a:cubicBezTo>
                      <a:pt x="1953" y="283476"/>
                      <a:pt x="-10251" y="326188"/>
                      <a:pt x="26359" y="332290"/>
                    </a:cubicBezTo>
                    <a:cubicBezTo>
                      <a:pt x="93478" y="347544"/>
                      <a:pt x="242969" y="286527"/>
                      <a:pt x="246020" y="256018"/>
                    </a:cubicBezTo>
                    <a:cubicBezTo>
                      <a:pt x="249071" y="216357"/>
                      <a:pt x="227715" y="204154"/>
                      <a:pt x="224664" y="164493"/>
                    </a:cubicBezTo>
                    <a:cubicBezTo>
                      <a:pt x="218563" y="127883"/>
                      <a:pt x="221614" y="88222"/>
                      <a:pt x="218563" y="51612"/>
                    </a:cubicBezTo>
                    <a:cubicBezTo>
                      <a:pt x="212461" y="24154"/>
                      <a:pt x="209410" y="15001"/>
                      <a:pt x="181952" y="5849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6" name="任意多边形: 形状 425">
                <a:extLst>
                  <a:ext uri="{FF2B5EF4-FFF2-40B4-BE49-F238E27FC236}">
                    <a16:creationId xmlns:a16="http://schemas.microsoft.com/office/drawing/2014/main" id="{E08E0555-EC61-44CD-B67F-B48D208CD1AB}"/>
                  </a:ext>
                </a:extLst>
              </p:cNvPr>
              <p:cNvSpPr/>
              <p:nvPr/>
            </p:nvSpPr>
            <p:spPr>
              <a:xfrm>
                <a:off x="8252970" y="4051302"/>
                <a:ext cx="103471" cy="175162"/>
              </a:xfrm>
              <a:custGeom>
                <a:avLst/>
                <a:gdLst>
                  <a:gd name="connsiteX0" fmla="*/ 60759 w 103471"/>
                  <a:gd name="connsiteY0" fmla="*/ 175162 h 175162"/>
                  <a:gd name="connsiteX1" fmla="*/ 8895 w 103471"/>
                  <a:gd name="connsiteY1" fmla="*/ 153806 h 175162"/>
                  <a:gd name="connsiteX2" fmla="*/ 18048 w 103471"/>
                  <a:gd name="connsiteY2" fmla="*/ 4315 h 175162"/>
                  <a:gd name="connsiteX3" fmla="*/ 24149 w 103471"/>
                  <a:gd name="connsiteY3" fmla="*/ 1264 h 175162"/>
                  <a:gd name="connsiteX4" fmla="*/ 27200 w 103471"/>
                  <a:gd name="connsiteY4" fmla="*/ 7366 h 175162"/>
                  <a:gd name="connsiteX5" fmla="*/ 18048 w 103471"/>
                  <a:gd name="connsiteY5" fmla="*/ 147704 h 175162"/>
                  <a:gd name="connsiteX6" fmla="*/ 97369 w 103471"/>
                  <a:gd name="connsiteY6" fmla="*/ 159908 h 175162"/>
                  <a:gd name="connsiteX7" fmla="*/ 103471 w 103471"/>
                  <a:gd name="connsiteY7" fmla="*/ 162959 h 175162"/>
                  <a:gd name="connsiteX8" fmla="*/ 100420 w 103471"/>
                  <a:gd name="connsiteY8" fmla="*/ 169060 h 175162"/>
                  <a:gd name="connsiteX9" fmla="*/ 60759 w 103471"/>
                  <a:gd name="connsiteY9" fmla="*/ 175162 h 175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3471" h="175162">
                    <a:moveTo>
                      <a:pt x="60759" y="175162"/>
                    </a:moveTo>
                    <a:cubicBezTo>
                      <a:pt x="39403" y="175162"/>
                      <a:pt x="18048" y="172111"/>
                      <a:pt x="8895" y="153806"/>
                    </a:cubicBezTo>
                    <a:cubicBezTo>
                      <a:pt x="-15512" y="108043"/>
                      <a:pt x="18048" y="7366"/>
                      <a:pt x="18048" y="4315"/>
                    </a:cubicBezTo>
                    <a:cubicBezTo>
                      <a:pt x="18048" y="1264"/>
                      <a:pt x="21098" y="-1787"/>
                      <a:pt x="24149" y="1264"/>
                    </a:cubicBezTo>
                    <a:cubicBezTo>
                      <a:pt x="27200" y="1264"/>
                      <a:pt x="27200" y="4315"/>
                      <a:pt x="27200" y="7366"/>
                    </a:cubicBezTo>
                    <a:cubicBezTo>
                      <a:pt x="27200" y="7366"/>
                      <a:pt x="-6359" y="108043"/>
                      <a:pt x="18048" y="147704"/>
                    </a:cubicBezTo>
                    <a:cubicBezTo>
                      <a:pt x="30251" y="169060"/>
                      <a:pt x="79065" y="162959"/>
                      <a:pt x="97369" y="159908"/>
                    </a:cubicBezTo>
                    <a:cubicBezTo>
                      <a:pt x="100420" y="159908"/>
                      <a:pt x="103471" y="159908"/>
                      <a:pt x="103471" y="162959"/>
                    </a:cubicBezTo>
                    <a:cubicBezTo>
                      <a:pt x="103471" y="166009"/>
                      <a:pt x="103471" y="169060"/>
                      <a:pt x="100420" y="169060"/>
                    </a:cubicBezTo>
                    <a:cubicBezTo>
                      <a:pt x="97369" y="172111"/>
                      <a:pt x="79065" y="175162"/>
                      <a:pt x="60759" y="17516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7" name="任意多边形: 形状 426">
                <a:extLst>
                  <a:ext uri="{FF2B5EF4-FFF2-40B4-BE49-F238E27FC236}">
                    <a16:creationId xmlns:a16="http://schemas.microsoft.com/office/drawing/2014/main" id="{9C417764-61A2-4774-AC9B-60E840E94F7A}"/>
                  </a:ext>
                </a:extLst>
              </p:cNvPr>
              <p:cNvSpPr/>
              <p:nvPr/>
            </p:nvSpPr>
            <p:spPr>
              <a:xfrm>
                <a:off x="8341187" y="4125786"/>
                <a:ext cx="100677" cy="42711"/>
              </a:xfrm>
              <a:custGeom>
                <a:avLst/>
                <a:gdLst>
                  <a:gd name="connsiteX0" fmla="*/ 6102 w 100677"/>
                  <a:gd name="connsiteY0" fmla="*/ 42712 h 42711"/>
                  <a:gd name="connsiteX1" fmla="*/ 0 w 100677"/>
                  <a:gd name="connsiteY1" fmla="*/ 36610 h 42711"/>
                  <a:gd name="connsiteX2" fmla="*/ 6102 w 100677"/>
                  <a:gd name="connsiteY2" fmla="*/ 30508 h 42711"/>
                  <a:gd name="connsiteX3" fmla="*/ 94576 w 100677"/>
                  <a:gd name="connsiteY3" fmla="*/ 0 h 42711"/>
                  <a:gd name="connsiteX4" fmla="*/ 100678 w 100677"/>
                  <a:gd name="connsiteY4" fmla="*/ 3051 h 42711"/>
                  <a:gd name="connsiteX5" fmla="*/ 97627 w 100677"/>
                  <a:gd name="connsiteY5" fmla="*/ 9153 h 42711"/>
                  <a:gd name="connsiteX6" fmla="*/ 6102 w 100677"/>
                  <a:gd name="connsiteY6" fmla="*/ 42712 h 42711"/>
                  <a:gd name="connsiteX7" fmla="*/ 6102 w 100677"/>
                  <a:gd name="connsiteY7" fmla="*/ 42712 h 42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0677" h="42711">
                    <a:moveTo>
                      <a:pt x="6102" y="42712"/>
                    </a:moveTo>
                    <a:cubicBezTo>
                      <a:pt x="3051" y="42712"/>
                      <a:pt x="0" y="39661"/>
                      <a:pt x="0" y="36610"/>
                    </a:cubicBezTo>
                    <a:cubicBezTo>
                      <a:pt x="0" y="33559"/>
                      <a:pt x="3051" y="30508"/>
                      <a:pt x="6102" y="30508"/>
                    </a:cubicBezTo>
                    <a:cubicBezTo>
                      <a:pt x="27457" y="30508"/>
                      <a:pt x="94576" y="3051"/>
                      <a:pt x="94576" y="0"/>
                    </a:cubicBezTo>
                    <a:cubicBezTo>
                      <a:pt x="97627" y="0"/>
                      <a:pt x="100678" y="0"/>
                      <a:pt x="100678" y="3051"/>
                    </a:cubicBezTo>
                    <a:cubicBezTo>
                      <a:pt x="100678" y="6102"/>
                      <a:pt x="100678" y="9153"/>
                      <a:pt x="97627" y="9153"/>
                    </a:cubicBezTo>
                    <a:cubicBezTo>
                      <a:pt x="94576" y="15254"/>
                      <a:pt x="30508" y="42712"/>
                      <a:pt x="6102" y="42712"/>
                    </a:cubicBezTo>
                    <a:cubicBezTo>
                      <a:pt x="6102" y="42712"/>
                      <a:pt x="6102" y="42712"/>
                      <a:pt x="6102" y="4271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28" name="任意多边形: 形状 427">
              <a:extLst>
                <a:ext uri="{FF2B5EF4-FFF2-40B4-BE49-F238E27FC236}">
                  <a16:creationId xmlns:a16="http://schemas.microsoft.com/office/drawing/2014/main" id="{B11C066F-CE59-4B3C-BAEF-F73FD55EFF18}"/>
                </a:ext>
              </a:extLst>
            </p:cNvPr>
            <p:cNvSpPr/>
            <p:nvPr/>
          </p:nvSpPr>
          <p:spPr>
            <a:xfrm>
              <a:off x="7492453" y="2674390"/>
              <a:ext cx="1101261" cy="1315915"/>
            </a:xfrm>
            <a:custGeom>
              <a:avLst/>
              <a:gdLst>
                <a:gd name="connsiteX0" fmla="*/ 9752 w 1101261"/>
                <a:gd name="connsiteY0" fmla="*/ 69363 h 1315915"/>
                <a:gd name="connsiteX1" fmla="*/ 323988 w 1101261"/>
                <a:gd name="connsiteY1" fmla="*/ 481227 h 1315915"/>
                <a:gd name="connsiteX2" fmla="*/ 729751 w 1101261"/>
                <a:gd name="connsiteY2" fmla="*/ 706990 h 1315915"/>
                <a:gd name="connsiteX3" fmla="*/ 796870 w 1101261"/>
                <a:gd name="connsiteY3" fmla="*/ 1283600 h 1315915"/>
                <a:gd name="connsiteX4" fmla="*/ 995175 w 1101261"/>
                <a:gd name="connsiteY4" fmla="*/ 1314108 h 1315915"/>
                <a:gd name="connsiteX5" fmla="*/ 1056192 w 1101261"/>
                <a:gd name="connsiteY5" fmla="*/ 536142 h 1315915"/>
                <a:gd name="connsiteX6" fmla="*/ 9752 w 1101261"/>
                <a:gd name="connsiteY6" fmla="*/ 69363 h 1315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1261" h="1315915">
                  <a:moveTo>
                    <a:pt x="9752" y="69363"/>
                  </a:moveTo>
                  <a:cubicBezTo>
                    <a:pt x="-54316" y="188346"/>
                    <a:pt x="214158" y="411058"/>
                    <a:pt x="323988" y="481227"/>
                  </a:cubicBezTo>
                  <a:cubicBezTo>
                    <a:pt x="421616" y="545295"/>
                    <a:pt x="729751" y="706990"/>
                    <a:pt x="729751" y="706990"/>
                  </a:cubicBezTo>
                  <a:cubicBezTo>
                    <a:pt x="729751" y="706990"/>
                    <a:pt x="705344" y="1170719"/>
                    <a:pt x="796870" y="1283600"/>
                  </a:cubicBezTo>
                  <a:cubicBezTo>
                    <a:pt x="842633" y="1311058"/>
                    <a:pt x="918904" y="1320210"/>
                    <a:pt x="995175" y="1314108"/>
                  </a:cubicBezTo>
                  <a:cubicBezTo>
                    <a:pt x="1150768" y="1243939"/>
                    <a:pt x="1101955" y="655125"/>
                    <a:pt x="1056192" y="536142"/>
                  </a:cubicBezTo>
                  <a:cubicBezTo>
                    <a:pt x="1007379" y="401905"/>
                    <a:pt x="153141" y="-202163"/>
                    <a:pt x="9752" y="69363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9" name="任意多边形: 形状 428">
              <a:extLst>
                <a:ext uri="{FF2B5EF4-FFF2-40B4-BE49-F238E27FC236}">
                  <a16:creationId xmlns:a16="http://schemas.microsoft.com/office/drawing/2014/main" id="{18899638-062B-43D8-96D5-1153C64BAA70}"/>
                </a:ext>
              </a:extLst>
            </p:cNvPr>
            <p:cNvSpPr/>
            <p:nvPr/>
          </p:nvSpPr>
          <p:spPr>
            <a:xfrm>
              <a:off x="7489746" y="2682735"/>
              <a:ext cx="332796" cy="478983"/>
            </a:xfrm>
            <a:custGeom>
              <a:avLst/>
              <a:gdLst>
                <a:gd name="connsiteX0" fmla="*/ 326695 w 332796"/>
                <a:gd name="connsiteY0" fmla="*/ 478983 h 478983"/>
                <a:gd name="connsiteX1" fmla="*/ 326695 w 332796"/>
                <a:gd name="connsiteY1" fmla="*/ 478983 h 478983"/>
                <a:gd name="connsiteX2" fmla="*/ 42966 w 332796"/>
                <a:gd name="connsiteY2" fmla="*/ 216610 h 478983"/>
                <a:gd name="connsiteX3" fmla="*/ 6356 w 332796"/>
                <a:gd name="connsiteY3" fmla="*/ 61017 h 478983"/>
                <a:gd name="connsiteX4" fmla="*/ 67373 w 332796"/>
                <a:gd name="connsiteY4" fmla="*/ 0 h 478983"/>
                <a:gd name="connsiteX5" fmla="*/ 73475 w 332796"/>
                <a:gd name="connsiteY5" fmla="*/ 3051 h 478983"/>
                <a:gd name="connsiteX6" fmla="*/ 70424 w 332796"/>
                <a:gd name="connsiteY6" fmla="*/ 9153 h 478983"/>
                <a:gd name="connsiteX7" fmla="*/ 18560 w 332796"/>
                <a:gd name="connsiteY7" fmla="*/ 64068 h 478983"/>
                <a:gd name="connsiteX8" fmla="*/ 55170 w 332796"/>
                <a:gd name="connsiteY8" fmla="*/ 210509 h 478983"/>
                <a:gd name="connsiteX9" fmla="*/ 329746 w 332796"/>
                <a:gd name="connsiteY9" fmla="*/ 466780 h 478983"/>
                <a:gd name="connsiteX10" fmla="*/ 332797 w 332796"/>
                <a:gd name="connsiteY10" fmla="*/ 475932 h 478983"/>
                <a:gd name="connsiteX11" fmla="*/ 326695 w 332796"/>
                <a:gd name="connsiteY11" fmla="*/ 478983 h 478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2796" h="478983">
                  <a:moveTo>
                    <a:pt x="326695" y="478983"/>
                  </a:moveTo>
                  <a:cubicBezTo>
                    <a:pt x="326695" y="478983"/>
                    <a:pt x="326695" y="478983"/>
                    <a:pt x="326695" y="478983"/>
                  </a:cubicBezTo>
                  <a:cubicBezTo>
                    <a:pt x="320593" y="475932"/>
                    <a:pt x="140593" y="372203"/>
                    <a:pt x="42966" y="216610"/>
                  </a:cubicBezTo>
                  <a:cubicBezTo>
                    <a:pt x="3305" y="155593"/>
                    <a:pt x="-8898" y="103729"/>
                    <a:pt x="6356" y="61017"/>
                  </a:cubicBezTo>
                  <a:cubicBezTo>
                    <a:pt x="21610" y="15254"/>
                    <a:pt x="64322" y="0"/>
                    <a:pt x="67373" y="0"/>
                  </a:cubicBezTo>
                  <a:cubicBezTo>
                    <a:pt x="70424" y="0"/>
                    <a:pt x="73475" y="0"/>
                    <a:pt x="73475" y="3051"/>
                  </a:cubicBezTo>
                  <a:cubicBezTo>
                    <a:pt x="73475" y="6102"/>
                    <a:pt x="73475" y="9153"/>
                    <a:pt x="70424" y="9153"/>
                  </a:cubicBezTo>
                  <a:cubicBezTo>
                    <a:pt x="70424" y="9153"/>
                    <a:pt x="30763" y="24407"/>
                    <a:pt x="18560" y="64068"/>
                  </a:cubicBezTo>
                  <a:cubicBezTo>
                    <a:pt x="6356" y="103729"/>
                    <a:pt x="18560" y="152542"/>
                    <a:pt x="55170" y="210509"/>
                  </a:cubicBezTo>
                  <a:cubicBezTo>
                    <a:pt x="152797" y="363051"/>
                    <a:pt x="329746" y="466780"/>
                    <a:pt x="329746" y="466780"/>
                  </a:cubicBezTo>
                  <a:cubicBezTo>
                    <a:pt x="332797" y="466780"/>
                    <a:pt x="332797" y="472881"/>
                    <a:pt x="332797" y="475932"/>
                  </a:cubicBezTo>
                  <a:cubicBezTo>
                    <a:pt x="332797" y="478983"/>
                    <a:pt x="329746" y="478983"/>
                    <a:pt x="326695" y="478983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0" name="任意多边形: 形状 429">
              <a:extLst>
                <a:ext uri="{FF2B5EF4-FFF2-40B4-BE49-F238E27FC236}">
                  <a16:creationId xmlns:a16="http://schemas.microsoft.com/office/drawing/2014/main" id="{C12798FB-05A5-4D82-9727-D5B67249A9D1}"/>
                </a:ext>
              </a:extLst>
            </p:cNvPr>
            <p:cNvSpPr/>
            <p:nvPr/>
          </p:nvSpPr>
          <p:spPr>
            <a:xfrm>
              <a:off x="8216865" y="3276387"/>
              <a:ext cx="82873" cy="111094"/>
            </a:xfrm>
            <a:custGeom>
              <a:avLst/>
              <a:gdLst>
                <a:gd name="connsiteX0" fmla="*/ 5339 w 82873"/>
                <a:gd name="connsiteY0" fmla="*/ 111094 h 111094"/>
                <a:gd name="connsiteX1" fmla="*/ 2288 w 82873"/>
                <a:gd name="connsiteY1" fmla="*/ 108043 h 111094"/>
                <a:gd name="connsiteX2" fmla="*/ 2288 w 82873"/>
                <a:gd name="connsiteY2" fmla="*/ 101942 h 111094"/>
                <a:gd name="connsiteX3" fmla="*/ 72457 w 82873"/>
                <a:gd name="connsiteY3" fmla="*/ 1264 h 111094"/>
                <a:gd name="connsiteX4" fmla="*/ 81610 w 82873"/>
                <a:gd name="connsiteY4" fmla="*/ 4315 h 111094"/>
                <a:gd name="connsiteX5" fmla="*/ 78559 w 82873"/>
                <a:gd name="connsiteY5" fmla="*/ 13467 h 111094"/>
                <a:gd name="connsiteX6" fmla="*/ 20593 w 82873"/>
                <a:gd name="connsiteY6" fmla="*/ 92789 h 111094"/>
                <a:gd name="connsiteX7" fmla="*/ 75508 w 82873"/>
                <a:gd name="connsiteY7" fmla="*/ 74484 h 111094"/>
                <a:gd name="connsiteX8" fmla="*/ 81610 w 82873"/>
                <a:gd name="connsiteY8" fmla="*/ 80586 h 111094"/>
                <a:gd name="connsiteX9" fmla="*/ 75508 w 82873"/>
                <a:gd name="connsiteY9" fmla="*/ 86687 h 111094"/>
                <a:gd name="connsiteX10" fmla="*/ 5339 w 82873"/>
                <a:gd name="connsiteY10" fmla="*/ 111094 h 111094"/>
                <a:gd name="connsiteX11" fmla="*/ 5339 w 82873"/>
                <a:gd name="connsiteY11" fmla="*/ 111094 h 11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2873" h="111094">
                  <a:moveTo>
                    <a:pt x="5339" y="111094"/>
                  </a:moveTo>
                  <a:cubicBezTo>
                    <a:pt x="5339" y="111094"/>
                    <a:pt x="2288" y="111094"/>
                    <a:pt x="2288" y="108043"/>
                  </a:cubicBezTo>
                  <a:cubicBezTo>
                    <a:pt x="-763" y="104993"/>
                    <a:pt x="-763" y="104993"/>
                    <a:pt x="2288" y="101942"/>
                  </a:cubicBezTo>
                  <a:cubicBezTo>
                    <a:pt x="8390" y="92789"/>
                    <a:pt x="51102" y="16518"/>
                    <a:pt x="72457" y="1264"/>
                  </a:cubicBezTo>
                  <a:cubicBezTo>
                    <a:pt x="75508" y="-1787"/>
                    <a:pt x="78559" y="1264"/>
                    <a:pt x="81610" y="4315"/>
                  </a:cubicBezTo>
                  <a:cubicBezTo>
                    <a:pt x="84661" y="7365"/>
                    <a:pt x="81610" y="10416"/>
                    <a:pt x="78559" y="13467"/>
                  </a:cubicBezTo>
                  <a:cubicBezTo>
                    <a:pt x="66356" y="22620"/>
                    <a:pt x="38898" y="65332"/>
                    <a:pt x="20593" y="92789"/>
                  </a:cubicBezTo>
                  <a:cubicBezTo>
                    <a:pt x="35847" y="83637"/>
                    <a:pt x="57203" y="74484"/>
                    <a:pt x="75508" y="74484"/>
                  </a:cubicBezTo>
                  <a:cubicBezTo>
                    <a:pt x="78559" y="74484"/>
                    <a:pt x="81610" y="77535"/>
                    <a:pt x="81610" y="80586"/>
                  </a:cubicBezTo>
                  <a:cubicBezTo>
                    <a:pt x="81610" y="83637"/>
                    <a:pt x="78559" y="86687"/>
                    <a:pt x="75508" y="86687"/>
                  </a:cubicBezTo>
                  <a:cubicBezTo>
                    <a:pt x="51102" y="83637"/>
                    <a:pt x="8390" y="111094"/>
                    <a:pt x="5339" y="111094"/>
                  </a:cubicBezTo>
                  <a:cubicBezTo>
                    <a:pt x="8390" y="111094"/>
                    <a:pt x="8390" y="111094"/>
                    <a:pt x="5339" y="111094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31" name="图形 1">
              <a:extLst>
                <a:ext uri="{FF2B5EF4-FFF2-40B4-BE49-F238E27FC236}">
                  <a16:creationId xmlns:a16="http://schemas.microsoft.com/office/drawing/2014/main" id="{07858376-37E8-482D-A3C7-0D04C69FA559}"/>
                </a:ext>
              </a:extLst>
            </p:cNvPr>
            <p:cNvGrpSpPr/>
            <p:nvPr/>
          </p:nvGrpSpPr>
          <p:grpSpPr>
            <a:xfrm>
              <a:off x="6891936" y="1741677"/>
              <a:ext cx="794844" cy="346143"/>
              <a:chOff x="6891936" y="1741677"/>
              <a:chExt cx="794844" cy="346143"/>
            </a:xfrm>
          </p:grpSpPr>
          <p:grpSp>
            <p:nvGrpSpPr>
              <p:cNvPr id="432" name="图形 1">
                <a:extLst>
                  <a:ext uri="{FF2B5EF4-FFF2-40B4-BE49-F238E27FC236}">
                    <a16:creationId xmlns:a16="http://schemas.microsoft.com/office/drawing/2014/main" id="{07858376-37E8-482D-A3C7-0D04C69FA559}"/>
                  </a:ext>
                </a:extLst>
              </p:cNvPr>
              <p:cNvGrpSpPr/>
              <p:nvPr/>
            </p:nvGrpSpPr>
            <p:grpSpPr>
              <a:xfrm>
                <a:off x="6916417" y="1741677"/>
                <a:ext cx="770363" cy="325789"/>
                <a:chOff x="6916417" y="1741677"/>
                <a:chExt cx="770363" cy="325789"/>
              </a:xfrm>
            </p:grpSpPr>
            <p:sp>
              <p:nvSpPr>
                <p:cNvPr id="433" name="任意多边形: 形状 432">
                  <a:extLst>
                    <a:ext uri="{FF2B5EF4-FFF2-40B4-BE49-F238E27FC236}">
                      <a16:creationId xmlns:a16="http://schemas.microsoft.com/office/drawing/2014/main" id="{28653675-BE61-415A-9244-EBC718F834E2}"/>
                    </a:ext>
                  </a:extLst>
                </p:cNvPr>
                <p:cNvSpPr/>
                <p:nvPr/>
              </p:nvSpPr>
              <p:spPr>
                <a:xfrm>
                  <a:off x="6916417" y="1741677"/>
                  <a:ext cx="619345" cy="325789"/>
                </a:xfrm>
                <a:custGeom>
                  <a:avLst/>
                  <a:gdLst>
                    <a:gd name="connsiteX0" fmla="*/ 176973 w 619345"/>
                    <a:gd name="connsiteY0" fmla="*/ 19703 h 325789"/>
                    <a:gd name="connsiteX1" fmla="*/ 616295 w 619345"/>
                    <a:gd name="connsiteY1" fmla="*/ 138686 h 325789"/>
                    <a:gd name="connsiteX2" fmla="*/ 619346 w 619345"/>
                    <a:gd name="connsiteY2" fmla="*/ 147838 h 325789"/>
                    <a:gd name="connsiteX3" fmla="*/ 543075 w 619345"/>
                    <a:gd name="connsiteY3" fmla="*/ 208855 h 325789"/>
                    <a:gd name="connsiteX4" fmla="*/ 564431 w 619345"/>
                    <a:gd name="connsiteY4" fmla="*/ 294279 h 325789"/>
                    <a:gd name="connsiteX5" fmla="*/ 561380 w 619345"/>
                    <a:gd name="connsiteY5" fmla="*/ 300381 h 325789"/>
                    <a:gd name="connsiteX6" fmla="*/ 555278 w 619345"/>
                    <a:gd name="connsiteY6" fmla="*/ 303431 h 325789"/>
                    <a:gd name="connsiteX7" fmla="*/ 219685 w 619345"/>
                    <a:gd name="connsiteY7" fmla="*/ 324787 h 325789"/>
                    <a:gd name="connsiteX8" fmla="*/ 6126 w 619345"/>
                    <a:gd name="connsiteY8" fmla="*/ 282075 h 325789"/>
                    <a:gd name="connsiteX9" fmla="*/ 24 w 619345"/>
                    <a:gd name="connsiteY9" fmla="*/ 272923 h 325789"/>
                    <a:gd name="connsiteX10" fmla="*/ 176973 w 619345"/>
                    <a:gd name="connsiteY10" fmla="*/ 19703 h 325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19345" h="325789">
                      <a:moveTo>
                        <a:pt x="176973" y="19703"/>
                      </a:moveTo>
                      <a:cubicBezTo>
                        <a:pt x="341719" y="-29111"/>
                        <a:pt x="500363" y="13601"/>
                        <a:pt x="616295" y="138686"/>
                      </a:cubicBezTo>
                      <a:cubicBezTo>
                        <a:pt x="619346" y="141736"/>
                        <a:pt x="619346" y="144787"/>
                        <a:pt x="619346" y="147838"/>
                      </a:cubicBezTo>
                      <a:cubicBezTo>
                        <a:pt x="619346" y="150889"/>
                        <a:pt x="597990" y="196652"/>
                        <a:pt x="543075" y="208855"/>
                      </a:cubicBezTo>
                      <a:cubicBezTo>
                        <a:pt x="558329" y="248516"/>
                        <a:pt x="564431" y="291228"/>
                        <a:pt x="564431" y="294279"/>
                      </a:cubicBezTo>
                      <a:cubicBezTo>
                        <a:pt x="564431" y="297330"/>
                        <a:pt x="564431" y="300381"/>
                        <a:pt x="561380" y="300381"/>
                      </a:cubicBezTo>
                      <a:cubicBezTo>
                        <a:pt x="561380" y="303431"/>
                        <a:pt x="558329" y="303431"/>
                        <a:pt x="555278" y="303431"/>
                      </a:cubicBezTo>
                      <a:cubicBezTo>
                        <a:pt x="414939" y="324787"/>
                        <a:pt x="305109" y="327838"/>
                        <a:pt x="219685" y="324787"/>
                      </a:cubicBezTo>
                      <a:cubicBezTo>
                        <a:pt x="79346" y="315635"/>
                        <a:pt x="9176" y="285126"/>
                        <a:pt x="6126" y="282075"/>
                      </a:cubicBezTo>
                      <a:cubicBezTo>
                        <a:pt x="3075" y="282075"/>
                        <a:pt x="24" y="279025"/>
                        <a:pt x="24" y="272923"/>
                      </a:cubicBezTo>
                      <a:cubicBezTo>
                        <a:pt x="24" y="272923"/>
                        <a:pt x="-6078" y="74618"/>
                        <a:pt x="176973" y="1970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34" name="任意多边形: 形状 433">
                  <a:extLst>
                    <a:ext uri="{FF2B5EF4-FFF2-40B4-BE49-F238E27FC236}">
                      <a16:creationId xmlns:a16="http://schemas.microsoft.com/office/drawing/2014/main" id="{E3505362-AFA8-40EF-923A-F1FD94FF2E46}"/>
                    </a:ext>
                  </a:extLst>
                </p:cNvPr>
                <p:cNvSpPr/>
                <p:nvPr/>
              </p:nvSpPr>
              <p:spPr>
                <a:xfrm>
                  <a:off x="7473602" y="1779685"/>
                  <a:ext cx="213177" cy="205603"/>
                </a:xfrm>
                <a:custGeom>
                  <a:avLst/>
                  <a:gdLst>
                    <a:gd name="connsiteX0" fmla="*/ 1144 w 213177"/>
                    <a:gd name="connsiteY0" fmla="*/ 97627 h 205603"/>
                    <a:gd name="connsiteX1" fmla="*/ 10297 w 213177"/>
                    <a:gd name="connsiteY1" fmla="*/ 67119 h 205603"/>
                    <a:gd name="connsiteX2" fmla="*/ 22500 w 213177"/>
                    <a:gd name="connsiteY2" fmla="*/ 57966 h 205603"/>
                    <a:gd name="connsiteX3" fmla="*/ 34703 w 213177"/>
                    <a:gd name="connsiteY3" fmla="*/ 30508 h 205603"/>
                    <a:gd name="connsiteX4" fmla="*/ 56059 w 213177"/>
                    <a:gd name="connsiteY4" fmla="*/ 21356 h 205603"/>
                    <a:gd name="connsiteX5" fmla="*/ 71314 w 213177"/>
                    <a:gd name="connsiteY5" fmla="*/ 21356 h 205603"/>
                    <a:gd name="connsiteX6" fmla="*/ 117076 w 213177"/>
                    <a:gd name="connsiteY6" fmla="*/ 0 h 205603"/>
                    <a:gd name="connsiteX7" fmla="*/ 156737 w 213177"/>
                    <a:gd name="connsiteY7" fmla="*/ 30508 h 205603"/>
                    <a:gd name="connsiteX8" fmla="*/ 199449 w 213177"/>
                    <a:gd name="connsiteY8" fmla="*/ 73220 h 205603"/>
                    <a:gd name="connsiteX9" fmla="*/ 199449 w 213177"/>
                    <a:gd name="connsiteY9" fmla="*/ 128136 h 205603"/>
                    <a:gd name="connsiteX10" fmla="*/ 190296 w 213177"/>
                    <a:gd name="connsiteY10" fmla="*/ 170847 h 205603"/>
                    <a:gd name="connsiteX11" fmla="*/ 162839 w 213177"/>
                    <a:gd name="connsiteY11" fmla="*/ 183051 h 205603"/>
                    <a:gd name="connsiteX12" fmla="*/ 156737 w 213177"/>
                    <a:gd name="connsiteY12" fmla="*/ 183051 h 205603"/>
                    <a:gd name="connsiteX13" fmla="*/ 156737 w 213177"/>
                    <a:gd name="connsiteY13" fmla="*/ 183051 h 205603"/>
                    <a:gd name="connsiteX14" fmla="*/ 129279 w 213177"/>
                    <a:gd name="connsiteY14" fmla="*/ 204407 h 205603"/>
                    <a:gd name="connsiteX15" fmla="*/ 95720 w 213177"/>
                    <a:gd name="connsiteY15" fmla="*/ 198305 h 205603"/>
                    <a:gd name="connsiteX16" fmla="*/ 71314 w 213177"/>
                    <a:gd name="connsiteY16" fmla="*/ 198305 h 205603"/>
                    <a:gd name="connsiteX17" fmla="*/ 43856 w 213177"/>
                    <a:gd name="connsiteY17" fmla="*/ 176949 h 205603"/>
                    <a:gd name="connsiteX18" fmla="*/ 37754 w 213177"/>
                    <a:gd name="connsiteY18" fmla="*/ 161695 h 205603"/>
                    <a:gd name="connsiteX19" fmla="*/ 19449 w 213177"/>
                    <a:gd name="connsiteY19" fmla="*/ 146441 h 205603"/>
                    <a:gd name="connsiteX20" fmla="*/ 19449 w 213177"/>
                    <a:gd name="connsiteY20" fmla="*/ 118983 h 205603"/>
                    <a:gd name="connsiteX21" fmla="*/ 16398 w 213177"/>
                    <a:gd name="connsiteY21" fmla="*/ 115932 h 205603"/>
                    <a:gd name="connsiteX22" fmla="*/ 1144 w 213177"/>
                    <a:gd name="connsiteY22" fmla="*/ 97627 h 205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13177" h="205603">
                      <a:moveTo>
                        <a:pt x="1144" y="97627"/>
                      </a:moveTo>
                      <a:cubicBezTo>
                        <a:pt x="-1907" y="88475"/>
                        <a:pt x="1144" y="73220"/>
                        <a:pt x="10297" y="67119"/>
                      </a:cubicBezTo>
                      <a:cubicBezTo>
                        <a:pt x="13348" y="64068"/>
                        <a:pt x="19449" y="61017"/>
                        <a:pt x="22500" y="57966"/>
                      </a:cubicBezTo>
                      <a:cubicBezTo>
                        <a:pt x="22500" y="48814"/>
                        <a:pt x="25551" y="39661"/>
                        <a:pt x="34703" y="30508"/>
                      </a:cubicBezTo>
                      <a:cubicBezTo>
                        <a:pt x="40805" y="24407"/>
                        <a:pt x="46907" y="21356"/>
                        <a:pt x="56059" y="21356"/>
                      </a:cubicBezTo>
                      <a:cubicBezTo>
                        <a:pt x="59110" y="21356"/>
                        <a:pt x="65212" y="21356"/>
                        <a:pt x="71314" y="21356"/>
                      </a:cubicBezTo>
                      <a:cubicBezTo>
                        <a:pt x="80466" y="9153"/>
                        <a:pt x="95720" y="0"/>
                        <a:pt x="117076" y="0"/>
                      </a:cubicBezTo>
                      <a:cubicBezTo>
                        <a:pt x="135382" y="3051"/>
                        <a:pt x="150636" y="15254"/>
                        <a:pt x="156737" y="30508"/>
                      </a:cubicBezTo>
                      <a:cubicBezTo>
                        <a:pt x="184195" y="30508"/>
                        <a:pt x="199449" y="51864"/>
                        <a:pt x="199449" y="73220"/>
                      </a:cubicBezTo>
                      <a:cubicBezTo>
                        <a:pt x="217754" y="88475"/>
                        <a:pt x="217754" y="115932"/>
                        <a:pt x="199449" y="128136"/>
                      </a:cubicBezTo>
                      <a:cubicBezTo>
                        <a:pt x="202500" y="143390"/>
                        <a:pt x="199449" y="158644"/>
                        <a:pt x="190296" y="170847"/>
                      </a:cubicBezTo>
                      <a:cubicBezTo>
                        <a:pt x="184195" y="180000"/>
                        <a:pt x="175042" y="183051"/>
                        <a:pt x="162839" y="183051"/>
                      </a:cubicBezTo>
                      <a:cubicBezTo>
                        <a:pt x="159788" y="183051"/>
                        <a:pt x="159788" y="183051"/>
                        <a:pt x="156737" y="183051"/>
                      </a:cubicBezTo>
                      <a:cubicBezTo>
                        <a:pt x="156737" y="183051"/>
                        <a:pt x="156737" y="183051"/>
                        <a:pt x="156737" y="183051"/>
                      </a:cubicBezTo>
                      <a:cubicBezTo>
                        <a:pt x="150636" y="195254"/>
                        <a:pt x="141483" y="204407"/>
                        <a:pt x="129279" y="204407"/>
                      </a:cubicBezTo>
                      <a:cubicBezTo>
                        <a:pt x="117076" y="207458"/>
                        <a:pt x="104873" y="204407"/>
                        <a:pt x="95720" y="198305"/>
                      </a:cubicBezTo>
                      <a:cubicBezTo>
                        <a:pt x="86568" y="201356"/>
                        <a:pt x="80466" y="201356"/>
                        <a:pt x="71314" y="198305"/>
                      </a:cubicBezTo>
                      <a:cubicBezTo>
                        <a:pt x="59110" y="195254"/>
                        <a:pt x="49958" y="189153"/>
                        <a:pt x="43856" y="176949"/>
                      </a:cubicBezTo>
                      <a:cubicBezTo>
                        <a:pt x="40805" y="173898"/>
                        <a:pt x="37754" y="167797"/>
                        <a:pt x="37754" y="161695"/>
                      </a:cubicBezTo>
                      <a:cubicBezTo>
                        <a:pt x="31652" y="158644"/>
                        <a:pt x="22500" y="155593"/>
                        <a:pt x="19449" y="146441"/>
                      </a:cubicBezTo>
                      <a:cubicBezTo>
                        <a:pt x="13348" y="134237"/>
                        <a:pt x="16398" y="128136"/>
                        <a:pt x="19449" y="118983"/>
                      </a:cubicBezTo>
                      <a:cubicBezTo>
                        <a:pt x="19449" y="118983"/>
                        <a:pt x="16398" y="118983"/>
                        <a:pt x="16398" y="115932"/>
                      </a:cubicBezTo>
                      <a:cubicBezTo>
                        <a:pt x="7246" y="109831"/>
                        <a:pt x="4195" y="103729"/>
                        <a:pt x="1144" y="9762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35" name="任意多边形: 形状 434">
                <a:extLst>
                  <a:ext uri="{FF2B5EF4-FFF2-40B4-BE49-F238E27FC236}">
                    <a16:creationId xmlns:a16="http://schemas.microsoft.com/office/drawing/2014/main" id="{7702721C-3ACF-4999-AEA9-E0806D5C62DC}"/>
                  </a:ext>
                </a:extLst>
              </p:cNvPr>
              <p:cNvSpPr/>
              <p:nvPr/>
            </p:nvSpPr>
            <p:spPr>
              <a:xfrm>
                <a:off x="7430678" y="1897312"/>
                <a:ext cx="53220" cy="123389"/>
              </a:xfrm>
              <a:custGeom>
                <a:avLst/>
                <a:gdLst>
                  <a:gd name="connsiteX0" fmla="*/ 47119 w 53220"/>
                  <a:gd name="connsiteY0" fmla="*/ 123390 h 123389"/>
                  <a:gd name="connsiteX1" fmla="*/ 41017 w 53220"/>
                  <a:gd name="connsiteY1" fmla="*/ 117288 h 123389"/>
                  <a:gd name="connsiteX2" fmla="*/ 1356 w 53220"/>
                  <a:gd name="connsiteY2" fmla="*/ 10508 h 123389"/>
                  <a:gd name="connsiteX3" fmla="*/ 1356 w 53220"/>
                  <a:gd name="connsiteY3" fmla="*/ 1356 h 123389"/>
                  <a:gd name="connsiteX4" fmla="*/ 10509 w 53220"/>
                  <a:gd name="connsiteY4" fmla="*/ 1356 h 123389"/>
                  <a:gd name="connsiteX5" fmla="*/ 53220 w 53220"/>
                  <a:gd name="connsiteY5" fmla="*/ 111186 h 123389"/>
                  <a:gd name="connsiteX6" fmla="*/ 47119 w 53220"/>
                  <a:gd name="connsiteY6" fmla="*/ 123390 h 123389"/>
                  <a:gd name="connsiteX7" fmla="*/ 47119 w 53220"/>
                  <a:gd name="connsiteY7" fmla="*/ 123390 h 123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3220" h="123389">
                    <a:moveTo>
                      <a:pt x="47119" y="123390"/>
                    </a:moveTo>
                    <a:cubicBezTo>
                      <a:pt x="44068" y="123390"/>
                      <a:pt x="41017" y="120339"/>
                      <a:pt x="41017" y="117288"/>
                    </a:cubicBezTo>
                    <a:cubicBezTo>
                      <a:pt x="41017" y="117288"/>
                      <a:pt x="28813" y="50169"/>
                      <a:pt x="1356" y="10508"/>
                    </a:cubicBezTo>
                    <a:cubicBezTo>
                      <a:pt x="-1695" y="7458"/>
                      <a:pt x="1356" y="4407"/>
                      <a:pt x="1356" y="1356"/>
                    </a:cubicBezTo>
                    <a:cubicBezTo>
                      <a:pt x="4407" y="-1695"/>
                      <a:pt x="7458" y="1356"/>
                      <a:pt x="10509" y="1356"/>
                    </a:cubicBezTo>
                    <a:cubicBezTo>
                      <a:pt x="41017" y="44068"/>
                      <a:pt x="53220" y="108136"/>
                      <a:pt x="53220" y="111186"/>
                    </a:cubicBezTo>
                    <a:cubicBezTo>
                      <a:pt x="53220" y="120339"/>
                      <a:pt x="50169" y="123390"/>
                      <a:pt x="47119" y="123390"/>
                    </a:cubicBezTo>
                    <a:cubicBezTo>
                      <a:pt x="47119" y="123390"/>
                      <a:pt x="47119" y="123390"/>
                      <a:pt x="47119" y="12339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6" name="任意多边形: 形状 435">
                <a:extLst>
                  <a:ext uri="{FF2B5EF4-FFF2-40B4-BE49-F238E27FC236}">
                    <a16:creationId xmlns:a16="http://schemas.microsoft.com/office/drawing/2014/main" id="{A639C665-F0F1-4B10-8543-A47638A5A75E}"/>
                  </a:ext>
                </a:extLst>
              </p:cNvPr>
              <p:cNvSpPr/>
              <p:nvPr/>
            </p:nvSpPr>
            <p:spPr>
              <a:xfrm>
                <a:off x="6891936" y="1979501"/>
                <a:ext cx="615607" cy="102412"/>
              </a:xfrm>
              <a:custGeom>
                <a:avLst/>
                <a:gdLst>
                  <a:gd name="connsiteX0" fmla="*/ 39759 w 615607"/>
                  <a:gd name="connsiteY0" fmla="*/ 1540 h 102412"/>
                  <a:gd name="connsiteX1" fmla="*/ 585861 w 615607"/>
                  <a:gd name="connsiteY1" fmla="*/ 22896 h 102412"/>
                  <a:gd name="connsiteX2" fmla="*/ 585861 w 615607"/>
                  <a:gd name="connsiteY2" fmla="*/ 86963 h 102412"/>
                  <a:gd name="connsiteX3" fmla="*/ 24505 w 615607"/>
                  <a:gd name="connsiteY3" fmla="*/ 62557 h 102412"/>
                  <a:gd name="connsiteX4" fmla="*/ 39759 w 615607"/>
                  <a:gd name="connsiteY4" fmla="*/ 1540 h 102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5607" h="102412">
                    <a:moveTo>
                      <a:pt x="39759" y="1540"/>
                    </a:moveTo>
                    <a:cubicBezTo>
                      <a:pt x="219760" y="53404"/>
                      <a:pt x="402811" y="41201"/>
                      <a:pt x="585861" y="22896"/>
                    </a:cubicBezTo>
                    <a:cubicBezTo>
                      <a:pt x="625523" y="19845"/>
                      <a:pt x="625523" y="83913"/>
                      <a:pt x="585861" y="86963"/>
                    </a:cubicBezTo>
                    <a:cubicBezTo>
                      <a:pt x="396709" y="105268"/>
                      <a:pt x="207556" y="117472"/>
                      <a:pt x="24505" y="62557"/>
                    </a:cubicBezTo>
                    <a:cubicBezTo>
                      <a:pt x="-18206" y="53404"/>
                      <a:pt x="99" y="-10664"/>
                      <a:pt x="39759" y="1540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7" name="任意多边形: 形状 436">
                <a:extLst>
                  <a:ext uri="{FF2B5EF4-FFF2-40B4-BE49-F238E27FC236}">
                    <a16:creationId xmlns:a16="http://schemas.microsoft.com/office/drawing/2014/main" id="{1BF4C02E-9742-4ED8-A1AA-1BDBBC26D5C0}"/>
                  </a:ext>
                </a:extLst>
              </p:cNvPr>
              <p:cNvSpPr/>
              <p:nvPr/>
            </p:nvSpPr>
            <p:spPr>
              <a:xfrm>
                <a:off x="6909076" y="2002397"/>
                <a:ext cx="599504" cy="85423"/>
              </a:xfrm>
              <a:custGeom>
                <a:avLst/>
                <a:gdLst>
                  <a:gd name="connsiteX0" fmla="*/ 309399 w 599504"/>
                  <a:gd name="connsiteY0" fmla="*/ 85424 h 85423"/>
                  <a:gd name="connsiteX1" fmla="*/ 4315 w 599504"/>
                  <a:gd name="connsiteY1" fmla="*/ 45763 h 85423"/>
                  <a:gd name="connsiteX2" fmla="*/ 1264 w 599504"/>
                  <a:gd name="connsiteY2" fmla="*/ 39661 h 85423"/>
                  <a:gd name="connsiteX3" fmla="*/ 7365 w 599504"/>
                  <a:gd name="connsiteY3" fmla="*/ 36610 h 85423"/>
                  <a:gd name="connsiteX4" fmla="*/ 568721 w 599504"/>
                  <a:gd name="connsiteY4" fmla="*/ 61017 h 85423"/>
                  <a:gd name="connsiteX5" fmla="*/ 590077 w 599504"/>
                  <a:gd name="connsiteY5" fmla="*/ 45763 h 85423"/>
                  <a:gd name="connsiteX6" fmla="*/ 587026 w 599504"/>
                  <a:gd name="connsiteY6" fmla="*/ 18305 h 85423"/>
                  <a:gd name="connsiteX7" fmla="*/ 565670 w 599504"/>
                  <a:gd name="connsiteY7" fmla="*/ 9153 h 85423"/>
                  <a:gd name="connsiteX8" fmla="*/ 376518 w 599504"/>
                  <a:gd name="connsiteY8" fmla="*/ 24407 h 85423"/>
                  <a:gd name="connsiteX9" fmla="*/ 370416 w 599504"/>
                  <a:gd name="connsiteY9" fmla="*/ 18305 h 85423"/>
                  <a:gd name="connsiteX10" fmla="*/ 376518 w 599504"/>
                  <a:gd name="connsiteY10" fmla="*/ 12203 h 85423"/>
                  <a:gd name="connsiteX11" fmla="*/ 562620 w 599504"/>
                  <a:gd name="connsiteY11" fmla="*/ 0 h 85423"/>
                  <a:gd name="connsiteX12" fmla="*/ 593128 w 599504"/>
                  <a:gd name="connsiteY12" fmla="*/ 12203 h 85423"/>
                  <a:gd name="connsiteX13" fmla="*/ 596179 w 599504"/>
                  <a:gd name="connsiteY13" fmla="*/ 51864 h 85423"/>
                  <a:gd name="connsiteX14" fmla="*/ 565670 w 599504"/>
                  <a:gd name="connsiteY14" fmla="*/ 73220 h 85423"/>
                  <a:gd name="connsiteX15" fmla="*/ 309399 w 599504"/>
                  <a:gd name="connsiteY15" fmla="*/ 85424 h 85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99504" h="85423">
                    <a:moveTo>
                      <a:pt x="309399" y="85424"/>
                    </a:moveTo>
                    <a:cubicBezTo>
                      <a:pt x="205670" y="85424"/>
                      <a:pt x="104993" y="76271"/>
                      <a:pt x="4315" y="45763"/>
                    </a:cubicBezTo>
                    <a:cubicBezTo>
                      <a:pt x="1264" y="45763"/>
                      <a:pt x="-1787" y="42712"/>
                      <a:pt x="1264" y="39661"/>
                    </a:cubicBezTo>
                    <a:cubicBezTo>
                      <a:pt x="1264" y="36610"/>
                      <a:pt x="4315" y="33559"/>
                      <a:pt x="7365" y="36610"/>
                    </a:cubicBezTo>
                    <a:cubicBezTo>
                      <a:pt x="190416" y="91525"/>
                      <a:pt x="376518" y="79322"/>
                      <a:pt x="568721" y="61017"/>
                    </a:cubicBezTo>
                    <a:cubicBezTo>
                      <a:pt x="583976" y="61017"/>
                      <a:pt x="590077" y="51864"/>
                      <a:pt x="590077" y="45763"/>
                    </a:cubicBezTo>
                    <a:cubicBezTo>
                      <a:pt x="593128" y="36610"/>
                      <a:pt x="593128" y="24407"/>
                      <a:pt x="587026" y="18305"/>
                    </a:cubicBezTo>
                    <a:cubicBezTo>
                      <a:pt x="583976" y="12203"/>
                      <a:pt x="574823" y="9153"/>
                      <a:pt x="565670" y="9153"/>
                    </a:cubicBezTo>
                    <a:cubicBezTo>
                      <a:pt x="565670" y="9153"/>
                      <a:pt x="422281" y="21356"/>
                      <a:pt x="376518" y="24407"/>
                    </a:cubicBezTo>
                    <a:cubicBezTo>
                      <a:pt x="373467" y="24407"/>
                      <a:pt x="370416" y="21356"/>
                      <a:pt x="370416" y="18305"/>
                    </a:cubicBezTo>
                    <a:cubicBezTo>
                      <a:pt x="370416" y="15254"/>
                      <a:pt x="373467" y="12203"/>
                      <a:pt x="376518" y="12203"/>
                    </a:cubicBezTo>
                    <a:cubicBezTo>
                      <a:pt x="419230" y="12203"/>
                      <a:pt x="562620" y="0"/>
                      <a:pt x="562620" y="0"/>
                    </a:cubicBezTo>
                    <a:cubicBezTo>
                      <a:pt x="574823" y="0"/>
                      <a:pt x="587026" y="3051"/>
                      <a:pt x="593128" y="12203"/>
                    </a:cubicBezTo>
                    <a:cubicBezTo>
                      <a:pt x="599230" y="24407"/>
                      <a:pt x="602280" y="39661"/>
                      <a:pt x="596179" y="51864"/>
                    </a:cubicBezTo>
                    <a:cubicBezTo>
                      <a:pt x="590077" y="64068"/>
                      <a:pt x="577874" y="73220"/>
                      <a:pt x="565670" y="73220"/>
                    </a:cubicBezTo>
                    <a:cubicBezTo>
                      <a:pt x="480247" y="79322"/>
                      <a:pt x="394823" y="85424"/>
                      <a:pt x="309399" y="8542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38" name="任意多边形: 形状 437">
              <a:extLst>
                <a:ext uri="{FF2B5EF4-FFF2-40B4-BE49-F238E27FC236}">
                  <a16:creationId xmlns:a16="http://schemas.microsoft.com/office/drawing/2014/main" id="{B7D57F73-9E8D-49A8-9F2F-219964517A80}"/>
                </a:ext>
              </a:extLst>
            </p:cNvPr>
            <p:cNvSpPr/>
            <p:nvPr/>
          </p:nvSpPr>
          <p:spPr>
            <a:xfrm>
              <a:off x="6906121" y="2139685"/>
              <a:ext cx="520509" cy="589182"/>
            </a:xfrm>
            <a:custGeom>
              <a:avLst/>
              <a:gdLst>
                <a:gd name="connsiteX0" fmla="*/ 504558 w 520509"/>
                <a:gd name="connsiteY0" fmla="*/ 143390 h 589182"/>
                <a:gd name="connsiteX1" fmla="*/ 516761 w 520509"/>
                <a:gd name="connsiteY1" fmla="*/ 12203 h 589182"/>
                <a:gd name="connsiteX2" fmla="*/ 455744 w 520509"/>
                <a:gd name="connsiteY2" fmla="*/ 0 h 589182"/>
                <a:gd name="connsiteX3" fmla="*/ 419134 w 520509"/>
                <a:gd name="connsiteY3" fmla="*/ 222712 h 589182"/>
                <a:gd name="connsiteX4" fmla="*/ 287947 w 520509"/>
                <a:gd name="connsiteY4" fmla="*/ 216610 h 589182"/>
                <a:gd name="connsiteX5" fmla="*/ 248286 w 520509"/>
                <a:gd name="connsiteY5" fmla="*/ 207458 h 589182"/>
                <a:gd name="connsiteX6" fmla="*/ 156761 w 520509"/>
                <a:gd name="connsiteY6" fmla="*/ 244068 h 589182"/>
                <a:gd name="connsiteX7" fmla="*/ 80489 w 520509"/>
                <a:gd name="connsiteY7" fmla="*/ 125085 h 589182"/>
                <a:gd name="connsiteX8" fmla="*/ 46930 w 520509"/>
                <a:gd name="connsiteY8" fmla="*/ 103729 h 589182"/>
                <a:gd name="connsiteX9" fmla="*/ 68286 w 520509"/>
                <a:gd name="connsiteY9" fmla="*/ 201356 h 589182"/>
                <a:gd name="connsiteX10" fmla="*/ 62185 w 520509"/>
                <a:gd name="connsiteY10" fmla="*/ 503390 h 589182"/>
                <a:gd name="connsiteX11" fmla="*/ 65235 w 520509"/>
                <a:gd name="connsiteY11" fmla="*/ 576610 h 589182"/>
                <a:gd name="connsiteX12" fmla="*/ 519812 w 520509"/>
                <a:gd name="connsiteY12" fmla="*/ 274576 h 589182"/>
                <a:gd name="connsiteX13" fmla="*/ 504558 w 520509"/>
                <a:gd name="connsiteY13" fmla="*/ 143390 h 58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0509" h="589182">
                  <a:moveTo>
                    <a:pt x="504558" y="143390"/>
                  </a:moveTo>
                  <a:cubicBezTo>
                    <a:pt x="504558" y="143390"/>
                    <a:pt x="516761" y="12203"/>
                    <a:pt x="516761" y="12203"/>
                  </a:cubicBezTo>
                  <a:cubicBezTo>
                    <a:pt x="498455" y="9153"/>
                    <a:pt x="470998" y="6102"/>
                    <a:pt x="455744" y="0"/>
                  </a:cubicBezTo>
                  <a:cubicBezTo>
                    <a:pt x="455744" y="33559"/>
                    <a:pt x="443541" y="204407"/>
                    <a:pt x="419134" y="222712"/>
                  </a:cubicBezTo>
                  <a:cubicBezTo>
                    <a:pt x="385574" y="244068"/>
                    <a:pt x="306252" y="256271"/>
                    <a:pt x="287947" y="216610"/>
                  </a:cubicBezTo>
                  <a:cubicBezTo>
                    <a:pt x="287947" y="216610"/>
                    <a:pt x="263540" y="231864"/>
                    <a:pt x="248286" y="207458"/>
                  </a:cubicBezTo>
                  <a:cubicBezTo>
                    <a:pt x="248286" y="207458"/>
                    <a:pt x="217778" y="247119"/>
                    <a:pt x="156761" y="244068"/>
                  </a:cubicBezTo>
                  <a:cubicBezTo>
                    <a:pt x="126252" y="241017"/>
                    <a:pt x="86591" y="155593"/>
                    <a:pt x="80489" y="125085"/>
                  </a:cubicBezTo>
                  <a:cubicBezTo>
                    <a:pt x="68286" y="131186"/>
                    <a:pt x="59134" y="103729"/>
                    <a:pt x="46930" y="103729"/>
                  </a:cubicBezTo>
                  <a:cubicBezTo>
                    <a:pt x="46930" y="106780"/>
                    <a:pt x="68286" y="198305"/>
                    <a:pt x="68286" y="201356"/>
                  </a:cubicBezTo>
                  <a:cubicBezTo>
                    <a:pt x="68286" y="201356"/>
                    <a:pt x="-81206" y="414915"/>
                    <a:pt x="62185" y="503390"/>
                  </a:cubicBezTo>
                  <a:cubicBezTo>
                    <a:pt x="101845" y="527797"/>
                    <a:pt x="65235" y="576610"/>
                    <a:pt x="65235" y="576610"/>
                  </a:cubicBezTo>
                  <a:cubicBezTo>
                    <a:pt x="65235" y="576610"/>
                    <a:pt x="541168" y="683390"/>
                    <a:pt x="519812" y="274576"/>
                  </a:cubicBezTo>
                  <a:cubicBezTo>
                    <a:pt x="516761" y="204407"/>
                    <a:pt x="504558" y="143390"/>
                    <a:pt x="504558" y="143390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9" name="任意多边形: 形状 438">
              <a:extLst>
                <a:ext uri="{FF2B5EF4-FFF2-40B4-BE49-F238E27FC236}">
                  <a16:creationId xmlns:a16="http://schemas.microsoft.com/office/drawing/2014/main" id="{0BDE35C2-A549-4859-A361-C8E3E287CCC1}"/>
                </a:ext>
              </a:extLst>
            </p:cNvPr>
            <p:cNvSpPr/>
            <p:nvPr/>
          </p:nvSpPr>
          <p:spPr>
            <a:xfrm>
              <a:off x="7026272" y="2326338"/>
              <a:ext cx="253220" cy="69046"/>
            </a:xfrm>
            <a:custGeom>
              <a:avLst/>
              <a:gdLst>
                <a:gd name="connsiteX0" fmla="*/ 61017 w 253220"/>
                <a:gd name="connsiteY0" fmla="*/ 5550 h 69046"/>
                <a:gd name="connsiteX1" fmla="*/ 0 w 253220"/>
                <a:gd name="connsiteY1" fmla="*/ 33008 h 69046"/>
                <a:gd name="connsiteX2" fmla="*/ 118983 w 253220"/>
                <a:gd name="connsiteY2" fmla="*/ 54364 h 69046"/>
                <a:gd name="connsiteX3" fmla="*/ 253220 w 253220"/>
                <a:gd name="connsiteY3" fmla="*/ 29957 h 69046"/>
                <a:gd name="connsiteX4" fmla="*/ 204407 w 253220"/>
                <a:gd name="connsiteY4" fmla="*/ 23856 h 69046"/>
                <a:gd name="connsiteX5" fmla="*/ 125085 w 253220"/>
                <a:gd name="connsiteY5" fmla="*/ 8601 h 69046"/>
                <a:gd name="connsiteX6" fmla="*/ 61017 w 253220"/>
                <a:gd name="connsiteY6" fmla="*/ 5550 h 69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220" h="69046">
                  <a:moveTo>
                    <a:pt x="61017" y="5550"/>
                  </a:moveTo>
                  <a:cubicBezTo>
                    <a:pt x="36610" y="17754"/>
                    <a:pt x="30508" y="39110"/>
                    <a:pt x="0" y="33008"/>
                  </a:cubicBezTo>
                  <a:cubicBezTo>
                    <a:pt x="0" y="33008"/>
                    <a:pt x="48814" y="97076"/>
                    <a:pt x="118983" y="54364"/>
                  </a:cubicBezTo>
                  <a:cubicBezTo>
                    <a:pt x="118983" y="54364"/>
                    <a:pt x="207458" y="97076"/>
                    <a:pt x="253220" y="29957"/>
                  </a:cubicBezTo>
                  <a:cubicBezTo>
                    <a:pt x="253220" y="29957"/>
                    <a:pt x="219661" y="33008"/>
                    <a:pt x="204407" y="23856"/>
                  </a:cubicBezTo>
                  <a:cubicBezTo>
                    <a:pt x="189152" y="14703"/>
                    <a:pt x="167797" y="-12755"/>
                    <a:pt x="125085" y="8601"/>
                  </a:cubicBezTo>
                  <a:cubicBezTo>
                    <a:pt x="128136" y="11652"/>
                    <a:pt x="97627" y="-9704"/>
                    <a:pt x="61017" y="5550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0" name="任意多边形: 形状 439">
              <a:extLst>
                <a:ext uri="{FF2B5EF4-FFF2-40B4-BE49-F238E27FC236}">
                  <a16:creationId xmlns:a16="http://schemas.microsoft.com/office/drawing/2014/main" id="{5AA7B7DD-8990-401B-B6AB-601AE361E127}"/>
                </a:ext>
              </a:extLst>
            </p:cNvPr>
            <p:cNvSpPr/>
            <p:nvPr/>
          </p:nvSpPr>
          <p:spPr>
            <a:xfrm>
              <a:off x="7096441" y="2417312"/>
              <a:ext cx="85423" cy="45908"/>
            </a:xfrm>
            <a:custGeom>
              <a:avLst/>
              <a:gdLst>
                <a:gd name="connsiteX0" fmla="*/ 0 w 85423"/>
                <a:gd name="connsiteY0" fmla="*/ 0 h 45908"/>
                <a:gd name="connsiteX1" fmla="*/ 85424 w 85423"/>
                <a:gd name="connsiteY1" fmla="*/ 3051 h 45908"/>
                <a:gd name="connsiteX2" fmla="*/ 39661 w 85423"/>
                <a:gd name="connsiteY2" fmla="*/ 45763 h 45908"/>
                <a:gd name="connsiteX3" fmla="*/ 0 w 85423"/>
                <a:gd name="connsiteY3" fmla="*/ 0 h 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423" h="45908">
                  <a:moveTo>
                    <a:pt x="0" y="0"/>
                  </a:moveTo>
                  <a:cubicBezTo>
                    <a:pt x="36610" y="15254"/>
                    <a:pt x="85424" y="3051"/>
                    <a:pt x="85424" y="3051"/>
                  </a:cubicBezTo>
                  <a:cubicBezTo>
                    <a:pt x="85424" y="3051"/>
                    <a:pt x="70170" y="48814"/>
                    <a:pt x="39661" y="45763"/>
                  </a:cubicBezTo>
                  <a:cubicBezTo>
                    <a:pt x="9153" y="3966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41" name="图形 1">
              <a:extLst>
                <a:ext uri="{FF2B5EF4-FFF2-40B4-BE49-F238E27FC236}">
                  <a16:creationId xmlns:a16="http://schemas.microsoft.com/office/drawing/2014/main" id="{07858376-37E8-482D-A3C7-0D04C69FA559}"/>
                </a:ext>
              </a:extLst>
            </p:cNvPr>
            <p:cNvGrpSpPr/>
            <p:nvPr/>
          </p:nvGrpSpPr>
          <p:grpSpPr>
            <a:xfrm>
              <a:off x="7126950" y="2212905"/>
              <a:ext cx="57965" cy="137288"/>
              <a:chOff x="7126950" y="2212905"/>
              <a:chExt cx="57965" cy="137288"/>
            </a:xfrm>
          </p:grpSpPr>
          <p:sp>
            <p:nvSpPr>
              <p:cNvPr id="442" name="任意多边形: 形状 441">
                <a:extLst>
                  <a:ext uri="{FF2B5EF4-FFF2-40B4-BE49-F238E27FC236}">
                    <a16:creationId xmlns:a16="http://schemas.microsoft.com/office/drawing/2014/main" id="{C213BC36-E23C-40AA-94D3-0E61A6602C76}"/>
                  </a:ext>
                </a:extLst>
              </p:cNvPr>
              <p:cNvSpPr/>
              <p:nvPr/>
            </p:nvSpPr>
            <p:spPr>
              <a:xfrm>
                <a:off x="7133051" y="2219007"/>
                <a:ext cx="48813" cy="125505"/>
              </a:xfrm>
              <a:custGeom>
                <a:avLst/>
                <a:gdLst>
                  <a:gd name="connsiteX0" fmla="*/ 15254 w 48813"/>
                  <a:gd name="connsiteY0" fmla="*/ 0 h 125505"/>
                  <a:gd name="connsiteX1" fmla="*/ 0 w 48813"/>
                  <a:gd name="connsiteY1" fmla="*/ 112881 h 125505"/>
                  <a:gd name="connsiteX2" fmla="*/ 48814 w 48813"/>
                  <a:gd name="connsiteY2" fmla="*/ 122034 h 125505"/>
                  <a:gd name="connsiteX3" fmla="*/ 15254 w 48813"/>
                  <a:gd name="connsiteY3" fmla="*/ 0 h 12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" h="125505">
                    <a:moveTo>
                      <a:pt x="15254" y="0"/>
                    </a:moveTo>
                    <a:cubicBezTo>
                      <a:pt x="15254" y="0"/>
                      <a:pt x="0" y="91525"/>
                      <a:pt x="0" y="112881"/>
                    </a:cubicBezTo>
                    <a:cubicBezTo>
                      <a:pt x="0" y="134237"/>
                      <a:pt x="48814" y="122034"/>
                      <a:pt x="48814" y="122034"/>
                    </a:cubicBezTo>
                    <a:lnTo>
                      <a:pt x="15254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3" name="任意多边形: 形状 442">
                <a:extLst>
                  <a:ext uri="{FF2B5EF4-FFF2-40B4-BE49-F238E27FC236}">
                    <a16:creationId xmlns:a16="http://schemas.microsoft.com/office/drawing/2014/main" id="{02578DE6-66D7-4082-9DE4-3D0FBC8A5AC8}"/>
                  </a:ext>
                </a:extLst>
              </p:cNvPr>
              <p:cNvSpPr/>
              <p:nvPr/>
            </p:nvSpPr>
            <p:spPr>
              <a:xfrm>
                <a:off x="7126950" y="2212905"/>
                <a:ext cx="57965" cy="137288"/>
              </a:xfrm>
              <a:custGeom>
                <a:avLst/>
                <a:gdLst>
                  <a:gd name="connsiteX0" fmla="*/ 30508 w 57965"/>
                  <a:gd name="connsiteY0" fmla="*/ 137288 h 137288"/>
                  <a:gd name="connsiteX1" fmla="*/ 6102 w 57965"/>
                  <a:gd name="connsiteY1" fmla="*/ 131186 h 137288"/>
                  <a:gd name="connsiteX2" fmla="*/ 0 w 57965"/>
                  <a:gd name="connsiteY2" fmla="*/ 118983 h 137288"/>
                  <a:gd name="connsiteX3" fmla="*/ 15254 w 57965"/>
                  <a:gd name="connsiteY3" fmla="*/ 6102 h 137288"/>
                  <a:gd name="connsiteX4" fmla="*/ 21356 w 57965"/>
                  <a:gd name="connsiteY4" fmla="*/ 0 h 137288"/>
                  <a:gd name="connsiteX5" fmla="*/ 27457 w 57965"/>
                  <a:gd name="connsiteY5" fmla="*/ 6102 h 137288"/>
                  <a:gd name="connsiteX6" fmla="*/ 12203 w 57965"/>
                  <a:gd name="connsiteY6" fmla="*/ 118983 h 137288"/>
                  <a:gd name="connsiteX7" fmla="*/ 12203 w 57965"/>
                  <a:gd name="connsiteY7" fmla="*/ 122034 h 137288"/>
                  <a:gd name="connsiteX8" fmla="*/ 51864 w 57965"/>
                  <a:gd name="connsiteY8" fmla="*/ 122034 h 137288"/>
                  <a:gd name="connsiteX9" fmla="*/ 57966 w 57965"/>
                  <a:gd name="connsiteY9" fmla="*/ 128136 h 137288"/>
                  <a:gd name="connsiteX10" fmla="*/ 51864 w 57965"/>
                  <a:gd name="connsiteY10" fmla="*/ 134237 h 137288"/>
                  <a:gd name="connsiteX11" fmla="*/ 30508 w 57965"/>
                  <a:gd name="connsiteY11" fmla="*/ 137288 h 137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7965" h="137288">
                    <a:moveTo>
                      <a:pt x="30508" y="137288"/>
                    </a:moveTo>
                    <a:cubicBezTo>
                      <a:pt x="21356" y="137288"/>
                      <a:pt x="12203" y="137288"/>
                      <a:pt x="6102" y="131186"/>
                    </a:cubicBezTo>
                    <a:cubicBezTo>
                      <a:pt x="3051" y="128136"/>
                      <a:pt x="0" y="125085"/>
                      <a:pt x="0" y="118983"/>
                    </a:cubicBezTo>
                    <a:cubicBezTo>
                      <a:pt x="0" y="97627"/>
                      <a:pt x="15254" y="9153"/>
                      <a:pt x="15254" y="6102"/>
                    </a:cubicBezTo>
                    <a:cubicBezTo>
                      <a:pt x="15254" y="3051"/>
                      <a:pt x="18305" y="0"/>
                      <a:pt x="21356" y="0"/>
                    </a:cubicBezTo>
                    <a:cubicBezTo>
                      <a:pt x="24407" y="0"/>
                      <a:pt x="27457" y="3051"/>
                      <a:pt x="27457" y="6102"/>
                    </a:cubicBezTo>
                    <a:cubicBezTo>
                      <a:pt x="27457" y="6102"/>
                      <a:pt x="12203" y="97627"/>
                      <a:pt x="12203" y="118983"/>
                    </a:cubicBezTo>
                    <a:cubicBezTo>
                      <a:pt x="12203" y="118983"/>
                      <a:pt x="12203" y="122034"/>
                      <a:pt x="12203" y="122034"/>
                    </a:cubicBezTo>
                    <a:cubicBezTo>
                      <a:pt x="18305" y="128136"/>
                      <a:pt x="39661" y="125085"/>
                      <a:pt x="51864" y="122034"/>
                    </a:cubicBezTo>
                    <a:cubicBezTo>
                      <a:pt x="54915" y="122034"/>
                      <a:pt x="57966" y="122034"/>
                      <a:pt x="57966" y="128136"/>
                    </a:cubicBezTo>
                    <a:cubicBezTo>
                      <a:pt x="57966" y="131186"/>
                      <a:pt x="57966" y="134237"/>
                      <a:pt x="51864" y="134237"/>
                    </a:cubicBezTo>
                    <a:cubicBezTo>
                      <a:pt x="51864" y="134237"/>
                      <a:pt x="42712" y="137288"/>
                      <a:pt x="30508" y="1372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44" name="任意多边形: 形状 443">
              <a:extLst>
                <a:ext uri="{FF2B5EF4-FFF2-40B4-BE49-F238E27FC236}">
                  <a16:creationId xmlns:a16="http://schemas.microsoft.com/office/drawing/2014/main" id="{4F546006-64D1-437D-92D4-FD367EDBC442}"/>
                </a:ext>
              </a:extLst>
            </p:cNvPr>
            <p:cNvSpPr/>
            <p:nvPr/>
          </p:nvSpPr>
          <p:spPr>
            <a:xfrm>
              <a:off x="6464916" y="4101380"/>
              <a:ext cx="1446101" cy="485206"/>
            </a:xfrm>
            <a:custGeom>
              <a:avLst/>
              <a:gdLst>
                <a:gd name="connsiteX0" fmla="*/ 216610 w 1446101"/>
                <a:gd name="connsiteY0" fmla="*/ 27457 h 485206"/>
                <a:gd name="connsiteX1" fmla="*/ 0 w 1446101"/>
                <a:gd name="connsiteY1" fmla="*/ 442373 h 485206"/>
                <a:gd name="connsiteX2" fmla="*/ 1446102 w 1446101"/>
                <a:gd name="connsiteY2" fmla="*/ 402712 h 485206"/>
                <a:gd name="connsiteX3" fmla="*/ 1287458 w 1446101"/>
                <a:gd name="connsiteY3" fmla="*/ 0 h 485206"/>
                <a:gd name="connsiteX4" fmla="*/ 216610 w 1446101"/>
                <a:gd name="connsiteY4" fmla="*/ 27457 h 485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6101" h="485206">
                  <a:moveTo>
                    <a:pt x="216610" y="27457"/>
                  </a:moveTo>
                  <a:lnTo>
                    <a:pt x="0" y="442373"/>
                  </a:lnTo>
                  <a:cubicBezTo>
                    <a:pt x="0" y="442373"/>
                    <a:pt x="1086101" y="561356"/>
                    <a:pt x="1446102" y="402712"/>
                  </a:cubicBezTo>
                  <a:lnTo>
                    <a:pt x="1287458" y="0"/>
                  </a:lnTo>
                  <a:lnTo>
                    <a:pt x="216610" y="27457"/>
                  </a:ln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5" name="任意多边形: 形状 444">
              <a:extLst>
                <a:ext uri="{FF2B5EF4-FFF2-40B4-BE49-F238E27FC236}">
                  <a16:creationId xmlns:a16="http://schemas.microsoft.com/office/drawing/2014/main" id="{1860FD58-0A0E-4C3F-B777-495F7015179A}"/>
                </a:ext>
              </a:extLst>
            </p:cNvPr>
            <p:cNvSpPr/>
            <p:nvPr/>
          </p:nvSpPr>
          <p:spPr>
            <a:xfrm>
              <a:off x="5466528" y="2680957"/>
              <a:ext cx="227012" cy="250356"/>
            </a:xfrm>
            <a:custGeom>
              <a:avLst/>
              <a:gdLst>
                <a:gd name="connsiteX0" fmla="*/ 147201 w 227012"/>
                <a:gd name="connsiteY0" fmla="*/ 10931 h 250356"/>
                <a:gd name="connsiteX1" fmla="*/ 6862 w 227012"/>
                <a:gd name="connsiteY1" fmla="*/ 181779 h 250356"/>
                <a:gd name="connsiteX2" fmla="*/ 86184 w 227012"/>
                <a:gd name="connsiteY2" fmla="*/ 227542 h 250356"/>
                <a:gd name="connsiteX3" fmla="*/ 211269 w 227012"/>
                <a:gd name="connsiteY3" fmla="*/ 74999 h 250356"/>
                <a:gd name="connsiteX4" fmla="*/ 147201 w 227012"/>
                <a:gd name="connsiteY4" fmla="*/ 10931 h 250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012" h="250356">
                  <a:moveTo>
                    <a:pt x="147201" y="10931"/>
                  </a:moveTo>
                  <a:cubicBezTo>
                    <a:pt x="89235" y="59745"/>
                    <a:pt x="43472" y="114660"/>
                    <a:pt x="6862" y="181779"/>
                  </a:cubicBezTo>
                  <a:cubicBezTo>
                    <a:pt x="-23647" y="233643"/>
                    <a:pt x="55675" y="279406"/>
                    <a:pt x="86184" y="227542"/>
                  </a:cubicBezTo>
                  <a:cubicBezTo>
                    <a:pt x="119743" y="169575"/>
                    <a:pt x="162455" y="120762"/>
                    <a:pt x="211269" y="74999"/>
                  </a:cubicBezTo>
                  <a:cubicBezTo>
                    <a:pt x="257031" y="38389"/>
                    <a:pt x="192963" y="-25679"/>
                    <a:pt x="147201" y="10931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6" name="任意多边形: 形状 445">
              <a:extLst>
                <a:ext uri="{FF2B5EF4-FFF2-40B4-BE49-F238E27FC236}">
                  <a16:creationId xmlns:a16="http://schemas.microsoft.com/office/drawing/2014/main" id="{7B0A2FC6-897A-415D-9B5C-D85176D34098}"/>
                </a:ext>
              </a:extLst>
            </p:cNvPr>
            <p:cNvSpPr/>
            <p:nvPr/>
          </p:nvSpPr>
          <p:spPr>
            <a:xfrm>
              <a:off x="8234648" y="3901517"/>
              <a:ext cx="334216" cy="132267"/>
            </a:xfrm>
            <a:custGeom>
              <a:avLst/>
              <a:gdLst>
                <a:gd name="connsiteX0" fmla="*/ 289590 w 334216"/>
                <a:gd name="connsiteY0" fmla="*/ 38168 h 132267"/>
                <a:gd name="connsiteX1" fmla="*/ 69929 w 334216"/>
                <a:gd name="connsiteY1" fmla="*/ 4608 h 132267"/>
                <a:gd name="connsiteX2" fmla="*/ 24166 w 334216"/>
                <a:gd name="connsiteY2" fmla="*/ 83930 h 132267"/>
                <a:gd name="connsiteX3" fmla="*/ 289590 w 334216"/>
                <a:gd name="connsiteY3" fmla="*/ 129693 h 132267"/>
                <a:gd name="connsiteX4" fmla="*/ 289590 w 334216"/>
                <a:gd name="connsiteY4" fmla="*/ 38168 h 132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4216" h="132267">
                  <a:moveTo>
                    <a:pt x="289590" y="38168"/>
                  </a:moveTo>
                  <a:cubicBezTo>
                    <a:pt x="213319" y="44269"/>
                    <a:pt x="140098" y="35117"/>
                    <a:pt x="69929" y="4608"/>
                  </a:cubicBezTo>
                  <a:cubicBezTo>
                    <a:pt x="18064" y="-19799"/>
                    <a:pt x="-30749" y="59523"/>
                    <a:pt x="24166" y="83930"/>
                  </a:cubicBezTo>
                  <a:cubicBezTo>
                    <a:pt x="109590" y="123591"/>
                    <a:pt x="198065" y="138846"/>
                    <a:pt x="289590" y="129693"/>
                  </a:cubicBezTo>
                  <a:cubicBezTo>
                    <a:pt x="347556" y="123591"/>
                    <a:pt x="350607" y="32066"/>
                    <a:pt x="289590" y="38168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7" name="任意多边形: 形状 446">
              <a:extLst>
                <a:ext uri="{FF2B5EF4-FFF2-40B4-BE49-F238E27FC236}">
                  <a16:creationId xmlns:a16="http://schemas.microsoft.com/office/drawing/2014/main" id="{560ED626-DB85-496E-ADD8-BAF91D82775F}"/>
                </a:ext>
              </a:extLst>
            </p:cNvPr>
            <p:cNvSpPr/>
            <p:nvPr/>
          </p:nvSpPr>
          <p:spPr>
            <a:xfrm>
              <a:off x="6424492" y="2643315"/>
              <a:ext cx="1510079" cy="1979920"/>
            </a:xfrm>
            <a:custGeom>
              <a:avLst/>
              <a:gdLst>
                <a:gd name="connsiteX0" fmla="*/ 1456017 w 1510079"/>
                <a:gd name="connsiteY0" fmla="*/ 1793658 h 1979920"/>
                <a:gd name="connsiteX1" fmla="*/ 437034 w 1510079"/>
                <a:gd name="connsiteY1" fmla="*/ 1866878 h 1979920"/>
                <a:gd name="connsiteX2" fmla="*/ 501102 w 1510079"/>
                <a:gd name="connsiteY2" fmla="*/ 1509929 h 1979920"/>
                <a:gd name="connsiteX3" fmla="*/ 504153 w 1510079"/>
                <a:gd name="connsiteY3" fmla="*/ 1497726 h 1979920"/>
                <a:gd name="connsiteX4" fmla="*/ 507203 w 1510079"/>
                <a:gd name="connsiteY4" fmla="*/ 1451963 h 1979920"/>
                <a:gd name="connsiteX5" fmla="*/ 415678 w 1510079"/>
                <a:gd name="connsiteY5" fmla="*/ 744166 h 1979920"/>
                <a:gd name="connsiteX6" fmla="*/ 681102 w 1510079"/>
                <a:gd name="connsiteY6" fmla="*/ 69929 h 1979920"/>
                <a:gd name="connsiteX7" fmla="*/ 601780 w 1510079"/>
                <a:gd name="connsiteY7" fmla="*/ 24166 h 1979920"/>
                <a:gd name="connsiteX8" fmla="*/ 321102 w 1510079"/>
                <a:gd name="connsiteY8" fmla="*/ 747217 h 1979920"/>
                <a:gd name="connsiteX9" fmla="*/ 415678 w 1510079"/>
                <a:gd name="connsiteY9" fmla="*/ 1476370 h 1979920"/>
                <a:gd name="connsiteX10" fmla="*/ 342458 w 1510079"/>
                <a:gd name="connsiteY10" fmla="*/ 1863827 h 1979920"/>
                <a:gd name="connsiteX11" fmla="*/ 43474 w 1510079"/>
                <a:gd name="connsiteY11" fmla="*/ 1842471 h 1979920"/>
                <a:gd name="connsiteX12" fmla="*/ 43474 w 1510079"/>
                <a:gd name="connsiteY12" fmla="*/ 1933997 h 1979920"/>
                <a:gd name="connsiteX13" fmla="*/ 1474322 w 1510079"/>
                <a:gd name="connsiteY13" fmla="*/ 1885183 h 1979920"/>
                <a:gd name="connsiteX14" fmla="*/ 1456017 w 1510079"/>
                <a:gd name="connsiteY14" fmla="*/ 1793658 h 197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10079" h="1979920">
                  <a:moveTo>
                    <a:pt x="1456017" y="1793658"/>
                  </a:moveTo>
                  <a:cubicBezTo>
                    <a:pt x="1132627" y="1903488"/>
                    <a:pt x="781779" y="1891285"/>
                    <a:pt x="437034" y="1866878"/>
                  </a:cubicBezTo>
                  <a:cubicBezTo>
                    <a:pt x="437034" y="1744844"/>
                    <a:pt x="449237" y="1622810"/>
                    <a:pt x="501102" y="1509929"/>
                  </a:cubicBezTo>
                  <a:cubicBezTo>
                    <a:pt x="504153" y="1503827"/>
                    <a:pt x="504153" y="1500776"/>
                    <a:pt x="504153" y="1497726"/>
                  </a:cubicBezTo>
                  <a:cubicBezTo>
                    <a:pt x="513305" y="1485522"/>
                    <a:pt x="516356" y="1467217"/>
                    <a:pt x="507203" y="1451963"/>
                  </a:cubicBezTo>
                  <a:cubicBezTo>
                    <a:pt x="409576" y="1247556"/>
                    <a:pt x="400424" y="966878"/>
                    <a:pt x="415678" y="744166"/>
                  </a:cubicBezTo>
                  <a:cubicBezTo>
                    <a:pt x="433983" y="484844"/>
                    <a:pt x="580424" y="295692"/>
                    <a:pt x="681102" y="69929"/>
                  </a:cubicBezTo>
                  <a:cubicBezTo>
                    <a:pt x="705508" y="18065"/>
                    <a:pt x="626187" y="-30749"/>
                    <a:pt x="601780" y="24166"/>
                  </a:cubicBezTo>
                  <a:cubicBezTo>
                    <a:pt x="491949" y="268234"/>
                    <a:pt x="339407" y="469590"/>
                    <a:pt x="321102" y="747217"/>
                  </a:cubicBezTo>
                  <a:cubicBezTo>
                    <a:pt x="305848" y="979082"/>
                    <a:pt x="318051" y="1259760"/>
                    <a:pt x="415678" y="1476370"/>
                  </a:cubicBezTo>
                  <a:cubicBezTo>
                    <a:pt x="360763" y="1598404"/>
                    <a:pt x="345509" y="1729590"/>
                    <a:pt x="342458" y="1863827"/>
                  </a:cubicBezTo>
                  <a:cubicBezTo>
                    <a:pt x="241780" y="1854675"/>
                    <a:pt x="141101" y="1848573"/>
                    <a:pt x="43474" y="1842471"/>
                  </a:cubicBezTo>
                  <a:cubicBezTo>
                    <a:pt x="-14491" y="1839421"/>
                    <a:pt x="-14491" y="1930946"/>
                    <a:pt x="43474" y="1933997"/>
                  </a:cubicBezTo>
                  <a:cubicBezTo>
                    <a:pt x="513305" y="1961455"/>
                    <a:pt x="1019746" y="2043827"/>
                    <a:pt x="1474322" y="1885183"/>
                  </a:cubicBezTo>
                  <a:cubicBezTo>
                    <a:pt x="1535339" y="1863827"/>
                    <a:pt x="1510932" y="1775353"/>
                    <a:pt x="1456017" y="1793658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8" name="任意多边形: 形状 447">
              <a:extLst>
                <a:ext uri="{FF2B5EF4-FFF2-40B4-BE49-F238E27FC236}">
                  <a16:creationId xmlns:a16="http://schemas.microsoft.com/office/drawing/2014/main" id="{3986A7C3-25BA-4844-8D3F-F2DF730F3E6E}"/>
                </a:ext>
              </a:extLst>
            </p:cNvPr>
            <p:cNvSpPr/>
            <p:nvPr/>
          </p:nvSpPr>
          <p:spPr>
            <a:xfrm>
              <a:off x="6631653" y="4019007"/>
              <a:ext cx="1141078" cy="179846"/>
            </a:xfrm>
            <a:custGeom>
              <a:avLst/>
              <a:gdLst>
                <a:gd name="connsiteX0" fmla="*/ 19364 w 1141078"/>
                <a:gd name="connsiteY0" fmla="*/ 170847 h 179846"/>
                <a:gd name="connsiteX1" fmla="*/ 1129873 w 1141078"/>
                <a:gd name="connsiteY1" fmla="*/ 112881 h 179846"/>
                <a:gd name="connsiteX2" fmla="*/ 1120720 w 1141078"/>
                <a:gd name="connsiteY2" fmla="*/ 0 h 179846"/>
                <a:gd name="connsiteX3" fmla="*/ 10211 w 1141078"/>
                <a:gd name="connsiteY3" fmla="*/ 70170 h 179846"/>
                <a:gd name="connsiteX4" fmla="*/ 19364 w 1141078"/>
                <a:gd name="connsiteY4" fmla="*/ 170847 h 17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1078" h="179846">
                  <a:moveTo>
                    <a:pt x="19364" y="170847"/>
                  </a:moveTo>
                  <a:cubicBezTo>
                    <a:pt x="19364" y="170847"/>
                    <a:pt x="809534" y="213559"/>
                    <a:pt x="1129873" y="112881"/>
                  </a:cubicBezTo>
                  <a:cubicBezTo>
                    <a:pt x="1129873" y="112881"/>
                    <a:pt x="1160381" y="42712"/>
                    <a:pt x="1120720" y="0"/>
                  </a:cubicBezTo>
                  <a:cubicBezTo>
                    <a:pt x="855297" y="88475"/>
                    <a:pt x="391567" y="85424"/>
                    <a:pt x="10211" y="70170"/>
                  </a:cubicBezTo>
                  <a:cubicBezTo>
                    <a:pt x="-17246" y="125085"/>
                    <a:pt x="19364" y="170847"/>
                    <a:pt x="19364" y="170847"/>
                  </a:cubicBezTo>
                  <a:close/>
                </a:path>
              </a:pathLst>
            </a:custGeom>
            <a:solidFill>
              <a:srgbClr val="6C5D68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49" name="图形 1">
              <a:extLst>
                <a:ext uri="{FF2B5EF4-FFF2-40B4-BE49-F238E27FC236}">
                  <a16:creationId xmlns:a16="http://schemas.microsoft.com/office/drawing/2014/main" id="{07858376-37E8-482D-A3C7-0D04C69FA559}"/>
                </a:ext>
              </a:extLst>
            </p:cNvPr>
            <p:cNvGrpSpPr/>
            <p:nvPr/>
          </p:nvGrpSpPr>
          <p:grpSpPr>
            <a:xfrm>
              <a:off x="6775628" y="4055617"/>
              <a:ext cx="217084" cy="164745"/>
              <a:chOff x="6775628" y="4055617"/>
              <a:chExt cx="217084" cy="164745"/>
            </a:xfrm>
          </p:grpSpPr>
          <p:sp>
            <p:nvSpPr>
              <p:cNvPr id="450" name="任意多边形: 形状 449">
                <a:extLst>
                  <a:ext uri="{FF2B5EF4-FFF2-40B4-BE49-F238E27FC236}">
                    <a16:creationId xmlns:a16="http://schemas.microsoft.com/office/drawing/2014/main" id="{D3D8B4BF-2C5E-454F-ADF0-A0507520B151}"/>
                  </a:ext>
                </a:extLst>
              </p:cNvPr>
              <p:cNvSpPr/>
              <p:nvPr/>
            </p:nvSpPr>
            <p:spPr>
              <a:xfrm>
                <a:off x="6775628" y="4055617"/>
                <a:ext cx="217084" cy="164745"/>
              </a:xfrm>
              <a:custGeom>
                <a:avLst/>
                <a:gdLst>
                  <a:gd name="connsiteX0" fmla="*/ 21830 w 217084"/>
                  <a:gd name="connsiteY0" fmla="*/ 164746 h 164745"/>
                  <a:gd name="connsiteX1" fmla="*/ 195728 w 217084"/>
                  <a:gd name="connsiteY1" fmla="*/ 164746 h 164745"/>
                  <a:gd name="connsiteX2" fmla="*/ 217084 w 217084"/>
                  <a:gd name="connsiteY2" fmla="*/ 143390 h 164745"/>
                  <a:gd name="connsiteX3" fmla="*/ 217084 w 217084"/>
                  <a:gd name="connsiteY3" fmla="*/ 21356 h 164745"/>
                  <a:gd name="connsiteX4" fmla="*/ 195728 w 217084"/>
                  <a:gd name="connsiteY4" fmla="*/ 0 h 164745"/>
                  <a:gd name="connsiteX5" fmla="*/ 21830 w 217084"/>
                  <a:gd name="connsiteY5" fmla="*/ 0 h 164745"/>
                  <a:gd name="connsiteX6" fmla="*/ 474 w 217084"/>
                  <a:gd name="connsiteY6" fmla="*/ 21356 h 164745"/>
                  <a:gd name="connsiteX7" fmla="*/ 474 w 217084"/>
                  <a:gd name="connsiteY7" fmla="*/ 143390 h 164745"/>
                  <a:gd name="connsiteX8" fmla="*/ 21830 w 217084"/>
                  <a:gd name="connsiteY8" fmla="*/ 164746 h 164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7084" h="164745">
                    <a:moveTo>
                      <a:pt x="21830" y="164746"/>
                    </a:moveTo>
                    <a:lnTo>
                      <a:pt x="195728" y="164746"/>
                    </a:lnTo>
                    <a:cubicBezTo>
                      <a:pt x="207932" y="164746"/>
                      <a:pt x="217084" y="155593"/>
                      <a:pt x="217084" y="143390"/>
                    </a:cubicBezTo>
                    <a:lnTo>
                      <a:pt x="217084" y="21356"/>
                    </a:lnTo>
                    <a:cubicBezTo>
                      <a:pt x="217084" y="9152"/>
                      <a:pt x="207932" y="0"/>
                      <a:pt x="195728" y="0"/>
                    </a:cubicBezTo>
                    <a:lnTo>
                      <a:pt x="21830" y="0"/>
                    </a:lnTo>
                    <a:cubicBezTo>
                      <a:pt x="9627" y="0"/>
                      <a:pt x="474" y="9152"/>
                      <a:pt x="474" y="21356"/>
                    </a:cubicBezTo>
                    <a:lnTo>
                      <a:pt x="474" y="143390"/>
                    </a:lnTo>
                    <a:cubicBezTo>
                      <a:pt x="-2577" y="155593"/>
                      <a:pt x="9627" y="164746"/>
                      <a:pt x="21830" y="16474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1" name="任意多边形: 形状 450">
                <a:extLst>
                  <a:ext uri="{FF2B5EF4-FFF2-40B4-BE49-F238E27FC236}">
                    <a16:creationId xmlns:a16="http://schemas.microsoft.com/office/drawing/2014/main" id="{C99B2289-DBF6-40C4-B06A-07A222D20455}"/>
                  </a:ext>
                </a:extLst>
              </p:cNvPr>
              <p:cNvSpPr/>
              <p:nvPr/>
            </p:nvSpPr>
            <p:spPr>
              <a:xfrm>
                <a:off x="6802961" y="4076973"/>
                <a:ext cx="159242" cy="122033"/>
              </a:xfrm>
              <a:custGeom>
                <a:avLst/>
                <a:gdLst>
                  <a:gd name="connsiteX0" fmla="*/ 15853 w 159242"/>
                  <a:gd name="connsiteY0" fmla="*/ 122034 h 122033"/>
                  <a:gd name="connsiteX1" fmla="*/ 143988 w 159242"/>
                  <a:gd name="connsiteY1" fmla="*/ 122034 h 122033"/>
                  <a:gd name="connsiteX2" fmla="*/ 159242 w 159242"/>
                  <a:gd name="connsiteY2" fmla="*/ 106780 h 122033"/>
                  <a:gd name="connsiteX3" fmla="*/ 159242 w 159242"/>
                  <a:gd name="connsiteY3" fmla="*/ 15254 h 122033"/>
                  <a:gd name="connsiteX4" fmla="*/ 143988 w 159242"/>
                  <a:gd name="connsiteY4" fmla="*/ 0 h 122033"/>
                  <a:gd name="connsiteX5" fmla="*/ 15853 w 159242"/>
                  <a:gd name="connsiteY5" fmla="*/ 0 h 122033"/>
                  <a:gd name="connsiteX6" fmla="*/ 598 w 159242"/>
                  <a:gd name="connsiteY6" fmla="*/ 15254 h 122033"/>
                  <a:gd name="connsiteX7" fmla="*/ 598 w 159242"/>
                  <a:gd name="connsiteY7" fmla="*/ 106780 h 122033"/>
                  <a:gd name="connsiteX8" fmla="*/ 15853 w 159242"/>
                  <a:gd name="connsiteY8" fmla="*/ 122034 h 122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9242" h="122033">
                    <a:moveTo>
                      <a:pt x="15853" y="122034"/>
                    </a:moveTo>
                    <a:lnTo>
                      <a:pt x="143988" y="122034"/>
                    </a:lnTo>
                    <a:cubicBezTo>
                      <a:pt x="153141" y="122034"/>
                      <a:pt x="159242" y="115932"/>
                      <a:pt x="159242" y="106780"/>
                    </a:cubicBezTo>
                    <a:lnTo>
                      <a:pt x="159242" y="15254"/>
                    </a:lnTo>
                    <a:cubicBezTo>
                      <a:pt x="159242" y="6102"/>
                      <a:pt x="153141" y="0"/>
                      <a:pt x="143988" y="0"/>
                    </a:cubicBezTo>
                    <a:lnTo>
                      <a:pt x="15853" y="0"/>
                    </a:lnTo>
                    <a:cubicBezTo>
                      <a:pt x="6700" y="0"/>
                      <a:pt x="598" y="6102"/>
                      <a:pt x="598" y="15254"/>
                    </a:cubicBezTo>
                    <a:lnTo>
                      <a:pt x="598" y="106780"/>
                    </a:lnTo>
                    <a:cubicBezTo>
                      <a:pt x="-2452" y="115932"/>
                      <a:pt x="6700" y="122034"/>
                      <a:pt x="15853" y="12203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52" name="图形 1">
              <a:extLst>
                <a:ext uri="{FF2B5EF4-FFF2-40B4-BE49-F238E27FC236}">
                  <a16:creationId xmlns:a16="http://schemas.microsoft.com/office/drawing/2014/main" id="{07858376-37E8-482D-A3C7-0D04C69FA559}"/>
                </a:ext>
              </a:extLst>
            </p:cNvPr>
            <p:cNvGrpSpPr/>
            <p:nvPr/>
          </p:nvGrpSpPr>
          <p:grpSpPr>
            <a:xfrm>
              <a:off x="4639019" y="2417085"/>
              <a:ext cx="1422382" cy="2367919"/>
              <a:chOff x="4639019" y="2417085"/>
              <a:chExt cx="1422382" cy="2367919"/>
            </a:xfrm>
          </p:grpSpPr>
          <p:sp>
            <p:nvSpPr>
              <p:cNvPr id="453" name="任意多边形: 形状 452">
                <a:extLst>
                  <a:ext uri="{FF2B5EF4-FFF2-40B4-BE49-F238E27FC236}">
                    <a16:creationId xmlns:a16="http://schemas.microsoft.com/office/drawing/2014/main" id="{65233BFD-7AEF-4CD3-A065-6B9BC3DC4D25}"/>
                  </a:ext>
                </a:extLst>
              </p:cNvPr>
              <p:cNvSpPr/>
              <p:nvPr/>
            </p:nvSpPr>
            <p:spPr>
              <a:xfrm>
                <a:off x="4639019" y="2417085"/>
                <a:ext cx="1422382" cy="2367919"/>
              </a:xfrm>
              <a:custGeom>
                <a:avLst/>
                <a:gdLst>
                  <a:gd name="connsiteX0" fmla="*/ 831321 w 1422382"/>
                  <a:gd name="connsiteY0" fmla="*/ 326668 h 2367919"/>
                  <a:gd name="connsiteX1" fmla="*/ 974710 w 1422382"/>
                  <a:gd name="connsiteY1" fmla="*/ 146668 h 2367919"/>
                  <a:gd name="connsiteX2" fmla="*/ 837422 w 1422382"/>
                  <a:gd name="connsiteY2" fmla="*/ 192430 h 2367919"/>
                  <a:gd name="connsiteX3" fmla="*/ 904541 w 1422382"/>
                  <a:gd name="connsiteY3" fmla="*/ 49040 h 2367919"/>
                  <a:gd name="connsiteX4" fmla="*/ 739795 w 1422382"/>
                  <a:gd name="connsiteY4" fmla="*/ 113108 h 2367919"/>
                  <a:gd name="connsiteX5" fmla="*/ 739795 w 1422382"/>
                  <a:gd name="connsiteY5" fmla="*/ 227 h 2367919"/>
                  <a:gd name="connsiteX6" fmla="*/ 663524 w 1422382"/>
                  <a:gd name="connsiteY6" fmla="*/ 113108 h 2367919"/>
                  <a:gd name="connsiteX7" fmla="*/ 602507 w 1422382"/>
                  <a:gd name="connsiteY7" fmla="*/ 227 h 2367919"/>
                  <a:gd name="connsiteX8" fmla="*/ 578100 w 1422382"/>
                  <a:gd name="connsiteY8" fmla="*/ 113108 h 2367919"/>
                  <a:gd name="connsiteX9" fmla="*/ 477422 w 1422382"/>
                  <a:gd name="connsiteY9" fmla="*/ 85651 h 2367919"/>
                  <a:gd name="connsiteX10" fmla="*/ 633016 w 1422382"/>
                  <a:gd name="connsiteY10" fmla="*/ 290057 h 2367919"/>
                  <a:gd name="connsiteX11" fmla="*/ 636066 w 1422382"/>
                  <a:gd name="connsiteY11" fmla="*/ 293108 h 2367919"/>
                  <a:gd name="connsiteX12" fmla="*/ 605558 w 1422382"/>
                  <a:gd name="connsiteY12" fmla="*/ 317515 h 2367919"/>
                  <a:gd name="connsiteX13" fmla="*/ 35049 w 1422382"/>
                  <a:gd name="connsiteY13" fmla="*/ 2019888 h 2367919"/>
                  <a:gd name="connsiteX14" fmla="*/ 1310304 w 1422382"/>
                  <a:gd name="connsiteY14" fmla="*/ 2166329 h 2367919"/>
                  <a:gd name="connsiteX15" fmla="*/ 831321 w 1422382"/>
                  <a:gd name="connsiteY15" fmla="*/ 326668 h 2367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22382" h="2367919">
                    <a:moveTo>
                      <a:pt x="831321" y="326668"/>
                    </a:moveTo>
                    <a:cubicBezTo>
                      <a:pt x="831321" y="326668"/>
                      <a:pt x="993016" y="152769"/>
                      <a:pt x="974710" y="146668"/>
                    </a:cubicBezTo>
                    <a:cubicBezTo>
                      <a:pt x="959456" y="140566"/>
                      <a:pt x="837422" y="192430"/>
                      <a:pt x="837422" y="192430"/>
                    </a:cubicBezTo>
                    <a:cubicBezTo>
                      <a:pt x="837422" y="192430"/>
                      <a:pt x="935050" y="52091"/>
                      <a:pt x="904541" y="49040"/>
                    </a:cubicBezTo>
                    <a:cubicBezTo>
                      <a:pt x="877083" y="45990"/>
                      <a:pt x="739795" y="113108"/>
                      <a:pt x="739795" y="113108"/>
                    </a:cubicBezTo>
                    <a:cubicBezTo>
                      <a:pt x="739795" y="113108"/>
                      <a:pt x="800812" y="9379"/>
                      <a:pt x="739795" y="227"/>
                    </a:cubicBezTo>
                    <a:cubicBezTo>
                      <a:pt x="678778" y="-5875"/>
                      <a:pt x="663524" y="113108"/>
                      <a:pt x="663524" y="113108"/>
                    </a:cubicBezTo>
                    <a:cubicBezTo>
                      <a:pt x="663524" y="113108"/>
                      <a:pt x="629965" y="9379"/>
                      <a:pt x="602507" y="227"/>
                    </a:cubicBezTo>
                    <a:cubicBezTo>
                      <a:pt x="575049" y="-5875"/>
                      <a:pt x="578100" y="113108"/>
                      <a:pt x="578100" y="113108"/>
                    </a:cubicBezTo>
                    <a:cubicBezTo>
                      <a:pt x="578100" y="113108"/>
                      <a:pt x="501829" y="67346"/>
                      <a:pt x="477422" y="85651"/>
                    </a:cubicBezTo>
                    <a:cubicBezTo>
                      <a:pt x="456066" y="100905"/>
                      <a:pt x="608609" y="265651"/>
                      <a:pt x="633016" y="290057"/>
                    </a:cubicBezTo>
                    <a:cubicBezTo>
                      <a:pt x="633016" y="290057"/>
                      <a:pt x="636066" y="293108"/>
                      <a:pt x="636066" y="293108"/>
                    </a:cubicBezTo>
                    <a:cubicBezTo>
                      <a:pt x="626914" y="299210"/>
                      <a:pt x="614711" y="305312"/>
                      <a:pt x="605558" y="317515"/>
                    </a:cubicBezTo>
                    <a:cubicBezTo>
                      <a:pt x="520134" y="399888"/>
                      <a:pt x="-160205" y="1397515"/>
                      <a:pt x="35049" y="2019888"/>
                    </a:cubicBezTo>
                    <a:cubicBezTo>
                      <a:pt x="166236" y="2443956"/>
                      <a:pt x="1108948" y="2465312"/>
                      <a:pt x="1310304" y="2166329"/>
                    </a:cubicBezTo>
                    <a:cubicBezTo>
                      <a:pt x="1728270" y="1547007"/>
                      <a:pt x="843524" y="338871"/>
                      <a:pt x="831321" y="326668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4" name="任意多边形: 形状 453">
                <a:extLst>
                  <a:ext uri="{FF2B5EF4-FFF2-40B4-BE49-F238E27FC236}">
                    <a16:creationId xmlns:a16="http://schemas.microsoft.com/office/drawing/2014/main" id="{A6088E15-1B49-4AEC-9452-2F5C4166254C}"/>
                  </a:ext>
                </a:extLst>
              </p:cNvPr>
              <p:cNvSpPr/>
              <p:nvPr/>
            </p:nvSpPr>
            <p:spPr>
              <a:xfrm>
                <a:off x="5272034" y="2704091"/>
                <a:ext cx="415205" cy="738305"/>
              </a:xfrm>
              <a:custGeom>
                <a:avLst/>
                <a:gdLst>
                  <a:gd name="connsiteX0" fmla="*/ 408814 w 415205"/>
                  <a:gd name="connsiteY0" fmla="*/ 738305 h 738305"/>
                  <a:gd name="connsiteX1" fmla="*/ 408814 w 415205"/>
                  <a:gd name="connsiteY1" fmla="*/ 738305 h 738305"/>
                  <a:gd name="connsiteX2" fmla="*/ 402712 w 415205"/>
                  <a:gd name="connsiteY2" fmla="*/ 732203 h 738305"/>
                  <a:gd name="connsiteX3" fmla="*/ 195254 w 415205"/>
                  <a:gd name="connsiteY3" fmla="*/ 48814 h 738305"/>
                  <a:gd name="connsiteX4" fmla="*/ 3051 w 415205"/>
                  <a:gd name="connsiteY4" fmla="*/ 12203 h 738305"/>
                  <a:gd name="connsiteX5" fmla="*/ 0 w 415205"/>
                  <a:gd name="connsiteY5" fmla="*/ 3051 h 738305"/>
                  <a:gd name="connsiteX6" fmla="*/ 9153 w 415205"/>
                  <a:gd name="connsiteY6" fmla="*/ 0 h 738305"/>
                  <a:gd name="connsiteX7" fmla="*/ 198305 w 415205"/>
                  <a:gd name="connsiteY7" fmla="*/ 33559 h 738305"/>
                  <a:gd name="connsiteX8" fmla="*/ 201356 w 415205"/>
                  <a:gd name="connsiteY8" fmla="*/ 33559 h 738305"/>
                  <a:gd name="connsiteX9" fmla="*/ 204407 w 415205"/>
                  <a:gd name="connsiteY9" fmla="*/ 36610 h 738305"/>
                  <a:gd name="connsiteX10" fmla="*/ 414915 w 415205"/>
                  <a:gd name="connsiteY10" fmla="*/ 729153 h 738305"/>
                  <a:gd name="connsiteX11" fmla="*/ 408814 w 415205"/>
                  <a:gd name="connsiteY11" fmla="*/ 738305 h 738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15205" h="738305">
                    <a:moveTo>
                      <a:pt x="408814" y="738305"/>
                    </a:moveTo>
                    <a:cubicBezTo>
                      <a:pt x="408814" y="738305"/>
                      <a:pt x="408814" y="738305"/>
                      <a:pt x="408814" y="738305"/>
                    </a:cubicBezTo>
                    <a:cubicBezTo>
                      <a:pt x="405763" y="738305"/>
                      <a:pt x="402712" y="735254"/>
                      <a:pt x="402712" y="732203"/>
                    </a:cubicBezTo>
                    <a:cubicBezTo>
                      <a:pt x="408814" y="533898"/>
                      <a:pt x="216610" y="94576"/>
                      <a:pt x="195254" y="48814"/>
                    </a:cubicBezTo>
                    <a:cubicBezTo>
                      <a:pt x="91525" y="67119"/>
                      <a:pt x="6102" y="15254"/>
                      <a:pt x="3051" y="12203"/>
                    </a:cubicBezTo>
                    <a:cubicBezTo>
                      <a:pt x="0" y="9153"/>
                      <a:pt x="0" y="6102"/>
                      <a:pt x="0" y="3051"/>
                    </a:cubicBezTo>
                    <a:cubicBezTo>
                      <a:pt x="3051" y="0"/>
                      <a:pt x="6102" y="0"/>
                      <a:pt x="9153" y="0"/>
                    </a:cubicBezTo>
                    <a:cubicBezTo>
                      <a:pt x="9153" y="0"/>
                      <a:pt x="97627" y="51864"/>
                      <a:pt x="198305" y="33559"/>
                    </a:cubicBezTo>
                    <a:lnTo>
                      <a:pt x="201356" y="33559"/>
                    </a:lnTo>
                    <a:lnTo>
                      <a:pt x="204407" y="36610"/>
                    </a:lnTo>
                    <a:cubicBezTo>
                      <a:pt x="213559" y="54915"/>
                      <a:pt x="424068" y="518644"/>
                      <a:pt x="414915" y="729153"/>
                    </a:cubicBezTo>
                    <a:cubicBezTo>
                      <a:pt x="414915" y="735254"/>
                      <a:pt x="411864" y="738305"/>
                      <a:pt x="408814" y="73830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5" name="任意多边形: 形状 454">
                <a:extLst>
                  <a:ext uri="{FF2B5EF4-FFF2-40B4-BE49-F238E27FC236}">
                    <a16:creationId xmlns:a16="http://schemas.microsoft.com/office/drawing/2014/main" id="{93E6C5E1-35F4-480D-83AB-92B7C2EB8547}"/>
                  </a:ext>
                </a:extLst>
              </p:cNvPr>
              <p:cNvSpPr/>
              <p:nvPr/>
            </p:nvSpPr>
            <p:spPr>
              <a:xfrm>
                <a:off x="5348305" y="2737651"/>
                <a:ext cx="128135" cy="829830"/>
              </a:xfrm>
              <a:custGeom>
                <a:avLst/>
                <a:gdLst>
                  <a:gd name="connsiteX0" fmla="*/ 6102 w 128135"/>
                  <a:gd name="connsiteY0" fmla="*/ 829831 h 829830"/>
                  <a:gd name="connsiteX1" fmla="*/ 6102 w 128135"/>
                  <a:gd name="connsiteY1" fmla="*/ 829831 h 829830"/>
                  <a:gd name="connsiteX2" fmla="*/ 0 w 128135"/>
                  <a:gd name="connsiteY2" fmla="*/ 820678 h 829830"/>
                  <a:gd name="connsiteX3" fmla="*/ 115932 w 128135"/>
                  <a:gd name="connsiteY3" fmla="*/ 6102 h 829830"/>
                  <a:gd name="connsiteX4" fmla="*/ 122034 w 128135"/>
                  <a:gd name="connsiteY4" fmla="*/ 0 h 829830"/>
                  <a:gd name="connsiteX5" fmla="*/ 128136 w 128135"/>
                  <a:gd name="connsiteY5" fmla="*/ 6102 h 829830"/>
                  <a:gd name="connsiteX6" fmla="*/ 9153 w 128135"/>
                  <a:gd name="connsiteY6" fmla="*/ 826780 h 829830"/>
                  <a:gd name="connsiteX7" fmla="*/ 6102 w 128135"/>
                  <a:gd name="connsiteY7" fmla="*/ 829831 h 829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8135" h="829830">
                    <a:moveTo>
                      <a:pt x="6102" y="829831"/>
                    </a:moveTo>
                    <a:cubicBezTo>
                      <a:pt x="3051" y="829831"/>
                      <a:pt x="3051" y="829831"/>
                      <a:pt x="6102" y="829831"/>
                    </a:cubicBezTo>
                    <a:cubicBezTo>
                      <a:pt x="0" y="826780"/>
                      <a:pt x="0" y="823729"/>
                      <a:pt x="0" y="820678"/>
                    </a:cubicBezTo>
                    <a:cubicBezTo>
                      <a:pt x="76271" y="646780"/>
                      <a:pt x="115932" y="12203"/>
                      <a:pt x="115932" y="6102"/>
                    </a:cubicBezTo>
                    <a:cubicBezTo>
                      <a:pt x="115932" y="3051"/>
                      <a:pt x="118983" y="0"/>
                      <a:pt x="122034" y="0"/>
                    </a:cubicBezTo>
                    <a:cubicBezTo>
                      <a:pt x="125085" y="0"/>
                      <a:pt x="128136" y="3051"/>
                      <a:pt x="128136" y="6102"/>
                    </a:cubicBezTo>
                    <a:cubicBezTo>
                      <a:pt x="125085" y="33559"/>
                      <a:pt x="85424" y="649831"/>
                      <a:pt x="9153" y="826780"/>
                    </a:cubicBezTo>
                    <a:cubicBezTo>
                      <a:pt x="9153" y="829831"/>
                      <a:pt x="6102" y="829831"/>
                      <a:pt x="6102" y="8298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6" name="任意多边形: 形状 455">
                <a:extLst>
                  <a:ext uri="{FF2B5EF4-FFF2-40B4-BE49-F238E27FC236}">
                    <a16:creationId xmlns:a16="http://schemas.microsoft.com/office/drawing/2014/main" id="{C49EE252-C39F-4B73-AEAF-F6E8A856044E}"/>
                  </a:ext>
                </a:extLst>
              </p:cNvPr>
              <p:cNvSpPr/>
              <p:nvPr/>
            </p:nvSpPr>
            <p:spPr>
              <a:xfrm>
                <a:off x="4904229" y="3930532"/>
                <a:ext cx="55855" cy="286779"/>
              </a:xfrm>
              <a:custGeom>
                <a:avLst/>
                <a:gdLst>
                  <a:gd name="connsiteX0" fmla="*/ 44415 w 55855"/>
                  <a:gd name="connsiteY0" fmla="*/ 286780 h 286779"/>
                  <a:gd name="connsiteX1" fmla="*/ 41364 w 55855"/>
                  <a:gd name="connsiteY1" fmla="*/ 283729 h 286779"/>
                  <a:gd name="connsiteX2" fmla="*/ 41364 w 55855"/>
                  <a:gd name="connsiteY2" fmla="*/ 3051 h 286779"/>
                  <a:gd name="connsiteX3" fmla="*/ 50517 w 55855"/>
                  <a:gd name="connsiteY3" fmla="*/ 0 h 286779"/>
                  <a:gd name="connsiteX4" fmla="*/ 53568 w 55855"/>
                  <a:gd name="connsiteY4" fmla="*/ 9153 h 286779"/>
                  <a:gd name="connsiteX5" fmla="*/ 53568 w 55855"/>
                  <a:gd name="connsiteY5" fmla="*/ 277627 h 286779"/>
                  <a:gd name="connsiteX6" fmla="*/ 53568 w 55855"/>
                  <a:gd name="connsiteY6" fmla="*/ 286780 h 286779"/>
                  <a:gd name="connsiteX7" fmla="*/ 44415 w 55855"/>
                  <a:gd name="connsiteY7" fmla="*/ 286780 h 28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855" h="286779">
                    <a:moveTo>
                      <a:pt x="44415" y="286780"/>
                    </a:moveTo>
                    <a:cubicBezTo>
                      <a:pt x="41364" y="286780"/>
                      <a:pt x="41364" y="286780"/>
                      <a:pt x="41364" y="283729"/>
                    </a:cubicBezTo>
                    <a:cubicBezTo>
                      <a:pt x="-50161" y="173898"/>
                      <a:pt x="38313" y="3051"/>
                      <a:pt x="41364" y="3051"/>
                    </a:cubicBezTo>
                    <a:cubicBezTo>
                      <a:pt x="41364" y="0"/>
                      <a:pt x="47466" y="0"/>
                      <a:pt x="50517" y="0"/>
                    </a:cubicBezTo>
                    <a:cubicBezTo>
                      <a:pt x="53568" y="0"/>
                      <a:pt x="53568" y="6102"/>
                      <a:pt x="53568" y="9153"/>
                    </a:cubicBezTo>
                    <a:cubicBezTo>
                      <a:pt x="53568" y="12203"/>
                      <a:pt x="-34907" y="173898"/>
                      <a:pt x="53568" y="277627"/>
                    </a:cubicBezTo>
                    <a:cubicBezTo>
                      <a:pt x="56619" y="280678"/>
                      <a:pt x="56619" y="283729"/>
                      <a:pt x="53568" y="286780"/>
                    </a:cubicBezTo>
                    <a:cubicBezTo>
                      <a:pt x="47466" y="286780"/>
                      <a:pt x="47466" y="286780"/>
                      <a:pt x="44415" y="28678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7" name="任意多边形: 形状 456">
                <a:extLst>
                  <a:ext uri="{FF2B5EF4-FFF2-40B4-BE49-F238E27FC236}">
                    <a16:creationId xmlns:a16="http://schemas.microsoft.com/office/drawing/2014/main" id="{1DF17BB9-7266-4135-98DD-385977C10643}"/>
                  </a:ext>
                </a:extLst>
              </p:cNvPr>
              <p:cNvSpPr/>
              <p:nvPr/>
            </p:nvSpPr>
            <p:spPr>
              <a:xfrm>
                <a:off x="5720509" y="4070871"/>
                <a:ext cx="173311" cy="335593"/>
              </a:xfrm>
              <a:custGeom>
                <a:avLst/>
                <a:gdLst>
                  <a:gd name="connsiteX0" fmla="*/ 6102 w 173311"/>
                  <a:gd name="connsiteY0" fmla="*/ 335593 h 335593"/>
                  <a:gd name="connsiteX1" fmla="*/ 0 w 173311"/>
                  <a:gd name="connsiteY1" fmla="*/ 332542 h 335593"/>
                  <a:gd name="connsiteX2" fmla="*/ 3051 w 173311"/>
                  <a:gd name="connsiteY2" fmla="*/ 326441 h 335593"/>
                  <a:gd name="connsiteX3" fmla="*/ 137288 w 173311"/>
                  <a:gd name="connsiteY3" fmla="*/ 234915 h 335593"/>
                  <a:gd name="connsiteX4" fmla="*/ 143390 w 173311"/>
                  <a:gd name="connsiteY4" fmla="*/ 6102 h 335593"/>
                  <a:gd name="connsiteX5" fmla="*/ 146441 w 173311"/>
                  <a:gd name="connsiteY5" fmla="*/ 0 h 335593"/>
                  <a:gd name="connsiteX6" fmla="*/ 152542 w 173311"/>
                  <a:gd name="connsiteY6" fmla="*/ 3051 h 335593"/>
                  <a:gd name="connsiteX7" fmla="*/ 146441 w 173311"/>
                  <a:gd name="connsiteY7" fmla="*/ 241017 h 335593"/>
                  <a:gd name="connsiteX8" fmla="*/ 6102 w 173311"/>
                  <a:gd name="connsiteY8" fmla="*/ 335593 h 335593"/>
                  <a:gd name="connsiteX9" fmla="*/ 6102 w 173311"/>
                  <a:gd name="connsiteY9" fmla="*/ 335593 h 335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3311" h="335593">
                    <a:moveTo>
                      <a:pt x="6102" y="335593"/>
                    </a:moveTo>
                    <a:cubicBezTo>
                      <a:pt x="3051" y="335593"/>
                      <a:pt x="0" y="332542"/>
                      <a:pt x="0" y="332542"/>
                    </a:cubicBezTo>
                    <a:cubicBezTo>
                      <a:pt x="0" y="329491"/>
                      <a:pt x="0" y="326441"/>
                      <a:pt x="3051" y="326441"/>
                    </a:cubicBezTo>
                    <a:cubicBezTo>
                      <a:pt x="67119" y="311186"/>
                      <a:pt x="112882" y="280678"/>
                      <a:pt x="137288" y="234915"/>
                    </a:cubicBezTo>
                    <a:cubicBezTo>
                      <a:pt x="189153" y="140339"/>
                      <a:pt x="143390" y="6102"/>
                      <a:pt x="143390" y="6102"/>
                    </a:cubicBezTo>
                    <a:cubicBezTo>
                      <a:pt x="143390" y="3051"/>
                      <a:pt x="143390" y="0"/>
                      <a:pt x="146441" y="0"/>
                    </a:cubicBezTo>
                    <a:cubicBezTo>
                      <a:pt x="149492" y="0"/>
                      <a:pt x="152542" y="0"/>
                      <a:pt x="152542" y="3051"/>
                    </a:cubicBezTo>
                    <a:cubicBezTo>
                      <a:pt x="155593" y="9152"/>
                      <a:pt x="201356" y="140339"/>
                      <a:pt x="146441" y="241017"/>
                    </a:cubicBezTo>
                    <a:cubicBezTo>
                      <a:pt x="122034" y="289831"/>
                      <a:pt x="76271" y="323390"/>
                      <a:pt x="6102" y="335593"/>
                    </a:cubicBezTo>
                    <a:cubicBezTo>
                      <a:pt x="6102" y="335593"/>
                      <a:pt x="6102" y="335593"/>
                      <a:pt x="6102" y="33559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58" name="图形 1">
              <a:extLst>
                <a:ext uri="{FF2B5EF4-FFF2-40B4-BE49-F238E27FC236}">
                  <a16:creationId xmlns:a16="http://schemas.microsoft.com/office/drawing/2014/main" id="{07858376-37E8-482D-A3C7-0D04C69FA559}"/>
                </a:ext>
              </a:extLst>
            </p:cNvPr>
            <p:cNvGrpSpPr/>
            <p:nvPr/>
          </p:nvGrpSpPr>
          <p:grpSpPr>
            <a:xfrm>
              <a:off x="5397119" y="2642842"/>
              <a:ext cx="170349" cy="140667"/>
              <a:chOff x="5397119" y="2642842"/>
              <a:chExt cx="170349" cy="140667"/>
            </a:xfrm>
          </p:grpSpPr>
          <p:sp>
            <p:nvSpPr>
              <p:cNvPr id="459" name="任意多边形: 形状 458">
                <a:extLst>
                  <a:ext uri="{FF2B5EF4-FFF2-40B4-BE49-F238E27FC236}">
                    <a16:creationId xmlns:a16="http://schemas.microsoft.com/office/drawing/2014/main" id="{CAFC521A-E1FC-488D-BEA9-34F1967BBDDF}"/>
                  </a:ext>
                </a:extLst>
              </p:cNvPr>
              <p:cNvSpPr/>
              <p:nvPr/>
            </p:nvSpPr>
            <p:spPr>
              <a:xfrm>
                <a:off x="5410333" y="2647634"/>
                <a:ext cx="157135" cy="135875"/>
              </a:xfrm>
              <a:custGeom>
                <a:avLst/>
                <a:gdLst>
                  <a:gd name="connsiteX0" fmla="*/ 2040 w 157135"/>
                  <a:gd name="connsiteY0" fmla="*/ 71711 h 135875"/>
                  <a:gd name="connsiteX1" fmla="*/ 32549 w 157135"/>
                  <a:gd name="connsiteY1" fmla="*/ 65610 h 135875"/>
                  <a:gd name="connsiteX2" fmla="*/ 96617 w 157135"/>
                  <a:gd name="connsiteY2" fmla="*/ 77813 h 135875"/>
                  <a:gd name="connsiteX3" fmla="*/ 108820 w 157135"/>
                  <a:gd name="connsiteY3" fmla="*/ 135779 h 135875"/>
                  <a:gd name="connsiteX4" fmla="*/ 154583 w 157135"/>
                  <a:gd name="connsiteY4" fmla="*/ 50355 h 135875"/>
                  <a:gd name="connsiteX5" fmla="*/ 53905 w 157135"/>
                  <a:gd name="connsiteY5" fmla="*/ 1542 h 135875"/>
                  <a:gd name="connsiteX6" fmla="*/ 2040 w 157135"/>
                  <a:gd name="connsiteY6" fmla="*/ 71711 h 135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7135" h="135875">
                    <a:moveTo>
                      <a:pt x="2040" y="71711"/>
                    </a:moveTo>
                    <a:cubicBezTo>
                      <a:pt x="8142" y="80864"/>
                      <a:pt x="23396" y="68661"/>
                      <a:pt x="32549" y="65610"/>
                    </a:cubicBezTo>
                    <a:cubicBezTo>
                      <a:pt x="56956" y="62559"/>
                      <a:pt x="75261" y="62559"/>
                      <a:pt x="96617" y="77813"/>
                    </a:cubicBezTo>
                    <a:cubicBezTo>
                      <a:pt x="108820" y="86966"/>
                      <a:pt x="75261" y="102220"/>
                      <a:pt x="108820" y="135779"/>
                    </a:cubicBezTo>
                    <a:cubicBezTo>
                      <a:pt x="111871" y="138830"/>
                      <a:pt x="169837" y="68661"/>
                      <a:pt x="154583" y="50355"/>
                    </a:cubicBezTo>
                    <a:cubicBezTo>
                      <a:pt x="136278" y="25949"/>
                      <a:pt x="87464" y="-7611"/>
                      <a:pt x="53905" y="1542"/>
                    </a:cubicBezTo>
                    <a:cubicBezTo>
                      <a:pt x="35600" y="10694"/>
                      <a:pt x="-10163" y="50355"/>
                      <a:pt x="2040" y="71711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0" name="任意多边形: 形状 459">
                <a:extLst>
                  <a:ext uri="{FF2B5EF4-FFF2-40B4-BE49-F238E27FC236}">
                    <a16:creationId xmlns:a16="http://schemas.microsoft.com/office/drawing/2014/main" id="{40073C60-FAF8-46C8-B638-7702D161EED5}"/>
                  </a:ext>
                </a:extLst>
              </p:cNvPr>
              <p:cNvSpPr/>
              <p:nvPr/>
            </p:nvSpPr>
            <p:spPr>
              <a:xfrm>
                <a:off x="5397119" y="2642842"/>
                <a:ext cx="167033" cy="140571"/>
              </a:xfrm>
              <a:custGeom>
                <a:avLst/>
                <a:gdLst>
                  <a:gd name="connsiteX0" fmla="*/ 109830 w 167033"/>
                  <a:gd name="connsiteY0" fmla="*/ 140571 h 140571"/>
                  <a:gd name="connsiteX1" fmla="*/ 103729 w 167033"/>
                  <a:gd name="connsiteY1" fmla="*/ 137521 h 140571"/>
                  <a:gd name="connsiteX2" fmla="*/ 97627 w 167033"/>
                  <a:gd name="connsiteY2" fmla="*/ 85656 h 140571"/>
                  <a:gd name="connsiteX3" fmla="*/ 36610 w 167033"/>
                  <a:gd name="connsiteY3" fmla="*/ 79554 h 140571"/>
                  <a:gd name="connsiteX4" fmla="*/ 6102 w 167033"/>
                  <a:gd name="connsiteY4" fmla="*/ 79554 h 140571"/>
                  <a:gd name="connsiteX5" fmla="*/ 0 w 167033"/>
                  <a:gd name="connsiteY5" fmla="*/ 61249 h 140571"/>
                  <a:gd name="connsiteX6" fmla="*/ 57966 w 167033"/>
                  <a:gd name="connsiteY6" fmla="*/ 3283 h 140571"/>
                  <a:gd name="connsiteX7" fmla="*/ 164746 w 167033"/>
                  <a:gd name="connsiteY7" fmla="*/ 52097 h 140571"/>
                  <a:gd name="connsiteX8" fmla="*/ 164746 w 167033"/>
                  <a:gd name="connsiteY8" fmla="*/ 61249 h 140571"/>
                  <a:gd name="connsiteX9" fmla="*/ 155593 w 167033"/>
                  <a:gd name="connsiteY9" fmla="*/ 61249 h 140571"/>
                  <a:gd name="connsiteX10" fmla="*/ 61017 w 167033"/>
                  <a:gd name="connsiteY10" fmla="*/ 15487 h 140571"/>
                  <a:gd name="connsiteX11" fmla="*/ 9153 w 167033"/>
                  <a:gd name="connsiteY11" fmla="*/ 64300 h 140571"/>
                  <a:gd name="connsiteX12" fmla="*/ 12203 w 167033"/>
                  <a:gd name="connsiteY12" fmla="*/ 70402 h 140571"/>
                  <a:gd name="connsiteX13" fmla="*/ 33559 w 167033"/>
                  <a:gd name="connsiteY13" fmla="*/ 67351 h 140571"/>
                  <a:gd name="connsiteX14" fmla="*/ 106780 w 167033"/>
                  <a:gd name="connsiteY14" fmla="*/ 76504 h 140571"/>
                  <a:gd name="connsiteX15" fmla="*/ 109830 w 167033"/>
                  <a:gd name="connsiteY15" fmla="*/ 79554 h 140571"/>
                  <a:gd name="connsiteX16" fmla="*/ 109830 w 167033"/>
                  <a:gd name="connsiteY16" fmla="*/ 82605 h 140571"/>
                  <a:gd name="connsiteX17" fmla="*/ 112882 w 167033"/>
                  <a:gd name="connsiteY17" fmla="*/ 128368 h 140571"/>
                  <a:gd name="connsiteX18" fmla="*/ 112882 w 167033"/>
                  <a:gd name="connsiteY18" fmla="*/ 137521 h 140571"/>
                  <a:gd name="connsiteX19" fmla="*/ 109830 w 167033"/>
                  <a:gd name="connsiteY19" fmla="*/ 140571 h 140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67033" h="140571">
                    <a:moveTo>
                      <a:pt x="109830" y="140571"/>
                    </a:moveTo>
                    <a:cubicBezTo>
                      <a:pt x="106780" y="140571"/>
                      <a:pt x="106780" y="140571"/>
                      <a:pt x="103729" y="137521"/>
                    </a:cubicBezTo>
                    <a:cubicBezTo>
                      <a:pt x="91525" y="122266"/>
                      <a:pt x="97627" y="94809"/>
                      <a:pt x="97627" y="85656"/>
                    </a:cubicBezTo>
                    <a:cubicBezTo>
                      <a:pt x="76271" y="70402"/>
                      <a:pt x="54915" y="76504"/>
                      <a:pt x="36610" y="79554"/>
                    </a:cubicBezTo>
                    <a:cubicBezTo>
                      <a:pt x="24407" y="82605"/>
                      <a:pt x="12203" y="85656"/>
                      <a:pt x="6102" y="79554"/>
                    </a:cubicBezTo>
                    <a:cubicBezTo>
                      <a:pt x="0" y="76504"/>
                      <a:pt x="0" y="70402"/>
                      <a:pt x="0" y="61249"/>
                    </a:cubicBezTo>
                    <a:cubicBezTo>
                      <a:pt x="3051" y="42944"/>
                      <a:pt x="24407" y="15487"/>
                      <a:pt x="57966" y="3283"/>
                    </a:cubicBezTo>
                    <a:cubicBezTo>
                      <a:pt x="103729" y="-15022"/>
                      <a:pt x="161695" y="49046"/>
                      <a:pt x="164746" y="52097"/>
                    </a:cubicBezTo>
                    <a:cubicBezTo>
                      <a:pt x="167797" y="55148"/>
                      <a:pt x="167797" y="58198"/>
                      <a:pt x="164746" y="61249"/>
                    </a:cubicBezTo>
                    <a:cubicBezTo>
                      <a:pt x="161695" y="64300"/>
                      <a:pt x="158644" y="64300"/>
                      <a:pt x="155593" y="61249"/>
                    </a:cubicBezTo>
                    <a:cubicBezTo>
                      <a:pt x="155593" y="61249"/>
                      <a:pt x="97627" y="232"/>
                      <a:pt x="61017" y="15487"/>
                    </a:cubicBezTo>
                    <a:cubicBezTo>
                      <a:pt x="30508" y="27690"/>
                      <a:pt x="12203" y="49046"/>
                      <a:pt x="9153" y="64300"/>
                    </a:cubicBezTo>
                    <a:cubicBezTo>
                      <a:pt x="9153" y="70402"/>
                      <a:pt x="9153" y="70402"/>
                      <a:pt x="12203" y="70402"/>
                    </a:cubicBezTo>
                    <a:cubicBezTo>
                      <a:pt x="15254" y="73453"/>
                      <a:pt x="24407" y="70402"/>
                      <a:pt x="33559" y="67351"/>
                    </a:cubicBezTo>
                    <a:cubicBezTo>
                      <a:pt x="54915" y="61249"/>
                      <a:pt x="79322" y="55148"/>
                      <a:pt x="106780" y="76504"/>
                    </a:cubicBezTo>
                    <a:lnTo>
                      <a:pt x="109830" y="79554"/>
                    </a:lnTo>
                    <a:lnTo>
                      <a:pt x="109830" y="82605"/>
                    </a:lnTo>
                    <a:cubicBezTo>
                      <a:pt x="109830" y="82605"/>
                      <a:pt x="100678" y="113114"/>
                      <a:pt x="112882" y="128368"/>
                    </a:cubicBezTo>
                    <a:cubicBezTo>
                      <a:pt x="115932" y="131419"/>
                      <a:pt x="112882" y="134470"/>
                      <a:pt x="112882" y="137521"/>
                    </a:cubicBezTo>
                    <a:cubicBezTo>
                      <a:pt x="112882" y="140571"/>
                      <a:pt x="112882" y="140571"/>
                      <a:pt x="109830" y="14057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40334916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B33D0E41-AF93-4B8B-8A9E-F8D2C86A9D19}"/>
              </a:ext>
            </a:extLst>
          </p:cNvPr>
          <p:cNvGrpSpPr/>
          <p:nvPr/>
        </p:nvGrpSpPr>
        <p:grpSpPr>
          <a:xfrm>
            <a:off x="2869609" y="1922280"/>
            <a:ext cx="2903553" cy="4833939"/>
            <a:chOff x="9055938" y="1750830"/>
            <a:chExt cx="2903553" cy="4833939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F575CD3C-3B00-4E3C-9172-5005A104E773}"/>
                </a:ext>
              </a:extLst>
            </p:cNvPr>
            <p:cNvSpPr/>
            <p:nvPr/>
          </p:nvSpPr>
          <p:spPr>
            <a:xfrm>
              <a:off x="9236346" y="4089176"/>
              <a:ext cx="1241267" cy="2275169"/>
            </a:xfrm>
            <a:custGeom>
              <a:avLst/>
              <a:gdLst>
                <a:gd name="connsiteX0" fmla="*/ 1032977 w 1241267"/>
                <a:gd name="connsiteY0" fmla="*/ 18305 h 2275169"/>
                <a:gd name="connsiteX1" fmla="*/ 1240435 w 1241267"/>
                <a:gd name="connsiteY1" fmla="*/ 1391186 h 2275169"/>
                <a:gd name="connsiteX2" fmla="*/ 975011 w 1241267"/>
                <a:gd name="connsiteY2" fmla="*/ 2221017 h 2275169"/>
                <a:gd name="connsiteX3" fmla="*/ 752299 w 1241267"/>
                <a:gd name="connsiteY3" fmla="*/ 2245424 h 2275169"/>
                <a:gd name="connsiteX4" fmla="*/ 822468 w 1241267"/>
                <a:gd name="connsiteY4" fmla="*/ 1452203 h 2275169"/>
                <a:gd name="connsiteX5" fmla="*/ 535689 w 1241267"/>
                <a:gd name="connsiteY5" fmla="*/ 500339 h 2275169"/>
                <a:gd name="connsiteX6" fmla="*/ 602807 w 1241267"/>
                <a:gd name="connsiteY6" fmla="*/ 1436949 h 2275169"/>
                <a:gd name="connsiteX7" fmla="*/ 273316 w 1241267"/>
                <a:gd name="connsiteY7" fmla="*/ 2239322 h 2275169"/>
                <a:gd name="connsiteX8" fmla="*/ 75011 w 1241267"/>
                <a:gd name="connsiteY8" fmla="*/ 2233221 h 2275169"/>
                <a:gd name="connsiteX9" fmla="*/ 139079 w 1241267"/>
                <a:gd name="connsiteY9" fmla="*/ 1446102 h 2275169"/>
                <a:gd name="connsiteX10" fmla="*/ 7892 w 1241267"/>
                <a:gd name="connsiteY10" fmla="*/ 0 h 2275169"/>
                <a:gd name="connsiteX11" fmla="*/ 1032977 w 1241267"/>
                <a:gd name="connsiteY11" fmla="*/ 18305 h 2275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41267" h="2275169">
                  <a:moveTo>
                    <a:pt x="1032977" y="18305"/>
                  </a:moveTo>
                  <a:cubicBezTo>
                    <a:pt x="1032977" y="18305"/>
                    <a:pt x="1219078" y="1034237"/>
                    <a:pt x="1240435" y="1391186"/>
                  </a:cubicBezTo>
                  <a:cubicBezTo>
                    <a:pt x="1255689" y="1613898"/>
                    <a:pt x="1057384" y="2105085"/>
                    <a:pt x="975011" y="2221017"/>
                  </a:cubicBezTo>
                  <a:cubicBezTo>
                    <a:pt x="935350" y="2278983"/>
                    <a:pt x="801112" y="2275932"/>
                    <a:pt x="752299" y="2245424"/>
                  </a:cubicBezTo>
                  <a:cubicBezTo>
                    <a:pt x="630265" y="2187458"/>
                    <a:pt x="807214" y="1528475"/>
                    <a:pt x="822468" y="1452203"/>
                  </a:cubicBezTo>
                  <a:cubicBezTo>
                    <a:pt x="840774" y="1369831"/>
                    <a:pt x="544841" y="515593"/>
                    <a:pt x="535689" y="500339"/>
                  </a:cubicBezTo>
                  <a:cubicBezTo>
                    <a:pt x="520435" y="469831"/>
                    <a:pt x="618062" y="1202034"/>
                    <a:pt x="602807" y="1436949"/>
                  </a:cubicBezTo>
                  <a:cubicBezTo>
                    <a:pt x="590604" y="1647457"/>
                    <a:pt x="398401" y="2178305"/>
                    <a:pt x="273316" y="2239322"/>
                  </a:cubicBezTo>
                  <a:cubicBezTo>
                    <a:pt x="218401" y="2285085"/>
                    <a:pt x="117723" y="2291187"/>
                    <a:pt x="75011" y="2233221"/>
                  </a:cubicBezTo>
                  <a:cubicBezTo>
                    <a:pt x="-13464" y="2114237"/>
                    <a:pt x="145180" y="1543729"/>
                    <a:pt x="139079" y="1446102"/>
                  </a:cubicBezTo>
                  <a:cubicBezTo>
                    <a:pt x="129926" y="1293559"/>
                    <a:pt x="-37871" y="97627"/>
                    <a:pt x="7892" y="0"/>
                  </a:cubicBezTo>
                  <a:cubicBezTo>
                    <a:pt x="709587" y="30508"/>
                    <a:pt x="1032977" y="18305"/>
                    <a:pt x="1032977" y="18305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FC18E107-40A5-40B9-99ED-54B5050A1C72}"/>
                </a:ext>
              </a:extLst>
            </p:cNvPr>
            <p:cNvSpPr/>
            <p:nvPr/>
          </p:nvSpPr>
          <p:spPr>
            <a:xfrm>
              <a:off x="9765933" y="4229515"/>
              <a:ext cx="70169" cy="366101"/>
            </a:xfrm>
            <a:custGeom>
              <a:avLst/>
              <a:gdLst>
                <a:gd name="connsiteX0" fmla="*/ 6102 w 70169"/>
                <a:gd name="connsiteY0" fmla="*/ 366102 h 366101"/>
                <a:gd name="connsiteX1" fmla="*/ 6102 w 70169"/>
                <a:gd name="connsiteY1" fmla="*/ 366102 h 366101"/>
                <a:gd name="connsiteX2" fmla="*/ 0 w 70169"/>
                <a:gd name="connsiteY2" fmla="*/ 356949 h 366101"/>
                <a:gd name="connsiteX3" fmla="*/ 57966 w 70169"/>
                <a:gd name="connsiteY3" fmla="*/ 6102 h 366101"/>
                <a:gd name="connsiteX4" fmla="*/ 64068 w 70169"/>
                <a:gd name="connsiteY4" fmla="*/ 0 h 366101"/>
                <a:gd name="connsiteX5" fmla="*/ 70170 w 70169"/>
                <a:gd name="connsiteY5" fmla="*/ 6102 h 366101"/>
                <a:gd name="connsiteX6" fmla="*/ 12203 w 70169"/>
                <a:gd name="connsiteY6" fmla="*/ 360000 h 366101"/>
                <a:gd name="connsiteX7" fmla="*/ 6102 w 70169"/>
                <a:gd name="connsiteY7" fmla="*/ 366102 h 36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169" h="366101">
                  <a:moveTo>
                    <a:pt x="6102" y="366102"/>
                  </a:moveTo>
                  <a:cubicBezTo>
                    <a:pt x="6102" y="366102"/>
                    <a:pt x="6102" y="366102"/>
                    <a:pt x="6102" y="366102"/>
                  </a:cubicBezTo>
                  <a:cubicBezTo>
                    <a:pt x="0" y="363051"/>
                    <a:pt x="0" y="360000"/>
                    <a:pt x="0" y="356949"/>
                  </a:cubicBezTo>
                  <a:cubicBezTo>
                    <a:pt x="48813" y="244068"/>
                    <a:pt x="57966" y="9153"/>
                    <a:pt x="57966" y="6102"/>
                  </a:cubicBezTo>
                  <a:cubicBezTo>
                    <a:pt x="57966" y="3051"/>
                    <a:pt x="61017" y="0"/>
                    <a:pt x="64068" y="0"/>
                  </a:cubicBezTo>
                  <a:cubicBezTo>
                    <a:pt x="67119" y="0"/>
                    <a:pt x="70170" y="3051"/>
                    <a:pt x="70170" y="6102"/>
                  </a:cubicBezTo>
                  <a:cubicBezTo>
                    <a:pt x="70170" y="15254"/>
                    <a:pt x="61017" y="244068"/>
                    <a:pt x="12203" y="360000"/>
                  </a:cubicBezTo>
                  <a:cubicBezTo>
                    <a:pt x="12203" y="366102"/>
                    <a:pt x="9153" y="366102"/>
                    <a:pt x="6102" y="366102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7AF22B8C-229F-41D0-8C5F-9718CC23E18D}"/>
                </a:ext>
              </a:extLst>
            </p:cNvPr>
            <p:cNvSpPr/>
            <p:nvPr/>
          </p:nvSpPr>
          <p:spPr>
            <a:xfrm>
              <a:off x="9795177" y="4162397"/>
              <a:ext cx="156856" cy="356949"/>
            </a:xfrm>
            <a:custGeom>
              <a:avLst/>
              <a:gdLst>
                <a:gd name="connsiteX0" fmla="*/ 7365 w 156856"/>
                <a:gd name="connsiteY0" fmla="*/ 356949 h 356949"/>
                <a:gd name="connsiteX1" fmla="*/ 1264 w 156856"/>
                <a:gd name="connsiteY1" fmla="*/ 353898 h 356949"/>
                <a:gd name="connsiteX2" fmla="*/ 4314 w 156856"/>
                <a:gd name="connsiteY2" fmla="*/ 344746 h 356949"/>
                <a:gd name="connsiteX3" fmla="*/ 111094 w 156856"/>
                <a:gd name="connsiteY3" fmla="*/ 268474 h 356949"/>
                <a:gd name="connsiteX4" fmla="*/ 144654 w 156856"/>
                <a:gd name="connsiteY4" fmla="*/ 6102 h 356949"/>
                <a:gd name="connsiteX5" fmla="*/ 150755 w 156856"/>
                <a:gd name="connsiteY5" fmla="*/ 0 h 356949"/>
                <a:gd name="connsiteX6" fmla="*/ 156857 w 156856"/>
                <a:gd name="connsiteY6" fmla="*/ 6102 h 356949"/>
                <a:gd name="connsiteX7" fmla="*/ 123298 w 156856"/>
                <a:gd name="connsiteY7" fmla="*/ 274576 h 356949"/>
                <a:gd name="connsiteX8" fmla="*/ 13467 w 156856"/>
                <a:gd name="connsiteY8" fmla="*/ 353898 h 356949"/>
                <a:gd name="connsiteX9" fmla="*/ 7365 w 156856"/>
                <a:gd name="connsiteY9" fmla="*/ 356949 h 35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856" h="356949">
                  <a:moveTo>
                    <a:pt x="7365" y="356949"/>
                  </a:moveTo>
                  <a:cubicBezTo>
                    <a:pt x="4314" y="356949"/>
                    <a:pt x="4314" y="356949"/>
                    <a:pt x="1264" y="353898"/>
                  </a:cubicBezTo>
                  <a:cubicBezTo>
                    <a:pt x="-1787" y="350847"/>
                    <a:pt x="1264" y="347796"/>
                    <a:pt x="4314" y="344746"/>
                  </a:cubicBezTo>
                  <a:cubicBezTo>
                    <a:pt x="43975" y="320339"/>
                    <a:pt x="101942" y="277627"/>
                    <a:pt x="111094" y="268474"/>
                  </a:cubicBezTo>
                  <a:cubicBezTo>
                    <a:pt x="120247" y="256271"/>
                    <a:pt x="135501" y="100678"/>
                    <a:pt x="144654" y="6102"/>
                  </a:cubicBezTo>
                  <a:cubicBezTo>
                    <a:pt x="144654" y="3051"/>
                    <a:pt x="147705" y="0"/>
                    <a:pt x="150755" y="0"/>
                  </a:cubicBezTo>
                  <a:cubicBezTo>
                    <a:pt x="153806" y="0"/>
                    <a:pt x="156857" y="3051"/>
                    <a:pt x="156857" y="6102"/>
                  </a:cubicBezTo>
                  <a:cubicBezTo>
                    <a:pt x="153806" y="48814"/>
                    <a:pt x="132450" y="259322"/>
                    <a:pt x="123298" y="274576"/>
                  </a:cubicBezTo>
                  <a:cubicBezTo>
                    <a:pt x="111094" y="289831"/>
                    <a:pt x="22620" y="347796"/>
                    <a:pt x="13467" y="353898"/>
                  </a:cubicBezTo>
                  <a:cubicBezTo>
                    <a:pt x="7365" y="356949"/>
                    <a:pt x="7365" y="356949"/>
                    <a:pt x="7365" y="356949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0C2030EC-B9FD-4359-B84B-A7023173CE8E}"/>
                </a:ext>
              </a:extLst>
            </p:cNvPr>
            <p:cNvGrpSpPr/>
            <p:nvPr/>
          </p:nvGrpSpPr>
          <p:grpSpPr>
            <a:xfrm>
              <a:off x="9277201" y="6255278"/>
              <a:ext cx="525342" cy="329491"/>
              <a:chOff x="9277201" y="6255278"/>
              <a:chExt cx="525342" cy="329491"/>
            </a:xfrm>
          </p:grpSpPr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749D397F-30FB-4848-94FE-244D94FFFF15}"/>
                  </a:ext>
                </a:extLst>
              </p:cNvPr>
              <p:cNvSpPr/>
              <p:nvPr/>
            </p:nvSpPr>
            <p:spPr>
              <a:xfrm>
                <a:off x="9314407" y="6539007"/>
                <a:ext cx="488135" cy="45762"/>
              </a:xfrm>
              <a:custGeom>
                <a:avLst/>
                <a:gdLst>
                  <a:gd name="connsiteX0" fmla="*/ 0 w 488135"/>
                  <a:gd name="connsiteY0" fmla="*/ 0 h 45762"/>
                  <a:gd name="connsiteX1" fmla="*/ 488136 w 488135"/>
                  <a:gd name="connsiteY1" fmla="*/ 0 h 45762"/>
                  <a:gd name="connsiteX2" fmla="*/ 488136 w 488135"/>
                  <a:gd name="connsiteY2" fmla="*/ 45763 h 45762"/>
                  <a:gd name="connsiteX3" fmla="*/ 0 w 488135"/>
                  <a:gd name="connsiteY3" fmla="*/ 45763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5" h="45762">
                    <a:moveTo>
                      <a:pt x="0" y="0"/>
                    </a:moveTo>
                    <a:lnTo>
                      <a:pt x="488136" y="0"/>
                    </a:lnTo>
                    <a:lnTo>
                      <a:pt x="488136" y="45763"/>
                    </a:lnTo>
                    <a:lnTo>
                      <a:pt x="0" y="45763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65A7651C-459E-4EB1-83E4-81CDA2820A61}"/>
                  </a:ext>
                </a:extLst>
              </p:cNvPr>
              <p:cNvSpPr/>
              <p:nvPr/>
            </p:nvSpPr>
            <p:spPr>
              <a:xfrm>
                <a:off x="9277201" y="6255278"/>
                <a:ext cx="525342" cy="286779"/>
              </a:xfrm>
              <a:custGeom>
                <a:avLst/>
                <a:gdLst>
                  <a:gd name="connsiteX0" fmla="*/ 597 w 525342"/>
                  <a:gd name="connsiteY0" fmla="*/ 0 h 286779"/>
                  <a:gd name="connsiteX1" fmla="*/ 339240 w 525342"/>
                  <a:gd name="connsiteY1" fmla="*/ 18305 h 286779"/>
                  <a:gd name="connsiteX2" fmla="*/ 299580 w 525342"/>
                  <a:gd name="connsiteY2" fmla="*/ 158644 h 286779"/>
                  <a:gd name="connsiteX3" fmla="*/ 357546 w 525342"/>
                  <a:gd name="connsiteY3" fmla="*/ 180000 h 286779"/>
                  <a:gd name="connsiteX4" fmla="*/ 525342 w 525342"/>
                  <a:gd name="connsiteY4" fmla="*/ 286780 h 286779"/>
                  <a:gd name="connsiteX5" fmla="*/ 37207 w 525342"/>
                  <a:gd name="connsiteY5" fmla="*/ 286780 h 286779"/>
                  <a:gd name="connsiteX6" fmla="*/ 597 w 525342"/>
                  <a:gd name="connsiteY6" fmla="*/ 0 h 28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5342" h="286779">
                    <a:moveTo>
                      <a:pt x="597" y="0"/>
                    </a:moveTo>
                    <a:lnTo>
                      <a:pt x="339240" y="18305"/>
                    </a:lnTo>
                    <a:lnTo>
                      <a:pt x="299580" y="158644"/>
                    </a:lnTo>
                    <a:cubicBezTo>
                      <a:pt x="320936" y="167797"/>
                      <a:pt x="339240" y="173899"/>
                      <a:pt x="357546" y="180000"/>
                    </a:cubicBezTo>
                    <a:cubicBezTo>
                      <a:pt x="400257" y="195255"/>
                      <a:pt x="513139" y="213559"/>
                      <a:pt x="525342" y="286780"/>
                    </a:cubicBezTo>
                    <a:lnTo>
                      <a:pt x="37207" y="286780"/>
                    </a:lnTo>
                    <a:cubicBezTo>
                      <a:pt x="37207" y="283729"/>
                      <a:pt x="-5505" y="192203"/>
                      <a:pt x="597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3947C84A-8875-4297-AE73-1FBD77EFB9EF}"/>
                </a:ext>
              </a:extLst>
            </p:cNvPr>
            <p:cNvGrpSpPr/>
            <p:nvPr/>
          </p:nvGrpSpPr>
          <p:grpSpPr>
            <a:xfrm>
              <a:off x="9916187" y="6255278"/>
              <a:ext cx="493474" cy="329491"/>
              <a:chOff x="9916187" y="6255278"/>
              <a:chExt cx="493474" cy="329491"/>
            </a:xfrm>
          </p:grpSpPr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7938A1AF-D7EF-430C-834C-35DA934A0B9D}"/>
                  </a:ext>
                </a:extLst>
              </p:cNvPr>
              <p:cNvSpPr/>
              <p:nvPr/>
            </p:nvSpPr>
            <p:spPr>
              <a:xfrm>
                <a:off x="9918475" y="6539007"/>
                <a:ext cx="488135" cy="45762"/>
              </a:xfrm>
              <a:custGeom>
                <a:avLst/>
                <a:gdLst>
                  <a:gd name="connsiteX0" fmla="*/ 0 w 488135"/>
                  <a:gd name="connsiteY0" fmla="*/ 0 h 45762"/>
                  <a:gd name="connsiteX1" fmla="*/ 488135 w 488135"/>
                  <a:gd name="connsiteY1" fmla="*/ 0 h 45762"/>
                  <a:gd name="connsiteX2" fmla="*/ 488135 w 488135"/>
                  <a:gd name="connsiteY2" fmla="*/ 45763 h 45762"/>
                  <a:gd name="connsiteX3" fmla="*/ 0 w 488135"/>
                  <a:gd name="connsiteY3" fmla="*/ 45763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5" h="45762">
                    <a:moveTo>
                      <a:pt x="0" y="0"/>
                    </a:moveTo>
                    <a:lnTo>
                      <a:pt x="488135" y="0"/>
                    </a:lnTo>
                    <a:lnTo>
                      <a:pt x="488135" y="45763"/>
                    </a:lnTo>
                    <a:lnTo>
                      <a:pt x="0" y="45763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F1CD4EC4-AC2C-40F3-AAB2-288E155537B2}"/>
                  </a:ext>
                </a:extLst>
              </p:cNvPr>
              <p:cNvSpPr/>
              <p:nvPr/>
            </p:nvSpPr>
            <p:spPr>
              <a:xfrm>
                <a:off x="9916187" y="6255278"/>
                <a:ext cx="493474" cy="286779"/>
              </a:xfrm>
              <a:custGeom>
                <a:avLst/>
                <a:gdLst>
                  <a:gd name="connsiteX0" fmla="*/ 17543 w 493474"/>
                  <a:gd name="connsiteY0" fmla="*/ 0 h 286779"/>
                  <a:gd name="connsiteX1" fmla="*/ 328729 w 493474"/>
                  <a:gd name="connsiteY1" fmla="*/ 24407 h 286779"/>
                  <a:gd name="connsiteX2" fmla="*/ 267712 w 493474"/>
                  <a:gd name="connsiteY2" fmla="*/ 158644 h 286779"/>
                  <a:gd name="connsiteX3" fmla="*/ 325678 w 493474"/>
                  <a:gd name="connsiteY3" fmla="*/ 180000 h 286779"/>
                  <a:gd name="connsiteX4" fmla="*/ 493474 w 493474"/>
                  <a:gd name="connsiteY4" fmla="*/ 286780 h 286779"/>
                  <a:gd name="connsiteX5" fmla="*/ 5339 w 493474"/>
                  <a:gd name="connsiteY5" fmla="*/ 286780 h 286779"/>
                  <a:gd name="connsiteX6" fmla="*/ 17543 w 493474"/>
                  <a:gd name="connsiteY6" fmla="*/ 0 h 28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93474" h="286779">
                    <a:moveTo>
                      <a:pt x="17543" y="0"/>
                    </a:moveTo>
                    <a:lnTo>
                      <a:pt x="328729" y="24407"/>
                    </a:lnTo>
                    <a:lnTo>
                      <a:pt x="267712" y="158644"/>
                    </a:lnTo>
                    <a:cubicBezTo>
                      <a:pt x="289068" y="167797"/>
                      <a:pt x="307373" y="173899"/>
                      <a:pt x="325678" y="180000"/>
                    </a:cubicBezTo>
                    <a:cubicBezTo>
                      <a:pt x="368390" y="195255"/>
                      <a:pt x="481271" y="213559"/>
                      <a:pt x="493474" y="286780"/>
                    </a:cubicBezTo>
                    <a:lnTo>
                      <a:pt x="5339" y="286780"/>
                    </a:lnTo>
                    <a:cubicBezTo>
                      <a:pt x="2288" y="283729"/>
                      <a:pt x="-9915" y="85424"/>
                      <a:pt x="17543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5BE757C8-1A54-453C-A626-73D352F94D64}"/>
                </a:ext>
              </a:extLst>
            </p:cNvPr>
            <p:cNvSpPr/>
            <p:nvPr/>
          </p:nvSpPr>
          <p:spPr>
            <a:xfrm>
              <a:off x="11364577" y="3232339"/>
              <a:ext cx="377594" cy="213200"/>
            </a:xfrm>
            <a:custGeom>
              <a:avLst/>
              <a:gdLst>
                <a:gd name="connsiteX0" fmla="*/ 305085 w 377594"/>
                <a:gd name="connsiteY0" fmla="*/ 173448 h 213200"/>
                <a:gd name="connsiteX1" fmla="*/ 305085 w 377594"/>
                <a:gd name="connsiteY1" fmla="*/ 5651 h 213200"/>
                <a:gd name="connsiteX2" fmla="*/ 0 w 377594"/>
                <a:gd name="connsiteY2" fmla="*/ 84973 h 213200"/>
                <a:gd name="connsiteX3" fmla="*/ 51864 w 377594"/>
                <a:gd name="connsiteY3" fmla="*/ 194803 h 213200"/>
                <a:gd name="connsiteX4" fmla="*/ 183051 w 377594"/>
                <a:gd name="connsiteY4" fmla="*/ 203956 h 213200"/>
                <a:gd name="connsiteX5" fmla="*/ 305085 w 377594"/>
                <a:gd name="connsiteY5" fmla="*/ 173448 h 21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594" h="213200">
                  <a:moveTo>
                    <a:pt x="305085" y="173448"/>
                  </a:moveTo>
                  <a:cubicBezTo>
                    <a:pt x="436271" y="103278"/>
                    <a:pt x="360000" y="14803"/>
                    <a:pt x="305085" y="5651"/>
                  </a:cubicBezTo>
                  <a:cubicBezTo>
                    <a:pt x="241017" y="-9603"/>
                    <a:pt x="21355" y="2600"/>
                    <a:pt x="0" y="84973"/>
                  </a:cubicBezTo>
                  <a:cubicBezTo>
                    <a:pt x="0" y="84973"/>
                    <a:pt x="27457" y="173448"/>
                    <a:pt x="51864" y="194803"/>
                  </a:cubicBezTo>
                  <a:cubicBezTo>
                    <a:pt x="91525" y="225312"/>
                    <a:pt x="137288" y="210058"/>
                    <a:pt x="183051" y="203956"/>
                  </a:cubicBezTo>
                  <a:cubicBezTo>
                    <a:pt x="213559" y="197854"/>
                    <a:pt x="289831" y="179549"/>
                    <a:pt x="305085" y="173448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5ECBCE06-9C4B-4C0C-9101-825BDD74EB65}"/>
                </a:ext>
              </a:extLst>
            </p:cNvPr>
            <p:cNvSpPr/>
            <p:nvPr/>
          </p:nvSpPr>
          <p:spPr>
            <a:xfrm>
              <a:off x="10000490" y="2687993"/>
              <a:ext cx="1419002" cy="963805"/>
            </a:xfrm>
            <a:custGeom>
              <a:avLst/>
              <a:gdLst>
                <a:gd name="connsiteX0" fmla="*/ 46121 w 1419002"/>
                <a:gd name="connsiteY0" fmla="*/ 19150 h 963805"/>
                <a:gd name="connsiteX1" fmla="*/ 509850 w 1419002"/>
                <a:gd name="connsiteY1" fmla="*/ 247963 h 963805"/>
                <a:gd name="connsiteX2" fmla="*/ 808833 w 1419002"/>
                <a:gd name="connsiteY2" fmla="*/ 604913 h 963805"/>
                <a:gd name="connsiteX3" fmla="*/ 1376290 w 1419002"/>
                <a:gd name="connsiteY3" fmla="*/ 583557 h 963805"/>
                <a:gd name="connsiteX4" fmla="*/ 1419002 w 1419002"/>
                <a:gd name="connsiteY4" fmla="*/ 745252 h 963805"/>
                <a:gd name="connsiteX5" fmla="*/ 699002 w 1419002"/>
                <a:gd name="connsiteY5" fmla="*/ 958811 h 963805"/>
                <a:gd name="connsiteX6" fmla="*/ 46121 w 1419002"/>
                <a:gd name="connsiteY6" fmla="*/ 19150 h 963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9002" h="963805">
                  <a:moveTo>
                    <a:pt x="46121" y="19150"/>
                  </a:moveTo>
                  <a:cubicBezTo>
                    <a:pt x="152900" y="-66274"/>
                    <a:pt x="421375" y="156438"/>
                    <a:pt x="509850" y="247963"/>
                  </a:cubicBezTo>
                  <a:cubicBezTo>
                    <a:pt x="592222" y="330336"/>
                    <a:pt x="808833" y="604913"/>
                    <a:pt x="808833" y="604913"/>
                  </a:cubicBezTo>
                  <a:cubicBezTo>
                    <a:pt x="808833" y="604913"/>
                    <a:pt x="1315273" y="482879"/>
                    <a:pt x="1376290" y="583557"/>
                  </a:cubicBezTo>
                  <a:cubicBezTo>
                    <a:pt x="1400697" y="638472"/>
                    <a:pt x="1415951" y="705590"/>
                    <a:pt x="1419002" y="745252"/>
                  </a:cubicBezTo>
                  <a:cubicBezTo>
                    <a:pt x="1351883" y="919150"/>
                    <a:pt x="824087" y="983218"/>
                    <a:pt x="699002" y="958811"/>
                  </a:cubicBezTo>
                  <a:cubicBezTo>
                    <a:pt x="561714" y="937455"/>
                    <a:pt x="-191846" y="211353"/>
                    <a:pt x="46121" y="1915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72B28B81-4A6A-4DAF-8DFA-C4179509DD6B}"/>
                </a:ext>
              </a:extLst>
            </p:cNvPr>
            <p:cNvSpPr/>
            <p:nvPr/>
          </p:nvSpPr>
          <p:spPr>
            <a:xfrm>
              <a:off x="9576780" y="2298329"/>
              <a:ext cx="67118" cy="140338"/>
            </a:xfrm>
            <a:custGeom>
              <a:avLst/>
              <a:gdLst>
                <a:gd name="connsiteX0" fmla="*/ 0 w 67118"/>
                <a:gd name="connsiteY0" fmla="*/ 0 h 140338"/>
                <a:gd name="connsiteX1" fmla="*/ 64068 w 67118"/>
                <a:gd name="connsiteY1" fmla="*/ 140339 h 140338"/>
                <a:gd name="connsiteX2" fmla="*/ 67119 w 67118"/>
                <a:gd name="connsiteY2" fmla="*/ 54915 h 140338"/>
                <a:gd name="connsiteX3" fmla="*/ 0 w 67118"/>
                <a:gd name="connsiteY3" fmla="*/ 0 h 14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18" h="140338">
                  <a:moveTo>
                    <a:pt x="0" y="0"/>
                  </a:moveTo>
                  <a:cubicBezTo>
                    <a:pt x="0" y="0"/>
                    <a:pt x="12203" y="118983"/>
                    <a:pt x="64068" y="140339"/>
                  </a:cubicBezTo>
                  <a:lnTo>
                    <a:pt x="67119" y="549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64202E18-7CE5-458E-83C3-A8920829C9ED}"/>
                </a:ext>
              </a:extLst>
            </p:cNvPr>
            <p:cNvSpPr/>
            <p:nvPr/>
          </p:nvSpPr>
          <p:spPr>
            <a:xfrm>
              <a:off x="9935851" y="2093922"/>
              <a:ext cx="101808" cy="237945"/>
            </a:xfrm>
            <a:custGeom>
              <a:avLst/>
              <a:gdLst>
                <a:gd name="connsiteX0" fmla="*/ 95505 w 101808"/>
                <a:gd name="connsiteY0" fmla="*/ 0 h 237945"/>
                <a:gd name="connsiteX1" fmla="*/ 52793 w 101808"/>
                <a:gd name="connsiteY1" fmla="*/ 234915 h 237945"/>
                <a:gd name="connsiteX2" fmla="*/ 929 w 101808"/>
                <a:gd name="connsiteY2" fmla="*/ 12203 h 237945"/>
                <a:gd name="connsiteX3" fmla="*/ 95505 w 101808"/>
                <a:gd name="connsiteY3" fmla="*/ 0 h 23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08" h="237945">
                  <a:moveTo>
                    <a:pt x="95505" y="0"/>
                  </a:moveTo>
                  <a:cubicBezTo>
                    <a:pt x="95505" y="0"/>
                    <a:pt x="126014" y="195254"/>
                    <a:pt x="52793" y="234915"/>
                  </a:cubicBezTo>
                  <a:cubicBezTo>
                    <a:pt x="-11275" y="268475"/>
                    <a:pt x="929" y="12203"/>
                    <a:pt x="929" y="12203"/>
                  </a:cubicBezTo>
                  <a:lnTo>
                    <a:pt x="95505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69E05196-885A-47C6-A59F-0DF94F1A67BB}"/>
                </a:ext>
              </a:extLst>
            </p:cNvPr>
            <p:cNvSpPr/>
            <p:nvPr/>
          </p:nvSpPr>
          <p:spPr>
            <a:xfrm>
              <a:off x="9579831" y="1955743"/>
              <a:ext cx="421355" cy="568951"/>
            </a:xfrm>
            <a:custGeom>
              <a:avLst/>
              <a:gdLst>
                <a:gd name="connsiteX0" fmla="*/ 411864 w 421355"/>
                <a:gd name="connsiteY0" fmla="*/ 183941 h 568951"/>
                <a:gd name="connsiteX1" fmla="*/ 411864 w 421355"/>
                <a:gd name="connsiteY1" fmla="*/ 434111 h 568951"/>
                <a:gd name="connsiteX2" fmla="*/ 253220 w 421355"/>
                <a:gd name="connsiteY2" fmla="*/ 568348 h 568951"/>
                <a:gd name="connsiteX3" fmla="*/ 36610 w 421355"/>
                <a:gd name="connsiteY3" fmla="*/ 424958 h 568951"/>
                <a:gd name="connsiteX4" fmla="*/ 0 w 421355"/>
                <a:gd name="connsiteY4" fmla="*/ 199195 h 568951"/>
                <a:gd name="connsiteX5" fmla="*/ 213559 w 421355"/>
                <a:gd name="connsiteY5" fmla="*/ 890 h 568951"/>
                <a:gd name="connsiteX6" fmla="*/ 411864 w 421355"/>
                <a:gd name="connsiteY6" fmla="*/ 183941 h 568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355" h="568951">
                  <a:moveTo>
                    <a:pt x="411864" y="183941"/>
                  </a:moveTo>
                  <a:cubicBezTo>
                    <a:pt x="411864" y="183941"/>
                    <a:pt x="433220" y="360890"/>
                    <a:pt x="411864" y="434111"/>
                  </a:cubicBezTo>
                  <a:cubicBezTo>
                    <a:pt x="393560" y="501229"/>
                    <a:pt x="302034" y="565297"/>
                    <a:pt x="253220" y="568348"/>
                  </a:cubicBezTo>
                  <a:cubicBezTo>
                    <a:pt x="186102" y="574450"/>
                    <a:pt x="67119" y="534789"/>
                    <a:pt x="36610" y="424958"/>
                  </a:cubicBezTo>
                  <a:cubicBezTo>
                    <a:pt x="15254" y="351738"/>
                    <a:pt x="0" y="251060"/>
                    <a:pt x="0" y="199195"/>
                  </a:cubicBezTo>
                  <a:cubicBezTo>
                    <a:pt x="3051" y="104619"/>
                    <a:pt x="27458" y="25297"/>
                    <a:pt x="213559" y="890"/>
                  </a:cubicBezTo>
                  <a:cubicBezTo>
                    <a:pt x="295932" y="-11313"/>
                    <a:pt x="390509" y="104619"/>
                    <a:pt x="411864" y="18394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87B3CA23-1A80-4986-BB92-B93EA1EEA724}"/>
                </a:ext>
              </a:extLst>
            </p:cNvPr>
            <p:cNvSpPr/>
            <p:nvPr/>
          </p:nvSpPr>
          <p:spPr>
            <a:xfrm>
              <a:off x="9893470" y="2197052"/>
              <a:ext cx="41036" cy="41036"/>
            </a:xfrm>
            <a:custGeom>
              <a:avLst/>
              <a:gdLst>
                <a:gd name="connsiteX0" fmla="*/ 598 w 41036"/>
                <a:gd name="connsiteY0" fmla="*/ 25005 h 41036"/>
                <a:gd name="connsiteX1" fmla="*/ 25005 w 41036"/>
                <a:gd name="connsiteY1" fmla="*/ 40259 h 41036"/>
                <a:gd name="connsiteX2" fmla="*/ 40260 w 41036"/>
                <a:gd name="connsiteY2" fmla="*/ 15853 h 41036"/>
                <a:gd name="connsiteX3" fmla="*/ 15853 w 41036"/>
                <a:gd name="connsiteY3" fmla="*/ 598 h 41036"/>
                <a:gd name="connsiteX4" fmla="*/ 598 w 41036"/>
                <a:gd name="connsiteY4" fmla="*/ 25005 h 4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6" h="41036">
                  <a:moveTo>
                    <a:pt x="598" y="25005"/>
                  </a:moveTo>
                  <a:cubicBezTo>
                    <a:pt x="3650" y="37209"/>
                    <a:pt x="12802" y="43310"/>
                    <a:pt x="25005" y="40259"/>
                  </a:cubicBezTo>
                  <a:cubicBezTo>
                    <a:pt x="37209" y="37209"/>
                    <a:pt x="43310" y="28056"/>
                    <a:pt x="40260" y="15853"/>
                  </a:cubicBezTo>
                  <a:cubicBezTo>
                    <a:pt x="37209" y="6700"/>
                    <a:pt x="28056" y="-2452"/>
                    <a:pt x="15853" y="598"/>
                  </a:cubicBezTo>
                  <a:cubicBezTo>
                    <a:pt x="6700" y="3649"/>
                    <a:pt x="-2453" y="12802"/>
                    <a:pt x="598" y="25005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98AEB7D1-78CB-436F-A742-C6E7C5C15C44}"/>
                </a:ext>
              </a:extLst>
            </p:cNvPr>
            <p:cNvSpPr/>
            <p:nvPr/>
          </p:nvSpPr>
          <p:spPr>
            <a:xfrm>
              <a:off x="9710419" y="2215178"/>
              <a:ext cx="41036" cy="41036"/>
            </a:xfrm>
            <a:custGeom>
              <a:avLst/>
              <a:gdLst>
                <a:gd name="connsiteX0" fmla="*/ 598 w 41036"/>
                <a:gd name="connsiteY0" fmla="*/ 25184 h 41036"/>
                <a:gd name="connsiteX1" fmla="*/ 25005 w 41036"/>
                <a:gd name="connsiteY1" fmla="*/ 40438 h 41036"/>
                <a:gd name="connsiteX2" fmla="*/ 40260 w 41036"/>
                <a:gd name="connsiteY2" fmla="*/ 16032 h 41036"/>
                <a:gd name="connsiteX3" fmla="*/ 15853 w 41036"/>
                <a:gd name="connsiteY3" fmla="*/ 777 h 41036"/>
                <a:gd name="connsiteX4" fmla="*/ 598 w 41036"/>
                <a:gd name="connsiteY4" fmla="*/ 25184 h 4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6" h="41036">
                  <a:moveTo>
                    <a:pt x="598" y="25184"/>
                  </a:moveTo>
                  <a:cubicBezTo>
                    <a:pt x="3650" y="34337"/>
                    <a:pt x="12802" y="43489"/>
                    <a:pt x="25005" y="40438"/>
                  </a:cubicBezTo>
                  <a:cubicBezTo>
                    <a:pt x="37209" y="37388"/>
                    <a:pt x="43310" y="28235"/>
                    <a:pt x="40260" y="16032"/>
                  </a:cubicBezTo>
                  <a:cubicBezTo>
                    <a:pt x="37209" y="3828"/>
                    <a:pt x="28056" y="-2273"/>
                    <a:pt x="15853" y="777"/>
                  </a:cubicBezTo>
                  <a:cubicBezTo>
                    <a:pt x="6700" y="3828"/>
                    <a:pt x="-2453" y="12981"/>
                    <a:pt x="598" y="25184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7C6D1F41-3CE5-4462-9396-F10B9570B055}"/>
                </a:ext>
              </a:extLst>
            </p:cNvPr>
            <p:cNvSpPr/>
            <p:nvPr/>
          </p:nvSpPr>
          <p:spPr>
            <a:xfrm>
              <a:off x="9868398" y="2151888"/>
              <a:ext cx="92026" cy="30508"/>
            </a:xfrm>
            <a:custGeom>
              <a:avLst/>
              <a:gdLst>
                <a:gd name="connsiteX0" fmla="*/ 83636 w 92026"/>
                <a:gd name="connsiteY0" fmla="*/ 30508 h 30508"/>
                <a:gd name="connsiteX1" fmla="*/ 77535 w 92026"/>
                <a:gd name="connsiteY1" fmla="*/ 27458 h 30508"/>
                <a:gd name="connsiteX2" fmla="*/ 10416 w 92026"/>
                <a:gd name="connsiteY2" fmla="*/ 21356 h 30508"/>
                <a:gd name="connsiteX3" fmla="*/ 1264 w 92026"/>
                <a:gd name="connsiteY3" fmla="*/ 18305 h 30508"/>
                <a:gd name="connsiteX4" fmla="*/ 4315 w 92026"/>
                <a:gd name="connsiteY4" fmla="*/ 9153 h 30508"/>
                <a:gd name="connsiteX5" fmla="*/ 89738 w 92026"/>
                <a:gd name="connsiteY5" fmla="*/ 18305 h 30508"/>
                <a:gd name="connsiteX6" fmla="*/ 89738 w 92026"/>
                <a:gd name="connsiteY6" fmla="*/ 30508 h 30508"/>
                <a:gd name="connsiteX7" fmla="*/ 83636 w 92026"/>
                <a:gd name="connsiteY7" fmla="*/ 30508 h 3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0508">
                  <a:moveTo>
                    <a:pt x="83636" y="30508"/>
                  </a:moveTo>
                  <a:cubicBezTo>
                    <a:pt x="80586" y="30508"/>
                    <a:pt x="80586" y="30508"/>
                    <a:pt x="77535" y="27458"/>
                  </a:cubicBezTo>
                  <a:cubicBezTo>
                    <a:pt x="53128" y="0"/>
                    <a:pt x="10416" y="21356"/>
                    <a:pt x="10416" y="21356"/>
                  </a:cubicBezTo>
                  <a:cubicBezTo>
                    <a:pt x="7365" y="24407"/>
                    <a:pt x="1264" y="21356"/>
                    <a:pt x="1264" y="18305"/>
                  </a:cubicBezTo>
                  <a:cubicBezTo>
                    <a:pt x="-1787" y="15254"/>
                    <a:pt x="1264" y="9153"/>
                    <a:pt x="4315" y="9153"/>
                  </a:cubicBezTo>
                  <a:cubicBezTo>
                    <a:pt x="22619" y="0"/>
                    <a:pt x="62281" y="-9153"/>
                    <a:pt x="89738" y="18305"/>
                  </a:cubicBezTo>
                  <a:cubicBezTo>
                    <a:pt x="92789" y="21356"/>
                    <a:pt x="92789" y="27458"/>
                    <a:pt x="89738" y="30508"/>
                  </a:cubicBezTo>
                  <a:cubicBezTo>
                    <a:pt x="86687" y="30508"/>
                    <a:pt x="86687" y="30508"/>
                    <a:pt x="83636" y="30508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C3C9F9B1-D02F-481A-9ECA-DB59455EFD19}"/>
                </a:ext>
              </a:extLst>
            </p:cNvPr>
            <p:cNvSpPr/>
            <p:nvPr/>
          </p:nvSpPr>
          <p:spPr>
            <a:xfrm>
              <a:off x="9678221" y="2146097"/>
              <a:ext cx="92026" cy="36299"/>
            </a:xfrm>
            <a:custGeom>
              <a:avLst/>
              <a:gdLst>
                <a:gd name="connsiteX0" fmla="*/ 8390 w 92026"/>
                <a:gd name="connsiteY0" fmla="*/ 36300 h 36299"/>
                <a:gd name="connsiteX1" fmla="*/ 2288 w 92026"/>
                <a:gd name="connsiteY1" fmla="*/ 33249 h 36299"/>
                <a:gd name="connsiteX2" fmla="*/ 2288 w 92026"/>
                <a:gd name="connsiteY2" fmla="*/ 21045 h 36299"/>
                <a:gd name="connsiteX3" fmla="*/ 87712 w 92026"/>
                <a:gd name="connsiteY3" fmla="*/ 11893 h 36299"/>
                <a:gd name="connsiteX4" fmla="*/ 90763 w 92026"/>
                <a:gd name="connsiteY4" fmla="*/ 24096 h 36299"/>
                <a:gd name="connsiteX5" fmla="*/ 78559 w 92026"/>
                <a:gd name="connsiteY5" fmla="*/ 27147 h 36299"/>
                <a:gd name="connsiteX6" fmla="*/ 11441 w 92026"/>
                <a:gd name="connsiteY6" fmla="*/ 33249 h 36299"/>
                <a:gd name="connsiteX7" fmla="*/ 8390 w 92026"/>
                <a:gd name="connsiteY7" fmla="*/ 36300 h 3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6299">
                  <a:moveTo>
                    <a:pt x="8390" y="36300"/>
                  </a:moveTo>
                  <a:cubicBezTo>
                    <a:pt x="5339" y="36300"/>
                    <a:pt x="5339" y="36300"/>
                    <a:pt x="2288" y="33249"/>
                  </a:cubicBezTo>
                  <a:cubicBezTo>
                    <a:pt x="-763" y="30198"/>
                    <a:pt x="-763" y="24096"/>
                    <a:pt x="2288" y="21045"/>
                  </a:cubicBezTo>
                  <a:cubicBezTo>
                    <a:pt x="14491" y="5791"/>
                    <a:pt x="51102" y="-12514"/>
                    <a:pt x="87712" y="11893"/>
                  </a:cubicBezTo>
                  <a:cubicBezTo>
                    <a:pt x="90763" y="14944"/>
                    <a:pt x="93814" y="17995"/>
                    <a:pt x="90763" y="24096"/>
                  </a:cubicBezTo>
                  <a:cubicBezTo>
                    <a:pt x="87712" y="27147"/>
                    <a:pt x="84661" y="30198"/>
                    <a:pt x="78559" y="27147"/>
                  </a:cubicBezTo>
                  <a:cubicBezTo>
                    <a:pt x="41949" y="2740"/>
                    <a:pt x="14491" y="33249"/>
                    <a:pt x="11441" y="33249"/>
                  </a:cubicBezTo>
                  <a:cubicBezTo>
                    <a:pt x="11441" y="36300"/>
                    <a:pt x="8390" y="36300"/>
                    <a:pt x="8390" y="36300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4103874F-B6E8-4BA1-93C7-1B3C7FC4E51A}"/>
                </a:ext>
              </a:extLst>
            </p:cNvPr>
            <p:cNvSpPr/>
            <p:nvPr/>
          </p:nvSpPr>
          <p:spPr>
            <a:xfrm>
              <a:off x="9538806" y="2211419"/>
              <a:ext cx="77634" cy="114126"/>
            </a:xfrm>
            <a:custGeom>
              <a:avLst/>
              <a:gdLst>
                <a:gd name="connsiteX0" fmla="*/ 65432 w 77634"/>
                <a:gd name="connsiteY0" fmla="*/ 16740 h 114126"/>
                <a:gd name="connsiteX1" fmla="*/ 7466 w 77634"/>
                <a:gd name="connsiteY1" fmla="*/ 7587 h 114126"/>
                <a:gd name="connsiteX2" fmla="*/ 65432 w 77634"/>
                <a:gd name="connsiteY2" fmla="*/ 111316 h 114126"/>
                <a:gd name="connsiteX3" fmla="*/ 65432 w 77634"/>
                <a:gd name="connsiteY3" fmla="*/ 16740 h 11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634" h="114126">
                  <a:moveTo>
                    <a:pt x="65432" y="16740"/>
                  </a:moveTo>
                  <a:cubicBezTo>
                    <a:pt x="65432" y="16740"/>
                    <a:pt x="31872" y="-13769"/>
                    <a:pt x="7466" y="7587"/>
                  </a:cubicBezTo>
                  <a:cubicBezTo>
                    <a:pt x="-16941" y="25892"/>
                    <a:pt x="22720" y="132672"/>
                    <a:pt x="65432" y="111316"/>
                  </a:cubicBezTo>
                  <a:cubicBezTo>
                    <a:pt x="92889" y="93011"/>
                    <a:pt x="65432" y="16740"/>
                    <a:pt x="65432" y="16740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B6C6FC7D-B8F4-42CA-8FDA-D50776FD9D8B}"/>
                </a:ext>
              </a:extLst>
            </p:cNvPr>
            <p:cNvSpPr/>
            <p:nvPr/>
          </p:nvSpPr>
          <p:spPr>
            <a:xfrm>
              <a:off x="9539966" y="1841794"/>
              <a:ext cx="519387" cy="404670"/>
            </a:xfrm>
            <a:custGeom>
              <a:avLst/>
              <a:gdLst>
                <a:gd name="connsiteX0" fmla="*/ 6305 w 519387"/>
                <a:gd name="connsiteY0" fmla="*/ 303992 h 404670"/>
                <a:gd name="connsiteX1" fmla="*/ 64271 w 519387"/>
                <a:gd name="connsiteY1" fmla="*/ 404670 h 404670"/>
                <a:gd name="connsiteX2" fmla="*/ 116136 w 519387"/>
                <a:gd name="connsiteY2" fmla="*/ 264331 h 404670"/>
                <a:gd name="connsiteX3" fmla="*/ 125288 w 519387"/>
                <a:gd name="connsiteY3" fmla="*/ 261281 h 404670"/>
                <a:gd name="connsiteX4" fmla="*/ 201559 w 519387"/>
                <a:gd name="connsiteY4" fmla="*/ 233823 h 404670"/>
                <a:gd name="connsiteX5" fmla="*/ 213763 w 519387"/>
                <a:gd name="connsiteY5" fmla="*/ 230772 h 404670"/>
                <a:gd name="connsiteX6" fmla="*/ 250373 w 519387"/>
                <a:gd name="connsiteY6" fmla="*/ 252128 h 404670"/>
                <a:gd name="connsiteX7" fmla="*/ 265627 w 519387"/>
                <a:gd name="connsiteY7" fmla="*/ 242976 h 404670"/>
                <a:gd name="connsiteX8" fmla="*/ 317492 w 519387"/>
                <a:gd name="connsiteY8" fmla="*/ 258230 h 404670"/>
                <a:gd name="connsiteX9" fmla="*/ 354102 w 519387"/>
                <a:gd name="connsiteY9" fmla="*/ 267382 h 404670"/>
                <a:gd name="connsiteX10" fmla="*/ 366305 w 519387"/>
                <a:gd name="connsiteY10" fmla="*/ 267382 h 404670"/>
                <a:gd name="connsiteX11" fmla="*/ 378509 w 519387"/>
                <a:gd name="connsiteY11" fmla="*/ 264331 h 404670"/>
                <a:gd name="connsiteX12" fmla="*/ 387661 w 519387"/>
                <a:gd name="connsiteY12" fmla="*/ 270433 h 404670"/>
                <a:gd name="connsiteX13" fmla="*/ 393763 w 519387"/>
                <a:gd name="connsiteY13" fmla="*/ 273484 h 404670"/>
                <a:gd name="connsiteX14" fmla="*/ 399865 w 519387"/>
                <a:gd name="connsiteY14" fmla="*/ 273484 h 404670"/>
                <a:gd name="connsiteX15" fmla="*/ 405966 w 519387"/>
                <a:gd name="connsiteY15" fmla="*/ 276535 h 404670"/>
                <a:gd name="connsiteX16" fmla="*/ 412068 w 519387"/>
                <a:gd name="connsiteY16" fmla="*/ 285687 h 404670"/>
                <a:gd name="connsiteX17" fmla="*/ 430373 w 519387"/>
                <a:gd name="connsiteY17" fmla="*/ 307043 h 404670"/>
                <a:gd name="connsiteX18" fmla="*/ 460881 w 519387"/>
                <a:gd name="connsiteY18" fmla="*/ 319247 h 404670"/>
                <a:gd name="connsiteX19" fmla="*/ 479187 w 519387"/>
                <a:gd name="connsiteY19" fmla="*/ 374162 h 404670"/>
                <a:gd name="connsiteX20" fmla="*/ 488339 w 519387"/>
                <a:gd name="connsiteY20" fmla="*/ 343653 h 404670"/>
                <a:gd name="connsiteX21" fmla="*/ 497492 w 519387"/>
                <a:gd name="connsiteY21" fmla="*/ 340603 h 404670"/>
                <a:gd name="connsiteX22" fmla="*/ 515797 w 519387"/>
                <a:gd name="connsiteY22" fmla="*/ 242976 h 404670"/>
                <a:gd name="connsiteX23" fmla="*/ 497492 w 519387"/>
                <a:gd name="connsiteY23" fmla="*/ 200264 h 404670"/>
                <a:gd name="connsiteX24" fmla="*/ 500543 w 519387"/>
                <a:gd name="connsiteY24" fmla="*/ 166704 h 404670"/>
                <a:gd name="connsiteX25" fmla="*/ 494441 w 519387"/>
                <a:gd name="connsiteY25" fmla="*/ 130094 h 404670"/>
                <a:gd name="connsiteX26" fmla="*/ 476136 w 519387"/>
                <a:gd name="connsiteY26" fmla="*/ 102637 h 404670"/>
                <a:gd name="connsiteX27" fmla="*/ 460881 w 519387"/>
                <a:gd name="connsiteY27" fmla="*/ 59925 h 404670"/>
                <a:gd name="connsiteX28" fmla="*/ 399865 w 519387"/>
                <a:gd name="connsiteY28" fmla="*/ 38569 h 404670"/>
                <a:gd name="connsiteX29" fmla="*/ 274780 w 519387"/>
                <a:gd name="connsiteY29" fmla="*/ 1959 h 404670"/>
                <a:gd name="connsiteX30" fmla="*/ 262576 w 519387"/>
                <a:gd name="connsiteY30" fmla="*/ 8060 h 404670"/>
                <a:gd name="connsiteX31" fmla="*/ 207661 w 519387"/>
                <a:gd name="connsiteY31" fmla="*/ 23315 h 404670"/>
                <a:gd name="connsiteX32" fmla="*/ 174102 w 519387"/>
                <a:gd name="connsiteY32" fmla="*/ 26365 h 404670"/>
                <a:gd name="connsiteX33" fmla="*/ 143594 w 519387"/>
                <a:gd name="connsiteY33" fmla="*/ 59925 h 404670"/>
                <a:gd name="connsiteX34" fmla="*/ 131390 w 519387"/>
                <a:gd name="connsiteY34" fmla="*/ 78230 h 404670"/>
                <a:gd name="connsiteX35" fmla="*/ 100881 w 519387"/>
                <a:gd name="connsiteY35" fmla="*/ 99586 h 404670"/>
                <a:gd name="connsiteX36" fmla="*/ 88678 w 519387"/>
                <a:gd name="connsiteY36" fmla="*/ 96535 h 404670"/>
                <a:gd name="connsiteX37" fmla="*/ 70373 w 519387"/>
                <a:gd name="connsiteY37" fmla="*/ 136196 h 404670"/>
                <a:gd name="connsiteX38" fmla="*/ 6305 w 519387"/>
                <a:gd name="connsiteY38" fmla="*/ 303992 h 40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9387" h="404670">
                  <a:moveTo>
                    <a:pt x="6305" y="303992"/>
                  </a:moveTo>
                  <a:cubicBezTo>
                    <a:pt x="21560" y="358908"/>
                    <a:pt x="64271" y="404670"/>
                    <a:pt x="64271" y="404670"/>
                  </a:cubicBezTo>
                  <a:cubicBezTo>
                    <a:pt x="58170" y="374162"/>
                    <a:pt x="116136" y="264331"/>
                    <a:pt x="116136" y="264331"/>
                  </a:cubicBezTo>
                  <a:cubicBezTo>
                    <a:pt x="116136" y="264331"/>
                    <a:pt x="119187" y="264331"/>
                    <a:pt x="125288" y="261281"/>
                  </a:cubicBezTo>
                  <a:cubicBezTo>
                    <a:pt x="152746" y="261281"/>
                    <a:pt x="180204" y="252128"/>
                    <a:pt x="201559" y="233823"/>
                  </a:cubicBezTo>
                  <a:cubicBezTo>
                    <a:pt x="204610" y="233823"/>
                    <a:pt x="210712" y="230772"/>
                    <a:pt x="213763" y="230772"/>
                  </a:cubicBezTo>
                  <a:cubicBezTo>
                    <a:pt x="222915" y="242976"/>
                    <a:pt x="232068" y="255179"/>
                    <a:pt x="250373" y="252128"/>
                  </a:cubicBezTo>
                  <a:cubicBezTo>
                    <a:pt x="259525" y="252128"/>
                    <a:pt x="262576" y="242976"/>
                    <a:pt x="265627" y="242976"/>
                  </a:cubicBezTo>
                  <a:cubicBezTo>
                    <a:pt x="286983" y="233823"/>
                    <a:pt x="299186" y="249077"/>
                    <a:pt x="317492" y="258230"/>
                  </a:cubicBezTo>
                  <a:cubicBezTo>
                    <a:pt x="329695" y="264331"/>
                    <a:pt x="341899" y="267382"/>
                    <a:pt x="354102" y="267382"/>
                  </a:cubicBezTo>
                  <a:cubicBezTo>
                    <a:pt x="357153" y="267382"/>
                    <a:pt x="363254" y="264331"/>
                    <a:pt x="366305" y="267382"/>
                  </a:cubicBezTo>
                  <a:cubicBezTo>
                    <a:pt x="372407" y="264331"/>
                    <a:pt x="375458" y="264331"/>
                    <a:pt x="378509" y="264331"/>
                  </a:cubicBezTo>
                  <a:cubicBezTo>
                    <a:pt x="381559" y="267382"/>
                    <a:pt x="384610" y="267382"/>
                    <a:pt x="387661" y="270433"/>
                  </a:cubicBezTo>
                  <a:cubicBezTo>
                    <a:pt x="390712" y="270433"/>
                    <a:pt x="390712" y="273484"/>
                    <a:pt x="393763" y="273484"/>
                  </a:cubicBezTo>
                  <a:cubicBezTo>
                    <a:pt x="396814" y="273484"/>
                    <a:pt x="396814" y="273484"/>
                    <a:pt x="399865" y="273484"/>
                  </a:cubicBezTo>
                  <a:cubicBezTo>
                    <a:pt x="402916" y="273484"/>
                    <a:pt x="405966" y="276535"/>
                    <a:pt x="405966" y="276535"/>
                  </a:cubicBezTo>
                  <a:cubicBezTo>
                    <a:pt x="409017" y="279586"/>
                    <a:pt x="412068" y="282637"/>
                    <a:pt x="412068" y="285687"/>
                  </a:cubicBezTo>
                  <a:cubicBezTo>
                    <a:pt x="418170" y="294840"/>
                    <a:pt x="421220" y="300942"/>
                    <a:pt x="430373" y="307043"/>
                  </a:cubicBezTo>
                  <a:cubicBezTo>
                    <a:pt x="436475" y="313145"/>
                    <a:pt x="448678" y="313145"/>
                    <a:pt x="460881" y="319247"/>
                  </a:cubicBezTo>
                  <a:cubicBezTo>
                    <a:pt x="476136" y="337552"/>
                    <a:pt x="482237" y="355857"/>
                    <a:pt x="479187" y="374162"/>
                  </a:cubicBezTo>
                  <a:cubicBezTo>
                    <a:pt x="479187" y="374162"/>
                    <a:pt x="482237" y="361959"/>
                    <a:pt x="488339" y="343653"/>
                  </a:cubicBezTo>
                  <a:cubicBezTo>
                    <a:pt x="491390" y="346704"/>
                    <a:pt x="494441" y="346704"/>
                    <a:pt x="497492" y="340603"/>
                  </a:cubicBezTo>
                  <a:cubicBezTo>
                    <a:pt x="515797" y="310094"/>
                    <a:pt x="524949" y="276535"/>
                    <a:pt x="515797" y="242976"/>
                  </a:cubicBezTo>
                  <a:cubicBezTo>
                    <a:pt x="512746" y="227721"/>
                    <a:pt x="503593" y="215518"/>
                    <a:pt x="497492" y="200264"/>
                  </a:cubicBezTo>
                  <a:cubicBezTo>
                    <a:pt x="488339" y="181959"/>
                    <a:pt x="497492" y="181959"/>
                    <a:pt x="500543" y="166704"/>
                  </a:cubicBezTo>
                  <a:cubicBezTo>
                    <a:pt x="503593" y="154501"/>
                    <a:pt x="497492" y="142298"/>
                    <a:pt x="494441" y="130094"/>
                  </a:cubicBezTo>
                  <a:cubicBezTo>
                    <a:pt x="488339" y="120942"/>
                    <a:pt x="482237" y="111789"/>
                    <a:pt x="476136" y="102637"/>
                  </a:cubicBezTo>
                  <a:cubicBezTo>
                    <a:pt x="463933" y="87382"/>
                    <a:pt x="466983" y="75179"/>
                    <a:pt x="460881" y="59925"/>
                  </a:cubicBezTo>
                  <a:cubicBezTo>
                    <a:pt x="448678" y="32467"/>
                    <a:pt x="424271" y="38569"/>
                    <a:pt x="399865" y="38569"/>
                  </a:cubicBezTo>
                  <a:cubicBezTo>
                    <a:pt x="357153" y="38569"/>
                    <a:pt x="320542" y="-10245"/>
                    <a:pt x="274780" y="1959"/>
                  </a:cubicBezTo>
                  <a:cubicBezTo>
                    <a:pt x="268678" y="1959"/>
                    <a:pt x="265627" y="5009"/>
                    <a:pt x="262576" y="8060"/>
                  </a:cubicBezTo>
                  <a:cubicBezTo>
                    <a:pt x="244271" y="17213"/>
                    <a:pt x="225966" y="23315"/>
                    <a:pt x="207661" y="23315"/>
                  </a:cubicBezTo>
                  <a:cubicBezTo>
                    <a:pt x="195458" y="23315"/>
                    <a:pt x="186305" y="20264"/>
                    <a:pt x="174102" y="26365"/>
                  </a:cubicBezTo>
                  <a:cubicBezTo>
                    <a:pt x="158848" y="32467"/>
                    <a:pt x="152746" y="47721"/>
                    <a:pt x="143594" y="59925"/>
                  </a:cubicBezTo>
                  <a:cubicBezTo>
                    <a:pt x="140542" y="66026"/>
                    <a:pt x="134441" y="72128"/>
                    <a:pt x="131390" y="78230"/>
                  </a:cubicBezTo>
                  <a:cubicBezTo>
                    <a:pt x="119187" y="84331"/>
                    <a:pt x="110034" y="93484"/>
                    <a:pt x="100881" y="99586"/>
                  </a:cubicBezTo>
                  <a:cubicBezTo>
                    <a:pt x="100881" y="96535"/>
                    <a:pt x="103932" y="84331"/>
                    <a:pt x="88678" y="96535"/>
                  </a:cubicBezTo>
                  <a:cubicBezTo>
                    <a:pt x="73424" y="105687"/>
                    <a:pt x="70373" y="120942"/>
                    <a:pt x="70373" y="136196"/>
                  </a:cubicBezTo>
                  <a:cubicBezTo>
                    <a:pt x="203" y="160603"/>
                    <a:pt x="-8949" y="246026"/>
                    <a:pt x="6305" y="303992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724BD17B-FE5A-4476-972B-E2A3381C4FCA}"/>
                </a:ext>
              </a:extLst>
            </p:cNvPr>
            <p:cNvSpPr/>
            <p:nvPr/>
          </p:nvSpPr>
          <p:spPr>
            <a:xfrm>
              <a:off x="9656102" y="2435617"/>
              <a:ext cx="250169" cy="258417"/>
            </a:xfrm>
            <a:custGeom>
              <a:avLst/>
              <a:gdLst>
                <a:gd name="connsiteX0" fmla="*/ 250169 w 250169"/>
                <a:gd name="connsiteY0" fmla="*/ 39661 h 258417"/>
                <a:gd name="connsiteX1" fmla="*/ 244068 w 250169"/>
                <a:gd name="connsiteY1" fmla="*/ 213559 h 258417"/>
                <a:gd name="connsiteX2" fmla="*/ 0 w 250169"/>
                <a:gd name="connsiteY2" fmla="*/ 204407 h 258417"/>
                <a:gd name="connsiteX3" fmla="*/ 15254 w 250169"/>
                <a:gd name="connsiteY3" fmla="*/ 0 h 258417"/>
                <a:gd name="connsiteX4" fmla="*/ 250169 w 250169"/>
                <a:gd name="connsiteY4" fmla="*/ 39661 h 25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69" h="258417">
                  <a:moveTo>
                    <a:pt x="250169" y="39661"/>
                  </a:moveTo>
                  <a:cubicBezTo>
                    <a:pt x="250169" y="39661"/>
                    <a:pt x="244068" y="140339"/>
                    <a:pt x="244068" y="213559"/>
                  </a:cubicBezTo>
                  <a:cubicBezTo>
                    <a:pt x="244068" y="213559"/>
                    <a:pt x="149492" y="320339"/>
                    <a:pt x="0" y="204407"/>
                  </a:cubicBezTo>
                  <a:cubicBezTo>
                    <a:pt x="0" y="143390"/>
                    <a:pt x="12204" y="64068"/>
                    <a:pt x="15254" y="0"/>
                  </a:cubicBezTo>
                  <a:cubicBezTo>
                    <a:pt x="12204" y="0"/>
                    <a:pt x="198305" y="51864"/>
                    <a:pt x="250169" y="3966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35F217C2-00D7-439D-AF48-7B7E1C5C0E25}"/>
                </a:ext>
              </a:extLst>
            </p:cNvPr>
            <p:cNvSpPr/>
            <p:nvPr/>
          </p:nvSpPr>
          <p:spPr>
            <a:xfrm>
              <a:off x="9241187" y="2600363"/>
              <a:ext cx="1223844" cy="1567951"/>
            </a:xfrm>
            <a:custGeom>
              <a:avLst/>
              <a:gdLst>
                <a:gd name="connsiteX0" fmla="*/ 396610 w 1223844"/>
                <a:gd name="connsiteY0" fmla="*/ 0 h 1567951"/>
                <a:gd name="connsiteX1" fmla="*/ 686441 w 1223844"/>
                <a:gd name="connsiteY1" fmla="*/ 0 h 1567951"/>
                <a:gd name="connsiteX2" fmla="*/ 985423 w 1223844"/>
                <a:gd name="connsiteY2" fmla="*/ 131186 h 1567951"/>
                <a:gd name="connsiteX3" fmla="*/ 1070848 w 1223844"/>
                <a:gd name="connsiteY3" fmla="*/ 1537627 h 1567951"/>
                <a:gd name="connsiteX4" fmla="*/ 0 w 1223844"/>
                <a:gd name="connsiteY4" fmla="*/ 1513220 h 1567951"/>
                <a:gd name="connsiteX5" fmla="*/ 115932 w 1223844"/>
                <a:gd name="connsiteY5" fmla="*/ 103729 h 1567951"/>
                <a:gd name="connsiteX6" fmla="*/ 396610 w 1223844"/>
                <a:gd name="connsiteY6" fmla="*/ 0 h 156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3844" h="1567951">
                  <a:moveTo>
                    <a:pt x="396610" y="0"/>
                  </a:moveTo>
                  <a:cubicBezTo>
                    <a:pt x="396610" y="0"/>
                    <a:pt x="570508" y="54915"/>
                    <a:pt x="686441" y="0"/>
                  </a:cubicBezTo>
                  <a:cubicBezTo>
                    <a:pt x="686441" y="0"/>
                    <a:pt x="961017" y="97627"/>
                    <a:pt x="985423" y="131186"/>
                  </a:cubicBezTo>
                  <a:cubicBezTo>
                    <a:pt x="1009831" y="161695"/>
                    <a:pt x="1449153" y="1202034"/>
                    <a:pt x="1070848" y="1537627"/>
                  </a:cubicBezTo>
                  <a:cubicBezTo>
                    <a:pt x="1070848" y="1537627"/>
                    <a:pt x="579661" y="1620000"/>
                    <a:pt x="0" y="1513220"/>
                  </a:cubicBezTo>
                  <a:cubicBezTo>
                    <a:pt x="0" y="1156271"/>
                    <a:pt x="73220" y="134237"/>
                    <a:pt x="115932" y="103729"/>
                  </a:cubicBezTo>
                  <a:cubicBezTo>
                    <a:pt x="158644" y="73220"/>
                    <a:pt x="396610" y="0"/>
                    <a:pt x="396610" y="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5366934F-B780-4A7A-B791-1E5E12091AAE}"/>
                </a:ext>
              </a:extLst>
            </p:cNvPr>
            <p:cNvSpPr/>
            <p:nvPr/>
          </p:nvSpPr>
          <p:spPr>
            <a:xfrm>
              <a:off x="10219153" y="2721041"/>
              <a:ext cx="249737" cy="852542"/>
            </a:xfrm>
            <a:custGeom>
              <a:avLst/>
              <a:gdLst>
                <a:gd name="connsiteX0" fmla="*/ 245424 w 249737"/>
                <a:gd name="connsiteY0" fmla="*/ 852542 h 852542"/>
                <a:gd name="connsiteX1" fmla="*/ 239322 w 249737"/>
                <a:gd name="connsiteY1" fmla="*/ 846441 h 852542"/>
                <a:gd name="connsiteX2" fmla="*/ 1356 w 249737"/>
                <a:gd name="connsiteY2" fmla="*/ 10509 h 852542"/>
                <a:gd name="connsiteX3" fmla="*/ 1356 w 249737"/>
                <a:gd name="connsiteY3" fmla="*/ 1356 h 852542"/>
                <a:gd name="connsiteX4" fmla="*/ 10508 w 249737"/>
                <a:gd name="connsiteY4" fmla="*/ 1356 h 852542"/>
                <a:gd name="connsiteX5" fmla="*/ 248474 w 249737"/>
                <a:gd name="connsiteY5" fmla="*/ 843390 h 852542"/>
                <a:gd name="connsiteX6" fmla="*/ 245424 w 249737"/>
                <a:gd name="connsiteY6" fmla="*/ 852542 h 852542"/>
                <a:gd name="connsiteX7" fmla="*/ 245424 w 249737"/>
                <a:gd name="connsiteY7" fmla="*/ 852542 h 85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737" h="852542">
                  <a:moveTo>
                    <a:pt x="245424" y="852542"/>
                  </a:moveTo>
                  <a:cubicBezTo>
                    <a:pt x="242373" y="852542"/>
                    <a:pt x="239322" y="849492"/>
                    <a:pt x="239322" y="846441"/>
                  </a:cubicBezTo>
                  <a:cubicBezTo>
                    <a:pt x="239322" y="840339"/>
                    <a:pt x="141694" y="205763"/>
                    <a:pt x="1356" y="10509"/>
                  </a:cubicBezTo>
                  <a:cubicBezTo>
                    <a:pt x="-1695" y="7458"/>
                    <a:pt x="1356" y="4407"/>
                    <a:pt x="1356" y="1356"/>
                  </a:cubicBezTo>
                  <a:cubicBezTo>
                    <a:pt x="4406" y="-1695"/>
                    <a:pt x="7457" y="1356"/>
                    <a:pt x="10508" y="1356"/>
                  </a:cubicBezTo>
                  <a:cubicBezTo>
                    <a:pt x="150847" y="199661"/>
                    <a:pt x="248474" y="837288"/>
                    <a:pt x="248474" y="843390"/>
                  </a:cubicBezTo>
                  <a:cubicBezTo>
                    <a:pt x="251525" y="849492"/>
                    <a:pt x="248474" y="852542"/>
                    <a:pt x="245424" y="852542"/>
                  </a:cubicBezTo>
                  <a:cubicBezTo>
                    <a:pt x="245424" y="852542"/>
                    <a:pt x="245424" y="852542"/>
                    <a:pt x="245424" y="852542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944D4305-459B-4CEB-9988-3CEC83AE4434}"/>
                </a:ext>
              </a:extLst>
            </p:cNvPr>
            <p:cNvSpPr/>
            <p:nvPr/>
          </p:nvSpPr>
          <p:spPr>
            <a:xfrm>
              <a:off x="9671356" y="2469176"/>
              <a:ext cx="245331" cy="64067"/>
            </a:xfrm>
            <a:custGeom>
              <a:avLst/>
              <a:gdLst>
                <a:gd name="connsiteX0" fmla="*/ 137288 w 245331"/>
                <a:gd name="connsiteY0" fmla="*/ 64068 h 64067"/>
                <a:gd name="connsiteX1" fmla="*/ 125085 w 245331"/>
                <a:gd name="connsiteY1" fmla="*/ 64068 h 64067"/>
                <a:gd name="connsiteX2" fmla="*/ 51864 w 245331"/>
                <a:gd name="connsiteY2" fmla="*/ 36610 h 64067"/>
                <a:gd name="connsiteX3" fmla="*/ 3051 w 245331"/>
                <a:gd name="connsiteY3" fmla="*/ 12203 h 64067"/>
                <a:gd name="connsiteX4" fmla="*/ 0 w 245331"/>
                <a:gd name="connsiteY4" fmla="*/ 3051 h 64067"/>
                <a:gd name="connsiteX5" fmla="*/ 9153 w 245331"/>
                <a:gd name="connsiteY5" fmla="*/ 0 h 64067"/>
                <a:gd name="connsiteX6" fmla="*/ 57966 w 245331"/>
                <a:gd name="connsiteY6" fmla="*/ 24407 h 64067"/>
                <a:gd name="connsiteX7" fmla="*/ 149492 w 245331"/>
                <a:gd name="connsiteY7" fmla="*/ 51864 h 64067"/>
                <a:gd name="connsiteX8" fmla="*/ 161695 w 245331"/>
                <a:gd name="connsiteY8" fmla="*/ 51864 h 64067"/>
                <a:gd name="connsiteX9" fmla="*/ 210509 w 245331"/>
                <a:gd name="connsiteY9" fmla="*/ 33559 h 64067"/>
                <a:gd name="connsiteX10" fmla="*/ 219661 w 245331"/>
                <a:gd name="connsiteY10" fmla="*/ 27458 h 64067"/>
                <a:gd name="connsiteX11" fmla="*/ 225763 w 245331"/>
                <a:gd name="connsiteY11" fmla="*/ 27458 h 64067"/>
                <a:gd name="connsiteX12" fmla="*/ 234915 w 245331"/>
                <a:gd name="connsiteY12" fmla="*/ 21356 h 64067"/>
                <a:gd name="connsiteX13" fmla="*/ 244068 w 245331"/>
                <a:gd name="connsiteY13" fmla="*/ 24407 h 64067"/>
                <a:gd name="connsiteX14" fmla="*/ 241017 w 245331"/>
                <a:gd name="connsiteY14" fmla="*/ 33559 h 64067"/>
                <a:gd name="connsiteX15" fmla="*/ 216610 w 245331"/>
                <a:gd name="connsiteY15" fmla="*/ 45763 h 64067"/>
                <a:gd name="connsiteX16" fmla="*/ 161695 w 245331"/>
                <a:gd name="connsiteY16" fmla="*/ 64068 h 64067"/>
                <a:gd name="connsiteX17" fmla="*/ 137288 w 245331"/>
                <a:gd name="connsiteY17" fmla="*/ 64068 h 64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5331" h="64067">
                  <a:moveTo>
                    <a:pt x="137288" y="64068"/>
                  </a:moveTo>
                  <a:cubicBezTo>
                    <a:pt x="131187" y="64068"/>
                    <a:pt x="128136" y="64068"/>
                    <a:pt x="125085" y="64068"/>
                  </a:cubicBezTo>
                  <a:cubicBezTo>
                    <a:pt x="106780" y="61017"/>
                    <a:pt x="76271" y="48814"/>
                    <a:pt x="51864" y="36610"/>
                  </a:cubicBezTo>
                  <a:cubicBezTo>
                    <a:pt x="24407" y="24407"/>
                    <a:pt x="3051" y="12203"/>
                    <a:pt x="3051" y="12203"/>
                  </a:cubicBezTo>
                  <a:cubicBezTo>
                    <a:pt x="0" y="9153"/>
                    <a:pt x="0" y="6102"/>
                    <a:pt x="0" y="3051"/>
                  </a:cubicBezTo>
                  <a:cubicBezTo>
                    <a:pt x="3051" y="0"/>
                    <a:pt x="6102" y="0"/>
                    <a:pt x="9153" y="0"/>
                  </a:cubicBezTo>
                  <a:cubicBezTo>
                    <a:pt x="9153" y="0"/>
                    <a:pt x="30508" y="12203"/>
                    <a:pt x="57966" y="24407"/>
                  </a:cubicBezTo>
                  <a:cubicBezTo>
                    <a:pt x="88475" y="36610"/>
                    <a:pt x="125085" y="51864"/>
                    <a:pt x="149492" y="51864"/>
                  </a:cubicBezTo>
                  <a:cubicBezTo>
                    <a:pt x="152542" y="51864"/>
                    <a:pt x="158644" y="51864"/>
                    <a:pt x="161695" y="51864"/>
                  </a:cubicBezTo>
                  <a:cubicBezTo>
                    <a:pt x="180000" y="48814"/>
                    <a:pt x="198305" y="39661"/>
                    <a:pt x="210509" y="33559"/>
                  </a:cubicBezTo>
                  <a:cubicBezTo>
                    <a:pt x="216610" y="30508"/>
                    <a:pt x="219661" y="27458"/>
                    <a:pt x="219661" y="27458"/>
                  </a:cubicBezTo>
                  <a:cubicBezTo>
                    <a:pt x="219661" y="27458"/>
                    <a:pt x="222712" y="27458"/>
                    <a:pt x="225763" y="27458"/>
                  </a:cubicBezTo>
                  <a:cubicBezTo>
                    <a:pt x="231865" y="24407"/>
                    <a:pt x="234915" y="21356"/>
                    <a:pt x="234915" y="21356"/>
                  </a:cubicBezTo>
                  <a:cubicBezTo>
                    <a:pt x="237966" y="18305"/>
                    <a:pt x="241017" y="21356"/>
                    <a:pt x="244068" y="24407"/>
                  </a:cubicBezTo>
                  <a:cubicBezTo>
                    <a:pt x="247119" y="27458"/>
                    <a:pt x="244068" y="30508"/>
                    <a:pt x="241017" y="33559"/>
                  </a:cubicBezTo>
                  <a:cubicBezTo>
                    <a:pt x="241017" y="33559"/>
                    <a:pt x="231865" y="39661"/>
                    <a:pt x="216610" y="45763"/>
                  </a:cubicBezTo>
                  <a:cubicBezTo>
                    <a:pt x="204407" y="51864"/>
                    <a:pt x="186102" y="61017"/>
                    <a:pt x="161695" y="64068"/>
                  </a:cubicBezTo>
                  <a:cubicBezTo>
                    <a:pt x="152542" y="61017"/>
                    <a:pt x="143390" y="64068"/>
                    <a:pt x="137288" y="64068"/>
                  </a:cubicBezTo>
                  <a:close/>
                </a:path>
              </a:pathLst>
            </a:custGeom>
            <a:solidFill>
              <a:srgbClr val="E87952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3" name="图形 1">
              <a:extLst>
                <a:ext uri="{FF2B5EF4-FFF2-40B4-BE49-F238E27FC236}">
                  <a16:creationId xmlns:a16="http://schemas.microsoft.com/office/drawing/2014/main" id="{ABF23BAE-A1BE-4B80-BF5E-15AEDCB750A7}"/>
                </a:ext>
              </a:extLst>
            </p:cNvPr>
            <p:cNvGrpSpPr/>
            <p:nvPr/>
          </p:nvGrpSpPr>
          <p:grpSpPr>
            <a:xfrm>
              <a:off x="9300678" y="1750830"/>
              <a:ext cx="797895" cy="343092"/>
              <a:chOff x="9300678" y="1750830"/>
              <a:chExt cx="797895" cy="343092"/>
            </a:xfrm>
          </p:grpSpPr>
          <p:grpSp>
            <p:nvGrpSpPr>
              <p:cNvPr id="59" name="图形 1">
                <a:extLst>
                  <a:ext uri="{FF2B5EF4-FFF2-40B4-BE49-F238E27FC236}">
                    <a16:creationId xmlns:a16="http://schemas.microsoft.com/office/drawing/2014/main" id="{ACF270B4-264A-47CA-933D-93BEE044AF7D}"/>
                  </a:ext>
                </a:extLst>
              </p:cNvPr>
              <p:cNvGrpSpPr/>
              <p:nvPr/>
            </p:nvGrpSpPr>
            <p:grpSpPr>
              <a:xfrm>
                <a:off x="9300678" y="1750830"/>
                <a:ext cx="773413" cy="325789"/>
                <a:chOff x="9300678" y="1750830"/>
                <a:chExt cx="773413" cy="325789"/>
              </a:xfrm>
            </p:grpSpPr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92CB1F30-A092-4467-8BC2-9D1CCAE74031}"/>
                    </a:ext>
                  </a:extLst>
                </p:cNvPr>
                <p:cNvSpPr/>
                <p:nvPr/>
              </p:nvSpPr>
              <p:spPr>
                <a:xfrm>
                  <a:off x="9454746" y="1750830"/>
                  <a:ext cx="619345" cy="325789"/>
                </a:xfrm>
                <a:custGeom>
                  <a:avLst/>
                  <a:gdLst>
                    <a:gd name="connsiteX0" fmla="*/ 442373 w 619345"/>
                    <a:gd name="connsiteY0" fmla="*/ 19703 h 325789"/>
                    <a:gd name="connsiteX1" fmla="*/ 3051 w 619345"/>
                    <a:gd name="connsiteY1" fmla="*/ 138686 h 325789"/>
                    <a:gd name="connsiteX2" fmla="*/ 0 w 619345"/>
                    <a:gd name="connsiteY2" fmla="*/ 147838 h 325789"/>
                    <a:gd name="connsiteX3" fmla="*/ 76271 w 619345"/>
                    <a:gd name="connsiteY3" fmla="*/ 208855 h 325789"/>
                    <a:gd name="connsiteX4" fmla="*/ 54915 w 619345"/>
                    <a:gd name="connsiteY4" fmla="*/ 294279 h 325789"/>
                    <a:gd name="connsiteX5" fmla="*/ 57966 w 619345"/>
                    <a:gd name="connsiteY5" fmla="*/ 300381 h 325789"/>
                    <a:gd name="connsiteX6" fmla="*/ 64068 w 619345"/>
                    <a:gd name="connsiteY6" fmla="*/ 303431 h 325789"/>
                    <a:gd name="connsiteX7" fmla="*/ 399661 w 619345"/>
                    <a:gd name="connsiteY7" fmla="*/ 324787 h 325789"/>
                    <a:gd name="connsiteX8" fmla="*/ 613220 w 619345"/>
                    <a:gd name="connsiteY8" fmla="*/ 282075 h 325789"/>
                    <a:gd name="connsiteX9" fmla="*/ 619322 w 619345"/>
                    <a:gd name="connsiteY9" fmla="*/ 272923 h 325789"/>
                    <a:gd name="connsiteX10" fmla="*/ 442373 w 619345"/>
                    <a:gd name="connsiteY10" fmla="*/ 19703 h 325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19345" h="325789">
                      <a:moveTo>
                        <a:pt x="442373" y="19703"/>
                      </a:moveTo>
                      <a:cubicBezTo>
                        <a:pt x="277627" y="-29111"/>
                        <a:pt x="118983" y="13601"/>
                        <a:pt x="3051" y="138686"/>
                      </a:cubicBezTo>
                      <a:cubicBezTo>
                        <a:pt x="0" y="141736"/>
                        <a:pt x="0" y="144787"/>
                        <a:pt x="0" y="147838"/>
                      </a:cubicBezTo>
                      <a:cubicBezTo>
                        <a:pt x="0" y="150889"/>
                        <a:pt x="21356" y="196652"/>
                        <a:pt x="76271" y="208855"/>
                      </a:cubicBezTo>
                      <a:cubicBezTo>
                        <a:pt x="61017" y="248516"/>
                        <a:pt x="54915" y="291228"/>
                        <a:pt x="54915" y="294279"/>
                      </a:cubicBezTo>
                      <a:cubicBezTo>
                        <a:pt x="54915" y="297330"/>
                        <a:pt x="54915" y="300381"/>
                        <a:pt x="57966" y="300381"/>
                      </a:cubicBezTo>
                      <a:cubicBezTo>
                        <a:pt x="57966" y="303431"/>
                        <a:pt x="61017" y="303431"/>
                        <a:pt x="64068" y="303431"/>
                      </a:cubicBezTo>
                      <a:cubicBezTo>
                        <a:pt x="204407" y="324787"/>
                        <a:pt x="314237" y="327838"/>
                        <a:pt x="399661" y="324787"/>
                      </a:cubicBezTo>
                      <a:cubicBezTo>
                        <a:pt x="540000" y="315635"/>
                        <a:pt x="610170" y="285126"/>
                        <a:pt x="613220" y="282075"/>
                      </a:cubicBezTo>
                      <a:cubicBezTo>
                        <a:pt x="616271" y="282075"/>
                        <a:pt x="619322" y="279025"/>
                        <a:pt x="619322" y="272923"/>
                      </a:cubicBezTo>
                      <a:cubicBezTo>
                        <a:pt x="619322" y="269872"/>
                        <a:pt x="625424" y="71567"/>
                        <a:pt x="442373" y="1970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787B7E16-1930-4036-B612-06DC3C7BD338}"/>
                    </a:ext>
                  </a:extLst>
                </p:cNvPr>
                <p:cNvSpPr/>
                <p:nvPr/>
              </p:nvSpPr>
              <p:spPr>
                <a:xfrm>
                  <a:off x="9300678" y="1785786"/>
                  <a:ext cx="216229" cy="205603"/>
                </a:xfrm>
                <a:custGeom>
                  <a:avLst/>
                  <a:gdLst>
                    <a:gd name="connsiteX0" fmla="*/ 215085 w 216229"/>
                    <a:gd name="connsiteY0" fmla="*/ 97627 h 205603"/>
                    <a:gd name="connsiteX1" fmla="*/ 205932 w 216229"/>
                    <a:gd name="connsiteY1" fmla="*/ 67119 h 205603"/>
                    <a:gd name="connsiteX2" fmla="*/ 193729 w 216229"/>
                    <a:gd name="connsiteY2" fmla="*/ 57966 h 205603"/>
                    <a:gd name="connsiteX3" fmla="*/ 181526 w 216229"/>
                    <a:gd name="connsiteY3" fmla="*/ 30508 h 205603"/>
                    <a:gd name="connsiteX4" fmla="*/ 160170 w 216229"/>
                    <a:gd name="connsiteY4" fmla="*/ 21356 h 205603"/>
                    <a:gd name="connsiteX5" fmla="*/ 144915 w 216229"/>
                    <a:gd name="connsiteY5" fmla="*/ 21356 h 205603"/>
                    <a:gd name="connsiteX6" fmla="*/ 99153 w 216229"/>
                    <a:gd name="connsiteY6" fmla="*/ 0 h 205603"/>
                    <a:gd name="connsiteX7" fmla="*/ 56441 w 216229"/>
                    <a:gd name="connsiteY7" fmla="*/ 30508 h 205603"/>
                    <a:gd name="connsiteX8" fmla="*/ 13729 w 216229"/>
                    <a:gd name="connsiteY8" fmla="*/ 73220 h 205603"/>
                    <a:gd name="connsiteX9" fmla="*/ 13729 w 216229"/>
                    <a:gd name="connsiteY9" fmla="*/ 128136 h 205603"/>
                    <a:gd name="connsiteX10" fmla="*/ 22882 w 216229"/>
                    <a:gd name="connsiteY10" fmla="*/ 170847 h 205603"/>
                    <a:gd name="connsiteX11" fmla="*/ 50339 w 216229"/>
                    <a:gd name="connsiteY11" fmla="*/ 183051 h 205603"/>
                    <a:gd name="connsiteX12" fmla="*/ 56441 w 216229"/>
                    <a:gd name="connsiteY12" fmla="*/ 183051 h 205603"/>
                    <a:gd name="connsiteX13" fmla="*/ 56441 w 216229"/>
                    <a:gd name="connsiteY13" fmla="*/ 183051 h 205603"/>
                    <a:gd name="connsiteX14" fmla="*/ 83899 w 216229"/>
                    <a:gd name="connsiteY14" fmla="*/ 204407 h 205603"/>
                    <a:gd name="connsiteX15" fmla="*/ 117458 w 216229"/>
                    <a:gd name="connsiteY15" fmla="*/ 198305 h 205603"/>
                    <a:gd name="connsiteX16" fmla="*/ 141864 w 216229"/>
                    <a:gd name="connsiteY16" fmla="*/ 198305 h 205603"/>
                    <a:gd name="connsiteX17" fmla="*/ 169322 w 216229"/>
                    <a:gd name="connsiteY17" fmla="*/ 176949 h 205603"/>
                    <a:gd name="connsiteX18" fmla="*/ 175424 w 216229"/>
                    <a:gd name="connsiteY18" fmla="*/ 161695 h 205603"/>
                    <a:gd name="connsiteX19" fmla="*/ 193729 w 216229"/>
                    <a:gd name="connsiteY19" fmla="*/ 146441 h 205603"/>
                    <a:gd name="connsiteX20" fmla="*/ 193729 w 216229"/>
                    <a:gd name="connsiteY20" fmla="*/ 118983 h 205603"/>
                    <a:gd name="connsiteX21" fmla="*/ 196780 w 216229"/>
                    <a:gd name="connsiteY21" fmla="*/ 115932 h 205603"/>
                    <a:gd name="connsiteX22" fmla="*/ 215085 w 216229"/>
                    <a:gd name="connsiteY22" fmla="*/ 97627 h 205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16229" h="205603">
                      <a:moveTo>
                        <a:pt x="215085" y="97627"/>
                      </a:moveTo>
                      <a:cubicBezTo>
                        <a:pt x="218136" y="88475"/>
                        <a:pt x="215085" y="73220"/>
                        <a:pt x="205932" y="67119"/>
                      </a:cubicBezTo>
                      <a:cubicBezTo>
                        <a:pt x="202881" y="64068"/>
                        <a:pt x="196780" y="61017"/>
                        <a:pt x="193729" y="57966"/>
                      </a:cubicBezTo>
                      <a:cubicBezTo>
                        <a:pt x="193729" y="48814"/>
                        <a:pt x="190678" y="39661"/>
                        <a:pt x="181526" y="30508"/>
                      </a:cubicBezTo>
                      <a:cubicBezTo>
                        <a:pt x="175424" y="24407"/>
                        <a:pt x="169322" y="21356"/>
                        <a:pt x="160170" y="21356"/>
                      </a:cubicBezTo>
                      <a:cubicBezTo>
                        <a:pt x="157119" y="21356"/>
                        <a:pt x="151017" y="21356"/>
                        <a:pt x="144915" y="21356"/>
                      </a:cubicBezTo>
                      <a:cubicBezTo>
                        <a:pt x="135763" y="9153"/>
                        <a:pt x="120509" y="0"/>
                        <a:pt x="99153" y="0"/>
                      </a:cubicBezTo>
                      <a:cubicBezTo>
                        <a:pt x="80848" y="3051"/>
                        <a:pt x="65593" y="15254"/>
                        <a:pt x="56441" y="30508"/>
                      </a:cubicBezTo>
                      <a:cubicBezTo>
                        <a:pt x="28983" y="30508"/>
                        <a:pt x="13729" y="51864"/>
                        <a:pt x="13729" y="73220"/>
                      </a:cubicBezTo>
                      <a:cubicBezTo>
                        <a:pt x="-4576" y="88475"/>
                        <a:pt x="-4576" y="115932"/>
                        <a:pt x="13729" y="128136"/>
                      </a:cubicBezTo>
                      <a:cubicBezTo>
                        <a:pt x="10678" y="143390"/>
                        <a:pt x="13729" y="158644"/>
                        <a:pt x="22882" y="170847"/>
                      </a:cubicBezTo>
                      <a:cubicBezTo>
                        <a:pt x="28983" y="180000"/>
                        <a:pt x="38136" y="183051"/>
                        <a:pt x="50339" y="183051"/>
                      </a:cubicBezTo>
                      <a:cubicBezTo>
                        <a:pt x="53390" y="183051"/>
                        <a:pt x="53390" y="183051"/>
                        <a:pt x="56441" y="183051"/>
                      </a:cubicBezTo>
                      <a:cubicBezTo>
                        <a:pt x="56441" y="183051"/>
                        <a:pt x="56441" y="183051"/>
                        <a:pt x="56441" y="183051"/>
                      </a:cubicBezTo>
                      <a:cubicBezTo>
                        <a:pt x="62543" y="195254"/>
                        <a:pt x="71695" y="204407"/>
                        <a:pt x="83899" y="204407"/>
                      </a:cubicBezTo>
                      <a:cubicBezTo>
                        <a:pt x="96102" y="207458"/>
                        <a:pt x="108305" y="204407"/>
                        <a:pt x="117458" y="198305"/>
                      </a:cubicBezTo>
                      <a:cubicBezTo>
                        <a:pt x="126610" y="201356"/>
                        <a:pt x="132712" y="201356"/>
                        <a:pt x="141864" y="198305"/>
                      </a:cubicBezTo>
                      <a:cubicBezTo>
                        <a:pt x="154068" y="195254"/>
                        <a:pt x="163220" y="189153"/>
                        <a:pt x="169322" y="176949"/>
                      </a:cubicBezTo>
                      <a:cubicBezTo>
                        <a:pt x="172373" y="173898"/>
                        <a:pt x="175424" y="167797"/>
                        <a:pt x="175424" y="161695"/>
                      </a:cubicBezTo>
                      <a:cubicBezTo>
                        <a:pt x="181526" y="158644"/>
                        <a:pt x="190678" y="155593"/>
                        <a:pt x="193729" y="146441"/>
                      </a:cubicBezTo>
                      <a:cubicBezTo>
                        <a:pt x="199831" y="134237"/>
                        <a:pt x="196780" y="128136"/>
                        <a:pt x="193729" y="118983"/>
                      </a:cubicBezTo>
                      <a:cubicBezTo>
                        <a:pt x="193729" y="118983"/>
                        <a:pt x="196780" y="118983"/>
                        <a:pt x="196780" y="115932"/>
                      </a:cubicBezTo>
                      <a:cubicBezTo>
                        <a:pt x="208983" y="109831"/>
                        <a:pt x="212034" y="103729"/>
                        <a:pt x="215085" y="9762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D4509B0A-964E-4BC5-B566-662AC913A7C7}"/>
                  </a:ext>
                </a:extLst>
              </p:cNvPr>
              <p:cNvSpPr/>
              <p:nvPr/>
            </p:nvSpPr>
            <p:spPr>
              <a:xfrm>
                <a:off x="9506611" y="1908583"/>
                <a:ext cx="54152" cy="118220"/>
              </a:xfrm>
              <a:custGeom>
                <a:avLst/>
                <a:gdLst>
                  <a:gd name="connsiteX0" fmla="*/ 6102 w 54152"/>
                  <a:gd name="connsiteY0" fmla="*/ 118220 h 118220"/>
                  <a:gd name="connsiteX1" fmla="*/ 6102 w 54152"/>
                  <a:gd name="connsiteY1" fmla="*/ 118220 h 118220"/>
                  <a:gd name="connsiteX2" fmla="*/ 0 w 54152"/>
                  <a:gd name="connsiteY2" fmla="*/ 112119 h 118220"/>
                  <a:gd name="connsiteX3" fmla="*/ 42712 w 54152"/>
                  <a:gd name="connsiteY3" fmla="*/ 2288 h 118220"/>
                  <a:gd name="connsiteX4" fmla="*/ 51864 w 54152"/>
                  <a:gd name="connsiteY4" fmla="*/ 2288 h 118220"/>
                  <a:gd name="connsiteX5" fmla="*/ 51864 w 54152"/>
                  <a:gd name="connsiteY5" fmla="*/ 11441 h 118220"/>
                  <a:gd name="connsiteX6" fmla="*/ 12203 w 54152"/>
                  <a:gd name="connsiteY6" fmla="*/ 118220 h 118220"/>
                  <a:gd name="connsiteX7" fmla="*/ 6102 w 54152"/>
                  <a:gd name="connsiteY7" fmla="*/ 118220 h 11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152" h="118220">
                    <a:moveTo>
                      <a:pt x="6102" y="118220"/>
                    </a:moveTo>
                    <a:cubicBezTo>
                      <a:pt x="6102" y="118220"/>
                      <a:pt x="6102" y="118220"/>
                      <a:pt x="6102" y="118220"/>
                    </a:cubicBezTo>
                    <a:cubicBezTo>
                      <a:pt x="3051" y="118220"/>
                      <a:pt x="0" y="115169"/>
                      <a:pt x="0" y="112119"/>
                    </a:cubicBezTo>
                    <a:cubicBezTo>
                      <a:pt x="0" y="109068"/>
                      <a:pt x="12203" y="45000"/>
                      <a:pt x="42712" y="2288"/>
                    </a:cubicBezTo>
                    <a:cubicBezTo>
                      <a:pt x="45763" y="-763"/>
                      <a:pt x="48813" y="-763"/>
                      <a:pt x="51864" y="2288"/>
                    </a:cubicBezTo>
                    <a:cubicBezTo>
                      <a:pt x="54915" y="5339"/>
                      <a:pt x="54915" y="8390"/>
                      <a:pt x="51864" y="11441"/>
                    </a:cubicBezTo>
                    <a:cubicBezTo>
                      <a:pt x="24407" y="51102"/>
                      <a:pt x="12203" y="118220"/>
                      <a:pt x="12203" y="118220"/>
                    </a:cubicBezTo>
                    <a:cubicBezTo>
                      <a:pt x="12203" y="115169"/>
                      <a:pt x="9153" y="118220"/>
                      <a:pt x="6102" y="11822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B0A4CE6E-122A-4F05-9769-F06BA37EC4DB}"/>
                  </a:ext>
                </a:extLst>
              </p:cNvPr>
              <p:cNvSpPr/>
              <p:nvPr/>
            </p:nvSpPr>
            <p:spPr>
              <a:xfrm>
                <a:off x="9482967" y="1985603"/>
                <a:ext cx="615607" cy="102412"/>
              </a:xfrm>
              <a:custGeom>
                <a:avLst/>
                <a:gdLst>
                  <a:gd name="connsiteX0" fmla="*/ 575847 w 615607"/>
                  <a:gd name="connsiteY0" fmla="*/ 1540 h 102412"/>
                  <a:gd name="connsiteX1" fmla="*/ 29746 w 615607"/>
                  <a:gd name="connsiteY1" fmla="*/ 22896 h 102412"/>
                  <a:gd name="connsiteX2" fmla="*/ 29746 w 615607"/>
                  <a:gd name="connsiteY2" fmla="*/ 86963 h 102412"/>
                  <a:gd name="connsiteX3" fmla="*/ 591102 w 615607"/>
                  <a:gd name="connsiteY3" fmla="*/ 62557 h 102412"/>
                  <a:gd name="connsiteX4" fmla="*/ 575847 w 615607"/>
                  <a:gd name="connsiteY4" fmla="*/ 1540 h 102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5607" h="102412">
                    <a:moveTo>
                      <a:pt x="575847" y="1540"/>
                    </a:moveTo>
                    <a:cubicBezTo>
                      <a:pt x="395848" y="53404"/>
                      <a:pt x="212797" y="41201"/>
                      <a:pt x="29746" y="22896"/>
                    </a:cubicBezTo>
                    <a:cubicBezTo>
                      <a:pt x="-9915" y="19845"/>
                      <a:pt x="-9915" y="83913"/>
                      <a:pt x="29746" y="86963"/>
                    </a:cubicBezTo>
                    <a:cubicBezTo>
                      <a:pt x="218898" y="105268"/>
                      <a:pt x="408051" y="117472"/>
                      <a:pt x="591102" y="62557"/>
                    </a:cubicBezTo>
                    <a:cubicBezTo>
                      <a:pt x="633813" y="53404"/>
                      <a:pt x="615509" y="-10664"/>
                      <a:pt x="575847" y="1540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73C933C7-220E-44D9-9FE5-B10B66F52229}"/>
                  </a:ext>
                </a:extLst>
              </p:cNvPr>
              <p:cNvSpPr/>
              <p:nvPr/>
            </p:nvSpPr>
            <p:spPr>
              <a:xfrm>
                <a:off x="9477951" y="2004654"/>
                <a:ext cx="599167" cy="89268"/>
              </a:xfrm>
              <a:custGeom>
                <a:avLst/>
                <a:gdLst>
                  <a:gd name="connsiteX0" fmla="*/ 294083 w 599167"/>
                  <a:gd name="connsiteY0" fmla="*/ 89268 h 89268"/>
                  <a:gd name="connsiteX1" fmla="*/ 34761 w 599167"/>
                  <a:gd name="connsiteY1" fmla="*/ 74014 h 89268"/>
                  <a:gd name="connsiteX2" fmla="*/ 4252 w 599167"/>
                  <a:gd name="connsiteY2" fmla="*/ 52658 h 89268"/>
                  <a:gd name="connsiteX3" fmla="*/ 7303 w 599167"/>
                  <a:gd name="connsiteY3" fmla="*/ 12997 h 89268"/>
                  <a:gd name="connsiteX4" fmla="*/ 37812 w 599167"/>
                  <a:gd name="connsiteY4" fmla="*/ 794 h 89268"/>
                  <a:gd name="connsiteX5" fmla="*/ 223913 w 599167"/>
                  <a:gd name="connsiteY5" fmla="*/ 12997 h 89268"/>
                  <a:gd name="connsiteX6" fmla="*/ 230015 w 599167"/>
                  <a:gd name="connsiteY6" fmla="*/ 19099 h 89268"/>
                  <a:gd name="connsiteX7" fmla="*/ 223913 w 599167"/>
                  <a:gd name="connsiteY7" fmla="*/ 25200 h 89268"/>
                  <a:gd name="connsiteX8" fmla="*/ 223913 w 599167"/>
                  <a:gd name="connsiteY8" fmla="*/ 25200 h 89268"/>
                  <a:gd name="connsiteX9" fmla="*/ 34761 w 599167"/>
                  <a:gd name="connsiteY9" fmla="*/ 9946 h 89268"/>
                  <a:gd name="connsiteX10" fmla="*/ 13405 w 599167"/>
                  <a:gd name="connsiteY10" fmla="*/ 19099 h 89268"/>
                  <a:gd name="connsiteX11" fmla="*/ 10354 w 599167"/>
                  <a:gd name="connsiteY11" fmla="*/ 46556 h 89268"/>
                  <a:gd name="connsiteX12" fmla="*/ 31710 w 599167"/>
                  <a:gd name="connsiteY12" fmla="*/ 61811 h 89268"/>
                  <a:gd name="connsiteX13" fmla="*/ 593066 w 599167"/>
                  <a:gd name="connsiteY13" fmla="*/ 37404 h 89268"/>
                  <a:gd name="connsiteX14" fmla="*/ 599168 w 599167"/>
                  <a:gd name="connsiteY14" fmla="*/ 40455 h 89268"/>
                  <a:gd name="connsiteX15" fmla="*/ 596117 w 599167"/>
                  <a:gd name="connsiteY15" fmla="*/ 46556 h 89268"/>
                  <a:gd name="connsiteX16" fmla="*/ 294083 w 599167"/>
                  <a:gd name="connsiteY16" fmla="*/ 89268 h 89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99167" h="89268">
                    <a:moveTo>
                      <a:pt x="294083" y="89268"/>
                    </a:moveTo>
                    <a:cubicBezTo>
                      <a:pt x="208659" y="89268"/>
                      <a:pt x="123235" y="83167"/>
                      <a:pt x="34761" y="74014"/>
                    </a:cubicBezTo>
                    <a:cubicBezTo>
                      <a:pt x="19507" y="74014"/>
                      <a:pt x="10354" y="64861"/>
                      <a:pt x="4252" y="52658"/>
                    </a:cubicBezTo>
                    <a:cubicBezTo>
                      <a:pt x="-1849" y="40455"/>
                      <a:pt x="-1849" y="22150"/>
                      <a:pt x="7303" y="12997"/>
                    </a:cubicBezTo>
                    <a:cubicBezTo>
                      <a:pt x="13405" y="3844"/>
                      <a:pt x="25608" y="-2257"/>
                      <a:pt x="37812" y="794"/>
                    </a:cubicBezTo>
                    <a:cubicBezTo>
                      <a:pt x="37812" y="794"/>
                      <a:pt x="181202" y="12997"/>
                      <a:pt x="223913" y="12997"/>
                    </a:cubicBezTo>
                    <a:cubicBezTo>
                      <a:pt x="226964" y="12997"/>
                      <a:pt x="230015" y="16048"/>
                      <a:pt x="230015" y="19099"/>
                    </a:cubicBezTo>
                    <a:cubicBezTo>
                      <a:pt x="230015" y="22150"/>
                      <a:pt x="226964" y="25200"/>
                      <a:pt x="223913" y="25200"/>
                    </a:cubicBezTo>
                    <a:cubicBezTo>
                      <a:pt x="223913" y="25200"/>
                      <a:pt x="223913" y="25200"/>
                      <a:pt x="223913" y="25200"/>
                    </a:cubicBezTo>
                    <a:cubicBezTo>
                      <a:pt x="178151" y="25200"/>
                      <a:pt x="37812" y="12997"/>
                      <a:pt x="34761" y="9946"/>
                    </a:cubicBezTo>
                    <a:cubicBezTo>
                      <a:pt x="25608" y="9946"/>
                      <a:pt x="19507" y="12997"/>
                      <a:pt x="13405" y="19099"/>
                    </a:cubicBezTo>
                    <a:cubicBezTo>
                      <a:pt x="7303" y="25200"/>
                      <a:pt x="7303" y="37404"/>
                      <a:pt x="10354" y="46556"/>
                    </a:cubicBezTo>
                    <a:cubicBezTo>
                      <a:pt x="13405" y="52658"/>
                      <a:pt x="19507" y="61811"/>
                      <a:pt x="31710" y="61811"/>
                    </a:cubicBezTo>
                    <a:cubicBezTo>
                      <a:pt x="223913" y="80116"/>
                      <a:pt x="410015" y="92319"/>
                      <a:pt x="593066" y="37404"/>
                    </a:cubicBezTo>
                    <a:cubicBezTo>
                      <a:pt x="596117" y="37404"/>
                      <a:pt x="599168" y="37404"/>
                      <a:pt x="599168" y="40455"/>
                    </a:cubicBezTo>
                    <a:cubicBezTo>
                      <a:pt x="599168" y="43505"/>
                      <a:pt x="599168" y="46556"/>
                      <a:pt x="596117" y="46556"/>
                    </a:cubicBezTo>
                    <a:cubicBezTo>
                      <a:pt x="498490" y="80116"/>
                      <a:pt x="397812" y="89268"/>
                      <a:pt x="294083" y="892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17F7AC36-3039-4E5E-B447-7711067D549C}"/>
                </a:ext>
              </a:extLst>
            </p:cNvPr>
            <p:cNvSpPr/>
            <p:nvPr/>
          </p:nvSpPr>
          <p:spPr>
            <a:xfrm>
              <a:off x="9563879" y="2145786"/>
              <a:ext cx="520509" cy="589182"/>
            </a:xfrm>
            <a:custGeom>
              <a:avLst/>
              <a:gdLst>
                <a:gd name="connsiteX0" fmla="*/ 15952 w 520509"/>
                <a:gd name="connsiteY0" fmla="*/ 143390 h 589182"/>
                <a:gd name="connsiteX1" fmla="*/ 3749 w 520509"/>
                <a:gd name="connsiteY1" fmla="*/ 12203 h 589182"/>
                <a:gd name="connsiteX2" fmla="*/ 64766 w 520509"/>
                <a:gd name="connsiteY2" fmla="*/ 0 h 589182"/>
                <a:gd name="connsiteX3" fmla="*/ 101376 w 520509"/>
                <a:gd name="connsiteY3" fmla="*/ 222712 h 589182"/>
                <a:gd name="connsiteX4" fmla="*/ 232562 w 520509"/>
                <a:gd name="connsiteY4" fmla="*/ 216610 h 589182"/>
                <a:gd name="connsiteX5" fmla="*/ 272224 w 520509"/>
                <a:gd name="connsiteY5" fmla="*/ 207458 h 589182"/>
                <a:gd name="connsiteX6" fmla="*/ 363749 w 520509"/>
                <a:gd name="connsiteY6" fmla="*/ 244068 h 589182"/>
                <a:gd name="connsiteX7" fmla="*/ 440020 w 520509"/>
                <a:gd name="connsiteY7" fmla="*/ 125085 h 589182"/>
                <a:gd name="connsiteX8" fmla="*/ 473579 w 520509"/>
                <a:gd name="connsiteY8" fmla="*/ 103729 h 589182"/>
                <a:gd name="connsiteX9" fmla="*/ 452223 w 520509"/>
                <a:gd name="connsiteY9" fmla="*/ 201356 h 589182"/>
                <a:gd name="connsiteX10" fmla="*/ 458325 w 520509"/>
                <a:gd name="connsiteY10" fmla="*/ 503390 h 589182"/>
                <a:gd name="connsiteX11" fmla="*/ 455274 w 520509"/>
                <a:gd name="connsiteY11" fmla="*/ 576610 h 589182"/>
                <a:gd name="connsiteX12" fmla="*/ 698 w 520509"/>
                <a:gd name="connsiteY12" fmla="*/ 274576 h 589182"/>
                <a:gd name="connsiteX13" fmla="*/ 15952 w 520509"/>
                <a:gd name="connsiteY13" fmla="*/ 143390 h 58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0509" h="589182">
                  <a:moveTo>
                    <a:pt x="15952" y="143390"/>
                  </a:moveTo>
                  <a:cubicBezTo>
                    <a:pt x="15952" y="143390"/>
                    <a:pt x="3749" y="12203"/>
                    <a:pt x="3749" y="12203"/>
                  </a:cubicBezTo>
                  <a:cubicBezTo>
                    <a:pt x="22054" y="9153"/>
                    <a:pt x="49512" y="6102"/>
                    <a:pt x="64766" y="0"/>
                  </a:cubicBezTo>
                  <a:cubicBezTo>
                    <a:pt x="64766" y="33559"/>
                    <a:pt x="76969" y="204407"/>
                    <a:pt x="101376" y="222712"/>
                  </a:cubicBezTo>
                  <a:cubicBezTo>
                    <a:pt x="134935" y="244068"/>
                    <a:pt x="214257" y="256271"/>
                    <a:pt x="232562" y="216610"/>
                  </a:cubicBezTo>
                  <a:cubicBezTo>
                    <a:pt x="232562" y="216610"/>
                    <a:pt x="256969" y="231864"/>
                    <a:pt x="272224" y="207458"/>
                  </a:cubicBezTo>
                  <a:cubicBezTo>
                    <a:pt x="272224" y="207458"/>
                    <a:pt x="302732" y="247119"/>
                    <a:pt x="363749" y="244068"/>
                  </a:cubicBezTo>
                  <a:cubicBezTo>
                    <a:pt x="394257" y="241017"/>
                    <a:pt x="433918" y="155593"/>
                    <a:pt x="440020" y="125085"/>
                  </a:cubicBezTo>
                  <a:cubicBezTo>
                    <a:pt x="452223" y="131186"/>
                    <a:pt x="461376" y="103729"/>
                    <a:pt x="473579" y="103729"/>
                  </a:cubicBezTo>
                  <a:cubicBezTo>
                    <a:pt x="473579" y="106780"/>
                    <a:pt x="452223" y="198305"/>
                    <a:pt x="452223" y="201356"/>
                  </a:cubicBezTo>
                  <a:cubicBezTo>
                    <a:pt x="452223" y="201356"/>
                    <a:pt x="601715" y="414915"/>
                    <a:pt x="458325" y="503390"/>
                  </a:cubicBezTo>
                  <a:cubicBezTo>
                    <a:pt x="418664" y="527797"/>
                    <a:pt x="455274" y="576610"/>
                    <a:pt x="455274" y="576610"/>
                  </a:cubicBezTo>
                  <a:cubicBezTo>
                    <a:pt x="455274" y="576610"/>
                    <a:pt x="-20658" y="683390"/>
                    <a:pt x="698" y="274576"/>
                  </a:cubicBezTo>
                  <a:cubicBezTo>
                    <a:pt x="3749" y="204407"/>
                    <a:pt x="15952" y="143390"/>
                    <a:pt x="15952" y="143390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F5D648E1-4300-4454-A4CF-07746DF658B5}"/>
                </a:ext>
              </a:extLst>
            </p:cNvPr>
            <p:cNvSpPr/>
            <p:nvPr/>
          </p:nvSpPr>
          <p:spPr>
            <a:xfrm>
              <a:off x="9711017" y="2332439"/>
              <a:ext cx="253220" cy="69046"/>
            </a:xfrm>
            <a:custGeom>
              <a:avLst/>
              <a:gdLst>
                <a:gd name="connsiteX0" fmla="*/ 192203 w 253220"/>
                <a:gd name="connsiteY0" fmla="*/ 5550 h 69046"/>
                <a:gd name="connsiteX1" fmla="*/ 253220 w 253220"/>
                <a:gd name="connsiteY1" fmla="*/ 33008 h 69046"/>
                <a:gd name="connsiteX2" fmla="*/ 134237 w 253220"/>
                <a:gd name="connsiteY2" fmla="*/ 54364 h 69046"/>
                <a:gd name="connsiteX3" fmla="*/ 0 w 253220"/>
                <a:gd name="connsiteY3" fmla="*/ 29957 h 69046"/>
                <a:gd name="connsiteX4" fmla="*/ 48814 w 253220"/>
                <a:gd name="connsiteY4" fmla="*/ 23856 h 69046"/>
                <a:gd name="connsiteX5" fmla="*/ 128136 w 253220"/>
                <a:gd name="connsiteY5" fmla="*/ 8601 h 69046"/>
                <a:gd name="connsiteX6" fmla="*/ 192203 w 253220"/>
                <a:gd name="connsiteY6" fmla="*/ 5550 h 69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220" h="69046">
                  <a:moveTo>
                    <a:pt x="192203" y="5550"/>
                  </a:moveTo>
                  <a:cubicBezTo>
                    <a:pt x="216610" y="17754"/>
                    <a:pt x="222712" y="39110"/>
                    <a:pt x="253220" y="33008"/>
                  </a:cubicBezTo>
                  <a:cubicBezTo>
                    <a:pt x="253220" y="33008"/>
                    <a:pt x="204407" y="97076"/>
                    <a:pt x="134237" y="54364"/>
                  </a:cubicBezTo>
                  <a:cubicBezTo>
                    <a:pt x="134237" y="54364"/>
                    <a:pt x="45763" y="97076"/>
                    <a:pt x="0" y="29957"/>
                  </a:cubicBezTo>
                  <a:cubicBezTo>
                    <a:pt x="0" y="29957"/>
                    <a:pt x="33560" y="33008"/>
                    <a:pt x="48814" y="23856"/>
                  </a:cubicBezTo>
                  <a:cubicBezTo>
                    <a:pt x="64068" y="14703"/>
                    <a:pt x="85424" y="-12755"/>
                    <a:pt x="128136" y="8601"/>
                  </a:cubicBezTo>
                  <a:cubicBezTo>
                    <a:pt x="125085" y="11652"/>
                    <a:pt x="155593" y="-9704"/>
                    <a:pt x="192203" y="5550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E939FE05-A42B-47BC-8393-8EA92B58E6AB}"/>
                </a:ext>
              </a:extLst>
            </p:cNvPr>
            <p:cNvSpPr/>
            <p:nvPr/>
          </p:nvSpPr>
          <p:spPr>
            <a:xfrm>
              <a:off x="9808644" y="2423413"/>
              <a:ext cx="85423" cy="45908"/>
            </a:xfrm>
            <a:custGeom>
              <a:avLst/>
              <a:gdLst>
                <a:gd name="connsiteX0" fmla="*/ 85424 w 85423"/>
                <a:gd name="connsiteY0" fmla="*/ 0 h 45908"/>
                <a:gd name="connsiteX1" fmla="*/ 0 w 85423"/>
                <a:gd name="connsiteY1" fmla="*/ 3051 h 45908"/>
                <a:gd name="connsiteX2" fmla="*/ 45763 w 85423"/>
                <a:gd name="connsiteY2" fmla="*/ 45763 h 45908"/>
                <a:gd name="connsiteX3" fmla="*/ 85424 w 85423"/>
                <a:gd name="connsiteY3" fmla="*/ 0 h 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423" h="45908">
                  <a:moveTo>
                    <a:pt x="85424" y="0"/>
                  </a:moveTo>
                  <a:cubicBezTo>
                    <a:pt x="48814" y="15254"/>
                    <a:pt x="0" y="3051"/>
                    <a:pt x="0" y="3051"/>
                  </a:cubicBezTo>
                  <a:cubicBezTo>
                    <a:pt x="0" y="3051"/>
                    <a:pt x="15254" y="48814"/>
                    <a:pt x="45763" y="45763"/>
                  </a:cubicBezTo>
                  <a:cubicBezTo>
                    <a:pt x="76271" y="39661"/>
                    <a:pt x="85424" y="0"/>
                    <a:pt x="85424" y="0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7" name="图形 1">
              <a:extLst>
                <a:ext uri="{FF2B5EF4-FFF2-40B4-BE49-F238E27FC236}">
                  <a16:creationId xmlns:a16="http://schemas.microsoft.com/office/drawing/2014/main" id="{F5361755-345E-4C9D-9575-281DD456C597}"/>
                </a:ext>
              </a:extLst>
            </p:cNvPr>
            <p:cNvGrpSpPr/>
            <p:nvPr/>
          </p:nvGrpSpPr>
          <p:grpSpPr>
            <a:xfrm>
              <a:off x="9802543" y="2219007"/>
              <a:ext cx="57965" cy="137288"/>
              <a:chOff x="9802543" y="2219007"/>
              <a:chExt cx="57965" cy="137288"/>
            </a:xfrm>
          </p:grpSpPr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F4A33A60-2F45-47D3-83B8-EDDA58BA2A41}"/>
                  </a:ext>
                </a:extLst>
              </p:cNvPr>
              <p:cNvSpPr/>
              <p:nvPr/>
            </p:nvSpPr>
            <p:spPr>
              <a:xfrm>
                <a:off x="9808644" y="2225108"/>
                <a:ext cx="48813" cy="125505"/>
              </a:xfrm>
              <a:custGeom>
                <a:avLst/>
                <a:gdLst>
                  <a:gd name="connsiteX0" fmla="*/ 33560 w 48813"/>
                  <a:gd name="connsiteY0" fmla="*/ 0 h 125505"/>
                  <a:gd name="connsiteX1" fmla="*/ 48814 w 48813"/>
                  <a:gd name="connsiteY1" fmla="*/ 112881 h 125505"/>
                  <a:gd name="connsiteX2" fmla="*/ 0 w 48813"/>
                  <a:gd name="connsiteY2" fmla="*/ 122034 h 125505"/>
                  <a:gd name="connsiteX3" fmla="*/ 33560 w 48813"/>
                  <a:gd name="connsiteY3" fmla="*/ 0 h 12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" h="125505">
                    <a:moveTo>
                      <a:pt x="33560" y="0"/>
                    </a:moveTo>
                    <a:cubicBezTo>
                      <a:pt x="33560" y="0"/>
                      <a:pt x="48814" y="91525"/>
                      <a:pt x="48814" y="112881"/>
                    </a:cubicBezTo>
                    <a:cubicBezTo>
                      <a:pt x="48814" y="134237"/>
                      <a:pt x="0" y="122034"/>
                      <a:pt x="0" y="122034"/>
                    </a:cubicBezTo>
                    <a:lnTo>
                      <a:pt x="33560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B07DBD1C-33AC-46C3-80F7-FAE31E60D63B}"/>
                  </a:ext>
                </a:extLst>
              </p:cNvPr>
              <p:cNvSpPr/>
              <p:nvPr/>
            </p:nvSpPr>
            <p:spPr>
              <a:xfrm>
                <a:off x="9802543" y="2219007"/>
                <a:ext cx="57965" cy="137288"/>
              </a:xfrm>
              <a:custGeom>
                <a:avLst/>
                <a:gdLst>
                  <a:gd name="connsiteX0" fmla="*/ 30508 w 57965"/>
                  <a:gd name="connsiteY0" fmla="*/ 137288 h 137288"/>
                  <a:gd name="connsiteX1" fmla="*/ 6102 w 57965"/>
                  <a:gd name="connsiteY1" fmla="*/ 134237 h 137288"/>
                  <a:gd name="connsiteX2" fmla="*/ 0 w 57965"/>
                  <a:gd name="connsiteY2" fmla="*/ 128136 h 137288"/>
                  <a:gd name="connsiteX3" fmla="*/ 6102 w 57965"/>
                  <a:gd name="connsiteY3" fmla="*/ 122034 h 137288"/>
                  <a:gd name="connsiteX4" fmla="*/ 45763 w 57965"/>
                  <a:gd name="connsiteY4" fmla="*/ 122034 h 137288"/>
                  <a:gd name="connsiteX5" fmla="*/ 45763 w 57965"/>
                  <a:gd name="connsiteY5" fmla="*/ 118983 h 137288"/>
                  <a:gd name="connsiteX6" fmla="*/ 30508 w 57965"/>
                  <a:gd name="connsiteY6" fmla="*/ 6102 h 137288"/>
                  <a:gd name="connsiteX7" fmla="*/ 36610 w 57965"/>
                  <a:gd name="connsiteY7" fmla="*/ 0 h 137288"/>
                  <a:gd name="connsiteX8" fmla="*/ 42712 w 57965"/>
                  <a:gd name="connsiteY8" fmla="*/ 6102 h 137288"/>
                  <a:gd name="connsiteX9" fmla="*/ 57966 w 57965"/>
                  <a:gd name="connsiteY9" fmla="*/ 118983 h 137288"/>
                  <a:gd name="connsiteX10" fmla="*/ 51864 w 57965"/>
                  <a:gd name="connsiteY10" fmla="*/ 131186 h 137288"/>
                  <a:gd name="connsiteX11" fmla="*/ 30508 w 57965"/>
                  <a:gd name="connsiteY11" fmla="*/ 137288 h 137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7965" h="137288">
                    <a:moveTo>
                      <a:pt x="30508" y="137288"/>
                    </a:moveTo>
                    <a:cubicBezTo>
                      <a:pt x="18305" y="137288"/>
                      <a:pt x="9153" y="134237"/>
                      <a:pt x="6102" y="134237"/>
                    </a:cubicBezTo>
                    <a:cubicBezTo>
                      <a:pt x="3051" y="134237"/>
                      <a:pt x="0" y="131186"/>
                      <a:pt x="0" y="128136"/>
                    </a:cubicBezTo>
                    <a:cubicBezTo>
                      <a:pt x="0" y="125085"/>
                      <a:pt x="3051" y="122034"/>
                      <a:pt x="6102" y="122034"/>
                    </a:cubicBezTo>
                    <a:cubicBezTo>
                      <a:pt x="18305" y="125085"/>
                      <a:pt x="39661" y="125085"/>
                      <a:pt x="45763" y="122034"/>
                    </a:cubicBezTo>
                    <a:cubicBezTo>
                      <a:pt x="45763" y="122034"/>
                      <a:pt x="45763" y="118983"/>
                      <a:pt x="45763" y="118983"/>
                    </a:cubicBezTo>
                    <a:cubicBezTo>
                      <a:pt x="45763" y="100678"/>
                      <a:pt x="30508" y="9153"/>
                      <a:pt x="30508" y="6102"/>
                    </a:cubicBezTo>
                    <a:cubicBezTo>
                      <a:pt x="30508" y="3051"/>
                      <a:pt x="33560" y="0"/>
                      <a:pt x="36610" y="0"/>
                    </a:cubicBezTo>
                    <a:cubicBezTo>
                      <a:pt x="39661" y="0"/>
                      <a:pt x="42712" y="3051"/>
                      <a:pt x="42712" y="6102"/>
                    </a:cubicBezTo>
                    <a:cubicBezTo>
                      <a:pt x="42712" y="9153"/>
                      <a:pt x="57966" y="100678"/>
                      <a:pt x="57966" y="118983"/>
                    </a:cubicBezTo>
                    <a:cubicBezTo>
                      <a:pt x="57966" y="125085"/>
                      <a:pt x="54915" y="128136"/>
                      <a:pt x="51864" y="131186"/>
                    </a:cubicBezTo>
                    <a:cubicBezTo>
                      <a:pt x="48814" y="137288"/>
                      <a:pt x="39661" y="137288"/>
                      <a:pt x="30508" y="1372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71511CDD-374F-49C5-B226-725B3D9D7526}"/>
                </a:ext>
              </a:extLst>
            </p:cNvPr>
            <p:cNvSpPr/>
            <p:nvPr/>
          </p:nvSpPr>
          <p:spPr>
            <a:xfrm>
              <a:off x="9079492" y="4107481"/>
              <a:ext cx="1446102" cy="485206"/>
            </a:xfrm>
            <a:custGeom>
              <a:avLst/>
              <a:gdLst>
                <a:gd name="connsiteX0" fmla="*/ 1229492 w 1446102"/>
                <a:gd name="connsiteY0" fmla="*/ 27458 h 485206"/>
                <a:gd name="connsiteX1" fmla="*/ 1446102 w 1446102"/>
                <a:gd name="connsiteY1" fmla="*/ 442373 h 485206"/>
                <a:gd name="connsiteX2" fmla="*/ 0 w 1446102"/>
                <a:gd name="connsiteY2" fmla="*/ 402712 h 485206"/>
                <a:gd name="connsiteX3" fmla="*/ 158644 w 1446102"/>
                <a:gd name="connsiteY3" fmla="*/ 0 h 485206"/>
                <a:gd name="connsiteX4" fmla="*/ 1229492 w 1446102"/>
                <a:gd name="connsiteY4" fmla="*/ 27458 h 485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6102" h="485206">
                  <a:moveTo>
                    <a:pt x="1229492" y="27458"/>
                  </a:moveTo>
                  <a:lnTo>
                    <a:pt x="1446102" y="442373"/>
                  </a:lnTo>
                  <a:cubicBezTo>
                    <a:pt x="1446102" y="442373"/>
                    <a:pt x="360000" y="561356"/>
                    <a:pt x="0" y="402712"/>
                  </a:cubicBezTo>
                  <a:lnTo>
                    <a:pt x="158644" y="0"/>
                  </a:lnTo>
                  <a:lnTo>
                    <a:pt x="1229492" y="27458"/>
                  </a:ln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DC6F8B88-73C1-42EC-B79F-B35E9F1A75F1}"/>
                </a:ext>
              </a:extLst>
            </p:cNvPr>
            <p:cNvSpPr/>
            <p:nvPr/>
          </p:nvSpPr>
          <p:spPr>
            <a:xfrm>
              <a:off x="11313445" y="3212047"/>
              <a:ext cx="152101" cy="286506"/>
            </a:xfrm>
            <a:custGeom>
              <a:avLst/>
              <a:gdLst>
                <a:gd name="connsiteX0" fmla="*/ 90793 w 152101"/>
                <a:gd name="connsiteY0" fmla="*/ 25943 h 286506"/>
                <a:gd name="connsiteX1" fmla="*/ 151810 w 152101"/>
                <a:gd name="connsiteY1" fmla="*/ 236452 h 286506"/>
                <a:gd name="connsiteX2" fmla="*/ 60284 w 152101"/>
                <a:gd name="connsiteY2" fmla="*/ 248655 h 286506"/>
                <a:gd name="connsiteX3" fmla="*/ 5369 w 152101"/>
                <a:gd name="connsiteY3" fmla="*/ 59502 h 286506"/>
                <a:gd name="connsiteX4" fmla="*/ 90793 w 152101"/>
                <a:gd name="connsiteY4" fmla="*/ 25943 h 286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101" h="286506">
                  <a:moveTo>
                    <a:pt x="90793" y="25943"/>
                  </a:moveTo>
                  <a:cubicBezTo>
                    <a:pt x="124352" y="93062"/>
                    <a:pt x="145707" y="163231"/>
                    <a:pt x="151810" y="236452"/>
                  </a:cubicBezTo>
                  <a:cubicBezTo>
                    <a:pt x="157912" y="294418"/>
                    <a:pt x="66386" y="306621"/>
                    <a:pt x="60284" y="248655"/>
                  </a:cubicBezTo>
                  <a:cubicBezTo>
                    <a:pt x="54182" y="181536"/>
                    <a:pt x="32827" y="120519"/>
                    <a:pt x="5369" y="59502"/>
                  </a:cubicBezTo>
                  <a:cubicBezTo>
                    <a:pt x="-22089" y="7638"/>
                    <a:pt x="63335" y="-25921"/>
                    <a:pt x="90793" y="25943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B908EBA0-2351-4C37-9025-CE3C7BC1477A}"/>
                </a:ext>
              </a:extLst>
            </p:cNvPr>
            <p:cNvSpPr/>
            <p:nvPr/>
          </p:nvSpPr>
          <p:spPr>
            <a:xfrm>
              <a:off x="9055938" y="2652468"/>
              <a:ext cx="1510079" cy="1979920"/>
            </a:xfrm>
            <a:custGeom>
              <a:avLst/>
              <a:gdLst>
                <a:gd name="connsiteX0" fmla="*/ 54062 w 1510079"/>
                <a:gd name="connsiteY0" fmla="*/ 1793658 h 1979920"/>
                <a:gd name="connsiteX1" fmla="*/ 1073046 w 1510079"/>
                <a:gd name="connsiteY1" fmla="*/ 1866878 h 1979920"/>
                <a:gd name="connsiteX2" fmla="*/ 1008978 w 1510079"/>
                <a:gd name="connsiteY2" fmla="*/ 1509929 h 1979920"/>
                <a:gd name="connsiteX3" fmla="*/ 1005927 w 1510079"/>
                <a:gd name="connsiteY3" fmla="*/ 1497726 h 1979920"/>
                <a:gd name="connsiteX4" fmla="*/ 1002876 w 1510079"/>
                <a:gd name="connsiteY4" fmla="*/ 1451963 h 1979920"/>
                <a:gd name="connsiteX5" fmla="*/ 1094401 w 1510079"/>
                <a:gd name="connsiteY5" fmla="*/ 744166 h 1979920"/>
                <a:gd name="connsiteX6" fmla="*/ 828977 w 1510079"/>
                <a:gd name="connsiteY6" fmla="*/ 69929 h 1979920"/>
                <a:gd name="connsiteX7" fmla="*/ 908300 w 1510079"/>
                <a:gd name="connsiteY7" fmla="*/ 24166 h 1979920"/>
                <a:gd name="connsiteX8" fmla="*/ 1188977 w 1510079"/>
                <a:gd name="connsiteY8" fmla="*/ 747217 h 1979920"/>
                <a:gd name="connsiteX9" fmla="*/ 1094401 w 1510079"/>
                <a:gd name="connsiteY9" fmla="*/ 1476370 h 1979920"/>
                <a:gd name="connsiteX10" fmla="*/ 1167621 w 1510079"/>
                <a:gd name="connsiteY10" fmla="*/ 1863827 h 1979920"/>
                <a:gd name="connsiteX11" fmla="*/ 1466605 w 1510079"/>
                <a:gd name="connsiteY11" fmla="*/ 1842471 h 1979920"/>
                <a:gd name="connsiteX12" fmla="*/ 1466605 w 1510079"/>
                <a:gd name="connsiteY12" fmla="*/ 1933997 h 1979920"/>
                <a:gd name="connsiteX13" fmla="*/ 35757 w 1510079"/>
                <a:gd name="connsiteY13" fmla="*/ 1885183 h 1979920"/>
                <a:gd name="connsiteX14" fmla="*/ 54062 w 1510079"/>
                <a:gd name="connsiteY14" fmla="*/ 1793658 h 197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10079" h="1979920">
                  <a:moveTo>
                    <a:pt x="54062" y="1793658"/>
                  </a:moveTo>
                  <a:cubicBezTo>
                    <a:pt x="377452" y="1903488"/>
                    <a:pt x="728299" y="1891285"/>
                    <a:pt x="1073046" y="1866878"/>
                  </a:cubicBezTo>
                  <a:cubicBezTo>
                    <a:pt x="1073046" y="1744844"/>
                    <a:pt x="1060841" y="1622810"/>
                    <a:pt x="1008978" y="1509929"/>
                  </a:cubicBezTo>
                  <a:cubicBezTo>
                    <a:pt x="1005927" y="1503827"/>
                    <a:pt x="1005927" y="1500777"/>
                    <a:pt x="1005927" y="1497726"/>
                  </a:cubicBezTo>
                  <a:cubicBezTo>
                    <a:pt x="996774" y="1485522"/>
                    <a:pt x="993723" y="1467217"/>
                    <a:pt x="1002876" y="1451963"/>
                  </a:cubicBezTo>
                  <a:cubicBezTo>
                    <a:pt x="1100503" y="1247556"/>
                    <a:pt x="1109655" y="966878"/>
                    <a:pt x="1094401" y="744166"/>
                  </a:cubicBezTo>
                  <a:cubicBezTo>
                    <a:pt x="1076096" y="484844"/>
                    <a:pt x="929655" y="295692"/>
                    <a:pt x="828977" y="69929"/>
                  </a:cubicBezTo>
                  <a:cubicBezTo>
                    <a:pt x="804570" y="18065"/>
                    <a:pt x="883893" y="-30749"/>
                    <a:pt x="908300" y="24166"/>
                  </a:cubicBezTo>
                  <a:cubicBezTo>
                    <a:pt x="1018130" y="268234"/>
                    <a:pt x="1170672" y="469590"/>
                    <a:pt x="1188977" y="747217"/>
                  </a:cubicBezTo>
                  <a:cubicBezTo>
                    <a:pt x="1204232" y="979082"/>
                    <a:pt x="1192028" y="1259760"/>
                    <a:pt x="1094401" y="1476370"/>
                  </a:cubicBezTo>
                  <a:cubicBezTo>
                    <a:pt x="1149317" y="1598404"/>
                    <a:pt x="1164571" y="1729590"/>
                    <a:pt x="1167621" y="1863827"/>
                  </a:cubicBezTo>
                  <a:cubicBezTo>
                    <a:pt x="1268300" y="1854675"/>
                    <a:pt x="1368977" y="1848573"/>
                    <a:pt x="1466605" y="1842471"/>
                  </a:cubicBezTo>
                  <a:cubicBezTo>
                    <a:pt x="1524571" y="1839421"/>
                    <a:pt x="1524571" y="1930946"/>
                    <a:pt x="1466605" y="1933997"/>
                  </a:cubicBezTo>
                  <a:cubicBezTo>
                    <a:pt x="996774" y="1961454"/>
                    <a:pt x="490333" y="2043827"/>
                    <a:pt x="35757" y="1885183"/>
                  </a:cubicBezTo>
                  <a:cubicBezTo>
                    <a:pt x="-25260" y="1860777"/>
                    <a:pt x="-853" y="1772302"/>
                    <a:pt x="54062" y="1793658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54FC2261-4B6A-4157-9025-79CF1342D8FB}"/>
                </a:ext>
              </a:extLst>
            </p:cNvPr>
            <p:cNvSpPr/>
            <p:nvPr/>
          </p:nvSpPr>
          <p:spPr>
            <a:xfrm>
              <a:off x="9217777" y="4025108"/>
              <a:ext cx="1141078" cy="179846"/>
            </a:xfrm>
            <a:custGeom>
              <a:avLst/>
              <a:gdLst>
                <a:gd name="connsiteX0" fmla="*/ 1121715 w 1141078"/>
                <a:gd name="connsiteY0" fmla="*/ 170847 h 179846"/>
                <a:gd name="connsiteX1" fmla="*/ 11206 w 1141078"/>
                <a:gd name="connsiteY1" fmla="*/ 112881 h 179846"/>
                <a:gd name="connsiteX2" fmla="*/ 20359 w 1141078"/>
                <a:gd name="connsiteY2" fmla="*/ 0 h 179846"/>
                <a:gd name="connsiteX3" fmla="*/ 1130867 w 1141078"/>
                <a:gd name="connsiteY3" fmla="*/ 70169 h 179846"/>
                <a:gd name="connsiteX4" fmla="*/ 1121715 w 1141078"/>
                <a:gd name="connsiteY4" fmla="*/ 170847 h 17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1078" h="179846">
                  <a:moveTo>
                    <a:pt x="1121715" y="170847"/>
                  </a:moveTo>
                  <a:cubicBezTo>
                    <a:pt x="1121715" y="170847"/>
                    <a:pt x="331545" y="213559"/>
                    <a:pt x="11206" y="112881"/>
                  </a:cubicBezTo>
                  <a:cubicBezTo>
                    <a:pt x="11206" y="112881"/>
                    <a:pt x="-19302" y="42712"/>
                    <a:pt x="20359" y="0"/>
                  </a:cubicBezTo>
                  <a:cubicBezTo>
                    <a:pt x="285782" y="88474"/>
                    <a:pt x="749511" y="85424"/>
                    <a:pt x="1130867" y="70169"/>
                  </a:cubicBezTo>
                  <a:cubicBezTo>
                    <a:pt x="1158324" y="125085"/>
                    <a:pt x="1121715" y="170847"/>
                    <a:pt x="1121715" y="170847"/>
                  </a:cubicBezTo>
                  <a:close/>
                </a:path>
              </a:pathLst>
            </a:custGeom>
            <a:solidFill>
              <a:srgbClr val="6C5D68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2" name="图形 1">
              <a:extLst>
                <a:ext uri="{FF2B5EF4-FFF2-40B4-BE49-F238E27FC236}">
                  <a16:creationId xmlns:a16="http://schemas.microsoft.com/office/drawing/2014/main" id="{CABBD85E-19AD-46B1-93ED-451C577310C9}"/>
                </a:ext>
              </a:extLst>
            </p:cNvPr>
            <p:cNvGrpSpPr/>
            <p:nvPr/>
          </p:nvGrpSpPr>
          <p:grpSpPr>
            <a:xfrm>
              <a:off x="10000848" y="4061719"/>
              <a:ext cx="216610" cy="164745"/>
              <a:chOff x="10000848" y="4061719"/>
              <a:chExt cx="216610" cy="164745"/>
            </a:xfrm>
          </p:grpSpPr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40ECE574-AA26-4A10-B39D-18C2D9260D82}"/>
                  </a:ext>
                </a:extLst>
              </p:cNvPr>
              <p:cNvSpPr/>
              <p:nvPr/>
            </p:nvSpPr>
            <p:spPr>
              <a:xfrm>
                <a:off x="10000848" y="4061719"/>
                <a:ext cx="216610" cy="164745"/>
              </a:xfrm>
              <a:custGeom>
                <a:avLst/>
                <a:gdLst>
                  <a:gd name="connsiteX0" fmla="*/ 195254 w 216610"/>
                  <a:gd name="connsiteY0" fmla="*/ 164746 h 164745"/>
                  <a:gd name="connsiteX1" fmla="*/ 21356 w 216610"/>
                  <a:gd name="connsiteY1" fmla="*/ 164746 h 164745"/>
                  <a:gd name="connsiteX2" fmla="*/ 0 w 216610"/>
                  <a:gd name="connsiteY2" fmla="*/ 143390 h 164745"/>
                  <a:gd name="connsiteX3" fmla="*/ 0 w 216610"/>
                  <a:gd name="connsiteY3" fmla="*/ 21356 h 164745"/>
                  <a:gd name="connsiteX4" fmla="*/ 21356 w 216610"/>
                  <a:gd name="connsiteY4" fmla="*/ 0 h 164745"/>
                  <a:gd name="connsiteX5" fmla="*/ 195254 w 216610"/>
                  <a:gd name="connsiteY5" fmla="*/ 0 h 164745"/>
                  <a:gd name="connsiteX6" fmla="*/ 216610 w 216610"/>
                  <a:gd name="connsiteY6" fmla="*/ 21356 h 164745"/>
                  <a:gd name="connsiteX7" fmla="*/ 216610 w 216610"/>
                  <a:gd name="connsiteY7" fmla="*/ 143390 h 164745"/>
                  <a:gd name="connsiteX8" fmla="*/ 195254 w 216610"/>
                  <a:gd name="connsiteY8" fmla="*/ 164746 h 164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6610" h="164745">
                    <a:moveTo>
                      <a:pt x="195254" y="164746"/>
                    </a:moveTo>
                    <a:lnTo>
                      <a:pt x="21356" y="164746"/>
                    </a:lnTo>
                    <a:cubicBezTo>
                      <a:pt x="9153" y="164746"/>
                      <a:pt x="0" y="155593"/>
                      <a:pt x="0" y="143390"/>
                    </a:cubicBezTo>
                    <a:lnTo>
                      <a:pt x="0" y="21356"/>
                    </a:lnTo>
                    <a:cubicBezTo>
                      <a:pt x="0" y="9153"/>
                      <a:pt x="9153" y="0"/>
                      <a:pt x="21356" y="0"/>
                    </a:cubicBezTo>
                    <a:lnTo>
                      <a:pt x="195254" y="0"/>
                    </a:lnTo>
                    <a:cubicBezTo>
                      <a:pt x="207457" y="0"/>
                      <a:pt x="216610" y="9153"/>
                      <a:pt x="216610" y="21356"/>
                    </a:cubicBezTo>
                    <a:lnTo>
                      <a:pt x="216610" y="143390"/>
                    </a:lnTo>
                    <a:cubicBezTo>
                      <a:pt x="216610" y="155593"/>
                      <a:pt x="204407" y="164746"/>
                      <a:pt x="195254" y="16474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00300CC5-B229-4744-8223-396EC80E1C49}"/>
                  </a:ext>
                </a:extLst>
              </p:cNvPr>
              <p:cNvSpPr/>
              <p:nvPr/>
            </p:nvSpPr>
            <p:spPr>
              <a:xfrm>
                <a:off x="10028305" y="4086125"/>
                <a:ext cx="159242" cy="118982"/>
              </a:xfrm>
              <a:custGeom>
                <a:avLst/>
                <a:gdLst>
                  <a:gd name="connsiteX0" fmla="*/ 143390 w 159242"/>
                  <a:gd name="connsiteY0" fmla="*/ 118983 h 118982"/>
                  <a:gd name="connsiteX1" fmla="*/ 15254 w 159242"/>
                  <a:gd name="connsiteY1" fmla="*/ 118983 h 118982"/>
                  <a:gd name="connsiteX2" fmla="*/ 0 w 159242"/>
                  <a:gd name="connsiteY2" fmla="*/ 103729 h 118982"/>
                  <a:gd name="connsiteX3" fmla="*/ 0 w 159242"/>
                  <a:gd name="connsiteY3" fmla="*/ 15254 h 118982"/>
                  <a:gd name="connsiteX4" fmla="*/ 15254 w 159242"/>
                  <a:gd name="connsiteY4" fmla="*/ 0 h 118982"/>
                  <a:gd name="connsiteX5" fmla="*/ 143390 w 159242"/>
                  <a:gd name="connsiteY5" fmla="*/ 0 h 118982"/>
                  <a:gd name="connsiteX6" fmla="*/ 158644 w 159242"/>
                  <a:gd name="connsiteY6" fmla="*/ 15254 h 118982"/>
                  <a:gd name="connsiteX7" fmla="*/ 158644 w 159242"/>
                  <a:gd name="connsiteY7" fmla="*/ 103729 h 118982"/>
                  <a:gd name="connsiteX8" fmla="*/ 143390 w 159242"/>
                  <a:gd name="connsiteY8" fmla="*/ 118983 h 118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9242" h="118982">
                    <a:moveTo>
                      <a:pt x="143390" y="118983"/>
                    </a:moveTo>
                    <a:lnTo>
                      <a:pt x="15254" y="118983"/>
                    </a:lnTo>
                    <a:cubicBezTo>
                      <a:pt x="6102" y="118983"/>
                      <a:pt x="0" y="112881"/>
                      <a:pt x="0" y="103729"/>
                    </a:cubicBezTo>
                    <a:lnTo>
                      <a:pt x="0" y="15254"/>
                    </a:lnTo>
                    <a:cubicBezTo>
                      <a:pt x="0" y="6102"/>
                      <a:pt x="6102" y="0"/>
                      <a:pt x="15254" y="0"/>
                    </a:cubicBezTo>
                    <a:lnTo>
                      <a:pt x="143390" y="0"/>
                    </a:lnTo>
                    <a:cubicBezTo>
                      <a:pt x="152542" y="0"/>
                      <a:pt x="158644" y="6102"/>
                      <a:pt x="158644" y="15254"/>
                    </a:cubicBezTo>
                    <a:lnTo>
                      <a:pt x="158644" y="103729"/>
                    </a:lnTo>
                    <a:cubicBezTo>
                      <a:pt x="161695" y="112881"/>
                      <a:pt x="152542" y="118983"/>
                      <a:pt x="143390" y="11898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3" name="图形 1">
              <a:extLst>
                <a:ext uri="{FF2B5EF4-FFF2-40B4-BE49-F238E27FC236}">
                  <a16:creationId xmlns:a16="http://schemas.microsoft.com/office/drawing/2014/main" id="{5C5495C7-D740-4719-A99D-49107F7872CE}"/>
                </a:ext>
              </a:extLst>
            </p:cNvPr>
            <p:cNvGrpSpPr/>
            <p:nvPr/>
          </p:nvGrpSpPr>
          <p:grpSpPr>
            <a:xfrm>
              <a:off x="11436640" y="3245182"/>
              <a:ext cx="158305" cy="120943"/>
              <a:chOff x="11436640" y="3245182"/>
              <a:chExt cx="158305" cy="120943"/>
            </a:xfrm>
          </p:grpSpPr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5937F7B6-3EE7-43C8-B2C8-56E99CC5908B}"/>
                  </a:ext>
                </a:extLst>
              </p:cNvPr>
              <p:cNvSpPr/>
              <p:nvPr/>
            </p:nvSpPr>
            <p:spPr>
              <a:xfrm>
                <a:off x="11436640" y="3252876"/>
                <a:ext cx="146331" cy="110278"/>
              </a:xfrm>
              <a:custGeom>
                <a:avLst/>
                <a:gdLst>
                  <a:gd name="connsiteX0" fmla="*/ 120140 w 146331"/>
                  <a:gd name="connsiteY0" fmla="*/ 12572 h 110278"/>
                  <a:gd name="connsiteX1" fmla="*/ 7258 w 146331"/>
                  <a:gd name="connsiteY1" fmla="*/ 15623 h 110278"/>
                  <a:gd name="connsiteX2" fmla="*/ 16411 w 146331"/>
                  <a:gd name="connsiteY2" fmla="*/ 110199 h 110278"/>
                  <a:gd name="connsiteX3" fmla="*/ 49971 w 146331"/>
                  <a:gd name="connsiteY3" fmla="*/ 61385 h 110278"/>
                  <a:gd name="connsiteX4" fmla="*/ 114038 w 146331"/>
                  <a:gd name="connsiteY4" fmla="*/ 73589 h 110278"/>
                  <a:gd name="connsiteX5" fmla="*/ 138445 w 146331"/>
                  <a:gd name="connsiteY5" fmla="*/ 88843 h 110278"/>
                  <a:gd name="connsiteX6" fmla="*/ 120140 w 146331"/>
                  <a:gd name="connsiteY6" fmla="*/ 12572 h 110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6331" h="110278">
                    <a:moveTo>
                      <a:pt x="120140" y="12572"/>
                    </a:moveTo>
                    <a:cubicBezTo>
                      <a:pt x="92682" y="-8784"/>
                      <a:pt x="34716" y="368"/>
                      <a:pt x="7258" y="15623"/>
                    </a:cubicBezTo>
                    <a:cubicBezTo>
                      <a:pt x="-11046" y="27826"/>
                      <a:pt x="10309" y="113250"/>
                      <a:pt x="16411" y="110199"/>
                    </a:cubicBezTo>
                    <a:cubicBezTo>
                      <a:pt x="62174" y="94945"/>
                      <a:pt x="34716" y="64436"/>
                      <a:pt x="49971" y="61385"/>
                    </a:cubicBezTo>
                    <a:cubicBezTo>
                      <a:pt x="74377" y="55284"/>
                      <a:pt x="92682" y="61385"/>
                      <a:pt x="114038" y="73589"/>
                    </a:cubicBezTo>
                    <a:cubicBezTo>
                      <a:pt x="120140" y="79690"/>
                      <a:pt x="129292" y="97995"/>
                      <a:pt x="138445" y="88843"/>
                    </a:cubicBezTo>
                    <a:cubicBezTo>
                      <a:pt x="159800" y="76639"/>
                      <a:pt x="132343" y="21724"/>
                      <a:pt x="120140" y="12572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9D8C70D2-C42C-4D6C-9AC3-F4A18C22089B}"/>
                  </a:ext>
                </a:extLst>
              </p:cNvPr>
              <p:cNvSpPr/>
              <p:nvPr/>
            </p:nvSpPr>
            <p:spPr>
              <a:xfrm>
                <a:off x="11440848" y="3245182"/>
                <a:ext cx="154097" cy="120943"/>
              </a:xfrm>
              <a:custGeom>
                <a:avLst/>
                <a:gdLst>
                  <a:gd name="connsiteX0" fmla="*/ 24406 w 154097"/>
                  <a:gd name="connsiteY0" fmla="*/ 120943 h 120943"/>
                  <a:gd name="connsiteX1" fmla="*/ 18304 w 154097"/>
                  <a:gd name="connsiteY1" fmla="*/ 117892 h 120943"/>
                  <a:gd name="connsiteX2" fmla="*/ 21355 w 154097"/>
                  <a:gd name="connsiteY2" fmla="*/ 108740 h 120943"/>
                  <a:gd name="connsiteX3" fmla="*/ 42712 w 154097"/>
                  <a:gd name="connsiteY3" fmla="*/ 69079 h 120943"/>
                  <a:gd name="connsiteX4" fmla="*/ 42712 w 154097"/>
                  <a:gd name="connsiteY4" fmla="*/ 66028 h 120943"/>
                  <a:gd name="connsiteX5" fmla="*/ 45763 w 154097"/>
                  <a:gd name="connsiteY5" fmla="*/ 66028 h 120943"/>
                  <a:gd name="connsiteX6" fmla="*/ 115932 w 154097"/>
                  <a:gd name="connsiteY6" fmla="*/ 84333 h 120943"/>
                  <a:gd name="connsiteX7" fmla="*/ 134237 w 154097"/>
                  <a:gd name="connsiteY7" fmla="*/ 93485 h 120943"/>
                  <a:gd name="connsiteX8" fmla="*/ 137288 w 154097"/>
                  <a:gd name="connsiteY8" fmla="*/ 87384 h 120943"/>
                  <a:gd name="connsiteX9" fmla="*/ 109830 w 154097"/>
                  <a:gd name="connsiteY9" fmla="*/ 20265 h 120943"/>
                  <a:gd name="connsiteX10" fmla="*/ 6101 w 154097"/>
                  <a:gd name="connsiteY10" fmla="*/ 26367 h 120943"/>
                  <a:gd name="connsiteX11" fmla="*/ 0 w 154097"/>
                  <a:gd name="connsiteY11" fmla="*/ 23316 h 120943"/>
                  <a:gd name="connsiteX12" fmla="*/ 3050 w 154097"/>
                  <a:gd name="connsiteY12" fmla="*/ 17214 h 120943"/>
                  <a:gd name="connsiteX13" fmla="*/ 122034 w 154097"/>
                  <a:gd name="connsiteY13" fmla="*/ 14163 h 120943"/>
                  <a:gd name="connsiteX14" fmla="*/ 152542 w 154097"/>
                  <a:gd name="connsiteY14" fmla="*/ 90435 h 120943"/>
                  <a:gd name="connsiteX15" fmla="*/ 140338 w 154097"/>
                  <a:gd name="connsiteY15" fmla="*/ 102638 h 120943"/>
                  <a:gd name="connsiteX16" fmla="*/ 112881 w 154097"/>
                  <a:gd name="connsiteY16" fmla="*/ 90435 h 120943"/>
                  <a:gd name="connsiteX17" fmla="*/ 54915 w 154097"/>
                  <a:gd name="connsiteY17" fmla="*/ 72129 h 120943"/>
                  <a:gd name="connsiteX18" fmla="*/ 24406 w 154097"/>
                  <a:gd name="connsiteY18" fmla="*/ 120943 h 120943"/>
                  <a:gd name="connsiteX19" fmla="*/ 24406 w 154097"/>
                  <a:gd name="connsiteY19" fmla="*/ 120943 h 120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54097" h="120943">
                    <a:moveTo>
                      <a:pt x="24406" y="120943"/>
                    </a:moveTo>
                    <a:cubicBezTo>
                      <a:pt x="21355" y="120943"/>
                      <a:pt x="21355" y="120943"/>
                      <a:pt x="18304" y="117892"/>
                    </a:cubicBezTo>
                    <a:cubicBezTo>
                      <a:pt x="15254" y="114841"/>
                      <a:pt x="18304" y="111791"/>
                      <a:pt x="21355" y="108740"/>
                    </a:cubicBezTo>
                    <a:cubicBezTo>
                      <a:pt x="33559" y="99587"/>
                      <a:pt x="39661" y="78231"/>
                      <a:pt x="42712" y="69079"/>
                    </a:cubicBezTo>
                    <a:lnTo>
                      <a:pt x="42712" y="66028"/>
                    </a:lnTo>
                    <a:lnTo>
                      <a:pt x="45763" y="66028"/>
                    </a:lnTo>
                    <a:cubicBezTo>
                      <a:pt x="79321" y="56875"/>
                      <a:pt x="100678" y="72129"/>
                      <a:pt x="115932" y="84333"/>
                    </a:cubicBezTo>
                    <a:cubicBezTo>
                      <a:pt x="122034" y="90435"/>
                      <a:pt x="131186" y="96536"/>
                      <a:pt x="134237" y="93485"/>
                    </a:cubicBezTo>
                    <a:cubicBezTo>
                      <a:pt x="134237" y="93485"/>
                      <a:pt x="137288" y="93485"/>
                      <a:pt x="137288" y="87384"/>
                    </a:cubicBezTo>
                    <a:cubicBezTo>
                      <a:pt x="140338" y="72129"/>
                      <a:pt x="131186" y="44672"/>
                      <a:pt x="109830" y="20265"/>
                    </a:cubicBezTo>
                    <a:cubicBezTo>
                      <a:pt x="82372" y="-7193"/>
                      <a:pt x="6101" y="26367"/>
                      <a:pt x="6101" y="26367"/>
                    </a:cubicBezTo>
                    <a:cubicBezTo>
                      <a:pt x="3050" y="26367"/>
                      <a:pt x="0" y="26367"/>
                      <a:pt x="0" y="23316"/>
                    </a:cubicBezTo>
                    <a:cubicBezTo>
                      <a:pt x="0" y="20265"/>
                      <a:pt x="0" y="17214"/>
                      <a:pt x="3050" y="17214"/>
                    </a:cubicBezTo>
                    <a:cubicBezTo>
                      <a:pt x="6101" y="17214"/>
                      <a:pt x="85423" y="-19396"/>
                      <a:pt x="122034" y="14163"/>
                    </a:cubicBezTo>
                    <a:cubicBezTo>
                      <a:pt x="146440" y="38570"/>
                      <a:pt x="158644" y="72129"/>
                      <a:pt x="152542" y="90435"/>
                    </a:cubicBezTo>
                    <a:cubicBezTo>
                      <a:pt x="149491" y="96536"/>
                      <a:pt x="146440" y="102638"/>
                      <a:pt x="140338" y="102638"/>
                    </a:cubicBezTo>
                    <a:cubicBezTo>
                      <a:pt x="131186" y="105689"/>
                      <a:pt x="122034" y="99587"/>
                      <a:pt x="112881" y="90435"/>
                    </a:cubicBezTo>
                    <a:cubicBezTo>
                      <a:pt x="97627" y="78231"/>
                      <a:pt x="79321" y="66028"/>
                      <a:pt x="54915" y="72129"/>
                    </a:cubicBezTo>
                    <a:cubicBezTo>
                      <a:pt x="51864" y="84333"/>
                      <a:pt x="45763" y="108740"/>
                      <a:pt x="24406" y="120943"/>
                    </a:cubicBezTo>
                    <a:cubicBezTo>
                      <a:pt x="27457" y="120943"/>
                      <a:pt x="27457" y="120943"/>
                      <a:pt x="24406" y="12094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55A4A6F3-0E00-4A85-9C06-CCD59DA172F2}"/>
                </a:ext>
              </a:extLst>
            </p:cNvPr>
            <p:cNvSpPr/>
            <p:nvPr/>
          </p:nvSpPr>
          <p:spPr>
            <a:xfrm>
              <a:off x="9297660" y="2684092"/>
              <a:ext cx="1271634" cy="1139958"/>
            </a:xfrm>
            <a:custGeom>
              <a:avLst/>
              <a:gdLst>
                <a:gd name="connsiteX0" fmla="*/ 74713 w 1271634"/>
                <a:gd name="connsiteY0" fmla="*/ 7797 h 1139958"/>
                <a:gd name="connsiteX1" fmla="*/ 471323 w 1271634"/>
                <a:gd name="connsiteY1" fmla="*/ 340339 h 1139958"/>
                <a:gd name="connsiteX2" fmla="*/ 675731 w 1271634"/>
                <a:gd name="connsiteY2" fmla="*/ 755254 h 1139958"/>
                <a:gd name="connsiteX3" fmla="*/ 1246239 w 1271634"/>
                <a:gd name="connsiteY3" fmla="*/ 849830 h 1139958"/>
                <a:gd name="connsiteX4" fmla="*/ 1267595 w 1271634"/>
                <a:gd name="connsiteY4" fmla="*/ 1051187 h 1139958"/>
                <a:gd name="connsiteX5" fmla="*/ 486578 w 1271634"/>
                <a:gd name="connsiteY5" fmla="*/ 1075593 h 1139958"/>
                <a:gd name="connsiteX6" fmla="*/ 74713 w 1271634"/>
                <a:gd name="connsiteY6" fmla="*/ 7797 h 113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1634" h="1139958">
                  <a:moveTo>
                    <a:pt x="74713" y="7797"/>
                  </a:moveTo>
                  <a:cubicBezTo>
                    <a:pt x="196747" y="-50170"/>
                    <a:pt x="407256" y="230508"/>
                    <a:pt x="471323" y="340339"/>
                  </a:cubicBezTo>
                  <a:cubicBezTo>
                    <a:pt x="529290" y="441017"/>
                    <a:pt x="675731" y="755254"/>
                    <a:pt x="675731" y="755254"/>
                  </a:cubicBezTo>
                  <a:cubicBezTo>
                    <a:pt x="675731" y="755254"/>
                    <a:pt x="1139459" y="752203"/>
                    <a:pt x="1246239" y="849830"/>
                  </a:cubicBezTo>
                  <a:cubicBezTo>
                    <a:pt x="1270646" y="898644"/>
                    <a:pt x="1276747" y="971864"/>
                    <a:pt x="1267595" y="1051187"/>
                  </a:cubicBezTo>
                  <a:cubicBezTo>
                    <a:pt x="1191324" y="1200678"/>
                    <a:pt x="602510" y="1127458"/>
                    <a:pt x="486578" y="1075593"/>
                  </a:cubicBezTo>
                  <a:cubicBezTo>
                    <a:pt x="361493" y="1020678"/>
                    <a:pt x="-199863" y="135932"/>
                    <a:pt x="74713" y="7797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E9A6C5A2-8129-4CB8-BD4C-6C7B5F023A70}"/>
                </a:ext>
              </a:extLst>
            </p:cNvPr>
            <p:cNvSpPr/>
            <p:nvPr/>
          </p:nvSpPr>
          <p:spPr>
            <a:xfrm>
              <a:off x="9308306" y="2687358"/>
              <a:ext cx="672450" cy="761139"/>
            </a:xfrm>
            <a:custGeom>
              <a:avLst/>
              <a:gdLst>
                <a:gd name="connsiteX0" fmla="*/ 668135 w 672450"/>
                <a:gd name="connsiteY0" fmla="*/ 761140 h 761139"/>
                <a:gd name="connsiteX1" fmla="*/ 662034 w 672450"/>
                <a:gd name="connsiteY1" fmla="*/ 758089 h 761139"/>
                <a:gd name="connsiteX2" fmla="*/ 213559 w 672450"/>
                <a:gd name="connsiteY2" fmla="*/ 53343 h 761139"/>
                <a:gd name="connsiteX3" fmla="*/ 64068 w 672450"/>
                <a:gd name="connsiteY3" fmla="*/ 13682 h 761139"/>
                <a:gd name="connsiteX4" fmla="*/ 9153 w 672450"/>
                <a:gd name="connsiteY4" fmla="*/ 59445 h 761139"/>
                <a:gd name="connsiteX5" fmla="*/ 3051 w 672450"/>
                <a:gd name="connsiteY5" fmla="*/ 62496 h 761139"/>
                <a:gd name="connsiteX6" fmla="*/ 0 w 672450"/>
                <a:gd name="connsiteY6" fmla="*/ 56394 h 761139"/>
                <a:gd name="connsiteX7" fmla="*/ 61017 w 672450"/>
                <a:gd name="connsiteY7" fmla="*/ 4530 h 761139"/>
                <a:gd name="connsiteX8" fmla="*/ 219661 w 672450"/>
                <a:gd name="connsiteY8" fmla="*/ 44191 h 761139"/>
                <a:gd name="connsiteX9" fmla="*/ 671186 w 672450"/>
                <a:gd name="connsiteY9" fmla="*/ 751987 h 761139"/>
                <a:gd name="connsiteX10" fmla="*/ 668135 w 672450"/>
                <a:gd name="connsiteY10" fmla="*/ 761140 h 761139"/>
                <a:gd name="connsiteX11" fmla="*/ 668135 w 672450"/>
                <a:gd name="connsiteY11" fmla="*/ 761140 h 761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72450" h="761139">
                  <a:moveTo>
                    <a:pt x="668135" y="761140"/>
                  </a:moveTo>
                  <a:cubicBezTo>
                    <a:pt x="665085" y="761140"/>
                    <a:pt x="665085" y="761140"/>
                    <a:pt x="662034" y="758089"/>
                  </a:cubicBezTo>
                  <a:cubicBezTo>
                    <a:pt x="658983" y="751987"/>
                    <a:pt x="396610" y="172326"/>
                    <a:pt x="213559" y="53343"/>
                  </a:cubicBezTo>
                  <a:cubicBezTo>
                    <a:pt x="155593" y="13682"/>
                    <a:pt x="103729" y="1479"/>
                    <a:pt x="64068" y="13682"/>
                  </a:cubicBezTo>
                  <a:cubicBezTo>
                    <a:pt x="24407" y="25886"/>
                    <a:pt x="12203" y="59445"/>
                    <a:pt x="9153" y="59445"/>
                  </a:cubicBezTo>
                  <a:cubicBezTo>
                    <a:pt x="9153" y="62496"/>
                    <a:pt x="6102" y="62496"/>
                    <a:pt x="3051" y="62496"/>
                  </a:cubicBezTo>
                  <a:cubicBezTo>
                    <a:pt x="0" y="62496"/>
                    <a:pt x="0" y="59445"/>
                    <a:pt x="0" y="56394"/>
                  </a:cubicBezTo>
                  <a:cubicBezTo>
                    <a:pt x="0" y="53343"/>
                    <a:pt x="15254" y="16733"/>
                    <a:pt x="61017" y="4530"/>
                  </a:cubicBezTo>
                  <a:cubicBezTo>
                    <a:pt x="103729" y="-7674"/>
                    <a:pt x="155593" y="4530"/>
                    <a:pt x="219661" y="44191"/>
                  </a:cubicBezTo>
                  <a:cubicBezTo>
                    <a:pt x="405763" y="163174"/>
                    <a:pt x="662034" y="727581"/>
                    <a:pt x="671186" y="751987"/>
                  </a:cubicBezTo>
                  <a:cubicBezTo>
                    <a:pt x="674237" y="755038"/>
                    <a:pt x="671186" y="758089"/>
                    <a:pt x="668135" y="761140"/>
                  </a:cubicBezTo>
                  <a:cubicBezTo>
                    <a:pt x="668135" y="761140"/>
                    <a:pt x="668135" y="761140"/>
                    <a:pt x="668135" y="761140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CB51B0BE-8152-49F6-B1C0-E6F4B1F0A5A1}"/>
                </a:ext>
              </a:extLst>
            </p:cNvPr>
            <p:cNvSpPr/>
            <p:nvPr/>
          </p:nvSpPr>
          <p:spPr>
            <a:xfrm>
              <a:off x="9864323" y="3436295"/>
              <a:ext cx="114406" cy="82372"/>
            </a:xfrm>
            <a:custGeom>
              <a:avLst/>
              <a:gdLst>
                <a:gd name="connsiteX0" fmla="*/ 78559 w 114406"/>
                <a:gd name="connsiteY0" fmla="*/ 82373 h 82372"/>
                <a:gd name="connsiteX1" fmla="*/ 78559 w 114406"/>
                <a:gd name="connsiteY1" fmla="*/ 82373 h 82372"/>
                <a:gd name="connsiteX2" fmla="*/ 72457 w 114406"/>
                <a:gd name="connsiteY2" fmla="*/ 76271 h 82372"/>
                <a:gd name="connsiteX3" fmla="*/ 93814 w 114406"/>
                <a:gd name="connsiteY3" fmla="*/ 21356 h 82372"/>
                <a:gd name="connsiteX4" fmla="*/ 11440 w 114406"/>
                <a:gd name="connsiteY4" fmla="*/ 73220 h 82372"/>
                <a:gd name="connsiteX5" fmla="*/ 2288 w 114406"/>
                <a:gd name="connsiteY5" fmla="*/ 73220 h 82372"/>
                <a:gd name="connsiteX6" fmla="*/ 2288 w 114406"/>
                <a:gd name="connsiteY6" fmla="*/ 64068 h 82372"/>
                <a:gd name="connsiteX7" fmla="*/ 106017 w 114406"/>
                <a:gd name="connsiteY7" fmla="*/ 0 h 82372"/>
                <a:gd name="connsiteX8" fmla="*/ 112119 w 114406"/>
                <a:gd name="connsiteY8" fmla="*/ 0 h 82372"/>
                <a:gd name="connsiteX9" fmla="*/ 112119 w 114406"/>
                <a:gd name="connsiteY9" fmla="*/ 6102 h 82372"/>
                <a:gd name="connsiteX10" fmla="*/ 81610 w 114406"/>
                <a:gd name="connsiteY10" fmla="*/ 73220 h 82372"/>
                <a:gd name="connsiteX11" fmla="*/ 78559 w 114406"/>
                <a:gd name="connsiteY11" fmla="*/ 82373 h 82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406" h="82372">
                  <a:moveTo>
                    <a:pt x="78559" y="82373"/>
                  </a:moveTo>
                  <a:cubicBezTo>
                    <a:pt x="78559" y="82373"/>
                    <a:pt x="78559" y="82373"/>
                    <a:pt x="78559" y="82373"/>
                  </a:cubicBezTo>
                  <a:cubicBezTo>
                    <a:pt x="75508" y="82373"/>
                    <a:pt x="72457" y="79322"/>
                    <a:pt x="72457" y="76271"/>
                  </a:cubicBezTo>
                  <a:cubicBezTo>
                    <a:pt x="75508" y="57966"/>
                    <a:pt x="84661" y="36610"/>
                    <a:pt x="93814" y="21356"/>
                  </a:cubicBezTo>
                  <a:cubicBezTo>
                    <a:pt x="63305" y="36610"/>
                    <a:pt x="20593" y="61017"/>
                    <a:pt x="11440" y="73220"/>
                  </a:cubicBezTo>
                  <a:cubicBezTo>
                    <a:pt x="8390" y="76271"/>
                    <a:pt x="5339" y="76271"/>
                    <a:pt x="2288" y="73220"/>
                  </a:cubicBezTo>
                  <a:cubicBezTo>
                    <a:pt x="-763" y="70169"/>
                    <a:pt x="-763" y="67119"/>
                    <a:pt x="2288" y="64068"/>
                  </a:cubicBezTo>
                  <a:cubicBezTo>
                    <a:pt x="17543" y="42712"/>
                    <a:pt x="96864" y="3051"/>
                    <a:pt x="106017" y="0"/>
                  </a:cubicBezTo>
                  <a:cubicBezTo>
                    <a:pt x="109068" y="0"/>
                    <a:pt x="112119" y="0"/>
                    <a:pt x="112119" y="0"/>
                  </a:cubicBezTo>
                  <a:cubicBezTo>
                    <a:pt x="115170" y="3051"/>
                    <a:pt x="115170" y="6102"/>
                    <a:pt x="112119" y="6102"/>
                  </a:cubicBezTo>
                  <a:cubicBezTo>
                    <a:pt x="112119" y="6102"/>
                    <a:pt x="84661" y="45763"/>
                    <a:pt x="81610" y="73220"/>
                  </a:cubicBezTo>
                  <a:cubicBezTo>
                    <a:pt x="84661" y="79322"/>
                    <a:pt x="81610" y="82373"/>
                    <a:pt x="78559" y="82373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9076947E-2110-4871-9FD2-13761241B966}"/>
                </a:ext>
              </a:extLst>
            </p:cNvPr>
            <p:cNvSpPr/>
            <p:nvPr/>
          </p:nvSpPr>
          <p:spPr>
            <a:xfrm>
              <a:off x="9341865" y="3064091"/>
              <a:ext cx="1180678" cy="768813"/>
            </a:xfrm>
            <a:custGeom>
              <a:avLst/>
              <a:gdLst>
                <a:gd name="connsiteX0" fmla="*/ 866441 w 1180678"/>
                <a:gd name="connsiteY0" fmla="*/ 768814 h 768813"/>
                <a:gd name="connsiteX1" fmla="*/ 387458 w 1180678"/>
                <a:gd name="connsiteY1" fmla="*/ 683390 h 768813"/>
                <a:gd name="connsiteX2" fmla="*/ 0 w 1180678"/>
                <a:gd name="connsiteY2" fmla="*/ 6102 h 768813"/>
                <a:gd name="connsiteX3" fmla="*/ 3051 w 1180678"/>
                <a:gd name="connsiteY3" fmla="*/ 0 h 768813"/>
                <a:gd name="connsiteX4" fmla="*/ 9153 w 1180678"/>
                <a:gd name="connsiteY4" fmla="*/ 3051 h 768813"/>
                <a:gd name="connsiteX5" fmla="*/ 390509 w 1180678"/>
                <a:gd name="connsiteY5" fmla="*/ 674237 h 768813"/>
                <a:gd name="connsiteX6" fmla="*/ 1171525 w 1180678"/>
                <a:gd name="connsiteY6" fmla="*/ 704746 h 768813"/>
                <a:gd name="connsiteX7" fmla="*/ 1180678 w 1180678"/>
                <a:gd name="connsiteY7" fmla="*/ 707797 h 768813"/>
                <a:gd name="connsiteX8" fmla="*/ 1177627 w 1180678"/>
                <a:gd name="connsiteY8" fmla="*/ 716949 h 768813"/>
                <a:gd name="connsiteX9" fmla="*/ 866441 w 1180678"/>
                <a:gd name="connsiteY9" fmla="*/ 768814 h 768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678" h="768813">
                  <a:moveTo>
                    <a:pt x="866441" y="768814"/>
                  </a:moveTo>
                  <a:cubicBezTo>
                    <a:pt x="677289" y="768814"/>
                    <a:pt x="472881" y="732204"/>
                    <a:pt x="387458" y="683390"/>
                  </a:cubicBezTo>
                  <a:cubicBezTo>
                    <a:pt x="241017" y="601017"/>
                    <a:pt x="9153" y="30508"/>
                    <a:pt x="0" y="6102"/>
                  </a:cubicBezTo>
                  <a:cubicBezTo>
                    <a:pt x="0" y="3051"/>
                    <a:pt x="0" y="0"/>
                    <a:pt x="3051" y="0"/>
                  </a:cubicBezTo>
                  <a:cubicBezTo>
                    <a:pt x="6102" y="0"/>
                    <a:pt x="9153" y="0"/>
                    <a:pt x="9153" y="3051"/>
                  </a:cubicBezTo>
                  <a:cubicBezTo>
                    <a:pt x="12204" y="9153"/>
                    <a:pt x="250170" y="591864"/>
                    <a:pt x="390509" y="674237"/>
                  </a:cubicBezTo>
                  <a:cubicBezTo>
                    <a:pt x="533898" y="756610"/>
                    <a:pt x="997628" y="802373"/>
                    <a:pt x="1171525" y="704746"/>
                  </a:cubicBezTo>
                  <a:cubicBezTo>
                    <a:pt x="1174576" y="704746"/>
                    <a:pt x="1177627" y="704746"/>
                    <a:pt x="1180678" y="707797"/>
                  </a:cubicBezTo>
                  <a:cubicBezTo>
                    <a:pt x="1180678" y="710847"/>
                    <a:pt x="1180678" y="713898"/>
                    <a:pt x="1177627" y="716949"/>
                  </a:cubicBezTo>
                  <a:cubicBezTo>
                    <a:pt x="1107458" y="753559"/>
                    <a:pt x="991525" y="768814"/>
                    <a:pt x="866441" y="768814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47E623CE-3B80-4816-9029-B9D29B16CBE3}"/>
                </a:ext>
              </a:extLst>
            </p:cNvPr>
            <p:cNvSpPr/>
            <p:nvPr/>
          </p:nvSpPr>
          <p:spPr>
            <a:xfrm>
              <a:off x="9970339" y="3439346"/>
              <a:ext cx="546101" cy="82372"/>
            </a:xfrm>
            <a:custGeom>
              <a:avLst/>
              <a:gdLst>
                <a:gd name="connsiteX0" fmla="*/ 540000 w 546101"/>
                <a:gd name="connsiteY0" fmla="*/ 82373 h 82372"/>
                <a:gd name="connsiteX1" fmla="*/ 540000 w 546101"/>
                <a:gd name="connsiteY1" fmla="*/ 82373 h 82372"/>
                <a:gd name="connsiteX2" fmla="*/ 6102 w 546101"/>
                <a:gd name="connsiteY2" fmla="*/ 12203 h 82372"/>
                <a:gd name="connsiteX3" fmla="*/ 0 w 546101"/>
                <a:gd name="connsiteY3" fmla="*/ 6102 h 82372"/>
                <a:gd name="connsiteX4" fmla="*/ 6102 w 546101"/>
                <a:gd name="connsiteY4" fmla="*/ 0 h 82372"/>
                <a:gd name="connsiteX5" fmla="*/ 6102 w 546101"/>
                <a:gd name="connsiteY5" fmla="*/ 0 h 82372"/>
                <a:gd name="connsiteX6" fmla="*/ 543051 w 546101"/>
                <a:gd name="connsiteY6" fmla="*/ 73220 h 82372"/>
                <a:gd name="connsiteX7" fmla="*/ 546102 w 546101"/>
                <a:gd name="connsiteY7" fmla="*/ 82373 h 82372"/>
                <a:gd name="connsiteX8" fmla="*/ 540000 w 546101"/>
                <a:gd name="connsiteY8" fmla="*/ 82373 h 82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6101" h="82372">
                  <a:moveTo>
                    <a:pt x="540000" y="82373"/>
                  </a:moveTo>
                  <a:cubicBezTo>
                    <a:pt x="540000" y="82373"/>
                    <a:pt x="536949" y="82373"/>
                    <a:pt x="540000" y="82373"/>
                  </a:cubicBezTo>
                  <a:cubicBezTo>
                    <a:pt x="405762" y="12203"/>
                    <a:pt x="9153" y="12203"/>
                    <a:pt x="6102" y="12203"/>
                  </a:cubicBezTo>
                  <a:cubicBezTo>
                    <a:pt x="3051" y="12203"/>
                    <a:pt x="0" y="9153"/>
                    <a:pt x="0" y="6102"/>
                  </a:cubicBezTo>
                  <a:cubicBezTo>
                    <a:pt x="0" y="3051"/>
                    <a:pt x="3051" y="0"/>
                    <a:pt x="6102" y="0"/>
                  </a:cubicBezTo>
                  <a:cubicBezTo>
                    <a:pt x="6102" y="0"/>
                    <a:pt x="6102" y="0"/>
                    <a:pt x="6102" y="0"/>
                  </a:cubicBezTo>
                  <a:cubicBezTo>
                    <a:pt x="24407" y="0"/>
                    <a:pt x="408813" y="0"/>
                    <a:pt x="543051" y="73220"/>
                  </a:cubicBezTo>
                  <a:cubicBezTo>
                    <a:pt x="546102" y="73220"/>
                    <a:pt x="546102" y="79322"/>
                    <a:pt x="546102" y="82373"/>
                  </a:cubicBezTo>
                  <a:cubicBezTo>
                    <a:pt x="543051" y="79322"/>
                    <a:pt x="543051" y="82373"/>
                    <a:pt x="540000" y="82373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9" name="图形 1">
              <a:extLst>
                <a:ext uri="{FF2B5EF4-FFF2-40B4-BE49-F238E27FC236}">
                  <a16:creationId xmlns:a16="http://schemas.microsoft.com/office/drawing/2014/main" id="{92ECA9C6-D6FA-4F59-BD6D-33D9EFA7E27D}"/>
                </a:ext>
              </a:extLst>
            </p:cNvPr>
            <p:cNvGrpSpPr/>
            <p:nvPr/>
          </p:nvGrpSpPr>
          <p:grpSpPr>
            <a:xfrm>
              <a:off x="10769662" y="2634908"/>
              <a:ext cx="1189830" cy="1243760"/>
              <a:chOff x="10769662" y="2634908"/>
              <a:chExt cx="1189830" cy="1243760"/>
            </a:xfrm>
          </p:grpSpPr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11BD3017-97BA-4651-A2ED-865D5221E03C}"/>
                  </a:ext>
                </a:extLst>
              </p:cNvPr>
              <p:cNvSpPr/>
              <p:nvPr/>
            </p:nvSpPr>
            <p:spPr>
              <a:xfrm>
                <a:off x="10983221" y="3137312"/>
                <a:ext cx="976271" cy="741355"/>
              </a:xfrm>
              <a:custGeom>
                <a:avLst/>
                <a:gdLst>
                  <a:gd name="connsiteX0" fmla="*/ 0 w 976271"/>
                  <a:gd name="connsiteY0" fmla="*/ 0 h 741355"/>
                  <a:gd name="connsiteX1" fmla="*/ 976272 w 976271"/>
                  <a:gd name="connsiteY1" fmla="*/ 0 h 741355"/>
                  <a:gd name="connsiteX2" fmla="*/ 976272 w 976271"/>
                  <a:gd name="connsiteY2" fmla="*/ 741356 h 741355"/>
                  <a:gd name="connsiteX3" fmla="*/ 0 w 976271"/>
                  <a:gd name="connsiteY3" fmla="*/ 741356 h 74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6271" h="741355">
                    <a:moveTo>
                      <a:pt x="0" y="0"/>
                    </a:moveTo>
                    <a:lnTo>
                      <a:pt x="976272" y="0"/>
                    </a:lnTo>
                    <a:lnTo>
                      <a:pt x="976272" y="741356"/>
                    </a:lnTo>
                    <a:lnTo>
                      <a:pt x="0" y="741356"/>
                    </a:lnTo>
                    <a:close/>
                  </a:path>
                </a:pathLst>
              </a:custGeom>
              <a:solidFill>
                <a:srgbClr val="728CB2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034FF6A5-6D1D-49C0-8A67-10CE9D2D2720}"/>
                  </a:ext>
                </a:extLst>
              </p:cNvPr>
              <p:cNvSpPr/>
              <p:nvPr/>
            </p:nvSpPr>
            <p:spPr>
              <a:xfrm>
                <a:off x="10769662" y="3137312"/>
                <a:ext cx="976271" cy="741355"/>
              </a:xfrm>
              <a:custGeom>
                <a:avLst/>
                <a:gdLst>
                  <a:gd name="connsiteX0" fmla="*/ 0 w 976271"/>
                  <a:gd name="connsiteY0" fmla="*/ 0 h 741355"/>
                  <a:gd name="connsiteX1" fmla="*/ 976272 w 976271"/>
                  <a:gd name="connsiteY1" fmla="*/ 0 h 741355"/>
                  <a:gd name="connsiteX2" fmla="*/ 976272 w 976271"/>
                  <a:gd name="connsiteY2" fmla="*/ 741356 h 741355"/>
                  <a:gd name="connsiteX3" fmla="*/ 0 w 976271"/>
                  <a:gd name="connsiteY3" fmla="*/ 741356 h 74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6271" h="741355">
                    <a:moveTo>
                      <a:pt x="0" y="0"/>
                    </a:moveTo>
                    <a:lnTo>
                      <a:pt x="976272" y="0"/>
                    </a:lnTo>
                    <a:lnTo>
                      <a:pt x="976272" y="741356"/>
                    </a:lnTo>
                    <a:lnTo>
                      <a:pt x="0" y="741356"/>
                    </a:ln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953BF30B-70EA-4EE7-813D-08DABA36C96B}"/>
                  </a:ext>
                </a:extLst>
              </p:cNvPr>
              <p:cNvSpPr/>
              <p:nvPr/>
            </p:nvSpPr>
            <p:spPr>
              <a:xfrm>
                <a:off x="11190678" y="3137312"/>
                <a:ext cx="134237" cy="741355"/>
              </a:xfrm>
              <a:custGeom>
                <a:avLst/>
                <a:gdLst>
                  <a:gd name="connsiteX0" fmla="*/ 0 w 134237"/>
                  <a:gd name="connsiteY0" fmla="*/ 0 h 741355"/>
                  <a:gd name="connsiteX1" fmla="*/ 134237 w 134237"/>
                  <a:gd name="connsiteY1" fmla="*/ 0 h 741355"/>
                  <a:gd name="connsiteX2" fmla="*/ 134237 w 134237"/>
                  <a:gd name="connsiteY2" fmla="*/ 741356 h 741355"/>
                  <a:gd name="connsiteX3" fmla="*/ 0 w 134237"/>
                  <a:gd name="connsiteY3" fmla="*/ 741356 h 74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237" h="741355">
                    <a:moveTo>
                      <a:pt x="0" y="0"/>
                    </a:moveTo>
                    <a:lnTo>
                      <a:pt x="134237" y="0"/>
                    </a:lnTo>
                    <a:lnTo>
                      <a:pt x="134237" y="741356"/>
                    </a:lnTo>
                    <a:lnTo>
                      <a:pt x="0" y="741356"/>
                    </a:ln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22C51064-4F56-4383-9866-56D7855947F3}"/>
                  </a:ext>
                </a:extLst>
              </p:cNvPr>
              <p:cNvSpPr/>
              <p:nvPr/>
            </p:nvSpPr>
            <p:spPr>
              <a:xfrm>
                <a:off x="11035003" y="2634908"/>
                <a:ext cx="737747" cy="550280"/>
              </a:xfrm>
              <a:custGeom>
                <a:avLst/>
                <a:gdLst>
                  <a:gd name="connsiteX0" fmla="*/ 720082 w 737747"/>
                  <a:gd name="connsiteY0" fmla="*/ 142404 h 550280"/>
                  <a:gd name="connsiteX1" fmla="*/ 454658 w 737747"/>
                  <a:gd name="connsiteY1" fmla="*/ 148506 h 550280"/>
                  <a:gd name="connsiteX2" fmla="*/ 332624 w 737747"/>
                  <a:gd name="connsiteY2" fmla="*/ 297997 h 550280"/>
                  <a:gd name="connsiteX3" fmla="*/ 323472 w 737747"/>
                  <a:gd name="connsiteY3" fmla="*/ 209523 h 550280"/>
                  <a:gd name="connsiteX4" fmla="*/ 164828 w 737747"/>
                  <a:gd name="connsiteY4" fmla="*/ 2065 h 550280"/>
                  <a:gd name="connsiteX5" fmla="*/ 82 w 737747"/>
                  <a:gd name="connsiteY5" fmla="*/ 230879 h 550280"/>
                  <a:gd name="connsiteX6" fmla="*/ 186184 w 737747"/>
                  <a:gd name="connsiteY6" fmla="*/ 517659 h 550280"/>
                  <a:gd name="connsiteX7" fmla="*/ 231947 w 737747"/>
                  <a:gd name="connsiteY7" fmla="*/ 545116 h 550280"/>
                  <a:gd name="connsiteX8" fmla="*/ 250252 w 737747"/>
                  <a:gd name="connsiteY8" fmla="*/ 532913 h 550280"/>
                  <a:gd name="connsiteX9" fmla="*/ 631608 w 737747"/>
                  <a:gd name="connsiteY9" fmla="*/ 389523 h 550280"/>
                  <a:gd name="connsiteX10" fmla="*/ 720082 w 737747"/>
                  <a:gd name="connsiteY10" fmla="*/ 142404 h 550280"/>
                  <a:gd name="connsiteX11" fmla="*/ 524828 w 737747"/>
                  <a:gd name="connsiteY11" fmla="*/ 200370 h 550280"/>
                  <a:gd name="connsiteX12" fmla="*/ 540082 w 737747"/>
                  <a:gd name="connsiteY12" fmla="*/ 307150 h 550280"/>
                  <a:gd name="connsiteX13" fmla="*/ 445506 w 737747"/>
                  <a:gd name="connsiteY13" fmla="*/ 377319 h 550280"/>
                  <a:gd name="connsiteX14" fmla="*/ 314320 w 737747"/>
                  <a:gd name="connsiteY14" fmla="*/ 447489 h 550280"/>
                  <a:gd name="connsiteX15" fmla="*/ 320421 w 737747"/>
                  <a:gd name="connsiteY15" fmla="*/ 426133 h 550280"/>
                  <a:gd name="connsiteX16" fmla="*/ 524828 w 737747"/>
                  <a:gd name="connsiteY16" fmla="*/ 200370 h 550280"/>
                  <a:gd name="connsiteX17" fmla="*/ 149573 w 737747"/>
                  <a:gd name="connsiteY17" fmla="*/ 313252 h 550280"/>
                  <a:gd name="connsiteX18" fmla="*/ 134319 w 737747"/>
                  <a:gd name="connsiteY18" fmla="*/ 142404 h 550280"/>
                  <a:gd name="connsiteX19" fmla="*/ 241099 w 737747"/>
                  <a:gd name="connsiteY19" fmla="*/ 179014 h 550280"/>
                  <a:gd name="connsiteX20" fmla="*/ 222795 w 737747"/>
                  <a:gd name="connsiteY20" fmla="*/ 429184 h 550280"/>
                  <a:gd name="connsiteX21" fmla="*/ 149573 w 737747"/>
                  <a:gd name="connsiteY21" fmla="*/ 313252 h 550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37747" h="550280">
                    <a:moveTo>
                      <a:pt x="720082" y="142404"/>
                    </a:moveTo>
                    <a:cubicBezTo>
                      <a:pt x="662116" y="56981"/>
                      <a:pt x="518726" y="99692"/>
                      <a:pt x="454658" y="148506"/>
                    </a:cubicBezTo>
                    <a:cubicBezTo>
                      <a:pt x="402794" y="188167"/>
                      <a:pt x="366184" y="240031"/>
                      <a:pt x="332624" y="297997"/>
                    </a:cubicBezTo>
                    <a:cubicBezTo>
                      <a:pt x="332624" y="267489"/>
                      <a:pt x="326523" y="236981"/>
                      <a:pt x="323472" y="209523"/>
                    </a:cubicBezTo>
                    <a:cubicBezTo>
                      <a:pt x="311269" y="130201"/>
                      <a:pt x="274658" y="-19291"/>
                      <a:pt x="164828" y="2065"/>
                    </a:cubicBezTo>
                    <a:cubicBezTo>
                      <a:pt x="64150" y="20370"/>
                      <a:pt x="3133" y="139353"/>
                      <a:pt x="82" y="230879"/>
                    </a:cubicBezTo>
                    <a:cubicBezTo>
                      <a:pt x="-2969" y="355964"/>
                      <a:pt x="79404" y="456642"/>
                      <a:pt x="186184" y="517659"/>
                    </a:cubicBezTo>
                    <a:cubicBezTo>
                      <a:pt x="186184" y="539014"/>
                      <a:pt x="210590" y="560370"/>
                      <a:pt x="231947" y="545116"/>
                    </a:cubicBezTo>
                    <a:cubicBezTo>
                      <a:pt x="238049" y="542065"/>
                      <a:pt x="244150" y="535964"/>
                      <a:pt x="250252" y="532913"/>
                    </a:cubicBezTo>
                    <a:cubicBezTo>
                      <a:pt x="378387" y="499353"/>
                      <a:pt x="524828" y="477998"/>
                      <a:pt x="631608" y="389523"/>
                    </a:cubicBezTo>
                    <a:cubicBezTo>
                      <a:pt x="689574" y="337658"/>
                      <a:pt x="774997" y="221726"/>
                      <a:pt x="720082" y="142404"/>
                    </a:cubicBezTo>
                    <a:close/>
                    <a:moveTo>
                      <a:pt x="524828" y="200370"/>
                    </a:moveTo>
                    <a:cubicBezTo>
                      <a:pt x="558388" y="209523"/>
                      <a:pt x="576692" y="261387"/>
                      <a:pt x="540082" y="307150"/>
                    </a:cubicBezTo>
                    <a:cubicBezTo>
                      <a:pt x="518726" y="334608"/>
                      <a:pt x="476014" y="355964"/>
                      <a:pt x="445506" y="377319"/>
                    </a:cubicBezTo>
                    <a:cubicBezTo>
                      <a:pt x="402794" y="404777"/>
                      <a:pt x="360083" y="429184"/>
                      <a:pt x="314320" y="447489"/>
                    </a:cubicBezTo>
                    <a:cubicBezTo>
                      <a:pt x="317370" y="441387"/>
                      <a:pt x="320421" y="435286"/>
                      <a:pt x="320421" y="426133"/>
                    </a:cubicBezTo>
                    <a:cubicBezTo>
                      <a:pt x="350930" y="374269"/>
                      <a:pt x="418049" y="218675"/>
                      <a:pt x="524828" y="200370"/>
                    </a:cubicBezTo>
                    <a:close/>
                    <a:moveTo>
                      <a:pt x="149573" y="313252"/>
                    </a:moveTo>
                    <a:cubicBezTo>
                      <a:pt x="125167" y="258336"/>
                      <a:pt x="106862" y="200370"/>
                      <a:pt x="134319" y="142404"/>
                    </a:cubicBezTo>
                    <a:cubicBezTo>
                      <a:pt x="164828" y="75286"/>
                      <a:pt x="225845" y="124099"/>
                      <a:pt x="241099" y="179014"/>
                    </a:cubicBezTo>
                    <a:cubicBezTo>
                      <a:pt x="259404" y="252235"/>
                      <a:pt x="250252" y="349862"/>
                      <a:pt x="222795" y="429184"/>
                    </a:cubicBezTo>
                    <a:cubicBezTo>
                      <a:pt x="192286" y="395625"/>
                      <a:pt x="170930" y="355964"/>
                      <a:pt x="149573" y="313252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570D01D1-D2A9-48F6-8FA5-2522A7157BA4}"/>
                  </a:ext>
                </a:extLst>
              </p:cNvPr>
              <p:cNvSpPr/>
              <p:nvPr/>
            </p:nvSpPr>
            <p:spPr>
              <a:xfrm>
                <a:off x="10934407" y="3123199"/>
                <a:ext cx="309745" cy="551525"/>
              </a:xfrm>
              <a:custGeom>
                <a:avLst/>
                <a:gdLst>
                  <a:gd name="connsiteX0" fmla="*/ 256271 w 309745"/>
                  <a:gd name="connsiteY0" fmla="*/ 8011 h 551525"/>
                  <a:gd name="connsiteX1" fmla="*/ 0 w 309745"/>
                  <a:gd name="connsiteY1" fmla="*/ 520553 h 551525"/>
                  <a:gd name="connsiteX2" fmla="*/ 39661 w 309745"/>
                  <a:gd name="connsiteY2" fmla="*/ 551062 h 551525"/>
                  <a:gd name="connsiteX3" fmla="*/ 112881 w 309745"/>
                  <a:gd name="connsiteY3" fmla="*/ 538859 h 551525"/>
                  <a:gd name="connsiteX4" fmla="*/ 134237 w 309745"/>
                  <a:gd name="connsiteY4" fmla="*/ 508350 h 551525"/>
                  <a:gd name="connsiteX5" fmla="*/ 167797 w 309745"/>
                  <a:gd name="connsiteY5" fmla="*/ 255130 h 551525"/>
                  <a:gd name="connsiteX6" fmla="*/ 302034 w 309745"/>
                  <a:gd name="connsiteY6" fmla="*/ 59876 h 551525"/>
                  <a:gd name="connsiteX7" fmla="*/ 305085 w 309745"/>
                  <a:gd name="connsiteY7" fmla="*/ 47672 h 551525"/>
                  <a:gd name="connsiteX8" fmla="*/ 256271 w 309745"/>
                  <a:gd name="connsiteY8" fmla="*/ 8011 h 55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9745" h="551525">
                    <a:moveTo>
                      <a:pt x="256271" y="8011"/>
                    </a:moveTo>
                    <a:cubicBezTo>
                      <a:pt x="100678" y="136147"/>
                      <a:pt x="9152" y="319198"/>
                      <a:pt x="0" y="520553"/>
                    </a:cubicBezTo>
                    <a:cubicBezTo>
                      <a:pt x="0" y="541909"/>
                      <a:pt x="21355" y="554113"/>
                      <a:pt x="39661" y="551062"/>
                    </a:cubicBezTo>
                    <a:cubicBezTo>
                      <a:pt x="64068" y="548011"/>
                      <a:pt x="88474" y="541909"/>
                      <a:pt x="112881" y="538859"/>
                    </a:cubicBezTo>
                    <a:cubicBezTo>
                      <a:pt x="125085" y="535808"/>
                      <a:pt x="137288" y="520553"/>
                      <a:pt x="134237" y="508350"/>
                    </a:cubicBezTo>
                    <a:cubicBezTo>
                      <a:pt x="125085" y="419875"/>
                      <a:pt x="134237" y="334452"/>
                      <a:pt x="167797" y="255130"/>
                    </a:cubicBezTo>
                    <a:cubicBezTo>
                      <a:pt x="210508" y="184960"/>
                      <a:pt x="265423" y="117842"/>
                      <a:pt x="302034" y="59876"/>
                    </a:cubicBezTo>
                    <a:cubicBezTo>
                      <a:pt x="305085" y="56825"/>
                      <a:pt x="305085" y="50723"/>
                      <a:pt x="305085" y="47672"/>
                    </a:cubicBezTo>
                    <a:cubicBezTo>
                      <a:pt x="323390" y="20215"/>
                      <a:pt x="283728" y="-16396"/>
                      <a:pt x="256271" y="8011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ED6C2005-8062-4335-A244-4D76DA5EF925}"/>
                  </a:ext>
                </a:extLst>
              </p:cNvPr>
              <p:cNvSpPr/>
              <p:nvPr/>
            </p:nvSpPr>
            <p:spPr>
              <a:xfrm>
                <a:off x="11284949" y="3136441"/>
                <a:ext cx="175870" cy="369663"/>
              </a:xfrm>
              <a:custGeom>
                <a:avLst/>
                <a:gdLst>
                  <a:gd name="connsiteX0" fmla="*/ 168102 w 175870"/>
                  <a:gd name="connsiteY0" fmla="*/ 226633 h 369663"/>
                  <a:gd name="connsiteX1" fmla="*/ 79628 w 175870"/>
                  <a:gd name="connsiteY1" fmla="*/ 25277 h 369663"/>
                  <a:gd name="connsiteX2" fmla="*/ 67424 w 175870"/>
                  <a:gd name="connsiteY2" fmla="*/ 6972 h 369663"/>
                  <a:gd name="connsiteX3" fmla="*/ 18611 w 175870"/>
                  <a:gd name="connsiteY3" fmla="*/ 22226 h 369663"/>
                  <a:gd name="connsiteX4" fmla="*/ 52170 w 175870"/>
                  <a:gd name="connsiteY4" fmla="*/ 354769 h 369663"/>
                  <a:gd name="connsiteX5" fmla="*/ 104034 w 175870"/>
                  <a:gd name="connsiteY5" fmla="*/ 354769 h 369663"/>
                  <a:gd name="connsiteX6" fmla="*/ 165051 w 175870"/>
                  <a:gd name="connsiteY6" fmla="*/ 269345 h 369663"/>
                  <a:gd name="connsiteX7" fmla="*/ 168102 w 175870"/>
                  <a:gd name="connsiteY7" fmla="*/ 226633 h 369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5870" h="369663">
                    <a:moveTo>
                      <a:pt x="168102" y="226633"/>
                    </a:moveTo>
                    <a:cubicBezTo>
                      <a:pt x="104034" y="177820"/>
                      <a:pt x="91831" y="101548"/>
                      <a:pt x="79628" y="25277"/>
                    </a:cubicBezTo>
                    <a:cubicBezTo>
                      <a:pt x="79628" y="16125"/>
                      <a:pt x="73526" y="10023"/>
                      <a:pt x="67424" y="6972"/>
                    </a:cubicBezTo>
                    <a:cubicBezTo>
                      <a:pt x="52170" y="-5231"/>
                      <a:pt x="24712" y="-2181"/>
                      <a:pt x="18611" y="22226"/>
                    </a:cubicBezTo>
                    <a:cubicBezTo>
                      <a:pt x="-14948" y="135108"/>
                      <a:pt x="-2745" y="251040"/>
                      <a:pt x="52170" y="354769"/>
                    </a:cubicBezTo>
                    <a:cubicBezTo>
                      <a:pt x="64374" y="376125"/>
                      <a:pt x="91831" y="373074"/>
                      <a:pt x="104034" y="354769"/>
                    </a:cubicBezTo>
                    <a:cubicBezTo>
                      <a:pt x="122340" y="324260"/>
                      <a:pt x="143695" y="296803"/>
                      <a:pt x="165051" y="269345"/>
                    </a:cubicBezTo>
                    <a:cubicBezTo>
                      <a:pt x="177255" y="260192"/>
                      <a:pt x="180306" y="238836"/>
                      <a:pt x="168102" y="226633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7A878DB5-68D5-44FE-B8E3-280E17594F72}"/>
                </a:ext>
              </a:extLst>
            </p:cNvPr>
            <p:cNvSpPr/>
            <p:nvPr/>
          </p:nvSpPr>
          <p:spPr>
            <a:xfrm>
              <a:off x="10577458" y="3476700"/>
              <a:ext cx="220977" cy="82772"/>
            </a:xfrm>
            <a:custGeom>
              <a:avLst/>
              <a:gdLst>
                <a:gd name="connsiteX0" fmla="*/ 0 w 220977"/>
                <a:gd name="connsiteY0" fmla="*/ 72476 h 82772"/>
                <a:gd name="connsiteX1" fmla="*/ 128136 w 220977"/>
                <a:gd name="connsiteY1" fmla="*/ 2306 h 82772"/>
                <a:gd name="connsiteX2" fmla="*/ 219661 w 220977"/>
                <a:gd name="connsiteY2" fmla="*/ 14510 h 82772"/>
                <a:gd name="connsiteX3" fmla="*/ 97627 w 220977"/>
                <a:gd name="connsiteY3" fmla="*/ 78577 h 82772"/>
                <a:gd name="connsiteX4" fmla="*/ 0 w 220977"/>
                <a:gd name="connsiteY4" fmla="*/ 72476 h 82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0977" h="82772">
                  <a:moveTo>
                    <a:pt x="0" y="72476"/>
                  </a:moveTo>
                  <a:cubicBezTo>
                    <a:pt x="0" y="72476"/>
                    <a:pt x="91525" y="5357"/>
                    <a:pt x="128136" y="2306"/>
                  </a:cubicBezTo>
                  <a:cubicBezTo>
                    <a:pt x="164746" y="-745"/>
                    <a:pt x="213559" y="-3795"/>
                    <a:pt x="219661" y="14510"/>
                  </a:cubicBezTo>
                  <a:cubicBezTo>
                    <a:pt x="234916" y="60272"/>
                    <a:pt x="112882" y="41967"/>
                    <a:pt x="97627" y="78577"/>
                  </a:cubicBezTo>
                  <a:cubicBezTo>
                    <a:pt x="91525" y="90781"/>
                    <a:pt x="0" y="72476"/>
                    <a:pt x="0" y="72476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1" name="图形 1">
              <a:extLst>
                <a:ext uri="{FF2B5EF4-FFF2-40B4-BE49-F238E27FC236}">
                  <a16:creationId xmlns:a16="http://schemas.microsoft.com/office/drawing/2014/main" id="{3722FA79-CEF0-4000-9803-B5B911D15FBD}"/>
                </a:ext>
              </a:extLst>
            </p:cNvPr>
            <p:cNvGrpSpPr/>
            <p:nvPr/>
          </p:nvGrpSpPr>
          <p:grpSpPr>
            <a:xfrm>
              <a:off x="10470011" y="3516343"/>
              <a:ext cx="473548" cy="241376"/>
              <a:chOff x="10470011" y="3516343"/>
              <a:chExt cx="473548" cy="241376"/>
            </a:xfrm>
          </p:grpSpPr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FB01EC8A-DB55-45E1-B90E-62358DE92C31}"/>
                  </a:ext>
                </a:extLst>
              </p:cNvPr>
              <p:cNvSpPr/>
              <p:nvPr/>
            </p:nvSpPr>
            <p:spPr>
              <a:xfrm>
                <a:off x="10470011" y="3516343"/>
                <a:ext cx="473548" cy="241376"/>
              </a:xfrm>
              <a:custGeom>
                <a:avLst/>
                <a:gdLst>
                  <a:gd name="connsiteX0" fmla="*/ 49481 w 473548"/>
                  <a:gd name="connsiteY0" fmla="*/ 206732 h 241376"/>
                  <a:gd name="connsiteX1" fmla="*/ 162363 w 473548"/>
                  <a:gd name="connsiteY1" fmla="*/ 218935 h 241376"/>
                  <a:gd name="connsiteX2" fmla="*/ 272193 w 473548"/>
                  <a:gd name="connsiteY2" fmla="*/ 237240 h 241376"/>
                  <a:gd name="connsiteX3" fmla="*/ 473549 w 473548"/>
                  <a:gd name="connsiteY3" fmla="*/ 121308 h 241376"/>
                  <a:gd name="connsiteX4" fmla="*/ 278295 w 473548"/>
                  <a:gd name="connsiteY4" fmla="*/ 2325 h 241376"/>
                  <a:gd name="connsiteX5" fmla="*/ 25075 w 473548"/>
                  <a:gd name="connsiteY5" fmla="*/ 32834 h 241376"/>
                  <a:gd name="connsiteX6" fmla="*/ 3718 w 473548"/>
                  <a:gd name="connsiteY6" fmla="*/ 170122 h 241376"/>
                  <a:gd name="connsiteX7" fmla="*/ 49481 w 473548"/>
                  <a:gd name="connsiteY7" fmla="*/ 206732 h 241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3548" h="241376">
                    <a:moveTo>
                      <a:pt x="49481" y="206732"/>
                    </a:moveTo>
                    <a:cubicBezTo>
                      <a:pt x="86092" y="212833"/>
                      <a:pt x="125752" y="212833"/>
                      <a:pt x="162363" y="218935"/>
                    </a:cubicBezTo>
                    <a:cubicBezTo>
                      <a:pt x="202023" y="225037"/>
                      <a:pt x="232532" y="228088"/>
                      <a:pt x="272193" y="237240"/>
                    </a:cubicBezTo>
                    <a:cubicBezTo>
                      <a:pt x="330159" y="252495"/>
                      <a:pt x="473549" y="228088"/>
                      <a:pt x="473549" y="121308"/>
                    </a:cubicBezTo>
                    <a:cubicBezTo>
                      <a:pt x="473549" y="38935"/>
                      <a:pt x="293549" y="5376"/>
                      <a:pt x="278295" y="2325"/>
                    </a:cubicBezTo>
                    <a:cubicBezTo>
                      <a:pt x="174566" y="-9878"/>
                      <a:pt x="128803" y="29783"/>
                      <a:pt x="25075" y="32834"/>
                    </a:cubicBezTo>
                    <a:cubicBezTo>
                      <a:pt x="25075" y="29783"/>
                      <a:pt x="-11536" y="121308"/>
                      <a:pt x="3718" y="170122"/>
                    </a:cubicBezTo>
                    <a:cubicBezTo>
                      <a:pt x="9820" y="200630"/>
                      <a:pt x="18973" y="203681"/>
                      <a:pt x="49481" y="206732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C840FDD1-63EF-4875-8358-EF07224B8C22}"/>
                  </a:ext>
                </a:extLst>
              </p:cNvPr>
              <p:cNvSpPr/>
              <p:nvPr/>
            </p:nvSpPr>
            <p:spPr>
              <a:xfrm>
                <a:off x="10644577" y="3517432"/>
                <a:ext cx="255508" cy="65303"/>
              </a:xfrm>
              <a:custGeom>
                <a:avLst/>
                <a:gdLst>
                  <a:gd name="connsiteX0" fmla="*/ 250169 w 255508"/>
                  <a:gd name="connsiteY0" fmla="*/ 62253 h 65303"/>
                  <a:gd name="connsiteX1" fmla="*/ 247119 w 255508"/>
                  <a:gd name="connsiteY1" fmla="*/ 62253 h 65303"/>
                  <a:gd name="connsiteX2" fmla="*/ 6101 w 255508"/>
                  <a:gd name="connsiteY2" fmla="*/ 19541 h 65303"/>
                  <a:gd name="connsiteX3" fmla="*/ 0 w 255508"/>
                  <a:gd name="connsiteY3" fmla="*/ 16490 h 65303"/>
                  <a:gd name="connsiteX4" fmla="*/ 3051 w 255508"/>
                  <a:gd name="connsiteY4" fmla="*/ 10388 h 65303"/>
                  <a:gd name="connsiteX5" fmla="*/ 253220 w 255508"/>
                  <a:gd name="connsiteY5" fmla="*/ 56151 h 65303"/>
                  <a:gd name="connsiteX6" fmla="*/ 253220 w 255508"/>
                  <a:gd name="connsiteY6" fmla="*/ 65303 h 65303"/>
                  <a:gd name="connsiteX7" fmla="*/ 250169 w 255508"/>
                  <a:gd name="connsiteY7" fmla="*/ 62253 h 65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5508" h="65303">
                    <a:moveTo>
                      <a:pt x="250169" y="62253"/>
                    </a:moveTo>
                    <a:cubicBezTo>
                      <a:pt x="250169" y="62253"/>
                      <a:pt x="247119" y="62253"/>
                      <a:pt x="247119" y="62253"/>
                    </a:cubicBezTo>
                    <a:cubicBezTo>
                      <a:pt x="152542" y="-20120"/>
                      <a:pt x="9152" y="19541"/>
                      <a:pt x="6101" y="19541"/>
                    </a:cubicBezTo>
                    <a:cubicBezTo>
                      <a:pt x="3051" y="19541"/>
                      <a:pt x="0" y="19541"/>
                      <a:pt x="0" y="16490"/>
                    </a:cubicBezTo>
                    <a:cubicBezTo>
                      <a:pt x="0" y="13439"/>
                      <a:pt x="0" y="10388"/>
                      <a:pt x="3051" y="10388"/>
                    </a:cubicBezTo>
                    <a:cubicBezTo>
                      <a:pt x="9152" y="7337"/>
                      <a:pt x="155593" y="-29273"/>
                      <a:pt x="253220" y="56151"/>
                    </a:cubicBezTo>
                    <a:cubicBezTo>
                      <a:pt x="256271" y="59202"/>
                      <a:pt x="256271" y="62253"/>
                      <a:pt x="253220" y="65303"/>
                    </a:cubicBezTo>
                    <a:cubicBezTo>
                      <a:pt x="253220" y="59202"/>
                      <a:pt x="250169" y="62253"/>
                      <a:pt x="250169" y="622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57ACFF0B-6E03-454F-9218-65202ED4DFCC}"/>
                  </a:ext>
                </a:extLst>
              </p:cNvPr>
              <p:cNvSpPr/>
              <p:nvPr/>
            </p:nvSpPr>
            <p:spPr>
              <a:xfrm>
                <a:off x="10708645" y="3597990"/>
                <a:ext cx="45762" cy="100677"/>
              </a:xfrm>
              <a:custGeom>
                <a:avLst/>
                <a:gdLst>
                  <a:gd name="connsiteX0" fmla="*/ 6101 w 45762"/>
                  <a:gd name="connsiteY0" fmla="*/ 100678 h 100677"/>
                  <a:gd name="connsiteX1" fmla="*/ 6101 w 45762"/>
                  <a:gd name="connsiteY1" fmla="*/ 100678 h 100677"/>
                  <a:gd name="connsiteX2" fmla="*/ 0 w 45762"/>
                  <a:gd name="connsiteY2" fmla="*/ 91525 h 100677"/>
                  <a:gd name="connsiteX3" fmla="*/ 33559 w 45762"/>
                  <a:gd name="connsiteY3" fmla="*/ 6102 h 100677"/>
                  <a:gd name="connsiteX4" fmla="*/ 39661 w 45762"/>
                  <a:gd name="connsiteY4" fmla="*/ 0 h 100677"/>
                  <a:gd name="connsiteX5" fmla="*/ 45763 w 45762"/>
                  <a:gd name="connsiteY5" fmla="*/ 6102 h 100677"/>
                  <a:gd name="connsiteX6" fmla="*/ 12203 w 45762"/>
                  <a:gd name="connsiteY6" fmla="*/ 97627 h 100677"/>
                  <a:gd name="connsiteX7" fmla="*/ 6101 w 45762"/>
                  <a:gd name="connsiteY7" fmla="*/ 100678 h 100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762" h="100677">
                    <a:moveTo>
                      <a:pt x="6101" y="100678"/>
                    </a:moveTo>
                    <a:cubicBezTo>
                      <a:pt x="6101" y="100678"/>
                      <a:pt x="6101" y="100678"/>
                      <a:pt x="6101" y="100678"/>
                    </a:cubicBezTo>
                    <a:cubicBezTo>
                      <a:pt x="0" y="97627"/>
                      <a:pt x="0" y="94576"/>
                      <a:pt x="0" y="91525"/>
                    </a:cubicBezTo>
                    <a:cubicBezTo>
                      <a:pt x="0" y="91525"/>
                      <a:pt x="30508" y="27458"/>
                      <a:pt x="33559" y="6102"/>
                    </a:cubicBezTo>
                    <a:cubicBezTo>
                      <a:pt x="33559" y="3051"/>
                      <a:pt x="36610" y="0"/>
                      <a:pt x="39661" y="0"/>
                    </a:cubicBezTo>
                    <a:cubicBezTo>
                      <a:pt x="42712" y="0"/>
                      <a:pt x="45763" y="3051"/>
                      <a:pt x="45763" y="6102"/>
                    </a:cubicBezTo>
                    <a:cubicBezTo>
                      <a:pt x="42712" y="30508"/>
                      <a:pt x="12203" y="94576"/>
                      <a:pt x="12203" y="97627"/>
                    </a:cubicBezTo>
                    <a:cubicBezTo>
                      <a:pt x="12203" y="100678"/>
                      <a:pt x="9152" y="100678"/>
                      <a:pt x="6101" y="10067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457F5FE8-7BEF-4403-B461-C48F5B7F6953}"/>
                </a:ext>
              </a:extLst>
            </p:cNvPr>
            <p:cNvSpPr/>
            <p:nvPr/>
          </p:nvSpPr>
          <p:spPr>
            <a:xfrm>
              <a:off x="10568306" y="3464816"/>
              <a:ext cx="231101" cy="59953"/>
            </a:xfrm>
            <a:custGeom>
              <a:avLst/>
              <a:gdLst>
                <a:gd name="connsiteX0" fmla="*/ 207457 w 231101"/>
                <a:gd name="connsiteY0" fmla="*/ 59953 h 59953"/>
                <a:gd name="connsiteX1" fmla="*/ 201356 w 231101"/>
                <a:gd name="connsiteY1" fmla="*/ 56902 h 59953"/>
                <a:gd name="connsiteX2" fmla="*/ 204406 w 231101"/>
                <a:gd name="connsiteY2" fmla="*/ 50801 h 59953"/>
                <a:gd name="connsiteX3" fmla="*/ 219660 w 231101"/>
                <a:gd name="connsiteY3" fmla="*/ 38597 h 59953"/>
                <a:gd name="connsiteX4" fmla="*/ 219660 w 231101"/>
                <a:gd name="connsiteY4" fmla="*/ 26394 h 59953"/>
                <a:gd name="connsiteX5" fmla="*/ 6101 w 231101"/>
                <a:gd name="connsiteY5" fmla="*/ 50801 h 59953"/>
                <a:gd name="connsiteX6" fmla="*/ 0 w 231101"/>
                <a:gd name="connsiteY6" fmla="*/ 47750 h 59953"/>
                <a:gd name="connsiteX7" fmla="*/ 3051 w 231101"/>
                <a:gd name="connsiteY7" fmla="*/ 41648 h 59953"/>
                <a:gd name="connsiteX8" fmla="*/ 228814 w 231101"/>
                <a:gd name="connsiteY8" fmla="*/ 23343 h 59953"/>
                <a:gd name="connsiteX9" fmla="*/ 228814 w 231101"/>
                <a:gd name="connsiteY9" fmla="*/ 44699 h 59953"/>
                <a:gd name="connsiteX10" fmla="*/ 207457 w 231101"/>
                <a:gd name="connsiteY10" fmla="*/ 59953 h 59953"/>
                <a:gd name="connsiteX11" fmla="*/ 207457 w 231101"/>
                <a:gd name="connsiteY11" fmla="*/ 59953 h 59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1101" h="59953">
                  <a:moveTo>
                    <a:pt x="207457" y="59953"/>
                  </a:moveTo>
                  <a:cubicBezTo>
                    <a:pt x="204406" y="59953"/>
                    <a:pt x="204406" y="59953"/>
                    <a:pt x="201356" y="56902"/>
                  </a:cubicBezTo>
                  <a:cubicBezTo>
                    <a:pt x="201356" y="53851"/>
                    <a:pt x="201356" y="50801"/>
                    <a:pt x="204406" y="50801"/>
                  </a:cubicBezTo>
                  <a:cubicBezTo>
                    <a:pt x="213559" y="47750"/>
                    <a:pt x="216610" y="44699"/>
                    <a:pt x="219660" y="38597"/>
                  </a:cubicBezTo>
                  <a:cubicBezTo>
                    <a:pt x="222712" y="32495"/>
                    <a:pt x="219660" y="29445"/>
                    <a:pt x="219660" y="26394"/>
                  </a:cubicBezTo>
                  <a:cubicBezTo>
                    <a:pt x="204406" y="-10216"/>
                    <a:pt x="82372" y="23343"/>
                    <a:pt x="6101" y="50801"/>
                  </a:cubicBezTo>
                  <a:cubicBezTo>
                    <a:pt x="3051" y="50801"/>
                    <a:pt x="0" y="50801"/>
                    <a:pt x="0" y="47750"/>
                  </a:cubicBezTo>
                  <a:cubicBezTo>
                    <a:pt x="0" y="44699"/>
                    <a:pt x="0" y="41648"/>
                    <a:pt x="3051" y="41648"/>
                  </a:cubicBezTo>
                  <a:cubicBezTo>
                    <a:pt x="24406" y="32495"/>
                    <a:pt x="207457" y="-34623"/>
                    <a:pt x="228814" y="23343"/>
                  </a:cubicBezTo>
                  <a:cubicBezTo>
                    <a:pt x="231865" y="29445"/>
                    <a:pt x="231865" y="38597"/>
                    <a:pt x="228814" y="44699"/>
                  </a:cubicBezTo>
                  <a:cubicBezTo>
                    <a:pt x="228814" y="50801"/>
                    <a:pt x="222712" y="56902"/>
                    <a:pt x="207457" y="59953"/>
                  </a:cubicBezTo>
                  <a:cubicBezTo>
                    <a:pt x="210508" y="59953"/>
                    <a:pt x="210508" y="59953"/>
                    <a:pt x="207457" y="59953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DB598E22-664A-4F12-A5C1-6215E324F14C}"/>
                </a:ext>
              </a:extLst>
            </p:cNvPr>
            <p:cNvSpPr/>
            <p:nvPr/>
          </p:nvSpPr>
          <p:spPr>
            <a:xfrm>
              <a:off x="10491582" y="3480923"/>
              <a:ext cx="124060" cy="337175"/>
            </a:xfrm>
            <a:custGeom>
              <a:avLst/>
              <a:gdLst>
                <a:gd name="connsiteX0" fmla="*/ 27910 w 124060"/>
                <a:gd name="connsiteY0" fmla="*/ 290965 h 337175"/>
                <a:gd name="connsiteX1" fmla="*/ 3504 w 124060"/>
                <a:gd name="connsiteY1" fmla="*/ 68254 h 337175"/>
                <a:gd name="connsiteX2" fmla="*/ 85876 w 124060"/>
                <a:gd name="connsiteY2" fmla="*/ 25542 h 337175"/>
                <a:gd name="connsiteX3" fmla="*/ 119436 w 124060"/>
                <a:gd name="connsiteY3" fmla="*/ 294016 h 337175"/>
                <a:gd name="connsiteX4" fmla="*/ 27910 w 124060"/>
                <a:gd name="connsiteY4" fmla="*/ 290965 h 33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060" h="337175">
                  <a:moveTo>
                    <a:pt x="27910" y="290965"/>
                  </a:moveTo>
                  <a:cubicBezTo>
                    <a:pt x="40114" y="214694"/>
                    <a:pt x="34012" y="141474"/>
                    <a:pt x="3504" y="68254"/>
                  </a:cubicBezTo>
                  <a:cubicBezTo>
                    <a:pt x="-17852" y="13338"/>
                    <a:pt x="64521" y="-29374"/>
                    <a:pt x="85876" y="25542"/>
                  </a:cubicBezTo>
                  <a:cubicBezTo>
                    <a:pt x="119436" y="110965"/>
                    <a:pt x="131639" y="202491"/>
                    <a:pt x="119436" y="294016"/>
                  </a:cubicBezTo>
                  <a:cubicBezTo>
                    <a:pt x="110284" y="355033"/>
                    <a:pt x="18758" y="348932"/>
                    <a:pt x="27910" y="290965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9" name="图形 1">
            <a:extLst>
              <a:ext uri="{FF2B5EF4-FFF2-40B4-BE49-F238E27FC236}">
                <a16:creationId xmlns:a16="http://schemas.microsoft.com/office/drawing/2014/main" id="{441157C7-6C3A-4D12-A5C8-DC7AE3558A10}"/>
              </a:ext>
            </a:extLst>
          </p:cNvPr>
          <p:cNvGrpSpPr/>
          <p:nvPr/>
        </p:nvGrpSpPr>
        <p:grpSpPr>
          <a:xfrm>
            <a:off x="6185170" y="1922280"/>
            <a:ext cx="3763743" cy="4843092"/>
            <a:chOff x="12371499" y="1750830"/>
            <a:chExt cx="3763743" cy="4843092"/>
          </a:xfrm>
        </p:grpSpPr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031315B3-9A76-422B-856C-5DAFFF71AA28}"/>
                </a:ext>
              </a:extLst>
            </p:cNvPr>
            <p:cNvSpPr/>
            <p:nvPr/>
          </p:nvSpPr>
          <p:spPr>
            <a:xfrm>
              <a:off x="12823592" y="3229288"/>
              <a:ext cx="377594" cy="213200"/>
            </a:xfrm>
            <a:custGeom>
              <a:avLst/>
              <a:gdLst>
                <a:gd name="connsiteX0" fmla="*/ 194544 w 377594"/>
                <a:gd name="connsiteY0" fmla="*/ 203956 h 213200"/>
                <a:gd name="connsiteX1" fmla="*/ 325731 w 377594"/>
                <a:gd name="connsiteY1" fmla="*/ 194803 h 213200"/>
                <a:gd name="connsiteX2" fmla="*/ 377594 w 377594"/>
                <a:gd name="connsiteY2" fmla="*/ 84973 h 213200"/>
                <a:gd name="connsiteX3" fmla="*/ 72510 w 377594"/>
                <a:gd name="connsiteY3" fmla="*/ 5651 h 213200"/>
                <a:gd name="connsiteX4" fmla="*/ 72510 w 377594"/>
                <a:gd name="connsiteY4" fmla="*/ 173448 h 213200"/>
                <a:gd name="connsiteX5" fmla="*/ 194544 w 377594"/>
                <a:gd name="connsiteY5" fmla="*/ 203956 h 21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594" h="213200">
                  <a:moveTo>
                    <a:pt x="194544" y="203956"/>
                  </a:moveTo>
                  <a:cubicBezTo>
                    <a:pt x="237255" y="210058"/>
                    <a:pt x="286069" y="225312"/>
                    <a:pt x="325731" y="194803"/>
                  </a:cubicBezTo>
                  <a:cubicBezTo>
                    <a:pt x="350137" y="176498"/>
                    <a:pt x="377594" y="88024"/>
                    <a:pt x="377594" y="84973"/>
                  </a:cubicBezTo>
                  <a:cubicBezTo>
                    <a:pt x="356239" y="2600"/>
                    <a:pt x="139629" y="-9603"/>
                    <a:pt x="72510" y="5651"/>
                  </a:cubicBezTo>
                  <a:cubicBezTo>
                    <a:pt x="17595" y="17854"/>
                    <a:pt x="-58676" y="103278"/>
                    <a:pt x="72510" y="173448"/>
                  </a:cubicBezTo>
                  <a:cubicBezTo>
                    <a:pt x="87764" y="182600"/>
                    <a:pt x="167086" y="200905"/>
                    <a:pt x="194544" y="203956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B381A9B2-B48B-4965-B41F-69D3419D26BA}"/>
                </a:ext>
              </a:extLst>
            </p:cNvPr>
            <p:cNvSpPr/>
            <p:nvPr/>
          </p:nvSpPr>
          <p:spPr>
            <a:xfrm rot="-4458009">
              <a:off x="15803100" y="5775629"/>
              <a:ext cx="488139" cy="45763"/>
            </a:xfrm>
            <a:custGeom>
              <a:avLst/>
              <a:gdLst>
                <a:gd name="connsiteX0" fmla="*/ 0 w 488139"/>
                <a:gd name="connsiteY0" fmla="*/ 0 h 45763"/>
                <a:gd name="connsiteX1" fmla="*/ 488140 w 488139"/>
                <a:gd name="connsiteY1" fmla="*/ 0 h 45763"/>
                <a:gd name="connsiteX2" fmla="*/ 488140 w 488139"/>
                <a:gd name="connsiteY2" fmla="*/ 45763 h 45763"/>
                <a:gd name="connsiteX3" fmla="*/ 0 w 488139"/>
                <a:gd name="connsiteY3" fmla="*/ 45763 h 45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8139" h="45763">
                  <a:moveTo>
                    <a:pt x="0" y="0"/>
                  </a:moveTo>
                  <a:lnTo>
                    <a:pt x="488140" y="0"/>
                  </a:lnTo>
                  <a:lnTo>
                    <a:pt x="488140" y="45763"/>
                  </a:lnTo>
                  <a:lnTo>
                    <a:pt x="0" y="45763"/>
                  </a:ln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C695C8A2-341E-4680-94A5-F1FA5D090E9E}"/>
                </a:ext>
              </a:extLst>
            </p:cNvPr>
            <p:cNvSpPr/>
            <p:nvPr/>
          </p:nvSpPr>
          <p:spPr>
            <a:xfrm>
              <a:off x="14217977" y="4046464"/>
              <a:ext cx="1668392" cy="2363778"/>
            </a:xfrm>
            <a:custGeom>
              <a:avLst/>
              <a:gdLst>
                <a:gd name="connsiteX0" fmla="*/ 32701 w 1668392"/>
                <a:gd name="connsiteY0" fmla="*/ 18305 h 2363778"/>
                <a:gd name="connsiteX1" fmla="*/ 2193 w 1668392"/>
                <a:gd name="connsiteY1" fmla="*/ 1382034 h 2363778"/>
                <a:gd name="connsiteX2" fmla="*/ 163888 w 1668392"/>
                <a:gd name="connsiteY2" fmla="*/ 2327797 h 2363778"/>
                <a:gd name="connsiteX3" fmla="*/ 356091 w 1668392"/>
                <a:gd name="connsiteY3" fmla="*/ 2321695 h 2363778"/>
                <a:gd name="connsiteX4" fmla="*/ 426261 w 1668392"/>
                <a:gd name="connsiteY4" fmla="*/ 1412543 h 2363778"/>
                <a:gd name="connsiteX5" fmla="*/ 529990 w 1668392"/>
                <a:gd name="connsiteY5" fmla="*/ 503390 h 2363778"/>
                <a:gd name="connsiteX6" fmla="*/ 780159 w 1668392"/>
                <a:gd name="connsiteY6" fmla="*/ 1458305 h 2363778"/>
                <a:gd name="connsiteX7" fmla="*/ 1619142 w 1668392"/>
                <a:gd name="connsiteY7" fmla="*/ 1693220 h 2363778"/>
                <a:gd name="connsiteX8" fmla="*/ 1649650 w 1668392"/>
                <a:gd name="connsiteY8" fmla="*/ 1482712 h 2363778"/>
                <a:gd name="connsiteX9" fmla="*/ 1131006 w 1668392"/>
                <a:gd name="connsiteY9" fmla="*/ 1150169 h 2363778"/>
                <a:gd name="connsiteX10" fmla="*/ 1051685 w 1668392"/>
                <a:gd name="connsiteY10" fmla="*/ 0 h 2363778"/>
                <a:gd name="connsiteX11" fmla="*/ 32701 w 1668392"/>
                <a:gd name="connsiteY11" fmla="*/ 18305 h 2363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68392" h="2363778">
                  <a:moveTo>
                    <a:pt x="32701" y="18305"/>
                  </a:moveTo>
                  <a:cubicBezTo>
                    <a:pt x="32701" y="18305"/>
                    <a:pt x="-10010" y="1067797"/>
                    <a:pt x="2193" y="1382034"/>
                  </a:cubicBezTo>
                  <a:cubicBezTo>
                    <a:pt x="11346" y="1635254"/>
                    <a:pt x="2193" y="2175254"/>
                    <a:pt x="163888" y="2327797"/>
                  </a:cubicBezTo>
                  <a:cubicBezTo>
                    <a:pt x="218803" y="2379661"/>
                    <a:pt x="301176" y="2373560"/>
                    <a:pt x="356091" y="2321695"/>
                  </a:cubicBezTo>
                  <a:cubicBezTo>
                    <a:pt x="511685" y="2172203"/>
                    <a:pt x="423210" y="1510170"/>
                    <a:pt x="426261" y="1412543"/>
                  </a:cubicBezTo>
                  <a:cubicBezTo>
                    <a:pt x="432362" y="1272203"/>
                    <a:pt x="514736" y="533898"/>
                    <a:pt x="529990" y="503390"/>
                  </a:cubicBezTo>
                  <a:cubicBezTo>
                    <a:pt x="542193" y="478983"/>
                    <a:pt x="664227" y="1269153"/>
                    <a:pt x="780159" y="1458305"/>
                  </a:cubicBezTo>
                  <a:cubicBezTo>
                    <a:pt x="813718" y="1513220"/>
                    <a:pt x="1436091" y="1803051"/>
                    <a:pt x="1619142" y="1693220"/>
                  </a:cubicBezTo>
                  <a:cubicBezTo>
                    <a:pt x="1680159" y="1656610"/>
                    <a:pt x="1677109" y="1546780"/>
                    <a:pt x="1649650" y="1482712"/>
                  </a:cubicBezTo>
                  <a:cubicBezTo>
                    <a:pt x="1588634" y="1342373"/>
                    <a:pt x="1131006" y="1150169"/>
                    <a:pt x="1131006" y="1150169"/>
                  </a:cubicBezTo>
                  <a:cubicBezTo>
                    <a:pt x="1131006" y="1150169"/>
                    <a:pt x="1097448" y="100678"/>
                    <a:pt x="1051685" y="0"/>
                  </a:cubicBezTo>
                  <a:cubicBezTo>
                    <a:pt x="356091" y="33559"/>
                    <a:pt x="32701" y="18305"/>
                    <a:pt x="32701" y="18305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AA1114E0-D791-4528-8FA1-606EF5791451}"/>
                </a:ext>
              </a:extLst>
            </p:cNvPr>
            <p:cNvSpPr/>
            <p:nvPr/>
          </p:nvSpPr>
          <p:spPr>
            <a:xfrm>
              <a:off x="15226949" y="5190532"/>
              <a:ext cx="129491" cy="67118"/>
            </a:xfrm>
            <a:custGeom>
              <a:avLst/>
              <a:gdLst>
                <a:gd name="connsiteX0" fmla="*/ 100679 w 129491"/>
                <a:gd name="connsiteY0" fmla="*/ 67119 h 67118"/>
                <a:gd name="connsiteX1" fmla="*/ 100679 w 129491"/>
                <a:gd name="connsiteY1" fmla="*/ 67119 h 67118"/>
                <a:gd name="connsiteX2" fmla="*/ 94576 w 129491"/>
                <a:gd name="connsiteY2" fmla="*/ 57966 h 67118"/>
                <a:gd name="connsiteX3" fmla="*/ 112882 w 129491"/>
                <a:gd name="connsiteY3" fmla="*/ 12203 h 67118"/>
                <a:gd name="connsiteX4" fmla="*/ 6102 w 129491"/>
                <a:gd name="connsiteY4" fmla="*/ 45763 h 67118"/>
                <a:gd name="connsiteX5" fmla="*/ 0 w 129491"/>
                <a:gd name="connsiteY5" fmla="*/ 42712 h 67118"/>
                <a:gd name="connsiteX6" fmla="*/ 3051 w 129491"/>
                <a:gd name="connsiteY6" fmla="*/ 36610 h 67118"/>
                <a:gd name="connsiteX7" fmla="*/ 122034 w 129491"/>
                <a:gd name="connsiteY7" fmla="*/ 0 h 67118"/>
                <a:gd name="connsiteX8" fmla="*/ 128136 w 129491"/>
                <a:gd name="connsiteY8" fmla="*/ 3051 h 67118"/>
                <a:gd name="connsiteX9" fmla="*/ 128136 w 129491"/>
                <a:gd name="connsiteY9" fmla="*/ 9153 h 67118"/>
                <a:gd name="connsiteX10" fmla="*/ 106780 w 129491"/>
                <a:gd name="connsiteY10" fmla="*/ 67119 h 67118"/>
                <a:gd name="connsiteX11" fmla="*/ 100679 w 129491"/>
                <a:gd name="connsiteY11" fmla="*/ 67119 h 67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491" h="67118">
                  <a:moveTo>
                    <a:pt x="100679" y="67119"/>
                  </a:moveTo>
                  <a:cubicBezTo>
                    <a:pt x="100679" y="67119"/>
                    <a:pt x="97627" y="67119"/>
                    <a:pt x="100679" y="67119"/>
                  </a:cubicBezTo>
                  <a:cubicBezTo>
                    <a:pt x="94576" y="67119"/>
                    <a:pt x="94576" y="61017"/>
                    <a:pt x="94576" y="57966"/>
                  </a:cubicBezTo>
                  <a:lnTo>
                    <a:pt x="112882" y="12203"/>
                  </a:lnTo>
                  <a:lnTo>
                    <a:pt x="6102" y="45763"/>
                  </a:lnTo>
                  <a:cubicBezTo>
                    <a:pt x="3051" y="45763"/>
                    <a:pt x="0" y="45763"/>
                    <a:pt x="0" y="42712"/>
                  </a:cubicBezTo>
                  <a:cubicBezTo>
                    <a:pt x="0" y="39661"/>
                    <a:pt x="0" y="36610"/>
                    <a:pt x="3051" y="36610"/>
                  </a:cubicBezTo>
                  <a:lnTo>
                    <a:pt x="122034" y="0"/>
                  </a:lnTo>
                  <a:cubicBezTo>
                    <a:pt x="125085" y="0"/>
                    <a:pt x="125085" y="0"/>
                    <a:pt x="128136" y="3051"/>
                  </a:cubicBezTo>
                  <a:cubicBezTo>
                    <a:pt x="128136" y="6102"/>
                    <a:pt x="131187" y="6102"/>
                    <a:pt x="128136" y="9153"/>
                  </a:cubicBezTo>
                  <a:lnTo>
                    <a:pt x="106780" y="67119"/>
                  </a:lnTo>
                  <a:cubicBezTo>
                    <a:pt x="103730" y="64068"/>
                    <a:pt x="100679" y="67119"/>
                    <a:pt x="100679" y="67119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CD19C0DE-2B5B-49F9-A3DF-D12697CA6380}"/>
                </a:ext>
              </a:extLst>
            </p:cNvPr>
            <p:cNvSpPr/>
            <p:nvPr/>
          </p:nvSpPr>
          <p:spPr>
            <a:xfrm>
              <a:off x="15751696" y="5446803"/>
              <a:ext cx="338644" cy="579660"/>
            </a:xfrm>
            <a:custGeom>
              <a:avLst/>
              <a:gdLst>
                <a:gd name="connsiteX0" fmla="*/ 0 w 338644"/>
                <a:gd name="connsiteY0" fmla="*/ 329491 h 579660"/>
                <a:gd name="connsiteX1" fmla="*/ 73220 w 338644"/>
                <a:gd name="connsiteY1" fmla="*/ 0 h 579660"/>
                <a:gd name="connsiteX2" fmla="*/ 338644 w 338644"/>
                <a:gd name="connsiteY2" fmla="*/ 109830 h 579660"/>
                <a:gd name="connsiteX3" fmla="*/ 207457 w 338644"/>
                <a:gd name="connsiteY3" fmla="*/ 579661 h 579660"/>
                <a:gd name="connsiteX4" fmla="*/ 149491 w 338644"/>
                <a:gd name="connsiteY4" fmla="*/ 390508 h 579660"/>
                <a:gd name="connsiteX5" fmla="*/ 143390 w 338644"/>
                <a:gd name="connsiteY5" fmla="*/ 329491 h 579660"/>
                <a:gd name="connsiteX6" fmla="*/ 0 w 338644"/>
                <a:gd name="connsiteY6" fmla="*/ 329491 h 579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8644" h="579660">
                  <a:moveTo>
                    <a:pt x="0" y="329491"/>
                  </a:moveTo>
                  <a:lnTo>
                    <a:pt x="73220" y="0"/>
                  </a:lnTo>
                  <a:cubicBezTo>
                    <a:pt x="259322" y="45763"/>
                    <a:pt x="338644" y="109830"/>
                    <a:pt x="338644" y="109830"/>
                  </a:cubicBezTo>
                  <a:lnTo>
                    <a:pt x="207457" y="579661"/>
                  </a:lnTo>
                  <a:cubicBezTo>
                    <a:pt x="143390" y="549152"/>
                    <a:pt x="152542" y="436271"/>
                    <a:pt x="149491" y="390508"/>
                  </a:cubicBezTo>
                  <a:cubicBezTo>
                    <a:pt x="149491" y="372204"/>
                    <a:pt x="146440" y="350847"/>
                    <a:pt x="143390" y="329491"/>
                  </a:cubicBezTo>
                  <a:lnTo>
                    <a:pt x="0" y="329491"/>
                  </a:lnTo>
                  <a:close/>
                </a:path>
              </a:pathLst>
            </a:custGeom>
            <a:solidFill>
              <a:srgbClr val="7F95BC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5" name="图形 1">
              <a:extLst>
                <a:ext uri="{FF2B5EF4-FFF2-40B4-BE49-F238E27FC236}">
                  <a16:creationId xmlns:a16="http://schemas.microsoft.com/office/drawing/2014/main" id="{7D2CB1F5-5257-46C6-952E-3EB381F1EAC8}"/>
                </a:ext>
              </a:extLst>
            </p:cNvPr>
            <p:cNvGrpSpPr/>
            <p:nvPr/>
          </p:nvGrpSpPr>
          <p:grpSpPr>
            <a:xfrm>
              <a:off x="14119492" y="6264430"/>
              <a:ext cx="525342" cy="329491"/>
              <a:chOff x="14119492" y="6264430"/>
              <a:chExt cx="525342" cy="329491"/>
            </a:xfrm>
          </p:grpSpPr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12FFFA9A-E962-4073-8513-D5158DAD5252}"/>
                  </a:ext>
                </a:extLst>
              </p:cNvPr>
              <p:cNvSpPr/>
              <p:nvPr/>
            </p:nvSpPr>
            <p:spPr>
              <a:xfrm>
                <a:off x="14119492" y="6548159"/>
                <a:ext cx="488135" cy="45762"/>
              </a:xfrm>
              <a:custGeom>
                <a:avLst/>
                <a:gdLst>
                  <a:gd name="connsiteX0" fmla="*/ 0 w 488135"/>
                  <a:gd name="connsiteY0" fmla="*/ 0 h 45762"/>
                  <a:gd name="connsiteX1" fmla="*/ 488136 w 488135"/>
                  <a:gd name="connsiteY1" fmla="*/ 0 h 45762"/>
                  <a:gd name="connsiteX2" fmla="*/ 488136 w 488135"/>
                  <a:gd name="connsiteY2" fmla="*/ 45763 h 45762"/>
                  <a:gd name="connsiteX3" fmla="*/ 0 w 488135"/>
                  <a:gd name="connsiteY3" fmla="*/ 45763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5" h="45762">
                    <a:moveTo>
                      <a:pt x="0" y="0"/>
                    </a:moveTo>
                    <a:lnTo>
                      <a:pt x="488136" y="0"/>
                    </a:lnTo>
                    <a:lnTo>
                      <a:pt x="488136" y="45763"/>
                    </a:lnTo>
                    <a:lnTo>
                      <a:pt x="0" y="45763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441352CA-C3E0-4908-9AD2-03546D59434D}"/>
                  </a:ext>
                </a:extLst>
              </p:cNvPr>
              <p:cNvSpPr/>
              <p:nvPr/>
            </p:nvSpPr>
            <p:spPr>
              <a:xfrm>
                <a:off x="14119492" y="6264430"/>
                <a:ext cx="525342" cy="283728"/>
              </a:xfrm>
              <a:custGeom>
                <a:avLst/>
                <a:gdLst>
                  <a:gd name="connsiteX0" fmla="*/ 167797 w 525342"/>
                  <a:gd name="connsiteY0" fmla="*/ 180000 h 283728"/>
                  <a:gd name="connsiteX1" fmla="*/ 225763 w 525342"/>
                  <a:gd name="connsiteY1" fmla="*/ 158644 h 283728"/>
                  <a:gd name="connsiteX2" fmla="*/ 186102 w 525342"/>
                  <a:gd name="connsiteY2" fmla="*/ 18305 h 283728"/>
                  <a:gd name="connsiteX3" fmla="*/ 524746 w 525342"/>
                  <a:gd name="connsiteY3" fmla="*/ 0 h 283728"/>
                  <a:gd name="connsiteX4" fmla="*/ 488136 w 525342"/>
                  <a:gd name="connsiteY4" fmla="*/ 283729 h 283728"/>
                  <a:gd name="connsiteX5" fmla="*/ 0 w 525342"/>
                  <a:gd name="connsiteY5" fmla="*/ 283729 h 283728"/>
                  <a:gd name="connsiteX6" fmla="*/ 167797 w 525342"/>
                  <a:gd name="connsiteY6" fmla="*/ 180000 h 28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5342" h="283728">
                    <a:moveTo>
                      <a:pt x="167797" y="180000"/>
                    </a:moveTo>
                    <a:cubicBezTo>
                      <a:pt x="183051" y="173898"/>
                      <a:pt x="204407" y="167797"/>
                      <a:pt x="225763" y="158644"/>
                    </a:cubicBezTo>
                    <a:lnTo>
                      <a:pt x="186102" y="18305"/>
                    </a:lnTo>
                    <a:lnTo>
                      <a:pt x="524746" y="0"/>
                    </a:lnTo>
                    <a:cubicBezTo>
                      <a:pt x="530847" y="192203"/>
                      <a:pt x="488136" y="283729"/>
                      <a:pt x="488136" y="283729"/>
                    </a:cubicBezTo>
                    <a:lnTo>
                      <a:pt x="0" y="283729"/>
                    </a:lnTo>
                    <a:cubicBezTo>
                      <a:pt x="12203" y="213559"/>
                      <a:pt x="122034" y="192203"/>
                      <a:pt x="167797" y="18000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7C5E56B1-ACAC-4C27-9402-3EE7FBB71E00}"/>
                </a:ext>
              </a:extLst>
            </p:cNvPr>
            <p:cNvGrpSpPr/>
            <p:nvPr/>
          </p:nvGrpSpPr>
          <p:grpSpPr>
            <a:xfrm>
              <a:off x="12371499" y="2703329"/>
              <a:ext cx="762746" cy="766338"/>
              <a:chOff x="12371499" y="2703329"/>
              <a:chExt cx="762746" cy="766338"/>
            </a:xfrm>
          </p:grpSpPr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49BF7CF8-9DBF-47C7-A3B9-696D7EA1BAA2}"/>
                  </a:ext>
                </a:extLst>
              </p:cNvPr>
              <p:cNvSpPr/>
              <p:nvPr/>
            </p:nvSpPr>
            <p:spPr>
              <a:xfrm rot="-9709991">
                <a:off x="12422572" y="2941350"/>
                <a:ext cx="546128" cy="414935"/>
              </a:xfrm>
              <a:custGeom>
                <a:avLst/>
                <a:gdLst>
                  <a:gd name="connsiteX0" fmla="*/ 0 w 546128"/>
                  <a:gd name="connsiteY0" fmla="*/ 0 h 414935"/>
                  <a:gd name="connsiteX1" fmla="*/ 546128 w 546128"/>
                  <a:gd name="connsiteY1" fmla="*/ 0 h 414935"/>
                  <a:gd name="connsiteX2" fmla="*/ 546128 w 546128"/>
                  <a:gd name="connsiteY2" fmla="*/ 414936 h 414935"/>
                  <a:gd name="connsiteX3" fmla="*/ 0 w 546128"/>
                  <a:gd name="connsiteY3" fmla="*/ 414936 h 414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6128" h="414935">
                    <a:moveTo>
                      <a:pt x="0" y="0"/>
                    </a:moveTo>
                    <a:lnTo>
                      <a:pt x="546128" y="0"/>
                    </a:lnTo>
                    <a:lnTo>
                      <a:pt x="546128" y="414936"/>
                    </a:lnTo>
                    <a:lnTo>
                      <a:pt x="0" y="414936"/>
                    </a:lnTo>
                    <a:close/>
                  </a:path>
                </a:pathLst>
              </a:custGeom>
              <a:solidFill>
                <a:srgbClr val="5E7777"/>
              </a:solidFill>
              <a:ln w="305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B66215DF-5F3C-46BF-B7FA-AE2F2804F904}"/>
                  </a:ext>
                </a:extLst>
              </p:cNvPr>
              <p:cNvSpPr/>
              <p:nvPr/>
            </p:nvSpPr>
            <p:spPr>
              <a:xfrm rot="-9709884">
                <a:off x="12537096" y="2979976"/>
                <a:ext cx="546076" cy="414896"/>
              </a:xfrm>
              <a:custGeom>
                <a:avLst/>
                <a:gdLst>
                  <a:gd name="connsiteX0" fmla="*/ 0 w 546076"/>
                  <a:gd name="connsiteY0" fmla="*/ 0 h 414896"/>
                  <a:gd name="connsiteX1" fmla="*/ 546077 w 546076"/>
                  <a:gd name="connsiteY1" fmla="*/ 0 h 414896"/>
                  <a:gd name="connsiteX2" fmla="*/ 546077 w 546076"/>
                  <a:gd name="connsiteY2" fmla="*/ 414896 h 414896"/>
                  <a:gd name="connsiteX3" fmla="*/ 0 w 546076"/>
                  <a:gd name="connsiteY3" fmla="*/ 414896 h 414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6076" h="414896">
                    <a:moveTo>
                      <a:pt x="0" y="0"/>
                    </a:moveTo>
                    <a:lnTo>
                      <a:pt x="546077" y="0"/>
                    </a:lnTo>
                    <a:lnTo>
                      <a:pt x="546077" y="414896"/>
                    </a:lnTo>
                    <a:lnTo>
                      <a:pt x="0" y="414896"/>
                    </a:lnTo>
                    <a:close/>
                  </a:path>
                </a:pathLst>
              </a:custGeom>
              <a:solidFill>
                <a:srgbClr val="708686"/>
              </a:solidFill>
              <a:ln w="30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6E55442A-CD7A-4F3E-8887-ED092A74B55F}"/>
                  </a:ext>
                </a:extLst>
              </p:cNvPr>
              <p:cNvSpPr/>
              <p:nvPr/>
            </p:nvSpPr>
            <p:spPr>
              <a:xfrm rot="-9708470">
                <a:off x="12771817" y="2979641"/>
                <a:ext cx="76269" cy="414908"/>
              </a:xfrm>
              <a:custGeom>
                <a:avLst/>
                <a:gdLst>
                  <a:gd name="connsiteX0" fmla="*/ 0 w 76269"/>
                  <a:gd name="connsiteY0" fmla="*/ 0 h 414908"/>
                  <a:gd name="connsiteX1" fmla="*/ 76270 w 76269"/>
                  <a:gd name="connsiteY1" fmla="*/ 0 h 414908"/>
                  <a:gd name="connsiteX2" fmla="*/ 76270 w 76269"/>
                  <a:gd name="connsiteY2" fmla="*/ 414909 h 414908"/>
                  <a:gd name="connsiteX3" fmla="*/ 0 w 76269"/>
                  <a:gd name="connsiteY3" fmla="*/ 414909 h 414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69" h="414908">
                    <a:moveTo>
                      <a:pt x="0" y="0"/>
                    </a:moveTo>
                    <a:lnTo>
                      <a:pt x="76270" y="0"/>
                    </a:lnTo>
                    <a:lnTo>
                      <a:pt x="76270" y="414909"/>
                    </a:lnTo>
                    <a:lnTo>
                      <a:pt x="0" y="414909"/>
                    </a:ln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A8E0FCF1-48D2-41CC-94D7-1382F70BBFE0}"/>
                  </a:ext>
                </a:extLst>
              </p:cNvPr>
              <p:cNvSpPr/>
              <p:nvPr/>
            </p:nvSpPr>
            <p:spPr>
              <a:xfrm>
                <a:off x="12649364" y="2703329"/>
                <a:ext cx="396300" cy="315550"/>
              </a:xfrm>
              <a:custGeom>
                <a:avLst/>
                <a:gdLst>
                  <a:gd name="connsiteX0" fmla="*/ 30128 w 396300"/>
                  <a:gd name="connsiteY0" fmla="*/ 156356 h 315550"/>
                  <a:gd name="connsiteX1" fmla="*/ 207078 w 396300"/>
                  <a:gd name="connsiteY1" fmla="*/ 299746 h 315550"/>
                  <a:gd name="connsiteX2" fmla="*/ 213179 w 396300"/>
                  <a:gd name="connsiteY2" fmla="*/ 308898 h 315550"/>
                  <a:gd name="connsiteX3" fmla="*/ 243687 w 396300"/>
                  <a:gd name="connsiteY3" fmla="*/ 302797 h 315550"/>
                  <a:gd name="connsiteX4" fmla="*/ 390128 w 396300"/>
                  <a:gd name="connsiteY4" fmla="*/ 183814 h 315550"/>
                  <a:gd name="connsiteX5" fmla="*/ 344366 w 396300"/>
                  <a:gd name="connsiteY5" fmla="*/ 34322 h 315550"/>
                  <a:gd name="connsiteX6" fmla="*/ 222332 w 396300"/>
                  <a:gd name="connsiteY6" fmla="*/ 116695 h 315550"/>
                  <a:gd name="connsiteX7" fmla="*/ 200976 w 396300"/>
                  <a:gd name="connsiteY7" fmla="*/ 162458 h 315550"/>
                  <a:gd name="connsiteX8" fmla="*/ 161315 w 396300"/>
                  <a:gd name="connsiteY8" fmla="*/ 61780 h 315550"/>
                  <a:gd name="connsiteX9" fmla="*/ 20976 w 396300"/>
                  <a:gd name="connsiteY9" fmla="*/ 12966 h 315550"/>
                  <a:gd name="connsiteX10" fmla="*/ 30128 w 396300"/>
                  <a:gd name="connsiteY10" fmla="*/ 156356 h 315550"/>
                  <a:gd name="connsiteX11" fmla="*/ 188772 w 396300"/>
                  <a:gd name="connsiteY11" fmla="*/ 229576 h 315550"/>
                  <a:gd name="connsiteX12" fmla="*/ 188772 w 396300"/>
                  <a:gd name="connsiteY12" fmla="*/ 241780 h 315550"/>
                  <a:gd name="connsiteX13" fmla="*/ 130806 w 396300"/>
                  <a:gd name="connsiteY13" fmla="*/ 180763 h 315550"/>
                  <a:gd name="connsiteX14" fmla="*/ 94196 w 396300"/>
                  <a:gd name="connsiteY14" fmla="*/ 128898 h 315550"/>
                  <a:gd name="connsiteX15" fmla="*/ 121653 w 396300"/>
                  <a:gd name="connsiteY15" fmla="*/ 73983 h 315550"/>
                  <a:gd name="connsiteX16" fmla="*/ 188772 w 396300"/>
                  <a:gd name="connsiteY16" fmla="*/ 229576 h 315550"/>
                  <a:gd name="connsiteX17" fmla="*/ 237586 w 396300"/>
                  <a:gd name="connsiteY17" fmla="*/ 250932 h 315550"/>
                  <a:gd name="connsiteX18" fmla="*/ 271146 w 396300"/>
                  <a:gd name="connsiteY18" fmla="*/ 113644 h 315550"/>
                  <a:gd name="connsiteX19" fmla="*/ 335213 w 396300"/>
                  <a:gd name="connsiteY19" fmla="*/ 110593 h 315550"/>
                  <a:gd name="connsiteX20" fmla="*/ 295552 w 396300"/>
                  <a:gd name="connsiteY20" fmla="*/ 199068 h 315550"/>
                  <a:gd name="connsiteX21" fmla="*/ 237586 w 396300"/>
                  <a:gd name="connsiteY21" fmla="*/ 250932 h 315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96300" h="315550">
                    <a:moveTo>
                      <a:pt x="30128" y="156356"/>
                    </a:moveTo>
                    <a:cubicBezTo>
                      <a:pt x="69789" y="220424"/>
                      <a:pt x="143010" y="260085"/>
                      <a:pt x="207078" y="299746"/>
                    </a:cubicBezTo>
                    <a:cubicBezTo>
                      <a:pt x="210129" y="302797"/>
                      <a:pt x="213179" y="305847"/>
                      <a:pt x="213179" y="308898"/>
                    </a:cubicBezTo>
                    <a:cubicBezTo>
                      <a:pt x="222332" y="321102"/>
                      <a:pt x="237586" y="315000"/>
                      <a:pt x="243687" y="302797"/>
                    </a:cubicBezTo>
                    <a:cubicBezTo>
                      <a:pt x="310806" y="290593"/>
                      <a:pt x="371823" y="250932"/>
                      <a:pt x="390128" y="183814"/>
                    </a:cubicBezTo>
                    <a:cubicBezTo>
                      <a:pt x="405383" y="135000"/>
                      <a:pt x="393179" y="58729"/>
                      <a:pt x="344366" y="34322"/>
                    </a:cubicBezTo>
                    <a:cubicBezTo>
                      <a:pt x="289450" y="3814"/>
                      <a:pt x="243687" y="77034"/>
                      <a:pt x="222332" y="116695"/>
                    </a:cubicBezTo>
                    <a:cubicBezTo>
                      <a:pt x="216230" y="131949"/>
                      <a:pt x="207078" y="147203"/>
                      <a:pt x="200976" y="162458"/>
                    </a:cubicBezTo>
                    <a:cubicBezTo>
                      <a:pt x="191823" y="125847"/>
                      <a:pt x="182670" y="92288"/>
                      <a:pt x="161315" y="61780"/>
                    </a:cubicBezTo>
                    <a:cubicBezTo>
                      <a:pt x="133857" y="25169"/>
                      <a:pt x="66738" y="-23644"/>
                      <a:pt x="20976" y="12966"/>
                    </a:cubicBezTo>
                    <a:cubicBezTo>
                      <a:pt x="-18685" y="43475"/>
                      <a:pt x="5721" y="119746"/>
                      <a:pt x="30128" y="156356"/>
                    </a:cubicBezTo>
                    <a:close/>
                    <a:moveTo>
                      <a:pt x="188772" y="229576"/>
                    </a:moveTo>
                    <a:cubicBezTo>
                      <a:pt x="188772" y="232627"/>
                      <a:pt x="188772" y="238729"/>
                      <a:pt x="188772" y="241780"/>
                    </a:cubicBezTo>
                    <a:cubicBezTo>
                      <a:pt x="167416" y="223475"/>
                      <a:pt x="149112" y="205170"/>
                      <a:pt x="130806" y="180763"/>
                    </a:cubicBezTo>
                    <a:cubicBezTo>
                      <a:pt x="118603" y="165509"/>
                      <a:pt x="100298" y="147203"/>
                      <a:pt x="94196" y="128898"/>
                    </a:cubicBezTo>
                    <a:cubicBezTo>
                      <a:pt x="81993" y="98390"/>
                      <a:pt x="100298" y="73983"/>
                      <a:pt x="121653" y="73983"/>
                    </a:cubicBezTo>
                    <a:cubicBezTo>
                      <a:pt x="170467" y="104492"/>
                      <a:pt x="179620" y="196017"/>
                      <a:pt x="188772" y="229576"/>
                    </a:cubicBezTo>
                    <a:close/>
                    <a:moveTo>
                      <a:pt x="237586" y="250932"/>
                    </a:moveTo>
                    <a:cubicBezTo>
                      <a:pt x="237586" y="205170"/>
                      <a:pt x="249789" y="150254"/>
                      <a:pt x="271146" y="113644"/>
                    </a:cubicBezTo>
                    <a:cubicBezTo>
                      <a:pt x="289450" y="86186"/>
                      <a:pt x="329111" y="70932"/>
                      <a:pt x="335213" y="110593"/>
                    </a:cubicBezTo>
                    <a:cubicBezTo>
                      <a:pt x="338264" y="147203"/>
                      <a:pt x="319958" y="174661"/>
                      <a:pt x="295552" y="199068"/>
                    </a:cubicBezTo>
                    <a:cubicBezTo>
                      <a:pt x="280298" y="220424"/>
                      <a:pt x="261992" y="235678"/>
                      <a:pt x="237586" y="250932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B99F70D4-34E8-4195-9489-00E7D526C8C3}"/>
                  </a:ext>
                </a:extLst>
              </p:cNvPr>
              <p:cNvSpPr/>
              <p:nvPr/>
            </p:nvSpPr>
            <p:spPr>
              <a:xfrm>
                <a:off x="12879885" y="2991210"/>
                <a:ext cx="92488" cy="338305"/>
              </a:xfrm>
              <a:custGeom>
                <a:avLst/>
                <a:gdLst>
                  <a:gd name="connsiteX0" fmla="*/ 31472 w 92488"/>
                  <a:gd name="connsiteY0" fmla="*/ 8814 h 338305"/>
                  <a:gd name="connsiteX1" fmla="*/ 77234 w 92488"/>
                  <a:gd name="connsiteY1" fmla="*/ 326102 h 338305"/>
                  <a:gd name="connsiteX2" fmla="*/ 52828 w 92488"/>
                  <a:gd name="connsiteY2" fmla="*/ 335254 h 338305"/>
                  <a:gd name="connsiteX3" fmla="*/ 16217 w 92488"/>
                  <a:gd name="connsiteY3" fmla="*/ 316949 h 338305"/>
                  <a:gd name="connsiteX4" fmla="*/ 10116 w 92488"/>
                  <a:gd name="connsiteY4" fmla="*/ 298644 h 338305"/>
                  <a:gd name="connsiteX5" fmla="*/ 37574 w 92488"/>
                  <a:gd name="connsiteY5" fmla="*/ 158305 h 338305"/>
                  <a:gd name="connsiteX6" fmla="*/ 963 w 92488"/>
                  <a:gd name="connsiteY6" fmla="*/ 33220 h 338305"/>
                  <a:gd name="connsiteX7" fmla="*/ 963 w 92488"/>
                  <a:gd name="connsiteY7" fmla="*/ 27119 h 338305"/>
                  <a:gd name="connsiteX8" fmla="*/ 31472 w 92488"/>
                  <a:gd name="connsiteY8" fmla="*/ 8814 h 338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2488" h="338305">
                    <a:moveTo>
                      <a:pt x="31472" y="8814"/>
                    </a:moveTo>
                    <a:cubicBezTo>
                      <a:pt x="92488" y="103390"/>
                      <a:pt x="107743" y="216271"/>
                      <a:pt x="77234" y="326102"/>
                    </a:cubicBezTo>
                    <a:cubicBezTo>
                      <a:pt x="74183" y="338305"/>
                      <a:pt x="61980" y="341356"/>
                      <a:pt x="52828" y="335254"/>
                    </a:cubicBezTo>
                    <a:cubicBezTo>
                      <a:pt x="40625" y="329153"/>
                      <a:pt x="28420" y="323051"/>
                      <a:pt x="16217" y="316949"/>
                    </a:cubicBezTo>
                    <a:cubicBezTo>
                      <a:pt x="10116" y="313898"/>
                      <a:pt x="7065" y="304746"/>
                      <a:pt x="10116" y="298644"/>
                    </a:cubicBezTo>
                    <a:cubicBezTo>
                      <a:pt x="31472" y="252881"/>
                      <a:pt x="40625" y="207119"/>
                      <a:pt x="37574" y="158305"/>
                    </a:cubicBezTo>
                    <a:cubicBezTo>
                      <a:pt x="25370" y="112542"/>
                      <a:pt x="10116" y="66780"/>
                      <a:pt x="963" y="33220"/>
                    </a:cubicBezTo>
                    <a:cubicBezTo>
                      <a:pt x="963" y="30170"/>
                      <a:pt x="963" y="27119"/>
                      <a:pt x="963" y="27119"/>
                    </a:cubicBezTo>
                    <a:cubicBezTo>
                      <a:pt x="-5138" y="2712"/>
                      <a:pt x="19268" y="-9492"/>
                      <a:pt x="31472" y="8814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5E42BC7B-54DF-4D50-838D-5A59C0BF842A}"/>
                  </a:ext>
                </a:extLst>
              </p:cNvPr>
              <p:cNvSpPr/>
              <p:nvPr/>
            </p:nvSpPr>
            <p:spPr>
              <a:xfrm>
                <a:off x="12723430" y="2974839"/>
                <a:ext cx="123858" cy="191285"/>
              </a:xfrm>
              <a:custGeom>
                <a:avLst/>
                <a:gdLst>
                  <a:gd name="connsiteX0" fmla="*/ 7926 w 123858"/>
                  <a:gd name="connsiteY0" fmla="*/ 101455 h 191285"/>
                  <a:gd name="connsiteX1" fmla="*/ 90299 w 123858"/>
                  <a:gd name="connsiteY1" fmla="*/ 9930 h 191285"/>
                  <a:gd name="connsiteX2" fmla="*/ 99452 w 123858"/>
                  <a:gd name="connsiteY2" fmla="*/ 777 h 191285"/>
                  <a:gd name="connsiteX3" fmla="*/ 123858 w 123858"/>
                  <a:gd name="connsiteY3" fmla="*/ 16032 h 191285"/>
                  <a:gd name="connsiteX4" fmla="*/ 47587 w 123858"/>
                  <a:gd name="connsiteY4" fmla="*/ 186879 h 191285"/>
                  <a:gd name="connsiteX5" fmla="*/ 20129 w 123858"/>
                  <a:gd name="connsiteY5" fmla="*/ 177727 h 191285"/>
                  <a:gd name="connsiteX6" fmla="*/ 1824 w 123858"/>
                  <a:gd name="connsiteY6" fmla="*/ 122811 h 191285"/>
                  <a:gd name="connsiteX7" fmla="*/ 7926 w 123858"/>
                  <a:gd name="connsiteY7" fmla="*/ 101455 h 191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3858" h="191285">
                    <a:moveTo>
                      <a:pt x="7926" y="101455"/>
                    </a:moveTo>
                    <a:cubicBezTo>
                      <a:pt x="50638" y="86201"/>
                      <a:pt x="68943" y="49591"/>
                      <a:pt x="90299" y="9930"/>
                    </a:cubicBezTo>
                    <a:cubicBezTo>
                      <a:pt x="93350" y="3828"/>
                      <a:pt x="96401" y="3828"/>
                      <a:pt x="99452" y="777"/>
                    </a:cubicBezTo>
                    <a:cubicBezTo>
                      <a:pt x="108604" y="-2273"/>
                      <a:pt x="123858" y="3828"/>
                      <a:pt x="123858" y="16032"/>
                    </a:cubicBezTo>
                    <a:cubicBezTo>
                      <a:pt x="123858" y="83150"/>
                      <a:pt x="96401" y="141116"/>
                      <a:pt x="47587" y="186879"/>
                    </a:cubicBezTo>
                    <a:cubicBezTo>
                      <a:pt x="38435" y="196032"/>
                      <a:pt x="23180" y="189930"/>
                      <a:pt x="20129" y="177727"/>
                    </a:cubicBezTo>
                    <a:cubicBezTo>
                      <a:pt x="17078" y="159421"/>
                      <a:pt x="10977" y="141116"/>
                      <a:pt x="1824" y="122811"/>
                    </a:cubicBezTo>
                    <a:cubicBezTo>
                      <a:pt x="-1226" y="116710"/>
                      <a:pt x="-1226" y="107557"/>
                      <a:pt x="7926" y="1014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558CCDAA-2DEB-4B2B-8EB3-3909639D95D1}"/>
                </a:ext>
              </a:extLst>
            </p:cNvPr>
            <p:cNvSpPr/>
            <p:nvPr/>
          </p:nvSpPr>
          <p:spPr>
            <a:xfrm>
              <a:off x="14729662" y="4232566"/>
              <a:ext cx="71366" cy="363050"/>
            </a:xfrm>
            <a:custGeom>
              <a:avLst/>
              <a:gdLst>
                <a:gd name="connsiteX0" fmla="*/ 64068 w 71366"/>
                <a:gd name="connsiteY0" fmla="*/ 363051 h 363050"/>
                <a:gd name="connsiteX1" fmla="*/ 57966 w 71366"/>
                <a:gd name="connsiteY1" fmla="*/ 360000 h 363050"/>
                <a:gd name="connsiteX2" fmla="*/ 0 w 71366"/>
                <a:gd name="connsiteY2" fmla="*/ 6102 h 363050"/>
                <a:gd name="connsiteX3" fmla="*/ 6102 w 71366"/>
                <a:gd name="connsiteY3" fmla="*/ 0 h 363050"/>
                <a:gd name="connsiteX4" fmla="*/ 12203 w 71366"/>
                <a:gd name="connsiteY4" fmla="*/ 6102 h 363050"/>
                <a:gd name="connsiteX5" fmla="*/ 70169 w 71366"/>
                <a:gd name="connsiteY5" fmla="*/ 356949 h 363050"/>
                <a:gd name="connsiteX6" fmla="*/ 64068 w 71366"/>
                <a:gd name="connsiteY6" fmla="*/ 363051 h 363050"/>
                <a:gd name="connsiteX7" fmla="*/ 64068 w 71366"/>
                <a:gd name="connsiteY7" fmla="*/ 363051 h 36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366" h="363050">
                  <a:moveTo>
                    <a:pt x="64068" y="363051"/>
                  </a:moveTo>
                  <a:cubicBezTo>
                    <a:pt x="61017" y="363051"/>
                    <a:pt x="61017" y="363051"/>
                    <a:pt x="57966" y="360000"/>
                  </a:cubicBezTo>
                  <a:cubicBezTo>
                    <a:pt x="9152" y="244068"/>
                    <a:pt x="0" y="15254"/>
                    <a:pt x="0" y="6102"/>
                  </a:cubicBezTo>
                  <a:cubicBezTo>
                    <a:pt x="0" y="3051"/>
                    <a:pt x="3051" y="0"/>
                    <a:pt x="6102" y="0"/>
                  </a:cubicBezTo>
                  <a:cubicBezTo>
                    <a:pt x="9152" y="0"/>
                    <a:pt x="12203" y="3051"/>
                    <a:pt x="12203" y="6102"/>
                  </a:cubicBezTo>
                  <a:cubicBezTo>
                    <a:pt x="12203" y="9153"/>
                    <a:pt x="21356" y="244068"/>
                    <a:pt x="70169" y="356949"/>
                  </a:cubicBezTo>
                  <a:cubicBezTo>
                    <a:pt x="73220" y="360000"/>
                    <a:pt x="70169" y="363051"/>
                    <a:pt x="64068" y="363051"/>
                  </a:cubicBezTo>
                  <a:cubicBezTo>
                    <a:pt x="67119" y="363051"/>
                    <a:pt x="67119" y="363051"/>
                    <a:pt x="64068" y="363051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89DBA076-34B9-4387-A92A-9C6259462E4D}"/>
                </a:ext>
              </a:extLst>
            </p:cNvPr>
            <p:cNvSpPr/>
            <p:nvPr/>
          </p:nvSpPr>
          <p:spPr>
            <a:xfrm>
              <a:off x="14619831" y="4165447"/>
              <a:ext cx="155593" cy="353898"/>
            </a:xfrm>
            <a:custGeom>
              <a:avLst/>
              <a:gdLst>
                <a:gd name="connsiteX0" fmla="*/ 146441 w 155593"/>
                <a:gd name="connsiteY0" fmla="*/ 353898 h 353898"/>
                <a:gd name="connsiteX1" fmla="*/ 143390 w 155593"/>
                <a:gd name="connsiteY1" fmla="*/ 353898 h 353898"/>
                <a:gd name="connsiteX2" fmla="*/ 33560 w 155593"/>
                <a:gd name="connsiteY2" fmla="*/ 274576 h 353898"/>
                <a:gd name="connsiteX3" fmla="*/ 0 w 155593"/>
                <a:gd name="connsiteY3" fmla="*/ 6102 h 353898"/>
                <a:gd name="connsiteX4" fmla="*/ 6102 w 155593"/>
                <a:gd name="connsiteY4" fmla="*/ 0 h 353898"/>
                <a:gd name="connsiteX5" fmla="*/ 6102 w 155593"/>
                <a:gd name="connsiteY5" fmla="*/ 0 h 353898"/>
                <a:gd name="connsiteX6" fmla="*/ 12203 w 155593"/>
                <a:gd name="connsiteY6" fmla="*/ 6102 h 353898"/>
                <a:gd name="connsiteX7" fmla="*/ 45763 w 155593"/>
                <a:gd name="connsiteY7" fmla="*/ 268474 h 353898"/>
                <a:gd name="connsiteX8" fmla="*/ 152542 w 155593"/>
                <a:gd name="connsiteY8" fmla="*/ 344746 h 353898"/>
                <a:gd name="connsiteX9" fmla="*/ 155593 w 155593"/>
                <a:gd name="connsiteY9" fmla="*/ 353898 h 353898"/>
                <a:gd name="connsiteX10" fmla="*/ 146441 w 155593"/>
                <a:gd name="connsiteY10" fmla="*/ 353898 h 353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5593" h="353898">
                  <a:moveTo>
                    <a:pt x="146441" y="353898"/>
                  </a:moveTo>
                  <a:cubicBezTo>
                    <a:pt x="146441" y="353898"/>
                    <a:pt x="143390" y="353898"/>
                    <a:pt x="143390" y="353898"/>
                  </a:cubicBezTo>
                  <a:cubicBezTo>
                    <a:pt x="134237" y="347797"/>
                    <a:pt x="45763" y="289831"/>
                    <a:pt x="33560" y="274576"/>
                  </a:cubicBezTo>
                  <a:cubicBezTo>
                    <a:pt x="21356" y="259322"/>
                    <a:pt x="3051" y="48814"/>
                    <a:pt x="0" y="6102"/>
                  </a:cubicBezTo>
                  <a:cubicBezTo>
                    <a:pt x="0" y="3051"/>
                    <a:pt x="3051" y="0"/>
                    <a:pt x="6102" y="0"/>
                  </a:cubicBezTo>
                  <a:cubicBezTo>
                    <a:pt x="6102" y="0"/>
                    <a:pt x="6102" y="0"/>
                    <a:pt x="6102" y="0"/>
                  </a:cubicBezTo>
                  <a:cubicBezTo>
                    <a:pt x="9153" y="0"/>
                    <a:pt x="12203" y="3051"/>
                    <a:pt x="12203" y="6102"/>
                  </a:cubicBezTo>
                  <a:cubicBezTo>
                    <a:pt x="21356" y="100678"/>
                    <a:pt x="36611" y="256271"/>
                    <a:pt x="45763" y="268474"/>
                  </a:cubicBezTo>
                  <a:cubicBezTo>
                    <a:pt x="54916" y="277627"/>
                    <a:pt x="112882" y="320339"/>
                    <a:pt x="152542" y="344746"/>
                  </a:cubicBezTo>
                  <a:cubicBezTo>
                    <a:pt x="155593" y="347797"/>
                    <a:pt x="155593" y="350847"/>
                    <a:pt x="155593" y="353898"/>
                  </a:cubicBezTo>
                  <a:cubicBezTo>
                    <a:pt x="149491" y="350847"/>
                    <a:pt x="146441" y="353898"/>
                    <a:pt x="146441" y="353898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E5304629-07E3-4C43-B0E6-4B9803D9B7CA}"/>
                </a:ext>
              </a:extLst>
            </p:cNvPr>
            <p:cNvSpPr/>
            <p:nvPr/>
          </p:nvSpPr>
          <p:spPr>
            <a:xfrm>
              <a:off x="13149323" y="2687993"/>
              <a:ext cx="1418858" cy="963805"/>
            </a:xfrm>
            <a:custGeom>
              <a:avLst/>
              <a:gdLst>
                <a:gd name="connsiteX0" fmla="*/ 1372881 w 1418858"/>
                <a:gd name="connsiteY0" fmla="*/ 19150 h 963805"/>
                <a:gd name="connsiteX1" fmla="*/ 909152 w 1418858"/>
                <a:gd name="connsiteY1" fmla="*/ 247963 h 963805"/>
                <a:gd name="connsiteX2" fmla="*/ 610170 w 1418858"/>
                <a:gd name="connsiteY2" fmla="*/ 604913 h 963805"/>
                <a:gd name="connsiteX3" fmla="*/ 42712 w 1418858"/>
                <a:gd name="connsiteY3" fmla="*/ 583557 h 963805"/>
                <a:gd name="connsiteX4" fmla="*/ 0 w 1418858"/>
                <a:gd name="connsiteY4" fmla="*/ 745252 h 963805"/>
                <a:gd name="connsiteX5" fmla="*/ 719999 w 1418858"/>
                <a:gd name="connsiteY5" fmla="*/ 958811 h 963805"/>
                <a:gd name="connsiteX6" fmla="*/ 1372881 w 1418858"/>
                <a:gd name="connsiteY6" fmla="*/ 19150 h 963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8858" h="963805">
                  <a:moveTo>
                    <a:pt x="1372881" y="19150"/>
                  </a:moveTo>
                  <a:cubicBezTo>
                    <a:pt x="1266102" y="-66274"/>
                    <a:pt x="997627" y="156438"/>
                    <a:pt x="909152" y="247963"/>
                  </a:cubicBezTo>
                  <a:cubicBezTo>
                    <a:pt x="826779" y="330336"/>
                    <a:pt x="610170" y="604913"/>
                    <a:pt x="610170" y="604913"/>
                  </a:cubicBezTo>
                  <a:cubicBezTo>
                    <a:pt x="610170" y="604913"/>
                    <a:pt x="103729" y="482879"/>
                    <a:pt x="42712" y="583557"/>
                  </a:cubicBezTo>
                  <a:cubicBezTo>
                    <a:pt x="18304" y="638472"/>
                    <a:pt x="3050" y="705590"/>
                    <a:pt x="0" y="745252"/>
                  </a:cubicBezTo>
                  <a:cubicBezTo>
                    <a:pt x="67118" y="919150"/>
                    <a:pt x="594915" y="983218"/>
                    <a:pt x="719999" y="958811"/>
                  </a:cubicBezTo>
                  <a:cubicBezTo>
                    <a:pt x="854237" y="937455"/>
                    <a:pt x="1610847" y="211353"/>
                    <a:pt x="1372881" y="1915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8FA12D9D-20BE-47D4-A352-2C180355C7D5}"/>
                </a:ext>
              </a:extLst>
            </p:cNvPr>
            <p:cNvSpPr/>
            <p:nvPr/>
          </p:nvSpPr>
          <p:spPr>
            <a:xfrm>
              <a:off x="14924916" y="2298329"/>
              <a:ext cx="67119" cy="140338"/>
            </a:xfrm>
            <a:custGeom>
              <a:avLst/>
              <a:gdLst>
                <a:gd name="connsiteX0" fmla="*/ 67119 w 67119"/>
                <a:gd name="connsiteY0" fmla="*/ 0 h 140338"/>
                <a:gd name="connsiteX1" fmla="*/ 3051 w 67119"/>
                <a:gd name="connsiteY1" fmla="*/ 140339 h 140338"/>
                <a:gd name="connsiteX2" fmla="*/ 0 w 67119"/>
                <a:gd name="connsiteY2" fmla="*/ 54915 h 140338"/>
                <a:gd name="connsiteX3" fmla="*/ 67119 w 67119"/>
                <a:gd name="connsiteY3" fmla="*/ 0 h 14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19" h="140338">
                  <a:moveTo>
                    <a:pt x="67119" y="0"/>
                  </a:moveTo>
                  <a:cubicBezTo>
                    <a:pt x="67119" y="0"/>
                    <a:pt x="54916" y="118983"/>
                    <a:pt x="3051" y="140339"/>
                  </a:cubicBezTo>
                  <a:lnTo>
                    <a:pt x="0" y="54915"/>
                  </a:lnTo>
                  <a:lnTo>
                    <a:pt x="67119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D6131301-3157-44B3-8DC6-2C9A0BDACE0A}"/>
                </a:ext>
              </a:extLst>
            </p:cNvPr>
            <p:cNvSpPr/>
            <p:nvPr/>
          </p:nvSpPr>
          <p:spPr>
            <a:xfrm>
              <a:off x="14528104" y="2093922"/>
              <a:ext cx="101808" cy="237945"/>
            </a:xfrm>
            <a:custGeom>
              <a:avLst/>
              <a:gdLst>
                <a:gd name="connsiteX0" fmla="*/ 6303 w 101808"/>
                <a:gd name="connsiteY0" fmla="*/ 0 h 237945"/>
                <a:gd name="connsiteX1" fmla="*/ 49015 w 101808"/>
                <a:gd name="connsiteY1" fmla="*/ 234915 h 237945"/>
                <a:gd name="connsiteX2" fmla="*/ 100880 w 101808"/>
                <a:gd name="connsiteY2" fmla="*/ 12203 h 237945"/>
                <a:gd name="connsiteX3" fmla="*/ 6303 w 101808"/>
                <a:gd name="connsiteY3" fmla="*/ 0 h 23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08" h="237945">
                  <a:moveTo>
                    <a:pt x="6303" y="0"/>
                  </a:moveTo>
                  <a:cubicBezTo>
                    <a:pt x="6303" y="0"/>
                    <a:pt x="-24205" y="195254"/>
                    <a:pt x="49015" y="234915"/>
                  </a:cubicBezTo>
                  <a:cubicBezTo>
                    <a:pt x="113083" y="268475"/>
                    <a:pt x="100880" y="12203"/>
                    <a:pt x="100880" y="12203"/>
                  </a:cubicBezTo>
                  <a:lnTo>
                    <a:pt x="6303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4EC6416A-C136-4631-BC22-01EA853DD914}"/>
                </a:ext>
              </a:extLst>
            </p:cNvPr>
            <p:cNvSpPr/>
            <p:nvPr/>
          </p:nvSpPr>
          <p:spPr>
            <a:xfrm>
              <a:off x="14567628" y="1955743"/>
              <a:ext cx="421356" cy="568951"/>
            </a:xfrm>
            <a:custGeom>
              <a:avLst/>
              <a:gdLst>
                <a:gd name="connsiteX0" fmla="*/ 9492 w 421356"/>
                <a:gd name="connsiteY0" fmla="*/ 183941 h 568951"/>
                <a:gd name="connsiteX1" fmla="*/ 9492 w 421356"/>
                <a:gd name="connsiteY1" fmla="*/ 434111 h 568951"/>
                <a:gd name="connsiteX2" fmla="*/ 168136 w 421356"/>
                <a:gd name="connsiteY2" fmla="*/ 568348 h 568951"/>
                <a:gd name="connsiteX3" fmla="*/ 384746 w 421356"/>
                <a:gd name="connsiteY3" fmla="*/ 424958 h 568951"/>
                <a:gd name="connsiteX4" fmla="*/ 421356 w 421356"/>
                <a:gd name="connsiteY4" fmla="*/ 199195 h 568951"/>
                <a:gd name="connsiteX5" fmla="*/ 207797 w 421356"/>
                <a:gd name="connsiteY5" fmla="*/ 890 h 568951"/>
                <a:gd name="connsiteX6" fmla="*/ 9492 w 421356"/>
                <a:gd name="connsiteY6" fmla="*/ 183941 h 568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356" h="568951">
                  <a:moveTo>
                    <a:pt x="9492" y="183941"/>
                  </a:moveTo>
                  <a:cubicBezTo>
                    <a:pt x="9492" y="183941"/>
                    <a:pt x="-11865" y="360890"/>
                    <a:pt x="9492" y="434111"/>
                  </a:cubicBezTo>
                  <a:cubicBezTo>
                    <a:pt x="27797" y="501229"/>
                    <a:pt x="119322" y="565297"/>
                    <a:pt x="168136" y="568348"/>
                  </a:cubicBezTo>
                  <a:cubicBezTo>
                    <a:pt x="235254" y="574450"/>
                    <a:pt x="354237" y="534789"/>
                    <a:pt x="384746" y="424958"/>
                  </a:cubicBezTo>
                  <a:cubicBezTo>
                    <a:pt x="406102" y="351738"/>
                    <a:pt x="421356" y="251060"/>
                    <a:pt x="421356" y="199195"/>
                  </a:cubicBezTo>
                  <a:cubicBezTo>
                    <a:pt x="418305" y="104619"/>
                    <a:pt x="393899" y="25297"/>
                    <a:pt x="207797" y="890"/>
                  </a:cubicBezTo>
                  <a:cubicBezTo>
                    <a:pt x="122373" y="-11313"/>
                    <a:pt x="27797" y="104619"/>
                    <a:pt x="9492" y="18394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27906395-1B76-484C-ABD3-D323C552B1F1}"/>
                </a:ext>
              </a:extLst>
            </p:cNvPr>
            <p:cNvSpPr/>
            <p:nvPr/>
          </p:nvSpPr>
          <p:spPr>
            <a:xfrm>
              <a:off x="14631257" y="2197052"/>
              <a:ext cx="41216" cy="41036"/>
            </a:xfrm>
            <a:custGeom>
              <a:avLst/>
              <a:gdLst>
                <a:gd name="connsiteX0" fmla="*/ 40439 w 41216"/>
                <a:gd name="connsiteY0" fmla="*/ 25005 h 41036"/>
                <a:gd name="connsiteX1" fmla="*/ 16031 w 41216"/>
                <a:gd name="connsiteY1" fmla="*/ 40259 h 41036"/>
                <a:gd name="connsiteX2" fmla="*/ 777 w 41216"/>
                <a:gd name="connsiteY2" fmla="*/ 15853 h 41036"/>
                <a:gd name="connsiteX3" fmla="*/ 25185 w 41216"/>
                <a:gd name="connsiteY3" fmla="*/ 598 h 41036"/>
                <a:gd name="connsiteX4" fmla="*/ 40439 w 41216"/>
                <a:gd name="connsiteY4" fmla="*/ 25005 h 4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6" h="41036">
                  <a:moveTo>
                    <a:pt x="40439" y="25005"/>
                  </a:moveTo>
                  <a:cubicBezTo>
                    <a:pt x="37388" y="37209"/>
                    <a:pt x="28236" y="43310"/>
                    <a:pt x="16031" y="40259"/>
                  </a:cubicBezTo>
                  <a:cubicBezTo>
                    <a:pt x="3828" y="37209"/>
                    <a:pt x="-2273" y="28056"/>
                    <a:pt x="777" y="15853"/>
                  </a:cubicBezTo>
                  <a:cubicBezTo>
                    <a:pt x="3828" y="6700"/>
                    <a:pt x="12981" y="-2452"/>
                    <a:pt x="25185" y="598"/>
                  </a:cubicBezTo>
                  <a:cubicBezTo>
                    <a:pt x="37388" y="3649"/>
                    <a:pt x="43490" y="12802"/>
                    <a:pt x="40439" y="25005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07B2B489-5B90-4852-AA2B-9E4460EF33CE}"/>
                </a:ext>
              </a:extLst>
            </p:cNvPr>
            <p:cNvSpPr/>
            <p:nvPr/>
          </p:nvSpPr>
          <p:spPr>
            <a:xfrm>
              <a:off x="14814487" y="2215178"/>
              <a:ext cx="41037" cy="41036"/>
            </a:xfrm>
            <a:custGeom>
              <a:avLst/>
              <a:gdLst>
                <a:gd name="connsiteX0" fmla="*/ 40260 w 41037"/>
                <a:gd name="connsiteY0" fmla="*/ 25184 h 41036"/>
                <a:gd name="connsiteX1" fmla="*/ 15852 w 41037"/>
                <a:gd name="connsiteY1" fmla="*/ 40438 h 41036"/>
                <a:gd name="connsiteX2" fmla="*/ 598 w 41037"/>
                <a:gd name="connsiteY2" fmla="*/ 16032 h 41036"/>
                <a:gd name="connsiteX3" fmla="*/ 25006 w 41037"/>
                <a:gd name="connsiteY3" fmla="*/ 777 h 41036"/>
                <a:gd name="connsiteX4" fmla="*/ 40260 w 41037"/>
                <a:gd name="connsiteY4" fmla="*/ 25184 h 4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7" h="41036">
                  <a:moveTo>
                    <a:pt x="40260" y="25184"/>
                  </a:moveTo>
                  <a:cubicBezTo>
                    <a:pt x="37209" y="34337"/>
                    <a:pt x="28057" y="43489"/>
                    <a:pt x="15852" y="40438"/>
                  </a:cubicBezTo>
                  <a:cubicBezTo>
                    <a:pt x="6700" y="37388"/>
                    <a:pt x="-2452" y="28235"/>
                    <a:pt x="598" y="16032"/>
                  </a:cubicBezTo>
                  <a:cubicBezTo>
                    <a:pt x="3649" y="3828"/>
                    <a:pt x="12802" y="-2273"/>
                    <a:pt x="25006" y="777"/>
                  </a:cubicBezTo>
                  <a:cubicBezTo>
                    <a:pt x="37209" y="3828"/>
                    <a:pt x="43311" y="12981"/>
                    <a:pt x="40260" y="25184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3303E42B-7F46-4B8F-9E82-FCE5EA2267FD}"/>
                </a:ext>
              </a:extLst>
            </p:cNvPr>
            <p:cNvSpPr/>
            <p:nvPr/>
          </p:nvSpPr>
          <p:spPr>
            <a:xfrm>
              <a:off x="14608390" y="2147671"/>
              <a:ext cx="92026" cy="34725"/>
            </a:xfrm>
            <a:custGeom>
              <a:avLst/>
              <a:gdLst>
                <a:gd name="connsiteX0" fmla="*/ 8389 w 92026"/>
                <a:gd name="connsiteY0" fmla="*/ 34725 h 34725"/>
                <a:gd name="connsiteX1" fmla="*/ 2288 w 92026"/>
                <a:gd name="connsiteY1" fmla="*/ 31674 h 34725"/>
                <a:gd name="connsiteX2" fmla="*/ 2288 w 92026"/>
                <a:gd name="connsiteY2" fmla="*/ 19471 h 34725"/>
                <a:gd name="connsiteX3" fmla="*/ 87712 w 92026"/>
                <a:gd name="connsiteY3" fmla="*/ 10318 h 34725"/>
                <a:gd name="connsiteX4" fmla="*/ 90763 w 92026"/>
                <a:gd name="connsiteY4" fmla="*/ 19471 h 34725"/>
                <a:gd name="connsiteX5" fmla="*/ 81611 w 92026"/>
                <a:gd name="connsiteY5" fmla="*/ 22522 h 34725"/>
                <a:gd name="connsiteX6" fmla="*/ 14491 w 92026"/>
                <a:gd name="connsiteY6" fmla="*/ 28623 h 34725"/>
                <a:gd name="connsiteX7" fmla="*/ 8389 w 92026"/>
                <a:gd name="connsiteY7" fmla="*/ 34725 h 3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4725">
                  <a:moveTo>
                    <a:pt x="8389" y="34725"/>
                  </a:moveTo>
                  <a:cubicBezTo>
                    <a:pt x="5339" y="34725"/>
                    <a:pt x="5339" y="34725"/>
                    <a:pt x="2288" y="31674"/>
                  </a:cubicBezTo>
                  <a:cubicBezTo>
                    <a:pt x="-763" y="28623"/>
                    <a:pt x="-763" y="22522"/>
                    <a:pt x="2288" y="19471"/>
                  </a:cubicBezTo>
                  <a:cubicBezTo>
                    <a:pt x="29746" y="-11038"/>
                    <a:pt x="69406" y="1166"/>
                    <a:pt x="87712" y="10318"/>
                  </a:cubicBezTo>
                  <a:cubicBezTo>
                    <a:pt x="90763" y="13369"/>
                    <a:pt x="93814" y="16420"/>
                    <a:pt x="90763" y="19471"/>
                  </a:cubicBezTo>
                  <a:cubicBezTo>
                    <a:pt x="87712" y="22522"/>
                    <a:pt x="84661" y="25573"/>
                    <a:pt x="81611" y="22522"/>
                  </a:cubicBezTo>
                  <a:cubicBezTo>
                    <a:pt x="78559" y="22522"/>
                    <a:pt x="38898" y="1166"/>
                    <a:pt x="14491" y="28623"/>
                  </a:cubicBezTo>
                  <a:cubicBezTo>
                    <a:pt x="11440" y="34725"/>
                    <a:pt x="8389" y="34725"/>
                    <a:pt x="8389" y="34725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70149ECC-39B2-4743-B483-3F9FE2FCB1C5}"/>
                </a:ext>
              </a:extLst>
            </p:cNvPr>
            <p:cNvSpPr/>
            <p:nvPr/>
          </p:nvSpPr>
          <p:spPr>
            <a:xfrm>
              <a:off x="14795517" y="2146097"/>
              <a:ext cx="92026" cy="36299"/>
            </a:xfrm>
            <a:custGeom>
              <a:avLst/>
              <a:gdLst>
                <a:gd name="connsiteX0" fmla="*/ 86687 w 92026"/>
                <a:gd name="connsiteY0" fmla="*/ 36300 h 36299"/>
                <a:gd name="connsiteX1" fmla="*/ 80585 w 92026"/>
                <a:gd name="connsiteY1" fmla="*/ 33249 h 36299"/>
                <a:gd name="connsiteX2" fmla="*/ 13467 w 92026"/>
                <a:gd name="connsiteY2" fmla="*/ 27147 h 36299"/>
                <a:gd name="connsiteX3" fmla="*/ 1264 w 92026"/>
                <a:gd name="connsiteY3" fmla="*/ 24096 h 36299"/>
                <a:gd name="connsiteX4" fmla="*/ 4314 w 92026"/>
                <a:gd name="connsiteY4" fmla="*/ 11893 h 36299"/>
                <a:gd name="connsiteX5" fmla="*/ 89738 w 92026"/>
                <a:gd name="connsiteY5" fmla="*/ 21045 h 36299"/>
                <a:gd name="connsiteX6" fmla="*/ 89738 w 92026"/>
                <a:gd name="connsiteY6" fmla="*/ 33249 h 36299"/>
                <a:gd name="connsiteX7" fmla="*/ 86687 w 92026"/>
                <a:gd name="connsiteY7" fmla="*/ 36300 h 3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6299">
                  <a:moveTo>
                    <a:pt x="86687" y="36300"/>
                  </a:moveTo>
                  <a:cubicBezTo>
                    <a:pt x="83636" y="36300"/>
                    <a:pt x="83636" y="36300"/>
                    <a:pt x="80585" y="33249"/>
                  </a:cubicBezTo>
                  <a:cubicBezTo>
                    <a:pt x="80585" y="33249"/>
                    <a:pt x="50077" y="2740"/>
                    <a:pt x="13467" y="27147"/>
                  </a:cubicBezTo>
                  <a:cubicBezTo>
                    <a:pt x="10416" y="30198"/>
                    <a:pt x="4314" y="27147"/>
                    <a:pt x="1264" y="24096"/>
                  </a:cubicBezTo>
                  <a:cubicBezTo>
                    <a:pt x="-1787" y="21045"/>
                    <a:pt x="1264" y="14944"/>
                    <a:pt x="4314" y="11893"/>
                  </a:cubicBezTo>
                  <a:cubicBezTo>
                    <a:pt x="40924" y="-12514"/>
                    <a:pt x="77535" y="5791"/>
                    <a:pt x="89738" y="21045"/>
                  </a:cubicBezTo>
                  <a:cubicBezTo>
                    <a:pt x="92789" y="24096"/>
                    <a:pt x="92789" y="30198"/>
                    <a:pt x="89738" y="33249"/>
                  </a:cubicBezTo>
                  <a:cubicBezTo>
                    <a:pt x="89738" y="36300"/>
                    <a:pt x="89738" y="36300"/>
                    <a:pt x="86687" y="36300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0F0EB8D1-BC7A-4ABD-9A2C-6AC93DCA3440}"/>
                </a:ext>
              </a:extLst>
            </p:cNvPr>
            <p:cNvSpPr/>
            <p:nvPr/>
          </p:nvSpPr>
          <p:spPr>
            <a:xfrm>
              <a:off x="14951018" y="2211419"/>
              <a:ext cx="78990" cy="114126"/>
            </a:xfrm>
            <a:custGeom>
              <a:avLst/>
              <a:gdLst>
                <a:gd name="connsiteX0" fmla="*/ 13559 w 78990"/>
                <a:gd name="connsiteY0" fmla="*/ 16740 h 114126"/>
                <a:gd name="connsiteX1" fmla="*/ 71525 w 78990"/>
                <a:gd name="connsiteY1" fmla="*/ 7587 h 114126"/>
                <a:gd name="connsiteX2" fmla="*/ 13559 w 78990"/>
                <a:gd name="connsiteY2" fmla="*/ 111316 h 114126"/>
                <a:gd name="connsiteX3" fmla="*/ 13559 w 78990"/>
                <a:gd name="connsiteY3" fmla="*/ 16740 h 11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90" h="114126">
                  <a:moveTo>
                    <a:pt x="13559" y="16740"/>
                  </a:moveTo>
                  <a:cubicBezTo>
                    <a:pt x="13559" y="16740"/>
                    <a:pt x="47118" y="-13769"/>
                    <a:pt x="71525" y="7587"/>
                  </a:cubicBezTo>
                  <a:cubicBezTo>
                    <a:pt x="95932" y="25892"/>
                    <a:pt x="56271" y="132672"/>
                    <a:pt x="13559" y="111316"/>
                  </a:cubicBezTo>
                  <a:cubicBezTo>
                    <a:pt x="-16949" y="93011"/>
                    <a:pt x="13559" y="16740"/>
                    <a:pt x="13559" y="16740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78C5F76E-B339-4D76-A4B1-568C19AC3969}"/>
                </a:ext>
              </a:extLst>
            </p:cNvPr>
            <p:cNvSpPr/>
            <p:nvPr/>
          </p:nvSpPr>
          <p:spPr>
            <a:xfrm>
              <a:off x="14512512" y="1844845"/>
              <a:ext cx="516493" cy="404670"/>
            </a:xfrm>
            <a:custGeom>
              <a:avLst/>
              <a:gdLst>
                <a:gd name="connsiteX0" fmla="*/ 455115 w 516493"/>
                <a:gd name="connsiteY0" fmla="*/ 136196 h 404670"/>
                <a:gd name="connsiteX1" fmla="*/ 436811 w 516493"/>
                <a:gd name="connsiteY1" fmla="*/ 96535 h 404670"/>
                <a:gd name="connsiteX2" fmla="*/ 424607 w 516493"/>
                <a:gd name="connsiteY2" fmla="*/ 99586 h 404670"/>
                <a:gd name="connsiteX3" fmla="*/ 394099 w 516493"/>
                <a:gd name="connsiteY3" fmla="*/ 78230 h 404670"/>
                <a:gd name="connsiteX4" fmla="*/ 381895 w 516493"/>
                <a:gd name="connsiteY4" fmla="*/ 59925 h 404670"/>
                <a:gd name="connsiteX5" fmla="*/ 351387 w 516493"/>
                <a:gd name="connsiteY5" fmla="*/ 26365 h 404670"/>
                <a:gd name="connsiteX6" fmla="*/ 317827 w 516493"/>
                <a:gd name="connsiteY6" fmla="*/ 23314 h 404670"/>
                <a:gd name="connsiteX7" fmla="*/ 262912 w 516493"/>
                <a:gd name="connsiteY7" fmla="*/ 8060 h 404670"/>
                <a:gd name="connsiteX8" fmla="*/ 250709 w 516493"/>
                <a:gd name="connsiteY8" fmla="*/ 1959 h 404670"/>
                <a:gd name="connsiteX9" fmla="*/ 125624 w 516493"/>
                <a:gd name="connsiteY9" fmla="*/ 38569 h 404670"/>
                <a:gd name="connsiteX10" fmla="*/ 64607 w 516493"/>
                <a:gd name="connsiteY10" fmla="*/ 59925 h 404670"/>
                <a:gd name="connsiteX11" fmla="*/ 49353 w 516493"/>
                <a:gd name="connsiteY11" fmla="*/ 102637 h 404670"/>
                <a:gd name="connsiteX12" fmla="*/ 31048 w 516493"/>
                <a:gd name="connsiteY12" fmla="*/ 130094 h 404670"/>
                <a:gd name="connsiteX13" fmla="*/ 18845 w 516493"/>
                <a:gd name="connsiteY13" fmla="*/ 166704 h 404670"/>
                <a:gd name="connsiteX14" fmla="*/ 21896 w 516493"/>
                <a:gd name="connsiteY14" fmla="*/ 200264 h 404670"/>
                <a:gd name="connsiteX15" fmla="*/ 3590 w 516493"/>
                <a:gd name="connsiteY15" fmla="*/ 242976 h 404670"/>
                <a:gd name="connsiteX16" fmla="*/ 21896 w 516493"/>
                <a:gd name="connsiteY16" fmla="*/ 340603 h 404670"/>
                <a:gd name="connsiteX17" fmla="*/ 31048 w 516493"/>
                <a:gd name="connsiteY17" fmla="*/ 343654 h 404670"/>
                <a:gd name="connsiteX18" fmla="*/ 40201 w 516493"/>
                <a:gd name="connsiteY18" fmla="*/ 374162 h 404670"/>
                <a:gd name="connsiteX19" fmla="*/ 58505 w 516493"/>
                <a:gd name="connsiteY19" fmla="*/ 319247 h 404670"/>
                <a:gd name="connsiteX20" fmla="*/ 89014 w 516493"/>
                <a:gd name="connsiteY20" fmla="*/ 307043 h 404670"/>
                <a:gd name="connsiteX21" fmla="*/ 107319 w 516493"/>
                <a:gd name="connsiteY21" fmla="*/ 285687 h 404670"/>
                <a:gd name="connsiteX22" fmla="*/ 113421 w 516493"/>
                <a:gd name="connsiteY22" fmla="*/ 276535 h 404670"/>
                <a:gd name="connsiteX23" fmla="*/ 119522 w 516493"/>
                <a:gd name="connsiteY23" fmla="*/ 273484 h 404670"/>
                <a:gd name="connsiteX24" fmla="*/ 125624 w 516493"/>
                <a:gd name="connsiteY24" fmla="*/ 273484 h 404670"/>
                <a:gd name="connsiteX25" fmla="*/ 131726 w 516493"/>
                <a:gd name="connsiteY25" fmla="*/ 270433 h 404670"/>
                <a:gd name="connsiteX26" fmla="*/ 140879 w 516493"/>
                <a:gd name="connsiteY26" fmla="*/ 264331 h 404670"/>
                <a:gd name="connsiteX27" fmla="*/ 153082 w 516493"/>
                <a:gd name="connsiteY27" fmla="*/ 267382 h 404670"/>
                <a:gd name="connsiteX28" fmla="*/ 165285 w 516493"/>
                <a:gd name="connsiteY28" fmla="*/ 267382 h 404670"/>
                <a:gd name="connsiteX29" fmla="*/ 201896 w 516493"/>
                <a:gd name="connsiteY29" fmla="*/ 258230 h 404670"/>
                <a:gd name="connsiteX30" fmla="*/ 253760 w 516493"/>
                <a:gd name="connsiteY30" fmla="*/ 242976 h 404670"/>
                <a:gd name="connsiteX31" fmla="*/ 269015 w 516493"/>
                <a:gd name="connsiteY31" fmla="*/ 252128 h 404670"/>
                <a:gd name="connsiteX32" fmla="*/ 305624 w 516493"/>
                <a:gd name="connsiteY32" fmla="*/ 230772 h 404670"/>
                <a:gd name="connsiteX33" fmla="*/ 317827 w 516493"/>
                <a:gd name="connsiteY33" fmla="*/ 233823 h 404670"/>
                <a:gd name="connsiteX34" fmla="*/ 394099 w 516493"/>
                <a:gd name="connsiteY34" fmla="*/ 261281 h 404670"/>
                <a:gd name="connsiteX35" fmla="*/ 403252 w 516493"/>
                <a:gd name="connsiteY35" fmla="*/ 264331 h 404670"/>
                <a:gd name="connsiteX36" fmla="*/ 455115 w 516493"/>
                <a:gd name="connsiteY36" fmla="*/ 404670 h 404670"/>
                <a:gd name="connsiteX37" fmla="*/ 513082 w 516493"/>
                <a:gd name="connsiteY37" fmla="*/ 303992 h 404670"/>
                <a:gd name="connsiteX38" fmla="*/ 455115 w 516493"/>
                <a:gd name="connsiteY38" fmla="*/ 136196 h 40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6493" h="404670">
                  <a:moveTo>
                    <a:pt x="455115" y="136196"/>
                  </a:moveTo>
                  <a:cubicBezTo>
                    <a:pt x="455115" y="120942"/>
                    <a:pt x="452065" y="105687"/>
                    <a:pt x="436811" y="96535"/>
                  </a:cubicBezTo>
                  <a:cubicBezTo>
                    <a:pt x="421557" y="84331"/>
                    <a:pt x="424607" y="96535"/>
                    <a:pt x="424607" y="99586"/>
                  </a:cubicBezTo>
                  <a:cubicBezTo>
                    <a:pt x="415455" y="93484"/>
                    <a:pt x="406303" y="84331"/>
                    <a:pt x="394099" y="78230"/>
                  </a:cubicBezTo>
                  <a:cubicBezTo>
                    <a:pt x="387997" y="72128"/>
                    <a:pt x="384946" y="66026"/>
                    <a:pt x="381895" y="59925"/>
                  </a:cubicBezTo>
                  <a:cubicBezTo>
                    <a:pt x="372743" y="47721"/>
                    <a:pt x="366641" y="35518"/>
                    <a:pt x="351387" y="26365"/>
                  </a:cubicBezTo>
                  <a:cubicBezTo>
                    <a:pt x="339184" y="20264"/>
                    <a:pt x="330031" y="23314"/>
                    <a:pt x="317827" y="23314"/>
                  </a:cubicBezTo>
                  <a:cubicBezTo>
                    <a:pt x="296472" y="23314"/>
                    <a:pt x="281218" y="17213"/>
                    <a:pt x="262912" y="8060"/>
                  </a:cubicBezTo>
                  <a:cubicBezTo>
                    <a:pt x="259861" y="5009"/>
                    <a:pt x="253760" y="1959"/>
                    <a:pt x="250709" y="1959"/>
                  </a:cubicBezTo>
                  <a:cubicBezTo>
                    <a:pt x="204947" y="-10245"/>
                    <a:pt x="171387" y="38569"/>
                    <a:pt x="125624" y="38569"/>
                  </a:cubicBezTo>
                  <a:cubicBezTo>
                    <a:pt x="101218" y="38569"/>
                    <a:pt x="76811" y="35518"/>
                    <a:pt x="64607" y="59925"/>
                  </a:cubicBezTo>
                  <a:cubicBezTo>
                    <a:pt x="58505" y="75179"/>
                    <a:pt x="58505" y="87382"/>
                    <a:pt x="49353" y="102637"/>
                  </a:cubicBezTo>
                  <a:cubicBezTo>
                    <a:pt x="43251" y="111789"/>
                    <a:pt x="34099" y="120942"/>
                    <a:pt x="31048" y="130094"/>
                  </a:cubicBezTo>
                  <a:cubicBezTo>
                    <a:pt x="21896" y="142298"/>
                    <a:pt x="18845" y="157552"/>
                    <a:pt x="18845" y="166704"/>
                  </a:cubicBezTo>
                  <a:cubicBezTo>
                    <a:pt x="21896" y="185009"/>
                    <a:pt x="31048" y="185009"/>
                    <a:pt x="21896" y="200264"/>
                  </a:cubicBezTo>
                  <a:cubicBezTo>
                    <a:pt x="15794" y="215518"/>
                    <a:pt x="6641" y="227721"/>
                    <a:pt x="3590" y="242976"/>
                  </a:cubicBezTo>
                  <a:cubicBezTo>
                    <a:pt x="-5562" y="276535"/>
                    <a:pt x="3590" y="310094"/>
                    <a:pt x="21896" y="340603"/>
                  </a:cubicBezTo>
                  <a:cubicBezTo>
                    <a:pt x="24947" y="343654"/>
                    <a:pt x="27997" y="343654"/>
                    <a:pt x="31048" y="343654"/>
                  </a:cubicBezTo>
                  <a:cubicBezTo>
                    <a:pt x="34099" y="361959"/>
                    <a:pt x="40201" y="374162"/>
                    <a:pt x="40201" y="374162"/>
                  </a:cubicBezTo>
                  <a:cubicBezTo>
                    <a:pt x="37150" y="355857"/>
                    <a:pt x="43251" y="337552"/>
                    <a:pt x="58505" y="319247"/>
                  </a:cubicBezTo>
                  <a:cubicBezTo>
                    <a:pt x="67658" y="316196"/>
                    <a:pt x="79862" y="313145"/>
                    <a:pt x="89014" y="307043"/>
                  </a:cubicBezTo>
                  <a:cubicBezTo>
                    <a:pt x="98167" y="300942"/>
                    <a:pt x="101218" y="291789"/>
                    <a:pt x="107319" y="285687"/>
                  </a:cubicBezTo>
                  <a:cubicBezTo>
                    <a:pt x="107319" y="282637"/>
                    <a:pt x="110370" y="279586"/>
                    <a:pt x="113421" y="276535"/>
                  </a:cubicBezTo>
                  <a:cubicBezTo>
                    <a:pt x="116472" y="276535"/>
                    <a:pt x="119522" y="273484"/>
                    <a:pt x="119522" y="273484"/>
                  </a:cubicBezTo>
                  <a:cubicBezTo>
                    <a:pt x="122573" y="273484"/>
                    <a:pt x="122573" y="273484"/>
                    <a:pt x="125624" y="273484"/>
                  </a:cubicBezTo>
                  <a:cubicBezTo>
                    <a:pt x="128675" y="270433"/>
                    <a:pt x="128675" y="270433"/>
                    <a:pt x="131726" y="270433"/>
                  </a:cubicBezTo>
                  <a:cubicBezTo>
                    <a:pt x="134777" y="267382"/>
                    <a:pt x="137828" y="267382"/>
                    <a:pt x="140879" y="264331"/>
                  </a:cubicBezTo>
                  <a:cubicBezTo>
                    <a:pt x="143930" y="264331"/>
                    <a:pt x="150031" y="264331"/>
                    <a:pt x="153082" y="267382"/>
                  </a:cubicBezTo>
                  <a:cubicBezTo>
                    <a:pt x="156133" y="267382"/>
                    <a:pt x="162235" y="267382"/>
                    <a:pt x="165285" y="267382"/>
                  </a:cubicBezTo>
                  <a:cubicBezTo>
                    <a:pt x="177489" y="267382"/>
                    <a:pt x="189692" y="264331"/>
                    <a:pt x="201896" y="258230"/>
                  </a:cubicBezTo>
                  <a:cubicBezTo>
                    <a:pt x="220201" y="249077"/>
                    <a:pt x="229353" y="233823"/>
                    <a:pt x="253760" y="242976"/>
                  </a:cubicBezTo>
                  <a:cubicBezTo>
                    <a:pt x="259861" y="246026"/>
                    <a:pt x="262912" y="252128"/>
                    <a:pt x="269015" y="252128"/>
                  </a:cubicBezTo>
                  <a:cubicBezTo>
                    <a:pt x="284269" y="255179"/>
                    <a:pt x="296472" y="242976"/>
                    <a:pt x="305624" y="230772"/>
                  </a:cubicBezTo>
                  <a:cubicBezTo>
                    <a:pt x="308675" y="230772"/>
                    <a:pt x="314777" y="233823"/>
                    <a:pt x="317827" y="233823"/>
                  </a:cubicBezTo>
                  <a:cubicBezTo>
                    <a:pt x="339184" y="249077"/>
                    <a:pt x="366641" y="258230"/>
                    <a:pt x="394099" y="261281"/>
                  </a:cubicBezTo>
                  <a:cubicBezTo>
                    <a:pt x="400201" y="264331"/>
                    <a:pt x="403252" y="264331"/>
                    <a:pt x="403252" y="264331"/>
                  </a:cubicBezTo>
                  <a:cubicBezTo>
                    <a:pt x="403252" y="264331"/>
                    <a:pt x="461218" y="374162"/>
                    <a:pt x="455115" y="404670"/>
                  </a:cubicBezTo>
                  <a:cubicBezTo>
                    <a:pt x="455115" y="404670"/>
                    <a:pt x="497828" y="358908"/>
                    <a:pt x="513082" y="303992"/>
                  </a:cubicBezTo>
                  <a:cubicBezTo>
                    <a:pt x="522235" y="242976"/>
                    <a:pt x="516132" y="157552"/>
                    <a:pt x="455115" y="136196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D457FCAB-D46C-4521-AC7B-F7065534AAAF}"/>
                </a:ext>
              </a:extLst>
            </p:cNvPr>
            <p:cNvSpPr/>
            <p:nvPr/>
          </p:nvSpPr>
          <p:spPr>
            <a:xfrm>
              <a:off x="14659492" y="2435617"/>
              <a:ext cx="250168" cy="258417"/>
            </a:xfrm>
            <a:custGeom>
              <a:avLst/>
              <a:gdLst>
                <a:gd name="connsiteX0" fmla="*/ 0 w 250168"/>
                <a:gd name="connsiteY0" fmla="*/ 39661 h 258417"/>
                <a:gd name="connsiteX1" fmla="*/ 6101 w 250168"/>
                <a:gd name="connsiteY1" fmla="*/ 213559 h 258417"/>
                <a:gd name="connsiteX2" fmla="*/ 250169 w 250168"/>
                <a:gd name="connsiteY2" fmla="*/ 204407 h 258417"/>
                <a:gd name="connsiteX3" fmla="*/ 234915 w 250168"/>
                <a:gd name="connsiteY3" fmla="*/ 0 h 258417"/>
                <a:gd name="connsiteX4" fmla="*/ 0 w 250168"/>
                <a:gd name="connsiteY4" fmla="*/ 39661 h 25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68" h="258417">
                  <a:moveTo>
                    <a:pt x="0" y="39661"/>
                  </a:moveTo>
                  <a:cubicBezTo>
                    <a:pt x="0" y="39661"/>
                    <a:pt x="6101" y="140339"/>
                    <a:pt x="6101" y="213559"/>
                  </a:cubicBezTo>
                  <a:cubicBezTo>
                    <a:pt x="6101" y="213559"/>
                    <a:pt x="100678" y="320339"/>
                    <a:pt x="250169" y="204407"/>
                  </a:cubicBezTo>
                  <a:cubicBezTo>
                    <a:pt x="250169" y="143390"/>
                    <a:pt x="237966" y="64068"/>
                    <a:pt x="234915" y="0"/>
                  </a:cubicBezTo>
                  <a:cubicBezTo>
                    <a:pt x="237966" y="0"/>
                    <a:pt x="54915" y="51864"/>
                    <a:pt x="0" y="3966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3B256A8C-44DC-445F-B2B3-981156723A95}"/>
                </a:ext>
              </a:extLst>
            </p:cNvPr>
            <p:cNvSpPr/>
            <p:nvPr/>
          </p:nvSpPr>
          <p:spPr>
            <a:xfrm>
              <a:off x="14100732" y="2600363"/>
              <a:ext cx="1223844" cy="1567951"/>
            </a:xfrm>
            <a:custGeom>
              <a:avLst/>
              <a:gdLst>
                <a:gd name="connsiteX0" fmla="*/ 827234 w 1223844"/>
                <a:gd name="connsiteY0" fmla="*/ 0 h 1567951"/>
                <a:gd name="connsiteX1" fmla="*/ 537404 w 1223844"/>
                <a:gd name="connsiteY1" fmla="*/ 0 h 1567951"/>
                <a:gd name="connsiteX2" fmla="*/ 238421 w 1223844"/>
                <a:gd name="connsiteY2" fmla="*/ 131186 h 1567951"/>
                <a:gd name="connsiteX3" fmla="*/ 152997 w 1223844"/>
                <a:gd name="connsiteY3" fmla="*/ 1537627 h 1567951"/>
                <a:gd name="connsiteX4" fmla="*/ 1223845 w 1223844"/>
                <a:gd name="connsiteY4" fmla="*/ 1513220 h 1567951"/>
                <a:gd name="connsiteX5" fmla="*/ 1107913 w 1223844"/>
                <a:gd name="connsiteY5" fmla="*/ 103729 h 1567951"/>
                <a:gd name="connsiteX6" fmla="*/ 827234 w 1223844"/>
                <a:gd name="connsiteY6" fmla="*/ 0 h 156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3844" h="1567951">
                  <a:moveTo>
                    <a:pt x="827234" y="0"/>
                  </a:moveTo>
                  <a:cubicBezTo>
                    <a:pt x="827234" y="0"/>
                    <a:pt x="653336" y="54915"/>
                    <a:pt x="537404" y="0"/>
                  </a:cubicBezTo>
                  <a:cubicBezTo>
                    <a:pt x="537404" y="0"/>
                    <a:pt x="262828" y="97627"/>
                    <a:pt x="238421" y="131186"/>
                  </a:cubicBezTo>
                  <a:cubicBezTo>
                    <a:pt x="214014" y="161695"/>
                    <a:pt x="-225308" y="1202034"/>
                    <a:pt x="152997" y="1537627"/>
                  </a:cubicBezTo>
                  <a:cubicBezTo>
                    <a:pt x="152997" y="1537627"/>
                    <a:pt x="644183" y="1620000"/>
                    <a:pt x="1223845" y="1513220"/>
                  </a:cubicBezTo>
                  <a:cubicBezTo>
                    <a:pt x="1223845" y="1156271"/>
                    <a:pt x="1150624" y="134237"/>
                    <a:pt x="1107913" y="103729"/>
                  </a:cubicBezTo>
                  <a:cubicBezTo>
                    <a:pt x="1068251" y="70169"/>
                    <a:pt x="827234" y="0"/>
                    <a:pt x="827234" y="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9F12F0CE-27BB-49CA-9171-DA9FDE0F427D}"/>
                </a:ext>
              </a:extLst>
            </p:cNvPr>
            <p:cNvSpPr/>
            <p:nvPr/>
          </p:nvSpPr>
          <p:spPr>
            <a:xfrm>
              <a:off x="14098136" y="2723159"/>
              <a:ext cx="249407" cy="850423"/>
            </a:xfrm>
            <a:custGeom>
              <a:avLst/>
              <a:gdLst>
                <a:gd name="connsiteX0" fmla="*/ 6102 w 249407"/>
                <a:gd name="connsiteY0" fmla="*/ 850424 h 850423"/>
                <a:gd name="connsiteX1" fmla="*/ 6102 w 249407"/>
                <a:gd name="connsiteY1" fmla="*/ 850424 h 850423"/>
                <a:gd name="connsiteX2" fmla="*/ 0 w 249407"/>
                <a:gd name="connsiteY2" fmla="*/ 844322 h 850423"/>
                <a:gd name="connsiteX3" fmla="*/ 237967 w 249407"/>
                <a:gd name="connsiteY3" fmla="*/ 2288 h 850423"/>
                <a:gd name="connsiteX4" fmla="*/ 247119 w 249407"/>
                <a:gd name="connsiteY4" fmla="*/ 2288 h 850423"/>
                <a:gd name="connsiteX5" fmla="*/ 247119 w 249407"/>
                <a:gd name="connsiteY5" fmla="*/ 11441 h 850423"/>
                <a:gd name="connsiteX6" fmla="*/ 9153 w 249407"/>
                <a:gd name="connsiteY6" fmla="*/ 847373 h 850423"/>
                <a:gd name="connsiteX7" fmla="*/ 6102 w 249407"/>
                <a:gd name="connsiteY7" fmla="*/ 850424 h 850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407" h="850423">
                  <a:moveTo>
                    <a:pt x="6102" y="850424"/>
                  </a:moveTo>
                  <a:cubicBezTo>
                    <a:pt x="6102" y="850424"/>
                    <a:pt x="6102" y="850424"/>
                    <a:pt x="6102" y="850424"/>
                  </a:cubicBezTo>
                  <a:cubicBezTo>
                    <a:pt x="3051" y="850424"/>
                    <a:pt x="0" y="847373"/>
                    <a:pt x="0" y="844322"/>
                  </a:cubicBezTo>
                  <a:cubicBezTo>
                    <a:pt x="0" y="838220"/>
                    <a:pt x="97627" y="200593"/>
                    <a:pt x="237967" y="2288"/>
                  </a:cubicBezTo>
                  <a:cubicBezTo>
                    <a:pt x="241018" y="-763"/>
                    <a:pt x="244068" y="-763"/>
                    <a:pt x="247119" y="2288"/>
                  </a:cubicBezTo>
                  <a:cubicBezTo>
                    <a:pt x="250170" y="5339"/>
                    <a:pt x="250170" y="8390"/>
                    <a:pt x="247119" y="11441"/>
                  </a:cubicBezTo>
                  <a:cubicBezTo>
                    <a:pt x="109831" y="206695"/>
                    <a:pt x="12204" y="841271"/>
                    <a:pt x="9153" y="847373"/>
                  </a:cubicBezTo>
                  <a:cubicBezTo>
                    <a:pt x="12204" y="850424"/>
                    <a:pt x="9153" y="850424"/>
                    <a:pt x="6102" y="850424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2ADF2608-61A8-43AB-A603-28040BB972BA}"/>
                </a:ext>
              </a:extLst>
            </p:cNvPr>
            <p:cNvSpPr/>
            <p:nvPr/>
          </p:nvSpPr>
          <p:spPr>
            <a:xfrm>
              <a:off x="14653390" y="2464862"/>
              <a:ext cx="245331" cy="68382"/>
            </a:xfrm>
            <a:custGeom>
              <a:avLst/>
              <a:gdLst>
                <a:gd name="connsiteX0" fmla="*/ 103729 w 245331"/>
                <a:gd name="connsiteY0" fmla="*/ 68382 h 68382"/>
                <a:gd name="connsiteX1" fmla="*/ 82373 w 245331"/>
                <a:gd name="connsiteY1" fmla="*/ 65331 h 68382"/>
                <a:gd name="connsiteX2" fmla="*/ 27457 w 245331"/>
                <a:gd name="connsiteY2" fmla="*/ 47026 h 68382"/>
                <a:gd name="connsiteX3" fmla="*/ 3051 w 245331"/>
                <a:gd name="connsiteY3" fmla="*/ 34823 h 68382"/>
                <a:gd name="connsiteX4" fmla="*/ 0 w 245331"/>
                <a:gd name="connsiteY4" fmla="*/ 25670 h 68382"/>
                <a:gd name="connsiteX5" fmla="*/ 9152 w 245331"/>
                <a:gd name="connsiteY5" fmla="*/ 22620 h 68382"/>
                <a:gd name="connsiteX6" fmla="*/ 18305 w 245331"/>
                <a:gd name="connsiteY6" fmla="*/ 28721 h 68382"/>
                <a:gd name="connsiteX7" fmla="*/ 24406 w 245331"/>
                <a:gd name="connsiteY7" fmla="*/ 28721 h 68382"/>
                <a:gd name="connsiteX8" fmla="*/ 33560 w 245331"/>
                <a:gd name="connsiteY8" fmla="*/ 34823 h 68382"/>
                <a:gd name="connsiteX9" fmla="*/ 82373 w 245331"/>
                <a:gd name="connsiteY9" fmla="*/ 53128 h 68382"/>
                <a:gd name="connsiteX10" fmla="*/ 94576 w 245331"/>
                <a:gd name="connsiteY10" fmla="*/ 53128 h 68382"/>
                <a:gd name="connsiteX11" fmla="*/ 94576 w 245331"/>
                <a:gd name="connsiteY11" fmla="*/ 53128 h 68382"/>
                <a:gd name="connsiteX12" fmla="*/ 186102 w 245331"/>
                <a:gd name="connsiteY12" fmla="*/ 25670 h 68382"/>
                <a:gd name="connsiteX13" fmla="*/ 234916 w 245331"/>
                <a:gd name="connsiteY13" fmla="*/ 1264 h 68382"/>
                <a:gd name="connsiteX14" fmla="*/ 244068 w 245331"/>
                <a:gd name="connsiteY14" fmla="*/ 4315 h 68382"/>
                <a:gd name="connsiteX15" fmla="*/ 241017 w 245331"/>
                <a:gd name="connsiteY15" fmla="*/ 13467 h 68382"/>
                <a:gd name="connsiteX16" fmla="*/ 192203 w 245331"/>
                <a:gd name="connsiteY16" fmla="*/ 37874 h 68382"/>
                <a:gd name="connsiteX17" fmla="*/ 118983 w 245331"/>
                <a:gd name="connsiteY17" fmla="*/ 65331 h 68382"/>
                <a:gd name="connsiteX18" fmla="*/ 103729 w 245331"/>
                <a:gd name="connsiteY18" fmla="*/ 68382 h 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5331" h="68382">
                  <a:moveTo>
                    <a:pt x="103729" y="68382"/>
                  </a:moveTo>
                  <a:cubicBezTo>
                    <a:pt x="97627" y="68382"/>
                    <a:pt x="88474" y="68382"/>
                    <a:pt x="82373" y="65331"/>
                  </a:cubicBezTo>
                  <a:cubicBezTo>
                    <a:pt x="57966" y="62281"/>
                    <a:pt x="39661" y="53128"/>
                    <a:pt x="27457" y="47026"/>
                  </a:cubicBezTo>
                  <a:cubicBezTo>
                    <a:pt x="15254" y="40925"/>
                    <a:pt x="6102" y="34823"/>
                    <a:pt x="3051" y="34823"/>
                  </a:cubicBezTo>
                  <a:cubicBezTo>
                    <a:pt x="0" y="31772"/>
                    <a:pt x="0" y="28721"/>
                    <a:pt x="0" y="25670"/>
                  </a:cubicBezTo>
                  <a:cubicBezTo>
                    <a:pt x="3051" y="22620"/>
                    <a:pt x="6102" y="22620"/>
                    <a:pt x="9152" y="22620"/>
                  </a:cubicBezTo>
                  <a:cubicBezTo>
                    <a:pt x="9152" y="22620"/>
                    <a:pt x="12203" y="25670"/>
                    <a:pt x="18305" y="28721"/>
                  </a:cubicBezTo>
                  <a:cubicBezTo>
                    <a:pt x="21356" y="28721"/>
                    <a:pt x="21356" y="28721"/>
                    <a:pt x="24406" y="28721"/>
                  </a:cubicBezTo>
                  <a:cubicBezTo>
                    <a:pt x="24406" y="28721"/>
                    <a:pt x="27457" y="31772"/>
                    <a:pt x="33560" y="34823"/>
                  </a:cubicBezTo>
                  <a:cubicBezTo>
                    <a:pt x="48814" y="40925"/>
                    <a:pt x="64068" y="50077"/>
                    <a:pt x="82373" y="53128"/>
                  </a:cubicBezTo>
                  <a:cubicBezTo>
                    <a:pt x="85423" y="53128"/>
                    <a:pt x="91525" y="53128"/>
                    <a:pt x="94576" y="53128"/>
                  </a:cubicBezTo>
                  <a:lnTo>
                    <a:pt x="94576" y="53128"/>
                  </a:lnTo>
                  <a:cubicBezTo>
                    <a:pt x="118983" y="53128"/>
                    <a:pt x="155593" y="37874"/>
                    <a:pt x="186102" y="25670"/>
                  </a:cubicBezTo>
                  <a:cubicBezTo>
                    <a:pt x="210508" y="13467"/>
                    <a:pt x="231865" y="1264"/>
                    <a:pt x="234916" y="1264"/>
                  </a:cubicBezTo>
                  <a:cubicBezTo>
                    <a:pt x="237966" y="-1787"/>
                    <a:pt x="241017" y="1264"/>
                    <a:pt x="244068" y="4315"/>
                  </a:cubicBezTo>
                  <a:cubicBezTo>
                    <a:pt x="247119" y="7365"/>
                    <a:pt x="244068" y="10416"/>
                    <a:pt x="241017" y="13467"/>
                  </a:cubicBezTo>
                  <a:cubicBezTo>
                    <a:pt x="237966" y="13467"/>
                    <a:pt x="219661" y="25670"/>
                    <a:pt x="192203" y="37874"/>
                  </a:cubicBezTo>
                  <a:cubicBezTo>
                    <a:pt x="167797" y="50077"/>
                    <a:pt x="137288" y="62281"/>
                    <a:pt x="118983" y="65331"/>
                  </a:cubicBezTo>
                  <a:cubicBezTo>
                    <a:pt x="112882" y="65331"/>
                    <a:pt x="109831" y="68382"/>
                    <a:pt x="103729" y="68382"/>
                  </a:cubicBezTo>
                  <a:close/>
                </a:path>
              </a:pathLst>
            </a:custGeom>
            <a:solidFill>
              <a:srgbClr val="E87952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3" name="图形 1">
              <a:extLst>
                <a:ext uri="{FF2B5EF4-FFF2-40B4-BE49-F238E27FC236}">
                  <a16:creationId xmlns:a16="http://schemas.microsoft.com/office/drawing/2014/main" id="{15ADFCB8-B84F-4771-BBF2-AEA3DB03327D}"/>
                </a:ext>
              </a:extLst>
            </p:cNvPr>
            <p:cNvGrpSpPr/>
            <p:nvPr/>
          </p:nvGrpSpPr>
          <p:grpSpPr>
            <a:xfrm>
              <a:off x="14468502" y="1750830"/>
              <a:ext cx="796583" cy="343092"/>
              <a:chOff x="14468502" y="1750830"/>
              <a:chExt cx="796583" cy="343092"/>
            </a:xfrm>
          </p:grpSpPr>
          <p:grpSp>
            <p:nvGrpSpPr>
              <p:cNvPr id="128" name="图形 1">
                <a:extLst>
                  <a:ext uri="{FF2B5EF4-FFF2-40B4-BE49-F238E27FC236}">
                    <a16:creationId xmlns:a16="http://schemas.microsoft.com/office/drawing/2014/main" id="{85EEF35D-DD69-40CF-BCE1-07C9C1C89EFB}"/>
                  </a:ext>
                </a:extLst>
              </p:cNvPr>
              <p:cNvGrpSpPr/>
              <p:nvPr/>
            </p:nvGrpSpPr>
            <p:grpSpPr>
              <a:xfrm>
                <a:off x="14494722" y="1750830"/>
                <a:ext cx="770363" cy="325789"/>
                <a:chOff x="14494722" y="1750830"/>
                <a:chExt cx="770363" cy="325789"/>
              </a:xfrm>
            </p:grpSpPr>
            <p:sp>
              <p:nvSpPr>
                <p:cNvPr id="132" name="任意多边形: 形状 131">
                  <a:extLst>
                    <a:ext uri="{FF2B5EF4-FFF2-40B4-BE49-F238E27FC236}">
                      <a16:creationId xmlns:a16="http://schemas.microsoft.com/office/drawing/2014/main" id="{A04BCCFF-C1F6-4610-A029-D699820D0675}"/>
                    </a:ext>
                  </a:extLst>
                </p:cNvPr>
                <p:cNvSpPr/>
                <p:nvPr/>
              </p:nvSpPr>
              <p:spPr>
                <a:xfrm>
                  <a:off x="14494722" y="1750830"/>
                  <a:ext cx="619346" cy="325789"/>
                </a:xfrm>
                <a:custGeom>
                  <a:avLst/>
                  <a:gdLst>
                    <a:gd name="connsiteX0" fmla="*/ 176974 w 619346"/>
                    <a:gd name="connsiteY0" fmla="*/ 19703 h 325789"/>
                    <a:gd name="connsiteX1" fmla="*/ 616295 w 619346"/>
                    <a:gd name="connsiteY1" fmla="*/ 138686 h 325789"/>
                    <a:gd name="connsiteX2" fmla="*/ 619346 w 619346"/>
                    <a:gd name="connsiteY2" fmla="*/ 147838 h 325789"/>
                    <a:gd name="connsiteX3" fmla="*/ 543075 w 619346"/>
                    <a:gd name="connsiteY3" fmla="*/ 208855 h 325789"/>
                    <a:gd name="connsiteX4" fmla="*/ 564431 w 619346"/>
                    <a:gd name="connsiteY4" fmla="*/ 294279 h 325789"/>
                    <a:gd name="connsiteX5" fmla="*/ 561381 w 619346"/>
                    <a:gd name="connsiteY5" fmla="*/ 300381 h 325789"/>
                    <a:gd name="connsiteX6" fmla="*/ 555278 w 619346"/>
                    <a:gd name="connsiteY6" fmla="*/ 303431 h 325789"/>
                    <a:gd name="connsiteX7" fmla="*/ 219685 w 619346"/>
                    <a:gd name="connsiteY7" fmla="*/ 324787 h 325789"/>
                    <a:gd name="connsiteX8" fmla="*/ 6126 w 619346"/>
                    <a:gd name="connsiteY8" fmla="*/ 282075 h 325789"/>
                    <a:gd name="connsiteX9" fmla="*/ 24 w 619346"/>
                    <a:gd name="connsiteY9" fmla="*/ 272923 h 325789"/>
                    <a:gd name="connsiteX10" fmla="*/ 176974 w 619346"/>
                    <a:gd name="connsiteY10" fmla="*/ 19703 h 325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19346" h="325789">
                      <a:moveTo>
                        <a:pt x="176974" y="19703"/>
                      </a:moveTo>
                      <a:cubicBezTo>
                        <a:pt x="341719" y="-29111"/>
                        <a:pt x="500364" y="13601"/>
                        <a:pt x="616295" y="138686"/>
                      </a:cubicBezTo>
                      <a:cubicBezTo>
                        <a:pt x="619346" y="141736"/>
                        <a:pt x="619346" y="144787"/>
                        <a:pt x="619346" y="147838"/>
                      </a:cubicBezTo>
                      <a:cubicBezTo>
                        <a:pt x="619346" y="150889"/>
                        <a:pt x="597990" y="196652"/>
                        <a:pt x="543075" y="208855"/>
                      </a:cubicBezTo>
                      <a:cubicBezTo>
                        <a:pt x="558330" y="248516"/>
                        <a:pt x="564431" y="291228"/>
                        <a:pt x="564431" y="294279"/>
                      </a:cubicBezTo>
                      <a:cubicBezTo>
                        <a:pt x="564431" y="297330"/>
                        <a:pt x="564431" y="300381"/>
                        <a:pt x="561381" y="300381"/>
                      </a:cubicBezTo>
                      <a:cubicBezTo>
                        <a:pt x="561381" y="303431"/>
                        <a:pt x="558330" y="303431"/>
                        <a:pt x="555278" y="303431"/>
                      </a:cubicBezTo>
                      <a:cubicBezTo>
                        <a:pt x="414939" y="324787"/>
                        <a:pt x="305109" y="327838"/>
                        <a:pt x="219685" y="324787"/>
                      </a:cubicBezTo>
                      <a:cubicBezTo>
                        <a:pt x="79346" y="315635"/>
                        <a:pt x="9177" y="285126"/>
                        <a:pt x="6126" y="282075"/>
                      </a:cubicBezTo>
                      <a:cubicBezTo>
                        <a:pt x="3075" y="282075"/>
                        <a:pt x="24" y="279025"/>
                        <a:pt x="24" y="272923"/>
                      </a:cubicBezTo>
                      <a:cubicBezTo>
                        <a:pt x="24" y="269872"/>
                        <a:pt x="-6077" y="71567"/>
                        <a:pt x="176974" y="1970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3" name="任意多边形: 形状 132">
                  <a:extLst>
                    <a:ext uri="{FF2B5EF4-FFF2-40B4-BE49-F238E27FC236}">
                      <a16:creationId xmlns:a16="http://schemas.microsoft.com/office/drawing/2014/main" id="{D6F2C793-E0C2-4ED4-B0D7-5F749A590472}"/>
                    </a:ext>
                  </a:extLst>
                </p:cNvPr>
                <p:cNvSpPr/>
                <p:nvPr/>
              </p:nvSpPr>
              <p:spPr>
                <a:xfrm>
                  <a:off x="15048856" y="1785786"/>
                  <a:ext cx="216229" cy="205603"/>
                </a:xfrm>
                <a:custGeom>
                  <a:avLst/>
                  <a:gdLst>
                    <a:gd name="connsiteX0" fmla="*/ 1144 w 216229"/>
                    <a:gd name="connsiteY0" fmla="*/ 97627 h 205603"/>
                    <a:gd name="connsiteX1" fmla="*/ 10296 w 216229"/>
                    <a:gd name="connsiteY1" fmla="*/ 67119 h 205603"/>
                    <a:gd name="connsiteX2" fmla="*/ 22500 w 216229"/>
                    <a:gd name="connsiteY2" fmla="*/ 57966 h 205603"/>
                    <a:gd name="connsiteX3" fmla="*/ 34704 w 216229"/>
                    <a:gd name="connsiteY3" fmla="*/ 30508 h 205603"/>
                    <a:gd name="connsiteX4" fmla="*/ 56059 w 216229"/>
                    <a:gd name="connsiteY4" fmla="*/ 21356 h 205603"/>
                    <a:gd name="connsiteX5" fmla="*/ 71313 w 216229"/>
                    <a:gd name="connsiteY5" fmla="*/ 21356 h 205603"/>
                    <a:gd name="connsiteX6" fmla="*/ 117076 w 216229"/>
                    <a:gd name="connsiteY6" fmla="*/ 0 h 205603"/>
                    <a:gd name="connsiteX7" fmla="*/ 159789 w 216229"/>
                    <a:gd name="connsiteY7" fmla="*/ 30508 h 205603"/>
                    <a:gd name="connsiteX8" fmla="*/ 202500 w 216229"/>
                    <a:gd name="connsiteY8" fmla="*/ 73220 h 205603"/>
                    <a:gd name="connsiteX9" fmla="*/ 202500 w 216229"/>
                    <a:gd name="connsiteY9" fmla="*/ 128136 h 205603"/>
                    <a:gd name="connsiteX10" fmla="*/ 193347 w 216229"/>
                    <a:gd name="connsiteY10" fmla="*/ 170847 h 205603"/>
                    <a:gd name="connsiteX11" fmla="*/ 165890 w 216229"/>
                    <a:gd name="connsiteY11" fmla="*/ 183051 h 205603"/>
                    <a:gd name="connsiteX12" fmla="*/ 159789 w 216229"/>
                    <a:gd name="connsiteY12" fmla="*/ 183051 h 205603"/>
                    <a:gd name="connsiteX13" fmla="*/ 159789 w 216229"/>
                    <a:gd name="connsiteY13" fmla="*/ 183051 h 205603"/>
                    <a:gd name="connsiteX14" fmla="*/ 132330 w 216229"/>
                    <a:gd name="connsiteY14" fmla="*/ 204407 h 205603"/>
                    <a:gd name="connsiteX15" fmla="*/ 98772 w 216229"/>
                    <a:gd name="connsiteY15" fmla="*/ 198305 h 205603"/>
                    <a:gd name="connsiteX16" fmla="*/ 74364 w 216229"/>
                    <a:gd name="connsiteY16" fmla="*/ 198305 h 205603"/>
                    <a:gd name="connsiteX17" fmla="*/ 46907 w 216229"/>
                    <a:gd name="connsiteY17" fmla="*/ 176949 h 205603"/>
                    <a:gd name="connsiteX18" fmla="*/ 40805 w 216229"/>
                    <a:gd name="connsiteY18" fmla="*/ 161695 h 205603"/>
                    <a:gd name="connsiteX19" fmla="*/ 22500 w 216229"/>
                    <a:gd name="connsiteY19" fmla="*/ 146441 h 205603"/>
                    <a:gd name="connsiteX20" fmla="*/ 22500 w 216229"/>
                    <a:gd name="connsiteY20" fmla="*/ 118983 h 205603"/>
                    <a:gd name="connsiteX21" fmla="*/ 19449 w 216229"/>
                    <a:gd name="connsiteY21" fmla="*/ 115932 h 205603"/>
                    <a:gd name="connsiteX22" fmla="*/ 1144 w 216229"/>
                    <a:gd name="connsiteY22" fmla="*/ 97627 h 205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16229" h="205603">
                      <a:moveTo>
                        <a:pt x="1144" y="97627"/>
                      </a:moveTo>
                      <a:cubicBezTo>
                        <a:pt x="-1907" y="88475"/>
                        <a:pt x="1144" y="73220"/>
                        <a:pt x="10296" y="67119"/>
                      </a:cubicBezTo>
                      <a:cubicBezTo>
                        <a:pt x="13347" y="64068"/>
                        <a:pt x="19449" y="61017"/>
                        <a:pt x="22500" y="57966"/>
                      </a:cubicBezTo>
                      <a:cubicBezTo>
                        <a:pt x="22500" y="48814"/>
                        <a:pt x="25551" y="39661"/>
                        <a:pt x="34704" y="30508"/>
                      </a:cubicBezTo>
                      <a:cubicBezTo>
                        <a:pt x="40805" y="24407"/>
                        <a:pt x="46907" y="21356"/>
                        <a:pt x="56059" y="21356"/>
                      </a:cubicBezTo>
                      <a:cubicBezTo>
                        <a:pt x="59110" y="21356"/>
                        <a:pt x="65212" y="21356"/>
                        <a:pt x="71313" y="21356"/>
                      </a:cubicBezTo>
                      <a:cubicBezTo>
                        <a:pt x="80466" y="9153"/>
                        <a:pt x="95721" y="0"/>
                        <a:pt x="117076" y="0"/>
                      </a:cubicBezTo>
                      <a:cubicBezTo>
                        <a:pt x="135381" y="3051"/>
                        <a:pt x="150636" y="15254"/>
                        <a:pt x="159789" y="30508"/>
                      </a:cubicBezTo>
                      <a:cubicBezTo>
                        <a:pt x="187246" y="30508"/>
                        <a:pt x="202500" y="51864"/>
                        <a:pt x="202500" y="73220"/>
                      </a:cubicBezTo>
                      <a:cubicBezTo>
                        <a:pt x="220806" y="88475"/>
                        <a:pt x="220806" y="115932"/>
                        <a:pt x="202500" y="128136"/>
                      </a:cubicBezTo>
                      <a:cubicBezTo>
                        <a:pt x="205551" y="143390"/>
                        <a:pt x="202500" y="158644"/>
                        <a:pt x="193347" y="170847"/>
                      </a:cubicBezTo>
                      <a:cubicBezTo>
                        <a:pt x="187246" y="180000"/>
                        <a:pt x="178093" y="183051"/>
                        <a:pt x="165890" y="183051"/>
                      </a:cubicBezTo>
                      <a:cubicBezTo>
                        <a:pt x="162839" y="183051"/>
                        <a:pt x="162839" y="183051"/>
                        <a:pt x="159789" y="183051"/>
                      </a:cubicBezTo>
                      <a:cubicBezTo>
                        <a:pt x="159789" y="183051"/>
                        <a:pt x="159789" y="183051"/>
                        <a:pt x="159789" y="183051"/>
                      </a:cubicBezTo>
                      <a:cubicBezTo>
                        <a:pt x="153687" y="195254"/>
                        <a:pt x="144534" y="204407"/>
                        <a:pt x="132330" y="204407"/>
                      </a:cubicBezTo>
                      <a:cubicBezTo>
                        <a:pt x="120127" y="207458"/>
                        <a:pt x="107924" y="204407"/>
                        <a:pt x="98772" y="198305"/>
                      </a:cubicBezTo>
                      <a:cubicBezTo>
                        <a:pt x="89619" y="201356"/>
                        <a:pt x="83517" y="201356"/>
                        <a:pt x="74364" y="198305"/>
                      </a:cubicBezTo>
                      <a:cubicBezTo>
                        <a:pt x="62161" y="195254"/>
                        <a:pt x="53009" y="189153"/>
                        <a:pt x="46907" y="176949"/>
                      </a:cubicBezTo>
                      <a:cubicBezTo>
                        <a:pt x="43856" y="173898"/>
                        <a:pt x="40805" y="167797"/>
                        <a:pt x="40805" y="161695"/>
                      </a:cubicBezTo>
                      <a:cubicBezTo>
                        <a:pt x="34704" y="158644"/>
                        <a:pt x="25551" y="155593"/>
                        <a:pt x="22500" y="146441"/>
                      </a:cubicBezTo>
                      <a:cubicBezTo>
                        <a:pt x="16398" y="134237"/>
                        <a:pt x="19449" y="128136"/>
                        <a:pt x="22500" y="118983"/>
                      </a:cubicBezTo>
                      <a:cubicBezTo>
                        <a:pt x="22500" y="118983"/>
                        <a:pt x="19449" y="118983"/>
                        <a:pt x="19449" y="115932"/>
                      </a:cubicBezTo>
                      <a:cubicBezTo>
                        <a:pt x="7246" y="109831"/>
                        <a:pt x="4195" y="103729"/>
                        <a:pt x="1144" y="9762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8BFE7828-4F1F-4260-8631-039F73777FFA}"/>
                  </a:ext>
                </a:extLst>
              </p:cNvPr>
              <p:cNvSpPr/>
              <p:nvPr/>
            </p:nvSpPr>
            <p:spPr>
              <a:xfrm>
                <a:off x="15005933" y="1903413"/>
                <a:ext cx="53219" cy="123389"/>
              </a:xfrm>
              <a:custGeom>
                <a:avLst/>
                <a:gdLst>
                  <a:gd name="connsiteX0" fmla="*/ 47119 w 53219"/>
                  <a:gd name="connsiteY0" fmla="*/ 123390 h 123389"/>
                  <a:gd name="connsiteX1" fmla="*/ 41017 w 53219"/>
                  <a:gd name="connsiteY1" fmla="*/ 117288 h 123389"/>
                  <a:gd name="connsiteX2" fmla="*/ 1356 w 53219"/>
                  <a:gd name="connsiteY2" fmla="*/ 10508 h 123389"/>
                  <a:gd name="connsiteX3" fmla="*/ 1356 w 53219"/>
                  <a:gd name="connsiteY3" fmla="*/ 1356 h 123389"/>
                  <a:gd name="connsiteX4" fmla="*/ 10508 w 53219"/>
                  <a:gd name="connsiteY4" fmla="*/ 1356 h 123389"/>
                  <a:gd name="connsiteX5" fmla="*/ 53220 w 53219"/>
                  <a:gd name="connsiteY5" fmla="*/ 111186 h 123389"/>
                  <a:gd name="connsiteX6" fmla="*/ 47119 w 53219"/>
                  <a:gd name="connsiteY6" fmla="*/ 123390 h 123389"/>
                  <a:gd name="connsiteX7" fmla="*/ 47119 w 53219"/>
                  <a:gd name="connsiteY7" fmla="*/ 123390 h 123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3219" h="123389">
                    <a:moveTo>
                      <a:pt x="47119" y="123390"/>
                    </a:moveTo>
                    <a:cubicBezTo>
                      <a:pt x="44068" y="123390"/>
                      <a:pt x="41017" y="120339"/>
                      <a:pt x="41017" y="117288"/>
                    </a:cubicBezTo>
                    <a:cubicBezTo>
                      <a:pt x="41017" y="117288"/>
                      <a:pt x="28813" y="50169"/>
                      <a:pt x="1356" y="10508"/>
                    </a:cubicBezTo>
                    <a:cubicBezTo>
                      <a:pt x="-1695" y="7458"/>
                      <a:pt x="1356" y="4407"/>
                      <a:pt x="1356" y="1356"/>
                    </a:cubicBezTo>
                    <a:cubicBezTo>
                      <a:pt x="4407" y="-1695"/>
                      <a:pt x="7457" y="1356"/>
                      <a:pt x="10508" y="1356"/>
                    </a:cubicBezTo>
                    <a:cubicBezTo>
                      <a:pt x="41017" y="44068"/>
                      <a:pt x="53220" y="108136"/>
                      <a:pt x="53220" y="111186"/>
                    </a:cubicBezTo>
                    <a:cubicBezTo>
                      <a:pt x="53220" y="120339"/>
                      <a:pt x="50170" y="123390"/>
                      <a:pt x="47119" y="123390"/>
                    </a:cubicBezTo>
                    <a:cubicBezTo>
                      <a:pt x="47119" y="123390"/>
                      <a:pt x="47119" y="123390"/>
                      <a:pt x="47119" y="12339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57D22713-8215-4A61-BD58-9DE28E733BD5}"/>
                  </a:ext>
                </a:extLst>
              </p:cNvPr>
              <p:cNvSpPr/>
              <p:nvPr/>
            </p:nvSpPr>
            <p:spPr>
              <a:xfrm>
                <a:off x="14468502" y="1985603"/>
                <a:ext cx="614294" cy="102412"/>
              </a:xfrm>
              <a:custGeom>
                <a:avLst/>
                <a:gdLst>
                  <a:gd name="connsiteX0" fmla="*/ 38448 w 614294"/>
                  <a:gd name="connsiteY0" fmla="*/ 1540 h 102412"/>
                  <a:gd name="connsiteX1" fmla="*/ 584549 w 614294"/>
                  <a:gd name="connsiteY1" fmla="*/ 22896 h 102412"/>
                  <a:gd name="connsiteX2" fmla="*/ 584549 w 614294"/>
                  <a:gd name="connsiteY2" fmla="*/ 86963 h 102412"/>
                  <a:gd name="connsiteX3" fmla="*/ 23193 w 614294"/>
                  <a:gd name="connsiteY3" fmla="*/ 62557 h 102412"/>
                  <a:gd name="connsiteX4" fmla="*/ 38448 w 614294"/>
                  <a:gd name="connsiteY4" fmla="*/ 1540 h 102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4294" h="102412">
                    <a:moveTo>
                      <a:pt x="38448" y="1540"/>
                    </a:moveTo>
                    <a:cubicBezTo>
                      <a:pt x="218447" y="53404"/>
                      <a:pt x="401498" y="41201"/>
                      <a:pt x="584549" y="22896"/>
                    </a:cubicBezTo>
                    <a:cubicBezTo>
                      <a:pt x="624210" y="19845"/>
                      <a:pt x="624210" y="83913"/>
                      <a:pt x="584549" y="86963"/>
                    </a:cubicBezTo>
                    <a:cubicBezTo>
                      <a:pt x="395396" y="105268"/>
                      <a:pt x="206244" y="117472"/>
                      <a:pt x="23193" y="62557"/>
                    </a:cubicBezTo>
                    <a:cubicBezTo>
                      <a:pt x="-16468" y="53404"/>
                      <a:pt x="-1214" y="-10664"/>
                      <a:pt x="38448" y="1540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B49E5E07-50CC-4CF3-B15D-080ECA9CCA15}"/>
                  </a:ext>
                </a:extLst>
              </p:cNvPr>
              <p:cNvSpPr/>
              <p:nvPr/>
            </p:nvSpPr>
            <p:spPr>
              <a:xfrm>
                <a:off x="14487381" y="2008498"/>
                <a:ext cx="599504" cy="85423"/>
              </a:xfrm>
              <a:custGeom>
                <a:avLst/>
                <a:gdLst>
                  <a:gd name="connsiteX0" fmla="*/ 309400 w 599504"/>
                  <a:gd name="connsiteY0" fmla="*/ 85424 h 85423"/>
                  <a:gd name="connsiteX1" fmla="*/ 4315 w 599504"/>
                  <a:gd name="connsiteY1" fmla="*/ 45763 h 85423"/>
                  <a:gd name="connsiteX2" fmla="*/ 1264 w 599504"/>
                  <a:gd name="connsiteY2" fmla="*/ 39661 h 85423"/>
                  <a:gd name="connsiteX3" fmla="*/ 7365 w 599504"/>
                  <a:gd name="connsiteY3" fmla="*/ 36610 h 85423"/>
                  <a:gd name="connsiteX4" fmla="*/ 568722 w 599504"/>
                  <a:gd name="connsiteY4" fmla="*/ 61017 h 85423"/>
                  <a:gd name="connsiteX5" fmla="*/ 590077 w 599504"/>
                  <a:gd name="connsiteY5" fmla="*/ 45763 h 85423"/>
                  <a:gd name="connsiteX6" fmla="*/ 587026 w 599504"/>
                  <a:gd name="connsiteY6" fmla="*/ 18305 h 85423"/>
                  <a:gd name="connsiteX7" fmla="*/ 565671 w 599504"/>
                  <a:gd name="connsiteY7" fmla="*/ 9153 h 85423"/>
                  <a:gd name="connsiteX8" fmla="*/ 376518 w 599504"/>
                  <a:gd name="connsiteY8" fmla="*/ 24407 h 85423"/>
                  <a:gd name="connsiteX9" fmla="*/ 376518 w 599504"/>
                  <a:gd name="connsiteY9" fmla="*/ 24407 h 85423"/>
                  <a:gd name="connsiteX10" fmla="*/ 370417 w 599504"/>
                  <a:gd name="connsiteY10" fmla="*/ 18305 h 85423"/>
                  <a:gd name="connsiteX11" fmla="*/ 376518 w 599504"/>
                  <a:gd name="connsiteY11" fmla="*/ 12203 h 85423"/>
                  <a:gd name="connsiteX12" fmla="*/ 562620 w 599504"/>
                  <a:gd name="connsiteY12" fmla="*/ 0 h 85423"/>
                  <a:gd name="connsiteX13" fmla="*/ 593128 w 599504"/>
                  <a:gd name="connsiteY13" fmla="*/ 12203 h 85423"/>
                  <a:gd name="connsiteX14" fmla="*/ 596179 w 599504"/>
                  <a:gd name="connsiteY14" fmla="*/ 51864 h 85423"/>
                  <a:gd name="connsiteX15" fmla="*/ 565671 w 599504"/>
                  <a:gd name="connsiteY15" fmla="*/ 73220 h 85423"/>
                  <a:gd name="connsiteX16" fmla="*/ 309400 w 599504"/>
                  <a:gd name="connsiteY16" fmla="*/ 85424 h 85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99504" h="85423">
                    <a:moveTo>
                      <a:pt x="309400" y="85424"/>
                    </a:moveTo>
                    <a:cubicBezTo>
                      <a:pt x="205670" y="85424"/>
                      <a:pt x="104992" y="76271"/>
                      <a:pt x="4315" y="45763"/>
                    </a:cubicBezTo>
                    <a:cubicBezTo>
                      <a:pt x="1264" y="45763"/>
                      <a:pt x="-1787" y="42712"/>
                      <a:pt x="1264" y="39661"/>
                    </a:cubicBezTo>
                    <a:cubicBezTo>
                      <a:pt x="1264" y="36610"/>
                      <a:pt x="4315" y="33559"/>
                      <a:pt x="7365" y="36610"/>
                    </a:cubicBezTo>
                    <a:cubicBezTo>
                      <a:pt x="190416" y="91525"/>
                      <a:pt x="376518" y="79322"/>
                      <a:pt x="568722" y="61017"/>
                    </a:cubicBezTo>
                    <a:cubicBezTo>
                      <a:pt x="583976" y="61017"/>
                      <a:pt x="590077" y="51864"/>
                      <a:pt x="590077" y="45763"/>
                    </a:cubicBezTo>
                    <a:cubicBezTo>
                      <a:pt x="593128" y="36610"/>
                      <a:pt x="593128" y="24407"/>
                      <a:pt x="587026" y="18305"/>
                    </a:cubicBezTo>
                    <a:cubicBezTo>
                      <a:pt x="583976" y="12203"/>
                      <a:pt x="574823" y="9153"/>
                      <a:pt x="565671" y="9153"/>
                    </a:cubicBezTo>
                    <a:cubicBezTo>
                      <a:pt x="565671" y="9153"/>
                      <a:pt x="422280" y="21356"/>
                      <a:pt x="376518" y="24407"/>
                    </a:cubicBezTo>
                    <a:lnTo>
                      <a:pt x="376518" y="24407"/>
                    </a:lnTo>
                    <a:cubicBezTo>
                      <a:pt x="373467" y="24407"/>
                      <a:pt x="370417" y="21356"/>
                      <a:pt x="370417" y="18305"/>
                    </a:cubicBezTo>
                    <a:cubicBezTo>
                      <a:pt x="370417" y="15254"/>
                      <a:pt x="373467" y="12203"/>
                      <a:pt x="376518" y="12203"/>
                    </a:cubicBezTo>
                    <a:cubicBezTo>
                      <a:pt x="419229" y="12203"/>
                      <a:pt x="562620" y="0"/>
                      <a:pt x="562620" y="0"/>
                    </a:cubicBezTo>
                    <a:cubicBezTo>
                      <a:pt x="574823" y="0"/>
                      <a:pt x="587026" y="3051"/>
                      <a:pt x="593128" y="12203"/>
                    </a:cubicBezTo>
                    <a:cubicBezTo>
                      <a:pt x="599230" y="24407"/>
                      <a:pt x="602280" y="39661"/>
                      <a:pt x="596179" y="51864"/>
                    </a:cubicBezTo>
                    <a:cubicBezTo>
                      <a:pt x="590077" y="64068"/>
                      <a:pt x="577874" y="73220"/>
                      <a:pt x="565671" y="73220"/>
                    </a:cubicBezTo>
                    <a:cubicBezTo>
                      <a:pt x="480246" y="79322"/>
                      <a:pt x="391772" y="85424"/>
                      <a:pt x="309400" y="8542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A24C1FBE-B25B-4F78-BECE-EE017C5159CF}"/>
                </a:ext>
              </a:extLst>
            </p:cNvPr>
            <p:cNvSpPr/>
            <p:nvPr/>
          </p:nvSpPr>
          <p:spPr>
            <a:xfrm>
              <a:off x="14484426" y="2145786"/>
              <a:ext cx="520509" cy="589182"/>
            </a:xfrm>
            <a:custGeom>
              <a:avLst/>
              <a:gdLst>
                <a:gd name="connsiteX0" fmla="*/ 504557 w 520509"/>
                <a:gd name="connsiteY0" fmla="*/ 143390 h 589182"/>
                <a:gd name="connsiteX1" fmla="*/ 516761 w 520509"/>
                <a:gd name="connsiteY1" fmla="*/ 12203 h 589182"/>
                <a:gd name="connsiteX2" fmla="*/ 455744 w 520509"/>
                <a:gd name="connsiteY2" fmla="*/ 0 h 589182"/>
                <a:gd name="connsiteX3" fmla="*/ 419134 w 520509"/>
                <a:gd name="connsiteY3" fmla="*/ 222712 h 589182"/>
                <a:gd name="connsiteX4" fmla="*/ 287947 w 520509"/>
                <a:gd name="connsiteY4" fmla="*/ 216610 h 589182"/>
                <a:gd name="connsiteX5" fmla="*/ 248286 w 520509"/>
                <a:gd name="connsiteY5" fmla="*/ 207458 h 589182"/>
                <a:gd name="connsiteX6" fmla="*/ 156761 w 520509"/>
                <a:gd name="connsiteY6" fmla="*/ 244068 h 589182"/>
                <a:gd name="connsiteX7" fmla="*/ 80490 w 520509"/>
                <a:gd name="connsiteY7" fmla="*/ 125085 h 589182"/>
                <a:gd name="connsiteX8" fmla="*/ 46930 w 520509"/>
                <a:gd name="connsiteY8" fmla="*/ 103729 h 589182"/>
                <a:gd name="connsiteX9" fmla="*/ 68287 w 520509"/>
                <a:gd name="connsiteY9" fmla="*/ 201356 h 589182"/>
                <a:gd name="connsiteX10" fmla="*/ 62185 w 520509"/>
                <a:gd name="connsiteY10" fmla="*/ 503390 h 589182"/>
                <a:gd name="connsiteX11" fmla="*/ 65236 w 520509"/>
                <a:gd name="connsiteY11" fmla="*/ 576610 h 589182"/>
                <a:gd name="connsiteX12" fmla="*/ 519812 w 520509"/>
                <a:gd name="connsiteY12" fmla="*/ 274576 h 589182"/>
                <a:gd name="connsiteX13" fmla="*/ 504557 w 520509"/>
                <a:gd name="connsiteY13" fmla="*/ 143390 h 58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0509" h="589182">
                  <a:moveTo>
                    <a:pt x="504557" y="143390"/>
                  </a:moveTo>
                  <a:cubicBezTo>
                    <a:pt x="504557" y="143390"/>
                    <a:pt x="516761" y="12203"/>
                    <a:pt x="516761" y="12203"/>
                  </a:cubicBezTo>
                  <a:cubicBezTo>
                    <a:pt x="498455" y="9153"/>
                    <a:pt x="470998" y="6102"/>
                    <a:pt x="455744" y="0"/>
                  </a:cubicBezTo>
                  <a:cubicBezTo>
                    <a:pt x="455744" y="33559"/>
                    <a:pt x="443540" y="204407"/>
                    <a:pt x="419134" y="222712"/>
                  </a:cubicBezTo>
                  <a:cubicBezTo>
                    <a:pt x="385575" y="244068"/>
                    <a:pt x="306252" y="256271"/>
                    <a:pt x="287947" y="216610"/>
                  </a:cubicBezTo>
                  <a:cubicBezTo>
                    <a:pt x="287947" y="216610"/>
                    <a:pt x="263541" y="231864"/>
                    <a:pt x="248286" y="207458"/>
                  </a:cubicBezTo>
                  <a:cubicBezTo>
                    <a:pt x="248286" y="207458"/>
                    <a:pt x="217778" y="247119"/>
                    <a:pt x="156761" y="244068"/>
                  </a:cubicBezTo>
                  <a:cubicBezTo>
                    <a:pt x="126253" y="241017"/>
                    <a:pt x="86591" y="155593"/>
                    <a:pt x="80490" y="125085"/>
                  </a:cubicBezTo>
                  <a:cubicBezTo>
                    <a:pt x="68287" y="131186"/>
                    <a:pt x="59134" y="103729"/>
                    <a:pt x="46930" y="103729"/>
                  </a:cubicBezTo>
                  <a:cubicBezTo>
                    <a:pt x="46930" y="106780"/>
                    <a:pt x="68287" y="198305"/>
                    <a:pt x="68287" y="201356"/>
                  </a:cubicBezTo>
                  <a:cubicBezTo>
                    <a:pt x="68287" y="201356"/>
                    <a:pt x="-81206" y="414915"/>
                    <a:pt x="62185" y="503390"/>
                  </a:cubicBezTo>
                  <a:cubicBezTo>
                    <a:pt x="101845" y="527797"/>
                    <a:pt x="65236" y="576610"/>
                    <a:pt x="65236" y="576610"/>
                  </a:cubicBezTo>
                  <a:cubicBezTo>
                    <a:pt x="65236" y="576610"/>
                    <a:pt x="541168" y="683390"/>
                    <a:pt x="519812" y="274576"/>
                  </a:cubicBezTo>
                  <a:cubicBezTo>
                    <a:pt x="516761" y="204407"/>
                    <a:pt x="501506" y="143390"/>
                    <a:pt x="504557" y="143390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10C86A51-CFAC-421F-874A-C41816A7A56C}"/>
                </a:ext>
              </a:extLst>
            </p:cNvPr>
            <p:cNvSpPr/>
            <p:nvPr/>
          </p:nvSpPr>
          <p:spPr>
            <a:xfrm>
              <a:off x="14604577" y="2332439"/>
              <a:ext cx="253220" cy="69046"/>
            </a:xfrm>
            <a:custGeom>
              <a:avLst/>
              <a:gdLst>
                <a:gd name="connsiteX0" fmla="*/ 61017 w 253220"/>
                <a:gd name="connsiteY0" fmla="*/ 5550 h 69046"/>
                <a:gd name="connsiteX1" fmla="*/ 0 w 253220"/>
                <a:gd name="connsiteY1" fmla="*/ 33008 h 69046"/>
                <a:gd name="connsiteX2" fmla="*/ 118983 w 253220"/>
                <a:gd name="connsiteY2" fmla="*/ 54364 h 69046"/>
                <a:gd name="connsiteX3" fmla="*/ 253221 w 253220"/>
                <a:gd name="connsiteY3" fmla="*/ 29957 h 69046"/>
                <a:gd name="connsiteX4" fmla="*/ 204407 w 253220"/>
                <a:gd name="connsiteY4" fmla="*/ 23856 h 69046"/>
                <a:gd name="connsiteX5" fmla="*/ 125085 w 253220"/>
                <a:gd name="connsiteY5" fmla="*/ 8601 h 69046"/>
                <a:gd name="connsiteX6" fmla="*/ 61017 w 253220"/>
                <a:gd name="connsiteY6" fmla="*/ 5550 h 69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220" h="69046">
                  <a:moveTo>
                    <a:pt x="61017" y="5550"/>
                  </a:moveTo>
                  <a:cubicBezTo>
                    <a:pt x="36611" y="17754"/>
                    <a:pt x="30508" y="39110"/>
                    <a:pt x="0" y="33008"/>
                  </a:cubicBezTo>
                  <a:cubicBezTo>
                    <a:pt x="0" y="33008"/>
                    <a:pt x="48814" y="97076"/>
                    <a:pt x="118983" y="54364"/>
                  </a:cubicBezTo>
                  <a:cubicBezTo>
                    <a:pt x="118983" y="54364"/>
                    <a:pt x="207458" y="97076"/>
                    <a:pt x="253221" y="29957"/>
                  </a:cubicBezTo>
                  <a:cubicBezTo>
                    <a:pt x="253221" y="29957"/>
                    <a:pt x="219661" y="33008"/>
                    <a:pt x="204407" y="23856"/>
                  </a:cubicBezTo>
                  <a:cubicBezTo>
                    <a:pt x="189153" y="14703"/>
                    <a:pt x="167797" y="-12755"/>
                    <a:pt x="125085" y="8601"/>
                  </a:cubicBezTo>
                  <a:cubicBezTo>
                    <a:pt x="125085" y="11652"/>
                    <a:pt x="97627" y="-9704"/>
                    <a:pt x="61017" y="5550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6" name="图形 1">
              <a:extLst>
                <a:ext uri="{FF2B5EF4-FFF2-40B4-BE49-F238E27FC236}">
                  <a16:creationId xmlns:a16="http://schemas.microsoft.com/office/drawing/2014/main" id="{8495C170-ED15-4BAB-9067-872304992027}"/>
                </a:ext>
              </a:extLst>
            </p:cNvPr>
            <p:cNvGrpSpPr/>
            <p:nvPr/>
          </p:nvGrpSpPr>
          <p:grpSpPr>
            <a:xfrm>
              <a:off x="14705255" y="2219007"/>
              <a:ext cx="57965" cy="137288"/>
              <a:chOff x="14705255" y="2219007"/>
              <a:chExt cx="57965" cy="137288"/>
            </a:xfrm>
          </p:grpSpPr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C0207B54-2738-421D-B7E7-E12967F75710}"/>
                  </a:ext>
                </a:extLst>
              </p:cNvPr>
              <p:cNvSpPr/>
              <p:nvPr/>
            </p:nvSpPr>
            <p:spPr>
              <a:xfrm>
                <a:off x="14711356" y="2225108"/>
                <a:ext cx="48813" cy="125505"/>
              </a:xfrm>
              <a:custGeom>
                <a:avLst/>
                <a:gdLst>
                  <a:gd name="connsiteX0" fmla="*/ 15254 w 48813"/>
                  <a:gd name="connsiteY0" fmla="*/ 0 h 125505"/>
                  <a:gd name="connsiteX1" fmla="*/ 0 w 48813"/>
                  <a:gd name="connsiteY1" fmla="*/ 112881 h 125505"/>
                  <a:gd name="connsiteX2" fmla="*/ 48814 w 48813"/>
                  <a:gd name="connsiteY2" fmla="*/ 122034 h 125505"/>
                  <a:gd name="connsiteX3" fmla="*/ 15254 w 48813"/>
                  <a:gd name="connsiteY3" fmla="*/ 0 h 12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" h="125505">
                    <a:moveTo>
                      <a:pt x="15254" y="0"/>
                    </a:moveTo>
                    <a:cubicBezTo>
                      <a:pt x="15254" y="0"/>
                      <a:pt x="0" y="91525"/>
                      <a:pt x="0" y="112881"/>
                    </a:cubicBezTo>
                    <a:cubicBezTo>
                      <a:pt x="0" y="134237"/>
                      <a:pt x="48814" y="122034"/>
                      <a:pt x="48814" y="122034"/>
                    </a:cubicBezTo>
                    <a:lnTo>
                      <a:pt x="15254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A587C6D4-8AFB-49CB-B17A-0CE675B3BD7A}"/>
                  </a:ext>
                </a:extLst>
              </p:cNvPr>
              <p:cNvSpPr/>
              <p:nvPr/>
            </p:nvSpPr>
            <p:spPr>
              <a:xfrm>
                <a:off x="14705255" y="2219007"/>
                <a:ext cx="57965" cy="137288"/>
              </a:xfrm>
              <a:custGeom>
                <a:avLst/>
                <a:gdLst>
                  <a:gd name="connsiteX0" fmla="*/ 30508 w 57965"/>
                  <a:gd name="connsiteY0" fmla="*/ 137288 h 137288"/>
                  <a:gd name="connsiteX1" fmla="*/ 6101 w 57965"/>
                  <a:gd name="connsiteY1" fmla="*/ 131186 h 137288"/>
                  <a:gd name="connsiteX2" fmla="*/ 0 w 57965"/>
                  <a:gd name="connsiteY2" fmla="*/ 118983 h 137288"/>
                  <a:gd name="connsiteX3" fmla="*/ 15254 w 57965"/>
                  <a:gd name="connsiteY3" fmla="*/ 6102 h 137288"/>
                  <a:gd name="connsiteX4" fmla="*/ 21355 w 57965"/>
                  <a:gd name="connsiteY4" fmla="*/ 0 h 137288"/>
                  <a:gd name="connsiteX5" fmla="*/ 27457 w 57965"/>
                  <a:gd name="connsiteY5" fmla="*/ 6102 h 137288"/>
                  <a:gd name="connsiteX6" fmla="*/ 12203 w 57965"/>
                  <a:gd name="connsiteY6" fmla="*/ 118983 h 137288"/>
                  <a:gd name="connsiteX7" fmla="*/ 12203 w 57965"/>
                  <a:gd name="connsiteY7" fmla="*/ 122034 h 137288"/>
                  <a:gd name="connsiteX8" fmla="*/ 51864 w 57965"/>
                  <a:gd name="connsiteY8" fmla="*/ 122034 h 137288"/>
                  <a:gd name="connsiteX9" fmla="*/ 57966 w 57965"/>
                  <a:gd name="connsiteY9" fmla="*/ 128136 h 137288"/>
                  <a:gd name="connsiteX10" fmla="*/ 51864 w 57965"/>
                  <a:gd name="connsiteY10" fmla="*/ 134237 h 137288"/>
                  <a:gd name="connsiteX11" fmla="*/ 30508 w 57965"/>
                  <a:gd name="connsiteY11" fmla="*/ 137288 h 137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7965" h="137288">
                    <a:moveTo>
                      <a:pt x="30508" y="137288"/>
                    </a:moveTo>
                    <a:cubicBezTo>
                      <a:pt x="21355" y="137288"/>
                      <a:pt x="12203" y="137288"/>
                      <a:pt x="6101" y="131186"/>
                    </a:cubicBezTo>
                    <a:cubicBezTo>
                      <a:pt x="3050" y="128136"/>
                      <a:pt x="0" y="125085"/>
                      <a:pt x="0" y="118983"/>
                    </a:cubicBezTo>
                    <a:cubicBezTo>
                      <a:pt x="0" y="97627"/>
                      <a:pt x="15254" y="9153"/>
                      <a:pt x="15254" y="6102"/>
                    </a:cubicBezTo>
                    <a:cubicBezTo>
                      <a:pt x="15254" y="3051"/>
                      <a:pt x="18304" y="0"/>
                      <a:pt x="21355" y="0"/>
                    </a:cubicBezTo>
                    <a:cubicBezTo>
                      <a:pt x="24406" y="0"/>
                      <a:pt x="27457" y="3051"/>
                      <a:pt x="27457" y="6102"/>
                    </a:cubicBezTo>
                    <a:cubicBezTo>
                      <a:pt x="27457" y="6102"/>
                      <a:pt x="12203" y="97627"/>
                      <a:pt x="12203" y="118983"/>
                    </a:cubicBezTo>
                    <a:cubicBezTo>
                      <a:pt x="12203" y="118983"/>
                      <a:pt x="12203" y="122034"/>
                      <a:pt x="12203" y="122034"/>
                    </a:cubicBezTo>
                    <a:cubicBezTo>
                      <a:pt x="18304" y="128136"/>
                      <a:pt x="39661" y="125085"/>
                      <a:pt x="51864" y="122034"/>
                    </a:cubicBezTo>
                    <a:cubicBezTo>
                      <a:pt x="54915" y="122034"/>
                      <a:pt x="57966" y="122034"/>
                      <a:pt x="57966" y="128136"/>
                    </a:cubicBezTo>
                    <a:cubicBezTo>
                      <a:pt x="57966" y="131186"/>
                      <a:pt x="57966" y="134237"/>
                      <a:pt x="51864" y="134237"/>
                    </a:cubicBezTo>
                    <a:cubicBezTo>
                      <a:pt x="48813" y="137288"/>
                      <a:pt x="39661" y="137288"/>
                      <a:pt x="30508" y="1372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AD4F6BDA-BD13-4C9F-A359-96331CCD75AF}"/>
                </a:ext>
              </a:extLst>
            </p:cNvPr>
            <p:cNvSpPr/>
            <p:nvPr/>
          </p:nvSpPr>
          <p:spPr>
            <a:xfrm>
              <a:off x="14040170" y="4107481"/>
              <a:ext cx="1446101" cy="485206"/>
            </a:xfrm>
            <a:custGeom>
              <a:avLst/>
              <a:gdLst>
                <a:gd name="connsiteX0" fmla="*/ 216610 w 1446101"/>
                <a:gd name="connsiteY0" fmla="*/ 27458 h 485206"/>
                <a:gd name="connsiteX1" fmla="*/ 0 w 1446101"/>
                <a:gd name="connsiteY1" fmla="*/ 442373 h 485206"/>
                <a:gd name="connsiteX2" fmla="*/ 1446102 w 1446101"/>
                <a:gd name="connsiteY2" fmla="*/ 402712 h 485206"/>
                <a:gd name="connsiteX3" fmla="*/ 1287458 w 1446101"/>
                <a:gd name="connsiteY3" fmla="*/ 0 h 485206"/>
                <a:gd name="connsiteX4" fmla="*/ 216610 w 1446101"/>
                <a:gd name="connsiteY4" fmla="*/ 27458 h 485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6101" h="485206">
                  <a:moveTo>
                    <a:pt x="216610" y="27458"/>
                  </a:moveTo>
                  <a:lnTo>
                    <a:pt x="0" y="442373"/>
                  </a:lnTo>
                  <a:cubicBezTo>
                    <a:pt x="0" y="442373"/>
                    <a:pt x="1086102" y="561356"/>
                    <a:pt x="1446102" y="402712"/>
                  </a:cubicBezTo>
                  <a:lnTo>
                    <a:pt x="1287458" y="0"/>
                  </a:lnTo>
                  <a:lnTo>
                    <a:pt x="216610" y="27458"/>
                  </a:ln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D517C9AF-B47D-4C00-B053-73475150A570}"/>
                </a:ext>
              </a:extLst>
            </p:cNvPr>
            <p:cNvSpPr/>
            <p:nvPr/>
          </p:nvSpPr>
          <p:spPr>
            <a:xfrm>
              <a:off x="13103268" y="3212047"/>
              <a:ext cx="151071" cy="286506"/>
            </a:xfrm>
            <a:custGeom>
              <a:avLst/>
              <a:gdLst>
                <a:gd name="connsiteX0" fmla="*/ 61309 w 151071"/>
                <a:gd name="connsiteY0" fmla="*/ 25943 h 286506"/>
                <a:gd name="connsiteX1" fmla="*/ 292 w 151071"/>
                <a:gd name="connsiteY1" fmla="*/ 236452 h 286506"/>
                <a:gd name="connsiteX2" fmla="*/ 91817 w 151071"/>
                <a:gd name="connsiteY2" fmla="*/ 248655 h 286506"/>
                <a:gd name="connsiteX3" fmla="*/ 146732 w 151071"/>
                <a:gd name="connsiteY3" fmla="*/ 59502 h 286506"/>
                <a:gd name="connsiteX4" fmla="*/ 61309 w 151071"/>
                <a:gd name="connsiteY4" fmla="*/ 25943 h 286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071" h="286506">
                  <a:moveTo>
                    <a:pt x="61309" y="25943"/>
                  </a:moveTo>
                  <a:cubicBezTo>
                    <a:pt x="27749" y="93062"/>
                    <a:pt x="6393" y="163231"/>
                    <a:pt x="292" y="236452"/>
                  </a:cubicBezTo>
                  <a:cubicBezTo>
                    <a:pt x="-5810" y="294418"/>
                    <a:pt x="85715" y="306621"/>
                    <a:pt x="91817" y="248655"/>
                  </a:cubicBezTo>
                  <a:cubicBezTo>
                    <a:pt x="97918" y="181536"/>
                    <a:pt x="119275" y="120519"/>
                    <a:pt x="146732" y="59502"/>
                  </a:cubicBezTo>
                  <a:cubicBezTo>
                    <a:pt x="171139" y="7638"/>
                    <a:pt x="85715" y="-25921"/>
                    <a:pt x="61309" y="25943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31596317-1358-4285-B5D0-58B8189DDF86}"/>
                </a:ext>
              </a:extLst>
            </p:cNvPr>
            <p:cNvSpPr/>
            <p:nvPr/>
          </p:nvSpPr>
          <p:spPr>
            <a:xfrm>
              <a:off x="13999746" y="2652468"/>
              <a:ext cx="1512298" cy="1979920"/>
            </a:xfrm>
            <a:custGeom>
              <a:avLst/>
              <a:gdLst>
                <a:gd name="connsiteX0" fmla="*/ 1456017 w 1512298"/>
                <a:gd name="connsiteY0" fmla="*/ 1793658 h 1979920"/>
                <a:gd name="connsiteX1" fmla="*/ 437034 w 1512298"/>
                <a:gd name="connsiteY1" fmla="*/ 1866878 h 1979920"/>
                <a:gd name="connsiteX2" fmla="*/ 501102 w 1512298"/>
                <a:gd name="connsiteY2" fmla="*/ 1509929 h 1979920"/>
                <a:gd name="connsiteX3" fmla="*/ 504153 w 1512298"/>
                <a:gd name="connsiteY3" fmla="*/ 1497726 h 1979920"/>
                <a:gd name="connsiteX4" fmla="*/ 507204 w 1512298"/>
                <a:gd name="connsiteY4" fmla="*/ 1451963 h 1979920"/>
                <a:gd name="connsiteX5" fmla="*/ 415678 w 1512298"/>
                <a:gd name="connsiteY5" fmla="*/ 744166 h 1979920"/>
                <a:gd name="connsiteX6" fmla="*/ 681101 w 1512298"/>
                <a:gd name="connsiteY6" fmla="*/ 69929 h 1979920"/>
                <a:gd name="connsiteX7" fmla="*/ 601779 w 1512298"/>
                <a:gd name="connsiteY7" fmla="*/ 24166 h 1979920"/>
                <a:gd name="connsiteX8" fmla="*/ 321102 w 1512298"/>
                <a:gd name="connsiteY8" fmla="*/ 747217 h 1979920"/>
                <a:gd name="connsiteX9" fmla="*/ 415678 w 1512298"/>
                <a:gd name="connsiteY9" fmla="*/ 1476370 h 1979920"/>
                <a:gd name="connsiteX10" fmla="*/ 342457 w 1512298"/>
                <a:gd name="connsiteY10" fmla="*/ 1863827 h 1979920"/>
                <a:gd name="connsiteX11" fmla="*/ 43474 w 1512298"/>
                <a:gd name="connsiteY11" fmla="*/ 1842471 h 1979920"/>
                <a:gd name="connsiteX12" fmla="*/ 43474 w 1512298"/>
                <a:gd name="connsiteY12" fmla="*/ 1933997 h 1979920"/>
                <a:gd name="connsiteX13" fmla="*/ 1474322 w 1512298"/>
                <a:gd name="connsiteY13" fmla="*/ 1885183 h 1979920"/>
                <a:gd name="connsiteX14" fmla="*/ 1456017 w 1512298"/>
                <a:gd name="connsiteY14" fmla="*/ 1793658 h 197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12298" h="1979920">
                  <a:moveTo>
                    <a:pt x="1456017" y="1793658"/>
                  </a:moveTo>
                  <a:cubicBezTo>
                    <a:pt x="1132627" y="1903488"/>
                    <a:pt x="781780" y="1891285"/>
                    <a:pt x="437034" y="1866878"/>
                  </a:cubicBezTo>
                  <a:cubicBezTo>
                    <a:pt x="437034" y="1744844"/>
                    <a:pt x="449237" y="1622810"/>
                    <a:pt x="501102" y="1509929"/>
                  </a:cubicBezTo>
                  <a:cubicBezTo>
                    <a:pt x="504153" y="1503827"/>
                    <a:pt x="504153" y="1500777"/>
                    <a:pt x="504153" y="1497726"/>
                  </a:cubicBezTo>
                  <a:cubicBezTo>
                    <a:pt x="513305" y="1485522"/>
                    <a:pt x="516356" y="1467217"/>
                    <a:pt x="507204" y="1451963"/>
                  </a:cubicBezTo>
                  <a:cubicBezTo>
                    <a:pt x="409576" y="1247556"/>
                    <a:pt x="400424" y="966878"/>
                    <a:pt x="415678" y="744166"/>
                  </a:cubicBezTo>
                  <a:cubicBezTo>
                    <a:pt x="433983" y="484844"/>
                    <a:pt x="580424" y="295692"/>
                    <a:pt x="681101" y="69929"/>
                  </a:cubicBezTo>
                  <a:cubicBezTo>
                    <a:pt x="705509" y="18065"/>
                    <a:pt x="626187" y="-30749"/>
                    <a:pt x="601779" y="24166"/>
                  </a:cubicBezTo>
                  <a:cubicBezTo>
                    <a:pt x="491949" y="268234"/>
                    <a:pt x="339407" y="469590"/>
                    <a:pt x="321102" y="747217"/>
                  </a:cubicBezTo>
                  <a:cubicBezTo>
                    <a:pt x="305848" y="979082"/>
                    <a:pt x="318051" y="1259760"/>
                    <a:pt x="415678" y="1476370"/>
                  </a:cubicBezTo>
                  <a:cubicBezTo>
                    <a:pt x="360762" y="1598404"/>
                    <a:pt x="345508" y="1729590"/>
                    <a:pt x="342457" y="1863827"/>
                  </a:cubicBezTo>
                  <a:cubicBezTo>
                    <a:pt x="241780" y="1854675"/>
                    <a:pt x="141102" y="1848573"/>
                    <a:pt x="43474" y="1842471"/>
                  </a:cubicBezTo>
                  <a:cubicBezTo>
                    <a:pt x="-14491" y="1839421"/>
                    <a:pt x="-14491" y="1930946"/>
                    <a:pt x="43474" y="1933997"/>
                  </a:cubicBezTo>
                  <a:cubicBezTo>
                    <a:pt x="513305" y="1961454"/>
                    <a:pt x="1019746" y="2043827"/>
                    <a:pt x="1474322" y="1885183"/>
                  </a:cubicBezTo>
                  <a:cubicBezTo>
                    <a:pt x="1538390" y="1860777"/>
                    <a:pt x="1513983" y="1772302"/>
                    <a:pt x="1456017" y="1793658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143B02BE-56EC-4CC9-991F-D0E4E716CB37}"/>
                </a:ext>
              </a:extLst>
            </p:cNvPr>
            <p:cNvSpPr/>
            <p:nvPr/>
          </p:nvSpPr>
          <p:spPr>
            <a:xfrm>
              <a:off x="14206908" y="4025108"/>
              <a:ext cx="1141078" cy="179846"/>
            </a:xfrm>
            <a:custGeom>
              <a:avLst/>
              <a:gdLst>
                <a:gd name="connsiteX0" fmla="*/ 19364 w 1141078"/>
                <a:gd name="connsiteY0" fmla="*/ 170847 h 179846"/>
                <a:gd name="connsiteX1" fmla="*/ 1129872 w 1141078"/>
                <a:gd name="connsiteY1" fmla="*/ 112881 h 179846"/>
                <a:gd name="connsiteX2" fmla="*/ 1120720 w 1141078"/>
                <a:gd name="connsiteY2" fmla="*/ 0 h 179846"/>
                <a:gd name="connsiteX3" fmla="*/ 10212 w 1141078"/>
                <a:gd name="connsiteY3" fmla="*/ 70169 h 179846"/>
                <a:gd name="connsiteX4" fmla="*/ 19364 w 1141078"/>
                <a:gd name="connsiteY4" fmla="*/ 170847 h 17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1078" h="179846">
                  <a:moveTo>
                    <a:pt x="19364" y="170847"/>
                  </a:moveTo>
                  <a:cubicBezTo>
                    <a:pt x="19364" y="170847"/>
                    <a:pt x="809533" y="213559"/>
                    <a:pt x="1129872" y="112881"/>
                  </a:cubicBezTo>
                  <a:cubicBezTo>
                    <a:pt x="1129872" y="112881"/>
                    <a:pt x="1160381" y="42712"/>
                    <a:pt x="1120720" y="0"/>
                  </a:cubicBezTo>
                  <a:cubicBezTo>
                    <a:pt x="855296" y="88474"/>
                    <a:pt x="391568" y="85424"/>
                    <a:pt x="10212" y="70169"/>
                  </a:cubicBezTo>
                  <a:cubicBezTo>
                    <a:pt x="-17246" y="125085"/>
                    <a:pt x="19364" y="170847"/>
                    <a:pt x="19364" y="170847"/>
                  </a:cubicBezTo>
                  <a:close/>
                </a:path>
              </a:pathLst>
            </a:custGeom>
            <a:solidFill>
              <a:srgbClr val="6C5D68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1" name="图形 1">
              <a:extLst>
                <a:ext uri="{FF2B5EF4-FFF2-40B4-BE49-F238E27FC236}">
                  <a16:creationId xmlns:a16="http://schemas.microsoft.com/office/drawing/2014/main" id="{1DA5AF56-7C08-4A63-B90F-DA31980F28FF}"/>
                </a:ext>
              </a:extLst>
            </p:cNvPr>
            <p:cNvGrpSpPr/>
            <p:nvPr/>
          </p:nvGrpSpPr>
          <p:grpSpPr>
            <a:xfrm>
              <a:off x="14351357" y="4061719"/>
              <a:ext cx="216610" cy="164745"/>
              <a:chOff x="14351357" y="4061719"/>
              <a:chExt cx="216610" cy="164745"/>
            </a:xfrm>
          </p:grpSpPr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C60255D1-D2BF-4D79-80EB-567D859E44CA}"/>
                  </a:ext>
                </a:extLst>
              </p:cNvPr>
              <p:cNvSpPr/>
              <p:nvPr/>
            </p:nvSpPr>
            <p:spPr>
              <a:xfrm>
                <a:off x="14351357" y="4061719"/>
                <a:ext cx="216610" cy="164745"/>
              </a:xfrm>
              <a:custGeom>
                <a:avLst/>
                <a:gdLst>
                  <a:gd name="connsiteX0" fmla="*/ 21355 w 216610"/>
                  <a:gd name="connsiteY0" fmla="*/ 164746 h 164745"/>
                  <a:gd name="connsiteX1" fmla="*/ 195254 w 216610"/>
                  <a:gd name="connsiteY1" fmla="*/ 164746 h 164745"/>
                  <a:gd name="connsiteX2" fmla="*/ 216610 w 216610"/>
                  <a:gd name="connsiteY2" fmla="*/ 143390 h 164745"/>
                  <a:gd name="connsiteX3" fmla="*/ 216610 w 216610"/>
                  <a:gd name="connsiteY3" fmla="*/ 21356 h 164745"/>
                  <a:gd name="connsiteX4" fmla="*/ 195254 w 216610"/>
                  <a:gd name="connsiteY4" fmla="*/ 0 h 164745"/>
                  <a:gd name="connsiteX5" fmla="*/ 21355 w 216610"/>
                  <a:gd name="connsiteY5" fmla="*/ 0 h 164745"/>
                  <a:gd name="connsiteX6" fmla="*/ 0 w 216610"/>
                  <a:gd name="connsiteY6" fmla="*/ 21356 h 164745"/>
                  <a:gd name="connsiteX7" fmla="*/ 0 w 216610"/>
                  <a:gd name="connsiteY7" fmla="*/ 143390 h 164745"/>
                  <a:gd name="connsiteX8" fmla="*/ 21355 w 216610"/>
                  <a:gd name="connsiteY8" fmla="*/ 164746 h 164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6610" h="164745">
                    <a:moveTo>
                      <a:pt x="21355" y="164746"/>
                    </a:moveTo>
                    <a:lnTo>
                      <a:pt x="195254" y="164746"/>
                    </a:lnTo>
                    <a:cubicBezTo>
                      <a:pt x="207457" y="164746"/>
                      <a:pt x="216610" y="155593"/>
                      <a:pt x="216610" y="143390"/>
                    </a:cubicBezTo>
                    <a:lnTo>
                      <a:pt x="216610" y="21356"/>
                    </a:lnTo>
                    <a:cubicBezTo>
                      <a:pt x="216610" y="9153"/>
                      <a:pt x="207457" y="0"/>
                      <a:pt x="195254" y="0"/>
                    </a:cubicBezTo>
                    <a:lnTo>
                      <a:pt x="21355" y="0"/>
                    </a:lnTo>
                    <a:cubicBezTo>
                      <a:pt x="9152" y="0"/>
                      <a:pt x="0" y="9153"/>
                      <a:pt x="0" y="21356"/>
                    </a:cubicBezTo>
                    <a:lnTo>
                      <a:pt x="0" y="143390"/>
                    </a:lnTo>
                    <a:cubicBezTo>
                      <a:pt x="0" y="155593"/>
                      <a:pt x="9152" y="164746"/>
                      <a:pt x="21355" y="16474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5F27D8AC-F034-4F73-B326-CCBDDE4DFC09}"/>
                  </a:ext>
                </a:extLst>
              </p:cNvPr>
              <p:cNvSpPr/>
              <p:nvPr/>
            </p:nvSpPr>
            <p:spPr>
              <a:xfrm>
                <a:off x="14378814" y="4086125"/>
                <a:ext cx="158644" cy="118982"/>
              </a:xfrm>
              <a:custGeom>
                <a:avLst/>
                <a:gdLst>
                  <a:gd name="connsiteX0" fmla="*/ 15254 w 158644"/>
                  <a:gd name="connsiteY0" fmla="*/ 118983 h 118982"/>
                  <a:gd name="connsiteX1" fmla="*/ 143390 w 158644"/>
                  <a:gd name="connsiteY1" fmla="*/ 118983 h 118982"/>
                  <a:gd name="connsiteX2" fmla="*/ 158644 w 158644"/>
                  <a:gd name="connsiteY2" fmla="*/ 103729 h 118982"/>
                  <a:gd name="connsiteX3" fmla="*/ 158644 w 158644"/>
                  <a:gd name="connsiteY3" fmla="*/ 15254 h 118982"/>
                  <a:gd name="connsiteX4" fmla="*/ 143390 w 158644"/>
                  <a:gd name="connsiteY4" fmla="*/ 0 h 118982"/>
                  <a:gd name="connsiteX5" fmla="*/ 15254 w 158644"/>
                  <a:gd name="connsiteY5" fmla="*/ 0 h 118982"/>
                  <a:gd name="connsiteX6" fmla="*/ 0 w 158644"/>
                  <a:gd name="connsiteY6" fmla="*/ 15254 h 118982"/>
                  <a:gd name="connsiteX7" fmla="*/ 0 w 158644"/>
                  <a:gd name="connsiteY7" fmla="*/ 103729 h 118982"/>
                  <a:gd name="connsiteX8" fmla="*/ 15254 w 158644"/>
                  <a:gd name="connsiteY8" fmla="*/ 118983 h 118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8644" h="118982">
                    <a:moveTo>
                      <a:pt x="15254" y="118983"/>
                    </a:moveTo>
                    <a:lnTo>
                      <a:pt x="143390" y="118983"/>
                    </a:lnTo>
                    <a:cubicBezTo>
                      <a:pt x="152542" y="118983"/>
                      <a:pt x="158644" y="112881"/>
                      <a:pt x="158644" y="103729"/>
                    </a:cubicBezTo>
                    <a:lnTo>
                      <a:pt x="158644" y="15254"/>
                    </a:lnTo>
                    <a:cubicBezTo>
                      <a:pt x="158644" y="6102"/>
                      <a:pt x="152542" y="0"/>
                      <a:pt x="143390" y="0"/>
                    </a:cubicBezTo>
                    <a:lnTo>
                      <a:pt x="15254" y="0"/>
                    </a:lnTo>
                    <a:cubicBezTo>
                      <a:pt x="6102" y="0"/>
                      <a:pt x="0" y="6102"/>
                      <a:pt x="0" y="15254"/>
                    </a:cubicBezTo>
                    <a:lnTo>
                      <a:pt x="0" y="103729"/>
                    </a:lnTo>
                    <a:cubicBezTo>
                      <a:pt x="0" y="112881"/>
                      <a:pt x="6102" y="118983"/>
                      <a:pt x="15254" y="11898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2" name="图形 1">
              <a:extLst>
                <a:ext uri="{FF2B5EF4-FFF2-40B4-BE49-F238E27FC236}">
                  <a16:creationId xmlns:a16="http://schemas.microsoft.com/office/drawing/2014/main" id="{1591823C-525A-410B-B226-C5651A5DEB20}"/>
                </a:ext>
              </a:extLst>
            </p:cNvPr>
            <p:cNvGrpSpPr/>
            <p:nvPr/>
          </p:nvGrpSpPr>
          <p:grpSpPr>
            <a:xfrm>
              <a:off x="12973869" y="3247592"/>
              <a:ext cx="155254" cy="118610"/>
              <a:chOff x="12973869" y="3247592"/>
              <a:chExt cx="155254" cy="118610"/>
            </a:xfrm>
          </p:grpSpPr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E5A78A95-1974-4111-BD21-AD31B535BD0B}"/>
                  </a:ext>
                </a:extLst>
              </p:cNvPr>
              <p:cNvSpPr/>
              <p:nvPr/>
            </p:nvSpPr>
            <p:spPr>
              <a:xfrm>
                <a:off x="12982792" y="3254627"/>
                <a:ext cx="146331" cy="111575"/>
              </a:xfrm>
              <a:custGeom>
                <a:avLst/>
                <a:gdLst>
                  <a:gd name="connsiteX0" fmla="*/ 7887 w 146331"/>
                  <a:gd name="connsiteY0" fmla="*/ 90142 h 111575"/>
                  <a:gd name="connsiteX1" fmla="*/ 32293 w 146331"/>
                  <a:gd name="connsiteY1" fmla="*/ 74888 h 111575"/>
                  <a:gd name="connsiteX2" fmla="*/ 96361 w 146331"/>
                  <a:gd name="connsiteY2" fmla="*/ 62684 h 111575"/>
                  <a:gd name="connsiteX3" fmla="*/ 129920 w 146331"/>
                  <a:gd name="connsiteY3" fmla="*/ 111498 h 111575"/>
                  <a:gd name="connsiteX4" fmla="*/ 139073 w 146331"/>
                  <a:gd name="connsiteY4" fmla="*/ 16922 h 111575"/>
                  <a:gd name="connsiteX5" fmla="*/ 26192 w 146331"/>
                  <a:gd name="connsiteY5" fmla="*/ 13871 h 111575"/>
                  <a:gd name="connsiteX6" fmla="*/ 7887 w 146331"/>
                  <a:gd name="connsiteY6" fmla="*/ 90142 h 111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6331" h="111575">
                    <a:moveTo>
                      <a:pt x="7887" y="90142"/>
                    </a:moveTo>
                    <a:cubicBezTo>
                      <a:pt x="17039" y="96244"/>
                      <a:pt x="26192" y="77939"/>
                      <a:pt x="32293" y="74888"/>
                    </a:cubicBezTo>
                    <a:cubicBezTo>
                      <a:pt x="53649" y="62684"/>
                      <a:pt x="71955" y="53532"/>
                      <a:pt x="96361" y="62684"/>
                    </a:cubicBezTo>
                    <a:cubicBezTo>
                      <a:pt x="111615" y="65735"/>
                      <a:pt x="87209" y="96244"/>
                      <a:pt x="129920" y="111498"/>
                    </a:cubicBezTo>
                    <a:cubicBezTo>
                      <a:pt x="136023" y="114549"/>
                      <a:pt x="157378" y="26074"/>
                      <a:pt x="139073" y="16922"/>
                    </a:cubicBezTo>
                    <a:cubicBezTo>
                      <a:pt x="111615" y="1667"/>
                      <a:pt x="56700" y="-10536"/>
                      <a:pt x="26192" y="13871"/>
                    </a:cubicBezTo>
                    <a:cubicBezTo>
                      <a:pt x="13989" y="19973"/>
                      <a:pt x="-13470" y="74888"/>
                      <a:pt x="7887" y="90142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49B2A73F-1790-4DE5-B618-DE4073F4F179}"/>
                  </a:ext>
                </a:extLst>
              </p:cNvPr>
              <p:cNvSpPr/>
              <p:nvPr/>
            </p:nvSpPr>
            <p:spPr>
              <a:xfrm>
                <a:off x="12973869" y="3247592"/>
                <a:ext cx="154097" cy="118533"/>
              </a:xfrm>
              <a:custGeom>
                <a:avLst/>
                <a:gdLst>
                  <a:gd name="connsiteX0" fmla="*/ 126640 w 154097"/>
                  <a:gd name="connsiteY0" fmla="*/ 118534 h 118533"/>
                  <a:gd name="connsiteX1" fmla="*/ 126640 w 154097"/>
                  <a:gd name="connsiteY1" fmla="*/ 118534 h 118533"/>
                  <a:gd name="connsiteX2" fmla="*/ 99183 w 154097"/>
                  <a:gd name="connsiteY2" fmla="*/ 72771 h 118533"/>
                  <a:gd name="connsiteX3" fmla="*/ 41216 w 154097"/>
                  <a:gd name="connsiteY3" fmla="*/ 91076 h 118533"/>
                  <a:gd name="connsiteX4" fmla="*/ 13758 w 154097"/>
                  <a:gd name="connsiteY4" fmla="*/ 103279 h 118533"/>
                  <a:gd name="connsiteX5" fmla="*/ 1555 w 154097"/>
                  <a:gd name="connsiteY5" fmla="*/ 91076 h 118533"/>
                  <a:gd name="connsiteX6" fmla="*/ 32063 w 154097"/>
                  <a:gd name="connsiteY6" fmla="*/ 14805 h 118533"/>
                  <a:gd name="connsiteX7" fmla="*/ 151046 w 154097"/>
                  <a:gd name="connsiteY7" fmla="*/ 17856 h 118533"/>
                  <a:gd name="connsiteX8" fmla="*/ 154097 w 154097"/>
                  <a:gd name="connsiteY8" fmla="*/ 23957 h 118533"/>
                  <a:gd name="connsiteX9" fmla="*/ 147995 w 154097"/>
                  <a:gd name="connsiteY9" fmla="*/ 27008 h 118533"/>
                  <a:gd name="connsiteX10" fmla="*/ 44267 w 154097"/>
                  <a:gd name="connsiteY10" fmla="*/ 20906 h 118533"/>
                  <a:gd name="connsiteX11" fmla="*/ 16809 w 154097"/>
                  <a:gd name="connsiteY11" fmla="*/ 88025 h 118533"/>
                  <a:gd name="connsiteX12" fmla="*/ 19860 w 154097"/>
                  <a:gd name="connsiteY12" fmla="*/ 94127 h 118533"/>
                  <a:gd name="connsiteX13" fmla="*/ 38166 w 154097"/>
                  <a:gd name="connsiteY13" fmla="*/ 84974 h 118533"/>
                  <a:gd name="connsiteX14" fmla="*/ 108335 w 154097"/>
                  <a:gd name="connsiteY14" fmla="*/ 66669 h 118533"/>
                  <a:gd name="connsiteX15" fmla="*/ 111386 w 154097"/>
                  <a:gd name="connsiteY15" fmla="*/ 66669 h 118533"/>
                  <a:gd name="connsiteX16" fmla="*/ 111386 w 154097"/>
                  <a:gd name="connsiteY16" fmla="*/ 69720 h 118533"/>
                  <a:gd name="connsiteX17" fmla="*/ 132741 w 154097"/>
                  <a:gd name="connsiteY17" fmla="*/ 109381 h 118533"/>
                  <a:gd name="connsiteX18" fmla="*/ 135792 w 154097"/>
                  <a:gd name="connsiteY18" fmla="*/ 118534 h 118533"/>
                  <a:gd name="connsiteX19" fmla="*/ 126640 w 154097"/>
                  <a:gd name="connsiteY19" fmla="*/ 118534 h 118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54097" h="118533">
                    <a:moveTo>
                      <a:pt x="126640" y="118534"/>
                    </a:moveTo>
                    <a:cubicBezTo>
                      <a:pt x="126640" y="118534"/>
                      <a:pt x="126640" y="118534"/>
                      <a:pt x="126640" y="118534"/>
                    </a:cubicBezTo>
                    <a:cubicBezTo>
                      <a:pt x="105284" y="106330"/>
                      <a:pt x="99183" y="81923"/>
                      <a:pt x="99183" y="72771"/>
                    </a:cubicBezTo>
                    <a:cubicBezTo>
                      <a:pt x="74775" y="66669"/>
                      <a:pt x="56470" y="78873"/>
                      <a:pt x="41216" y="91076"/>
                    </a:cubicBezTo>
                    <a:cubicBezTo>
                      <a:pt x="32063" y="100228"/>
                      <a:pt x="22911" y="106330"/>
                      <a:pt x="13758" y="103279"/>
                    </a:cubicBezTo>
                    <a:cubicBezTo>
                      <a:pt x="7657" y="100228"/>
                      <a:pt x="4606" y="97178"/>
                      <a:pt x="1555" y="91076"/>
                    </a:cubicBezTo>
                    <a:cubicBezTo>
                      <a:pt x="-4547" y="72771"/>
                      <a:pt x="7657" y="39211"/>
                      <a:pt x="32063" y="14805"/>
                    </a:cubicBezTo>
                    <a:cubicBezTo>
                      <a:pt x="65623" y="-18755"/>
                      <a:pt x="144945" y="14805"/>
                      <a:pt x="151046" y="17856"/>
                    </a:cubicBezTo>
                    <a:cubicBezTo>
                      <a:pt x="154097" y="17856"/>
                      <a:pt x="154097" y="23957"/>
                      <a:pt x="154097" y="23957"/>
                    </a:cubicBezTo>
                    <a:cubicBezTo>
                      <a:pt x="154097" y="27008"/>
                      <a:pt x="147995" y="27008"/>
                      <a:pt x="147995" y="27008"/>
                    </a:cubicBezTo>
                    <a:cubicBezTo>
                      <a:pt x="147995" y="27008"/>
                      <a:pt x="71724" y="-6551"/>
                      <a:pt x="44267" y="20906"/>
                    </a:cubicBezTo>
                    <a:cubicBezTo>
                      <a:pt x="22911" y="42262"/>
                      <a:pt x="13758" y="72771"/>
                      <a:pt x="16809" y="88025"/>
                    </a:cubicBezTo>
                    <a:cubicBezTo>
                      <a:pt x="16809" y="94127"/>
                      <a:pt x="19860" y="94127"/>
                      <a:pt x="19860" y="94127"/>
                    </a:cubicBezTo>
                    <a:cubicBezTo>
                      <a:pt x="22911" y="94127"/>
                      <a:pt x="32063" y="91076"/>
                      <a:pt x="38166" y="84974"/>
                    </a:cubicBezTo>
                    <a:cubicBezTo>
                      <a:pt x="53420" y="72771"/>
                      <a:pt x="77826" y="54466"/>
                      <a:pt x="108335" y="66669"/>
                    </a:cubicBezTo>
                    <a:lnTo>
                      <a:pt x="111386" y="66669"/>
                    </a:lnTo>
                    <a:lnTo>
                      <a:pt x="111386" y="69720"/>
                    </a:lnTo>
                    <a:cubicBezTo>
                      <a:pt x="111386" y="69720"/>
                      <a:pt x="114437" y="100228"/>
                      <a:pt x="132741" y="109381"/>
                    </a:cubicBezTo>
                    <a:cubicBezTo>
                      <a:pt x="135792" y="112432"/>
                      <a:pt x="135792" y="115483"/>
                      <a:pt x="135792" y="118534"/>
                    </a:cubicBezTo>
                    <a:cubicBezTo>
                      <a:pt x="129691" y="118534"/>
                      <a:pt x="129691" y="118534"/>
                      <a:pt x="126640" y="11853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91C6CD80-4E6F-44CB-A5C9-BBE1143D381A}"/>
                </a:ext>
              </a:extLst>
            </p:cNvPr>
            <p:cNvSpPr/>
            <p:nvPr/>
          </p:nvSpPr>
          <p:spPr>
            <a:xfrm>
              <a:off x="13996469" y="2684092"/>
              <a:ext cx="1273061" cy="1139958"/>
            </a:xfrm>
            <a:custGeom>
              <a:avLst/>
              <a:gdLst>
                <a:gd name="connsiteX0" fmla="*/ 1196922 w 1273061"/>
                <a:gd name="connsiteY0" fmla="*/ 7797 h 1139958"/>
                <a:gd name="connsiteX1" fmla="*/ 800311 w 1273061"/>
                <a:gd name="connsiteY1" fmla="*/ 340339 h 1139958"/>
                <a:gd name="connsiteX2" fmla="*/ 595904 w 1273061"/>
                <a:gd name="connsiteY2" fmla="*/ 755254 h 1139958"/>
                <a:gd name="connsiteX3" fmla="*/ 25395 w 1273061"/>
                <a:gd name="connsiteY3" fmla="*/ 849830 h 1139958"/>
                <a:gd name="connsiteX4" fmla="*/ 4040 w 1273061"/>
                <a:gd name="connsiteY4" fmla="*/ 1051187 h 1139958"/>
                <a:gd name="connsiteX5" fmla="*/ 785057 w 1273061"/>
                <a:gd name="connsiteY5" fmla="*/ 1075593 h 1139958"/>
                <a:gd name="connsiteX6" fmla="*/ 1196922 w 1273061"/>
                <a:gd name="connsiteY6" fmla="*/ 7797 h 113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3061" h="1139958">
                  <a:moveTo>
                    <a:pt x="1196922" y="7797"/>
                  </a:moveTo>
                  <a:cubicBezTo>
                    <a:pt x="1074888" y="-50170"/>
                    <a:pt x="864379" y="230508"/>
                    <a:pt x="800311" y="340339"/>
                  </a:cubicBezTo>
                  <a:cubicBezTo>
                    <a:pt x="742345" y="441017"/>
                    <a:pt x="595904" y="755254"/>
                    <a:pt x="595904" y="755254"/>
                  </a:cubicBezTo>
                  <a:cubicBezTo>
                    <a:pt x="595904" y="755254"/>
                    <a:pt x="132175" y="752203"/>
                    <a:pt x="25395" y="849830"/>
                  </a:cubicBezTo>
                  <a:cubicBezTo>
                    <a:pt x="989" y="898644"/>
                    <a:pt x="-5113" y="971864"/>
                    <a:pt x="4040" y="1051187"/>
                  </a:cubicBezTo>
                  <a:cubicBezTo>
                    <a:pt x="80311" y="1200678"/>
                    <a:pt x="669124" y="1127458"/>
                    <a:pt x="785057" y="1075593"/>
                  </a:cubicBezTo>
                  <a:cubicBezTo>
                    <a:pt x="913192" y="1020678"/>
                    <a:pt x="1474548" y="135932"/>
                    <a:pt x="1196922" y="7797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031AB18F-C62C-4586-948E-3B86DCF2631B}"/>
                </a:ext>
              </a:extLst>
            </p:cNvPr>
            <p:cNvSpPr/>
            <p:nvPr/>
          </p:nvSpPr>
          <p:spPr>
            <a:xfrm>
              <a:off x="14586271" y="2686069"/>
              <a:ext cx="671186" cy="762429"/>
            </a:xfrm>
            <a:custGeom>
              <a:avLst/>
              <a:gdLst>
                <a:gd name="connsiteX0" fmla="*/ 6102 w 671186"/>
                <a:gd name="connsiteY0" fmla="*/ 762430 h 762429"/>
                <a:gd name="connsiteX1" fmla="*/ 6102 w 671186"/>
                <a:gd name="connsiteY1" fmla="*/ 762430 h 762429"/>
                <a:gd name="connsiteX2" fmla="*/ 0 w 671186"/>
                <a:gd name="connsiteY2" fmla="*/ 753277 h 762429"/>
                <a:gd name="connsiteX3" fmla="*/ 451526 w 671186"/>
                <a:gd name="connsiteY3" fmla="*/ 45480 h 762429"/>
                <a:gd name="connsiteX4" fmla="*/ 610170 w 671186"/>
                <a:gd name="connsiteY4" fmla="*/ 5819 h 762429"/>
                <a:gd name="connsiteX5" fmla="*/ 671186 w 671186"/>
                <a:gd name="connsiteY5" fmla="*/ 57684 h 762429"/>
                <a:gd name="connsiteX6" fmla="*/ 668136 w 671186"/>
                <a:gd name="connsiteY6" fmla="*/ 63786 h 762429"/>
                <a:gd name="connsiteX7" fmla="*/ 662034 w 671186"/>
                <a:gd name="connsiteY7" fmla="*/ 60735 h 762429"/>
                <a:gd name="connsiteX8" fmla="*/ 607119 w 671186"/>
                <a:gd name="connsiteY8" fmla="*/ 14972 h 762429"/>
                <a:gd name="connsiteX9" fmla="*/ 457627 w 671186"/>
                <a:gd name="connsiteY9" fmla="*/ 54633 h 762429"/>
                <a:gd name="connsiteX10" fmla="*/ 9153 w 671186"/>
                <a:gd name="connsiteY10" fmla="*/ 759379 h 762429"/>
                <a:gd name="connsiteX11" fmla="*/ 6102 w 671186"/>
                <a:gd name="connsiteY11" fmla="*/ 762430 h 762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71186" h="762429">
                  <a:moveTo>
                    <a:pt x="6102" y="762430"/>
                  </a:moveTo>
                  <a:cubicBezTo>
                    <a:pt x="3051" y="762430"/>
                    <a:pt x="3051" y="762430"/>
                    <a:pt x="6102" y="762430"/>
                  </a:cubicBezTo>
                  <a:cubicBezTo>
                    <a:pt x="0" y="759379"/>
                    <a:pt x="0" y="756328"/>
                    <a:pt x="0" y="753277"/>
                  </a:cubicBezTo>
                  <a:cubicBezTo>
                    <a:pt x="12204" y="728870"/>
                    <a:pt x="268475" y="164463"/>
                    <a:pt x="451526" y="45480"/>
                  </a:cubicBezTo>
                  <a:cubicBezTo>
                    <a:pt x="512543" y="5819"/>
                    <a:pt x="567458" y="-9435"/>
                    <a:pt x="610170" y="5819"/>
                  </a:cubicBezTo>
                  <a:cubicBezTo>
                    <a:pt x="652882" y="21074"/>
                    <a:pt x="671186" y="57684"/>
                    <a:pt x="671186" y="57684"/>
                  </a:cubicBezTo>
                  <a:cubicBezTo>
                    <a:pt x="671186" y="60735"/>
                    <a:pt x="671186" y="63786"/>
                    <a:pt x="668136" y="63786"/>
                  </a:cubicBezTo>
                  <a:cubicBezTo>
                    <a:pt x="665085" y="63786"/>
                    <a:pt x="662034" y="63786"/>
                    <a:pt x="662034" y="60735"/>
                  </a:cubicBezTo>
                  <a:cubicBezTo>
                    <a:pt x="662034" y="60735"/>
                    <a:pt x="646780" y="27175"/>
                    <a:pt x="607119" y="14972"/>
                  </a:cubicBezTo>
                  <a:cubicBezTo>
                    <a:pt x="567458" y="2769"/>
                    <a:pt x="518644" y="14972"/>
                    <a:pt x="457627" y="54633"/>
                  </a:cubicBezTo>
                  <a:cubicBezTo>
                    <a:pt x="274576" y="173616"/>
                    <a:pt x="12204" y="753277"/>
                    <a:pt x="9153" y="759379"/>
                  </a:cubicBezTo>
                  <a:cubicBezTo>
                    <a:pt x="9153" y="762430"/>
                    <a:pt x="6102" y="762430"/>
                    <a:pt x="6102" y="762430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EB0DA45B-9A9E-4059-BBB0-0A1AA2680D1D}"/>
                </a:ext>
              </a:extLst>
            </p:cNvPr>
            <p:cNvSpPr/>
            <p:nvPr/>
          </p:nvSpPr>
          <p:spPr>
            <a:xfrm>
              <a:off x="14586271" y="3437058"/>
              <a:ext cx="111186" cy="81610"/>
            </a:xfrm>
            <a:custGeom>
              <a:avLst/>
              <a:gdLst>
                <a:gd name="connsiteX0" fmla="*/ 36611 w 111186"/>
                <a:gd name="connsiteY0" fmla="*/ 81610 h 81610"/>
                <a:gd name="connsiteX1" fmla="*/ 30508 w 111186"/>
                <a:gd name="connsiteY1" fmla="*/ 75508 h 81610"/>
                <a:gd name="connsiteX2" fmla="*/ 0 w 111186"/>
                <a:gd name="connsiteY2" fmla="*/ 8390 h 81610"/>
                <a:gd name="connsiteX3" fmla="*/ 0 w 111186"/>
                <a:gd name="connsiteY3" fmla="*/ 2288 h 81610"/>
                <a:gd name="connsiteX4" fmla="*/ 6102 w 111186"/>
                <a:gd name="connsiteY4" fmla="*/ 2288 h 81610"/>
                <a:gd name="connsiteX5" fmla="*/ 109831 w 111186"/>
                <a:gd name="connsiteY5" fmla="*/ 66356 h 81610"/>
                <a:gd name="connsiteX6" fmla="*/ 109831 w 111186"/>
                <a:gd name="connsiteY6" fmla="*/ 75508 h 81610"/>
                <a:gd name="connsiteX7" fmla="*/ 100679 w 111186"/>
                <a:gd name="connsiteY7" fmla="*/ 75508 h 81610"/>
                <a:gd name="connsiteX8" fmla="*/ 18305 w 111186"/>
                <a:gd name="connsiteY8" fmla="*/ 23644 h 81610"/>
                <a:gd name="connsiteX9" fmla="*/ 39662 w 111186"/>
                <a:gd name="connsiteY9" fmla="*/ 78559 h 81610"/>
                <a:gd name="connsiteX10" fmla="*/ 36611 w 111186"/>
                <a:gd name="connsiteY10" fmla="*/ 81610 h 81610"/>
                <a:gd name="connsiteX11" fmla="*/ 36611 w 111186"/>
                <a:gd name="connsiteY11" fmla="*/ 81610 h 81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1186" h="81610">
                  <a:moveTo>
                    <a:pt x="36611" y="81610"/>
                  </a:moveTo>
                  <a:cubicBezTo>
                    <a:pt x="33560" y="81610"/>
                    <a:pt x="30508" y="78559"/>
                    <a:pt x="30508" y="75508"/>
                  </a:cubicBezTo>
                  <a:cubicBezTo>
                    <a:pt x="27458" y="48051"/>
                    <a:pt x="0" y="8390"/>
                    <a:pt x="0" y="8390"/>
                  </a:cubicBezTo>
                  <a:cubicBezTo>
                    <a:pt x="0" y="5339"/>
                    <a:pt x="0" y="2288"/>
                    <a:pt x="0" y="2288"/>
                  </a:cubicBezTo>
                  <a:cubicBezTo>
                    <a:pt x="3051" y="-763"/>
                    <a:pt x="3051" y="-763"/>
                    <a:pt x="6102" y="2288"/>
                  </a:cubicBezTo>
                  <a:cubicBezTo>
                    <a:pt x="15254" y="5339"/>
                    <a:pt x="94576" y="45000"/>
                    <a:pt x="109831" y="66356"/>
                  </a:cubicBezTo>
                  <a:cubicBezTo>
                    <a:pt x="112882" y="69407"/>
                    <a:pt x="109831" y="72458"/>
                    <a:pt x="109831" y="75508"/>
                  </a:cubicBezTo>
                  <a:cubicBezTo>
                    <a:pt x="106780" y="78559"/>
                    <a:pt x="103730" y="75508"/>
                    <a:pt x="100679" y="75508"/>
                  </a:cubicBezTo>
                  <a:cubicBezTo>
                    <a:pt x="91525" y="63305"/>
                    <a:pt x="45763" y="38898"/>
                    <a:pt x="18305" y="23644"/>
                  </a:cubicBezTo>
                  <a:cubicBezTo>
                    <a:pt x="27458" y="38898"/>
                    <a:pt x="39662" y="60254"/>
                    <a:pt x="39662" y="78559"/>
                  </a:cubicBezTo>
                  <a:cubicBezTo>
                    <a:pt x="42713" y="75508"/>
                    <a:pt x="42713" y="78559"/>
                    <a:pt x="36611" y="81610"/>
                  </a:cubicBezTo>
                  <a:cubicBezTo>
                    <a:pt x="39662" y="81610"/>
                    <a:pt x="36611" y="81610"/>
                    <a:pt x="36611" y="81610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6FD72FAE-5D40-4893-B7E1-46B46F467B78}"/>
                </a:ext>
              </a:extLst>
            </p:cNvPr>
            <p:cNvSpPr/>
            <p:nvPr/>
          </p:nvSpPr>
          <p:spPr>
            <a:xfrm>
              <a:off x="14043221" y="3061041"/>
              <a:ext cx="1180678" cy="771864"/>
            </a:xfrm>
            <a:custGeom>
              <a:avLst/>
              <a:gdLst>
                <a:gd name="connsiteX0" fmla="*/ 317288 w 1180678"/>
                <a:gd name="connsiteY0" fmla="*/ 771864 h 771864"/>
                <a:gd name="connsiteX1" fmla="*/ 3051 w 1180678"/>
                <a:gd name="connsiteY1" fmla="*/ 716949 h 771864"/>
                <a:gd name="connsiteX2" fmla="*/ 0 w 1180678"/>
                <a:gd name="connsiteY2" fmla="*/ 707797 h 771864"/>
                <a:gd name="connsiteX3" fmla="*/ 9152 w 1180678"/>
                <a:gd name="connsiteY3" fmla="*/ 704746 h 771864"/>
                <a:gd name="connsiteX4" fmla="*/ 790169 w 1180678"/>
                <a:gd name="connsiteY4" fmla="*/ 674237 h 771864"/>
                <a:gd name="connsiteX5" fmla="*/ 1171525 w 1180678"/>
                <a:gd name="connsiteY5" fmla="*/ 3051 h 771864"/>
                <a:gd name="connsiteX6" fmla="*/ 1177627 w 1180678"/>
                <a:gd name="connsiteY6" fmla="*/ 0 h 771864"/>
                <a:gd name="connsiteX7" fmla="*/ 1180678 w 1180678"/>
                <a:gd name="connsiteY7" fmla="*/ 6102 h 771864"/>
                <a:gd name="connsiteX8" fmla="*/ 793220 w 1180678"/>
                <a:gd name="connsiteY8" fmla="*/ 683390 h 771864"/>
                <a:gd name="connsiteX9" fmla="*/ 317288 w 1180678"/>
                <a:gd name="connsiteY9" fmla="*/ 771864 h 77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678" h="771864">
                  <a:moveTo>
                    <a:pt x="317288" y="771864"/>
                  </a:moveTo>
                  <a:cubicBezTo>
                    <a:pt x="192203" y="771864"/>
                    <a:pt x="73220" y="756610"/>
                    <a:pt x="3051" y="716949"/>
                  </a:cubicBezTo>
                  <a:cubicBezTo>
                    <a:pt x="0" y="716949"/>
                    <a:pt x="0" y="710847"/>
                    <a:pt x="0" y="707797"/>
                  </a:cubicBezTo>
                  <a:cubicBezTo>
                    <a:pt x="0" y="704746"/>
                    <a:pt x="6102" y="704746"/>
                    <a:pt x="9152" y="704746"/>
                  </a:cubicBezTo>
                  <a:cubicBezTo>
                    <a:pt x="183051" y="802373"/>
                    <a:pt x="646780" y="756610"/>
                    <a:pt x="790169" y="674237"/>
                  </a:cubicBezTo>
                  <a:cubicBezTo>
                    <a:pt x="933560" y="591864"/>
                    <a:pt x="1168474" y="9153"/>
                    <a:pt x="1171525" y="3051"/>
                  </a:cubicBezTo>
                  <a:cubicBezTo>
                    <a:pt x="1171525" y="0"/>
                    <a:pt x="1174576" y="0"/>
                    <a:pt x="1177627" y="0"/>
                  </a:cubicBezTo>
                  <a:cubicBezTo>
                    <a:pt x="1180678" y="0"/>
                    <a:pt x="1180678" y="3051"/>
                    <a:pt x="1180678" y="6102"/>
                  </a:cubicBezTo>
                  <a:cubicBezTo>
                    <a:pt x="1171525" y="30508"/>
                    <a:pt x="939661" y="597966"/>
                    <a:pt x="793220" y="683390"/>
                  </a:cubicBezTo>
                  <a:cubicBezTo>
                    <a:pt x="707797" y="735254"/>
                    <a:pt x="503390" y="771864"/>
                    <a:pt x="317288" y="771864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4F0F7C48-619B-462D-8A4B-7623C37D2F2F}"/>
                </a:ext>
              </a:extLst>
            </p:cNvPr>
            <p:cNvSpPr/>
            <p:nvPr/>
          </p:nvSpPr>
          <p:spPr>
            <a:xfrm>
              <a:off x="14052373" y="3436295"/>
              <a:ext cx="546102" cy="85423"/>
            </a:xfrm>
            <a:custGeom>
              <a:avLst/>
              <a:gdLst>
                <a:gd name="connsiteX0" fmla="*/ 6102 w 546102"/>
                <a:gd name="connsiteY0" fmla="*/ 85424 h 85423"/>
                <a:gd name="connsiteX1" fmla="*/ 0 w 546102"/>
                <a:gd name="connsiteY1" fmla="*/ 82373 h 85423"/>
                <a:gd name="connsiteX2" fmla="*/ 3051 w 546102"/>
                <a:gd name="connsiteY2" fmla="*/ 73220 h 85423"/>
                <a:gd name="connsiteX3" fmla="*/ 540000 w 546102"/>
                <a:gd name="connsiteY3" fmla="*/ 0 h 85423"/>
                <a:gd name="connsiteX4" fmla="*/ 540000 w 546102"/>
                <a:gd name="connsiteY4" fmla="*/ 0 h 85423"/>
                <a:gd name="connsiteX5" fmla="*/ 546102 w 546102"/>
                <a:gd name="connsiteY5" fmla="*/ 6102 h 85423"/>
                <a:gd name="connsiteX6" fmla="*/ 540000 w 546102"/>
                <a:gd name="connsiteY6" fmla="*/ 12203 h 85423"/>
                <a:gd name="connsiteX7" fmla="*/ 540000 w 546102"/>
                <a:gd name="connsiteY7" fmla="*/ 12203 h 85423"/>
                <a:gd name="connsiteX8" fmla="*/ 540000 w 546102"/>
                <a:gd name="connsiteY8" fmla="*/ 12203 h 85423"/>
                <a:gd name="connsiteX9" fmla="*/ 6102 w 546102"/>
                <a:gd name="connsiteY9" fmla="*/ 85424 h 85423"/>
                <a:gd name="connsiteX10" fmla="*/ 6102 w 546102"/>
                <a:gd name="connsiteY10" fmla="*/ 85424 h 85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6102" h="85423">
                  <a:moveTo>
                    <a:pt x="6102" y="85424"/>
                  </a:moveTo>
                  <a:cubicBezTo>
                    <a:pt x="3051" y="85424"/>
                    <a:pt x="3051" y="85424"/>
                    <a:pt x="0" y="82373"/>
                  </a:cubicBezTo>
                  <a:cubicBezTo>
                    <a:pt x="0" y="79322"/>
                    <a:pt x="0" y="76271"/>
                    <a:pt x="3051" y="73220"/>
                  </a:cubicBezTo>
                  <a:cubicBezTo>
                    <a:pt x="137288" y="3051"/>
                    <a:pt x="521695" y="0"/>
                    <a:pt x="540000" y="0"/>
                  </a:cubicBezTo>
                  <a:lnTo>
                    <a:pt x="540000" y="0"/>
                  </a:lnTo>
                  <a:cubicBezTo>
                    <a:pt x="543051" y="0"/>
                    <a:pt x="546102" y="3051"/>
                    <a:pt x="546102" y="6102"/>
                  </a:cubicBezTo>
                  <a:cubicBezTo>
                    <a:pt x="546102" y="9153"/>
                    <a:pt x="543051" y="12203"/>
                    <a:pt x="540000" y="12203"/>
                  </a:cubicBezTo>
                  <a:lnTo>
                    <a:pt x="540000" y="12203"/>
                  </a:lnTo>
                  <a:lnTo>
                    <a:pt x="540000" y="12203"/>
                  </a:lnTo>
                  <a:cubicBezTo>
                    <a:pt x="533898" y="12203"/>
                    <a:pt x="140339" y="12203"/>
                    <a:pt x="6102" y="85424"/>
                  </a:cubicBezTo>
                  <a:cubicBezTo>
                    <a:pt x="6102" y="85424"/>
                    <a:pt x="6102" y="85424"/>
                    <a:pt x="6102" y="85424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ADD1F773-2534-4B45-B6E0-DCE508D770C9}"/>
                </a:ext>
              </a:extLst>
            </p:cNvPr>
            <p:cNvSpPr/>
            <p:nvPr/>
          </p:nvSpPr>
          <p:spPr>
            <a:xfrm>
              <a:off x="13770379" y="3476700"/>
              <a:ext cx="220976" cy="82772"/>
            </a:xfrm>
            <a:custGeom>
              <a:avLst/>
              <a:gdLst>
                <a:gd name="connsiteX0" fmla="*/ 220977 w 220976"/>
                <a:gd name="connsiteY0" fmla="*/ 72476 h 82772"/>
                <a:gd name="connsiteX1" fmla="*/ 92842 w 220976"/>
                <a:gd name="connsiteY1" fmla="*/ 2306 h 82772"/>
                <a:gd name="connsiteX2" fmla="*/ 1316 w 220976"/>
                <a:gd name="connsiteY2" fmla="*/ 14510 h 82772"/>
                <a:gd name="connsiteX3" fmla="*/ 123350 w 220976"/>
                <a:gd name="connsiteY3" fmla="*/ 78577 h 82772"/>
                <a:gd name="connsiteX4" fmla="*/ 220977 w 220976"/>
                <a:gd name="connsiteY4" fmla="*/ 72476 h 82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0976" h="82772">
                  <a:moveTo>
                    <a:pt x="220977" y="72476"/>
                  </a:moveTo>
                  <a:cubicBezTo>
                    <a:pt x="220977" y="72476"/>
                    <a:pt x="129452" y="5357"/>
                    <a:pt x="92842" y="2306"/>
                  </a:cubicBezTo>
                  <a:cubicBezTo>
                    <a:pt x="56231" y="-745"/>
                    <a:pt x="7418" y="-3795"/>
                    <a:pt x="1316" y="14510"/>
                  </a:cubicBezTo>
                  <a:cubicBezTo>
                    <a:pt x="-13938" y="60272"/>
                    <a:pt x="108096" y="41967"/>
                    <a:pt x="123350" y="78577"/>
                  </a:cubicBezTo>
                  <a:cubicBezTo>
                    <a:pt x="129452" y="90781"/>
                    <a:pt x="220977" y="72476"/>
                    <a:pt x="220977" y="72476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C9B82664-7127-4ADC-AA80-02C8CE66C5B3}"/>
                </a:ext>
              </a:extLst>
            </p:cNvPr>
            <p:cNvSpPr/>
            <p:nvPr/>
          </p:nvSpPr>
          <p:spPr>
            <a:xfrm>
              <a:off x="13763305" y="3461765"/>
              <a:ext cx="231101" cy="63004"/>
            </a:xfrm>
            <a:custGeom>
              <a:avLst/>
              <a:gdLst>
                <a:gd name="connsiteX0" fmla="*/ 26696 w 231101"/>
                <a:gd name="connsiteY0" fmla="*/ 63004 h 63004"/>
                <a:gd name="connsiteX1" fmla="*/ 26696 w 231101"/>
                <a:gd name="connsiteY1" fmla="*/ 63004 h 63004"/>
                <a:gd name="connsiteX2" fmla="*/ 2288 w 231101"/>
                <a:gd name="connsiteY2" fmla="*/ 44699 h 63004"/>
                <a:gd name="connsiteX3" fmla="*/ 2288 w 231101"/>
                <a:gd name="connsiteY3" fmla="*/ 23343 h 63004"/>
                <a:gd name="connsiteX4" fmla="*/ 228051 w 231101"/>
                <a:gd name="connsiteY4" fmla="*/ 41648 h 63004"/>
                <a:gd name="connsiteX5" fmla="*/ 231102 w 231101"/>
                <a:gd name="connsiteY5" fmla="*/ 47750 h 63004"/>
                <a:gd name="connsiteX6" fmla="*/ 225001 w 231101"/>
                <a:gd name="connsiteY6" fmla="*/ 50801 h 63004"/>
                <a:gd name="connsiteX7" fmla="*/ 11441 w 231101"/>
                <a:gd name="connsiteY7" fmla="*/ 26394 h 63004"/>
                <a:gd name="connsiteX8" fmla="*/ 11441 w 231101"/>
                <a:gd name="connsiteY8" fmla="*/ 38597 h 63004"/>
                <a:gd name="connsiteX9" fmla="*/ 26696 w 231101"/>
                <a:gd name="connsiteY9" fmla="*/ 50801 h 63004"/>
                <a:gd name="connsiteX10" fmla="*/ 29746 w 231101"/>
                <a:gd name="connsiteY10" fmla="*/ 56902 h 63004"/>
                <a:gd name="connsiteX11" fmla="*/ 26696 w 231101"/>
                <a:gd name="connsiteY11" fmla="*/ 63004 h 63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1101" h="63004">
                  <a:moveTo>
                    <a:pt x="26696" y="63004"/>
                  </a:moveTo>
                  <a:cubicBezTo>
                    <a:pt x="26696" y="63004"/>
                    <a:pt x="26696" y="63004"/>
                    <a:pt x="26696" y="63004"/>
                  </a:cubicBezTo>
                  <a:cubicBezTo>
                    <a:pt x="14491" y="59953"/>
                    <a:pt x="5339" y="53851"/>
                    <a:pt x="2288" y="44699"/>
                  </a:cubicBezTo>
                  <a:cubicBezTo>
                    <a:pt x="-763" y="38597"/>
                    <a:pt x="-763" y="29445"/>
                    <a:pt x="2288" y="23343"/>
                  </a:cubicBezTo>
                  <a:cubicBezTo>
                    <a:pt x="26696" y="-34623"/>
                    <a:pt x="209746" y="32496"/>
                    <a:pt x="228051" y="41648"/>
                  </a:cubicBezTo>
                  <a:cubicBezTo>
                    <a:pt x="231102" y="41648"/>
                    <a:pt x="231102" y="44699"/>
                    <a:pt x="231102" y="47750"/>
                  </a:cubicBezTo>
                  <a:cubicBezTo>
                    <a:pt x="231102" y="50801"/>
                    <a:pt x="228051" y="50801"/>
                    <a:pt x="225001" y="50801"/>
                  </a:cubicBezTo>
                  <a:cubicBezTo>
                    <a:pt x="170085" y="29445"/>
                    <a:pt x="29746" y="-13267"/>
                    <a:pt x="11441" y="26394"/>
                  </a:cubicBezTo>
                  <a:cubicBezTo>
                    <a:pt x="11441" y="29445"/>
                    <a:pt x="8390" y="32496"/>
                    <a:pt x="11441" y="38597"/>
                  </a:cubicBezTo>
                  <a:cubicBezTo>
                    <a:pt x="14491" y="44699"/>
                    <a:pt x="17543" y="47750"/>
                    <a:pt x="26696" y="50801"/>
                  </a:cubicBezTo>
                  <a:cubicBezTo>
                    <a:pt x="29746" y="50801"/>
                    <a:pt x="29746" y="53851"/>
                    <a:pt x="29746" y="56902"/>
                  </a:cubicBezTo>
                  <a:cubicBezTo>
                    <a:pt x="32797" y="59953"/>
                    <a:pt x="29746" y="63004"/>
                    <a:pt x="26696" y="63004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8BCA4057-B649-4787-B693-76DFD1378B98}"/>
                </a:ext>
              </a:extLst>
            </p:cNvPr>
            <p:cNvSpPr/>
            <p:nvPr/>
          </p:nvSpPr>
          <p:spPr>
            <a:xfrm>
              <a:off x="14671696" y="2428159"/>
              <a:ext cx="80677" cy="22711"/>
            </a:xfrm>
            <a:custGeom>
              <a:avLst/>
              <a:gdLst>
                <a:gd name="connsiteX0" fmla="*/ 39661 w 80677"/>
                <a:gd name="connsiteY0" fmla="*/ 22712 h 22711"/>
                <a:gd name="connsiteX1" fmla="*/ 3051 w 80677"/>
                <a:gd name="connsiteY1" fmla="*/ 13559 h 22711"/>
                <a:gd name="connsiteX2" fmla="*/ 0 w 80677"/>
                <a:gd name="connsiteY2" fmla="*/ 4407 h 22711"/>
                <a:gd name="connsiteX3" fmla="*/ 9152 w 80677"/>
                <a:gd name="connsiteY3" fmla="*/ 1356 h 22711"/>
                <a:gd name="connsiteX4" fmla="*/ 70169 w 80677"/>
                <a:gd name="connsiteY4" fmla="*/ 1356 h 22711"/>
                <a:gd name="connsiteX5" fmla="*/ 79322 w 80677"/>
                <a:gd name="connsiteY5" fmla="*/ 1356 h 22711"/>
                <a:gd name="connsiteX6" fmla="*/ 79322 w 80677"/>
                <a:gd name="connsiteY6" fmla="*/ 10508 h 22711"/>
                <a:gd name="connsiteX7" fmla="*/ 39661 w 80677"/>
                <a:gd name="connsiteY7" fmla="*/ 22712 h 22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677" h="22711">
                  <a:moveTo>
                    <a:pt x="39661" y="22712"/>
                  </a:moveTo>
                  <a:cubicBezTo>
                    <a:pt x="27457" y="22712"/>
                    <a:pt x="15254" y="19661"/>
                    <a:pt x="3051" y="13559"/>
                  </a:cubicBezTo>
                  <a:cubicBezTo>
                    <a:pt x="0" y="10508"/>
                    <a:pt x="0" y="7458"/>
                    <a:pt x="0" y="4407"/>
                  </a:cubicBezTo>
                  <a:cubicBezTo>
                    <a:pt x="3051" y="1356"/>
                    <a:pt x="6101" y="1356"/>
                    <a:pt x="9152" y="1356"/>
                  </a:cubicBezTo>
                  <a:cubicBezTo>
                    <a:pt x="42712" y="19661"/>
                    <a:pt x="70169" y="1356"/>
                    <a:pt x="70169" y="1356"/>
                  </a:cubicBezTo>
                  <a:cubicBezTo>
                    <a:pt x="73220" y="-1695"/>
                    <a:pt x="76271" y="1356"/>
                    <a:pt x="79322" y="1356"/>
                  </a:cubicBezTo>
                  <a:cubicBezTo>
                    <a:pt x="82372" y="4407"/>
                    <a:pt x="79322" y="7458"/>
                    <a:pt x="79322" y="10508"/>
                  </a:cubicBezTo>
                  <a:cubicBezTo>
                    <a:pt x="76271" y="10508"/>
                    <a:pt x="61017" y="22712"/>
                    <a:pt x="39661" y="22712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1" name="图形 1">
              <a:extLst>
                <a:ext uri="{FF2B5EF4-FFF2-40B4-BE49-F238E27FC236}">
                  <a16:creationId xmlns:a16="http://schemas.microsoft.com/office/drawing/2014/main" id="{C89F99AB-70FE-422D-BF31-0C212336DD56}"/>
                </a:ext>
              </a:extLst>
            </p:cNvPr>
            <p:cNvGrpSpPr/>
            <p:nvPr/>
          </p:nvGrpSpPr>
          <p:grpSpPr>
            <a:xfrm>
              <a:off x="12910182" y="3253183"/>
              <a:ext cx="1423882" cy="2357762"/>
              <a:chOff x="12910182" y="3253183"/>
              <a:chExt cx="1423882" cy="2357762"/>
            </a:xfrm>
          </p:grpSpPr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5A93F139-8FD5-4FC8-AEFE-425A118C4768}"/>
                  </a:ext>
                </a:extLst>
              </p:cNvPr>
              <p:cNvSpPr/>
              <p:nvPr/>
            </p:nvSpPr>
            <p:spPr>
              <a:xfrm>
                <a:off x="12910182" y="3253183"/>
                <a:ext cx="1423882" cy="2357762"/>
              </a:xfrm>
              <a:custGeom>
                <a:avLst/>
                <a:gdLst>
                  <a:gd name="connsiteX0" fmla="*/ 773039 w 1423882"/>
                  <a:gd name="connsiteY0" fmla="*/ 311247 h 2357762"/>
                  <a:gd name="connsiteX1" fmla="*/ 651005 w 1423882"/>
                  <a:gd name="connsiteY1" fmla="*/ 115993 h 2357762"/>
                  <a:gd name="connsiteX2" fmla="*/ 782191 w 1423882"/>
                  <a:gd name="connsiteY2" fmla="*/ 177010 h 2357762"/>
                  <a:gd name="connsiteX3" fmla="*/ 730326 w 1423882"/>
                  <a:gd name="connsiteY3" fmla="*/ 24468 h 2357762"/>
                  <a:gd name="connsiteX4" fmla="*/ 885920 w 1423882"/>
                  <a:gd name="connsiteY4" fmla="*/ 109891 h 2357762"/>
                  <a:gd name="connsiteX5" fmla="*/ 901174 w 1423882"/>
                  <a:gd name="connsiteY5" fmla="*/ 61 h 2357762"/>
                  <a:gd name="connsiteX6" fmla="*/ 962191 w 1423882"/>
                  <a:gd name="connsiteY6" fmla="*/ 122095 h 2357762"/>
                  <a:gd name="connsiteX7" fmla="*/ 1035411 w 1423882"/>
                  <a:gd name="connsiteY7" fmla="*/ 18366 h 2357762"/>
                  <a:gd name="connsiteX8" fmla="*/ 1044564 w 1423882"/>
                  <a:gd name="connsiteY8" fmla="*/ 131247 h 2357762"/>
                  <a:gd name="connsiteX9" fmla="*/ 1148293 w 1423882"/>
                  <a:gd name="connsiteY9" fmla="*/ 115993 h 2357762"/>
                  <a:gd name="connsiteX10" fmla="*/ 968293 w 1423882"/>
                  <a:gd name="connsiteY10" fmla="*/ 299044 h 2357762"/>
                  <a:gd name="connsiteX11" fmla="*/ 965242 w 1423882"/>
                  <a:gd name="connsiteY11" fmla="*/ 302095 h 2357762"/>
                  <a:gd name="connsiteX12" fmla="*/ 992699 w 1423882"/>
                  <a:gd name="connsiteY12" fmla="*/ 329552 h 2357762"/>
                  <a:gd name="connsiteX13" fmla="*/ 1349649 w 1423882"/>
                  <a:gd name="connsiteY13" fmla="*/ 2089891 h 2357762"/>
                  <a:gd name="connsiteX14" fmla="*/ 65242 w 1423882"/>
                  <a:gd name="connsiteY14" fmla="*/ 2080739 h 2357762"/>
                  <a:gd name="connsiteX15" fmla="*/ 773039 w 1423882"/>
                  <a:gd name="connsiteY15" fmla="*/ 311247 h 235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23882" h="2357762">
                    <a:moveTo>
                      <a:pt x="773039" y="311247"/>
                    </a:moveTo>
                    <a:cubicBezTo>
                      <a:pt x="773039" y="311247"/>
                      <a:pt x="635751" y="119044"/>
                      <a:pt x="651005" y="115993"/>
                    </a:cubicBezTo>
                    <a:cubicBezTo>
                      <a:pt x="669309" y="112942"/>
                      <a:pt x="782191" y="177010"/>
                      <a:pt x="782191" y="177010"/>
                    </a:cubicBezTo>
                    <a:cubicBezTo>
                      <a:pt x="782191" y="177010"/>
                      <a:pt x="702869" y="27518"/>
                      <a:pt x="730326" y="24468"/>
                    </a:cubicBezTo>
                    <a:cubicBezTo>
                      <a:pt x="757785" y="24468"/>
                      <a:pt x="885920" y="109891"/>
                      <a:pt x="885920" y="109891"/>
                    </a:cubicBezTo>
                    <a:cubicBezTo>
                      <a:pt x="885920" y="109891"/>
                      <a:pt x="840157" y="-2990"/>
                      <a:pt x="901174" y="61"/>
                    </a:cubicBezTo>
                    <a:cubicBezTo>
                      <a:pt x="962191" y="61"/>
                      <a:pt x="962191" y="122095"/>
                      <a:pt x="962191" y="122095"/>
                    </a:cubicBezTo>
                    <a:cubicBezTo>
                      <a:pt x="962191" y="122095"/>
                      <a:pt x="1007954" y="21417"/>
                      <a:pt x="1035411" y="18366"/>
                    </a:cubicBezTo>
                    <a:cubicBezTo>
                      <a:pt x="1062870" y="15315"/>
                      <a:pt x="1044564" y="131247"/>
                      <a:pt x="1044564" y="131247"/>
                    </a:cubicBezTo>
                    <a:cubicBezTo>
                      <a:pt x="1044564" y="131247"/>
                      <a:pt x="1126937" y="97688"/>
                      <a:pt x="1148293" y="115993"/>
                    </a:cubicBezTo>
                    <a:cubicBezTo>
                      <a:pt x="1169649" y="134298"/>
                      <a:pt x="995750" y="277688"/>
                      <a:pt x="968293" y="299044"/>
                    </a:cubicBezTo>
                    <a:cubicBezTo>
                      <a:pt x="968293" y="299044"/>
                      <a:pt x="965242" y="302095"/>
                      <a:pt x="965242" y="302095"/>
                    </a:cubicBezTo>
                    <a:cubicBezTo>
                      <a:pt x="974394" y="308196"/>
                      <a:pt x="983547" y="317349"/>
                      <a:pt x="992699" y="329552"/>
                    </a:cubicBezTo>
                    <a:cubicBezTo>
                      <a:pt x="1065920" y="424129"/>
                      <a:pt x="1621174" y="1498027"/>
                      <a:pt x="1349649" y="2089891"/>
                    </a:cubicBezTo>
                    <a:cubicBezTo>
                      <a:pt x="1166598" y="2492603"/>
                      <a:pt x="229988" y="2401078"/>
                      <a:pt x="65242" y="2080739"/>
                    </a:cubicBezTo>
                    <a:cubicBezTo>
                      <a:pt x="-264249" y="1412603"/>
                      <a:pt x="760835" y="323451"/>
                      <a:pt x="773039" y="311247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D339E338-9481-4431-9FAA-CD8F9D7C4AC7}"/>
                  </a:ext>
                </a:extLst>
              </p:cNvPr>
              <p:cNvSpPr/>
              <p:nvPr/>
            </p:nvSpPr>
            <p:spPr>
              <a:xfrm>
                <a:off x="13384238" y="3549176"/>
                <a:ext cx="500338" cy="680338"/>
              </a:xfrm>
              <a:custGeom>
                <a:avLst/>
                <a:gdLst>
                  <a:gd name="connsiteX0" fmla="*/ 6102 w 500338"/>
                  <a:gd name="connsiteY0" fmla="*/ 680339 h 680338"/>
                  <a:gd name="connsiteX1" fmla="*/ 6102 w 500338"/>
                  <a:gd name="connsiteY1" fmla="*/ 680339 h 680338"/>
                  <a:gd name="connsiteX2" fmla="*/ 0 w 500338"/>
                  <a:gd name="connsiteY2" fmla="*/ 674237 h 680338"/>
                  <a:gd name="connsiteX3" fmla="*/ 295933 w 500338"/>
                  <a:gd name="connsiteY3" fmla="*/ 12203 h 680338"/>
                  <a:gd name="connsiteX4" fmla="*/ 298984 w 500338"/>
                  <a:gd name="connsiteY4" fmla="*/ 9153 h 680338"/>
                  <a:gd name="connsiteX5" fmla="*/ 302034 w 500338"/>
                  <a:gd name="connsiteY5" fmla="*/ 9153 h 680338"/>
                  <a:gd name="connsiteX6" fmla="*/ 494238 w 500338"/>
                  <a:gd name="connsiteY6" fmla="*/ 0 h 680338"/>
                  <a:gd name="connsiteX7" fmla="*/ 500339 w 500338"/>
                  <a:gd name="connsiteY7" fmla="*/ 3051 h 680338"/>
                  <a:gd name="connsiteX8" fmla="*/ 497289 w 500338"/>
                  <a:gd name="connsiteY8" fmla="*/ 9153 h 680338"/>
                  <a:gd name="connsiteX9" fmla="*/ 302034 w 500338"/>
                  <a:gd name="connsiteY9" fmla="*/ 21356 h 680338"/>
                  <a:gd name="connsiteX10" fmla="*/ 12203 w 500338"/>
                  <a:gd name="connsiteY10" fmla="*/ 674237 h 680338"/>
                  <a:gd name="connsiteX11" fmla="*/ 6102 w 500338"/>
                  <a:gd name="connsiteY11" fmla="*/ 680339 h 680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00338" h="680338">
                    <a:moveTo>
                      <a:pt x="6102" y="680339"/>
                    </a:moveTo>
                    <a:lnTo>
                      <a:pt x="6102" y="680339"/>
                    </a:lnTo>
                    <a:cubicBezTo>
                      <a:pt x="3051" y="680339"/>
                      <a:pt x="0" y="677288"/>
                      <a:pt x="0" y="674237"/>
                    </a:cubicBezTo>
                    <a:cubicBezTo>
                      <a:pt x="18305" y="463729"/>
                      <a:pt x="283729" y="30508"/>
                      <a:pt x="295933" y="12203"/>
                    </a:cubicBezTo>
                    <a:lnTo>
                      <a:pt x="298984" y="9153"/>
                    </a:lnTo>
                    <a:lnTo>
                      <a:pt x="302034" y="9153"/>
                    </a:lnTo>
                    <a:cubicBezTo>
                      <a:pt x="399661" y="39661"/>
                      <a:pt x="491187" y="0"/>
                      <a:pt x="494238" y="0"/>
                    </a:cubicBezTo>
                    <a:cubicBezTo>
                      <a:pt x="497289" y="0"/>
                      <a:pt x="500339" y="0"/>
                      <a:pt x="500339" y="3051"/>
                    </a:cubicBezTo>
                    <a:cubicBezTo>
                      <a:pt x="500339" y="6102"/>
                      <a:pt x="500339" y="9153"/>
                      <a:pt x="497289" y="9153"/>
                    </a:cubicBezTo>
                    <a:cubicBezTo>
                      <a:pt x="494238" y="12203"/>
                      <a:pt x="402712" y="51864"/>
                      <a:pt x="302034" y="21356"/>
                    </a:cubicBezTo>
                    <a:cubicBezTo>
                      <a:pt x="274576" y="64068"/>
                      <a:pt x="27457" y="478983"/>
                      <a:pt x="12203" y="674237"/>
                    </a:cubicBezTo>
                    <a:cubicBezTo>
                      <a:pt x="12203" y="680339"/>
                      <a:pt x="9153" y="680339"/>
                      <a:pt x="6102" y="68033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FC652E72-937A-4F6E-A1B6-35C0921F21E1}"/>
                  </a:ext>
                </a:extLst>
              </p:cNvPr>
              <p:cNvSpPr/>
              <p:nvPr/>
            </p:nvSpPr>
            <p:spPr>
              <a:xfrm>
                <a:off x="13662348" y="3561380"/>
                <a:ext cx="42228" cy="835932"/>
              </a:xfrm>
              <a:custGeom>
                <a:avLst/>
                <a:gdLst>
                  <a:gd name="connsiteX0" fmla="*/ 36127 w 42228"/>
                  <a:gd name="connsiteY0" fmla="*/ 835932 h 835932"/>
                  <a:gd name="connsiteX1" fmla="*/ 30025 w 42228"/>
                  <a:gd name="connsiteY1" fmla="*/ 832881 h 835932"/>
                  <a:gd name="connsiteX2" fmla="*/ 14771 w 42228"/>
                  <a:gd name="connsiteY2" fmla="*/ 6102 h 835932"/>
                  <a:gd name="connsiteX3" fmla="*/ 20873 w 42228"/>
                  <a:gd name="connsiteY3" fmla="*/ 0 h 835932"/>
                  <a:gd name="connsiteX4" fmla="*/ 26974 w 42228"/>
                  <a:gd name="connsiteY4" fmla="*/ 6102 h 835932"/>
                  <a:gd name="connsiteX5" fmla="*/ 42229 w 42228"/>
                  <a:gd name="connsiteY5" fmla="*/ 829831 h 835932"/>
                  <a:gd name="connsiteX6" fmla="*/ 36127 w 42228"/>
                  <a:gd name="connsiteY6" fmla="*/ 835932 h 835932"/>
                  <a:gd name="connsiteX7" fmla="*/ 36127 w 42228"/>
                  <a:gd name="connsiteY7" fmla="*/ 835932 h 835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228" h="835932">
                    <a:moveTo>
                      <a:pt x="36127" y="835932"/>
                    </a:moveTo>
                    <a:cubicBezTo>
                      <a:pt x="33076" y="835932"/>
                      <a:pt x="30025" y="832881"/>
                      <a:pt x="30025" y="832881"/>
                    </a:cubicBezTo>
                    <a:cubicBezTo>
                      <a:pt x="-24890" y="649831"/>
                      <a:pt x="11720" y="30508"/>
                      <a:pt x="14771" y="6102"/>
                    </a:cubicBezTo>
                    <a:cubicBezTo>
                      <a:pt x="14771" y="3051"/>
                      <a:pt x="17822" y="0"/>
                      <a:pt x="20873" y="0"/>
                    </a:cubicBezTo>
                    <a:cubicBezTo>
                      <a:pt x="23923" y="0"/>
                      <a:pt x="26974" y="3051"/>
                      <a:pt x="26974" y="6102"/>
                    </a:cubicBezTo>
                    <a:cubicBezTo>
                      <a:pt x="26974" y="12203"/>
                      <a:pt x="-9635" y="649831"/>
                      <a:pt x="42229" y="829831"/>
                    </a:cubicBezTo>
                    <a:cubicBezTo>
                      <a:pt x="42229" y="829831"/>
                      <a:pt x="42229" y="832881"/>
                      <a:pt x="36127" y="835932"/>
                    </a:cubicBezTo>
                    <a:cubicBezTo>
                      <a:pt x="39178" y="835932"/>
                      <a:pt x="36127" y="835932"/>
                      <a:pt x="36127" y="83593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A3B77D6A-61BA-4E5E-85FE-660AAD899069}"/>
                  </a:ext>
                </a:extLst>
              </p:cNvPr>
              <p:cNvSpPr/>
              <p:nvPr/>
            </p:nvSpPr>
            <p:spPr>
              <a:xfrm>
                <a:off x="14016526" y="4806125"/>
                <a:ext cx="67630" cy="283728"/>
              </a:xfrm>
              <a:custGeom>
                <a:avLst/>
                <a:gdLst>
                  <a:gd name="connsiteX0" fmla="*/ 5338 w 67630"/>
                  <a:gd name="connsiteY0" fmla="*/ 283729 h 283728"/>
                  <a:gd name="connsiteX1" fmla="*/ 2288 w 67630"/>
                  <a:gd name="connsiteY1" fmla="*/ 280678 h 283728"/>
                  <a:gd name="connsiteX2" fmla="*/ 2288 w 67630"/>
                  <a:gd name="connsiteY2" fmla="*/ 271525 h 283728"/>
                  <a:gd name="connsiteX3" fmla="*/ 35847 w 67630"/>
                  <a:gd name="connsiteY3" fmla="*/ 6102 h 283728"/>
                  <a:gd name="connsiteX4" fmla="*/ 38898 w 67630"/>
                  <a:gd name="connsiteY4" fmla="*/ 0 h 283728"/>
                  <a:gd name="connsiteX5" fmla="*/ 45000 w 67630"/>
                  <a:gd name="connsiteY5" fmla="*/ 3051 h 283728"/>
                  <a:gd name="connsiteX6" fmla="*/ 8389 w 67630"/>
                  <a:gd name="connsiteY6" fmla="*/ 280678 h 283728"/>
                  <a:gd name="connsiteX7" fmla="*/ 5338 w 67630"/>
                  <a:gd name="connsiteY7" fmla="*/ 283729 h 28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630" h="283728">
                    <a:moveTo>
                      <a:pt x="5338" y="283729"/>
                    </a:moveTo>
                    <a:cubicBezTo>
                      <a:pt x="5338" y="283729"/>
                      <a:pt x="2288" y="283729"/>
                      <a:pt x="2288" y="280678"/>
                    </a:cubicBezTo>
                    <a:cubicBezTo>
                      <a:pt x="-763" y="277627"/>
                      <a:pt x="-763" y="274576"/>
                      <a:pt x="2288" y="271525"/>
                    </a:cubicBezTo>
                    <a:cubicBezTo>
                      <a:pt x="102966" y="180000"/>
                      <a:pt x="35847" y="6102"/>
                      <a:pt x="35847" y="6102"/>
                    </a:cubicBezTo>
                    <a:cubicBezTo>
                      <a:pt x="35847" y="3051"/>
                      <a:pt x="35847" y="0"/>
                      <a:pt x="38898" y="0"/>
                    </a:cubicBezTo>
                    <a:cubicBezTo>
                      <a:pt x="41949" y="0"/>
                      <a:pt x="45000" y="0"/>
                      <a:pt x="45000" y="3051"/>
                    </a:cubicBezTo>
                    <a:cubicBezTo>
                      <a:pt x="45000" y="6102"/>
                      <a:pt x="115169" y="186102"/>
                      <a:pt x="8389" y="280678"/>
                    </a:cubicBezTo>
                    <a:cubicBezTo>
                      <a:pt x="8389" y="283729"/>
                      <a:pt x="5338" y="283729"/>
                      <a:pt x="5338" y="2837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255411A7-899E-43E6-8892-E036A08146EB}"/>
                  </a:ext>
                </a:extLst>
              </p:cNvPr>
              <p:cNvSpPr/>
              <p:nvPr/>
            </p:nvSpPr>
            <p:spPr>
              <a:xfrm>
                <a:off x="13079772" y="4830532"/>
                <a:ext cx="151922" cy="353898"/>
              </a:xfrm>
              <a:custGeom>
                <a:avLst/>
                <a:gdLst>
                  <a:gd name="connsiteX0" fmla="*/ 145822 w 151922"/>
                  <a:gd name="connsiteY0" fmla="*/ 353899 h 353898"/>
                  <a:gd name="connsiteX1" fmla="*/ 145822 w 151922"/>
                  <a:gd name="connsiteY1" fmla="*/ 353899 h 353898"/>
                  <a:gd name="connsiteX2" fmla="*/ 14635 w 151922"/>
                  <a:gd name="connsiteY2" fmla="*/ 241017 h 353898"/>
                  <a:gd name="connsiteX3" fmla="*/ 39042 w 151922"/>
                  <a:gd name="connsiteY3" fmla="*/ 3051 h 353898"/>
                  <a:gd name="connsiteX4" fmla="*/ 45143 w 151922"/>
                  <a:gd name="connsiteY4" fmla="*/ 0 h 353898"/>
                  <a:gd name="connsiteX5" fmla="*/ 48194 w 151922"/>
                  <a:gd name="connsiteY5" fmla="*/ 6102 h 353898"/>
                  <a:gd name="connsiteX6" fmla="*/ 26838 w 151922"/>
                  <a:gd name="connsiteY6" fmla="*/ 234915 h 353898"/>
                  <a:gd name="connsiteX7" fmla="*/ 148872 w 151922"/>
                  <a:gd name="connsiteY7" fmla="*/ 341695 h 353898"/>
                  <a:gd name="connsiteX8" fmla="*/ 151923 w 151922"/>
                  <a:gd name="connsiteY8" fmla="*/ 347797 h 353898"/>
                  <a:gd name="connsiteX9" fmla="*/ 145822 w 151922"/>
                  <a:gd name="connsiteY9" fmla="*/ 353899 h 35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1922" h="353898">
                    <a:moveTo>
                      <a:pt x="145822" y="353899"/>
                    </a:moveTo>
                    <a:cubicBezTo>
                      <a:pt x="145822" y="353899"/>
                      <a:pt x="145822" y="353899"/>
                      <a:pt x="145822" y="353899"/>
                    </a:cubicBezTo>
                    <a:cubicBezTo>
                      <a:pt x="78703" y="329492"/>
                      <a:pt x="35991" y="292882"/>
                      <a:pt x="14635" y="241017"/>
                    </a:cubicBezTo>
                    <a:cubicBezTo>
                      <a:pt x="-28077" y="134237"/>
                      <a:pt x="35991" y="9153"/>
                      <a:pt x="39042" y="3051"/>
                    </a:cubicBezTo>
                    <a:cubicBezTo>
                      <a:pt x="39042" y="0"/>
                      <a:pt x="45143" y="0"/>
                      <a:pt x="45143" y="0"/>
                    </a:cubicBezTo>
                    <a:cubicBezTo>
                      <a:pt x="48194" y="0"/>
                      <a:pt x="48194" y="6102"/>
                      <a:pt x="48194" y="6102"/>
                    </a:cubicBezTo>
                    <a:cubicBezTo>
                      <a:pt x="48194" y="6102"/>
                      <a:pt x="-15874" y="134237"/>
                      <a:pt x="26838" y="234915"/>
                    </a:cubicBezTo>
                    <a:cubicBezTo>
                      <a:pt x="48194" y="283729"/>
                      <a:pt x="87855" y="320339"/>
                      <a:pt x="148872" y="341695"/>
                    </a:cubicBezTo>
                    <a:cubicBezTo>
                      <a:pt x="151923" y="341695"/>
                      <a:pt x="151923" y="344746"/>
                      <a:pt x="151923" y="347797"/>
                    </a:cubicBezTo>
                    <a:cubicBezTo>
                      <a:pt x="148872" y="350847"/>
                      <a:pt x="148872" y="353899"/>
                      <a:pt x="145822" y="35389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2" name="图形 1">
              <a:extLst>
                <a:ext uri="{FF2B5EF4-FFF2-40B4-BE49-F238E27FC236}">
                  <a16:creationId xmlns:a16="http://schemas.microsoft.com/office/drawing/2014/main" id="{4567A3A9-B132-4108-B877-14EB34070D62}"/>
                </a:ext>
              </a:extLst>
            </p:cNvPr>
            <p:cNvGrpSpPr/>
            <p:nvPr/>
          </p:nvGrpSpPr>
          <p:grpSpPr>
            <a:xfrm>
              <a:off x="13625254" y="3512524"/>
              <a:ext cx="473787" cy="248245"/>
              <a:chOff x="13625254" y="3512524"/>
              <a:chExt cx="473787" cy="248245"/>
            </a:xfrm>
          </p:grpSpPr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87EFB4F1-E2C7-4C55-9113-88F19C3753AC}"/>
                  </a:ext>
                </a:extLst>
              </p:cNvPr>
              <p:cNvSpPr/>
              <p:nvPr/>
            </p:nvSpPr>
            <p:spPr>
              <a:xfrm>
                <a:off x="13625254" y="3519394"/>
                <a:ext cx="473787" cy="241376"/>
              </a:xfrm>
              <a:custGeom>
                <a:avLst/>
                <a:gdLst>
                  <a:gd name="connsiteX0" fmla="*/ 469831 w 473787"/>
                  <a:gd name="connsiteY0" fmla="*/ 170122 h 241376"/>
                  <a:gd name="connsiteX1" fmla="*/ 448475 w 473787"/>
                  <a:gd name="connsiteY1" fmla="*/ 32833 h 241376"/>
                  <a:gd name="connsiteX2" fmla="*/ 195255 w 473787"/>
                  <a:gd name="connsiteY2" fmla="*/ 2325 h 241376"/>
                  <a:gd name="connsiteX3" fmla="*/ 0 w 473787"/>
                  <a:gd name="connsiteY3" fmla="*/ 121308 h 241376"/>
                  <a:gd name="connsiteX4" fmla="*/ 201356 w 473787"/>
                  <a:gd name="connsiteY4" fmla="*/ 237240 h 241376"/>
                  <a:gd name="connsiteX5" fmla="*/ 311187 w 473787"/>
                  <a:gd name="connsiteY5" fmla="*/ 218935 h 241376"/>
                  <a:gd name="connsiteX6" fmla="*/ 424069 w 473787"/>
                  <a:gd name="connsiteY6" fmla="*/ 206732 h 241376"/>
                  <a:gd name="connsiteX7" fmla="*/ 469831 w 473787"/>
                  <a:gd name="connsiteY7" fmla="*/ 170122 h 241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3787" h="241376">
                    <a:moveTo>
                      <a:pt x="469831" y="170122"/>
                    </a:moveTo>
                    <a:cubicBezTo>
                      <a:pt x="485086" y="124359"/>
                      <a:pt x="451526" y="29783"/>
                      <a:pt x="448475" y="32833"/>
                    </a:cubicBezTo>
                    <a:cubicBezTo>
                      <a:pt x="344746" y="29783"/>
                      <a:pt x="298984" y="-9878"/>
                      <a:pt x="195255" y="2325"/>
                    </a:cubicBezTo>
                    <a:cubicBezTo>
                      <a:pt x="180001" y="5376"/>
                      <a:pt x="0" y="38935"/>
                      <a:pt x="0" y="121308"/>
                    </a:cubicBezTo>
                    <a:cubicBezTo>
                      <a:pt x="0" y="228088"/>
                      <a:pt x="140339" y="252495"/>
                      <a:pt x="201356" y="237240"/>
                    </a:cubicBezTo>
                    <a:cubicBezTo>
                      <a:pt x="237967" y="228088"/>
                      <a:pt x="271526" y="225037"/>
                      <a:pt x="311187" y="218935"/>
                    </a:cubicBezTo>
                    <a:cubicBezTo>
                      <a:pt x="347797" y="212833"/>
                      <a:pt x="387458" y="212833"/>
                      <a:pt x="424069" y="206732"/>
                    </a:cubicBezTo>
                    <a:cubicBezTo>
                      <a:pt x="451526" y="200630"/>
                      <a:pt x="460678" y="197579"/>
                      <a:pt x="469831" y="170122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3FC07EBA-0D40-4842-A646-012B2522B1FB}"/>
                  </a:ext>
                </a:extLst>
              </p:cNvPr>
              <p:cNvSpPr/>
              <p:nvPr/>
            </p:nvSpPr>
            <p:spPr>
              <a:xfrm>
                <a:off x="13668730" y="3512524"/>
                <a:ext cx="256772" cy="67160"/>
              </a:xfrm>
              <a:custGeom>
                <a:avLst/>
                <a:gdLst>
                  <a:gd name="connsiteX0" fmla="*/ 5339 w 256772"/>
                  <a:gd name="connsiteY0" fmla="*/ 67161 h 67160"/>
                  <a:gd name="connsiteX1" fmla="*/ 2288 w 256772"/>
                  <a:gd name="connsiteY1" fmla="*/ 64110 h 67160"/>
                  <a:gd name="connsiteX2" fmla="*/ 2288 w 256772"/>
                  <a:gd name="connsiteY2" fmla="*/ 54957 h 67160"/>
                  <a:gd name="connsiteX3" fmla="*/ 252457 w 256772"/>
                  <a:gd name="connsiteY3" fmla="*/ 9194 h 67160"/>
                  <a:gd name="connsiteX4" fmla="*/ 255508 w 256772"/>
                  <a:gd name="connsiteY4" fmla="*/ 15296 h 67160"/>
                  <a:gd name="connsiteX5" fmla="*/ 249406 w 256772"/>
                  <a:gd name="connsiteY5" fmla="*/ 18347 h 67160"/>
                  <a:gd name="connsiteX6" fmla="*/ 8390 w 256772"/>
                  <a:gd name="connsiteY6" fmla="*/ 61059 h 67160"/>
                  <a:gd name="connsiteX7" fmla="*/ 5339 w 256772"/>
                  <a:gd name="connsiteY7" fmla="*/ 67161 h 67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6772" h="67160">
                    <a:moveTo>
                      <a:pt x="5339" y="67161"/>
                    </a:moveTo>
                    <a:cubicBezTo>
                      <a:pt x="2288" y="67161"/>
                      <a:pt x="2288" y="67161"/>
                      <a:pt x="2288" y="64110"/>
                    </a:cubicBezTo>
                    <a:cubicBezTo>
                      <a:pt x="-763" y="61059"/>
                      <a:pt x="-763" y="58008"/>
                      <a:pt x="2288" y="54957"/>
                    </a:cubicBezTo>
                    <a:cubicBezTo>
                      <a:pt x="99915" y="-30467"/>
                      <a:pt x="246355" y="9194"/>
                      <a:pt x="252457" y="9194"/>
                    </a:cubicBezTo>
                    <a:cubicBezTo>
                      <a:pt x="255508" y="9194"/>
                      <a:pt x="258560" y="12245"/>
                      <a:pt x="255508" y="15296"/>
                    </a:cubicBezTo>
                    <a:cubicBezTo>
                      <a:pt x="255508" y="18347"/>
                      <a:pt x="252457" y="21398"/>
                      <a:pt x="249406" y="18347"/>
                    </a:cubicBezTo>
                    <a:cubicBezTo>
                      <a:pt x="249406" y="18347"/>
                      <a:pt x="102966" y="-21314"/>
                      <a:pt x="8390" y="61059"/>
                    </a:cubicBezTo>
                    <a:cubicBezTo>
                      <a:pt x="8390" y="64110"/>
                      <a:pt x="5339" y="67161"/>
                      <a:pt x="5339" y="6716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2FA36D64-3CEB-4B82-A7ED-D301B3362820}"/>
                  </a:ext>
                </a:extLst>
              </p:cNvPr>
              <p:cNvSpPr/>
              <p:nvPr/>
            </p:nvSpPr>
            <p:spPr>
              <a:xfrm>
                <a:off x="13811356" y="3597990"/>
                <a:ext cx="45762" cy="100677"/>
              </a:xfrm>
              <a:custGeom>
                <a:avLst/>
                <a:gdLst>
                  <a:gd name="connsiteX0" fmla="*/ 39662 w 45762"/>
                  <a:gd name="connsiteY0" fmla="*/ 100678 h 100677"/>
                  <a:gd name="connsiteX1" fmla="*/ 33560 w 45762"/>
                  <a:gd name="connsiteY1" fmla="*/ 97627 h 100677"/>
                  <a:gd name="connsiteX2" fmla="*/ 0 w 45762"/>
                  <a:gd name="connsiteY2" fmla="*/ 6102 h 100677"/>
                  <a:gd name="connsiteX3" fmla="*/ 6102 w 45762"/>
                  <a:gd name="connsiteY3" fmla="*/ 0 h 100677"/>
                  <a:gd name="connsiteX4" fmla="*/ 12203 w 45762"/>
                  <a:gd name="connsiteY4" fmla="*/ 6102 h 100677"/>
                  <a:gd name="connsiteX5" fmla="*/ 45763 w 45762"/>
                  <a:gd name="connsiteY5" fmla="*/ 91525 h 100677"/>
                  <a:gd name="connsiteX6" fmla="*/ 39662 w 45762"/>
                  <a:gd name="connsiteY6" fmla="*/ 100678 h 100677"/>
                  <a:gd name="connsiteX7" fmla="*/ 39662 w 45762"/>
                  <a:gd name="connsiteY7" fmla="*/ 100678 h 100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762" h="100677">
                    <a:moveTo>
                      <a:pt x="39662" y="100678"/>
                    </a:moveTo>
                    <a:cubicBezTo>
                      <a:pt x="36611" y="100678"/>
                      <a:pt x="36611" y="100678"/>
                      <a:pt x="33560" y="97627"/>
                    </a:cubicBezTo>
                    <a:cubicBezTo>
                      <a:pt x="33560" y="94576"/>
                      <a:pt x="0" y="30508"/>
                      <a:pt x="0" y="6102"/>
                    </a:cubicBezTo>
                    <a:cubicBezTo>
                      <a:pt x="0" y="3051"/>
                      <a:pt x="3051" y="0"/>
                      <a:pt x="6102" y="0"/>
                    </a:cubicBezTo>
                    <a:cubicBezTo>
                      <a:pt x="9153" y="0"/>
                      <a:pt x="12203" y="3051"/>
                      <a:pt x="12203" y="6102"/>
                    </a:cubicBezTo>
                    <a:cubicBezTo>
                      <a:pt x="12203" y="24407"/>
                      <a:pt x="36611" y="73220"/>
                      <a:pt x="45763" y="91525"/>
                    </a:cubicBezTo>
                    <a:cubicBezTo>
                      <a:pt x="45763" y="97627"/>
                      <a:pt x="45763" y="100678"/>
                      <a:pt x="39662" y="100678"/>
                    </a:cubicBezTo>
                    <a:cubicBezTo>
                      <a:pt x="42712" y="100678"/>
                      <a:pt x="39662" y="100678"/>
                      <a:pt x="39662" y="10067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942B9C74-5542-455F-888F-F8820944402F}"/>
                </a:ext>
              </a:extLst>
            </p:cNvPr>
            <p:cNvSpPr/>
            <p:nvPr/>
          </p:nvSpPr>
          <p:spPr>
            <a:xfrm>
              <a:off x="13953172" y="3480923"/>
              <a:ext cx="124061" cy="337175"/>
            </a:xfrm>
            <a:custGeom>
              <a:avLst/>
              <a:gdLst>
                <a:gd name="connsiteX0" fmla="*/ 96151 w 124061"/>
                <a:gd name="connsiteY0" fmla="*/ 290965 h 337175"/>
                <a:gd name="connsiteX1" fmla="*/ 120557 w 124061"/>
                <a:gd name="connsiteY1" fmla="*/ 68254 h 337175"/>
                <a:gd name="connsiteX2" fmla="*/ 38184 w 124061"/>
                <a:gd name="connsiteY2" fmla="*/ 25542 h 337175"/>
                <a:gd name="connsiteX3" fmla="*/ 4625 w 124061"/>
                <a:gd name="connsiteY3" fmla="*/ 294016 h 337175"/>
                <a:gd name="connsiteX4" fmla="*/ 96151 w 124061"/>
                <a:gd name="connsiteY4" fmla="*/ 290965 h 33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061" h="337175">
                  <a:moveTo>
                    <a:pt x="96151" y="290965"/>
                  </a:moveTo>
                  <a:cubicBezTo>
                    <a:pt x="83947" y="214694"/>
                    <a:pt x="90049" y="141474"/>
                    <a:pt x="120557" y="68254"/>
                  </a:cubicBezTo>
                  <a:cubicBezTo>
                    <a:pt x="141914" y="13338"/>
                    <a:pt x="59540" y="-29374"/>
                    <a:pt x="38184" y="25542"/>
                  </a:cubicBezTo>
                  <a:cubicBezTo>
                    <a:pt x="4625" y="110965"/>
                    <a:pt x="-7579" y="202491"/>
                    <a:pt x="4625" y="294016"/>
                  </a:cubicBezTo>
                  <a:cubicBezTo>
                    <a:pt x="13778" y="355033"/>
                    <a:pt x="105303" y="348932"/>
                    <a:pt x="96151" y="290965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552217163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8F485999-EE5B-499F-A67C-2CF9BC06593F}"/>
              </a:ext>
            </a:extLst>
          </p:cNvPr>
          <p:cNvGrpSpPr/>
          <p:nvPr/>
        </p:nvGrpSpPr>
        <p:grpSpPr>
          <a:xfrm>
            <a:off x="6096000" y="1919229"/>
            <a:ext cx="2734699" cy="4855223"/>
            <a:chOff x="23502849" y="1747779"/>
            <a:chExt cx="2734699" cy="4855223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1CB83BFE-AC15-4E06-8460-EC3232E22886}"/>
                </a:ext>
              </a:extLst>
            </p:cNvPr>
            <p:cNvSpPr/>
            <p:nvPr/>
          </p:nvSpPr>
          <p:spPr>
            <a:xfrm>
              <a:off x="24751624" y="4101380"/>
              <a:ext cx="1298848" cy="2299008"/>
            </a:xfrm>
            <a:custGeom>
              <a:avLst/>
              <a:gdLst>
                <a:gd name="connsiteX0" fmla="*/ 91598 w 1298848"/>
                <a:gd name="connsiteY0" fmla="*/ 21356 h 2299008"/>
                <a:gd name="connsiteX1" fmla="*/ 72 w 1298848"/>
                <a:gd name="connsiteY1" fmla="*/ 1403390 h 2299008"/>
                <a:gd name="connsiteX2" fmla="*/ 30581 w 1298848"/>
                <a:gd name="connsiteY2" fmla="*/ 2205763 h 2299008"/>
                <a:gd name="connsiteX3" fmla="*/ 256344 w 1298848"/>
                <a:gd name="connsiteY3" fmla="*/ 2288136 h 2299008"/>
                <a:gd name="connsiteX4" fmla="*/ 414987 w 1298848"/>
                <a:gd name="connsiteY4" fmla="*/ 1607797 h 2299008"/>
                <a:gd name="connsiteX5" fmla="*/ 585835 w 1298848"/>
                <a:gd name="connsiteY5" fmla="*/ 503390 h 2299008"/>
                <a:gd name="connsiteX6" fmla="*/ 631598 w 1298848"/>
                <a:gd name="connsiteY6" fmla="*/ 1415593 h 2299008"/>
                <a:gd name="connsiteX7" fmla="*/ 1061767 w 1298848"/>
                <a:gd name="connsiteY7" fmla="*/ 2199661 h 2299008"/>
                <a:gd name="connsiteX8" fmla="*/ 1281428 w 1298848"/>
                <a:gd name="connsiteY8" fmla="*/ 2169152 h 2299008"/>
                <a:gd name="connsiteX9" fmla="*/ 1098377 w 1298848"/>
                <a:gd name="connsiteY9" fmla="*/ 1366780 h 2299008"/>
                <a:gd name="connsiteX10" fmla="*/ 1113632 w 1298848"/>
                <a:gd name="connsiteY10" fmla="*/ 0 h 2299008"/>
                <a:gd name="connsiteX11" fmla="*/ 91598 w 1298848"/>
                <a:gd name="connsiteY11" fmla="*/ 21356 h 2299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8848" h="2299008">
                  <a:moveTo>
                    <a:pt x="91598" y="21356"/>
                  </a:moveTo>
                  <a:lnTo>
                    <a:pt x="72" y="1403390"/>
                  </a:lnTo>
                  <a:cubicBezTo>
                    <a:pt x="72" y="1403390"/>
                    <a:pt x="-2978" y="2013559"/>
                    <a:pt x="30581" y="2205763"/>
                  </a:cubicBezTo>
                  <a:cubicBezTo>
                    <a:pt x="42785" y="2272881"/>
                    <a:pt x="207529" y="2321695"/>
                    <a:pt x="256344" y="2288136"/>
                  </a:cubicBezTo>
                  <a:cubicBezTo>
                    <a:pt x="378378" y="2230169"/>
                    <a:pt x="414987" y="1607797"/>
                    <a:pt x="414987" y="1607797"/>
                  </a:cubicBezTo>
                  <a:cubicBezTo>
                    <a:pt x="414987" y="1607797"/>
                    <a:pt x="576683" y="518644"/>
                    <a:pt x="585835" y="503390"/>
                  </a:cubicBezTo>
                  <a:cubicBezTo>
                    <a:pt x="601090" y="472881"/>
                    <a:pt x="582783" y="1192881"/>
                    <a:pt x="631598" y="1415593"/>
                  </a:cubicBezTo>
                  <a:cubicBezTo>
                    <a:pt x="680411" y="1632203"/>
                    <a:pt x="936683" y="2138644"/>
                    <a:pt x="1061767" y="2199661"/>
                  </a:cubicBezTo>
                  <a:cubicBezTo>
                    <a:pt x="1116682" y="2245424"/>
                    <a:pt x="1238716" y="2227119"/>
                    <a:pt x="1281428" y="2169152"/>
                  </a:cubicBezTo>
                  <a:cubicBezTo>
                    <a:pt x="1369904" y="2050169"/>
                    <a:pt x="1092275" y="1467458"/>
                    <a:pt x="1098377" y="1366780"/>
                  </a:cubicBezTo>
                  <a:cubicBezTo>
                    <a:pt x="1107530" y="1214237"/>
                    <a:pt x="1159394" y="97627"/>
                    <a:pt x="1113632" y="0"/>
                  </a:cubicBezTo>
                  <a:cubicBezTo>
                    <a:pt x="414987" y="36610"/>
                    <a:pt x="91598" y="21356"/>
                    <a:pt x="91598" y="21356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BC3AF729-A7B8-433F-9F7B-0C11E8E11B80}"/>
                </a:ext>
              </a:extLst>
            </p:cNvPr>
            <p:cNvGrpSpPr/>
            <p:nvPr/>
          </p:nvGrpSpPr>
          <p:grpSpPr>
            <a:xfrm>
              <a:off x="25625257" y="6157651"/>
              <a:ext cx="484733" cy="445351"/>
              <a:chOff x="25625257" y="6157651"/>
              <a:chExt cx="484733" cy="445351"/>
            </a:xfrm>
          </p:grpSpPr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6D9636EB-F538-44F9-8316-D92F1A5B378F}"/>
                  </a:ext>
                </a:extLst>
              </p:cNvPr>
              <p:cNvSpPr/>
              <p:nvPr/>
            </p:nvSpPr>
            <p:spPr>
              <a:xfrm rot="-838172">
                <a:off x="25623562" y="6498999"/>
                <a:ext cx="488123" cy="45761"/>
              </a:xfrm>
              <a:custGeom>
                <a:avLst/>
                <a:gdLst>
                  <a:gd name="connsiteX0" fmla="*/ -1 w 488123"/>
                  <a:gd name="connsiteY0" fmla="*/ 0 h 45761"/>
                  <a:gd name="connsiteX1" fmla="*/ 488123 w 488123"/>
                  <a:gd name="connsiteY1" fmla="*/ 0 h 45761"/>
                  <a:gd name="connsiteX2" fmla="*/ 488123 w 488123"/>
                  <a:gd name="connsiteY2" fmla="*/ 45761 h 45761"/>
                  <a:gd name="connsiteX3" fmla="*/ -1 w 488123"/>
                  <a:gd name="connsiteY3" fmla="*/ 45761 h 45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23" h="45761">
                    <a:moveTo>
                      <a:pt x="-1" y="0"/>
                    </a:moveTo>
                    <a:lnTo>
                      <a:pt x="488123" y="0"/>
                    </a:lnTo>
                    <a:lnTo>
                      <a:pt x="488123" y="45761"/>
                    </a:lnTo>
                    <a:lnTo>
                      <a:pt x="-1" y="45761"/>
                    </a:lnTo>
                    <a:close/>
                  </a:path>
                </a:pathLst>
              </a:custGeom>
              <a:solidFill>
                <a:srgbClr val="38333D"/>
              </a:solidFill>
              <a:ln w="30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C77AF79F-2E80-490C-BF4C-3AEACD402974}"/>
                  </a:ext>
                </a:extLst>
              </p:cNvPr>
              <p:cNvSpPr/>
              <p:nvPr/>
            </p:nvSpPr>
            <p:spPr>
              <a:xfrm>
                <a:off x="25627221" y="6157651"/>
                <a:ext cx="475877" cy="402711"/>
              </a:xfrm>
              <a:custGeom>
                <a:avLst/>
                <a:gdLst>
                  <a:gd name="connsiteX0" fmla="*/ 436339 w 475877"/>
                  <a:gd name="connsiteY0" fmla="*/ 0 h 402711"/>
                  <a:gd name="connsiteX1" fmla="*/ 112950 w 475877"/>
                  <a:gd name="connsiteY1" fmla="*/ 100678 h 402711"/>
                  <a:gd name="connsiteX2" fmla="*/ 186169 w 475877"/>
                  <a:gd name="connsiteY2" fmla="*/ 225763 h 402711"/>
                  <a:gd name="connsiteX3" fmla="*/ 137356 w 475877"/>
                  <a:gd name="connsiteY3" fmla="*/ 259322 h 402711"/>
                  <a:gd name="connsiteX4" fmla="*/ 68 w 475877"/>
                  <a:gd name="connsiteY4" fmla="*/ 402712 h 402711"/>
                  <a:gd name="connsiteX5" fmla="*/ 472949 w 475877"/>
                  <a:gd name="connsiteY5" fmla="*/ 283729 h 402711"/>
                  <a:gd name="connsiteX6" fmla="*/ 436339 w 475877"/>
                  <a:gd name="connsiteY6" fmla="*/ 0 h 402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5877" h="402711">
                    <a:moveTo>
                      <a:pt x="436339" y="0"/>
                    </a:moveTo>
                    <a:lnTo>
                      <a:pt x="112950" y="100678"/>
                    </a:lnTo>
                    <a:lnTo>
                      <a:pt x="186169" y="225763"/>
                    </a:lnTo>
                    <a:cubicBezTo>
                      <a:pt x="167865" y="237966"/>
                      <a:pt x="149558" y="250169"/>
                      <a:pt x="137356" y="259322"/>
                    </a:cubicBezTo>
                    <a:cubicBezTo>
                      <a:pt x="97695" y="283729"/>
                      <a:pt x="-2984" y="329492"/>
                      <a:pt x="68" y="402712"/>
                    </a:cubicBezTo>
                    <a:lnTo>
                      <a:pt x="472949" y="283729"/>
                    </a:lnTo>
                    <a:cubicBezTo>
                      <a:pt x="472949" y="283729"/>
                      <a:pt x="491254" y="183051"/>
                      <a:pt x="436339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8F10F81E-61CF-4A07-AAAD-C64846DAB70D}"/>
                </a:ext>
              </a:extLst>
            </p:cNvPr>
            <p:cNvGrpSpPr/>
            <p:nvPr/>
          </p:nvGrpSpPr>
          <p:grpSpPr>
            <a:xfrm>
              <a:off x="24550660" y="6273583"/>
              <a:ext cx="542731" cy="327778"/>
              <a:chOff x="24550660" y="6273583"/>
              <a:chExt cx="542731" cy="327778"/>
            </a:xfrm>
          </p:grpSpPr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CC3E85C6-2594-4390-BD83-5580CBE01BD7}"/>
                  </a:ext>
                </a:extLst>
              </p:cNvPr>
              <p:cNvSpPr/>
              <p:nvPr/>
            </p:nvSpPr>
            <p:spPr>
              <a:xfrm rot="-5212339">
                <a:off x="24772729" y="6321132"/>
                <a:ext cx="45762" cy="488130"/>
              </a:xfrm>
              <a:custGeom>
                <a:avLst/>
                <a:gdLst>
                  <a:gd name="connsiteX0" fmla="*/ 0 w 45762"/>
                  <a:gd name="connsiteY0" fmla="*/ 0 h 488130"/>
                  <a:gd name="connsiteX1" fmla="*/ 45763 w 45762"/>
                  <a:gd name="connsiteY1" fmla="*/ 0 h 488130"/>
                  <a:gd name="connsiteX2" fmla="*/ 45763 w 45762"/>
                  <a:gd name="connsiteY2" fmla="*/ 488131 h 488130"/>
                  <a:gd name="connsiteX3" fmla="*/ 0 w 45762"/>
                  <a:gd name="connsiteY3" fmla="*/ 488131 h 48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762" h="488130">
                    <a:moveTo>
                      <a:pt x="0" y="0"/>
                    </a:moveTo>
                    <a:lnTo>
                      <a:pt x="45763" y="0"/>
                    </a:lnTo>
                    <a:lnTo>
                      <a:pt x="45763" y="488131"/>
                    </a:lnTo>
                    <a:lnTo>
                      <a:pt x="0" y="488131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F5A19E41-A53B-41FB-95B9-AA7380CCF6A2}"/>
                  </a:ext>
                </a:extLst>
              </p:cNvPr>
              <p:cNvSpPr/>
              <p:nvPr/>
            </p:nvSpPr>
            <p:spPr>
              <a:xfrm>
                <a:off x="24553391" y="6273583"/>
                <a:ext cx="540000" cy="283728"/>
              </a:xfrm>
              <a:custGeom>
                <a:avLst/>
                <a:gdLst>
                  <a:gd name="connsiteX0" fmla="*/ 201355 w 540000"/>
                  <a:gd name="connsiteY0" fmla="*/ 0 h 283728"/>
                  <a:gd name="connsiteX1" fmla="*/ 231864 w 540000"/>
                  <a:gd name="connsiteY1" fmla="*/ 140339 h 283728"/>
                  <a:gd name="connsiteX2" fmla="*/ 173899 w 540000"/>
                  <a:gd name="connsiteY2" fmla="*/ 158644 h 283728"/>
                  <a:gd name="connsiteX3" fmla="*/ 0 w 540000"/>
                  <a:gd name="connsiteY3" fmla="*/ 256271 h 283728"/>
                  <a:gd name="connsiteX4" fmla="*/ 488136 w 540000"/>
                  <a:gd name="connsiteY4" fmla="*/ 283729 h 283728"/>
                  <a:gd name="connsiteX5" fmla="*/ 540000 w 540000"/>
                  <a:gd name="connsiteY5" fmla="*/ 3051 h 283728"/>
                  <a:gd name="connsiteX6" fmla="*/ 201355 w 540000"/>
                  <a:gd name="connsiteY6" fmla="*/ 0 h 28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40000" h="283728">
                    <a:moveTo>
                      <a:pt x="201355" y="0"/>
                    </a:moveTo>
                    <a:lnTo>
                      <a:pt x="231864" y="140339"/>
                    </a:lnTo>
                    <a:cubicBezTo>
                      <a:pt x="210509" y="146441"/>
                      <a:pt x="192203" y="152542"/>
                      <a:pt x="173899" y="158644"/>
                    </a:cubicBezTo>
                    <a:cubicBezTo>
                      <a:pt x="128136" y="170848"/>
                      <a:pt x="18304" y="186102"/>
                      <a:pt x="0" y="256271"/>
                    </a:cubicBezTo>
                    <a:lnTo>
                      <a:pt x="488136" y="283729"/>
                    </a:lnTo>
                    <a:cubicBezTo>
                      <a:pt x="488136" y="283729"/>
                      <a:pt x="533898" y="192203"/>
                      <a:pt x="540000" y="3051"/>
                    </a:cubicBezTo>
                    <a:lnTo>
                      <a:pt x="201355" y="0"/>
                    </a:ln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CC4024EF-E323-4A1C-91FF-D8B18FF37EEB}"/>
                </a:ext>
              </a:extLst>
            </p:cNvPr>
            <p:cNvSpPr/>
            <p:nvPr/>
          </p:nvSpPr>
          <p:spPr>
            <a:xfrm>
              <a:off x="23756828" y="2693096"/>
              <a:ext cx="1343539" cy="1115430"/>
            </a:xfrm>
            <a:custGeom>
              <a:avLst/>
              <a:gdLst>
                <a:gd name="connsiteX0" fmla="*/ 1275546 w 1343539"/>
                <a:gd name="connsiteY0" fmla="*/ 7945 h 1115430"/>
                <a:gd name="connsiteX1" fmla="*/ 872833 w 1343539"/>
                <a:gd name="connsiteY1" fmla="*/ 334385 h 1115430"/>
                <a:gd name="connsiteX2" fmla="*/ 616561 w 1343539"/>
                <a:gd name="connsiteY2" fmla="*/ 752351 h 1115430"/>
                <a:gd name="connsiteX3" fmla="*/ 97917 w 1343539"/>
                <a:gd name="connsiteY3" fmla="*/ 557097 h 1115430"/>
                <a:gd name="connsiteX4" fmla="*/ 292 w 1343539"/>
                <a:gd name="connsiteY4" fmla="*/ 688284 h 1115430"/>
                <a:gd name="connsiteX5" fmla="*/ 659274 w 1343539"/>
                <a:gd name="connsiteY5" fmla="*/ 1115402 h 1115430"/>
                <a:gd name="connsiteX6" fmla="*/ 1275546 w 1343539"/>
                <a:gd name="connsiteY6" fmla="*/ 7945 h 1115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3539" h="1115430">
                  <a:moveTo>
                    <a:pt x="1275546" y="7945"/>
                  </a:moveTo>
                  <a:cubicBezTo>
                    <a:pt x="1153512" y="-50022"/>
                    <a:pt x="939952" y="224555"/>
                    <a:pt x="872833" y="334385"/>
                  </a:cubicBezTo>
                  <a:cubicBezTo>
                    <a:pt x="811816" y="432012"/>
                    <a:pt x="616561" y="752351"/>
                    <a:pt x="616561" y="752351"/>
                  </a:cubicBezTo>
                  <a:cubicBezTo>
                    <a:pt x="616561" y="752351"/>
                    <a:pt x="134528" y="447267"/>
                    <a:pt x="97917" y="557097"/>
                  </a:cubicBezTo>
                  <a:cubicBezTo>
                    <a:pt x="85715" y="618114"/>
                    <a:pt x="-5810" y="645572"/>
                    <a:pt x="292" y="688284"/>
                  </a:cubicBezTo>
                  <a:cubicBezTo>
                    <a:pt x="104019" y="843877"/>
                    <a:pt x="531138" y="1112351"/>
                    <a:pt x="659274" y="1115402"/>
                  </a:cubicBezTo>
                  <a:cubicBezTo>
                    <a:pt x="921646" y="1121504"/>
                    <a:pt x="1550122" y="139131"/>
                    <a:pt x="1275546" y="7945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BD16BDC7-82B6-4320-AB21-B07405BB091C}"/>
                </a:ext>
              </a:extLst>
            </p:cNvPr>
            <p:cNvSpPr/>
            <p:nvPr/>
          </p:nvSpPr>
          <p:spPr>
            <a:xfrm>
              <a:off x="25294746" y="4232566"/>
              <a:ext cx="71366" cy="363050"/>
            </a:xfrm>
            <a:custGeom>
              <a:avLst/>
              <a:gdLst>
                <a:gd name="connsiteX0" fmla="*/ 64069 w 71366"/>
                <a:gd name="connsiteY0" fmla="*/ 363051 h 363050"/>
                <a:gd name="connsiteX1" fmla="*/ 57967 w 71366"/>
                <a:gd name="connsiteY1" fmla="*/ 360000 h 363050"/>
                <a:gd name="connsiteX2" fmla="*/ 0 w 71366"/>
                <a:gd name="connsiteY2" fmla="*/ 6102 h 363050"/>
                <a:gd name="connsiteX3" fmla="*/ 6102 w 71366"/>
                <a:gd name="connsiteY3" fmla="*/ 0 h 363050"/>
                <a:gd name="connsiteX4" fmla="*/ 6102 w 71366"/>
                <a:gd name="connsiteY4" fmla="*/ 0 h 363050"/>
                <a:gd name="connsiteX5" fmla="*/ 12204 w 71366"/>
                <a:gd name="connsiteY5" fmla="*/ 6102 h 363050"/>
                <a:gd name="connsiteX6" fmla="*/ 70169 w 71366"/>
                <a:gd name="connsiteY6" fmla="*/ 356949 h 363050"/>
                <a:gd name="connsiteX7" fmla="*/ 64069 w 71366"/>
                <a:gd name="connsiteY7" fmla="*/ 363051 h 363050"/>
                <a:gd name="connsiteX8" fmla="*/ 64069 w 71366"/>
                <a:gd name="connsiteY8" fmla="*/ 363051 h 36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366" h="363050">
                  <a:moveTo>
                    <a:pt x="64069" y="363051"/>
                  </a:moveTo>
                  <a:cubicBezTo>
                    <a:pt x="61017" y="363051"/>
                    <a:pt x="61017" y="363051"/>
                    <a:pt x="57967" y="360000"/>
                  </a:cubicBezTo>
                  <a:cubicBezTo>
                    <a:pt x="9152" y="244068"/>
                    <a:pt x="0" y="15254"/>
                    <a:pt x="0" y="6102"/>
                  </a:cubicBezTo>
                  <a:cubicBezTo>
                    <a:pt x="0" y="3051"/>
                    <a:pt x="3052" y="0"/>
                    <a:pt x="6102" y="0"/>
                  </a:cubicBezTo>
                  <a:cubicBezTo>
                    <a:pt x="6102" y="0"/>
                    <a:pt x="6102" y="0"/>
                    <a:pt x="6102" y="0"/>
                  </a:cubicBezTo>
                  <a:cubicBezTo>
                    <a:pt x="9152" y="0"/>
                    <a:pt x="12204" y="3051"/>
                    <a:pt x="12204" y="6102"/>
                  </a:cubicBezTo>
                  <a:cubicBezTo>
                    <a:pt x="12204" y="9153"/>
                    <a:pt x="21356" y="244068"/>
                    <a:pt x="70169" y="356949"/>
                  </a:cubicBezTo>
                  <a:cubicBezTo>
                    <a:pt x="73221" y="356949"/>
                    <a:pt x="70169" y="360000"/>
                    <a:pt x="64069" y="363051"/>
                  </a:cubicBezTo>
                  <a:cubicBezTo>
                    <a:pt x="67119" y="363051"/>
                    <a:pt x="67119" y="363051"/>
                    <a:pt x="64069" y="363051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07E20D76-13BB-41F9-B34E-A59FE64A224E}"/>
                </a:ext>
              </a:extLst>
            </p:cNvPr>
            <p:cNvSpPr/>
            <p:nvPr/>
          </p:nvSpPr>
          <p:spPr>
            <a:xfrm>
              <a:off x="25184916" y="4162397"/>
              <a:ext cx="155592" cy="353898"/>
            </a:xfrm>
            <a:custGeom>
              <a:avLst/>
              <a:gdLst>
                <a:gd name="connsiteX0" fmla="*/ 146440 w 155592"/>
                <a:gd name="connsiteY0" fmla="*/ 353898 h 353898"/>
                <a:gd name="connsiteX1" fmla="*/ 143390 w 155592"/>
                <a:gd name="connsiteY1" fmla="*/ 353898 h 353898"/>
                <a:gd name="connsiteX2" fmla="*/ 33559 w 155592"/>
                <a:gd name="connsiteY2" fmla="*/ 274576 h 353898"/>
                <a:gd name="connsiteX3" fmla="*/ 0 w 155592"/>
                <a:gd name="connsiteY3" fmla="*/ 6102 h 353898"/>
                <a:gd name="connsiteX4" fmla="*/ 6102 w 155592"/>
                <a:gd name="connsiteY4" fmla="*/ 0 h 353898"/>
                <a:gd name="connsiteX5" fmla="*/ 12202 w 155592"/>
                <a:gd name="connsiteY5" fmla="*/ 6102 h 353898"/>
                <a:gd name="connsiteX6" fmla="*/ 45763 w 155592"/>
                <a:gd name="connsiteY6" fmla="*/ 268474 h 353898"/>
                <a:gd name="connsiteX7" fmla="*/ 152542 w 155592"/>
                <a:gd name="connsiteY7" fmla="*/ 344746 h 353898"/>
                <a:gd name="connsiteX8" fmla="*/ 155592 w 155592"/>
                <a:gd name="connsiteY8" fmla="*/ 353898 h 353898"/>
                <a:gd name="connsiteX9" fmla="*/ 146440 w 155592"/>
                <a:gd name="connsiteY9" fmla="*/ 353898 h 353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5592" h="353898">
                  <a:moveTo>
                    <a:pt x="146440" y="353898"/>
                  </a:moveTo>
                  <a:cubicBezTo>
                    <a:pt x="146440" y="353898"/>
                    <a:pt x="143390" y="353898"/>
                    <a:pt x="143390" y="353898"/>
                  </a:cubicBezTo>
                  <a:cubicBezTo>
                    <a:pt x="134236" y="347796"/>
                    <a:pt x="45763" y="289831"/>
                    <a:pt x="33559" y="274576"/>
                  </a:cubicBezTo>
                  <a:cubicBezTo>
                    <a:pt x="21356" y="259322"/>
                    <a:pt x="3050" y="48814"/>
                    <a:pt x="0" y="6102"/>
                  </a:cubicBezTo>
                  <a:cubicBezTo>
                    <a:pt x="0" y="3051"/>
                    <a:pt x="3050" y="0"/>
                    <a:pt x="6102" y="0"/>
                  </a:cubicBezTo>
                  <a:cubicBezTo>
                    <a:pt x="9152" y="0"/>
                    <a:pt x="12202" y="3051"/>
                    <a:pt x="12202" y="6102"/>
                  </a:cubicBezTo>
                  <a:cubicBezTo>
                    <a:pt x="21356" y="100678"/>
                    <a:pt x="36611" y="256271"/>
                    <a:pt x="45763" y="268474"/>
                  </a:cubicBezTo>
                  <a:cubicBezTo>
                    <a:pt x="54915" y="277627"/>
                    <a:pt x="112882" y="320339"/>
                    <a:pt x="152542" y="344746"/>
                  </a:cubicBezTo>
                  <a:cubicBezTo>
                    <a:pt x="155592" y="347796"/>
                    <a:pt x="155592" y="350847"/>
                    <a:pt x="155592" y="353898"/>
                  </a:cubicBezTo>
                  <a:cubicBezTo>
                    <a:pt x="149490" y="353898"/>
                    <a:pt x="146440" y="353898"/>
                    <a:pt x="146440" y="353898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E05F1A18-684A-437F-9CE0-22E4DE3F9153}"/>
                </a:ext>
              </a:extLst>
            </p:cNvPr>
            <p:cNvSpPr/>
            <p:nvPr/>
          </p:nvSpPr>
          <p:spPr>
            <a:xfrm>
              <a:off x="25490001" y="2295278"/>
              <a:ext cx="67119" cy="140338"/>
            </a:xfrm>
            <a:custGeom>
              <a:avLst/>
              <a:gdLst>
                <a:gd name="connsiteX0" fmla="*/ 67119 w 67119"/>
                <a:gd name="connsiteY0" fmla="*/ 0 h 140338"/>
                <a:gd name="connsiteX1" fmla="*/ 3050 w 67119"/>
                <a:gd name="connsiteY1" fmla="*/ 140339 h 140338"/>
                <a:gd name="connsiteX2" fmla="*/ 0 w 67119"/>
                <a:gd name="connsiteY2" fmla="*/ 54915 h 140338"/>
                <a:gd name="connsiteX3" fmla="*/ 67119 w 67119"/>
                <a:gd name="connsiteY3" fmla="*/ 0 h 14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19" h="140338">
                  <a:moveTo>
                    <a:pt x="67119" y="0"/>
                  </a:moveTo>
                  <a:cubicBezTo>
                    <a:pt x="67119" y="0"/>
                    <a:pt x="54915" y="118983"/>
                    <a:pt x="3050" y="140339"/>
                  </a:cubicBezTo>
                  <a:lnTo>
                    <a:pt x="0" y="54915"/>
                  </a:lnTo>
                  <a:lnTo>
                    <a:pt x="67119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5D7C65ED-F7FF-40BC-A6AA-907BBD80AD0E}"/>
                </a:ext>
              </a:extLst>
            </p:cNvPr>
            <p:cNvSpPr/>
            <p:nvPr/>
          </p:nvSpPr>
          <p:spPr>
            <a:xfrm>
              <a:off x="25096240" y="2093922"/>
              <a:ext cx="101807" cy="237945"/>
            </a:xfrm>
            <a:custGeom>
              <a:avLst/>
              <a:gdLst>
                <a:gd name="connsiteX0" fmla="*/ 6303 w 101807"/>
                <a:gd name="connsiteY0" fmla="*/ 0 h 237945"/>
                <a:gd name="connsiteX1" fmla="*/ 49016 w 101807"/>
                <a:gd name="connsiteY1" fmla="*/ 234915 h 237945"/>
                <a:gd name="connsiteX2" fmla="*/ 100879 w 101807"/>
                <a:gd name="connsiteY2" fmla="*/ 12203 h 237945"/>
                <a:gd name="connsiteX3" fmla="*/ 6303 w 101807"/>
                <a:gd name="connsiteY3" fmla="*/ 0 h 23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07" h="237945">
                  <a:moveTo>
                    <a:pt x="6303" y="0"/>
                  </a:moveTo>
                  <a:cubicBezTo>
                    <a:pt x="6303" y="0"/>
                    <a:pt x="-24205" y="195254"/>
                    <a:pt x="49016" y="234915"/>
                  </a:cubicBezTo>
                  <a:cubicBezTo>
                    <a:pt x="113083" y="268475"/>
                    <a:pt x="100879" y="12203"/>
                    <a:pt x="100879" y="12203"/>
                  </a:cubicBezTo>
                  <a:lnTo>
                    <a:pt x="6303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9205D0C-2C2D-4D38-9012-FE1599CB94EB}"/>
                </a:ext>
              </a:extLst>
            </p:cNvPr>
            <p:cNvSpPr/>
            <p:nvPr/>
          </p:nvSpPr>
          <p:spPr>
            <a:xfrm>
              <a:off x="25132712" y="1952693"/>
              <a:ext cx="421356" cy="568951"/>
            </a:xfrm>
            <a:custGeom>
              <a:avLst/>
              <a:gdLst>
                <a:gd name="connsiteX0" fmla="*/ 9492 w 421356"/>
                <a:gd name="connsiteY0" fmla="*/ 183941 h 568951"/>
                <a:gd name="connsiteX1" fmla="*/ 9492 w 421356"/>
                <a:gd name="connsiteY1" fmla="*/ 434111 h 568951"/>
                <a:gd name="connsiteX2" fmla="*/ 168136 w 421356"/>
                <a:gd name="connsiteY2" fmla="*/ 568348 h 568951"/>
                <a:gd name="connsiteX3" fmla="*/ 384746 w 421356"/>
                <a:gd name="connsiteY3" fmla="*/ 424958 h 568951"/>
                <a:gd name="connsiteX4" fmla="*/ 421356 w 421356"/>
                <a:gd name="connsiteY4" fmla="*/ 199195 h 568951"/>
                <a:gd name="connsiteX5" fmla="*/ 207797 w 421356"/>
                <a:gd name="connsiteY5" fmla="*/ 890 h 568951"/>
                <a:gd name="connsiteX6" fmla="*/ 9492 w 421356"/>
                <a:gd name="connsiteY6" fmla="*/ 183941 h 568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356" h="568951">
                  <a:moveTo>
                    <a:pt x="9492" y="183941"/>
                  </a:moveTo>
                  <a:cubicBezTo>
                    <a:pt x="9492" y="183941"/>
                    <a:pt x="-11865" y="360890"/>
                    <a:pt x="9492" y="434111"/>
                  </a:cubicBezTo>
                  <a:cubicBezTo>
                    <a:pt x="27798" y="501229"/>
                    <a:pt x="119323" y="565297"/>
                    <a:pt x="168136" y="568348"/>
                  </a:cubicBezTo>
                  <a:cubicBezTo>
                    <a:pt x="235255" y="574450"/>
                    <a:pt x="354237" y="534789"/>
                    <a:pt x="384746" y="424958"/>
                  </a:cubicBezTo>
                  <a:cubicBezTo>
                    <a:pt x="406102" y="351738"/>
                    <a:pt x="421356" y="251060"/>
                    <a:pt x="421356" y="199195"/>
                  </a:cubicBezTo>
                  <a:cubicBezTo>
                    <a:pt x="418306" y="104619"/>
                    <a:pt x="393900" y="25297"/>
                    <a:pt x="207797" y="890"/>
                  </a:cubicBezTo>
                  <a:cubicBezTo>
                    <a:pt x="122373" y="-11313"/>
                    <a:pt x="27798" y="104619"/>
                    <a:pt x="9492" y="18394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22DA9D26-480E-4F65-9C70-CB95F41F4F47}"/>
                </a:ext>
              </a:extLst>
            </p:cNvPr>
            <p:cNvSpPr/>
            <p:nvPr/>
          </p:nvSpPr>
          <p:spPr>
            <a:xfrm>
              <a:off x="25196342" y="2194001"/>
              <a:ext cx="41216" cy="41036"/>
            </a:xfrm>
            <a:custGeom>
              <a:avLst/>
              <a:gdLst>
                <a:gd name="connsiteX0" fmla="*/ 40440 w 41216"/>
                <a:gd name="connsiteY0" fmla="*/ 25005 h 41036"/>
                <a:gd name="connsiteX1" fmla="*/ 16031 w 41216"/>
                <a:gd name="connsiteY1" fmla="*/ 40259 h 41036"/>
                <a:gd name="connsiteX2" fmla="*/ 777 w 41216"/>
                <a:gd name="connsiteY2" fmla="*/ 15853 h 41036"/>
                <a:gd name="connsiteX3" fmla="*/ 25185 w 41216"/>
                <a:gd name="connsiteY3" fmla="*/ 598 h 41036"/>
                <a:gd name="connsiteX4" fmla="*/ 40440 w 41216"/>
                <a:gd name="connsiteY4" fmla="*/ 25005 h 4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6" h="41036">
                  <a:moveTo>
                    <a:pt x="40440" y="25005"/>
                  </a:moveTo>
                  <a:cubicBezTo>
                    <a:pt x="37388" y="37209"/>
                    <a:pt x="28235" y="43310"/>
                    <a:pt x="16031" y="40259"/>
                  </a:cubicBezTo>
                  <a:cubicBezTo>
                    <a:pt x="3829" y="37209"/>
                    <a:pt x="-2273" y="28056"/>
                    <a:pt x="777" y="15853"/>
                  </a:cubicBezTo>
                  <a:cubicBezTo>
                    <a:pt x="3829" y="6700"/>
                    <a:pt x="12981" y="-2452"/>
                    <a:pt x="25185" y="598"/>
                  </a:cubicBezTo>
                  <a:cubicBezTo>
                    <a:pt x="37388" y="3649"/>
                    <a:pt x="43490" y="15853"/>
                    <a:pt x="40440" y="25005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7A43930B-3B0B-47DB-B102-B4B8910FED5C}"/>
                </a:ext>
              </a:extLst>
            </p:cNvPr>
            <p:cNvSpPr/>
            <p:nvPr/>
          </p:nvSpPr>
          <p:spPr>
            <a:xfrm>
              <a:off x="25379392" y="2212307"/>
              <a:ext cx="41216" cy="41036"/>
            </a:xfrm>
            <a:custGeom>
              <a:avLst/>
              <a:gdLst>
                <a:gd name="connsiteX0" fmla="*/ 40440 w 41216"/>
                <a:gd name="connsiteY0" fmla="*/ 25005 h 41036"/>
                <a:gd name="connsiteX1" fmla="*/ 16031 w 41216"/>
                <a:gd name="connsiteY1" fmla="*/ 40259 h 41036"/>
                <a:gd name="connsiteX2" fmla="*/ 777 w 41216"/>
                <a:gd name="connsiteY2" fmla="*/ 15853 h 41036"/>
                <a:gd name="connsiteX3" fmla="*/ 25185 w 41216"/>
                <a:gd name="connsiteY3" fmla="*/ 598 h 41036"/>
                <a:gd name="connsiteX4" fmla="*/ 40440 w 41216"/>
                <a:gd name="connsiteY4" fmla="*/ 25005 h 4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6" h="41036">
                  <a:moveTo>
                    <a:pt x="40440" y="25005"/>
                  </a:moveTo>
                  <a:cubicBezTo>
                    <a:pt x="37388" y="37209"/>
                    <a:pt x="28235" y="43310"/>
                    <a:pt x="16031" y="40259"/>
                  </a:cubicBezTo>
                  <a:cubicBezTo>
                    <a:pt x="3829" y="37209"/>
                    <a:pt x="-2273" y="28056"/>
                    <a:pt x="777" y="15853"/>
                  </a:cubicBezTo>
                  <a:cubicBezTo>
                    <a:pt x="3829" y="6700"/>
                    <a:pt x="12981" y="-2452"/>
                    <a:pt x="25185" y="598"/>
                  </a:cubicBezTo>
                  <a:cubicBezTo>
                    <a:pt x="37388" y="3649"/>
                    <a:pt x="43490" y="12802"/>
                    <a:pt x="40440" y="25005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1DA2FE0A-BA4A-494A-8BAE-B6C763CE6AB2}"/>
                </a:ext>
              </a:extLst>
            </p:cNvPr>
            <p:cNvSpPr/>
            <p:nvPr/>
          </p:nvSpPr>
          <p:spPr>
            <a:xfrm>
              <a:off x="25173475" y="2144621"/>
              <a:ext cx="92026" cy="34725"/>
            </a:xfrm>
            <a:custGeom>
              <a:avLst/>
              <a:gdLst>
                <a:gd name="connsiteX0" fmla="*/ 8389 w 92026"/>
                <a:gd name="connsiteY0" fmla="*/ 34725 h 34725"/>
                <a:gd name="connsiteX1" fmla="*/ 2289 w 92026"/>
                <a:gd name="connsiteY1" fmla="*/ 31674 h 34725"/>
                <a:gd name="connsiteX2" fmla="*/ 2289 w 92026"/>
                <a:gd name="connsiteY2" fmla="*/ 19471 h 34725"/>
                <a:gd name="connsiteX3" fmla="*/ 87712 w 92026"/>
                <a:gd name="connsiteY3" fmla="*/ 10318 h 34725"/>
                <a:gd name="connsiteX4" fmla="*/ 90762 w 92026"/>
                <a:gd name="connsiteY4" fmla="*/ 19471 h 34725"/>
                <a:gd name="connsiteX5" fmla="*/ 81610 w 92026"/>
                <a:gd name="connsiteY5" fmla="*/ 22522 h 34725"/>
                <a:gd name="connsiteX6" fmla="*/ 14491 w 92026"/>
                <a:gd name="connsiteY6" fmla="*/ 28623 h 34725"/>
                <a:gd name="connsiteX7" fmla="*/ 8389 w 92026"/>
                <a:gd name="connsiteY7" fmla="*/ 34725 h 3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4725">
                  <a:moveTo>
                    <a:pt x="8389" y="34725"/>
                  </a:moveTo>
                  <a:cubicBezTo>
                    <a:pt x="5339" y="34725"/>
                    <a:pt x="5339" y="34725"/>
                    <a:pt x="2289" y="31674"/>
                  </a:cubicBezTo>
                  <a:cubicBezTo>
                    <a:pt x="-763" y="28623"/>
                    <a:pt x="-763" y="22522"/>
                    <a:pt x="2289" y="19471"/>
                  </a:cubicBezTo>
                  <a:cubicBezTo>
                    <a:pt x="29745" y="-11038"/>
                    <a:pt x="69406" y="1166"/>
                    <a:pt x="87712" y="10318"/>
                  </a:cubicBezTo>
                  <a:cubicBezTo>
                    <a:pt x="90762" y="13369"/>
                    <a:pt x="93814" y="16420"/>
                    <a:pt x="90762" y="19471"/>
                  </a:cubicBezTo>
                  <a:cubicBezTo>
                    <a:pt x="87712" y="22522"/>
                    <a:pt x="84660" y="25573"/>
                    <a:pt x="81610" y="22522"/>
                  </a:cubicBezTo>
                  <a:cubicBezTo>
                    <a:pt x="78560" y="22522"/>
                    <a:pt x="38898" y="1166"/>
                    <a:pt x="14491" y="28623"/>
                  </a:cubicBezTo>
                  <a:cubicBezTo>
                    <a:pt x="11441" y="34725"/>
                    <a:pt x="8389" y="34725"/>
                    <a:pt x="8389" y="34725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8956BC6E-ED62-4A87-91DE-F294665EC164}"/>
                </a:ext>
              </a:extLst>
            </p:cNvPr>
            <p:cNvSpPr/>
            <p:nvPr/>
          </p:nvSpPr>
          <p:spPr>
            <a:xfrm>
              <a:off x="25360602" y="2146097"/>
              <a:ext cx="92026" cy="36299"/>
            </a:xfrm>
            <a:custGeom>
              <a:avLst/>
              <a:gdLst>
                <a:gd name="connsiteX0" fmla="*/ 86687 w 92026"/>
                <a:gd name="connsiteY0" fmla="*/ 36300 h 36299"/>
                <a:gd name="connsiteX1" fmla="*/ 80585 w 92026"/>
                <a:gd name="connsiteY1" fmla="*/ 33249 h 36299"/>
                <a:gd name="connsiteX2" fmla="*/ 13468 w 92026"/>
                <a:gd name="connsiteY2" fmla="*/ 27147 h 36299"/>
                <a:gd name="connsiteX3" fmla="*/ 1263 w 92026"/>
                <a:gd name="connsiteY3" fmla="*/ 24096 h 36299"/>
                <a:gd name="connsiteX4" fmla="*/ 4313 w 92026"/>
                <a:gd name="connsiteY4" fmla="*/ 11893 h 36299"/>
                <a:gd name="connsiteX5" fmla="*/ 89739 w 92026"/>
                <a:gd name="connsiteY5" fmla="*/ 21045 h 36299"/>
                <a:gd name="connsiteX6" fmla="*/ 89739 w 92026"/>
                <a:gd name="connsiteY6" fmla="*/ 33249 h 36299"/>
                <a:gd name="connsiteX7" fmla="*/ 86687 w 92026"/>
                <a:gd name="connsiteY7" fmla="*/ 36300 h 3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6299">
                  <a:moveTo>
                    <a:pt x="86687" y="36300"/>
                  </a:moveTo>
                  <a:cubicBezTo>
                    <a:pt x="83637" y="36300"/>
                    <a:pt x="83637" y="36300"/>
                    <a:pt x="80585" y="33249"/>
                  </a:cubicBezTo>
                  <a:cubicBezTo>
                    <a:pt x="80585" y="33249"/>
                    <a:pt x="50076" y="2740"/>
                    <a:pt x="13468" y="27147"/>
                  </a:cubicBezTo>
                  <a:cubicBezTo>
                    <a:pt x="10416" y="30198"/>
                    <a:pt x="4313" y="27147"/>
                    <a:pt x="1263" y="24096"/>
                  </a:cubicBezTo>
                  <a:cubicBezTo>
                    <a:pt x="-1787" y="21045"/>
                    <a:pt x="1263" y="14944"/>
                    <a:pt x="4313" y="11893"/>
                  </a:cubicBezTo>
                  <a:cubicBezTo>
                    <a:pt x="40924" y="-12514"/>
                    <a:pt x="77535" y="5791"/>
                    <a:pt x="89739" y="21045"/>
                  </a:cubicBezTo>
                  <a:cubicBezTo>
                    <a:pt x="92789" y="24096"/>
                    <a:pt x="92789" y="30198"/>
                    <a:pt x="89739" y="33249"/>
                  </a:cubicBezTo>
                  <a:cubicBezTo>
                    <a:pt x="89739" y="33249"/>
                    <a:pt x="89739" y="36300"/>
                    <a:pt x="86687" y="36300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C2363056-382A-4C60-A65B-0B7FFDC45997}"/>
                </a:ext>
              </a:extLst>
            </p:cNvPr>
            <p:cNvSpPr/>
            <p:nvPr/>
          </p:nvSpPr>
          <p:spPr>
            <a:xfrm>
              <a:off x="25516102" y="2211419"/>
              <a:ext cx="78991" cy="114126"/>
            </a:xfrm>
            <a:custGeom>
              <a:avLst/>
              <a:gdLst>
                <a:gd name="connsiteX0" fmla="*/ 13559 w 78991"/>
                <a:gd name="connsiteY0" fmla="*/ 16740 h 114126"/>
                <a:gd name="connsiteX1" fmla="*/ 71526 w 78991"/>
                <a:gd name="connsiteY1" fmla="*/ 7587 h 114126"/>
                <a:gd name="connsiteX2" fmla="*/ 13559 w 78991"/>
                <a:gd name="connsiteY2" fmla="*/ 111316 h 114126"/>
                <a:gd name="connsiteX3" fmla="*/ 13559 w 78991"/>
                <a:gd name="connsiteY3" fmla="*/ 16740 h 11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91" h="114126">
                  <a:moveTo>
                    <a:pt x="13559" y="16740"/>
                  </a:moveTo>
                  <a:cubicBezTo>
                    <a:pt x="13559" y="16740"/>
                    <a:pt x="47118" y="-13769"/>
                    <a:pt x="71526" y="7587"/>
                  </a:cubicBezTo>
                  <a:cubicBezTo>
                    <a:pt x="95933" y="25892"/>
                    <a:pt x="56272" y="132672"/>
                    <a:pt x="13559" y="111316"/>
                  </a:cubicBezTo>
                  <a:cubicBezTo>
                    <a:pt x="-16949" y="89960"/>
                    <a:pt x="13559" y="16740"/>
                    <a:pt x="13559" y="16740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696C4D08-AD34-43CD-96CD-56E538FEE9ED}"/>
                </a:ext>
              </a:extLst>
            </p:cNvPr>
            <p:cNvSpPr/>
            <p:nvPr/>
          </p:nvSpPr>
          <p:spPr>
            <a:xfrm>
              <a:off x="25086749" y="1841794"/>
              <a:ext cx="513082" cy="404670"/>
            </a:xfrm>
            <a:custGeom>
              <a:avLst/>
              <a:gdLst>
                <a:gd name="connsiteX0" fmla="*/ 449015 w 513082"/>
                <a:gd name="connsiteY0" fmla="*/ 136196 h 404670"/>
                <a:gd name="connsiteX1" fmla="*/ 430709 w 513082"/>
                <a:gd name="connsiteY1" fmla="*/ 96535 h 404670"/>
                <a:gd name="connsiteX2" fmla="*/ 418507 w 513082"/>
                <a:gd name="connsiteY2" fmla="*/ 99586 h 404670"/>
                <a:gd name="connsiteX3" fmla="*/ 387998 w 513082"/>
                <a:gd name="connsiteY3" fmla="*/ 78230 h 404670"/>
                <a:gd name="connsiteX4" fmla="*/ 375794 w 513082"/>
                <a:gd name="connsiteY4" fmla="*/ 59925 h 404670"/>
                <a:gd name="connsiteX5" fmla="*/ 345286 w 513082"/>
                <a:gd name="connsiteY5" fmla="*/ 26365 h 404670"/>
                <a:gd name="connsiteX6" fmla="*/ 311727 w 513082"/>
                <a:gd name="connsiteY6" fmla="*/ 23315 h 404670"/>
                <a:gd name="connsiteX7" fmla="*/ 256812 w 513082"/>
                <a:gd name="connsiteY7" fmla="*/ 8060 h 404670"/>
                <a:gd name="connsiteX8" fmla="*/ 244608 w 513082"/>
                <a:gd name="connsiteY8" fmla="*/ 1959 h 404670"/>
                <a:gd name="connsiteX9" fmla="*/ 119524 w 513082"/>
                <a:gd name="connsiteY9" fmla="*/ 38569 h 404670"/>
                <a:gd name="connsiteX10" fmla="*/ 58507 w 513082"/>
                <a:gd name="connsiteY10" fmla="*/ 59925 h 404670"/>
                <a:gd name="connsiteX11" fmla="*/ 43253 w 513082"/>
                <a:gd name="connsiteY11" fmla="*/ 102637 h 404670"/>
                <a:gd name="connsiteX12" fmla="*/ 24947 w 513082"/>
                <a:gd name="connsiteY12" fmla="*/ 130094 h 404670"/>
                <a:gd name="connsiteX13" fmla="*/ 18845 w 513082"/>
                <a:gd name="connsiteY13" fmla="*/ 166704 h 404670"/>
                <a:gd name="connsiteX14" fmla="*/ 21897 w 513082"/>
                <a:gd name="connsiteY14" fmla="*/ 200264 h 404670"/>
                <a:gd name="connsiteX15" fmla="*/ 3590 w 513082"/>
                <a:gd name="connsiteY15" fmla="*/ 242976 h 404670"/>
                <a:gd name="connsiteX16" fmla="*/ 21897 w 513082"/>
                <a:gd name="connsiteY16" fmla="*/ 340603 h 404670"/>
                <a:gd name="connsiteX17" fmla="*/ 31049 w 513082"/>
                <a:gd name="connsiteY17" fmla="*/ 343653 h 404670"/>
                <a:gd name="connsiteX18" fmla="*/ 40201 w 513082"/>
                <a:gd name="connsiteY18" fmla="*/ 374162 h 404670"/>
                <a:gd name="connsiteX19" fmla="*/ 58507 w 513082"/>
                <a:gd name="connsiteY19" fmla="*/ 319247 h 404670"/>
                <a:gd name="connsiteX20" fmla="*/ 89016 w 513082"/>
                <a:gd name="connsiteY20" fmla="*/ 307043 h 404670"/>
                <a:gd name="connsiteX21" fmla="*/ 107320 w 513082"/>
                <a:gd name="connsiteY21" fmla="*/ 285687 h 404670"/>
                <a:gd name="connsiteX22" fmla="*/ 113422 w 513082"/>
                <a:gd name="connsiteY22" fmla="*/ 276535 h 404670"/>
                <a:gd name="connsiteX23" fmla="*/ 119524 w 513082"/>
                <a:gd name="connsiteY23" fmla="*/ 273484 h 404670"/>
                <a:gd name="connsiteX24" fmla="*/ 125624 w 513082"/>
                <a:gd name="connsiteY24" fmla="*/ 273484 h 404670"/>
                <a:gd name="connsiteX25" fmla="*/ 131726 w 513082"/>
                <a:gd name="connsiteY25" fmla="*/ 270433 h 404670"/>
                <a:gd name="connsiteX26" fmla="*/ 140879 w 513082"/>
                <a:gd name="connsiteY26" fmla="*/ 264331 h 404670"/>
                <a:gd name="connsiteX27" fmla="*/ 153083 w 513082"/>
                <a:gd name="connsiteY27" fmla="*/ 267382 h 404670"/>
                <a:gd name="connsiteX28" fmla="*/ 165287 w 513082"/>
                <a:gd name="connsiteY28" fmla="*/ 267382 h 404670"/>
                <a:gd name="connsiteX29" fmla="*/ 201896 w 513082"/>
                <a:gd name="connsiteY29" fmla="*/ 258230 h 404670"/>
                <a:gd name="connsiteX30" fmla="*/ 253760 w 513082"/>
                <a:gd name="connsiteY30" fmla="*/ 242976 h 404670"/>
                <a:gd name="connsiteX31" fmla="*/ 269015 w 513082"/>
                <a:gd name="connsiteY31" fmla="*/ 252128 h 404670"/>
                <a:gd name="connsiteX32" fmla="*/ 305625 w 513082"/>
                <a:gd name="connsiteY32" fmla="*/ 230772 h 404670"/>
                <a:gd name="connsiteX33" fmla="*/ 317829 w 513082"/>
                <a:gd name="connsiteY33" fmla="*/ 233823 h 404670"/>
                <a:gd name="connsiteX34" fmla="*/ 394100 w 513082"/>
                <a:gd name="connsiteY34" fmla="*/ 261281 h 404670"/>
                <a:gd name="connsiteX35" fmla="*/ 403253 w 513082"/>
                <a:gd name="connsiteY35" fmla="*/ 264331 h 404670"/>
                <a:gd name="connsiteX36" fmla="*/ 455117 w 513082"/>
                <a:gd name="connsiteY36" fmla="*/ 404670 h 404670"/>
                <a:gd name="connsiteX37" fmla="*/ 513082 w 513082"/>
                <a:gd name="connsiteY37" fmla="*/ 303992 h 404670"/>
                <a:gd name="connsiteX38" fmla="*/ 449015 w 513082"/>
                <a:gd name="connsiteY38" fmla="*/ 136196 h 40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3082" h="404670">
                  <a:moveTo>
                    <a:pt x="449015" y="136196"/>
                  </a:moveTo>
                  <a:cubicBezTo>
                    <a:pt x="449015" y="120942"/>
                    <a:pt x="445963" y="105687"/>
                    <a:pt x="430709" y="96535"/>
                  </a:cubicBezTo>
                  <a:cubicBezTo>
                    <a:pt x="415455" y="84331"/>
                    <a:pt x="418507" y="96535"/>
                    <a:pt x="418507" y="99586"/>
                  </a:cubicBezTo>
                  <a:cubicBezTo>
                    <a:pt x="409355" y="93484"/>
                    <a:pt x="400201" y="84331"/>
                    <a:pt x="387998" y="78230"/>
                  </a:cubicBezTo>
                  <a:cubicBezTo>
                    <a:pt x="381896" y="72128"/>
                    <a:pt x="378846" y="66026"/>
                    <a:pt x="375794" y="59925"/>
                  </a:cubicBezTo>
                  <a:cubicBezTo>
                    <a:pt x="366642" y="47721"/>
                    <a:pt x="360540" y="35518"/>
                    <a:pt x="345286" y="26365"/>
                  </a:cubicBezTo>
                  <a:cubicBezTo>
                    <a:pt x="333083" y="20264"/>
                    <a:pt x="323929" y="23315"/>
                    <a:pt x="311727" y="23315"/>
                  </a:cubicBezTo>
                  <a:cubicBezTo>
                    <a:pt x="290371" y="23315"/>
                    <a:pt x="275117" y="17213"/>
                    <a:pt x="256812" y="8060"/>
                  </a:cubicBezTo>
                  <a:cubicBezTo>
                    <a:pt x="253760" y="5009"/>
                    <a:pt x="247658" y="1959"/>
                    <a:pt x="244608" y="1959"/>
                  </a:cubicBezTo>
                  <a:cubicBezTo>
                    <a:pt x="198845" y="-10245"/>
                    <a:pt x="165287" y="38569"/>
                    <a:pt x="119524" y="38569"/>
                  </a:cubicBezTo>
                  <a:cubicBezTo>
                    <a:pt x="95116" y="38569"/>
                    <a:pt x="70709" y="35518"/>
                    <a:pt x="58507" y="59925"/>
                  </a:cubicBezTo>
                  <a:cubicBezTo>
                    <a:pt x="52405" y="75179"/>
                    <a:pt x="52405" y="87382"/>
                    <a:pt x="43253" y="102637"/>
                  </a:cubicBezTo>
                  <a:cubicBezTo>
                    <a:pt x="37151" y="111789"/>
                    <a:pt x="27999" y="120942"/>
                    <a:pt x="24947" y="130094"/>
                  </a:cubicBezTo>
                  <a:cubicBezTo>
                    <a:pt x="18845" y="139247"/>
                    <a:pt x="15795" y="154501"/>
                    <a:pt x="18845" y="166704"/>
                  </a:cubicBezTo>
                  <a:cubicBezTo>
                    <a:pt x="21897" y="185009"/>
                    <a:pt x="31049" y="185009"/>
                    <a:pt x="21897" y="200264"/>
                  </a:cubicBezTo>
                  <a:cubicBezTo>
                    <a:pt x="15795" y="215518"/>
                    <a:pt x="6642" y="227721"/>
                    <a:pt x="3590" y="242976"/>
                  </a:cubicBezTo>
                  <a:cubicBezTo>
                    <a:pt x="-5562" y="276535"/>
                    <a:pt x="3590" y="310094"/>
                    <a:pt x="21897" y="340603"/>
                  </a:cubicBezTo>
                  <a:cubicBezTo>
                    <a:pt x="24947" y="343653"/>
                    <a:pt x="27999" y="343653"/>
                    <a:pt x="31049" y="343653"/>
                  </a:cubicBezTo>
                  <a:cubicBezTo>
                    <a:pt x="34099" y="361959"/>
                    <a:pt x="40201" y="374162"/>
                    <a:pt x="40201" y="374162"/>
                  </a:cubicBezTo>
                  <a:cubicBezTo>
                    <a:pt x="37151" y="355857"/>
                    <a:pt x="43253" y="337552"/>
                    <a:pt x="58507" y="319247"/>
                  </a:cubicBezTo>
                  <a:cubicBezTo>
                    <a:pt x="67659" y="316196"/>
                    <a:pt x="79862" y="313145"/>
                    <a:pt x="89016" y="307043"/>
                  </a:cubicBezTo>
                  <a:cubicBezTo>
                    <a:pt x="98168" y="300942"/>
                    <a:pt x="101218" y="291789"/>
                    <a:pt x="107320" y="285687"/>
                  </a:cubicBezTo>
                  <a:cubicBezTo>
                    <a:pt x="107320" y="282637"/>
                    <a:pt x="110370" y="279586"/>
                    <a:pt x="113422" y="276535"/>
                  </a:cubicBezTo>
                  <a:cubicBezTo>
                    <a:pt x="116472" y="276535"/>
                    <a:pt x="119524" y="273484"/>
                    <a:pt x="119524" y="273484"/>
                  </a:cubicBezTo>
                  <a:cubicBezTo>
                    <a:pt x="122574" y="273484"/>
                    <a:pt x="122574" y="273484"/>
                    <a:pt x="125624" y="273484"/>
                  </a:cubicBezTo>
                  <a:cubicBezTo>
                    <a:pt x="128676" y="270433"/>
                    <a:pt x="128676" y="270433"/>
                    <a:pt x="131726" y="270433"/>
                  </a:cubicBezTo>
                  <a:cubicBezTo>
                    <a:pt x="134778" y="267382"/>
                    <a:pt x="137828" y="267382"/>
                    <a:pt x="140879" y="264331"/>
                  </a:cubicBezTo>
                  <a:cubicBezTo>
                    <a:pt x="143931" y="264331"/>
                    <a:pt x="150033" y="264331"/>
                    <a:pt x="153083" y="267382"/>
                  </a:cubicBezTo>
                  <a:cubicBezTo>
                    <a:pt x="156133" y="267382"/>
                    <a:pt x="162235" y="267382"/>
                    <a:pt x="165287" y="267382"/>
                  </a:cubicBezTo>
                  <a:cubicBezTo>
                    <a:pt x="177489" y="267382"/>
                    <a:pt x="189693" y="264331"/>
                    <a:pt x="201896" y="258230"/>
                  </a:cubicBezTo>
                  <a:cubicBezTo>
                    <a:pt x="220202" y="249077"/>
                    <a:pt x="229354" y="233823"/>
                    <a:pt x="253760" y="242976"/>
                  </a:cubicBezTo>
                  <a:cubicBezTo>
                    <a:pt x="259862" y="246026"/>
                    <a:pt x="262912" y="252128"/>
                    <a:pt x="269015" y="252128"/>
                  </a:cubicBezTo>
                  <a:cubicBezTo>
                    <a:pt x="284269" y="255179"/>
                    <a:pt x="296473" y="242976"/>
                    <a:pt x="305625" y="230772"/>
                  </a:cubicBezTo>
                  <a:cubicBezTo>
                    <a:pt x="308675" y="230772"/>
                    <a:pt x="314777" y="233823"/>
                    <a:pt x="317829" y="233823"/>
                  </a:cubicBezTo>
                  <a:cubicBezTo>
                    <a:pt x="339184" y="249077"/>
                    <a:pt x="366642" y="258230"/>
                    <a:pt x="394100" y="261281"/>
                  </a:cubicBezTo>
                  <a:cubicBezTo>
                    <a:pt x="400201" y="264331"/>
                    <a:pt x="403253" y="264331"/>
                    <a:pt x="403253" y="264331"/>
                  </a:cubicBezTo>
                  <a:cubicBezTo>
                    <a:pt x="403253" y="264331"/>
                    <a:pt x="461218" y="374162"/>
                    <a:pt x="455117" y="404670"/>
                  </a:cubicBezTo>
                  <a:cubicBezTo>
                    <a:pt x="455117" y="404670"/>
                    <a:pt x="497828" y="358908"/>
                    <a:pt x="513082" y="303992"/>
                  </a:cubicBezTo>
                  <a:cubicBezTo>
                    <a:pt x="513082" y="246026"/>
                    <a:pt x="506980" y="157552"/>
                    <a:pt x="449015" y="136196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85B85FAD-8C6A-406D-9955-35EAAC9D6EA1}"/>
                </a:ext>
              </a:extLst>
            </p:cNvPr>
            <p:cNvSpPr/>
            <p:nvPr/>
          </p:nvSpPr>
          <p:spPr>
            <a:xfrm>
              <a:off x="25227627" y="2432566"/>
              <a:ext cx="250169" cy="258416"/>
            </a:xfrm>
            <a:custGeom>
              <a:avLst/>
              <a:gdLst>
                <a:gd name="connsiteX0" fmla="*/ 0 w 250169"/>
                <a:gd name="connsiteY0" fmla="*/ 39661 h 258416"/>
                <a:gd name="connsiteX1" fmla="*/ 6102 w 250169"/>
                <a:gd name="connsiteY1" fmla="*/ 213559 h 258416"/>
                <a:gd name="connsiteX2" fmla="*/ 250170 w 250169"/>
                <a:gd name="connsiteY2" fmla="*/ 204407 h 258416"/>
                <a:gd name="connsiteX3" fmla="*/ 234916 w 250169"/>
                <a:gd name="connsiteY3" fmla="*/ 0 h 258416"/>
                <a:gd name="connsiteX4" fmla="*/ 0 w 250169"/>
                <a:gd name="connsiteY4" fmla="*/ 39661 h 25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69" h="258416">
                  <a:moveTo>
                    <a:pt x="0" y="39661"/>
                  </a:moveTo>
                  <a:cubicBezTo>
                    <a:pt x="0" y="39661"/>
                    <a:pt x="6102" y="140339"/>
                    <a:pt x="6102" y="213559"/>
                  </a:cubicBezTo>
                  <a:cubicBezTo>
                    <a:pt x="6102" y="213559"/>
                    <a:pt x="100679" y="320339"/>
                    <a:pt x="250170" y="204407"/>
                  </a:cubicBezTo>
                  <a:cubicBezTo>
                    <a:pt x="250170" y="143390"/>
                    <a:pt x="237968" y="64068"/>
                    <a:pt x="234916" y="0"/>
                  </a:cubicBezTo>
                  <a:cubicBezTo>
                    <a:pt x="234916" y="0"/>
                    <a:pt x="51865" y="51864"/>
                    <a:pt x="0" y="3966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441430B2-2B1A-4F1E-9D9C-A8154DD58CF2}"/>
                </a:ext>
              </a:extLst>
            </p:cNvPr>
            <p:cNvSpPr/>
            <p:nvPr/>
          </p:nvSpPr>
          <p:spPr>
            <a:xfrm>
              <a:off x="24665817" y="2597312"/>
              <a:ext cx="1223843" cy="1567951"/>
            </a:xfrm>
            <a:custGeom>
              <a:avLst/>
              <a:gdLst>
                <a:gd name="connsiteX0" fmla="*/ 827234 w 1223843"/>
                <a:gd name="connsiteY0" fmla="*/ 0 h 1567951"/>
                <a:gd name="connsiteX1" fmla="*/ 537403 w 1223843"/>
                <a:gd name="connsiteY1" fmla="*/ 0 h 1567951"/>
                <a:gd name="connsiteX2" fmla="*/ 238421 w 1223843"/>
                <a:gd name="connsiteY2" fmla="*/ 131186 h 1567951"/>
                <a:gd name="connsiteX3" fmla="*/ 152997 w 1223843"/>
                <a:gd name="connsiteY3" fmla="*/ 1537627 h 1567951"/>
                <a:gd name="connsiteX4" fmla="*/ 1223844 w 1223843"/>
                <a:gd name="connsiteY4" fmla="*/ 1513220 h 1567951"/>
                <a:gd name="connsiteX5" fmla="*/ 1107912 w 1223843"/>
                <a:gd name="connsiteY5" fmla="*/ 103729 h 1567951"/>
                <a:gd name="connsiteX6" fmla="*/ 827234 w 1223843"/>
                <a:gd name="connsiteY6" fmla="*/ 0 h 156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3843" h="1567951">
                  <a:moveTo>
                    <a:pt x="827234" y="0"/>
                  </a:moveTo>
                  <a:cubicBezTo>
                    <a:pt x="827234" y="0"/>
                    <a:pt x="653335" y="54915"/>
                    <a:pt x="537403" y="0"/>
                  </a:cubicBezTo>
                  <a:cubicBezTo>
                    <a:pt x="537403" y="0"/>
                    <a:pt x="262827" y="97627"/>
                    <a:pt x="238421" y="131186"/>
                  </a:cubicBezTo>
                  <a:cubicBezTo>
                    <a:pt x="214014" y="161695"/>
                    <a:pt x="-225309" y="1202034"/>
                    <a:pt x="152997" y="1537627"/>
                  </a:cubicBezTo>
                  <a:cubicBezTo>
                    <a:pt x="152997" y="1537627"/>
                    <a:pt x="644183" y="1620000"/>
                    <a:pt x="1223844" y="1513220"/>
                  </a:cubicBezTo>
                  <a:cubicBezTo>
                    <a:pt x="1223844" y="1156271"/>
                    <a:pt x="1150625" y="134237"/>
                    <a:pt x="1107912" y="103729"/>
                  </a:cubicBezTo>
                  <a:cubicBezTo>
                    <a:pt x="1068252" y="70169"/>
                    <a:pt x="827234" y="0"/>
                    <a:pt x="827234" y="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04CBD0F9-3BFC-4D49-8D6E-2B70F91827A8}"/>
                </a:ext>
              </a:extLst>
            </p:cNvPr>
            <p:cNvSpPr/>
            <p:nvPr/>
          </p:nvSpPr>
          <p:spPr>
            <a:xfrm>
              <a:off x="24663220" y="2723159"/>
              <a:ext cx="249407" cy="850423"/>
            </a:xfrm>
            <a:custGeom>
              <a:avLst/>
              <a:gdLst>
                <a:gd name="connsiteX0" fmla="*/ 6102 w 249407"/>
                <a:gd name="connsiteY0" fmla="*/ 850424 h 850423"/>
                <a:gd name="connsiteX1" fmla="*/ 6102 w 249407"/>
                <a:gd name="connsiteY1" fmla="*/ 850424 h 850423"/>
                <a:gd name="connsiteX2" fmla="*/ 0 w 249407"/>
                <a:gd name="connsiteY2" fmla="*/ 844322 h 850423"/>
                <a:gd name="connsiteX3" fmla="*/ 237968 w 249407"/>
                <a:gd name="connsiteY3" fmla="*/ 2288 h 850423"/>
                <a:gd name="connsiteX4" fmla="*/ 247120 w 249407"/>
                <a:gd name="connsiteY4" fmla="*/ 2288 h 850423"/>
                <a:gd name="connsiteX5" fmla="*/ 247120 w 249407"/>
                <a:gd name="connsiteY5" fmla="*/ 11441 h 850423"/>
                <a:gd name="connsiteX6" fmla="*/ 9154 w 249407"/>
                <a:gd name="connsiteY6" fmla="*/ 847373 h 850423"/>
                <a:gd name="connsiteX7" fmla="*/ 6102 w 249407"/>
                <a:gd name="connsiteY7" fmla="*/ 850424 h 850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407" h="850423">
                  <a:moveTo>
                    <a:pt x="6102" y="850424"/>
                  </a:moveTo>
                  <a:cubicBezTo>
                    <a:pt x="6102" y="850424"/>
                    <a:pt x="6102" y="847373"/>
                    <a:pt x="6102" y="850424"/>
                  </a:cubicBezTo>
                  <a:cubicBezTo>
                    <a:pt x="3052" y="850424"/>
                    <a:pt x="0" y="847373"/>
                    <a:pt x="0" y="844322"/>
                  </a:cubicBezTo>
                  <a:cubicBezTo>
                    <a:pt x="0" y="838220"/>
                    <a:pt x="97627" y="200593"/>
                    <a:pt x="237968" y="2288"/>
                  </a:cubicBezTo>
                  <a:cubicBezTo>
                    <a:pt x="241018" y="-763"/>
                    <a:pt x="244068" y="-763"/>
                    <a:pt x="247120" y="2288"/>
                  </a:cubicBezTo>
                  <a:cubicBezTo>
                    <a:pt x="250170" y="5339"/>
                    <a:pt x="250170" y="8390"/>
                    <a:pt x="247120" y="11441"/>
                  </a:cubicBezTo>
                  <a:cubicBezTo>
                    <a:pt x="109832" y="206695"/>
                    <a:pt x="12204" y="841271"/>
                    <a:pt x="9154" y="847373"/>
                  </a:cubicBezTo>
                  <a:cubicBezTo>
                    <a:pt x="12204" y="847373"/>
                    <a:pt x="9154" y="850424"/>
                    <a:pt x="6102" y="850424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B48AA9D5-293E-46A7-89BC-B2720E5A78FF}"/>
                </a:ext>
              </a:extLst>
            </p:cNvPr>
            <p:cNvSpPr/>
            <p:nvPr/>
          </p:nvSpPr>
          <p:spPr>
            <a:xfrm>
              <a:off x="25221527" y="2461811"/>
              <a:ext cx="245331" cy="68382"/>
            </a:xfrm>
            <a:custGeom>
              <a:avLst/>
              <a:gdLst>
                <a:gd name="connsiteX0" fmla="*/ 103728 w 245331"/>
                <a:gd name="connsiteY0" fmla="*/ 68382 h 68382"/>
                <a:gd name="connsiteX1" fmla="*/ 82371 w 245331"/>
                <a:gd name="connsiteY1" fmla="*/ 65332 h 68382"/>
                <a:gd name="connsiteX2" fmla="*/ 27457 w 245331"/>
                <a:gd name="connsiteY2" fmla="*/ 47026 h 68382"/>
                <a:gd name="connsiteX3" fmla="*/ 3050 w 245331"/>
                <a:gd name="connsiteY3" fmla="*/ 34823 h 68382"/>
                <a:gd name="connsiteX4" fmla="*/ 0 w 245331"/>
                <a:gd name="connsiteY4" fmla="*/ 25670 h 68382"/>
                <a:gd name="connsiteX5" fmla="*/ 9152 w 245331"/>
                <a:gd name="connsiteY5" fmla="*/ 22620 h 68382"/>
                <a:gd name="connsiteX6" fmla="*/ 18304 w 245331"/>
                <a:gd name="connsiteY6" fmla="*/ 28721 h 68382"/>
                <a:gd name="connsiteX7" fmla="*/ 24406 w 245331"/>
                <a:gd name="connsiteY7" fmla="*/ 28721 h 68382"/>
                <a:gd name="connsiteX8" fmla="*/ 33559 w 245331"/>
                <a:gd name="connsiteY8" fmla="*/ 34823 h 68382"/>
                <a:gd name="connsiteX9" fmla="*/ 82371 w 245331"/>
                <a:gd name="connsiteY9" fmla="*/ 53128 h 68382"/>
                <a:gd name="connsiteX10" fmla="*/ 94576 w 245331"/>
                <a:gd name="connsiteY10" fmla="*/ 53128 h 68382"/>
                <a:gd name="connsiteX11" fmla="*/ 94576 w 245331"/>
                <a:gd name="connsiteY11" fmla="*/ 53128 h 68382"/>
                <a:gd name="connsiteX12" fmla="*/ 186101 w 245331"/>
                <a:gd name="connsiteY12" fmla="*/ 25670 h 68382"/>
                <a:gd name="connsiteX13" fmla="*/ 234914 w 245331"/>
                <a:gd name="connsiteY13" fmla="*/ 1264 h 68382"/>
                <a:gd name="connsiteX14" fmla="*/ 244068 w 245331"/>
                <a:gd name="connsiteY14" fmla="*/ 4315 h 68382"/>
                <a:gd name="connsiteX15" fmla="*/ 241016 w 245331"/>
                <a:gd name="connsiteY15" fmla="*/ 13467 h 68382"/>
                <a:gd name="connsiteX16" fmla="*/ 192203 w 245331"/>
                <a:gd name="connsiteY16" fmla="*/ 37874 h 68382"/>
                <a:gd name="connsiteX17" fmla="*/ 118982 w 245331"/>
                <a:gd name="connsiteY17" fmla="*/ 65332 h 68382"/>
                <a:gd name="connsiteX18" fmla="*/ 103728 w 245331"/>
                <a:gd name="connsiteY18" fmla="*/ 68382 h 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5331" h="68382">
                  <a:moveTo>
                    <a:pt x="103728" y="68382"/>
                  </a:moveTo>
                  <a:cubicBezTo>
                    <a:pt x="97626" y="68382"/>
                    <a:pt x="88473" y="68382"/>
                    <a:pt x="82371" y="65332"/>
                  </a:cubicBezTo>
                  <a:cubicBezTo>
                    <a:pt x="57965" y="62281"/>
                    <a:pt x="39661" y="53128"/>
                    <a:pt x="27457" y="47026"/>
                  </a:cubicBezTo>
                  <a:cubicBezTo>
                    <a:pt x="15254" y="40925"/>
                    <a:pt x="6100" y="34823"/>
                    <a:pt x="3050" y="34823"/>
                  </a:cubicBezTo>
                  <a:cubicBezTo>
                    <a:pt x="0" y="31772"/>
                    <a:pt x="0" y="28721"/>
                    <a:pt x="0" y="25670"/>
                  </a:cubicBezTo>
                  <a:cubicBezTo>
                    <a:pt x="3050" y="22620"/>
                    <a:pt x="6100" y="22620"/>
                    <a:pt x="9152" y="22620"/>
                  </a:cubicBezTo>
                  <a:cubicBezTo>
                    <a:pt x="9152" y="22620"/>
                    <a:pt x="12202" y="25670"/>
                    <a:pt x="18304" y="28721"/>
                  </a:cubicBezTo>
                  <a:cubicBezTo>
                    <a:pt x="21354" y="28721"/>
                    <a:pt x="21354" y="28721"/>
                    <a:pt x="24406" y="28721"/>
                  </a:cubicBezTo>
                  <a:cubicBezTo>
                    <a:pt x="24406" y="28721"/>
                    <a:pt x="27457" y="31772"/>
                    <a:pt x="33559" y="34823"/>
                  </a:cubicBezTo>
                  <a:cubicBezTo>
                    <a:pt x="48813" y="40925"/>
                    <a:pt x="67117" y="50077"/>
                    <a:pt x="82371" y="53128"/>
                  </a:cubicBezTo>
                  <a:cubicBezTo>
                    <a:pt x="85423" y="53128"/>
                    <a:pt x="91525" y="53128"/>
                    <a:pt x="94576" y="53128"/>
                  </a:cubicBezTo>
                  <a:lnTo>
                    <a:pt x="94576" y="53128"/>
                  </a:lnTo>
                  <a:cubicBezTo>
                    <a:pt x="118982" y="53128"/>
                    <a:pt x="158643" y="37874"/>
                    <a:pt x="186101" y="25670"/>
                  </a:cubicBezTo>
                  <a:cubicBezTo>
                    <a:pt x="210507" y="13467"/>
                    <a:pt x="231864" y="1264"/>
                    <a:pt x="234914" y="1264"/>
                  </a:cubicBezTo>
                  <a:cubicBezTo>
                    <a:pt x="237966" y="-1787"/>
                    <a:pt x="241016" y="1264"/>
                    <a:pt x="244068" y="4315"/>
                  </a:cubicBezTo>
                  <a:cubicBezTo>
                    <a:pt x="247118" y="7365"/>
                    <a:pt x="244068" y="10416"/>
                    <a:pt x="241016" y="13467"/>
                  </a:cubicBezTo>
                  <a:cubicBezTo>
                    <a:pt x="237966" y="13467"/>
                    <a:pt x="219660" y="25670"/>
                    <a:pt x="192203" y="37874"/>
                  </a:cubicBezTo>
                  <a:cubicBezTo>
                    <a:pt x="167797" y="50077"/>
                    <a:pt x="137288" y="62281"/>
                    <a:pt x="118982" y="65332"/>
                  </a:cubicBezTo>
                  <a:cubicBezTo>
                    <a:pt x="112880" y="68382"/>
                    <a:pt x="106780" y="68382"/>
                    <a:pt x="103728" y="68382"/>
                  </a:cubicBezTo>
                  <a:close/>
                </a:path>
              </a:pathLst>
            </a:custGeom>
            <a:solidFill>
              <a:srgbClr val="E87952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2" name="图形 1">
              <a:extLst>
                <a:ext uri="{FF2B5EF4-FFF2-40B4-BE49-F238E27FC236}">
                  <a16:creationId xmlns:a16="http://schemas.microsoft.com/office/drawing/2014/main" id="{0773DB81-C258-463B-81FF-9C6C74905C4C}"/>
                </a:ext>
              </a:extLst>
            </p:cNvPr>
            <p:cNvGrpSpPr/>
            <p:nvPr/>
          </p:nvGrpSpPr>
          <p:grpSpPr>
            <a:xfrm>
              <a:off x="25033588" y="1747779"/>
              <a:ext cx="799632" cy="343092"/>
              <a:chOff x="25033588" y="1747779"/>
              <a:chExt cx="799632" cy="343092"/>
            </a:xfrm>
          </p:grpSpPr>
          <p:grpSp>
            <p:nvGrpSpPr>
              <p:cNvPr id="56" name="图形 1">
                <a:extLst>
                  <a:ext uri="{FF2B5EF4-FFF2-40B4-BE49-F238E27FC236}">
                    <a16:creationId xmlns:a16="http://schemas.microsoft.com/office/drawing/2014/main" id="{A1DFD98C-E3E9-45F4-BA53-D1A0A820AD1D}"/>
                  </a:ext>
                </a:extLst>
              </p:cNvPr>
              <p:cNvGrpSpPr/>
              <p:nvPr/>
            </p:nvGrpSpPr>
            <p:grpSpPr>
              <a:xfrm>
                <a:off x="25059807" y="1747779"/>
                <a:ext cx="773413" cy="325789"/>
                <a:chOff x="25059807" y="1747779"/>
                <a:chExt cx="773413" cy="325789"/>
              </a:xfrm>
            </p:grpSpPr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5A6213AC-B220-42AB-8A75-3ACBEB32EAF8}"/>
                    </a:ext>
                  </a:extLst>
                </p:cNvPr>
                <p:cNvSpPr/>
                <p:nvPr/>
              </p:nvSpPr>
              <p:spPr>
                <a:xfrm>
                  <a:off x="25059807" y="1747779"/>
                  <a:ext cx="619347" cy="325789"/>
                </a:xfrm>
                <a:custGeom>
                  <a:avLst/>
                  <a:gdLst>
                    <a:gd name="connsiteX0" fmla="*/ 176974 w 619347"/>
                    <a:gd name="connsiteY0" fmla="*/ 19703 h 325789"/>
                    <a:gd name="connsiteX1" fmla="*/ 616295 w 619347"/>
                    <a:gd name="connsiteY1" fmla="*/ 138686 h 325789"/>
                    <a:gd name="connsiteX2" fmla="*/ 619347 w 619347"/>
                    <a:gd name="connsiteY2" fmla="*/ 147838 h 325789"/>
                    <a:gd name="connsiteX3" fmla="*/ 543076 w 619347"/>
                    <a:gd name="connsiteY3" fmla="*/ 208855 h 325789"/>
                    <a:gd name="connsiteX4" fmla="*/ 564431 w 619347"/>
                    <a:gd name="connsiteY4" fmla="*/ 294279 h 325789"/>
                    <a:gd name="connsiteX5" fmla="*/ 561381 w 619347"/>
                    <a:gd name="connsiteY5" fmla="*/ 300381 h 325789"/>
                    <a:gd name="connsiteX6" fmla="*/ 555278 w 619347"/>
                    <a:gd name="connsiteY6" fmla="*/ 303431 h 325789"/>
                    <a:gd name="connsiteX7" fmla="*/ 219685 w 619347"/>
                    <a:gd name="connsiteY7" fmla="*/ 324787 h 325789"/>
                    <a:gd name="connsiteX8" fmla="*/ 6126 w 619347"/>
                    <a:gd name="connsiteY8" fmla="*/ 282075 h 325789"/>
                    <a:gd name="connsiteX9" fmla="*/ 24 w 619347"/>
                    <a:gd name="connsiteY9" fmla="*/ 272923 h 325789"/>
                    <a:gd name="connsiteX10" fmla="*/ 176974 w 619347"/>
                    <a:gd name="connsiteY10" fmla="*/ 19703 h 325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19347" h="325789">
                      <a:moveTo>
                        <a:pt x="176974" y="19703"/>
                      </a:moveTo>
                      <a:cubicBezTo>
                        <a:pt x="341719" y="-29111"/>
                        <a:pt x="500364" y="13601"/>
                        <a:pt x="616295" y="138686"/>
                      </a:cubicBezTo>
                      <a:cubicBezTo>
                        <a:pt x="619347" y="141736"/>
                        <a:pt x="619347" y="144787"/>
                        <a:pt x="619347" y="147838"/>
                      </a:cubicBezTo>
                      <a:cubicBezTo>
                        <a:pt x="619347" y="150889"/>
                        <a:pt x="597991" y="196652"/>
                        <a:pt x="543076" y="208855"/>
                      </a:cubicBezTo>
                      <a:cubicBezTo>
                        <a:pt x="558330" y="248516"/>
                        <a:pt x="564431" y="291228"/>
                        <a:pt x="564431" y="294279"/>
                      </a:cubicBezTo>
                      <a:cubicBezTo>
                        <a:pt x="564431" y="297330"/>
                        <a:pt x="564431" y="300381"/>
                        <a:pt x="561381" y="300381"/>
                      </a:cubicBezTo>
                      <a:cubicBezTo>
                        <a:pt x="561381" y="303431"/>
                        <a:pt x="558330" y="303431"/>
                        <a:pt x="555278" y="303431"/>
                      </a:cubicBezTo>
                      <a:cubicBezTo>
                        <a:pt x="414940" y="324787"/>
                        <a:pt x="305109" y="327838"/>
                        <a:pt x="219685" y="324787"/>
                      </a:cubicBezTo>
                      <a:cubicBezTo>
                        <a:pt x="79347" y="315635"/>
                        <a:pt x="9178" y="285126"/>
                        <a:pt x="6126" y="282075"/>
                      </a:cubicBezTo>
                      <a:cubicBezTo>
                        <a:pt x="3076" y="282075"/>
                        <a:pt x="24" y="279025"/>
                        <a:pt x="24" y="272923"/>
                      </a:cubicBezTo>
                      <a:cubicBezTo>
                        <a:pt x="24" y="272923"/>
                        <a:pt x="-6076" y="74618"/>
                        <a:pt x="176974" y="1970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790CFF86-39C5-45C6-B615-EFF5837E4F04}"/>
                    </a:ext>
                  </a:extLst>
                </p:cNvPr>
                <p:cNvSpPr/>
                <p:nvPr/>
              </p:nvSpPr>
              <p:spPr>
                <a:xfrm>
                  <a:off x="25616993" y="1782736"/>
                  <a:ext cx="216227" cy="205603"/>
                </a:xfrm>
                <a:custGeom>
                  <a:avLst/>
                  <a:gdLst>
                    <a:gd name="connsiteX0" fmla="*/ 1145 w 216227"/>
                    <a:gd name="connsiteY0" fmla="*/ 97627 h 205603"/>
                    <a:gd name="connsiteX1" fmla="*/ 10297 w 216227"/>
                    <a:gd name="connsiteY1" fmla="*/ 67119 h 205603"/>
                    <a:gd name="connsiteX2" fmla="*/ 22499 w 216227"/>
                    <a:gd name="connsiteY2" fmla="*/ 57966 h 205603"/>
                    <a:gd name="connsiteX3" fmla="*/ 34703 w 216227"/>
                    <a:gd name="connsiteY3" fmla="*/ 30508 h 205603"/>
                    <a:gd name="connsiteX4" fmla="*/ 56059 w 216227"/>
                    <a:gd name="connsiteY4" fmla="*/ 21356 h 205603"/>
                    <a:gd name="connsiteX5" fmla="*/ 71314 w 216227"/>
                    <a:gd name="connsiteY5" fmla="*/ 21356 h 205603"/>
                    <a:gd name="connsiteX6" fmla="*/ 117076 w 216227"/>
                    <a:gd name="connsiteY6" fmla="*/ 0 h 205603"/>
                    <a:gd name="connsiteX7" fmla="*/ 159787 w 216227"/>
                    <a:gd name="connsiteY7" fmla="*/ 30508 h 205603"/>
                    <a:gd name="connsiteX8" fmla="*/ 202500 w 216227"/>
                    <a:gd name="connsiteY8" fmla="*/ 73220 h 205603"/>
                    <a:gd name="connsiteX9" fmla="*/ 202500 w 216227"/>
                    <a:gd name="connsiteY9" fmla="*/ 128136 h 205603"/>
                    <a:gd name="connsiteX10" fmla="*/ 193348 w 216227"/>
                    <a:gd name="connsiteY10" fmla="*/ 170847 h 205603"/>
                    <a:gd name="connsiteX11" fmla="*/ 165889 w 216227"/>
                    <a:gd name="connsiteY11" fmla="*/ 183051 h 205603"/>
                    <a:gd name="connsiteX12" fmla="*/ 159787 w 216227"/>
                    <a:gd name="connsiteY12" fmla="*/ 183051 h 205603"/>
                    <a:gd name="connsiteX13" fmla="*/ 159787 w 216227"/>
                    <a:gd name="connsiteY13" fmla="*/ 183051 h 205603"/>
                    <a:gd name="connsiteX14" fmla="*/ 132331 w 216227"/>
                    <a:gd name="connsiteY14" fmla="*/ 204407 h 205603"/>
                    <a:gd name="connsiteX15" fmla="*/ 98770 w 216227"/>
                    <a:gd name="connsiteY15" fmla="*/ 198305 h 205603"/>
                    <a:gd name="connsiteX16" fmla="*/ 74364 w 216227"/>
                    <a:gd name="connsiteY16" fmla="*/ 198305 h 205603"/>
                    <a:gd name="connsiteX17" fmla="*/ 46907 w 216227"/>
                    <a:gd name="connsiteY17" fmla="*/ 176949 h 205603"/>
                    <a:gd name="connsiteX18" fmla="*/ 40805 w 216227"/>
                    <a:gd name="connsiteY18" fmla="*/ 161695 h 205603"/>
                    <a:gd name="connsiteX19" fmla="*/ 22499 w 216227"/>
                    <a:gd name="connsiteY19" fmla="*/ 146441 h 205603"/>
                    <a:gd name="connsiteX20" fmla="*/ 22499 w 216227"/>
                    <a:gd name="connsiteY20" fmla="*/ 118983 h 205603"/>
                    <a:gd name="connsiteX21" fmla="*/ 19449 w 216227"/>
                    <a:gd name="connsiteY21" fmla="*/ 115932 h 205603"/>
                    <a:gd name="connsiteX22" fmla="*/ 1145 w 216227"/>
                    <a:gd name="connsiteY22" fmla="*/ 97627 h 205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16227" h="205603">
                      <a:moveTo>
                        <a:pt x="1145" y="97627"/>
                      </a:moveTo>
                      <a:cubicBezTo>
                        <a:pt x="-1907" y="88475"/>
                        <a:pt x="1145" y="73220"/>
                        <a:pt x="10297" y="67119"/>
                      </a:cubicBezTo>
                      <a:cubicBezTo>
                        <a:pt x="13347" y="64068"/>
                        <a:pt x="19449" y="61017"/>
                        <a:pt x="22499" y="57966"/>
                      </a:cubicBezTo>
                      <a:cubicBezTo>
                        <a:pt x="22499" y="48814"/>
                        <a:pt x="25551" y="39661"/>
                        <a:pt x="34703" y="30508"/>
                      </a:cubicBezTo>
                      <a:cubicBezTo>
                        <a:pt x="40805" y="24407"/>
                        <a:pt x="46907" y="21356"/>
                        <a:pt x="56059" y="21356"/>
                      </a:cubicBezTo>
                      <a:cubicBezTo>
                        <a:pt x="59110" y="21356"/>
                        <a:pt x="65212" y="21356"/>
                        <a:pt x="71314" y="21356"/>
                      </a:cubicBezTo>
                      <a:cubicBezTo>
                        <a:pt x="80466" y="9153"/>
                        <a:pt x="95720" y="0"/>
                        <a:pt x="117076" y="0"/>
                      </a:cubicBezTo>
                      <a:cubicBezTo>
                        <a:pt x="135381" y="3051"/>
                        <a:pt x="150635" y="15254"/>
                        <a:pt x="159787" y="30508"/>
                      </a:cubicBezTo>
                      <a:cubicBezTo>
                        <a:pt x="187246" y="30508"/>
                        <a:pt x="202500" y="51864"/>
                        <a:pt x="202500" y="73220"/>
                      </a:cubicBezTo>
                      <a:cubicBezTo>
                        <a:pt x="220804" y="88475"/>
                        <a:pt x="220804" y="115932"/>
                        <a:pt x="202500" y="128136"/>
                      </a:cubicBezTo>
                      <a:cubicBezTo>
                        <a:pt x="205550" y="143390"/>
                        <a:pt x="202500" y="158644"/>
                        <a:pt x="193348" y="170847"/>
                      </a:cubicBezTo>
                      <a:cubicBezTo>
                        <a:pt x="187246" y="180000"/>
                        <a:pt x="178093" y="183051"/>
                        <a:pt x="165889" y="183051"/>
                      </a:cubicBezTo>
                      <a:cubicBezTo>
                        <a:pt x="162839" y="183051"/>
                        <a:pt x="162839" y="183051"/>
                        <a:pt x="159787" y="183051"/>
                      </a:cubicBezTo>
                      <a:cubicBezTo>
                        <a:pt x="159787" y="183051"/>
                        <a:pt x="159787" y="183051"/>
                        <a:pt x="159787" y="183051"/>
                      </a:cubicBezTo>
                      <a:cubicBezTo>
                        <a:pt x="153687" y="195254"/>
                        <a:pt x="144533" y="204407"/>
                        <a:pt x="132331" y="204407"/>
                      </a:cubicBezTo>
                      <a:cubicBezTo>
                        <a:pt x="120126" y="207458"/>
                        <a:pt x="107924" y="204407"/>
                        <a:pt x="98770" y="198305"/>
                      </a:cubicBezTo>
                      <a:cubicBezTo>
                        <a:pt x="89618" y="201356"/>
                        <a:pt x="83516" y="201356"/>
                        <a:pt x="74364" y="198305"/>
                      </a:cubicBezTo>
                      <a:cubicBezTo>
                        <a:pt x="62161" y="195254"/>
                        <a:pt x="53007" y="189153"/>
                        <a:pt x="46907" y="176949"/>
                      </a:cubicBezTo>
                      <a:cubicBezTo>
                        <a:pt x="43855" y="173898"/>
                        <a:pt x="40805" y="167797"/>
                        <a:pt x="40805" y="161695"/>
                      </a:cubicBezTo>
                      <a:cubicBezTo>
                        <a:pt x="34703" y="158644"/>
                        <a:pt x="25551" y="155593"/>
                        <a:pt x="22499" y="146441"/>
                      </a:cubicBezTo>
                      <a:cubicBezTo>
                        <a:pt x="16399" y="134237"/>
                        <a:pt x="19449" y="128136"/>
                        <a:pt x="22499" y="118983"/>
                      </a:cubicBezTo>
                      <a:cubicBezTo>
                        <a:pt x="22499" y="118983"/>
                        <a:pt x="19449" y="118983"/>
                        <a:pt x="19449" y="115932"/>
                      </a:cubicBezTo>
                      <a:cubicBezTo>
                        <a:pt x="4195" y="112881"/>
                        <a:pt x="1145" y="106780"/>
                        <a:pt x="1145" y="9762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CF11E64E-0C7F-476C-AEBB-3E51616E7C58}"/>
                  </a:ext>
                </a:extLst>
              </p:cNvPr>
              <p:cNvSpPr/>
              <p:nvPr/>
            </p:nvSpPr>
            <p:spPr>
              <a:xfrm>
                <a:off x="25571018" y="1900363"/>
                <a:ext cx="53219" cy="123389"/>
              </a:xfrm>
              <a:custGeom>
                <a:avLst/>
                <a:gdLst>
                  <a:gd name="connsiteX0" fmla="*/ 47119 w 53219"/>
                  <a:gd name="connsiteY0" fmla="*/ 123390 h 123389"/>
                  <a:gd name="connsiteX1" fmla="*/ 41017 w 53219"/>
                  <a:gd name="connsiteY1" fmla="*/ 117288 h 123389"/>
                  <a:gd name="connsiteX2" fmla="*/ 1356 w 53219"/>
                  <a:gd name="connsiteY2" fmla="*/ 10508 h 123389"/>
                  <a:gd name="connsiteX3" fmla="*/ 1356 w 53219"/>
                  <a:gd name="connsiteY3" fmla="*/ 1356 h 123389"/>
                  <a:gd name="connsiteX4" fmla="*/ 10509 w 53219"/>
                  <a:gd name="connsiteY4" fmla="*/ 1356 h 123389"/>
                  <a:gd name="connsiteX5" fmla="*/ 53219 w 53219"/>
                  <a:gd name="connsiteY5" fmla="*/ 111186 h 123389"/>
                  <a:gd name="connsiteX6" fmla="*/ 47119 w 53219"/>
                  <a:gd name="connsiteY6" fmla="*/ 123390 h 123389"/>
                  <a:gd name="connsiteX7" fmla="*/ 47119 w 53219"/>
                  <a:gd name="connsiteY7" fmla="*/ 123390 h 123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3219" h="123389">
                    <a:moveTo>
                      <a:pt x="47119" y="123390"/>
                    </a:moveTo>
                    <a:cubicBezTo>
                      <a:pt x="44067" y="123390"/>
                      <a:pt x="41017" y="120339"/>
                      <a:pt x="41017" y="117288"/>
                    </a:cubicBezTo>
                    <a:cubicBezTo>
                      <a:pt x="41017" y="117288"/>
                      <a:pt x="28813" y="50170"/>
                      <a:pt x="1356" y="10508"/>
                    </a:cubicBezTo>
                    <a:cubicBezTo>
                      <a:pt x="-1696" y="7458"/>
                      <a:pt x="1356" y="4407"/>
                      <a:pt x="1356" y="1356"/>
                    </a:cubicBezTo>
                    <a:cubicBezTo>
                      <a:pt x="4407" y="-1695"/>
                      <a:pt x="7457" y="1356"/>
                      <a:pt x="10509" y="1356"/>
                    </a:cubicBezTo>
                    <a:cubicBezTo>
                      <a:pt x="41017" y="44068"/>
                      <a:pt x="53219" y="108136"/>
                      <a:pt x="53219" y="111186"/>
                    </a:cubicBezTo>
                    <a:cubicBezTo>
                      <a:pt x="53219" y="120339"/>
                      <a:pt x="50169" y="123390"/>
                      <a:pt x="47119" y="123390"/>
                    </a:cubicBezTo>
                    <a:cubicBezTo>
                      <a:pt x="47119" y="123390"/>
                      <a:pt x="47119" y="123390"/>
                      <a:pt x="47119" y="12339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B0F8C7A4-3F98-4E3A-9174-0826EF252756}"/>
                  </a:ext>
                </a:extLst>
              </p:cNvPr>
              <p:cNvSpPr/>
              <p:nvPr/>
            </p:nvSpPr>
            <p:spPr>
              <a:xfrm>
                <a:off x="25033588" y="1985538"/>
                <a:ext cx="614294" cy="102477"/>
              </a:xfrm>
              <a:custGeom>
                <a:avLst/>
                <a:gdLst>
                  <a:gd name="connsiteX0" fmla="*/ 38447 w 614294"/>
                  <a:gd name="connsiteY0" fmla="*/ 1605 h 102477"/>
                  <a:gd name="connsiteX1" fmla="*/ 584549 w 614294"/>
                  <a:gd name="connsiteY1" fmla="*/ 22961 h 102477"/>
                  <a:gd name="connsiteX2" fmla="*/ 584549 w 614294"/>
                  <a:gd name="connsiteY2" fmla="*/ 87028 h 102477"/>
                  <a:gd name="connsiteX3" fmla="*/ 23193 w 614294"/>
                  <a:gd name="connsiteY3" fmla="*/ 62622 h 102477"/>
                  <a:gd name="connsiteX4" fmla="*/ 38447 w 614294"/>
                  <a:gd name="connsiteY4" fmla="*/ 1605 h 102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4294" h="102477">
                    <a:moveTo>
                      <a:pt x="38447" y="1605"/>
                    </a:moveTo>
                    <a:cubicBezTo>
                      <a:pt x="218448" y="53469"/>
                      <a:pt x="401499" y="41266"/>
                      <a:pt x="584549" y="22961"/>
                    </a:cubicBezTo>
                    <a:cubicBezTo>
                      <a:pt x="624210" y="19910"/>
                      <a:pt x="624210" y="83978"/>
                      <a:pt x="584549" y="87028"/>
                    </a:cubicBezTo>
                    <a:cubicBezTo>
                      <a:pt x="395397" y="105333"/>
                      <a:pt x="206244" y="117537"/>
                      <a:pt x="23193" y="62622"/>
                    </a:cubicBezTo>
                    <a:cubicBezTo>
                      <a:pt x="-16468" y="50418"/>
                      <a:pt x="-1214" y="-10599"/>
                      <a:pt x="38447" y="1605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F432B8CC-6854-4A87-AD42-316E4A221E13}"/>
                  </a:ext>
                </a:extLst>
              </p:cNvPr>
              <p:cNvSpPr/>
              <p:nvPr/>
            </p:nvSpPr>
            <p:spPr>
              <a:xfrm>
                <a:off x="25052466" y="2005447"/>
                <a:ext cx="600430" cy="85423"/>
              </a:xfrm>
              <a:custGeom>
                <a:avLst/>
                <a:gdLst>
                  <a:gd name="connsiteX0" fmla="*/ 309399 w 600430"/>
                  <a:gd name="connsiteY0" fmla="*/ 85424 h 85423"/>
                  <a:gd name="connsiteX1" fmla="*/ 4314 w 600430"/>
                  <a:gd name="connsiteY1" fmla="*/ 45763 h 85423"/>
                  <a:gd name="connsiteX2" fmla="*/ 1264 w 600430"/>
                  <a:gd name="connsiteY2" fmla="*/ 39661 h 85423"/>
                  <a:gd name="connsiteX3" fmla="*/ 7364 w 600430"/>
                  <a:gd name="connsiteY3" fmla="*/ 36610 h 85423"/>
                  <a:gd name="connsiteX4" fmla="*/ 568721 w 600430"/>
                  <a:gd name="connsiteY4" fmla="*/ 61017 h 85423"/>
                  <a:gd name="connsiteX5" fmla="*/ 590077 w 600430"/>
                  <a:gd name="connsiteY5" fmla="*/ 45763 h 85423"/>
                  <a:gd name="connsiteX6" fmla="*/ 587025 w 600430"/>
                  <a:gd name="connsiteY6" fmla="*/ 18305 h 85423"/>
                  <a:gd name="connsiteX7" fmla="*/ 565671 w 600430"/>
                  <a:gd name="connsiteY7" fmla="*/ 9153 h 85423"/>
                  <a:gd name="connsiteX8" fmla="*/ 376518 w 600430"/>
                  <a:gd name="connsiteY8" fmla="*/ 24407 h 85423"/>
                  <a:gd name="connsiteX9" fmla="*/ 376518 w 600430"/>
                  <a:gd name="connsiteY9" fmla="*/ 24407 h 85423"/>
                  <a:gd name="connsiteX10" fmla="*/ 370416 w 600430"/>
                  <a:gd name="connsiteY10" fmla="*/ 18305 h 85423"/>
                  <a:gd name="connsiteX11" fmla="*/ 376518 w 600430"/>
                  <a:gd name="connsiteY11" fmla="*/ 12203 h 85423"/>
                  <a:gd name="connsiteX12" fmla="*/ 562619 w 600430"/>
                  <a:gd name="connsiteY12" fmla="*/ 0 h 85423"/>
                  <a:gd name="connsiteX13" fmla="*/ 593128 w 600430"/>
                  <a:gd name="connsiteY13" fmla="*/ 12203 h 85423"/>
                  <a:gd name="connsiteX14" fmla="*/ 596180 w 600430"/>
                  <a:gd name="connsiteY14" fmla="*/ 51864 h 85423"/>
                  <a:gd name="connsiteX15" fmla="*/ 565671 w 600430"/>
                  <a:gd name="connsiteY15" fmla="*/ 73220 h 85423"/>
                  <a:gd name="connsiteX16" fmla="*/ 309399 w 600430"/>
                  <a:gd name="connsiteY16" fmla="*/ 85424 h 85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00430" h="85423">
                    <a:moveTo>
                      <a:pt x="309399" y="85424"/>
                    </a:moveTo>
                    <a:cubicBezTo>
                      <a:pt x="205670" y="85424"/>
                      <a:pt x="104992" y="76271"/>
                      <a:pt x="4314" y="45763"/>
                    </a:cubicBezTo>
                    <a:cubicBezTo>
                      <a:pt x="1264" y="45763"/>
                      <a:pt x="-1788" y="42712"/>
                      <a:pt x="1264" y="39661"/>
                    </a:cubicBezTo>
                    <a:cubicBezTo>
                      <a:pt x="1264" y="36610"/>
                      <a:pt x="4314" y="33559"/>
                      <a:pt x="7364" y="36610"/>
                    </a:cubicBezTo>
                    <a:cubicBezTo>
                      <a:pt x="190415" y="91525"/>
                      <a:pt x="376518" y="79322"/>
                      <a:pt x="568721" y="61017"/>
                    </a:cubicBezTo>
                    <a:cubicBezTo>
                      <a:pt x="583975" y="61017"/>
                      <a:pt x="590077" y="51864"/>
                      <a:pt x="590077" y="45763"/>
                    </a:cubicBezTo>
                    <a:cubicBezTo>
                      <a:pt x="593128" y="36610"/>
                      <a:pt x="593128" y="24407"/>
                      <a:pt x="587025" y="18305"/>
                    </a:cubicBezTo>
                    <a:cubicBezTo>
                      <a:pt x="583975" y="12203"/>
                      <a:pt x="574823" y="9153"/>
                      <a:pt x="565671" y="9153"/>
                    </a:cubicBezTo>
                    <a:cubicBezTo>
                      <a:pt x="565671" y="9153"/>
                      <a:pt x="422281" y="21356"/>
                      <a:pt x="376518" y="24407"/>
                    </a:cubicBezTo>
                    <a:lnTo>
                      <a:pt x="376518" y="24407"/>
                    </a:lnTo>
                    <a:cubicBezTo>
                      <a:pt x="373466" y="24407"/>
                      <a:pt x="370416" y="21356"/>
                      <a:pt x="370416" y="18305"/>
                    </a:cubicBezTo>
                    <a:cubicBezTo>
                      <a:pt x="370416" y="15254"/>
                      <a:pt x="373466" y="12203"/>
                      <a:pt x="376518" y="12203"/>
                    </a:cubicBezTo>
                    <a:cubicBezTo>
                      <a:pt x="419229" y="12203"/>
                      <a:pt x="562619" y="0"/>
                      <a:pt x="562619" y="0"/>
                    </a:cubicBezTo>
                    <a:cubicBezTo>
                      <a:pt x="574823" y="0"/>
                      <a:pt x="587025" y="3051"/>
                      <a:pt x="593128" y="12203"/>
                    </a:cubicBezTo>
                    <a:cubicBezTo>
                      <a:pt x="602280" y="24407"/>
                      <a:pt x="602280" y="39661"/>
                      <a:pt x="596180" y="51864"/>
                    </a:cubicBezTo>
                    <a:cubicBezTo>
                      <a:pt x="590077" y="64068"/>
                      <a:pt x="577873" y="73220"/>
                      <a:pt x="565671" y="73220"/>
                    </a:cubicBezTo>
                    <a:cubicBezTo>
                      <a:pt x="480246" y="79322"/>
                      <a:pt x="394822" y="85424"/>
                      <a:pt x="309399" y="8542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5D6DB841-8016-4F38-ACC5-0CC91D76662A}"/>
                </a:ext>
              </a:extLst>
            </p:cNvPr>
            <p:cNvSpPr/>
            <p:nvPr/>
          </p:nvSpPr>
          <p:spPr>
            <a:xfrm>
              <a:off x="25049511" y="2145786"/>
              <a:ext cx="520509" cy="589182"/>
            </a:xfrm>
            <a:custGeom>
              <a:avLst/>
              <a:gdLst>
                <a:gd name="connsiteX0" fmla="*/ 504557 w 520509"/>
                <a:gd name="connsiteY0" fmla="*/ 143390 h 589182"/>
                <a:gd name="connsiteX1" fmla="*/ 516762 w 520509"/>
                <a:gd name="connsiteY1" fmla="*/ 12203 h 589182"/>
                <a:gd name="connsiteX2" fmla="*/ 455745 w 520509"/>
                <a:gd name="connsiteY2" fmla="*/ 0 h 589182"/>
                <a:gd name="connsiteX3" fmla="*/ 419134 w 520509"/>
                <a:gd name="connsiteY3" fmla="*/ 222712 h 589182"/>
                <a:gd name="connsiteX4" fmla="*/ 287948 w 520509"/>
                <a:gd name="connsiteY4" fmla="*/ 216610 h 589182"/>
                <a:gd name="connsiteX5" fmla="*/ 248287 w 520509"/>
                <a:gd name="connsiteY5" fmla="*/ 207458 h 589182"/>
                <a:gd name="connsiteX6" fmla="*/ 156762 w 520509"/>
                <a:gd name="connsiteY6" fmla="*/ 244068 h 589182"/>
                <a:gd name="connsiteX7" fmla="*/ 80491 w 520509"/>
                <a:gd name="connsiteY7" fmla="*/ 125085 h 589182"/>
                <a:gd name="connsiteX8" fmla="*/ 46930 w 520509"/>
                <a:gd name="connsiteY8" fmla="*/ 103729 h 589182"/>
                <a:gd name="connsiteX9" fmla="*/ 68287 w 520509"/>
                <a:gd name="connsiteY9" fmla="*/ 201356 h 589182"/>
                <a:gd name="connsiteX10" fmla="*/ 62185 w 520509"/>
                <a:gd name="connsiteY10" fmla="*/ 503390 h 589182"/>
                <a:gd name="connsiteX11" fmla="*/ 65237 w 520509"/>
                <a:gd name="connsiteY11" fmla="*/ 576610 h 589182"/>
                <a:gd name="connsiteX12" fmla="*/ 519812 w 520509"/>
                <a:gd name="connsiteY12" fmla="*/ 274576 h 589182"/>
                <a:gd name="connsiteX13" fmla="*/ 504557 w 520509"/>
                <a:gd name="connsiteY13" fmla="*/ 143390 h 58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0509" h="589182">
                  <a:moveTo>
                    <a:pt x="504557" y="143390"/>
                  </a:moveTo>
                  <a:cubicBezTo>
                    <a:pt x="504557" y="143390"/>
                    <a:pt x="516762" y="12203"/>
                    <a:pt x="516762" y="12203"/>
                  </a:cubicBezTo>
                  <a:cubicBezTo>
                    <a:pt x="498455" y="9153"/>
                    <a:pt x="470999" y="6102"/>
                    <a:pt x="455745" y="0"/>
                  </a:cubicBezTo>
                  <a:cubicBezTo>
                    <a:pt x="455745" y="33559"/>
                    <a:pt x="443540" y="204407"/>
                    <a:pt x="419134" y="222712"/>
                  </a:cubicBezTo>
                  <a:cubicBezTo>
                    <a:pt x="385576" y="244068"/>
                    <a:pt x="306252" y="256271"/>
                    <a:pt x="287948" y="216610"/>
                  </a:cubicBezTo>
                  <a:cubicBezTo>
                    <a:pt x="287948" y="216610"/>
                    <a:pt x="263542" y="231864"/>
                    <a:pt x="248287" y="207458"/>
                  </a:cubicBezTo>
                  <a:cubicBezTo>
                    <a:pt x="248287" y="207458"/>
                    <a:pt x="217779" y="247119"/>
                    <a:pt x="156762" y="244068"/>
                  </a:cubicBezTo>
                  <a:cubicBezTo>
                    <a:pt x="126253" y="241017"/>
                    <a:pt x="86591" y="155593"/>
                    <a:pt x="80491" y="125085"/>
                  </a:cubicBezTo>
                  <a:cubicBezTo>
                    <a:pt x="68287" y="131186"/>
                    <a:pt x="59134" y="103729"/>
                    <a:pt x="46930" y="103729"/>
                  </a:cubicBezTo>
                  <a:cubicBezTo>
                    <a:pt x="46930" y="106780"/>
                    <a:pt x="68287" y="198305"/>
                    <a:pt x="68287" y="201356"/>
                  </a:cubicBezTo>
                  <a:cubicBezTo>
                    <a:pt x="68287" y="201356"/>
                    <a:pt x="-81206" y="414915"/>
                    <a:pt x="62185" y="503390"/>
                  </a:cubicBezTo>
                  <a:cubicBezTo>
                    <a:pt x="101845" y="527797"/>
                    <a:pt x="65237" y="576610"/>
                    <a:pt x="65237" y="576610"/>
                  </a:cubicBezTo>
                  <a:cubicBezTo>
                    <a:pt x="65237" y="576610"/>
                    <a:pt x="541168" y="683390"/>
                    <a:pt x="519812" y="274576"/>
                  </a:cubicBezTo>
                  <a:cubicBezTo>
                    <a:pt x="516762" y="204407"/>
                    <a:pt x="501507" y="143390"/>
                    <a:pt x="504557" y="143390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CC17F668-E997-4144-BEA8-FE299DED8F92}"/>
                </a:ext>
              </a:extLst>
            </p:cNvPr>
            <p:cNvSpPr/>
            <p:nvPr/>
          </p:nvSpPr>
          <p:spPr>
            <a:xfrm>
              <a:off x="25169662" y="2330576"/>
              <a:ext cx="253219" cy="70909"/>
            </a:xfrm>
            <a:custGeom>
              <a:avLst/>
              <a:gdLst>
                <a:gd name="connsiteX0" fmla="*/ 61017 w 253219"/>
                <a:gd name="connsiteY0" fmla="*/ 7414 h 70909"/>
                <a:gd name="connsiteX1" fmla="*/ 0 w 253219"/>
                <a:gd name="connsiteY1" fmla="*/ 34871 h 70909"/>
                <a:gd name="connsiteX2" fmla="*/ 118982 w 253219"/>
                <a:gd name="connsiteY2" fmla="*/ 56227 h 70909"/>
                <a:gd name="connsiteX3" fmla="*/ 253220 w 253219"/>
                <a:gd name="connsiteY3" fmla="*/ 31820 h 70909"/>
                <a:gd name="connsiteX4" fmla="*/ 204407 w 253219"/>
                <a:gd name="connsiteY4" fmla="*/ 25719 h 70909"/>
                <a:gd name="connsiteX5" fmla="*/ 125084 w 253219"/>
                <a:gd name="connsiteY5" fmla="*/ 10464 h 70909"/>
                <a:gd name="connsiteX6" fmla="*/ 61017 w 253219"/>
                <a:gd name="connsiteY6" fmla="*/ 7414 h 7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219" h="70909">
                  <a:moveTo>
                    <a:pt x="61017" y="7414"/>
                  </a:moveTo>
                  <a:cubicBezTo>
                    <a:pt x="36611" y="19617"/>
                    <a:pt x="30508" y="40973"/>
                    <a:pt x="0" y="34871"/>
                  </a:cubicBezTo>
                  <a:cubicBezTo>
                    <a:pt x="0" y="34871"/>
                    <a:pt x="48813" y="98939"/>
                    <a:pt x="118982" y="56227"/>
                  </a:cubicBezTo>
                  <a:cubicBezTo>
                    <a:pt x="118982" y="56227"/>
                    <a:pt x="207457" y="98939"/>
                    <a:pt x="253220" y="31820"/>
                  </a:cubicBezTo>
                  <a:cubicBezTo>
                    <a:pt x="253220" y="31820"/>
                    <a:pt x="219661" y="34871"/>
                    <a:pt x="204407" y="25719"/>
                  </a:cubicBezTo>
                  <a:cubicBezTo>
                    <a:pt x="189153" y="16566"/>
                    <a:pt x="167797" y="-10892"/>
                    <a:pt x="125084" y="10464"/>
                  </a:cubicBezTo>
                  <a:cubicBezTo>
                    <a:pt x="125084" y="10464"/>
                    <a:pt x="97627" y="-10892"/>
                    <a:pt x="61017" y="7414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5" name="图形 1">
              <a:extLst>
                <a:ext uri="{FF2B5EF4-FFF2-40B4-BE49-F238E27FC236}">
                  <a16:creationId xmlns:a16="http://schemas.microsoft.com/office/drawing/2014/main" id="{CC7FFAAA-3739-458C-B400-F967449AF733}"/>
                </a:ext>
              </a:extLst>
            </p:cNvPr>
            <p:cNvGrpSpPr/>
            <p:nvPr/>
          </p:nvGrpSpPr>
          <p:grpSpPr>
            <a:xfrm>
              <a:off x="25270340" y="2215956"/>
              <a:ext cx="57966" cy="137288"/>
              <a:chOff x="25270340" y="2215956"/>
              <a:chExt cx="57966" cy="137288"/>
            </a:xfrm>
          </p:grpSpPr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F799E364-4D1E-43E4-BB91-EF0F41344A6C}"/>
                  </a:ext>
                </a:extLst>
              </p:cNvPr>
              <p:cNvSpPr/>
              <p:nvPr/>
            </p:nvSpPr>
            <p:spPr>
              <a:xfrm>
                <a:off x="25276442" y="2222058"/>
                <a:ext cx="48812" cy="125505"/>
              </a:xfrm>
              <a:custGeom>
                <a:avLst/>
                <a:gdLst>
                  <a:gd name="connsiteX0" fmla="*/ 15254 w 48812"/>
                  <a:gd name="connsiteY0" fmla="*/ 0 h 125505"/>
                  <a:gd name="connsiteX1" fmla="*/ 0 w 48812"/>
                  <a:gd name="connsiteY1" fmla="*/ 112881 h 125505"/>
                  <a:gd name="connsiteX2" fmla="*/ 48813 w 48812"/>
                  <a:gd name="connsiteY2" fmla="*/ 122034 h 125505"/>
                  <a:gd name="connsiteX3" fmla="*/ 15254 w 48812"/>
                  <a:gd name="connsiteY3" fmla="*/ 0 h 12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2" h="125505">
                    <a:moveTo>
                      <a:pt x="15254" y="0"/>
                    </a:moveTo>
                    <a:cubicBezTo>
                      <a:pt x="15254" y="0"/>
                      <a:pt x="0" y="91525"/>
                      <a:pt x="0" y="112881"/>
                    </a:cubicBezTo>
                    <a:cubicBezTo>
                      <a:pt x="0" y="134237"/>
                      <a:pt x="48813" y="122034"/>
                      <a:pt x="48813" y="122034"/>
                    </a:cubicBezTo>
                    <a:lnTo>
                      <a:pt x="15254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057495E4-674C-49FF-B510-E671107CD586}"/>
                  </a:ext>
                </a:extLst>
              </p:cNvPr>
              <p:cNvSpPr/>
              <p:nvPr/>
            </p:nvSpPr>
            <p:spPr>
              <a:xfrm>
                <a:off x="25270340" y="2215956"/>
                <a:ext cx="57966" cy="137288"/>
              </a:xfrm>
              <a:custGeom>
                <a:avLst/>
                <a:gdLst>
                  <a:gd name="connsiteX0" fmla="*/ 30508 w 57966"/>
                  <a:gd name="connsiteY0" fmla="*/ 137288 h 137288"/>
                  <a:gd name="connsiteX1" fmla="*/ 6102 w 57966"/>
                  <a:gd name="connsiteY1" fmla="*/ 131186 h 137288"/>
                  <a:gd name="connsiteX2" fmla="*/ 0 w 57966"/>
                  <a:gd name="connsiteY2" fmla="*/ 118983 h 137288"/>
                  <a:gd name="connsiteX3" fmla="*/ 15254 w 57966"/>
                  <a:gd name="connsiteY3" fmla="*/ 6102 h 137288"/>
                  <a:gd name="connsiteX4" fmla="*/ 21356 w 57966"/>
                  <a:gd name="connsiteY4" fmla="*/ 0 h 137288"/>
                  <a:gd name="connsiteX5" fmla="*/ 27458 w 57966"/>
                  <a:gd name="connsiteY5" fmla="*/ 6102 h 137288"/>
                  <a:gd name="connsiteX6" fmla="*/ 12204 w 57966"/>
                  <a:gd name="connsiteY6" fmla="*/ 118983 h 137288"/>
                  <a:gd name="connsiteX7" fmla="*/ 12204 w 57966"/>
                  <a:gd name="connsiteY7" fmla="*/ 122034 h 137288"/>
                  <a:gd name="connsiteX8" fmla="*/ 51865 w 57966"/>
                  <a:gd name="connsiteY8" fmla="*/ 122034 h 137288"/>
                  <a:gd name="connsiteX9" fmla="*/ 57967 w 57966"/>
                  <a:gd name="connsiteY9" fmla="*/ 128136 h 137288"/>
                  <a:gd name="connsiteX10" fmla="*/ 51865 w 57966"/>
                  <a:gd name="connsiteY10" fmla="*/ 134237 h 137288"/>
                  <a:gd name="connsiteX11" fmla="*/ 30508 w 57966"/>
                  <a:gd name="connsiteY11" fmla="*/ 137288 h 137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7966" h="137288">
                    <a:moveTo>
                      <a:pt x="30508" y="137288"/>
                    </a:moveTo>
                    <a:cubicBezTo>
                      <a:pt x="21356" y="137288"/>
                      <a:pt x="12204" y="137288"/>
                      <a:pt x="6102" y="131186"/>
                    </a:cubicBezTo>
                    <a:cubicBezTo>
                      <a:pt x="3050" y="128136"/>
                      <a:pt x="0" y="125085"/>
                      <a:pt x="0" y="118983"/>
                    </a:cubicBezTo>
                    <a:cubicBezTo>
                      <a:pt x="0" y="97627"/>
                      <a:pt x="15254" y="9153"/>
                      <a:pt x="15254" y="6102"/>
                    </a:cubicBezTo>
                    <a:cubicBezTo>
                      <a:pt x="15254" y="3051"/>
                      <a:pt x="18304" y="0"/>
                      <a:pt x="21356" y="0"/>
                    </a:cubicBezTo>
                    <a:cubicBezTo>
                      <a:pt x="24406" y="0"/>
                      <a:pt x="27458" y="3051"/>
                      <a:pt x="27458" y="6102"/>
                    </a:cubicBezTo>
                    <a:cubicBezTo>
                      <a:pt x="27458" y="6102"/>
                      <a:pt x="12204" y="97627"/>
                      <a:pt x="12204" y="118983"/>
                    </a:cubicBezTo>
                    <a:cubicBezTo>
                      <a:pt x="12204" y="118983"/>
                      <a:pt x="12204" y="122034"/>
                      <a:pt x="12204" y="122034"/>
                    </a:cubicBezTo>
                    <a:cubicBezTo>
                      <a:pt x="18304" y="128136"/>
                      <a:pt x="39661" y="125085"/>
                      <a:pt x="51865" y="122034"/>
                    </a:cubicBezTo>
                    <a:cubicBezTo>
                      <a:pt x="54915" y="122034"/>
                      <a:pt x="57967" y="122034"/>
                      <a:pt x="57967" y="128136"/>
                    </a:cubicBezTo>
                    <a:cubicBezTo>
                      <a:pt x="57967" y="131186"/>
                      <a:pt x="57967" y="134237"/>
                      <a:pt x="51865" y="134237"/>
                    </a:cubicBezTo>
                    <a:cubicBezTo>
                      <a:pt x="48813" y="137288"/>
                      <a:pt x="39661" y="137288"/>
                      <a:pt x="30508" y="1372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F9AAC108-2125-4A73-8A3B-01D855F7ACED}"/>
                </a:ext>
              </a:extLst>
            </p:cNvPr>
            <p:cNvSpPr/>
            <p:nvPr/>
          </p:nvSpPr>
          <p:spPr>
            <a:xfrm>
              <a:off x="24605255" y="4107481"/>
              <a:ext cx="1446100" cy="485206"/>
            </a:xfrm>
            <a:custGeom>
              <a:avLst/>
              <a:gdLst>
                <a:gd name="connsiteX0" fmla="*/ 216609 w 1446100"/>
                <a:gd name="connsiteY0" fmla="*/ 27458 h 485206"/>
                <a:gd name="connsiteX1" fmla="*/ 0 w 1446100"/>
                <a:gd name="connsiteY1" fmla="*/ 442373 h 485206"/>
                <a:gd name="connsiteX2" fmla="*/ 1446101 w 1446100"/>
                <a:gd name="connsiteY2" fmla="*/ 402712 h 485206"/>
                <a:gd name="connsiteX3" fmla="*/ 1287458 w 1446100"/>
                <a:gd name="connsiteY3" fmla="*/ 0 h 485206"/>
                <a:gd name="connsiteX4" fmla="*/ 216609 w 1446100"/>
                <a:gd name="connsiteY4" fmla="*/ 27458 h 485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6100" h="485206">
                  <a:moveTo>
                    <a:pt x="216609" y="27458"/>
                  </a:moveTo>
                  <a:lnTo>
                    <a:pt x="0" y="442373"/>
                  </a:lnTo>
                  <a:cubicBezTo>
                    <a:pt x="0" y="442373"/>
                    <a:pt x="1086101" y="561356"/>
                    <a:pt x="1446101" y="402712"/>
                  </a:cubicBezTo>
                  <a:lnTo>
                    <a:pt x="1287458" y="0"/>
                  </a:lnTo>
                  <a:lnTo>
                    <a:pt x="216609" y="27458"/>
                  </a:ln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C4279B19-1E22-438B-B64E-EF683403BD98}"/>
                </a:ext>
              </a:extLst>
            </p:cNvPr>
            <p:cNvSpPr/>
            <p:nvPr/>
          </p:nvSpPr>
          <p:spPr>
            <a:xfrm>
              <a:off x="24567882" y="2649417"/>
              <a:ext cx="1510078" cy="1979920"/>
            </a:xfrm>
            <a:custGeom>
              <a:avLst/>
              <a:gdLst>
                <a:gd name="connsiteX0" fmla="*/ 1456017 w 1510078"/>
                <a:gd name="connsiteY0" fmla="*/ 1793658 h 1979920"/>
                <a:gd name="connsiteX1" fmla="*/ 437033 w 1510078"/>
                <a:gd name="connsiteY1" fmla="*/ 1866878 h 1979920"/>
                <a:gd name="connsiteX2" fmla="*/ 501102 w 1510078"/>
                <a:gd name="connsiteY2" fmla="*/ 1509929 h 1979920"/>
                <a:gd name="connsiteX3" fmla="*/ 504152 w 1510078"/>
                <a:gd name="connsiteY3" fmla="*/ 1497726 h 1979920"/>
                <a:gd name="connsiteX4" fmla="*/ 507202 w 1510078"/>
                <a:gd name="connsiteY4" fmla="*/ 1451963 h 1979920"/>
                <a:gd name="connsiteX5" fmla="*/ 415677 w 1510078"/>
                <a:gd name="connsiteY5" fmla="*/ 744166 h 1979920"/>
                <a:gd name="connsiteX6" fmla="*/ 681101 w 1510078"/>
                <a:gd name="connsiteY6" fmla="*/ 69929 h 1979920"/>
                <a:gd name="connsiteX7" fmla="*/ 601780 w 1510078"/>
                <a:gd name="connsiteY7" fmla="*/ 24166 h 1979920"/>
                <a:gd name="connsiteX8" fmla="*/ 321102 w 1510078"/>
                <a:gd name="connsiteY8" fmla="*/ 747217 h 1979920"/>
                <a:gd name="connsiteX9" fmla="*/ 415677 w 1510078"/>
                <a:gd name="connsiteY9" fmla="*/ 1476370 h 1979920"/>
                <a:gd name="connsiteX10" fmla="*/ 342458 w 1510078"/>
                <a:gd name="connsiteY10" fmla="*/ 1863827 h 1979920"/>
                <a:gd name="connsiteX11" fmla="*/ 43475 w 1510078"/>
                <a:gd name="connsiteY11" fmla="*/ 1842471 h 1979920"/>
                <a:gd name="connsiteX12" fmla="*/ 43475 w 1510078"/>
                <a:gd name="connsiteY12" fmla="*/ 1933997 h 1979920"/>
                <a:gd name="connsiteX13" fmla="*/ 1474322 w 1510078"/>
                <a:gd name="connsiteY13" fmla="*/ 1885183 h 1979920"/>
                <a:gd name="connsiteX14" fmla="*/ 1456017 w 1510078"/>
                <a:gd name="connsiteY14" fmla="*/ 1793658 h 197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10078" h="1979920">
                  <a:moveTo>
                    <a:pt x="1456017" y="1793658"/>
                  </a:moveTo>
                  <a:cubicBezTo>
                    <a:pt x="1132626" y="1903488"/>
                    <a:pt x="781779" y="1891285"/>
                    <a:pt x="437033" y="1866878"/>
                  </a:cubicBezTo>
                  <a:cubicBezTo>
                    <a:pt x="437033" y="1744844"/>
                    <a:pt x="449237" y="1622810"/>
                    <a:pt x="501102" y="1509929"/>
                  </a:cubicBezTo>
                  <a:cubicBezTo>
                    <a:pt x="504152" y="1503827"/>
                    <a:pt x="504152" y="1500777"/>
                    <a:pt x="504152" y="1497726"/>
                  </a:cubicBezTo>
                  <a:cubicBezTo>
                    <a:pt x="513305" y="1485522"/>
                    <a:pt x="516357" y="1467217"/>
                    <a:pt x="507202" y="1451963"/>
                  </a:cubicBezTo>
                  <a:cubicBezTo>
                    <a:pt x="409577" y="1247556"/>
                    <a:pt x="400423" y="966878"/>
                    <a:pt x="415677" y="744166"/>
                  </a:cubicBezTo>
                  <a:cubicBezTo>
                    <a:pt x="433983" y="484844"/>
                    <a:pt x="580424" y="295692"/>
                    <a:pt x="681101" y="69929"/>
                  </a:cubicBezTo>
                  <a:cubicBezTo>
                    <a:pt x="705508" y="18065"/>
                    <a:pt x="626186" y="-30749"/>
                    <a:pt x="601780" y="24166"/>
                  </a:cubicBezTo>
                  <a:cubicBezTo>
                    <a:pt x="491948" y="268234"/>
                    <a:pt x="339406" y="469590"/>
                    <a:pt x="321102" y="747217"/>
                  </a:cubicBezTo>
                  <a:cubicBezTo>
                    <a:pt x="305847" y="979082"/>
                    <a:pt x="318051" y="1259760"/>
                    <a:pt x="415677" y="1476370"/>
                  </a:cubicBezTo>
                  <a:cubicBezTo>
                    <a:pt x="360762" y="1598404"/>
                    <a:pt x="345508" y="1729590"/>
                    <a:pt x="342458" y="1863827"/>
                  </a:cubicBezTo>
                  <a:cubicBezTo>
                    <a:pt x="241780" y="1854675"/>
                    <a:pt x="141101" y="1848573"/>
                    <a:pt x="43475" y="1842471"/>
                  </a:cubicBezTo>
                  <a:cubicBezTo>
                    <a:pt x="-14492" y="1839421"/>
                    <a:pt x="-14492" y="1930946"/>
                    <a:pt x="43475" y="1933997"/>
                  </a:cubicBezTo>
                  <a:cubicBezTo>
                    <a:pt x="513305" y="1961454"/>
                    <a:pt x="1019746" y="2043827"/>
                    <a:pt x="1474322" y="1885183"/>
                  </a:cubicBezTo>
                  <a:cubicBezTo>
                    <a:pt x="1535339" y="1860776"/>
                    <a:pt x="1510932" y="1772302"/>
                    <a:pt x="1456017" y="1793658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8F00B0B9-5A70-42F4-93DA-B38EA9D0FC77}"/>
                </a:ext>
              </a:extLst>
            </p:cNvPr>
            <p:cNvSpPr/>
            <p:nvPr/>
          </p:nvSpPr>
          <p:spPr>
            <a:xfrm>
              <a:off x="24771992" y="4022057"/>
              <a:ext cx="1141079" cy="179846"/>
            </a:xfrm>
            <a:custGeom>
              <a:avLst/>
              <a:gdLst>
                <a:gd name="connsiteX0" fmla="*/ 19364 w 1141079"/>
                <a:gd name="connsiteY0" fmla="*/ 170848 h 179846"/>
                <a:gd name="connsiteX1" fmla="*/ 1129873 w 1141079"/>
                <a:gd name="connsiteY1" fmla="*/ 112881 h 179846"/>
                <a:gd name="connsiteX2" fmla="*/ 1120721 w 1141079"/>
                <a:gd name="connsiteY2" fmla="*/ 0 h 179846"/>
                <a:gd name="connsiteX3" fmla="*/ 10212 w 1141079"/>
                <a:gd name="connsiteY3" fmla="*/ 70170 h 179846"/>
                <a:gd name="connsiteX4" fmla="*/ 19364 w 1141079"/>
                <a:gd name="connsiteY4" fmla="*/ 170848 h 17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1079" h="179846">
                  <a:moveTo>
                    <a:pt x="19364" y="170848"/>
                  </a:moveTo>
                  <a:cubicBezTo>
                    <a:pt x="19364" y="170848"/>
                    <a:pt x="809534" y="213559"/>
                    <a:pt x="1129873" y="112881"/>
                  </a:cubicBezTo>
                  <a:cubicBezTo>
                    <a:pt x="1129873" y="112881"/>
                    <a:pt x="1160382" y="42712"/>
                    <a:pt x="1120721" y="0"/>
                  </a:cubicBezTo>
                  <a:cubicBezTo>
                    <a:pt x="855297" y="88475"/>
                    <a:pt x="391568" y="85424"/>
                    <a:pt x="10212" y="70170"/>
                  </a:cubicBezTo>
                  <a:cubicBezTo>
                    <a:pt x="-17246" y="125085"/>
                    <a:pt x="19364" y="170848"/>
                    <a:pt x="19364" y="170848"/>
                  </a:cubicBezTo>
                  <a:close/>
                </a:path>
              </a:pathLst>
            </a:custGeom>
            <a:solidFill>
              <a:srgbClr val="6C5D68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9" name="图形 1">
              <a:extLst>
                <a:ext uri="{FF2B5EF4-FFF2-40B4-BE49-F238E27FC236}">
                  <a16:creationId xmlns:a16="http://schemas.microsoft.com/office/drawing/2014/main" id="{370B2BBE-8AE5-4B1D-B7AD-F8181F360B63}"/>
                </a:ext>
              </a:extLst>
            </p:cNvPr>
            <p:cNvGrpSpPr/>
            <p:nvPr/>
          </p:nvGrpSpPr>
          <p:grpSpPr>
            <a:xfrm>
              <a:off x="24916442" y="4058668"/>
              <a:ext cx="216609" cy="164745"/>
              <a:chOff x="24916442" y="4058668"/>
              <a:chExt cx="216609" cy="164745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6581C706-C6D6-4BE5-8C37-FAF1070EF93F}"/>
                  </a:ext>
                </a:extLst>
              </p:cNvPr>
              <p:cNvSpPr/>
              <p:nvPr/>
            </p:nvSpPr>
            <p:spPr>
              <a:xfrm>
                <a:off x="24916442" y="4058668"/>
                <a:ext cx="216609" cy="164745"/>
              </a:xfrm>
              <a:custGeom>
                <a:avLst/>
                <a:gdLst>
                  <a:gd name="connsiteX0" fmla="*/ 21354 w 216609"/>
                  <a:gd name="connsiteY0" fmla="*/ 164746 h 164745"/>
                  <a:gd name="connsiteX1" fmla="*/ 195253 w 216609"/>
                  <a:gd name="connsiteY1" fmla="*/ 164746 h 164745"/>
                  <a:gd name="connsiteX2" fmla="*/ 216609 w 216609"/>
                  <a:gd name="connsiteY2" fmla="*/ 143390 h 164745"/>
                  <a:gd name="connsiteX3" fmla="*/ 216609 w 216609"/>
                  <a:gd name="connsiteY3" fmla="*/ 21356 h 164745"/>
                  <a:gd name="connsiteX4" fmla="*/ 195253 w 216609"/>
                  <a:gd name="connsiteY4" fmla="*/ 0 h 164745"/>
                  <a:gd name="connsiteX5" fmla="*/ 21354 w 216609"/>
                  <a:gd name="connsiteY5" fmla="*/ 0 h 164745"/>
                  <a:gd name="connsiteX6" fmla="*/ 0 w 216609"/>
                  <a:gd name="connsiteY6" fmla="*/ 21356 h 164745"/>
                  <a:gd name="connsiteX7" fmla="*/ 0 w 216609"/>
                  <a:gd name="connsiteY7" fmla="*/ 143390 h 164745"/>
                  <a:gd name="connsiteX8" fmla="*/ 21354 w 216609"/>
                  <a:gd name="connsiteY8" fmla="*/ 164746 h 164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6609" h="164745">
                    <a:moveTo>
                      <a:pt x="21354" y="164746"/>
                    </a:moveTo>
                    <a:lnTo>
                      <a:pt x="195253" y="164746"/>
                    </a:lnTo>
                    <a:cubicBezTo>
                      <a:pt x="207457" y="164746"/>
                      <a:pt x="216609" y="155593"/>
                      <a:pt x="216609" y="143390"/>
                    </a:cubicBezTo>
                    <a:lnTo>
                      <a:pt x="216609" y="21356"/>
                    </a:lnTo>
                    <a:cubicBezTo>
                      <a:pt x="216609" y="9152"/>
                      <a:pt x="207457" y="0"/>
                      <a:pt x="195253" y="0"/>
                    </a:cubicBezTo>
                    <a:lnTo>
                      <a:pt x="21354" y="0"/>
                    </a:lnTo>
                    <a:cubicBezTo>
                      <a:pt x="9152" y="0"/>
                      <a:pt x="0" y="9152"/>
                      <a:pt x="0" y="21356"/>
                    </a:cubicBezTo>
                    <a:lnTo>
                      <a:pt x="0" y="143390"/>
                    </a:lnTo>
                    <a:cubicBezTo>
                      <a:pt x="0" y="155593"/>
                      <a:pt x="9152" y="164746"/>
                      <a:pt x="21354" y="16474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F86350BB-7E11-4809-A6E4-05B9AFEA96F5}"/>
                  </a:ext>
                </a:extLst>
              </p:cNvPr>
              <p:cNvSpPr/>
              <p:nvPr/>
            </p:nvSpPr>
            <p:spPr>
              <a:xfrm>
                <a:off x="24943899" y="4083074"/>
                <a:ext cx="158644" cy="118983"/>
              </a:xfrm>
              <a:custGeom>
                <a:avLst/>
                <a:gdLst>
                  <a:gd name="connsiteX0" fmla="*/ 15254 w 158644"/>
                  <a:gd name="connsiteY0" fmla="*/ 118983 h 118983"/>
                  <a:gd name="connsiteX1" fmla="*/ 143390 w 158644"/>
                  <a:gd name="connsiteY1" fmla="*/ 118983 h 118983"/>
                  <a:gd name="connsiteX2" fmla="*/ 158644 w 158644"/>
                  <a:gd name="connsiteY2" fmla="*/ 103729 h 118983"/>
                  <a:gd name="connsiteX3" fmla="*/ 158644 w 158644"/>
                  <a:gd name="connsiteY3" fmla="*/ 15254 h 118983"/>
                  <a:gd name="connsiteX4" fmla="*/ 143390 w 158644"/>
                  <a:gd name="connsiteY4" fmla="*/ 0 h 118983"/>
                  <a:gd name="connsiteX5" fmla="*/ 15254 w 158644"/>
                  <a:gd name="connsiteY5" fmla="*/ 0 h 118983"/>
                  <a:gd name="connsiteX6" fmla="*/ 0 w 158644"/>
                  <a:gd name="connsiteY6" fmla="*/ 15254 h 118983"/>
                  <a:gd name="connsiteX7" fmla="*/ 0 w 158644"/>
                  <a:gd name="connsiteY7" fmla="*/ 103729 h 118983"/>
                  <a:gd name="connsiteX8" fmla="*/ 15254 w 158644"/>
                  <a:gd name="connsiteY8" fmla="*/ 118983 h 118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8644" h="118983">
                    <a:moveTo>
                      <a:pt x="15254" y="118983"/>
                    </a:moveTo>
                    <a:lnTo>
                      <a:pt x="143390" y="118983"/>
                    </a:lnTo>
                    <a:cubicBezTo>
                      <a:pt x="152542" y="118983"/>
                      <a:pt x="158644" y="112881"/>
                      <a:pt x="158644" y="103729"/>
                    </a:cubicBezTo>
                    <a:lnTo>
                      <a:pt x="158644" y="15254"/>
                    </a:lnTo>
                    <a:cubicBezTo>
                      <a:pt x="158644" y="6102"/>
                      <a:pt x="152542" y="0"/>
                      <a:pt x="143390" y="0"/>
                    </a:cubicBezTo>
                    <a:lnTo>
                      <a:pt x="15254" y="0"/>
                    </a:lnTo>
                    <a:cubicBezTo>
                      <a:pt x="6102" y="0"/>
                      <a:pt x="0" y="6102"/>
                      <a:pt x="0" y="15254"/>
                    </a:cubicBezTo>
                    <a:lnTo>
                      <a:pt x="0" y="103729"/>
                    </a:lnTo>
                    <a:cubicBezTo>
                      <a:pt x="0" y="112881"/>
                      <a:pt x="6102" y="118983"/>
                      <a:pt x="15254" y="11898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0" name="图形 1">
              <a:extLst>
                <a:ext uri="{FF2B5EF4-FFF2-40B4-BE49-F238E27FC236}">
                  <a16:creationId xmlns:a16="http://schemas.microsoft.com/office/drawing/2014/main" id="{7435E84C-1407-437D-A55F-0BE109AF0A8A}"/>
                </a:ext>
              </a:extLst>
            </p:cNvPr>
            <p:cNvGrpSpPr/>
            <p:nvPr/>
          </p:nvGrpSpPr>
          <p:grpSpPr>
            <a:xfrm>
              <a:off x="24916673" y="3608284"/>
              <a:ext cx="1190303" cy="758379"/>
              <a:chOff x="24916673" y="3608284"/>
              <a:chExt cx="1190303" cy="758379"/>
            </a:xfrm>
          </p:grpSpPr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86719795-CD7A-4AAE-A89B-6CA71A809E39}"/>
                  </a:ext>
                </a:extLst>
              </p:cNvPr>
              <p:cNvSpPr/>
              <p:nvPr/>
            </p:nvSpPr>
            <p:spPr>
              <a:xfrm rot="-10800000">
                <a:off x="24916673" y="3625307"/>
                <a:ext cx="976271" cy="741355"/>
              </a:xfrm>
              <a:custGeom>
                <a:avLst/>
                <a:gdLst>
                  <a:gd name="connsiteX0" fmla="*/ 1 w 976271"/>
                  <a:gd name="connsiteY0" fmla="*/ 0 h 741355"/>
                  <a:gd name="connsiteX1" fmla="*/ 976272 w 976271"/>
                  <a:gd name="connsiteY1" fmla="*/ 0 h 741355"/>
                  <a:gd name="connsiteX2" fmla="*/ 976272 w 976271"/>
                  <a:gd name="connsiteY2" fmla="*/ 741356 h 741355"/>
                  <a:gd name="connsiteX3" fmla="*/ 1 w 976271"/>
                  <a:gd name="connsiteY3" fmla="*/ 741356 h 74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6271" h="741355">
                    <a:moveTo>
                      <a:pt x="1" y="0"/>
                    </a:moveTo>
                    <a:lnTo>
                      <a:pt x="976272" y="0"/>
                    </a:lnTo>
                    <a:lnTo>
                      <a:pt x="976272" y="741356"/>
                    </a:lnTo>
                    <a:lnTo>
                      <a:pt x="1" y="741356"/>
                    </a:lnTo>
                    <a:close/>
                  </a:path>
                </a:pathLst>
              </a:custGeom>
              <a:solidFill>
                <a:srgbClr val="728CB2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7F85020C-4D6E-4682-8786-AA6DF754EB8E}"/>
                  </a:ext>
                </a:extLst>
              </p:cNvPr>
              <p:cNvSpPr/>
              <p:nvPr/>
            </p:nvSpPr>
            <p:spPr>
              <a:xfrm rot="-10800000">
                <a:off x="25130706" y="3625307"/>
                <a:ext cx="976271" cy="741355"/>
              </a:xfrm>
              <a:custGeom>
                <a:avLst/>
                <a:gdLst>
                  <a:gd name="connsiteX0" fmla="*/ 1 w 976271"/>
                  <a:gd name="connsiteY0" fmla="*/ 0 h 741355"/>
                  <a:gd name="connsiteX1" fmla="*/ 976272 w 976271"/>
                  <a:gd name="connsiteY1" fmla="*/ 0 h 741355"/>
                  <a:gd name="connsiteX2" fmla="*/ 976272 w 976271"/>
                  <a:gd name="connsiteY2" fmla="*/ 741356 h 741355"/>
                  <a:gd name="connsiteX3" fmla="*/ 1 w 976271"/>
                  <a:gd name="connsiteY3" fmla="*/ 741356 h 74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6271" h="741355">
                    <a:moveTo>
                      <a:pt x="1" y="0"/>
                    </a:moveTo>
                    <a:lnTo>
                      <a:pt x="976272" y="0"/>
                    </a:lnTo>
                    <a:lnTo>
                      <a:pt x="976272" y="741356"/>
                    </a:lnTo>
                    <a:lnTo>
                      <a:pt x="1" y="741356"/>
                    </a:ln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3941A713-8127-4432-99DF-4365604FAF42}"/>
                  </a:ext>
                </a:extLst>
              </p:cNvPr>
              <p:cNvSpPr/>
              <p:nvPr/>
            </p:nvSpPr>
            <p:spPr>
              <a:xfrm rot="-10800000">
                <a:off x="25551756" y="3625307"/>
                <a:ext cx="134237" cy="741355"/>
              </a:xfrm>
              <a:custGeom>
                <a:avLst/>
                <a:gdLst>
                  <a:gd name="connsiteX0" fmla="*/ 0 w 134237"/>
                  <a:gd name="connsiteY0" fmla="*/ 0 h 741355"/>
                  <a:gd name="connsiteX1" fmla="*/ 134238 w 134237"/>
                  <a:gd name="connsiteY1" fmla="*/ 0 h 741355"/>
                  <a:gd name="connsiteX2" fmla="*/ 134238 w 134237"/>
                  <a:gd name="connsiteY2" fmla="*/ 741356 h 741355"/>
                  <a:gd name="connsiteX3" fmla="*/ 0 w 134237"/>
                  <a:gd name="connsiteY3" fmla="*/ 741356 h 74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237" h="741355">
                    <a:moveTo>
                      <a:pt x="0" y="0"/>
                    </a:moveTo>
                    <a:lnTo>
                      <a:pt x="134238" y="0"/>
                    </a:lnTo>
                    <a:lnTo>
                      <a:pt x="134238" y="741356"/>
                    </a:lnTo>
                    <a:lnTo>
                      <a:pt x="0" y="741356"/>
                    </a:ln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B036603A-63AA-47CA-99D1-E3214BB43214}"/>
                  </a:ext>
                </a:extLst>
              </p:cNvPr>
              <p:cNvSpPr/>
              <p:nvPr/>
            </p:nvSpPr>
            <p:spPr>
              <a:xfrm>
                <a:off x="25632852" y="3608284"/>
                <a:ext cx="308674" cy="551525"/>
              </a:xfrm>
              <a:custGeom>
                <a:avLst/>
                <a:gdLst>
                  <a:gd name="connsiteX0" fmla="*/ 52402 w 308674"/>
                  <a:gd name="connsiteY0" fmla="*/ 8011 h 551525"/>
                  <a:gd name="connsiteX1" fmla="*/ 308674 w 308674"/>
                  <a:gd name="connsiteY1" fmla="*/ 520553 h 551525"/>
                  <a:gd name="connsiteX2" fmla="*/ 269014 w 308674"/>
                  <a:gd name="connsiteY2" fmla="*/ 551062 h 551525"/>
                  <a:gd name="connsiteX3" fmla="*/ 195793 w 308674"/>
                  <a:gd name="connsiteY3" fmla="*/ 538859 h 551525"/>
                  <a:gd name="connsiteX4" fmla="*/ 174436 w 308674"/>
                  <a:gd name="connsiteY4" fmla="*/ 508350 h 551525"/>
                  <a:gd name="connsiteX5" fmla="*/ 140878 w 308674"/>
                  <a:gd name="connsiteY5" fmla="*/ 255130 h 551525"/>
                  <a:gd name="connsiteX6" fmla="*/ 6640 w 308674"/>
                  <a:gd name="connsiteY6" fmla="*/ 59875 h 551525"/>
                  <a:gd name="connsiteX7" fmla="*/ 3590 w 308674"/>
                  <a:gd name="connsiteY7" fmla="*/ 47672 h 551525"/>
                  <a:gd name="connsiteX8" fmla="*/ 52402 w 308674"/>
                  <a:gd name="connsiteY8" fmla="*/ 8011 h 55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8674" h="551525">
                    <a:moveTo>
                      <a:pt x="52402" y="8011"/>
                    </a:moveTo>
                    <a:cubicBezTo>
                      <a:pt x="207997" y="136147"/>
                      <a:pt x="299522" y="319197"/>
                      <a:pt x="308674" y="520553"/>
                    </a:cubicBezTo>
                    <a:cubicBezTo>
                      <a:pt x="308674" y="541909"/>
                      <a:pt x="287318" y="554113"/>
                      <a:pt x="269014" y="551062"/>
                    </a:cubicBezTo>
                    <a:cubicBezTo>
                      <a:pt x="244607" y="548011"/>
                      <a:pt x="220199" y="541909"/>
                      <a:pt x="195793" y="538859"/>
                    </a:cubicBezTo>
                    <a:cubicBezTo>
                      <a:pt x="183590" y="535808"/>
                      <a:pt x="171386" y="520553"/>
                      <a:pt x="174436" y="508350"/>
                    </a:cubicBezTo>
                    <a:cubicBezTo>
                      <a:pt x="183590" y="419876"/>
                      <a:pt x="174436" y="334452"/>
                      <a:pt x="140878" y="255130"/>
                    </a:cubicBezTo>
                    <a:cubicBezTo>
                      <a:pt x="98165" y="184960"/>
                      <a:pt x="43250" y="117842"/>
                      <a:pt x="6640" y="59875"/>
                    </a:cubicBezTo>
                    <a:cubicBezTo>
                      <a:pt x="3590" y="56825"/>
                      <a:pt x="3590" y="50723"/>
                      <a:pt x="3590" y="47672"/>
                    </a:cubicBezTo>
                    <a:cubicBezTo>
                      <a:pt x="-11665" y="20214"/>
                      <a:pt x="24946" y="-16396"/>
                      <a:pt x="52402" y="8011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C7F9338C-8CAE-4232-8C69-788B9B113E07}"/>
                  </a:ext>
                </a:extLst>
              </p:cNvPr>
              <p:cNvSpPr/>
              <p:nvPr/>
            </p:nvSpPr>
            <p:spPr>
              <a:xfrm>
                <a:off x="25416883" y="3621526"/>
                <a:ext cx="177151" cy="369663"/>
              </a:xfrm>
              <a:custGeom>
                <a:avLst/>
                <a:gdLst>
                  <a:gd name="connsiteX0" fmla="*/ 9049 w 177151"/>
                  <a:gd name="connsiteY0" fmla="*/ 226633 h 369663"/>
                  <a:gd name="connsiteX1" fmla="*/ 97524 w 177151"/>
                  <a:gd name="connsiteY1" fmla="*/ 25277 h 369663"/>
                  <a:gd name="connsiteX2" fmla="*/ 109728 w 177151"/>
                  <a:gd name="connsiteY2" fmla="*/ 6972 h 369663"/>
                  <a:gd name="connsiteX3" fmla="*/ 158541 w 177151"/>
                  <a:gd name="connsiteY3" fmla="*/ 22226 h 369663"/>
                  <a:gd name="connsiteX4" fmla="*/ 124982 w 177151"/>
                  <a:gd name="connsiteY4" fmla="*/ 354769 h 369663"/>
                  <a:gd name="connsiteX5" fmla="*/ 73118 w 177151"/>
                  <a:gd name="connsiteY5" fmla="*/ 354769 h 369663"/>
                  <a:gd name="connsiteX6" fmla="*/ 12101 w 177151"/>
                  <a:gd name="connsiteY6" fmla="*/ 269345 h 369663"/>
                  <a:gd name="connsiteX7" fmla="*/ 9049 w 177151"/>
                  <a:gd name="connsiteY7" fmla="*/ 226633 h 369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7151" h="369663">
                    <a:moveTo>
                      <a:pt x="9049" y="226633"/>
                    </a:moveTo>
                    <a:cubicBezTo>
                      <a:pt x="73118" y="177820"/>
                      <a:pt x="85320" y="101548"/>
                      <a:pt x="97524" y="25277"/>
                    </a:cubicBezTo>
                    <a:cubicBezTo>
                      <a:pt x="97524" y="16125"/>
                      <a:pt x="103626" y="10023"/>
                      <a:pt x="109728" y="6972"/>
                    </a:cubicBezTo>
                    <a:cubicBezTo>
                      <a:pt x="124982" y="-5231"/>
                      <a:pt x="152439" y="-2181"/>
                      <a:pt x="158541" y="22226"/>
                    </a:cubicBezTo>
                    <a:cubicBezTo>
                      <a:pt x="192100" y="135108"/>
                      <a:pt x="179897" y="251040"/>
                      <a:pt x="124982" y="354769"/>
                    </a:cubicBezTo>
                    <a:cubicBezTo>
                      <a:pt x="112778" y="376125"/>
                      <a:pt x="85320" y="373074"/>
                      <a:pt x="73118" y="354769"/>
                    </a:cubicBezTo>
                    <a:cubicBezTo>
                      <a:pt x="54811" y="324260"/>
                      <a:pt x="33457" y="296803"/>
                      <a:pt x="12101" y="269345"/>
                    </a:cubicBezTo>
                    <a:cubicBezTo>
                      <a:pt x="-103" y="260192"/>
                      <a:pt x="-6205" y="238836"/>
                      <a:pt x="9049" y="226633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D5F6B562-27B3-445E-89F8-CEEBFC741832}"/>
                </a:ext>
              </a:extLst>
            </p:cNvPr>
            <p:cNvSpPr/>
            <p:nvPr/>
          </p:nvSpPr>
          <p:spPr>
            <a:xfrm>
              <a:off x="25354326" y="4165447"/>
              <a:ext cx="190589" cy="134392"/>
            </a:xfrm>
            <a:custGeom>
              <a:avLst/>
              <a:gdLst>
                <a:gd name="connsiteX0" fmla="*/ 190590 w 190589"/>
                <a:gd name="connsiteY0" fmla="*/ 0 h 134392"/>
                <a:gd name="connsiteX1" fmla="*/ 53302 w 190589"/>
                <a:gd name="connsiteY1" fmla="*/ 48814 h 134392"/>
                <a:gd name="connsiteX2" fmla="*/ 1437 w 190589"/>
                <a:gd name="connsiteY2" fmla="*/ 125085 h 134392"/>
                <a:gd name="connsiteX3" fmla="*/ 129573 w 190589"/>
                <a:gd name="connsiteY3" fmla="*/ 76271 h 134392"/>
                <a:gd name="connsiteX4" fmla="*/ 190590 w 190589"/>
                <a:gd name="connsiteY4" fmla="*/ 0 h 13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89" h="134392">
                  <a:moveTo>
                    <a:pt x="190590" y="0"/>
                  </a:moveTo>
                  <a:cubicBezTo>
                    <a:pt x="190590" y="0"/>
                    <a:pt x="77708" y="24407"/>
                    <a:pt x="53302" y="48814"/>
                  </a:cubicBezTo>
                  <a:cubicBezTo>
                    <a:pt x="28895" y="73220"/>
                    <a:pt x="-7715" y="106780"/>
                    <a:pt x="1437" y="125085"/>
                  </a:cubicBezTo>
                  <a:cubicBezTo>
                    <a:pt x="25843" y="164746"/>
                    <a:pt x="92962" y="64068"/>
                    <a:pt x="129573" y="76271"/>
                  </a:cubicBezTo>
                  <a:cubicBezTo>
                    <a:pt x="147877" y="82373"/>
                    <a:pt x="190590" y="0"/>
                    <a:pt x="190590" y="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2" name="图形 1">
              <a:extLst>
                <a:ext uri="{FF2B5EF4-FFF2-40B4-BE49-F238E27FC236}">
                  <a16:creationId xmlns:a16="http://schemas.microsoft.com/office/drawing/2014/main" id="{121B1C6A-08E5-4341-A80A-8D98564DBD90}"/>
                </a:ext>
              </a:extLst>
            </p:cNvPr>
            <p:cNvGrpSpPr/>
            <p:nvPr/>
          </p:nvGrpSpPr>
          <p:grpSpPr>
            <a:xfrm>
              <a:off x="25379758" y="4104253"/>
              <a:ext cx="351874" cy="332720"/>
              <a:chOff x="25379758" y="4104253"/>
              <a:chExt cx="351874" cy="332720"/>
            </a:xfrm>
          </p:grpSpPr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92D470F6-BE6F-40AB-8633-A250456DD7CE}"/>
                  </a:ext>
                </a:extLst>
              </p:cNvPr>
              <p:cNvSpPr/>
              <p:nvPr/>
            </p:nvSpPr>
            <p:spPr>
              <a:xfrm>
                <a:off x="25384121" y="4104253"/>
                <a:ext cx="347511" cy="316737"/>
              </a:xfrm>
              <a:custGeom>
                <a:avLst/>
                <a:gdLst>
                  <a:gd name="connsiteX0" fmla="*/ 337744 w 347511"/>
                  <a:gd name="connsiteY0" fmla="*/ 76449 h 316737"/>
                  <a:gd name="connsiteX1" fmla="*/ 221812 w 347511"/>
                  <a:gd name="connsiteY1" fmla="*/ 178 h 316737"/>
                  <a:gd name="connsiteX2" fmla="*/ 29609 w 347511"/>
                  <a:gd name="connsiteY2" fmla="*/ 167975 h 316737"/>
                  <a:gd name="connsiteX3" fmla="*/ 8253 w 347511"/>
                  <a:gd name="connsiteY3" fmla="*/ 235093 h 316737"/>
                  <a:gd name="connsiteX4" fmla="*/ 227914 w 347511"/>
                  <a:gd name="connsiteY4" fmla="*/ 311364 h 316737"/>
                  <a:gd name="connsiteX5" fmla="*/ 267575 w 347511"/>
                  <a:gd name="connsiteY5" fmla="*/ 225941 h 316737"/>
                  <a:gd name="connsiteX6" fmla="*/ 331642 w 347511"/>
                  <a:gd name="connsiteY6" fmla="*/ 131364 h 316737"/>
                  <a:gd name="connsiteX7" fmla="*/ 337744 w 347511"/>
                  <a:gd name="connsiteY7" fmla="*/ 76449 h 316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7511" h="316737">
                    <a:moveTo>
                      <a:pt x="337744" y="76449"/>
                    </a:moveTo>
                    <a:cubicBezTo>
                      <a:pt x="313338" y="33737"/>
                      <a:pt x="218762" y="-2873"/>
                      <a:pt x="221812" y="178"/>
                    </a:cubicBezTo>
                    <a:cubicBezTo>
                      <a:pt x="151643" y="73398"/>
                      <a:pt x="90626" y="85602"/>
                      <a:pt x="29609" y="167975"/>
                    </a:cubicBezTo>
                    <a:cubicBezTo>
                      <a:pt x="20457" y="180178"/>
                      <a:pt x="-16154" y="204585"/>
                      <a:pt x="8253" y="235093"/>
                    </a:cubicBezTo>
                    <a:cubicBezTo>
                      <a:pt x="50965" y="286958"/>
                      <a:pt x="206558" y="332720"/>
                      <a:pt x="227914" y="311364"/>
                    </a:cubicBezTo>
                    <a:cubicBezTo>
                      <a:pt x="255371" y="280856"/>
                      <a:pt x="246219" y="259500"/>
                      <a:pt x="267575" y="225941"/>
                    </a:cubicBezTo>
                    <a:cubicBezTo>
                      <a:pt x="288931" y="192381"/>
                      <a:pt x="313338" y="164924"/>
                      <a:pt x="331642" y="131364"/>
                    </a:cubicBezTo>
                    <a:cubicBezTo>
                      <a:pt x="349948" y="110008"/>
                      <a:pt x="352998" y="100856"/>
                      <a:pt x="337744" y="76449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C5003545-1396-4C36-B740-AE610AAA7DED}"/>
                  </a:ext>
                </a:extLst>
              </p:cNvPr>
              <p:cNvSpPr/>
              <p:nvPr/>
            </p:nvSpPr>
            <p:spPr>
              <a:xfrm>
                <a:off x="25379758" y="4197743"/>
                <a:ext cx="287192" cy="239229"/>
              </a:xfrm>
              <a:custGeom>
                <a:avLst/>
                <a:gdLst>
                  <a:gd name="connsiteX0" fmla="*/ 177362 w 287192"/>
                  <a:gd name="connsiteY0" fmla="*/ 239230 h 239229"/>
                  <a:gd name="connsiteX1" fmla="*/ 137700 w 287192"/>
                  <a:gd name="connsiteY1" fmla="*/ 230077 h 239229"/>
                  <a:gd name="connsiteX2" fmla="*/ 412 w 287192"/>
                  <a:gd name="connsiteY2" fmla="*/ 114145 h 239229"/>
                  <a:gd name="connsiteX3" fmla="*/ 101091 w 287192"/>
                  <a:gd name="connsiteY3" fmla="*/ 1264 h 239229"/>
                  <a:gd name="connsiteX4" fmla="*/ 110243 w 287192"/>
                  <a:gd name="connsiteY4" fmla="*/ 4314 h 239229"/>
                  <a:gd name="connsiteX5" fmla="*/ 107191 w 287192"/>
                  <a:gd name="connsiteY5" fmla="*/ 13467 h 239229"/>
                  <a:gd name="connsiteX6" fmla="*/ 9566 w 287192"/>
                  <a:gd name="connsiteY6" fmla="*/ 117196 h 239229"/>
                  <a:gd name="connsiteX7" fmla="*/ 140752 w 287192"/>
                  <a:gd name="connsiteY7" fmla="*/ 220925 h 239229"/>
                  <a:gd name="connsiteX8" fmla="*/ 207871 w 287192"/>
                  <a:gd name="connsiteY8" fmla="*/ 220925 h 239229"/>
                  <a:gd name="connsiteX9" fmla="*/ 241429 w 287192"/>
                  <a:gd name="connsiteY9" fmla="*/ 190416 h 239229"/>
                  <a:gd name="connsiteX10" fmla="*/ 274988 w 287192"/>
                  <a:gd name="connsiteY10" fmla="*/ 117196 h 239229"/>
                  <a:gd name="connsiteX11" fmla="*/ 284142 w 287192"/>
                  <a:gd name="connsiteY11" fmla="*/ 114145 h 239229"/>
                  <a:gd name="connsiteX12" fmla="*/ 287192 w 287192"/>
                  <a:gd name="connsiteY12" fmla="*/ 123298 h 239229"/>
                  <a:gd name="connsiteX13" fmla="*/ 256684 w 287192"/>
                  <a:gd name="connsiteY13" fmla="*/ 193467 h 239229"/>
                  <a:gd name="connsiteX14" fmla="*/ 217023 w 287192"/>
                  <a:gd name="connsiteY14" fmla="*/ 233128 h 239229"/>
                  <a:gd name="connsiteX15" fmla="*/ 177362 w 287192"/>
                  <a:gd name="connsiteY15" fmla="*/ 239230 h 239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7192" h="239229">
                    <a:moveTo>
                      <a:pt x="177362" y="239230"/>
                    </a:moveTo>
                    <a:cubicBezTo>
                      <a:pt x="165158" y="239230"/>
                      <a:pt x="149904" y="236179"/>
                      <a:pt x="137700" y="230077"/>
                    </a:cubicBezTo>
                    <a:cubicBezTo>
                      <a:pt x="137700" y="230077"/>
                      <a:pt x="-8740" y="159908"/>
                      <a:pt x="412" y="114145"/>
                    </a:cubicBezTo>
                    <a:cubicBezTo>
                      <a:pt x="9566" y="62281"/>
                      <a:pt x="98039" y="4314"/>
                      <a:pt x="101091" y="1264"/>
                    </a:cubicBezTo>
                    <a:cubicBezTo>
                      <a:pt x="104141" y="-1787"/>
                      <a:pt x="107191" y="1264"/>
                      <a:pt x="110243" y="4314"/>
                    </a:cubicBezTo>
                    <a:cubicBezTo>
                      <a:pt x="113294" y="7365"/>
                      <a:pt x="110243" y="10416"/>
                      <a:pt x="107191" y="13467"/>
                    </a:cubicBezTo>
                    <a:cubicBezTo>
                      <a:pt x="107191" y="13467"/>
                      <a:pt x="18718" y="71433"/>
                      <a:pt x="9566" y="117196"/>
                    </a:cubicBezTo>
                    <a:cubicBezTo>
                      <a:pt x="6514" y="141603"/>
                      <a:pt x="82785" y="193467"/>
                      <a:pt x="140752" y="220925"/>
                    </a:cubicBezTo>
                    <a:cubicBezTo>
                      <a:pt x="162108" y="230077"/>
                      <a:pt x="186515" y="230077"/>
                      <a:pt x="207871" y="220925"/>
                    </a:cubicBezTo>
                    <a:cubicBezTo>
                      <a:pt x="223125" y="214823"/>
                      <a:pt x="235327" y="202620"/>
                      <a:pt x="241429" y="190416"/>
                    </a:cubicBezTo>
                    <a:cubicBezTo>
                      <a:pt x="253634" y="156857"/>
                      <a:pt x="271938" y="120247"/>
                      <a:pt x="274988" y="117196"/>
                    </a:cubicBezTo>
                    <a:cubicBezTo>
                      <a:pt x="274988" y="114145"/>
                      <a:pt x="281090" y="114145"/>
                      <a:pt x="284142" y="114145"/>
                    </a:cubicBezTo>
                    <a:cubicBezTo>
                      <a:pt x="287192" y="114145"/>
                      <a:pt x="287192" y="120247"/>
                      <a:pt x="287192" y="123298"/>
                    </a:cubicBezTo>
                    <a:cubicBezTo>
                      <a:pt x="287192" y="123298"/>
                      <a:pt x="265836" y="159908"/>
                      <a:pt x="256684" y="193467"/>
                    </a:cubicBezTo>
                    <a:cubicBezTo>
                      <a:pt x="250582" y="208721"/>
                      <a:pt x="238379" y="223976"/>
                      <a:pt x="217023" y="233128"/>
                    </a:cubicBezTo>
                    <a:cubicBezTo>
                      <a:pt x="204819" y="236179"/>
                      <a:pt x="189565" y="239230"/>
                      <a:pt x="177362" y="23923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B6C11806-B2D3-4119-98A2-44C4B91AFF48}"/>
                  </a:ext>
                </a:extLst>
              </p:cNvPr>
              <p:cNvSpPr/>
              <p:nvPr/>
            </p:nvSpPr>
            <p:spPr>
              <a:xfrm>
                <a:off x="25469407" y="4324854"/>
                <a:ext cx="104230" cy="45000"/>
              </a:xfrm>
              <a:custGeom>
                <a:avLst/>
                <a:gdLst>
                  <a:gd name="connsiteX0" fmla="*/ 93813 w 104230"/>
                  <a:gd name="connsiteY0" fmla="*/ 45000 h 45000"/>
                  <a:gd name="connsiteX1" fmla="*/ 93813 w 104230"/>
                  <a:gd name="connsiteY1" fmla="*/ 45000 h 45000"/>
                  <a:gd name="connsiteX2" fmla="*/ 2288 w 104230"/>
                  <a:gd name="connsiteY2" fmla="*/ 11441 h 45000"/>
                  <a:gd name="connsiteX3" fmla="*/ 2288 w 104230"/>
                  <a:gd name="connsiteY3" fmla="*/ 2288 h 45000"/>
                  <a:gd name="connsiteX4" fmla="*/ 11442 w 104230"/>
                  <a:gd name="connsiteY4" fmla="*/ 2288 h 45000"/>
                  <a:gd name="connsiteX5" fmla="*/ 99915 w 104230"/>
                  <a:gd name="connsiteY5" fmla="*/ 35848 h 45000"/>
                  <a:gd name="connsiteX6" fmla="*/ 102967 w 104230"/>
                  <a:gd name="connsiteY6" fmla="*/ 41949 h 45000"/>
                  <a:gd name="connsiteX7" fmla="*/ 93813 w 104230"/>
                  <a:gd name="connsiteY7" fmla="*/ 45000 h 4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4230" h="45000">
                    <a:moveTo>
                      <a:pt x="93813" y="45000"/>
                    </a:moveTo>
                    <a:cubicBezTo>
                      <a:pt x="93813" y="45000"/>
                      <a:pt x="93813" y="45000"/>
                      <a:pt x="93813" y="45000"/>
                    </a:cubicBezTo>
                    <a:cubicBezTo>
                      <a:pt x="90763" y="45000"/>
                      <a:pt x="20594" y="26695"/>
                      <a:pt x="2288" y="11441"/>
                    </a:cubicBezTo>
                    <a:cubicBezTo>
                      <a:pt x="-763" y="8390"/>
                      <a:pt x="-763" y="5339"/>
                      <a:pt x="2288" y="2288"/>
                    </a:cubicBezTo>
                    <a:cubicBezTo>
                      <a:pt x="5340" y="-763"/>
                      <a:pt x="8390" y="-763"/>
                      <a:pt x="11442" y="2288"/>
                    </a:cubicBezTo>
                    <a:cubicBezTo>
                      <a:pt x="26696" y="14492"/>
                      <a:pt x="78559" y="29746"/>
                      <a:pt x="99915" y="35848"/>
                    </a:cubicBezTo>
                    <a:cubicBezTo>
                      <a:pt x="102967" y="35848"/>
                      <a:pt x="106017" y="38898"/>
                      <a:pt x="102967" y="41949"/>
                    </a:cubicBezTo>
                    <a:cubicBezTo>
                      <a:pt x="96865" y="45000"/>
                      <a:pt x="96865" y="45000"/>
                      <a:pt x="93813" y="450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3CED9625-8D1A-45CD-B118-FD10F0B797C2}"/>
                </a:ext>
              </a:extLst>
            </p:cNvPr>
            <p:cNvSpPr/>
            <p:nvPr/>
          </p:nvSpPr>
          <p:spPr>
            <a:xfrm>
              <a:off x="25563198" y="2687256"/>
              <a:ext cx="674350" cy="1599797"/>
            </a:xfrm>
            <a:custGeom>
              <a:avLst/>
              <a:gdLst>
                <a:gd name="connsiteX0" fmla="*/ 140363 w 674350"/>
                <a:gd name="connsiteY0" fmla="*/ 10733 h 1599797"/>
                <a:gd name="connsiteX1" fmla="*/ 128158 w 674350"/>
                <a:gd name="connsiteY1" fmla="*/ 529377 h 1599797"/>
                <a:gd name="connsiteX2" fmla="*/ 305107 w 674350"/>
                <a:gd name="connsiteY2" fmla="*/ 959547 h 1599797"/>
                <a:gd name="connsiteX3" fmla="*/ 22 w 674350"/>
                <a:gd name="connsiteY3" fmla="*/ 1450733 h 1599797"/>
                <a:gd name="connsiteX4" fmla="*/ 137311 w 674350"/>
                <a:gd name="connsiteY4" fmla="*/ 1597174 h 1599797"/>
                <a:gd name="connsiteX5" fmla="*/ 671209 w 674350"/>
                <a:gd name="connsiteY5" fmla="*/ 1026665 h 1599797"/>
                <a:gd name="connsiteX6" fmla="*/ 140363 w 674350"/>
                <a:gd name="connsiteY6" fmla="*/ 10733 h 1599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350" h="1599797">
                  <a:moveTo>
                    <a:pt x="140363" y="10733"/>
                  </a:moveTo>
                  <a:cubicBezTo>
                    <a:pt x="15277" y="65648"/>
                    <a:pt x="88498" y="407343"/>
                    <a:pt x="128158" y="529377"/>
                  </a:cubicBezTo>
                  <a:cubicBezTo>
                    <a:pt x="164769" y="639208"/>
                    <a:pt x="305107" y="959547"/>
                    <a:pt x="305107" y="959547"/>
                  </a:cubicBezTo>
                  <a:cubicBezTo>
                    <a:pt x="305107" y="959547"/>
                    <a:pt x="-3028" y="1307344"/>
                    <a:pt x="22" y="1450733"/>
                  </a:cubicBezTo>
                  <a:cubicBezTo>
                    <a:pt x="21379" y="1499547"/>
                    <a:pt x="70193" y="1554462"/>
                    <a:pt x="137311" y="1597174"/>
                  </a:cubicBezTo>
                  <a:cubicBezTo>
                    <a:pt x="302057" y="1639886"/>
                    <a:pt x="634600" y="1148699"/>
                    <a:pt x="671209" y="1026665"/>
                  </a:cubicBezTo>
                  <a:cubicBezTo>
                    <a:pt x="707820" y="892428"/>
                    <a:pt x="417989" y="-114351"/>
                    <a:pt x="140363" y="10733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A2077053-3819-406C-B77C-376192C79625}"/>
                </a:ext>
              </a:extLst>
            </p:cNvPr>
            <p:cNvSpPr/>
            <p:nvPr/>
          </p:nvSpPr>
          <p:spPr>
            <a:xfrm>
              <a:off x="25623713" y="2679264"/>
              <a:ext cx="247643" cy="970589"/>
            </a:xfrm>
            <a:custGeom>
              <a:avLst/>
              <a:gdLst>
                <a:gd name="connsiteX0" fmla="*/ 241542 w 247643"/>
                <a:gd name="connsiteY0" fmla="*/ 970590 h 970589"/>
                <a:gd name="connsiteX1" fmla="*/ 235440 w 247643"/>
                <a:gd name="connsiteY1" fmla="*/ 967539 h 970589"/>
                <a:gd name="connsiteX2" fmla="*/ 3576 w 247643"/>
                <a:gd name="connsiteY2" fmla="*/ 159064 h 970589"/>
                <a:gd name="connsiteX3" fmla="*/ 82897 w 247643"/>
                <a:gd name="connsiteY3" fmla="*/ 12624 h 970589"/>
                <a:gd name="connsiteX4" fmla="*/ 159169 w 247643"/>
                <a:gd name="connsiteY4" fmla="*/ 3471 h 970589"/>
                <a:gd name="connsiteX5" fmla="*/ 162221 w 247643"/>
                <a:gd name="connsiteY5" fmla="*/ 9573 h 970589"/>
                <a:gd name="connsiteX6" fmla="*/ 156118 w 247643"/>
                <a:gd name="connsiteY6" fmla="*/ 12624 h 970589"/>
                <a:gd name="connsiteX7" fmla="*/ 88999 w 247643"/>
                <a:gd name="connsiteY7" fmla="*/ 21776 h 970589"/>
                <a:gd name="connsiteX8" fmla="*/ 15778 w 247643"/>
                <a:gd name="connsiteY8" fmla="*/ 159064 h 970589"/>
                <a:gd name="connsiteX9" fmla="*/ 247644 w 247643"/>
                <a:gd name="connsiteY9" fmla="*/ 961437 h 970589"/>
                <a:gd name="connsiteX10" fmla="*/ 241542 w 247643"/>
                <a:gd name="connsiteY10" fmla="*/ 970590 h 970589"/>
                <a:gd name="connsiteX11" fmla="*/ 241542 w 247643"/>
                <a:gd name="connsiteY11" fmla="*/ 970590 h 97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7643" h="970589">
                  <a:moveTo>
                    <a:pt x="241542" y="970590"/>
                  </a:moveTo>
                  <a:cubicBezTo>
                    <a:pt x="238492" y="970590"/>
                    <a:pt x="238492" y="970590"/>
                    <a:pt x="235440" y="967539"/>
                  </a:cubicBezTo>
                  <a:cubicBezTo>
                    <a:pt x="223238" y="943132"/>
                    <a:pt x="-33034" y="378725"/>
                    <a:pt x="3576" y="159064"/>
                  </a:cubicBezTo>
                  <a:cubicBezTo>
                    <a:pt x="15778" y="85844"/>
                    <a:pt x="43237" y="33980"/>
                    <a:pt x="82897" y="12624"/>
                  </a:cubicBezTo>
                  <a:cubicBezTo>
                    <a:pt x="122558" y="-8732"/>
                    <a:pt x="159169" y="3471"/>
                    <a:pt x="159169" y="3471"/>
                  </a:cubicBezTo>
                  <a:cubicBezTo>
                    <a:pt x="162221" y="3471"/>
                    <a:pt x="162221" y="6522"/>
                    <a:pt x="162221" y="9573"/>
                  </a:cubicBezTo>
                  <a:cubicBezTo>
                    <a:pt x="162221" y="12624"/>
                    <a:pt x="159169" y="12624"/>
                    <a:pt x="156118" y="12624"/>
                  </a:cubicBezTo>
                  <a:cubicBezTo>
                    <a:pt x="156118" y="12624"/>
                    <a:pt x="122558" y="420"/>
                    <a:pt x="88999" y="21776"/>
                  </a:cubicBezTo>
                  <a:cubicBezTo>
                    <a:pt x="52389" y="43132"/>
                    <a:pt x="27983" y="88895"/>
                    <a:pt x="15778" y="159064"/>
                  </a:cubicBezTo>
                  <a:cubicBezTo>
                    <a:pt x="-20830" y="375675"/>
                    <a:pt x="244592" y="955336"/>
                    <a:pt x="247644" y="961437"/>
                  </a:cubicBezTo>
                  <a:cubicBezTo>
                    <a:pt x="247644" y="967539"/>
                    <a:pt x="247644" y="970590"/>
                    <a:pt x="241542" y="970590"/>
                  </a:cubicBezTo>
                  <a:cubicBezTo>
                    <a:pt x="241542" y="970590"/>
                    <a:pt x="241542" y="970590"/>
                    <a:pt x="241542" y="970590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90587B5A-6904-4339-8AD9-717928F5EBD5}"/>
                </a:ext>
              </a:extLst>
            </p:cNvPr>
            <p:cNvSpPr/>
            <p:nvPr/>
          </p:nvSpPr>
          <p:spPr>
            <a:xfrm>
              <a:off x="25859153" y="3601041"/>
              <a:ext cx="128135" cy="70169"/>
            </a:xfrm>
            <a:custGeom>
              <a:avLst/>
              <a:gdLst>
                <a:gd name="connsiteX0" fmla="*/ 79323 w 128135"/>
                <a:gd name="connsiteY0" fmla="*/ 70169 h 70169"/>
                <a:gd name="connsiteX1" fmla="*/ 76271 w 128135"/>
                <a:gd name="connsiteY1" fmla="*/ 70169 h 70169"/>
                <a:gd name="connsiteX2" fmla="*/ 6102 w 128135"/>
                <a:gd name="connsiteY2" fmla="*/ 48814 h 70169"/>
                <a:gd name="connsiteX3" fmla="*/ 0 w 128135"/>
                <a:gd name="connsiteY3" fmla="*/ 42712 h 70169"/>
                <a:gd name="connsiteX4" fmla="*/ 3052 w 128135"/>
                <a:gd name="connsiteY4" fmla="*/ 36610 h 70169"/>
                <a:gd name="connsiteX5" fmla="*/ 122034 w 128135"/>
                <a:gd name="connsiteY5" fmla="*/ 0 h 70169"/>
                <a:gd name="connsiteX6" fmla="*/ 128136 w 128135"/>
                <a:gd name="connsiteY6" fmla="*/ 6102 h 70169"/>
                <a:gd name="connsiteX7" fmla="*/ 122034 w 128135"/>
                <a:gd name="connsiteY7" fmla="*/ 12203 h 70169"/>
                <a:gd name="connsiteX8" fmla="*/ 27458 w 128135"/>
                <a:gd name="connsiteY8" fmla="*/ 39661 h 70169"/>
                <a:gd name="connsiteX9" fmla="*/ 82373 w 128135"/>
                <a:gd name="connsiteY9" fmla="*/ 57966 h 70169"/>
                <a:gd name="connsiteX10" fmla="*/ 85423 w 128135"/>
                <a:gd name="connsiteY10" fmla="*/ 67119 h 70169"/>
                <a:gd name="connsiteX11" fmla="*/ 79323 w 128135"/>
                <a:gd name="connsiteY11" fmla="*/ 70169 h 7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8135" h="70169">
                  <a:moveTo>
                    <a:pt x="79323" y="70169"/>
                  </a:moveTo>
                  <a:cubicBezTo>
                    <a:pt x="79323" y="70169"/>
                    <a:pt x="76271" y="70169"/>
                    <a:pt x="76271" y="70169"/>
                  </a:cubicBezTo>
                  <a:cubicBezTo>
                    <a:pt x="54915" y="54915"/>
                    <a:pt x="6102" y="48814"/>
                    <a:pt x="6102" y="48814"/>
                  </a:cubicBezTo>
                  <a:cubicBezTo>
                    <a:pt x="3052" y="48814"/>
                    <a:pt x="3052" y="45763"/>
                    <a:pt x="0" y="42712"/>
                  </a:cubicBezTo>
                  <a:cubicBezTo>
                    <a:pt x="0" y="39661"/>
                    <a:pt x="0" y="36610"/>
                    <a:pt x="3052" y="36610"/>
                  </a:cubicBezTo>
                  <a:cubicBezTo>
                    <a:pt x="12204" y="33559"/>
                    <a:pt x="94577" y="0"/>
                    <a:pt x="122034" y="0"/>
                  </a:cubicBezTo>
                  <a:cubicBezTo>
                    <a:pt x="125086" y="0"/>
                    <a:pt x="128136" y="3051"/>
                    <a:pt x="128136" y="6102"/>
                  </a:cubicBezTo>
                  <a:cubicBezTo>
                    <a:pt x="128136" y="9153"/>
                    <a:pt x="125086" y="12203"/>
                    <a:pt x="122034" y="12203"/>
                  </a:cubicBezTo>
                  <a:cubicBezTo>
                    <a:pt x="106780" y="12203"/>
                    <a:pt x="57967" y="27458"/>
                    <a:pt x="27458" y="39661"/>
                  </a:cubicBezTo>
                  <a:cubicBezTo>
                    <a:pt x="45763" y="42712"/>
                    <a:pt x="67119" y="48814"/>
                    <a:pt x="82373" y="57966"/>
                  </a:cubicBezTo>
                  <a:cubicBezTo>
                    <a:pt x="85423" y="61017"/>
                    <a:pt x="85423" y="64068"/>
                    <a:pt x="85423" y="67119"/>
                  </a:cubicBezTo>
                  <a:cubicBezTo>
                    <a:pt x="82373" y="70169"/>
                    <a:pt x="79323" y="70169"/>
                    <a:pt x="79323" y="70169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936CDB73-2C00-45C8-92CF-ACAF0B8638D8}"/>
                </a:ext>
              </a:extLst>
            </p:cNvPr>
            <p:cNvSpPr/>
            <p:nvPr/>
          </p:nvSpPr>
          <p:spPr>
            <a:xfrm>
              <a:off x="25509038" y="4078487"/>
              <a:ext cx="262294" cy="271414"/>
            </a:xfrm>
            <a:custGeom>
              <a:avLst/>
              <a:gdLst>
                <a:gd name="connsiteX0" fmla="*/ 243335 w 262294"/>
                <a:gd name="connsiteY0" fmla="*/ 190689 h 271414"/>
                <a:gd name="connsiteX1" fmla="*/ 90793 w 262294"/>
                <a:gd name="connsiteY1" fmla="*/ 25943 h 271414"/>
                <a:gd name="connsiteX2" fmla="*/ 5369 w 262294"/>
                <a:gd name="connsiteY2" fmla="*/ 59502 h 271414"/>
                <a:gd name="connsiteX3" fmla="*/ 185370 w 262294"/>
                <a:gd name="connsiteY3" fmla="*/ 263909 h 271414"/>
                <a:gd name="connsiteX4" fmla="*/ 243335 w 262294"/>
                <a:gd name="connsiteY4" fmla="*/ 190689 h 27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294" h="271414">
                  <a:moveTo>
                    <a:pt x="243335" y="190689"/>
                  </a:moveTo>
                  <a:cubicBezTo>
                    <a:pt x="179268" y="147977"/>
                    <a:pt x="127403" y="96113"/>
                    <a:pt x="90793" y="25943"/>
                  </a:cubicBezTo>
                  <a:cubicBezTo>
                    <a:pt x="63336" y="-25921"/>
                    <a:pt x="-22089" y="7638"/>
                    <a:pt x="5369" y="59502"/>
                  </a:cubicBezTo>
                  <a:cubicBezTo>
                    <a:pt x="48082" y="141875"/>
                    <a:pt x="106047" y="212045"/>
                    <a:pt x="185370" y="263909"/>
                  </a:cubicBezTo>
                  <a:cubicBezTo>
                    <a:pt x="237233" y="294418"/>
                    <a:pt x="292150" y="224248"/>
                    <a:pt x="243335" y="190689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9D854934-51AE-4F29-9156-EC9DF1496786}"/>
                </a:ext>
              </a:extLst>
            </p:cNvPr>
            <p:cNvSpPr/>
            <p:nvPr/>
          </p:nvSpPr>
          <p:spPr>
            <a:xfrm>
              <a:off x="25107662" y="3117439"/>
              <a:ext cx="739367" cy="548535"/>
            </a:xfrm>
            <a:custGeom>
              <a:avLst/>
              <a:gdLst>
                <a:gd name="connsiteX0" fmla="*/ 107763 w 739367"/>
                <a:gd name="connsiteY0" fmla="*/ 389025 h 548535"/>
                <a:gd name="connsiteX1" fmla="*/ 489119 w 739367"/>
                <a:gd name="connsiteY1" fmla="*/ 532415 h 548535"/>
                <a:gd name="connsiteX2" fmla="*/ 507423 w 739367"/>
                <a:gd name="connsiteY2" fmla="*/ 544619 h 548535"/>
                <a:gd name="connsiteX3" fmla="*/ 553186 w 739367"/>
                <a:gd name="connsiteY3" fmla="*/ 517161 h 548535"/>
                <a:gd name="connsiteX4" fmla="*/ 739288 w 739367"/>
                <a:gd name="connsiteY4" fmla="*/ 230381 h 548535"/>
                <a:gd name="connsiteX5" fmla="*/ 574542 w 739367"/>
                <a:gd name="connsiteY5" fmla="*/ 1568 h 548535"/>
                <a:gd name="connsiteX6" fmla="*/ 415897 w 739367"/>
                <a:gd name="connsiteY6" fmla="*/ 209025 h 548535"/>
                <a:gd name="connsiteX7" fmla="*/ 406745 w 739367"/>
                <a:gd name="connsiteY7" fmla="*/ 297500 h 548535"/>
                <a:gd name="connsiteX8" fmla="*/ 284711 w 739367"/>
                <a:gd name="connsiteY8" fmla="*/ 148008 h 548535"/>
                <a:gd name="connsiteX9" fmla="*/ 19287 w 739367"/>
                <a:gd name="connsiteY9" fmla="*/ 141907 h 548535"/>
                <a:gd name="connsiteX10" fmla="*/ 107763 w 739367"/>
                <a:gd name="connsiteY10" fmla="*/ 389025 h 548535"/>
                <a:gd name="connsiteX11" fmla="*/ 415897 w 739367"/>
                <a:gd name="connsiteY11" fmla="*/ 428686 h 548535"/>
                <a:gd name="connsiteX12" fmla="*/ 422000 w 739367"/>
                <a:gd name="connsiteY12" fmla="*/ 450042 h 548535"/>
                <a:gd name="connsiteX13" fmla="*/ 290813 w 739367"/>
                <a:gd name="connsiteY13" fmla="*/ 379873 h 548535"/>
                <a:gd name="connsiteX14" fmla="*/ 196236 w 739367"/>
                <a:gd name="connsiteY14" fmla="*/ 309703 h 548535"/>
                <a:gd name="connsiteX15" fmla="*/ 211490 w 739367"/>
                <a:gd name="connsiteY15" fmla="*/ 202924 h 548535"/>
                <a:gd name="connsiteX16" fmla="*/ 415897 w 739367"/>
                <a:gd name="connsiteY16" fmla="*/ 428686 h 548535"/>
                <a:gd name="connsiteX17" fmla="*/ 513525 w 739367"/>
                <a:gd name="connsiteY17" fmla="*/ 431737 h 548535"/>
                <a:gd name="connsiteX18" fmla="*/ 495221 w 739367"/>
                <a:gd name="connsiteY18" fmla="*/ 181568 h 548535"/>
                <a:gd name="connsiteX19" fmla="*/ 602000 w 739367"/>
                <a:gd name="connsiteY19" fmla="*/ 144958 h 548535"/>
                <a:gd name="connsiteX20" fmla="*/ 586746 w 739367"/>
                <a:gd name="connsiteY20" fmla="*/ 315805 h 548535"/>
                <a:gd name="connsiteX21" fmla="*/ 513525 w 739367"/>
                <a:gd name="connsiteY21" fmla="*/ 431737 h 54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39367" h="548535">
                  <a:moveTo>
                    <a:pt x="107763" y="389025"/>
                  </a:moveTo>
                  <a:cubicBezTo>
                    <a:pt x="214542" y="477500"/>
                    <a:pt x="357932" y="501907"/>
                    <a:pt x="489119" y="532415"/>
                  </a:cubicBezTo>
                  <a:cubicBezTo>
                    <a:pt x="495221" y="535466"/>
                    <a:pt x="501321" y="541568"/>
                    <a:pt x="507423" y="544619"/>
                  </a:cubicBezTo>
                  <a:cubicBezTo>
                    <a:pt x="528779" y="556822"/>
                    <a:pt x="553186" y="538517"/>
                    <a:pt x="553186" y="517161"/>
                  </a:cubicBezTo>
                  <a:cubicBezTo>
                    <a:pt x="656915" y="459195"/>
                    <a:pt x="742339" y="355466"/>
                    <a:pt x="739288" y="230381"/>
                  </a:cubicBezTo>
                  <a:cubicBezTo>
                    <a:pt x="736236" y="138856"/>
                    <a:pt x="675220" y="16822"/>
                    <a:pt x="574542" y="1568"/>
                  </a:cubicBezTo>
                  <a:cubicBezTo>
                    <a:pt x="464712" y="-16737"/>
                    <a:pt x="428102" y="129703"/>
                    <a:pt x="415897" y="209025"/>
                  </a:cubicBezTo>
                  <a:cubicBezTo>
                    <a:pt x="412847" y="239534"/>
                    <a:pt x="406745" y="266991"/>
                    <a:pt x="406745" y="297500"/>
                  </a:cubicBezTo>
                  <a:cubicBezTo>
                    <a:pt x="373187" y="242585"/>
                    <a:pt x="336576" y="187669"/>
                    <a:pt x="284711" y="148008"/>
                  </a:cubicBezTo>
                  <a:cubicBezTo>
                    <a:pt x="220644" y="99195"/>
                    <a:pt x="77254" y="56483"/>
                    <a:pt x="19287" y="141907"/>
                  </a:cubicBezTo>
                  <a:cubicBezTo>
                    <a:pt x="-38678" y="224280"/>
                    <a:pt x="46746" y="340212"/>
                    <a:pt x="107763" y="389025"/>
                  </a:cubicBezTo>
                  <a:close/>
                  <a:moveTo>
                    <a:pt x="415897" y="428686"/>
                  </a:moveTo>
                  <a:cubicBezTo>
                    <a:pt x="418949" y="434788"/>
                    <a:pt x="422000" y="440890"/>
                    <a:pt x="422000" y="450042"/>
                  </a:cubicBezTo>
                  <a:cubicBezTo>
                    <a:pt x="376237" y="431737"/>
                    <a:pt x="333524" y="407331"/>
                    <a:pt x="290813" y="379873"/>
                  </a:cubicBezTo>
                  <a:cubicBezTo>
                    <a:pt x="260305" y="361568"/>
                    <a:pt x="220644" y="337161"/>
                    <a:pt x="196236" y="309703"/>
                  </a:cubicBezTo>
                  <a:cubicBezTo>
                    <a:pt x="156575" y="263941"/>
                    <a:pt x="174882" y="212076"/>
                    <a:pt x="211490" y="202924"/>
                  </a:cubicBezTo>
                  <a:cubicBezTo>
                    <a:pt x="318270" y="221229"/>
                    <a:pt x="382339" y="376822"/>
                    <a:pt x="415897" y="428686"/>
                  </a:cubicBezTo>
                  <a:close/>
                  <a:moveTo>
                    <a:pt x="513525" y="431737"/>
                  </a:moveTo>
                  <a:cubicBezTo>
                    <a:pt x="486067" y="352415"/>
                    <a:pt x="476914" y="254788"/>
                    <a:pt x="495221" y="181568"/>
                  </a:cubicBezTo>
                  <a:cubicBezTo>
                    <a:pt x="510475" y="123602"/>
                    <a:pt x="571492" y="74788"/>
                    <a:pt x="602000" y="144958"/>
                  </a:cubicBezTo>
                  <a:cubicBezTo>
                    <a:pt x="629457" y="205975"/>
                    <a:pt x="611152" y="260890"/>
                    <a:pt x="586746" y="315805"/>
                  </a:cubicBezTo>
                  <a:cubicBezTo>
                    <a:pt x="565390" y="358517"/>
                    <a:pt x="544033" y="398178"/>
                    <a:pt x="513525" y="431737"/>
                  </a:cubicBezTo>
                  <a:close/>
                </a:path>
              </a:pathLst>
            </a:custGeom>
            <a:solidFill>
              <a:srgbClr val="F1DDBA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2C9BBE13-9734-48A6-8E85-4BB052A50B51}"/>
                </a:ext>
              </a:extLst>
            </p:cNvPr>
            <p:cNvSpPr/>
            <p:nvPr/>
          </p:nvSpPr>
          <p:spPr>
            <a:xfrm>
              <a:off x="23502849" y="3050145"/>
              <a:ext cx="352443" cy="278918"/>
            </a:xfrm>
            <a:custGeom>
              <a:avLst/>
              <a:gdLst>
                <a:gd name="connsiteX0" fmla="*/ 135287 w 352443"/>
                <a:gd name="connsiteY0" fmla="*/ 233608 h 278918"/>
                <a:gd name="connsiteX1" fmla="*/ 260371 w 352443"/>
                <a:gd name="connsiteY1" fmla="*/ 276320 h 278918"/>
                <a:gd name="connsiteX2" fmla="*/ 351896 w 352443"/>
                <a:gd name="connsiteY2" fmla="*/ 196998 h 278918"/>
                <a:gd name="connsiteX3" fmla="*/ 104778 w 352443"/>
                <a:gd name="connsiteY3" fmla="*/ 1743 h 278918"/>
                <a:gd name="connsiteX4" fmla="*/ 37659 w 352443"/>
                <a:gd name="connsiteY4" fmla="*/ 157337 h 278918"/>
                <a:gd name="connsiteX5" fmla="*/ 135287 w 352443"/>
                <a:gd name="connsiteY5" fmla="*/ 233608 h 278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2443" h="278918">
                  <a:moveTo>
                    <a:pt x="135287" y="233608"/>
                  </a:moveTo>
                  <a:cubicBezTo>
                    <a:pt x="174948" y="254964"/>
                    <a:pt x="211558" y="288523"/>
                    <a:pt x="260371" y="276320"/>
                  </a:cubicBezTo>
                  <a:cubicBezTo>
                    <a:pt x="290879" y="267167"/>
                    <a:pt x="351896" y="200048"/>
                    <a:pt x="351896" y="196998"/>
                  </a:cubicBezTo>
                  <a:cubicBezTo>
                    <a:pt x="364101" y="111574"/>
                    <a:pt x="168846" y="16998"/>
                    <a:pt x="104778" y="1743"/>
                  </a:cubicBezTo>
                  <a:cubicBezTo>
                    <a:pt x="49864" y="-10460"/>
                    <a:pt x="-56916" y="41404"/>
                    <a:pt x="37659" y="157337"/>
                  </a:cubicBezTo>
                  <a:cubicBezTo>
                    <a:pt x="46812" y="172591"/>
                    <a:pt x="110881" y="221404"/>
                    <a:pt x="135287" y="233608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9" name="图形 1">
              <a:extLst>
                <a:ext uri="{FF2B5EF4-FFF2-40B4-BE49-F238E27FC236}">
                  <a16:creationId xmlns:a16="http://schemas.microsoft.com/office/drawing/2014/main" id="{893F2B31-CF2E-4399-94BA-DC3A0B634C4B}"/>
                </a:ext>
              </a:extLst>
            </p:cNvPr>
            <p:cNvGrpSpPr/>
            <p:nvPr/>
          </p:nvGrpSpPr>
          <p:grpSpPr>
            <a:xfrm>
              <a:off x="23684946" y="3085447"/>
              <a:ext cx="157597" cy="150122"/>
              <a:chOff x="23684946" y="3085447"/>
              <a:chExt cx="157597" cy="150122"/>
            </a:xfrm>
          </p:grpSpPr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DDBC93C4-DFE6-4FFF-A0AE-AE1E296196CC}"/>
                  </a:ext>
                </a:extLst>
              </p:cNvPr>
              <p:cNvSpPr/>
              <p:nvPr/>
            </p:nvSpPr>
            <p:spPr>
              <a:xfrm>
                <a:off x="23693051" y="3091162"/>
                <a:ext cx="143475" cy="144407"/>
              </a:xfrm>
              <a:custGeom>
                <a:avLst/>
                <a:gdLst>
                  <a:gd name="connsiteX0" fmla="*/ 0 w 143475"/>
                  <a:gd name="connsiteY0" fmla="*/ 36997 h 144407"/>
                  <a:gd name="connsiteX1" fmla="*/ 27458 w 143475"/>
                  <a:gd name="connsiteY1" fmla="*/ 46150 h 144407"/>
                  <a:gd name="connsiteX2" fmla="*/ 79323 w 143475"/>
                  <a:gd name="connsiteY2" fmla="*/ 85811 h 144407"/>
                  <a:gd name="connsiteX3" fmla="*/ 64069 w 143475"/>
                  <a:gd name="connsiteY3" fmla="*/ 143777 h 144407"/>
                  <a:gd name="connsiteX4" fmla="*/ 143390 w 143475"/>
                  <a:gd name="connsiteY4" fmla="*/ 88861 h 144407"/>
                  <a:gd name="connsiteX5" fmla="*/ 73221 w 143475"/>
                  <a:gd name="connsiteY5" fmla="*/ 387 h 144407"/>
                  <a:gd name="connsiteX6" fmla="*/ 0 w 143475"/>
                  <a:gd name="connsiteY6" fmla="*/ 36997 h 144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3475" h="144407">
                    <a:moveTo>
                      <a:pt x="0" y="36997"/>
                    </a:moveTo>
                    <a:cubicBezTo>
                      <a:pt x="0" y="49200"/>
                      <a:pt x="21356" y="43099"/>
                      <a:pt x="27458" y="46150"/>
                    </a:cubicBezTo>
                    <a:cubicBezTo>
                      <a:pt x="51865" y="52251"/>
                      <a:pt x="67119" y="61404"/>
                      <a:pt x="79323" y="85811"/>
                    </a:cubicBezTo>
                    <a:cubicBezTo>
                      <a:pt x="85423" y="101065"/>
                      <a:pt x="48815" y="98014"/>
                      <a:pt x="64069" y="143777"/>
                    </a:cubicBezTo>
                    <a:cubicBezTo>
                      <a:pt x="67119" y="149878"/>
                      <a:pt x="146440" y="110217"/>
                      <a:pt x="143390" y="88861"/>
                    </a:cubicBezTo>
                    <a:cubicBezTo>
                      <a:pt x="137288" y="58353"/>
                      <a:pt x="109832" y="9539"/>
                      <a:pt x="73221" y="387"/>
                    </a:cubicBezTo>
                    <a:cubicBezTo>
                      <a:pt x="61017" y="-2664"/>
                      <a:pt x="0" y="12590"/>
                      <a:pt x="0" y="36997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DB4113C0-0293-40B6-ACA8-2E27D158074E}"/>
                  </a:ext>
                </a:extLst>
              </p:cNvPr>
              <p:cNvSpPr/>
              <p:nvPr/>
            </p:nvSpPr>
            <p:spPr>
              <a:xfrm>
                <a:off x="23684946" y="3085447"/>
                <a:ext cx="157597" cy="143389"/>
              </a:xfrm>
              <a:custGeom>
                <a:avLst/>
                <a:gdLst>
                  <a:gd name="connsiteX0" fmla="*/ 69122 w 157597"/>
                  <a:gd name="connsiteY0" fmla="*/ 143390 h 143389"/>
                  <a:gd name="connsiteX1" fmla="*/ 63020 w 157597"/>
                  <a:gd name="connsiteY1" fmla="*/ 137288 h 143389"/>
                  <a:gd name="connsiteX2" fmla="*/ 81326 w 157597"/>
                  <a:gd name="connsiteY2" fmla="*/ 88475 h 143389"/>
                  <a:gd name="connsiteX3" fmla="*/ 29462 w 157597"/>
                  <a:gd name="connsiteY3" fmla="*/ 57966 h 143389"/>
                  <a:gd name="connsiteX4" fmla="*/ 2003 w 157597"/>
                  <a:gd name="connsiteY4" fmla="*/ 45763 h 143389"/>
                  <a:gd name="connsiteX5" fmla="*/ 5055 w 157597"/>
                  <a:gd name="connsiteY5" fmla="*/ 27458 h 143389"/>
                  <a:gd name="connsiteX6" fmla="*/ 84377 w 157597"/>
                  <a:gd name="connsiteY6" fmla="*/ 0 h 143389"/>
                  <a:gd name="connsiteX7" fmla="*/ 157598 w 157597"/>
                  <a:gd name="connsiteY7" fmla="*/ 91525 h 143389"/>
                  <a:gd name="connsiteX8" fmla="*/ 154546 w 157597"/>
                  <a:gd name="connsiteY8" fmla="*/ 97627 h 143389"/>
                  <a:gd name="connsiteX9" fmla="*/ 148446 w 157597"/>
                  <a:gd name="connsiteY9" fmla="*/ 94576 h 143389"/>
                  <a:gd name="connsiteX10" fmla="*/ 84377 w 157597"/>
                  <a:gd name="connsiteY10" fmla="*/ 12203 h 143389"/>
                  <a:gd name="connsiteX11" fmla="*/ 17258 w 157597"/>
                  <a:gd name="connsiteY11" fmla="*/ 33559 h 143389"/>
                  <a:gd name="connsiteX12" fmla="*/ 17258 w 157597"/>
                  <a:gd name="connsiteY12" fmla="*/ 39661 h 143389"/>
                  <a:gd name="connsiteX13" fmla="*/ 38614 w 157597"/>
                  <a:gd name="connsiteY13" fmla="*/ 45763 h 143389"/>
                  <a:gd name="connsiteX14" fmla="*/ 99631 w 157597"/>
                  <a:gd name="connsiteY14" fmla="*/ 88475 h 143389"/>
                  <a:gd name="connsiteX15" fmla="*/ 99631 w 157597"/>
                  <a:gd name="connsiteY15" fmla="*/ 91525 h 143389"/>
                  <a:gd name="connsiteX16" fmla="*/ 96581 w 157597"/>
                  <a:gd name="connsiteY16" fmla="*/ 94576 h 143389"/>
                  <a:gd name="connsiteX17" fmla="*/ 78275 w 157597"/>
                  <a:gd name="connsiteY17" fmla="*/ 137288 h 143389"/>
                  <a:gd name="connsiteX18" fmla="*/ 69122 w 157597"/>
                  <a:gd name="connsiteY18" fmla="*/ 143390 h 143389"/>
                  <a:gd name="connsiteX19" fmla="*/ 69122 w 157597"/>
                  <a:gd name="connsiteY19" fmla="*/ 143390 h 143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57597" h="143389">
                    <a:moveTo>
                      <a:pt x="69122" y="143390"/>
                    </a:moveTo>
                    <a:cubicBezTo>
                      <a:pt x="66072" y="143390"/>
                      <a:pt x="63020" y="140339"/>
                      <a:pt x="63020" y="137288"/>
                    </a:cubicBezTo>
                    <a:cubicBezTo>
                      <a:pt x="59970" y="118983"/>
                      <a:pt x="75224" y="97627"/>
                      <a:pt x="81326" y="88475"/>
                    </a:cubicBezTo>
                    <a:cubicBezTo>
                      <a:pt x="69122" y="64068"/>
                      <a:pt x="47766" y="61017"/>
                      <a:pt x="29462" y="57966"/>
                    </a:cubicBezTo>
                    <a:cubicBezTo>
                      <a:pt x="17258" y="54915"/>
                      <a:pt x="5055" y="51864"/>
                      <a:pt x="2003" y="45763"/>
                    </a:cubicBezTo>
                    <a:cubicBezTo>
                      <a:pt x="-1047" y="39661"/>
                      <a:pt x="-1047" y="33559"/>
                      <a:pt x="5055" y="27458"/>
                    </a:cubicBezTo>
                    <a:cubicBezTo>
                      <a:pt x="14207" y="12203"/>
                      <a:pt x="47766" y="0"/>
                      <a:pt x="84377" y="0"/>
                    </a:cubicBezTo>
                    <a:cubicBezTo>
                      <a:pt x="133191" y="3051"/>
                      <a:pt x="157598" y="88475"/>
                      <a:pt x="157598" y="91525"/>
                    </a:cubicBezTo>
                    <a:cubicBezTo>
                      <a:pt x="157598" y="94576"/>
                      <a:pt x="157598" y="97627"/>
                      <a:pt x="154546" y="97627"/>
                    </a:cubicBezTo>
                    <a:cubicBezTo>
                      <a:pt x="151496" y="97627"/>
                      <a:pt x="148446" y="97627"/>
                      <a:pt x="148446" y="94576"/>
                    </a:cubicBezTo>
                    <a:cubicBezTo>
                      <a:pt x="148446" y="94576"/>
                      <a:pt x="124037" y="15254"/>
                      <a:pt x="84377" y="12203"/>
                    </a:cubicBezTo>
                    <a:cubicBezTo>
                      <a:pt x="53868" y="9153"/>
                      <a:pt x="23360" y="21356"/>
                      <a:pt x="17258" y="33559"/>
                    </a:cubicBezTo>
                    <a:cubicBezTo>
                      <a:pt x="14207" y="36610"/>
                      <a:pt x="14207" y="39661"/>
                      <a:pt x="17258" y="39661"/>
                    </a:cubicBezTo>
                    <a:cubicBezTo>
                      <a:pt x="20310" y="42712"/>
                      <a:pt x="26412" y="45763"/>
                      <a:pt x="38614" y="45763"/>
                    </a:cubicBezTo>
                    <a:cubicBezTo>
                      <a:pt x="59970" y="48814"/>
                      <a:pt x="87429" y="54915"/>
                      <a:pt x="99631" y="88475"/>
                    </a:cubicBezTo>
                    <a:lnTo>
                      <a:pt x="99631" y="91525"/>
                    </a:lnTo>
                    <a:lnTo>
                      <a:pt x="96581" y="94576"/>
                    </a:lnTo>
                    <a:cubicBezTo>
                      <a:pt x="96581" y="94576"/>
                      <a:pt x="75224" y="115932"/>
                      <a:pt x="78275" y="137288"/>
                    </a:cubicBezTo>
                    <a:cubicBezTo>
                      <a:pt x="75224" y="140339"/>
                      <a:pt x="72174" y="143390"/>
                      <a:pt x="69122" y="143390"/>
                    </a:cubicBezTo>
                    <a:cubicBezTo>
                      <a:pt x="69122" y="143390"/>
                      <a:pt x="69122" y="143390"/>
                      <a:pt x="69122" y="14339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F41C1181-C15F-4321-A222-866B06B21A26}"/>
                </a:ext>
              </a:extLst>
            </p:cNvPr>
            <p:cNvSpPr/>
            <p:nvPr/>
          </p:nvSpPr>
          <p:spPr>
            <a:xfrm>
              <a:off x="23704496" y="3153838"/>
              <a:ext cx="226610" cy="250356"/>
            </a:xfrm>
            <a:custGeom>
              <a:avLst/>
              <a:gdLst>
                <a:gd name="connsiteX0" fmla="*/ 147200 w 226610"/>
                <a:gd name="connsiteY0" fmla="*/ 10931 h 250356"/>
                <a:gd name="connsiteX1" fmla="*/ 6862 w 226610"/>
                <a:gd name="connsiteY1" fmla="*/ 181779 h 250356"/>
                <a:gd name="connsiteX2" fmla="*/ 86183 w 226610"/>
                <a:gd name="connsiteY2" fmla="*/ 227542 h 250356"/>
                <a:gd name="connsiteX3" fmla="*/ 211267 w 226610"/>
                <a:gd name="connsiteY3" fmla="*/ 74999 h 250356"/>
                <a:gd name="connsiteX4" fmla="*/ 147200 w 226610"/>
                <a:gd name="connsiteY4" fmla="*/ 10931 h 250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6610" h="250356">
                  <a:moveTo>
                    <a:pt x="147200" y="10931"/>
                  </a:moveTo>
                  <a:cubicBezTo>
                    <a:pt x="89233" y="59745"/>
                    <a:pt x="43471" y="114660"/>
                    <a:pt x="6862" y="181779"/>
                  </a:cubicBezTo>
                  <a:cubicBezTo>
                    <a:pt x="-23647" y="233643"/>
                    <a:pt x="55675" y="279406"/>
                    <a:pt x="86183" y="227542"/>
                  </a:cubicBezTo>
                  <a:cubicBezTo>
                    <a:pt x="119742" y="169575"/>
                    <a:pt x="162454" y="120762"/>
                    <a:pt x="211267" y="74999"/>
                  </a:cubicBezTo>
                  <a:cubicBezTo>
                    <a:pt x="257030" y="38389"/>
                    <a:pt x="189913" y="-25679"/>
                    <a:pt x="147200" y="10931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C14FAC95-9540-41C9-BCF2-375897379B3C}"/>
                </a:ext>
              </a:extLst>
            </p:cNvPr>
            <p:cNvSpPr/>
            <p:nvPr/>
          </p:nvSpPr>
          <p:spPr>
            <a:xfrm>
              <a:off x="25249746" y="2429515"/>
              <a:ext cx="101178" cy="27457"/>
            </a:xfrm>
            <a:custGeom>
              <a:avLst/>
              <a:gdLst>
                <a:gd name="connsiteX0" fmla="*/ 45000 w 101178"/>
                <a:gd name="connsiteY0" fmla="*/ 27458 h 27457"/>
                <a:gd name="connsiteX1" fmla="*/ 2289 w 101178"/>
                <a:gd name="connsiteY1" fmla="*/ 12203 h 27457"/>
                <a:gd name="connsiteX2" fmla="*/ 2289 w 101178"/>
                <a:gd name="connsiteY2" fmla="*/ 3051 h 27457"/>
                <a:gd name="connsiteX3" fmla="*/ 11441 w 101178"/>
                <a:gd name="connsiteY3" fmla="*/ 3051 h 27457"/>
                <a:gd name="connsiteX4" fmla="*/ 11441 w 101178"/>
                <a:gd name="connsiteY4" fmla="*/ 3051 h 27457"/>
                <a:gd name="connsiteX5" fmla="*/ 90762 w 101178"/>
                <a:gd name="connsiteY5" fmla="*/ 0 h 27457"/>
                <a:gd name="connsiteX6" fmla="*/ 99915 w 101178"/>
                <a:gd name="connsiteY6" fmla="*/ 3051 h 27457"/>
                <a:gd name="connsiteX7" fmla="*/ 96865 w 101178"/>
                <a:gd name="connsiteY7" fmla="*/ 12203 h 27457"/>
                <a:gd name="connsiteX8" fmla="*/ 45000 w 101178"/>
                <a:gd name="connsiteY8" fmla="*/ 27458 h 27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178" h="27457">
                  <a:moveTo>
                    <a:pt x="45000" y="27458"/>
                  </a:moveTo>
                  <a:cubicBezTo>
                    <a:pt x="17543" y="27458"/>
                    <a:pt x="2289" y="12203"/>
                    <a:pt x="2289" y="12203"/>
                  </a:cubicBezTo>
                  <a:cubicBezTo>
                    <a:pt x="-763" y="9153"/>
                    <a:pt x="-763" y="6102"/>
                    <a:pt x="2289" y="3051"/>
                  </a:cubicBezTo>
                  <a:cubicBezTo>
                    <a:pt x="5339" y="0"/>
                    <a:pt x="8389" y="0"/>
                    <a:pt x="11441" y="3051"/>
                  </a:cubicBezTo>
                  <a:lnTo>
                    <a:pt x="11441" y="3051"/>
                  </a:lnTo>
                  <a:cubicBezTo>
                    <a:pt x="11441" y="3051"/>
                    <a:pt x="38898" y="30508"/>
                    <a:pt x="90762" y="0"/>
                  </a:cubicBezTo>
                  <a:cubicBezTo>
                    <a:pt x="93814" y="0"/>
                    <a:pt x="96865" y="0"/>
                    <a:pt x="99915" y="3051"/>
                  </a:cubicBezTo>
                  <a:cubicBezTo>
                    <a:pt x="102967" y="6102"/>
                    <a:pt x="99915" y="9153"/>
                    <a:pt x="96865" y="12203"/>
                  </a:cubicBezTo>
                  <a:cubicBezTo>
                    <a:pt x="75508" y="21356"/>
                    <a:pt x="60254" y="27458"/>
                    <a:pt x="45000" y="27458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6" name="图形 1">
            <a:extLst>
              <a:ext uri="{FF2B5EF4-FFF2-40B4-BE49-F238E27FC236}">
                <a16:creationId xmlns:a16="http://schemas.microsoft.com/office/drawing/2014/main" id="{C0F19882-1040-42FE-9C35-9BC58A1780D0}"/>
              </a:ext>
            </a:extLst>
          </p:cNvPr>
          <p:cNvGrpSpPr/>
          <p:nvPr/>
        </p:nvGrpSpPr>
        <p:grpSpPr>
          <a:xfrm>
            <a:off x="2788775" y="1916178"/>
            <a:ext cx="2850646" cy="4867499"/>
            <a:chOff x="20195624" y="1744728"/>
            <a:chExt cx="2850646" cy="4867499"/>
          </a:xfrm>
        </p:grpSpPr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88A3E60E-972A-42F6-A4D4-9534C70B0847}"/>
                </a:ext>
              </a:extLst>
            </p:cNvPr>
            <p:cNvSpPr/>
            <p:nvPr/>
          </p:nvSpPr>
          <p:spPr>
            <a:xfrm>
              <a:off x="20794597" y="4137990"/>
              <a:ext cx="1509204" cy="2277550"/>
            </a:xfrm>
            <a:custGeom>
              <a:avLst/>
              <a:gdLst>
                <a:gd name="connsiteX0" fmla="*/ 1043540 w 1509204"/>
                <a:gd name="connsiteY0" fmla="*/ 21356 h 2277550"/>
                <a:gd name="connsiteX1" fmla="*/ 1363879 w 1509204"/>
                <a:gd name="connsiteY1" fmla="*/ 1131864 h 2277550"/>
                <a:gd name="connsiteX2" fmla="*/ 1504217 w 1509204"/>
                <a:gd name="connsiteY2" fmla="*/ 2144746 h 2277550"/>
                <a:gd name="connsiteX3" fmla="*/ 1278455 w 1509204"/>
                <a:gd name="connsiteY3" fmla="*/ 2227119 h 2277550"/>
                <a:gd name="connsiteX4" fmla="*/ 945912 w 1509204"/>
                <a:gd name="connsiteY4" fmla="*/ 1336271 h 2277550"/>
                <a:gd name="connsiteX5" fmla="*/ 546252 w 1509204"/>
                <a:gd name="connsiteY5" fmla="*/ 503390 h 2277550"/>
                <a:gd name="connsiteX6" fmla="*/ 479133 w 1509204"/>
                <a:gd name="connsiteY6" fmla="*/ 1446102 h 2277550"/>
                <a:gd name="connsiteX7" fmla="*/ 308286 w 1509204"/>
                <a:gd name="connsiteY7" fmla="*/ 2254576 h 2277550"/>
                <a:gd name="connsiteX8" fmla="*/ 116081 w 1509204"/>
                <a:gd name="connsiteY8" fmla="*/ 2214916 h 2277550"/>
                <a:gd name="connsiteX9" fmla="*/ 18456 w 1509204"/>
                <a:gd name="connsiteY9" fmla="*/ 1452203 h 2277550"/>
                <a:gd name="connsiteX10" fmla="*/ 24556 w 1509204"/>
                <a:gd name="connsiteY10" fmla="*/ 0 h 2277550"/>
                <a:gd name="connsiteX11" fmla="*/ 1043540 w 1509204"/>
                <a:gd name="connsiteY11" fmla="*/ 21356 h 2277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09204" h="2277550">
                  <a:moveTo>
                    <a:pt x="1043540" y="21356"/>
                  </a:moveTo>
                  <a:lnTo>
                    <a:pt x="1363879" y="1131864"/>
                  </a:lnTo>
                  <a:cubicBezTo>
                    <a:pt x="1363879" y="1131864"/>
                    <a:pt x="1540827" y="1952542"/>
                    <a:pt x="1504217" y="2144746"/>
                  </a:cubicBezTo>
                  <a:cubicBezTo>
                    <a:pt x="1492015" y="2211865"/>
                    <a:pt x="1327268" y="2260678"/>
                    <a:pt x="1278455" y="2227119"/>
                  </a:cubicBezTo>
                  <a:cubicBezTo>
                    <a:pt x="1156421" y="2169153"/>
                    <a:pt x="945912" y="1336271"/>
                    <a:pt x="945912" y="1336271"/>
                  </a:cubicBezTo>
                  <a:cubicBezTo>
                    <a:pt x="945912" y="1336271"/>
                    <a:pt x="555404" y="518644"/>
                    <a:pt x="546252" y="503390"/>
                  </a:cubicBezTo>
                  <a:cubicBezTo>
                    <a:pt x="530998" y="472881"/>
                    <a:pt x="479133" y="1446102"/>
                    <a:pt x="479133" y="1446102"/>
                  </a:cubicBezTo>
                  <a:cubicBezTo>
                    <a:pt x="479133" y="1446102"/>
                    <a:pt x="433370" y="2196610"/>
                    <a:pt x="308286" y="2254576"/>
                  </a:cubicBezTo>
                  <a:cubicBezTo>
                    <a:pt x="253369" y="2300339"/>
                    <a:pt x="158794" y="2272881"/>
                    <a:pt x="116081" y="2214916"/>
                  </a:cubicBezTo>
                  <a:cubicBezTo>
                    <a:pt x="27608" y="2095932"/>
                    <a:pt x="24556" y="1549831"/>
                    <a:pt x="18456" y="1452203"/>
                  </a:cubicBezTo>
                  <a:cubicBezTo>
                    <a:pt x="9302" y="1299661"/>
                    <a:pt x="-21207" y="97627"/>
                    <a:pt x="24556" y="0"/>
                  </a:cubicBezTo>
                  <a:cubicBezTo>
                    <a:pt x="717099" y="33559"/>
                    <a:pt x="1043540" y="21356"/>
                    <a:pt x="1043540" y="21356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8" name="图形 1">
              <a:extLst>
                <a:ext uri="{FF2B5EF4-FFF2-40B4-BE49-F238E27FC236}">
                  <a16:creationId xmlns:a16="http://schemas.microsoft.com/office/drawing/2014/main" id="{34ADC122-002D-4278-BA86-B882BA847ED7}"/>
                </a:ext>
              </a:extLst>
            </p:cNvPr>
            <p:cNvGrpSpPr/>
            <p:nvPr/>
          </p:nvGrpSpPr>
          <p:grpSpPr>
            <a:xfrm>
              <a:off x="22005933" y="6212566"/>
              <a:ext cx="602516" cy="397635"/>
              <a:chOff x="22005933" y="6212566"/>
              <a:chExt cx="602516" cy="397635"/>
            </a:xfrm>
          </p:grpSpPr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AB770647-71FD-4612-B081-C6469F22F4CA}"/>
                  </a:ext>
                </a:extLst>
              </p:cNvPr>
              <p:cNvSpPr/>
              <p:nvPr/>
            </p:nvSpPr>
            <p:spPr>
              <a:xfrm rot="-1226683">
                <a:off x="22127700" y="6480627"/>
                <a:ext cx="488130" cy="45762"/>
              </a:xfrm>
              <a:custGeom>
                <a:avLst/>
                <a:gdLst>
                  <a:gd name="connsiteX0" fmla="*/ 0 w 488130"/>
                  <a:gd name="connsiteY0" fmla="*/ 0 h 45762"/>
                  <a:gd name="connsiteX1" fmla="*/ 488131 w 488130"/>
                  <a:gd name="connsiteY1" fmla="*/ 0 h 45762"/>
                  <a:gd name="connsiteX2" fmla="*/ 488131 w 488130"/>
                  <a:gd name="connsiteY2" fmla="*/ 45762 h 45762"/>
                  <a:gd name="connsiteX3" fmla="*/ 0 w 488130"/>
                  <a:gd name="connsiteY3" fmla="*/ 45762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0" h="45762">
                    <a:moveTo>
                      <a:pt x="0" y="0"/>
                    </a:moveTo>
                    <a:lnTo>
                      <a:pt x="488131" y="0"/>
                    </a:lnTo>
                    <a:lnTo>
                      <a:pt x="488131" y="45762"/>
                    </a:lnTo>
                    <a:lnTo>
                      <a:pt x="0" y="45762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3C395AA1-D210-4C35-A054-5302ED9F27B4}"/>
                  </a:ext>
                </a:extLst>
              </p:cNvPr>
              <p:cNvSpPr/>
              <p:nvPr/>
            </p:nvSpPr>
            <p:spPr>
              <a:xfrm>
                <a:off x="22005933" y="6212566"/>
                <a:ext cx="588813" cy="353898"/>
              </a:xfrm>
              <a:custGeom>
                <a:avLst/>
                <a:gdLst>
                  <a:gd name="connsiteX0" fmla="*/ 320339 w 588813"/>
                  <a:gd name="connsiteY0" fmla="*/ 0 h 353898"/>
                  <a:gd name="connsiteX1" fmla="*/ 332543 w 588813"/>
                  <a:gd name="connsiteY1" fmla="*/ 143390 h 353898"/>
                  <a:gd name="connsiteX2" fmla="*/ 393560 w 588813"/>
                  <a:gd name="connsiteY2" fmla="*/ 143390 h 353898"/>
                  <a:gd name="connsiteX3" fmla="*/ 588813 w 588813"/>
                  <a:gd name="connsiteY3" fmla="*/ 183051 h 353898"/>
                  <a:gd name="connsiteX4" fmla="*/ 131186 w 588813"/>
                  <a:gd name="connsiteY4" fmla="*/ 353899 h 353898"/>
                  <a:gd name="connsiteX5" fmla="*/ 0 w 588813"/>
                  <a:gd name="connsiteY5" fmla="*/ 100678 h 353898"/>
                  <a:gd name="connsiteX6" fmla="*/ 320339 w 588813"/>
                  <a:gd name="connsiteY6" fmla="*/ 0 h 35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8813" h="353898">
                    <a:moveTo>
                      <a:pt x="320339" y="0"/>
                    </a:moveTo>
                    <a:lnTo>
                      <a:pt x="332543" y="143390"/>
                    </a:lnTo>
                    <a:cubicBezTo>
                      <a:pt x="353898" y="143390"/>
                      <a:pt x="375254" y="143390"/>
                      <a:pt x="393560" y="143390"/>
                    </a:cubicBezTo>
                    <a:cubicBezTo>
                      <a:pt x="439323" y="140339"/>
                      <a:pt x="549153" y="122034"/>
                      <a:pt x="588813" y="183051"/>
                    </a:cubicBezTo>
                    <a:lnTo>
                      <a:pt x="131186" y="353899"/>
                    </a:lnTo>
                    <a:cubicBezTo>
                      <a:pt x="131186" y="353899"/>
                      <a:pt x="61017" y="280678"/>
                      <a:pt x="0" y="100678"/>
                    </a:cubicBezTo>
                    <a:lnTo>
                      <a:pt x="320339" y="0"/>
                    </a:ln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9" name="图形 1">
              <a:extLst>
                <a:ext uri="{FF2B5EF4-FFF2-40B4-BE49-F238E27FC236}">
                  <a16:creationId xmlns:a16="http://schemas.microsoft.com/office/drawing/2014/main" id="{982FBEDC-2AC5-4778-AD1E-E219ADA8D055}"/>
                </a:ext>
              </a:extLst>
            </p:cNvPr>
            <p:cNvGrpSpPr/>
            <p:nvPr/>
          </p:nvGrpSpPr>
          <p:grpSpPr>
            <a:xfrm>
              <a:off x="20852076" y="6279685"/>
              <a:ext cx="525383" cy="332542"/>
              <a:chOff x="20852076" y="6279685"/>
              <a:chExt cx="525383" cy="332542"/>
            </a:xfrm>
          </p:grpSpPr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90F9D3E8-B94C-4FB2-8658-0DD3BE8E33A9}"/>
                  </a:ext>
                </a:extLst>
              </p:cNvPr>
              <p:cNvSpPr/>
              <p:nvPr/>
            </p:nvSpPr>
            <p:spPr>
              <a:xfrm>
                <a:off x="20886272" y="6566464"/>
                <a:ext cx="488135" cy="45762"/>
              </a:xfrm>
              <a:custGeom>
                <a:avLst/>
                <a:gdLst>
                  <a:gd name="connsiteX0" fmla="*/ 0 w 488135"/>
                  <a:gd name="connsiteY0" fmla="*/ 0 h 45762"/>
                  <a:gd name="connsiteX1" fmla="*/ 488135 w 488135"/>
                  <a:gd name="connsiteY1" fmla="*/ 0 h 45762"/>
                  <a:gd name="connsiteX2" fmla="*/ 488135 w 488135"/>
                  <a:gd name="connsiteY2" fmla="*/ 45763 h 45762"/>
                  <a:gd name="connsiteX3" fmla="*/ 0 w 488135"/>
                  <a:gd name="connsiteY3" fmla="*/ 45763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5" h="45762">
                    <a:moveTo>
                      <a:pt x="0" y="0"/>
                    </a:moveTo>
                    <a:lnTo>
                      <a:pt x="488135" y="0"/>
                    </a:lnTo>
                    <a:lnTo>
                      <a:pt x="488135" y="45763"/>
                    </a:lnTo>
                    <a:lnTo>
                      <a:pt x="0" y="45763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505AC446-229C-4593-A590-FFAF70FED3B9}"/>
                  </a:ext>
                </a:extLst>
              </p:cNvPr>
              <p:cNvSpPr/>
              <p:nvPr/>
            </p:nvSpPr>
            <p:spPr>
              <a:xfrm>
                <a:off x="20852076" y="6279685"/>
                <a:ext cx="525383" cy="286779"/>
              </a:xfrm>
              <a:custGeom>
                <a:avLst/>
                <a:gdLst>
                  <a:gd name="connsiteX0" fmla="*/ 637 w 525383"/>
                  <a:gd name="connsiteY0" fmla="*/ 0 h 286779"/>
                  <a:gd name="connsiteX1" fmla="*/ 339281 w 525383"/>
                  <a:gd name="connsiteY1" fmla="*/ 18305 h 286779"/>
                  <a:gd name="connsiteX2" fmla="*/ 299620 w 525383"/>
                  <a:gd name="connsiteY2" fmla="*/ 158644 h 286779"/>
                  <a:gd name="connsiteX3" fmla="*/ 357587 w 525383"/>
                  <a:gd name="connsiteY3" fmla="*/ 180000 h 286779"/>
                  <a:gd name="connsiteX4" fmla="*/ 525383 w 525383"/>
                  <a:gd name="connsiteY4" fmla="*/ 286780 h 286779"/>
                  <a:gd name="connsiteX5" fmla="*/ 37248 w 525383"/>
                  <a:gd name="connsiteY5" fmla="*/ 286780 h 286779"/>
                  <a:gd name="connsiteX6" fmla="*/ 637 w 525383"/>
                  <a:gd name="connsiteY6" fmla="*/ 0 h 28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5383" h="286779">
                    <a:moveTo>
                      <a:pt x="637" y="0"/>
                    </a:moveTo>
                    <a:lnTo>
                      <a:pt x="339281" y="18305"/>
                    </a:lnTo>
                    <a:lnTo>
                      <a:pt x="299620" y="158644"/>
                    </a:lnTo>
                    <a:cubicBezTo>
                      <a:pt x="320976" y="167797"/>
                      <a:pt x="339281" y="173898"/>
                      <a:pt x="357587" y="180000"/>
                    </a:cubicBezTo>
                    <a:cubicBezTo>
                      <a:pt x="400297" y="195255"/>
                      <a:pt x="513179" y="213559"/>
                      <a:pt x="525383" y="286780"/>
                    </a:cubicBezTo>
                    <a:lnTo>
                      <a:pt x="37248" y="286780"/>
                    </a:lnTo>
                    <a:cubicBezTo>
                      <a:pt x="34196" y="286780"/>
                      <a:pt x="-5465" y="192203"/>
                      <a:pt x="637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016DBA08-4A39-4995-B172-C58EFC5D8E11}"/>
                </a:ext>
              </a:extLst>
            </p:cNvPr>
            <p:cNvSpPr/>
            <p:nvPr/>
          </p:nvSpPr>
          <p:spPr>
            <a:xfrm>
              <a:off x="21539129" y="2690045"/>
              <a:ext cx="1257930" cy="1120364"/>
            </a:xfrm>
            <a:custGeom>
              <a:avLst/>
              <a:gdLst>
                <a:gd name="connsiteX0" fmla="*/ 73244 w 1257930"/>
                <a:gd name="connsiteY0" fmla="*/ 7945 h 1120364"/>
                <a:gd name="connsiteX1" fmla="*/ 475956 w 1257930"/>
                <a:gd name="connsiteY1" fmla="*/ 334385 h 1120364"/>
                <a:gd name="connsiteX2" fmla="*/ 689516 w 1257930"/>
                <a:gd name="connsiteY2" fmla="*/ 746250 h 1120364"/>
                <a:gd name="connsiteX3" fmla="*/ 1247820 w 1257930"/>
                <a:gd name="connsiteY3" fmla="*/ 849979 h 1120364"/>
                <a:gd name="connsiteX4" fmla="*/ 1253922 w 1257930"/>
                <a:gd name="connsiteY4" fmla="*/ 1017775 h 1120364"/>
                <a:gd name="connsiteX5" fmla="*/ 503415 w 1257930"/>
                <a:gd name="connsiteY5" fmla="*/ 1069639 h 1120364"/>
                <a:gd name="connsiteX6" fmla="*/ 73244 w 1257930"/>
                <a:gd name="connsiteY6" fmla="*/ 7945 h 112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7930" h="1120364">
                  <a:moveTo>
                    <a:pt x="73244" y="7945"/>
                  </a:moveTo>
                  <a:cubicBezTo>
                    <a:pt x="195278" y="-50022"/>
                    <a:pt x="408837" y="224555"/>
                    <a:pt x="475956" y="334385"/>
                  </a:cubicBezTo>
                  <a:cubicBezTo>
                    <a:pt x="536973" y="432012"/>
                    <a:pt x="689516" y="746250"/>
                    <a:pt x="689516" y="746250"/>
                  </a:cubicBezTo>
                  <a:cubicBezTo>
                    <a:pt x="689516" y="746250"/>
                    <a:pt x="1211212" y="737097"/>
                    <a:pt x="1247820" y="849979"/>
                  </a:cubicBezTo>
                  <a:cubicBezTo>
                    <a:pt x="1260025" y="910995"/>
                    <a:pt x="1260025" y="978114"/>
                    <a:pt x="1253922" y="1017775"/>
                  </a:cubicBezTo>
                  <a:cubicBezTo>
                    <a:pt x="1150195" y="1173368"/>
                    <a:pt x="622397" y="1118453"/>
                    <a:pt x="503415" y="1069639"/>
                  </a:cubicBezTo>
                  <a:cubicBezTo>
                    <a:pt x="375279" y="1014724"/>
                    <a:pt x="-201332" y="139131"/>
                    <a:pt x="73244" y="7945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1" name="图形 1">
              <a:extLst>
                <a:ext uri="{FF2B5EF4-FFF2-40B4-BE49-F238E27FC236}">
                  <a16:creationId xmlns:a16="http://schemas.microsoft.com/office/drawing/2014/main" id="{7D09C204-DEEF-4822-AC14-46696F321967}"/>
                </a:ext>
              </a:extLst>
            </p:cNvPr>
            <p:cNvGrpSpPr/>
            <p:nvPr/>
          </p:nvGrpSpPr>
          <p:grpSpPr>
            <a:xfrm>
              <a:off x="21792374" y="2631857"/>
              <a:ext cx="1189830" cy="1246810"/>
              <a:chOff x="21792374" y="2631857"/>
              <a:chExt cx="1189830" cy="1246810"/>
            </a:xfrm>
          </p:grpSpPr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3D27956E-6BA4-4DFD-A8F2-5CDACE61EC0C}"/>
                  </a:ext>
                </a:extLst>
              </p:cNvPr>
              <p:cNvSpPr/>
              <p:nvPr/>
            </p:nvSpPr>
            <p:spPr>
              <a:xfrm>
                <a:off x="22005933" y="3137312"/>
                <a:ext cx="976271" cy="741355"/>
              </a:xfrm>
              <a:custGeom>
                <a:avLst/>
                <a:gdLst>
                  <a:gd name="connsiteX0" fmla="*/ 0 w 976271"/>
                  <a:gd name="connsiteY0" fmla="*/ 0 h 741355"/>
                  <a:gd name="connsiteX1" fmla="*/ 976271 w 976271"/>
                  <a:gd name="connsiteY1" fmla="*/ 0 h 741355"/>
                  <a:gd name="connsiteX2" fmla="*/ 976271 w 976271"/>
                  <a:gd name="connsiteY2" fmla="*/ 741356 h 741355"/>
                  <a:gd name="connsiteX3" fmla="*/ 0 w 976271"/>
                  <a:gd name="connsiteY3" fmla="*/ 741356 h 74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6271" h="741355">
                    <a:moveTo>
                      <a:pt x="0" y="0"/>
                    </a:moveTo>
                    <a:lnTo>
                      <a:pt x="976271" y="0"/>
                    </a:lnTo>
                    <a:lnTo>
                      <a:pt x="976271" y="741356"/>
                    </a:lnTo>
                    <a:lnTo>
                      <a:pt x="0" y="741356"/>
                    </a:lnTo>
                    <a:close/>
                  </a:path>
                </a:pathLst>
              </a:custGeom>
              <a:solidFill>
                <a:srgbClr val="728CB2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7F305E2C-A07C-4818-8EF0-1696876CB0D1}"/>
                  </a:ext>
                </a:extLst>
              </p:cNvPr>
              <p:cNvSpPr/>
              <p:nvPr/>
            </p:nvSpPr>
            <p:spPr>
              <a:xfrm>
                <a:off x="21792374" y="3137312"/>
                <a:ext cx="976271" cy="741355"/>
              </a:xfrm>
              <a:custGeom>
                <a:avLst/>
                <a:gdLst>
                  <a:gd name="connsiteX0" fmla="*/ 0 w 976271"/>
                  <a:gd name="connsiteY0" fmla="*/ 0 h 741355"/>
                  <a:gd name="connsiteX1" fmla="*/ 976271 w 976271"/>
                  <a:gd name="connsiteY1" fmla="*/ 0 h 741355"/>
                  <a:gd name="connsiteX2" fmla="*/ 976271 w 976271"/>
                  <a:gd name="connsiteY2" fmla="*/ 741356 h 741355"/>
                  <a:gd name="connsiteX3" fmla="*/ 0 w 976271"/>
                  <a:gd name="connsiteY3" fmla="*/ 741356 h 74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6271" h="741355">
                    <a:moveTo>
                      <a:pt x="0" y="0"/>
                    </a:moveTo>
                    <a:lnTo>
                      <a:pt x="976271" y="0"/>
                    </a:lnTo>
                    <a:lnTo>
                      <a:pt x="976271" y="741356"/>
                    </a:lnTo>
                    <a:lnTo>
                      <a:pt x="0" y="741356"/>
                    </a:ln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199E080E-6A70-4681-88FD-B53B41715623}"/>
                  </a:ext>
                </a:extLst>
              </p:cNvPr>
              <p:cNvSpPr/>
              <p:nvPr/>
            </p:nvSpPr>
            <p:spPr>
              <a:xfrm>
                <a:off x="22213391" y="3137312"/>
                <a:ext cx="134237" cy="741355"/>
              </a:xfrm>
              <a:custGeom>
                <a:avLst/>
                <a:gdLst>
                  <a:gd name="connsiteX0" fmla="*/ 0 w 134237"/>
                  <a:gd name="connsiteY0" fmla="*/ 0 h 741355"/>
                  <a:gd name="connsiteX1" fmla="*/ 134238 w 134237"/>
                  <a:gd name="connsiteY1" fmla="*/ 0 h 741355"/>
                  <a:gd name="connsiteX2" fmla="*/ 134238 w 134237"/>
                  <a:gd name="connsiteY2" fmla="*/ 741356 h 741355"/>
                  <a:gd name="connsiteX3" fmla="*/ 0 w 134237"/>
                  <a:gd name="connsiteY3" fmla="*/ 741356 h 74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237" h="741355">
                    <a:moveTo>
                      <a:pt x="0" y="0"/>
                    </a:moveTo>
                    <a:lnTo>
                      <a:pt x="134238" y="0"/>
                    </a:lnTo>
                    <a:lnTo>
                      <a:pt x="134238" y="741356"/>
                    </a:lnTo>
                    <a:lnTo>
                      <a:pt x="0" y="741356"/>
                    </a:ln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11083ABF-4B44-4BF1-AF76-E22D3638123B}"/>
                  </a:ext>
                </a:extLst>
              </p:cNvPr>
              <p:cNvSpPr/>
              <p:nvPr/>
            </p:nvSpPr>
            <p:spPr>
              <a:xfrm>
                <a:off x="22057716" y="2631857"/>
                <a:ext cx="736165" cy="550280"/>
              </a:xfrm>
              <a:custGeom>
                <a:avLst/>
                <a:gdLst>
                  <a:gd name="connsiteX0" fmla="*/ 720081 w 736165"/>
                  <a:gd name="connsiteY0" fmla="*/ 142404 h 550280"/>
                  <a:gd name="connsiteX1" fmla="*/ 454657 w 736165"/>
                  <a:gd name="connsiteY1" fmla="*/ 148506 h 550280"/>
                  <a:gd name="connsiteX2" fmla="*/ 332623 w 736165"/>
                  <a:gd name="connsiteY2" fmla="*/ 297997 h 550280"/>
                  <a:gd name="connsiteX3" fmla="*/ 323471 w 736165"/>
                  <a:gd name="connsiteY3" fmla="*/ 209523 h 550280"/>
                  <a:gd name="connsiteX4" fmla="*/ 164827 w 736165"/>
                  <a:gd name="connsiteY4" fmla="*/ 2065 h 550280"/>
                  <a:gd name="connsiteX5" fmla="*/ 82 w 736165"/>
                  <a:gd name="connsiteY5" fmla="*/ 230879 h 550280"/>
                  <a:gd name="connsiteX6" fmla="*/ 186183 w 736165"/>
                  <a:gd name="connsiteY6" fmla="*/ 517658 h 550280"/>
                  <a:gd name="connsiteX7" fmla="*/ 231946 w 736165"/>
                  <a:gd name="connsiteY7" fmla="*/ 545116 h 550280"/>
                  <a:gd name="connsiteX8" fmla="*/ 250252 w 736165"/>
                  <a:gd name="connsiteY8" fmla="*/ 532913 h 550280"/>
                  <a:gd name="connsiteX9" fmla="*/ 631608 w 736165"/>
                  <a:gd name="connsiteY9" fmla="*/ 389523 h 550280"/>
                  <a:gd name="connsiteX10" fmla="*/ 720081 w 736165"/>
                  <a:gd name="connsiteY10" fmla="*/ 142404 h 550280"/>
                  <a:gd name="connsiteX11" fmla="*/ 521776 w 736165"/>
                  <a:gd name="connsiteY11" fmla="*/ 203421 h 550280"/>
                  <a:gd name="connsiteX12" fmla="*/ 537031 w 736165"/>
                  <a:gd name="connsiteY12" fmla="*/ 310201 h 550280"/>
                  <a:gd name="connsiteX13" fmla="*/ 442455 w 736165"/>
                  <a:gd name="connsiteY13" fmla="*/ 380370 h 550280"/>
                  <a:gd name="connsiteX14" fmla="*/ 311269 w 736165"/>
                  <a:gd name="connsiteY14" fmla="*/ 450540 h 550280"/>
                  <a:gd name="connsiteX15" fmla="*/ 317369 w 736165"/>
                  <a:gd name="connsiteY15" fmla="*/ 429184 h 550280"/>
                  <a:gd name="connsiteX16" fmla="*/ 521776 w 736165"/>
                  <a:gd name="connsiteY16" fmla="*/ 203421 h 550280"/>
                  <a:gd name="connsiteX17" fmla="*/ 149573 w 736165"/>
                  <a:gd name="connsiteY17" fmla="*/ 316303 h 550280"/>
                  <a:gd name="connsiteX18" fmla="*/ 134318 w 736165"/>
                  <a:gd name="connsiteY18" fmla="*/ 145455 h 550280"/>
                  <a:gd name="connsiteX19" fmla="*/ 241098 w 736165"/>
                  <a:gd name="connsiteY19" fmla="*/ 182065 h 550280"/>
                  <a:gd name="connsiteX20" fmla="*/ 222794 w 736165"/>
                  <a:gd name="connsiteY20" fmla="*/ 432235 h 550280"/>
                  <a:gd name="connsiteX21" fmla="*/ 149573 w 736165"/>
                  <a:gd name="connsiteY21" fmla="*/ 316303 h 550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36165" h="550280">
                    <a:moveTo>
                      <a:pt x="720081" y="142404"/>
                    </a:moveTo>
                    <a:cubicBezTo>
                      <a:pt x="662116" y="56980"/>
                      <a:pt x="518726" y="99692"/>
                      <a:pt x="454657" y="148506"/>
                    </a:cubicBezTo>
                    <a:cubicBezTo>
                      <a:pt x="402794" y="188167"/>
                      <a:pt x="366184" y="240031"/>
                      <a:pt x="332623" y="297997"/>
                    </a:cubicBezTo>
                    <a:cubicBezTo>
                      <a:pt x="332623" y="267489"/>
                      <a:pt x="326523" y="236981"/>
                      <a:pt x="323471" y="209523"/>
                    </a:cubicBezTo>
                    <a:cubicBezTo>
                      <a:pt x="311269" y="130201"/>
                      <a:pt x="274658" y="-19291"/>
                      <a:pt x="164827" y="2065"/>
                    </a:cubicBezTo>
                    <a:cubicBezTo>
                      <a:pt x="64149" y="20370"/>
                      <a:pt x="3132" y="139353"/>
                      <a:pt x="82" y="230879"/>
                    </a:cubicBezTo>
                    <a:cubicBezTo>
                      <a:pt x="-2970" y="355964"/>
                      <a:pt x="79403" y="456641"/>
                      <a:pt x="186183" y="517658"/>
                    </a:cubicBezTo>
                    <a:cubicBezTo>
                      <a:pt x="186183" y="539014"/>
                      <a:pt x="210589" y="560370"/>
                      <a:pt x="231946" y="545116"/>
                    </a:cubicBezTo>
                    <a:cubicBezTo>
                      <a:pt x="238048" y="542065"/>
                      <a:pt x="244150" y="535964"/>
                      <a:pt x="250252" y="532913"/>
                    </a:cubicBezTo>
                    <a:cubicBezTo>
                      <a:pt x="378386" y="499353"/>
                      <a:pt x="524828" y="477997"/>
                      <a:pt x="631608" y="389523"/>
                    </a:cubicBezTo>
                    <a:cubicBezTo>
                      <a:pt x="686523" y="340709"/>
                      <a:pt x="771946" y="224777"/>
                      <a:pt x="720081" y="142404"/>
                    </a:cubicBezTo>
                    <a:close/>
                    <a:moveTo>
                      <a:pt x="521776" y="203421"/>
                    </a:moveTo>
                    <a:cubicBezTo>
                      <a:pt x="555337" y="212574"/>
                      <a:pt x="573641" y="264438"/>
                      <a:pt x="537031" y="310201"/>
                    </a:cubicBezTo>
                    <a:cubicBezTo>
                      <a:pt x="515674" y="337658"/>
                      <a:pt x="472964" y="359014"/>
                      <a:pt x="442455" y="380370"/>
                    </a:cubicBezTo>
                    <a:cubicBezTo>
                      <a:pt x="399742" y="407828"/>
                      <a:pt x="357032" y="432235"/>
                      <a:pt x="311269" y="450540"/>
                    </a:cubicBezTo>
                    <a:cubicBezTo>
                      <a:pt x="314319" y="444438"/>
                      <a:pt x="317369" y="438336"/>
                      <a:pt x="317369" y="429184"/>
                    </a:cubicBezTo>
                    <a:cubicBezTo>
                      <a:pt x="350930" y="374269"/>
                      <a:pt x="414997" y="221726"/>
                      <a:pt x="521776" y="203421"/>
                    </a:cubicBezTo>
                    <a:close/>
                    <a:moveTo>
                      <a:pt x="149573" y="316303"/>
                    </a:moveTo>
                    <a:cubicBezTo>
                      <a:pt x="125166" y="261387"/>
                      <a:pt x="106862" y="203421"/>
                      <a:pt x="134318" y="145455"/>
                    </a:cubicBezTo>
                    <a:cubicBezTo>
                      <a:pt x="164827" y="78336"/>
                      <a:pt x="225844" y="127150"/>
                      <a:pt x="241098" y="182065"/>
                    </a:cubicBezTo>
                    <a:cubicBezTo>
                      <a:pt x="259404" y="255286"/>
                      <a:pt x="250252" y="352913"/>
                      <a:pt x="222794" y="432235"/>
                    </a:cubicBezTo>
                    <a:cubicBezTo>
                      <a:pt x="189235" y="395625"/>
                      <a:pt x="167879" y="355964"/>
                      <a:pt x="149573" y="316303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0598A894-923E-4B1D-BDE1-3D51FD79B8CD}"/>
                  </a:ext>
                </a:extLst>
              </p:cNvPr>
              <p:cNvSpPr/>
              <p:nvPr/>
            </p:nvSpPr>
            <p:spPr>
              <a:xfrm>
                <a:off x="21957120" y="3121388"/>
                <a:ext cx="309745" cy="550286"/>
              </a:xfrm>
              <a:custGeom>
                <a:avLst/>
                <a:gdLst>
                  <a:gd name="connsiteX0" fmla="*/ 256270 w 309745"/>
                  <a:gd name="connsiteY0" fmla="*/ 6771 h 550286"/>
                  <a:gd name="connsiteX1" fmla="*/ 0 w 309745"/>
                  <a:gd name="connsiteY1" fmla="*/ 519314 h 550286"/>
                  <a:gd name="connsiteX2" fmla="*/ 39661 w 309745"/>
                  <a:gd name="connsiteY2" fmla="*/ 549822 h 550286"/>
                  <a:gd name="connsiteX3" fmla="*/ 112880 w 309745"/>
                  <a:gd name="connsiteY3" fmla="*/ 537619 h 550286"/>
                  <a:gd name="connsiteX4" fmla="*/ 134236 w 309745"/>
                  <a:gd name="connsiteY4" fmla="*/ 507110 h 550286"/>
                  <a:gd name="connsiteX5" fmla="*/ 167797 w 309745"/>
                  <a:gd name="connsiteY5" fmla="*/ 253890 h 550286"/>
                  <a:gd name="connsiteX6" fmla="*/ 302033 w 309745"/>
                  <a:gd name="connsiteY6" fmla="*/ 58636 h 550286"/>
                  <a:gd name="connsiteX7" fmla="*/ 305085 w 309745"/>
                  <a:gd name="connsiteY7" fmla="*/ 46432 h 550286"/>
                  <a:gd name="connsiteX8" fmla="*/ 256270 w 309745"/>
                  <a:gd name="connsiteY8" fmla="*/ 6771 h 550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9745" h="550286">
                    <a:moveTo>
                      <a:pt x="256270" y="6771"/>
                    </a:moveTo>
                    <a:cubicBezTo>
                      <a:pt x="100678" y="134907"/>
                      <a:pt x="9152" y="317958"/>
                      <a:pt x="0" y="519314"/>
                    </a:cubicBezTo>
                    <a:cubicBezTo>
                      <a:pt x="0" y="540670"/>
                      <a:pt x="21354" y="552873"/>
                      <a:pt x="39661" y="549822"/>
                    </a:cubicBezTo>
                    <a:cubicBezTo>
                      <a:pt x="64067" y="546771"/>
                      <a:pt x="88473" y="540670"/>
                      <a:pt x="112880" y="537619"/>
                    </a:cubicBezTo>
                    <a:cubicBezTo>
                      <a:pt x="125084" y="534568"/>
                      <a:pt x="137288" y="519314"/>
                      <a:pt x="134236" y="507110"/>
                    </a:cubicBezTo>
                    <a:cubicBezTo>
                      <a:pt x="125084" y="418636"/>
                      <a:pt x="137288" y="333212"/>
                      <a:pt x="167797" y="253890"/>
                    </a:cubicBezTo>
                    <a:cubicBezTo>
                      <a:pt x="210507" y="183720"/>
                      <a:pt x="265422" y="116602"/>
                      <a:pt x="302033" y="58636"/>
                    </a:cubicBezTo>
                    <a:cubicBezTo>
                      <a:pt x="305085" y="55585"/>
                      <a:pt x="305085" y="49483"/>
                      <a:pt x="305085" y="46432"/>
                    </a:cubicBezTo>
                    <a:cubicBezTo>
                      <a:pt x="323389" y="18975"/>
                      <a:pt x="283728" y="-14585"/>
                      <a:pt x="256270" y="6771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24BDAA00-CBB2-44ED-A89E-8AF3558AD704}"/>
                  </a:ext>
                </a:extLst>
              </p:cNvPr>
              <p:cNvSpPr/>
              <p:nvPr/>
            </p:nvSpPr>
            <p:spPr>
              <a:xfrm>
                <a:off x="22304610" y="3136441"/>
                <a:ext cx="178131" cy="369663"/>
              </a:xfrm>
              <a:custGeom>
                <a:avLst/>
                <a:gdLst>
                  <a:gd name="connsiteX0" fmla="*/ 168102 w 178131"/>
                  <a:gd name="connsiteY0" fmla="*/ 226633 h 369663"/>
                  <a:gd name="connsiteX1" fmla="*/ 79628 w 178131"/>
                  <a:gd name="connsiteY1" fmla="*/ 25277 h 369663"/>
                  <a:gd name="connsiteX2" fmla="*/ 67424 w 178131"/>
                  <a:gd name="connsiteY2" fmla="*/ 6972 h 369663"/>
                  <a:gd name="connsiteX3" fmla="*/ 18611 w 178131"/>
                  <a:gd name="connsiteY3" fmla="*/ 22226 h 369663"/>
                  <a:gd name="connsiteX4" fmla="*/ 52170 w 178131"/>
                  <a:gd name="connsiteY4" fmla="*/ 354769 h 369663"/>
                  <a:gd name="connsiteX5" fmla="*/ 104035 w 178131"/>
                  <a:gd name="connsiteY5" fmla="*/ 354769 h 369663"/>
                  <a:gd name="connsiteX6" fmla="*/ 165052 w 178131"/>
                  <a:gd name="connsiteY6" fmla="*/ 269345 h 369663"/>
                  <a:gd name="connsiteX7" fmla="*/ 168102 w 178131"/>
                  <a:gd name="connsiteY7" fmla="*/ 226633 h 369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8131" h="369663">
                    <a:moveTo>
                      <a:pt x="168102" y="226633"/>
                    </a:moveTo>
                    <a:cubicBezTo>
                      <a:pt x="104035" y="177820"/>
                      <a:pt x="91831" y="101548"/>
                      <a:pt x="79628" y="25277"/>
                    </a:cubicBezTo>
                    <a:cubicBezTo>
                      <a:pt x="79628" y="16125"/>
                      <a:pt x="73526" y="10023"/>
                      <a:pt x="67424" y="6972"/>
                    </a:cubicBezTo>
                    <a:cubicBezTo>
                      <a:pt x="52170" y="-5231"/>
                      <a:pt x="24712" y="-2181"/>
                      <a:pt x="18611" y="22226"/>
                    </a:cubicBezTo>
                    <a:cubicBezTo>
                      <a:pt x="-14949" y="135108"/>
                      <a:pt x="-2745" y="251040"/>
                      <a:pt x="52170" y="354769"/>
                    </a:cubicBezTo>
                    <a:cubicBezTo>
                      <a:pt x="64374" y="376125"/>
                      <a:pt x="91831" y="373074"/>
                      <a:pt x="104035" y="354769"/>
                    </a:cubicBezTo>
                    <a:cubicBezTo>
                      <a:pt x="122339" y="324260"/>
                      <a:pt x="143695" y="296803"/>
                      <a:pt x="165052" y="269345"/>
                    </a:cubicBezTo>
                    <a:cubicBezTo>
                      <a:pt x="180306" y="257142"/>
                      <a:pt x="183356" y="238836"/>
                      <a:pt x="168102" y="226633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86E896FD-CCBF-41A8-BE46-A366F28BC293}"/>
                </a:ext>
              </a:extLst>
            </p:cNvPr>
            <p:cNvSpPr/>
            <p:nvPr/>
          </p:nvSpPr>
          <p:spPr>
            <a:xfrm>
              <a:off x="22887629" y="3421041"/>
              <a:ext cx="158642" cy="250169"/>
            </a:xfrm>
            <a:custGeom>
              <a:avLst/>
              <a:gdLst>
                <a:gd name="connsiteX0" fmla="*/ 158643 w 158642"/>
                <a:gd name="connsiteY0" fmla="*/ 125085 h 250169"/>
                <a:gd name="connsiteX1" fmla="*/ 79321 w 158642"/>
                <a:gd name="connsiteY1" fmla="*/ 250170 h 250169"/>
                <a:gd name="connsiteX2" fmla="*/ 0 w 158642"/>
                <a:gd name="connsiteY2" fmla="*/ 125085 h 250169"/>
                <a:gd name="connsiteX3" fmla="*/ 79321 w 158642"/>
                <a:gd name="connsiteY3" fmla="*/ 0 h 250169"/>
                <a:gd name="connsiteX4" fmla="*/ 158643 w 158642"/>
                <a:gd name="connsiteY4" fmla="*/ 125085 h 25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642" h="250169">
                  <a:moveTo>
                    <a:pt x="158643" y="125085"/>
                  </a:moveTo>
                  <a:cubicBezTo>
                    <a:pt x="158643" y="195254"/>
                    <a:pt x="122034" y="250170"/>
                    <a:pt x="79321" y="250170"/>
                  </a:cubicBezTo>
                  <a:cubicBezTo>
                    <a:pt x="36609" y="250170"/>
                    <a:pt x="0" y="195254"/>
                    <a:pt x="0" y="125085"/>
                  </a:cubicBezTo>
                  <a:cubicBezTo>
                    <a:pt x="0" y="54915"/>
                    <a:pt x="36609" y="0"/>
                    <a:pt x="79321" y="0"/>
                  </a:cubicBezTo>
                  <a:cubicBezTo>
                    <a:pt x="122034" y="0"/>
                    <a:pt x="158643" y="54915"/>
                    <a:pt x="158643" y="125085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FBC2B44F-1EAD-4C83-9CDB-3C638AB748E5}"/>
                </a:ext>
              </a:extLst>
            </p:cNvPr>
            <p:cNvSpPr/>
            <p:nvPr/>
          </p:nvSpPr>
          <p:spPr>
            <a:xfrm>
              <a:off x="21279832" y="4226464"/>
              <a:ext cx="70169" cy="366101"/>
            </a:xfrm>
            <a:custGeom>
              <a:avLst/>
              <a:gdLst>
                <a:gd name="connsiteX0" fmla="*/ 6102 w 70169"/>
                <a:gd name="connsiteY0" fmla="*/ 366102 h 366101"/>
                <a:gd name="connsiteX1" fmla="*/ 6102 w 70169"/>
                <a:gd name="connsiteY1" fmla="*/ 366102 h 366101"/>
                <a:gd name="connsiteX2" fmla="*/ 0 w 70169"/>
                <a:gd name="connsiteY2" fmla="*/ 356949 h 366101"/>
                <a:gd name="connsiteX3" fmla="*/ 57965 w 70169"/>
                <a:gd name="connsiteY3" fmla="*/ 6102 h 366101"/>
                <a:gd name="connsiteX4" fmla="*/ 64067 w 70169"/>
                <a:gd name="connsiteY4" fmla="*/ 0 h 366101"/>
                <a:gd name="connsiteX5" fmla="*/ 64067 w 70169"/>
                <a:gd name="connsiteY5" fmla="*/ 0 h 366101"/>
                <a:gd name="connsiteX6" fmla="*/ 70169 w 70169"/>
                <a:gd name="connsiteY6" fmla="*/ 6102 h 366101"/>
                <a:gd name="connsiteX7" fmla="*/ 12202 w 70169"/>
                <a:gd name="connsiteY7" fmla="*/ 360000 h 366101"/>
                <a:gd name="connsiteX8" fmla="*/ 6102 w 70169"/>
                <a:gd name="connsiteY8" fmla="*/ 366102 h 36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169" h="366101">
                  <a:moveTo>
                    <a:pt x="6102" y="366102"/>
                  </a:moveTo>
                  <a:cubicBezTo>
                    <a:pt x="3050" y="366102"/>
                    <a:pt x="3050" y="366102"/>
                    <a:pt x="6102" y="366102"/>
                  </a:cubicBezTo>
                  <a:cubicBezTo>
                    <a:pt x="0" y="363051"/>
                    <a:pt x="0" y="360000"/>
                    <a:pt x="0" y="356949"/>
                  </a:cubicBezTo>
                  <a:cubicBezTo>
                    <a:pt x="48813" y="244068"/>
                    <a:pt x="57965" y="9152"/>
                    <a:pt x="57965" y="6102"/>
                  </a:cubicBezTo>
                  <a:cubicBezTo>
                    <a:pt x="57965" y="3051"/>
                    <a:pt x="61017" y="0"/>
                    <a:pt x="64067" y="0"/>
                  </a:cubicBezTo>
                  <a:cubicBezTo>
                    <a:pt x="64067" y="0"/>
                    <a:pt x="64067" y="0"/>
                    <a:pt x="64067" y="0"/>
                  </a:cubicBezTo>
                  <a:cubicBezTo>
                    <a:pt x="67119" y="0"/>
                    <a:pt x="70169" y="3051"/>
                    <a:pt x="70169" y="6102"/>
                  </a:cubicBezTo>
                  <a:cubicBezTo>
                    <a:pt x="70169" y="15254"/>
                    <a:pt x="61017" y="244068"/>
                    <a:pt x="12202" y="360000"/>
                  </a:cubicBezTo>
                  <a:cubicBezTo>
                    <a:pt x="9152" y="363051"/>
                    <a:pt x="6102" y="366102"/>
                    <a:pt x="6102" y="366102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923AA4A2-FAB1-4871-BB36-A2178E296458}"/>
                </a:ext>
              </a:extLst>
            </p:cNvPr>
            <p:cNvSpPr/>
            <p:nvPr/>
          </p:nvSpPr>
          <p:spPr>
            <a:xfrm>
              <a:off x="21306025" y="4156295"/>
              <a:ext cx="156857" cy="356949"/>
            </a:xfrm>
            <a:custGeom>
              <a:avLst/>
              <a:gdLst>
                <a:gd name="connsiteX0" fmla="*/ 7365 w 156857"/>
                <a:gd name="connsiteY0" fmla="*/ 356949 h 356949"/>
                <a:gd name="connsiteX1" fmla="*/ 1263 w 156857"/>
                <a:gd name="connsiteY1" fmla="*/ 353898 h 356949"/>
                <a:gd name="connsiteX2" fmla="*/ 4315 w 156857"/>
                <a:gd name="connsiteY2" fmla="*/ 344746 h 356949"/>
                <a:gd name="connsiteX3" fmla="*/ 111095 w 156857"/>
                <a:gd name="connsiteY3" fmla="*/ 268475 h 356949"/>
                <a:gd name="connsiteX4" fmla="*/ 144654 w 156857"/>
                <a:gd name="connsiteY4" fmla="*/ 6102 h 356949"/>
                <a:gd name="connsiteX5" fmla="*/ 150756 w 156857"/>
                <a:gd name="connsiteY5" fmla="*/ 0 h 356949"/>
                <a:gd name="connsiteX6" fmla="*/ 156858 w 156857"/>
                <a:gd name="connsiteY6" fmla="*/ 6102 h 356949"/>
                <a:gd name="connsiteX7" fmla="*/ 123297 w 156857"/>
                <a:gd name="connsiteY7" fmla="*/ 274576 h 356949"/>
                <a:gd name="connsiteX8" fmla="*/ 13467 w 156857"/>
                <a:gd name="connsiteY8" fmla="*/ 353898 h 356949"/>
                <a:gd name="connsiteX9" fmla="*/ 7365 w 156857"/>
                <a:gd name="connsiteY9" fmla="*/ 356949 h 35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857" h="356949">
                  <a:moveTo>
                    <a:pt x="7365" y="356949"/>
                  </a:moveTo>
                  <a:cubicBezTo>
                    <a:pt x="4315" y="356949"/>
                    <a:pt x="4315" y="356949"/>
                    <a:pt x="1263" y="353898"/>
                  </a:cubicBezTo>
                  <a:cubicBezTo>
                    <a:pt x="-1787" y="350847"/>
                    <a:pt x="1263" y="347797"/>
                    <a:pt x="4315" y="344746"/>
                  </a:cubicBezTo>
                  <a:cubicBezTo>
                    <a:pt x="43976" y="320339"/>
                    <a:pt x="101943" y="277627"/>
                    <a:pt x="111095" y="268475"/>
                  </a:cubicBezTo>
                  <a:cubicBezTo>
                    <a:pt x="120247" y="256271"/>
                    <a:pt x="135501" y="100678"/>
                    <a:pt x="144654" y="6102"/>
                  </a:cubicBezTo>
                  <a:cubicBezTo>
                    <a:pt x="144654" y="3051"/>
                    <a:pt x="147706" y="0"/>
                    <a:pt x="150756" y="0"/>
                  </a:cubicBezTo>
                  <a:cubicBezTo>
                    <a:pt x="153806" y="0"/>
                    <a:pt x="156858" y="3051"/>
                    <a:pt x="156858" y="6102"/>
                  </a:cubicBezTo>
                  <a:cubicBezTo>
                    <a:pt x="153806" y="48814"/>
                    <a:pt x="132451" y="259322"/>
                    <a:pt x="123297" y="274576"/>
                  </a:cubicBezTo>
                  <a:cubicBezTo>
                    <a:pt x="111095" y="289831"/>
                    <a:pt x="22620" y="347797"/>
                    <a:pt x="13467" y="353898"/>
                  </a:cubicBezTo>
                  <a:cubicBezTo>
                    <a:pt x="10417" y="356949"/>
                    <a:pt x="10417" y="356949"/>
                    <a:pt x="7365" y="356949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333F35DC-65AB-4D93-BE22-9671C095F3D6}"/>
                </a:ext>
              </a:extLst>
            </p:cNvPr>
            <p:cNvSpPr/>
            <p:nvPr/>
          </p:nvSpPr>
          <p:spPr>
            <a:xfrm>
              <a:off x="21087629" y="2292227"/>
              <a:ext cx="67117" cy="140338"/>
            </a:xfrm>
            <a:custGeom>
              <a:avLst/>
              <a:gdLst>
                <a:gd name="connsiteX0" fmla="*/ 0 w 67117"/>
                <a:gd name="connsiteY0" fmla="*/ 0 h 140338"/>
                <a:gd name="connsiteX1" fmla="*/ 64067 w 67117"/>
                <a:gd name="connsiteY1" fmla="*/ 140339 h 140338"/>
                <a:gd name="connsiteX2" fmla="*/ 67117 w 67117"/>
                <a:gd name="connsiteY2" fmla="*/ 54915 h 140338"/>
                <a:gd name="connsiteX3" fmla="*/ 0 w 67117"/>
                <a:gd name="connsiteY3" fmla="*/ 0 h 14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17" h="140338">
                  <a:moveTo>
                    <a:pt x="0" y="0"/>
                  </a:moveTo>
                  <a:cubicBezTo>
                    <a:pt x="0" y="0"/>
                    <a:pt x="12202" y="118983"/>
                    <a:pt x="64067" y="140339"/>
                  </a:cubicBezTo>
                  <a:lnTo>
                    <a:pt x="67117" y="549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61181ED2-ADEA-4E5E-B33E-3B395C8AC6AE}"/>
                </a:ext>
              </a:extLst>
            </p:cNvPr>
            <p:cNvSpPr/>
            <p:nvPr/>
          </p:nvSpPr>
          <p:spPr>
            <a:xfrm>
              <a:off x="21446699" y="2090871"/>
              <a:ext cx="101807" cy="237945"/>
            </a:xfrm>
            <a:custGeom>
              <a:avLst/>
              <a:gdLst>
                <a:gd name="connsiteX0" fmla="*/ 95504 w 101807"/>
                <a:gd name="connsiteY0" fmla="*/ 0 h 237945"/>
                <a:gd name="connsiteX1" fmla="*/ 52794 w 101807"/>
                <a:gd name="connsiteY1" fmla="*/ 234915 h 237945"/>
                <a:gd name="connsiteX2" fmla="*/ 929 w 101807"/>
                <a:gd name="connsiteY2" fmla="*/ 12203 h 237945"/>
                <a:gd name="connsiteX3" fmla="*/ 95504 w 101807"/>
                <a:gd name="connsiteY3" fmla="*/ 0 h 23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07" h="237945">
                  <a:moveTo>
                    <a:pt x="95504" y="0"/>
                  </a:moveTo>
                  <a:cubicBezTo>
                    <a:pt x="95504" y="0"/>
                    <a:pt x="126013" y="195254"/>
                    <a:pt x="52794" y="234915"/>
                  </a:cubicBezTo>
                  <a:cubicBezTo>
                    <a:pt x="-11275" y="268475"/>
                    <a:pt x="929" y="12203"/>
                    <a:pt x="929" y="12203"/>
                  </a:cubicBezTo>
                  <a:lnTo>
                    <a:pt x="95504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D4180CB3-88E7-4E6D-86E7-01672888A25A}"/>
                </a:ext>
              </a:extLst>
            </p:cNvPr>
            <p:cNvSpPr/>
            <p:nvPr/>
          </p:nvSpPr>
          <p:spPr>
            <a:xfrm>
              <a:off x="21090679" y="1949642"/>
              <a:ext cx="421356" cy="568951"/>
            </a:xfrm>
            <a:custGeom>
              <a:avLst/>
              <a:gdLst>
                <a:gd name="connsiteX0" fmla="*/ 411864 w 421356"/>
                <a:gd name="connsiteY0" fmla="*/ 183941 h 568951"/>
                <a:gd name="connsiteX1" fmla="*/ 411864 w 421356"/>
                <a:gd name="connsiteY1" fmla="*/ 434111 h 568951"/>
                <a:gd name="connsiteX2" fmla="*/ 253220 w 421356"/>
                <a:gd name="connsiteY2" fmla="*/ 568348 h 568951"/>
                <a:gd name="connsiteX3" fmla="*/ 36611 w 421356"/>
                <a:gd name="connsiteY3" fmla="*/ 424958 h 568951"/>
                <a:gd name="connsiteX4" fmla="*/ 0 w 421356"/>
                <a:gd name="connsiteY4" fmla="*/ 199195 h 568951"/>
                <a:gd name="connsiteX5" fmla="*/ 213559 w 421356"/>
                <a:gd name="connsiteY5" fmla="*/ 890 h 568951"/>
                <a:gd name="connsiteX6" fmla="*/ 411864 w 421356"/>
                <a:gd name="connsiteY6" fmla="*/ 183941 h 568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356" h="568951">
                  <a:moveTo>
                    <a:pt x="411864" y="183941"/>
                  </a:moveTo>
                  <a:cubicBezTo>
                    <a:pt x="411864" y="183941"/>
                    <a:pt x="433221" y="360890"/>
                    <a:pt x="411864" y="434111"/>
                  </a:cubicBezTo>
                  <a:cubicBezTo>
                    <a:pt x="393560" y="501229"/>
                    <a:pt x="302035" y="565297"/>
                    <a:pt x="253220" y="568348"/>
                  </a:cubicBezTo>
                  <a:cubicBezTo>
                    <a:pt x="186101" y="574450"/>
                    <a:pt x="67119" y="534789"/>
                    <a:pt x="36611" y="424958"/>
                  </a:cubicBezTo>
                  <a:cubicBezTo>
                    <a:pt x="15254" y="351738"/>
                    <a:pt x="0" y="251060"/>
                    <a:pt x="0" y="199195"/>
                  </a:cubicBezTo>
                  <a:cubicBezTo>
                    <a:pt x="3050" y="104619"/>
                    <a:pt x="27458" y="25297"/>
                    <a:pt x="213559" y="890"/>
                  </a:cubicBezTo>
                  <a:cubicBezTo>
                    <a:pt x="298983" y="-11313"/>
                    <a:pt x="393560" y="104619"/>
                    <a:pt x="411864" y="18394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0B2F8343-EE16-4F40-B9B6-9CFB6276631E}"/>
                </a:ext>
              </a:extLst>
            </p:cNvPr>
            <p:cNvSpPr/>
            <p:nvPr/>
          </p:nvSpPr>
          <p:spPr>
            <a:xfrm>
              <a:off x="21407190" y="2190951"/>
              <a:ext cx="41215" cy="41036"/>
            </a:xfrm>
            <a:custGeom>
              <a:avLst/>
              <a:gdLst>
                <a:gd name="connsiteX0" fmla="*/ 778 w 41215"/>
                <a:gd name="connsiteY0" fmla="*/ 25005 h 41036"/>
                <a:gd name="connsiteX1" fmla="*/ 25184 w 41215"/>
                <a:gd name="connsiteY1" fmla="*/ 40259 h 41036"/>
                <a:gd name="connsiteX2" fmla="*/ 40439 w 41215"/>
                <a:gd name="connsiteY2" fmla="*/ 15853 h 41036"/>
                <a:gd name="connsiteX3" fmla="*/ 16032 w 41215"/>
                <a:gd name="connsiteY3" fmla="*/ 598 h 41036"/>
                <a:gd name="connsiteX4" fmla="*/ 778 w 41215"/>
                <a:gd name="connsiteY4" fmla="*/ 25005 h 4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5" h="41036">
                  <a:moveTo>
                    <a:pt x="778" y="25005"/>
                  </a:moveTo>
                  <a:cubicBezTo>
                    <a:pt x="3828" y="37209"/>
                    <a:pt x="12980" y="43310"/>
                    <a:pt x="25184" y="40259"/>
                  </a:cubicBezTo>
                  <a:cubicBezTo>
                    <a:pt x="37387" y="37209"/>
                    <a:pt x="43489" y="28056"/>
                    <a:pt x="40439" y="15853"/>
                  </a:cubicBezTo>
                  <a:cubicBezTo>
                    <a:pt x="37387" y="6700"/>
                    <a:pt x="28234" y="-2452"/>
                    <a:pt x="16032" y="598"/>
                  </a:cubicBezTo>
                  <a:cubicBezTo>
                    <a:pt x="3828" y="3649"/>
                    <a:pt x="-2274" y="15853"/>
                    <a:pt x="778" y="25005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45FB5D2B-7DCA-4E51-A44F-63FCF7BAF395}"/>
                </a:ext>
              </a:extLst>
            </p:cNvPr>
            <p:cNvSpPr/>
            <p:nvPr/>
          </p:nvSpPr>
          <p:spPr>
            <a:xfrm>
              <a:off x="21224139" y="2209256"/>
              <a:ext cx="41215" cy="41036"/>
            </a:xfrm>
            <a:custGeom>
              <a:avLst/>
              <a:gdLst>
                <a:gd name="connsiteX0" fmla="*/ 778 w 41215"/>
                <a:gd name="connsiteY0" fmla="*/ 25005 h 41036"/>
                <a:gd name="connsiteX1" fmla="*/ 25184 w 41215"/>
                <a:gd name="connsiteY1" fmla="*/ 40259 h 41036"/>
                <a:gd name="connsiteX2" fmla="*/ 40439 w 41215"/>
                <a:gd name="connsiteY2" fmla="*/ 15853 h 41036"/>
                <a:gd name="connsiteX3" fmla="*/ 16032 w 41215"/>
                <a:gd name="connsiteY3" fmla="*/ 598 h 41036"/>
                <a:gd name="connsiteX4" fmla="*/ 778 w 41215"/>
                <a:gd name="connsiteY4" fmla="*/ 25005 h 4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5" h="41036">
                  <a:moveTo>
                    <a:pt x="778" y="25005"/>
                  </a:moveTo>
                  <a:cubicBezTo>
                    <a:pt x="3828" y="37209"/>
                    <a:pt x="12980" y="43310"/>
                    <a:pt x="25184" y="40259"/>
                  </a:cubicBezTo>
                  <a:cubicBezTo>
                    <a:pt x="37387" y="37209"/>
                    <a:pt x="43489" y="28056"/>
                    <a:pt x="40439" y="15853"/>
                  </a:cubicBezTo>
                  <a:cubicBezTo>
                    <a:pt x="37387" y="6700"/>
                    <a:pt x="28234" y="-2452"/>
                    <a:pt x="16032" y="598"/>
                  </a:cubicBezTo>
                  <a:cubicBezTo>
                    <a:pt x="3828" y="3649"/>
                    <a:pt x="-2274" y="12802"/>
                    <a:pt x="778" y="25005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4CB1875D-0AAA-4093-A8A4-1731D4A2FEC1}"/>
                </a:ext>
              </a:extLst>
            </p:cNvPr>
            <p:cNvSpPr/>
            <p:nvPr/>
          </p:nvSpPr>
          <p:spPr>
            <a:xfrm>
              <a:off x="21379246" y="2145786"/>
              <a:ext cx="92026" cy="30508"/>
            </a:xfrm>
            <a:custGeom>
              <a:avLst/>
              <a:gdLst>
                <a:gd name="connsiteX0" fmla="*/ 83637 w 92026"/>
                <a:gd name="connsiteY0" fmla="*/ 30508 h 30508"/>
                <a:gd name="connsiteX1" fmla="*/ 77535 w 92026"/>
                <a:gd name="connsiteY1" fmla="*/ 27458 h 30508"/>
                <a:gd name="connsiteX2" fmla="*/ 10416 w 92026"/>
                <a:gd name="connsiteY2" fmla="*/ 21356 h 30508"/>
                <a:gd name="connsiteX3" fmla="*/ 1263 w 92026"/>
                <a:gd name="connsiteY3" fmla="*/ 18305 h 30508"/>
                <a:gd name="connsiteX4" fmla="*/ 4313 w 92026"/>
                <a:gd name="connsiteY4" fmla="*/ 9153 h 30508"/>
                <a:gd name="connsiteX5" fmla="*/ 89739 w 92026"/>
                <a:gd name="connsiteY5" fmla="*/ 18305 h 30508"/>
                <a:gd name="connsiteX6" fmla="*/ 89739 w 92026"/>
                <a:gd name="connsiteY6" fmla="*/ 30508 h 30508"/>
                <a:gd name="connsiteX7" fmla="*/ 83637 w 92026"/>
                <a:gd name="connsiteY7" fmla="*/ 30508 h 3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0508">
                  <a:moveTo>
                    <a:pt x="83637" y="30508"/>
                  </a:moveTo>
                  <a:cubicBezTo>
                    <a:pt x="80585" y="30508"/>
                    <a:pt x="80585" y="30508"/>
                    <a:pt x="77535" y="27458"/>
                  </a:cubicBezTo>
                  <a:cubicBezTo>
                    <a:pt x="53128" y="0"/>
                    <a:pt x="10416" y="21356"/>
                    <a:pt x="10416" y="21356"/>
                  </a:cubicBezTo>
                  <a:cubicBezTo>
                    <a:pt x="7365" y="24407"/>
                    <a:pt x="1263" y="21356"/>
                    <a:pt x="1263" y="18305"/>
                  </a:cubicBezTo>
                  <a:cubicBezTo>
                    <a:pt x="-1787" y="15254"/>
                    <a:pt x="1263" y="9153"/>
                    <a:pt x="4313" y="9153"/>
                  </a:cubicBezTo>
                  <a:cubicBezTo>
                    <a:pt x="22620" y="0"/>
                    <a:pt x="62280" y="-9153"/>
                    <a:pt x="89739" y="18305"/>
                  </a:cubicBezTo>
                  <a:cubicBezTo>
                    <a:pt x="92789" y="21356"/>
                    <a:pt x="92789" y="27458"/>
                    <a:pt x="89739" y="30508"/>
                  </a:cubicBezTo>
                  <a:cubicBezTo>
                    <a:pt x="89739" y="30508"/>
                    <a:pt x="86687" y="30508"/>
                    <a:pt x="83637" y="30508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934696E3-9290-4C29-96D0-FCF47DE6DA0A}"/>
                </a:ext>
              </a:extLst>
            </p:cNvPr>
            <p:cNvSpPr/>
            <p:nvPr/>
          </p:nvSpPr>
          <p:spPr>
            <a:xfrm>
              <a:off x="21189069" y="2143046"/>
              <a:ext cx="92026" cy="36299"/>
            </a:xfrm>
            <a:custGeom>
              <a:avLst/>
              <a:gdLst>
                <a:gd name="connsiteX0" fmla="*/ 8390 w 92026"/>
                <a:gd name="connsiteY0" fmla="*/ 36300 h 36299"/>
                <a:gd name="connsiteX1" fmla="*/ 2288 w 92026"/>
                <a:gd name="connsiteY1" fmla="*/ 33249 h 36299"/>
                <a:gd name="connsiteX2" fmla="*/ 2288 w 92026"/>
                <a:gd name="connsiteY2" fmla="*/ 21046 h 36299"/>
                <a:gd name="connsiteX3" fmla="*/ 87711 w 92026"/>
                <a:gd name="connsiteY3" fmla="*/ 11893 h 36299"/>
                <a:gd name="connsiteX4" fmla="*/ 90763 w 92026"/>
                <a:gd name="connsiteY4" fmla="*/ 24096 h 36299"/>
                <a:gd name="connsiteX5" fmla="*/ 78559 w 92026"/>
                <a:gd name="connsiteY5" fmla="*/ 27147 h 36299"/>
                <a:gd name="connsiteX6" fmla="*/ 11440 w 92026"/>
                <a:gd name="connsiteY6" fmla="*/ 33249 h 36299"/>
                <a:gd name="connsiteX7" fmla="*/ 8390 w 92026"/>
                <a:gd name="connsiteY7" fmla="*/ 36300 h 3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6299">
                  <a:moveTo>
                    <a:pt x="8390" y="36300"/>
                  </a:moveTo>
                  <a:cubicBezTo>
                    <a:pt x="5340" y="36300"/>
                    <a:pt x="5340" y="36300"/>
                    <a:pt x="2288" y="33249"/>
                  </a:cubicBezTo>
                  <a:cubicBezTo>
                    <a:pt x="-763" y="30198"/>
                    <a:pt x="-763" y="24096"/>
                    <a:pt x="2288" y="21046"/>
                  </a:cubicBezTo>
                  <a:cubicBezTo>
                    <a:pt x="14492" y="5791"/>
                    <a:pt x="51102" y="-12514"/>
                    <a:pt x="87711" y="11893"/>
                  </a:cubicBezTo>
                  <a:cubicBezTo>
                    <a:pt x="90763" y="14944"/>
                    <a:pt x="93813" y="17995"/>
                    <a:pt x="90763" y="24096"/>
                  </a:cubicBezTo>
                  <a:cubicBezTo>
                    <a:pt x="87711" y="27147"/>
                    <a:pt x="84661" y="30198"/>
                    <a:pt x="78559" y="27147"/>
                  </a:cubicBezTo>
                  <a:cubicBezTo>
                    <a:pt x="41948" y="2740"/>
                    <a:pt x="14492" y="33249"/>
                    <a:pt x="11440" y="33249"/>
                  </a:cubicBezTo>
                  <a:cubicBezTo>
                    <a:pt x="11440" y="33249"/>
                    <a:pt x="11440" y="36300"/>
                    <a:pt x="8390" y="36300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869229BB-F390-4441-8816-ECB55E5DE28F}"/>
                </a:ext>
              </a:extLst>
            </p:cNvPr>
            <p:cNvSpPr/>
            <p:nvPr/>
          </p:nvSpPr>
          <p:spPr>
            <a:xfrm>
              <a:off x="21049654" y="2208368"/>
              <a:ext cx="78990" cy="114126"/>
            </a:xfrm>
            <a:custGeom>
              <a:avLst/>
              <a:gdLst>
                <a:gd name="connsiteX0" fmla="*/ 65431 w 78990"/>
                <a:gd name="connsiteY0" fmla="*/ 16740 h 114126"/>
                <a:gd name="connsiteX1" fmla="*/ 7466 w 78990"/>
                <a:gd name="connsiteY1" fmla="*/ 7587 h 114126"/>
                <a:gd name="connsiteX2" fmla="*/ 65431 w 78990"/>
                <a:gd name="connsiteY2" fmla="*/ 111316 h 114126"/>
                <a:gd name="connsiteX3" fmla="*/ 65431 w 78990"/>
                <a:gd name="connsiteY3" fmla="*/ 16740 h 11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90" h="114126">
                  <a:moveTo>
                    <a:pt x="65431" y="16740"/>
                  </a:moveTo>
                  <a:cubicBezTo>
                    <a:pt x="65431" y="16740"/>
                    <a:pt x="31873" y="-13769"/>
                    <a:pt x="7466" y="7587"/>
                  </a:cubicBezTo>
                  <a:cubicBezTo>
                    <a:pt x="-16942" y="25892"/>
                    <a:pt x="22721" y="132672"/>
                    <a:pt x="65431" y="111316"/>
                  </a:cubicBezTo>
                  <a:cubicBezTo>
                    <a:pt x="95940" y="89960"/>
                    <a:pt x="65431" y="16740"/>
                    <a:pt x="65431" y="16740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E97D2D46-0E18-4807-9AB7-4FE4D64696A3}"/>
                </a:ext>
              </a:extLst>
            </p:cNvPr>
            <p:cNvSpPr/>
            <p:nvPr/>
          </p:nvSpPr>
          <p:spPr>
            <a:xfrm>
              <a:off x="21052113" y="1835692"/>
              <a:ext cx="518087" cy="404670"/>
            </a:xfrm>
            <a:custGeom>
              <a:avLst/>
              <a:gdLst>
                <a:gd name="connsiteX0" fmla="*/ 5007 w 518087"/>
                <a:gd name="connsiteY0" fmla="*/ 303992 h 404670"/>
                <a:gd name="connsiteX1" fmla="*/ 62972 w 518087"/>
                <a:gd name="connsiteY1" fmla="*/ 404670 h 404670"/>
                <a:gd name="connsiteX2" fmla="*/ 114836 w 518087"/>
                <a:gd name="connsiteY2" fmla="*/ 264331 h 404670"/>
                <a:gd name="connsiteX3" fmla="*/ 123989 w 518087"/>
                <a:gd name="connsiteY3" fmla="*/ 261281 h 404670"/>
                <a:gd name="connsiteX4" fmla="*/ 200260 w 518087"/>
                <a:gd name="connsiteY4" fmla="*/ 233823 h 404670"/>
                <a:gd name="connsiteX5" fmla="*/ 212464 w 518087"/>
                <a:gd name="connsiteY5" fmla="*/ 230772 h 404670"/>
                <a:gd name="connsiteX6" fmla="*/ 249074 w 518087"/>
                <a:gd name="connsiteY6" fmla="*/ 252128 h 404670"/>
                <a:gd name="connsiteX7" fmla="*/ 264329 w 518087"/>
                <a:gd name="connsiteY7" fmla="*/ 242976 h 404670"/>
                <a:gd name="connsiteX8" fmla="*/ 316192 w 518087"/>
                <a:gd name="connsiteY8" fmla="*/ 258230 h 404670"/>
                <a:gd name="connsiteX9" fmla="*/ 352802 w 518087"/>
                <a:gd name="connsiteY9" fmla="*/ 267382 h 404670"/>
                <a:gd name="connsiteX10" fmla="*/ 365006 w 518087"/>
                <a:gd name="connsiteY10" fmla="*/ 267382 h 404670"/>
                <a:gd name="connsiteX11" fmla="*/ 377209 w 518087"/>
                <a:gd name="connsiteY11" fmla="*/ 264331 h 404670"/>
                <a:gd name="connsiteX12" fmla="*/ 386363 w 518087"/>
                <a:gd name="connsiteY12" fmla="*/ 270433 h 404670"/>
                <a:gd name="connsiteX13" fmla="*/ 392463 w 518087"/>
                <a:gd name="connsiteY13" fmla="*/ 273484 h 404670"/>
                <a:gd name="connsiteX14" fmla="*/ 398565 w 518087"/>
                <a:gd name="connsiteY14" fmla="*/ 273484 h 404670"/>
                <a:gd name="connsiteX15" fmla="*/ 404667 w 518087"/>
                <a:gd name="connsiteY15" fmla="*/ 276535 h 404670"/>
                <a:gd name="connsiteX16" fmla="*/ 410769 w 518087"/>
                <a:gd name="connsiteY16" fmla="*/ 285687 h 404670"/>
                <a:gd name="connsiteX17" fmla="*/ 429073 w 518087"/>
                <a:gd name="connsiteY17" fmla="*/ 307043 h 404670"/>
                <a:gd name="connsiteX18" fmla="*/ 459582 w 518087"/>
                <a:gd name="connsiteY18" fmla="*/ 319247 h 404670"/>
                <a:gd name="connsiteX19" fmla="*/ 477888 w 518087"/>
                <a:gd name="connsiteY19" fmla="*/ 374162 h 404670"/>
                <a:gd name="connsiteX20" fmla="*/ 487040 w 518087"/>
                <a:gd name="connsiteY20" fmla="*/ 343654 h 404670"/>
                <a:gd name="connsiteX21" fmla="*/ 496192 w 518087"/>
                <a:gd name="connsiteY21" fmla="*/ 340603 h 404670"/>
                <a:gd name="connsiteX22" fmla="*/ 514497 w 518087"/>
                <a:gd name="connsiteY22" fmla="*/ 242976 h 404670"/>
                <a:gd name="connsiteX23" fmla="*/ 496192 w 518087"/>
                <a:gd name="connsiteY23" fmla="*/ 200264 h 404670"/>
                <a:gd name="connsiteX24" fmla="*/ 499242 w 518087"/>
                <a:gd name="connsiteY24" fmla="*/ 166704 h 404670"/>
                <a:gd name="connsiteX25" fmla="*/ 493142 w 518087"/>
                <a:gd name="connsiteY25" fmla="*/ 130094 h 404670"/>
                <a:gd name="connsiteX26" fmla="*/ 474836 w 518087"/>
                <a:gd name="connsiteY26" fmla="*/ 102637 h 404670"/>
                <a:gd name="connsiteX27" fmla="*/ 459582 w 518087"/>
                <a:gd name="connsiteY27" fmla="*/ 59925 h 404670"/>
                <a:gd name="connsiteX28" fmla="*/ 398565 w 518087"/>
                <a:gd name="connsiteY28" fmla="*/ 38569 h 404670"/>
                <a:gd name="connsiteX29" fmla="*/ 273481 w 518087"/>
                <a:gd name="connsiteY29" fmla="*/ 1959 h 404670"/>
                <a:gd name="connsiteX30" fmla="*/ 261277 w 518087"/>
                <a:gd name="connsiteY30" fmla="*/ 8060 h 404670"/>
                <a:gd name="connsiteX31" fmla="*/ 206362 w 518087"/>
                <a:gd name="connsiteY31" fmla="*/ 23315 h 404670"/>
                <a:gd name="connsiteX32" fmla="*/ 172803 w 518087"/>
                <a:gd name="connsiteY32" fmla="*/ 26365 h 404670"/>
                <a:gd name="connsiteX33" fmla="*/ 142295 w 518087"/>
                <a:gd name="connsiteY33" fmla="*/ 59925 h 404670"/>
                <a:gd name="connsiteX34" fmla="*/ 130091 w 518087"/>
                <a:gd name="connsiteY34" fmla="*/ 78230 h 404670"/>
                <a:gd name="connsiteX35" fmla="*/ 99582 w 518087"/>
                <a:gd name="connsiteY35" fmla="*/ 99586 h 404670"/>
                <a:gd name="connsiteX36" fmla="*/ 87378 w 518087"/>
                <a:gd name="connsiteY36" fmla="*/ 96535 h 404670"/>
                <a:gd name="connsiteX37" fmla="*/ 69074 w 518087"/>
                <a:gd name="connsiteY37" fmla="*/ 136196 h 404670"/>
                <a:gd name="connsiteX38" fmla="*/ 5007 w 518087"/>
                <a:gd name="connsiteY38" fmla="*/ 303992 h 40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8087" h="404670">
                  <a:moveTo>
                    <a:pt x="5007" y="303992"/>
                  </a:moveTo>
                  <a:cubicBezTo>
                    <a:pt x="20261" y="358908"/>
                    <a:pt x="62972" y="404670"/>
                    <a:pt x="62972" y="404670"/>
                  </a:cubicBezTo>
                  <a:cubicBezTo>
                    <a:pt x="56870" y="374162"/>
                    <a:pt x="114836" y="264331"/>
                    <a:pt x="114836" y="264331"/>
                  </a:cubicBezTo>
                  <a:cubicBezTo>
                    <a:pt x="114836" y="264331"/>
                    <a:pt x="117886" y="264331"/>
                    <a:pt x="123989" y="261281"/>
                  </a:cubicBezTo>
                  <a:cubicBezTo>
                    <a:pt x="151447" y="261281"/>
                    <a:pt x="178903" y="252128"/>
                    <a:pt x="200260" y="233823"/>
                  </a:cubicBezTo>
                  <a:cubicBezTo>
                    <a:pt x="203312" y="233823"/>
                    <a:pt x="209412" y="230772"/>
                    <a:pt x="212464" y="230772"/>
                  </a:cubicBezTo>
                  <a:cubicBezTo>
                    <a:pt x="221616" y="242976"/>
                    <a:pt x="230768" y="255179"/>
                    <a:pt x="249074" y="252128"/>
                  </a:cubicBezTo>
                  <a:cubicBezTo>
                    <a:pt x="258227" y="252128"/>
                    <a:pt x="261277" y="242976"/>
                    <a:pt x="264329" y="242976"/>
                  </a:cubicBezTo>
                  <a:cubicBezTo>
                    <a:pt x="285683" y="233823"/>
                    <a:pt x="297887" y="249077"/>
                    <a:pt x="316192" y="258230"/>
                  </a:cubicBezTo>
                  <a:cubicBezTo>
                    <a:pt x="328396" y="264331"/>
                    <a:pt x="340600" y="267382"/>
                    <a:pt x="352802" y="267382"/>
                  </a:cubicBezTo>
                  <a:cubicBezTo>
                    <a:pt x="355854" y="267382"/>
                    <a:pt x="361954" y="264331"/>
                    <a:pt x="365006" y="267382"/>
                  </a:cubicBezTo>
                  <a:cubicBezTo>
                    <a:pt x="371108" y="264331"/>
                    <a:pt x="374158" y="264331"/>
                    <a:pt x="377209" y="264331"/>
                  </a:cubicBezTo>
                  <a:cubicBezTo>
                    <a:pt x="380260" y="267382"/>
                    <a:pt x="383311" y="267382"/>
                    <a:pt x="386363" y="270433"/>
                  </a:cubicBezTo>
                  <a:cubicBezTo>
                    <a:pt x="389413" y="270433"/>
                    <a:pt x="389413" y="273484"/>
                    <a:pt x="392463" y="273484"/>
                  </a:cubicBezTo>
                  <a:cubicBezTo>
                    <a:pt x="395515" y="273484"/>
                    <a:pt x="395515" y="273484"/>
                    <a:pt x="398565" y="273484"/>
                  </a:cubicBezTo>
                  <a:cubicBezTo>
                    <a:pt x="401617" y="273484"/>
                    <a:pt x="404667" y="276535"/>
                    <a:pt x="404667" y="276535"/>
                  </a:cubicBezTo>
                  <a:cubicBezTo>
                    <a:pt x="407717" y="279586"/>
                    <a:pt x="410769" y="282637"/>
                    <a:pt x="410769" y="285687"/>
                  </a:cubicBezTo>
                  <a:cubicBezTo>
                    <a:pt x="416871" y="294840"/>
                    <a:pt x="419921" y="300942"/>
                    <a:pt x="429073" y="307043"/>
                  </a:cubicBezTo>
                  <a:cubicBezTo>
                    <a:pt x="435175" y="313145"/>
                    <a:pt x="447379" y="313145"/>
                    <a:pt x="459582" y="319247"/>
                  </a:cubicBezTo>
                  <a:cubicBezTo>
                    <a:pt x="474836" y="337552"/>
                    <a:pt x="480938" y="355857"/>
                    <a:pt x="477888" y="374162"/>
                  </a:cubicBezTo>
                  <a:cubicBezTo>
                    <a:pt x="477888" y="374162"/>
                    <a:pt x="480938" y="361959"/>
                    <a:pt x="487040" y="343654"/>
                  </a:cubicBezTo>
                  <a:cubicBezTo>
                    <a:pt x="490090" y="346704"/>
                    <a:pt x="493142" y="346704"/>
                    <a:pt x="496192" y="340603"/>
                  </a:cubicBezTo>
                  <a:cubicBezTo>
                    <a:pt x="514497" y="310094"/>
                    <a:pt x="523651" y="276535"/>
                    <a:pt x="514497" y="242976"/>
                  </a:cubicBezTo>
                  <a:cubicBezTo>
                    <a:pt x="511447" y="227721"/>
                    <a:pt x="502294" y="215518"/>
                    <a:pt x="496192" y="200264"/>
                  </a:cubicBezTo>
                  <a:cubicBezTo>
                    <a:pt x="487040" y="181959"/>
                    <a:pt x="496192" y="181959"/>
                    <a:pt x="499242" y="166704"/>
                  </a:cubicBezTo>
                  <a:cubicBezTo>
                    <a:pt x="502294" y="154501"/>
                    <a:pt x="496192" y="142298"/>
                    <a:pt x="493142" y="130094"/>
                  </a:cubicBezTo>
                  <a:cubicBezTo>
                    <a:pt x="487040" y="120942"/>
                    <a:pt x="480938" y="111789"/>
                    <a:pt x="474836" y="102637"/>
                  </a:cubicBezTo>
                  <a:cubicBezTo>
                    <a:pt x="462634" y="87382"/>
                    <a:pt x="465684" y="75179"/>
                    <a:pt x="459582" y="59925"/>
                  </a:cubicBezTo>
                  <a:cubicBezTo>
                    <a:pt x="447379" y="32467"/>
                    <a:pt x="422971" y="38569"/>
                    <a:pt x="398565" y="38569"/>
                  </a:cubicBezTo>
                  <a:cubicBezTo>
                    <a:pt x="355854" y="38569"/>
                    <a:pt x="319244" y="-10245"/>
                    <a:pt x="273481" y="1959"/>
                  </a:cubicBezTo>
                  <a:cubicBezTo>
                    <a:pt x="267379" y="1959"/>
                    <a:pt x="264329" y="5009"/>
                    <a:pt x="261277" y="8060"/>
                  </a:cubicBezTo>
                  <a:cubicBezTo>
                    <a:pt x="242972" y="17213"/>
                    <a:pt x="224666" y="23315"/>
                    <a:pt x="206362" y="23315"/>
                  </a:cubicBezTo>
                  <a:cubicBezTo>
                    <a:pt x="194158" y="23315"/>
                    <a:pt x="185005" y="20264"/>
                    <a:pt x="172803" y="26365"/>
                  </a:cubicBezTo>
                  <a:cubicBezTo>
                    <a:pt x="157549" y="32467"/>
                    <a:pt x="151447" y="47721"/>
                    <a:pt x="142295" y="59925"/>
                  </a:cubicBezTo>
                  <a:cubicBezTo>
                    <a:pt x="139243" y="66026"/>
                    <a:pt x="133141" y="72128"/>
                    <a:pt x="130091" y="78230"/>
                  </a:cubicBezTo>
                  <a:cubicBezTo>
                    <a:pt x="117886" y="84331"/>
                    <a:pt x="108734" y="93484"/>
                    <a:pt x="99582" y="99586"/>
                  </a:cubicBezTo>
                  <a:cubicBezTo>
                    <a:pt x="99582" y="96535"/>
                    <a:pt x="102632" y="84331"/>
                    <a:pt x="87378" y="96535"/>
                  </a:cubicBezTo>
                  <a:cubicBezTo>
                    <a:pt x="72124" y="105687"/>
                    <a:pt x="69074" y="120942"/>
                    <a:pt x="69074" y="136196"/>
                  </a:cubicBezTo>
                  <a:cubicBezTo>
                    <a:pt x="-1095" y="160603"/>
                    <a:pt x="-7198" y="249077"/>
                    <a:pt x="5007" y="303992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DCB4B21B-6F34-4FF1-861A-37A63A93677E}"/>
                </a:ext>
              </a:extLst>
            </p:cNvPr>
            <p:cNvSpPr/>
            <p:nvPr/>
          </p:nvSpPr>
          <p:spPr>
            <a:xfrm>
              <a:off x="21166950" y="2429515"/>
              <a:ext cx="250169" cy="258417"/>
            </a:xfrm>
            <a:custGeom>
              <a:avLst/>
              <a:gdLst>
                <a:gd name="connsiteX0" fmla="*/ 250170 w 250169"/>
                <a:gd name="connsiteY0" fmla="*/ 39661 h 258417"/>
                <a:gd name="connsiteX1" fmla="*/ 244068 w 250169"/>
                <a:gd name="connsiteY1" fmla="*/ 213559 h 258417"/>
                <a:gd name="connsiteX2" fmla="*/ 0 w 250169"/>
                <a:gd name="connsiteY2" fmla="*/ 204407 h 258417"/>
                <a:gd name="connsiteX3" fmla="*/ 15254 w 250169"/>
                <a:gd name="connsiteY3" fmla="*/ 0 h 258417"/>
                <a:gd name="connsiteX4" fmla="*/ 250170 w 250169"/>
                <a:gd name="connsiteY4" fmla="*/ 39661 h 25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69" h="258417">
                  <a:moveTo>
                    <a:pt x="250170" y="39661"/>
                  </a:moveTo>
                  <a:cubicBezTo>
                    <a:pt x="250170" y="39661"/>
                    <a:pt x="244068" y="140339"/>
                    <a:pt x="244068" y="213559"/>
                  </a:cubicBezTo>
                  <a:cubicBezTo>
                    <a:pt x="244068" y="213559"/>
                    <a:pt x="149492" y="320339"/>
                    <a:pt x="0" y="204407"/>
                  </a:cubicBezTo>
                  <a:cubicBezTo>
                    <a:pt x="0" y="143390"/>
                    <a:pt x="12204" y="64068"/>
                    <a:pt x="15254" y="0"/>
                  </a:cubicBezTo>
                  <a:cubicBezTo>
                    <a:pt x="15254" y="0"/>
                    <a:pt x="198305" y="51864"/>
                    <a:pt x="250170" y="3966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19FA549E-DD29-4F9E-9DF7-6F8D1463CBDF}"/>
                </a:ext>
              </a:extLst>
            </p:cNvPr>
            <p:cNvSpPr/>
            <p:nvPr/>
          </p:nvSpPr>
          <p:spPr>
            <a:xfrm>
              <a:off x="20755085" y="2594261"/>
              <a:ext cx="1223843" cy="1567951"/>
            </a:xfrm>
            <a:custGeom>
              <a:avLst/>
              <a:gdLst>
                <a:gd name="connsiteX0" fmla="*/ 396610 w 1223843"/>
                <a:gd name="connsiteY0" fmla="*/ 0 h 1567951"/>
                <a:gd name="connsiteX1" fmla="*/ 686441 w 1223843"/>
                <a:gd name="connsiteY1" fmla="*/ 0 h 1567951"/>
                <a:gd name="connsiteX2" fmla="*/ 985423 w 1223843"/>
                <a:gd name="connsiteY2" fmla="*/ 131186 h 1567951"/>
                <a:gd name="connsiteX3" fmla="*/ 1070847 w 1223843"/>
                <a:gd name="connsiteY3" fmla="*/ 1537627 h 1567951"/>
                <a:gd name="connsiteX4" fmla="*/ 0 w 1223843"/>
                <a:gd name="connsiteY4" fmla="*/ 1513220 h 1567951"/>
                <a:gd name="connsiteX5" fmla="*/ 115932 w 1223843"/>
                <a:gd name="connsiteY5" fmla="*/ 103729 h 1567951"/>
                <a:gd name="connsiteX6" fmla="*/ 396610 w 1223843"/>
                <a:gd name="connsiteY6" fmla="*/ 0 h 156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3843" h="1567951">
                  <a:moveTo>
                    <a:pt x="396610" y="0"/>
                  </a:moveTo>
                  <a:cubicBezTo>
                    <a:pt x="396610" y="0"/>
                    <a:pt x="570509" y="54915"/>
                    <a:pt x="686441" y="0"/>
                  </a:cubicBezTo>
                  <a:cubicBezTo>
                    <a:pt x="686441" y="0"/>
                    <a:pt x="961017" y="97627"/>
                    <a:pt x="985423" y="131186"/>
                  </a:cubicBezTo>
                  <a:cubicBezTo>
                    <a:pt x="1009830" y="161695"/>
                    <a:pt x="1449153" y="1202034"/>
                    <a:pt x="1070847" y="1537627"/>
                  </a:cubicBezTo>
                  <a:cubicBezTo>
                    <a:pt x="1070847" y="1537627"/>
                    <a:pt x="579661" y="1620000"/>
                    <a:pt x="0" y="1513220"/>
                  </a:cubicBezTo>
                  <a:cubicBezTo>
                    <a:pt x="0" y="1156271"/>
                    <a:pt x="73221" y="134237"/>
                    <a:pt x="115932" y="103729"/>
                  </a:cubicBezTo>
                  <a:cubicBezTo>
                    <a:pt x="155592" y="70170"/>
                    <a:pt x="396610" y="0"/>
                    <a:pt x="396610" y="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9BD33ABC-37BB-48CC-9C1B-C686EC8A324F}"/>
                </a:ext>
              </a:extLst>
            </p:cNvPr>
            <p:cNvSpPr/>
            <p:nvPr/>
          </p:nvSpPr>
          <p:spPr>
            <a:xfrm>
              <a:off x="21730001" y="2717990"/>
              <a:ext cx="249737" cy="852542"/>
            </a:xfrm>
            <a:custGeom>
              <a:avLst/>
              <a:gdLst>
                <a:gd name="connsiteX0" fmla="*/ 245423 w 249737"/>
                <a:gd name="connsiteY0" fmla="*/ 852542 h 852542"/>
                <a:gd name="connsiteX1" fmla="*/ 239321 w 249737"/>
                <a:gd name="connsiteY1" fmla="*/ 846441 h 852542"/>
                <a:gd name="connsiteX2" fmla="*/ 1356 w 249737"/>
                <a:gd name="connsiteY2" fmla="*/ 10508 h 852542"/>
                <a:gd name="connsiteX3" fmla="*/ 1356 w 249737"/>
                <a:gd name="connsiteY3" fmla="*/ 1356 h 852542"/>
                <a:gd name="connsiteX4" fmla="*/ 10508 w 249737"/>
                <a:gd name="connsiteY4" fmla="*/ 1356 h 852542"/>
                <a:gd name="connsiteX5" fmla="*/ 248474 w 249737"/>
                <a:gd name="connsiteY5" fmla="*/ 843390 h 852542"/>
                <a:gd name="connsiteX6" fmla="*/ 245423 w 249737"/>
                <a:gd name="connsiteY6" fmla="*/ 852542 h 852542"/>
                <a:gd name="connsiteX7" fmla="*/ 245423 w 249737"/>
                <a:gd name="connsiteY7" fmla="*/ 852542 h 85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737" h="852542">
                  <a:moveTo>
                    <a:pt x="245423" y="852542"/>
                  </a:moveTo>
                  <a:cubicBezTo>
                    <a:pt x="242373" y="852542"/>
                    <a:pt x="239321" y="849492"/>
                    <a:pt x="239321" y="846441"/>
                  </a:cubicBezTo>
                  <a:cubicBezTo>
                    <a:pt x="239321" y="840339"/>
                    <a:pt x="141694" y="205763"/>
                    <a:pt x="1356" y="10508"/>
                  </a:cubicBezTo>
                  <a:cubicBezTo>
                    <a:pt x="-1695" y="7458"/>
                    <a:pt x="1356" y="4407"/>
                    <a:pt x="1356" y="1356"/>
                  </a:cubicBezTo>
                  <a:cubicBezTo>
                    <a:pt x="4406" y="-1695"/>
                    <a:pt x="7458" y="1356"/>
                    <a:pt x="10508" y="1356"/>
                  </a:cubicBezTo>
                  <a:cubicBezTo>
                    <a:pt x="150848" y="199661"/>
                    <a:pt x="248474" y="837288"/>
                    <a:pt x="248474" y="843390"/>
                  </a:cubicBezTo>
                  <a:cubicBezTo>
                    <a:pt x="251525" y="846441"/>
                    <a:pt x="248474" y="849492"/>
                    <a:pt x="245423" y="852542"/>
                  </a:cubicBezTo>
                  <a:cubicBezTo>
                    <a:pt x="245423" y="852542"/>
                    <a:pt x="245423" y="852542"/>
                    <a:pt x="245423" y="852542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D8832A16-5BE5-498D-B609-2C15F3B40BB7}"/>
                </a:ext>
              </a:extLst>
            </p:cNvPr>
            <p:cNvSpPr/>
            <p:nvPr/>
          </p:nvSpPr>
          <p:spPr>
            <a:xfrm>
              <a:off x="21182204" y="2463075"/>
              <a:ext cx="245331" cy="64067"/>
            </a:xfrm>
            <a:custGeom>
              <a:avLst/>
              <a:gdLst>
                <a:gd name="connsiteX0" fmla="*/ 137288 w 245331"/>
                <a:gd name="connsiteY0" fmla="*/ 64068 h 64067"/>
                <a:gd name="connsiteX1" fmla="*/ 125084 w 245331"/>
                <a:gd name="connsiteY1" fmla="*/ 64068 h 64067"/>
                <a:gd name="connsiteX2" fmla="*/ 51865 w 245331"/>
                <a:gd name="connsiteY2" fmla="*/ 36610 h 64067"/>
                <a:gd name="connsiteX3" fmla="*/ 3050 w 245331"/>
                <a:gd name="connsiteY3" fmla="*/ 12203 h 64067"/>
                <a:gd name="connsiteX4" fmla="*/ 0 w 245331"/>
                <a:gd name="connsiteY4" fmla="*/ 3051 h 64067"/>
                <a:gd name="connsiteX5" fmla="*/ 9152 w 245331"/>
                <a:gd name="connsiteY5" fmla="*/ 0 h 64067"/>
                <a:gd name="connsiteX6" fmla="*/ 57967 w 245331"/>
                <a:gd name="connsiteY6" fmla="*/ 24407 h 64067"/>
                <a:gd name="connsiteX7" fmla="*/ 149492 w 245331"/>
                <a:gd name="connsiteY7" fmla="*/ 51864 h 64067"/>
                <a:gd name="connsiteX8" fmla="*/ 161695 w 245331"/>
                <a:gd name="connsiteY8" fmla="*/ 51864 h 64067"/>
                <a:gd name="connsiteX9" fmla="*/ 210509 w 245331"/>
                <a:gd name="connsiteY9" fmla="*/ 33559 h 64067"/>
                <a:gd name="connsiteX10" fmla="*/ 219661 w 245331"/>
                <a:gd name="connsiteY10" fmla="*/ 27458 h 64067"/>
                <a:gd name="connsiteX11" fmla="*/ 225763 w 245331"/>
                <a:gd name="connsiteY11" fmla="*/ 27458 h 64067"/>
                <a:gd name="connsiteX12" fmla="*/ 234916 w 245331"/>
                <a:gd name="connsiteY12" fmla="*/ 21356 h 64067"/>
                <a:gd name="connsiteX13" fmla="*/ 244068 w 245331"/>
                <a:gd name="connsiteY13" fmla="*/ 24407 h 64067"/>
                <a:gd name="connsiteX14" fmla="*/ 241018 w 245331"/>
                <a:gd name="connsiteY14" fmla="*/ 33559 h 64067"/>
                <a:gd name="connsiteX15" fmla="*/ 216609 w 245331"/>
                <a:gd name="connsiteY15" fmla="*/ 45763 h 64067"/>
                <a:gd name="connsiteX16" fmla="*/ 161695 w 245331"/>
                <a:gd name="connsiteY16" fmla="*/ 64068 h 64067"/>
                <a:gd name="connsiteX17" fmla="*/ 137288 w 245331"/>
                <a:gd name="connsiteY17" fmla="*/ 64068 h 64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5331" h="64067">
                  <a:moveTo>
                    <a:pt x="137288" y="64068"/>
                  </a:moveTo>
                  <a:cubicBezTo>
                    <a:pt x="131186" y="64068"/>
                    <a:pt x="128136" y="64068"/>
                    <a:pt x="125084" y="64068"/>
                  </a:cubicBezTo>
                  <a:cubicBezTo>
                    <a:pt x="106780" y="61017"/>
                    <a:pt x="76271" y="48814"/>
                    <a:pt x="51865" y="36610"/>
                  </a:cubicBezTo>
                  <a:cubicBezTo>
                    <a:pt x="24406" y="24407"/>
                    <a:pt x="3050" y="12203"/>
                    <a:pt x="3050" y="12203"/>
                  </a:cubicBezTo>
                  <a:cubicBezTo>
                    <a:pt x="0" y="9153"/>
                    <a:pt x="0" y="6102"/>
                    <a:pt x="0" y="3051"/>
                  </a:cubicBezTo>
                  <a:cubicBezTo>
                    <a:pt x="3050" y="0"/>
                    <a:pt x="6102" y="0"/>
                    <a:pt x="9152" y="0"/>
                  </a:cubicBezTo>
                  <a:cubicBezTo>
                    <a:pt x="9152" y="0"/>
                    <a:pt x="30508" y="12203"/>
                    <a:pt x="57967" y="24407"/>
                  </a:cubicBezTo>
                  <a:cubicBezTo>
                    <a:pt x="88475" y="36610"/>
                    <a:pt x="125084" y="51864"/>
                    <a:pt x="149492" y="51864"/>
                  </a:cubicBezTo>
                  <a:cubicBezTo>
                    <a:pt x="152542" y="51864"/>
                    <a:pt x="158644" y="51864"/>
                    <a:pt x="161695" y="51864"/>
                  </a:cubicBezTo>
                  <a:cubicBezTo>
                    <a:pt x="180001" y="48814"/>
                    <a:pt x="198305" y="39661"/>
                    <a:pt x="210509" y="33559"/>
                  </a:cubicBezTo>
                  <a:cubicBezTo>
                    <a:pt x="216609" y="30508"/>
                    <a:pt x="219661" y="27458"/>
                    <a:pt x="219661" y="27458"/>
                  </a:cubicBezTo>
                  <a:cubicBezTo>
                    <a:pt x="222712" y="27458"/>
                    <a:pt x="222712" y="24407"/>
                    <a:pt x="225763" y="27458"/>
                  </a:cubicBezTo>
                  <a:cubicBezTo>
                    <a:pt x="231864" y="24407"/>
                    <a:pt x="234916" y="21356"/>
                    <a:pt x="234916" y="21356"/>
                  </a:cubicBezTo>
                  <a:cubicBezTo>
                    <a:pt x="237966" y="18305"/>
                    <a:pt x="241018" y="21356"/>
                    <a:pt x="244068" y="24407"/>
                  </a:cubicBezTo>
                  <a:cubicBezTo>
                    <a:pt x="247118" y="27458"/>
                    <a:pt x="244068" y="30508"/>
                    <a:pt x="241018" y="33559"/>
                  </a:cubicBezTo>
                  <a:cubicBezTo>
                    <a:pt x="241018" y="33559"/>
                    <a:pt x="231864" y="39661"/>
                    <a:pt x="216609" y="45763"/>
                  </a:cubicBezTo>
                  <a:cubicBezTo>
                    <a:pt x="204407" y="51864"/>
                    <a:pt x="186101" y="61017"/>
                    <a:pt x="161695" y="64068"/>
                  </a:cubicBezTo>
                  <a:cubicBezTo>
                    <a:pt x="152542" y="64068"/>
                    <a:pt x="146440" y="64068"/>
                    <a:pt x="137288" y="64068"/>
                  </a:cubicBezTo>
                  <a:close/>
                </a:path>
              </a:pathLst>
            </a:custGeom>
            <a:solidFill>
              <a:srgbClr val="E87952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8" name="图形 1">
              <a:extLst>
                <a:ext uri="{FF2B5EF4-FFF2-40B4-BE49-F238E27FC236}">
                  <a16:creationId xmlns:a16="http://schemas.microsoft.com/office/drawing/2014/main" id="{15625ACD-8C2B-4408-A4E4-827D74EADCEA}"/>
                </a:ext>
              </a:extLst>
            </p:cNvPr>
            <p:cNvGrpSpPr/>
            <p:nvPr/>
          </p:nvGrpSpPr>
          <p:grpSpPr>
            <a:xfrm>
              <a:off x="20811526" y="1744728"/>
              <a:ext cx="799632" cy="346143"/>
              <a:chOff x="20811526" y="1744728"/>
              <a:chExt cx="799632" cy="346143"/>
            </a:xfrm>
          </p:grpSpPr>
          <p:grpSp>
            <p:nvGrpSpPr>
              <p:cNvPr id="127" name="图形 1">
                <a:extLst>
                  <a:ext uri="{FF2B5EF4-FFF2-40B4-BE49-F238E27FC236}">
                    <a16:creationId xmlns:a16="http://schemas.microsoft.com/office/drawing/2014/main" id="{E0FCA0C3-08C5-454F-B650-21887209C975}"/>
                  </a:ext>
                </a:extLst>
              </p:cNvPr>
              <p:cNvGrpSpPr/>
              <p:nvPr/>
            </p:nvGrpSpPr>
            <p:grpSpPr>
              <a:xfrm>
                <a:off x="20811526" y="1744728"/>
                <a:ext cx="773413" cy="325789"/>
                <a:chOff x="20811526" y="1744728"/>
                <a:chExt cx="773413" cy="325789"/>
              </a:xfrm>
            </p:grpSpPr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D0935540-7169-4F89-988B-96F3EE4547B2}"/>
                    </a:ext>
                  </a:extLst>
                </p:cNvPr>
                <p:cNvSpPr/>
                <p:nvPr/>
              </p:nvSpPr>
              <p:spPr>
                <a:xfrm>
                  <a:off x="20965595" y="1744728"/>
                  <a:ext cx="619345" cy="325789"/>
                </a:xfrm>
                <a:custGeom>
                  <a:avLst/>
                  <a:gdLst>
                    <a:gd name="connsiteX0" fmla="*/ 442373 w 619345"/>
                    <a:gd name="connsiteY0" fmla="*/ 19703 h 325789"/>
                    <a:gd name="connsiteX1" fmla="*/ 3050 w 619345"/>
                    <a:gd name="connsiteY1" fmla="*/ 138686 h 325789"/>
                    <a:gd name="connsiteX2" fmla="*/ 0 w 619345"/>
                    <a:gd name="connsiteY2" fmla="*/ 147838 h 325789"/>
                    <a:gd name="connsiteX3" fmla="*/ 76271 w 619345"/>
                    <a:gd name="connsiteY3" fmla="*/ 208855 h 325789"/>
                    <a:gd name="connsiteX4" fmla="*/ 54915 w 619345"/>
                    <a:gd name="connsiteY4" fmla="*/ 294279 h 325789"/>
                    <a:gd name="connsiteX5" fmla="*/ 57965 w 619345"/>
                    <a:gd name="connsiteY5" fmla="*/ 300381 h 325789"/>
                    <a:gd name="connsiteX6" fmla="*/ 64067 w 619345"/>
                    <a:gd name="connsiteY6" fmla="*/ 303431 h 325789"/>
                    <a:gd name="connsiteX7" fmla="*/ 399660 w 619345"/>
                    <a:gd name="connsiteY7" fmla="*/ 324787 h 325789"/>
                    <a:gd name="connsiteX8" fmla="*/ 613220 w 619345"/>
                    <a:gd name="connsiteY8" fmla="*/ 282075 h 325789"/>
                    <a:gd name="connsiteX9" fmla="*/ 619322 w 619345"/>
                    <a:gd name="connsiteY9" fmla="*/ 272923 h 325789"/>
                    <a:gd name="connsiteX10" fmla="*/ 442373 w 619345"/>
                    <a:gd name="connsiteY10" fmla="*/ 19703 h 325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19345" h="325789">
                      <a:moveTo>
                        <a:pt x="442373" y="19703"/>
                      </a:moveTo>
                      <a:cubicBezTo>
                        <a:pt x="277626" y="-29111"/>
                        <a:pt x="118982" y="13601"/>
                        <a:pt x="3050" y="138686"/>
                      </a:cubicBezTo>
                      <a:cubicBezTo>
                        <a:pt x="0" y="141736"/>
                        <a:pt x="0" y="144787"/>
                        <a:pt x="0" y="147838"/>
                      </a:cubicBezTo>
                      <a:cubicBezTo>
                        <a:pt x="0" y="150889"/>
                        <a:pt x="21354" y="196652"/>
                        <a:pt x="76271" y="208855"/>
                      </a:cubicBezTo>
                      <a:cubicBezTo>
                        <a:pt x="61017" y="248516"/>
                        <a:pt x="54915" y="291228"/>
                        <a:pt x="54915" y="294279"/>
                      </a:cubicBezTo>
                      <a:cubicBezTo>
                        <a:pt x="54915" y="297330"/>
                        <a:pt x="54915" y="300381"/>
                        <a:pt x="57965" y="300381"/>
                      </a:cubicBezTo>
                      <a:cubicBezTo>
                        <a:pt x="57965" y="303431"/>
                        <a:pt x="61017" y="303431"/>
                        <a:pt x="64067" y="303431"/>
                      </a:cubicBezTo>
                      <a:cubicBezTo>
                        <a:pt x="204405" y="324787"/>
                        <a:pt x="314237" y="327838"/>
                        <a:pt x="399660" y="324787"/>
                      </a:cubicBezTo>
                      <a:cubicBezTo>
                        <a:pt x="539999" y="315635"/>
                        <a:pt x="610170" y="285126"/>
                        <a:pt x="613220" y="282075"/>
                      </a:cubicBezTo>
                      <a:cubicBezTo>
                        <a:pt x="616270" y="282075"/>
                        <a:pt x="619322" y="279025"/>
                        <a:pt x="619322" y="272923"/>
                      </a:cubicBezTo>
                      <a:cubicBezTo>
                        <a:pt x="619322" y="272923"/>
                        <a:pt x="625424" y="74618"/>
                        <a:pt x="442373" y="1970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2" name="任意多边形: 形状 131">
                  <a:extLst>
                    <a:ext uri="{FF2B5EF4-FFF2-40B4-BE49-F238E27FC236}">
                      <a16:creationId xmlns:a16="http://schemas.microsoft.com/office/drawing/2014/main" id="{A4511820-1B6B-4566-B479-102BD84E3832}"/>
                    </a:ext>
                  </a:extLst>
                </p:cNvPr>
                <p:cNvSpPr/>
                <p:nvPr/>
              </p:nvSpPr>
              <p:spPr>
                <a:xfrm>
                  <a:off x="20811526" y="1779685"/>
                  <a:ext cx="216229" cy="205603"/>
                </a:xfrm>
                <a:custGeom>
                  <a:avLst/>
                  <a:gdLst>
                    <a:gd name="connsiteX0" fmla="*/ 215085 w 216229"/>
                    <a:gd name="connsiteY0" fmla="*/ 97627 h 205603"/>
                    <a:gd name="connsiteX1" fmla="*/ 205931 w 216229"/>
                    <a:gd name="connsiteY1" fmla="*/ 67119 h 205603"/>
                    <a:gd name="connsiteX2" fmla="*/ 193729 w 216229"/>
                    <a:gd name="connsiteY2" fmla="*/ 57966 h 205603"/>
                    <a:gd name="connsiteX3" fmla="*/ 181525 w 216229"/>
                    <a:gd name="connsiteY3" fmla="*/ 30508 h 205603"/>
                    <a:gd name="connsiteX4" fmla="*/ 160169 w 216229"/>
                    <a:gd name="connsiteY4" fmla="*/ 21356 h 205603"/>
                    <a:gd name="connsiteX5" fmla="*/ 144914 w 216229"/>
                    <a:gd name="connsiteY5" fmla="*/ 21356 h 205603"/>
                    <a:gd name="connsiteX6" fmla="*/ 99152 w 216229"/>
                    <a:gd name="connsiteY6" fmla="*/ 0 h 205603"/>
                    <a:gd name="connsiteX7" fmla="*/ 56441 w 216229"/>
                    <a:gd name="connsiteY7" fmla="*/ 30508 h 205603"/>
                    <a:gd name="connsiteX8" fmla="*/ 13728 w 216229"/>
                    <a:gd name="connsiteY8" fmla="*/ 73220 h 205603"/>
                    <a:gd name="connsiteX9" fmla="*/ 13728 w 216229"/>
                    <a:gd name="connsiteY9" fmla="*/ 128136 h 205603"/>
                    <a:gd name="connsiteX10" fmla="*/ 22880 w 216229"/>
                    <a:gd name="connsiteY10" fmla="*/ 170847 h 205603"/>
                    <a:gd name="connsiteX11" fmla="*/ 50339 w 216229"/>
                    <a:gd name="connsiteY11" fmla="*/ 183051 h 205603"/>
                    <a:gd name="connsiteX12" fmla="*/ 56441 w 216229"/>
                    <a:gd name="connsiteY12" fmla="*/ 183051 h 205603"/>
                    <a:gd name="connsiteX13" fmla="*/ 56441 w 216229"/>
                    <a:gd name="connsiteY13" fmla="*/ 183051 h 205603"/>
                    <a:gd name="connsiteX14" fmla="*/ 83897 w 216229"/>
                    <a:gd name="connsiteY14" fmla="*/ 204407 h 205603"/>
                    <a:gd name="connsiteX15" fmla="*/ 117458 w 216229"/>
                    <a:gd name="connsiteY15" fmla="*/ 198305 h 205603"/>
                    <a:gd name="connsiteX16" fmla="*/ 141864 w 216229"/>
                    <a:gd name="connsiteY16" fmla="*/ 198305 h 205603"/>
                    <a:gd name="connsiteX17" fmla="*/ 169323 w 216229"/>
                    <a:gd name="connsiteY17" fmla="*/ 176949 h 205603"/>
                    <a:gd name="connsiteX18" fmla="*/ 175423 w 216229"/>
                    <a:gd name="connsiteY18" fmla="*/ 161695 h 205603"/>
                    <a:gd name="connsiteX19" fmla="*/ 193729 w 216229"/>
                    <a:gd name="connsiteY19" fmla="*/ 146441 h 205603"/>
                    <a:gd name="connsiteX20" fmla="*/ 193729 w 216229"/>
                    <a:gd name="connsiteY20" fmla="*/ 118983 h 205603"/>
                    <a:gd name="connsiteX21" fmla="*/ 196779 w 216229"/>
                    <a:gd name="connsiteY21" fmla="*/ 115932 h 205603"/>
                    <a:gd name="connsiteX22" fmla="*/ 215085 w 216229"/>
                    <a:gd name="connsiteY22" fmla="*/ 97627 h 205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16229" h="205603">
                      <a:moveTo>
                        <a:pt x="215085" y="97627"/>
                      </a:moveTo>
                      <a:cubicBezTo>
                        <a:pt x="218135" y="88475"/>
                        <a:pt x="215085" y="73220"/>
                        <a:pt x="205931" y="67119"/>
                      </a:cubicBezTo>
                      <a:cubicBezTo>
                        <a:pt x="202881" y="64068"/>
                        <a:pt x="196779" y="61017"/>
                        <a:pt x="193729" y="57966"/>
                      </a:cubicBezTo>
                      <a:cubicBezTo>
                        <a:pt x="193729" y="48814"/>
                        <a:pt x="190677" y="39661"/>
                        <a:pt x="181525" y="30508"/>
                      </a:cubicBezTo>
                      <a:cubicBezTo>
                        <a:pt x="175423" y="24407"/>
                        <a:pt x="169323" y="21356"/>
                        <a:pt x="160169" y="21356"/>
                      </a:cubicBezTo>
                      <a:cubicBezTo>
                        <a:pt x="157118" y="21356"/>
                        <a:pt x="151016" y="21356"/>
                        <a:pt x="144914" y="21356"/>
                      </a:cubicBezTo>
                      <a:cubicBezTo>
                        <a:pt x="135762" y="9153"/>
                        <a:pt x="120508" y="0"/>
                        <a:pt x="99152" y="0"/>
                      </a:cubicBezTo>
                      <a:cubicBezTo>
                        <a:pt x="80847" y="3051"/>
                        <a:pt x="65593" y="15254"/>
                        <a:pt x="56441" y="30508"/>
                      </a:cubicBezTo>
                      <a:cubicBezTo>
                        <a:pt x="28982" y="30508"/>
                        <a:pt x="13728" y="51864"/>
                        <a:pt x="13728" y="73220"/>
                      </a:cubicBezTo>
                      <a:cubicBezTo>
                        <a:pt x="-4576" y="88475"/>
                        <a:pt x="-4576" y="115932"/>
                        <a:pt x="13728" y="128136"/>
                      </a:cubicBezTo>
                      <a:cubicBezTo>
                        <a:pt x="10678" y="143390"/>
                        <a:pt x="13728" y="158644"/>
                        <a:pt x="22880" y="170847"/>
                      </a:cubicBezTo>
                      <a:cubicBezTo>
                        <a:pt x="28982" y="180000"/>
                        <a:pt x="38135" y="183051"/>
                        <a:pt x="50339" y="183051"/>
                      </a:cubicBezTo>
                      <a:cubicBezTo>
                        <a:pt x="53389" y="183051"/>
                        <a:pt x="53389" y="183051"/>
                        <a:pt x="56441" y="183051"/>
                      </a:cubicBezTo>
                      <a:cubicBezTo>
                        <a:pt x="56441" y="183051"/>
                        <a:pt x="56441" y="183051"/>
                        <a:pt x="56441" y="183051"/>
                      </a:cubicBezTo>
                      <a:cubicBezTo>
                        <a:pt x="62543" y="195254"/>
                        <a:pt x="71695" y="204407"/>
                        <a:pt x="83897" y="204407"/>
                      </a:cubicBezTo>
                      <a:cubicBezTo>
                        <a:pt x="96102" y="207458"/>
                        <a:pt x="108306" y="204407"/>
                        <a:pt x="117458" y="198305"/>
                      </a:cubicBezTo>
                      <a:cubicBezTo>
                        <a:pt x="126610" y="201356"/>
                        <a:pt x="132712" y="201356"/>
                        <a:pt x="141864" y="198305"/>
                      </a:cubicBezTo>
                      <a:cubicBezTo>
                        <a:pt x="154068" y="195254"/>
                        <a:pt x="163221" y="189153"/>
                        <a:pt x="169323" y="176949"/>
                      </a:cubicBezTo>
                      <a:cubicBezTo>
                        <a:pt x="172373" y="173898"/>
                        <a:pt x="175423" y="167797"/>
                        <a:pt x="175423" y="161695"/>
                      </a:cubicBezTo>
                      <a:cubicBezTo>
                        <a:pt x="181525" y="158644"/>
                        <a:pt x="190677" y="155593"/>
                        <a:pt x="193729" y="146441"/>
                      </a:cubicBezTo>
                      <a:cubicBezTo>
                        <a:pt x="199831" y="134237"/>
                        <a:pt x="196779" y="128136"/>
                        <a:pt x="193729" y="118983"/>
                      </a:cubicBezTo>
                      <a:cubicBezTo>
                        <a:pt x="193729" y="118983"/>
                        <a:pt x="196779" y="118983"/>
                        <a:pt x="196779" y="115932"/>
                      </a:cubicBezTo>
                      <a:cubicBezTo>
                        <a:pt x="212033" y="112881"/>
                        <a:pt x="215085" y="106780"/>
                        <a:pt x="215085" y="9762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BDBF4646-3FA8-42E2-9E25-A09B0E3F5EE9}"/>
                  </a:ext>
                </a:extLst>
              </p:cNvPr>
              <p:cNvSpPr/>
              <p:nvPr/>
            </p:nvSpPr>
            <p:spPr>
              <a:xfrm>
                <a:off x="21020510" y="1902481"/>
                <a:ext cx="54152" cy="118220"/>
              </a:xfrm>
              <a:custGeom>
                <a:avLst/>
                <a:gdLst>
                  <a:gd name="connsiteX0" fmla="*/ 6102 w 54152"/>
                  <a:gd name="connsiteY0" fmla="*/ 118220 h 118220"/>
                  <a:gd name="connsiteX1" fmla="*/ 6102 w 54152"/>
                  <a:gd name="connsiteY1" fmla="*/ 118220 h 118220"/>
                  <a:gd name="connsiteX2" fmla="*/ 0 w 54152"/>
                  <a:gd name="connsiteY2" fmla="*/ 112119 h 118220"/>
                  <a:gd name="connsiteX3" fmla="*/ 42711 w 54152"/>
                  <a:gd name="connsiteY3" fmla="*/ 2288 h 118220"/>
                  <a:gd name="connsiteX4" fmla="*/ 51865 w 54152"/>
                  <a:gd name="connsiteY4" fmla="*/ 2288 h 118220"/>
                  <a:gd name="connsiteX5" fmla="*/ 51865 w 54152"/>
                  <a:gd name="connsiteY5" fmla="*/ 11441 h 118220"/>
                  <a:gd name="connsiteX6" fmla="*/ 12202 w 54152"/>
                  <a:gd name="connsiteY6" fmla="*/ 118220 h 118220"/>
                  <a:gd name="connsiteX7" fmla="*/ 6102 w 54152"/>
                  <a:gd name="connsiteY7" fmla="*/ 118220 h 11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152" h="118220">
                    <a:moveTo>
                      <a:pt x="6102" y="118220"/>
                    </a:moveTo>
                    <a:cubicBezTo>
                      <a:pt x="6102" y="118220"/>
                      <a:pt x="6102" y="118220"/>
                      <a:pt x="6102" y="118220"/>
                    </a:cubicBezTo>
                    <a:cubicBezTo>
                      <a:pt x="3050" y="118220"/>
                      <a:pt x="0" y="115169"/>
                      <a:pt x="0" y="112119"/>
                    </a:cubicBezTo>
                    <a:cubicBezTo>
                      <a:pt x="0" y="109068"/>
                      <a:pt x="12202" y="45000"/>
                      <a:pt x="42711" y="2288"/>
                    </a:cubicBezTo>
                    <a:cubicBezTo>
                      <a:pt x="45763" y="-763"/>
                      <a:pt x="48813" y="-763"/>
                      <a:pt x="51865" y="2288"/>
                    </a:cubicBezTo>
                    <a:cubicBezTo>
                      <a:pt x="54915" y="5339"/>
                      <a:pt x="54915" y="8390"/>
                      <a:pt x="51865" y="11441"/>
                    </a:cubicBezTo>
                    <a:cubicBezTo>
                      <a:pt x="24406" y="51102"/>
                      <a:pt x="12202" y="118220"/>
                      <a:pt x="12202" y="118220"/>
                    </a:cubicBezTo>
                    <a:cubicBezTo>
                      <a:pt x="12202" y="118220"/>
                      <a:pt x="9152" y="118220"/>
                      <a:pt x="6102" y="11822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A78E2676-24C6-46FD-A8EE-EB592C9A69B4}"/>
                  </a:ext>
                </a:extLst>
              </p:cNvPr>
              <p:cNvSpPr/>
              <p:nvPr/>
            </p:nvSpPr>
            <p:spPr>
              <a:xfrm>
                <a:off x="20996865" y="1982487"/>
                <a:ext cx="614294" cy="102477"/>
              </a:xfrm>
              <a:custGeom>
                <a:avLst/>
                <a:gdLst>
                  <a:gd name="connsiteX0" fmla="*/ 575847 w 614294"/>
                  <a:gd name="connsiteY0" fmla="*/ 1605 h 102477"/>
                  <a:gd name="connsiteX1" fmla="*/ 29747 w 614294"/>
                  <a:gd name="connsiteY1" fmla="*/ 22961 h 102477"/>
                  <a:gd name="connsiteX2" fmla="*/ 29747 w 614294"/>
                  <a:gd name="connsiteY2" fmla="*/ 87028 h 102477"/>
                  <a:gd name="connsiteX3" fmla="*/ 591102 w 614294"/>
                  <a:gd name="connsiteY3" fmla="*/ 62622 h 102477"/>
                  <a:gd name="connsiteX4" fmla="*/ 575847 w 614294"/>
                  <a:gd name="connsiteY4" fmla="*/ 1605 h 102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4294" h="102477">
                    <a:moveTo>
                      <a:pt x="575847" y="1605"/>
                    </a:moveTo>
                    <a:cubicBezTo>
                      <a:pt x="395849" y="53469"/>
                      <a:pt x="212798" y="41266"/>
                      <a:pt x="29747" y="22961"/>
                    </a:cubicBezTo>
                    <a:cubicBezTo>
                      <a:pt x="-9916" y="19910"/>
                      <a:pt x="-9916" y="83978"/>
                      <a:pt x="29747" y="87028"/>
                    </a:cubicBezTo>
                    <a:cubicBezTo>
                      <a:pt x="218898" y="105333"/>
                      <a:pt x="408051" y="117537"/>
                      <a:pt x="591102" y="62622"/>
                    </a:cubicBezTo>
                    <a:cubicBezTo>
                      <a:pt x="630762" y="50418"/>
                      <a:pt x="615508" y="-10599"/>
                      <a:pt x="575847" y="1605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C87BC01B-4BF0-4540-9B9F-8B757B41C0B8}"/>
                  </a:ext>
                </a:extLst>
              </p:cNvPr>
              <p:cNvSpPr/>
              <p:nvPr/>
            </p:nvSpPr>
            <p:spPr>
              <a:xfrm>
                <a:off x="20986949" y="1998955"/>
                <a:ext cx="601017" cy="91916"/>
              </a:xfrm>
              <a:custGeom>
                <a:avLst/>
                <a:gdLst>
                  <a:gd name="connsiteX0" fmla="*/ 295933 w 601017"/>
                  <a:gd name="connsiteY0" fmla="*/ 91916 h 91916"/>
                  <a:gd name="connsiteX1" fmla="*/ 36611 w 601017"/>
                  <a:gd name="connsiteY1" fmla="*/ 76662 h 91916"/>
                  <a:gd name="connsiteX2" fmla="*/ 0 w 601017"/>
                  <a:gd name="connsiteY2" fmla="*/ 30899 h 91916"/>
                  <a:gd name="connsiteX3" fmla="*/ 36611 w 601017"/>
                  <a:gd name="connsiteY3" fmla="*/ 391 h 91916"/>
                  <a:gd name="connsiteX4" fmla="*/ 222713 w 601017"/>
                  <a:gd name="connsiteY4" fmla="*/ 12594 h 91916"/>
                  <a:gd name="connsiteX5" fmla="*/ 228814 w 601017"/>
                  <a:gd name="connsiteY5" fmla="*/ 18696 h 91916"/>
                  <a:gd name="connsiteX6" fmla="*/ 222713 w 601017"/>
                  <a:gd name="connsiteY6" fmla="*/ 24797 h 91916"/>
                  <a:gd name="connsiteX7" fmla="*/ 222713 w 601017"/>
                  <a:gd name="connsiteY7" fmla="*/ 24797 h 91916"/>
                  <a:gd name="connsiteX8" fmla="*/ 33560 w 601017"/>
                  <a:gd name="connsiteY8" fmla="*/ 9543 h 91916"/>
                  <a:gd name="connsiteX9" fmla="*/ 9154 w 601017"/>
                  <a:gd name="connsiteY9" fmla="*/ 30899 h 91916"/>
                  <a:gd name="connsiteX10" fmla="*/ 33560 w 601017"/>
                  <a:gd name="connsiteY10" fmla="*/ 64458 h 91916"/>
                  <a:gd name="connsiteX11" fmla="*/ 594915 w 601017"/>
                  <a:gd name="connsiteY11" fmla="*/ 40052 h 91916"/>
                  <a:gd name="connsiteX12" fmla="*/ 601017 w 601017"/>
                  <a:gd name="connsiteY12" fmla="*/ 43103 h 91916"/>
                  <a:gd name="connsiteX13" fmla="*/ 597967 w 601017"/>
                  <a:gd name="connsiteY13" fmla="*/ 49204 h 91916"/>
                  <a:gd name="connsiteX14" fmla="*/ 295933 w 601017"/>
                  <a:gd name="connsiteY14" fmla="*/ 91916 h 91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01017" h="91916">
                    <a:moveTo>
                      <a:pt x="295933" y="91916"/>
                    </a:moveTo>
                    <a:cubicBezTo>
                      <a:pt x="210509" y="91916"/>
                      <a:pt x="125086" y="85814"/>
                      <a:pt x="36611" y="76662"/>
                    </a:cubicBezTo>
                    <a:cubicBezTo>
                      <a:pt x="12204" y="73611"/>
                      <a:pt x="0" y="52255"/>
                      <a:pt x="0" y="30899"/>
                    </a:cubicBezTo>
                    <a:cubicBezTo>
                      <a:pt x="3052" y="12594"/>
                      <a:pt x="12204" y="-2660"/>
                      <a:pt x="36611" y="391"/>
                    </a:cubicBezTo>
                    <a:cubicBezTo>
                      <a:pt x="36611" y="391"/>
                      <a:pt x="180001" y="12594"/>
                      <a:pt x="222713" y="12594"/>
                    </a:cubicBezTo>
                    <a:cubicBezTo>
                      <a:pt x="225763" y="12594"/>
                      <a:pt x="228814" y="15645"/>
                      <a:pt x="228814" y="18696"/>
                    </a:cubicBezTo>
                    <a:cubicBezTo>
                      <a:pt x="228814" y="21747"/>
                      <a:pt x="225763" y="24797"/>
                      <a:pt x="222713" y="24797"/>
                    </a:cubicBezTo>
                    <a:lnTo>
                      <a:pt x="222713" y="24797"/>
                    </a:lnTo>
                    <a:cubicBezTo>
                      <a:pt x="176951" y="24797"/>
                      <a:pt x="36611" y="12594"/>
                      <a:pt x="33560" y="9543"/>
                    </a:cubicBezTo>
                    <a:cubicBezTo>
                      <a:pt x="18306" y="9543"/>
                      <a:pt x="9154" y="18696"/>
                      <a:pt x="9154" y="30899"/>
                    </a:cubicBezTo>
                    <a:cubicBezTo>
                      <a:pt x="9154" y="46153"/>
                      <a:pt x="15254" y="61408"/>
                      <a:pt x="33560" y="64458"/>
                    </a:cubicBezTo>
                    <a:cubicBezTo>
                      <a:pt x="225763" y="82764"/>
                      <a:pt x="411864" y="94967"/>
                      <a:pt x="594915" y="40052"/>
                    </a:cubicBezTo>
                    <a:cubicBezTo>
                      <a:pt x="597967" y="40052"/>
                      <a:pt x="601017" y="40052"/>
                      <a:pt x="601017" y="43103"/>
                    </a:cubicBezTo>
                    <a:cubicBezTo>
                      <a:pt x="601017" y="46153"/>
                      <a:pt x="601017" y="49204"/>
                      <a:pt x="597967" y="49204"/>
                    </a:cubicBezTo>
                    <a:cubicBezTo>
                      <a:pt x="503390" y="79713"/>
                      <a:pt x="399662" y="91916"/>
                      <a:pt x="295933" y="9191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C97685BE-A2DD-40A9-9857-EF6535EF46DB}"/>
                </a:ext>
              </a:extLst>
            </p:cNvPr>
            <p:cNvSpPr/>
            <p:nvPr/>
          </p:nvSpPr>
          <p:spPr>
            <a:xfrm>
              <a:off x="21074727" y="2142736"/>
              <a:ext cx="520509" cy="589182"/>
            </a:xfrm>
            <a:custGeom>
              <a:avLst/>
              <a:gdLst>
                <a:gd name="connsiteX0" fmla="*/ 15952 w 520509"/>
                <a:gd name="connsiteY0" fmla="*/ 143390 h 589182"/>
                <a:gd name="connsiteX1" fmla="*/ 3748 w 520509"/>
                <a:gd name="connsiteY1" fmla="*/ 12203 h 589182"/>
                <a:gd name="connsiteX2" fmla="*/ 64765 w 520509"/>
                <a:gd name="connsiteY2" fmla="*/ 0 h 589182"/>
                <a:gd name="connsiteX3" fmla="*/ 101375 w 520509"/>
                <a:gd name="connsiteY3" fmla="*/ 222712 h 589182"/>
                <a:gd name="connsiteX4" fmla="*/ 232561 w 520509"/>
                <a:gd name="connsiteY4" fmla="*/ 216610 h 589182"/>
                <a:gd name="connsiteX5" fmla="*/ 272224 w 520509"/>
                <a:gd name="connsiteY5" fmla="*/ 207458 h 589182"/>
                <a:gd name="connsiteX6" fmla="*/ 363749 w 520509"/>
                <a:gd name="connsiteY6" fmla="*/ 244068 h 589182"/>
                <a:gd name="connsiteX7" fmla="*/ 440021 w 520509"/>
                <a:gd name="connsiteY7" fmla="*/ 125085 h 589182"/>
                <a:gd name="connsiteX8" fmla="*/ 473579 w 520509"/>
                <a:gd name="connsiteY8" fmla="*/ 103729 h 589182"/>
                <a:gd name="connsiteX9" fmla="*/ 452223 w 520509"/>
                <a:gd name="connsiteY9" fmla="*/ 201356 h 589182"/>
                <a:gd name="connsiteX10" fmla="*/ 458325 w 520509"/>
                <a:gd name="connsiteY10" fmla="*/ 503390 h 589182"/>
                <a:gd name="connsiteX11" fmla="*/ 455275 w 520509"/>
                <a:gd name="connsiteY11" fmla="*/ 576610 h 589182"/>
                <a:gd name="connsiteX12" fmla="*/ 698 w 520509"/>
                <a:gd name="connsiteY12" fmla="*/ 274576 h 589182"/>
                <a:gd name="connsiteX13" fmla="*/ 15952 w 520509"/>
                <a:gd name="connsiteY13" fmla="*/ 143390 h 58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0509" h="589182">
                  <a:moveTo>
                    <a:pt x="15952" y="143390"/>
                  </a:moveTo>
                  <a:cubicBezTo>
                    <a:pt x="15952" y="143390"/>
                    <a:pt x="3748" y="12203"/>
                    <a:pt x="3748" y="12203"/>
                  </a:cubicBezTo>
                  <a:cubicBezTo>
                    <a:pt x="22054" y="9153"/>
                    <a:pt x="49511" y="6102"/>
                    <a:pt x="64765" y="0"/>
                  </a:cubicBezTo>
                  <a:cubicBezTo>
                    <a:pt x="64765" y="33559"/>
                    <a:pt x="76969" y="204407"/>
                    <a:pt x="101375" y="222712"/>
                  </a:cubicBezTo>
                  <a:cubicBezTo>
                    <a:pt x="134936" y="244068"/>
                    <a:pt x="214257" y="256271"/>
                    <a:pt x="232561" y="216610"/>
                  </a:cubicBezTo>
                  <a:cubicBezTo>
                    <a:pt x="232561" y="216610"/>
                    <a:pt x="256970" y="231864"/>
                    <a:pt x="272224" y="207458"/>
                  </a:cubicBezTo>
                  <a:cubicBezTo>
                    <a:pt x="272224" y="207458"/>
                    <a:pt x="302732" y="247119"/>
                    <a:pt x="363749" y="244068"/>
                  </a:cubicBezTo>
                  <a:cubicBezTo>
                    <a:pt x="394258" y="241017"/>
                    <a:pt x="433919" y="155593"/>
                    <a:pt x="440021" y="125085"/>
                  </a:cubicBezTo>
                  <a:cubicBezTo>
                    <a:pt x="452223" y="131186"/>
                    <a:pt x="461375" y="103729"/>
                    <a:pt x="473579" y="103729"/>
                  </a:cubicBezTo>
                  <a:cubicBezTo>
                    <a:pt x="473579" y="106780"/>
                    <a:pt x="452223" y="198305"/>
                    <a:pt x="452223" y="201356"/>
                  </a:cubicBezTo>
                  <a:cubicBezTo>
                    <a:pt x="452223" y="201356"/>
                    <a:pt x="601715" y="414915"/>
                    <a:pt x="458325" y="503390"/>
                  </a:cubicBezTo>
                  <a:cubicBezTo>
                    <a:pt x="418664" y="527797"/>
                    <a:pt x="455275" y="576610"/>
                    <a:pt x="455275" y="576610"/>
                  </a:cubicBezTo>
                  <a:cubicBezTo>
                    <a:pt x="455275" y="576610"/>
                    <a:pt x="-20658" y="683390"/>
                    <a:pt x="698" y="274576"/>
                  </a:cubicBezTo>
                  <a:cubicBezTo>
                    <a:pt x="3748" y="204407"/>
                    <a:pt x="19002" y="143390"/>
                    <a:pt x="15952" y="143390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A36F2E2C-D581-438F-92C6-7BA1A834793A}"/>
                </a:ext>
              </a:extLst>
            </p:cNvPr>
            <p:cNvSpPr/>
            <p:nvPr/>
          </p:nvSpPr>
          <p:spPr>
            <a:xfrm>
              <a:off x="21221865" y="2327525"/>
              <a:ext cx="253219" cy="70909"/>
            </a:xfrm>
            <a:custGeom>
              <a:avLst/>
              <a:gdLst>
                <a:gd name="connsiteX0" fmla="*/ 192203 w 253219"/>
                <a:gd name="connsiteY0" fmla="*/ 7414 h 70909"/>
                <a:gd name="connsiteX1" fmla="*/ 253220 w 253219"/>
                <a:gd name="connsiteY1" fmla="*/ 34871 h 70909"/>
                <a:gd name="connsiteX2" fmla="*/ 134238 w 253219"/>
                <a:gd name="connsiteY2" fmla="*/ 56227 h 70909"/>
                <a:gd name="connsiteX3" fmla="*/ 0 w 253219"/>
                <a:gd name="connsiteY3" fmla="*/ 31820 h 70909"/>
                <a:gd name="connsiteX4" fmla="*/ 48815 w 253219"/>
                <a:gd name="connsiteY4" fmla="*/ 25719 h 70909"/>
                <a:gd name="connsiteX5" fmla="*/ 128136 w 253219"/>
                <a:gd name="connsiteY5" fmla="*/ 10464 h 70909"/>
                <a:gd name="connsiteX6" fmla="*/ 192203 w 253219"/>
                <a:gd name="connsiteY6" fmla="*/ 7414 h 7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219" h="70909">
                  <a:moveTo>
                    <a:pt x="192203" y="7414"/>
                  </a:moveTo>
                  <a:cubicBezTo>
                    <a:pt x="216611" y="19617"/>
                    <a:pt x="222712" y="40973"/>
                    <a:pt x="253220" y="34871"/>
                  </a:cubicBezTo>
                  <a:cubicBezTo>
                    <a:pt x="253220" y="34871"/>
                    <a:pt x="204407" y="98939"/>
                    <a:pt x="134238" y="56227"/>
                  </a:cubicBezTo>
                  <a:cubicBezTo>
                    <a:pt x="134238" y="56227"/>
                    <a:pt x="45763" y="98939"/>
                    <a:pt x="0" y="31820"/>
                  </a:cubicBezTo>
                  <a:cubicBezTo>
                    <a:pt x="0" y="31820"/>
                    <a:pt x="33560" y="34871"/>
                    <a:pt x="48815" y="25719"/>
                  </a:cubicBezTo>
                  <a:cubicBezTo>
                    <a:pt x="64069" y="16566"/>
                    <a:pt x="85423" y="-10892"/>
                    <a:pt x="128136" y="10464"/>
                  </a:cubicBezTo>
                  <a:cubicBezTo>
                    <a:pt x="128136" y="10464"/>
                    <a:pt x="155594" y="-10892"/>
                    <a:pt x="192203" y="7414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1" name="图形 1">
              <a:extLst>
                <a:ext uri="{FF2B5EF4-FFF2-40B4-BE49-F238E27FC236}">
                  <a16:creationId xmlns:a16="http://schemas.microsoft.com/office/drawing/2014/main" id="{07B90CFF-234B-4363-9530-CE7B1DCFB6B5}"/>
                </a:ext>
              </a:extLst>
            </p:cNvPr>
            <p:cNvGrpSpPr/>
            <p:nvPr/>
          </p:nvGrpSpPr>
          <p:grpSpPr>
            <a:xfrm>
              <a:off x="21313390" y="2215956"/>
              <a:ext cx="57966" cy="137288"/>
              <a:chOff x="21313390" y="2215956"/>
              <a:chExt cx="57966" cy="137288"/>
            </a:xfrm>
          </p:grpSpPr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8E214D66-1750-421F-9B38-74E1CE49989F}"/>
                  </a:ext>
                </a:extLst>
              </p:cNvPr>
              <p:cNvSpPr/>
              <p:nvPr/>
            </p:nvSpPr>
            <p:spPr>
              <a:xfrm>
                <a:off x="21319492" y="2219007"/>
                <a:ext cx="48812" cy="125505"/>
              </a:xfrm>
              <a:custGeom>
                <a:avLst/>
                <a:gdLst>
                  <a:gd name="connsiteX0" fmla="*/ 33559 w 48812"/>
                  <a:gd name="connsiteY0" fmla="*/ 0 h 125505"/>
                  <a:gd name="connsiteX1" fmla="*/ 48813 w 48812"/>
                  <a:gd name="connsiteY1" fmla="*/ 112881 h 125505"/>
                  <a:gd name="connsiteX2" fmla="*/ 0 w 48812"/>
                  <a:gd name="connsiteY2" fmla="*/ 122034 h 125505"/>
                  <a:gd name="connsiteX3" fmla="*/ 33559 w 48812"/>
                  <a:gd name="connsiteY3" fmla="*/ 0 h 12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2" h="125505">
                    <a:moveTo>
                      <a:pt x="33559" y="0"/>
                    </a:moveTo>
                    <a:cubicBezTo>
                      <a:pt x="33559" y="0"/>
                      <a:pt x="48813" y="91525"/>
                      <a:pt x="48813" y="112881"/>
                    </a:cubicBezTo>
                    <a:cubicBezTo>
                      <a:pt x="48813" y="134237"/>
                      <a:pt x="0" y="122034"/>
                      <a:pt x="0" y="122034"/>
                    </a:cubicBezTo>
                    <a:lnTo>
                      <a:pt x="33559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8DAA5656-3D03-419E-AED6-DD26E02E03E5}"/>
                  </a:ext>
                </a:extLst>
              </p:cNvPr>
              <p:cNvSpPr/>
              <p:nvPr/>
            </p:nvSpPr>
            <p:spPr>
              <a:xfrm>
                <a:off x="21313390" y="2215956"/>
                <a:ext cx="57966" cy="137288"/>
              </a:xfrm>
              <a:custGeom>
                <a:avLst/>
                <a:gdLst>
                  <a:gd name="connsiteX0" fmla="*/ 30508 w 57966"/>
                  <a:gd name="connsiteY0" fmla="*/ 137288 h 137288"/>
                  <a:gd name="connsiteX1" fmla="*/ 6102 w 57966"/>
                  <a:gd name="connsiteY1" fmla="*/ 134237 h 137288"/>
                  <a:gd name="connsiteX2" fmla="*/ 0 w 57966"/>
                  <a:gd name="connsiteY2" fmla="*/ 128136 h 137288"/>
                  <a:gd name="connsiteX3" fmla="*/ 6102 w 57966"/>
                  <a:gd name="connsiteY3" fmla="*/ 122034 h 137288"/>
                  <a:gd name="connsiteX4" fmla="*/ 45763 w 57966"/>
                  <a:gd name="connsiteY4" fmla="*/ 122034 h 137288"/>
                  <a:gd name="connsiteX5" fmla="*/ 45763 w 57966"/>
                  <a:gd name="connsiteY5" fmla="*/ 118983 h 137288"/>
                  <a:gd name="connsiteX6" fmla="*/ 30508 w 57966"/>
                  <a:gd name="connsiteY6" fmla="*/ 6102 h 137288"/>
                  <a:gd name="connsiteX7" fmla="*/ 36611 w 57966"/>
                  <a:gd name="connsiteY7" fmla="*/ 0 h 137288"/>
                  <a:gd name="connsiteX8" fmla="*/ 42713 w 57966"/>
                  <a:gd name="connsiteY8" fmla="*/ 6102 h 137288"/>
                  <a:gd name="connsiteX9" fmla="*/ 57967 w 57966"/>
                  <a:gd name="connsiteY9" fmla="*/ 118983 h 137288"/>
                  <a:gd name="connsiteX10" fmla="*/ 51865 w 57966"/>
                  <a:gd name="connsiteY10" fmla="*/ 131186 h 137288"/>
                  <a:gd name="connsiteX11" fmla="*/ 30508 w 57966"/>
                  <a:gd name="connsiteY11" fmla="*/ 137288 h 137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7966" h="137288">
                    <a:moveTo>
                      <a:pt x="30508" y="137288"/>
                    </a:moveTo>
                    <a:cubicBezTo>
                      <a:pt x="18306" y="137288"/>
                      <a:pt x="9152" y="134237"/>
                      <a:pt x="6102" y="134237"/>
                    </a:cubicBezTo>
                    <a:cubicBezTo>
                      <a:pt x="3052" y="134237"/>
                      <a:pt x="0" y="131186"/>
                      <a:pt x="0" y="128136"/>
                    </a:cubicBezTo>
                    <a:cubicBezTo>
                      <a:pt x="0" y="125085"/>
                      <a:pt x="3052" y="122034"/>
                      <a:pt x="6102" y="122034"/>
                    </a:cubicBezTo>
                    <a:cubicBezTo>
                      <a:pt x="18306" y="125085"/>
                      <a:pt x="39661" y="125085"/>
                      <a:pt x="45763" y="122034"/>
                    </a:cubicBezTo>
                    <a:cubicBezTo>
                      <a:pt x="45763" y="122034"/>
                      <a:pt x="45763" y="118983"/>
                      <a:pt x="45763" y="118983"/>
                    </a:cubicBezTo>
                    <a:cubicBezTo>
                      <a:pt x="45763" y="100678"/>
                      <a:pt x="30508" y="9153"/>
                      <a:pt x="30508" y="6102"/>
                    </a:cubicBezTo>
                    <a:cubicBezTo>
                      <a:pt x="30508" y="3051"/>
                      <a:pt x="33560" y="0"/>
                      <a:pt x="36611" y="0"/>
                    </a:cubicBezTo>
                    <a:cubicBezTo>
                      <a:pt x="39661" y="0"/>
                      <a:pt x="42713" y="3051"/>
                      <a:pt x="42713" y="6102"/>
                    </a:cubicBezTo>
                    <a:cubicBezTo>
                      <a:pt x="42713" y="9153"/>
                      <a:pt x="57967" y="100678"/>
                      <a:pt x="57967" y="118983"/>
                    </a:cubicBezTo>
                    <a:cubicBezTo>
                      <a:pt x="57967" y="125085"/>
                      <a:pt x="54915" y="128136"/>
                      <a:pt x="51865" y="131186"/>
                    </a:cubicBezTo>
                    <a:cubicBezTo>
                      <a:pt x="51865" y="134237"/>
                      <a:pt x="42713" y="137288"/>
                      <a:pt x="30508" y="1372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D18BBECE-0086-4211-8008-47D7640835AC}"/>
                </a:ext>
              </a:extLst>
            </p:cNvPr>
            <p:cNvSpPr/>
            <p:nvPr/>
          </p:nvSpPr>
          <p:spPr>
            <a:xfrm>
              <a:off x="20593391" y="4104430"/>
              <a:ext cx="1446100" cy="485206"/>
            </a:xfrm>
            <a:custGeom>
              <a:avLst/>
              <a:gdLst>
                <a:gd name="connsiteX0" fmla="*/ 1229491 w 1446100"/>
                <a:gd name="connsiteY0" fmla="*/ 27458 h 485206"/>
                <a:gd name="connsiteX1" fmla="*/ 1446101 w 1446100"/>
                <a:gd name="connsiteY1" fmla="*/ 442373 h 485206"/>
                <a:gd name="connsiteX2" fmla="*/ 0 w 1446100"/>
                <a:gd name="connsiteY2" fmla="*/ 402712 h 485206"/>
                <a:gd name="connsiteX3" fmla="*/ 158644 w 1446100"/>
                <a:gd name="connsiteY3" fmla="*/ 0 h 485206"/>
                <a:gd name="connsiteX4" fmla="*/ 1229491 w 1446100"/>
                <a:gd name="connsiteY4" fmla="*/ 27458 h 485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6100" h="485206">
                  <a:moveTo>
                    <a:pt x="1229491" y="27458"/>
                  </a:moveTo>
                  <a:lnTo>
                    <a:pt x="1446101" y="442373"/>
                  </a:lnTo>
                  <a:cubicBezTo>
                    <a:pt x="1446101" y="442373"/>
                    <a:pt x="360000" y="561356"/>
                    <a:pt x="0" y="402712"/>
                  </a:cubicBezTo>
                  <a:lnTo>
                    <a:pt x="158644" y="0"/>
                  </a:lnTo>
                  <a:lnTo>
                    <a:pt x="1229491" y="27458"/>
                  </a:ln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9B23438F-4728-47BF-A5D4-370E3061AA59}"/>
                </a:ext>
              </a:extLst>
            </p:cNvPr>
            <p:cNvSpPr/>
            <p:nvPr/>
          </p:nvSpPr>
          <p:spPr>
            <a:xfrm>
              <a:off x="20566786" y="2646366"/>
              <a:ext cx="1510079" cy="1979920"/>
            </a:xfrm>
            <a:custGeom>
              <a:avLst/>
              <a:gdLst>
                <a:gd name="connsiteX0" fmla="*/ 54061 w 1510079"/>
                <a:gd name="connsiteY0" fmla="*/ 1793658 h 1979920"/>
                <a:gd name="connsiteX1" fmla="*/ 1073045 w 1510079"/>
                <a:gd name="connsiteY1" fmla="*/ 1866878 h 1979920"/>
                <a:gd name="connsiteX2" fmla="*/ 1008978 w 1510079"/>
                <a:gd name="connsiteY2" fmla="*/ 1509929 h 1979920"/>
                <a:gd name="connsiteX3" fmla="*/ 1005926 w 1510079"/>
                <a:gd name="connsiteY3" fmla="*/ 1497726 h 1979920"/>
                <a:gd name="connsiteX4" fmla="*/ 1002876 w 1510079"/>
                <a:gd name="connsiteY4" fmla="*/ 1451963 h 1979920"/>
                <a:gd name="connsiteX5" fmla="*/ 1094402 w 1510079"/>
                <a:gd name="connsiteY5" fmla="*/ 744166 h 1979920"/>
                <a:gd name="connsiteX6" fmla="*/ 828978 w 1510079"/>
                <a:gd name="connsiteY6" fmla="*/ 69929 h 1979920"/>
                <a:gd name="connsiteX7" fmla="*/ 908299 w 1510079"/>
                <a:gd name="connsiteY7" fmla="*/ 24166 h 1979920"/>
                <a:gd name="connsiteX8" fmla="*/ 1188977 w 1510079"/>
                <a:gd name="connsiteY8" fmla="*/ 747217 h 1979920"/>
                <a:gd name="connsiteX9" fmla="*/ 1094402 w 1510079"/>
                <a:gd name="connsiteY9" fmla="*/ 1476370 h 1979920"/>
                <a:gd name="connsiteX10" fmla="*/ 1167621 w 1510079"/>
                <a:gd name="connsiteY10" fmla="*/ 1863827 h 1979920"/>
                <a:gd name="connsiteX11" fmla="*/ 1466605 w 1510079"/>
                <a:gd name="connsiteY11" fmla="*/ 1842471 h 1979920"/>
                <a:gd name="connsiteX12" fmla="*/ 1466605 w 1510079"/>
                <a:gd name="connsiteY12" fmla="*/ 1933997 h 1979920"/>
                <a:gd name="connsiteX13" fmla="*/ 35757 w 1510079"/>
                <a:gd name="connsiteY13" fmla="*/ 1885183 h 1979920"/>
                <a:gd name="connsiteX14" fmla="*/ 54061 w 1510079"/>
                <a:gd name="connsiteY14" fmla="*/ 1793658 h 197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10079" h="1979920">
                  <a:moveTo>
                    <a:pt x="54061" y="1793658"/>
                  </a:moveTo>
                  <a:cubicBezTo>
                    <a:pt x="377452" y="1903488"/>
                    <a:pt x="728300" y="1891285"/>
                    <a:pt x="1073045" y="1866878"/>
                  </a:cubicBezTo>
                  <a:cubicBezTo>
                    <a:pt x="1073045" y="1744844"/>
                    <a:pt x="1060841" y="1622810"/>
                    <a:pt x="1008978" y="1509929"/>
                  </a:cubicBezTo>
                  <a:cubicBezTo>
                    <a:pt x="1005926" y="1503827"/>
                    <a:pt x="1005926" y="1500777"/>
                    <a:pt x="1005926" y="1497726"/>
                  </a:cubicBezTo>
                  <a:cubicBezTo>
                    <a:pt x="996774" y="1485522"/>
                    <a:pt x="993724" y="1467217"/>
                    <a:pt x="1002876" y="1451963"/>
                  </a:cubicBezTo>
                  <a:cubicBezTo>
                    <a:pt x="1100504" y="1247556"/>
                    <a:pt x="1109656" y="966878"/>
                    <a:pt x="1094402" y="744166"/>
                  </a:cubicBezTo>
                  <a:cubicBezTo>
                    <a:pt x="1076095" y="484844"/>
                    <a:pt x="929655" y="295692"/>
                    <a:pt x="828978" y="69929"/>
                  </a:cubicBezTo>
                  <a:cubicBezTo>
                    <a:pt x="804571" y="18065"/>
                    <a:pt x="883892" y="-30749"/>
                    <a:pt x="908299" y="24166"/>
                  </a:cubicBezTo>
                  <a:cubicBezTo>
                    <a:pt x="1018130" y="268234"/>
                    <a:pt x="1170673" y="469590"/>
                    <a:pt x="1188977" y="747217"/>
                  </a:cubicBezTo>
                  <a:cubicBezTo>
                    <a:pt x="1204231" y="979082"/>
                    <a:pt x="1192029" y="1259760"/>
                    <a:pt x="1094402" y="1476370"/>
                  </a:cubicBezTo>
                  <a:cubicBezTo>
                    <a:pt x="1149317" y="1598404"/>
                    <a:pt x="1164571" y="1729590"/>
                    <a:pt x="1167621" y="1863827"/>
                  </a:cubicBezTo>
                  <a:cubicBezTo>
                    <a:pt x="1268300" y="1854675"/>
                    <a:pt x="1368978" y="1848573"/>
                    <a:pt x="1466605" y="1842471"/>
                  </a:cubicBezTo>
                  <a:cubicBezTo>
                    <a:pt x="1524570" y="1839421"/>
                    <a:pt x="1524570" y="1930946"/>
                    <a:pt x="1466605" y="1933997"/>
                  </a:cubicBezTo>
                  <a:cubicBezTo>
                    <a:pt x="996774" y="1961455"/>
                    <a:pt x="490334" y="2043827"/>
                    <a:pt x="35757" y="1885183"/>
                  </a:cubicBezTo>
                  <a:cubicBezTo>
                    <a:pt x="-25260" y="1860776"/>
                    <a:pt x="-853" y="1775353"/>
                    <a:pt x="54061" y="1793658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C1BABA21-B3C5-4519-A4FA-141AD11EA96C}"/>
                </a:ext>
              </a:extLst>
            </p:cNvPr>
            <p:cNvSpPr/>
            <p:nvPr/>
          </p:nvSpPr>
          <p:spPr>
            <a:xfrm>
              <a:off x="20731676" y="4019007"/>
              <a:ext cx="1141079" cy="179846"/>
            </a:xfrm>
            <a:custGeom>
              <a:avLst/>
              <a:gdLst>
                <a:gd name="connsiteX0" fmla="*/ 1121715 w 1141079"/>
                <a:gd name="connsiteY0" fmla="*/ 170847 h 179846"/>
                <a:gd name="connsiteX1" fmla="*/ 11206 w 1141079"/>
                <a:gd name="connsiteY1" fmla="*/ 112881 h 179846"/>
                <a:gd name="connsiteX2" fmla="*/ 20360 w 1141079"/>
                <a:gd name="connsiteY2" fmla="*/ 0 h 179846"/>
                <a:gd name="connsiteX3" fmla="*/ 1130867 w 1141079"/>
                <a:gd name="connsiteY3" fmla="*/ 70170 h 179846"/>
                <a:gd name="connsiteX4" fmla="*/ 1121715 w 1141079"/>
                <a:gd name="connsiteY4" fmla="*/ 170847 h 17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1079" h="179846">
                  <a:moveTo>
                    <a:pt x="1121715" y="170847"/>
                  </a:moveTo>
                  <a:cubicBezTo>
                    <a:pt x="1121715" y="170847"/>
                    <a:pt x="331545" y="213559"/>
                    <a:pt x="11206" y="112881"/>
                  </a:cubicBezTo>
                  <a:cubicBezTo>
                    <a:pt x="11206" y="112881"/>
                    <a:pt x="-19303" y="42712"/>
                    <a:pt x="20360" y="0"/>
                  </a:cubicBezTo>
                  <a:cubicBezTo>
                    <a:pt x="285782" y="88475"/>
                    <a:pt x="749511" y="85424"/>
                    <a:pt x="1130867" y="70170"/>
                  </a:cubicBezTo>
                  <a:cubicBezTo>
                    <a:pt x="1158326" y="125085"/>
                    <a:pt x="1121715" y="170847"/>
                    <a:pt x="1121715" y="170847"/>
                  </a:cubicBezTo>
                  <a:close/>
                </a:path>
              </a:pathLst>
            </a:custGeom>
            <a:solidFill>
              <a:srgbClr val="6C5D68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5" name="图形 1">
              <a:extLst>
                <a:ext uri="{FF2B5EF4-FFF2-40B4-BE49-F238E27FC236}">
                  <a16:creationId xmlns:a16="http://schemas.microsoft.com/office/drawing/2014/main" id="{E97A02F0-27B0-4710-A833-7F9EB6B78D7B}"/>
                </a:ext>
              </a:extLst>
            </p:cNvPr>
            <p:cNvGrpSpPr/>
            <p:nvPr/>
          </p:nvGrpSpPr>
          <p:grpSpPr>
            <a:xfrm>
              <a:off x="21511695" y="4055617"/>
              <a:ext cx="216611" cy="164745"/>
              <a:chOff x="21511695" y="4055617"/>
              <a:chExt cx="216611" cy="164745"/>
            </a:xfrm>
          </p:grpSpPr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435E66BD-BC35-456F-A9FA-D9199209AB88}"/>
                  </a:ext>
                </a:extLst>
              </p:cNvPr>
              <p:cNvSpPr/>
              <p:nvPr/>
            </p:nvSpPr>
            <p:spPr>
              <a:xfrm>
                <a:off x="21511695" y="4055617"/>
                <a:ext cx="216611" cy="164745"/>
              </a:xfrm>
              <a:custGeom>
                <a:avLst/>
                <a:gdLst>
                  <a:gd name="connsiteX0" fmla="*/ 195255 w 216611"/>
                  <a:gd name="connsiteY0" fmla="*/ 164746 h 164745"/>
                  <a:gd name="connsiteX1" fmla="*/ 21356 w 216611"/>
                  <a:gd name="connsiteY1" fmla="*/ 164746 h 164745"/>
                  <a:gd name="connsiteX2" fmla="*/ 0 w 216611"/>
                  <a:gd name="connsiteY2" fmla="*/ 143390 h 164745"/>
                  <a:gd name="connsiteX3" fmla="*/ 0 w 216611"/>
                  <a:gd name="connsiteY3" fmla="*/ 21356 h 164745"/>
                  <a:gd name="connsiteX4" fmla="*/ 21356 w 216611"/>
                  <a:gd name="connsiteY4" fmla="*/ 0 h 164745"/>
                  <a:gd name="connsiteX5" fmla="*/ 195255 w 216611"/>
                  <a:gd name="connsiteY5" fmla="*/ 0 h 164745"/>
                  <a:gd name="connsiteX6" fmla="*/ 216611 w 216611"/>
                  <a:gd name="connsiteY6" fmla="*/ 21356 h 164745"/>
                  <a:gd name="connsiteX7" fmla="*/ 216611 w 216611"/>
                  <a:gd name="connsiteY7" fmla="*/ 143390 h 164745"/>
                  <a:gd name="connsiteX8" fmla="*/ 195255 w 216611"/>
                  <a:gd name="connsiteY8" fmla="*/ 164746 h 164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6611" h="164745">
                    <a:moveTo>
                      <a:pt x="195255" y="164746"/>
                    </a:moveTo>
                    <a:lnTo>
                      <a:pt x="21356" y="164746"/>
                    </a:lnTo>
                    <a:cubicBezTo>
                      <a:pt x="9152" y="164746"/>
                      <a:pt x="0" y="155593"/>
                      <a:pt x="0" y="143390"/>
                    </a:cubicBezTo>
                    <a:lnTo>
                      <a:pt x="0" y="21356"/>
                    </a:lnTo>
                    <a:cubicBezTo>
                      <a:pt x="0" y="9152"/>
                      <a:pt x="9152" y="0"/>
                      <a:pt x="21356" y="0"/>
                    </a:cubicBezTo>
                    <a:lnTo>
                      <a:pt x="195255" y="0"/>
                    </a:lnTo>
                    <a:cubicBezTo>
                      <a:pt x="207457" y="0"/>
                      <a:pt x="216611" y="9152"/>
                      <a:pt x="216611" y="21356"/>
                    </a:cubicBezTo>
                    <a:lnTo>
                      <a:pt x="216611" y="143390"/>
                    </a:lnTo>
                    <a:cubicBezTo>
                      <a:pt x="216611" y="155593"/>
                      <a:pt x="207457" y="164746"/>
                      <a:pt x="195255" y="16474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B9F14CB4-7FD8-4DCE-BB09-467B4CAA4DFA}"/>
                  </a:ext>
                </a:extLst>
              </p:cNvPr>
              <p:cNvSpPr/>
              <p:nvPr/>
            </p:nvSpPr>
            <p:spPr>
              <a:xfrm>
                <a:off x="21542204" y="4080024"/>
                <a:ext cx="158644" cy="118983"/>
              </a:xfrm>
              <a:custGeom>
                <a:avLst/>
                <a:gdLst>
                  <a:gd name="connsiteX0" fmla="*/ 143390 w 158644"/>
                  <a:gd name="connsiteY0" fmla="*/ 118983 h 118983"/>
                  <a:gd name="connsiteX1" fmla="*/ 15254 w 158644"/>
                  <a:gd name="connsiteY1" fmla="*/ 118983 h 118983"/>
                  <a:gd name="connsiteX2" fmla="*/ 0 w 158644"/>
                  <a:gd name="connsiteY2" fmla="*/ 103729 h 118983"/>
                  <a:gd name="connsiteX3" fmla="*/ 0 w 158644"/>
                  <a:gd name="connsiteY3" fmla="*/ 15254 h 118983"/>
                  <a:gd name="connsiteX4" fmla="*/ 15254 w 158644"/>
                  <a:gd name="connsiteY4" fmla="*/ 0 h 118983"/>
                  <a:gd name="connsiteX5" fmla="*/ 143390 w 158644"/>
                  <a:gd name="connsiteY5" fmla="*/ 0 h 118983"/>
                  <a:gd name="connsiteX6" fmla="*/ 158644 w 158644"/>
                  <a:gd name="connsiteY6" fmla="*/ 15254 h 118983"/>
                  <a:gd name="connsiteX7" fmla="*/ 158644 w 158644"/>
                  <a:gd name="connsiteY7" fmla="*/ 103729 h 118983"/>
                  <a:gd name="connsiteX8" fmla="*/ 143390 w 158644"/>
                  <a:gd name="connsiteY8" fmla="*/ 118983 h 118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8644" h="118983">
                    <a:moveTo>
                      <a:pt x="143390" y="118983"/>
                    </a:moveTo>
                    <a:lnTo>
                      <a:pt x="15254" y="118983"/>
                    </a:lnTo>
                    <a:cubicBezTo>
                      <a:pt x="6102" y="118983"/>
                      <a:pt x="0" y="112881"/>
                      <a:pt x="0" y="103729"/>
                    </a:cubicBezTo>
                    <a:lnTo>
                      <a:pt x="0" y="15254"/>
                    </a:lnTo>
                    <a:cubicBezTo>
                      <a:pt x="0" y="6102"/>
                      <a:pt x="6102" y="0"/>
                      <a:pt x="15254" y="0"/>
                    </a:cubicBezTo>
                    <a:lnTo>
                      <a:pt x="143390" y="0"/>
                    </a:lnTo>
                    <a:cubicBezTo>
                      <a:pt x="152542" y="0"/>
                      <a:pt x="158644" y="6102"/>
                      <a:pt x="158644" y="15254"/>
                    </a:cubicBezTo>
                    <a:lnTo>
                      <a:pt x="158644" y="103729"/>
                    </a:lnTo>
                    <a:cubicBezTo>
                      <a:pt x="158644" y="112881"/>
                      <a:pt x="152542" y="118983"/>
                      <a:pt x="143390" y="11898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6" name="图形 1">
              <a:extLst>
                <a:ext uri="{FF2B5EF4-FFF2-40B4-BE49-F238E27FC236}">
                  <a16:creationId xmlns:a16="http://schemas.microsoft.com/office/drawing/2014/main" id="{73B10107-068E-403D-9B61-C67D330D8F77}"/>
                </a:ext>
              </a:extLst>
            </p:cNvPr>
            <p:cNvGrpSpPr/>
            <p:nvPr/>
          </p:nvGrpSpPr>
          <p:grpSpPr>
            <a:xfrm>
              <a:off x="20195624" y="3332144"/>
              <a:ext cx="1636833" cy="1353145"/>
              <a:chOff x="20195624" y="3332144"/>
              <a:chExt cx="1636833" cy="1353145"/>
            </a:xfrm>
          </p:grpSpPr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615A18AA-F1DB-43AE-B04E-0293476DABDC}"/>
                  </a:ext>
                </a:extLst>
              </p:cNvPr>
              <p:cNvSpPr/>
              <p:nvPr/>
            </p:nvSpPr>
            <p:spPr>
              <a:xfrm>
                <a:off x="21412604" y="3332144"/>
                <a:ext cx="215446" cy="214836"/>
              </a:xfrm>
              <a:custGeom>
                <a:avLst/>
                <a:gdLst>
                  <a:gd name="connsiteX0" fmla="*/ 144854 w 215446"/>
                  <a:gd name="connsiteY0" fmla="*/ 6524 h 214836"/>
                  <a:gd name="connsiteX1" fmla="*/ 205870 w 215446"/>
                  <a:gd name="connsiteY1" fmla="*/ 61439 h 214836"/>
                  <a:gd name="connsiteX2" fmla="*/ 208922 w 215446"/>
                  <a:gd name="connsiteY2" fmla="*/ 143812 h 214836"/>
                  <a:gd name="connsiteX3" fmla="*/ 154006 w 215446"/>
                  <a:gd name="connsiteY3" fmla="*/ 204829 h 214836"/>
                  <a:gd name="connsiteX4" fmla="*/ 10617 w 215446"/>
                  <a:gd name="connsiteY4" fmla="*/ 152965 h 214836"/>
                  <a:gd name="connsiteX5" fmla="*/ 4515 w 215446"/>
                  <a:gd name="connsiteY5" fmla="*/ 137710 h 214836"/>
                  <a:gd name="connsiteX6" fmla="*/ 62480 w 215446"/>
                  <a:gd name="connsiteY6" fmla="*/ 9575 h 214836"/>
                  <a:gd name="connsiteX7" fmla="*/ 144854 w 215446"/>
                  <a:gd name="connsiteY7" fmla="*/ 6524 h 214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5446" h="214836">
                    <a:moveTo>
                      <a:pt x="144854" y="6524"/>
                    </a:moveTo>
                    <a:cubicBezTo>
                      <a:pt x="172312" y="15677"/>
                      <a:pt x="193668" y="37033"/>
                      <a:pt x="205870" y="61439"/>
                    </a:cubicBezTo>
                    <a:cubicBezTo>
                      <a:pt x="218075" y="85846"/>
                      <a:pt x="218075" y="116355"/>
                      <a:pt x="208922" y="143812"/>
                    </a:cubicBezTo>
                    <a:cubicBezTo>
                      <a:pt x="199768" y="171270"/>
                      <a:pt x="178414" y="192626"/>
                      <a:pt x="154006" y="204829"/>
                    </a:cubicBezTo>
                    <a:cubicBezTo>
                      <a:pt x="99091" y="229236"/>
                      <a:pt x="38074" y="207880"/>
                      <a:pt x="10617" y="152965"/>
                    </a:cubicBezTo>
                    <a:cubicBezTo>
                      <a:pt x="7565" y="146863"/>
                      <a:pt x="7565" y="143812"/>
                      <a:pt x="4515" y="137710"/>
                    </a:cubicBezTo>
                    <a:cubicBezTo>
                      <a:pt x="-10739" y="88897"/>
                      <a:pt x="13667" y="33982"/>
                      <a:pt x="62480" y="9575"/>
                    </a:cubicBezTo>
                    <a:cubicBezTo>
                      <a:pt x="86889" y="-2628"/>
                      <a:pt x="117397" y="-2628"/>
                      <a:pt x="144854" y="6524"/>
                    </a:cubicBezTo>
                    <a:close/>
                  </a:path>
                </a:pathLst>
              </a:custGeom>
              <a:solidFill>
                <a:srgbClr val="EDD1A9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AD01BE87-D302-450D-88A4-8425257E1F37}"/>
                  </a:ext>
                </a:extLst>
              </p:cNvPr>
              <p:cNvSpPr/>
              <p:nvPr/>
            </p:nvSpPr>
            <p:spPr>
              <a:xfrm>
                <a:off x="21617274" y="3774084"/>
                <a:ext cx="215183" cy="214836"/>
              </a:xfrm>
              <a:custGeom>
                <a:avLst/>
                <a:gdLst>
                  <a:gd name="connsiteX0" fmla="*/ 205608 w 215183"/>
                  <a:gd name="connsiteY0" fmla="*/ 61872 h 214836"/>
                  <a:gd name="connsiteX1" fmla="*/ 208658 w 215183"/>
                  <a:gd name="connsiteY1" fmla="*/ 144245 h 214836"/>
                  <a:gd name="connsiteX2" fmla="*/ 153743 w 215183"/>
                  <a:gd name="connsiteY2" fmla="*/ 205262 h 214836"/>
                  <a:gd name="connsiteX3" fmla="*/ 71370 w 215183"/>
                  <a:gd name="connsiteY3" fmla="*/ 208313 h 214836"/>
                  <a:gd name="connsiteX4" fmla="*/ 10353 w 215183"/>
                  <a:gd name="connsiteY4" fmla="*/ 153397 h 214836"/>
                  <a:gd name="connsiteX5" fmla="*/ 4253 w 215183"/>
                  <a:gd name="connsiteY5" fmla="*/ 138143 h 214836"/>
                  <a:gd name="connsiteX6" fmla="*/ 7303 w 215183"/>
                  <a:gd name="connsiteY6" fmla="*/ 71024 h 214836"/>
                  <a:gd name="connsiteX7" fmla="*/ 62218 w 215183"/>
                  <a:gd name="connsiteY7" fmla="*/ 10007 h 214836"/>
                  <a:gd name="connsiteX8" fmla="*/ 205608 w 215183"/>
                  <a:gd name="connsiteY8" fmla="*/ 61872 h 214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5183" h="214836">
                    <a:moveTo>
                      <a:pt x="205608" y="61872"/>
                    </a:moveTo>
                    <a:cubicBezTo>
                      <a:pt x="217812" y="86279"/>
                      <a:pt x="217812" y="116787"/>
                      <a:pt x="208658" y="144245"/>
                    </a:cubicBezTo>
                    <a:cubicBezTo>
                      <a:pt x="199506" y="171702"/>
                      <a:pt x="178150" y="193058"/>
                      <a:pt x="153743" y="205262"/>
                    </a:cubicBezTo>
                    <a:cubicBezTo>
                      <a:pt x="129337" y="217465"/>
                      <a:pt x="98828" y="217465"/>
                      <a:pt x="71370" y="208313"/>
                    </a:cubicBezTo>
                    <a:cubicBezTo>
                      <a:pt x="43913" y="199160"/>
                      <a:pt x="22557" y="177804"/>
                      <a:pt x="10353" y="153397"/>
                    </a:cubicBezTo>
                    <a:cubicBezTo>
                      <a:pt x="7303" y="147296"/>
                      <a:pt x="7303" y="144245"/>
                      <a:pt x="4253" y="138143"/>
                    </a:cubicBezTo>
                    <a:cubicBezTo>
                      <a:pt x="-1849" y="116787"/>
                      <a:pt x="-1849" y="92380"/>
                      <a:pt x="7303" y="71024"/>
                    </a:cubicBezTo>
                    <a:cubicBezTo>
                      <a:pt x="16455" y="43567"/>
                      <a:pt x="37811" y="22211"/>
                      <a:pt x="62218" y="10007"/>
                    </a:cubicBezTo>
                    <a:cubicBezTo>
                      <a:pt x="117133" y="-14399"/>
                      <a:pt x="178150" y="6957"/>
                      <a:pt x="205608" y="61872"/>
                    </a:cubicBezTo>
                    <a:close/>
                  </a:path>
                </a:pathLst>
              </a:custGeom>
              <a:solidFill>
                <a:srgbClr val="EDD1A9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8D337318-B19B-4178-8BA7-1B79955A6493}"/>
                  </a:ext>
                </a:extLst>
              </p:cNvPr>
              <p:cNvSpPr/>
              <p:nvPr/>
            </p:nvSpPr>
            <p:spPr>
              <a:xfrm>
                <a:off x="20614746" y="3569215"/>
                <a:ext cx="494236" cy="263690"/>
              </a:xfrm>
              <a:custGeom>
                <a:avLst/>
                <a:gdLst>
                  <a:gd name="connsiteX0" fmla="*/ 482034 w 494236"/>
                  <a:gd name="connsiteY0" fmla="*/ 59284 h 263690"/>
                  <a:gd name="connsiteX1" fmla="*/ 488136 w 494236"/>
                  <a:gd name="connsiteY1" fmla="*/ 68436 h 263690"/>
                  <a:gd name="connsiteX2" fmla="*/ 494237 w 494236"/>
                  <a:gd name="connsiteY2" fmla="*/ 251487 h 263690"/>
                  <a:gd name="connsiteX3" fmla="*/ 491186 w 494236"/>
                  <a:gd name="connsiteY3" fmla="*/ 260640 h 263690"/>
                  <a:gd name="connsiteX4" fmla="*/ 482034 w 494236"/>
                  <a:gd name="connsiteY4" fmla="*/ 263690 h 263690"/>
                  <a:gd name="connsiteX5" fmla="*/ 253221 w 494236"/>
                  <a:gd name="connsiteY5" fmla="*/ 257589 h 263690"/>
                  <a:gd name="connsiteX6" fmla="*/ 250169 w 494236"/>
                  <a:gd name="connsiteY6" fmla="*/ 257589 h 263690"/>
                  <a:gd name="connsiteX7" fmla="*/ 3051 w 494236"/>
                  <a:gd name="connsiteY7" fmla="*/ 105046 h 263690"/>
                  <a:gd name="connsiteX8" fmla="*/ 3051 w 494236"/>
                  <a:gd name="connsiteY8" fmla="*/ 101996 h 263690"/>
                  <a:gd name="connsiteX9" fmla="*/ 12203 w 494236"/>
                  <a:gd name="connsiteY9" fmla="*/ 47080 h 263690"/>
                  <a:gd name="connsiteX10" fmla="*/ 482034 w 494236"/>
                  <a:gd name="connsiteY10" fmla="*/ 59284 h 263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94236" h="263690">
                    <a:moveTo>
                      <a:pt x="482034" y="59284"/>
                    </a:moveTo>
                    <a:cubicBezTo>
                      <a:pt x="485084" y="59284"/>
                      <a:pt x="488136" y="65385"/>
                      <a:pt x="488136" y="68436"/>
                    </a:cubicBezTo>
                    <a:lnTo>
                      <a:pt x="494237" y="251487"/>
                    </a:lnTo>
                    <a:cubicBezTo>
                      <a:pt x="494237" y="254538"/>
                      <a:pt x="494237" y="257589"/>
                      <a:pt x="491186" y="260640"/>
                    </a:cubicBezTo>
                    <a:cubicBezTo>
                      <a:pt x="488136" y="263690"/>
                      <a:pt x="485084" y="263690"/>
                      <a:pt x="482034" y="263690"/>
                    </a:cubicBezTo>
                    <a:lnTo>
                      <a:pt x="253221" y="257589"/>
                    </a:lnTo>
                    <a:cubicBezTo>
                      <a:pt x="253221" y="257589"/>
                      <a:pt x="250169" y="257589"/>
                      <a:pt x="250169" y="257589"/>
                    </a:cubicBezTo>
                    <a:cubicBezTo>
                      <a:pt x="241017" y="254538"/>
                      <a:pt x="30509" y="190470"/>
                      <a:pt x="3051" y="105046"/>
                    </a:cubicBezTo>
                    <a:cubicBezTo>
                      <a:pt x="3051" y="105046"/>
                      <a:pt x="3051" y="101996"/>
                      <a:pt x="3051" y="101996"/>
                    </a:cubicBezTo>
                    <a:cubicBezTo>
                      <a:pt x="-3051" y="83690"/>
                      <a:pt x="1" y="65385"/>
                      <a:pt x="12203" y="47080"/>
                    </a:cubicBezTo>
                    <a:cubicBezTo>
                      <a:pt x="88474" y="-62750"/>
                      <a:pt x="466780" y="53182"/>
                      <a:pt x="482034" y="59284"/>
                    </a:cubicBezTo>
                    <a:close/>
                  </a:path>
                </a:pathLst>
              </a:custGeom>
              <a:solidFill>
                <a:srgbClr val="EDD1A9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641C42BE-13F0-4028-B7DF-14F65D565B8A}"/>
                  </a:ext>
                </a:extLst>
              </p:cNvPr>
              <p:cNvSpPr/>
              <p:nvPr/>
            </p:nvSpPr>
            <p:spPr>
              <a:xfrm>
                <a:off x="20971845" y="3989261"/>
                <a:ext cx="353749" cy="502927"/>
              </a:xfrm>
              <a:custGeom>
                <a:avLst/>
                <a:gdLst>
                  <a:gd name="connsiteX0" fmla="*/ 216461 w 353749"/>
                  <a:gd name="connsiteY0" fmla="*/ 2288 h 502927"/>
                  <a:gd name="connsiteX1" fmla="*/ 350697 w 353749"/>
                  <a:gd name="connsiteY1" fmla="*/ 124322 h 502927"/>
                  <a:gd name="connsiteX2" fmla="*/ 353749 w 353749"/>
                  <a:gd name="connsiteY2" fmla="*/ 136525 h 502927"/>
                  <a:gd name="connsiteX3" fmla="*/ 63919 w 353749"/>
                  <a:gd name="connsiteY3" fmla="*/ 502627 h 502927"/>
                  <a:gd name="connsiteX4" fmla="*/ 15104 w 353749"/>
                  <a:gd name="connsiteY4" fmla="*/ 472119 h 502927"/>
                  <a:gd name="connsiteX5" fmla="*/ 5952 w 353749"/>
                  <a:gd name="connsiteY5" fmla="*/ 453814 h 502927"/>
                  <a:gd name="connsiteX6" fmla="*/ 57817 w 353749"/>
                  <a:gd name="connsiteY6" fmla="*/ 185339 h 502927"/>
                  <a:gd name="connsiteX7" fmla="*/ 57817 w 353749"/>
                  <a:gd name="connsiteY7" fmla="*/ 182288 h 502927"/>
                  <a:gd name="connsiteX8" fmla="*/ 201207 w 353749"/>
                  <a:gd name="connsiteY8" fmla="*/ 5339 h 502927"/>
                  <a:gd name="connsiteX9" fmla="*/ 207309 w 353749"/>
                  <a:gd name="connsiteY9" fmla="*/ 2288 h 502927"/>
                  <a:gd name="connsiteX10" fmla="*/ 216461 w 353749"/>
                  <a:gd name="connsiteY10" fmla="*/ 2288 h 502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3749" h="502927">
                    <a:moveTo>
                      <a:pt x="216461" y="2288"/>
                    </a:moveTo>
                    <a:lnTo>
                      <a:pt x="350697" y="124322"/>
                    </a:lnTo>
                    <a:cubicBezTo>
                      <a:pt x="353749" y="127373"/>
                      <a:pt x="353749" y="133475"/>
                      <a:pt x="353749" y="136525"/>
                    </a:cubicBezTo>
                    <a:cubicBezTo>
                      <a:pt x="347647" y="151780"/>
                      <a:pt x="192055" y="514831"/>
                      <a:pt x="63919" y="502627"/>
                    </a:cubicBezTo>
                    <a:cubicBezTo>
                      <a:pt x="42563" y="499576"/>
                      <a:pt x="24258" y="490424"/>
                      <a:pt x="15104" y="472119"/>
                    </a:cubicBezTo>
                    <a:cubicBezTo>
                      <a:pt x="12054" y="466017"/>
                      <a:pt x="9004" y="459915"/>
                      <a:pt x="5952" y="453814"/>
                    </a:cubicBezTo>
                    <a:cubicBezTo>
                      <a:pt x="-21505" y="368390"/>
                      <a:pt x="54767" y="191441"/>
                      <a:pt x="57817" y="185339"/>
                    </a:cubicBezTo>
                    <a:cubicBezTo>
                      <a:pt x="57817" y="185339"/>
                      <a:pt x="57817" y="182288"/>
                      <a:pt x="57817" y="182288"/>
                    </a:cubicBezTo>
                    <a:lnTo>
                      <a:pt x="201207" y="5339"/>
                    </a:lnTo>
                    <a:cubicBezTo>
                      <a:pt x="204257" y="2288"/>
                      <a:pt x="204257" y="2288"/>
                      <a:pt x="207309" y="2288"/>
                    </a:cubicBezTo>
                    <a:cubicBezTo>
                      <a:pt x="213409" y="-763"/>
                      <a:pt x="216461" y="-763"/>
                      <a:pt x="216461" y="2288"/>
                    </a:cubicBezTo>
                    <a:close/>
                  </a:path>
                </a:pathLst>
              </a:custGeom>
              <a:solidFill>
                <a:srgbClr val="EDD1A9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81E87998-54C3-464F-868C-83B66EE6068B}"/>
                  </a:ext>
                </a:extLst>
              </p:cNvPr>
              <p:cNvSpPr/>
              <p:nvPr/>
            </p:nvSpPr>
            <p:spPr>
              <a:xfrm>
                <a:off x="20400043" y="3704376"/>
                <a:ext cx="833021" cy="758157"/>
              </a:xfrm>
              <a:custGeom>
                <a:avLst/>
                <a:gdLst>
                  <a:gd name="connsiteX0" fmla="*/ 538093 w 833021"/>
                  <a:gd name="connsiteY0" fmla="*/ 6495 h 758157"/>
                  <a:gd name="connsiteX1" fmla="*/ 812670 w 833021"/>
                  <a:gd name="connsiteY1" fmla="*/ 165139 h 758157"/>
                  <a:gd name="connsiteX2" fmla="*/ 757755 w 833021"/>
                  <a:gd name="connsiteY2" fmla="*/ 479376 h 758157"/>
                  <a:gd name="connsiteX3" fmla="*/ 483179 w 833021"/>
                  <a:gd name="connsiteY3" fmla="*/ 723444 h 758157"/>
                  <a:gd name="connsiteX4" fmla="*/ 220805 w 833021"/>
                  <a:gd name="connsiteY4" fmla="*/ 726495 h 758157"/>
                  <a:gd name="connsiteX5" fmla="*/ 56060 w 833021"/>
                  <a:gd name="connsiteY5" fmla="*/ 519037 h 758157"/>
                  <a:gd name="connsiteX6" fmla="*/ 19449 w 833021"/>
                  <a:gd name="connsiteY6" fmla="*/ 424461 h 758157"/>
                  <a:gd name="connsiteX7" fmla="*/ 175042 w 833021"/>
                  <a:gd name="connsiteY7" fmla="*/ 58359 h 758157"/>
                  <a:gd name="connsiteX8" fmla="*/ 538093 w 833021"/>
                  <a:gd name="connsiteY8" fmla="*/ 6495 h 758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3021" h="758157">
                    <a:moveTo>
                      <a:pt x="538093" y="6495"/>
                    </a:moveTo>
                    <a:cubicBezTo>
                      <a:pt x="675382" y="24800"/>
                      <a:pt x="773009" y="79715"/>
                      <a:pt x="812670" y="165139"/>
                    </a:cubicBezTo>
                    <a:cubicBezTo>
                      <a:pt x="852330" y="250563"/>
                      <a:pt x="834026" y="360393"/>
                      <a:pt x="757755" y="479376"/>
                    </a:cubicBezTo>
                    <a:cubicBezTo>
                      <a:pt x="690636" y="583105"/>
                      <a:pt x="586906" y="674631"/>
                      <a:pt x="483179" y="723444"/>
                    </a:cubicBezTo>
                    <a:cubicBezTo>
                      <a:pt x="385551" y="769207"/>
                      <a:pt x="297076" y="769207"/>
                      <a:pt x="220805" y="726495"/>
                    </a:cubicBezTo>
                    <a:cubicBezTo>
                      <a:pt x="156737" y="689885"/>
                      <a:pt x="101823" y="619715"/>
                      <a:pt x="56060" y="519037"/>
                    </a:cubicBezTo>
                    <a:cubicBezTo>
                      <a:pt x="40806" y="485478"/>
                      <a:pt x="28601" y="454969"/>
                      <a:pt x="19449" y="424461"/>
                    </a:cubicBezTo>
                    <a:cubicBezTo>
                      <a:pt x="-32415" y="253614"/>
                      <a:pt x="19449" y="131580"/>
                      <a:pt x="175042" y="58359"/>
                    </a:cubicBezTo>
                    <a:cubicBezTo>
                      <a:pt x="278771" y="9546"/>
                      <a:pt x="413009" y="-11810"/>
                      <a:pt x="538093" y="6495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2" name="图形 1">
                <a:extLst>
                  <a:ext uri="{FF2B5EF4-FFF2-40B4-BE49-F238E27FC236}">
                    <a16:creationId xmlns:a16="http://schemas.microsoft.com/office/drawing/2014/main" id="{921984DF-7443-4EE4-95F0-F178586D143E}"/>
                  </a:ext>
                </a:extLst>
              </p:cNvPr>
              <p:cNvGrpSpPr/>
              <p:nvPr/>
            </p:nvGrpSpPr>
            <p:grpSpPr>
              <a:xfrm>
                <a:off x="20195624" y="3649846"/>
                <a:ext cx="743537" cy="1035443"/>
                <a:chOff x="20195624" y="3649846"/>
                <a:chExt cx="743537" cy="1035443"/>
              </a:xfrm>
              <a:solidFill>
                <a:srgbClr val="EDD1A9"/>
              </a:solidFill>
            </p:grpSpPr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7F1ED1CA-B315-438D-951D-324760ADADB4}"/>
                    </a:ext>
                  </a:extLst>
                </p:cNvPr>
                <p:cNvSpPr/>
                <p:nvPr/>
              </p:nvSpPr>
              <p:spPr>
                <a:xfrm>
                  <a:off x="20195624" y="3649846"/>
                  <a:ext cx="441477" cy="466915"/>
                </a:xfrm>
                <a:custGeom>
                  <a:avLst/>
                  <a:gdLst>
                    <a:gd name="connsiteX0" fmla="*/ 361156 w 441477"/>
                    <a:gd name="connsiteY0" fmla="*/ 33567 h 466915"/>
                    <a:gd name="connsiteX1" fmla="*/ 391665 w 441477"/>
                    <a:gd name="connsiteY1" fmla="*/ 353906 h 466915"/>
                    <a:gd name="connsiteX2" fmla="*/ 80478 w 441477"/>
                    <a:gd name="connsiteY2" fmla="*/ 433228 h 466915"/>
                    <a:gd name="connsiteX3" fmla="*/ 10309 w 441477"/>
                    <a:gd name="connsiteY3" fmla="*/ 332551 h 466915"/>
                    <a:gd name="connsiteX4" fmla="*/ 1156 w 441477"/>
                    <a:gd name="connsiteY4" fmla="*/ 289839 h 466915"/>
                    <a:gd name="connsiteX5" fmla="*/ 49969 w 441477"/>
                    <a:gd name="connsiteY5" fmla="*/ 115941 h 466915"/>
                    <a:gd name="connsiteX6" fmla="*/ 361156 w 441477"/>
                    <a:gd name="connsiteY6" fmla="*/ 33567 h 466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41477" h="466915">
                      <a:moveTo>
                        <a:pt x="361156" y="33567"/>
                      </a:moveTo>
                      <a:cubicBezTo>
                        <a:pt x="455732" y="100686"/>
                        <a:pt x="467936" y="244076"/>
                        <a:pt x="391665" y="353906"/>
                      </a:cubicBezTo>
                      <a:cubicBezTo>
                        <a:pt x="315393" y="463737"/>
                        <a:pt x="175055" y="500347"/>
                        <a:pt x="80478" y="433228"/>
                      </a:cubicBezTo>
                      <a:cubicBezTo>
                        <a:pt x="46919" y="408822"/>
                        <a:pt x="22513" y="375263"/>
                        <a:pt x="10309" y="332551"/>
                      </a:cubicBezTo>
                      <a:cubicBezTo>
                        <a:pt x="7258" y="320347"/>
                        <a:pt x="4207" y="305093"/>
                        <a:pt x="1156" y="289839"/>
                      </a:cubicBezTo>
                      <a:cubicBezTo>
                        <a:pt x="-4946" y="228822"/>
                        <a:pt x="13359" y="167805"/>
                        <a:pt x="49969" y="115941"/>
                      </a:cubicBezTo>
                      <a:cubicBezTo>
                        <a:pt x="129292" y="3059"/>
                        <a:pt x="269631" y="-33551"/>
                        <a:pt x="361156" y="33567"/>
                      </a:cubicBezTo>
                      <a:close/>
                    </a:path>
                  </a:pathLst>
                </a:custGeom>
                <a:solidFill>
                  <a:srgbClr val="EDD1A9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667088A8-03C5-4EE8-93FF-4EA958F2EA38}"/>
                    </a:ext>
                  </a:extLst>
                </p:cNvPr>
                <p:cNvSpPr/>
                <p:nvPr/>
              </p:nvSpPr>
              <p:spPr>
                <a:xfrm>
                  <a:off x="20454905" y="4267978"/>
                  <a:ext cx="484256" cy="417311"/>
                </a:xfrm>
                <a:custGeom>
                  <a:avLst/>
                  <a:gdLst>
                    <a:gd name="connsiteX0" fmla="*/ 425264 w 484256"/>
                    <a:gd name="connsiteY0" fmla="*/ 77469 h 417311"/>
                    <a:gd name="connsiteX1" fmla="*/ 483231 w 484256"/>
                    <a:gd name="connsiteY1" fmla="*/ 230011 h 417311"/>
                    <a:gd name="connsiteX2" fmla="*/ 223909 w 484256"/>
                    <a:gd name="connsiteY2" fmla="*/ 416113 h 417311"/>
                    <a:gd name="connsiteX3" fmla="*/ 59162 w 484256"/>
                    <a:gd name="connsiteY3" fmla="*/ 339842 h 417311"/>
                    <a:gd name="connsiteX4" fmla="*/ 7299 w 484256"/>
                    <a:gd name="connsiteY4" fmla="*/ 254418 h 417311"/>
                    <a:gd name="connsiteX5" fmla="*/ 1197 w 484256"/>
                    <a:gd name="connsiteY5" fmla="*/ 187300 h 417311"/>
                    <a:gd name="connsiteX6" fmla="*/ 260519 w 484256"/>
                    <a:gd name="connsiteY6" fmla="*/ 1198 h 417311"/>
                    <a:gd name="connsiteX7" fmla="*/ 425264 w 484256"/>
                    <a:gd name="connsiteY7" fmla="*/ 77469 h 417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84256" h="417311">
                      <a:moveTo>
                        <a:pt x="425264" y="77469"/>
                      </a:moveTo>
                      <a:cubicBezTo>
                        <a:pt x="467977" y="120181"/>
                        <a:pt x="489333" y="175096"/>
                        <a:pt x="483231" y="230011"/>
                      </a:cubicBezTo>
                      <a:cubicBezTo>
                        <a:pt x="474079" y="345944"/>
                        <a:pt x="355095" y="428317"/>
                        <a:pt x="223909" y="416113"/>
                      </a:cubicBezTo>
                      <a:cubicBezTo>
                        <a:pt x="159842" y="410011"/>
                        <a:pt x="101875" y="382554"/>
                        <a:pt x="59162" y="339842"/>
                      </a:cubicBezTo>
                      <a:cubicBezTo>
                        <a:pt x="34756" y="315435"/>
                        <a:pt x="16452" y="284927"/>
                        <a:pt x="7299" y="254418"/>
                      </a:cubicBezTo>
                      <a:cubicBezTo>
                        <a:pt x="1197" y="233062"/>
                        <a:pt x="-1855" y="208655"/>
                        <a:pt x="1197" y="187300"/>
                      </a:cubicBezTo>
                      <a:cubicBezTo>
                        <a:pt x="10350" y="71367"/>
                        <a:pt x="129333" y="-11006"/>
                        <a:pt x="260519" y="1198"/>
                      </a:cubicBezTo>
                      <a:cubicBezTo>
                        <a:pt x="324586" y="7300"/>
                        <a:pt x="382553" y="34757"/>
                        <a:pt x="425264" y="77469"/>
                      </a:cubicBezTo>
                      <a:close/>
                    </a:path>
                  </a:pathLst>
                </a:custGeom>
                <a:solidFill>
                  <a:srgbClr val="EDD1A9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DAF491B7-075A-480A-856A-2BFB5655A50D}"/>
                  </a:ext>
                </a:extLst>
              </p:cNvPr>
              <p:cNvSpPr/>
              <p:nvPr/>
            </p:nvSpPr>
            <p:spPr>
              <a:xfrm>
                <a:off x="20254180" y="3743955"/>
                <a:ext cx="282037" cy="297877"/>
              </a:xfrm>
              <a:custGeom>
                <a:avLst/>
                <a:gdLst>
                  <a:gd name="connsiteX0" fmla="*/ 229380 w 282037"/>
                  <a:gd name="connsiteY0" fmla="*/ 21831 h 297877"/>
                  <a:gd name="connsiteX1" fmla="*/ 250736 w 282037"/>
                  <a:gd name="connsiteY1" fmla="*/ 226238 h 297877"/>
                  <a:gd name="connsiteX2" fmla="*/ 52431 w 282037"/>
                  <a:gd name="connsiteY2" fmla="*/ 278102 h 297877"/>
                  <a:gd name="connsiteX3" fmla="*/ 6668 w 282037"/>
                  <a:gd name="connsiteY3" fmla="*/ 214034 h 297877"/>
                  <a:gd name="connsiteX4" fmla="*/ 566 w 282037"/>
                  <a:gd name="connsiteY4" fmla="*/ 186577 h 297877"/>
                  <a:gd name="connsiteX5" fmla="*/ 31074 w 282037"/>
                  <a:gd name="connsiteY5" fmla="*/ 73695 h 297877"/>
                  <a:gd name="connsiteX6" fmla="*/ 229380 w 282037"/>
                  <a:gd name="connsiteY6" fmla="*/ 21831 h 297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2037" h="297877">
                    <a:moveTo>
                      <a:pt x="229380" y="21831"/>
                    </a:moveTo>
                    <a:cubicBezTo>
                      <a:pt x="290397" y="64543"/>
                      <a:pt x="299551" y="156068"/>
                      <a:pt x="250736" y="226238"/>
                    </a:cubicBezTo>
                    <a:cubicBezTo>
                      <a:pt x="201923" y="296407"/>
                      <a:pt x="113448" y="317763"/>
                      <a:pt x="52431" y="278102"/>
                    </a:cubicBezTo>
                    <a:cubicBezTo>
                      <a:pt x="31074" y="262848"/>
                      <a:pt x="15820" y="238441"/>
                      <a:pt x="6668" y="214034"/>
                    </a:cubicBezTo>
                    <a:cubicBezTo>
                      <a:pt x="3618" y="204882"/>
                      <a:pt x="3618" y="195729"/>
                      <a:pt x="566" y="186577"/>
                    </a:cubicBezTo>
                    <a:cubicBezTo>
                      <a:pt x="-2484" y="146916"/>
                      <a:pt x="6668" y="107255"/>
                      <a:pt x="31074" y="73695"/>
                    </a:cubicBezTo>
                    <a:cubicBezTo>
                      <a:pt x="79889" y="475"/>
                      <a:pt x="171415" y="-20881"/>
                      <a:pt x="229380" y="21831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E49DC431-0FCC-491F-BD90-A60156B9C6A2}"/>
                  </a:ext>
                </a:extLst>
              </p:cNvPr>
              <p:cNvSpPr/>
              <p:nvPr/>
            </p:nvSpPr>
            <p:spPr>
              <a:xfrm>
                <a:off x="20515855" y="4354112"/>
                <a:ext cx="312908" cy="266909"/>
              </a:xfrm>
              <a:custGeom>
                <a:avLst/>
                <a:gdLst>
                  <a:gd name="connsiteX0" fmla="*/ 169061 w 312908"/>
                  <a:gd name="connsiteY0" fmla="*/ 488 h 266909"/>
                  <a:gd name="connsiteX1" fmla="*/ 275841 w 312908"/>
                  <a:gd name="connsiteY1" fmla="*/ 49301 h 266909"/>
                  <a:gd name="connsiteX2" fmla="*/ 312451 w 312908"/>
                  <a:gd name="connsiteY2" fmla="*/ 146928 h 266909"/>
                  <a:gd name="connsiteX3" fmla="*/ 144654 w 312908"/>
                  <a:gd name="connsiteY3" fmla="*/ 265912 h 266909"/>
                  <a:gd name="connsiteX4" fmla="*/ 37875 w 312908"/>
                  <a:gd name="connsiteY4" fmla="*/ 217098 h 266909"/>
                  <a:gd name="connsiteX5" fmla="*/ 4314 w 312908"/>
                  <a:gd name="connsiteY5" fmla="*/ 162183 h 266909"/>
                  <a:gd name="connsiteX6" fmla="*/ 1264 w 312908"/>
                  <a:gd name="connsiteY6" fmla="*/ 116420 h 266909"/>
                  <a:gd name="connsiteX7" fmla="*/ 169061 w 312908"/>
                  <a:gd name="connsiteY7" fmla="*/ 488 h 266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2908" h="266909">
                    <a:moveTo>
                      <a:pt x="169061" y="488"/>
                    </a:moveTo>
                    <a:cubicBezTo>
                      <a:pt x="208721" y="3538"/>
                      <a:pt x="248382" y="21844"/>
                      <a:pt x="275841" y="49301"/>
                    </a:cubicBezTo>
                    <a:cubicBezTo>
                      <a:pt x="303297" y="76759"/>
                      <a:pt x="315501" y="113369"/>
                      <a:pt x="312451" y="146928"/>
                    </a:cubicBezTo>
                    <a:cubicBezTo>
                      <a:pt x="306349" y="220149"/>
                      <a:pt x="230078" y="275064"/>
                      <a:pt x="144654" y="265912"/>
                    </a:cubicBezTo>
                    <a:cubicBezTo>
                      <a:pt x="104992" y="262860"/>
                      <a:pt x="65331" y="244555"/>
                      <a:pt x="37875" y="217098"/>
                    </a:cubicBezTo>
                    <a:cubicBezTo>
                      <a:pt x="22621" y="201844"/>
                      <a:pt x="10416" y="183538"/>
                      <a:pt x="4314" y="162183"/>
                    </a:cubicBezTo>
                    <a:cubicBezTo>
                      <a:pt x="1264" y="146928"/>
                      <a:pt x="-1788" y="131674"/>
                      <a:pt x="1264" y="116420"/>
                    </a:cubicBezTo>
                    <a:cubicBezTo>
                      <a:pt x="7366" y="46250"/>
                      <a:pt x="83637" y="-5614"/>
                      <a:pt x="169061" y="488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672E25EA-D87D-4C8C-B0FD-85928FD127F1}"/>
                  </a:ext>
                </a:extLst>
              </p:cNvPr>
              <p:cNvSpPr/>
              <p:nvPr/>
            </p:nvSpPr>
            <p:spPr>
              <a:xfrm>
                <a:off x="21043623" y="3459172"/>
                <a:ext cx="666586" cy="666823"/>
              </a:xfrm>
              <a:custGeom>
                <a:avLst/>
                <a:gdLst>
                  <a:gd name="connsiteX0" fmla="*/ 635869 w 666586"/>
                  <a:gd name="connsiteY0" fmla="*/ 193733 h 666823"/>
                  <a:gd name="connsiteX1" fmla="*/ 474175 w 666586"/>
                  <a:gd name="connsiteY1" fmla="*/ 636106 h 666823"/>
                  <a:gd name="connsiteX2" fmla="*/ 31802 w 666586"/>
                  <a:gd name="connsiteY2" fmla="*/ 474411 h 666823"/>
                  <a:gd name="connsiteX3" fmla="*/ 13497 w 666586"/>
                  <a:gd name="connsiteY3" fmla="*/ 428649 h 666823"/>
                  <a:gd name="connsiteX4" fmla="*/ 193496 w 666586"/>
                  <a:gd name="connsiteY4" fmla="*/ 32038 h 666823"/>
                  <a:gd name="connsiteX5" fmla="*/ 635869 w 666586"/>
                  <a:gd name="connsiteY5" fmla="*/ 193733 h 666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6586" h="666823">
                    <a:moveTo>
                      <a:pt x="635869" y="193733"/>
                    </a:moveTo>
                    <a:cubicBezTo>
                      <a:pt x="712140" y="361530"/>
                      <a:pt x="641971" y="559835"/>
                      <a:pt x="474175" y="636106"/>
                    </a:cubicBezTo>
                    <a:cubicBezTo>
                      <a:pt x="306378" y="712377"/>
                      <a:pt x="108073" y="642208"/>
                      <a:pt x="31802" y="474411"/>
                    </a:cubicBezTo>
                    <a:cubicBezTo>
                      <a:pt x="25700" y="459157"/>
                      <a:pt x="19598" y="443903"/>
                      <a:pt x="13497" y="428649"/>
                    </a:cubicBezTo>
                    <a:cubicBezTo>
                      <a:pt x="-32265" y="273055"/>
                      <a:pt x="40954" y="102208"/>
                      <a:pt x="193496" y="32038"/>
                    </a:cubicBezTo>
                    <a:cubicBezTo>
                      <a:pt x="358243" y="-47284"/>
                      <a:pt x="556548" y="25937"/>
                      <a:pt x="635869" y="193733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27940914-C641-44DF-9E30-C4558A48ABDF}"/>
                  </a:ext>
                </a:extLst>
              </p:cNvPr>
              <p:cNvSpPr/>
              <p:nvPr/>
            </p:nvSpPr>
            <p:spPr>
              <a:xfrm>
                <a:off x="21328105" y="3640162"/>
                <a:ext cx="69569" cy="71248"/>
              </a:xfrm>
              <a:custGeom>
                <a:avLst/>
                <a:gdLst>
                  <a:gd name="connsiteX0" fmla="*/ 49354 w 69569"/>
                  <a:gd name="connsiteY0" fmla="*/ 67658 h 71248"/>
                  <a:gd name="connsiteX1" fmla="*/ 3591 w 69569"/>
                  <a:gd name="connsiteY1" fmla="*/ 49353 h 71248"/>
                  <a:gd name="connsiteX2" fmla="*/ 21896 w 69569"/>
                  <a:gd name="connsiteY2" fmla="*/ 3591 h 71248"/>
                  <a:gd name="connsiteX3" fmla="*/ 67658 w 69569"/>
                  <a:gd name="connsiteY3" fmla="*/ 21896 h 71248"/>
                  <a:gd name="connsiteX4" fmla="*/ 49354 w 69569"/>
                  <a:gd name="connsiteY4" fmla="*/ 67658 h 71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569" h="71248">
                    <a:moveTo>
                      <a:pt x="49354" y="67658"/>
                    </a:moveTo>
                    <a:cubicBezTo>
                      <a:pt x="31048" y="76811"/>
                      <a:pt x="12743" y="67658"/>
                      <a:pt x="3591" y="49353"/>
                    </a:cubicBezTo>
                    <a:cubicBezTo>
                      <a:pt x="-5563" y="31048"/>
                      <a:pt x="3591" y="12743"/>
                      <a:pt x="21896" y="3591"/>
                    </a:cubicBezTo>
                    <a:cubicBezTo>
                      <a:pt x="40200" y="-5562"/>
                      <a:pt x="58506" y="3591"/>
                      <a:pt x="67658" y="21896"/>
                    </a:cubicBezTo>
                    <a:cubicBezTo>
                      <a:pt x="73760" y="40201"/>
                      <a:pt x="64608" y="61557"/>
                      <a:pt x="49354" y="67658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7F71E4AB-F801-4D9B-AE4C-AC52390A1E81}"/>
                  </a:ext>
                </a:extLst>
              </p:cNvPr>
              <p:cNvSpPr/>
              <p:nvPr/>
            </p:nvSpPr>
            <p:spPr>
              <a:xfrm>
                <a:off x="21428784" y="3859823"/>
                <a:ext cx="69945" cy="71249"/>
              </a:xfrm>
              <a:custGeom>
                <a:avLst/>
                <a:gdLst>
                  <a:gd name="connsiteX0" fmla="*/ 49353 w 69945"/>
                  <a:gd name="connsiteY0" fmla="*/ 67658 h 71249"/>
                  <a:gd name="connsiteX1" fmla="*/ 3590 w 69945"/>
                  <a:gd name="connsiteY1" fmla="*/ 49353 h 71249"/>
                  <a:gd name="connsiteX2" fmla="*/ 21895 w 69945"/>
                  <a:gd name="connsiteY2" fmla="*/ 3591 h 71249"/>
                  <a:gd name="connsiteX3" fmla="*/ 67657 w 69945"/>
                  <a:gd name="connsiteY3" fmla="*/ 21896 h 71249"/>
                  <a:gd name="connsiteX4" fmla="*/ 49353 w 69945"/>
                  <a:gd name="connsiteY4" fmla="*/ 67658 h 71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45" h="71249">
                    <a:moveTo>
                      <a:pt x="49353" y="67658"/>
                    </a:moveTo>
                    <a:cubicBezTo>
                      <a:pt x="31047" y="76811"/>
                      <a:pt x="12743" y="67658"/>
                      <a:pt x="3590" y="49353"/>
                    </a:cubicBezTo>
                    <a:cubicBezTo>
                      <a:pt x="-5562" y="31048"/>
                      <a:pt x="3590" y="12743"/>
                      <a:pt x="21895" y="3591"/>
                    </a:cubicBezTo>
                    <a:cubicBezTo>
                      <a:pt x="40201" y="-5562"/>
                      <a:pt x="58505" y="3591"/>
                      <a:pt x="67657" y="21896"/>
                    </a:cubicBezTo>
                    <a:cubicBezTo>
                      <a:pt x="73760" y="40201"/>
                      <a:pt x="67657" y="58506"/>
                      <a:pt x="49353" y="67658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3669294B-E130-4EBE-BED4-645228256AAC}"/>
                  </a:ext>
                </a:extLst>
              </p:cNvPr>
              <p:cNvSpPr/>
              <p:nvPr/>
            </p:nvSpPr>
            <p:spPr>
              <a:xfrm>
                <a:off x="21237555" y="3766735"/>
                <a:ext cx="103674" cy="147594"/>
              </a:xfrm>
              <a:custGeom>
                <a:avLst/>
                <a:gdLst>
                  <a:gd name="connsiteX0" fmla="*/ 84987 w 103674"/>
                  <a:gd name="connsiteY0" fmla="*/ 145492 h 147594"/>
                  <a:gd name="connsiteX1" fmla="*/ 11768 w 103674"/>
                  <a:gd name="connsiteY1" fmla="*/ 93628 h 147594"/>
                  <a:gd name="connsiteX2" fmla="*/ 20920 w 103674"/>
                  <a:gd name="connsiteY2" fmla="*/ 2103 h 147594"/>
                  <a:gd name="connsiteX3" fmla="*/ 94141 w 103674"/>
                  <a:gd name="connsiteY3" fmla="*/ 53967 h 147594"/>
                  <a:gd name="connsiteX4" fmla="*/ 84987 w 103674"/>
                  <a:gd name="connsiteY4" fmla="*/ 145492 h 147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674" h="147594">
                    <a:moveTo>
                      <a:pt x="84987" y="145492"/>
                    </a:moveTo>
                    <a:cubicBezTo>
                      <a:pt x="63633" y="154645"/>
                      <a:pt x="30072" y="133289"/>
                      <a:pt x="11768" y="93628"/>
                    </a:cubicBezTo>
                    <a:cubicBezTo>
                      <a:pt x="-6538" y="53967"/>
                      <a:pt x="-3486" y="14306"/>
                      <a:pt x="20920" y="2103"/>
                    </a:cubicBezTo>
                    <a:cubicBezTo>
                      <a:pt x="42277" y="-7050"/>
                      <a:pt x="75835" y="14306"/>
                      <a:pt x="94141" y="53967"/>
                    </a:cubicBezTo>
                    <a:cubicBezTo>
                      <a:pt x="109396" y="96679"/>
                      <a:pt x="106344" y="136340"/>
                      <a:pt x="84987" y="145492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8F9ADC7E-878D-4879-B75E-514F0283B056}"/>
                  </a:ext>
                </a:extLst>
              </p:cNvPr>
              <p:cNvSpPr/>
              <p:nvPr/>
            </p:nvSpPr>
            <p:spPr>
              <a:xfrm>
                <a:off x="21132250" y="3808498"/>
                <a:ext cx="90812" cy="165942"/>
              </a:xfrm>
              <a:custGeom>
                <a:avLst/>
                <a:gdLst>
                  <a:gd name="connsiteX0" fmla="*/ 4191 w 90812"/>
                  <a:gd name="connsiteY0" fmla="*/ 85424 h 165942"/>
                  <a:gd name="connsiteX1" fmla="*/ 10294 w 90812"/>
                  <a:gd name="connsiteY1" fmla="*/ 100678 h 165942"/>
                  <a:gd name="connsiteX2" fmla="*/ 74361 w 90812"/>
                  <a:gd name="connsiteY2" fmla="*/ 164746 h 165942"/>
                  <a:gd name="connsiteX3" fmla="*/ 89615 w 90812"/>
                  <a:gd name="connsiteY3" fmla="*/ 158644 h 165942"/>
                  <a:gd name="connsiteX4" fmla="*/ 83513 w 90812"/>
                  <a:gd name="connsiteY4" fmla="*/ 143390 h 165942"/>
                  <a:gd name="connsiteX5" fmla="*/ 28598 w 90812"/>
                  <a:gd name="connsiteY5" fmla="*/ 88475 h 165942"/>
                  <a:gd name="connsiteX6" fmla="*/ 22496 w 90812"/>
                  <a:gd name="connsiteY6" fmla="*/ 12203 h 165942"/>
                  <a:gd name="connsiteX7" fmla="*/ 13344 w 90812"/>
                  <a:gd name="connsiteY7" fmla="*/ 0 h 165942"/>
                  <a:gd name="connsiteX8" fmla="*/ 1141 w 90812"/>
                  <a:gd name="connsiteY8" fmla="*/ 9153 h 165942"/>
                  <a:gd name="connsiteX9" fmla="*/ 4191 w 90812"/>
                  <a:gd name="connsiteY9" fmla="*/ 85424 h 165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0812" h="165942">
                    <a:moveTo>
                      <a:pt x="4191" y="85424"/>
                    </a:moveTo>
                    <a:cubicBezTo>
                      <a:pt x="7242" y="91525"/>
                      <a:pt x="7242" y="94576"/>
                      <a:pt x="10294" y="100678"/>
                    </a:cubicBezTo>
                    <a:cubicBezTo>
                      <a:pt x="28598" y="143390"/>
                      <a:pt x="71311" y="164746"/>
                      <a:pt x="74361" y="164746"/>
                    </a:cubicBezTo>
                    <a:cubicBezTo>
                      <a:pt x="80463" y="167797"/>
                      <a:pt x="86565" y="164746"/>
                      <a:pt x="89615" y="158644"/>
                    </a:cubicBezTo>
                    <a:cubicBezTo>
                      <a:pt x="92667" y="152542"/>
                      <a:pt x="89615" y="146441"/>
                      <a:pt x="83513" y="143390"/>
                    </a:cubicBezTo>
                    <a:cubicBezTo>
                      <a:pt x="83513" y="143390"/>
                      <a:pt x="46904" y="125085"/>
                      <a:pt x="28598" y="88475"/>
                    </a:cubicBezTo>
                    <a:cubicBezTo>
                      <a:pt x="13344" y="51865"/>
                      <a:pt x="22496" y="12203"/>
                      <a:pt x="22496" y="12203"/>
                    </a:cubicBezTo>
                    <a:cubicBezTo>
                      <a:pt x="22496" y="6102"/>
                      <a:pt x="19446" y="0"/>
                      <a:pt x="13344" y="0"/>
                    </a:cubicBezTo>
                    <a:cubicBezTo>
                      <a:pt x="7242" y="0"/>
                      <a:pt x="1141" y="3051"/>
                      <a:pt x="1141" y="9153"/>
                    </a:cubicBezTo>
                    <a:cubicBezTo>
                      <a:pt x="4191" y="12203"/>
                      <a:pt x="-4961" y="48814"/>
                      <a:pt x="4191" y="8542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040C4B3D-EAD6-4081-B3AF-C787DD2F2F8C}"/>
                  </a:ext>
                </a:extLst>
              </p:cNvPr>
              <p:cNvSpPr/>
              <p:nvPr/>
            </p:nvSpPr>
            <p:spPr>
              <a:xfrm>
                <a:off x="21036696" y="3726125"/>
                <a:ext cx="179067" cy="360000"/>
              </a:xfrm>
              <a:custGeom>
                <a:avLst/>
                <a:gdLst>
                  <a:gd name="connsiteX0" fmla="*/ 172967 w 179067"/>
                  <a:gd name="connsiteY0" fmla="*/ 360000 h 360000"/>
                  <a:gd name="connsiteX1" fmla="*/ 172967 w 179067"/>
                  <a:gd name="connsiteY1" fmla="*/ 360000 h 360000"/>
                  <a:gd name="connsiteX2" fmla="*/ 5170 w 179067"/>
                  <a:gd name="connsiteY2" fmla="*/ 6102 h 360000"/>
                  <a:gd name="connsiteX3" fmla="*/ 11270 w 179067"/>
                  <a:gd name="connsiteY3" fmla="*/ 0 h 360000"/>
                  <a:gd name="connsiteX4" fmla="*/ 17373 w 179067"/>
                  <a:gd name="connsiteY4" fmla="*/ 6102 h 360000"/>
                  <a:gd name="connsiteX5" fmla="*/ 176017 w 179067"/>
                  <a:gd name="connsiteY5" fmla="*/ 347797 h 360000"/>
                  <a:gd name="connsiteX6" fmla="*/ 179067 w 179067"/>
                  <a:gd name="connsiteY6" fmla="*/ 353898 h 360000"/>
                  <a:gd name="connsiteX7" fmla="*/ 172967 w 179067"/>
                  <a:gd name="connsiteY7" fmla="*/ 360000 h 3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067" h="360000">
                    <a:moveTo>
                      <a:pt x="172967" y="360000"/>
                    </a:moveTo>
                    <a:cubicBezTo>
                      <a:pt x="172967" y="360000"/>
                      <a:pt x="169915" y="360000"/>
                      <a:pt x="172967" y="360000"/>
                    </a:cubicBezTo>
                    <a:cubicBezTo>
                      <a:pt x="166865" y="356949"/>
                      <a:pt x="-34492" y="250169"/>
                      <a:pt x="5170" y="6102"/>
                    </a:cubicBezTo>
                    <a:cubicBezTo>
                      <a:pt x="5170" y="3051"/>
                      <a:pt x="8220" y="0"/>
                      <a:pt x="11270" y="0"/>
                    </a:cubicBezTo>
                    <a:cubicBezTo>
                      <a:pt x="14322" y="0"/>
                      <a:pt x="17373" y="3051"/>
                      <a:pt x="17373" y="6102"/>
                    </a:cubicBezTo>
                    <a:cubicBezTo>
                      <a:pt x="-22288" y="241017"/>
                      <a:pt x="172967" y="344746"/>
                      <a:pt x="176017" y="347797"/>
                    </a:cubicBezTo>
                    <a:cubicBezTo>
                      <a:pt x="179067" y="347797"/>
                      <a:pt x="179067" y="353898"/>
                      <a:pt x="179067" y="353898"/>
                    </a:cubicBezTo>
                    <a:cubicBezTo>
                      <a:pt x="176017" y="360000"/>
                      <a:pt x="176017" y="360000"/>
                      <a:pt x="172967" y="36000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EF82C5A6-B508-4197-B8CC-FA7B8543B12F}"/>
                </a:ext>
              </a:extLst>
            </p:cNvPr>
            <p:cNvSpPr/>
            <p:nvPr/>
          </p:nvSpPr>
          <p:spPr>
            <a:xfrm>
              <a:off x="21099831" y="4162397"/>
              <a:ext cx="190589" cy="134392"/>
            </a:xfrm>
            <a:custGeom>
              <a:avLst/>
              <a:gdLst>
                <a:gd name="connsiteX0" fmla="*/ 0 w 190589"/>
                <a:gd name="connsiteY0" fmla="*/ 0 h 134392"/>
                <a:gd name="connsiteX1" fmla="*/ 137288 w 190589"/>
                <a:gd name="connsiteY1" fmla="*/ 48814 h 134392"/>
                <a:gd name="connsiteX2" fmla="*/ 189153 w 190589"/>
                <a:gd name="connsiteY2" fmla="*/ 125085 h 134392"/>
                <a:gd name="connsiteX3" fmla="*/ 61017 w 190589"/>
                <a:gd name="connsiteY3" fmla="*/ 76271 h 134392"/>
                <a:gd name="connsiteX4" fmla="*/ 0 w 190589"/>
                <a:gd name="connsiteY4" fmla="*/ 0 h 13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89" h="134392">
                  <a:moveTo>
                    <a:pt x="0" y="0"/>
                  </a:moveTo>
                  <a:cubicBezTo>
                    <a:pt x="0" y="0"/>
                    <a:pt x="112882" y="24407"/>
                    <a:pt x="137288" y="48814"/>
                  </a:cubicBezTo>
                  <a:cubicBezTo>
                    <a:pt x="161695" y="73220"/>
                    <a:pt x="198305" y="106780"/>
                    <a:pt x="189153" y="125085"/>
                  </a:cubicBezTo>
                  <a:cubicBezTo>
                    <a:pt x="164747" y="164746"/>
                    <a:pt x="97627" y="64068"/>
                    <a:pt x="61017" y="76271"/>
                  </a:cubicBezTo>
                  <a:cubicBezTo>
                    <a:pt x="42713" y="8237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8" name="图形 1">
              <a:extLst>
                <a:ext uri="{FF2B5EF4-FFF2-40B4-BE49-F238E27FC236}">
                  <a16:creationId xmlns:a16="http://schemas.microsoft.com/office/drawing/2014/main" id="{A1CA730D-D511-4365-836D-CDEBEF28C281}"/>
                </a:ext>
              </a:extLst>
            </p:cNvPr>
            <p:cNvGrpSpPr/>
            <p:nvPr/>
          </p:nvGrpSpPr>
          <p:grpSpPr>
            <a:xfrm>
              <a:off x="20913115" y="4104253"/>
              <a:ext cx="351651" cy="329669"/>
              <a:chOff x="20913115" y="4104253"/>
              <a:chExt cx="351651" cy="329669"/>
            </a:xfrm>
          </p:grpSpPr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0A556746-B018-469F-9BA4-4968FB3E0CA2}"/>
                  </a:ext>
                </a:extLst>
              </p:cNvPr>
              <p:cNvSpPr/>
              <p:nvPr/>
            </p:nvSpPr>
            <p:spPr>
              <a:xfrm>
                <a:off x="20913115" y="4104253"/>
                <a:ext cx="347511" cy="316737"/>
              </a:xfrm>
              <a:custGeom>
                <a:avLst/>
                <a:gdLst>
                  <a:gd name="connsiteX0" fmla="*/ 15869 w 347511"/>
                  <a:gd name="connsiteY0" fmla="*/ 131364 h 316737"/>
                  <a:gd name="connsiteX1" fmla="*/ 79936 w 347511"/>
                  <a:gd name="connsiteY1" fmla="*/ 225941 h 316737"/>
                  <a:gd name="connsiteX2" fmla="*/ 119597 w 347511"/>
                  <a:gd name="connsiteY2" fmla="*/ 311364 h 316737"/>
                  <a:gd name="connsiteX3" fmla="*/ 339258 w 347511"/>
                  <a:gd name="connsiteY3" fmla="*/ 235093 h 316737"/>
                  <a:gd name="connsiteX4" fmla="*/ 317902 w 347511"/>
                  <a:gd name="connsiteY4" fmla="*/ 167975 h 316737"/>
                  <a:gd name="connsiteX5" fmla="*/ 125699 w 347511"/>
                  <a:gd name="connsiteY5" fmla="*/ 178 h 316737"/>
                  <a:gd name="connsiteX6" fmla="*/ 9767 w 347511"/>
                  <a:gd name="connsiteY6" fmla="*/ 76449 h 316737"/>
                  <a:gd name="connsiteX7" fmla="*/ 15869 w 347511"/>
                  <a:gd name="connsiteY7" fmla="*/ 131364 h 316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7511" h="316737">
                    <a:moveTo>
                      <a:pt x="15869" y="131364"/>
                    </a:moveTo>
                    <a:cubicBezTo>
                      <a:pt x="37226" y="161873"/>
                      <a:pt x="61632" y="192381"/>
                      <a:pt x="79936" y="225941"/>
                    </a:cubicBezTo>
                    <a:cubicBezTo>
                      <a:pt x="101293" y="259500"/>
                      <a:pt x="92140" y="280856"/>
                      <a:pt x="119597" y="311364"/>
                    </a:cubicBezTo>
                    <a:cubicBezTo>
                      <a:pt x="137903" y="332720"/>
                      <a:pt x="296548" y="286958"/>
                      <a:pt x="339258" y="235093"/>
                    </a:cubicBezTo>
                    <a:cubicBezTo>
                      <a:pt x="363665" y="204585"/>
                      <a:pt x="327056" y="183229"/>
                      <a:pt x="317902" y="167975"/>
                    </a:cubicBezTo>
                    <a:cubicBezTo>
                      <a:pt x="259937" y="82551"/>
                      <a:pt x="198920" y="73398"/>
                      <a:pt x="125699" y="178"/>
                    </a:cubicBezTo>
                    <a:cubicBezTo>
                      <a:pt x="128751" y="-2873"/>
                      <a:pt x="34174" y="33737"/>
                      <a:pt x="9767" y="76449"/>
                    </a:cubicBezTo>
                    <a:cubicBezTo>
                      <a:pt x="-5487" y="97805"/>
                      <a:pt x="-2437" y="106958"/>
                      <a:pt x="15869" y="131364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A6F63552-82B8-4A33-AE91-F09BA0EBE271}"/>
                  </a:ext>
                </a:extLst>
              </p:cNvPr>
              <p:cNvSpPr/>
              <p:nvPr/>
            </p:nvSpPr>
            <p:spPr>
              <a:xfrm>
                <a:off x="20977797" y="4192905"/>
                <a:ext cx="286969" cy="241016"/>
              </a:xfrm>
              <a:custGeom>
                <a:avLst/>
                <a:gdLst>
                  <a:gd name="connsiteX0" fmla="*/ 109832 w 286969"/>
                  <a:gd name="connsiteY0" fmla="*/ 241017 h 241016"/>
                  <a:gd name="connsiteX1" fmla="*/ 70169 w 286969"/>
                  <a:gd name="connsiteY1" fmla="*/ 231864 h 241016"/>
                  <a:gd name="connsiteX2" fmla="*/ 30508 w 286969"/>
                  <a:gd name="connsiteY2" fmla="*/ 192203 h 241016"/>
                  <a:gd name="connsiteX3" fmla="*/ 0 w 286969"/>
                  <a:gd name="connsiteY3" fmla="*/ 122034 h 241016"/>
                  <a:gd name="connsiteX4" fmla="*/ 3052 w 286969"/>
                  <a:gd name="connsiteY4" fmla="*/ 112881 h 241016"/>
                  <a:gd name="connsiteX5" fmla="*/ 12204 w 286969"/>
                  <a:gd name="connsiteY5" fmla="*/ 115932 h 241016"/>
                  <a:gd name="connsiteX6" fmla="*/ 45763 w 286969"/>
                  <a:gd name="connsiteY6" fmla="*/ 189152 h 241016"/>
                  <a:gd name="connsiteX7" fmla="*/ 79323 w 286969"/>
                  <a:gd name="connsiteY7" fmla="*/ 219661 h 241016"/>
                  <a:gd name="connsiteX8" fmla="*/ 146440 w 286969"/>
                  <a:gd name="connsiteY8" fmla="*/ 219661 h 241016"/>
                  <a:gd name="connsiteX9" fmla="*/ 277628 w 286969"/>
                  <a:gd name="connsiteY9" fmla="*/ 115932 h 241016"/>
                  <a:gd name="connsiteX10" fmla="*/ 180001 w 286969"/>
                  <a:gd name="connsiteY10" fmla="*/ 12203 h 241016"/>
                  <a:gd name="connsiteX11" fmla="*/ 176949 w 286969"/>
                  <a:gd name="connsiteY11" fmla="*/ 3051 h 241016"/>
                  <a:gd name="connsiteX12" fmla="*/ 186103 w 286969"/>
                  <a:gd name="connsiteY12" fmla="*/ 0 h 241016"/>
                  <a:gd name="connsiteX13" fmla="*/ 286780 w 286969"/>
                  <a:gd name="connsiteY13" fmla="*/ 112881 h 241016"/>
                  <a:gd name="connsiteX14" fmla="*/ 149492 w 286969"/>
                  <a:gd name="connsiteY14" fmla="*/ 228814 h 241016"/>
                  <a:gd name="connsiteX15" fmla="*/ 109832 w 286969"/>
                  <a:gd name="connsiteY15" fmla="*/ 241017 h 241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6969" h="241016">
                    <a:moveTo>
                      <a:pt x="109832" y="241017"/>
                    </a:moveTo>
                    <a:cubicBezTo>
                      <a:pt x="97627" y="241017"/>
                      <a:pt x="82373" y="237966"/>
                      <a:pt x="70169" y="231864"/>
                    </a:cubicBezTo>
                    <a:cubicBezTo>
                      <a:pt x="51865" y="222712"/>
                      <a:pt x="36611" y="210508"/>
                      <a:pt x="30508" y="192203"/>
                    </a:cubicBezTo>
                    <a:cubicBezTo>
                      <a:pt x="18306" y="158644"/>
                      <a:pt x="0" y="122034"/>
                      <a:pt x="0" y="122034"/>
                    </a:cubicBezTo>
                    <a:cubicBezTo>
                      <a:pt x="0" y="118983"/>
                      <a:pt x="0" y="115932"/>
                      <a:pt x="3052" y="112881"/>
                    </a:cubicBezTo>
                    <a:cubicBezTo>
                      <a:pt x="6102" y="112881"/>
                      <a:pt x="9152" y="112881"/>
                      <a:pt x="12204" y="115932"/>
                    </a:cubicBezTo>
                    <a:cubicBezTo>
                      <a:pt x="12204" y="115932"/>
                      <a:pt x="33560" y="152542"/>
                      <a:pt x="45763" y="189152"/>
                    </a:cubicBezTo>
                    <a:cubicBezTo>
                      <a:pt x="48815" y="201356"/>
                      <a:pt x="61017" y="213559"/>
                      <a:pt x="79323" y="219661"/>
                    </a:cubicBezTo>
                    <a:cubicBezTo>
                      <a:pt x="100678" y="228814"/>
                      <a:pt x="128136" y="228814"/>
                      <a:pt x="146440" y="219661"/>
                    </a:cubicBezTo>
                    <a:cubicBezTo>
                      <a:pt x="204407" y="192203"/>
                      <a:pt x="283728" y="140339"/>
                      <a:pt x="277628" y="115932"/>
                    </a:cubicBezTo>
                    <a:cubicBezTo>
                      <a:pt x="271526" y="70169"/>
                      <a:pt x="183051" y="12203"/>
                      <a:pt x="180001" y="12203"/>
                    </a:cubicBezTo>
                    <a:cubicBezTo>
                      <a:pt x="176949" y="9152"/>
                      <a:pt x="176949" y="6102"/>
                      <a:pt x="176949" y="3051"/>
                    </a:cubicBezTo>
                    <a:cubicBezTo>
                      <a:pt x="180001" y="0"/>
                      <a:pt x="183051" y="0"/>
                      <a:pt x="186103" y="0"/>
                    </a:cubicBezTo>
                    <a:cubicBezTo>
                      <a:pt x="189153" y="3051"/>
                      <a:pt x="277628" y="61017"/>
                      <a:pt x="286780" y="112881"/>
                    </a:cubicBezTo>
                    <a:cubicBezTo>
                      <a:pt x="292882" y="158644"/>
                      <a:pt x="149492" y="225763"/>
                      <a:pt x="149492" y="228814"/>
                    </a:cubicBezTo>
                    <a:cubicBezTo>
                      <a:pt x="137288" y="237966"/>
                      <a:pt x="122034" y="241017"/>
                      <a:pt x="109832" y="24101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EF1082CC-F2B7-4476-B919-11CAEE8B59F1}"/>
                  </a:ext>
                </a:extLst>
              </p:cNvPr>
              <p:cNvSpPr/>
              <p:nvPr/>
            </p:nvSpPr>
            <p:spPr>
              <a:xfrm>
                <a:off x="21075424" y="4325786"/>
                <a:ext cx="102034" cy="44067"/>
              </a:xfrm>
              <a:custGeom>
                <a:avLst/>
                <a:gdLst>
                  <a:gd name="connsiteX0" fmla="*/ 6102 w 102034"/>
                  <a:gd name="connsiteY0" fmla="*/ 44068 h 44067"/>
                  <a:gd name="connsiteX1" fmla="*/ 0 w 102034"/>
                  <a:gd name="connsiteY1" fmla="*/ 41017 h 44067"/>
                  <a:gd name="connsiteX2" fmla="*/ 3050 w 102034"/>
                  <a:gd name="connsiteY2" fmla="*/ 34915 h 44067"/>
                  <a:gd name="connsiteX3" fmla="*/ 91525 w 102034"/>
                  <a:gd name="connsiteY3" fmla="*/ 1356 h 44067"/>
                  <a:gd name="connsiteX4" fmla="*/ 100678 w 102034"/>
                  <a:gd name="connsiteY4" fmla="*/ 1356 h 44067"/>
                  <a:gd name="connsiteX5" fmla="*/ 100678 w 102034"/>
                  <a:gd name="connsiteY5" fmla="*/ 10509 h 44067"/>
                  <a:gd name="connsiteX6" fmla="*/ 6102 w 102034"/>
                  <a:gd name="connsiteY6" fmla="*/ 44068 h 44067"/>
                  <a:gd name="connsiteX7" fmla="*/ 6102 w 102034"/>
                  <a:gd name="connsiteY7" fmla="*/ 44068 h 44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034" h="44067">
                    <a:moveTo>
                      <a:pt x="6102" y="44068"/>
                    </a:moveTo>
                    <a:cubicBezTo>
                      <a:pt x="3050" y="44068"/>
                      <a:pt x="0" y="41017"/>
                      <a:pt x="0" y="41017"/>
                    </a:cubicBezTo>
                    <a:cubicBezTo>
                      <a:pt x="0" y="37966"/>
                      <a:pt x="0" y="34915"/>
                      <a:pt x="3050" y="34915"/>
                    </a:cubicBezTo>
                    <a:cubicBezTo>
                      <a:pt x="21356" y="28814"/>
                      <a:pt x="76271" y="13559"/>
                      <a:pt x="91525" y="1356"/>
                    </a:cubicBezTo>
                    <a:cubicBezTo>
                      <a:pt x="94576" y="-1695"/>
                      <a:pt x="97627" y="1356"/>
                      <a:pt x="100678" y="1356"/>
                    </a:cubicBezTo>
                    <a:cubicBezTo>
                      <a:pt x="103730" y="4407"/>
                      <a:pt x="100678" y="7458"/>
                      <a:pt x="100678" y="10509"/>
                    </a:cubicBezTo>
                    <a:cubicBezTo>
                      <a:pt x="79321" y="22712"/>
                      <a:pt x="12204" y="41017"/>
                      <a:pt x="6102" y="44068"/>
                    </a:cubicBezTo>
                    <a:cubicBezTo>
                      <a:pt x="6102" y="41017"/>
                      <a:pt x="6102" y="44068"/>
                      <a:pt x="6102" y="440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7A1F9CA1-63BF-4B6A-82A7-B9904FDCA912}"/>
                </a:ext>
              </a:extLst>
            </p:cNvPr>
            <p:cNvSpPr/>
            <p:nvPr/>
          </p:nvSpPr>
          <p:spPr>
            <a:xfrm>
              <a:off x="20409732" y="2684206"/>
              <a:ext cx="674866" cy="1599797"/>
            </a:xfrm>
            <a:custGeom>
              <a:avLst/>
              <a:gdLst>
                <a:gd name="connsiteX0" fmla="*/ 534506 w 674866"/>
                <a:gd name="connsiteY0" fmla="*/ 10733 h 1599797"/>
                <a:gd name="connsiteX1" fmla="*/ 546708 w 674866"/>
                <a:gd name="connsiteY1" fmla="*/ 529377 h 1599797"/>
                <a:gd name="connsiteX2" fmla="*/ 369760 w 674866"/>
                <a:gd name="connsiteY2" fmla="*/ 959547 h 1599797"/>
                <a:gd name="connsiteX3" fmla="*/ 674844 w 674866"/>
                <a:gd name="connsiteY3" fmla="*/ 1450733 h 1599797"/>
                <a:gd name="connsiteX4" fmla="*/ 537556 w 674866"/>
                <a:gd name="connsiteY4" fmla="*/ 1597174 h 1599797"/>
                <a:gd name="connsiteX5" fmla="*/ 3658 w 674866"/>
                <a:gd name="connsiteY5" fmla="*/ 1026665 h 1599797"/>
                <a:gd name="connsiteX6" fmla="*/ 534506 w 674866"/>
                <a:gd name="connsiteY6" fmla="*/ 10733 h 1599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866" h="1599797">
                  <a:moveTo>
                    <a:pt x="534506" y="10733"/>
                  </a:moveTo>
                  <a:cubicBezTo>
                    <a:pt x="659590" y="65648"/>
                    <a:pt x="586371" y="407343"/>
                    <a:pt x="546708" y="529377"/>
                  </a:cubicBezTo>
                  <a:cubicBezTo>
                    <a:pt x="510100" y="639208"/>
                    <a:pt x="369760" y="959547"/>
                    <a:pt x="369760" y="959547"/>
                  </a:cubicBezTo>
                  <a:cubicBezTo>
                    <a:pt x="369760" y="959547"/>
                    <a:pt x="677896" y="1307343"/>
                    <a:pt x="674844" y="1450733"/>
                  </a:cubicBezTo>
                  <a:cubicBezTo>
                    <a:pt x="653488" y="1499547"/>
                    <a:pt x="604675" y="1554462"/>
                    <a:pt x="537556" y="1597174"/>
                  </a:cubicBezTo>
                  <a:cubicBezTo>
                    <a:pt x="372812" y="1639886"/>
                    <a:pt x="40268" y="1148699"/>
                    <a:pt x="3658" y="1026665"/>
                  </a:cubicBezTo>
                  <a:cubicBezTo>
                    <a:pt x="-36003" y="892428"/>
                    <a:pt x="253828" y="-114351"/>
                    <a:pt x="534506" y="10733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0C6624F3-E990-460B-96E7-7835347E67B1}"/>
                </a:ext>
              </a:extLst>
            </p:cNvPr>
            <p:cNvSpPr/>
            <p:nvPr/>
          </p:nvSpPr>
          <p:spPr>
            <a:xfrm>
              <a:off x="20773390" y="2676213"/>
              <a:ext cx="247643" cy="970589"/>
            </a:xfrm>
            <a:custGeom>
              <a:avLst/>
              <a:gdLst>
                <a:gd name="connsiteX0" fmla="*/ 6102 w 247643"/>
                <a:gd name="connsiteY0" fmla="*/ 970590 h 970589"/>
                <a:gd name="connsiteX1" fmla="*/ 6102 w 247643"/>
                <a:gd name="connsiteY1" fmla="*/ 970590 h 970589"/>
                <a:gd name="connsiteX2" fmla="*/ 0 w 247643"/>
                <a:gd name="connsiteY2" fmla="*/ 961437 h 970589"/>
                <a:gd name="connsiteX3" fmla="*/ 231866 w 247643"/>
                <a:gd name="connsiteY3" fmla="*/ 159064 h 970589"/>
                <a:gd name="connsiteX4" fmla="*/ 161696 w 247643"/>
                <a:gd name="connsiteY4" fmla="*/ 21776 h 970589"/>
                <a:gd name="connsiteX5" fmla="*/ 94577 w 247643"/>
                <a:gd name="connsiteY5" fmla="*/ 12624 h 970589"/>
                <a:gd name="connsiteX6" fmla="*/ 88475 w 247643"/>
                <a:gd name="connsiteY6" fmla="*/ 9573 h 970589"/>
                <a:gd name="connsiteX7" fmla="*/ 91525 w 247643"/>
                <a:gd name="connsiteY7" fmla="*/ 3471 h 970589"/>
                <a:gd name="connsiteX8" fmla="*/ 167797 w 247643"/>
                <a:gd name="connsiteY8" fmla="*/ 12624 h 970589"/>
                <a:gd name="connsiteX9" fmla="*/ 244068 w 247643"/>
                <a:gd name="connsiteY9" fmla="*/ 159064 h 970589"/>
                <a:gd name="connsiteX10" fmla="*/ 12204 w 247643"/>
                <a:gd name="connsiteY10" fmla="*/ 967539 h 970589"/>
                <a:gd name="connsiteX11" fmla="*/ 6102 w 247643"/>
                <a:gd name="connsiteY11" fmla="*/ 970590 h 97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7643" h="970589">
                  <a:moveTo>
                    <a:pt x="6102" y="970590"/>
                  </a:moveTo>
                  <a:cubicBezTo>
                    <a:pt x="6102" y="970590"/>
                    <a:pt x="6102" y="970590"/>
                    <a:pt x="6102" y="970590"/>
                  </a:cubicBezTo>
                  <a:cubicBezTo>
                    <a:pt x="0" y="967539"/>
                    <a:pt x="0" y="964488"/>
                    <a:pt x="0" y="961437"/>
                  </a:cubicBezTo>
                  <a:cubicBezTo>
                    <a:pt x="3052" y="955336"/>
                    <a:pt x="268476" y="381776"/>
                    <a:pt x="231866" y="159064"/>
                  </a:cubicBezTo>
                  <a:cubicBezTo>
                    <a:pt x="219661" y="88895"/>
                    <a:pt x="195255" y="43132"/>
                    <a:pt x="161696" y="21776"/>
                  </a:cubicBezTo>
                  <a:cubicBezTo>
                    <a:pt x="128136" y="420"/>
                    <a:pt x="94577" y="12624"/>
                    <a:pt x="94577" y="12624"/>
                  </a:cubicBezTo>
                  <a:cubicBezTo>
                    <a:pt x="91525" y="12624"/>
                    <a:pt x="88475" y="12624"/>
                    <a:pt x="88475" y="9573"/>
                  </a:cubicBezTo>
                  <a:cubicBezTo>
                    <a:pt x="88475" y="6522"/>
                    <a:pt x="88475" y="3471"/>
                    <a:pt x="91525" y="3471"/>
                  </a:cubicBezTo>
                  <a:cubicBezTo>
                    <a:pt x="94577" y="3471"/>
                    <a:pt x="131188" y="-8732"/>
                    <a:pt x="167797" y="12624"/>
                  </a:cubicBezTo>
                  <a:cubicBezTo>
                    <a:pt x="207459" y="33980"/>
                    <a:pt x="231866" y="85844"/>
                    <a:pt x="244068" y="159064"/>
                  </a:cubicBezTo>
                  <a:cubicBezTo>
                    <a:pt x="280678" y="384827"/>
                    <a:pt x="24408" y="943132"/>
                    <a:pt x="12204" y="967539"/>
                  </a:cubicBezTo>
                  <a:cubicBezTo>
                    <a:pt x="9154" y="970590"/>
                    <a:pt x="9154" y="970590"/>
                    <a:pt x="6102" y="970590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034624F8-B280-4BE9-81BB-87E9DB801C7C}"/>
                </a:ext>
              </a:extLst>
            </p:cNvPr>
            <p:cNvSpPr/>
            <p:nvPr/>
          </p:nvSpPr>
          <p:spPr>
            <a:xfrm>
              <a:off x="20657458" y="3597794"/>
              <a:ext cx="128135" cy="70365"/>
            </a:xfrm>
            <a:custGeom>
              <a:avLst/>
              <a:gdLst>
                <a:gd name="connsiteX0" fmla="*/ 48815 w 128135"/>
                <a:gd name="connsiteY0" fmla="*/ 70365 h 70365"/>
                <a:gd name="connsiteX1" fmla="*/ 42713 w 128135"/>
                <a:gd name="connsiteY1" fmla="*/ 67314 h 70365"/>
                <a:gd name="connsiteX2" fmla="*/ 45763 w 128135"/>
                <a:gd name="connsiteY2" fmla="*/ 58162 h 70365"/>
                <a:gd name="connsiteX3" fmla="*/ 100678 w 128135"/>
                <a:gd name="connsiteY3" fmla="*/ 39857 h 70365"/>
                <a:gd name="connsiteX4" fmla="*/ 9152 w 128135"/>
                <a:gd name="connsiteY4" fmla="*/ 12399 h 70365"/>
                <a:gd name="connsiteX5" fmla="*/ 6102 w 128135"/>
                <a:gd name="connsiteY5" fmla="*/ 12399 h 70365"/>
                <a:gd name="connsiteX6" fmla="*/ 0 w 128135"/>
                <a:gd name="connsiteY6" fmla="*/ 6297 h 70365"/>
                <a:gd name="connsiteX7" fmla="*/ 6102 w 128135"/>
                <a:gd name="connsiteY7" fmla="*/ 196 h 70365"/>
                <a:gd name="connsiteX8" fmla="*/ 125086 w 128135"/>
                <a:gd name="connsiteY8" fmla="*/ 36806 h 70365"/>
                <a:gd name="connsiteX9" fmla="*/ 128136 w 128135"/>
                <a:gd name="connsiteY9" fmla="*/ 42907 h 70365"/>
                <a:gd name="connsiteX10" fmla="*/ 122034 w 128135"/>
                <a:gd name="connsiteY10" fmla="*/ 49009 h 70365"/>
                <a:gd name="connsiteX11" fmla="*/ 51865 w 128135"/>
                <a:gd name="connsiteY11" fmla="*/ 70365 h 70365"/>
                <a:gd name="connsiteX12" fmla="*/ 48815 w 128135"/>
                <a:gd name="connsiteY12" fmla="*/ 70365 h 7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8135" h="70365">
                  <a:moveTo>
                    <a:pt x="48815" y="70365"/>
                  </a:moveTo>
                  <a:cubicBezTo>
                    <a:pt x="45763" y="70365"/>
                    <a:pt x="45763" y="70365"/>
                    <a:pt x="42713" y="67314"/>
                  </a:cubicBezTo>
                  <a:cubicBezTo>
                    <a:pt x="39661" y="64263"/>
                    <a:pt x="42713" y="61213"/>
                    <a:pt x="45763" y="58162"/>
                  </a:cubicBezTo>
                  <a:cubicBezTo>
                    <a:pt x="61017" y="49009"/>
                    <a:pt x="85423" y="42907"/>
                    <a:pt x="100678" y="39857"/>
                  </a:cubicBezTo>
                  <a:cubicBezTo>
                    <a:pt x="70169" y="27653"/>
                    <a:pt x="27458" y="12399"/>
                    <a:pt x="9152" y="12399"/>
                  </a:cubicBezTo>
                  <a:cubicBezTo>
                    <a:pt x="9152" y="12399"/>
                    <a:pt x="6102" y="12399"/>
                    <a:pt x="6102" y="12399"/>
                  </a:cubicBezTo>
                  <a:cubicBezTo>
                    <a:pt x="3052" y="12399"/>
                    <a:pt x="0" y="9348"/>
                    <a:pt x="0" y="6297"/>
                  </a:cubicBezTo>
                  <a:cubicBezTo>
                    <a:pt x="0" y="3246"/>
                    <a:pt x="3052" y="196"/>
                    <a:pt x="6102" y="196"/>
                  </a:cubicBezTo>
                  <a:cubicBezTo>
                    <a:pt x="30508" y="-2855"/>
                    <a:pt x="115932" y="30704"/>
                    <a:pt x="125086" y="36806"/>
                  </a:cubicBezTo>
                  <a:cubicBezTo>
                    <a:pt x="128136" y="36806"/>
                    <a:pt x="128136" y="39857"/>
                    <a:pt x="128136" y="42907"/>
                  </a:cubicBezTo>
                  <a:cubicBezTo>
                    <a:pt x="128136" y="45958"/>
                    <a:pt x="125086" y="45958"/>
                    <a:pt x="122034" y="49009"/>
                  </a:cubicBezTo>
                  <a:cubicBezTo>
                    <a:pt x="122034" y="49009"/>
                    <a:pt x="73221" y="55111"/>
                    <a:pt x="51865" y="70365"/>
                  </a:cubicBezTo>
                  <a:cubicBezTo>
                    <a:pt x="51865" y="70365"/>
                    <a:pt x="51865" y="70365"/>
                    <a:pt x="48815" y="70365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46EE5351-CC9A-4621-8070-8E072D49C81D}"/>
                </a:ext>
              </a:extLst>
            </p:cNvPr>
            <p:cNvSpPr/>
            <p:nvPr/>
          </p:nvSpPr>
          <p:spPr>
            <a:xfrm>
              <a:off x="20873415" y="4075436"/>
              <a:ext cx="262293" cy="271414"/>
            </a:xfrm>
            <a:custGeom>
              <a:avLst/>
              <a:gdLst>
                <a:gd name="connsiteX0" fmla="*/ 18958 w 262293"/>
                <a:gd name="connsiteY0" fmla="*/ 190689 h 271414"/>
                <a:gd name="connsiteX1" fmla="*/ 171501 w 262293"/>
                <a:gd name="connsiteY1" fmla="*/ 25943 h 271414"/>
                <a:gd name="connsiteX2" fmla="*/ 256924 w 262293"/>
                <a:gd name="connsiteY2" fmla="*/ 59503 h 271414"/>
                <a:gd name="connsiteX3" fmla="*/ 76925 w 262293"/>
                <a:gd name="connsiteY3" fmla="*/ 263909 h 271414"/>
                <a:gd name="connsiteX4" fmla="*/ 18958 w 262293"/>
                <a:gd name="connsiteY4" fmla="*/ 190689 h 27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293" h="271414">
                  <a:moveTo>
                    <a:pt x="18958" y="190689"/>
                  </a:moveTo>
                  <a:cubicBezTo>
                    <a:pt x="83025" y="147977"/>
                    <a:pt x="134890" y="96113"/>
                    <a:pt x="171501" y="25943"/>
                  </a:cubicBezTo>
                  <a:cubicBezTo>
                    <a:pt x="198959" y="-25921"/>
                    <a:pt x="284382" y="7638"/>
                    <a:pt x="256924" y="59503"/>
                  </a:cubicBezTo>
                  <a:cubicBezTo>
                    <a:pt x="214213" y="141875"/>
                    <a:pt x="156246" y="212045"/>
                    <a:pt x="76925" y="263909"/>
                  </a:cubicBezTo>
                  <a:cubicBezTo>
                    <a:pt x="25060" y="294418"/>
                    <a:pt x="-29855" y="224248"/>
                    <a:pt x="18958" y="190689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071B0AE5-9BDF-4285-A3C9-EA8A4E97EB10}"/>
                </a:ext>
              </a:extLst>
            </p:cNvPr>
            <p:cNvSpPr/>
            <p:nvPr/>
          </p:nvSpPr>
          <p:spPr>
            <a:xfrm>
              <a:off x="21328644" y="2395956"/>
              <a:ext cx="73221" cy="73220"/>
            </a:xfrm>
            <a:custGeom>
              <a:avLst/>
              <a:gdLst>
                <a:gd name="connsiteX0" fmla="*/ 36611 w 73221"/>
                <a:gd name="connsiteY0" fmla="*/ 73220 h 73220"/>
                <a:gd name="connsiteX1" fmla="*/ 0 w 73221"/>
                <a:gd name="connsiteY1" fmla="*/ 36610 h 73220"/>
                <a:gd name="connsiteX2" fmla="*/ 36611 w 73221"/>
                <a:gd name="connsiteY2" fmla="*/ 0 h 73220"/>
                <a:gd name="connsiteX3" fmla="*/ 73221 w 73221"/>
                <a:gd name="connsiteY3" fmla="*/ 36610 h 73220"/>
                <a:gd name="connsiteX4" fmla="*/ 36611 w 73221"/>
                <a:gd name="connsiteY4" fmla="*/ 73220 h 73220"/>
                <a:gd name="connsiteX5" fmla="*/ 36611 w 73221"/>
                <a:gd name="connsiteY5" fmla="*/ 12203 h 73220"/>
                <a:gd name="connsiteX6" fmla="*/ 12204 w 73221"/>
                <a:gd name="connsiteY6" fmla="*/ 36610 h 73220"/>
                <a:gd name="connsiteX7" fmla="*/ 36611 w 73221"/>
                <a:gd name="connsiteY7" fmla="*/ 61017 h 73220"/>
                <a:gd name="connsiteX8" fmla="*/ 61017 w 73221"/>
                <a:gd name="connsiteY8" fmla="*/ 36610 h 73220"/>
                <a:gd name="connsiteX9" fmla="*/ 36611 w 73221"/>
                <a:gd name="connsiteY9" fmla="*/ 12203 h 7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221" h="73220">
                  <a:moveTo>
                    <a:pt x="36611" y="73220"/>
                  </a:moveTo>
                  <a:cubicBezTo>
                    <a:pt x="18306" y="73220"/>
                    <a:pt x="0" y="57966"/>
                    <a:pt x="0" y="36610"/>
                  </a:cubicBezTo>
                  <a:cubicBezTo>
                    <a:pt x="0" y="18305"/>
                    <a:pt x="15254" y="0"/>
                    <a:pt x="36611" y="0"/>
                  </a:cubicBezTo>
                  <a:cubicBezTo>
                    <a:pt x="54915" y="0"/>
                    <a:pt x="73221" y="15254"/>
                    <a:pt x="73221" y="36610"/>
                  </a:cubicBezTo>
                  <a:cubicBezTo>
                    <a:pt x="70169" y="57966"/>
                    <a:pt x="54915" y="73220"/>
                    <a:pt x="36611" y="73220"/>
                  </a:cubicBezTo>
                  <a:close/>
                  <a:moveTo>
                    <a:pt x="36611" y="12203"/>
                  </a:moveTo>
                  <a:cubicBezTo>
                    <a:pt x="24406" y="12203"/>
                    <a:pt x="12204" y="24407"/>
                    <a:pt x="12204" y="36610"/>
                  </a:cubicBezTo>
                  <a:cubicBezTo>
                    <a:pt x="12204" y="48814"/>
                    <a:pt x="24406" y="61017"/>
                    <a:pt x="36611" y="61017"/>
                  </a:cubicBezTo>
                  <a:cubicBezTo>
                    <a:pt x="48815" y="61017"/>
                    <a:pt x="61017" y="48814"/>
                    <a:pt x="61017" y="36610"/>
                  </a:cubicBezTo>
                  <a:cubicBezTo>
                    <a:pt x="61017" y="24407"/>
                    <a:pt x="48815" y="12203"/>
                    <a:pt x="36611" y="12203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638400340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B7D94823-96E7-4C9E-AFA3-E9371D8A20A8}"/>
              </a:ext>
            </a:extLst>
          </p:cNvPr>
          <p:cNvGrpSpPr/>
          <p:nvPr/>
        </p:nvGrpSpPr>
        <p:grpSpPr>
          <a:xfrm>
            <a:off x="2174337" y="1825738"/>
            <a:ext cx="3921663" cy="4916312"/>
            <a:chOff x="5836166" y="7474219"/>
            <a:chExt cx="3921663" cy="4916312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3C4B612D-EBB6-4B0E-B67B-81843A2FF58E}"/>
                </a:ext>
              </a:extLst>
            </p:cNvPr>
            <p:cNvSpPr/>
            <p:nvPr/>
          </p:nvSpPr>
          <p:spPr>
            <a:xfrm rot="-941991">
              <a:off x="6510466" y="11350637"/>
              <a:ext cx="45763" cy="488139"/>
            </a:xfrm>
            <a:custGeom>
              <a:avLst/>
              <a:gdLst>
                <a:gd name="connsiteX0" fmla="*/ 0 w 45763"/>
                <a:gd name="connsiteY0" fmla="*/ 0 h 488139"/>
                <a:gd name="connsiteX1" fmla="*/ 45763 w 45763"/>
                <a:gd name="connsiteY1" fmla="*/ 0 h 488139"/>
                <a:gd name="connsiteX2" fmla="*/ 45763 w 45763"/>
                <a:gd name="connsiteY2" fmla="*/ 488139 h 488139"/>
                <a:gd name="connsiteX3" fmla="*/ 0 w 45763"/>
                <a:gd name="connsiteY3" fmla="*/ 488139 h 488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763" h="488139">
                  <a:moveTo>
                    <a:pt x="0" y="0"/>
                  </a:moveTo>
                  <a:lnTo>
                    <a:pt x="45763" y="0"/>
                  </a:lnTo>
                  <a:lnTo>
                    <a:pt x="45763" y="488139"/>
                  </a:lnTo>
                  <a:lnTo>
                    <a:pt x="0" y="488139"/>
                  </a:ln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2FBBE23E-2E6D-4AA1-B257-1EAC9473AD1E}"/>
                </a:ext>
              </a:extLst>
            </p:cNvPr>
            <p:cNvSpPr/>
            <p:nvPr/>
          </p:nvSpPr>
          <p:spPr>
            <a:xfrm>
              <a:off x="6696343" y="9843075"/>
              <a:ext cx="1668392" cy="2363778"/>
            </a:xfrm>
            <a:custGeom>
              <a:avLst/>
              <a:gdLst>
                <a:gd name="connsiteX0" fmla="*/ 1635692 w 1668392"/>
                <a:gd name="connsiteY0" fmla="*/ 18305 h 2363778"/>
                <a:gd name="connsiteX1" fmla="*/ 1666200 w 1668392"/>
                <a:gd name="connsiteY1" fmla="*/ 1382034 h 2363778"/>
                <a:gd name="connsiteX2" fmla="*/ 1504505 w 1668392"/>
                <a:gd name="connsiteY2" fmla="*/ 2327796 h 2363778"/>
                <a:gd name="connsiteX3" fmla="*/ 1312302 w 1668392"/>
                <a:gd name="connsiteY3" fmla="*/ 2321695 h 2363778"/>
                <a:gd name="connsiteX4" fmla="*/ 1242132 w 1668392"/>
                <a:gd name="connsiteY4" fmla="*/ 1412542 h 2363778"/>
                <a:gd name="connsiteX5" fmla="*/ 1138403 w 1668392"/>
                <a:gd name="connsiteY5" fmla="*/ 503390 h 2363778"/>
                <a:gd name="connsiteX6" fmla="*/ 888234 w 1668392"/>
                <a:gd name="connsiteY6" fmla="*/ 1458305 h 2363778"/>
                <a:gd name="connsiteX7" fmla="*/ 49251 w 1668392"/>
                <a:gd name="connsiteY7" fmla="*/ 1693220 h 2363778"/>
                <a:gd name="connsiteX8" fmla="*/ 18742 w 1668392"/>
                <a:gd name="connsiteY8" fmla="*/ 1482712 h 2363778"/>
                <a:gd name="connsiteX9" fmla="*/ 537386 w 1668392"/>
                <a:gd name="connsiteY9" fmla="*/ 1150170 h 2363778"/>
                <a:gd name="connsiteX10" fmla="*/ 616708 w 1668392"/>
                <a:gd name="connsiteY10" fmla="*/ 0 h 2363778"/>
                <a:gd name="connsiteX11" fmla="*/ 1635692 w 1668392"/>
                <a:gd name="connsiteY11" fmla="*/ 18305 h 2363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68392" h="2363778">
                  <a:moveTo>
                    <a:pt x="1635692" y="18305"/>
                  </a:moveTo>
                  <a:cubicBezTo>
                    <a:pt x="1635692" y="18305"/>
                    <a:pt x="1678403" y="1067797"/>
                    <a:pt x="1666200" y="1382034"/>
                  </a:cubicBezTo>
                  <a:cubicBezTo>
                    <a:pt x="1657047" y="1635254"/>
                    <a:pt x="1666200" y="2175254"/>
                    <a:pt x="1504505" y="2327796"/>
                  </a:cubicBezTo>
                  <a:cubicBezTo>
                    <a:pt x="1449590" y="2379661"/>
                    <a:pt x="1367217" y="2373559"/>
                    <a:pt x="1312302" y="2321695"/>
                  </a:cubicBezTo>
                  <a:cubicBezTo>
                    <a:pt x="1156709" y="2172204"/>
                    <a:pt x="1245183" y="1510170"/>
                    <a:pt x="1242132" y="1412542"/>
                  </a:cubicBezTo>
                  <a:cubicBezTo>
                    <a:pt x="1236030" y="1272204"/>
                    <a:pt x="1153658" y="533898"/>
                    <a:pt x="1138403" y="503390"/>
                  </a:cubicBezTo>
                  <a:cubicBezTo>
                    <a:pt x="1126200" y="478983"/>
                    <a:pt x="1004166" y="1269153"/>
                    <a:pt x="888234" y="1458305"/>
                  </a:cubicBezTo>
                  <a:cubicBezTo>
                    <a:pt x="854674" y="1513221"/>
                    <a:pt x="232302" y="1803051"/>
                    <a:pt x="49251" y="1693220"/>
                  </a:cubicBezTo>
                  <a:cubicBezTo>
                    <a:pt x="-11766" y="1656610"/>
                    <a:pt x="-8716" y="1546780"/>
                    <a:pt x="18742" y="1482712"/>
                  </a:cubicBezTo>
                  <a:cubicBezTo>
                    <a:pt x="79759" y="1342373"/>
                    <a:pt x="537386" y="1150170"/>
                    <a:pt x="537386" y="1150170"/>
                  </a:cubicBezTo>
                  <a:cubicBezTo>
                    <a:pt x="537386" y="1150170"/>
                    <a:pt x="570945" y="100678"/>
                    <a:pt x="616708" y="0"/>
                  </a:cubicBezTo>
                  <a:cubicBezTo>
                    <a:pt x="1309251" y="30508"/>
                    <a:pt x="1635692" y="18305"/>
                    <a:pt x="1635692" y="18305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A3E3810B-32C4-4F53-83A2-08754FC54CDB}"/>
                </a:ext>
              </a:extLst>
            </p:cNvPr>
            <p:cNvSpPr/>
            <p:nvPr/>
          </p:nvSpPr>
          <p:spPr>
            <a:xfrm>
              <a:off x="7227628" y="10981040"/>
              <a:ext cx="129399" cy="70170"/>
            </a:xfrm>
            <a:custGeom>
              <a:avLst/>
              <a:gdLst>
                <a:gd name="connsiteX0" fmla="*/ 27457 w 129399"/>
                <a:gd name="connsiteY0" fmla="*/ 70170 h 70170"/>
                <a:gd name="connsiteX1" fmla="*/ 21356 w 129399"/>
                <a:gd name="connsiteY1" fmla="*/ 67119 h 70170"/>
                <a:gd name="connsiteX2" fmla="*/ 0 w 129399"/>
                <a:gd name="connsiteY2" fmla="*/ 9153 h 70170"/>
                <a:gd name="connsiteX3" fmla="*/ 0 w 129399"/>
                <a:gd name="connsiteY3" fmla="*/ 3051 h 70170"/>
                <a:gd name="connsiteX4" fmla="*/ 6102 w 129399"/>
                <a:gd name="connsiteY4" fmla="*/ 0 h 70170"/>
                <a:gd name="connsiteX5" fmla="*/ 125084 w 129399"/>
                <a:gd name="connsiteY5" fmla="*/ 36611 h 70170"/>
                <a:gd name="connsiteX6" fmla="*/ 128136 w 129399"/>
                <a:gd name="connsiteY6" fmla="*/ 42713 h 70170"/>
                <a:gd name="connsiteX7" fmla="*/ 122034 w 129399"/>
                <a:gd name="connsiteY7" fmla="*/ 45763 h 70170"/>
                <a:gd name="connsiteX8" fmla="*/ 15254 w 129399"/>
                <a:gd name="connsiteY8" fmla="*/ 12204 h 70170"/>
                <a:gd name="connsiteX9" fmla="*/ 33559 w 129399"/>
                <a:gd name="connsiteY9" fmla="*/ 57967 h 70170"/>
                <a:gd name="connsiteX10" fmla="*/ 27457 w 129399"/>
                <a:gd name="connsiteY10" fmla="*/ 70170 h 70170"/>
                <a:gd name="connsiteX11" fmla="*/ 27457 w 129399"/>
                <a:gd name="connsiteY11" fmla="*/ 70170 h 70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399" h="70170">
                  <a:moveTo>
                    <a:pt x="27457" y="70170"/>
                  </a:moveTo>
                  <a:cubicBezTo>
                    <a:pt x="24406" y="70170"/>
                    <a:pt x="24406" y="70170"/>
                    <a:pt x="21356" y="67119"/>
                  </a:cubicBezTo>
                  <a:lnTo>
                    <a:pt x="0" y="9153"/>
                  </a:lnTo>
                  <a:cubicBezTo>
                    <a:pt x="0" y="6102"/>
                    <a:pt x="0" y="6102"/>
                    <a:pt x="0" y="3051"/>
                  </a:cubicBezTo>
                  <a:cubicBezTo>
                    <a:pt x="0" y="0"/>
                    <a:pt x="3051" y="0"/>
                    <a:pt x="6102" y="0"/>
                  </a:cubicBezTo>
                  <a:lnTo>
                    <a:pt x="125084" y="36611"/>
                  </a:lnTo>
                  <a:cubicBezTo>
                    <a:pt x="128136" y="36611"/>
                    <a:pt x="131186" y="39662"/>
                    <a:pt x="128136" y="42713"/>
                  </a:cubicBezTo>
                  <a:cubicBezTo>
                    <a:pt x="128136" y="45763"/>
                    <a:pt x="125084" y="48814"/>
                    <a:pt x="122034" y="45763"/>
                  </a:cubicBezTo>
                  <a:lnTo>
                    <a:pt x="15254" y="12204"/>
                  </a:lnTo>
                  <a:lnTo>
                    <a:pt x="33559" y="57967"/>
                  </a:lnTo>
                  <a:cubicBezTo>
                    <a:pt x="33559" y="67119"/>
                    <a:pt x="30508" y="70170"/>
                    <a:pt x="27457" y="70170"/>
                  </a:cubicBezTo>
                  <a:cubicBezTo>
                    <a:pt x="27457" y="70170"/>
                    <a:pt x="27457" y="70170"/>
                    <a:pt x="27457" y="70170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4B67DD68-B682-4001-8DE8-F9A4D007B509}"/>
                </a:ext>
              </a:extLst>
            </p:cNvPr>
            <p:cNvSpPr/>
            <p:nvPr/>
          </p:nvSpPr>
          <p:spPr>
            <a:xfrm>
              <a:off x="6489322" y="11243413"/>
              <a:ext cx="338644" cy="579661"/>
            </a:xfrm>
            <a:custGeom>
              <a:avLst/>
              <a:gdLst>
                <a:gd name="connsiteX0" fmla="*/ 338644 w 338644"/>
                <a:gd name="connsiteY0" fmla="*/ 329492 h 579661"/>
                <a:gd name="connsiteX1" fmla="*/ 265424 w 338644"/>
                <a:gd name="connsiteY1" fmla="*/ 0 h 579661"/>
                <a:gd name="connsiteX2" fmla="*/ 0 w 338644"/>
                <a:gd name="connsiteY2" fmla="*/ 109831 h 579661"/>
                <a:gd name="connsiteX3" fmla="*/ 131187 w 338644"/>
                <a:gd name="connsiteY3" fmla="*/ 579661 h 579661"/>
                <a:gd name="connsiteX4" fmla="*/ 189153 w 338644"/>
                <a:gd name="connsiteY4" fmla="*/ 390509 h 579661"/>
                <a:gd name="connsiteX5" fmla="*/ 195255 w 338644"/>
                <a:gd name="connsiteY5" fmla="*/ 329492 h 579661"/>
                <a:gd name="connsiteX6" fmla="*/ 338644 w 338644"/>
                <a:gd name="connsiteY6" fmla="*/ 329492 h 57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8644" h="579661">
                  <a:moveTo>
                    <a:pt x="338644" y="329492"/>
                  </a:moveTo>
                  <a:lnTo>
                    <a:pt x="265424" y="0"/>
                  </a:lnTo>
                  <a:cubicBezTo>
                    <a:pt x="79322" y="45763"/>
                    <a:pt x="0" y="109831"/>
                    <a:pt x="0" y="109831"/>
                  </a:cubicBezTo>
                  <a:lnTo>
                    <a:pt x="131187" y="579661"/>
                  </a:lnTo>
                  <a:cubicBezTo>
                    <a:pt x="195255" y="549153"/>
                    <a:pt x="186102" y="436272"/>
                    <a:pt x="189153" y="390509"/>
                  </a:cubicBezTo>
                  <a:cubicBezTo>
                    <a:pt x="189153" y="372204"/>
                    <a:pt x="192203" y="350847"/>
                    <a:pt x="195255" y="329492"/>
                  </a:cubicBezTo>
                  <a:lnTo>
                    <a:pt x="338644" y="329492"/>
                  </a:lnTo>
                  <a:close/>
                </a:path>
              </a:pathLst>
            </a:custGeom>
            <a:solidFill>
              <a:srgbClr val="7F95BC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0D0CD0D0-C3E4-4E0A-BE23-79D3015EAA5F}"/>
                </a:ext>
              </a:extLst>
            </p:cNvPr>
            <p:cNvGrpSpPr/>
            <p:nvPr/>
          </p:nvGrpSpPr>
          <p:grpSpPr>
            <a:xfrm>
              <a:off x="7937878" y="12057990"/>
              <a:ext cx="525342" cy="332542"/>
              <a:chOff x="7937878" y="12057990"/>
              <a:chExt cx="525342" cy="332542"/>
            </a:xfrm>
          </p:grpSpPr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940E34A2-1CD9-447A-A945-FC4921C0023C}"/>
                  </a:ext>
                </a:extLst>
              </p:cNvPr>
              <p:cNvSpPr/>
              <p:nvPr/>
            </p:nvSpPr>
            <p:spPr>
              <a:xfrm>
                <a:off x="7975085" y="12344769"/>
                <a:ext cx="488135" cy="45762"/>
              </a:xfrm>
              <a:custGeom>
                <a:avLst/>
                <a:gdLst>
                  <a:gd name="connsiteX0" fmla="*/ 0 w 488135"/>
                  <a:gd name="connsiteY0" fmla="*/ 0 h 45762"/>
                  <a:gd name="connsiteX1" fmla="*/ 488136 w 488135"/>
                  <a:gd name="connsiteY1" fmla="*/ 0 h 45762"/>
                  <a:gd name="connsiteX2" fmla="*/ 488136 w 488135"/>
                  <a:gd name="connsiteY2" fmla="*/ 45763 h 45762"/>
                  <a:gd name="connsiteX3" fmla="*/ 0 w 488135"/>
                  <a:gd name="connsiteY3" fmla="*/ 45763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5" h="45762">
                    <a:moveTo>
                      <a:pt x="0" y="0"/>
                    </a:moveTo>
                    <a:lnTo>
                      <a:pt x="488136" y="0"/>
                    </a:lnTo>
                    <a:lnTo>
                      <a:pt x="488136" y="45763"/>
                    </a:lnTo>
                    <a:lnTo>
                      <a:pt x="0" y="45763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3B257C8A-529D-46BB-8864-242C827B465B}"/>
                  </a:ext>
                </a:extLst>
              </p:cNvPr>
              <p:cNvSpPr/>
              <p:nvPr/>
            </p:nvSpPr>
            <p:spPr>
              <a:xfrm>
                <a:off x="7937878" y="12057990"/>
                <a:ext cx="525342" cy="283728"/>
              </a:xfrm>
              <a:custGeom>
                <a:avLst/>
                <a:gdLst>
                  <a:gd name="connsiteX0" fmla="*/ 357546 w 525342"/>
                  <a:gd name="connsiteY0" fmla="*/ 180000 h 283728"/>
                  <a:gd name="connsiteX1" fmla="*/ 299580 w 525342"/>
                  <a:gd name="connsiteY1" fmla="*/ 158644 h 283728"/>
                  <a:gd name="connsiteX2" fmla="*/ 339241 w 525342"/>
                  <a:gd name="connsiteY2" fmla="*/ 18305 h 283728"/>
                  <a:gd name="connsiteX3" fmla="*/ 597 w 525342"/>
                  <a:gd name="connsiteY3" fmla="*/ 0 h 283728"/>
                  <a:gd name="connsiteX4" fmla="*/ 37207 w 525342"/>
                  <a:gd name="connsiteY4" fmla="*/ 283728 h 283728"/>
                  <a:gd name="connsiteX5" fmla="*/ 525343 w 525342"/>
                  <a:gd name="connsiteY5" fmla="*/ 283728 h 283728"/>
                  <a:gd name="connsiteX6" fmla="*/ 357546 w 525342"/>
                  <a:gd name="connsiteY6" fmla="*/ 180000 h 28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5342" h="283728">
                    <a:moveTo>
                      <a:pt x="357546" y="180000"/>
                    </a:moveTo>
                    <a:cubicBezTo>
                      <a:pt x="342292" y="173898"/>
                      <a:pt x="320936" y="167797"/>
                      <a:pt x="299580" y="158644"/>
                    </a:cubicBezTo>
                    <a:lnTo>
                      <a:pt x="339241" y="18305"/>
                    </a:lnTo>
                    <a:lnTo>
                      <a:pt x="597" y="0"/>
                    </a:lnTo>
                    <a:cubicBezTo>
                      <a:pt x="-5505" y="192203"/>
                      <a:pt x="37207" y="283728"/>
                      <a:pt x="37207" y="283728"/>
                    </a:cubicBezTo>
                    <a:lnTo>
                      <a:pt x="525343" y="283728"/>
                    </a:lnTo>
                    <a:cubicBezTo>
                      <a:pt x="510089" y="213559"/>
                      <a:pt x="400258" y="195254"/>
                      <a:pt x="357546" y="18000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44176651-75B7-484B-9A20-874C9370170F}"/>
                </a:ext>
              </a:extLst>
            </p:cNvPr>
            <p:cNvSpPr/>
            <p:nvPr/>
          </p:nvSpPr>
          <p:spPr>
            <a:xfrm>
              <a:off x="7798136" y="9955956"/>
              <a:ext cx="70169" cy="366101"/>
            </a:xfrm>
            <a:custGeom>
              <a:avLst/>
              <a:gdLst>
                <a:gd name="connsiteX0" fmla="*/ 6102 w 70169"/>
                <a:gd name="connsiteY0" fmla="*/ 366102 h 366101"/>
                <a:gd name="connsiteX1" fmla="*/ 6102 w 70169"/>
                <a:gd name="connsiteY1" fmla="*/ 366102 h 366101"/>
                <a:gd name="connsiteX2" fmla="*/ 0 w 70169"/>
                <a:gd name="connsiteY2" fmla="*/ 356949 h 366101"/>
                <a:gd name="connsiteX3" fmla="*/ 57966 w 70169"/>
                <a:gd name="connsiteY3" fmla="*/ 6101 h 366101"/>
                <a:gd name="connsiteX4" fmla="*/ 64068 w 70169"/>
                <a:gd name="connsiteY4" fmla="*/ 0 h 366101"/>
                <a:gd name="connsiteX5" fmla="*/ 64068 w 70169"/>
                <a:gd name="connsiteY5" fmla="*/ 0 h 366101"/>
                <a:gd name="connsiteX6" fmla="*/ 70170 w 70169"/>
                <a:gd name="connsiteY6" fmla="*/ 6101 h 366101"/>
                <a:gd name="connsiteX7" fmla="*/ 12203 w 70169"/>
                <a:gd name="connsiteY7" fmla="*/ 360000 h 366101"/>
                <a:gd name="connsiteX8" fmla="*/ 6102 w 70169"/>
                <a:gd name="connsiteY8" fmla="*/ 366102 h 36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169" h="366101">
                  <a:moveTo>
                    <a:pt x="6102" y="366102"/>
                  </a:moveTo>
                  <a:cubicBezTo>
                    <a:pt x="6102" y="366102"/>
                    <a:pt x="6102" y="366102"/>
                    <a:pt x="6102" y="366102"/>
                  </a:cubicBezTo>
                  <a:cubicBezTo>
                    <a:pt x="0" y="363051"/>
                    <a:pt x="0" y="360000"/>
                    <a:pt x="0" y="356949"/>
                  </a:cubicBezTo>
                  <a:cubicBezTo>
                    <a:pt x="48813" y="244068"/>
                    <a:pt x="57966" y="9152"/>
                    <a:pt x="57966" y="6101"/>
                  </a:cubicBezTo>
                  <a:cubicBezTo>
                    <a:pt x="57966" y="3050"/>
                    <a:pt x="61017" y="0"/>
                    <a:pt x="64068" y="0"/>
                  </a:cubicBezTo>
                  <a:cubicBezTo>
                    <a:pt x="64068" y="0"/>
                    <a:pt x="64068" y="0"/>
                    <a:pt x="64068" y="0"/>
                  </a:cubicBezTo>
                  <a:cubicBezTo>
                    <a:pt x="67119" y="0"/>
                    <a:pt x="70170" y="3050"/>
                    <a:pt x="70170" y="6101"/>
                  </a:cubicBezTo>
                  <a:cubicBezTo>
                    <a:pt x="70170" y="15254"/>
                    <a:pt x="61017" y="244068"/>
                    <a:pt x="12203" y="360000"/>
                  </a:cubicBezTo>
                  <a:cubicBezTo>
                    <a:pt x="12203" y="366102"/>
                    <a:pt x="9153" y="366102"/>
                    <a:pt x="6102" y="366102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7A064987-20E2-4F80-BF8D-6F0E2D868710}"/>
                </a:ext>
              </a:extLst>
            </p:cNvPr>
            <p:cNvSpPr/>
            <p:nvPr/>
          </p:nvSpPr>
          <p:spPr>
            <a:xfrm>
              <a:off x="7827381" y="9885786"/>
              <a:ext cx="156856" cy="356949"/>
            </a:xfrm>
            <a:custGeom>
              <a:avLst/>
              <a:gdLst>
                <a:gd name="connsiteX0" fmla="*/ 7365 w 156856"/>
                <a:gd name="connsiteY0" fmla="*/ 356950 h 356949"/>
                <a:gd name="connsiteX1" fmla="*/ 1264 w 156856"/>
                <a:gd name="connsiteY1" fmla="*/ 353899 h 356949"/>
                <a:gd name="connsiteX2" fmla="*/ 4314 w 156856"/>
                <a:gd name="connsiteY2" fmla="*/ 344746 h 356949"/>
                <a:gd name="connsiteX3" fmla="*/ 111094 w 156856"/>
                <a:gd name="connsiteY3" fmla="*/ 268475 h 356949"/>
                <a:gd name="connsiteX4" fmla="*/ 144654 w 156856"/>
                <a:gd name="connsiteY4" fmla="*/ 6102 h 356949"/>
                <a:gd name="connsiteX5" fmla="*/ 150755 w 156856"/>
                <a:gd name="connsiteY5" fmla="*/ 0 h 356949"/>
                <a:gd name="connsiteX6" fmla="*/ 156857 w 156856"/>
                <a:gd name="connsiteY6" fmla="*/ 6102 h 356949"/>
                <a:gd name="connsiteX7" fmla="*/ 123298 w 156856"/>
                <a:gd name="connsiteY7" fmla="*/ 274576 h 356949"/>
                <a:gd name="connsiteX8" fmla="*/ 13467 w 156856"/>
                <a:gd name="connsiteY8" fmla="*/ 353899 h 356949"/>
                <a:gd name="connsiteX9" fmla="*/ 7365 w 156856"/>
                <a:gd name="connsiteY9" fmla="*/ 356950 h 35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856" h="356949">
                  <a:moveTo>
                    <a:pt x="7365" y="356950"/>
                  </a:moveTo>
                  <a:cubicBezTo>
                    <a:pt x="4314" y="356950"/>
                    <a:pt x="4314" y="356950"/>
                    <a:pt x="1264" y="353899"/>
                  </a:cubicBezTo>
                  <a:cubicBezTo>
                    <a:pt x="-1787" y="350847"/>
                    <a:pt x="1264" y="347796"/>
                    <a:pt x="4314" y="344746"/>
                  </a:cubicBezTo>
                  <a:cubicBezTo>
                    <a:pt x="43975" y="320339"/>
                    <a:pt x="101942" y="277627"/>
                    <a:pt x="111094" y="268475"/>
                  </a:cubicBezTo>
                  <a:cubicBezTo>
                    <a:pt x="120247" y="256271"/>
                    <a:pt x="135501" y="100679"/>
                    <a:pt x="144654" y="6102"/>
                  </a:cubicBezTo>
                  <a:cubicBezTo>
                    <a:pt x="144654" y="3051"/>
                    <a:pt x="147705" y="0"/>
                    <a:pt x="150755" y="0"/>
                  </a:cubicBezTo>
                  <a:cubicBezTo>
                    <a:pt x="153806" y="0"/>
                    <a:pt x="156857" y="3051"/>
                    <a:pt x="156857" y="6102"/>
                  </a:cubicBezTo>
                  <a:cubicBezTo>
                    <a:pt x="153806" y="48814"/>
                    <a:pt x="132450" y="259322"/>
                    <a:pt x="123298" y="274576"/>
                  </a:cubicBezTo>
                  <a:cubicBezTo>
                    <a:pt x="111094" y="289831"/>
                    <a:pt x="22620" y="347796"/>
                    <a:pt x="13467" y="353899"/>
                  </a:cubicBezTo>
                  <a:cubicBezTo>
                    <a:pt x="10416" y="356950"/>
                    <a:pt x="7365" y="356950"/>
                    <a:pt x="7365" y="356950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167ACC17-58D9-4B57-AB0E-230BAFE076CF}"/>
                </a:ext>
              </a:extLst>
            </p:cNvPr>
            <p:cNvSpPr/>
            <p:nvPr/>
          </p:nvSpPr>
          <p:spPr>
            <a:xfrm>
              <a:off x="9405087" y="8312856"/>
              <a:ext cx="352743" cy="278918"/>
            </a:xfrm>
            <a:custGeom>
              <a:avLst/>
              <a:gdLst>
                <a:gd name="connsiteX0" fmla="*/ 315083 w 352743"/>
                <a:gd name="connsiteY0" fmla="*/ 157337 h 278918"/>
                <a:gd name="connsiteX1" fmla="*/ 247965 w 352743"/>
                <a:gd name="connsiteY1" fmla="*/ 1743 h 278918"/>
                <a:gd name="connsiteX2" fmla="*/ 846 w 352743"/>
                <a:gd name="connsiteY2" fmla="*/ 196998 h 278918"/>
                <a:gd name="connsiteX3" fmla="*/ 92371 w 352743"/>
                <a:gd name="connsiteY3" fmla="*/ 276320 h 278918"/>
                <a:gd name="connsiteX4" fmla="*/ 214405 w 352743"/>
                <a:gd name="connsiteY4" fmla="*/ 233608 h 278918"/>
                <a:gd name="connsiteX5" fmla="*/ 315083 w 352743"/>
                <a:gd name="connsiteY5" fmla="*/ 157337 h 278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2743" h="278918">
                  <a:moveTo>
                    <a:pt x="315083" y="157337"/>
                  </a:moveTo>
                  <a:cubicBezTo>
                    <a:pt x="409659" y="41404"/>
                    <a:pt x="302880" y="-10460"/>
                    <a:pt x="247965" y="1743"/>
                  </a:cubicBezTo>
                  <a:cubicBezTo>
                    <a:pt x="180846" y="13947"/>
                    <a:pt x="-14408" y="111574"/>
                    <a:pt x="846" y="196998"/>
                  </a:cubicBezTo>
                  <a:cubicBezTo>
                    <a:pt x="846" y="196998"/>
                    <a:pt x="61863" y="267167"/>
                    <a:pt x="92371" y="276320"/>
                  </a:cubicBezTo>
                  <a:cubicBezTo>
                    <a:pt x="138134" y="288523"/>
                    <a:pt x="177795" y="254964"/>
                    <a:pt x="214405" y="233608"/>
                  </a:cubicBezTo>
                  <a:cubicBezTo>
                    <a:pt x="238812" y="215303"/>
                    <a:pt x="302880" y="169540"/>
                    <a:pt x="315083" y="157337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08D64152-F7EB-48B9-BEF9-34CFFFD44CA5}"/>
                </a:ext>
              </a:extLst>
            </p:cNvPr>
            <p:cNvSpPr/>
            <p:nvPr/>
          </p:nvSpPr>
          <p:spPr>
            <a:xfrm>
              <a:off x="7939434" y="8419587"/>
              <a:ext cx="1564186" cy="659876"/>
            </a:xfrm>
            <a:custGeom>
              <a:avLst/>
              <a:gdLst>
                <a:gd name="connsiteX0" fmla="*/ 14295 w 1564186"/>
                <a:gd name="connsiteY0" fmla="*/ 56708 h 659876"/>
                <a:gd name="connsiteX1" fmla="*/ 532939 w 1564186"/>
                <a:gd name="connsiteY1" fmla="*/ 84166 h 659876"/>
                <a:gd name="connsiteX2" fmla="*/ 947855 w 1564186"/>
                <a:gd name="connsiteY2" fmla="*/ 291623 h 659876"/>
                <a:gd name="connsiteX3" fmla="*/ 1460397 w 1564186"/>
                <a:gd name="connsiteY3" fmla="*/ 44505 h 659876"/>
                <a:gd name="connsiteX4" fmla="*/ 1564126 w 1564186"/>
                <a:gd name="connsiteY4" fmla="*/ 175691 h 659876"/>
                <a:gd name="connsiteX5" fmla="*/ 987516 w 1564186"/>
                <a:gd name="connsiteY5" fmla="*/ 657725 h 659876"/>
                <a:gd name="connsiteX6" fmla="*/ 14295 w 1564186"/>
                <a:gd name="connsiteY6" fmla="*/ 56708 h 659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4186" h="659876">
                  <a:moveTo>
                    <a:pt x="14295" y="56708"/>
                  </a:moveTo>
                  <a:cubicBezTo>
                    <a:pt x="78363" y="-62275"/>
                    <a:pt x="413956" y="35352"/>
                    <a:pt x="532939" y="84166"/>
                  </a:cubicBezTo>
                  <a:cubicBezTo>
                    <a:pt x="639719" y="126878"/>
                    <a:pt x="947855" y="291623"/>
                    <a:pt x="947855" y="291623"/>
                  </a:cubicBezTo>
                  <a:cubicBezTo>
                    <a:pt x="947855" y="291623"/>
                    <a:pt x="1365821" y="-22614"/>
                    <a:pt x="1460397" y="44505"/>
                  </a:cubicBezTo>
                  <a:cubicBezTo>
                    <a:pt x="1506160" y="87216"/>
                    <a:pt x="1545821" y="139081"/>
                    <a:pt x="1564126" y="175691"/>
                  </a:cubicBezTo>
                  <a:cubicBezTo>
                    <a:pt x="1570227" y="361793"/>
                    <a:pt x="1112600" y="630267"/>
                    <a:pt x="987516" y="657725"/>
                  </a:cubicBezTo>
                  <a:cubicBezTo>
                    <a:pt x="850228" y="691284"/>
                    <a:pt x="-129095" y="325183"/>
                    <a:pt x="14295" y="56708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2E73D8D8-B34D-480B-8C6B-8749664C2A1B}"/>
                </a:ext>
              </a:extLst>
            </p:cNvPr>
            <p:cNvSpPr/>
            <p:nvPr/>
          </p:nvSpPr>
          <p:spPr>
            <a:xfrm>
              <a:off x="7608984" y="8024769"/>
              <a:ext cx="67118" cy="140339"/>
            </a:xfrm>
            <a:custGeom>
              <a:avLst/>
              <a:gdLst>
                <a:gd name="connsiteX0" fmla="*/ 0 w 67118"/>
                <a:gd name="connsiteY0" fmla="*/ 0 h 140339"/>
                <a:gd name="connsiteX1" fmla="*/ 64068 w 67118"/>
                <a:gd name="connsiteY1" fmla="*/ 140339 h 140339"/>
                <a:gd name="connsiteX2" fmla="*/ 67119 w 67118"/>
                <a:gd name="connsiteY2" fmla="*/ 54915 h 140339"/>
                <a:gd name="connsiteX3" fmla="*/ 0 w 67118"/>
                <a:gd name="connsiteY3" fmla="*/ 0 h 14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18" h="140339">
                  <a:moveTo>
                    <a:pt x="0" y="0"/>
                  </a:moveTo>
                  <a:cubicBezTo>
                    <a:pt x="0" y="0"/>
                    <a:pt x="12203" y="118983"/>
                    <a:pt x="64068" y="140339"/>
                  </a:cubicBezTo>
                  <a:lnTo>
                    <a:pt x="67119" y="549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074C6766-7002-442D-ABD3-066BB6D22EFF}"/>
                </a:ext>
              </a:extLst>
            </p:cNvPr>
            <p:cNvSpPr/>
            <p:nvPr/>
          </p:nvSpPr>
          <p:spPr>
            <a:xfrm>
              <a:off x="7968055" y="7820363"/>
              <a:ext cx="101808" cy="237945"/>
            </a:xfrm>
            <a:custGeom>
              <a:avLst/>
              <a:gdLst>
                <a:gd name="connsiteX0" fmla="*/ 95505 w 101808"/>
                <a:gd name="connsiteY0" fmla="*/ 0 h 237945"/>
                <a:gd name="connsiteX1" fmla="*/ 52793 w 101808"/>
                <a:gd name="connsiteY1" fmla="*/ 234915 h 237945"/>
                <a:gd name="connsiteX2" fmla="*/ 929 w 101808"/>
                <a:gd name="connsiteY2" fmla="*/ 12204 h 237945"/>
                <a:gd name="connsiteX3" fmla="*/ 95505 w 101808"/>
                <a:gd name="connsiteY3" fmla="*/ 0 h 23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08" h="237945">
                  <a:moveTo>
                    <a:pt x="95505" y="0"/>
                  </a:moveTo>
                  <a:cubicBezTo>
                    <a:pt x="95505" y="0"/>
                    <a:pt x="126014" y="195255"/>
                    <a:pt x="52793" y="234915"/>
                  </a:cubicBezTo>
                  <a:cubicBezTo>
                    <a:pt x="-11275" y="268475"/>
                    <a:pt x="929" y="12204"/>
                    <a:pt x="929" y="12204"/>
                  </a:cubicBezTo>
                  <a:lnTo>
                    <a:pt x="95505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001DB63E-16B7-4203-A7D8-D21550703C70}"/>
                </a:ext>
              </a:extLst>
            </p:cNvPr>
            <p:cNvSpPr/>
            <p:nvPr/>
          </p:nvSpPr>
          <p:spPr>
            <a:xfrm>
              <a:off x="7612034" y="7682184"/>
              <a:ext cx="421355" cy="568951"/>
            </a:xfrm>
            <a:custGeom>
              <a:avLst/>
              <a:gdLst>
                <a:gd name="connsiteX0" fmla="*/ 411864 w 421355"/>
                <a:gd name="connsiteY0" fmla="*/ 183941 h 568951"/>
                <a:gd name="connsiteX1" fmla="*/ 411864 w 421355"/>
                <a:gd name="connsiteY1" fmla="*/ 434111 h 568951"/>
                <a:gd name="connsiteX2" fmla="*/ 253220 w 421355"/>
                <a:gd name="connsiteY2" fmla="*/ 568348 h 568951"/>
                <a:gd name="connsiteX3" fmla="*/ 36610 w 421355"/>
                <a:gd name="connsiteY3" fmla="*/ 424958 h 568951"/>
                <a:gd name="connsiteX4" fmla="*/ 0 w 421355"/>
                <a:gd name="connsiteY4" fmla="*/ 199195 h 568951"/>
                <a:gd name="connsiteX5" fmla="*/ 213559 w 421355"/>
                <a:gd name="connsiteY5" fmla="*/ 890 h 568951"/>
                <a:gd name="connsiteX6" fmla="*/ 411864 w 421355"/>
                <a:gd name="connsiteY6" fmla="*/ 183941 h 568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355" h="568951">
                  <a:moveTo>
                    <a:pt x="411864" y="183941"/>
                  </a:moveTo>
                  <a:cubicBezTo>
                    <a:pt x="411864" y="183941"/>
                    <a:pt x="433220" y="360890"/>
                    <a:pt x="411864" y="434111"/>
                  </a:cubicBezTo>
                  <a:cubicBezTo>
                    <a:pt x="393560" y="501230"/>
                    <a:pt x="302034" y="565297"/>
                    <a:pt x="253220" y="568348"/>
                  </a:cubicBezTo>
                  <a:cubicBezTo>
                    <a:pt x="186102" y="574450"/>
                    <a:pt x="67119" y="534789"/>
                    <a:pt x="36610" y="424958"/>
                  </a:cubicBezTo>
                  <a:cubicBezTo>
                    <a:pt x="15254" y="351738"/>
                    <a:pt x="0" y="251060"/>
                    <a:pt x="0" y="199195"/>
                  </a:cubicBezTo>
                  <a:cubicBezTo>
                    <a:pt x="3051" y="104619"/>
                    <a:pt x="27458" y="25297"/>
                    <a:pt x="213559" y="890"/>
                  </a:cubicBezTo>
                  <a:cubicBezTo>
                    <a:pt x="298983" y="-11313"/>
                    <a:pt x="390509" y="104619"/>
                    <a:pt x="411864" y="18394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E4817B2A-9A50-42E4-8F1B-D59FCE776010}"/>
                </a:ext>
              </a:extLst>
            </p:cNvPr>
            <p:cNvSpPr/>
            <p:nvPr/>
          </p:nvSpPr>
          <p:spPr>
            <a:xfrm>
              <a:off x="7926272" y="7923314"/>
              <a:ext cx="40438" cy="41215"/>
            </a:xfrm>
            <a:custGeom>
              <a:avLst/>
              <a:gdLst>
                <a:gd name="connsiteX0" fmla="*/ 0 w 40438"/>
                <a:gd name="connsiteY0" fmla="*/ 25184 h 41215"/>
                <a:gd name="connsiteX1" fmla="*/ 24407 w 40438"/>
                <a:gd name="connsiteY1" fmla="*/ 40438 h 41215"/>
                <a:gd name="connsiteX2" fmla="*/ 39661 w 40438"/>
                <a:gd name="connsiteY2" fmla="*/ 16032 h 41215"/>
                <a:gd name="connsiteX3" fmla="*/ 15254 w 40438"/>
                <a:gd name="connsiteY3" fmla="*/ 778 h 41215"/>
                <a:gd name="connsiteX4" fmla="*/ 0 w 40438"/>
                <a:gd name="connsiteY4" fmla="*/ 25184 h 4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38" h="41215">
                  <a:moveTo>
                    <a:pt x="0" y="25184"/>
                  </a:moveTo>
                  <a:cubicBezTo>
                    <a:pt x="3051" y="37388"/>
                    <a:pt x="12203" y="43489"/>
                    <a:pt x="24407" y="40438"/>
                  </a:cubicBezTo>
                  <a:cubicBezTo>
                    <a:pt x="36610" y="37388"/>
                    <a:pt x="42712" y="28235"/>
                    <a:pt x="39661" y="16032"/>
                  </a:cubicBezTo>
                  <a:cubicBezTo>
                    <a:pt x="36610" y="3828"/>
                    <a:pt x="27457" y="-2273"/>
                    <a:pt x="15254" y="778"/>
                  </a:cubicBezTo>
                  <a:cubicBezTo>
                    <a:pt x="6102" y="3828"/>
                    <a:pt x="0" y="12981"/>
                    <a:pt x="0" y="25184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A7E75FD8-8C7B-40ED-9C1C-844F3F945AAF}"/>
                </a:ext>
              </a:extLst>
            </p:cNvPr>
            <p:cNvSpPr/>
            <p:nvPr/>
          </p:nvSpPr>
          <p:spPr>
            <a:xfrm>
              <a:off x="7742622" y="7938568"/>
              <a:ext cx="41036" cy="41215"/>
            </a:xfrm>
            <a:custGeom>
              <a:avLst/>
              <a:gdLst>
                <a:gd name="connsiteX0" fmla="*/ 598 w 41036"/>
                <a:gd name="connsiteY0" fmla="*/ 25184 h 41215"/>
                <a:gd name="connsiteX1" fmla="*/ 25005 w 41036"/>
                <a:gd name="connsiteY1" fmla="*/ 40438 h 41215"/>
                <a:gd name="connsiteX2" fmla="*/ 40260 w 41036"/>
                <a:gd name="connsiteY2" fmla="*/ 16032 h 41215"/>
                <a:gd name="connsiteX3" fmla="*/ 15853 w 41036"/>
                <a:gd name="connsiteY3" fmla="*/ 778 h 41215"/>
                <a:gd name="connsiteX4" fmla="*/ 598 w 41036"/>
                <a:gd name="connsiteY4" fmla="*/ 25184 h 4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6" h="41215">
                  <a:moveTo>
                    <a:pt x="598" y="25184"/>
                  </a:moveTo>
                  <a:cubicBezTo>
                    <a:pt x="3650" y="37388"/>
                    <a:pt x="12802" y="43489"/>
                    <a:pt x="25005" y="40438"/>
                  </a:cubicBezTo>
                  <a:cubicBezTo>
                    <a:pt x="37209" y="37388"/>
                    <a:pt x="43310" y="28235"/>
                    <a:pt x="40260" y="16032"/>
                  </a:cubicBezTo>
                  <a:cubicBezTo>
                    <a:pt x="37209" y="3828"/>
                    <a:pt x="28056" y="-2273"/>
                    <a:pt x="15853" y="778"/>
                  </a:cubicBezTo>
                  <a:cubicBezTo>
                    <a:pt x="6700" y="3828"/>
                    <a:pt x="-2453" y="16032"/>
                    <a:pt x="598" y="25184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A66E3C37-C032-4E90-957C-2674A5F8CCF9}"/>
                </a:ext>
              </a:extLst>
            </p:cNvPr>
            <p:cNvSpPr/>
            <p:nvPr/>
          </p:nvSpPr>
          <p:spPr>
            <a:xfrm>
              <a:off x="7900601" y="7878329"/>
              <a:ext cx="92026" cy="30508"/>
            </a:xfrm>
            <a:custGeom>
              <a:avLst/>
              <a:gdLst>
                <a:gd name="connsiteX0" fmla="*/ 83636 w 92026"/>
                <a:gd name="connsiteY0" fmla="*/ 30509 h 30508"/>
                <a:gd name="connsiteX1" fmla="*/ 77535 w 92026"/>
                <a:gd name="connsiteY1" fmla="*/ 27458 h 30508"/>
                <a:gd name="connsiteX2" fmla="*/ 10416 w 92026"/>
                <a:gd name="connsiteY2" fmla="*/ 21356 h 30508"/>
                <a:gd name="connsiteX3" fmla="*/ 1264 w 92026"/>
                <a:gd name="connsiteY3" fmla="*/ 18305 h 30508"/>
                <a:gd name="connsiteX4" fmla="*/ 4315 w 92026"/>
                <a:gd name="connsiteY4" fmla="*/ 9152 h 30508"/>
                <a:gd name="connsiteX5" fmla="*/ 89738 w 92026"/>
                <a:gd name="connsiteY5" fmla="*/ 18305 h 30508"/>
                <a:gd name="connsiteX6" fmla="*/ 89738 w 92026"/>
                <a:gd name="connsiteY6" fmla="*/ 30509 h 30508"/>
                <a:gd name="connsiteX7" fmla="*/ 83636 w 92026"/>
                <a:gd name="connsiteY7" fmla="*/ 30509 h 3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0508">
                  <a:moveTo>
                    <a:pt x="83636" y="30509"/>
                  </a:moveTo>
                  <a:cubicBezTo>
                    <a:pt x="80586" y="30509"/>
                    <a:pt x="80586" y="30509"/>
                    <a:pt x="77535" y="27458"/>
                  </a:cubicBezTo>
                  <a:cubicBezTo>
                    <a:pt x="53128" y="0"/>
                    <a:pt x="10416" y="21356"/>
                    <a:pt x="10416" y="21356"/>
                  </a:cubicBezTo>
                  <a:cubicBezTo>
                    <a:pt x="7365" y="24407"/>
                    <a:pt x="1264" y="21356"/>
                    <a:pt x="1264" y="18305"/>
                  </a:cubicBezTo>
                  <a:cubicBezTo>
                    <a:pt x="-1787" y="15254"/>
                    <a:pt x="1264" y="9152"/>
                    <a:pt x="4315" y="9152"/>
                  </a:cubicBezTo>
                  <a:cubicBezTo>
                    <a:pt x="22619" y="0"/>
                    <a:pt x="62281" y="-9153"/>
                    <a:pt x="89738" y="18305"/>
                  </a:cubicBezTo>
                  <a:cubicBezTo>
                    <a:pt x="92789" y="21356"/>
                    <a:pt x="92789" y="27458"/>
                    <a:pt x="89738" y="30509"/>
                  </a:cubicBezTo>
                  <a:cubicBezTo>
                    <a:pt x="86687" y="27458"/>
                    <a:pt x="86687" y="30509"/>
                    <a:pt x="83636" y="30509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D5C49DB1-D376-4E2B-B1ED-06477BECB20D}"/>
                </a:ext>
              </a:extLst>
            </p:cNvPr>
            <p:cNvSpPr/>
            <p:nvPr/>
          </p:nvSpPr>
          <p:spPr>
            <a:xfrm>
              <a:off x="7710424" y="7872538"/>
              <a:ext cx="92026" cy="36299"/>
            </a:xfrm>
            <a:custGeom>
              <a:avLst/>
              <a:gdLst>
                <a:gd name="connsiteX0" fmla="*/ 8390 w 92026"/>
                <a:gd name="connsiteY0" fmla="*/ 36300 h 36299"/>
                <a:gd name="connsiteX1" fmla="*/ 2288 w 92026"/>
                <a:gd name="connsiteY1" fmla="*/ 33249 h 36299"/>
                <a:gd name="connsiteX2" fmla="*/ 2288 w 92026"/>
                <a:gd name="connsiteY2" fmla="*/ 21046 h 36299"/>
                <a:gd name="connsiteX3" fmla="*/ 87712 w 92026"/>
                <a:gd name="connsiteY3" fmla="*/ 11893 h 36299"/>
                <a:gd name="connsiteX4" fmla="*/ 90763 w 92026"/>
                <a:gd name="connsiteY4" fmla="*/ 24096 h 36299"/>
                <a:gd name="connsiteX5" fmla="*/ 78559 w 92026"/>
                <a:gd name="connsiteY5" fmla="*/ 27147 h 36299"/>
                <a:gd name="connsiteX6" fmla="*/ 11441 w 92026"/>
                <a:gd name="connsiteY6" fmla="*/ 33249 h 36299"/>
                <a:gd name="connsiteX7" fmla="*/ 8390 w 92026"/>
                <a:gd name="connsiteY7" fmla="*/ 36300 h 3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6299">
                  <a:moveTo>
                    <a:pt x="8390" y="36300"/>
                  </a:moveTo>
                  <a:cubicBezTo>
                    <a:pt x="5339" y="36300"/>
                    <a:pt x="5339" y="36300"/>
                    <a:pt x="2288" y="33249"/>
                  </a:cubicBezTo>
                  <a:cubicBezTo>
                    <a:pt x="-763" y="30198"/>
                    <a:pt x="-763" y="24096"/>
                    <a:pt x="2288" y="21046"/>
                  </a:cubicBezTo>
                  <a:cubicBezTo>
                    <a:pt x="14491" y="5791"/>
                    <a:pt x="51102" y="-12514"/>
                    <a:pt x="87712" y="11893"/>
                  </a:cubicBezTo>
                  <a:cubicBezTo>
                    <a:pt x="90763" y="14944"/>
                    <a:pt x="93814" y="17995"/>
                    <a:pt x="90763" y="24096"/>
                  </a:cubicBezTo>
                  <a:cubicBezTo>
                    <a:pt x="87712" y="27147"/>
                    <a:pt x="84661" y="30198"/>
                    <a:pt x="78559" y="27147"/>
                  </a:cubicBezTo>
                  <a:cubicBezTo>
                    <a:pt x="41949" y="2740"/>
                    <a:pt x="14491" y="33249"/>
                    <a:pt x="11441" y="33249"/>
                  </a:cubicBezTo>
                  <a:cubicBezTo>
                    <a:pt x="11441" y="36300"/>
                    <a:pt x="8390" y="36300"/>
                    <a:pt x="8390" y="36300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E46B7A32-B0CF-4131-8603-1CF48E3C31AC}"/>
                </a:ext>
              </a:extLst>
            </p:cNvPr>
            <p:cNvSpPr/>
            <p:nvPr/>
          </p:nvSpPr>
          <p:spPr>
            <a:xfrm>
              <a:off x="7571009" y="7937860"/>
              <a:ext cx="77634" cy="114126"/>
            </a:xfrm>
            <a:custGeom>
              <a:avLst/>
              <a:gdLst>
                <a:gd name="connsiteX0" fmla="*/ 65432 w 77634"/>
                <a:gd name="connsiteY0" fmla="*/ 16740 h 114126"/>
                <a:gd name="connsiteX1" fmla="*/ 7466 w 77634"/>
                <a:gd name="connsiteY1" fmla="*/ 7587 h 114126"/>
                <a:gd name="connsiteX2" fmla="*/ 65432 w 77634"/>
                <a:gd name="connsiteY2" fmla="*/ 111316 h 114126"/>
                <a:gd name="connsiteX3" fmla="*/ 65432 w 77634"/>
                <a:gd name="connsiteY3" fmla="*/ 16740 h 11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634" h="114126">
                  <a:moveTo>
                    <a:pt x="65432" y="16740"/>
                  </a:moveTo>
                  <a:cubicBezTo>
                    <a:pt x="65432" y="16740"/>
                    <a:pt x="31872" y="-13769"/>
                    <a:pt x="7466" y="7587"/>
                  </a:cubicBezTo>
                  <a:cubicBezTo>
                    <a:pt x="-16941" y="25892"/>
                    <a:pt x="22720" y="132672"/>
                    <a:pt x="65432" y="111316"/>
                  </a:cubicBezTo>
                  <a:cubicBezTo>
                    <a:pt x="92889" y="89960"/>
                    <a:pt x="65432" y="16740"/>
                    <a:pt x="65432" y="16740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65D6A0CA-37BF-4DA4-B1D7-13F7C36AF9F7}"/>
                </a:ext>
              </a:extLst>
            </p:cNvPr>
            <p:cNvSpPr/>
            <p:nvPr/>
          </p:nvSpPr>
          <p:spPr>
            <a:xfrm>
              <a:off x="7572170" y="7568235"/>
              <a:ext cx="519387" cy="404670"/>
            </a:xfrm>
            <a:custGeom>
              <a:avLst/>
              <a:gdLst>
                <a:gd name="connsiteX0" fmla="*/ 6305 w 519387"/>
                <a:gd name="connsiteY0" fmla="*/ 303992 h 404670"/>
                <a:gd name="connsiteX1" fmla="*/ 64271 w 519387"/>
                <a:gd name="connsiteY1" fmla="*/ 404670 h 404670"/>
                <a:gd name="connsiteX2" fmla="*/ 116136 w 519387"/>
                <a:gd name="connsiteY2" fmla="*/ 264332 h 404670"/>
                <a:gd name="connsiteX3" fmla="*/ 125288 w 519387"/>
                <a:gd name="connsiteY3" fmla="*/ 261281 h 404670"/>
                <a:gd name="connsiteX4" fmla="*/ 201559 w 519387"/>
                <a:gd name="connsiteY4" fmla="*/ 233823 h 404670"/>
                <a:gd name="connsiteX5" fmla="*/ 213763 w 519387"/>
                <a:gd name="connsiteY5" fmla="*/ 230772 h 404670"/>
                <a:gd name="connsiteX6" fmla="*/ 250373 w 519387"/>
                <a:gd name="connsiteY6" fmla="*/ 252128 h 404670"/>
                <a:gd name="connsiteX7" fmla="*/ 265627 w 519387"/>
                <a:gd name="connsiteY7" fmla="*/ 242975 h 404670"/>
                <a:gd name="connsiteX8" fmla="*/ 317492 w 519387"/>
                <a:gd name="connsiteY8" fmla="*/ 258230 h 404670"/>
                <a:gd name="connsiteX9" fmla="*/ 354102 w 519387"/>
                <a:gd name="connsiteY9" fmla="*/ 267382 h 404670"/>
                <a:gd name="connsiteX10" fmla="*/ 366305 w 519387"/>
                <a:gd name="connsiteY10" fmla="*/ 267382 h 404670"/>
                <a:gd name="connsiteX11" fmla="*/ 378509 w 519387"/>
                <a:gd name="connsiteY11" fmla="*/ 264332 h 404670"/>
                <a:gd name="connsiteX12" fmla="*/ 387661 w 519387"/>
                <a:gd name="connsiteY12" fmla="*/ 270433 h 404670"/>
                <a:gd name="connsiteX13" fmla="*/ 393763 w 519387"/>
                <a:gd name="connsiteY13" fmla="*/ 273484 h 404670"/>
                <a:gd name="connsiteX14" fmla="*/ 399865 w 519387"/>
                <a:gd name="connsiteY14" fmla="*/ 273484 h 404670"/>
                <a:gd name="connsiteX15" fmla="*/ 405966 w 519387"/>
                <a:gd name="connsiteY15" fmla="*/ 276535 h 404670"/>
                <a:gd name="connsiteX16" fmla="*/ 412068 w 519387"/>
                <a:gd name="connsiteY16" fmla="*/ 285687 h 404670"/>
                <a:gd name="connsiteX17" fmla="*/ 430373 w 519387"/>
                <a:gd name="connsiteY17" fmla="*/ 307043 h 404670"/>
                <a:gd name="connsiteX18" fmla="*/ 460881 w 519387"/>
                <a:gd name="connsiteY18" fmla="*/ 319246 h 404670"/>
                <a:gd name="connsiteX19" fmla="*/ 479187 w 519387"/>
                <a:gd name="connsiteY19" fmla="*/ 374162 h 404670"/>
                <a:gd name="connsiteX20" fmla="*/ 488339 w 519387"/>
                <a:gd name="connsiteY20" fmla="*/ 343653 h 404670"/>
                <a:gd name="connsiteX21" fmla="*/ 497492 w 519387"/>
                <a:gd name="connsiteY21" fmla="*/ 340603 h 404670"/>
                <a:gd name="connsiteX22" fmla="*/ 515797 w 519387"/>
                <a:gd name="connsiteY22" fmla="*/ 242975 h 404670"/>
                <a:gd name="connsiteX23" fmla="*/ 497492 w 519387"/>
                <a:gd name="connsiteY23" fmla="*/ 200264 h 404670"/>
                <a:gd name="connsiteX24" fmla="*/ 500543 w 519387"/>
                <a:gd name="connsiteY24" fmla="*/ 166704 h 404670"/>
                <a:gd name="connsiteX25" fmla="*/ 494441 w 519387"/>
                <a:gd name="connsiteY25" fmla="*/ 130094 h 404670"/>
                <a:gd name="connsiteX26" fmla="*/ 476136 w 519387"/>
                <a:gd name="connsiteY26" fmla="*/ 102637 h 404670"/>
                <a:gd name="connsiteX27" fmla="*/ 460881 w 519387"/>
                <a:gd name="connsiteY27" fmla="*/ 59924 h 404670"/>
                <a:gd name="connsiteX28" fmla="*/ 399865 w 519387"/>
                <a:gd name="connsiteY28" fmla="*/ 38569 h 404670"/>
                <a:gd name="connsiteX29" fmla="*/ 274780 w 519387"/>
                <a:gd name="connsiteY29" fmla="*/ 1959 h 404670"/>
                <a:gd name="connsiteX30" fmla="*/ 262576 w 519387"/>
                <a:gd name="connsiteY30" fmla="*/ 8060 h 404670"/>
                <a:gd name="connsiteX31" fmla="*/ 207661 w 519387"/>
                <a:gd name="connsiteY31" fmla="*/ 23314 h 404670"/>
                <a:gd name="connsiteX32" fmla="*/ 174102 w 519387"/>
                <a:gd name="connsiteY32" fmla="*/ 26365 h 404670"/>
                <a:gd name="connsiteX33" fmla="*/ 143594 w 519387"/>
                <a:gd name="connsiteY33" fmla="*/ 59924 h 404670"/>
                <a:gd name="connsiteX34" fmla="*/ 131390 w 519387"/>
                <a:gd name="connsiteY34" fmla="*/ 78230 h 404670"/>
                <a:gd name="connsiteX35" fmla="*/ 100881 w 519387"/>
                <a:gd name="connsiteY35" fmla="*/ 99586 h 404670"/>
                <a:gd name="connsiteX36" fmla="*/ 88678 w 519387"/>
                <a:gd name="connsiteY36" fmla="*/ 96535 h 404670"/>
                <a:gd name="connsiteX37" fmla="*/ 70373 w 519387"/>
                <a:gd name="connsiteY37" fmla="*/ 136196 h 404670"/>
                <a:gd name="connsiteX38" fmla="*/ 6305 w 519387"/>
                <a:gd name="connsiteY38" fmla="*/ 303992 h 40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9387" h="404670">
                  <a:moveTo>
                    <a:pt x="6305" y="303992"/>
                  </a:moveTo>
                  <a:cubicBezTo>
                    <a:pt x="21560" y="358908"/>
                    <a:pt x="64271" y="404670"/>
                    <a:pt x="64271" y="404670"/>
                  </a:cubicBezTo>
                  <a:cubicBezTo>
                    <a:pt x="58170" y="374162"/>
                    <a:pt x="116136" y="264332"/>
                    <a:pt x="116136" y="264332"/>
                  </a:cubicBezTo>
                  <a:cubicBezTo>
                    <a:pt x="116136" y="264332"/>
                    <a:pt x="119187" y="264332"/>
                    <a:pt x="125288" y="261281"/>
                  </a:cubicBezTo>
                  <a:cubicBezTo>
                    <a:pt x="152746" y="261281"/>
                    <a:pt x="180204" y="252128"/>
                    <a:pt x="201559" y="233823"/>
                  </a:cubicBezTo>
                  <a:cubicBezTo>
                    <a:pt x="204610" y="233823"/>
                    <a:pt x="210712" y="230772"/>
                    <a:pt x="213763" y="230772"/>
                  </a:cubicBezTo>
                  <a:cubicBezTo>
                    <a:pt x="222915" y="242975"/>
                    <a:pt x="232068" y="255179"/>
                    <a:pt x="250373" y="252128"/>
                  </a:cubicBezTo>
                  <a:cubicBezTo>
                    <a:pt x="259525" y="252128"/>
                    <a:pt x="262576" y="242975"/>
                    <a:pt x="265627" y="242975"/>
                  </a:cubicBezTo>
                  <a:cubicBezTo>
                    <a:pt x="286983" y="233823"/>
                    <a:pt x="299186" y="249077"/>
                    <a:pt x="317492" y="258230"/>
                  </a:cubicBezTo>
                  <a:cubicBezTo>
                    <a:pt x="329695" y="264332"/>
                    <a:pt x="341899" y="267382"/>
                    <a:pt x="354102" y="267382"/>
                  </a:cubicBezTo>
                  <a:cubicBezTo>
                    <a:pt x="357153" y="267382"/>
                    <a:pt x="363254" y="264332"/>
                    <a:pt x="366305" y="267382"/>
                  </a:cubicBezTo>
                  <a:cubicBezTo>
                    <a:pt x="372407" y="264332"/>
                    <a:pt x="375458" y="264332"/>
                    <a:pt x="378509" y="264332"/>
                  </a:cubicBezTo>
                  <a:cubicBezTo>
                    <a:pt x="381559" y="267382"/>
                    <a:pt x="384610" y="267382"/>
                    <a:pt x="387661" y="270433"/>
                  </a:cubicBezTo>
                  <a:cubicBezTo>
                    <a:pt x="390712" y="270433"/>
                    <a:pt x="390712" y="273484"/>
                    <a:pt x="393763" y="273484"/>
                  </a:cubicBezTo>
                  <a:cubicBezTo>
                    <a:pt x="396814" y="273484"/>
                    <a:pt x="396814" y="273484"/>
                    <a:pt x="399865" y="273484"/>
                  </a:cubicBezTo>
                  <a:cubicBezTo>
                    <a:pt x="402916" y="273484"/>
                    <a:pt x="405966" y="276535"/>
                    <a:pt x="405966" y="276535"/>
                  </a:cubicBezTo>
                  <a:cubicBezTo>
                    <a:pt x="409017" y="279586"/>
                    <a:pt x="412068" y="282636"/>
                    <a:pt x="412068" y="285687"/>
                  </a:cubicBezTo>
                  <a:cubicBezTo>
                    <a:pt x="418170" y="294840"/>
                    <a:pt x="421220" y="300942"/>
                    <a:pt x="430373" y="307043"/>
                  </a:cubicBezTo>
                  <a:cubicBezTo>
                    <a:pt x="436475" y="313145"/>
                    <a:pt x="448678" y="313145"/>
                    <a:pt x="460881" y="319246"/>
                  </a:cubicBezTo>
                  <a:cubicBezTo>
                    <a:pt x="476136" y="337552"/>
                    <a:pt x="482237" y="355857"/>
                    <a:pt x="479187" y="374162"/>
                  </a:cubicBezTo>
                  <a:cubicBezTo>
                    <a:pt x="479187" y="374162"/>
                    <a:pt x="482237" y="361959"/>
                    <a:pt x="488339" y="343653"/>
                  </a:cubicBezTo>
                  <a:cubicBezTo>
                    <a:pt x="491390" y="346704"/>
                    <a:pt x="494441" y="346704"/>
                    <a:pt x="497492" y="340603"/>
                  </a:cubicBezTo>
                  <a:cubicBezTo>
                    <a:pt x="515797" y="310094"/>
                    <a:pt x="524949" y="276535"/>
                    <a:pt x="515797" y="242975"/>
                  </a:cubicBezTo>
                  <a:cubicBezTo>
                    <a:pt x="512746" y="227721"/>
                    <a:pt x="503593" y="215518"/>
                    <a:pt x="497492" y="200264"/>
                  </a:cubicBezTo>
                  <a:cubicBezTo>
                    <a:pt x="488339" y="181958"/>
                    <a:pt x="497492" y="181958"/>
                    <a:pt x="500543" y="166704"/>
                  </a:cubicBezTo>
                  <a:cubicBezTo>
                    <a:pt x="503593" y="154501"/>
                    <a:pt x="497492" y="142298"/>
                    <a:pt x="494441" y="130094"/>
                  </a:cubicBezTo>
                  <a:cubicBezTo>
                    <a:pt x="488339" y="120941"/>
                    <a:pt x="482237" y="111789"/>
                    <a:pt x="476136" y="102637"/>
                  </a:cubicBezTo>
                  <a:cubicBezTo>
                    <a:pt x="463933" y="87382"/>
                    <a:pt x="466983" y="75179"/>
                    <a:pt x="460881" y="59924"/>
                  </a:cubicBezTo>
                  <a:cubicBezTo>
                    <a:pt x="448678" y="32467"/>
                    <a:pt x="424271" y="38569"/>
                    <a:pt x="399865" y="38569"/>
                  </a:cubicBezTo>
                  <a:cubicBezTo>
                    <a:pt x="357153" y="38569"/>
                    <a:pt x="320542" y="-10245"/>
                    <a:pt x="274780" y="1959"/>
                  </a:cubicBezTo>
                  <a:cubicBezTo>
                    <a:pt x="268678" y="1959"/>
                    <a:pt x="265627" y="5010"/>
                    <a:pt x="262576" y="8060"/>
                  </a:cubicBezTo>
                  <a:cubicBezTo>
                    <a:pt x="244271" y="17213"/>
                    <a:pt x="225966" y="23314"/>
                    <a:pt x="207661" y="23314"/>
                  </a:cubicBezTo>
                  <a:cubicBezTo>
                    <a:pt x="195458" y="23314"/>
                    <a:pt x="186305" y="20264"/>
                    <a:pt x="174102" y="26365"/>
                  </a:cubicBezTo>
                  <a:cubicBezTo>
                    <a:pt x="158848" y="32467"/>
                    <a:pt x="152746" y="47721"/>
                    <a:pt x="143594" y="59924"/>
                  </a:cubicBezTo>
                  <a:cubicBezTo>
                    <a:pt x="140542" y="66027"/>
                    <a:pt x="134441" y="72128"/>
                    <a:pt x="131390" y="78230"/>
                  </a:cubicBezTo>
                  <a:cubicBezTo>
                    <a:pt x="119187" y="84331"/>
                    <a:pt x="110034" y="93484"/>
                    <a:pt x="100881" y="99586"/>
                  </a:cubicBezTo>
                  <a:cubicBezTo>
                    <a:pt x="100881" y="96535"/>
                    <a:pt x="103932" y="84331"/>
                    <a:pt x="88678" y="96535"/>
                  </a:cubicBezTo>
                  <a:cubicBezTo>
                    <a:pt x="73424" y="105687"/>
                    <a:pt x="70373" y="120941"/>
                    <a:pt x="70373" y="136196"/>
                  </a:cubicBezTo>
                  <a:cubicBezTo>
                    <a:pt x="203" y="157552"/>
                    <a:pt x="-8949" y="246026"/>
                    <a:pt x="6305" y="303992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96D704E9-1115-469E-943B-0287594A536D}"/>
                </a:ext>
              </a:extLst>
            </p:cNvPr>
            <p:cNvSpPr/>
            <p:nvPr/>
          </p:nvSpPr>
          <p:spPr>
            <a:xfrm>
              <a:off x="7688305" y="8159007"/>
              <a:ext cx="250169" cy="258417"/>
            </a:xfrm>
            <a:custGeom>
              <a:avLst/>
              <a:gdLst>
                <a:gd name="connsiteX0" fmla="*/ 250169 w 250169"/>
                <a:gd name="connsiteY0" fmla="*/ 39661 h 258417"/>
                <a:gd name="connsiteX1" fmla="*/ 244068 w 250169"/>
                <a:gd name="connsiteY1" fmla="*/ 213559 h 258417"/>
                <a:gd name="connsiteX2" fmla="*/ 0 w 250169"/>
                <a:gd name="connsiteY2" fmla="*/ 204407 h 258417"/>
                <a:gd name="connsiteX3" fmla="*/ 15254 w 250169"/>
                <a:gd name="connsiteY3" fmla="*/ 0 h 258417"/>
                <a:gd name="connsiteX4" fmla="*/ 250169 w 250169"/>
                <a:gd name="connsiteY4" fmla="*/ 39661 h 25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69" h="258417">
                  <a:moveTo>
                    <a:pt x="250169" y="39661"/>
                  </a:moveTo>
                  <a:cubicBezTo>
                    <a:pt x="250169" y="39661"/>
                    <a:pt x="244068" y="140339"/>
                    <a:pt x="244068" y="213559"/>
                  </a:cubicBezTo>
                  <a:cubicBezTo>
                    <a:pt x="244068" y="213559"/>
                    <a:pt x="149492" y="320339"/>
                    <a:pt x="0" y="204407"/>
                  </a:cubicBezTo>
                  <a:cubicBezTo>
                    <a:pt x="0" y="143390"/>
                    <a:pt x="12204" y="64068"/>
                    <a:pt x="15254" y="0"/>
                  </a:cubicBezTo>
                  <a:cubicBezTo>
                    <a:pt x="12204" y="0"/>
                    <a:pt x="198305" y="51864"/>
                    <a:pt x="250169" y="3966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0A15F580-89C0-40E1-8A9B-1C7D98477544}"/>
                </a:ext>
              </a:extLst>
            </p:cNvPr>
            <p:cNvSpPr/>
            <p:nvPr/>
          </p:nvSpPr>
          <p:spPr>
            <a:xfrm>
              <a:off x="7273390" y="8323752"/>
              <a:ext cx="1223844" cy="1567951"/>
            </a:xfrm>
            <a:custGeom>
              <a:avLst/>
              <a:gdLst>
                <a:gd name="connsiteX0" fmla="*/ 396610 w 1223844"/>
                <a:gd name="connsiteY0" fmla="*/ 0 h 1567951"/>
                <a:gd name="connsiteX1" fmla="*/ 686441 w 1223844"/>
                <a:gd name="connsiteY1" fmla="*/ 0 h 1567951"/>
                <a:gd name="connsiteX2" fmla="*/ 985423 w 1223844"/>
                <a:gd name="connsiteY2" fmla="*/ 131187 h 1567951"/>
                <a:gd name="connsiteX3" fmla="*/ 1070847 w 1223844"/>
                <a:gd name="connsiteY3" fmla="*/ 1537627 h 1567951"/>
                <a:gd name="connsiteX4" fmla="*/ 0 w 1223844"/>
                <a:gd name="connsiteY4" fmla="*/ 1513220 h 1567951"/>
                <a:gd name="connsiteX5" fmla="*/ 115932 w 1223844"/>
                <a:gd name="connsiteY5" fmla="*/ 103729 h 1567951"/>
                <a:gd name="connsiteX6" fmla="*/ 396610 w 1223844"/>
                <a:gd name="connsiteY6" fmla="*/ 0 h 156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3844" h="1567951">
                  <a:moveTo>
                    <a:pt x="396610" y="0"/>
                  </a:moveTo>
                  <a:cubicBezTo>
                    <a:pt x="396610" y="0"/>
                    <a:pt x="570508" y="54915"/>
                    <a:pt x="686441" y="0"/>
                  </a:cubicBezTo>
                  <a:cubicBezTo>
                    <a:pt x="686441" y="0"/>
                    <a:pt x="961017" y="97627"/>
                    <a:pt x="985423" y="131187"/>
                  </a:cubicBezTo>
                  <a:cubicBezTo>
                    <a:pt x="1009830" y="161695"/>
                    <a:pt x="1449153" y="1202034"/>
                    <a:pt x="1070847" y="1537627"/>
                  </a:cubicBezTo>
                  <a:cubicBezTo>
                    <a:pt x="1070847" y="1537627"/>
                    <a:pt x="579661" y="1620000"/>
                    <a:pt x="0" y="1513220"/>
                  </a:cubicBezTo>
                  <a:cubicBezTo>
                    <a:pt x="0" y="1156272"/>
                    <a:pt x="73220" y="134238"/>
                    <a:pt x="115932" y="103729"/>
                  </a:cubicBezTo>
                  <a:cubicBezTo>
                    <a:pt x="158644" y="70170"/>
                    <a:pt x="396610" y="0"/>
                    <a:pt x="396610" y="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A5137728-4A38-4550-9AC6-74340C2DCED5}"/>
                </a:ext>
              </a:extLst>
            </p:cNvPr>
            <p:cNvSpPr/>
            <p:nvPr/>
          </p:nvSpPr>
          <p:spPr>
            <a:xfrm>
              <a:off x="8251356" y="8447481"/>
              <a:ext cx="249738" cy="852542"/>
            </a:xfrm>
            <a:custGeom>
              <a:avLst/>
              <a:gdLst>
                <a:gd name="connsiteX0" fmla="*/ 245424 w 249738"/>
                <a:gd name="connsiteY0" fmla="*/ 852542 h 852542"/>
                <a:gd name="connsiteX1" fmla="*/ 239322 w 249738"/>
                <a:gd name="connsiteY1" fmla="*/ 846441 h 852542"/>
                <a:gd name="connsiteX2" fmla="*/ 1356 w 249738"/>
                <a:gd name="connsiteY2" fmla="*/ 10509 h 852542"/>
                <a:gd name="connsiteX3" fmla="*/ 1356 w 249738"/>
                <a:gd name="connsiteY3" fmla="*/ 1356 h 852542"/>
                <a:gd name="connsiteX4" fmla="*/ 10508 w 249738"/>
                <a:gd name="connsiteY4" fmla="*/ 1356 h 852542"/>
                <a:gd name="connsiteX5" fmla="*/ 248475 w 249738"/>
                <a:gd name="connsiteY5" fmla="*/ 843390 h 852542"/>
                <a:gd name="connsiteX6" fmla="*/ 245424 w 249738"/>
                <a:gd name="connsiteY6" fmla="*/ 852542 h 852542"/>
                <a:gd name="connsiteX7" fmla="*/ 245424 w 249738"/>
                <a:gd name="connsiteY7" fmla="*/ 852542 h 85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738" h="852542">
                  <a:moveTo>
                    <a:pt x="245424" y="852542"/>
                  </a:moveTo>
                  <a:cubicBezTo>
                    <a:pt x="242373" y="852542"/>
                    <a:pt x="239322" y="849492"/>
                    <a:pt x="239322" y="846441"/>
                  </a:cubicBezTo>
                  <a:cubicBezTo>
                    <a:pt x="239322" y="840339"/>
                    <a:pt x="141695" y="205763"/>
                    <a:pt x="1356" y="10509"/>
                  </a:cubicBezTo>
                  <a:cubicBezTo>
                    <a:pt x="-1695" y="7458"/>
                    <a:pt x="1356" y="4407"/>
                    <a:pt x="1356" y="1356"/>
                  </a:cubicBezTo>
                  <a:cubicBezTo>
                    <a:pt x="4407" y="-1695"/>
                    <a:pt x="7457" y="1356"/>
                    <a:pt x="10508" y="1356"/>
                  </a:cubicBezTo>
                  <a:cubicBezTo>
                    <a:pt x="150848" y="199661"/>
                    <a:pt x="248475" y="837288"/>
                    <a:pt x="248475" y="843390"/>
                  </a:cubicBezTo>
                  <a:cubicBezTo>
                    <a:pt x="251525" y="849492"/>
                    <a:pt x="248475" y="852542"/>
                    <a:pt x="245424" y="852542"/>
                  </a:cubicBezTo>
                  <a:cubicBezTo>
                    <a:pt x="245424" y="852542"/>
                    <a:pt x="245424" y="852542"/>
                    <a:pt x="245424" y="852542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CB037819-DE47-4C11-BB0A-B3291373D56B}"/>
                </a:ext>
              </a:extLst>
            </p:cNvPr>
            <p:cNvSpPr/>
            <p:nvPr/>
          </p:nvSpPr>
          <p:spPr>
            <a:xfrm>
              <a:off x="7703560" y="8192566"/>
              <a:ext cx="242280" cy="64067"/>
            </a:xfrm>
            <a:custGeom>
              <a:avLst/>
              <a:gdLst>
                <a:gd name="connsiteX0" fmla="*/ 137288 w 242280"/>
                <a:gd name="connsiteY0" fmla="*/ 64068 h 64067"/>
                <a:gd name="connsiteX1" fmla="*/ 125085 w 242280"/>
                <a:gd name="connsiteY1" fmla="*/ 64068 h 64067"/>
                <a:gd name="connsiteX2" fmla="*/ 51864 w 242280"/>
                <a:gd name="connsiteY2" fmla="*/ 36611 h 64067"/>
                <a:gd name="connsiteX3" fmla="*/ 3051 w 242280"/>
                <a:gd name="connsiteY3" fmla="*/ 12204 h 64067"/>
                <a:gd name="connsiteX4" fmla="*/ 0 w 242280"/>
                <a:gd name="connsiteY4" fmla="*/ 3051 h 64067"/>
                <a:gd name="connsiteX5" fmla="*/ 9153 w 242280"/>
                <a:gd name="connsiteY5" fmla="*/ 0 h 64067"/>
                <a:gd name="connsiteX6" fmla="*/ 54915 w 242280"/>
                <a:gd name="connsiteY6" fmla="*/ 24407 h 64067"/>
                <a:gd name="connsiteX7" fmla="*/ 146441 w 242280"/>
                <a:gd name="connsiteY7" fmla="*/ 51865 h 64067"/>
                <a:gd name="connsiteX8" fmla="*/ 158644 w 242280"/>
                <a:gd name="connsiteY8" fmla="*/ 51865 h 64067"/>
                <a:gd name="connsiteX9" fmla="*/ 207458 w 242280"/>
                <a:gd name="connsiteY9" fmla="*/ 33560 h 64067"/>
                <a:gd name="connsiteX10" fmla="*/ 216610 w 242280"/>
                <a:gd name="connsiteY10" fmla="*/ 27458 h 64067"/>
                <a:gd name="connsiteX11" fmla="*/ 222712 w 242280"/>
                <a:gd name="connsiteY11" fmla="*/ 27458 h 64067"/>
                <a:gd name="connsiteX12" fmla="*/ 231865 w 242280"/>
                <a:gd name="connsiteY12" fmla="*/ 21356 h 64067"/>
                <a:gd name="connsiteX13" fmla="*/ 241017 w 242280"/>
                <a:gd name="connsiteY13" fmla="*/ 24407 h 64067"/>
                <a:gd name="connsiteX14" fmla="*/ 237966 w 242280"/>
                <a:gd name="connsiteY14" fmla="*/ 33560 h 64067"/>
                <a:gd name="connsiteX15" fmla="*/ 213559 w 242280"/>
                <a:gd name="connsiteY15" fmla="*/ 45763 h 64067"/>
                <a:gd name="connsiteX16" fmla="*/ 158644 w 242280"/>
                <a:gd name="connsiteY16" fmla="*/ 64068 h 64067"/>
                <a:gd name="connsiteX17" fmla="*/ 137288 w 242280"/>
                <a:gd name="connsiteY17" fmla="*/ 64068 h 64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2280" h="64067">
                  <a:moveTo>
                    <a:pt x="137288" y="64068"/>
                  </a:moveTo>
                  <a:cubicBezTo>
                    <a:pt x="131187" y="64068"/>
                    <a:pt x="128136" y="64068"/>
                    <a:pt x="125085" y="64068"/>
                  </a:cubicBezTo>
                  <a:cubicBezTo>
                    <a:pt x="106780" y="61017"/>
                    <a:pt x="76271" y="48814"/>
                    <a:pt x="51864" y="36611"/>
                  </a:cubicBezTo>
                  <a:cubicBezTo>
                    <a:pt x="24407" y="24407"/>
                    <a:pt x="3051" y="12204"/>
                    <a:pt x="3051" y="12204"/>
                  </a:cubicBezTo>
                  <a:cubicBezTo>
                    <a:pt x="0" y="9153"/>
                    <a:pt x="0" y="6102"/>
                    <a:pt x="0" y="3051"/>
                  </a:cubicBezTo>
                  <a:cubicBezTo>
                    <a:pt x="3051" y="0"/>
                    <a:pt x="6102" y="0"/>
                    <a:pt x="9153" y="0"/>
                  </a:cubicBezTo>
                  <a:cubicBezTo>
                    <a:pt x="9153" y="0"/>
                    <a:pt x="30508" y="12204"/>
                    <a:pt x="54915" y="24407"/>
                  </a:cubicBezTo>
                  <a:cubicBezTo>
                    <a:pt x="85424" y="36611"/>
                    <a:pt x="122034" y="51865"/>
                    <a:pt x="146441" y="51865"/>
                  </a:cubicBezTo>
                  <a:cubicBezTo>
                    <a:pt x="149492" y="51865"/>
                    <a:pt x="155593" y="51865"/>
                    <a:pt x="158644" y="51865"/>
                  </a:cubicBezTo>
                  <a:cubicBezTo>
                    <a:pt x="176949" y="48814"/>
                    <a:pt x="195255" y="39661"/>
                    <a:pt x="207458" y="33560"/>
                  </a:cubicBezTo>
                  <a:cubicBezTo>
                    <a:pt x="213559" y="30508"/>
                    <a:pt x="216610" y="27458"/>
                    <a:pt x="216610" y="27458"/>
                  </a:cubicBezTo>
                  <a:cubicBezTo>
                    <a:pt x="216610" y="27458"/>
                    <a:pt x="219661" y="27458"/>
                    <a:pt x="222712" y="27458"/>
                  </a:cubicBezTo>
                  <a:cubicBezTo>
                    <a:pt x="228814" y="24407"/>
                    <a:pt x="231865" y="21356"/>
                    <a:pt x="231865" y="21356"/>
                  </a:cubicBezTo>
                  <a:cubicBezTo>
                    <a:pt x="234915" y="18305"/>
                    <a:pt x="237966" y="21356"/>
                    <a:pt x="241017" y="24407"/>
                  </a:cubicBezTo>
                  <a:cubicBezTo>
                    <a:pt x="244068" y="27458"/>
                    <a:pt x="241017" y="30508"/>
                    <a:pt x="237966" y="33560"/>
                  </a:cubicBezTo>
                  <a:cubicBezTo>
                    <a:pt x="237966" y="33560"/>
                    <a:pt x="228814" y="39661"/>
                    <a:pt x="213559" y="45763"/>
                  </a:cubicBezTo>
                  <a:cubicBezTo>
                    <a:pt x="201356" y="51865"/>
                    <a:pt x="183051" y="61017"/>
                    <a:pt x="158644" y="64068"/>
                  </a:cubicBezTo>
                  <a:cubicBezTo>
                    <a:pt x="152542" y="64068"/>
                    <a:pt x="143390" y="64068"/>
                    <a:pt x="137288" y="64068"/>
                  </a:cubicBezTo>
                  <a:close/>
                </a:path>
              </a:pathLst>
            </a:custGeom>
            <a:solidFill>
              <a:srgbClr val="E87952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5" name="图形 1">
              <a:extLst>
                <a:ext uri="{FF2B5EF4-FFF2-40B4-BE49-F238E27FC236}">
                  <a16:creationId xmlns:a16="http://schemas.microsoft.com/office/drawing/2014/main" id="{7EB47ACF-B52A-4B3D-BBD0-82BACC36DF15}"/>
                </a:ext>
              </a:extLst>
            </p:cNvPr>
            <p:cNvGrpSpPr/>
            <p:nvPr/>
          </p:nvGrpSpPr>
          <p:grpSpPr>
            <a:xfrm>
              <a:off x="7332882" y="7474219"/>
              <a:ext cx="797895" cy="346143"/>
              <a:chOff x="7332882" y="7474219"/>
              <a:chExt cx="797895" cy="346143"/>
            </a:xfrm>
          </p:grpSpPr>
          <p:grpSp>
            <p:nvGrpSpPr>
              <p:cNvPr id="58" name="图形 1">
                <a:extLst>
                  <a:ext uri="{FF2B5EF4-FFF2-40B4-BE49-F238E27FC236}">
                    <a16:creationId xmlns:a16="http://schemas.microsoft.com/office/drawing/2014/main" id="{015274AC-1D5C-4F32-8F88-45079356A9EA}"/>
                  </a:ext>
                </a:extLst>
              </p:cNvPr>
              <p:cNvGrpSpPr/>
              <p:nvPr/>
            </p:nvGrpSpPr>
            <p:grpSpPr>
              <a:xfrm>
                <a:off x="7332882" y="7474219"/>
                <a:ext cx="773413" cy="325789"/>
                <a:chOff x="7332882" y="7474219"/>
                <a:chExt cx="773413" cy="325789"/>
              </a:xfrm>
            </p:grpSpPr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C179C9D8-1E3E-410E-A718-A894A86A4DF0}"/>
                    </a:ext>
                  </a:extLst>
                </p:cNvPr>
                <p:cNvSpPr/>
                <p:nvPr/>
              </p:nvSpPr>
              <p:spPr>
                <a:xfrm>
                  <a:off x="7486950" y="7474219"/>
                  <a:ext cx="619345" cy="325789"/>
                </a:xfrm>
                <a:custGeom>
                  <a:avLst/>
                  <a:gdLst>
                    <a:gd name="connsiteX0" fmla="*/ 442373 w 619345"/>
                    <a:gd name="connsiteY0" fmla="*/ 19703 h 325789"/>
                    <a:gd name="connsiteX1" fmla="*/ 3051 w 619345"/>
                    <a:gd name="connsiteY1" fmla="*/ 138685 h 325789"/>
                    <a:gd name="connsiteX2" fmla="*/ 0 w 619345"/>
                    <a:gd name="connsiteY2" fmla="*/ 147838 h 325789"/>
                    <a:gd name="connsiteX3" fmla="*/ 76271 w 619345"/>
                    <a:gd name="connsiteY3" fmla="*/ 208855 h 325789"/>
                    <a:gd name="connsiteX4" fmla="*/ 54915 w 619345"/>
                    <a:gd name="connsiteY4" fmla="*/ 294279 h 325789"/>
                    <a:gd name="connsiteX5" fmla="*/ 57966 w 619345"/>
                    <a:gd name="connsiteY5" fmla="*/ 300381 h 325789"/>
                    <a:gd name="connsiteX6" fmla="*/ 64068 w 619345"/>
                    <a:gd name="connsiteY6" fmla="*/ 303432 h 325789"/>
                    <a:gd name="connsiteX7" fmla="*/ 399661 w 619345"/>
                    <a:gd name="connsiteY7" fmla="*/ 324787 h 325789"/>
                    <a:gd name="connsiteX8" fmla="*/ 613220 w 619345"/>
                    <a:gd name="connsiteY8" fmla="*/ 282076 h 325789"/>
                    <a:gd name="connsiteX9" fmla="*/ 619322 w 619345"/>
                    <a:gd name="connsiteY9" fmla="*/ 272923 h 325789"/>
                    <a:gd name="connsiteX10" fmla="*/ 442373 w 619345"/>
                    <a:gd name="connsiteY10" fmla="*/ 19703 h 325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19345" h="325789">
                      <a:moveTo>
                        <a:pt x="442373" y="19703"/>
                      </a:moveTo>
                      <a:cubicBezTo>
                        <a:pt x="277627" y="-29111"/>
                        <a:pt x="118983" y="13601"/>
                        <a:pt x="3051" y="138685"/>
                      </a:cubicBezTo>
                      <a:cubicBezTo>
                        <a:pt x="0" y="141737"/>
                        <a:pt x="0" y="144788"/>
                        <a:pt x="0" y="147838"/>
                      </a:cubicBezTo>
                      <a:cubicBezTo>
                        <a:pt x="0" y="150889"/>
                        <a:pt x="21356" y="196652"/>
                        <a:pt x="76271" y="208855"/>
                      </a:cubicBezTo>
                      <a:cubicBezTo>
                        <a:pt x="61017" y="248516"/>
                        <a:pt x="54915" y="291228"/>
                        <a:pt x="54915" y="294279"/>
                      </a:cubicBezTo>
                      <a:cubicBezTo>
                        <a:pt x="54915" y="297330"/>
                        <a:pt x="54915" y="300381"/>
                        <a:pt x="57966" y="300381"/>
                      </a:cubicBezTo>
                      <a:cubicBezTo>
                        <a:pt x="57966" y="303432"/>
                        <a:pt x="61017" y="303432"/>
                        <a:pt x="64068" y="303432"/>
                      </a:cubicBezTo>
                      <a:cubicBezTo>
                        <a:pt x="204407" y="324787"/>
                        <a:pt x="314237" y="327838"/>
                        <a:pt x="399661" y="324787"/>
                      </a:cubicBezTo>
                      <a:cubicBezTo>
                        <a:pt x="540000" y="315635"/>
                        <a:pt x="610170" y="285126"/>
                        <a:pt x="613220" y="282076"/>
                      </a:cubicBezTo>
                      <a:cubicBezTo>
                        <a:pt x="616271" y="282076"/>
                        <a:pt x="619322" y="279025"/>
                        <a:pt x="619322" y="272923"/>
                      </a:cubicBezTo>
                      <a:cubicBezTo>
                        <a:pt x="619322" y="272923"/>
                        <a:pt x="625424" y="74618"/>
                        <a:pt x="442373" y="1970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5545EFEB-FE46-4481-892A-484C4EFFE80F}"/>
                    </a:ext>
                  </a:extLst>
                </p:cNvPr>
                <p:cNvSpPr/>
                <p:nvPr/>
              </p:nvSpPr>
              <p:spPr>
                <a:xfrm>
                  <a:off x="7332882" y="7509176"/>
                  <a:ext cx="216229" cy="205550"/>
                </a:xfrm>
                <a:custGeom>
                  <a:avLst/>
                  <a:gdLst>
                    <a:gd name="connsiteX0" fmla="*/ 215085 w 216229"/>
                    <a:gd name="connsiteY0" fmla="*/ 97627 h 205550"/>
                    <a:gd name="connsiteX1" fmla="*/ 205932 w 216229"/>
                    <a:gd name="connsiteY1" fmla="*/ 67119 h 205550"/>
                    <a:gd name="connsiteX2" fmla="*/ 193729 w 216229"/>
                    <a:gd name="connsiteY2" fmla="*/ 57966 h 205550"/>
                    <a:gd name="connsiteX3" fmla="*/ 181526 w 216229"/>
                    <a:gd name="connsiteY3" fmla="*/ 30508 h 205550"/>
                    <a:gd name="connsiteX4" fmla="*/ 160170 w 216229"/>
                    <a:gd name="connsiteY4" fmla="*/ 21356 h 205550"/>
                    <a:gd name="connsiteX5" fmla="*/ 144915 w 216229"/>
                    <a:gd name="connsiteY5" fmla="*/ 21356 h 205550"/>
                    <a:gd name="connsiteX6" fmla="*/ 99153 w 216229"/>
                    <a:gd name="connsiteY6" fmla="*/ 0 h 205550"/>
                    <a:gd name="connsiteX7" fmla="*/ 56441 w 216229"/>
                    <a:gd name="connsiteY7" fmla="*/ 30508 h 205550"/>
                    <a:gd name="connsiteX8" fmla="*/ 13729 w 216229"/>
                    <a:gd name="connsiteY8" fmla="*/ 73220 h 205550"/>
                    <a:gd name="connsiteX9" fmla="*/ 13729 w 216229"/>
                    <a:gd name="connsiteY9" fmla="*/ 128136 h 205550"/>
                    <a:gd name="connsiteX10" fmla="*/ 22882 w 216229"/>
                    <a:gd name="connsiteY10" fmla="*/ 170848 h 205550"/>
                    <a:gd name="connsiteX11" fmla="*/ 50339 w 216229"/>
                    <a:gd name="connsiteY11" fmla="*/ 183051 h 205550"/>
                    <a:gd name="connsiteX12" fmla="*/ 56441 w 216229"/>
                    <a:gd name="connsiteY12" fmla="*/ 183051 h 205550"/>
                    <a:gd name="connsiteX13" fmla="*/ 56441 w 216229"/>
                    <a:gd name="connsiteY13" fmla="*/ 183051 h 205550"/>
                    <a:gd name="connsiteX14" fmla="*/ 83899 w 216229"/>
                    <a:gd name="connsiteY14" fmla="*/ 204407 h 205550"/>
                    <a:gd name="connsiteX15" fmla="*/ 117458 w 216229"/>
                    <a:gd name="connsiteY15" fmla="*/ 195254 h 205550"/>
                    <a:gd name="connsiteX16" fmla="*/ 141864 w 216229"/>
                    <a:gd name="connsiteY16" fmla="*/ 195254 h 205550"/>
                    <a:gd name="connsiteX17" fmla="*/ 169322 w 216229"/>
                    <a:gd name="connsiteY17" fmla="*/ 173898 h 205550"/>
                    <a:gd name="connsiteX18" fmla="*/ 175424 w 216229"/>
                    <a:gd name="connsiteY18" fmla="*/ 158644 h 205550"/>
                    <a:gd name="connsiteX19" fmla="*/ 193729 w 216229"/>
                    <a:gd name="connsiteY19" fmla="*/ 143390 h 205550"/>
                    <a:gd name="connsiteX20" fmla="*/ 193729 w 216229"/>
                    <a:gd name="connsiteY20" fmla="*/ 115932 h 205550"/>
                    <a:gd name="connsiteX21" fmla="*/ 196780 w 216229"/>
                    <a:gd name="connsiteY21" fmla="*/ 112881 h 205550"/>
                    <a:gd name="connsiteX22" fmla="*/ 215085 w 216229"/>
                    <a:gd name="connsiteY22" fmla="*/ 97627 h 205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16229" h="205550">
                      <a:moveTo>
                        <a:pt x="215085" y="97627"/>
                      </a:moveTo>
                      <a:cubicBezTo>
                        <a:pt x="218136" y="88474"/>
                        <a:pt x="215085" y="73220"/>
                        <a:pt x="205932" y="67119"/>
                      </a:cubicBezTo>
                      <a:cubicBezTo>
                        <a:pt x="202881" y="64068"/>
                        <a:pt x="196780" y="61017"/>
                        <a:pt x="193729" y="57966"/>
                      </a:cubicBezTo>
                      <a:cubicBezTo>
                        <a:pt x="193729" y="48814"/>
                        <a:pt x="190678" y="39661"/>
                        <a:pt x="181526" y="30508"/>
                      </a:cubicBezTo>
                      <a:cubicBezTo>
                        <a:pt x="175424" y="24407"/>
                        <a:pt x="169322" y="21356"/>
                        <a:pt x="160170" y="21356"/>
                      </a:cubicBezTo>
                      <a:cubicBezTo>
                        <a:pt x="157119" y="21356"/>
                        <a:pt x="151017" y="21356"/>
                        <a:pt x="144915" y="21356"/>
                      </a:cubicBezTo>
                      <a:cubicBezTo>
                        <a:pt x="135763" y="9153"/>
                        <a:pt x="120509" y="0"/>
                        <a:pt x="99153" y="0"/>
                      </a:cubicBezTo>
                      <a:cubicBezTo>
                        <a:pt x="80848" y="3051"/>
                        <a:pt x="65593" y="15254"/>
                        <a:pt x="56441" y="30508"/>
                      </a:cubicBezTo>
                      <a:cubicBezTo>
                        <a:pt x="28983" y="30508"/>
                        <a:pt x="13729" y="51864"/>
                        <a:pt x="13729" y="73220"/>
                      </a:cubicBezTo>
                      <a:cubicBezTo>
                        <a:pt x="-4576" y="88474"/>
                        <a:pt x="-4576" y="115932"/>
                        <a:pt x="13729" y="128136"/>
                      </a:cubicBezTo>
                      <a:cubicBezTo>
                        <a:pt x="10678" y="143390"/>
                        <a:pt x="13729" y="158644"/>
                        <a:pt x="22882" y="170848"/>
                      </a:cubicBezTo>
                      <a:cubicBezTo>
                        <a:pt x="28983" y="180000"/>
                        <a:pt x="38136" y="183051"/>
                        <a:pt x="50339" y="183051"/>
                      </a:cubicBezTo>
                      <a:cubicBezTo>
                        <a:pt x="53390" y="183051"/>
                        <a:pt x="53390" y="183051"/>
                        <a:pt x="56441" y="183051"/>
                      </a:cubicBezTo>
                      <a:cubicBezTo>
                        <a:pt x="56441" y="183051"/>
                        <a:pt x="56441" y="183051"/>
                        <a:pt x="56441" y="183051"/>
                      </a:cubicBezTo>
                      <a:cubicBezTo>
                        <a:pt x="62543" y="195254"/>
                        <a:pt x="71695" y="204407"/>
                        <a:pt x="83899" y="204407"/>
                      </a:cubicBezTo>
                      <a:cubicBezTo>
                        <a:pt x="96102" y="207458"/>
                        <a:pt x="108305" y="204407"/>
                        <a:pt x="117458" y="195254"/>
                      </a:cubicBezTo>
                      <a:cubicBezTo>
                        <a:pt x="126610" y="198305"/>
                        <a:pt x="132712" y="198305"/>
                        <a:pt x="141864" y="195254"/>
                      </a:cubicBezTo>
                      <a:cubicBezTo>
                        <a:pt x="154068" y="192203"/>
                        <a:pt x="163220" y="186102"/>
                        <a:pt x="169322" y="173898"/>
                      </a:cubicBezTo>
                      <a:cubicBezTo>
                        <a:pt x="172373" y="170848"/>
                        <a:pt x="175424" y="164746"/>
                        <a:pt x="175424" y="158644"/>
                      </a:cubicBezTo>
                      <a:cubicBezTo>
                        <a:pt x="181526" y="155593"/>
                        <a:pt x="190678" y="152542"/>
                        <a:pt x="193729" y="143390"/>
                      </a:cubicBezTo>
                      <a:cubicBezTo>
                        <a:pt x="199831" y="131187"/>
                        <a:pt x="196780" y="125085"/>
                        <a:pt x="193729" y="115932"/>
                      </a:cubicBezTo>
                      <a:cubicBezTo>
                        <a:pt x="193729" y="115932"/>
                        <a:pt x="196780" y="115932"/>
                        <a:pt x="196780" y="112881"/>
                      </a:cubicBezTo>
                      <a:cubicBezTo>
                        <a:pt x="208983" y="112881"/>
                        <a:pt x="212034" y="106780"/>
                        <a:pt x="215085" y="9762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B3AFC070-D968-414A-9768-1B848057E5A2}"/>
                  </a:ext>
                </a:extLst>
              </p:cNvPr>
              <p:cNvSpPr/>
              <p:nvPr/>
            </p:nvSpPr>
            <p:spPr>
              <a:xfrm>
                <a:off x="7541865" y="7635024"/>
                <a:ext cx="54152" cy="118220"/>
              </a:xfrm>
              <a:custGeom>
                <a:avLst/>
                <a:gdLst>
                  <a:gd name="connsiteX0" fmla="*/ 6102 w 54152"/>
                  <a:gd name="connsiteY0" fmla="*/ 118220 h 118220"/>
                  <a:gd name="connsiteX1" fmla="*/ 6102 w 54152"/>
                  <a:gd name="connsiteY1" fmla="*/ 118220 h 118220"/>
                  <a:gd name="connsiteX2" fmla="*/ 0 w 54152"/>
                  <a:gd name="connsiteY2" fmla="*/ 112119 h 118220"/>
                  <a:gd name="connsiteX3" fmla="*/ 42712 w 54152"/>
                  <a:gd name="connsiteY3" fmla="*/ 2288 h 118220"/>
                  <a:gd name="connsiteX4" fmla="*/ 51865 w 54152"/>
                  <a:gd name="connsiteY4" fmla="*/ 2288 h 118220"/>
                  <a:gd name="connsiteX5" fmla="*/ 51865 w 54152"/>
                  <a:gd name="connsiteY5" fmla="*/ 11441 h 118220"/>
                  <a:gd name="connsiteX6" fmla="*/ 12204 w 54152"/>
                  <a:gd name="connsiteY6" fmla="*/ 118220 h 118220"/>
                  <a:gd name="connsiteX7" fmla="*/ 6102 w 54152"/>
                  <a:gd name="connsiteY7" fmla="*/ 118220 h 11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152" h="118220">
                    <a:moveTo>
                      <a:pt x="6102" y="118220"/>
                    </a:moveTo>
                    <a:cubicBezTo>
                      <a:pt x="3051" y="118220"/>
                      <a:pt x="3051" y="118220"/>
                      <a:pt x="6102" y="118220"/>
                    </a:cubicBezTo>
                    <a:cubicBezTo>
                      <a:pt x="3051" y="118220"/>
                      <a:pt x="0" y="115169"/>
                      <a:pt x="0" y="112119"/>
                    </a:cubicBezTo>
                    <a:cubicBezTo>
                      <a:pt x="0" y="109068"/>
                      <a:pt x="12204" y="45000"/>
                      <a:pt x="42712" y="2288"/>
                    </a:cubicBezTo>
                    <a:cubicBezTo>
                      <a:pt x="45763" y="-763"/>
                      <a:pt x="48814" y="-763"/>
                      <a:pt x="51865" y="2288"/>
                    </a:cubicBezTo>
                    <a:cubicBezTo>
                      <a:pt x="54915" y="5339"/>
                      <a:pt x="54915" y="8390"/>
                      <a:pt x="51865" y="11441"/>
                    </a:cubicBezTo>
                    <a:cubicBezTo>
                      <a:pt x="24407" y="51102"/>
                      <a:pt x="12204" y="118220"/>
                      <a:pt x="12204" y="118220"/>
                    </a:cubicBezTo>
                    <a:cubicBezTo>
                      <a:pt x="9153" y="115169"/>
                      <a:pt x="6102" y="118220"/>
                      <a:pt x="6102" y="11822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BD640AE4-4A40-4F3A-A09E-61B396D1A9DC}"/>
                  </a:ext>
                </a:extLst>
              </p:cNvPr>
              <p:cNvSpPr/>
              <p:nvPr/>
            </p:nvSpPr>
            <p:spPr>
              <a:xfrm>
                <a:off x="7515170" y="7711978"/>
                <a:ext cx="615607" cy="102478"/>
              </a:xfrm>
              <a:custGeom>
                <a:avLst/>
                <a:gdLst>
                  <a:gd name="connsiteX0" fmla="*/ 575847 w 615607"/>
                  <a:gd name="connsiteY0" fmla="*/ 1605 h 102478"/>
                  <a:gd name="connsiteX1" fmla="*/ 29746 w 615607"/>
                  <a:gd name="connsiteY1" fmla="*/ 22960 h 102478"/>
                  <a:gd name="connsiteX2" fmla="*/ 29746 w 615607"/>
                  <a:gd name="connsiteY2" fmla="*/ 87028 h 102478"/>
                  <a:gd name="connsiteX3" fmla="*/ 591102 w 615607"/>
                  <a:gd name="connsiteY3" fmla="*/ 62622 h 102478"/>
                  <a:gd name="connsiteX4" fmla="*/ 575847 w 615607"/>
                  <a:gd name="connsiteY4" fmla="*/ 1605 h 102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5607" h="102478">
                    <a:moveTo>
                      <a:pt x="575847" y="1605"/>
                    </a:moveTo>
                    <a:cubicBezTo>
                      <a:pt x="395848" y="53469"/>
                      <a:pt x="212797" y="41266"/>
                      <a:pt x="29746" y="22960"/>
                    </a:cubicBezTo>
                    <a:cubicBezTo>
                      <a:pt x="-9915" y="19910"/>
                      <a:pt x="-9915" y="83977"/>
                      <a:pt x="29746" y="87028"/>
                    </a:cubicBezTo>
                    <a:cubicBezTo>
                      <a:pt x="218898" y="105334"/>
                      <a:pt x="408051" y="117537"/>
                      <a:pt x="591102" y="62622"/>
                    </a:cubicBezTo>
                    <a:cubicBezTo>
                      <a:pt x="633814" y="50418"/>
                      <a:pt x="615508" y="-10599"/>
                      <a:pt x="575847" y="1605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FA990130-7165-4950-AFEB-91ED54043638}"/>
                  </a:ext>
                </a:extLst>
              </p:cNvPr>
              <p:cNvSpPr/>
              <p:nvPr/>
            </p:nvSpPr>
            <p:spPr>
              <a:xfrm>
                <a:off x="7510155" y="7731094"/>
                <a:ext cx="599167" cy="89268"/>
              </a:xfrm>
              <a:custGeom>
                <a:avLst/>
                <a:gdLst>
                  <a:gd name="connsiteX0" fmla="*/ 294083 w 599167"/>
                  <a:gd name="connsiteY0" fmla="*/ 89268 h 89268"/>
                  <a:gd name="connsiteX1" fmla="*/ 34761 w 599167"/>
                  <a:gd name="connsiteY1" fmla="*/ 74014 h 89268"/>
                  <a:gd name="connsiteX2" fmla="*/ 4252 w 599167"/>
                  <a:gd name="connsiteY2" fmla="*/ 52658 h 89268"/>
                  <a:gd name="connsiteX3" fmla="*/ 7303 w 599167"/>
                  <a:gd name="connsiteY3" fmla="*/ 12997 h 89268"/>
                  <a:gd name="connsiteX4" fmla="*/ 37812 w 599167"/>
                  <a:gd name="connsiteY4" fmla="*/ 794 h 89268"/>
                  <a:gd name="connsiteX5" fmla="*/ 223913 w 599167"/>
                  <a:gd name="connsiteY5" fmla="*/ 12997 h 89268"/>
                  <a:gd name="connsiteX6" fmla="*/ 230015 w 599167"/>
                  <a:gd name="connsiteY6" fmla="*/ 19099 h 89268"/>
                  <a:gd name="connsiteX7" fmla="*/ 223913 w 599167"/>
                  <a:gd name="connsiteY7" fmla="*/ 25201 h 89268"/>
                  <a:gd name="connsiteX8" fmla="*/ 223913 w 599167"/>
                  <a:gd name="connsiteY8" fmla="*/ 25201 h 89268"/>
                  <a:gd name="connsiteX9" fmla="*/ 34761 w 599167"/>
                  <a:gd name="connsiteY9" fmla="*/ 9946 h 89268"/>
                  <a:gd name="connsiteX10" fmla="*/ 13405 w 599167"/>
                  <a:gd name="connsiteY10" fmla="*/ 19099 h 89268"/>
                  <a:gd name="connsiteX11" fmla="*/ 10354 w 599167"/>
                  <a:gd name="connsiteY11" fmla="*/ 46556 h 89268"/>
                  <a:gd name="connsiteX12" fmla="*/ 31710 w 599167"/>
                  <a:gd name="connsiteY12" fmla="*/ 61811 h 89268"/>
                  <a:gd name="connsiteX13" fmla="*/ 593066 w 599167"/>
                  <a:gd name="connsiteY13" fmla="*/ 37404 h 89268"/>
                  <a:gd name="connsiteX14" fmla="*/ 599168 w 599167"/>
                  <a:gd name="connsiteY14" fmla="*/ 40455 h 89268"/>
                  <a:gd name="connsiteX15" fmla="*/ 596117 w 599167"/>
                  <a:gd name="connsiteY15" fmla="*/ 46556 h 89268"/>
                  <a:gd name="connsiteX16" fmla="*/ 294083 w 599167"/>
                  <a:gd name="connsiteY16" fmla="*/ 89268 h 89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99167" h="89268">
                    <a:moveTo>
                      <a:pt x="294083" y="89268"/>
                    </a:moveTo>
                    <a:cubicBezTo>
                      <a:pt x="208659" y="89268"/>
                      <a:pt x="123235" y="83166"/>
                      <a:pt x="34761" y="74014"/>
                    </a:cubicBezTo>
                    <a:cubicBezTo>
                      <a:pt x="19507" y="74014"/>
                      <a:pt x="10354" y="64861"/>
                      <a:pt x="4252" y="52658"/>
                    </a:cubicBezTo>
                    <a:cubicBezTo>
                      <a:pt x="-1849" y="40455"/>
                      <a:pt x="-1849" y="22150"/>
                      <a:pt x="7303" y="12997"/>
                    </a:cubicBezTo>
                    <a:cubicBezTo>
                      <a:pt x="13405" y="3844"/>
                      <a:pt x="25608" y="-2257"/>
                      <a:pt x="37812" y="794"/>
                    </a:cubicBezTo>
                    <a:cubicBezTo>
                      <a:pt x="37812" y="794"/>
                      <a:pt x="181202" y="12997"/>
                      <a:pt x="223913" y="12997"/>
                    </a:cubicBezTo>
                    <a:cubicBezTo>
                      <a:pt x="226964" y="12997"/>
                      <a:pt x="230015" y="16048"/>
                      <a:pt x="230015" y="19099"/>
                    </a:cubicBezTo>
                    <a:cubicBezTo>
                      <a:pt x="230015" y="22150"/>
                      <a:pt x="226964" y="25201"/>
                      <a:pt x="223913" y="25201"/>
                    </a:cubicBezTo>
                    <a:cubicBezTo>
                      <a:pt x="223913" y="25201"/>
                      <a:pt x="223913" y="25201"/>
                      <a:pt x="223913" y="25201"/>
                    </a:cubicBezTo>
                    <a:cubicBezTo>
                      <a:pt x="178151" y="25201"/>
                      <a:pt x="37812" y="12997"/>
                      <a:pt x="34761" y="9946"/>
                    </a:cubicBezTo>
                    <a:cubicBezTo>
                      <a:pt x="25608" y="9946"/>
                      <a:pt x="19507" y="12997"/>
                      <a:pt x="13405" y="19099"/>
                    </a:cubicBezTo>
                    <a:cubicBezTo>
                      <a:pt x="7303" y="25201"/>
                      <a:pt x="7303" y="37404"/>
                      <a:pt x="10354" y="46556"/>
                    </a:cubicBezTo>
                    <a:cubicBezTo>
                      <a:pt x="13405" y="52658"/>
                      <a:pt x="19507" y="61811"/>
                      <a:pt x="31710" y="61811"/>
                    </a:cubicBezTo>
                    <a:cubicBezTo>
                      <a:pt x="223913" y="80115"/>
                      <a:pt x="410015" y="92319"/>
                      <a:pt x="593066" y="37404"/>
                    </a:cubicBezTo>
                    <a:cubicBezTo>
                      <a:pt x="596117" y="37404"/>
                      <a:pt x="599168" y="37404"/>
                      <a:pt x="599168" y="40455"/>
                    </a:cubicBezTo>
                    <a:cubicBezTo>
                      <a:pt x="599168" y="43505"/>
                      <a:pt x="599168" y="46556"/>
                      <a:pt x="596117" y="46556"/>
                    </a:cubicBezTo>
                    <a:cubicBezTo>
                      <a:pt x="498490" y="80115"/>
                      <a:pt x="397812" y="89268"/>
                      <a:pt x="294083" y="892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459C820B-384E-4E7C-B398-88E04FA5F20F}"/>
                </a:ext>
              </a:extLst>
            </p:cNvPr>
            <p:cNvSpPr/>
            <p:nvPr/>
          </p:nvSpPr>
          <p:spPr>
            <a:xfrm>
              <a:off x="7596082" y="7872227"/>
              <a:ext cx="520509" cy="589183"/>
            </a:xfrm>
            <a:custGeom>
              <a:avLst/>
              <a:gdLst>
                <a:gd name="connsiteX0" fmla="*/ 15952 w 520509"/>
                <a:gd name="connsiteY0" fmla="*/ 143390 h 589183"/>
                <a:gd name="connsiteX1" fmla="*/ 3749 w 520509"/>
                <a:gd name="connsiteY1" fmla="*/ 12204 h 589183"/>
                <a:gd name="connsiteX2" fmla="*/ 64766 w 520509"/>
                <a:gd name="connsiteY2" fmla="*/ 0 h 589183"/>
                <a:gd name="connsiteX3" fmla="*/ 101376 w 520509"/>
                <a:gd name="connsiteY3" fmla="*/ 222712 h 589183"/>
                <a:gd name="connsiteX4" fmla="*/ 232562 w 520509"/>
                <a:gd name="connsiteY4" fmla="*/ 216610 h 589183"/>
                <a:gd name="connsiteX5" fmla="*/ 272224 w 520509"/>
                <a:gd name="connsiteY5" fmla="*/ 207458 h 589183"/>
                <a:gd name="connsiteX6" fmla="*/ 363749 w 520509"/>
                <a:gd name="connsiteY6" fmla="*/ 244068 h 589183"/>
                <a:gd name="connsiteX7" fmla="*/ 440020 w 520509"/>
                <a:gd name="connsiteY7" fmla="*/ 125085 h 589183"/>
                <a:gd name="connsiteX8" fmla="*/ 473579 w 520509"/>
                <a:gd name="connsiteY8" fmla="*/ 103729 h 589183"/>
                <a:gd name="connsiteX9" fmla="*/ 452223 w 520509"/>
                <a:gd name="connsiteY9" fmla="*/ 201356 h 589183"/>
                <a:gd name="connsiteX10" fmla="*/ 458325 w 520509"/>
                <a:gd name="connsiteY10" fmla="*/ 503390 h 589183"/>
                <a:gd name="connsiteX11" fmla="*/ 455274 w 520509"/>
                <a:gd name="connsiteY11" fmla="*/ 576610 h 589183"/>
                <a:gd name="connsiteX12" fmla="*/ 698 w 520509"/>
                <a:gd name="connsiteY12" fmla="*/ 274576 h 589183"/>
                <a:gd name="connsiteX13" fmla="*/ 15952 w 520509"/>
                <a:gd name="connsiteY13" fmla="*/ 143390 h 589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0509" h="589183">
                  <a:moveTo>
                    <a:pt x="15952" y="143390"/>
                  </a:moveTo>
                  <a:cubicBezTo>
                    <a:pt x="15952" y="143390"/>
                    <a:pt x="3749" y="12204"/>
                    <a:pt x="3749" y="12204"/>
                  </a:cubicBezTo>
                  <a:cubicBezTo>
                    <a:pt x="22054" y="9153"/>
                    <a:pt x="49512" y="6102"/>
                    <a:pt x="64766" y="0"/>
                  </a:cubicBezTo>
                  <a:cubicBezTo>
                    <a:pt x="64766" y="33560"/>
                    <a:pt x="76969" y="204407"/>
                    <a:pt x="101376" y="222712"/>
                  </a:cubicBezTo>
                  <a:cubicBezTo>
                    <a:pt x="134935" y="244068"/>
                    <a:pt x="214257" y="256271"/>
                    <a:pt x="232562" y="216610"/>
                  </a:cubicBezTo>
                  <a:cubicBezTo>
                    <a:pt x="232562" y="216610"/>
                    <a:pt x="256969" y="231865"/>
                    <a:pt x="272224" y="207458"/>
                  </a:cubicBezTo>
                  <a:cubicBezTo>
                    <a:pt x="272224" y="207458"/>
                    <a:pt x="302732" y="247119"/>
                    <a:pt x="363749" y="244068"/>
                  </a:cubicBezTo>
                  <a:cubicBezTo>
                    <a:pt x="394257" y="241017"/>
                    <a:pt x="433918" y="155593"/>
                    <a:pt x="440020" y="125085"/>
                  </a:cubicBezTo>
                  <a:cubicBezTo>
                    <a:pt x="452223" y="131187"/>
                    <a:pt x="461376" y="103729"/>
                    <a:pt x="473579" y="103729"/>
                  </a:cubicBezTo>
                  <a:cubicBezTo>
                    <a:pt x="473579" y="106780"/>
                    <a:pt x="452223" y="198305"/>
                    <a:pt x="452223" y="201356"/>
                  </a:cubicBezTo>
                  <a:cubicBezTo>
                    <a:pt x="452223" y="201356"/>
                    <a:pt x="601715" y="414915"/>
                    <a:pt x="458325" y="503390"/>
                  </a:cubicBezTo>
                  <a:cubicBezTo>
                    <a:pt x="418664" y="527797"/>
                    <a:pt x="455274" y="576610"/>
                    <a:pt x="455274" y="576610"/>
                  </a:cubicBezTo>
                  <a:cubicBezTo>
                    <a:pt x="455274" y="576610"/>
                    <a:pt x="-20658" y="683390"/>
                    <a:pt x="698" y="274576"/>
                  </a:cubicBezTo>
                  <a:cubicBezTo>
                    <a:pt x="3749" y="204407"/>
                    <a:pt x="15952" y="143390"/>
                    <a:pt x="15952" y="143390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5F0AB8F7-7DC1-4093-9768-133AAA414115}"/>
                </a:ext>
              </a:extLst>
            </p:cNvPr>
            <p:cNvSpPr/>
            <p:nvPr/>
          </p:nvSpPr>
          <p:spPr>
            <a:xfrm>
              <a:off x="7743221" y="8057559"/>
              <a:ext cx="253220" cy="70366"/>
            </a:xfrm>
            <a:custGeom>
              <a:avLst/>
              <a:gdLst>
                <a:gd name="connsiteX0" fmla="*/ 192203 w 253220"/>
                <a:gd name="connsiteY0" fmla="*/ 6871 h 70366"/>
                <a:gd name="connsiteX1" fmla="*/ 253220 w 253220"/>
                <a:gd name="connsiteY1" fmla="*/ 34329 h 70366"/>
                <a:gd name="connsiteX2" fmla="*/ 134237 w 253220"/>
                <a:gd name="connsiteY2" fmla="*/ 55685 h 70366"/>
                <a:gd name="connsiteX3" fmla="*/ 0 w 253220"/>
                <a:gd name="connsiteY3" fmla="*/ 31278 h 70366"/>
                <a:gd name="connsiteX4" fmla="*/ 48814 w 253220"/>
                <a:gd name="connsiteY4" fmla="*/ 25176 h 70366"/>
                <a:gd name="connsiteX5" fmla="*/ 128136 w 253220"/>
                <a:gd name="connsiteY5" fmla="*/ 9922 h 70366"/>
                <a:gd name="connsiteX6" fmla="*/ 192203 w 253220"/>
                <a:gd name="connsiteY6" fmla="*/ 6871 h 70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220" h="70366">
                  <a:moveTo>
                    <a:pt x="192203" y="6871"/>
                  </a:moveTo>
                  <a:cubicBezTo>
                    <a:pt x="216610" y="19075"/>
                    <a:pt x="222712" y="40431"/>
                    <a:pt x="253220" y="34329"/>
                  </a:cubicBezTo>
                  <a:cubicBezTo>
                    <a:pt x="253220" y="34329"/>
                    <a:pt x="204407" y="98397"/>
                    <a:pt x="134237" y="55685"/>
                  </a:cubicBezTo>
                  <a:cubicBezTo>
                    <a:pt x="134237" y="55685"/>
                    <a:pt x="45763" y="98397"/>
                    <a:pt x="0" y="31278"/>
                  </a:cubicBezTo>
                  <a:cubicBezTo>
                    <a:pt x="0" y="31278"/>
                    <a:pt x="33560" y="34329"/>
                    <a:pt x="48814" y="25176"/>
                  </a:cubicBezTo>
                  <a:cubicBezTo>
                    <a:pt x="64068" y="16024"/>
                    <a:pt x="85424" y="-11434"/>
                    <a:pt x="128136" y="9922"/>
                  </a:cubicBezTo>
                  <a:cubicBezTo>
                    <a:pt x="125085" y="12973"/>
                    <a:pt x="155593" y="-11434"/>
                    <a:pt x="192203" y="6871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357FDBBF-6BD4-42B2-A862-8EB200BD608E}"/>
                </a:ext>
              </a:extLst>
            </p:cNvPr>
            <p:cNvSpPr/>
            <p:nvPr/>
          </p:nvSpPr>
          <p:spPr>
            <a:xfrm>
              <a:off x="7840848" y="8149854"/>
              <a:ext cx="85423" cy="45908"/>
            </a:xfrm>
            <a:custGeom>
              <a:avLst/>
              <a:gdLst>
                <a:gd name="connsiteX0" fmla="*/ 85424 w 85423"/>
                <a:gd name="connsiteY0" fmla="*/ 0 h 45908"/>
                <a:gd name="connsiteX1" fmla="*/ 0 w 85423"/>
                <a:gd name="connsiteY1" fmla="*/ 3051 h 45908"/>
                <a:gd name="connsiteX2" fmla="*/ 45763 w 85423"/>
                <a:gd name="connsiteY2" fmla="*/ 45763 h 45908"/>
                <a:gd name="connsiteX3" fmla="*/ 85424 w 85423"/>
                <a:gd name="connsiteY3" fmla="*/ 0 h 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423" h="45908">
                  <a:moveTo>
                    <a:pt x="85424" y="0"/>
                  </a:moveTo>
                  <a:cubicBezTo>
                    <a:pt x="48814" y="15254"/>
                    <a:pt x="0" y="3051"/>
                    <a:pt x="0" y="3051"/>
                  </a:cubicBezTo>
                  <a:cubicBezTo>
                    <a:pt x="0" y="3051"/>
                    <a:pt x="15254" y="48814"/>
                    <a:pt x="45763" y="45763"/>
                  </a:cubicBezTo>
                  <a:cubicBezTo>
                    <a:pt x="76271" y="39661"/>
                    <a:pt x="85424" y="0"/>
                    <a:pt x="85424" y="0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9" name="图形 1">
              <a:extLst>
                <a:ext uri="{FF2B5EF4-FFF2-40B4-BE49-F238E27FC236}">
                  <a16:creationId xmlns:a16="http://schemas.microsoft.com/office/drawing/2014/main" id="{E91AB159-F652-4BC5-B27D-C6CA373F8F80}"/>
                </a:ext>
              </a:extLst>
            </p:cNvPr>
            <p:cNvGrpSpPr/>
            <p:nvPr/>
          </p:nvGrpSpPr>
          <p:grpSpPr>
            <a:xfrm>
              <a:off x="7834746" y="7945447"/>
              <a:ext cx="57965" cy="137288"/>
              <a:chOff x="7834746" y="7945447"/>
              <a:chExt cx="57965" cy="137288"/>
            </a:xfrm>
          </p:grpSpPr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CDE29E27-C62B-427E-8B4D-8FD27B1C0BE8}"/>
                  </a:ext>
                </a:extLst>
              </p:cNvPr>
              <p:cNvSpPr/>
              <p:nvPr/>
            </p:nvSpPr>
            <p:spPr>
              <a:xfrm>
                <a:off x="7840848" y="7951549"/>
                <a:ext cx="48813" cy="125504"/>
              </a:xfrm>
              <a:custGeom>
                <a:avLst/>
                <a:gdLst>
                  <a:gd name="connsiteX0" fmla="*/ 33560 w 48813"/>
                  <a:gd name="connsiteY0" fmla="*/ 0 h 125504"/>
                  <a:gd name="connsiteX1" fmla="*/ 48814 w 48813"/>
                  <a:gd name="connsiteY1" fmla="*/ 112881 h 125504"/>
                  <a:gd name="connsiteX2" fmla="*/ 0 w 48813"/>
                  <a:gd name="connsiteY2" fmla="*/ 122034 h 125504"/>
                  <a:gd name="connsiteX3" fmla="*/ 33560 w 48813"/>
                  <a:gd name="connsiteY3" fmla="*/ 0 h 125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" h="125504">
                    <a:moveTo>
                      <a:pt x="33560" y="0"/>
                    </a:moveTo>
                    <a:cubicBezTo>
                      <a:pt x="33560" y="0"/>
                      <a:pt x="48814" y="91525"/>
                      <a:pt x="48814" y="112881"/>
                    </a:cubicBezTo>
                    <a:cubicBezTo>
                      <a:pt x="48814" y="134237"/>
                      <a:pt x="0" y="122034"/>
                      <a:pt x="0" y="122034"/>
                    </a:cubicBezTo>
                    <a:lnTo>
                      <a:pt x="33560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17DBF644-2B1A-4196-A34A-364BC3D8B7B2}"/>
                  </a:ext>
                </a:extLst>
              </p:cNvPr>
              <p:cNvSpPr/>
              <p:nvPr/>
            </p:nvSpPr>
            <p:spPr>
              <a:xfrm>
                <a:off x="7834746" y="7945447"/>
                <a:ext cx="57965" cy="137288"/>
              </a:xfrm>
              <a:custGeom>
                <a:avLst/>
                <a:gdLst>
                  <a:gd name="connsiteX0" fmla="*/ 30508 w 57965"/>
                  <a:gd name="connsiteY0" fmla="*/ 137288 h 137288"/>
                  <a:gd name="connsiteX1" fmla="*/ 6102 w 57965"/>
                  <a:gd name="connsiteY1" fmla="*/ 134237 h 137288"/>
                  <a:gd name="connsiteX2" fmla="*/ 0 w 57965"/>
                  <a:gd name="connsiteY2" fmla="*/ 128136 h 137288"/>
                  <a:gd name="connsiteX3" fmla="*/ 6102 w 57965"/>
                  <a:gd name="connsiteY3" fmla="*/ 122034 h 137288"/>
                  <a:gd name="connsiteX4" fmla="*/ 45763 w 57965"/>
                  <a:gd name="connsiteY4" fmla="*/ 122034 h 137288"/>
                  <a:gd name="connsiteX5" fmla="*/ 45763 w 57965"/>
                  <a:gd name="connsiteY5" fmla="*/ 118983 h 137288"/>
                  <a:gd name="connsiteX6" fmla="*/ 30508 w 57965"/>
                  <a:gd name="connsiteY6" fmla="*/ 6102 h 137288"/>
                  <a:gd name="connsiteX7" fmla="*/ 36610 w 57965"/>
                  <a:gd name="connsiteY7" fmla="*/ 0 h 137288"/>
                  <a:gd name="connsiteX8" fmla="*/ 42712 w 57965"/>
                  <a:gd name="connsiteY8" fmla="*/ 6102 h 137288"/>
                  <a:gd name="connsiteX9" fmla="*/ 57966 w 57965"/>
                  <a:gd name="connsiteY9" fmla="*/ 118983 h 137288"/>
                  <a:gd name="connsiteX10" fmla="*/ 51864 w 57965"/>
                  <a:gd name="connsiteY10" fmla="*/ 131187 h 137288"/>
                  <a:gd name="connsiteX11" fmla="*/ 30508 w 57965"/>
                  <a:gd name="connsiteY11" fmla="*/ 137288 h 137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7965" h="137288">
                    <a:moveTo>
                      <a:pt x="30508" y="137288"/>
                    </a:moveTo>
                    <a:cubicBezTo>
                      <a:pt x="18305" y="137288"/>
                      <a:pt x="9153" y="134237"/>
                      <a:pt x="6102" y="134237"/>
                    </a:cubicBezTo>
                    <a:cubicBezTo>
                      <a:pt x="3051" y="134237"/>
                      <a:pt x="0" y="131187"/>
                      <a:pt x="0" y="128136"/>
                    </a:cubicBezTo>
                    <a:cubicBezTo>
                      <a:pt x="0" y="125084"/>
                      <a:pt x="3051" y="122034"/>
                      <a:pt x="6102" y="122034"/>
                    </a:cubicBezTo>
                    <a:cubicBezTo>
                      <a:pt x="18305" y="125084"/>
                      <a:pt x="39661" y="125084"/>
                      <a:pt x="45763" y="122034"/>
                    </a:cubicBezTo>
                    <a:cubicBezTo>
                      <a:pt x="45763" y="122034"/>
                      <a:pt x="45763" y="118983"/>
                      <a:pt x="45763" y="118983"/>
                    </a:cubicBezTo>
                    <a:cubicBezTo>
                      <a:pt x="45763" y="100678"/>
                      <a:pt x="30508" y="9153"/>
                      <a:pt x="30508" y="6102"/>
                    </a:cubicBezTo>
                    <a:cubicBezTo>
                      <a:pt x="30508" y="3051"/>
                      <a:pt x="33560" y="0"/>
                      <a:pt x="36610" y="0"/>
                    </a:cubicBezTo>
                    <a:cubicBezTo>
                      <a:pt x="39661" y="0"/>
                      <a:pt x="42712" y="3051"/>
                      <a:pt x="42712" y="6102"/>
                    </a:cubicBezTo>
                    <a:cubicBezTo>
                      <a:pt x="42712" y="9153"/>
                      <a:pt x="57966" y="100678"/>
                      <a:pt x="57966" y="118983"/>
                    </a:cubicBezTo>
                    <a:cubicBezTo>
                      <a:pt x="57966" y="125084"/>
                      <a:pt x="54915" y="128136"/>
                      <a:pt x="51864" y="131187"/>
                    </a:cubicBezTo>
                    <a:cubicBezTo>
                      <a:pt x="48814" y="134237"/>
                      <a:pt x="39661" y="137288"/>
                      <a:pt x="30508" y="1372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095670A4-09FB-4709-B32E-06DBBC17DD64}"/>
                </a:ext>
              </a:extLst>
            </p:cNvPr>
            <p:cNvSpPr/>
            <p:nvPr/>
          </p:nvSpPr>
          <p:spPr>
            <a:xfrm>
              <a:off x="7111695" y="9833922"/>
              <a:ext cx="1446101" cy="485206"/>
            </a:xfrm>
            <a:custGeom>
              <a:avLst/>
              <a:gdLst>
                <a:gd name="connsiteX0" fmla="*/ 1229492 w 1446101"/>
                <a:gd name="connsiteY0" fmla="*/ 27457 h 485206"/>
                <a:gd name="connsiteX1" fmla="*/ 1446102 w 1446101"/>
                <a:gd name="connsiteY1" fmla="*/ 442373 h 485206"/>
                <a:gd name="connsiteX2" fmla="*/ 0 w 1446101"/>
                <a:gd name="connsiteY2" fmla="*/ 402711 h 485206"/>
                <a:gd name="connsiteX3" fmla="*/ 158644 w 1446101"/>
                <a:gd name="connsiteY3" fmla="*/ 0 h 485206"/>
                <a:gd name="connsiteX4" fmla="*/ 1229492 w 1446101"/>
                <a:gd name="connsiteY4" fmla="*/ 27457 h 485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6101" h="485206">
                  <a:moveTo>
                    <a:pt x="1229492" y="27457"/>
                  </a:moveTo>
                  <a:lnTo>
                    <a:pt x="1446102" y="442373"/>
                  </a:lnTo>
                  <a:cubicBezTo>
                    <a:pt x="1446102" y="442373"/>
                    <a:pt x="360000" y="561356"/>
                    <a:pt x="0" y="402711"/>
                  </a:cubicBezTo>
                  <a:lnTo>
                    <a:pt x="158644" y="0"/>
                  </a:lnTo>
                  <a:lnTo>
                    <a:pt x="1229492" y="27457"/>
                  </a:ln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32AD052-846E-4453-AA10-CAD79422A862}"/>
                </a:ext>
              </a:extLst>
            </p:cNvPr>
            <p:cNvSpPr/>
            <p:nvPr/>
          </p:nvSpPr>
          <p:spPr>
            <a:xfrm>
              <a:off x="9329172" y="8412292"/>
              <a:ext cx="227012" cy="251563"/>
            </a:xfrm>
            <a:custGeom>
              <a:avLst/>
              <a:gdLst>
                <a:gd name="connsiteX0" fmla="*/ 79811 w 227012"/>
                <a:gd name="connsiteY0" fmla="*/ 12138 h 251563"/>
                <a:gd name="connsiteX1" fmla="*/ 220150 w 227012"/>
                <a:gd name="connsiteY1" fmla="*/ 182986 h 251563"/>
                <a:gd name="connsiteX2" fmla="*/ 140828 w 227012"/>
                <a:gd name="connsiteY2" fmla="*/ 228749 h 251563"/>
                <a:gd name="connsiteX3" fmla="*/ 15743 w 227012"/>
                <a:gd name="connsiteY3" fmla="*/ 76206 h 251563"/>
                <a:gd name="connsiteX4" fmla="*/ 79811 w 227012"/>
                <a:gd name="connsiteY4" fmla="*/ 12138 h 251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012" h="251563">
                  <a:moveTo>
                    <a:pt x="79811" y="12138"/>
                  </a:moveTo>
                  <a:cubicBezTo>
                    <a:pt x="137777" y="60952"/>
                    <a:pt x="183540" y="115867"/>
                    <a:pt x="220150" y="182986"/>
                  </a:cubicBezTo>
                  <a:cubicBezTo>
                    <a:pt x="250659" y="234850"/>
                    <a:pt x="171337" y="280613"/>
                    <a:pt x="140828" y="228749"/>
                  </a:cubicBezTo>
                  <a:cubicBezTo>
                    <a:pt x="107269" y="170782"/>
                    <a:pt x="64557" y="121969"/>
                    <a:pt x="15743" y="76206"/>
                  </a:cubicBezTo>
                  <a:cubicBezTo>
                    <a:pt x="-30019" y="39596"/>
                    <a:pt x="34049" y="-27523"/>
                    <a:pt x="79811" y="12138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890917CA-8460-4031-B66D-2C7F9791957D}"/>
                </a:ext>
              </a:extLst>
            </p:cNvPr>
            <p:cNvSpPr/>
            <p:nvPr/>
          </p:nvSpPr>
          <p:spPr>
            <a:xfrm>
              <a:off x="7088142" y="8375857"/>
              <a:ext cx="1510079" cy="1979921"/>
            </a:xfrm>
            <a:custGeom>
              <a:avLst/>
              <a:gdLst>
                <a:gd name="connsiteX0" fmla="*/ 54062 w 1510079"/>
                <a:gd name="connsiteY0" fmla="*/ 1793658 h 1979921"/>
                <a:gd name="connsiteX1" fmla="*/ 1073045 w 1510079"/>
                <a:gd name="connsiteY1" fmla="*/ 1866878 h 1979921"/>
                <a:gd name="connsiteX2" fmla="*/ 1008978 w 1510079"/>
                <a:gd name="connsiteY2" fmla="*/ 1509929 h 1979921"/>
                <a:gd name="connsiteX3" fmla="*/ 1005927 w 1510079"/>
                <a:gd name="connsiteY3" fmla="*/ 1497726 h 1979921"/>
                <a:gd name="connsiteX4" fmla="*/ 1002876 w 1510079"/>
                <a:gd name="connsiteY4" fmla="*/ 1451963 h 1979921"/>
                <a:gd name="connsiteX5" fmla="*/ 1094401 w 1510079"/>
                <a:gd name="connsiteY5" fmla="*/ 744167 h 1979921"/>
                <a:gd name="connsiteX6" fmla="*/ 828977 w 1510079"/>
                <a:gd name="connsiteY6" fmla="*/ 69929 h 1979921"/>
                <a:gd name="connsiteX7" fmla="*/ 908300 w 1510079"/>
                <a:gd name="connsiteY7" fmla="*/ 24166 h 1979921"/>
                <a:gd name="connsiteX8" fmla="*/ 1188977 w 1510079"/>
                <a:gd name="connsiteY8" fmla="*/ 747217 h 1979921"/>
                <a:gd name="connsiteX9" fmla="*/ 1094401 w 1510079"/>
                <a:gd name="connsiteY9" fmla="*/ 1476369 h 1979921"/>
                <a:gd name="connsiteX10" fmla="*/ 1167622 w 1510079"/>
                <a:gd name="connsiteY10" fmla="*/ 1863827 h 1979921"/>
                <a:gd name="connsiteX11" fmla="*/ 1466605 w 1510079"/>
                <a:gd name="connsiteY11" fmla="*/ 1842471 h 1979921"/>
                <a:gd name="connsiteX12" fmla="*/ 1466605 w 1510079"/>
                <a:gd name="connsiteY12" fmla="*/ 1933997 h 1979921"/>
                <a:gd name="connsiteX13" fmla="*/ 35757 w 1510079"/>
                <a:gd name="connsiteY13" fmla="*/ 1885184 h 1979921"/>
                <a:gd name="connsiteX14" fmla="*/ 54062 w 1510079"/>
                <a:gd name="connsiteY14" fmla="*/ 1793658 h 197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10079" h="1979921">
                  <a:moveTo>
                    <a:pt x="54062" y="1793658"/>
                  </a:moveTo>
                  <a:cubicBezTo>
                    <a:pt x="377452" y="1903488"/>
                    <a:pt x="728299" y="1891285"/>
                    <a:pt x="1073045" y="1866878"/>
                  </a:cubicBezTo>
                  <a:cubicBezTo>
                    <a:pt x="1073045" y="1744845"/>
                    <a:pt x="1060842" y="1622811"/>
                    <a:pt x="1008978" y="1509929"/>
                  </a:cubicBezTo>
                  <a:cubicBezTo>
                    <a:pt x="1005927" y="1503828"/>
                    <a:pt x="1005927" y="1500777"/>
                    <a:pt x="1005927" y="1497726"/>
                  </a:cubicBezTo>
                  <a:cubicBezTo>
                    <a:pt x="996774" y="1485523"/>
                    <a:pt x="993723" y="1467217"/>
                    <a:pt x="1002876" y="1451963"/>
                  </a:cubicBezTo>
                  <a:cubicBezTo>
                    <a:pt x="1100503" y="1247556"/>
                    <a:pt x="1109655" y="966878"/>
                    <a:pt x="1094401" y="744167"/>
                  </a:cubicBezTo>
                  <a:cubicBezTo>
                    <a:pt x="1076096" y="484844"/>
                    <a:pt x="929655" y="295692"/>
                    <a:pt x="828977" y="69929"/>
                  </a:cubicBezTo>
                  <a:cubicBezTo>
                    <a:pt x="804570" y="18065"/>
                    <a:pt x="883893" y="-30749"/>
                    <a:pt x="908300" y="24166"/>
                  </a:cubicBezTo>
                  <a:cubicBezTo>
                    <a:pt x="1018130" y="268234"/>
                    <a:pt x="1170672" y="469590"/>
                    <a:pt x="1188977" y="747217"/>
                  </a:cubicBezTo>
                  <a:cubicBezTo>
                    <a:pt x="1204232" y="979082"/>
                    <a:pt x="1192028" y="1259760"/>
                    <a:pt x="1094401" y="1476369"/>
                  </a:cubicBezTo>
                  <a:cubicBezTo>
                    <a:pt x="1149316" y="1598403"/>
                    <a:pt x="1164571" y="1729590"/>
                    <a:pt x="1167622" y="1863827"/>
                  </a:cubicBezTo>
                  <a:cubicBezTo>
                    <a:pt x="1268300" y="1854675"/>
                    <a:pt x="1368977" y="1848573"/>
                    <a:pt x="1466605" y="1842471"/>
                  </a:cubicBezTo>
                  <a:cubicBezTo>
                    <a:pt x="1524571" y="1839421"/>
                    <a:pt x="1524571" y="1930946"/>
                    <a:pt x="1466605" y="1933997"/>
                  </a:cubicBezTo>
                  <a:cubicBezTo>
                    <a:pt x="996774" y="1961455"/>
                    <a:pt x="490333" y="2043827"/>
                    <a:pt x="35757" y="1885184"/>
                  </a:cubicBezTo>
                  <a:cubicBezTo>
                    <a:pt x="-25260" y="1863827"/>
                    <a:pt x="-853" y="1775353"/>
                    <a:pt x="54062" y="1793658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FC44B44F-E257-4DA3-989A-BF7B92C40FEA}"/>
                </a:ext>
              </a:extLst>
            </p:cNvPr>
            <p:cNvSpPr/>
            <p:nvPr/>
          </p:nvSpPr>
          <p:spPr>
            <a:xfrm>
              <a:off x="7253032" y="9748498"/>
              <a:ext cx="1139761" cy="179846"/>
            </a:xfrm>
            <a:custGeom>
              <a:avLst/>
              <a:gdLst>
                <a:gd name="connsiteX0" fmla="*/ 1121714 w 1139761"/>
                <a:gd name="connsiteY0" fmla="*/ 170848 h 179846"/>
                <a:gd name="connsiteX1" fmla="*/ 11206 w 1139761"/>
                <a:gd name="connsiteY1" fmla="*/ 112882 h 179846"/>
                <a:gd name="connsiteX2" fmla="*/ 20359 w 1139761"/>
                <a:gd name="connsiteY2" fmla="*/ 0 h 179846"/>
                <a:gd name="connsiteX3" fmla="*/ 1130867 w 1139761"/>
                <a:gd name="connsiteY3" fmla="*/ 70170 h 179846"/>
                <a:gd name="connsiteX4" fmla="*/ 1121714 w 1139761"/>
                <a:gd name="connsiteY4" fmla="*/ 170848 h 17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9761" h="179846">
                  <a:moveTo>
                    <a:pt x="1121714" y="170848"/>
                  </a:moveTo>
                  <a:cubicBezTo>
                    <a:pt x="1121714" y="170848"/>
                    <a:pt x="331545" y="213559"/>
                    <a:pt x="11206" y="112882"/>
                  </a:cubicBezTo>
                  <a:cubicBezTo>
                    <a:pt x="11206" y="112882"/>
                    <a:pt x="-19302" y="42712"/>
                    <a:pt x="20359" y="0"/>
                  </a:cubicBezTo>
                  <a:cubicBezTo>
                    <a:pt x="285782" y="88474"/>
                    <a:pt x="749511" y="85424"/>
                    <a:pt x="1130867" y="70170"/>
                  </a:cubicBezTo>
                  <a:cubicBezTo>
                    <a:pt x="1155274" y="125085"/>
                    <a:pt x="1121714" y="170848"/>
                    <a:pt x="1121714" y="170848"/>
                  </a:cubicBezTo>
                  <a:close/>
                </a:path>
              </a:pathLst>
            </a:custGeom>
            <a:solidFill>
              <a:srgbClr val="6C5D68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94622964-83DA-4A21-8B6E-8E65F5363772}"/>
                </a:ext>
              </a:extLst>
            </p:cNvPr>
            <p:cNvGrpSpPr/>
            <p:nvPr/>
          </p:nvGrpSpPr>
          <p:grpSpPr>
            <a:xfrm>
              <a:off x="8033051" y="9788160"/>
              <a:ext cx="216610" cy="164745"/>
              <a:chOff x="8033051" y="9788160"/>
              <a:chExt cx="216610" cy="164745"/>
            </a:xfrm>
          </p:grpSpPr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2A584E11-C01D-4A07-BC17-AFFB206C800B}"/>
                  </a:ext>
                </a:extLst>
              </p:cNvPr>
              <p:cNvSpPr/>
              <p:nvPr/>
            </p:nvSpPr>
            <p:spPr>
              <a:xfrm>
                <a:off x="8033051" y="9788160"/>
                <a:ext cx="216610" cy="164745"/>
              </a:xfrm>
              <a:custGeom>
                <a:avLst/>
                <a:gdLst>
                  <a:gd name="connsiteX0" fmla="*/ 195254 w 216610"/>
                  <a:gd name="connsiteY0" fmla="*/ 164746 h 164745"/>
                  <a:gd name="connsiteX1" fmla="*/ 21356 w 216610"/>
                  <a:gd name="connsiteY1" fmla="*/ 164746 h 164745"/>
                  <a:gd name="connsiteX2" fmla="*/ 0 w 216610"/>
                  <a:gd name="connsiteY2" fmla="*/ 143389 h 164745"/>
                  <a:gd name="connsiteX3" fmla="*/ 0 w 216610"/>
                  <a:gd name="connsiteY3" fmla="*/ 21355 h 164745"/>
                  <a:gd name="connsiteX4" fmla="*/ 21356 w 216610"/>
                  <a:gd name="connsiteY4" fmla="*/ 0 h 164745"/>
                  <a:gd name="connsiteX5" fmla="*/ 195254 w 216610"/>
                  <a:gd name="connsiteY5" fmla="*/ 0 h 164745"/>
                  <a:gd name="connsiteX6" fmla="*/ 216610 w 216610"/>
                  <a:gd name="connsiteY6" fmla="*/ 21355 h 164745"/>
                  <a:gd name="connsiteX7" fmla="*/ 216610 w 216610"/>
                  <a:gd name="connsiteY7" fmla="*/ 143389 h 164745"/>
                  <a:gd name="connsiteX8" fmla="*/ 195254 w 216610"/>
                  <a:gd name="connsiteY8" fmla="*/ 164746 h 164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6610" h="164745">
                    <a:moveTo>
                      <a:pt x="195254" y="164746"/>
                    </a:moveTo>
                    <a:lnTo>
                      <a:pt x="21356" y="164746"/>
                    </a:lnTo>
                    <a:cubicBezTo>
                      <a:pt x="9153" y="164746"/>
                      <a:pt x="0" y="155592"/>
                      <a:pt x="0" y="143389"/>
                    </a:cubicBezTo>
                    <a:lnTo>
                      <a:pt x="0" y="21355"/>
                    </a:lnTo>
                    <a:cubicBezTo>
                      <a:pt x="0" y="9152"/>
                      <a:pt x="9153" y="0"/>
                      <a:pt x="21356" y="0"/>
                    </a:cubicBezTo>
                    <a:lnTo>
                      <a:pt x="195254" y="0"/>
                    </a:lnTo>
                    <a:cubicBezTo>
                      <a:pt x="207458" y="0"/>
                      <a:pt x="216610" y="9152"/>
                      <a:pt x="216610" y="21355"/>
                    </a:cubicBezTo>
                    <a:lnTo>
                      <a:pt x="216610" y="143389"/>
                    </a:lnTo>
                    <a:cubicBezTo>
                      <a:pt x="216610" y="152542"/>
                      <a:pt x="207458" y="164746"/>
                      <a:pt x="195254" y="16474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80A2CC31-ED48-4875-9860-3D780501FA88}"/>
                  </a:ext>
                </a:extLst>
              </p:cNvPr>
              <p:cNvSpPr/>
              <p:nvPr/>
            </p:nvSpPr>
            <p:spPr>
              <a:xfrm>
                <a:off x="8060509" y="9812566"/>
                <a:ext cx="159242" cy="118982"/>
              </a:xfrm>
              <a:custGeom>
                <a:avLst/>
                <a:gdLst>
                  <a:gd name="connsiteX0" fmla="*/ 143390 w 159242"/>
                  <a:gd name="connsiteY0" fmla="*/ 118983 h 118982"/>
                  <a:gd name="connsiteX1" fmla="*/ 15254 w 159242"/>
                  <a:gd name="connsiteY1" fmla="*/ 118983 h 118982"/>
                  <a:gd name="connsiteX2" fmla="*/ 0 w 159242"/>
                  <a:gd name="connsiteY2" fmla="*/ 103729 h 118982"/>
                  <a:gd name="connsiteX3" fmla="*/ 0 w 159242"/>
                  <a:gd name="connsiteY3" fmla="*/ 15254 h 118982"/>
                  <a:gd name="connsiteX4" fmla="*/ 15254 w 159242"/>
                  <a:gd name="connsiteY4" fmla="*/ 0 h 118982"/>
                  <a:gd name="connsiteX5" fmla="*/ 143390 w 159242"/>
                  <a:gd name="connsiteY5" fmla="*/ 0 h 118982"/>
                  <a:gd name="connsiteX6" fmla="*/ 158644 w 159242"/>
                  <a:gd name="connsiteY6" fmla="*/ 15254 h 118982"/>
                  <a:gd name="connsiteX7" fmla="*/ 158644 w 159242"/>
                  <a:gd name="connsiteY7" fmla="*/ 103729 h 118982"/>
                  <a:gd name="connsiteX8" fmla="*/ 143390 w 159242"/>
                  <a:gd name="connsiteY8" fmla="*/ 118983 h 118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9242" h="118982">
                    <a:moveTo>
                      <a:pt x="143390" y="118983"/>
                    </a:moveTo>
                    <a:lnTo>
                      <a:pt x="15254" y="118983"/>
                    </a:lnTo>
                    <a:cubicBezTo>
                      <a:pt x="6102" y="118983"/>
                      <a:pt x="0" y="112882"/>
                      <a:pt x="0" y="103729"/>
                    </a:cubicBezTo>
                    <a:lnTo>
                      <a:pt x="0" y="15254"/>
                    </a:lnTo>
                    <a:cubicBezTo>
                      <a:pt x="0" y="6102"/>
                      <a:pt x="6102" y="0"/>
                      <a:pt x="15254" y="0"/>
                    </a:cubicBezTo>
                    <a:lnTo>
                      <a:pt x="143390" y="0"/>
                    </a:lnTo>
                    <a:cubicBezTo>
                      <a:pt x="152542" y="0"/>
                      <a:pt x="158644" y="6102"/>
                      <a:pt x="158644" y="15254"/>
                    </a:cubicBezTo>
                    <a:lnTo>
                      <a:pt x="158644" y="103729"/>
                    </a:lnTo>
                    <a:cubicBezTo>
                      <a:pt x="161695" y="109831"/>
                      <a:pt x="152542" y="118983"/>
                      <a:pt x="143390" y="11898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5" name="图形 1">
              <a:extLst>
                <a:ext uri="{FF2B5EF4-FFF2-40B4-BE49-F238E27FC236}">
                  <a16:creationId xmlns:a16="http://schemas.microsoft.com/office/drawing/2014/main" id="{561CBE8F-D2BB-4E42-8E45-63289D33AB3D}"/>
                </a:ext>
              </a:extLst>
            </p:cNvPr>
            <p:cNvGrpSpPr/>
            <p:nvPr/>
          </p:nvGrpSpPr>
          <p:grpSpPr>
            <a:xfrm>
              <a:off x="9456031" y="8378435"/>
              <a:ext cx="169563" cy="140667"/>
              <a:chOff x="9456031" y="8378435"/>
              <a:chExt cx="169563" cy="140667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CD577FF6-D3D0-4C6D-BD95-D94DBD407897}"/>
                  </a:ext>
                </a:extLst>
              </p:cNvPr>
              <p:cNvSpPr/>
              <p:nvPr/>
            </p:nvSpPr>
            <p:spPr>
              <a:xfrm>
                <a:off x="9456031" y="8383113"/>
                <a:ext cx="156349" cy="135990"/>
              </a:xfrm>
              <a:custGeom>
                <a:avLst/>
                <a:gdLst>
                  <a:gd name="connsiteX0" fmla="*/ 102444 w 156349"/>
                  <a:gd name="connsiteY0" fmla="*/ 1657 h 135990"/>
                  <a:gd name="connsiteX1" fmla="*/ 1766 w 156349"/>
                  <a:gd name="connsiteY1" fmla="*/ 50470 h 135990"/>
                  <a:gd name="connsiteX2" fmla="*/ 47529 w 156349"/>
                  <a:gd name="connsiteY2" fmla="*/ 135894 h 135990"/>
                  <a:gd name="connsiteX3" fmla="*/ 59733 w 156349"/>
                  <a:gd name="connsiteY3" fmla="*/ 77928 h 135990"/>
                  <a:gd name="connsiteX4" fmla="*/ 123800 w 156349"/>
                  <a:gd name="connsiteY4" fmla="*/ 65725 h 135990"/>
                  <a:gd name="connsiteX5" fmla="*/ 154309 w 156349"/>
                  <a:gd name="connsiteY5" fmla="*/ 71826 h 135990"/>
                  <a:gd name="connsiteX6" fmla="*/ 102444 w 156349"/>
                  <a:gd name="connsiteY6" fmla="*/ 1657 h 135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6349" h="135990">
                    <a:moveTo>
                      <a:pt x="102444" y="1657"/>
                    </a:moveTo>
                    <a:cubicBezTo>
                      <a:pt x="68885" y="-7496"/>
                      <a:pt x="20072" y="23013"/>
                      <a:pt x="1766" y="50470"/>
                    </a:cubicBezTo>
                    <a:cubicBezTo>
                      <a:pt x="-10437" y="68775"/>
                      <a:pt x="44479" y="138945"/>
                      <a:pt x="47529" y="135894"/>
                    </a:cubicBezTo>
                    <a:cubicBezTo>
                      <a:pt x="81089" y="102335"/>
                      <a:pt x="47529" y="87081"/>
                      <a:pt x="59733" y="77928"/>
                    </a:cubicBezTo>
                    <a:cubicBezTo>
                      <a:pt x="81089" y="62674"/>
                      <a:pt x="99393" y="59623"/>
                      <a:pt x="123800" y="65725"/>
                    </a:cubicBezTo>
                    <a:cubicBezTo>
                      <a:pt x="132953" y="65725"/>
                      <a:pt x="148207" y="80979"/>
                      <a:pt x="154309" y="71826"/>
                    </a:cubicBezTo>
                    <a:cubicBezTo>
                      <a:pt x="166512" y="47419"/>
                      <a:pt x="120750" y="7758"/>
                      <a:pt x="102444" y="1657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465E180C-4407-43E3-B2D0-697E90C0CE81}"/>
                  </a:ext>
                </a:extLst>
              </p:cNvPr>
              <p:cNvSpPr/>
              <p:nvPr/>
            </p:nvSpPr>
            <p:spPr>
              <a:xfrm>
                <a:off x="9458560" y="8378435"/>
                <a:ext cx="167033" cy="137520"/>
              </a:xfrm>
              <a:custGeom>
                <a:avLst/>
                <a:gdLst>
                  <a:gd name="connsiteX0" fmla="*/ 57204 w 167033"/>
                  <a:gd name="connsiteY0" fmla="*/ 137520 h 137520"/>
                  <a:gd name="connsiteX1" fmla="*/ 54153 w 167033"/>
                  <a:gd name="connsiteY1" fmla="*/ 137520 h 137520"/>
                  <a:gd name="connsiteX2" fmla="*/ 54153 w 167033"/>
                  <a:gd name="connsiteY2" fmla="*/ 128368 h 137520"/>
                  <a:gd name="connsiteX3" fmla="*/ 57204 w 167033"/>
                  <a:gd name="connsiteY3" fmla="*/ 82605 h 137520"/>
                  <a:gd name="connsiteX4" fmla="*/ 57204 w 167033"/>
                  <a:gd name="connsiteY4" fmla="*/ 79555 h 137520"/>
                  <a:gd name="connsiteX5" fmla="*/ 60254 w 167033"/>
                  <a:gd name="connsiteY5" fmla="*/ 76503 h 137520"/>
                  <a:gd name="connsiteX6" fmla="*/ 133475 w 167033"/>
                  <a:gd name="connsiteY6" fmla="*/ 67351 h 137520"/>
                  <a:gd name="connsiteX7" fmla="*/ 154831 w 167033"/>
                  <a:gd name="connsiteY7" fmla="*/ 70402 h 137520"/>
                  <a:gd name="connsiteX8" fmla="*/ 157881 w 167033"/>
                  <a:gd name="connsiteY8" fmla="*/ 64300 h 137520"/>
                  <a:gd name="connsiteX9" fmla="*/ 106017 w 167033"/>
                  <a:gd name="connsiteY9" fmla="*/ 15487 h 137520"/>
                  <a:gd name="connsiteX10" fmla="*/ 11441 w 167033"/>
                  <a:gd name="connsiteY10" fmla="*/ 61249 h 137520"/>
                  <a:gd name="connsiteX11" fmla="*/ 2288 w 167033"/>
                  <a:gd name="connsiteY11" fmla="*/ 61249 h 137520"/>
                  <a:gd name="connsiteX12" fmla="*/ 2288 w 167033"/>
                  <a:gd name="connsiteY12" fmla="*/ 52097 h 137520"/>
                  <a:gd name="connsiteX13" fmla="*/ 109068 w 167033"/>
                  <a:gd name="connsiteY13" fmla="*/ 3283 h 137520"/>
                  <a:gd name="connsiteX14" fmla="*/ 167034 w 167033"/>
                  <a:gd name="connsiteY14" fmla="*/ 61249 h 137520"/>
                  <a:gd name="connsiteX15" fmla="*/ 160932 w 167033"/>
                  <a:gd name="connsiteY15" fmla="*/ 79555 h 137520"/>
                  <a:gd name="connsiteX16" fmla="*/ 130424 w 167033"/>
                  <a:gd name="connsiteY16" fmla="*/ 79555 h 137520"/>
                  <a:gd name="connsiteX17" fmla="*/ 69407 w 167033"/>
                  <a:gd name="connsiteY17" fmla="*/ 85656 h 137520"/>
                  <a:gd name="connsiteX18" fmla="*/ 63305 w 167033"/>
                  <a:gd name="connsiteY18" fmla="*/ 137520 h 137520"/>
                  <a:gd name="connsiteX19" fmla="*/ 57204 w 167033"/>
                  <a:gd name="connsiteY19" fmla="*/ 137520 h 137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67033" h="137520">
                    <a:moveTo>
                      <a:pt x="57204" y="137520"/>
                    </a:moveTo>
                    <a:cubicBezTo>
                      <a:pt x="57204" y="137520"/>
                      <a:pt x="54153" y="137520"/>
                      <a:pt x="54153" y="137520"/>
                    </a:cubicBezTo>
                    <a:cubicBezTo>
                      <a:pt x="51102" y="134469"/>
                      <a:pt x="51102" y="131419"/>
                      <a:pt x="54153" y="128368"/>
                    </a:cubicBezTo>
                    <a:cubicBezTo>
                      <a:pt x="63305" y="116165"/>
                      <a:pt x="60254" y="91758"/>
                      <a:pt x="57204" y="82605"/>
                    </a:cubicBezTo>
                    <a:lnTo>
                      <a:pt x="57204" y="79555"/>
                    </a:lnTo>
                    <a:lnTo>
                      <a:pt x="60254" y="76503"/>
                    </a:lnTo>
                    <a:cubicBezTo>
                      <a:pt x="84661" y="55148"/>
                      <a:pt x="112119" y="61249"/>
                      <a:pt x="133475" y="67351"/>
                    </a:cubicBezTo>
                    <a:cubicBezTo>
                      <a:pt x="142627" y="70402"/>
                      <a:pt x="151780" y="73452"/>
                      <a:pt x="154831" y="70402"/>
                    </a:cubicBezTo>
                    <a:cubicBezTo>
                      <a:pt x="154831" y="70402"/>
                      <a:pt x="157881" y="67351"/>
                      <a:pt x="157881" y="64300"/>
                    </a:cubicBezTo>
                    <a:cubicBezTo>
                      <a:pt x="154831" y="49046"/>
                      <a:pt x="136525" y="27690"/>
                      <a:pt x="106017" y="15487"/>
                    </a:cubicBezTo>
                    <a:cubicBezTo>
                      <a:pt x="69407" y="232"/>
                      <a:pt x="11441" y="61249"/>
                      <a:pt x="11441" y="61249"/>
                    </a:cubicBezTo>
                    <a:cubicBezTo>
                      <a:pt x="8390" y="64300"/>
                      <a:pt x="5339" y="64300"/>
                      <a:pt x="2288" y="61249"/>
                    </a:cubicBezTo>
                    <a:cubicBezTo>
                      <a:pt x="-763" y="58198"/>
                      <a:pt x="-763" y="55148"/>
                      <a:pt x="2288" y="52097"/>
                    </a:cubicBezTo>
                    <a:cubicBezTo>
                      <a:pt x="5339" y="49046"/>
                      <a:pt x="63305" y="-15022"/>
                      <a:pt x="109068" y="3283"/>
                    </a:cubicBezTo>
                    <a:cubicBezTo>
                      <a:pt x="142627" y="15487"/>
                      <a:pt x="163983" y="42944"/>
                      <a:pt x="167034" y="61249"/>
                    </a:cubicBezTo>
                    <a:cubicBezTo>
                      <a:pt x="167034" y="67351"/>
                      <a:pt x="167034" y="73452"/>
                      <a:pt x="160932" y="79555"/>
                    </a:cubicBezTo>
                    <a:cubicBezTo>
                      <a:pt x="151780" y="85656"/>
                      <a:pt x="142627" y="82605"/>
                      <a:pt x="130424" y="79555"/>
                    </a:cubicBezTo>
                    <a:cubicBezTo>
                      <a:pt x="112119" y="73452"/>
                      <a:pt x="90763" y="70402"/>
                      <a:pt x="69407" y="85656"/>
                    </a:cubicBezTo>
                    <a:cubicBezTo>
                      <a:pt x="72458" y="94809"/>
                      <a:pt x="75508" y="119215"/>
                      <a:pt x="63305" y="137520"/>
                    </a:cubicBezTo>
                    <a:cubicBezTo>
                      <a:pt x="60254" y="134469"/>
                      <a:pt x="57204" y="137520"/>
                      <a:pt x="57204" y="13752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90B0232B-115F-46E0-A580-29F881714053}"/>
                </a:ext>
              </a:extLst>
            </p:cNvPr>
            <p:cNvGrpSpPr/>
            <p:nvPr/>
          </p:nvGrpSpPr>
          <p:grpSpPr>
            <a:xfrm>
              <a:off x="5836166" y="8668010"/>
              <a:ext cx="2402488" cy="1899499"/>
              <a:chOff x="5836166" y="8668010"/>
              <a:chExt cx="2402488" cy="1899499"/>
            </a:xfrm>
          </p:grpSpPr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EF1847A5-A00E-41A8-A86A-AADD2C39AF37}"/>
                  </a:ext>
                </a:extLst>
              </p:cNvPr>
              <p:cNvSpPr/>
              <p:nvPr/>
            </p:nvSpPr>
            <p:spPr>
              <a:xfrm>
                <a:off x="5836166" y="8668010"/>
                <a:ext cx="2402488" cy="1899499"/>
              </a:xfrm>
              <a:custGeom>
                <a:avLst/>
                <a:gdLst>
                  <a:gd name="connsiteX0" fmla="*/ 3326 w 2402488"/>
                  <a:gd name="connsiteY0" fmla="*/ 6590 h 1899499"/>
                  <a:gd name="connsiteX1" fmla="*/ 6377 w 2402488"/>
                  <a:gd name="connsiteY1" fmla="*/ 43200 h 1899499"/>
                  <a:gd name="connsiteX2" fmla="*/ 33834 w 2402488"/>
                  <a:gd name="connsiteY2" fmla="*/ 101166 h 1899499"/>
                  <a:gd name="connsiteX3" fmla="*/ 9428 w 2402488"/>
                  <a:gd name="connsiteY3" fmla="*/ 98115 h 1899499"/>
                  <a:gd name="connsiteX4" fmla="*/ 3326 w 2402488"/>
                  <a:gd name="connsiteY4" fmla="*/ 104217 h 1899499"/>
                  <a:gd name="connsiteX5" fmla="*/ 82648 w 2402488"/>
                  <a:gd name="connsiteY5" fmla="*/ 207946 h 1899499"/>
                  <a:gd name="connsiteX6" fmla="*/ 61292 w 2402488"/>
                  <a:gd name="connsiteY6" fmla="*/ 290319 h 1899499"/>
                  <a:gd name="connsiteX7" fmla="*/ 113156 w 2402488"/>
                  <a:gd name="connsiteY7" fmla="*/ 369641 h 1899499"/>
                  <a:gd name="connsiteX8" fmla="*/ 158919 w 2402488"/>
                  <a:gd name="connsiteY8" fmla="*/ 439810 h 1899499"/>
                  <a:gd name="connsiteX9" fmla="*/ 125360 w 2402488"/>
                  <a:gd name="connsiteY9" fmla="*/ 436759 h 1899499"/>
                  <a:gd name="connsiteX10" fmla="*/ 119258 w 2402488"/>
                  <a:gd name="connsiteY10" fmla="*/ 442861 h 1899499"/>
                  <a:gd name="connsiteX11" fmla="*/ 195529 w 2402488"/>
                  <a:gd name="connsiteY11" fmla="*/ 610658 h 1899499"/>
                  <a:gd name="connsiteX12" fmla="*/ 134512 w 2402488"/>
                  <a:gd name="connsiteY12" fmla="*/ 644217 h 1899499"/>
                  <a:gd name="connsiteX13" fmla="*/ 140614 w 2402488"/>
                  <a:gd name="connsiteY13" fmla="*/ 650319 h 1899499"/>
                  <a:gd name="connsiteX14" fmla="*/ 152817 w 2402488"/>
                  <a:gd name="connsiteY14" fmla="*/ 754047 h 1899499"/>
                  <a:gd name="connsiteX15" fmla="*/ 183326 w 2402488"/>
                  <a:gd name="connsiteY15" fmla="*/ 802861 h 1899499"/>
                  <a:gd name="connsiteX16" fmla="*/ 201631 w 2402488"/>
                  <a:gd name="connsiteY16" fmla="*/ 824217 h 1899499"/>
                  <a:gd name="connsiteX17" fmla="*/ 216885 w 2402488"/>
                  <a:gd name="connsiteY17" fmla="*/ 873031 h 1899499"/>
                  <a:gd name="connsiteX18" fmla="*/ 293156 w 2402488"/>
                  <a:gd name="connsiteY18" fmla="*/ 985912 h 1899499"/>
                  <a:gd name="connsiteX19" fmla="*/ 268750 w 2402488"/>
                  <a:gd name="connsiteY19" fmla="*/ 1132353 h 1899499"/>
                  <a:gd name="connsiteX20" fmla="*/ 357224 w 2402488"/>
                  <a:gd name="connsiteY20" fmla="*/ 1190319 h 1899499"/>
                  <a:gd name="connsiteX21" fmla="*/ 351123 w 2402488"/>
                  <a:gd name="connsiteY21" fmla="*/ 1339810 h 1899499"/>
                  <a:gd name="connsiteX22" fmla="*/ 387733 w 2402488"/>
                  <a:gd name="connsiteY22" fmla="*/ 1394726 h 1899499"/>
                  <a:gd name="connsiteX23" fmla="*/ 375529 w 2402488"/>
                  <a:gd name="connsiteY23" fmla="*/ 1470997 h 1899499"/>
                  <a:gd name="connsiteX24" fmla="*/ 384682 w 2402488"/>
                  <a:gd name="connsiteY24" fmla="*/ 1474047 h 1899499"/>
                  <a:gd name="connsiteX25" fmla="*/ 406038 w 2402488"/>
                  <a:gd name="connsiteY25" fmla="*/ 1458793 h 1899499"/>
                  <a:gd name="connsiteX26" fmla="*/ 369428 w 2402488"/>
                  <a:gd name="connsiteY26" fmla="*/ 1574726 h 1899499"/>
                  <a:gd name="connsiteX27" fmla="*/ 378580 w 2402488"/>
                  <a:gd name="connsiteY27" fmla="*/ 1657098 h 1899499"/>
                  <a:gd name="connsiteX28" fmla="*/ 418241 w 2402488"/>
                  <a:gd name="connsiteY28" fmla="*/ 1672352 h 1899499"/>
                  <a:gd name="connsiteX29" fmla="*/ 445699 w 2402488"/>
                  <a:gd name="connsiteY29" fmla="*/ 1760828 h 1899499"/>
                  <a:gd name="connsiteX30" fmla="*/ 436546 w 2402488"/>
                  <a:gd name="connsiteY30" fmla="*/ 1821845 h 1899499"/>
                  <a:gd name="connsiteX31" fmla="*/ 473156 w 2402488"/>
                  <a:gd name="connsiteY31" fmla="*/ 1895065 h 1899499"/>
                  <a:gd name="connsiteX32" fmla="*/ 525021 w 2402488"/>
                  <a:gd name="connsiteY32" fmla="*/ 1876759 h 1899499"/>
                  <a:gd name="connsiteX33" fmla="*/ 601292 w 2402488"/>
                  <a:gd name="connsiteY33" fmla="*/ 1779132 h 1899499"/>
                  <a:gd name="connsiteX34" fmla="*/ 744682 w 2402488"/>
                  <a:gd name="connsiteY34" fmla="*/ 1589980 h 1899499"/>
                  <a:gd name="connsiteX35" fmla="*/ 888072 w 2402488"/>
                  <a:gd name="connsiteY35" fmla="*/ 1388624 h 1899499"/>
                  <a:gd name="connsiteX36" fmla="*/ 1022309 w 2402488"/>
                  <a:gd name="connsiteY36" fmla="*/ 1217776 h 1899499"/>
                  <a:gd name="connsiteX37" fmla="*/ 1071123 w 2402488"/>
                  <a:gd name="connsiteY37" fmla="*/ 1254387 h 1899499"/>
                  <a:gd name="connsiteX38" fmla="*/ 1016207 w 2402488"/>
                  <a:gd name="connsiteY38" fmla="*/ 1413030 h 1899499"/>
                  <a:gd name="connsiteX39" fmla="*/ 1034512 w 2402488"/>
                  <a:gd name="connsiteY39" fmla="*/ 1467946 h 1899499"/>
                  <a:gd name="connsiteX40" fmla="*/ 1049767 w 2402488"/>
                  <a:gd name="connsiteY40" fmla="*/ 1461844 h 1899499"/>
                  <a:gd name="connsiteX41" fmla="*/ 1083326 w 2402488"/>
                  <a:gd name="connsiteY41" fmla="*/ 1431336 h 1899499"/>
                  <a:gd name="connsiteX42" fmla="*/ 1077224 w 2402488"/>
                  <a:gd name="connsiteY42" fmla="*/ 1501506 h 1899499"/>
                  <a:gd name="connsiteX43" fmla="*/ 1086377 w 2402488"/>
                  <a:gd name="connsiteY43" fmla="*/ 1504556 h 1899499"/>
                  <a:gd name="connsiteX44" fmla="*/ 1257224 w 2402488"/>
                  <a:gd name="connsiteY44" fmla="*/ 1266590 h 1899499"/>
                  <a:gd name="connsiteX45" fmla="*/ 1434173 w 2402488"/>
                  <a:gd name="connsiteY45" fmla="*/ 1062183 h 1899499"/>
                  <a:gd name="connsiteX46" fmla="*/ 1434173 w 2402488"/>
                  <a:gd name="connsiteY46" fmla="*/ 1056082 h 1899499"/>
                  <a:gd name="connsiteX47" fmla="*/ 1434173 w 2402488"/>
                  <a:gd name="connsiteY47" fmla="*/ 1056082 h 1899499"/>
                  <a:gd name="connsiteX48" fmla="*/ 1495190 w 2402488"/>
                  <a:gd name="connsiteY48" fmla="*/ 1022522 h 1899499"/>
                  <a:gd name="connsiteX49" fmla="*/ 1482987 w 2402488"/>
                  <a:gd name="connsiteY49" fmla="*/ 1104895 h 1899499"/>
                  <a:gd name="connsiteX50" fmla="*/ 1510445 w 2402488"/>
                  <a:gd name="connsiteY50" fmla="*/ 1117099 h 1899499"/>
                  <a:gd name="connsiteX51" fmla="*/ 1473835 w 2402488"/>
                  <a:gd name="connsiteY51" fmla="*/ 1245234 h 1899499"/>
                  <a:gd name="connsiteX52" fmla="*/ 1510445 w 2402488"/>
                  <a:gd name="connsiteY52" fmla="*/ 1312353 h 1899499"/>
                  <a:gd name="connsiteX53" fmla="*/ 1544004 w 2402488"/>
                  <a:gd name="connsiteY53" fmla="*/ 1275742 h 1899499"/>
                  <a:gd name="connsiteX54" fmla="*/ 1583665 w 2402488"/>
                  <a:gd name="connsiteY54" fmla="*/ 1205573 h 1899499"/>
                  <a:gd name="connsiteX55" fmla="*/ 1669089 w 2402488"/>
                  <a:gd name="connsiteY55" fmla="*/ 1068285 h 1899499"/>
                  <a:gd name="connsiteX56" fmla="*/ 1885699 w 2402488"/>
                  <a:gd name="connsiteY56" fmla="*/ 808963 h 1899499"/>
                  <a:gd name="connsiteX57" fmla="*/ 2123665 w 2402488"/>
                  <a:gd name="connsiteY57" fmla="*/ 570997 h 1899499"/>
                  <a:gd name="connsiteX58" fmla="*/ 2395191 w 2402488"/>
                  <a:gd name="connsiteY58" fmla="*/ 369641 h 1899499"/>
                  <a:gd name="connsiteX59" fmla="*/ 2395191 w 2402488"/>
                  <a:gd name="connsiteY59" fmla="*/ 366590 h 1899499"/>
                  <a:gd name="connsiteX60" fmla="*/ 2395191 w 2402488"/>
                  <a:gd name="connsiteY60" fmla="*/ 366590 h 1899499"/>
                  <a:gd name="connsiteX61" fmla="*/ 2401292 w 2402488"/>
                  <a:gd name="connsiteY61" fmla="*/ 357437 h 1899499"/>
                  <a:gd name="connsiteX62" fmla="*/ 2294512 w 2402488"/>
                  <a:gd name="connsiteY62" fmla="*/ 336081 h 1899499"/>
                  <a:gd name="connsiteX63" fmla="*/ 2166377 w 2402488"/>
                  <a:gd name="connsiteY63" fmla="*/ 329980 h 1899499"/>
                  <a:gd name="connsiteX64" fmla="*/ 1907055 w 2402488"/>
                  <a:gd name="connsiteY64" fmla="*/ 302522 h 1899499"/>
                  <a:gd name="connsiteX65" fmla="*/ 1659936 w 2402488"/>
                  <a:gd name="connsiteY65" fmla="*/ 186590 h 1899499"/>
                  <a:gd name="connsiteX66" fmla="*/ 1574513 w 2402488"/>
                  <a:gd name="connsiteY66" fmla="*/ 156082 h 1899499"/>
                  <a:gd name="connsiteX67" fmla="*/ 1571462 w 2402488"/>
                  <a:gd name="connsiteY67" fmla="*/ 195742 h 1899499"/>
                  <a:gd name="connsiteX68" fmla="*/ 1559258 w 2402488"/>
                  <a:gd name="connsiteY68" fmla="*/ 195742 h 1899499"/>
                  <a:gd name="connsiteX69" fmla="*/ 1556207 w 2402488"/>
                  <a:gd name="connsiteY69" fmla="*/ 201844 h 1899499"/>
                  <a:gd name="connsiteX70" fmla="*/ 1638580 w 2402488"/>
                  <a:gd name="connsiteY70" fmla="*/ 287268 h 1899499"/>
                  <a:gd name="connsiteX71" fmla="*/ 1638580 w 2402488"/>
                  <a:gd name="connsiteY71" fmla="*/ 311675 h 1899499"/>
                  <a:gd name="connsiteX72" fmla="*/ 1495190 w 2402488"/>
                  <a:gd name="connsiteY72" fmla="*/ 244556 h 1899499"/>
                  <a:gd name="connsiteX73" fmla="*/ 1339597 w 2402488"/>
                  <a:gd name="connsiteY73" fmla="*/ 149980 h 1899499"/>
                  <a:gd name="connsiteX74" fmla="*/ 1238919 w 2402488"/>
                  <a:gd name="connsiteY74" fmla="*/ 131675 h 1899499"/>
                  <a:gd name="connsiteX75" fmla="*/ 1275530 w 2402488"/>
                  <a:gd name="connsiteY75" fmla="*/ 204895 h 1899499"/>
                  <a:gd name="connsiteX76" fmla="*/ 1263326 w 2402488"/>
                  <a:gd name="connsiteY76" fmla="*/ 235403 h 1899499"/>
                  <a:gd name="connsiteX77" fmla="*/ 1306038 w 2402488"/>
                  <a:gd name="connsiteY77" fmla="*/ 287268 h 1899499"/>
                  <a:gd name="connsiteX78" fmla="*/ 863665 w 2402488"/>
                  <a:gd name="connsiteY78" fmla="*/ 85912 h 1899499"/>
                  <a:gd name="connsiteX79" fmla="*/ 857563 w 2402488"/>
                  <a:gd name="connsiteY79" fmla="*/ 88963 h 1899499"/>
                  <a:gd name="connsiteX80" fmla="*/ 851461 w 2402488"/>
                  <a:gd name="connsiteY80" fmla="*/ 134725 h 1899499"/>
                  <a:gd name="connsiteX81" fmla="*/ 790444 w 2402488"/>
                  <a:gd name="connsiteY81" fmla="*/ 98115 h 1899499"/>
                  <a:gd name="connsiteX82" fmla="*/ 784343 w 2402488"/>
                  <a:gd name="connsiteY82" fmla="*/ 101166 h 1899499"/>
                  <a:gd name="connsiteX83" fmla="*/ 778241 w 2402488"/>
                  <a:gd name="connsiteY83" fmla="*/ 153031 h 1899499"/>
                  <a:gd name="connsiteX84" fmla="*/ 796547 w 2402488"/>
                  <a:gd name="connsiteY84" fmla="*/ 183539 h 1899499"/>
                  <a:gd name="connsiteX85" fmla="*/ 811801 w 2402488"/>
                  <a:gd name="connsiteY85" fmla="*/ 229302 h 1899499"/>
                  <a:gd name="connsiteX86" fmla="*/ 842309 w 2402488"/>
                  <a:gd name="connsiteY86" fmla="*/ 311675 h 1899499"/>
                  <a:gd name="connsiteX87" fmla="*/ 430445 w 2402488"/>
                  <a:gd name="connsiteY87" fmla="*/ 119471 h 1899499"/>
                  <a:gd name="connsiteX88" fmla="*/ 421292 w 2402488"/>
                  <a:gd name="connsiteY88" fmla="*/ 119471 h 1899499"/>
                  <a:gd name="connsiteX89" fmla="*/ 415191 w 2402488"/>
                  <a:gd name="connsiteY89" fmla="*/ 183539 h 1899499"/>
                  <a:gd name="connsiteX90" fmla="*/ 113156 w 2402488"/>
                  <a:gd name="connsiteY90" fmla="*/ 37098 h 1899499"/>
                  <a:gd name="connsiteX91" fmla="*/ 39936 w 2402488"/>
                  <a:gd name="connsiteY91" fmla="*/ 488 h 1899499"/>
                  <a:gd name="connsiteX92" fmla="*/ 3326 w 2402488"/>
                  <a:gd name="connsiteY92" fmla="*/ 6590 h 1899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2402488" h="1899499">
                    <a:moveTo>
                      <a:pt x="3326" y="6590"/>
                    </a:moveTo>
                    <a:cubicBezTo>
                      <a:pt x="-2776" y="15742"/>
                      <a:pt x="275" y="30997"/>
                      <a:pt x="6377" y="43200"/>
                    </a:cubicBezTo>
                    <a:cubicBezTo>
                      <a:pt x="12479" y="64556"/>
                      <a:pt x="21631" y="82861"/>
                      <a:pt x="33834" y="101166"/>
                    </a:cubicBezTo>
                    <a:cubicBezTo>
                      <a:pt x="24682" y="101166"/>
                      <a:pt x="18580" y="98115"/>
                      <a:pt x="9428" y="98115"/>
                    </a:cubicBezTo>
                    <a:cubicBezTo>
                      <a:pt x="6377" y="98115"/>
                      <a:pt x="3326" y="101166"/>
                      <a:pt x="3326" y="104217"/>
                    </a:cubicBezTo>
                    <a:cubicBezTo>
                      <a:pt x="18580" y="146929"/>
                      <a:pt x="46038" y="183539"/>
                      <a:pt x="82648" y="207946"/>
                    </a:cubicBezTo>
                    <a:cubicBezTo>
                      <a:pt x="52139" y="220149"/>
                      <a:pt x="49089" y="259810"/>
                      <a:pt x="61292" y="290319"/>
                    </a:cubicBezTo>
                    <a:cubicBezTo>
                      <a:pt x="73495" y="317776"/>
                      <a:pt x="94851" y="345234"/>
                      <a:pt x="113156" y="369641"/>
                    </a:cubicBezTo>
                    <a:cubicBezTo>
                      <a:pt x="128411" y="394047"/>
                      <a:pt x="143665" y="418454"/>
                      <a:pt x="158919" y="439810"/>
                    </a:cubicBezTo>
                    <a:cubicBezTo>
                      <a:pt x="146716" y="439810"/>
                      <a:pt x="137563" y="439810"/>
                      <a:pt x="125360" y="436759"/>
                    </a:cubicBezTo>
                    <a:cubicBezTo>
                      <a:pt x="122309" y="436759"/>
                      <a:pt x="119258" y="439810"/>
                      <a:pt x="119258" y="442861"/>
                    </a:cubicBezTo>
                    <a:cubicBezTo>
                      <a:pt x="131462" y="503878"/>
                      <a:pt x="155868" y="561844"/>
                      <a:pt x="195529" y="610658"/>
                    </a:cubicBezTo>
                    <a:cubicBezTo>
                      <a:pt x="168072" y="607607"/>
                      <a:pt x="137563" y="610658"/>
                      <a:pt x="134512" y="644217"/>
                    </a:cubicBezTo>
                    <a:cubicBezTo>
                      <a:pt x="134512" y="647268"/>
                      <a:pt x="137563" y="650319"/>
                      <a:pt x="140614" y="650319"/>
                    </a:cubicBezTo>
                    <a:cubicBezTo>
                      <a:pt x="134512" y="683878"/>
                      <a:pt x="137563" y="720488"/>
                      <a:pt x="152817" y="754047"/>
                    </a:cubicBezTo>
                    <a:cubicBezTo>
                      <a:pt x="158919" y="772353"/>
                      <a:pt x="171123" y="787607"/>
                      <a:pt x="183326" y="802861"/>
                    </a:cubicBezTo>
                    <a:cubicBezTo>
                      <a:pt x="189428" y="808963"/>
                      <a:pt x="195529" y="815064"/>
                      <a:pt x="201631" y="824217"/>
                    </a:cubicBezTo>
                    <a:cubicBezTo>
                      <a:pt x="216885" y="836420"/>
                      <a:pt x="219936" y="854726"/>
                      <a:pt x="216885" y="873031"/>
                    </a:cubicBezTo>
                    <a:cubicBezTo>
                      <a:pt x="207733" y="924895"/>
                      <a:pt x="238241" y="979810"/>
                      <a:pt x="293156" y="985912"/>
                    </a:cubicBezTo>
                    <a:cubicBezTo>
                      <a:pt x="271801" y="1028624"/>
                      <a:pt x="250445" y="1083539"/>
                      <a:pt x="268750" y="1132353"/>
                    </a:cubicBezTo>
                    <a:cubicBezTo>
                      <a:pt x="284004" y="1168962"/>
                      <a:pt x="320614" y="1196421"/>
                      <a:pt x="357224" y="1190319"/>
                    </a:cubicBezTo>
                    <a:cubicBezTo>
                      <a:pt x="348072" y="1239133"/>
                      <a:pt x="345021" y="1290996"/>
                      <a:pt x="351123" y="1339810"/>
                    </a:cubicBezTo>
                    <a:cubicBezTo>
                      <a:pt x="354174" y="1361166"/>
                      <a:pt x="363326" y="1391675"/>
                      <a:pt x="387733" y="1394726"/>
                    </a:cubicBezTo>
                    <a:cubicBezTo>
                      <a:pt x="375529" y="1419132"/>
                      <a:pt x="369428" y="1443539"/>
                      <a:pt x="375529" y="1470997"/>
                    </a:cubicBezTo>
                    <a:cubicBezTo>
                      <a:pt x="375529" y="1474047"/>
                      <a:pt x="378580" y="1477098"/>
                      <a:pt x="384682" y="1474047"/>
                    </a:cubicBezTo>
                    <a:cubicBezTo>
                      <a:pt x="390784" y="1470997"/>
                      <a:pt x="399936" y="1464895"/>
                      <a:pt x="406038" y="1458793"/>
                    </a:cubicBezTo>
                    <a:cubicBezTo>
                      <a:pt x="387733" y="1495404"/>
                      <a:pt x="375529" y="1532014"/>
                      <a:pt x="369428" y="1574726"/>
                    </a:cubicBezTo>
                    <a:cubicBezTo>
                      <a:pt x="366377" y="1602183"/>
                      <a:pt x="360275" y="1635743"/>
                      <a:pt x="378580" y="1657098"/>
                    </a:cubicBezTo>
                    <a:cubicBezTo>
                      <a:pt x="387733" y="1669302"/>
                      <a:pt x="402987" y="1675403"/>
                      <a:pt x="418241" y="1672352"/>
                    </a:cubicBezTo>
                    <a:cubicBezTo>
                      <a:pt x="409088" y="1705912"/>
                      <a:pt x="409088" y="1751675"/>
                      <a:pt x="445699" y="1760828"/>
                    </a:cubicBezTo>
                    <a:cubicBezTo>
                      <a:pt x="433495" y="1779132"/>
                      <a:pt x="433495" y="1800488"/>
                      <a:pt x="436546" y="1821845"/>
                    </a:cubicBezTo>
                    <a:cubicBezTo>
                      <a:pt x="442648" y="1843200"/>
                      <a:pt x="451801" y="1882862"/>
                      <a:pt x="473156" y="1895065"/>
                    </a:cubicBezTo>
                    <a:cubicBezTo>
                      <a:pt x="494512" y="1907268"/>
                      <a:pt x="512818" y="1892014"/>
                      <a:pt x="525021" y="1876759"/>
                    </a:cubicBezTo>
                    <a:cubicBezTo>
                      <a:pt x="552479" y="1846251"/>
                      <a:pt x="576885" y="1812691"/>
                      <a:pt x="601292" y="1779132"/>
                    </a:cubicBezTo>
                    <a:cubicBezTo>
                      <a:pt x="650106" y="1718115"/>
                      <a:pt x="698919" y="1654048"/>
                      <a:pt x="744682" y="1589980"/>
                    </a:cubicBezTo>
                    <a:cubicBezTo>
                      <a:pt x="793495" y="1522861"/>
                      <a:pt x="842309" y="1455743"/>
                      <a:pt x="888072" y="1388624"/>
                    </a:cubicBezTo>
                    <a:cubicBezTo>
                      <a:pt x="927733" y="1327607"/>
                      <a:pt x="970445" y="1269641"/>
                      <a:pt x="1022309" y="1217776"/>
                    </a:cubicBezTo>
                    <a:cubicBezTo>
                      <a:pt x="1022309" y="1245234"/>
                      <a:pt x="1046716" y="1263539"/>
                      <a:pt x="1071123" y="1254387"/>
                    </a:cubicBezTo>
                    <a:cubicBezTo>
                      <a:pt x="1043665" y="1303200"/>
                      <a:pt x="1019258" y="1355064"/>
                      <a:pt x="1016207" y="1413030"/>
                    </a:cubicBezTo>
                    <a:cubicBezTo>
                      <a:pt x="1016207" y="1425234"/>
                      <a:pt x="1013156" y="1467946"/>
                      <a:pt x="1034512" y="1467946"/>
                    </a:cubicBezTo>
                    <a:cubicBezTo>
                      <a:pt x="1040614" y="1467946"/>
                      <a:pt x="1046716" y="1464895"/>
                      <a:pt x="1049767" y="1461844"/>
                    </a:cubicBezTo>
                    <a:cubicBezTo>
                      <a:pt x="1061970" y="1452692"/>
                      <a:pt x="1071123" y="1443539"/>
                      <a:pt x="1083326" y="1431336"/>
                    </a:cubicBezTo>
                    <a:cubicBezTo>
                      <a:pt x="1077224" y="1455743"/>
                      <a:pt x="1074173" y="1477098"/>
                      <a:pt x="1077224" y="1501506"/>
                    </a:cubicBezTo>
                    <a:cubicBezTo>
                      <a:pt x="1077224" y="1507607"/>
                      <a:pt x="1083326" y="1507607"/>
                      <a:pt x="1086377" y="1504556"/>
                    </a:cubicBezTo>
                    <a:cubicBezTo>
                      <a:pt x="1132140" y="1419132"/>
                      <a:pt x="1190106" y="1336759"/>
                      <a:pt x="1257224" y="1266590"/>
                    </a:cubicBezTo>
                    <a:cubicBezTo>
                      <a:pt x="1318241" y="1199471"/>
                      <a:pt x="1385360" y="1138454"/>
                      <a:pt x="1434173" y="1062183"/>
                    </a:cubicBezTo>
                    <a:cubicBezTo>
                      <a:pt x="1434173" y="1059133"/>
                      <a:pt x="1434173" y="1059133"/>
                      <a:pt x="1434173" y="1056082"/>
                    </a:cubicBezTo>
                    <a:cubicBezTo>
                      <a:pt x="1434173" y="1056082"/>
                      <a:pt x="1434173" y="1056082"/>
                      <a:pt x="1434173" y="1056082"/>
                    </a:cubicBezTo>
                    <a:cubicBezTo>
                      <a:pt x="1455529" y="1046929"/>
                      <a:pt x="1473835" y="1034725"/>
                      <a:pt x="1495190" y="1022522"/>
                    </a:cubicBezTo>
                    <a:cubicBezTo>
                      <a:pt x="1482987" y="1046929"/>
                      <a:pt x="1464682" y="1080488"/>
                      <a:pt x="1482987" y="1104895"/>
                    </a:cubicBezTo>
                    <a:cubicBezTo>
                      <a:pt x="1489089" y="1114048"/>
                      <a:pt x="1501292" y="1117099"/>
                      <a:pt x="1510445" y="1117099"/>
                    </a:cubicBezTo>
                    <a:cubicBezTo>
                      <a:pt x="1489089" y="1156759"/>
                      <a:pt x="1476885" y="1199471"/>
                      <a:pt x="1473835" y="1245234"/>
                    </a:cubicBezTo>
                    <a:cubicBezTo>
                      <a:pt x="1473835" y="1266590"/>
                      <a:pt x="1470784" y="1324556"/>
                      <a:pt x="1510445" y="1312353"/>
                    </a:cubicBezTo>
                    <a:cubicBezTo>
                      <a:pt x="1525699" y="1306251"/>
                      <a:pt x="1534852" y="1290996"/>
                      <a:pt x="1544004" y="1275742"/>
                    </a:cubicBezTo>
                    <a:cubicBezTo>
                      <a:pt x="1559258" y="1251336"/>
                      <a:pt x="1571462" y="1229979"/>
                      <a:pt x="1583665" y="1205573"/>
                    </a:cubicBezTo>
                    <a:cubicBezTo>
                      <a:pt x="1611123" y="1159810"/>
                      <a:pt x="1638580" y="1114048"/>
                      <a:pt x="1669089" y="1068285"/>
                    </a:cubicBezTo>
                    <a:cubicBezTo>
                      <a:pt x="1733157" y="973708"/>
                      <a:pt x="1806377" y="891336"/>
                      <a:pt x="1885699" y="808963"/>
                    </a:cubicBezTo>
                    <a:cubicBezTo>
                      <a:pt x="1961970" y="729641"/>
                      <a:pt x="2038241" y="644217"/>
                      <a:pt x="2123665" y="570997"/>
                    </a:cubicBezTo>
                    <a:cubicBezTo>
                      <a:pt x="2209089" y="497776"/>
                      <a:pt x="2306716" y="442861"/>
                      <a:pt x="2395191" y="369641"/>
                    </a:cubicBezTo>
                    <a:cubicBezTo>
                      <a:pt x="2395191" y="369641"/>
                      <a:pt x="2395191" y="369641"/>
                      <a:pt x="2395191" y="366590"/>
                    </a:cubicBezTo>
                    <a:cubicBezTo>
                      <a:pt x="2395191" y="366590"/>
                      <a:pt x="2395191" y="366590"/>
                      <a:pt x="2395191" y="366590"/>
                    </a:cubicBezTo>
                    <a:cubicBezTo>
                      <a:pt x="2401292" y="369641"/>
                      <a:pt x="2404343" y="360488"/>
                      <a:pt x="2401292" y="357437"/>
                    </a:cubicBezTo>
                    <a:cubicBezTo>
                      <a:pt x="2370784" y="339132"/>
                      <a:pt x="2331123" y="339132"/>
                      <a:pt x="2294512" y="336081"/>
                    </a:cubicBezTo>
                    <a:cubicBezTo>
                      <a:pt x="2251801" y="333030"/>
                      <a:pt x="2209089" y="329980"/>
                      <a:pt x="2166377" y="329980"/>
                    </a:cubicBezTo>
                    <a:cubicBezTo>
                      <a:pt x="2080953" y="326929"/>
                      <a:pt x="1992479" y="323878"/>
                      <a:pt x="1907055" y="302522"/>
                    </a:cubicBezTo>
                    <a:cubicBezTo>
                      <a:pt x="1818580" y="281166"/>
                      <a:pt x="1742309" y="229302"/>
                      <a:pt x="1659936" y="186590"/>
                    </a:cubicBezTo>
                    <a:cubicBezTo>
                      <a:pt x="1638580" y="174386"/>
                      <a:pt x="1601970" y="143878"/>
                      <a:pt x="1574513" y="156082"/>
                    </a:cubicBezTo>
                    <a:cubicBezTo>
                      <a:pt x="1556207" y="165234"/>
                      <a:pt x="1562309" y="183539"/>
                      <a:pt x="1571462" y="195742"/>
                    </a:cubicBezTo>
                    <a:cubicBezTo>
                      <a:pt x="1568411" y="195742"/>
                      <a:pt x="1565360" y="195742"/>
                      <a:pt x="1559258" y="195742"/>
                    </a:cubicBezTo>
                    <a:cubicBezTo>
                      <a:pt x="1556207" y="195742"/>
                      <a:pt x="1553156" y="198793"/>
                      <a:pt x="1556207" y="201844"/>
                    </a:cubicBezTo>
                    <a:cubicBezTo>
                      <a:pt x="1574513" y="238454"/>
                      <a:pt x="1601970" y="268963"/>
                      <a:pt x="1638580" y="287268"/>
                    </a:cubicBezTo>
                    <a:cubicBezTo>
                      <a:pt x="1632479" y="293370"/>
                      <a:pt x="1632479" y="302522"/>
                      <a:pt x="1638580" y="311675"/>
                    </a:cubicBezTo>
                    <a:cubicBezTo>
                      <a:pt x="1586716" y="305573"/>
                      <a:pt x="1537902" y="272013"/>
                      <a:pt x="1495190" y="244556"/>
                    </a:cubicBezTo>
                    <a:cubicBezTo>
                      <a:pt x="1443326" y="214048"/>
                      <a:pt x="1391462" y="180488"/>
                      <a:pt x="1339597" y="149980"/>
                    </a:cubicBezTo>
                    <a:cubicBezTo>
                      <a:pt x="1315191" y="134725"/>
                      <a:pt x="1260275" y="92014"/>
                      <a:pt x="1238919" y="131675"/>
                    </a:cubicBezTo>
                    <a:cubicBezTo>
                      <a:pt x="1220614" y="162183"/>
                      <a:pt x="1248072" y="189641"/>
                      <a:pt x="1275530" y="204895"/>
                    </a:cubicBezTo>
                    <a:cubicBezTo>
                      <a:pt x="1266377" y="210996"/>
                      <a:pt x="1260275" y="223200"/>
                      <a:pt x="1263326" y="235403"/>
                    </a:cubicBezTo>
                    <a:cubicBezTo>
                      <a:pt x="1266377" y="256759"/>
                      <a:pt x="1287733" y="272013"/>
                      <a:pt x="1306038" y="287268"/>
                    </a:cubicBezTo>
                    <a:cubicBezTo>
                      <a:pt x="1150445" y="241505"/>
                      <a:pt x="1000953" y="174386"/>
                      <a:pt x="863665" y="85912"/>
                    </a:cubicBezTo>
                    <a:cubicBezTo>
                      <a:pt x="860614" y="85912"/>
                      <a:pt x="857563" y="85912"/>
                      <a:pt x="857563" y="88963"/>
                    </a:cubicBezTo>
                    <a:cubicBezTo>
                      <a:pt x="848411" y="104217"/>
                      <a:pt x="848411" y="119471"/>
                      <a:pt x="851461" y="134725"/>
                    </a:cubicBezTo>
                    <a:cubicBezTo>
                      <a:pt x="830106" y="125573"/>
                      <a:pt x="808750" y="113369"/>
                      <a:pt x="790444" y="98115"/>
                    </a:cubicBezTo>
                    <a:cubicBezTo>
                      <a:pt x="787394" y="95065"/>
                      <a:pt x="784343" y="98115"/>
                      <a:pt x="784343" y="101166"/>
                    </a:cubicBezTo>
                    <a:cubicBezTo>
                      <a:pt x="775190" y="116420"/>
                      <a:pt x="772140" y="134725"/>
                      <a:pt x="778241" y="153031"/>
                    </a:cubicBezTo>
                    <a:cubicBezTo>
                      <a:pt x="781292" y="165234"/>
                      <a:pt x="790444" y="171336"/>
                      <a:pt x="796547" y="183539"/>
                    </a:cubicBezTo>
                    <a:cubicBezTo>
                      <a:pt x="805699" y="198793"/>
                      <a:pt x="808750" y="214048"/>
                      <a:pt x="811801" y="229302"/>
                    </a:cubicBezTo>
                    <a:cubicBezTo>
                      <a:pt x="817902" y="259810"/>
                      <a:pt x="820953" y="290319"/>
                      <a:pt x="842309" y="311675"/>
                    </a:cubicBezTo>
                    <a:cubicBezTo>
                      <a:pt x="692817" y="278116"/>
                      <a:pt x="552479" y="214048"/>
                      <a:pt x="430445" y="119471"/>
                    </a:cubicBezTo>
                    <a:cubicBezTo>
                      <a:pt x="427394" y="116420"/>
                      <a:pt x="424343" y="116420"/>
                      <a:pt x="421292" y="119471"/>
                    </a:cubicBezTo>
                    <a:cubicBezTo>
                      <a:pt x="412140" y="140827"/>
                      <a:pt x="409088" y="162183"/>
                      <a:pt x="415191" y="183539"/>
                    </a:cubicBezTo>
                    <a:cubicBezTo>
                      <a:pt x="314512" y="134725"/>
                      <a:pt x="213834" y="85912"/>
                      <a:pt x="113156" y="37098"/>
                    </a:cubicBezTo>
                    <a:cubicBezTo>
                      <a:pt x="88750" y="24895"/>
                      <a:pt x="64343" y="9641"/>
                      <a:pt x="39936" y="488"/>
                    </a:cubicBezTo>
                    <a:cubicBezTo>
                      <a:pt x="24682" y="488"/>
                      <a:pt x="12479" y="-2563"/>
                      <a:pt x="3326" y="6590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E42EDED2-9B42-4E9F-B079-C54DE8500925}"/>
                  </a:ext>
                </a:extLst>
              </p:cNvPr>
              <p:cNvSpPr/>
              <p:nvPr/>
            </p:nvSpPr>
            <p:spPr>
              <a:xfrm>
                <a:off x="7419831" y="9028498"/>
                <a:ext cx="221949" cy="308135"/>
              </a:xfrm>
              <a:custGeom>
                <a:avLst/>
                <a:gdLst>
                  <a:gd name="connsiteX0" fmla="*/ 152542 w 221949"/>
                  <a:gd name="connsiteY0" fmla="*/ 308135 h 308135"/>
                  <a:gd name="connsiteX1" fmla="*/ 146441 w 221949"/>
                  <a:gd name="connsiteY1" fmla="*/ 308135 h 308135"/>
                  <a:gd name="connsiteX2" fmla="*/ 131187 w 221949"/>
                  <a:gd name="connsiteY2" fmla="*/ 295932 h 308135"/>
                  <a:gd name="connsiteX3" fmla="*/ 146441 w 221949"/>
                  <a:gd name="connsiteY3" fmla="*/ 234915 h 308135"/>
                  <a:gd name="connsiteX4" fmla="*/ 146441 w 221949"/>
                  <a:gd name="connsiteY4" fmla="*/ 234915 h 308135"/>
                  <a:gd name="connsiteX5" fmla="*/ 85424 w 221949"/>
                  <a:gd name="connsiteY5" fmla="*/ 219661 h 308135"/>
                  <a:gd name="connsiteX6" fmla="*/ 91525 w 221949"/>
                  <a:gd name="connsiteY6" fmla="*/ 189152 h 308135"/>
                  <a:gd name="connsiteX7" fmla="*/ 0 w 221949"/>
                  <a:gd name="connsiteY7" fmla="*/ 125084 h 308135"/>
                  <a:gd name="connsiteX8" fmla="*/ 118983 w 221949"/>
                  <a:gd name="connsiteY8" fmla="*/ 70170 h 308135"/>
                  <a:gd name="connsiteX9" fmla="*/ 85424 w 221949"/>
                  <a:gd name="connsiteY9" fmla="*/ 42712 h 308135"/>
                  <a:gd name="connsiteX10" fmla="*/ 118983 w 221949"/>
                  <a:gd name="connsiteY10" fmla="*/ 0 h 308135"/>
                  <a:gd name="connsiteX11" fmla="*/ 128136 w 221949"/>
                  <a:gd name="connsiteY11" fmla="*/ 3051 h 308135"/>
                  <a:gd name="connsiteX12" fmla="*/ 125085 w 221949"/>
                  <a:gd name="connsiteY12" fmla="*/ 12203 h 308135"/>
                  <a:gd name="connsiteX13" fmla="*/ 94576 w 221949"/>
                  <a:gd name="connsiteY13" fmla="*/ 39661 h 308135"/>
                  <a:gd name="connsiteX14" fmla="*/ 134238 w 221949"/>
                  <a:gd name="connsiteY14" fmla="*/ 67119 h 308135"/>
                  <a:gd name="connsiteX15" fmla="*/ 137288 w 221949"/>
                  <a:gd name="connsiteY15" fmla="*/ 73220 h 308135"/>
                  <a:gd name="connsiteX16" fmla="*/ 134238 w 221949"/>
                  <a:gd name="connsiteY16" fmla="*/ 79322 h 308135"/>
                  <a:gd name="connsiteX17" fmla="*/ 9153 w 221949"/>
                  <a:gd name="connsiteY17" fmla="*/ 125084 h 308135"/>
                  <a:gd name="connsiteX18" fmla="*/ 100678 w 221949"/>
                  <a:gd name="connsiteY18" fmla="*/ 183051 h 308135"/>
                  <a:gd name="connsiteX19" fmla="*/ 103729 w 221949"/>
                  <a:gd name="connsiteY19" fmla="*/ 186101 h 308135"/>
                  <a:gd name="connsiteX20" fmla="*/ 103729 w 221949"/>
                  <a:gd name="connsiteY20" fmla="*/ 192203 h 308135"/>
                  <a:gd name="connsiteX21" fmla="*/ 94576 w 221949"/>
                  <a:gd name="connsiteY21" fmla="*/ 219661 h 308135"/>
                  <a:gd name="connsiteX22" fmla="*/ 158644 w 221949"/>
                  <a:gd name="connsiteY22" fmla="*/ 228814 h 308135"/>
                  <a:gd name="connsiteX23" fmla="*/ 158644 w 221949"/>
                  <a:gd name="connsiteY23" fmla="*/ 228814 h 308135"/>
                  <a:gd name="connsiteX24" fmla="*/ 164746 w 221949"/>
                  <a:gd name="connsiteY24" fmla="*/ 231864 h 308135"/>
                  <a:gd name="connsiteX25" fmla="*/ 164746 w 221949"/>
                  <a:gd name="connsiteY25" fmla="*/ 237966 h 308135"/>
                  <a:gd name="connsiteX26" fmla="*/ 143390 w 221949"/>
                  <a:gd name="connsiteY26" fmla="*/ 295932 h 308135"/>
                  <a:gd name="connsiteX27" fmla="*/ 149492 w 221949"/>
                  <a:gd name="connsiteY27" fmla="*/ 302034 h 308135"/>
                  <a:gd name="connsiteX28" fmla="*/ 210509 w 221949"/>
                  <a:gd name="connsiteY28" fmla="*/ 271525 h 308135"/>
                  <a:gd name="connsiteX29" fmla="*/ 219661 w 221949"/>
                  <a:gd name="connsiteY29" fmla="*/ 271525 h 308135"/>
                  <a:gd name="connsiteX30" fmla="*/ 219661 w 221949"/>
                  <a:gd name="connsiteY30" fmla="*/ 280678 h 308135"/>
                  <a:gd name="connsiteX31" fmla="*/ 152542 w 221949"/>
                  <a:gd name="connsiteY31" fmla="*/ 308135 h 308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21949" h="308135">
                    <a:moveTo>
                      <a:pt x="152542" y="308135"/>
                    </a:moveTo>
                    <a:cubicBezTo>
                      <a:pt x="149492" y="308135"/>
                      <a:pt x="149492" y="308135"/>
                      <a:pt x="146441" y="308135"/>
                    </a:cubicBezTo>
                    <a:cubicBezTo>
                      <a:pt x="140339" y="305085"/>
                      <a:pt x="134238" y="302034"/>
                      <a:pt x="131187" y="295932"/>
                    </a:cubicBezTo>
                    <a:cubicBezTo>
                      <a:pt x="122034" y="271525"/>
                      <a:pt x="137288" y="250169"/>
                      <a:pt x="146441" y="234915"/>
                    </a:cubicBezTo>
                    <a:cubicBezTo>
                      <a:pt x="146441" y="234915"/>
                      <a:pt x="146441" y="234915"/>
                      <a:pt x="146441" y="234915"/>
                    </a:cubicBezTo>
                    <a:cubicBezTo>
                      <a:pt x="122034" y="234915"/>
                      <a:pt x="91525" y="231864"/>
                      <a:pt x="85424" y="219661"/>
                    </a:cubicBezTo>
                    <a:cubicBezTo>
                      <a:pt x="82373" y="207458"/>
                      <a:pt x="88475" y="195254"/>
                      <a:pt x="91525" y="189152"/>
                    </a:cubicBezTo>
                    <a:cubicBezTo>
                      <a:pt x="64068" y="176949"/>
                      <a:pt x="0" y="146441"/>
                      <a:pt x="0" y="125084"/>
                    </a:cubicBezTo>
                    <a:cubicBezTo>
                      <a:pt x="0" y="103729"/>
                      <a:pt x="67119" y="85424"/>
                      <a:pt x="118983" y="70170"/>
                    </a:cubicBezTo>
                    <a:cubicBezTo>
                      <a:pt x="106780" y="64068"/>
                      <a:pt x="88475" y="51864"/>
                      <a:pt x="85424" y="42712"/>
                    </a:cubicBezTo>
                    <a:cubicBezTo>
                      <a:pt x="79322" y="24407"/>
                      <a:pt x="112882" y="6102"/>
                      <a:pt x="118983" y="0"/>
                    </a:cubicBezTo>
                    <a:cubicBezTo>
                      <a:pt x="122034" y="0"/>
                      <a:pt x="125085" y="0"/>
                      <a:pt x="128136" y="3051"/>
                    </a:cubicBezTo>
                    <a:cubicBezTo>
                      <a:pt x="131187" y="6102"/>
                      <a:pt x="128136" y="9153"/>
                      <a:pt x="125085" y="12203"/>
                    </a:cubicBezTo>
                    <a:cubicBezTo>
                      <a:pt x="109831" y="21356"/>
                      <a:pt x="94576" y="33559"/>
                      <a:pt x="94576" y="39661"/>
                    </a:cubicBezTo>
                    <a:cubicBezTo>
                      <a:pt x="97627" y="48813"/>
                      <a:pt x="118983" y="61017"/>
                      <a:pt x="134238" y="67119"/>
                    </a:cubicBezTo>
                    <a:cubicBezTo>
                      <a:pt x="137288" y="67119"/>
                      <a:pt x="137288" y="70170"/>
                      <a:pt x="137288" y="73220"/>
                    </a:cubicBezTo>
                    <a:cubicBezTo>
                      <a:pt x="137288" y="76271"/>
                      <a:pt x="134238" y="76271"/>
                      <a:pt x="134238" y="79322"/>
                    </a:cubicBezTo>
                    <a:cubicBezTo>
                      <a:pt x="70170" y="94576"/>
                      <a:pt x="12204" y="115932"/>
                      <a:pt x="9153" y="125084"/>
                    </a:cubicBezTo>
                    <a:cubicBezTo>
                      <a:pt x="9153" y="134237"/>
                      <a:pt x="57966" y="161695"/>
                      <a:pt x="100678" y="183051"/>
                    </a:cubicBezTo>
                    <a:cubicBezTo>
                      <a:pt x="103729" y="183051"/>
                      <a:pt x="103729" y="186101"/>
                      <a:pt x="103729" y="186101"/>
                    </a:cubicBezTo>
                    <a:cubicBezTo>
                      <a:pt x="103729" y="189152"/>
                      <a:pt x="103729" y="189152"/>
                      <a:pt x="103729" y="192203"/>
                    </a:cubicBezTo>
                    <a:cubicBezTo>
                      <a:pt x="100678" y="198305"/>
                      <a:pt x="91525" y="210508"/>
                      <a:pt x="94576" y="219661"/>
                    </a:cubicBezTo>
                    <a:cubicBezTo>
                      <a:pt x="97627" y="225763"/>
                      <a:pt x="128136" y="228814"/>
                      <a:pt x="158644" y="228814"/>
                    </a:cubicBezTo>
                    <a:cubicBezTo>
                      <a:pt x="158644" y="228814"/>
                      <a:pt x="158644" y="228814"/>
                      <a:pt x="158644" y="228814"/>
                    </a:cubicBezTo>
                    <a:cubicBezTo>
                      <a:pt x="161695" y="228814"/>
                      <a:pt x="161695" y="228814"/>
                      <a:pt x="164746" y="231864"/>
                    </a:cubicBezTo>
                    <a:cubicBezTo>
                      <a:pt x="164746" y="234915"/>
                      <a:pt x="164746" y="237966"/>
                      <a:pt x="164746" y="237966"/>
                    </a:cubicBezTo>
                    <a:cubicBezTo>
                      <a:pt x="164746" y="237966"/>
                      <a:pt x="131187" y="265424"/>
                      <a:pt x="143390" y="295932"/>
                    </a:cubicBezTo>
                    <a:cubicBezTo>
                      <a:pt x="146441" y="302034"/>
                      <a:pt x="146441" y="302034"/>
                      <a:pt x="149492" y="302034"/>
                    </a:cubicBezTo>
                    <a:cubicBezTo>
                      <a:pt x="161695" y="305085"/>
                      <a:pt x="195255" y="286779"/>
                      <a:pt x="210509" y="271525"/>
                    </a:cubicBezTo>
                    <a:cubicBezTo>
                      <a:pt x="213559" y="268475"/>
                      <a:pt x="216610" y="268475"/>
                      <a:pt x="219661" y="271525"/>
                    </a:cubicBezTo>
                    <a:cubicBezTo>
                      <a:pt x="222712" y="274576"/>
                      <a:pt x="222712" y="277627"/>
                      <a:pt x="219661" y="280678"/>
                    </a:cubicBezTo>
                    <a:cubicBezTo>
                      <a:pt x="213559" y="277627"/>
                      <a:pt x="176949" y="308135"/>
                      <a:pt x="152542" y="30813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6AA9DD74-BC3D-4D73-8F3D-6605C6F4F1B6}"/>
                  </a:ext>
                </a:extLst>
              </p:cNvPr>
              <p:cNvSpPr/>
              <p:nvPr/>
            </p:nvSpPr>
            <p:spPr>
              <a:xfrm>
                <a:off x="7055636" y="8781348"/>
                <a:ext cx="144533" cy="360031"/>
              </a:xfrm>
              <a:custGeom>
                <a:avLst/>
                <a:gdLst>
                  <a:gd name="connsiteX0" fmla="*/ 132331 w 144533"/>
                  <a:gd name="connsiteY0" fmla="*/ 353930 h 360031"/>
                  <a:gd name="connsiteX1" fmla="*/ 129280 w 144533"/>
                  <a:gd name="connsiteY1" fmla="*/ 353930 h 360031"/>
                  <a:gd name="connsiteX2" fmla="*/ 83517 w 144533"/>
                  <a:gd name="connsiteY2" fmla="*/ 305116 h 360031"/>
                  <a:gd name="connsiteX3" fmla="*/ 107924 w 144533"/>
                  <a:gd name="connsiteY3" fmla="*/ 268506 h 360031"/>
                  <a:gd name="connsiteX4" fmla="*/ 56059 w 144533"/>
                  <a:gd name="connsiteY4" fmla="*/ 201387 h 360031"/>
                  <a:gd name="connsiteX5" fmla="*/ 56059 w 144533"/>
                  <a:gd name="connsiteY5" fmla="*/ 192235 h 360031"/>
                  <a:gd name="connsiteX6" fmla="*/ 92670 w 144533"/>
                  <a:gd name="connsiteY6" fmla="*/ 189184 h 360031"/>
                  <a:gd name="connsiteX7" fmla="*/ 80466 w 144533"/>
                  <a:gd name="connsiteY7" fmla="*/ 183082 h 360031"/>
                  <a:gd name="connsiteX8" fmla="*/ 31653 w 144533"/>
                  <a:gd name="connsiteY8" fmla="*/ 115963 h 360031"/>
                  <a:gd name="connsiteX9" fmla="*/ 40805 w 144533"/>
                  <a:gd name="connsiteY9" fmla="*/ 97658 h 360031"/>
                  <a:gd name="connsiteX10" fmla="*/ 1144 w 144533"/>
                  <a:gd name="connsiteY10" fmla="*/ 51895 h 360031"/>
                  <a:gd name="connsiteX11" fmla="*/ 10297 w 144533"/>
                  <a:gd name="connsiteY11" fmla="*/ 18336 h 360031"/>
                  <a:gd name="connsiteX12" fmla="*/ 74364 w 144533"/>
                  <a:gd name="connsiteY12" fmla="*/ 9184 h 360031"/>
                  <a:gd name="connsiteX13" fmla="*/ 141483 w 144533"/>
                  <a:gd name="connsiteY13" fmla="*/ 48845 h 360031"/>
                  <a:gd name="connsiteX14" fmla="*/ 144534 w 144533"/>
                  <a:gd name="connsiteY14" fmla="*/ 57998 h 360031"/>
                  <a:gd name="connsiteX15" fmla="*/ 135381 w 144533"/>
                  <a:gd name="connsiteY15" fmla="*/ 61048 h 360031"/>
                  <a:gd name="connsiteX16" fmla="*/ 68263 w 144533"/>
                  <a:gd name="connsiteY16" fmla="*/ 21387 h 360031"/>
                  <a:gd name="connsiteX17" fmla="*/ 19449 w 144533"/>
                  <a:gd name="connsiteY17" fmla="*/ 27489 h 360031"/>
                  <a:gd name="connsiteX18" fmla="*/ 13347 w 144533"/>
                  <a:gd name="connsiteY18" fmla="*/ 51895 h 360031"/>
                  <a:gd name="connsiteX19" fmla="*/ 56059 w 144533"/>
                  <a:gd name="connsiteY19" fmla="*/ 91557 h 360031"/>
                  <a:gd name="connsiteX20" fmla="*/ 59110 w 144533"/>
                  <a:gd name="connsiteY20" fmla="*/ 97658 h 360031"/>
                  <a:gd name="connsiteX21" fmla="*/ 56059 w 144533"/>
                  <a:gd name="connsiteY21" fmla="*/ 103760 h 360031"/>
                  <a:gd name="connsiteX22" fmla="*/ 43856 w 144533"/>
                  <a:gd name="connsiteY22" fmla="*/ 119014 h 360031"/>
                  <a:gd name="connsiteX23" fmla="*/ 86568 w 144533"/>
                  <a:gd name="connsiteY23" fmla="*/ 176980 h 360031"/>
                  <a:gd name="connsiteX24" fmla="*/ 120127 w 144533"/>
                  <a:gd name="connsiteY24" fmla="*/ 198336 h 360031"/>
                  <a:gd name="connsiteX25" fmla="*/ 123178 w 144533"/>
                  <a:gd name="connsiteY25" fmla="*/ 204438 h 360031"/>
                  <a:gd name="connsiteX26" fmla="*/ 117076 w 144533"/>
                  <a:gd name="connsiteY26" fmla="*/ 207489 h 360031"/>
                  <a:gd name="connsiteX27" fmla="*/ 65212 w 144533"/>
                  <a:gd name="connsiteY27" fmla="*/ 204438 h 360031"/>
                  <a:gd name="connsiteX28" fmla="*/ 120127 w 144533"/>
                  <a:gd name="connsiteY28" fmla="*/ 271557 h 360031"/>
                  <a:gd name="connsiteX29" fmla="*/ 120127 w 144533"/>
                  <a:gd name="connsiteY29" fmla="*/ 277658 h 360031"/>
                  <a:gd name="connsiteX30" fmla="*/ 117076 w 144533"/>
                  <a:gd name="connsiteY30" fmla="*/ 280709 h 360031"/>
                  <a:gd name="connsiteX31" fmla="*/ 92670 w 144533"/>
                  <a:gd name="connsiteY31" fmla="*/ 308167 h 360031"/>
                  <a:gd name="connsiteX32" fmla="*/ 132331 w 144533"/>
                  <a:gd name="connsiteY32" fmla="*/ 350879 h 360031"/>
                  <a:gd name="connsiteX33" fmla="*/ 132331 w 144533"/>
                  <a:gd name="connsiteY33" fmla="*/ 360031 h 360031"/>
                  <a:gd name="connsiteX34" fmla="*/ 132331 w 144533"/>
                  <a:gd name="connsiteY34" fmla="*/ 353930 h 360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44533" h="360031">
                    <a:moveTo>
                      <a:pt x="132331" y="353930"/>
                    </a:moveTo>
                    <a:cubicBezTo>
                      <a:pt x="132331" y="353930"/>
                      <a:pt x="129280" y="353930"/>
                      <a:pt x="129280" y="353930"/>
                    </a:cubicBezTo>
                    <a:cubicBezTo>
                      <a:pt x="126229" y="350879"/>
                      <a:pt x="89619" y="326472"/>
                      <a:pt x="83517" y="305116"/>
                    </a:cubicBezTo>
                    <a:cubicBezTo>
                      <a:pt x="77415" y="286811"/>
                      <a:pt x="95721" y="274607"/>
                      <a:pt x="107924" y="268506"/>
                    </a:cubicBezTo>
                    <a:cubicBezTo>
                      <a:pt x="95721" y="253252"/>
                      <a:pt x="59110" y="210540"/>
                      <a:pt x="56059" y="201387"/>
                    </a:cubicBezTo>
                    <a:cubicBezTo>
                      <a:pt x="56059" y="198336"/>
                      <a:pt x="56059" y="195286"/>
                      <a:pt x="56059" y="192235"/>
                    </a:cubicBezTo>
                    <a:cubicBezTo>
                      <a:pt x="59110" y="186133"/>
                      <a:pt x="71314" y="186133"/>
                      <a:pt x="92670" y="189184"/>
                    </a:cubicBezTo>
                    <a:lnTo>
                      <a:pt x="80466" y="183082"/>
                    </a:lnTo>
                    <a:cubicBezTo>
                      <a:pt x="68263" y="173929"/>
                      <a:pt x="31653" y="143421"/>
                      <a:pt x="31653" y="115963"/>
                    </a:cubicBezTo>
                    <a:cubicBezTo>
                      <a:pt x="31653" y="109862"/>
                      <a:pt x="34704" y="103760"/>
                      <a:pt x="40805" y="97658"/>
                    </a:cubicBezTo>
                    <a:cubicBezTo>
                      <a:pt x="28602" y="91557"/>
                      <a:pt x="7246" y="73252"/>
                      <a:pt x="1144" y="51895"/>
                    </a:cubicBezTo>
                    <a:cubicBezTo>
                      <a:pt x="-1907" y="39692"/>
                      <a:pt x="1144" y="27489"/>
                      <a:pt x="10297" y="18336"/>
                    </a:cubicBezTo>
                    <a:cubicBezTo>
                      <a:pt x="16398" y="9184"/>
                      <a:pt x="37754" y="-12172"/>
                      <a:pt x="74364" y="9184"/>
                    </a:cubicBezTo>
                    <a:cubicBezTo>
                      <a:pt x="104873" y="27489"/>
                      <a:pt x="141483" y="48845"/>
                      <a:pt x="141483" y="48845"/>
                    </a:cubicBezTo>
                    <a:cubicBezTo>
                      <a:pt x="144534" y="51895"/>
                      <a:pt x="144534" y="54947"/>
                      <a:pt x="144534" y="57998"/>
                    </a:cubicBezTo>
                    <a:cubicBezTo>
                      <a:pt x="141483" y="61048"/>
                      <a:pt x="138432" y="61048"/>
                      <a:pt x="135381" y="61048"/>
                    </a:cubicBezTo>
                    <a:cubicBezTo>
                      <a:pt x="135381" y="61048"/>
                      <a:pt x="101822" y="39692"/>
                      <a:pt x="68263" y="21387"/>
                    </a:cubicBezTo>
                    <a:cubicBezTo>
                      <a:pt x="43856" y="6133"/>
                      <a:pt x="28602" y="15285"/>
                      <a:pt x="19449" y="27489"/>
                    </a:cubicBezTo>
                    <a:cubicBezTo>
                      <a:pt x="13347" y="36641"/>
                      <a:pt x="10297" y="42743"/>
                      <a:pt x="13347" y="51895"/>
                    </a:cubicBezTo>
                    <a:cubicBezTo>
                      <a:pt x="19449" y="76302"/>
                      <a:pt x="53008" y="91557"/>
                      <a:pt x="56059" y="91557"/>
                    </a:cubicBezTo>
                    <a:cubicBezTo>
                      <a:pt x="59110" y="91557"/>
                      <a:pt x="59110" y="94608"/>
                      <a:pt x="59110" y="97658"/>
                    </a:cubicBezTo>
                    <a:cubicBezTo>
                      <a:pt x="59110" y="100709"/>
                      <a:pt x="59110" y="100709"/>
                      <a:pt x="56059" y="103760"/>
                    </a:cubicBezTo>
                    <a:cubicBezTo>
                      <a:pt x="49958" y="106811"/>
                      <a:pt x="43856" y="112912"/>
                      <a:pt x="43856" y="119014"/>
                    </a:cubicBezTo>
                    <a:cubicBezTo>
                      <a:pt x="43856" y="134269"/>
                      <a:pt x="65212" y="158675"/>
                      <a:pt x="86568" y="176980"/>
                    </a:cubicBezTo>
                    <a:lnTo>
                      <a:pt x="120127" y="198336"/>
                    </a:lnTo>
                    <a:cubicBezTo>
                      <a:pt x="123178" y="198336"/>
                      <a:pt x="123178" y="201387"/>
                      <a:pt x="123178" y="204438"/>
                    </a:cubicBezTo>
                    <a:cubicBezTo>
                      <a:pt x="123178" y="207489"/>
                      <a:pt x="120127" y="207489"/>
                      <a:pt x="117076" y="207489"/>
                    </a:cubicBezTo>
                    <a:cubicBezTo>
                      <a:pt x="95721" y="204438"/>
                      <a:pt x="74364" y="201387"/>
                      <a:pt x="65212" y="204438"/>
                    </a:cubicBezTo>
                    <a:cubicBezTo>
                      <a:pt x="71314" y="216642"/>
                      <a:pt x="101822" y="250201"/>
                      <a:pt x="120127" y="271557"/>
                    </a:cubicBezTo>
                    <a:cubicBezTo>
                      <a:pt x="120127" y="271557"/>
                      <a:pt x="123178" y="274607"/>
                      <a:pt x="120127" y="277658"/>
                    </a:cubicBezTo>
                    <a:cubicBezTo>
                      <a:pt x="120127" y="280709"/>
                      <a:pt x="120127" y="280709"/>
                      <a:pt x="117076" y="280709"/>
                    </a:cubicBezTo>
                    <a:cubicBezTo>
                      <a:pt x="110975" y="283760"/>
                      <a:pt x="89619" y="295963"/>
                      <a:pt x="92670" y="308167"/>
                    </a:cubicBezTo>
                    <a:cubicBezTo>
                      <a:pt x="95721" y="320370"/>
                      <a:pt x="123178" y="341726"/>
                      <a:pt x="132331" y="350879"/>
                    </a:cubicBezTo>
                    <a:cubicBezTo>
                      <a:pt x="135381" y="353930"/>
                      <a:pt x="135381" y="356980"/>
                      <a:pt x="132331" y="360031"/>
                    </a:cubicBezTo>
                    <a:cubicBezTo>
                      <a:pt x="135381" y="353930"/>
                      <a:pt x="132331" y="353930"/>
                      <a:pt x="132331" y="35393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2A0C2BF4-47B1-4765-B760-9E215CE04B3C}"/>
                  </a:ext>
                </a:extLst>
              </p:cNvPr>
              <p:cNvSpPr/>
              <p:nvPr/>
            </p:nvSpPr>
            <p:spPr>
              <a:xfrm>
                <a:off x="7220647" y="9449515"/>
                <a:ext cx="174777" cy="539999"/>
              </a:xfrm>
              <a:custGeom>
                <a:avLst/>
                <a:gdLst>
                  <a:gd name="connsiteX0" fmla="*/ 116811 w 174777"/>
                  <a:gd name="connsiteY0" fmla="*/ 539999 h 539999"/>
                  <a:gd name="connsiteX1" fmla="*/ 104608 w 174777"/>
                  <a:gd name="connsiteY1" fmla="*/ 536949 h 539999"/>
                  <a:gd name="connsiteX2" fmla="*/ 113760 w 174777"/>
                  <a:gd name="connsiteY2" fmla="*/ 341694 h 539999"/>
                  <a:gd name="connsiteX3" fmla="*/ 83252 w 174777"/>
                  <a:gd name="connsiteY3" fmla="*/ 323390 h 539999"/>
                  <a:gd name="connsiteX4" fmla="*/ 89354 w 174777"/>
                  <a:gd name="connsiteY4" fmla="*/ 262373 h 539999"/>
                  <a:gd name="connsiteX5" fmla="*/ 34438 w 174777"/>
                  <a:gd name="connsiteY5" fmla="*/ 277627 h 539999"/>
                  <a:gd name="connsiteX6" fmla="*/ 22235 w 174777"/>
                  <a:gd name="connsiteY6" fmla="*/ 234915 h 539999"/>
                  <a:gd name="connsiteX7" fmla="*/ 67998 w 174777"/>
                  <a:gd name="connsiteY7" fmla="*/ 106780 h 539999"/>
                  <a:gd name="connsiteX8" fmla="*/ 52743 w 174777"/>
                  <a:gd name="connsiteY8" fmla="*/ 79322 h 539999"/>
                  <a:gd name="connsiteX9" fmla="*/ 6981 w 174777"/>
                  <a:gd name="connsiteY9" fmla="*/ 94576 h 539999"/>
                  <a:gd name="connsiteX10" fmla="*/ 879 w 174777"/>
                  <a:gd name="connsiteY10" fmla="*/ 85423 h 539999"/>
                  <a:gd name="connsiteX11" fmla="*/ 28337 w 174777"/>
                  <a:gd name="connsiteY11" fmla="*/ 3051 h 539999"/>
                  <a:gd name="connsiteX12" fmla="*/ 34438 w 174777"/>
                  <a:gd name="connsiteY12" fmla="*/ 0 h 539999"/>
                  <a:gd name="connsiteX13" fmla="*/ 37489 w 174777"/>
                  <a:gd name="connsiteY13" fmla="*/ 6102 h 539999"/>
                  <a:gd name="connsiteX14" fmla="*/ 10031 w 174777"/>
                  <a:gd name="connsiteY14" fmla="*/ 79322 h 539999"/>
                  <a:gd name="connsiteX15" fmla="*/ 52743 w 174777"/>
                  <a:gd name="connsiteY15" fmla="*/ 61017 h 539999"/>
                  <a:gd name="connsiteX16" fmla="*/ 58845 w 174777"/>
                  <a:gd name="connsiteY16" fmla="*/ 61017 h 539999"/>
                  <a:gd name="connsiteX17" fmla="*/ 61896 w 174777"/>
                  <a:gd name="connsiteY17" fmla="*/ 67119 h 539999"/>
                  <a:gd name="connsiteX18" fmla="*/ 74099 w 174777"/>
                  <a:gd name="connsiteY18" fmla="*/ 97627 h 539999"/>
                  <a:gd name="connsiteX19" fmla="*/ 77150 w 174777"/>
                  <a:gd name="connsiteY19" fmla="*/ 100678 h 539999"/>
                  <a:gd name="connsiteX20" fmla="*/ 77150 w 174777"/>
                  <a:gd name="connsiteY20" fmla="*/ 106780 h 539999"/>
                  <a:gd name="connsiteX21" fmla="*/ 28337 w 174777"/>
                  <a:gd name="connsiteY21" fmla="*/ 234915 h 539999"/>
                  <a:gd name="connsiteX22" fmla="*/ 34438 w 174777"/>
                  <a:gd name="connsiteY22" fmla="*/ 268474 h 539999"/>
                  <a:gd name="connsiteX23" fmla="*/ 98506 w 174777"/>
                  <a:gd name="connsiteY23" fmla="*/ 237966 h 539999"/>
                  <a:gd name="connsiteX24" fmla="*/ 104608 w 174777"/>
                  <a:gd name="connsiteY24" fmla="*/ 237966 h 539999"/>
                  <a:gd name="connsiteX25" fmla="*/ 104608 w 174777"/>
                  <a:gd name="connsiteY25" fmla="*/ 244068 h 539999"/>
                  <a:gd name="connsiteX26" fmla="*/ 89354 w 174777"/>
                  <a:gd name="connsiteY26" fmla="*/ 317288 h 539999"/>
                  <a:gd name="connsiteX27" fmla="*/ 116811 w 174777"/>
                  <a:gd name="connsiteY27" fmla="*/ 329491 h 539999"/>
                  <a:gd name="connsiteX28" fmla="*/ 122913 w 174777"/>
                  <a:gd name="connsiteY28" fmla="*/ 332542 h 539999"/>
                  <a:gd name="connsiteX29" fmla="*/ 122913 w 174777"/>
                  <a:gd name="connsiteY29" fmla="*/ 338644 h 539999"/>
                  <a:gd name="connsiteX30" fmla="*/ 104608 w 174777"/>
                  <a:gd name="connsiteY30" fmla="*/ 527796 h 539999"/>
                  <a:gd name="connsiteX31" fmla="*/ 113760 w 174777"/>
                  <a:gd name="connsiteY31" fmla="*/ 527796 h 539999"/>
                  <a:gd name="connsiteX32" fmla="*/ 165625 w 174777"/>
                  <a:gd name="connsiteY32" fmla="*/ 460678 h 539999"/>
                  <a:gd name="connsiteX33" fmla="*/ 171726 w 174777"/>
                  <a:gd name="connsiteY33" fmla="*/ 457627 h 539999"/>
                  <a:gd name="connsiteX34" fmla="*/ 174777 w 174777"/>
                  <a:gd name="connsiteY34" fmla="*/ 463728 h 539999"/>
                  <a:gd name="connsiteX35" fmla="*/ 116811 w 174777"/>
                  <a:gd name="connsiteY35" fmla="*/ 536949 h 539999"/>
                  <a:gd name="connsiteX36" fmla="*/ 116811 w 174777"/>
                  <a:gd name="connsiteY36" fmla="*/ 539999 h 539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74777" h="539999">
                    <a:moveTo>
                      <a:pt x="116811" y="539999"/>
                    </a:moveTo>
                    <a:cubicBezTo>
                      <a:pt x="113760" y="539999"/>
                      <a:pt x="107658" y="539999"/>
                      <a:pt x="104608" y="536949"/>
                    </a:cubicBezTo>
                    <a:cubicBezTo>
                      <a:pt x="71048" y="515593"/>
                      <a:pt x="74099" y="436271"/>
                      <a:pt x="113760" y="341694"/>
                    </a:cubicBezTo>
                    <a:cubicBezTo>
                      <a:pt x="104608" y="341694"/>
                      <a:pt x="92404" y="335593"/>
                      <a:pt x="83252" y="323390"/>
                    </a:cubicBezTo>
                    <a:cubicBezTo>
                      <a:pt x="74099" y="308136"/>
                      <a:pt x="77150" y="289831"/>
                      <a:pt x="89354" y="262373"/>
                    </a:cubicBezTo>
                    <a:cubicBezTo>
                      <a:pt x="71048" y="274576"/>
                      <a:pt x="49692" y="286779"/>
                      <a:pt x="34438" y="277627"/>
                    </a:cubicBezTo>
                    <a:cubicBezTo>
                      <a:pt x="22235" y="271525"/>
                      <a:pt x="19184" y="256271"/>
                      <a:pt x="22235" y="234915"/>
                    </a:cubicBezTo>
                    <a:cubicBezTo>
                      <a:pt x="28337" y="164746"/>
                      <a:pt x="55794" y="122034"/>
                      <a:pt x="67998" y="106780"/>
                    </a:cubicBezTo>
                    <a:cubicBezTo>
                      <a:pt x="61896" y="103729"/>
                      <a:pt x="55794" y="94576"/>
                      <a:pt x="52743" y="79322"/>
                    </a:cubicBezTo>
                    <a:cubicBezTo>
                      <a:pt x="40540" y="85423"/>
                      <a:pt x="19184" y="97627"/>
                      <a:pt x="6981" y="94576"/>
                    </a:cubicBezTo>
                    <a:cubicBezTo>
                      <a:pt x="3930" y="94576"/>
                      <a:pt x="879" y="91525"/>
                      <a:pt x="879" y="85423"/>
                    </a:cubicBezTo>
                    <a:cubicBezTo>
                      <a:pt x="-5223" y="67119"/>
                      <a:pt x="22235" y="15254"/>
                      <a:pt x="28337" y="3051"/>
                    </a:cubicBezTo>
                    <a:cubicBezTo>
                      <a:pt x="28337" y="0"/>
                      <a:pt x="34438" y="0"/>
                      <a:pt x="34438" y="0"/>
                    </a:cubicBezTo>
                    <a:cubicBezTo>
                      <a:pt x="37489" y="0"/>
                      <a:pt x="37489" y="6102"/>
                      <a:pt x="37489" y="6102"/>
                    </a:cubicBezTo>
                    <a:cubicBezTo>
                      <a:pt x="25286" y="30508"/>
                      <a:pt x="6981" y="70169"/>
                      <a:pt x="10031" y="79322"/>
                    </a:cubicBezTo>
                    <a:cubicBezTo>
                      <a:pt x="13082" y="82373"/>
                      <a:pt x="31387" y="76271"/>
                      <a:pt x="52743" y="61017"/>
                    </a:cubicBezTo>
                    <a:cubicBezTo>
                      <a:pt x="55794" y="61017"/>
                      <a:pt x="55794" y="61017"/>
                      <a:pt x="58845" y="61017"/>
                    </a:cubicBezTo>
                    <a:cubicBezTo>
                      <a:pt x="61896" y="61017"/>
                      <a:pt x="61896" y="64068"/>
                      <a:pt x="61896" y="67119"/>
                    </a:cubicBezTo>
                    <a:cubicBezTo>
                      <a:pt x="61896" y="91525"/>
                      <a:pt x="74099" y="97627"/>
                      <a:pt x="74099" y="97627"/>
                    </a:cubicBezTo>
                    <a:cubicBezTo>
                      <a:pt x="77150" y="97627"/>
                      <a:pt x="77150" y="100678"/>
                      <a:pt x="77150" y="100678"/>
                    </a:cubicBezTo>
                    <a:cubicBezTo>
                      <a:pt x="77150" y="103729"/>
                      <a:pt x="77150" y="103729"/>
                      <a:pt x="77150" y="106780"/>
                    </a:cubicBezTo>
                    <a:cubicBezTo>
                      <a:pt x="77150" y="106780"/>
                      <a:pt x="37489" y="152542"/>
                      <a:pt x="28337" y="234915"/>
                    </a:cubicBezTo>
                    <a:cubicBezTo>
                      <a:pt x="28337" y="247119"/>
                      <a:pt x="28337" y="262373"/>
                      <a:pt x="34438" y="268474"/>
                    </a:cubicBezTo>
                    <a:cubicBezTo>
                      <a:pt x="46641" y="274576"/>
                      <a:pt x="80201" y="253220"/>
                      <a:pt x="98506" y="237966"/>
                    </a:cubicBezTo>
                    <a:cubicBezTo>
                      <a:pt x="101557" y="234915"/>
                      <a:pt x="104608" y="234915"/>
                      <a:pt x="104608" y="237966"/>
                    </a:cubicBezTo>
                    <a:cubicBezTo>
                      <a:pt x="107658" y="241017"/>
                      <a:pt x="107658" y="244068"/>
                      <a:pt x="104608" y="244068"/>
                    </a:cubicBezTo>
                    <a:cubicBezTo>
                      <a:pt x="80201" y="286779"/>
                      <a:pt x="83252" y="308136"/>
                      <a:pt x="89354" y="317288"/>
                    </a:cubicBezTo>
                    <a:cubicBezTo>
                      <a:pt x="98506" y="329491"/>
                      <a:pt x="116811" y="329491"/>
                      <a:pt x="116811" y="329491"/>
                    </a:cubicBezTo>
                    <a:cubicBezTo>
                      <a:pt x="119862" y="329491"/>
                      <a:pt x="119862" y="329491"/>
                      <a:pt x="122913" y="332542"/>
                    </a:cubicBezTo>
                    <a:cubicBezTo>
                      <a:pt x="122913" y="335593"/>
                      <a:pt x="122913" y="335593"/>
                      <a:pt x="122913" y="338644"/>
                    </a:cubicBezTo>
                    <a:cubicBezTo>
                      <a:pt x="80201" y="439322"/>
                      <a:pt x="83252" y="512542"/>
                      <a:pt x="104608" y="527796"/>
                    </a:cubicBezTo>
                    <a:cubicBezTo>
                      <a:pt x="107658" y="530847"/>
                      <a:pt x="110709" y="530847"/>
                      <a:pt x="113760" y="527796"/>
                    </a:cubicBezTo>
                    <a:cubicBezTo>
                      <a:pt x="132065" y="521695"/>
                      <a:pt x="156472" y="475932"/>
                      <a:pt x="165625" y="460678"/>
                    </a:cubicBezTo>
                    <a:cubicBezTo>
                      <a:pt x="165625" y="457627"/>
                      <a:pt x="168675" y="457627"/>
                      <a:pt x="171726" y="457627"/>
                    </a:cubicBezTo>
                    <a:cubicBezTo>
                      <a:pt x="174777" y="457627"/>
                      <a:pt x="174777" y="463728"/>
                      <a:pt x="174777" y="463728"/>
                    </a:cubicBezTo>
                    <a:cubicBezTo>
                      <a:pt x="171726" y="469830"/>
                      <a:pt x="144269" y="530847"/>
                      <a:pt x="116811" y="536949"/>
                    </a:cubicBezTo>
                    <a:cubicBezTo>
                      <a:pt x="119862" y="539999"/>
                      <a:pt x="119862" y="539999"/>
                      <a:pt x="116811" y="53999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04164B36-5E69-4DBE-9A0F-AA015767C58E}"/>
                  </a:ext>
                </a:extLst>
              </p:cNvPr>
              <p:cNvSpPr/>
              <p:nvPr/>
            </p:nvSpPr>
            <p:spPr>
              <a:xfrm>
                <a:off x="6723356" y="9626464"/>
                <a:ext cx="232745" cy="555254"/>
              </a:xfrm>
              <a:custGeom>
                <a:avLst/>
                <a:gdLst>
                  <a:gd name="connsiteX0" fmla="*/ 190034 w 232745"/>
                  <a:gd name="connsiteY0" fmla="*/ 555255 h 555254"/>
                  <a:gd name="connsiteX1" fmla="*/ 190034 w 232745"/>
                  <a:gd name="connsiteY1" fmla="*/ 555255 h 555254"/>
                  <a:gd name="connsiteX2" fmla="*/ 180882 w 232745"/>
                  <a:gd name="connsiteY2" fmla="*/ 546102 h 555254"/>
                  <a:gd name="connsiteX3" fmla="*/ 180882 w 232745"/>
                  <a:gd name="connsiteY3" fmla="*/ 497289 h 555254"/>
                  <a:gd name="connsiteX4" fmla="*/ 147322 w 232745"/>
                  <a:gd name="connsiteY4" fmla="*/ 515593 h 555254"/>
                  <a:gd name="connsiteX5" fmla="*/ 129017 w 232745"/>
                  <a:gd name="connsiteY5" fmla="*/ 509492 h 555254"/>
                  <a:gd name="connsiteX6" fmla="*/ 165627 w 232745"/>
                  <a:gd name="connsiteY6" fmla="*/ 302034 h 555254"/>
                  <a:gd name="connsiteX7" fmla="*/ 141221 w 232745"/>
                  <a:gd name="connsiteY7" fmla="*/ 295933 h 555254"/>
                  <a:gd name="connsiteX8" fmla="*/ 122916 w 232745"/>
                  <a:gd name="connsiteY8" fmla="*/ 265424 h 555254"/>
                  <a:gd name="connsiteX9" fmla="*/ 40542 w 232745"/>
                  <a:gd name="connsiteY9" fmla="*/ 271525 h 555254"/>
                  <a:gd name="connsiteX10" fmla="*/ 19187 w 232745"/>
                  <a:gd name="connsiteY10" fmla="*/ 241017 h 555254"/>
                  <a:gd name="connsiteX11" fmla="*/ 58848 w 232745"/>
                  <a:gd name="connsiteY11" fmla="*/ 100679 h 555254"/>
                  <a:gd name="connsiteX12" fmla="*/ 10034 w 232745"/>
                  <a:gd name="connsiteY12" fmla="*/ 106780 h 555254"/>
                  <a:gd name="connsiteX13" fmla="*/ 882 w 232745"/>
                  <a:gd name="connsiteY13" fmla="*/ 94576 h 555254"/>
                  <a:gd name="connsiteX14" fmla="*/ 25288 w 232745"/>
                  <a:gd name="connsiteY14" fmla="*/ 3051 h 555254"/>
                  <a:gd name="connsiteX15" fmla="*/ 31390 w 232745"/>
                  <a:gd name="connsiteY15" fmla="*/ 0 h 555254"/>
                  <a:gd name="connsiteX16" fmla="*/ 34441 w 232745"/>
                  <a:gd name="connsiteY16" fmla="*/ 6102 h 555254"/>
                  <a:gd name="connsiteX17" fmla="*/ 10034 w 232745"/>
                  <a:gd name="connsiteY17" fmla="*/ 88474 h 555254"/>
                  <a:gd name="connsiteX18" fmla="*/ 13085 w 232745"/>
                  <a:gd name="connsiteY18" fmla="*/ 94576 h 555254"/>
                  <a:gd name="connsiteX19" fmla="*/ 68000 w 232745"/>
                  <a:gd name="connsiteY19" fmla="*/ 82373 h 555254"/>
                  <a:gd name="connsiteX20" fmla="*/ 74102 w 232745"/>
                  <a:gd name="connsiteY20" fmla="*/ 82373 h 555254"/>
                  <a:gd name="connsiteX21" fmla="*/ 74102 w 232745"/>
                  <a:gd name="connsiteY21" fmla="*/ 88474 h 555254"/>
                  <a:gd name="connsiteX22" fmla="*/ 25288 w 232745"/>
                  <a:gd name="connsiteY22" fmla="*/ 234916 h 555254"/>
                  <a:gd name="connsiteX23" fmla="*/ 40542 w 232745"/>
                  <a:gd name="connsiteY23" fmla="*/ 259322 h 555254"/>
                  <a:gd name="connsiteX24" fmla="*/ 119865 w 232745"/>
                  <a:gd name="connsiteY24" fmla="*/ 250170 h 555254"/>
                  <a:gd name="connsiteX25" fmla="*/ 125966 w 232745"/>
                  <a:gd name="connsiteY25" fmla="*/ 250170 h 555254"/>
                  <a:gd name="connsiteX26" fmla="*/ 129017 w 232745"/>
                  <a:gd name="connsiteY26" fmla="*/ 253221 h 555254"/>
                  <a:gd name="connsiteX27" fmla="*/ 141221 w 232745"/>
                  <a:gd name="connsiteY27" fmla="*/ 283729 h 555254"/>
                  <a:gd name="connsiteX28" fmla="*/ 168678 w 232745"/>
                  <a:gd name="connsiteY28" fmla="*/ 286779 h 555254"/>
                  <a:gd name="connsiteX29" fmla="*/ 174780 w 232745"/>
                  <a:gd name="connsiteY29" fmla="*/ 289831 h 555254"/>
                  <a:gd name="connsiteX30" fmla="*/ 174780 w 232745"/>
                  <a:gd name="connsiteY30" fmla="*/ 295933 h 555254"/>
                  <a:gd name="connsiteX31" fmla="*/ 129017 w 232745"/>
                  <a:gd name="connsiteY31" fmla="*/ 500339 h 555254"/>
                  <a:gd name="connsiteX32" fmla="*/ 138170 w 232745"/>
                  <a:gd name="connsiteY32" fmla="*/ 503390 h 555254"/>
                  <a:gd name="connsiteX33" fmla="*/ 177831 w 232745"/>
                  <a:gd name="connsiteY33" fmla="*/ 469830 h 555254"/>
                  <a:gd name="connsiteX34" fmla="*/ 183933 w 232745"/>
                  <a:gd name="connsiteY34" fmla="*/ 466780 h 555254"/>
                  <a:gd name="connsiteX35" fmla="*/ 186983 w 232745"/>
                  <a:gd name="connsiteY35" fmla="*/ 472881 h 555254"/>
                  <a:gd name="connsiteX36" fmla="*/ 180882 w 232745"/>
                  <a:gd name="connsiteY36" fmla="*/ 540000 h 555254"/>
                  <a:gd name="connsiteX37" fmla="*/ 180882 w 232745"/>
                  <a:gd name="connsiteY37" fmla="*/ 540000 h 555254"/>
                  <a:gd name="connsiteX38" fmla="*/ 223593 w 232745"/>
                  <a:gd name="connsiteY38" fmla="*/ 466780 h 555254"/>
                  <a:gd name="connsiteX39" fmla="*/ 229695 w 232745"/>
                  <a:gd name="connsiteY39" fmla="*/ 463729 h 555254"/>
                  <a:gd name="connsiteX40" fmla="*/ 232746 w 232745"/>
                  <a:gd name="connsiteY40" fmla="*/ 469830 h 555254"/>
                  <a:gd name="connsiteX41" fmla="*/ 190034 w 232745"/>
                  <a:gd name="connsiteY41" fmla="*/ 555255 h 55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32745" h="555254">
                    <a:moveTo>
                      <a:pt x="190034" y="555255"/>
                    </a:moveTo>
                    <a:cubicBezTo>
                      <a:pt x="190034" y="555255"/>
                      <a:pt x="190034" y="555255"/>
                      <a:pt x="190034" y="555255"/>
                    </a:cubicBezTo>
                    <a:cubicBezTo>
                      <a:pt x="186983" y="555255"/>
                      <a:pt x="180882" y="552204"/>
                      <a:pt x="180882" y="546102"/>
                    </a:cubicBezTo>
                    <a:cubicBezTo>
                      <a:pt x="177831" y="530847"/>
                      <a:pt x="177831" y="509492"/>
                      <a:pt x="180882" y="497289"/>
                    </a:cubicBezTo>
                    <a:cubicBezTo>
                      <a:pt x="171729" y="506441"/>
                      <a:pt x="159526" y="515593"/>
                      <a:pt x="147322" y="515593"/>
                    </a:cubicBezTo>
                    <a:cubicBezTo>
                      <a:pt x="141221" y="515593"/>
                      <a:pt x="135119" y="515593"/>
                      <a:pt x="129017" y="509492"/>
                    </a:cubicBezTo>
                    <a:cubicBezTo>
                      <a:pt x="104610" y="488136"/>
                      <a:pt x="113763" y="381356"/>
                      <a:pt x="165627" y="302034"/>
                    </a:cubicBezTo>
                    <a:cubicBezTo>
                      <a:pt x="159526" y="302034"/>
                      <a:pt x="150373" y="302034"/>
                      <a:pt x="141221" y="295933"/>
                    </a:cubicBezTo>
                    <a:cubicBezTo>
                      <a:pt x="132068" y="289831"/>
                      <a:pt x="125966" y="280678"/>
                      <a:pt x="122916" y="265424"/>
                    </a:cubicBezTo>
                    <a:cubicBezTo>
                      <a:pt x="107661" y="271525"/>
                      <a:pt x="68000" y="283729"/>
                      <a:pt x="40542" y="271525"/>
                    </a:cubicBezTo>
                    <a:cubicBezTo>
                      <a:pt x="28339" y="265424"/>
                      <a:pt x="22238" y="253221"/>
                      <a:pt x="19187" y="241017"/>
                    </a:cubicBezTo>
                    <a:cubicBezTo>
                      <a:pt x="13085" y="192204"/>
                      <a:pt x="43593" y="128136"/>
                      <a:pt x="58848" y="100679"/>
                    </a:cubicBezTo>
                    <a:cubicBezTo>
                      <a:pt x="43593" y="106780"/>
                      <a:pt x="22238" y="112882"/>
                      <a:pt x="10034" y="106780"/>
                    </a:cubicBezTo>
                    <a:cubicBezTo>
                      <a:pt x="3932" y="103729"/>
                      <a:pt x="882" y="100679"/>
                      <a:pt x="882" y="94576"/>
                    </a:cubicBezTo>
                    <a:cubicBezTo>
                      <a:pt x="-5220" y="67119"/>
                      <a:pt x="22238" y="9153"/>
                      <a:pt x="25288" y="3051"/>
                    </a:cubicBezTo>
                    <a:cubicBezTo>
                      <a:pt x="25288" y="0"/>
                      <a:pt x="31390" y="0"/>
                      <a:pt x="31390" y="0"/>
                    </a:cubicBezTo>
                    <a:cubicBezTo>
                      <a:pt x="34441" y="0"/>
                      <a:pt x="34441" y="6102"/>
                      <a:pt x="34441" y="6102"/>
                    </a:cubicBezTo>
                    <a:cubicBezTo>
                      <a:pt x="25288" y="21356"/>
                      <a:pt x="6983" y="70170"/>
                      <a:pt x="10034" y="88474"/>
                    </a:cubicBezTo>
                    <a:cubicBezTo>
                      <a:pt x="10034" y="91525"/>
                      <a:pt x="13085" y="91525"/>
                      <a:pt x="13085" y="94576"/>
                    </a:cubicBezTo>
                    <a:cubicBezTo>
                      <a:pt x="25288" y="100679"/>
                      <a:pt x="52746" y="91525"/>
                      <a:pt x="68000" y="82373"/>
                    </a:cubicBezTo>
                    <a:cubicBezTo>
                      <a:pt x="71051" y="82373"/>
                      <a:pt x="74102" y="82373"/>
                      <a:pt x="74102" y="82373"/>
                    </a:cubicBezTo>
                    <a:cubicBezTo>
                      <a:pt x="77153" y="85424"/>
                      <a:pt x="77153" y="88474"/>
                      <a:pt x="74102" y="88474"/>
                    </a:cubicBezTo>
                    <a:cubicBezTo>
                      <a:pt x="74102" y="88474"/>
                      <a:pt x="16136" y="176950"/>
                      <a:pt x="25288" y="234916"/>
                    </a:cubicBezTo>
                    <a:cubicBezTo>
                      <a:pt x="28339" y="247119"/>
                      <a:pt x="31390" y="253221"/>
                      <a:pt x="40542" y="259322"/>
                    </a:cubicBezTo>
                    <a:cubicBezTo>
                      <a:pt x="68000" y="274576"/>
                      <a:pt x="116814" y="250170"/>
                      <a:pt x="119865" y="250170"/>
                    </a:cubicBezTo>
                    <a:cubicBezTo>
                      <a:pt x="122916" y="250170"/>
                      <a:pt x="122916" y="250170"/>
                      <a:pt x="125966" y="250170"/>
                    </a:cubicBezTo>
                    <a:cubicBezTo>
                      <a:pt x="129017" y="250170"/>
                      <a:pt x="129017" y="253221"/>
                      <a:pt x="129017" y="253221"/>
                    </a:cubicBezTo>
                    <a:cubicBezTo>
                      <a:pt x="129017" y="268475"/>
                      <a:pt x="135119" y="277627"/>
                      <a:pt x="141221" y="283729"/>
                    </a:cubicBezTo>
                    <a:cubicBezTo>
                      <a:pt x="153424" y="292882"/>
                      <a:pt x="168678" y="286779"/>
                      <a:pt x="168678" y="286779"/>
                    </a:cubicBezTo>
                    <a:cubicBezTo>
                      <a:pt x="171729" y="286779"/>
                      <a:pt x="174780" y="286779"/>
                      <a:pt x="174780" y="289831"/>
                    </a:cubicBezTo>
                    <a:cubicBezTo>
                      <a:pt x="174780" y="292882"/>
                      <a:pt x="174780" y="295933"/>
                      <a:pt x="174780" y="295933"/>
                    </a:cubicBezTo>
                    <a:cubicBezTo>
                      <a:pt x="116814" y="378305"/>
                      <a:pt x="110712" y="485085"/>
                      <a:pt x="129017" y="500339"/>
                    </a:cubicBezTo>
                    <a:cubicBezTo>
                      <a:pt x="132068" y="503390"/>
                      <a:pt x="135119" y="503390"/>
                      <a:pt x="138170" y="503390"/>
                    </a:cubicBezTo>
                    <a:cubicBezTo>
                      <a:pt x="153424" y="500339"/>
                      <a:pt x="171729" y="478983"/>
                      <a:pt x="177831" y="469830"/>
                    </a:cubicBezTo>
                    <a:cubicBezTo>
                      <a:pt x="180882" y="466780"/>
                      <a:pt x="180882" y="466780"/>
                      <a:pt x="183933" y="466780"/>
                    </a:cubicBezTo>
                    <a:cubicBezTo>
                      <a:pt x="186983" y="466780"/>
                      <a:pt x="186983" y="469830"/>
                      <a:pt x="186983" y="472881"/>
                    </a:cubicBezTo>
                    <a:cubicBezTo>
                      <a:pt x="186983" y="472881"/>
                      <a:pt x="171729" y="512543"/>
                      <a:pt x="180882" y="540000"/>
                    </a:cubicBezTo>
                    <a:cubicBezTo>
                      <a:pt x="180882" y="540000"/>
                      <a:pt x="180882" y="540000"/>
                      <a:pt x="180882" y="540000"/>
                    </a:cubicBezTo>
                    <a:cubicBezTo>
                      <a:pt x="190034" y="533898"/>
                      <a:pt x="208339" y="500339"/>
                      <a:pt x="223593" y="466780"/>
                    </a:cubicBezTo>
                    <a:cubicBezTo>
                      <a:pt x="223593" y="463729"/>
                      <a:pt x="226644" y="463729"/>
                      <a:pt x="229695" y="463729"/>
                    </a:cubicBezTo>
                    <a:cubicBezTo>
                      <a:pt x="232746" y="463729"/>
                      <a:pt x="232746" y="469830"/>
                      <a:pt x="232746" y="469830"/>
                    </a:cubicBezTo>
                    <a:cubicBezTo>
                      <a:pt x="226644" y="512543"/>
                      <a:pt x="205289" y="555255"/>
                      <a:pt x="190034" y="55525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35471229-360C-46A3-B2BC-38034D3C9B55}"/>
                  </a:ext>
                </a:extLst>
              </p:cNvPr>
              <p:cNvSpPr/>
              <p:nvPr/>
            </p:nvSpPr>
            <p:spPr>
              <a:xfrm>
                <a:off x="6532034" y="9192481"/>
                <a:ext cx="216609" cy="214321"/>
              </a:xfrm>
              <a:custGeom>
                <a:avLst/>
                <a:gdLst>
                  <a:gd name="connsiteX0" fmla="*/ 131187 w 216609"/>
                  <a:gd name="connsiteY0" fmla="*/ 214322 h 214321"/>
                  <a:gd name="connsiteX1" fmla="*/ 131187 w 216609"/>
                  <a:gd name="connsiteY1" fmla="*/ 214322 h 214321"/>
                  <a:gd name="connsiteX2" fmla="*/ 67119 w 216609"/>
                  <a:gd name="connsiteY2" fmla="*/ 183813 h 214321"/>
                  <a:gd name="connsiteX3" fmla="*/ 67119 w 216609"/>
                  <a:gd name="connsiteY3" fmla="*/ 159407 h 214321"/>
                  <a:gd name="connsiteX4" fmla="*/ 0 w 216609"/>
                  <a:gd name="connsiteY4" fmla="*/ 86186 h 214321"/>
                  <a:gd name="connsiteX5" fmla="*/ 6102 w 216609"/>
                  <a:gd name="connsiteY5" fmla="*/ 67881 h 214321"/>
                  <a:gd name="connsiteX6" fmla="*/ 76271 w 216609"/>
                  <a:gd name="connsiteY6" fmla="*/ 61780 h 214321"/>
                  <a:gd name="connsiteX7" fmla="*/ 57966 w 216609"/>
                  <a:gd name="connsiteY7" fmla="*/ 9915 h 214321"/>
                  <a:gd name="connsiteX8" fmla="*/ 109830 w 216609"/>
                  <a:gd name="connsiteY8" fmla="*/ 3814 h 214321"/>
                  <a:gd name="connsiteX9" fmla="*/ 210508 w 216609"/>
                  <a:gd name="connsiteY9" fmla="*/ 9915 h 214321"/>
                  <a:gd name="connsiteX10" fmla="*/ 216610 w 216609"/>
                  <a:gd name="connsiteY10" fmla="*/ 16017 h 214321"/>
                  <a:gd name="connsiteX11" fmla="*/ 210508 w 216609"/>
                  <a:gd name="connsiteY11" fmla="*/ 22118 h 214321"/>
                  <a:gd name="connsiteX12" fmla="*/ 106780 w 216609"/>
                  <a:gd name="connsiteY12" fmla="*/ 16017 h 214321"/>
                  <a:gd name="connsiteX13" fmla="*/ 67119 w 216609"/>
                  <a:gd name="connsiteY13" fmla="*/ 12966 h 214321"/>
                  <a:gd name="connsiteX14" fmla="*/ 94576 w 216609"/>
                  <a:gd name="connsiteY14" fmla="*/ 70932 h 214321"/>
                  <a:gd name="connsiteX15" fmla="*/ 94576 w 216609"/>
                  <a:gd name="connsiteY15" fmla="*/ 77034 h 214321"/>
                  <a:gd name="connsiteX16" fmla="*/ 88474 w 216609"/>
                  <a:gd name="connsiteY16" fmla="*/ 77034 h 214321"/>
                  <a:gd name="connsiteX17" fmla="*/ 12203 w 216609"/>
                  <a:gd name="connsiteY17" fmla="*/ 70932 h 214321"/>
                  <a:gd name="connsiteX18" fmla="*/ 9153 w 216609"/>
                  <a:gd name="connsiteY18" fmla="*/ 80085 h 214321"/>
                  <a:gd name="connsiteX19" fmla="*/ 76271 w 216609"/>
                  <a:gd name="connsiteY19" fmla="*/ 147203 h 214321"/>
                  <a:gd name="connsiteX20" fmla="*/ 79322 w 216609"/>
                  <a:gd name="connsiteY20" fmla="*/ 153305 h 214321"/>
                  <a:gd name="connsiteX21" fmla="*/ 76271 w 216609"/>
                  <a:gd name="connsiteY21" fmla="*/ 171610 h 214321"/>
                  <a:gd name="connsiteX22" fmla="*/ 131187 w 216609"/>
                  <a:gd name="connsiteY22" fmla="*/ 196017 h 214321"/>
                  <a:gd name="connsiteX23" fmla="*/ 137288 w 216609"/>
                  <a:gd name="connsiteY23" fmla="*/ 202119 h 214321"/>
                  <a:gd name="connsiteX24" fmla="*/ 131187 w 216609"/>
                  <a:gd name="connsiteY24" fmla="*/ 214322 h 21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16609" h="214321">
                    <a:moveTo>
                      <a:pt x="131187" y="214322"/>
                    </a:moveTo>
                    <a:cubicBezTo>
                      <a:pt x="131187" y="214322"/>
                      <a:pt x="131187" y="214322"/>
                      <a:pt x="131187" y="214322"/>
                    </a:cubicBezTo>
                    <a:cubicBezTo>
                      <a:pt x="128136" y="214322"/>
                      <a:pt x="79322" y="208220"/>
                      <a:pt x="67119" y="183813"/>
                    </a:cubicBezTo>
                    <a:cubicBezTo>
                      <a:pt x="64068" y="177712"/>
                      <a:pt x="64068" y="168559"/>
                      <a:pt x="67119" y="159407"/>
                    </a:cubicBezTo>
                    <a:cubicBezTo>
                      <a:pt x="51864" y="150254"/>
                      <a:pt x="0" y="113644"/>
                      <a:pt x="0" y="86186"/>
                    </a:cubicBezTo>
                    <a:cubicBezTo>
                      <a:pt x="0" y="80085"/>
                      <a:pt x="3051" y="70932"/>
                      <a:pt x="6102" y="67881"/>
                    </a:cubicBezTo>
                    <a:cubicBezTo>
                      <a:pt x="27457" y="49576"/>
                      <a:pt x="57966" y="55678"/>
                      <a:pt x="76271" y="61780"/>
                    </a:cubicBezTo>
                    <a:cubicBezTo>
                      <a:pt x="67119" y="46525"/>
                      <a:pt x="54915" y="25170"/>
                      <a:pt x="57966" y="9915"/>
                    </a:cubicBezTo>
                    <a:cubicBezTo>
                      <a:pt x="61017" y="-5339"/>
                      <a:pt x="79322" y="763"/>
                      <a:pt x="109830" y="3814"/>
                    </a:cubicBezTo>
                    <a:cubicBezTo>
                      <a:pt x="137288" y="9915"/>
                      <a:pt x="173898" y="16017"/>
                      <a:pt x="210508" y="9915"/>
                    </a:cubicBezTo>
                    <a:cubicBezTo>
                      <a:pt x="213559" y="9915"/>
                      <a:pt x="216610" y="12966"/>
                      <a:pt x="216610" y="16017"/>
                    </a:cubicBezTo>
                    <a:cubicBezTo>
                      <a:pt x="216610" y="19068"/>
                      <a:pt x="213559" y="22118"/>
                      <a:pt x="210508" y="22118"/>
                    </a:cubicBezTo>
                    <a:cubicBezTo>
                      <a:pt x="170847" y="28221"/>
                      <a:pt x="134237" y="19068"/>
                      <a:pt x="106780" y="16017"/>
                    </a:cubicBezTo>
                    <a:cubicBezTo>
                      <a:pt x="91525" y="12966"/>
                      <a:pt x="70170" y="9915"/>
                      <a:pt x="67119" y="12966"/>
                    </a:cubicBezTo>
                    <a:cubicBezTo>
                      <a:pt x="64068" y="25170"/>
                      <a:pt x="82373" y="55678"/>
                      <a:pt x="94576" y="70932"/>
                    </a:cubicBezTo>
                    <a:cubicBezTo>
                      <a:pt x="97627" y="73983"/>
                      <a:pt x="94576" y="77034"/>
                      <a:pt x="94576" y="77034"/>
                    </a:cubicBezTo>
                    <a:cubicBezTo>
                      <a:pt x="91525" y="80085"/>
                      <a:pt x="88474" y="80085"/>
                      <a:pt x="88474" y="77034"/>
                    </a:cubicBezTo>
                    <a:cubicBezTo>
                      <a:pt x="88474" y="77034"/>
                      <a:pt x="39661" y="46525"/>
                      <a:pt x="12203" y="70932"/>
                    </a:cubicBezTo>
                    <a:cubicBezTo>
                      <a:pt x="9153" y="73983"/>
                      <a:pt x="9153" y="77034"/>
                      <a:pt x="9153" y="80085"/>
                    </a:cubicBezTo>
                    <a:cubicBezTo>
                      <a:pt x="12203" y="101441"/>
                      <a:pt x="57966" y="138051"/>
                      <a:pt x="76271" y="147203"/>
                    </a:cubicBezTo>
                    <a:cubicBezTo>
                      <a:pt x="79322" y="150254"/>
                      <a:pt x="79322" y="153305"/>
                      <a:pt x="79322" y="153305"/>
                    </a:cubicBezTo>
                    <a:cubicBezTo>
                      <a:pt x="76271" y="159407"/>
                      <a:pt x="76271" y="165509"/>
                      <a:pt x="76271" y="171610"/>
                    </a:cubicBezTo>
                    <a:cubicBezTo>
                      <a:pt x="85424" y="186865"/>
                      <a:pt x="118983" y="196017"/>
                      <a:pt x="131187" y="196017"/>
                    </a:cubicBezTo>
                    <a:cubicBezTo>
                      <a:pt x="134237" y="196017"/>
                      <a:pt x="137288" y="199068"/>
                      <a:pt x="137288" y="202119"/>
                    </a:cubicBezTo>
                    <a:cubicBezTo>
                      <a:pt x="137288" y="214322"/>
                      <a:pt x="134237" y="214322"/>
                      <a:pt x="131187" y="21432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5F89CBCB-F6EC-4647-B344-7EADFD11C6A6}"/>
                </a:ext>
              </a:extLst>
            </p:cNvPr>
            <p:cNvSpPr/>
            <p:nvPr/>
          </p:nvSpPr>
          <p:spPr>
            <a:xfrm>
              <a:off x="6717458" y="9717990"/>
              <a:ext cx="89152" cy="218476"/>
            </a:xfrm>
            <a:custGeom>
              <a:avLst/>
              <a:gdLst>
                <a:gd name="connsiteX0" fmla="*/ 6780 w 89152"/>
                <a:gd name="connsiteY0" fmla="*/ 0 h 218476"/>
                <a:gd name="connsiteX1" fmla="*/ 83051 w 89152"/>
                <a:gd name="connsiteY1" fmla="*/ 125085 h 218476"/>
                <a:gd name="connsiteX2" fmla="*/ 76949 w 89152"/>
                <a:gd name="connsiteY2" fmla="*/ 216610 h 218476"/>
                <a:gd name="connsiteX3" fmla="*/ 6780 w 89152"/>
                <a:gd name="connsiteY3" fmla="*/ 97627 h 218476"/>
                <a:gd name="connsiteX4" fmla="*/ 6780 w 89152"/>
                <a:gd name="connsiteY4" fmla="*/ 0 h 218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152" h="218476">
                  <a:moveTo>
                    <a:pt x="6780" y="0"/>
                  </a:moveTo>
                  <a:cubicBezTo>
                    <a:pt x="6780" y="0"/>
                    <a:pt x="80000" y="88474"/>
                    <a:pt x="83051" y="125085"/>
                  </a:cubicBezTo>
                  <a:cubicBezTo>
                    <a:pt x="89152" y="161695"/>
                    <a:pt x="95254" y="210508"/>
                    <a:pt x="76949" y="216610"/>
                  </a:cubicBezTo>
                  <a:cubicBezTo>
                    <a:pt x="34237" y="234916"/>
                    <a:pt x="43390" y="112882"/>
                    <a:pt x="6780" y="97627"/>
                  </a:cubicBezTo>
                  <a:cubicBezTo>
                    <a:pt x="-8475" y="94576"/>
                    <a:pt x="6780" y="0"/>
                    <a:pt x="6780" y="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8" name="图形 1">
              <a:extLst>
                <a:ext uri="{FF2B5EF4-FFF2-40B4-BE49-F238E27FC236}">
                  <a16:creationId xmlns:a16="http://schemas.microsoft.com/office/drawing/2014/main" id="{0949639F-C845-4721-ADB3-11F3E66BEBE4}"/>
                </a:ext>
              </a:extLst>
            </p:cNvPr>
            <p:cNvGrpSpPr/>
            <p:nvPr/>
          </p:nvGrpSpPr>
          <p:grpSpPr>
            <a:xfrm>
              <a:off x="6516440" y="9617565"/>
              <a:ext cx="253303" cy="341441"/>
              <a:chOff x="6516440" y="9617565"/>
              <a:chExt cx="253303" cy="341441"/>
            </a:xfrm>
          </p:grpSpPr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338681D1-BDFF-4DBC-9831-E9132D4D910D}"/>
                  </a:ext>
                </a:extLst>
              </p:cNvPr>
              <p:cNvSpPr/>
              <p:nvPr/>
            </p:nvSpPr>
            <p:spPr>
              <a:xfrm>
                <a:off x="6516440" y="9617565"/>
                <a:ext cx="246360" cy="334697"/>
              </a:xfrm>
              <a:custGeom>
                <a:avLst/>
                <a:gdLst>
                  <a:gd name="connsiteX0" fmla="*/ 27798 w 246360"/>
                  <a:gd name="connsiteY0" fmla="*/ 51611 h 334697"/>
                  <a:gd name="connsiteX1" fmla="*/ 21696 w 246360"/>
                  <a:gd name="connsiteY1" fmla="*/ 164493 h 334697"/>
                  <a:gd name="connsiteX2" fmla="*/ 340 w 246360"/>
                  <a:gd name="connsiteY2" fmla="*/ 256018 h 334697"/>
                  <a:gd name="connsiteX3" fmla="*/ 220001 w 246360"/>
                  <a:gd name="connsiteY3" fmla="*/ 332290 h 334697"/>
                  <a:gd name="connsiteX4" fmla="*/ 244408 w 246360"/>
                  <a:gd name="connsiteY4" fmla="*/ 268222 h 334697"/>
                  <a:gd name="connsiteX5" fmla="*/ 201696 w 246360"/>
                  <a:gd name="connsiteY5" fmla="*/ 18053 h 334697"/>
                  <a:gd name="connsiteX6" fmla="*/ 64408 w 246360"/>
                  <a:gd name="connsiteY6" fmla="*/ 5849 h 334697"/>
                  <a:gd name="connsiteX7" fmla="*/ 27798 w 246360"/>
                  <a:gd name="connsiteY7" fmla="*/ 51611 h 33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6360" h="334697">
                    <a:moveTo>
                      <a:pt x="27798" y="51611"/>
                    </a:moveTo>
                    <a:cubicBezTo>
                      <a:pt x="24747" y="88222"/>
                      <a:pt x="24747" y="127882"/>
                      <a:pt x="21696" y="164493"/>
                    </a:cubicBezTo>
                    <a:cubicBezTo>
                      <a:pt x="15595" y="204154"/>
                      <a:pt x="-2711" y="216358"/>
                      <a:pt x="340" y="256018"/>
                    </a:cubicBezTo>
                    <a:cubicBezTo>
                      <a:pt x="3391" y="286527"/>
                      <a:pt x="152883" y="347544"/>
                      <a:pt x="220001" y="332290"/>
                    </a:cubicBezTo>
                    <a:cubicBezTo>
                      <a:pt x="256611" y="323137"/>
                      <a:pt x="244408" y="283476"/>
                      <a:pt x="244408" y="268222"/>
                    </a:cubicBezTo>
                    <a:cubicBezTo>
                      <a:pt x="250510" y="164493"/>
                      <a:pt x="207798" y="118730"/>
                      <a:pt x="201696" y="18053"/>
                    </a:cubicBezTo>
                    <a:cubicBezTo>
                      <a:pt x="204747" y="18053"/>
                      <a:pt x="110171" y="-12456"/>
                      <a:pt x="64408" y="5849"/>
                    </a:cubicBezTo>
                    <a:cubicBezTo>
                      <a:pt x="33899" y="15002"/>
                      <a:pt x="30849" y="24154"/>
                      <a:pt x="27798" y="51611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A86D08BB-BE0A-4BEB-A334-CBDC32D99685}"/>
                  </a:ext>
                </a:extLst>
              </p:cNvPr>
              <p:cNvSpPr/>
              <p:nvPr/>
            </p:nvSpPr>
            <p:spPr>
              <a:xfrm>
                <a:off x="6665008" y="9788160"/>
                <a:ext cx="104734" cy="170846"/>
              </a:xfrm>
              <a:custGeom>
                <a:avLst/>
                <a:gdLst>
                  <a:gd name="connsiteX0" fmla="*/ 43976 w 104734"/>
                  <a:gd name="connsiteY0" fmla="*/ 170847 h 170846"/>
                  <a:gd name="connsiteX1" fmla="*/ 4315 w 104734"/>
                  <a:gd name="connsiteY1" fmla="*/ 167797 h 170846"/>
                  <a:gd name="connsiteX2" fmla="*/ 1264 w 104734"/>
                  <a:gd name="connsiteY2" fmla="*/ 161695 h 170846"/>
                  <a:gd name="connsiteX3" fmla="*/ 7365 w 104734"/>
                  <a:gd name="connsiteY3" fmla="*/ 158644 h 170846"/>
                  <a:gd name="connsiteX4" fmla="*/ 86687 w 104734"/>
                  <a:gd name="connsiteY4" fmla="*/ 146440 h 170846"/>
                  <a:gd name="connsiteX5" fmla="*/ 77535 w 104734"/>
                  <a:gd name="connsiteY5" fmla="*/ 6101 h 170846"/>
                  <a:gd name="connsiteX6" fmla="*/ 80586 w 104734"/>
                  <a:gd name="connsiteY6" fmla="*/ 0 h 170846"/>
                  <a:gd name="connsiteX7" fmla="*/ 86687 w 104734"/>
                  <a:gd name="connsiteY7" fmla="*/ 3050 h 170846"/>
                  <a:gd name="connsiteX8" fmla="*/ 95840 w 104734"/>
                  <a:gd name="connsiteY8" fmla="*/ 152542 h 170846"/>
                  <a:gd name="connsiteX9" fmla="*/ 43976 w 104734"/>
                  <a:gd name="connsiteY9" fmla="*/ 170847 h 170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4734" h="170846">
                    <a:moveTo>
                      <a:pt x="43976" y="170847"/>
                    </a:moveTo>
                    <a:cubicBezTo>
                      <a:pt x="25670" y="170847"/>
                      <a:pt x="7365" y="167797"/>
                      <a:pt x="4315" y="167797"/>
                    </a:cubicBezTo>
                    <a:cubicBezTo>
                      <a:pt x="1264" y="167797"/>
                      <a:pt x="-1787" y="164746"/>
                      <a:pt x="1264" y="161695"/>
                    </a:cubicBezTo>
                    <a:cubicBezTo>
                      <a:pt x="1264" y="158644"/>
                      <a:pt x="4315" y="155592"/>
                      <a:pt x="7365" y="158644"/>
                    </a:cubicBezTo>
                    <a:cubicBezTo>
                      <a:pt x="25670" y="161695"/>
                      <a:pt x="77535" y="167797"/>
                      <a:pt x="86687" y="146440"/>
                    </a:cubicBezTo>
                    <a:cubicBezTo>
                      <a:pt x="111094" y="106780"/>
                      <a:pt x="77535" y="6101"/>
                      <a:pt x="77535" y="6101"/>
                    </a:cubicBezTo>
                    <a:cubicBezTo>
                      <a:pt x="77535" y="3050"/>
                      <a:pt x="77535" y="0"/>
                      <a:pt x="80586" y="0"/>
                    </a:cubicBezTo>
                    <a:cubicBezTo>
                      <a:pt x="83636" y="0"/>
                      <a:pt x="86687" y="0"/>
                      <a:pt x="86687" y="3050"/>
                    </a:cubicBezTo>
                    <a:cubicBezTo>
                      <a:pt x="86687" y="6101"/>
                      <a:pt x="120247" y="109830"/>
                      <a:pt x="95840" y="152542"/>
                    </a:cubicBezTo>
                    <a:cubicBezTo>
                      <a:pt x="86687" y="167797"/>
                      <a:pt x="65332" y="170847"/>
                      <a:pt x="43976" y="17084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0C8151DA-D66F-4F56-800E-9F53C8B76098}"/>
                  </a:ext>
                </a:extLst>
              </p:cNvPr>
              <p:cNvSpPr/>
              <p:nvPr/>
            </p:nvSpPr>
            <p:spPr>
              <a:xfrm>
                <a:off x="6580848" y="9861380"/>
                <a:ext cx="100678" cy="39660"/>
              </a:xfrm>
              <a:custGeom>
                <a:avLst/>
                <a:gdLst>
                  <a:gd name="connsiteX0" fmla="*/ 94576 w 100678"/>
                  <a:gd name="connsiteY0" fmla="*/ 39661 h 39660"/>
                  <a:gd name="connsiteX1" fmla="*/ 94576 w 100678"/>
                  <a:gd name="connsiteY1" fmla="*/ 39661 h 39660"/>
                  <a:gd name="connsiteX2" fmla="*/ 3051 w 100678"/>
                  <a:gd name="connsiteY2" fmla="*/ 9152 h 39660"/>
                  <a:gd name="connsiteX3" fmla="*/ 0 w 100678"/>
                  <a:gd name="connsiteY3" fmla="*/ 3051 h 39660"/>
                  <a:gd name="connsiteX4" fmla="*/ 6102 w 100678"/>
                  <a:gd name="connsiteY4" fmla="*/ 0 h 39660"/>
                  <a:gd name="connsiteX5" fmla="*/ 94576 w 100678"/>
                  <a:gd name="connsiteY5" fmla="*/ 30508 h 39660"/>
                  <a:gd name="connsiteX6" fmla="*/ 100678 w 100678"/>
                  <a:gd name="connsiteY6" fmla="*/ 36610 h 39660"/>
                  <a:gd name="connsiteX7" fmla="*/ 94576 w 100678"/>
                  <a:gd name="connsiteY7" fmla="*/ 39661 h 39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0678" h="39660">
                    <a:moveTo>
                      <a:pt x="94576" y="39661"/>
                    </a:moveTo>
                    <a:cubicBezTo>
                      <a:pt x="94576" y="39661"/>
                      <a:pt x="94576" y="39661"/>
                      <a:pt x="94576" y="39661"/>
                    </a:cubicBezTo>
                    <a:cubicBezTo>
                      <a:pt x="70170" y="39661"/>
                      <a:pt x="6102" y="12203"/>
                      <a:pt x="3051" y="9152"/>
                    </a:cubicBezTo>
                    <a:cubicBezTo>
                      <a:pt x="0" y="9152"/>
                      <a:pt x="0" y="6101"/>
                      <a:pt x="0" y="3051"/>
                    </a:cubicBezTo>
                    <a:cubicBezTo>
                      <a:pt x="0" y="0"/>
                      <a:pt x="6102" y="0"/>
                      <a:pt x="6102" y="0"/>
                    </a:cubicBezTo>
                    <a:cubicBezTo>
                      <a:pt x="24407" y="9152"/>
                      <a:pt x="76271" y="27457"/>
                      <a:pt x="94576" y="30508"/>
                    </a:cubicBezTo>
                    <a:cubicBezTo>
                      <a:pt x="97627" y="30508"/>
                      <a:pt x="100678" y="33560"/>
                      <a:pt x="100678" y="36610"/>
                    </a:cubicBezTo>
                    <a:cubicBezTo>
                      <a:pt x="100678" y="36610"/>
                      <a:pt x="97627" y="39661"/>
                      <a:pt x="94576" y="3966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4686E9A2-AD1A-437D-97F4-3A074CD8D76F}"/>
                </a:ext>
              </a:extLst>
            </p:cNvPr>
            <p:cNvSpPr/>
            <p:nvPr/>
          </p:nvSpPr>
          <p:spPr>
            <a:xfrm>
              <a:off x="6428998" y="8406932"/>
              <a:ext cx="1101262" cy="1315915"/>
            </a:xfrm>
            <a:custGeom>
              <a:avLst/>
              <a:gdLst>
                <a:gd name="connsiteX0" fmla="*/ 1091511 w 1101262"/>
                <a:gd name="connsiteY0" fmla="*/ 69363 h 1315915"/>
                <a:gd name="connsiteX1" fmla="*/ 777273 w 1101262"/>
                <a:gd name="connsiteY1" fmla="*/ 481227 h 1315915"/>
                <a:gd name="connsiteX2" fmla="*/ 371511 w 1101262"/>
                <a:gd name="connsiteY2" fmla="*/ 706990 h 1315915"/>
                <a:gd name="connsiteX3" fmla="*/ 304392 w 1101262"/>
                <a:gd name="connsiteY3" fmla="*/ 1283600 h 1315915"/>
                <a:gd name="connsiteX4" fmla="*/ 106087 w 1101262"/>
                <a:gd name="connsiteY4" fmla="*/ 1314108 h 1315915"/>
                <a:gd name="connsiteX5" fmla="*/ 45070 w 1101262"/>
                <a:gd name="connsiteY5" fmla="*/ 536142 h 1315915"/>
                <a:gd name="connsiteX6" fmla="*/ 1091511 w 1101262"/>
                <a:gd name="connsiteY6" fmla="*/ 69363 h 1315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1262" h="1315915">
                  <a:moveTo>
                    <a:pt x="1091511" y="69363"/>
                  </a:moveTo>
                  <a:cubicBezTo>
                    <a:pt x="1155579" y="188346"/>
                    <a:pt x="887104" y="411057"/>
                    <a:pt x="777273" y="481227"/>
                  </a:cubicBezTo>
                  <a:cubicBezTo>
                    <a:pt x="679646" y="545295"/>
                    <a:pt x="371511" y="706990"/>
                    <a:pt x="371511" y="706990"/>
                  </a:cubicBezTo>
                  <a:cubicBezTo>
                    <a:pt x="371511" y="706990"/>
                    <a:pt x="395917" y="1170718"/>
                    <a:pt x="304392" y="1283600"/>
                  </a:cubicBezTo>
                  <a:cubicBezTo>
                    <a:pt x="258629" y="1311057"/>
                    <a:pt x="182358" y="1320210"/>
                    <a:pt x="106087" y="1314108"/>
                  </a:cubicBezTo>
                  <a:cubicBezTo>
                    <a:pt x="-49506" y="1243939"/>
                    <a:pt x="-693" y="655125"/>
                    <a:pt x="45070" y="536142"/>
                  </a:cubicBezTo>
                  <a:cubicBezTo>
                    <a:pt x="93884" y="401905"/>
                    <a:pt x="948121" y="-202163"/>
                    <a:pt x="1091511" y="69363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C92B9B08-FBB5-48BA-8413-0F2BE849266E}"/>
                </a:ext>
              </a:extLst>
            </p:cNvPr>
            <p:cNvSpPr/>
            <p:nvPr/>
          </p:nvSpPr>
          <p:spPr>
            <a:xfrm>
              <a:off x="7198906" y="8415278"/>
              <a:ext cx="334060" cy="478982"/>
            </a:xfrm>
            <a:custGeom>
              <a:avLst/>
              <a:gdLst>
                <a:gd name="connsiteX0" fmla="*/ 7365 w 334060"/>
                <a:gd name="connsiteY0" fmla="*/ 478983 h 478982"/>
                <a:gd name="connsiteX1" fmla="*/ 1264 w 334060"/>
                <a:gd name="connsiteY1" fmla="*/ 475932 h 478982"/>
                <a:gd name="connsiteX2" fmla="*/ 4315 w 334060"/>
                <a:gd name="connsiteY2" fmla="*/ 466780 h 478982"/>
                <a:gd name="connsiteX3" fmla="*/ 278891 w 334060"/>
                <a:gd name="connsiteY3" fmla="*/ 210509 h 478982"/>
                <a:gd name="connsiteX4" fmla="*/ 315501 w 334060"/>
                <a:gd name="connsiteY4" fmla="*/ 64068 h 478982"/>
                <a:gd name="connsiteX5" fmla="*/ 263637 w 334060"/>
                <a:gd name="connsiteY5" fmla="*/ 9153 h 478982"/>
                <a:gd name="connsiteX6" fmla="*/ 260586 w 334060"/>
                <a:gd name="connsiteY6" fmla="*/ 3051 h 478982"/>
                <a:gd name="connsiteX7" fmla="*/ 266687 w 334060"/>
                <a:gd name="connsiteY7" fmla="*/ 0 h 478982"/>
                <a:gd name="connsiteX8" fmla="*/ 327704 w 334060"/>
                <a:gd name="connsiteY8" fmla="*/ 61017 h 478982"/>
                <a:gd name="connsiteX9" fmla="*/ 291094 w 334060"/>
                <a:gd name="connsiteY9" fmla="*/ 216610 h 478982"/>
                <a:gd name="connsiteX10" fmla="*/ 7365 w 334060"/>
                <a:gd name="connsiteY10" fmla="*/ 478983 h 478982"/>
                <a:gd name="connsiteX11" fmla="*/ 7365 w 334060"/>
                <a:gd name="connsiteY11" fmla="*/ 478983 h 478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4060" h="478982">
                  <a:moveTo>
                    <a:pt x="7365" y="478983"/>
                  </a:moveTo>
                  <a:cubicBezTo>
                    <a:pt x="4315" y="478983"/>
                    <a:pt x="4315" y="478983"/>
                    <a:pt x="1264" y="475932"/>
                  </a:cubicBezTo>
                  <a:cubicBezTo>
                    <a:pt x="-1787" y="472881"/>
                    <a:pt x="1264" y="469831"/>
                    <a:pt x="4315" y="466780"/>
                  </a:cubicBezTo>
                  <a:cubicBezTo>
                    <a:pt x="7365" y="466780"/>
                    <a:pt x="184314" y="363051"/>
                    <a:pt x="278891" y="210509"/>
                  </a:cubicBezTo>
                  <a:cubicBezTo>
                    <a:pt x="315501" y="152542"/>
                    <a:pt x="327704" y="103729"/>
                    <a:pt x="315501" y="64068"/>
                  </a:cubicBezTo>
                  <a:cubicBezTo>
                    <a:pt x="300247" y="24407"/>
                    <a:pt x="263637" y="9153"/>
                    <a:pt x="263637" y="9153"/>
                  </a:cubicBezTo>
                  <a:cubicBezTo>
                    <a:pt x="260586" y="9153"/>
                    <a:pt x="260586" y="6102"/>
                    <a:pt x="260586" y="3051"/>
                  </a:cubicBezTo>
                  <a:cubicBezTo>
                    <a:pt x="260586" y="0"/>
                    <a:pt x="263637" y="0"/>
                    <a:pt x="266687" y="0"/>
                  </a:cubicBezTo>
                  <a:cubicBezTo>
                    <a:pt x="269738" y="0"/>
                    <a:pt x="309399" y="15254"/>
                    <a:pt x="327704" y="61017"/>
                  </a:cubicBezTo>
                  <a:cubicBezTo>
                    <a:pt x="342958" y="103729"/>
                    <a:pt x="330755" y="155593"/>
                    <a:pt x="291094" y="216610"/>
                  </a:cubicBezTo>
                  <a:cubicBezTo>
                    <a:pt x="190416" y="372203"/>
                    <a:pt x="10416" y="475932"/>
                    <a:pt x="7365" y="478983"/>
                  </a:cubicBezTo>
                  <a:cubicBezTo>
                    <a:pt x="7365" y="478983"/>
                    <a:pt x="7365" y="478983"/>
                    <a:pt x="7365" y="478983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D433E011-632D-4E42-88EB-3906531A6CDB}"/>
                </a:ext>
              </a:extLst>
            </p:cNvPr>
            <p:cNvSpPr/>
            <p:nvPr/>
          </p:nvSpPr>
          <p:spPr>
            <a:xfrm>
              <a:off x="6724238" y="9004091"/>
              <a:ext cx="79321" cy="115932"/>
            </a:xfrm>
            <a:custGeom>
              <a:avLst/>
              <a:gdLst>
                <a:gd name="connsiteX0" fmla="*/ 76271 w 79321"/>
                <a:gd name="connsiteY0" fmla="*/ 115932 h 115932"/>
                <a:gd name="connsiteX1" fmla="*/ 76271 w 79321"/>
                <a:gd name="connsiteY1" fmla="*/ 115932 h 115932"/>
                <a:gd name="connsiteX2" fmla="*/ 6102 w 79321"/>
                <a:gd name="connsiteY2" fmla="*/ 85424 h 115932"/>
                <a:gd name="connsiteX3" fmla="*/ 0 w 79321"/>
                <a:gd name="connsiteY3" fmla="*/ 79322 h 115932"/>
                <a:gd name="connsiteX4" fmla="*/ 6102 w 79321"/>
                <a:gd name="connsiteY4" fmla="*/ 73220 h 115932"/>
                <a:gd name="connsiteX5" fmla="*/ 61017 w 79321"/>
                <a:gd name="connsiteY5" fmla="*/ 91525 h 115932"/>
                <a:gd name="connsiteX6" fmla="*/ 3051 w 79321"/>
                <a:gd name="connsiteY6" fmla="*/ 12203 h 115932"/>
                <a:gd name="connsiteX7" fmla="*/ 0 w 79321"/>
                <a:gd name="connsiteY7" fmla="*/ 3051 h 115932"/>
                <a:gd name="connsiteX8" fmla="*/ 9152 w 79321"/>
                <a:gd name="connsiteY8" fmla="*/ 0 h 115932"/>
                <a:gd name="connsiteX9" fmla="*/ 79322 w 79321"/>
                <a:gd name="connsiteY9" fmla="*/ 100678 h 115932"/>
                <a:gd name="connsiteX10" fmla="*/ 79322 w 79321"/>
                <a:gd name="connsiteY10" fmla="*/ 106780 h 115932"/>
                <a:gd name="connsiteX11" fmla="*/ 76271 w 79321"/>
                <a:gd name="connsiteY11" fmla="*/ 115932 h 11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9321" h="115932">
                  <a:moveTo>
                    <a:pt x="76271" y="115932"/>
                  </a:moveTo>
                  <a:cubicBezTo>
                    <a:pt x="76271" y="115932"/>
                    <a:pt x="73220" y="115932"/>
                    <a:pt x="76271" y="115932"/>
                  </a:cubicBezTo>
                  <a:cubicBezTo>
                    <a:pt x="73220" y="115932"/>
                    <a:pt x="30508" y="88474"/>
                    <a:pt x="6102" y="85424"/>
                  </a:cubicBezTo>
                  <a:cubicBezTo>
                    <a:pt x="3051" y="85424"/>
                    <a:pt x="0" y="82373"/>
                    <a:pt x="0" y="79322"/>
                  </a:cubicBezTo>
                  <a:cubicBezTo>
                    <a:pt x="0" y="76271"/>
                    <a:pt x="3051" y="73220"/>
                    <a:pt x="6102" y="73220"/>
                  </a:cubicBezTo>
                  <a:cubicBezTo>
                    <a:pt x="24406" y="76271"/>
                    <a:pt x="45763" y="85424"/>
                    <a:pt x="61017" y="91525"/>
                  </a:cubicBezTo>
                  <a:cubicBezTo>
                    <a:pt x="45763" y="64068"/>
                    <a:pt x="18305" y="21356"/>
                    <a:pt x="3051" y="12203"/>
                  </a:cubicBezTo>
                  <a:cubicBezTo>
                    <a:pt x="0" y="9153"/>
                    <a:pt x="0" y="6102"/>
                    <a:pt x="0" y="3051"/>
                  </a:cubicBezTo>
                  <a:cubicBezTo>
                    <a:pt x="3051" y="0"/>
                    <a:pt x="6102" y="0"/>
                    <a:pt x="9152" y="0"/>
                  </a:cubicBezTo>
                  <a:cubicBezTo>
                    <a:pt x="30508" y="15254"/>
                    <a:pt x="73220" y="91525"/>
                    <a:pt x="79322" y="100678"/>
                  </a:cubicBezTo>
                  <a:cubicBezTo>
                    <a:pt x="79322" y="103729"/>
                    <a:pt x="79322" y="106780"/>
                    <a:pt x="79322" y="106780"/>
                  </a:cubicBezTo>
                  <a:cubicBezTo>
                    <a:pt x="79322" y="115932"/>
                    <a:pt x="76271" y="115932"/>
                    <a:pt x="76271" y="115932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884AC330-936A-4A61-96D7-BD01996876DF}"/>
                </a:ext>
              </a:extLst>
            </p:cNvPr>
            <p:cNvSpPr/>
            <p:nvPr/>
          </p:nvSpPr>
          <p:spPr>
            <a:xfrm>
              <a:off x="6453849" y="9634059"/>
              <a:ext cx="334215" cy="132267"/>
            </a:xfrm>
            <a:custGeom>
              <a:avLst/>
              <a:gdLst>
                <a:gd name="connsiteX0" fmla="*/ 44626 w 334215"/>
                <a:gd name="connsiteY0" fmla="*/ 38168 h 132267"/>
                <a:gd name="connsiteX1" fmla="*/ 264287 w 334215"/>
                <a:gd name="connsiteY1" fmla="*/ 4608 h 132267"/>
                <a:gd name="connsiteX2" fmla="*/ 310050 w 334215"/>
                <a:gd name="connsiteY2" fmla="*/ 83930 h 132267"/>
                <a:gd name="connsiteX3" fmla="*/ 44626 w 334215"/>
                <a:gd name="connsiteY3" fmla="*/ 129693 h 132267"/>
                <a:gd name="connsiteX4" fmla="*/ 44626 w 334215"/>
                <a:gd name="connsiteY4" fmla="*/ 38168 h 132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4215" h="132267">
                  <a:moveTo>
                    <a:pt x="44626" y="38168"/>
                  </a:moveTo>
                  <a:cubicBezTo>
                    <a:pt x="120897" y="44270"/>
                    <a:pt x="194118" y="35117"/>
                    <a:pt x="264287" y="4608"/>
                  </a:cubicBezTo>
                  <a:cubicBezTo>
                    <a:pt x="316152" y="-19798"/>
                    <a:pt x="364965" y="59524"/>
                    <a:pt x="310050" y="83930"/>
                  </a:cubicBezTo>
                  <a:cubicBezTo>
                    <a:pt x="224626" y="123592"/>
                    <a:pt x="136151" y="138846"/>
                    <a:pt x="44626" y="129693"/>
                  </a:cubicBezTo>
                  <a:cubicBezTo>
                    <a:pt x="-13340" y="123592"/>
                    <a:pt x="-16391" y="32066"/>
                    <a:pt x="44626" y="38168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6" name="图形 1">
            <a:extLst>
              <a:ext uri="{FF2B5EF4-FFF2-40B4-BE49-F238E27FC236}">
                <a16:creationId xmlns:a16="http://schemas.microsoft.com/office/drawing/2014/main" id="{85C15C29-3D09-4961-AD12-B62DE6824CED}"/>
              </a:ext>
            </a:extLst>
          </p:cNvPr>
          <p:cNvGrpSpPr/>
          <p:nvPr/>
        </p:nvGrpSpPr>
        <p:grpSpPr>
          <a:xfrm>
            <a:off x="6171222" y="1902010"/>
            <a:ext cx="2636539" cy="4867499"/>
            <a:chOff x="9833051" y="7550491"/>
            <a:chExt cx="2636539" cy="4867499"/>
          </a:xfrm>
        </p:grpSpPr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11F342D7-4873-4832-ABB6-4DB18C88BA67}"/>
                </a:ext>
              </a:extLst>
            </p:cNvPr>
            <p:cNvSpPr/>
            <p:nvPr/>
          </p:nvSpPr>
          <p:spPr>
            <a:xfrm>
              <a:off x="10082264" y="8495808"/>
              <a:ext cx="1257929" cy="1120363"/>
            </a:xfrm>
            <a:custGeom>
              <a:avLst/>
              <a:gdLst>
                <a:gd name="connsiteX0" fmla="*/ 1184686 w 1257929"/>
                <a:gd name="connsiteY0" fmla="*/ 7945 h 1120363"/>
                <a:gd name="connsiteX1" fmla="*/ 781974 w 1257929"/>
                <a:gd name="connsiteY1" fmla="*/ 334385 h 1120363"/>
                <a:gd name="connsiteX2" fmla="*/ 568414 w 1257929"/>
                <a:gd name="connsiteY2" fmla="*/ 746250 h 1120363"/>
                <a:gd name="connsiteX3" fmla="*/ 10110 w 1257929"/>
                <a:gd name="connsiteY3" fmla="*/ 849978 h 1120363"/>
                <a:gd name="connsiteX4" fmla="*/ 4007 w 1257929"/>
                <a:gd name="connsiteY4" fmla="*/ 1017775 h 1120363"/>
                <a:gd name="connsiteX5" fmla="*/ 754516 w 1257929"/>
                <a:gd name="connsiteY5" fmla="*/ 1069639 h 1120363"/>
                <a:gd name="connsiteX6" fmla="*/ 1184686 w 1257929"/>
                <a:gd name="connsiteY6" fmla="*/ 7945 h 1120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7929" h="1120363">
                  <a:moveTo>
                    <a:pt x="1184686" y="7945"/>
                  </a:moveTo>
                  <a:cubicBezTo>
                    <a:pt x="1062652" y="-50022"/>
                    <a:pt x="849093" y="224554"/>
                    <a:pt x="781974" y="334385"/>
                  </a:cubicBezTo>
                  <a:cubicBezTo>
                    <a:pt x="720957" y="432012"/>
                    <a:pt x="568414" y="746250"/>
                    <a:pt x="568414" y="746250"/>
                  </a:cubicBezTo>
                  <a:cubicBezTo>
                    <a:pt x="568414" y="746250"/>
                    <a:pt x="46720" y="737097"/>
                    <a:pt x="10110" y="849978"/>
                  </a:cubicBezTo>
                  <a:cubicBezTo>
                    <a:pt x="-2094" y="910995"/>
                    <a:pt x="-2094" y="978114"/>
                    <a:pt x="4007" y="1017775"/>
                  </a:cubicBezTo>
                  <a:cubicBezTo>
                    <a:pt x="107737" y="1173368"/>
                    <a:pt x="635533" y="1118453"/>
                    <a:pt x="754516" y="1069639"/>
                  </a:cubicBezTo>
                  <a:cubicBezTo>
                    <a:pt x="882652" y="1014724"/>
                    <a:pt x="1459262" y="142182"/>
                    <a:pt x="1184686" y="7945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8" name="图形 1">
              <a:extLst>
                <a:ext uri="{FF2B5EF4-FFF2-40B4-BE49-F238E27FC236}">
                  <a16:creationId xmlns:a16="http://schemas.microsoft.com/office/drawing/2014/main" id="{E4ACB73B-C66A-4FB8-8079-E788B53E77B5}"/>
                </a:ext>
              </a:extLst>
            </p:cNvPr>
            <p:cNvGrpSpPr/>
            <p:nvPr/>
          </p:nvGrpSpPr>
          <p:grpSpPr>
            <a:xfrm>
              <a:off x="9895688" y="8438117"/>
              <a:ext cx="1190336" cy="1248592"/>
              <a:chOff x="9895688" y="8438117"/>
              <a:chExt cx="1190336" cy="1248592"/>
            </a:xfrm>
          </p:grpSpPr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9D0E2636-E697-48FA-9AC2-3DAE2F9C72B0}"/>
                  </a:ext>
                </a:extLst>
              </p:cNvPr>
              <p:cNvSpPr/>
              <p:nvPr/>
            </p:nvSpPr>
            <p:spPr>
              <a:xfrm rot="-10800000">
                <a:off x="9895688" y="8945353"/>
                <a:ext cx="976271" cy="741355"/>
              </a:xfrm>
              <a:custGeom>
                <a:avLst/>
                <a:gdLst>
                  <a:gd name="connsiteX0" fmla="*/ 0 w 976271"/>
                  <a:gd name="connsiteY0" fmla="*/ 0 h 741355"/>
                  <a:gd name="connsiteX1" fmla="*/ 976271 w 976271"/>
                  <a:gd name="connsiteY1" fmla="*/ 0 h 741355"/>
                  <a:gd name="connsiteX2" fmla="*/ 976271 w 976271"/>
                  <a:gd name="connsiteY2" fmla="*/ 741356 h 741355"/>
                  <a:gd name="connsiteX3" fmla="*/ 0 w 976271"/>
                  <a:gd name="connsiteY3" fmla="*/ 741356 h 74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6271" h="741355">
                    <a:moveTo>
                      <a:pt x="0" y="0"/>
                    </a:moveTo>
                    <a:lnTo>
                      <a:pt x="976271" y="0"/>
                    </a:lnTo>
                    <a:lnTo>
                      <a:pt x="976271" y="741356"/>
                    </a:lnTo>
                    <a:lnTo>
                      <a:pt x="0" y="741356"/>
                    </a:lnTo>
                    <a:close/>
                  </a:path>
                </a:pathLst>
              </a:custGeom>
              <a:solidFill>
                <a:srgbClr val="E5CDA5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76465FE3-957B-4A29-B52A-0A33DEFB2A17}"/>
                  </a:ext>
                </a:extLst>
              </p:cNvPr>
              <p:cNvSpPr/>
              <p:nvPr/>
            </p:nvSpPr>
            <p:spPr>
              <a:xfrm rot="-10800000">
                <a:off x="10106703" y="8945353"/>
                <a:ext cx="979322" cy="741355"/>
              </a:xfrm>
              <a:custGeom>
                <a:avLst/>
                <a:gdLst>
                  <a:gd name="connsiteX0" fmla="*/ 0 w 979322"/>
                  <a:gd name="connsiteY0" fmla="*/ 0 h 741355"/>
                  <a:gd name="connsiteX1" fmla="*/ 979322 w 979322"/>
                  <a:gd name="connsiteY1" fmla="*/ 0 h 741355"/>
                  <a:gd name="connsiteX2" fmla="*/ 979322 w 979322"/>
                  <a:gd name="connsiteY2" fmla="*/ 741356 h 741355"/>
                  <a:gd name="connsiteX3" fmla="*/ 0 w 979322"/>
                  <a:gd name="connsiteY3" fmla="*/ 741356 h 74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322" h="741355">
                    <a:moveTo>
                      <a:pt x="0" y="0"/>
                    </a:moveTo>
                    <a:lnTo>
                      <a:pt x="979322" y="0"/>
                    </a:lnTo>
                    <a:lnTo>
                      <a:pt x="979322" y="741356"/>
                    </a:lnTo>
                    <a:lnTo>
                      <a:pt x="0" y="741356"/>
                    </a:ln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1694EA16-BFA2-4C77-A821-B8EDE740A7F1}"/>
                  </a:ext>
                </a:extLst>
              </p:cNvPr>
              <p:cNvSpPr/>
              <p:nvPr/>
            </p:nvSpPr>
            <p:spPr>
              <a:xfrm rot="-10800000">
                <a:off x="10530771" y="8945353"/>
                <a:ext cx="134237" cy="741355"/>
              </a:xfrm>
              <a:custGeom>
                <a:avLst/>
                <a:gdLst>
                  <a:gd name="connsiteX0" fmla="*/ 0 w 134237"/>
                  <a:gd name="connsiteY0" fmla="*/ 0 h 741355"/>
                  <a:gd name="connsiteX1" fmla="*/ 134237 w 134237"/>
                  <a:gd name="connsiteY1" fmla="*/ 0 h 741355"/>
                  <a:gd name="connsiteX2" fmla="*/ 134237 w 134237"/>
                  <a:gd name="connsiteY2" fmla="*/ 741356 h 741355"/>
                  <a:gd name="connsiteX3" fmla="*/ 0 w 134237"/>
                  <a:gd name="connsiteY3" fmla="*/ 741356 h 74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237" h="741355">
                    <a:moveTo>
                      <a:pt x="0" y="0"/>
                    </a:moveTo>
                    <a:lnTo>
                      <a:pt x="134237" y="0"/>
                    </a:lnTo>
                    <a:lnTo>
                      <a:pt x="134237" y="741356"/>
                    </a:lnTo>
                    <a:lnTo>
                      <a:pt x="0" y="741356"/>
                    </a:ln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C9E2835C-4F75-4C51-BD07-8DB55B36702A}"/>
                  </a:ext>
                </a:extLst>
              </p:cNvPr>
              <p:cNvSpPr/>
              <p:nvPr/>
            </p:nvSpPr>
            <p:spPr>
              <a:xfrm>
                <a:off x="10086911" y="8438117"/>
                <a:ext cx="737744" cy="548535"/>
              </a:xfrm>
              <a:custGeom>
                <a:avLst/>
                <a:gdLst>
                  <a:gd name="connsiteX0" fmla="*/ 106140 w 737744"/>
                  <a:gd name="connsiteY0" fmla="*/ 389025 h 548535"/>
                  <a:gd name="connsiteX1" fmla="*/ 487496 w 737744"/>
                  <a:gd name="connsiteY1" fmla="*/ 532415 h 548535"/>
                  <a:gd name="connsiteX2" fmla="*/ 505801 w 737744"/>
                  <a:gd name="connsiteY2" fmla="*/ 544619 h 548535"/>
                  <a:gd name="connsiteX3" fmla="*/ 551564 w 737744"/>
                  <a:gd name="connsiteY3" fmla="*/ 517161 h 548535"/>
                  <a:gd name="connsiteX4" fmla="*/ 737666 w 737744"/>
                  <a:gd name="connsiteY4" fmla="*/ 230381 h 548535"/>
                  <a:gd name="connsiteX5" fmla="*/ 572920 w 737744"/>
                  <a:gd name="connsiteY5" fmla="*/ 1568 h 548535"/>
                  <a:gd name="connsiteX6" fmla="*/ 414276 w 737744"/>
                  <a:gd name="connsiteY6" fmla="*/ 209025 h 548535"/>
                  <a:gd name="connsiteX7" fmla="*/ 405123 w 737744"/>
                  <a:gd name="connsiteY7" fmla="*/ 297500 h 548535"/>
                  <a:gd name="connsiteX8" fmla="*/ 283090 w 737744"/>
                  <a:gd name="connsiteY8" fmla="*/ 148009 h 548535"/>
                  <a:gd name="connsiteX9" fmla="*/ 17665 w 737744"/>
                  <a:gd name="connsiteY9" fmla="*/ 141907 h 548535"/>
                  <a:gd name="connsiteX10" fmla="*/ 106140 w 737744"/>
                  <a:gd name="connsiteY10" fmla="*/ 389025 h 548535"/>
                  <a:gd name="connsiteX11" fmla="*/ 417327 w 737744"/>
                  <a:gd name="connsiteY11" fmla="*/ 428686 h 548535"/>
                  <a:gd name="connsiteX12" fmla="*/ 423429 w 737744"/>
                  <a:gd name="connsiteY12" fmla="*/ 450042 h 548535"/>
                  <a:gd name="connsiteX13" fmla="*/ 292242 w 737744"/>
                  <a:gd name="connsiteY13" fmla="*/ 379873 h 548535"/>
                  <a:gd name="connsiteX14" fmla="*/ 197665 w 737744"/>
                  <a:gd name="connsiteY14" fmla="*/ 309704 h 548535"/>
                  <a:gd name="connsiteX15" fmla="*/ 212920 w 737744"/>
                  <a:gd name="connsiteY15" fmla="*/ 202924 h 548535"/>
                  <a:gd name="connsiteX16" fmla="*/ 417327 w 737744"/>
                  <a:gd name="connsiteY16" fmla="*/ 428686 h 548535"/>
                  <a:gd name="connsiteX17" fmla="*/ 514954 w 737744"/>
                  <a:gd name="connsiteY17" fmla="*/ 431737 h 548535"/>
                  <a:gd name="connsiteX18" fmla="*/ 496649 w 737744"/>
                  <a:gd name="connsiteY18" fmla="*/ 181568 h 548535"/>
                  <a:gd name="connsiteX19" fmla="*/ 603429 w 737744"/>
                  <a:gd name="connsiteY19" fmla="*/ 144957 h 548535"/>
                  <a:gd name="connsiteX20" fmla="*/ 588174 w 737744"/>
                  <a:gd name="connsiteY20" fmla="*/ 315805 h 548535"/>
                  <a:gd name="connsiteX21" fmla="*/ 514954 w 737744"/>
                  <a:gd name="connsiteY21" fmla="*/ 431737 h 548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37744" h="548535">
                    <a:moveTo>
                      <a:pt x="106140" y="389025"/>
                    </a:moveTo>
                    <a:cubicBezTo>
                      <a:pt x="212920" y="477500"/>
                      <a:pt x="356310" y="501907"/>
                      <a:pt x="487496" y="532415"/>
                    </a:cubicBezTo>
                    <a:cubicBezTo>
                      <a:pt x="493598" y="535466"/>
                      <a:pt x="499700" y="541568"/>
                      <a:pt x="505801" y="544619"/>
                    </a:cubicBezTo>
                    <a:cubicBezTo>
                      <a:pt x="527157" y="556822"/>
                      <a:pt x="551564" y="538517"/>
                      <a:pt x="551564" y="517161"/>
                    </a:cubicBezTo>
                    <a:cubicBezTo>
                      <a:pt x="655292" y="459195"/>
                      <a:pt x="740717" y="355466"/>
                      <a:pt x="737666" y="230381"/>
                    </a:cubicBezTo>
                    <a:cubicBezTo>
                      <a:pt x="734615" y="138856"/>
                      <a:pt x="673598" y="16822"/>
                      <a:pt x="572920" y="1568"/>
                    </a:cubicBezTo>
                    <a:cubicBezTo>
                      <a:pt x="463089" y="-16738"/>
                      <a:pt x="426479" y="129703"/>
                      <a:pt x="414276" y="209025"/>
                    </a:cubicBezTo>
                    <a:cubicBezTo>
                      <a:pt x="411225" y="239534"/>
                      <a:pt x="405123" y="266991"/>
                      <a:pt x="405123" y="297500"/>
                    </a:cubicBezTo>
                    <a:cubicBezTo>
                      <a:pt x="371564" y="242585"/>
                      <a:pt x="334953" y="187670"/>
                      <a:pt x="283090" y="148009"/>
                    </a:cubicBezTo>
                    <a:cubicBezTo>
                      <a:pt x="219022" y="99195"/>
                      <a:pt x="75631" y="56483"/>
                      <a:pt x="17665" y="141907"/>
                    </a:cubicBezTo>
                    <a:cubicBezTo>
                      <a:pt x="-37249" y="224280"/>
                      <a:pt x="48174" y="340212"/>
                      <a:pt x="106140" y="389025"/>
                    </a:cubicBezTo>
                    <a:close/>
                    <a:moveTo>
                      <a:pt x="417327" y="428686"/>
                    </a:moveTo>
                    <a:cubicBezTo>
                      <a:pt x="420378" y="434788"/>
                      <a:pt x="423429" y="440890"/>
                      <a:pt x="423429" y="450042"/>
                    </a:cubicBezTo>
                    <a:cubicBezTo>
                      <a:pt x="377666" y="431737"/>
                      <a:pt x="334953" y="407331"/>
                      <a:pt x="292242" y="379873"/>
                    </a:cubicBezTo>
                    <a:cubicBezTo>
                      <a:pt x="261733" y="361568"/>
                      <a:pt x="222073" y="337161"/>
                      <a:pt x="197665" y="309704"/>
                    </a:cubicBezTo>
                    <a:cubicBezTo>
                      <a:pt x="158005" y="263941"/>
                      <a:pt x="176310" y="212076"/>
                      <a:pt x="212920" y="202924"/>
                    </a:cubicBezTo>
                    <a:cubicBezTo>
                      <a:pt x="319699" y="221229"/>
                      <a:pt x="383767" y="376822"/>
                      <a:pt x="417327" y="428686"/>
                    </a:cubicBezTo>
                    <a:close/>
                    <a:moveTo>
                      <a:pt x="514954" y="431737"/>
                    </a:moveTo>
                    <a:cubicBezTo>
                      <a:pt x="487496" y="352415"/>
                      <a:pt x="478344" y="254788"/>
                      <a:pt x="496649" y="181568"/>
                    </a:cubicBezTo>
                    <a:cubicBezTo>
                      <a:pt x="511903" y="123602"/>
                      <a:pt x="572920" y="74788"/>
                      <a:pt x="603429" y="144957"/>
                    </a:cubicBezTo>
                    <a:cubicBezTo>
                      <a:pt x="630886" y="205974"/>
                      <a:pt x="612581" y="260890"/>
                      <a:pt x="588174" y="315805"/>
                    </a:cubicBezTo>
                    <a:cubicBezTo>
                      <a:pt x="566818" y="358517"/>
                      <a:pt x="542412" y="398178"/>
                      <a:pt x="514954" y="431737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9AB08D75-971F-4D30-9BAC-F24490F1D725}"/>
                  </a:ext>
                </a:extLst>
              </p:cNvPr>
              <p:cNvSpPr/>
              <p:nvPr/>
            </p:nvSpPr>
            <p:spPr>
              <a:xfrm>
                <a:off x="10612458" y="8927487"/>
                <a:ext cx="309745" cy="549950"/>
              </a:xfrm>
              <a:custGeom>
                <a:avLst/>
                <a:gdLst>
                  <a:gd name="connsiteX0" fmla="*/ 53474 w 309745"/>
                  <a:gd name="connsiteY0" fmla="*/ 6435 h 549950"/>
                  <a:gd name="connsiteX1" fmla="*/ 309746 w 309745"/>
                  <a:gd name="connsiteY1" fmla="*/ 518978 h 549950"/>
                  <a:gd name="connsiteX2" fmla="*/ 270084 w 309745"/>
                  <a:gd name="connsiteY2" fmla="*/ 549486 h 549950"/>
                  <a:gd name="connsiteX3" fmla="*/ 196864 w 309745"/>
                  <a:gd name="connsiteY3" fmla="*/ 537283 h 549950"/>
                  <a:gd name="connsiteX4" fmla="*/ 175508 w 309745"/>
                  <a:gd name="connsiteY4" fmla="*/ 506775 h 549950"/>
                  <a:gd name="connsiteX5" fmla="*/ 141949 w 309745"/>
                  <a:gd name="connsiteY5" fmla="*/ 253554 h 549950"/>
                  <a:gd name="connsiteX6" fmla="*/ 7711 w 309745"/>
                  <a:gd name="connsiteY6" fmla="*/ 58300 h 549950"/>
                  <a:gd name="connsiteX7" fmla="*/ 4661 w 309745"/>
                  <a:gd name="connsiteY7" fmla="*/ 46096 h 549950"/>
                  <a:gd name="connsiteX8" fmla="*/ 53474 w 309745"/>
                  <a:gd name="connsiteY8" fmla="*/ 6435 h 54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9745" h="549950">
                    <a:moveTo>
                      <a:pt x="53474" y="6435"/>
                    </a:moveTo>
                    <a:cubicBezTo>
                      <a:pt x="209067" y="134571"/>
                      <a:pt x="300593" y="317622"/>
                      <a:pt x="309746" y="518978"/>
                    </a:cubicBezTo>
                    <a:cubicBezTo>
                      <a:pt x="309746" y="540334"/>
                      <a:pt x="288390" y="552537"/>
                      <a:pt x="270084" y="549486"/>
                    </a:cubicBezTo>
                    <a:cubicBezTo>
                      <a:pt x="245678" y="546435"/>
                      <a:pt x="221271" y="540334"/>
                      <a:pt x="196864" y="537283"/>
                    </a:cubicBezTo>
                    <a:cubicBezTo>
                      <a:pt x="184661" y="534232"/>
                      <a:pt x="172458" y="518978"/>
                      <a:pt x="175508" y="506775"/>
                    </a:cubicBezTo>
                    <a:cubicBezTo>
                      <a:pt x="184661" y="418300"/>
                      <a:pt x="175508" y="332876"/>
                      <a:pt x="141949" y="253554"/>
                    </a:cubicBezTo>
                    <a:cubicBezTo>
                      <a:pt x="99237" y="183385"/>
                      <a:pt x="44322" y="116266"/>
                      <a:pt x="7711" y="58300"/>
                    </a:cubicBezTo>
                    <a:cubicBezTo>
                      <a:pt x="4661" y="55249"/>
                      <a:pt x="4661" y="49147"/>
                      <a:pt x="4661" y="46096"/>
                    </a:cubicBezTo>
                    <a:cubicBezTo>
                      <a:pt x="-13644" y="21690"/>
                      <a:pt x="26017" y="-14921"/>
                      <a:pt x="53474" y="6435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DD922C5A-0CF8-4D40-B9C7-495D611D80A3}"/>
                  </a:ext>
                </a:extLst>
              </p:cNvPr>
              <p:cNvSpPr/>
              <p:nvPr/>
            </p:nvSpPr>
            <p:spPr>
              <a:xfrm>
                <a:off x="10396581" y="8942204"/>
                <a:ext cx="178131" cy="369663"/>
              </a:xfrm>
              <a:custGeom>
                <a:avLst/>
                <a:gdLst>
                  <a:gd name="connsiteX0" fmla="*/ 10029 w 178131"/>
                  <a:gd name="connsiteY0" fmla="*/ 226633 h 369663"/>
                  <a:gd name="connsiteX1" fmla="*/ 98504 w 178131"/>
                  <a:gd name="connsiteY1" fmla="*/ 25277 h 369663"/>
                  <a:gd name="connsiteX2" fmla="*/ 110707 w 178131"/>
                  <a:gd name="connsiteY2" fmla="*/ 6972 h 369663"/>
                  <a:gd name="connsiteX3" fmla="*/ 159521 w 178131"/>
                  <a:gd name="connsiteY3" fmla="*/ 22226 h 369663"/>
                  <a:gd name="connsiteX4" fmla="*/ 125962 w 178131"/>
                  <a:gd name="connsiteY4" fmla="*/ 354769 h 369663"/>
                  <a:gd name="connsiteX5" fmla="*/ 74097 w 178131"/>
                  <a:gd name="connsiteY5" fmla="*/ 354769 h 369663"/>
                  <a:gd name="connsiteX6" fmla="*/ 13080 w 178131"/>
                  <a:gd name="connsiteY6" fmla="*/ 269345 h 369663"/>
                  <a:gd name="connsiteX7" fmla="*/ 10029 w 178131"/>
                  <a:gd name="connsiteY7" fmla="*/ 226633 h 369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8131" h="369663">
                    <a:moveTo>
                      <a:pt x="10029" y="226633"/>
                    </a:moveTo>
                    <a:cubicBezTo>
                      <a:pt x="74097" y="177820"/>
                      <a:pt x="86300" y="101548"/>
                      <a:pt x="98504" y="25277"/>
                    </a:cubicBezTo>
                    <a:cubicBezTo>
                      <a:pt x="98504" y="16125"/>
                      <a:pt x="104605" y="10023"/>
                      <a:pt x="110707" y="6972"/>
                    </a:cubicBezTo>
                    <a:cubicBezTo>
                      <a:pt x="125962" y="-5231"/>
                      <a:pt x="153419" y="-2181"/>
                      <a:pt x="159521" y="22226"/>
                    </a:cubicBezTo>
                    <a:cubicBezTo>
                      <a:pt x="193080" y="135108"/>
                      <a:pt x="180876" y="251040"/>
                      <a:pt x="125962" y="354769"/>
                    </a:cubicBezTo>
                    <a:cubicBezTo>
                      <a:pt x="113758" y="376125"/>
                      <a:pt x="86300" y="373074"/>
                      <a:pt x="74097" y="354769"/>
                    </a:cubicBezTo>
                    <a:cubicBezTo>
                      <a:pt x="55792" y="324260"/>
                      <a:pt x="34436" y="296803"/>
                      <a:pt x="13080" y="269345"/>
                    </a:cubicBezTo>
                    <a:cubicBezTo>
                      <a:pt x="-2174" y="260192"/>
                      <a:pt x="-5225" y="238837"/>
                      <a:pt x="10029" y="226633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63B57414-3D42-4561-AFED-E21774F0F8EE}"/>
                </a:ext>
              </a:extLst>
            </p:cNvPr>
            <p:cNvSpPr/>
            <p:nvPr/>
          </p:nvSpPr>
          <p:spPr>
            <a:xfrm>
              <a:off x="9833051" y="9226803"/>
              <a:ext cx="158643" cy="250169"/>
            </a:xfrm>
            <a:custGeom>
              <a:avLst/>
              <a:gdLst>
                <a:gd name="connsiteX0" fmla="*/ 0 w 158643"/>
                <a:gd name="connsiteY0" fmla="*/ 125084 h 250169"/>
                <a:gd name="connsiteX1" fmla="*/ 79322 w 158643"/>
                <a:gd name="connsiteY1" fmla="*/ 250169 h 250169"/>
                <a:gd name="connsiteX2" fmla="*/ 158644 w 158643"/>
                <a:gd name="connsiteY2" fmla="*/ 125084 h 250169"/>
                <a:gd name="connsiteX3" fmla="*/ 79322 w 158643"/>
                <a:gd name="connsiteY3" fmla="*/ 0 h 250169"/>
                <a:gd name="connsiteX4" fmla="*/ 0 w 158643"/>
                <a:gd name="connsiteY4" fmla="*/ 125084 h 25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643" h="250169">
                  <a:moveTo>
                    <a:pt x="0" y="125084"/>
                  </a:moveTo>
                  <a:cubicBezTo>
                    <a:pt x="0" y="195254"/>
                    <a:pt x="36610" y="250169"/>
                    <a:pt x="79322" y="250169"/>
                  </a:cubicBezTo>
                  <a:cubicBezTo>
                    <a:pt x="122034" y="250169"/>
                    <a:pt x="158644" y="195254"/>
                    <a:pt x="158644" y="125084"/>
                  </a:cubicBezTo>
                  <a:cubicBezTo>
                    <a:pt x="158644" y="54915"/>
                    <a:pt x="122034" y="0"/>
                    <a:pt x="79322" y="0"/>
                  </a:cubicBezTo>
                  <a:cubicBezTo>
                    <a:pt x="36610" y="0"/>
                    <a:pt x="0" y="57966"/>
                    <a:pt x="0" y="125084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CD3C1E21-15EC-461E-9F8A-BA80275B15BD}"/>
                </a:ext>
              </a:extLst>
            </p:cNvPr>
            <p:cNvSpPr/>
            <p:nvPr/>
          </p:nvSpPr>
          <p:spPr>
            <a:xfrm>
              <a:off x="10937386" y="9919346"/>
              <a:ext cx="1130282" cy="2299008"/>
            </a:xfrm>
            <a:custGeom>
              <a:avLst/>
              <a:gdLst>
                <a:gd name="connsiteX0" fmla="*/ 91598 w 1130282"/>
                <a:gd name="connsiteY0" fmla="*/ 21356 h 2299008"/>
                <a:gd name="connsiteX1" fmla="*/ 72 w 1130282"/>
                <a:gd name="connsiteY1" fmla="*/ 1403390 h 2299008"/>
                <a:gd name="connsiteX2" fmla="*/ 30581 w 1130282"/>
                <a:gd name="connsiteY2" fmla="*/ 2205762 h 2299008"/>
                <a:gd name="connsiteX3" fmla="*/ 256343 w 1130282"/>
                <a:gd name="connsiteY3" fmla="*/ 2288136 h 2299008"/>
                <a:gd name="connsiteX4" fmla="*/ 414987 w 1130282"/>
                <a:gd name="connsiteY4" fmla="*/ 1607797 h 2299008"/>
                <a:gd name="connsiteX5" fmla="*/ 585834 w 1130282"/>
                <a:gd name="connsiteY5" fmla="*/ 503390 h 2299008"/>
                <a:gd name="connsiteX6" fmla="*/ 631597 w 1130282"/>
                <a:gd name="connsiteY6" fmla="*/ 1415593 h 2299008"/>
                <a:gd name="connsiteX7" fmla="*/ 802445 w 1130282"/>
                <a:gd name="connsiteY7" fmla="*/ 2239322 h 2299008"/>
                <a:gd name="connsiteX8" fmla="*/ 1046513 w 1130282"/>
                <a:gd name="connsiteY8" fmla="*/ 2233221 h 2299008"/>
                <a:gd name="connsiteX9" fmla="*/ 1095326 w 1130282"/>
                <a:gd name="connsiteY9" fmla="*/ 1421695 h 2299008"/>
                <a:gd name="connsiteX10" fmla="*/ 1113632 w 1130282"/>
                <a:gd name="connsiteY10" fmla="*/ 0 h 2299008"/>
                <a:gd name="connsiteX11" fmla="*/ 91598 w 1130282"/>
                <a:gd name="connsiteY11" fmla="*/ 21356 h 2299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30282" h="2299008">
                  <a:moveTo>
                    <a:pt x="91598" y="21356"/>
                  </a:moveTo>
                  <a:lnTo>
                    <a:pt x="72" y="1403390"/>
                  </a:lnTo>
                  <a:cubicBezTo>
                    <a:pt x="72" y="1403390"/>
                    <a:pt x="-2979" y="2013559"/>
                    <a:pt x="30581" y="2205762"/>
                  </a:cubicBezTo>
                  <a:cubicBezTo>
                    <a:pt x="42784" y="2272881"/>
                    <a:pt x="207529" y="2321695"/>
                    <a:pt x="256343" y="2288136"/>
                  </a:cubicBezTo>
                  <a:cubicBezTo>
                    <a:pt x="378377" y="2230170"/>
                    <a:pt x="414987" y="1607797"/>
                    <a:pt x="414987" y="1607797"/>
                  </a:cubicBezTo>
                  <a:cubicBezTo>
                    <a:pt x="414987" y="1607797"/>
                    <a:pt x="576682" y="518644"/>
                    <a:pt x="585834" y="503390"/>
                  </a:cubicBezTo>
                  <a:cubicBezTo>
                    <a:pt x="601089" y="472881"/>
                    <a:pt x="631597" y="1415593"/>
                    <a:pt x="631597" y="1415593"/>
                  </a:cubicBezTo>
                  <a:cubicBezTo>
                    <a:pt x="631597" y="1415593"/>
                    <a:pt x="677360" y="2181356"/>
                    <a:pt x="802445" y="2239322"/>
                  </a:cubicBezTo>
                  <a:cubicBezTo>
                    <a:pt x="857360" y="2285085"/>
                    <a:pt x="1003801" y="2291187"/>
                    <a:pt x="1046513" y="2233221"/>
                  </a:cubicBezTo>
                  <a:cubicBezTo>
                    <a:pt x="1134987" y="2114237"/>
                    <a:pt x="1089224" y="1519322"/>
                    <a:pt x="1095326" y="1421695"/>
                  </a:cubicBezTo>
                  <a:cubicBezTo>
                    <a:pt x="1104479" y="1269153"/>
                    <a:pt x="1156343" y="97627"/>
                    <a:pt x="1113632" y="0"/>
                  </a:cubicBezTo>
                  <a:cubicBezTo>
                    <a:pt x="418038" y="33560"/>
                    <a:pt x="91598" y="21356"/>
                    <a:pt x="91598" y="21356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1" name="图形 1">
              <a:extLst>
                <a:ext uri="{FF2B5EF4-FFF2-40B4-BE49-F238E27FC236}">
                  <a16:creationId xmlns:a16="http://schemas.microsoft.com/office/drawing/2014/main" id="{922C73DC-E7A9-4B98-96F0-F810D8326450}"/>
                </a:ext>
              </a:extLst>
            </p:cNvPr>
            <p:cNvGrpSpPr/>
            <p:nvPr/>
          </p:nvGrpSpPr>
          <p:grpSpPr>
            <a:xfrm>
              <a:off x="11495763" y="12088498"/>
              <a:ext cx="525383" cy="329491"/>
              <a:chOff x="11495763" y="12088498"/>
              <a:chExt cx="525383" cy="329491"/>
            </a:xfrm>
          </p:grpSpPr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A4C28EBC-8970-4876-B9D0-EDE16D5B2EF6}"/>
                  </a:ext>
                </a:extLst>
              </p:cNvPr>
              <p:cNvSpPr/>
              <p:nvPr/>
            </p:nvSpPr>
            <p:spPr>
              <a:xfrm>
                <a:off x="11498814" y="12372227"/>
                <a:ext cx="488135" cy="45762"/>
              </a:xfrm>
              <a:custGeom>
                <a:avLst/>
                <a:gdLst>
                  <a:gd name="connsiteX0" fmla="*/ 0 w 488135"/>
                  <a:gd name="connsiteY0" fmla="*/ 0 h 45762"/>
                  <a:gd name="connsiteX1" fmla="*/ 488136 w 488135"/>
                  <a:gd name="connsiteY1" fmla="*/ 0 h 45762"/>
                  <a:gd name="connsiteX2" fmla="*/ 488136 w 488135"/>
                  <a:gd name="connsiteY2" fmla="*/ 45763 h 45762"/>
                  <a:gd name="connsiteX3" fmla="*/ 0 w 488135"/>
                  <a:gd name="connsiteY3" fmla="*/ 45763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5" h="45762">
                    <a:moveTo>
                      <a:pt x="0" y="0"/>
                    </a:moveTo>
                    <a:lnTo>
                      <a:pt x="488136" y="0"/>
                    </a:lnTo>
                    <a:lnTo>
                      <a:pt x="488136" y="45763"/>
                    </a:lnTo>
                    <a:lnTo>
                      <a:pt x="0" y="45763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1C5D4342-6380-4369-83BA-01AEDC01BAC1}"/>
                  </a:ext>
                </a:extLst>
              </p:cNvPr>
              <p:cNvSpPr/>
              <p:nvPr/>
            </p:nvSpPr>
            <p:spPr>
              <a:xfrm>
                <a:off x="11495763" y="12088498"/>
                <a:ext cx="525383" cy="286779"/>
              </a:xfrm>
              <a:custGeom>
                <a:avLst/>
                <a:gdLst>
                  <a:gd name="connsiteX0" fmla="*/ 524746 w 525383"/>
                  <a:gd name="connsiteY0" fmla="*/ 0 h 286779"/>
                  <a:gd name="connsiteX1" fmla="*/ 186102 w 525383"/>
                  <a:gd name="connsiteY1" fmla="*/ 18305 h 286779"/>
                  <a:gd name="connsiteX2" fmla="*/ 225763 w 525383"/>
                  <a:gd name="connsiteY2" fmla="*/ 158644 h 286779"/>
                  <a:gd name="connsiteX3" fmla="*/ 167797 w 525383"/>
                  <a:gd name="connsiteY3" fmla="*/ 180000 h 286779"/>
                  <a:gd name="connsiteX4" fmla="*/ 0 w 525383"/>
                  <a:gd name="connsiteY4" fmla="*/ 286779 h 286779"/>
                  <a:gd name="connsiteX5" fmla="*/ 488136 w 525383"/>
                  <a:gd name="connsiteY5" fmla="*/ 286779 h 286779"/>
                  <a:gd name="connsiteX6" fmla="*/ 524746 w 525383"/>
                  <a:gd name="connsiteY6" fmla="*/ 0 h 28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5383" h="286779">
                    <a:moveTo>
                      <a:pt x="524746" y="0"/>
                    </a:moveTo>
                    <a:lnTo>
                      <a:pt x="186102" y="18305"/>
                    </a:lnTo>
                    <a:lnTo>
                      <a:pt x="225763" y="158644"/>
                    </a:lnTo>
                    <a:cubicBezTo>
                      <a:pt x="204407" y="167797"/>
                      <a:pt x="186102" y="173898"/>
                      <a:pt x="167797" y="180000"/>
                    </a:cubicBezTo>
                    <a:cubicBezTo>
                      <a:pt x="125085" y="195254"/>
                      <a:pt x="12203" y="213559"/>
                      <a:pt x="0" y="286779"/>
                    </a:cubicBezTo>
                    <a:lnTo>
                      <a:pt x="488136" y="286779"/>
                    </a:lnTo>
                    <a:cubicBezTo>
                      <a:pt x="491187" y="283728"/>
                      <a:pt x="530847" y="192203"/>
                      <a:pt x="524746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2" name="图形 1">
              <a:extLst>
                <a:ext uri="{FF2B5EF4-FFF2-40B4-BE49-F238E27FC236}">
                  <a16:creationId xmlns:a16="http://schemas.microsoft.com/office/drawing/2014/main" id="{920E6E0E-A6A7-4CD3-85D9-13316519AC31}"/>
                </a:ext>
              </a:extLst>
            </p:cNvPr>
            <p:cNvGrpSpPr/>
            <p:nvPr/>
          </p:nvGrpSpPr>
          <p:grpSpPr>
            <a:xfrm>
              <a:off x="10737320" y="12088498"/>
              <a:ext cx="541832" cy="325652"/>
              <a:chOff x="10737320" y="12088498"/>
              <a:chExt cx="541832" cy="325652"/>
            </a:xfrm>
          </p:grpSpPr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A4CB2EAE-B3CD-46C4-ACF9-DCD8EB0FB703}"/>
                  </a:ext>
                </a:extLst>
              </p:cNvPr>
              <p:cNvSpPr/>
              <p:nvPr/>
            </p:nvSpPr>
            <p:spPr>
              <a:xfrm rot="-5212339">
                <a:off x="10959389" y="12133922"/>
                <a:ext cx="45762" cy="488130"/>
              </a:xfrm>
              <a:custGeom>
                <a:avLst/>
                <a:gdLst>
                  <a:gd name="connsiteX0" fmla="*/ 0 w 45762"/>
                  <a:gd name="connsiteY0" fmla="*/ 0 h 488130"/>
                  <a:gd name="connsiteX1" fmla="*/ 45762 w 45762"/>
                  <a:gd name="connsiteY1" fmla="*/ 0 h 488130"/>
                  <a:gd name="connsiteX2" fmla="*/ 45762 w 45762"/>
                  <a:gd name="connsiteY2" fmla="*/ 488131 h 488130"/>
                  <a:gd name="connsiteX3" fmla="*/ 0 w 45762"/>
                  <a:gd name="connsiteY3" fmla="*/ 488131 h 48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762" h="488130">
                    <a:moveTo>
                      <a:pt x="0" y="0"/>
                    </a:moveTo>
                    <a:lnTo>
                      <a:pt x="45762" y="0"/>
                    </a:lnTo>
                    <a:lnTo>
                      <a:pt x="45762" y="488131"/>
                    </a:lnTo>
                    <a:lnTo>
                      <a:pt x="0" y="488131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1A1FA899-7DD9-4A34-ACA0-AA962A1BE358}"/>
                  </a:ext>
                </a:extLst>
              </p:cNvPr>
              <p:cNvSpPr/>
              <p:nvPr/>
            </p:nvSpPr>
            <p:spPr>
              <a:xfrm>
                <a:off x="10739153" y="12088498"/>
                <a:ext cx="539999" cy="283728"/>
              </a:xfrm>
              <a:custGeom>
                <a:avLst/>
                <a:gdLst>
                  <a:gd name="connsiteX0" fmla="*/ 201355 w 539999"/>
                  <a:gd name="connsiteY0" fmla="*/ 0 h 283728"/>
                  <a:gd name="connsiteX1" fmla="*/ 231864 w 539999"/>
                  <a:gd name="connsiteY1" fmla="*/ 140339 h 283728"/>
                  <a:gd name="connsiteX2" fmla="*/ 173898 w 539999"/>
                  <a:gd name="connsiteY2" fmla="*/ 158644 h 283728"/>
                  <a:gd name="connsiteX3" fmla="*/ 0 w 539999"/>
                  <a:gd name="connsiteY3" fmla="*/ 256271 h 283728"/>
                  <a:gd name="connsiteX4" fmla="*/ 488136 w 539999"/>
                  <a:gd name="connsiteY4" fmla="*/ 283728 h 283728"/>
                  <a:gd name="connsiteX5" fmla="*/ 539999 w 539999"/>
                  <a:gd name="connsiteY5" fmla="*/ 3051 h 283728"/>
                  <a:gd name="connsiteX6" fmla="*/ 201355 w 539999"/>
                  <a:gd name="connsiteY6" fmla="*/ 0 h 28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9999" h="283728">
                    <a:moveTo>
                      <a:pt x="201355" y="0"/>
                    </a:moveTo>
                    <a:lnTo>
                      <a:pt x="231864" y="140339"/>
                    </a:lnTo>
                    <a:cubicBezTo>
                      <a:pt x="210508" y="146440"/>
                      <a:pt x="192203" y="152542"/>
                      <a:pt x="173898" y="158644"/>
                    </a:cubicBezTo>
                    <a:cubicBezTo>
                      <a:pt x="128135" y="170848"/>
                      <a:pt x="18304" y="186102"/>
                      <a:pt x="0" y="256271"/>
                    </a:cubicBezTo>
                    <a:lnTo>
                      <a:pt x="488136" y="283728"/>
                    </a:lnTo>
                    <a:cubicBezTo>
                      <a:pt x="488136" y="283728"/>
                      <a:pt x="533898" y="192203"/>
                      <a:pt x="539999" y="3051"/>
                    </a:cubicBezTo>
                    <a:lnTo>
                      <a:pt x="201355" y="0"/>
                    </a:ln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AD01C3BF-F2A5-436B-9F48-4BDECC2BAA2F}"/>
                </a:ext>
              </a:extLst>
            </p:cNvPr>
            <p:cNvSpPr/>
            <p:nvPr/>
          </p:nvSpPr>
          <p:spPr>
            <a:xfrm>
              <a:off x="11529323" y="10035278"/>
              <a:ext cx="71366" cy="363051"/>
            </a:xfrm>
            <a:custGeom>
              <a:avLst/>
              <a:gdLst>
                <a:gd name="connsiteX0" fmla="*/ 64068 w 71366"/>
                <a:gd name="connsiteY0" fmla="*/ 363052 h 363051"/>
                <a:gd name="connsiteX1" fmla="*/ 57966 w 71366"/>
                <a:gd name="connsiteY1" fmla="*/ 360001 h 363051"/>
                <a:gd name="connsiteX2" fmla="*/ 0 w 71366"/>
                <a:gd name="connsiteY2" fmla="*/ 6102 h 363051"/>
                <a:gd name="connsiteX3" fmla="*/ 6101 w 71366"/>
                <a:gd name="connsiteY3" fmla="*/ 0 h 363051"/>
                <a:gd name="connsiteX4" fmla="*/ 12203 w 71366"/>
                <a:gd name="connsiteY4" fmla="*/ 6102 h 363051"/>
                <a:gd name="connsiteX5" fmla="*/ 70169 w 71366"/>
                <a:gd name="connsiteY5" fmla="*/ 356950 h 363051"/>
                <a:gd name="connsiteX6" fmla="*/ 64068 w 71366"/>
                <a:gd name="connsiteY6" fmla="*/ 363052 h 363051"/>
                <a:gd name="connsiteX7" fmla="*/ 64068 w 71366"/>
                <a:gd name="connsiteY7" fmla="*/ 363052 h 363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366" h="363051">
                  <a:moveTo>
                    <a:pt x="64068" y="363052"/>
                  </a:moveTo>
                  <a:cubicBezTo>
                    <a:pt x="61017" y="363052"/>
                    <a:pt x="61017" y="363052"/>
                    <a:pt x="57966" y="360001"/>
                  </a:cubicBezTo>
                  <a:cubicBezTo>
                    <a:pt x="9152" y="244068"/>
                    <a:pt x="0" y="15254"/>
                    <a:pt x="0" y="6102"/>
                  </a:cubicBezTo>
                  <a:cubicBezTo>
                    <a:pt x="0" y="3051"/>
                    <a:pt x="3051" y="0"/>
                    <a:pt x="6101" y="0"/>
                  </a:cubicBezTo>
                  <a:cubicBezTo>
                    <a:pt x="9152" y="0"/>
                    <a:pt x="12203" y="3051"/>
                    <a:pt x="12203" y="6102"/>
                  </a:cubicBezTo>
                  <a:cubicBezTo>
                    <a:pt x="12203" y="9153"/>
                    <a:pt x="21355" y="244068"/>
                    <a:pt x="70169" y="356950"/>
                  </a:cubicBezTo>
                  <a:cubicBezTo>
                    <a:pt x="73220" y="356950"/>
                    <a:pt x="70169" y="360001"/>
                    <a:pt x="64068" y="363052"/>
                  </a:cubicBezTo>
                  <a:cubicBezTo>
                    <a:pt x="67118" y="363052"/>
                    <a:pt x="67118" y="363052"/>
                    <a:pt x="64068" y="363052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08EF461C-D0F0-486B-BCB9-58C00EF85253}"/>
                </a:ext>
              </a:extLst>
            </p:cNvPr>
            <p:cNvSpPr/>
            <p:nvPr/>
          </p:nvSpPr>
          <p:spPr>
            <a:xfrm>
              <a:off x="11419492" y="9965108"/>
              <a:ext cx="155593" cy="353898"/>
            </a:xfrm>
            <a:custGeom>
              <a:avLst/>
              <a:gdLst>
                <a:gd name="connsiteX0" fmla="*/ 146440 w 155593"/>
                <a:gd name="connsiteY0" fmla="*/ 353899 h 353898"/>
                <a:gd name="connsiteX1" fmla="*/ 143390 w 155593"/>
                <a:gd name="connsiteY1" fmla="*/ 353899 h 353898"/>
                <a:gd name="connsiteX2" fmla="*/ 33560 w 155593"/>
                <a:gd name="connsiteY2" fmla="*/ 274576 h 353898"/>
                <a:gd name="connsiteX3" fmla="*/ 0 w 155593"/>
                <a:gd name="connsiteY3" fmla="*/ 6102 h 353898"/>
                <a:gd name="connsiteX4" fmla="*/ 6102 w 155593"/>
                <a:gd name="connsiteY4" fmla="*/ 0 h 353898"/>
                <a:gd name="connsiteX5" fmla="*/ 6102 w 155593"/>
                <a:gd name="connsiteY5" fmla="*/ 0 h 353898"/>
                <a:gd name="connsiteX6" fmla="*/ 12203 w 155593"/>
                <a:gd name="connsiteY6" fmla="*/ 6102 h 353898"/>
                <a:gd name="connsiteX7" fmla="*/ 45763 w 155593"/>
                <a:gd name="connsiteY7" fmla="*/ 268474 h 353898"/>
                <a:gd name="connsiteX8" fmla="*/ 152542 w 155593"/>
                <a:gd name="connsiteY8" fmla="*/ 344745 h 353898"/>
                <a:gd name="connsiteX9" fmla="*/ 155593 w 155593"/>
                <a:gd name="connsiteY9" fmla="*/ 353899 h 353898"/>
                <a:gd name="connsiteX10" fmla="*/ 146440 w 155593"/>
                <a:gd name="connsiteY10" fmla="*/ 353899 h 353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5593" h="353898">
                  <a:moveTo>
                    <a:pt x="146440" y="353899"/>
                  </a:moveTo>
                  <a:cubicBezTo>
                    <a:pt x="146440" y="353899"/>
                    <a:pt x="143390" y="353899"/>
                    <a:pt x="143390" y="353899"/>
                  </a:cubicBezTo>
                  <a:cubicBezTo>
                    <a:pt x="134237" y="347796"/>
                    <a:pt x="45763" y="289831"/>
                    <a:pt x="33560" y="274576"/>
                  </a:cubicBezTo>
                  <a:cubicBezTo>
                    <a:pt x="21356" y="259322"/>
                    <a:pt x="3051" y="48814"/>
                    <a:pt x="0" y="6102"/>
                  </a:cubicBezTo>
                  <a:cubicBezTo>
                    <a:pt x="0" y="3051"/>
                    <a:pt x="3051" y="0"/>
                    <a:pt x="6102" y="0"/>
                  </a:cubicBezTo>
                  <a:lnTo>
                    <a:pt x="6102" y="0"/>
                  </a:lnTo>
                  <a:cubicBezTo>
                    <a:pt x="9152" y="0"/>
                    <a:pt x="12203" y="3051"/>
                    <a:pt x="12203" y="6102"/>
                  </a:cubicBezTo>
                  <a:cubicBezTo>
                    <a:pt x="21356" y="100678"/>
                    <a:pt x="36611" y="256271"/>
                    <a:pt x="45763" y="268474"/>
                  </a:cubicBezTo>
                  <a:cubicBezTo>
                    <a:pt x="54915" y="277627"/>
                    <a:pt x="112882" y="320339"/>
                    <a:pt x="152542" y="344745"/>
                  </a:cubicBezTo>
                  <a:cubicBezTo>
                    <a:pt x="155593" y="347796"/>
                    <a:pt x="155593" y="350847"/>
                    <a:pt x="155593" y="353899"/>
                  </a:cubicBezTo>
                  <a:cubicBezTo>
                    <a:pt x="149491" y="353899"/>
                    <a:pt x="146440" y="353899"/>
                    <a:pt x="146440" y="353899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B45C76C5-962D-4BD7-803E-EC3711D7102A}"/>
                </a:ext>
              </a:extLst>
            </p:cNvPr>
            <p:cNvSpPr/>
            <p:nvPr/>
          </p:nvSpPr>
          <p:spPr>
            <a:xfrm>
              <a:off x="11724577" y="8097990"/>
              <a:ext cx="67119" cy="140338"/>
            </a:xfrm>
            <a:custGeom>
              <a:avLst/>
              <a:gdLst>
                <a:gd name="connsiteX0" fmla="*/ 67119 w 67119"/>
                <a:gd name="connsiteY0" fmla="*/ 0 h 140338"/>
                <a:gd name="connsiteX1" fmla="*/ 3051 w 67119"/>
                <a:gd name="connsiteY1" fmla="*/ 140339 h 140338"/>
                <a:gd name="connsiteX2" fmla="*/ 0 w 67119"/>
                <a:gd name="connsiteY2" fmla="*/ 54915 h 140338"/>
                <a:gd name="connsiteX3" fmla="*/ 67119 w 67119"/>
                <a:gd name="connsiteY3" fmla="*/ 0 h 14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19" h="140338">
                  <a:moveTo>
                    <a:pt x="67119" y="0"/>
                  </a:moveTo>
                  <a:cubicBezTo>
                    <a:pt x="67119" y="0"/>
                    <a:pt x="54915" y="118983"/>
                    <a:pt x="3051" y="140339"/>
                  </a:cubicBezTo>
                  <a:lnTo>
                    <a:pt x="0" y="54915"/>
                  </a:lnTo>
                  <a:lnTo>
                    <a:pt x="67119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006E4923-6961-4816-B47F-7E9F0015CAD9}"/>
                </a:ext>
              </a:extLst>
            </p:cNvPr>
            <p:cNvSpPr/>
            <p:nvPr/>
          </p:nvSpPr>
          <p:spPr>
            <a:xfrm>
              <a:off x="11330815" y="7896634"/>
              <a:ext cx="101808" cy="237945"/>
            </a:xfrm>
            <a:custGeom>
              <a:avLst/>
              <a:gdLst>
                <a:gd name="connsiteX0" fmla="*/ 6303 w 101808"/>
                <a:gd name="connsiteY0" fmla="*/ 0 h 237945"/>
                <a:gd name="connsiteX1" fmla="*/ 49016 w 101808"/>
                <a:gd name="connsiteY1" fmla="*/ 234915 h 237945"/>
                <a:gd name="connsiteX2" fmla="*/ 100880 w 101808"/>
                <a:gd name="connsiteY2" fmla="*/ 12204 h 237945"/>
                <a:gd name="connsiteX3" fmla="*/ 6303 w 101808"/>
                <a:gd name="connsiteY3" fmla="*/ 0 h 23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08" h="237945">
                  <a:moveTo>
                    <a:pt x="6303" y="0"/>
                  </a:moveTo>
                  <a:cubicBezTo>
                    <a:pt x="6303" y="0"/>
                    <a:pt x="-24205" y="195255"/>
                    <a:pt x="49016" y="234915"/>
                  </a:cubicBezTo>
                  <a:cubicBezTo>
                    <a:pt x="113083" y="268475"/>
                    <a:pt x="100880" y="12204"/>
                    <a:pt x="100880" y="12204"/>
                  </a:cubicBezTo>
                  <a:lnTo>
                    <a:pt x="6303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13EF6235-A418-487B-8D47-FE28DAA01FA0}"/>
                </a:ext>
              </a:extLst>
            </p:cNvPr>
            <p:cNvSpPr/>
            <p:nvPr/>
          </p:nvSpPr>
          <p:spPr>
            <a:xfrm>
              <a:off x="11367289" y="7755425"/>
              <a:ext cx="421356" cy="568930"/>
            </a:xfrm>
            <a:custGeom>
              <a:avLst/>
              <a:gdLst>
                <a:gd name="connsiteX0" fmla="*/ 9492 w 421356"/>
                <a:gd name="connsiteY0" fmla="*/ 183921 h 568930"/>
                <a:gd name="connsiteX1" fmla="*/ 9492 w 421356"/>
                <a:gd name="connsiteY1" fmla="*/ 434090 h 568930"/>
                <a:gd name="connsiteX2" fmla="*/ 168135 w 421356"/>
                <a:gd name="connsiteY2" fmla="*/ 568327 h 568930"/>
                <a:gd name="connsiteX3" fmla="*/ 384746 w 421356"/>
                <a:gd name="connsiteY3" fmla="*/ 424937 h 568930"/>
                <a:gd name="connsiteX4" fmla="*/ 421356 w 421356"/>
                <a:gd name="connsiteY4" fmla="*/ 199175 h 568930"/>
                <a:gd name="connsiteX5" fmla="*/ 207797 w 421356"/>
                <a:gd name="connsiteY5" fmla="*/ 870 h 568930"/>
                <a:gd name="connsiteX6" fmla="*/ 9492 w 421356"/>
                <a:gd name="connsiteY6" fmla="*/ 183921 h 568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356" h="568930">
                  <a:moveTo>
                    <a:pt x="9492" y="183921"/>
                  </a:moveTo>
                  <a:cubicBezTo>
                    <a:pt x="9492" y="183921"/>
                    <a:pt x="-11865" y="360869"/>
                    <a:pt x="9492" y="434090"/>
                  </a:cubicBezTo>
                  <a:cubicBezTo>
                    <a:pt x="27797" y="501209"/>
                    <a:pt x="119322" y="565277"/>
                    <a:pt x="168135" y="568327"/>
                  </a:cubicBezTo>
                  <a:cubicBezTo>
                    <a:pt x="235254" y="574429"/>
                    <a:pt x="354237" y="534768"/>
                    <a:pt x="384746" y="424937"/>
                  </a:cubicBezTo>
                  <a:cubicBezTo>
                    <a:pt x="406102" y="351717"/>
                    <a:pt x="421356" y="251039"/>
                    <a:pt x="421356" y="199175"/>
                  </a:cubicBezTo>
                  <a:cubicBezTo>
                    <a:pt x="418305" y="104598"/>
                    <a:pt x="393899" y="25276"/>
                    <a:pt x="207797" y="870"/>
                  </a:cubicBezTo>
                  <a:cubicBezTo>
                    <a:pt x="122372" y="-11334"/>
                    <a:pt x="27797" y="107649"/>
                    <a:pt x="9492" y="18392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18FDEBDA-C07C-4295-9175-AC72C0C8D768}"/>
                </a:ext>
              </a:extLst>
            </p:cNvPr>
            <p:cNvSpPr/>
            <p:nvPr/>
          </p:nvSpPr>
          <p:spPr>
            <a:xfrm>
              <a:off x="11430918" y="7996534"/>
              <a:ext cx="41216" cy="41215"/>
            </a:xfrm>
            <a:custGeom>
              <a:avLst/>
              <a:gdLst>
                <a:gd name="connsiteX0" fmla="*/ 40439 w 41216"/>
                <a:gd name="connsiteY0" fmla="*/ 25184 h 41215"/>
                <a:gd name="connsiteX1" fmla="*/ 16032 w 41216"/>
                <a:gd name="connsiteY1" fmla="*/ 40439 h 41215"/>
                <a:gd name="connsiteX2" fmla="*/ 778 w 41216"/>
                <a:gd name="connsiteY2" fmla="*/ 16032 h 41215"/>
                <a:gd name="connsiteX3" fmla="*/ 25185 w 41216"/>
                <a:gd name="connsiteY3" fmla="*/ 778 h 41215"/>
                <a:gd name="connsiteX4" fmla="*/ 40439 w 41216"/>
                <a:gd name="connsiteY4" fmla="*/ 25184 h 4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6" h="41215">
                  <a:moveTo>
                    <a:pt x="40439" y="25184"/>
                  </a:moveTo>
                  <a:cubicBezTo>
                    <a:pt x="37388" y="37388"/>
                    <a:pt x="28235" y="43489"/>
                    <a:pt x="16032" y="40439"/>
                  </a:cubicBezTo>
                  <a:cubicBezTo>
                    <a:pt x="3829" y="37388"/>
                    <a:pt x="-2274" y="28235"/>
                    <a:pt x="778" y="16032"/>
                  </a:cubicBezTo>
                  <a:cubicBezTo>
                    <a:pt x="3829" y="3829"/>
                    <a:pt x="12981" y="-2274"/>
                    <a:pt x="25185" y="778"/>
                  </a:cubicBezTo>
                  <a:cubicBezTo>
                    <a:pt x="37388" y="3829"/>
                    <a:pt x="43489" y="16032"/>
                    <a:pt x="40439" y="25184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CBB7C54E-54D4-4783-9F00-22AA5BC918C2}"/>
                </a:ext>
              </a:extLst>
            </p:cNvPr>
            <p:cNvSpPr/>
            <p:nvPr/>
          </p:nvSpPr>
          <p:spPr>
            <a:xfrm>
              <a:off x="11613969" y="8014840"/>
              <a:ext cx="41216" cy="41215"/>
            </a:xfrm>
            <a:custGeom>
              <a:avLst/>
              <a:gdLst>
                <a:gd name="connsiteX0" fmla="*/ 40439 w 41216"/>
                <a:gd name="connsiteY0" fmla="*/ 25184 h 41215"/>
                <a:gd name="connsiteX1" fmla="*/ 16032 w 41216"/>
                <a:gd name="connsiteY1" fmla="*/ 40438 h 41215"/>
                <a:gd name="connsiteX2" fmla="*/ 778 w 41216"/>
                <a:gd name="connsiteY2" fmla="*/ 16032 h 41215"/>
                <a:gd name="connsiteX3" fmla="*/ 25185 w 41216"/>
                <a:gd name="connsiteY3" fmla="*/ 778 h 41215"/>
                <a:gd name="connsiteX4" fmla="*/ 40439 w 41216"/>
                <a:gd name="connsiteY4" fmla="*/ 25184 h 4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6" h="41215">
                  <a:moveTo>
                    <a:pt x="40439" y="25184"/>
                  </a:moveTo>
                  <a:cubicBezTo>
                    <a:pt x="37388" y="37388"/>
                    <a:pt x="28235" y="43489"/>
                    <a:pt x="16032" y="40438"/>
                  </a:cubicBezTo>
                  <a:cubicBezTo>
                    <a:pt x="3829" y="37388"/>
                    <a:pt x="-2274" y="28235"/>
                    <a:pt x="778" y="16032"/>
                  </a:cubicBezTo>
                  <a:cubicBezTo>
                    <a:pt x="3829" y="3828"/>
                    <a:pt x="12981" y="-2273"/>
                    <a:pt x="25185" y="778"/>
                  </a:cubicBezTo>
                  <a:cubicBezTo>
                    <a:pt x="37388" y="3828"/>
                    <a:pt x="43489" y="16032"/>
                    <a:pt x="40439" y="25184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99894C8D-B5F1-4864-BD60-EAEEFB1FFD4A}"/>
                </a:ext>
              </a:extLst>
            </p:cNvPr>
            <p:cNvSpPr/>
            <p:nvPr/>
          </p:nvSpPr>
          <p:spPr>
            <a:xfrm>
              <a:off x="11408052" y="7947332"/>
              <a:ext cx="92026" cy="34725"/>
            </a:xfrm>
            <a:custGeom>
              <a:avLst/>
              <a:gdLst>
                <a:gd name="connsiteX0" fmla="*/ 8389 w 92026"/>
                <a:gd name="connsiteY0" fmla="*/ 34725 h 34725"/>
                <a:gd name="connsiteX1" fmla="*/ 2288 w 92026"/>
                <a:gd name="connsiteY1" fmla="*/ 31674 h 34725"/>
                <a:gd name="connsiteX2" fmla="*/ 2288 w 92026"/>
                <a:gd name="connsiteY2" fmla="*/ 19471 h 34725"/>
                <a:gd name="connsiteX3" fmla="*/ 87712 w 92026"/>
                <a:gd name="connsiteY3" fmla="*/ 10318 h 34725"/>
                <a:gd name="connsiteX4" fmla="*/ 90763 w 92026"/>
                <a:gd name="connsiteY4" fmla="*/ 19471 h 34725"/>
                <a:gd name="connsiteX5" fmla="*/ 81610 w 92026"/>
                <a:gd name="connsiteY5" fmla="*/ 22522 h 34725"/>
                <a:gd name="connsiteX6" fmla="*/ 14491 w 92026"/>
                <a:gd name="connsiteY6" fmla="*/ 28624 h 34725"/>
                <a:gd name="connsiteX7" fmla="*/ 8389 w 92026"/>
                <a:gd name="connsiteY7" fmla="*/ 34725 h 3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4725">
                  <a:moveTo>
                    <a:pt x="8389" y="34725"/>
                  </a:moveTo>
                  <a:cubicBezTo>
                    <a:pt x="5338" y="34725"/>
                    <a:pt x="5338" y="34725"/>
                    <a:pt x="2288" y="31674"/>
                  </a:cubicBezTo>
                  <a:cubicBezTo>
                    <a:pt x="-763" y="28624"/>
                    <a:pt x="-763" y="22522"/>
                    <a:pt x="2288" y="19471"/>
                  </a:cubicBezTo>
                  <a:cubicBezTo>
                    <a:pt x="29746" y="-11038"/>
                    <a:pt x="69406" y="1166"/>
                    <a:pt x="87712" y="10318"/>
                  </a:cubicBezTo>
                  <a:cubicBezTo>
                    <a:pt x="90763" y="13369"/>
                    <a:pt x="93814" y="16420"/>
                    <a:pt x="90763" y="19471"/>
                  </a:cubicBezTo>
                  <a:cubicBezTo>
                    <a:pt x="87712" y="22522"/>
                    <a:pt x="84661" y="25573"/>
                    <a:pt x="81610" y="22522"/>
                  </a:cubicBezTo>
                  <a:cubicBezTo>
                    <a:pt x="78559" y="22522"/>
                    <a:pt x="38898" y="1166"/>
                    <a:pt x="14491" y="28624"/>
                  </a:cubicBezTo>
                  <a:cubicBezTo>
                    <a:pt x="11440" y="34725"/>
                    <a:pt x="8389" y="34725"/>
                    <a:pt x="8389" y="34725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0F014335-C0B0-431E-B399-1D8BCAA3D566}"/>
                </a:ext>
              </a:extLst>
            </p:cNvPr>
            <p:cNvSpPr/>
            <p:nvPr/>
          </p:nvSpPr>
          <p:spPr>
            <a:xfrm>
              <a:off x="11595177" y="7948809"/>
              <a:ext cx="92026" cy="36299"/>
            </a:xfrm>
            <a:custGeom>
              <a:avLst/>
              <a:gdLst>
                <a:gd name="connsiteX0" fmla="*/ 86688 w 92026"/>
                <a:gd name="connsiteY0" fmla="*/ 36300 h 36299"/>
                <a:gd name="connsiteX1" fmla="*/ 80586 w 92026"/>
                <a:gd name="connsiteY1" fmla="*/ 33249 h 36299"/>
                <a:gd name="connsiteX2" fmla="*/ 13468 w 92026"/>
                <a:gd name="connsiteY2" fmla="*/ 27147 h 36299"/>
                <a:gd name="connsiteX3" fmla="*/ 1263 w 92026"/>
                <a:gd name="connsiteY3" fmla="*/ 24096 h 36299"/>
                <a:gd name="connsiteX4" fmla="*/ 4314 w 92026"/>
                <a:gd name="connsiteY4" fmla="*/ 11893 h 36299"/>
                <a:gd name="connsiteX5" fmla="*/ 89739 w 92026"/>
                <a:gd name="connsiteY5" fmla="*/ 21046 h 36299"/>
                <a:gd name="connsiteX6" fmla="*/ 89739 w 92026"/>
                <a:gd name="connsiteY6" fmla="*/ 33249 h 36299"/>
                <a:gd name="connsiteX7" fmla="*/ 86688 w 92026"/>
                <a:gd name="connsiteY7" fmla="*/ 36300 h 3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6299">
                  <a:moveTo>
                    <a:pt x="86688" y="36300"/>
                  </a:moveTo>
                  <a:cubicBezTo>
                    <a:pt x="83637" y="36300"/>
                    <a:pt x="83637" y="36300"/>
                    <a:pt x="80586" y="33249"/>
                  </a:cubicBezTo>
                  <a:cubicBezTo>
                    <a:pt x="80586" y="33249"/>
                    <a:pt x="50077" y="2740"/>
                    <a:pt x="13468" y="27147"/>
                  </a:cubicBezTo>
                  <a:cubicBezTo>
                    <a:pt x="10416" y="30198"/>
                    <a:pt x="4314" y="27147"/>
                    <a:pt x="1263" y="24096"/>
                  </a:cubicBezTo>
                  <a:cubicBezTo>
                    <a:pt x="-1787" y="21046"/>
                    <a:pt x="1263" y="14944"/>
                    <a:pt x="4314" y="11893"/>
                  </a:cubicBezTo>
                  <a:cubicBezTo>
                    <a:pt x="40925" y="-12514"/>
                    <a:pt x="77535" y="5791"/>
                    <a:pt x="89739" y="21046"/>
                  </a:cubicBezTo>
                  <a:cubicBezTo>
                    <a:pt x="92789" y="24096"/>
                    <a:pt x="92789" y="30198"/>
                    <a:pt x="89739" y="33249"/>
                  </a:cubicBezTo>
                  <a:cubicBezTo>
                    <a:pt x="89739" y="36300"/>
                    <a:pt x="89739" y="36300"/>
                    <a:pt x="86688" y="36300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B8933C2B-046A-45FB-ACD3-5F2C27F17C95}"/>
                </a:ext>
              </a:extLst>
            </p:cNvPr>
            <p:cNvSpPr/>
            <p:nvPr/>
          </p:nvSpPr>
          <p:spPr>
            <a:xfrm>
              <a:off x="11750678" y="8014131"/>
              <a:ext cx="78991" cy="114126"/>
            </a:xfrm>
            <a:custGeom>
              <a:avLst/>
              <a:gdLst>
                <a:gd name="connsiteX0" fmla="*/ 13559 w 78991"/>
                <a:gd name="connsiteY0" fmla="*/ 16740 h 114126"/>
                <a:gd name="connsiteX1" fmla="*/ 71526 w 78991"/>
                <a:gd name="connsiteY1" fmla="*/ 7587 h 114126"/>
                <a:gd name="connsiteX2" fmla="*/ 13559 w 78991"/>
                <a:gd name="connsiteY2" fmla="*/ 111316 h 114126"/>
                <a:gd name="connsiteX3" fmla="*/ 13559 w 78991"/>
                <a:gd name="connsiteY3" fmla="*/ 16740 h 11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91" h="114126">
                  <a:moveTo>
                    <a:pt x="13559" y="16740"/>
                  </a:moveTo>
                  <a:cubicBezTo>
                    <a:pt x="13559" y="16740"/>
                    <a:pt x="47119" y="-13769"/>
                    <a:pt x="71526" y="7587"/>
                  </a:cubicBezTo>
                  <a:cubicBezTo>
                    <a:pt x="95933" y="25892"/>
                    <a:pt x="56272" y="132672"/>
                    <a:pt x="13559" y="111316"/>
                  </a:cubicBezTo>
                  <a:cubicBezTo>
                    <a:pt x="-16949" y="89960"/>
                    <a:pt x="13559" y="16740"/>
                    <a:pt x="13559" y="16740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1A06FE50-E10C-4B90-AEA7-B223FCC12AFE}"/>
                </a:ext>
              </a:extLst>
            </p:cNvPr>
            <p:cNvSpPr/>
            <p:nvPr/>
          </p:nvSpPr>
          <p:spPr>
            <a:xfrm>
              <a:off x="11321325" y="7644506"/>
              <a:ext cx="513082" cy="404670"/>
            </a:xfrm>
            <a:custGeom>
              <a:avLst/>
              <a:gdLst>
                <a:gd name="connsiteX0" fmla="*/ 449014 w 513082"/>
                <a:gd name="connsiteY0" fmla="*/ 136196 h 404670"/>
                <a:gd name="connsiteX1" fmla="*/ 430709 w 513082"/>
                <a:gd name="connsiteY1" fmla="*/ 96535 h 404670"/>
                <a:gd name="connsiteX2" fmla="*/ 418506 w 513082"/>
                <a:gd name="connsiteY2" fmla="*/ 99586 h 404670"/>
                <a:gd name="connsiteX3" fmla="*/ 387997 w 513082"/>
                <a:gd name="connsiteY3" fmla="*/ 78230 h 404670"/>
                <a:gd name="connsiteX4" fmla="*/ 375794 w 513082"/>
                <a:gd name="connsiteY4" fmla="*/ 59924 h 404670"/>
                <a:gd name="connsiteX5" fmla="*/ 345286 w 513082"/>
                <a:gd name="connsiteY5" fmla="*/ 26365 h 404670"/>
                <a:gd name="connsiteX6" fmla="*/ 311726 w 513082"/>
                <a:gd name="connsiteY6" fmla="*/ 23314 h 404670"/>
                <a:gd name="connsiteX7" fmla="*/ 256811 w 513082"/>
                <a:gd name="connsiteY7" fmla="*/ 8060 h 404670"/>
                <a:gd name="connsiteX8" fmla="*/ 244607 w 513082"/>
                <a:gd name="connsiteY8" fmla="*/ 1959 h 404670"/>
                <a:gd name="connsiteX9" fmla="*/ 119523 w 513082"/>
                <a:gd name="connsiteY9" fmla="*/ 38569 h 404670"/>
                <a:gd name="connsiteX10" fmla="*/ 58506 w 513082"/>
                <a:gd name="connsiteY10" fmla="*/ 59924 h 404670"/>
                <a:gd name="connsiteX11" fmla="*/ 43252 w 513082"/>
                <a:gd name="connsiteY11" fmla="*/ 102637 h 404670"/>
                <a:gd name="connsiteX12" fmla="*/ 24947 w 513082"/>
                <a:gd name="connsiteY12" fmla="*/ 130094 h 404670"/>
                <a:gd name="connsiteX13" fmla="*/ 18845 w 513082"/>
                <a:gd name="connsiteY13" fmla="*/ 166704 h 404670"/>
                <a:gd name="connsiteX14" fmla="*/ 21896 w 513082"/>
                <a:gd name="connsiteY14" fmla="*/ 200264 h 404670"/>
                <a:gd name="connsiteX15" fmla="*/ 3590 w 513082"/>
                <a:gd name="connsiteY15" fmla="*/ 242975 h 404670"/>
                <a:gd name="connsiteX16" fmla="*/ 21896 w 513082"/>
                <a:gd name="connsiteY16" fmla="*/ 340603 h 404670"/>
                <a:gd name="connsiteX17" fmla="*/ 31048 w 513082"/>
                <a:gd name="connsiteY17" fmla="*/ 343653 h 404670"/>
                <a:gd name="connsiteX18" fmla="*/ 40201 w 513082"/>
                <a:gd name="connsiteY18" fmla="*/ 374162 h 404670"/>
                <a:gd name="connsiteX19" fmla="*/ 58506 w 513082"/>
                <a:gd name="connsiteY19" fmla="*/ 319246 h 404670"/>
                <a:gd name="connsiteX20" fmla="*/ 89015 w 513082"/>
                <a:gd name="connsiteY20" fmla="*/ 307043 h 404670"/>
                <a:gd name="connsiteX21" fmla="*/ 107319 w 513082"/>
                <a:gd name="connsiteY21" fmla="*/ 285687 h 404670"/>
                <a:gd name="connsiteX22" fmla="*/ 113421 w 513082"/>
                <a:gd name="connsiteY22" fmla="*/ 276535 h 404670"/>
                <a:gd name="connsiteX23" fmla="*/ 119523 w 513082"/>
                <a:gd name="connsiteY23" fmla="*/ 273484 h 404670"/>
                <a:gd name="connsiteX24" fmla="*/ 125624 w 513082"/>
                <a:gd name="connsiteY24" fmla="*/ 273484 h 404670"/>
                <a:gd name="connsiteX25" fmla="*/ 131726 w 513082"/>
                <a:gd name="connsiteY25" fmla="*/ 270433 h 404670"/>
                <a:gd name="connsiteX26" fmla="*/ 140879 w 513082"/>
                <a:gd name="connsiteY26" fmla="*/ 264332 h 404670"/>
                <a:gd name="connsiteX27" fmla="*/ 153082 w 513082"/>
                <a:gd name="connsiteY27" fmla="*/ 267382 h 404670"/>
                <a:gd name="connsiteX28" fmla="*/ 165286 w 513082"/>
                <a:gd name="connsiteY28" fmla="*/ 267382 h 404670"/>
                <a:gd name="connsiteX29" fmla="*/ 201896 w 513082"/>
                <a:gd name="connsiteY29" fmla="*/ 258230 h 404670"/>
                <a:gd name="connsiteX30" fmla="*/ 253760 w 513082"/>
                <a:gd name="connsiteY30" fmla="*/ 242975 h 404670"/>
                <a:gd name="connsiteX31" fmla="*/ 269015 w 513082"/>
                <a:gd name="connsiteY31" fmla="*/ 252128 h 404670"/>
                <a:gd name="connsiteX32" fmla="*/ 305624 w 513082"/>
                <a:gd name="connsiteY32" fmla="*/ 230772 h 404670"/>
                <a:gd name="connsiteX33" fmla="*/ 317828 w 513082"/>
                <a:gd name="connsiteY33" fmla="*/ 233823 h 404670"/>
                <a:gd name="connsiteX34" fmla="*/ 394099 w 513082"/>
                <a:gd name="connsiteY34" fmla="*/ 261281 h 404670"/>
                <a:gd name="connsiteX35" fmla="*/ 403252 w 513082"/>
                <a:gd name="connsiteY35" fmla="*/ 264332 h 404670"/>
                <a:gd name="connsiteX36" fmla="*/ 455116 w 513082"/>
                <a:gd name="connsiteY36" fmla="*/ 404670 h 404670"/>
                <a:gd name="connsiteX37" fmla="*/ 513082 w 513082"/>
                <a:gd name="connsiteY37" fmla="*/ 303992 h 404670"/>
                <a:gd name="connsiteX38" fmla="*/ 449014 w 513082"/>
                <a:gd name="connsiteY38" fmla="*/ 136196 h 40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3082" h="404670">
                  <a:moveTo>
                    <a:pt x="449014" y="136196"/>
                  </a:moveTo>
                  <a:cubicBezTo>
                    <a:pt x="449014" y="120941"/>
                    <a:pt x="445963" y="105687"/>
                    <a:pt x="430709" y="96535"/>
                  </a:cubicBezTo>
                  <a:cubicBezTo>
                    <a:pt x="415455" y="84331"/>
                    <a:pt x="418506" y="96535"/>
                    <a:pt x="418506" y="99586"/>
                  </a:cubicBezTo>
                  <a:cubicBezTo>
                    <a:pt x="409354" y="93484"/>
                    <a:pt x="400201" y="84331"/>
                    <a:pt x="387997" y="78230"/>
                  </a:cubicBezTo>
                  <a:cubicBezTo>
                    <a:pt x="381895" y="72128"/>
                    <a:pt x="378845" y="66027"/>
                    <a:pt x="375794" y="59924"/>
                  </a:cubicBezTo>
                  <a:cubicBezTo>
                    <a:pt x="366641" y="47721"/>
                    <a:pt x="360540" y="35518"/>
                    <a:pt x="345286" y="26365"/>
                  </a:cubicBezTo>
                  <a:cubicBezTo>
                    <a:pt x="333083" y="20264"/>
                    <a:pt x="323929" y="23314"/>
                    <a:pt x="311726" y="23314"/>
                  </a:cubicBezTo>
                  <a:cubicBezTo>
                    <a:pt x="290370" y="23314"/>
                    <a:pt x="275116" y="17213"/>
                    <a:pt x="256811" y="8060"/>
                  </a:cubicBezTo>
                  <a:cubicBezTo>
                    <a:pt x="253760" y="5010"/>
                    <a:pt x="247658" y="1959"/>
                    <a:pt x="244607" y="1959"/>
                  </a:cubicBezTo>
                  <a:cubicBezTo>
                    <a:pt x="198844" y="-10245"/>
                    <a:pt x="165286" y="38569"/>
                    <a:pt x="119523" y="38569"/>
                  </a:cubicBezTo>
                  <a:cubicBezTo>
                    <a:pt x="95116" y="38569"/>
                    <a:pt x="70709" y="35518"/>
                    <a:pt x="58506" y="59924"/>
                  </a:cubicBezTo>
                  <a:cubicBezTo>
                    <a:pt x="52404" y="75179"/>
                    <a:pt x="52404" y="87382"/>
                    <a:pt x="43252" y="102637"/>
                  </a:cubicBezTo>
                  <a:cubicBezTo>
                    <a:pt x="37150" y="111789"/>
                    <a:pt x="27998" y="120941"/>
                    <a:pt x="24947" y="130094"/>
                  </a:cubicBezTo>
                  <a:cubicBezTo>
                    <a:pt x="18845" y="139247"/>
                    <a:pt x="15794" y="154501"/>
                    <a:pt x="18845" y="166704"/>
                  </a:cubicBezTo>
                  <a:cubicBezTo>
                    <a:pt x="21896" y="185009"/>
                    <a:pt x="31048" y="185009"/>
                    <a:pt x="21896" y="200264"/>
                  </a:cubicBezTo>
                  <a:cubicBezTo>
                    <a:pt x="15794" y="215518"/>
                    <a:pt x="6641" y="227721"/>
                    <a:pt x="3590" y="242975"/>
                  </a:cubicBezTo>
                  <a:cubicBezTo>
                    <a:pt x="-5562" y="276535"/>
                    <a:pt x="3590" y="310094"/>
                    <a:pt x="21896" y="340603"/>
                  </a:cubicBezTo>
                  <a:cubicBezTo>
                    <a:pt x="24947" y="343653"/>
                    <a:pt x="27998" y="343653"/>
                    <a:pt x="31048" y="343653"/>
                  </a:cubicBezTo>
                  <a:cubicBezTo>
                    <a:pt x="34099" y="361959"/>
                    <a:pt x="40201" y="374162"/>
                    <a:pt x="40201" y="374162"/>
                  </a:cubicBezTo>
                  <a:cubicBezTo>
                    <a:pt x="37150" y="355857"/>
                    <a:pt x="43252" y="337552"/>
                    <a:pt x="58506" y="319246"/>
                  </a:cubicBezTo>
                  <a:cubicBezTo>
                    <a:pt x="67658" y="316196"/>
                    <a:pt x="79862" y="313145"/>
                    <a:pt x="89015" y="307043"/>
                  </a:cubicBezTo>
                  <a:cubicBezTo>
                    <a:pt x="98167" y="300942"/>
                    <a:pt x="101218" y="291789"/>
                    <a:pt x="107319" y="285687"/>
                  </a:cubicBezTo>
                  <a:cubicBezTo>
                    <a:pt x="107319" y="282636"/>
                    <a:pt x="110370" y="279586"/>
                    <a:pt x="113421" y="276535"/>
                  </a:cubicBezTo>
                  <a:cubicBezTo>
                    <a:pt x="116472" y="276535"/>
                    <a:pt x="119523" y="273484"/>
                    <a:pt x="119523" y="273484"/>
                  </a:cubicBezTo>
                  <a:cubicBezTo>
                    <a:pt x="122573" y="273484"/>
                    <a:pt x="122573" y="273484"/>
                    <a:pt x="125624" y="273484"/>
                  </a:cubicBezTo>
                  <a:cubicBezTo>
                    <a:pt x="128675" y="270433"/>
                    <a:pt x="128675" y="270433"/>
                    <a:pt x="131726" y="270433"/>
                  </a:cubicBezTo>
                  <a:cubicBezTo>
                    <a:pt x="134777" y="267382"/>
                    <a:pt x="137828" y="267382"/>
                    <a:pt x="140879" y="264332"/>
                  </a:cubicBezTo>
                  <a:cubicBezTo>
                    <a:pt x="143930" y="264332"/>
                    <a:pt x="150032" y="264332"/>
                    <a:pt x="153082" y="267382"/>
                  </a:cubicBezTo>
                  <a:cubicBezTo>
                    <a:pt x="156133" y="267382"/>
                    <a:pt x="162235" y="267382"/>
                    <a:pt x="165286" y="267382"/>
                  </a:cubicBezTo>
                  <a:cubicBezTo>
                    <a:pt x="177489" y="267382"/>
                    <a:pt x="189692" y="264332"/>
                    <a:pt x="201896" y="258230"/>
                  </a:cubicBezTo>
                  <a:cubicBezTo>
                    <a:pt x="220201" y="249077"/>
                    <a:pt x="229353" y="233823"/>
                    <a:pt x="253760" y="242975"/>
                  </a:cubicBezTo>
                  <a:cubicBezTo>
                    <a:pt x="259861" y="246026"/>
                    <a:pt x="262912" y="252128"/>
                    <a:pt x="269015" y="252128"/>
                  </a:cubicBezTo>
                  <a:cubicBezTo>
                    <a:pt x="284269" y="255179"/>
                    <a:pt x="296472" y="242975"/>
                    <a:pt x="305624" y="230772"/>
                  </a:cubicBezTo>
                  <a:cubicBezTo>
                    <a:pt x="308675" y="230772"/>
                    <a:pt x="314777" y="233823"/>
                    <a:pt x="317828" y="233823"/>
                  </a:cubicBezTo>
                  <a:cubicBezTo>
                    <a:pt x="339184" y="249077"/>
                    <a:pt x="366641" y="258230"/>
                    <a:pt x="394099" y="261281"/>
                  </a:cubicBezTo>
                  <a:cubicBezTo>
                    <a:pt x="400201" y="264332"/>
                    <a:pt x="403252" y="264332"/>
                    <a:pt x="403252" y="264332"/>
                  </a:cubicBezTo>
                  <a:cubicBezTo>
                    <a:pt x="403252" y="264332"/>
                    <a:pt x="461218" y="374162"/>
                    <a:pt x="455116" y="404670"/>
                  </a:cubicBezTo>
                  <a:cubicBezTo>
                    <a:pt x="455116" y="404670"/>
                    <a:pt x="497828" y="358908"/>
                    <a:pt x="513082" y="303992"/>
                  </a:cubicBezTo>
                  <a:cubicBezTo>
                    <a:pt x="513082" y="246026"/>
                    <a:pt x="506980" y="157552"/>
                    <a:pt x="449014" y="136196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2EA22473-D5B6-41C1-9F9F-664B96BF9BF0}"/>
                </a:ext>
              </a:extLst>
            </p:cNvPr>
            <p:cNvSpPr/>
            <p:nvPr/>
          </p:nvSpPr>
          <p:spPr>
            <a:xfrm>
              <a:off x="11462204" y="8235278"/>
              <a:ext cx="250169" cy="258417"/>
            </a:xfrm>
            <a:custGeom>
              <a:avLst/>
              <a:gdLst>
                <a:gd name="connsiteX0" fmla="*/ 0 w 250169"/>
                <a:gd name="connsiteY0" fmla="*/ 39661 h 258417"/>
                <a:gd name="connsiteX1" fmla="*/ 6102 w 250169"/>
                <a:gd name="connsiteY1" fmla="*/ 213559 h 258417"/>
                <a:gd name="connsiteX2" fmla="*/ 250170 w 250169"/>
                <a:gd name="connsiteY2" fmla="*/ 204407 h 258417"/>
                <a:gd name="connsiteX3" fmla="*/ 234916 w 250169"/>
                <a:gd name="connsiteY3" fmla="*/ 0 h 258417"/>
                <a:gd name="connsiteX4" fmla="*/ 0 w 250169"/>
                <a:gd name="connsiteY4" fmla="*/ 39661 h 25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69" h="258417">
                  <a:moveTo>
                    <a:pt x="0" y="39661"/>
                  </a:moveTo>
                  <a:cubicBezTo>
                    <a:pt x="0" y="39661"/>
                    <a:pt x="6102" y="140339"/>
                    <a:pt x="6102" y="213559"/>
                  </a:cubicBezTo>
                  <a:cubicBezTo>
                    <a:pt x="6102" y="213559"/>
                    <a:pt x="100679" y="320339"/>
                    <a:pt x="250170" y="204407"/>
                  </a:cubicBezTo>
                  <a:cubicBezTo>
                    <a:pt x="250170" y="143390"/>
                    <a:pt x="237967" y="64068"/>
                    <a:pt x="234916" y="0"/>
                  </a:cubicBezTo>
                  <a:cubicBezTo>
                    <a:pt x="234916" y="0"/>
                    <a:pt x="51865" y="51864"/>
                    <a:pt x="0" y="3966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48B2BDEB-5085-48AC-95AF-6BA511B22033}"/>
                </a:ext>
              </a:extLst>
            </p:cNvPr>
            <p:cNvSpPr/>
            <p:nvPr/>
          </p:nvSpPr>
          <p:spPr>
            <a:xfrm>
              <a:off x="10900393" y="8400024"/>
              <a:ext cx="1223844" cy="1567951"/>
            </a:xfrm>
            <a:custGeom>
              <a:avLst/>
              <a:gdLst>
                <a:gd name="connsiteX0" fmla="*/ 827234 w 1223844"/>
                <a:gd name="connsiteY0" fmla="*/ 0 h 1567951"/>
                <a:gd name="connsiteX1" fmla="*/ 537404 w 1223844"/>
                <a:gd name="connsiteY1" fmla="*/ 0 h 1567951"/>
                <a:gd name="connsiteX2" fmla="*/ 238420 w 1223844"/>
                <a:gd name="connsiteY2" fmla="*/ 131187 h 1567951"/>
                <a:gd name="connsiteX3" fmla="*/ 152997 w 1223844"/>
                <a:gd name="connsiteY3" fmla="*/ 1537627 h 1567951"/>
                <a:gd name="connsiteX4" fmla="*/ 1223845 w 1223844"/>
                <a:gd name="connsiteY4" fmla="*/ 1513220 h 1567951"/>
                <a:gd name="connsiteX5" fmla="*/ 1107912 w 1223844"/>
                <a:gd name="connsiteY5" fmla="*/ 103729 h 1567951"/>
                <a:gd name="connsiteX6" fmla="*/ 827234 w 1223844"/>
                <a:gd name="connsiteY6" fmla="*/ 0 h 156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3844" h="1567951">
                  <a:moveTo>
                    <a:pt x="827234" y="0"/>
                  </a:moveTo>
                  <a:cubicBezTo>
                    <a:pt x="827234" y="0"/>
                    <a:pt x="653336" y="54915"/>
                    <a:pt x="537404" y="0"/>
                  </a:cubicBezTo>
                  <a:cubicBezTo>
                    <a:pt x="537404" y="0"/>
                    <a:pt x="262828" y="97627"/>
                    <a:pt x="238420" y="131187"/>
                  </a:cubicBezTo>
                  <a:cubicBezTo>
                    <a:pt x="214014" y="161695"/>
                    <a:pt x="-225308" y="1202034"/>
                    <a:pt x="152997" y="1537627"/>
                  </a:cubicBezTo>
                  <a:cubicBezTo>
                    <a:pt x="152997" y="1537627"/>
                    <a:pt x="644184" y="1620000"/>
                    <a:pt x="1223845" y="1513220"/>
                  </a:cubicBezTo>
                  <a:cubicBezTo>
                    <a:pt x="1223845" y="1156272"/>
                    <a:pt x="1150624" y="134238"/>
                    <a:pt x="1107912" y="103729"/>
                  </a:cubicBezTo>
                  <a:cubicBezTo>
                    <a:pt x="1068251" y="70170"/>
                    <a:pt x="827234" y="0"/>
                    <a:pt x="827234" y="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5BA99427-7711-4A10-B16A-820C8E68C547}"/>
                </a:ext>
              </a:extLst>
            </p:cNvPr>
            <p:cNvSpPr/>
            <p:nvPr/>
          </p:nvSpPr>
          <p:spPr>
            <a:xfrm>
              <a:off x="10897797" y="8525871"/>
              <a:ext cx="249407" cy="850423"/>
            </a:xfrm>
            <a:custGeom>
              <a:avLst/>
              <a:gdLst>
                <a:gd name="connsiteX0" fmla="*/ 6102 w 249407"/>
                <a:gd name="connsiteY0" fmla="*/ 850424 h 850423"/>
                <a:gd name="connsiteX1" fmla="*/ 6102 w 249407"/>
                <a:gd name="connsiteY1" fmla="*/ 850424 h 850423"/>
                <a:gd name="connsiteX2" fmla="*/ 0 w 249407"/>
                <a:gd name="connsiteY2" fmla="*/ 844322 h 850423"/>
                <a:gd name="connsiteX3" fmla="*/ 237967 w 249407"/>
                <a:gd name="connsiteY3" fmla="*/ 2288 h 850423"/>
                <a:gd name="connsiteX4" fmla="*/ 247119 w 249407"/>
                <a:gd name="connsiteY4" fmla="*/ 2288 h 850423"/>
                <a:gd name="connsiteX5" fmla="*/ 247119 w 249407"/>
                <a:gd name="connsiteY5" fmla="*/ 11441 h 850423"/>
                <a:gd name="connsiteX6" fmla="*/ 9153 w 249407"/>
                <a:gd name="connsiteY6" fmla="*/ 847373 h 850423"/>
                <a:gd name="connsiteX7" fmla="*/ 6102 w 249407"/>
                <a:gd name="connsiteY7" fmla="*/ 850424 h 850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407" h="850423">
                  <a:moveTo>
                    <a:pt x="6102" y="850424"/>
                  </a:moveTo>
                  <a:cubicBezTo>
                    <a:pt x="6102" y="850424"/>
                    <a:pt x="6102" y="850424"/>
                    <a:pt x="6102" y="850424"/>
                  </a:cubicBezTo>
                  <a:cubicBezTo>
                    <a:pt x="3051" y="850424"/>
                    <a:pt x="0" y="847373"/>
                    <a:pt x="0" y="844322"/>
                  </a:cubicBezTo>
                  <a:cubicBezTo>
                    <a:pt x="0" y="838220"/>
                    <a:pt x="97627" y="200593"/>
                    <a:pt x="237967" y="2288"/>
                  </a:cubicBezTo>
                  <a:cubicBezTo>
                    <a:pt x="241017" y="-763"/>
                    <a:pt x="244068" y="-763"/>
                    <a:pt x="247119" y="2288"/>
                  </a:cubicBezTo>
                  <a:cubicBezTo>
                    <a:pt x="250170" y="5339"/>
                    <a:pt x="250170" y="8390"/>
                    <a:pt x="247119" y="11441"/>
                  </a:cubicBezTo>
                  <a:cubicBezTo>
                    <a:pt x="109831" y="206695"/>
                    <a:pt x="12203" y="841271"/>
                    <a:pt x="9153" y="847373"/>
                  </a:cubicBezTo>
                  <a:cubicBezTo>
                    <a:pt x="12203" y="847373"/>
                    <a:pt x="9153" y="850424"/>
                    <a:pt x="6102" y="850424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D3A2E04F-812B-45FF-892B-6AF70255212F}"/>
                </a:ext>
              </a:extLst>
            </p:cNvPr>
            <p:cNvSpPr/>
            <p:nvPr/>
          </p:nvSpPr>
          <p:spPr>
            <a:xfrm>
              <a:off x="11453052" y="8264523"/>
              <a:ext cx="245331" cy="68382"/>
            </a:xfrm>
            <a:custGeom>
              <a:avLst/>
              <a:gdLst>
                <a:gd name="connsiteX0" fmla="*/ 103729 w 245331"/>
                <a:gd name="connsiteY0" fmla="*/ 68382 h 68382"/>
                <a:gd name="connsiteX1" fmla="*/ 82372 w 245331"/>
                <a:gd name="connsiteY1" fmla="*/ 65331 h 68382"/>
                <a:gd name="connsiteX2" fmla="*/ 27457 w 245331"/>
                <a:gd name="connsiteY2" fmla="*/ 47027 h 68382"/>
                <a:gd name="connsiteX3" fmla="*/ 3051 w 245331"/>
                <a:gd name="connsiteY3" fmla="*/ 34823 h 68382"/>
                <a:gd name="connsiteX4" fmla="*/ 0 w 245331"/>
                <a:gd name="connsiteY4" fmla="*/ 25671 h 68382"/>
                <a:gd name="connsiteX5" fmla="*/ 9152 w 245331"/>
                <a:gd name="connsiteY5" fmla="*/ 22620 h 68382"/>
                <a:gd name="connsiteX6" fmla="*/ 18305 w 245331"/>
                <a:gd name="connsiteY6" fmla="*/ 28721 h 68382"/>
                <a:gd name="connsiteX7" fmla="*/ 24406 w 245331"/>
                <a:gd name="connsiteY7" fmla="*/ 28721 h 68382"/>
                <a:gd name="connsiteX8" fmla="*/ 33560 w 245331"/>
                <a:gd name="connsiteY8" fmla="*/ 34823 h 68382"/>
                <a:gd name="connsiteX9" fmla="*/ 82372 w 245331"/>
                <a:gd name="connsiteY9" fmla="*/ 53128 h 68382"/>
                <a:gd name="connsiteX10" fmla="*/ 94576 w 245331"/>
                <a:gd name="connsiteY10" fmla="*/ 53128 h 68382"/>
                <a:gd name="connsiteX11" fmla="*/ 94576 w 245331"/>
                <a:gd name="connsiteY11" fmla="*/ 53128 h 68382"/>
                <a:gd name="connsiteX12" fmla="*/ 186102 w 245331"/>
                <a:gd name="connsiteY12" fmla="*/ 25671 h 68382"/>
                <a:gd name="connsiteX13" fmla="*/ 234915 w 245331"/>
                <a:gd name="connsiteY13" fmla="*/ 1264 h 68382"/>
                <a:gd name="connsiteX14" fmla="*/ 244068 w 245331"/>
                <a:gd name="connsiteY14" fmla="*/ 4314 h 68382"/>
                <a:gd name="connsiteX15" fmla="*/ 241017 w 245331"/>
                <a:gd name="connsiteY15" fmla="*/ 13467 h 68382"/>
                <a:gd name="connsiteX16" fmla="*/ 192203 w 245331"/>
                <a:gd name="connsiteY16" fmla="*/ 37874 h 68382"/>
                <a:gd name="connsiteX17" fmla="*/ 118983 w 245331"/>
                <a:gd name="connsiteY17" fmla="*/ 65331 h 68382"/>
                <a:gd name="connsiteX18" fmla="*/ 103729 w 245331"/>
                <a:gd name="connsiteY18" fmla="*/ 68382 h 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5331" h="68382">
                  <a:moveTo>
                    <a:pt x="103729" y="68382"/>
                  </a:moveTo>
                  <a:cubicBezTo>
                    <a:pt x="97627" y="68382"/>
                    <a:pt x="88474" y="68382"/>
                    <a:pt x="82372" y="65331"/>
                  </a:cubicBezTo>
                  <a:cubicBezTo>
                    <a:pt x="57966" y="62281"/>
                    <a:pt x="39661" y="53128"/>
                    <a:pt x="27457" y="47027"/>
                  </a:cubicBezTo>
                  <a:cubicBezTo>
                    <a:pt x="15254" y="40925"/>
                    <a:pt x="6101" y="34823"/>
                    <a:pt x="3051" y="34823"/>
                  </a:cubicBezTo>
                  <a:cubicBezTo>
                    <a:pt x="0" y="31772"/>
                    <a:pt x="0" y="28721"/>
                    <a:pt x="0" y="25671"/>
                  </a:cubicBezTo>
                  <a:cubicBezTo>
                    <a:pt x="3051" y="22620"/>
                    <a:pt x="6101" y="22620"/>
                    <a:pt x="9152" y="22620"/>
                  </a:cubicBezTo>
                  <a:cubicBezTo>
                    <a:pt x="9152" y="22620"/>
                    <a:pt x="12203" y="25671"/>
                    <a:pt x="18305" y="28721"/>
                  </a:cubicBezTo>
                  <a:cubicBezTo>
                    <a:pt x="21355" y="28721"/>
                    <a:pt x="21355" y="28721"/>
                    <a:pt x="24406" y="28721"/>
                  </a:cubicBezTo>
                  <a:cubicBezTo>
                    <a:pt x="24406" y="28721"/>
                    <a:pt x="27457" y="31772"/>
                    <a:pt x="33560" y="34823"/>
                  </a:cubicBezTo>
                  <a:cubicBezTo>
                    <a:pt x="48814" y="40925"/>
                    <a:pt x="67118" y="50077"/>
                    <a:pt x="82372" y="53128"/>
                  </a:cubicBezTo>
                  <a:cubicBezTo>
                    <a:pt x="85423" y="53128"/>
                    <a:pt x="91525" y="53128"/>
                    <a:pt x="94576" y="53128"/>
                  </a:cubicBezTo>
                  <a:cubicBezTo>
                    <a:pt x="94576" y="53128"/>
                    <a:pt x="94576" y="53128"/>
                    <a:pt x="94576" y="53128"/>
                  </a:cubicBezTo>
                  <a:cubicBezTo>
                    <a:pt x="118983" y="53128"/>
                    <a:pt x="155593" y="37874"/>
                    <a:pt x="186102" y="25671"/>
                  </a:cubicBezTo>
                  <a:cubicBezTo>
                    <a:pt x="210508" y="13467"/>
                    <a:pt x="231865" y="1264"/>
                    <a:pt x="234915" y="1264"/>
                  </a:cubicBezTo>
                  <a:cubicBezTo>
                    <a:pt x="237966" y="-1787"/>
                    <a:pt x="241017" y="1264"/>
                    <a:pt x="244068" y="4314"/>
                  </a:cubicBezTo>
                  <a:cubicBezTo>
                    <a:pt x="247119" y="7365"/>
                    <a:pt x="244068" y="10416"/>
                    <a:pt x="241017" y="13467"/>
                  </a:cubicBezTo>
                  <a:cubicBezTo>
                    <a:pt x="237966" y="13467"/>
                    <a:pt x="219660" y="25671"/>
                    <a:pt x="192203" y="37874"/>
                  </a:cubicBezTo>
                  <a:cubicBezTo>
                    <a:pt x="167797" y="50077"/>
                    <a:pt x="137288" y="62281"/>
                    <a:pt x="118983" y="65331"/>
                  </a:cubicBezTo>
                  <a:cubicBezTo>
                    <a:pt x="112881" y="68382"/>
                    <a:pt x="109831" y="68382"/>
                    <a:pt x="103729" y="68382"/>
                  </a:cubicBezTo>
                  <a:close/>
                </a:path>
              </a:pathLst>
            </a:custGeom>
            <a:solidFill>
              <a:srgbClr val="E87952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8" name="图形 1">
              <a:extLst>
                <a:ext uri="{FF2B5EF4-FFF2-40B4-BE49-F238E27FC236}">
                  <a16:creationId xmlns:a16="http://schemas.microsoft.com/office/drawing/2014/main" id="{106DCF95-1238-4512-8B1C-FBF292E4346C}"/>
                </a:ext>
              </a:extLst>
            </p:cNvPr>
            <p:cNvGrpSpPr/>
            <p:nvPr/>
          </p:nvGrpSpPr>
          <p:grpSpPr>
            <a:xfrm>
              <a:off x="11268163" y="7550491"/>
              <a:ext cx="796582" cy="346143"/>
              <a:chOff x="11268163" y="7550491"/>
              <a:chExt cx="796582" cy="346143"/>
            </a:xfrm>
          </p:grpSpPr>
          <p:grpSp>
            <p:nvGrpSpPr>
              <p:cNvPr id="117" name="图形 1">
                <a:extLst>
                  <a:ext uri="{FF2B5EF4-FFF2-40B4-BE49-F238E27FC236}">
                    <a16:creationId xmlns:a16="http://schemas.microsoft.com/office/drawing/2014/main" id="{B49BA279-FF91-4B88-9121-6CB912ACC184}"/>
                  </a:ext>
                </a:extLst>
              </p:cNvPr>
              <p:cNvGrpSpPr/>
              <p:nvPr/>
            </p:nvGrpSpPr>
            <p:grpSpPr>
              <a:xfrm>
                <a:off x="11294383" y="7550491"/>
                <a:ext cx="770362" cy="325789"/>
                <a:chOff x="11294383" y="7550491"/>
                <a:chExt cx="770362" cy="325789"/>
              </a:xfrm>
            </p:grpSpPr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8F6DDB6A-CF48-4EA1-B402-DA8A8B523627}"/>
                    </a:ext>
                  </a:extLst>
                </p:cNvPr>
                <p:cNvSpPr/>
                <p:nvPr/>
              </p:nvSpPr>
              <p:spPr>
                <a:xfrm>
                  <a:off x="11294383" y="7550491"/>
                  <a:ext cx="619346" cy="325789"/>
                </a:xfrm>
                <a:custGeom>
                  <a:avLst/>
                  <a:gdLst>
                    <a:gd name="connsiteX0" fmla="*/ 176974 w 619346"/>
                    <a:gd name="connsiteY0" fmla="*/ 19703 h 325789"/>
                    <a:gd name="connsiteX1" fmla="*/ 616295 w 619346"/>
                    <a:gd name="connsiteY1" fmla="*/ 138685 h 325789"/>
                    <a:gd name="connsiteX2" fmla="*/ 619346 w 619346"/>
                    <a:gd name="connsiteY2" fmla="*/ 147838 h 325789"/>
                    <a:gd name="connsiteX3" fmla="*/ 543075 w 619346"/>
                    <a:gd name="connsiteY3" fmla="*/ 208855 h 325789"/>
                    <a:gd name="connsiteX4" fmla="*/ 564431 w 619346"/>
                    <a:gd name="connsiteY4" fmla="*/ 294279 h 325789"/>
                    <a:gd name="connsiteX5" fmla="*/ 561380 w 619346"/>
                    <a:gd name="connsiteY5" fmla="*/ 300381 h 325789"/>
                    <a:gd name="connsiteX6" fmla="*/ 555278 w 619346"/>
                    <a:gd name="connsiteY6" fmla="*/ 303432 h 325789"/>
                    <a:gd name="connsiteX7" fmla="*/ 219685 w 619346"/>
                    <a:gd name="connsiteY7" fmla="*/ 324787 h 325789"/>
                    <a:gd name="connsiteX8" fmla="*/ 6126 w 619346"/>
                    <a:gd name="connsiteY8" fmla="*/ 282076 h 325789"/>
                    <a:gd name="connsiteX9" fmla="*/ 24 w 619346"/>
                    <a:gd name="connsiteY9" fmla="*/ 272923 h 325789"/>
                    <a:gd name="connsiteX10" fmla="*/ 176974 w 619346"/>
                    <a:gd name="connsiteY10" fmla="*/ 19703 h 325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19346" h="325789">
                      <a:moveTo>
                        <a:pt x="176974" y="19703"/>
                      </a:moveTo>
                      <a:cubicBezTo>
                        <a:pt x="341719" y="-29111"/>
                        <a:pt x="500363" y="13601"/>
                        <a:pt x="616295" y="138685"/>
                      </a:cubicBezTo>
                      <a:cubicBezTo>
                        <a:pt x="619346" y="141737"/>
                        <a:pt x="619346" y="144788"/>
                        <a:pt x="619346" y="147838"/>
                      </a:cubicBezTo>
                      <a:cubicBezTo>
                        <a:pt x="619346" y="150889"/>
                        <a:pt x="597990" y="196652"/>
                        <a:pt x="543075" y="208855"/>
                      </a:cubicBezTo>
                      <a:cubicBezTo>
                        <a:pt x="558330" y="248516"/>
                        <a:pt x="564431" y="291228"/>
                        <a:pt x="564431" y="294279"/>
                      </a:cubicBezTo>
                      <a:cubicBezTo>
                        <a:pt x="564431" y="297330"/>
                        <a:pt x="564431" y="300381"/>
                        <a:pt x="561380" y="300381"/>
                      </a:cubicBezTo>
                      <a:cubicBezTo>
                        <a:pt x="561380" y="303432"/>
                        <a:pt x="558330" y="303432"/>
                        <a:pt x="555278" y="303432"/>
                      </a:cubicBezTo>
                      <a:cubicBezTo>
                        <a:pt x="414939" y="324787"/>
                        <a:pt x="305109" y="327838"/>
                        <a:pt x="219685" y="324787"/>
                      </a:cubicBezTo>
                      <a:cubicBezTo>
                        <a:pt x="79346" y="315635"/>
                        <a:pt x="9177" y="285126"/>
                        <a:pt x="6126" y="282076"/>
                      </a:cubicBezTo>
                      <a:cubicBezTo>
                        <a:pt x="3075" y="282076"/>
                        <a:pt x="24" y="279025"/>
                        <a:pt x="24" y="272923"/>
                      </a:cubicBezTo>
                      <a:cubicBezTo>
                        <a:pt x="24" y="272923"/>
                        <a:pt x="-6077" y="74618"/>
                        <a:pt x="176974" y="1970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0318FEB3-C921-4A47-90C5-BBF216C86AC2}"/>
                    </a:ext>
                  </a:extLst>
                </p:cNvPr>
                <p:cNvSpPr/>
                <p:nvPr/>
              </p:nvSpPr>
              <p:spPr>
                <a:xfrm>
                  <a:off x="11851569" y="7585447"/>
                  <a:ext cx="213177" cy="205603"/>
                </a:xfrm>
                <a:custGeom>
                  <a:avLst/>
                  <a:gdLst>
                    <a:gd name="connsiteX0" fmla="*/ 1144 w 213177"/>
                    <a:gd name="connsiteY0" fmla="*/ 97627 h 205603"/>
                    <a:gd name="connsiteX1" fmla="*/ 10296 w 213177"/>
                    <a:gd name="connsiteY1" fmla="*/ 67119 h 205603"/>
                    <a:gd name="connsiteX2" fmla="*/ 22500 w 213177"/>
                    <a:gd name="connsiteY2" fmla="*/ 57966 h 205603"/>
                    <a:gd name="connsiteX3" fmla="*/ 34703 w 213177"/>
                    <a:gd name="connsiteY3" fmla="*/ 30508 h 205603"/>
                    <a:gd name="connsiteX4" fmla="*/ 56059 w 213177"/>
                    <a:gd name="connsiteY4" fmla="*/ 21356 h 205603"/>
                    <a:gd name="connsiteX5" fmla="*/ 71313 w 213177"/>
                    <a:gd name="connsiteY5" fmla="*/ 21356 h 205603"/>
                    <a:gd name="connsiteX6" fmla="*/ 117076 w 213177"/>
                    <a:gd name="connsiteY6" fmla="*/ 0 h 205603"/>
                    <a:gd name="connsiteX7" fmla="*/ 156737 w 213177"/>
                    <a:gd name="connsiteY7" fmla="*/ 30508 h 205603"/>
                    <a:gd name="connsiteX8" fmla="*/ 199449 w 213177"/>
                    <a:gd name="connsiteY8" fmla="*/ 73220 h 205603"/>
                    <a:gd name="connsiteX9" fmla="*/ 199449 w 213177"/>
                    <a:gd name="connsiteY9" fmla="*/ 128136 h 205603"/>
                    <a:gd name="connsiteX10" fmla="*/ 190296 w 213177"/>
                    <a:gd name="connsiteY10" fmla="*/ 170848 h 205603"/>
                    <a:gd name="connsiteX11" fmla="*/ 162839 w 213177"/>
                    <a:gd name="connsiteY11" fmla="*/ 183051 h 205603"/>
                    <a:gd name="connsiteX12" fmla="*/ 156737 w 213177"/>
                    <a:gd name="connsiteY12" fmla="*/ 183051 h 205603"/>
                    <a:gd name="connsiteX13" fmla="*/ 156737 w 213177"/>
                    <a:gd name="connsiteY13" fmla="*/ 183051 h 205603"/>
                    <a:gd name="connsiteX14" fmla="*/ 129279 w 213177"/>
                    <a:gd name="connsiteY14" fmla="*/ 204407 h 205603"/>
                    <a:gd name="connsiteX15" fmla="*/ 95720 w 213177"/>
                    <a:gd name="connsiteY15" fmla="*/ 198305 h 205603"/>
                    <a:gd name="connsiteX16" fmla="*/ 71313 w 213177"/>
                    <a:gd name="connsiteY16" fmla="*/ 198305 h 205603"/>
                    <a:gd name="connsiteX17" fmla="*/ 43856 w 213177"/>
                    <a:gd name="connsiteY17" fmla="*/ 176949 h 205603"/>
                    <a:gd name="connsiteX18" fmla="*/ 37754 w 213177"/>
                    <a:gd name="connsiteY18" fmla="*/ 161695 h 205603"/>
                    <a:gd name="connsiteX19" fmla="*/ 19448 w 213177"/>
                    <a:gd name="connsiteY19" fmla="*/ 146441 h 205603"/>
                    <a:gd name="connsiteX20" fmla="*/ 19448 w 213177"/>
                    <a:gd name="connsiteY20" fmla="*/ 118983 h 205603"/>
                    <a:gd name="connsiteX21" fmla="*/ 16398 w 213177"/>
                    <a:gd name="connsiteY21" fmla="*/ 115932 h 205603"/>
                    <a:gd name="connsiteX22" fmla="*/ 1144 w 213177"/>
                    <a:gd name="connsiteY22" fmla="*/ 97627 h 205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13177" h="205603">
                      <a:moveTo>
                        <a:pt x="1144" y="97627"/>
                      </a:moveTo>
                      <a:cubicBezTo>
                        <a:pt x="-1907" y="88474"/>
                        <a:pt x="1144" y="73220"/>
                        <a:pt x="10296" y="67119"/>
                      </a:cubicBezTo>
                      <a:cubicBezTo>
                        <a:pt x="13347" y="64068"/>
                        <a:pt x="19448" y="61017"/>
                        <a:pt x="22500" y="57966"/>
                      </a:cubicBezTo>
                      <a:cubicBezTo>
                        <a:pt x="22500" y="48814"/>
                        <a:pt x="25551" y="39661"/>
                        <a:pt x="34703" y="30508"/>
                      </a:cubicBezTo>
                      <a:cubicBezTo>
                        <a:pt x="40805" y="24407"/>
                        <a:pt x="46907" y="21356"/>
                        <a:pt x="56059" y="21356"/>
                      </a:cubicBezTo>
                      <a:cubicBezTo>
                        <a:pt x="59110" y="21356"/>
                        <a:pt x="65211" y="21356"/>
                        <a:pt x="71313" y="21356"/>
                      </a:cubicBezTo>
                      <a:cubicBezTo>
                        <a:pt x="80465" y="9153"/>
                        <a:pt x="95720" y="0"/>
                        <a:pt x="117076" y="0"/>
                      </a:cubicBezTo>
                      <a:cubicBezTo>
                        <a:pt x="135381" y="3051"/>
                        <a:pt x="150636" y="15254"/>
                        <a:pt x="156737" y="30508"/>
                      </a:cubicBezTo>
                      <a:cubicBezTo>
                        <a:pt x="184195" y="30508"/>
                        <a:pt x="199449" y="51864"/>
                        <a:pt x="199449" y="73220"/>
                      </a:cubicBezTo>
                      <a:cubicBezTo>
                        <a:pt x="217754" y="88474"/>
                        <a:pt x="217754" y="115932"/>
                        <a:pt x="199449" y="128136"/>
                      </a:cubicBezTo>
                      <a:cubicBezTo>
                        <a:pt x="202499" y="143390"/>
                        <a:pt x="199449" y="158644"/>
                        <a:pt x="190296" y="170848"/>
                      </a:cubicBezTo>
                      <a:cubicBezTo>
                        <a:pt x="184195" y="180000"/>
                        <a:pt x="175042" y="183051"/>
                        <a:pt x="162839" y="183051"/>
                      </a:cubicBezTo>
                      <a:cubicBezTo>
                        <a:pt x="159788" y="183051"/>
                        <a:pt x="159788" y="183051"/>
                        <a:pt x="156737" y="183051"/>
                      </a:cubicBezTo>
                      <a:cubicBezTo>
                        <a:pt x="156737" y="183051"/>
                        <a:pt x="156737" y="183051"/>
                        <a:pt x="156737" y="183051"/>
                      </a:cubicBezTo>
                      <a:cubicBezTo>
                        <a:pt x="150636" y="195254"/>
                        <a:pt x="141482" y="204407"/>
                        <a:pt x="129279" y="204407"/>
                      </a:cubicBezTo>
                      <a:cubicBezTo>
                        <a:pt x="117076" y="207458"/>
                        <a:pt x="104873" y="204407"/>
                        <a:pt x="95720" y="198305"/>
                      </a:cubicBezTo>
                      <a:cubicBezTo>
                        <a:pt x="86568" y="201356"/>
                        <a:pt x="80465" y="201356"/>
                        <a:pt x="71313" y="198305"/>
                      </a:cubicBezTo>
                      <a:cubicBezTo>
                        <a:pt x="59110" y="195254"/>
                        <a:pt x="49957" y="189152"/>
                        <a:pt x="43856" y="176949"/>
                      </a:cubicBezTo>
                      <a:cubicBezTo>
                        <a:pt x="40805" y="173898"/>
                        <a:pt x="37754" y="167797"/>
                        <a:pt x="37754" y="161695"/>
                      </a:cubicBezTo>
                      <a:cubicBezTo>
                        <a:pt x="31653" y="158644"/>
                        <a:pt x="22500" y="155593"/>
                        <a:pt x="19448" y="146441"/>
                      </a:cubicBezTo>
                      <a:cubicBezTo>
                        <a:pt x="13347" y="134237"/>
                        <a:pt x="16398" y="128136"/>
                        <a:pt x="19448" y="118983"/>
                      </a:cubicBezTo>
                      <a:cubicBezTo>
                        <a:pt x="19448" y="118983"/>
                        <a:pt x="16398" y="118983"/>
                        <a:pt x="16398" y="115932"/>
                      </a:cubicBezTo>
                      <a:cubicBezTo>
                        <a:pt x="4194" y="112881"/>
                        <a:pt x="1144" y="106780"/>
                        <a:pt x="1144" y="9762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432260DB-DBA8-4B84-B812-8C02B7FF0233}"/>
                  </a:ext>
                </a:extLst>
              </p:cNvPr>
              <p:cNvSpPr/>
              <p:nvPr/>
            </p:nvSpPr>
            <p:spPr>
              <a:xfrm>
                <a:off x="11805594" y="7706125"/>
                <a:ext cx="53219" cy="123389"/>
              </a:xfrm>
              <a:custGeom>
                <a:avLst/>
                <a:gdLst>
                  <a:gd name="connsiteX0" fmla="*/ 47119 w 53219"/>
                  <a:gd name="connsiteY0" fmla="*/ 123390 h 123389"/>
                  <a:gd name="connsiteX1" fmla="*/ 41017 w 53219"/>
                  <a:gd name="connsiteY1" fmla="*/ 117288 h 123389"/>
                  <a:gd name="connsiteX2" fmla="*/ 1356 w 53219"/>
                  <a:gd name="connsiteY2" fmla="*/ 10509 h 123389"/>
                  <a:gd name="connsiteX3" fmla="*/ 1356 w 53219"/>
                  <a:gd name="connsiteY3" fmla="*/ 1356 h 123389"/>
                  <a:gd name="connsiteX4" fmla="*/ 10508 w 53219"/>
                  <a:gd name="connsiteY4" fmla="*/ 1356 h 123389"/>
                  <a:gd name="connsiteX5" fmla="*/ 53220 w 53219"/>
                  <a:gd name="connsiteY5" fmla="*/ 111187 h 123389"/>
                  <a:gd name="connsiteX6" fmla="*/ 47119 w 53219"/>
                  <a:gd name="connsiteY6" fmla="*/ 123390 h 123389"/>
                  <a:gd name="connsiteX7" fmla="*/ 47119 w 53219"/>
                  <a:gd name="connsiteY7" fmla="*/ 123390 h 123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3219" h="123389">
                    <a:moveTo>
                      <a:pt x="47119" y="123390"/>
                    </a:moveTo>
                    <a:cubicBezTo>
                      <a:pt x="44068" y="123390"/>
                      <a:pt x="41017" y="120339"/>
                      <a:pt x="41017" y="117288"/>
                    </a:cubicBezTo>
                    <a:cubicBezTo>
                      <a:pt x="41017" y="117288"/>
                      <a:pt x="28813" y="50170"/>
                      <a:pt x="1356" y="10509"/>
                    </a:cubicBezTo>
                    <a:cubicBezTo>
                      <a:pt x="-1695" y="7458"/>
                      <a:pt x="1356" y="4407"/>
                      <a:pt x="1356" y="1356"/>
                    </a:cubicBezTo>
                    <a:cubicBezTo>
                      <a:pt x="4406" y="-1695"/>
                      <a:pt x="7457" y="1356"/>
                      <a:pt x="10508" y="1356"/>
                    </a:cubicBezTo>
                    <a:cubicBezTo>
                      <a:pt x="41017" y="44068"/>
                      <a:pt x="53220" y="108136"/>
                      <a:pt x="53220" y="111187"/>
                    </a:cubicBezTo>
                    <a:cubicBezTo>
                      <a:pt x="53220" y="117288"/>
                      <a:pt x="50169" y="120339"/>
                      <a:pt x="47119" y="123390"/>
                    </a:cubicBezTo>
                    <a:cubicBezTo>
                      <a:pt x="47119" y="123390"/>
                      <a:pt x="47119" y="123390"/>
                      <a:pt x="47119" y="12339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D5CE88C7-DC35-4DB8-9DA8-DBF9C7E638C0}"/>
                  </a:ext>
                </a:extLst>
              </p:cNvPr>
              <p:cNvSpPr/>
              <p:nvPr/>
            </p:nvSpPr>
            <p:spPr>
              <a:xfrm>
                <a:off x="11268163" y="7788249"/>
                <a:ext cx="614294" cy="102478"/>
              </a:xfrm>
              <a:custGeom>
                <a:avLst/>
                <a:gdLst>
                  <a:gd name="connsiteX0" fmla="*/ 38447 w 614294"/>
                  <a:gd name="connsiteY0" fmla="*/ 1605 h 102478"/>
                  <a:gd name="connsiteX1" fmla="*/ 584549 w 614294"/>
                  <a:gd name="connsiteY1" fmla="*/ 22960 h 102478"/>
                  <a:gd name="connsiteX2" fmla="*/ 584549 w 614294"/>
                  <a:gd name="connsiteY2" fmla="*/ 87028 h 102478"/>
                  <a:gd name="connsiteX3" fmla="*/ 23193 w 614294"/>
                  <a:gd name="connsiteY3" fmla="*/ 62622 h 102478"/>
                  <a:gd name="connsiteX4" fmla="*/ 38447 w 614294"/>
                  <a:gd name="connsiteY4" fmla="*/ 1605 h 102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4294" h="102478">
                    <a:moveTo>
                      <a:pt x="38447" y="1605"/>
                    </a:moveTo>
                    <a:cubicBezTo>
                      <a:pt x="218448" y="53469"/>
                      <a:pt x="401499" y="41266"/>
                      <a:pt x="584549" y="22960"/>
                    </a:cubicBezTo>
                    <a:cubicBezTo>
                      <a:pt x="624210" y="19910"/>
                      <a:pt x="624210" y="83977"/>
                      <a:pt x="584549" y="87028"/>
                    </a:cubicBezTo>
                    <a:cubicBezTo>
                      <a:pt x="395397" y="105334"/>
                      <a:pt x="206244" y="117537"/>
                      <a:pt x="23193" y="62622"/>
                    </a:cubicBezTo>
                    <a:cubicBezTo>
                      <a:pt x="-16468" y="50418"/>
                      <a:pt x="-1214" y="-10599"/>
                      <a:pt x="38447" y="1605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C72B25FE-EA5A-46F5-8859-614073199050}"/>
                  </a:ext>
                </a:extLst>
              </p:cNvPr>
              <p:cNvSpPr/>
              <p:nvPr/>
            </p:nvSpPr>
            <p:spPr>
              <a:xfrm>
                <a:off x="11287042" y="7811210"/>
                <a:ext cx="599504" cy="85423"/>
              </a:xfrm>
              <a:custGeom>
                <a:avLst/>
                <a:gdLst>
                  <a:gd name="connsiteX0" fmla="*/ 309399 w 599504"/>
                  <a:gd name="connsiteY0" fmla="*/ 85424 h 85423"/>
                  <a:gd name="connsiteX1" fmla="*/ 4314 w 599504"/>
                  <a:gd name="connsiteY1" fmla="*/ 45763 h 85423"/>
                  <a:gd name="connsiteX2" fmla="*/ 1264 w 599504"/>
                  <a:gd name="connsiteY2" fmla="*/ 39661 h 85423"/>
                  <a:gd name="connsiteX3" fmla="*/ 7365 w 599504"/>
                  <a:gd name="connsiteY3" fmla="*/ 36611 h 85423"/>
                  <a:gd name="connsiteX4" fmla="*/ 568721 w 599504"/>
                  <a:gd name="connsiteY4" fmla="*/ 61017 h 85423"/>
                  <a:gd name="connsiteX5" fmla="*/ 590077 w 599504"/>
                  <a:gd name="connsiteY5" fmla="*/ 45763 h 85423"/>
                  <a:gd name="connsiteX6" fmla="*/ 587026 w 599504"/>
                  <a:gd name="connsiteY6" fmla="*/ 18305 h 85423"/>
                  <a:gd name="connsiteX7" fmla="*/ 565671 w 599504"/>
                  <a:gd name="connsiteY7" fmla="*/ 9153 h 85423"/>
                  <a:gd name="connsiteX8" fmla="*/ 376518 w 599504"/>
                  <a:gd name="connsiteY8" fmla="*/ 24407 h 85423"/>
                  <a:gd name="connsiteX9" fmla="*/ 376518 w 599504"/>
                  <a:gd name="connsiteY9" fmla="*/ 24407 h 85423"/>
                  <a:gd name="connsiteX10" fmla="*/ 370416 w 599504"/>
                  <a:gd name="connsiteY10" fmla="*/ 18305 h 85423"/>
                  <a:gd name="connsiteX11" fmla="*/ 376518 w 599504"/>
                  <a:gd name="connsiteY11" fmla="*/ 12204 h 85423"/>
                  <a:gd name="connsiteX12" fmla="*/ 562620 w 599504"/>
                  <a:gd name="connsiteY12" fmla="*/ 0 h 85423"/>
                  <a:gd name="connsiteX13" fmla="*/ 593128 w 599504"/>
                  <a:gd name="connsiteY13" fmla="*/ 12204 h 85423"/>
                  <a:gd name="connsiteX14" fmla="*/ 596179 w 599504"/>
                  <a:gd name="connsiteY14" fmla="*/ 51865 h 85423"/>
                  <a:gd name="connsiteX15" fmla="*/ 565671 w 599504"/>
                  <a:gd name="connsiteY15" fmla="*/ 73221 h 85423"/>
                  <a:gd name="connsiteX16" fmla="*/ 309399 w 599504"/>
                  <a:gd name="connsiteY16" fmla="*/ 85424 h 85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99504" h="85423">
                    <a:moveTo>
                      <a:pt x="309399" y="85424"/>
                    </a:moveTo>
                    <a:cubicBezTo>
                      <a:pt x="205670" y="85424"/>
                      <a:pt x="104992" y="76271"/>
                      <a:pt x="4314" y="45763"/>
                    </a:cubicBezTo>
                    <a:cubicBezTo>
                      <a:pt x="1264" y="45763"/>
                      <a:pt x="-1787" y="42712"/>
                      <a:pt x="1264" y="39661"/>
                    </a:cubicBezTo>
                    <a:cubicBezTo>
                      <a:pt x="1264" y="36611"/>
                      <a:pt x="4314" y="33560"/>
                      <a:pt x="7365" y="36611"/>
                    </a:cubicBezTo>
                    <a:cubicBezTo>
                      <a:pt x="190416" y="91525"/>
                      <a:pt x="376518" y="79322"/>
                      <a:pt x="568721" y="61017"/>
                    </a:cubicBezTo>
                    <a:cubicBezTo>
                      <a:pt x="583975" y="61017"/>
                      <a:pt x="590077" y="51865"/>
                      <a:pt x="590077" y="45763"/>
                    </a:cubicBezTo>
                    <a:cubicBezTo>
                      <a:pt x="593128" y="36611"/>
                      <a:pt x="593128" y="24407"/>
                      <a:pt x="587026" y="18305"/>
                    </a:cubicBezTo>
                    <a:cubicBezTo>
                      <a:pt x="583975" y="12204"/>
                      <a:pt x="574823" y="9153"/>
                      <a:pt x="565671" y="9153"/>
                    </a:cubicBezTo>
                    <a:cubicBezTo>
                      <a:pt x="565671" y="9153"/>
                      <a:pt x="422280" y="21356"/>
                      <a:pt x="376518" y="24407"/>
                    </a:cubicBezTo>
                    <a:lnTo>
                      <a:pt x="376518" y="24407"/>
                    </a:lnTo>
                    <a:cubicBezTo>
                      <a:pt x="373467" y="24407"/>
                      <a:pt x="370416" y="21356"/>
                      <a:pt x="370416" y="18305"/>
                    </a:cubicBezTo>
                    <a:cubicBezTo>
                      <a:pt x="370416" y="15254"/>
                      <a:pt x="373467" y="12204"/>
                      <a:pt x="376518" y="12204"/>
                    </a:cubicBezTo>
                    <a:cubicBezTo>
                      <a:pt x="419229" y="12204"/>
                      <a:pt x="562620" y="0"/>
                      <a:pt x="562620" y="0"/>
                    </a:cubicBezTo>
                    <a:cubicBezTo>
                      <a:pt x="574823" y="0"/>
                      <a:pt x="587026" y="3051"/>
                      <a:pt x="593128" y="12204"/>
                    </a:cubicBezTo>
                    <a:cubicBezTo>
                      <a:pt x="599229" y="24407"/>
                      <a:pt x="602280" y="39661"/>
                      <a:pt x="596179" y="51865"/>
                    </a:cubicBezTo>
                    <a:cubicBezTo>
                      <a:pt x="590077" y="64068"/>
                      <a:pt x="577874" y="73221"/>
                      <a:pt x="565671" y="73221"/>
                    </a:cubicBezTo>
                    <a:cubicBezTo>
                      <a:pt x="480246" y="76271"/>
                      <a:pt x="394823" y="85424"/>
                      <a:pt x="309399" y="8542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EEAE62D7-F6AB-49D7-8668-799335D8F333}"/>
                </a:ext>
              </a:extLst>
            </p:cNvPr>
            <p:cNvSpPr/>
            <p:nvPr/>
          </p:nvSpPr>
          <p:spPr>
            <a:xfrm>
              <a:off x="11284087" y="7948498"/>
              <a:ext cx="520509" cy="589183"/>
            </a:xfrm>
            <a:custGeom>
              <a:avLst/>
              <a:gdLst>
                <a:gd name="connsiteX0" fmla="*/ 504558 w 520509"/>
                <a:gd name="connsiteY0" fmla="*/ 143390 h 589183"/>
                <a:gd name="connsiteX1" fmla="*/ 516761 w 520509"/>
                <a:gd name="connsiteY1" fmla="*/ 12204 h 589183"/>
                <a:gd name="connsiteX2" fmla="*/ 455744 w 520509"/>
                <a:gd name="connsiteY2" fmla="*/ 0 h 589183"/>
                <a:gd name="connsiteX3" fmla="*/ 419133 w 520509"/>
                <a:gd name="connsiteY3" fmla="*/ 222712 h 589183"/>
                <a:gd name="connsiteX4" fmla="*/ 287947 w 520509"/>
                <a:gd name="connsiteY4" fmla="*/ 216610 h 589183"/>
                <a:gd name="connsiteX5" fmla="*/ 248287 w 520509"/>
                <a:gd name="connsiteY5" fmla="*/ 207458 h 589183"/>
                <a:gd name="connsiteX6" fmla="*/ 156761 w 520509"/>
                <a:gd name="connsiteY6" fmla="*/ 244068 h 589183"/>
                <a:gd name="connsiteX7" fmla="*/ 80490 w 520509"/>
                <a:gd name="connsiteY7" fmla="*/ 125085 h 589183"/>
                <a:gd name="connsiteX8" fmla="*/ 46931 w 520509"/>
                <a:gd name="connsiteY8" fmla="*/ 103729 h 589183"/>
                <a:gd name="connsiteX9" fmla="*/ 68286 w 520509"/>
                <a:gd name="connsiteY9" fmla="*/ 201356 h 589183"/>
                <a:gd name="connsiteX10" fmla="*/ 62185 w 520509"/>
                <a:gd name="connsiteY10" fmla="*/ 503390 h 589183"/>
                <a:gd name="connsiteX11" fmla="*/ 65236 w 520509"/>
                <a:gd name="connsiteY11" fmla="*/ 576610 h 589183"/>
                <a:gd name="connsiteX12" fmla="*/ 519812 w 520509"/>
                <a:gd name="connsiteY12" fmla="*/ 274576 h 589183"/>
                <a:gd name="connsiteX13" fmla="*/ 504558 w 520509"/>
                <a:gd name="connsiteY13" fmla="*/ 143390 h 589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0509" h="589183">
                  <a:moveTo>
                    <a:pt x="504558" y="143390"/>
                  </a:moveTo>
                  <a:cubicBezTo>
                    <a:pt x="504558" y="143390"/>
                    <a:pt x="516761" y="12204"/>
                    <a:pt x="516761" y="12204"/>
                  </a:cubicBezTo>
                  <a:cubicBezTo>
                    <a:pt x="498456" y="9153"/>
                    <a:pt x="470998" y="6102"/>
                    <a:pt x="455744" y="0"/>
                  </a:cubicBezTo>
                  <a:cubicBezTo>
                    <a:pt x="455744" y="33560"/>
                    <a:pt x="443541" y="204407"/>
                    <a:pt x="419133" y="222712"/>
                  </a:cubicBezTo>
                  <a:cubicBezTo>
                    <a:pt x="385575" y="244068"/>
                    <a:pt x="306253" y="256271"/>
                    <a:pt x="287947" y="216610"/>
                  </a:cubicBezTo>
                  <a:cubicBezTo>
                    <a:pt x="287947" y="216610"/>
                    <a:pt x="263541" y="231865"/>
                    <a:pt x="248287" y="207458"/>
                  </a:cubicBezTo>
                  <a:cubicBezTo>
                    <a:pt x="248287" y="207458"/>
                    <a:pt x="217778" y="247119"/>
                    <a:pt x="156761" y="244068"/>
                  </a:cubicBezTo>
                  <a:cubicBezTo>
                    <a:pt x="126253" y="241017"/>
                    <a:pt x="86591" y="155593"/>
                    <a:pt x="80490" y="125085"/>
                  </a:cubicBezTo>
                  <a:cubicBezTo>
                    <a:pt x="68286" y="131187"/>
                    <a:pt x="59134" y="103729"/>
                    <a:pt x="46931" y="103729"/>
                  </a:cubicBezTo>
                  <a:cubicBezTo>
                    <a:pt x="46931" y="106780"/>
                    <a:pt x="68286" y="198305"/>
                    <a:pt x="68286" y="201356"/>
                  </a:cubicBezTo>
                  <a:cubicBezTo>
                    <a:pt x="68286" y="201356"/>
                    <a:pt x="-81205" y="414915"/>
                    <a:pt x="62185" y="503390"/>
                  </a:cubicBezTo>
                  <a:cubicBezTo>
                    <a:pt x="101845" y="527797"/>
                    <a:pt x="65236" y="576610"/>
                    <a:pt x="65236" y="576610"/>
                  </a:cubicBezTo>
                  <a:cubicBezTo>
                    <a:pt x="65236" y="576610"/>
                    <a:pt x="541167" y="683390"/>
                    <a:pt x="519812" y="274576"/>
                  </a:cubicBezTo>
                  <a:cubicBezTo>
                    <a:pt x="516761" y="204407"/>
                    <a:pt x="501507" y="143390"/>
                    <a:pt x="504558" y="143390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8E4C6842-79EA-467A-9960-6A1A0666573D}"/>
                </a:ext>
              </a:extLst>
            </p:cNvPr>
            <p:cNvSpPr/>
            <p:nvPr/>
          </p:nvSpPr>
          <p:spPr>
            <a:xfrm>
              <a:off x="11404238" y="8133830"/>
              <a:ext cx="253219" cy="70366"/>
            </a:xfrm>
            <a:custGeom>
              <a:avLst/>
              <a:gdLst>
                <a:gd name="connsiteX0" fmla="*/ 61017 w 253219"/>
                <a:gd name="connsiteY0" fmla="*/ 6871 h 70366"/>
                <a:gd name="connsiteX1" fmla="*/ 0 w 253219"/>
                <a:gd name="connsiteY1" fmla="*/ 34329 h 70366"/>
                <a:gd name="connsiteX2" fmla="*/ 118983 w 253219"/>
                <a:gd name="connsiteY2" fmla="*/ 55685 h 70366"/>
                <a:gd name="connsiteX3" fmla="*/ 253220 w 253219"/>
                <a:gd name="connsiteY3" fmla="*/ 31278 h 70366"/>
                <a:gd name="connsiteX4" fmla="*/ 204407 w 253219"/>
                <a:gd name="connsiteY4" fmla="*/ 25176 h 70366"/>
                <a:gd name="connsiteX5" fmla="*/ 125085 w 253219"/>
                <a:gd name="connsiteY5" fmla="*/ 9922 h 70366"/>
                <a:gd name="connsiteX6" fmla="*/ 61017 w 253219"/>
                <a:gd name="connsiteY6" fmla="*/ 6871 h 70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219" h="70366">
                  <a:moveTo>
                    <a:pt x="61017" y="6871"/>
                  </a:moveTo>
                  <a:cubicBezTo>
                    <a:pt x="36611" y="19075"/>
                    <a:pt x="30508" y="40431"/>
                    <a:pt x="0" y="34329"/>
                  </a:cubicBezTo>
                  <a:cubicBezTo>
                    <a:pt x="0" y="34329"/>
                    <a:pt x="48814" y="98397"/>
                    <a:pt x="118983" y="55685"/>
                  </a:cubicBezTo>
                  <a:cubicBezTo>
                    <a:pt x="118983" y="55685"/>
                    <a:pt x="207457" y="98397"/>
                    <a:pt x="253220" y="31278"/>
                  </a:cubicBezTo>
                  <a:cubicBezTo>
                    <a:pt x="253220" y="31278"/>
                    <a:pt x="219661" y="34329"/>
                    <a:pt x="204407" y="25176"/>
                  </a:cubicBezTo>
                  <a:cubicBezTo>
                    <a:pt x="189153" y="16024"/>
                    <a:pt x="167797" y="-11434"/>
                    <a:pt x="125085" y="9922"/>
                  </a:cubicBezTo>
                  <a:cubicBezTo>
                    <a:pt x="125085" y="12973"/>
                    <a:pt x="97627" y="-11434"/>
                    <a:pt x="61017" y="6871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60FEED96-03CB-4981-A045-4F271B0180B0}"/>
                </a:ext>
              </a:extLst>
            </p:cNvPr>
            <p:cNvSpPr/>
            <p:nvPr/>
          </p:nvSpPr>
          <p:spPr>
            <a:xfrm>
              <a:off x="11471357" y="8223074"/>
              <a:ext cx="85423" cy="45908"/>
            </a:xfrm>
            <a:custGeom>
              <a:avLst/>
              <a:gdLst>
                <a:gd name="connsiteX0" fmla="*/ 0 w 85423"/>
                <a:gd name="connsiteY0" fmla="*/ 0 h 45908"/>
                <a:gd name="connsiteX1" fmla="*/ 85423 w 85423"/>
                <a:gd name="connsiteY1" fmla="*/ 3051 h 45908"/>
                <a:gd name="connsiteX2" fmla="*/ 39661 w 85423"/>
                <a:gd name="connsiteY2" fmla="*/ 45763 h 45908"/>
                <a:gd name="connsiteX3" fmla="*/ 0 w 85423"/>
                <a:gd name="connsiteY3" fmla="*/ 0 h 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423" h="45908">
                  <a:moveTo>
                    <a:pt x="0" y="0"/>
                  </a:moveTo>
                  <a:cubicBezTo>
                    <a:pt x="36610" y="15254"/>
                    <a:pt x="85423" y="3051"/>
                    <a:pt x="85423" y="3051"/>
                  </a:cubicBezTo>
                  <a:cubicBezTo>
                    <a:pt x="85423" y="3051"/>
                    <a:pt x="70169" y="48814"/>
                    <a:pt x="39661" y="45763"/>
                  </a:cubicBezTo>
                  <a:cubicBezTo>
                    <a:pt x="9152" y="427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2" name="图形 1">
              <a:extLst>
                <a:ext uri="{FF2B5EF4-FFF2-40B4-BE49-F238E27FC236}">
                  <a16:creationId xmlns:a16="http://schemas.microsoft.com/office/drawing/2014/main" id="{ED267ACF-78B9-4971-A505-C40AEB66AD21}"/>
                </a:ext>
              </a:extLst>
            </p:cNvPr>
            <p:cNvGrpSpPr/>
            <p:nvPr/>
          </p:nvGrpSpPr>
          <p:grpSpPr>
            <a:xfrm>
              <a:off x="11504915" y="8021719"/>
              <a:ext cx="57966" cy="137288"/>
              <a:chOff x="11504915" y="8021719"/>
              <a:chExt cx="57966" cy="137288"/>
            </a:xfrm>
          </p:grpSpPr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12367884-E110-4BC1-A6F0-B6B5127D72E6}"/>
                  </a:ext>
                </a:extLst>
              </p:cNvPr>
              <p:cNvSpPr/>
              <p:nvPr/>
            </p:nvSpPr>
            <p:spPr>
              <a:xfrm>
                <a:off x="11511017" y="8024769"/>
                <a:ext cx="48813" cy="125505"/>
              </a:xfrm>
              <a:custGeom>
                <a:avLst/>
                <a:gdLst>
                  <a:gd name="connsiteX0" fmla="*/ 15254 w 48813"/>
                  <a:gd name="connsiteY0" fmla="*/ 0 h 125505"/>
                  <a:gd name="connsiteX1" fmla="*/ 0 w 48813"/>
                  <a:gd name="connsiteY1" fmla="*/ 112882 h 125505"/>
                  <a:gd name="connsiteX2" fmla="*/ 48814 w 48813"/>
                  <a:gd name="connsiteY2" fmla="*/ 122034 h 125505"/>
                  <a:gd name="connsiteX3" fmla="*/ 15254 w 48813"/>
                  <a:gd name="connsiteY3" fmla="*/ 0 h 12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" h="125505">
                    <a:moveTo>
                      <a:pt x="15254" y="0"/>
                    </a:moveTo>
                    <a:cubicBezTo>
                      <a:pt x="15254" y="0"/>
                      <a:pt x="0" y="91525"/>
                      <a:pt x="0" y="112882"/>
                    </a:cubicBezTo>
                    <a:cubicBezTo>
                      <a:pt x="0" y="134238"/>
                      <a:pt x="48814" y="122034"/>
                      <a:pt x="48814" y="122034"/>
                    </a:cubicBezTo>
                    <a:lnTo>
                      <a:pt x="15254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D195F2CF-92FE-49F4-AA48-53F8FA5CB65F}"/>
                  </a:ext>
                </a:extLst>
              </p:cNvPr>
              <p:cNvSpPr/>
              <p:nvPr/>
            </p:nvSpPr>
            <p:spPr>
              <a:xfrm>
                <a:off x="11504915" y="8021719"/>
                <a:ext cx="57966" cy="137288"/>
              </a:xfrm>
              <a:custGeom>
                <a:avLst/>
                <a:gdLst>
                  <a:gd name="connsiteX0" fmla="*/ 30508 w 57966"/>
                  <a:gd name="connsiteY0" fmla="*/ 137288 h 137288"/>
                  <a:gd name="connsiteX1" fmla="*/ 6102 w 57966"/>
                  <a:gd name="connsiteY1" fmla="*/ 131187 h 137288"/>
                  <a:gd name="connsiteX2" fmla="*/ 0 w 57966"/>
                  <a:gd name="connsiteY2" fmla="*/ 118983 h 137288"/>
                  <a:gd name="connsiteX3" fmla="*/ 15254 w 57966"/>
                  <a:gd name="connsiteY3" fmla="*/ 6102 h 137288"/>
                  <a:gd name="connsiteX4" fmla="*/ 21356 w 57966"/>
                  <a:gd name="connsiteY4" fmla="*/ 0 h 137288"/>
                  <a:gd name="connsiteX5" fmla="*/ 27458 w 57966"/>
                  <a:gd name="connsiteY5" fmla="*/ 6102 h 137288"/>
                  <a:gd name="connsiteX6" fmla="*/ 12204 w 57966"/>
                  <a:gd name="connsiteY6" fmla="*/ 118983 h 137288"/>
                  <a:gd name="connsiteX7" fmla="*/ 12204 w 57966"/>
                  <a:gd name="connsiteY7" fmla="*/ 122034 h 137288"/>
                  <a:gd name="connsiteX8" fmla="*/ 51865 w 57966"/>
                  <a:gd name="connsiteY8" fmla="*/ 122034 h 137288"/>
                  <a:gd name="connsiteX9" fmla="*/ 57967 w 57966"/>
                  <a:gd name="connsiteY9" fmla="*/ 128136 h 137288"/>
                  <a:gd name="connsiteX10" fmla="*/ 51865 w 57966"/>
                  <a:gd name="connsiteY10" fmla="*/ 134237 h 137288"/>
                  <a:gd name="connsiteX11" fmla="*/ 30508 w 57966"/>
                  <a:gd name="connsiteY11" fmla="*/ 137288 h 137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7966" h="137288">
                    <a:moveTo>
                      <a:pt x="30508" y="137288"/>
                    </a:moveTo>
                    <a:cubicBezTo>
                      <a:pt x="21356" y="137288"/>
                      <a:pt x="12204" y="137288"/>
                      <a:pt x="6102" y="131187"/>
                    </a:cubicBezTo>
                    <a:cubicBezTo>
                      <a:pt x="3051" y="128136"/>
                      <a:pt x="0" y="125084"/>
                      <a:pt x="0" y="118983"/>
                    </a:cubicBezTo>
                    <a:cubicBezTo>
                      <a:pt x="0" y="97627"/>
                      <a:pt x="15254" y="9153"/>
                      <a:pt x="15254" y="6102"/>
                    </a:cubicBezTo>
                    <a:cubicBezTo>
                      <a:pt x="15254" y="3051"/>
                      <a:pt x="18305" y="0"/>
                      <a:pt x="21356" y="0"/>
                    </a:cubicBezTo>
                    <a:cubicBezTo>
                      <a:pt x="24407" y="0"/>
                      <a:pt x="27458" y="3051"/>
                      <a:pt x="27458" y="6102"/>
                    </a:cubicBezTo>
                    <a:cubicBezTo>
                      <a:pt x="27458" y="6102"/>
                      <a:pt x="12204" y="97627"/>
                      <a:pt x="12204" y="118983"/>
                    </a:cubicBezTo>
                    <a:cubicBezTo>
                      <a:pt x="12204" y="118983"/>
                      <a:pt x="12204" y="122034"/>
                      <a:pt x="12204" y="122034"/>
                    </a:cubicBezTo>
                    <a:cubicBezTo>
                      <a:pt x="18305" y="128136"/>
                      <a:pt x="39662" y="125084"/>
                      <a:pt x="51865" y="122034"/>
                    </a:cubicBezTo>
                    <a:cubicBezTo>
                      <a:pt x="54916" y="122034"/>
                      <a:pt x="57967" y="122034"/>
                      <a:pt x="57967" y="128136"/>
                    </a:cubicBezTo>
                    <a:cubicBezTo>
                      <a:pt x="57967" y="131187"/>
                      <a:pt x="57967" y="134237"/>
                      <a:pt x="51865" y="134237"/>
                    </a:cubicBezTo>
                    <a:cubicBezTo>
                      <a:pt x="48814" y="134237"/>
                      <a:pt x="39662" y="137288"/>
                      <a:pt x="30508" y="1372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4381B2A7-DB15-4521-BEDE-83961E9D6D8B}"/>
                </a:ext>
              </a:extLst>
            </p:cNvPr>
            <p:cNvSpPr/>
            <p:nvPr/>
          </p:nvSpPr>
          <p:spPr>
            <a:xfrm>
              <a:off x="10839831" y="9910194"/>
              <a:ext cx="1446101" cy="485206"/>
            </a:xfrm>
            <a:custGeom>
              <a:avLst/>
              <a:gdLst>
                <a:gd name="connsiteX0" fmla="*/ 216610 w 1446101"/>
                <a:gd name="connsiteY0" fmla="*/ 27457 h 485206"/>
                <a:gd name="connsiteX1" fmla="*/ 0 w 1446101"/>
                <a:gd name="connsiteY1" fmla="*/ 442373 h 485206"/>
                <a:gd name="connsiteX2" fmla="*/ 1446102 w 1446101"/>
                <a:gd name="connsiteY2" fmla="*/ 402711 h 485206"/>
                <a:gd name="connsiteX3" fmla="*/ 1287458 w 1446101"/>
                <a:gd name="connsiteY3" fmla="*/ 0 h 485206"/>
                <a:gd name="connsiteX4" fmla="*/ 216610 w 1446101"/>
                <a:gd name="connsiteY4" fmla="*/ 27457 h 485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6101" h="485206">
                  <a:moveTo>
                    <a:pt x="216610" y="27457"/>
                  </a:moveTo>
                  <a:lnTo>
                    <a:pt x="0" y="442373"/>
                  </a:lnTo>
                  <a:cubicBezTo>
                    <a:pt x="0" y="442373"/>
                    <a:pt x="1086102" y="561356"/>
                    <a:pt x="1446102" y="402711"/>
                  </a:cubicBezTo>
                  <a:lnTo>
                    <a:pt x="1287458" y="0"/>
                  </a:lnTo>
                  <a:lnTo>
                    <a:pt x="216610" y="27457"/>
                  </a:ln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A34DBEA9-C024-427B-BEAE-8ABB1A72AD68}"/>
                </a:ext>
              </a:extLst>
            </p:cNvPr>
            <p:cNvSpPr/>
            <p:nvPr/>
          </p:nvSpPr>
          <p:spPr>
            <a:xfrm>
              <a:off x="10799408" y="8452128"/>
              <a:ext cx="1512298" cy="1979921"/>
            </a:xfrm>
            <a:custGeom>
              <a:avLst/>
              <a:gdLst>
                <a:gd name="connsiteX0" fmla="*/ 1456017 w 1512298"/>
                <a:gd name="connsiteY0" fmla="*/ 1793658 h 1979921"/>
                <a:gd name="connsiteX1" fmla="*/ 437034 w 1512298"/>
                <a:gd name="connsiteY1" fmla="*/ 1866878 h 1979921"/>
                <a:gd name="connsiteX2" fmla="*/ 501102 w 1512298"/>
                <a:gd name="connsiteY2" fmla="*/ 1509929 h 1979921"/>
                <a:gd name="connsiteX3" fmla="*/ 504153 w 1512298"/>
                <a:gd name="connsiteY3" fmla="*/ 1497726 h 1979921"/>
                <a:gd name="connsiteX4" fmla="*/ 507203 w 1512298"/>
                <a:gd name="connsiteY4" fmla="*/ 1451963 h 1979921"/>
                <a:gd name="connsiteX5" fmla="*/ 415677 w 1512298"/>
                <a:gd name="connsiteY5" fmla="*/ 744167 h 1979921"/>
                <a:gd name="connsiteX6" fmla="*/ 681101 w 1512298"/>
                <a:gd name="connsiteY6" fmla="*/ 69929 h 1979921"/>
                <a:gd name="connsiteX7" fmla="*/ 601779 w 1512298"/>
                <a:gd name="connsiteY7" fmla="*/ 24166 h 1979921"/>
                <a:gd name="connsiteX8" fmla="*/ 321102 w 1512298"/>
                <a:gd name="connsiteY8" fmla="*/ 747217 h 1979921"/>
                <a:gd name="connsiteX9" fmla="*/ 415677 w 1512298"/>
                <a:gd name="connsiteY9" fmla="*/ 1476369 h 1979921"/>
                <a:gd name="connsiteX10" fmla="*/ 342457 w 1512298"/>
                <a:gd name="connsiteY10" fmla="*/ 1863827 h 1979921"/>
                <a:gd name="connsiteX11" fmla="*/ 43474 w 1512298"/>
                <a:gd name="connsiteY11" fmla="*/ 1842471 h 1979921"/>
                <a:gd name="connsiteX12" fmla="*/ 43474 w 1512298"/>
                <a:gd name="connsiteY12" fmla="*/ 1933997 h 1979921"/>
                <a:gd name="connsiteX13" fmla="*/ 1474322 w 1512298"/>
                <a:gd name="connsiteY13" fmla="*/ 1885184 h 1979921"/>
                <a:gd name="connsiteX14" fmla="*/ 1456017 w 1512298"/>
                <a:gd name="connsiteY14" fmla="*/ 1793658 h 197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12298" h="1979921">
                  <a:moveTo>
                    <a:pt x="1456017" y="1793658"/>
                  </a:moveTo>
                  <a:cubicBezTo>
                    <a:pt x="1132627" y="1903488"/>
                    <a:pt x="781779" y="1891285"/>
                    <a:pt x="437034" y="1866878"/>
                  </a:cubicBezTo>
                  <a:cubicBezTo>
                    <a:pt x="437034" y="1744845"/>
                    <a:pt x="449237" y="1622811"/>
                    <a:pt x="501102" y="1509929"/>
                  </a:cubicBezTo>
                  <a:cubicBezTo>
                    <a:pt x="504153" y="1503828"/>
                    <a:pt x="504153" y="1500777"/>
                    <a:pt x="504153" y="1497726"/>
                  </a:cubicBezTo>
                  <a:cubicBezTo>
                    <a:pt x="513305" y="1485523"/>
                    <a:pt x="516356" y="1467217"/>
                    <a:pt x="507203" y="1451963"/>
                  </a:cubicBezTo>
                  <a:cubicBezTo>
                    <a:pt x="409576" y="1247556"/>
                    <a:pt x="400423" y="966878"/>
                    <a:pt x="415677" y="744167"/>
                  </a:cubicBezTo>
                  <a:cubicBezTo>
                    <a:pt x="433983" y="484844"/>
                    <a:pt x="580424" y="295692"/>
                    <a:pt x="681101" y="69929"/>
                  </a:cubicBezTo>
                  <a:cubicBezTo>
                    <a:pt x="705508" y="18065"/>
                    <a:pt x="626187" y="-30749"/>
                    <a:pt x="601779" y="24166"/>
                  </a:cubicBezTo>
                  <a:cubicBezTo>
                    <a:pt x="491948" y="268234"/>
                    <a:pt x="339406" y="469590"/>
                    <a:pt x="321102" y="747217"/>
                  </a:cubicBezTo>
                  <a:cubicBezTo>
                    <a:pt x="305848" y="979082"/>
                    <a:pt x="318051" y="1259760"/>
                    <a:pt x="415677" y="1476369"/>
                  </a:cubicBezTo>
                  <a:cubicBezTo>
                    <a:pt x="360762" y="1598403"/>
                    <a:pt x="345508" y="1729590"/>
                    <a:pt x="342457" y="1863827"/>
                  </a:cubicBezTo>
                  <a:cubicBezTo>
                    <a:pt x="241780" y="1854675"/>
                    <a:pt x="141101" y="1848573"/>
                    <a:pt x="43474" y="1842471"/>
                  </a:cubicBezTo>
                  <a:cubicBezTo>
                    <a:pt x="-14491" y="1839421"/>
                    <a:pt x="-14491" y="1930946"/>
                    <a:pt x="43474" y="1933997"/>
                  </a:cubicBezTo>
                  <a:cubicBezTo>
                    <a:pt x="513305" y="1961455"/>
                    <a:pt x="1019746" y="2043827"/>
                    <a:pt x="1474322" y="1885184"/>
                  </a:cubicBezTo>
                  <a:cubicBezTo>
                    <a:pt x="1538390" y="1863827"/>
                    <a:pt x="1513982" y="1775353"/>
                    <a:pt x="1456017" y="1793658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B88BDF62-53C5-4984-93F5-F93AC2945565}"/>
                </a:ext>
              </a:extLst>
            </p:cNvPr>
            <p:cNvSpPr/>
            <p:nvPr/>
          </p:nvSpPr>
          <p:spPr>
            <a:xfrm>
              <a:off x="11006568" y="9824769"/>
              <a:ext cx="1141078" cy="179846"/>
            </a:xfrm>
            <a:custGeom>
              <a:avLst/>
              <a:gdLst>
                <a:gd name="connsiteX0" fmla="*/ 19364 w 1141078"/>
                <a:gd name="connsiteY0" fmla="*/ 170848 h 179846"/>
                <a:gd name="connsiteX1" fmla="*/ 1129873 w 1141078"/>
                <a:gd name="connsiteY1" fmla="*/ 112882 h 179846"/>
                <a:gd name="connsiteX2" fmla="*/ 1120721 w 1141078"/>
                <a:gd name="connsiteY2" fmla="*/ 0 h 179846"/>
                <a:gd name="connsiteX3" fmla="*/ 10211 w 1141078"/>
                <a:gd name="connsiteY3" fmla="*/ 70170 h 179846"/>
                <a:gd name="connsiteX4" fmla="*/ 19364 w 1141078"/>
                <a:gd name="connsiteY4" fmla="*/ 170848 h 17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1078" h="179846">
                  <a:moveTo>
                    <a:pt x="19364" y="170848"/>
                  </a:moveTo>
                  <a:cubicBezTo>
                    <a:pt x="19364" y="170848"/>
                    <a:pt x="809534" y="213559"/>
                    <a:pt x="1129873" y="112882"/>
                  </a:cubicBezTo>
                  <a:cubicBezTo>
                    <a:pt x="1129873" y="112882"/>
                    <a:pt x="1160381" y="42712"/>
                    <a:pt x="1120721" y="0"/>
                  </a:cubicBezTo>
                  <a:cubicBezTo>
                    <a:pt x="855296" y="88474"/>
                    <a:pt x="391567" y="85424"/>
                    <a:pt x="10211" y="70170"/>
                  </a:cubicBezTo>
                  <a:cubicBezTo>
                    <a:pt x="-17246" y="125085"/>
                    <a:pt x="19364" y="170848"/>
                    <a:pt x="19364" y="170848"/>
                  </a:cubicBezTo>
                  <a:close/>
                </a:path>
              </a:pathLst>
            </a:custGeom>
            <a:solidFill>
              <a:srgbClr val="6C5D68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6" name="图形 1">
              <a:extLst>
                <a:ext uri="{FF2B5EF4-FFF2-40B4-BE49-F238E27FC236}">
                  <a16:creationId xmlns:a16="http://schemas.microsoft.com/office/drawing/2014/main" id="{CD25AD1F-0D1F-4265-A14F-9D2373666856}"/>
                </a:ext>
              </a:extLst>
            </p:cNvPr>
            <p:cNvGrpSpPr/>
            <p:nvPr/>
          </p:nvGrpSpPr>
          <p:grpSpPr>
            <a:xfrm>
              <a:off x="11151018" y="9864431"/>
              <a:ext cx="216609" cy="164745"/>
              <a:chOff x="11151018" y="9864431"/>
              <a:chExt cx="216609" cy="164745"/>
            </a:xfrm>
          </p:grpSpPr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4B607235-EB99-4D93-A96C-80C17AF6C443}"/>
                  </a:ext>
                </a:extLst>
              </p:cNvPr>
              <p:cNvSpPr/>
              <p:nvPr/>
            </p:nvSpPr>
            <p:spPr>
              <a:xfrm>
                <a:off x="11151018" y="9864431"/>
                <a:ext cx="216609" cy="164745"/>
              </a:xfrm>
              <a:custGeom>
                <a:avLst/>
                <a:gdLst>
                  <a:gd name="connsiteX0" fmla="*/ 21355 w 216609"/>
                  <a:gd name="connsiteY0" fmla="*/ 164746 h 164745"/>
                  <a:gd name="connsiteX1" fmla="*/ 195254 w 216609"/>
                  <a:gd name="connsiteY1" fmla="*/ 164746 h 164745"/>
                  <a:gd name="connsiteX2" fmla="*/ 216609 w 216609"/>
                  <a:gd name="connsiteY2" fmla="*/ 143389 h 164745"/>
                  <a:gd name="connsiteX3" fmla="*/ 216609 w 216609"/>
                  <a:gd name="connsiteY3" fmla="*/ 21355 h 164745"/>
                  <a:gd name="connsiteX4" fmla="*/ 195254 w 216609"/>
                  <a:gd name="connsiteY4" fmla="*/ 0 h 164745"/>
                  <a:gd name="connsiteX5" fmla="*/ 21355 w 216609"/>
                  <a:gd name="connsiteY5" fmla="*/ 0 h 164745"/>
                  <a:gd name="connsiteX6" fmla="*/ 0 w 216609"/>
                  <a:gd name="connsiteY6" fmla="*/ 21355 h 164745"/>
                  <a:gd name="connsiteX7" fmla="*/ 0 w 216609"/>
                  <a:gd name="connsiteY7" fmla="*/ 143389 h 164745"/>
                  <a:gd name="connsiteX8" fmla="*/ 21355 w 216609"/>
                  <a:gd name="connsiteY8" fmla="*/ 164746 h 164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6609" h="164745">
                    <a:moveTo>
                      <a:pt x="21355" y="164746"/>
                    </a:moveTo>
                    <a:lnTo>
                      <a:pt x="195254" y="164746"/>
                    </a:lnTo>
                    <a:cubicBezTo>
                      <a:pt x="207457" y="164746"/>
                      <a:pt x="216609" y="155592"/>
                      <a:pt x="216609" y="143389"/>
                    </a:cubicBezTo>
                    <a:lnTo>
                      <a:pt x="216609" y="21355"/>
                    </a:lnTo>
                    <a:cubicBezTo>
                      <a:pt x="216609" y="9152"/>
                      <a:pt x="207457" y="0"/>
                      <a:pt x="195254" y="0"/>
                    </a:cubicBezTo>
                    <a:lnTo>
                      <a:pt x="21355" y="0"/>
                    </a:lnTo>
                    <a:cubicBezTo>
                      <a:pt x="9152" y="0"/>
                      <a:pt x="0" y="9152"/>
                      <a:pt x="0" y="21355"/>
                    </a:cubicBezTo>
                    <a:lnTo>
                      <a:pt x="0" y="143389"/>
                    </a:lnTo>
                    <a:cubicBezTo>
                      <a:pt x="0" y="152542"/>
                      <a:pt x="9152" y="164746"/>
                      <a:pt x="21355" y="16474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DA29E250-58E3-4154-BE02-DA58A4195455}"/>
                  </a:ext>
                </a:extLst>
              </p:cNvPr>
              <p:cNvSpPr/>
              <p:nvPr/>
            </p:nvSpPr>
            <p:spPr>
              <a:xfrm>
                <a:off x="11178475" y="9888837"/>
                <a:ext cx="158643" cy="118982"/>
              </a:xfrm>
              <a:custGeom>
                <a:avLst/>
                <a:gdLst>
                  <a:gd name="connsiteX0" fmla="*/ 15254 w 158643"/>
                  <a:gd name="connsiteY0" fmla="*/ 118983 h 118982"/>
                  <a:gd name="connsiteX1" fmla="*/ 143389 w 158643"/>
                  <a:gd name="connsiteY1" fmla="*/ 118983 h 118982"/>
                  <a:gd name="connsiteX2" fmla="*/ 158644 w 158643"/>
                  <a:gd name="connsiteY2" fmla="*/ 103729 h 118982"/>
                  <a:gd name="connsiteX3" fmla="*/ 158644 w 158643"/>
                  <a:gd name="connsiteY3" fmla="*/ 15254 h 118982"/>
                  <a:gd name="connsiteX4" fmla="*/ 143389 w 158643"/>
                  <a:gd name="connsiteY4" fmla="*/ 0 h 118982"/>
                  <a:gd name="connsiteX5" fmla="*/ 15254 w 158643"/>
                  <a:gd name="connsiteY5" fmla="*/ 0 h 118982"/>
                  <a:gd name="connsiteX6" fmla="*/ 0 w 158643"/>
                  <a:gd name="connsiteY6" fmla="*/ 15254 h 118982"/>
                  <a:gd name="connsiteX7" fmla="*/ 0 w 158643"/>
                  <a:gd name="connsiteY7" fmla="*/ 103729 h 118982"/>
                  <a:gd name="connsiteX8" fmla="*/ 15254 w 158643"/>
                  <a:gd name="connsiteY8" fmla="*/ 118983 h 118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8643" h="118982">
                    <a:moveTo>
                      <a:pt x="15254" y="118983"/>
                    </a:moveTo>
                    <a:lnTo>
                      <a:pt x="143389" y="118983"/>
                    </a:lnTo>
                    <a:cubicBezTo>
                      <a:pt x="152542" y="118983"/>
                      <a:pt x="158644" y="112882"/>
                      <a:pt x="158644" y="103729"/>
                    </a:cubicBezTo>
                    <a:lnTo>
                      <a:pt x="158644" y="15254"/>
                    </a:lnTo>
                    <a:cubicBezTo>
                      <a:pt x="158644" y="6102"/>
                      <a:pt x="152542" y="0"/>
                      <a:pt x="143389" y="0"/>
                    </a:cubicBezTo>
                    <a:lnTo>
                      <a:pt x="15254" y="0"/>
                    </a:lnTo>
                    <a:cubicBezTo>
                      <a:pt x="6101" y="0"/>
                      <a:pt x="0" y="6102"/>
                      <a:pt x="0" y="15254"/>
                    </a:cubicBezTo>
                    <a:lnTo>
                      <a:pt x="0" y="103729"/>
                    </a:lnTo>
                    <a:cubicBezTo>
                      <a:pt x="0" y="109831"/>
                      <a:pt x="6101" y="118983"/>
                      <a:pt x="15254" y="11898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7" name="图形 1">
              <a:extLst>
                <a:ext uri="{FF2B5EF4-FFF2-40B4-BE49-F238E27FC236}">
                  <a16:creationId xmlns:a16="http://schemas.microsoft.com/office/drawing/2014/main" id="{5134275B-AD5A-4E8E-916C-7EF71BCFC668}"/>
                </a:ext>
              </a:extLst>
            </p:cNvPr>
            <p:cNvGrpSpPr/>
            <p:nvPr/>
          </p:nvGrpSpPr>
          <p:grpSpPr>
            <a:xfrm>
              <a:off x="11267511" y="9410996"/>
              <a:ext cx="1190336" cy="756707"/>
              <a:chOff x="11267511" y="9410996"/>
              <a:chExt cx="1190336" cy="756707"/>
            </a:xfrm>
          </p:grpSpPr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BCC821CB-E00B-44B6-BF92-7B0FECE34175}"/>
                  </a:ext>
                </a:extLst>
              </p:cNvPr>
              <p:cNvSpPr/>
              <p:nvPr/>
            </p:nvSpPr>
            <p:spPr>
              <a:xfrm rot="-10800000">
                <a:off x="11267511" y="9426347"/>
                <a:ext cx="976271" cy="741355"/>
              </a:xfrm>
              <a:custGeom>
                <a:avLst/>
                <a:gdLst>
                  <a:gd name="connsiteX0" fmla="*/ 0 w 976271"/>
                  <a:gd name="connsiteY0" fmla="*/ 0 h 741355"/>
                  <a:gd name="connsiteX1" fmla="*/ 976271 w 976271"/>
                  <a:gd name="connsiteY1" fmla="*/ 0 h 741355"/>
                  <a:gd name="connsiteX2" fmla="*/ 976271 w 976271"/>
                  <a:gd name="connsiteY2" fmla="*/ 741355 h 741355"/>
                  <a:gd name="connsiteX3" fmla="*/ 0 w 976271"/>
                  <a:gd name="connsiteY3" fmla="*/ 741355 h 74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6271" h="741355">
                    <a:moveTo>
                      <a:pt x="0" y="0"/>
                    </a:moveTo>
                    <a:lnTo>
                      <a:pt x="976271" y="0"/>
                    </a:lnTo>
                    <a:lnTo>
                      <a:pt x="976271" y="741355"/>
                    </a:lnTo>
                    <a:lnTo>
                      <a:pt x="0" y="741355"/>
                    </a:lnTo>
                    <a:close/>
                  </a:path>
                </a:pathLst>
              </a:custGeom>
              <a:solidFill>
                <a:srgbClr val="728CB2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1800481A-DA93-43A1-A2F1-4ACAD8BE7C13}"/>
                  </a:ext>
                </a:extLst>
              </p:cNvPr>
              <p:cNvSpPr/>
              <p:nvPr/>
            </p:nvSpPr>
            <p:spPr>
              <a:xfrm rot="-10800000">
                <a:off x="11481577" y="9426347"/>
                <a:ext cx="976271" cy="741355"/>
              </a:xfrm>
              <a:custGeom>
                <a:avLst/>
                <a:gdLst>
                  <a:gd name="connsiteX0" fmla="*/ 0 w 976271"/>
                  <a:gd name="connsiteY0" fmla="*/ 0 h 741355"/>
                  <a:gd name="connsiteX1" fmla="*/ 976271 w 976271"/>
                  <a:gd name="connsiteY1" fmla="*/ 0 h 741355"/>
                  <a:gd name="connsiteX2" fmla="*/ 976271 w 976271"/>
                  <a:gd name="connsiteY2" fmla="*/ 741355 h 741355"/>
                  <a:gd name="connsiteX3" fmla="*/ 0 w 976271"/>
                  <a:gd name="connsiteY3" fmla="*/ 741355 h 74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6271" h="741355">
                    <a:moveTo>
                      <a:pt x="0" y="0"/>
                    </a:moveTo>
                    <a:lnTo>
                      <a:pt x="976271" y="0"/>
                    </a:lnTo>
                    <a:lnTo>
                      <a:pt x="976271" y="741355"/>
                    </a:lnTo>
                    <a:lnTo>
                      <a:pt x="0" y="741355"/>
                    </a:ln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050F9B0D-EB3B-45A0-848D-E989D41BB29A}"/>
                  </a:ext>
                </a:extLst>
              </p:cNvPr>
              <p:cNvSpPr/>
              <p:nvPr/>
            </p:nvSpPr>
            <p:spPr>
              <a:xfrm rot="-10800000">
                <a:off x="11902594" y="9426347"/>
                <a:ext cx="134237" cy="741355"/>
              </a:xfrm>
              <a:custGeom>
                <a:avLst/>
                <a:gdLst>
                  <a:gd name="connsiteX0" fmla="*/ 0 w 134237"/>
                  <a:gd name="connsiteY0" fmla="*/ 0 h 741355"/>
                  <a:gd name="connsiteX1" fmla="*/ 134237 w 134237"/>
                  <a:gd name="connsiteY1" fmla="*/ 0 h 741355"/>
                  <a:gd name="connsiteX2" fmla="*/ 134237 w 134237"/>
                  <a:gd name="connsiteY2" fmla="*/ 741355 h 741355"/>
                  <a:gd name="connsiteX3" fmla="*/ 0 w 134237"/>
                  <a:gd name="connsiteY3" fmla="*/ 741355 h 74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237" h="741355">
                    <a:moveTo>
                      <a:pt x="0" y="0"/>
                    </a:moveTo>
                    <a:lnTo>
                      <a:pt x="134237" y="0"/>
                    </a:lnTo>
                    <a:lnTo>
                      <a:pt x="134237" y="741355"/>
                    </a:lnTo>
                    <a:lnTo>
                      <a:pt x="0" y="741355"/>
                    </a:ln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50A3A7ED-5A85-409A-BEC8-3DE0DA092871}"/>
                  </a:ext>
                </a:extLst>
              </p:cNvPr>
              <p:cNvSpPr/>
              <p:nvPr/>
            </p:nvSpPr>
            <p:spPr>
              <a:xfrm>
                <a:off x="11983360" y="9410996"/>
                <a:ext cx="308674" cy="551525"/>
              </a:xfrm>
              <a:custGeom>
                <a:avLst/>
                <a:gdLst>
                  <a:gd name="connsiteX0" fmla="*/ 52403 w 308674"/>
                  <a:gd name="connsiteY0" fmla="*/ 8011 h 551525"/>
                  <a:gd name="connsiteX1" fmla="*/ 308674 w 308674"/>
                  <a:gd name="connsiteY1" fmla="*/ 520553 h 551525"/>
                  <a:gd name="connsiteX2" fmla="*/ 269013 w 308674"/>
                  <a:gd name="connsiteY2" fmla="*/ 551062 h 551525"/>
                  <a:gd name="connsiteX3" fmla="*/ 195793 w 308674"/>
                  <a:gd name="connsiteY3" fmla="*/ 538858 h 551525"/>
                  <a:gd name="connsiteX4" fmla="*/ 174437 w 308674"/>
                  <a:gd name="connsiteY4" fmla="*/ 508350 h 551525"/>
                  <a:gd name="connsiteX5" fmla="*/ 140878 w 308674"/>
                  <a:gd name="connsiteY5" fmla="*/ 255130 h 551525"/>
                  <a:gd name="connsiteX6" fmla="*/ 6641 w 308674"/>
                  <a:gd name="connsiteY6" fmla="*/ 59875 h 551525"/>
                  <a:gd name="connsiteX7" fmla="*/ 3590 w 308674"/>
                  <a:gd name="connsiteY7" fmla="*/ 47672 h 551525"/>
                  <a:gd name="connsiteX8" fmla="*/ 52403 w 308674"/>
                  <a:gd name="connsiteY8" fmla="*/ 8011 h 55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8674" h="551525">
                    <a:moveTo>
                      <a:pt x="52403" y="8011"/>
                    </a:moveTo>
                    <a:cubicBezTo>
                      <a:pt x="207996" y="136147"/>
                      <a:pt x="299521" y="319197"/>
                      <a:pt x="308674" y="520553"/>
                    </a:cubicBezTo>
                    <a:cubicBezTo>
                      <a:pt x="308674" y="541909"/>
                      <a:pt x="287318" y="554113"/>
                      <a:pt x="269013" y="551062"/>
                    </a:cubicBezTo>
                    <a:cubicBezTo>
                      <a:pt x="244606" y="548011"/>
                      <a:pt x="220200" y="541909"/>
                      <a:pt x="195793" y="538858"/>
                    </a:cubicBezTo>
                    <a:cubicBezTo>
                      <a:pt x="183589" y="535807"/>
                      <a:pt x="171386" y="520553"/>
                      <a:pt x="174437" y="508350"/>
                    </a:cubicBezTo>
                    <a:cubicBezTo>
                      <a:pt x="183589" y="419876"/>
                      <a:pt x="174437" y="334451"/>
                      <a:pt x="140878" y="255130"/>
                    </a:cubicBezTo>
                    <a:cubicBezTo>
                      <a:pt x="98166" y="184960"/>
                      <a:pt x="43250" y="117841"/>
                      <a:pt x="6641" y="59875"/>
                    </a:cubicBezTo>
                    <a:cubicBezTo>
                      <a:pt x="3590" y="56824"/>
                      <a:pt x="3590" y="50723"/>
                      <a:pt x="3590" y="47672"/>
                    </a:cubicBezTo>
                    <a:cubicBezTo>
                      <a:pt x="-11665" y="20214"/>
                      <a:pt x="24945" y="-16396"/>
                      <a:pt x="52403" y="8011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7458D72B-4D73-46C0-BAFB-13FAA603F854}"/>
                  </a:ext>
                </a:extLst>
              </p:cNvPr>
              <p:cNvSpPr/>
              <p:nvPr/>
            </p:nvSpPr>
            <p:spPr>
              <a:xfrm>
                <a:off x="11767392" y="9427289"/>
                <a:ext cx="177151" cy="369663"/>
              </a:xfrm>
              <a:custGeom>
                <a:avLst/>
                <a:gdLst>
                  <a:gd name="connsiteX0" fmla="*/ 9049 w 177151"/>
                  <a:gd name="connsiteY0" fmla="*/ 226633 h 369663"/>
                  <a:gd name="connsiteX1" fmla="*/ 97524 w 177151"/>
                  <a:gd name="connsiteY1" fmla="*/ 25277 h 369663"/>
                  <a:gd name="connsiteX2" fmla="*/ 109727 w 177151"/>
                  <a:gd name="connsiteY2" fmla="*/ 6972 h 369663"/>
                  <a:gd name="connsiteX3" fmla="*/ 158541 w 177151"/>
                  <a:gd name="connsiteY3" fmla="*/ 22226 h 369663"/>
                  <a:gd name="connsiteX4" fmla="*/ 124981 w 177151"/>
                  <a:gd name="connsiteY4" fmla="*/ 354769 h 369663"/>
                  <a:gd name="connsiteX5" fmla="*/ 73116 w 177151"/>
                  <a:gd name="connsiteY5" fmla="*/ 354769 h 369663"/>
                  <a:gd name="connsiteX6" fmla="*/ 12099 w 177151"/>
                  <a:gd name="connsiteY6" fmla="*/ 269345 h 369663"/>
                  <a:gd name="connsiteX7" fmla="*/ 9049 w 177151"/>
                  <a:gd name="connsiteY7" fmla="*/ 226633 h 369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7151" h="369663">
                    <a:moveTo>
                      <a:pt x="9049" y="226633"/>
                    </a:moveTo>
                    <a:cubicBezTo>
                      <a:pt x="73116" y="177820"/>
                      <a:pt x="85320" y="101548"/>
                      <a:pt x="97524" y="25277"/>
                    </a:cubicBezTo>
                    <a:cubicBezTo>
                      <a:pt x="97524" y="16124"/>
                      <a:pt x="103625" y="10023"/>
                      <a:pt x="109727" y="6972"/>
                    </a:cubicBezTo>
                    <a:cubicBezTo>
                      <a:pt x="124981" y="-5231"/>
                      <a:pt x="152438" y="-2180"/>
                      <a:pt x="158541" y="22226"/>
                    </a:cubicBezTo>
                    <a:cubicBezTo>
                      <a:pt x="192100" y="135107"/>
                      <a:pt x="179896" y="251040"/>
                      <a:pt x="124981" y="354769"/>
                    </a:cubicBezTo>
                    <a:cubicBezTo>
                      <a:pt x="112778" y="376125"/>
                      <a:pt x="85320" y="373074"/>
                      <a:pt x="73116" y="354769"/>
                    </a:cubicBezTo>
                    <a:cubicBezTo>
                      <a:pt x="54812" y="324260"/>
                      <a:pt x="33456" y="296803"/>
                      <a:pt x="12099" y="269345"/>
                    </a:cubicBezTo>
                    <a:cubicBezTo>
                      <a:pt x="-104" y="257141"/>
                      <a:pt x="-6205" y="235786"/>
                      <a:pt x="9049" y="226633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1FE9A75B-158B-4025-A473-8AA2EB7448EE}"/>
                </a:ext>
              </a:extLst>
            </p:cNvPr>
            <p:cNvSpPr/>
            <p:nvPr/>
          </p:nvSpPr>
          <p:spPr>
            <a:xfrm>
              <a:off x="11588902" y="9968159"/>
              <a:ext cx="190589" cy="134392"/>
            </a:xfrm>
            <a:custGeom>
              <a:avLst/>
              <a:gdLst>
                <a:gd name="connsiteX0" fmla="*/ 190589 w 190589"/>
                <a:gd name="connsiteY0" fmla="*/ 0 h 134392"/>
                <a:gd name="connsiteX1" fmla="*/ 53301 w 190589"/>
                <a:gd name="connsiteY1" fmla="*/ 48814 h 134392"/>
                <a:gd name="connsiteX2" fmla="*/ 1437 w 190589"/>
                <a:gd name="connsiteY2" fmla="*/ 125085 h 134392"/>
                <a:gd name="connsiteX3" fmla="*/ 129572 w 190589"/>
                <a:gd name="connsiteY3" fmla="*/ 76271 h 134392"/>
                <a:gd name="connsiteX4" fmla="*/ 190589 w 190589"/>
                <a:gd name="connsiteY4" fmla="*/ 0 h 13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89" h="134392">
                  <a:moveTo>
                    <a:pt x="190589" y="0"/>
                  </a:moveTo>
                  <a:cubicBezTo>
                    <a:pt x="190589" y="0"/>
                    <a:pt x="77709" y="24406"/>
                    <a:pt x="53301" y="48814"/>
                  </a:cubicBezTo>
                  <a:cubicBezTo>
                    <a:pt x="28895" y="73220"/>
                    <a:pt x="-7716" y="106780"/>
                    <a:pt x="1437" y="125085"/>
                  </a:cubicBezTo>
                  <a:cubicBezTo>
                    <a:pt x="25844" y="164746"/>
                    <a:pt x="92963" y="64068"/>
                    <a:pt x="129572" y="76271"/>
                  </a:cubicBezTo>
                  <a:cubicBezTo>
                    <a:pt x="147878" y="82372"/>
                    <a:pt x="190589" y="0"/>
                    <a:pt x="190589" y="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9" name="图形 1">
              <a:extLst>
                <a:ext uri="{FF2B5EF4-FFF2-40B4-BE49-F238E27FC236}">
                  <a16:creationId xmlns:a16="http://schemas.microsoft.com/office/drawing/2014/main" id="{B34DE0C3-9C23-410F-A2A9-870E06863EBF}"/>
                </a:ext>
              </a:extLst>
            </p:cNvPr>
            <p:cNvGrpSpPr/>
            <p:nvPr/>
          </p:nvGrpSpPr>
          <p:grpSpPr>
            <a:xfrm>
              <a:off x="11614334" y="9906964"/>
              <a:ext cx="350942" cy="332720"/>
              <a:chOff x="11614334" y="9906964"/>
              <a:chExt cx="350942" cy="332720"/>
            </a:xfrm>
          </p:grpSpPr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FF564827-602C-4D37-A79F-796CACC56B59}"/>
                  </a:ext>
                </a:extLst>
              </p:cNvPr>
              <p:cNvSpPr/>
              <p:nvPr/>
            </p:nvSpPr>
            <p:spPr>
              <a:xfrm>
                <a:off x="11618696" y="9906964"/>
                <a:ext cx="346580" cy="316737"/>
              </a:xfrm>
              <a:custGeom>
                <a:avLst/>
                <a:gdLst>
                  <a:gd name="connsiteX0" fmla="*/ 337745 w 346580"/>
                  <a:gd name="connsiteY0" fmla="*/ 76449 h 316737"/>
                  <a:gd name="connsiteX1" fmla="*/ 221812 w 346580"/>
                  <a:gd name="connsiteY1" fmla="*/ 178 h 316737"/>
                  <a:gd name="connsiteX2" fmla="*/ 29609 w 346580"/>
                  <a:gd name="connsiteY2" fmla="*/ 167975 h 316737"/>
                  <a:gd name="connsiteX3" fmla="*/ 8253 w 346580"/>
                  <a:gd name="connsiteY3" fmla="*/ 235093 h 316737"/>
                  <a:gd name="connsiteX4" fmla="*/ 227914 w 346580"/>
                  <a:gd name="connsiteY4" fmla="*/ 311364 h 316737"/>
                  <a:gd name="connsiteX5" fmla="*/ 267575 w 346580"/>
                  <a:gd name="connsiteY5" fmla="*/ 225941 h 316737"/>
                  <a:gd name="connsiteX6" fmla="*/ 331643 w 346580"/>
                  <a:gd name="connsiteY6" fmla="*/ 131364 h 316737"/>
                  <a:gd name="connsiteX7" fmla="*/ 337745 w 346580"/>
                  <a:gd name="connsiteY7" fmla="*/ 76449 h 316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6580" h="316737">
                    <a:moveTo>
                      <a:pt x="337745" y="76449"/>
                    </a:moveTo>
                    <a:cubicBezTo>
                      <a:pt x="313338" y="33737"/>
                      <a:pt x="218762" y="-2873"/>
                      <a:pt x="221812" y="178"/>
                    </a:cubicBezTo>
                    <a:cubicBezTo>
                      <a:pt x="151643" y="73398"/>
                      <a:pt x="90626" y="85601"/>
                      <a:pt x="29609" y="167975"/>
                    </a:cubicBezTo>
                    <a:cubicBezTo>
                      <a:pt x="20457" y="180178"/>
                      <a:pt x="-16154" y="204584"/>
                      <a:pt x="8253" y="235093"/>
                    </a:cubicBezTo>
                    <a:cubicBezTo>
                      <a:pt x="50965" y="286957"/>
                      <a:pt x="206558" y="332720"/>
                      <a:pt x="227914" y="311364"/>
                    </a:cubicBezTo>
                    <a:cubicBezTo>
                      <a:pt x="255372" y="280855"/>
                      <a:pt x="246220" y="259500"/>
                      <a:pt x="267575" y="225941"/>
                    </a:cubicBezTo>
                    <a:cubicBezTo>
                      <a:pt x="288931" y="192381"/>
                      <a:pt x="313338" y="164924"/>
                      <a:pt x="331643" y="131364"/>
                    </a:cubicBezTo>
                    <a:cubicBezTo>
                      <a:pt x="346897" y="110009"/>
                      <a:pt x="352999" y="100856"/>
                      <a:pt x="337745" y="76449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B8810393-11DE-4E81-A082-3977E2249E7F}"/>
                  </a:ext>
                </a:extLst>
              </p:cNvPr>
              <p:cNvSpPr/>
              <p:nvPr/>
            </p:nvSpPr>
            <p:spPr>
              <a:xfrm>
                <a:off x="11614334" y="10000455"/>
                <a:ext cx="287191" cy="239229"/>
              </a:xfrm>
              <a:custGeom>
                <a:avLst/>
                <a:gdLst>
                  <a:gd name="connsiteX0" fmla="*/ 177362 w 287191"/>
                  <a:gd name="connsiteY0" fmla="*/ 239230 h 239229"/>
                  <a:gd name="connsiteX1" fmla="*/ 137700 w 287191"/>
                  <a:gd name="connsiteY1" fmla="*/ 230077 h 239229"/>
                  <a:gd name="connsiteX2" fmla="*/ 412 w 287191"/>
                  <a:gd name="connsiteY2" fmla="*/ 114145 h 239229"/>
                  <a:gd name="connsiteX3" fmla="*/ 101090 w 287191"/>
                  <a:gd name="connsiteY3" fmla="*/ 1264 h 239229"/>
                  <a:gd name="connsiteX4" fmla="*/ 110242 w 287191"/>
                  <a:gd name="connsiteY4" fmla="*/ 4314 h 239229"/>
                  <a:gd name="connsiteX5" fmla="*/ 107191 w 287191"/>
                  <a:gd name="connsiteY5" fmla="*/ 13467 h 239229"/>
                  <a:gd name="connsiteX6" fmla="*/ 9565 w 287191"/>
                  <a:gd name="connsiteY6" fmla="*/ 117196 h 239229"/>
                  <a:gd name="connsiteX7" fmla="*/ 140751 w 287191"/>
                  <a:gd name="connsiteY7" fmla="*/ 220924 h 239229"/>
                  <a:gd name="connsiteX8" fmla="*/ 207870 w 287191"/>
                  <a:gd name="connsiteY8" fmla="*/ 220924 h 239229"/>
                  <a:gd name="connsiteX9" fmla="*/ 241429 w 287191"/>
                  <a:gd name="connsiteY9" fmla="*/ 190416 h 239229"/>
                  <a:gd name="connsiteX10" fmla="*/ 274988 w 287191"/>
                  <a:gd name="connsiteY10" fmla="*/ 117196 h 239229"/>
                  <a:gd name="connsiteX11" fmla="*/ 284141 w 287191"/>
                  <a:gd name="connsiteY11" fmla="*/ 114145 h 239229"/>
                  <a:gd name="connsiteX12" fmla="*/ 287191 w 287191"/>
                  <a:gd name="connsiteY12" fmla="*/ 123298 h 239229"/>
                  <a:gd name="connsiteX13" fmla="*/ 256683 w 287191"/>
                  <a:gd name="connsiteY13" fmla="*/ 193467 h 239229"/>
                  <a:gd name="connsiteX14" fmla="*/ 217022 w 287191"/>
                  <a:gd name="connsiteY14" fmla="*/ 230077 h 239229"/>
                  <a:gd name="connsiteX15" fmla="*/ 177362 w 287191"/>
                  <a:gd name="connsiteY15" fmla="*/ 239230 h 239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7191" h="239229">
                    <a:moveTo>
                      <a:pt x="177362" y="239230"/>
                    </a:moveTo>
                    <a:cubicBezTo>
                      <a:pt x="165157" y="239230"/>
                      <a:pt x="149903" y="236179"/>
                      <a:pt x="137700" y="230077"/>
                    </a:cubicBezTo>
                    <a:cubicBezTo>
                      <a:pt x="137700" y="230077"/>
                      <a:pt x="-8740" y="159907"/>
                      <a:pt x="412" y="114145"/>
                    </a:cubicBezTo>
                    <a:cubicBezTo>
                      <a:pt x="9565" y="62281"/>
                      <a:pt x="98039" y="4314"/>
                      <a:pt x="101090" y="1264"/>
                    </a:cubicBezTo>
                    <a:cubicBezTo>
                      <a:pt x="104140" y="-1787"/>
                      <a:pt x="107191" y="1264"/>
                      <a:pt x="110242" y="4314"/>
                    </a:cubicBezTo>
                    <a:cubicBezTo>
                      <a:pt x="113294" y="7365"/>
                      <a:pt x="110242" y="10416"/>
                      <a:pt x="107191" y="13467"/>
                    </a:cubicBezTo>
                    <a:cubicBezTo>
                      <a:pt x="107191" y="13467"/>
                      <a:pt x="18717" y="71433"/>
                      <a:pt x="9565" y="117196"/>
                    </a:cubicBezTo>
                    <a:cubicBezTo>
                      <a:pt x="6514" y="141602"/>
                      <a:pt x="82785" y="193467"/>
                      <a:pt x="140751" y="220924"/>
                    </a:cubicBezTo>
                    <a:cubicBezTo>
                      <a:pt x="162107" y="230077"/>
                      <a:pt x="186514" y="230077"/>
                      <a:pt x="207870" y="220924"/>
                    </a:cubicBezTo>
                    <a:cubicBezTo>
                      <a:pt x="223124" y="214823"/>
                      <a:pt x="235327" y="202619"/>
                      <a:pt x="241429" y="190416"/>
                    </a:cubicBezTo>
                    <a:cubicBezTo>
                      <a:pt x="253633" y="156856"/>
                      <a:pt x="271937" y="120247"/>
                      <a:pt x="274988" y="117196"/>
                    </a:cubicBezTo>
                    <a:cubicBezTo>
                      <a:pt x="278039" y="114145"/>
                      <a:pt x="281090" y="114145"/>
                      <a:pt x="284141" y="114145"/>
                    </a:cubicBezTo>
                    <a:cubicBezTo>
                      <a:pt x="287191" y="114145"/>
                      <a:pt x="287191" y="120247"/>
                      <a:pt x="287191" y="123298"/>
                    </a:cubicBezTo>
                    <a:cubicBezTo>
                      <a:pt x="287191" y="123298"/>
                      <a:pt x="265836" y="159907"/>
                      <a:pt x="256683" y="193467"/>
                    </a:cubicBezTo>
                    <a:cubicBezTo>
                      <a:pt x="250582" y="208721"/>
                      <a:pt x="238378" y="223975"/>
                      <a:pt x="217022" y="230077"/>
                    </a:cubicBezTo>
                    <a:cubicBezTo>
                      <a:pt x="204819" y="236179"/>
                      <a:pt x="189565" y="239230"/>
                      <a:pt x="177362" y="23923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5BD4AC95-F1F0-4679-9BCC-D53FA5B8A808}"/>
                  </a:ext>
                </a:extLst>
              </p:cNvPr>
              <p:cNvSpPr/>
              <p:nvPr/>
            </p:nvSpPr>
            <p:spPr>
              <a:xfrm>
                <a:off x="11703983" y="10130617"/>
                <a:ext cx="104230" cy="44999"/>
              </a:xfrm>
              <a:custGeom>
                <a:avLst/>
                <a:gdLst>
                  <a:gd name="connsiteX0" fmla="*/ 93814 w 104230"/>
                  <a:gd name="connsiteY0" fmla="*/ 45000 h 44999"/>
                  <a:gd name="connsiteX1" fmla="*/ 93814 w 104230"/>
                  <a:gd name="connsiteY1" fmla="*/ 45000 h 44999"/>
                  <a:gd name="connsiteX2" fmla="*/ 2288 w 104230"/>
                  <a:gd name="connsiteY2" fmla="*/ 11440 h 44999"/>
                  <a:gd name="connsiteX3" fmla="*/ 2288 w 104230"/>
                  <a:gd name="connsiteY3" fmla="*/ 2288 h 44999"/>
                  <a:gd name="connsiteX4" fmla="*/ 11441 w 104230"/>
                  <a:gd name="connsiteY4" fmla="*/ 2288 h 44999"/>
                  <a:gd name="connsiteX5" fmla="*/ 99916 w 104230"/>
                  <a:gd name="connsiteY5" fmla="*/ 35848 h 44999"/>
                  <a:gd name="connsiteX6" fmla="*/ 102967 w 104230"/>
                  <a:gd name="connsiteY6" fmla="*/ 41949 h 44999"/>
                  <a:gd name="connsiteX7" fmla="*/ 93814 w 104230"/>
                  <a:gd name="connsiteY7" fmla="*/ 45000 h 44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4230" h="44999">
                    <a:moveTo>
                      <a:pt x="93814" y="45000"/>
                    </a:moveTo>
                    <a:cubicBezTo>
                      <a:pt x="93814" y="45000"/>
                      <a:pt x="93814" y="45000"/>
                      <a:pt x="93814" y="45000"/>
                    </a:cubicBezTo>
                    <a:cubicBezTo>
                      <a:pt x="90763" y="45000"/>
                      <a:pt x="20594" y="26695"/>
                      <a:pt x="2288" y="11440"/>
                    </a:cubicBezTo>
                    <a:cubicBezTo>
                      <a:pt x="-763" y="8390"/>
                      <a:pt x="-763" y="5339"/>
                      <a:pt x="2288" y="2288"/>
                    </a:cubicBezTo>
                    <a:cubicBezTo>
                      <a:pt x="5339" y="-763"/>
                      <a:pt x="8390" y="-763"/>
                      <a:pt x="11441" y="2288"/>
                    </a:cubicBezTo>
                    <a:cubicBezTo>
                      <a:pt x="26696" y="14491"/>
                      <a:pt x="78559" y="29746"/>
                      <a:pt x="99916" y="35848"/>
                    </a:cubicBezTo>
                    <a:cubicBezTo>
                      <a:pt x="102967" y="35848"/>
                      <a:pt x="106017" y="38899"/>
                      <a:pt x="102967" y="41949"/>
                    </a:cubicBezTo>
                    <a:cubicBezTo>
                      <a:pt x="96865" y="41949"/>
                      <a:pt x="96865" y="45000"/>
                      <a:pt x="93814" y="450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D2721393-885F-40E5-B1A2-F07542F48AE9}"/>
                </a:ext>
              </a:extLst>
            </p:cNvPr>
            <p:cNvSpPr/>
            <p:nvPr/>
          </p:nvSpPr>
          <p:spPr>
            <a:xfrm>
              <a:off x="11794723" y="8490437"/>
              <a:ext cx="674867" cy="1599328"/>
            </a:xfrm>
            <a:custGeom>
              <a:avLst/>
              <a:gdLst>
                <a:gd name="connsiteX0" fmla="*/ 140362 w 674867"/>
                <a:gd name="connsiteY0" fmla="*/ 10265 h 1599328"/>
                <a:gd name="connsiteX1" fmla="*/ 128158 w 674867"/>
                <a:gd name="connsiteY1" fmla="*/ 528909 h 1599328"/>
                <a:gd name="connsiteX2" fmla="*/ 305107 w 674867"/>
                <a:gd name="connsiteY2" fmla="*/ 959078 h 1599328"/>
                <a:gd name="connsiteX3" fmla="*/ 22 w 674867"/>
                <a:gd name="connsiteY3" fmla="*/ 1450265 h 1599328"/>
                <a:gd name="connsiteX4" fmla="*/ 137311 w 674867"/>
                <a:gd name="connsiteY4" fmla="*/ 1596705 h 1599328"/>
                <a:gd name="connsiteX5" fmla="*/ 671209 w 674867"/>
                <a:gd name="connsiteY5" fmla="*/ 1026197 h 1599328"/>
                <a:gd name="connsiteX6" fmla="*/ 140362 w 674867"/>
                <a:gd name="connsiteY6" fmla="*/ 10265 h 1599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867" h="1599328">
                  <a:moveTo>
                    <a:pt x="140362" y="10265"/>
                  </a:moveTo>
                  <a:cubicBezTo>
                    <a:pt x="15277" y="65180"/>
                    <a:pt x="88498" y="406875"/>
                    <a:pt x="128158" y="528909"/>
                  </a:cubicBezTo>
                  <a:cubicBezTo>
                    <a:pt x="164769" y="638739"/>
                    <a:pt x="305107" y="959078"/>
                    <a:pt x="305107" y="959078"/>
                  </a:cubicBezTo>
                  <a:cubicBezTo>
                    <a:pt x="305107" y="959078"/>
                    <a:pt x="-3028" y="1306875"/>
                    <a:pt x="22" y="1450265"/>
                  </a:cubicBezTo>
                  <a:cubicBezTo>
                    <a:pt x="21379" y="1499078"/>
                    <a:pt x="70193" y="1557045"/>
                    <a:pt x="137311" y="1596705"/>
                  </a:cubicBezTo>
                  <a:cubicBezTo>
                    <a:pt x="302057" y="1639417"/>
                    <a:pt x="634599" y="1148230"/>
                    <a:pt x="671209" y="1026197"/>
                  </a:cubicBezTo>
                  <a:cubicBezTo>
                    <a:pt x="710871" y="891959"/>
                    <a:pt x="421040" y="-111769"/>
                    <a:pt x="140362" y="10265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6D6CB92E-DEDA-4645-98A1-422CC9D843B8}"/>
                </a:ext>
              </a:extLst>
            </p:cNvPr>
            <p:cNvSpPr/>
            <p:nvPr/>
          </p:nvSpPr>
          <p:spPr>
            <a:xfrm>
              <a:off x="11858092" y="8484273"/>
              <a:ext cx="162417" cy="541174"/>
            </a:xfrm>
            <a:custGeom>
              <a:avLst/>
              <a:gdLst>
                <a:gd name="connsiteX0" fmla="*/ 64790 w 162417"/>
                <a:gd name="connsiteY0" fmla="*/ 541174 h 541174"/>
                <a:gd name="connsiteX1" fmla="*/ 58688 w 162417"/>
                <a:gd name="connsiteY1" fmla="*/ 538124 h 541174"/>
                <a:gd name="connsiteX2" fmla="*/ 3773 w 162417"/>
                <a:gd name="connsiteY2" fmla="*/ 159819 h 541174"/>
                <a:gd name="connsiteX3" fmla="*/ 73942 w 162417"/>
                <a:gd name="connsiteY3" fmla="*/ 16429 h 541174"/>
                <a:gd name="connsiteX4" fmla="*/ 159366 w 162417"/>
                <a:gd name="connsiteY4" fmla="*/ 4226 h 541174"/>
                <a:gd name="connsiteX5" fmla="*/ 162418 w 162417"/>
                <a:gd name="connsiteY5" fmla="*/ 10327 h 541174"/>
                <a:gd name="connsiteX6" fmla="*/ 156315 w 162417"/>
                <a:gd name="connsiteY6" fmla="*/ 13378 h 541174"/>
                <a:gd name="connsiteX7" fmla="*/ 80044 w 162417"/>
                <a:gd name="connsiteY7" fmla="*/ 22530 h 541174"/>
                <a:gd name="connsiteX8" fmla="*/ 15976 w 162417"/>
                <a:gd name="connsiteY8" fmla="*/ 159819 h 541174"/>
                <a:gd name="connsiteX9" fmla="*/ 70892 w 162417"/>
                <a:gd name="connsiteY9" fmla="*/ 532022 h 541174"/>
                <a:gd name="connsiteX10" fmla="*/ 64790 w 162417"/>
                <a:gd name="connsiteY10" fmla="*/ 541174 h 541174"/>
                <a:gd name="connsiteX11" fmla="*/ 64790 w 162417"/>
                <a:gd name="connsiteY11" fmla="*/ 541174 h 54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417" h="541174">
                  <a:moveTo>
                    <a:pt x="64790" y="541174"/>
                  </a:moveTo>
                  <a:cubicBezTo>
                    <a:pt x="61739" y="541174"/>
                    <a:pt x="61739" y="541174"/>
                    <a:pt x="58688" y="538124"/>
                  </a:cubicBezTo>
                  <a:cubicBezTo>
                    <a:pt x="58688" y="535073"/>
                    <a:pt x="-17583" y="342869"/>
                    <a:pt x="3773" y="159819"/>
                  </a:cubicBezTo>
                  <a:cubicBezTo>
                    <a:pt x="12925" y="86598"/>
                    <a:pt x="34282" y="37785"/>
                    <a:pt x="73942" y="16429"/>
                  </a:cubicBezTo>
                  <a:cubicBezTo>
                    <a:pt x="113604" y="-11029"/>
                    <a:pt x="156315" y="4226"/>
                    <a:pt x="159366" y="4226"/>
                  </a:cubicBezTo>
                  <a:cubicBezTo>
                    <a:pt x="162418" y="4226"/>
                    <a:pt x="162418" y="7276"/>
                    <a:pt x="162418" y="10327"/>
                  </a:cubicBezTo>
                  <a:cubicBezTo>
                    <a:pt x="162418" y="13378"/>
                    <a:pt x="159366" y="16429"/>
                    <a:pt x="156315" y="13378"/>
                  </a:cubicBezTo>
                  <a:cubicBezTo>
                    <a:pt x="156315" y="13378"/>
                    <a:pt x="116655" y="1175"/>
                    <a:pt x="80044" y="22530"/>
                  </a:cubicBezTo>
                  <a:cubicBezTo>
                    <a:pt x="46485" y="43886"/>
                    <a:pt x="25129" y="89649"/>
                    <a:pt x="15976" y="159819"/>
                  </a:cubicBezTo>
                  <a:cubicBezTo>
                    <a:pt x="-5379" y="339819"/>
                    <a:pt x="70892" y="532022"/>
                    <a:pt x="70892" y="532022"/>
                  </a:cubicBezTo>
                  <a:cubicBezTo>
                    <a:pt x="70892" y="535073"/>
                    <a:pt x="70892" y="538124"/>
                    <a:pt x="64790" y="541174"/>
                  </a:cubicBezTo>
                  <a:cubicBezTo>
                    <a:pt x="67841" y="541174"/>
                    <a:pt x="64790" y="541174"/>
                    <a:pt x="64790" y="541174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93930CDA-F3E6-4FEF-804F-7DA52733E3DF}"/>
                </a:ext>
              </a:extLst>
            </p:cNvPr>
            <p:cNvSpPr/>
            <p:nvPr/>
          </p:nvSpPr>
          <p:spPr>
            <a:xfrm>
              <a:off x="12093730" y="9403572"/>
              <a:ext cx="128135" cy="70349"/>
            </a:xfrm>
            <a:custGeom>
              <a:avLst/>
              <a:gdLst>
                <a:gd name="connsiteX0" fmla="*/ 79322 w 128135"/>
                <a:gd name="connsiteY0" fmla="*/ 70350 h 70349"/>
                <a:gd name="connsiteX1" fmla="*/ 76271 w 128135"/>
                <a:gd name="connsiteY1" fmla="*/ 70350 h 70349"/>
                <a:gd name="connsiteX2" fmla="*/ 6101 w 128135"/>
                <a:gd name="connsiteY2" fmla="*/ 48994 h 70349"/>
                <a:gd name="connsiteX3" fmla="*/ 0 w 128135"/>
                <a:gd name="connsiteY3" fmla="*/ 42892 h 70349"/>
                <a:gd name="connsiteX4" fmla="*/ 3051 w 128135"/>
                <a:gd name="connsiteY4" fmla="*/ 36791 h 70349"/>
                <a:gd name="connsiteX5" fmla="*/ 122034 w 128135"/>
                <a:gd name="connsiteY5" fmla="*/ 180 h 70349"/>
                <a:gd name="connsiteX6" fmla="*/ 128135 w 128135"/>
                <a:gd name="connsiteY6" fmla="*/ 6282 h 70349"/>
                <a:gd name="connsiteX7" fmla="*/ 122034 w 128135"/>
                <a:gd name="connsiteY7" fmla="*/ 12384 h 70349"/>
                <a:gd name="connsiteX8" fmla="*/ 118983 w 128135"/>
                <a:gd name="connsiteY8" fmla="*/ 12384 h 70349"/>
                <a:gd name="connsiteX9" fmla="*/ 27457 w 128135"/>
                <a:gd name="connsiteY9" fmla="*/ 39841 h 70349"/>
                <a:gd name="connsiteX10" fmla="*/ 82372 w 128135"/>
                <a:gd name="connsiteY10" fmla="*/ 58146 h 70349"/>
                <a:gd name="connsiteX11" fmla="*/ 85423 w 128135"/>
                <a:gd name="connsiteY11" fmla="*/ 67299 h 70349"/>
                <a:gd name="connsiteX12" fmla="*/ 79322 w 128135"/>
                <a:gd name="connsiteY12" fmla="*/ 70350 h 70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8135" h="70349">
                  <a:moveTo>
                    <a:pt x="79322" y="70350"/>
                  </a:moveTo>
                  <a:cubicBezTo>
                    <a:pt x="79322" y="70350"/>
                    <a:pt x="76271" y="70350"/>
                    <a:pt x="76271" y="70350"/>
                  </a:cubicBezTo>
                  <a:cubicBezTo>
                    <a:pt x="54915" y="55095"/>
                    <a:pt x="6101" y="48994"/>
                    <a:pt x="6101" y="48994"/>
                  </a:cubicBezTo>
                  <a:cubicBezTo>
                    <a:pt x="3051" y="48994"/>
                    <a:pt x="3051" y="45943"/>
                    <a:pt x="0" y="42892"/>
                  </a:cubicBezTo>
                  <a:cubicBezTo>
                    <a:pt x="0" y="39841"/>
                    <a:pt x="0" y="36791"/>
                    <a:pt x="3051" y="36791"/>
                  </a:cubicBezTo>
                  <a:cubicBezTo>
                    <a:pt x="12203" y="33739"/>
                    <a:pt x="94576" y="-2871"/>
                    <a:pt x="122034" y="180"/>
                  </a:cubicBezTo>
                  <a:cubicBezTo>
                    <a:pt x="125085" y="180"/>
                    <a:pt x="128135" y="3231"/>
                    <a:pt x="128135" y="6282"/>
                  </a:cubicBezTo>
                  <a:cubicBezTo>
                    <a:pt x="128135" y="9333"/>
                    <a:pt x="125085" y="12384"/>
                    <a:pt x="122034" y="12384"/>
                  </a:cubicBezTo>
                  <a:cubicBezTo>
                    <a:pt x="122034" y="12384"/>
                    <a:pt x="122034" y="12384"/>
                    <a:pt x="118983" y="12384"/>
                  </a:cubicBezTo>
                  <a:cubicBezTo>
                    <a:pt x="100678" y="12384"/>
                    <a:pt x="54915" y="27638"/>
                    <a:pt x="27457" y="39841"/>
                  </a:cubicBezTo>
                  <a:cubicBezTo>
                    <a:pt x="45763" y="42892"/>
                    <a:pt x="67118" y="48994"/>
                    <a:pt x="82372" y="58146"/>
                  </a:cubicBezTo>
                  <a:cubicBezTo>
                    <a:pt x="85423" y="61197"/>
                    <a:pt x="85423" y="64248"/>
                    <a:pt x="85423" y="67299"/>
                  </a:cubicBezTo>
                  <a:cubicBezTo>
                    <a:pt x="82372" y="70350"/>
                    <a:pt x="79322" y="70350"/>
                    <a:pt x="79322" y="70350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5AC1FA82-1FEA-4407-8D28-6FE44A7EB5A6}"/>
                </a:ext>
              </a:extLst>
            </p:cNvPr>
            <p:cNvSpPr/>
            <p:nvPr/>
          </p:nvSpPr>
          <p:spPr>
            <a:xfrm>
              <a:off x="11743614" y="9881199"/>
              <a:ext cx="262294" cy="271414"/>
            </a:xfrm>
            <a:custGeom>
              <a:avLst/>
              <a:gdLst>
                <a:gd name="connsiteX0" fmla="*/ 243336 w 262294"/>
                <a:gd name="connsiteY0" fmla="*/ 190689 h 271414"/>
                <a:gd name="connsiteX1" fmla="*/ 90793 w 262294"/>
                <a:gd name="connsiteY1" fmla="*/ 25943 h 271414"/>
                <a:gd name="connsiteX2" fmla="*/ 5369 w 262294"/>
                <a:gd name="connsiteY2" fmla="*/ 59503 h 271414"/>
                <a:gd name="connsiteX3" fmla="*/ 185370 w 262294"/>
                <a:gd name="connsiteY3" fmla="*/ 263909 h 271414"/>
                <a:gd name="connsiteX4" fmla="*/ 243336 w 262294"/>
                <a:gd name="connsiteY4" fmla="*/ 190689 h 27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294" h="271414">
                  <a:moveTo>
                    <a:pt x="243336" y="190689"/>
                  </a:moveTo>
                  <a:cubicBezTo>
                    <a:pt x="179268" y="147977"/>
                    <a:pt x="127403" y="96112"/>
                    <a:pt x="90793" y="25943"/>
                  </a:cubicBezTo>
                  <a:cubicBezTo>
                    <a:pt x="63336" y="-25921"/>
                    <a:pt x="-22089" y="7638"/>
                    <a:pt x="5369" y="59503"/>
                  </a:cubicBezTo>
                  <a:cubicBezTo>
                    <a:pt x="48081" y="141875"/>
                    <a:pt x="106047" y="212045"/>
                    <a:pt x="185370" y="263909"/>
                  </a:cubicBezTo>
                  <a:cubicBezTo>
                    <a:pt x="237233" y="294418"/>
                    <a:pt x="292149" y="224248"/>
                    <a:pt x="243336" y="190689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C3C7E0BE-65D3-4D60-BFCC-2FEF6DA3F4DA}"/>
                </a:ext>
              </a:extLst>
            </p:cNvPr>
            <p:cNvSpPr/>
            <p:nvPr/>
          </p:nvSpPr>
          <p:spPr>
            <a:xfrm>
              <a:off x="11458170" y="8920151"/>
              <a:ext cx="739367" cy="548535"/>
            </a:xfrm>
            <a:custGeom>
              <a:avLst/>
              <a:gdLst>
                <a:gd name="connsiteX0" fmla="*/ 107762 w 739367"/>
                <a:gd name="connsiteY0" fmla="*/ 389025 h 548535"/>
                <a:gd name="connsiteX1" fmla="*/ 489118 w 739367"/>
                <a:gd name="connsiteY1" fmla="*/ 532415 h 548535"/>
                <a:gd name="connsiteX2" fmla="*/ 507423 w 739367"/>
                <a:gd name="connsiteY2" fmla="*/ 544619 h 548535"/>
                <a:gd name="connsiteX3" fmla="*/ 553186 w 739367"/>
                <a:gd name="connsiteY3" fmla="*/ 517161 h 548535"/>
                <a:gd name="connsiteX4" fmla="*/ 739288 w 739367"/>
                <a:gd name="connsiteY4" fmla="*/ 230381 h 548535"/>
                <a:gd name="connsiteX5" fmla="*/ 574542 w 739367"/>
                <a:gd name="connsiteY5" fmla="*/ 1568 h 548535"/>
                <a:gd name="connsiteX6" fmla="*/ 415898 w 739367"/>
                <a:gd name="connsiteY6" fmla="*/ 209025 h 548535"/>
                <a:gd name="connsiteX7" fmla="*/ 406746 w 739367"/>
                <a:gd name="connsiteY7" fmla="*/ 297500 h 548535"/>
                <a:gd name="connsiteX8" fmla="*/ 284712 w 739367"/>
                <a:gd name="connsiteY8" fmla="*/ 148009 h 548535"/>
                <a:gd name="connsiteX9" fmla="*/ 19288 w 739367"/>
                <a:gd name="connsiteY9" fmla="*/ 141906 h 548535"/>
                <a:gd name="connsiteX10" fmla="*/ 107762 w 739367"/>
                <a:gd name="connsiteY10" fmla="*/ 389025 h 548535"/>
                <a:gd name="connsiteX11" fmla="*/ 415898 w 739367"/>
                <a:gd name="connsiteY11" fmla="*/ 428686 h 548535"/>
                <a:gd name="connsiteX12" fmla="*/ 422000 w 739367"/>
                <a:gd name="connsiteY12" fmla="*/ 450042 h 548535"/>
                <a:gd name="connsiteX13" fmla="*/ 290813 w 739367"/>
                <a:gd name="connsiteY13" fmla="*/ 379873 h 548535"/>
                <a:gd name="connsiteX14" fmla="*/ 196237 w 739367"/>
                <a:gd name="connsiteY14" fmla="*/ 309703 h 548535"/>
                <a:gd name="connsiteX15" fmla="*/ 211492 w 739367"/>
                <a:gd name="connsiteY15" fmla="*/ 202923 h 548535"/>
                <a:gd name="connsiteX16" fmla="*/ 415898 w 739367"/>
                <a:gd name="connsiteY16" fmla="*/ 428686 h 548535"/>
                <a:gd name="connsiteX17" fmla="*/ 513525 w 739367"/>
                <a:gd name="connsiteY17" fmla="*/ 434788 h 548535"/>
                <a:gd name="connsiteX18" fmla="*/ 495220 w 739367"/>
                <a:gd name="connsiteY18" fmla="*/ 184619 h 548535"/>
                <a:gd name="connsiteX19" fmla="*/ 602000 w 739367"/>
                <a:gd name="connsiteY19" fmla="*/ 148009 h 548535"/>
                <a:gd name="connsiteX20" fmla="*/ 586746 w 739367"/>
                <a:gd name="connsiteY20" fmla="*/ 318856 h 548535"/>
                <a:gd name="connsiteX21" fmla="*/ 513525 w 739367"/>
                <a:gd name="connsiteY21" fmla="*/ 434788 h 54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39367" h="548535">
                  <a:moveTo>
                    <a:pt x="107762" y="389025"/>
                  </a:moveTo>
                  <a:cubicBezTo>
                    <a:pt x="214542" y="477500"/>
                    <a:pt x="357932" y="501907"/>
                    <a:pt x="489118" y="532415"/>
                  </a:cubicBezTo>
                  <a:cubicBezTo>
                    <a:pt x="495220" y="535466"/>
                    <a:pt x="501322" y="541568"/>
                    <a:pt x="507423" y="544619"/>
                  </a:cubicBezTo>
                  <a:cubicBezTo>
                    <a:pt x="528780" y="556822"/>
                    <a:pt x="553186" y="538517"/>
                    <a:pt x="553186" y="517161"/>
                  </a:cubicBezTo>
                  <a:cubicBezTo>
                    <a:pt x="656915" y="459195"/>
                    <a:pt x="742339" y="355466"/>
                    <a:pt x="739288" y="230381"/>
                  </a:cubicBezTo>
                  <a:cubicBezTo>
                    <a:pt x="736237" y="138856"/>
                    <a:pt x="675220" y="16822"/>
                    <a:pt x="574542" y="1568"/>
                  </a:cubicBezTo>
                  <a:cubicBezTo>
                    <a:pt x="464712" y="-16738"/>
                    <a:pt x="428101" y="129703"/>
                    <a:pt x="415898" y="209025"/>
                  </a:cubicBezTo>
                  <a:cubicBezTo>
                    <a:pt x="412847" y="239534"/>
                    <a:pt x="406746" y="266991"/>
                    <a:pt x="406746" y="297500"/>
                  </a:cubicBezTo>
                  <a:cubicBezTo>
                    <a:pt x="373186" y="242585"/>
                    <a:pt x="336576" y="187669"/>
                    <a:pt x="284712" y="148009"/>
                  </a:cubicBezTo>
                  <a:cubicBezTo>
                    <a:pt x="220644" y="99195"/>
                    <a:pt x="77254" y="56483"/>
                    <a:pt x="19288" y="141906"/>
                  </a:cubicBezTo>
                  <a:cubicBezTo>
                    <a:pt x="-38678" y="224280"/>
                    <a:pt x="46745" y="340212"/>
                    <a:pt x="107762" y="389025"/>
                  </a:cubicBezTo>
                  <a:close/>
                  <a:moveTo>
                    <a:pt x="415898" y="428686"/>
                  </a:moveTo>
                  <a:cubicBezTo>
                    <a:pt x="418949" y="434788"/>
                    <a:pt x="422000" y="440890"/>
                    <a:pt x="422000" y="450042"/>
                  </a:cubicBezTo>
                  <a:cubicBezTo>
                    <a:pt x="376237" y="431737"/>
                    <a:pt x="333526" y="407331"/>
                    <a:pt x="290813" y="379873"/>
                  </a:cubicBezTo>
                  <a:cubicBezTo>
                    <a:pt x="260305" y="361568"/>
                    <a:pt x="220644" y="337161"/>
                    <a:pt x="196237" y="309703"/>
                  </a:cubicBezTo>
                  <a:cubicBezTo>
                    <a:pt x="156576" y="263940"/>
                    <a:pt x="174881" y="212076"/>
                    <a:pt x="211492" y="202923"/>
                  </a:cubicBezTo>
                  <a:cubicBezTo>
                    <a:pt x="318271" y="224280"/>
                    <a:pt x="382338" y="376822"/>
                    <a:pt x="415898" y="428686"/>
                  </a:cubicBezTo>
                  <a:close/>
                  <a:moveTo>
                    <a:pt x="513525" y="434788"/>
                  </a:moveTo>
                  <a:cubicBezTo>
                    <a:pt x="486068" y="355466"/>
                    <a:pt x="476915" y="257839"/>
                    <a:pt x="495220" y="184619"/>
                  </a:cubicBezTo>
                  <a:cubicBezTo>
                    <a:pt x="510474" y="126652"/>
                    <a:pt x="571491" y="77839"/>
                    <a:pt x="602000" y="148009"/>
                  </a:cubicBezTo>
                  <a:cubicBezTo>
                    <a:pt x="629457" y="209025"/>
                    <a:pt x="611152" y="263940"/>
                    <a:pt x="586746" y="318856"/>
                  </a:cubicBezTo>
                  <a:cubicBezTo>
                    <a:pt x="565389" y="358517"/>
                    <a:pt x="544034" y="398178"/>
                    <a:pt x="513525" y="434788"/>
                  </a:cubicBezTo>
                  <a:close/>
                </a:path>
              </a:pathLst>
            </a:custGeom>
            <a:solidFill>
              <a:srgbClr val="F1DDBA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4645076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9E638373-77D8-45DB-8C23-85AAC8CB9A14}"/>
              </a:ext>
            </a:extLst>
          </p:cNvPr>
          <p:cNvGrpSpPr/>
          <p:nvPr/>
        </p:nvGrpSpPr>
        <p:grpSpPr>
          <a:xfrm>
            <a:off x="2308995" y="1887407"/>
            <a:ext cx="3787005" cy="4970593"/>
            <a:chOff x="13665103" y="7496210"/>
            <a:chExt cx="3787005" cy="4970593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2C66796E-9FBB-4D04-AD1F-FBC6562E5791}"/>
                </a:ext>
              </a:extLst>
            </p:cNvPr>
            <p:cNvSpPr/>
            <p:nvPr/>
          </p:nvSpPr>
          <p:spPr>
            <a:xfrm>
              <a:off x="15876705" y="9842166"/>
              <a:ext cx="344310" cy="261637"/>
            </a:xfrm>
            <a:custGeom>
              <a:avLst/>
              <a:gdLst>
                <a:gd name="connsiteX0" fmla="*/ 222787 w 344310"/>
                <a:gd name="connsiteY0" fmla="*/ 260231 h 261637"/>
                <a:gd name="connsiteX1" fmla="*/ 317364 w 344310"/>
                <a:gd name="connsiteY1" fmla="*/ 119892 h 261637"/>
                <a:gd name="connsiteX2" fmla="*/ 18381 w 344310"/>
                <a:gd name="connsiteY2" fmla="*/ 16163 h 261637"/>
                <a:gd name="connsiteX3" fmla="*/ 3127 w 344310"/>
                <a:gd name="connsiteY3" fmla="*/ 135146 h 261637"/>
                <a:gd name="connsiteX4" fmla="*/ 106855 w 344310"/>
                <a:gd name="connsiteY4" fmla="*/ 214468 h 261637"/>
                <a:gd name="connsiteX5" fmla="*/ 222787 w 344310"/>
                <a:gd name="connsiteY5" fmla="*/ 260231 h 26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4310" h="261637">
                  <a:moveTo>
                    <a:pt x="222787" y="260231"/>
                  </a:moveTo>
                  <a:cubicBezTo>
                    <a:pt x="372279" y="275485"/>
                    <a:pt x="357024" y="162603"/>
                    <a:pt x="317364" y="119892"/>
                  </a:cubicBezTo>
                  <a:cubicBezTo>
                    <a:pt x="271601" y="71078"/>
                    <a:pt x="82448" y="-41803"/>
                    <a:pt x="18381" y="16163"/>
                  </a:cubicBezTo>
                  <a:cubicBezTo>
                    <a:pt x="18381" y="16163"/>
                    <a:pt x="-9077" y="104637"/>
                    <a:pt x="3127" y="135146"/>
                  </a:cubicBezTo>
                  <a:cubicBezTo>
                    <a:pt x="18381" y="180909"/>
                    <a:pt x="67194" y="196163"/>
                    <a:pt x="106855" y="214468"/>
                  </a:cubicBezTo>
                  <a:cubicBezTo>
                    <a:pt x="134313" y="229722"/>
                    <a:pt x="207533" y="260231"/>
                    <a:pt x="222787" y="260231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8F9F4DD3-9783-4789-B730-EA13E5DA3C37}"/>
                </a:ext>
              </a:extLst>
            </p:cNvPr>
            <p:cNvSpPr/>
            <p:nvPr/>
          </p:nvSpPr>
          <p:spPr>
            <a:xfrm>
              <a:off x="14988776" y="8619360"/>
              <a:ext cx="942976" cy="1396925"/>
            </a:xfrm>
            <a:custGeom>
              <a:avLst/>
              <a:gdLst>
                <a:gd name="connsiteX0" fmla="*/ 155801 w 942976"/>
                <a:gd name="connsiteY0" fmla="*/ 324 h 1396925"/>
                <a:gd name="connsiteX1" fmla="*/ 412072 w 942976"/>
                <a:gd name="connsiteY1" fmla="*/ 451850 h 1396925"/>
                <a:gd name="connsiteX2" fmla="*/ 460886 w 942976"/>
                <a:gd name="connsiteY2" fmla="*/ 912528 h 1396925"/>
                <a:gd name="connsiteX3" fmla="*/ 942919 w 942976"/>
                <a:gd name="connsiteY3" fmla="*/ 1211511 h 1396925"/>
                <a:gd name="connsiteX4" fmla="*/ 888005 w 942976"/>
                <a:gd name="connsiteY4" fmla="*/ 1370155 h 1396925"/>
                <a:gd name="connsiteX5" fmla="*/ 171055 w 942976"/>
                <a:gd name="connsiteY5" fmla="*/ 1144392 h 1396925"/>
                <a:gd name="connsiteX6" fmla="*/ 155801 w 942976"/>
                <a:gd name="connsiteY6" fmla="*/ 324 h 139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2976" h="1396925">
                  <a:moveTo>
                    <a:pt x="155801" y="324"/>
                  </a:moveTo>
                  <a:cubicBezTo>
                    <a:pt x="290038" y="-11879"/>
                    <a:pt x="390716" y="323714"/>
                    <a:pt x="412072" y="451850"/>
                  </a:cubicBezTo>
                  <a:cubicBezTo>
                    <a:pt x="433428" y="564731"/>
                    <a:pt x="460886" y="912528"/>
                    <a:pt x="460886" y="912528"/>
                  </a:cubicBezTo>
                  <a:cubicBezTo>
                    <a:pt x="460886" y="912528"/>
                    <a:pt x="949022" y="1095578"/>
                    <a:pt x="942919" y="1211511"/>
                  </a:cubicBezTo>
                  <a:cubicBezTo>
                    <a:pt x="933767" y="1272528"/>
                    <a:pt x="909360" y="1336596"/>
                    <a:pt x="888005" y="1370155"/>
                  </a:cubicBezTo>
                  <a:cubicBezTo>
                    <a:pt x="735462" y="1476934"/>
                    <a:pt x="262581" y="1235917"/>
                    <a:pt x="171055" y="1144392"/>
                  </a:cubicBezTo>
                  <a:cubicBezTo>
                    <a:pt x="70377" y="1046765"/>
                    <a:pt x="-149284" y="24731"/>
                    <a:pt x="155801" y="324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0F3BC651-4247-4DE9-ABD8-25A1E70C97E8}"/>
                </a:ext>
              </a:extLst>
            </p:cNvPr>
            <p:cNvSpPr/>
            <p:nvPr/>
          </p:nvSpPr>
          <p:spPr>
            <a:xfrm>
              <a:off x="15816338" y="9761324"/>
              <a:ext cx="155660" cy="288336"/>
            </a:xfrm>
            <a:custGeom>
              <a:avLst/>
              <a:gdLst>
                <a:gd name="connsiteX0" fmla="*/ 155018 w 155660"/>
                <a:gd name="connsiteY0" fmla="*/ 54293 h 288336"/>
                <a:gd name="connsiteX1" fmla="*/ 87899 w 155660"/>
                <a:gd name="connsiteY1" fmla="*/ 264801 h 288336"/>
                <a:gd name="connsiteX2" fmla="*/ 5526 w 155660"/>
                <a:gd name="connsiteY2" fmla="*/ 222090 h 288336"/>
                <a:gd name="connsiteX3" fmla="*/ 63493 w 155660"/>
                <a:gd name="connsiteY3" fmla="*/ 32937 h 288336"/>
                <a:gd name="connsiteX4" fmla="*/ 155018 w 155660"/>
                <a:gd name="connsiteY4" fmla="*/ 54293 h 288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660" h="288336">
                  <a:moveTo>
                    <a:pt x="155018" y="54293"/>
                  </a:moveTo>
                  <a:cubicBezTo>
                    <a:pt x="145865" y="127513"/>
                    <a:pt x="121459" y="197682"/>
                    <a:pt x="87899" y="264801"/>
                  </a:cubicBezTo>
                  <a:cubicBezTo>
                    <a:pt x="60442" y="316666"/>
                    <a:pt x="-21931" y="273953"/>
                    <a:pt x="5526" y="222090"/>
                  </a:cubicBezTo>
                  <a:cubicBezTo>
                    <a:pt x="36035" y="164124"/>
                    <a:pt x="57391" y="100056"/>
                    <a:pt x="63493" y="32937"/>
                  </a:cubicBezTo>
                  <a:cubicBezTo>
                    <a:pt x="72645" y="-21978"/>
                    <a:pt x="164171" y="-3673"/>
                    <a:pt x="155018" y="54293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14E1BC84-6641-48ED-8798-2DB5FF4D4C67}"/>
                </a:ext>
              </a:extLst>
            </p:cNvPr>
            <p:cNvSpPr/>
            <p:nvPr/>
          </p:nvSpPr>
          <p:spPr>
            <a:xfrm>
              <a:off x="13788210" y="9971210"/>
              <a:ext cx="1241267" cy="2275169"/>
            </a:xfrm>
            <a:custGeom>
              <a:avLst/>
              <a:gdLst>
                <a:gd name="connsiteX0" fmla="*/ 1032977 w 1241267"/>
                <a:gd name="connsiteY0" fmla="*/ 18304 h 2275169"/>
                <a:gd name="connsiteX1" fmla="*/ 1240434 w 1241267"/>
                <a:gd name="connsiteY1" fmla="*/ 1391186 h 2275169"/>
                <a:gd name="connsiteX2" fmla="*/ 975011 w 1241267"/>
                <a:gd name="connsiteY2" fmla="*/ 2221017 h 2275169"/>
                <a:gd name="connsiteX3" fmla="*/ 752299 w 1241267"/>
                <a:gd name="connsiteY3" fmla="*/ 2245423 h 2275169"/>
                <a:gd name="connsiteX4" fmla="*/ 822469 w 1241267"/>
                <a:gd name="connsiteY4" fmla="*/ 1452203 h 2275169"/>
                <a:gd name="connsiteX5" fmla="*/ 569248 w 1241267"/>
                <a:gd name="connsiteY5" fmla="*/ 488136 h 2275169"/>
                <a:gd name="connsiteX6" fmla="*/ 602807 w 1241267"/>
                <a:gd name="connsiteY6" fmla="*/ 1436948 h 2275169"/>
                <a:gd name="connsiteX7" fmla="*/ 273316 w 1241267"/>
                <a:gd name="connsiteY7" fmla="*/ 2239322 h 2275169"/>
                <a:gd name="connsiteX8" fmla="*/ 75011 w 1241267"/>
                <a:gd name="connsiteY8" fmla="*/ 2233220 h 2275169"/>
                <a:gd name="connsiteX9" fmla="*/ 139079 w 1241267"/>
                <a:gd name="connsiteY9" fmla="*/ 1446102 h 2275169"/>
                <a:gd name="connsiteX10" fmla="*/ 7892 w 1241267"/>
                <a:gd name="connsiteY10" fmla="*/ 0 h 2275169"/>
                <a:gd name="connsiteX11" fmla="*/ 1032977 w 1241267"/>
                <a:gd name="connsiteY11" fmla="*/ 18304 h 2275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41267" h="2275169">
                  <a:moveTo>
                    <a:pt x="1032977" y="18304"/>
                  </a:moveTo>
                  <a:cubicBezTo>
                    <a:pt x="1032977" y="18304"/>
                    <a:pt x="1219079" y="1034237"/>
                    <a:pt x="1240434" y="1391186"/>
                  </a:cubicBezTo>
                  <a:cubicBezTo>
                    <a:pt x="1255689" y="1613898"/>
                    <a:pt x="1057383" y="2105085"/>
                    <a:pt x="975011" y="2221017"/>
                  </a:cubicBezTo>
                  <a:cubicBezTo>
                    <a:pt x="935350" y="2278983"/>
                    <a:pt x="801112" y="2275932"/>
                    <a:pt x="752299" y="2245423"/>
                  </a:cubicBezTo>
                  <a:cubicBezTo>
                    <a:pt x="630265" y="2187457"/>
                    <a:pt x="807215" y="1528474"/>
                    <a:pt x="822469" y="1452203"/>
                  </a:cubicBezTo>
                  <a:cubicBezTo>
                    <a:pt x="840774" y="1369830"/>
                    <a:pt x="578401" y="500339"/>
                    <a:pt x="569248" y="488136"/>
                  </a:cubicBezTo>
                  <a:cubicBezTo>
                    <a:pt x="553994" y="457627"/>
                    <a:pt x="618062" y="1205085"/>
                    <a:pt x="602807" y="1436948"/>
                  </a:cubicBezTo>
                  <a:cubicBezTo>
                    <a:pt x="590604" y="1647458"/>
                    <a:pt x="398401" y="2178305"/>
                    <a:pt x="273316" y="2239322"/>
                  </a:cubicBezTo>
                  <a:cubicBezTo>
                    <a:pt x="218400" y="2285085"/>
                    <a:pt x="117723" y="2291186"/>
                    <a:pt x="75011" y="2233220"/>
                  </a:cubicBezTo>
                  <a:cubicBezTo>
                    <a:pt x="-13463" y="2114237"/>
                    <a:pt x="145180" y="1543728"/>
                    <a:pt x="139079" y="1446102"/>
                  </a:cubicBezTo>
                  <a:cubicBezTo>
                    <a:pt x="129926" y="1293559"/>
                    <a:pt x="-37871" y="97627"/>
                    <a:pt x="7892" y="0"/>
                  </a:cubicBezTo>
                  <a:cubicBezTo>
                    <a:pt x="709587" y="30508"/>
                    <a:pt x="1032977" y="18304"/>
                    <a:pt x="1032977" y="18304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2EC28E14-AC29-4B34-93DF-EFFF4479DA70}"/>
                </a:ext>
              </a:extLst>
            </p:cNvPr>
            <p:cNvSpPr/>
            <p:nvPr/>
          </p:nvSpPr>
          <p:spPr>
            <a:xfrm>
              <a:off x="14236187" y="9965108"/>
              <a:ext cx="167033" cy="332542"/>
            </a:xfrm>
            <a:custGeom>
              <a:avLst/>
              <a:gdLst>
                <a:gd name="connsiteX0" fmla="*/ 5339 w 167033"/>
                <a:gd name="connsiteY0" fmla="*/ 332542 h 332542"/>
                <a:gd name="connsiteX1" fmla="*/ 2288 w 167033"/>
                <a:gd name="connsiteY1" fmla="*/ 332542 h 332542"/>
                <a:gd name="connsiteX2" fmla="*/ 2288 w 167033"/>
                <a:gd name="connsiteY2" fmla="*/ 323390 h 332542"/>
                <a:gd name="connsiteX3" fmla="*/ 157882 w 167033"/>
                <a:gd name="connsiteY3" fmla="*/ 3051 h 332542"/>
                <a:gd name="connsiteX4" fmla="*/ 163984 w 167033"/>
                <a:gd name="connsiteY4" fmla="*/ 0 h 332542"/>
                <a:gd name="connsiteX5" fmla="*/ 167034 w 167033"/>
                <a:gd name="connsiteY5" fmla="*/ 6102 h 332542"/>
                <a:gd name="connsiteX6" fmla="*/ 8390 w 167033"/>
                <a:gd name="connsiteY6" fmla="*/ 329491 h 332542"/>
                <a:gd name="connsiteX7" fmla="*/ 5339 w 167033"/>
                <a:gd name="connsiteY7" fmla="*/ 332542 h 33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7033" h="332542">
                  <a:moveTo>
                    <a:pt x="5339" y="332542"/>
                  </a:moveTo>
                  <a:cubicBezTo>
                    <a:pt x="5339" y="332542"/>
                    <a:pt x="2288" y="332542"/>
                    <a:pt x="2288" y="332542"/>
                  </a:cubicBezTo>
                  <a:cubicBezTo>
                    <a:pt x="-763" y="329491"/>
                    <a:pt x="-763" y="326441"/>
                    <a:pt x="2288" y="323390"/>
                  </a:cubicBezTo>
                  <a:cubicBezTo>
                    <a:pt x="81611" y="228814"/>
                    <a:pt x="157882" y="6102"/>
                    <a:pt x="157882" y="3051"/>
                  </a:cubicBezTo>
                  <a:cubicBezTo>
                    <a:pt x="157882" y="0"/>
                    <a:pt x="160933" y="0"/>
                    <a:pt x="163984" y="0"/>
                  </a:cubicBezTo>
                  <a:cubicBezTo>
                    <a:pt x="167034" y="0"/>
                    <a:pt x="167034" y="3051"/>
                    <a:pt x="167034" y="6102"/>
                  </a:cubicBezTo>
                  <a:cubicBezTo>
                    <a:pt x="163984" y="15254"/>
                    <a:pt x="90763" y="231865"/>
                    <a:pt x="8390" y="329491"/>
                  </a:cubicBezTo>
                  <a:cubicBezTo>
                    <a:pt x="8390" y="332542"/>
                    <a:pt x="5339" y="332542"/>
                    <a:pt x="5339" y="332542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EFA48915-4E90-489F-B637-02DBC2BD4DBB}"/>
                </a:ext>
              </a:extLst>
            </p:cNvPr>
            <p:cNvSpPr/>
            <p:nvPr/>
          </p:nvSpPr>
          <p:spPr>
            <a:xfrm>
              <a:off x="14284238" y="9931549"/>
              <a:ext cx="244067" cy="298983"/>
            </a:xfrm>
            <a:custGeom>
              <a:avLst/>
              <a:gdLst>
                <a:gd name="connsiteX0" fmla="*/ 6102 w 244067"/>
                <a:gd name="connsiteY0" fmla="*/ 298984 h 298983"/>
                <a:gd name="connsiteX1" fmla="*/ 0 w 244067"/>
                <a:gd name="connsiteY1" fmla="*/ 295933 h 298983"/>
                <a:gd name="connsiteX2" fmla="*/ 3051 w 244067"/>
                <a:gd name="connsiteY2" fmla="*/ 289831 h 298983"/>
                <a:gd name="connsiteX3" fmla="*/ 128136 w 244067"/>
                <a:gd name="connsiteY3" fmla="*/ 247119 h 298983"/>
                <a:gd name="connsiteX4" fmla="*/ 234916 w 244067"/>
                <a:gd name="connsiteY4" fmla="*/ 3051 h 298983"/>
                <a:gd name="connsiteX5" fmla="*/ 241017 w 244067"/>
                <a:gd name="connsiteY5" fmla="*/ 0 h 298983"/>
                <a:gd name="connsiteX6" fmla="*/ 244068 w 244067"/>
                <a:gd name="connsiteY6" fmla="*/ 6102 h 298983"/>
                <a:gd name="connsiteX7" fmla="*/ 134237 w 244067"/>
                <a:gd name="connsiteY7" fmla="*/ 253221 h 298983"/>
                <a:gd name="connsiteX8" fmla="*/ 6102 w 244067"/>
                <a:gd name="connsiteY8" fmla="*/ 298984 h 298983"/>
                <a:gd name="connsiteX9" fmla="*/ 6102 w 244067"/>
                <a:gd name="connsiteY9" fmla="*/ 298984 h 298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4067" h="298983">
                  <a:moveTo>
                    <a:pt x="6102" y="298984"/>
                  </a:moveTo>
                  <a:cubicBezTo>
                    <a:pt x="3051" y="298984"/>
                    <a:pt x="0" y="295933"/>
                    <a:pt x="0" y="295933"/>
                  </a:cubicBezTo>
                  <a:cubicBezTo>
                    <a:pt x="0" y="292882"/>
                    <a:pt x="0" y="289831"/>
                    <a:pt x="3051" y="289831"/>
                  </a:cubicBezTo>
                  <a:cubicBezTo>
                    <a:pt x="48814" y="277627"/>
                    <a:pt x="115933" y="253221"/>
                    <a:pt x="128136" y="247119"/>
                  </a:cubicBezTo>
                  <a:cubicBezTo>
                    <a:pt x="140339" y="237967"/>
                    <a:pt x="198305" y="94576"/>
                    <a:pt x="234916" y="3051"/>
                  </a:cubicBezTo>
                  <a:cubicBezTo>
                    <a:pt x="234916" y="0"/>
                    <a:pt x="237967" y="0"/>
                    <a:pt x="241017" y="0"/>
                  </a:cubicBezTo>
                  <a:cubicBezTo>
                    <a:pt x="244068" y="0"/>
                    <a:pt x="244068" y="3051"/>
                    <a:pt x="244068" y="6102"/>
                  </a:cubicBezTo>
                  <a:cubicBezTo>
                    <a:pt x="228814" y="45763"/>
                    <a:pt x="149491" y="244068"/>
                    <a:pt x="134237" y="253221"/>
                  </a:cubicBezTo>
                  <a:cubicBezTo>
                    <a:pt x="122034" y="265424"/>
                    <a:pt x="18305" y="295933"/>
                    <a:pt x="6102" y="298984"/>
                  </a:cubicBezTo>
                  <a:cubicBezTo>
                    <a:pt x="9153" y="298984"/>
                    <a:pt x="6102" y="298984"/>
                    <a:pt x="6102" y="298984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" name="图形 1">
              <a:extLst>
                <a:ext uri="{FF2B5EF4-FFF2-40B4-BE49-F238E27FC236}">
                  <a16:creationId xmlns:a16="http://schemas.microsoft.com/office/drawing/2014/main" id="{5C9D1BCC-D329-4A25-9900-DE7CF6B93C4C}"/>
                </a:ext>
              </a:extLst>
            </p:cNvPr>
            <p:cNvGrpSpPr/>
            <p:nvPr/>
          </p:nvGrpSpPr>
          <p:grpSpPr>
            <a:xfrm>
              <a:off x="13831429" y="12137312"/>
              <a:ext cx="526028" cy="329491"/>
              <a:chOff x="13831429" y="12137312"/>
              <a:chExt cx="526028" cy="329491"/>
            </a:xfrm>
          </p:grpSpPr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73D9A6C7-C3AF-4AFD-8EB4-D14C1793B4E2}"/>
                  </a:ext>
                </a:extLst>
              </p:cNvPr>
              <p:cNvSpPr/>
              <p:nvPr/>
            </p:nvSpPr>
            <p:spPr>
              <a:xfrm>
                <a:off x="13866272" y="12421041"/>
                <a:ext cx="488135" cy="45762"/>
              </a:xfrm>
              <a:custGeom>
                <a:avLst/>
                <a:gdLst>
                  <a:gd name="connsiteX0" fmla="*/ 0 w 488135"/>
                  <a:gd name="connsiteY0" fmla="*/ 0 h 45762"/>
                  <a:gd name="connsiteX1" fmla="*/ 488136 w 488135"/>
                  <a:gd name="connsiteY1" fmla="*/ 0 h 45762"/>
                  <a:gd name="connsiteX2" fmla="*/ 488136 w 488135"/>
                  <a:gd name="connsiteY2" fmla="*/ 45763 h 45762"/>
                  <a:gd name="connsiteX3" fmla="*/ 0 w 488135"/>
                  <a:gd name="connsiteY3" fmla="*/ 45763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5" h="45762">
                    <a:moveTo>
                      <a:pt x="0" y="0"/>
                    </a:moveTo>
                    <a:lnTo>
                      <a:pt x="488136" y="0"/>
                    </a:lnTo>
                    <a:lnTo>
                      <a:pt x="488136" y="45763"/>
                    </a:lnTo>
                    <a:lnTo>
                      <a:pt x="0" y="45763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9FBCE909-5C0E-480F-89AE-CC42EAB8BBCD}"/>
                  </a:ext>
                </a:extLst>
              </p:cNvPr>
              <p:cNvSpPr/>
              <p:nvPr/>
            </p:nvSpPr>
            <p:spPr>
              <a:xfrm>
                <a:off x="13831429" y="12137312"/>
                <a:ext cx="526028" cy="286779"/>
              </a:xfrm>
              <a:custGeom>
                <a:avLst/>
                <a:gdLst>
                  <a:gd name="connsiteX0" fmla="*/ 1283 w 526028"/>
                  <a:gd name="connsiteY0" fmla="*/ 0 h 286779"/>
                  <a:gd name="connsiteX1" fmla="*/ 339927 w 526028"/>
                  <a:gd name="connsiteY1" fmla="*/ 18304 h 286779"/>
                  <a:gd name="connsiteX2" fmla="*/ 300266 w 526028"/>
                  <a:gd name="connsiteY2" fmla="*/ 158644 h 286779"/>
                  <a:gd name="connsiteX3" fmla="*/ 358232 w 526028"/>
                  <a:gd name="connsiteY3" fmla="*/ 180000 h 286779"/>
                  <a:gd name="connsiteX4" fmla="*/ 526028 w 526028"/>
                  <a:gd name="connsiteY4" fmla="*/ 286779 h 286779"/>
                  <a:gd name="connsiteX5" fmla="*/ 37893 w 526028"/>
                  <a:gd name="connsiteY5" fmla="*/ 286779 h 286779"/>
                  <a:gd name="connsiteX6" fmla="*/ 1283 w 526028"/>
                  <a:gd name="connsiteY6" fmla="*/ 0 h 28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6028" h="286779">
                    <a:moveTo>
                      <a:pt x="1283" y="0"/>
                    </a:moveTo>
                    <a:lnTo>
                      <a:pt x="339927" y="18304"/>
                    </a:lnTo>
                    <a:lnTo>
                      <a:pt x="300266" y="158644"/>
                    </a:lnTo>
                    <a:cubicBezTo>
                      <a:pt x="321622" y="167797"/>
                      <a:pt x="339927" y="173898"/>
                      <a:pt x="358232" y="180000"/>
                    </a:cubicBezTo>
                    <a:cubicBezTo>
                      <a:pt x="400944" y="195254"/>
                      <a:pt x="513825" y="213559"/>
                      <a:pt x="526028" y="286779"/>
                    </a:cubicBezTo>
                    <a:lnTo>
                      <a:pt x="37893" y="286779"/>
                    </a:lnTo>
                    <a:cubicBezTo>
                      <a:pt x="34843" y="283728"/>
                      <a:pt x="-7870" y="192203"/>
                      <a:pt x="1283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图形 1">
              <a:extLst>
                <a:ext uri="{FF2B5EF4-FFF2-40B4-BE49-F238E27FC236}">
                  <a16:creationId xmlns:a16="http://schemas.microsoft.com/office/drawing/2014/main" id="{A3147A0E-9773-4DA5-AB40-B796FCDC9604}"/>
                </a:ext>
              </a:extLst>
            </p:cNvPr>
            <p:cNvGrpSpPr/>
            <p:nvPr/>
          </p:nvGrpSpPr>
          <p:grpSpPr>
            <a:xfrm>
              <a:off x="14469163" y="12137312"/>
              <a:ext cx="492363" cy="329491"/>
              <a:chOff x="14469163" y="12137312"/>
              <a:chExt cx="492363" cy="329491"/>
            </a:xfrm>
          </p:grpSpPr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5B13FD68-247E-4DFA-8982-47E912DEC77D}"/>
                  </a:ext>
                </a:extLst>
              </p:cNvPr>
              <p:cNvSpPr/>
              <p:nvPr/>
            </p:nvSpPr>
            <p:spPr>
              <a:xfrm>
                <a:off x="14470340" y="12421041"/>
                <a:ext cx="488135" cy="45762"/>
              </a:xfrm>
              <a:custGeom>
                <a:avLst/>
                <a:gdLst>
                  <a:gd name="connsiteX0" fmla="*/ 0 w 488135"/>
                  <a:gd name="connsiteY0" fmla="*/ 0 h 45762"/>
                  <a:gd name="connsiteX1" fmla="*/ 488136 w 488135"/>
                  <a:gd name="connsiteY1" fmla="*/ 0 h 45762"/>
                  <a:gd name="connsiteX2" fmla="*/ 488136 w 488135"/>
                  <a:gd name="connsiteY2" fmla="*/ 45763 h 45762"/>
                  <a:gd name="connsiteX3" fmla="*/ 0 w 488135"/>
                  <a:gd name="connsiteY3" fmla="*/ 45763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5" h="45762">
                    <a:moveTo>
                      <a:pt x="0" y="0"/>
                    </a:moveTo>
                    <a:lnTo>
                      <a:pt x="488136" y="0"/>
                    </a:lnTo>
                    <a:lnTo>
                      <a:pt x="488136" y="45763"/>
                    </a:lnTo>
                    <a:lnTo>
                      <a:pt x="0" y="45763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E8CD23B2-7C76-4E41-88CB-37A595FD0E3C}"/>
                  </a:ext>
                </a:extLst>
              </p:cNvPr>
              <p:cNvSpPr/>
              <p:nvPr/>
            </p:nvSpPr>
            <p:spPr>
              <a:xfrm>
                <a:off x="14469163" y="12137312"/>
                <a:ext cx="492363" cy="286779"/>
              </a:xfrm>
              <a:custGeom>
                <a:avLst/>
                <a:gdLst>
                  <a:gd name="connsiteX0" fmla="*/ 16431 w 492363"/>
                  <a:gd name="connsiteY0" fmla="*/ 0 h 286779"/>
                  <a:gd name="connsiteX1" fmla="*/ 327618 w 492363"/>
                  <a:gd name="connsiteY1" fmla="*/ 24406 h 286779"/>
                  <a:gd name="connsiteX2" fmla="*/ 266601 w 492363"/>
                  <a:gd name="connsiteY2" fmla="*/ 158644 h 286779"/>
                  <a:gd name="connsiteX3" fmla="*/ 324567 w 492363"/>
                  <a:gd name="connsiteY3" fmla="*/ 180000 h 286779"/>
                  <a:gd name="connsiteX4" fmla="*/ 492363 w 492363"/>
                  <a:gd name="connsiteY4" fmla="*/ 286779 h 286779"/>
                  <a:gd name="connsiteX5" fmla="*/ 4228 w 492363"/>
                  <a:gd name="connsiteY5" fmla="*/ 286779 h 286779"/>
                  <a:gd name="connsiteX6" fmla="*/ 16431 w 492363"/>
                  <a:gd name="connsiteY6" fmla="*/ 0 h 28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92363" h="286779">
                    <a:moveTo>
                      <a:pt x="16431" y="0"/>
                    </a:moveTo>
                    <a:lnTo>
                      <a:pt x="327618" y="24406"/>
                    </a:lnTo>
                    <a:lnTo>
                      <a:pt x="266601" y="158644"/>
                    </a:lnTo>
                    <a:cubicBezTo>
                      <a:pt x="287956" y="167797"/>
                      <a:pt x="306261" y="173898"/>
                      <a:pt x="324567" y="180000"/>
                    </a:cubicBezTo>
                    <a:cubicBezTo>
                      <a:pt x="367278" y="195254"/>
                      <a:pt x="480160" y="213559"/>
                      <a:pt x="492363" y="286779"/>
                    </a:cubicBezTo>
                    <a:lnTo>
                      <a:pt x="4228" y="286779"/>
                    </a:lnTo>
                    <a:cubicBezTo>
                      <a:pt x="1177" y="283728"/>
                      <a:pt x="-7976" y="82372"/>
                      <a:pt x="16431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55D486F0-FF0C-48AE-B444-12BC0FA10C92}"/>
                </a:ext>
              </a:extLst>
            </p:cNvPr>
            <p:cNvSpPr/>
            <p:nvPr/>
          </p:nvSpPr>
          <p:spPr>
            <a:xfrm>
              <a:off x="14702967" y="8040023"/>
              <a:ext cx="54152" cy="152542"/>
            </a:xfrm>
            <a:custGeom>
              <a:avLst/>
              <a:gdLst>
                <a:gd name="connsiteX0" fmla="*/ 5339 w 54152"/>
                <a:gd name="connsiteY0" fmla="*/ 0 h 152542"/>
                <a:gd name="connsiteX1" fmla="*/ 26695 w 54152"/>
                <a:gd name="connsiteY1" fmla="*/ 152542 h 152542"/>
                <a:gd name="connsiteX2" fmla="*/ 54152 w 54152"/>
                <a:gd name="connsiteY2" fmla="*/ 70170 h 152542"/>
                <a:gd name="connsiteX3" fmla="*/ 5339 w 54152"/>
                <a:gd name="connsiteY3" fmla="*/ 0 h 15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52" h="152542">
                  <a:moveTo>
                    <a:pt x="5339" y="0"/>
                  </a:moveTo>
                  <a:cubicBezTo>
                    <a:pt x="5339" y="0"/>
                    <a:pt x="-16017" y="118983"/>
                    <a:pt x="26695" y="152542"/>
                  </a:cubicBezTo>
                  <a:lnTo>
                    <a:pt x="54152" y="70170"/>
                  </a:lnTo>
                  <a:lnTo>
                    <a:pt x="5339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60BF95DF-1E68-42C7-A1D5-D4E830F5FCAE}"/>
                </a:ext>
              </a:extLst>
            </p:cNvPr>
            <p:cNvSpPr/>
            <p:nvPr/>
          </p:nvSpPr>
          <p:spPr>
            <a:xfrm>
              <a:off x="15064403" y="7963752"/>
              <a:ext cx="138139" cy="226457"/>
            </a:xfrm>
            <a:custGeom>
              <a:avLst/>
              <a:gdLst>
                <a:gd name="connsiteX0" fmla="*/ 138140 w 138139"/>
                <a:gd name="connsiteY0" fmla="*/ 12204 h 226457"/>
                <a:gd name="connsiteX1" fmla="*/ 28309 w 138139"/>
                <a:gd name="connsiteY1" fmla="*/ 225763 h 226457"/>
                <a:gd name="connsiteX2" fmla="*/ 40512 w 138139"/>
                <a:gd name="connsiteY2" fmla="*/ 0 h 226457"/>
                <a:gd name="connsiteX3" fmla="*/ 138140 w 138139"/>
                <a:gd name="connsiteY3" fmla="*/ 12204 h 226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139" h="226457">
                  <a:moveTo>
                    <a:pt x="138140" y="12204"/>
                  </a:moveTo>
                  <a:cubicBezTo>
                    <a:pt x="138140" y="12204"/>
                    <a:pt x="110682" y="207458"/>
                    <a:pt x="28309" y="225763"/>
                  </a:cubicBezTo>
                  <a:cubicBezTo>
                    <a:pt x="-41860" y="241017"/>
                    <a:pt x="40512" y="0"/>
                    <a:pt x="40512" y="0"/>
                  </a:cubicBezTo>
                  <a:lnTo>
                    <a:pt x="138140" y="12204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EBDD6F7F-87F5-4E18-B845-D72ABA06045D}"/>
                </a:ext>
              </a:extLst>
            </p:cNvPr>
            <p:cNvSpPr/>
            <p:nvPr/>
          </p:nvSpPr>
          <p:spPr>
            <a:xfrm>
              <a:off x="14723492" y="7767142"/>
              <a:ext cx="427301" cy="565056"/>
            </a:xfrm>
            <a:custGeom>
              <a:avLst/>
              <a:gdLst>
                <a:gd name="connsiteX0" fmla="*/ 427186 w 427301"/>
                <a:gd name="connsiteY0" fmla="*/ 239322 h 565056"/>
                <a:gd name="connsiteX1" fmla="*/ 357017 w 427301"/>
                <a:gd name="connsiteY1" fmla="*/ 480339 h 565056"/>
                <a:gd name="connsiteX2" fmla="*/ 164814 w 427301"/>
                <a:gd name="connsiteY2" fmla="*/ 562712 h 565056"/>
                <a:gd name="connsiteX3" fmla="*/ 68 w 427301"/>
                <a:gd name="connsiteY3" fmla="*/ 361356 h 565056"/>
                <a:gd name="connsiteX4" fmla="*/ 30576 w 427301"/>
                <a:gd name="connsiteY4" fmla="*/ 135593 h 565056"/>
                <a:gd name="connsiteX5" fmla="*/ 292949 w 427301"/>
                <a:gd name="connsiteY5" fmla="*/ 7458 h 565056"/>
                <a:gd name="connsiteX6" fmla="*/ 427186 w 427301"/>
                <a:gd name="connsiteY6" fmla="*/ 239322 h 565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301" h="565056">
                  <a:moveTo>
                    <a:pt x="427186" y="239322"/>
                  </a:moveTo>
                  <a:cubicBezTo>
                    <a:pt x="427186" y="239322"/>
                    <a:pt x="396678" y="416271"/>
                    <a:pt x="357017" y="480339"/>
                  </a:cubicBezTo>
                  <a:cubicBezTo>
                    <a:pt x="320407" y="538305"/>
                    <a:pt x="213627" y="574915"/>
                    <a:pt x="164814" y="562712"/>
                  </a:cubicBezTo>
                  <a:cubicBezTo>
                    <a:pt x="97695" y="547458"/>
                    <a:pt x="-2982" y="477288"/>
                    <a:pt x="68" y="361356"/>
                  </a:cubicBezTo>
                  <a:cubicBezTo>
                    <a:pt x="68" y="285085"/>
                    <a:pt x="15322" y="184407"/>
                    <a:pt x="30576" y="135593"/>
                  </a:cubicBezTo>
                  <a:cubicBezTo>
                    <a:pt x="58035" y="44068"/>
                    <a:pt x="106847" y="-23051"/>
                    <a:pt x="292949" y="7458"/>
                  </a:cubicBezTo>
                  <a:cubicBezTo>
                    <a:pt x="372271" y="19661"/>
                    <a:pt x="430237" y="156949"/>
                    <a:pt x="427186" y="239322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2BC24984-6008-43BE-BC3D-FFA624AC82ED}"/>
                </a:ext>
              </a:extLst>
            </p:cNvPr>
            <p:cNvSpPr/>
            <p:nvPr/>
          </p:nvSpPr>
          <p:spPr>
            <a:xfrm>
              <a:off x="15034746" y="8039432"/>
              <a:ext cx="39660" cy="40252"/>
            </a:xfrm>
            <a:custGeom>
              <a:avLst/>
              <a:gdLst>
                <a:gd name="connsiteX0" fmla="*/ 0 w 39660"/>
                <a:gd name="connsiteY0" fmla="*/ 18896 h 40252"/>
                <a:gd name="connsiteX1" fmla="*/ 18305 w 39660"/>
                <a:gd name="connsiteY1" fmla="*/ 40252 h 40252"/>
                <a:gd name="connsiteX2" fmla="*/ 39661 w 39660"/>
                <a:gd name="connsiteY2" fmla="*/ 21948 h 40252"/>
                <a:gd name="connsiteX3" fmla="*/ 21356 w 39660"/>
                <a:gd name="connsiteY3" fmla="*/ 591 h 40252"/>
                <a:gd name="connsiteX4" fmla="*/ 0 w 39660"/>
                <a:gd name="connsiteY4" fmla="*/ 18896 h 40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60" h="40252">
                  <a:moveTo>
                    <a:pt x="0" y="18896"/>
                  </a:moveTo>
                  <a:cubicBezTo>
                    <a:pt x="0" y="31100"/>
                    <a:pt x="6102" y="40252"/>
                    <a:pt x="18305" y="40252"/>
                  </a:cubicBezTo>
                  <a:cubicBezTo>
                    <a:pt x="30508" y="40252"/>
                    <a:pt x="39661" y="34151"/>
                    <a:pt x="39661" y="21948"/>
                  </a:cubicBezTo>
                  <a:cubicBezTo>
                    <a:pt x="39661" y="9744"/>
                    <a:pt x="33560" y="591"/>
                    <a:pt x="21356" y="591"/>
                  </a:cubicBezTo>
                  <a:cubicBezTo>
                    <a:pt x="9152" y="-2459"/>
                    <a:pt x="0" y="6693"/>
                    <a:pt x="0" y="18896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A17D1025-134F-4CC2-91D3-7E5C48AE879B}"/>
                </a:ext>
              </a:extLst>
            </p:cNvPr>
            <p:cNvSpPr/>
            <p:nvPr/>
          </p:nvSpPr>
          <p:spPr>
            <a:xfrm>
              <a:off x="14854747" y="8003413"/>
              <a:ext cx="39660" cy="39661"/>
            </a:xfrm>
            <a:custGeom>
              <a:avLst/>
              <a:gdLst>
                <a:gd name="connsiteX0" fmla="*/ 0 w 39660"/>
                <a:gd name="connsiteY0" fmla="*/ 18305 h 39661"/>
                <a:gd name="connsiteX1" fmla="*/ 18305 w 39660"/>
                <a:gd name="connsiteY1" fmla="*/ 39661 h 39661"/>
                <a:gd name="connsiteX2" fmla="*/ 39661 w 39660"/>
                <a:gd name="connsiteY2" fmla="*/ 21356 h 39661"/>
                <a:gd name="connsiteX3" fmla="*/ 21355 w 39660"/>
                <a:gd name="connsiteY3" fmla="*/ 0 h 39661"/>
                <a:gd name="connsiteX4" fmla="*/ 0 w 39660"/>
                <a:gd name="connsiteY4" fmla="*/ 18305 h 3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60" h="39661">
                  <a:moveTo>
                    <a:pt x="0" y="18305"/>
                  </a:moveTo>
                  <a:cubicBezTo>
                    <a:pt x="0" y="30508"/>
                    <a:pt x="6101" y="39661"/>
                    <a:pt x="18305" y="39661"/>
                  </a:cubicBezTo>
                  <a:cubicBezTo>
                    <a:pt x="30508" y="39661"/>
                    <a:pt x="39661" y="33560"/>
                    <a:pt x="39661" y="21356"/>
                  </a:cubicBezTo>
                  <a:cubicBezTo>
                    <a:pt x="39661" y="9153"/>
                    <a:pt x="33560" y="0"/>
                    <a:pt x="21355" y="0"/>
                  </a:cubicBezTo>
                  <a:cubicBezTo>
                    <a:pt x="9152" y="0"/>
                    <a:pt x="0" y="6102"/>
                    <a:pt x="0" y="18305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F0E46304-E8E4-44D4-9AE9-3C1CD934591C}"/>
                </a:ext>
              </a:extLst>
            </p:cNvPr>
            <p:cNvSpPr/>
            <p:nvPr/>
          </p:nvSpPr>
          <p:spPr>
            <a:xfrm>
              <a:off x="15025594" y="7990298"/>
              <a:ext cx="86687" cy="46675"/>
            </a:xfrm>
            <a:custGeom>
              <a:avLst/>
              <a:gdLst>
                <a:gd name="connsiteX0" fmla="*/ 76271 w 86687"/>
                <a:gd name="connsiteY0" fmla="*/ 46675 h 46675"/>
                <a:gd name="connsiteX1" fmla="*/ 70169 w 86687"/>
                <a:gd name="connsiteY1" fmla="*/ 43624 h 46675"/>
                <a:gd name="connsiteX2" fmla="*/ 9152 w 86687"/>
                <a:gd name="connsiteY2" fmla="*/ 16167 h 46675"/>
                <a:gd name="connsiteX3" fmla="*/ 0 w 86687"/>
                <a:gd name="connsiteY3" fmla="*/ 10065 h 46675"/>
                <a:gd name="connsiteX4" fmla="*/ 6101 w 86687"/>
                <a:gd name="connsiteY4" fmla="*/ 912 h 46675"/>
                <a:gd name="connsiteX5" fmla="*/ 85423 w 86687"/>
                <a:gd name="connsiteY5" fmla="*/ 34471 h 46675"/>
                <a:gd name="connsiteX6" fmla="*/ 82372 w 86687"/>
                <a:gd name="connsiteY6" fmla="*/ 43624 h 46675"/>
                <a:gd name="connsiteX7" fmla="*/ 76271 w 86687"/>
                <a:gd name="connsiteY7" fmla="*/ 46675 h 4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6687" h="46675">
                  <a:moveTo>
                    <a:pt x="76271" y="46675"/>
                  </a:moveTo>
                  <a:cubicBezTo>
                    <a:pt x="73220" y="46675"/>
                    <a:pt x="70169" y="43624"/>
                    <a:pt x="70169" y="43624"/>
                  </a:cubicBezTo>
                  <a:cubicBezTo>
                    <a:pt x="54915" y="10065"/>
                    <a:pt x="9152" y="16167"/>
                    <a:pt x="9152" y="16167"/>
                  </a:cubicBezTo>
                  <a:cubicBezTo>
                    <a:pt x="6101" y="16167"/>
                    <a:pt x="0" y="13116"/>
                    <a:pt x="0" y="10065"/>
                  </a:cubicBezTo>
                  <a:cubicBezTo>
                    <a:pt x="0" y="7014"/>
                    <a:pt x="3050" y="912"/>
                    <a:pt x="6101" y="912"/>
                  </a:cubicBezTo>
                  <a:cubicBezTo>
                    <a:pt x="24406" y="-2139"/>
                    <a:pt x="67118" y="912"/>
                    <a:pt x="85423" y="34471"/>
                  </a:cubicBezTo>
                  <a:cubicBezTo>
                    <a:pt x="88474" y="37522"/>
                    <a:pt x="85423" y="43624"/>
                    <a:pt x="82372" y="43624"/>
                  </a:cubicBezTo>
                  <a:cubicBezTo>
                    <a:pt x="79321" y="43624"/>
                    <a:pt x="79321" y="46675"/>
                    <a:pt x="76271" y="46675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6955AE07-8940-49A2-884E-1AA898E0B548}"/>
                </a:ext>
              </a:extLst>
            </p:cNvPr>
            <p:cNvSpPr/>
            <p:nvPr/>
          </p:nvSpPr>
          <p:spPr>
            <a:xfrm>
              <a:off x="14838229" y="7936974"/>
              <a:ext cx="92026" cy="38982"/>
            </a:xfrm>
            <a:custGeom>
              <a:avLst/>
              <a:gdLst>
                <a:gd name="connsiteX0" fmla="*/ 83636 w 92026"/>
                <a:gd name="connsiteY0" fmla="*/ 38982 h 38982"/>
                <a:gd name="connsiteX1" fmla="*/ 77535 w 92026"/>
                <a:gd name="connsiteY1" fmla="*/ 35931 h 38982"/>
                <a:gd name="connsiteX2" fmla="*/ 13467 w 92026"/>
                <a:gd name="connsiteY2" fmla="*/ 23728 h 38982"/>
                <a:gd name="connsiteX3" fmla="*/ 1264 w 92026"/>
                <a:gd name="connsiteY3" fmla="*/ 20677 h 38982"/>
                <a:gd name="connsiteX4" fmla="*/ 4315 w 92026"/>
                <a:gd name="connsiteY4" fmla="*/ 8474 h 38982"/>
                <a:gd name="connsiteX5" fmla="*/ 89738 w 92026"/>
                <a:gd name="connsiteY5" fmla="*/ 23728 h 38982"/>
                <a:gd name="connsiteX6" fmla="*/ 89738 w 92026"/>
                <a:gd name="connsiteY6" fmla="*/ 35931 h 38982"/>
                <a:gd name="connsiteX7" fmla="*/ 83636 w 92026"/>
                <a:gd name="connsiteY7" fmla="*/ 38982 h 38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8982">
                  <a:moveTo>
                    <a:pt x="83636" y="38982"/>
                  </a:moveTo>
                  <a:cubicBezTo>
                    <a:pt x="80586" y="38982"/>
                    <a:pt x="80586" y="38982"/>
                    <a:pt x="77535" y="35931"/>
                  </a:cubicBezTo>
                  <a:cubicBezTo>
                    <a:pt x="50078" y="2372"/>
                    <a:pt x="13467" y="23728"/>
                    <a:pt x="13467" y="23728"/>
                  </a:cubicBezTo>
                  <a:cubicBezTo>
                    <a:pt x="10416" y="26779"/>
                    <a:pt x="4315" y="23728"/>
                    <a:pt x="1264" y="20677"/>
                  </a:cubicBezTo>
                  <a:cubicBezTo>
                    <a:pt x="-1787" y="17626"/>
                    <a:pt x="1264" y="11524"/>
                    <a:pt x="4315" y="8474"/>
                  </a:cubicBezTo>
                  <a:cubicBezTo>
                    <a:pt x="19569" y="-679"/>
                    <a:pt x="59230" y="-9832"/>
                    <a:pt x="89738" y="23728"/>
                  </a:cubicBezTo>
                  <a:cubicBezTo>
                    <a:pt x="92789" y="26779"/>
                    <a:pt x="92789" y="32881"/>
                    <a:pt x="89738" y="35931"/>
                  </a:cubicBezTo>
                  <a:cubicBezTo>
                    <a:pt x="86687" y="38982"/>
                    <a:pt x="86687" y="38982"/>
                    <a:pt x="83636" y="38982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0F8015FE-8D1B-4D2F-A3CD-9E09ADACF538}"/>
                </a:ext>
              </a:extLst>
            </p:cNvPr>
            <p:cNvSpPr/>
            <p:nvPr/>
          </p:nvSpPr>
          <p:spPr>
            <a:xfrm>
              <a:off x="14681374" y="7953131"/>
              <a:ext cx="73075" cy="115271"/>
            </a:xfrm>
            <a:custGeom>
              <a:avLst/>
              <a:gdLst>
                <a:gd name="connsiteX0" fmla="*/ 72694 w 73075"/>
                <a:gd name="connsiteY0" fmla="*/ 28926 h 115271"/>
                <a:gd name="connsiteX1" fmla="*/ 17779 w 73075"/>
                <a:gd name="connsiteY1" fmla="*/ 1469 h 115271"/>
                <a:gd name="connsiteX2" fmla="*/ 42185 w 73075"/>
                <a:gd name="connsiteY2" fmla="*/ 114350 h 115271"/>
                <a:gd name="connsiteX3" fmla="*/ 72694 w 73075"/>
                <a:gd name="connsiteY3" fmla="*/ 28926 h 115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075" h="115271">
                  <a:moveTo>
                    <a:pt x="72694" y="28926"/>
                  </a:moveTo>
                  <a:cubicBezTo>
                    <a:pt x="72694" y="28926"/>
                    <a:pt x="48287" y="-7684"/>
                    <a:pt x="17779" y="1469"/>
                  </a:cubicBezTo>
                  <a:cubicBezTo>
                    <a:pt x="-12730" y="13672"/>
                    <a:pt x="-3578" y="126553"/>
                    <a:pt x="42185" y="114350"/>
                  </a:cubicBezTo>
                  <a:cubicBezTo>
                    <a:pt x="78796" y="108249"/>
                    <a:pt x="72694" y="28926"/>
                    <a:pt x="72694" y="28926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F4FF87CF-00DA-4518-85E2-8ECDF4BF9551}"/>
                </a:ext>
              </a:extLst>
            </p:cNvPr>
            <p:cNvSpPr/>
            <p:nvPr/>
          </p:nvSpPr>
          <p:spPr>
            <a:xfrm>
              <a:off x="14720273" y="7663938"/>
              <a:ext cx="508680" cy="424899"/>
            </a:xfrm>
            <a:custGeom>
              <a:avLst/>
              <a:gdLst>
                <a:gd name="connsiteX0" fmla="*/ 237 w 508680"/>
                <a:gd name="connsiteY0" fmla="*/ 220493 h 424899"/>
                <a:gd name="connsiteX1" fmla="*/ 24643 w 508680"/>
                <a:gd name="connsiteY1" fmla="*/ 333374 h 424899"/>
                <a:gd name="connsiteX2" fmla="*/ 113117 w 508680"/>
                <a:gd name="connsiteY2" fmla="*/ 214391 h 424899"/>
                <a:gd name="connsiteX3" fmla="*/ 122271 w 508680"/>
                <a:gd name="connsiteY3" fmla="*/ 214391 h 424899"/>
                <a:gd name="connsiteX4" fmla="*/ 204643 w 508680"/>
                <a:gd name="connsiteY4" fmla="*/ 211340 h 424899"/>
                <a:gd name="connsiteX5" fmla="*/ 216846 w 508680"/>
                <a:gd name="connsiteY5" fmla="*/ 211340 h 424899"/>
                <a:gd name="connsiteX6" fmla="*/ 244304 w 508680"/>
                <a:gd name="connsiteY6" fmla="*/ 241848 h 424899"/>
                <a:gd name="connsiteX7" fmla="*/ 262609 w 508680"/>
                <a:gd name="connsiteY7" fmla="*/ 235747 h 424899"/>
                <a:gd name="connsiteX8" fmla="*/ 305321 w 508680"/>
                <a:gd name="connsiteY8" fmla="*/ 266255 h 424899"/>
                <a:gd name="connsiteX9" fmla="*/ 335830 w 508680"/>
                <a:gd name="connsiteY9" fmla="*/ 284560 h 424899"/>
                <a:gd name="connsiteX10" fmla="*/ 348033 w 508680"/>
                <a:gd name="connsiteY10" fmla="*/ 287611 h 424899"/>
                <a:gd name="connsiteX11" fmla="*/ 360236 w 508680"/>
                <a:gd name="connsiteY11" fmla="*/ 290662 h 424899"/>
                <a:gd name="connsiteX12" fmla="*/ 369388 w 508680"/>
                <a:gd name="connsiteY12" fmla="*/ 296764 h 424899"/>
                <a:gd name="connsiteX13" fmla="*/ 372440 w 508680"/>
                <a:gd name="connsiteY13" fmla="*/ 302865 h 424899"/>
                <a:gd name="connsiteX14" fmla="*/ 378542 w 508680"/>
                <a:gd name="connsiteY14" fmla="*/ 305916 h 424899"/>
                <a:gd name="connsiteX15" fmla="*/ 384643 w 508680"/>
                <a:gd name="connsiteY15" fmla="*/ 312018 h 424899"/>
                <a:gd name="connsiteX16" fmla="*/ 387694 w 508680"/>
                <a:gd name="connsiteY16" fmla="*/ 321171 h 424899"/>
                <a:gd name="connsiteX17" fmla="*/ 399897 w 508680"/>
                <a:gd name="connsiteY17" fmla="*/ 348628 h 424899"/>
                <a:gd name="connsiteX18" fmla="*/ 424304 w 508680"/>
                <a:gd name="connsiteY18" fmla="*/ 366933 h 424899"/>
                <a:gd name="connsiteX19" fmla="*/ 424304 w 508680"/>
                <a:gd name="connsiteY19" fmla="*/ 424899 h 424899"/>
                <a:gd name="connsiteX20" fmla="*/ 439559 w 508680"/>
                <a:gd name="connsiteY20" fmla="*/ 400492 h 424899"/>
                <a:gd name="connsiteX21" fmla="*/ 448711 w 508680"/>
                <a:gd name="connsiteY21" fmla="*/ 400492 h 424899"/>
                <a:gd name="connsiteX22" fmla="*/ 494473 w 508680"/>
                <a:gd name="connsiteY22" fmla="*/ 312018 h 424899"/>
                <a:gd name="connsiteX23" fmla="*/ 488372 w 508680"/>
                <a:gd name="connsiteY23" fmla="*/ 266255 h 424899"/>
                <a:gd name="connsiteX24" fmla="*/ 503627 w 508680"/>
                <a:gd name="connsiteY24" fmla="*/ 232696 h 424899"/>
                <a:gd name="connsiteX25" fmla="*/ 506677 w 508680"/>
                <a:gd name="connsiteY25" fmla="*/ 196086 h 424899"/>
                <a:gd name="connsiteX26" fmla="*/ 497524 w 508680"/>
                <a:gd name="connsiteY26" fmla="*/ 162526 h 424899"/>
                <a:gd name="connsiteX27" fmla="*/ 494473 w 508680"/>
                <a:gd name="connsiteY27" fmla="*/ 116763 h 424899"/>
                <a:gd name="connsiteX28" fmla="*/ 442610 w 508680"/>
                <a:gd name="connsiteY28" fmla="*/ 77103 h 424899"/>
                <a:gd name="connsiteX29" fmla="*/ 332779 w 508680"/>
                <a:gd name="connsiteY29" fmla="*/ 6933 h 424899"/>
                <a:gd name="connsiteX30" fmla="*/ 317525 w 508680"/>
                <a:gd name="connsiteY30" fmla="*/ 9984 h 424899"/>
                <a:gd name="connsiteX31" fmla="*/ 259559 w 508680"/>
                <a:gd name="connsiteY31" fmla="*/ 6933 h 424899"/>
                <a:gd name="connsiteX32" fmla="*/ 225999 w 508680"/>
                <a:gd name="connsiteY32" fmla="*/ 832 h 424899"/>
                <a:gd name="connsiteX33" fmla="*/ 186338 w 508680"/>
                <a:gd name="connsiteY33" fmla="*/ 22187 h 424899"/>
                <a:gd name="connsiteX34" fmla="*/ 168033 w 508680"/>
                <a:gd name="connsiteY34" fmla="*/ 37442 h 424899"/>
                <a:gd name="connsiteX35" fmla="*/ 134474 w 508680"/>
                <a:gd name="connsiteY35" fmla="*/ 49645 h 424899"/>
                <a:gd name="connsiteX36" fmla="*/ 122271 w 508680"/>
                <a:gd name="connsiteY36" fmla="*/ 43543 h 424899"/>
                <a:gd name="connsiteX37" fmla="*/ 94812 w 508680"/>
                <a:gd name="connsiteY37" fmla="*/ 77103 h 424899"/>
                <a:gd name="connsiteX38" fmla="*/ 237 w 508680"/>
                <a:gd name="connsiteY38" fmla="*/ 220493 h 42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08680" h="424899">
                  <a:moveTo>
                    <a:pt x="237" y="220493"/>
                  </a:moveTo>
                  <a:cubicBezTo>
                    <a:pt x="-2814" y="278458"/>
                    <a:pt x="24643" y="333374"/>
                    <a:pt x="24643" y="333374"/>
                  </a:cubicBezTo>
                  <a:cubicBezTo>
                    <a:pt x="27694" y="302865"/>
                    <a:pt x="113117" y="214391"/>
                    <a:pt x="113117" y="214391"/>
                  </a:cubicBezTo>
                  <a:cubicBezTo>
                    <a:pt x="113117" y="214391"/>
                    <a:pt x="116168" y="214391"/>
                    <a:pt x="122271" y="214391"/>
                  </a:cubicBezTo>
                  <a:cubicBezTo>
                    <a:pt x="149728" y="220493"/>
                    <a:pt x="177185" y="220493"/>
                    <a:pt x="204643" y="211340"/>
                  </a:cubicBezTo>
                  <a:cubicBezTo>
                    <a:pt x="207694" y="211340"/>
                    <a:pt x="213796" y="211340"/>
                    <a:pt x="216846" y="211340"/>
                  </a:cubicBezTo>
                  <a:cubicBezTo>
                    <a:pt x="219897" y="226594"/>
                    <a:pt x="229050" y="238797"/>
                    <a:pt x="244304" y="241848"/>
                  </a:cubicBezTo>
                  <a:cubicBezTo>
                    <a:pt x="253457" y="241848"/>
                    <a:pt x="256508" y="235747"/>
                    <a:pt x="262609" y="235747"/>
                  </a:cubicBezTo>
                  <a:cubicBezTo>
                    <a:pt x="287016" y="235747"/>
                    <a:pt x="293117" y="251001"/>
                    <a:pt x="305321" y="266255"/>
                  </a:cubicBezTo>
                  <a:cubicBezTo>
                    <a:pt x="314474" y="275408"/>
                    <a:pt x="323626" y="281509"/>
                    <a:pt x="335830" y="284560"/>
                  </a:cubicBezTo>
                  <a:cubicBezTo>
                    <a:pt x="338880" y="284560"/>
                    <a:pt x="344982" y="284560"/>
                    <a:pt x="348033" y="287611"/>
                  </a:cubicBezTo>
                  <a:cubicBezTo>
                    <a:pt x="354134" y="287611"/>
                    <a:pt x="357185" y="287611"/>
                    <a:pt x="360236" y="290662"/>
                  </a:cubicBezTo>
                  <a:cubicBezTo>
                    <a:pt x="363287" y="293713"/>
                    <a:pt x="366338" y="296764"/>
                    <a:pt x="369388" y="296764"/>
                  </a:cubicBezTo>
                  <a:cubicBezTo>
                    <a:pt x="369388" y="299814"/>
                    <a:pt x="372440" y="299814"/>
                    <a:pt x="372440" y="302865"/>
                  </a:cubicBezTo>
                  <a:cubicBezTo>
                    <a:pt x="375491" y="302865"/>
                    <a:pt x="375491" y="305916"/>
                    <a:pt x="378542" y="305916"/>
                  </a:cubicBezTo>
                  <a:cubicBezTo>
                    <a:pt x="381593" y="308967"/>
                    <a:pt x="381593" y="308967"/>
                    <a:pt x="384643" y="312018"/>
                  </a:cubicBezTo>
                  <a:cubicBezTo>
                    <a:pt x="387694" y="315069"/>
                    <a:pt x="387694" y="318120"/>
                    <a:pt x="387694" y="321171"/>
                  </a:cubicBezTo>
                  <a:cubicBezTo>
                    <a:pt x="390745" y="330323"/>
                    <a:pt x="390745" y="339475"/>
                    <a:pt x="399897" y="348628"/>
                  </a:cubicBezTo>
                  <a:cubicBezTo>
                    <a:pt x="405999" y="354730"/>
                    <a:pt x="415151" y="360831"/>
                    <a:pt x="424304" y="366933"/>
                  </a:cubicBezTo>
                  <a:cubicBezTo>
                    <a:pt x="433456" y="388289"/>
                    <a:pt x="433456" y="406594"/>
                    <a:pt x="424304" y="424899"/>
                  </a:cubicBezTo>
                  <a:cubicBezTo>
                    <a:pt x="424304" y="424899"/>
                    <a:pt x="430405" y="415747"/>
                    <a:pt x="439559" y="400492"/>
                  </a:cubicBezTo>
                  <a:cubicBezTo>
                    <a:pt x="442610" y="403543"/>
                    <a:pt x="445660" y="403543"/>
                    <a:pt x="448711" y="400492"/>
                  </a:cubicBezTo>
                  <a:cubicBezTo>
                    <a:pt x="476168" y="379136"/>
                    <a:pt x="491422" y="348628"/>
                    <a:pt x="494473" y="312018"/>
                  </a:cubicBezTo>
                  <a:cubicBezTo>
                    <a:pt x="494473" y="296764"/>
                    <a:pt x="491422" y="281509"/>
                    <a:pt x="488372" y="266255"/>
                  </a:cubicBezTo>
                  <a:cubicBezTo>
                    <a:pt x="485321" y="247950"/>
                    <a:pt x="494473" y="251001"/>
                    <a:pt x="503627" y="232696"/>
                  </a:cubicBezTo>
                  <a:cubicBezTo>
                    <a:pt x="509728" y="220493"/>
                    <a:pt x="509728" y="208289"/>
                    <a:pt x="506677" y="196086"/>
                  </a:cubicBezTo>
                  <a:cubicBezTo>
                    <a:pt x="503627" y="183882"/>
                    <a:pt x="500575" y="174730"/>
                    <a:pt x="497524" y="162526"/>
                  </a:cubicBezTo>
                  <a:cubicBezTo>
                    <a:pt x="491422" y="144221"/>
                    <a:pt x="497524" y="135069"/>
                    <a:pt x="494473" y="116763"/>
                  </a:cubicBezTo>
                  <a:cubicBezTo>
                    <a:pt x="491422" y="86255"/>
                    <a:pt x="467016" y="83204"/>
                    <a:pt x="442610" y="77103"/>
                  </a:cubicBezTo>
                  <a:cubicBezTo>
                    <a:pt x="399897" y="64899"/>
                    <a:pt x="381593" y="6933"/>
                    <a:pt x="332779" y="6933"/>
                  </a:cubicBezTo>
                  <a:cubicBezTo>
                    <a:pt x="326677" y="6933"/>
                    <a:pt x="323626" y="9984"/>
                    <a:pt x="317525" y="9984"/>
                  </a:cubicBezTo>
                  <a:cubicBezTo>
                    <a:pt x="296168" y="13035"/>
                    <a:pt x="280914" y="13035"/>
                    <a:pt x="259559" y="6933"/>
                  </a:cubicBezTo>
                  <a:cubicBezTo>
                    <a:pt x="247355" y="3882"/>
                    <a:pt x="238202" y="-2219"/>
                    <a:pt x="225999" y="832"/>
                  </a:cubicBezTo>
                  <a:cubicBezTo>
                    <a:pt x="210745" y="3882"/>
                    <a:pt x="198542" y="13035"/>
                    <a:pt x="186338" y="22187"/>
                  </a:cubicBezTo>
                  <a:cubicBezTo>
                    <a:pt x="180236" y="28289"/>
                    <a:pt x="174134" y="34391"/>
                    <a:pt x="168033" y="37442"/>
                  </a:cubicBezTo>
                  <a:cubicBezTo>
                    <a:pt x="155829" y="40492"/>
                    <a:pt x="143626" y="43543"/>
                    <a:pt x="134474" y="49645"/>
                  </a:cubicBezTo>
                  <a:cubicBezTo>
                    <a:pt x="134474" y="46594"/>
                    <a:pt x="143626" y="37442"/>
                    <a:pt x="122271" y="43543"/>
                  </a:cubicBezTo>
                  <a:cubicBezTo>
                    <a:pt x="103965" y="49645"/>
                    <a:pt x="97863" y="61849"/>
                    <a:pt x="94812" y="77103"/>
                  </a:cubicBezTo>
                  <a:cubicBezTo>
                    <a:pt x="36846" y="80153"/>
                    <a:pt x="3287" y="162526"/>
                    <a:pt x="237" y="220493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EFCB95DF-D8BC-4660-A7F2-A74410557C73}"/>
                </a:ext>
              </a:extLst>
            </p:cNvPr>
            <p:cNvSpPr/>
            <p:nvPr/>
          </p:nvSpPr>
          <p:spPr>
            <a:xfrm>
              <a:off x="14686950" y="8195617"/>
              <a:ext cx="286779" cy="290217"/>
            </a:xfrm>
            <a:custGeom>
              <a:avLst/>
              <a:gdLst>
                <a:gd name="connsiteX0" fmla="*/ 286779 w 286779"/>
                <a:gd name="connsiteY0" fmla="*/ 106780 h 290217"/>
                <a:gd name="connsiteX1" fmla="*/ 231865 w 286779"/>
                <a:gd name="connsiteY1" fmla="*/ 271525 h 290217"/>
                <a:gd name="connsiteX2" fmla="*/ 0 w 286779"/>
                <a:gd name="connsiteY2" fmla="*/ 192203 h 290217"/>
                <a:gd name="connsiteX3" fmla="*/ 73220 w 286779"/>
                <a:gd name="connsiteY3" fmla="*/ 0 h 290217"/>
                <a:gd name="connsiteX4" fmla="*/ 286779 w 286779"/>
                <a:gd name="connsiteY4" fmla="*/ 106780 h 290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6779" h="290217">
                  <a:moveTo>
                    <a:pt x="286779" y="106780"/>
                  </a:moveTo>
                  <a:cubicBezTo>
                    <a:pt x="286779" y="106780"/>
                    <a:pt x="253220" y="201356"/>
                    <a:pt x="231865" y="271525"/>
                  </a:cubicBezTo>
                  <a:cubicBezTo>
                    <a:pt x="231865" y="271525"/>
                    <a:pt x="109831" y="347796"/>
                    <a:pt x="0" y="192203"/>
                  </a:cubicBezTo>
                  <a:cubicBezTo>
                    <a:pt x="18305" y="134237"/>
                    <a:pt x="51864" y="61017"/>
                    <a:pt x="73220" y="0"/>
                  </a:cubicBezTo>
                  <a:cubicBezTo>
                    <a:pt x="70169" y="0"/>
                    <a:pt x="231865" y="103729"/>
                    <a:pt x="286779" y="106780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BBB520F9-01F3-42F4-8CDD-7FDE5AA92913}"/>
                </a:ext>
              </a:extLst>
            </p:cNvPr>
            <p:cNvSpPr/>
            <p:nvPr/>
          </p:nvSpPr>
          <p:spPr>
            <a:xfrm>
              <a:off x="13869322" y="8345108"/>
              <a:ext cx="1365339" cy="1665762"/>
            </a:xfrm>
            <a:custGeom>
              <a:avLst/>
              <a:gdLst>
                <a:gd name="connsiteX0" fmla="*/ 811526 w 1365339"/>
                <a:gd name="connsiteY0" fmla="*/ 0 h 1665762"/>
                <a:gd name="connsiteX1" fmla="*/ 1089153 w 1365339"/>
                <a:gd name="connsiteY1" fmla="*/ 82373 h 1665762"/>
                <a:gd name="connsiteX2" fmla="*/ 1339323 w 1365339"/>
                <a:gd name="connsiteY2" fmla="*/ 292882 h 1665762"/>
                <a:gd name="connsiteX3" fmla="*/ 1018984 w 1365339"/>
                <a:gd name="connsiteY3" fmla="*/ 1665763 h 1665762"/>
                <a:gd name="connsiteX4" fmla="*/ 0 w 1365339"/>
                <a:gd name="connsiteY4" fmla="*/ 1336272 h 1665762"/>
                <a:gd name="connsiteX5" fmla="*/ 515594 w 1365339"/>
                <a:gd name="connsiteY5" fmla="*/ 18305 h 1665762"/>
                <a:gd name="connsiteX6" fmla="*/ 811526 w 1365339"/>
                <a:gd name="connsiteY6" fmla="*/ 0 h 166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5339" h="1665762">
                  <a:moveTo>
                    <a:pt x="811526" y="0"/>
                  </a:moveTo>
                  <a:cubicBezTo>
                    <a:pt x="811526" y="0"/>
                    <a:pt x="961017" y="103729"/>
                    <a:pt x="1089153" y="82373"/>
                  </a:cubicBezTo>
                  <a:cubicBezTo>
                    <a:pt x="1089153" y="82373"/>
                    <a:pt x="1324069" y="256271"/>
                    <a:pt x="1339323" y="292882"/>
                  </a:cubicBezTo>
                  <a:cubicBezTo>
                    <a:pt x="1354577" y="329492"/>
                    <a:pt x="1476611" y="1452204"/>
                    <a:pt x="1018984" y="1665763"/>
                  </a:cubicBezTo>
                  <a:cubicBezTo>
                    <a:pt x="1018984" y="1665763"/>
                    <a:pt x="524746" y="1601695"/>
                    <a:pt x="0" y="1336272"/>
                  </a:cubicBezTo>
                  <a:cubicBezTo>
                    <a:pt x="100679" y="994576"/>
                    <a:pt x="463729" y="36611"/>
                    <a:pt x="515594" y="18305"/>
                  </a:cubicBezTo>
                  <a:cubicBezTo>
                    <a:pt x="561357" y="0"/>
                    <a:pt x="811526" y="0"/>
                    <a:pt x="811526" y="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4EB62E56-1B9D-4093-A776-24834A5E52DA}"/>
                </a:ext>
              </a:extLst>
            </p:cNvPr>
            <p:cNvSpPr/>
            <p:nvPr/>
          </p:nvSpPr>
          <p:spPr>
            <a:xfrm>
              <a:off x="15187289" y="8634939"/>
              <a:ext cx="52356" cy="881695"/>
            </a:xfrm>
            <a:custGeom>
              <a:avLst/>
              <a:gdLst>
                <a:gd name="connsiteX0" fmla="*/ 6102 w 52356"/>
                <a:gd name="connsiteY0" fmla="*/ 881695 h 881695"/>
                <a:gd name="connsiteX1" fmla="*/ 6102 w 52356"/>
                <a:gd name="connsiteY1" fmla="*/ 881695 h 881695"/>
                <a:gd name="connsiteX2" fmla="*/ 0 w 52356"/>
                <a:gd name="connsiteY2" fmla="*/ 875594 h 881695"/>
                <a:gd name="connsiteX3" fmla="*/ 12203 w 52356"/>
                <a:gd name="connsiteY3" fmla="*/ 6102 h 881695"/>
                <a:gd name="connsiteX4" fmla="*/ 15254 w 52356"/>
                <a:gd name="connsiteY4" fmla="*/ 0 h 881695"/>
                <a:gd name="connsiteX5" fmla="*/ 21356 w 52356"/>
                <a:gd name="connsiteY5" fmla="*/ 3051 h 881695"/>
                <a:gd name="connsiteX6" fmla="*/ 9152 w 52356"/>
                <a:gd name="connsiteY6" fmla="*/ 878644 h 881695"/>
                <a:gd name="connsiteX7" fmla="*/ 6102 w 52356"/>
                <a:gd name="connsiteY7" fmla="*/ 881695 h 881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356" h="881695">
                  <a:moveTo>
                    <a:pt x="6102" y="881695"/>
                  </a:moveTo>
                  <a:cubicBezTo>
                    <a:pt x="6102" y="881695"/>
                    <a:pt x="6102" y="881695"/>
                    <a:pt x="6102" y="881695"/>
                  </a:cubicBezTo>
                  <a:cubicBezTo>
                    <a:pt x="3051" y="881695"/>
                    <a:pt x="0" y="878644"/>
                    <a:pt x="0" y="875594"/>
                  </a:cubicBezTo>
                  <a:cubicBezTo>
                    <a:pt x="0" y="869492"/>
                    <a:pt x="88474" y="234916"/>
                    <a:pt x="12203" y="6102"/>
                  </a:cubicBezTo>
                  <a:cubicBezTo>
                    <a:pt x="12203" y="3051"/>
                    <a:pt x="12203" y="0"/>
                    <a:pt x="15254" y="0"/>
                  </a:cubicBezTo>
                  <a:cubicBezTo>
                    <a:pt x="18305" y="0"/>
                    <a:pt x="21356" y="0"/>
                    <a:pt x="21356" y="3051"/>
                  </a:cubicBezTo>
                  <a:cubicBezTo>
                    <a:pt x="97627" y="231865"/>
                    <a:pt x="9152" y="872543"/>
                    <a:pt x="9152" y="878644"/>
                  </a:cubicBezTo>
                  <a:cubicBezTo>
                    <a:pt x="12203" y="878644"/>
                    <a:pt x="9152" y="881695"/>
                    <a:pt x="6102" y="881695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681074FE-E5E9-4756-A944-6F5917F2AC57}"/>
                </a:ext>
              </a:extLst>
            </p:cNvPr>
            <p:cNvSpPr/>
            <p:nvPr/>
          </p:nvSpPr>
          <p:spPr>
            <a:xfrm>
              <a:off x="14748730" y="8223837"/>
              <a:ext cx="224999" cy="112118"/>
            </a:xfrm>
            <a:custGeom>
              <a:avLst/>
              <a:gdLst>
                <a:gd name="connsiteX0" fmla="*/ 157881 w 224999"/>
                <a:gd name="connsiteY0" fmla="*/ 112119 h 112118"/>
                <a:gd name="connsiteX1" fmla="*/ 136525 w 224999"/>
                <a:gd name="connsiteY1" fmla="*/ 109068 h 112118"/>
                <a:gd name="connsiteX2" fmla="*/ 102966 w 224999"/>
                <a:gd name="connsiteY2" fmla="*/ 99915 h 112118"/>
                <a:gd name="connsiteX3" fmla="*/ 41949 w 224999"/>
                <a:gd name="connsiteY3" fmla="*/ 51102 h 112118"/>
                <a:gd name="connsiteX4" fmla="*/ 2288 w 224999"/>
                <a:gd name="connsiteY4" fmla="*/ 11441 h 112118"/>
                <a:gd name="connsiteX5" fmla="*/ 2288 w 224999"/>
                <a:gd name="connsiteY5" fmla="*/ 2288 h 112118"/>
                <a:gd name="connsiteX6" fmla="*/ 11440 w 224999"/>
                <a:gd name="connsiteY6" fmla="*/ 2288 h 112118"/>
                <a:gd name="connsiteX7" fmla="*/ 51101 w 224999"/>
                <a:gd name="connsiteY7" fmla="*/ 38898 h 112118"/>
                <a:gd name="connsiteX8" fmla="*/ 130423 w 224999"/>
                <a:gd name="connsiteY8" fmla="*/ 90763 h 112118"/>
                <a:gd name="connsiteX9" fmla="*/ 142627 w 224999"/>
                <a:gd name="connsiteY9" fmla="*/ 93814 h 112118"/>
                <a:gd name="connsiteX10" fmla="*/ 194491 w 224999"/>
                <a:gd name="connsiteY10" fmla="*/ 90763 h 112118"/>
                <a:gd name="connsiteX11" fmla="*/ 203643 w 224999"/>
                <a:gd name="connsiteY11" fmla="*/ 87712 h 112118"/>
                <a:gd name="connsiteX12" fmla="*/ 209746 w 224999"/>
                <a:gd name="connsiteY12" fmla="*/ 87712 h 112118"/>
                <a:gd name="connsiteX13" fmla="*/ 218898 w 224999"/>
                <a:gd name="connsiteY13" fmla="*/ 84661 h 112118"/>
                <a:gd name="connsiteX14" fmla="*/ 225000 w 224999"/>
                <a:gd name="connsiteY14" fmla="*/ 87712 h 112118"/>
                <a:gd name="connsiteX15" fmla="*/ 221949 w 224999"/>
                <a:gd name="connsiteY15" fmla="*/ 93814 h 112118"/>
                <a:gd name="connsiteX16" fmla="*/ 194491 w 224999"/>
                <a:gd name="connsiteY16" fmla="*/ 99915 h 112118"/>
                <a:gd name="connsiteX17" fmla="*/ 157881 w 224999"/>
                <a:gd name="connsiteY17" fmla="*/ 112119 h 11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4999" h="112118">
                  <a:moveTo>
                    <a:pt x="157881" y="112119"/>
                  </a:moveTo>
                  <a:cubicBezTo>
                    <a:pt x="151780" y="112119"/>
                    <a:pt x="145678" y="112119"/>
                    <a:pt x="136525" y="109068"/>
                  </a:cubicBezTo>
                  <a:cubicBezTo>
                    <a:pt x="124322" y="109068"/>
                    <a:pt x="112118" y="106017"/>
                    <a:pt x="102966" y="99915"/>
                  </a:cubicBezTo>
                  <a:cubicBezTo>
                    <a:pt x="84661" y="90763"/>
                    <a:pt x="60254" y="69407"/>
                    <a:pt x="41949" y="51102"/>
                  </a:cubicBezTo>
                  <a:cubicBezTo>
                    <a:pt x="20593" y="32797"/>
                    <a:pt x="2288" y="14491"/>
                    <a:pt x="2288" y="11441"/>
                  </a:cubicBezTo>
                  <a:cubicBezTo>
                    <a:pt x="-763" y="8390"/>
                    <a:pt x="-763" y="5339"/>
                    <a:pt x="2288" y="2288"/>
                  </a:cubicBezTo>
                  <a:cubicBezTo>
                    <a:pt x="5338" y="-763"/>
                    <a:pt x="8389" y="-763"/>
                    <a:pt x="11440" y="2288"/>
                  </a:cubicBezTo>
                  <a:cubicBezTo>
                    <a:pt x="11440" y="2288"/>
                    <a:pt x="29746" y="20594"/>
                    <a:pt x="51101" y="38898"/>
                  </a:cubicBezTo>
                  <a:cubicBezTo>
                    <a:pt x="75508" y="60254"/>
                    <a:pt x="106017" y="84661"/>
                    <a:pt x="130423" y="90763"/>
                  </a:cubicBezTo>
                  <a:cubicBezTo>
                    <a:pt x="133474" y="90763"/>
                    <a:pt x="139576" y="93814"/>
                    <a:pt x="142627" y="93814"/>
                  </a:cubicBezTo>
                  <a:cubicBezTo>
                    <a:pt x="160932" y="93814"/>
                    <a:pt x="179237" y="93814"/>
                    <a:pt x="194491" y="90763"/>
                  </a:cubicBezTo>
                  <a:cubicBezTo>
                    <a:pt x="200593" y="87712"/>
                    <a:pt x="203643" y="87712"/>
                    <a:pt x="203643" y="87712"/>
                  </a:cubicBezTo>
                  <a:cubicBezTo>
                    <a:pt x="206695" y="87712"/>
                    <a:pt x="206695" y="87712"/>
                    <a:pt x="209746" y="87712"/>
                  </a:cubicBezTo>
                  <a:cubicBezTo>
                    <a:pt x="215848" y="87712"/>
                    <a:pt x="218898" y="84661"/>
                    <a:pt x="218898" y="84661"/>
                  </a:cubicBezTo>
                  <a:cubicBezTo>
                    <a:pt x="221949" y="84661"/>
                    <a:pt x="225000" y="84661"/>
                    <a:pt x="225000" y="87712"/>
                  </a:cubicBezTo>
                  <a:cubicBezTo>
                    <a:pt x="225000" y="90763"/>
                    <a:pt x="225000" y="93814"/>
                    <a:pt x="221949" y="93814"/>
                  </a:cubicBezTo>
                  <a:cubicBezTo>
                    <a:pt x="221949" y="93814"/>
                    <a:pt x="209746" y="96865"/>
                    <a:pt x="194491" y="99915"/>
                  </a:cubicBezTo>
                  <a:cubicBezTo>
                    <a:pt x="185339" y="109068"/>
                    <a:pt x="173135" y="112119"/>
                    <a:pt x="157881" y="112119"/>
                  </a:cubicBezTo>
                  <a:close/>
                </a:path>
              </a:pathLst>
            </a:custGeom>
            <a:solidFill>
              <a:srgbClr val="E87952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4" name="图形 1">
              <a:extLst>
                <a:ext uri="{FF2B5EF4-FFF2-40B4-BE49-F238E27FC236}">
                  <a16:creationId xmlns:a16="http://schemas.microsoft.com/office/drawing/2014/main" id="{311DFB45-9C93-4E51-850B-7A7857F680E0}"/>
                </a:ext>
              </a:extLst>
            </p:cNvPr>
            <p:cNvGrpSpPr/>
            <p:nvPr/>
          </p:nvGrpSpPr>
          <p:grpSpPr>
            <a:xfrm>
              <a:off x="14563442" y="7496210"/>
              <a:ext cx="724916" cy="452287"/>
              <a:chOff x="14563442" y="7496210"/>
              <a:chExt cx="724916" cy="452287"/>
            </a:xfrm>
          </p:grpSpPr>
          <p:grpSp>
            <p:nvGrpSpPr>
              <p:cNvPr id="63" name="图形 1">
                <a:extLst>
                  <a:ext uri="{FF2B5EF4-FFF2-40B4-BE49-F238E27FC236}">
                    <a16:creationId xmlns:a16="http://schemas.microsoft.com/office/drawing/2014/main" id="{96D15A61-E45E-4378-BA9A-F553143EBFCD}"/>
                  </a:ext>
                </a:extLst>
              </p:cNvPr>
              <p:cNvGrpSpPr/>
              <p:nvPr/>
            </p:nvGrpSpPr>
            <p:grpSpPr>
              <a:xfrm>
                <a:off x="14563442" y="7496210"/>
                <a:ext cx="711651" cy="432219"/>
                <a:chOff x="14563442" y="7496210"/>
                <a:chExt cx="711651" cy="432219"/>
              </a:xfrm>
            </p:grpSpPr>
            <p:sp>
              <p:nvSpPr>
                <p:cNvPr id="67" name="任意多边形: 形状 66">
                  <a:extLst>
                    <a:ext uri="{FF2B5EF4-FFF2-40B4-BE49-F238E27FC236}">
                      <a16:creationId xmlns:a16="http://schemas.microsoft.com/office/drawing/2014/main" id="{CE29AAD5-9B44-4BD3-938B-20EE5818D19C}"/>
                    </a:ext>
                  </a:extLst>
                </p:cNvPr>
                <p:cNvSpPr/>
                <p:nvPr/>
              </p:nvSpPr>
              <p:spPr>
                <a:xfrm>
                  <a:off x="14707042" y="7551386"/>
                  <a:ext cx="568052" cy="377043"/>
                </a:xfrm>
                <a:custGeom>
                  <a:avLst/>
                  <a:gdLst>
                    <a:gd name="connsiteX0" fmla="*/ 458891 w 568052"/>
                    <a:gd name="connsiteY0" fmla="*/ 73723 h 377043"/>
                    <a:gd name="connsiteX1" fmla="*/ 4314 w 568052"/>
                    <a:gd name="connsiteY1" fmla="*/ 61519 h 377043"/>
                    <a:gd name="connsiteX2" fmla="*/ 1263 w 568052"/>
                    <a:gd name="connsiteY2" fmla="*/ 70672 h 377043"/>
                    <a:gd name="connsiteX3" fmla="*/ 56179 w 568052"/>
                    <a:gd name="connsiteY3" fmla="*/ 149994 h 377043"/>
                    <a:gd name="connsiteX4" fmla="*/ 10416 w 568052"/>
                    <a:gd name="connsiteY4" fmla="*/ 226265 h 377043"/>
                    <a:gd name="connsiteX5" fmla="*/ 10416 w 568052"/>
                    <a:gd name="connsiteY5" fmla="*/ 232367 h 377043"/>
                    <a:gd name="connsiteX6" fmla="*/ 13468 w 568052"/>
                    <a:gd name="connsiteY6" fmla="*/ 238469 h 377043"/>
                    <a:gd name="connsiteX7" fmla="*/ 330755 w 568052"/>
                    <a:gd name="connsiteY7" fmla="*/ 354401 h 377043"/>
                    <a:gd name="connsiteX8" fmla="*/ 550416 w 568052"/>
                    <a:gd name="connsiteY8" fmla="*/ 375757 h 377043"/>
                    <a:gd name="connsiteX9" fmla="*/ 556518 w 568052"/>
                    <a:gd name="connsiteY9" fmla="*/ 369655 h 377043"/>
                    <a:gd name="connsiteX10" fmla="*/ 458891 w 568052"/>
                    <a:gd name="connsiteY10" fmla="*/ 73723 h 377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68052" h="377043">
                      <a:moveTo>
                        <a:pt x="458891" y="73723"/>
                      </a:moveTo>
                      <a:cubicBezTo>
                        <a:pt x="315501" y="-20853"/>
                        <a:pt x="150756" y="-23904"/>
                        <a:pt x="4314" y="61519"/>
                      </a:cubicBezTo>
                      <a:cubicBezTo>
                        <a:pt x="1263" y="64570"/>
                        <a:pt x="-1787" y="67621"/>
                        <a:pt x="1263" y="70672"/>
                      </a:cubicBezTo>
                      <a:cubicBezTo>
                        <a:pt x="1263" y="73723"/>
                        <a:pt x="7365" y="125587"/>
                        <a:pt x="56179" y="149994"/>
                      </a:cubicBezTo>
                      <a:cubicBezTo>
                        <a:pt x="28722" y="183553"/>
                        <a:pt x="10416" y="223214"/>
                        <a:pt x="10416" y="226265"/>
                      </a:cubicBezTo>
                      <a:cubicBezTo>
                        <a:pt x="10416" y="229316"/>
                        <a:pt x="10416" y="232367"/>
                        <a:pt x="10416" y="232367"/>
                      </a:cubicBezTo>
                      <a:cubicBezTo>
                        <a:pt x="10416" y="235418"/>
                        <a:pt x="13468" y="235418"/>
                        <a:pt x="13468" y="238469"/>
                      </a:cubicBezTo>
                      <a:cubicBezTo>
                        <a:pt x="141603" y="299486"/>
                        <a:pt x="248382" y="333045"/>
                        <a:pt x="330755" y="354401"/>
                      </a:cubicBezTo>
                      <a:cubicBezTo>
                        <a:pt x="468044" y="384909"/>
                        <a:pt x="544315" y="375757"/>
                        <a:pt x="550416" y="375757"/>
                      </a:cubicBezTo>
                      <a:cubicBezTo>
                        <a:pt x="553467" y="375757"/>
                        <a:pt x="556518" y="372706"/>
                        <a:pt x="556518" y="369655"/>
                      </a:cubicBezTo>
                      <a:cubicBezTo>
                        <a:pt x="556518" y="366604"/>
                        <a:pt x="617535" y="177452"/>
                        <a:pt x="458891" y="7372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8" name="任意多边形: 形状 67">
                  <a:extLst>
                    <a:ext uri="{FF2B5EF4-FFF2-40B4-BE49-F238E27FC236}">
                      <a16:creationId xmlns:a16="http://schemas.microsoft.com/office/drawing/2014/main" id="{CAA7ACFD-936C-47C3-9764-9A42D38CCF20}"/>
                    </a:ext>
                  </a:extLst>
                </p:cNvPr>
                <p:cNvSpPr/>
                <p:nvPr/>
              </p:nvSpPr>
              <p:spPr>
                <a:xfrm>
                  <a:off x="14563442" y="7496210"/>
                  <a:ext cx="210456" cy="208220"/>
                </a:xfrm>
                <a:custGeom>
                  <a:avLst/>
                  <a:gdLst>
                    <a:gd name="connsiteX0" fmla="*/ 205880 w 210456"/>
                    <a:gd name="connsiteY0" fmla="*/ 128898 h 208220"/>
                    <a:gd name="connsiteX1" fmla="*/ 205880 w 210456"/>
                    <a:gd name="connsiteY1" fmla="*/ 98390 h 208220"/>
                    <a:gd name="connsiteX2" fmla="*/ 196728 w 210456"/>
                    <a:gd name="connsiteY2" fmla="*/ 86186 h 208220"/>
                    <a:gd name="connsiteX3" fmla="*/ 193677 w 210456"/>
                    <a:gd name="connsiteY3" fmla="*/ 55678 h 208220"/>
                    <a:gd name="connsiteX4" fmla="*/ 175371 w 210456"/>
                    <a:gd name="connsiteY4" fmla="*/ 40423 h 208220"/>
                    <a:gd name="connsiteX5" fmla="*/ 160117 w 210456"/>
                    <a:gd name="connsiteY5" fmla="*/ 34322 h 208220"/>
                    <a:gd name="connsiteX6" fmla="*/ 123508 w 210456"/>
                    <a:gd name="connsiteY6" fmla="*/ 763 h 208220"/>
                    <a:gd name="connsiteX7" fmla="*/ 74694 w 210456"/>
                    <a:gd name="connsiteY7" fmla="*/ 19068 h 208220"/>
                    <a:gd name="connsiteX8" fmla="*/ 22829 w 210456"/>
                    <a:gd name="connsiteY8" fmla="*/ 46526 h 208220"/>
                    <a:gd name="connsiteX9" fmla="*/ 7575 w 210456"/>
                    <a:gd name="connsiteY9" fmla="*/ 98390 h 208220"/>
                    <a:gd name="connsiteX10" fmla="*/ 4525 w 210456"/>
                    <a:gd name="connsiteY10" fmla="*/ 141102 h 208220"/>
                    <a:gd name="connsiteX11" fmla="*/ 25880 w 210456"/>
                    <a:gd name="connsiteY11" fmla="*/ 162457 h 208220"/>
                    <a:gd name="connsiteX12" fmla="*/ 31982 w 210456"/>
                    <a:gd name="connsiteY12" fmla="*/ 165508 h 208220"/>
                    <a:gd name="connsiteX13" fmla="*/ 31982 w 210456"/>
                    <a:gd name="connsiteY13" fmla="*/ 165508 h 208220"/>
                    <a:gd name="connsiteX14" fmla="*/ 53337 w 210456"/>
                    <a:gd name="connsiteY14" fmla="*/ 196017 h 208220"/>
                    <a:gd name="connsiteX15" fmla="*/ 86897 w 210456"/>
                    <a:gd name="connsiteY15" fmla="*/ 199068 h 208220"/>
                    <a:gd name="connsiteX16" fmla="*/ 111304 w 210456"/>
                    <a:gd name="connsiteY16" fmla="*/ 208220 h 208220"/>
                    <a:gd name="connsiteX17" fmla="*/ 144863 w 210456"/>
                    <a:gd name="connsiteY17" fmla="*/ 196017 h 208220"/>
                    <a:gd name="connsiteX18" fmla="*/ 154016 w 210456"/>
                    <a:gd name="connsiteY18" fmla="*/ 183814 h 208220"/>
                    <a:gd name="connsiteX19" fmla="*/ 175371 w 210456"/>
                    <a:gd name="connsiteY19" fmla="*/ 174661 h 208220"/>
                    <a:gd name="connsiteX20" fmla="*/ 184524 w 210456"/>
                    <a:gd name="connsiteY20" fmla="*/ 150254 h 208220"/>
                    <a:gd name="connsiteX21" fmla="*/ 187575 w 210456"/>
                    <a:gd name="connsiteY21" fmla="*/ 150254 h 208220"/>
                    <a:gd name="connsiteX22" fmla="*/ 205880 w 210456"/>
                    <a:gd name="connsiteY22" fmla="*/ 128898 h 208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10456" h="208220">
                      <a:moveTo>
                        <a:pt x="205880" y="128898"/>
                      </a:moveTo>
                      <a:cubicBezTo>
                        <a:pt x="211982" y="119746"/>
                        <a:pt x="211982" y="107542"/>
                        <a:pt x="205880" y="98390"/>
                      </a:cubicBezTo>
                      <a:cubicBezTo>
                        <a:pt x="202830" y="92288"/>
                        <a:pt x="199779" y="89237"/>
                        <a:pt x="196728" y="86186"/>
                      </a:cubicBezTo>
                      <a:cubicBezTo>
                        <a:pt x="199779" y="77034"/>
                        <a:pt x="199779" y="67881"/>
                        <a:pt x="193677" y="55678"/>
                      </a:cubicBezTo>
                      <a:cubicBezTo>
                        <a:pt x="187575" y="46526"/>
                        <a:pt x="184524" y="43474"/>
                        <a:pt x="175371" y="40423"/>
                      </a:cubicBezTo>
                      <a:cubicBezTo>
                        <a:pt x="172321" y="40423"/>
                        <a:pt x="166219" y="37373"/>
                        <a:pt x="160117" y="34322"/>
                      </a:cubicBezTo>
                      <a:cubicBezTo>
                        <a:pt x="154016" y="19068"/>
                        <a:pt x="141813" y="6864"/>
                        <a:pt x="123508" y="763"/>
                      </a:cubicBezTo>
                      <a:cubicBezTo>
                        <a:pt x="105202" y="-2288"/>
                        <a:pt x="86897" y="3813"/>
                        <a:pt x="74694" y="19068"/>
                      </a:cubicBezTo>
                      <a:cubicBezTo>
                        <a:pt x="50287" y="12966"/>
                        <a:pt x="25880" y="25169"/>
                        <a:pt x="22829" y="46526"/>
                      </a:cubicBezTo>
                      <a:cubicBezTo>
                        <a:pt x="1474" y="55678"/>
                        <a:pt x="-7680" y="83136"/>
                        <a:pt x="7575" y="98390"/>
                      </a:cubicBezTo>
                      <a:cubicBezTo>
                        <a:pt x="1474" y="110593"/>
                        <a:pt x="-1577" y="125847"/>
                        <a:pt x="4525" y="141102"/>
                      </a:cubicBezTo>
                      <a:cubicBezTo>
                        <a:pt x="7575" y="150254"/>
                        <a:pt x="16728" y="159407"/>
                        <a:pt x="25880" y="162457"/>
                      </a:cubicBezTo>
                      <a:cubicBezTo>
                        <a:pt x="28931" y="162457"/>
                        <a:pt x="28931" y="162457"/>
                        <a:pt x="31982" y="165508"/>
                      </a:cubicBezTo>
                      <a:cubicBezTo>
                        <a:pt x="31982" y="165508"/>
                        <a:pt x="31982" y="165508"/>
                        <a:pt x="31982" y="165508"/>
                      </a:cubicBezTo>
                      <a:cubicBezTo>
                        <a:pt x="35033" y="177712"/>
                        <a:pt x="41134" y="189915"/>
                        <a:pt x="53337" y="196017"/>
                      </a:cubicBezTo>
                      <a:cubicBezTo>
                        <a:pt x="65542" y="202118"/>
                        <a:pt x="77745" y="202118"/>
                        <a:pt x="86897" y="199068"/>
                      </a:cubicBezTo>
                      <a:cubicBezTo>
                        <a:pt x="92999" y="205169"/>
                        <a:pt x="102151" y="208220"/>
                        <a:pt x="111304" y="208220"/>
                      </a:cubicBezTo>
                      <a:cubicBezTo>
                        <a:pt x="123508" y="208220"/>
                        <a:pt x="135711" y="205169"/>
                        <a:pt x="144863" y="196017"/>
                      </a:cubicBezTo>
                      <a:cubicBezTo>
                        <a:pt x="147914" y="192966"/>
                        <a:pt x="154016" y="186864"/>
                        <a:pt x="154016" y="183814"/>
                      </a:cubicBezTo>
                      <a:cubicBezTo>
                        <a:pt x="163168" y="183814"/>
                        <a:pt x="169270" y="180763"/>
                        <a:pt x="175371" y="174661"/>
                      </a:cubicBezTo>
                      <a:cubicBezTo>
                        <a:pt x="184524" y="165508"/>
                        <a:pt x="184524" y="156356"/>
                        <a:pt x="184524" y="150254"/>
                      </a:cubicBezTo>
                      <a:cubicBezTo>
                        <a:pt x="184524" y="150254"/>
                        <a:pt x="187575" y="150254"/>
                        <a:pt x="187575" y="150254"/>
                      </a:cubicBezTo>
                      <a:cubicBezTo>
                        <a:pt x="196728" y="138051"/>
                        <a:pt x="199779" y="135000"/>
                        <a:pt x="205880" y="128898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E4679193-A26A-4AB4-8D9E-F3C3FD6F1CC9}"/>
                  </a:ext>
                </a:extLst>
              </p:cNvPr>
              <p:cNvSpPr/>
              <p:nvPr/>
            </p:nvSpPr>
            <p:spPr>
              <a:xfrm>
                <a:off x="14720509" y="7657312"/>
                <a:ext cx="83728" cy="105084"/>
              </a:xfrm>
              <a:custGeom>
                <a:avLst/>
                <a:gdLst>
                  <a:gd name="connsiteX0" fmla="*/ 6101 w 83728"/>
                  <a:gd name="connsiteY0" fmla="*/ 105085 h 105084"/>
                  <a:gd name="connsiteX1" fmla="*/ 6101 w 83728"/>
                  <a:gd name="connsiteY1" fmla="*/ 105085 h 105084"/>
                  <a:gd name="connsiteX2" fmla="*/ 0 w 83728"/>
                  <a:gd name="connsiteY2" fmla="*/ 95932 h 105084"/>
                  <a:gd name="connsiteX3" fmla="*/ 73220 w 83728"/>
                  <a:gd name="connsiteY3" fmla="*/ 1356 h 105084"/>
                  <a:gd name="connsiteX4" fmla="*/ 82372 w 83728"/>
                  <a:gd name="connsiteY4" fmla="*/ 1356 h 105084"/>
                  <a:gd name="connsiteX5" fmla="*/ 82372 w 83728"/>
                  <a:gd name="connsiteY5" fmla="*/ 10508 h 105084"/>
                  <a:gd name="connsiteX6" fmla="*/ 12203 w 83728"/>
                  <a:gd name="connsiteY6" fmla="*/ 102034 h 105084"/>
                  <a:gd name="connsiteX7" fmla="*/ 6101 w 83728"/>
                  <a:gd name="connsiteY7" fmla="*/ 105085 h 105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728" h="105084">
                    <a:moveTo>
                      <a:pt x="6101" y="105085"/>
                    </a:moveTo>
                    <a:cubicBezTo>
                      <a:pt x="6101" y="105085"/>
                      <a:pt x="3050" y="105085"/>
                      <a:pt x="6101" y="105085"/>
                    </a:cubicBezTo>
                    <a:cubicBezTo>
                      <a:pt x="0" y="102034"/>
                      <a:pt x="0" y="98983"/>
                      <a:pt x="0" y="95932"/>
                    </a:cubicBezTo>
                    <a:cubicBezTo>
                      <a:pt x="0" y="92881"/>
                      <a:pt x="30508" y="34915"/>
                      <a:pt x="73220" y="1356"/>
                    </a:cubicBezTo>
                    <a:cubicBezTo>
                      <a:pt x="76271" y="-1695"/>
                      <a:pt x="79321" y="1356"/>
                      <a:pt x="82372" y="1356"/>
                    </a:cubicBezTo>
                    <a:cubicBezTo>
                      <a:pt x="85423" y="4407"/>
                      <a:pt x="82372" y="7458"/>
                      <a:pt x="82372" y="10508"/>
                    </a:cubicBezTo>
                    <a:cubicBezTo>
                      <a:pt x="42712" y="41017"/>
                      <a:pt x="12203" y="98983"/>
                      <a:pt x="12203" y="102034"/>
                    </a:cubicBezTo>
                    <a:cubicBezTo>
                      <a:pt x="9152" y="105085"/>
                      <a:pt x="9152" y="105085"/>
                      <a:pt x="6101" y="10508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A78087C6-EDA2-4183-96AD-0522DAF9E498}"/>
                  </a:ext>
                </a:extLst>
              </p:cNvPr>
              <p:cNvSpPr/>
              <p:nvPr/>
            </p:nvSpPr>
            <p:spPr>
              <a:xfrm>
                <a:off x="14691401" y="7744715"/>
                <a:ext cx="596957" cy="200732"/>
              </a:xfrm>
              <a:custGeom>
                <a:avLst/>
                <a:gdLst>
                  <a:gd name="connsiteX0" fmla="*/ 566057 w 596957"/>
                  <a:gd name="connsiteY0" fmla="*/ 136665 h 200732"/>
                  <a:gd name="connsiteX1" fmla="*/ 38261 w 596957"/>
                  <a:gd name="connsiteY1" fmla="*/ 2428 h 200732"/>
                  <a:gd name="connsiteX2" fmla="*/ 19955 w 596957"/>
                  <a:gd name="connsiteY2" fmla="*/ 63445 h 200732"/>
                  <a:gd name="connsiteX3" fmla="*/ 566057 w 596957"/>
                  <a:gd name="connsiteY3" fmla="*/ 200733 h 200732"/>
                  <a:gd name="connsiteX4" fmla="*/ 566057 w 596957"/>
                  <a:gd name="connsiteY4" fmla="*/ 136665 h 200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6957" h="200732">
                    <a:moveTo>
                      <a:pt x="566057" y="136665"/>
                    </a:moveTo>
                    <a:cubicBezTo>
                      <a:pt x="379956" y="136665"/>
                      <a:pt x="209108" y="69546"/>
                      <a:pt x="38261" y="2428"/>
                    </a:cubicBezTo>
                    <a:cubicBezTo>
                      <a:pt x="1650" y="-12827"/>
                      <a:pt x="-16654" y="48190"/>
                      <a:pt x="19955" y="63445"/>
                    </a:cubicBezTo>
                    <a:cubicBezTo>
                      <a:pt x="196905" y="133614"/>
                      <a:pt x="373854" y="200733"/>
                      <a:pt x="566057" y="200733"/>
                    </a:cubicBezTo>
                    <a:cubicBezTo>
                      <a:pt x="605719" y="200733"/>
                      <a:pt x="608770" y="136665"/>
                      <a:pt x="566057" y="136665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88CA107C-BB77-459D-B0A6-EB290C6EC1F9}"/>
                  </a:ext>
                </a:extLst>
              </p:cNvPr>
              <p:cNvSpPr/>
              <p:nvPr/>
            </p:nvSpPr>
            <p:spPr>
              <a:xfrm>
                <a:off x="14684245" y="7737888"/>
                <a:ext cx="577527" cy="210609"/>
              </a:xfrm>
              <a:custGeom>
                <a:avLst/>
                <a:gdLst>
                  <a:gd name="connsiteX0" fmla="*/ 573213 w 577527"/>
                  <a:gd name="connsiteY0" fmla="*/ 210610 h 210609"/>
                  <a:gd name="connsiteX1" fmla="*/ 573213 w 577527"/>
                  <a:gd name="connsiteY1" fmla="*/ 210610 h 210609"/>
                  <a:gd name="connsiteX2" fmla="*/ 24060 w 577527"/>
                  <a:gd name="connsiteY2" fmla="*/ 73322 h 210609"/>
                  <a:gd name="connsiteX3" fmla="*/ 2705 w 577527"/>
                  <a:gd name="connsiteY3" fmla="*/ 21458 h 210609"/>
                  <a:gd name="connsiteX4" fmla="*/ 45417 w 577527"/>
                  <a:gd name="connsiteY4" fmla="*/ 3153 h 210609"/>
                  <a:gd name="connsiteX5" fmla="*/ 222366 w 577527"/>
                  <a:gd name="connsiteY5" fmla="*/ 70271 h 210609"/>
                  <a:gd name="connsiteX6" fmla="*/ 225417 w 577527"/>
                  <a:gd name="connsiteY6" fmla="*/ 76373 h 210609"/>
                  <a:gd name="connsiteX7" fmla="*/ 219315 w 577527"/>
                  <a:gd name="connsiteY7" fmla="*/ 79424 h 210609"/>
                  <a:gd name="connsiteX8" fmla="*/ 42366 w 577527"/>
                  <a:gd name="connsiteY8" fmla="*/ 12305 h 210609"/>
                  <a:gd name="connsiteX9" fmla="*/ 11857 w 577527"/>
                  <a:gd name="connsiteY9" fmla="*/ 24509 h 210609"/>
                  <a:gd name="connsiteX10" fmla="*/ 27111 w 577527"/>
                  <a:gd name="connsiteY10" fmla="*/ 61119 h 210609"/>
                  <a:gd name="connsiteX11" fmla="*/ 570163 w 577527"/>
                  <a:gd name="connsiteY11" fmla="*/ 198407 h 210609"/>
                  <a:gd name="connsiteX12" fmla="*/ 576264 w 577527"/>
                  <a:gd name="connsiteY12" fmla="*/ 204508 h 210609"/>
                  <a:gd name="connsiteX13" fmla="*/ 573213 w 577527"/>
                  <a:gd name="connsiteY13" fmla="*/ 210610 h 210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77527" h="210609">
                    <a:moveTo>
                      <a:pt x="573213" y="210610"/>
                    </a:moveTo>
                    <a:lnTo>
                      <a:pt x="573213" y="210610"/>
                    </a:lnTo>
                    <a:cubicBezTo>
                      <a:pt x="381010" y="210610"/>
                      <a:pt x="204061" y="146542"/>
                      <a:pt x="24060" y="73322"/>
                    </a:cubicBezTo>
                    <a:cubicBezTo>
                      <a:pt x="-346" y="64170"/>
                      <a:pt x="-3397" y="39763"/>
                      <a:pt x="2705" y="21458"/>
                    </a:cubicBezTo>
                    <a:cubicBezTo>
                      <a:pt x="8806" y="6203"/>
                      <a:pt x="24060" y="-6000"/>
                      <a:pt x="45417" y="3153"/>
                    </a:cubicBezTo>
                    <a:cubicBezTo>
                      <a:pt x="45417" y="3153"/>
                      <a:pt x="179654" y="55017"/>
                      <a:pt x="222366" y="70271"/>
                    </a:cubicBezTo>
                    <a:cubicBezTo>
                      <a:pt x="225417" y="70271"/>
                      <a:pt x="225417" y="73322"/>
                      <a:pt x="225417" y="76373"/>
                    </a:cubicBezTo>
                    <a:cubicBezTo>
                      <a:pt x="225417" y="79424"/>
                      <a:pt x="222366" y="82474"/>
                      <a:pt x="219315" y="79424"/>
                    </a:cubicBezTo>
                    <a:cubicBezTo>
                      <a:pt x="176603" y="64170"/>
                      <a:pt x="45417" y="12305"/>
                      <a:pt x="42366" y="12305"/>
                    </a:cubicBezTo>
                    <a:cubicBezTo>
                      <a:pt x="27111" y="6203"/>
                      <a:pt x="17959" y="15356"/>
                      <a:pt x="11857" y="24509"/>
                    </a:cubicBezTo>
                    <a:cubicBezTo>
                      <a:pt x="5756" y="36712"/>
                      <a:pt x="8806" y="55017"/>
                      <a:pt x="27111" y="61119"/>
                    </a:cubicBezTo>
                    <a:cubicBezTo>
                      <a:pt x="204061" y="134339"/>
                      <a:pt x="381010" y="198407"/>
                      <a:pt x="570163" y="198407"/>
                    </a:cubicBezTo>
                    <a:cubicBezTo>
                      <a:pt x="573213" y="198407"/>
                      <a:pt x="576264" y="201458"/>
                      <a:pt x="576264" y="204508"/>
                    </a:cubicBezTo>
                    <a:cubicBezTo>
                      <a:pt x="579315" y="210610"/>
                      <a:pt x="576264" y="210610"/>
                      <a:pt x="573213" y="21061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15C0266B-F14F-40C3-80AE-7B9B9A5986C4}"/>
                </a:ext>
              </a:extLst>
            </p:cNvPr>
            <p:cNvSpPr/>
            <p:nvPr/>
          </p:nvSpPr>
          <p:spPr>
            <a:xfrm>
              <a:off x="14635019" y="7902735"/>
              <a:ext cx="524812" cy="662034"/>
            </a:xfrm>
            <a:custGeom>
              <a:avLst/>
              <a:gdLst>
                <a:gd name="connsiteX0" fmla="*/ 76338 w 524812"/>
                <a:gd name="connsiteY0" fmla="*/ 131187 h 662034"/>
                <a:gd name="connsiteX1" fmla="*/ 100745 w 524812"/>
                <a:gd name="connsiteY1" fmla="*/ 0 h 662034"/>
                <a:gd name="connsiteX2" fmla="*/ 161762 w 524812"/>
                <a:gd name="connsiteY2" fmla="*/ 6102 h 662034"/>
                <a:gd name="connsiteX3" fmla="*/ 134304 w 524812"/>
                <a:gd name="connsiteY3" fmla="*/ 228814 h 662034"/>
                <a:gd name="connsiteX4" fmla="*/ 259389 w 524812"/>
                <a:gd name="connsiteY4" fmla="*/ 259322 h 662034"/>
                <a:gd name="connsiteX5" fmla="*/ 299050 w 524812"/>
                <a:gd name="connsiteY5" fmla="*/ 259322 h 662034"/>
                <a:gd name="connsiteX6" fmla="*/ 378371 w 524812"/>
                <a:gd name="connsiteY6" fmla="*/ 320339 h 662034"/>
                <a:gd name="connsiteX7" fmla="*/ 485151 w 524812"/>
                <a:gd name="connsiteY7" fmla="*/ 228814 h 662034"/>
                <a:gd name="connsiteX8" fmla="*/ 524813 w 524812"/>
                <a:gd name="connsiteY8" fmla="*/ 216610 h 662034"/>
                <a:gd name="connsiteX9" fmla="*/ 475999 w 524812"/>
                <a:gd name="connsiteY9" fmla="*/ 302034 h 662034"/>
                <a:gd name="connsiteX10" fmla="*/ 396677 w 524812"/>
                <a:gd name="connsiteY10" fmla="*/ 591865 h 662034"/>
                <a:gd name="connsiteX11" fmla="*/ 372270 w 524812"/>
                <a:gd name="connsiteY11" fmla="*/ 662034 h 662034"/>
                <a:gd name="connsiteX12" fmla="*/ 24474 w 524812"/>
                <a:gd name="connsiteY12" fmla="*/ 244068 h 662034"/>
                <a:gd name="connsiteX13" fmla="*/ 76338 w 524812"/>
                <a:gd name="connsiteY13" fmla="*/ 131187 h 662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812" h="662034">
                  <a:moveTo>
                    <a:pt x="76338" y="131187"/>
                  </a:moveTo>
                  <a:cubicBezTo>
                    <a:pt x="76338" y="131187"/>
                    <a:pt x="100745" y="3051"/>
                    <a:pt x="100745" y="0"/>
                  </a:cubicBezTo>
                  <a:cubicBezTo>
                    <a:pt x="119049" y="0"/>
                    <a:pt x="146508" y="6102"/>
                    <a:pt x="161762" y="6102"/>
                  </a:cubicBezTo>
                  <a:cubicBezTo>
                    <a:pt x="152609" y="39661"/>
                    <a:pt x="112948" y="204407"/>
                    <a:pt x="134304" y="228814"/>
                  </a:cubicBezTo>
                  <a:cubicBezTo>
                    <a:pt x="161762" y="259322"/>
                    <a:pt x="231931" y="292882"/>
                    <a:pt x="259389" y="259322"/>
                  </a:cubicBezTo>
                  <a:cubicBezTo>
                    <a:pt x="259389" y="259322"/>
                    <a:pt x="280745" y="280678"/>
                    <a:pt x="299050" y="259322"/>
                  </a:cubicBezTo>
                  <a:cubicBezTo>
                    <a:pt x="299050" y="259322"/>
                    <a:pt x="317355" y="308136"/>
                    <a:pt x="378371" y="320339"/>
                  </a:cubicBezTo>
                  <a:cubicBezTo>
                    <a:pt x="408880" y="326441"/>
                    <a:pt x="472948" y="256271"/>
                    <a:pt x="485151" y="228814"/>
                  </a:cubicBezTo>
                  <a:cubicBezTo>
                    <a:pt x="494304" y="237966"/>
                    <a:pt x="509558" y="213559"/>
                    <a:pt x="524813" y="216610"/>
                  </a:cubicBezTo>
                  <a:cubicBezTo>
                    <a:pt x="524813" y="219661"/>
                    <a:pt x="479050" y="302034"/>
                    <a:pt x="475999" y="302034"/>
                  </a:cubicBezTo>
                  <a:cubicBezTo>
                    <a:pt x="475999" y="302034"/>
                    <a:pt x="558372" y="549153"/>
                    <a:pt x="396677" y="591865"/>
                  </a:cubicBezTo>
                  <a:cubicBezTo>
                    <a:pt x="350914" y="604068"/>
                    <a:pt x="372270" y="662034"/>
                    <a:pt x="372270" y="662034"/>
                  </a:cubicBezTo>
                  <a:cubicBezTo>
                    <a:pt x="372270" y="662034"/>
                    <a:pt x="-112814" y="628475"/>
                    <a:pt x="24474" y="244068"/>
                  </a:cubicBezTo>
                  <a:cubicBezTo>
                    <a:pt x="48880" y="186102"/>
                    <a:pt x="79389" y="131187"/>
                    <a:pt x="76338" y="131187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D418E10B-B470-4586-A97D-4CF3057E97E0}"/>
                </a:ext>
              </a:extLst>
            </p:cNvPr>
            <p:cNvSpPr/>
            <p:nvPr/>
          </p:nvSpPr>
          <p:spPr>
            <a:xfrm>
              <a:off x="14812035" y="8137304"/>
              <a:ext cx="244067" cy="93092"/>
            </a:xfrm>
            <a:custGeom>
              <a:avLst/>
              <a:gdLst>
                <a:gd name="connsiteX0" fmla="*/ 195254 w 244067"/>
                <a:gd name="connsiteY0" fmla="*/ 33906 h 93092"/>
                <a:gd name="connsiteX1" fmla="*/ 244068 w 244067"/>
                <a:gd name="connsiteY1" fmla="*/ 76618 h 93092"/>
                <a:gd name="connsiteX2" fmla="*/ 122034 w 244067"/>
                <a:gd name="connsiteY2" fmla="*/ 61364 h 93092"/>
                <a:gd name="connsiteX3" fmla="*/ 0 w 244067"/>
                <a:gd name="connsiteY3" fmla="*/ 347 h 93092"/>
                <a:gd name="connsiteX4" fmla="*/ 48813 w 244067"/>
                <a:gd name="connsiteY4" fmla="*/ 9499 h 93092"/>
                <a:gd name="connsiteX5" fmla="*/ 131186 w 244067"/>
                <a:gd name="connsiteY5" fmla="*/ 18652 h 93092"/>
                <a:gd name="connsiteX6" fmla="*/ 195254 w 244067"/>
                <a:gd name="connsiteY6" fmla="*/ 33906 h 9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4067" h="93092">
                  <a:moveTo>
                    <a:pt x="195254" y="33906"/>
                  </a:moveTo>
                  <a:cubicBezTo>
                    <a:pt x="213559" y="52211"/>
                    <a:pt x="213559" y="73567"/>
                    <a:pt x="244068" y="76618"/>
                  </a:cubicBezTo>
                  <a:cubicBezTo>
                    <a:pt x="244068" y="76618"/>
                    <a:pt x="180000" y="122381"/>
                    <a:pt x="122034" y="61364"/>
                  </a:cubicBezTo>
                  <a:cubicBezTo>
                    <a:pt x="122034" y="61364"/>
                    <a:pt x="24406" y="76618"/>
                    <a:pt x="0" y="347"/>
                  </a:cubicBezTo>
                  <a:cubicBezTo>
                    <a:pt x="0" y="347"/>
                    <a:pt x="30508" y="12550"/>
                    <a:pt x="48813" y="9499"/>
                  </a:cubicBezTo>
                  <a:cubicBezTo>
                    <a:pt x="67118" y="6449"/>
                    <a:pt x="94576" y="-14907"/>
                    <a:pt x="131186" y="18652"/>
                  </a:cubicBezTo>
                  <a:cubicBezTo>
                    <a:pt x="131186" y="21703"/>
                    <a:pt x="164746" y="6449"/>
                    <a:pt x="195254" y="33906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AF45ACC8-23C8-4108-B3CE-7D2B2666EC24}"/>
                </a:ext>
              </a:extLst>
            </p:cNvPr>
            <p:cNvSpPr/>
            <p:nvPr/>
          </p:nvSpPr>
          <p:spPr>
            <a:xfrm>
              <a:off x="14894407" y="8229176"/>
              <a:ext cx="82373" cy="55095"/>
            </a:xfrm>
            <a:custGeom>
              <a:avLst/>
              <a:gdLst>
                <a:gd name="connsiteX0" fmla="*/ 82373 w 82373"/>
                <a:gd name="connsiteY0" fmla="*/ 21356 h 55095"/>
                <a:gd name="connsiteX1" fmla="*/ 0 w 82373"/>
                <a:gd name="connsiteY1" fmla="*/ 0 h 55095"/>
                <a:gd name="connsiteX2" fmla="*/ 33560 w 82373"/>
                <a:gd name="connsiteY2" fmla="*/ 54915 h 55095"/>
                <a:gd name="connsiteX3" fmla="*/ 82373 w 82373"/>
                <a:gd name="connsiteY3" fmla="*/ 21356 h 55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373" h="55095">
                  <a:moveTo>
                    <a:pt x="82373" y="21356"/>
                  </a:moveTo>
                  <a:cubicBezTo>
                    <a:pt x="42712" y="24406"/>
                    <a:pt x="0" y="0"/>
                    <a:pt x="0" y="0"/>
                  </a:cubicBezTo>
                  <a:cubicBezTo>
                    <a:pt x="0" y="0"/>
                    <a:pt x="0" y="48813"/>
                    <a:pt x="33560" y="54915"/>
                  </a:cubicBezTo>
                  <a:cubicBezTo>
                    <a:pt x="61017" y="57966"/>
                    <a:pt x="82373" y="21356"/>
                    <a:pt x="82373" y="21356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8" name="图形 1">
              <a:extLst>
                <a:ext uri="{FF2B5EF4-FFF2-40B4-BE49-F238E27FC236}">
                  <a16:creationId xmlns:a16="http://schemas.microsoft.com/office/drawing/2014/main" id="{84EDA6B1-B503-4490-90B5-F6A80B3EA594}"/>
                </a:ext>
              </a:extLst>
            </p:cNvPr>
            <p:cNvGrpSpPr/>
            <p:nvPr/>
          </p:nvGrpSpPr>
          <p:grpSpPr>
            <a:xfrm>
              <a:off x="14909661" y="8033922"/>
              <a:ext cx="79322" cy="137288"/>
              <a:chOff x="14909661" y="8033922"/>
              <a:chExt cx="79322" cy="137288"/>
            </a:xfrm>
          </p:grpSpPr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85CA8176-8A50-465E-8F77-F8A66E6D124F}"/>
                  </a:ext>
                </a:extLst>
              </p:cNvPr>
              <p:cNvSpPr/>
              <p:nvPr/>
            </p:nvSpPr>
            <p:spPr>
              <a:xfrm>
                <a:off x="14918815" y="8046126"/>
                <a:ext cx="64067" cy="120294"/>
              </a:xfrm>
              <a:custGeom>
                <a:avLst/>
                <a:gdLst>
                  <a:gd name="connsiteX0" fmla="*/ 64067 w 64067"/>
                  <a:gd name="connsiteY0" fmla="*/ 0 h 120294"/>
                  <a:gd name="connsiteX1" fmla="*/ 48813 w 64067"/>
                  <a:gd name="connsiteY1" fmla="*/ 112881 h 120294"/>
                  <a:gd name="connsiteX2" fmla="*/ 0 w 64067"/>
                  <a:gd name="connsiteY2" fmla="*/ 109830 h 120294"/>
                  <a:gd name="connsiteX3" fmla="*/ 64067 w 64067"/>
                  <a:gd name="connsiteY3" fmla="*/ 0 h 120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067" h="120294">
                    <a:moveTo>
                      <a:pt x="64067" y="0"/>
                    </a:moveTo>
                    <a:cubicBezTo>
                      <a:pt x="64067" y="0"/>
                      <a:pt x="51864" y="94576"/>
                      <a:pt x="48813" y="112881"/>
                    </a:cubicBezTo>
                    <a:cubicBezTo>
                      <a:pt x="42712" y="131186"/>
                      <a:pt x="0" y="109830"/>
                      <a:pt x="0" y="109830"/>
                    </a:cubicBezTo>
                    <a:lnTo>
                      <a:pt x="64067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DD0ABDEC-DDB5-4AE4-97AB-320AF5EDFCDE}"/>
                  </a:ext>
                </a:extLst>
              </p:cNvPr>
              <p:cNvSpPr/>
              <p:nvPr/>
            </p:nvSpPr>
            <p:spPr>
              <a:xfrm>
                <a:off x="14909661" y="8033922"/>
                <a:ext cx="79322" cy="137288"/>
              </a:xfrm>
              <a:custGeom>
                <a:avLst/>
                <a:gdLst>
                  <a:gd name="connsiteX0" fmla="*/ 42712 w 79322"/>
                  <a:gd name="connsiteY0" fmla="*/ 137288 h 137288"/>
                  <a:gd name="connsiteX1" fmla="*/ 3051 w 79322"/>
                  <a:gd name="connsiteY1" fmla="*/ 125085 h 137288"/>
                  <a:gd name="connsiteX2" fmla="*/ 0 w 79322"/>
                  <a:gd name="connsiteY2" fmla="*/ 115932 h 137288"/>
                  <a:gd name="connsiteX3" fmla="*/ 9153 w 79322"/>
                  <a:gd name="connsiteY3" fmla="*/ 112881 h 137288"/>
                  <a:gd name="connsiteX4" fmla="*/ 48814 w 79322"/>
                  <a:gd name="connsiteY4" fmla="*/ 122034 h 137288"/>
                  <a:gd name="connsiteX5" fmla="*/ 51865 w 79322"/>
                  <a:gd name="connsiteY5" fmla="*/ 118983 h 137288"/>
                  <a:gd name="connsiteX6" fmla="*/ 67119 w 79322"/>
                  <a:gd name="connsiteY6" fmla="*/ 6102 h 137288"/>
                  <a:gd name="connsiteX7" fmla="*/ 73220 w 79322"/>
                  <a:gd name="connsiteY7" fmla="*/ 0 h 137288"/>
                  <a:gd name="connsiteX8" fmla="*/ 79322 w 79322"/>
                  <a:gd name="connsiteY8" fmla="*/ 6102 h 137288"/>
                  <a:gd name="connsiteX9" fmla="*/ 64068 w 79322"/>
                  <a:gd name="connsiteY9" fmla="*/ 118983 h 137288"/>
                  <a:gd name="connsiteX10" fmla="*/ 54916 w 79322"/>
                  <a:gd name="connsiteY10" fmla="*/ 128136 h 137288"/>
                  <a:gd name="connsiteX11" fmla="*/ 42712 w 79322"/>
                  <a:gd name="connsiteY11" fmla="*/ 137288 h 137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9322" h="137288">
                    <a:moveTo>
                      <a:pt x="42712" y="137288"/>
                    </a:moveTo>
                    <a:cubicBezTo>
                      <a:pt x="27457" y="137288"/>
                      <a:pt x="9153" y="128136"/>
                      <a:pt x="3051" y="125085"/>
                    </a:cubicBezTo>
                    <a:cubicBezTo>
                      <a:pt x="0" y="122034"/>
                      <a:pt x="0" y="118983"/>
                      <a:pt x="0" y="115932"/>
                    </a:cubicBezTo>
                    <a:cubicBezTo>
                      <a:pt x="0" y="112881"/>
                      <a:pt x="6102" y="112881"/>
                      <a:pt x="9153" y="112881"/>
                    </a:cubicBezTo>
                    <a:cubicBezTo>
                      <a:pt x="21356" y="118983"/>
                      <a:pt x="39662" y="125085"/>
                      <a:pt x="48814" y="122034"/>
                    </a:cubicBezTo>
                    <a:cubicBezTo>
                      <a:pt x="48814" y="122034"/>
                      <a:pt x="51865" y="122034"/>
                      <a:pt x="51865" y="118983"/>
                    </a:cubicBezTo>
                    <a:cubicBezTo>
                      <a:pt x="57966" y="100678"/>
                      <a:pt x="67119" y="9153"/>
                      <a:pt x="67119" y="6102"/>
                    </a:cubicBezTo>
                    <a:cubicBezTo>
                      <a:pt x="67119" y="3051"/>
                      <a:pt x="70170" y="0"/>
                      <a:pt x="73220" y="0"/>
                    </a:cubicBezTo>
                    <a:cubicBezTo>
                      <a:pt x="76271" y="0"/>
                      <a:pt x="79322" y="3051"/>
                      <a:pt x="79322" y="6102"/>
                    </a:cubicBezTo>
                    <a:cubicBezTo>
                      <a:pt x="79322" y="9153"/>
                      <a:pt x="67119" y="100678"/>
                      <a:pt x="64068" y="118983"/>
                    </a:cubicBezTo>
                    <a:cubicBezTo>
                      <a:pt x="64068" y="125085"/>
                      <a:pt x="61017" y="128136"/>
                      <a:pt x="54916" y="128136"/>
                    </a:cubicBezTo>
                    <a:cubicBezTo>
                      <a:pt x="51865" y="137288"/>
                      <a:pt x="45763" y="137288"/>
                      <a:pt x="42712" y="1372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D12C0E09-A83D-4713-BCED-28CBCE41FC77}"/>
                </a:ext>
              </a:extLst>
            </p:cNvPr>
            <p:cNvSpPr/>
            <p:nvPr/>
          </p:nvSpPr>
          <p:spPr>
            <a:xfrm>
              <a:off x="13688041" y="9681380"/>
              <a:ext cx="1285688" cy="790169"/>
            </a:xfrm>
            <a:custGeom>
              <a:avLst/>
              <a:gdLst>
                <a:gd name="connsiteX0" fmla="*/ 1197214 w 1285688"/>
                <a:gd name="connsiteY0" fmla="*/ 329491 h 790169"/>
                <a:gd name="connsiteX1" fmla="*/ 1285688 w 1285688"/>
                <a:gd name="connsiteY1" fmla="*/ 790169 h 790169"/>
                <a:gd name="connsiteX2" fmla="*/ 4332 w 1285688"/>
                <a:gd name="connsiteY2" fmla="*/ 518644 h 790169"/>
                <a:gd name="connsiteX3" fmla="*/ 175180 w 1285688"/>
                <a:gd name="connsiteY3" fmla="*/ 0 h 790169"/>
                <a:gd name="connsiteX4" fmla="*/ 1197214 w 1285688"/>
                <a:gd name="connsiteY4" fmla="*/ 329491 h 79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5688" h="790169">
                  <a:moveTo>
                    <a:pt x="1197214" y="329491"/>
                  </a:moveTo>
                  <a:lnTo>
                    <a:pt x="1285688" y="790169"/>
                  </a:lnTo>
                  <a:cubicBezTo>
                    <a:pt x="1285688" y="790169"/>
                    <a:pt x="193485" y="756610"/>
                    <a:pt x="4332" y="518644"/>
                  </a:cubicBezTo>
                  <a:cubicBezTo>
                    <a:pt x="-32278" y="387457"/>
                    <a:pt x="175180" y="0"/>
                    <a:pt x="175180" y="0"/>
                  </a:cubicBezTo>
                  <a:lnTo>
                    <a:pt x="1197214" y="329491"/>
                  </a:ln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4DC3EC69-74D9-48A6-B88E-1F0DA964DDF7}"/>
                </a:ext>
              </a:extLst>
            </p:cNvPr>
            <p:cNvSpPr/>
            <p:nvPr/>
          </p:nvSpPr>
          <p:spPr>
            <a:xfrm>
              <a:off x="13665103" y="8478665"/>
              <a:ext cx="1383136" cy="2020427"/>
            </a:xfrm>
            <a:custGeom>
              <a:avLst/>
              <a:gdLst>
                <a:gd name="connsiteX0" fmla="*/ 69982 w 1383136"/>
                <a:gd name="connsiteY0" fmla="*/ 1693901 h 2020427"/>
                <a:gd name="connsiteX1" fmla="*/ 912016 w 1383136"/>
                <a:gd name="connsiteY1" fmla="*/ 1895257 h 2020427"/>
                <a:gd name="connsiteX2" fmla="*/ 976084 w 1383136"/>
                <a:gd name="connsiteY2" fmla="*/ 1489495 h 2020427"/>
                <a:gd name="connsiteX3" fmla="*/ 976084 w 1383136"/>
                <a:gd name="connsiteY3" fmla="*/ 1474240 h 2020427"/>
                <a:gd name="connsiteX4" fmla="*/ 985237 w 1383136"/>
                <a:gd name="connsiteY4" fmla="*/ 1428478 h 2020427"/>
                <a:gd name="connsiteX5" fmla="*/ 1275067 w 1383136"/>
                <a:gd name="connsiteY5" fmla="*/ 778647 h 2020427"/>
                <a:gd name="connsiteX6" fmla="*/ 1210999 w 1383136"/>
                <a:gd name="connsiteY6" fmla="*/ 55596 h 2020427"/>
                <a:gd name="connsiteX7" fmla="*/ 1299475 w 1383136"/>
                <a:gd name="connsiteY7" fmla="*/ 34240 h 2020427"/>
                <a:gd name="connsiteX8" fmla="*/ 1360491 w 1383136"/>
                <a:gd name="connsiteY8" fmla="*/ 806104 h 2020427"/>
                <a:gd name="connsiteX9" fmla="*/ 1061508 w 1383136"/>
                <a:gd name="connsiteY9" fmla="*/ 1477291 h 2020427"/>
                <a:gd name="connsiteX10" fmla="*/ 1018796 w 1383136"/>
                <a:gd name="connsiteY10" fmla="*/ 1898308 h 2020427"/>
                <a:gd name="connsiteX11" fmla="*/ 1311678 w 1383136"/>
                <a:gd name="connsiteY11" fmla="*/ 1931867 h 2020427"/>
                <a:gd name="connsiteX12" fmla="*/ 1284220 w 1383136"/>
                <a:gd name="connsiteY12" fmla="*/ 2020342 h 2020427"/>
                <a:gd name="connsiteX13" fmla="*/ 15067 w 1383136"/>
                <a:gd name="connsiteY13" fmla="*/ 1773223 h 2020427"/>
                <a:gd name="connsiteX14" fmla="*/ 69982 w 1383136"/>
                <a:gd name="connsiteY14" fmla="*/ 1693901 h 2020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83136" h="2020427">
                  <a:moveTo>
                    <a:pt x="69982" y="1693901"/>
                  </a:moveTo>
                  <a:cubicBezTo>
                    <a:pt x="347610" y="1892206"/>
                    <a:pt x="600830" y="1880003"/>
                    <a:pt x="912016" y="1895257"/>
                  </a:cubicBezTo>
                  <a:cubicBezTo>
                    <a:pt x="945576" y="1779325"/>
                    <a:pt x="994390" y="1611529"/>
                    <a:pt x="976084" y="1489495"/>
                  </a:cubicBezTo>
                  <a:cubicBezTo>
                    <a:pt x="976084" y="1483393"/>
                    <a:pt x="976084" y="1480342"/>
                    <a:pt x="976084" y="1474240"/>
                  </a:cubicBezTo>
                  <a:cubicBezTo>
                    <a:pt x="973033" y="1458986"/>
                    <a:pt x="973033" y="1443732"/>
                    <a:pt x="985237" y="1428478"/>
                  </a:cubicBezTo>
                  <a:cubicBezTo>
                    <a:pt x="1137779" y="1260681"/>
                    <a:pt x="1226253" y="995257"/>
                    <a:pt x="1275067" y="778647"/>
                  </a:cubicBezTo>
                  <a:cubicBezTo>
                    <a:pt x="1333033" y="525427"/>
                    <a:pt x="1244559" y="302715"/>
                    <a:pt x="1210999" y="55596"/>
                  </a:cubicBezTo>
                  <a:cubicBezTo>
                    <a:pt x="1201847" y="-2370"/>
                    <a:pt x="1293372" y="-23726"/>
                    <a:pt x="1299475" y="34240"/>
                  </a:cubicBezTo>
                  <a:cubicBezTo>
                    <a:pt x="1336084" y="299664"/>
                    <a:pt x="1424559" y="534579"/>
                    <a:pt x="1360491" y="806104"/>
                  </a:cubicBezTo>
                  <a:cubicBezTo>
                    <a:pt x="1308627" y="1034918"/>
                    <a:pt x="1217101" y="1297291"/>
                    <a:pt x="1061508" y="1477291"/>
                  </a:cubicBezTo>
                  <a:cubicBezTo>
                    <a:pt x="1079813" y="1611529"/>
                    <a:pt x="1055407" y="1770172"/>
                    <a:pt x="1018796" y="1898308"/>
                  </a:cubicBezTo>
                  <a:cubicBezTo>
                    <a:pt x="1116424" y="1919664"/>
                    <a:pt x="1217101" y="1910511"/>
                    <a:pt x="1311678" y="1931867"/>
                  </a:cubicBezTo>
                  <a:cubicBezTo>
                    <a:pt x="1369644" y="1944071"/>
                    <a:pt x="1345237" y="2023393"/>
                    <a:pt x="1284220" y="2020342"/>
                  </a:cubicBezTo>
                  <a:cubicBezTo>
                    <a:pt x="841847" y="1995935"/>
                    <a:pt x="405576" y="2053901"/>
                    <a:pt x="15067" y="1773223"/>
                  </a:cubicBezTo>
                  <a:cubicBezTo>
                    <a:pt x="-24594" y="1736613"/>
                    <a:pt x="21169" y="1657291"/>
                    <a:pt x="69982" y="1693901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ED9729DB-2DB4-4A7A-B01D-17BDCF3A5A17}"/>
                </a:ext>
              </a:extLst>
            </p:cNvPr>
            <p:cNvSpPr/>
            <p:nvPr/>
          </p:nvSpPr>
          <p:spPr>
            <a:xfrm>
              <a:off x="13850395" y="9595956"/>
              <a:ext cx="1087867" cy="478983"/>
            </a:xfrm>
            <a:custGeom>
              <a:avLst/>
              <a:gdLst>
                <a:gd name="connsiteX0" fmla="*/ 1047063 w 1087867"/>
                <a:gd name="connsiteY0" fmla="*/ 478983 h 478983"/>
                <a:gd name="connsiteX1" fmla="*/ 623 w 1087867"/>
                <a:gd name="connsiteY1" fmla="*/ 106780 h 478983"/>
                <a:gd name="connsiteX2" fmla="*/ 43335 w 1087867"/>
                <a:gd name="connsiteY2" fmla="*/ 0 h 478983"/>
                <a:gd name="connsiteX3" fmla="*/ 1086724 w 1087867"/>
                <a:gd name="connsiteY3" fmla="*/ 384407 h 478983"/>
                <a:gd name="connsiteX4" fmla="*/ 1047063 w 1087867"/>
                <a:gd name="connsiteY4" fmla="*/ 478983 h 478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7867" h="478983">
                  <a:moveTo>
                    <a:pt x="1047063" y="478983"/>
                  </a:moveTo>
                  <a:cubicBezTo>
                    <a:pt x="1047063" y="478983"/>
                    <a:pt x="278249" y="295933"/>
                    <a:pt x="623" y="106780"/>
                  </a:cubicBezTo>
                  <a:cubicBezTo>
                    <a:pt x="623" y="106780"/>
                    <a:pt x="-8530" y="33560"/>
                    <a:pt x="43335" y="0"/>
                  </a:cubicBezTo>
                  <a:cubicBezTo>
                    <a:pt x="272148" y="158644"/>
                    <a:pt x="717572" y="289831"/>
                    <a:pt x="1086724" y="384407"/>
                  </a:cubicBezTo>
                  <a:cubicBezTo>
                    <a:pt x="1095877" y="445424"/>
                    <a:pt x="1047063" y="478983"/>
                    <a:pt x="1047063" y="478983"/>
                  </a:cubicBezTo>
                  <a:close/>
                </a:path>
              </a:pathLst>
            </a:custGeom>
            <a:solidFill>
              <a:srgbClr val="6C5D68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2" name="图形 1">
              <a:extLst>
                <a:ext uri="{FF2B5EF4-FFF2-40B4-BE49-F238E27FC236}">
                  <a16:creationId xmlns:a16="http://schemas.microsoft.com/office/drawing/2014/main" id="{433FB766-C408-47EC-9ACB-B5CA13A80185}"/>
                </a:ext>
              </a:extLst>
            </p:cNvPr>
            <p:cNvGrpSpPr/>
            <p:nvPr/>
          </p:nvGrpSpPr>
          <p:grpSpPr>
            <a:xfrm>
              <a:off x="14567189" y="9854500"/>
              <a:ext cx="242571" cy="210177"/>
              <a:chOff x="14567189" y="9854500"/>
              <a:chExt cx="242571" cy="210177"/>
            </a:xfrm>
          </p:grpSpPr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EAF7CD59-A5CB-444D-AD32-89452526EB31}"/>
                  </a:ext>
                </a:extLst>
              </p:cNvPr>
              <p:cNvSpPr/>
              <p:nvPr/>
            </p:nvSpPr>
            <p:spPr>
              <a:xfrm>
                <a:off x="14567189" y="9854500"/>
                <a:ext cx="242571" cy="210177"/>
              </a:xfrm>
              <a:custGeom>
                <a:avLst/>
                <a:gdLst>
                  <a:gd name="connsiteX0" fmla="*/ 180777 w 242571"/>
                  <a:gd name="connsiteY0" fmla="*/ 208236 h 210177"/>
                  <a:gd name="connsiteX1" fmla="*/ 16032 w 242571"/>
                  <a:gd name="connsiteY1" fmla="*/ 159422 h 210177"/>
                  <a:gd name="connsiteX2" fmla="*/ 778 w 242571"/>
                  <a:gd name="connsiteY2" fmla="*/ 131965 h 210177"/>
                  <a:gd name="connsiteX3" fmla="*/ 34336 w 242571"/>
                  <a:gd name="connsiteY3" fmla="*/ 16032 h 210177"/>
                  <a:gd name="connsiteX4" fmla="*/ 61795 w 242571"/>
                  <a:gd name="connsiteY4" fmla="*/ 778 h 210177"/>
                  <a:gd name="connsiteX5" fmla="*/ 226540 w 242571"/>
                  <a:gd name="connsiteY5" fmla="*/ 49591 h 210177"/>
                  <a:gd name="connsiteX6" fmla="*/ 241794 w 242571"/>
                  <a:gd name="connsiteY6" fmla="*/ 77049 h 210177"/>
                  <a:gd name="connsiteX7" fmla="*/ 208235 w 242571"/>
                  <a:gd name="connsiteY7" fmla="*/ 192981 h 210177"/>
                  <a:gd name="connsiteX8" fmla="*/ 180777 w 242571"/>
                  <a:gd name="connsiteY8" fmla="*/ 208236 h 210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2571" h="210177">
                    <a:moveTo>
                      <a:pt x="180777" y="208236"/>
                    </a:moveTo>
                    <a:lnTo>
                      <a:pt x="16032" y="159422"/>
                    </a:lnTo>
                    <a:cubicBezTo>
                      <a:pt x="3828" y="156371"/>
                      <a:pt x="-2273" y="144168"/>
                      <a:pt x="778" y="131965"/>
                    </a:cubicBezTo>
                    <a:lnTo>
                      <a:pt x="34336" y="16032"/>
                    </a:lnTo>
                    <a:cubicBezTo>
                      <a:pt x="37387" y="3829"/>
                      <a:pt x="49590" y="-2274"/>
                      <a:pt x="61795" y="778"/>
                    </a:cubicBezTo>
                    <a:lnTo>
                      <a:pt x="226540" y="49591"/>
                    </a:lnTo>
                    <a:cubicBezTo>
                      <a:pt x="238743" y="52642"/>
                      <a:pt x="244845" y="64845"/>
                      <a:pt x="241794" y="77049"/>
                    </a:cubicBezTo>
                    <a:lnTo>
                      <a:pt x="208235" y="192981"/>
                    </a:lnTo>
                    <a:cubicBezTo>
                      <a:pt x="205184" y="205185"/>
                      <a:pt x="192981" y="214337"/>
                      <a:pt x="180777" y="20823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FFBC7F3A-659B-4449-A75B-A5A6FFA8FCA8}"/>
                  </a:ext>
                </a:extLst>
              </p:cNvPr>
              <p:cNvSpPr/>
              <p:nvPr/>
            </p:nvSpPr>
            <p:spPr>
              <a:xfrm>
                <a:off x="14595424" y="9882735"/>
                <a:ext cx="183050" cy="156387"/>
              </a:xfrm>
              <a:custGeom>
                <a:avLst/>
                <a:gdLst>
                  <a:gd name="connsiteX0" fmla="*/ 137288 w 183050"/>
                  <a:gd name="connsiteY0" fmla="*/ 155593 h 156387"/>
                  <a:gd name="connsiteX1" fmla="*/ 12203 w 183050"/>
                  <a:gd name="connsiteY1" fmla="*/ 118984 h 156387"/>
                  <a:gd name="connsiteX2" fmla="*/ 0 w 183050"/>
                  <a:gd name="connsiteY2" fmla="*/ 97627 h 156387"/>
                  <a:gd name="connsiteX3" fmla="*/ 24406 w 183050"/>
                  <a:gd name="connsiteY3" fmla="*/ 12204 h 156387"/>
                  <a:gd name="connsiteX4" fmla="*/ 45763 w 183050"/>
                  <a:gd name="connsiteY4" fmla="*/ 0 h 156387"/>
                  <a:gd name="connsiteX5" fmla="*/ 170848 w 183050"/>
                  <a:gd name="connsiteY5" fmla="*/ 36611 h 156387"/>
                  <a:gd name="connsiteX6" fmla="*/ 183051 w 183050"/>
                  <a:gd name="connsiteY6" fmla="*/ 57967 h 156387"/>
                  <a:gd name="connsiteX7" fmla="*/ 158644 w 183050"/>
                  <a:gd name="connsiteY7" fmla="*/ 143390 h 156387"/>
                  <a:gd name="connsiteX8" fmla="*/ 137288 w 183050"/>
                  <a:gd name="connsiteY8" fmla="*/ 155593 h 156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3050" h="156387">
                    <a:moveTo>
                      <a:pt x="137288" y="155593"/>
                    </a:moveTo>
                    <a:lnTo>
                      <a:pt x="12203" y="118984"/>
                    </a:lnTo>
                    <a:cubicBezTo>
                      <a:pt x="3051" y="115933"/>
                      <a:pt x="0" y="106780"/>
                      <a:pt x="0" y="97627"/>
                    </a:cubicBezTo>
                    <a:lnTo>
                      <a:pt x="24406" y="12204"/>
                    </a:lnTo>
                    <a:cubicBezTo>
                      <a:pt x="27457" y="3051"/>
                      <a:pt x="36610" y="0"/>
                      <a:pt x="45763" y="0"/>
                    </a:cubicBezTo>
                    <a:lnTo>
                      <a:pt x="170848" y="36611"/>
                    </a:lnTo>
                    <a:cubicBezTo>
                      <a:pt x="180000" y="39662"/>
                      <a:pt x="183051" y="48814"/>
                      <a:pt x="183051" y="57967"/>
                    </a:cubicBezTo>
                    <a:lnTo>
                      <a:pt x="158644" y="143390"/>
                    </a:lnTo>
                    <a:cubicBezTo>
                      <a:pt x="155593" y="152542"/>
                      <a:pt x="146440" y="158644"/>
                      <a:pt x="137288" y="15559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BBABD349-74FA-45F5-8C7B-D63EFFB20919}"/>
                </a:ext>
              </a:extLst>
            </p:cNvPr>
            <p:cNvSpPr/>
            <p:nvPr/>
          </p:nvSpPr>
          <p:spPr>
            <a:xfrm>
              <a:off x="15309323" y="9490856"/>
              <a:ext cx="228874" cy="67508"/>
            </a:xfrm>
            <a:custGeom>
              <a:avLst/>
              <a:gdLst>
                <a:gd name="connsiteX0" fmla="*/ 0 w 228874"/>
                <a:gd name="connsiteY0" fmla="*/ 31880 h 67508"/>
                <a:gd name="connsiteX1" fmla="*/ 143390 w 228874"/>
                <a:gd name="connsiteY1" fmla="*/ 1371 h 67508"/>
                <a:gd name="connsiteX2" fmla="*/ 228814 w 228874"/>
                <a:gd name="connsiteY2" fmla="*/ 37981 h 67508"/>
                <a:gd name="connsiteX3" fmla="*/ 94576 w 228874"/>
                <a:gd name="connsiteY3" fmla="*/ 65439 h 67508"/>
                <a:gd name="connsiteX4" fmla="*/ 0 w 228874"/>
                <a:gd name="connsiteY4" fmla="*/ 31880 h 67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874" h="67508">
                  <a:moveTo>
                    <a:pt x="0" y="31880"/>
                  </a:moveTo>
                  <a:cubicBezTo>
                    <a:pt x="0" y="31880"/>
                    <a:pt x="106780" y="-7781"/>
                    <a:pt x="143390" y="1371"/>
                  </a:cubicBezTo>
                  <a:cubicBezTo>
                    <a:pt x="176949" y="7473"/>
                    <a:pt x="225763" y="19677"/>
                    <a:pt x="228814" y="37981"/>
                  </a:cubicBezTo>
                  <a:cubicBezTo>
                    <a:pt x="231865" y="86795"/>
                    <a:pt x="118983" y="34931"/>
                    <a:pt x="94576" y="65439"/>
                  </a:cubicBezTo>
                  <a:cubicBezTo>
                    <a:pt x="79322" y="77642"/>
                    <a:pt x="0" y="31880"/>
                    <a:pt x="0" y="3188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08CEA438-5A28-4A64-90D3-3F9DC1068A48}"/>
                </a:ext>
              </a:extLst>
            </p:cNvPr>
            <p:cNvSpPr/>
            <p:nvPr/>
          </p:nvSpPr>
          <p:spPr>
            <a:xfrm>
              <a:off x="15315425" y="9474030"/>
              <a:ext cx="228813" cy="82264"/>
            </a:xfrm>
            <a:custGeom>
              <a:avLst/>
              <a:gdLst>
                <a:gd name="connsiteX0" fmla="*/ 195254 w 228813"/>
                <a:gd name="connsiteY0" fmla="*/ 82265 h 82264"/>
                <a:gd name="connsiteX1" fmla="*/ 189152 w 228813"/>
                <a:gd name="connsiteY1" fmla="*/ 76163 h 82264"/>
                <a:gd name="connsiteX2" fmla="*/ 195254 w 228813"/>
                <a:gd name="connsiteY2" fmla="*/ 70061 h 82264"/>
                <a:gd name="connsiteX3" fmla="*/ 213559 w 228813"/>
                <a:gd name="connsiteY3" fmla="*/ 63959 h 82264"/>
                <a:gd name="connsiteX4" fmla="*/ 216609 w 228813"/>
                <a:gd name="connsiteY4" fmla="*/ 51756 h 82264"/>
                <a:gd name="connsiteX5" fmla="*/ 6101 w 228813"/>
                <a:gd name="connsiteY5" fmla="*/ 15146 h 82264"/>
                <a:gd name="connsiteX6" fmla="*/ 6101 w 228813"/>
                <a:gd name="connsiteY6" fmla="*/ 15146 h 82264"/>
                <a:gd name="connsiteX7" fmla="*/ 0 w 228813"/>
                <a:gd name="connsiteY7" fmla="*/ 9044 h 82264"/>
                <a:gd name="connsiteX8" fmla="*/ 6101 w 228813"/>
                <a:gd name="connsiteY8" fmla="*/ 2942 h 82264"/>
                <a:gd name="connsiteX9" fmla="*/ 228814 w 228813"/>
                <a:gd name="connsiteY9" fmla="*/ 51756 h 82264"/>
                <a:gd name="connsiteX10" fmla="*/ 222712 w 228813"/>
                <a:gd name="connsiteY10" fmla="*/ 73112 h 82264"/>
                <a:gd name="connsiteX11" fmla="*/ 195254 w 228813"/>
                <a:gd name="connsiteY11" fmla="*/ 82265 h 82264"/>
                <a:gd name="connsiteX12" fmla="*/ 195254 w 228813"/>
                <a:gd name="connsiteY12" fmla="*/ 82265 h 82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813" h="82264">
                  <a:moveTo>
                    <a:pt x="195254" y="82265"/>
                  </a:moveTo>
                  <a:cubicBezTo>
                    <a:pt x="192203" y="82265"/>
                    <a:pt x="189152" y="79214"/>
                    <a:pt x="189152" y="76163"/>
                  </a:cubicBezTo>
                  <a:cubicBezTo>
                    <a:pt x="189152" y="73112"/>
                    <a:pt x="192203" y="70061"/>
                    <a:pt x="195254" y="70061"/>
                  </a:cubicBezTo>
                  <a:cubicBezTo>
                    <a:pt x="204406" y="70061"/>
                    <a:pt x="210508" y="67010"/>
                    <a:pt x="213559" y="63959"/>
                  </a:cubicBezTo>
                  <a:cubicBezTo>
                    <a:pt x="216609" y="60908"/>
                    <a:pt x="216609" y="54807"/>
                    <a:pt x="216609" y="51756"/>
                  </a:cubicBezTo>
                  <a:cubicBezTo>
                    <a:pt x="213559" y="9044"/>
                    <a:pt x="64067" y="9044"/>
                    <a:pt x="6101" y="15146"/>
                  </a:cubicBezTo>
                  <a:cubicBezTo>
                    <a:pt x="6101" y="15146"/>
                    <a:pt x="6101" y="15146"/>
                    <a:pt x="6101" y="15146"/>
                  </a:cubicBezTo>
                  <a:cubicBezTo>
                    <a:pt x="3050" y="15146"/>
                    <a:pt x="0" y="12095"/>
                    <a:pt x="0" y="9044"/>
                  </a:cubicBezTo>
                  <a:cubicBezTo>
                    <a:pt x="0" y="5993"/>
                    <a:pt x="3050" y="2942"/>
                    <a:pt x="6101" y="2942"/>
                  </a:cubicBezTo>
                  <a:cubicBezTo>
                    <a:pt x="27457" y="-109"/>
                    <a:pt x="222712" y="-12312"/>
                    <a:pt x="228814" y="51756"/>
                  </a:cubicBezTo>
                  <a:cubicBezTo>
                    <a:pt x="228814" y="57858"/>
                    <a:pt x="228814" y="67010"/>
                    <a:pt x="222712" y="73112"/>
                  </a:cubicBezTo>
                  <a:cubicBezTo>
                    <a:pt x="213559" y="79214"/>
                    <a:pt x="204406" y="82265"/>
                    <a:pt x="195254" y="82265"/>
                  </a:cubicBezTo>
                  <a:lnTo>
                    <a:pt x="195254" y="82265"/>
                  </a:ln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A03797DB-794F-4E38-86C4-4F86B662F538}"/>
                </a:ext>
              </a:extLst>
            </p:cNvPr>
            <p:cNvSpPr/>
            <p:nvPr/>
          </p:nvSpPr>
          <p:spPr>
            <a:xfrm>
              <a:off x="14265875" y="8359623"/>
              <a:ext cx="1021679" cy="1380290"/>
            </a:xfrm>
            <a:custGeom>
              <a:avLst/>
              <a:gdLst>
                <a:gd name="connsiteX0" fmla="*/ 134296 w 1021679"/>
                <a:gd name="connsiteY0" fmla="*/ 739 h 1380290"/>
                <a:gd name="connsiteX1" fmla="*/ 421075 w 1021679"/>
                <a:gd name="connsiteY1" fmla="*/ 433960 h 1380290"/>
                <a:gd name="connsiteX2" fmla="*/ 500397 w 1021679"/>
                <a:gd name="connsiteY2" fmla="*/ 891587 h 1380290"/>
                <a:gd name="connsiteX3" fmla="*/ 1019041 w 1021679"/>
                <a:gd name="connsiteY3" fmla="*/ 1147858 h 1380290"/>
                <a:gd name="connsiteX4" fmla="*/ 982431 w 1021679"/>
                <a:gd name="connsiteY4" fmla="*/ 1346163 h 1380290"/>
                <a:gd name="connsiteX5" fmla="*/ 225821 w 1021679"/>
                <a:gd name="connsiteY5" fmla="*/ 1144807 h 1380290"/>
                <a:gd name="connsiteX6" fmla="*/ 134296 w 1021679"/>
                <a:gd name="connsiteY6" fmla="*/ 739 h 1380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1679" h="1380290">
                  <a:moveTo>
                    <a:pt x="134296" y="739"/>
                  </a:moveTo>
                  <a:cubicBezTo>
                    <a:pt x="268533" y="-17565"/>
                    <a:pt x="387516" y="308875"/>
                    <a:pt x="421075" y="433960"/>
                  </a:cubicBezTo>
                  <a:cubicBezTo>
                    <a:pt x="448533" y="546842"/>
                    <a:pt x="500397" y="891587"/>
                    <a:pt x="500397" y="891587"/>
                  </a:cubicBezTo>
                  <a:cubicBezTo>
                    <a:pt x="500397" y="891587"/>
                    <a:pt x="945820" y="1022773"/>
                    <a:pt x="1019041" y="1147858"/>
                  </a:cubicBezTo>
                  <a:cubicBezTo>
                    <a:pt x="1028194" y="1199723"/>
                    <a:pt x="1012939" y="1275994"/>
                    <a:pt x="982431" y="1346163"/>
                  </a:cubicBezTo>
                  <a:cubicBezTo>
                    <a:pt x="866499" y="1468197"/>
                    <a:pt x="323448" y="1230232"/>
                    <a:pt x="225821" y="1144807"/>
                  </a:cubicBezTo>
                  <a:cubicBezTo>
                    <a:pt x="119041" y="1050231"/>
                    <a:pt x="-167739" y="43452"/>
                    <a:pt x="134296" y="739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3DE6DFAD-4C51-4907-A825-9B292219DDD6}"/>
                </a:ext>
              </a:extLst>
            </p:cNvPr>
            <p:cNvGrpSpPr/>
            <p:nvPr/>
          </p:nvGrpSpPr>
          <p:grpSpPr>
            <a:xfrm>
              <a:off x="15327286" y="9627335"/>
              <a:ext cx="2124821" cy="2787308"/>
              <a:chOff x="15327286" y="9627335"/>
              <a:chExt cx="2124821" cy="2787308"/>
            </a:xfrm>
          </p:grpSpPr>
          <p:grpSp>
            <p:nvGrpSpPr>
              <p:cNvPr id="50" name="图形 1">
                <a:extLst>
                  <a:ext uri="{FF2B5EF4-FFF2-40B4-BE49-F238E27FC236}">
                    <a16:creationId xmlns:a16="http://schemas.microsoft.com/office/drawing/2014/main" id="{A75B12E0-2E69-427E-A42C-51AC8F4E9565}"/>
                  </a:ext>
                </a:extLst>
              </p:cNvPr>
              <p:cNvGrpSpPr/>
              <p:nvPr/>
            </p:nvGrpSpPr>
            <p:grpSpPr>
              <a:xfrm>
                <a:off x="15327286" y="9627335"/>
                <a:ext cx="2124821" cy="2787308"/>
                <a:chOff x="15327286" y="9627335"/>
                <a:chExt cx="2124821" cy="2787308"/>
              </a:xfrm>
            </p:grpSpPr>
            <p:sp>
              <p:nvSpPr>
                <p:cNvPr id="56" name="任意多边形: 形状 55">
                  <a:extLst>
                    <a:ext uri="{FF2B5EF4-FFF2-40B4-BE49-F238E27FC236}">
                      <a16:creationId xmlns:a16="http://schemas.microsoft.com/office/drawing/2014/main" id="{A709334A-2B7C-44CE-8D7C-65A39D0B3CA1}"/>
                    </a:ext>
                  </a:extLst>
                </p:cNvPr>
                <p:cNvSpPr/>
                <p:nvPr/>
              </p:nvSpPr>
              <p:spPr>
                <a:xfrm>
                  <a:off x="15327286" y="9627335"/>
                  <a:ext cx="2124821" cy="2787308"/>
                </a:xfrm>
                <a:custGeom>
                  <a:avLst/>
                  <a:gdLst>
                    <a:gd name="connsiteX0" fmla="*/ 341 w 2124821"/>
                    <a:gd name="connsiteY0" fmla="*/ 75401 h 2787308"/>
                    <a:gd name="connsiteX1" fmla="*/ 561697 w 2124821"/>
                    <a:gd name="connsiteY1" fmla="*/ 237096 h 2787308"/>
                    <a:gd name="connsiteX2" fmla="*/ 1275595 w 2124821"/>
                    <a:gd name="connsiteY2" fmla="*/ 529977 h 2787308"/>
                    <a:gd name="connsiteX3" fmla="*/ 1629494 w 2124821"/>
                    <a:gd name="connsiteY3" fmla="*/ 1545910 h 2787308"/>
                    <a:gd name="connsiteX4" fmla="*/ 1717968 w 2124821"/>
                    <a:gd name="connsiteY4" fmla="*/ 2729638 h 2787308"/>
                    <a:gd name="connsiteX5" fmla="*/ 201698 w 2124821"/>
                    <a:gd name="connsiteY5" fmla="*/ 2171333 h 2787308"/>
                    <a:gd name="connsiteX6" fmla="*/ 341 w 2124821"/>
                    <a:gd name="connsiteY6" fmla="*/ 75401 h 27873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24821" h="2787308">
                      <a:moveTo>
                        <a:pt x="341" y="75401"/>
                      </a:moveTo>
                      <a:cubicBezTo>
                        <a:pt x="-11862" y="-101548"/>
                        <a:pt x="305426" y="66248"/>
                        <a:pt x="561697" y="237096"/>
                      </a:cubicBezTo>
                      <a:cubicBezTo>
                        <a:pt x="805765" y="398791"/>
                        <a:pt x="1126104" y="359130"/>
                        <a:pt x="1275595" y="529977"/>
                      </a:cubicBezTo>
                      <a:cubicBezTo>
                        <a:pt x="1364070" y="630655"/>
                        <a:pt x="1101698" y="1216417"/>
                        <a:pt x="1629494" y="1545910"/>
                      </a:cubicBezTo>
                      <a:cubicBezTo>
                        <a:pt x="2248816" y="1933367"/>
                        <a:pt x="2297629" y="2595401"/>
                        <a:pt x="1717968" y="2729638"/>
                      </a:cubicBezTo>
                      <a:cubicBezTo>
                        <a:pt x="1138307" y="2863875"/>
                        <a:pt x="378646" y="2796757"/>
                        <a:pt x="201698" y="2171333"/>
                      </a:cubicBezTo>
                      <a:cubicBezTo>
                        <a:pt x="-11862" y="1399468"/>
                        <a:pt x="341" y="75401"/>
                        <a:pt x="341" y="75401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33ED80FE-FE91-493F-B34E-B7C5C24A1915}"/>
                    </a:ext>
                  </a:extLst>
                </p:cNvPr>
                <p:cNvSpPr/>
                <p:nvPr/>
              </p:nvSpPr>
              <p:spPr>
                <a:xfrm>
                  <a:off x="15438937" y="9707880"/>
                  <a:ext cx="1080857" cy="649365"/>
                </a:xfrm>
                <a:custGeom>
                  <a:avLst/>
                  <a:gdLst>
                    <a:gd name="connsiteX0" fmla="*/ 22928 w 1080857"/>
                    <a:gd name="connsiteY0" fmla="*/ 348754 h 649365"/>
                    <a:gd name="connsiteX1" fmla="*/ 193776 w 1080857"/>
                    <a:gd name="connsiteY1" fmla="*/ 492144 h 649365"/>
                    <a:gd name="connsiteX2" fmla="*/ 349369 w 1080857"/>
                    <a:gd name="connsiteY2" fmla="*/ 559262 h 649365"/>
                    <a:gd name="connsiteX3" fmla="*/ 422590 w 1080857"/>
                    <a:gd name="connsiteY3" fmla="*/ 583669 h 649365"/>
                    <a:gd name="connsiteX4" fmla="*/ 916826 w 1080857"/>
                    <a:gd name="connsiteY4" fmla="*/ 647736 h 649365"/>
                    <a:gd name="connsiteX5" fmla="*/ 941234 w 1080857"/>
                    <a:gd name="connsiteY5" fmla="*/ 644686 h 649365"/>
                    <a:gd name="connsiteX6" fmla="*/ 1078522 w 1080857"/>
                    <a:gd name="connsiteY6" fmla="*/ 537907 h 649365"/>
                    <a:gd name="connsiteX7" fmla="*/ 529369 w 1080857"/>
                    <a:gd name="connsiteY7" fmla="*/ 333499 h 649365"/>
                    <a:gd name="connsiteX8" fmla="*/ 504962 w 1080857"/>
                    <a:gd name="connsiteY8" fmla="*/ 327397 h 649365"/>
                    <a:gd name="connsiteX9" fmla="*/ 312759 w 1080857"/>
                    <a:gd name="connsiteY9" fmla="*/ 190109 h 649365"/>
                    <a:gd name="connsiteX10" fmla="*/ 32080 w 1080857"/>
                    <a:gd name="connsiteY10" fmla="*/ 957 h 649365"/>
                    <a:gd name="connsiteX11" fmla="*/ 22928 w 1080857"/>
                    <a:gd name="connsiteY11" fmla="*/ 348754 h 6493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080857" h="649365">
                      <a:moveTo>
                        <a:pt x="22928" y="348754"/>
                      </a:moveTo>
                      <a:cubicBezTo>
                        <a:pt x="29030" y="385364"/>
                        <a:pt x="93097" y="440279"/>
                        <a:pt x="193776" y="492144"/>
                      </a:cubicBezTo>
                      <a:cubicBezTo>
                        <a:pt x="239539" y="516550"/>
                        <a:pt x="291403" y="537907"/>
                        <a:pt x="349369" y="559262"/>
                      </a:cubicBezTo>
                      <a:cubicBezTo>
                        <a:pt x="373776" y="568415"/>
                        <a:pt x="398182" y="574516"/>
                        <a:pt x="422590" y="583669"/>
                      </a:cubicBezTo>
                      <a:cubicBezTo>
                        <a:pt x="569030" y="626381"/>
                        <a:pt x="742929" y="656889"/>
                        <a:pt x="916826" y="647736"/>
                      </a:cubicBezTo>
                      <a:cubicBezTo>
                        <a:pt x="925979" y="647736"/>
                        <a:pt x="932081" y="647736"/>
                        <a:pt x="941234" y="644686"/>
                      </a:cubicBezTo>
                      <a:cubicBezTo>
                        <a:pt x="1032759" y="635533"/>
                        <a:pt x="1093776" y="595872"/>
                        <a:pt x="1078522" y="537907"/>
                      </a:cubicBezTo>
                      <a:cubicBezTo>
                        <a:pt x="1044962" y="409771"/>
                        <a:pt x="666657" y="364008"/>
                        <a:pt x="529369" y="333499"/>
                      </a:cubicBezTo>
                      <a:cubicBezTo>
                        <a:pt x="520216" y="330448"/>
                        <a:pt x="511064" y="330448"/>
                        <a:pt x="504962" y="327397"/>
                      </a:cubicBezTo>
                      <a:cubicBezTo>
                        <a:pt x="462250" y="315194"/>
                        <a:pt x="389030" y="254177"/>
                        <a:pt x="312759" y="190109"/>
                      </a:cubicBezTo>
                      <a:cubicBezTo>
                        <a:pt x="196827" y="95534"/>
                        <a:pt x="74793" y="-11246"/>
                        <a:pt x="32080" y="957"/>
                      </a:cubicBezTo>
                      <a:cubicBezTo>
                        <a:pt x="-16732" y="13160"/>
                        <a:pt x="-1478" y="220618"/>
                        <a:pt x="22928" y="34875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B78A8220-07A3-4669-B38B-A87BB6A93FCE}"/>
                    </a:ext>
                  </a:extLst>
                </p:cNvPr>
                <p:cNvSpPr/>
                <p:nvPr/>
              </p:nvSpPr>
              <p:spPr>
                <a:xfrm>
                  <a:off x="15429645" y="9701009"/>
                  <a:ext cx="1087813" cy="660709"/>
                </a:xfrm>
                <a:custGeom>
                  <a:avLst/>
                  <a:gdLst>
                    <a:gd name="connsiteX0" fmla="*/ 852898 w 1087813"/>
                    <a:gd name="connsiteY0" fmla="*/ 660709 h 660709"/>
                    <a:gd name="connsiteX1" fmla="*/ 425779 w 1087813"/>
                    <a:gd name="connsiteY1" fmla="*/ 596641 h 660709"/>
                    <a:gd name="connsiteX2" fmla="*/ 352559 w 1087813"/>
                    <a:gd name="connsiteY2" fmla="*/ 572235 h 660709"/>
                    <a:gd name="connsiteX3" fmla="*/ 196965 w 1087813"/>
                    <a:gd name="connsiteY3" fmla="*/ 505116 h 660709"/>
                    <a:gd name="connsiteX4" fmla="*/ 23068 w 1087813"/>
                    <a:gd name="connsiteY4" fmla="*/ 358676 h 660709"/>
                    <a:gd name="connsiteX5" fmla="*/ 23068 w 1087813"/>
                    <a:gd name="connsiteY5" fmla="*/ 358676 h 660709"/>
                    <a:gd name="connsiteX6" fmla="*/ 32220 w 1087813"/>
                    <a:gd name="connsiteY6" fmla="*/ 1726 h 660709"/>
                    <a:gd name="connsiteX7" fmla="*/ 285440 w 1087813"/>
                    <a:gd name="connsiteY7" fmla="*/ 163422 h 660709"/>
                    <a:gd name="connsiteX8" fmla="*/ 315948 w 1087813"/>
                    <a:gd name="connsiteY8" fmla="*/ 187828 h 660709"/>
                    <a:gd name="connsiteX9" fmla="*/ 508152 w 1087813"/>
                    <a:gd name="connsiteY9" fmla="*/ 325116 h 660709"/>
                    <a:gd name="connsiteX10" fmla="*/ 532559 w 1087813"/>
                    <a:gd name="connsiteY10" fmla="*/ 331218 h 660709"/>
                    <a:gd name="connsiteX11" fmla="*/ 532559 w 1087813"/>
                    <a:gd name="connsiteY11" fmla="*/ 331218 h 660709"/>
                    <a:gd name="connsiteX12" fmla="*/ 627135 w 1087813"/>
                    <a:gd name="connsiteY12" fmla="*/ 349523 h 660709"/>
                    <a:gd name="connsiteX13" fmla="*/ 1084762 w 1087813"/>
                    <a:gd name="connsiteY13" fmla="*/ 538676 h 660709"/>
                    <a:gd name="connsiteX14" fmla="*/ 1075610 w 1087813"/>
                    <a:gd name="connsiteY14" fmla="*/ 593590 h 660709"/>
                    <a:gd name="connsiteX15" fmla="*/ 941372 w 1087813"/>
                    <a:gd name="connsiteY15" fmla="*/ 651557 h 660709"/>
                    <a:gd name="connsiteX16" fmla="*/ 916966 w 1087813"/>
                    <a:gd name="connsiteY16" fmla="*/ 654607 h 660709"/>
                    <a:gd name="connsiteX17" fmla="*/ 852898 w 1087813"/>
                    <a:gd name="connsiteY17" fmla="*/ 660709 h 660709"/>
                    <a:gd name="connsiteX18" fmla="*/ 35271 w 1087813"/>
                    <a:gd name="connsiteY18" fmla="*/ 355625 h 660709"/>
                    <a:gd name="connsiteX19" fmla="*/ 203067 w 1087813"/>
                    <a:gd name="connsiteY19" fmla="*/ 492913 h 660709"/>
                    <a:gd name="connsiteX20" fmla="*/ 358661 w 1087813"/>
                    <a:gd name="connsiteY20" fmla="*/ 560032 h 660709"/>
                    <a:gd name="connsiteX21" fmla="*/ 431881 w 1087813"/>
                    <a:gd name="connsiteY21" fmla="*/ 584438 h 660709"/>
                    <a:gd name="connsiteX22" fmla="*/ 923068 w 1087813"/>
                    <a:gd name="connsiteY22" fmla="*/ 645455 h 660709"/>
                    <a:gd name="connsiteX23" fmla="*/ 947474 w 1087813"/>
                    <a:gd name="connsiteY23" fmla="*/ 642404 h 660709"/>
                    <a:gd name="connsiteX24" fmla="*/ 1072559 w 1087813"/>
                    <a:gd name="connsiteY24" fmla="*/ 590540 h 660709"/>
                    <a:gd name="connsiteX25" fmla="*/ 1078660 w 1087813"/>
                    <a:gd name="connsiteY25" fmla="*/ 544778 h 660709"/>
                    <a:gd name="connsiteX26" fmla="*/ 630186 w 1087813"/>
                    <a:gd name="connsiteY26" fmla="*/ 361727 h 660709"/>
                    <a:gd name="connsiteX27" fmla="*/ 535610 w 1087813"/>
                    <a:gd name="connsiteY27" fmla="*/ 343421 h 660709"/>
                    <a:gd name="connsiteX28" fmla="*/ 535610 w 1087813"/>
                    <a:gd name="connsiteY28" fmla="*/ 343421 h 660709"/>
                    <a:gd name="connsiteX29" fmla="*/ 511203 w 1087813"/>
                    <a:gd name="connsiteY29" fmla="*/ 337319 h 660709"/>
                    <a:gd name="connsiteX30" fmla="*/ 315948 w 1087813"/>
                    <a:gd name="connsiteY30" fmla="*/ 200031 h 660709"/>
                    <a:gd name="connsiteX31" fmla="*/ 285440 w 1087813"/>
                    <a:gd name="connsiteY31" fmla="*/ 175625 h 660709"/>
                    <a:gd name="connsiteX32" fmla="*/ 41372 w 1087813"/>
                    <a:gd name="connsiteY32" fmla="*/ 13929 h 660709"/>
                    <a:gd name="connsiteX33" fmla="*/ 35271 w 1087813"/>
                    <a:gd name="connsiteY33" fmla="*/ 355625 h 6607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1087813" h="660709">
                      <a:moveTo>
                        <a:pt x="852898" y="660709"/>
                      </a:moveTo>
                      <a:cubicBezTo>
                        <a:pt x="682050" y="660709"/>
                        <a:pt x="529508" y="627150"/>
                        <a:pt x="425779" y="596641"/>
                      </a:cubicBezTo>
                      <a:cubicBezTo>
                        <a:pt x="404423" y="590540"/>
                        <a:pt x="380016" y="581387"/>
                        <a:pt x="352559" y="572235"/>
                      </a:cubicBezTo>
                      <a:cubicBezTo>
                        <a:pt x="294593" y="550879"/>
                        <a:pt x="242728" y="529523"/>
                        <a:pt x="196965" y="505116"/>
                      </a:cubicBezTo>
                      <a:cubicBezTo>
                        <a:pt x="96288" y="453252"/>
                        <a:pt x="32220" y="398336"/>
                        <a:pt x="23068" y="358676"/>
                      </a:cubicBezTo>
                      <a:lnTo>
                        <a:pt x="23068" y="358676"/>
                      </a:lnTo>
                      <a:cubicBezTo>
                        <a:pt x="1711" y="242743"/>
                        <a:pt x="-19645" y="20031"/>
                        <a:pt x="32220" y="1726"/>
                      </a:cubicBezTo>
                      <a:cubicBezTo>
                        <a:pt x="74931" y="-13528"/>
                        <a:pt x="178660" y="74946"/>
                        <a:pt x="285440" y="163422"/>
                      </a:cubicBezTo>
                      <a:lnTo>
                        <a:pt x="315948" y="187828"/>
                      </a:lnTo>
                      <a:cubicBezTo>
                        <a:pt x="389169" y="248845"/>
                        <a:pt x="465440" y="309862"/>
                        <a:pt x="508152" y="325116"/>
                      </a:cubicBezTo>
                      <a:cubicBezTo>
                        <a:pt x="514253" y="328167"/>
                        <a:pt x="523406" y="328167"/>
                        <a:pt x="532559" y="331218"/>
                      </a:cubicBezTo>
                      <a:lnTo>
                        <a:pt x="532559" y="331218"/>
                      </a:lnTo>
                      <a:cubicBezTo>
                        <a:pt x="556966" y="337319"/>
                        <a:pt x="590524" y="343421"/>
                        <a:pt x="627135" y="349523"/>
                      </a:cubicBezTo>
                      <a:cubicBezTo>
                        <a:pt x="797983" y="383082"/>
                        <a:pt x="1057305" y="431896"/>
                        <a:pt x="1084762" y="538676"/>
                      </a:cubicBezTo>
                      <a:cubicBezTo>
                        <a:pt x="1090864" y="560032"/>
                        <a:pt x="1087813" y="578336"/>
                        <a:pt x="1075610" y="593590"/>
                      </a:cubicBezTo>
                      <a:cubicBezTo>
                        <a:pt x="1054254" y="624099"/>
                        <a:pt x="1008491" y="645455"/>
                        <a:pt x="941372" y="651557"/>
                      </a:cubicBezTo>
                      <a:cubicBezTo>
                        <a:pt x="932220" y="651557"/>
                        <a:pt x="926118" y="654607"/>
                        <a:pt x="916966" y="654607"/>
                      </a:cubicBezTo>
                      <a:cubicBezTo>
                        <a:pt x="898660" y="657658"/>
                        <a:pt x="877305" y="660709"/>
                        <a:pt x="852898" y="660709"/>
                      </a:cubicBezTo>
                      <a:close/>
                      <a:moveTo>
                        <a:pt x="35271" y="355625"/>
                      </a:moveTo>
                      <a:cubicBezTo>
                        <a:pt x="41372" y="392235"/>
                        <a:pt x="105440" y="444099"/>
                        <a:pt x="203067" y="492913"/>
                      </a:cubicBezTo>
                      <a:cubicBezTo>
                        <a:pt x="248830" y="517319"/>
                        <a:pt x="300694" y="538676"/>
                        <a:pt x="358661" y="560032"/>
                      </a:cubicBezTo>
                      <a:cubicBezTo>
                        <a:pt x="386118" y="569184"/>
                        <a:pt x="407474" y="578336"/>
                        <a:pt x="431881" y="584438"/>
                      </a:cubicBezTo>
                      <a:cubicBezTo>
                        <a:pt x="547813" y="617998"/>
                        <a:pt x="724762" y="657658"/>
                        <a:pt x="923068" y="645455"/>
                      </a:cubicBezTo>
                      <a:cubicBezTo>
                        <a:pt x="932220" y="645455"/>
                        <a:pt x="938322" y="645455"/>
                        <a:pt x="947474" y="642404"/>
                      </a:cubicBezTo>
                      <a:cubicBezTo>
                        <a:pt x="1008491" y="636303"/>
                        <a:pt x="1054254" y="617998"/>
                        <a:pt x="1072559" y="590540"/>
                      </a:cubicBezTo>
                      <a:cubicBezTo>
                        <a:pt x="1081711" y="578336"/>
                        <a:pt x="1084762" y="560032"/>
                        <a:pt x="1078660" y="544778"/>
                      </a:cubicBezTo>
                      <a:cubicBezTo>
                        <a:pt x="1051203" y="444099"/>
                        <a:pt x="785779" y="392235"/>
                        <a:pt x="630186" y="361727"/>
                      </a:cubicBezTo>
                      <a:cubicBezTo>
                        <a:pt x="593575" y="355625"/>
                        <a:pt x="560016" y="349523"/>
                        <a:pt x="535610" y="343421"/>
                      </a:cubicBezTo>
                      <a:lnTo>
                        <a:pt x="535610" y="343421"/>
                      </a:lnTo>
                      <a:cubicBezTo>
                        <a:pt x="526457" y="340370"/>
                        <a:pt x="517304" y="340370"/>
                        <a:pt x="511203" y="337319"/>
                      </a:cubicBezTo>
                      <a:cubicBezTo>
                        <a:pt x="468491" y="325116"/>
                        <a:pt x="392219" y="261048"/>
                        <a:pt x="315948" y="200031"/>
                      </a:cubicBezTo>
                      <a:lnTo>
                        <a:pt x="285440" y="175625"/>
                      </a:lnTo>
                      <a:cubicBezTo>
                        <a:pt x="187813" y="93252"/>
                        <a:pt x="77982" y="1726"/>
                        <a:pt x="41372" y="13929"/>
                      </a:cubicBezTo>
                      <a:cubicBezTo>
                        <a:pt x="4762" y="23082"/>
                        <a:pt x="7813" y="209184"/>
                        <a:pt x="35271" y="355625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2DB95A34-8774-4C5C-A7F7-FDE60FEEBE35}"/>
                  </a:ext>
                </a:extLst>
              </p:cNvPr>
              <p:cNvSpPr/>
              <p:nvPr/>
            </p:nvSpPr>
            <p:spPr>
              <a:xfrm>
                <a:off x="15592268" y="9888659"/>
                <a:ext cx="389920" cy="372381"/>
              </a:xfrm>
              <a:custGeom>
                <a:avLst/>
                <a:gdLst>
                  <a:gd name="connsiteX0" fmla="*/ 19089 w 389920"/>
                  <a:gd name="connsiteY0" fmla="*/ 262551 h 372381"/>
                  <a:gd name="connsiteX1" fmla="*/ 40445 w 389920"/>
                  <a:gd name="connsiteY1" fmla="*/ 305263 h 372381"/>
                  <a:gd name="connsiteX2" fmla="*/ 196038 w 389920"/>
                  <a:gd name="connsiteY2" fmla="*/ 372382 h 372381"/>
                  <a:gd name="connsiteX3" fmla="*/ 119767 w 389920"/>
                  <a:gd name="connsiteY3" fmla="*/ 213737 h 372381"/>
                  <a:gd name="connsiteX4" fmla="*/ 153326 w 389920"/>
                  <a:gd name="connsiteY4" fmla="*/ 116110 h 372381"/>
                  <a:gd name="connsiteX5" fmla="*/ 250953 w 389920"/>
                  <a:gd name="connsiteY5" fmla="*/ 149669 h 372381"/>
                  <a:gd name="connsiteX6" fmla="*/ 284513 w 389920"/>
                  <a:gd name="connsiteY6" fmla="*/ 216788 h 372381"/>
                  <a:gd name="connsiteX7" fmla="*/ 357733 w 389920"/>
                  <a:gd name="connsiteY7" fmla="*/ 244246 h 372381"/>
                  <a:gd name="connsiteX8" fmla="*/ 385190 w 389920"/>
                  <a:gd name="connsiteY8" fmla="*/ 171025 h 372381"/>
                  <a:gd name="connsiteX9" fmla="*/ 372987 w 389920"/>
                  <a:gd name="connsiteY9" fmla="*/ 146618 h 372381"/>
                  <a:gd name="connsiteX10" fmla="*/ 351631 w 389920"/>
                  <a:gd name="connsiteY10" fmla="*/ 103906 h 372381"/>
                  <a:gd name="connsiteX11" fmla="*/ 153326 w 389920"/>
                  <a:gd name="connsiteY11" fmla="*/ 3229 h 372381"/>
                  <a:gd name="connsiteX12" fmla="*/ 104513 w 389920"/>
                  <a:gd name="connsiteY12" fmla="*/ 18483 h 372381"/>
                  <a:gd name="connsiteX13" fmla="*/ 19089 w 389920"/>
                  <a:gd name="connsiteY13" fmla="*/ 262551 h 372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89920" h="372381">
                    <a:moveTo>
                      <a:pt x="19089" y="262551"/>
                    </a:moveTo>
                    <a:lnTo>
                      <a:pt x="40445" y="305263"/>
                    </a:lnTo>
                    <a:cubicBezTo>
                      <a:pt x="86208" y="329669"/>
                      <a:pt x="138072" y="351025"/>
                      <a:pt x="196038" y="372382"/>
                    </a:cubicBezTo>
                    <a:lnTo>
                      <a:pt x="119767" y="213737"/>
                    </a:lnTo>
                    <a:cubicBezTo>
                      <a:pt x="101462" y="177127"/>
                      <a:pt x="116716" y="131364"/>
                      <a:pt x="153326" y="116110"/>
                    </a:cubicBezTo>
                    <a:cubicBezTo>
                      <a:pt x="189936" y="97805"/>
                      <a:pt x="235699" y="113060"/>
                      <a:pt x="250953" y="149669"/>
                    </a:cubicBezTo>
                    <a:lnTo>
                      <a:pt x="284513" y="216788"/>
                    </a:lnTo>
                    <a:cubicBezTo>
                      <a:pt x="296716" y="244246"/>
                      <a:pt x="330275" y="256449"/>
                      <a:pt x="357733" y="244246"/>
                    </a:cubicBezTo>
                    <a:cubicBezTo>
                      <a:pt x="385190" y="232042"/>
                      <a:pt x="397394" y="198483"/>
                      <a:pt x="385190" y="171025"/>
                    </a:cubicBezTo>
                    <a:lnTo>
                      <a:pt x="372987" y="146618"/>
                    </a:lnTo>
                    <a:lnTo>
                      <a:pt x="351631" y="103906"/>
                    </a:lnTo>
                    <a:cubicBezTo>
                      <a:pt x="315021" y="27635"/>
                      <a:pt x="232648" y="-12025"/>
                      <a:pt x="153326" y="3229"/>
                    </a:cubicBezTo>
                    <a:cubicBezTo>
                      <a:pt x="138072" y="6280"/>
                      <a:pt x="119767" y="12381"/>
                      <a:pt x="104513" y="18483"/>
                    </a:cubicBezTo>
                    <a:cubicBezTo>
                      <a:pt x="12988" y="58144"/>
                      <a:pt x="-26674" y="171025"/>
                      <a:pt x="19089" y="262551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37569623-29EB-4068-8558-055826055994}"/>
                  </a:ext>
                </a:extLst>
              </p:cNvPr>
              <p:cNvSpPr/>
              <p:nvPr/>
            </p:nvSpPr>
            <p:spPr>
              <a:xfrm>
                <a:off x="15858475" y="10142057"/>
                <a:ext cx="518644" cy="209087"/>
              </a:xfrm>
              <a:custGeom>
                <a:avLst/>
                <a:gdLst>
                  <a:gd name="connsiteX0" fmla="*/ 0 w 518644"/>
                  <a:gd name="connsiteY0" fmla="*/ 143390 h 209087"/>
                  <a:gd name="connsiteX1" fmla="*/ 494238 w 518644"/>
                  <a:gd name="connsiteY1" fmla="*/ 207458 h 209087"/>
                  <a:gd name="connsiteX2" fmla="*/ 518644 w 518644"/>
                  <a:gd name="connsiteY2" fmla="*/ 204407 h 209087"/>
                  <a:gd name="connsiteX3" fmla="*/ 247119 w 518644"/>
                  <a:gd name="connsiteY3" fmla="*/ 0 h 209087"/>
                  <a:gd name="connsiteX4" fmla="*/ 0 w 518644"/>
                  <a:gd name="connsiteY4" fmla="*/ 143390 h 209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8644" h="209087">
                    <a:moveTo>
                      <a:pt x="0" y="143390"/>
                    </a:moveTo>
                    <a:cubicBezTo>
                      <a:pt x="146440" y="186102"/>
                      <a:pt x="320339" y="216610"/>
                      <a:pt x="494238" y="207458"/>
                    </a:cubicBezTo>
                    <a:cubicBezTo>
                      <a:pt x="503390" y="207458"/>
                      <a:pt x="509492" y="207458"/>
                      <a:pt x="518644" y="204407"/>
                    </a:cubicBezTo>
                    <a:cubicBezTo>
                      <a:pt x="478983" y="85424"/>
                      <a:pt x="372204" y="0"/>
                      <a:pt x="247119" y="0"/>
                    </a:cubicBezTo>
                    <a:cubicBezTo>
                      <a:pt x="140339" y="0"/>
                      <a:pt x="51865" y="57967"/>
                      <a:pt x="0" y="14339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E67C9028-65C0-4A75-9126-2C32667FD766}"/>
                  </a:ext>
                </a:extLst>
              </p:cNvPr>
              <p:cNvSpPr/>
              <p:nvPr/>
            </p:nvSpPr>
            <p:spPr>
              <a:xfrm>
                <a:off x="16738906" y="11290963"/>
                <a:ext cx="370416" cy="312450"/>
              </a:xfrm>
              <a:custGeom>
                <a:avLst/>
                <a:gdLst>
                  <a:gd name="connsiteX0" fmla="*/ 364314 w 370416"/>
                  <a:gd name="connsiteY0" fmla="*/ 312451 h 312450"/>
                  <a:gd name="connsiteX1" fmla="*/ 358213 w 370416"/>
                  <a:gd name="connsiteY1" fmla="*/ 309400 h 312450"/>
                  <a:gd name="connsiteX2" fmla="*/ 4315 w 370416"/>
                  <a:gd name="connsiteY2" fmla="*/ 10416 h 312450"/>
                  <a:gd name="connsiteX3" fmla="*/ 1264 w 370416"/>
                  <a:gd name="connsiteY3" fmla="*/ 4315 h 312450"/>
                  <a:gd name="connsiteX4" fmla="*/ 7366 w 370416"/>
                  <a:gd name="connsiteY4" fmla="*/ 1264 h 312450"/>
                  <a:gd name="connsiteX5" fmla="*/ 370417 w 370416"/>
                  <a:gd name="connsiteY5" fmla="*/ 306349 h 312450"/>
                  <a:gd name="connsiteX6" fmla="*/ 364314 w 370416"/>
                  <a:gd name="connsiteY6" fmla="*/ 312451 h 312450"/>
                  <a:gd name="connsiteX7" fmla="*/ 364314 w 370416"/>
                  <a:gd name="connsiteY7" fmla="*/ 312451 h 312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416" h="312450">
                    <a:moveTo>
                      <a:pt x="364314" y="312451"/>
                    </a:moveTo>
                    <a:cubicBezTo>
                      <a:pt x="361264" y="312451"/>
                      <a:pt x="361264" y="312451"/>
                      <a:pt x="358213" y="309400"/>
                    </a:cubicBezTo>
                    <a:cubicBezTo>
                      <a:pt x="275840" y="86687"/>
                      <a:pt x="7366" y="13467"/>
                      <a:pt x="4315" y="10416"/>
                    </a:cubicBezTo>
                    <a:cubicBezTo>
                      <a:pt x="1264" y="10416"/>
                      <a:pt x="-1787" y="7366"/>
                      <a:pt x="1264" y="4315"/>
                    </a:cubicBezTo>
                    <a:cubicBezTo>
                      <a:pt x="1264" y="1264"/>
                      <a:pt x="4315" y="-1787"/>
                      <a:pt x="7366" y="1264"/>
                    </a:cubicBezTo>
                    <a:cubicBezTo>
                      <a:pt x="10417" y="1264"/>
                      <a:pt x="284993" y="77535"/>
                      <a:pt x="370417" y="306349"/>
                    </a:cubicBezTo>
                    <a:cubicBezTo>
                      <a:pt x="370417" y="309400"/>
                      <a:pt x="370417" y="312451"/>
                      <a:pt x="364314" y="312451"/>
                    </a:cubicBezTo>
                    <a:cubicBezTo>
                      <a:pt x="364314" y="312451"/>
                      <a:pt x="364314" y="312451"/>
                      <a:pt x="364314" y="31245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55A69F46-59CA-4661-B36E-E1B335B6729B}"/>
                  </a:ext>
                </a:extLst>
              </p:cNvPr>
              <p:cNvSpPr/>
              <p:nvPr/>
            </p:nvSpPr>
            <p:spPr>
              <a:xfrm>
                <a:off x="15523731" y="11130532"/>
                <a:ext cx="86578" cy="472881"/>
              </a:xfrm>
              <a:custGeom>
                <a:avLst/>
                <a:gdLst>
                  <a:gd name="connsiteX0" fmla="*/ 81524 w 86578"/>
                  <a:gd name="connsiteY0" fmla="*/ 472881 h 472881"/>
                  <a:gd name="connsiteX1" fmla="*/ 75422 w 86578"/>
                  <a:gd name="connsiteY1" fmla="*/ 469830 h 472881"/>
                  <a:gd name="connsiteX2" fmla="*/ 41862 w 86578"/>
                  <a:gd name="connsiteY2" fmla="*/ 241017 h 472881"/>
                  <a:gd name="connsiteX3" fmla="*/ 26608 w 86578"/>
                  <a:gd name="connsiteY3" fmla="*/ 3050 h 472881"/>
                  <a:gd name="connsiteX4" fmla="*/ 32710 w 86578"/>
                  <a:gd name="connsiteY4" fmla="*/ 0 h 472881"/>
                  <a:gd name="connsiteX5" fmla="*/ 35761 w 86578"/>
                  <a:gd name="connsiteY5" fmla="*/ 6101 h 472881"/>
                  <a:gd name="connsiteX6" fmla="*/ 51015 w 86578"/>
                  <a:gd name="connsiteY6" fmla="*/ 231864 h 472881"/>
                  <a:gd name="connsiteX7" fmla="*/ 54066 w 86578"/>
                  <a:gd name="connsiteY7" fmla="*/ 234915 h 472881"/>
                  <a:gd name="connsiteX8" fmla="*/ 54066 w 86578"/>
                  <a:gd name="connsiteY8" fmla="*/ 237966 h 472881"/>
                  <a:gd name="connsiteX9" fmla="*/ 84574 w 86578"/>
                  <a:gd name="connsiteY9" fmla="*/ 463728 h 472881"/>
                  <a:gd name="connsiteX10" fmla="*/ 81524 w 86578"/>
                  <a:gd name="connsiteY10" fmla="*/ 472881 h 472881"/>
                  <a:gd name="connsiteX11" fmla="*/ 81524 w 86578"/>
                  <a:gd name="connsiteY11" fmla="*/ 472881 h 472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6578" h="472881">
                    <a:moveTo>
                      <a:pt x="81524" y="472881"/>
                    </a:moveTo>
                    <a:cubicBezTo>
                      <a:pt x="78473" y="472881"/>
                      <a:pt x="78473" y="472881"/>
                      <a:pt x="75422" y="469830"/>
                    </a:cubicBezTo>
                    <a:cubicBezTo>
                      <a:pt x="26608" y="381356"/>
                      <a:pt x="38811" y="262372"/>
                      <a:pt x="41862" y="241017"/>
                    </a:cubicBezTo>
                    <a:cubicBezTo>
                      <a:pt x="-40510" y="161695"/>
                      <a:pt x="23557" y="9152"/>
                      <a:pt x="26608" y="3050"/>
                    </a:cubicBezTo>
                    <a:cubicBezTo>
                      <a:pt x="26608" y="0"/>
                      <a:pt x="29659" y="0"/>
                      <a:pt x="32710" y="0"/>
                    </a:cubicBezTo>
                    <a:cubicBezTo>
                      <a:pt x="35761" y="0"/>
                      <a:pt x="35761" y="3050"/>
                      <a:pt x="35761" y="6101"/>
                    </a:cubicBezTo>
                    <a:cubicBezTo>
                      <a:pt x="35761" y="6101"/>
                      <a:pt x="-31358" y="158644"/>
                      <a:pt x="51015" y="231864"/>
                    </a:cubicBezTo>
                    <a:lnTo>
                      <a:pt x="54066" y="234915"/>
                    </a:lnTo>
                    <a:lnTo>
                      <a:pt x="54066" y="237966"/>
                    </a:lnTo>
                    <a:cubicBezTo>
                      <a:pt x="54066" y="237966"/>
                      <a:pt x="35761" y="372203"/>
                      <a:pt x="84574" y="463728"/>
                    </a:cubicBezTo>
                    <a:cubicBezTo>
                      <a:pt x="87625" y="466779"/>
                      <a:pt x="87625" y="469830"/>
                      <a:pt x="81524" y="472881"/>
                    </a:cubicBezTo>
                    <a:cubicBezTo>
                      <a:pt x="84574" y="472881"/>
                      <a:pt x="81524" y="472881"/>
                      <a:pt x="81524" y="47288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6535AEFE-14D3-4206-B3DD-8F08AEF6B834}"/>
                  </a:ext>
                </a:extLst>
              </p:cNvPr>
              <p:cNvSpPr/>
              <p:nvPr/>
            </p:nvSpPr>
            <p:spPr>
              <a:xfrm>
                <a:off x="16460255" y="12095362"/>
                <a:ext cx="311779" cy="87712"/>
              </a:xfrm>
              <a:custGeom>
                <a:avLst/>
                <a:gdLst>
                  <a:gd name="connsiteX0" fmla="*/ 182288 w 311779"/>
                  <a:gd name="connsiteY0" fmla="*/ 87713 h 87712"/>
                  <a:gd name="connsiteX1" fmla="*/ 2288 w 311779"/>
                  <a:gd name="connsiteY1" fmla="*/ 11441 h 87712"/>
                  <a:gd name="connsiteX2" fmla="*/ 2288 w 311779"/>
                  <a:gd name="connsiteY2" fmla="*/ 2288 h 87712"/>
                  <a:gd name="connsiteX3" fmla="*/ 11441 w 311779"/>
                  <a:gd name="connsiteY3" fmla="*/ 2288 h 87712"/>
                  <a:gd name="connsiteX4" fmla="*/ 301271 w 311779"/>
                  <a:gd name="connsiteY4" fmla="*/ 35848 h 87712"/>
                  <a:gd name="connsiteX5" fmla="*/ 310423 w 311779"/>
                  <a:gd name="connsiteY5" fmla="*/ 35848 h 87712"/>
                  <a:gd name="connsiteX6" fmla="*/ 310423 w 311779"/>
                  <a:gd name="connsiteY6" fmla="*/ 45000 h 87712"/>
                  <a:gd name="connsiteX7" fmla="*/ 182288 w 311779"/>
                  <a:gd name="connsiteY7" fmla="*/ 87713 h 87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779" h="87712">
                    <a:moveTo>
                      <a:pt x="182288" y="87713"/>
                    </a:moveTo>
                    <a:cubicBezTo>
                      <a:pt x="78559" y="87713"/>
                      <a:pt x="2288" y="11441"/>
                      <a:pt x="2288" y="11441"/>
                    </a:cubicBezTo>
                    <a:cubicBezTo>
                      <a:pt x="-763" y="8390"/>
                      <a:pt x="-763" y="5339"/>
                      <a:pt x="2288" y="2288"/>
                    </a:cubicBezTo>
                    <a:cubicBezTo>
                      <a:pt x="5339" y="-763"/>
                      <a:pt x="8390" y="-763"/>
                      <a:pt x="11441" y="2288"/>
                    </a:cubicBezTo>
                    <a:cubicBezTo>
                      <a:pt x="17542" y="8390"/>
                      <a:pt x="151780" y="139576"/>
                      <a:pt x="301271" y="35848"/>
                    </a:cubicBezTo>
                    <a:cubicBezTo>
                      <a:pt x="304322" y="32797"/>
                      <a:pt x="307372" y="35848"/>
                      <a:pt x="310423" y="35848"/>
                    </a:cubicBezTo>
                    <a:cubicBezTo>
                      <a:pt x="313474" y="38899"/>
                      <a:pt x="310423" y="41950"/>
                      <a:pt x="310423" y="45000"/>
                    </a:cubicBezTo>
                    <a:cubicBezTo>
                      <a:pt x="261610" y="75508"/>
                      <a:pt x="221949" y="87713"/>
                      <a:pt x="182288" y="8771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C533C114-B280-4BCD-8CD4-A22D307D1957}"/>
                </a:ext>
              </a:extLst>
            </p:cNvPr>
            <p:cNvSpPr/>
            <p:nvPr/>
          </p:nvSpPr>
          <p:spPr>
            <a:xfrm>
              <a:off x="14636780" y="9242058"/>
              <a:ext cx="126440" cy="70169"/>
            </a:xfrm>
            <a:custGeom>
              <a:avLst/>
              <a:gdLst>
                <a:gd name="connsiteX0" fmla="*/ 74576 w 126440"/>
                <a:gd name="connsiteY0" fmla="*/ 70170 h 70169"/>
                <a:gd name="connsiteX1" fmla="*/ 74576 w 126440"/>
                <a:gd name="connsiteY1" fmla="*/ 70170 h 70169"/>
                <a:gd name="connsiteX2" fmla="*/ 68475 w 126440"/>
                <a:gd name="connsiteY2" fmla="*/ 61017 h 70169"/>
                <a:gd name="connsiteX3" fmla="*/ 105085 w 126440"/>
                <a:gd name="connsiteY3" fmla="*/ 15254 h 70169"/>
                <a:gd name="connsiteX4" fmla="*/ 10508 w 126440"/>
                <a:gd name="connsiteY4" fmla="*/ 42712 h 70169"/>
                <a:gd name="connsiteX5" fmla="*/ 1356 w 126440"/>
                <a:gd name="connsiteY5" fmla="*/ 42712 h 70169"/>
                <a:gd name="connsiteX6" fmla="*/ 1356 w 126440"/>
                <a:gd name="connsiteY6" fmla="*/ 33559 h 70169"/>
                <a:gd name="connsiteX7" fmla="*/ 120339 w 126440"/>
                <a:gd name="connsiteY7" fmla="*/ 0 h 70169"/>
                <a:gd name="connsiteX8" fmla="*/ 126441 w 126440"/>
                <a:gd name="connsiteY8" fmla="*/ 3051 h 70169"/>
                <a:gd name="connsiteX9" fmla="*/ 123390 w 126440"/>
                <a:gd name="connsiteY9" fmla="*/ 9153 h 70169"/>
                <a:gd name="connsiteX10" fmla="*/ 74576 w 126440"/>
                <a:gd name="connsiteY10" fmla="*/ 64068 h 70169"/>
                <a:gd name="connsiteX11" fmla="*/ 74576 w 126440"/>
                <a:gd name="connsiteY11" fmla="*/ 70170 h 7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6440" h="70169">
                  <a:moveTo>
                    <a:pt x="74576" y="70170"/>
                  </a:moveTo>
                  <a:cubicBezTo>
                    <a:pt x="74576" y="70170"/>
                    <a:pt x="74576" y="70170"/>
                    <a:pt x="74576" y="70170"/>
                  </a:cubicBezTo>
                  <a:cubicBezTo>
                    <a:pt x="68475" y="67119"/>
                    <a:pt x="68475" y="64068"/>
                    <a:pt x="68475" y="61017"/>
                  </a:cubicBezTo>
                  <a:cubicBezTo>
                    <a:pt x="74576" y="45763"/>
                    <a:pt x="92881" y="27457"/>
                    <a:pt x="105085" y="15254"/>
                  </a:cubicBezTo>
                  <a:cubicBezTo>
                    <a:pt x="71525" y="21356"/>
                    <a:pt x="22712" y="33559"/>
                    <a:pt x="10508" y="42712"/>
                  </a:cubicBezTo>
                  <a:cubicBezTo>
                    <a:pt x="7458" y="45763"/>
                    <a:pt x="4407" y="42712"/>
                    <a:pt x="1356" y="42712"/>
                  </a:cubicBezTo>
                  <a:cubicBezTo>
                    <a:pt x="-1695" y="39661"/>
                    <a:pt x="1356" y="36610"/>
                    <a:pt x="1356" y="33559"/>
                  </a:cubicBezTo>
                  <a:cubicBezTo>
                    <a:pt x="22712" y="18305"/>
                    <a:pt x="111187" y="3051"/>
                    <a:pt x="120339" y="0"/>
                  </a:cubicBezTo>
                  <a:cubicBezTo>
                    <a:pt x="123390" y="0"/>
                    <a:pt x="126441" y="0"/>
                    <a:pt x="126441" y="3051"/>
                  </a:cubicBezTo>
                  <a:cubicBezTo>
                    <a:pt x="126441" y="6102"/>
                    <a:pt x="126441" y="9153"/>
                    <a:pt x="123390" y="9153"/>
                  </a:cubicBezTo>
                  <a:cubicBezTo>
                    <a:pt x="123390" y="9153"/>
                    <a:pt x="86779" y="39661"/>
                    <a:pt x="74576" y="64068"/>
                  </a:cubicBezTo>
                  <a:cubicBezTo>
                    <a:pt x="80678" y="70170"/>
                    <a:pt x="77627" y="70170"/>
                    <a:pt x="74576" y="70170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E0DA3DDA-3650-4B39-9620-E9B6ADBAD74A}"/>
                </a:ext>
              </a:extLst>
            </p:cNvPr>
            <p:cNvSpPr/>
            <p:nvPr/>
          </p:nvSpPr>
          <p:spPr>
            <a:xfrm>
              <a:off x="14262882" y="8705108"/>
              <a:ext cx="933558" cy="1028135"/>
            </a:xfrm>
            <a:custGeom>
              <a:avLst/>
              <a:gdLst>
                <a:gd name="connsiteX0" fmla="*/ 857287 w 933558"/>
                <a:gd name="connsiteY0" fmla="*/ 1028136 h 1028135"/>
                <a:gd name="connsiteX1" fmla="*/ 176949 w 933558"/>
                <a:gd name="connsiteY1" fmla="*/ 765763 h 1028135"/>
                <a:gd name="connsiteX2" fmla="*/ 0 w 933558"/>
                <a:gd name="connsiteY2" fmla="*/ 6102 h 1028135"/>
                <a:gd name="connsiteX3" fmla="*/ 6101 w 933558"/>
                <a:gd name="connsiteY3" fmla="*/ 0 h 1028135"/>
                <a:gd name="connsiteX4" fmla="*/ 12203 w 933558"/>
                <a:gd name="connsiteY4" fmla="*/ 6102 h 1028135"/>
                <a:gd name="connsiteX5" fmla="*/ 186101 w 933558"/>
                <a:gd name="connsiteY5" fmla="*/ 759661 h 1028135"/>
                <a:gd name="connsiteX6" fmla="*/ 927457 w 933558"/>
                <a:gd name="connsiteY6" fmla="*/ 1012881 h 1028135"/>
                <a:gd name="connsiteX7" fmla="*/ 933559 w 933558"/>
                <a:gd name="connsiteY7" fmla="*/ 1015932 h 1028135"/>
                <a:gd name="connsiteX8" fmla="*/ 930509 w 933558"/>
                <a:gd name="connsiteY8" fmla="*/ 1022034 h 1028135"/>
                <a:gd name="connsiteX9" fmla="*/ 857287 w 933558"/>
                <a:gd name="connsiteY9" fmla="*/ 1028136 h 102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3558" h="1028135">
                  <a:moveTo>
                    <a:pt x="857287" y="1028136"/>
                  </a:moveTo>
                  <a:cubicBezTo>
                    <a:pt x="640678" y="1028136"/>
                    <a:pt x="277626" y="872542"/>
                    <a:pt x="176949" y="765763"/>
                  </a:cubicBezTo>
                  <a:cubicBezTo>
                    <a:pt x="61017" y="643729"/>
                    <a:pt x="3050" y="33560"/>
                    <a:pt x="0" y="6102"/>
                  </a:cubicBezTo>
                  <a:cubicBezTo>
                    <a:pt x="0" y="3051"/>
                    <a:pt x="3050" y="0"/>
                    <a:pt x="6101" y="0"/>
                  </a:cubicBezTo>
                  <a:cubicBezTo>
                    <a:pt x="9152" y="0"/>
                    <a:pt x="12203" y="3051"/>
                    <a:pt x="12203" y="6102"/>
                  </a:cubicBezTo>
                  <a:cubicBezTo>
                    <a:pt x="12203" y="12204"/>
                    <a:pt x="73220" y="640678"/>
                    <a:pt x="186101" y="759661"/>
                  </a:cubicBezTo>
                  <a:cubicBezTo>
                    <a:pt x="298983" y="878644"/>
                    <a:pt x="732203" y="1055593"/>
                    <a:pt x="927457" y="1012881"/>
                  </a:cubicBezTo>
                  <a:cubicBezTo>
                    <a:pt x="930509" y="1012881"/>
                    <a:pt x="933559" y="1012881"/>
                    <a:pt x="933559" y="1015932"/>
                  </a:cubicBezTo>
                  <a:cubicBezTo>
                    <a:pt x="933559" y="1018983"/>
                    <a:pt x="933559" y="1022034"/>
                    <a:pt x="930509" y="1022034"/>
                  </a:cubicBezTo>
                  <a:cubicBezTo>
                    <a:pt x="906101" y="1025084"/>
                    <a:pt x="881695" y="1028136"/>
                    <a:pt x="857287" y="1028136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9" name="图形 1">
              <a:extLst>
                <a:ext uri="{FF2B5EF4-FFF2-40B4-BE49-F238E27FC236}">
                  <a16:creationId xmlns:a16="http://schemas.microsoft.com/office/drawing/2014/main" id="{F469F041-741A-4A96-8692-A9FB4939AEA8}"/>
                </a:ext>
              </a:extLst>
            </p:cNvPr>
            <p:cNvGrpSpPr/>
            <p:nvPr/>
          </p:nvGrpSpPr>
          <p:grpSpPr>
            <a:xfrm>
              <a:off x="15165822" y="9501294"/>
              <a:ext cx="465779" cy="292415"/>
              <a:chOff x="15165822" y="9501294"/>
              <a:chExt cx="465779" cy="292415"/>
            </a:xfrm>
          </p:grpSpPr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05C2B5DA-97A4-462A-AE59-80749730F6E4}"/>
                  </a:ext>
                </a:extLst>
              </p:cNvPr>
              <p:cNvSpPr/>
              <p:nvPr/>
            </p:nvSpPr>
            <p:spPr>
              <a:xfrm>
                <a:off x="15165822" y="9501294"/>
                <a:ext cx="465779" cy="292415"/>
              </a:xfrm>
              <a:custGeom>
                <a:avLst/>
                <a:gdLst>
                  <a:gd name="connsiteX0" fmla="*/ 36721 w 465779"/>
                  <a:gd name="connsiteY0" fmla="*/ 173984 h 292415"/>
                  <a:gd name="connsiteX1" fmla="*/ 140450 w 465779"/>
                  <a:gd name="connsiteY1" fmla="*/ 219746 h 292415"/>
                  <a:gd name="connsiteX2" fmla="*/ 238077 w 465779"/>
                  <a:gd name="connsiteY2" fmla="*/ 268560 h 292415"/>
                  <a:gd name="connsiteX3" fmla="*/ 463840 w 465779"/>
                  <a:gd name="connsiteY3" fmla="*/ 213644 h 292415"/>
                  <a:gd name="connsiteX4" fmla="*/ 308246 w 465779"/>
                  <a:gd name="connsiteY4" fmla="*/ 42797 h 292415"/>
                  <a:gd name="connsiteX5" fmla="*/ 58078 w 465779"/>
                  <a:gd name="connsiteY5" fmla="*/ 85 h 292415"/>
                  <a:gd name="connsiteX6" fmla="*/ 111 w 465779"/>
                  <a:gd name="connsiteY6" fmla="*/ 125170 h 292415"/>
                  <a:gd name="connsiteX7" fmla="*/ 36721 w 465779"/>
                  <a:gd name="connsiteY7" fmla="*/ 173984 h 292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5779" h="292415">
                    <a:moveTo>
                      <a:pt x="36721" y="173984"/>
                    </a:moveTo>
                    <a:cubicBezTo>
                      <a:pt x="70281" y="189238"/>
                      <a:pt x="106890" y="201441"/>
                      <a:pt x="140450" y="219746"/>
                    </a:cubicBezTo>
                    <a:cubicBezTo>
                      <a:pt x="174009" y="238052"/>
                      <a:pt x="204518" y="247204"/>
                      <a:pt x="238077" y="268560"/>
                    </a:cubicBezTo>
                    <a:cubicBezTo>
                      <a:pt x="289941" y="299069"/>
                      <a:pt x="433331" y="317374"/>
                      <a:pt x="463840" y="213644"/>
                    </a:cubicBezTo>
                    <a:cubicBezTo>
                      <a:pt x="485196" y="134323"/>
                      <a:pt x="323501" y="51950"/>
                      <a:pt x="308246" y="42797"/>
                    </a:cubicBezTo>
                    <a:cubicBezTo>
                      <a:pt x="213670" y="3136"/>
                      <a:pt x="155704" y="27543"/>
                      <a:pt x="58078" y="85"/>
                    </a:cubicBezTo>
                    <a:cubicBezTo>
                      <a:pt x="58078" y="-2966"/>
                      <a:pt x="-2939" y="76356"/>
                      <a:pt x="111" y="125170"/>
                    </a:cubicBezTo>
                    <a:cubicBezTo>
                      <a:pt x="3162" y="155678"/>
                      <a:pt x="9264" y="161781"/>
                      <a:pt x="36721" y="173984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2C0514C6-605F-4C56-A8D4-99164C9600DD}"/>
                  </a:ext>
                </a:extLst>
              </p:cNvPr>
              <p:cNvSpPr/>
              <p:nvPr/>
            </p:nvSpPr>
            <p:spPr>
              <a:xfrm>
                <a:off x="15373391" y="9516634"/>
                <a:ext cx="236918" cy="125084"/>
              </a:xfrm>
              <a:custGeom>
                <a:avLst/>
                <a:gdLst>
                  <a:gd name="connsiteX0" fmla="*/ 231865 w 236918"/>
                  <a:gd name="connsiteY0" fmla="*/ 125084 h 125084"/>
                  <a:gd name="connsiteX1" fmla="*/ 225763 w 236918"/>
                  <a:gd name="connsiteY1" fmla="*/ 122033 h 125084"/>
                  <a:gd name="connsiteX2" fmla="*/ 6101 w 236918"/>
                  <a:gd name="connsiteY2" fmla="*/ 12203 h 125084"/>
                  <a:gd name="connsiteX3" fmla="*/ 0 w 236918"/>
                  <a:gd name="connsiteY3" fmla="*/ 6102 h 125084"/>
                  <a:gd name="connsiteX4" fmla="*/ 6101 w 236918"/>
                  <a:gd name="connsiteY4" fmla="*/ 0 h 125084"/>
                  <a:gd name="connsiteX5" fmla="*/ 6101 w 236918"/>
                  <a:gd name="connsiteY5" fmla="*/ 0 h 125084"/>
                  <a:gd name="connsiteX6" fmla="*/ 234915 w 236918"/>
                  <a:gd name="connsiteY6" fmla="*/ 115932 h 125084"/>
                  <a:gd name="connsiteX7" fmla="*/ 231865 w 236918"/>
                  <a:gd name="connsiteY7" fmla="*/ 125084 h 125084"/>
                  <a:gd name="connsiteX8" fmla="*/ 231865 w 236918"/>
                  <a:gd name="connsiteY8" fmla="*/ 125084 h 125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6918" h="125084">
                    <a:moveTo>
                      <a:pt x="231865" y="125084"/>
                    </a:moveTo>
                    <a:cubicBezTo>
                      <a:pt x="228814" y="125084"/>
                      <a:pt x="228814" y="125084"/>
                      <a:pt x="225763" y="122033"/>
                    </a:cubicBezTo>
                    <a:cubicBezTo>
                      <a:pt x="158644" y="18305"/>
                      <a:pt x="9152" y="12203"/>
                      <a:pt x="6101" y="12203"/>
                    </a:cubicBezTo>
                    <a:cubicBezTo>
                      <a:pt x="3051" y="12203"/>
                      <a:pt x="0" y="9153"/>
                      <a:pt x="0" y="6102"/>
                    </a:cubicBezTo>
                    <a:cubicBezTo>
                      <a:pt x="0" y="3051"/>
                      <a:pt x="3051" y="0"/>
                      <a:pt x="6101" y="0"/>
                    </a:cubicBezTo>
                    <a:lnTo>
                      <a:pt x="6101" y="0"/>
                    </a:lnTo>
                    <a:cubicBezTo>
                      <a:pt x="12203" y="0"/>
                      <a:pt x="164746" y="6102"/>
                      <a:pt x="234915" y="115932"/>
                    </a:cubicBezTo>
                    <a:cubicBezTo>
                      <a:pt x="237966" y="118983"/>
                      <a:pt x="237966" y="122033"/>
                      <a:pt x="231865" y="125084"/>
                    </a:cubicBezTo>
                    <a:cubicBezTo>
                      <a:pt x="234915" y="125084"/>
                      <a:pt x="231865" y="125084"/>
                      <a:pt x="231865" y="12508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ADBC9C4E-E692-4E78-B41C-8EF4B6145D66}"/>
                  </a:ext>
                </a:extLst>
              </p:cNvPr>
              <p:cNvSpPr/>
              <p:nvPr/>
            </p:nvSpPr>
            <p:spPr>
              <a:xfrm>
                <a:off x="15395509" y="9623413"/>
                <a:ext cx="69407" cy="85424"/>
              </a:xfrm>
              <a:custGeom>
                <a:avLst/>
                <a:gdLst>
                  <a:gd name="connsiteX0" fmla="*/ 5339 w 69407"/>
                  <a:gd name="connsiteY0" fmla="*/ 85424 h 85424"/>
                  <a:gd name="connsiteX1" fmla="*/ 2288 w 69407"/>
                  <a:gd name="connsiteY1" fmla="*/ 85424 h 85424"/>
                  <a:gd name="connsiteX2" fmla="*/ 2288 w 69407"/>
                  <a:gd name="connsiteY2" fmla="*/ 76271 h 85424"/>
                  <a:gd name="connsiteX3" fmla="*/ 60254 w 69407"/>
                  <a:gd name="connsiteY3" fmla="*/ 3051 h 85424"/>
                  <a:gd name="connsiteX4" fmla="*/ 66356 w 69407"/>
                  <a:gd name="connsiteY4" fmla="*/ 0 h 85424"/>
                  <a:gd name="connsiteX5" fmla="*/ 69407 w 69407"/>
                  <a:gd name="connsiteY5" fmla="*/ 6102 h 85424"/>
                  <a:gd name="connsiteX6" fmla="*/ 11441 w 69407"/>
                  <a:gd name="connsiteY6" fmla="*/ 82373 h 85424"/>
                  <a:gd name="connsiteX7" fmla="*/ 5339 w 69407"/>
                  <a:gd name="connsiteY7" fmla="*/ 85424 h 85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9407" h="85424">
                    <a:moveTo>
                      <a:pt x="5339" y="85424"/>
                    </a:moveTo>
                    <a:cubicBezTo>
                      <a:pt x="5339" y="85424"/>
                      <a:pt x="2288" y="85424"/>
                      <a:pt x="2288" y="85424"/>
                    </a:cubicBezTo>
                    <a:cubicBezTo>
                      <a:pt x="-763" y="82373"/>
                      <a:pt x="-763" y="79322"/>
                      <a:pt x="2288" y="76271"/>
                    </a:cubicBezTo>
                    <a:cubicBezTo>
                      <a:pt x="14491" y="61017"/>
                      <a:pt x="51102" y="21356"/>
                      <a:pt x="60254" y="3051"/>
                    </a:cubicBezTo>
                    <a:cubicBezTo>
                      <a:pt x="60254" y="0"/>
                      <a:pt x="63305" y="0"/>
                      <a:pt x="66356" y="0"/>
                    </a:cubicBezTo>
                    <a:cubicBezTo>
                      <a:pt x="69407" y="0"/>
                      <a:pt x="69407" y="3051"/>
                      <a:pt x="69407" y="6102"/>
                    </a:cubicBezTo>
                    <a:cubicBezTo>
                      <a:pt x="60254" y="27458"/>
                      <a:pt x="11441" y="79322"/>
                      <a:pt x="11441" y="82373"/>
                    </a:cubicBezTo>
                    <a:cubicBezTo>
                      <a:pt x="8390" y="85424"/>
                      <a:pt x="8390" y="85424"/>
                      <a:pt x="5339" y="8542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E2E66298-7ED3-4BE6-9B67-1DF26BAB09A7}"/>
                </a:ext>
              </a:extLst>
            </p:cNvPr>
            <p:cNvSpPr/>
            <p:nvPr/>
          </p:nvSpPr>
          <p:spPr>
            <a:xfrm>
              <a:off x="15183063" y="9447686"/>
              <a:ext cx="134936" cy="332825"/>
            </a:xfrm>
            <a:custGeom>
              <a:avLst/>
              <a:gdLst>
                <a:gd name="connsiteX0" fmla="*/ 4226 w 134936"/>
                <a:gd name="connsiteY0" fmla="*/ 273355 h 332825"/>
                <a:gd name="connsiteX1" fmla="*/ 43887 w 134936"/>
                <a:gd name="connsiteY1" fmla="*/ 53694 h 332825"/>
                <a:gd name="connsiteX2" fmla="*/ 132362 w 134936"/>
                <a:gd name="connsiteY2" fmla="*/ 35388 h 332825"/>
                <a:gd name="connsiteX3" fmla="*/ 86599 w 134936"/>
                <a:gd name="connsiteY3" fmla="*/ 303863 h 332825"/>
                <a:gd name="connsiteX4" fmla="*/ 4226 w 134936"/>
                <a:gd name="connsiteY4" fmla="*/ 273355 h 332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936" h="332825">
                  <a:moveTo>
                    <a:pt x="4226" y="273355"/>
                  </a:moveTo>
                  <a:cubicBezTo>
                    <a:pt x="37786" y="203186"/>
                    <a:pt x="53040" y="129964"/>
                    <a:pt x="43887" y="53694"/>
                  </a:cubicBezTo>
                  <a:cubicBezTo>
                    <a:pt x="37786" y="-4273"/>
                    <a:pt x="129311" y="-22577"/>
                    <a:pt x="132362" y="35388"/>
                  </a:cubicBezTo>
                  <a:cubicBezTo>
                    <a:pt x="141514" y="126914"/>
                    <a:pt x="126260" y="218440"/>
                    <a:pt x="86599" y="303863"/>
                  </a:cubicBezTo>
                  <a:cubicBezTo>
                    <a:pt x="68294" y="358778"/>
                    <a:pt x="-20180" y="328270"/>
                    <a:pt x="4226" y="273355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1" name="图形 1">
              <a:extLst>
                <a:ext uri="{FF2B5EF4-FFF2-40B4-BE49-F238E27FC236}">
                  <a16:creationId xmlns:a16="http://schemas.microsoft.com/office/drawing/2014/main" id="{F41D8F55-1EBE-471A-8FC1-879CE76AFA4A}"/>
                </a:ext>
              </a:extLst>
            </p:cNvPr>
            <p:cNvGrpSpPr/>
            <p:nvPr/>
          </p:nvGrpSpPr>
          <p:grpSpPr>
            <a:xfrm>
              <a:off x="15961632" y="9855278"/>
              <a:ext cx="127568" cy="152542"/>
              <a:chOff x="15961632" y="9855278"/>
              <a:chExt cx="127568" cy="152542"/>
            </a:xfrm>
          </p:grpSpPr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F4C21C40-4D33-4B7B-8C02-4B37171BFC31}"/>
                  </a:ext>
                </a:extLst>
              </p:cNvPr>
              <p:cNvSpPr/>
              <p:nvPr/>
            </p:nvSpPr>
            <p:spPr>
              <a:xfrm>
                <a:off x="15961632" y="9864431"/>
                <a:ext cx="124436" cy="137288"/>
              </a:xfrm>
              <a:custGeom>
                <a:avLst/>
                <a:gdLst>
                  <a:gd name="connsiteX0" fmla="*/ 122606 w 124436"/>
                  <a:gd name="connsiteY0" fmla="*/ 57966 h 137288"/>
                  <a:gd name="connsiteX1" fmla="*/ 28030 w 124436"/>
                  <a:gd name="connsiteY1" fmla="*/ 0 h 137288"/>
                  <a:gd name="connsiteX2" fmla="*/ 572 w 124436"/>
                  <a:gd name="connsiteY2" fmla="*/ 42712 h 137288"/>
                  <a:gd name="connsiteX3" fmla="*/ 37183 w 124436"/>
                  <a:gd name="connsiteY3" fmla="*/ 64067 h 137288"/>
                  <a:gd name="connsiteX4" fmla="*/ 82945 w 124436"/>
                  <a:gd name="connsiteY4" fmla="*/ 109830 h 137288"/>
                  <a:gd name="connsiteX5" fmla="*/ 95149 w 124436"/>
                  <a:gd name="connsiteY5" fmla="*/ 137288 h 137288"/>
                  <a:gd name="connsiteX6" fmla="*/ 122606 w 124436"/>
                  <a:gd name="connsiteY6" fmla="*/ 57966 h 137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4436" h="137288">
                    <a:moveTo>
                      <a:pt x="122606" y="57966"/>
                    </a:moveTo>
                    <a:cubicBezTo>
                      <a:pt x="110403" y="24406"/>
                      <a:pt x="58538" y="0"/>
                      <a:pt x="28030" y="0"/>
                    </a:cubicBezTo>
                    <a:cubicBezTo>
                      <a:pt x="6674" y="0"/>
                      <a:pt x="-2479" y="36610"/>
                      <a:pt x="572" y="42712"/>
                    </a:cubicBezTo>
                    <a:cubicBezTo>
                      <a:pt x="9725" y="61017"/>
                      <a:pt x="24979" y="61017"/>
                      <a:pt x="37183" y="64067"/>
                    </a:cubicBezTo>
                    <a:cubicBezTo>
                      <a:pt x="61589" y="73220"/>
                      <a:pt x="73792" y="88474"/>
                      <a:pt x="82945" y="109830"/>
                    </a:cubicBezTo>
                    <a:cubicBezTo>
                      <a:pt x="85996" y="118983"/>
                      <a:pt x="82945" y="137288"/>
                      <a:pt x="95149" y="137288"/>
                    </a:cubicBezTo>
                    <a:cubicBezTo>
                      <a:pt x="119555" y="137288"/>
                      <a:pt x="128708" y="76271"/>
                      <a:pt x="122606" y="57966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26CCA58C-409F-48D2-9668-31C899299EA1}"/>
                  </a:ext>
                </a:extLst>
              </p:cNvPr>
              <p:cNvSpPr/>
              <p:nvPr/>
            </p:nvSpPr>
            <p:spPr>
              <a:xfrm>
                <a:off x="15980509" y="9855278"/>
                <a:ext cx="108691" cy="152542"/>
              </a:xfrm>
              <a:custGeom>
                <a:avLst/>
                <a:gdLst>
                  <a:gd name="connsiteX0" fmla="*/ 79322 w 108691"/>
                  <a:gd name="connsiteY0" fmla="*/ 152542 h 152542"/>
                  <a:gd name="connsiteX1" fmla="*/ 73220 w 108691"/>
                  <a:gd name="connsiteY1" fmla="*/ 152542 h 152542"/>
                  <a:gd name="connsiteX2" fmla="*/ 57966 w 108691"/>
                  <a:gd name="connsiteY2" fmla="*/ 125085 h 152542"/>
                  <a:gd name="connsiteX3" fmla="*/ 18305 w 108691"/>
                  <a:gd name="connsiteY3" fmla="*/ 76271 h 152542"/>
                  <a:gd name="connsiteX4" fmla="*/ 15254 w 108691"/>
                  <a:gd name="connsiteY4" fmla="*/ 70170 h 152542"/>
                  <a:gd name="connsiteX5" fmla="*/ 21356 w 108691"/>
                  <a:gd name="connsiteY5" fmla="*/ 67119 h 152542"/>
                  <a:gd name="connsiteX6" fmla="*/ 70169 w 108691"/>
                  <a:gd name="connsiteY6" fmla="*/ 122034 h 152542"/>
                  <a:gd name="connsiteX7" fmla="*/ 79322 w 108691"/>
                  <a:gd name="connsiteY7" fmla="*/ 140339 h 152542"/>
                  <a:gd name="connsiteX8" fmla="*/ 85423 w 108691"/>
                  <a:gd name="connsiteY8" fmla="*/ 137288 h 152542"/>
                  <a:gd name="connsiteX9" fmla="*/ 97627 w 108691"/>
                  <a:gd name="connsiteY9" fmla="*/ 67119 h 152542"/>
                  <a:gd name="connsiteX10" fmla="*/ 6102 w 108691"/>
                  <a:gd name="connsiteY10" fmla="*/ 12203 h 152542"/>
                  <a:gd name="connsiteX11" fmla="*/ 0 w 108691"/>
                  <a:gd name="connsiteY11" fmla="*/ 6102 h 152542"/>
                  <a:gd name="connsiteX12" fmla="*/ 6102 w 108691"/>
                  <a:gd name="connsiteY12" fmla="*/ 0 h 152542"/>
                  <a:gd name="connsiteX13" fmla="*/ 106780 w 108691"/>
                  <a:gd name="connsiteY13" fmla="*/ 64068 h 152542"/>
                  <a:gd name="connsiteX14" fmla="*/ 88474 w 108691"/>
                  <a:gd name="connsiteY14" fmla="*/ 146441 h 152542"/>
                  <a:gd name="connsiteX15" fmla="*/ 79322 w 108691"/>
                  <a:gd name="connsiteY15" fmla="*/ 152542 h 152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8691" h="152542">
                    <a:moveTo>
                      <a:pt x="79322" y="152542"/>
                    </a:moveTo>
                    <a:cubicBezTo>
                      <a:pt x="76271" y="152542"/>
                      <a:pt x="76271" y="152542"/>
                      <a:pt x="73220" y="152542"/>
                    </a:cubicBezTo>
                    <a:cubicBezTo>
                      <a:pt x="64068" y="149491"/>
                      <a:pt x="61017" y="137288"/>
                      <a:pt x="57966" y="125085"/>
                    </a:cubicBezTo>
                    <a:cubicBezTo>
                      <a:pt x="51865" y="106780"/>
                      <a:pt x="45763" y="85424"/>
                      <a:pt x="18305" y="76271"/>
                    </a:cubicBezTo>
                    <a:cubicBezTo>
                      <a:pt x="15254" y="76271"/>
                      <a:pt x="12203" y="73220"/>
                      <a:pt x="15254" y="70170"/>
                    </a:cubicBezTo>
                    <a:cubicBezTo>
                      <a:pt x="15254" y="67119"/>
                      <a:pt x="18305" y="64068"/>
                      <a:pt x="21356" y="67119"/>
                    </a:cubicBezTo>
                    <a:cubicBezTo>
                      <a:pt x="54915" y="76271"/>
                      <a:pt x="64068" y="103729"/>
                      <a:pt x="70169" y="122034"/>
                    </a:cubicBezTo>
                    <a:cubicBezTo>
                      <a:pt x="73220" y="131187"/>
                      <a:pt x="76271" y="140339"/>
                      <a:pt x="79322" y="140339"/>
                    </a:cubicBezTo>
                    <a:cubicBezTo>
                      <a:pt x="79322" y="140339"/>
                      <a:pt x="82373" y="140339"/>
                      <a:pt x="85423" y="137288"/>
                    </a:cubicBezTo>
                    <a:cubicBezTo>
                      <a:pt x="97627" y="128136"/>
                      <a:pt x="103729" y="97627"/>
                      <a:pt x="97627" y="67119"/>
                    </a:cubicBezTo>
                    <a:cubicBezTo>
                      <a:pt x="91525" y="27457"/>
                      <a:pt x="9152" y="12203"/>
                      <a:pt x="6102" y="12203"/>
                    </a:cubicBezTo>
                    <a:cubicBezTo>
                      <a:pt x="3051" y="12203"/>
                      <a:pt x="0" y="9153"/>
                      <a:pt x="0" y="6102"/>
                    </a:cubicBezTo>
                    <a:cubicBezTo>
                      <a:pt x="0" y="3051"/>
                      <a:pt x="3051" y="0"/>
                      <a:pt x="6102" y="0"/>
                    </a:cubicBezTo>
                    <a:cubicBezTo>
                      <a:pt x="9152" y="0"/>
                      <a:pt x="97627" y="15254"/>
                      <a:pt x="106780" y="64068"/>
                    </a:cubicBezTo>
                    <a:cubicBezTo>
                      <a:pt x="112882" y="100679"/>
                      <a:pt x="103729" y="134237"/>
                      <a:pt x="88474" y="146441"/>
                    </a:cubicBezTo>
                    <a:cubicBezTo>
                      <a:pt x="88474" y="152542"/>
                      <a:pt x="85423" y="152542"/>
                      <a:pt x="79322" y="15254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2" name="图形 1">
              <a:extLst>
                <a:ext uri="{FF2B5EF4-FFF2-40B4-BE49-F238E27FC236}">
                  <a16:creationId xmlns:a16="http://schemas.microsoft.com/office/drawing/2014/main" id="{DA588AA2-CF9E-444E-822E-54D922B89483}"/>
                </a:ext>
              </a:extLst>
            </p:cNvPr>
            <p:cNvGrpSpPr/>
            <p:nvPr/>
          </p:nvGrpSpPr>
          <p:grpSpPr>
            <a:xfrm>
              <a:off x="14321611" y="8357312"/>
              <a:ext cx="941186" cy="1119660"/>
              <a:chOff x="14321611" y="8357312"/>
              <a:chExt cx="941186" cy="1119660"/>
            </a:xfrm>
            <a:solidFill>
              <a:srgbClr val="38343B"/>
            </a:solidFill>
          </p:grpSpPr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37B2445F-9F6C-46E3-A374-D9309198B948}"/>
                  </a:ext>
                </a:extLst>
              </p:cNvPr>
              <p:cNvSpPr/>
              <p:nvPr/>
            </p:nvSpPr>
            <p:spPr>
              <a:xfrm>
                <a:off x="14321611" y="8357312"/>
                <a:ext cx="447711" cy="900000"/>
              </a:xfrm>
              <a:custGeom>
                <a:avLst/>
                <a:gdLst>
                  <a:gd name="connsiteX0" fmla="*/ 441610 w 447711"/>
                  <a:gd name="connsiteY0" fmla="*/ 900000 h 900000"/>
                  <a:gd name="connsiteX1" fmla="*/ 435508 w 447711"/>
                  <a:gd name="connsiteY1" fmla="*/ 893898 h 900000"/>
                  <a:gd name="connsiteX2" fmla="*/ 206695 w 447711"/>
                  <a:gd name="connsiteY2" fmla="*/ 91525 h 900000"/>
                  <a:gd name="connsiteX3" fmla="*/ 75508 w 447711"/>
                  <a:gd name="connsiteY3" fmla="*/ 12203 h 900000"/>
                  <a:gd name="connsiteX4" fmla="*/ 11440 w 447711"/>
                  <a:gd name="connsiteY4" fmla="*/ 42712 h 900000"/>
                  <a:gd name="connsiteX5" fmla="*/ 2288 w 447711"/>
                  <a:gd name="connsiteY5" fmla="*/ 42712 h 900000"/>
                  <a:gd name="connsiteX6" fmla="*/ 2288 w 447711"/>
                  <a:gd name="connsiteY6" fmla="*/ 33559 h 900000"/>
                  <a:gd name="connsiteX7" fmla="*/ 75508 w 447711"/>
                  <a:gd name="connsiteY7" fmla="*/ 0 h 900000"/>
                  <a:gd name="connsiteX8" fmla="*/ 215848 w 447711"/>
                  <a:gd name="connsiteY8" fmla="*/ 85424 h 900000"/>
                  <a:gd name="connsiteX9" fmla="*/ 447711 w 447711"/>
                  <a:gd name="connsiteY9" fmla="*/ 893898 h 900000"/>
                  <a:gd name="connsiteX10" fmla="*/ 441610 w 447711"/>
                  <a:gd name="connsiteY10" fmla="*/ 900000 h 900000"/>
                  <a:gd name="connsiteX11" fmla="*/ 441610 w 447711"/>
                  <a:gd name="connsiteY11" fmla="*/ 900000 h 90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47711" h="900000">
                    <a:moveTo>
                      <a:pt x="441610" y="900000"/>
                    </a:moveTo>
                    <a:cubicBezTo>
                      <a:pt x="438559" y="900000"/>
                      <a:pt x="435508" y="896949"/>
                      <a:pt x="435508" y="893898"/>
                    </a:cubicBezTo>
                    <a:cubicBezTo>
                      <a:pt x="435508" y="887796"/>
                      <a:pt x="347034" y="256271"/>
                      <a:pt x="206695" y="91525"/>
                    </a:cubicBezTo>
                    <a:cubicBezTo>
                      <a:pt x="160932" y="36610"/>
                      <a:pt x="115169" y="12203"/>
                      <a:pt x="75508" y="12203"/>
                    </a:cubicBezTo>
                    <a:cubicBezTo>
                      <a:pt x="35847" y="12203"/>
                      <a:pt x="11440" y="42712"/>
                      <a:pt x="11440" y="42712"/>
                    </a:cubicBezTo>
                    <a:cubicBezTo>
                      <a:pt x="8389" y="45763"/>
                      <a:pt x="5338" y="45763"/>
                      <a:pt x="2288" y="42712"/>
                    </a:cubicBezTo>
                    <a:cubicBezTo>
                      <a:pt x="-763" y="39661"/>
                      <a:pt x="-763" y="36610"/>
                      <a:pt x="2288" y="33559"/>
                    </a:cubicBezTo>
                    <a:cubicBezTo>
                      <a:pt x="2288" y="33559"/>
                      <a:pt x="29746" y="0"/>
                      <a:pt x="75508" y="0"/>
                    </a:cubicBezTo>
                    <a:cubicBezTo>
                      <a:pt x="121271" y="0"/>
                      <a:pt x="167034" y="27457"/>
                      <a:pt x="215848" y="85424"/>
                    </a:cubicBezTo>
                    <a:cubicBezTo>
                      <a:pt x="359237" y="253220"/>
                      <a:pt x="444661" y="866441"/>
                      <a:pt x="447711" y="893898"/>
                    </a:cubicBezTo>
                    <a:cubicBezTo>
                      <a:pt x="447711" y="896949"/>
                      <a:pt x="444661" y="900000"/>
                      <a:pt x="441610" y="900000"/>
                    </a:cubicBezTo>
                    <a:cubicBezTo>
                      <a:pt x="441610" y="900000"/>
                      <a:pt x="441610" y="900000"/>
                      <a:pt x="441610" y="9000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C987FBAE-D519-477C-BEFE-53F1CB588758}"/>
                  </a:ext>
                </a:extLst>
              </p:cNvPr>
              <p:cNvSpPr/>
              <p:nvPr/>
            </p:nvSpPr>
            <p:spPr>
              <a:xfrm>
                <a:off x="14758906" y="9245108"/>
                <a:ext cx="503890" cy="231864"/>
              </a:xfrm>
              <a:custGeom>
                <a:avLst/>
                <a:gdLst>
                  <a:gd name="connsiteX0" fmla="*/ 495501 w 503890"/>
                  <a:gd name="connsiteY0" fmla="*/ 231865 h 231864"/>
                  <a:gd name="connsiteX1" fmla="*/ 492450 w 503890"/>
                  <a:gd name="connsiteY1" fmla="*/ 228814 h 231864"/>
                  <a:gd name="connsiteX2" fmla="*/ 4315 w 503890"/>
                  <a:gd name="connsiteY2" fmla="*/ 9153 h 231864"/>
                  <a:gd name="connsiteX3" fmla="*/ 1264 w 503890"/>
                  <a:gd name="connsiteY3" fmla="*/ 3051 h 231864"/>
                  <a:gd name="connsiteX4" fmla="*/ 7366 w 503890"/>
                  <a:gd name="connsiteY4" fmla="*/ 0 h 231864"/>
                  <a:gd name="connsiteX5" fmla="*/ 501603 w 503890"/>
                  <a:gd name="connsiteY5" fmla="*/ 222712 h 231864"/>
                  <a:gd name="connsiteX6" fmla="*/ 501603 w 503890"/>
                  <a:gd name="connsiteY6" fmla="*/ 231865 h 231864"/>
                  <a:gd name="connsiteX7" fmla="*/ 495501 w 503890"/>
                  <a:gd name="connsiteY7" fmla="*/ 231865 h 231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3890" h="231864">
                    <a:moveTo>
                      <a:pt x="495501" y="231865"/>
                    </a:moveTo>
                    <a:cubicBezTo>
                      <a:pt x="495501" y="231865"/>
                      <a:pt x="492450" y="231865"/>
                      <a:pt x="492450" y="228814"/>
                    </a:cubicBezTo>
                    <a:cubicBezTo>
                      <a:pt x="385671" y="125085"/>
                      <a:pt x="7366" y="9153"/>
                      <a:pt x="4315" y="9153"/>
                    </a:cubicBezTo>
                    <a:cubicBezTo>
                      <a:pt x="1264" y="9153"/>
                      <a:pt x="-1787" y="6102"/>
                      <a:pt x="1264" y="3051"/>
                    </a:cubicBezTo>
                    <a:cubicBezTo>
                      <a:pt x="1264" y="0"/>
                      <a:pt x="4315" y="0"/>
                      <a:pt x="7366" y="0"/>
                    </a:cubicBezTo>
                    <a:cubicBezTo>
                      <a:pt x="22620" y="6102"/>
                      <a:pt x="394823" y="115932"/>
                      <a:pt x="501603" y="222712"/>
                    </a:cubicBezTo>
                    <a:cubicBezTo>
                      <a:pt x="504654" y="225763"/>
                      <a:pt x="504654" y="228814"/>
                      <a:pt x="501603" y="231865"/>
                    </a:cubicBezTo>
                    <a:cubicBezTo>
                      <a:pt x="498552" y="231865"/>
                      <a:pt x="498552" y="231865"/>
                      <a:pt x="495501" y="23186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73" name="图形 1">
            <a:extLst>
              <a:ext uri="{FF2B5EF4-FFF2-40B4-BE49-F238E27FC236}">
                <a16:creationId xmlns:a16="http://schemas.microsoft.com/office/drawing/2014/main" id="{A1336013-D67A-45D9-8425-3E8A9CD6188B}"/>
              </a:ext>
            </a:extLst>
          </p:cNvPr>
          <p:cNvGrpSpPr/>
          <p:nvPr/>
        </p:nvGrpSpPr>
        <p:grpSpPr>
          <a:xfrm>
            <a:off x="6029668" y="2094230"/>
            <a:ext cx="3475235" cy="4836990"/>
            <a:chOff x="17385776" y="7703033"/>
            <a:chExt cx="3475235" cy="4836990"/>
          </a:xfrm>
        </p:grpSpPr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C4252B2B-BDBE-40CD-9516-469F7FB30549}"/>
                </a:ext>
              </a:extLst>
            </p:cNvPr>
            <p:cNvSpPr/>
            <p:nvPr/>
          </p:nvSpPr>
          <p:spPr>
            <a:xfrm>
              <a:off x="19439338" y="10041380"/>
              <a:ext cx="1241266" cy="2275169"/>
            </a:xfrm>
            <a:custGeom>
              <a:avLst/>
              <a:gdLst>
                <a:gd name="connsiteX0" fmla="*/ 208290 w 1241266"/>
                <a:gd name="connsiteY0" fmla="*/ 18305 h 2275169"/>
                <a:gd name="connsiteX1" fmla="*/ 833 w 1241266"/>
                <a:gd name="connsiteY1" fmla="*/ 1391187 h 2275169"/>
                <a:gd name="connsiteX2" fmla="*/ 266255 w 1241266"/>
                <a:gd name="connsiteY2" fmla="*/ 2221017 h 2275169"/>
                <a:gd name="connsiteX3" fmla="*/ 488968 w 1241266"/>
                <a:gd name="connsiteY3" fmla="*/ 2245424 h 2275169"/>
                <a:gd name="connsiteX4" fmla="*/ 418797 w 1241266"/>
                <a:gd name="connsiteY4" fmla="*/ 1452204 h 2275169"/>
                <a:gd name="connsiteX5" fmla="*/ 705578 w 1241266"/>
                <a:gd name="connsiteY5" fmla="*/ 500339 h 2275169"/>
                <a:gd name="connsiteX6" fmla="*/ 638459 w 1241266"/>
                <a:gd name="connsiteY6" fmla="*/ 1436949 h 2275169"/>
                <a:gd name="connsiteX7" fmla="*/ 967950 w 1241266"/>
                <a:gd name="connsiteY7" fmla="*/ 2239322 h 2275169"/>
                <a:gd name="connsiteX8" fmla="*/ 1166255 w 1241266"/>
                <a:gd name="connsiteY8" fmla="*/ 2233221 h 2275169"/>
                <a:gd name="connsiteX9" fmla="*/ 1102188 w 1241266"/>
                <a:gd name="connsiteY9" fmla="*/ 1446102 h 2275169"/>
                <a:gd name="connsiteX10" fmla="*/ 1233374 w 1241266"/>
                <a:gd name="connsiteY10" fmla="*/ 0 h 2275169"/>
                <a:gd name="connsiteX11" fmla="*/ 208290 w 1241266"/>
                <a:gd name="connsiteY11" fmla="*/ 18305 h 2275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41266" h="2275169">
                  <a:moveTo>
                    <a:pt x="208290" y="18305"/>
                  </a:moveTo>
                  <a:cubicBezTo>
                    <a:pt x="208290" y="18305"/>
                    <a:pt x="22187" y="1034237"/>
                    <a:pt x="833" y="1391187"/>
                  </a:cubicBezTo>
                  <a:cubicBezTo>
                    <a:pt x="-14421" y="1613898"/>
                    <a:pt x="183884" y="2105085"/>
                    <a:pt x="266255" y="2221017"/>
                  </a:cubicBezTo>
                  <a:cubicBezTo>
                    <a:pt x="305918" y="2278984"/>
                    <a:pt x="440154" y="2275933"/>
                    <a:pt x="488968" y="2245424"/>
                  </a:cubicBezTo>
                  <a:cubicBezTo>
                    <a:pt x="611002" y="2187458"/>
                    <a:pt x="434052" y="1528475"/>
                    <a:pt x="418797" y="1452204"/>
                  </a:cubicBezTo>
                  <a:cubicBezTo>
                    <a:pt x="400493" y="1369830"/>
                    <a:pt x="696426" y="515593"/>
                    <a:pt x="705578" y="500339"/>
                  </a:cubicBezTo>
                  <a:cubicBezTo>
                    <a:pt x="720832" y="469830"/>
                    <a:pt x="623205" y="1202034"/>
                    <a:pt x="638459" y="1436949"/>
                  </a:cubicBezTo>
                  <a:cubicBezTo>
                    <a:pt x="650663" y="1647458"/>
                    <a:pt x="842866" y="2178305"/>
                    <a:pt x="967950" y="2239322"/>
                  </a:cubicBezTo>
                  <a:cubicBezTo>
                    <a:pt x="1022867" y="2285085"/>
                    <a:pt x="1123544" y="2291187"/>
                    <a:pt x="1166255" y="2233221"/>
                  </a:cubicBezTo>
                  <a:cubicBezTo>
                    <a:pt x="1254731" y="2114237"/>
                    <a:pt x="1096086" y="1543729"/>
                    <a:pt x="1102188" y="1446102"/>
                  </a:cubicBezTo>
                  <a:cubicBezTo>
                    <a:pt x="1111340" y="1293559"/>
                    <a:pt x="1279137" y="97627"/>
                    <a:pt x="1233374" y="0"/>
                  </a:cubicBezTo>
                  <a:cubicBezTo>
                    <a:pt x="531679" y="30508"/>
                    <a:pt x="208290" y="18305"/>
                    <a:pt x="208290" y="18305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F3AE0AFE-B5BB-42BB-9BE2-2615E088CD24}"/>
                </a:ext>
              </a:extLst>
            </p:cNvPr>
            <p:cNvSpPr/>
            <p:nvPr/>
          </p:nvSpPr>
          <p:spPr>
            <a:xfrm>
              <a:off x="20080849" y="10187820"/>
              <a:ext cx="70169" cy="363051"/>
            </a:xfrm>
            <a:custGeom>
              <a:avLst/>
              <a:gdLst>
                <a:gd name="connsiteX0" fmla="*/ 64067 w 70169"/>
                <a:gd name="connsiteY0" fmla="*/ 363052 h 363051"/>
                <a:gd name="connsiteX1" fmla="*/ 57965 w 70169"/>
                <a:gd name="connsiteY1" fmla="*/ 360001 h 363051"/>
                <a:gd name="connsiteX2" fmla="*/ 0 w 70169"/>
                <a:gd name="connsiteY2" fmla="*/ 6102 h 363051"/>
                <a:gd name="connsiteX3" fmla="*/ 6100 w 70169"/>
                <a:gd name="connsiteY3" fmla="*/ 0 h 363051"/>
                <a:gd name="connsiteX4" fmla="*/ 6100 w 70169"/>
                <a:gd name="connsiteY4" fmla="*/ 0 h 363051"/>
                <a:gd name="connsiteX5" fmla="*/ 12202 w 70169"/>
                <a:gd name="connsiteY5" fmla="*/ 6102 h 363051"/>
                <a:gd name="connsiteX6" fmla="*/ 70169 w 70169"/>
                <a:gd name="connsiteY6" fmla="*/ 356950 h 363051"/>
                <a:gd name="connsiteX7" fmla="*/ 64067 w 70169"/>
                <a:gd name="connsiteY7" fmla="*/ 363052 h 363051"/>
                <a:gd name="connsiteX8" fmla="*/ 64067 w 70169"/>
                <a:gd name="connsiteY8" fmla="*/ 363052 h 363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169" h="363051">
                  <a:moveTo>
                    <a:pt x="64067" y="363052"/>
                  </a:moveTo>
                  <a:cubicBezTo>
                    <a:pt x="61017" y="363052"/>
                    <a:pt x="61017" y="363052"/>
                    <a:pt x="57965" y="360001"/>
                  </a:cubicBezTo>
                  <a:cubicBezTo>
                    <a:pt x="9152" y="244068"/>
                    <a:pt x="0" y="15254"/>
                    <a:pt x="0" y="6102"/>
                  </a:cubicBezTo>
                  <a:cubicBezTo>
                    <a:pt x="0" y="3051"/>
                    <a:pt x="3050" y="0"/>
                    <a:pt x="6100" y="0"/>
                  </a:cubicBezTo>
                  <a:cubicBezTo>
                    <a:pt x="6100" y="0"/>
                    <a:pt x="6100" y="0"/>
                    <a:pt x="6100" y="0"/>
                  </a:cubicBezTo>
                  <a:cubicBezTo>
                    <a:pt x="9152" y="0"/>
                    <a:pt x="12202" y="3051"/>
                    <a:pt x="12202" y="6102"/>
                  </a:cubicBezTo>
                  <a:cubicBezTo>
                    <a:pt x="12202" y="9153"/>
                    <a:pt x="21354" y="244068"/>
                    <a:pt x="70169" y="356950"/>
                  </a:cubicBezTo>
                  <a:cubicBezTo>
                    <a:pt x="70169" y="356950"/>
                    <a:pt x="67117" y="360001"/>
                    <a:pt x="64067" y="363052"/>
                  </a:cubicBezTo>
                  <a:cubicBezTo>
                    <a:pt x="64067" y="363052"/>
                    <a:pt x="64067" y="363052"/>
                    <a:pt x="64067" y="363052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A7AA5925-0BDD-4E9A-B179-D4C629DE373A}"/>
                </a:ext>
              </a:extLst>
            </p:cNvPr>
            <p:cNvSpPr/>
            <p:nvPr/>
          </p:nvSpPr>
          <p:spPr>
            <a:xfrm>
              <a:off x="19967967" y="10117651"/>
              <a:ext cx="155592" cy="353898"/>
            </a:xfrm>
            <a:custGeom>
              <a:avLst/>
              <a:gdLst>
                <a:gd name="connsiteX0" fmla="*/ 146440 w 155592"/>
                <a:gd name="connsiteY0" fmla="*/ 353899 h 353898"/>
                <a:gd name="connsiteX1" fmla="*/ 143390 w 155592"/>
                <a:gd name="connsiteY1" fmla="*/ 353899 h 353898"/>
                <a:gd name="connsiteX2" fmla="*/ 33559 w 155592"/>
                <a:gd name="connsiteY2" fmla="*/ 274576 h 353898"/>
                <a:gd name="connsiteX3" fmla="*/ 0 w 155592"/>
                <a:gd name="connsiteY3" fmla="*/ 6102 h 353898"/>
                <a:gd name="connsiteX4" fmla="*/ 6102 w 155592"/>
                <a:gd name="connsiteY4" fmla="*/ 0 h 353898"/>
                <a:gd name="connsiteX5" fmla="*/ 6102 w 155592"/>
                <a:gd name="connsiteY5" fmla="*/ 0 h 353898"/>
                <a:gd name="connsiteX6" fmla="*/ 12202 w 155592"/>
                <a:gd name="connsiteY6" fmla="*/ 6102 h 353898"/>
                <a:gd name="connsiteX7" fmla="*/ 45763 w 155592"/>
                <a:gd name="connsiteY7" fmla="*/ 268474 h 353898"/>
                <a:gd name="connsiteX8" fmla="*/ 152542 w 155592"/>
                <a:gd name="connsiteY8" fmla="*/ 344745 h 353898"/>
                <a:gd name="connsiteX9" fmla="*/ 155592 w 155592"/>
                <a:gd name="connsiteY9" fmla="*/ 353899 h 353898"/>
                <a:gd name="connsiteX10" fmla="*/ 146440 w 155592"/>
                <a:gd name="connsiteY10" fmla="*/ 353899 h 353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5592" h="353898">
                  <a:moveTo>
                    <a:pt x="146440" y="353899"/>
                  </a:moveTo>
                  <a:cubicBezTo>
                    <a:pt x="146440" y="353899"/>
                    <a:pt x="143390" y="353899"/>
                    <a:pt x="143390" y="353899"/>
                  </a:cubicBezTo>
                  <a:cubicBezTo>
                    <a:pt x="134236" y="347796"/>
                    <a:pt x="45763" y="289831"/>
                    <a:pt x="33559" y="274576"/>
                  </a:cubicBezTo>
                  <a:cubicBezTo>
                    <a:pt x="21356" y="259322"/>
                    <a:pt x="3050" y="48814"/>
                    <a:pt x="0" y="6102"/>
                  </a:cubicBezTo>
                  <a:cubicBezTo>
                    <a:pt x="0" y="3051"/>
                    <a:pt x="3050" y="0"/>
                    <a:pt x="6102" y="0"/>
                  </a:cubicBezTo>
                  <a:cubicBezTo>
                    <a:pt x="6102" y="0"/>
                    <a:pt x="6102" y="0"/>
                    <a:pt x="6102" y="0"/>
                  </a:cubicBezTo>
                  <a:cubicBezTo>
                    <a:pt x="9152" y="0"/>
                    <a:pt x="12202" y="3051"/>
                    <a:pt x="12202" y="6102"/>
                  </a:cubicBezTo>
                  <a:cubicBezTo>
                    <a:pt x="21356" y="100678"/>
                    <a:pt x="36611" y="256271"/>
                    <a:pt x="45763" y="268474"/>
                  </a:cubicBezTo>
                  <a:cubicBezTo>
                    <a:pt x="54915" y="277627"/>
                    <a:pt x="112882" y="320339"/>
                    <a:pt x="152542" y="344745"/>
                  </a:cubicBezTo>
                  <a:cubicBezTo>
                    <a:pt x="155592" y="347796"/>
                    <a:pt x="155592" y="350847"/>
                    <a:pt x="155592" y="353899"/>
                  </a:cubicBezTo>
                  <a:cubicBezTo>
                    <a:pt x="149490" y="353899"/>
                    <a:pt x="149490" y="353899"/>
                    <a:pt x="146440" y="353899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3E82DF8F-3C01-46C3-BB13-A4764F3C80D5}"/>
                </a:ext>
              </a:extLst>
            </p:cNvPr>
            <p:cNvGrpSpPr/>
            <p:nvPr/>
          </p:nvGrpSpPr>
          <p:grpSpPr>
            <a:xfrm>
              <a:off x="20114407" y="12210532"/>
              <a:ext cx="525342" cy="329491"/>
              <a:chOff x="20114407" y="12210532"/>
              <a:chExt cx="525342" cy="329491"/>
            </a:xfrm>
          </p:grpSpPr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554C1EF1-F03B-4338-BE85-3EC3D98F7DD5}"/>
                  </a:ext>
                </a:extLst>
              </p:cNvPr>
              <p:cNvSpPr/>
              <p:nvPr/>
            </p:nvSpPr>
            <p:spPr>
              <a:xfrm>
                <a:off x="20114407" y="12494261"/>
                <a:ext cx="488135" cy="45762"/>
              </a:xfrm>
              <a:custGeom>
                <a:avLst/>
                <a:gdLst>
                  <a:gd name="connsiteX0" fmla="*/ 0 w 488135"/>
                  <a:gd name="connsiteY0" fmla="*/ 0 h 45762"/>
                  <a:gd name="connsiteX1" fmla="*/ 488136 w 488135"/>
                  <a:gd name="connsiteY1" fmla="*/ 0 h 45762"/>
                  <a:gd name="connsiteX2" fmla="*/ 488136 w 488135"/>
                  <a:gd name="connsiteY2" fmla="*/ 45763 h 45762"/>
                  <a:gd name="connsiteX3" fmla="*/ 0 w 488135"/>
                  <a:gd name="connsiteY3" fmla="*/ 45763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5" h="45762">
                    <a:moveTo>
                      <a:pt x="0" y="0"/>
                    </a:moveTo>
                    <a:lnTo>
                      <a:pt x="488136" y="0"/>
                    </a:lnTo>
                    <a:lnTo>
                      <a:pt x="488136" y="45763"/>
                    </a:lnTo>
                    <a:lnTo>
                      <a:pt x="0" y="45763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30886FBA-18C5-4938-872A-62DAE358CA6F}"/>
                  </a:ext>
                </a:extLst>
              </p:cNvPr>
              <p:cNvSpPr/>
              <p:nvPr/>
            </p:nvSpPr>
            <p:spPr>
              <a:xfrm>
                <a:off x="20114407" y="12210532"/>
                <a:ext cx="525342" cy="286779"/>
              </a:xfrm>
              <a:custGeom>
                <a:avLst/>
                <a:gdLst>
                  <a:gd name="connsiteX0" fmla="*/ 524746 w 525342"/>
                  <a:gd name="connsiteY0" fmla="*/ 0 h 286779"/>
                  <a:gd name="connsiteX1" fmla="*/ 186101 w 525342"/>
                  <a:gd name="connsiteY1" fmla="*/ 18305 h 286779"/>
                  <a:gd name="connsiteX2" fmla="*/ 225763 w 525342"/>
                  <a:gd name="connsiteY2" fmla="*/ 158644 h 286779"/>
                  <a:gd name="connsiteX3" fmla="*/ 167797 w 525342"/>
                  <a:gd name="connsiteY3" fmla="*/ 180000 h 286779"/>
                  <a:gd name="connsiteX4" fmla="*/ 0 w 525342"/>
                  <a:gd name="connsiteY4" fmla="*/ 286779 h 286779"/>
                  <a:gd name="connsiteX5" fmla="*/ 488136 w 525342"/>
                  <a:gd name="connsiteY5" fmla="*/ 286779 h 286779"/>
                  <a:gd name="connsiteX6" fmla="*/ 524746 w 525342"/>
                  <a:gd name="connsiteY6" fmla="*/ 0 h 28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5342" h="286779">
                    <a:moveTo>
                      <a:pt x="524746" y="0"/>
                    </a:moveTo>
                    <a:lnTo>
                      <a:pt x="186101" y="18305"/>
                    </a:lnTo>
                    <a:lnTo>
                      <a:pt x="225763" y="158644"/>
                    </a:lnTo>
                    <a:cubicBezTo>
                      <a:pt x="204407" y="167797"/>
                      <a:pt x="186101" y="173898"/>
                      <a:pt x="167797" y="180000"/>
                    </a:cubicBezTo>
                    <a:cubicBezTo>
                      <a:pt x="125084" y="195254"/>
                      <a:pt x="12204" y="213559"/>
                      <a:pt x="0" y="286779"/>
                    </a:cubicBezTo>
                    <a:lnTo>
                      <a:pt x="488136" y="286779"/>
                    </a:lnTo>
                    <a:cubicBezTo>
                      <a:pt x="488136" y="283728"/>
                      <a:pt x="530848" y="189152"/>
                      <a:pt x="524746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8" name="图形 1">
              <a:extLst>
                <a:ext uri="{FF2B5EF4-FFF2-40B4-BE49-F238E27FC236}">
                  <a16:creationId xmlns:a16="http://schemas.microsoft.com/office/drawing/2014/main" id="{3DCEB319-3491-4E7A-9D48-5A6FC6117880}"/>
                </a:ext>
              </a:extLst>
            </p:cNvPr>
            <p:cNvGrpSpPr/>
            <p:nvPr/>
          </p:nvGrpSpPr>
          <p:grpSpPr>
            <a:xfrm>
              <a:off x="19507288" y="12210532"/>
              <a:ext cx="492364" cy="329491"/>
              <a:chOff x="19507288" y="12210532"/>
              <a:chExt cx="492364" cy="329491"/>
            </a:xfrm>
          </p:grpSpPr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2737D2B6-808E-4F83-8156-60740D75685B}"/>
                  </a:ext>
                </a:extLst>
              </p:cNvPr>
              <p:cNvSpPr/>
              <p:nvPr/>
            </p:nvSpPr>
            <p:spPr>
              <a:xfrm>
                <a:off x="19510340" y="12494261"/>
                <a:ext cx="488135" cy="45762"/>
              </a:xfrm>
              <a:custGeom>
                <a:avLst/>
                <a:gdLst>
                  <a:gd name="connsiteX0" fmla="*/ 0 w 488135"/>
                  <a:gd name="connsiteY0" fmla="*/ 0 h 45762"/>
                  <a:gd name="connsiteX1" fmla="*/ 488136 w 488135"/>
                  <a:gd name="connsiteY1" fmla="*/ 0 h 45762"/>
                  <a:gd name="connsiteX2" fmla="*/ 488136 w 488135"/>
                  <a:gd name="connsiteY2" fmla="*/ 45763 h 45762"/>
                  <a:gd name="connsiteX3" fmla="*/ 0 w 488135"/>
                  <a:gd name="connsiteY3" fmla="*/ 45763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5" h="45762">
                    <a:moveTo>
                      <a:pt x="0" y="0"/>
                    </a:moveTo>
                    <a:lnTo>
                      <a:pt x="488136" y="0"/>
                    </a:lnTo>
                    <a:lnTo>
                      <a:pt x="488136" y="45763"/>
                    </a:lnTo>
                    <a:lnTo>
                      <a:pt x="0" y="45763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6420A51B-21D2-4905-99CA-1F066689CA5E}"/>
                  </a:ext>
                </a:extLst>
              </p:cNvPr>
              <p:cNvSpPr/>
              <p:nvPr/>
            </p:nvSpPr>
            <p:spPr>
              <a:xfrm>
                <a:off x="19507288" y="12210532"/>
                <a:ext cx="492364" cy="286779"/>
              </a:xfrm>
              <a:custGeom>
                <a:avLst/>
                <a:gdLst>
                  <a:gd name="connsiteX0" fmla="*/ 475933 w 492364"/>
                  <a:gd name="connsiteY0" fmla="*/ 0 h 286779"/>
                  <a:gd name="connsiteX1" fmla="*/ 164747 w 492364"/>
                  <a:gd name="connsiteY1" fmla="*/ 24406 h 286779"/>
                  <a:gd name="connsiteX2" fmla="*/ 225763 w 492364"/>
                  <a:gd name="connsiteY2" fmla="*/ 158644 h 286779"/>
                  <a:gd name="connsiteX3" fmla="*/ 167797 w 492364"/>
                  <a:gd name="connsiteY3" fmla="*/ 180000 h 286779"/>
                  <a:gd name="connsiteX4" fmla="*/ 0 w 492364"/>
                  <a:gd name="connsiteY4" fmla="*/ 286779 h 286779"/>
                  <a:gd name="connsiteX5" fmla="*/ 488136 w 492364"/>
                  <a:gd name="connsiteY5" fmla="*/ 286779 h 286779"/>
                  <a:gd name="connsiteX6" fmla="*/ 475933 w 492364"/>
                  <a:gd name="connsiteY6" fmla="*/ 0 h 28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92364" h="286779">
                    <a:moveTo>
                      <a:pt x="475933" y="0"/>
                    </a:moveTo>
                    <a:lnTo>
                      <a:pt x="164747" y="24406"/>
                    </a:lnTo>
                    <a:lnTo>
                      <a:pt x="225763" y="158644"/>
                    </a:lnTo>
                    <a:cubicBezTo>
                      <a:pt x="204407" y="167797"/>
                      <a:pt x="186103" y="173898"/>
                      <a:pt x="167797" y="180000"/>
                    </a:cubicBezTo>
                    <a:cubicBezTo>
                      <a:pt x="125086" y="195254"/>
                      <a:pt x="12204" y="213559"/>
                      <a:pt x="0" y="286779"/>
                    </a:cubicBezTo>
                    <a:lnTo>
                      <a:pt x="488136" y="286779"/>
                    </a:lnTo>
                    <a:cubicBezTo>
                      <a:pt x="491188" y="283728"/>
                      <a:pt x="500340" y="82372"/>
                      <a:pt x="475933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8421ED07-7717-44D0-9FD8-817B0CF9B375}"/>
                </a:ext>
              </a:extLst>
            </p:cNvPr>
            <p:cNvSpPr/>
            <p:nvPr/>
          </p:nvSpPr>
          <p:spPr>
            <a:xfrm>
              <a:off x="18171729" y="9181491"/>
              <a:ext cx="377594" cy="213200"/>
            </a:xfrm>
            <a:custGeom>
              <a:avLst/>
              <a:gdLst>
                <a:gd name="connsiteX0" fmla="*/ 194544 w 377594"/>
                <a:gd name="connsiteY0" fmla="*/ 203956 h 213200"/>
                <a:gd name="connsiteX1" fmla="*/ 325730 w 377594"/>
                <a:gd name="connsiteY1" fmla="*/ 194803 h 213200"/>
                <a:gd name="connsiteX2" fmla="*/ 377594 w 377594"/>
                <a:gd name="connsiteY2" fmla="*/ 84973 h 213200"/>
                <a:gd name="connsiteX3" fmla="*/ 72510 w 377594"/>
                <a:gd name="connsiteY3" fmla="*/ 5651 h 213200"/>
                <a:gd name="connsiteX4" fmla="*/ 72510 w 377594"/>
                <a:gd name="connsiteY4" fmla="*/ 173448 h 213200"/>
                <a:gd name="connsiteX5" fmla="*/ 194544 w 377594"/>
                <a:gd name="connsiteY5" fmla="*/ 203956 h 21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594" h="213200">
                  <a:moveTo>
                    <a:pt x="194544" y="203956"/>
                  </a:moveTo>
                  <a:cubicBezTo>
                    <a:pt x="237254" y="210058"/>
                    <a:pt x="286069" y="225312"/>
                    <a:pt x="325730" y="194803"/>
                  </a:cubicBezTo>
                  <a:cubicBezTo>
                    <a:pt x="350136" y="176499"/>
                    <a:pt x="377594" y="88024"/>
                    <a:pt x="377594" y="84973"/>
                  </a:cubicBezTo>
                  <a:cubicBezTo>
                    <a:pt x="356238" y="2600"/>
                    <a:pt x="139629" y="-9603"/>
                    <a:pt x="72510" y="5651"/>
                  </a:cubicBezTo>
                  <a:cubicBezTo>
                    <a:pt x="17595" y="17854"/>
                    <a:pt x="-58676" y="103278"/>
                    <a:pt x="72510" y="173448"/>
                  </a:cubicBezTo>
                  <a:cubicBezTo>
                    <a:pt x="90814" y="182600"/>
                    <a:pt x="167085" y="200905"/>
                    <a:pt x="194544" y="203956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AF8ABB57-D872-4A3E-9501-AF6BC3D0DB7D}"/>
                </a:ext>
              </a:extLst>
            </p:cNvPr>
            <p:cNvSpPr/>
            <p:nvPr/>
          </p:nvSpPr>
          <p:spPr>
            <a:xfrm>
              <a:off x="18497458" y="8643247"/>
              <a:ext cx="1419001" cy="963805"/>
            </a:xfrm>
            <a:custGeom>
              <a:avLst/>
              <a:gdLst>
                <a:gd name="connsiteX0" fmla="*/ 1372881 w 1419001"/>
                <a:gd name="connsiteY0" fmla="*/ 19150 h 963805"/>
                <a:gd name="connsiteX1" fmla="*/ 909152 w 1419001"/>
                <a:gd name="connsiteY1" fmla="*/ 247963 h 963805"/>
                <a:gd name="connsiteX2" fmla="*/ 610170 w 1419001"/>
                <a:gd name="connsiteY2" fmla="*/ 604912 h 963805"/>
                <a:gd name="connsiteX3" fmla="*/ 42713 w 1419001"/>
                <a:gd name="connsiteY3" fmla="*/ 583557 h 963805"/>
                <a:gd name="connsiteX4" fmla="*/ 0 w 1419001"/>
                <a:gd name="connsiteY4" fmla="*/ 745252 h 963805"/>
                <a:gd name="connsiteX5" fmla="*/ 719999 w 1419001"/>
                <a:gd name="connsiteY5" fmla="*/ 958811 h 963805"/>
                <a:gd name="connsiteX6" fmla="*/ 1372881 w 1419001"/>
                <a:gd name="connsiteY6" fmla="*/ 19150 h 963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9001" h="963805">
                  <a:moveTo>
                    <a:pt x="1372881" y="19150"/>
                  </a:moveTo>
                  <a:cubicBezTo>
                    <a:pt x="1266102" y="-66274"/>
                    <a:pt x="997628" y="156438"/>
                    <a:pt x="909152" y="247963"/>
                  </a:cubicBezTo>
                  <a:cubicBezTo>
                    <a:pt x="826779" y="330336"/>
                    <a:pt x="610170" y="604912"/>
                    <a:pt x="610170" y="604912"/>
                  </a:cubicBezTo>
                  <a:cubicBezTo>
                    <a:pt x="610170" y="604912"/>
                    <a:pt x="103730" y="482879"/>
                    <a:pt x="42713" y="583557"/>
                  </a:cubicBezTo>
                  <a:cubicBezTo>
                    <a:pt x="18304" y="638472"/>
                    <a:pt x="3050" y="705591"/>
                    <a:pt x="0" y="745252"/>
                  </a:cubicBezTo>
                  <a:cubicBezTo>
                    <a:pt x="67119" y="919149"/>
                    <a:pt x="594915" y="983217"/>
                    <a:pt x="719999" y="958811"/>
                  </a:cubicBezTo>
                  <a:cubicBezTo>
                    <a:pt x="857287" y="934404"/>
                    <a:pt x="1610847" y="208302"/>
                    <a:pt x="1372881" y="1915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271024CA-A176-48B1-8036-FFE1DE4990EC}"/>
                </a:ext>
              </a:extLst>
            </p:cNvPr>
            <p:cNvSpPr/>
            <p:nvPr/>
          </p:nvSpPr>
          <p:spPr>
            <a:xfrm>
              <a:off x="20273052" y="8250532"/>
              <a:ext cx="67119" cy="140338"/>
            </a:xfrm>
            <a:custGeom>
              <a:avLst/>
              <a:gdLst>
                <a:gd name="connsiteX0" fmla="*/ 67119 w 67119"/>
                <a:gd name="connsiteY0" fmla="*/ 0 h 140338"/>
                <a:gd name="connsiteX1" fmla="*/ 3050 w 67119"/>
                <a:gd name="connsiteY1" fmla="*/ 140339 h 140338"/>
                <a:gd name="connsiteX2" fmla="*/ 0 w 67119"/>
                <a:gd name="connsiteY2" fmla="*/ 54915 h 140338"/>
                <a:gd name="connsiteX3" fmla="*/ 67119 w 67119"/>
                <a:gd name="connsiteY3" fmla="*/ 0 h 14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19" h="140338">
                  <a:moveTo>
                    <a:pt x="67119" y="0"/>
                  </a:moveTo>
                  <a:cubicBezTo>
                    <a:pt x="67119" y="0"/>
                    <a:pt x="54915" y="118983"/>
                    <a:pt x="3050" y="140339"/>
                  </a:cubicBezTo>
                  <a:lnTo>
                    <a:pt x="0" y="54915"/>
                  </a:lnTo>
                  <a:lnTo>
                    <a:pt x="67119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BB850308-5D31-4099-9B57-47436F441D4A}"/>
                </a:ext>
              </a:extLst>
            </p:cNvPr>
            <p:cNvSpPr/>
            <p:nvPr/>
          </p:nvSpPr>
          <p:spPr>
            <a:xfrm>
              <a:off x="19879291" y="8049176"/>
              <a:ext cx="101807" cy="237945"/>
            </a:xfrm>
            <a:custGeom>
              <a:avLst/>
              <a:gdLst>
                <a:gd name="connsiteX0" fmla="*/ 6303 w 101807"/>
                <a:gd name="connsiteY0" fmla="*/ 0 h 237945"/>
                <a:gd name="connsiteX1" fmla="*/ 49016 w 101807"/>
                <a:gd name="connsiteY1" fmla="*/ 234915 h 237945"/>
                <a:gd name="connsiteX2" fmla="*/ 100879 w 101807"/>
                <a:gd name="connsiteY2" fmla="*/ 12204 h 237945"/>
                <a:gd name="connsiteX3" fmla="*/ 6303 w 101807"/>
                <a:gd name="connsiteY3" fmla="*/ 0 h 23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07" h="237945">
                  <a:moveTo>
                    <a:pt x="6303" y="0"/>
                  </a:moveTo>
                  <a:cubicBezTo>
                    <a:pt x="6303" y="0"/>
                    <a:pt x="-24205" y="195255"/>
                    <a:pt x="49016" y="234915"/>
                  </a:cubicBezTo>
                  <a:cubicBezTo>
                    <a:pt x="113083" y="268475"/>
                    <a:pt x="100879" y="12204"/>
                    <a:pt x="100879" y="12204"/>
                  </a:cubicBezTo>
                  <a:lnTo>
                    <a:pt x="6303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83015F87-B7EB-48A7-ABA2-9BB5B19819C0}"/>
                </a:ext>
              </a:extLst>
            </p:cNvPr>
            <p:cNvSpPr/>
            <p:nvPr/>
          </p:nvSpPr>
          <p:spPr>
            <a:xfrm>
              <a:off x="19915763" y="7907947"/>
              <a:ext cx="421356" cy="568950"/>
            </a:xfrm>
            <a:custGeom>
              <a:avLst/>
              <a:gdLst>
                <a:gd name="connsiteX0" fmla="*/ 9492 w 421356"/>
                <a:gd name="connsiteY0" fmla="*/ 183941 h 568950"/>
                <a:gd name="connsiteX1" fmla="*/ 9492 w 421356"/>
                <a:gd name="connsiteY1" fmla="*/ 434111 h 568950"/>
                <a:gd name="connsiteX2" fmla="*/ 168136 w 421356"/>
                <a:gd name="connsiteY2" fmla="*/ 568348 h 568950"/>
                <a:gd name="connsiteX3" fmla="*/ 384746 w 421356"/>
                <a:gd name="connsiteY3" fmla="*/ 424958 h 568950"/>
                <a:gd name="connsiteX4" fmla="*/ 421356 w 421356"/>
                <a:gd name="connsiteY4" fmla="*/ 199195 h 568950"/>
                <a:gd name="connsiteX5" fmla="*/ 207797 w 421356"/>
                <a:gd name="connsiteY5" fmla="*/ 890 h 568950"/>
                <a:gd name="connsiteX6" fmla="*/ 9492 w 421356"/>
                <a:gd name="connsiteY6" fmla="*/ 183941 h 56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356" h="568950">
                  <a:moveTo>
                    <a:pt x="9492" y="183941"/>
                  </a:moveTo>
                  <a:cubicBezTo>
                    <a:pt x="9492" y="183941"/>
                    <a:pt x="-11865" y="360890"/>
                    <a:pt x="9492" y="434111"/>
                  </a:cubicBezTo>
                  <a:cubicBezTo>
                    <a:pt x="27798" y="501229"/>
                    <a:pt x="119323" y="565297"/>
                    <a:pt x="168136" y="568348"/>
                  </a:cubicBezTo>
                  <a:cubicBezTo>
                    <a:pt x="235255" y="574449"/>
                    <a:pt x="354237" y="534789"/>
                    <a:pt x="384746" y="424958"/>
                  </a:cubicBezTo>
                  <a:cubicBezTo>
                    <a:pt x="406102" y="351738"/>
                    <a:pt x="421356" y="251060"/>
                    <a:pt x="421356" y="199195"/>
                  </a:cubicBezTo>
                  <a:cubicBezTo>
                    <a:pt x="418306" y="104619"/>
                    <a:pt x="393900" y="25297"/>
                    <a:pt x="207797" y="890"/>
                  </a:cubicBezTo>
                  <a:cubicBezTo>
                    <a:pt x="122373" y="-11313"/>
                    <a:pt x="27798" y="104619"/>
                    <a:pt x="9492" y="18394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3123B415-5919-4CD6-A1E8-10A963F0AEEC}"/>
                </a:ext>
              </a:extLst>
            </p:cNvPr>
            <p:cNvSpPr/>
            <p:nvPr/>
          </p:nvSpPr>
          <p:spPr>
            <a:xfrm>
              <a:off x="19982443" y="8149077"/>
              <a:ext cx="40438" cy="41215"/>
            </a:xfrm>
            <a:custGeom>
              <a:avLst/>
              <a:gdLst>
                <a:gd name="connsiteX0" fmla="*/ 40439 w 40438"/>
                <a:gd name="connsiteY0" fmla="*/ 25184 h 41215"/>
                <a:gd name="connsiteX1" fmla="*/ 16032 w 40438"/>
                <a:gd name="connsiteY1" fmla="*/ 40439 h 41215"/>
                <a:gd name="connsiteX2" fmla="*/ 778 w 40438"/>
                <a:gd name="connsiteY2" fmla="*/ 16032 h 41215"/>
                <a:gd name="connsiteX3" fmla="*/ 25184 w 40438"/>
                <a:gd name="connsiteY3" fmla="*/ 778 h 41215"/>
                <a:gd name="connsiteX4" fmla="*/ 40439 w 40438"/>
                <a:gd name="connsiteY4" fmla="*/ 25184 h 4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38" h="41215">
                  <a:moveTo>
                    <a:pt x="40439" y="25184"/>
                  </a:moveTo>
                  <a:cubicBezTo>
                    <a:pt x="37388" y="37388"/>
                    <a:pt x="28234" y="43489"/>
                    <a:pt x="16032" y="40439"/>
                  </a:cubicBezTo>
                  <a:cubicBezTo>
                    <a:pt x="3828" y="37388"/>
                    <a:pt x="-2274" y="28235"/>
                    <a:pt x="778" y="16032"/>
                  </a:cubicBezTo>
                  <a:cubicBezTo>
                    <a:pt x="3828" y="3829"/>
                    <a:pt x="12980" y="-2274"/>
                    <a:pt x="25184" y="778"/>
                  </a:cubicBezTo>
                  <a:cubicBezTo>
                    <a:pt x="34336" y="3829"/>
                    <a:pt x="40439" y="16032"/>
                    <a:pt x="40439" y="25184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125B8AFC-DA4D-4122-9EC4-DF42DBF25700}"/>
                </a:ext>
              </a:extLst>
            </p:cNvPr>
            <p:cNvSpPr/>
            <p:nvPr/>
          </p:nvSpPr>
          <p:spPr>
            <a:xfrm>
              <a:off x="20165494" y="8167382"/>
              <a:ext cx="41036" cy="41215"/>
            </a:xfrm>
            <a:custGeom>
              <a:avLst/>
              <a:gdLst>
                <a:gd name="connsiteX0" fmla="*/ 40439 w 41036"/>
                <a:gd name="connsiteY0" fmla="*/ 25184 h 41215"/>
                <a:gd name="connsiteX1" fmla="*/ 16032 w 41036"/>
                <a:gd name="connsiteY1" fmla="*/ 40438 h 41215"/>
                <a:gd name="connsiteX2" fmla="*/ 778 w 41036"/>
                <a:gd name="connsiteY2" fmla="*/ 16032 h 41215"/>
                <a:gd name="connsiteX3" fmla="*/ 25184 w 41036"/>
                <a:gd name="connsiteY3" fmla="*/ 778 h 41215"/>
                <a:gd name="connsiteX4" fmla="*/ 40439 w 41036"/>
                <a:gd name="connsiteY4" fmla="*/ 25184 h 4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6" h="41215">
                  <a:moveTo>
                    <a:pt x="40439" y="25184"/>
                  </a:moveTo>
                  <a:cubicBezTo>
                    <a:pt x="37388" y="37388"/>
                    <a:pt x="28234" y="43489"/>
                    <a:pt x="16032" y="40438"/>
                  </a:cubicBezTo>
                  <a:cubicBezTo>
                    <a:pt x="3828" y="37388"/>
                    <a:pt x="-2274" y="28235"/>
                    <a:pt x="778" y="16032"/>
                  </a:cubicBezTo>
                  <a:cubicBezTo>
                    <a:pt x="3828" y="3828"/>
                    <a:pt x="12980" y="-2273"/>
                    <a:pt x="25184" y="778"/>
                  </a:cubicBezTo>
                  <a:cubicBezTo>
                    <a:pt x="34336" y="3828"/>
                    <a:pt x="43489" y="12981"/>
                    <a:pt x="40439" y="25184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1E260041-FA0C-4231-9513-10FA017DC36D}"/>
                </a:ext>
              </a:extLst>
            </p:cNvPr>
            <p:cNvSpPr/>
            <p:nvPr/>
          </p:nvSpPr>
          <p:spPr>
            <a:xfrm>
              <a:off x="19956526" y="8099875"/>
              <a:ext cx="92026" cy="34725"/>
            </a:xfrm>
            <a:custGeom>
              <a:avLst/>
              <a:gdLst>
                <a:gd name="connsiteX0" fmla="*/ 8389 w 92026"/>
                <a:gd name="connsiteY0" fmla="*/ 34725 h 34725"/>
                <a:gd name="connsiteX1" fmla="*/ 2289 w 92026"/>
                <a:gd name="connsiteY1" fmla="*/ 31674 h 34725"/>
                <a:gd name="connsiteX2" fmla="*/ 2289 w 92026"/>
                <a:gd name="connsiteY2" fmla="*/ 19471 h 34725"/>
                <a:gd name="connsiteX3" fmla="*/ 87712 w 92026"/>
                <a:gd name="connsiteY3" fmla="*/ 10318 h 34725"/>
                <a:gd name="connsiteX4" fmla="*/ 90762 w 92026"/>
                <a:gd name="connsiteY4" fmla="*/ 19471 h 34725"/>
                <a:gd name="connsiteX5" fmla="*/ 81610 w 92026"/>
                <a:gd name="connsiteY5" fmla="*/ 22522 h 34725"/>
                <a:gd name="connsiteX6" fmla="*/ 14491 w 92026"/>
                <a:gd name="connsiteY6" fmla="*/ 28624 h 34725"/>
                <a:gd name="connsiteX7" fmla="*/ 8389 w 92026"/>
                <a:gd name="connsiteY7" fmla="*/ 34725 h 3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4725">
                  <a:moveTo>
                    <a:pt x="8389" y="34725"/>
                  </a:moveTo>
                  <a:cubicBezTo>
                    <a:pt x="5339" y="34725"/>
                    <a:pt x="5339" y="34725"/>
                    <a:pt x="2289" y="31674"/>
                  </a:cubicBezTo>
                  <a:cubicBezTo>
                    <a:pt x="-763" y="28624"/>
                    <a:pt x="-763" y="22522"/>
                    <a:pt x="2289" y="19471"/>
                  </a:cubicBezTo>
                  <a:cubicBezTo>
                    <a:pt x="29745" y="-11038"/>
                    <a:pt x="69406" y="1166"/>
                    <a:pt x="87712" y="10318"/>
                  </a:cubicBezTo>
                  <a:cubicBezTo>
                    <a:pt x="90762" y="13369"/>
                    <a:pt x="93814" y="16420"/>
                    <a:pt x="90762" y="19471"/>
                  </a:cubicBezTo>
                  <a:cubicBezTo>
                    <a:pt x="87712" y="22522"/>
                    <a:pt x="84660" y="25573"/>
                    <a:pt x="81610" y="22522"/>
                  </a:cubicBezTo>
                  <a:cubicBezTo>
                    <a:pt x="78560" y="22522"/>
                    <a:pt x="38898" y="1166"/>
                    <a:pt x="14491" y="28624"/>
                  </a:cubicBezTo>
                  <a:cubicBezTo>
                    <a:pt x="11441" y="34725"/>
                    <a:pt x="11441" y="34725"/>
                    <a:pt x="8389" y="34725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3E4EEB6F-A45A-4456-A728-A36E6A317967}"/>
                </a:ext>
              </a:extLst>
            </p:cNvPr>
            <p:cNvSpPr/>
            <p:nvPr/>
          </p:nvSpPr>
          <p:spPr>
            <a:xfrm>
              <a:off x="20143653" y="8101351"/>
              <a:ext cx="92026" cy="36299"/>
            </a:xfrm>
            <a:custGeom>
              <a:avLst/>
              <a:gdLst>
                <a:gd name="connsiteX0" fmla="*/ 86687 w 92026"/>
                <a:gd name="connsiteY0" fmla="*/ 36300 h 36299"/>
                <a:gd name="connsiteX1" fmla="*/ 80585 w 92026"/>
                <a:gd name="connsiteY1" fmla="*/ 33249 h 36299"/>
                <a:gd name="connsiteX2" fmla="*/ 13468 w 92026"/>
                <a:gd name="connsiteY2" fmla="*/ 27147 h 36299"/>
                <a:gd name="connsiteX3" fmla="*/ 1263 w 92026"/>
                <a:gd name="connsiteY3" fmla="*/ 24096 h 36299"/>
                <a:gd name="connsiteX4" fmla="*/ 4313 w 92026"/>
                <a:gd name="connsiteY4" fmla="*/ 11893 h 36299"/>
                <a:gd name="connsiteX5" fmla="*/ 89739 w 92026"/>
                <a:gd name="connsiteY5" fmla="*/ 21046 h 36299"/>
                <a:gd name="connsiteX6" fmla="*/ 89739 w 92026"/>
                <a:gd name="connsiteY6" fmla="*/ 33249 h 36299"/>
                <a:gd name="connsiteX7" fmla="*/ 86687 w 92026"/>
                <a:gd name="connsiteY7" fmla="*/ 36300 h 3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6299">
                  <a:moveTo>
                    <a:pt x="86687" y="36300"/>
                  </a:moveTo>
                  <a:cubicBezTo>
                    <a:pt x="83637" y="36300"/>
                    <a:pt x="83637" y="36300"/>
                    <a:pt x="80585" y="33249"/>
                  </a:cubicBezTo>
                  <a:cubicBezTo>
                    <a:pt x="80585" y="33249"/>
                    <a:pt x="50076" y="2740"/>
                    <a:pt x="13468" y="27147"/>
                  </a:cubicBezTo>
                  <a:cubicBezTo>
                    <a:pt x="10416" y="30198"/>
                    <a:pt x="4313" y="27147"/>
                    <a:pt x="1263" y="24096"/>
                  </a:cubicBezTo>
                  <a:cubicBezTo>
                    <a:pt x="-1787" y="21046"/>
                    <a:pt x="1263" y="14944"/>
                    <a:pt x="4313" y="11893"/>
                  </a:cubicBezTo>
                  <a:cubicBezTo>
                    <a:pt x="40924" y="-12514"/>
                    <a:pt x="77535" y="5791"/>
                    <a:pt x="89739" y="21046"/>
                  </a:cubicBezTo>
                  <a:cubicBezTo>
                    <a:pt x="92789" y="24096"/>
                    <a:pt x="92789" y="30198"/>
                    <a:pt x="89739" y="33249"/>
                  </a:cubicBezTo>
                  <a:cubicBezTo>
                    <a:pt x="92789" y="33249"/>
                    <a:pt x="89739" y="36300"/>
                    <a:pt x="86687" y="36300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1A90D9D0-FD5A-4EAE-9FAA-F8ADCFBDE83C}"/>
                </a:ext>
              </a:extLst>
            </p:cNvPr>
            <p:cNvSpPr/>
            <p:nvPr/>
          </p:nvSpPr>
          <p:spPr>
            <a:xfrm>
              <a:off x="20300509" y="8166674"/>
              <a:ext cx="77636" cy="114126"/>
            </a:xfrm>
            <a:custGeom>
              <a:avLst/>
              <a:gdLst>
                <a:gd name="connsiteX0" fmla="*/ 12204 w 77636"/>
                <a:gd name="connsiteY0" fmla="*/ 16740 h 114126"/>
                <a:gd name="connsiteX1" fmla="*/ 70171 w 77636"/>
                <a:gd name="connsiteY1" fmla="*/ 7587 h 114126"/>
                <a:gd name="connsiteX2" fmla="*/ 12204 w 77636"/>
                <a:gd name="connsiteY2" fmla="*/ 111316 h 114126"/>
                <a:gd name="connsiteX3" fmla="*/ 12204 w 77636"/>
                <a:gd name="connsiteY3" fmla="*/ 16740 h 11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636" h="114126">
                  <a:moveTo>
                    <a:pt x="12204" y="16740"/>
                  </a:moveTo>
                  <a:cubicBezTo>
                    <a:pt x="12204" y="16740"/>
                    <a:pt x="45762" y="-13769"/>
                    <a:pt x="70171" y="7587"/>
                  </a:cubicBezTo>
                  <a:cubicBezTo>
                    <a:pt x="94577" y="25892"/>
                    <a:pt x="54916" y="132672"/>
                    <a:pt x="12204" y="111316"/>
                  </a:cubicBezTo>
                  <a:cubicBezTo>
                    <a:pt x="-15255" y="89960"/>
                    <a:pt x="12204" y="16740"/>
                    <a:pt x="12204" y="16740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750D0D04-0BB9-42D9-B07A-9E40E4B1A22C}"/>
                </a:ext>
              </a:extLst>
            </p:cNvPr>
            <p:cNvSpPr/>
            <p:nvPr/>
          </p:nvSpPr>
          <p:spPr>
            <a:xfrm>
              <a:off x="19869799" y="7797048"/>
              <a:ext cx="513597" cy="404670"/>
            </a:xfrm>
            <a:custGeom>
              <a:avLst/>
              <a:gdLst>
                <a:gd name="connsiteX0" fmla="*/ 449015 w 513597"/>
                <a:gd name="connsiteY0" fmla="*/ 136196 h 404670"/>
                <a:gd name="connsiteX1" fmla="*/ 430709 w 513597"/>
                <a:gd name="connsiteY1" fmla="*/ 96535 h 404670"/>
                <a:gd name="connsiteX2" fmla="*/ 418507 w 513597"/>
                <a:gd name="connsiteY2" fmla="*/ 99586 h 404670"/>
                <a:gd name="connsiteX3" fmla="*/ 387998 w 513597"/>
                <a:gd name="connsiteY3" fmla="*/ 78230 h 404670"/>
                <a:gd name="connsiteX4" fmla="*/ 375794 w 513597"/>
                <a:gd name="connsiteY4" fmla="*/ 59924 h 404670"/>
                <a:gd name="connsiteX5" fmla="*/ 345286 w 513597"/>
                <a:gd name="connsiteY5" fmla="*/ 26365 h 404670"/>
                <a:gd name="connsiteX6" fmla="*/ 311727 w 513597"/>
                <a:gd name="connsiteY6" fmla="*/ 23314 h 404670"/>
                <a:gd name="connsiteX7" fmla="*/ 256812 w 513597"/>
                <a:gd name="connsiteY7" fmla="*/ 8060 h 404670"/>
                <a:gd name="connsiteX8" fmla="*/ 244608 w 513597"/>
                <a:gd name="connsiteY8" fmla="*/ 1959 h 404670"/>
                <a:gd name="connsiteX9" fmla="*/ 119524 w 513597"/>
                <a:gd name="connsiteY9" fmla="*/ 38569 h 404670"/>
                <a:gd name="connsiteX10" fmla="*/ 58507 w 513597"/>
                <a:gd name="connsiteY10" fmla="*/ 59924 h 404670"/>
                <a:gd name="connsiteX11" fmla="*/ 43253 w 513597"/>
                <a:gd name="connsiteY11" fmla="*/ 102637 h 404670"/>
                <a:gd name="connsiteX12" fmla="*/ 24947 w 513597"/>
                <a:gd name="connsiteY12" fmla="*/ 130094 h 404670"/>
                <a:gd name="connsiteX13" fmla="*/ 18845 w 513597"/>
                <a:gd name="connsiteY13" fmla="*/ 166704 h 404670"/>
                <a:gd name="connsiteX14" fmla="*/ 21897 w 513597"/>
                <a:gd name="connsiteY14" fmla="*/ 200264 h 404670"/>
                <a:gd name="connsiteX15" fmla="*/ 3590 w 513597"/>
                <a:gd name="connsiteY15" fmla="*/ 242975 h 404670"/>
                <a:gd name="connsiteX16" fmla="*/ 21897 w 513597"/>
                <a:gd name="connsiteY16" fmla="*/ 340603 h 404670"/>
                <a:gd name="connsiteX17" fmla="*/ 31049 w 513597"/>
                <a:gd name="connsiteY17" fmla="*/ 343653 h 404670"/>
                <a:gd name="connsiteX18" fmla="*/ 40201 w 513597"/>
                <a:gd name="connsiteY18" fmla="*/ 374162 h 404670"/>
                <a:gd name="connsiteX19" fmla="*/ 58507 w 513597"/>
                <a:gd name="connsiteY19" fmla="*/ 319246 h 404670"/>
                <a:gd name="connsiteX20" fmla="*/ 89016 w 513597"/>
                <a:gd name="connsiteY20" fmla="*/ 307043 h 404670"/>
                <a:gd name="connsiteX21" fmla="*/ 107320 w 513597"/>
                <a:gd name="connsiteY21" fmla="*/ 285687 h 404670"/>
                <a:gd name="connsiteX22" fmla="*/ 113422 w 513597"/>
                <a:gd name="connsiteY22" fmla="*/ 276535 h 404670"/>
                <a:gd name="connsiteX23" fmla="*/ 119524 w 513597"/>
                <a:gd name="connsiteY23" fmla="*/ 273484 h 404670"/>
                <a:gd name="connsiteX24" fmla="*/ 125624 w 513597"/>
                <a:gd name="connsiteY24" fmla="*/ 273484 h 404670"/>
                <a:gd name="connsiteX25" fmla="*/ 131726 w 513597"/>
                <a:gd name="connsiteY25" fmla="*/ 270433 h 404670"/>
                <a:gd name="connsiteX26" fmla="*/ 140879 w 513597"/>
                <a:gd name="connsiteY26" fmla="*/ 264332 h 404670"/>
                <a:gd name="connsiteX27" fmla="*/ 153083 w 513597"/>
                <a:gd name="connsiteY27" fmla="*/ 267382 h 404670"/>
                <a:gd name="connsiteX28" fmla="*/ 165287 w 513597"/>
                <a:gd name="connsiteY28" fmla="*/ 267382 h 404670"/>
                <a:gd name="connsiteX29" fmla="*/ 201896 w 513597"/>
                <a:gd name="connsiteY29" fmla="*/ 258230 h 404670"/>
                <a:gd name="connsiteX30" fmla="*/ 253760 w 513597"/>
                <a:gd name="connsiteY30" fmla="*/ 242975 h 404670"/>
                <a:gd name="connsiteX31" fmla="*/ 269015 w 513597"/>
                <a:gd name="connsiteY31" fmla="*/ 252128 h 404670"/>
                <a:gd name="connsiteX32" fmla="*/ 305625 w 513597"/>
                <a:gd name="connsiteY32" fmla="*/ 230772 h 404670"/>
                <a:gd name="connsiteX33" fmla="*/ 317829 w 513597"/>
                <a:gd name="connsiteY33" fmla="*/ 233823 h 404670"/>
                <a:gd name="connsiteX34" fmla="*/ 394100 w 513597"/>
                <a:gd name="connsiteY34" fmla="*/ 261281 h 404670"/>
                <a:gd name="connsiteX35" fmla="*/ 403253 w 513597"/>
                <a:gd name="connsiteY35" fmla="*/ 264332 h 404670"/>
                <a:gd name="connsiteX36" fmla="*/ 455117 w 513597"/>
                <a:gd name="connsiteY36" fmla="*/ 404670 h 404670"/>
                <a:gd name="connsiteX37" fmla="*/ 513082 w 513597"/>
                <a:gd name="connsiteY37" fmla="*/ 303992 h 404670"/>
                <a:gd name="connsiteX38" fmla="*/ 449015 w 513597"/>
                <a:gd name="connsiteY38" fmla="*/ 136196 h 40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3597" h="404670">
                  <a:moveTo>
                    <a:pt x="449015" y="136196"/>
                  </a:moveTo>
                  <a:cubicBezTo>
                    <a:pt x="449015" y="120941"/>
                    <a:pt x="445963" y="105687"/>
                    <a:pt x="430709" y="96535"/>
                  </a:cubicBezTo>
                  <a:cubicBezTo>
                    <a:pt x="415455" y="84331"/>
                    <a:pt x="418507" y="96535"/>
                    <a:pt x="418507" y="99586"/>
                  </a:cubicBezTo>
                  <a:cubicBezTo>
                    <a:pt x="409355" y="93484"/>
                    <a:pt x="400201" y="84331"/>
                    <a:pt x="387998" y="78230"/>
                  </a:cubicBezTo>
                  <a:cubicBezTo>
                    <a:pt x="381896" y="72128"/>
                    <a:pt x="378846" y="66027"/>
                    <a:pt x="375794" y="59924"/>
                  </a:cubicBezTo>
                  <a:cubicBezTo>
                    <a:pt x="366642" y="47721"/>
                    <a:pt x="360540" y="35518"/>
                    <a:pt x="345286" y="26365"/>
                  </a:cubicBezTo>
                  <a:cubicBezTo>
                    <a:pt x="333083" y="20264"/>
                    <a:pt x="323929" y="23314"/>
                    <a:pt x="311727" y="23314"/>
                  </a:cubicBezTo>
                  <a:cubicBezTo>
                    <a:pt x="290371" y="23314"/>
                    <a:pt x="275117" y="17213"/>
                    <a:pt x="256812" y="8060"/>
                  </a:cubicBezTo>
                  <a:cubicBezTo>
                    <a:pt x="253760" y="5010"/>
                    <a:pt x="247658" y="1959"/>
                    <a:pt x="244608" y="1959"/>
                  </a:cubicBezTo>
                  <a:cubicBezTo>
                    <a:pt x="198845" y="-10245"/>
                    <a:pt x="165287" y="38569"/>
                    <a:pt x="119524" y="38569"/>
                  </a:cubicBezTo>
                  <a:cubicBezTo>
                    <a:pt x="95116" y="38569"/>
                    <a:pt x="70709" y="35518"/>
                    <a:pt x="58507" y="59924"/>
                  </a:cubicBezTo>
                  <a:cubicBezTo>
                    <a:pt x="52405" y="75179"/>
                    <a:pt x="52405" y="87382"/>
                    <a:pt x="43253" y="102637"/>
                  </a:cubicBezTo>
                  <a:cubicBezTo>
                    <a:pt x="37151" y="111789"/>
                    <a:pt x="27999" y="120941"/>
                    <a:pt x="24947" y="130094"/>
                  </a:cubicBezTo>
                  <a:cubicBezTo>
                    <a:pt x="18845" y="139247"/>
                    <a:pt x="15795" y="154501"/>
                    <a:pt x="18845" y="166704"/>
                  </a:cubicBezTo>
                  <a:cubicBezTo>
                    <a:pt x="21897" y="185009"/>
                    <a:pt x="31049" y="185009"/>
                    <a:pt x="21897" y="200264"/>
                  </a:cubicBezTo>
                  <a:cubicBezTo>
                    <a:pt x="15795" y="215518"/>
                    <a:pt x="6642" y="227721"/>
                    <a:pt x="3590" y="242975"/>
                  </a:cubicBezTo>
                  <a:cubicBezTo>
                    <a:pt x="-5562" y="276535"/>
                    <a:pt x="3590" y="310094"/>
                    <a:pt x="21897" y="340603"/>
                  </a:cubicBezTo>
                  <a:cubicBezTo>
                    <a:pt x="24947" y="343653"/>
                    <a:pt x="27999" y="343653"/>
                    <a:pt x="31049" y="343653"/>
                  </a:cubicBezTo>
                  <a:cubicBezTo>
                    <a:pt x="34099" y="361959"/>
                    <a:pt x="40201" y="374162"/>
                    <a:pt x="40201" y="374162"/>
                  </a:cubicBezTo>
                  <a:cubicBezTo>
                    <a:pt x="37151" y="355857"/>
                    <a:pt x="43253" y="337552"/>
                    <a:pt x="58507" y="319246"/>
                  </a:cubicBezTo>
                  <a:cubicBezTo>
                    <a:pt x="67659" y="316196"/>
                    <a:pt x="79862" y="313145"/>
                    <a:pt x="89016" y="307043"/>
                  </a:cubicBezTo>
                  <a:cubicBezTo>
                    <a:pt x="98168" y="300942"/>
                    <a:pt x="101218" y="291789"/>
                    <a:pt x="107320" y="285687"/>
                  </a:cubicBezTo>
                  <a:cubicBezTo>
                    <a:pt x="107320" y="282636"/>
                    <a:pt x="110370" y="279586"/>
                    <a:pt x="113422" y="276535"/>
                  </a:cubicBezTo>
                  <a:cubicBezTo>
                    <a:pt x="116472" y="276535"/>
                    <a:pt x="119524" y="273484"/>
                    <a:pt x="119524" y="273484"/>
                  </a:cubicBezTo>
                  <a:cubicBezTo>
                    <a:pt x="122574" y="273484"/>
                    <a:pt x="122574" y="273484"/>
                    <a:pt x="125624" y="273484"/>
                  </a:cubicBezTo>
                  <a:cubicBezTo>
                    <a:pt x="128676" y="270433"/>
                    <a:pt x="128676" y="270433"/>
                    <a:pt x="131726" y="270433"/>
                  </a:cubicBezTo>
                  <a:cubicBezTo>
                    <a:pt x="134778" y="267382"/>
                    <a:pt x="137828" y="267382"/>
                    <a:pt x="140879" y="264332"/>
                  </a:cubicBezTo>
                  <a:cubicBezTo>
                    <a:pt x="143931" y="264332"/>
                    <a:pt x="150033" y="264332"/>
                    <a:pt x="153083" y="267382"/>
                  </a:cubicBezTo>
                  <a:cubicBezTo>
                    <a:pt x="156133" y="267382"/>
                    <a:pt x="162235" y="267382"/>
                    <a:pt x="165287" y="267382"/>
                  </a:cubicBezTo>
                  <a:cubicBezTo>
                    <a:pt x="177489" y="267382"/>
                    <a:pt x="189693" y="264332"/>
                    <a:pt x="201896" y="258230"/>
                  </a:cubicBezTo>
                  <a:cubicBezTo>
                    <a:pt x="220202" y="249077"/>
                    <a:pt x="229354" y="233823"/>
                    <a:pt x="253760" y="242975"/>
                  </a:cubicBezTo>
                  <a:cubicBezTo>
                    <a:pt x="259862" y="246026"/>
                    <a:pt x="262912" y="252128"/>
                    <a:pt x="269015" y="252128"/>
                  </a:cubicBezTo>
                  <a:cubicBezTo>
                    <a:pt x="284269" y="255179"/>
                    <a:pt x="296473" y="242975"/>
                    <a:pt x="305625" y="230772"/>
                  </a:cubicBezTo>
                  <a:cubicBezTo>
                    <a:pt x="308675" y="230772"/>
                    <a:pt x="314777" y="233823"/>
                    <a:pt x="317829" y="233823"/>
                  </a:cubicBezTo>
                  <a:cubicBezTo>
                    <a:pt x="339184" y="249077"/>
                    <a:pt x="366642" y="258230"/>
                    <a:pt x="394100" y="261281"/>
                  </a:cubicBezTo>
                  <a:cubicBezTo>
                    <a:pt x="400201" y="264332"/>
                    <a:pt x="403253" y="264332"/>
                    <a:pt x="403253" y="264332"/>
                  </a:cubicBezTo>
                  <a:cubicBezTo>
                    <a:pt x="403253" y="264332"/>
                    <a:pt x="461218" y="374162"/>
                    <a:pt x="455117" y="404670"/>
                  </a:cubicBezTo>
                  <a:cubicBezTo>
                    <a:pt x="455117" y="404670"/>
                    <a:pt x="497828" y="358908"/>
                    <a:pt x="513082" y="303992"/>
                  </a:cubicBezTo>
                  <a:cubicBezTo>
                    <a:pt x="516134" y="246026"/>
                    <a:pt x="506980" y="157552"/>
                    <a:pt x="449015" y="136196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B686E9EA-8482-4F6B-922A-B7464E8B3285}"/>
                </a:ext>
              </a:extLst>
            </p:cNvPr>
            <p:cNvSpPr/>
            <p:nvPr/>
          </p:nvSpPr>
          <p:spPr>
            <a:xfrm>
              <a:off x="20010678" y="8387820"/>
              <a:ext cx="250169" cy="258417"/>
            </a:xfrm>
            <a:custGeom>
              <a:avLst/>
              <a:gdLst>
                <a:gd name="connsiteX0" fmla="*/ 0 w 250169"/>
                <a:gd name="connsiteY0" fmla="*/ 39661 h 258417"/>
                <a:gd name="connsiteX1" fmla="*/ 6102 w 250169"/>
                <a:gd name="connsiteY1" fmla="*/ 213559 h 258417"/>
                <a:gd name="connsiteX2" fmla="*/ 250170 w 250169"/>
                <a:gd name="connsiteY2" fmla="*/ 204407 h 258417"/>
                <a:gd name="connsiteX3" fmla="*/ 234916 w 250169"/>
                <a:gd name="connsiteY3" fmla="*/ 0 h 258417"/>
                <a:gd name="connsiteX4" fmla="*/ 0 w 250169"/>
                <a:gd name="connsiteY4" fmla="*/ 39661 h 25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69" h="258417">
                  <a:moveTo>
                    <a:pt x="0" y="39661"/>
                  </a:moveTo>
                  <a:cubicBezTo>
                    <a:pt x="0" y="39661"/>
                    <a:pt x="6102" y="140339"/>
                    <a:pt x="6102" y="213559"/>
                  </a:cubicBezTo>
                  <a:cubicBezTo>
                    <a:pt x="6102" y="213559"/>
                    <a:pt x="100679" y="320339"/>
                    <a:pt x="250170" y="204407"/>
                  </a:cubicBezTo>
                  <a:cubicBezTo>
                    <a:pt x="250170" y="143390"/>
                    <a:pt x="237968" y="64068"/>
                    <a:pt x="234916" y="0"/>
                  </a:cubicBezTo>
                  <a:cubicBezTo>
                    <a:pt x="237968" y="0"/>
                    <a:pt x="51865" y="51864"/>
                    <a:pt x="0" y="3966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599326EC-1B6C-452E-BB9E-0858D854788E}"/>
                </a:ext>
              </a:extLst>
            </p:cNvPr>
            <p:cNvSpPr/>
            <p:nvPr/>
          </p:nvSpPr>
          <p:spPr>
            <a:xfrm>
              <a:off x="19451919" y="8552566"/>
              <a:ext cx="1223845" cy="1567951"/>
            </a:xfrm>
            <a:custGeom>
              <a:avLst/>
              <a:gdLst>
                <a:gd name="connsiteX0" fmla="*/ 827235 w 1223845"/>
                <a:gd name="connsiteY0" fmla="*/ 0 h 1567951"/>
                <a:gd name="connsiteX1" fmla="*/ 537404 w 1223845"/>
                <a:gd name="connsiteY1" fmla="*/ 0 h 1567951"/>
                <a:gd name="connsiteX2" fmla="*/ 238420 w 1223845"/>
                <a:gd name="connsiteY2" fmla="*/ 131187 h 1567951"/>
                <a:gd name="connsiteX3" fmla="*/ 152996 w 1223845"/>
                <a:gd name="connsiteY3" fmla="*/ 1537627 h 1567951"/>
                <a:gd name="connsiteX4" fmla="*/ 1223845 w 1223845"/>
                <a:gd name="connsiteY4" fmla="*/ 1513220 h 1567951"/>
                <a:gd name="connsiteX5" fmla="*/ 1107911 w 1223845"/>
                <a:gd name="connsiteY5" fmla="*/ 103729 h 1567951"/>
                <a:gd name="connsiteX6" fmla="*/ 827235 w 1223845"/>
                <a:gd name="connsiteY6" fmla="*/ 0 h 156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3845" h="1567951">
                  <a:moveTo>
                    <a:pt x="827235" y="0"/>
                  </a:moveTo>
                  <a:cubicBezTo>
                    <a:pt x="827235" y="0"/>
                    <a:pt x="653336" y="54915"/>
                    <a:pt x="537404" y="0"/>
                  </a:cubicBezTo>
                  <a:cubicBezTo>
                    <a:pt x="537404" y="0"/>
                    <a:pt x="262828" y="97627"/>
                    <a:pt x="238420" y="131187"/>
                  </a:cubicBezTo>
                  <a:cubicBezTo>
                    <a:pt x="214013" y="161695"/>
                    <a:pt x="-225308" y="1202034"/>
                    <a:pt x="152996" y="1537627"/>
                  </a:cubicBezTo>
                  <a:cubicBezTo>
                    <a:pt x="152996" y="1537627"/>
                    <a:pt x="644184" y="1620000"/>
                    <a:pt x="1223845" y="1513220"/>
                  </a:cubicBezTo>
                  <a:cubicBezTo>
                    <a:pt x="1223845" y="1156272"/>
                    <a:pt x="1150624" y="134238"/>
                    <a:pt x="1107911" y="103729"/>
                  </a:cubicBezTo>
                  <a:cubicBezTo>
                    <a:pt x="1065201" y="70170"/>
                    <a:pt x="827235" y="0"/>
                    <a:pt x="827235" y="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AEECE4E8-AEAA-4A14-847B-FEADC54DA37E}"/>
                </a:ext>
              </a:extLst>
            </p:cNvPr>
            <p:cNvSpPr/>
            <p:nvPr/>
          </p:nvSpPr>
          <p:spPr>
            <a:xfrm>
              <a:off x="19446271" y="8675363"/>
              <a:ext cx="249407" cy="850423"/>
            </a:xfrm>
            <a:custGeom>
              <a:avLst/>
              <a:gdLst>
                <a:gd name="connsiteX0" fmla="*/ 6102 w 249407"/>
                <a:gd name="connsiteY0" fmla="*/ 850424 h 850423"/>
                <a:gd name="connsiteX1" fmla="*/ 6102 w 249407"/>
                <a:gd name="connsiteY1" fmla="*/ 850424 h 850423"/>
                <a:gd name="connsiteX2" fmla="*/ 0 w 249407"/>
                <a:gd name="connsiteY2" fmla="*/ 844322 h 850423"/>
                <a:gd name="connsiteX3" fmla="*/ 237968 w 249407"/>
                <a:gd name="connsiteY3" fmla="*/ 2288 h 850423"/>
                <a:gd name="connsiteX4" fmla="*/ 247120 w 249407"/>
                <a:gd name="connsiteY4" fmla="*/ 2288 h 850423"/>
                <a:gd name="connsiteX5" fmla="*/ 247120 w 249407"/>
                <a:gd name="connsiteY5" fmla="*/ 11441 h 850423"/>
                <a:gd name="connsiteX6" fmla="*/ 9154 w 249407"/>
                <a:gd name="connsiteY6" fmla="*/ 847373 h 850423"/>
                <a:gd name="connsiteX7" fmla="*/ 6102 w 249407"/>
                <a:gd name="connsiteY7" fmla="*/ 850424 h 850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407" h="850423">
                  <a:moveTo>
                    <a:pt x="6102" y="850424"/>
                  </a:moveTo>
                  <a:cubicBezTo>
                    <a:pt x="6102" y="850424"/>
                    <a:pt x="6102" y="850424"/>
                    <a:pt x="6102" y="850424"/>
                  </a:cubicBezTo>
                  <a:cubicBezTo>
                    <a:pt x="3052" y="850424"/>
                    <a:pt x="0" y="847373"/>
                    <a:pt x="0" y="844322"/>
                  </a:cubicBezTo>
                  <a:cubicBezTo>
                    <a:pt x="0" y="838220"/>
                    <a:pt x="97627" y="200593"/>
                    <a:pt x="237968" y="2288"/>
                  </a:cubicBezTo>
                  <a:cubicBezTo>
                    <a:pt x="241018" y="-763"/>
                    <a:pt x="244068" y="-763"/>
                    <a:pt x="247120" y="2288"/>
                  </a:cubicBezTo>
                  <a:cubicBezTo>
                    <a:pt x="250170" y="5339"/>
                    <a:pt x="250170" y="8390"/>
                    <a:pt x="247120" y="11441"/>
                  </a:cubicBezTo>
                  <a:cubicBezTo>
                    <a:pt x="109832" y="206695"/>
                    <a:pt x="12204" y="841271"/>
                    <a:pt x="9154" y="847373"/>
                  </a:cubicBezTo>
                  <a:cubicBezTo>
                    <a:pt x="12204" y="850424"/>
                    <a:pt x="9154" y="850424"/>
                    <a:pt x="6102" y="850424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4A7117D0-1CEB-4A18-B8DA-14A7E84AD6FE}"/>
                </a:ext>
              </a:extLst>
            </p:cNvPr>
            <p:cNvSpPr/>
            <p:nvPr/>
          </p:nvSpPr>
          <p:spPr>
            <a:xfrm>
              <a:off x="20004578" y="8417065"/>
              <a:ext cx="245331" cy="68382"/>
            </a:xfrm>
            <a:custGeom>
              <a:avLst/>
              <a:gdLst>
                <a:gd name="connsiteX0" fmla="*/ 103728 w 245331"/>
                <a:gd name="connsiteY0" fmla="*/ 68382 h 68382"/>
                <a:gd name="connsiteX1" fmla="*/ 82371 w 245331"/>
                <a:gd name="connsiteY1" fmla="*/ 65331 h 68382"/>
                <a:gd name="connsiteX2" fmla="*/ 27457 w 245331"/>
                <a:gd name="connsiteY2" fmla="*/ 47027 h 68382"/>
                <a:gd name="connsiteX3" fmla="*/ 3050 w 245331"/>
                <a:gd name="connsiteY3" fmla="*/ 34823 h 68382"/>
                <a:gd name="connsiteX4" fmla="*/ 0 w 245331"/>
                <a:gd name="connsiteY4" fmla="*/ 25671 h 68382"/>
                <a:gd name="connsiteX5" fmla="*/ 9152 w 245331"/>
                <a:gd name="connsiteY5" fmla="*/ 22620 h 68382"/>
                <a:gd name="connsiteX6" fmla="*/ 18304 w 245331"/>
                <a:gd name="connsiteY6" fmla="*/ 28721 h 68382"/>
                <a:gd name="connsiteX7" fmla="*/ 24406 w 245331"/>
                <a:gd name="connsiteY7" fmla="*/ 28721 h 68382"/>
                <a:gd name="connsiteX8" fmla="*/ 33559 w 245331"/>
                <a:gd name="connsiteY8" fmla="*/ 34823 h 68382"/>
                <a:gd name="connsiteX9" fmla="*/ 82371 w 245331"/>
                <a:gd name="connsiteY9" fmla="*/ 53128 h 68382"/>
                <a:gd name="connsiteX10" fmla="*/ 94576 w 245331"/>
                <a:gd name="connsiteY10" fmla="*/ 53128 h 68382"/>
                <a:gd name="connsiteX11" fmla="*/ 186101 w 245331"/>
                <a:gd name="connsiteY11" fmla="*/ 25671 h 68382"/>
                <a:gd name="connsiteX12" fmla="*/ 234914 w 245331"/>
                <a:gd name="connsiteY12" fmla="*/ 1264 h 68382"/>
                <a:gd name="connsiteX13" fmla="*/ 244068 w 245331"/>
                <a:gd name="connsiteY13" fmla="*/ 4314 h 68382"/>
                <a:gd name="connsiteX14" fmla="*/ 241016 w 245331"/>
                <a:gd name="connsiteY14" fmla="*/ 13467 h 68382"/>
                <a:gd name="connsiteX15" fmla="*/ 192203 w 245331"/>
                <a:gd name="connsiteY15" fmla="*/ 37874 h 68382"/>
                <a:gd name="connsiteX16" fmla="*/ 118982 w 245331"/>
                <a:gd name="connsiteY16" fmla="*/ 65331 h 68382"/>
                <a:gd name="connsiteX17" fmla="*/ 103728 w 245331"/>
                <a:gd name="connsiteY17" fmla="*/ 68382 h 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5331" h="68382">
                  <a:moveTo>
                    <a:pt x="103728" y="68382"/>
                  </a:moveTo>
                  <a:cubicBezTo>
                    <a:pt x="97626" y="68382"/>
                    <a:pt x="88473" y="68382"/>
                    <a:pt x="82371" y="65331"/>
                  </a:cubicBezTo>
                  <a:cubicBezTo>
                    <a:pt x="57965" y="62281"/>
                    <a:pt x="39661" y="53128"/>
                    <a:pt x="27457" y="47027"/>
                  </a:cubicBezTo>
                  <a:cubicBezTo>
                    <a:pt x="15254" y="40925"/>
                    <a:pt x="6100" y="34823"/>
                    <a:pt x="3050" y="34823"/>
                  </a:cubicBezTo>
                  <a:cubicBezTo>
                    <a:pt x="0" y="31772"/>
                    <a:pt x="0" y="28721"/>
                    <a:pt x="0" y="25671"/>
                  </a:cubicBezTo>
                  <a:cubicBezTo>
                    <a:pt x="3050" y="22620"/>
                    <a:pt x="6100" y="22620"/>
                    <a:pt x="9152" y="22620"/>
                  </a:cubicBezTo>
                  <a:cubicBezTo>
                    <a:pt x="9152" y="22620"/>
                    <a:pt x="12202" y="25671"/>
                    <a:pt x="18304" y="28721"/>
                  </a:cubicBezTo>
                  <a:cubicBezTo>
                    <a:pt x="21354" y="28721"/>
                    <a:pt x="21354" y="28721"/>
                    <a:pt x="24406" y="28721"/>
                  </a:cubicBezTo>
                  <a:cubicBezTo>
                    <a:pt x="24406" y="28721"/>
                    <a:pt x="27457" y="31772"/>
                    <a:pt x="33559" y="34823"/>
                  </a:cubicBezTo>
                  <a:cubicBezTo>
                    <a:pt x="48813" y="40925"/>
                    <a:pt x="67117" y="50077"/>
                    <a:pt x="82371" y="53128"/>
                  </a:cubicBezTo>
                  <a:cubicBezTo>
                    <a:pt x="85423" y="53128"/>
                    <a:pt x="91525" y="53128"/>
                    <a:pt x="94576" y="53128"/>
                  </a:cubicBezTo>
                  <a:cubicBezTo>
                    <a:pt x="118982" y="53128"/>
                    <a:pt x="155592" y="37874"/>
                    <a:pt x="186101" y="25671"/>
                  </a:cubicBezTo>
                  <a:cubicBezTo>
                    <a:pt x="213559" y="13467"/>
                    <a:pt x="234914" y="1264"/>
                    <a:pt x="234914" y="1264"/>
                  </a:cubicBezTo>
                  <a:cubicBezTo>
                    <a:pt x="237966" y="-1787"/>
                    <a:pt x="241016" y="1264"/>
                    <a:pt x="244068" y="4314"/>
                  </a:cubicBezTo>
                  <a:cubicBezTo>
                    <a:pt x="247118" y="7365"/>
                    <a:pt x="244068" y="10416"/>
                    <a:pt x="241016" y="13467"/>
                  </a:cubicBezTo>
                  <a:cubicBezTo>
                    <a:pt x="237966" y="13467"/>
                    <a:pt x="216609" y="25671"/>
                    <a:pt x="192203" y="37874"/>
                  </a:cubicBezTo>
                  <a:cubicBezTo>
                    <a:pt x="167797" y="50077"/>
                    <a:pt x="137288" y="62281"/>
                    <a:pt x="118982" y="65331"/>
                  </a:cubicBezTo>
                  <a:cubicBezTo>
                    <a:pt x="112880" y="68382"/>
                    <a:pt x="106780" y="68382"/>
                    <a:pt x="103728" y="68382"/>
                  </a:cubicBezTo>
                  <a:close/>
                </a:path>
              </a:pathLst>
            </a:custGeom>
            <a:solidFill>
              <a:srgbClr val="E87952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4" name="图形 1">
              <a:extLst>
                <a:ext uri="{FF2B5EF4-FFF2-40B4-BE49-F238E27FC236}">
                  <a16:creationId xmlns:a16="http://schemas.microsoft.com/office/drawing/2014/main" id="{E01D5E61-96D7-40CA-8F49-933F50E763EB}"/>
                </a:ext>
              </a:extLst>
            </p:cNvPr>
            <p:cNvGrpSpPr/>
            <p:nvPr/>
          </p:nvGrpSpPr>
          <p:grpSpPr>
            <a:xfrm>
              <a:off x="19818376" y="7703033"/>
              <a:ext cx="797894" cy="343092"/>
              <a:chOff x="19818376" y="7703033"/>
              <a:chExt cx="797894" cy="343092"/>
            </a:xfrm>
          </p:grpSpPr>
          <p:grpSp>
            <p:nvGrpSpPr>
              <p:cNvPr id="134" name="图形 1">
                <a:extLst>
                  <a:ext uri="{FF2B5EF4-FFF2-40B4-BE49-F238E27FC236}">
                    <a16:creationId xmlns:a16="http://schemas.microsoft.com/office/drawing/2014/main" id="{5A1D9616-85F4-4D81-9019-9093E922A7F5}"/>
                  </a:ext>
                </a:extLst>
              </p:cNvPr>
              <p:cNvGrpSpPr/>
              <p:nvPr/>
            </p:nvGrpSpPr>
            <p:grpSpPr>
              <a:xfrm>
                <a:off x="19842857" y="7703033"/>
                <a:ext cx="773413" cy="325789"/>
                <a:chOff x="19842857" y="7703033"/>
                <a:chExt cx="773413" cy="325789"/>
              </a:xfrm>
            </p:grpSpPr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A5E6657F-C50E-426E-9980-1EB514C16148}"/>
                    </a:ext>
                  </a:extLst>
                </p:cNvPr>
                <p:cNvSpPr/>
                <p:nvPr/>
              </p:nvSpPr>
              <p:spPr>
                <a:xfrm>
                  <a:off x="19842857" y="7703033"/>
                  <a:ext cx="619347" cy="325789"/>
                </a:xfrm>
                <a:custGeom>
                  <a:avLst/>
                  <a:gdLst>
                    <a:gd name="connsiteX0" fmla="*/ 176974 w 619347"/>
                    <a:gd name="connsiteY0" fmla="*/ 19703 h 325789"/>
                    <a:gd name="connsiteX1" fmla="*/ 616295 w 619347"/>
                    <a:gd name="connsiteY1" fmla="*/ 138685 h 325789"/>
                    <a:gd name="connsiteX2" fmla="*/ 619347 w 619347"/>
                    <a:gd name="connsiteY2" fmla="*/ 147838 h 325789"/>
                    <a:gd name="connsiteX3" fmla="*/ 543076 w 619347"/>
                    <a:gd name="connsiteY3" fmla="*/ 208855 h 325789"/>
                    <a:gd name="connsiteX4" fmla="*/ 564431 w 619347"/>
                    <a:gd name="connsiteY4" fmla="*/ 294279 h 325789"/>
                    <a:gd name="connsiteX5" fmla="*/ 561381 w 619347"/>
                    <a:gd name="connsiteY5" fmla="*/ 300381 h 325789"/>
                    <a:gd name="connsiteX6" fmla="*/ 555278 w 619347"/>
                    <a:gd name="connsiteY6" fmla="*/ 303432 h 325789"/>
                    <a:gd name="connsiteX7" fmla="*/ 219685 w 619347"/>
                    <a:gd name="connsiteY7" fmla="*/ 324787 h 325789"/>
                    <a:gd name="connsiteX8" fmla="*/ 6126 w 619347"/>
                    <a:gd name="connsiteY8" fmla="*/ 282076 h 325789"/>
                    <a:gd name="connsiteX9" fmla="*/ 24 w 619347"/>
                    <a:gd name="connsiteY9" fmla="*/ 272923 h 325789"/>
                    <a:gd name="connsiteX10" fmla="*/ 176974 w 619347"/>
                    <a:gd name="connsiteY10" fmla="*/ 19703 h 325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19347" h="325789">
                      <a:moveTo>
                        <a:pt x="176974" y="19703"/>
                      </a:moveTo>
                      <a:cubicBezTo>
                        <a:pt x="341719" y="-29111"/>
                        <a:pt x="500364" y="13601"/>
                        <a:pt x="616295" y="138685"/>
                      </a:cubicBezTo>
                      <a:cubicBezTo>
                        <a:pt x="619347" y="141737"/>
                        <a:pt x="619347" y="144788"/>
                        <a:pt x="619347" y="147838"/>
                      </a:cubicBezTo>
                      <a:cubicBezTo>
                        <a:pt x="619347" y="150889"/>
                        <a:pt x="597991" y="196652"/>
                        <a:pt x="543076" y="208855"/>
                      </a:cubicBezTo>
                      <a:cubicBezTo>
                        <a:pt x="558330" y="248516"/>
                        <a:pt x="564431" y="291228"/>
                        <a:pt x="564431" y="294279"/>
                      </a:cubicBezTo>
                      <a:cubicBezTo>
                        <a:pt x="564431" y="297330"/>
                        <a:pt x="564431" y="300381"/>
                        <a:pt x="561381" y="300381"/>
                      </a:cubicBezTo>
                      <a:cubicBezTo>
                        <a:pt x="561381" y="303432"/>
                        <a:pt x="558330" y="303432"/>
                        <a:pt x="555278" y="303432"/>
                      </a:cubicBezTo>
                      <a:cubicBezTo>
                        <a:pt x="414940" y="324787"/>
                        <a:pt x="305109" y="327838"/>
                        <a:pt x="219685" y="324787"/>
                      </a:cubicBezTo>
                      <a:cubicBezTo>
                        <a:pt x="79347" y="315635"/>
                        <a:pt x="9178" y="285126"/>
                        <a:pt x="6126" y="282076"/>
                      </a:cubicBezTo>
                      <a:cubicBezTo>
                        <a:pt x="3076" y="282076"/>
                        <a:pt x="24" y="279025"/>
                        <a:pt x="24" y="272923"/>
                      </a:cubicBezTo>
                      <a:cubicBezTo>
                        <a:pt x="24" y="272923"/>
                        <a:pt x="-6076" y="74618"/>
                        <a:pt x="176974" y="1970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FD25CD92-A380-4E8A-8D18-DA56AAC7FFC4}"/>
                    </a:ext>
                  </a:extLst>
                </p:cNvPr>
                <p:cNvSpPr/>
                <p:nvPr/>
              </p:nvSpPr>
              <p:spPr>
                <a:xfrm>
                  <a:off x="20400043" y="7737990"/>
                  <a:ext cx="216227" cy="205603"/>
                </a:xfrm>
                <a:custGeom>
                  <a:avLst/>
                  <a:gdLst>
                    <a:gd name="connsiteX0" fmla="*/ 1145 w 216227"/>
                    <a:gd name="connsiteY0" fmla="*/ 97627 h 205603"/>
                    <a:gd name="connsiteX1" fmla="*/ 10297 w 216227"/>
                    <a:gd name="connsiteY1" fmla="*/ 67119 h 205603"/>
                    <a:gd name="connsiteX2" fmla="*/ 22499 w 216227"/>
                    <a:gd name="connsiteY2" fmla="*/ 57966 h 205603"/>
                    <a:gd name="connsiteX3" fmla="*/ 34703 w 216227"/>
                    <a:gd name="connsiteY3" fmla="*/ 30508 h 205603"/>
                    <a:gd name="connsiteX4" fmla="*/ 56059 w 216227"/>
                    <a:gd name="connsiteY4" fmla="*/ 21356 h 205603"/>
                    <a:gd name="connsiteX5" fmla="*/ 71314 w 216227"/>
                    <a:gd name="connsiteY5" fmla="*/ 21356 h 205603"/>
                    <a:gd name="connsiteX6" fmla="*/ 117076 w 216227"/>
                    <a:gd name="connsiteY6" fmla="*/ 0 h 205603"/>
                    <a:gd name="connsiteX7" fmla="*/ 159787 w 216227"/>
                    <a:gd name="connsiteY7" fmla="*/ 30508 h 205603"/>
                    <a:gd name="connsiteX8" fmla="*/ 202500 w 216227"/>
                    <a:gd name="connsiteY8" fmla="*/ 73220 h 205603"/>
                    <a:gd name="connsiteX9" fmla="*/ 202500 w 216227"/>
                    <a:gd name="connsiteY9" fmla="*/ 128136 h 205603"/>
                    <a:gd name="connsiteX10" fmla="*/ 193348 w 216227"/>
                    <a:gd name="connsiteY10" fmla="*/ 170848 h 205603"/>
                    <a:gd name="connsiteX11" fmla="*/ 165889 w 216227"/>
                    <a:gd name="connsiteY11" fmla="*/ 183051 h 205603"/>
                    <a:gd name="connsiteX12" fmla="*/ 159787 w 216227"/>
                    <a:gd name="connsiteY12" fmla="*/ 183051 h 205603"/>
                    <a:gd name="connsiteX13" fmla="*/ 159787 w 216227"/>
                    <a:gd name="connsiteY13" fmla="*/ 183051 h 205603"/>
                    <a:gd name="connsiteX14" fmla="*/ 132331 w 216227"/>
                    <a:gd name="connsiteY14" fmla="*/ 204407 h 205603"/>
                    <a:gd name="connsiteX15" fmla="*/ 98770 w 216227"/>
                    <a:gd name="connsiteY15" fmla="*/ 198305 h 205603"/>
                    <a:gd name="connsiteX16" fmla="*/ 74364 w 216227"/>
                    <a:gd name="connsiteY16" fmla="*/ 198305 h 205603"/>
                    <a:gd name="connsiteX17" fmla="*/ 46907 w 216227"/>
                    <a:gd name="connsiteY17" fmla="*/ 176949 h 205603"/>
                    <a:gd name="connsiteX18" fmla="*/ 40805 w 216227"/>
                    <a:gd name="connsiteY18" fmla="*/ 161695 h 205603"/>
                    <a:gd name="connsiteX19" fmla="*/ 22499 w 216227"/>
                    <a:gd name="connsiteY19" fmla="*/ 146441 h 205603"/>
                    <a:gd name="connsiteX20" fmla="*/ 22499 w 216227"/>
                    <a:gd name="connsiteY20" fmla="*/ 118983 h 205603"/>
                    <a:gd name="connsiteX21" fmla="*/ 19449 w 216227"/>
                    <a:gd name="connsiteY21" fmla="*/ 115932 h 205603"/>
                    <a:gd name="connsiteX22" fmla="*/ 1145 w 216227"/>
                    <a:gd name="connsiteY22" fmla="*/ 97627 h 205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16227" h="205603">
                      <a:moveTo>
                        <a:pt x="1145" y="97627"/>
                      </a:moveTo>
                      <a:cubicBezTo>
                        <a:pt x="-1907" y="88474"/>
                        <a:pt x="1145" y="73220"/>
                        <a:pt x="10297" y="67119"/>
                      </a:cubicBezTo>
                      <a:cubicBezTo>
                        <a:pt x="13347" y="64068"/>
                        <a:pt x="19449" y="61017"/>
                        <a:pt x="22499" y="57966"/>
                      </a:cubicBezTo>
                      <a:cubicBezTo>
                        <a:pt x="22499" y="48814"/>
                        <a:pt x="25551" y="39661"/>
                        <a:pt x="34703" y="30508"/>
                      </a:cubicBezTo>
                      <a:cubicBezTo>
                        <a:pt x="40805" y="24407"/>
                        <a:pt x="46907" y="21356"/>
                        <a:pt x="56059" y="21356"/>
                      </a:cubicBezTo>
                      <a:cubicBezTo>
                        <a:pt x="59110" y="21356"/>
                        <a:pt x="65212" y="21356"/>
                        <a:pt x="71314" y="21356"/>
                      </a:cubicBezTo>
                      <a:cubicBezTo>
                        <a:pt x="80466" y="9153"/>
                        <a:pt x="95720" y="0"/>
                        <a:pt x="117076" y="0"/>
                      </a:cubicBezTo>
                      <a:cubicBezTo>
                        <a:pt x="135381" y="3051"/>
                        <a:pt x="150635" y="15254"/>
                        <a:pt x="159787" y="30508"/>
                      </a:cubicBezTo>
                      <a:cubicBezTo>
                        <a:pt x="187246" y="30508"/>
                        <a:pt x="202500" y="51864"/>
                        <a:pt x="202500" y="73220"/>
                      </a:cubicBezTo>
                      <a:cubicBezTo>
                        <a:pt x="220804" y="88474"/>
                        <a:pt x="220804" y="115932"/>
                        <a:pt x="202500" y="128136"/>
                      </a:cubicBezTo>
                      <a:cubicBezTo>
                        <a:pt x="205550" y="143390"/>
                        <a:pt x="202500" y="158644"/>
                        <a:pt x="193348" y="170848"/>
                      </a:cubicBezTo>
                      <a:cubicBezTo>
                        <a:pt x="187246" y="180000"/>
                        <a:pt x="178093" y="183051"/>
                        <a:pt x="165889" y="183051"/>
                      </a:cubicBezTo>
                      <a:cubicBezTo>
                        <a:pt x="162839" y="183051"/>
                        <a:pt x="162839" y="183051"/>
                        <a:pt x="159787" y="183051"/>
                      </a:cubicBezTo>
                      <a:cubicBezTo>
                        <a:pt x="159787" y="183051"/>
                        <a:pt x="159787" y="183051"/>
                        <a:pt x="159787" y="183051"/>
                      </a:cubicBezTo>
                      <a:cubicBezTo>
                        <a:pt x="153687" y="195254"/>
                        <a:pt x="144533" y="204407"/>
                        <a:pt x="132331" y="204407"/>
                      </a:cubicBezTo>
                      <a:cubicBezTo>
                        <a:pt x="120126" y="207458"/>
                        <a:pt x="107924" y="204407"/>
                        <a:pt x="98770" y="198305"/>
                      </a:cubicBezTo>
                      <a:cubicBezTo>
                        <a:pt x="89618" y="201356"/>
                        <a:pt x="83516" y="201356"/>
                        <a:pt x="74364" y="198305"/>
                      </a:cubicBezTo>
                      <a:cubicBezTo>
                        <a:pt x="62161" y="195254"/>
                        <a:pt x="53007" y="189152"/>
                        <a:pt x="46907" y="176949"/>
                      </a:cubicBezTo>
                      <a:cubicBezTo>
                        <a:pt x="43855" y="173898"/>
                        <a:pt x="40805" y="167797"/>
                        <a:pt x="40805" y="161695"/>
                      </a:cubicBezTo>
                      <a:cubicBezTo>
                        <a:pt x="34703" y="158644"/>
                        <a:pt x="25551" y="155593"/>
                        <a:pt x="22499" y="146441"/>
                      </a:cubicBezTo>
                      <a:cubicBezTo>
                        <a:pt x="16399" y="134237"/>
                        <a:pt x="19449" y="128136"/>
                        <a:pt x="22499" y="118983"/>
                      </a:cubicBezTo>
                      <a:cubicBezTo>
                        <a:pt x="22499" y="118983"/>
                        <a:pt x="19449" y="118983"/>
                        <a:pt x="19449" y="115932"/>
                      </a:cubicBezTo>
                      <a:cubicBezTo>
                        <a:pt x="7245" y="112881"/>
                        <a:pt x="4195" y="106780"/>
                        <a:pt x="1145" y="9762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5E7437AD-741D-4B0E-81D5-63D70410F687}"/>
                  </a:ext>
                </a:extLst>
              </p:cNvPr>
              <p:cNvSpPr/>
              <p:nvPr/>
            </p:nvSpPr>
            <p:spPr>
              <a:xfrm>
                <a:off x="20354069" y="7855617"/>
                <a:ext cx="53219" cy="123389"/>
              </a:xfrm>
              <a:custGeom>
                <a:avLst/>
                <a:gdLst>
                  <a:gd name="connsiteX0" fmla="*/ 47119 w 53219"/>
                  <a:gd name="connsiteY0" fmla="*/ 123390 h 123389"/>
                  <a:gd name="connsiteX1" fmla="*/ 41017 w 53219"/>
                  <a:gd name="connsiteY1" fmla="*/ 117288 h 123389"/>
                  <a:gd name="connsiteX2" fmla="*/ 1356 w 53219"/>
                  <a:gd name="connsiteY2" fmla="*/ 10508 h 123389"/>
                  <a:gd name="connsiteX3" fmla="*/ 1356 w 53219"/>
                  <a:gd name="connsiteY3" fmla="*/ 1356 h 123389"/>
                  <a:gd name="connsiteX4" fmla="*/ 10509 w 53219"/>
                  <a:gd name="connsiteY4" fmla="*/ 1356 h 123389"/>
                  <a:gd name="connsiteX5" fmla="*/ 53219 w 53219"/>
                  <a:gd name="connsiteY5" fmla="*/ 111187 h 123389"/>
                  <a:gd name="connsiteX6" fmla="*/ 47119 w 53219"/>
                  <a:gd name="connsiteY6" fmla="*/ 123390 h 123389"/>
                  <a:gd name="connsiteX7" fmla="*/ 47119 w 53219"/>
                  <a:gd name="connsiteY7" fmla="*/ 123390 h 123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3219" h="123389">
                    <a:moveTo>
                      <a:pt x="47119" y="123390"/>
                    </a:moveTo>
                    <a:cubicBezTo>
                      <a:pt x="44067" y="123390"/>
                      <a:pt x="41017" y="120339"/>
                      <a:pt x="41017" y="117288"/>
                    </a:cubicBezTo>
                    <a:cubicBezTo>
                      <a:pt x="41017" y="117288"/>
                      <a:pt x="28813" y="50170"/>
                      <a:pt x="1356" y="10508"/>
                    </a:cubicBezTo>
                    <a:cubicBezTo>
                      <a:pt x="-1696" y="7458"/>
                      <a:pt x="1356" y="4407"/>
                      <a:pt x="1356" y="1356"/>
                    </a:cubicBezTo>
                    <a:cubicBezTo>
                      <a:pt x="4407" y="-1695"/>
                      <a:pt x="7457" y="1356"/>
                      <a:pt x="10509" y="1356"/>
                    </a:cubicBezTo>
                    <a:cubicBezTo>
                      <a:pt x="41017" y="44068"/>
                      <a:pt x="53219" y="108135"/>
                      <a:pt x="53219" y="111187"/>
                    </a:cubicBezTo>
                    <a:cubicBezTo>
                      <a:pt x="53219" y="120339"/>
                      <a:pt x="53219" y="123390"/>
                      <a:pt x="47119" y="123390"/>
                    </a:cubicBezTo>
                    <a:cubicBezTo>
                      <a:pt x="50169" y="123390"/>
                      <a:pt x="50169" y="123390"/>
                      <a:pt x="47119" y="12339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C20BDD55-8E10-42E0-94CD-FF35CEE63567}"/>
                  </a:ext>
                </a:extLst>
              </p:cNvPr>
              <p:cNvSpPr/>
              <p:nvPr/>
            </p:nvSpPr>
            <p:spPr>
              <a:xfrm>
                <a:off x="19818376" y="7940792"/>
                <a:ext cx="615606" cy="102478"/>
              </a:xfrm>
              <a:custGeom>
                <a:avLst/>
                <a:gdLst>
                  <a:gd name="connsiteX0" fmla="*/ 39759 w 615606"/>
                  <a:gd name="connsiteY0" fmla="*/ 1605 h 102478"/>
                  <a:gd name="connsiteX1" fmla="*/ 585862 w 615606"/>
                  <a:gd name="connsiteY1" fmla="*/ 22960 h 102478"/>
                  <a:gd name="connsiteX2" fmla="*/ 585862 w 615606"/>
                  <a:gd name="connsiteY2" fmla="*/ 87028 h 102478"/>
                  <a:gd name="connsiteX3" fmla="*/ 24505 w 615606"/>
                  <a:gd name="connsiteY3" fmla="*/ 62622 h 102478"/>
                  <a:gd name="connsiteX4" fmla="*/ 39759 w 615606"/>
                  <a:gd name="connsiteY4" fmla="*/ 1605 h 102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5606" h="102478">
                    <a:moveTo>
                      <a:pt x="39759" y="1605"/>
                    </a:moveTo>
                    <a:cubicBezTo>
                      <a:pt x="219760" y="53469"/>
                      <a:pt x="402811" y="41266"/>
                      <a:pt x="585862" y="22960"/>
                    </a:cubicBezTo>
                    <a:cubicBezTo>
                      <a:pt x="625522" y="19910"/>
                      <a:pt x="625522" y="83977"/>
                      <a:pt x="585862" y="87028"/>
                    </a:cubicBezTo>
                    <a:cubicBezTo>
                      <a:pt x="396709" y="105334"/>
                      <a:pt x="207556" y="117537"/>
                      <a:pt x="24505" y="62622"/>
                    </a:cubicBezTo>
                    <a:cubicBezTo>
                      <a:pt x="-18206" y="50418"/>
                      <a:pt x="98" y="-10599"/>
                      <a:pt x="39759" y="1605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FBCDF69A-0D8F-4625-BEAC-592EC9510A98}"/>
                  </a:ext>
                </a:extLst>
              </p:cNvPr>
              <p:cNvSpPr/>
              <p:nvPr/>
            </p:nvSpPr>
            <p:spPr>
              <a:xfrm>
                <a:off x="19835517" y="7960702"/>
                <a:ext cx="599504" cy="85423"/>
              </a:xfrm>
              <a:custGeom>
                <a:avLst/>
                <a:gdLst>
                  <a:gd name="connsiteX0" fmla="*/ 309399 w 599504"/>
                  <a:gd name="connsiteY0" fmla="*/ 85424 h 85423"/>
                  <a:gd name="connsiteX1" fmla="*/ 4314 w 599504"/>
                  <a:gd name="connsiteY1" fmla="*/ 45763 h 85423"/>
                  <a:gd name="connsiteX2" fmla="*/ 1264 w 599504"/>
                  <a:gd name="connsiteY2" fmla="*/ 39661 h 85423"/>
                  <a:gd name="connsiteX3" fmla="*/ 7364 w 599504"/>
                  <a:gd name="connsiteY3" fmla="*/ 36610 h 85423"/>
                  <a:gd name="connsiteX4" fmla="*/ 568721 w 599504"/>
                  <a:gd name="connsiteY4" fmla="*/ 61017 h 85423"/>
                  <a:gd name="connsiteX5" fmla="*/ 590077 w 599504"/>
                  <a:gd name="connsiteY5" fmla="*/ 45763 h 85423"/>
                  <a:gd name="connsiteX6" fmla="*/ 587025 w 599504"/>
                  <a:gd name="connsiteY6" fmla="*/ 18305 h 85423"/>
                  <a:gd name="connsiteX7" fmla="*/ 565671 w 599504"/>
                  <a:gd name="connsiteY7" fmla="*/ 9153 h 85423"/>
                  <a:gd name="connsiteX8" fmla="*/ 376518 w 599504"/>
                  <a:gd name="connsiteY8" fmla="*/ 24407 h 85423"/>
                  <a:gd name="connsiteX9" fmla="*/ 370416 w 599504"/>
                  <a:gd name="connsiteY9" fmla="*/ 18305 h 85423"/>
                  <a:gd name="connsiteX10" fmla="*/ 376518 w 599504"/>
                  <a:gd name="connsiteY10" fmla="*/ 12203 h 85423"/>
                  <a:gd name="connsiteX11" fmla="*/ 562619 w 599504"/>
                  <a:gd name="connsiteY11" fmla="*/ 0 h 85423"/>
                  <a:gd name="connsiteX12" fmla="*/ 593128 w 599504"/>
                  <a:gd name="connsiteY12" fmla="*/ 12203 h 85423"/>
                  <a:gd name="connsiteX13" fmla="*/ 596180 w 599504"/>
                  <a:gd name="connsiteY13" fmla="*/ 51864 h 85423"/>
                  <a:gd name="connsiteX14" fmla="*/ 565671 w 599504"/>
                  <a:gd name="connsiteY14" fmla="*/ 73220 h 85423"/>
                  <a:gd name="connsiteX15" fmla="*/ 309399 w 599504"/>
                  <a:gd name="connsiteY15" fmla="*/ 85424 h 85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99504" h="85423">
                    <a:moveTo>
                      <a:pt x="309399" y="85424"/>
                    </a:moveTo>
                    <a:cubicBezTo>
                      <a:pt x="205670" y="85424"/>
                      <a:pt x="104992" y="76271"/>
                      <a:pt x="4314" y="45763"/>
                    </a:cubicBezTo>
                    <a:cubicBezTo>
                      <a:pt x="1264" y="45763"/>
                      <a:pt x="-1788" y="42712"/>
                      <a:pt x="1264" y="39661"/>
                    </a:cubicBezTo>
                    <a:cubicBezTo>
                      <a:pt x="1264" y="36610"/>
                      <a:pt x="4314" y="33559"/>
                      <a:pt x="7364" y="36610"/>
                    </a:cubicBezTo>
                    <a:cubicBezTo>
                      <a:pt x="190415" y="91525"/>
                      <a:pt x="376518" y="79322"/>
                      <a:pt x="568721" y="61017"/>
                    </a:cubicBezTo>
                    <a:cubicBezTo>
                      <a:pt x="583975" y="61017"/>
                      <a:pt x="590077" y="51864"/>
                      <a:pt x="590077" y="45763"/>
                    </a:cubicBezTo>
                    <a:cubicBezTo>
                      <a:pt x="593128" y="36610"/>
                      <a:pt x="593128" y="24407"/>
                      <a:pt x="587025" y="18305"/>
                    </a:cubicBezTo>
                    <a:cubicBezTo>
                      <a:pt x="583975" y="12203"/>
                      <a:pt x="574823" y="9153"/>
                      <a:pt x="565671" y="9153"/>
                    </a:cubicBezTo>
                    <a:cubicBezTo>
                      <a:pt x="565671" y="9153"/>
                      <a:pt x="422281" y="21356"/>
                      <a:pt x="376518" y="24407"/>
                    </a:cubicBezTo>
                    <a:cubicBezTo>
                      <a:pt x="373466" y="24407"/>
                      <a:pt x="370416" y="21356"/>
                      <a:pt x="370416" y="18305"/>
                    </a:cubicBezTo>
                    <a:cubicBezTo>
                      <a:pt x="370416" y="15254"/>
                      <a:pt x="373466" y="12203"/>
                      <a:pt x="376518" y="12203"/>
                    </a:cubicBezTo>
                    <a:cubicBezTo>
                      <a:pt x="419229" y="12203"/>
                      <a:pt x="562619" y="0"/>
                      <a:pt x="562619" y="0"/>
                    </a:cubicBezTo>
                    <a:cubicBezTo>
                      <a:pt x="574823" y="0"/>
                      <a:pt x="587025" y="3051"/>
                      <a:pt x="593128" y="12203"/>
                    </a:cubicBezTo>
                    <a:cubicBezTo>
                      <a:pt x="599230" y="24407"/>
                      <a:pt x="602280" y="39661"/>
                      <a:pt x="596180" y="51864"/>
                    </a:cubicBezTo>
                    <a:cubicBezTo>
                      <a:pt x="590077" y="64068"/>
                      <a:pt x="577873" y="73220"/>
                      <a:pt x="565671" y="73220"/>
                    </a:cubicBezTo>
                    <a:cubicBezTo>
                      <a:pt x="480246" y="79322"/>
                      <a:pt x="394822" y="85424"/>
                      <a:pt x="309399" y="8542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BCAF0F6B-0400-4437-97DF-AEC247CA2B89}"/>
                </a:ext>
              </a:extLst>
            </p:cNvPr>
            <p:cNvSpPr/>
            <p:nvPr/>
          </p:nvSpPr>
          <p:spPr>
            <a:xfrm>
              <a:off x="19832562" y="8101040"/>
              <a:ext cx="520509" cy="586131"/>
            </a:xfrm>
            <a:custGeom>
              <a:avLst/>
              <a:gdLst>
                <a:gd name="connsiteX0" fmla="*/ 504557 w 520509"/>
                <a:gd name="connsiteY0" fmla="*/ 143390 h 586131"/>
                <a:gd name="connsiteX1" fmla="*/ 516762 w 520509"/>
                <a:gd name="connsiteY1" fmla="*/ 12204 h 586131"/>
                <a:gd name="connsiteX2" fmla="*/ 455745 w 520509"/>
                <a:gd name="connsiteY2" fmla="*/ 0 h 586131"/>
                <a:gd name="connsiteX3" fmla="*/ 419134 w 520509"/>
                <a:gd name="connsiteY3" fmla="*/ 222712 h 586131"/>
                <a:gd name="connsiteX4" fmla="*/ 287948 w 520509"/>
                <a:gd name="connsiteY4" fmla="*/ 216610 h 586131"/>
                <a:gd name="connsiteX5" fmla="*/ 248287 w 520509"/>
                <a:gd name="connsiteY5" fmla="*/ 207458 h 586131"/>
                <a:gd name="connsiteX6" fmla="*/ 156762 w 520509"/>
                <a:gd name="connsiteY6" fmla="*/ 244068 h 586131"/>
                <a:gd name="connsiteX7" fmla="*/ 80491 w 520509"/>
                <a:gd name="connsiteY7" fmla="*/ 125085 h 586131"/>
                <a:gd name="connsiteX8" fmla="*/ 46930 w 520509"/>
                <a:gd name="connsiteY8" fmla="*/ 100678 h 586131"/>
                <a:gd name="connsiteX9" fmla="*/ 68287 w 520509"/>
                <a:gd name="connsiteY9" fmla="*/ 198305 h 586131"/>
                <a:gd name="connsiteX10" fmla="*/ 62185 w 520509"/>
                <a:gd name="connsiteY10" fmla="*/ 500339 h 586131"/>
                <a:gd name="connsiteX11" fmla="*/ 65237 w 520509"/>
                <a:gd name="connsiteY11" fmla="*/ 573559 h 586131"/>
                <a:gd name="connsiteX12" fmla="*/ 519812 w 520509"/>
                <a:gd name="connsiteY12" fmla="*/ 271526 h 586131"/>
                <a:gd name="connsiteX13" fmla="*/ 504557 w 520509"/>
                <a:gd name="connsiteY13" fmla="*/ 143390 h 586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0509" h="586131">
                  <a:moveTo>
                    <a:pt x="504557" y="143390"/>
                  </a:moveTo>
                  <a:cubicBezTo>
                    <a:pt x="504557" y="143390"/>
                    <a:pt x="516762" y="12204"/>
                    <a:pt x="516762" y="12204"/>
                  </a:cubicBezTo>
                  <a:cubicBezTo>
                    <a:pt x="498455" y="9153"/>
                    <a:pt x="470999" y="6102"/>
                    <a:pt x="455745" y="0"/>
                  </a:cubicBezTo>
                  <a:cubicBezTo>
                    <a:pt x="455745" y="33560"/>
                    <a:pt x="443540" y="204407"/>
                    <a:pt x="419134" y="222712"/>
                  </a:cubicBezTo>
                  <a:cubicBezTo>
                    <a:pt x="385576" y="244068"/>
                    <a:pt x="306252" y="256271"/>
                    <a:pt x="287948" y="216610"/>
                  </a:cubicBezTo>
                  <a:cubicBezTo>
                    <a:pt x="287948" y="216610"/>
                    <a:pt x="263542" y="231865"/>
                    <a:pt x="248287" y="207458"/>
                  </a:cubicBezTo>
                  <a:cubicBezTo>
                    <a:pt x="248287" y="207458"/>
                    <a:pt x="217779" y="247119"/>
                    <a:pt x="156762" y="244068"/>
                  </a:cubicBezTo>
                  <a:cubicBezTo>
                    <a:pt x="126253" y="241017"/>
                    <a:pt x="86591" y="155593"/>
                    <a:pt x="80491" y="125085"/>
                  </a:cubicBezTo>
                  <a:cubicBezTo>
                    <a:pt x="68287" y="131187"/>
                    <a:pt x="59134" y="103729"/>
                    <a:pt x="46930" y="100678"/>
                  </a:cubicBezTo>
                  <a:cubicBezTo>
                    <a:pt x="46930" y="103729"/>
                    <a:pt x="68287" y="195255"/>
                    <a:pt x="68287" y="198305"/>
                  </a:cubicBezTo>
                  <a:cubicBezTo>
                    <a:pt x="68287" y="198305"/>
                    <a:pt x="-81206" y="411864"/>
                    <a:pt x="62185" y="500339"/>
                  </a:cubicBezTo>
                  <a:cubicBezTo>
                    <a:pt x="101845" y="524746"/>
                    <a:pt x="65237" y="573559"/>
                    <a:pt x="65237" y="573559"/>
                  </a:cubicBezTo>
                  <a:cubicBezTo>
                    <a:pt x="65237" y="573559"/>
                    <a:pt x="541168" y="680339"/>
                    <a:pt x="519812" y="271526"/>
                  </a:cubicBezTo>
                  <a:cubicBezTo>
                    <a:pt x="516762" y="204407"/>
                    <a:pt x="504557" y="143390"/>
                    <a:pt x="504557" y="143390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2F463FCA-BC1F-40F7-9F42-5FDD7BE7BAB0}"/>
                </a:ext>
              </a:extLst>
            </p:cNvPr>
            <p:cNvSpPr/>
            <p:nvPr/>
          </p:nvSpPr>
          <p:spPr>
            <a:xfrm>
              <a:off x="19952713" y="8285831"/>
              <a:ext cx="253219" cy="70909"/>
            </a:xfrm>
            <a:custGeom>
              <a:avLst/>
              <a:gdLst>
                <a:gd name="connsiteX0" fmla="*/ 61017 w 253219"/>
                <a:gd name="connsiteY0" fmla="*/ 7413 h 70909"/>
                <a:gd name="connsiteX1" fmla="*/ 0 w 253219"/>
                <a:gd name="connsiteY1" fmla="*/ 34871 h 70909"/>
                <a:gd name="connsiteX2" fmla="*/ 118982 w 253219"/>
                <a:gd name="connsiteY2" fmla="*/ 56227 h 70909"/>
                <a:gd name="connsiteX3" fmla="*/ 253220 w 253219"/>
                <a:gd name="connsiteY3" fmla="*/ 31820 h 70909"/>
                <a:gd name="connsiteX4" fmla="*/ 204407 w 253219"/>
                <a:gd name="connsiteY4" fmla="*/ 25719 h 70909"/>
                <a:gd name="connsiteX5" fmla="*/ 125084 w 253219"/>
                <a:gd name="connsiteY5" fmla="*/ 10464 h 70909"/>
                <a:gd name="connsiteX6" fmla="*/ 61017 w 253219"/>
                <a:gd name="connsiteY6" fmla="*/ 7413 h 7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219" h="70909">
                  <a:moveTo>
                    <a:pt x="61017" y="7413"/>
                  </a:moveTo>
                  <a:cubicBezTo>
                    <a:pt x="36611" y="19617"/>
                    <a:pt x="30508" y="40973"/>
                    <a:pt x="0" y="34871"/>
                  </a:cubicBezTo>
                  <a:cubicBezTo>
                    <a:pt x="0" y="34871"/>
                    <a:pt x="48813" y="98939"/>
                    <a:pt x="118982" y="56227"/>
                  </a:cubicBezTo>
                  <a:cubicBezTo>
                    <a:pt x="118982" y="56227"/>
                    <a:pt x="207457" y="98939"/>
                    <a:pt x="253220" y="31820"/>
                  </a:cubicBezTo>
                  <a:cubicBezTo>
                    <a:pt x="253220" y="31820"/>
                    <a:pt x="219661" y="34871"/>
                    <a:pt x="204407" y="25719"/>
                  </a:cubicBezTo>
                  <a:cubicBezTo>
                    <a:pt x="189153" y="16566"/>
                    <a:pt x="167797" y="-10891"/>
                    <a:pt x="125084" y="10464"/>
                  </a:cubicBezTo>
                  <a:cubicBezTo>
                    <a:pt x="128136" y="10464"/>
                    <a:pt x="97627" y="-10891"/>
                    <a:pt x="61017" y="7413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57829326-153A-40E5-B8CB-29A50E39BA2E}"/>
                </a:ext>
              </a:extLst>
            </p:cNvPr>
            <p:cNvSpPr/>
            <p:nvPr/>
          </p:nvSpPr>
          <p:spPr>
            <a:xfrm>
              <a:off x="20022882" y="8375617"/>
              <a:ext cx="85423" cy="45908"/>
            </a:xfrm>
            <a:custGeom>
              <a:avLst/>
              <a:gdLst>
                <a:gd name="connsiteX0" fmla="*/ 0 w 85423"/>
                <a:gd name="connsiteY0" fmla="*/ 0 h 45908"/>
                <a:gd name="connsiteX1" fmla="*/ 85423 w 85423"/>
                <a:gd name="connsiteY1" fmla="*/ 3051 h 45908"/>
                <a:gd name="connsiteX2" fmla="*/ 39661 w 85423"/>
                <a:gd name="connsiteY2" fmla="*/ 45763 h 45908"/>
                <a:gd name="connsiteX3" fmla="*/ 0 w 85423"/>
                <a:gd name="connsiteY3" fmla="*/ 0 h 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423" h="45908">
                  <a:moveTo>
                    <a:pt x="0" y="0"/>
                  </a:moveTo>
                  <a:cubicBezTo>
                    <a:pt x="36611" y="15254"/>
                    <a:pt x="85423" y="3051"/>
                    <a:pt x="85423" y="3051"/>
                  </a:cubicBezTo>
                  <a:cubicBezTo>
                    <a:pt x="85423" y="3051"/>
                    <a:pt x="70169" y="48814"/>
                    <a:pt x="39661" y="45763"/>
                  </a:cubicBezTo>
                  <a:cubicBezTo>
                    <a:pt x="9152" y="427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8" name="图形 1">
              <a:extLst>
                <a:ext uri="{FF2B5EF4-FFF2-40B4-BE49-F238E27FC236}">
                  <a16:creationId xmlns:a16="http://schemas.microsoft.com/office/drawing/2014/main" id="{F35BEBEC-D9F3-4690-9A9D-630DF0AD26EB}"/>
                </a:ext>
              </a:extLst>
            </p:cNvPr>
            <p:cNvGrpSpPr/>
            <p:nvPr/>
          </p:nvGrpSpPr>
          <p:grpSpPr>
            <a:xfrm>
              <a:off x="20053390" y="8171210"/>
              <a:ext cx="57966" cy="137288"/>
              <a:chOff x="20053390" y="8171210"/>
              <a:chExt cx="57966" cy="137288"/>
            </a:xfrm>
          </p:grpSpPr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5CE1F5D3-0784-4AC4-8E86-07B92145C6EB}"/>
                  </a:ext>
                </a:extLst>
              </p:cNvPr>
              <p:cNvSpPr/>
              <p:nvPr/>
            </p:nvSpPr>
            <p:spPr>
              <a:xfrm>
                <a:off x="20059493" y="8177312"/>
                <a:ext cx="48812" cy="125505"/>
              </a:xfrm>
              <a:custGeom>
                <a:avLst/>
                <a:gdLst>
                  <a:gd name="connsiteX0" fmla="*/ 15254 w 48812"/>
                  <a:gd name="connsiteY0" fmla="*/ 0 h 125505"/>
                  <a:gd name="connsiteX1" fmla="*/ 0 w 48812"/>
                  <a:gd name="connsiteY1" fmla="*/ 112882 h 125505"/>
                  <a:gd name="connsiteX2" fmla="*/ 48813 w 48812"/>
                  <a:gd name="connsiteY2" fmla="*/ 122034 h 125505"/>
                  <a:gd name="connsiteX3" fmla="*/ 15254 w 48812"/>
                  <a:gd name="connsiteY3" fmla="*/ 0 h 12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2" h="125505">
                    <a:moveTo>
                      <a:pt x="15254" y="0"/>
                    </a:moveTo>
                    <a:cubicBezTo>
                      <a:pt x="15254" y="0"/>
                      <a:pt x="0" y="91525"/>
                      <a:pt x="0" y="112882"/>
                    </a:cubicBezTo>
                    <a:cubicBezTo>
                      <a:pt x="0" y="134238"/>
                      <a:pt x="48813" y="122034"/>
                      <a:pt x="48813" y="122034"/>
                    </a:cubicBezTo>
                    <a:lnTo>
                      <a:pt x="15254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358C4B07-D742-47F0-BA7F-6858F9396DB4}"/>
                  </a:ext>
                </a:extLst>
              </p:cNvPr>
              <p:cNvSpPr/>
              <p:nvPr/>
            </p:nvSpPr>
            <p:spPr>
              <a:xfrm>
                <a:off x="20053390" y="8171210"/>
                <a:ext cx="57966" cy="137288"/>
              </a:xfrm>
              <a:custGeom>
                <a:avLst/>
                <a:gdLst>
                  <a:gd name="connsiteX0" fmla="*/ 30508 w 57966"/>
                  <a:gd name="connsiteY0" fmla="*/ 137288 h 137288"/>
                  <a:gd name="connsiteX1" fmla="*/ 6102 w 57966"/>
                  <a:gd name="connsiteY1" fmla="*/ 131187 h 137288"/>
                  <a:gd name="connsiteX2" fmla="*/ 0 w 57966"/>
                  <a:gd name="connsiteY2" fmla="*/ 118983 h 137288"/>
                  <a:gd name="connsiteX3" fmla="*/ 15254 w 57966"/>
                  <a:gd name="connsiteY3" fmla="*/ 6102 h 137288"/>
                  <a:gd name="connsiteX4" fmla="*/ 21356 w 57966"/>
                  <a:gd name="connsiteY4" fmla="*/ 0 h 137288"/>
                  <a:gd name="connsiteX5" fmla="*/ 27458 w 57966"/>
                  <a:gd name="connsiteY5" fmla="*/ 6102 h 137288"/>
                  <a:gd name="connsiteX6" fmla="*/ 12204 w 57966"/>
                  <a:gd name="connsiteY6" fmla="*/ 118983 h 137288"/>
                  <a:gd name="connsiteX7" fmla="*/ 12204 w 57966"/>
                  <a:gd name="connsiteY7" fmla="*/ 122034 h 137288"/>
                  <a:gd name="connsiteX8" fmla="*/ 51865 w 57966"/>
                  <a:gd name="connsiteY8" fmla="*/ 122034 h 137288"/>
                  <a:gd name="connsiteX9" fmla="*/ 57967 w 57966"/>
                  <a:gd name="connsiteY9" fmla="*/ 128136 h 137288"/>
                  <a:gd name="connsiteX10" fmla="*/ 51865 w 57966"/>
                  <a:gd name="connsiteY10" fmla="*/ 134238 h 137288"/>
                  <a:gd name="connsiteX11" fmla="*/ 30508 w 57966"/>
                  <a:gd name="connsiteY11" fmla="*/ 137288 h 137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7966" h="137288">
                    <a:moveTo>
                      <a:pt x="30508" y="137288"/>
                    </a:moveTo>
                    <a:cubicBezTo>
                      <a:pt x="21356" y="137288"/>
                      <a:pt x="12204" y="137288"/>
                      <a:pt x="6102" y="131187"/>
                    </a:cubicBezTo>
                    <a:cubicBezTo>
                      <a:pt x="3050" y="128136"/>
                      <a:pt x="0" y="125085"/>
                      <a:pt x="0" y="118983"/>
                    </a:cubicBezTo>
                    <a:cubicBezTo>
                      <a:pt x="0" y="97627"/>
                      <a:pt x="15254" y="9153"/>
                      <a:pt x="15254" y="6102"/>
                    </a:cubicBezTo>
                    <a:cubicBezTo>
                      <a:pt x="15254" y="3051"/>
                      <a:pt x="18304" y="0"/>
                      <a:pt x="21356" y="0"/>
                    </a:cubicBezTo>
                    <a:cubicBezTo>
                      <a:pt x="24406" y="0"/>
                      <a:pt x="27458" y="3051"/>
                      <a:pt x="27458" y="6102"/>
                    </a:cubicBezTo>
                    <a:cubicBezTo>
                      <a:pt x="27458" y="6102"/>
                      <a:pt x="12204" y="97627"/>
                      <a:pt x="12204" y="118983"/>
                    </a:cubicBezTo>
                    <a:cubicBezTo>
                      <a:pt x="12204" y="118983"/>
                      <a:pt x="12204" y="122034"/>
                      <a:pt x="12204" y="122034"/>
                    </a:cubicBezTo>
                    <a:cubicBezTo>
                      <a:pt x="18304" y="128136"/>
                      <a:pt x="39661" y="125085"/>
                      <a:pt x="51865" y="122034"/>
                    </a:cubicBezTo>
                    <a:cubicBezTo>
                      <a:pt x="54915" y="122034"/>
                      <a:pt x="57967" y="122034"/>
                      <a:pt x="57967" y="128136"/>
                    </a:cubicBezTo>
                    <a:cubicBezTo>
                      <a:pt x="57967" y="131187"/>
                      <a:pt x="57967" y="134238"/>
                      <a:pt x="51865" y="134238"/>
                    </a:cubicBezTo>
                    <a:cubicBezTo>
                      <a:pt x="51865" y="137288"/>
                      <a:pt x="39661" y="137288"/>
                      <a:pt x="30508" y="1372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12949D73-7356-4B05-A569-D5676CC993C1}"/>
                </a:ext>
              </a:extLst>
            </p:cNvPr>
            <p:cNvSpPr/>
            <p:nvPr/>
          </p:nvSpPr>
          <p:spPr>
            <a:xfrm>
              <a:off x="19391356" y="10062736"/>
              <a:ext cx="1446102" cy="485206"/>
            </a:xfrm>
            <a:custGeom>
              <a:avLst/>
              <a:gdLst>
                <a:gd name="connsiteX0" fmla="*/ 216611 w 1446102"/>
                <a:gd name="connsiteY0" fmla="*/ 27457 h 485206"/>
                <a:gd name="connsiteX1" fmla="*/ 0 w 1446102"/>
                <a:gd name="connsiteY1" fmla="*/ 442373 h 485206"/>
                <a:gd name="connsiteX2" fmla="*/ 1446103 w 1446102"/>
                <a:gd name="connsiteY2" fmla="*/ 402711 h 485206"/>
                <a:gd name="connsiteX3" fmla="*/ 1287458 w 1446102"/>
                <a:gd name="connsiteY3" fmla="*/ 0 h 485206"/>
                <a:gd name="connsiteX4" fmla="*/ 216611 w 1446102"/>
                <a:gd name="connsiteY4" fmla="*/ 27457 h 485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6102" h="485206">
                  <a:moveTo>
                    <a:pt x="216611" y="27457"/>
                  </a:moveTo>
                  <a:lnTo>
                    <a:pt x="0" y="442373"/>
                  </a:lnTo>
                  <a:cubicBezTo>
                    <a:pt x="0" y="442373"/>
                    <a:pt x="1086103" y="561356"/>
                    <a:pt x="1446103" y="402711"/>
                  </a:cubicBezTo>
                  <a:lnTo>
                    <a:pt x="1287458" y="0"/>
                  </a:lnTo>
                  <a:lnTo>
                    <a:pt x="216611" y="27457"/>
                  </a:ln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FCAA35C1-EAC3-4BB3-947F-168325339535}"/>
                </a:ext>
              </a:extLst>
            </p:cNvPr>
            <p:cNvSpPr/>
            <p:nvPr/>
          </p:nvSpPr>
          <p:spPr>
            <a:xfrm>
              <a:off x="18451404" y="9166552"/>
              <a:ext cx="152101" cy="287254"/>
            </a:xfrm>
            <a:custGeom>
              <a:avLst/>
              <a:gdLst>
                <a:gd name="connsiteX0" fmla="*/ 61309 w 152101"/>
                <a:gd name="connsiteY0" fmla="*/ 26691 h 287254"/>
                <a:gd name="connsiteX1" fmla="*/ 292 w 152101"/>
                <a:gd name="connsiteY1" fmla="*/ 237200 h 287254"/>
                <a:gd name="connsiteX2" fmla="*/ 91817 w 152101"/>
                <a:gd name="connsiteY2" fmla="*/ 249403 h 287254"/>
                <a:gd name="connsiteX3" fmla="*/ 146732 w 152101"/>
                <a:gd name="connsiteY3" fmla="*/ 60251 h 287254"/>
                <a:gd name="connsiteX4" fmla="*/ 61309 w 152101"/>
                <a:gd name="connsiteY4" fmla="*/ 26691 h 287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101" h="287254">
                  <a:moveTo>
                    <a:pt x="61309" y="26691"/>
                  </a:moveTo>
                  <a:cubicBezTo>
                    <a:pt x="27750" y="93810"/>
                    <a:pt x="6394" y="163980"/>
                    <a:pt x="292" y="237200"/>
                  </a:cubicBezTo>
                  <a:cubicBezTo>
                    <a:pt x="-5810" y="295166"/>
                    <a:pt x="85715" y="307369"/>
                    <a:pt x="91817" y="249403"/>
                  </a:cubicBezTo>
                  <a:cubicBezTo>
                    <a:pt x="97919" y="182285"/>
                    <a:pt x="119276" y="121268"/>
                    <a:pt x="146732" y="60251"/>
                  </a:cubicBezTo>
                  <a:cubicBezTo>
                    <a:pt x="174191" y="5336"/>
                    <a:pt x="88767" y="-25173"/>
                    <a:pt x="61309" y="26691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4CDF04BB-C6B5-4650-AFA7-197521DE6CF4}"/>
                </a:ext>
              </a:extLst>
            </p:cNvPr>
            <p:cNvSpPr/>
            <p:nvPr/>
          </p:nvSpPr>
          <p:spPr>
            <a:xfrm>
              <a:off x="19350933" y="8604671"/>
              <a:ext cx="1510078" cy="1979921"/>
            </a:xfrm>
            <a:custGeom>
              <a:avLst/>
              <a:gdLst>
                <a:gd name="connsiteX0" fmla="*/ 1456017 w 1510078"/>
                <a:gd name="connsiteY0" fmla="*/ 1793658 h 1979921"/>
                <a:gd name="connsiteX1" fmla="*/ 437033 w 1510078"/>
                <a:gd name="connsiteY1" fmla="*/ 1866878 h 1979921"/>
                <a:gd name="connsiteX2" fmla="*/ 501102 w 1510078"/>
                <a:gd name="connsiteY2" fmla="*/ 1509929 h 1979921"/>
                <a:gd name="connsiteX3" fmla="*/ 504152 w 1510078"/>
                <a:gd name="connsiteY3" fmla="*/ 1497726 h 1979921"/>
                <a:gd name="connsiteX4" fmla="*/ 507202 w 1510078"/>
                <a:gd name="connsiteY4" fmla="*/ 1451963 h 1979921"/>
                <a:gd name="connsiteX5" fmla="*/ 415677 w 1510078"/>
                <a:gd name="connsiteY5" fmla="*/ 744167 h 1979921"/>
                <a:gd name="connsiteX6" fmla="*/ 681101 w 1510078"/>
                <a:gd name="connsiteY6" fmla="*/ 69929 h 1979921"/>
                <a:gd name="connsiteX7" fmla="*/ 601780 w 1510078"/>
                <a:gd name="connsiteY7" fmla="*/ 24166 h 1979921"/>
                <a:gd name="connsiteX8" fmla="*/ 321102 w 1510078"/>
                <a:gd name="connsiteY8" fmla="*/ 747217 h 1979921"/>
                <a:gd name="connsiteX9" fmla="*/ 415677 w 1510078"/>
                <a:gd name="connsiteY9" fmla="*/ 1476369 h 1979921"/>
                <a:gd name="connsiteX10" fmla="*/ 342458 w 1510078"/>
                <a:gd name="connsiteY10" fmla="*/ 1863827 h 1979921"/>
                <a:gd name="connsiteX11" fmla="*/ 43475 w 1510078"/>
                <a:gd name="connsiteY11" fmla="*/ 1842471 h 1979921"/>
                <a:gd name="connsiteX12" fmla="*/ 43475 w 1510078"/>
                <a:gd name="connsiteY12" fmla="*/ 1933997 h 1979921"/>
                <a:gd name="connsiteX13" fmla="*/ 1474322 w 1510078"/>
                <a:gd name="connsiteY13" fmla="*/ 1885184 h 1979921"/>
                <a:gd name="connsiteX14" fmla="*/ 1456017 w 1510078"/>
                <a:gd name="connsiteY14" fmla="*/ 1793658 h 197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10078" h="1979921">
                  <a:moveTo>
                    <a:pt x="1456017" y="1793658"/>
                  </a:moveTo>
                  <a:cubicBezTo>
                    <a:pt x="1132626" y="1903488"/>
                    <a:pt x="781779" y="1891285"/>
                    <a:pt x="437033" y="1866878"/>
                  </a:cubicBezTo>
                  <a:cubicBezTo>
                    <a:pt x="437033" y="1744845"/>
                    <a:pt x="449237" y="1622811"/>
                    <a:pt x="501102" y="1509929"/>
                  </a:cubicBezTo>
                  <a:cubicBezTo>
                    <a:pt x="504152" y="1503828"/>
                    <a:pt x="504152" y="1500777"/>
                    <a:pt x="504152" y="1497726"/>
                  </a:cubicBezTo>
                  <a:cubicBezTo>
                    <a:pt x="513305" y="1485523"/>
                    <a:pt x="516357" y="1467217"/>
                    <a:pt x="507202" y="1451963"/>
                  </a:cubicBezTo>
                  <a:cubicBezTo>
                    <a:pt x="409577" y="1247556"/>
                    <a:pt x="400423" y="966878"/>
                    <a:pt x="415677" y="744167"/>
                  </a:cubicBezTo>
                  <a:cubicBezTo>
                    <a:pt x="433983" y="484844"/>
                    <a:pt x="580424" y="295692"/>
                    <a:pt x="681101" y="69929"/>
                  </a:cubicBezTo>
                  <a:cubicBezTo>
                    <a:pt x="705508" y="18065"/>
                    <a:pt x="626186" y="-30749"/>
                    <a:pt x="601780" y="24166"/>
                  </a:cubicBezTo>
                  <a:cubicBezTo>
                    <a:pt x="491948" y="268234"/>
                    <a:pt x="339406" y="469590"/>
                    <a:pt x="321102" y="747217"/>
                  </a:cubicBezTo>
                  <a:cubicBezTo>
                    <a:pt x="305847" y="979082"/>
                    <a:pt x="318051" y="1259760"/>
                    <a:pt x="415677" y="1476369"/>
                  </a:cubicBezTo>
                  <a:cubicBezTo>
                    <a:pt x="360762" y="1598403"/>
                    <a:pt x="345508" y="1729590"/>
                    <a:pt x="342458" y="1863827"/>
                  </a:cubicBezTo>
                  <a:cubicBezTo>
                    <a:pt x="241780" y="1854675"/>
                    <a:pt x="141101" y="1848573"/>
                    <a:pt x="43475" y="1842471"/>
                  </a:cubicBezTo>
                  <a:cubicBezTo>
                    <a:pt x="-14492" y="1839421"/>
                    <a:pt x="-14492" y="1930946"/>
                    <a:pt x="43475" y="1933997"/>
                  </a:cubicBezTo>
                  <a:cubicBezTo>
                    <a:pt x="513305" y="1961455"/>
                    <a:pt x="1019746" y="2043827"/>
                    <a:pt x="1474322" y="1885184"/>
                  </a:cubicBezTo>
                  <a:cubicBezTo>
                    <a:pt x="1535339" y="1860776"/>
                    <a:pt x="1510932" y="1772302"/>
                    <a:pt x="1456017" y="1793658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D52CDE91-F438-4EFC-B5BE-938BACB1C038}"/>
                </a:ext>
              </a:extLst>
            </p:cNvPr>
            <p:cNvSpPr/>
            <p:nvPr/>
          </p:nvSpPr>
          <p:spPr>
            <a:xfrm>
              <a:off x="19556360" y="9977312"/>
              <a:ext cx="1139762" cy="179846"/>
            </a:xfrm>
            <a:custGeom>
              <a:avLst/>
              <a:gdLst>
                <a:gd name="connsiteX0" fmla="*/ 18047 w 1139762"/>
                <a:gd name="connsiteY0" fmla="*/ 170848 h 179846"/>
                <a:gd name="connsiteX1" fmla="*/ 1128556 w 1139762"/>
                <a:gd name="connsiteY1" fmla="*/ 112882 h 179846"/>
                <a:gd name="connsiteX2" fmla="*/ 1119404 w 1139762"/>
                <a:gd name="connsiteY2" fmla="*/ 0 h 179846"/>
                <a:gd name="connsiteX3" fmla="*/ 8895 w 1139762"/>
                <a:gd name="connsiteY3" fmla="*/ 70170 h 179846"/>
                <a:gd name="connsiteX4" fmla="*/ 18047 w 1139762"/>
                <a:gd name="connsiteY4" fmla="*/ 170848 h 17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9762" h="179846">
                  <a:moveTo>
                    <a:pt x="18047" y="170848"/>
                  </a:moveTo>
                  <a:cubicBezTo>
                    <a:pt x="18047" y="170848"/>
                    <a:pt x="808217" y="213559"/>
                    <a:pt x="1128556" y="112882"/>
                  </a:cubicBezTo>
                  <a:cubicBezTo>
                    <a:pt x="1128556" y="112882"/>
                    <a:pt x="1159065" y="42712"/>
                    <a:pt x="1119404" y="0"/>
                  </a:cubicBezTo>
                  <a:cubicBezTo>
                    <a:pt x="853980" y="88474"/>
                    <a:pt x="390251" y="85424"/>
                    <a:pt x="8895" y="70170"/>
                  </a:cubicBezTo>
                  <a:cubicBezTo>
                    <a:pt x="-15512" y="125085"/>
                    <a:pt x="18047" y="170848"/>
                    <a:pt x="18047" y="170848"/>
                  </a:cubicBezTo>
                  <a:close/>
                </a:path>
              </a:pathLst>
            </a:custGeom>
            <a:solidFill>
              <a:srgbClr val="6C5D68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3" name="图形 1">
              <a:extLst>
                <a:ext uri="{FF2B5EF4-FFF2-40B4-BE49-F238E27FC236}">
                  <a16:creationId xmlns:a16="http://schemas.microsoft.com/office/drawing/2014/main" id="{7E6ACD4A-8DF3-441D-B331-9CE31801B3A7}"/>
                </a:ext>
              </a:extLst>
            </p:cNvPr>
            <p:cNvGrpSpPr/>
            <p:nvPr/>
          </p:nvGrpSpPr>
          <p:grpSpPr>
            <a:xfrm>
              <a:off x="19699493" y="10013922"/>
              <a:ext cx="216609" cy="164745"/>
              <a:chOff x="19699493" y="10013922"/>
              <a:chExt cx="216609" cy="164745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796C11A7-DC53-44F5-B595-B9B75ACEE07E}"/>
                  </a:ext>
                </a:extLst>
              </p:cNvPr>
              <p:cNvSpPr/>
              <p:nvPr/>
            </p:nvSpPr>
            <p:spPr>
              <a:xfrm>
                <a:off x="19699493" y="10013922"/>
                <a:ext cx="216609" cy="164745"/>
              </a:xfrm>
              <a:custGeom>
                <a:avLst/>
                <a:gdLst>
                  <a:gd name="connsiteX0" fmla="*/ 21354 w 216609"/>
                  <a:gd name="connsiteY0" fmla="*/ 164746 h 164745"/>
                  <a:gd name="connsiteX1" fmla="*/ 195253 w 216609"/>
                  <a:gd name="connsiteY1" fmla="*/ 164746 h 164745"/>
                  <a:gd name="connsiteX2" fmla="*/ 216609 w 216609"/>
                  <a:gd name="connsiteY2" fmla="*/ 143389 h 164745"/>
                  <a:gd name="connsiteX3" fmla="*/ 216609 w 216609"/>
                  <a:gd name="connsiteY3" fmla="*/ 21355 h 164745"/>
                  <a:gd name="connsiteX4" fmla="*/ 195253 w 216609"/>
                  <a:gd name="connsiteY4" fmla="*/ 0 h 164745"/>
                  <a:gd name="connsiteX5" fmla="*/ 21354 w 216609"/>
                  <a:gd name="connsiteY5" fmla="*/ 0 h 164745"/>
                  <a:gd name="connsiteX6" fmla="*/ 0 w 216609"/>
                  <a:gd name="connsiteY6" fmla="*/ 21355 h 164745"/>
                  <a:gd name="connsiteX7" fmla="*/ 0 w 216609"/>
                  <a:gd name="connsiteY7" fmla="*/ 143389 h 164745"/>
                  <a:gd name="connsiteX8" fmla="*/ 21354 w 216609"/>
                  <a:gd name="connsiteY8" fmla="*/ 164746 h 164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6609" h="164745">
                    <a:moveTo>
                      <a:pt x="21354" y="164746"/>
                    </a:moveTo>
                    <a:lnTo>
                      <a:pt x="195253" y="164746"/>
                    </a:lnTo>
                    <a:cubicBezTo>
                      <a:pt x="207457" y="164746"/>
                      <a:pt x="216609" y="155593"/>
                      <a:pt x="216609" y="143389"/>
                    </a:cubicBezTo>
                    <a:lnTo>
                      <a:pt x="216609" y="21355"/>
                    </a:lnTo>
                    <a:cubicBezTo>
                      <a:pt x="216609" y="9152"/>
                      <a:pt x="207457" y="0"/>
                      <a:pt x="195253" y="0"/>
                    </a:cubicBezTo>
                    <a:lnTo>
                      <a:pt x="21354" y="0"/>
                    </a:lnTo>
                    <a:cubicBezTo>
                      <a:pt x="9152" y="0"/>
                      <a:pt x="0" y="9152"/>
                      <a:pt x="0" y="21355"/>
                    </a:cubicBezTo>
                    <a:lnTo>
                      <a:pt x="0" y="143389"/>
                    </a:lnTo>
                    <a:cubicBezTo>
                      <a:pt x="0" y="155593"/>
                      <a:pt x="9152" y="164746"/>
                      <a:pt x="21354" y="16474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D6798D5E-B8E8-4419-9CE0-721B40421D31}"/>
                  </a:ext>
                </a:extLst>
              </p:cNvPr>
              <p:cNvSpPr/>
              <p:nvPr/>
            </p:nvSpPr>
            <p:spPr>
              <a:xfrm>
                <a:off x="19729403" y="10038329"/>
                <a:ext cx="159241" cy="118982"/>
              </a:xfrm>
              <a:custGeom>
                <a:avLst/>
                <a:gdLst>
                  <a:gd name="connsiteX0" fmla="*/ 15853 w 159241"/>
                  <a:gd name="connsiteY0" fmla="*/ 118983 h 118982"/>
                  <a:gd name="connsiteX1" fmla="*/ 143987 w 159241"/>
                  <a:gd name="connsiteY1" fmla="*/ 118983 h 118982"/>
                  <a:gd name="connsiteX2" fmla="*/ 159241 w 159241"/>
                  <a:gd name="connsiteY2" fmla="*/ 103729 h 118982"/>
                  <a:gd name="connsiteX3" fmla="*/ 159241 w 159241"/>
                  <a:gd name="connsiteY3" fmla="*/ 15254 h 118982"/>
                  <a:gd name="connsiteX4" fmla="*/ 143987 w 159241"/>
                  <a:gd name="connsiteY4" fmla="*/ 0 h 118982"/>
                  <a:gd name="connsiteX5" fmla="*/ 15853 w 159241"/>
                  <a:gd name="connsiteY5" fmla="*/ 0 h 118982"/>
                  <a:gd name="connsiteX6" fmla="*/ 599 w 159241"/>
                  <a:gd name="connsiteY6" fmla="*/ 15254 h 118982"/>
                  <a:gd name="connsiteX7" fmla="*/ 599 w 159241"/>
                  <a:gd name="connsiteY7" fmla="*/ 103729 h 118982"/>
                  <a:gd name="connsiteX8" fmla="*/ 15853 w 159241"/>
                  <a:gd name="connsiteY8" fmla="*/ 118983 h 118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9241" h="118982">
                    <a:moveTo>
                      <a:pt x="15853" y="118983"/>
                    </a:moveTo>
                    <a:lnTo>
                      <a:pt x="143987" y="118983"/>
                    </a:lnTo>
                    <a:cubicBezTo>
                      <a:pt x="153141" y="118983"/>
                      <a:pt x="159241" y="112882"/>
                      <a:pt x="159241" y="103729"/>
                    </a:cubicBezTo>
                    <a:lnTo>
                      <a:pt x="159241" y="15254"/>
                    </a:lnTo>
                    <a:cubicBezTo>
                      <a:pt x="159241" y="6102"/>
                      <a:pt x="153141" y="0"/>
                      <a:pt x="143987" y="0"/>
                    </a:cubicBezTo>
                    <a:lnTo>
                      <a:pt x="15853" y="0"/>
                    </a:lnTo>
                    <a:cubicBezTo>
                      <a:pt x="6699" y="0"/>
                      <a:pt x="599" y="6102"/>
                      <a:pt x="599" y="15254"/>
                    </a:cubicBezTo>
                    <a:lnTo>
                      <a:pt x="599" y="103729"/>
                    </a:lnTo>
                    <a:cubicBezTo>
                      <a:pt x="-2453" y="112882"/>
                      <a:pt x="6699" y="118983"/>
                      <a:pt x="15853" y="11898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4" name="图形 1">
              <a:extLst>
                <a:ext uri="{FF2B5EF4-FFF2-40B4-BE49-F238E27FC236}">
                  <a16:creationId xmlns:a16="http://schemas.microsoft.com/office/drawing/2014/main" id="{1F56A271-7B5C-444C-8ADD-5170AA7BE931}"/>
                </a:ext>
              </a:extLst>
            </p:cNvPr>
            <p:cNvGrpSpPr/>
            <p:nvPr/>
          </p:nvGrpSpPr>
          <p:grpSpPr>
            <a:xfrm>
              <a:off x="17385776" y="8952166"/>
              <a:ext cx="1423882" cy="2357762"/>
              <a:chOff x="17385776" y="8952166"/>
              <a:chExt cx="1423882" cy="2357762"/>
            </a:xfrm>
          </p:grpSpPr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A3563FF6-C9C3-4590-9B8B-53E16B3E1983}"/>
                  </a:ext>
                </a:extLst>
              </p:cNvPr>
              <p:cNvSpPr/>
              <p:nvPr/>
            </p:nvSpPr>
            <p:spPr>
              <a:xfrm>
                <a:off x="17385776" y="8952166"/>
                <a:ext cx="1423882" cy="2357762"/>
              </a:xfrm>
              <a:custGeom>
                <a:avLst/>
                <a:gdLst>
                  <a:gd name="connsiteX0" fmla="*/ 773039 w 1423882"/>
                  <a:gd name="connsiteY0" fmla="*/ 311247 h 2357762"/>
                  <a:gd name="connsiteX1" fmla="*/ 651005 w 1423882"/>
                  <a:gd name="connsiteY1" fmla="*/ 115993 h 2357762"/>
                  <a:gd name="connsiteX2" fmla="*/ 782191 w 1423882"/>
                  <a:gd name="connsiteY2" fmla="*/ 177010 h 2357762"/>
                  <a:gd name="connsiteX3" fmla="*/ 730327 w 1423882"/>
                  <a:gd name="connsiteY3" fmla="*/ 24468 h 2357762"/>
                  <a:gd name="connsiteX4" fmla="*/ 885919 w 1423882"/>
                  <a:gd name="connsiteY4" fmla="*/ 109891 h 2357762"/>
                  <a:gd name="connsiteX5" fmla="*/ 901173 w 1423882"/>
                  <a:gd name="connsiteY5" fmla="*/ 61 h 2357762"/>
                  <a:gd name="connsiteX6" fmla="*/ 962190 w 1423882"/>
                  <a:gd name="connsiteY6" fmla="*/ 122095 h 2357762"/>
                  <a:gd name="connsiteX7" fmla="*/ 1035411 w 1423882"/>
                  <a:gd name="connsiteY7" fmla="*/ 18366 h 2357762"/>
                  <a:gd name="connsiteX8" fmla="*/ 1044564 w 1423882"/>
                  <a:gd name="connsiteY8" fmla="*/ 131247 h 2357762"/>
                  <a:gd name="connsiteX9" fmla="*/ 1148293 w 1423882"/>
                  <a:gd name="connsiteY9" fmla="*/ 115993 h 2357762"/>
                  <a:gd name="connsiteX10" fmla="*/ 968292 w 1423882"/>
                  <a:gd name="connsiteY10" fmla="*/ 299044 h 2357762"/>
                  <a:gd name="connsiteX11" fmla="*/ 965242 w 1423882"/>
                  <a:gd name="connsiteY11" fmla="*/ 302094 h 2357762"/>
                  <a:gd name="connsiteX12" fmla="*/ 992699 w 1423882"/>
                  <a:gd name="connsiteY12" fmla="*/ 329552 h 2357762"/>
                  <a:gd name="connsiteX13" fmla="*/ 1349648 w 1423882"/>
                  <a:gd name="connsiteY13" fmla="*/ 2089891 h 2357762"/>
                  <a:gd name="connsiteX14" fmla="*/ 65242 w 1423882"/>
                  <a:gd name="connsiteY14" fmla="*/ 2080739 h 2357762"/>
                  <a:gd name="connsiteX15" fmla="*/ 773039 w 1423882"/>
                  <a:gd name="connsiteY15" fmla="*/ 311247 h 235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23882" h="2357762">
                    <a:moveTo>
                      <a:pt x="773039" y="311247"/>
                    </a:moveTo>
                    <a:cubicBezTo>
                      <a:pt x="773039" y="311247"/>
                      <a:pt x="635751" y="119044"/>
                      <a:pt x="651005" y="115993"/>
                    </a:cubicBezTo>
                    <a:cubicBezTo>
                      <a:pt x="669310" y="112942"/>
                      <a:pt x="782191" y="177010"/>
                      <a:pt x="782191" y="177010"/>
                    </a:cubicBezTo>
                    <a:cubicBezTo>
                      <a:pt x="782191" y="177010"/>
                      <a:pt x="702868" y="27518"/>
                      <a:pt x="730327" y="24468"/>
                    </a:cubicBezTo>
                    <a:cubicBezTo>
                      <a:pt x="757785" y="24468"/>
                      <a:pt x="885919" y="109891"/>
                      <a:pt x="885919" y="109891"/>
                    </a:cubicBezTo>
                    <a:cubicBezTo>
                      <a:pt x="885919" y="109891"/>
                      <a:pt x="840156" y="-2990"/>
                      <a:pt x="901173" y="61"/>
                    </a:cubicBezTo>
                    <a:cubicBezTo>
                      <a:pt x="962190" y="61"/>
                      <a:pt x="962190" y="122095"/>
                      <a:pt x="962190" y="122095"/>
                    </a:cubicBezTo>
                    <a:cubicBezTo>
                      <a:pt x="962190" y="122095"/>
                      <a:pt x="1007953" y="21417"/>
                      <a:pt x="1035411" y="18366"/>
                    </a:cubicBezTo>
                    <a:cubicBezTo>
                      <a:pt x="1062870" y="15315"/>
                      <a:pt x="1044564" y="131247"/>
                      <a:pt x="1044564" y="131247"/>
                    </a:cubicBezTo>
                    <a:cubicBezTo>
                      <a:pt x="1044564" y="131247"/>
                      <a:pt x="1126937" y="97688"/>
                      <a:pt x="1148293" y="115993"/>
                    </a:cubicBezTo>
                    <a:cubicBezTo>
                      <a:pt x="1169649" y="134298"/>
                      <a:pt x="995751" y="277688"/>
                      <a:pt x="968292" y="299044"/>
                    </a:cubicBezTo>
                    <a:cubicBezTo>
                      <a:pt x="968292" y="299044"/>
                      <a:pt x="965242" y="302094"/>
                      <a:pt x="965242" y="302094"/>
                    </a:cubicBezTo>
                    <a:cubicBezTo>
                      <a:pt x="974394" y="308196"/>
                      <a:pt x="983547" y="317349"/>
                      <a:pt x="992699" y="329552"/>
                    </a:cubicBezTo>
                    <a:cubicBezTo>
                      <a:pt x="1065920" y="424128"/>
                      <a:pt x="1621175" y="1498027"/>
                      <a:pt x="1349648" y="2089891"/>
                    </a:cubicBezTo>
                    <a:cubicBezTo>
                      <a:pt x="1166598" y="2492603"/>
                      <a:pt x="229988" y="2401078"/>
                      <a:pt x="65242" y="2080739"/>
                    </a:cubicBezTo>
                    <a:cubicBezTo>
                      <a:pt x="-264250" y="1409552"/>
                      <a:pt x="760835" y="320400"/>
                      <a:pt x="773039" y="311247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B41E4E62-B61D-4BB2-9067-CEFFF7561174}"/>
                  </a:ext>
                </a:extLst>
              </p:cNvPr>
              <p:cNvSpPr/>
              <p:nvPr/>
            </p:nvSpPr>
            <p:spPr>
              <a:xfrm>
                <a:off x="17859831" y="9248159"/>
                <a:ext cx="500338" cy="680338"/>
              </a:xfrm>
              <a:custGeom>
                <a:avLst/>
                <a:gdLst>
                  <a:gd name="connsiteX0" fmla="*/ 6101 w 500338"/>
                  <a:gd name="connsiteY0" fmla="*/ 680339 h 680338"/>
                  <a:gd name="connsiteX1" fmla="*/ 6101 w 500338"/>
                  <a:gd name="connsiteY1" fmla="*/ 680339 h 680338"/>
                  <a:gd name="connsiteX2" fmla="*/ 0 w 500338"/>
                  <a:gd name="connsiteY2" fmla="*/ 674238 h 680338"/>
                  <a:gd name="connsiteX3" fmla="*/ 295932 w 500338"/>
                  <a:gd name="connsiteY3" fmla="*/ 12203 h 680338"/>
                  <a:gd name="connsiteX4" fmla="*/ 298984 w 500338"/>
                  <a:gd name="connsiteY4" fmla="*/ 9153 h 680338"/>
                  <a:gd name="connsiteX5" fmla="*/ 302034 w 500338"/>
                  <a:gd name="connsiteY5" fmla="*/ 9153 h 680338"/>
                  <a:gd name="connsiteX6" fmla="*/ 494237 w 500338"/>
                  <a:gd name="connsiteY6" fmla="*/ 0 h 680338"/>
                  <a:gd name="connsiteX7" fmla="*/ 500339 w 500338"/>
                  <a:gd name="connsiteY7" fmla="*/ 3051 h 680338"/>
                  <a:gd name="connsiteX8" fmla="*/ 497289 w 500338"/>
                  <a:gd name="connsiteY8" fmla="*/ 9153 h 680338"/>
                  <a:gd name="connsiteX9" fmla="*/ 302034 w 500338"/>
                  <a:gd name="connsiteY9" fmla="*/ 21356 h 680338"/>
                  <a:gd name="connsiteX10" fmla="*/ 12203 w 500338"/>
                  <a:gd name="connsiteY10" fmla="*/ 674238 h 680338"/>
                  <a:gd name="connsiteX11" fmla="*/ 6101 w 500338"/>
                  <a:gd name="connsiteY11" fmla="*/ 680339 h 680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00338" h="680338">
                    <a:moveTo>
                      <a:pt x="6101" y="680339"/>
                    </a:moveTo>
                    <a:cubicBezTo>
                      <a:pt x="3051" y="680339"/>
                      <a:pt x="3051" y="680339"/>
                      <a:pt x="6101" y="680339"/>
                    </a:cubicBezTo>
                    <a:cubicBezTo>
                      <a:pt x="3051" y="680339"/>
                      <a:pt x="0" y="677289"/>
                      <a:pt x="0" y="674238"/>
                    </a:cubicBezTo>
                    <a:cubicBezTo>
                      <a:pt x="18305" y="463729"/>
                      <a:pt x="283729" y="30508"/>
                      <a:pt x="295932" y="12203"/>
                    </a:cubicBezTo>
                    <a:lnTo>
                      <a:pt x="298984" y="9153"/>
                    </a:lnTo>
                    <a:lnTo>
                      <a:pt x="302034" y="9153"/>
                    </a:lnTo>
                    <a:cubicBezTo>
                      <a:pt x="399661" y="39661"/>
                      <a:pt x="491187" y="0"/>
                      <a:pt x="494237" y="0"/>
                    </a:cubicBezTo>
                    <a:cubicBezTo>
                      <a:pt x="497289" y="0"/>
                      <a:pt x="500339" y="0"/>
                      <a:pt x="500339" y="3051"/>
                    </a:cubicBezTo>
                    <a:cubicBezTo>
                      <a:pt x="500339" y="6102"/>
                      <a:pt x="500339" y="9153"/>
                      <a:pt x="497289" y="9153"/>
                    </a:cubicBezTo>
                    <a:cubicBezTo>
                      <a:pt x="494237" y="12203"/>
                      <a:pt x="402711" y="51864"/>
                      <a:pt x="302034" y="21356"/>
                    </a:cubicBezTo>
                    <a:cubicBezTo>
                      <a:pt x="274575" y="64068"/>
                      <a:pt x="27457" y="478983"/>
                      <a:pt x="12203" y="674238"/>
                    </a:cubicBezTo>
                    <a:cubicBezTo>
                      <a:pt x="9152" y="677289"/>
                      <a:pt x="6101" y="680339"/>
                      <a:pt x="6101" y="68033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78CFBFA0-D48E-43BC-818B-EC93328CEDE5}"/>
                  </a:ext>
                </a:extLst>
              </p:cNvPr>
              <p:cNvSpPr/>
              <p:nvPr/>
            </p:nvSpPr>
            <p:spPr>
              <a:xfrm>
                <a:off x="18137941" y="9257312"/>
                <a:ext cx="42227" cy="835932"/>
              </a:xfrm>
              <a:custGeom>
                <a:avLst/>
                <a:gdLst>
                  <a:gd name="connsiteX0" fmla="*/ 36128 w 42227"/>
                  <a:gd name="connsiteY0" fmla="*/ 835933 h 835932"/>
                  <a:gd name="connsiteX1" fmla="*/ 30026 w 42227"/>
                  <a:gd name="connsiteY1" fmla="*/ 832881 h 835932"/>
                  <a:gd name="connsiteX2" fmla="*/ 14771 w 42227"/>
                  <a:gd name="connsiteY2" fmla="*/ 6102 h 835932"/>
                  <a:gd name="connsiteX3" fmla="*/ 20873 w 42227"/>
                  <a:gd name="connsiteY3" fmla="*/ 0 h 835932"/>
                  <a:gd name="connsiteX4" fmla="*/ 26974 w 42227"/>
                  <a:gd name="connsiteY4" fmla="*/ 6102 h 835932"/>
                  <a:gd name="connsiteX5" fmla="*/ 42228 w 42227"/>
                  <a:gd name="connsiteY5" fmla="*/ 829830 h 835932"/>
                  <a:gd name="connsiteX6" fmla="*/ 36128 w 42227"/>
                  <a:gd name="connsiteY6" fmla="*/ 835933 h 835932"/>
                  <a:gd name="connsiteX7" fmla="*/ 36128 w 42227"/>
                  <a:gd name="connsiteY7" fmla="*/ 835933 h 835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227" h="835932">
                    <a:moveTo>
                      <a:pt x="36128" y="835933"/>
                    </a:moveTo>
                    <a:cubicBezTo>
                      <a:pt x="33076" y="835933"/>
                      <a:pt x="30026" y="832881"/>
                      <a:pt x="30026" y="832881"/>
                    </a:cubicBezTo>
                    <a:cubicBezTo>
                      <a:pt x="-24889" y="649831"/>
                      <a:pt x="11719" y="30508"/>
                      <a:pt x="14771" y="6102"/>
                    </a:cubicBezTo>
                    <a:cubicBezTo>
                      <a:pt x="14771" y="3051"/>
                      <a:pt x="17821" y="0"/>
                      <a:pt x="20873" y="0"/>
                    </a:cubicBezTo>
                    <a:cubicBezTo>
                      <a:pt x="23924" y="0"/>
                      <a:pt x="26974" y="3051"/>
                      <a:pt x="26974" y="6102"/>
                    </a:cubicBezTo>
                    <a:cubicBezTo>
                      <a:pt x="26974" y="12203"/>
                      <a:pt x="-9635" y="649831"/>
                      <a:pt x="42228" y="829830"/>
                    </a:cubicBezTo>
                    <a:cubicBezTo>
                      <a:pt x="42228" y="832881"/>
                      <a:pt x="42228" y="835933"/>
                      <a:pt x="36128" y="835933"/>
                    </a:cubicBezTo>
                    <a:cubicBezTo>
                      <a:pt x="36128" y="835933"/>
                      <a:pt x="36128" y="835933"/>
                      <a:pt x="36128" y="83593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789C1A3A-B0EB-477A-AAD5-2AE754C392D9}"/>
                  </a:ext>
                </a:extLst>
              </p:cNvPr>
              <p:cNvSpPr/>
              <p:nvPr/>
            </p:nvSpPr>
            <p:spPr>
              <a:xfrm>
                <a:off x="17555366" y="10526464"/>
                <a:ext cx="151923" cy="353898"/>
              </a:xfrm>
              <a:custGeom>
                <a:avLst/>
                <a:gdLst>
                  <a:gd name="connsiteX0" fmla="*/ 145821 w 151923"/>
                  <a:gd name="connsiteY0" fmla="*/ 353899 h 353898"/>
                  <a:gd name="connsiteX1" fmla="*/ 145821 w 151923"/>
                  <a:gd name="connsiteY1" fmla="*/ 353899 h 353898"/>
                  <a:gd name="connsiteX2" fmla="*/ 14635 w 151923"/>
                  <a:gd name="connsiteY2" fmla="*/ 241017 h 353898"/>
                  <a:gd name="connsiteX3" fmla="*/ 39041 w 151923"/>
                  <a:gd name="connsiteY3" fmla="*/ 3051 h 353898"/>
                  <a:gd name="connsiteX4" fmla="*/ 45143 w 151923"/>
                  <a:gd name="connsiteY4" fmla="*/ 0 h 353898"/>
                  <a:gd name="connsiteX5" fmla="*/ 48194 w 151923"/>
                  <a:gd name="connsiteY5" fmla="*/ 6102 h 353898"/>
                  <a:gd name="connsiteX6" fmla="*/ 26838 w 151923"/>
                  <a:gd name="connsiteY6" fmla="*/ 234916 h 353898"/>
                  <a:gd name="connsiteX7" fmla="*/ 148872 w 151923"/>
                  <a:gd name="connsiteY7" fmla="*/ 341695 h 353898"/>
                  <a:gd name="connsiteX8" fmla="*/ 151923 w 151923"/>
                  <a:gd name="connsiteY8" fmla="*/ 347796 h 353898"/>
                  <a:gd name="connsiteX9" fmla="*/ 145821 w 151923"/>
                  <a:gd name="connsiteY9" fmla="*/ 353899 h 35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1923" h="353898">
                    <a:moveTo>
                      <a:pt x="145821" y="353899"/>
                    </a:moveTo>
                    <a:cubicBezTo>
                      <a:pt x="142770" y="353899"/>
                      <a:pt x="142770" y="353899"/>
                      <a:pt x="145821" y="353899"/>
                    </a:cubicBezTo>
                    <a:cubicBezTo>
                      <a:pt x="78703" y="329492"/>
                      <a:pt x="35990" y="292882"/>
                      <a:pt x="14635" y="241017"/>
                    </a:cubicBezTo>
                    <a:cubicBezTo>
                      <a:pt x="-28077" y="134237"/>
                      <a:pt x="35990" y="9153"/>
                      <a:pt x="39041" y="3051"/>
                    </a:cubicBezTo>
                    <a:cubicBezTo>
                      <a:pt x="39041" y="0"/>
                      <a:pt x="45143" y="0"/>
                      <a:pt x="45143" y="0"/>
                    </a:cubicBezTo>
                    <a:cubicBezTo>
                      <a:pt x="48194" y="0"/>
                      <a:pt x="48194" y="6102"/>
                      <a:pt x="48194" y="6102"/>
                    </a:cubicBezTo>
                    <a:cubicBezTo>
                      <a:pt x="48194" y="6102"/>
                      <a:pt x="-15874" y="134237"/>
                      <a:pt x="26838" y="234916"/>
                    </a:cubicBezTo>
                    <a:cubicBezTo>
                      <a:pt x="48194" y="283729"/>
                      <a:pt x="87855" y="320339"/>
                      <a:pt x="148872" y="341695"/>
                    </a:cubicBezTo>
                    <a:cubicBezTo>
                      <a:pt x="151923" y="341695"/>
                      <a:pt x="151923" y="344746"/>
                      <a:pt x="151923" y="347796"/>
                    </a:cubicBezTo>
                    <a:cubicBezTo>
                      <a:pt x="148872" y="353899"/>
                      <a:pt x="145821" y="353899"/>
                      <a:pt x="145821" y="35389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5" name="图形 1">
              <a:extLst>
                <a:ext uri="{FF2B5EF4-FFF2-40B4-BE49-F238E27FC236}">
                  <a16:creationId xmlns:a16="http://schemas.microsoft.com/office/drawing/2014/main" id="{217CA5F2-84B0-412D-A3B1-518FD3B336EE}"/>
                </a:ext>
              </a:extLst>
            </p:cNvPr>
            <p:cNvGrpSpPr/>
            <p:nvPr/>
          </p:nvGrpSpPr>
          <p:grpSpPr>
            <a:xfrm>
              <a:off x="18537134" y="9177763"/>
              <a:ext cx="1418870" cy="2371521"/>
              <a:chOff x="18537134" y="9177763"/>
              <a:chExt cx="1418870" cy="2371521"/>
            </a:xfrm>
          </p:grpSpPr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B36EFF58-91E1-449A-8FBF-42F59087A024}"/>
                  </a:ext>
                </a:extLst>
              </p:cNvPr>
              <p:cNvSpPr/>
              <p:nvPr/>
            </p:nvSpPr>
            <p:spPr>
              <a:xfrm>
                <a:off x="18537134" y="9177763"/>
                <a:ext cx="1418870" cy="2371521"/>
              </a:xfrm>
              <a:custGeom>
                <a:avLst/>
                <a:gdLst>
                  <a:gd name="connsiteX0" fmla="*/ 585748 w 1418870"/>
                  <a:gd name="connsiteY0" fmla="*/ 326668 h 2371521"/>
                  <a:gd name="connsiteX1" fmla="*/ 439308 w 1418870"/>
                  <a:gd name="connsiteY1" fmla="*/ 146668 h 2371521"/>
                  <a:gd name="connsiteX2" fmla="*/ 576596 w 1418870"/>
                  <a:gd name="connsiteY2" fmla="*/ 192430 h 2371521"/>
                  <a:gd name="connsiteX3" fmla="*/ 506427 w 1418870"/>
                  <a:gd name="connsiteY3" fmla="*/ 49041 h 2371521"/>
                  <a:gd name="connsiteX4" fmla="*/ 671171 w 1418870"/>
                  <a:gd name="connsiteY4" fmla="*/ 113108 h 2371521"/>
                  <a:gd name="connsiteX5" fmla="*/ 671171 w 1418870"/>
                  <a:gd name="connsiteY5" fmla="*/ 227 h 2371521"/>
                  <a:gd name="connsiteX6" fmla="*/ 747442 w 1418870"/>
                  <a:gd name="connsiteY6" fmla="*/ 113108 h 2371521"/>
                  <a:gd name="connsiteX7" fmla="*/ 808459 w 1418870"/>
                  <a:gd name="connsiteY7" fmla="*/ 227 h 2371521"/>
                  <a:gd name="connsiteX8" fmla="*/ 832866 w 1418870"/>
                  <a:gd name="connsiteY8" fmla="*/ 113108 h 2371521"/>
                  <a:gd name="connsiteX9" fmla="*/ 933545 w 1418870"/>
                  <a:gd name="connsiteY9" fmla="*/ 85651 h 2371521"/>
                  <a:gd name="connsiteX10" fmla="*/ 777951 w 1418870"/>
                  <a:gd name="connsiteY10" fmla="*/ 290057 h 2371521"/>
                  <a:gd name="connsiteX11" fmla="*/ 774901 w 1418870"/>
                  <a:gd name="connsiteY11" fmla="*/ 293108 h 2371521"/>
                  <a:gd name="connsiteX12" fmla="*/ 805409 w 1418870"/>
                  <a:gd name="connsiteY12" fmla="*/ 317515 h 2371521"/>
                  <a:gd name="connsiteX13" fmla="*/ 1385070 w 1418870"/>
                  <a:gd name="connsiteY13" fmla="*/ 2019888 h 2371521"/>
                  <a:gd name="connsiteX14" fmla="*/ 109816 w 1418870"/>
                  <a:gd name="connsiteY14" fmla="*/ 2172430 h 2371521"/>
                  <a:gd name="connsiteX15" fmla="*/ 585748 w 1418870"/>
                  <a:gd name="connsiteY15" fmla="*/ 326668 h 2371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18870" h="2371521">
                    <a:moveTo>
                      <a:pt x="585748" y="326668"/>
                    </a:moveTo>
                    <a:cubicBezTo>
                      <a:pt x="585748" y="326668"/>
                      <a:pt x="424053" y="152769"/>
                      <a:pt x="439308" y="146668"/>
                    </a:cubicBezTo>
                    <a:cubicBezTo>
                      <a:pt x="454562" y="140566"/>
                      <a:pt x="576596" y="192430"/>
                      <a:pt x="576596" y="192430"/>
                    </a:cubicBezTo>
                    <a:cubicBezTo>
                      <a:pt x="576596" y="192430"/>
                      <a:pt x="478968" y="52091"/>
                      <a:pt x="506427" y="49041"/>
                    </a:cubicBezTo>
                    <a:cubicBezTo>
                      <a:pt x="533883" y="45990"/>
                      <a:pt x="671171" y="113108"/>
                      <a:pt x="671171" y="113108"/>
                    </a:cubicBezTo>
                    <a:cubicBezTo>
                      <a:pt x="671171" y="113108"/>
                      <a:pt x="610154" y="9380"/>
                      <a:pt x="671171" y="227"/>
                    </a:cubicBezTo>
                    <a:cubicBezTo>
                      <a:pt x="732188" y="-5875"/>
                      <a:pt x="747442" y="113108"/>
                      <a:pt x="747442" y="113108"/>
                    </a:cubicBezTo>
                    <a:cubicBezTo>
                      <a:pt x="747442" y="113108"/>
                      <a:pt x="777951" y="9380"/>
                      <a:pt x="808459" y="227"/>
                    </a:cubicBezTo>
                    <a:cubicBezTo>
                      <a:pt x="835918" y="-5875"/>
                      <a:pt x="832866" y="113108"/>
                      <a:pt x="832866" y="113108"/>
                    </a:cubicBezTo>
                    <a:cubicBezTo>
                      <a:pt x="832866" y="113108"/>
                      <a:pt x="909137" y="67345"/>
                      <a:pt x="933545" y="85651"/>
                    </a:cubicBezTo>
                    <a:cubicBezTo>
                      <a:pt x="954900" y="100905"/>
                      <a:pt x="802357" y="265651"/>
                      <a:pt x="777951" y="290057"/>
                    </a:cubicBezTo>
                    <a:cubicBezTo>
                      <a:pt x="777951" y="290057"/>
                      <a:pt x="774901" y="293108"/>
                      <a:pt x="774901" y="293108"/>
                    </a:cubicBezTo>
                    <a:cubicBezTo>
                      <a:pt x="784053" y="299210"/>
                      <a:pt x="796257" y="305312"/>
                      <a:pt x="805409" y="317515"/>
                    </a:cubicBezTo>
                    <a:cubicBezTo>
                      <a:pt x="890833" y="399888"/>
                      <a:pt x="1577273" y="1394464"/>
                      <a:pt x="1385070" y="2019888"/>
                    </a:cubicBezTo>
                    <a:cubicBezTo>
                      <a:pt x="1253884" y="2443956"/>
                      <a:pt x="314222" y="2471414"/>
                      <a:pt x="109816" y="2172430"/>
                    </a:cubicBezTo>
                    <a:cubicBezTo>
                      <a:pt x="-302048" y="1553109"/>
                      <a:pt x="576596" y="338871"/>
                      <a:pt x="585748" y="326668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52A1D0AC-F531-4D47-9896-E6008F603913}"/>
                  </a:ext>
                </a:extLst>
              </p:cNvPr>
              <p:cNvSpPr/>
              <p:nvPr/>
            </p:nvSpPr>
            <p:spPr>
              <a:xfrm>
                <a:off x="18909029" y="9463506"/>
                <a:ext cx="413421" cy="739568"/>
              </a:xfrm>
              <a:custGeom>
                <a:avLst/>
                <a:gdLst>
                  <a:gd name="connsiteX0" fmla="*/ 6396 w 413421"/>
                  <a:gd name="connsiteY0" fmla="*/ 739568 h 739568"/>
                  <a:gd name="connsiteX1" fmla="*/ 294 w 413421"/>
                  <a:gd name="connsiteY1" fmla="*/ 733467 h 739568"/>
                  <a:gd name="connsiteX2" fmla="*/ 207751 w 413421"/>
                  <a:gd name="connsiteY2" fmla="*/ 37874 h 739568"/>
                  <a:gd name="connsiteX3" fmla="*/ 210803 w 413421"/>
                  <a:gd name="connsiteY3" fmla="*/ 34823 h 739568"/>
                  <a:gd name="connsiteX4" fmla="*/ 213853 w 413421"/>
                  <a:gd name="connsiteY4" fmla="*/ 34823 h 739568"/>
                  <a:gd name="connsiteX5" fmla="*/ 403006 w 413421"/>
                  <a:gd name="connsiteY5" fmla="*/ 1264 h 739568"/>
                  <a:gd name="connsiteX6" fmla="*/ 412158 w 413421"/>
                  <a:gd name="connsiteY6" fmla="*/ 4314 h 739568"/>
                  <a:gd name="connsiteX7" fmla="*/ 409108 w 413421"/>
                  <a:gd name="connsiteY7" fmla="*/ 13467 h 739568"/>
                  <a:gd name="connsiteX8" fmla="*/ 216903 w 413421"/>
                  <a:gd name="connsiteY8" fmla="*/ 50077 h 739568"/>
                  <a:gd name="connsiteX9" fmla="*/ 12498 w 413421"/>
                  <a:gd name="connsiteY9" fmla="*/ 736518 h 739568"/>
                  <a:gd name="connsiteX10" fmla="*/ 6396 w 413421"/>
                  <a:gd name="connsiteY10" fmla="*/ 739568 h 739568"/>
                  <a:gd name="connsiteX11" fmla="*/ 6396 w 413421"/>
                  <a:gd name="connsiteY11" fmla="*/ 739568 h 739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13421" h="739568">
                    <a:moveTo>
                      <a:pt x="6396" y="739568"/>
                    </a:moveTo>
                    <a:cubicBezTo>
                      <a:pt x="3344" y="739568"/>
                      <a:pt x="294" y="736518"/>
                      <a:pt x="294" y="733467"/>
                    </a:cubicBezTo>
                    <a:cubicBezTo>
                      <a:pt x="-8858" y="522959"/>
                      <a:pt x="198599" y="59230"/>
                      <a:pt x="207751" y="37874"/>
                    </a:cubicBezTo>
                    <a:lnTo>
                      <a:pt x="210803" y="34823"/>
                    </a:lnTo>
                    <a:lnTo>
                      <a:pt x="213853" y="34823"/>
                    </a:lnTo>
                    <a:cubicBezTo>
                      <a:pt x="314531" y="53128"/>
                      <a:pt x="399954" y="1264"/>
                      <a:pt x="403006" y="1264"/>
                    </a:cubicBezTo>
                    <a:cubicBezTo>
                      <a:pt x="406056" y="-1787"/>
                      <a:pt x="409108" y="1264"/>
                      <a:pt x="412158" y="4314"/>
                    </a:cubicBezTo>
                    <a:cubicBezTo>
                      <a:pt x="415209" y="7365"/>
                      <a:pt x="412158" y="10416"/>
                      <a:pt x="409108" y="13467"/>
                    </a:cubicBezTo>
                    <a:cubicBezTo>
                      <a:pt x="406056" y="16518"/>
                      <a:pt x="320633" y="68382"/>
                      <a:pt x="216903" y="50077"/>
                    </a:cubicBezTo>
                    <a:cubicBezTo>
                      <a:pt x="195549" y="95840"/>
                      <a:pt x="3344" y="538213"/>
                      <a:pt x="12498" y="736518"/>
                    </a:cubicBezTo>
                    <a:cubicBezTo>
                      <a:pt x="12498" y="736518"/>
                      <a:pt x="9446" y="739568"/>
                      <a:pt x="6396" y="739568"/>
                    </a:cubicBezTo>
                    <a:lnTo>
                      <a:pt x="6396" y="739568"/>
                    </a:ln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035D243C-44D7-4473-9842-57A99A6658BA}"/>
                  </a:ext>
                </a:extLst>
              </p:cNvPr>
              <p:cNvSpPr/>
              <p:nvPr/>
            </p:nvSpPr>
            <p:spPr>
              <a:xfrm>
                <a:off x="19644576" y="10688160"/>
                <a:ext cx="54237" cy="286779"/>
              </a:xfrm>
              <a:custGeom>
                <a:avLst/>
                <a:gdLst>
                  <a:gd name="connsiteX0" fmla="*/ 6102 w 54237"/>
                  <a:gd name="connsiteY0" fmla="*/ 286779 h 286779"/>
                  <a:gd name="connsiteX1" fmla="*/ 3052 w 54237"/>
                  <a:gd name="connsiteY1" fmla="*/ 286779 h 286779"/>
                  <a:gd name="connsiteX2" fmla="*/ 3052 w 54237"/>
                  <a:gd name="connsiteY2" fmla="*/ 277626 h 286779"/>
                  <a:gd name="connsiteX3" fmla="*/ 0 w 54237"/>
                  <a:gd name="connsiteY3" fmla="*/ 9152 h 286779"/>
                  <a:gd name="connsiteX4" fmla="*/ 3052 w 54237"/>
                  <a:gd name="connsiteY4" fmla="*/ 0 h 286779"/>
                  <a:gd name="connsiteX5" fmla="*/ 12204 w 54237"/>
                  <a:gd name="connsiteY5" fmla="*/ 3050 h 286779"/>
                  <a:gd name="connsiteX6" fmla="*/ 12204 w 54237"/>
                  <a:gd name="connsiteY6" fmla="*/ 283728 h 286779"/>
                  <a:gd name="connsiteX7" fmla="*/ 6102 w 54237"/>
                  <a:gd name="connsiteY7" fmla="*/ 286779 h 28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237" h="286779">
                    <a:moveTo>
                      <a:pt x="6102" y="286779"/>
                    </a:moveTo>
                    <a:cubicBezTo>
                      <a:pt x="6102" y="286779"/>
                      <a:pt x="3052" y="286779"/>
                      <a:pt x="3052" y="286779"/>
                    </a:cubicBezTo>
                    <a:cubicBezTo>
                      <a:pt x="0" y="283728"/>
                      <a:pt x="0" y="280677"/>
                      <a:pt x="3052" y="277626"/>
                    </a:cubicBezTo>
                    <a:cubicBezTo>
                      <a:pt x="91525" y="173898"/>
                      <a:pt x="3052" y="12203"/>
                      <a:pt x="0" y="9152"/>
                    </a:cubicBezTo>
                    <a:cubicBezTo>
                      <a:pt x="0" y="6101"/>
                      <a:pt x="0" y="3050"/>
                      <a:pt x="3052" y="0"/>
                    </a:cubicBezTo>
                    <a:cubicBezTo>
                      <a:pt x="6102" y="0"/>
                      <a:pt x="9154" y="0"/>
                      <a:pt x="12204" y="3050"/>
                    </a:cubicBezTo>
                    <a:cubicBezTo>
                      <a:pt x="12204" y="6101"/>
                      <a:pt x="106780" y="173898"/>
                      <a:pt x="12204" y="283728"/>
                    </a:cubicBezTo>
                    <a:cubicBezTo>
                      <a:pt x="9154" y="286779"/>
                      <a:pt x="9154" y="286779"/>
                      <a:pt x="6102" y="28677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6" name="图形 1">
              <a:extLst>
                <a:ext uri="{FF2B5EF4-FFF2-40B4-BE49-F238E27FC236}">
                  <a16:creationId xmlns:a16="http://schemas.microsoft.com/office/drawing/2014/main" id="{80C43D6A-A1AD-4AC3-8C59-96A35AB58114}"/>
                </a:ext>
              </a:extLst>
            </p:cNvPr>
            <p:cNvGrpSpPr/>
            <p:nvPr/>
          </p:nvGrpSpPr>
          <p:grpSpPr>
            <a:xfrm>
              <a:off x="18325056" y="9199795"/>
              <a:ext cx="154097" cy="121661"/>
              <a:chOff x="18325056" y="9199795"/>
              <a:chExt cx="154097" cy="121661"/>
            </a:xfrm>
          </p:grpSpPr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6388B9CD-01B4-4BE7-B244-E9AAAD4B72F0}"/>
                  </a:ext>
                </a:extLst>
              </p:cNvPr>
              <p:cNvSpPr/>
              <p:nvPr/>
            </p:nvSpPr>
            <p:spPr>
              <a:xfrm>
                <a:off x="18332657" y="9209882"/>
                <a:ext cx="144602" cy="111574"/>
              </a:xfrm>
              <a:custGeom>
                <a:avLst/>
                <a:gdLst>
                  <a:gd name="connsiteX0" fmla="*/ 6157 w 144602"/>
                  <a:gd name="connsiteY0" fmla="*/ 90142 h 111574"/>
                  <a:gd name="connsiteX1" fmla="*/ 30564 w 144602"/>
                  <a:gd name="connsiteY1" fmla="*/ 74888 h 111574"/>
                  <a:gd name="connsiteX2" fmla="*/ 94633 w 144602"/>
                  <a:gd name="connsiteY2" fmla="*/ 62685 h 111574"/>
                  <a:gd name="connsiteX3" fmla="*/ 128191 w 144602"/>
                  <a:gd name="connsiteY3" fmla="*/ 111498 h 111574"/>
                  <a:gd name="connsiteX4" fmla="*/ 137343 w 144602"/>
                  <a:gd name="connsiteY4" fmla="*/ 16922 h 111574"/>
                  <a:gd name="connsiteX5" fmla="*/ 24463 w 144602"/>
                  <a:gd name="connsiteY5" fmla="*/ 13871 h 111574"/>
                  <a:gd name="connsiteX6" fmla="*/ 6157 w 144602"/>
                  <a:gd name="connsiteY6" fmla="*/ 90142 h 111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4602" h="111574">
                    <a:moveTo>
                      <a:pt x="6157" y="90142"/>
                    </a:moveTo>
                    <a:cubicBezTo>
                      <a:pt x="15309" y="96244"/>
                      <a:pt x="24463" y="77939"/>
                      <a:pt x="30564" y="74888"/>
                    </a:cubicBezTo>
                    <a:cubicBezTo>
                      <a:pt x="51920" y="62685"/>
                      <a:pt x="70226" y="53532"/>
                      <a:pt x="94633" y="62685"/>
                    </a:cubicBezTo>
                    <a:cubicBezTo>
                      <a:pt x="109887" y="65735"/>
                      <a:pt x="85480" y="96244"/>
                      <a:pt x="128191" y="111498"/>
                    </a:cubicBezTo>
                    <a:cubicBezTo>
                      <a:pt x="134293" y="114549"/>
                      <a:pt x="155650" y="26074"/>
                      <a:pt x="137343" y="16922"/>
                    </a:cubicBezTo>
                    <a:cubicBezTo>
                      <a:pt x="109887" y="1668"/>
                      <a:pt x="54972" y="-10536"/>
                      <a:pt x="24463" y="13871"/>
                    </a:cubicBezTo>
                    <a:cubicBezTo>
                      <a:pt x="15309" y="16922"/>
                      <a:pt x="-12147" y="74888"/>
                      <a:pt x="6157" y="90142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11279266-F881-4F52-960C-17A66F475F9D}"/>
                  </a:ext>
                </a:extLst>
              </p:cNvPr>
              <p:cNvSpPr/>
              <p:nvPr/>
            </p:nvSpPr>
            <p:spPr>
              <a:xfrm>
                <a:off x="18325056" y="9199795"/>
                <a:ext cx="154097" cy="118533"/>
              </a:xfrm>
              <a:custGeom>
                <a:avLst/>
                <a:gdLst>
                  <a:gd name="connsiteX0" fmla="*/ 126639 w 154097"/>
                  <a:gd name="connsiteY0" fmla="*/ 118534 h 118533"/>
                  <a:gd name="connsiteX1" fmla="*/ 126639 w 154097"/>
                  <a:gd name="connsiteY1" fmla="*/ 118534 h 118533"/>
                  <a:gd name="connsiteX2" fmla="*/ 99181 w 154097"/>
                  <a:gd name="connsiteY2" fmla="*/ 72771 h 118533"/>
                  <a:gd name="connsiteX3" fmla="*/ 41216 w 154097"/>
                  <a:gd name="connsiteY3" fmla="*/ 91076 h 118533"/>
                  <a:gd name="connsiteX4" fmla="*/ 13757 w 154097"/>
                  <a:gd name="connsiteY4" fmla="*/ 103279 h 118533"/>
                  <a:gd name="connsiteX5" fmla="*/ 1555 w 154097"/>
                  <a:gd name="connsiteY5" fmla="*/ 91076 h 118533"/>
                  <a:gd name="connsiteX6" fmla="*/ 32064 w 154097"/>
                  <a:gd name="connsiteY6" fmla="*/ 14805 h 118533"/>
                  <a:gd name="connsiteX7" fmla="*/ 151046 w 154097"/>
                  <a:gd name="connsiteY7" fmla="*/ 17856 h 118533"/>
                  <a:gd name="connsiteX8" fmla="*/ 154098 w 154097"/>
                  <a:gd name="connsiteY8" fmla="*/ 23957 h 118533"/>
                  <a:gd name="connsiteX9" fmla="*/ 147995 w 154097"/>
                  <a:gd name="connsiteY9" fmla="*/ 27008 h 118533"/>
                  <a:gd name="connsiteX10" fmla="*/ 44266 w 154097"/>
                  <a:gd name="connsiteY10" fmla="*/ 20907 h 118533"/>
                  <a:gd name="connsiteX11" fmla="*/ 16809 w 154097"/>
                  <a:gd name="connsiteY11" fmla="*/ 88025 h 118533"/>
                  <a:gd name="connsiteX12" fmla="*/ 19860 w 154097"/>
                  <a:gd name="connsiteY12" fmla="*/ 94127 h 118533"/>
                  <a:gd name="connsiteX13" fmla="*/ 38164 w 154097"/>
                  <a:gd name="connsiteY13" fmla="*/ 84974 h 118533"/>
                  <a:gd name="connsiteX14" fmla="*/ 108335 w 154097"/>
                  <a:gd name="connsiteY14" fmla="*/ 66669 h 118533"/>
                  <a:gd name="connsiteX15" fmla="*/ 111385 w 154097"/>
                  <a:gd name="connsiteY15" fmla="*/ 66669 h 118533"/>
                  <a:gd name="connsiteX16" fmla="*/ 111385 w 154097"/>
                  <a:gd name="connsiteY16" fmla="*/ 69720 h 118533"/>
                  <a:gd name="connsiteX17" fmla="*/ 132741 w 154097"/>
                  <a:gd name="connsiteY17" fmla="*/ 109381 h 118533"/>
                  <a:gd name="connsiteX18" fmla="*/ 135791 w 154097"/>
                  <a:gd name="connsiteY18" fmla="*/ 118534 h 118533"/>
                  <a:gd name="connsiteX19" fmla="*/ 126639 w 154097"/>
                  <a:gd name="connsiteY19" fmla="*/ 118534 h 118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54097" h="118533">
                    <a:moveTo>
                      <a:pt x="126639" y="118534"/>
                    </a:moveTo>
                    <a:cubicBezTo>
                      <a:pt x="123589" y="118534"/>
                      <a:pt x="123589" y="118534"/>
                      <a:pt x="126639" y="118534"/>
                    </a:cubicBezTo>
                    <a:cubicBezTo>
                      <a:pt x="105283" y="106330"/>
                      <a:pt x="99181" y="81924"/>
                      <a:pt x="99181" y="72771"/>
                    </a:cubicBezTo>
                    <a:cubicBezTo>
                      <a:pt x="74774" y="66669"/>
                      <a:pt x="56470" y="78873"/>
                      <a:pt x="41216" y="91076"/>
                    </a:cubicBezTo>
                    <a:cubicBezTo>
                      <a:pt x="32064" y="100228"/>
                      <a:pt x="22910" y="106330"/>
                      <a:pt x="13757" y="103279"/>
                    </a:cubicBezTo>
                    <a:cubicBezTo>
                      <a:pt x="7655" y="100228"/>
                      <a:pt x="4605" y="97178"/>
                      <a:pt x="1555" y="91076"/>
                    </a:cubicBezTo>
                    <a:cubicBezTo>
                      <a:pt x="-4547" y="72771"/>
                      <a:pt x="7655" y="39211"/>
                      <a:pt x="32064" y="14805"/>
                    </a:cubicBezTo>
                    <a:cubicBezTo>
                      <a:pt x="65622" y="-18754"/>
                      <a:pt x="147995" y="14805"/>
                      <a:pt x="151046" y="17856"/>
                    </a:cubicBezTo>
                    <a:cubicBezTo>
                      <a:pt x="154098" y="17856"/>
                      <a:pt x="154098" y="23957"/>
                      <a:pt x="154098" y="23957"/>
                    </a:cubicBezTo>
                    <a:cubicBezTo>
                      <a:pt x="154098" y="27008"/>
                      <a:pt x="147995" y="27008"/>
                      <a:pt x="147995" y="27008"/>
                    </a:cubicBezTo>
                    <a:cubicBezTo>
                      <a:pt x="147995" y="27008"/>
                      <a:pt x="71724" y="-6551"/>
                      <a:pt x="44266" y="20907"/>
                    </a:cubicBezTo>
                    <a:cubicBezTo>
                      <a:pt x="22910" y="42263"/>
                      <a:pt x="13757" y="72771"/>
                      <a:pt x="16809" y="88025"/>
                    </a:cubicBezTo>
                    <a:cubicBezTo>
                      <a:pt x="16809" y="94127"/>
                      <a:pt x="19860" y="94127"/>
                      <a:pt x="19860" y="94127"/>
                    </a:cubicBezTo>
                    <a:cubicBezTo>
                      <a:pt x="22910" y="94127"/>
                      <a:pt x="32064" y="91076"/>
                      <a:pt x="38164" y="84974"/>
                    </a:cubicBezTo>
                    <a:cubicBezTo>
                      <a:pt x="53418" y="72771"/>
                      <a:pt x="77826" y="54466"/>
                      <a:pt x="108335" y="66669"/>
                    </a:cubicBezTo>
                    <a:lnTo>
                      <a:pt x="111385" y="66669"/>
                    </a:lnTo>
                    <a:lnTo>
                      <a:pt x="111385" y="69720"/>
                    </a:lnTo>
                    <a:cubicBezTo>
                      <a:pt x="111385" y="69720"/>
                      <a:pt x="114435" y="100228"/>
                      <a:pt x="132741" y="109381"/>
                    </a:cubicBezTo>
                    <a:cubicBezTo>
                      <a:pt x="135791" y="112432"/>
                      <a:pt x="135791" y="115483"/>
                      <a:pt x="135791" y="118534"/>
                    </a:cubicBezTo>
                    <a:cubicBezTo>
                      <a:pt x="129689" y="118534"/>
                      <a:pt x="126639" y="118534"/>
                      <a:pt x="126639" y="11853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7" name="图形 1">
              <a:extLst>
                <a:ext uri="{FF2B5EF4-FFF2-40B4-BE49-F238E27FC236}">
                  <a16:creationId xmlns:a16="http://schemas.microsoft.com/office/drawing/2014/main" id="{253C073A-9C29-44EB-ADC3-A23C24C1F7CD}"/>
                </a:ext>
              </a:extLst>
            </p:cNvPr>
            <p:cNvGrpSpPr/>
            <p:nvPr/>
          </p:nvGrpSpPr>
          <p:grpSpPr>
            <a:xfrm>
              <a:off x="19004016" y="8638272"/>
              <a:ext cx="1615273" cy="1146836"/>
              <a:chOff x="19004016" y="8638272"/>
              <a:chExt cx="1615273" cy="1146836"/>
            </a:xfrm>
          </p:grpSpPr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FD243348-567C-4C3C-86B8-86BA1CEA064D}"/>
                  </a:ext>
                </a:extLst>
              </p:cNvPr>
              <p:cNvSpPr/>
              <p:nvPr/>
            </p:nvSpPr>
            <p:spPr>
              <a:xfrm>
                <a:off x="19347656" y="8639346"/>
                <a:ext cx="1271633" cy="1139958"/>
              </a:xfrm>
              <a:custGeom>
                <a:avLst/>
                <a:gdLst>
                  <a:gd name="connsiteX0" fmla="*/ 1196920 w 1271633"/>
                  <a:gd name="connsiteY0" fmla="*/ 7797 h 1139958"/>
                  <a:gd name="connsiteX1" fmla="*/ 800310 w 1271633"/>
                  <a:gd name="connsiteY1" fmla="*/ 340339 h 1139958"/>
                  <a:gd name="connsiteX2" fmla="*/ 595905 w 1271633"/>
                  <a:gd name="connsiteY2" fmla="*/ 755254 h 1139958"/>
                  <a:gd name="connsiteX3" fmla="*/ 25396 w 1271633"/>
                  <a:gd name="connsiteY3" fmla="*/ 849830 h 1139958"/>
                  <a:gd name="connsiteX4" fmla="*/ 4039 w 1271633"/>
                  <a:gd name="connsiteY4" fmla="*/ 1051186 h 1139958"/>
                  <a:gd name="connsiteX5" fmla="*/ 785056 w 1271633"/>
                  <a:gd name="connsiteY5" fmla="*/ 1075593 h 1139958"/>
                  <a:gd name="connsiteX6" fmla="*/ 1196920 w 1271633"/>
                  <a:gd name="connsiteY6" fmla="*/ 7797 h 1139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71633" h="1139958">
                    <a:moveTo>
                      <a:pt x="1196920" y="7797"/>
                    </a:moveTo>
                    <a:cubicBezTo>
                      <a:pt x="1074886" y="-50170"/>
                      <a:pt x="864379" y="230509"/>
                      <a:pt x="800310" y="340339"/>
                    </a:cubicBezTo>
                    <a:cubicBezTo>
                      <a:pt x="742345" y="441017"/>
                      <a:pt x="595905" y="755254"/>
                      <a:pt x="595905" y="755254"/>
                    </a:cubicBezTo>
                    <a:cubicBezTo>
                      <a:pt x="595905" y="755254"/>
                      <a:pt x="132175" y="752203"/>
                      <a:pt x="25396" y="849830"/>
                    </a:cubicBezTo>
                    <a:cubicBezTo>
                      <a:pt x="989" y="898644"/>
                      <a:pt x="-5113" y="971864"/>
                      <a:pt x="4039" y="1051186"/>
                    </a:cubicBezTo>
                    <a:cubicBezTo>
                      <a:pt x="80311" y="1200678"/>
                      <a:pt x="669124" y="1127458"/>
                      <a:pt x="785056" y="1075593"/>
                    </a:cubicBezTo>
                    <a:cubicBezTo>
                      <a:pt x="910142" y="1017627"/>
                      <a:pt x="1471496" y="135932"/>
                      <a:pt x="1196920" y="7797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92F43966-AC0B-4B26-8F7E-B6C3CB8064A9}"/>
                  </a:ext>
                </a:extLst>
              </p:cNvPr>
              <p:cNvSpPr/>
              <p:nvPr/>
            </p:nvSpPr>
            <p:spPr>
              <a:xfrm>
                <a:off x="19934407" y="8638272"/>
                <a:ext cx="671186" cy="762429"/>
              </a:xfrm>
              <a:custGeom>
                <a:avLst/>
                <a:gdLst>
                  <a:gd name="connsiteX0" fmla="*/ 6102 w 671186"/>
                  <a:gd name="connsiteY0" fmla="*/ 762430 h 762429"/>
                  <a:gd name="connsiteX1" fmla="*/ 6102 w 671186"/>
                  <a:gd name="connsiteY1" fmla="*/ 762430 h 762429"/>
                  <a:gd name="connsiteX2" fmla="*/ 0 w 671186"/>
                  <a:gd name="connsiteY2" fmla="*/ 753277 h 762429"/>
                  <a:gd name="connsiteX3" fmla="*/ 451527 w 671186"/>
                  <a:gd name="connsiteY3" fmla="*/ 45481 h 762429"/>
                  <a:gd name="connsiteX4" fmla="*/ 610170 w 671186"/>
                  <a:gd name="connsiteY4" fmla="*/ 5819 h 762429"/>
                  <a:gd name="connsiteX5" fmla="*/ 671186 w 671186"/>
                  <a:gd name="connsiteY5" fmla="*/ 57684 h 762429"/>
                  <a:gd name="connsiteX6" fmla="*/ 668136 w 671186"/>
                  <a:gd name="connsiteY6" fmla="*/ 63786 h 762429"/>
                  <a:gd name="connsiteX7" fmla="*/ 662034 w 671186"/>
                  <a:gd name="connsiteY7" fmla="*/ 60735 h 762429"/>
                  <a:gd name="connsiteX8" fmla="*/ 607119 w 671186"/>
                  <a:gd name="connsiteY8" fmla="*/ 14972 h 762429"/>
                  <a:gd name="connsiteX9" fmla="*/ 457627 w 671186"/>
                  <a:gd name="connsiteY9" fmla="*/ 54633 h 762429"/>
                  <a:gd name="connsiteX10" fmla="*/ 9154 w 671186"/>
                  <a:gd name="connsiteY10" fmla="*/ 759379 h 762429"/>
                  <a:gd name="connsiteX11" fmla="*/ 6102 w 671186"/>
                  <a:gd name="connsiteY11" fmla="*/ 762430 h 762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71186" h="762429">
                    <a:moveTo>
                      <a:pt x="6102" y="762430"/>
                    </a:moveTo>
                    <a:cubicBezTo>
                      <a:pt x="6102" y="762430"/>
                      <a:pt x="6102" y="762430"/>
                      <a:pt x="6102" y="762430"/>
                    </a:cubicBezTo>
                    <a:cubicBezTo>
                      <a:pt x="0" y="759379"/>
                      <a:pt x="0" y="756328"/>
                      <a:pt x="0" y="753277"/>
                    </a:cubicBezTo>
                    <a:cubicBezTo>
                      <a:pt x="12204" y="728870"/>
                      <a:pt x="268476" y="164463"/>
                      <a:pt x="451527" y="45481"/>
                    </a:cubicBezTo>
                    <a:cubicBezTo>
                      <a:pt x="512544" y="5819"/>
                      <a:pt x="567459" y="-9435"/>
                      <a:pt x="610170" y="5819"/>
                    </a:cubicBezTo>
                    <a:cubicBezTo>
                      <a:pt x="652882" y="21074"/>
                      <a:pt x="671186" y="57684"/>
                      <a:pt x="671186" y="57684"/>
                    </a:cubicBezTo>
                    <a:cubicBezTo>
                      <a:pt x="671186" y="60735"/>
                      <a:pt x="671186" y="63786"/>
                      <a:pt x="668136" y="63786"/>
                    </a:cubicBezTo>
                    <a:cubicBezTo>
                      <a:pt x="665086" y="63786"/>
                      <a:pt x="662034" y="63786"/>
                      <a:pt x="662034" y="60735"/>
                    </a:cubicBezTo>
                    <a:cubicBezTo>
                      <a:pt x="662034" y="60735"/>
                      <a:pt x="646780" y="27175"/>
                      <a:pt x="607119" y="14972"/>
                    </a:cubicBezTo>
                    <a:cubicBezTo>
                      <a:pt x="567459" y="2769"/>
                      <a:pt x="518644" y="14972"/>
                      <a:pt x="457627" y="54633"/>
                    </a:cubicBezTo>
                    <a:cubicBezTo>
                      <a:pt x="274576" y="173616"/>
                      <a:pt x="12204" y="753277"/>
                      <a:pt x="9154" y="759379"/>
                    </a:cubicBezTo>
                    <a:cubicBezTo>
                      <a:pt x="12204" y="762430"/>
                      <a:pt x="9154" y="762430"/>
                      <a:pt x="6102" y="76243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5950B49F-3E52-45A8-95A0-68601BF2E6F5}"/>
                  </a:ext>
                </a:extLst>
              </p:cNvPr>
              <p:cNvSpPr/>
              <p:nvPr/>
            </p:nvSpPr>
            <p:spPr>
              <a:xfrm>
                <a:off x="19937459" y="9389261"/>
                <a:ext cx="111186" cy="81610"/>
              </a:xfrm>
              <a:custGeom>
                <a:avLst/>
                <a:gdLst>
                  <a:gd name="connsiteX0" fmla="*/ 36611 w 111186"/>
                  <a:gd name="connsiteY0" fmla="*/ 81610 h 81610"/>
                  <a:gd name="connsiteX1" fmla="*/ 30508 w 111186"/>
                  <a:gd name="connsiteY1" fmla="*/ 75509 h 81610"/>
                  <a:gd name="connsiteX2" fmla="*/ 0 w 111186"/>
                  <a:gd name="connsiteY2" fmla="*/ 8390 h 81610"/>
                  <a:gd name="connsiteX3" fmla="*/ 0 w 111186"/>
                  <a:gd name="connsiteY3" fmla="*/ 2288 h 81610"/>
                  <a:gd name="connsiteX4" fmla="*/ 6102 w 111186"/>
                  <a:gd name="connsiteY4" fmla="*/ 2288 h 81610"/>
                  <a:gd name="connsiteX5" fmla="*/ 109830 w 111186"/>
                  <a:gd name="connsiteY5" fmla="*/ 66356 h 81610"/>
                  <a:gd name="connsiteX6" fmla="*/ 109830 w 111186"/>
                  <a:gd name="connsiteY6" fmla="*/ 75509 h 81610"/>
                  <a:gd name="connsiteX7" fmla="*/ 100678 w 111186"/>
                  <a:gd name="connsiteY7" fmla="*/ 75509 h 81610"/>
                  <a:gd name="connsiteX8" fmla="*/ 18304 w 111186"/>
                  <a:gd name="connsiteY8" fmla="*/ 23644 h 81610"/>
                  <a:gd name="connsiteX9" fmla="*/ 39661 w 111186"/>
                  <a:gd name="connsiteY9" fmla="*/ 78559 h 81610"/>
                  <a:gd name="connsiteX10" fmla="*/ 36611 w 111186"/>
                  <a:gd name="connsiteY10" fmla="*/ 81610 h 81610"/>
                  <a:gd name="connsiteX11" fmla="*/ 36611 w 111186"/>
                  <a:gd name="connsiteY11" fmla="*/ 81610 h 8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1186" h="81610">
                    <a:moveTo>
                      <a:pt x="36611" y="81610"/>
                    </a:moveTo>
                    <a:cubicBezTo>
                      <a:pt x="33559" y="81610"/>
                      <a:pt x="30508" y="78559"/>
                      <a:pt x="30508" y="75509"/>
                    </a:cubicBezTo>
                    <a:cubicBezTo>
                      <a:pt x="27457" y="48051"/>
                      <a:pt x="0" y="8390"/>
                      <a:pt x="0" y="8390"/>
                    </a:cubicBezTo>
                    <a:cubicBezTo>
                      <a:pt x="0" y="5339"/>
                      <a:pt x="0" y="2288"/>
                      <a:pt x="0" y="2288"/>
                    </a:cubicBezTo>
                    <a:cubicBezTo>
                      <a:pt x="3050" y="-763"/>
                      <a:pt x="3050" y="-763"/>
                      <a:pt x="6102" y="2288"/>
                    </a:cubicBezTo>
                    <a:cubicBezTo>
                      <a:pt x="15254" y="5339"/>
                      <a:pt x="94576" y="45000"/>
                      <a:pt x="109830" y="66356"/>
                    </a:cubicBezTo>
                    <a:cubicBezTo>
                      <a:pt x="112882" y="69406"/>
                      <a:pt x="109830" y="72458"/>
                      <a:pt x="109830" y="75509"/>
                    </a:cubicBezTo>
                    <a:cubicBezTo>
                      <a:pt x="106780" y="78559"/>
                      <a:pt x="103728" y="75509"/>
                      <a:pt x="100678" y="75509"/>
                    </a:cubicBezTo>
                    <a:cubicBezTo>
                      <a:pt x="91525" y="63305"/>
                      <a:pt x="45763" y="38898"/>
                      <a:pt x="18304" y="23644"/>
                    </a:cubicBezTo>
                    <a:cubicBezTo>
                      <a:pt x="27457" y="38898"/>
                      <a:pt x="39661" y="60254"/>
                      <a:pt x="39661" y="78559"/>
                    </a:cubicBezTo>
                    <a:cubicBezTo>
                      <a:pt x="42711" y="78559"/>
                      <a:pt x="39661" y="81610"/>
                      <a:pt x="36611" y="81610"/>
                    </a:cubicBezTo>
                    <a:cubicBezTo>
                      <a:pt x="36611" y="81610"/>
                      <a:pt x="36611" y="81610"/>
                      <a:pt x="36611" y="8161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840B17FB-9411-4005-A41C-78FBD59AD080}"/>
                  </a:ext>
                </a:extLst>
              </p:cNvPr>
              <p:cNvSpPr/>
              <p:nvPr/>
            </p:nvSpPr>
            <p:spPr>
              <a:xfrm>
                <a:off x="19391356" y="9013244"/>
                <a:ext cx="1180678" cy="771864"/>
              </a:xfrm>
              <a:custGeom>
                <a:avLst/>
                <a:gdLst>
                  <a:gd name="connsiteX0" fmla="*/ 317289 w 1180678"/>
                  <a:gd name="connsiteY0" fmla="*/ 771865 h 771864"/>
                  <a:gd name="connsiteX1" fmla="*/ 3052 w 1180678"/>
                  <a:gd name="connsiteY1" fmla="*/ 716949 h 771864"/>
                  <a:gd name="connsiteX2" fmla="*/ 0 w 1180678"/>
                  <a:gd name="connsiteY2" fmla="*/ 707797 h 771864"/>
                  <a:gd name="connsiteX3" fmla="*/ 9152 w 1180678"/>
                  <a:gd name="connsiteY3" fmla="*/ 704746 h 771864"/>
                  <a:gd name="connsiteX4" fmla="*/ 790170 w 1180678"/>
                  <a:gd name="connsiteY4" fmla="*/ 674237 h 771864"/>
                  <a:gd name="connsiteX5" fmla="*/ 1171526 w 1180678"/>
                  <a:gd name="connsiteY5" fmla="*/ 3051 h 771864"/>
                  <a:gd name="connsiteX6" fmla="*/ 1177628 w 1180678"/>
                  <a:gd name="connsiteY6" fmla="*/ 0 h 771864"/>
                  <a:gd name="connsiteX7" fmla="*/ 1180678 w 1180678"/>
                  <a:gd name="connsiteY7" fmla="*/ 6102 h 771864"/>
                  <a:gd name="connsiteX8" fmla="*/ 793220 w 1180678"/>
                  <a:gd name="connsiteY8" fmla="*/ 683390 h 771864"/>
                  <a:gd name="connsiteX9" fmla="*/ 317289 w 1180678"/>
                  <a:gd name="connsiteY9" fmla="*/ 771865 h 771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0678" h="771864">
                    <a:moveTo>
                      <a:pt x="317289" y="771865"/>
                    </a:moveTo>
                    <a:cubicBezTo>
                      <a:pt x="192203" y="771865"/>
                      <a:pt x="73221" y="756610"/>
                      <a:pt x="3052" y="716949"/>
                    </a:cubicBezTo>
                    <a:cubicBezTo>
                      <a:pt x="0" y="716949"/>
                      <a:pt x="0" y="710848"/>
                      <a:pt x="0" y="707797"/>
                    </a:cubicBezTo>
                    <a:cubicBezTo>
                      <a:pt x="0" y="704746"/>
                      <a:pt x="6102" y="704746"/>
                      <a:pt x="9152" y="704746"/>
                    </a:cubicBezTo>
                    <a:cubicBezTo>
                      <a:pt x="183051" y="802373"/>
                      <a:pt x="646780" y="756610"/>
                      <a:pt x="790170" y="674237"/>
                    </a:cubicBezTo>
                    <a:cubicBezTo>
                      <a:pt x="933560" y="591865"/>
                      <a:pt x="1168474" y="9153"/>
                      <a:pt x="1171526" y="3051"/>
                    </a:cubicBezTo>
                    <a:cubicBezTo>
                      <a:pt x="1171526" y="0"/>
                      <a:pt x="1174576" y="0"/>
                      <a:pt x="1177628" y="0"/>
                    </a:cubicBezTo>
                    <a:cubicBezTo>
                      <a:pt x="1180678" y="0"/>
                      <a:pt x="1180678" y="3051"/>
                      <a:pt x="1180678" y="6102"/>
                    </a:cubicBezTo>
                    <a:cubicBezTo>
                      <a:pt x="1171526" y="30508"/>
                      <a:pt x="939661" y="597966"/>
                      <a:pt x="793220" y="683390"/>
                    </a:cubicBezTo>
                    <a:cubicBezTo>
                      <a:pt x="710847" y="735254"/>
                      <a:pt x="506442" y="771865"/>
                      <a:pt x="317289" y="77186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3E48EF78-CC98-418C-899E-8DE84E079EBB}"/>
                  </a:ext>
                </a:extLst>
              </p:cNvPr>
              <p:cNvSpPr/>
              <p:nvPr/>
            </p:nvSpPr>
            <p:spPr>
              <a:xfrm>
                <a:off x="19400508" y="9388498"/>
                <a:ext cx="546102" cy="85423"/>
              </a:xfrm>
              <a:custGeom>
                <a:avLst/>
                <a:gdLst>
                  <a:gd name="connsiteX0" fmla="*/ 6102 w 546102"/>
                  <a:gd name="connsiteY0" fmla="*/ 85423 h 85423"/>
                  <a:gd name="connsiteX1" fmla="*/ 0 w 546102"/>
                  <a:gd name="connsiteY1" fmla="*/ 82373 h 85423"/>
                  <a:gd name="connsiteX2" fmla="*/ 3052 w 546102"/>
                  <a:gd name="connsiteY2" fmla="*/ 73220 h 85423"/>
                  <a:gd name="connsiteX3" fmla="*/ 540000 w 546102"/>
                  <a:gd name="connsiteY3" fmla="*/ 0 h 85423"/>
                  <a:gd name="connsiteX4" fmla="*/ 540000 w 546102"/>
                  <a:gd name="connsiteY4" fmla="*/ 0 h 85423"/>
                  <a:gd name="connsiteX5" fmla="*/ 546102 w 546102"/>
                  <a:gd name="connsiteY5" fmla="*/ 6102 h 85423"/>
                  <a:gd name="connsiteX6" fmla="*/ 540000 w 546102"/>
                  <a:gd name="connsiteY6" fmla="*/ 12203 h 85423"/>
                  <a:gd name="connsiteX7" fmla="*/ 540000 w 546102"/>
                  <a:gd name="connsiteY7" fmla="*/ 12203 h 85423"/>
                  <a:gd name="connsiteX8" fmla="*/ 540000 w 546102"/>
                  <a:gd name="connsiteY8" fmla="*/ 12203 h 85423"/>
                  <a:gd name="connsiteX9" fmla="*/ 6102 w 546102"/>
                  <a:gd name="connsiteY9" fmla="*/ 85423 h 85423"/>
                  <a:gd name="connsiteX10" fmla="*/ 6102 w 546102"/>
                  <a:gd name="connsiteY10" fmla="*/ 85423 h 85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46102" h="85423">
                    <a:moveTo>
                      <a:pt x="6102" y="85423"/>
                    </a:moveTo>
                    <a:cubicBezTo>
                      <a:pt x="3052" y="85423"/>
                      <a:pt x="3052" y="85423"/>
                      <a:pt x="0" y="82373"/>
                    </a:cubicBezTo>
                    <a:cubicBezTo>
                      <a:pt x="0" y="79322"/>
                      <a:pt x="0" y="76271"/>
                      <a:pt x="3052" y="73220"/>
                    </a:cubicBezTo>
                    <a:cubicBezTo>
                      <a:pt x="137288" y="3051"/>
                      <a:pt x="521696" y="0"/>
                      <a:pt x="540000" y="0"/>
                    </a:cubicBezTo>
                    <a:lnTo>
                      <a:pt x="540000" y="0"/>
                    </a:lnTo>
                    <a:cubicBezTo>
                      <a:pt x="543052" y="0"/>
                      <a:pt x="546102" y="3051"/>
                      <a:pt x="546102" y="6102"/>
                    </a:cubicBezTo>
                    <a:cubicBezTo>
                      <a:pt x="546102" y="9152"/>
                      <a:pt x="543052" y="12203"/>
                      <a:pt x="540000" y="12203"/>
                    </a:cubicBezTo>
                    <a:lnTo>
                      <a:pt x="540000" y="12203"/>
                    </a:lnTo>
                    <a:lnTo>
                      <a:pt x="540000" y="12203"/>
                    </a:lnTo>
                    <a:cubicBezTo>
                      <a:pt x="536950" y="12203"/>
                      <a:pt x="140340" y="15254"/>
                      <a:pt x="6102" y="85423"/>
                    </a:cubicBezTo>
                    <a:cubicBezTo>
                      <a:pt x="9154" y="85423"/>
                      <a:pt x="6102" y="85423"/>
                      <a:pt x="6102" y="8542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4E4C9C19-489D-4E6F-85CD-6F8AB827B443}"/>
                  </a:ext>
                </a:extLst>
              </p:cNvPr>
              <p:cNvSpPr/>
              <p:nvPr/>
            </p:nvSpPr>
            <p:spPr>
              <a:xfrm>
                <a:off x="19118818" y="9428904"/>
                <a:ext cx="245081" cy="125427"/>
              </a:xfrm>
              <a:custGeom>
                <a:avLst/>
                <a:gdLst>
                  <a:gd name="connsiteX0" fmla="*/ 245081 w 245081"/>
                  <a:gd name="connsiteY0" fmla="*/ 41967 h 125427"/>
                  <a:gd name="connsiteX1" fmla="*/ 92539 w 245081"/>
                  <a:gd name="connsiteY1" fmla="*/ 2306 h 125427"/>
                  <a:gd name="connsiteX2" fmla="*/ 1014 w 245081"/>
                  <a:gd name="connsiteY2" fmla="*/ 14509 h 125427"/>
                  <a:gd name="connsiteX3" fmla="*/ 165758 w 245081"/>
                  <a:gd name="connsiteY3" fmla="*/ 124340 h 125427"/>
                  <a:gd name="connsiteX4" fmla="*/ 245081 w 245081"/>
                  <a:gd name="connsiteY4" fmla="*/ 41967 h 125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081" h="125427">
                    <a:moveTo>
                      <a:pt x="245081" y="41967"/>
                    </a:moveTo>
                    <a:cubicBezTo>
                      <a:pt x="245081" y="41967"/>
                      <a:pt x="129148" y="5357"/>
                      <a:pt x="92539" y="2306"/>
                    </a:cubicBezTo>
                    <a:cubicBezTo>
                      <a:pt x="55928" y="-745"/>
                      <a:pt x="7114" y="-3795"/>
                      <a:pt x="1014" y="14509"/>
                    </a:cubicBezTo>
                    <a:cubicBezTo>
                      <a:pt x="-14241" y="60272"/>
                      <a:pt x="147454" y="87730"/>
                      <a:pt x="165758" y="124340"/>
                    </a:cubicBezTo>
                    <a:cubicBezTo>
                      <a:pt x="171860" y="136543"/>
                      <a:pt x="245081" y="41967"/>
                      <a:pt x="245081" y="41967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5" name="图形 1">
                <a:extLst>
                  <a:ext uri="{FF2B5EF4-FFF2-40B4-BE49-F238E27FC236}">
                    <a16:creationId xmlns:a16="http://schemas.microsoft.com/office/drawing/2014/main" id="{856ED49C-45B4-4102-936C-0058ACD90BEF}"/>
                  </a:ext>
                </a:extLst>
              </p:cNvPr>
              <p:cNvGrpSpPr/>
              <p:nvPr/>
            </p:nvGrpSpPr>
            <p:grpSpPr>
              <a:xfrm>
                <a:off x="19004016" y="9464728"/>
                <a:ext cx="443161" cy="248022"/>
                <a:chOff x="19004016" y="9464728"/>
                <a:chExt cx="443161" cy="248022"/>
              </a:xfrm>
            </p:grpSpPr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618B9D2D-2757-4416-AFF3-349DF67FFD99}"/>
                    </a:ext>
                  </a:extLst>
                </p:cNvPr>
                <p:cNvSpPr/>
                <p:nvPr/>
              </p:nvSpPr>
              <p:spPr>
                <a:xfrm>
                  <a:off x="19004016" y="9471597"/>
                  <a:ext cx="443161" cy="241153"/>
                </a:xfrm>
                <a:custGeom>
                  <a:avLst/>
                  <a:gdLst>
                    <a:gd name="connsiteX0" fmla="*/ 439205 w 443161"/>
                    <a:gd name="connsiteY0" fmla="*/ 170122 h 241153"/>
                    <a:gd name="connsiteX1" fmla="*/ 417849 w 443161"/>
                    <a:gd name="connsiteY1" fmla="*/ 32833 h 241153"/>
                    <a:gd name="connsiteX2" fmla="*/ 164629 w 443161"/>
                    <a:gd name="connsiteY2" fmla="*/ 2325 h 241153"/>
                    <a:gd name="connsiteX3" fmla="*/ 2934 w 443161"/>
                    <a:gd name="connsiteY3" fmla="*/ 121308 h 241153"/>
                    <a:gd name="connsiteX4" fmla="*/ 170731 w 443161"/>
                    <a:gd name="connsiteY4" fmla="*/ 237241 h 241153"/>
                    <a:gd name="connsiteX5" fmla="*/ 280561 w 443161"/>
                    <a:gd name="connsiteY5" fmla="*/ 218935 h 241153"/>
                    <a:gd name="connsiteX6" fmla="*/ 393442 w 443161"/>
                    <a:gd name="connsiteY6" fmla="*/ 206732 h 241153"/>
                    <a:gd name="connsiteX7" fmla="*/ 439205 w 443161"/>
                    <a:gd name="connsiteY7" fmla="*/ 170122 h 241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43161" h="241153">
                      <a:moveTo>
                        <a:pt x="439205" y="170122"/>
                      </a:moveTo>
                      <a:cubicBezTo>
                        <a:pt x="454459" y="124359"/>
                        <a:pt x="420901" y="29783"/>
                        <a:pt x="417849" y="32833"/>
                      </a:cubicBezTo>
                      <a:cubicBezTo>
                        <a:pt x="314121" y="29783"/>
                        <a:pt x="268358" y="-9878"/>
                        <a:pt x="164629" y="2325"/>
                      </a:cubicBezTo>
                      <a:cubicBezTo>
                        <a:pt x="149375" y="5376"/>
                        <a:pt x="-24524" y="11478"/>
                        <a:pt x="2934" y="121308"/>
                      </a:cubicBezTo>
                      <a:cubicBezTo>
                        <a:pt x="27341" y="225037"/>
                        <a:pt x="109714" y="252495"/>
                        <a:pt x="170731" y="237241"/>
                      </a:cubicBezTo>
                      <a:cubicBezTo>
                        <a:pt x="207342" y="228087"/>
                        <a:pt x="240900" y="225037"/>
                        <a:pt x="280561" y="218935"/>
                      </a:cubicBezTo>
                      <a:cubicBezTo>
                        <a:pt x="317171" y="212833"/>
                        <a:pt x="356832" y="212833"/>
                        <a:pt x="393442" y="206732"/>
                      </a:cubicBezTo>
                      <a:cubicBezTo>
                        <a:pt x="423951" y="200630"/>
                        <a:pt x="433103" y="197579"/>
                        <a:pt x="439205" y="17012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D1C95C0A-7339-4BA1-92F8-92D4F32577C5}"/>
                    </a:ext>
                  </a:extLst>
                </p:cNvPr>
                <p:cNvSpPr/>
                <p:nvPr/>
              </p:nvSpPr>
              <p:spPr>
                <a:xfrm>
                  <a:off x="19016865" y="9464728"/>
                  <a:ext cx="256772" cy="67160"/>
                </a:xfrm>
                <a:custGeom>
                  <a:avLst/>
                  <a:gdLst>
                    <a:gd name="connsiteX0" fmla="*/ 5340 w 256772"/>
                    <a:gd name="connsiteY0" fmla="*/ 67161 h 67160"/>
                    <a:gd name="connsiteX1" fmla="*/ 2288 w 256772"/>
                    <a:gd name="connsiteY1" fmla="*/ 64110 h 67160"/>
                    <a:gd name="connsiteX2" fmla="*/ 2288 w 256772"/>
                    <a:gd name="connsiteY2" fmla="*/ 54957 h 67160"/>
                    <a:gd name="connsiteX3" fmla="*/ 252457 w 256772"/>
                    <a:gd name="connsiteY3" fmla="*/ 9194 h 67160"/>
                    <a:gd name="connsiteX4" fmla="*/ 255509 w 256772"/>
                    <a:gd name="connsiteY4" fmla="*/ 15296 h 67160"/>
                    <a:gd name="connsiteX5" fmla="*/ 249407 w 256772"/>
                    <a:gd name="connsiteY5" fmla="*/ 18347 h 67160"/>
                    <a:gd name="connsiteX6" fmla="*/ 8390 w 256772"/>
                    <a:gd name="connsiteY6" fmla="*/ 61059 h 67160"/>
                    <a:gd name="connsiteX7" fmla="*/ 5340 w 256772"/>
                    <a:gd name="connsiteY7" fmla="*/ 67161 h 67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6772" h="67160">
                      <a:moveTo>
                        <a:pt x="5340" y="67161"/>
                      </a:moveTo>
                      <a:cubicBezTo>
                        <a:pt x="2288" y="67161"/>
                        <a:pt x="2288" y="67161"/>
                        <a:pt x="2288" y="64110"/>
                      </a:cubicBezTo>
                      <a:cubicBezTo>
                        <a:pt x="-763" y="61059"/>
                        <a:pt x="-763" y="58008"/>
                        <a:pt x="2288" y="54957"/>
                      </a:cubicBezTo>
                      <a:cubicBezTo>
                        <a:pt x="99915" y="-30466"/>
                        <a:pt x="246355" y="9194"/>
                        <a:pt x="252457" y="9194"/>
                      </a:cubicBezTo>
                      <a:cubicBezTo>
                        <a:pt x="255509" y="9194"/>
                        <a:pt x="258560" y="12245"/>
                        <a:pt x="255509" y="15296"/>
                      </a:cubicBezTo>
                      <a:cubicBezTo>
                        <a:pt x="255509" y="18347"/>
                        <a:pt x="252457" y="21398"/>
                        <a:pt x="249407" y="18347"/>
                      </a:cubicBezTo>
                      <a:cubicBezTo>
                        <a:pt x="249407" y="18347"/>
                        <a:pt x="102967" y="-21314"/>
                        <a:pt x="8390" y="61059"/>
                      </a:cubicBezTo>
                      <a:cubicBezTo>
                        <a:pt x="8390" y="67161"/>
                        <a:pt x="8390" y="67161"/>
                        <a:pt x="5340" y="67161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67411DA0-A4E3-44BF-8BC5-B0C2EA664530}"/>
                    </a:ext>
                  </a:extLst>
                </p:cNvPr>
                <p:cNvSpPr/>
                <p:nvPr/>
              </p:nvSpPr>
              <p:spPr>
                <a:xfrm>
                  <a:off x="19162543" y="9553244"/>
                  <a:ext cx="45762" cy="100677"/>
                </a:xfrm>
                <a:custGeom>
                  <a:avLst/>
                  <a:gdLst>
                    <a:gd name="connsiteX0" fmla="*/ 39661 w 45762"/>
                    <a:gd name="connsiteY0" fmla="*/ 100678 h 100677"/>
                    <a:gd name="connsiteX1" fmla="*/ 33560 w 45762"/>
                    <a:gd name="connsiteY1" fmla="*/ 97627 h 100677"/>
                    <a:gd name="connsiteX2" fmla="*/ 0 w 45762"/>
                    <a:gd name="connsiteY2" fmla="*/ 6102 h 100677"/>
                    <a:gd name="connsiteX3" fmla="*/ 6102 w 45762"/>
                    <a:gd name="connsiteY3" fmla="*/ 0 h 100677"/>
                    <a:gd name="connsiteX4" fmla="*/ 12204 w 45762"/>
                    <a:gd name="connsiteY4" fmla="*/ 6102 h 100677"/>
                    <a:gd name="connsiteX5" fmla="*/ 45763 w 45762"/>
                    <a:gd name="connsiteY5" fmla="*/ 91525 h 100677"/>
                    <a:gd name="connsiteX6" fmla="*/ 39661 w 45762"/>
                    <a:gd name="connsiteY6" fmla="*/ 100678 h 100677"/>
                    <a:gd name="connsiteX7" fmla="*/ 39661 w 45762"/>
                    <a:gd name="connsiteY7" fmla="*/ 100678 h 1006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5762" h="100677">
                      <a:moveTo>
                        <a:pt x="39661" y="100678"/>
                      </a:moveTo>
                      <a:cubicBezTo>
                        <a:pt x="36611" y="100678"/>
                        <a:pt x="36611" y="100678"/>
                        <a:pt x="33560" y="97627"/>
                      </a:cubicBezTo>
                      <a:cubicBezTo>
                        <a:pt x="33560" y="94576"/>
                        <a:pt x="0" y="30508"/>
                        <a:pt x="0" y="6102"/>
                      </a:cubicBezTo>
                      <a:cubicBezTo>
                        <a:pt x="0" y="3051"/>
                        <a:pt x="3052" y="0"/>
                        <a:pt x="6102" y="0"/>
                      </a:cubicBezTo>
                      <a:cubicBezTo>
                        <a:pt x="9152" y="0"/>
                        <a:pt x="12204" y="3051"/>
                        <a:pt x="12204" y="6102"/>
                      </a:cubicBezTo>
                      <a:cubicBezTo>
                        <a:pt x="12204" y="24406"/>
                        <a:pt x="36611" y="76271"/>
                        <a:pt x="45763" y="91525"/>
                      </a:cubicBezTo>
                      <a:cubicBezTo>
                        <a:pt x="45763" y="94576"/>
                        <a:pt x="42713" y="97627"/>
                        <a:pt x="39661" y="100678"/>
                      </a:cubicBezTo>
                      <a:cubicBezTo>
                        <a:pt x="39661" y="97627"/>
                        <a:pt x="39661" y="100678"/>
                        <a:pt x="39661" y="100678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51E0CC10-5F7F-42F9-B2E4-86490E3C1C84}"/>
                  </a:ext>
                </a:extLst>
              </p:cNvPr>
              <p:cNvSpPr/>
              <p:nvPr/>
            </p:nvSpPr>
            <p:spPr>
              <a:xfrm>
                <a:off x="19114492" y="9413969"/>
                <a:ext cx="231101" cy="63003"/>
              </a:xfrm>
              <a:custGeom>
                <a:avLst/>
                <a:gdLst>
                  <a:gd name="connsiteX0" fmla="*/ 26694 w 231101"/>
                  <a:gd name="connsiteY0" fmla="*/ 63004 h 63003"/>
                  <a:gd name="connsiteX1" fmla="*/ 26694 w 231101"/>
                  <a:gd name="connsiteY1" fmla="*/ 63004 h 63003"/>
                  <a:gd name="connsiteX2" fmla="*/ 2288 w 231101"/>
                  <a:gd name="connsiteY2" fmla="*/ 44699 h 63003"/>
                  <a:gd name="connsiteX3" fmla="*/ 2288 w 231101"/>
                  <a:gd name="connsiteY3" fmla="*/ 23343 h 63003"/>
                  <a:gd name="connsiteX4" fmla="*/ 228051 w 231101"/>
                  <a:gd name="connsiteY4" fmla="*/ 41648 h 63003"/>
                  <a:gd name="connsiteX5" fmla="*/ 231101 w 231101"/>
                  <a:gd name="connsiteY5" fmla="*/ 47750 h 63003"/>
                  <a:gd name="connsiteX6" fmla="*/ 224999 w 231101"/>
                  <a:gd name="connsiteY6" fmla="*/ 50801 h 63003"/>
                  <a:gd name="connsiteX7" fmla="*/ 11440 w 231101"/>
                  <a:gd name="connsiteY7" fmla="*/ 26394 h 63003"/>
                  <a:gd name="connsiteX8" fmla="*/ 11440 w 231101"/>
                  <a:gd name="connsiteY8" fmla="*/ 38597 h 63003"/>
                  <a:gd name="connsiteX9" fmla="*/ 26694 w 231101"/>
                  <a:gd name="connsiteY9" fmla="*/ 50801 h 63003"/>
                  <a:gd name="connsiteX10" fmla="*/ 29746 w 231101"/>
                  <a:gd name="connsiteY10" fmla="*/ 56902 h 63003"/>
                  <a:gd name="connsiteX11" fmla="*/ 26694 w 231101"/>
                  <a:gd name="connsiteY11" fmla="*/ 63004 h 63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1101" h="63003">
                    <a:moveTo>
                      <a:pt x="26694" y="63004"/>
                    </a:moveTo>
                    <a:cubicBezTo>
                      <a:pt x="23644" y="63004"/>
                      <a:pt x="23644" y="63004"/>
                      <a:pt x="26694" y="63004"/>
                    </a:cubicBezTo>
                    <a:cubicBezTo>
                      <a:pt x="14492" y="59953"/>
                      <a:pt x="5340" y="53851"/>
                      <a:pt x="2288" y="44699"/>
                    </a:cubicBezTo>
                    <a:cubicBezTo>
                      <a:pt x="-763" y="38597"/>
                      <a:pt x="-763" y="29444"/>
                      <a:pt x="2288" y="23343"/>
                    </a:cubicBezTo>
                    <a:cubicBezTo>
                      <a:pt x="26694" y="-34623"/>
                      <a:pt x="209745" y="32495"/>
                      <a:pt x="228051" y="41648"/>
                    </a:cubicBezTo>
                    <a:cubicBezTo>
                      <a:pt x="231101" y="41648"/>
                      <a:pt x="231101" y="44699"/>
                      <a:pt x="231101" y="47750"/>
                    </a:cubicBezTo>
                    <a:cubicBezTo>
                      <a:pt x="231101" y="50801"/>
                      <a:pt x="228051" y="50801"/>
                      <a:pt x="224999" y="50801"/>
                    </a:cubicBezTo>
                    <a:cubicBezTo>
                      <a:pt x="170084" y="29444"/>
                      <a:pt x="29746" y="-13267"/>
                      <a:pt x="11440" y="26394"/>
                    </a:cubicBezTo>
                    <a:cubicBezTo>
                      <a:pt x="11440" y="29444"/>
                      <a:pt x="8390" y="32495"/>
                      <a:pt x="11440" y="38597"/>
                    </a:cubicBezTo>
                    <a:cubicBezTo>
                      <a:pt x="14492" y="44699"/>
                      <a:pt x="17542" y="47750"/>
                      <a:pt x="26694" y="50801"/>
                    </a:cubicBezTo>
                    <a:cubicBezTo>
                      <a:pt x="29746" y="50801"/>
                      <a:pt x="29746" y="53851"/>
                      <a:pt x="29746" y="56902"/>
                    </a:cubicBezTo>
                    <a:cubicBezTo>
                      <a:pt x="29746" y="63004"/>
                      <a:pt x="26694" y="63004"/>
                      <a:pt x="26694" y="6300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598390F9-DF7F-477C-B7DB-27349C305397}"/>
                  </a:ext>
                </a:extLst>
              </p:cNvPr>
              <p:cNvSpPr/>
              <p:nvPr/>
            </p:nvSpPr>
            <p:spPr>
              <a:xfrm>
                <a:off x="19301307" y="9436177"/>
                <a:ext cx="124061" cy="335995"/>
              </a:xfrm>
              <a:custGeom>
                <a:avLst/>
                <a:gdLst>
                  <a:gd name="connsiteX0" fmla="*/ 96151 w 124061"/>
                  <a:gd name="connsiteY0" fmla="*/ 290966 h 335995"/>
                  <a:gd name="connsiteX1" fmla="*/ 120557 w 124061"/>
                  <a:gd name="connsiteY1" fmla="*/ 68253 h 335995"/>
                  <a:gd name="connsiteX2" fmla="*/ 38184 w 124061"/>
                  <a:gd name="connsiteY2" fmla="*/ 25542 h 335995"/>
                  <a:gd name="connsiteX3" fmla="*/ 4625 w 124061"/>
                  <a:gd name="connsiteY3" fmla="*/ 294016 h 335995"/>
                  <a:gd name="connsiteX4" fmla="*/ 96151 w 124061"/>
                  <a:gd name="connsiteY4" fmla="*/ 290966 h 335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061" h="335995">
                    <a:moveTo>
                      <a:pt x="96151" y="290966"/>
                    </a:moveTo>
                    <a:cubicBezTo>
                      <a:pt x="83947" y="214695"/>
                      <a:pt x="90049" y="141474"/>
                      <a:pt x="120557" y="68253"/>
                    </a:cubicBezTo>
                    <a:cubicBezTo>
                      <a:pt x="141914" y="13339"/>
                      <a:pt x="59540" y="-29374"/>
                      <a:pt x="38184" y="25542"/>
                    </a:cubicBezTo>
                    <a:cubicBezTo>
                      <a:pt x="4625" y="110966"/>
                      <a:pt x="-7579" y="202490"/>
                      <a:pt x="4625" y="294016"/>
                    </a:cubicBezTo>
                    <a:cubicBezTo>
                      <a:pt x="13778" y="351983"/>
                      <a:pt x="105303" y="348932"/>
                      <a:pt x="96151" y="290966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E2441B14-4B45-432B-AC00-DC44CB3C841A}"/>
                </a:ext>
              </a:extLst>
            </p:cNvPr>
            <p:cNvSpPr/>
            <p:nvPr/>
          </p:nvSpPr>
          <p:spPr>
            <a:xfrm>
              <a:off x="18517588" y="9681380"/>
              <a:ext cx="492411" cy="1671864"/>
            </a:xfrm>
            <a:custGeom>
              <a:avLst/>
              <a:gdLst>
                <a:gd name="connsiteX0" fmla="*/ 135462 w 492411"/>
                <a:gd name="connsiteY0" fmla="*/ 1671864 h 1671864"/>
                <a:gd name="connsiteX1" fmla="*/ 129362 w 492411"/>
                <a:gd name="connsiteY1" fmla="*/ 1668813 h 1671864"/>
                <a:gd name="connsiteX2" fmla="*/ 126310 w 492411"/>
                <a:gd name="connsiteY2" fmla="*/ 680339 h 1671864"/>
                <a:gd name="connsiteX3" fmla="*/ 135462 w 492411"/>
                <a:gd name="connsiteY3" fmla="*/ 652881 h 1671864"/>
                <a:gd name="connsiteX4" fmla="*/ 480210 w 492411"/>
                <a:gd name="connsiteY4" fmla="*/ 3050 h 1671864"/>
                <a:gd name="connsiteX5" fmla="*/ 489362 w 492411"/>
                <a:gd name="connsiteY5" fmla="*/ 0 h 1671864"/>
                <a:gd name="connsiteX6" fmla="*/ 492412 w 492411"/>
                <a:gd name="connsiteY6" fmla="*/ 9152 h 1671864"/>
                <a:gd name="connsiteX7" fmla="*/ 147666 w 492411"/>
                <a:gd name="connsiteY7" fmla="*/ 658982 h 1671864"/>
                <a:gd name="connsiteX8" fmla="*/ 138514 w 492411"/>
                <a:gd name="connsiteY8" fmla="*/ 686441 h 1671864"/>
                <a:gd name="connsiteX9" fmla="*/ 141564 w 492411"/>
                <a:gd name="connsiteY9" fmla="*/ 1662712 h 1671864"/>
                <a:gd name="connsiteX10" fmla="*/ 135462 w 492411"/>
                <a:gd name="connsiteY10" fmla="*/ 1671864 h 1671864"/>
                <a:gd name="connsiteX11" fmla="*/ 135462 w 492411"/>
                <a:gd name="connsiteY11" fmla="*/ 1671864 h 167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2411" h="1671864">
                  <a:moveTo>
                    <a:pt x="135462" y="1671864"/>
                  </a:moveTo>
                  <a:cubicBezTo>
                    <a:pt x="132412" y="1671864"/>
                    <a:pt x="132412" y="1671864"/>
                    <a:pt x="129362" y="1668813"/>
                  </a:cubicBezTo>
                  <a:cubicBezTo>
                    <a:pt x="-108606" y="1296610"/>
                    <a:pt x="37837" y="912203"/>
                    <a:pt x="126310" y="680339"/>
                  </a:cubicBezTo>
                  <a:lnTo>
                    <a:pt x="135462" y="652881"/>
                  </a:lnTo>
                  <a:cubicBezTo>
                    <a:pt x="214785" y="445423"/>
                    <a:pt x="480210" y="6101"/>
                    <a:pt x="480210" y="3050"/>
                  </a:cubicBezTo>
                  <a:cubicBezTo>
                    <a:pt x="483260" y="0"/>
                    <a:pt x="486310" y="0"/>
                    <a:pt x="489362" y="0"/>
                  </a:cubicBezTo>
                  <a:cubicBezTo>
                    <a:pt x="492412" y="3050"/>
                    <a:pt x="492412" y="6101"/>
                    <a:pt x="492412" y="9152"/>
                  </a:cubicBezTo>
                  <a:cubicBezTo>
                    <a:pt x="489362" y="12203"/>
                    <a:pt x="223938" y="451525"/>
                    <a:pt x="147666" y="658982"/>
                  </a:cubicBezTo>
                  <a:lnTo>
                    <a:pt x="138514" y="686441"/>
                  </a:lnTo>
                  <a:cubicBezTo>
                    <a:pt x="53091" y="915254"/>
                    <a:pt x="-93351" y="1296610"/>
                    <a:pt x="141564" y="1662712"/>
                  </a:cubicBezTo>
                  <a:cubicBezTo>
                    <a:pt x="141564" y="1665762"/>
                    <a:pt x="141564" y="1668813"/>
                    <a:pt x="135462" y="1671864"/>
                  </a:cubicBezTo>
                  <a:cubicBezTo>
                    <a:pt x="135462" y="1671864"/>
                    <a:pt x="135462" y="1671864"/>
                    <a:pt x="135462" y="1671864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0942230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14">
            <a:extLst>
              <a:ext uri="{FF2B5EF4-FFF2-40B4-BE49-F238E27FC236}">
                <a16:creationId xmlns:a16="http://schemas.microsoft.com/office/drawing/2014/main" id="{D3142CE4-48DC-4EB0-91EE-F21541B99853}"/>
              </a:ext>
            </a:extLst>
          </p:cNvPr>
          <p:cNvGrpSpPr/>
          <p:nvPr/>
        </p:nvGrpSpPr>
        <p:grpSpPr>
          <a:xfrm>
            <a:off x="2644828" y="2882037"/>
            <a:ext cx="3752835" cy="3975963"/>
            <a:chOff x="2644828" y="8558758"/>
            <a:chExt cx="3752835" cy="3975963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B3C065EC-563F-472F-A13A-EEEC5478185B}"/>
                </a:ext>
              </a:extLst>
            </p:cNvPr>
            <p:cNvSpPr/>
            <p:nvPr/>
          </p:nvSpPr>
          <p:spPr>
            <a:xfrm>
              <a:off x="4834954" y="9852227"/>
              <a:ext cx="283728" cy="533898"/>
            </a:xfrm>
            <a:custGeom>
              <a:avLst/>
              <a:gdLst>
                <a:gd name="connsiteX0" fmla="*/ 283729 w 283728"/>
                <a:gd name="connsiteY0" fmla="*/ 533898 h 533898"/>
                <a:gd name="connsiteX1" fmla="*/ 0 w 283728"/>
                <a:gd name="connsiteY1" fmla="*/ 244068 h 533898"/>
                <a:gd name="connsiteX2" fmla="*/ 97627 w 283728"/>
                <a:gd name="connsiteY2" fmla="*/ 0 h 533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3728" h="533898">
                  <a:moveTo>
                    <a:pt x="283729" y="533898"/>
                  </a:moveTo>
                  <a:lnTo>
                    <a:pt x="0" y="244068"/>
                  </a:lnTo>
                  <a:lnTo>
                    <a:pt x="97627" y="0"/>
                  </a:ln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14">
              <a:extLst>
                <a:ext uri="{FF2B5EF4-FFF2-40B4-BE49-F238E27FC236}">
                  <a16:creationId xmlns:a16="http://schemas.microsoft.com/office/drawing/2014/main" id="{3B18785F-FBD5-44AA-8E99-D07509ABDCEA}"/>
                </a:ext>
              </a:extLst>
            </p:cNvPr>
            <p:cNvGrpSpPr/>
            <p:nvPr/>
          </p:nvGrpSpPr>
          <p:grpSpPr>
            <a:xfrm>
              <a:off x="2644828" y="9751549"/>
              <a:ext cx="2909503" cy="2665593"/>
              <a:chOff x="2644828" y="9751549"/>
              <a:chExt cx="2909503" cy="2665593"/>
            </a:xfrm>
          </p:grpSpPr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76F3B918-D386-40DA-AFB7-92E769429C60}"/>
                  </a:ext>
                </a:extLst>
              </p:cNvPr>
              <p:cNvSpPr/>
              <p:nvPr/>
            </p:nvSpPr>
            <p:spPr>
              <a:xfrm>
                <a:off x="2644828" y="9751549"/>
                <a:ext cx="2909503" cy="2665593"/>
              </a:xfrm>
              <a:custGeom>
                <a:avLst/>
                <a:gdLst>
                  <a:gd name="connsiteX0" fmla="*/ 81990 w 2909503"/>
                  <a:gd name="connsiteY0" fmla="*/ 1995254 h 2665593"/>
                  <a:gd name="connsiteX1" fmla="*/ 2647753 w 2909503"/>
                  <a:gd name="connsiteY1" fmla="*/ 2336949 h 2665593"/>
                  <a:gd name="connsiteX2" fmla="*/ 2614194 w 2909503"/>
                  <a:gd name="connsiteY2" fmla="*/ 1214237 h 2665593"/>
                  <a:gd name="connsiteX3" fmla="*/ 2614194 w 2909503"/>
                  <a:gd name="connsiteY3" fmla="*/ 1214237 h 2665593"/>
                  <a:gd name="connsiteX4" fmla="*/ 2220635 w 2909503"/>
                  <a:gd name="connsiteY4" fmla="*/ 964068 h 2665593"/>
                  <a:gd name="connsiteX5" fmla="*/ 1531143 w 2909503"/>
                  <a:gd name="connsiteY5" fmla="*/ 97627 h 2665593"/>
                  <a:gd name="connsiteX6" fmla="*/ 1302329 w 2909503"/>
                  <a:gd name="connsiteY6" fmla="*/ 0 h 2665593"/>
                  <a:gd name="connsiteX7" fmla="*/ 81990 w 2909503"/>
                  <a:gd name="connsiteY7" fmla="*/ 1995254 h 2665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09503" h="2665593">
                    <a:moveTo>
                      <a:pt x="81990" y="1995254"/>
                    </a:moveTo>
                    <a:cubicBezTo>
                      <a:pt x="414533" y="2953220"/>
                      <a:pt x="2211482" y="2709152"/>
                      <a:pt x="2647753" y="2336949"/>
                    </a:cubicBezTo>
                    <a:cubicBezTo>
                      <a:pt x="2864363" y="2150848"/>
                      <a:pt x="3123685" y="1656610"/>
                      <a:pt x="2614194" y="1214237"/>
                    </a:cubicBezTo>
                    <a:cubicBezTo>
                      <a:pt x="2614194" y="1214237"/>
                      <a:pt x="2614194" y="1214237"/>
                      <a:pt x="2614194" y="1214237"/>
                    </a:cubicBezTo>
                    <a:cubicBezTo>
                      <a:pt x="2513516" y="1128814"/>
                      <a:pt x="2385380" y="1043390"/>
                      <a:pt x="2220635" y="964068"/>
                    </a:cubicBezTo>
                    <a:cubicBezTo>
                      <a:pt x="1952160" y="835932"/>
                      <a:pt x="1784363" y="317288"/>
                      <a:pt x="1531143" y="97627"/>
                    </a:cubicBezTo>
                    <a:cubicBezTo>
                      <a:pt x="1460974" y="36611"/>
                      <a:pt x="1387753" y="0"/>
                      <a:pt x="1302329" y="0"/>
                    </a:cubicBezTo>
                    <a:cubicBezTo>
                      <a:pt x="905719" y="3051"/>
                      <a:pt x="-326823" y="823729"/>
                      <a:pt x="81990" y="1995254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5AEED243-409B-4550-B8A1-AAB84C0B9523}"/>
                  </a:ext>
                </a:extLst>
              </p:cNvPr>
              <p:cNvSpPr/>
              <p:nvPr/>
            </p:nvSpPr>
            <p:spPr>
              <a:xfrm>
                <a:off x="3749615" y="10654600"/>
                <a:ext cx="1033474" cy="439321"/>
              </a:xfrm>
              <a:custGeom>
                <a:avLst/>
                <a:gdLst>
                  <a:gd name="connsiteX0" fmla="*/ 5339 w 1033474"/>
                  <a:gd name="connsiteY0" fmla="*/ 439322 h 439321"/>
                  <a:gd name="connsiteX1" fmla="*/ 2288 w 1033474"/>
                  <a:gd name="connsiteY1" fmla="*/ 439322 h 439321"/>
                  <a:gd name="connsiteX2" fmla="*/ 2288 w 1033474"/>
                  <a:gd name="connsiteY2" fmla="*/ 430170 h 439321"/>
                  <a:gd name="connsiteX3" fmla="*/ 1027373 w 1033474"/>
                  <a:gd name="connsiteY3" fmla="*/ 0 h 439321"/>
                  <a:gd name="connsiteX4" fmla="*/ 1027373 w 1033474"/>
                  <a:gd name="connsiteY4" fmla="*/ 0 h 439321"/>
                  <a:gd name="connsiteX5" fmla="*/ 1033475 w 1033474"/>
                  <a:gd name="connsiteY5" fmla="*/ 6101 h 439321"/>
                  <a:gd name="connsiteX6" fmla="*/ 1027373 w 1033474"/>
                  <a:gd name="connsiteY6" fmla="*/ 12203 h 439321"/>
                  <a:gd name="connsiteX7" fmla="*/ 11441 w 1033474"/>
                  <a:gd name="connsiteY7" fmla="*/ 436271 h 439321"/>
                  <a:gd name="connsiteX8" fmla="*/ 5339 w 1033474"/>
                  <a:gd name="connsiteY8" fmla="*/ 439322 h 439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33474" h="439321">
                    <a:moveTo>
                      <a:pt x="5339" y="439322"/>
                    </a:moveTo>
                    <a:cubicBezTo>
                      <a:pt x="5339" y="439322"/>
                      <a:pt x="2288" y="439322"/>
                      <a:pt x="2288" y="439322"/>
                    </a:cubicBezTo>
                    <a:cubicBezTo>
                      <a:pt x="-763" y="436271"/>
                      <a:pt x="-763" y="433220"/>
                      <a:pt x="2288" y="430170"/>
                    </a:cubicBezTo>
                    <a:cubicBezTo>
                      <a:pt x="334831" y="9152"/>
                      <a:pt x="1021271" y="0"/>
                      <a:pt x="1027373" y="0"/>
                    </a:cubicBezTo>
                    <a:lnTo>
                      <a:pt x="1027373" y="0"/>
                    </a:lnTo>
                    <a:cubicBezTo>
                      <a:pt x="1030424" y="0"/>
                      <a:pt x="1033475" y="3051"/>
                      <a:pt x="1033475" y="6101"/>
                    </a:cubicBezTo>
                    <a:cubicBezTo>
                      <a:pt x="1033475" y="9152"/>
                      <a:pt x="1030424" y="12203"/>
                      <a:pt x="1027373" y="12203"/>
                    </a:cubicBezTo>
                    <a:cubicBezTo>
                      <a:pt x="1021271" y="12203"/>
                      <a:pt x="340932" y="21355"/>
                      <a:pt x="11441" y="436271"/>
                    </a:cubicBezTo>
                    <a:cubicBezTo>
                      <a:pt x="8390" y="436271"/>
                      <a:pt x="5339" y="439322"/>
                      <a:pt x="5339" y="43932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BD733FF8-6A45-446C-827F-785ACCA0DA4B}"/>
                  </a:ext>
                </a:extLst>
              </p:cNvPr>
              <p:cNvSpPr/>
              <p:nvPr/>
            </p:nvSpPr>
            <p:spPr>
              <a:xfrm>
                <a:off x="3821444" y="11143498"/>
                <a:ext cx="231730" cy="566695"/>
              </a:xfrm>
              <a:custGeom>
                <a:avLst/>
                <a:gdLst>
                  <a:gd name="connsiteX0" fmla="*/ 15883 w 231730"/>
                  <a:gd name="connsiteY0" fmla="*/ 566695 h 566695"/>
                  <a:gd name="connsiteX1" fmla="*/ 9781 w 231730"/>
                  <a:gd name="connsiteY1" fmla="*/ 560593 h 566695"/>
                  <a:gd name="connsiteX2" fmla="*/ 220290 w 231730"/>
                  <a:gd name="connsiteY2" fmla="*/ 2288 h 566695"/>
                  <a:gd name="connsiteX3" fmla="*/ 229442 w 231730"/>
                  <a:gd name="connsiteY3" fmla="*/ 2288 h 566695"/>
                  <a:gd name="connsiteX4" fmla="*/ 229442 w 231730"/>
                  <a:gd name="connsiteY4" fmla="*/ 11440 h 566695"/>
                  <a:gd name="connsiteX5" fmla="*/ 21984 w 231730"/>
                  <a:gd name="connsiteY5" fmla="*/ 557542 h 566695"/>
                  <a:gd name="connsiteX6" fmla="*/ 15883 w 231730"/>
                  <a:gd name="connsiteY6" fmla="*/ 566695 h 566695"/>
                  <a:gd name="connsiteX7" fmla="*/ 15883 w 231730"/>
                  <a:gd name="connsiteY7" fmla="*/ 566695 h 566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1730" h="566695">
                    <a:moveTo>
                      <a:pt x="15883" y="566695"/>
                    </a:moveTo>
                    <a:cubicBezTo>
                      <a:pt x="12832" y="566695"/>
                      <a:pt x="9781" y="563644"/>
                      <a:pt x="9781" y="560593"/>
                    </a:cubicBezTo>
                    <a:cubicBezTo>
                      <a:pt x="-54287" y="246356"/>
                      <a:pt x="217239" y="5338"/>
                      <a:pt x="220290" y="2288"/>
                    </a:cubicBezTo>
                    <a:cubicBezTo>
                      <a:pt x="223340" y="-763"/>
                      <a:pt x="226391" y="-763"/>
                      <a:pt x="229442" y="2288"/>
                    </a:cubicBezTo>
                    <a:cubicBezTo>
                      <a:pt x="232493" y="5338"/>
                      <a:pt x="232493" y="8389"/>
                      <a:pt x="229442" y="11440"/>
                    </a:cubicBezTo>
                    <a:cubicBezTo>
                      <a:pt x="226391" y="14491"/>
                      <a:pt x="-39032" y="249406"/>
                      <a:pt x="21984" y="557542"/>
                    </a:cubicBezTo>
                    <a:cubicBezTo>
                      <a:pt x="21984" y="563644"/>
                      <a:pt x="21984" y="566695"/>
                      <a:pt x="15883" y="566695"/>
                    </a:cubicBezTo>
                    <a:cubicBezTo>
                      <a:pt x="18934" y="566695"/>
                      <a:pt x="15883" y="566695"/>
                      <a:pt x="15883" y="56669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9B5DA0B4-B46C-4DDE-B1BA-DB266382C02A}"/>
                  </a:ext>
                </a:extLst>
              </p:cNvPr>
              <p:cNvSpPr/>
              <p:nvPr/>
            </p:nvSpPr>
            <p:spPr>
              <a:xfrm>
                <a:off x="4166612" y="11197651"/>
                <a:ext cx="103172" cy="424067"/>
              </a:xfrm>
              <a:custGeom>
                <a:avLst/>
                <a:gdLst>
                  <a:gd name="connsiteX0" fmla="*/ 97833 w 103172"/>
                  <a:gd name="connsiteY0" fmla="*/ 424068 h 424067"/>
                  <a:gd name="connsiteX1" fmla="*/ 94782 w 103172"/>
                  <a:gd name="connsiteY1" fmla="*/ 424068 h 424067"/>
                  <a:gd name="connsiteX2" fmla="*/ 206 w 103172"/>
                  <a:gd name="connsiteY2" fmla="*/ 6102 h 424067"/>
                  <a:gd name="connsiteX3" fmla="*/ 6308 w 103172"/>
                  <a:gd name="connsiteY3" fmla="*/ 0 h 424067"/>
                  <a:gd name="connsiteX4" fmla="*/ 12409 w 103172"/>
                  <a:gd name="connsiteY4" fmla="*/ 6102 h 424067"/>
                  <a:gd name="connsiteX5" fmla="*/ 100884 w 103172"/>
                  <a:gd name="connsiteY5" fmla="*/ 411864 h 424067"/>
                  <a:gd name="connsiteX6" fmla="*/ 100884 w 103172"/>
                  <a:gd name="connsiteY6" fmla="*/ 421018 h 424067"/>
                  <a:gd name="connsiteX7" fmla="*/ 97833 w 103172"/>
                  <a:gd name="connsiteY7" fmla="*/ 424068 h 424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172" h="424067">
                    <a:moveTo>
                      <a:pt x="97833" y="424068"/>
                    </a:moveTo>
                    <a:cubicBezTo>
                      <a:pt x="97833" y="424068"/>
                      <a:pt x="94782" y="424068"/>
                      <a:pt x="94782" y="424068"/>
                    </a:cubicBezTo>
                    <a:cubicBezTo>
                      <a:pt x="-8947" y="338644"/>
                      <a:pt x="206" y="21356"/>
                      <a:pt x="206" y="6102"/>
                    </a:cubicBezTo>
                    <a:cubicBezTo>
                      <a:pt x="206" y="3051"/>
                      <a:pt x="3257" y="0"/>
                      <a:pt x="6308" y="0"/>
                    </a:cubicBezTo>
                    <a:cubicBezTo>
                      <a:pt x="9358" y="0"/>
                      <a:pt x="12409" y="3051"/>
                      <a:pt x="12409" y="6102"/>
                    </a:cubicBezTo>
                    <a:cubicBezTo>
                      <a:pt x="12409" y="9153"/>
                      <a:pt x="3257" y="332542"/>
                      <a:pt x="100884" y="411864"/>
                    </a:cubicBezTo>
                    <a:cubicBezTo>
                      <a:pt x="103935" y="414915"/>
                      <a:pt x="103935" y="417966"/>
                      <a:pt x="100884" y="421018"/>
                    </a:cubicBezTo>
                    <a:cubicBezTo>
                      <a:pt x="100884" y="421018"/>
                      <a:pt x="100884" y="424068"/>
                      <a:pt x="97833" y="4240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C84C6E35-1DB4-4EF9-92A4-F5F11B74AEAA}"/>
                  </a:ext>
                </a:extLst>
              </p:cNvPr>
              <p:cNvSpPr/>
              <p:nvPr/>
            </p:nvSpPr>
            <p:spPr>
              <a:xfrm>
                <a:off x="3252327" y="10828498"/>
                <a:ext cx="508728" cy="213559"/>
              </a:xfrm>
              <a:custGeom>
                <a:avLst/>
                <a:gdLst>
                  <a:gd name="connsiteX0" fmla="*/ 5339 w 508728"/>
                  <a:gd name="connsiteY0" fmla="*/ 213559 h 213559"/>
                  <a:gd name="connsiteX1" fmla="*/ 2288 w 508728"/>
                  <a:gd name="connsiteY1" fmla="*/ 213559 h 213559"/>
                  <a:gd name="connsiteX2" fmla="*/ 2288 w 508728"/>
                  <a:gd name="connsiteY2" fmla="*/ 204407 h 213559"/>
                  <a:gd name="connsiteX3" fmla="*/ 502627 w 508728"/>
                  <a:gd name="connsiteY3" fmla="*/ 0 h 213559"/>
                  <a:gd name="connsiteX4" fmla="*/ 508729 w 508728"/>
                  <a:gd name="connsiteY4" fmla="*/ 6102 h 213559"/>
                  <a:gd name="connsiteX5" fmla="*/ 502627 w 508728"/>
                  <a:gd name="connsiteY5" fmla="*/ 12204 h 213559"/>
                  <a:gd name="connsiteX6" fmla="*/ 11441 w 508728"/>
                  <a:gd name="connsiteY6" fmla="*/ 213559 h 213559"/>
                  <a:gd name="connsiteX7" fmla="*/ 5339 w 508728"/>
                  <a:gd name="connsiteY7" fmla="*/ 213559 h 213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8728" h="213559">
                    <a:moveTo>
                      <a:pt x="5339" y="213559"/>
                    </a:moveTo>
                    <a:cubicBezTo>
                      <a:pt x="5339" y="213559"/>
                      <a:pt x="2288" y="213559"/>
                      <a:pt x="2288" y="213559"/>
                    </a:cubicBezTo>
                    <a:cubicBezTo>
                      <a:pt x="-763" y="210509"/>
                      <a:pt x="-763" y="207458"/>
                      <a:pt x="2288" y="204407"/>
                    </a:cubicBezTo>
                    <a:cubicBezTo>
                      <a:pt x="154831" y="30508"/>
                      <a:pt x="499576" y="0"/>
                      <a:pt x="502627" y="0"/>
                    </a:cubicBezTo>
                    <a:cubicBezTo>
                      <a:pt x="505678" y="0"/>
                      <a:pt x="508729" y="3051"/>
                      <a:pt x="508729" y="6102"/>
                    </a:cubicBezTo>
                    <a:cubicBezTo>
                      <a:pt x="508729" y="9153"/>
                      <a:pt x="505678" y="12204"/>
                      <a:pt x="502627" y="12204"/>
                    </a:cubicBezTo>
                    <a:cubicBezTo>
                      <a:pt x="499576" y="12204"/>
                      <a:pt x="160932" y="42713"/>
                      <a:pt x="11441" y="213559"/>
                    </a:cubicBezTo>
                    <a:cubicBezTo>
                      <a:pt x="8390" y="213559"/>
                      <a:pt x="8390" y="213559"/>
                      <a:pt x="5339" y="21355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12BDB072-1E47-48E4-8741-79C36041930C}"/>
                  </a:ext>
                </a:extLst>
              </p:cNvPr>
              <p:cNvSpPr/>
              <p:nvPr/>
            </p:nvSpPr>
            <p:spPr>
              <a:xfrm>
                <a:off x="2957062" y="11496634"/>
                <a:ext cx="137054" cy="701694"/>
              </a:xfrm>
              <a:custGeom>
                <a:avLst/>
                <a:gdLst>
                  <a:gd name="connsiteX0" fmla="*/ 129756 w 137054"/>
                  <a:gd name="connsiteY0" fmla="*/ 701695 h 701694"/>
                  <a:gd name="connsiteX1" fmla="*/ 123654 w 137054"/>
                  <a:gd name="connsiteY1" fmla="*/ 698644 h 701694"/>
                  <a:gd name="connsiteX2" fmla="*/ 35179 w 137054"/>
                  <a:gd name="connsiteY2" fmla="*/ 3050 h 701694"/>
                  <a:gd name="connsiteX3" fmla="*/ 44332 w 137054"/>
                  <a:gd name="connsiteY3" fmla="*/ 0 h 701694"/>
                  <a:gd name="connsiteX4" fmla="*/ 47383 w 137054"/>
                  <a:gd name="connsiteY4" fmla="*/ 9152 h 701694"/>
                  <a:gd name="connsiteX5" fmla="*/ 135857 w 137054"/>
                  <a:gd name="connsiteY5" fmla="*/ 692542 h 701694"/>
                  <a:gd name="connsiteX6" fmla="*/ 129756 w 137054"/>
                  <a:gd name="connsiteY6" fmla="*/ 701695 h 701694"/>
                  <a:gd name="connsiteX7" fmla="*/ 129756 w 137054"/>
                  <a:gd name="connsiteY7" fmla="*/ 701695 h 701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7054" h="701694">
                    <a:moveTo>
                      <a:pt x="129756" y="701695"/>
                    </a:moveTo>
                    <a:cubicBezTo>
                      <a:pt x="126705" y="701695"/>
                      <a:pt x="126705" y="701695"/>
                      <a:pt x="123654" y="698644"/>
                    </a:cubicBezTo>
                    <a:cubicBezTo>
                      <a:pt x="-86855" y="329491"/>
                      <a:pt x="35179" y="6101"/>
                      <a:pt x="35179" y="3050"/>
                    </a:cubicBezTo>
                    <a:cubicBezTo>
                      <a:pt x="35179" y="0"/>
                      <a:pt x="41281" y="0"/>
                      <a:pt x="44332" y="0"/>
                    </a:cubicBezTo>
                    <a:cubicBezTo>
                      <a:pt x="47383" y="0"/>
                      <a:pt x="47383" y="6101"/>
                      <a:pt x="47383" y="9152"/>
                    </a:cubicBezTo>
                    <a:cubicBezTo>
                      <a:pt x="47383" y="12203"/>
                      <a:pt x="-74651" y="329491"/>
                      <a:pt x="135857" y="692542"/>
                    </a:cubicBezTo>
                    <a:cubicBezTo>
                      <a:pt x="138908" y="695593"/>
                      <a:pt x="135857" y="698644"/>
                      <a:pt x="129756" y="701695"/>
                    </a:cubicBezTo>
                    <a:cubicBezTo>
                      <a:pt x="132807" y="701695"/>
                      <a:pt x="132807" y="701695"/>
                      <a:pt x="129756" y="70169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" name="图形 114">
              <a:extLst>
                <a:ext uri="{FF2B5EF4-FFF2-40B4-BE49-F238E27FC236}">
                  <a16:creationId xmlns:a16="http://schemas.microsoft.com/office/drawing/2014/main" id="{10613EC9-54EB-4CA0-A71C-E945257BE7DE}"/>
                </a:ext>
              </a:extLst>
            </p:cNvPr>
            <p:cNvGrpSpPr/>
            <p:nvPr/>
          </p:nvGrpSpPr>
          <p:grpSpPr>
            <a:xfrm>
              <a:off x="5738005" y="11942057"/>
              <a:ext cx="659658" cy="408026"/>
              <a:chOff x="5738005" y="11942057"/>
              <a:chExt cx="659658" cy="408026"/>
            </a:xfrm>
          </p:grpSpPr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0DD729D6-7536-4C23-AE03-78347BC4F5D4}"/>
                  </a:ext>
                </a:extLst>
              </p:cNvPr>
              <p:cNvSpPr/>
              <p:nvPr/>
            </p:nvSpPr>
            <p:spPr>
              <a:xfrm>
                <a:off x="5738005" y="11942057"/>
                <a:ext cx="280677" cy="283729"/>
              </a:xfrm>
              <a:custGeom>
                <a:avLst/>
                <a:gdLst>
                  <a:gd name="connsiteX0" fmla="*/ 109830 w 280677"/>
                  <a:gd name="connsiteY0" fmla="*/ 250170 h 283729"/>
                  <a:gd name="connsiteX1" fmla="*/ 0 w 280677"/>
                  <a:gd name="connsiteY1" fmla="*/ 76271 h 283729"/>
                  <a:gd name="connsiteX2" fmla="*/ 161695 w 280677"/>
                  <a:gd name="connsiteY2" fmla="*/ 0 h 283729"/>
                  <a:gd name="connsiteX3" fmla="*/ 280678 w 280677"/>
                  <a:gd name="connsiteY3" fmla="*/ 183051 h 283729"/>
                  <a:gd name="connsiteX4" fmla="*/ 140339 w 280677"/>
                  <a:gd name="connsiteY4" fmla="*/ 283729 h 283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0677" h="283729">
                    <a:moveTo>
                      <a:pt x="109830" y="250170"/>
                    </a:moveTo>
                    <a:lnTo>
                      <a:pt x="0" y="76271"/>
                    </a:lnTo>
                    <a:lnTo>
                      <a:pt x="161695" y="0"/>
                    </a:lnTo>
                    <a:lnTo>
                      <a:pt x="280678" y="183051"/>
                    </a:lnTo>
                    <a:lnTo>
                      <a:pt x="140339" y="283729"/>
                    </a:ln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3B5E6F1C-B892-4497-8A7D-D8630F27CC7B}"/>
                  </a:ext>
                </a:extLst>
              </p:cNvPr>
              <p:cNvSpPr/>
              <p:nvPr/>
            </p:nvSpPr>
            <p:spPr>
              <a:xfrm>
                <a:off x="5847835" y="12051011"/>
                <a:ext cx="527796" cy="254097"/>
              </a:xfrm>
              <a:custGeom>
                <a:avLst/>
                <a:gdLst>
                  <a:gd name="connsiteX0" fmla="*/ 0 w 527796"/>
                  <a:gd name="connsiteY0" fmla="*/ 141216 h 254097"/>
                  <a:gd name="connsiteX1" fmla="*/ 149492 w 527796"/>
                  <a:gd name="connsiteY1" fmla="*/ 13080 h 254097"/>
                  <a:gd name="connsiteX2" fmla="*/ 320339 w 527796"/>
                  <a:gd name="connsiteY2" fmla="*/ 31385 h 254097"/>
                  <a:gd name="connsiteX3" fmla="*/ 527797 w 527796"/>
                  <a:gd name="connsiteY3" fmla="*/ 31385 h 254097"/>
                  <a:gd name="connsiteX4" fmla="*/ 51865 w 527796"/>
                  <a:gd name="connsiteY4" fmla="*/ 254098 h 254097"/>
                  <a:gd name="connsiteX5" fmla="*/ 0 w 527796"/>
                  <a:gd name="connsiteY5" fmla="*/ 141216 h 254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7796" h="254097">
                    <a:moveTo>
                      <a:pt x="0" y="141216"/>
                    </a:moveTo>
                    <a:cubicBezTo>
                      <a:pt x="0" y="141216"/>
                      <a:pt x="118983" y="107657"/>
                      <a:pt x="149492" y="13080"/>
                    </a:cubicBezTo>
                    <a:cubicBezTo>
                      <a:pt x="149492" y="13080"/>
                      <a:pt x="271525" y="43589"/>
                      <a:pt x="320339" y="31385"/>
                    </a:cubicBezTo>
                    <a:cubicBezTo>
                      <a:pt x="369153" y="19182"/>
                      <a:pt x="478983" y="-32683"/>
                      <a:pt x="527797" y="31385"/>
                    </a:cubicBezTo>
                    <a:lnTo>
                      <a:pt x="51865" y="254098"/>
                    </a:lnTo>
                    <a:cubicBezTo>
                      <a:pt x="54915" y="254098"/>
                      <a:pt x="6102" y="199182"/>
                      <a:pt x="0" y="141216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956CDE7C-8C4E-4EB6-87A2-24E6E20425AB}"/>
                  </a:ext>
                </a:extLst>
              </p:cNvPr>
              <p:cNvSpPr/>
              <p:nvPr/>
            </p:nvSpPr>
            <p:spPr>
              <a:xfrm rot="-1502571">
                <a:off x="5887246" y="12192501"/>
                <a:ext cx="524750" cy="48814"/>
              </a:xfrm>
              <a:custGeom>
                <a:avLst/>
                <a:gdLst>
                  <a:gd name="connsiteX0" fmla="*/ 0 w 524750"/>
                  <a:gd name="connsiteY0" fmla="*/ 0 h 48814"/>
                  <a:gd name="connsiteX1" fmla="*/ 524751 w 524750"/>
                  <a:gd name="connsiteY1" fmla="*/ 0 h 48814"/>
                  <a:gd name="connsiteX2" fmla="*/ 524751 w 524750"/>
                  <a:gd name="connsiteY2" fmla="*/ 48814 h 48814"/>
                  <a:gd name="connsiteX3" fmla="*/ 0 w 524750"/>
                  <a:gd name="connsiteY3" fmla="*/ 48814 h 48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4750" h="48814">
                    <a:moveTo>
                      <a:pt x="0" y="0"/>
                    </a:moveTo>
                    <a:lnTo>
                      <a:pt x="524751" y="0"/>
                    </a:lnTo>
                    <a:lnTo>
                      <a:pt x="524751" y="48814"/>
                    </a:lnTo>
                    <a:lnTo>
                      <a:pt x="0" y="48814"/>
                    </a:lnTo>
                    <a:close/>
                  </a:path>
                </a:pathLst>
              </a:custGeom>
              <a:solidFill>
                <a:srgbClr val="38333D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AFD7A7CE-2689-49B7-9403-887B03BDA13A}"/>
                  </a:ext>
                </a:extLst>
              </p:cNvPr>
              <p:cNvSpPr/>
              <p:nvPr/>
            </p:nvSpPr>
            <p:spPr>
              <a:xfrm>
                <a:off x="5841733" y="12057990"/>
                <a:ext cx="162958" cy="140339"/>
              </a:xfrm>
              <a:custGeom>
                <a:avLst/>
                <a:gdLst>
                  <a:gd name="connsiteX0" fmla="*/ 6102 w 162958"/>
                  <a:gd name="connsiteY0" fmla="*/ 140339 h 140339"/>
                  <a:gd name="connsiteX1" fmla="*/ 0 w 162958"/>
                  <a:gd name="connsiteY1" fmla="*/ 137288 h 140339"/>
                  <a:gd name="connsiteX2" fmla="*/ 3051 w 162958"/>
                  <a:gd name="connsiteY2" fmla="*/ 128135 h 140339"/>
                  <a:gd name="connsiteX3" fmla="*/ 149492 w 162958"/>
                  <a:gd name="connsiteY3" fmla="*/ 3051 h 140339"/>
                  <a:gd name="connsiteX4" fmla="*/ 158644 w 162958"/>
                  <a:gd name="connsiteY4" fmla="*/ 0 h 140339"/>
                  <a:gd name="connsiteX5" fmla="*/ 161695 w 162958"/>
                  <a:gd name="connsiteY5" fmla="*/ 9152 h 140339"/>
                  <a:gd name="connsiteX6" fmla="*/ 6102 w 162958"/>
                  <a:gd name="connsiteY6" fmla="*/ 140339 h 140339"/>
                  <a:gd name="connsiteX7" fmla="*/ 6102 w 162958"/>
                  <a:gd name="connsiteY7" fmla="*/ 140339 h 140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2958" h="140339">
                    <a:moveTo>
                      <a:pt x="6102" y="140339"/>
                    </a:moveTo>
                    <a:cubicBezTo>
                      <a:pt x="3051" y="140339"/>
                      <a:pt x="0" y="137288"/>
                      <a:pt x="0" y="137288"/>
                    </a:cubicBezTo>
                    <a:cubicBezTo>
                      <a:pt x="0" y="134237"/>
                      <a:pt x="0" y="131186"/>
                      <a:pt x="3051" y="128135"/>
                    </a:cubicBezTo>
                    <a:cubicBezTo>
                      <a:pt x="3051" y="128135"/>
                      <a:pt x="109830" y="97627"/>
                      <a:pt x="149492" y="3051"/>
                    </a:cubicBezTo>
                    <a:cubicBezTo>
                      <a:pt x="149492" y="0"/>
                      <a:pt x="155593" y="0"/>
                      <a:pt x="158644" y="0"/>
                    </a:cubicBezTo>
                    <a:cubicBezTo>
                      <a:pt x="161695" y="0"/>
                      <a:pt x="164746" y="6101"/>
                      <a:pt x="161695" y="9152"/>
                    </a:cubicBezTo>
                    <a:cubicBezTo>
                      <a:pt x="122034" y="106780"/>
                      <a:pt x="12203" y="140339"/>
                      <a:pt x="6102" y="140339"/>
                    </a:cubicBezTo>
                    <a:cubicBezTo>
                      <a:pt x="9152" y="140339"/>
                      <a:pt x="6102" y="140339"/>
                      <a:pt x="6102" y="14033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944510FE-ECA3-4C61-8C4A-90B4BFC69E5F}"/>
                  </a:ext>
                </a:extLst>
              </p:cNvPr>
              <p:cNvSpPr/>
              <p:nvPr/>
            </p:nvSpPr>
            <p:spPr>
              <a:xfrm>
                <a:off x="6027835" y="12065878"/>
                <a:ext cx="25670" cy="53128"/>
              </a:xfrm>
              <a:custGeom>
                <a:avLst/>
                <a:gdLst>
                  <a:gd name="connsiteX0" fmla="*/ 6102 w 25670"/>
                  <a:gd name="connsiteY0" fmla="*/ 53129 h 53128"/>
                  <a:gd name="connsiteX1" fmla="*/ 6102 w 25670"/>
                  <a:gd name="connsiteY1" fmla="*/ 53129 h 53128"/>
                  <a:gd name="connsiteX2" fmla="*/ 0 w 25670"/>
                  <a:gd name="connsiteY2" fmla="*/ 43975 h 53128"/>
                  <a:gd name="connsiteX3" fmla="*/ 12203 w 25670"/>
                  <a:gd name="connsiteY3" fmla="*/ 4315 h 53128"/>
                  <a:gd name="connsiteX4" fmla="*/ 21356 w 25670"/>
                  <a:gd name="connsiteY4" fmla="*/ 1264 h 53128"/>
                  <a:gd name="connsiteX5" fmla="*/ 24407 w 25670"/>
                  <a:gd name="connsiteY5" fmla="*/ 10417 h 53128"/>
                  <a:gd name="connsiteX6" fmla="*/ 12203 w 25670"/>
                  <a:gd name="connsiteY6" fmla="*/ 50078 h 53128"/>
                  <a:gd name="connsiteX7" fmla="*/ 6102 w 25670"/>
                  <a:gd name="connsiteY7" fmla="*/ 53129 h 53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670" h="53128">
                    <a:moveTo>
                      <a:pt x="6102" y="53129"/>
                    </a:moveTo>
                    <a:cubicBezTo>
                      <a:pt x="6102" y="53129"/>
                      <a:pt x="6102" y="53129"/>
                      <a:pt x="6102" y="53129"/>
                    </a:cubicBezTo>
                    <a:cubicBezTo>
                      <a:pt x="0" y="53129"/>
                      <a:pt x="0" y="47026"/>
                      <a:pt x="0" y="43975"/>
                    </a:cubicBezTo>
                    <a:lnTo>
                      <a:pt x="12203" y="4315"/>
                    </a:lnTo>
                    <a:cubicBezTo>
                      <a:pt x="12203" y="1264"/>
                      <a:pt x="18305" y="-1787"/>
                      <a:pt x="21356" y="1264"/>
                    </a:cubicBezTo>
                    <a:cubicBezTo>
                      <a:pt x="24407" y="1264"/>
                      <a:pt x="27458" y="7366"/>
                      <a:pt x="24407" y="10417"/>
                    </a:cubicBezTo>
                    <a:lnTo>
                      <a:pt x="12203" y="50078"/>
                    </a:lnTo>
                    <a:cubicBezTo>
                      <a:pt x="12203" y="53129"/>
                      <a:pt x="9153" y="53129"/>
                      <a:pt x="6102" y="531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8552644E-2C46-48A2-B485-5ABE178FF97A}"/>
                  </a:ext>
                </a:extLst>
              </p:cNvPr>
              <p:cNvSpPr/>
              <p:nvPr/>
            </p:nvSpPr>
            <p:spPr>
              <a:xfrm>
                <a:off x="6079699" y="12075031"/>
                <a:ext cx="25670" cy="53127"/>
              </a:xfrm>
              <a:custGeom>
                <a:avLst/>
                <a:gdLst>
                  <a:gd name="connsiteX0" fmla="*/ 6102 w 25670"/>
                  <a:gd name="connsiteY0" fmla="*/ 53128 h 53127"/>
                  <a:gd name="connsiteX1" fmla="*/ 6102 w 25670"/>
                  <a:gd name="connsiteY1" fmla="*/ 53128 h 53127"/>
                  <a:gd name="connsiteX2" fmla="*/ 0 w 25670"/>
                  <a:gd name="connsiteY2" fmla="*/ 43975 h 53127"/>
                  <a:gd name="connsiteX3" fmla="*/ 12203 w 25670"/>
                  <a:gd name="connsiteY3" fmla="*/ 4314 h 53127"/>
                  <a:gd name="connsiteX4" fmla="*/ 21356 w 25670"/>
                  <a:gd name="connsiteY4" fmla="*/ 1264 h 53127"/>
                  <a:gd name="connsiteX5" fmla="*/ 24407 w 25670"/>
                  <a:gd name="connsiteY5" fmla="*/ 10416 h 53127"/>
                  <a:gd name="connsiteX6" fmla="*/ 12203 w 25670"/>
                  <a:gd name="connsiteY6" fmla="*/ 50077 h 53127"/>
                  <a:gd name="connsiteX7" fmla="*/ 6102 w 25670"/>
                  <a:gd name="connsiteY7" fmla="*/ 53128 h 53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670" h="53127">
                    <a:moveTo>
                      <a:pt x="6102" y="53128"/>
                    </a:moveTo>
                    <a:cubicBezTo>
                      <a:pt x="3051" y="53128"/>
                      <a:pt x="3051" y="53128"/>
                      <a:pt x="6102" y="53128"/>
                    </a:cubicBezTo>
                    <a:cubicBezTo>
                      <a:pt x="0" y="53128"/>
                      <a:pt x="0" y="47027"/>
                      <a:pt x="0" y="43975"/>
                    </a:cubicBezTo>
                    <a:lnTo>
                      <a:pt x="12203" y="4314"/>
                    </a:lnTo>
                    <a:cubicBezTo>
                      <a:pt x="12203" y="1264"/>
                      <a:pt x="18305" y="-1787"/>
                      <a:pt x="21356" y="1264"/>
                    </a:cubicBezTo>
                    <a:cubicBezTo>
                      <a:pt x="24407" y="1264"/>
                      <a:pt x="27458" y="7365"/>
                      <a:pt x="24407" y="10416"/>
                    </a:cubicBezTo>
                    <a:lnTo>
                      <a:pt x="12203" y="50077"/>
                    </a:lnTo>
                    <a:cubicBezTo>
                      <a:pt x="9153" y="53128"/>
                      <a:pt x="9153" y="53128"/>
                      <a:pt x="6102" y="531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" name="图形 114">
              <a:extLst>
                <a:ext uri="{FF2B5EF4-FFF2-40B4-BE49-F238E27FC236}">
                  <a16:creationId xmlns:a16="http://schemas.microsoft.com/office/drawing/2014/main" id="{FBC41C8A-71B0-4120-B09B-98BBFEDAE794}"/>
                </a:ext>
              </a:extLst>
            </p:cNvPr>
            <p:cNvGrpSpPr/>
            <p:nvPr/>
          </p:nvGrpSpPr>
          <p:grpSpPr>
            <a:xfrm>
              <a:off x="5234615" y="12131210"/>
              <a:ext cx="628199" cy="403511"/>
              <a:chOff x="5234615" y="12131210"/>
              <a:chExt cx="628199" cy="403511"/>
            </a:xfrm>
          </p:grpSpPr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CFB9E1BE-D84A-4F51-9049-3556D7199DC1}"/>
                  </a:ext>
                </a:extLst>
              </p:cNvPr>
              <p:cNvSpPr/>
              <p:nvPr/>
            </p:nvSpPr>
            <p:spPr>
              <a:xfrm>
                <a:off x="5234615" y="12131210"/>
                <a:ext cx="253220" cy="277627"/>
              </a:xfrm>
              <a:custGeom>
                <a:avLst/>
                <a:gdLst>
                  <a:gd name="connsiteX0" fmla="*/ 76271 w 253220"/>
                  <a:gd name="connsiteY0" fmla="*/ 237966 h 277627"/>
                  <a:gd name="connsiteX1" fmla="*/ 0 w 253220"/>
                  <a:gd name="connsiteY1" fmla="*/ 45763 h 277627"/>
                  <a:gd name="connsiteX2" fmla="*/ 173898 w 253220"/>
                  <a:gd name="connsiteY2" fmla="*/ 0 h 277627"/>
                  <a:gd name="connsiteX3" fmla="*/ 253220 w 253220"/>
                  <a:gd name="connsiteY3" fmla="*/ 204407 h 277627"/>
                  <a:gd name="connsiteX4" fmla="*/ 100678 w 253220"/>
                  <a:gd name="connsiteY4" fmla="*/ 277627 h 277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3220" h="277627">
                    <a:moveTo>
                      <a:pt x="76271" y="237966"/>
                    </a:moveTo>
                    <a:lnTo>
                      <a:pt x="0" y="45763"/>
                    </a:lnTo>
                    <a:lnTo>
                      <a:pt x="173898" y="0"/>
                    </a:lnTo>
                    <a:lnTo>
                      <a:pt x="253220" y="204407"/>
                    </a:lnTo>
                    <a:lnTo>
                      <a:pt x="100678" y="277627"/>
                    </a:ln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2014476F-650D-4167-8515-05A908782841}"/>
                  </a:ext>
                </a:extLst>
              </p:cNvPr>
              <p:cNvSpPr/>
              <p:nvPr/>
            </p:nvSpPr>
            <p:spPr>
              <a:xfrm>
                <a:off x="5310200" y="12271549"/>
                <a:ext cx="537635" cy="216610"/>
              </a:xfrm>
              <a:custGeom>
                <a:avLst/>
                <a:gdLst>
                  <a:gd name="connsiteX0" fmla="*/ 686 w 537635"/>
                  <a:gd name="connsiteY0" fmla="*/ 97627 h 216610"/>
                  <a:gd name="connsiteX1" fmla="*/ 171533 w 537635"/>
                  <a:gd name="connsiteY1" fmla="*/ 0 h 216610"/>
                  <a:gd name="connsiteX2" fmla="*/ 336279 w 537635"/>
                  <a:gd name="connsiteY2" fmla="*/ 48814 h 216610"/>
                  <a:gd name="connsiteX3" fmla="*/ 537635 w 537635"/>
                  <a:gd name="connsiteY3" fmla="*/ 85423 h 216610"/>
                  <a:gd name="connsiteX4" fmla="*/ 31194 w 537635"/>
                  <a:gd name="connsiteY4" fmla="*/ 216610 h 216610"/>
                  <a:gd name="connsiteX5" fmla="*/ 686 w 537635"/>
                  <a:gd name="connsiteY5" fmla="*/ 97627 h 216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7635" h="216610">
                    <a:moveTo>
                      <a:pt x="686" y="97627"/>
                    </a:moveTo>
                    <a:cubicBezTo>
                      <a:pt x="686" y="97627"/>
                      <a:pt x="125771" y="85423"/>
                      <a:pt x="171533" y="0"/>
                    </a:cubicBezTo>
                    <a:cubicBezTo>
                      <a:pt x="171533" y="0"/>
                      <a:pt x="284415" y="51864"/>
                      <a:pt x="336279" y="48814"/>
                    </a:cubicBezTo>
                    <a:cubicBezTo>
                      <a:pt x="388144" y="45763"/>
                      <a:pt x="504076" y="12203"/>
                      <a:pt x="537635" y="85423"/>
                    </a:cubicBezTo>
                    <a:lnTo>
                      <a:pt x="31194" y="216610"/>
                    </a:lnTo>
                    <a:cubicBezTo>
                      <a:pt x="31194" y="216610"/>
                      <a:pt x="-5416" y="155593"/>
                      <a:pt x="686" y="97627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C54A3D19-08D2-4A88-AFB5-5F6CB8333F16}"/>
                  </a:ext>
                </a:extLst>
              </p:cNvPr>
              <p:cNvSpPr/>
              <p:nvPr/>
            </p:nvSpPr>
            <p:spPr>
              <a:xfrm rot="-876862">
                <a:off x="5340424" y="12420503"/>
                <a:ext cx="524720" cy="48811"/>
              </a:xfrm>
              <a:custGeom>
                <a:avLst/>
                <a:gdLst>
                  <a:gd name="connsiteX0" fmla="*/ 0 w 524720"/>
                  <a:gd name="connsiteY0" fmla="*/ 0 h 48811"/>
                  <a:gd name="connsiteX1" fmla="*/ 524721 w 524720"/>
                  <a:gd name="connsiteY1" fmla="*/ 0 h 48811"/>
                  <a:gd name="connsiteX2" fmla="*/ 524721 w 524720"/>
                  <a:gd name="connsiteY2" fmla="*/ 48811 h 48811"/>
                  <a:gd name="connsiteX3" fmla="*/ 0 w 524720"/>
                  <a:gd name="connsiteY3" fmla="*/ 48811 h 48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4720" h="48811">
                    <a:moveTo>
                      <a:pt x="0" y="0"/>
                    </a:moveTo>
                    <a:lnTo>
                      <a:pt x="524721" y="0"/>
                    </a:lnTo>
                    <a:lnTo>
                      <a:pt x="524721" y="48811"/>
                    </a:lnTo>
                    <a:lnTo>
                      <a:pt x="0" y="48811"/>
                    </a:lnTo>
                    <a:close/>
                  </a:path>
                </a:pathLst>
              </a:custGeom>
              <a:solidFill>
                <a:srgbClr val="38333D"/>
              </a:solidFill>
              <a:ln w="305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20210A35-C3CE-4F92-9062-9A7E062E874A}"/>
                  </a:ext>
                </a:extLst>
              </p:cNvPr>
              <p:cNvSpPr/>
              <p:nvPr/>
            </p:nvSpPr>
            <p:spPr>
              <a:xfrm>
                <a:off x="5304784" y="12265447"/>
                <a:ext cx="186101" cy="109830"/>
              </a:xfrm>
              <a:custGeom>
                <a:avLst/>
                <a:gdLst>
                  <a:gd name="connsiteX0" fmla="*/ 6102 w 186101"/>
                  <a:gd name="connsiteY0" fmla="*/ 109831 h 109830"/>
                  <a:gd name="connsiteX1" fmla="*/ 0 w 186101"/>
                  <a:gd name="connsiteY1" fmla="*/ 103729 h 109830"/>
                  <a:gd name="connsiteX2" fmla="*/ 6102 w 186101"/>
                  <a:gd name="connsiteY2" fmla="*/ 97627 h 109830"/>
                  <a:gd name="connsiteX3" fmla="*/ 173898 w 186101"/>
                  <a:gd name="connsiteY3" fmla="*/ 3051 h 109830"/>
                  <a:gd name="connsiteX4" fmla="*/ 183051 w 186101"/>
                  <a:gd name="connsiteY4" fmla="*/ 0 h 109830"/>
                  <a:gd name="connsiteX5" fmla="*/ 186102 w 186101"/>
                  <a:gd name="connsiteY5" fmla="*/ 9153 h 109830"/>
                  <a:gd name="connsiteX6" fmla="*/ 6102 w 186101"/>
                  <a:gd name="connsiteY6" fmla="*/ 109831 h 109830"/>
                  <a:gd name="connsiteX7" fmla="*/ 6102 w 186101"/>
                  <a:gd name="connsiteY7" fmla="*/ 109831 h 109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6101" h="109830">
                    <a:moveTo>
                      <a:pt x="6102" y="109831"/>
                    </a:moveTo>
                    <a:cubicBezTo>
                      <a:pt x="3051" y="109831"/>
                      <a:pt x="0" y="106780"/>
                      <a:pt x="0" y="103729"/>
                    </a:cubicBezTo>
                    <a:cubicBezTo>
                      <a:pt x="0" y="100679"/>
                      <a:pt x="3051" y="97627"/>
                      <a:pt x="6102" y="97627"/>
                    </a:cubicBezTo>
                    <a:cubicBezTo>
                      <a:pt x="6102" y="97627"/>
                      <a:pt x="115932" y="85424"/>
                      <a:pt x="173898" y="3051"/>
                    </a:cubicBezTo>
                    <a:cubicBezTo>
                      <a:pt x="176949" y="0"/>
                      <a:pt x="180000" y="0"/>
                      <a:pt x="183051" y="0"/>
                    </a:cubicBezTo>
                    <a:cubicBezTo>
                      <a:pt x="186102" y="3051"/>
                      <a:pt x="186102" y="6102"/>
                      <a:pt x="186102" y="9153"/>
                    </a:cubicBezTo>
                    <a:cubicBezTo>
                      <a:pt x="125085" y="97627"/>
                      <a:pt x="12203" y="109831"/>
                      <a:pt x="6102" y="109831"/>
                    </a:cubicBezTo>
                    <a:cubicBezTo>
                      <a:pt x="6102" y="109831"/>
                      <a:pt x="6102" y="109831"/>
                      <a:pt x="6102" y="1098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D599DADE-5DC8-418C-80AC-753625CE20A0}"/>
                  </a:ext>
                </a:extLst>
              </p:cNvPr>
              <p:cNvSpPr/>
              <p:nvPr/>
            </p:nvSpPr>
            <p:spPr>
              <a:xfrm>
                <a:off x="5503089" y="12283752"/>
                <a:ext cx="33559" cy="48813"/>
              </a:xfrm>
              <a:custGeom>
                <a:avLst/>
                <a:gdLst>
                  <a:gd name="connsiteX0" fmla="*/ 6102 w 33559"/>
                  <a:gd name="connsiteY0" fmla="*/ 48814 h 48813"/>
                  <a:gd name="connsiteX1" fmla="*/ 3051 w 33559"/>
                  <a:gd name="connsiteY1" fmla="*/ 48814 h 48813"/>
                  <a:gd name="connsiteX2" fmla="*/ 0 w 33559"/>
                  <a:gd name="connsiteY2" fmla="*/ 39661 h 48813"/>
                  <a:gd name="connsiteX3" fmla="*/ 21356 w 33559"/>
                  <a:gd name="connsiteY3" fmla="*/ 3051 h 48813"/>
                  <a:gd name="connsiteX4" fmla="*/ 30508 w 33559"/>
                  <a:gd name="connsiteY4" fmla="*/ 0 h 48813"/>
                  <a:gd name="connsiteX5" fmla="*/ 33559 w 33559"/>
                  <a:gd name="connsiteY5" fmla="*/ 9152 h 48813"/>
                  <a:gd name="connsiteX6" fmla="*/ 12203 w 33559"/>
                  <a:gd name="connsiteY6" fmla="*/ 45763 h 48813"/>
                  <a:gd name="connsiteX7" fmla="*/ 6102 w 33559"/>
                  <a:gd name="connsiteY7" fmla="*/ 48814 h 48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559" h="48813">
                    <a:moveTo>
                      <a:pt x="6102" y="48814"/>
                    </a:moveTo>
                    <a:cubicBezTo>
                      <a:pt x="6102" y="48814"/>
                      <a:pt x="3051" y="48814"/>
                      <a:pt x="3051" y="48814"/>
                    </a:cubicBezTo>
                    <a:cubicBezTo>
                      <a:pt x="0" y="45763"/>
                      <a:pt x="0" y="42712"/>
                      <a:pt x="0" y="39661"/>
                    </a:cubicBezTo>
                    <a:lnTo>
                      <a:pt x="21356" y="3051"/>
                    </a:lnTo>
                    <a:cubicBezTo>
                      <a:pt x="24407" y="0"/>
                      <a:pt x="27457" y="0"/>
                      <a:pt x="30508" y="0"/>
                    </a:cubicBezTo>
                    <a:cubicBezTo>
                      <a:pt x="33559" y="3051"/>
                      <a:pt x="33559" y="6102"/>
                      <a:pt x="33559" y="9152"/>
                    </a:cubicBezTo>
                    <a:lnTo>
                      <a:pt x="12203" y="45763"/>
                    </a:lnTo>
                    <a:cubicBezTo>
                      <a:pt x="9152" y="45763"/>
                      <a:pt x="6102" y="48814"/>
                      <a:pt x="6102" y="4881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7867B3C9-E709-4511-BF4D-6C58A24D8175}"/>
                  </a:ext>
                </a:extLst>
              </p:cNvPr>
              <p:cNvSpPr/>
              <p:nvPr/>
            </p:nvSpPr>
            <p:spPr>
              <a:xfrm>
                <a:off x="5548852" y="12302058"/>
                <a:ext cx="33559" cy="48813"/>
              </a:xfrm>
              <a:custGeom>
                <a:avLst/>
                <a:gdLst>
                  <a:gd name="connsiteX0" fmla="*/ 6102 w 33559"/>
                  <a:gd name="connsiteY0" fmla="*/ 48814 h 48813"/>
                  <a:gd name="connsiteX1" fmla="*/ 3051 w 33559"/>
                  <a:gd name="connsiteY1" fmla="*/ 48814 h 48813"/>
                  <a:gd name="connsiteX2" fmla="*/ 0 w 33559"/>
                  <a:gd name="connsiteY2" fmla="*/ 39661 h 48813"/>
                  <a:gd name="connsiteX3" fmla="*/ 21356 w 33559"/>
                  <a:gd name="connsiteY3" fmla="*/ 3051 h 48813"/>
                  <a:gd name="connsiteX4" fmla="*/ 30508 w 33559"/>
                  <a:gd name="connsiteY4" fmla="*/ 0 h 48813"/>
                  <a:gd name="connsiteX5" fmla="*/ 33559 w 33559"/>
                  <a:gd name="connsiteY5" fmla="*/ 9152 h 48813"/>
                  <a:gd name="connsiteX6" fmla="*/ 12203 w 33559"/>
                  <a:gd name="connsiteY6" fmla="*/ 45763 h 48813"/>
                  <a:gd name="connsiteX7" fmla="*/ 6102 w 33559"/>
                  <a:gd name="connsiteY7" fmla="*/ 48814 h 48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559" h="48813">
                    <a:moveTo>
                      <a:pt x="6102" y="48814"/>
                    </a:moveTo>
                    <a:cubicBezTo>
                      <a:pt x="6102" y="48814"/>
                      <a:pt x="3051" y="48814"/>
                      <a:pt x="3051" y="48814"/>
                    </a:cubicBezTo>
                    <a:cubicBezTo>
                      <a:pt x="0" y="45763"/>
                      <a:pt x="0" y="42712"/>
                      <a:pt x="0" y="39661"/>
                    </a:cubicBezTo>
                    <a:lnTo>
                      <a:pt x="21356" y="3051"/>
                    </a:lnTo>
                    <a:cubicBezTo>
                      <a:pt x="24407" y="0"/>
                      <a:pt x="27457" y="0"/>
                      <a:pt x="30508" y="0"/>
                    </a:cubicBezTo>
                    <a:cubicBezTo>
                      <a:pt x="33559" y="3051"/>
                      <a:pt x="33559" y="6101"/>
                      <a:pt x="33559" y="9152"/>
                    </a:cubicBezTo>
                    <a:lnTo>
                      <a:pt x="12203" y="45763"/>
                    </a:lnTo>
                    <a:cubicBezTo>
                      <a:pt x="12203" y="45763"/>
                      <a:pt x="9152" y="48814"/>
                      <a:pt x="6102" y="4881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D90FEC08-26C5-4889-A61B-4DC28D5C8B0C}"/>
                </a:ext>
              </a:extLst>
            </p:cNvPr>
            <p:cNvSpPr/>
            <p:nvPr/>
          </p:nvSpPr>
          <p:spPr>
            <a:xfrm>
              <a:off x="3973456" y="10608837"/>
              <a:ext cx="1520481" cy="1662711"/>
            </a:xfrm>
            <a:custGeom>
              <a:avLst/>
              <a:gdLst>
                <a:gd name="connsiteX0" fmla="*/ 19464 w 1520481"/>
                <a:gd name="connsiteY0" fmla="*/ 0 h 1662711"/>
                <a:gd name="connsiteX1" fmla="*/ 22515 w 1520481"/>
                <a:gd name="connsiteY1" fmla="*/ 341694 h 1662711"/>
                <a:gd name="connsiteX2" fmla="*/ 800481 w 1520481"/>
                <a:gd name="connsiteY2" fmla="*/ 683390 h 1662711"/>
                <a:gd name="connsiteX3" fmla="*/ 1230651 w 1520481"/>
                <a:gd name="connsiteY3" fmla="*/ 1662712 h 1662711"/>
                <a:gd name="connsiteX4" fmla="*/ 1520481 w 1520481"/>
                <a:gd name="connsiteY4" fmla="*/ 1565084 h 1662711"/>
                <a:gd name="connsiteX5" fmla="*/ 1218447 w 1520481"/>
                <a:gd name="connsiteY5" fmla="*/ 588813 h 1662711"/>
                <a:gd name="connsiteX6" fmla="*/ 519803 w 1520481"/>
                <a:gd name="connsiteY6" fmla="*/ 61017 h 1662711"/>
                <a:gd name="connsiteX7" fmla="*/ 19464 w 1520481"/>
                <a:gd name="connsiteY7" fmla="*/ 0 h 1662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0481" h="1662711">
                  <a:moveTo>
                    <a:pt x="19464" y="0"/>
                  </a:moveTo>
                  <a:cubicBezTo>
                    <a:pt x="19464" y="0"/>
                    <a:pt x="-26298" y="228814"/>
                    <a:pt x="22515" y="341694"/>
                  </a:cubicBezTo>
                  <a:cubicBezTo>
                    <a:pt x="68278" y="454576"/>
                    <a:pt x="773024" y="628475"/>
                    <a:pt x="800481" y="683390"/>
                  </a:cubicBezTo>
                  <a:cubicBezTo>
                    <a:pt x="827939" y="738305"/>
                    <a:pt x="1230651" y="1662712"/>
                    <a:pt x="1230651" y="1662712"/>
                  </a:cubicBezTo>
                  <a:cubicBezTo>
                    <a:pt x="1230651" y="1662712"/>
                    <a:pt x="1447261" y="1586441"/>
                    <a:pt x="1520481" y="1565084"/>
                  </a:cubicBezTo>
                  <a:cubicBezTo>
                    <a:pt x="1520481" y="1565084"/>
                    <a:pt x="1245905" y="732203"/>
                    <a:pt x="1218447" y="588813"/>
                  </a:cubicBezTo>
                  <a:cubicBezTo>
                    <a:pt x="1190990" y="445424"/>
                    <a:pt x="583871" y="76271"/>
                    <a:pt x="519803" y="61017"/>
                  </a:cubicBezTo>
                  <a:cubicBezTo>
                    <a:pt x="452685" y="48814"/>
                    <a:pt x="19464" y="0"/>
                    <a:pt x="19464" y="0"/>
                  </a:cubicBezTo>
                  <a:close/>
                </a:path>
              </a:pathLst>
            </a:custGeom>
            <a:solidFill>
              <a:srgbClr val="F1DDBA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E2B62C29-6437-467D-8B3E-AEB008B194A3}"/>
                </a:ext>
              </a:extLst>
            </p:cNvPr>
            <p:cNvSpPr/>
            <p:nvPr/>
          </p:nvSpPr>
          <p:spPr>
            <a:xfrm>
              <a:off x="4362072" y="10584910"/>
              <a:ext cx="1626101" cy="1567656"/>
            </a:xfrm>
            <a:custGeom>
              <a:avLst/>
              <a:gdLst>
                <a:gd name="connsiteX0" fmla="*/ 0 w 1626101"/>
                <a:gd name="connsiteY0" fmla="*/ 69691 h 1567656"/>
                <a:gd name="connsiteX1" fmla="*/ 152542 w 1626101"/>
                <a:gd name="connsiteY1" fmla="*/ 365622 h 1567656"/>
                <a:gd name="connsiteX2" fmla="*/ 930508 w 1626101"/>
                <a:gd name="connsiteY2" fmla="*/ 585284 h 1567656"/>
                <a:gd name="connsiteX3" fmla="*/ 1351525 w 1626101"/>
                <a:gd name="connsiteY3" fmla="*/ 1567657 h 1567656"/>
                <a:gd name="connsiteX4" fmla="*/ 1626102 w 1626101"/>
                <a:gd name="connsiteY4" fmla="*/ 1405961 h 1567656"/>
                <a:gd name="connsiteX5" fmla="*/ 1220339 w 1626101"/>
                <a:gd name="connsiteY5" fmla="*/ 335114 h 1567656"/>
                <a:gd name="connsiteX6" fmla="*/ 549153 w 1626101"/>
                <a:gd name="connsiteY6" fmla="*/ 2572 h 1567656"/>
                <a:gd name="connsiteX7" fmla="*/ 0 w 1626101"/>
                <a:gd name="connsiteY7" fmla="*/ 69691 h 1567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6101" h="1567656">
                  <a:moveTo>
                    <a:pt x="0" y="69691"/>
                  </a:moveTo>
                  <a:cubicBezTo>
                    <a:pt x="0" y="69691"/>
                    <a:pt x="106780" y="252741"/>
                    <a:pt x="152542" y="365622"/>
                  </a:cubicBezTo>
                  <a:cubicBezTo>
                    <a:pt x="198305" y="478504"/>
                    <a:pt x="903051" y="530369"/>
                    <a:pt x="930508" y="585284"/>
                  </a:cubicBezTo>
                  <a:cubicBezTo>
                    <a:pt x="957966" y="640198"/>
                    <a:pt x="1351525" y="1567657"/>
                    <a:pt x="1351525" y="1567657"/>
                  </a:cubicBezTo>
                  <a:cubicBezTo>
                    <a:pt x="1351525" y="1567657"/>
                    <a:pt x="1543729" y="1488335"/>
                    <a:pt x="1626102" y="1405961"/>
                  </a:cubicBezTo>
                  <a:cubicBezTo>
                    <a:pt x="1626102" y="1405961"/>
                    <a:pt x="1321017" y="542572"/>
                    <a:pt x="1220339" y="335114"/>
                  </a:cubicBezTo>
                  <a:cubicBezTo>
                    <a:pt x="1156271" y="203928"/>
                    <a:pt x="613220" y="14775"/>
                    <a:pt x="549153" y="2572"/>
                  </a:cubicBezTo>
                  <a:cubicBezTo>
                    <a:pt x="485085" y="-15734"/>
                    <a:pt x="0" y="69691"/>
                    <a:pt x="0" y="69691"/>
                  </a:cubicBezTo>
                  <a:close/>
                </a:path>
              </a:pathLst>
            </a:custGeom>
            <a:solidFill>
              <a:srgbClr val="F1DDBA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7238958A-EA04-497F-88D1-3655B9432762}"/>
                </a:ext>
              </a:extLst>
            </p:cNvPr>
            <p:cNvSpPr/>
            <p:nvPr/>
          </p:nvSpPr>
          <p:spPr>
            <a:xfrm>
              <a:off x="4764784" y="10788837"/>
              <a:ext cx="445423" cy="469830"/>
            </a:xfrm>
            <a:custGeom>
              <a:avLst/>
              <a:gdLst>
                <a:gd name="connsiteX0" fmla="*/ 439322 w 445423"/>
                <a:gd name="connsiteY0" fmla="*/ 469830 h 469830"/>
                <a:gd name="connsiteX1" fmla="*/ 433220 w 445423"/>
                <a:gd name="connsiteY1" fmla="*/ 463729 h 469830"/>
                <a:gd name="connsiteX2" fmla="*/ 378305 w 445423"/>
                <a:gd name="connsiteY2" fmla="*/ 335593 h 469830"/>
                <a:gd name="connsiteX3" fmla="*/ 3051 w 445423"/>
                <a:gd name="connsiteY3" fmla="*/ 12203 h 469830"/>
                <a:gd name="connsiteX4" fmla="*/ 0 w 445423"/>
                <a:gd name="connsiteY4" fmla="*/ 3051 h 469830"/>
                <a:gd name="connsiteX5" fmla="*/ 9153 w 445423"/>
                <a:gd name="connsiteY5" fmla="*/ 0 h 469830"/>
                <a:gd name="connsiteX6" fmla="*/ 387458 w 445423"/>
                <a:gd name="connsiteY6" fmla="*/ 326441 h 469830"/>
                <a:gd name="connsiteX7" fmla="*/ 445424 w 445423"/>
                <a:gd name="connsiteY7" fmla="*/ 457627 h 469830"/>
                <a:gd name="connsiteX8" fmla="*/ 439322 w 445423"/>
                <a:gd name="connsiteY8" fmla="*/ 469830 h 469830"/>
                <a:gd name="connsiteX9" fmla="*/ 439322 w 445423"/>
                <a:gd name="connsiteY9" fmla="*/ 469830 h 46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5423" h="469830">
                  <a:moveTo>
                    <a:pt x="439322" y="469830"/>
                  </a:moveTo>
                  <a:cubicBezTo>
                    <a:pt x="436271" y="469830"/>
                    <a:pt x="433220" y="466779"/>
                    <a:pt x="433220" y="463729"/>
                  </a:cubicBezTo>
                  <a:cubicBezTo>
                    <a:pt x="424068" y="417966"/>
                    <a:pt x="402712" y="366102"/>
                    <a:pt x="378305" y="335593"/>
                  </a:cubicBezTo>
                  <a:cubicBezTo>
                    <a:pt x="375254" y="332542"/>
                    <a:pt x="207458" y="128136"/>
                    <a:pt x="3051" y="12203"/>
                  </a:cubicBezTo>
                  <a:cubicBezTo>
                    <a:pt x="0" y="9152"/>
                    <a:pt x="0" y="6102"/>
                    <a:pt x="0" y="3051"/>
                  </a:cubicBezTo>
                  <a:cubicBezTo>
                    <a:pt x="3051" y="0"/>
                    <a:pt x="6102" y="0"/>
                    <a:pt x="9153" y="0"/>
                  </a:cubicBezTo>
                  <a:cubicBezTo>
                    <a:pt x="216610" y="115932"/>
                    <a:pt x="387458" y="323390"/>
                    <a:pt x="387458" y="326441"/>
                  </a:cubicBezTo>
                  <a:cubicBezTo>
                    <a:pt x="411864" y="356950"/>
                    <a:pt x="436271" y="411864"/>
                    <a:pt x="445424" y="457627"/>
                  </a:cubicBezTo>
                  <a:cubicBezTo>
                    <a:pt x="445424" y="466779"/>
                    <a:pt x="442373" y="469830"/>
                    <a:pt x="439322" y="469830"/>
                  </a:cubicBezTo>
                  <a:cubicBezTo>
                    <a:pt x="439322" y="469830"/>
                    <a:pt x="439322" y="469830"/>
                    <a:pt x="439322" y="469830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9F4DC8EA-46C3-4F83-B91A-74977A6F8A5D}"/>
                </a:ext>
              </a:extLst>
            </p:cNvPr>
            <p:cNvSpPr/>
            <p:nvPr/>
          </p:nvSpPr>
          <p:spPr>
            <a:xfrm>
              <a:off x="4081394" y="9153583"/>
              <a:ext cx="259322" cy="239011"/>
            </a:xfrm>
            <a:custGeom>
              <a:avLst/>
              <a:gdLst>
                <a:gd name="connsiteX0" fmla="*/ 237966 w 259322"/>
                <a:gd name="connsiteY0" fmla="*/ 3051 h 239011"/>
                <a:gd name="connsiteX1" fmla="*/ 259322 w 259322"/>
                <a:gd name="connsiteY1" fmla="*/ 176949 h 239011"/>
                <a:gd name="connsiteX2" fmla="*/ 15254 w 259322"/>
                <a:gd name="connsiteY2" fmla="*/ 204407 h 239011"/>
                <a:gd name="connsiteX3" fmla="*/ 0 w 259322"/>
                <a:gd name="connsiteY3" fmla="*/ 0 h 239011"/>
                <a:gd name="connsiteX4" fmla="*/ 237966 w 259322"/>
                <a:gd name="connsiteY4" fmla="*/ 3051 h 23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9322" h="239011">
                  <a:moveTo>
                    <a:pt x="237966" y="3051"/>
                  </a:moveTo>
                  <a:cubicBezTo>
                    <a:pt x="237966" y="3051"/>
                    <a:pt x="247119" y="103729"/>
                    <a:pt x="259322" y="176949"/>
                  </a:cubicBezTo>
                  <a:cubicBezTo>
                    <a:pt x="259322" y="176949"/>
                    <a:pt x="183051" y="295933"/>
                    <a:pt x="15254" y="204407"/>
                  </a:cubicBezTo>
                  <a:cubicBezTo>
                    <a:pt x="6102" y="143390"/>
                    <a:pt x="6102" y="64068"/>
                    <a:pt x="0" y="0"/>
                  </a:cubicBezTo>
                  <a:cubicBezTo>
                    <a:pt x="0" y="0"/>
                    <a:pt x="189153" y="24407"/>
                    <a:pt x="237966" y="3051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C7BFA3AE-973F-42BA-B6CB-E06AAA420CC7}"/>
                </a:ext>
              </a:extLst>
            </p:cNvPr>
            <p:cNvSpPr/>
            <p:nvPr/>
          </p:nvSpPr>
          <p:spPr>
            <a:xfrm>
              <a:off x="3801066" y="9296973"/>
              <a:ext cx="1186454" cy="1544341"/>
            </a:xfrm>
            <a:custGeom>
              <a:avLst/>
              <a:gdLst>
                <a:gd name="connsiteX0" fmla="*/ 292532 w 1186454"/>
                <a:gd name="connsiteY0" fmla="*/ 24406 h 1544341"/>
                <a:gd name="connsiteX1" fmla="*/ 536600 w 1186454"/>
                <a:gd name="connsiteY1" fmla="*/ 0 h 1544341"/>
                <a:gd name="connsiteX2" fmla="*/ 875244 w 1186454"/>
                <a:gd name="connsiteY2" fmla="*/ 61017 h 1544341"/>
                <a:gd name="connsiteX3" fmla="*/ 1186430 w 1186454"/>
                <a:gd name="connsiteY3" fmla="*/ 1284407 h 1544341"/>
                <a:gd name="connsiteX4" fmla="*/ 85074 w 1186454"/>
                <a:gd name="connsiteY4" fmla="*/ 1543729 h 1544341"/>
                <a:gd name="connsiteX5" fmla="*/ 11854 w 1186454"/>
                <a:gd name="connsiteY5" fmla="*/ 167797 h 1544341"/>
                <a:gd name="connsiteX6" fmla="*/ 292532 w 1186454"/>
                <a:gd name="connsiteY6" fmla="*/ 24406 h 154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6454" h="1544341">
                  <a:moveTo>
                    <a:pt x="292532" y="24406"/>
                  </a:moveTo>
                  <a:cubicBezTo>
                    <a:pt x="292532" y="24406"/>
                    <a:pt x="435922" y="103729"/>
                    <a:pt x="536600" y="0"/>
                  </a:cubicBezTo>
                  <a:cubicBezTo>
                    <a:pt x="536600" y="0"/>
                    <a:pt x="847786" y="33559"/>
                    <a:pt x="875244" y="61017"/>
                  </a:cubicBezTo>
                  <a:cubicBezTo>
                    <a:pt x="905752" y="88474"/>
                    <a:pt x="1189481" y="1217288"/>
                    <a:pt x="1186430" y="1284407"/>
                  </a:cubicBezTo>
                  <a:cubicBezTo>
                    <a:pt x="1186430" y="1284407"/>
                    <a:pt x="670837" y="1558983"/>
                    <a:pt x="85074" y="1543729"/>
                  </a:cubicBezTo>
                  <a:cubicBezTo>
                    <a:pt x="30159" y="1192882"/>
                    <a:pt x="-24756" y="204407"/>
                    <a:pt x="11854" y="167797"/>
                  </a:cubicBezTo>
                  <a:cubicBezTo>
                    <a:pt x="48464" y="131186"/>
                    <a:pt x="292532" y="24406"/>
                    <a:pt x="292532" y="24406"/>
                  </a:cubicBezTo>
                  <a:close/>
                </a:path>
              </a:pathLst>
            </a:custGeom>
            <a:solidFill>
              <a:srgbClr val="7F95BC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3BAECC4F-4E8D-405C-8C24-EF23974460C4}"/>
                </a:ext>
              </a:extLst>
            </p:cNvPr>
            <p:cNvSpPr/>
            <p:nvPr/>
          </p:nvSpPr>
          <p:spPr>
            <a:xfrm>
              <a:off x="4535079" y="9328659"/>
              <a:ext cx="492078" cy="608992"/>
            </a:xfrm>
            <a:custGeom>
              <a:avLst/>
              <a:gdLst>
                <a:gd name="connsiteX0" fmla="*/ 135129 w 492078"/>
                <a:gd name="connsiteY0" fmla="*/ 608992 h 608992"/>
                <a:gd name="connsiteX1" fmla="*/ 31400 w 492078"/>
                <a:gd name="connsiteY1" fmla="*/ 17128 h 608992"/>
                <a:gd name="connsiteX2" fmla="*/ 492078 w 492078"/>
                <a:gd name="connsiteY2" fmla="*/ 386280 h 608992"/>
                <a:gd name="connsiteX3" fmla="*/ 135129 w 492078"/>
                <a:gd name="connsiteY3" fmla="*/ 608992 h 608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2078" h="608992">
                  <a:moveTo>
                    <a:pt x="135129" y="608992"/>
                  </a:moveTo>
                  <a:cubicBezTo>
                    <a:pt x="135129" y="608992"/>
                    <a:pt x="-78430" y="114755"/>
                    <a:pt x="31400" y="17128"/>
                  </a:cubicBezTo>
                  <a:cubicBezTo>
                    <a:pt x="159536" y="-95754"/>
                    <a:pt x="492078" y="386280"/>
                    <a:pt x="492078" y="386280"/>
                  </a:cubicBezTo>
                  <a:cubicBezTo>
                    <a:pt x="492078" y="386280"/>
                    <a:pt x="342587" y="557127"/>
                    <a:pt x="135129" y="608992"/>
                  </a:cubicBezTo>
                  <a:close/>
                </a:path>
              </a:pathLst>
            </a:custGeom>
            <a:solidFill>
              <a:srgbClr val="7F95BC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CF769554-BA89-4BAF-89F9-2596E4D13513}"/>
                </a:ext>
              </a:extLst>
            </p:cNvPr>
            <p:cNvSpPr/>
            <p:nvPr/>
          </p:nvSpPr>
          <p:spPr>
            <a:xfrm>
              <a:off x="4670208" y="9354939"/>
              <a:ext cx="135501" cy="536949"/>
            </a:xfrm>
            <a:custGeom>
              <a:avLst/>
              <a:gdLst>
                <a:gd name="connsiteX0" fmla="*/ 131187 w 135501"/>
                <a:gd name="connsiteY0" fmla="*/ 536949 h 536949"/>
                <a:gd name="connsiteX1" fmla="*/ 125085 w 135501"/>
                <a:gd name="connsiteY1" fmla="*/ 533898 h 536949"/>
                <a:gd name="connsiteX2" fmla="*/ 0 w 135501"/>
                <a:gd name="connsiteY2" fmla="*/ 6102 h 536949"/>
                <a:gd name="connsiteX3" fmla="*/ 3051 w 135501"/>
                <a:gd name="connsiteY3" fmla="*/ 0 h 536949"/>
                <a:gd name="connsiteX4" fmla="*/ 9153 w 135501"/>
                <a:gd name="connsiteY4" fmla="*/ 3051 h 536949"/>
                <a:gd name="connsiteX5" fmla="*/ 134237 w 135501"/>
                <a:gd name="connsiteY5" fmla="*/ 530847 h 536949"/>
                <a:gd name="connsiteX6" fmla="*/ 131187 w 135501"/>
                <a:gd name="connsiteY6" fmla="*/ 536949 h 536949"/>
                <a:gd name="connsiteX7" fmla="*/ 131187 w 135501"/>
                <a:gd name="connsiteY7" fmla="*/ 536949 h 53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5501" h="536949">
                  <a:moveTo>
                    <a:pt x="131187" y="536949"/>
                  </a:moveTo>
                  <a:cubicBezTo>
                    <a:pt x="128136" y="536949"/>
                    <a:pt x="125085" y="533898"/>
                    <a:pt x="125085" y="533898"/>
                  </a:cubicBezTo>
                  <a:cubicBezTo>
                    <a:pt x="125085" y="527796"/>
                    <a:pt x="15254" y="42712"/>
                    <a:pt x="0" y="6102"/>
                  </a:cubicBezTo>
                  <a:cubicBezTo>
                    <a:pt x="0" y="3051"/>
                    <a:pt x="0" y="0"/>
                    <a:pt x="3051" y="0"/>
                  </a:cubicBezTo>
                  <a:cubicBezTo>
                    <a:pt x="6102" y="0"/>
                    <a:pt x="9153" y="0"/>
                    <a:pt x="9153" y="3051"/>
                  </a:cubicBezTo>
                  <a:cubicBezTo>
                    <a:pt x="24407" y="42712"/>
                    <a:pt x="131187" y="512542"/>
                    <a:pt x="134237" y="530847"/>
                  </a:cubicBezTo>
                  <a:cubicBezTo>
                    <a:pt x="137288" y="533898"/>
                    <a:pt x="134237" y="536949"/>
                    <a:pt x="131187" y="536949"/>
                  </a:cubicBezTo>
                  <a:cubicBezTo>
                    <a:pt x="131187" y="536949"/>
                    <a:pt x="131187" y="536949"/>
                    <a:pt x="131187" y="536949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4C3B2C9B-F365-4A5E-8212-86501DDC4CC1}"/>
                </a:ext>
              </a:extLst>
            </p:cNvPr>
            <p:cNvSpPr/>
            <p:nvPr/>
          </p:nvSpPr>
          <p:spPr>
            <a:xfrm>
              <a:off x="3986818" y="9028498"/>
              <a:ext cx="70169" cy="137288"/>
            </a:xfrm>
            <a:custGeom>
              <a:avLst/>
              <a:gdLst>
                <a:gd name="connsiteX0" fmla="*/ 0 w 70169"/>
                <a:gd name="connsiteY0" fmla="*/ 0 h 137288"/>
                <a:gd name="connsiteX1" fmla="*/ 70170 w 70169"/>
                <a:gd name="connsiteY1" fmla="*/ 137288 h 137288"/>
                <a:gd name="connsiteX2" fmla="*/ 70170 w 70169"/>
                <a:gd name="connsiteY2" fmla="*/ 51864 h 137288"/>
                <a:gd name="connsiteX3" fmla="*/ 0 w 70169"/>
                <a:gd name="connsiteY3" fmla="*/ 0 h 137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169" h="137288">
                  <a:moveTo>
                    <a:pt x="0" y="0"/>
                  </a:moveTo>
                  <a:cubicBezTo>
                    <a:pt x="0" y="0"/>
                    <a:pt x="18305" y="118983"/>
                    <a:pt x="70170" y="137288"/>
                  </a:cubicBezTo>
                  <a:lnTo>
                    <a:pt x="70170" y="518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07B202A8-56A1-4778-BF0D-CFCB44293259}"/>
                </a:ext>
              </a:extLst>
            </p:cNvPr>
            <p:cNvSpPr/>
            <p:nvPr/>
          </p:nvSpPr>
          <p:spPr>
            <a:xfrm>
              <a:off x="4334615" y="8805786"/>
              <a:ext cx="108351" cy="241545"/>
            </a:xfrm>
            <a:custGeom>
              <a:avLst/>
              <a:gdLst>
                <a:gd name="connsiteX0" fmla="*/ 97627 w 108351"/>
                <a:gd name="connsiteY0" fmla="*/ 0 h 241545"/>
                <a:gd name="connsiteX1" fmla="*/ 64068 w 108351"/>
                <a:gd name="connsiteY1" fmla="*/ 237966 h 241545"/>
                <a:gd name="connsiteX2" fmla="*/ 0 w 108351"/>
                <a:gd name="connsiteY2" fmla="*/ 18305 h 241545"/>
                <a:gd name="connsiteX3" fmla="*/ 97627 w 108351"/>
                <a:gd name="connsiteY3" fmla="*/ 0 h 24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51" h="241545">
                  <a:moveTo>
                    <a:pt x="97627" y="0"/>
                  </a:moveTo>
                  <a:cubicBezTo>
                    <a:pt x="97627" y="0"/>
                    <a:pt x="137288" y="195254"/>
                    <a:pt x="64068" y="237966"/>
                  </a:cubicBezTo>
                  <a:cubicBezTo>
                    <a:pt x="3051" y="274576"/>
                    <a:pt x="0" y="18305"/>
                    <a:pt x="0" y="18305"/>
                  </a:cubicBezTo>
                  <a:lnTo>
                    <a:pt x="97627" y="0"/>
                  </a:ln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02B6EA22-51A4-4FC0-883B-10E2F0EF3E06}"/>
                </a:ext>
              </a:extLst>
            </p:cNvPr>
            <p:cNvSpPr/>
            <p:nvPr/>
          </p:nvSpPr>
          <p:spPr>
            <a:xfrm>
              <a:off x="3983532" y="8678678"/>
              <a:ext cx="427101" cy="567779"/>
            </a:xfrm>
            <a:custGeom>
              <a:avLst/>
              <a:gdLst>
                <a:gd name="connsiteX0" fmla="*/ 409049 w 427101"/>
                <a:gd name="connsiteY0" fmla="*/ 172871 h 567779"/>
                <a:gd name="connsiteX1" fmla="*/ 421252 w 427101"/>
                <a:gd name="connsiteY1" fmla="*/ 423040 h 567779"/>
                <a:gd name="connsiteX2" fmla="*/ 268710 w 427101"/>
                <a:gd name="connsiteY2" fmla="*/ 566430 h 567779"/>
                <a:gd name="connsiteX3" fmla="*/ 45998 w 427101"/>
                <a:gd name="connsiteY3" fmla="*/ 432193 h 567779"/>
                <a:gd name="connsiteX4" fmla="*/ 235 w 427101"/>
                <a:gd name="connsiteY4" fmla="*/ 209481 h 567779"/>
                <a:gd name="connsiteX5" fmla="*/ 204642 w 427101"/>
                <a:gd name="connsiteY5" fmla="*/ 2023 h 567779"/>
                <a:gd name="connsiteX6" fmla="*/ 409049 w 427101"/>
                <a:gd name="connsiteY6" fmla="*/ 172871 h 567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101" h="567779">
                  <a:moveTo>
                    <a:pt x="409049" y="172871"/>
                  </a:moveTo>
                  <a:cubicBezTo>
                    <a:pt x="409049" y="172871"/>
                    <a:pt x="439557" y="349820"/>
                    <a:pt x="421252" y="423040"/>
                  </a:cubicBezTo>
                  <a:cubicBezTo>
                    <a:pt x="405998" y="490159"/>
                    <a:pt x="317523" y="560328"/>
                    <a:pt x="268710" y="566430"/>
                  </a:cubicBezTo>
                  <a:cubicBezTo>
                    <a:pt x="201591" y="575583"/>
                    <a:pt x="82608" y="538973"/>
                    <a:pt x="45998" y="432193"/>
                  </a:cubicBezTo>
                  <a:cubicBezTo>
                    <a:pt x="21591" y="358973"/>
                    <a:pt x="235" y="261345"/>
                    <a:pt x="235" y="209481"/>
                  </a:cubicBezTo>
                  <a:cubicBezTo>
                    <a:pt x="-2815" y="114905"/>
                    <a:pt x="21591" y="35583"/>
                    <a:pt x="204642" y="2023"/>
                  </a:cubicBezTo>
                  <a:cubicBezTo>
                    <a:pt x="287015" y="-16282"/>
                    <a:pt x="387693" y="93549"/>
                    <a:pt x="409049" y="172871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58CBC51F-60DB-4372-A219-2BC83CAF3AC2}"/>
                </a:ext>
              </a:extLst>
            </p:cNvPr>
            <p:cNvSpPr/>
            <p:nvPr/>
          </p:nvSpPr>
          <p:spPr>
            <a:xfrm>
              <a:off x="4215632" y="8943075"/>
              <a:ext cx="54915" cy="134237"/>
            </a:xfrm>
            <a:custGeom>
              <a:avLst/>
              <a:gdLst>
                <a:gd name="connsiteX0" fmla="*/ 24407 w 54915"/>
                <a:gd name="connsiteY0" fmla="*/ 134237 h 134237"/>
                <a:gd name="connsiteX1" fmla="*/ 6102 w 54915"/>
                <a:gd name="connsiteY1" fmla="*/ 134237 h 134237"/>
                <a:gd name="connsiteX2" fmla="*/ 0 w 54915"/>
                <a:gd name="connsiteY2" fmla="*/ 128136 h 134237"/>
                <a:gd name="connsiteX3" fmla="*/ 6102 w 54915"/>
                <a:gd name="connsiteY3" fmla="*/ 122034 h 134237"/>
                <a:gd name="connsiteX4" fmla="*/ 45763 w 54915"/>
                <a:gd name="connsiteY4" fmla="*/ 118983 h 134237"/>
                <a:gd name="connsiteX5" fmla="*/ 45763 w 54915"/>
                <a:gd name="connsiteY5" fmla="*/ 115932 h 134237"/>
                <a:gd name="connsiteX6" fmla="*/ 24407 w 54915"/>
                <a:gd name="connsiteY6" fmla="*/ 6102 h 134237"/>
                <a:gd name="connsiteX7" fmla="*/ 27458 w 54915"/>
                <a:gd name="connsiteY7" fmla="*/ 0 h 134237"/>
                <a:gd name="connsiteX8" fmla="*/ 33559 w 54915"/>
                <a:gd name="connsiteY8" fmla="*/ 3051 h 134237"/>
                <a:gd name="connsiteX9" fmla="*/ 54915 w 54915"/>
                <a:gd name="connsiteY9" fmla="*/ 115932 h 134237"/>
                <a:gd name="connsiteX10" fmla="*/ 48814 w 54915"/>
                <a:gd name="connsiteY10" fmla="*/ 128136 h 134237"/>
                <a:gd name="connsiteX11" fmla="*/ 24407 w 54915"/>
                <a:gd name="connsiteY11" fmla="*/ 134237 h 13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915" h="134237">
                  <a:moveTo>
                    <a:pt x="24407" y="134237"/>
                  </a:moveTo>
                  <a:cubicBezTo>
                    <a:pt x="15254" y="134237"/>
                    <a:pt x="9153" y="134237"/>
                    <a:pt x="6102" y="134237"/>
                  </a:cubicBezTo>
                  <a:cubicBezTo>
                    <a:pt x="3051" y="134237"/>
                    <a:pt x="0" y="131187"/>
                    <a:pt x="0" y="128136"/>
                  </a:cubicBezTo>
                  <a:cubicBezTo>
                    <a:pt x="0" y="125085"/>
                    <a:pt x="3051" y="122034"/>
                    <a:pt x="6102" y="122034"/>
                  </a:cubicBezTo>
                  <a:cubicBezTo>
                    <a:pt x="18305" y="125085"/>
                    <a:pt x="39661" y="125085"/>
                    <a:pt x="45763" y="118983"/>
                  </a:cubicBezTo>
                  <a:cubicBezTo>
                    <a:pt x="45763" y="118983"/>
                    <a:pt x="45763" y="115932"/>
                    <a:pt x="45763" y="115932"/>
                  </a:cubicBezTo>
                  <a:cubicBezTo>
                    <a:pt x="45763" y="97627"/>
                    <a:pt x="24407" y="6102"/>
                    <a:pt x="24407" y="6102"/>
                  </a:cubicBezTo>
                  <a:cubicBezTo>
                    <a:pt x="24407" y="3051"/>
                    <a:pt x="24407" y="0"/>
                    <a:pt x="27458" y="0"/>
                  </a:cubicBezTo>
                  <a:cubicBezTo>
                    <a:pt x="30508" y="0"/>
                    <a:pt x="33559" y="0"/>
                    <a:pt x="33559" y="3051"/>
                  </a:cubicBezTo>
                  <a:cubicBezTo>
                    <a:pt x="33559" y="6102"/>
                    <a:pt x="54915" y="94576"/>
                    <a:pt x="54915" y="115932"/>
                  </a:cubicBezTo>
                  <a:cubicBezTo>
                    <a:pt x="54915" y="122034"/>
                    <a:pt x="54915" y="125085"/>
                    <a:pt x="48814" y="128136"/>
                  </a:cubicBezTo>
                  <a:cubicBezTo>
                    <a:pt x="48814" y="131187"/>
                    <a:pt x="36610" y="134237"/>
                    <a:pt x="24407" y="134237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184F39CE-2A00-4CDF-B115-E12E65C4293C}"/>
                </a:ext>
              </a:extLst>
            </p:cNvPr>
            <p:cNvSpPr/>
            <p:nvPr/>
          </p:nvSpPr>
          <p:spPr>
            <a:xfrm>
              <a:off x="4300278" y="8911968"/>
              <a:ext cx="41036" cy="40857"/>
            </a:xfrm>
            <a:custGeom>
              <a:avLst/>
              <a:gdLst>
                <a:gd name="connsiteX0" fmla="*/ 777 w 41036"/>
                <a:gd name="connsiteY0" fmla="*/ 25005 h 40857"/>
                <a:gd name="connsiteX1" fmla="*/ 25184 w 41036"/>
                <a:gd name="connsiteY1" fmla="*/ 40260 h 40857"/>
                <a:gd name="connsiteX2" fmla="*/ 40438 w 41036"/>
                <a:gd name="connsiteY2" fmla="*/ 15853 h 40857"/>
                <a:gd name="connsiteX3" fmla="*/ 16032 w 41036"/>
                <a:gd name="connsiteY3" fmla="*/ 598 h 40857"/>
                <a:gd name="connsiteX4" fmla="*/ 777 w 41036"/>
                <a:gd name="connsiteY4" fmla="*/ 25005 h 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6" h="40857">
                  <a:moveTo>
                    <a:pt x="777" y="25005"/>
                  </a:moveTo>
                  <a:cubicBezTo>
                    <a:pt x="3828" y="34158"/>
                    <a:pt x="12981" y="43310"/>
                    <a:pt x="25184" y="40260"/>
                  </a:cubicBezTo>
                  <a:cubicBezTo>
                    <a:pt x="34337" y="37209"/>
                    <a:pt x="43489" y="28056"/>
                    <a:pt x="40438" y="15853"/>
                  </a:cubicBezTo>
                  <a:cubicBezTo>
                    <a:pt x="37388" y="6700"/>
                    <a:pt x="28235" y="-2453"/>
                    <a:pt x="16032" y="598"/>
                  </a:cubicBezTo>
                  <a:cubicBezTo>
                    <a:pt x="3828" y="3650"/>
                    <a:pt x="-2273" y="15853"/>
                    <a:pt x="777" y="25005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858450C2-D912-4C59-937C-94E69D39AA3F}"/>
                </a:ext>
              </a:extLst>
            </p:cNvPr>
            <p:cNvSpPr/>
            <p:nvPr/>
          </p:nvSpPr>
          <p:spPr>
            <a:xfrm>
              <a:off x="4117227" y="8939425"/>
              <a:ext cx="41036" cy="40857"/>
            </a:xfrm>
            <a:custGeom>
              <a:avLst/>
              <a:gdLst>
                <a:gd name="connsiteX0" fmla="*/ 777 w 41036"/>
                <a:gd name="connsiteY0" fmla="*/ 25005 h 40857"/>
                <a:gd name="connsiteX1" fmla="*/ 25184 w 41036"/>
                <a:gd name="connsiteY1" fmla="*/ 40259 h 40857"/>
                <a:gd name="connsiteX2" fmla="*/ 40438 w 41036"/>
                <a:gd name="connsiteY2" fmla="*/ 15853 h 40857"/>
                <a:gd name="connsiteX3" fmla="*/ 16032 w 41036"/>
                <a:gd name="connsiteY3" fmla="*/ 598 h 40857"/>
                <a:gd name="connsiteX4" fmla="*/ 777 w 41036"/>
                <a:gd name="connsiteY4" fmla="*/ 25005 h 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6" h="40857">
                  <a:moveTo>
                    <a:pt x="777" y="25005"/>
                  </a:moveTo>
                  <a:cubicBezTo>
                    <a:pt x="3828" y="34158"/>
                    <a:pt x="12981" y="43310"/>
                    <a:pt x="25184" y="40259"/>
                  </a:cubicBezTo>
                  <a:cubicBezTo>
                    <a:pt x="34337" y="37209"/>
                    <a:pt x="43489" y="28056"/>
                    <a:pt x="40438" y="15853"/>
                  </a:cubicBezTo>
                  <a:cubicBezTo>
                    <a:pt x="37388" y="6700"/>
                    <a:pt x="28235" y="-2452"/>
                    <a:pt x="16032" y="598"/>
                  </a:cubicBezTo>
                  <a:cubicBezTo>
                    <a:pt x="3828" y="3649"/>
                    <a:pt x="-2273" y="12802"/>
                    <a:pt x="777" y="25005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E7184397-1E08-4E55-8380-7AA6BACC0D57}"/>
                </a:ext>
              </a:extLst>
            </p:cNvPr>
            <p:cNvSpPr/>
            <p:nvPr/>
          </p:nvSpPr>
          <p:spPr>
            <a:xfrm>
              <a:off x="4269283" y="8865186"/>
              <a:ext cx="92026" cy="32126"/>
            </a:xfrm>
            <a:custGeom>
              <a:avLst/>
              <a:gdLst>
                <a:gd name="connsiteX0" fmla="*/ 86687 w 92026"/>
                <a:gd name="connsiteY0" fmla="*/ 32126 h 32126"/>
                <a:gd name="connsiteX1" fmla="*/ 80586 w 92026"/>
                <a:gd name="connsiteY1" fmla="*/ 29075 h 32126"/>
                <a:gd name="connsiteX2" fmla="*/ 13467 w 92026"/>
                <a:gd name="connsiteY2" fmla="*/ 26025 h 32126"/>
                <a:gd name="connsiteX3" fmla="*/ 1264 w 92026"/>
                <a:gd name="connsiteY3" fmla="*/ 22974 h 32126"/>
                <a:gd name="connsiteX4" fmla="*/ 4315 w 92026"/>
                <a:gd name="connsiteY4" fmla="*/ 10770 h 32126"/>
                <a:gd name="connsiteX5" fmla="*/ 89738 w 92026"/>
                <a:gd name="connsiteY5" fmla="*/ 16872 h 32126"/>
                <a:gd name="connsiteX6" fmla="*/ 89738 w 92026"/>
                <a:gd name="connsiteY6" fmla="*/ 29075 h 32126"/>
                <a:gd name="connsiteX7" fmla="*/ 86687 w 92026"/>
                <a:gd name="connsiteY7" fmla="*/ 32126 h 32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2126">
                  <a:moveTo>
                    <a:pt x="86687" y="32126"/>
                  </a:moveTo>
                  <a:cubicBezTo>
                    <a:pt x="83637" y="32126"/>
                    <a:pt x="83637" y="32126"/>
                    <a:pt x="80586" y="29075"/>
                  </a:cubicBezTo>
                  <a:cubicBezTo>
                    <a:pt x="53128" y="1618"/>
                    <a:pt x="16518" y="22974"/>
                    <a:pt x="13467" y="26025"/>
                  </a:cubicBezTo>
                  <a:cubicBezTo>
                    <a:pt x="10416" y="29075"/>
                    <a:pt x="4315" y="26025"/>
                    <a:pt x="1264" y="22974"/>
                  </a:cubicBezTo>
                  <a:cubicBezTo>
                    <a:pt x="-1787" y="19923"/>
                    <a:pt x="1264" y="13821"/>
                    <a:pt x="4315" y="10770"/>
                  </a:cubicBezTo>
                  <a:cubicBezTo>
                    <a:pt x="22620" y="1618"/>
                    <a:pt x="62281" y="-10585"/>
                    <a:pt x="89738" y="16872"/>
                  </a:cubicBezTo>
                  <a:cubicBezTo>
                    <a:pt x="92789" y="19923"/>
                    <a:pt x="92789" y="26025"/>
                    <a:pt x="89738" y="29075"/>
                  </a:cubicBezTo>
                  <a:cubicBezTo>
                    <a:pt x="89738" y="29075"/>
                    <a:pt x="89738" y="32126"/>
                    <a:pt x="86687" y="32126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89C6B8DD-AB71-4963-98EE-24BF270C07F1}"/>
                </a:ext>
              </a:extLst>
            </p:cNvPr>
            <p:cNvSpPr/>
            <p:nvPr/>
          </p:nvSpPr>
          <p:spPr>
            <a:xfrm>
              <a:off x="4082157" y="8870981"/>
              <a:ext cx="92026" cy="38533"/>
            </a:xfrm>
            <a:custGeom>
              <a:avLst/>
              <a:gdLst>
                <a:gd name="connsiteX0" fmla="*/ 8390 w 92026"/>
                <a:gd name="connsiteY0" fmla="*/ 38534 h 38533"/>
                <a:gd name="connsiteX1" fmla="*/ 2288 w 92026"/>
                <a:gd name="connsiteY1" fmla="*/ 35483 h 38533"/>
                <a:gd name="connsiteX2" fmla="*/ 2288 w 92026"/>
                <a:gd name="connsiteY2" fmla="*/ 23280 h 38533"/>
                <a:gd name="connsiteX3" fmla="*/ 87712 w 92026"/>
                <a:gd name="connsiteY3" fmla="*/ 11077 h 38533"/>
                <a:gd name="connsiteX4" fmla="*/ 90763 w 92026"/>
                <a:gd name="connsiteY4" fmla="*/ 23280 h 38533"/>
                <a:gd name="connsiteX5" fmla="*/ 78559 w 92026"/>
                <a:gd name="connsiteY5" fmla="*/ 26331 h 38533"/>
                <a:gd name="connsiteX6" fmla="*/ 11441 w 92026"/>
                <a:gd name="connsiteY6" fmla="*/ 35483 h 38533"/>
                <a:gd name="connsiteX7" fmla="*/ 8390 w 92026"/>
                <a:gd name="connsiteY7" fmla="*/ 38534 h 38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8533">
                  <a:moveTo>
                    <a:pt x="8390" y="38534"/>
                  </a:moveTo>
                  <a:cubicBezTo>
                    <a:pt x="5339" y="38534"/>
                    <a:pt x="5339" y="38534"/>
                    <a:pt x="2288" y="35483"/>
                  </a:cubicBezTo>
                  <a:cubicBezTo>
                    <a:pt x="-763" y="32432"/>
                    <a:pt x="-763" y="26331"/>
                    <a:pt x="2288" y="23280"/>
                  </a:cubicBezTo>
                  <a:cubicBezTo>
                    <a:pt x="14492" y="8026"/>
                    <a:pt x="48051" y="-13330"/>
                    <a:pt x="87712" y="11077"/>
                  </a:cubicBezTo>
                  <a:cubicBezTo>
                    <a:pt x="90763" y="14128"/>
                    <a:pt x="93814" y="17178"/>
                    <a:pt x="90763" y="23280"/>
                  </a:cubicBezTo>
                  <a:cubicBezTo>
                    <a:pt x="87712" y="26331"/>
                    <a:pt x="84661" y="29382"/>
                    <a:pt x="78559" y="26331"/>
                  </a:cubicBezTo>
                  <a:cubicBezTo>
                    <a:pt x="41949" y="4975"/>
                    <a:pt x="14492" y="35483"/>
                    <a:pt x="11441" y="35483"/>
                  </a:cubicBezTo>
                  <a:cubicBezTo>
                    <a:pt x="11441" y="38534"/>
                    <a:pt x="8390" y="38534"/>
                    <a:pt x="8390" y="38534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3FEA9249-1115-4A59-BDD7-2A6DCC4F09A6}"/>
                </a:ext>
              </a:extLst>
            </p:cNvPr>
            <p:cNvSpPr/>
            <p:nvPr/>
          </p:nvSpPr>
          <p:spPr>
            <a:xfrm>
              <a:off x="4087496" y="9193244"/>
              <a:ext cx="231101" cy="57966"/>
            </a:xfrm>
            <a:custGeom>
              <a:avLst/>
              <a:gdLst>
                <a:gd name="connsiteX0" fmla="*/ 146441 w 231101"/>
                <a:gd name="connsiteY0" fmla="*/ 57966 h 57966"/>
                <a:gd name="connsiteX1" fmla="*/ 3051 w 231101"/>
                <a:gd name="connsiteY1" fmla="*/ 12204 h 57966"/>
                <a:gd name="connsiteX2" fmla="*/ 0 w 231101"/>
                <a:gd name="connsiteY2" fmla="*/ 3051 h 57966"/>
                <a:gd name="connsiteX3" fmla="*/ 9153 w 231101"/>
                <a:gd name="connsiteY3" fmla="*/ 0 h 57966"/>
                <a:gd name="connsiteX4" fmla="*/ 146441 w 231101"/>
                <a:gd name="connsiteY4" fmla="*/ 45763 h 57966"/>
                <a:gd name="connsiteX5" fmla="*/ 149491 w 231101"/>
                <a:gd name="connsiteY5" fmla="*/ 45763 h 57966"/>
                <a:gd name="connsiteX6" fmla="*/ 219661 w 231101"/>
                <a:gd name="connsiteY6" fmla="*/ 18305 h 57966"/>
                <a:gd name="connsiteX7" fmla="*/ 228814 w 231101"/>
                <a:gd name="connsiteY7" fmla="*/ 18305 h 57966"/>
                <a:gd name="connsiteX8" fmla="*/ 228814 w 231101"/>
                <a:gd name="connsiteY8" fmla="*/ 27458 h 57966"/>
                <a:gd name="connsiteX9" fmla="*/ 152542 w 231101"/>
                <a:gd name="connsiteY9" fmla="*/ 57966 h 57966"/>
                <a:gd name="connsiteX10" fmla="*/ 146441 w 231101"/>
                <a:gd name="connsiteY10" fmla="*/ 57966 h 57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1101" h="57966">
                  <a:moveTo>
                    <a:pt x="146441" y="57966"/>
                  </a:moveTo>
                  <a:cubicBezTo>
                    <a:pt x="94576" y="57966"/>
                    <a:pt x="6102" y="12204"/>
                    <a:pt x="3051" y="12204"/>
                  </a:cubicBezTo>
                  <a:cubicBezTo>
                    <a:pt x="0" y="12204"/>
                    <a:pt x="0" y="6102"/>
                    <a:pt x="0" y="3051"/>
                  </a:cubicBezTo>
                  <a:cubicBezTo>
                    <a:pt x="0" y="0"/>
                    <a:pt x="6102" y="0"/>
                    <a:pt x="9153" y="0"/>
                  </a:cubicBezTo>
                  <a:cubicBezTo>
                    <a:pt x="9153" y="0"/>
                    <a:pt x="97627" y="45763"/>
                    <a:pt x="146441" y="45763"/>
                  </a:cubicBezTo>
                  <a:cubicBezTo>
                    <a:pt x="146441" y="45763"/>
                    <a:pt x="149491" y="45763"/>
                    <a:pt x="149491" y="45763"/>
                  </a:cubicBezTo>
                  <a:cubicBezTo>
                    <a:pt x="189152" y="42712"/>
                    <a:pt x="219661" y="18305"/>
                    <a:pt x="219661" y="18305"/>
                  </a:cubicBezTo>
                  <a:cubicBezTo>
                    <a:pt x="222712" y="15254"/>
                    <a:pt x="225763" y="15254"/>
                    <a:pt x="228814" y="18305"/>
                  </a:cubicBezTo>
                  <a:cubicBezTo>
                    <a:pt x="231864" y="21356"/>
                    <a:pt x="231864" y="24407"/>
                    <a:pt x="228814" y="27458"/>
                  </a:cubicBezTo>
                  <a:cubicBezTo>
                    <a:pt x="228814" y="27458"/>
                    <a:pt x="195254" y="54915"/>
                    <a:pt x="152542" y="57966"/>
                  </a:cubicBezTo>
                  <a:cubicBezTo>
                    <a:pt x="149491" y="57966"/>
                    <a:pt x="149491" y="57966"/>
                    <a:pt x="146441" y="57966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FBCC8C03-5144-44F6-88B6-21F4F42B54B0}"/>
                </a:ext>
              </a:extLst>
            </p:cNvPr>
            <p:cNvSpPr/>
            <p:nvPr/>
          </p:nvSpPr>
          <p:spPr>
            <a:xfrm>
              <a:off x="3946420" y="8944095"/>
              <a:ext cx="79315" cy="112504"/>
            </a:xfrm>
            <a:custGeom>
              <a:avLst/>
              <a:gdLst>
                <a:gd name="connsiteX0" fmla="*/ 64805 w 79315"/>
                <a:gd name="connsiteY0" fmla="*/ 14234 h 112504"/>
                <a:gd name="connsiteX1" fmla="*/ 6839 w 79315"/>
                <a:gd name="connsiteY1" fmla="*/ 8132 h 112504"/>
                <a:gd name="connsiteX2" fmla="*/ 67856 w 79315"/>
                <a:gd name="connsiteY2" fmla="*/ 108810 h 112504"/>
                <a:gd name="connsiteX3" fmla="*/ 64805 w 79315"/>
                <a:gd name="connsiteY3" fmla="*/ 14234 h 112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15" h="112504">
                  <a:moveTo>
                    <a:pt x="64805" y="14234"/>
                  </a:moveTo>
                  <a:cubicBezTo>
                    <a:pt x="64805" y="14234"/>
                    <a:pt x="31246" y="-13224"/>
                    <a:pt x="6839" y="8132"/>
                  </a:cubicBezTo>
                  <a:cubicBezTo>
                    <a:pt x="-17568" y="29488"/>
                    <a:pt x="28195" y="133217"/>
                    <a:pt x="67856" y="108810"/>
                  </a:cubicBezTo>
                  <a:cubicBezTo>
                    <a:pt x="95314" y="87454"/>
                    <a:pt x="64805" y="14234"/>
                    <a:pt x="64805" y="14234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6B0A354E-4D78-414D-BB5D-A91A10B638A0}"/>
                </a:ext>
              </a:extLst>
            </p:cNvPr>
            <p:cNvSpPr/>
            <p:nvPr/>
          </p:nvSpPr>
          <p:spPr>
            <a:xfrm>
              <a:off x="3940488" y="8558758"/>
              <a:ext cx="516407" cy="417875"/>
            </a:xfrm>
            <a:custGeom>
              <a:avLst/>
              <a:gdLst>
                <a:gd name="connsiteX0" fmla="*/ 9720 w 516407"/>
                <a:gd name="connsiteY0" fmla="*/ 320248 h 417875"/>
                <a:gd name="connsiteX1" fmla="*/ 70737 w 516407"/>
                <a:gd name="connsiteY1" fmla="*/ 417876 h 417875"/>
                <a:gd name="connsiteX2" fmla="*/ 113449 w 516407"/>
                <a:gd name="connsiteY2" fmla="*/ 274486 h 417875"/>
                <a:gd name="connsiteX3" fmla="*/ 122601 w 516407"/>
                <a:gd name="connsiteY3" fmla="*/ 271435 h 417875"/>
                <a:gd name="connsiteX4" fmla="*/ 198872 w 516407"/>
                <a:gd name="connsiteY4" fmla="*/ 240927 h 417875"/>
                <a:gd name="connsiteX5" fmla="*/ 211076 w 516407"/>
                <a:gd name="connsiteY5" fmla="*/ 237876 h 417875"/>
                <a:gd name="connsiteX6" fmla="*/ 247686 w 516407"/>
                <a:gd name="connsiteY6" fmla="*/ 259231 h 417875"/>
                <a:gd name="connsiteX7" fmla="*/ 262940 w 516407"/>
                <a:gd name="connsiteY7" fmla="*/ 247028 h 417875"/>
                <a:gd name="connsiteX8" fmla="*/ 314805 w 516407"/>
                <a:gd name="connsiteY8" fmla="*/ 262282 h 417875"/>
                <a:gd name="connsiteX9" fmla="*/ 351415 w 516407"/>
                <a:gd name="connsiteY9" fmla="*/ 268384 h 417875"/>
                <a:gd name="connsiteX10" fmla="*/ 363618 w 516407"/>
                <a:gd name="connsiteY10" fmla="*/ 265333 h 417875"/>
                <a:gd name="connsiteX11" fmla="*/ 375822 w 516407"/>
                <a:gd name="connsiteY11" fmla="*/ 262282 h 417875"/>
                <a:gd name="connsiteX12" fmla="*/ 384974 w 516407"/>
                <a:gd name="connsiteY12" fmla="*/ 265333 h 417875"/>
                <a:gd name="connsiteX13" fmla="*/ 391076 w 516407"/>
                <a:gd name="connsiteY13" fmla="*/ 268384 h 417875"/>
                <a:gd name="connsiteX14" fmla="*/ 397178 w 516407"/>
                <a:gd name="connsiteY14" fmla="*/ 268384 h 417875"/>
                <a:gd name="connsiteX15" fmla="*/ 406330 w 516407"/>
                <a:gd name="connsiteY15" fmla="*/ 271435 h 417875"/>
                <a:gd name="connsiteX16" fmla="*/ 412432 w 516407"/>
                <a:gd name="connsiteY16" fmla="*/ 280588 h 417875"/>
                <a:gd name="connsiteX17" fmla="*/ 430737 w 516407"/>
                <a:gd name="connsiteY17" fmla="*/ 301944 h 417875"/>
                <a:gd name="connsiteX18" fmla="*/ 461245 w 516407"/>
                <a:gd name="connsiteY18" fmla="*/ 311096 h 417875"/>
                <a:gd name="connsiteX19" fmla="*/ 482601 w 516407"/>
                <a:gd name="connsiteY19" fmla="*/ 366011 h 417875"/>
                <a:gd name="connsiteX20" fmla="*/ 488703 w 516407"/>
                <a:gd name="connsiteY20" fmla="*/ 335503 h 417875"/>
                <a:gd name="connsiteX21" fmla="*/ 497856 w 516407"/>
                <a:gd name="connsiteY21" fmla="*/ 332452 h 417875"/>
                <a:gd name="connsiteX22" fmla="*/ 510059 w 516407"/>
                <a:gd name="connsiteY22" fmla="*/ 234825 h 417875"/>
                <a:gd name="connsiteX23" fmla="*/ 488703 w 516407"/>
                <a:gd name="connsiteY23" fmla="*/ 192113 h 417875"/>
                <a:gd name="connsiteX24" fmla="*/ 491754 w 516407"/>
                <a:gd name="connsiteY24" fmla="*/ 155503 h 417875"/>
                <a:gd name="connsiteX25" fmla="*/ 482601 w 516407"/>
                <a:gd name="connsiteY25" fmla="*/ 121943 h 417875"/>
                <a:gd name="connsiteX26" fmla="*/ 461245 w 516407"/>
                <a:gd name="connsiteY26" fmla="*/ 94486 h 417875"/>
                <a:gd name="connsiteX27" fmla="*/ 442940 w 516407"/>
                <a:gd name="connsiteY27" fmla="*/ 51774 h 417875"/>
                <a:gd name="connsiteX28" fmla="*/ 381923 w 516407"/>
                <a:gd name="connsiteY28" fmla="*/ 33469 h 417875"/>
                <a:gd name="connsiteX29" fmla="*/ 256839 w 516407"/>
                <a:gd name="connsiteY29" fmla="*/ 2960 h 417875"/>
                <a:gd name="connsiteX30" fmla="*/ 244635 w 516407"/>
                <a:gd name="connsiteY30" fmla="*/ 9062 h 417875"/>
                <a:gd name="connsiteX31" fmla="*/ 189720 w 516407"/>
                <a:gd name="connsiteY31" fmla="*/ 24316 h 417875"/>
                <a:gd name="connsiteX32" fmla="*/ 156161 w 516407"/>
                <a:gd name="connsiteY32" fmla="*/ 27367 h 417875"/>
                <a:gd name="connsiteX33" fmla="*/ 128703 w 516407"/>
                <a:gd name="connsiteY33" fmla="*/ 60926 h 417875"/>
                <a:gd name="connsiteX34" fmla="*/ 116500 w 516407"/>
                <a:gd name="connsiteY34" fmla="*/ 82283 h 417875"/>
                <a:gd name="connsiteX35" fmla="*/ 85991 w 516407"/>
                <a:gd name="connsiteY35" fmla="*/ 103638 h 417875"/>
                <a:gd name="connsiteX36" fmla="*/ 73788 w 516407"/>
                <a:gd name="connsiteY36" fmla="*/ 100587 h 417875"/>
                <a:gd name="connsiteX37" fmla="*/ 58534 w 516407"/>
                <a:gd name="connsiteY37" fmla="*/ 143300 h 417875"/>
                <a:gd name="connsiteX38" fmla="*/ 9720 w 516407"/>
                <a:gd name="connsiteY38" fmla="*/ 320248 h 417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6407" h="417875">
                  <a:moveTo>
                    <a:pt x="9720" y="320248"/>
                  </a:moveTo>
                  <a:cubicBezTo>
                    <a:pt x="24974" y="375164"/>
                    <a:pt x="70737" y="417876"/>
                    <a:pt x="70737" y="417876"/>
                  </a:cubicBezTo>
                  <a:cubicBezTo>
                    <a:pt x="61584" y="387367"/>
                    <a:pt x="113449" y="274486"/>
                    <a:pt x="113449" y="274486"/>
                  </a:cubicBezTo>
                  <a:cubicBezTo>
                    <a:pt x="113449" y="274486"/>
                    <a:pt x="116500" y="274486"/>
                    <a:pt x="122601" y="271435"/>
                  </a:cubicBezTo>
                  <a:cubicBezTo>
                    <a:pt x="150059" y="268384"/>
                    <a:pt x="177517" y="259231"/>
                    <a:pt x="198872" y="240927"/>
                  </a:cubicBezTo>
                  <a:cubicBezTo>
                    <a:pt x="201923" y="240927"/>
                    <a:pt x="208025" y="237876"/>
                    <a:pt x="211076" y="237876"/>
                  </a:cubicBezTo>
                  <a:cubicBezTo>
                    <a:pt x="220228" y="250079"/>
                    <a:pt x="232432" y="262282"/>
                    <a:pt x="247686" y="259231"/>
                  </a:cubicBezTo>
                  <a:cubicBezTo>
                    <a:pt x="253788" y="256181"/>
                    <a:pt x="256839" y="250079"/>
                    <a:pt x="262940" y="247028"/>
                  </a:cubicBezTo>
                  <a:cubicBezTo>
                    <a:pt x="284296" y="237876"/>
                    <a:pt x="296500" y="253130"/>
                    <a:pt x="314805" y="262282"/>
                  </a:cubicBezTo>
                  <a:cubicBezTo>
                    <a:pt x="327008" y="268384"/>
                    <a:pt x="339212" y="271435"/>
                    <a:pt x="351415" y="268384"/>
                  </a:cubicBezTo>
                  <a:cubicBezTo>
                    <a:pt x="354466" y="268384"/>
                    <a:pt x="360568" y="265333"/>
                    <a:pt x="363618" y="265333"/>
                  </a:cubicBezTo>
                  <a:cubicBezTo>
                    <a:pt x="369720" y="262282"/>
                    <a:pt x="372771" y="262282"/>
                    <a:pt x="375822" y="262282"/>
                  </a:cubicBezTo>
                  <a:cubicBezTo>
                    <a:pt x="378873" y="262282"/>
                    <a:pt x="381923" y="265333"/>
                    <a:pt x="384974" y="265333"/>
                  </a:cubicBezTo>
                  <a:cubicBezTo>
                    <a:pt x="388025" y="265333"/>
                    <a:pt x="388025" y="268384"/>
                    <a:pt x="391076" y="268384"/>
                  </a:cubicBezTo>
                  <a:cubicBezTo>
                    <a:pt x="394127" y="268384"/>
                    <a:pt x="394127" y="268384"/>
                    <a:pt x="397178" y="268384"/>
                  </a:cubicBezTo>
                  <a:cubicBezTo>
                    <a:pt x="400229" y="268384"/>
                    <a:pt x="403279" y="271435"/>
                    <a:pt x="406330" y="271435"/>
                  </a:cubicBezTo>
                  <a:cubicBezTo>
                    <a:pt x="409381" y="274486"/>
                    <a:pt x="412432" y="277537"/>
                    <a:pt x="412432" y="280588"/>
                  </a:cubicBezTo>
                  <a:cubicBezTo>
                    <a:pt x="418534" y="289740"/>
                    <a:pt x="421584" y="295842"/>
                    <a:pt x="430737" y="301944"/>
                  </a:cubicBezTo>
                  <a:cubicBezTo>
                    <a:pt x="436839" y="304994"/>
                    <a:pt x="449042" y="308045"/>
                    <a:pt x="461245" y="311096"/>
                  </a:cubicBezTo>
                  <a:cubicBezTo>
                    <a:pt x="476500" y="329401"/>
                    <a:pt x="485652" y="347706"/>
                    <a:pt x="482601" y="366011"/>
                  </a:cubicBezTo>
                  <a:cubicBezTo>
                    <a:pt x="482601" y="366011"/>
                    <a:pt x="485652" y="353808"/>
                    <a:pt x="488703" y="335503"/>
                  </a:cubicBezTo>
                  <a:cubicBezTo>
                    <a:pt x="491754" y="338554"/>
                    <a:pt x="494805" y="338554"/>
                    <a:pt x="497856" y="332452"/>
                  </a:cubicBezTo>
                  <a:cubicBezTo>
                    <a:pt x="516161" y="301944"/>
                    <a:pt x="522262" y="268384"/>
                    <a:pt x="510059" y="234825"/>
                  </a:cubicBezTo>
                  <a:cubicBezTo>
                    <a:pt x="503957" y="219571"/>
                    <a:pt x="494805" y="207367"/>
                    <a:pt x="488703" y="192113"/>
                  </a:cubicBezTo>
                  <a:cubicBezTo>
                    <a:pt x="479550" y="173808"/>
                    <a:pt x="488703" y="173808"/>
                    <a:pt x="491754" y="155503"/>
                  </a:cubicBezTo>
                  <a:cubicBezTo>
                    <a:pt x="491754" y="143300"/>
                    <a:pt x="488703" y="131096"/>
                    <a:pt x="482601" y="121943"/>
                  </a:cubicBezTo>
                  <a:cubicBezTo>
                    <a:pt x="476500" y="112791"/>
                    <a:pt x="470398" y="103638"/>
                    <a:pt x="461245" y="94486"/>
                  </a:cubicBezTo>
                  <a:cubicBezTo>
                    <a:pt x="449042" y="79232"/>
                    <a:pt x="449042" y="67028"/>
                    <a:pt x="442940" y="51774"/>
                  </a:cubicBezTo>
                  <a:cubicBezTo>
                    <a:pt x="430737" y="24316"/>
                    <a:pt x="406330" y="30418"/>
                    <a:pt x="381923" y="33469"/>
                  </a:cubicBezTo>
                  <a:cubicBezTo>
                    <a:pt x="339212" y="36520"/>
                    <a:pt x="299551" y="-12294"/>
                    <a:pt x="256839" y="2960"/>
                  </a:cubicBezTo>
                  <a:cubicBezTo>
                    <a:pt x="250737" y="6011"/>
                    <a:pt x="247686" y="9062"/>
                    <a:pt x="244635" y="9062"/>
                  </a:cubicBezTo>
                  <a:cubicBezTo>
                    <a:pt x="226330" y="18215"/>
                    <a:pt x="211076" y="24316"/>
                    <a:pt x="189720" y="24316"/>
                  </a:cubicBezTo>
                  <a:cubicBezTo>
                    <a:pt x="177517" y="24316"/>
                    <a:pt x="168364" y="21266"/>
                    <a:pt x="156161" y="27367"/>
                  </a:cubicBezTo>
                  <a:cubicBezTo>
                    <a:pt x="143957" y="33469"/>
                    <a:pt x="134805" y="48723"/>
                    <a:pt x="128703" y="60926"/>
                  </a:cubicBezTo>
                  <a:cubicBezTo>
                    <a:pt x="125652" y="67028"/>
                    <a:pt x="119551" y="76181"/>
                    <a:pt x="116500" y="82283"/>
                  </a:cubicBezTo>
                  <a:cubicBezTo>
                    <a:pt x="104296" y="91435"/>
                    <a:pt x="95144" y="97537"/>
                    <a:pt x="85991" y="103638"/>
                  </a:cubicBezTo>
                  <a:cubicBezTo>
                    <a:pt x="85991" y="100587"/>
                    <a:pt x="89042" y="88384"/>
                    <a:pt x="73788" y="100587"/>
                  </a:cubicBezTo>
                  <a:cubicBezTo>
                    <a:pt x="58534" y="112791"/>
                    <a:pt x="55483" y="124994"/>
                    <a:pt x="58534" y="143300"/>
                  </a:cubicBezTo>
                  <a:cubicBezTo>
                    <a:pt x="-5534" y="176859"/>
                    <a:pt x="-8585" y="262282"/>
                    <a:pt x="9720" y="320248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7DCA1352-35D3-4EC9-80D0-63FD2FE427B9}"/>
                </a:ext>
              </a:extLst>
            </p:cNvPr>
            <p:cNvSpPr/>
            <p:nvPr/>
          </p:nvSpPr>
          <p:spPr>
            <a:xfrm>
              <a:off x="3984343" y="8726464"/>
              <a:ext cx="72644" cy="237966"/>
            </a:xfrm>
            <a:custGeom>
              <a:avLst/>
              <a:gdLst>
                <a:gd name="connsiteX0" fmla="*/ 26882 w 72644"/>
                <a:gd name="connsiteY0" fmla="*/ 237966 h 237966"/>
                <a:gd name="connsiteX1" fmla="*/ 26882 w 72644"/>
                <a:gd name="connsiteY1" fmla="*/ 237966 h 237966"/>
                <a:gd name="connsiteX2" fmla="*/ 20781 w 72644"/>
                <a:gd name="connsiteY2" fmla="*/ 231865 h 237966"/>
                <a:gd name="connsiteX3" fmla="*/ 60442 w 72644"/>
                <a:gd name="connsiteY3" fmla="*/ 109831 h 237966"/>
                <a:gd name="connsiteX4" fmla="*/ 8577 w 72644"/>
                <a:gd name="connsiteY4" fmla="*/ 70170 h 237966"/>
                <a:gd name="connsiteX5" fmla="*/ 5526 w 72644"/>
                <a:gd name="connsiteY5" fmla="*/ 3051 h 237966"/>
                <a:gd name="connsiteX6" fmla="*/ 11628 w 72644"/>
                <a:gd name="connsiteY6" fmla="*/ 0 h 237966"/>
                <a:gd name="connsiteX7" fmla="*/ 14679 w 72644"/>
                <a:gd name="connsiteY7" fmla="*/ 6102 h 237966"/>
                <a:gd name="connsiteX8" fmla="*/ 17730 w 72644"/>
                <a:gd name="connsiteY8" fmla="*/ 64068 h 237966"/>
                <a:gd name="connsiteX9" fmla="*/ 69594 w 72644"/>
                <a:gd name="connsiteY9" fmla="*/ 100678 h 237966"/>
                <a:gd name="connsiteX10" fmla="*/ 72645 w 72644"/>
                <a:gd name="connsiteY10" fmla="*/ 103729 h 237966"/>
                <a:gd name="connsiteX11" fmla="*/ 72645 w 72644"/>
                <a:gd name="connsiteY11" fmla="*/ 109831 h 237966"/>
                <a:gd name="connsiteX12" fmla="*/ 29933 w 72644"/>
                <a:gd name="connsiteY12" fmla="*/ 231865 h 237966"/>
                <a:gd name="connsiteX13" fmla="*/ 26882 w 72644"/>
                <a:gd name="connsiteY13" fmla="*/ 237966 h 237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2644" h="237966">
                  <a:moveTo>
                    <a:pt x="26882" y="237966"/>
                  </a:moveTo>
                  <a:cubicBezTo>
                    <a:pt x="26882" y="237966"/>
                    <a:pt x="26882" y="237966"/>
                    <a:pt x="26882" y="237966"/>
                  </a:cubicBezTo>
                  <a:cubicBezTo>
                    <a:pt x="23831" y="237966"/>
                    <a:pt x="20781" y="234916"/>
                    <a:pt x="20781" y="231865"/>
                  </a:cubicBezTo>
                  <a:cubicBezTo>
                    <a:pt x="23831" y="176949"/>
                    <a:pt x="51289" y="128136"/>
                    <a:pt x="60442" y="109831"/>
                  </a:cubicBezTo>
                  <a:cubicBezTo>
                    <a:pt x="48238" y="103729"/>
                    <a:pt x="23831" y="94576"/>
                    <a:pt x="8577" y="70170"/>
                  </a:cubicBezTo>
                  <a:cubicBezTo>
                    <a:pt x="-575" y="51865"/>
                    <a:pt x="-3626" y="27458"/>
                    <a:pt x="5526" y="3051"/>
                  </a:cubicBezTo>
                  <a:cubicBezTo>
                    <a:pt x="5526" y="0"/>
                    <a:pt x="8577" y="0"/>
                    <a:pt x="11628" y="0"/>
                  </a:cubicBezTo>
                  <a:cubicBezTo>
                    <a:pt x="14679" y="0"/>
                    <a:pt x="17730" y="3051"/>
                    <a:pt x="14679" y="6102"/>
                  </a:cubicBezTo>
                  <a:cubicBezTo>
                    <a:pt x="8577" y="27458"/>
                    <a:pt x="8577" y="48814"/>
                    <a:pt x="17730" y="64068"/>
                  </a:cubicBezTo>
                  <a:cubicBezTo>
                    <a:pt x="32984" y="91525"/>
                    <a:pt x="66543" y="100678"/>
                    <a:pt x="69594" y="100678"/>
                  </a:cubicBezTo>
                  <a:cubicBezTo>
                    <a:pt x="72645" y="100678"/>
                    <a:pt x="72645" y="103729"/>
                    <a:pt x="72645" y="103729"/>
                  </a:cubicBezTo>
                  <a:cubicBezTo>
                    <a:pt x="72645" y="106780"/>
                    <a:pt x="72645" y="106780"/>
                    <a:pt x="72645" y="109831"/>
                  </a:cubicBezTo>
                  <a:cubicBezTo>
                    <a:pt x="72645" y="109831"/>
                    <a:pt x="32984" y="170848"/>
                    <a:pt x="29933" y="231865"/>
                  </a:cubicBezTo>
                  <a:cubicBezTo>
                    <a:pt x="32984" y="234916"/>
                    <a:pt x="29933" y="237966"/>
                    <a:pt x="26882" y="237966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D84C624D-57F1-476D-AAE0-C95D1F12D7D9}"/>
                </a:ext>
              </a:extLst>
            </p:cNvPr>
            <p:cNvSpPr/>
            <p:nvPr/>
          </p:nvSpPr>
          <p:spPr>
            <a:xfrm>
              <a:off x="4167581" y="9136041"/>
              <a:ext cx="118220" cy="32796"/>
            </a:xfrm>
            <a:custGeom>
              <a:avLst/>
              <a:gdLst>
                <a:gd name="connsiteX0" fmla="*/ 69407 w 118220"/>
                <a:gd name="connsiteY0" fmla="*/ 32796 h 32796"/>
                <a:gd name="connsiteX1" fmla="*/ 2288 w 118220"/>
                <a:gd name="connsiteY1" fmla="*/ 11441 h 32796"/>
                <a:gd name="connsiteX2" fmla="*/ 2288 w 118220"/>
                <a:gd name="connsiteY2" fmla="*/ 2288 h 32796"/>
                <a:gd name="connsiteX3" fmla="*/ 11441 w 118220"/>
                <a:gd name="connsiteY3" fmla="*/ 2288 h 32796"/>
                <a:gd name="connsiteX4" fmla="*/ 112119 w 118220"/>
                <a:gd name="connsiteY4" fmla="*/ 17542 h 32796"/>
                <a:gd name="connsiteX5" fmla="*/ 118220 w 118220"/>
                <a:gd name="connsiteY5" fmla="*/ 20593 h 32796"/>
                <a:gd name="connsiteX6" fmla="*/ 115169 w 118220"/>
                <a:gd name="connsiteY6" fmla="*/ 26695 h 32796"/>
                <a:gd name="connsiteX7" fmla="*/ 69407 w 118220"/>
                <a:gd name="connsiteY7" fmla="*/ 32796 h 32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220" h="32796">
                  <a:moveTo>
                    <a:pt x="69407" y="32796"/>
                  </a:moveTo>
                  <a:cubicBezTo>
                    <a:pt x="48051" y="32796"/>
                    <a:pt x="20593" y="26695"/>
                    <a:pt x="2288" y="11441"/>
                  </a:cubicBezTo>
                  <a:cubicBezTo>
                    <a:pt x="-763" y="8390"/>
                    <a:pt x="-763" y="5339"/>
                    <a:pt x="2288" y="2288"/>
                  </a:cubicBezTo>
                  <a:cubicBezTo>
                    <a:pt x="5339" y="-763"/>
                    <a:pt x="8390" y="-763"/>
                    <a:pt x="11441" y="2288"/>
                  </a:cubicBezTo>
                  <a:cubicBezTo>
                    <a:pt x="45000" y="32796"/>
                    <a:pt x="109068" y="17542"/>
                    <a:pt x="112119" y="17542"/>
                  </a:cubicBezTo>
                  <a:cubicBezTo>
                    <a:pt x="115169" y="17542"/>
                    <a:pt x="118220" y="17542"/>
                    <a:pt x="118220" y="20593"/>
                  </a:cubicBezTo>
                  <a:cubicBezTo>
                    <a:pt x="118220" y="23644"/>
                    <a:pt x="118220" y="26695"/>
                    <a:pt x="115169" y="26695"/>
                  </a:cubicBezTo>
                  <a:cubicBezTo>
                    <a:pt x="112119" y="29746"/>
                    <a:pt x="93814" y="32796"/>
                    <a:pt x="69407" y="32796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62E2069B-8532-463D-B660-78ADAA06B95B}"/>
                </a:ext>
              </a:extLst>
            </p:cNvPr>
            <p:cNvSpPr/>
            <p:nvPr/>
          </p:nvSpPr>
          <p:spPr>
            <a:xfrm>
              <a:off x="4095385" y="8695832"/>
              <a:ext cx="260585" cy="76394"/>
            </a:xfrm>
            <a:custGeom>
              <a:avLst/>
              <a:gdLst>
                <a:gd name="connsiteX0" fmla="*/ 251433 w 260585"/>
                <a:gd name="connsiteY0" fmla="*/ 76395 h 76394"/>
                <a:gd name="connsiteX1" fmla="*/ 251433 w 260585"/>
                <a:gd name="connsiteY1" fmla="*/ 76395 h 76394"/>
                <a:gd name="connsiteX2" fmla="*/ 196518 w 260585"/>
                <a:gd name="connsiteY2" fmla="*/ 55039 h 76394"/>
                <a:gd name="connsiteX3" fmla="*/ 187365 w 260585"/>
                <a:gd name="connsiteY3" fmla="*/ 45886 h 76394"/>
                <a:gd name="connsiteX4" fmla="*/ 156857 w 260585"/>
                <a:gd name="connsiteY4" fmla="*/ 27581 h 76394"/>
                <a:gd name="connsiteX5" fmla="*/ 156857 w 260585"/>
                <a:gd name="connsiteY5" fmla="*/ 27581 h 76394"/>
                <a:gd name="connsiteX6" fmla="*/ 132450 w 260585"/>
                <a:gd name="connsiteY6" fmla="*/ 36734 h 76394"/>
                <a:gd name="connsiteX7" fmla="*/ 98891 w 260585"/>
                <a:gd name="connsiteY7" fmla="*/ 45886 h 76394"/>
                <a:gd name="connsiteX8" fmla="*/ 71433 w 260585"/>
                <a:gd name="connsiteY8" fmla="*/ 27581 h 76394"/>
                <a:gd name="connsiteX9" fmla="*/ 53128 w 260585"/>
                <a:gd name="connsiteY9" fmla="*/ 12327 h 76394"/>
                <a:gd name="connsiteX10" fmla="*/ 25670 w 260585"/>
                <a:gd name="connsiteY10" fmla="*/ 18429 h 76394"/>
                <a:gd name="connsiteX11" fmla="*/ 10416 w 260585"/>
                <a:gd name="connsiteY11" fmla="*/ 45886 h 76394"/>
                <a:gd name="connsiteX12" fmla="*/ 4315 w 260585"/>
                <a:gd name="connsiteY12" fmla="*/ 48937 h 76394"/>
                <a:gd name="connsiteX13" fmla="*/ 1264 w 260585"/>
                <a:gd name="connsiteY13" fmla="*/ 42836 h 76394"/>
                <a:gd name="connsiteX14" fmla="*/ 19569 w 260585"/>
                <a:gd name="connsiteY14" fmla="*/ 9276 h 76394"/>
                <a:gd name="connsiteX15" fmla="*/ 59230 w 260585"/>
                <a:gd name="connsiteY15" fmla="*/ 3174 h 76394"/>
                <a:gd name="connsiteX16" fmla="*/ 80586 w 260585"/>
                <a:gd name="connsiteY16" fmla="*/ 18429 h 76394"/>
                <a:gd name="connsiteX17" fmla="*/ 101942 w 260585"/>
                <a:gd name="connsiteY17" fmla="*/ 33683 h 76394"/>
                <a:gd name="connsiteX18" fmla="*/ 129399 w 260585"/>
                <a:gd name="connsiteY18" fmla="*/ 24530 h 76394"/>
                <a:gd name="connsiteX19" fmla="*/ 159908 w 260585"/>
                <a:gd name="connsiteY19" fmla="*/ 15378 h 76394"/>
                <a:gd name="connsiteX20" fmla="*/ 196518 w 260585"/>
                <a:gd name="connsiteY20" fmla="*/ 36734 h 76394"/>
                <a:gd name="connsiteX21" fmla="*/ 205671 w 260585"/>
                <a:gd name="connsiteY21" fmla="*/ 42836 h 76394"/>
                <a:gd name="connsiteX22" fmla="*/ 254484 w 260585"/>
                <a:gd name="connsiteY22" fmla="*/ 61140 h 76394"/>
                <a:gd name="connsiteX23" fmla="*/ 260586 w 260585"/>
                <a:gd name="connsiteY23" fmla="*/ 67242 h 76394"/>
                <a:gd name="connsiteX24" fmla="*/ 251433 w 260585"/>
                <a:gd name="connsiteY24" fmla="*/ 76395 h 76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0585" h="76394">
                  <a:moveTo>
                    <a:pt x="251433" y="76395"/>
                  </a:moveTo>
                  <a:cubicBezTo>
                    <a:pt x="251433" y="76395"/>
                    <a:pt x="251433" y="76395"/>
                    <a:pt x="251433" y="76395"/>
                  </a:cubicBezTo>
                  <a:cubicBezTo>
                    <a:pt x="230077" y="76395"/>
                    <a:pt x="211772" y="67242"/>
                    <a:pt x="196518" y="55039"/>
                  </a:cubicBezTo>
                  <a:cubicBezTo>
                    <a:pt x="193467" y="51988"/>
                    <a:pt x="190416" y="48937"/>
                    <a:pt x="187365" y="45886"/>
                  </a:cubicBezTo>
                  <a:cubicBezTo>
                    <a:pt x="178213" y="36734"/>
                    <a:pt x="169060" y="27581"/>
                    <a:pt x="156857" y="27581"/>
                  </a:cubicBezTo>
                  <a:cubicBezTo>
                    <a:pt x="156857" y="27581"/>
                    <a:pt x="156857" y="27581"/>
                    <a:pt x="156857" y="27581"/>
                  </a:cubicBezTo>
                  <a:cubicBezTo>
                    <a:pt x="147704" y="27581"/>
                    <a:pt x="141603" y="30632"/>
                    <a:pt x="132450" y="36734"/>
                  </a:cubicBezTo>
                  <a:cubicBezTo>
                    <a:pt x="123298" y="42836"/>
                    <a:pt x="111094" y="48937"/>
                    <a:pt x="98891" y="45886"/>
                  </a:cubicBezTo>
                  <a:cubicBezTo>
                    <a:pt x="86687" y="42836"/>
                    <a:pt x="80586" y="36734"/>
                    <a:pt x="71433" y="27581"/>
                  </a:cubicBezTo>
                  <a:cubicBezTo>
                    <a:pt x="65331" y="21480"/>
                    <a:pt x="59230" y="15378"/>
                    <a:pt x="53128" y="12327"/>
                  </a:cubicBezTo>
                  <a:cubicBezTo>
                    <a:pt x="43976" y="9276"/>
                    <a:pt x="34823" y="12327"/>
                    <a:pt x="25670" y="18429"/>
                  </a:cubicBezTo>
                  <a:cubicBezTo>
                    <a:pt x="19569" y="24530"/>
                    <a:pt x="13467" y="33683"/>
                    <a:pt x="10416" y="45886"/>
                  </a:cubicBezTo>
                  <a:cubicBezTo>
                    <a:pt x="10416" y="48937"/>
                    <a:pt x="7365" y="51988"/>
                    <a:pt x="4315" y="48937"/>
                  </a:cubicBezTo>
                  <a:cubicBezTo>
                    <a:pt x="1264" y="48937"/>
                    <a:pt x="-1787" y="45886"/>
                    <a:pt x="1264" y="42836"/>
                  </a:cubicBezTo>
                  <a:cubicBezTo>
                    <a:pt x="4315" y="27581"/>
                    <a:pt x="10416" y="18429"/>
                    <a:pt x="19569" y="9276"/>
                  </a:cubicBezTo>
                  <a:cubicBezTo>
                    <a:pt x="31772" y="123"/>
                    <a:pt x="47026" y="-2927"/>
                    <a:pt x="59230" y="3174"/>
                  </a:cubicBezTo>
                  <a:cubicBezTo>
                    <a:pt x="68382" y="6226"/>
                    <a:pt x="74484" y="12327"/>
                    <a:pt x="80586" y="18429"/>
                  </a:cubicBezTo>
                  <a:cubicBezTo>
                    <a:pt x="86687" y="24530"/>
                    <a:pt x="92789" y="30632"/>
                    <a:pt x="101942" y="33683"/>
                  </a:cubicBezTo>
                  <a:cubicBezTo>
                    <a:pt x="111094" y="33683"/>
                    <a:pt x="120247" y="30632"/>
                    <a:pt x="129399" y="24530"/>
                  </a:cubicBezTo>
                  <a:cubicBezTo>
                    <a:pt x="138552" y="18429"/>
                    <a:pt x="147704" y="12327"/>
                    <a:pt x="159908" y="15378"/>
                  </a:cubicBezTo>
                  <a:cubicBezTo>
                    <a:pt x="175162" y="15378"/>
                    <a:pt x="187365" y="27581"/>
                    <a:pt x="196518" y="36734"/>
                  </a:cubicBezTo>
                  <a:cubicBezTo>
                    <a:pt x="199569" y="39785"/>
                    <a:pt x="202620" y="42836"/>
                    <a:pt x="205671" y="42836"/>
                  </a:cubicBezTo>
                  <a:cubicBezTo>
                    <a:pt x="217874" y="55039"/>
                    <a:pt x="236179" y="61140"/>
                    <a:pt x="254484" y="61140"/>
                  </a:cubicBezTo>
                  <a:cubicBezTo>
                    <a:pt x="257535" y="61140"/>
                    <a:pt x="260586" y="64191"/>
                    <a:pt x="260586" y="67242"/>
                  </a:cubicBezTo>
                  <a:cubicBezTo>
                    <a:pt x="257535" y="73344"/>
                    <a:pt x="254484" y="76395"/>
                    <a:pt x="251433" y="76395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3980AECE-7DC8-4CEA-A6BF-A1710621160D}"/>
                </a:ext>
              </a:extLst>
            </p:cNvPr>
            <p:cNvSpPr/>
            <p:nvPr/>
          </p:nvSpPr>
          <p:spPr>
            <a:xfrm>
              <a:off x="4082157" y="8606883"/>
              <a:ext cx="289539" cy="79920"/>
            </a:xfrm>
            <a:custGeom>
              <a:avLst/>
              <a:gdLst>
                <a:gd name="connsiteX0" fmla="*/ 286017 w 289539"/>
                <a:gd name="connsiteY0" fmla="*/ 79921 h 79920"/>
                <a:gd name="connsiteX1" fmla="*/ 279915 w 289539"/>
                <a:gd name="connsiteY1" fmla="*/ 73819 h 79920"/>
                <a:gd name="connsiteX2" fmla="*/ 267712 w 289539"/>
                <a:gd name="connsiteY2" fmla="*/ 55514 h 79920"/>
                <a:gd name="connsiteX3" fmla="*/ 215847 w 289539"/>
                <a:gd name="connsiteY3" fmla="*/ 46361 h 79920"/>
                <a:gd name="connsiteX4" fmla="*/ 167034 w 289539"/>
                <a:gd name="connsiteY4" fmla="*/ 28056 h 79920"/>
                <a:gd name="connsiteX5" fmla="*/ 142627 w 289539"/>
                <a:gd name="connsiteY5" fmla="*/ 15853 h 79920"/>
                <a:gd name="connsiteX6" fmla="*/ 96864 w 289539"/>
                <a:gd name="connsiteY6" fmla="*/ 28056 h 79920"/>
                <a:gd name="connsiteX7" fmla="*/ 57203 w 289539"/>
                <a:gd name="connsiteY7" fmla="*/ 37209 h 79920"/>
                <a:gd name="connsiteX8" fmla="*/ 11441 w 289539"/>
                <a:gd name="connsiteY8" fmla="*/ 55514 h 79920"/>
                <a:gd name="connsiteX9" fmla="*/ 2288 w 289539"/>
                <a:gd name="connsiteY9" fmla="*/ 55514 h 79920"/>
                <a:gd name="connsiteX10" fmla="*/ 2288 w 289539"/>
                <a:gd name="connsiteY10" fmla="*/ 46361 h 79920"/>
                <a:gd name="connsiteX11" fmla="*/ 60254 w 289539"/>
                <a:gd name="connsiteY11" fmla="*/ 21954 h 79920"/>
                <a:gd name="connsiteX12" fmla="*/ 87712 w 289539"/>
                <a:gd name="connsiteY12" fmla="*/ 15853 h 79920"/>
                <a:gd name="connsiteX13" fmla="*/ 139576 w 289539"/>
                <a:gd name="connsiteY13" fmla="*/ 598 h 79920"/>
                <a:gd name="connsiteX14" fmla="*/ 170085 w 289539"/>
                <a:gd name="connsiteY14" fmla="*/ 15853 h 79920"/>
                <a:gd name="connsiteX15" fmla="*/ 209746 w 289539"/>
                <a:gd name="connsiteY15" fmla="*/ 34158 h 79920"/>
                <a:gd name="connsiteX16" fmla="*/ 270763 w 289539"/>
                <a:gd name="connsiteY16" fmla="*/ 46361 h 79920"/>
                <a:gd name="connsiteX17" fmla="*/ 286017 w 289539"/>
                <a:gd name="connsiteY17" fmla="*/ 73819 h 79920"/>
                <a:gd name="connsiteX18" fmla="*/ 286017 w 289539"/>
                <a:gd name="connsiteY18" fmla="*/ 79921 h 79920"/>
                <a:gd name="connsiteX19" fmla="*/ 286017 w 289539"/>
                <a:gd name="connsiteY19" fmla="*/ 79921 h 7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539" h="79920">
                  <a:moveTo>
                    <a:pt x="286017" y="79921"/>
                  </a:moveTo>
                  <a:cubicBezTo>
                    <a:pt x="282966" y="79921"/>
                    <a:pt x="279915" y="76870"/>
                    <a:pt x="279915" y="73819"/>
                  </a:cubicBezTo>
                  <a:cubicBezTo>
                    <a:pt x="279915" y="64666"/>
                    <a:pt x="273814" y="58564"/>
                    <a:pt x="267712" y="55514"/>
                  </a:cubicBezTo>
                  <a:cubicBezTo>
                    <a:pt x="252458" y="46361"/>
                    <a:pt x="228051" y="43310"/>
                    <a:pt x="215847" y="46361"/>
                  </a:cubicBezTo>
                  <a:cubicBezTo>
                    <a:pt x="200593" y="49412"/>
                    <a:pt x="182288" y="37209"/>
                    <a:pt x="167034" y="28056"/>
                  </a:cubicBezTo>
                  <a:cubicBezTo>
                    <a:pt x="157881" y="21954"/>
                    <a:pt x="148729" y="15853"/>
                    <a:pt x="142627" y="15853"/>
                  </a:cubicBezTo>
                  <a:cubicBezTo>
                    <a:pt x="121271" y="12802"/>
                    <a:pt x="109068" y="21954"/>
                    <a:pt x="96864" y="28056"/>
                  </a:cubicBezTo>
                  <a:cubicBezTo>
                    <a:pt x="84661" y="34158"/>
                    <a:pt x="75508" y="43310"/>
                    <a:pt x="57203" y="37209"/>
                  </a:cubicBezTo>
                  <a:cubicBezTo>
                    <a:pt x="35847" y="28056"/>
                    <a:pt x="11441" y="55514"/>
                    <a:pt x="11441" y="55514"/>
                  </a:cubicBezTo>
                  <a:cubicBezTo>
                    <a:pt x="8390" y="58564"/>
                    <a:pt x="5339" y="58564"/>
                    <a:pt x="2288" y="55514"/>
                  </a:cubicBezTo>
                  <a:cubicBezTo>
                    <a:pt x="-763" y="52463"/>
                    <a:pt x="-763" y="49412"/>
                    <a:pt x="2288" y="46361"/>
                  </a:cubicBezTo>
                  <a:cubicBezTo>
                    <a:pt x="2288" y="46361"/>
                    <a:pt x="29746" y="9751"/>
                    <a:pt x="60254" y="21954"/>
                  </a:cubicBezTo>
                  <a:cubicBezTo>
                    <a:pt x="69407" y="25005"/>
                    <a:pt x="75508" y="21954"/>
                    <a:pt x="87712" y="15853"/>
                  </a:cubicBezTo>
                  <a:cubicBezTo>
                    <a:pt x="99915" y="6700"/>
                    <a:pt x="115169" y="-2453"/>
                    <a:pt x="139576" y="598"/>
                  </a:cubicBezTo>
                  <a:cubicBezTo>
                    <a:pt x="148729" y="598"/>
                    <a:pt x="157881" y="6700"/>
                    <a:pt x="170085" y="15853"/>
                  </a:cubicBezTo>
                  <a:cubicBezTo>
                    <a:pt x="182288" y="25005"/>
                    <a:pt x="200593" y="34158"/>
                    <a:pt x="209746" y="34158"/>
                  </a:cubicBezTo>
                  <a:cubicBezTo>
                    <a:pt x="225000" y="31107"/>
                    <a:pt x="252458" y="31107"/>
                    <a:pt x="270763" y="46361"/>
                  </a:cubicBezTo>
                  <a:cubicBezTo>
                    <a:pt x="279915" y="52463"/>
                    <a:pt x="286017" y="61615"/>
                    <a:pt x="286017" y="73819"/>
                  </a:cubicBezTo>
                  <a:cubicBezTo>
                    <a:pt x="292119" y="76870"/>
                    <a:pt x="289068" y="79921"/>
                    <a:pt x="286017" y="79921"/>
                  </a:cubicBezTo>
                  <a:cubicBezTo>
                    <a:pt x="286017" y="79921"/>
                    <a:pt x="286017" y="79921"/>
                    <a:pt x="286017" y="79921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F7231F63-F8FA-4C24-ACF7-78D58F71B525}"/>
                </a:ext>
              </a:extLst>
            </p:cNvPr>
            <p:cNvSpPr/>
            <p:nvPr/>
          </p:nvSpPr>
          <p:spPr>
            <a:xfrm>
              <a:off x="4871564" y="9741573"/>
              <a:ext cx="442583" cy="678393"/>
            </a:xfrm>
            <a:custGeom>
              <a:avLst/>
              <a:gdLst>
                <a:gd name="connsiteX0" fmla="*/ 0 w 442583"/>
                <a:gd name="connsiteY0" fmla="*/ 61840 h 678393"/>
                <a:gd name="connsiteX1" fmla="*/ 250170 w 442583"/>
                <a:gd name="connsiteY1" fmla="*/ 644552 h 678393"/>
                <a:gd name="connsiteX2" fmla="*/ 442373 w 442583"/>
                <a:gd name="connsiteY2" fmla="*/ 559128 h 678393"/>
                <a:gd name="connsiteX3" fmla="*/ 100678 w 442583"/>
                <a:gd name="connsiteY3" fmla="*/ 823 h 678393"/>
                <a:gd name="connsiteX4" fmla="*/ 0 w 442583"/>
                <a:gd name="connsiteY4" fmla="*/ 61840 h 67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2583" h="678393">
                  <a:moveTo>
                    <a:pt x="0" y="61840"/>
                  </a:moveTo>
                  <a:cubicBezTo>
                    <a:pt x="0" y="61840"/>
                    <a:pt x="180000" y="586586"/>
                    <a:pt x="250170" y="644552"/>
                  </a:cubicBezTo>
                  <a:cubicBezTo>
                    <a:pt x="320339" y="702518"/>
                    <a:pt x="448475" y="693365"/>
                    <a:pt x="442373" y="559128"/>
                  </a:cubicBezTo>
                  <a:cubicBezTo>
                    <a:pt x="436271" y="421840"/>
                    <a:pt x="103729" y="9976"/>
                    <a:pt x="100678" y="823"/>
                  </a:cubicBezTo>
                  <a:cubicBezTo>
                    <a:pt x="94576" y="-8330"/>
                    <a:pt x="0" y="61840"/>
                    <a:pt x="0" y="61840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32E51826-9035-4924-A168-E02475DEDC41}"/>
                </a:ext>
              </a:extLst>
            </p:cNvPr>
            <p:cNvSpPr/>
            <p:nvPr/>
          </p:nvSpPr>
          <p:spPr>
            <a:xfrm>
              <a:off x="3697157" y="9756439"/>
              <a:ext cx="330689" cy="884399"/>
            </a:xfrm>
            <a:custGeom>
              <a:avLst/>
              <a:gdLst>
                <a:gd name="connsiteX0" fmla="*/ 21186 w 330689"/>
                <a:gd name="connsiteY0" fmla="*/ 1212 h 884399"/>
                <a:gd name="connsiteX1" fmla="*/ 2881 w 330689"/>
                <a:gd name="connsiteY1" fmla="*/ 324602 h 884399"/>
                <a:gd name="connsiteX2" fmla="*/ 85254 w 330689"/>
                <a:gd name="connsiteY2" fmla="*/ 876805 h 884399"/>
                <a:gd name="connsiteX3" fmla="*/ 329322 w 330689"/>
                <a:gd name="connsiteY3" fmla="*/ 641890 h 884399"/>
                <a:gd name="connsiteX4" fmla="*/ 21186 w 330689"/>
                <a:gd name="connsiteY4" fmla="*/ 1212 h 88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0689" h="884399">
                  <a:moveTo>
                    <a:pt x="21186" y="1212"/>
                  </a:moveTo>
                  <a:cubicBezTo>
                    <a:pt x="21186" y="1212"/>
                    <a:pt x="-9322" y="217822"/>
                    <a:pt x="2881" y="324602"/>
                  </a:cubicBezTo>
                  <a:cubicBezTo>
                    <a:pt x="15085" y="431381"/>
                    <a:pt x="54746" y="818839"/>
                    <a:pt x="85254" y="876805"/>
                  </a:cubicBezTo>
                  <a:cubicBezTo>
                    <a:pt x="115763" y="934771"/>
                    <a:pt x="329322" y="641890"/>
                    <a:pt x="329322" y="641890"/>
                  </a:cubicBezTo>
                  <a:cubicBezTo>
                    <a:pt x="329322" y="641890"/>
                    <a:pt x="368983" y="-32347"/>
                    <a:pt x="21186" y="1212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171875E-5680-4236-BDDF-EC57BE3416A8}"/>
                </a:ext>
              </a:extLst>
            </p:cNvPr>
            <p:cNvSpPr/>
            <p:nvPr/>
          </p:nvSpPr>
          <p:spPr>
            <a:xfrm>
              <a:off x="3774442" y="10151210"/>
              <a:ext cx="422961" cy="540675"/>
            </a:xfrm>
            <a:custGeom>
              <a:avLst/>
              <a:gdLst>
                <a:gd name="connsiteX0" fmla="*/ 337461 w 422961"/>
                <a:gd name="connsiteY0" fmla="*/ 0 h 540675"/>
                <a:gd name="connsiteX1" fmla="*/ 4919 w 422961"/>
                <a:gd name="connsiteY1" fmla="*/ 378305 h 540675"/>
                <a:gd name="connsiteX2" fmla="*/ 139156 w 422961"/>
                <a:gd name="connsiteY2" fmla="*/ 527796 h 540675"/>
                <a:gd name="connsiteX3" fmla="*/ 422885 w 422961"/>
                <a:gd name="connsiteY3" fmla="*/ 73220 h 540675"/>
                <a:gd name="connsiteX4" fmla="*/ 337461 w 422961"/>
                <a:gd name="connsiteY4" fmla="*/ 0 h 54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2961" h="540675">
                  <a:moveTo>
                    <a:pt x="337461" y="0"/>
                  </a:moveTo>
                  <a:cubicBezTo>
                    <a:pt x="337461" y="0"/>
                    <a:pt x="26275" y="292882"/>
                    <a:pt x="4919" y="378305"/>
                  </a:cubicBezTo>
                  <a:cubicBezTo>
                    <a:pt x="-16437" y="463728"/>
                    <a:pt x="32376" y="579661"/>
                    <a:pt x="139156" y="527796"/>
                  </a:cubicBezTo>
                  <a:cubicBezTo>
                    <a:pt x="245936" y="475932"/>
                    <a:pt x="416783" y="79322"/>
                    <a:pt x="422885" y="73220"/>
                  </a:cubicBezTo>
                  <a:cubicBezTo>
                    <a:pt x="425936" y="64068"/>
                    <a:pt x="337461" y="0"/>
                    <a:pt x="337461" y="0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8552B687-CB2E-4C81-BD0D-EE189AC1F0B9}"/>
                </a:ext>
              </a:extLst>
            </p:cNvPr>
            <p:cNvSpPr/>
            <p:nvPr/>
          </p:nvSpPr>
          <p:spPr>
            <a:xfrm>
              <a:off x="4063089" y="9296973"/>
              <a:ext cx="311186" cy="79881"/>
            </a:xfrm>
            <a:custGeom>
              <a:avLst/>
              <a:gdLst>
                <a:gd name="connsiteX0" fmla="*/ 30508 w 311186"/>
                <a:gd name="connsiteY0" fmla="*/ 24406 h 79881"/>
                <a:gd name="connsiteX1" fmla="*/ 164746 w 311186"/>
                <a:gd name="connsiteY1" fmla="*/ 51864 h 79881"/>
                <a:gd name="connsiteX2" fmla="*/ 274576 w 311186"/>
                <a:gd name="connsiteY2" fmla="*/ 0 h 79881"/>
                <a:gd name="connsiteX3" fmla="*/ 311186 w 311186"/>
                <a:gd name="connsiteY3" fmla="*/ 3051 h 79881"/>
                <a:gd name="connsiteX4" fmla="*/ 170848 w 311186"/>
                <a:gd name="connsiteY4" fmla="*/ 79322 h 79881"/>
                <a:gd name="connsiteX5" fmla="*/ 0 w 311186"/>
                <a:gd name="connsiteY5" fmla="*/ 39661 h 79881"/>
                <a:gd name="connsiteX6" fmla="*/ 30508 w 311186"/>
                <a:gd name="connsiteY6" fmla="*/ 24406 h 79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186" h="79881">
                  <a:moveTo>
                    <a:pt x="30508" y="24406"/>
                  </a:moveTo>
                  <a:cubicBezTo>
                    <a:pt x="30508" y="24406"/>
                    <a:pt x="106780" y="57966"/>
                    <a:pt x="164746" y="51864"/>
                  </a:cubicBezTo>
                  <a:cubicBezTo>
                    <a:pt x="222712" y="45763"/>
                    <a:pt x="274576" y="0"/>
                    <a:pt x="274576" y="0"/>
                  </a:cubicBezTo>
                  <a:lnTo>
                    <a:pt x="311186" y="3051"/>
                  </a:lnTo>
                  <a:cubicBezTo>
                    <a:pt x="311186" y="3051"/>
                    <a:pt x="237966" y="73220"/>
                    <a:pt x="170848" y="79322"/>
                  </a:cubicBezTo>
                  <a:cubicBezTo>
                    <a:pt x="103729" y="85423"/>
                    <a:pt x="0" y="39661"/>
                    <a:pt x="0" y="39661"/>
                  </a:cubicBezTo>
                  <a:lnTo>
                    <a:pt x="30508" y="24406"/>
                  </a:lnTo>
                  <a:close/>
                </a:path>
              </a:pathLst>
            </a:custGeom>
            <a:solidFill>
              <a:srgbClr val="F1DDBA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7BCA8DB7-3530-4F29-A189-C4088C7AB70F}"/>
                </a:ext>
              </a:extLst>
            </p:cNvPr>
            <p:cNvSpPr/>
            <p:nvPr/>
          </p:nvSpPr>
          <p:spPr>
            <a:xfrm>
              <a:off x="3639022" y="9453356"/>
              <a:ext cx="421016" cy="592010"/>
            </a:xfrm>
            <a:custGeom>
              <a:avLst/>
              <a:gdLst>
                <a:gd name="connsiteX0" fmla="*/ 0 w 421016"/>
                <a:gd name="connsiteY0" fmla="*/ 578871 h 592010"/>
                <a:gd name="connsiteX1" fmla="*/ 170847 w 421016"/>
                <a:gd name="connsiteY1" fmla="*/ 2261 h 592010"/>
                <a:gd name="connsiteX2" fmla="*/ 421017 w 421016"/>
                <a:gd name="connsiteY2" fmla="*/ 536159 h 592010"/>
                <a:gd name="connsiteX3" fmla="*/ 0 w 421016"/>
                <a:gd name="connsiteY3" fmla="*/ 578871 h 592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1016" h="592010">
                  <a:moveTo>
                    <a:pt x="0" y="578871"/>
                  </a:moveTo>
                  <a:cubicBezTo>
                    <a:pt x="0" y="578871"/>
                    <a:pt x="27458" y="41922"/>
                    <a:pt x="170847" y="2261"/>
                  </a:cubicBezTo>
                  <a:cubicBezTo>
                    <a:pt x="335593" y="-40451"/>
                    <a:pt x="421017" y="536159"/>
                    <a:pt x="421017" y="536159"/>
                  </a:cubicBezTo>
                  <a:cubicBezTo>
                    <a:pt x="421017" y="536159"/>
                    <a:pt x="210508" y="624634"/>
                    <a:pt x="0" y="578871"/>
                  </a:cubicBezTo>
                  <a:close/>
                </a:path>
              </a:pathLst>
            </a:custGeom>
            <a:solidFill>
              <a:srgbClr val="7F95BC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3C4076CF-3212-4002-8CAE-6A09D020E8F2}"/>
                </a:ext>
              </a:extLst>
            </p:cNvPr>
            <p:cNvSpPr/>
            <p:nvPr/>
          </p:nvSpPr>
          <p:spPr>
            <a:xfrm>
              <a:off x="3806818" y="9449515"/>
              <a:ext cx="262372" cy="585762"/>
            </a:xfrm>
            <a:custGeom>
              <a:avLst/>
              <a:gdLst>
                <a:gd name="connsiteX0" fmla="*/ 125085 w 262372"/>
                <a:gd name="connsiteY0" fmla="*/ 585762 h 585762"/>
                <a:gd name="connsiteX1" fmla="*/ 118983 w 262372"/>
                <a:gd name="connsiteY1" fmla="*/ 579661 h 585762"/>
                <a:gd name="connsiteX2" fmla="*/ 125085 w 262372"/>
                <a:gd name="connsiteY2" fmla="*/ 573559 h 585762"/>
                <a:gd name="connsiteX3" fmla="*/ 250170 w 262372"/>
                <a:gd name="connsiteY3" fmla="*/ 536949 h 585762"/>
                <a:gd name="connsiteX4" fmla="*/ 164746 w 262372"/>
                <a:gd name="connsiteY4" fmla="*/ 192203 h 585762"/>
                <a:gd name="connsiteX5" fmla="*/ 6102 w 262372"/>
                <a:gd name="connsiteY5" fmla="*/ 12203 h 585762"/>
                <a:gd name="connsiteX6" fmla="*/ 0 w 262372"/>
                <a:gd name="connsiteY6" fmla="*/ 6102 h 585762"/>
                <a:gd name="connsiteX7" fmla="*/ 6102 w 262372"/>
                <a:gd name="connsiteY7" fmla="*/ 0 h 585762"/>
                <a:gd name="connsiteX8" fmla="*/ 176949 w 262372"/>
                <a:gd name="connsiteY8" fmla="*/ 189152 h 585762"/>
                <a:gd name="connsiteX9" fmla="*/ 262373 w 262372"/>
                <a:gd name="connsiteY9" fmla="*/ 539999 h 585762"/>
                <a:gd name="connsiteX10" fmla="*/ 262373 w 262372"/>
                <a:gd name="connsiteY10" fmla="*/ 543051 h 585762"/>
                <a:gd name="connsiteX11" fmla="*/ 259322 w 262372"/>
                <a:gd name="connsiteY11" fmla="*/ 546102 h 585762"/>
                <a:gd name="connsiteX12" fmla="*/ 125085 w 262372"/>
                <a:gd name="connsiteY12" fmla="*/ 585762 h 585762"/>
                <a:gd name="connsiteX13" fmla="*/ 125085 w 262372"/>
                <a:gd name="connsiteY13" fmla="*/ 585762 h 58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2372" h="585762">
                  <a:moveTo>
                    <a:pt x="125085" y="585762"/>
                  </a:moveTo>
                  <a:cubicBezTo>
                    <a:pt x="122034" y="585762"/>
                    <a:pt x="118983" y="582712"/>
                    <a:pt x="118983" y="579661"/>
                  </a:cubicBezTo>
                  <a:cubicBezTo>
                    <a:pt x="118983" y="576610"/>
                    <a:pt x="122034" y="573559"/>
                    <a:pt x="125085" y="573559"/>
                  </a:cubicBezTo>
                  <a:cubicBezTo>
                    <a:pt x="180000" y="564407"/>
                    <a:pt x="234915" y="543051"/>
                    <a:pt x="250170" y="536949"/>
                  </a:cubicBezTo>
                  <a:cubicBezTo>
                    <a:pt x="244068" y="509491"/>
                    <a:pt x="213559" y="350847"/>
                    <a:pt x="164746" y="192203"/>
                  </a:cubicBezTo>
                  <a:cubicBezTo>
                    <a:pt x="115932" y="21356"/>
                    <a:pt x="6102" y="12203"/>
                    <a:pt x="6102" y="12203"/>
                  </a:cubicBezTo>
                  <a:cubicBezTo>
                    <a:pt x="3051" y="12203"/>
                    <a:pt x="0" y="9152"/>
                    <a:pt x="0" y="6102"/>
                  </a:cubicBezTo>
                  <a:cubicBezTo>
                    <a:pt x="0" y="3051"/>
                    <a:pt x="3051" y="0"/>
                    <a:pt x="6102" y="0"/>
                  </a:cubicBezTo>
                  <a:cubicBezTo>
                    <a:pt x="12203" y="0"/>
                    <a:pt x="125085" y="9152"/>
                    <a:pt x="176949" y="189152"/>
                  </a:cubicBezTo>
                  <a:cubicBezTo>
                    <a:pt x="228814" y="363051"/>
                    <a:pt x="262373" y="536949"/>
                    <a:pt x="262373" y="539999"/>
                  </a:cubicBezTo>
                  <a:lnTo>
                    <a:pt x="262373" y="543051"/>
                  </a:lnTo>
                  <a:lnTo>
                    <a:pt x="259322" y="546102"/>
                  </a:lnTo>
                  <a:cubicBezTo>
                    <a:pt x="256271" y="546102"/>
                    <a:pt x="189153" y="576610"/>
                    <a:pt x="125085" y="585762"/>
                  </a:cubicBezTo>
                  <a:cubicBezTo>
                    <a:pt x="125085" y="585762"/>
                    <a:pt x="125085" y="585762"/>
                    <a:pt x="125085" y="585762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C05C22E2-D6B4-46EE-9170-C81FCD5F43C4}"/>
                </a:ext>
              </a:extLst>
            </p:cNvPr>
            <p:cNvSpPr/>
            <p:nvPr/>
          </p:nvSpPr>
          <p:spPr>
            <a:xfrm>
              <a:off x="4111903" y="9976145"/>
              <a:ext cx="161969" cy="175064"/>
            </a:xfrm>
            <a:custGeom>
              <a:avLst/>
              <a:gdLst>
                <a:gd name="connsiteX0" fmla="*/ 0 w 161969"/>
                <a:gd name="connsiteY0" fmla="*/ 175065 h 175064"/>
                <a:gd name="connsiteX1" fmla="*/ 42712 w 161969"/>
                <a:gd name="connsiteY1" fmla="*/ 19471 h 175064"/>
                <a:gd name="connsiteX2" fmla="*/ 161695 w 161969"/>
                <a:gd name="connsiteY2" fmla="*/ 10319 h 175064"/>
                <a:gd name="connsiteX3" fmla="*/ 54915 w 161969"/>
                <a:gd name="connsiteY3" fmla="*/ 129302 h 175064"/>
                <a:gd name="connsiteX4" fmla="*/ 0 w 161969"/>
                <a:gd name="connsiteY4" fmla="*/ 175065 h 175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69" h="175064">
                  <a:moveTo>
                    <a:pt x="0" y="175065"/>
                  </a:moveTo>
                  <a:cubicBezTo>
                    <a:pt x="0" y="175065"/>
                    <a:pt x="15254" y="37777"/>
                    <a:pt x="42712" y="19471"/>
                  </a:cubicBezTo>
                  <a:cubicBezTo>
                    <a:pt x="82373" y="-7986"/>
                    <a:pt x="155593" y="-1885"/>
                    <a:pt x="161695" y="10319"/>
                  </a:cubicBezTo>
                  <a:cubicBezTo>
                    <a:pt x="167797" y="22522"/>
                    <a:pt x="70169" y="114048"/>
                    <a:pt x="54915" y="129302"/>
                  </a:cubicBezTo>
                  <a:cubicBezTo>
                    <a:pt x="42712" y="141505"/>
                    <a:pt x="0" y="175065"/>
                    <a:pt x="0" y="175065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6" name="图形 114">
              <a:extLst>
                <a:ext uri="{FF2B5EF4-FFF2-40B4-BE49-F238E27FC236}">
                  <a16:creationId xmlns:a16="http://schemas.microsoft.com/office/drawing/2014/main" id="{B2B52BCD-8F79-4CEC-AC2C-30F5CFDEB2AA}"/>
                </a:ext>
              </a:extLst>
            </p:cNvPr>
            <p:cNvGrpSpPr/>
            <p:nvPr/>
          </p:nvGrpSpPr>
          <p:grpSpPr>
            <a:xfrm>
              <a:off x="4227835" y="9669176"/>
              <a:ext cx="848135" cy="704745"/>
              <a:chOff x="4227835" y="9669176"/>
              <a:chExt cx="848135" cy="704745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864FDB5D-0924-4BF7-AEF7-5CD31C1F0BB4}"/>
                  </a:ext>
                </a:extLst>
              </p:cNvPr>
              <p:cNvSpPr/>
              <p:nvPr/>
            </p:nvSpPr>
            <p:spPr>
              <a:xfrm>
                <a:off x="4255293" y="9669176"/>
                <a:ext cx="774915" cy="350847"/>
              </a:xfrm>
              <a:custGeom>
                <a:avLst/>
                <a:gdLst>
                  <a:gd name="connsiteX0" fmla="*/ 774915 w 774915"/>
                  <a:gd name="connsiteY0" fmla="*/ 36611 h 350847"/>
                  <a:gd name="connsiteX1" fmla="*/ 723051 w 774915"/>
                  <a:gd name="connsiteY1" fmla="*/ 0 h 350847"/>
                  <a:gd name="connsiteX2" fmla="*/ 427119 w 774915"/>
                  <a:gd name="connsiteY2" fmla="*/ 225763 h 350847"/>
                  <a:gd name="connsiteX3" fmla="*/ 76271 w 774915"/>
                  <a:gd name="connsiteY3" fmla="*/ 106780 h 350847"/>
                  <a:gd name="connsiteX4" fmla="*/ 0 w 774915"/>
                  <a:gd name="connsiteY4" fmla="*/ 146441 h 350847"/>
                  <a:gd name="connsiteX5" fmla="*/ 305085 w 774915"/>
                  <a:gd name="connsiteY5" fmla="*/ 329492 h 350847"/>
                  <a:gd name="connsiteX6" fmla="*/ 543051 w 774915"/>
                  <a:gd name="connsiteY6" fmla="*/ 350847 h 350847"/>
                  <a:gd name="connsiteX7" fmla="*/ 774915 w 774915"/>
                  <a:gd name="connsiteY7" fmla="*/ 36611 h 350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74915" h="350847">
                    <a:moveTo>
                      <a:pt x="774915" y="36611"/>
                    </a:moveTo>
                    <a:lnTo>
                      <a:pt x="723051" y="0"/>
                    </a:lnTo>
                    <a:cubicBezTo>
                      <a:pt x="723051" y="0"/>
                      <a:pt x="509491" y="128136"/>
                      <a:pt x="427119" y="225763"/>
                    </a:cubicBezTo>
                    <a:cubicBezTo>
                      <a:pt x="427119" y="225763"/>
                      <a:pt x="225763" y="125085"/>
                      <a:pt x="76271" y="106780"/>
                    </a:cubicBezTo>
                    <a:lnTo>
                      <a:pt x="0" y="146441"/>
                    </a:lnTo>
                    <a:lnTo>
                      <a:pt x="305085" y="329492"/>
                    </a:lnTo>
                    <a:lnTo>
                      <a:pt x="543051" y="350847"/>
                    </a:lnTo>
                    <a:lnTo>
                      <a:pt x="774915" y="36611"/>
                    </a:lnTo>
                    <a:close/>
                  </a:path>
                </a:pathLst>
              </a:custGeom>
              <a:solidFill>
                <a:srgbClr val="FFFFFF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887A9562-DC79-43E1-A062-5AE341B7FF89}"/>
                  </a:ext>
                </a:extLst>
              </p:cNvPr>
              <p:cNvSpPr/>
              <p:nvPr/>
            </p:nvSpPr>
            <p:spPr>
              <a:xfrm>
                <a:off x="4227835" y="9687481"/>
                <a:ext cx="848135" cy="683389"/>
              </a:xfrm>
              <a:custGeom>
                <a:avLst/>
                <a:gdLst>
                  <a:gd name="connsiteX0" fmla="*/ 832881 w 848135"/>
                  <a:gd name="connsiteY0" fmla="*/ 0 h 683389"/>
                  <a:gd name="connsiteX1" fmla="*/ 848136 w 848135"/>
                  <a:gd name="connsiteY1" fmla="*/ 414915 h 683389"/>
                  <a:gd name="connsiteX2" fmla="*/ 549153 w 848135"/>
                  <a:gd name="connsiteY2" fmla="*/ 665085 h 683389"/>
                  <a:gd name="connsiteX3" fmla="*/ 457627 w 848135"/>
                  <a:gd name="connsiteY3" fmla="*/ 683390 h 683389"/>
                  <a:gd name="connsiteX4" fmla="*/ 48814 w 848135"/>
                  <a:gd name="connsiteY4" fmla="*/ 582712 h 683389"/>
                  <a:gd name="connsiteX5" fmla="*/ 0 w 848135"/>
                  <a:gd name="connsiteY5" fmla="*/ 106780 h 683389"/>
                  <a:gd name="connsiteX6" fmla="*/ 405763 w 848135"/>
                  <a:gd name="connsiteY6" fmla="*/ 241017 h 683389"/>
                  <a:gd name="connsiteX7" fmla="*/ 500339 w 848135"/>
                  <a:gd name="connsiteY7" fmla="*/ 228814 h 683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8135" h="683389">
                    <a:moveTo>
                      <a:pt x="832881" y="0"/>
                    </a:moveTo>
                    <a:lnTo>
                      <a:pt x="848136" y="414915"/>
                    </a:lnTo>
                    <a:lnTo>
                      <a:pt x="549153" y="665085"/>
                    </a:lnTo>
                    <a:lnTo>
                      <a:pt x="457627" y="683390"/>
                    </a:lnTo>
                    <a:lnTo>
                      <a:pt x="48814" y="582712"/>
                    </a:lnTo>
                    <a:lnTo>
                      <a:pt x="0" y="106780"/>
                    </a:lnTo>
                    <a:lnTo>
                      <a:pt x="405763" y="241017"/>
                    </a:lnTo>
                    <a:lnTo>
                      <a:pt x="500339" y="228814"/>
                    </a:lnTo>
                    <a:close/>
                  </a:path>
                </a:pathLst>
              </a:custGeom>
              <a:solidFill>
                <a:srgbClr val="38333D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B24124EE-66F7-44CA-AF26-90AF004F7AED}"/>
                  </a:ext>
                </a:extLst>
              </p:cNvPr>
              <p:cNvSpPr/>
              <p:nvPr/>
            </p:nvSpPr>
            <p:spPr>
              <a:xfrm>
                <a:off x="4722072" y="9910194"/>
                <a:ext cx="61016" cy="448474"/>
              </a:xfrm>
              <a:custGeom>
                <a:avLst/>
                <a:gdLst>
                  <a:gd name="connsiteX0" fmla="*/ 54915 w 61016"/>
                  <a:gd name="connsiteY0" fmla="*/ 448474 h 448474"/>
                  <a:gd name="connsiteX1" fmla="*/ 48814 w 61016"/>
                  <a:gd name="connsiteY1" fmla="*/ 442373 h 448474"/>
                  <a:gd name="connsiteX2" fmla="*/ 0 w 61016"/>
                  <a:gd name="connsiteY2" fmla="*/ 6101 h 448474"/>
                  <a:gd name="connsiteX3" fmla="*/ 6102 w 61016"/>
                  <a:gd name="connsiteY3" fmla="*/ 0 h 448474"/>
                  <a:gd name="connsiteX4" fmla="*/ 12203 w 61016"/>
                  <a:gd name="connsiteY4" fmla="*/ 6101 h 448474"/>
                  <a:gd name="connsiteX5" fmla="*/ 61017 w 61016"/>
                  <a:gd name="connsiteY5" fmla="*/ 442373 h 448474"/>
                  <a:gd name="connsiteX6" fmla="*/ 54915 w 61016"/>
                  <a:gd name="connsiteY6" fmla="*/ 448474 h 448474"/>
                  <a:gd name="connsiteX7" fmla="*/ 54915 w 61016"/>
                  <a:gd name="connsiteY7" fmla="*/ 448474 h 448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1016" h="448474">
                    <a:moveTo>
                      <a:pt x="54915" y="448474"/>
                    </a:moveTo>
                    <a:cubicBezTo>
                      <a:pt x="51865" y="448474"/>
                      <a:pt x="48814" y="445423"/>
                      <a:pt x="48814" y="442373"/>
                    </a:cubicBezTo>
                    <a:lnTo>
                      <a:pt x="0" y="6101"/>
                    </a:lnTo>
                    <a:cubicBezTo>
                      <a:pt x="0" y="3050"/>
                      <a:pt x="3051" y="0"/>
                      <a:pt x="6102" y="0"/>
                    </a:cubicBezTo>
                    <a:cubicBezTo>
                      <a:pt x="9153" y="0"/>
                      <a:pt x="12203" y="3050"/>
                      <a:pt x="12203" y="6101"/>
                    </a:cubicBezTo>
                    <a:lnTo>
                      <a:pt x="61017" y="442373"/>
                    </a:lnTo>
                    <a:cubicBezTo>
                      <a:pt x="61017" y="445423"/>
                      <a:pt x="57966" y="448474"/>
                      <a:pt x="54915" y="448474"/>
                    </a:cubicBezTo>
                    <a:cubicBezTo>
                      <a:pt x="54915" y="448474"/>
                      <a:pt x="54915" y="448474"/>
                      <a:pt x="54915" y="44847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F96EDEDA-1796-4719-B1FB-B141592D032B}"/>
                  </a:ext>
                </a:extLst>
              </p:cNvPr>
              <p:cNvSpPr/>
              <p:nvPr/>
            </p:nvSpPr>
            <p:spPr>
              <a:xfrm>
                <a:off x="4627496" y="9922397"/>
                <a:ext cx="64067" cy="451525"/>
              </a:xfrm>
              <a:custGeom>
                <a:avLst/>
                <a:gdLst>
                  <a:gd name="connsiteX0" fmla="*/ 57966 w 64067"/>
                  <a:gd name="connsiteY0" fmla="*/ 451525 h 451525"/>
                  <a:gd name="connsiteX1" fmla="*/ 51865 w 64067"/>
                  <a:gd name="connsiteY1" fmla="*/ 445424 h 451525"/>
                  <a:gd name="connsiteX2" fmla="*/ 0 w 64067"/>
                  <a:gd name="connsiteY2" fmla="*/ 6101 h 451525"/>
                  <a:gd name="connsiteX3" fmla="*/ 6102 w 64067"/>
                  <a:gd name="connsiteY3" fmla="*/ 0 h 451525"/>
                  <a:gd name="connsiteX4" fmla="*/ 12203 w 64067"/>
                  <a:gd name="connsiteY4" fmla="*/ 6101 h 451525"/>
                  <a:gd name="connsiteX5" fmla="*/ 64068 w 64067"/>
                  <a:gd name="connsiteY5" fmla="*/ 445424 h 451525"/>
                  <a:gd name="connsiteX6" fmla="*/ 57966 w 64067"/>
                  <a:gd name="connsiteY6" fmla="*/ 451525 h 451525"/>
                  <a:gd name="connsiteX7" fmla="*/ 57966 w 64067"/>
                  <a:gd name="connsiteY7" fmla="*/ 451525 h 45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4067" h="451525">
                    <a:moveTo>
                      <a:pt x="57966" y="451525"/>
                    </a:moveTo>
                    <a:cubicBezTo>
                      <a:pt x="54915" y="451525"/>
                      <a:pt x="51865" y="448474"/>
                      <a:pt x="51865" y="445424"/>
                    </a:cubicBezTo>
                    <a:lnTo>
                      <a:pt x="0" y="6101"/>
                    </a:lnTo>
                    <a:cubicBezTo>
                      <a:pt x="0" y="3051"/>
                      <a:pt x="3051" y="0"/>
                      <a:pt x="6102" y="0"/>
                    </a:cubicBezTo>
                    <a:cubicBezTo>
                      <a:pt x="9153" y="0"/>
                      <a:pt x="12203" y="3051"/>
                      <a:pt x="12203" y="6101"/>
                    </a:cubicBezTo>
                    <a:lnTo>
                      <a:pt x="64068" y="445424"/>
                    </a:lnTo>
                    <a:cubicBezTo>
                      <a:pt x="64068" y="448474"/>
                      <a:pt x="61017" y="451525"/>
                      <a:pt x="57966" y="451525"/>
                    </a:cubicBezTo>
                    <a:cubicBezTo>
                      <a:pt x="57966" y="451525"/>
                      <a:pt x="57966" y="451525"/>
                      <a:pt x="57966" y="451525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7" name="图形 114">
              <a:extLst>
                <a:ext uri="{FF2B5EF4-FFF2-40B4-BE49-F238E27FC236}">
                  <a16:creationId xmlns:a16="http://schemas.microsoft.com/office/drawing/2014/main" id="{AF61BA09-339E-470E-93FC-06069AA368E0}"/>
                </a:ext>
              </a:extLst>
            </p:cNvPr>
            <p:cNvGrpSpPr/>
            <p:nvPr/>
          </p:nvGrpSpPr>
          <p:grpSpPr>
            <a:xfrm>
              <a:off x="4958863" y="9848122"/>
              <a:ext cx="181175" cy="163511"/>
              <a:chOff x="4958863" y="9848122"/>
              <a:chExt cx="181175" cy="163511"/>
            </a:xfrm>
          </p:grpSpPr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BA5708D3-E78C-4516-843F-257B12F72DF8}"/>
                  </a:ext>
                </a:extLst>
              </p:cNvPr>
              <p:cNvSpPr/>
              <p:nvPr/>
            </p:nvSpPr>
            <p:spPr>
              <a:xfrm>
                <a:off x="4958863" y="9849177"/>
                <a:ext cx="158680" cy="68643"/>
              </a:xfrm>
              <a:custGeom>
                <a:avLst/>
                <a:gdLst>
                  <a:gd name="connsiteX0" fmla="*/ 10328 w 158680"/>
                  <a:gd name="connsiteY0" fmla="*/ 24406 h 68643"/>
                  <a:gd name="connsiteX1" fmla="*/ 107955 w 158680"/>
                  <a:gd name="connsiteY1" fmla="*/ 3050 h 68643"/>
                  <a:gd name="connsiteX2" fmla="*/ 123209 w 158680"/>
                  <a:gd name="connsiteY2" fmla="*/ 0 h 68643"/>
                  <a:gd name="connsiteX3" fmla="*/ 138464 w 158680"/>
                  <a:gd name="connsiteY3" fmla="*/ 3050 h 68643"/>
                  <a:gd name="connsiteX4" fmla="*/ 156769 w 158680"/>
                  <a:gd name="connsiteY4" fmla="*/ 36610 h 68643"/>
                  <a:gd name="connsiteX5" fmla="*/ 114057 w 158680"/>
                  <a:gd name="connsiteY5" fmla="*/ 57966 h 68643"/>
                  <a:gd name="connsiteX6" fmla="*/ 53040 w 158680"/>
                  <a:gd name="connsiteY6" fmla="*/ 67118 h 68643"/>
                  <a:gd name="connsiteX7" fmla="*/ 10328 w 158680"/>
                  <a:gd name="connsiteY7" fmla="*/ 61017 h 68643"/>
                  <a:gd name="connsiteX8" fmla="*/ 10328 w 158680"/>
                  <a:gd name="connsiteY8" fmla="*/ 24406 h 68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8680" h="68643">
                    <a:moveTo>
                      <a:pt x="10328" y="24406"/>
                    </a:moveTo>
                    <a:cubicBezTo>
                      <a:pt x="34735" y="6101"/>
                      <a:pt x="71345" y="9152"/>
                      <a:pt x="107955" y="3050"/>
                    </a:cubicBezTo>
                    <a:cubicBezTo>
                      <a:pt x="111006" y="3050"/>
                      <a:pt x="120159" y="0"/>
                      <a:pt x="123209" y="0"/>
                    </a:cubicBezTo>
                    <a:cubicBezTo>
                      <a:pt x="129311" y="0"/>
                      <a:pt x="132362" y="0"/>
                      <a:pt x="138464" y="3050"/>
                    </a:cubicBezTo>
                    <a:cubicBezTo>
                      <a:pt x="153718" y="9152"/>
                      <a:pt x="162871" y="24406"/>
                      <a:pt x="156769" y="36610"/>
                    </a:cubicBezTo>
                    <a:cubicBezTo>
                      <a:pt x="150667" y="51864"/>
                      <a:pt x="129311" y="54915"/>
                      <a:pt x="114057" y="57966"/>
                    </a:cubicBezTo>
                    <a:cubicBezTo>
                      <a:pt x="92701" y="61017"/>
                      <a:pt x="71345" y="64067"/>
                      <a:pt x="53040" y="67118"/>
                    </a:cubicBezTo>
                    <a:cubicBezTo>
                      <a:pt x="37786" y="67118"/>
                      <a:pt x="19481" y="73220"/>
                      <a:pt x="10328" y="61017"/>
                    </a:cubicBezTo>
                    <a:cubicBezTo>
                      <a:pt x="-4926" y="48813"/>
                      <a:pt x="-1875" y="30508"/>
                      <a:pt x="10328" y="2440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84FA6E32-6AFE-42AF-9C0F-7BBBD8B1B577}"/>
                  </a:ext>
                </a:extLst>
              </p:cNvPr>
              <p:cNvSpPr/>
              <p:nvPr/>
            </p:nvSpPr>
            <p:spPr>
              <a:xfrm>
                <a:off x="4981255" y="9888837"/>
                <a:ext cx="157643" cy="68644"/>
              </a:xfrm>
              <a:custGeom>
                <a:avLst/>
                <a:gdLst>
                  <a:gd name="connsiteX0" fmla="*/ 9291 w 157643"/>
                  <a:gd name="connsiteY0" fmla="*/ 24406 h 68644"/>
                  <a:gd name="connsiteX1" fmla="*/ 113020 w 157643"/>
                  <a:gd name="connsiteY1" fmla="*/ 0 h 68644"/>
                  <a:gd name="connsiteX2" fmla="*/ 122173 w 157643"/>
                  <a:gd name="connsiteY2" fmla="*/ 0 h 68644"/>
                  <a:gd name="connsiteX3" fmla="*/ 137427 w 157643"/>
                  <a:gd name="connsiteY3" fmla="*/ 3051 h 68644"/>
                  <a:gd name="connsiteX4" fmla="*/ 155732 w 157643"/>
                  <a:gd name="connsiteY4" fmla="*/ 36611 h 68644"/>
                  <a:gd name="connsiteX5" fmla="*/ 113020 w 157643"/>
                  <a:gd name="connsiteY5" fmla="*/ 57966 h 68644"/>
                  <a:gd name="connsiteX6" fmla="*/ 52003 w 157643"/>
                  <a:gd name="connsiteY6" fmla="*/ 67119 h 68644"/>
                  <a:gd name="connsiteX7" fmla="*/ 9291 w 157643"/>
                  <a:gd name="connsiteY7" fmla="*/ 61017 h 68644"/>
                  <a:gd name="connsiteX8" fmla="*/ 9291 w 157643"/>
                  <a:gd name="connsiteY8" fmla="*/ 24406 h 68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643" h="68644">
                    <a:moveTo>
                      <a:pt x="9291" y="24406"/>
                    </a:moveTo>
                    <a:cubicBezTo>
                      <a:pt x="36749" y="-3051"/>
                      <a:pt x="76410" y="3051"/>
                      <a:pt x="113020" y="0"/>
                    </a:cubicBezTo>
                    <a:cubicBezTo>
                      <a:pt x="116071" y="0"/>
                      <a:pt x="119122" y="0"/>
                      <a:pt x="122173" y="0"/>
                    </a:cubicBezTo>
                    <a:cubicBezTo>
                      <a:pt x="128274" y="0"/>
                      <a:pt x="131325" y="0"/>
                      <a:pt x="137427" y="3051"/>
                    </a:cubicBezTo>
                    <a:cubicBezTo>
                      <a:pt x="152681" y="9152"/>
                      <a:pt x="161834" y="24406"/>
                      <a:pt x="155732" y="36611"/>
                    </a:cubicBezTo>
                    <a:cubicBezTo>
                      <a:pt x="149630" y="51865"/>
                      <a:pt x="128274" y="54915"/>
                      <a:pt x="113020" y="57966"/>
                    </a:cubicBezTo>
                    <a:cubicBezTo>
                      <a:pt x="91664" y="61017"/>
                      <a:pt x="70308" y="64068"/>
                      <a:pt x="52003" y="67119"/>
                    </a:cubicBezTo>
                    <a:cubicBezTo>
                      <a:pt x="39800" y="67119"/>
                      <a:pt x="18444" y="73220"/>
                      <a:pt x="9291" y="61017"/>
                    </a:cubicBezTo>
                    <a:cubicBezTo>
                      <a:pt x="-5963" y="45763"/>
                      <a:pt x="139" y="33560"/>
                      <a:pt x="9291" y="2440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29011E16-BBF3-46C0-B92A-F4DB0EF72AB5}"/>
                  </a:ext>
                </a:extLst>
              </p:cNvPr>
              <p:cNvSpPr/>
              <p:nvPr/>
            </p:nvSpPr>
            <p:spPr>
              <a:xfrm>
                <a:off x="4994173" y="9928498"/>
                <a:ext cx="135603" cy="59492"/>
              </a:xfrm>
              <a:custGeom>
                <a:avLst/>
                <a:gdLst>
                  <a:gd name="connsiteX0" fmla="*/ 8577 w 135603"/>
                  <a:gd name="connsiteY0" fmla="*/ 24407 h 59492"/>
                  <a:gd name="connsiteX1" fmla="*/ 100103 w 135603"/>
                  <a:gd name="connsiteY1" fmla="*/ 0 h 59492"/>
                  <a:gd name="connsiteX2" fmla="*/ 106204 w 135603"/>
                  <a:gd name="connsiteY2" fmla="*/ 0 h 59492"/>
                  <a:gd name="connsiteX3" fmla="*/ 118408 w 135603"/>
                  <a:gd name="connsiteY3" fmla="*/ 0 h 59492"/>
                  <a:gd name="connsiteX4" fmla="*/ 133662 w 135603"/>
                  <a:gd name="connsiteY4" fmla="*/ 30508 h 59492"/>
                  <a:gd name="connsiteX5" fmla="*/ 97052 w 135603"/>
                  <a:gd name="connsiteY5" fmla="*/ 48814 h 59492"/>
                  <a:gd name="connsiteX6" fmla="*/ 42136 w 135603"/>
                  <a:gd name="connsiteY6" fmla="*/ 57967 h 59492"/>
                  <a:gd name="connsiteX7" fmla="*/ 5526 w 135603"/>
                  <a:gd name="connsiteY7" fmla="*/ 51865 h 59492"/>
                  <a:gd name="connsiteX8" fmla="*/ 8577 w 135603"/>
                  <a:gd name="connsiteY8" fmla="*/ 24407 h 59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5603" h="59492">
                    <a:moveTo>
                      <a:pt x="8577" y="24407"/>
                    </a:moveTo>
                    <a:cubicBezTo>
                      <a:pt x="32984" y="0"/>
                      <a:pt x="69594" y="6102"/>
                      <a:pt x="100103" y="0"/>
                    </a:cubicBezTo>
                    <a:cubicBezTo>
                      <a:pt x="103153" y="0"/>
                      <a:pt x="106204" y="0"/>
                      <a:pt x="106204" y="0"/>
                    </a:cubicBezTo>
                    <a:cubicBezTo>
                      <a:pt x="112306" y="0"/>
                      <a:pt x="115357" y="0"/>
                      <a:pt x="118408" y="0"/>
                    </a:cubicBezTo>
                    <a:cubicBezTo>
                      <a:pt x="130611" y="3051"/>
                      <a:pt x="139763" y="18305"/>
                      <a:pt x="133662" y="30508"/>
                    </a:cubicBezTo>
                    <a:cubicBezTo>
                      <a:pt x="127560" y="45763"/>
                      <a:pt x="109255" y="45763"/>
                      <a:pt x="97052" y="48814"/>
                    </a:cubicBezTo>
                    <a:cubicBezTo>
                      <a:pt x="78747" y="51865"/>
                      <a:pt x="60441" y="54916"/>
                      <a:pt x="42136" y="57967"/>
                    </a:cubicBezTo>
                    <a:cubicBezTo>
                      <a:pt x="29933" y="57967"/>
                      <a:pt x="14679" y="64068"/>
                      <a:pt x="5526" y="51865"/>
                    </a:cubicBezTo>
                    <a:cubicBezTo>
                      <a:pt x="-3626" y="42713"/>
                      <a:pt x="-575" y="30508"/>
                      <a:pt x="8577" y="24407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08912364-025E-4FB7-840F-562C5932EDD2}"/>
                  </a:ext>
                </a:extLst>
              </p:cNvPr>
              <p:cNvSpPr/>
              <p:nvPr/>
            </p:nvSpPr>
            <p:spPr>
              <a:xfrm>
                <a:off x="5015279" y="9968159"/>
                <a:ext cx="101146" cy="43474"/>
              </a:xfrm>
              <a:custGeom>
                <a:avLst/>
                <a:gdLst>
                  <a:gd name="connsiteX0" fmla="*/ 5776 w 101146"/>
                  <a:gd name="connsiteY0" fmla="*/ 18305 h 43474"/>
                  <a:gd name="connsiteX1" fmla="*/ 72895 w 101146"/>
                  <a:gd name="connsiteY1" fmla="*/ 0 h 43474"/>
                  <a:gd name="connsiteX2" fmla="*/ 78997 w 101146"/>
                  <a:gd name="connsiteY2" fmla="*/ 0 h 43474"/>
                  <a:gd name="connsiteX3" fmla="*/ 88149 w 101146"/>
                  <a:gd name="connsiteY3" fmla="*/ 0 h 43474"/>
                  <a:gd name="connsiteX4" fmla="*/ 100353 w 101146"/>
                  <a:gd name="connsiteY4" fmla="*/ 21355 h 43474"/>
                  <a:gd name="connsiteX5" fmla="*/ 72895 w 101146"/>
                  <a:gd name="connsiteY5" fmla="*/ 36610 h 43474"/>
                  <a:gd name="connsiteX6" fmla="*/ 33234 w 101146"/>
                  <a:gd name="connsiteY6" fmla="*/ 42712 h 43474"/>
                  <a:gd name="connsiteX7" fmla="*/ 5776 w 101146"/>
                  <a:gd name="connsiteY7" fmla="*/ 39661 h 43474"/>
                  <a:gd name="connsiteX8" fmla="*/ 5776 w 101146"/>
                  <a:gd name="connsiteY8" fmla="*/ 18305 h 43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146" h="43474">
                    <a:moveTo>
                      <a:pt x="5776" y="18305"/>
                    </a:moveTo>
                    <a:cubicBezTo>
                      <a:pt x="24081" y="0"/>
                      <a:pt x="48488" y="3051"/>
                      <a:pt x="72895" y="0"/>
                    </a:cubicBezTo>
                    <a:cubicBezTo>
                      <a:pt x="75946" y="0"/>
                      <a:pt x="75946" y="0"/>
                      <a:pt x="78997" y="0"/>
                    </a:cubicBezTo>
                    <a:cubicBezTo>
                      <a:pt x="82048" y="0"/>
                      <a:pt x="85098" y="0"/>
                      <a:pt x="88149" y="0"/>
                    </a:cubicBezTo>
                    <a:cubicBezTo>
                      <a:pt x="97302" y="3051"/>
                      <a:pt x="103403" y="12203"/>
                      <a:pt x="100353" y="21355"/>
                    </a:cubicBezTo>
                    <a:cubicBezTo>
                      <a:pt x="97302" y="30508"/>
                      <a:pt x="82048" y="33560"/>
                      <a:pt x="72895" y="36610"/>
                    </a:cubicBezTo>
                    <a:cubicBezTo>
                      <a:pt x="60692" y="39661"/>
                      <a:pt x="45438" y="42712"/>
                      <a:pt x="33234" y="42712"/>
                    </a:cubicBezTo>
                    <a:cubicBezTo>
                      <a:pt x="24081" y="42712"/>
                      <a:pt x="11878" y="45763"/>
                      <a:pt x="5776" y="39661"/>
                    </a:cubicBezTo>
                    <a:cubicBezTo>
                      <a:pt x="-3376" y="33560"/>
                      <a:pt x="-325" y="24406"/>
                      <a:pt x="5776" y="18305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7881E2D9-3556-44C7-B2BA-0FA21D1A6C40}"/>
                  </a:ext>
                </a:extLst>
              </p:cNvPr>
              <p:cNvSpPr/>
              <p:nvPr/>
            </p:nvSpPr>
            <p:spPr>
              <a:xfrm>
                <a:off x="4974029" y="9848122"/>
                <a:ext cx="166009" cy="107834"/>
              </a:xfrm>
              <a:custGeom>
                <a:avLst/>
                <a:gdLst>
                  <a:gd name="connsiteX0" fmla="*/ 50077 w 166009"/>
                  <a:gd name="connsiteY0" fmla="*/ 107834 h 107834"/>
                  <a:gd name="connsiteX1" fmla="*/ 1264 w 166009"/>
                  <a:gd name="connsiteY1" fmla="*/ 86478 h 107834"/>
                  <a:gd name="connsiteX2" fmla="*/ 4314 w 166009"/>
                  <a:gd name="connsiteY2" fmla="*/ 65122 h 107834"/>
                  <a:gd name="connsiteX3" fmla="*/ 16518 w 166009"/>
                  <a:gd name="connsiteY3" fmla="*/ 59021 h 107834"/>
                  <a:gd name="connsiteX4" fmla="*/ 135501 w 166009"/>
                  <a:gd name="connsiteY4" fmla="*/ 22410 h 107834"/>
                  <a:gd name="connsiteX5" fmla="*/ 132450 w 166009"/>
                  <a:gd name="connsiteY5" fmla="*/ 16309 h 107834"/>
                  <a:gd name="connsiteX6" fmla="*/ 31772 w 166009"/>
                  <a:gd name="connsiteY6" fmla="*/ 19359 h 107834"/>
                  <a:gd name="connsiteX7" fmla="*/ 25671 w 166009"/>
                  <a:gd name="connsiteY7" fmla="*/ 16309 h 107834"/>
                  <a:gd name="connsiteX8" fmla="*/ 28721 w 166009"/>
                  <a:gd name="connsiteY8" fmla="*/ 10207 h 107834"/>
                  <a:gd name="connsiteX9" fmla="*/ 138552 w 166009"/>
                  <a:gd name="connsiteY9" fmla="*/ 10207 h 107834"/>
                  <a:gd name="connsiteX10" fmla="*/ 144653 w 166009"/>
                  <a:gd name="connsiteY10" fmla="*/ 25461 h 107834"/>
                  <a:gd name="connsiteX11" fmla="*/ 141603 w 166009"/>
                  <a:gd name="connsiteY11" fmla="*/ 37664 h 107834"/>
                  <a:gd name="connsiteX12" fmla="*/ 166009 w 166009"/>
                  <a:gd name="connsiteY12" fmla="*/ 71224 h 107834"/>
                  <a:gd name="connsiteX13" fmla="*/ 101942 w 166009"/>
                  <a:gd name="connsiteY13" fmla="*/ 104783 h 107834"/>
                  <a:gd name="connsiteX14" fmla="*/ 50077 w 166009"/>
                  <a:gd name="connsiteY14" fmla="*/ 107834 h 107834"/>
                  <a:gd name="connsiteX15" fmla="*/ 16518 w 166009"/>
                  <a:gd name="connsiteY15" fmla="*/ 71224 h 107834"/>
                  <a:gd name="connsiteX16" fmla="*/ 13467 w 166009"/>
                  <a:gd name="connsiteY16" fmla="*/ 74275 h 107834"/>
                  <a:gd name="connsiteX17" fmla="*/ 13467 w 166009"/>
                  <a:gd name="connsiteY17" fmla="*/ 83427 h 107834"/>
                  <a:gd name="connsiteX18" fmla="*/ 104993 w 166009"/>
                  <a:gd name="connsiteY18" fmla="*/ 92580 h 107834"/>
                  <a:gd name="connsiteX19" fmla="*/ 159908 w 166009"/>
                  <a:gd name="connsiteY19" fmla="*/ 68173 h 107834"/>
                  <a:gd name="connsiteX20" fmla="*/ 141603 w 166009"/>
                  <a:gd name="connsiteY20" fmla="*/ 43766 h 107834"/>
                  <a:gd name="connsiteX21" fmla="*/ 16518 w 166009"/>
                  <a:gd name="connsiteY21" fmla="*/ 71224 h 107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66009" h="107834">
                    <a:moveTo>
                      <a:pt x="50077" y="107834"/>
                    </a:moveTo>
                    <a:cubicBezTo>
                      <a:pt x="19569" y="107834"/>
                      <a:pt x="4314" y="101732"/>
                      <a:pt x="1264" y="86478"/>
                    </a:cubicBezTo>
                    <a:cubicBezTo>
                      <a:pt x="-1787" y="77326"/>
                      <a:pt x="1264" y="71224"/>
                      <a:pt x="4314" y="65122"/>
                    </a:cubicBezTo>
                    <a:cubicBezTo>
                      <a:pt x="10416" y="59021"/>
                      <a:pt x="16518" y="59021"/>
                      <a:pt x="16518" y="59021"/>
                    </a:cubicBezTo>
                    <a:cubicBezTo>
                      <a:pt x="135501" y="52918"/>
                      <a:pt x="135501" y="34613"/>
                      <a:pt x="135501" y="22410"/>
                    </a:cubicBezTo>
                    <a:cubicBezTo>
                      <a:pt x="135501" y="19359"/>
                      <a:pt x="135501" y="19359"/>
                      <a:pt x="132450" y="16309"/>
                    </a:cubicBezTo>
                    <a:cubicBezTo>
                      <a:pt x="117196" y="4105"/>
                      <a:pt x="65331" y="13258"/>
                      <a:pt x="31772" y="19359"/>
                    </a:cubicBezTo>
                    <a:cubicBezTo>
                      <a:pt x="28721" y="19359"/>
                      <a:pt x="25671" y="19359"/>
                      <a:pt x="25671" y="16309"/>
                    </a:cubicBezTo>
                    <a:cubicBezTo>
                      <a:pt x="25671" y="13258"/>
                      <a:pt x="25671" y="10207"/>
                      <a:pt x="28721" y="10207"/>
                    </a:cubicBezTo>
                    <a:cubicBezTo>
                      <a:pt x="37874" y="7156"/>
                      <a:pt x="114145" y="-11150"/>
                      <a:pt x="138552" y="10207"/>
                    </a:cubicBezTo>
                    <a:cubicBezTo>
                      <a:pt x="144653" y="13258"/>
                      <a:pt x="144653" y="19359"/>
                      <a:pt x="144653" y="25461"/>
                    </a:cubicBezTo>
                    <a:cubicBezTo>
                      <a:pt x="144653" y="28512"/>
                      <a:pt x="144653" y="31563"/>
                      <a:pt x="141603" y="37664"/>
                    </a:cubicBezTo>
                    <a:cubicBezTo>
                      <a:pt x="147704" y="40715"/>
                      <a:pt x="166009" y="52918"/>
                      <a:pt x="166009" y="71224"/>
                    </a:cubicBezTo>
                    <a:cubicBezTo>
                      <a:pt x="166009" y="92580"/>
                      <a:pt x="141603" y="98681"/>
                      <a:pt x="101942" y="104783"/>
                    </a:cubicBezTo>
                    <a:cubicBezTo>
                      <a:pt x="83636" y="104783"/>
                      <a:pt x="65331" y="107834"/>
                      <a:pt x="50077" y="107834"/>
                    </a:cubicBezTo>
                    <a:close/>
                    <a:moveTo>
                      <a:pt x="16518" y="71224"/>
                    </a:moveTo>
                    <a:cubicBezTo>
                      <a:pt x="16518" y="71224"/>
                      <a:pt x="13467" y="71224"/>
                      <a:pt x="13467" y="74275"/>
                    </a:cubicBezTo>
                    <a:cubicBezTo>
                      <a:pt x="13467" y="77326"/>
                      <a:pt x="13467" y="80376"/>
                      <a:pt x="13467" y="83427"/>
                    </a:cubicBezTo>
                    <a:cubicBezTo>
                      <a:pt x="16518" y="98681"/>
                      <a:pt x="50077" y="101732"/>
                      <a:pt x="104993" y="92580"/>
                    </a:cubicBezTo>
                    <a:cubicBezTo>
                      <a:pt x="141603" y="86478"/>
                      <a:pt x="159908" y="80376"/>
                      <a:pt x="159908" y="68173"/>
                    </a:cubicBezTo>
                    <a:cubicBezTo>
                      <a:pt x="159908" y="59021"/>
                      <a:pt x="147704" y="46817"/>
                      <a:pt x="141603" y="43766"/>
                    </a:cubicBezTo>
                    <a:cubicBezTo>
                      <a:pt x="126348" y="55970"/>
                      <a:pt x="92789" y="68173"/>
                      <a:pt x="16518" y="7122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61E843EE-BB77-43B2-8BB3-B020BE744254}"/>
                  </a:ext>
                </a:extLst>
              </p:cNvPr>
              <p:cNvSpPr/>
              <p:nvPr/>
            </p:nvSpPr>
            <p:spPr>
              <a:xfrm>
                <a:off x="4989403" y="9927142"/>
                <a:ext cx="148207" cy="65423"/>
              </a:xfrm>
              <a:custGeom>
                <a:avLst/>
                <a:gdLst>
                  <a:gd name="connsiteX0" fmla="*/ 31653 w 148207"/>
                  <a:gd name="connsiteY0" fmla="*/ 65424 h 65423"/>
                  <a:gd name="connsiteX1" fmla="*/ 13347 w 148207"/>
                  <a:gd name="connsiteY1" fmla="*/ 65424 h 65423"/>
                  <a:gd name="connsiteX2" fmla="*/ 1144 w 148207"/>
                  <a:gd name="connsiteY2" fmla="*/ 53220 h 65423"/>
                  <a:gd name="connsiteX3" fmla="*/ 10297 w 148207"/>
                  <a:gd name="connsiteY3" fmla="*/ 22712 h 65423"/>
                  <a:gd name="connsiteX4" fmla="*/ 19449 w 148207"/>
                  <a:gd name="connsiteY4" fmla="*/ 22712 h 65423"/>
                  <a:gd name="connsiteX5" fmla="*/ 19449 w 148207"/>
                  <a:gd name="connsiteY5" fmla="*/ 31864 h 65423"/>
                  <a:gd name="connsiteX6" fmla="*/ 13347 w 148207"/>
                  <a:gd name="connsiteY6" fmla="*/ 50169 h 65423"/>
                  <a:gd name="connsiteX7" fmla="*/ 16398 w 148207"/>
                  <a:gd name="connsiteY7" fmla="*/ 56271 h 65423"/>
                  <a:gd name="connsiteX8" fmla="*/ 117076 w 148207"/>
                  <a:gd name="connsiteY8" fmla="*/ 44068 h 65423"/>
                  <a:gd name="connsiteX9" fmla="*/ 135381 w 148207"/>
                  <a:gd name="connsiteY9" fmla="*/ 28814 h 65423"/>
                  <a:gd name="connsiteX10" fmla="*/ 132331 w 148207"/>
                  <a:gd name="connsiteY10" fmla="*/ 10509 h 65423"/>
                  <a:gd name="connsiteX11" fmla="*/ 132331 w 148207"/>
                  <a:gd name="connsiteY11" fmla="*/ 1356 h 65423"/>
                  <a:gd name="connsiteX12" fmla="*/ 141483 w 148207"/>
                  <a:gd name="connsiteY12" fmla="*/ 1356 h 65423"/>
                  <a:gd name="connsiteX13" fmla="*/ 147585 w 148207"/>
                  <a:gd name="connsiteY13" fmla="*/ 28814 h 65423"/>
                  <a:gd name="connsiteX14" fmla="*/ 120127 w 148207"/>
                  <a:gd name="connsiteY14" fmla="*/ 50169 h 65423"/>
                  <a:gd name="connsiteX15" fmla="*/ 31653 w 148207"/>
                  <a:gd name="connsiteY15" fmla="*/ 65424 h 65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8207" h="65423">
                    <a:moveTo>
                      <a:pt x="31653" y="65424"/>
                    </a:moveTo>
                    <a:cubicBezTo>
                      <a:pt x="22500" y="65424"/>
                      <a:pt x="16398" y="65424"/>
                      <a:pt x="13347" y="65424"/>
                    </a:cubicBezTo>
                    <a:cubicBezTo>
                      <a:pt x="7246" y="65424"/>
                      <a:pt x="1144" y="59322"/>
                      <a:pt x="1144" y="53220"/>
                    </a:cubicBezTo>
                    <a:cubicBezTo>
                      <a:pt x="-1907" y="44068"/>
                      <a:pt x="1144" y="28814"/>
                      <a:pt x="10297" y="22712"/>
                    </a:cubicBezTo>
                    <a:cubicBezTo>
                      <a:pt x="13347" y="19661"/>
                      <a:pt x="16398" y="19661"/>
                      <a:pt x="19449" y="22712"/>
                    </a:cubicBezTo>
                    <a:cubicBezTo>
                      <a:pt x="22500" y="25763"/>
                      <a:pt x="22500" y="28814"/>
                      <a:pt x="19449" y="31864"/>
                    </a:cubicBezTo>
                    <a:cubicBezTo>
                      <a:pt x="16398" y="34915"/>
                      <a:pt x="13347" y="44068"/>
                      <a:pt x="13347" y="50169"/>
                    </a:cubicBezTo>
                    <a:cubicBezTo>
                      <a:pt x="13347" y="53220"/>
                      <a:pt x="16398" y="53220"/>
                      <a:pt x="16398" y="56271"/>
                    </a:cubicBezTo>
                    <a:cubicBezTo>
                      <a:pt x="28602" y="59322"/>
                      <a:pt x="77415" y="56271"/>
                      <a:pt x="117076" y="44068"/>
                    </a:cubicBezTo>
                    <a:cubicBezTo>
                      <a:pt x="129280" y="41017"/>
                      <a:pt x="135381" y="34915"/>
                      <a:pt x="135381" y="28814"/>
                    </a:cubicBezTo>
                    <a:cubicBezTo>
                      <a:pt x="138432" y="19661"/>
                      <a:pt x="132331" y="10509"/>
                      <a:pt x="132331" y="10509"/>
                    </a:cubicBezTo>
                    <a:cubicBezTo>
                      <a:pt x="129280" y="7458"/>
                      <a:pt x="132331" y="4407"/>
                      <a:pt x="132331" y="1356"/>
                    </a:cubicBezTo>
                    <a:cubicBezTo>
                      <a:pt x="135381" y="-1695"/>
                      <a:pt x="138432" y="1356"/>
                      <a:pt x="141483" y="1356"/>
                    </a:cubicBezTo>
                    <a:cubicBezTo>
                      <a:pt x="141483" y="1356"/>
                      <a:pt x="150636" y="16610"/>
                      <a:pt x="147585" y="28814"/>
                    </a:cubicBezTo>
                    <a:cubicBezTo>
                      <a:pt x="144534" y="37966"/>
                      <a:pt x="135381" y="47118"/>
                      <a:pt x="120127" y="50169"/>
                    </a:cubicBezTo>
                    <a:cubicBezTo>
                      <a:pt x="89619" y="62373"/>
                      <a:pt x="56059" y="65424"/>
                      <a:pt x="31653" y="6542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81FCFBCA-C95C-4374-93C1-23603B1FEA2C}"/>
                </a:ext>
              </a:extLst>
            </p:cNvPr>
            <p:cNvSpPr/>
            <p:nvPr/>
          </p:nvSpPr>
          <p:spPr>
            <a:xfrm>
              <a:off x="5069869" y="10120702"/>
              <a:ext cx="51864" cy="164745"/>
            </a:xfrm>
            <a:custGeom>
              <a:avLst/>
              <a:gdLst>
                <a:gd name="connsiteX0" fmla="*/ 45763 w 51864"/>
                <a:gd name="connsiteY0" fmla="*/ 164746 h 164745"/>
                <a:gd name="connsiteX1" fmla="*/ 39661 w 51864"/>
                <a:gd name="connsiteY1" fmla="*/ 161695 h 164745"/>
                <a:gd name="connsiteX2" fmla="*/ 0 w 51864"/>
                <a:gd name="connsiteY2" fmla="*/ 6101 h 164745"/>
                <a:gd name="connsiteX3" fmla="*/ 6102 w 51864"/>
                <a:gd name="connsiteY3" fmla="*/ 0 h 164745"/>
                <a:gd name="connsiteX4" fmla="*/ 12203 w 51864"/>
                <a:gd name="connsiteY4" fmla="*/ 6101 h 164745"/>
                <a:gd name="connsiteX5" fmla="*/ 51865 w 51864"/>
                <a:gd name="connsiteY5" fmla="*/ 158644 h 164745"/>
                <a:gd name="connsiteX6" fmla="*/ 45763 w 51864"/>
                <a:gd name="connsiteY6" fmla="*/ 164746 h 164745"/>
                <a:gd name="connsiteX7" fmla="*/ 45763 w 51864"/>
                <a:gd name="connsiteY7" fmla="*/ 164746 h 164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864" h="164745">
                  <a:moveTo>
                    <a:pt x="45763" y="164746"/>
                  </a:moveTo>
                  <a:cubicBezTo>
                    <a:pt x="42712" y="164746"/>
                    <a:pt x="42712" y="164746"/>
                    <a:pt x="39661" y="161695"/>
                  </a:cubicBezTo>
                  <a:cubicBezTo>
                    <a:pt x="21356" y="118983"/>
                    <a:pt x="0" y="9152"/>
                    <a:pt x="0" y="6101"/>
                  </a:cubicBezTo>
                  <a:cubicBezTo>
                    <a:pt x="0" y="3051"/>
                    <a:pt x="0" y="0"/>
                    <a:pt x="6102" y="0"/>
                  </a:cubicBezTo>
                  <a:cubicBezTo>
                    <a:pt x="9153" y="0"/>
                    <a:pt x="12203" y="0"/>
                    <a:pt x="12203" y="6101"/>
                  </a:cubicBezTo>
                  <a:cubicBezTo>
                    <a:pt x="12203" y="6101"/>
                    <a:pt x="33559" y="118983"/>
                    <a:pt x="51865" y="158644"/>
                  </a:cubicBezTo>
                  <a:cubicBezTo>
                    <a:pt x="51865" y="161695"/>
                    <a:pt x="48814" y="164746"/>
                    <a:pt x="45763" y="164746"/>
                  </a:cubicBezTo>
                  <a:cubicBezTo>
                    <a:pt x="45763" y="164746"/>
                    <a:pt x="45763" y="164746"/>
                    <a:pt x="45763" y="164746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9" name="图形 114">
              <a:extLst>
                <a:ext uri="{FF2B5EF4-FFF2-40B4-BE49-F238E27FC236}">
                  <a16:creationId xmlns:a16="http://schemas.microsoft.com/office/drawing/2014/main" id="{385CAD03-7CD8-43FA-99EB-F6F99F38C7E4}"/>
                </a:ext>
              </a:extLst>
            </p:cNvPr>
            <p:cNvGrpSpPr/>
            <p:nvPr/>
          </p:nvGrpSpPr>
          <p:grpSpPr>
            <a:xfrm>
              <a:off x="4102750" y="9963552"/>
              <a:ext cx="313474" cy="299259"/>
              <a:chOff x="4102750" y="9963552"/>
              <a:chExt cx="313474" cy="299259"/>
            </a:xfrm>
          </p:grpSpPr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60E64D68-429A-40F9-A222-5BD8198EF66A}"/>
                  </a:ext>
                </a:extLst>
              </p:cNvPr>
              <p:cNvSpPr/>
              <p:nvPr/>
            </p:nvSpPr>
            <p:spPr>
              <a:xfrm>
                <a:off x="4102750" y="9967384"/>
                <a:ext cx="308135" cy="295427"/>
              </a:xfrm>
              <a:custGeom>
                <a:avLst/>
                <a:gdLst>
                  <a:gd name="connsiteX0" fmla="*/ 0 w 308135"/>
                  <a:gd name="connsiteY0" fmla="*/ 202132 h 295427"/>
                  <a:gd name="connsiteX1" fmla="*/ 79322 w 308135"/>
                  <a:gd name="connsiteY1" fmla="*/ 40436 h 295427"/>
                  <a:gd name="connsiteX2" fmla="*/ 283729 w 308135"/>
                  <a:gd name="connsiteY2" fmla="*/ 12979 h 295427"/>
                  <a:gd name="connsiteX3" fmla="*/ 228814 w 308135"/>
                  <a:gd name="connsiteY3" fmla="*/ 43487 h 295427"/>
                  <a:gd name="connsiteX4" fmla="*/ 308136 w 308135"/>
                  <a:gd name="connsiteY4" fmla="*/ 73996 h 295427"/>
                  <a:gd name="connsiteX5" fmla="*/ 286780 w 308135"/>
                  <a:gd name="connsiteY5" fmla="*/ 107555 h 295427"/>
                  <a:gd name="connsiteX6" fmla="*/ 259322 w 308135"/>
                  <a:gd name="connsiteY6" fmla="*/ 144165 h 295427"/>
                  <a:gd name="connsiteX7" fmla="*/ 265424 w 308135"/>
                  <a:gd name="connsiteY7" fmla="*/ 174673 h 295427"/>
                  <a:gd name="connsiteX8" fmla="*/ 164746 w 308135"/>
                  <a:gd name="connsiteY8" fmla="*/ 192979 h 295427"/>
                  <a:gd name="connsiteX9" fmla="*/ 122034 w 308135"/>
                  <a:gd name="connsiteY9" fmla="*/ 266199 h 295427"/>
                  <a:gd name="connsiteX10" fmla="*/ 42712 w 308135"/>
                  <a:gd name="connsiteY10" fmla="*/ 293657 h 295427"/>
                  <a:gd name="connsiteX11" fmla="*/ 0 w 308135"/>
                  <a:gd name="connsiteY11" fmla="*/ 202132 h 295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8135" h="295427">
                    <a:moveTo>
                      <a:pt x="0" y="202132"/>
                    </a:moveTo>
                    <a:cubicBezTo>
                      <a:pt x="0" y="202132"/>
                      <a:pt x="54915" y="61792"/>
                      <a:pt x="79322" y="40436"/>
                    </a:cubicBezTo>
                    <a:cubicBezTo>
                      <a:pt x="106780" y="19081"/>
                      <a:pt x="277627" y="-20581"/>
                      <a:pt x="283729" y="12979"/>
                    </a:cubicBezTo>
                    <a:cubicBezTo>
                      <a:pt x="289831" y="46538"/>
                      <a:pt x="228814" y="43487"/>
                      <a:pt x="228814" y="43487"/>
                    </a:cubicBezTo>
                    <a:cubicBezTo>
                      <a:pt x="228814" y="43487"/>
                      <a:pt x="308136" y="46538"/>
                      <a:pt x="308136" y="73996"/>
                    </a:cubicBezTo>
                    <a:cubicBezTo>
                      <a:pt x="308136" y="101453"/>
                      <a:pt x="286780" y="107555"/>
                      <a:pt x="286780" y="107555"/>
                    </a:cubicBezTo>
                    <a:cubicBezTo>
                      <a:pt x="286780" y="107555"/>
                      <a:pt x="305085" y="138064"/>
                      <a:pt x="259322" y="144165"/>
                    </a:cubicBezTo>
                    <a:cubicBezTo>
                      <a:pt x="259322" y="144165"/>
                      <a:pt x="283729" y="168572"/>
                      <a:pt x="265424" y="174673"/>
                    </a:cubicBezTo>
                    <a:cubicBezTo>
                      <a:pt x="247119" y="180775"/>
                      <a:pt x="176949" y="180775"/>
                      <a:pt x="164746" y="192979"/>
                    </a:cubicBezTo>
                    <a:cubicBezTo>
                      <a:pt x="152542" y="205182"/>
                      <a:pt x="149491" y="244843"/>
                      <a:pt x="122034" y="266199"/>
                    </a:cubicBezTo>
                    <a:cubicBezTo>
                      <a:pt x="73220" y="305860"/>
                      <a:pt x="42712" y="293657"/>
                      <a:pt x="42712" y="293657"/>
                    </a:cubicBezTo>
                    <a:lnTo>
                      <a:pt x="0" y="202132"/>
                    </a:ln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CCC375CD-4A5F-4ECD-BF92-231ACAEFC2AD}"/>
                  </a:ext>
                </a:extLst>
              </p:cNvPr>
              <p:cNvSpPr/>
              <p:nvPr/>
            </p:nvSpPr>
            <p:spPr>
              <a:xfrm>
                <a:off x="4121055" y="9963552"/>
                <a:ext cx="274576" cy="151047"/>
              </a:xfrm>
              <a:custGeom>
                <a:avLst/>
                <a:gdLst>
                  <a:gd name="connsiteX0" fmla="*/ 6102 w 274576"/>
                  <a:gd name="connsiteY0" fmla="*/ 151047 h 151047"/>
                  <a:gd name="connsiteX1" fmla="*/ 6102 w 274576"/>
                  <a:gd name="connsiteY1" fmla="*/ 151047 h 151047"/>
                  <a:gd name="connsiteX2" fmla="*/ 0 w 274576"/>
                  <a:gd name="connsiteY2" fmla="*/ 144946 h 151047"/>
                  <a:gd name="connsiteX3" fmla="*/ 57966 w 274576"/>
                  <a:gd name="connsiteY3" fmla="*/ 41217 h 151047"/>
                  <a:gd name="connsiteX4" fmla="*/ 250170 w 274576"/>
                  <a:gd name="connsiteY4" fmla="*/ 1556 h 151047"/>
                  <a:gd name="connsiteX5" fmla="*/ 274576 w 274576"/>
                  <a:gd name="connsiteY5" fmla="*/ 19861 h 151047"/>
                  <a:gd name="connsiteX6" fmla="*/ 210509 w 274576"/>
                  <a:gd name="connsiteY6" fmla="*/ 53421 h 151047"/>
                  <a:gd name="connsiteX7" fmla="*/ 204407 w 274576"/>
                  <a:gd name="connsiteY7" fmla="*/ 47319 h 151047"/>
                  <a:gd name="connsiteX8" fmla="*/ 210509 w 274576"/>
                  <a:gd name="connsiteY8" fmla="*/ 41217 h 151047"/>
                  <a:gd name="connsiteX9" fmla="*/ 262373 w 274576"/>
                  <a:gd name="connsiteY9" fmla="*/ 16810 h 151047"/>
                  <a:gd name="connsiteX10" fmla="*/ 250170 w 274576"/>
                  <a:gd name="connsiteY10" fmla="*/ 10708 h 151047"/>
                  <a:gd name="connsiteX11" fmla="*/ 64068 w 274576"/>
                  <a:gd name="connsiteY11" fmla="*/ 50370 h 151047"/>
                  <a:gd name="connsiteX12" fmla="*/ 12203 w 274576"/>
                  <a:gd name="connsiteY12" fmla="*/ 144946 h 151047"/>
                  <a:gd name="connsiteX13" fmla="*/ 6102 w 274576"/>
                  <a:gd name="connsiteY13" fmla="*/ 151047 h 151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74576" h="151047">
                    <a:moveTo>
                      <a:pt x="6102" y="151047"/>
                    </a:moveTo>
                    <a:cubicBezTo>
                      <a:pt x="6102" y="151047"/>
                      <a:pt x="6102" y="151047"/>
                      <a:pt x="6102" y="151047"/>
                    </a:cubicBezTo>
                    <a:cubicBezTo>
                      <a:pt x="3051" y="151047"/>
                      <a:pt x="0" y="147996"/>
                      <a:pt x="0" y="144946"/>
                    </a:cubicBezTo>
                    <a:cubicBezTo>
                      <a:pt x="0" y="141895"/>
                      <a:pt x="21356" y="59522"/>
                      <a:pt x="57966" y="41217"/>
                    </a:cubicBezTo>
                    <a:cubicBezTo>
                      <a:pt x="91525" y="25963"/>
                      <a:pt x="201356" y="-7596"/>
                      <a:pt x="250170" y="1556"/>
                    </a:cubicBezTo>
                    <a:cubicBezTo>
                      <a:pt x="265424" y="4607"/>
                      <a:pt x="274576" y="10708"/>
                      <a:pt x="274576" y="19861"/>
                    </a:cubicBezTo>
                    <a:cubicBezTo>
                      <a:pt x="274576" y="38167"/>
                      <a:pt x="231864" y="53421"/>
                      <a:pt x="210509" y="53421"/>
                    </a:cubicBezTo>
                    <a:cubicBezTo>
                      <a:pt x="207458" y="53421"/>
                      <a:pt x="204407" y="50370"/>
                      <a:pt x="204407" y="47319"/>
                    </a:cubicBezTo>
                    <a:cubicBezTo>
                      <a:pt x="204407" y="44268"/>
                      <a:pt x="207458" y="41217"/>
                      <a:pt x="210509" y="41217"/>
                    </a:cubicBezTo>
                    <a:cubicBezTo>
                      <a:pt x="234915" y="41217"/>
                      <a:pt x="262373" y="25963"/>
                      <a:pt x="262373" y="16810"/>
                    </a:cubicBezTo>
                    <a:cubicBezTo>
                      <a:pt x="262373" y="16810"/>
                      <a:pt x="259322" y="13759"/>
                      <a:pt x="250170" y="10708"/>
                    </a:cubicBezTo>
                    <a:cubicBezTo>
                      <a:pt x="204407" y="1556"/>
                      <a:pt x="97627" y="35116"/>
                      <a:pt x="64068" y="50370"/>
                    </a:cubicBezTo>
                    <a:cubicBezTo>
                      <a:pt x="36610" y="62573"/>
                      <a:pt x="18305" y="123590"/>
                      <a:pt x="12203" y="144946"/>
                    </a:cubicBezTo>
                    <a:cubicBezTo>
                      <a:pt x="12203" y="147996"/>
                      <a:pt x="9153" y="151047"/>
                      <a:pt x="6102" y="15104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155C013A-BCB7-4D84-9202-CBDF595ECC9D}"/>
                  </a:ext>
                </a:extLst>
              </p:cNvPr>
              <p:cNvSpPr/>
              <p:nvPr/>
            </p:nvSpPr>
            <p:spPr>
              <a:xfrm>
                <a:off x="4207242" y="10020786"/>
                <a:ext cx="51101" cy="93813"/>
              </a:xfrm>
              <a:custGeom>
                <a:avLst/>
                <a:gdLst>
                  <a:gd name="connsiteX0" fmla="*/ 45000 w 51101"/>
                  <a:gd name="connsiteY0" fmla="*/ 93814 h 93813"/>
                  <a:gd name="connsiteX1" fmla="*/ 38898 w 51101"/>
                  <a:gd name="connsiteY1" fmla="*/ 87713 h 93813"/>
                  <a:gd name="connsiteX2" fmla="*/ 2288 w 51101"/>
                  <a:gd name="connsiteY2" fmla="*/ 11441 h 93813"/>
                  <a:gd name="connsiteX3" fmla="*/ 2288 w 51101"/>
                  <a:gd name="connsiteY3" fmla="*/ 2288 h 93813"/>
                  <a:gd name="connsiteX4" fmla="*/ 11441 w 51101"/>
                  <a:gd name="connsiteY4" fmla="*/ 2288 h 93813"/>
                  <a:gd name="connsiteX5" fmla="*/ 51102 w 51101"/>
                  <a:gd name="connsiteY5" fmla="*/ 84662 h 93813"/>
                  <a:gd name="connsiteX6" fmla="*/ 45000 w 51101"/>
                  <a:gd name="connsiteY6" fmla="*/ 93814 h 93813"/>
                  <a:gd name="connsiteX7" fmla="*/ 45000 w 51101"/>
                  <a:gd name="connsiteY7" fmla="*/ 93814 h 93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101" h="93813">
                    <a:moveTo>
                      <a:pt x="45000" y="93814"/>
                    </a:moveTo>
                    <a:cubicBezTo>
                      <a:pt x="41949" y="93814"/>
                      <a:pt x="38898" y="90763"/>
                      <a:pt x="38898" y="87713"/>
                    </a:cubicBezTo>
                    <a:cubicBezTo>
                      <a:pt x="29746" y="48051"/>
                      <a:pt x="2288" y="11441"/>
                      <a:pt x="2288" y="11441"/>
                    </a:cubicBezTo>
                    <a:cubicBezTo>
                      <a:pt x="-763" y="8390"/>
                      <a:pt x="-763" y="5339"/>
                      <a:pt x="2288" y="2288"/>
                    </a:cubicBezTo>
                    <a:cubicBezTo>
                      <a:pt x="5339" y="-763"/>
                      <a:pt x="8390" y="-763"/>
                      <a:pt x="11441" y="2288"/>
                    </a:cubicBezTo>
                    <a:cubicBezTo>
                      <a:pt x="11441" y="5339"/>
                      <a:pt x="41949" y="41950"/>
                      <a:pt x="51102" y="84662"/>
                    </a:cubicBezTo>
                    <a:cubicBezTo>
                      <a:pt x="51102" y="87713"/>
                      <a:pt x="48051" y="90763"/>
                      <a:pt x="45000" y="93814"/>
                    </a:cubicBezTo>
                    <a:cubicBezTo>
                      <a:pt x="45000" y="93814"/>
                      <a:pt x="45000" y="93814"/>
                      <a:pt x="45000" y="9381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9D00F4C4-3252-4207-B3CA-7BCC9498F09D}"/>
                  </a:ext>
                </a:extLst>
              </p:cNvPr>
              <p:cNvSpPr/>
              <p:nvPr/>
            </p:nvSpPr>
            <p:spPr>
              <a:xfrm>
                <a:off x="4224784" y="10007153"/>
                <a:ext cx="191440" cy="67786"/>
              </a:xfrm>
              <a:custGeom>
                <a:avLst/>
                <a:gdLst>
                  <a:gd name="connsiteX0" fmla="*/ 161695 w 191440"/>
                  <a:gd name="connsiteY0" fmla="*/ 67786 h 67786"/>
                  <a:gd name="connsiteX1" fmla="*/ 149491 w 191440"/>
                  <a:gd name="connsiteY1" fmla="*/ 64735 h 67786"/>
                  <a:gd name="connsiteX2" fmla="*/ 27458 w 191440"/>
                  <a:gd name="connsiteY2" fmla="*/ 64735 h 67786"/>
                  <a:gd name="connsiteX3" fmla="*/ 21356 w 191440"/>
                  <a:gd name="connsiteY3" fmla="*/ 61684 h 67786"/>
                  <a:gd name="connsiteX4" fmla="*/ 24407 w 191440"/>
                  <a:gd name="connsiteY4" fmla="*/ 55583 h 67786"/>
                  <a:gd name="connsiteX5" fmla="*/ 152542 w 191440"/>
                  <a:gd name="connsiteY5" fmla="*/ 55583 h 67786"/>
                  <a:gd name="connsiteX6" fmla="*/ 180000 w 191440"/>
                  <a:gd name="connsiteY6" fmla="*/ 46430 h 67786"/>
                  <a:gd name="connsiteX7" fmla="*/ 180000 w 191440"/>
                  <a:gd name="connsiteY7" fmla="*/ 37278 h 67786"/>
                  <a:gd name="connsiteX8" fmla="*/ 143390 w 191440"/>
                  <a:gd name="connsiteY8" fmla="*/ 15922 h 67786"/>
                  <a:gd name="connsiteX9" fmla="*/ 9153 w 191440"/>
                  <a:gd name="connsiteY9" fmla="*/ 37278 h 67786"/>
                  <a:gd name="connsiteX10" fmla="*/ 0 w 191440"/>
                  <a:gd name="connsiteY10" fmla="*/ 34227 h 67786"/>
                  <a:gd name="connsiteX11" fmla="*/ 3051 w 191440"/>
                  <a:gd name="connsiteY11" fmla="*/ 25075 h 67786"/>
                  <a:gd name="connsiteX12" fmla="*/ 143390 w 191440"/>
                  <a:gd name="connsiteY12" fmla="*/ 3718 h 67786"/>
                  <a:gd name="connsiteX13" fmla="*/ 189152 w 191440"/>
                  <a:gd name="connsiteY13" fmla="*/ 31176 h 67786"/>
                  <a:gd name="connsiteX14" fmla="*/ 189152 w 191440"/>
                  <a:gd name="connsiteY14" fmla="*/ 49481 h 67786"/>
                  <a:gd name="connsiteX15" fmla="*/ 161695 w 191440"/>
                  <a:gd name="connsiteY15" fmla="*/ 67786 h 67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1440" h="67786">
                    <a:moveTo>
                      <a:pt x="161695" y="67786"/>
                    </a:moveTo>
                    <a:cubicBezTo>
                      <a:pt x="158644" y="67786"/>
                      <a:pt x="152542" y="67786"/>
                      <a:pt x="149491" y="64735"/>
                    </a:cubicBezTo>
                    <a:cubicBezTo>
                      <a:pt x="134237" y="58633"/>
                      <a:pt x="79322" y="49481"/>
                      <a:pt x="27458" y="64735"/>
                    </a:cubicBezTo>
                    <a:cubicBezTo>
                      <a:pt x="24407" y="64735"/>
                      <a:pt x="21356" y="64735"/>
                      <a:pt x="21356" y="61684"/>
                    </a:cubicBezTo>
                    <a:cubicBezTo>
                      <a:pt x="21356" y="58633"/>
                      <a:pt x="21356" y="55583"/>
                      <a:pt x="24407" y="55583"/>
                    </a:cubicBezTo>
                    <a:cubicBezTo>
                      <a:pt x="76271" y="40329"/>
                      <a:pt x="131186" y="49481"/>
                      <a:pt x="152542" y="55583"/>
                    </a:cubicBezTo>
                    <a:cubicBezTo>
                      <a:pt x="167797" y="61684"/>
                      <a:pt x="176949" y="52532"/>
                      <a:pt x="180000" y="46430"/>
                    </a:cubicBezTo>
                    <a:cubicBezTo>
                      <a:pt x="180000" y="46430"/>
                      <a:pt x="183051" y="40329"/>
                      <a:pt x="180000" y="37278"/>
                    </a:cubicBezTo>
                    <a:cubicBezTo>
                      <a:pt x="176949" y="31176"/>
                      <a:pt x="170847" y="22024"/>
                      <a:pt x="143390" y="15922"/>
                    </a:cubicBezTo>
                    <a:cubicBezTo>
                      <a:pt x="100678" y="3718"/>
                      <a:pt x="12203" y="37278"/>
                      <a:pt x="9153" y="37278"/>
                    </a:cubicBezTo>
                    <a:cubicBezTo>
                      <a:pt x="6102" y="37278"/>
                      <a:pt x="3051" y="37278"/>
                      <a:pt x="0" y="34227"/>
                    </a:cubicBezTo>
                    <a:cubicBezTo>
                      <a:pt x="0" y="31176"/>
                      <a:pt x="0" y="28125"/>
                      <a:pt x="3051" y="25075"/>
                    </a:cubicBezTo>
                    <a:cubicBezTo>
                      <a:pt x="6102" y="25075"/>
                      <a:pt x="97627" y="-11536"/>
                      <a:pt x="143390" y="3718"/>
                    </a:cubicBezTo>
                    <a:cubicBezTo>
                      <a:pt x="167797" y="9820"/>
                      <a:pt x="183051" y="18973"/>
                      <a:pt x="189152" y="31176"/>
                    </a:cubicBezTo>
                    <a:cubicBezTo>
                      <a:pt x="192203" y="40329"/>
                      <a:pt x="192203" y="46430"/>
                      <a:pt x="189152" y="49481"/>
                    </a:cubicBezTo>
                    <a:cubicBezTo>
                      <a:pt x="186102" y="58633"/>
                      <a:pt x="176949" y="67786"/>
                      <a:pt x="161695" y="6778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8CE533A2-EEE8-4869-A709-A5AC77BE7C94}"/>
                  </a:ext>
                </a:extLst>
              </p:cNvPr>
              <p:cNvSpPr/>
              <p:nvPr/>
            </p:nvSpPr>
            <p:spPr>
              <a:xfrm>
                <a:off x="4261394" y="10098857"/>
                <a:ext cx="122033" cy="70658"/>
              </a:xfrm>
              <a:custGeom>
                <a:avLst/>
                <a:gdLst>
                  <a:gd name="connsiteX0" fmla="*/ 6102 w 122033"/>
                  <a:gd name="connsiteY0" fmla="*/ 70658 h 70658"/>
                  <a:gd name="connsiteX1" fmla="*/ 6102 w 122033"/>
                  <a:gd name="connsiteY1" fmla="*/ 70658 h 70658"/>
                  <a:gd name="connsiteX2" fmla="*/ 0 w 122033"/>
                  <a:gd name="connsiteY2" fmla="*/ 61505 h 70658"/>
                  <a:gd name="connsiteX3" fmla="*/ 79322 w 122033"/>
                  <a:gd name="connsiteY3" fmla="*/ 40150 h 70658"/>
                  <a:gd name="connsiteX4" fmla="*/ 103729 w 122033"/>
                  <a:gd name="connsiteY4" fmla="*/ 37099 h 70658"/>
                  <a:gd name="connsiteX5" fmla="*/ 109831 w 122033"/>
                  <a:gd name="connsiteY5" fmla="*/ 34048 h 70658"/>
                  <a:gd name="connsiteX6" fmla="*/ 94576 w 122033"/>
                  <a:gd name="connsiteY6" fmla="*/ 15742 h 70658"/>
                  <a:gd name="connsiteX7" fmla="*/ 9153 w 122033"/>
                  <a:gd name="connsiteY7" fmla="*/ 12691 h 70658"/>
                  <a:gd name="connsiteX8" fmla="*/ 3051 w 122033"/>
                  <a:gd name="connsiteY8" fmla="*/ 6590 h 70658"/>
                  <a:gd name="connsiteX9" fmla="*/ 9153 w 122033"/>
                  <a:gd name="connsiteY9" fmla="*/ 488 h 70658"/>
                  <a:gd name="connsiteX10" fmla="*/ 100678 w 122033"/>
                  <a:gd name="connsiteY10" fmla="*/ 6590 h 70658"/>
                  <a:gd name="connsiteX11" fmla="*/ 122034 w 122033"/>
                  <a:gd name="connsiteY11" fmla="*/ 37099 h 70658"/>
                  <a:gd name="connsiteX12" fmla="*/ 106780 w 122033"/>
                  <a:gd name="connsiteY12" fmla="*/ 49302 h 70658"/>
                  <a:gd name="connsiteX13" fmla="*/ 79322 w 122033"/>
                  <a:gd name="connsiteY13" fmla="*/ 52353 h 70658"/>
                  <a:gd name="connsiteX14" fmla="*/ 9153 w 122033"/>
                  <a:gd name="connsiteY14" fmla="*/ 67607 h 70658"/>
                  <a:gd name="connsiteX15" fmla="*/ 6102 w 122033"/>
                  <a:gd name="connsiteY15" fmla="*/ 70658 h 70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033" h="70658">
                    <a:moveTo>
                      <a:pt x="6102" y="70658"/>
                    </a:moveTo>
                    <a:cubicBezTo>
                      <a:pt x="6102" y="70658"/>
                      <a:pt x="6102" y="70658"/>
                      <a:pt x="6102" y="70658"/>
                    </a:cubicBezTo>
                    <a:cubicBezTo>
                      <a:pt x="0" y="67607"/>
                      <a:pt x="0" y="64556"/>
                      <a:pt x="0" y="61505"/>
                    </a:cubicBezTo>
                    <a:cubicBezTo>
                      <a:pt x="9153" y="46251"/>
                      <a:pt x="42712" y="43200"/>
                      <a:pt x="79322" y="40150"/>
                    </a:cubicBezTo>
                    <a:cubicBezTo>
                      <a:pt x="91525" y="40150"/>
                      <a:pt x="100678" y="40150"/>
                      <a:pt x="103729" y="37099"/>
                    </a:cubicBezTo>
                    <a:cubicBezTo>
                      <a:pt x="106780" y="37099"/>
                      <a:pt x="109831" y="37099"/>
                      <a:pt x="109831" y="34048"/>
                    </a:cubicBezTo>
                    <a:cubicBezTo>
                      <a:pt x="109831" y="30997"/>
                      <a:pt x="106780" y="21844"/>
                      <a:pt x="94576" y="15742"/>
                    </a:cubicBezTo>
                    <a:cubicBezTo>
                      <a:pt x="82373" y="9641"/>
                      <a:pt x="36610" y="9641"/>
                      <a:pt x="9153" y="12691"/>
                    </a:cubicBezTo>
                    <a:cubicBezTo>
                      <a:pt x="6102" y="12691"/>
                      <a:pt x="3051" y="9641"/>
                      <a:pt x="3051" y="6590"/>
                    </a:cubicBezTo>
                    <a:cubicBezTo>
                      <a:pt x="3051" y="3539"/>
                      <a:pt x="6102" y="488"/>
                      <a:pt x="9153" y="488"/>
                    </a:cubicBezTo>
                    <a:cubicBezTo>
                      <a:pt x="18305" y="488"/>
                      <a:pt x="85424" y="-2563"/>
                      <a:pt x="100678" y="6590"/>
                    </a:cubicBezTo>
                    <a:cubicBezTo>
                      <a:pt x="112881" y="15742"/>
                      <a:pt x="122034" y="27946"/>
                      <a:pt x="122034" y="37099"/>
                    </a:cubicBezTo>
                    <a:cubicBezTo>
                      <a:pt x="122034" y="40150"/>
                      <a:pt x="118983" y="49302"/>
                      <a:pt x="106780" y="49302"/>
                    </a:cubicBezTo>
                    <a:cubicBezTo>
                      <a:pt x="100678" y="49302"/>
                      <a:pt x="91525" y="52353"/>
                      <a:pt x="79322" y="52353"/>
                    </a:cubicBezTo>
                    <a:cubicBezTo>
                      <a:pt x="57966" y="52353"/>
                      <a:pt x="15254" y="55404"/>
                      <a:pt x="9153" y="67607"/>
                    </a:cubicBezTo>
                    <a:cubicBezTo>
                      <a:pt x="12203" y="70658"/>
                      <a:pt x="9153" y="70658"/>
                      <a:pt x="6102" y="7065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9842801D-7D15-4F91-B864-5B011506F39C}"/>
                </a:ext>
              </a:extLst>
            </p:cNvPr>
            <p:cNvSpPr/>
            <p:nvPr/>
          </p:nvSpPr>
          <p:spPr>
            <a:xfrm>
              <a:off x="3856394" y="10228244"/>
              <a:ext cx="178474" cy="185339"/>
            </a:xfrm>
            <a:custGeom>
              <a:avLst/>
              <a:gdLst>
                <a:gd name="connsiteX0" fmla="*/ 5339 w 178474"/>
                <a:gd name="connsiteY0" fmla="*/ 185339 h 185339"/>
                <a:gd name="connsiteX1" fmla="*/ 2288 w 178474"/>
                <a:gd name="connsiteY1" fmla="*/ 185339 h 185339"/>
                <a:gd name="connsiteX2" fmla="*/ 2288 w 178474"/>
                <a:gd name="connsiteY2" fmla="*/ 176186 h 185339"/>
                <a:gd name="connsiteX3" fmla="*/ 167034 w 178474"/>
                <a:gd name="connsiteY3" fmla="*/ 2288 h 185339"/>
                <a:gd name="connsiteX4" fmla="*/ 176186 w 178474"/>
                <a:gd name="connsiteY4" fmla="*/ 2288 h 185339"/>
                <a:gd name="connsiteX5" fmla="*/ 176186 w 178474"/>
                <a:gd name="connsiteY5" fmla="*/ 11440 h 185339"/>
                <a:gd name="connsiteX6" fmla="*/ 11441 w 178474"/>
                <a:gd name="connsiteY6" fmla="*/ 185339 h 185339"/>
                <a:gd name="connsiteX7" fmla="*/ 5339 w 178474"/>
                <a:gd name="connsiteY7" fmla="*/ 185339 h 185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8474" h="185339">
                  <a:moveTo>
                    <a:pt x="5339" y="185339"/>
                  </a:moveTo>
                  <a:cubicBezTo>
                    <a:pt x="5339" y="185339"/>
                    <a:pt x="2288" y="185339"/>
                    <a:pt x="2288" y="185339"/>
                  </a:cubicBezTo>
                  <a:cubicBezTo>
                    <a:pt x="-763" y="182288"/>
                    <a:pt x="-763" y="179237"/>
                    <a:pt x="2288" y="176186"/>
                  </a:cubicBezTo>
                  <a:cubicBezTo>
                    <a:pt x="51102" y="115169"/>
                    <a:pt x="167034" y="2288"/>
                    <a:pt x="167034" y="2288"/>
                  </a:cubicBezTo>
                  <a:cubicBezTo>
                    <a:pt x="170085" y="-763"/>
                    <a:pt x="173136" y="-763"/>
                    <a:pt x="176186" y="2288"/>
                  </a:cubicBezTo>
                  <a:cubicBezTo>
                    <a:pt x="179237" y="5338"/>
                    <a:pt x="179237" y="8389"/>
                    <a:pt x="176186" y="11440"/>
                  </a:cubicBezTo>
                  <a:cubicBezTo>
                    <a:pt x="176186" y="11440"/>
                    <a:pt x="60254" y="127372"/>
                    <a:pt x="11441" y="185339"/>
                  </a:cubicBezTo>
                  <a:cubicBezTo>
                    <a:pt x="8390" y="182288"/>
                    <a:pt x="8390" y="185339"/>
                    <a:pt x="5339" y="185339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74" name="图形 114">
            <a:extLst>
              <a:ext uri="{FF2B5EF4-FFF2-40B4-BE49-F238E27FC236}">
                <a16:creationId xmlns:a16="http://schemas.microsoft.com/office/drawing/2014/main" id="{8BC4726B-E3D0-416F-B9B3-049A922A925A}"/>
              </a:ext>
            </a:extLst>
          </p:cNvPr>
          <p:cNvGrpSpPr/>
          <p:nvPr/>
        </p:nvGrpSpPr>
        <p:grpSpPr>
          <a:xfrm>
            <a:off x="7290886" y="2244969"/>
            <a:ext cx="2392196" cy="4435461"/>
            <a:chOff x="7290886" y="7921690"/>
            <a:chExt cx="2392196" cy="4435461"/>
          </a:xfrm>
        </p:grpSpPr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B38AA803-906C-41EC-AD4E-59672E991446}"/>
                </a:ext>
              </a:extLst>
            </p:cNvPr>
            <p:cNvSpPr/>
            <p:nvPr/>
          </p:nvSpPr>
          <p:spPr>
            <a:xfrm>
              <a:off x="8953494" y="7931779"/>
              <a:ext cx="557314" cy="918231"/>
            </a:xfrm>
            <a:custGeom>
              <a:avLst/>
              <a:gdLst>
                <a:gd name="connsiteX0" fmla="*/ 27561 w 557314"/>
                <a:gd name="connsiteY0" fmla="*/ 660448 h 918231"/>
                <a:gd name="connsiteX1" fmla="*/ 152645 w 557314"/>
                <a:gd name="connsiteY1" fmla="*/ 901465 h 918231"/>
                <a:gd name="connsiteX2" fmla="*/ 317392 w 557314"/>
                <a:gd name="connsiteY2" fmla="*/ 916719 h 918231"/>
                <a:gd name="connsiteX3" fmla="*/ 479087 w 557314"/>
                <a:gd name="connsiteY3" fmla="*/ 892313 h 918231"/>
                <a:gd name="connsiteX4" fmla="*/ 552307 w 557314"/>
                <a:gd name="connsiteY4" fmla="*/ 751973 h 918231"/>
                <a:gd name="connsiteX5" fmla="*/ 433324 w 557314"/>
                <a:gd name="connsiteY5" fmla="*/ 584177 h 918231"/>
                <a:gd name="connsiteX6" fmla="*/ 418070 w 557314"/>
                <a:gd name="connsiteY6" fmla="*/ 443838 h 918231"/>
                <a:gd name="connsiteX7" fmla="*/ 335696 w 557314"/>
                <a:gd name="connsiteY7" fmla="*/ 364516 h 918231"/>
                <a:gd name="connsiteX8" fmla="*/ 296036 w 557314"/>
                <a:gd name="connsiteY8" fmla="*/ 187567 h 918231"/>
                <a:gd name="connsiteX9" fmla="*/ 6205 w 557314"/>
                <a:gd name="connsiteY9" fmla="*/ 1465 h 918231"/>
                <a:gd name="connsiteX10" fmla="*/ 58069 w 557314"/>
                <a:gd name="connsiteY10" fmla="*/ 44177 h 918231"/>
                <a:gd name="connsiteX11" fmla="*/ 112985 w 557314"/>
                <a:gd name="connsiteY11" fmla="*/ 68584 h 918231"/>
                <a:gd name="connsiteX12" fmla="*/ 27561 w 557314"/>
                <a:gd name="connsiteY12" fmla="*/ 660448 h 918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7314" h="918231">
                  <a:moveTo>
                    <a:pt x="27561" y="660448"/>
                  </a:moveTo>
                  <a:cubicBezTo>
                    <a:pt x="45866" y="755024"/>
                    <a:pt x="48917" y="864855"/>
                    <a:pt x="152645" y="901465"/>
                  </a:cubicBezTo>
                  <a:cubicBezTo>
                    <a:pt x="204510" y="919770"/>
                    <a:pt x="262476" y="919770"/>
                    <a:pt x="317392" y="916719"/>
                  </a:cubicBezTo>
                  <a:cubicBezTo>
                    <a:pt x="369256" y="913668"/>
                    <a:pt x="430273" y="913668"/>
                    <a:pt x="479087" y="892313"/>
                  </a:cubicBezTo>
                  <a:cubicBezTo>
                    <a:pt x="537052" y="867906"/>
                    <a:pt x="570612" y="812990"/>
                    <a:pt x="552307" y="751973"/>
                  </a:cubicBezTo>
                  <a:cubicBezTo>
                    <a:pt x="530951" y="684855"/>
                    <a:pt x="448578" y="651295"/>
                    <a:pt x="433324" y="584177"/>
                  </a:cubicBezTo>
                  <a:cubicBezTo>
                    <a:pt x="424171" y="535363"/>
                    <a:pt x="448578" y="489600"/>
                    <a:pt x="418070" y="443838"/>
                  </a:cubicBezTo>
                  <a:cubicBezTo>
                    <a:pt x="396713" y="410279"/>
                    <a:pt x="357053" y="395024"/>
                    <a:pt x="335696" y="364516"/>
                  </a:cubicBezTo>
                  <a:cubicBezTo>
                    <a:pt x="296036" y="312652"/>
                    <a:pt x="320442" y="245532"/>
                    <a:pt x="296036" y="187567"/>
                  </a:cubicBezTo>
                  <a:cubicBezTo>
                    <a:pt x="256375" y="92990"/>
                    <a:pt x="116035" y="-13790"/>
                    <a:pt x="6205" y="1465"/>
                  </a:cubicBezTo>
                  <a:cubicBezTo>
                    <a:pt x="-12100" y="4516"/>
                    <a:pt x="39764" y="35024"/>
                    <a:pt x="58069" y="44177"/>
                  </a:cubicBezTo>
                  <a:cubicBezTo>
                    <a:pt x="76374" y="50278"/>
                    <a:pt x="94680" y="59431"/>
                    <a:pt x="112985" y="68584"/>
                  </a:cubicBezTo>
                  <a:cubicBezTo>
                    <a:pt x="-36507" y="205872"/>
                    <a:pt x="-5998" y="483499"/>
                    <a:pt x="27561" y="660448"/>
                  </a:cubicBezTo>
                  <a:close/>
                </a:path>
              </a:pathLst>
            </a:custGeom>
            <a:solidFill>
              <a:srgbClr val="F1DDBA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A4362E9B-145B-4A19-80DA-FAC066B3970C}"/>
                </a:ext>
              </a:extLst>
            </p:cNvPr>
            <p:cNvSpPr/>
            <p:nvPr/>
          </p:nvSpPr>
          <p:spPr>
            <a:xfrm>
              <a:off x="8444176" y="7921690"/>
              <a:ext cx="518963" cy="855041"/>
            </a:xfrm>
            <a:custGeom>
              <a:avLst/>
              <a:gdLst>
                <a:gd name="connsiteX0" fmla="*/ 451456 w 518963"/>
                <a:gd name="connsiteY0" fmla="*/ 469180 h 855041"/>
                <a:gd name="connsiteX1" fmla="*/ 442303 w 518963"/>
                <a:gd name="connsiteY1" fmla="*/ 307486 h 855041"/>
                <a:gd name="connsiteX2" fmla="*/ 485016 w 518963"/>
                <a:gd name="connsiteY2" fmla="*/ 161045 h 855041"/>
                <a:gd name="connsiteX3" fmla="*/ 518575 w 518963"/>
                <a:gd name="connsiteY3" fmla="*/ 8503 h 855041"/>
                <a:gd name="connsiteX4" fmla="*/ 207388 w 518963"/>
                <a:gd name="connsiteY4" fmla="*/ 191554 h 855041"/>
                <a:gd name="connsiteX5" fmla="*/ 207388 w 518963"/>
                <a:gd name="connsiteY5" fmla="*/ 249520 h 855041"/>
                <a:gd name="connsiteX6" fmla="*/ 158574 w 518963"/>
                <a:gd name="connsiteY6" fmla="*/ 307486 h 855041"/>
                <a:gd name="connsiteX7" fmla="*/ 106710 w 518963"/>
                <a:gd name="connsiteY7" fmla="*/ 374604 h 855041"/>
                <a:gd name="connsiteX8" fmla="*/ 106710 w 518963"/>
                <a:gd name="connsiteY8" fmla="*/ 463079 h 855041"/>
                <a:gd name="connsiteX9" fmla="*/ 85354 w 518963"/>
                <a:gd name="connsiteY9" fmla="*/ 539350 h 855041"/>
                <a:gd name="connsiteX10" fmla="*/ 15185 w 518963"/>
                <a:gd name="connsiteY10" fmla="*/ 640028 h 855041"/>
                <a:gd name="connsiteX11" fmla="*/ 63999 w 518963"/>
                <a:gd name="connsiteY11" fmla="*/ 829181 h 855041"/>
                <a:gd name="connsiteX12" fmla="*/ 268405 w 518963"/>
                <a:gd name="connsiteY12" fmla="*/ 853587 h 855041"/>
                <a:gd name="connsiteX13" fmla="*/ 274507 w 518963"/>
                <a:gd name="connsiteY13" fmla="*/ 762062 h 855041"/>
                <a:gd name="connsiteX14" fmla="*/ 369083 w 518963"/>
                <a:gd name="connsiteY14" fmla="*/ 752909 h 855041"/>
                <a:gd name="connsiteX15" fmla="*/ 460609 w 518963"/>
                <a:gd name="connsiteY15" fmla="*/ 594265 h 855041"/>
                <a:gd name="connsiteX16" fmla="*/ 451456 w 518963"/>
                <a:gd name="connsiteY16" fmla="*/ 469180 h 855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18963" h="855041">
                  <a:moveTo>
                    <a:pt x="451456" y="469180"/>
                  </a:moveTo>
                  <a:cubicBezTo>
                    <a:pt x="442303" y="417316"/>
                    <a:pt x="436202" y="362401"/>
                    <a:pt x="442303" y="307486"/>
                  </a:cubicBezTo>
                  <a:cubicBezTo>
                    <a:pt x="448405" y="255621"/>
                    <a:pt x="463659" y="206808"/>
                    <a:pt x="485016" y="161045"/>
                  </a:cubicBezTo>
                  <a:cubicBezTo>
                    <a:pt x="506371" y="112231"/>
                    <a:pt x="521626" y="8503"/>
                    <a:pt x="518575" y="8503"/>
                  </a:cubicBezTo>
                  <a:cubicBezTo>
                    <a:pt x="402642" y="-28107"/>
                    <a:pt x="204337" y="57316"/>
                    <a:pt x="207388" y="191554"/>
                  </a:cubicBezTo>
                  <a:cubicBezTo>
                    <a:pt x="207388" y="212909"/>
                    <a:pt x="210439" y="231215"/>
                    <a:pt x="207388" y="249520"/>
                  </a:cubicBezTo>
                  <a:cubicBezTo>
                    <a:pt x="201287" y="280028"/>
                    <a:pt x="182981" y="292232"/>
                    <a:pt x="158574" y="307486"/>
                  </a:cubicBezTo>
                  <a:cubicBezTo>
                    <a:pt x="134168" y="325791"/>
                    <a:pt x="115863" y="347147"/>
                    <a:pt x="106710" y="374604"/>
                  </a:cubicBezTo>
                  <a:cubicBezTo>
                    <a:pt x="97558" y="405113"/>
                    <a:pt x="100609" y="432570"/>
                    <a:pt x="106710" y="463079"/>
                  </a:cubicBezTo>
                  <a:cubicBezTo>
                    <a:pt x="112812" y="493587"/>
                    <a:pt x="112812" y="517994"/>
                    <a:pt x="85354" y="539350"/>
                  </a:cubicBezTo>
                  <a:cubicBezTo>
                    <a:pt x="70100" y="554604"/>
                    <a:pt x="21286" y="621723"/>
                    <a:pt x="15185" y="640028"/>
                  </a:cubicBezTo>
                  <a:cubicBezTo>
                    <a:pt x="-24476" y="743757"/>
                    <a:pt x="21286" y="786469"/>
                    <a:pt x="63999" y="829181"/>
                  </a:cubicBezTo>
                  <a:cubicBezTo>
                    <a:pt x="121964" y="884096"/>
                    <a:pt x="207388" y="816977"/>
                    <a:pt x="268405" y="853587"/>
                  </a:cubicBezTo>
                  <a:cubicBezTo>
                    <a:pt x="292812" y="868842"/>
                    <a:pt x="243998" y="759011"/>
                    <a:pt x="274507" y="762062"/>
                  </a:cubicBezTo>
                  <a:cubicBezTo>
                    <a:pt x="301965" y="765113"/>
                    <a:pt x="341625" y="762062"/>
                    <a:pt x="369083" y="752909"/>
                  </a:cubicBezTo>
                  <a:cubicBezTo>
                    <a:pt x="420948" y="731554"/>
                    <a:pt x="451456" y="646130"/>
                    <a:pt x="460609" y="594265"/>
                  </a:cubicBezTo>
                  <a:cubicBezTo>
                    <a:pt x="469761" y="554604"/>
                    <a:pt x="457558" y="511893"/>
                    <a:pt x="451456" y="469180"/>
                  </a:cubicBezTo>
                  <a:close/>
                </a:path>
              </a:pathLst>
            </a:custGeom>
            <a:solidFill>
              <a:srgbClr val="F1DDBA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523991B7-63BB-4DB9-9B23-C496E3540894}"/>
                </a:ext>
              </a:extLst>
            </p:cNvPr>
            <p:cNvSpPr/>
            <p:nvPr/>
          </p:nvSpPr>
          <p:spPr>
            <a:xfrm>
              <a:off x="7940716" y="8844731"/>
              <a:ext cx="756859" cy="791569"/>
            </a:xfrm>
            <a:custGeom>
              <a:avLst/>
              <a:gdLst>
                <a:gd name="connsiteX0" fmla="*/ 488136 w 756859"/>
                <a:gd name="connsiteY0" fmla="*/ 70886 h 791569"/>
                <a:gd name="connsiteX1" fmla="*/ 363051 w 756859"/>
                <a:gd name="connsiteY1" fmla="*/ 498005 h 791569"/>
                <a:gd name="connsiteX2" fmla="*/ 0 w 756859"/>
                <a:gd name="connsiteY2" fmla="*/ 708513 h 791569"/>
                <a:gd name="connsiteX3" fmla="*/ 61017 w 756859"/>
                <a:gd name="connsiteY3" fmla="*/ 790886 h 791569"/>
                <a:gd name="connsiteX4" fmla="*/ 494237 w 756859"/>
                <a:gd name="connsiteY4" fmla="*/ 641395 h 791569"/>
                <a:gd name="connsiteX5" fmla="*/ 753559 w 756859"/>
                <a:gd name="connsiteY5" fmla="*/ 134954 h 791569"/>
                <a:gd name="connsiteX6" fmla="*/ 488136 w 756859"/>
                <a:gd name="connsiteY6" fmla="*/ 70886 h 79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6859" h="791569">
                  <a:moveTo>
                    <a:pt x="488136" y="70886"/>
                  </a:moveTo>
                  <a:cubicBezTo>
                    <a:pt x="454577" y="153259"/>
                    <a:pt x="363051" y="498005"/>
                    <a:pt x="363051" y="498005"/>
                  </a:cubicBezTo>
                  <a:cubicBezTo>
                    <a:pt x="363051" y="498005"/>
                    <a:pt x="0" y="702412"/>
                    <a:pt x="0" y="708513"/>
                  </a:cubicBezTo>
                  <a:cubicBezTo>
                    <a:pt x="3051" y="778682"/>
                    <a:pt x="9153" y="745124"/>
                    <a:pt x="61017" y="790886"/>
                  </a:cubicBezTo>
                  <a:cubicBezTo>
                    <a:pt x="67119" y="796988"/>
                    <a:pt x="271526" y="763428"/>
                    <a:pt x="494237" y="641395"/>
                  </a:cubicBezTo>
                  <a:cubicBezTo>
                    <a:pt x="555254" y="607835"/>
                    <a:pt x="692542" y="269191"/>
                    <a:pt x="753559" y="134954"/>
                  </a:cubicBezTo>
                  <a:cubicBezTo>
                    <a:pt x="787119" y="58683"/>
                    <a:pt x="555254" y="-87758"/>
                    <a:pt x="488136" y="70886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902F223D-44FA-4BBE-B9AF-8E1C33C43E9A}"/>
                </a:ext>
              </a:extLst>
            </p:cNvPr>
            <p:cNvSpPr/>
            <p:nvPr/>
          </p:nvSpPr>
          <p:spPr>
            <a:xfrm>
              <a:off x="8383089" y="8622739"/>
              <a:ext cx="402289" cy="421013"/>
            </a:xfrm>
            <a:custGeom>
              <a:avLst/>
              <a:gdLst>
                <a:gd name="connsiteX0" fmla="*/ 350847 w 402289"/>
                <a:gd name="connsiteY0" fmla="*/ 421014 h 421013"/>
                <a:gd name="connsiteX1" fmla="*/ 344746 w 402289"/>
                <a:gd name="connsiteY1" fmla="*/ 15251 h 421013"/>
                <a:gd name="connsiteX2" fmla="*/ 0 w 402289"/>
                <a:gd name="connsiteY2" fmla="*/ 292878 h 421013"/>
                <a:gd name="connsiteX3" fmla="*/ 350847 w 402289"/>
                <a:gd name="connsiteY3" fmla="*/ 421014 h 421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289" h="421013">
                  <a:moveTo>
                    <a:pt x="350847" y="421014"/>
                  </a:moveTo>
                  <a:cubicBezTo>
                    <a:pt x="433220" y="256268"/>
                    <a:pt x="405763" y="64065"/>
                    <a:pt x="344746" y="15251"/>
                  </a:cubicBezTo>
                  <a:cubicBezTo>
                    <a:pt x="262373" y="-48817"/>
                    <a:pt x="70170" y="97624"/>
                    <a:pt x="0" y="292878"/>
                  </a:cubicBezTo>
                  <a:cubicBezTo>
                    <a:pt x="42712" y="353895"/>
                    <a:pt x="247119" y="405759"/>
                    <a:pt x="350847" y="421014"/>
                  </a:cubicBez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9" name="图形 114">
              <a:extLst>
                <a:ext uri="{FF2B5EF4-FFF2-40B4-BE49-F238E27FC236}">
                  <a16:creationId xmlns:a16="http://schemas.microsoft.com/office/drawing/2014/main" id="{685C596D-B10A-4129-A0DD-27CAD77EA3BA}"/>
                </a:ext>
              </a:extLst>
            </p:cNvPr>
            <p:cNvGrpSpPr/>
            <p:nvPr/>
          </p:nvGrpSpPr>
          <p:grpSpPr>
            <a:xfrm>
              <a:off x="8431140" y="11963413"/>
              <a:ext cx="364792" cy="386411"/>
              <a:chOff x="8431140" y="11963413"/>
              <a:chExt cx="364792" cy="386411"/>
            </a:xfrm>
          </p:grpSpPr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6D8A4E0C-F648-4A6D-83BC-679DDAF5E0DF}"/>
                  </a:ext>
                </a:extLst>
              </p:cNvPr>
              <p:cNvSpPr/>
              <p:nvPr/>
            </p:nvSpPr>
            <p:spPr>
              <a:xfrm>
                <a:off x="8431140" y="12088498"/>
                <a:ext cx="364792" cy="261326"/>
              </a:xfrm>
              <a:custGeom>
                <a:avLst/>
                <a:gdLst>
                  <a:gd name="connsiteX0" fmla="*/ 226525 w 364792"/>
                  <a:gd name="connsiteY0" fmla="*/ 0 h 261326"/>
                  <a:gd name="connsiteX1" fmla="*/ 107543 w 364792"/>
                  <a:gd name="connsiteY1" fmla="*/ 164746 h 261326"/>
                  <a:gd name="connsiteX2" fmla="*/ 324152 w 364792"/>
                  <a:gd name="connsiteY2" fmla="*/ 36610 h 261326"/>
                  <a:gd name="connsiteX3" fmla="*/ 345509 w 364792"/>
                  <a:gd name="connsiteY3" fmla="*/ 21355 h 261326"/>
                  <a:gd name="connsiteX4" fmla="*/ 363814 w 364792"/>
                  <a:gd name="connsiteY4" fmla="*/ 97627 h 261326"/>
                  <a:gd name="connsiteX5" fmla="*/ 351610 w 364792"/>
                  <a:gd name="connsiteY5" fmla="*/ 234915 h 261326"/>
                  <a:gd name="connsiteX6" fmla="*/ 324152 w 364792"/>
                  <a:gd name="connsiteY6" fmla="*/ 234915 h 261326"/>
                  <a:gd name="connsiteX7" fmla="*/ 308898 w 364792"/>
                  <a:gd name="connsiteY7" fmla="*/ 125085 h 261326"/>
                  <a:gd name="connsiteX8" fmla="*/ 165508 w 364792"/>
                  <a:gd name="connsiteY8" fmla="*/ 256271 h 261326"/>
                  <a:gd name="connsiteX9" fmla="*/ 6864 w 364792"/>
                  <a:gd name="connsiteY9" fmla="*/ 259322 h 261326"/>
                  <a:gd name="connsiteX10" fmla="*/ 6864 w 364792"/>
                  <a:gd name="connsiteY10" fmla="*/ 213559 h 261326"/>
                  <a:gd name="connsiteX11" fmla="*/ 226525 w 364792"/>
                  <a:gd name="connsiteY11" fmla="*/ 0 h 261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4792" h="261326">
                    <a:moveTo>
                      <a:pt x="226525" y="0"/>
                    </a:moveTo>
                    <a:cubicBezTo>
                      <a:pt x="226525" y="0"/>
                      <a:pt x="92288" y="155593"/>
                      <a:pt x="107543" y="164746"/>
                    </a:cubicBezTo>
                    <a:cubicBezTo>
                      <a:pt x="125847" y="173898"/>
                      <a:pt x="324152" y="36610"/>
                      <a:pt x="324152" y="36610"/>
                    </a:cubicBezTo>
                    <a:lnTo>
                      <a:pt x="345509" y="21355"/>
                    </a:lnTo>
                    <a:cubicBezTo>
                      <a:pt x="345509" y="21355"/>
                      <a:pt x="369915" y="70169"/>
                      <a:pt x="363814" y="97627"/>
                    </a:cubicBezTo>
                    <a:cubicBezTo>
                      <a:pt x="357712" y="125085"/>
                      <a:pt x="351610" y="234915"/>
                      <a:pt x="351610" y="234915"/>
                    </a:cubicBezTo>
                    <a:lnTo>
                      <a:pt x="324152" y="234915"/>
                    </a:lnTo>
                    <a:lnTo>
                      <a:pt x="308898" y="125085"/>
                    </a:lnTo>
                    <a:cubicBezTo>
                      <a:pt x="308898" y="125085"/>
                      <a:pt x="186864" y="253220"/>
                      <a:pt x="165508" y="256271"/>
                    </a:cubicBezTo>
                    <a:cubicBezTo>
                      <a:pt x="144153" y="262373"/>
                      <a:pt x="19068" y="262373"/>
                      <a:pt x="6864" y="259322"/>
                    </a:cubicBezTo>
                    <a:cubicBezTo>
                      <a:pt x="-2288" y="259322"/>
                      <a:pt x="-2288" y="219660"/>
                      <a:pt x="6864" y="213559"/>
                    </a:cubicBezTo>
                    <a:cubicBezTo>
                      <a:pt x="86187" y="170848"/>
                      <a:pt x="226525" y="0"/>
                      <a:pt x="226525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18E53512-2FC1-4CE9-94AE-70002D9CAA96}"/>
                  </a:ext>
                </a:extLst>
              </p:cNvPr>
              <p:cNvSpPr/>
              <p:nvPr/>
            </p:nvSpPr>
            <p:spPr>
              <a:xfrm>
                <a:off x="8539521" y="11963413"/>
                <a:ext cx="237159" cy="294624"/>
              </a:xfrm>
              <a:custGeom>
                <a:avLst/>
                <a:gdLst>
                  <a:gd name="connsiteX0" fmla="*/ 170008 w 237159"/>
                  <a:gd name="connsiteY0" fmla="*/ 0 h 294624"/>
                  <a:gd name="connsiteX1" fmla="*/ 121195 w 237159"/>
                  <a:gd name="connsiteY1" fmla="*/ 128136 h 294624"/>
                  <a:gd name="connsiteX2" fmla="*/ 2212 w 237159"/>
                  <a:gd name="connsiteY2" fmla="*/ 292882 h 294624"/>
                  <a:gd name="connsiteX3" fmla="*/ 237127 w 237159"/>
                  <a:gd name="connsiteY3" fmla="*/ 149491 h 294624"/>
                  <a:gd name="connsiteX4" fmla="*/ 227975 w 237159"/>
                  <a:gd name="connsiteY4" fmla="*/ 0 h 294624"/>
                  <a:gd name="connsiteX5" fmla="*/ 170008 w 237159"/>
                  <a:gd name="connsiteY5" fmla="*/ 0 h 294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159" h="294624">
                    <a:moveTo>
                      <a:pt x="170008" y="0"/>
                    </a:moveTo>
                    <a:lnTo>
                      <a:pt x="121195" y="128136"/>
                    </a:lnTo>
                    <a:cubicBezTo>
                      <a:pt x="121195" y="128136"/>
                      <a:pt x="-19144" y="277627"/>
                      <a:pt x="2212" y="292882"/>
                    </a:cubicBezTo>
                    <a:cubicBezTo>
                      <a:pt x="23568" y="311187"/>
                      <a:pt x="240178" y="180000"/>
                      <a:pt x="237127" y="149491"/>
                    </a:cubicBezTo>
                    <a:cubicBezTo>
                      <a:pt x="237127" y="100678"/>
                      <a:pt x="227975" y="0"/>
                      <a:pt x="227975" y="0"/>
                    </a:cubicBezTo>
                    <a:lnTo>
                      <a:pt x="170008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0" name="图形 114">
              <a:extLst>
                <a:ext uri="{FF2B5EF4-FFF2-40B4-BE49-F238E27FC236}">
                  <a16:creationId xmlns:a16="http://schemas.microsoft.com/office/drawing/2014/main" id="{01EE1504-E3AA-41E6-8833-E2C47606CD97}"/>
                </a:ext>
              </a:extLst>
            </p:cNvPr>
            <p:cNvGrpSpPr/>
            <p:nvPr/>
          </p:nvGrpSpPr>
          <p:grpSpPr>
            <a:xfrm>
              <a:off x="9322979" y="11905448"/>
              <a:ext cx="329262" cy="451704"/>
              <a:chOff x="9322979" y="11905448"/>
              <a:chExt cx="329262" cy="451704"/>
            </a:xfrm>
          </p:grpSpPr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319852AC-E6C3-43AF-93F2-6A6F4855E0B3}"/>
                  </a:ext>
                </a:extLst>
              </p:cNvPr>
              <p:cNvSpPr/>
              <p:nvPr/>
            </p:nvSpPr>
            <p:spPr>
              <a:xfrm>
                <a:off x="9322979" y="12012227"/>
                <a:ext cx="329262" cy="344925"/>
              </a:xfrm>
              <a:custGeom>
                <a:avLst/>
                <a:gdLst>
                  <a:gd name="connsiteX0" fmla="*/ 134008 w 329262"/>
                  <a:gd name="connsiteY0" fmla="*/ 18305 h 344925"/>
                  <a:gd name="connsiteX1" fmla="*/ 79093 w 329262"/>
                  <a:gd name="connsiteY1" fmla="*/ 213559 h 344925"/>
                  <a:gd name="connsiteX2" fmla="*/ 237737 w 329262"/>
                  <a:gd name="connsiteY2" fmla="*/ 21355 h 344925"/>
                  <a:gd name="connsiteX3" fmla="*/ 249941 w 329262"/>
                  <a:gd name="connsiteY3" fmla="*/ 0 h 344925"/>
                  <a:gd name="connsiteX4" fmla="*/ 292653 w 329262"/>
                  <a:gd name="connsiteY4" fmla="*/ 67118 h 344925"/>
                  <a:gd name="connsiteX5" fmla="*/ 329263 w 329262"/>
                  <a:gd name="connsiteY5" fmla="*/ 201356 h 344925"/>
                  <a:gd name="connsiteX6" fmla="*/ 304856 w 329262"/>
                  <a:gd name="connsiteY6" fmla="*/ 210508 h 344925"/>
                  <a:gd name="connsiteX7" fmla="*/ 252992 w 329262"/>
                  <a:gd name="connsiteY7" fmla="*/ 112881 h 344925"/>
                  <a:gd name="connsiteX8" fmla="*/ 164517 w 329262"/>
                  <a:gd name="connsiteY8" fmla="*/ 286779 h 344925"/>
                  <a:gd name="connsiteX9" fmla="*/ 18076 w 329262"/>
                  <a:gd name="connsiteY9" fmla="*/ 344745 h 344925"/>
                  <a:gd name="connsiteX10" fmla="*/ 2822 w 329262"/>
                  <a:gd name="connsiteY10" fmla="*/ 298983 h 344925"/>
                  <a:gd name="connsiteX11" fmla="*/ 134008 w 329262"/>
                  <a:gd name="connsiteY11" fmla="*/ 18305 h 344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9262" h="344925">
                    <a:moveTo>
                      <a:pt x="134008" y="18305"/>
                    </a:moveTo>
                    <a:cubicBezTo>
                      <a:pt x="134008" y="18305"/>
                      <a:pt x="60788" y="210508"/>
                      <a:pt x="79093" y="213559"/>
                    </a:cubicBezTo>
                    <a:cubicBezTo>
                      <a:pt x="97398" y="216610"/>
                      <a:pt x="237737" y="21355"/>
                      <a:pt x="237737" y="21355"/>
                    </a:cubicBezTo>
                    <a:lnTo>
                      <a:pt x="249941" y="0"/>
                    </a:lnTo>
                    <a:cubicBezTo>
                      <a:pt x="249941" y="0"/>
                      <a:pt x="289602" y="39661"/>
                      <a:pt x="292653" y="67118"/>
                    </a:cubicBezTo>
                    <a:cubicBezTo>
                      <a:pt x="298754" y="94576"/>
                      <a:pt x="329263" y="201356"/>
                      <a:pt x="329263" y="201356"/>
                    </a:cubicBezTo>
                    <a:lnTo>
                      <a:pt x="304856" y="210508"/>
                    </a:lnTo>
                    <a:lnTo>
                      <a:pt x="252992" y="112881"/>
                    </a:lnTo>
                    <a:cubicBezTo>
                      <a:pt x="252992" y="112881"/>
                      <a:pt x="182822" y="274576"/>
                      <a:pt x="164517" y="286779"/>
                    </a:cubicBezTo>
                    <a:cubicBezTo>
                      <a:pt x="146212" y="298983"/>
                      <a:pt x="27229" y="341694"/>
                      <a:pt x="18076" y="344745"/>
                    </a:cubicBezTo>
                    <a:cubicBezTo>
                      <a:pt x="8924" y="347796"/>
                      <a:pt x="-6330" y="311186"/>
                      <a:pt x="2822" y="298983"/>
                    </a:cubicBezTo>
                    <a:cubicBezTo>
                      <a:pt x="60788" y="225763"/>
                      <a:pt x="134008" y="18305"/>
                      <a:pt x="134008" y="18305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52B0884B-4662-4829-B84D-6E9EA95BA78D}"/>
                  </a:ext>
                </a:extLst>
              </p:cNvPr>
              <p:cNvSpPr/>
              <p:nvPr/>
            </p:nvSpPr>
            <p:spPr>
              <a:xfrm>
                <a:off x="9396469" y="11905448"/>
                <a:ext cx="179889" cy="320650"/>
              </a:xfrm>
              <a:custGeom>
                <a:avLst/>
                <a:gdLst>
                  <a:gd name="connsiteX0" fmla="*/ 17807 w 179889"/>
                  <a:gd name="connsiteY0" fmla="*/ 6101 h 320650"/>
                  <a:gd name="connsiteX1" fmla="*/ 60519 w 179889"/>
                  <a:gd name="connsiteY1" fmla="*/ 125085 h 320650"/>
                  <a:gd name="connsiteX2" fmla="*/ 5604 w 179889"/>
                  <a:gd name="connsiteY2" fmla="*/ 320339 h 320650"/>
                  <a:gd name="connsiteX3" fmla="*/ 179502 w 179889"/>
                  <a:gd name="connsiteY3" fmla="*/ 103729 h 320650"/>
                  <a:gd name="connsiteX4" fmla="*/ 66621 w 179889"/>
                  <a:gd name="connsiteY4" fmla="*/ 0 h 320650"/>
                  <a:gd name="connsiteX5" fmla="*/ 17807 w 179889"/>
                  <a:gd name="connsiteY5" fmla="*/ 6101 h 320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889" h="320650">
                    <a:moveTo>
                      <a:pt x="17807" y="6101"/>
                    </a:moveTo>
                    <a:lnTo>
                      <a:pt x="60519" y="125085"/>
                    </a:lnTo>
                    <a:cubicBezTo>
                      <a:pt x="60519" y="125085"/>
                      <a:pt x="-21854" y="311186"/>
                      <a:pt x="5604" y="320339"/>
                    </a:cubicBezTo>
                    <a:cubicBezTo>
                      <a:pt x="33061" y="329491"/>
                      <a:pt x="188655" y="134237"/>
                      <a:pt x="179502" y="103729"/>
                    </a:cubicBezTo>
                    <a:cubicBezTo>
                      <a:pt x="127638" y="67118"/>
                      <a:pt x="66621" y="0"/>
                      <a:pt x="66621" y="0"/>
                    </a:cubicBezTo>
                    <a:lnTo>
                      <a:pt x="17807" y="6101"/>
                    </a:ln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D9438E6A-AD2A-4CCB-B72B-D8DBA6D2DD38}"/>
                </a:ext>
              </a:extLst>
            </p:cNvPr>
            <p:cNvSpPr/>
            <p:nvPr/>
          </p:nvSpPr>
          <p:spPr>
            <a:xfrm>
              <a:off x="8500722" y="9525787"/>
              <a:ext cx="1072197" cy="2584067"/>
            </a:xfrm>
            <a:custGeom>
              <a:avLst/>
              <a:gdLst>
                <a:gd name="connsiteX0" fmla="*/ 788468 w 1072197"/>
                <a:gd name="connsiteY0" fmla="*/ 0 h 2584067"/>
                <a:gd name="connsiteX1" fmla="*/ 120333 w 1072197"/>
                <a:gd name="connsiteY1" fmla="*/ 0 h 2584067"/>
                <a:gd name="connsiteX2" fmla="*/ 1350 w 1072197"/>
                <a:gd name="connsiteY2" fmla="*/ 460678 h 2584067"/>
                <a:gd name="connsiteX3" fmla="*/ 156943 w 1072197"/>
                <a:gd name="connsiteY3" fmla="*/ 2562712 h 2584067"/>
                <a:gd name="connsiteX4" fmla="*/ 275926 w 1072197"/>
                <a:gd name="connsiteY4" fmla="*/ 2584067 h 2584067"/>
                <a:gd name="connsiteX5" fmla="*/ 462028 w 1072197"/>
                <a:gd name="connsiteY5" fmla="*/ 814576 h 2584067"/>
                <a:gd name="connsiteX6" fmla="*/ 532197 w 1072197"/>
                <a:gd name="connsiteY6" fmla="*/ 1626101 h 2584067"/>
                <a:gd name="connsiteX7" fmla="*/ 544401 w 1072197"/>
                <a:gd name="connsiteY7" fmla="*/ 1677966 h 2584067"/>
                <a:gd name="connsiteX8" fmla="*/ 953214 w 1072197"/>
                <a:gd name="connsiteY8" fmla="*/ 2501695 h 2584067"/>
                <a:gd name="connsiteX9" fmla="*/ 1072197 w 1072197"/>
                <a:gd name="connsiteY9" fmla="*/ 2480339 h 2584067"/>
                <a:gd name="connsiteX10" fmla="*/ 883045 w 1072197"/>
                <a:gd name="connsiteY10" fmla="*/ 1656610 h 2584067"/>
                <a:gd name="connsiteX11" fmla="*/ 919655 w 1072197"/>
                <a:gd name="connsiteY11" fmla="*/ 414915 h 2584067"/>
                <a:gd name="connsiteX12" fmla="*/ 788468 w 1072197"/>
                <a:gd name="connsiteY12" fmla="*/ 0 h 2584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2197" h="2584067">
                  <a:moveTo>
                    <a:pt x="788468" y="0"/>
                  </a:moveTo>
                  <a:lnTo>
                    <a:pt x="120333" y="0"/>
                  </a:lnTo>
                  <a:cubicBezTo>
                    <a:pt x="120333" y="0"/>
                    <a:pt x="22706" y="305085"/>
                    <a:pt x="1350" y="460678"/>
                  </a:cubicBezTo>
                  <a:cubicBezTo>
                    <a:pt x="-16955" y="613221"/>
                    <a:pt x="156943" y="2562712"/>
                    <a:pt x="156943" y="2562712"/>
                  </a:cubicBezTo>
                  <a:lnTo>
                    <a:pt x="275926" y="2584067"/>
                  </a:lnTo>
                  <a:lnTo>
                    <a:pt x="462028" y="814576"/>
                  </a:lnTo>
                  <a:lnTo>
                    <a:pt x="532197" y="1626101"/>
                  </a:lnTo>
                  <a:cubicBezTo>
                    <a:pt x="535248" y="1644407"/>
                    <a:pt x="538299" y="1662712"/>
                    <a:pt x="544401" y="1677966"/>
                  </a:cubicBezTo>
                  <a:lnTo>
                    <a:pt x="953214" y="2501695"/>
                  </a:lnTo>
                  <a:lnTo>
                    <a:pt x="1072197" y="2480339"/>
                  </a:lnTo>
                  <a:lnTo>
                    <a:pt x="883045" y="1656610"/>
                  </a:lnTo>
                  <a:cubicBezTo>
                    <a:pt x="883045" y="1656610"/>
                    <a:pt x="913553" y="478983"/>
                    <a:pt x="919655" y="414915"/>
                  </a:cubicBezTo>
                  <a:cubicBezTo>
                    <a:pt x="931859" y="295932"/>
                    <a:pt x="788468" y="0"/>
                    <a:pt x="788468" y="0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044C017E-0D51-4D4B-A7C0-180245E5EA05}"/>
                </a:ext>
              </a:extLst>
            </p:cNvPr>
            <p:cNvSpPr/>
            <p:nvPr/>
          </p:nvSpPr>
          <p:spPr>
            <a:xfrm>
              <a:off x="8496649" y="9513029"/>
              <a:ext cx="1149491" cy="1723911"/>
            </a:xfrm>
            <a:custGeom>
              <a:avLst/>
              <a:gdLst>
                <a:gd name="connsiteX0" fmla="*/ 826102 w 1149491"/>
                <a:gd name="connsiteY0" fmla="*/ 85978 h 1723911"/>
                <a:gd name="connsiteX1" fmla="*/ 124407 w 1149491"/>
                <a:gd name="connsiteY1" fmla="*/ 12758 h 1723911"/>
                <a:gd name="connsiteX2" fmla="*/ 5424 w 1149491"/>
                <a:gd name="connsiteY2" fmla="*/ 473436 h 1723911"/>
                <a:gd name="connsiteX3" fmla="*/ 42034 w 1149491"/>
                <a:gd name="connsiteY3" fmla="*/ 1644961 h 1723911"/>
                <a:gd name="connsiteX4" fmla="*/ 1149492 w 1149491"/>
                <a:gd name="connsiteY4" fmla="*/ 1550385 h 1723911"/>
                <a:gd name="connsiteX5" fmla="*/ 826102 w 1149491"/>
                <a:gd name="connsiteY5" fmla="*/ 85978 h 172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9491" h="1723911">
                  <a:moveTo>
                    <a:pt x="826102" y="85978"/>
                  </a:moveTo>
                  <a:cubicBezTo>
                    <a:pt x="722373" y="-45209"/>
                    <a:pt x="124407" y="12758"/>
                    <a:pt x="124407" y="12758"/>
                  </a:cubicBezTo>
                  <a:cubicBezTo>
                    <a:pt x="124407" y="12758"/>
                    <a:pt x="26780" y="317843"/>
                    <a:pt x="5424" y="473436"/>
                  </a:cubicBezTo>
                  <a:cubicBezTo>
                    <a:pt x="-3729" y="552757"/>
                    <a:pt x="-6780" y="1141571"/>
                    <a:pt x="42034" y="1644961"/>
                  </a:cubicBezTo>
                  <a:cubicBezTo>
                    <a:pt x="646102" y="1788351"/>
                    <a:pt x="865763" y="1724283"/>
                    <a:pt x="1149492" y="1550385"/>
                  </a:cubicBezTo>
                  <a:cubicBezTo>
                    <a:pt x="960339" y="1132418"/>
                    <a:pt x="1112881" y="442927"/>
                    <a:pt x="826102" y="85978"/>
                  </a:cubicBezTo>
                  <a:close/>
                </a:path>
              </a:pathLst>
            </a:custGeom>
            <a:solidFill>
              <a:srgbClr val="F1DDBA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92E3D988-EE63-4E27-945E-A25D7DFCE6D8}"/>
                </a:ext>
              </a:extLst>
            </p:cNvPr>
            <p:cNvSpPr/>
            <p:nvPr/>
          </p:nvSpPr>
          <p:spPr>
            <a:xfrm>
              <a:off x="8518435" y="8569454"/>
              <a:ext cx="821136" cy="986930"/>
            </a:xfrm>
            <a:custGeom>
              <a:avLst/>
              <a:gdLst>
                <a:gd name="connsiteX0" fmla="*/ 776858 w 821136"/>
                <a:gd name="connsiteY0" fmla="*/ 391926 h 986930"/>
                <a:gd name="connsiteX1" fmla="*/ 761604 w 821136"/>
                <a:gd name="connsiteY1" fmla="*/ 68536 h 986930"/>
                <a:gd name="connsiteX2" fmla="*/ 392451 w 821136"/>
                <a:gd name="connsiteY2" fmla="*/ 4468 h 986930"/>
                <a:gd name="connsiteX3" fmla="*/ 90417 w 821136"/>
                <a:gd name="connsiteY3" fmla="*/ 105146 h 986930"/>
                <a:gd name="connsiteX4" fmla="*/ 50756 w 821136"/>
                <a:gd name="connsiteY4" fmla="*/ 654298 h 986930"/>
                <a:gd name="connsiteX5" fmla="*/ 93468 w 821136"/>
                <a:gd name="connsiteY5" fmla="*/ 980739 h 986930"/>
                <a:gd name="connsiteX6" fmla="*/ 770756 w 821136"/>
                <a:gd name="connsiteY6" fmla="*/ 965485 h 986930"/>
                <a:gd name="connsiteX7" fmla="*/ 776858 w 821136"/>
                <a:gd name="connsiteY7" fmla="*/ 391926 h 986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1136" h="986930">
                  <a:moveTo>
                    <a:pt x="776858" y="391926"/>
                  </a:moveTo>
                  <a:cubicBezTo>
                    <a:pt x="786010" y="361417"/>
                    <a:pt x="880587" y="132604"/>
                    <a:pt x="761604" y="68536"/>
                  </a:cubicBezTo>
                  <a:cubicBezTo>
                    <a:pt x="657875" y="13620"/>
                    <a:pt x="511434" y="-10787"/>
                    <a:pt x="392451" y="4468"/>
                  </a:cubicBezTo>
                  <a:cubicBezTo>
                    <a:pt x="261265" y="19722"/>
                    <a:pt x="130078" y="41078"/>
                    <a:pt x="90417" y="105146"/>
                  </a:cubicBezTo>
                  <a:cubicBezTo>
                    <a:pt x="-22464" y="291248"/>
                    <a:pt x="-22464" y="455993"/>
                    <a:pt x="50756" y="654298"/>
                  </a:cubicBezTo>
                  <a:cubicBezTo>
                    <a:pt x="72112" y="712265"/>
                    <a:pt x="78214" y="846502"/>
                    <a:pt x="93468" y="980739"/>
                  </a:cubicBezTo>
                  <a:cubicBezTo>
                    <a:pt x="93468" y="980739"/>
                    <a:pt x="377197" y="1002095"/>
                    <a:pt x="770756" y="965485"/>
                  </a:cubicBezTo>
                  <a:cubicBezTo>
                    <a:pt x="740248" y="745824"/>
                    <a:pt x="770756" y="413281"/>
                    <a:pt x="776858" y="391926"/>
                  </a:cubicBez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F711B39C-0618-4D63-8EEA-C0102FFD30CD}"/>
                </a:ext>
              </a:extLst>
            </p:cNvPr>
            <p:cNvSpPr/>
            <p:nvPr/>
          </p:nvSpPr>
          <p:spPr>
            <a:xfrm>
              <a:off x="8801055" y="8390871"/>
              <a:ext cx="311186" cy="326441"/>
            </a:xfrm>
            <a:custGeom>
              <a:avLst/>
              <a:gdLst>
                <a:gd name="connsiteX0" fmla="*/ 54915 w 311186"/>
                <a:gd name="connsiteY0" fmla="*/ 61017 h 326441"/>
                <a:gd name="connsiteX1" fmla="*/ 0 w 311186"/>
                <a:gd name="connsiteY1" fmla="*/ 201356 h 326441"/>
                <a:gd name="connsiteX2" fmla="*/ 115932 w 311186"/>
                <a:gd name="connsiteY2" fmla="*/ 326441 h 326441"/>
                <a:gd name="connsiteX3" fmla="*/ 311187 w 311186"/>
                <a:gd name="connsiteY3" fmla="*/ 186102 h 326441"/>
                <a:gd name="connsiteX4" fmla="*/ 259322 w 311186"/>
                <a:gd name="connsiteY4" fmla="*/ 0 h 326441"/>
                <a:gd name="connsiteX5" fmla="*/ 54915 w 311186"/>
                <a:gd name="connsiteY5" fmla="*/ 61017 h 326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1186" h="326441">
                  <a:moveTo>
                    <a:pt x="54915" y="61017"/>
                  </a:moveTo>
                  <a:cubicBezTo>
                    <a:pt x="54915" y="61017"/>
                    <a:pt x="61017" y="170848"/>
                    <a:pt x="0" y="201356"/>
                  </a:cubicBezTo>
                  <a:lnTo>
                    <a:pt x="115932" y="326441"/>
                  </a:lnTo>
                  <a:cubicBezTo>
                    <a:pt x="115932" y="326441"/>
                    <a:pt x="256271" y="216610"/>
                    <a:pt x="311187" y="186102"/>
                  </a:cubicBezTo>
                  <a:cubicBezTo>
                    <a:pt x="256271" y="143390"/>
                    <a:pt x="259322" y="61017"/>
                    <a:pt x="259322" y="0"/>
                  </a:cubicBezTo>
                  <a:cubicBezTo>
                    <a:pt x="259322" y="0"/>
                    <a:pt x="109831" y="67119"/>
                    <a:pt x="54915" y="61017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B92C28A5-6412-4CEB-8F7E-933DB76261F8}"/>
                </a:ext>
              </a:extLst>
            </p:cNvPr>
            <p:cNvSpPr/>
            <p:nvPr/>
          </p:nvSpPr>
          <p:spPr>
            <a:xfrm>
              <a:off x="8519550" y="8668498"/>
              <a:ext cx="101505" cy="558305"/>
            </a:xfrm>
            <a:custGeom>
              <a:avLst/>
              <a:gdLst>
                <a:gd name="connsiteX0" fmla="*/ 55743 w 101505"/>
                <a:gd name="connsiteY0" fmla="*/ 558305 h 558305"/>
                <a:gd name="connsiteX1" fmla="*/ 49641 w 101505"/>
                <a:gd name="connsiteY1" fmla="*/ 555254 h 558305"/>
                <a:gd name="connsiteX2" fmla="*/ 34387 w 101505"/>
                <a:gd name="connsiteY2" fmla="*/ 500339 h 558305"/>
                <a:gd name="connsiteX3" fmla="*/ 828 w 101505"/>
                <a:gd name="connsiteY3" fmla="*/ 347796 h 558305"/>
                <a:gd name="connsiteX4" fmla="*/ 89302 w 101505"/>
                <a:gd name="connsiteY4" fmla="*/ 3051 h 558305"/>
                <a:gd name="connsiteX5" fmla="*/ 98455 w 101505"/>
                <a:gd name="connsiteY5" fmla="*/ 0 h 558305"/>
                <a:gd name="connsiteX6" fmla="*/ 101506 w 101505"/>
                <a:gd name="connsiteY6" fmla="*/ 9153 h 558305"/>
                <a:gd name="connsiteX7" fmla="*/ 13031 w 101505"/>
                <a:gd name="connsiteY7" fmla="*/ 347796 h 558305"/>
                <a:gd name="connsiteX8" fmla="*/ 46590 w 101505"/>
                <a:gd name="connsiteY8" fmla="*/ 497288 h 558305"/>
                <a:gd name="connsiteX9" fmla="*/ 61844 w 101505"/>
                <a:gd name="connsiteY9" fmla="*/ 552204 h 558305"/>
                <a:gd name="connsiteX10" fmla="*/ 55743 w 101505"/>
                <a:gd name="connsiteY10" fmla="*/ 558305 h 558305"/>
                <a:gd name="connsiteX11" fmla="*/ 55743 w 101505"/>
                <a:gd name="connsiteY11" fmla="*/ 558305 h 55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505" h="558305">
                  <a:moveTo>
                    <a:pt x="55743" y="558305"/>
                  </a:moveTo>
                  <a:cubicBezTo>
                    <a:pt x="52692" y="558305"/>
                    <a:pt x="49641" y="555254"/>
                    <a:pt x="49641" y="555254"/>
                  </a:cubicBezTo>
                  <a:cubicBezTo>
                    <a:pt x="43540" y="536949"/>
                    <a:pt x="40489" y="518644"/>
                    <a:pt x="34387" y="500339"/>
                  </a:cubicBezTo>
                  <a:cubicBezTo>
                    <a:pt x="19133" y="448474"/>
                    <a:pt x="3879" y="396610"/>
                    <a:pt x="828" y="347796"/>
                  </a:cubicBezTo>
                  <a:cubicBezTo>
                    <a:pt x="-5274" y="222712"/>
                    <a:pt x="22183" y="106780"/>
                    <a:pt x="89302" y="3051"/>
                  </a:cubicBezTo>
                  <a:cubicBezTo>
                    <a:pt x="92353" y="0"/>
                    <a:pt x="95404" y="0"/>
                    <a:pt x="98455" y="0"/>
                  </a:cubicBezTo>
                  <a:cubicBezTo>
                    <a:pt x="101506" y="3051"/>
                    <a:pt x="101506" y="6102"/>
                    <a:pt x="101506" y="9153"/>
                  </a:cubicBezTo>
                  <a:cubicBezTo>
                    <a:pt x="37438" y="112881"/>
                    <a:pt x="6929" y="225763"/>
                    <a:pt x="13031" y="347796"/>
                  </a:cubicBezTo>
                  <a:cubicBezTo>
                    <a:pt x="16082" y="393559"/>
                    <a:pt x="31336" y="445424"/>
                    <a:pt x="46590" y="497288"/>
                  </a:cubicBezTo>
                  <a:cubicBezTo>
                    <a:pt x="52692" y="515593"/>
                    <a:pt x="58794" y="533898"/>
                    <a:pt x="61844" y="552204"/>
                  </a:cubicBezTo>
                  <a:cubicBezTo>
                    <a:pt x="61844" y="555254"/>
                    <a:pt x="58794" y="558305"/>
                    <a:pt x="55743" y="558305"/>
                  </a:cubicBezTo>
                  <a:cubicBezTo>
                    <a:pt x="55743" y="558305"/>
                    <a:pt x="55743" y="558305"/>
                    <a:pt x="55743" y="558305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13BED9CB-39C5-4EE3-A805-7804B62A6DDF}"/>
                </a:ext>
              </a:extLst>
            </p:cNvPr>
            <p:cNvSpPr/>
            <p:nvPr/>
          </p:nvSpPr>
          <p:spPr>
            <a:xfrm>
              <a:off x="8639361" y="9111065"/>
              <a:ext cx="400924" cy="36416"/>
            </a:xfrm>
            <a:custGeom>
              <a:avLst/>
              <a:gdLst>
                <a:gd name="connsiteX0" fmla="*/ 6102 w 400924"/>
                <a:gd name="connsiteY0" fmla="*/ 36416 h 36416"/>
                <a:gd name="connsiteX1" fmla="*/ 0 w 400924"/>
                <a:gd name="connsiteY1" fmla="*/ 33365 h 36416"/>
                <a:gd name="connsiteX2" fmla="*/ 3051 w 400924"/>
                <a:gd name="connsiteY2" fmla="*/ 27263 h 36416"/>
                <a:gd name="connsiteX3" fmla="*/ 396610 w 400924"/>
                <a:gd name="connsiteY3" fmla="*/ 15060 h 36416"/>
                <a:gd name="connsiteX4" fmla="*/ 399661 w 400924"/>
                <a:gd name="connsiteY4" fmla="*/ 21162 h 36416"/>
                <a:gd name="connsiteX5" fmla="*/ 393559 w 400924"/>
                <a:gd name="connsiteY5" fmla="*/ 24213 h 36416"/>
                <a:gd name="connsiteX6" fmla="*/ 6102 w 400924"/>
                <a:gd name="connsiteY6" fmla="*/ 36416 h 36416"/>
                <a:gd name="connsiteX7" fmla="*/ 6102 w 400924"/>
                <a:gd name="connsiteY7" fmla="*/ 36416 h 36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924" h="36416">
                  <a:moveTo>
                    <a:pt x="6102" y="36416"/>
                  </a:moveTo>
                  <a:cubicBezTo>
                    <a:pt x="3051" y="36416"/>
                    <a:pt x="3051" y="36416"/>
                    <a:pt x="0" y="33365"/>
                  </a:cubicBezTo>
                  <a:cubicBezTo>
                    <a:pt x="0" y="30314"/>
                    <a:pt x="0" y="27263"/>
                    <a:pt x="3051" y="27263"/>
                  </a:cubicBezTo>
                  <a:cubicBezTo>
                    <a:pt x="88474" y="-3245"/>
                    <a:pt x="295932" y="-9347"/>
                    <a:pt x="396610" y="15060"/>
                  </a:cubicBezTo>
                  <a:cubicBezTo>
                    <a:pt x="399661" y="15060"/>
                    <a:pt x="402712" y="18111"/>
                    <a:pt x="399661" y="21162"/>
                  </a:cubicBezTo>
                  <a:cubicBezTo>
                    <a:pt x="399661" y="24213"/>
                    <a:pt x="396610" y="27263"/>
                    <a:pt x="393559" y="24213"/>
                  </a:cubicBezTo>
                  <a:cubicBezTo>
                    <a:pt x="298983" y="-194"/>
                    <a:pt x="91525" y="5908"/>
                    <a:pt x="6102" y="36416"/>
                  </a:cubicBezTo>
                  <a:cubicBezTo>
                    <a:pt x="9152" y="36416"/>
                    <a:pt x="6102" y="36416"/>
                    <a:pt x="6102" y="36416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038E1A08-9ABC-4F36-89C8-0E8D43FC66E7}"/>
                </a:ext>
              </a:extLst>
            </p:cNvPr>
            <p:cNvSpPr/>
            <p:nvPr/>
          </p:nvSpPr>
          <p:spPr>
            <a:xfrm>
              <a:off x="8776649" y="8580024"/>
              <a:ext cx="359999" cy="155592"/>
            </a:xfrm>
            <a:custGeom>
              <a:avLst/>
              <a:gdLst>
                <a:gd name="connsiteX0" fmla="*/ 36610 w 359999"/>
                <a:gd name="connsiteY0" fmla="*/ 6102 h 155592"/>
                <a:gd name="connsiteX1" fmla="*/ 140339 w 359999"/>
                <a:gd name="connsiteY1" fmla="*/ 122034 h 155592"/>
                <a:gd name="connsiteX2" fmla="*/ 335593 w 359999"/>
                <a:gd name="connsiteY2" fmla="*/ 0 h 155592"/>
                <a:gd name="connsiteX3" fmla="*/ 360000 w 359999"/>
                <a:gd name="connsiteY3" fmla="*/ 9152 h 155592"/>
                <a:gd name="connsiteX4" fmla="*/ 137288 w 359999"/>
                <a:gd name="connsiteY4" fmla="*/ 155593 h 155592"/>
                <a:gd name="connsiteX5" fmla="*/ 0 w 359999"/>
                <a:gd name="connsiteY5" fmla="*/ 15254 h 155592"/>
                <a:gd name="connsiteX6" fmla="*/ 36610 w 359999"/>
                <a:gd name="connsiteY6" fmla="*/ 6102 h 155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9999" h="155592">
                  <a:moveTo>
                    <a:pt x="36610" y="6102"/>
                  </a:moveTo>
                  <a:lnTo>
                    <a:pt x="140339" y="122034"/>
                  </a:lnTo>
                  <a:cubicBezTo>
                    <a:pt x="140339" y="122034"/>
                    <a:pt x="271525" y="21356"/>
                    <a:pt x="335593" y="0"/>
                  </a:cubicBezTo>
                  <a:lnTo>
                    <a:pt x="360000" y="9152"/>
                  </a:lnTo>
                  <a:lnTo>
                    <a:pt x="137288" y="155593"/>
                  </a:lnTo>
                  <a:lnTo>
                    <a:pt x="0" y="15254"/>
                  </a:lnTo>
                  <a:cubicBezTo>
                    <a:pt x="0" y="12203"/>
                    <a:pt x="15254" y="6102"/>
                    <a:pt x="36610" y="6102"/>
                  </a:cubicBez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3E2EBFD2-E901-4B0D-BDF7-A67514ECCDC0}"/>
                </a:ext>
              </a:extLst>
            </p:cNvPr>
            <p:cNvSpPr/>
            <p:nvPr/>
          </p:nvSpPr>
          <p:spPr>
            <a:xfrm>
              <a:off x="8489869" y="9504430"/>
              <a:ext cx="927457" cy="190847"/>
            </a:xfrm>
            <a:custGeom>
              <a:avLst/>
              <a:gdLst>
                <a:gd name="connsiteX0" fmla="*/ 802373 w 927457"/>
                <a:gd name="connsiteY0" fmla="*/ 0 h 190847"/>
                <a:gd name="connsiteX1" fmla="*/ 927458 w 927457"/>
                <a:gd name="connsiteY1" fmla="*/ 131187 h 190847"/>
                <a:gd name="connsiteX2" fmla="*/ 0 w 927457"/>
                <a:gd name="connsiteY2" fmla="*/ 131187 h 190847"/>
                <a:gd name="connsiteX3" fmla="*/ 128136 w 927457"/>
                <a:gd name="connsiteY3" fmla="*/ 42712 h 190847"/>
                <a:gd name="connsiteX4" fmla="*/ 802373 w 927457"/>
                <a:gd name="connsiteY4" fmla="*/ 0 h 190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7457" h="190847">
                  <a:moveTo>
                    <a:pt x="802373" y="0"/>
                  </a:moveTo>
                  <a:lnTo>
                    <a:pt x="927458" y="131187"/>
                  </a:lnTo>
                  <a:cubicBezTo>
                    <a:pt x="927458" y="131187"/>
                    <a:pt x="503390" y="265424"/>
                    <a:pt x="0" y="131187"/>
                  </a:cubicBezTo>
                  <a:lnTo>
                    <a:pt x="128136" y="42712"/>
                  </a:lnTo>
                  <a:cubicBezTo>
                    <a:pt x="128136" y="42712"/>
                    <a:pt x="707797" y="24407"/>
                    <a:pt x="802373" y="0"/>
                  </a:cubicBez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CBAE0E14-5A4F-4CE6-944D-5C50C4BF3F8D}"/>
                </a:ext>
              </a:extLst>
            </p:cNvPr>
            <p:cNvSpPr/>
            <p:nvPr/>
          </p:nvSpPr>
          <p:spPr>
            <a:xfrm>
              <a:off x="8611903" y="9522736"/>
              <a:ext cx="314237" cy="30508"/>
            </a:xfrm>
            <a:custGeom>
              <a:avLst/>
              <a:gdLst>
                <a:gd name="connsiteX0" fmla="*/ 6102 w 314237"/>
                <a:gd name="connsiteY0" fmla="*/ 30508 h 30508"/>
                <a:gd name="connsiteX1" fmla="*/ 0 w 314237"/>
                <a:gd name="connsiteY1" fmla="*/ 24407 h 30508"/>
                <a:gd name="connsiteX2" fmla="*/ 6102 w 314237"/>
                <a:gd name="connsiteY2" fmla="*/ 18305 h 30508"/>
                <a:gd name="connsiteX3" fmla="*/ 308136 w 314237"/>
                <a:gd name="connsiteY3" fmla="*/ 0 h 30508"/>
                <a:gd name="connsiteX4" fmla="*/ 314237 w 314237"/>
                <a:gd name="connsiteY4" fmla="*/ 3051 h 30508"/>
                <a:gd name="connsiteX5" fmla="*/ 311186 w 314237"/>
                <a:gd name="connsiteY5" fmla="*/ 9153 h 30508"/>
                <a:gd name="connsiteX6" fmla="*/ 6102 w 314237"/>
                <a:gd name="connsiteY6" fmla="*/ 30508 h 30508"/>
                <a:gd name="connsiteX7" fmla="*/ 6102 w 314237"/>
                <a:gd name="connsiteY7" fmla="*/ 30508 h 3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4237" h="30508">
                  <a:moveTo>
                    <a:pt x="6102" y="30508"/>
                  </a:moveTo>
                  <a:cubicBezTo>
                    <a:pt x="3051" y="30508"/>
                    <a:pt x="0" y="27457"/>
                    <a:pt x="0" y="24407"/>
                  </a:cubicBezTo>
                  <a:cubicBezTo>
                    <a:pt x="0" y="21356"/>
                    <a:pt x="3051" y="18305"/>
                    <a:pt x="6102" y="18305"/>
                  </a:cubicBezTo>
                  <a:cubicBezTo>
                    <a:pt x="9153" y="18305"/>
                    <a:pt x="216610" y="15254"/>
                    <a:pt x="308136" y="0"/>
                  </a:cubicBezTo>
                  <a:cubicBezTo>
                    <a:pt x="311186" y="0"/>
                    <a:pt x="314237" y="0"/>
                    <a:pt x="314237" y="3051"/>
                  </a:cubicBezTo>
                  <a:cubicBezTo>
                    <a:pt x="314237" y="6102"/>
                    <a:pt x="314237" y="9153"/>
                    <a:pt x="311186" y="9153"/>
                  </a:cubicBezTo>
                  <a:cubicBezTo>
                    <a:pt x="216610" y="27457"/>
                    <a:pt x="9153" y="30508"/>
                    <a:pt x="6102" y="30508"/>
                  </a:cubicBezTo>
                  <a:cubicBezTo>
                    <a:pt x="6102" y="30508"/>
                    <a:pt x="6102" y="30508"/>
                    <a:pt x="6102" y="30508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8C999D72-543A-448E-8DB7-791AD27E84DE}"/>
                </a:ext>
              </a:extLst>
            </p:cNvPr>
            <p:cNvSpPr/>
            <p:nvPr/>
          </p:nvSpPr>
          <p:spPr>
            <a:xfrm>
              <a:off x="7690423" y="9512642"/>
              <a:ext cx="335716" cy="190565"/>
            </a:xfrm>
            <a:custGeom>
              <a:avLst/>
              <a:gdLst>
                <a:gd name="connsiteX0" fmla="*/ 128259 w 335716"/>
                <a:gd name="connsiteY0" fmla="*/ 187043 h 190565"/>
                <a:gd name="connsiteX1" fmla="*/ 201480 w 335716"/>
                <a:gd name="connsiteY1" fmla="*/ 177891 h 190565"/>
                <a:gd name="connsiteX2" fmla="*/ 314361 w 335716"/>
                <a:gd name="connsiteY2" fmla="*/ 141280 h 190565"/>
                <a:gd name="connsiteX3" fmla="*/ 335717 w 335716"/>
                <a:gd name="connsiteY3" fmla="*/ 34501 h 190565"/>
                <a:gd name="connsiteX4" fmla="*/ 48937 w 335716"/>
                <a:gd name="connsiteY4" fmla="*/ 31450 h 190565"/>
                <a:gd name="connsiteX5" fmla="*/ 30632 w 335716"/>
                <a:gd name="connsiteY5" fmla="*/ 58908 h 190565"/>
                <a:gd name="connsiteX6" fmla="*/ 73344 w 335716"/>
                <a:gd name="connsiteY6" fmla="*/ 65009 h 190565"/>
                <a:gd name="connsiteX7" fmla="*/ 131310 w 335716"/>
                <a:gd name="connsiteY7" fmla="*/ 71111 h 190565"/>
                <a:gd name="connsiteX8" fmla="*/ 61141 w 335716"/>
                <a:gd name="connsiteY8" fmla="*/ 86365 h 190565"/>
                <a:gd name="connsiteX9" fmla="*/ 9276 w 335716"/>
                <a:gd name="connsiteY9" fmla="*/ 101619 h 190565"/>
                <a:gd name="connsiteX10" fmla="*/ 3175 w 335716"/>
                <a:gd name="connsiteY10" fmla="*/ 129077 h 190565"/>
                <a:gd name="connsiteX11" fmla="*/ 30632 w 335716"/>
                <a:gd name="connsiteY11" fmla="*/ 147382 h 190565"/>
                <a:gd name="connsiteX12" fmla="*/ 30632 w 335716"/>
                <a:gd name="connsiteY12" fmla="*/ 150433 h 190565"/>
                <a:gd name="connsiteX13" fmla="*/ 30632 w 335716"/>
                <a:gd name="connsiteY13" fmla="*/ 156534 h 190565"/>
                <a:gd name="connsiteX14" fmla="*/ 76395 w 335716"/>
                <a:gd name="connsiteY14" fmla="*/ 168738 h 190565"/>
                <a:gd name="connsiteX15" fmla="*/ 100802 w 335716"/>
                <a:gd name="connsiteY15" fmla="*/ 165687 h 190565"/>
                <a:gd name="connsiteX16" fmla="*/ 94700 w 335716"/>
                <a:gd name="connsiteY16" fmla="*/ 168738 h 190565"/>
                <a:gd name="connsiteX17" fmla="*/ 88598 w 335716"/>
                <a:gd name="connsiteY17" fmla="*/ 187043 h 190565"/>
                <a:gd name="connsiteX18" fmla="*/ 128259 w 335716"/>
                <a:gd name="connsiteY18" fmla="*/ 187043 h 190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5716" h="190565">
                  <a:moveTo>
                    <a:pt x="128259" y="187043"/>
                  </a:moveTo>
                  <a:cubicBezTo>
                    <a:pt x="152666" y="183993"/>
                    <a:pt x="177073" y="180942"/>
                    <a:pt x="201480" y="177891"/>
                  </a:cubicBezTo>
                  <a:cubicBezTo>
                    <a:pt x="241140" y="171789"/>
                    <a:pt x="286903" y="174840"/>
                    <a:pt x="314361" y="141280"/>
                  </a:cubicBezTo>
                  <a:cubicBezTo>
                    <a:pt x="332666" y="116874"/>
                    <a:pt x="335717" y="34501"/>
                    <a:pt x="335717" y="34501"/>
                  </a:cubicBezTo>
                  <a:cubicBezTo>
                    <a:pt x="299107" y="-32618"/>
                    <a:pt x="106903" y="16196"/>
                    <a:pt x="48937" y="31450"/>
                  </a:cubicBezTo>
                  <a:cubicBezTo>
                    <a:pt x="39785" y="34501"/>
                    <a:pt x="15378" y="46705"/>
                    <a:pt x="30632" y="58908"/>
                  </a:cubicBezTo>
                  <a:cubicBezTo>
                    <a:pt x="39785" y="65009"/>
                    <a:pt x="61141" y="65009"/>
                    <a:pt x="73344" y="65009"/>
                  </a:cubicBezTo>
                  <a:cubicBezTo>
                    <a:pt x="91649" y="68060"/>
                    <a:pt x="113005" y="68060"/>
                    <a:pt x="131310" y="71111"/>
                  </a:cubicBezTo>
                  <a:cubicBezTo>
                    <a:pt x="106903" y="77213"/>
                    <a:pt x="82496" y="83314"/>
                    <a:pt x="61141" y="86365"/>
                  </a:cubicBezTo>
                  <a:cubicBezTo>
                    <a:pt x="45886" y="89416"/>
                    <a:pt x="24531" y="89416"/>
                    <a:pt x="9276" y="101619"/>
                  </a:cubicBezTo>
                  <a:cubicBezTo>
                    <a:pt x="124" y="107722"/>
                    <a:pt x="-2927" y="116874"/>
                    <a:pt x="3175" y="129077"/>
                  </a:cubicBezTo>
                  <a:cubicBezTo>
                    <a:pt x="9276" y="138230"/>
                    <a:pt x="18429" y="144331"/>
                    <a:pt x="30632" y="147382"/>
                  </a:cubicBezTo>
                  <a:cubicBezTo>
                    <a:pt x="30632" y="147382"/>
                    <a:pt x="30632" y="147382"/>
                    <a:pt x="30632" y="150433"/>
                  </a:cubicBezTo>
                  <a:cubicBezTo>
                    <a:pt x="30632" y="150433"/>
                    <a:pt x="30632" y="153484"/>
                    <a:pt x="30632" y="156534"/>
                  </a:cubicBezTo>
                  <a:cubicBezTo>
                    <a:pt x="42835" y="168738"/>
                    <a:pt x="58090" y="171789"/>
                    <a:pt x="76395" y="168738"/>
                  </a:cubicBezTo>
                  <a:cubicBezTo>
                    <a:pt x="85547" y="168738"/>
                    <a:pt x="94700" y="165687"/>
                    <a:pt x="100802" y="165687"/>
                  </a:cubicBezTo>
                  <a:cubicBezTo>
                    <a:pt x="97751" y="165687"/>
                    <a:pt x="97751" y="168738"/>
                    <a:pt x="94700" y="168738"/>
                  </a:cubicBezTo>
                  <a:cubicBezTo>
                    <a:pt x="88598" y="174840"/>
                    <a:pt x="85547" y="180942"/>
                    <a:pt x="88598" y="187043"/>
                  </a:cubicBezTo>
                  <a:cubicBezTo>
                    <a:pt x="97751" y="193145"/>
                    <a:pt x="116056" y="190094"/>
                    <a:pt x="128259" y="187043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1" name="图形 114">
              <a:extLst>
                <a:ext uri="{FF2B5EF4-FFF2-40B4-BE49-F238E27FC236}">
                  <a16:creationId xmlns:a16="http://schemas.microsoft.com/office/drawing/2014/main" id="{2A03B52D-B0B6-4A36-A999-03C5A9887958}"/>
                </a:ext>
              </a:extLst>
            </p:cNvPr>
            <p:cNvGrpSpPr/>
            <p:nvPr/>
          </p:nvGrpSpPr>
          <p:grpSpPr>
            <a:xfrm>
              <a:off x="7290886" y="9293922"/>
              <a:ext cx="720000" cy="713898"/>
              <a:chOff x="7290886" y="9293922"/>
              <a:chExt cx="720000" cy="713898"/>
            </a:xfrm>
          </p:grpSpPr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6926C9C9-30DF-4C9F-85E1-CA38A68A58FE}"/>
                  </a:ext>
                </a:extLst>
              </p:cNvPr>
              <p:cNvSpPr/>
              <p:nvPr/>
            </p:nvSpPr>
            <p:spPr>
              <a:xfrm>
                <a:off x="7324445" y="9293922"/>
                <a:ext cx="686440" cy="631525"/>
              </a:xfrm>
              <a:custGeom>
                <a:avLst/>
                <a:gdLst>
                  <a:gd name="connsiteX0" fmla="*/ 686441 w 686440"/>
                  <a:gd name="connsiteY0" fmla="*/ 552204 h 631525"/>
                  <a:gd name="connsiteX1" fmla="*/ 231865 w 686440"/>
                  <a:gd name="connsiteY1" fmla="*/ 631526 h 631525"/>
                  <a:gd name="connsiteX2" fmla="*/ 0 w 686440"/>
                  <a:gd name="connsiteY2" fmla="*/ 100678 h 631525"/>
                  <a:gd name="connsiteX3" fmla="*/ 485085 w 686440"/>
                  <a:gd name="connsiteY3" fmla="*/ 0 h 63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6440" h="631525">
                    <a:moveTo>
                      <a:pt x="686441" y="552204"/>
                    </a:moveTo>
                    <a:lnTo>
                      <a:pt x="231865" y="631526"/>
                    </a:lnTo>
                    <a:lnTo>
                      <a:pt x="0" y="100678"/>
                    </a:lnTo>
                    <a:lnTo>
                      <a:pt x="485085" y="0"/>
                    </a:lnTo>
                    <a:close/>
                  </a:path>
                </a:pathLst>
              </a:custGeom>
              <a:solidFill>
                <a:srgbClr val="7F95BC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AEA4500B-D166-4885-87EF-834C3DEBE763}"/>
                  </a:ext>
                </a:extLst>
              </p:cNvPr>
              <p:cNvSpPr/>
              <p:nvPr/>
            </p:nvSpPr>
            <p:spPr>
              <a:xfrm>
                <a:off x="7290886" y="9394600"/>
                <a:ext cx="161695" cy="158643"/>
              </a:xfrm>
              <a:custGeom>
                <a:avLst/>
                <a:gdLst>
                  <a:gd name="connsiteX0" fmla="*/ 0 w 161695"/>
                  <a:gd name="connsiteY0" fmla="*/ 82373 h 158643"/>
                  <a:gd name="connsiteX1" fmla="*/ 33560 w 161695"/>
                  <a:gd name="connsiteY1" fmla="*/ 0 h 158643"/>
                  <a:gd name="connsiteX2" fmla="*/ 161695 w 161695"/>
                  <a:gd name="connsiteY2" fmla="*/ 79322 h 158643"/>
                  <a:gd name="connsiteX3" fmla="*/ 143390 w 161695"/>
                  <a:gd name="connsiteY3" fmla="*/ 158644 h 158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695" h="158643">
                    <a:moveTo>
                      <a:pt x="0" y="82373"/>
                    </a:moveTo>
                    <a:lnTo>
                      <a:pt x="33560" y="0"/>
                    </a:lnTo>
                    <a:lnTo>
                      <a:pt x="161695" y="79322"/>
                    </a:lnTo>
                    <a:lnTo>
                      <a:pt x="143390" y="158644"/>
                    </a:lnTo>
                    <a:close/>
                  </a:path>
                </a:pathLst>
              </a:custGeom>
              <a:solidFill>
                <a:srgbClr val="7F95BC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C5571E81-9D07-4FF1-8E1D-5D562D7B45F7}"/>
                  </a:ext>
                </a:extLst>
              </p:cNvPr>
              <p:cNvSpPr/>
              <p:nvPr/>
            </p:nvSpPr>
            <p:spPr>
              <a:xfrm>
                <a:off x="7321394" y="9321379"/>
                <a:ext cx="649830" cy="585763"/>
              </a:xfrm>
              <a:custGeom>
                <a:avLst/>
                <a:gdLst>
                  <a:gd name="connsiteX0" fmla="*/ 0 w 649830"/>
                  <a:gd name="connsiteY0" fmla="*/ 158644 h 585763"/>
                  <a:gd name="connsiteX1" fmla="*/ 24407 w 649830"/>
                  <a:gd name="connsiteY1" fmla="*/ 97627 h 585763"/>
                  <a:gd name="connsiteX2" fmla="*/ 466780 w 649830"/>
                  <a:gd name="connsiteY2" fmla="*/ 0 h 585763"/>
                  <a:gd name="connsiteX3" fmla="*/ 649831 w 649830"/>
                  <a:gd name="connsiteY3" fmla="*/ 497289 h 585763"/>
                  <a:gd name="connsiteX4" fmla="*/ 613221 w 649830"/>
                  <a:gd name="connsiteY4" fmla="*/ 585763 h 585763"/>
                  <a:gd name="connsiteX5" fmla="*/ 448475 w 649830"/>
                  <a:gd name="connsiteY5" fmla="*/ 515593 h 585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9830" h="585763">
                    <a:moveTo>
                      <a:pt x="0" y="158644"/>
                    </a:moveTo>
                    <a:lnTo>
                      <a:pt x="24407" y="97627"/>
                    </a:lnTo>
                    <a:lnTo>
                      <a:pt x="466780" y="0"/>
                    </a:lnTo>
                    <a:lnTo>
                      <a:pt x="649831" y="497289"/>
                    </a:lnTo>
                    <a:lnTo>
                      <a:pt x="613221" y="585763"/>
                    </a:lnTo>
                    <a:lnTo>
                      <a:pt x="448475" y="515593"/>
                    </a:lnTo>
                    <a:close/>
                  </a:path>
                </a:pathLst>
              </a:custGeom>
              <a:solidFill>
                <a:srgbClr val="FFFFFF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0C3C09FC-55E9-45EB-B965-4BC0C71CC825}"/>
                  </a:ext>
                </a:extLst>
              </p:cNvPr>
              <p:cNvSpPr/>
              <p:nvPr/>
            </p:nvSpPr>
            <p:spPr>
              <a:xfrm>
                <a:off x="7290886" y="9373244"/>
                <a:ext cx="683390" cy="634575"/>
              </a:xfrm>
              <a:custGeom>
                <a:avLst/>
                <a:gdLst>
                  <a:gd name="connsiteX0" fmla="*/ 683390 w 683390"/>
                  <a:gd name="connsiteY0" fmla="*/ 552204 h 634575"/>
                  <a:gd name="connsiteX1" fmla="*/ 228814 w 683390"/>
                  <a:gd name="connsiteY1" fmla="*/ 634576 h 634575"/>
                  <a:gd name="connsiteX2" fmla="*/ 0 w 683390"/>
                  <a:gd name="connsiteY2" fmla="*/ 103729 h 634575"/>
                  <a:gd name="connsiteX3" fmla="*/ 485085 w 683390"/>
                  <a:gd name="connsiteY3" fmla="*/ 0 h 634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3390" h="634575">
                    <a:moveTo>
                      <a:pt x="683390" y="552204"/>
                    </a:moveTo>
                    <a:lnTo>
                      <a:pt x="228814" y="634576"/>
                    </a:lnTo>
                    <a:lnTo>
                      <a:pt x="0" y="103729"/>
                    </a:lnTo>
                    <a:lnTo>
                      <a:pt x="485085" y="0"/>
                    </a:lnTo>
                    <a:close/>
                  </a:path>
                </a:pathLst>
              </a:custGeom>
              <a:solidFill>
                <a:srgbClr val="7F95BC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A2843059-D5F2-46AC-BF15-0720421DCCD2}"/>
                </a:ext>
              </a:extLst>
            </p:cNvPr>
            <p:cNvSpPr/>
            <p:nvPr/>
          </p:nvSpPr>
          <p:spPr>
            <a:xfrm>
              <a:off x="7846476" y="9518696"/>
              <a:ext cx="138318" cy="102007"/>
            </a:xfrm>
            <a:custGeom>
              <a:avLst/>
              <a:gdLst>
                <a:gd name="connsiteX0" fmla="*/ 11867 w 138318"/>
                <a:gd name="connsiteY0" fmla="*/ 101667 h 102007"/>
                <a:gd name="connsiteX1" fmla="*/ 30172 w 138318"/>
                <a:gd name="connsiteY1" fmla="*/ 80311 h 102007"/>
                <a:gd name="connsiteX2" fmla="*/ 82037 w 138318"/>
                <a:gd name="connsiteY2" fmla="*/ 52854 h 102007"/>
                <a:gd name="connsiteX3" fmla="*/ 136952 w 138318"/>
                <a:gd name="connsiteY3" fmla="*/ 71159 h 102007"/>
                <a:gd name="connsiteX4" fmla="*/ 109494 w 138318"/>
                <a:gd name="connsiteY4" fmla="*/ 4040 h 102007"/>
                <a:gd name="connsiteX5" fmla="*/ 11867 w 138318"/>
                <a:gd name="connsiteY5" fmla="*/ 25396 h 102007"/>
                <a:gd name="connsiteX6" fmla="*/ 11867 w 138318"/>
                <a:gd name="connsiteY6" fmla="*/ 101667 h 102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18" h="102007">
                  <a:moveTo>
                    <a:pt x="11867" y="101667"/>
                  </a:moveTo>
                  <a:cubicBezTo>
                    <a:pt x="21020" y="104717"/>
                    <a:pt x="24070" y="86413"/>
                    <a:pt x="30172" y="80311"/>
                  </a:cubicBezTo>
                  <a:cubicBezTo>
                    <a:pt x="45427" y="65057"/>
                    <a:pt x="60681" y="52854"/>
                    <a:pt x="82037" y="52854"/>
                  </a:cubicBezTo>
                  <a:cubicBezTo>
                    <a:pt x="94240" y="52854"/>
                    <a:pt x="124748" y="65057"/>
                    <a:pt x="136952" y="71159"/>
                  </a:cubicBezTo>
                  <a:cubicBezTo>
                    <a:pt x="143054" y="71159"/>
                    <a:pt x="127799" y="7091"/>
                    <a:pt x="109494" y="4040"/>
                  </a:cubicBezTo>
                  <a:cubicBezTo>
                    <a:pt x="82037" y="-5113"/>
                    <a:pt x="30172" y="989"/>
                    <a:pt x="11867" y="25396"/>
                  </a:cubicBezTo>
                  <a:cubicBezTo>
                    <a:pt x="2714" y="37599"/>
                    <a:pt x="-9489" y="92514"/>
                    <a:pt x="11867" y="101667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6560E2A7-7A2C-46C3-9107-E94F92EB5CA4}"/>
                </a:ext>
              </a:extLst>
            </p:cNvPr>
            <p:cNvSpPr/>
            <p:nvPr/>
          </p:nvSpPr>
          <p:spPr>
            <a:xfrm>
              <a:off x="7837941" y="9513750"/>
              <a:ext cx="128445" cy="112713"/>
            </a:xfrm>
            <a:custGeom>
              <a:avLst/>
              <a:gdLst>
                <a:gd name="connsiteX0" fmla="*/ 20403 w 128445"/>
                <a:gd name="connsiteY0" fmla="*/ 112714 h 112713"/>
                <a:gd name="connsiteX1" fmla="*/ 5148 w 128445"/>
                <a:gd name="connsiteY1" fmla="*/ 103562 h 112713"/>
                <a:gd name="connsiteX2" fmla="*/ 14301 w 128445"/>
                <a:gd name="connsiteY2" fmla="*/ 27290 h 112713"/>
                <a:gd name="connsiteX3" fmla="*/ 118030 w 128445"/>
                <a:gd name="connsiteY3" fmla="*/ 2884 h 112713"/>
                <a:gd name="connsiteX4" fmla="*/ 124131 w 128445"/>
                <a:gd name="connsiteY4" fmla="*/ 8985 h 112713"/>
                <a:gd name="connsiteX5" fmla="*/ 118030 w 128445"/>
                <a:gd name="connsiteY5" fmla="*/ 15087 h 112713"/>
                <a:gd name="connsiteX6" fmla="*/ 26504 w 128445"/>
                <a:gd name="connsiteY6" fmla="*/ 33392 h 112713"/>
                <a:gd name="connsiteX7" fmla="*/ 17352 w 128445"/>
                <a:gd name="connsiteY7" fmla="*/ 97460 h 112713"/>
                <a:gd name="connsiteX8" fmla="*/ 20403 w 128445"/>
                <a:gd name="connsiteY8" fmla="*/ 100511 h 112713"/>
                <a:gd name="connsiteX9" fmla="*/ 32606 w 128445"/>
                <a:gd name="connsiteY9" fmla="*/ 88307 h 112713"/>
                <a:gd name="connsiteX10" fmla="*/ 90572 w 128445"/>
                <a:gd name="connsiteY10" fmla="*/ 54748 h 112713"/>
                <a:gd name="connsiteX11" fmla="*/ 96674 w 128445"/>
                <a:gd name="connsiteY11" fmla="*/ 57799 h 112713"/>
                <a:gd name="connsiteX12" fmla="*/ 124131 w 128445"/>
                <a:gd name="connsiteY12" fmla="*/ 88307 h 112713"/>
                <a:gd name="connsiteX13" fmla="*/ 127182 w 128445"/>
                <a:gd name="connsiteY13" fmla="*/ 94409 h 112713"/>
                <a:gd name="connsiteX14" fmla="*/ 121081 w 128445"/>
                <a:gd name="connsiteY14" fmla="*/ 97460 h 112713"/>
                <a:gd name="connsiteX15" fmla="*/ 87521 w 128445"/>
                <a:gd name="connsiteY15" fmla="*/ 63900 h 112713"/>
                <a:gd name="connsiteX16" fmla="*/ 41758 w 128445"/>
                <a:gd name="connsiteY16" fmla="*/ 94409 h 112713"/>
                <a:gd name="connsiteX17" fmla="*/ 20403 w 128445"/>
                <a:gd name="connsiteY17" fmla="*/ 112714 h 112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8445" h="112713">
                  <a:moveTo>
                    <a:pt x="20403" y="112714"/>
                  </a:moveTo>
                  <a:cubicBezTo>
                    <a:pt x="14301" y="112714"/>
                    <a:pt x="8199" y="109663"/>
                    <a:pt x="5148" y="103562"/>
                  </a:cubicBezTo>
                  <a:cubicBezTo>
                    <a:pt x="-4004" y="88307"/>
                    <a:pt x="-953" y="57799"/>
                    <a:pt x="14301" y="27290"/>
                  </a:cubicBezTo>
                  <a:cubicBezTo>
                    <a:pt x="35657" y="-12371"/>
                    <a:pt x="114979" y="2884"/>
                    <a:pt x="118030" y="2884"/>
                  </a:cubicBezTo>
                  <a:cubicBezTo>
                    <a:pt x="121081" y="2884"/>
                    <a:pt x="124131" y="5934"/>
                    <a:pt x="124131" y="8985"/>
                  </a:cubicBezTo>
                  <a:cubicBezTo>
                    <a:pt x="124131" y="12036"/>
                    <a:pt x="121081" y="15087"/>
                    <a:pt x="118030" y="15087"/>
                  </a:cubicBezTo>
                  <a:cubicBezTo>
                    <a:pt x="118030" y="15087"/>
                    <a:pt x="44809" y="2884"/>
                    <a:pt x="26504" y="33392"/>
                  </a:cubicBezTo>
                  <a:cubicBezTo>
                    <a:pt x="11250" y="60850"/>
                    <a:pt x="11250" y="88307"/>
                    <a:pt x="17352" y="97460"/>
                  </a:cubicBezTo>
                  <a:cubicBezTo>
                    <a:pt x="20403" y="100511"/>
                    <a:pt x="20403" y="100511"/>
                    <a:pt x="20403" y="100511"/>
                  </a:cubicBezTo>
                  <a:cubicBezTo>
                    <a:pt x="23454" y="100511"/>
                    <a:pt x="29555" y="94409"/>
                    <a:pt x="32606" y="88307"/>
                  </a:cubicBezTo>
                  <a:cubicBezTo>
                    <a:pt x="44809" y="73053"/>
                    <a:pt x="60064" y="51697"/>
                    <a:pt x="90572" y="54748"/>
                  </a:cubicBezTo>
                  <a:cubicBezTo>
                    <a:pt x="93623" y="54748"/>
                    <a:pt x="93623" y="57799"/>
                    <a:pt x="96674" y="57799"/>
                  </a:cubicBezTo>
                  <a:cubicBezTo>
                    <a:pt x="99725" y="63900"/>
                    <a:pt x="108877" y="85256"/>
                    <a:pt x="124131" y="88307"/>
                  </a:cubicBezTo>
                  <a:cubicBezTo>
                    <a:pt x="127182" y="88307"/>
                    <a:pt x="130233" y="91358"/>
                    <a:pt x="127182" y="94409"/>
                  </a:cubicBezTo>
                  <a:cubicBezTo>
                    <a:pt x="127182" y="97460"/>
                    <a:pt x="124131" y="100511"/>
                    <a:pt x="121081" y="97460"/>
                  </a:cubicBezTo>
                  <a:cubicBezTo>
                    <a:pt x="102775" y="91358"/>
                    <a:pt x="93623" y="73053"/>
                    <a:pt x="87521" y="63900"/>
                  </a:cubicBezTo>
                  <a:cubicBezTo>
                    <a:pt x="66165" y="63900"/>
                    <a:pt x="53962" y="79154"/>
                    <a:pt x="41758" y="94409"/>
                  </a:cubicBezTo>
                  <a:cubicBezTo>
                    <a:pt x="35657" y="103562"/>
                    <a:pt x="29555" y="112714"/>
                    <a:pt x="20403" y="112714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1AB13F09-4F24-4E9D-A633-A6500335B836}"/>
                </a:ext>
              </a:extLst>
            </p:cNvPr>
            <p:cNvSpPr/>
            <p:nvPr/>
          </p:nvSpPr>
          <p:spPr>
            <a:xfrm>
              <a:off x="8996997" y="8584531"/>
              <a:ext cx="188464" cy="1186148"/>
            </a:xfrm>
            <a:custGeom>
              <a:avLst/>
              <a:gdLst>
                <a:gd name="connsiteX0" fmla="*/ 157956 w 188464"/>
                <a:gd name="connsiteY0" fmla="*/ 1594 h 1186148"/>
                <a:gd name="connsiteX1" fmla="*/ 188465 w 188464"/>
                <a:gd name="connsiteY1" fmla="*/ 13798 h 1186148"/>
                <a:gd name="connsiteX2" fmla="*/ 109143 w 188464"/>
                <a:gd name="connsiteY2" fmla="*/ 1167018 h 1186148"/>
                <a:gd name="connsiteX3" fmla="*/ 78634 w 188464"/>
                <a:gd name="connsiteY3" fmla="*/ 1176170 h 1186148"/>
                <a:gd name="connsiteX4" fmla="*/ 157956 w 188464"/>
                <a:gd name="connsiteY4" fmla="*/ 1594 h 1186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464" h="1186148">
                  <a:moveTo>
                    <a:pt x="157956" y="1594"/>
                  </a:moveTo>
                  <a:cubicBezTo>
                    <a:pt x="167109" y="-1457"/>
                    <a:pt x="185414" y="-1457"/>
                    <a:pt x="188465" y="13798"/>
                  </a:cubicBezTo>
                  <a:cubicBezTo>
                    <a:pt x="-61705" y="349391"/>
                    <a:pt x="54228" y="788713"/>
                    <a:pt x="109143" y="1167018"/>
                  </a:cubicBezTo>
                  <a:cubicBezTo>
                    <a:pt x="112194" y="1185323"/>
                    <a:pt x="81685" y="1194475"/>
                    <a:pt x="78634" y="1176170"/>
                  </a:cubicBezTo>
                  <a:cubicBezTo>
                    <a:pt x="20668" y="788713"/>
                    <a:pt x="-98315" y="343289"/>
                    <a:pt x="157956" y="1594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AD746877-7E68-4BA8-8EF1-FD88611475AA}"/>
                </a:ext>
              </a:extLst>
            </p:cNvPr>
            <p:cNvSpPr/>
            <p:nvPr/>
          </p:nvSpPr>
          <p:spPr>
            <a:xfrm>
              <a:off x="9310524" y="8720146"/>
              <a:ext cx="304288" cy="1042081"/>
            </a:xfrm>
            <a:custGeom>
              <a:avLst/>
              <a:gdLst>
                <a:gd name="connsiteX0" fmla="*/ 27481 w 304288"/>
                <a:gd name="connsiteY0" fmla="*/ 6319 h 1042081"/>
                <a:gd name="connsiteX1" fmla="*/ 302057 w 304288"/>
                <a:gd name="connsiteY1" fmla="*/ 1028352 h 1042081"/>
                <a:gd name="connsiteX2" fmla="*/ 271548 w 304288"/>
                <a:gd name="connsiteY2" fmla="*/ 1028352 h 1042081"/>
                <a:gd name="connsiteX3" fmla="*/ 3074 w 304288"/>
                <a:gd name="connsiteY3" fmla="*/ 21573 h 1042081"/>
                <a:gd name="connsiteX4" fmla="*/ 27481 w 304288"/>
                <a:gd name="connsiteY4" fmla="*/ 6319 h 1042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288" h="1042081">
                  <a:moveTo>
                    <a:pt x="27481" y="6319"/>
                  </a:moveTo>
                  <a:cubicBezTo>
                    <a:pt x="225786" y="311403"/>
                    <a:pt x="320362" y="668353"/>
                    <a:pt x="302057" y="1028352"/>
                  </a:cubicBezTo>
                  <a:cubicBezTo>
                    <a:pt x="302057" y="1046658"/>
                    <a:pt x="271548" y="1046658"/>
                    <a:pt x="271548" y="1028352"/>
                  </a:cubicBezTo>
                  <a:cubicBezTo>
                    <a:pt x="289854" y="671403"/>
                    <a:pt x="198328" y="320556"/>
                    <a:pt x="3074" y="21573"/>
                  </a:cubicBezTo>
                  <a:cubicBezTo>
                    <a:pt x="-9129" y="6319"/>
                    <a:pt x="18328" y="-8936"/>
                    <a:pt x="27481" y="6319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6" name="图形 114">
              <a:extLst>
                <a:ext uri="{FF2B5EF4-FFF2-40B4-BE49-F238E27FC236}">
                  <a16:creationId xmlns:a16="http://schemas.microsoft.com/office/drawing/2014/main" id="{ADFFA757-44E2-405C-9CA3-C826E42DAC0E}"/>
                </a:ext>
              </a:extLst>
            </p:cNvPr>
            <p:cNvGrpSpPr/>
            <p:nvPr/>
          </p:nvGrpSpPr>
          <p:grpSpPr>
            <a:xfrm>
              <a:off x="8996322" y="9679955"/>
              <a:ext cx="686760" cy="494136"/>
              <a:chOff x="8996322" y="9679955"/>
              <a:chExt cx="686760" cy="494136"/>
            </a:xfrm>
          </p:grpSpPr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4478DF61-40B4-4948-BED0-401A2B3BBBC4}"/>
                  </a:ext>
                </a:extLst>
              </p:cNvPr>
              <p:cNvSpPr/>
              <p:nvPr/>
            </p:nvSpPr>
            <p:spPr>
              <a:xfrm>
                <a:off x="9041160" y="9750691"/>
                <a:ext cx="625968" cy="423400"/>
              </a:xfrm>
              <a:custGeom>
                <a:avLst/>
                <a:gdLst>
                  <a:gd name="connsiteX0" fmla="*/ 71082 w 625968"/>
                  <a:gd name="connsiteY0" fmla="*/ 415774 h 423400"/>
                  <a:gd name="connsiteX1" fmla="*/ 177862 w 625968"/>
                  <a:gd name="connsiteY1" fmla="*/ 421875 h 423400"/>
                  <a:gd name="connsiteX2" fmla="*/ 360913 w 625968"/>
                  <a:gd name="connsiteY2" fmla="*/ 412723 h 423400"/>
                  <a:gd name="connsiteX3" fmla="*/ 595828 w 625968"/>
                  <a:gd name="connsiteY3" fmla="*/ 345604 h 423400"/>
                  <a:gd name="connsiteX4" fmla="*/ 608031 w 625968"/>
                  <a:gd name="connsiteY4" fmla="*/ 92384 h 423400"/>
                  <a:gd name="connsiteX5" fmla="*/ 446336 w 625968"/>
                  <a:gd name="connsiteY5" fmla="*/ 858 h 423400"/>
                  <a:gd name="connsiteX6" fmla="*/ 31421 w 625968"/>
                  <a:gd name="connsiteY6" fmla="*/ 49672 h 423400"/>
                  <a:gd name="connsiteX7" fmla="*/ 913 w 625968"/>
                  <a:gd name="connsiteY7" fmla="*/ 229672 h 423400"/>
                  <a:gd name="connsiteX8" fmla="*/ 71082 w 625968"/>
                  <a:gd name="connsiteY8" fmla="*/ 415774 h 42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25968" h="423400">
                    <a:moveTo>
                      <a:pt x="71082" y="415774"/>
                    </a:moveTo>
                    <a:cubicBezTo>
                      <a:pt x="104641" y="427977"/>
                      <a:pt x="144302" y="421875"/>
                      <a:pt x="177862" y="421875"/>
                    </a:cubicBezTo>
                    <a:cubicBezTo>
                      <a:pt x="238879" y="421875"/>
                      <a:pt x="299896" y="418825"/>
                      <a:pt x="360913" y="412723"/>
                    </a:cubicBezTo>
                    <a:cubicBezTo>
                      <a:pt x="424980" y="406621"/>
                      <a:pt x="553116" y="403571"/>
                      <a:pt x="595828" y="345604"/>
                    </a:cubicBezTo>
                    <a:cubicBezTo>
                      <a:pt x="641591" y="281537"/>
                      <a:pt x="626336" y="162553"/>
                      <a:pt x="608031" y="92384"/>
                    </a:cubicBezTo>
                    <a:cubicBezTo>
                      <a:pt x="583624" y="-2193"/>
                      <a:pt x="534811" y="-2193"/>
                      <a:pt x="446336" y="858"/>
                    </a:cubicBezTo>
                    <a:cubicBezTo>
                      <a:pt x="342608" y="3909"/>
                      <a:pt x="31421" y="40519"/>
                      <a:pt x="31421" y="49672"/>
                    </a:cubicBezTo>
                    <a:cubicBezTo>
                      <a:pt x="-8240" y="89333"/>
                      <a:pt x="913" y="180858"/>
                      <a:pt x="913" y="229672"/>
                    </a:cubicBezTo>
                    <a:cubicBezTo>
                      <a:pt x="3963" y="296791"/>
                      <a:pt x="-5189" y="388316"/>
                      <a:pt x="71082" y="41577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7B4E151C-083E-4D5F-B62B-3653D613E968}"/>
                  </a:ext>
                </a:extLst>
              </p:cNvPr>
              <p:cNvSpPr/>
              <p:nvPr/>
            </p:nvSpPr>
            <p:spPr>
              <a:xfrm>
                <a:off x="8996322" y="9679955"/>
                <a:ext cx="686760" cy="272415"/>
              </a:xfrm>
              <a:custGeom>
                <a:avLst/>
                <a:gdLst>
                  <a:gd name="connsiteX0" fmla="*/ 585750 w 686760"/>
                  <a:gd name="connsiteY0" fmla="*/ 7526 h 272415"/>
                  <a:gd name="connsiteX1" fmla="*/ 683377 w 686760"/>
                  <a:gd name="connsiteY1" fmla="*/ 202780 h 272415"/>
                  <a:gd name="connsiteX2" fmla="*/ 15242 w 686760"/>
                  <a:gd name="connsiteY2" fmla="*/ 260747 h 272415"/>
                  <a:gd name="connsiteX3" fmla="*/ 48801 w 686760"/>
                  <a:gd name="connsiteY3" fmla="*/ 56340 h 272415"/>
                  <a:gd name="connsiteX4" fmla="*/ 585750 w 686760"/>
                  <a:gd name="connsiteY4" fmla="*/ 7526 h 272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6760" h="272415">
                    <a:moveTo>
                      <a:pt x="585750" y="7526"/>
                    </a:moveTo>
                    <a:cubicBezTo>
                      <a:pt x="619310" y="16680"/>
                      <a:pt x="704733" y="163120"/>
                      <a:pt x="683377" y="202780"/>
                    </a:cubicBezTo>
                    <a:cubicBezTo>
                      <a:pt x="665073" y="239391"/>
                      <a:pt x="51852" y="297357"/>
                      <a:pt x="15242" y="260747"/>
                    </a:cubicBezTo>
                    <a:cubicBezTo>
                      <a:pt x="-21368" y="227188"/>
                      <a:pt x="15242" y="74645"/>
                      <a:pt x="48801" y="56340"/>
                    </a:cubicBezTo>
                    <a:cubicBezTo>
                      <a:pt x="85412" y="34984"/>
                      <a:pt x="478971" y="-19931"/>
                      <a:pt x="585750" y="752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2C5AEF28-D8F6-4DEF-8EC1-DB808538C213}"/>
                  </a:ext>
                </a:extLst>
              </p:cNvPr>
              <p:cNvSpPr/>
              <p:nvPr/>
            </p:nvSpPr>
            <p:spPr>
              <a:xfrm>
                <a:off x="9523716" y="9882345"/>
                <a:ext cx="64848" cy="64458"/>
              </a:xfrm>
              <a:custGeom>
                <a:avLst/>
                <a:gdLst>
                  <a:gd name="connsiteX0" fmla="*/ 391 w 64848"/>
                  <a:gd name="connsiteY0" fmla="*/ 33950 h 64458"/>
                  <a:gd name="connsiteX1" fmla="*/ 30899 w 64848"/>
                  <a:gd name="connsiteY1" fmla="*/ 391 h 64458"/>
                  <a:gd name="connsiteX2" fmla="*/ 64458 w 64848"/>
                  <a:gd name="connsiteY2" fmla="*/ 30899 h 64458"/>
                  <a:gd name="connsiteX3" fmla="*/ 33950 w 64848"/>
                  <a:gd name="connsiteY3" fmla="*/ 64458 h 64458"/>
                  <a:gd name="connsiteX4" fmla="*/ 391 w 64848"/>
                  <a:gd name="connsiteY4" fmla="*/ 33950 h 64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848" h="64458">
                    <a:moveTo>
                      <a:pt x="391" y="33950"/>
                    </a:moveTo>
                    <a:cubicBezTo>
                      <a:pt x="-2660" y="15645"/>
                      <a:pt x="12594" y="391"/>
                      <a:pt x="30899" y="391"/>
                    </a:cubicBezTo>
                    <a:cubicBezTo>
                      <a:pt x="49204" y="-2660"/>
                      <a:pt x="64458" y="12595"/>
                      <a:pt x="64458" y="30899"/>
                    </a:cubicBezTo>
                    <a:cubicBezTo>
                      <a:pt x="67509" y="49204"/>
                      <a:pt x="52255" y="64458"/>
                      <a:pt x="33950" y="64458"/>
                    </a:cubicBezTo>
                    <a:cubicBezTo>
                      <a:pt x="15645" y="64458"/>
                      <a:pt x="391" y="52255"/>
                      <a:pt x="391" y="3395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8E6DDA74-E477-45C7-90B5-5414DB891AE6}"/>
                  </a:ext>
                </a:extLst>
              </p:cNvPr>
              <p:cNvSpPr/>
              <p:nvPr/>
            </p:nvSpPr>
            <p:spPr>
              <a:xfrm>
                <a:off x="9121003" y="9918955"/>
                <a:ext cx="64849" cy="64458"/>
              </a:xfrm>
              <a:custGeom>
                <a:avLst/>
                <a:gdLst>
                  <a:gd name="connsiteX0" fmla="*/ 391 w 64849"/>
                  <a:gd name="connsiteY0" fmla="*/ 33950 h 64458"/>
                  <a:gd name="connsiteX1" fmla="*/ 30899 w 64849"/>
                  <a:gd name="connsiteY1" fmla="*/ 391 h 64458"/>
                  <a:gd name="connsiteX2" fmla="*/ 64459 w 64849"/>
                  <a:gd name="connsiteY2" fmla="*/ 30899 h 64458"/>
                  <a:gd name="connsiteX3" fmla="*/ 33950 w 64849"/>
                  <a:gd name="connsiteY3" fmla="*/ 64459 h 64458"/>
                  <a:gd name="connsiteX4" fmla="*/ 391 w 64849"/>
                  <a:gd name="connsiteY4" fmla="*/ 33950 h 64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849" h="64458">
                    <a:moveTo>
                      <a:pt x="391" y="33950"/>
                    </a:moveTo>
                    <a:cubicBezTo>
                      <a:pt x="-2660" y="15645"/>
                      <a:pt x="12594" y="391"/>
                      <a:pt x="30899" y="391"/>
                    </a:cubicBezTo>
                    <a:cubicBezTo>
                      <a:pt x="49204" y="-2660"/>
                      <a:pt x="64459" y="12594"/>
                      <a:pt x="64459" y="30899"/>
                    </a:cubicBezTo>
                    <a:cubicBezTo>
                      <a:pt x="67510" y="49204"/>
                      <a:pt x="52255" y="64459"/>
                      <a:pt x="33950" y="64459"/>
                    </a:cubicBezTo>
                    <a:cubicBezTo>
                      <a:pt x="15645" y="64459"/>
                      <a:pt x="391" y="52256"/>
                      <a:pt x="391" y="3395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066D3472-53AD-4680-B509-5E501E432B9F}"/>
                </a:ext>
              </a:extLst>
            </p:cNvPr>
            <p:cNvSpPr/>
            <p:nvPr/>
          </p:nvSpPr>
          <p:spPr>
            <a:xfrm>
              <a:off x="8855970" y="8726613"/>
              <a:ext cx="571419" cy="1037139"/>
            </a:xfrm>
            <a:custGeom>
              <a:avLst/>
              <a:gdLst>
                <a:gd name="connsiteX0" fmla="*/ 515594 w 571419"/>
                <a:gd name="connsiteY0" fmla="*/ 85275 h 1037139"/>
                <a:gd name="connsiteX1" fmla="*/ 274576 w 571419"/>
                <a:gd name="connsiteY1" fmla="*/ 167648 h 1037139"/>
                <a:gd name="connsiteX2" fmla="*/ 347797 w 571419"/>
                <a:gd name="connsiteY2" fmla="*/ 649682 h 1037139"/>
                <a:gd name="connsiteX3" fmla="*/ 0 w 571419"/>
                <a:gd name="connsiteY3" fmla="*/ 954767 h 1037139"/>
                <a:gd name="connsiteX4" fmla="*/ 42712 w 571419"/>
                <a:gd name="connsiteY4" fmla="*/ 1037139 h 1037139"/>
                <a:gd name="connsiteX5" fmla="*/ 540000 w 571419"/>
                <a:gd name="connsiteY5" fmla="*/ 738157 h 1037139"/>
                <a:gd name="connsiteX6" fmla="*/ 515594 w 571419"/>
                <a:gd name="connsiteY6" fmla="*/ 85275 h 1037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419" h="1037139">
                  <a:moveTo>
                    <a:pt x="515594" y="85275"/>
                  </a:moveTo>
                  <a:cubicBezTo>
                    <a:pt x="457627" y="-88623"/>
                    <a:pt x="274576" y="36462"/>
                    <a:pt x="274576" y="167648"/>
                  </a:cubicBezTo>
                  <a:cubicBezTo>
                    <a:pt x="277627" y="295784"/>
                    <a:pt x="341695" y="567309"/>
                    <a:pt x="347797" y="649682"/>
                  </a:cubicBezTo>
                  <a:cubicBezTo>
                    <a:pt x="302034" y="732055"/>
                    <a:pt x="0" y="954767"/>
                    <a:pt x="0" y="954767"/>
                  </a:cubicBezTo>
                  <a:cubicBezTo>
                    <a:pt x="15254" y="982225"/>
                    <a:pt x="42712" y="1037139"/>
                    <a:pt x="42712" y="1037139"/>
                  </a:cubicBezTo>
                  <a:cubicBezTo>
                    <a:pt x="42712" y="1037139"/>
                    <a:pt x="442373" y="829682"/>
                    <a:pt x="540000" y="738157"/>
                  </a:cubicBezTo>
                  <a:cubicBezTo>
                    <a:pt x="591865" y="689343"/>
                    <a:pt x="576610" y="268326"/>
                    <a:pt x="515594" y="85275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0397A37D-107E-4950-93CB-741E1719404A}"/>
                </a:ext>
              </a:extLst>
            </p:cNvPr>
            <p:cNvSpPr/>
            <p:nvPr/>
          </p:nvSpPr>
          <p:spPr>
            <a:xfrm>
              <a:off x="9082033" y="8624326"/>
              <a:ext cx="374953" cy="415170"/>
            </a:xfrm>
            <a:custGeom>
              <a:avLst/>
              <a:gdLst>
                <a:gd name="connsiteX0" fmla="*/ 374954 w 374953"/>
                <a:gd name="connsiteY0" fmla="*/ 361461 h 415170"/>
                <a:gd name="connsiteX1" fmla="*/ 191903 w 374953"/>
                <a:gd name="connsiteY1" fmla="*/ 1461 h 415170"/>
                <a:gd name="connsiteX2" fmla="*/ 2751 w 374953"/>
                <a:gd name="connsiteY2" fmla="*/ 401122 h 415170"/>
                <a:gd name="connsiteX3" fmla="*/ 374954 w 374953"/>
                <a:gd name="connsiteY3" fmla="*/ 361461 h 41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4953" h="415170">
                  <a:moveTo>
                    <a:pt x="374954" y="361461"/>
                  </a:moveTo>
                  <a:cubicBezTo>
                    <a:pt x="374954" y="178410"/>
                    <a:pt x="271225" y="16715"/>
                    <a:pt x="191903" y="1461"/>
                  </a:cubicBezTo>
                  <a:cubicBezTo>
                    <a:pt x="88175" y="-19895"/>
                    <a:pt x="-18605" y="196715"/>
                    <a:pt x="2751" y="401122"/>
                  </a:cubicBezTo>
                  <a:cubicBezTo>
                    <a:pt x="66819" y="437732"/>
                    <a:pt x="277327" y="395020"/>
                    <a:pt x="374954" y="361461"/>
                  </a:cubicBez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BA0493A3-5080-4692-9414-C3FD3C6584A5}"/>
                </a:ext>
              </a:extLst>
            </p:cNvPr>
            <p:cNvSpPr/>
            <p:nvPr/>
          </p:nvSpPr>
          <p:spPr>
            <a:xfrm>
              <a:off x="9076439" y="8616634"/>
              <a:ext cx="185294" cy="427118"/>
            </a:xfrm>
            <a:custGeom>
              <a:avLst/>
              <a:gdLst>
                <a:gd name="connsiteX0" fmla="*/ 84616 w 185294"/>
                <a:gd name="connsiteY0" fmla="*/ 427119 h 427118"/>
                <a:gd name="connsiteX1" fmla="*/ 5294 w 185294"/>
                <a:gd name="connsiteY1" fmla="*/ 414915 h 427118"/>
                <a:gd name="connsiteX2" fmla="*/ 2243 w 185294"/>
                <a:gd name="connsiteY2" fmla="*/ 414915 h 427118"/>
                <a:gd name="connsiteX3" fmla="*/ 2243 w 185294"/>
                <a:gd name="connsiteY3" fmla="*/ 411864 h 427118"/>
                <a:gd name="connsiteX4" fmla="*/ 54108 w 185294"/>
                <a:gd name="connsiteY4" fmla="*/ 112881 h 427118"/>
                <a:gd name="connsiteX5" fmla="*/ 60209 w 185294"/>
                <a:gd name="connsiteY5" fmla="*/ 103729 h 427118"/>
                <a:gd name="connsiteX6" fmla="*/ 179193 w 185294"/>
                <a:gd name="connsiteY6" fmla="*/ 0 h 427118"/>
                <a:gd name="connsiteX7" fmla="*/ 185294 w 185294"/>
                <a:gd name="connsiteY7" fmla="*/ 6102 h 427118"/>
                <a:gd name="connsiteX8" fmla="*/ 179193 w 185294"/>
                <a:gd name="connsiteY8" fmla="*/ 12203 h 427118"/>
                <a:gd name="connsiteX9" fmla="*/ 66311 w 185294"/>
                <a:gd name="connsiteY9" fmla="*/ 109830 h 427118"/>
                <a:gd name="connsiteX10" fmla="*/ 60209 w 185294"/>
                <a:gd name="connsiteY10" fmla="*/ 118983 h 427118"/>
                <a:gd name="connsiteX11" fmla="*/ 8345 w 185294"/>
                <a:gd name="connsiteY11" fmla="*/ 405763 h 427118"/>
                <a:gd name="connsiteX12" fmla="*/ 148684 w 185294"/>
                <a:gd name="connsiteY12" fmla="*/ 411864 h 427118"/>
                <a:gd name="connsiteX13" fmla="*/ 154786 w 185294"/>
                <a:gd name="connsiteY13" fmla="*/ 417966 h 427118"/>
                <a:gd name="connsiteX14" fmla="*/ 148684 w 185294"/>
                <a:gd name="connsiteY14" fmla="*/ 424068 h 427118"/>
                <a:gd name="connsiteX15" fmla="*/ 84616 w 185294"/>
                <a:gd name="connsiteY15" fmla="*/ 427119 h 427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5294" h="427118">
                  <a:moveTo>
                    <a:pt x="84616" y="427119"/>
                  </a:moveTo>
                  <a:cubicBezTo>
                    <a:pt x="48006" y="427119"/>
                    <a:pt x="20549" y="424068"/>
                    <a:pt x="5294" y="414915"/>
                  </a:cubicBezTo>
                  <a:lnTo>
                    <a:pt x="2243" y="414915"/>
                  </a:lnTo>
                  <a:lnTo>
                    <a:pt x="2243" y="411864"/>
                  </a:lnTo>
                  <a:cubicBezTo>
                    <a:pt x="-3858" y="378305"/>
                    <a:pt x="-808" y="207458"/>
                    <a:pt x="54108" y="112881"/>
                  </a:cubicBezTo>
                  <a:cubicBezTo>
                    <a:pt x="54108" y="109830"/>
                    <a:pt x="57159" y="106780"/>
                    <a:pt x="60209" y="103729"/>
                  </a:cubicBezTo>
                  <a:cubicBezTo>
                    <a:pt x="78515" y="73220"/>
                    <a:pt x="115125" y="9153"/>
                    <a:pt x="179193" y="0"/>
                  </a:cubicBezTo>
                  <a:cubicBezTo>
                    <a:pt x="182243" y="0"/>
                    <a:pt x="185294" y="3051"/>
                    <a:pt x="185294" y="6102"/>
                  </a:cubicBezTo>
                  <a:cubicBezTo>
                    <a:pt x="185294" y="9153"/>
                    <a:pt x="182243" y="12203"/>
                    <a:pt x="179193" y="12203"/>
                  </a:cubicBezTo>
                  <a:cubicBezTo>
                    <a:pt x="118176" y="18305"/>
                    <a:pt x="84616" y="79322"/>
                    <a:pt x="66311" y="109830"/>
                  </a:cubicBezTo>
                  <a:cubicBezTo>
                    <a:pt x="63260" y="112881"/>
                    <a:pt x="63260" y="115932"/>
                    <a:pt x="60209" y="118983"/>
                  </a:cubicBezTo>
                  <a:cubicBezTo>
                    <a:pt x="8345" y="207458"/>
                    <a:pt x="2243" y="369152"/>
                    <a:pt x="8345" y="405763"/>
                  </a:cubicBezTo>
                  <a:cubicBezTo>
                    <a:pt x="32752" y="417966"/>
                    <a:pt x="78515" y="417966"/>
                    <a:pt x="148684" y="411864"/>
                  </a:cubicBezTo>
                  <a:cubicBezTo>
                    <a:pt x="151735" y="411864"/>
                    <a:pt x="154786" y="414915"/>
                    <a:pt x="154786" y="417966"/>
                  </a:cubicBezTo>
                  <a:cubicBezTo>
                    <a:pt x="154786" y="421017"/>
                    <a:pt x="151735" y="424068"/>
                    <a:pt x="148684" y="424068"/>
                  </a:cubicBezTo>
                  <a:cubicBezTo>
                    <a:pt x="127328" y="427119"/>
                    <a:pt x="102921" y="427119"/>
                    <a:pt x="84616" y="427119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F29ECA0E-9679-4991-A301-59A49DD156FD}"/>
                </a:ext>
              </a:extLst>
            </p:cNvPr>
            <p:cNvSpPr/>
            <p:nvPr/>
          </p:nvSpPr>
          <p:spPr>
            <a:xfrm>
              <a:off x="8745339" y="9684769"/>
              <a:ext cx="119784" cy="69101"/>
            </a:xfrm>
            <a:custGeom>
              <a:avLst/>
              <a:gdLst>
                <a:gd name="connsiteX0" fmla="*/ 119784 w 119784"/>
                <a:gd name="connsiteY0" fmla="*/ 2712 h 69101"/>
                <a:gd name="connsiteX1" fmla="*/ 46564 w 119784"/>
                <a:gd name="connsiteY1" fmla="*/ 2712 h 69101"/>
                <a:gd name="connsiteX2" fmla="*/ 802 w 119784"/>
                <a:gd name="connsiteY2" fmla="*/ 60678 h 69101"/>
                <a:gd name="connsiteX3" fmla="*/ 119784 w 119784"/>
                <a:gd name="connsiteY3" fmla="*/ 2712 h 69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784" h="69101">
                  <a:moveTo>
                    <a:pt x="119784" y="2712"/>
                  </a:moveTo>
                  <a:cubicBezTo>
                    <a:pt x="119784" y="2712"/>
                    <a:pt x="64869" y="-3390"/>
                    <a:pt x="46564" y="2712"/>
                  </a:cubicBezTo>
                  <a:cubicBezTo>
                    <a:pt x="19106" y="14915"/>
                    <a:pt x="13005" y="27119"/>
                    <a:pt x="802" y="60678"/>
                  </a:cubicBezTo>
                  <a:cubicBezTo>
                    <a:pt x="-11402" y="97288"/>
                    <a:pt x="119784" y="2712"/>
                    <a:pt x="119784" y="2712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1" name="图形 114">
              <a:extLst>
                <a:ext uri="{FF2B5EF4-FFF2-40B4-BE49-F238E27FC236}">
                  <a16:creationId xmlns:a16="http://schemas.microsoft.com/office/drawing/2014/main" id="{84F1882D-6B59-48DC-BE87-B2109C19538B}"/>
                </a:ext>
              </a:extLst>
            </p:cNvPr>
            <p:cNvGrpSpPr/>
            <p:nvPr/>
          </p:nvGrpSpPr>
          <p:grpSpPr>
            <a:xfrm>
              <a:off x="8715829" y="9681380"/>
              <a:ext cx="195677" cy="234914"/>
              <a:chOff x="8715829" y="9681380"/>
              <a:chExt cx="195677" cy="234914"/>
            </a:xfrm>
          </p:grpSpPr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2273F36A-C04E-49FF-8F28-FF861F879AA1}"/>
                  </a:ext>
                </a:extLst>
              </p:cNvPr>
              <p:cNvSpPr/>
              <p:nvPr/>
            </p:nvSpPr>
            <p:spPr>
              <a:xfrm>
                <a:off x="8721733" y="9681380"/>
                <a:ext cx="189773" cy="231863"/>
              </a:xfrm>
              <a:custGeom>
                <a:avLst/>
                <a:gdLst>
                  <a:gd name="connsiteX0" fmla="*/ 146441 w 189773"/>
                  <a:gd name="connsiteY0" fmla="*/ 3050 h 231863"/>
                  <a:gd name="connsiteX1" fmla="*/ 137288 w 189773"/>
                  <a:gd name="connsiteY1" fmla="*/ 0 h 231863"/>
                  <a:gd name="connsiteX2" fmla="*/ 24407 w 189773"/>
                  <a:gd name="connsiteY2" fmla="*/ 67118 h 231863"/>
                  <a:gd name="connsiteX3" fmla="*/ 3051 w 189773"/>
                  <a:gd name="connsiteY3" fmla="*/ 143389 h 231863"/>
                  <a:gd name="connsiteX4" fmla="*/ 6102 w 189773"/>
                  <a:gd name="connsiteY4" fmla="*/ 173898 h 231863"/>
                  <a:gd name="connsiteX5" fmla="*/ 15254 w 189773"/>
                  <a:gd name="connsiteY5" fmla="*/ 173898 h 231863"/>
                  <a:gd name="connsiteX6" fmla="*/ 24407 w 189773"/>
                  <a:gd name="connsiteY6" fmla="*/ 164746 h 231863"/>
                  <a:gd name="connsiteX7" fmla="*/ 24407 w 189773"/>
                  <a:gd name="connsiteY7" fmla="*/ 201355 h 231863"/>
                  <a:gd name="connsiteX8" fmla="*/ 36610 w 189773"/>
                  <a:gd name="connsiteY8" fmla="*/ 228814 h 231863"/>
                  <a:gd name="connsiteX9" fmla="*/ 54915 w 189773"/>
                  <a:gd name="connsiteY9" fmla="*/ 225763 h 231863"/>
                  <a:gd name="connsiteX10" fmla="*/ 54915 w 189773"/>
                  <a:gd name="connsiteY10" fmla="*/ 225763 h 231863"/>
                  <a:gd name="connsiteX11" fmla="*/ 61017 w 189773"/>
                  <a:gd name="connsiteY11" fmla="*/ 231864 h 231863"/>
                  <a:gd name="connsiteX12" fmla="*/ 94576 w 189773"/>
                  <a:gd name="connsiteY12" fmla="*/ 186101 h 231863"/>
                  <a:gd name="connsiteX13" fmla="*/ 106780 w 189773"/>
                  <a:gd name="connsiteY13" fmla="*/ 198305 h 231863"/>
                  <a:gd name="connsiteX14" fmla="*/ 115932 w 189773"/>
                  <a:gd name="connsiteY14" fmla="*/ 195254 h 231863"/>
                  <a:gd name="connsiteX15" fmla="*/ 143390 w 189773"/>
                  <a:gd name="connsiteY15" fmla="*/ 115932 h 231863"/>
                  <a:gd name="connsiteX16" fmla="*/ 183051 w 189773"/>
                  <a:gd name="connsiteY16" fmla="*/ 73220 h 231863"/>
                  <a:gd name="connsiteX17" fmla="*/ 146441 w 189773"/>
                  <a:gd name="connsiteY17" fmla="*/ 3050 h 231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89773" h="231863">
                    <a:moveTo>
                      <a:pt x="146441" y="3050"/>
                    </a:moveTo>
                    <a:cubicBezTo>
                      <a:pt x="143390" y="0"/>
                      <a:pt x="140339" y="0"/>
                      <a:pt x="137288" y="0"/>
                    </a:cubicBezTo>
                    <a:cubicBezTo>
                      <a:pt x="100678" y="6101"/>
                      <a:pt x="39661" y="30508"/>
                      <a:pt x="24407" y="67118"/>
                    </a:cubicBezTo>
                    <a:cubicBezTo>
                      <a:pt x="15254" y="91525"/>
                      <a:pt x="9153" y="118983"/>
                      <a:pt x="3051" y="143389"/>
                    </a:cubicBezTo>
                    <a:cubicBezTo>
                      <a:pt x="0" y="155592"/>
                      <a:pt x="-3051" y="164746"/>
                      <a:pt x="6102" y="173898"/>
                    </a:cubicBezTo>
                    <a:cubicBezTo>
                      <a:pt x="9153" y="176949"/>
                      <a:pt x="12203" y="176949"/>
                      <a:pt x="15254" y="173898"/>
                    </a:cubicBezTo>
                    <a:cubicBezTo>
                      <a:pt x="18305" y="170847"/>
                      <a:pt x="21356" y="167797"/>
                      <a:pt x="24407" y="164746"/>
                    </a:cubicBezTo>
                    <a:cubicBezTo>
                      <a:pt x="24407" y="176949"/>
                      <a:pt x="24407" y="189152"/>
                      <a:pt x="24407" y="201355"/>
                    </a:cubicBezTo>
                    <a:cubicBezTo>
                      <a:pt x="24407" y="210508"/>
                      <a:pt x="24407" y="222711"/>
                      <a:pt x="36610" y="228814"/>
                    </a:cubicBezTo>
                    <a:cubicBezTo>
                      <a:pt x="45763" y="231864"/>
                      <a:pt x="51864" y="231864"/>
                      <a:pt x="54915" y="225763"/>
                    </a:cubicBezTo>
                    <a:cubicBezTo>
                      <a:pt x="54915" y="225763"/>
                      <a:pt x="54915" y="225763"/>
                      <a:pt x="54915" y="225763"/>
                    </a:cubicBezTo>
                    <a:cubicBezTo>
                      <a:pt x="54915" y="228814"/>
                      <a:pt x="57966" y="231864"/>
                      <a:pt x="61017" y="231864"/>
                    </a:cubicBezTo>
                    <a:cubicBezTo>
                      <a:pt x="79322" y="231864"/>
                      <a:pt x="88475" y="210508"/>
                      <a:pt x="94576" y="186101"/>
                    </a:cubicBezTo>
                    <a:cubicBezTo>
                      <a:pt x="97627" y="192203"/>
                      <a:pt x="100678" y="195254"/>
                      <a:pt x="106780" y="198305"/>
                    </a:cubicBezTo>
                    <a:cubicBezTo>
                      <a:pt x="109830" y="201355"/>
                      <a:pt x="112881" y="198305"/>
                      <a:pt x="115932" y="195254"/>
                    </a:cubicBezTo>
                    <a:cubicBezTo>
                      <a:pt x="131187" y="170847"/>
                      <a:pt x="125085" y="140338"/>
                      <a:pt x="143390" y="115932"/>
                    </a:cubicBezTo>
                    <a:cubicBezTo>
                      <a:pt x="155593" y="100678"/>
                      <a:pt x="176949" y="91525"/>
                      <a:pt x="183051" y="73220"/>
                    </a:cubicBezTo>
                    <a:cubicBezTo>
                      <a:pt x="201356" y="30508"/>
                      <a:pt x="180000" y="6101"/>
                      <a:pt x="146441" y="3050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D962B30F-D5C3-4698-B5E2-64BEBC9FBC63}"/>
                  </a:ext>
                </a:extLst>
              </p:cNvPr>
              <p:cNvSpPr/>
              <p:nvPr/>
            </p:nvSpPr>
            <p:spPr>
              <a:xfrm>
                <a:off x="8715829" y="9736295"/>
                <a:ext cx="39463" cy="125084"/>
              </a:xfrm>
              <a:custGeom>
                <a:avLst/>
                <a:gdLst>
                  <a:gd name="connsiteX0" fmla="*/ 15057 w 39463"/>
                  <a:gd name="connsiteY0" fmla="*/ 125085 h 125084"/>
                  <a:gd name="connsiteX1" fmla="*/ 15057 w 39463"/>
                  <a:gd name="connsiteY1" fmla="*/ 125085 h 125084"/>
                  <a:gd name="connsiteX2" fmla="*/ 2854 w 39463"/>
                  <a:gd name="connsiteY2" fmla="*/ 118983 h 125084"/>
                  <a:gd name="connsiteX3" fmla="*/ 27261 w 39463"/>
                  <a:gd name="connsiteY3" fmla="*/ 3051 h 125084"/>
                  <a:gd name="connsiteX4" fmla="*/ 36413 w 39463"/>
                  <a:gd name="connsiteY4" fmla="*/ 0 h 125084"/>
                  <a:gd name="connsiteX5" fmla="*/ 39464 w 39463"/>
                  <a:gd name="connsiteY5" fmla="*/ 9152 h 125084"/>
                  <a:gd name="connsiteX6" fmla="*/ 15057 w 39463"/>
                  <a:gd name="connsiteY6" fmla="*/ 115932 h 125084"/>
                  <a:gd name="connsiteX7" fmla="*/ 15057 w 39463"/>
                  <a:gd name="connsiteY7" fmla="*/ 115932 h 125084"/>
                  <a:gd name="connsiteX8" fmla="*/ 27261 w 39463"/>
                  <a:gd name="connsiteY8" fmla="*/ 106780 h 125084"/>
                  <a:gd name="connsiteX9" fmla="*/ 36413 w 39463"/>
                  <a:gd name="connsiteY9" fmla="*/ 106780 h 125084"/>
                  <a:gd name="connsiteX10" fmla="*/ 36413 w 39463"/>
                  <a:gd name="connsiteY10" fmla="*/ 115932 h 125084"/>
                  <a:gd name="connsiteX11" fmla="*/ 15057 w 39463"/>
                  <a:gd name="connsiteY11" fmla="*/ 125085 h 125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463" h="125084">
                    <a:moveTo>
                      <a:pt x="15057" y="125085"/>
                    </a:moveTo>
                    <a:cubicBezTo>
                      <a:pt x="15057" y="125085"/>
                      <a:pt x="12006" y="125085"/>
                      <a:pt x="15057" y="125085"/>
                    </a:cubicBezTo>
                    <a:cubicBezTo>
                      <a:pt x="8955" y="125085"/>
                      <a:pt x="5905" y="122034"/>
                      <a:pt x="2854" y="118983"/>
                    </a:cubicBezTo>
                    <a:cubicBezTo>
                      <a:pt x="-9349" y="97627"/>
                      <a:pt x="21159" y="18305"/>
                      <a:pt x="27261" y="3051"/>
                    </a:cubicBezTo>
                    <a:cubicBezTo>
                      <a:pt x="27261" y="0"/>
                      <a:pt x="33362" y="0"/>
                      <a:pt x="36413" y="0"/>
                    </a:cubicBezTo>
                    <a:cubicBezTo>
                      <a:pt x="39464" y="0"/>
                      <a:pt x="39464" y="6102"/>
                      <a:pt x="39464" y="9152"/>
                    </a:cubicBezTo>
                    <a:cubicBezTo>
                      <a:pt x="24210" y="45763"/>
                      <a:pt x="5905" y="103729"/>
                      <a:pt x="15057" y="115932"/>
                    </a:cubicBezTo>
                    <a:cubicBezTo>
                      <a:pt x="15057" y="115932"/>
                      <a:pt x="15057" y="115932"/>
                      <a:pt x="15057" y="115932"/>
                    </a:cubicBezTo>
                    <a:cubicBezTo>
                      <a:pt x="18108" y="115932"/>
                      <a:pt x="24210" y="112882"/>
                      <a:pt x="27261" y="106780"/>
                    </a:cubicBezTo>
                    <a:cubicBezTo>
                      <a:pt x="30312" y="103729"/>
                      <a:pt x="33362" y="103729"/>
                      <a:pt x="36413" y="106780"/>
                    </a:cubicBezTo>
                    <a:cubicBezTo>
                      <a:pt x="39464" y="109831"/>
                      <a:pt x="39464" y="112882"/>
                      <a:pt x="36413" y="115932"/>
                    </a:cubicBezTo>
                    <a:cubicBezTo>
                      <a:pt x="33362" y="115932"/>
                      <a:pt x="24210" y="125085"/>
                      <a:pt x="15057" y="12508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45E4A2C2-5DAE-4E21-8A0A-68D0DD5400DF}"/>
                  </a:ext>
                </a:extLst>
              </p:cNvPr>
              <p:cNvSpPr/>
              <p:nvPr/>
            </p:nvSpPr>
            <p:spPr>
              <a:xfrm>
                <a:off x="8740038" y="9771642"/>
                <a:ext cx="51864" cy="144653"/>
              </a:xfrm>
              <a:custGeom>
                <a:avLst/>
                <a:gdLst>
                  <a:gd name="connsiteX0" fmla="*/ 27458 w 51864"/>
                  <a:gd name="connsiteY0" fmla="*/ 144653 h 144653"/>
                  <a:gd name="connsiteX1" fmla="*/ 15254 w 51864"/>
                  <a:gd name="connsiteY1" fmla="*/ 141602 h 144653"/>
                  <a:gd name="connsiteX2" fmla="*/ 0 w 51864"/>
                  <a:gd name="connsiteY2" fmla="*/ 98890 h 144653"/>
                  <a:gd name="connsiteX3" fmla="*/ 0 w 51864"/>
                  <a:gd name="connsiteY3" fmla="*/ 95839 h 144653"/>
                  <a:gd name="connsiteX4" fmla="*/ 15254 w 51864"/>
                  <a:gd name="connsiteY4" fmla="*/ 4314 h 144653"/>
                  <a:gd name="connsiteX5" fmla="*/ 21356 w 51864"/>
                  <a:gd name="connsiteY5" fmla="*/ 1264 h 144653"/>
                  <a:gd name="connsiteX6" fmla="*/ 24407 w 51864"/>
                  <a:gd name="connsiteY6" fmla="*/ 7365 h 144653"/>
                  <a:gd name="connsiteX7" fmla="*/ 9153 w 51864"/>
                  <a:gd name="connsiteY7" fmla="*/ 95839 h 144653"/>
                  <a:gd name="connsiteX8" fmla="*/ 9153 w 51864"/>
                  <a:gd name="connsiteY8" fmla="*/ 98890 h 144653"/>
                  <a:gd name="connsiteX9" fmla="*/ 18305 w 51864"/>
                  <a:gd name="connsiteY9" fmla="*/ 132450 h 144653"/>
                  <a:gd name="connsiteX10" fmla="*/ 30508 w 51864"/>
                  <a:gd name="connsiteY10" fmla="*/ 132450 h 144653"/>
                  <a:gd name="connsiteX11" fmla="*/ 39661 w 51864"/>
                  <a:gd name="connsiteY11" fmla="*/ 25670 h 144653"/>
                  <a:gd name="connsiteX12" fmla="*/ 48814 w 51864"/>
                  <a:gd name="connsiteY12" fmla="*/ 22619 h 144653"/>
                  <a:gd name="connsiteX13" fmla="*/ 51865 w 51864"/>
                  <a:gd name="connsiteY13" fmla="*/ 31772 h 144653"/>
                  <a:gd name="connsiteX14" fmla="*/ 42712 w 51864"/>
                  <a:gd name="connsiteY14" fmla="*/ 135501 h 144653"/>
                  <a:gd name="connsiteX15" fmla="*/ 39661 w 51864"/>
                  <a:gd name="connsiteY15" fmla="*/ 141602 h 144653"/>
                  <a:gd name="connsiteX16" fmla="*/ 27458 w 51864"/>
                  <a:gd name="connsiteY16" fmla="*/ 144653 h 144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1864" h="144653">
                    <a:moveTo>
                      <a:pt x="27458" y="144653"/>
                    </a:moveTo>
                    <a:cubicBezTo>
                      <a:pt x="24407" y="144653"/>
                      <a:pt x="18305" y="144653"/>
                      <a:pt x="15254" y="141602"/>
                    </a:cubicBezTo>
                    <a:cubicBezTo>
                      <a:pt x="3051" y="132450"/>
                      <a:pt x="3051" y="114145"/>
                      <a:pt x="0" y="98890"/>
                    </a:cubicBezTo>
                    <a:lnTo>
                      <a:pt x="0" y="95839"/>
                    </a:lnTo>
                    <a:cubicBezTo>
                      <a:pt x="0" y="74484"/>
                      <a:pt x="15254" y="7365"/>
                      <a:pt x="15254" y="4314"/>
                    </a:cubicBezTo>
                    <a:cubicBezTo>
                      <a:pt x="15254" y="1264"/>
                      <a:pt x="18305" y="-1787"/>
                      <a:pt x="21356" y="1264"/>
                    </a:cubicBezTo>
                    <a:cubicBezTo>
                      <a:pt x="24407" y="1264"/>
                      <a:pt x="27458" y="4314"/>
                      <a:pt x="24407" y="7365"/>
                    </a:cubicBezTo>
                    <a:cubicBezTo>
                      <a:pt x="18305" y="25670"/>
                      <a:pt x="9153" y="80585"/>
                      <a:pt x="9153" y="95839"/>
                    </a:cubicBezTo>
                    <a:lnTo>
                      <a:pt x="9153" y="98890"/>
                    </a:lnTo>
                    <a:cubicBezTo>
                      <a:pt x="9153" y="111094"/>
                      <a:pt x="12204" y="126348"/>
                      <a:pt x="18305" y="132450"/>
                    </a:cubicBezTo>
                    <a:cubicBezTo>
                      <a:pt x="21356" y="135501"/>
                      <a:pt x="24407" y="135501"/>
                      <a:pt x="30508" y="132450"/>
                    </a:cubicBezTo>
                    <a:cubicBezTo>
                      <a:pt x="30508" y="114145"/>
                      <a:pt x="27458" y="50077"/>
                      <a:pt x="39661" y="25670"/>
                    </a:cubicBezTo>
                    <a:cubicBezTo>
                      <a:pt x="39661" y="22619"/>
                      <a:pt x="45763" y="22619"/>
                      <a:pt x="48814" y="22619"/>
                    </a:cubicBezTo>
                    <a:cubicBezTo>
                      <a:pt x="51865" y="22619"/>
                      <a:pt x="51865" y="28721"/>
                      <a:pt x="51865" y="31772"/>
                    </a:cubicBezTo>
                    <a:cubicBezTo>
                      <a:pt x="39661" y="59230"/>
                      <a:pt x="42712" y="135501"/>
                      <a:pt x="42712" y="135501"/>
                    </a:cubicBezTo>
                    <a:cubicBezTo>
                      <a:pt x="42712" y="138552"/>
                      <a:pt x="42712" y="141602"/>
                      <a:pt x="39661" y="141602"/>
                    </a:cubicBezTo>
                    <a:cubicBezTo>
                      <a:pt x="36611" y="141602"/>
                      <a:pt x="30508" y="144653"/>
                      <a:pt x="27458" y="14465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D4B62CBE-DE39-4747-B2E6-0951B2A0D95F}"/>
                  </a:ext>
                </a:extLst>
              </p:cNvPr>
              <p:cNvSpPr/>
              <p:nvPr/>
            </p:nvSpPr>
            <p:spPr>
              <a:xfrm>
                <a:off x="8774360" y="9770617"/>
                <a:ext cx="77796" cy="145677"/>
              </a:xfrm>
              <a:custGeom>
                <a:avLst/>
                <a:gdLst>
                  <a:gd name="connsiteX0" fmla="*/ 17543 w 77796"/>
                  <a:gd name="connsiteY0" fmla="*/ 145678 h 145677"/>
                  <a:gd name="connsiteX1" fmla="*/ 2288 w 77796"/>
                  <a:gd name="connsiteY1" fmla="*/ 139576 h 145677"/>
                  <a:gd name="connsiteX2" fmla="*/ 2288 w 77796"/>
                  <a:gd name="connsiteY2" fmla="*/ 130423 h 145677"/>
                  <a:gd name="connsiteX3" fmla="*/ 11440 w 77796"/>
                  <a:gd name="connsiteY3" fmla="*/ 130423 h 145677"/>
                  <a:gd name="connsiteX4" fmla="*/ 29746 w 77796"/>
                  <a:gd name="connsiteY4" fmla="*/ 127372 h 145677"/>
                  <a:gd name="connsiteX5" fmla="*/ 41949 w 77796"/>
                  <a:gd name="connsiteY5" fmla="*/ 93814 h 145677"/>
                  <a:gd name="connsiteX6" fmla="*/ 41949 w 77796"/>
                  <a:gd name="connsiteY6" fmla="*/ 32797 h 145677"/>
                  <a:gd name="connsiteX7" fmla="*/ 66356 w 77796"/>
                  <a:gd name="connsiteY7" fmla="*/ 2288 h 145677"/>
                  <a:gd name="connsiteX8" fmla="*/ 75508 w 77796"/>
                  <a:gd name="connsiteY8" fmla="*/ 2288 h 145677"/>
                  <a:gd name="connsiteX9" fmla="*/ 75508 w 77796"/>
                  <a:gd name="connsiteY9" fmla="*/ 11440 h 145677"/>
                  <a:gd name="connsiteX10" fmla="*/ 54153 w 77796"/>
                  <a:gd name="connsiteY10" fmla="*/ 38898 h 145677"/>
                  <a:gd name="connsiteX11" fmla="*/ 54153 w 77796"/>
                  <a:gd name="connsiteY11" fmla="*/ 96864 h 145677"/>
                  <a:gd name="connsiteX12" fmla="*/ 38898 w 77796"/>
                  <a:gd name="connsiteY12" fmla="*/ 139576 h 145677"/>
                  <a:gd name="connsiteX13" fmla="*/ 17543 w 77796"/>
                  <a:gd name="connsiteY13" fmla="*/ 145678 h 145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7796" h="145677">
                    <a:moveTo>
                      <a:pt x="17543" y="145678"/>
                    </a:moveTo>
                    <a:cubicBezTo>
                      <a:pt x="11440" y="145678"/>
                      <a:pt x="5339" y="142627"/>
                      <a:pt x="2288" y="139576"/>
                    </a:cubicBezTo>
                    <a:cubicBezTo>
                      <a:pt x="-763" y="136525"/>
                      <a:pt x="-763" y="133474"/>
                      <a:pt x="2288" y="130423"/>
                    </a:cubicBezTo>
                    <a:cubicBezTo>
                      <a:pt x="5339" y="127372"/>
                      <a:pt x="8390" y="127372"/>
                      <a:pt x="11440" y="130423"/>
                    </a:cubicBezTo>
                    <a:cubicBezTo>
                      <a:pt x="14491" y="133474"/>
                      <a:pt x="20593" y="136525"/>
                      <a:pt x="29746" y="127372"/>
                    </a:cubicBezTo>
                    <a:cubicBezTo>
                      <a:pt x="41949" y="115169"/>
                      <a:pt x="41949" y="93814"/>
                      <a:pt x="41949" y="93814"/>
                    </a:cubicBezTo>
                    <a:cubicBezTo>
                      <a:pt x="41949" y="84661"/>
                      <a:pt x="38898" y="41949"/>
                      <a:pt x="41949" y="32797"/>
                    </a:cubicBezTo>
                    <a:cubicBezTo>
                      <a:pt x="45000" y="20593"/>
                      <a:pt x="63305" y="2288"/>
                      <a:pt x="66356" y="2288"/>
                    </a:cubicBezTo>
                    <a:cubicBezTo>
                      <a:pt x="69407" y="-763"/>
                      <a:pt x="72457" y="-763"/>
                      <a:pt x="75508" y="2288"/>
                    </a:cubicBezTo>
                    <a:cubicBezTo>
                      <a:pt x="78559" y="5338"/>
                      <a:pt x="78559" y="8389"/>
                      <a:pt x="75508" y="11440"/>
                    </a:cubicBezTo>
                    <a:cubicBezTo>
                      <a:pt x="69407" y="17543"/>
                      <a:pt x="57203" y="32797"/>
                      <a:pt x="54153" y="38898"/>
                    </a:cubicBezTo>
                    <a:cubicBezTo>
                      <a:pt x="51102" y="45000"/>
                      <a:pt x="54153" y="72457"/>
                      <a:pt x="54153" y="96864"/>
                    </a:cubicBezTo>
                    <a:cubicBezTo>
                      <a:pt x="54153" y="99915"/>
                      <a:pt x="51102" y="124322"/>
                      <a:pt x="38898" y="139576"/>
                    </a:cubicBezTo>
                    <a:cubicBezTo>
                      <a:pt x="29746" y="142627"/>
                      <a:pt x="20593" y="145678"/>
                      <a:pt x="17543" y="14567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5EFEEABB-A28F-4940-82C8-5A6C5B3B96DD}"/>
                </a:ext>
              </a:extLst>
            </p:cNvPr>
            <p:cNvSpPr/>
            <p:nvPr/>
          </p:nvSpPr>
          <p:spPr>
            <a:xfrm>
              <a:off x="8743089" y="9687481"/>
              <a:ext cx="79322" cy="61016"/>
            </a:xfrm>
            <a:custGeom>
              <a:avLst/>
              <a:gdLst>
                <a:gd name="connsiteX0" fmla="*/ 6102 w 79322"/>
                <a:gd name="connsiteY0" fmla="*/ 61017 h 61016"/>
                <a:gd name="connsiteX1" fmla="*/ 6102 w 79322"/>
                <a:gd name="connsiteY1" fmla="*/ 61017 h 61016"/>
                <a:gd name="connsiteX2" fmla="*/ 0 w 79322"/>
                <a:gd name="connsiteY2" fmla="*/ 51865 h 61016"/>
                <a:gd name="connsiteX3" fmla="*/ 73220 w 79322"/>
                <a:gd name="connsiteY3" fmla="*/ 0 h 61016"/>
                <a:gd name="connsiteX4" fmla="*/ 79322 w 79322"/>
                <a:gd name="connsiteY4" fmla="*/ 3051 h 61016"/>
                <a:gd name="connsiteX5" fmla="*/ 76271 w 79322"/>
                <a:gd name="connsiteY5" fmla="*/ 9153 h 61016"/>
                <a:gd name="connsiteX6" fmla="*/ 9153 w 79322"/>
                <a:gd name="connsiteY6" fmla="*/ 54916 h 61016"/>
                <a:gd name="connsiteX7" fmla="*/ 6102 w 79322"/>
                <a:gd name="connsiteY7" fmla="*/ 61017 h 61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322" h="61016">
                  <a:moveTo>
                    <a:pt x="6102" y="61017"/>
                  </a:moveTo>
                  <a:cubicBezTo>
                    <a:pt x="6102" y="61017"/>
                    <a:pt x="3051" y="61017"/>
                    <a:pt x="6102" y="61017"/>
                  </a:cubicBezTo>
                  <a:cubicBezTo>
                    <a:pt x="0" y="57966"/>
                    <a:pt x="0" y="54916"/>
                    <a:pt x="0" y="51865"/>
                  </a:cubicBezTo>
                  <a:cubicBezTo>
                    <a:pt x="6102" y="33560"/>
                    <a:pt x="51864" y="6102"/>
                    <a:pt x="73220" y="0"/>
                  </a:cubicBezTo>
                  <a:cubicBezTo>
                    <a:pt x="76271" y="0"/>
                    <a:pt x="79322" y="0"/>
                    <a:pt x="79322" y="3051"/>
                  </a:cubicBezTo>
                  <a:cubicBezTo>
                    <a:pt x="79322" y="6102"/>
                    <a:pt x="79322" y="9153"/>
                    <a:pt x="76271" y="9153"/>
                  </a:cubicBezTo>
                  <a:cubicBezTo>
                    <a:pt x="57966" y="15254"/>
                    <a:pt x="15254" y="42712"/>
                    <a:pt x="9153" y="54916"/>
                  </a:cubicBezTo>
                  <a:cubicBezTo>
                    <a:pt x="9153" y="57966"/>
                    <a:pt x="9153" y="61017"/>
                    <a:pt x="6102" y="61017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E6819186-CA51-4010-9704-03C3FF8FF466}"/>
                </a:ext>
              </a:extLst>
            </p:cNvPr>
            <p:cNvSpPr/>
            <p:nvPr/>
          </p:nvSpPr>
          <p:spPr>
            <a:xfrm>
              <a:off x="8721632" y="7968985"/>
              <a:ext cx="416777" cy="568403"/>
            </a:xfrm>
            <a:custGeom>
              <a:avLst/>
              <a:gdLst>
                <a:gd name="connsiteX0" fmla="*/ 3152 w 416777"/>
                <a:gd name="connsiteY0" fmla="*/ 186971 h 568403"/>
                <a:gd name="connsiteX1" fmla="*/ 24508 w 416777"/>
                <a:gd name="connsiteY1" fmla="*/ 443242 h 568403"/>
                <a:gd name="connsiteX2" fmla="*/ 177050 w 416777"/>
                <a:gd name="connsiteY2" fmla="*/ 568327 h 568403"/>
                <a:gd name="connsiteX3" fmla="*/ 387559 w 416777"/>
                <a:gd name="connsiteY3" fmla="*/ 415784 h 568403"/>
                <a:gd name="connsiteX4" fmla="*/ 415016 w 416777"/>
                <a:gd name="connsiteY4" fmla="*/ 190022 h 568403"/>
                <a:gd name="connsiteX5" fmla="*/ 192305 w 416777"/>
                <a:gd name="connsiteY5" fmla="*/ 869 h 568403"/>
                <a:gd name="connsiteX6" fmla="*/ 3152 w 416777"/>
                <a:gd name="connsiteY6" fmla="*/ 186971 h 568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6777" h="568403">
                  <a:moveTo>
                    <a:pt x="3152" y="186971"/>
                  </a:moveTo>
                  <a:cubicBezTo>
                    <a:pt x="3152" y="186971"/>
                    <a:pt x="-12103" y="376123"/>
                    <a:pt x="24508" y="443242"/>
                  </a:cubicBezTo>
                  <a:cubicBezTo>
                    <a:pt x="64169" y="510361"/>
                    <a:pt x="128237" y="565276"/>
                    <a:pt x="177050" y="568327"/>
                  </a:cubicBezTo>
                  <a:cubicBezTo>
                    <a:pt x="244169" y="571378"/>
                    <a:pt x="353999" y="482903"/>
                    <a:pt x="387559" y="415784"/>
                  </a:cubicBezTo>
                  <a:cubicBezTo>
                    <a:pt x="421118" y="348666"/>
                    <a:pt x="418067" y="238835"/>
                    <a:pt x="415016" y="190022"/>
                  </a:cubicBezTo>
                  <a:cubicBezTo>
                    <a:pt x="408914" y="95445"/>
                    <a:pt x="378406" y="19174"/>
                    <a:pt x="192305" y="869"/>
                  </a:cubicBezTo>
                  <a:cubicBezTo>
                    <a:pt x="106881" y="-11334"/>
                    <a:pt x="18406" y="107649"/>
                    <a:pt x="3152" y="186971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562FA4A7-893C-4689-B958-278BDBC4B79F}"/>
                </a:ext>
              </a:extLst>
            </p:cNvPr>
            <p:cNvSpPr/>
            <p:nvPr/>
          </p:nvSpPr>
          <p:spPr>
            <a:xfrm>
              <a:off x="8859021" y="8249268"/>
              <a:ext cx="57965" cy="132450"/>
            </a:xfrm>
            <a:custGeom>
              <a:avLst/>
              <a:gdLst>
                <a:gd name="connsiteX0" fmla="*/ 27457 w 57965"/>
                <a:gd name="connsiteY0" fmla="*/ 132450 h 132450"/>
                <a:gd name="connsiteX1" fmla="*/ 6102 w 57965"/>
                <a:gd name="connsiteY1" fmla="*/ 126348 h 132450"/>
                <a:gd name="connsiteX2" fmla="*/ 0 w 57965"/>
                <a:gd name="connsiteY2" fmla="*/ 114145 h 132450"/>
                <a:gd name="connsiteX3" fmla="*/ 24407 w 57965"/>
                <a:gd name="connsiteY3" fmla="*/ 4314 h 132450"/>
                <a:gd name="connsiteX4" fmla="*/ 30508 w 57965"/>
                <a:gd name="connsiteY4" fmla="*/ 1264 h 132450"/>
                <a:gd name="connsiteX5" fmla="*/ 33559 w 57965"/>
                <a:gd name="connsiteY5" fmla="*/ 7365 h 132450"/>
                <a:gd name="connsiteX6" fmla="*/ 9153 w 57965"/>
                <a:gd name="connsiteY6" fmla="*/ 114145 h 132450"/>
                <a:gd name="connsiteX7" fmla="*/ 12203 w 57965"/>
                <a:gd name="connsiteY7" fmla="*/ 117196 h 132450"/>
                <a:gd name="connsiteX8" fmla="*/ 51864 w 57965"/>
                <a:gd name="connsiteY8" fmla="*/ 117196 h 132450"/>
                <a:gd name="connsiteX9" fmla="*/ 57966 w 57965"/>
                <a:gd name="connsiteY9" fmla="*/ 120247 h 132450"/>
                <a:gd name="connsiteX10" fmla="*/ 54915 w 57965"/>
                <a:gd name="connsiteY10" fmla="*/ 126348 h 132450"/>
                <a:gd name="connsiteX11" fmla="*/ 27457 w 57965"/>
                <a:gd name="connsiteY11" fmla="*/ 132450 h 13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65" h="132450">
                  <a:moveTo>
                    <a:pt x="27457" y="132450"/>
                  </a:moveTo>
                  <a:cubicBezTo>
                    <a:pt x="18305" y="132450"/>
                    <a:pt x="9153" y="132450"/>
                    <a:pt x="6102" y="126348"/>
                  </a:cubicBezTo>
                  <a:cubicBezTo>
                    <a:pt x="3051" y="123298"/>
                    <a:pt x="0" y="120247"/>
                    <a:pt x="0" y="114145"/>
                  </a:cubicBezTo>
                  <a:cubicBezTo>
                    <a:pt x="0" y="92789"/>
                    <a:pt x="21356" y="7365"/>
                    <a:pt x="24407" y="4314"/>
                  </a:cubicBezTo>
                  <a:cubicBezTo>
                    <a:pt x="24407" y="1264"/>
                    <a:pt x="27457" y="-1787"/>
                    <a:pt x="30508" y="1264"/>
                  </a:cubicBezTo>
                  <a:cubicBezTo>
                    <a:pt x="33559" y="1264"/>
                    <a:pt x="36610" y="4314"/>
                    <a:pt x="33559" y="7365"/>
                  </a:cubicBezTo>
                  <a:cubicBezTo>
                    <a:pt x="27457" y="31772"/>
                    <a:pt x="9153" y="98891"/>
                    <a:pt x="9153" y="114145"/>
                  </a:cubicBezTo>
                  <a:cubicBezTo>
                    <a:pt x="9153" y="114145"/>
                    <a:pt x="9153" y="117196"/>
                    <a:pt x="12203" y="117196"/>
                  </a:cubicBezTo>
                  <a:cubicBezTo>
                    <a:pt x="18305" y="123298"/>
                    <a:pt x="39661" y="120247"/>
                    <a:pt x="51864" y="117196"/>
                  </a:cubicBezTo>
                  <a:cubicBezTo>
                    <a:pt x="54915" y="117196"/>
                    <a:pt x="57966" y="117196"/>
                    <a:pt x="57966" y="120247"/>
                  </a:cubicBezTo>
                  <a:cubicBezTo>
                    <a:pt x="57966" y="123298"/>
                    <a:pt x="57966" y="126348"/>
                    <a:pt x="54915" y="126348"/>
                  </a:cubicBezTo>
                  <a:cubicBezTo>
                    <a:pt x="51864" y="129399"/>
                    <a:pt x="39661" y="132450"/>
                    <a:pt x="27457" y="132450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33789AC0-F702-4C85-BE1B-4A4A2B561CB6}"/>
                </a:ext>
              </a:extLst>
            </p:cNvPr>
            <p:cNvSpPr/>
            <p:nvPr/>
          </p:nvSpPr>
          <p:spPr>
            <a:xfrm>
              <a:off x="8837666" y="8407912"/>
              <a:ext cx="120246" cy="28721"/>
            </a:xfrm>
            <a:custGeom>
              <a:avLst/>
              <a:gdLst>
                <a:gd name="connsiteX0" fmla="*/ 57966 w 120246"/>
                <a:gd name="connsiteY0" fmla="*/ 28721 h 28721"/>
                <a:gd name="connsiteX1" fmla="*/ 3051 w 120246"/>
                <a:gd name="connsiteY1" fmla="*/ 16518 h 28721"/>
                <a:gd name="connsiteX2" fmla="*/ 0 w 120246"/>
                <a:gd name="connsiteY2" fmla="*/ 7365 h 28721"/>
                <a:gd name="connsiteX3" fmla="*/ 9152 w 120246"/>
                <a:gd name="connsiteY3" fmla="*/ 4315 h 28721"/>
                <a:gd name="connsiteX4" fmla="*/ 109830 w 120246"/>
                <a:gd name="connsiteY4" fmla="*/ 1264 h 28721"/>
                <a:gd name="connsiteX5" fmla="*/ 118983 w 120246"/>
                <a:gd name="connsiteY5" fmla="*/ 4315 h 28721"/>
                <a:gd name="connsiteX6" fmla="*/ 115932 w 120246"/>
                <a:gd name="connsiteY6" fmla="*/ 13467 h 28721"/>
                <a:gd name="connsiteX7" fmla="*/ 57966 w 120246"/>
                <a:gd name="connsiteY7" fmla="*/ 28721 h 28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246" h="28721">
                  <a:moveTo>
                    <a:pt x="57966" y="28721"/>
                  </a:moveTo>
                  <a:cubicBezTo>
                    <a:pt x="27457" y="28721"/>
                    <a:pt x="6102" y="16518"/>
                    <a:pt x="3051" y="16518"/>
                  </a:cubicBezTo>
                  <a:cubicBezTo>
                    <a:pt x="0" y="16518"/>
                    <a:pt x="0" y="10416"/>
                    <a:pt x="0" y="7365"/>
                  </a:cubicBezTo>
                  <a:cubicBezTo>
                    <a:pt x="0" y="4315"/>
                    <a:pt x="6102" y="4315"/>
                    <a:pt x="9152" y="4315"/>
                  </a:cubicBezTo>
                  <a:cubicBezTo>
                    <a:pt x="9152" y="4315"/>
                    <a:pt x="61017" y="28721"/>
                    <a:pt x="109830" y="1264"/>
                  </a:cubicBezTo>
                  <a:cubicBezTo>
                    <a:pt x="112881" y="-1787"/>
                    <a:pt x="115932" y="1264"/>
                    <a:pt x="118983" y="4315"/>
                  </a:cubicBezTo>
                  <a:cubicBezTo>
                    <a:pt x="122034" y="7365"/>
                    <a:pt x="118983" y="10416"/>
                    <a:pt x="115932" y="13467"/>
                  </a:cubicBezTo>
                  <a:cubicBezTo>
                    <a:pt x="94576" y="25671"/>
                    <a:pt x="76271" y="28721"/>
                    <a:pt x="57966" y="28721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008FB5B2-B225-4154-9043-E41353B7B93E}"/>
                </a:ext>
              </a:extLst>
            </p:cNvPr>
            <p:cNvSpPr/>
            <p:nvPr/>
          </p:nvSpPr>
          <p:spPr>
            <a:xfrm>
              <a:off x="8785024" y="8222297"/>
              <a:ext cx="40438" cy="41216"/>
            </a:xfrm>
            <a:custGeom>
              <a:avLst/>
              <a:gdLst>
                <a:gd name="connsiteX0" fmla="*/ 40438 w 40438"/>
                <a:gd name="connsiteY0" fmla="*/ 25184 h 41216"/>
                <a:gd name="connsiteX1" fmla="*/ 16032 w 40438"/>
                <a:gd name="connsiteY1" fmla="*/ 40438 h 41216"/>
                <a:gd name="connsiteX2" fmla="*/ 777 w 40438"/>
                <a:gd name="connsiteY2" fmla="*/ 16032 h 41216"/>
                <a:gd name="connsiteX3" fmla="*/ 25184 w 40438"/>
                <a:gd name="connsiteY3" fmla="*/ 777 h 41216"/>
                <a:gd name="connsiteX4" fmla="*/ 40438 w 40438"/>
                <a:gd name="connsiteY4" fmla="*/ 25184 h 4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38" h="41216">
                  <a:moveTo>
                    <a:pt x="40438" y="25184"/>
                  </a:moveTo>
                  <a:cubicBezTo>
                    <a:pt x="37388" y="37388"/>
                    <a:pt x="28235" y="43489"/>
                    <a:pt x="16032" y="40438"/>
                  </a:cubicBezTo>
                  <a:cubicBezTo>
                    <a:pt x="3828" y="37388"/>
                    <a:pt x="-2273" y="28235"/>
                    <a:pt x="777" y="16032"/>
                  </a:cubicBezTo>
                  <a:cubicBezTo>
                    <a:pt x="3828" y="3828"/>
                    <a:pt x="12981" y="-2273"/>
                    <a:pt x="25184" y="777"/>
                  </a:cubicBezTo>
                  <a:cubicBezTo>
                    <a:pt x="34337" y="3828"/>
                    <a:pt x="40438" y="16032"/>
                    <a:pt x="40438" y="25184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C267C1BA-6290-4CCE-AD88-0DA500A348A0}"/>
                </a:ext>
              </a:extLst>
            </p:cNvPr>
            <p:cNvSpPr/>
            <p:nvPr/>
          </p:nvSpPr>
          <p:spPr>
            <a:xfrm>
              <a:off x="8974176" y="8222297"/>
              <a:ext cx="41036" cy="41216"/>
            </a:xfrm>
            <a:custGeom>
              <a:avLst/>
              <a:gdLst>
                <a:gd name="connsiteX0" fmla="*/ 40438 w 41036"/>
                <a:gd name="connsiteY0" fmla="*/ 25184 h 41216"/>
                <a:gd name="connsiteX1" fmla="*/ 16032 w 41036"/>
                <a:gd name="connsiteY1" fmla="*/ 40438 h 41216"/>
                <a:gd name="connsiteX2" fmla="*/ 778 w 41036"/>
                <a:gd name="connsiteY2" fmla="*/ 16032 h 41216"/>
                <a:gd name="connsiteX3" fmla="*/ 25184 w 41036"/>
                <a:gd name="connsiteY3" fmla="*/ 777 h 41216"/>
                <a:gd name="connsiteX4" fmla="*/ 40438 w 41036"/>
                <a:gd name="connsiteY4" fmla="*/ 25184 h 4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6" h="41216">
                  <a:moveTo>
                    <a:pt x="40438" y="25184"/>
                  </a:moveTo>
                  <a:cubicBezTo>
                    <a:pt x="37388" y="37388"/>
                    <a:pt x="28235" y="43489"/>
                    <a:pt x="16032" y="40438"/>
                  </a:cubicBezTo>
                  <a:cubicBezTo>
                    <a:pt x="3828" y="37388"/>
                    <a:pt x="-2273" y="28235"/>
                    <a:pt x="778" y="16032"/>
                  </a:cubicBezTo>
                  <a:cubicBezTo>
                    <a:pt x="3828" y="3828"/>
                    <a:pt x="12981" y="-2273"/>
                    <a:pt x="25184" y="777"/>
                  </a:cubicBezTo>
                  <a:cubicBezTo>
                    <a:pt x="34337" y="3828"/>
                    <a:pt x="43489" y="16032"/>
                    <a:pt x="40438" y="25184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9A840D3E-D7DC-4F0C-8A5E-00EE55B48044}"/>
                </a:ext>
              </a:extLst>
            </p:cNvPr>
            <p:cNvSpPr/>
            <p:nvPr/>
          </p:nvSpPr>
          <p:spPr>
            <a:xfrm>
              <a:off x="8737750" y="8155851"/>
              <a:ext cx="104229" cy="36714"/>
            </a:xfrm>
            <a:custGeom>
              <a:avLst/>
              <a:gdLst>
                <a:gd name="connsiteX0" fmla="*/ 8390 w 104229"/>
                <a:gd name="connsiteY0" fmla="*/ 36715 h 36714"/>
                <a:gd name="connsiteX1" fmla="*/ 2288 w 104229"/>
                <a:gd name="connsiteY1" fmla="*/ 33664 h 36714"/>
                <a:gd name="connsiteX2" fmla="*/ 2288 w 104229"/>
                <a:gd name="connsiteY2" fmla="*/ 21460 h 36714"/>
                <a:gd name="connsiteX3" fmla="*/ 99915 w 104229"/>
                <a:gd name="connsiteY3" fmla="*/ 9257 h 36714"/>
                <a:gd name="connsiteX4" fmla="*/ 102966 w 104229"/>
                <a:gd name="connsiteY4" fmla="*/ 18410 h 36714"/>
                <a:gd name="connsiteX5" fmla="*/ 93813 w 104229"/>
                <a:gd name="connsiteY5" fmla="*/ 21460 h 36714"/>
                <a:gd name="connsiteX6" fmla="*/ 14492 w 104229"/>
                <a:gd name="connsiteY6" fmla="*/ 30613 h 36714"/>
                <a:gd name="connsiteX7" fmla="*/ 8390 w 104229"/>
                <a:gd name="connsiteY7" fmla="*/ 36715 h 3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229" h="36714">
                  <a:moveTo>
                    <a:pt x="8390" y="36715"/>
                  </a:moveTo>
                  <a:cubicBezTo>
                    <a:pt x="5339" y="36715"/>
                    <a:pt x="5339" y="36715"/>
                    <a:pt x="2288" y="33664"/>
                  </a:cubicBezTo>
                  <a:cubicBezTo>
                    <a:pt x="-763" y="30613"/>
                    <a:pt x="-763" y="24512"/>
                    <a:pt x="2288" y="21460"/>
                  </a:cubicBezTo>
                  <a:cubicBezTo>
                    <a:pt x="45000" y="-18200"/>
                    <a:pt x="96864" y="9257"/>
                    <a:pt x="99915" y="9257"/>
                  </a:cubicBezTo>
                  <a:cubicBezTo>
                    <a:pt x="102966" y="12308"/>
                    <a:pt x="106017" y="15359"/>
                    <a:pt x="102966" y="18410"/>
                  </a:cubicBezTo>
                  <a:cubicBezTo>
                    <a:pt x="99915" y="21460"/>
                    <a:pt x="96864" y="24512"/>
                    <a:pt x="93813" y="21460"/>
                  </a:cubicBezTo>
                  <a:cubicBezTo>
                    <a:pt x="90763" y="21460"/>
                    <a:pt x="48051" y="105"/>
                    <a:pt x="14492" y="30613"/>
                  </a:cubicBezTo>
                  <a:cubicBezTo>
                    <a:pt x="14492" y="36715"/>
                    <a:pt x="11441" y="36715"/>
                    <a:pt x="8390" y="36715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00E0A5DC-331B-40BC-8564-BD98CE0C876C}"/>
                </a:ext>
              </a:extLst>
            </p:cNvPr>
            <p:cNvSpPr/>
            <p:nvPr/>
          </p:nvSpPr>
          <p:spPr>
            <a:xfrm>
              <a:off x="8948543" y="8156812"/>
              <a:ext cx="103945" cy="29652"/>
            </a:xfrm>
            <a:custGeom>
              <a:avLst/>
              <a:gdLst>
                <a:gd name="connsiteX0" fmla="*/ 8106 w 103945"/>
                <a:gd name="connsiteY0" fmla="*/ 29652 h 29652"/>
                <a:gd name="connsiteX1" fmla="*/ 2004 w 103945"/>
                <a:gd name="connsiteY1" fmla="*/ 26602 h 29652"/>
                <a:gd name="connsiteX2" fmla="*/ 5055 w 103945"/>
                <a:gd name="connsiteY2" fmla="*/ 14398 h 29652"/>
                <a:gd name="connsiteX3" fmla="*/ 99631 w 103945"/>
                <a:gd name="connsiteY3" fmla="*/ 11347 h 29652"/>
                <a:gd name="connsiteX4" fmla="*/ 102682 w 103945"/>
                <a:gd name="connsiteY4" fmla="*/ 23551 h 29652"/>
                <a:gd name="connsiteX5" fmla="*/ 90479 w 103945"/>
                <a:gd name="connsiteY5" fmla="*/ 26602 h 29652"/>
                <a:gd name="connsiteX6" fmla="*/ 11157 w 103945"/>
                <a:gd name="connsiteY6" fmla="*/ 29652 h 29652"/>
                <a:gd name="connsiteX7" fmla="*/ 8106 w 103945"/>
                <a:gd name="connsiteY7" fmla="*/ 29652 h 29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945" h="29652">
                  <a:moveTo>
                    <a:pt x="8106" y="29652"/>
                  </a:moveTo>
                  <a:cubicBezTo>
                    <a:pt x="5055" y="29652"/>
                    <a:pt x="2004" y="29652"/>
                    <a:pt x="2004" y="26602"/>
                  </a:cubicBezTo>
                  <a:cubicBezTo>
                    <a:pt x="-1047" y="23551"/>
                    <a:pt x="-1047" y="17449"/>
                    <a:pt x="5055" y="14398"/>
                  </a:cubicBezTo>
                  <a:cubicBezTo>
                    <a:pt x="50817" y="-16110"/>
                    <a:pt x="99631" y="11347"/>
                    <a:pt x="99631" y="11347"/>
                  </a:cubicBezTo>
                  <a:cubicBezTo>
                    <a:pt x="102682" y="14398"/>
                    <a:pt x="105733" y="17449"/>
                    <a:pt x="102682" y="23551"/>
                  </a:cubicBezTo>
                  <a:cubicBezTo>
                    <a:pt x="99631" y="26602"/>
                    <a:pt x="96580" y="29652"/>
                    <a:pt x="90479" y="26602"/>
                  </a:cubicBezTo>
                  <a:cubicBezTo>
                    <a:pt x="87428" y="26602"/>
                    <a:pt x="47767" y="2195"/>
                    <a:pt x="11157" y="29652"/>
                  </a:cubicBezTo>
                  <a:cubicBezTo>
                    <a:pt x="11157" y="26602"/>
                    <a:pt x="11157" y="29652"/>
                    <a:pt x="8106" y="29652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3DE5F1A2-FE07-477E-AA59-145F545CA81C}"/>
                </a:ext>
              </a:extLst>
            </p:cNvPr>
            <p:cNvSpPr/>
            <p:nvPr/>
          </p:nvSpPr>
          <p:spPr>
            <a:xfrm>
              <a:off x="8697326" y="7932108"/>
              <a:ext cx="268785" cy="266560"/>
            </a:xfrm>
            <a:custGeom>
              <a:avLst/>
              <a:gdLst>
                <a:gd name="connsiteX0" fmla="*/ 265424 w 268785"/>
                <a:gd name="connsiteY0" fmla="*/ 1136 h 266560"/>
                <a:gd name="connsiteX1" fmla="*/ 234915 w 268785"/>
                <a:gd name="connsiteY1" fmla="*/ 129272 h 266560"/>
                <a:gd name="connsiteX2" fmla="*/ 0 w 268785"/>
                <a:gd name="connsiteY2" fmla="*/ 266560 h 266560"/>
                <a:gd name="connsiteX3" fmla="*/ 265424 w 268785"/>
                <a:gd name="connsiteY3" fmla="*/ 1136 h 266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785" h="266560">
                  <a:moveTo>
                    <a:pt x="265424" y="1136"/>
                  </a:moveTo>
                  <a:cubicBezTo>
                    <a:pt x="265424" y="1136"/>
                    <a:pt x="283729" y="89611"/>
                    <a:pt x="234915" y="129272"/>
                  </a:cubicBezTo>
                  <a:cubicBezTo>
                    <a:pt x="234915" y="129272"/>
                    <a:pt x="27457" y="181136"/>
                    <a:pt x="0" y="266560"/>
                  </a:cubicBezTo>
                  <a:cubicBezTo>
                    <a:pt x="3051" y="266560"/>
                    <a:pt x="-27457" y="-20220"/>
                    <a:pt x="265424" y="1136"/>
                  </a:cubicBezTo>
                  <a:close/>
                </a:path>
              </a:pathLst>
            </a:custGeom>
            <a:solidFill>
              <a:srgbClr val="F1DDBA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8CEB128F-B21D-4C44-B628-5F15222F5CC0}"/>
                </a:ext>
              </a:extLst>
            </p:cNvPr>
            <p:cNvSpPr/>
            <p:nvPr/>
          </p:nvSpPr>
          <p:spPr>
            <a:xfrm>
              <a:off x="8932242" y="7936239"/>
              <a:ext cx="233101" cy="307905"/>
            </a:xfrm>
            <a:custGeom>
              <a:avLst/>
              <a:gdLst>
                <a:gd name="connsiteX0" fmla="*/ 0 w 233101"/>
                <a:gd name="connsiteY0" fmla="*/ 128192 h 307905"/>
                <a:gd name="connsiteX1" fmla="*/ 143390 w 233101"/>
                <a:gd name="connsiteY1" fmla="*/ 177006 h 307905"/>
                <a:gd name="connsiteX2" fmla="*/ 207458 w 233101"/>
                <a:gd name="connsiteY2" fmla="*/ 295988 h 307905"/>
                <a:gd name="connsiteX3" fmla="*/ 231865 w 233101"/>
                <a:gd name="connsiteY3" fmla="*/ 289887 h 307905"/>
                <a:gd name="connsiteX4" fmla="*/ 30508 w 233101"/>
                <a:gd name="connsiteY4" fmla="*/ 56 h 307905"/>
                <a:gd name="connsiteX5" fmla="*/ 0 w 233101"/>
                <a:gd name="connsiteY5" fmla="*/ 128192 h 307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3101" h="307905">
                  <a:moveTo>
                    <a:pt x="0" y="128192"/>
                  </a:moveTo>
                  <a:cubicBezTo>
                    <a:pt x="0" y="128192"/>
                    <a:pt x="91525" y="173954"/>
                    <a:pt x="143390" y="177006"/>
                  </a:cubicBezTo>
                  <a:cubicBezTo>
                    <a:pt x="195255" y="180056"/>
                    <a:pt x="207458" y="295988"/>
                    <a:pt x="207458" y="295988"/>
                  </a:cubicBezTo>
                  <a:cubicBezTo>
                    <a:pt x="207458" y="295988"/>
                    <a:pt x="228814" y="326497"/>
                    <a:pt x="231865" y="289887"/>
                  </a:cubicBezTo>
                  <a:cubicBezTo>
                    <a:pt x="237966" y="210565"/>
                    <a:pt x="228814" y="12259"/>
                    <a:pt x="30508" y="56"/>
                  </a:cubicBezTo>
                  <a:cubicBezTo>
                    <a:pt x="30508" y="-2995"/>
                    <a:pt x="24407" y="119039"/>
                    <a:pt x="0" y="128192"/>
                  </a:cubicBezTo>
                  <a:close/>
                </a:path>
              </a:pathLst>
            </a:custGeom>
            <a:solidFill>
              <a:srgbClr val="F1DDBA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87708780-A63F-47B1-AE6D-AB4D6EBF626F}"/>
                </a:ext>
              </a:extLst>
            </p:cNvPr>
            <p:cNvSpPr/>
            <p:nvPr/>
          </p:nvSpPr>
          <p:spPr>
            <a:xfrm>
              <a:off x="9104714" y="8214175"/>
              <a:ext cx="77655" cy="113098"/>
            </a:xfrm>
            <a:custGeom>
              <a:avLst/>
              <a:gdLst>
                <a:gd name="connsiteX0" fmla="*/ 10578 w 77655"/>
                <a:gd name="connsiteY0" fmla="*/ 18052 h 113098"/>
                <a:gd name="connsiteX1" fmla="*/ 68545 w 77655"/>
                <a:gd name="connsiteY1" fmla="*/ 5849 h 113098"/>
                <a:gd name="connsiteX2" fmla="*/ 16680 w 77655"/>
                <a:gd name="connsiteY2" fmla="*/ 109578 h 113098"/>
                <a:gd name="connsiteX3" fmla="*/ 10578 w 77655"/>
                <a:gd name="connsiteY3" fmla="*/ 18052 h 113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655" h="113098">
                  <a:moveTo>
                    <a:pt x="10578" y="18052"/>
                  </a:moveTo>
                  <a:cubicBezTo>
                    <a:pt x="10578" y="18052"/>
                    <a:pt x="44138" y="-12456"/>
                    <a:pt x="68545" y="5849"/>
                  </a:cubicBezTo>
                  <a:cubicBezTo>
                    <a:pt x="96002" y="24154"/>
                    <a:pt x="56341" y="133985"/>
                    <a:pt x="16680" y="109578"/>
                  </a:cubicBezTo>
                  <a:cubicBezTo>
                    <a:pt x="-16879" y="91273"/>
                    <a:pt x="10578" y="18052"/>
                    <a:pt x="10578" y="18052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6102A40F-D329-4704-A4E6-168FA430A457}"/>
                </a:ext>
              </a:extLst>
            </p:cNvPr>
            <p:cNvSpPr/>
            <p:nvPr/>
          </p:nvSpPr>
          <p:spPr>
            <a:xfrm>
              <a:off x="8926140" y="7930193"/>
              <a:ext cx="214031" cy="292881"/>
            </a:xfrm>
            <a:custGeom>
              <a:avLst/>
              <a:gdLst>
                <a:gd name="connsiteX0" fmla="*/ 210508 w 214031"/>
                <a:gd name="connsiteY0" fmla="*/ 292881 h 292881"/>
                <a:gd name="connsiteX1" fmla="*/ 204407 w 214031"/>
                <a:gd name="connsiteY1" fmla="*/ 286779 h 292881"/>
                <a:gd name="connsiteX2" fmla="*/ 149491 w 214031"/>
                <a:gd name="connsiteY2" fmla="*/ 186101 h 292881"/>
                <a:gd name="connsiteX3" fmla="*/ 3051 w 214031"/>
                <a:gd name="connsiteY3" fmla="*/ 134237 h 292881"/>
                <a:gd name="connsiteX4" fmla="*/ 0 w 214031"/>
                <a:gd name="connsiteY4" fmla="*/ 131187 h 292881"/>
                <a:gd name="connsiteX5" fmla="*/ 0 w 214031"/>
                <a:gd name="connsiteY5" fmla="*/ 125084 h 292881"/>
                <a:gd name="connsiteX6" fmla="*/ 15254 w 214031"/>
                <a:gd name="connsiteY6" fmla="*/ 100678 h 292881"/>
                <a:gd name="connsiteX7" fmla="*/ 24407 w 214031"/>
                <a:gd name="connsiteY7" fmla="*/ 61017 h 292881"/>
                <a:gd name="connsiteX8" fmla="*/ 27457 w 214031"/>
                <a:gd name="connsiteY8" fmla="*/ 33559 h 292881"/>
                <a:gd name="connsiteX9" fmla="*/ 30508 w 214031"/>
                <a:gd name="connsiteY9" fmla="*/ 6102 h 292881"/>
                <a:gd name="connsiteX10" fmla="*/ 36610 w 214031"/>
                <a:gd name="connsiteY10" fmla="*/ 0 h 292881"/>
                <a:gd name="connsiteX11" fmla="*/ 42712 w 214031"/>
                <a:gd name="connsiteY11" fmla="*/ 6102 h 292881"/>
                <a:gd name="connsiteX12" fmla="*/ 39661 w 214031"/>
                <a:gd name="connsiteY12" fmla="*/ 33559 h 292881"/>
                <a:gd name="connsiteX13" fmla="*/ 36610 w 214031"/>
                <a:gd name="connsiteY13" fmla="*/ 61017 h 292881"/>
                <a:gd name="connsiteX14" fmla="*/ 27457 w 214031"/>
                <a:gd name="connsiteY14" fmla="*/ 106780 h 292881"/>
                <a:gd name="connsiteX15" fmla="*/ 12203 w 214031"/>
                <a:gd name="connsiteY15" fmla="*/ 128136 h 292881"/>
                <a:gd name="connsiteX16" fmla="*/ 146441 w 214031"/>
                <a:gd name="connsiteY16" fmla="*/ 173898 h 292881"/>
                <a:gd name="connsiteX17" fmla="*/ 210508 w 214031"/>
                <a:gd name="connsiteY17" fmla="*/ 286779 h 292881"/>
                <a:gd name="connsiteX18" fmla="*/ 210508 w 214031"/>
                <a:gd name="connsiteY18" fmla="*/ 292881 h 292881"/>
                <a:gd name="connsiteX19" fmla="*/ 210508 w 214031"/>
                <a:gd name="connsiteY19" fmla="*/ 292881 h 292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4031" h="292881">
                  <a:moveTo>
                    <a:pt x="210508" y="292881"/>
                  </a:moveTo>
                  <a:cubicBezTo>
                    <a:pt x="207458" y="292881"/>
                    <a:pt x="204407" y="289831"/>
                    <a:pt x="204407" y="286779"/>
                  </a:cubicBezTo>
                  <a:cubicBezTo>
                    <a:pt x="204407" y="286779"/>
                    <a:pt x="198305" y="192203"/>
                    <a:pt x="149491" y="186101"/>
                  </a:cubicBezTo>
                  <a:cubicBezTo>
                    <a:pt x="79322" y="176949"/>
                    <a:pt x="6102" y="137288"/>
                    <a:pt x="3051" y="134237"/>
                  </a:cubicBezTo>
                  <a:cubicBezTo>
                    <a:pt x="3051" y="134237"/>
                    <a:pt x="0" y="131187"/>
                    <a:pt x="0" y="131187"/>
                  </a:cubicBezTo>
                  <a:cubicBezTo>
                    <a:pt x="0" y="128136"/>
                    <a:pt x="0" y="128136"/>
                    <a:pt x="0" y="125084"/>
                  </a:cubicBezTo>
                  <a:cubicBezTo>
                    <a:pt x="6102" y="118983"/>
                    <a:pt x="12203" y="109830"/>
                    <a:pt x="15254" y="100678"/>
                  </a:cubicBezTo>
                  <a:cubicBezTo>
                    <a:pt x="21356" y="88474"/>
                    <a:pt x="21356" y="73220"/>
                    <a:pt x="24407" y="61017"/>
                  </a:cubicBezTo>
                  <a:cubicBezTo>
                    <a:pt x="24407" y="54915"/>
                    <a:pt x="24407" y="42712"/>
                    <a:pt x="27457" y="33559"/>
                  </a:cubicBezTo>
                  <a:cubicBezTo>
                    <a:pt x="27457" y="21356"/>
                    <a:pt x="30508" y="12203"/>
                    <a:pt x="30508" y="6102"/>
                  </a:cubicBezTo>
                  <a:cubicBezTo>
                    <a:pt x="30508" y="3051"/>
                    <a:pt x="33560" y="0"/>
                    <a:pt x="36610" y="0"/>
                  </a:cubicBezTo>
                  <a:cubicBezTo>
                    <a:pt x="39661" y="0"/>
                    <a:pt x="42712" y="3051"/>
                    <a:pt x="42712" y="6102"/>
                  </a:cubicBezTo>
                  <a:cubicBezTo>
                    <a:pt x="42712" y="12203"/>
                    <a:pt x="42712" y="24407"/>
                    <a:pt x="39661" y="33559"/>
                  </a:cubicBezTo>
                  <a:cubicBezTo>
                    <a:pt x="39661" y="45763"/>
                    <a:pt x="36610" y="54915"/>
                    <a:pt x="36610" y="61017"/>
                  </a:cubicBezTo>
                  <a:cubicBezTo>
                    <a:pt x="36610" y="76271"/>
                    <a:pt x="33560" y="91525"/>
                    <a:pt x="27457" y="106780"/>
                  </a:cubicBezTo>
                  <a:cubicBezTo>
                    <a:pt x="24407" y="112881"/>
                    <a:pt x="18305" y="122034"/>
                    <a:pt x="12203" y="128136"/>
                  </a:cubicBezTo>
                  <a:cubicBezTo>
                    <a:pt x="30508" y="137288"/>
                    <a:pt x="91525" y="167797"/>
                    <a:pt x="146441" y="173898"/>
                  </a:cubicBezTo>
                  <a:cubicBezTo>
                    <a:pt x="204407" y="180000"/>
                    <a:pt x="210508" y="280678"/>
                    <a:pt x="210508" y="286779"/>
                  </a:cubicBezTo>
                  <a:cubicBezTo>
                    <a:pt x="216610" y="289831"/>
                    <a:pt x="213559" y="292881"/>
                    <a:pt x="210508" y="292881"/>
                  </a:cubicBezTo>
                  <a:cubicBezTo>
                    <a:pt x="210508" y="292881"/>
                    <a:pt x="210508" y="292881"/>
                    <a:pt x="210508" y="292881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062BF829-D1B9-46C2-AB1A-FF33884BEB19}"/>
                </a:ext>
              </a:extLst>
            </p:cNvPr>
            <p:cNvSpPr/>
            <p:nvPr/>
          </p:nvSpPr>
          <p:spPr>
            <a:xfrm>
              <a:off x="8829276" y="8459685"/>
              <a:ext cx="223305" cy="83728"/>
            </a:xfrm>
            <a:custGeom>
              <a:avLst/>
              <a:gdLst>
                <a:gd name="connsiteX0" fmla="*/ 69407 w 223305"/>
                <a:gd name="connsiteY0" fmla="*/ 83729 h 83728"/>
                <a:gd name="connsiteX1" fmla="*/ 2288 w 223305"/>
                <a:gd name="connsiteY1" fmla="*/ 59322 h 83728"/>
                <a:gd name="connsiteX2" fmla="*/ 2288 w 223305"/>
                <a:gd name="connsiteY2" fmla="*/ 50170 h 83728"/>
                <a:gd name="connsiteX3" fmla="*/ 11441 w 223305"/>
                <a:gd name="connsiteY3" fmla="*/ 50170 h 83728"/>
                <a:gd name="connsiteX4" fmla="*/ 81610 w 223305"/>
                <a:gd name="connsiteY4" fmla="*/ 71525 h 83728"/>
                <a:gd name="connsiteX5" fmla="*/ 212797 w 223305"/>
                <a:gd name="connsiteY5" fmla="*/ 1356 h 83728"/>
                <a:gd name="connsiteX6" fmla="*/ 221949 w 223305"/>
                <a:gd name="connsiteY6" fmla="*/ 1356 h 83728"/>
                <a:gd name="connsiteX7" fmla="*/ 221949 w 223305"/>
                <a:gd name="connsiteY7" fmla="*/ 10508 h 83728"/>
                <a:gd name="connsiteX8" fmla="*/ 87712 w 223305"/>
                <a:gd name="connsiteY8" fmla="*/ 83729 h 83728"/>
                <a:gd name="connsiteX9" fmla="*/ 69407 w 223305"/>
                <a:gd name="connsiteY9" fmla="*/ 83729 h 83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305" h="83728">
                  <a:moveTo>
                    <a:pt x="69407" y="83729"/>
                  </a:moveTo>
                  <a:cubicBezTo>
                    <a:pt x="32796" y="83729"/>
                    <a:pt x="5339" y="59322"/>
                    <a:pt x="2288" y="59322"/>
                  </a:cubicBezTo>
                  <a:cubicBezTo>
                    <a:pt x="-763" y="56271"/>
                    <a:pt x="-763" y="53220"/>
                    <a:pt x="2288" y="50170"/>
                  </a:cubicBezTo>
                  <a:cubicBezTo>
                    <a:pt x="5339" y="47119"/>
                    <a:pt x="8390" y="47119"/>
                    <a:pt x="11441" y="50170"/>
                  </a:cubicBezTo>
                  <a:cubicBezTo>
                    <a:pt x="11441" y="50170"/>
                    <a:pt x="45000" y="77627"/>
                    <a:pt x="81610" y="71525"/>
                  </a:cubicBezTo>
                  <a:cubicBezTo>
                    <a:pt x="121271" y="65424"/>
                    <a:pt x="209746" y="1356"/>
                    <a:pt x="212797" y="1356"/>
                  </a:cubicBezTo>
                  <a:cubicBezTo>
                    <a:pt x="215847" y="-1695"/>
                    <a:pt x="218898" y="1356"/>
                    <a:pt x="221949" y="1356"/>
                  </a:cubicBezTo>
                  <a:cubicBezTo>
                    <a:pt x="225000" y="4407"/>
                    <a:pt x="221949" y="7457"/>
                    <a:pt x="221949" y="10508"/>
                  </a:cubicBezTo>
                  <a:cubicBezTo>
                    <a:pt x="218898" y="13559"/>
                    <a:pt x="127373" y="77627"/>
                    <a:pt x="87712" y="83729"/>
                  </a:cubicBezTo>
                  <a:cubicBezTo>
                    <a:pt x="78559" y="80678"/>
                    <a:pt x="75509" y="83729"/>
                    <a:pt x="69407" y="83729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F7E8125B-C040-4A51-A4D4-10C4ACD58E77}"/>
                </a:ext>
              </a:extLst>
            </p:cNvPr>
            <p:cNvSpPr/>
            <p:nvPr/>
          </p:nvSpPr>
          <p:spPr>
            <a:xfrm>
              <a:off x="9225123" y="8296295"/>
              <a:ext cx="121271" cy="295932"/>
            </a:xfrm>
            <a:custGeom>
              <a:avLst/>
              <a:gdLst>
                <a:gd name="connsiteX0" fmla="*/ 115932 w 121271"/>
                <a:gd name="connsiteY0" fmla="*/ 292881 h 295932"/>
                <a:gd name="connsiteX1" fmla="*/ 109830 w 121271"/>
                <a:gd name="connsiteY1" fmla="*/ 289831 h 295932"/>
                <a:gd name="connsiteX2" fmla="*/ 85424 w 121271"/>
                <a:gd name="connsiteY2" fmla="*/ 186101 h 295932"/>
                <a:gd name="connsiteX3" fmla="*/ 36610 w 121271"/>
                <a:gd name="connsiteY3" fmla="*/ 79322 h 295932"/>
                <a:gd name="connsiteX4" fmla="*/ 0 w 121271"/>
                <a:gd name="connsiteY4" fmla="*/ 6102 h 295932"/>
                <a:gd name="connsiteX5" fmla="*/ 6102 w 121271"/>
                <a:gd name="connsiteY5" fmla="*/ 0 h 295932"/>
                <a:gd name="connsiteX6" fmla="*/ 12203 w 121271"/>
                <a:gd name="connsiteY6" fmla="*/ 6102 h 295932"/>
                <a:gd name="connsiteX7" fmla="*/ 45763 w 121271"/>
                <a:gd name="connsiteY7" fmla="*/ 73220 h 295932"/>
                <a:gd name="connsiteX8" fmla="*/ 97627 w 121271"/>
                <a:gd name="connsiteY8" fmla="*/ 192203 h 295932"/>
                <a:gd name="connsiteX9" fmla="*/ 118983 w 121271"/>
                <a:gd name="connsiteY9" fmla="*/ 286779 h 295932"/>
                <a:gd name="connsiteX10" fmla="*/ 118983 w 121271"/>
                <a:gd name="connsiteY10" fmla="*/ 295932 h 295932"/>
                <a:gd name="connsiteX11" fmla="*/ 115932 w 121271"/>
                <a:gd name="connsiteY11" fmla="*/ 292881 h 29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1271" h="295932">
                  <a:moveTo>
                    <a:pt x="115932" y="292881"/>
                  </a:moveTo>
                  <a:cubicBezTo>
                    <a:pt x="112881" y="292881"/>
                    <a:pt x="112881" y="292881"/>
                    <a:pt x="109830" y="289831"/>
                  </a:cubicBezTo>
                  <a:cubicBezTo>
                    <a:pt x="91525" y="268475"/>
                    <a:pt x="76271" y="222712"/>
                    <a:pt x="85424" y="186101"/>
                  </a:cubicBezTo>
                  <a:cubicBezTo>
                    <a:pt x="94576" y="149491"/>
                    <a:pt x="67119" y="106780"/>
                    <a:pt x="36610" y="79322"/>
                  </a:cubicBezTo>
                  <a:cubicBezTo>
                    <a:pt x="3051" y="51864"/>
                    <a:pt x="0" y="6102"/>
                    <a:pt x="0" y="6102"/>
                  </a:cubicBezTo>
                  <a:cubicBezTo>
                    <a:pt x="0" y="3051"/>
                    <a:pt x="3051" y="0"/>
                    <a:pt x="6102" y="0"/>
                  </a:cubicBezTo>
                  <a:cubicBezTo>
                    <a:pt x="9153" y="0"/>
                    <a:pt x="12203" y="3051"/>
                    <a:pt x="12203" y="6102"/>
                  </a:cubicBezTo>
                  <a:cubicBezTo>
                    <a:pt x="12203" y="6102"/>
                    <a:pt x="15254" y="48813"/>
                    <a:pt x="45763" y="73220"/>
                  </a:cubicBezTo>
                  <a:cubicBezTo>
                    <a:pt x="79322" y="100678"/>
                    <a:pt x="106780" y="149491"/>
                    <a:pt x="97627" y="192203"/>
                  </a:cubicBezTo>
                  <a:cubicBezTo>
                    <a:pt x="88474" y="228814"/>
                    <a:pt x="103729" y="268475"/>
                    <a:pt x="118983" y="286779"/>
                  </a:cubicBezTo>
                  <a:cubicBezTo>
                    <a:pt x="122034" y="289831"/>
                    <a:pt x="122034" y="292881"/>
                    <a:pt x="118983" y="295932"/>
                  </a:cubicBezTo>
                  <a:cubicBezTo>
                    <a:pt x="118983" y="292881"/>
                    <a:pt x="115932" y="292881"/>
                    <a:pt x="115932" y="292881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91AD96C4-9DB5-44E6-B461-D1F7D2BA6251}"/>
                </a:ext>
              </a:extLst>
            </p:cNvPr>
            <p:cNvSpPr/>
            <p:nvPr/>
          </p:nvSpPr>
          <p:spPr>
            <a:xfrm>
              <a:off x="9418089" y="8668498"/>
              <a:ext cx="27290" cy="100678"/>
            </a:xfrm>
            <a:custGeom>
              <a:avLst/>
              <a:gdLst>
                <a:gd name="connsiteX0" fmla="*/ 8390 w 27290"/>
                <a:gd name="connsiteY0" fmla="*/ 100678 h 100678"/>
                <a:gd name="connsiteX1" fmla="*/ 2288 w 27290"/>
                <a:gd name="connsiteY1" fmla="*/ 97627 h 100678"/>
                <a:gd name="connsiteX2" fmla="*/ 2288 w 27290"/>
                <a:gd name="connsiteY2" fmla="*/ 88474 h 100678"/>
                <a:gd name="connsiteX3" fmla="*/ 11441 w 27290"/>
                <a:gd name="connsiteY3" fmla="*/ 6102 h 100678"/>
                <a:gd name="connsiteX4" fmla="*/ 14492 w 27290"/>
                <a:gd name="connsiteY4" fmla="*/ 0 h 100678"/>
                <a:gd name="connsiteX5" fmla="*/ 20593 w 27290"/>
                <a:gd name="connsiteY5" fmla="*/ 3051 h 100678"/>
                <a:gd name="connsiteX6" fmla="*/ 8390 w 27290"/>
                <a:gd name="connsiteY6" fmla="*/ 100678 h 100678"/>
                <a:gd name="connsiteX7" fmla="*/ 8390 w 27290"/>
                <a:gd name="connsiteY7" fmla="*/ 100678 h 100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290" h="100678">
                  <a:moveTo>
                    <a:pt x="8390" y="100678"/>
                  </a:moveTo>
                  <a:cubicBezTo>
                    <a:pt x="5339" y="100678"/>
                    <a:pt x="5339" y="100678"/>
                    <a:pt x="2288" y="97627"/>
                  </a:cubicBezTo>
                  <a:cubicBezTo>
                    <a:pt x="-763" y="94576"/>
                    <a:pt x="-763" y="91525"/>
                    <a:pt x="2288" y="88474"/>
                  </a:cubicBezTo>
                  <a:cubicBezTo>
                    <a:pt x="29746" y="67119"/>
                    <a:pt x="11441" y="6102"/>
                    <a:pt x="11441" y="6102"/>
                  </a:cubicBezTo>
                  <a:cubicBezTo>
                    <a:pt x="11441" y="3051"/>
                    <a:pt x="11441" y="0"/>
                    <a:pt x="14492" y="0"/>
                  </a:cubicBezTo>
                  <a:cubicBezTo>
                    <a:pt x="17542" y="0"/>
                    <a:pt x="20593" y="0"/>
                    <a:pt x="20593" y="3051"/>
                  </a:cubicBezTo>
                  <a:cubicBezTo>
                    <a:pt x="20593" y="6102"/>
                    <a:pt x="41949" y="73220"/>
                    <a:pt x="8390" y="100678"/>
                  </a:cubicBezTo>
                  <a:cubicBezTo>
                    <a:pt x="11441" y="100678"/>
                    <a:pt x="11441" y="100678"/>
                    <a:pt x="8390" y="100678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F4A7476E-B894-4AEA-901D-BC31558454C6}"/>
                </a:ext>
              </a:extLst>
            </p:cNvPr>
            <p:cNvSpPr/>
            <p:nvPr/>
          </p:nvSpPr>
          <p:spPr>
            <a:xfrm>
              <a:off x="8597411" y="8267481"/>
              <a:ext cx="67711" cy="242373"/>
            </a:xfrm>
            <a:custGeom>
              <a:avLst/>
              <a:gdLst>
                <a:gd name="connsiteX0" fmla="*/ 5339 w 67711"/>
                <a:gd name="connsiteY0" fmla="*/ 242373 h 242373"/>
                <a:gd name="connsiteX1" fmla="*/ 2288 w 67711"/>
                <a:gd name="connsiteY1" fmla="*/ 239322 h 242373"/>
                <a:gd name="connsiteX2" fmla="*/ 2288 w 67711"/>
                <a:gd name="connsiteY2" fmla="*/ 230169 h 242373"/>
                <a:gd name="connsiteX3" fmla="*/ 14491 w 67711"/>
                <a:gd name="connsiteY3" fmla="*/ 92881 h 242373"/>
                <a:gd name="connsiteX4" fmla="*/ 57204 w 67711"/>
                <a:gd name="connsiteY4" fmla="*/ 1356 h 242373"/>
                <a:gd name="connsiteX5" fmla="*/ 66356 w 67711"/>
                <a:gd name="connsiteY5" fmla="*/ 1356 h 242373"/>
                <a:gd name="connsiteX6" fmla="*/ 66356 w 67711"/>
                <a:gd name="connsiteY6" fmla="*/ 10508 h 242373"/>
                <a:gd name="connsiteX7" fmla="*/ 29746 w 67711"/>
                <a:gd name="connsiteY7" fmla="*/ 89831 h 242373"/>
                <a:gd name="connsiteX8" fmla="*/ 14491 w 67711"/>
                <a:gd name="connsiteY8" fmla="*/ 239322 h 242373"/>
                <a:gd name="connsiteX9" fmla="*/ 5339 w 67711"/>
                <a:gd name="connsiteY9" fmla="*/ 242373 h 242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7711" h="242373">
                  <a:moveTo>
                    <a:pt x="5339" y="242373"/>
                  </a:moveTo>
                  <a:cubicBezTo>
                    <a:pt x="2288" y="242373"/>
                    <a:pt x="2288" y="242373"/>
                    <a:pt x="2288" y="239322"/>
                  </a:cubicBezTo>
                  <a:cubicBezTo>
                    <a:pt x="-763" y="236271"/>
                    <a:pt x="-763" y="233220"/>
                    <a:pt x="2288" y="230169"/>
                  </a:cubicBezTo>
                  <a:cubicBezTo>
                    <a:pt x="32797" y="205763"/>
                    <a:pt x="26695" y="150848"/>
                    <a:pt x="14491" y="92881"/>
                  </a:cubicBezTo>
                  <a:cubicBezTo>
                    <a:pt x="2288" y="41017"/>
                    <a:pt x="54153" y="1356"/>
                    <a:pt x="57204" y="1356"/>
                  </a:cubicBezTo>
                  <a:cubicBezTo>
                    <a:pt x="60254" y="-1695"/>
                    <a:pt x="63305" y="1356"/>
                    <a:pt x="66356" y="1356"/>
                  </a:cubicBezTo>
                  <a:cubicBezTo>
                    <a:pt x="69407" y="4407"/>
                    <a:pt x="66356" y="7458"/>
                    <a:pt x="66356" y="10508"/>
                  </a:cubicBezTo>
                  <a:cubicBezTo>
                    <a:pt x="66356" y="10508"/>
                    <a:pt x="20593" y="47119"/>
                    <a:pt x="29746" y="89831"/>
                  </a:cubicBezTo>
                  <a:cubicBezTo>
                    <a:pt x="41949" y="147797"/>
                    <a:pt x="48051" y="208814"/>
                    <a:pt x="14491" y="239322"/>
                  </a:cubicBezTo>
                  <a:cubicBezTo>
                    <a:pt x="8390" y="242373"/>
                    <a:pt x="8390" y="242373"/>
                    <a:pt x="5339" y="242373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620E37F7-B272-44A5-8622-94C3A8E3E723}"/>
                </a:ext>
              </a:extLst>
            </p:cNvPr>
            <p:cNvSpPr/>
            <p:nvPr/>
          </p:nvSpPr>
          <p:spPr>
            <a:xfrm>
              <a:off x="8650208" y="8454939"/>
              <a:ext cx="59809" cy="118982"/>
            </a:xfrm>
            <a:custGeom>
              <a:avLst/>
              <a:gdLst>
                <a:gd name="connsiteX0" fmla="*/ 7458 w 59809"/>
                <a:gd name="connsiteY0" fmla="*/ 118983 h 118982"/>
                <a:gd name="connsiteX1" fmla="*/ 1356 w 59809"/>
                <a:gd name="connsiteY1" fmla="*/ 115932 h 118982"/>
                <a:gd name="connsiteX2" fmla="*/ 1356 w 59809"/>
                <a:gd name="connsiteY2" fmla="*/ 106780 h 118982"/>
                <a:gd name="connsiteX3" fmla="*/ 47119 w 59809"/>
                <a:gd name="connsiteY3" fmla="*/ 6102 h 118982"/>
                <a:gd name="connsiteX4" fmla="*/ 53220 w 59809"/>
                <a:gd name="connsiteY4" fmla="*/ 0 h 118982"/>
                <a:gd name="connsiteX5" fmla="*/ 59322 w 59809"/>
                <a:gd name="connsiteY5" fmla="*/ 6102 h 118982"/>
                <a:gd name="connsiteX6" fmla="*/ 7458 w 59809"/>
                <a:gd name="connsiteY6" fmla="*/ 115932 h 118982"/>
                <a:gd name="connsiteX7" fmla="*/ 7458 w 59809"/>
                <a:gd name="connsiteY7" fmla="*/ 118983 h 118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809" h="118982">
                  <a:moveTo>
                    <a:pt x="7458" y="118983"/>
                  </a:moveTo>
                  <a:cubicBezTo>
                    <a:pt x="4407" y="118983"/>
                    <a:pt x="4407" y="118983"/>
                    <a:pt x="1356" y="115932"/>
                  </a:cubicBezTo>
                  <a:cubicBezTo>
                    <a:pt x="-1695" y="112881"/>
                    <a:pt x="1356" y="109831"/>
                    <a:pt x="1356" y="106780"/>
                  </a:cubicBezTo>
                  <a:cubicBezTo>
                    <a:pt x="53220" y="70170"/>
                    <a:pt x="47119" y="9153"/>
                    <a:pt x="47119" y="6102"/>
                  </a:cubicBezTo>
                  <a:cubicBezTo>
                    <a:pt x="47119" y="3051"/>
                    <a:pt x="50170" y="0"/>
                    <a:pt x="53220" y="0"/>
                  </a:cubicBezTo>
                  <a:cubicBezTo>
                    <a:pt x="56271" y="0"/>
                    <a:pt x="59322" y="3051"/>
                    <a:pt x="59322" y="6102"/>
                  </a:cubicBezTo>
                  <a:cubicBezTo>
                    <a:pt x="59322" y="9153"/>
                    <a:pt x="68475" y="73220"/>
                    <a:pt x="7458" y="115932"/>
                  </a:cubicBezTo>
                  <a:cubicBezTo>
                    <a:pt x="10509" y="118983"/>
                    <a:pt x="7458" y="118983"/>
                    <a:pt x="7458" y="118983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9" name="图形 114">
              <a:extLst>
                <a:ext uri="{FF2B5EF4-FFF2-40B4-BE49-F238E27FC236}">
                  <a16:creationId xmlns:a16="http://schemas.microsoft.com/office/drawing/2014/main" id="{870324E8-98C3-4A46-AD17-571EC9A44486}"/>
                </a:ext>
              </a:extLst>
            </p:cNvPr>
            <p:cNvGrpSpPr/>
            <p:nvPr/>
          </p:nvGrpSpPr>
          <p:grpSpPr>
            <a:xfrm>
              <a:off x="8721733" y="8195617"/>
              <a:ext cx="421017" cy="103728"/>
              <a:chOff x="8721733" y="8195617"/>
              <a:chExt cx="421017" cy="103728"/>
            </a:xfrm>
            <a:solidFill>
              <a:srgbClr val="38343B"/>
            </a:solidFill>
          </p:grpSpPr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800B65E8-6D96-44E8-8C3A-085478C98755}"/>
                  </a:ext>
                </a:extLst>
              </p:cNvPr>
              <p:cNvSpPr/>
              <p:nvPr/>
            </p:nvSpPr>
            <p:spPr>
              <a:xfrm>
                <a:off x="8721733" y="8195617"/>
                <a:ext cx="164745" cy="103728"/>
              </a:xfrm>
              <a:custGeom>
                <a:avLst/>
                <a:gdLst>
                  <a:gd name="connsiteX0" fmla="*/ 82373 w 164745"/>
                  <a:gd name="connsiteY0" fmla="*/ 103729 h 103728"/>
                  <a:gd name="connsiteX1" fmla="*/ 0 w 164745"/>
                  <a:gd name="connsiteY1" fmla="*/ 51864 h 103728"/>
                  <a:gd name="connsiteX2" fmla="*/ 82373 w 164745"/>
                  <a:gd name="connsiteY2" fmla="*/ 0 h 103728"/>
                  <a:gd name="connsiteX3" fmla="*/ 164746 w 164745"/>
                  <a:gd name="connsiteY3" fmla="*/ 51864 h 103728"/>
                  <a:gd name="connsiteX4" fmla="*/ 82373 w 164745"/>
                  <a:gd name="connsiteY4" fmla="*/ 103729 h 103728"/>
                  <a:gd name="connsiteX5" fmla="*/ 82373 w 164745"/>
                  <a:gd name="connsiteY5" fmla="*/ 9153 h 103728"/>
                  <a:gd name="connsiteX6" fmla="*/ 12203 w 164745"/>
                  <a:gd name="connsiteY6" fmla="*/ 51864 h 103728"/>
                  <a:gd name="connsiteX7" fmla="*/ 82373 w 164745"/>
                  <a:gd name="connsiteY7" fmla="*/ 94576 h 103728"/>
                  <a:gd name="connsiteX8" fmla="*/ 152542 w 164745"/>
                  <a:gd name="connsiteY8" fmla="*/ 51864 h 103728"/>
                  <a:gd name="connsiteX9" fmla="*/ 82373 w 164745"/>
                  <a:gd name="connsiteY9" fmla="*/ 9153 h 10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745" h="103728">
                    <a:moveTo>
                      <a:pt x="82373" y="103729"/>
                    </a:moveTo>
                    <a:cubicBezTo>
                      <a:pt x="36610" y="103729"/>
                      <a:pt x="0" y="79322"/>
                      <a:pt x="0" y="51864"/>
                    </a:cubicBezTo>
                    <a:cubicBezTo>
                      <a:pt x="0" y="24407"/>
                      <a:pt x="36610" y="0"/>
                      <a:pt x="82373" y="0"/>
                    </a:cubicBezTo>
                    <a:cubicBezTo>
                      <a:pt x="128136" y="0"/>
                      <a:pt x="164746" y="24407"/>
                      <a:pt x="164746" y="51864"/>
                    </a:cubicBezTo>
                    <a:cubicBezTo>
                      <a:pt x="164746" y="79322"/>
                      <a:pt x="128136" y="103729"/>
                      <a:pt x="82373" y="103729"/>
                    </a:cubicBezTo>
                    <a:close/>
                    <a:moveTo>
                      <a:pt x="82373" y="9153"/>
                    </a:moveTo>
                    <a:cubicBezTo>
                      <a:pt x="45763" y="9153"/>
                      <a:pt x="12203" y="27457"/>
                      <a:pt x="12203" y="51864"/>
                    </a:cubicBezTo>
                    <a:cubicBezTo>
                      <a:pt x="12203" y="73220"/>
                      <a:pt x="45763" y="94576"/>
                      <a:pt x="82373" y="94576"/>
                    </a:cubicBezTo>
                    <a:cubicBezTo>
                      <a:pt x="118983" y="94576"/>
                      <a:pt x="152542" y="76271"/>
                      <a:pt x="152542" y="51864"/>
                    </a:cubicBezTo>
                    <a:cubicBezTo>
                      <a:pt x="152542" y="27457"/>
                      <a:pt x="122034" y="9153"/>
                      <a:pt x="82373" y="91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A84348A4-F6D0-457B-9C80-3B8DCE46AE2A}"/>
                  </a:ext>
                </a:extLst>
              </p:cNvPr>
              <p:cNvSpPr/>
              <p:nvPr/>
            </p:nvSpPr>
            <p:spPr>
              <a:xfrm>
                <a:off x="8910886" y="8195617"/>
                <a:ext cx="164745" cy="103728"/>
              </a:xfrm>
              <a:custGeom>
                <a:avLst/>
                <a:gdLst>
                  <a:gd name="connsiteX0" fmla="*/ 82373 w 164745"/>
                  <a:gd name="connsiteY0" fmla="*/ 103729 h 103728"/>
                  <a:gd name="connsiteX1" fmla="*/ 0 w 164745"/>
                  <a:gd name="connsiteY1" fmla="*/ 51864 h 103728"/>
                  <a:gd name="connsiteX2" fmla="*/ 82373 w 164745"/>
                  <a:gd name="connsiteY2" fmla="*/ 0 h 103728"/>
                  <a:gd name="connsiteX3" fmla="*/ 164746 w 164745"/>
                  <a:gd name="connsiteY3" fmla="*/ 51864 h 103728"/>
                  <a:gd name="connsiteX4" fmla="*/ 82373 w 164745"/>
                  <a:gd name="connsiteY4" fmla="*/ 103729 h 103728"/>
                  <a:gd name="connsiteX5" fmla="*/ 82373 w 164745"/>
                  <a:gd name="connsiteY5" fmla="*/ 9153 h 103728"/>
                  <a:gd name="connsiteX6" fmla="*/ 12203 w 164745"/>
                  <a:gd name="connsiteY6" fmla="*/ 51864 h 103728"/>
                  <a:gd name="connsiteX7" fmla="*/ 82373 w 164745"/>
                  <a:gd name="connsiteY7" fmla="*/ 94576 h 103728"/>
                  <a:gd name="connsiteX8" fmla="*/ 152542 w 164745"/>
                  <a:gd name="connsiteY8" fmla="*/ 51864 h 103728"/>
                  <a:gd name="connsiteX9" fmla="*/ 82373 w 164745"/>
                  <a:gd name="connsiteY9" fmla="*/ 9153 h 10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745" h="103728">
                    <a:moveTo>
                      <a:pt x="82373" y="103729"/>
                    </a:moveTo>
                    <a:cubicBezTo>
                      <a:pt x="36610" y="103729"/>
                      <a:pt x="0" y="79322"/>
                      <a:pt x="0" y="51864"/>
                    </a:cubicBezTo>
                    <a:cubicBezTo>
                      <a:pt x="0" y="24407"/>
                      <a:pt x="36610" y="0"/>
                      <a:pt x="82373" y="0"/>
                    </a:cubicBezTo>
                    <a:cubicBezTo>
                      <a:pt x="128136" y="0"/>
                      <a:pt x="164746" y="24407"/>
                      <a:pt x="164746" y="51864"/>
                    </a:cubicBezTo>
                    <a:cubicBezTo>
                      <a:pt x="164746" y="79322"/>
                      <a:pt x="128136" y="103729"/>
                      <a:pt x="82373" y="103729"/>
                    </a:cubicBezTo>
                    <a:close/>
                    <a:moveTo>
                      <a:pt x="82373" y="9153"/>
                    </a:moveTo>
                    <a:cubicBezTo>
                      <a:pt x="45763" y="9153"/>
                      <a:pt x="12203" y="27457"/>
                      <a:pt x="12203" y="51864"/>
                    </a:cubicBezTo>
                    <a:cubicBezTo>
                      <a:pt x="12203" y="73220"/>
                      <a:pt x="45763" y="94576"/>
                      <a:pt x="82373" y="94576"/>
                    </a:cubicBezTo>
                    <a:cubicBezTo>
                      <a:pt x="118983" y="94576"/>
                      <a:pt x="152542" y="76271"/>
                      <a:pt x="152542" y="51864"/>
                    </a:cubicBezTo>
                    <a:cubicBezTo>
                      <a:pt x="152542" y="27457"/>
                      <a:pt x="122034" y="9153"/>
                      <a:pt x="82373" y="91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15AD965C-FC93-4AF8-8E40-BE31ADAB172D}"/>
                  </a:ext>
                </a:extLst>
              </p:cNvPr>
              <p:cNvSpPr/>
              <p:nvPr/>
            </p:nvSpPr>
            <p:spPr>
              <a:xfrm>
                <a:off x="8874276" y="8217312"/>
                <a:ext cx="48813" cy="11864"/>
              </a:xfrm>
              <a:custGeom>
                <a:avLst/>
                <a:gdLst>
                  <a:gd name="connsiteX0" fmla="*/ 6102 w 48813"/>
                  <a:gd name="connsiteY0" fmla="*/ 11864 h 11864"/>
                  <a:gd name="connsiteX1" fmla="*/ 0 w 48813"/>
                  <a:gd name="connsiteY1" fmla="*/ 8813 h 11864"/>
                  <a:gd name="connsiteX2" fmla="*/ 3051 w 48813"/>
                  <a:gd name="connsiteY2" fmla="*/ 2712 h 11864"/>
                  <a:gd name="connsiteX3" fmla="*/ 45763 w 48813"/>
                  <a:gd name="connsiteY3" fmla="*/ 2712 h 11864"/>
                  <a:gd name="connsiteX4" fmla="*/ 48813 w 48813"/>
                  <a:gd name="connsiteY4" fmla="*/ 8813 h 11864"/>
                  <a:gd name="connsiteX5" fmla="*/ 42712 w 48813"/>
                  <a:gd name="connsiteY5" fmla="*/ 11864 h 11864"/>
                  <a:gd name="connsiteX6" fmla="*/ 6102 w 48813"/>
                  <a:gd name="connsiteY6" fmla="*/ 11864 h 11864"/>
                  <a:gd name="connsiteX7" fmla="*/ 6102 w 48813"/>
                  <a:gd name="connsiteY7" fmla="*/ 11864 h 11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813" h="11864">
                    <a:moveTo>
                      <a:pt x="6102" y="11864"/>
                    </a:moveTo>
                    <a:cubicBezTo>
                      <a:pt x="3051" y="11864"/>
                      <a:pt x="3051" y="11864"/>
                      <a:pt x="0" y="8813"/>
                    </a:cubicBezTo>
                    <a:cubicBezTo>
                      <a:pt x="0" y="5762"/>
                      <a:pt x="0" y="2712"/>
                      <a:pt x="3051" y="2712"/>
                    </a:cubicBezTo>
                    <a:cubicBezTo>
                      <a:pt x="3051" y="2712"/>
                      <a:pt x="27457" y="-3390"/>
                      <a:pt x="45763" y="2712"/>
                    </a:cubicBezTo>
                    <a:cubicBezTo>
                      <a:pt x="48813" y="2712"/>
                      <a:pt x="48813" y="5762"/>
                      <a:pt x="48813" y="8813"/>
                    </a:cubicBezTo>
                    <a:cubicBezTo>
                      <a:pt x="48813" y="11864"/>
                      <a:pt x="42712" y="11864"/>
                      <a:pt x="42712" y="11864"/>
                    </a:cubicBezTo>
                    <a:cubicBezTo>
                      <a:pt x="27457" y="5762"/>
                      <a:pt x="9153" y="11864"/>
                      <a:pt x="6102" y="11864"/>
                    </a:cubicBezTo>
                    <a:cubicBezTo>
                      <a:pt x="6102" y="11864"/>
                      <a:pt x="6102" y="11864"/>
                      <a:pt x="6102" y="1186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113CF787-C675-4E95-B535-725DB538D1F7}"/>
                  </a:ext>
                </a:extLst>
              </p:cNvPr>
              <p:cNvSpPr/>
              <p:nvPr/>
            </p:nvSpPr>
            <p:spPr>
              <a:xfrm>
                <a:off x="9060377" y="8210871"/>
                <a:ext cx="82373" cy="21355"/>
              </a:xfrm>
              <a:custGeom>
                <a:avLst/>
                <a:gdLst>
                  <a:gd name="connsiteX0" fmla="*/ 6102 w 82373"/>
                  <a:gd name="connsiteY0" fmla="*/ 21356 h 21355"/>
                  <a:gd name="connsiteX1" fmla="*/ 0 w 82373"/>
                  <a:gd name="connsiteY1" fmla="*/ 15254 h 21355"/>
                  <a:gd name="connsiteX2" fmla="*/ 6102 w 82373"/>
                  <a:gd name="connsiteY2" fmla="*/ 9153 h 21355"/>
                  <a:gd name="connsiteX3" fmla="*/ 76271 w 82373"/>
                  <a:gd name="connsiteY3" fmla="*/ 0 h 21355"/>
                  <a:gd name="connsiteX4" fmla="*/ 82373 w 82373"/>
                  <a:gd name="connsiteY4" fmla="*/ 6102 h 21355"/>
                  <a:gd name="connsiteX5" fmla="*/ 76271 w 82373"/>
                  <a:gd name="connsiteY5" fmla="*/ 12203 h 21355"/>
                  <a:gd name="connsiteX6" fmla="*/ 6102 w 82373"/>
                  <a:gd name="connsiteY6" fmla="*/ 21356 h 21355"/>
                  <a:gd name="connsiteX7" fmla="*/ 6102 w 82373"/>
                  <a:gd name="connsiteY7" fmla="*/ 21356 h 2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2373" h="21355">
                    <a:moveTo>
                      <a:pt x="6102" y="21356"/>
                    </a:moveTo>
                    <a:cubicBezTo>
                      <a:pt x="3051" y="21356"/>
                      <a:pt x="0" y="18305"/>
                      <a:pt x="0" y="15254"/>
                    </a:cubicBezTo>
                    <a:cubicBezTo>
                      <a:pt x="0" y="12203"/>
                      <a:pt x="3051" y="9153"/>
                      <a:pt x="6102" y="9153"/>
                    </a:cubicBezTo>
                    <a:lnTo>
                      <a:pt x="76271" y="0"/>
                    </a:lnTo>
                    <a:cubicBezTo>
                      <a:pt x="79322" y="0"/>
                      <a:pt x="82373" y="3051"/>
                      <a:pt x="82373" y="6102"/>
                    </a:cubicBezTo>
                    <a:cubicBezTo>
                      <a:pt x="82373" y="9153"/>
                      <a:pt x="79322" y="12203"/>
                      <a:pt x="76271" y="12203"/>
                    </a:cubicBezTo>
                    <a:lnTo>
                      <a:pt x="6102" y="21356"/>
                    </a:lnTo>
                    <a:cubicBezTo>
                      <a:pt x="6102" y="21356"/>
                      <a:pt x="6102" y="21356"/>
                      <a:pt x="6102" y="2135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7603194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3E03017C-CDE1-4E5F-8A1E-4EE8B2DDA441}"/>
              </a:ext>
            </a:extLst>
          </p:cNvPr>
          <p:cNvGrpSpPr/>
          <p:nvPr/>
        </p:nvGrpSpPr>
        <p:grpSpPr>
          <a:xfrm>
            <a:off x="3045188" y="2021010"/>
            <a:ext cx="5534409" cy="4836990"/>
            <a:chOff x="21258397" y="7690830"/>
            <a:chExt cx="5534409" cy="4836990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F8EDCD30-20A9-4E73-810E-054B26A24448}"/>
                </a:ext>
              </a:extLst>
            </p:cNvPr>
            <p:cNvGrpSpPr/>
            <p:nvPr/>
          </p:nvGrpSpPr>
          <p:grpSpPr>
            <a:xfrm>
              <a:off x="23499785" y="7893583"/>
              <a:ext cx="3293021" cy="4582372"/>
              <a:chOff x="23499785" y="7893583"/>
              <a:chExt cx="3293021" cy="4582372"/>
            </a:xfrm>
          </p:grpSpPr>
          <p:grpSp>
            <p:nvGrpSpPr>
              <p:cNvPr id="63" name="图形 1">
                <a:extLst>
                  <a:ext uri="{FF2B5EF4-FFF2-40B4-BE49-F238E27FC236}">
                    <a16:creationId xmlns:a16="http://schemas.microsoft.com/office/drawing/2014/main" id="{04075A6F-25D8-4BE1-B5E6-4F8142DA0C53}"/>
                  </a:ext>
                </a:extLst>
              </p:cNvPr>
              <p:cNvGrpSpPr/>
              <p:nvPr/>
            </p:nvGrpSpPr>
            <p:grpSpPr>
              <a:xfrm>
                <a:off x="23499785" y="7893583"/>
                <a:ext cx="3293021" cy="4439816"/>
                <a:chOff x="23499785" y="7893583"/>
                <a:chExt cx="3293021" cy="4439816"/>
              </a:xfrm>
            </p:grpSpPr>
            <p:sp>
              <p:nvSpPr>
                <p:cNvPr id="77" name="任意多边形: 形状 76">
                  <a:extLst>
                    <a:ext uri="{FF2B5EF4-FFF2-40B4-BE49-F238E27FC236}">
                      <a16:creationId xmlns:a16="http://schemas.microsoft.com/office/drawing/2014/main" id="{72F2934F-7895-4DF9-94C4-3C539EB6F78D}"/>
                    </a:ext>
                  </a:extLst>
                </p:cNvPr>
                <p:cNvSpPr/>
                <p:nvPr/>
              </p:nvSpPr>
              <p:spPr>
                <a:xfrm>
                  <a:off x="23499785" y="8462429"/>
                  <a:ext cx="3293021" cy="3870970"/>
                </a:xfrm>
                <a:custGeom>
                  <a:avLst/>
                  <a:gdLst>
                    <a:gd name="connsiteX0" fmla="*/ 3280725 w 3293021"/>
                    <a:gd name="connsiteY0" fmla="*/ 3647425 h 3870970"/>
                    <a:gd name="connsiteX1" fmla="*/ 3189199 w 3293021"/>
                    <a:gd name="connsiteY1" fmla="*/ 3543697 h 3870970"/>
                    <a:gd name="connsiteX2" fmla="*/ 2813945 w 3293021"/>
                    <a:gd name="connsiteY2" fmla="*/ 3125731 h 3870970"/>
                    <a:gd name="connsiteX3" fmla="*/ 2914623 w 3293021"/>
                    <a:gd name="connsiteY3" fmla="*/ 3086070 h 3870970"/>
                    <a:gd name="connsiteX4" fmla="*/ 2911573 w 3293021"/>
                    <a:gd name="connsiteY4" fmla="*/ 3073866 h 3870970"/>
                    <a:gd name="connsiteX5" fmla="*/ 2414283 w 3293021"/>
                    <a:gd name="connsiteY5" fmla="*/ 2497256 h 3870970"/>
                    <a:gd name="connsiteX6" fmla="*/ 2560725 w 3293021"/>
                    <a:gd name="connsiteY6" fmla="*/ 2509460 h 3870970"/>
                    <a:gd name="connsiteX7" fmla="*/ 2643097 w 3293021"/>
                    <a:gd name="connsiteY7" fmla="*/ 2515562 h 3870970"/>
                    <a:gd name="connsiteX8" fmla="*/ 2698013 w 3293021"/>
                    <a:gd name="connsiteY8" fmla="*/ 2530816 h 3870970"/>
                    <a:gd name="connsiteX9" fmla="*/ 2780385 w 3293021"/>
                    <a:gd name="connsiteY9" fmla="*/ 2500307 h 3870970"/>
                    <a:gd name="connsiteX10" fmla="*/ 2780385 w 3293021"/>
                    <a:gd name="connsiteY10" fmla="*/ 2488103 h 3870970"/>
                    <a:gd name="connsiteX11" fmla="*/ 2694961 w 3293021"/>
                    <a:gd name="connsiteY11" fmla="*/ 2405731 h 3870970"/>
                    <a:gd name="connsiteX12" fmla="*/ 2765131 w 3293021"/>
                    <a:gd name="connsiteY12" fmla="*/ 2375222 h 3870970"/>
                    <a:gd name="connsiteX13" fmla="*/ 2765131 w 3293021"/>
                    <a:gd name="connsiteY13" fmla="*/ 2363019 h 3870970"/>
                    <a:gd name="connsiteX14" fmla="*/ 2240386 w 3293021"/>
                    <a:gd name="connsiteY14" fmla="*/ 1740646 h 3870970"/>
                    <a:gd name="connsiteX15" fmla="*/ 2341064 w 3293021"/>
                    <a:gd name="connsiteY15" fmla="*/ 1786408 h 3870970"/>
                    <a:gd name="connsiteX16" fmla="*/ 2383775 w 3293021"/>
                    <a:gd name="connsiteY16" fmla="*/ 1752850 h 3870970"/>
                    <a:gd name="connsiteX17" fmla="*/ 2521063 w 3293021"/>
                    <a:gd name="connsiteY17" fmla="*/ 1777256 h 3870970"/>
                    <a:gd name="connsiteX18" fmla="*/ 2444792 w 3293021"/>
                    <a:gd name="connsiteY18" fmla="*/ 1621663 h 3870970"/>
                    <a:gd name="connsiteX19" fmla="*/ 2219030 w 3293021"/>
                    <a:gd name="connsiteY19" fmla="*/ 1414205 h 3870970"/>
                    <a:gd name="connsiteX20" fmla="*/ 2045131 w 3293021"/>
                    <a:gd name="connsiteY20" fmla="*/ 1209798 h 3870970"/>
                    <a:gd name="connsiteX21" fmla="*/ 2084792 w 3293021"/>
                    <a:gd name="connsiteY21" fmla="*/ 1197595 h 3870970"/>
                    <a:gd name="connsiteX22" fmla="*/ 2258691 w 3293021"/>
                    <a:gd name="connsiteY22" fmla="*/ 1292172 h 3870970"/>
                    <a:gd name="connsiteX23" fmla="*/ 2267843 w 3293021"/>
                    <a:gd name="connsiteY23" fmla="*/ 1283018 h 3870970"/>
                    <a:gd name="connsiteX24" fmla="*/ 2261741 w 3293021"/>
                    <a:gd name="connsiteY24" fmla="*/ 1264714 h 3870970"/>
                    <a:gd name="connsiteX25" fmla="*/ 2325810 w 3293021"/>
                    <a:gd name="connsiteY25" fmla="*/ 1243358 h 3870970"/>
                    <a:gd name="connsiteX26" fmla="*/ 2240386 w 3293021"/>
                    <a:gd name="connsiteY26" fmla="*/ 1118273 h 3870970"/>
                    <a:gd name="connsiteX27" fmla="*/ 1938352 w 3293021"/>
                    <a:gd name="connsiteY27" fmla="*/ 773527 h 3870970"/>
                    <a:gd name="connsiteX28" fmla="*/ 1776657 w 3293021"/>
                    <a:gd name="connsiteY28" fmla="*/ 367765 h 3870970"/>
                    <a:gd name="connsiteX29" fmla="*/ 1706488 w 3293021"/>
                    <a:gd name="connsiteY29" fmla="*/ 163358 h 3870970"/>
                    <a:gd name="connsiteX30" fmla="*/ 1621063 w 3293021"/>
                    <a:gd name="connsiteY30" fmla="*/ 1663 h 3870970"/>
                    <a:gd name="connsiteX31" fmla="*/ 1608860 w 3293021"/>
                    <a:gd name="connsiteY31" fmla="*/ 13866 h 3870970"/>
                    <a:gd name="connsiteX32" fmla="*/ 1608860 w 3293021"/>
                    <a:gd name="connsiteY32" fmla="*/ 13866 h 3870970"/>
                    <a:gd name="connsiteX33" fmla="*/ 1605808 w 3293021"/>
                    <a:gd name="connsiteY33" fmla="*/ 16917 h 3870970"/>
                    <a:gd name="connsiteX34" fmla="*/ 1404453 w 3293021"/>
                    <a:gd name="connsiteY34" fmla="*/ 547764 h 3870970"/>
                    <a:gd name="connsiteX35" fmla="*/ 1126827 w 3293021"/>
                    <a:gd name="connsiteY35" fmla="*/ 1042002 h 3870970"/>
                    <a:gd name="connsiteX36" fmla="*/ 806488 w 3293021"/>
                    <a:gd name="connsiteY36" fmla="*/ 1508782 h 3870970"/>
                    <a:gd name="connsiteX37" fmla="*/ 623437 w 3293021"/>
                    <a:gd name="connsiteY37" fmla="*/ 1707087 h 3870970"/>
                    <a:gd name="connsiteX38" fmla="*/ 528860 w 3293021"/>
                    <a:gd name="connsiteY38" fmla="*/ 1804714 h 3870970"/>
                    <a:gd name="connsiteX39" fmla="*/ 486149 w 3293021"/>
                    <a:gd name="connsiteY39" fmla="*/ 1874884 h 3870970"/>
                    <a:gd name="connsiteX40" fmla="*/ 611233 w 3293021"/>
                    <a:gd name="connsiteY40" fmla="*/ 1902341 h 3870970"/>
                    <a:gd name="connsiteX41" fmla="*/ 800386 w 3293021"/>
                    <a:gd name="connsiteY41" fmla="*/ 1786408 h 3870970"/>
                    <a:gd name="connsiteX42" fmla="*/ 830894 w 3293021"/>
                    <a:gd name="connsiteY42" fmla="*/ 1826070 h 3870970"/>
                    <a:gd name="connsiteX43" fmla="*/ 955978 w 3293021"/>
                    <a:gd name="connsiteY43" fmla="*/ 1771154 h 3870970"/>
                    <a:gd name="connsiteX44" fmla="*/ 928522 w 3293021"/>
                    <a:gd name="connsiteY44" fmla="*/ 1884036 h 3870970"/>
                    <a:gd name="connsiteX45" fmla="*/ 928522 w 3293021"/>
                    <a:gd name="connsiteY45" fmla="*/ 1884036 h 3870970"/>
                    <a:gd name="connsiteX46" fmla="*/ 919368 w 3293021"/>
                    <a:gd name="connsiteY46" fmla="*/ 1887087 h 3870970"/>
                    <a:gd name="connsiteX47" fmla="*/ 669200 w 3293021"/>
                    <a:gd name="connsiteY47" fmla="*/ 2265392 h 3870970"/>
                    <a:gd name="connsiteX48" fmla="*/ 361063 w 3293021"/>
                    <a:gd name="connsiteY48" fmla="*/ 2649799 h 3870970"/>
                    <a:gd name="connsiteX49" fmla="*/ 370215 w 3293021"/>
                    <a:gd name="connsiteY49" fmla="*/ 2665053 h 3870970"/>
                    <a:gd name="connsiteX50" fmla="*/ 480047 w 3293021"/>
                    <a:gd name="connsiteY50" fmla="*/ 2619290 h 3870970"/>
                    <a:gd name="connsiteX51" fmla="*/ 446486 w 3293021"/>
                    <a:gd name="connsiteY51" fmla="*/ 2686408 h 3870970"/>
                    <a:gd name="connsiteX52" fmla="*/ 440386 w 3293021"/>
                    <a:gd name="connsiteY52" fmla="*/ 2716917 h 3870970"/>
                    <a:gd name="connsiteX53" fmla="*/ 541064 w 3293021"/>
                    <a:gd name="connsiteY53" fmla="*/ 2723019 h 3870970"/>
                    <a:gd name="connsiteX54" fmla="*/ 772927 w 3293021"/>
                    <a:gd name="connsiteY54" fmla="*/ 2561324 h 3870970"/>
                    <a:gd name="connsiteX55" fmla="*/ 855301 w 3293021"/>
                    <a:gd name="connsiteY55" fmla="*/ 2622341 h 3870970"/>
                    <a:gd name="connsiteX56" fmla="*/ 641741 w 3293021"/>
                    <a:gd name="connsiteY56" fmla="*/ 2915222 h 3870970"/>
                    <a:gd name="connsiteX57" fmla="*/ 379369 w 3293021"/>
                    <a:gd name="connsiteY57" fmla="*/ 3238612 h 3870970"/>
                    <a:gd name="connsiteX58" fmla="*/ 141402 w 3293021"/>
                    <a:gd name="connsiteY58" fmla="*/ 3555900 h 3870970"/>
                    <a:gd name="connsiteX59" fmla="*/ 22420 w 3293021"/>
                    <a:gd name="connsiteY59" fmla="*/ 3723697 h 3870970"/>
                    <a:gd name="connsiteX60" fmla="*/ 16318 w 3293021"/>
                    <a:gd name="connsiteY60" fmla="*/ 3818273 h 3870970"/>
                    <a:gd name="connsiteX61" fmla="*/ 150556 w 3293021"/>
                    <a:gd name="connsiteY61" fmla="*/ 3845730 h 3870970"/>
                    <a:gd name="connsiteX62" fmla="*/ 245131 w 3293021"/>
                    <a:gd name="connsiteY62" fmla="*/ 3803019 h 3870970"/>
                    <a:gd name="connsiteX63" fmla="*/ 400724 w 3293021"/>
                    <a:gd name="connsiteY63" fmla="*/ 3809121 h 3870970"/>
                    <a:gd name="connsiteX64" fmla="*/ 440386 w 3293021"/>
                    <a:gd name="connsiteY64" fmla="*/ 3864036 h 3870970"/>
                    <a:gd name="connsiteX65" fmla="*/ 577674 w 3293021"/>
                    <a:gd name="connsiteY65" fmla="*/ 3839629 h 3870970"/>
                    <a:gd name="connsiteX66" fmla="*/ 745471 w 3293021"/>
                    <a:gd name="connsiteY66" fmla="*/ 3726748 h 3870970"/>
                    <a:gd name="connsiteX67" fmla="*/ 730217 w 3293021"/>
                    <a:gd name="connsiteY67" fmla="*/ 3766409 h 3870970"/>
                    <a:gd name="connsiteX68" fmla="*/ 739369 w 3293021"/>
                    <a:gd name="connsiteY68" fmla="*/ 3775561 h 3870970"/>
                    <a:gd name="connsiteX69" fmla="*/ 855301 w 3293021"/>
                    <a:gd name="connsiteY69" fmla="*/ 3717595 h 3870970"/>
                    <a:gd name="connsiteX70" fmla="*/ 959030 w 3293021"/>
                    <a:gd name="connsiteY70" fmla="*/ 3754205 h 3870970"/>
                    <a:gd name="connsiteX71" fmla="*/ 1200046 w 3293021"/>
                    <a:gd name="connsiteY71" fmla="*/ 3677934 h 3870970"/>
                    <a:gd name="connsiteX72" fmla="*/ 1334284 w 3293021"/>
                    <a:gd name="connsiteY72" fmla="*/ 3796918 h 3870970"/>
                    <a:gd name="connsiteX73" fmla="*/ 1560046 w 3293021"/>
                    <a:gd name="connsiteY73" fmla="*/ 3693188 h 3870970"/>
                    <a:gd name="connsiteX74" fmla="*/ 1779707 w 3293021"/>
                    <a:gd name="connsiteY74" fmla="*/ 3763358 h 3870970"/>
                    <a:gd name="connsiteX75" fmla="*/ 1865130 w 3293021"/>
                    <a:gd name="connsiteY75" fmla="*/ 3763358 h 3870970"/>
                    <a:gd name="connsiteX76" fmla="*/ 1907843 w 3293021"/>
                    <a:gd name="connsiteY76" fmla="*/ 3784713 h 3870970"/>
                    <a:gd name="connsiteX77" fmla="*/ 1999368 w 3293021"/>
                    <a:gd name="connsiteY77" fmla="*/ 3809121 h 3870970"/>
                    <a:gd name="connsiteX78" fmla="*/ 2170215 w 3293021"/>
                    <a:gd name="connsiteY78" fmla="*/ 3781663 h 3870970"/>
                    <a:gd name="connsiteX79" fmla="*/ 2182419 w 3293021"/>
                    <a:gd name="connsiteY79" fmla="*/ 3787764 h 3870970"/>
                    <a:gd name="connsiteX80" fmla="*/ 2206826 w 3293021"/>
                    <a:gd name="connsiteY80" fmla="*/ 3671833 h 3870970"/>
                    <a:gd name="connsiteX81" fmla="*/ 2511911 w 3293021"/>
                    <a:gd name="connsiteY81" fmla="*/ 3717595 h 3870970"/>
                    <a:gd name="connsiteX82" fmla="*/ 2521063 w 3293021"/>
                    <a:gd name="connsiteY82" fmla="*/ 3708442 h 3870970"/>
                    <a:gd name="connsiteX83" fmla="*/ 2502758 w 3293021"/>
                    <a:gd name="connsiteY83" fmla="*/ 3653527 h 3870970"/>
                    <a:gd name="connsiteX84" fmla="*/ 2640047 w 3293021"/>
                    <a:gd name="connsiteY84" fmla="*/ 3696239 h 3870970"/>
                    <a:gd name="connsiteX85" fmla="*/ 2792589 w 3293021"/>
                    <a:gd name="connsiteY85" fmla="*/ 3742002 h 3870970"/>
                    <a:gd name="connsiteX86" fmla="*/ 2914623 w 3293021"/>
                    <a:gd name="connsiteY86" fmla="*/ 3671833 h 3870970"/>
                    <a:gd name="connsiteX87" fmla="*/ 3122080 w 3293021"/>
                    <a:gd name="connsiteY87" fmla="*/ 3754205 h 3870970"/>
                    <a:gd name="connsiteX88" fmla="*/ 3128182 w 3293021"/>
                    <a:gd name="connsiteY88" fmla="*/ 3742002 h 3870970"/>
                    <a:gd name="connsiteX89" fmla="*/ 3112928 w 3293021"/>
                    <a:gd name="connsiteY89" fmla="*/ 3705392 h 3870970"/>
                    <a:gd name="connsiteX90" fmla="*/ 3219708 w 3293021"/>
                    <a:gd name="connsiteY90" fmla="*/ 3723697 h 3870970"/>
                    <a:gd name="connsiteX91" fmla="*/ 3277674 w 3293021"/>
                    <a:gd name="connsiteY91" fmla="*/ 3711493 h 3870970"/>
                    <a:gd name="connsiteX92" fmla="*/ 3280725 w 3293021"/>
                    <a:gd name="connsiteY92" fmla="*/ 3647425 h 3870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</a:cxnLst>
                  <a:rect l="l" t="t" r="r" b="b"/>
                  <a:pathLst>
                    <a:path w="3293021" h="3870970">
                      <a:moveTo>
                        <a:pt x="3280725" y="3647425"/>
                      </a:moveTo>
                      <a:cubicBezTo>
                        <a:pt x="3256318" y="3610816"/>
                        <a:pt x="3219708" y="3577256"/>
                        <a:pt x="3189199" y="3543697"/>
                      </a:cubicBezTo>
                      <a:cubicBezTo>
                        <a:pt x="3064115" y="3403358"/>
                        <a:pt x="2939029" y="3263019"/>
                        <a:pt x="2813945" y="3125731"/>
                      </a:cubicBezTo>
                      <a:cubicBezTo>
                        <a:pt x="2850556" y="3122680"/>
                        <a:pt x="2884114" y="3110477"/>
                        <a:pt x="2914623" y="3086070"/>
                      </a:cubicBezTo>
                      <a:cubicBezTo>
                        <a:pt x="2920725" y="3083019"/>
                        <a:pt x="2917673" y="3076917"/>
                        <a:pt x="2911573" y="3073866"/>
                      </a:cubicBezTo>
                      <a:cubicBezTo>
                        <a:pt x="2704114" y="2921324"/>
                        <a:pt x="2536317" y="2723019"/>
                        <a:pt x="2414283" y="2497256"/>
                      </a:cubicBezTo>
                      <a:cubicBezTo>
                        <a:pt x="2456996" y="2521663"/>
                        <a:pt x="2511911" y="2512511"/>
                        <a:pt x="2560725" y="2509460"/>
                      </a:cubicBezTo>
                      <a:cubicBezTo>
                        <a:pt x="2588182" y="2506409"/>
                        <a:pt x="2615640" y="2506409"/>
                        <a:pt x="2643097" y="2515562"/>
                      </a:cubicBezTo>
                      <a:cubicBezTo>
                        <a:pt x="2661403" y="2521663"/>
                        <a:pt x="2679707" y="2527765"/>
                        <a:pt x="2698013" y="2530816"/>
                      </a:cubicBezTo>
                      <a:cubicBezTo>
                        <a:pt x="2731572" y="2533866"/>
                        <a:pt x="2759030" y="2521663"/>
                        <a:pt x="2780385" y="2500307"/>
                      </a:cubicBezTo>
                      <a:cubicBezTo>
                        <a:pt x="2783437" y="2497256"/>
                        <a:pt x="2783437" y="2491154"/>
                        <a:pt x="2780385" y="2488103"/>
                      </a:cubicBezTo>
                      <a:cubicBezTo>
                        <a:pt x="2749876" y="2463697"/>
                        <a:pt x="2719368" y="2436239"/>
                        <a:pt x="2694961" y="2405731"/>
                      </a:cubicBezTo>
                      <a:cubicBezTo>
                        <a:pt x="2722420" y="2405731"/>
                        <a:pt x="2743776" y="2393528"/>
                        <a:pt x="2765131" y="2375222"/>
                      </a:cubicBezTo>
                      <a:cubicBezTo>
                        <a:pt x="2768183" y="2372171"/>
                        <a:pt x="2768183" y="2366069"/>
                        <a:pt x="2765131" y="2363019"/>
                      </a:cubicBezTo>
                      <a:cubicBezTo>
                        <a:pt x="2563775" y="2179968"/>
                        <a:pt x="2386827" y="1969459"/>
                        <a:pt x="2240386" y="1740646"/>
                      </a:cubicBezTo>
                      <a:cubicBezTo>
                        <a:pt x="2270895" y="1765053"/>
                        <a:pt x="2307503" y="1789459"/>
                        <a:pt x="2341064" y="1786408"/>
                      </a:cubicBezTo>
                      <a:cubicBezTo>
                        <a:pt x="2362420" y="1786408"/>
                        <a:pt x="2380724" y="1771154"/>
                        <a:pt x="2383775" y="1752850"/>
                      </a:cubicBezTo>
                      <a:cubicBezTo>
                        <a:pt x="2420385" y="1786408"/>
                        <a:pt x="2475300" y="1819968"/>
                        <a:pt x="2521063" y="1777256"/>
                      </a:cubicBezTo>
                      <a:cubicBezTo>
                        <a:pt x="2575979" y="1722341"/>
                        <a:pt x="2481402" y="1655222"/>
                        <a:pt x="2444792" y="1621663"/>
                      </a:cubicBezTo>
                      <a:cubicBezTo>
                        <a:pt x="2368520" y="1551494"/>
                        <a:pt x="2295301" y="1481324"/>
                        <a:pt x="2219030" y="1414205"/>
                      </a:cubicBezTo>
                      <a:cubicBezTo>
                        <a:pt x="2154961" y="1353189"/>
                        <a:pt x="2081742" y="1295223"/>
                        <a:pt x="2045131" y="1209798"/>
                      </a:cubicBezTo>
                      <a:cubicBezTo>
                        <a:pt x="2060385" y="1212849"/>
                        <a:pt x="2072590" y="1209798"/>
                        <a:pt x="2084792" y="1197595"/>
                      </a:cubicBezTo>
                      <a:cubicBezTo>
                        <a:pt x="2130555" y="1249460"/>
                        <a:pt x="2191572" y="1279968"/>
                        <a:pt x="2258691" y="1292172"/>
                      </a:cubicBezTo>
                      <a:cubicBezTo>
                        <a:pt x="2264793" y="1292172"/>
                        <a:pt x="2270895" y="1289121"/>
                        <a:pt x="2267843" y="1283018"/>
                      </a:cubicBezTo>
                      <a:cubicBezTo>
                        <a:pt x="2264793" y="1276917"/>
                        <a:pt x="2264793" y="1270815"/>
                        <a:pt x="2261741" y="1264714"/>
                      </a:cubicBezTo>
                      <a:cubicBezTo>
                        <a:pt x="2289199" y="1273866"/>
                        <a:pt x="2319708" y="1276917"/>
                        <a:pt x="2325810" y="1243358"/>
                      </a:cubicBezTo>
                      <a:cubicBezTo>
                        <a:pt x="2334962" y="1197595"/>
                        <a:pt x="2267843" y="1145730"/>
                        <a:pt x="2240386" y="1118273"/>
                      </a:cubicBezTo>
                      <a:cubicBezTo>
                        <a:pt x="2130555" y="1008443"/>
                        <a:pt x="2017673" y="907765"/>
                        <a:pt x="1938352" y="773527"/>
                      </a:cubicBezTo>
                      <a:cubicBezTo>
                        <a:pt x="1865130" y="648443"/>
                        <a:pt x="1822420" y="508103"/>
                        <a:pt x="1776657" y="367765"/>
                      </a:cubicBezTo>
                      <a:cubicBezTo>
                        <a:pt x="1755301" y="300646"/>
                        <a:pt x="1733944" y="230477"/>
                        <a:pt x="1706488" y="163358"/>
                      </a:cubicBezTo>
                      <a:cubicBezTo>
                        <a:pt x="1685132" y="108443"/>
                        <a:pt x="1666825" y="41324"/>
                        <a:pt x="1621063" y="1663"/>
                      </a:cubicBezTo>
                      <a:cubicBezTo>
                        <a:pt x="1611910" y="-4439"/>
                        <a:pt x="1599708" y="7765"/>
                        <a:pt x="1608860" y="13866"/>
                      </a:cubicBezTo>
                      <a:cubicBezTo>
                        <a:pt x="1608860" y="13866"/>
                        <a:pt x="1608860" y="13866"/>
                        <a:pt x="1608860" y="13866"/>
                      </a:cubicBezTo>
                      <a:cubicBezTo>
                        <a:pt x="1608860" y="13866"/>
                        <a:pt x="1605808" y="16917"/>
                        <a:pt x="1605808" y="16917"/>
                      </a:cubicBezTo>
                      <a:cubicBezTo>
                        <a:pt x="1529537" y="190815"/>
                        <a:pt x="1486826" y="373866"/>
                        <a:pt x="1404453" y="547764"/>
                      </a:cubicBezTo>
                      <a:cubicBezTo>
                        <a:pt x="1325132" y="718612"/>
                        <a:pt x="1221402" y="877256"/>
                        <a:pt x="1126827" y="1042002"/>
                      </a:cubicBezTo>
                      <a:cubicBezTo>
                        <a:pt x="1032249" y="1206747"/>
                        <a:pt x="931572" y="1365392"/>
                        <a:pt x="806488" y="1508782"/>
                      </a:cubicBezTo>
                      <a:cubicBezTo>
                        <a:pt x="748521" y="1575900"/>
                        <a:pt x="684454" y="1643019"/>
                        <a:pt x="623437" y="1707087"/>
                      </a:cubicBezTo>
                      <a:cubicBezTo>
                        <a:pt x="592929" y="1740646"/>
                        <a:pt x="559368" y="1771154"/>
                        <a:pt x="528860" y="1804714"/>
                      </a:cubicBezTo>
                      <a:cubicBezTo>
                        <a:pt x="510555" y="1823019"/>
                        <a:pt x="489199" y="1847425"/>
                        <a:pt x="486149" y="1874884"/>
                      </a:cubicBezTo>
                      <a:cubicBezTo>
                        <a:pt x="483097" y="1938951"/>
                        <a:pt x="577674" y="1911493"/>
                        <a:pt x="611233" y="1902341"/>
                      </a:cubicBezTo>
                      <a:cubicBezTo>
                        <a:pt x="684454" y="1880985"/>
                        <a:pt x="748521" y="1841324"/>
                        <a:pt x="800386" y="1786408"/>
                      </a:cubicBezTo>
                      <a:cubicBezTo>
                        <a:pt x="803436" y="1804714"/>
                        <a:pt x="812588" y="1819968"/>
                        <a:pt x="830894" y="1826070"/>
                      </a:cubicBezTo>
                      <a:cubicBezTo>
                        <a:pt x="879707" y="1847425"/>
                        <a:pt x="922420" y="1801663"/>
                        <a:pt x="955978" y="1771154"/>
                      </a:cubicBezTo>
                      <a:cubicBezTo>
                        <a:pt x="943776" y="1807765"/>
                        <a:pt x="937674" y="1844375"/>
                        <a:pt x="928522" y="1884036"/>
                      </a:cubicBezTo>
                      <a:cubicBezTo>
                        <a:pt x="928522" y="1884036"/>
                        <a:pt x="928522" y="1884036"/>
                        <a:pt x="928522" y="1884036"/>
                      </a:cubicBezTo>
                      <a:cubicBezTo>
                        <a:pt x="925470" y="1884036"/>
                        <a:pt x="922420" y="1884036"/>
                        <a:pt x="919368" y="1887087"/>
                      </a:cubicBezTo>
                      <a:cubicBezTo>
                        <a:pt x="815640" y="1999968"/>
                        <a:pt x="748521" y="2134206"/>
                        <a:pt x="669200" y="2265392"/>
                      </a:cubicBezTo>
                      <a:cubicBezTo>
                        <a:pt x="583774" y="2405731"/>
                        <a:pt x="480047" y="2536917"/>
                        <a:pt x="361063" y="2649799"/>
                      </a:cubicBezTo>
                      <a:cubicBezTo>
                        <a:pt x="354961" y="2655900"/>
                        <a:pt x="361063" y="2665053"/>
                        <a:pt x="370215" y="2665053"/>
                      </a:cubicBezTo>
                      <a:cubicBezTo>
                        <a:pt x="409878" y="2655900"/>
                        <a:pt x="446486" y="2640646"/>
                        <a:pt x="480047" y="2619290"/>
                      </a:cubicBezTo>
                      <a:cubicBezTo>
                        <a:pt x="467843" y="2640646"/>
                        <a:pt x="455640" y="2662002"/>
                        <a:pt x="446486" y="2686408"/>
                      </a:cubicBezTo>
                      <a:cubicBezTo>
                        <a:pt x="443436" y="2695561"/>
                        <a:pt x="437334" y="2704714"/>
                        <a:pt x="440386" y="2716917"/>
                      </a:cubicBezTo>
                      <a:cubicBezTo>
                        <a:pt x="452588" y="2750476"/>
                        <a:pt x="516657" y="2729121"/>
                        <a:pt x="541064" y="2723019"/>
                      </a:cubicBezTo>
                      <a:cubicBezTo>
                        <a:pt x="632589" y="2695561"/>
                        <a:pt x="705808" y="2628442"/>
                        <a:pt x="772927" y="2561324"/>
                      </a:cubicBezTo>
                      <a:cubicBezTo>
                        <a:pt x="769877" y="2604036"/>
                        <a:pt x="812588" y="2637596"/>
                        <a:pt x="855301" y="2622341"/>
                      </a:cubicBezTo>
                      <a:cubicBezTo>
                        <a:pt x="797334" y="2729121"/>
                        <a:pt x="721063" y="2820646"/>
                        <a:pt x="641741" y="2915222"/>
                      </a:cubicBezTo>
                      <a:cubicBezTo>
                        <a:pt x="553266" y="3022002"/>
                        <a:pt x="464793" y="3128781"/>
                        <a:pt x="379369" y="3238612"/>
                      </a:cubicBezTo>
                      <a:cubicBezTo>
                        <a:pt x="296996" y="3342341"/>
                        <a:pt x="217673" y="3449120"/>
                        <a:pt x="141402" y="3555900"/>
                      </a:cubicBezTo>
                      <a:cubicBezTo>
                        <a:pt x="101741" y="3610816"/>
                        <a:pt x="59030" y="3665731"/>
                        <a:pt x="22420" y="3723697"/>
                      </a:cubicBezTo>
                      <a:cubicBezTo>
                        <a:pt x="4113" y="3751155"/>
                        <a:pt x="-14191" y="3790816"/>
                        <a:pt x="16318" y="3818273"/>
                      </a:cubicBezTo>
                      <a:cubicBezTo>
                        <a:pt x="46826" y="3845730"/>
                        <a:pt x="110893" y="3845730"/>
                        <a:pt x="150556" y="3845730"/>
                      </a:cubicBezTo>
                      <a:cubicBezTo>
                        <a:pt x="187164" y="3842680"/>
                        <a:pt x="220725" y="3833527"/>
                        <a:pt x="245131" y="3803019"/>
                      </a:cubicBezTo>
                      <a:cubicBezTo>
                        <a:pt x="275640" y="3860985"/>
                        <a:pt x="351911" y="3836578"/>
                        <a:pt x="400724" y="3809121"/>
                      </a:cubicBezTo>
                      <a:cubicBezTo>
                        <a:pt x="403776" y="3833527"/>
                        <a:pt x="415978" y="3854884"/>
                        <a:pt x="440386" y="3864036"/>
                      </a:cubicBezTo>
                      <a:cubicBezTo>
                        <a:pt x="486149" y="3882341"/>
                        <a:pt x="534962" y="3860985"/>
                        <a:pt x="577674" y="3839629"/>
                      </a:cubicBezTo>
                      <a:cubicBezTo>
                        <a:pt x="638691" y="3812172"/>
                        <a:pt x="696656" y="3772510"/>
                        <a:pt x="745471" y="3726748"/>
                      </a:cubicBezTo>
                      <a:cubicBezTo>
                        <a:pt x="739369" y="3738951"/>
                        <a:pt x="736317" y="3751155"/>
                        <a:pt x="730217" y="3766409"/>
                      </a:cubicBezTo>
                      <a:cubicBezTo>
                        <a:pt x="727165" y="3772510"/>
                        <a:pt x="733267" y="3778612"/>
                        <a:pt x="739369" y="3775561"/>
                      </a:cubicBezTo>
                      <a:cubicBezTo>
                        <a:pt x="785132" y="3769459"/>
                        <a:pt x="824792" y="3751155"/>
                        <a:pt x="855301" y="3717595"/>
                      </a:cubicBezTo>
                      <a:cubicBezTo>
                        <a:pt x="870555" y="3754205"/>
                        <a:pt x="922420" y="3757256"/>
                        <a:pt x="959030" y="3754205"/>
                      </a:cubicBezTo>
                      <a:cubicBezTo>
                        <a:pt x="1041402" y="3742002"/>
                        <a:pt x="1123775" y="3714544"/>
                        <a:pt x="1200046" y="3677934"/>
                      </a:cubicBezTo>
                      <a:cubicBezTo>
                        <a:pt x="1209198" y="3742002"/>
                        <a:pt x="1267165" y="3787764"/>
                        <a:pt x="1334284" y="3796918"/>
                      </a:cubicBezTo>
                      <a:cubicBezTo>
                        <a:pt x="1422758" y="3806070"/>
                        <a:pt x="1499029" y="3748104"/>
                        <a:pt x="1560046" y="3693188"/>
                      </a:cubicBezTo>
                      <a:cubicBezTo>
                        <a:pt x="1593606" y="3775561"/>
                        <a:pt x="1700386" y="3799968"/>
                        <a:pt x="1779707" y="3763358"/>
                      </a:cubicBezTo>
                      <a:cubicBezTo>
                        <a:pt x="1810216" y="3751155"/>
                        <a:pt x="1834622" y="3748104"/>
                        <a:pt x="1865130" y="3763358"/>
                      </a:cubicBezTo>
                      <a:cubicBezTo>
                        <a:pt x="1877335" y="3772510"/>
                        <a:pt x="1892589" y="3778612"/>
                        <a:pt x="1907843" y="3784713"/>
                      </a:cubicBezTo>
                      <a:cubicBezTo>
                        <a:pt x="1935301" y="3796918"/>
                        <a:pt x="1968860" y="3806070"/>
                        <a:pt x="1999368" y="3809121"/>
                      </a:cubicBezTo>
                      <a:cubicBezTo>
                        <a:pt x="2057335" y="3815222"/>
                        <a:pt x="2115300" y="3806070"/>
                        <a:pt x="2170215" y="3781663"/>
                      </a:cubicBezTo>
                      <a:cubicBezTo>
                        <a:pt x="2173267" y="3784713"/>
                        <a:pt x="2176317" y="3787764"/>
                        <a:pt x="2182419" y="3787764"/>
                      </a:cubicBezTo>
                      <a:cubicBezTo>
                        <a:pt x="2231232" y="3766409"/>
                        <a:pt x="2225132" y="3714544"/>
                        <a:pt x="2206826" y="3671833"/>
                      </a:cubicBezTo>
                      <a:cubicBezTo>
                        <a:pt x="2304453" y="3711493"/>
                        <a:pt x="2408183" y="3726748"/>
                        <a:pt x="2511911" y="3717595"/>
                      </a:cubicBezTo>
                      <a:cubicBezTo>
                        <a:pt x="2518013" y="3717595"/>
                        <a:pt x="2521063" y="3711493"/>
                        <a:pt x="2521063" y="3708442"/>
                      </a:cubicBezTo>
                      <a:cubicBezTo>
                        <a:pt x="2514963" y="3690138"/>
                        <a:pt x="2508860" y="3671833"/>
                        <a:pt x="2502758" y="3653527"/>
                      </a:cubicBezTo>
                      <a:cubicBezTo>
                        <a:pt x="2548521" y="3668782"/>
                        <a:pt x="2594284" y="3680985"/>
                        <a:pt x="2640047" y="3696239"/>
                      </a:cubicBezTo>
                      <a:cubicBezTo>
                        <a:pt x="2688859" y="3711493"/>
                        <a:pt x="2740724" y="3732850"/>
                        <a:pt x="2792589" y="3742002"/>
                      </a:cubicBezTo>
                      <a:cubicBezTo>
                        <a:pt x="2844454" y="3748104"/>
                        <a:pt x="2908521" y="3726748"/>
                        <a:pt x="2914623" y="3671833"/>
                      </a:cubicBezTo>
                      <a:cubicBezTo>
                        <a:pt x="2972590" y="3720646"/>
                        <a:pt x="3042759" y="3748104"/>
                        <a:pt x="3122080" y="3754205"/>
                      </a:cubicBezTo>
                      <a:cubicBezTo>
                        <a:pt x="3128182" y="3754205"/>
                        <a:pt x="3131232" y="3748104"/>
                        <a:pt x="3128182" y="3742002"/>
                      </a:cubicBezTo>
                      <a:cubicBezTo>
                        <a:pt x="3122080" y="3729799"/>
                        <a:pt x="3115978" y="3717595"/>
                        <a:pt x="3112928" y="3705392"/>
                      </a:cubicBezTo>
                      <a:cubicBezTo>
                        <a:pt x="3146486" y="3714544"/>
                        <a:pt x="3183097" y="3720646"/>
                        <a:pt x="3219708" y="3723697"/>
                      </a:cubicBezTo>
                      <a:cubicBezTo>
                        <a:pt x="3238012" y="3723697"/>
                        <a:pt x="3265470" y="3726748"/>
                        <a:pt x="3277674" y="3711493"/>
                      </a:cubicBezTo>
                      <a:cubicBezTo>
                        <a:pt x="3302081" y="3684036"/>
                        <a:pt x="3292929" y="3662680"/>
                        <a:pt x="3280725" y="3647425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: 形状 77">
                  <a:extLst>
                    <a:ext uri="{FF2B5EF4-FFF2-40B4-BE49-F238E27FC236}">
                      <a16:creationId xmlns:a16="http://schemas.microsoft.com/office/drawing/2014/main" id="{1AF34E82-B999-4590-B533-11F3C9B61155}"/>
                    </a:ext>
                  </a:extLst>
                </p:cNvPr>
                <p:cNvSpPr/>
                <p:nvPr/>
              </p:nvSpPr>
              <p:spPr>
                <a:xfrm>
                  <a:off x="24934563" y="9553244"/>
                  <a:ext cx="507888" cy="277627"/>
                </a:xfrm>
                <a:custGeom>
                  <a:avLst/>
                  <a:gdLst>
                    <a:gd name="connsiteX0" fmla="*/ 363236 w 507888"/>
                    <a:gd name="connsiteY0" fmla="*/ 277627 h 277627"/>
                    <a:gd name="connsiteX1" fmla="*/ 222895 w 507888"/>
                    <a:gd name="connsiteY1" fmla="*/ 155593 h 277627"/>
                    <a:gd name="connsiteX2" fmla="*/ 174083 w 507888"/>
                    <a:gd name="connsiteY2" fmla="*/ 183051 h 277627"/>
                    <a:gd name="connsiteX3" fmla="*/ 122218 w 507888"/>
                    <a:gd name="connsiteY3" fmla="*/ 88474 h 277627"/>
                    <a:gd name="connsiteX4" fmla="*/ 30692 w 507888"/>
                    <a:gd name="connsiteY4" fmla="*/ 146440 h 277627"/>
                    <a:gd name="connsiteX5" fmla="*/ 6286 w 507888"/>
                    <a:gd name="connsiteY5" fmla="*/ 131186 h 277627"/>
                    <a:gd name="connsiteX6" fmla="*/ 27642 w 507888"/>
                    <a:gd name="connsiteY6" fmla="*/ 3051 h 277627"/>
                    <a:gd name="connsiteX7" fmla="*/ 33743 w 507888"/>
                    <a:gd name="connsiteY7" fmla="*/ 0 h 277627"/>
                    <a:gd name="connsiteX8" fmla="*/ 36795 w 507888"/>
                    <a:gd name="connsiteY8" fmla="*/ 6102 h 277627"/>
                    <a:gd name="connsiteX9" fmla="*/ 15438 w 507888"/>
                    <a:gd name="connsiteY9" fmla="*/ 122034 h 277627"/>
                    <a:gd name="connsiteX10" fmla="*/ 30692 w 507888"/>
                    <a:gd name="connsiteY10" fmla="*/ 131186 h 277627"/>
                    <a:gd name="connsiteX11" fmla="*/ 116116 w 507888"/>
                    <a:gd name="connsiteY11" fmla="*/ 67119 h 277627"/>
                    <a:gd name="connsiteX12" fmla="*/ 122218 w 507888"/>
                    <a:gd name="connsiteY12" fmla="*/ 64068 h 277627"/>
                    <a:gd name="connsiteX13" fmla="*/ 128320 w 507888"/>
                    <a:gd name="connsiteY13" fmla="*/ 67119 h 277627"/>
                    <a:gd name="connsiteX14" fmla="*/ 174083 w 507888"/>
                    <a:gd name="connsiteY14" fmla="*/ 167797 h 277627"/>
                    <a:gd name="connsiteX15" fmla="*/ 219845 w 507888"/>
                    <a:gd name="connsiteY15" fmla="*/ 140339 h 277627"/>
                    <a:gd name="connsiteX16" fmla="*/ 222895 w 507888"/>
                    <a:gd name="connsiteY16" fmla="*/ 137288 h 277627"/>
                    <a:gd name="connsiteX17" fmla="*/ 222895 w 507888"/>
                    <a:gd name="connsiteY17" fmla="*/ 137288 h 277627"/>
                    <a:gd name="connsiteX18" fmla="*/ 225947 w 507888"/>
                    <a:gd name="connsiteY18" fmla="*/ 140339 h 277627"/>
                    <a:gd name="connsiteX19" fmla="*/ 363236 w 507888"/>
                    <a:gd name="connsiteY19" fmla="*/ 265424 h 277627"/>
                    <a:gd name="connsiteX20" fmla="*/ 384590 w 507888"/>
                    <a:gd name="connsiteY20" fmla="*/ 39661 h 277627"/>
                    <a:gd name="connsiteX21" fmla="*/ 387642 w 507888"/>
                    <a:gd name="connsiteY21" fmla="*/ 33560 h 277627"/>
                    <a:gd name="connsiteX22" fmla="*/ 393744 w 507888"/>
                    <a:gd name="connsiteY22" fmla="*/ 36611 h 277627"/>
                    <a:gd name="connsiteX23" fmla="*/ 460861 w 507888"/>
                    <a:gd name="connsiteY23" fmla="*/ 88474 h 277627"/>
                    <a:gd name="connsiteX24" fmla="*/ 497472 w 507888"/>
                    <a:gd name="connsiteY24" fmla="*/ 24406 h 277627"/>
                    <a:gd name="connsiteX25" fmla="*/ 503574 w 507888"/>
                    <a:gd name="connsiteY25" fmla="*/ 21356 h 277627"/>
                    <a:gd name="connsiteX26" fmla="*/ 506624 w 507888"/>
                    <a:gd name="connsiteY26" fmla="*/ 27457 h 277627"/>
                    <a:gd name="connsiteX27" fmla="*/ 457811 w 507888"/>
                    <a:gd name="connsiteY27" fmla="*/ 97627 h 277627"/>
                    <a:gd name="connsiteX28" fmla="*/ 393744 w 507888"/>
                    <a:gd name="connsiteY28" fmla="*/ 51865 h 277627"/>
                    <a:gd name="connsiteX29" fmla="*/ 363236 w 507888"/>
                    <a:gd name="connsiteY29" fmla="*/ 271525 h 277627"/>
                    <a:gd name="connsiteX30" fmla="*/ 363236 w 507888"/>
                    <a:gd name="connsiteY30" fmla="*/ 277627 h 27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07888" h="277627">
                      <a:moveTo>
                        <a:pt x="363236" y="277627"/>
                      </a:moveTo>
                      <a:cubicBezTo>
                        <a:pt x="326625" y="277627"/>
                        <a:pt x="247302" y="183051"/>
                        <a:pt x="222895" y="155593"/>
                      </a:cubicBezTo>
                      <a:cubicBezTo>
                        <a:pt x="213743" y="164746"/>
                        <a:pt x="195439" y="183051"/>
                        <a:pt x="174083" y="183051"/>
                      </a:cubicBezTo>
                      <a:cubicBezTo>
                        <a:pt x="149676" y="183051"/>
                        <a:pt x="131370" y="122034"/>
                        <a:pt x="122218" y="88474"/>
                      </a:cubicBezTo>
                      <a:cubicBezTo>
                        <a:pt x="110014" y="109831"/>
                        <a:pt x="76455" y="149491"/>
                        <a:pt x="30692" y="146440"/>
                      </a:cubicBezTo>
                      <a:cubicBezTo>
                        <a:pt x="18488" y="146440"/>
                        <a:pt x="9336" y="140339"/>
                        <a:pt x="6286" y="131186"/>
                      </a:cubicBezTo>
                      <a:cubicBezTo>
                        <a:pt x="-15070" y="97627"/>
                        <a:pt x="24590" y="6102"/>
                        <a:pt x="27642" y="3051"/>
                      </a:cubicBezTo>
                      <a:cubicBezTo>
                        <a:pt x="27642" y="0"/>
                        <a:pt x="30692" y="0"/>
                        <a:pt x="33743" y="0"/>
                      </a:cubicBezTo>
                      <a:cubicBezTo>
                        <a:pt x="36795" y="0"/>
                        <a:pt x="36795" y="6102"/>
                        <a:pt x="36795" y="6102"/>
                      </a:cubicBezTo>
                      <a:cubicBezTo>
                        <a:pt x="24590" y="30508"/>
                        <a:pt x="184" y="97627"/>
                        <a:pt x="15438" y="122034"/>
                      </a:cubicBezTo>
                      <a:cubicBezTo>
                        <a:pt x="18488" y="128136"/>
                        <a:pt x="24590" y="131186"/>
                        <a:pt x="30692" y="131186"/>
                      </a:cubicBezTo>
                      <a:cubicBezTo>
                        <a:pt x="85607" y="134237"/>
                        <a:pt x="116116" y="67119"/>
                        <a:pt x="116116" y="67119"/>
                      </a:cubicBezTo>
                      <a:cubicBezTo>
                        <a:pt x="116116" y="64068"/>
                        <a:pt x="119168" y="64068"/>
                        <a:pt x="122218" y="64068"/>
                      </a:cubicBezTo>
                      <a:cubicBezTo>
                        <a:pt x="125268" y="64068"/>
                        <a:pt x="125268" y="67119"/>
                        <a:pt x="128320" y="67119"/>
                      </a:cubicBezTo>
                      <a:cubicBezTo>
                        <a:pt x="140522" y="115932"/>
                        <a:pt x="158828" y="167797"/>
                        <a:pt x="174083" y="167797"/>
                      </a:cubicBezTo>
                      <a:cubicBezTo>
                        <a:pt x="195439" y="167797"/>
                        <a:pt x="219845" y="140339"/>
                        <a:pt x="219845" y="140339"/>
                      </a:cubicBezTo>
                      <a:cubicBezTo>
                        <a:pt x="219845" y="140339"/>
                        <a:pt x="222895" y="137288"/>
                        <a:pt x="222895" y="137288"/>
                      </a:cubicBezTo>
                      <a:lnTo>
                        <a:pt x="222895" y="137288"/>
                      </a:lnTo>
                      <a:cubicBezTo>
                        <a:pt x="225947" y="137288"/>
                        <a:pt x="225947" y="137288"/>
                        <a:pt x="225947" y="140339"/>
                      </a:cubicBezTo>
                      <a:cubicBezTo>
                        <a:pt x="268658" y="192203"/>
                        <a:pt x="341879" y="268474"/>
                        <a:pt x="363236" y="265424"/>
                      </a:cubicBezTo>
                      <a:cubicBezTo>
                        <a:pt x="381540" y="262373"/>
                        <a:pt x="387642" y="146440"/>
                        <a:pt x="384590" y="39661"/>
                      </a:cubicBezTo>
                      <a:cubicBezTo>
                        <a:pt x="384590" y="36611"/>
                        <a:pt x="384590" y="33560"/>
                        <a:pt x="387642" y="33560"/>
                      </a:cubicBezTo>
                      <a:cubicBezTo>
                        <a:pt x="390692" y="33560"/>
                        <a:pt x="393744" y="33560"/>
                        <a:pt x="393744" y="36611"/>
                      </a:cubicBezTo>
                      <a:cubicBezTo>
                        <a:pt x="405946" y="51865"/>
                        <a:pt x="442557" y="88474"/>
                        <a:pt x="460861" y="88474"/>
                      </a:cubicBezTo>
                      <a:cubicBezTo>
                        <a:pt x="476115" y="88474"/>
                        <a:pt x="491370" y="51865"/>
                        <a:pt x="497472" y="24406"/>
                      </a:cubicBezTo>
                      <a:cubicBezTo>
                        <a:pt x="497472" y="21356"/>
                        <a:pt x="500524" y="18305"/>
                        <a:pt x="503574" y="21356"/>
                      </a:cubicBezTo>
                      <a:cubicBezTo>
                        <a:pt x="506624" y="21356"/>
                        <a:pt x="509676" y="24406"/>
                        <a:pt x="506624" y="27457"/>
                      </a:cubicBezTo>
                      <a:cubicBezTo>
                        <a:pt x="503574" y="33560"/>
                        <a:pt x="488320" y="97627"/>
                        <a:pt x="457811" y="97627"/>
                      </a:cubicBezTo>
                      <a:cubicBezTo>
                        <a:pt x="436455" y="97627"/>
                        <a:pt x="408998" y="70169"/>
                        <a:pt x="393744" y="51865"/>
                      </a:cubicBezTo>
                      <a:cubicBezTo>
                        <a:pt x="396794" y="115932"/>
                        <a:pt x="396794" y="265424"/>
                        <a:pt x="363236" y="271525"/>
                      </a:cubicBezTo>
                      <a:cubicBezTo>
                        <a:pt x="366286" y="277627"/>
                        <a:pt x="363236" y="277627"/>
                        <a:pt x="363236" y="277627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9" name="任意多边形: 形状 78">
                  <a:extLst>
                    <a:ext uri="{FF2B5EF4-FFF2-40B4-BE49-F238E27FC236}">
                      <a16:creationId xmlns:a16="http://schemas.microsoft.com/office/drawing/2014/main" id="{CF48D24A-B65F-4F96-B0A2-DF3BA70BD155}"/>
                    </a:ext>
                  </a:extLst>
                </p:cNvPr>
                <p:cNvSpPr/>
                <p:nvPr/>
              </p:nvSpPr>
              <p:spPr>
                <a:xfrm>
                  <a:off x="25438899" y="10045193"/>
                  <a:ext cx="613192" cy="224999"/>
                </a:xfrm>
                <a:custGeom>
                  <a:avLst/>
                  <a:gdLst>
                    <a:gd name="connsiteX0" fmla="*/ 536186 w 613192"/>
                    <a:gd name="connsiteY0" fmla="*/ 221949 h 224999"/>
                    <a:gd name="connsiteX1" fmla="*/ 450763 w 613192"/>
                    <a:gd name="connsiteY1" fmla="*/ 176186 h 224999"/>
                    <a:gd name="connsiteX2" fmla="*/ 426356 w 613192"/>
                    <a:gd name="connsiteY2" fmla="*/ 203643 h 224999"/>
                    <a:gd name="connsiteX3" fmla="*/ 301272 w 613192"/>
                    <a:gd name="connsiteY3" fmla="*/ 157881 h 224999"/>
                    <a:gd name="connsiteX4" fmla="*/ 270764 w 613192"/>
                    <a:gd name="connsiteY4" fmla="*/ 130423 h 224999"/>
                    <a:gd name="connsiteX5" fmla="*/ 289068 w 613192"/>
                    <a:gd name="connsiteY5" fmla="*/ 206695 h 224999"/>
                    <a:gd name="connsiteX6" fmla="*/ 279916 w 613192"/>
                    <a:gd name="connsiteY6" fmla="*/ 209746 h 224999"/>
                    <a:gd name="connsiteX7" fmla="*/ 142628 w 613192"/>
                    <a:gd name="connsiteY7" fmla="*/ 154831 h 224999"/>
                    <a:gd name="connsiteX8" fmla="*/ 96865 w 613192"/>
                    <a:gd name="connsiteY8" fmla="*/ 209746 h 224999"/>
                    <a:gd name="connsiteX9" fmla="*/ 96865 w 613192"/>
                    <a:gd name="connsiteY9" fmla="*/ 209746 h 224999"/>
                    <a:gd name="connsiteX10" fmla="*/ 2288 w 613192"/>
                    <a:gd name="connsiteY10" fmla="*/ 160932 h 224999"/>
                    <a:gd name="connsiteX11" fmla="*/ 2288 w 613192"/>
                    <a:gd name="connsiteY11" fmla="*/ 151780 h 224999"/>
                    <a:gd name="connsiteX12" fmla="*/ 11442 w 613192"/>
                    <a:gd name="connsiteY12" fmla="*/ 151780 h 224999"/>
                    <a:gd name="connsiteX13" fmla="*/ 99915 w 613192"/>
                    <a:gd name="connsiteY13" fmla="*/ 197542 h 224999"/>
                    <a:gd name="connsiteX14" fmla="*/ 99915 w 613192"/>
                    <a:gd name="connsiteY14" fmla="*/ 197542 h 224999"/>
                    <a:gd name="connsiteX15" fmla="*/ 136526 w 613192"/>
                    <a:gd name="connsiteY15" fmla="*/ 142627 h 224999"/>
                    <a:gd name="connsiteX16" fmla="*/ 139576 w 613192"/>
                    <a:gd name="connsiteY16" fmla="*/ 139576 h 224999"/>
                    <a:gd name="connsiteX17" fmla="*/ 145678 w 613192"/>
                    <a:gd name="connsiteY17" fmla="*/ 139576 h 224999"/>
                    <a:gd name="connsiteX18" fmla="*/ 286018 w 613192"/>
                    <a:gd name="connsiteY18" fmla="*/ 197542 h 224999"/>
                    <a:gd name="connsiteX19" fmla="*/ 255509 w 613192"/>
                    <a:gd name="connsiteY19" fmla="*/ 109068 h 224999"/>
                    <a:gd name="connsiteX20" fmla="*/ 258560 w 613192"/>
                    <a:gd name="connsiteY20" fmla="*/ 102966 h 224999"/>
                    <a:gd name="connsiteX21" fmla="*/ 264662 w 613192"/>
                    <a:gd name="connsiteY21" fmla="*/ 102966 h 224999"/>
                    <a:gd name="connsiteX22" fmla="*/ 313474 w 613192"/>
                    <a:gd name="connsiteY22" fmla="*/ 148729 h 224999"/>
                    <a:gd name="connsiteX23" fmla="*/ 429406 w 613192"/>
                    <a:gd name="connsiteY23" fmla="*/ 191440 h 224999"/>
                    <a:gd name="connsiteX24" fmla="*/ 450763 w 613192"/>
                    <a:gd name="connsiteY24" fmla="*/ 163983 h 224999"/>
                    <a:gd name="connsiteX25" fmla="*/ 453815 w 613192"/>
                    <a:gd name="connsiteY25" fmla="*/ 160932 h 224999"/>
                    <a:gd name="connsiteX26" fmla="*/ 459915 w 613192"/>
                    <a:gd name="connsiteY26" fmla="*/ 163983 h 224999"/>
                    <a:gd name="connsiteX27" fmla="*/ 545340 w 613192"/>
                    <a:gd name="connsiteY27" fmla="*/ 212797 h 224999"/>
                    <a:gd name="connsiteX28" fmla="*/ 548390 w 613192"/>
                    <a:gd name="connsiteY28" fmla="*/ 212797 h 224999"/>
                    <a:gd name="connsiteX29" fmla="*/ 588051 w 613192"/>
                    <a:gd name="connsiteY29" fmla="*/ 188389 h 224999"/>
                    <a:gd name="connsiteX30" fmla="*/ 575848 w 613192"/>
                    <a:gd name="connsiteY30" fmla="*/ 99915 h 224999"/>
                    <a:gd name="connsiteX31" fmla="*/ 481271 w 613192"/>
                    <a:gd name="connsiteY31" fmla="*/ 11440 h 224999"/>
                    <a:gd name="connsiteX32" fmla="*/ 481271 w 613192"/>
                    <a:gd name="connsiteY32" fmla="*/ 2288 h 224999"/>
                    <a:gd name="connsiteX33" fmla="*/ 490423 w 613192"/>
                    <a:gd name="connsiteY33" fmla="*/ 2288 h 224999"/>
                    <a:gd name="connsiteX34" fmla="*/ 585001 w 613192"/>
                    <a:gd name="connsiteY34" fmla="*/ 90763 h 224999"/>
                    <a:gd name="connsiteX35" fmla="*/ 597203 w 613192"/>
                    <a:gd name="connsiteY35" fmla="*/ 194491 h 224999"/>
                    <a:gd name="connsiteX36" fmla="*/ 548390 w 613192"/>
                    <a:gd name="connsiteY36" fmla="*/ 225000 h 224999"/>
                    <a:gd name="connsiteX37" fmla="*/ 536186 w 613192"/>
                    <a:gd name="connsiteY37" fmla="*/ 221949 h 2249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613192" h="224999">
                      <a:moveTo>
                        <a:pt x="536186" y="221949"/>
                      </a:moveTo>
                      <a:cubicBezTo>
                        <a:pt x="499577" y="221949"/>
                        <a:pt x="462967" y="191440"/>
                        <a:pt x="450763" y="176186"/>
                      </a:cubicBezTo>
                      <a:cubicBezTo>
                        <a:pt x="444660" y="188389"/>
                        <a:pt x="438560" y="197542"/>
                        <a:pt x="426356" y="203643"/>
                      </a:cubicBezTo>
                      <a:cubicBezTo>
                        <a:pt x="386695" y="218898"/>
                        <a:pt x="319576" y="173135"/>
                        <a:pt x="301272" y="157881"/>
                      </a:cubicBezTo>
                      <a:lnTo>
                        <a:pt x="270764" y="130423"/>
                      </a:lnTo>
                      <a:cubicBezTo>
                        <a:pt x="282966" y="157881"/>
                        <a:pt x="295170" y="194491"/>
                        <a:pt x="289068" y="206695"/>
                      </a:cubicBezTo>
                      <a:cubicBezTo>
                        <a:pt x="286018" y="209746"/>
                        <a:pt x="282966" y="209746"/>
                        <a:pt x="279916" y="209746"/>
                      </a:cubicBezTo>
                      <a:cubicBezTo>
                        <a:pt x="261610" y="206695"/>
                        <a:pt x="170084" y="167034"/>
                        <a:pt x="142628" y="154831"/>
                      </a:cubicBezTo>
                      <a:cubicBezTo>
                        <a:pt x="139576" y="170085"/>
                        <a:pt x="124321" y="209746"/>
                        <a:pt x="96865" y="209746"/>
                      </a:cubicBezTo>
                      <a:lnTo>
                        <a:pt x="96865" y="209746"/>
                      </a:lnTo>
                      <a:cubicBezTo>
                        <a:pt x="63305" y="209746"/>
                        <a:pt x="2288" y="160932"/>
                        <a:pt x="2288" y="160932"/>
                      </a:cubicBezTo>
                      <a:cubicBezTo>
                        <a:pt x="-763" y="157881"/>
                        <a:pt x="-763" y="154831"/>
                        <a:pt x="2288" y="151780"/>
                      </a:cubicBezTo>
                      <a:cubicBezTo>
                        <a:pt x="5340" y="148729"/>
                        <a:pt x="8390" y="148729"/>
                        <a:pt x="11442" y="151780"/>
                      </a:cubicBezTo>
                      <a:cubicBezTo>
                        <a:pt x="26696" y="163983"/>
                        <a:pt x="75509" y="197542"/>
                        <a:pt x="99915" y="197542"/>
                      </a:cubicBezTo>
                      <a:lnTo>
                        <a:pt x="99915" y="197542"/>
                      </a:lnTo>
                      <a:cubicBezTo>
                        <a:pt x="121271" y="197542"/>
                        <a:pt x="133476" y="157881"/>
                        <a:pt x="136526" y="142627"/>
                      </a:cubicBezTo>
                      <a:cubicBezTo>
                        <a:pt x="136526" y="139576"/>
                        <a:pt x="136526" y="139576"/>
                        <a:pt x="139576" y="139576"/>
                      </a:cubicBezTo>
                      <a:cubicBezTo>
                        <a:pt x="139576" y="139576"/>
                        <a:pt x="142628" y="139576"/>
                        <a:pt x="145678" y="139576"/>
                      </a:cubicBezTo>
                      <a:cubicBezTo>
                        <a:pt x="179238" y="154831"/>
                        <a:pt x="267712" y="194491"/>
                        <a:pt x="286018" y="197542"/>
                      </a:cubicBezTo>
                      <a:cubicBezTo>
                        <a:pt x="289068" y="188389"/>
                        <a:pt x="273814" y="145678"/>
                        <a:pt x="255509" y="109068"/>
                      </a:cubicBezTo>
                      <a:cubicBezTo>
                        <a:pt x="255509" y="106017"/>
                        <a:pt x="255509" y="102966"/>
                        <a:pt x="258560" y="102966"/>
                      </a:cubicBezTo>
                      <a:cubicBezTo>
                        <a:pt x="261610" y="99915"/>
                        <a:pt x="264662" y="102966"/>
                        <a:pt x="264662" y="102966"/>
                      </a:cubicBezTo>
                      <a:lnTo>
                        <a:pt x="313474" y="148729"/>
                      </a:lnTo>
                      <a:cubicBezTo>
                        <a:pt x="350085" y="176186"/>
                        <a:pt x="401950" y="203643"/>
                        <a:pt x="429406" y="191440"/>
                      </a:cubicBezTo>
                      <a:cubicBezTo>
                        <a:pt x="438560" y="188389"/>
                        <a:pt x="447712" y="179237"/>
                        <a:pt x="450763" y="163983"/>
                      </a:cubicBezTo>
                      <a:cubicBezTo>
                        <a:pt x="450763" y="160932"/>
                        <a:pt x="453815" y="160932"/>
                        <a:pt x="453815" y="160932"/>
                      </a:cubicBezTo>
                      <a:cubicBezTo>
                        <a:pt x="456865" y="160932"/>
                        <a:pt x="456865" y="160932"/>
                        <a:pt x="459915" y="163983"/>
                      </a:cubicBezTo>
                      <a:cubicBezTo>
                        <a:pt x="459915" y="163983"/>
                        <a:pt x="505677" y="212797"/>
                        <a:pt x="545340" y="212797"/>
                      </a:cubicBezTo>
                      <a:cubicBezTo>
                        <a:pt x="545340" y="212797"/>
                        <a:pt x="548390" y="212797"/>
                        <a:pt x="548390" y="212797"/>
                      </a:cubicBezTo>
                      <a:cubicBezTo>
                        <a:pt x="563644" y="212797"/>
                        <a:pt x="575848" y="203643"/>
                        <a:pt x="588051" y="188389"/>
                      </a:cubicBezTo>
                      <a:cubicBezTo>
                        <a:pt x="603305" y="167034"/>
                        <a:pt x="615509" y="136525"/>
                        <a:pt x="575848" y="99915"/>
                      </a:cubicBezTo>
                      <a:cubicBezTo>
                        <a:pt x="530086" y="57203"/>
                        <a:pt x="481271" y="11440"/>
                        <a:pt x="481271" y="11440"/>
                      </a:cubicBezTo>
                      <a:cubicBezTo>
                        <a:pt x="478221" y="8389"/>
                        <a:pt x="478221" y="5338"/>
                        <a:pt x="481271" y="2288"/>
                      </a:cubicBezTo>
                      <a:cubicBezTo>
                        <a:pt x="484323" y="-763"/>
                        <a:pt x="487373" y="-763"/>
                        <a:pt x="490423" y="2288"/>
                      </a:cubicBezTo>
                      <a:cubicBezTo>
                        <a:pt x="490423" y="2288"/>
                        <a:pt x="542288" y="48051"/>
                        <a:pt x="585001" y="90763"/>
                      </a:cubicBezTo>
                      <a:cubicBezTo>
                        <a:pt x="633813" y="139576"/>
                        <a:pt x="606357" y="179237"/>
                        <a:pt x="597203" y="194491"/>
                      </a:cubicBezTo>
                      <a:cubicBezTo>
                        <a:pt x="585001" y="212797"/>
                        <a:pt x="569746" y="221949"/>
                        <a:pt x="548390" y="225000"/>
                      </a:cubicBezTo>
                      <a:cubicBezTo>
                        <a:pt x="536186" y="221949"/>
                        <a:pt x="536186" y="221949"/>
                        <a:pt x="536186" y="221949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0" name="任意多边形: 形状 79">
                  <a:extLst>
                    <a:ext uri="{FF2B5EF4-FFF2-40B4-BE49-F238E27FC236}">
                      <a16:creationId xmlns:a16="http://schemas.microsoft.com/office/drawing/2014/main" id="{1288CDEB-D480-4576-BFE4-214C537032A0}"/>
                    </a:ext>
                  </a:extLst>
                </p:cNvPr>
                <p:cNvSpPr/>
                <p:nvPr/>
              </p:nvSpPr>
              <p:spPr>
                <a:xfrm>
                  <a:off x="23985934" y="10206125"/>
                  <a:ext cx="905337" cy="170847"/>
                </a:xfrm>
                <a:custGeom>
                  <a:avLst/>
                  <a:gdLst>
                    <a:gd name="connsiteX0" fmla="*/ 64067 w 905337"/>
                    <a:gd name="connsiteY0" fmla="*/ 170848 h 170847"/>
                    <a:gd name="connsiteX1" fmla="*/ 12202 w 905337"/>
                    <a:gd name="connsiteY1" fmla="*/ 155593 h 170847"/>
                    <a:gd name="connsiteX2" fmla="*/ 0 w 905337"/>
                    <a:gd name="connsiteY2" fmla="*/ 131187 h 170847"/>
                    <a:gd name="connsiteX3" fmla="*/ 91525 w 905337"/>
                    <a:gd name="connsiteY3" fmla="*/ 6102 h 170847"/>
                    <a:gd name="connsiteX4" fmla="*/ 100678 w 905337"/>
                    <a:gd name="connsiteY4" fmla="*/ 6102 h 170847"/>
                    <a:gd name="connsiteX5" fmla="*/ 100678 w 905337"/>
                    <a:gd name="connsiteY5" fmla="*/ 15254 h 170847"/>
                    <a:gd name="connsiteX6" fmla="*/ 12202 w 905337"/>
                    <a:gd name="connsiteY6" fmla="*/ 131187 h 170847"/>
                    <a:gd name="connsiteX7" fmla="*/ 18304 w 905337"/>
                    <a:gd name="connsiteY7" fmla="*/ 146441 h 170847"/>
                    <a:gd name="connsiteX8" fmla="*/ 320339 w 905337"/>
                    <a:gd name="connsiteY8" fmla="*/ 33560 h 170847"/>
                    <a:gd name="connsiteX9" fmla="*/ 326439 w 905337"/>
                    <a:gd name="connsiteY9" fmla="*/ 33560 h 170847"/>
                    <a:gd name="connsiteX10" fmla="*/ 329491 w 905337"/>
                    <a:gd name="connsiteY10" fmla="*/ 36611 h 170847"/>
                    <a:gd name="connsiteX11" fmla="*/ 366102 w 905337"/>
                    <a:gd name="connsiteY11" fmla="*/ 79322 h 170847"/>
                    <a:gd name="connsiteX12" fmla="*/ 478982 w 905337"/>
                    <a:gd name="connsiteY12" fmla="*/ 18305 h 170847"/>
                    <a:gd name="connsiteX13" fmla="*/ 485084 w 905337"/>
                    <a:gd name="connsiteY13" fmla="*/ 18305 h 170847"/>
                    <a:gd name="connsiteX14" fmla="*/ 488136 w 905337"/>
                    <a:gd name="connsiteY14" fmla="*/ 24407 h 170847"/>
                    <a:gd name="connsiteX15" fmla="*/ 469829 w 905337"/>
                    <a:gd name="connsiteY15" fmla="*/ 143390 h 170847"/>
                    <a:gd name="connsiteX16" fmla="*/ 530846 w 905337"/>
                    <a:gd name="connsiteY16" fmla="*/ 140339 h 170847"/>
                    <a:gd name="connsiteX17" fmla="*/ 716949 w 905337"/>
                    <a:gd name="connsiteY17" fmla="*/ 3051 h 170847"/>
                    <a:gd name="connsiteX18" fmla="*/ 723049 w 905337"/>
                    <a:gd name="connsiteY18" fmla="*/ 0 h 170847"/>
                    <a:gd name="connsiteX19" fmla="*/ 729151 w 905337"/>
                    <a:gd name="connsiteY19" fmla="*/ 3051 h 170847"/>
                    <a:gd name="connsiteX20" fmla="*/ 787118 w 905337"/>
                    <a:gd name="connsiteY20" fmla="*/ 12203 h 170847"/>
                    <a:gd name="connsiteX21" fmla="*/ 793220 w 905337"/>
                    <a:gd name="connsiteY21" fmla="*/ 12203 h 170847"/>
                    <a:gd name="connsiteX22" fmla="*/ 793220 w 905337"/>
                    <a:gd name="connsiteY22" fmla="*/ 18305 h 170847"/>
                    <a:gd name="connsiteX23" fmla="*/ 784066 w 905337"/>
                    <a:gd name="connsiteY23" fmla="*/ 97627 h 170847"/>
                    <a:gd name="connsiteX24" fmla="*/ 787118 w 905337"/>
                    <a:gd name="connsiteY24" fmla="*/ 100679 h 170847"/>
                    <a:gd name="connsiteX25" fmla="*/ 893898 w 905337"/>
                    <a:gd name="connsiteY25" fmla="*/ 24407 h 170847"/>
                    <a:gd name="connsiteX26" fmla="*/ 903050 w 905337"/>
                    <a:gd name="connsiteY26" fmla="*/ 24407 h 170847"/>
                    <a:gd name="connsiteX27" fmla="*/ 903050 w 905337"/>
                    <a:gd name="connsiteY27" fmla="*/ 33560 h 170847"/>
                    <a:gd name="connsiteX28" fmla="*/ 787118 w 905337"/>
                    <a:gd name="connsiteY28" fmla="*/ 112882 h 170847"/>
                    <a:gd name="connsiteX29" fmla="*/ 774914 w 905337"/>
                    <a:gd name="connsiteY29" fmla="*/ 106780 h 170847"/>
                    <a:gd name="connsiteX30" fmla="*/ 781016 w 905337"/>
                    <a:gd name="connsiteY30" fmla="*/ 24407 h 170847"/>
                    <a:gd name="connsiteX31" fmla="*/ 726101 w 905337"/>
                    <a:gd name="connsiteY31" fmla="*/ 12203 h 170847"/>
                    <a:gd name="connsiteX32" fmla="*/ 536948 w 905337"/>
                    <a:gd name="connsiteY32" fmla="*/ 146441 h 170847"/>
                    <a:gd name="connsiteX33" fmla="*/ 463727 w 905337"/>
                    <a:gd name="connsiteY33" fmla="*/ 146441 h 170847"/>
                    <a:gd name="connsiteX34" fmla="*/ 469829 w 905337"/>
                    <a:gd name="connsiteY34" fmla="*/ 39662 h 170847"/>
                    <a:gd name="connsiteX35" fmla="*/ 366102 w 905337"/>
                    <a:gd name="connsiteY35" fmla="*/ 82373 h 170847"/>
                    <a:gd name="connsiteX36" fmla="*/ 326439 w 905337"/>
                    <a:gd name="connsiteY36" fmla="*/ 39662 h 170847"/>
                    <a:gd name="connsiteX37" fmla="*/ 64067 w 905337"/>
                    <a:gd name="connsiteY37" fmla="*/ 170848 h 170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905337" h="170847">
                      <a:moveTo>
                        <a:pt x="64067" y="170848"/>
                      </a:moveTo>
                      <a:cubicBezTo>
                        <a:pt x="42711" y="170848"/>
                        <a:pt x="24406" y="164746"/>
                        <a:pt x="12202" y="155593"/>
                      </a:cubicBezTo>
                      <a:cubicBezTo>
                        <a:pt x="6100" y="149491"/>
                        <a:pt x="0" y="140339"/>
                        <a:pt x="0" y="131187"/>
                      </a:cubicBezTo>
                      <a:cubicBezTo>
                        <a:pt x="0" y="82373"/>
                        <a:pt x="88473" y="9153"/>
                        <a:pt x="91525" y="6102"/>
                      </a:cubicBezTo>
                      <a:cubicBezTo>
                        <a:pt x="94576" y="3051"/>
                        <a:pt x="97626" y="3051"/>
                        <a:pt x="100678" y="6102"/>
                      </a:cubicBezTo>
                      <a:cubicBezTo>
                        <a:pt x="103728" y="9153"/>
                        <a:pt x="103728" y="12203"/>
                        <a:pt x="100678" y="15254"/>
                      </a:cubicBezTo>
                      <a:cubicBezTo>
                        <a:pt x="100678" y="15254"/>
                        <a:pt x="12202" y="88474"/>
                        <a:pt x="12202" y="131187"/>
                      </a:cubicBezTo>
                      <a:cubicBezTo>
                        <a:pt x="12202" y="137288"/>
                        <a:pt x="15254" y="143390"/>
                        <a:pt x="18304" y="146441"/>
                      </a:cubicBezTo>
                      <a:cubicBezTo>
                        <a:pt x="57965" y="180000"/>
                        <a:pt x="176949" y="149491"/>
                        <a:pt x="320339" y="33560"/>
                      </a:cubicBezTo>
                      <a:cubicBezTo>
                        <a:pt x="320339" y="33560"/>
                        <a:pt x="323389" y="30508"/>
                        <a:pt x="326439" y="33560"/>
                      </a:cubicBezTo>
                      <a:cubicBezTo>
                        <a:pt x="329491" y="33560"/>
                        <a:pt x="329491" y="36611"/>
                        <a:pt x="329491" y="36611"/>
                      </a:cubicBezTo>
                      <a:cubicBezTo>
                        <a:pt x="329491" y="36611"/>
                        <a:pt x="338643" y="73220"/>
                        <a:pt x="366102" y="79322"/>
                      </a:cubicBezTo>
                      <a:cubicBezTo>
                        <a:pt x="393558" y="88474"/>
                        <a:pt x="433219" y="67119"/>
                        <a:pt x="478982" y="18305"/>
                      </a:cubicBezTo>
                      <a:cubicBezTo>
                        <a:pt x="482034" y="15254"/>
                        <a:pt x="485084" y="15254"/>
                        <a:pt x="485084" y="18305"/>
                      </a:cubicBezTo>
                      <a:cubicBezTo>
                        <a:pt x="488136" y="21356"/>
                        <a:pt x="488136" y="21356"/>
                        <a:pt x="488136" y="24407"/>
                      </a:cubicBezTo>
                      <a:cubicBezTo>
                        <a:pt x="475931" y="48814"/>
                        <a:pt x="448473" y="122034"/>
                        <a:pt x="469829" y="143390"/>
                      </a:cubicBezTo>
                      <a:cubicBezTo>
                        <a:pt x="478982" y="152542"/>
                        <a:pt x="500338" y="152542"/>
                        <a:pt x="530846" y="140339"/>
                      </a:cubicBezTo>
                      <a:cubicBezTo>
                        <a:pt x="662032" y="88474"/>
                        <a:pt x="716949" y="3051"/>
                        <a:pt x="716949" y="3051"/>
                      </a:cubicBezTo>
                      <a:cubicBezTo>
                        <a:pt x="716949" y="0"/>
                        <a:pt x="719999" y="0"/>
                        <a:pt x="723049" y="0"/>
                      </a:cubicBezTo>
                      <a:cubicBezTo>
                        <a:pt x="726101" y="0"/>
                        <a:pt x="726101" y="0"/>
                        <a:pt x="729151" y="3051"/>
                      </a:cubicBezTo>
                      <a:cubicBezTo>
                        <a:pt x="729151" y="3051"/>
                        <a:pt x="741356" y="27457"/>
                        <a:pt x="787118" y="12203"/>
                      </a:cubicBezTo>
                      <a:cubicBezTo>
                        <a:pt x="790168" y="12203"/>
                        <a:pt x="790168" y="12203"/>
                        <a:pt x="793220" y="12203"/>
                      </a:cubicBezTo>
                      <a:cubicBezTo>
                        <a:pt x="793220" y="12203"/>
                        <a:pt x="796270" y="15254"/>
                        <a:pt x="793220" y="18305"/>
                      </a:cubicBezTo>
                      <a:cubicBezTo>
                        <a:pt x="784066" y="42712"/>
                        <a:pt x="774914" y="88474"/>
                        <a:pt x="784066" y="97627"/>
                      </a:cubicBezTo>
                      <a:cubicBezTo>
                        <a:pt x="784066" y="97627"/>
                        <a:pt x="787118" y="100679"/>
                        <a:pt x="787118" y="100679"/>
                      </a:cubicBezTo>
                      <a:cubicBezTo>
                        <a:pt x="805423" y="100679"/>
                        <a:pt x="863390" y="54916"/>
                        <a:pt x="893898" y="24407"/>
                      </a:cubicBezTo>
                      <a:cubicBezTo>
                        <a:pt x="896948" y="21356"/>
                        <a:pt x="900000" y="21356"/>
                        <a:pt x="903050" y="24407"/>
                      </a:cubicBezTo>
                      <a:cubicBezTo>
                        <a:pt x="906100" y="27457"/>
                        <a:pt x="906100" y="30508"/>
                        <a:pt x="903050" y="33560"/>
                      </a:cubicBezTo>
                      <a:cubicBezTo>
                        <a:pt x="893898" y="42712"/>
                        <a:pt x="817627" y="112882"/>
                        <a:pt x="787118" y="112882"/>
                      </a:cubicBezTo>
                      <a:cubicBezTo>
                        <a:pt x="781016" y="112882"/>
                        <a:pt x="777966" y="109831"/>
                        <a:pt x="774914" y="106780"/>
                      </a:cubicBezTo>
                      <a:cubicBezTo>
                        <a:pt x="762712" y="91525"/>
                        <a:pt x="774914" y="45763"/>
                        <a:pt x="781016" y="24407"/>
                      </a:cubicBezTo>
                      <a:cubicBezTo>
                        <a:pt x="750508" y="30508"/>
                        <a:pt x="732203" y="21356"/>
                        <a:pt x="726101" y="12203"/>
                      </a:cubicBezTo>
                      <a:cubicBezTo>
                        <a:pt x="710847" y="33560"/>
                        <a:pt x="652880" y="100679"/>
                        <a:pt x="536948" y="146441"/>
                      </a:cubicBezTo>
                      <a:cubicBezTo>
                        <a:pt x="503390" y="161695"/>
                        <a:pt x="478982" y="158644"/>
                        <a:pt x="463727" y="146441"/>
                      </a:cubicBezTo>
                      <a:cubicBezTo>
                        <a:pt x="442373" y="122034"/>
                        <a:pt x="457627" y="70170"/>
                        <a:pt x="469829" y="39662"/>
                      </a:cubicBezTo>
                      <a:cubicBezTo>
                        <a:pt x="427119" y="76271"/>
                        <a:pt x="393558" y="91525"/>
                        <a:pt x="366102" y="82373"/>
                      </a:cubicBezTo>
                      <a:cubicBezTo>
                        <a:pt x="341693" y="76271"/>
                        <a:pt x="329491" y="51865"/>
                        <a:pt x="326439" y="39662"/>
                      </a:cubicBezTo>
                      <a:cubicBezTo>
                        <a:pt x="222712" y="128136"/>
                        <a:pt x="125084" y="170848"/>
                        <a:pt x="64067" y="170848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1" name="任意多边形: 形状 80">
                  <a:extLst>
                    <a:ext uri="{FF2B5EF4-FFF2-40B4-BE49-F238E27FC236}">
                      <a16:creationId xmlns:a16="http://schemas.microsoft.com/office/drawing/2014/main" id="{7F0C9355-5FEB-4901-A862-771B36754F11}"/>
                    </a:ext>
                  </a:extLst>
                </p:cNvPr>
                <p:cNvSpPr/>
                <p:nvPr/>
              </p:nvSpPr>
              <p:spPr>
                <a:xfrm>
                  <a:off x="23869270" y="11000108"/>
                  <a:ext cx="964035" cy="243305"/>
                </a:xfrm>
                <a:custGeom>
                  <a:avLst/>
                  <a:gdLst>
                    <a:gd name="connsiteX0" fmla="*/ 571239 w 964035"/>
                    <a:gd name="connsiteY0" fmla="*/ 240254 h 243305"/>
                    <a:gd name="connsiteX1" fmla="*/ 525476 w 964035"/>
                    <a:gd name="connsiteY1" fmla="*/ 221950 h 243305"/>
                    <a:gd name="connsiteX2" fmla="*/ 498019 w 964035"/>
                    <a:gd name="connsiteY2" fmla="*/ 87712 h 243305"/>
                    <a:gd name="connsiteX3" fmla="*/ 440053 w 964035"/>
                    <a:gd name="connsiteY3" fmla="*/ 75508 h 243305"/>
                    <a:gd name="connsiteX4" fmla="*/ 418696 w 964035"/>
                    <a:gd name="connsiteY4" fmla="*/ 32797 h 243305"/>
                    <a:gd name="connsiteX5" fmla="*/ 238697 w 964035"/>
                    <a:gd name="connsiteY5" fmla="*/ 167034 h 243305"/>
                    <a:gd name="connsiteX6" fmla="*/ 98357 w 964035"/>
                    <a:gd name="connsiteY6" fmla="*/ 191441 h 243305"/>
                    <a:gd name="connsiteX7" fmla="*/ 83103 w 964035"/>
                    <a:gd name="connsiteY7" fmla="*/ 170085 h 243305"/>
                    <a:gd name="connsiteX8" fmla="*/ 107509 w 964035"/>
                    <a:gd name="connsiteY8" fmla="*/ 99916 h 243305"/>
                    <a:gd name="connsiteX9" fmla="*/ 15984 w 964035"/>
                    <a:gd name="connsiteY9" fmla="*/ 130424 h 243305"/>
                    <a:gd name="connsiteX10" fmla="*/ 15984 w 964035"/>
                    <a:gd name="connsiteY10" fmla="*/ 130424 h 243305"/>
                    <a:gd name="connsiteX11" fmla="*/ 730 w 964035"/>
                    <a:gd name="connsiteY11" fmla="*/ 121271 h 243305"/>
                    <a:gd name="connsiteX12" fmla="*/ 104459 w 964035"/>
                    <a:gd name="connsiteY12" fmla="*/ 2288 h 243305"/>
                    <a:gd name="connsiteX13" fmla="*/ 113612 w 964035"/>
                    <a:gd name="connsiteY13" fmla="*/ 2288 h 243305"/>
                    <a:gd name="connsiteX14" fmla="*/ 113612 w 964035"/>
                    <a:gd name="connsiteY14" fmla="*/ 11440 h 243305"/>
                    <a:gd name="connsiteX15" fmla="*/ 12934 w 964035"/>
                    <a:gd name="connsiteY15" fmla="*/ 118220 h 243305"/>
                    <a:gd name="connsiteX16" fmla="*/ 12934 w 964035"/>
                    <a:gd name="connsiteY16" fmla="*/ 118220 h 243305"/>
                    <a:gd name="connsiteX17" fmla="*/ 19036 w 964035"/>
                    <a:gd name="connsiteY17" fmla="*/ 118220 h 243305"/>
                    <a:gd name="connsiteX18" fmla="*/ 125816 w 964035"/>
                    <a:gd name="connsiteY18" fmla="*/ 75508 h 243305"/>
                    <a:gd name="connsiteX19" fmla="*/ 131918 w 964035"/>
                    <a:gd name="connsiteY19" fmla="*/ 75508 h 243305"/>
                    <a:gd name="connsiteX20" fmla="*/ 131918 w 964035"/>
                    <a:gd name="connsiteY20" fmla="*/ 81610 h 243305"/>
                    <a:gd name="connsiteX21" fmla="*/ 95307 w 964035"/>
                    <a:gd name="connsiteY21" fmla="*/ 167034 h 243305"/>
                    <a:gd name="connsiteX22" fmla="*/ 104459 w 964035"/>
                    <a:gd name="connsiteY22" fmla="*/ 182288 h 243305"/>
                    <a:gd name="connsiteX23" fmla="*/ 418696 w 964035"/>
                    <a:gd name="connsiteY23" fmla="*/ 14491 h 243305"/>
                    <a:gd name="connsiteX24" fmla="*/ 424798 w 964035"/>
                    <a:gd name="connsiteY24" fmla="*/ 11440 h 243305"/>
                    <a:gd name="connsiteX25" fmla="*/ 427848 w 964035"/>
                    <a:gd name="connsiteY25" fmla="*/ 17543 h 243305"/>
                    <a:gd name="connsiteX26" fmla="*/ 446155 w 964035"/>
                    <a:gd name="connsiteY26" fmla="*/ 66356 h 243305"/>
                    <a:gd name="connsiteX27" fmla="*/ 501070 w 964035"/>
                    <a:gd name="connsiteY27" fmla="*/ 75508 h 243305"/>
                    <a:gd name="connsiteX28" fmla="*/ 507172 w 964035"/>
                    <a:gd name="connsiteY28" fmla="*/ 75508 h 243305"/>
                    <a:gd name="connsiteX29" fmla="*/ 510222 w 964035"/>
                    <a:gd name="connsiteY29" fmla="*/ 81610 h 243305"/>
                    <a:gd name="connsiteX30" fmla="*/ 531578 w 964035"/>
                    <a:gd name="connsiteY30" fmla="*/ 215848 h 243305"/>
                    <a:gd name="connsiteX31" fmla="*/ 580391 w 964035"/>
                    <a:gd name="connsiteY31" fmla="*/ 231102 h 243305"/>
                    <a:gd name="connsiteX32" fmla="*/ 797002 w 964035"/>
                    <a:gd name="connsiteY32" fmla="*/ 84662 h 243305"/>
                    <a:gd name="connsiteX33" fmla="*/ 803104 w 964035"/>
                    <a:gd name="connsiteY33" fmla="*/ 84662 h 243305"/>
                    <a:gd name="connsiteX34" fmla="*/ 806154 w 964035"/>
                    <a:gd name="connsiteY34" fmla="*/ 90763 h 243305"/>
                    <a:gd name="connsiteX35" fmla="*/ 815306 w 964035"/>
                    <a:gd name="connsiteY35" fmla="*/ 188390 h 243305"/>
                    <a:gd name="connsiteX36" fmla="*/ 827511 w 964035"/>
                    <a:gd name="connsiteY36" fmla="*/ 194491 h 243305"/>
                    <a:gd name="connsiteX37" fmla="*/ 952595 w 964035"/>
                    <a:gd name="connsiteY37" fmla="*/ 118220 h 243305"/>
                    <a:gd name="connsiteX38" fmla="*/ 961747 w 964035"/>
                    <a:gd name="connsiteY38" fmla="*/ 118220 h 243305"/>
                    <a:gd name="connsiteX39" fmla="*/ 961747 w 964035"/>
                    <a:gd name="connsiteY39" fmla="*/ 127373 h 243305"/>
                    <a:gd name="connsiteX40" fmla="*/ 827511 w 964035"/>
                    <a:gd name="connsiteY40" fmla="*/ 206695 h 243305"/>
                    <a:gd name="connsiteX41" fmla="*/ 806154 w 964035"/>
                    <a:gd name="connsiteY41" fmla="*/ 197542 h 243305"/>
                    <a:gd name="connsiteX42" fmla="*/ 793950 w 964035"/>
                    <a:gd name="connsiteY42" fmla="*/ 106017 h 243305"/>
                    <a:gd name="connsiteX43" fmla="*/ 583443 w 964035"/>
                    <a:gd name="connsiteY43" fmla="*/ 243305 h 243305"/>
                    <a:gd name="connsiteX44" fmla="*/ 571239 w 964035"/>
                    <a:gd name="connsiteY44" fmla="*/ 240254 h 243305"/>
                    <a:gd name="connsiteX45" fmla="*/ 12934 w 964035"/>
                    <a:gd name="connsiteY45" fmla="*/ 115170 h 243305"/>
                    <a:gd name="connsiteX46" fmla="*/ 12934 w 964035"/>
                    <a:gd name="connsiteY46" fmla="*/ 115170 h 243305"/>
                    <a:gd name="connsiteX47" fmla="*/ 12934 w 964035"/>
                    <a:gd name="connsiteY47" fmla="*/ 115170 h 243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964035" h="243305">
                      <a:moveTo>
                        <a:pt x="571239" y="240254"/>
                      </a:moveTo>
                      <a:cubicBezTo>
                        <a:pt x="552934" y="240254"/>
                        <a:pt x="537680" y="234153"/>
                        <a:pt x="525476" y="221950"/>
                      </a:cubicBezTo>
                      <a:cubicBezTo>
                        <a:pt x="491917" y="185339"/>
                        <a:pt x="494967" y="112119"/>
                        <a:pt x="498019" y="87712"/>
                      </a:cubicBezTo>
                      <a:cubicBezTo>
                        <a:pt x="473611" y="90763"/>
                        <a:pt x="455307" y="87712"/>
                        <a:pt x="440053" y="75508"/>
                      </a:cubicBezTo>
                      <a:cubicBezTo>
                        <a:pt x="424798" y="63305"/>
                        <a:pt x="418696" y="45000"/>
                        <a:pt x="418696" y="32797"/>
                      </a:cubicBezTo>
                      <a:cubicBezTo>
                        <a:pt x="372934" y="87712"/>
                        <a:pt x="305815" y="133474"/>
                        <a:pt x="238697" y="167034"/>
                      </a:cubicBezTo>
                      <a:cubicBezTo>
                        <a:pt x="174628" y="197542"/>
                        <a:pt x="119714" y="206695"/>
                        <a:pt x="98357" y="191441"/>
                      </a:cubicBezTo>
                      <a:cubicBezTo>
                        <a:pt x="89205" y="185339"/>
                        <a:pt x="86155" y="179237"/>
                        <a:pt x="83103" y="170085"/>
                      </a:cubicBezTo>
                      <a:cubicBezTo>
                        <a:pt x="80053" y="148729"/>
                        <a:pt x="95307" y="118220"/>
                        <a:pt x="107509" y="99916"/>
                      </a:cubicBezTo>
                      <a:cubicBezTo>
                        <a:pt x="86155" y="112119"/>
                        <a:pt x="49544" y="130424"/>
                        <a:pt x="15984" y="130424"/>
                      </a:cubicBezTo>
                      <a:cubicBezTo>
                        <a:pt x="15984" y="130424"/>
                        <a:pt x="15984" y="130424"/>
                        <a:pt x="15984" y="130424"/>
                      </a:cubicBezTo>
                      <a:cubicBezTo>
                        <a:pt x="6832" y="130424"/>
                        <a:pt x="3782" y="127373"/>
                        <a:pt x="730" y="121271"/>
                      </a:cubicBezTo>
                      <a:cubicBezTo>
                        <a:pt x="-8422" y="99916"/>
                        <a:pt x="70901" y="29746"/>
                        <a:pt x="104459" y="2288"/>
                      </a:cubicBezTo>
                      <a:cubicBezTo>
                        <a:pt x="107509" y="-763"/>
                        <a:pt x="110561" y="-763"/>
                        <a:pt x="113612" y="2288"/>
                      </a:cubicBezTo>
                      <a:cubicBezTo>
                        <a:pt x="116664" y="5339"/>
                        <a:pt x="116664" y="8390"/>
                        <a:pt x="113612" y="11440"/>
                      </a:cubicBezTo>
                      <a:cubicBezTo>
                        <a:pt x="55647" y="60254"/>
                        <a:pt x="9884" y="109068"/>
                        <a:pt x="12934" y="118220"/>
                      </a:cubicBezTo>
                      <a:lnTo>
                        <a:pt x="12934" y="118220"/>
                      </a:lnTo>
                      <a:cubicBezTo>
                        <a:pt x="12934" y="118220"/>
                        <a:pt x="12934" y="118220"/>
                        <a:pt x="19036" y="118220"/>
                      </a:cubicBezTo>
                      <a:cubicBezTo>
                        <a:pt x="67849" y="115170"/>
                        <a:pt x="125816" y="75508"/>
                        <a:pt x="125816" y="75508"/>
                      </a:cubicBezTo>
                      <a:cubicBezTo>
                        <a:pt x="128866" y="72457"/>
                        <a:pt x="131918" y="75508"/>
                        <a:pt x="131918" y="75508"/>
                      </a:cubicBezTo>
                      <a:cubicBezTo>
                        <a:pt x="134968" y="78559"/>
                        <a:pt x="134968" y="81610"/>
                        <a:pt x="131918" y="81610"/>
                      </a:cubicBezTo>
                      <a:cubicBezTo>
                        <a:pt x="131918" y="81610"/>
                        <a:pt x="89205" y="133474"/>
                        <a:pt x="95307" y="167034"/>
                      </a:cubicBezTo>
                      <a:cubicBezTo>
                        <a:pt x="95307" y="173136"/>
                        <a:pt x="98357" y="179237"/>
                        <a:pt x="104459" y="182288"/>
                      </a:cubicBezTo>
                      <a:cubicBezTo>
                        <a:pt x="141070" y="206695"/>
                        <a:pt x="314969" y="142627"/>
                        <a:pt x="418696" y="14491"/>
                      </a:cubicBezTo>
                      <a:cubicBezTo>
                        <a:pt x="418696" y="11440"/>
                        <a:pt x="421748" y="11440"/>
                        <a:pt x="424798" y="11440"/>
                      </a:cubicBezTo>
                      <a:cubicBezTo>
                        <a:pt x="427848" y="11440"/>
                        <a:pt x="427848" y="14491"/>
                        <a:pt x="427848" y="17543"/>
                      </a:cubicBezTo>
                      <a:cubicBezTo>
                        <a:pt x="427848" y="17543"/>
                        <a:pt x="427848" y="48051"/>
                        <a:pt x="446155" y="66356"/>
                      </a:cubicBezTo>
                      <a:cubicBezTo>
                        <a:pt x="458357" y="78559"/>
                        <a:pt x="476663" y="81610"/>
                        <a:pt x="501070" y="75508"/>
                      </a:cubicBezTo>
                      <a:cubicBezTo>
                        <a:pt x="504120" y="75508"/>
                        <a:pt x="504120" y="75508"/>
                        <a:pt x="507172" y="75508"/>
                      </a:cubicBezTo>
                      <a:cubicBezTo>
                        <a:pt x="507172" y="75508"/>
                        <a:pt x="510222" y="78559"/>
                        <a:pt x="510222" y="81610"/>
                      </a:cubicBezTo>
                      <a:cubicBezTo>
                        <a:pt x="510222" y="81610"/>
                        <a:pt x="494967" y="176187"/>
                        <a:pt x="531578" y="215848"/>
                      </a:cubicBezTo>
                      <a:cubicBezTo>
                        <a:pt x="543782" y="228051"/>
                        <a:pt x="559036" y="234153"/>
                        <a:pt x="580391" y="231102"/>
                      </a:cubicBezTo>
                      <a:cubicBezTo>
                        <a:pt x="681070" y="218899"/>
                        <a:pt x="797002" y="87712"/>
                        <a:pt x="797002" y="84662"/>
                      </a:cubicBezTo>
                      <a:cubicBezTo>
                        <a:pt x="800052" y="81610"/>
                        <a:pt x="800052" y="81610"/>
                        <a:pt x="803104" y="84662"/>
                      </a:cubicBezTo>
                      <a:cubicBezTo>
                        <a:pt x="806154" y="84662"/>
                        <a:pt x="806154" y="87712"/>
                        <a:pt x="806154" y="90763"/>
                      </a:cubicBezTo>
                      <a:cubicBezTo>
                        <a:pt x="803104" y="112119"/>
                        <a:pt x="797002" y="170085"/>
                        <a:pt x="815306" y="188390"/>
                      </a:cubicBezTo>
                      <a:cubicBezTo>
                        <a:pt x="818358" y="191441"/>
                        <a:pt x="824459" y="194491"/>
                        <a:pt x="827511" y="194491"/>
                      </a:cubicBezTo>
                      <a:cubicBezTo>
                        <a:pt x="870221" y="194491"/>
                        <a:pt x="952595" y="118220"/>
                        <a:pt x="952595" y="118220"/>
                      </a:cubicBezTo>
                      <a:cubicBezTo>
                        <a:pt x="955647" y="115170"/>
                        <a:pt x="958697" y="115170"/>
                        <a:pt x="961747" y="118220"/>
                      </a:cubicBezTo>
                      <a:cubicBezTo>
                        <a:pt x="964799" y="121271"/>
                        <a:pt x="964799" y="124322"/>
                        <a:pt x="961747" y="127373"/>
                      </a:cubicBezTo>
                      <a:cubicBezTo>
                        <a:pt x="958697" y="130424"/>
                        <a:pt x="873273" y="206695"/>
                        <a:pt x="827511" y="206695"/>
                      </a:cubicBezTo>
                      <a:cubicBezTo>
                        <a:pt x="818358" y="206695"/>
                        <a:pt x="812256" y="203644"/>
                        <a:pt x="806154" y="197542"/>
                      </a:cubicBezTo>
                      <a:cubicBezTo>
                        <a:pt x="787850" y="179237"/>
                        <a:pt x="790900" y="133474"/>
                        <a:pt x="793950" y="106017"/>
                      </a:cubicBezTo>
                      <a:cubicBezTo>
                        <a:pt x="760392" y="139576"/>
                        <a:pt x="668866" y="231102"/>
                        <a:pt x="583443" y="243305"/>
                      </a:cubicBezTo>
                      <a:cubicBezTo>
                        <a:pt x="577341" y="240254"/>
                        <a:pt x="574291" y="240254"/>
                        <a:pt x="571239" y="240254"/>
                      </a:cubicBezTo>
                      <a:close/>
                      <a:moveTo>
                        <a:pt x="12934" y="115170"/>
                      </a:moveTo>
                      <a:lnTo>
                        <a:pt x="12934" y="115170"/>
                      </a:lnTo>
                      <a:lnTo>
                        <a:pt x="12934" y="115170"/>
                      </a:lnTo>
                      <a:close/>
                    </a:path>
                  </a:pathLst>
                </a:custGeom>
                <a:solidFill>
                  <a:srgbClr val="38343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: 形状 81">
                  <a:extLst>
                    <a:ext uri="{FF2B5EF4-FFF2-40B4-BE49-F238E27FC236}">
                      <a16:creationId xmlns:a16="http://schemas.microsoft.com/office/drawing/2014/main" id="{741989EC-5659-4240-B7A8-2A40BCDC5010}"/>
                    </a:ext>
                  </a:extLst>
                </p:cNvPr>
                <p:cNvSpPr/>
                <p:nvPr/>
              </p:nvSpPr>
              <p:spPr>
                <a:xfrm>
                  <a:off x="25233729" y="10944431"/>
                  <a:ext cx="365879" cy="381355"/>
                </a:xfrm>
                <a:custGeom>
                  <a:avLst/>
                  <a:gdLst>
                    <a:gd name="connsiteX0" fmla="*/ 256272 w 365879"/>
                    <a:gd name="connsiteY0" fmla="*/ 375254 h 381355"/>
                    <a:gd name="connsiteX1" fmla="*/ 115932 w 365879"/>
                    <a:gd name="connsiteY1" fmla="*/ 295932 h 381355"/>
                    <a:gd name="connsiteX2" fmla="*/ 76271 w 365879"/>
                    <a:gd name="connsiteY2" fmla="*/ 308136 h 381355"/>
                    <a:gd name="connsiteX3" fmla="*/ 0 w 365879"/>
                    <a:gd name="connsiteY3" fmla="*/ 222711 h 381355"/>
                    <a:gd name="connsiteX4" fmla="*/ 3052 w 365879"/>
                    <a:gd name="connsiteY4" fmla="*/ 216610 h 381355"/>
                    <a:gd name="connsiteX5" fmla="*/ 9152 w 365879"/>
                    <a:gd name="connsiteY5" fmla="*/ 219660 h 381355"/>
                    <a:gd name="connsiteX6" fmla="*/ 76271 w 365879"/>
                    <a:gd name="connsiteY6" fmla="*/ 298983 h 381355"/>
                    <a:gd name="connsiteX7" fmla="*/ 109832 w 365879"/>
                    <a:gd name="connsiteY7" fmla="*/ 286779 h 381355"/>
                    <a:gd name="connsiteX8" fmla="*/ 118984 w 365879"/>
                    <a:gd name="connsiteY8" fmla="*/ 286779 h 381355"/>
                    <a:gd name="connsiteX9" fmla="*/ 262374 w 365879"/>
                    <a:gd name="connsiteY9" fmla="*/ 366102 h 381355"/>
                    <a:gd name="connsiteX10" fmla="*/ 280678 w 365879"/>
                    <a:gd name="connsiteY10" fmla="*/ 353899 h 381355"/>
                    <a:gd name="connsiteX11" fmla="*/ 234916 w 365879"/>
                    <a:gd name="connsiteY11" fmla="*/ 228814 h 381355"/>
                    <a:gd name="connsiteX12" fmla="*/ 234916 w 365879"/>
                    <a:gd name="connsiteY12" fmla="*/ 222711 h 381355"/>
                    <a:gd name="connsiteX13" fmla="*/ 241018 w 365879"/>
                    <a:gd name="connsiteY13" fmla="*/ 219660 h 381355"/>
                    <a:gd name="connsiteX14" fmla="*/ 350847 w 365879"/>
                    <a:gd name="connsiteY14" fmla="*/ 237966 h 381355"/>
                    <a:gd name="connsiteX15" fmla="*/ 329491 w 365879"/>
                    <a:gd name="connsiteY15" fmla="*/ 170848 h 381355"/>
                    <a:gd name="connsiteX16" fmla="*/ 271526 w 365879"/>
                    <a:gd name="connsiteY16" fmla="*/ 6101 h 381355"/>
                    <a:gd name="connsiteX17" fmla="*/ 277628 w 365879"/>
                    <a:gd name="connsiteY17" fmla="*/ 0 h 381355"/>
                    <a:gd name="connsiteX18" fmla="*/ 283728 w 365879"/>
                    <a:gd name="connsiteY18" fmla="*/ 6101 h 381355"/>
                    <a:gd name="connsiteX19" fmla="*/ 341695 w 365879"/>
                    <a:gd name="connsiteY19" fmla="*/ 167797 h 381355"/>
                    <a:gd name="connsiteX20" fmla="*/ 356950 w 365879"/>
                    <a:gd name="connsiteY20" fmla="*/ 250169 h 381355"/>
                    <a:gd name="connsiteX21" fmla="*/ 259322 w 365879"/>
                    <a:gd name="connsiteY21" fmla="*/ 241017 h 381355"/>
                    <a:gd name="connsiteX22" fmla="*/ 289831 w 365879"/>
                    <a:gd name="connsiteY22" fmla="*/ 363051 h 381355"/>
                    <a:gd name="connsiteX23" fmla="*/ 265424 w 365879"/>
                    <a:gd name="connsiteY23" fmla="*/ 381356 h 381355"/>
                    <a:gd name="connsiteX24" fmla="*/ 256272 w 365879"/>
                    <a:gd name="connsiteY24" fmla="*/ 375254 h 381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65879" h="381355">
                      <a:moveTo>
                        <a:pt x="256272" y="375254"/>
                      </a:moveTo>
                      <a:cubicBezTo>
                        <a:pt x="207457" y="375254"/>
                        <a:pt x="134238" y="311186"/>
                        <a:pt x="115932" y="295932"/>
                      </a:cubicBezTo>
                      <a:cubicBezTo>
                        <a:pt x="103730" y="305085"/>
                        <a:pt x="91525" y="311186"/>
                        <a:pt x="76271" y="308136"/>
                      </a:cubicBezTo>
                      <a:cubicBezTo>
                        <a:pt x="33560" y="298983"/>
                        <a:pt x="3052" y="225763"/>
                        <a:pt x="0" y="222711"/>
                      </a:cubicBezTo>
                      <a:cubicBezTo>
                        <a:pt x="0" y="219660"/>
                        <a:pt x="0" y="216610"/>
                        <a:pt x="3052" y="216610"/>
                      </a:cubicBezTo>
                      <a:cubicBezTo>
                        <a:pt x="6102" y="216610"/>
                        <a:pt x="9152" y="216610"/>
                        <a:pt x="9152" y="219660"/>
                      </a:cubicBezTo>
                      <a:cubicBezTo>
                        <a:pt x="9152" y="219660"/>
                        <a:pt x="39661" y="289831"/>
                        <a:pt x="76271" y="298983"/>
                      </a:cubicBezTo>
                      <a:cubicBezTo>
                        <a:pt x="88475" y="302034"/>
                        <a:pt x="97627" y="295932"/>
                        <a:pt x="109832" y="286779"/>
                      </a:cubicBezTo>
                      <a:cubicBezTo>
                        <a:pt x="112882" y="283728"/>
                        <a:pt x="115932" y="283728"/>
                        <a:pt x="118984" y="286779"/>
                      </a:cubicBezTo>
                      <a:cubicBezTo>
                        <a:pt x="118984" y="286779"/>
                        <a:pt x="216611" y="375254"/>
                        <a:pt x="262374" y="366102"/>
                      </a:cubicBezTo>
                      <a:cubicBezTo>
                        <a:pt x="271526" y="366102"/>
                        <a:pt x="274576" y="360000"/>
                        <a:pt x="280678" y="353899"/>
                      </a:cubicBezTo>
                      <a:cubicBezTo>
                        <a:pt x="311187" y="298983"/>
                        <a:pt x="237966" y="228814"/>
                        <a:pt x="234916" y="228814"/>
                      </a:cubicBezTo>
                      <a:cubicBezTo>
                        <a:pt x="231866" y="225763"/>
                        <a:pt x="231866" y="222711"/>
                        <a:pt x="234916" y="222711"/>
                      </a:cubicBezTo>
                      <a:cubicBezTo>
                        <a:pt x="234916" y="219660"/>
                        <a:pt x="237966" y="219660"/>
                        <a:pt x="241018" y="219660"/>
                      </a:cubicBezTo>
                      <a:cubicBezTo>
                        <a:pt x="265424" y="228814"/>
                        <a:pt x="332543" y="247119"/>
                        <a:pt x="350847" y="237966"/>
                      </a:cubicBezTo>
                      <a:cubicBezTo>
                        <a:pt x="360000" y="234915"/>
                        <a:pt x="344745" y="204406"/>
                        <a:pt x="329491" y="170848"/>
                      </a:cubicBezTo>
                      <a:cubicBezTo>
                        <a:pt x="308137" y="128135"/>
                        <a:pt x="280678" y="70169"/>
                        <a:pt x="271526" y="6101"/>
                      </a:cubicBezTo>
                      <a:cubicBezTo>
                        <a:pt x="271526" y="3051"/>
                        <a:pt x="274576" y="0"/>
                        <a:pt x="277628" y="0"/>
                      </a:cubicBezTo>
                      <a:cubicBezTo>
                        <a:pt x="280678" y="0"/>
                        <a:pt x="283728" y="3051"/>
                        <a:pt x="283728" y="6101"/>
                      </a:cubicBezTo>
                      <a:cubicBezTo>
                        <a:pt x="292882" y="67118"/>
                        <a:pt x="320339" y="125085"/>
                        <a:pt x="341695" y="167797"/>
                      </a:cubicBezTo>
                      <a:cubicBezTo>
                        <a:pt x="363052" y="213559"/>
                        <a:pt x="375254" y="237966"/>
                        <a:pt x="356950" y="250169"/>
                      </a:cubicBezTo>
                      <a:cubicBezTo>
                        <a:pt x="335593" y="262373"/>
                        <a:pt x="286780" y="250169"/>
                        <a:pt x="259322" y="241017"/>
                      </a:cubicBezTo>
                      <a:cubicBezTo>
                        <a:pt x="280678" y="265423"/>
                        <a:pt x="314237" y="317288"/>
                        <a:pt x="289831" y="363051"/>
                      </a:cubicBezTo>
                      <a:cubicBezTo>
                        <a:pt x="283728" y="372203"/>
                        <a:pt x="274576" y="381356"/>
                        <a:pt x="265424" y="381356"/>
                      </a:cubicBezTo>
                      <a:cubicBezTo>
                        <a:pt x="259322" y="375254"/>
                        <a:pt x="259322" y="375254"/>
                        <a:pt x="256272" y="375254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: 形状 82">
                  <a:extLst>
                    <a:ext uri="{FF2B5EF4-FFF2-40B4-BE49-F238E27FC236}">
                      <a16:creationId xmlns:a16="http://schemas.microsoft.com/office/drawing/2014/main" id="{12625304-6E0E-43F4-A31A-BE39FE32EDD6}"/>
                    </a:ext>
                  </a:extLst>
                </p:cNvPr>
                <p:cNvSpPr/>
                <p:nvPr/>
              </p:nvSpPr>
              <p:spPr>
                <a:xfrm>
                  <a:off x="24730339" y="7893583"/>
                  <a:ext cx="756609" cy="729152"/>
                </a:xfrm>
                <a:custGeom>
                  <a:avLst/>
                  <a:gdLst>
                    <a:gd name="connsiteX0" fmla="*/ 625424 w 756609"/>
                    <a:gd name="connsiteY0" fmla="*/ 713898 h 729152"/>
                    <a:gd name="connsiteX1" fmla="*/ 387458 w 756609"/>
                    <a:gd name="connsiteY1" fmla="*/ 631525 h 729152"/>
                    <a:gd name="connsiteX2" fmla="*/ 158644 w 756609"/>
                    <a:gd name="connsiteY2" fmla="*/ 729152 h 729152"/>
                    <a:gd name="connsiteX3" fmla="*/ 164747 w 756609"/>
                    <a:gd name="connsiteY3" fmla="*/ 475932 h 729152"/>
                    <a:gd name="connsiteX4" fmla="*/ 0 w 756609"/>
                    <a:gd name="connsiteY4" fmla="*/ 286779 h 729152"/>
                    <a:gd name="connsiteX5" fmla="*/ 241018 w 756609"/>
                    <a:gd name="connsiteY5" fmla="*/ 216610 h 729152"/>
                    <a:gd name="connsiteX6" fmla="*/ 372204 w 756609"/>
                    <a:gd name="connsiteY6" fmla="*/ 0 h 729152"/>
                    <a:gd name="connsiteX7" fmla="*/ 512542 w 756609"/>
                    <a:gd name="connsiteY7" fmla="*/ 207457 h 729152"/>
                    <a:gd name="connsiteX8" fmla="*/ 756610 w 756609"/>
                    <a:gd name="connsiteY8" fmla="*/ 265424 h 729152"/>
                    <a:gd name="connsiteX9" fmla="*/ 604067 w 756609"/>
                    <a:gd name="connsiteY9" fmla="*/ 463729 h 7291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56609" h="729152">
                      <a:moveTo>
                        <a:pt x="625424" y="713898"/>
                      </a:moveTo>
                      <a:lnTo>
                        <a:pt x="387458" y="631525"/>
                      </a:lnTo>
                      <a:lnTo>
                        <a:pt x="158644" y="729152"/>
                      </a:lnTo>
                      <a:lnTo>
                        <a:pt x="164747" y="475932"/>
                      </a:lnTo>
                      <a:lnTo>
                        <a:pt x="0" y="286779"/>
                      </a:lnTo>
                      <a:lnTo>
                        <a:pt x="241018" y="216610"/>
                      </a:lnTo>
                      <a:lnTo>
                        <a:pt x="372204" y="0"/>
                      </a:lnTo>
                      <a:lnTo>
                        <a:pt x="512542" y="207457"/>
                      </a:lnTo>
                      <a:lnTo>
                        <a:pt x="756610" y="265424"/>
                      </a:lnTo>
                      <a:lnTo>
                        <a:pt x="604067" y="463729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84" name="图形 1">
                  <a:extLst>
                    <a:ext uri="{FF2B5EF4-FFF2-40B4-BE49-F238E27FC236}">
                      <a16:creationId xmlns:a16="http://schemas.microsoft.com/office/drawing/2014/main" id="{7F4E64A0-95FC-4D49-A6D8-47A999CF4EDC}"/>
                    </a:ext>
                  </a:extLst>
                </p:cNvPr>
                <p:cNvGrpSpPr/>
                <p:nvPr/>
              </p:nvGrpSpPr>
              <p:grpSpPr>
                <a:xfrm>
                  <a:off x="24312373" y="10621041"/>
                  <a:ext cx="311186" cy="366101"/>
                  <a:chOff x="24312373" y="10621041"/>
                  <a:chExt cx="311186" cy="366101"/>
                </a:xfrm>
              </p:grpSpPr>
              <p:grpSp>
                <p:nvGrpSpPr>
                  <p:cNvPr id="115" name="图形 1">
                    <a:extLst>
                      <a:ext uri="{FF2B5EF4-FFF2-40B4-BE49-F238E27FC236}">
                        <a16:creationId xmlns:a16="http://schemas.microsoft.com/office/drawing/2014/main" id="{6078493C-B258-4C57-87DA-C3F1689383E5}"/>
                      </a:ext>
                    </a:extLst>
                  </p:cNvPr>
                  <p:cNvGrpSpPr/>
                  <p:nvPr/>
                </p:nvGrpSpPr>
                <p:grpSpPr>
                  <a:xfrm>
                    <a:off x="24312373" y="10621041"/>
                    <a:ext cx="311186" cy="366101"/>
                    <a:chOff x="24312373" y="10621041"/>
                    <a:chExt cx="311186" cy="366101"/>
                  </a:xfrm>
                </p:grpSpPr>
                <p:sp>
                  <p:nvSpPr>
                    <p:cNvPr id="117" name="任意多边形: 形状 116">
                      <a:extLst>
                        <a:ext uri="{FF2B5EF4-FFF2-40B4-BE49-F238E27FC236}">
                          <a16:creationId xmlns:a16="http://schemas.microsoft.com/office/drawing/2014/main" id="{0B9FBE3F-2B59-4AD6-8BCD-25297AEE93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4422205" y="10621041"/>
                      <a:ext cx="88473" cy="137288"/>
                    </a:xfrm>
                    <a:custGeom>
                      <a:avLst/>
                      <a:gdLst>
                        <a:gd name="connsiteX0" fmla="*/ 76271 w 88473"/>
                        <a:gd name="connsiteY0" fmla="*/ 0 h 137288"/>
                        <a:gd name="connsiteX1" fmla="*/ 12202 w 88473"/>
                        <a:gd name="connsiteY1" fmla="*/ 0 h 137288"/>
                        <a:gd name="connsiteX2" fmla="*/ 0 w 88473"/>
                        <a:gd name="connsiteY2" fmla="*/ 12203 h 137288"/>
                        <a:gd name="connsiteX3" fmla="*/ 0 w 88473"/>
                        <a:gd name="connsiteY3" fmla="*/ 125085 h 137288"/>
                        <a:gd name="connsiteX4" fmla="*/ 12202 w 88473"/>
                        <a:gd name="connsiteY4" fmla="*/ 137288 h 137288"/>
                        <a:gd name="connsiteX5" fmla="*/ 76271 w 88473"/>
                        <a:gd name="connsiteY5" fmla="*/ 137288 h 137288"/>
                        <a:gd name="connsiteX6" fmla="*/ 88473 w 88473"/>
                        <a:gd name="connsiteY6" fmla="*/ 125085 h 137288"/>
                        <a:gd name="connsiteX7" fmla="*/ 88473 w 88473"/>
                        <a:gd name="connsiteY7" fmla="*/ 12203 h 137288"/>
                        <a:gd name="connsiteX8" fmla="*/ 76271 w 88473"/>
                        <a:gd name="connsiteY8" fmla="*/ 0 h 1372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473" h="137288">
                          <a:moveTo>
                            <a:pt x="76271" y="0"/>
                          </a:moveTo>
                          <a:lnTo>
                            <a:pt x="12202" y="0"/>
                          </a:lnTo>
                          <a:cubicBezTo>
                            <a:pt x="6102" y="0"/>
                            <a:pt x="0" y="6102"/>
                            <a:pt x="0" y="12203"/>
                          </a:cubicBezTo>
                          <a:lnTo>
                            <a:pt x="0" y="125085"/>
                          </a:lnTo>
                          <a:cubicBezTo>
                            <a:pt x="0" y="131186"/>
                            <a:pt x="6102" y="137288"/>
                            <a:pt x="12202" y="137288"/>
                          </a:cubicBezTo>
                          <a:lnTo>
                            <a:pt x="76271" y="137288"/>
                          </a:lnTo>
                          <a:cubicBezTo>
                            <a:pt x="82373" y="137288"/>
                            <a:pt x="88473" y="131186"/>
                            <a:pt x="88473" y="125085"/>
                          </a:cubicBezTo>
                          <a:lnTo>
                            <a:pt x="88473" y="12203"/>
                          </a:lnTo>
                          <a:cubicBezTo>
                            <a:pt x="88473" y="6102"/>
                            <a:pt x="82373" y="0"/>
                            <a:pt x="76271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8" name="任意多边形: 形状 117">
                      <a:extLst>
                        <a:ext uri="{FF2B5EF4-FFF2-40B4-BE49-F238E27FC236}">
                          <a16:creationId xmlns:a16="http://schemas.microsoft.com/office/drawing/2014/main" id="{A34302FC-35C9-40A5-A14D-68F6E5BAEE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4312373" y="10675955"/>
                      <a:ext cx="311186" cy="311186"/>
                    </a:xfrm>
                    <a:custGeom>
                      <a:avLst/>
                      <a:gdLst>
                        <a:gd name="connsiteX0" fmla="*/ 155594 w 311186"/>
                        <a:gd name="connsiteY0" fmla="*/ 0 h 311186"/>
                        <a:gd name="connsiteX1" fmla="*/ 0 w 311186"/>
                        <a:gd name="connsiteY1" fmla="*/ 155593 h 311186"/>
                        <a:gd name="connsiteX2" fmla="*/ 155594 w 311186"/>
                        <a:gd name="connsiteY2" fmla="*/ 311187 h 311186"/>
                        <a:gd name="connsiteX3" fmla="*/ 311187 w 311186"/>
                        <a:gd name="connsiteY3" fmla="*/ 155593 h 311186"/>
                        <a:gd name="connsiteX4" fmla="*/ 155594 w 311186"/>
                        <a:gd name="connsiteY4" fmla="*/ 0 h 3111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11186" h="311186">
                          <a:moveTo>
                            <a:pt x="155594" y="0"/>
                          </a:moveTo>
                          <a:cubicBezTo>
                            <a:pt x="70171" y="0"/>
                            <a:pt x="0" y="70170"/>
                            <a:pt x="0" y="155593"/>
                          </a:cubicBezTo>
                          <a:cubicBezTo>
                            <a:pt x="0" y="241018"/>
                            <a:pt x="70171" y="311187"/>
                            <a:pt x="155594" y="311187"/>
                          </a:cubicBezTo>
                          <a:cubicBezTo>
                            <a:pt x="241018" y="311187"/>
                            <a:pt x="311187" y="241018"/>
                            <a:pt x="311187" y="155593"/>
                          </a:cubicBezTo>
                          <a:cubicBezTo>
                            <a:pt x="311187" y="70170"/>
                            <a:pt x="241018" y="0"/>
                            <a:pt x="155594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16" name="任意多边形: 形状 115">
                    <a:extLst>
                      <a:ext uri="{FF2B5EF4-FFF2-40B4-BE49-F238E27FC236}">
                        <a16:creationId xmlns:a16="http://schemas.microsoft.com/office/drawing/2014/main" id="{5EEA0C99-86BB-44EA-8CA1-8B70C23DB5E7}"/>
                      </a:ext>
                    </a:extLst>
                  </p:cNvPr>
                  <p:cNvSpPr/>
                  <p:nvPr/>
                </p:nvSpPr>
                <p:spPr>
                  <a:xfrm>
                    <a:off x="24495149" y="10730596"/>
                    <a:ext cx="82764" cy="131461"/>
                  </a:xfrm>
                  <a:custGeom>
                    <a:avLst/>
                    <a:gdLst>
                      <a:gd name="connsiteX0" fmla="*/ 67394 w 82764"/>
                      <a:gd name="connsiteY0" fmla="*/ 131461 h 131461"/>
                      <a:gd name="connsiteX1" fmla="*/ 67394 w 82764"/>
                      <a:gd name="connsiteY1" fmla="*/ 131461 h 131461"/>
                      <a:gd name="connsiteX2" fmla="*/ 52139 w 82764"/>
                      <a:gd name="connsiteY2" fmla="*/ 116207 h 131461"/>
                      <a:gd name="connsiteX3" fmla="*/ 6377 w 82764"/>
                      <a:gd name="connsiteY3" fmla="*/ 27733 h 131461"/>
                      <a:gd name="connsiteX4" fmla="*/ 3326 w 82764"/>
                      <a:gd name="connsiteY4" fmla="*/ 6376 h 131461"/>
                      <a:gd name="connsiteX5" fmla="*/ 24683 w 82764"/>
                      <a:gd name="connsiteY5" fmla="*/ 3326 h 131461"/>
                      <a:gd name="connsiteX6" fmla="*/ 82648 w 82764"/>
                      <a:gd name="connsiteY6" fmla="*/ 119258 h 131461"/>
                      <a:gd name="connsiteX7" fmla="*/ 67394 w 82764"/>
                      <a:gd name="connsiteY7" fmla="*/ 131461 h 131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764" h="131461">
                        <a:moveTo>
                          <a:pt x="67394" y="131461"/>
                        </a:moveTo>
                        <a:cubicBezTo>
                          <a:pt x="67394" y="131461"/>
                          <a:pt x="67394" y="131461"/>
                          <a:pt x="67394" y="131461"/>
                        </a:cubicBezTo>
                        <a:cubicBezTo>
                          <a:pt x="58241" y="131461"/>
                          <a:pt x="52139" y="125360"/>
                          <a:pt x="52139" y="116207"/>
                        </a:cubicBezTo>
                        <a:cubicBezTo>
                          <a:pt x="55191" y="61292"/>
                          <a:pt x="6377" y="27733"/>
                          <a:pt x="6377" y="27733"/>
                        </a:cubicBezTo>
                        <a:cubicBezTo>
                          <a:pt x="274" y="21631"/>
                          <a:pt x="-2776" y="12478"/>
                          <a:pt x="3326" y="6376"/>
                        </a:cubicBezTo>
                        <a:cubicBezTo>
                          <a:pt x="9429" y="275"/>
                          <a:pt x="18581" y="-2776"/>
                          <a:pt x="24683" y="3326"/>
                        </a:cubicBezTo>
                        <a:cubicBezTo>
                          <a:pt x="27733" y="6376"/>
                          <a:pt x="85700" y="46038"/>
                          <a:pt x="82648" y="119258"/>
                        </a:cubicBezTo>
                        <a:cubicBezTo>
                          <a:pt x="82648" y="125360"/>
                          <a:pt x="76546" y="131461"/>
                          <a:pt x="67394" y="131461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050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85" name="图形 1">
                  <a:extLst>
                    <a:ext uri="{FF2B5EF4-FFF2-40B4-BE49-F238E27FC236}">
                      <a16:creationId xmlns:a16="http://schemas.microsoft.com/office/drawing/2014/main" id="{80E7E916-B51D-4F36-AE85-C2C4E183AE8C}"/>
                    </a:ext>
                  </a:extLst>
                </p:cNvPr>
                <p:cNvGrpSpPr/>
                <p:nvPr/>
              </p:nvGrpSpPr>
              <p:grpSpPr>
                <a:xfrm>
                  <a:off x="24882882" y="11313583"/>
                  <a:ext cx="311186" cy="369151"/>
                  <a:chOff x="24882882" y="11313583"/>
                  <a:chExt cx="311186" cy="369151"/>
                </a:xfrm>
              </p:grpSpPr>
              <p:grpSp>
                <p:nvGrpSpPr>
                  <p:cNvPr id="111" name="图形 1">
                    <a:extLst>
                      <a:ext uri="{FF2B5EF4-FFF2-40B4-BE49-F238E27FC236}">
                        <a16:creationId xmlns:a16="http://schemas.microsoft.com/office/drawing/2014/main" id="{D3F9814B-9577-41DE-94C1-FF99DD612358}"/>
                      </a:ext>
                    </a:extLst>
                  </p:cNvPr>
                  <p:cNvGrpSpPr/>
                  <p:nvPr/>
                </p:nvGrpSpPr>
                <p:grpSpPr>
                  <a:xfrm>
                    <a:off x="24882882" y="11313583"/>
                    <a:ext cx="311186" cy="369151"/>
                    <a:chOff x="24882882" y="11313583"/>
                    <a:chExt cx="311186" cy="369151"/>
                  </a:xfrm>
                </p:grpSpPr>
                <p:sp>
                  <p:nvSpPr>
                    <p:cNvPr id="113" name="任意多边形: 形状 112">
                      <a:extLst>
                        <a:ext uri="{FF2B5EF4-FFF2-40B4-BE49-F238E27FC236}">
                          <a16:creationId xmlns:a16="http://schemas.microsoft.com/office/drawing/2014/main" id="{1E245118-49EA-4B5C-91CA-689C7861FC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4995763" y="11313583"/>
                      <a:ext cx="88475" cy="137288"/>
                    </a:xfrm>
                    <a:custGeom>
                      <a:avLst/>
                      <a:gdLst>
                        <a:gd name="connsiteX0" fmla="*/ 76271 w 88475"/>
                        <a:gd name="connsiteY0" fmla="*/ 0 h 137288"/>
                        <a:gd name="connsiteX1" fmla="*/ 12204 w 88475"/>
                        <a:gd name="connsiteY1" fmla="*/ 0 h 137288"/>
                        <a:gd name="connsiteX2" fmla="*/ 0 w 88475"/>
                        <a:gd name="connsiteY2" fmla="*/ 12203 h 137288"/>
                        <a:gd name="connsiteX3" fmla="*/ 0 w 88475"/>
                        <a:gd name="connsiteY3" fmla="*/ 125084 h 137288"/>
                        <a:gd name="connsiteX4" fmla="*/ 12204 w 88475"/>
                        <a:gd name="connsiteY4" fmla="*/ 137288 h 137288"/>
                        <a:gd name="connsiteX5" fmla="*/ 76271 w 88475"/>
                        <a:gd name="connsiteY5" fmla="*/ 137288 h 137288"/>
                        <a:gd name="connsiteX6" fmla="*/ 88475 w 88475"/>
                        <a:gd name="connsiteY6" fmla="*/ 125084 h 137288"/>
                        <a:gd name="connsiteX7" fmla="*/ 88475 w 88475"/>
                        <a:gd name="connsiteY7" fmla="*/ 12203 h 137288"/>
                        <a:gd name="connsiteX8" fmla="*/ 76271 w 88475"/>
                        <a:gd name="connsiteY8" fmla="*/ 0 h 1372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475" h="137288">
                          <a:moveTo>
                            <a:pt x="76271" y="0"/>
                          </a:moveTo>
                          <a:lnTo>
                            <a:pt x="12204" y="0"/>
                          </a:lnTo>
                          <a:cubicBezTo>
                            <a:pt x="6102" y="0"/>
                            <a:pt x="0" y="6101"/>
                            <a:pt x="0" y="12203"/>
                          </a:cubicBezTo>
                          <a:lnTo>
                            <a:pt x="0" y="125084"/>
                          </a:lnTo>
                          <a:cubicBezTo>
                            <a:pt x="0" y="131186"/>
                            <a:pt x="6102" y="137288"/>
                            <a:pt x="12204" y="137288"/>
                          </a:cubicBezTo>
                          <a:lnTo>
                            <a:pt x="76271" y="137288"/>
                          </a:lnTo>
                          <a:cubicBezTo>
                            <a:pt x="82373" y="137288"/>
                            <a:pt x="88475" y="131186"/>
                            <a:pt x="88475" y="125084"/>
                          </a:cubicBezTo>
                          <a:lnTo>
                            <a:pt x="88475" y="12203"/>
                          </a:lnTo>
                          <a:cubicBezTo>
                            <a:pt x="85423" y="6101"/>
                            <a:pt x="82373" y="0"/>
                            <a:pt x="76271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4" name="任意多边形: 形状 113">
                      <a:extLst>
                        <a:ext uri="{FF2B5EF4-FFF2-40B4-BE49-F238E27FC236}">
                          <a16:creationId xmlns:a16="http://schemas.microsoft.com/office/drawing/2014/main" id="{7DB60490-3734-4F72-8D8C-132DEE4FB0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4882882" y="11371549"/>
                      <a:ext cx="311186" cy="311185"/>
                    </a:xfrm>
                    <a:custGeom>
                      <a:avLst/>
                      <a:gdLst>
                        <a:gd name="connsiteX0" fmla="*/ 155594 w 311186"/>
                        <a:gd name="connsiteY0" fmla="*/ 0 h 311185"/>
                        <a:gd name="connsiteX1" fmla="*/ 0 w 311186"/>
                        <a:gd name="connsiteY1" fmla="*/ 155593 h 311185"/>
                        <a:gd name="connsiteX2" fmla="*/ 155594 w 311186"/>
                        <a:gd name="connsiteY2" fmla="*/ 311186 h 311185"/>
                        <a:gd name="connsiteX3" fmla="*/ 311187 w 311186"/>
                        <a:gd name="connsiteY3" fmla="*/ 155593 h 311185"/>
                        <a:gd name="connsiteX4" fmla="*/ 155594 w 311186"/>
                        <a:gd name="connsiteY4" fmla="*/ 0 h 31118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11186" h="311185">
                          <a:moveTo>
                            <a:pt x="155594" y="0"/>
                          </a:moveTo>
                          <a:cubicBezTo>
                            <a:pt x="70169" y="0"/>
                            <a:pt x="0" y="70169"/>
                            <a:pt x="0" y="155593"/>
                          </a:cubicBezTo>
                          <a:cubicBezTo>
                            <a:pt x="0" y="241017"/>
                            <a:pt x="70169" y="311186"/>
                            <a:pt x="155594" y="311186"/>
                          </a:cubicBezTo>
                          <a:cubicBezTo>
                            <a:pt x="241018" y="311186"/>
                            <a:pt x="311187" y="241017"/>
                            <a:pt x="311187" y="155593"/>
                          </a:cubicBezTo>
                          <a:cubicBezTo>
                            <a:pt x="311187" y="70169"/>
                            <a:pt x="241018" y="0"/>
                            <a:pt x="155594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12" name="任意多边形: 形状 111">
                    <a:extLst>
                      <a:ext uri="{FF2B5EF4-FFF2-40B4-BE49-F238E27FC236}">
                        <a16:creationId xmlns:a16="http://schemas.microsoft.com/office/drawing/2014/main" id="{BA37B024-E3D9-4EE6-9094-E68EA3CB5568}"/>
                      </a:ext>
                    </a:extLst>
                  </p:cNvPr>
                  <p:cNvSpPr/>
                  <p:nvPr/>
                </p:nvSpPr>
                <p:spPr>
                  <a:xfrm>
                    <a:off x="25065658" y="11423138"/>
                    <a:ext cx="82763" cy="131461"/>
                  </a:xfrm>
                  <a:custGeom>
                    <a:avLst/>
                    <a:gdLst>
                      <a:gd name="connsiteX0" fmla="*/ 67394 w 82763"/>
                      <a:gd name="connsiteY0" fmla="*/ 131462 h 131461"/>
                      <a:gd name="connsiteX1" fmla="*/ 67394 w 82763"/>
                      <a:gd name="connsiteY1" fmla="*/ 131462 h 131461"/>
                      <a:gd name="connsiteX2" fmla="*/ 52139 w 82763"/>
                      <a:gd name="connsiteY2" fmla="*/ 116207 h 131461"/>
                      <a:gd name="connsiteX3" fmla="*/ 6377 w 82763"/>
                      <a:gd name="connsiteY3" fmla="*/ 27733 h 131461"/>
                      <a:gd name="connsiteX4" fmla="*/ 3326 w 82763"/>
                      <a:gd name="connsiteY4" fmla="*/ 6377 h 131461"/>
                      <a:gd name="connsiteX5" fmla="*/ 24681 w 82763"/>
                      <a:gd name="connsiteY5" fmla="*/ 3326 h 131461"/>
                      <a:gd name="connsiteX6" fmla="*/ 82648 w 82763"/>
                      <a:gd name="connsiteY6" fmla="*/ 119259 h 131461"/>
                      <a:gd name="connsiteX7" fmla="*/ 67394 w 82763"/>
                      <a:gd name="connsiteY7" fmla="*/ 131462 h 131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763" h="131461">
                        <a:moveTo>
                          <a:pt x="67394" y="131462"/>
                        </a:moveTo>
                        <a:cubicBezTo>
                          <a:pt x="67394" y="131462"/>
                          <a:pt x="67394" y="131462"/>
                          <a:pt x="67394" y="131462"/>
                        </a:cubicBezTo>
                        <a:cubicBezTo>
                          <a:pt x="58241" y="131462"/>
                          <a:pt x="52139" y="125360"/>
                          <a:pt x="52139" y="116207"/>
                        </a:cubicBezTo>
                        <a:cubicBezTo>
                          <a:pt x="55189" y="61292"/>
                          <a:pt x="6377" y="27733"/>
                          <a:pt x="6377" y="27733"/>
                        </a:cubicBezTo>
                        <a:cubicBezTo>
                          <a:pt x="274" y="21631"/>
                          <a:pt x="-2776" y="12479"/>
                          <a:pt x="3326" y="6377"/>
                        </a:cubicBezTo>
                        <a:cubicBezTo>
                          <a:pt x="9427" y="275"/>
                          <a:pt x="18581" y="-2775"/>
                          <a:pt x="24681" y="3326"/>
                        </a:cubicBezTo>
                        <a:cubicBezTo>
                          <a:pt x="27733" y="6377"/>
                          <a:pt x="85698" y="46037"/>
                          <a:pt x="82648" y="119259"/>
                        </a:cubicBezTo>
                        <a:cubicBezTo>
                          <a:pt x="82648" y="125360"/>
                          <a:pt x="76546" y="131462"/>
                          <a:pt x="67394" y="131462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050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86" name="图形 1">
                  <a:extLst>
                    <a:ext uri="{FF2B5EF4-FFF2-40B4-BE49-F238E27FC236}">
                      <a16:creationId xmlns:a16="http://schemas.microsoft.com/office/drawing/2014/main" id="{392C69D2-0192-4AB8-9EDD-8FC79D93F742}"/>
                    </a:ext>
                  </a:extLst>
                </p:cNvPr>
                <p:cNvGrpSpPr/>
                <p:nvPr/>
              </p:nvGrpSpPr>
              <p:grpSpPr>
                <a:xfrm>
                  <a:off x="25319153" y="10437990"/>
                  <a:ext cx="311186" cy="366101"/>
                  <a:chOff x="25319153" y="10437990"/>
                  <a:chExt cx="311186" cy="366101"/>
                </a:xfrm>
              </p:grpSpPr>
              <p:grpSp>
                <p:nvGrpSpPr>
                  <p:cNvPr id="107" name="图形 1">
                    <a:extLst>
                      <a:ext uri="{FF2B5EF4-FFF2-40B4-BE49-F238E27FC236}">
                        <a16:creationId xmlns:a16="http://schemas.microsoft.com/office/drawing/2014/main" id="{9BAFEBD1-A29F-4491-8FFF-1255FFCEEEFA}"/>
                      </a:ext>
                    </a:extLst>
                  </p:cNvPr>
                  <p:cNvGrpSpPr/>
                  <p:nvPr/>
                </p:nvGrpSpPr>
                <p:grpSpPr>
                  <a:xfrm>
                    <a:off x="25319153" y="10437990"/>
                    <a:ext cx="311186" cy="366101"/>
                    <a:chOff x="25319153" y="10437990"/>
                    <a:chExt cx="311186" cy="366101"/>
                  </a:xfrm>
                </p:grpSpPr>
                <p:sp>
                  <p:nvSpPr>
                    <p:cNvPr id="109" name="任意多边形: 形状 108">
                      <a:extLst>
                        <a:ext uri="{FF2B5EF4-FFF2-40B4-BE49-F238E27FC236}">
                          <a16:creationId xmlns:a16="http://schemas.microsoft.com/office/drawing/2014/main" id="{6011EB18-7D27-4967-B0D4-11EC7A449B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428984" y="10437990"/>
                      <a:ext cx="88473" cy="137288"/>
                    </a:xfrm>
                    <a:custGeom>
                      <a:avLst/>
                      <a:gdLst>
                        <a:gd name="connsiteX0" fmla="*/ 76271 w 88473"/>
                        <a:gd name="connsiteY0" fmla="*/ 0 h 137288"/>
                        <a:gd name="connsiteX1" fmla="*/ 12202 w 88473"/>
                        <a:gd name="connsiteY1" fmla="*/ 0 h 137288"/>
                        <a:gd name="connsiteX2" fmla="*/ 0 w 88473"/>
                        <a:gd name="connsiteY2" fmla="*/ 12203 h 137288"/>
                        <a:gd name="connsiteX3" fmla="*/ 0 w 88473"/>
                        <a:gd name="connsiteY3" fmla="*/ 125085 h 137288"/>
                        <a:gd name="connsiteX4" fmla="*/ 12202 w 88473"/>
                        <a:gd name="connsiteY4" fmla="*/ 137288 h 137288"/>
                        <a:gd name="connsiteX5" fmla="*/ 76271 w 88473"/>
                        <a:gd name="connsiteY5" fmla="*/ 137288 h 137288"/>
                        <a:gd name="connsiteX6" fmla="*/ 88473 w 88473"/>
                        <a:gd name="connsiteY6" fmla="*/ 125085 h 137288"/>
                        <a:gd name="connsiteX7" fmla="*/ 88473 w 88473"/>
                        <a:gd name="connsiteY7" fmla="*/ 12203 h 137288"/>
                        <a:gd name="connsiteX8" fmla="*/ 76271 w 88473"/>
                        <a:gd name="connsiteY8" fmla="*/ 0 h 1372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473" h="137288">
                          <a:moveTo>
                            <a:pt x="76271" y="0"/>
                          </a:moveTo>
                          <a:lnTo>
                            <a:pt x="12202" y="0"/>
                          </a:lnTo>
                          <a:cubicBezTo>
                            <a:pt x="6102" y="0"/>
                            <a:pt x="0" y="6102"/>
                            <a:pt x="0" y="12203"/>
                          </a:cubicBezTo>
                          <a:lnTo>
                            <a:pt x="0" y="125085"/>
                          </a:lnTo>
                          <a:cubicBezTo>
                            <a:pt x="0" y="131186"/>
                            <a:pt x="6102" y="137288"/>
                            <a:pt x="12202" y="137288"/>
                          </a:cubicBezTo>
                          <a:lnTo>
                            <a:pt x="76271" y="137288"/>
                          </a:lnTo>
                          <a:cubicBezTo>
                            <a:pt x="82373" y="137288"/>
                            <a:pt x="88473" y="131186"/>
                            <a:pt x="88473" y="125085"/>
                          </a:cubicBezTo>
                          <a:lnTo>
                            <a:pt x="88473" y="12203"/>
                          </a:lnTo>
                          <a:cubicBezTo>
                            <a:pt x="85423" y="6102"/>
                            <a:pt x="82373" y="0"/>
                            <a:pt x="76271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0" name="任意多边形: 形状 109">
                      <a:extLst>
                        <a:ext uri="{FF2B5EF4-FFF2-40B4-BE49-F238E27FC236}">
                          <a16:creationId xmlns:a16="http://schemas.microsoft.com/office/drawing/2014/main" id="{9ECCA867-9153-416A-8533-23FF17524D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319153" y="10492905"/>
                      <a:ext cx="311186" cy="311186"/>
                    </a:xfrm>
                    <a:custGeom>
                      <a:avLst/>
                      <a:gdLst>
                        <a:gd name="connsiteX0" fmla="*/ 155594 w 311186"/>
                        <a:gd name="connsiteY0" fmla="*/ 0 h 311186"/>
                        <a:gd name="connsiteX1" fmla="*/ 0 w 311186"/>
                        <a:gd name="connsiteY1" fmla="*/ 155593 h 311186"/>
                        <a:gd name="connsiteX2" fmla="*/ 155594 w 311186"/>
                        <a:gd name="connsiteY2" fmla="*/ 311187 h 311186"/>
                        <a:gd name="connsiteX3" fmla="*/ 311187 w 311186"/>
                        <a:gd name="connsiteY3" fmla="*/ 155593 h 311186"/>
                        <a:gd name="connsiteX4" fmla="*/ 155594 w 311186"/>
                        <a:gd name="connsiteY4" fmla="*/ 0 h 3111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11186" h="311186">
                          <a:moveTo>
                            <a:pt x="155594" y="0"/>
                          </a:moveTo>
                          <a:cubicBezTo>
                            <a:pt x="70171" y="0"/>
                            <a:pt x="0" y="70170"/>
                            <a:pt x="0" y="155593"/>
                          </a:cubicBezTo>
                          <a:cubicBezTo>
                            <a:pt x="0" y="241018"/>
                            <a:pt x="70171" y="311187"/>
                            <a:pt x="155594" y="311187"/>
                          </a:cubicBezTo>
                          <a:cubicBezTo>
                            <a:pt x="241018" y="311187"/>
                            <a:pt x="311187" y="241018"/>
                            <a:pt x="311187" y="155593"/>
                          </a:cubicBezTo>
                          <a:cubicBezTo>
                            <a:pt x="308137" y="70170"/>
                            <a:pt x="241018" y="0"/>
                            <a:pt x="155594" y="0"/>
                          </a:cubicBezTo>
                          <a:close/>
                        </a:path>
                      </a:pathLst>
                    </a:custGeom>
                    <a:solidFill>
                      <a:srgbClr val="7F95BC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08" name="任意多边形: 形状 107">
                    <a:extLst>
                      <a:ext uri="{FF2B5EF4-FFF2-40B4-BE49-F238E27FC236}">
                        <a16:creationId xmlns:a16="http://schemas.microsoft.com/office/drawing/2014/main" id="{E1E6E1A9-FDD2-4E1F-925F-96CF41C2A8CB}"/>
                      </a:ext>
                    </a:extLst>
                  </p:cNvPr>
                  <p:cNvSpPr/>
                  <p:nvPr/>
                </p:nvSpPr>
                <p:spPr>
                  <a:xfrm>
                    <a:off x="25498878" y="10547545"/>
                    <a:ext cx="82764" cy="131461"/>
                  </a:xfrm>
                  <a:custGeom>
                    <a:avLst/>
                    <a:gdLst>
                      <a:gd name="connsiteX0" fmla="*/ 67394 w 82764"/>
                      <a:gd name="connsiteY0" fmla="*/ 131461 h 131461"/>
                      <a:gd name="connsiteX1" fmla="*/ 67394 w 82764"/>
                      <a:gd name="connsiteY1" fmla="*/ 131461 h 131461"/>
                      <a:gd name="connsiteX2" fmla="*/ 52140 w 82764"/>
                      <a:gd name="connsiteY2" fmla="*/ 116207 h 131461"/>
                      <a:gd name="connsiteX3" fmla="*/ 6377 w 82764"/>
                      <a:gd name="connsiteY3" fmla="*/ 27733 h 131461"/>
                      <a:gd name="connsiteX4" fmla="*/ 3325 w 82764"/>
                      <a:gd name="connsiteY4" fmla="*/ 6376 h 131461"/>
                      <a:gd name="connsiteX5" fmla="*/ 24681 w 82764"/>
                      <a:gd name="connsiteY5" fmla="*/ 3326 h 131461"/>
                      <a:gd name="connsiteX6" fmla="*/ 82648 w 82764"/>
                      <a:gd name="connsiteY6" fmla="*/ 119258 h 131461"/>
                      <a:gd name="connsiteX7" fmla="*/ 67394 w 82764"/>
                      <a:gd name="connsiteY7" fmla="*/ 131461 h 131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764" h="131461">
                        <a:moveTo>
                          <a:pt x="67394" y="131461"/>
                        </a:moveTo>
                        <a:lnTo>
                          <a:pt x="67394" y="131461"/>
                        </a:lnTo>
                        <a:cubicBezTo>
                          <a:pt x="58242" y="131461"/>
                          <a:pt x="52140" y="125360"/>
                          <a:pt x="52140" y="116207"/>
                        </a:cubicBezTo>
                        <a:cubicBezTo>
                          <a:pt x="55190" y="61292"/>
                          <a:pt x="6377" y="27733"/>
                          <a:pt x="6377" y="27733"/>
                        </a:cubicBezTo>
                        <a:cubicBezTo>
                          <a:pt x="275" y="21631"/>
                          <a:pt x="-2775" y="12478"/>
                          <a:pt x="3325" y="6376"/>
                        </a:cubicBezTo>
                        <a:cubicBezTo>
                          <a:pt x="9427" y="275"/>
                          <a:pt x="18579" y="-2776"/>
                          <a:pt x="24681" y="3326"/>
                        </a:cubicBezTo>
                        <a:cubicBezTo>
                          <a:pt x="27733" y="6376"/>
                          <a:pt x="85698" y="46038"/>
                          <a:pt x="82648" y="119258"/>
                        </a:cubicBezTo>
                        <a:cubicBezTo>
                          <a:pt x="82648" y="125360"/>
                          <a:pt x="76546" y="131461"/>
                          <a:pt x="67394" y="131461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050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87" name="图形 1">
                  <a:extLst>
                    <a:ext uri="{FF2B5EF4-FFF2-40B4-BE49-F238E27FC236}">
                      <a16:creationId xmlns:a16="http://schemas.microsoft.com/office/drawing/2014/main" id="{64EF92EF-619F-4935-B93A-4F062B7D6739}"/>
                    </a:ext>
                  </a:extLst>
                </p:cNvPr>
                <p:cNvGrpSpPr/>
                <p:nvPr/>
              </p:nvGrpSpPr>
              <p:grpSpPr>
                <a:xfrm>
                  <a:off x="24040849" y="11411210"/>
                  <a:ext cx="311186" cy="366101"/>
                  <a:chOff x="24040849" y="11411210"/>
                  <a:chExt cx="311186" cy="366101"/>
                </a:xfrm>
              </p:grpSpPr>
              <p:grpSp>
                <p:nvGrpSpPr>
                  <p:cNvPr id="103" name="图形 1">
                    <a:extLst>
                      <a:ext uri="{FF2B5EF4-FFF2-40B4-BE49-F238E27FC236}">
                        <a16:creationId xmlns:a16="http://schemas.microsoft.com/office/drawing/2014/main" id="{97A6AD22-F581-4427-A9E5-2885F47FF30A}"/>
                      </a:ext>
                    </a:extLst>
                  </p:cNvPr>
                  <p:cNvGrpSpPr/>
                  <p:nvPr/>
                </p:nvGrpSpPr>
                <p:grpSpPr>
                  <a:xfrm>
                    <a:off x="24040849" y="11411210"/>
                    <a:ext cx="311186" cy="366101"/>
                    <a:chOff x="24040849" y="11411210"/>
                    <a:chExt cx="311186" cy="366101"/>
                  </a:xfrm>
                </p:grpSpPr>
                <p:sp>
                  <p:nvSpPr>
                    <p:cNvPr id="105" name="任意多边形: 形状 104">
                      <a:extLst>
                        <a:ext uri="{FF2B5EF4-FFF2-40B4-BE49-F238E27FC236}">
                          <a16:creationId xmlns:a16="http://schemas.microsoft.com/office/drawing/2014/main" id="{E6291C86-F498-4513-A66E-DB8A9418E7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4150678" y="11411210"/>
                      <a:ext cx="88475" cy="137288"/>
                    </a:xfrm>
                    <a:custGeom>
                      <a:avLst/>
                      <a:gdLst>
                        <a:gd name="connsiteX0" fmla="*/ 76271 w 88475"/>
                        <a:gd name="connsiteY0" fmla="*/ 0 h 137288"/>
                        <a:gd name="connsiteX1" fmla="*/ 12204 w 88475"/>
                        <a:gd name="connsiteY1" fmla="*/ 0 h 137288"/>
                        <a:gd name="connsiteX2" fmla="*/ 0 w 88475"/>
                        <a:gd name="connsiteY2" fmla="*/ 12203 h 137288"/>
                        <a:gd name="connsiteX3" fmla="*/ 0 w 88475"/>
                        <a:gd name="connsiteY3" fmla="*/ 125085 h 137288"/>
                        <a:gd name="connsiteX4" fmla="*/ 12204 w 88475"/>
                        <a:gd name="connsiteY4" fmla="*/ 137288 h 137288"/>
                        <a:gd name="connsiteX5" fmla="*/ 76271 w 88475"/>
                        <a:gd name="connsiteY5" fmla="*/ 137288 h 137288"/>
                        <a:gd name="connsiteX6" fmla="*/ 88475 w 88475"/>
                        <a:gd name="connsiteY6" fmla="*/ 125085 h 137288"/>
                        <a:gd name="connsiteX7" fmla="*/ 88475 w 88475"/>
                        <a:gd name="connsiteY7" fmla="*/ 12203 h 137288"/>
                        <a:gd name="connsiteX8" fmla="*/ 76271 w 88475"/>
                        <a:gd name="connsiteY8" fmla="*/ 0 h 1372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475" h="137288">
                          <a:moveTo>
                            <a:pt x="76271" y="0"/>
                          </a:moveTo>
                          <a:lnTo>
                            <a:pt x="12204" y="0"/>
                          </a:lnTo>
                          <a:cubicBezTo>
                            <a:pt x="6102" y="0"/>
                            <a:pt x="0" y="6102"/>
                            <a:pt x="0" y="12203"/>
                          </a:cubicBezTo>
                          <a:lnTo>
                            <a:pt x="0" y="125085"/>
                          </a:lnTo>
                          <a:cubicBezTo>
                            <a:pt x="0" y="131187"/>
                            <a:pt x="6102" y="137288"/>
                            <a:pt x="12204" y="137288"/>
                          </a:cubicBezTo>
                          <a:lnTo>
                            <a:pt x="76271" y="137288"/>
                          </a:lnTo>
                          <a:cubicBezTo>
                            <a:pt x="82373" y="137288"/>
                            <a:pt x="88475" y="131187"/>
                            <a:pt x="88475" y="125085"/>
                          </a:cubicBezTo>
                          <a:lnTo>
                            <a:pt x="88475" y="12203"/>
                          </a:lnTo>
                          <a:cubicBezTo>
                            <a:pt x="88475" y="6102"/>
                            <a:pt x="82373" y="0"/>
                            <a:pt x="76271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6" name="任意多边形: 形状 105">
                      <a:extLst>
                        <a:ext uri="{FF2B5EF4-FFF2-40B4-BE49-F238E27FC236}">
                          <a16:creationId xmlns:a16="http://schemas.microsoft.com/office/drawing/2014/main" id="{9E6A0AB5-8666-4A9C-A406-4B1587B729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4040849" y="11466126"/>
                      <a:ext cx="311186" cy="311185"/>
                    </a:xfrm>
                    <a:custGeom>
                      <a:avLst/>
                      <a:gdLst>
                        <a:gd name="connsiteX0" fmla="*/ 155592 w 311186"/>
                        <a:gd name="connsiteY0" fmla="*/ 0 h 311185"/>
                        <a:gd name="connsiteX1" fmla="*/ 0 w 311186"/>
                        <a:gd name="connsiteY1" fmla="*/ 155592 h 311185"/>
                        <a:gd name="connsiteX2" fmla="*/ 155592 w 311186"/>
                        <a:gd name="connsiteY2" fmla="*/ 311186 h 311185"/>
                        <a:gd name="connsiteX3" fmla="*/ 311187 w 311186"/>
                        <a:gd name="connsiteY3" fmla="*/ 155592 h 311185"/>
                        <a:gd name="connsiteX4" fmla="*/ 155592 w 311186"/>
                        <a:gd name="connsiteY4" fmla="*/ 0 h 31118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11186" h="311185">
                          <a:moveTo>
                            <a:pt x="155592" y="0"/>
                          </a:moveTo>
                          <a:cubicBezTo>
                            <a:pt x="70169" y="0"/>
                            <a:pt x="0" y="70169"/>
                            <a:pt x="0" y="155592"/>
                          </a:cubicBezTo>
                          <a:cubicBezTo>
                            <a:pt x="0" y="241017"/>
                            <a:pt x="70169" y="311186"/>
                            <a:pt x="155592" y="311186"/>
                          </a:cubicBezTo>
                          <a:cubicBezTo>
                            <a:pt x="241016" y="311186"/>
                            <a:pt x="311187" y="241017"/>
                            <a:pt x="311187" y="155592"/>
                          </a:cubicBezTo>
                          <a:cubicBezTo>
                            <a:pt x="311187" y="70169"/>
                            <a:pt x="241016" y="0"/>
                            <a:pt x="155592" y="0"/>
                          </a:cubicBezTo>
                          <a:close/>
                        </a:path>
                      </a:pathLst>
                    </a:custGeom>
                    <a:solidFill>
                      <a:srgbClr val="7F95BC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04" name="任意多边形: 形状 103">
                    <a:extLst>
                      <a:ext uri="{FF2B5EF4-FFF2-40B4-BE49-F238E27FC236}">
                        <a16:creationId xmlns:a16="http://schemas.microsoft.com/office/drawing/2014/main" id="{37F789A5-4ECC-445E-925A-82827DE2F624}"/>
                      </a:ext>
                    </a:extLst>
                  </p:cNvPr>
                  <p:cNvSpPr/>
                  <p:nvPr/>
                </p:nvSpPr>
                <p:spPr>
                  <a:xfrm>
                    <a:off x="24223624" y="11520765"/>
                    <a:ext cx="82765" cy="131461"/>
                  </a:xfrm>
                  <a:custGeom>
                    <a:avLst/>
                    <a:gdLst>
                      <a:gd name="connsiteX0" fmla="*/ 67395 w 82765"/>
                      <a:gd name="connsiteY0" fmla="*/ 131461 h 131461"/>
                      <a:gd name="connsiteX1" fmla="*/ 67395 w 82765"/>
                      <a:gd name="connsiteY1" fmla="*/ 131461 h 131461"/>
                      <a:gd name="connsiteX2" fmla="*/ 52141 w 82765"/>
                      <a:gd name="connsiteY2" fmla="*/ 116207 h 131461"/>
                      <a:gd name="connsiteX3" fmla="*/ 6378 w 82765"/>
                      <a:gd name="connsiteY3" fmla="*/ 27733 h 131461"/>
                      <a:gd name="connsiteX4" fmla="*/ 3326 w 82765"/>
                      <a:gd name="connsiteY4" fmla="*/ 6377 h 131461"/>
                      <a:gd name="connsiteX5" fmla="*/ 24682 w 82765"/>
                      <a:gd name="connsiteY5" fmla="*/ 3326 h 131461"/>
                      <a:gd name="connsiteX6" fmla="*/ 82649 w 82765"/>
                      <a:gd name="connsiteY6" fmla="*/ 119258 h 131461"/>
                      <a:gd name="connsiteX7" fmla="*/ 67395 w 82765"/>
                      <a:gd name="connsiteY7" fmla="*/ 131461 h 131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765" h="131461">
                        <a:moveTo>
                          <a:pt x="67395" y="131461"/>
                        </a:moveTo>
                        <a:cubicBezTo>
                          <a:pt x="67395" y="131461"/>
                          <a:pt x="67395" y="131461"/>
                          <a:pt x="67395" y="131461"/>
                        </a:cubicBezTo>
                        <a:cubicBezTo>
                          <a:pt x="58241" y="131461"/>
                          <a:pt x="52141" y="125360"/>
                          <a:pt x="52141" y="116207"/>
                        </a:cubicBezTo>
                        <a:cubicBezTo>
                          <a:pt x="55191" y="61292"/>
                          <a:pt x="6378" y="27733"/>
                          <a:pt x="6378" y="27733"/>
                        </a:cubicBezTo>
                        <a:cubicBezTo>
                          <a:pt x="276" y="21631"/>
                          <a:pt x="-2776" y="12478"/>
                          <a:pt x="3326" y="6377"/>
                        </a:cubicBezTo>
                        <a:cubicBezTo>
                          <a:pt x="9428" y="275"/>
                          <a:pt x="18580" y="-2776"/>
                          <a:pt x="24682" y="3326"/>
                        </a:cubicBezTo>
                        <a:cubicBezTo>
                          <a:pt x="27732" y="6377"/>
                          <a:pt x="85699" y="46038"/>
                          <a:pt x="82649" y="119258"/>
                        </a:cubicBezTo>
                        <a:cubicBezTo>
                          <a:pt x="82649" y="125360"/>
                          <a:pt x="76547" y="131461"/>
                          <a:pt x="67395" y="131461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050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88" name="图形 1">
                  <a:extLst>
                    <a:ext uri="{FF2B5EF4-FFF2-40B4-BE49-F238E27FC236}">
                      <a16:creationId xmlns:a16="http://schemas.microsoft.com/office/drawing/2014/main" id="{F0EAF94C-7674-467E-AFBC-548562251AB7}"/>
                    </a:ext>
                  </a:extLst>
                </p:cNvPr>
                <p:cNvGrpSpPr/>
                <p:nvPr/>
              </p:nvGrpSpPr>
              <p:grpSpPr>
                <a:xfrm>
                  <a:off x="25880509" y="11344092"/>
                  <a:ext cx="311186" cy="366101"/>
                  <a:chOff x="25880509" y="11344092"/>
                  <a:chExt cx="311186" cy="366101"/>
                </a:xfrm>
              </p:grpSpPr>
              <p:grpSp>
                <p:nvGrpSpPr>
                  <p:cNvPr id="99" name="图形 1">
                    <a:extLst>
                      <a:ext uri="{FF2B5EF4-FFF2-40B4-BE49-F238E27FC236}">
                        <a16:creationId xmlns:a16="http://schemas.microsoft.com/office/drawing/2014/main" id="{BFCA6616-E994-46EA-A2B8-002C29E3C897}"/>
                      </a:ext>
                    </a:extLst>
                  </p:cNvPr>
                  <p:cNvGrpSpPr/>
                  <p:nvPr/>
                </p:nvGrpSpPr>
                <p:grpSpPr>
                  <a:xfrm>
                    <a:off x="25880509" y="11344092"/>
                    <a:ext cx="311186" cy="366101"/>
                    <a:chOff x="25880509" y="11344092"/>
                    <a:chExt cx="311186" cy="366101"/>
                  </a:xfrm>
                </p:grpSpPr>
                <p:sp>
                  <p:nvSpPr>
                    <p:cNvPr id="101" name="任意多边形: 形状 100">
                      <a:extLst>
                        <a:ext uri="{FF2B5EF4-FFF2-40B4-BE49-F238E27FC236}">
                          <a16:creationId xmlns:a16="http://schemas.microsoft.com/office/drawing/2014/main" id="{848B5DCE-4B7E-4960-AEF6-A75109A637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990339" y="11344092"/>
                      <a:ext cx="88475" cy="137288"/>
                    </a:xfrm>
                    <a:custGeom>
                      <a:avLst/>
                      <a:gdLst>
                        <a:gd name="connsiteX0" fmla="*/ 76271 w 88475"/>
                        <a:gd name="connsiteY0" fmla="*/ 0 h 137288"/>
                        <a:gd name="connsiteX1" fmla="*/ 12204 w 88475"/>
                        <a:gd name="connsiteY1" fmla="*/ 0 h 137288"/>
                        <a:gd name="connsiteX2" fmla="*/ 0 w 88475"/>
                        <a:gd name="connsiteY2" fmla="*/ 12203 h 137288"/>
                        <a:gd name="connsiteX3" fmla="*/ 0 w 88475"/>
                        <a:gd name="connsiteY3" fmla="*/ 125084 h 137288"/>
                        <a:gd name="connsiteX4" fmla="*/ 12204 w 88475"/>
                        <a:gd name="connsiteY4" fmla="*/ 137288 h 137288"/>
                        <a:gd name="connsiteX5" fmla="*/ 76271 w 88475"/>
                        <a:gd name="connsiteY5" fmla="*/ 137288 h 137288"/>
                        <a:gd name="connsiteX6" fmla="*/ 88475 w 88475"/>
                        <a:gd name="connsiteY6" fmla="*/ 125084 h 137288"/>
                        <a:gd name="connsiteX7" fmla="*/ 88475 w 88475"/>
                        <a:gd name="connsiteY7" fmla="*/ 9152 h 137288"/>
                        <a:gd name="connsiteX8" fmla="*/ 76271 w 88475"/>
                        <a:gd name="connsiteY8" fmla="*/ 0 h 1372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475" h="137288">
                          <a:moveTo>
                            <a:pt x="76271" y="0"/>
                          </a:moveTo>
                          <a:lnTo>
                            <a:pt x="12204" y="0"/>
                          </a:lnTo>
                          <a:cubicBezTo>
                            <a:pt x="6102" y="0"/>
                            <a:pt x="0" y="6101"/>
                            <a:pt x="0" y="12203"/>
                          </a:cubicBezTo>
                          <a:lnTo>
                            <a:pt x="0" y="125084"/>
                          </a:lnTo>
                          <a:cubicBezTo>
                            <a:pt x="0" y="131186"/>
                            <a:pt x="6102" y="137288"/>
                            <a:pt x="12204" y="137288"/>
                          </a:cubicBezTo>
                          <a:lnTo>
                            <a:pt x="76271" y="137288"/>
                          </a:lnTo>
                          <a:cubicBezTo>
                            <a:pt x="82373" y="137288"/>
                            <a:pt x="88475" y="131186"/>
                            <a:pt x="88475" y="125084"/>
                          </a:cubicBezTo>
                          <a:lnTo>
                            <a:pt x="88475" y="9152"/>
                          </a:lnTo>
                          <a:cubicBezTo>
                            <a:pt x="88475" y="3050"/>
                            <a:pt x="82373" y="0"/>
                            <a:pt x="76271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2" name="任意多边形: 形状 101">
                      <a:extLst>
                        <a:ext uri="{FF2B5EF4-FFF2-40B4-BE49-F238E27FC236}">
                          <a16:creationId xmlns:a16="http://schemas.microsoft.com/office/drawing/2014/main" id="{C2977D20-86A6-423A-8C19-78010A56077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880509" y="11399007"/>
                      <a:ext cx="311186" cy="311186"/>
                    </a:xfrm>
                    <a:custGeom>
                      <a:avLst/>
                      <a:gdLst>
                        <a:gd name="connsiteX0" fmla="*/ 155592 w 311186"/>
                        <a:gd name="connsiteY0" fmla="*/ 0 h 311186"/>
                        <a:gd name="connsiteX1" fmla="*/ 0 w 311186"/>
                        <a:gd name="connsiteY1" fmla="*/ 155593 h 311186"/>
                        <a:gd name="connsiteX2" fmla="*/ 155592 w 311186"/>
                        <a:gd name="connsiteY2" fmla="*/ 311187 h 311186"/>
                        <a:gd name="connsiteX3" fmla="*/ 311187 w 311186"/>
                        <a:gd name="connsiteY3" fmla="*/ 155593 h 311186"/>
                        <a:gd name="connsiteX4" fmla="*/ 155592 w 311186"/>
                        <a:gd name="connsiteY4" fmla="*/ 0 h 3111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11186" h="311186">
                          <a:moveTo>
                            <a:pt x="155592" y="0"/>
                          </a:moveTo>
                          <a:cubicBezTo>
                            <a:pt x="70169" y="0"/>
                            <a:pt x="0" y="70169"/>
                            <a:pt x="0" y="155593"/>
                          </a:cubicBezTo>
                          <a:cubicBezTo>
                            <a:pt x="0" y="241017"/>
                            <a:pt x="70169" y="311187"/>
                            <a:pt x="155592" y="311187"/>
                          </a:cubicBezTo>
                          <a:cubicBezTo>
                            <a:pt x="241018" y="311187"/>
                            <a:pt x="311187" y="241017"/>
                            <a:pt x="311187" y="155593"/>
                          </a:cubicBezTo>
                          <a:cubicBezTo>
                            <a:pt x="311187" y="70169"/>
                            <a:pt x="241018" y="0"/>
                            <a:pt x="155592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00" name="任意多边形: 形状 99">
                    <a:extLst>
                      <a:ext uri="{FF2B5EF4-FFF2-40B4-BE49-F238E27FC236}">
                        <a16:creationId xmlns:a16="http://schemas.microsoft.com/office/drawing/2014/main" id="{3D0AB939-96A8-4348-B0EC-8191346B69CF}"/>
                      </a:ext>
                    </a:extLst>
                  </p:cNvPr>
                  <p:cNvSpPr/>
                  <p:nvPr/>
                </p:nvSpPr>
                <p:spPr>
                  <a:xfrm>
                    <a:off x="26063285" y="11453647"/>
                    <a:ext cx="82764" cy="131461"/>
                  </a:xfrm>
                  <a:custGeom>
                    <a:avLst/>
                    <a:gdLst>
                      <a:gd name="connsiteX0" fmla="*/ 67394 w 82764"/>
                      <a:gd name="connsiteY0" fmla="*/ 131462 h 131461"/>
                      <a:gd name="connsiteX1" fmla="*/ 67394 w 82764"/>
                      <a:gd name="connsiteY1" fmla="*/ 131462 h 131461"/>
                      <a:gd name="connsiteX2" fmla="*/ 52140 w 82764"/>
                      <a:gd name="connsiteY2" fmla="*/ 116207 h 131461"/>
                      <a:gd name="connsiteX3" fmla="*/ 6377 w 82764"/>
                      <a:gd name="connsiteY3" fmla="*/ 27733 h 131461"/>
                      <a:gd name="connsiteX4" fmla="*/ 3325 w 82764"/>
                      <a:gd name="connsiteY4" fmla="*/ 6377 h 131461"/>
                      <a:gd name="connsiteX5" fmla="*/ 24681 w 82764"/>
                      <a:gd name="connsiteY5" fmla="*/ 3326 h 131461"/>
                      <a:gd name="connsiteX6" fmla="*/ 82648 w 82764"/>
                      <a:gd name="connsiteY6" fmla="*/ 119259 h 131461"/>
                      <a:gd name="connsiteX7" fmla="*/ 67394 w 82764"/>
                      <a:gd name="connsiteY7" fmla="*/ 131462 h 131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764" h="131461">
                        <a:moveTo>
                          <a:pt x="67394" y="131462"/>
                        </a:moveTo>
                        <a:cubicBezTo>
                          <a:pt x="67394" y="131462"/>
                          <a:pt x="67394" y="131462"/>
                          <a:pt x="67394" y="131462"/>
                        </a:cubicBezTo>
                        <a:cubicBezTo>
                          <a:pt x="58242" y="131462"/>
                          <a:pt x="52140" y="125360"/>
                          <a:pt x="52140" y="116207"/>
                        </a:cubicBezTo>
                        <a:cubicBezTo>
                          <a:pt x="55190" y="61292"/>
                          <a:pt x="6377" y="27733"/>
                          <a:pt x="6377" y="27733"/>
                        </a:cubicBezTo>
                        <a:cubicBezTo>
                          <a:pt x="275" y="21631"/>
                          <a:pt x="-2775" y="12479"/>
                          <a:pt x="3325" y="6377"/>
                        </a:cubicBezTo>
                        <a:cubicBezTo>
                          <a:pt x="9427" y="275"/>
                          <a:pt x="18579" y="-2775"/>
                          <a:pt x="24681" y="3326"/>
                        </a:cubicBezTo>
                        <a:cubicBezTo>
                          <a:pt x="27733" y="6377"/>
                          <a:pt x="85698" y="46037"/>
                          <a:pt x="82648" y="119259"/>
                        </a:cubicBezTo>
                        <a:cubicBezTo>
                          <a:pt x="82648" y="125360"/>
                          <a:pt x="76546" y="131462"/>
                          <a:pt x="67394" y="131462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050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89" name="图形 1">
                  <a:extLst>
                    <a:ext uri="{FF2B5EF4-FFF2-40B4-BE49-F238E27FC236}">
                      <a16:creationId xmlns:a16="http://schemas.microsoft.com/office/drawing/2014/main" id="{BCB87828-D6BE-4C90-B081-ADBB5DA27E60}"/>
                    </a:ext>
                  </a:extLst>
                </p:cNvPr>
                <p:cNvGrpSpPr/>
                <p:nvPr/>
              </p:nvGrpSpPr>
              <p:grpSpPr>
                <a:xfrm>
                  <a:off x="24599153" y="9690532"/>
                  <a:ext cx="311186" cy="366101"/>
                  <a:chOff x="24599153" y="9690532"/>
                  <a:chExt cx="311186" cy="366101"/>
                </a:xfrm>
              </p:grpSpPr>
              <p:grpSp>
                <p:nvGrpSpPr>
                  <p:cNvPr id="95" name="图形 1">
                    <a:extLst>
                      <a:ext uri="{FF2B5EF4-FFF2-40B4-BE49-F238E27FC236}">
                        <a16:creationId xmlns:a16="http://schemas.microsoft.com/office/drawing/2014/main" id="{F81D1589-8BB1-4C0F-845B-87C128B88195}"/>
                      </a:ext>
                    </a:extLst>
                  </p:cNvPr>
                  <p:cNvGrpSpPr/>
                  <p:nvPr/>
                </p:nvGrpSpPr>
                <p:grpSpPr>
                  <a:xfrm>
                    <a:off x="24599153" y="9690532"/>
                    <a:ext cx="311186" cy="366101"/>
                    <a:chOff x="24599153" y="9690532"/>
                    <a:chExt cx="311186" cy="366101"/>
                  </a:xfrm>
                </p:grpSpPr>
                <p:sp>
                  <p:nvSpPr>
                    <p:cNvPr id="97" name="任意多边形: 形状 96">
                      <a:extLst>
                        <a:ext uri="{FF2B5EF4-FFF2-40B4-BE49-F238E27FC236}">
                          <a16:creationId xmlns:a16="http://schemas.microsoft.com/office/drawing/2014/main" id="{15BF8161-A3EB-4DB2-8A8B-225474D6A8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4708983" y="9690532"/>
                      <a:ext cx="88475" cy="137288"/>
                    </a:xfrm>
                    <a:custGeom>
                      <a:avLst/>
                      <a:gdLst>
                        <a:gd name="connsiteX0" fmla="*/ 76271 w 88475"/>
                        <a:gd name="connsiteY0" fmla="*/ 0 h 137288"/>
                        <a:gd name="connsiteX1" fmla="*/ 12204 w 88475"/>
                        <a:gd name="connsiteY1" fmla="*/ 0 h 137288"/>
                        <a:gd name="connsiteX2" fmla="*/ 0 w 88475"/>
                        <a:gd name="connsiteY2" fmla="*/ 12203 h 137288"/>
                        <a:gd name="connsiteX3" fmla="*/ 0 w 88475"/>
                        <a:gd name="connsiteY3" fmla="*/ 125085 h 137288"/>
                        <a:gd name="connsiteX4" fmla="*/ 12204 w 88475"/>
                        <a:gd name="connsiteY4" fmla="*/ 137288 h 137288"/>
                        <a:gd name="connsiteX5" fmla="*/ 76271 w 88475"/>
                        <a:gd name="connsiteY5" fmla="*/ 137288 h 137288"/>
                        <a:gd name="connsiteX6" fmla="*/ 88475 w 88475"/>
                        <a:gd name="connsiteY6" fmla="*/ 125085 h 137288"/>
                        <a:gd name="connsiteX7" fmla="*/ 88475 w 88475"/>
                        <a:gd name="connsiteY7" fmla="*/ 12203 h 137288"/>
                        <a:gd name="connsiteX8" fmla="*/ 76271 w 88475"/>
                        <a:gd name="connsiteY8" fmla="*/ 0 h 1372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475" h="137288">
                          <a:moveTo>
                            <a:pt x="76271" y="0"/>
                          </a:moveTo>
                          <a:lnTo>
                            <a:pt x="12204" y="0"/>
                          </a:lnTo>
                          <a:cubicBezTo>
                            <a:pt x="6102" y="0"/>
                            <a:pt x="0" y="6102"/>
                            <a:pt x="0" y="12203"/>
                          </a:cubicBezTo>
                          <a:lnTo>
                            <a:pt x="0" y="125085"/>
                          </a:lnTo>
                          <a:cubicBezTo>
                            <a:pt x="0" y="131186"/>
                            <a:pt x="6102" y="137288"/>
                            <a:pt x="12204" y="137288"/>
                          </a:cubicBezTo>
                          <a:lnTo>
                            <a:pt x="76271" y="137288"/>
                          </a:lnTo>
                          <a:cubicBezTo>
                            <a:pt x="82373" y="137288"/>
                            <a:pt x="88475" y="131186"/>
                            <a:pt x="88475" y="125085"/>
                          </a:cubicBezTo>
                          <a:lnTo>
                            <a:pt x="88475" y="12203"/>
                          </a:lnTo>
                          <a:cubicBezTo>
                            <a:pt x="88475" y="3051"/>
                            <a:pt x="82373" y="0"/>
                            <a:pt x="76271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8" name="任意多边形: 形状 97">
                      <a:extLst>
                        <a:ext uri="{FF2B5EF4-FFF2-40B4-BE49-F238E27FC236}">
                          <a16:creationId xmlns:a16="http://schemas.microsoft.com/office/drawing/2014/main" id="{47D71697-99E7-46E8-8EDE-D4B7BF42355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4599153" y="9745447"/>
                      <a:ext cx="311186" cy="311186"/>
                    </a:xfrm>
                    <a:custGeom>
                      <a:avLst/>
                      <a:gdLst>
                        <a:gd name="connsiteX0" fmla="*/ 155592 w 311186"/>
                        <a:gd name="connsiteY0" fmla="*/ 0 h 311186"/>
                        <a:gd name="connsiteX1" fmla="*/ 0 w 311186"/>
                        <a:gd name="connsiteY1" fmla="*/ 155593 h 311186"/>
                        <a:gd name="connsiteX2" fmla="*/ 155592 w 311186"/>
                        <a:gd name="connsiteY2" fmla="*/ 311187 h 311186"/>
                        <a:gd name="connsiteX3" fmla="*/ 311187 w 311186"/>
                        <a:gd name="connsiteY3" fmla="*/ 155593 h 311186"/>
                        <a:gd name="connsiteX4" fmla="*/ 155592 w 311186"/>
                        <a:gd name="connsiteY4" fmla="*/ 0 h 3111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11186" h="311186">
                          <a:moveTo>
                            <a:pt x="155592" y="0"/>
                          </a:moveTo>
                          <a:cubicBezTo>
                            <a:pt x="70169" y="0"/>
                            <a:pt x="0" y="70170"/>
                            <a:pt x="0" y="155593"/>
                          </a:cubicBezTo>
                          <a:cubicBezTo>
                            <a:pt x="0" y="241018"/>
                            <a:pt x="70169" y="311187"/>
                            <a:pt x="155592" y="311187"/>
                          </a:cubicBezTo>
                          <a:cubicBezTo>
                            <a:pt x="241018" y="311187"/>
                            <a:pt x="311187" y="241018"/>
                            <a:pt x="311187" y="155593"/>
                          </a:cubicBezTo>
                          <a:cubicBezTo>
                            <a:pt x="311187" y="70170"/>
                            <a:pt x="241018" y="0"/>
                            <a:pt x="155592" y="0"/>
                          </a:cubicBezTo>
                          <a:close/>
                        </a:path>
                      </a:pathLst>
                    </a:custGeom>
                    <a:solidFill>
                      <a:srgbClr val="7F95BC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96" name="任意多边形: 形状 95">
                    <a:extLst>
                      <a:ext uri="{FF2B5EF4-FFF2-40B4-BE49-F238E27FC236}">
                        <a16:creationId xmlns:a16="http://schemas.microsoft.com/office/drawing/2014/main" id="{1701035D-262D-419A-B05D-B9014A379F5F}"/>
                      </a:ext>
                    </a:extLst>
                  </p:cNvPr>
                  <p:cNvSpPr/>
                  <p:nvPr/>
                </p:nvSpPr>
                <p:spPr>
                  <a:xfrm>
                    <a:off x="24781929" y="9800088"/>
                    <a:ext cx="82764" cy="131461"/>
                  </a:xfrm>
                  <a:custGeom>
                    <a:avLst/>
                    <a:gdLst>
                      <a:gd name="connsiteX0" fmla="*/ 67394 w 82764"/>
                      <a:gd name="connsiteY0" fmla="*/ 131461 h 131461"/>
                      <a:gd name="connsiteX1" fmla="*/ 67394 w 82764"/>
                      <a:gd name="connsiteY1" fmla="*/ 131461 h 131461"/>
                      <a:gd name="connsiteX2" fmla="*/ 52140 w 82764"/>
                      <a:gd name="connsiteY2" fmla="*/ 116207 h 131461"/>
                      <a:gd name="connsiteX3" fmla="*/ 6377 w 82764"/>
                      <a:gd name="connsiteY3" fmla="*/ 27733 h 131461"/>
                      <a:gd name="connsiteX4" fmla="*/ 3325 w 82764"/>
                      <a:gd name="connsiteY4" fmla="*/ 6376 h 131461"/>
                      <a:gd name="connsiteX5" fmla="*/ 24681 w 82764"/>
                      <a:gd name="connsiteY5" fmla="*/ 3326 h 131461"/>
                      <a:gd name="connsiteX6" fmla="*/ 82648 w 82764"/>
                      <a:gd name="connsiteY6" fmla="*/ 119258 h 131461"/>
                      <a:gd name="connsiteX7" fmla="*/ 67394 w 82764"/>
                      <a:gd name="connsiteY7" fmla="*/ 131461 h 131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764" h="131461">
                        <a:moveTo>
                          <a:pt x="67394" y="131461"/>
                        </a:moveTo>
                        <a:lnTo>
                          <a:pt x="67394" y="131461"/>
                        </a:lnTo>
                        <a:cubicBezTo>
                          <a:pt x="58242" y="131461"/>
                          <a:pt x="52140" y="125360"/>
                          <a:pt x="52140" y="116207"/>
                        </a:cubicBezTo>
                        <a:cubicBezTo>
                          <a:pt x="55190" y="61292"/>
                          <a:pt x="6377" y="27733"/>
                          <a:pt x="6377" y="27733"/>
                        </a:cubicBezTo>
                        <a:cubicBezTo>
                          <a:pt x="275" y="21631"/>
                          <a:pt x="-2775" y="12478"/>
                          <a:pt x="3325" y="6376"/>
                        </a:cubicBezTo>
                        <a:cubicBezTo>
                          <a:pt x="9427" y="275"/>
                          <a:pt x="18579" y="-2776"/>
                          <a:pt x="24681" y="3326"/>
                        </a:cubicBezTo>
                        <a:cubicBezTo>
                          <a:pt x="27733" y="6376"/>
                          <a:pt x="85698" y="46038"/>
                          <a:pt x="82648" y="119258"/>
                        </a:cubicBezTo>
                        <a:cubicBezTo>
                          <a:pt x="82648" y="125360"/>
                          <a:pt x="73496" y="131461"/>
                          <a:pt x="67394" y="131461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050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90" name="图形 1">
                  <a:extLst>
                    <a:ext uri="{FF2B5EF4-FFF2-40B4-BE49-F238E27FC236}">
                      <a16:creationId xmlns:a16="http://schemas.microsoft.com/office/drawing/2014/main" id="{EB193E6D-B22F-4E4C-A116-4BAB015DF211}"/>
                    </a:ext>
                  </a:extLst>
                </p:cNvPr>
                <p:cNvGrpSpPr/>
                <p:nvPr/>
              </p:nvGrpSpPr>
              <p:grpSpPr>
                <a:xfrm>
                  <a:off x="25108645" y="8918668"/>
                  <a:ext cx="311186" cy="366101"/>
                  <a:chOff x="25108645" y="8918668"/>
                  <a:chExt cx="311186" cy="366101"/>
                </a:xfrm>
              </p:grpSpPr>
              <p:grpSp>
                <p:nvGrpSpPr>
                  <p:cNvPr id="91" name="图形 1">
                    <a:extLst>
                      <a:ext uri="{FF2B5EF4-FFF2-40B4-BE49-F238E27FC236}">
                        <a16:creationId xmlns:a16="http://schemas.microsoft.com/office/drawing/2014/main" id="{4FF9863E-B237-46B1-8A4A-5DCF588702F8}"/>
                      </a:ext>
                    </a:extLst>
                  </p:cNvPr>
                  <p:cNvGrpSpPr/>
                  <p:nvPr/>
                </p:nvGrpSpPr>
                <p:grpSpPr>
                  <a:xfrm>
                    <a:off x="25108645" y="8918668"/>
                    <a:ext cx="311186" cy="366101"/>
                    <a:chOff x="25108645" y="8918668"/>
                    <a:chExt cx="311186" cy="366101"/>
                  </a:xfrm>
                </p:grpSpPr>
                <p:sp>
                  <p:nvSpPr>
                    <p:cNvPr id="93" name="任意多边形: 形状 92">
                      <a:extLst>
                        <a:ext uri="{FF2B5EF4-FFF2-40B4-BE49-F238E27FC236}">
                          <a16:creationId xmlns:a16="http://schemas.microsoft.com/office/drawing/2014/main" id="{ED1F142A-D8F0-44FC-B4E1-7E70FECA910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218475" y="8918668"/>
                      <a:ext cx="88475" cy="137288"/>
                    </a:xfrm>
                    <a:custGeom>
                      <a:avLst/>
                      <a:gdLst>
                        <a:gd name="connsiteX0" fmla="*/ 76271 w 88475"/>
                        <a:gd name="connsiteY0" fmla="*/ 0 h 137288"/>
                        <a:gd name="connsiteX1" fmla="*/ 12204 w 88475"/>
                        <a:gd name="connsiteY1" fmla="*/ 0 h 137288"/>
                        <a:gd name="connsiteX2" fmla="*/ 0 w 88475"/>
                        <a:gd name="connsiteY2" fmla="*/ 12204 h 137288"/>
                        <a:gd name="connsiteX3" fmla="*/ 0 w 88475"/>
                        <a:gd name="connsiteY3" fmla="*/ 125085 h 137288"/>
                        <a:gd name="connsiteX4" fmla="*/ 12204 w 88475"/>
                        <a:gd name="connsiteY4" fmla="*/ 137288 h 137288"/>
                        <a:gd name="connsiteX5" fmla="*/ 76271 w 88475"/>
                        <a:gd name="connsiteY5" fmla="*/ 137288 h 137288"/>
                        <a:gd name="connsiteX6" fmla="*/ 88475 w 88475"/>
                        <a:gd name="connsiteY6" fmla="*/ 125085 h 137288"/>
                        <a:gd name="connsiteX7" fmla="*/ 88475 w 88475"/>
                        <a:gd name="connsiteY7" fmla="*/ 12204 h 137288"/>
                        <a:gd name="connsiteX8" fmla="*/ 76271 w 88475"/>
                        <a:gd name="connsiteY8" fmla="*/ 0 h 1372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475" h="137288">
                          <a:moveTo>
                            <a:pt x="76271" y="0"/>
                          </a:moveTo>
                          <a:lnTo>
                            <a:pt x="12204" y="0"/>
                          </a:lnTo>
                          <a:cubicBezTo>
                            <a:pt x="6102" y="0"/>
                            <a:pt x="0" y="6102"/>
                            <a:pt x="0" y="12204"/>
                          </a:cubicBezTo>
                          <a:lnTo>
                            <a:pt x="0" y="125085"/>
                          </a:lnTo>
                          <a:cubicBezTo>
                            <a:pt x="0" y="131187"/>
                            <a:pt x="6102" y="137288"/>
                            <a:pt x="12204" y="137288"/>
                          </a:cubicBezTo>
                          <a:lnTo>
                            <a:pt x="76271" y="137288"/>
                          </a:lnTo>
                          <a:cubicBezTo>
                            <a:pt x="82373" y="137288"/>
                            <a:pt x="88475" y="131187"/>
                            <a:pt x="88475" y="125085"/>
                          </a:cubicBezTo>
                          <a:lnTo>
                            <a:pt x="88475" y="12204"/>
                          </a:lnTo>
                          <a:cubicBezTo>
                            <a:pt x="88475" y="3051"/>
                            <a:pt x="82373" y="0"/>
                            <a:pt x="76271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4" name="任意多边形: 形状 93">
                      <a:extLst>
                        <a:ext uri="{FF2B5EF4-FFF2-40B4-BE49-F238E27FC236}">
                          <a16:creationId xmlns:a16="http://schemas.microsoft.com/office/drawing/2014/main" id="{F9574152-CFC5-497D-8D96-2D54D2959F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108645" y="8973583"/>
                      <a:ext cx="311186" cy="311186"/>
                    </a:xfrm>
                    <a:custGeom>
                      <a:avLst/>
                      <a:gdLst>
                        <a:gd name="connsiteX0" fmla="*/ 155592 w 311186"/>
                        <a:gd name="connsiteY0" fmla="*/ 0 h 311186"/>
                        <a:gd name="connsiteX1" fmla="*/ 0 w 311186"/>
                        <a:gd name="connsiteY1" fmla="*/ 155593 h 311186"/>
                        <a:gd name="connsiteX2" fmla="*/ 155592 w 311186"/>
                        <a:gd name="connsiteY2" fmla="*/ 311186 h 311186"/>
                        <a:gd name="connsiteX3" fmla="*/ 311187 w 311186"/>
                        <a:gd name="connsiteY3" fmla="*/ 155593 h 311186"/>
                        <a:gd name="connsiteX4" fmla="*/ 155592 w 311186"/>
                        <a:gd name="connsiteY4" fmla="*/ 0 h 3111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11186" h="311186">
                          <a:moveTo>
                            <a:pt x="155592" y="0"/>
                          </a:moveTo>
                          <a:cubicBezTo>
                            <a:pt x="70169" y="0"/>
                            <a:pt x="0" y="70170"/>
                            <a:pt x="0" y="155593"/>
                          </a:cubicBezTo>
                          <a:cubicBezTo>
                            <a:pt x="0" y="241017"/>
                            <a:pt x="70169" y="311186"/>
                            <a:pt x="155592" y="311186"/>
                          </a:cubicBezTo>
                          <a:cubicBezTo>
                            <a:pt x="241016" y="311186"/>
                            <a:pt x="311187" y="241017"/>
                            <a:pt x="311187" y="155593"/>
                          </a:cubicBezTo>
                          <a:cubicBezTo>
                            <a:pt x="311187" y="70170"/>
                            <a:pt x="241016" y="0"/>
                            <a:pt x="155592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3050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92" name="任意多边形: 形状 91">
                    <a:extLst>
                      <a:ext uri="{FF2B5EF4-FFF2-40B4-BE49-F238E27FC236}">
                        <a16:creationId xmlns:a16="http://schemas.microsoft.com/office/drawing/2014/main" id="{E10AA04C-6718-401D-821D-EC4DC8D7855A}"/>
                      </a:ext>
                    </a:extLst>
                  </p:cNvPr>
                  <p:cNvSpPr/>
                  <p:nvPr/>
                </p:nvSpPr>
                <p:spPr>
                  <a:xfrm>
                    <a:off x="25291420" y="9028223"/>
                    <a:ext cx="82765" cy="131461"/>
                  </a:xfrm>
                  <a:custGeom>
                    <a:avLst/>
                    <a:gdLst>
                      <a:gd name="connsiteX0" fmla="*/ 67395 w 82765"/>
                      <a:gd name="connsiteY0" fmla="*/ 131462 h 131461"/>
                      <a:gd name="connsiteX1" fmla="*/ 67395 w 82765"/>
                      <a:gd name="connsiteY1" fmla="*/ 131462 h 131461"/>
                      <a:gd name="connsiteX2" fmla="*/ 52141 w 82765"/>
                      <a:gd name="connsiteY2" fmla="*/ 116208 h 131461"/>
                      <a:gd name="connsiteX3" fmla="*/ 6378 w 82765"/>
                      <a:gd name="connsiteY3" fmla="*/ 27733 h 131461"/>
                      <a:gd name="connsiteX4" fmla="*/ 3326 w 82765"/>
                      <a:gd name="connsiteY4" fmla="*/ 6377 h 131461"/>
                      <a:gd name="connsiteX5" fmla="*/ 24682 w 82765"/>
                      <a:gd name="connsiteY5" fmla="*/ 3326 h 131461"/>
                      <a:gd name="connsiteX6" fmla="*/ 82649 w 82765"/>
                      <a:gd name="connsiteY6" fmla="*/ 119258 h 131461"/>
                      <a:gd name="connsiteX7" fmla="*/ 67395 w 82765"/>
                      <a:gd name="connsiteY7" fmla="*/ 131462 h 131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765" h="131461">
                        <a:moveTo>
                          <a:pt x="67395" y="131462"/>
                        </a:moveTo>
                        <a:cubicBezTo>
                          <a:pt x="67395" y="131462"/>
                          <a:pt x="67395" y="131462"/>
                          <a:pt x="67395" y="131462"/>
                        </a:cubicBezTo>
                        <a:cubicBezTo>
                          <a:pt x="58241" y="131462"/>
                          <a:pt x="52141" y="125360"/>
                          <a:pt x="52141" y="116208"/>
                        </a:cubicBezTo>
                        <a:cubicBezTo>
                          <a:pt x="55191" y="61292"/>
                          <a:pt x="6378" y="27733"/>
                          <a:pt x="6378" y="27733"/>
                        </a:cubicBezTo>
                        <a:cubicBezTo>
                          <a:pt x="276" y="21631"/>
                          <a:pt x="-2776" y="12478"/>
                          <a:pt x="3326" y="6377"/>
                        </a:cubicBezTo>
                        <a:cubicBezTo>
                          <a:pt x="9428" y="275"/>
                          <a:pt x="18580" y="-2776"/>
                          <a:pt x="24682" y="3326"/>
                        </a:cubicBezTo>
                        <a:cubicBezTo>
                          <a:pt x="27732" y="6377"/>
                          <a:pt x="85699" y="46038"/>
                          <a:pt x="82649" y="119258"/>
                        </a:cubicBezTo>
                        <a:cubicBezTo>
                          <a:pt x="82649" y="125360"/>
                          <a:pt x="76547" y="131462"/>
                          <a:pt x="67395" y="131462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050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64" name="图形 1">
                <a:extLst>
                  <a:ext uri="{FF2B5EF4-FFF2-40B4-BE49-F238E27FC236}">
                    <a16:creationId xmlns:a16="http://schemas.microsoft.com/office/drawing/2014/main" id="{896656A5-AE88-48F5-B972-9EFCDA3B4642}"/>
                  </a:ext>
                </a:extLst>
              </p:cNvPr>
              <p:cNvGrpSpPr/>
              <p:nvPr/>
            </p:nvGrpSpPr>
            <p:grpSpPr>
              <a:xfrm>
                <a:off x="24172035" y="11458174"/>
                <a:ext cx="970169" cy="1017782"/>
                <a:chOff x="24172035" y="11458174"/>
                <a:chExt cx="970169" cy="1017782"/>
              </a:xfrm>
            </p:grpSpPr>
            <p:sp>
              <p:nvSpPr>
                <p:cNvPr id="71" name="任意多边形: 形状 70">
                  <a:extLst>
                    <a:ext uri="{FF2B5EF4-FFF2-40B4-BE49-F238E27FC236}">
                      <a16:creationId xmlns:a16="http://schemas.microsoft.com/office/drawing/2014/main" id="{0B8DC875-F385-462F-92EE-5D4FD93BA438}"/>
                    </a:ext>
                  </a:extLst>
                </p:cNvPr>
                <p:cNvSpPr/>
                <p:nvPr/>
              </p:nvSpPr>
              <p:spPr>
                <a:xfrm>
                  <a:off x="24345933" y="11871888"/>
                  <a:ext cx="796271" cy="604067"/>
                </a:xfrm>
                <a:custGeom>
                  <a:avLst/>
                  <a:gdLst>
                    <a:gd name="connsiteX0" fmla="*/ 0 w 796271"/>
                    <a:gd name="connsiteY0" fmla="*/ 0 h 604067"/>
                    <a:gd name="connsiteX1" fmla="*/ 796271 w 796271"/>
                    <a:gd name="connsiteY1" fmla="*/ 0 h 604067"/>
                    <a:gd name="connsiteX2" fmla="*/ 796271 w 796271"/>
                    <a:gd name="connsiteY2" fmla="*/ 604067 h 604067"/>
                    <a:gd name="connsiteX3" fmla="*/ 0 w 796271"/>
                    <a:gd name="connsiteY3" fmla="*/ 604067 h 604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96271" h="604067">
                      <a:moveTo>
                        <a:pt x="0" y="0"/>
                      </a:moveTo>
                      <a:lnTo>
                        <a:pt x="796271" y="0"/>
                      </a:lnTo>
                      <a:lnTo>
                        <a:pt x="796271" y="604067"/>
                      </a:lnTo>
                      <a:lnTo>
                        <a:pt x="0" y="604067"/>
                      </a:lnTo>
                      <a:close/>
                    </a:path>
                  </a:pathLst>
                </a:custGeom>
                <a:solidFill>
                  <a:srgbClr val="C4544E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: 形状 71">
                  <a:extLst>
                    <a:ext uri="{FF2B5EF4-FFF2-40B4-BE49-F238E27FC236}">
                      <a16:creationId xmlns:a16="http://schemas.microsoft.com/office/drawing/2014/main" id="{D1DE8751-07AB-495A-BF1B-DD8B67D40A72}"/>
                    </a:ext>
                  </a:extLst>
                </p:cNvPr>
                <p:cNvSpPr/>
                <p:nvPr/>
              </p:nvSpPr>
              <p:spPr>
                <a:xfrm>
                  <a:off x="24172035" y="11871888"/>
                  <a:ext cx="796271" cy="604067"/>
                </a:xfrm>
                <a:custGeom>
                  <a:avLst/>
                  <a:gdLst>
                    <a:gd name="connsiteX0" fmla="*/ 0 w 796271"/>
                    <a:gd name="connsiteY0" fmla="*/ 0 h 604067"/>
                    <a:gd name="connsiteX1" fmla="*/ 796270 w 796271"/>
                    <a:gd name="connsiteY1" fmla="*/ 0 h 604067"/>
                    <a:gd name="connsiteX2" fmla="*/ 796270 w 796271"/>
                    <a:gd name="connsiteY2" fmla="*/ 604067 h 604067"/>
                    <a:gd name="connsiteX3" fmla="*/ 0 w 796271"/>
                    <a:gd name="connsiteY3" fmla="*/ 604067 h 604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96271" h="604067">
                      <a:moveTo>
                        <a:pt x="0" y="0"/>
                      </a:moveTo>
                      <a:lnTo>
                        <a:pt x="796270" y="0"/>
                      </a:lnTo>
                      <a:lnTo>
                        <a:pt x="796270" y="604067"/>
                      </a:lnTo>
                      <a:lnTo>
                        <a:pt x="0" y="604067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: 形状 72">
                  <a:extLst>
                    <a:ext uri="{FF2B5EF4-FFF2-40B4-BE49-F238E27FC236}">
                      <a16:creationId xmlns:a16="http://schemas.microsoft.com/office/drawing/2014/main" id="{DB23A8B9-0E1E-4CF5-8DC3-FEF0FA9019D3}"/>
                    </a:ext>
                  </a:extLst>
                </p:cNvPr>
                <p:cNvSpPr/>
                <p:nvPr/>
              </p:nvSpPr>
              <p:spPr>
                <a:xfrm>
                  <a:off x="24513730" y="11871888"/>
                  <a:ext cx="109830" cy="604067"/>
                </a:xfrm>
                <a:custGeom>
                  <a:avLst/>
                  <a:gdLst>
                    <a:gd name="connsiteX0" fmla="*/ 0 w 109830"/>
                    <a:gd name="connsiteY0" fmla="*/ 0 h 604067"/>
                    <a:gd name="connsiteX1" fmla="*/ 109830 w 109830"/>
                    <a:gd name="connsiteY1" fmla="*/ 0 h 604067"/>
                    <a:gd name="connsiteX2" fmla="*/ 109830 w 109830"/>
                    <a:gd name="connsiteY2" fmla="*/ 604067 h 604067"/>
                    <a:gd name="connsiteX3" fmla="*/ 0 w 109830"/>
                    <a:gd name="connsiteY3" fmla="*/ 604067 h 604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830" h="604067">
                      <a:moveTo>
                        <a:pt x="0" y="0"/>
                      </a:moveTo>
                      <a:lnTo>
                        <a:pt x="109830" y="0"/>
                      </a:lnTo>
                      <a:lnTo>
                        <a:pt x="109830" y="604067"/>
                      </a:lnTo>
                      <a:lnTo>
                        <a:pt x="0" y="604067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: 形状 73">
                  <a:extLst>
                    <a:ext uri="{FF2B5EF4-FFF2-40B4-BE49-F238E27FC236}">
                      <a16:creationId xmlns:a16="http://schemas.microsoft.com/office/drawing/2014/main" id="{D2619ECD-9004-45EA-8185-08F267C382B7}"/>
                    </a:ext>
                  </a:extLst>
                </p:cNvPr>
                <p:cNvSpPr/>
                <p:nvPr/>
              </p:nvSpPr>
              <p:spPr>
                <a:xfrm>
                  <a:off x="24379392" y="11458174"/>
                  <a:ext cx="606742" cy="445557"/>
                </a:xfrm>
                <a:custGeom>
                  <a:avLst/>
                  <a:gdLst>
                    <a:gd name="connsiteX0" fmla="*/ 591965 w 606742"/>
                    <a:gd name="connsiteY0" fmla="*/ 117782 h 445557"/>
                    <a:gd name="connsiteX1" fmla="*/ 375354 w 606742"/>
                    <a:gd name="connsiteY1" fmla="*/ 123884 h 445557"/>
                    <a:gd name="connsiteX2" fmla="*/ 274676 w 606742"/>
                    <a:gd name="connsiteY2" fmla="*/ 242867 h 445557"/>
                    <a:gd name="connsiteX3" fmla="*/ 265524 w 606742"/>
                    <a:gd name="connsiteY3" fmla="*/ 169647 h 445557"/>
                    <a:gd name="connsiteX4" fmla="*/ 134338 w 606742"/>
                    <a:gd name="connsiteY4" fmla="*/ 1850 h 445557"/>
                    <a:gd name="connsiteX5" fmla="*/ 100 w 606742"/>
                    <a:gd name="connsiteY5" fmla="*/ 187952 h 445557"/>
                    <a:gd name="connsiteX6" fmla="*/ 149592 w 606742"/>
                    <a:gd name="connsiteY6" fmla="*/ 419816 h 445557"/>
                    <a:gd name="connsiteX7" fmla="*/ 186203 w 606742"/>
                    <a:gd name="connsiteY7" fmla="*/ 441172 h 445557"/>
                    <a:gd name="connsiteX8" fmla="*/ 201457 w 606742"/>
                    <a:gd name="connsiteY8" fmla="*/ 432020 h 445557"/>
                    <a:gd name="connsiteX9" fmla="*/ 512642 w 606742"/>
                    <a:gd name="connsiteY9" fmla="*/ 316087 h 445557"/>
                    <a:gd name="connsiteX10" fmla="*/ 591965 w 606742"/>
                    <a:gd name="connsiteY10" fmla="*/ 117782 h 445557"/>
                    <a:gd name="connsiteX11" fmla="*/ 433321 w 606742"/>
                    <a:gd name="connsiteY11" fmla="*/ 166596 h 445557"/>
                    <a:gd name="connsiteX12" fmla="*/ 445525 w 606742"/>
                    <a:gd name="connsiteY12" fmla="*/ 255070 h 445557"/>
                    <a:gd name="connsiteX13" fmla="*/ 369254 w 606742"/>
                    <a:gd name="connsiteY13" fmla="*/ 309986 h 445557"/>
                    <a:gd name="connsiteX14" fmla="*/ 262474 w 606742"/>
                    <a:gd name="connsiteY14" fmla="*/ 364901 h 445557"/>
                    <a:gd name="connsiteX15" fmla="*/ 268574 w 606742"/>
                    <a:gd name="connsiteY15" fmla="*/ 349646 h 445557"/>
                    <a:gd name="connsiteX16" fmla="*/ 433321 w 606742"/>
                    <a:gd name="connsiteY16" fmla="*/ 166596 h 445557"/>
                    <a:gd name="connsiteX17" fmla="*/ 128236 w 606742"/>
                    <a:gd name="connsiteY17" fmla="*/ 258121 h 445557"/>
                    <a:gd name="connsiteX18" fmla="*/ 116032 w 606742"/>
                    <a:gd name="connsiteY18" fmla="*/ 117782 h 445557"/>
                    <a:gd name="connsiteX19" fmla="*/ 201457 w 606742"/>
                    <a:gd name="connsiteY19" fmla="*/ 148290 h 445557"/>
                    <a:gd name="connsiteX20" fmla="*/ 186203 w 606742"/>
                    <a:gd name="connsiteY20" fmla="*/ 352697 h 445557"/>
                    <a:gd name="connsiteX21" fmla="*/ 128236 w 606742"/>
                    <a:gd name="connsiteY21" fmla="*/ 258121 h 445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606742" h="445557">
                      <a:moveTo>
                        <a:pt x="591965" y="117782"/>
                      </a:moveTo>
                      <a:cubicBezTo>
                        <a:pt x="546202" y="47613"/>
                        <a:pt x="430271" y="84223"/>
                        <a:pt x="375354" y="123884"/>
                      </a:cubicBezTo>
                      <a:cubicBezTo>
                        <a:pt x="332643" y="154392"/>
                        <a:pt x="302135" y="200155"/>
                        <a:pt x="274676" y="242867"/>
                      </a:cubicBezTo>
                      <a:cubicBezTo>
                        <a:pt x="274676" y="218460"/>
                        <a:pt x="271626" y="194053"/>
                        <a:pt x="265524" y="169647"/>
                      </a:cubicBezTo>
                      <a:cubicBezTo>
                        <a:pt x="256372" y="105579"/>
                        <a:pt x="225863" y="-16455"/>
                        <a:pt x="134338" y="1850"/>
                      </a:cubicBezTo>
                      <a:cubicBezTo>
                        <a:pt x="51965" y="17104"/>
                        <a:pt x="3152" y="114732"/>
                        <a:pt x="100" y="187952"/>
                      </a:cubicBezTo>
                      <a:cubicBezTo>
                        <a:pt x="-2950" y="291680"/>
                        <a:pt x="64169" y="374054"/>
                        <a:pt x="149592" y="419816"/>
                      </a:cubicBezTo>
                      <a:cubicBezTo>
                        <a:pt x="149592" y="438121"/>
                        <a:pt x="170949" y="453375"/>
                        <a:pt x="186203" y="441172"/>
                      </a:cubicBezTo>
                      <a:cubicBezTo>
                        <a:pt x="192303" y="438121"/>
                        <a:pt x="195355" y="435071"/>
                        <a:pt x="201457" y="432020"/>
                      </a:cubicBezTo>
                      <a:cubicBezTo>
                        <a:pt x="308237" y="404562"/>
                        <a:pt x="424169" y="386257"/>
                        <a:pt x="512642" y="316087"/>
                      </a:cubicBezTo>
                      <a:cubicBezTo>
                        <a:pt x="567559" y="276426"/>
                        <a:pt x="637728" y="184901"/>
                        <a:pt x="591965" y="117782"/>
                      </a:cubicBezTo>
                      <a:close/>
                      <a:moveTo>
                        <a:pt x="433321" y="166596"/>
                      </a:moveTo>
                      <a:cubicBezTo>
                        <a:pt x="460779" y="172698"/>
                        <a:pt x="476033" y="215409"/>
                        <a:pt x="445525" y="255070"/>
                      </a:cubicBezTo>
                      <a:cubicBezTo>
                        <a:pt x="427219" y="276426"/>
                        <a:pt x="393660" y="294732"/>
                        <a:pt x="369254" y="309986"/>
                      </a:cubicBezTo>
                      <a:cubicBezTo>
                        <a:pt x="335693" y="331341"/>
                        <a:pt x="299083" y="352697"/>
                        <a:pt x="262474" y="364901"/>
                      </a:cubicBezTo>
                      <a:cubicBezTo>
                        <a:pt x="265524" y="358799"/>
                        <a:pt x="265524" y="352697"/>
                        <a:pt x="268574" y="349646"/>
                      </a:cubicBezTo>
                      <a:cubicBezTo>
                        <a:pt x="292982" y="306935"/>
                        <a:pt x="344845" y="181850"/>
                        <a:pt x="433321" y="166596"/>
                      </a:cubicBezTo>
                      <a:close/>
                      <a:moveTo>
                        <a:pt x="128236" y="258121"/>
                      </a:moveTo>
                      <a:cubicBezTo>
                        <a:pt x="106880" y="212358"/>
                        <a:pt x="94677" y="166596"/>
                        <a:pt x="116032" y="117782"/>
                      </a:cubicBezTo>
                      <a:cubicBezTo>
                        <a:pt x="140440" y="62867"/>
                        <a:pt x="192303" y="102528"/>
                        <a:pt x="201457" y="148290"/>
                      </a:cubicBezTo>
                      <a:cubicBezTo>
                        <a:pt x="216711" y="209307"/>
                        <a:pt x="207557" y="288629"/>
                        <a:pt x="186203" y="352697"/>
                      </a:cubicBezTo>
                      <a:cubicBezTo>
                        <a:pt x="161795" y="325240"/>
                        <a:pt x="143490" y="291680"/>
                        <a:pt x="128236" y="258121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: 形状 74">
                  <a:extLst>
                    <a:ext uri="{FF2B5EF4-FFF2-40B4-BE49-F238E27FC236}">
                      <a16:creationId xmlns:a16="http://schemas.microsoft.com/office/drawing/2014/main" id="{FA4470C1-01C5-45DD-B9A9-EC79C79311BF}"/>
                    </a:ext>
                  </a:extLst>
                </p:cNvPr>
                <p:cNvSpPr/>
                <p:nvPr/>
              </p:nvSpPr>
              <p:spPr>
                <a:xfrm>
                  <a:off x="24306273" y="11857091"/>
                  <a:ext cx="249339" cy="445544"/>
                </a:xfrm>
                <a:custGeom>
                  <a:avLst/>
                  <a:gdLst>
                    <a:gd name="connsiteX0" fmla="*/ 207457 w 249339"/>
                    <a:gd name="connsiteY0" fmla="*/ 5644 h 445544"/>
                    <a:gd name="connsiteX1" fmla="*/ 0 w 249339"/>
                    <a:gd name="connsiteY1" fmla="*/ 420559 h 445544"/>
                    <a:gd name="connsiteX2" fmla="*/ 30508 w 249339"/>
                    <a:gd name="connsiteY2" fmla="*/ 444966 h 445544"/>
                    <a:gd name="connsiteX3" fmla="*/ 88473 w 249339"/>
                    <a:gd name="connsiteY3" fmla="*/ 432763 h 445544"/>
                    <a:gd name="connsiteX4" fmla="*/ 106780 w 249339"/>
                    <a:gd name="connsiteY4" fmla="*/ 408356 h 445544"/>
                    <a:gd name="connsiteX5" fmla="*/ 134236 w 249339"/>
                    <a:gd name="connsiteY5" fmla="*/ 203950 h 445544"/>
                    <a:gd name="connsiteX6" fmla="*/ 241016 w 249339"/>
                    <a:gd name="connsiteY6" fmla="*/ 45305 h 445544"/>
                    <a:gd name="connsiteX7" fmla="*/ 244068 w 249339"/>
                    <a:gd name="connsiteY7" fmla="*/ 36153 h 445544"/>
                    <a:gd name="connsiteX8" fmla="*/ 207457 w 249339"/>
                    <a:gd name="connsiteY8" fmla="*/ 5644 h 445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49339" h="445544">
                      <a:moveTo>
                        <a:pt x="207457" y="5644"/>
                      </a:moveTo>
                      <a:cubicBezTo>
                        <a:pt x="79321" y="109373"/>
                        <a:pt x="6100" y="258864"/>
                        <a:pt x="0" y="420559"/>
                      </a:cubicBezTo>
                      <a:cubicBezTo>
                        <a:pt x="0" y="438864"/>
                        <a:pt x="15254" y="448017"/>
                        <a:pt x="30508" y="444966"/>
                      </a:cubicBezTo>
                      <a:cubicBezTo>
                        <a:pt x="48813" y="441915"/>
                        <a:pt x="70169" y="438864"/>
                        <a:pt x="88473" y="432763"/>
                      </a:cubicBezTo>
                      <a:cubicBezTo>
                        <a:pt x="97626" y="429712"/>
                        <a:pt x="106780" y="417509"/>
                        <a:pt x="106780" y="408356"/>
                      </a:cubicBezTo>
                      <a:cubicBezTo>
                        <a:pt x="97626" y="335136"/>
                        <a:pt x="106780" y="264967"/>
                        <a:pt x="134236" y="203950"/>
                      </a:cubicBezTo>
                      <a:cubicBezTo>
                        <a:pt x="170847" y="145983"/>
                        <a:pt x="213559" y="91068"/>
                        <a:pt x="241016" y="45305"/>
                      </a:cubicBezTo>
                      <a:cubicBezTo>
                        <a:pt x="244068" y="42254"/>
                        <a:pt x="244068" y="39203"/>
                        <a:pt x="244068" y="36153"/>
                      </a:cubicBezTo>
                      <a:cubicBezTo>
                        <a:pt x="262372" y="17848"/>
                        <a:pt x="228814" y="-12661"/>
                        <a:pt x="207457" y="564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: 形状 75">
                  <a:extLst>
                    <a:ext uri="{FF2B5EF4-FFF2-40B4-BE49-F238E27FC236}">
                      <a16:creationId xmlns:a16="http://schemas.microsoft.com/office/drawing/2014/main" id="{D1D4D934-5482-478C-AFC3-80732F9DA3B1}"/>
                    </a:ext>
                  </a:extLst>
                </p:cNvPr>
                <p:cNvSpPr/>
                <p:nvPr/>
              </p:nvSpPr>
              <p:spPr>
                <a:xfrm>
                  <a:off x="24589810" y="11872992"/>
                  <a:ext cx="142818" cy="300167"/>
                </a:xfrm>
                <a:custGeom>
                  <a:avLst/>
                  <a:gdLst>
                    <a:gd name="connsiteX0" fmla="*/ 134428 w 142818"/>
                    <a:gd name="connsiteY0" fmla="*/ 181947 h 300167"/>
                    <a:gd name="connsiteX1" fmla="*/ 64258 w 142818"/>
                    <a:gd name="connsiteY1" fmla="*/ 20252 h 300167"/>
                    <a:gd name="connsiteX2" fmla="*/ 55106 w 142818"/>
                    <a:gd name="connsiteY2" fmla="*/ 4998 h 300167"/>
                    <a:gd name="connsiteX3" fmla="*/ 15446 w 142818"/>
                    <a:gd name="connsiteY3" fmla="*/ 17201 h 300167"/>
                    <a:gd name="connsiteX4" fmla="*/ 42902 w 142818"/>
                    <a:gd name="connsiteY4" fmla="*/ 288727 h 300167"/>
                    <a:gd name="connsiteX5" fmla="*/ 85615 w 142818"/>
                    <a:gd name="connsiteY5" fmla="*/ 288727 h 300167"/>
                    <a:gd name="connsiteX6" fmla="*/ 137480 w 142818"/>
                    <a:gd name="connsiteY6" fmla="*/ 218557 h 300167"/>
                    <a:gd name="connsiteX7" fmla="*/ 134428 w 142818"/>
                    <a:gd name="connsiteY7" fmla="*/ 181947 h 300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2818" h="300167">
                      <a:moveTo>
                        <a:pt x="134428" y="181947"/>
                      </a:moveTo>
                      <a:cubicBezTo>
                        <a:pt x="82565" y="142286"/>
                        <a:pt x="73411" y="81269"/>
                        <a:pt x="64258" y="20252"/>
                      </a:cubicBezTo>
                      <a:cubicBezTo>
                        <a:pt x="64258" y="11099"/>
                        <a:pt x="58156" y="8048"/>
                        <a:pt x="55106" y="4998"/>
                      </a:cubicBezTo>
                      <a:cubicBezTo>
                        <a:pt x="42902" y="-4155"/>
                        <a:pt x="21548" y="-1104"/>
                        <a:pt x="15446" y="17201"/>
                      </a:cubicBezTo>
                      <a:cubicBezTo>
                        <a:pt x="-12013" y="108727"/>
                        <a:pt x="-2861" y="203303"/>
                        <a:pt x="42902" y="288727"/>
                      </a:cubicBezTo>
                      <a:cubicBezTo>
                        <a:pt x="52056" y="303981"/>
                        <a:pt x="76463" y="303981"/>
                        <a:pt x="85615" y="288727"/>
                      </a:cubicBezTo>
                      <a:cubicBezTo>
                        <a:pt x="100869" y="264320"/>
                        <a:pt x="116123" y="239913"/>
                        <a:pt x="137480" y="218557"/>
                      </a:cubicBezTo>
                      <a:cubicBezTo>
                        <a:pt x="143582" y="206353"/>
                        <a:pt x="146632" y="191099"/>
                        <a:pt x="134428" y="181947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65" name="图形 1">
                <a:extLst>
                  <a:ext uri="{FF2B5EF4-FFF2-40B4-BE49-F238E27FC236}">
                    <a16:creationId xmlns:a16="http://schemas.microsoft.com/office/drawing/2014/main" id="{7A100467-CF58-4ACC-8C18-AADC775A886D}"/>
                  </a:ext>
                </a:extLst>
              </p:cNvPr>
              <p:cNvGrpSpPr/>
              <p:nvPr/>
            </p:nvGrpSpPr>
            <p:grpSpPr>
              <a:xfrm>
                <a:off x="25093391" y="11626914"/>
                <a:ext cx="970169" cy="845990"/>
                <a:chOff x="25093391" y="11626914"/>
                <a:chExt cx="970169" cy="845990"/>
              </a:xfrm>
            </p:grpSpPr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91342487-470A-478E-96A7-6F318AA5527A}"/>
                    </a:ext>
                  </a:extLst>
                </p:cNvPr>
                <p:cNvSpPr/>
                <p:nvPr/>
              </p:nvSpPr>
              <p:spPr>
                <a:xfrm>
                  <a:off x="25267289" y="11990871"/>
                  <a:ext cx="796271" cy="482033"/>
                </a:xfrm>
                <a:custGeom>
                  <a:avLst/>
                  <a:gdLst>
                    <a:gd name="connsiteX0" fmla="*/ 1 w 796271"/>
                    <a:gd name="connsiteY0" fmla="*/ 0 h 482033"/>
                    <a:gd name="connsiteX1" fmla="*/ 796271 w 796271"/>
                    <a:gd name="connsiteY1" fmla="*/ 0 h 482033"/>
                    <a:gd name="connsiteX2" fmla="*/ 796271 w 796271"/>
                    <a:gd name="connsiteY2" fmla="*/ 482033 h 482033"/>
                    <a:gd name="connsiteX3" fmla="*/ 1 w 796271"/>
                    <a:gd name="connsiteY3" fmla="*/ 482033 h 482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96271" h="482033">
                      <a:moveTo>
                        <a:pt x="1" y="0"/>
                      </a:moveTo>
                      <a:lnTo>
                        <a:pt x="796271" y="0"/>
                      </a:lnTo>
                      <a:lnTo>
                        <a:pt x="796271" y="482033"/>
                      </a:lnTo>
                      <a:lnTo>
                        <a:pt x="1" y="482033"/>
                      </a:lnTo>
                      <a:close/>
                    </a:path>
                  </a:pathLst>
                </a:custGeom>
                <a:solidFill>
                  <a:srgbClr val="728CB2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7" name="任意多边形: 形状 66">
                  <a:extLst>
                    <a:ext uri="{FF2B5EF4-FFF2-40B4-BE49-F238E27FC236}">
                      <a16:creationId xmlns:a16="http://schemas.microsoft.com/office/drawing/2014/main" id="{C88A070B-DD41-4833-95F2-8022AF9D5A40}"/>
                    </a:ext>
                  </a:extLst>
                </p:cNvPr>
                <p:cNvSpPr/>
                <p:nvPr/>
              </p:nvSpPr>
              <p:spPr>
                <a:xfrm>
                  <a:off x="25093391" y="11990871"/>
                  <a:ext cx="796271" cy="482033"/>
                </a:xfrm>
                <a:custGeom>
                  <a:avLst/>
                  <a:gdLst>
                    <a:gd name="connsiteX0" fmla="*/ 0 w 796271"/>
                    <a:gd name="connsiteY0" fmla="*/ 0 h 482033"/>
                    <a:gd name="connsiteX1" fmla="*/ 796271 w 796271"/>
                    <a:gd name="connsiteY1" fmla="*/ 0 h 482033"/>
                    <a:gd name="connsiteX2" fmla="*/ 796271 w 796271"/>
                    <a:gd name="connsiteY2" fmla="*/ 482033 h 482033"/>
                    <a:gd name="connsiteX3" fmla="*/ 0 w 796271"/>
                    <a:gd name="connsiteY3" fmla="*/ 482033 h 482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96271" h="482033">
                      <a:moveTo>
                        <a:pt x="0" y="0"/>
                      </a:moveTo>
                      <a:lnTo>
                        <a:pt x="796271" y="0"/>
                      </a:lnTo>
                      <a:lnTo>
                        <a:pt x="796271" y="482033"/>
                      </a:lnTo>
                      <a:lnTo>
                        <a:pt x="0" y="482033"/>
                      </a:lnTo>
                      <a:close/>
                    </a:path>
                  </a:pathLst>
                </a:custGeom>
                <a:solidFill>
                  <a:srgbClr val="7F95BC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8" name="任意多边形: 形状 67">
                  <a:extLst>
                    <a:ext uri="{FF2B5EF4-FFF2-40B4-BE49-F238E27FC236}">
                      <a16:creationId xmlns:a16="http://schemas.microsoft.com/office/drawing/2014/main" id="{F1A909EE-6895-4C86-9947-ACC759ACFED4}"/>
                    </a:ext>
                  </a:extLst>
                </p:cNvPr>
                <p:cNvSpPr/>
                <p:nvPr/>
              </p:nvSpPr>
              <p:spPr>
                <a:xfrm>
                  <a:off x="25435086" y="11990871"/>
                  <a:ext cx="109830" cy="482033"/>
                </a:xfrm>
                <a:custGeom>
                  <a:avLst/>
                  <a:gdLst>
                    <a:gd name="connsiteX0" fmla="*/ 1 w 109830"/>
                    <a:gd name="connsiteY0" fmla="*/ 0 h 482033"/>
                    <a:gd name="connsiteX1" fmla="*/ 109831 w 109830"/>
                    <a:gd name="connsiteY1" fmla="*/ 0 h 482033"/>
                    <a:gd name="connsiteX2" fmla="*/ 109831 w 109830"/>
                    <a:gd name="connsiteY2" fmla="*/ 482033 h 482033"/>
                    <a:gd name="connsiteX3" fmla="*/ 1 w 109830"/>
                    <a:gd name="connsiteY3" fmla="*/ 482033 h 482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830" h="482033">
                      <a:moveTo>
                        <a:pt x="1" y="0"/>
                      </a:moveTo>
                      <a:lnTo>
                        <a:pt x="109831" y="0"/>
                      </a:lnTo>
                      <a:lnTo>
                        <a:pt x="109831" y="482033"/>
                      </a:lnTo>
                      <a:lnTo>
                        <a:pt x="1" y="482033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9" name="任意多边形: 形状 68">
                  <a:extLst>
                    <a:ext uri="{FF2B5EF4-FFF2-40B4-BE49-F238E27FC236}">
                      <a16:creationId xmlns:a16="http://schemas.microsoft.com/office/drawing/2014/main" id="{86F3802C-DF0D-4CD3-89C1-E87C018DE5E7}"/>
                    </a:ext>
                  </a:extLst>
                </p:cNvPr>
                <p:cNvSpPr/>
                <p:nvPr/>
              </p:nvSpPr>
              <p:spPr>
                <a:xfrm>
                  <a:off x="25216624" y="11626914"/>
                  <a:ext cx="500774" cy="411457"/>
                </a:xfrm>
                <a:custGeom>
                  <a:avLst/>
                  <a:gdLst>
                    <a:gd name="connsiteX0" fmla="*/ 29309 w 500774"/>
                    <a:gd name="connsiteY0" fmla="*/ 16160 h 411457"/>
                    <a:gd name="connsiteX1" fmla="*/ 203208 w 500774"/>
                    <a:gd name="connsiteY1" fmla="*/ 80228 h 411457"/>
                    <a:gd name="connsiteX2" fmla="*/ 252021 w 500774"/>
                    <a:gd name="connsiteY2" fmla="*/ 208363 h 411457"/>
                    <a:gd name="connsiteX3" fmla="*/ 279479 w 500774"/>
                    <a:gd name="connsiteY3" fmla="*/ 150397 h 411457"/>
                    <a:gd name="connsiteX4" fmla="*/ 435072 w 500774"/>
                    <a:gd name="connsiteY4" fmla="*/ 43618 h 411457"/>
                    <a:gd name="connsiteX5" fmla="*/ 493039 w 500774"/>
                    <a:gd name="connsiteY5" fmla="*/ 238872 h 411457"/>
                    <a:gd name="connsiteX6" fmla="*/ 303886 w 500774"/>
                    <a:gd name="connsiteY6" fmla="*/ 394465 h 411457"/>
                    <a:gd name="connsiteX7" fmla="*/ 267275 w 500774"/>
                    <a:gd name="connsiteY7" fmla="*/ 403618 h 411457"/>
                    <a:gd name="connsiteX8" fmla="*/ 258123 w 500774"/>
                    <a:gd name="connsiteY8" fmla="*/ 391414 h 411457"/>
                    <a:gd name="connsiteX9" fmla="*/ 38462 w 500774"/>
                    <a:gd name="connsiteY9" fmla="*/ 205313 h 411457"/>
                    <a:gd name="connsiteX10" fmla="*/ 29309 w 500774"/>
                    <a:gd name="connsiteY10" fmla="*/ 16160 h 411457"/>
                    <a:gd name="connsiteX11" fmla="*/ 148291 w 500774"/>
                    <a:gd name="connsiteY11" fmla="*/ 98534 h 411457"/>
                    <a:gd name="connsiteX12" fmla="*/ 114733 w 500774"/>
                    <a:gd name="connsiteY12" fmla="*/ 168703 h 411457"/>
                    <a:gd name="connsiteX13" fmla="*/ 160496 w 500774"/>
                    <a:gd name="connsiteY13" fmla="*/ 235822 h 411457"/>
                    <a:gd name="connsiteX14" fmla="*/ 233717 w 500774"/>
                    <a:gd name="connsiteY14" fmla="*/ 312093 h 411457"/>
                    <a:gd name="connsiteX15" fmla="*/ 233717 w 500774"/>
                    <a:gd name="connsiteY15" fmla="*/ 296839 h 411457"/>
                    <a:gd name="connsiteX16" fmla="*/ 148291 w 500774"/>
                    <a:gd name="connsiteY16" fmla="*/ 98534 h 411457"/>
                    <a:gd name="connsiteX17" fmla="*/ 371005 w 500774"/>
                    <a:gd name="connsiteY17" fmla="*/ 260228 h 411457"/>
                    <a:gd name="connsiteX18" fmla="*/ 422868 w 500774"/>
                    <a:gd name="connsiteY18" fmla="*/ 147346 h 411457"/>
                    <a:gd name="connsiteX19" fmla="*/ 343546 w 500774"/>
                    <a:gd name="connsiteY19" fmla="*/ 150397 h 411457"/>
                    <a:gd name="connsiteX20" fmla="*/ 297784 w 500774"/>
                    <a:gd name="connsiteY20" fmla="*/ 327347 h 411457"/>
                    <a:gd name="connsiteX21" fmla="*/ 371005 w 500774"/>
                    <a:gd name="connsiteY21" fmla="*/ 260228 h 411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00774" h="411457">
                      <a:moveTo>
                        <a:pt x="29309" y="16160"/>
                      </a:moveTo>
                      <a:cubicBezTo>
                        <a:pt x="87274" y="-29602"/>
                        <a:pt x="172700" y="31415"/>
                        <a:pt x="203208" y="80228"/>
                      </a:cubicBezTo>
                      <a:cubicBezTo>
                        <a:pt x="227615" y="119889"/>
                        <a:pt x="239817" y="162601"/>
                        <a:pt x="252021" y="208363"/>
                      </a:cubicBezTo>
                      <a:cubicBezTo>
                        <a:pt x="261173" y="187008"/>
                        <a:pt x="270325" y="168703"/>
                        <a:pt x="279479" y="150397"/>
                      </a:cubicBezTo>
                      <a:cubicBezTo>
                        <a:pt x="306936" y="98534"/>
                        <a:pt x="364903" y="3957"/>
                        <a:pt x="435072" y="43618"/>
                      </a:cubicBezTo>
                      <a:cubicBezTo>
                        <a:pt x="499139" y="77177"/>
                        <a:pt x="511343" y="174805"/>
                        <a:pt x="493039" y="238872"/>
                      </a:cubicBezTo>
                      <a:cubicBezTo>
                        <a:pt x="465580" y="327347"/>
                        <a:pt x="386259" y="376160"/>
                        <a:pt x="303886" y="394465"/>
                      </a:cubicBezTo>
                      <a:cubicBezTo>
                        <a:pt x="300834" y="409719"/>
                        <a:pt x="279479" y="418873"/>
                        <a:pt x="267275" y="403618"/>
                      </a:cubicBezTo>
                      <a:cubicBezTo>
                        <a:pt x="264225" y="400567"/>
                        <a:pt x="261173" y="394465"/>
                        <a:pt x="258123" y="391414"/>
                      </a:cubicBezTo>
                      <a:cubicBezTo>
                        <a:pt x="178800" y="339550"/>
                        <a:pt x="87274" y="290737"/>
                        <a:pt x="38462" y="205313"/>
                      </a:cubicBezTo>
                      <a:cubicBezTo>
                        <a:pt x="7953" y="156499"/>
                        <a:pt x="-25605" y="58872"/>
                        <a:pt x="29309" y="16160"/>
                      </a:cubicBezTo>
                      <a:close/>
                      <a:moveTo>
                        <a:pt x="148291" y="98534"/>
                      </a:moveTo>
                      <a:cubicBezTo>
                        <a:pt x="123885" y="98534"/>
                        <a:pt x="99479" y="129042"/>
                        <a:pt x="114733" y="168703"/>
                      </a:cubicBezTo>
                      <a:cubicBezTo>
                        <a:pt x="123885" y="193109"/>
                        <a:pt x="145241" y="217516"/>
                        <a:pt x="160496" y="235822"/>
                      </a:cubicBezTo>
                      <a:cubicBezTo>
                        <a:pt x="181852" y="263279"/>
                        <a:pt x="206258" y="290737"/>
                        <a:pt x="233717" y="312093"/>
                      </a:cubicBezTo>
                      <a:cubicBezTo>
                        <a:pt x="233717" y="305991"/>
                        <a:pt x="233717" y="302940"/>
                        <a:pt x="233717" y="296839"/>
                      </a:cubicBezTo>
                      <a:cubicBezTo>
                        <a:pt x="221513" y="257177"/>
                        <a:pt x="215410" y="138194"/>
                        <a:pt x="148291" y="98534"/>
                      </a:cubicBezTo>
                      <a:close/>
                      <a:moveTo>
                        <a:pt x="371005" y="260228"/>
                      </a:moveTo>
                      <a:cubicBezTo>
                        <a:pt x="401513" y="229720"/>
                        <a:pt x="425920" y="193109"/>
                        <a:pt x="422868" y="147346"/>
                      </a:cubicBezTo>
                      <a:cubicBezTo>
                        <a:pt x="419818" y="92431"/>
                        <a:pt x="364903" y="113788"/>
                        <a:pt x="343546" y="150397"/>
                      </a:cubicBezTo>
                      <a:cubicBezTo>
                        <a:pt x="316088" y="196160"/>
                        <a:pt x="297784" y="266330"/>
                        <a:pt x="297784" y="327347"/>
                      </a:cubicBezTo>
                      <a:cubicBezTo>
                        <a:pt x="325242" y="309042"/>
                        <a:pt x="349648" y="284635"/>
                        <a:pt x="371005" y="260228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: 形状 69">
                  <a:extLst>
                    <a:ext uri="{FF2B5EF4-FFF2-40B4-BE49-F238E27FC236}">
                      <a16:creationId xmlns:a16="http://schemas.microsoft.com/office/drawing/2014/main" id="{F1A7B3A2-252A-4B9C-B8F0-C2AC31778348}"/>
                    </a:ext>
                  </a:extLst>
                </p:cNvPr>
                <p:cNvSpPr/>
                <p:nvPr/>
              </p:nvSpPr>
              <p:spPr>
                <a:xfrm>
                  <a:off x="25529662" y="11990769"/>
                  <a:ext cx="214925" cy="238458"/>
                </a:xfrm>
                <a:custGeom>
                  <a:avLst/>
                  <a:gdLst>
                    <a:gd name="connsiteX0" fmla="*/ 79321 w 214925"/>
                    <a:gd name="connsiteY0" fmla="*/ 201458 h 238458"/>
                    <a:gd name="connsiteX1" fmla="*/ 6102 w 214925"/>
                    <a:gd name="connsiteY1" fmla="*/ 39763 h 238458"/>
                    <a:gd name="connsiteX2" fmla="*/ 0 w 214925"/>
                    <a:gd name="connsiteY2" fmla="*/ 21458 h 238458"/>
                    <a:gd name="connsiteX3" fmla="*/ 33559 w 214925"/>
                    <a:gd name="connsiteY3" fmla="*/ 3152 h 238458"/>
                    <a:gd name="connsiteX4" fmla="*/ 213559 w 214925"/>
                    <a:gd name="connsiteY4" fmla="*/ 207560 h 238458"/>
                    <a:gd name="connsiteX5" fmla="*/ 186101 w 214925"/>
                    <a:gd name="connsiteY5" fmla="*/ 238068 h 238458"/>
                    <a:gd name="connsiteX6" fmla="*/ 103730 w 214925"/>
                    <a:gd name="connsiteY6" fmla="*/ 225864 h 238458"/>
                    <a:gd name="connsiteX7" fmla="*/ 79321 w 214925"/>
                    <a:gd name="connsiteY7" fmla="*/ 201458 h 2384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4925" h="238458">
                      <a:moveTo>
                        <a:pt x="79321" y="201458"/>
                      </a:moveTo>
                      <a:cubicBezTo>
                        <a:pt x="82373" y="137390"/>
                        <a:pt x="45763" y="88576"/>
                        <a:pt x="6102" y="39763"/>
                      </a:cubicBezTo>
                      <a:cubicBezTo>
                        <a:pt x="0" y="33661"/>
                        <a:pt x="0" y="27559"/>
                        <a:pt x="0" y="21458"/>
                      </a:cubicBezTo>
                      <a:cubicBezTo>
                        <a:pt x="0" y="6204"/>
                        <a:pt x="15254" y="-6000"/>
                        <a:pt x="33559" y="3152"/>
                      </a:cubicBezTo>
                      <a:cubicBezTo>
                        <a:pt x="118984" y="45864"/>
                        <a:pt x="180001" y="119084"/>
                        <a:pt x="213559" y="207560"/>
                      </a:cubicBezTo>
                      <a:cubicBezTo>
                        <a:pt x="219661" y="225864"/>
                        <a:pt x="204407" y="241118"/>
                        <a:pt x="186101" y="238068"/>
                      </a:cubicBezTo>
                      <a:cubicBezTo>
                        <a:pt x="158644" y="231966"/>
                        <a:pt x="131186" y="225864"/>
                        <a:pt x="103730" y="225864"/>
                      </a:cubicBezTo>
                      <a:cubicBezTo>
                        <a:pt x="94576" y="222814"/>
                        <a:pt x="79321" y="213661"/>
                        <a:pt x="79321" y="201458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E8131A0B-7842-4E95-8CA3-A86B43330704}"/>
                </a:ext>
              </a:extLst>
            </p:cNvPr>
            <p:cNvGrpSpPr/>
            <p:nvPr/>
          </p:nvGrpSpPr>
          <p:grpSpPr>
            <a:xfrm>
              <a:off x="21258397" y="8248622"/>
              <a:ext cx="2150956" cy="1948171"/>
              <a:chOff x="21258397" y="8248622"/>
              <a:chExt cx="2150956" cy="1948171"/>
            </a:xfrm>
          </p:grpSpPr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6D4103A2-9DE3-4E1E-831B-B3D6CC1D36F2}"/>
                  </a:ext>
                </a:extLst>
              </p:cNvPr>
              <p:cNvSpPr/>
              <p:nvPr/>
            </p:nvSpPr>
            <p:spPr>
              <a:xfrm>
                <a:off x="21258397" y="8248622"/>
                <a:ext cx="2150956" cy="1948171"/>
              </a:xfrm>
              <a:custGeom>
                <a:avLst/>
                <a:gdLst>
                  <a:gd name="connsiteX0" fmla="*/ 1742111 w 2150956"/>
                  <a:gd name="connsiteY0" fmla="*/ 236825 h 1948171"/>
                  <a:gd name="connsiteX1" fmla="*/ 1790926 w 2150956"/>
                  <a:gd name="connsiteY1" fmla="*/ 11063 h 1948171"/>
                  <a:gd name="connsiteX2" fmla="*/ 1842791 w 2150956"/>
                  <a:gd name="connsiteY2" fmla="*/ 145300 h 1948171"/>
                  <a:gd name="connsiteX3" fmla="*/ 1909908 w 2150956"/>
                  <a:gd name="connsiteY3" fmla="*/ 1910 h 1948171"/>
                  <a:gd name="connsiteX4" fmla="*/ 1964825 w 2150956"/>
                  <a:gd name="connsiteY4" fmla="*/ 169707 h 1948171"/>
                  <a:gd name="connsiteX5" fmla="*/ 2050248 w 2150956"/>
                  <a:gd name="connsiteY5" fmla="*/ 99537 h 1948171"/>
                  <a:gd name="connsiteX6" fmla="*/ 2010587 w 2150956"/>
                  <a:gd name="connsiteY6" fmla="*/ 230724 h 1948171"/>
                  <a:gd name="connsiteX7" fmla="*/ 2135671 w 2150956"/>
                  <a:gd name="connsiteY7" fmla="*/ 206317 h 1948171"/>
                  <a:gd name="connsiteX8" fmla="*/ 2065502 w 2150956"/>
                  <a:gd name="connsiteY8" fmla="*/ 294791 h 1948171"/>
                  <a:gd name="connsiteX9" fmla="*/ 2150926 w 2150956"/>
                  <a:gd name="connsiteY9" fmla="*/ 355808 h 1948171"/>
                  <a:gd name="connsiteX10" fmla="*/ 1894654 w 2150956"/>
                  <a:gd name="connsiteY10" fmla="*/ 364961 h 1948171"/>
                  <a:gd name="connsiteX11" fmla="*/ 1888554 w 2150956"/>
                  <a:gd name="connsiteY11" fmla="*/ 364961 h 1948171"/>
                  <a:gd name="connsiteX12" fmla="*/ 1891604 w 2150956"/>
                  <a:gd name="connsiteY12" fmla="*/ 404622 h 1948171"/>
                  <a:gd name="connsiteX13" fmla="*/ 930587 w 2150956"/>
                  <a:gd name="connsiteY13" fmla="*/ 1923944 h 1948171"/>
                  <a:gd name="connsiteX14" fmla="*/ 12282 w 2150956"/>
                  <a:gd name="connsiteY14" fmla="*/ 1026995 h 1948171"/>
                  <a:gd name="connsiteX15" fmla="*/ 1742111 w 2150956"/>
                  <a:gd name="connsiteY15" fmla="*/ 236825 h 1948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150956" h="1948171">
                    <a:moveTo>
                      <a:pt x="1742111" y="236825"/>
                    </a:moveTo>
                    <a:cubicBezTo>
                      <a:pt x="1742111" y="236825"/>
                      <a:pt x="1775672" y="1910"/>
                      <a:pt x="1790926" y="11063"/>
                    </a:cubicBezTo>
                    <a:cubicBezTo>
                      <a:pt x="1806180" y="20215"/>
                      <a:pt x="1842791" y="145300"/>
                      <a:pt x="1842791" y="145300"/>
                    </a:cubicBezTo>
                    <a:cubicBezTo>
                      <a:pt x="1842791" y="145300"/>
                      <a:pt x="1891604" y="-19446"/>
                      <a:pt x="1909908" y="1910"/>
                    </a:cubicBezTo>
                    <a:cubicBezTo>
                      <a:pt x="1931264" y="20215"/>
                      <a:pt x="1964825" y="169707"/>
                      <a:pt x="1964825" y="169707"/>
                    </a:cubicBezTo>
                    <a:cubicBezTo>
                      <a:pt x="1964825" y="169707"/>
                      <a:pt x="2007535" y="56826"/>
                      <a:pt x="2050248" y="99537"/>
                    </a:cubicBezTo>
                    <a:cubicBezTo>
                      <a:pt x="2092959" y="142249"/>
                      <a:pt x="2010587" y="230724"/>
                      <a:pt x="2010587" y="230724"/>
                    </a:cubicBezTo>
                    <a:cubicBezTo>
                      <a:pt x="2010587" y="230724"/>
                      <a:pt x="2111265" y="191063"/>
                      <a:pt x="2135671" y="206317"/>
                    </a:cubicBezTo>
                    <a:cubicBezTo>
                      <a:pt x="2160078" y="224622"/>
                      <a:pt x="2065502" y="294791"/>
                      <a:pt x="2065502" y="294791"/>
                    </a:cubicBezTo>
                    <a:cubicBezTo>
                      <a:pt x="2065502" y="294791"/>
                      <a:pt x="2147876" y="325300"/>
                      <a:pt x="2150926" y="355808"/>
                    </a:cubicBezTo>
                    <a:cubicBezTo>
                      <a:pt x="2153976" y="383266"/>
                      <a:pt x="1928214" y="368012"/>
                      <a:pt x="1894654" y="364961"/>
                    </a:cubicBezTo>
                    <a:cubicBezTo>
                      <a:pt x="1894654" y="364961"/>
                      <a:pt x="1891604" y="364961"/>
                      <a:pt x="1888554" y="364961"/>
                    </a:cubicBezTo>
                    <a:cubicBezTo>
                      <a:pt x="1891604" y="377165"/>
                      <a:pt x="1891604" y="389368"/>
                      <a:pt x="1891604" y="404622"/>
                    </a:cubicBezTo>
                    <a:cubicBezTo>
                      <a:pt x="1879400" y="523605"/>
                      <a:pt x="1534654" y="1679876"/>
                      <a:pt x="930587" y="1923944"/>
                    </a:cubicBezTo>
                    <a:cubicBezTo>
                      <a:pt x="518722" y="2088690"/>
                      <a:pt x="-94497" y="1371741"/>
                      <a:pt x="12282" y="1026995"/>
                    </a:cubicBezTo>
                    <a:cubicBezTo>
                      <a:pt x="231942" y="313097"/>
                      <a:pt x="1726857" y="236825"/>
                      <a:pt x="1742111" y="236825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4F39485D-7EDB-42BF-AD6C-B165D06F036F}"/>
                  </a:ext>
                </a:extLst>
              </p:cNvPr>
              <p:cNvSpPr/>
              <p:nvPr/>
            </p:nvSpPr>
            <p:spPr>
              <a:xfrm>
                <a:off x="22188984" y="9635617"/>
                <a:ext cx="222711" cy="186100"/>
              </a:xfrm>
              <a:custGeom>
                <a:avLst/>
                <a:gdLst>
                  <a:gd name="connsiteX0" fmla="*/ 9152 w 222711"/>
                  <a:gd name="connsiteY0" fmla="*/ 186101 h 186100"/>
                  <a:gd name="connsiteX1" fmla="*/ 6102 w 222711"/>
                  <a:gd name="connsiteY1" fmla="*/ 186101 h 186100"/>
                  <a:gd name="connsiteX2" fmla="*/ 0 w 222711"/>
                  <a:gd name="connsiteY2" fmla="*/ 180000 h 186100"/>
                  <a:gd name="connsiteX3" fmla="*/ 6102 w 222711"/>
                  <a:gd name="connsiteY3" fmla="*/ 173898 h 186100"/>
                  <a:gd name="connsiteX4" fmla="*/ 9152 w 222711"/>
                  <a:gd name="connsiteY4" fmla="*/ 173898 h 186100"/>
                  <a:gd name="connsiteX5" fmla="*/ 213559 w 222711"/>
                  <a:gd name="connsiteY5" fmla="*/ 3050 h 186100"/>
                  <a:gd name="connsiteX6" fmla="*/ 219661 w 222711"/>
                  <a:gd name="connsiteY6" fmla="*/ 0 h 186100"/>
                  <a:gd name="connsiteX7" fmla="*/ 222712 w 222711"/>
                  <a:gd name="connsiteY7" fmla="*/ 6101 h 186100"/>
                  <a:gd name="connsiteX8" fmla="*/ 9152 w 222711"/>
                  <a:gd name="connsiteY8" fmla="*/ 186101 h 186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2711" h="186100">
                    <a:moveTo>
                      <a:pt x="9152" y="186101"/>
                    </a:moveTo>
                    <a:cubicBezTo>
                      <a:pt x="9152" y="186101"/>
                      <a:pt x="6102" y="186101"/>
                      <a:pt x="6102" y="186101"/>
                    </a:cubicBezTo>
                    <a:cubicBezTo>
                      <a:pt x="3050" y="186101"/>
                      <a:pt x="0" y="183051"/>
                      <a:pt x="0" y="180000"/>
                    </a:cubicBezTo>
                    <a:cubicBezTo>
                      <a:pt x="0" y="176949"/>
                      <a:pt x="3050" y="173898"/>
                      <a:pt x="6102" y="173898"/>
                    </a:cubicBezTo>
                    <a:cubicBezTo>
                      <a:pt x="6102" y="173898"/>
                      <a:pt x="9152" y="173898"/>
                      <a:pt x="9152" y="173898"/>
                    </a:cubicBezTo>
                    <a:cubicBezTo>
                      <a:pt x="140338" y="173898"/>
                      <a:pt x="213559" y="6101"/>
                      <a:pt x="213559" y="3050"/>
                    </a:cubicBezTo>
                    <a:cubicBezTo>
                      <a:pt x="213559" y="0"/>
                      <a:pt x="216609" y="0"/>
                      <a:pt x="219661" y="0"/>
                    </a:cubicBezTo>
                    <a:cubicBezTo>
                      <a:pt x="222712" y="0"/>
                      <a:pt x="222712" y="3050"/>
                      <a:pt x="222712" y="6101"/>
                    </a:cubicBezTo>
                    <a:cubicBezTo>
                      <a:pt x="219661" y="12203"/>
                      <a:pt x="146440" y="186101"/>
                      <a:pt x="9152" y="18610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5D0B9159-E1FC-4883-A52F-C23F01FAAE98}"/>
                  </a:ext>
                </a:extLst>
              </p:cNvPr>
              <p:cNvSpPr/>
              <p:nvPr/>
            </p:nvSpPr>
            <p:spPr>
              <a:xfrm>
                <a:off x="21520408" y="9010193"/>
                <a:ext cx="198744" cy="329491"/>
              </a:xfrm>
              <a:custGeom>
                <a:avLst/>
                <a:gdLst>
                  <a:gd name="connsiteX0" fmla="*/ 34000 w 198744"/>
                  <a:gd name="connsiteY0" fmla="*/ 329492 h 329491"/>
                  <a:gd name="connsiteX1" fmla="*/ 27898 w 198744"/>
                  <a:gd name="connsiteY1" fmla="*/ 326441 h 329491"/>
                  <a:gd name="connsiteX2" fmla="*/ 12643 w 198744"/>
                  <a:gd name="connsiteY2" fmla="*/ 155593 h 329491"/>
                  <a:gd name="connsiteX3" fmla="*/ 192644 w 198744"/>
                  <a:gd name="connsiteY3" fmla="*/ 0 h 329491"/>
                  <a:gd name="connsiteX4" fmla="*/ 198744 w 198744"/>
                  <a:gd name="connsiteY4" fmla="*/ 3051 h 329491"/>
                  <a:gd name="connsiteX5" fmla="*/ 195694 w 198744"/>
                  <a:gd name="connsiteY5" fmla="*/ 9153 h 329491"/>
                  <a:gd name="connsiteX6" fmla="*/ 21795 w 198744"/>
                  <a:gd name="connsiteY6" fmla="*/ 158644 h 329491"/>
                  <a:gd name="connsiteX7" fmla="*/ 37050 w 198744"/>
                  <a:gd name="connsiteY7" fmla="*/ 320339 h 329491"/>
                  <a:gd name="connsiteX8" fmla="*/ 34000 w 198744"/>
                  <a:gd name="connsiteY8" fmla="*/ 329492 h 329491"/>
                  <a:gd name="connsiteX9" fmla="*/ 34000 w 198744"/>
                  <a:gd name="connsiteY9" fmla="*/ 329492 h 329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8744" h="329491">
                    <a:moveTo>
                      <a:pt x="34000" y="329492"/>
                    </a:moveTo>
                    <a:cubicBezTo>
                      <a:pt x="30948" y="329492"/>
                      <a:pt x="30948" y="329492"/>
                      <a:pt x="27898" y="326441"/>
                    </a:cubicBezTo>
                    <a:cubicBezTo>
                      <a:pt x="-2611" y="265424"/>
                      <a:pt x="-8713" y="207458"/>
                      <a:pt x="12643" y="155593"/>
                    </a:cubicBezTo>
                    <a:cubicBezTo>
                      <a:pt x="55356" y="48814"/>
                      <a:pt x="186542" y="3051"/>
                      <a:pt x="192644" y="0"/>
                    </a:cubicBezTo>
                    <a:cubicBezTo>
                      <a:pt x="195694" y="0"/>
                      <a:pt x="198744" y="0"/>
                      <a:pt x="198744" y="3051"/>
                    </a:cubicBezTo>
                    <a:cubicBezTo>
                      <a:pt x="198744" y="6102"/>
                      <a:pt x="198744" y="9153"/>
                      <a:pt x="195694" y="9153"/>
                    </a:cubicBezTo>
                    <a:cubicBezTo>
                      <a:pt x="195694" y="9153"/>
                      <a:pt x="61456" y="57966"/>
                      <a:pt x="21795" y="158644"/>
                    </a:cubicBezTo>
                    <a:cubicBezTo>
                      <a:pt x="439" y="207458"/>
                      <a:pt x="6541" y="262373"/>
                      <a:pt x="37050" y="320339"/>
                    </a:cubicBezTo>
                    <a:cubicBezTo>
                      <a:pt x="40102" y="323390"/>
                      <a:pt x="40102" y="326441"/>
                      <a:pt x="34000" y="329492"/>
                    </a:cubicBezTo>
                    <a:cubicBezTo>
                      <a:pt x="34000" y="329492"/>
                      <a:pt x="34000" y="329492"/>
                      <a:pt x="34000" y="32949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A3C37714-EC15-43EA-9DA9-277535F7A5F5}"/>
                </a:ext>
              </a:extLst>
            </p:cNvPr>
            <p:cNvSpPr/>
            <p:nvPr/>
          </p:nvSpPr>
          <p:spPr>
            <a:xfrm>
              <a:off x="22635958" y="10026125"/>
              <a:ext cx="1498351" cy="2278220"/>
            </a:xfrm>
            <a:custGeom>
              <a:avLst/>
              <a:gdLst>
                <a:gd name="connsiteX0" fmla="*/ 1032687 w 1498351"/>
                <a:gd name="connsiteY0" fmla="*/ 21356 h 2278220"/>
                <a:gd name="connsiteX1" fmla="*/ 1353026 w 1498351"/>
                <a:gd name="connsiteY1" fmla="*/ 1131865 h 2278220"/>
                <a:gd name="connsiteX2" fmla="*/ 1493364 w 1498351"/>
                <a:gd name="connsiteY2" fmla="*/ 2144746 h 2278220"/>
                <a:gd name="connsiteX3" fmla="*/ 1267602 w 1498351"/>
                <a:gd name="connsiteY3" fmla="*/ 2227119 h 2278220"/>
                <a:gd name="connsiteX4" fmla="*/ 935059 w 1498351"/>
                <a:gd name="connsiteY4" fmla="*/ 1336271 h 2278220"/>
                <a:gd name="connsiteX5" fmla="*/ 535399 w 1498351"/>
                <a:gd name="connsiteY5" fmla="*/ 503390 h 2278220"/>
                <a:gd name="connsiteX6" fmla="*/ 550653 w 1498351"/>
                <a:gd name="connsiteY6" fmla="*/ 1452204 h 2278220"/>
                <a:gd name="connsiteX7" fmla="*/ 318788 w 1498351"/>
                <a:gd name="connsiteY7" fmla="*/ 2242373 h 2278220"/>
                <a:gd name="connsiteX8" fmla="*/ 74720 w 1498351"/>
                <a:gd name="connsiteY8" fmla="*/ 2236271 h 2278220"/>
                <a:gd name="connsiteX9" fmla="*/ 89974 w 1498351"/>
                <a:gd name="connsiteY9" fmla="*/ 1458305 h 2278220"/>
                <a:gd name="connsiteX10" fmla="*/ 10653 w 1498351"/>
                <a:gd name="connsiteY10" fmla="*/ 0 h 2278220"/>
                <a:gd name="connsiteX11" fmla="*/ 1032687 w 1498351"/>
                <a:gd name="connsiteY11" fmla="*/ 21356 h 2278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98351" h="2278220">
                  <a:moveTo>
                    <a:pt x="1032687" y="21356"/>
                  </a:moveTo>
                  <a:lnTo>
                    <a:pt x="1353026" y="1131865"/>
                  </a:lnTo>
                  <a:cubicBezTo>
                    <a:pt x="1353026" y="1131865"/>
                    <a:pt x="1529974" y="1952542"/>
                    <a:pt x="1493364" y="2144746"/>
                  </a:cubicBezTo>
                  <a:cubicBezTo>
                    <a:pt x="1481162" y="2211865"/>
                    <a:pt x="1316415" y="2260678"/>
                    <a:pt x="1267602" y="2227119"/>
                  </a:cubicBezTo>
                  <a:cubicBezTo>
                    <a:pt x="1145568" y="2169153"/>
                    <a:pt x="935059" y="1336271"/>
                    <a:pt x="935059" y="1336271"/>
                  </a:cubicBezTo>
                  <a:cubicBezTo>
                    <a:pt x="935059" y="1336271"/>
                    <a:pt x="544551" y="518644"/>
                    <a:pt x="535399" y="503390"/>
                  </a:cubicBezTo>
                  <a:cubicBezTo>
                    <a:pt x="520145" y="472881"/>
                    <a:pt x="550653" y="1452204"/>
                    <a:pt x="550653" y="1452204"/>
                  </a:cubicBezTo>
                  <a:cubicBezTo>
                    <a:pt x="550653" y="1452204"/>
                    <a:pt x="443873" y="2181356"/>
                    <a:pt x="318788" y="2242373"/>
                  </a:cubicBezTo>
                  <a:cubicBezTo>
                    <a:pt x="263873" y="2288136"/>
                    <a:pt x="117432" y="2294238"/>
                    <a:pt x="74720" y="2236271"/>
                  </a:cubicBezTo>
                  <a:cubicBezTo>
                    <a:pt x="-13754" y="2117288"/>
                    <a:pt x="93026" y="1558983"/>
                    <a:pt x="89974" y="1458305"/>
                  </a:cubicBezTo>
                  <a:cubicBezTo>
                    <a:pt x="80822" y="1305762"/>
                    <a:pt x="-35110" y="97627"/>
                    <a:pt x="10653" y="0"/>
                  </a:cubicBezTo>
                  <a:cubicBezTo>
                    <a:pt x="706246" y="33560"/>
                    <a:pt x="1032687" y="21356"/>
                    <a:pt x="1032687" y="21356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E2DEE236-3F75-480B-96B6-C6D0802CEB39}"/>
                </a:ext>
              </a:extLst>
            </p:cNvPr>
            <p:cNvSpPr/>
            <p:nvPr/>
          </p:nvSpPr>
          <p:spPr>
            <a:xfrm>
              <a:off x="23165255" y="10172566"/>
              <a:ext cx="70169" cy="366101"/>
            </a:xfrm>
            <a:custGeom>
              <a:avLst/>
              <a:gdLst>
                <a:gd name="connsiteX0" fmla="*/ 6102 w 70169"/>
                <a:gd name="connsiteY0" fmla="*/ 366102 h 366101"/>
                <a:gd name="connsiteX1" fmla="*/ 6102 w 70169"/>
                <a:gd name="connsiteY1" fmla="*/ 366102 h 366101"/>
                <a:gd name="connsiteX2" fmla="*/ 0 w 70169"/>
                <a:gd name="connsiteY2" fmla="*/ 356950 h 366101"/>
                <a:gd name="connsiteX3" fmla="*/ 57967 w 70169"/>
                <a:gd name="connsiteY3" fmla="*/ 6102 h 366101"/>
                <a:gd name="connsiteX4" fmla="*/ 64067 w 70169"/>
                <a:gd name="connsiteY4" fmla="*/ 0 h 366101"/>
                <a:gd name="connsiteX5" fmla="*/ 70169 w 70169"/>
                <a:gd name="connsiteY5" fmla="*/ 6102 h 366101"/>
                <a:gd name="connsiteX6" fmla="*/ 12204 w 70169"/>
                <a:gd name="connsiteY6" fmla="*/ 360001 h 366101"/>
                <a:gd name="connsiteX7" fmla="*/ 6102 w 70169"/>
                <a:gd name="connsiteY7" fmla="*/ 366102 h 36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169" h="366101">
                  <a:moveTo>
                    <a:pt x="6102" y="366102"/>
                  </a:moveTo>
                  <a:cubicBezTo>
                    <a:pt x="6102" y="366102"/>
                    <a:pt x="3050" y="366102"/>
                    <a:pt x="6102" y="366102"/>
                  </a:cubicBezTo>
                  <a:cubicBezTo>
                    <a:pt x="0" y="363052"/>
                    <a:pt x="0" y="360001"/>
                    <a:pt x="0" y="356950"/>
                  </a:cubicBezTo>
                  <a:cubicBezTo>
                    <a:pt x="48813" y="244068"/>
                    <a:pt x="57967" y="9153"/>
                    <a:pt x="57967" y="6102"/>
                  </a:cubicBezTo>
                  <a:cubicBezTo>
                    <a:pt x="57967" y="3051"/>
                    <a:pt x="61017" y="0"/>
                    <a:pt x="64067" y="0"/>
                  </a:cubicBezTo>
                  <a:cubicBezTo>
                    <a:pt x="67119" y="0"/>
                    <a:pt x="70169" y="3051"/>
                    <a:pt x="70169" y="6102"/>
                  </a:cubicBezTo>
                  <a:cubicBezTo>
                    <a:pt x="70169" y="15254"/>
                    <a:pt x="61017" y="244068"/>
                    <a:pt x="12204" y="360001"/>
                  </a:cubicBezTo>
                  <a:cubicBezTo>
                    <a:pt x="9152" y="363052"/>
                    <a:pt x="9152" y="366102"/>
                    <a:pt x="6102" y="366102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C55017A6-3690-4906-A6CC-1A30085182EF}"/>
                </a:ext>
              </a:extLst>
            </p:cNvPr>
            <p:cNvSpPr/>
            <p:nvPr/>
          </p:nvSpPr>
          <p:spPr>
            <a:xfrm>
              <a:off x="23194500" y="10102397"/>
              <a:ext cx="156855" cy="356949"/>
            </a:xfrm>
            <a:custGeom>
              <a:avLst/>
              <a:gdLst>
                <a:gd name="connsiteX0" fmla="*/ 7365 w 156855"/>
                <a:gd name="connsiteY0" fmla="*/ 356950 h 356949"/>
                <a:gd name="connsiteX1" fmla="*/ 1263 w 156855"/>
                <a:gd name="connsiteY1" fmla="*/ 353899 h 356949"/>
                <a:gd name="connsiteX2" fmla="*/ 4313 w 156855"/>
                <a:gd name="connsiteY2" fmla="*/ 344745 h 356949"/>
                <a:gd name="connsiteX3" fmla="*/ 111093 w 156855"/>
                <a:gd name="connsiteY3" fmla="*/ 268474 h 356949"/>
                <a:gd name="connsiteX4" fmla="*/ 144654 w 156855"/>
                <a:gd name="connsiteY4" fmla="*/ 6102 h 356949"/>
                <a:gd name="connsiteX5" fmla="*/ 150756 w 156855"/>
                <a:gd name="connsiteY5" fmla="*/ 0 h 356949"/>
                <a:gd name="connsiteX6" fmla="*/ 156856 w 156855"/>
                <a:gd name="connsiteY6" fmla="*/ 6102 h 356949"/>
                <a:gd name="connsiteX7" fmla="*/ 123297 w 156855"/>
                <a:gd name="connsiteY7" fmla="*/ 274576 h 356949"/>
                <a:gd name="connsiteX8" fmla="*/ 13468 w 156855"/>
                <a:gd name="connsiteY8" fmla="*/ 353899 h 356949"/>
                <a:gd name="connsiteX9" fmla="*/ 7365 w 156855"/>
                <a:gd name="connsiteY9" fmla="*/ 356950 h 35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855" h="356949">
                  <a:moveTo>
                    <a:pt x="7365" y="356950"/>
                  </a:moveTo>
                  <a:cubicBezTo>
                    <a:pt x="4313" y="356950"/>
                    <a:pt x="4313" y="356950"/>
                    <a:pt x="1263" y="353899"/>
                  </a:cubicBezTo>
                  <a:cubicBezTo>
                    <a:pt x="-1787" y="350847"/>
                    <a:pt x="1263" y="347796"/>
                    <a:pt x="4313" y="344745"/>
                  </a:cubicBezTo>
                  <a:cubicBezTo>
                    <a:pt x="43976" y="320339"/>
                    <a:pt x="101941" y="277627"/>
                    <a:pt x="111093" y="268474"/>
                  </a:cubicBezTo>
                  <a:cubicBezTo>
                    <a:pt x="120247" y="256271"/>
                    <a:pt x="135501" y="100678"/>
                    <a:pt x="144654" y="6102"/>
                  </a:cubicBezTo>
                  <a:cubicBezTo>
                    <a:pt x="144654" y="3051"/>
                    <a:pt x="147704" y="0"/>
                    <a:pt x="150756" y="0"/>
                  </a:cubicBezTo>
                  <a:cubicBezTo>
                    <a:pt x="153806" y="0"/>
                    <a:pt x="156856" y="3051"/>
                    <a:pt x="156856" y="6102"/>
                  </a:cubicBezTo>
                  <a:cubicBezTo>
                    <a:pt x="153806" y="48814"/>
                    <a:pt x="132449" y="259322"/>
                    <a:pt x="123297" y="274576"/>
                  </a:cubicBezTo>
                  <a:cubicBezTo>
                    <a:pt x="111093" y="289831"/>
                    <a:pt x="22620" y="347796"/>
                    <a:pt x="13468" y="353899"/>
                  </a:cubicBezTo>
                  <a:cubicBezTo>
                    <a:pt x="7365" y="356950"/>
                    <a:pt x="7365" y="356950"/>
                    <a:pt x="7365" y="356950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48C1BF5C-4C41-418F-BF87-4E8C1D727086}"/>
                </a:ext>
              </a:extLst>
            </p:cNvPr>
            <p:cNvGrpSpPr/>
            <p:nvPr/>
          </p:nvGrpSpPr>
          <p:grpSpPr>
            <a:xfrm>
              <a:off x="22676482" y="12198329"/>
              <a:ext cx="525383" cy="329491"/>
              <a:chOff x="22676482" y="12198329"/>
              <a:chExt cx="525383" cy="329491"/>
            </a:xfrm>
          </p:grpSpPr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C0C903CE-D782-4B5F-972B-60647A66C176}"/>
                  </a:ext>
                </a:extLst>
              </p:cNvPr>
              <p:cNvSpPr/>
              <p:nvPr/>
            </p:nvSpPr>
            <p:spPr>
              <a:xfrm>
                <a:off x="22710679" y="12482058"/>
                <a:ext cx="488135" cy="45762"/>
              </a:xfrm>
              <a:custGeom>
                <a:avLst/>
                <a:gdLst>
                  <a:gd name="connsiteX0" fmla="*/ -1 w 488135"/>
                  <a:gd name="connsiteY0" fmla="*/ 0 h 45762"/>
                  <a:gd name="connsiteX1" fmla="*/ 488135 w 488135"/>
                  <a:gd name="connsiteY1" fmla="*/ 0 h 45762"/>
                  <a:gd name="connsiteX2" fmla="*/ 488135 w 488135"/>
                  <a:gd name="connsiteY2" fmla="*/ 45763 h 45762"/>
                  <a:gd name="connsiteX3" fmla="*/ -1 w 488135"/>
                  <a:gd name="connsiteY3" fmla="*/ 45763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5" h="45762">
                    <a:moveTo>
                      <a:pt x="-1" y="0"/>
                    </a:moveTo>
                    <a:lnTo>
                      <a:pt x="488135" y="0"/>
                    </a:lnTo>
                    <a:lnTo>
                      <a:pt x="488135" y="45763"/>
                    </a:lnTo>
                    <a:lnTo>
                      <a:pt x="-1" y="45763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71F6B7E0-E89B-4834-B634-0B188D387C37}"/>
                  </a:ext>
                </a:extLst>
              </p:cNvPr>
              <p:cNvSpPr/>
              <p:nvPr/>
            </p:nvSpPr>
            <p:spPr>
              <a:xfrm>
                <a:off x="22676482" y="12198329"/>
                <a:ext cx="525383" cy="286779"/>
              </a:xfrm>
              <a:custGeom>
                <a:avLst/>
                <a:gdLst>
                  <a:gd name="connsiteX0" fmla="*/ 637 w 525383"/>
                  <a:gd name="connsiteY0" fmla="*/ 0 h 286779"/>
                  <a:gd name="connsiteX1" fmla="*/ 339281 w 525383"/>
                  <a:gd name="connsiteY1" fmla="*/ 18304 h 286779"/>
                  <a:gd name="connsiteX2" fmla="*/ 299620 w 525383"/>
                  <a:gd name="connsiteY2" fmla="*/ 158644 h 286779"/>
                  <a:gd name="connsiteX3" fmla="*/ 357587 w 525383"/>
                  <a:gd name="connsiteY3" fmla="*/ 180000 h 286779"/>
                  <a:gd name="connsiteX4" fmla="*/ 525383 w 525383"/>
                  <a:gd name="connsiteY4" fmla="*/ 286779 h 286779"/>
                  <a:gd name="connsiteX5" fmla="*/ 37248 w 525383"/>
                  <a:gd name="connsiteY5" fmla="*/ 286779 h 286779"/>
                  <a:gd name="connsiteX6" fmla="*/ 637 w 525383"/>
                  <a:gd name="connsiteY6" fmla="*/ 0 h 28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5383" h="286779">
                    <a:moveTo>
                      <a:pt x="637" y="0"/>
                    </a:moveTo>
                    <a:lnTo>
                      <a:pt x="339281" y="18304"/>
                    </a:lnTo>
                    <a:lnTo>
                      <a:pt x="299620" y="158644"/>
                    </a:lnTo>
                    <a:cubicBezTo>
                      <a:pt x="320976" y="167797"/>
                      <a:pt x="339281" y="173898"/>
                      <a:pt x="357587" y="180000"/>
                    </a:cubicBezTo>
                    <a:cubicBezTo>
                      <a:pt x="400297" y="195254"/>
                      <a:pt x="513179" y="213559"/>
                      <a:pt x="525383" y="286779"/>
                    </a:cubicBezTo>
                    <a:lnTo>
                      <a:pt x="37248" y="286779"/>
                    </a:lnTo>
                    <a:cubicBezTo>
                      <a:pt x="34196" y="283728"/>
                      <a:pt x="-5465" y="192203"/>
                      <a:pt x="637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D86B1B19-9996-4874-8E61-E926F6670FA8}"/>
                </a:ext>
              </a:extLst>
            </p:cNvPr>
            <p:cNvSpPr/>
            <p:nvPr/>
          </p:nvSpPr>
          <p:spPr>
            <a:xfrm>
              <a:off x="23866777" y="8876125"/>
              <a:ext cx="283352" cy="773973"/>
            </a:xfrm>
            <a:custGeom>
              <a:avLst/>
              <a:gdLst>
                <a:gd name="connsiteX0" fmla="*/ 172 w 283352"/>
                <a:gd name="connsiteY0" fmla="*/ 387288 h 773973"/>
                <a:gd name="connsiteX1" fmla="*/ 174071 w 283352"/>
                <a:gd name="connsiteY1" fmla="*/ 21186 h 773973"/>
                <a:gd name="connsiteX2" fmla="*/ 210682 w 283352"/>
                <a:gd name="connsiteY2" fmla="*/ 97458 h 773973"/>
                <a:gd name="connsiteX3" fmla="*/ 280851 w 283352"/>
                <a:gd name="connsiteY3" fmla="*/ 533729 h 773973"/>
                <a:gd name="connsiteX4" fmla="*/ 180173 w 283352"/>
                <a:gd name="connsiteY4" fmla="*/ 768644 h 773973"/>
                <a:gd name="connsiteX5" fmla="*/ 172 w 283352"/>
                <a:gd name="connsiteY5" fmla="*/ 387288 h 773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3352" h="773973">
                  <a:moveTo>
                    <a:pt x="172" y="387288"/>
                  </a:moveTo>
                  <a:cubicBezTo>
                    <a:pt x="-2878" y="320170"/>
                    <a:pt x="33731" y="-97796"/>
                    <a:pt x="174071" y="21186"/>
                  </a:cubicBezTo>
                  <a:cubicBezTo>
                    <a:pt x="192375" y="36441"/>
                    <a:pt x="204580" y="63898"/>
                    <a:pt x="210682" y="97458"/>
                  </a:cubicBezTo>
                  <a:cubicBezTo>
                    <a:pt x="256444" y="237797"/>
                    <a:pt x="265597" y="387288"/>
                    <a:pt x="280851" y="533729"/>
                  </a:cubicBezTo>
                  <a:cubicBezTo>
                    <a:pt x="290003" y="619153"/>
                    <a:pt x="277799" y="744238"/>
                    <a:pt x="180173" y="768644"/>
                  </a:cubicBezTo>
                  <a:cubicBezTo>
                    <a:pt x="-8980" y="814407"/>
                    <a:pt x="12377" y="555085"/>
                    <a:pt x="172" y="387288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" name="图形 1">
              <a:extLst>
                <a:ext uri="{FF2B5EF4-FFF2-40B4-BE49-F238E27FC236}">
                  <a16:creationId xmlns:a16="http://schemas.microsoft.com/office/drawing/2014/main" id="{E75351BB-C5E5-49B8-B306-8083D95EE357}"/>
                </a:ext>
              </a:extLst>
            </p:cNvPr>
            <p:cNvGrpSpPr/>
            <p:nvPr/>
          </p:nvGrpSpPr>
          <p:grpSpPr>
            <a:xfrm>
              <a:off x="23836441" y="12100702"/>
              <a:ext cx="602319" cy="401006"/>
              <a:chOff x="23836441" y="12100702"/>
              <a:chExt cx="602319" cy="401006"/>
            </a:xfrm>
          </p:grpSpPr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0F35D40D-26DB-47A3-BC03-DF4BBAEA55F9}"/>
                  </a:ext>
                </a:extLst>
              </p:cNvPr>
              <p:cNvSpPr/>
              <p:nvPr/>
            </p:nvSpPr>
            <p:spPr>
              <a:xfrm rot="-1226361">
                <a:off x="23958022" y="12372159"/>
                <a:ext cx="488113" cy="45760"/>
              </a:xfrm>
              <a:custGeom>
                <a:avLst/>
                <a:gdLst>
                  <a:gd name="connsiteX0" fmla="*/ 0 w 488113"/>
                  <a:gd name="connsiteY0" fmla="*/ 0 h 45760"/>
                  <a:gd name="connsiteX1" fmla="*/ 488114 w 488113"/>
                  <a:gd name="connsiteY1" fmla="*/ 0 h 45760"/>
                  <a:gd name="connsiteX2" fmla="*/ 488114 w 488113"/>
                  <a:gd name="connsiteY2" fmla="*/ 45760 h 45760"/>
                  <a:gd name="connsiteX3" fmla="*/ 0 w 488113"/>
                  <a:gd name="connsiteY3" fmla="*/ 45760 h 45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13" h="45760">
                    <a:moveTo>
                      <a:pt x="0" y="0"/>
                    </a:moveTo>
                    <a:lnTo>
                      <a:pt x="488114" y="0"/>
                    </a:lnTo>
                    <a:lnTo>
                      <a:pt x="488114" y="45760"/>
                    </a:lnTo>
                    <a:lnTo>
                      <a:pt x="0" y="45760"/>
                    </a:lnTo>
                    <a:close/>
                  </a:path>
                </a:pathLst>
              </a:custGeom>
              <a:solidFill>
                <a:srgbClr val="38333D"/>
              </a:solidFill>
              <a:ln w="30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CA5D3586-77CE-4119-AFD1-8D2905177208}"/>
                  </a:ext>
                </a:extLst>
              </p:cNvPr>
              <p:cNvSpPr/>
              <p:nvPr/>
            </p:nvSpPr>
            <p:spPr>
              <a:xfrm>
                <a:off x="23836441" y="12100702"/>
                <a:ext cx="588813" cy="353898"/>
              </a:xfrm>
              <a:custGeom>
                <a:avLst/>
                <a:gdLst>
                  <a:gd name="connsiteX0" fmla="*/ 320339 w 588813"/>
                  <a:gd name="connsiteY0" fmla="*/ 0 h 353898"/>
                  <a:gd name="connsiteX1" fmla="*/ 332543 w 588813"/>
                  <a:gd name="connsiteY1" fmla="*/ 143390 h 353898"/>
                  <a:gd name="connsiteX2" fmla="*/ 393560 w 588813"/>
                  <a:gd name="connsiteY2" fmla="*/ 143390 h 353898"/>
                  <a:gd name="connsiteX3" fmla="*/ 588813 w 588813"/>
                  <a:gd name="connsiteY3" fmla="*/ 183051 h 353898"/>
                  <a:gd name="connsiteX4" fmla="*/ 131186 w 588813"/>
                  <a:gd name="connsiteY4" fmla="*/ 353899 h 353898"/>
                  <a:gd name="connsiteX5" fmla="*/ 0 w 588813"/>
                  <a:gd name="connsiteY5" fmla="*/ 100678 h 353898"/>
                  <a:gd name="connsiteX6" fmla="*/ 320339 w 588813"/>
                  <a:gd name="connsiteY6" fmla="*/ 0 h 35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8813" h="353898">
                    <a:moveTo>
                      <a:pt x="320339" y="0"/>
                    </a:moveTo>
                    <a:lnTo>
                      <a:pt x="332543" y="143390"/>
                    </a:lnTo>
                    <a:cubicBezTo>
                      <a:pt x="353898" y="143390"/>
                      <a:pt x="375254" y="143390"/>
                      <a:pt x="393560" y="143390"/>
                    </a:cubicBezTo>
                    <a:cubicBezTo>
                      <a:pt x="439323" y="140339"/>
                      <a:pt x="549153" y="122034"/>
                      <a:pt x="588813" y="183051"/>
                    </a:cubicBezTo>
                    <a:lnTo>
                      <a:pt x="131186" y="353899"/>
                    </a:lnTo>
                    <a:cubicBezTo>
                      <a:pt x="131186" y="353899"/>
                      <a:pt x="61017" y="280678"/>
                      <a:pt x="0" y="100678"/>
                    </a:cubicBezTo>
                    <a:lnTo>
                      <a:pt x="320339" y="0"/>
                    </a:ln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E05AB7F4-DE14-4381-AD75-E3B529361317}"/>
                </a:ext>
              </a:extLst>
            </p:cNvPr>
            <p:cNvSpPr/>
            <p:nvPr/>
          </p:nvSpPr>
          <p:spPr>
            <a:xfrm>
              <a:off x="23452853" y="8539487"/>
              <a:ext cx="664266" cy="1107455"/>
            </a:xfrm>
            <a:custGeom>
              <a:avLst/>
              <a:gdLst>
                <a:gd name="connsiteX0" fmla="*/ 78503 w 664266"/>
                <a:gd name="connsiteY0" fmla="*/ 6977 h 1107455"/>
                <a:gd name="connsiteX1" fmla="*/ 469011 w 664266"/>
                <a:gd name="connsiteY1" fmla="*/ 351723 h 1107455"/>
                <a:gd name="connsiteX2" fmla="*/ 664266 w 664266"/>
                <a:gd name="connsiteY2" fmla="*/ 772740 h 1107455"/>
                <a:gd name="connsiteX3" fmla="*/ 517826 w 664266"/>
                <a:gd name="connsiteY3" fmla="*/ 1105282 h 1107455"/>
                <a:gd name="connsiteX4" fmla="*/ 78503 w 664266"/>
                <a:gd name="connsiteY4" fmla="*/ 6977 h 1107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4266" h="1107455">
                  <a:moveTo>
                    <a:pt x="78503" y="6977"/>
                  </a:moveTo>
                  <a:cubicBezTo>
                    <a:pt x="203587" y="-47938"/>
                    <a:pt x="404944" y="235790"/>
                    <a:pt x="469011" y="351723"/>
                  </a:cubicBezTo>
                  <a:cubicBezTo>
                    <a:pt x="526978" y="452401"/>
                    <a:pt x="664266" y="772740"/>
                    <a:pt x="664266" y="772740"/>
                  </a:cubicBezTo>
                  <a:cubicBezTo>
                    <a:pt x="664266" y="772740"/>
                    <a:pt x="642910" y="1138842"/>
                    <a:pt x="517826" y="1105282"/>
                  </a:cubicBezTo>
                  <a:cubicBezTo>
                    <a:pt x="346978" y="1062570"/>
                    <a:pt x="-202175" y="129011"/>
                    <a:pt x="78503" y="6977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2A896BD5-62E3-42DF-AE9B-3F578C672A34}"/>
                </a:ext>
              </a:extLst>
            </p:cNvPr>
            <p:cNvSpPr/>
            <p:nvPr/>
          </p:nvSpPr>
          <p:spPr>
            <a:xfrm>
              <a:off x="22640509" y="8540363"/>
              <a:ext cx="1223844" cy="1567951"/>
            </a:xfrm>
            <a:custGeom>
              <a:avLst/>
              <a:gdLst>
                <a:gd name="connsiteX0" fmla="*/ 396610 w 1223844"/>
                <a:gd name="connsiteY0" fmla="*/ 0 h 1567951"/>
                <a:gd name="connsiteX1" fmla="*/ 686441 w 1223844"/>
                <a:gd name="connsiteY1" fmla="*/ 0 h 1567951"/>
                <a:gd name="connsiteX2" fmla="*/ 985423 w 1223844"/>
                <a:gd name="connsiteY2" fmla="*/ 131187 h 1567951"/>
                <a:gd name="connsiteX3" fmla="*/ 1070849 w 1223844"/>
                <a:gd name="connsiteY3" fmla="*/ 1537627 h 1567951"/>
                <a:gd name="connsiteX4" fmla="*/ 0 w 1223844"/>
                <a:gd name="connsiteY4" fmla="*/ 1513220 h 1567951"/>
                <a:gd name="connsiteX5" fmla="*/ 115932 w 1223844"/>
                <a:gd name="connsiteY5" fmla="*/ 103729 h 1567951"/>
                <a:gd name="connsiteX6" fmla="*/ 396610 w 1223844"/>
                <a:gd name="connsiteY6" fmla="*/ 0 h 156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3844" h="1567951">
                  <a:moveTo>
                    <a:pt x="396610" y="0"/>
                  </a:moveTo>
                  <a:cubicBezTo>
                    <a:pt x="396610" y="0"/>
                    <a:pt x="570509" y="54915"/>
                    <a:pt x="686441" y="0"/>
                  </a:cubicBezTo>
                  <a:cubicBezTo>
                    <a:pt x="686441" y="0"/>
                    <a:pt x="961017" y="97627"/>
                    <a:pt x="985423" y="131187"/>
                  </a:cubicBezTo>
                  <a:cubicBezTo>
                    <a:pt x="1009832" y="161695"/>
                    <a:pt x="1449153" y="1202034"/>
                    <a:pt x="1070849" y="1537627"/>
                  </a:cubicBezTo>
                  <a:cubicBezTo>
                    <a:pt x="1070849" y="1537627"/>
                    <a:pt x="579661" y="1620000"/>
                    <a:pt x="0" y="1513220"/>
                  </a:cubicBezTo>
                  <a:cubicBezTo>
                    <a:pt x="0" y="1156272"/>
                    <a:pt x="73221" y="134237"/>
                    <a:pt x="115932" y="103729"/>
                  </a:cubicBezTo>
                  <a:cubicBezTo>
                    <a:pt x="158644" y="70170"/>
                    <a:pt x="396610" y="0"/>
                    <a:pt x="396610" y="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B2689245-6EC9-4288-9437-49DCD710E3E3}"/>
                </a:ext>
              </a:extLst>
            </p:cNvPr>
            <p:cNvSpPr/>
            <p:nvPr/>
          </p:nvSpPr>
          <p:spPr>
            <a:xfrm>
              <a:off x="23615424" y="8664091"/>
              <a:ext cx="250478" cy="852542"/>
            </a:xfrm>
            <a:custGeom>
              <a:avLst/>
              <a:gdLst>
                <a:gd name="connsiteX0" fmla="*/ 245423 w 250478"/>
                <a:gd name="connsiteY0" fmla="*/ 852543 h 852542"/>
                <a:gd name="connsiteX1" fmla="*/ 239321 w 250478"/>
                <a:gd name="connsiteY1" fmla="*/ 846441 h 852542"/>
                <a:gd name="connsiteX2" fmla="*/ 1356 w 250478"/>
                <a:gd name="connsiteY2" fmla="*/ 10508 h 852542"/>
                <a:gd name="connsiteX3" fmla="*/ 1356 w 250478"/>
                <a:gd name="connsiteY3" fmla="*/ 1356 h 852542"/>
                <a:gd name="connsiteX4" fmla="*/ 10508 w 250478"/>
                <a:gd name="connsiteY4" fmla="*/ 1356 h 852542"/>
                <a:gd name="connsiteX5" fmla="*/ 248475 w 250478"/>
                <a:gd name="connsiteY5" fmla="*/ 843390 h 852542"/>
                <a:gd name="connsiteX6" fmla="*/ 245423 w 250478"/>
                <a:gd name="connsiteY6" fmla="*/ 852543 h 852542"/>
                <a:gd name="connsiteX7" fmla="*/ 245423 w 250478"/>
                <a:gd name="connsiteY7" fmla="*/ 852543 h 85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478" h="852542">
                  <a:moveTo>
                    <a:pt x="245423" y="852543"/>
                  </a:moveTo>
                  <a:cubicBezTo>
                    <a:pt x="242373" y="852543"/>
                    <a:pt x="239321" y="849492"/>
                    <a:pt x="239321" y="846441"/>
                  </a:cubicBezTo>
                  <a:cubicBezTo>
                    <a:pt x="239321" y="840339"/>
                    <a:pt x="141696" y="205763"/>
                    <a:pt x="1356" y="10508"/>
                  </a:cubicBezTo>
                  <a:cubicBezTo>
                    <a:pt x="-1695" y="7458"/>
                    <a:pt x="1356" y="4407"/>
                    <a:pt x="1356" y="1356"/>
                  </a:cubicBezTo>
                  <a:cubicBezTo>
                    <a:pt x="4408" y="-1695"/>
                    <a:pt x="7458" y="1356"/>
                    <a:pt x="10508" y="1356"/>
                  </a:cubicBezTo>
                  <a:cubicBezTo>
                    <a:pt x="150848" y="199661"/>
                    <a:pt x="248475" y="837288"/>
                    <a:pt x="248475" y="843390"/>
                  </a:cubicBezTo>
                  <a:cubicBezTo>
                    <a:pt x="251525" y="846441"/>
                    <a:pt x="251525" y="849492"/>
                    <a:pt x="245423" y="852543"/>
                  </a:cubicBezTo>
                  <a:cubicBezTo>
                    <a:pt x="248475" y="852543"/>
                    <a:pt x="248475" y="852543"/>
                    <a:pt x="245423" y="852543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576D1E73-A572-4FA6-BD09-99227FD34CC4}"/>
                </a:ext>
              </a:extLst>
            </p:cNvPr>
            <p:cNvSpPr/>
            <p:nvPr/>
          </p:nvSpPr>
          <p:spPr>
            <a:xfrm>
              <a:off x="23070679" y="8409176"/>
              <a:ext cx="245331" cy="64067"/>
            </a:xfrm>
            <a:custGeom>
              <a:avLst/>
              <a:gdLst>
                <a:gd name="connsiteX0" fmla="*/ 137288 w 245331"/>
                <a:gd name="connsiteY0" fmla="*/ 64068 h 64067"/>
                <a:gd name="connsiteX1" fmla="*/ 125084 w 245331"/>
                <a:gd name="connsiteY1" fmla="*/ 64068 h 64067"/>
                <a:gd name="connsiteX2" fmla="*/ 51863 w 245331"/>
                <a:gd name="connsiteY2" fmla="*/ 36610 h 64067"/>
                <a:gd name="connsiteX3" fmla="*/ 3050 w 245331"/>
                <a:gd name="connsiteY3" fmla="*/ 12203 h 64067"/>
                <a:gd name="connsiteX4" fmla="*/ 0 w 245331"/>
                <a:gd name="connsiteY4" fmla="*/ 3051 h 64067"/>
                <a:gd name="connsiteX5" fmla="*/ 9152 w 245331"/>
                <a:gd name="connsiteY5" fmla="*/ 0 h 64067"/>
                <a:gd name="connsiteX6" fmla="*/ 57965 w 245331"/>
                <a:gd name="connsiteY6" fmla="*/ 24407 h 64067"/>
                <a:gd name="connsiteX7" fmla="*/ 149490 w 245331"/>
                <a:gd name="connsiteY7" fmla="*/ 51864 h 64067"/>
                <a:gd name="connsiteX8" fmla="*/ 149490 w 245331"/>
                <a:gd name="connsiteY8" fmla="*/ 51864 h 64067"/>
                <a:gd name="connsiteX9" fmla="*/ 161695 w 245331"/>
                <a:gd name="connsiteY9" fmla="*/ 51864 h 64067"/>
                <a:gd name="connsiteX10" fmla="*/ 210507 w 245331"/>
                <a:gd name="connsiteY10" fmla="*/ 33560 h 64067"/>
                <a:gd name="connsiteX11" fmla="*/ 219660 w 245331"/>
                <a:gd name="connsiteY11" fmla="*/ 27457 h 64067"/>
                <a:gd name="connsiteX12" fmla="*/ 225762 w 245331"/>
                <a:gd name="connsiteY12" fmla="*/ 27457 h 64067"/>
                <a:gd name="connsiteX13" fmla="*/ 234914 w 245331"/>
                <a:gd name="connsiteY13" fmla="*/ 21356 h 64067"/>
                <a:gd name="connsiteX14" fmla="*/ 244068 w 245331"/>
                <a:gd name="connsiteY14" fmla="*/ 24407 h 64067"/>
                <a:gd name="connsiteX15" fmla="*/ 241016 w 245331"/>
                <a:gd name="connsiteY15" fmla="*/ 33560 h 64067"/>
                <a:gd name="connsiteX16" fmla="*/ 216609 w 245331"/>
                <a:gd name="connsiteY16" fmla="*/ 45763 h 64067"/>
                <a:gd name="connsiteX17" fmla="*/ 161695 w 245331"/>
                <a:gd name="connsiteY17" fmla="*/ 64068 h 64067"/>
                <a:gd name="connsiteX18" fmla="*/ 137288 w 245331"/>
                <a:gd name="connsiteY18" fmla="*/ 64068 h 64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5331" h="64067">
                  <a:moveTo>
                    <a:pt x="137288" y="64068"/>
                  </a:moveTo>
                  <a:cubicBezTo>
                    <a:pt x="131186" y="64068"/>
                    <a:pt x="128134" y="64068"/>
                    <a:pt x="125084" y="64068"/>
                  </a:cubicBezTo>
                  <a:cubicBezTo>
                    <a:pt x="106780" y="61017"/>
                    <a:pt x="76271" y="48814"/>
                    <a:pt x="51863" y="36610"/>
                  </a:cubicBezTo>
                  <a:cubicBezTo>
                    <a:pt x="24406" y="24407"/>
                    <a:pt x="3050" y="12203"/>
                    <a:pt x="3050" y="12203"/>
                  </a:cubicBezTo>
                  <a:cubicBezTo>
                    <a:pt x="0" y="9153"/>
                    <a:pt x="0" y="6102"/>
                    <a:pt x="0" y="3051"/>
                  </a:cubicBezTo>
                  <a:cubicBezTo>
                    <a:pt x="3050" y="0"/>
                    <a:pt x="6100" y="0"/>
                    <a:pt x="9152" y="0"/>
                  </a:cubicBezTo>
                  <a:cubicBezTo>
                    <a:pt x="9152" y="0"/>
                    <a:pt x="30508" y="12203"/>
                    <a:pt x="57965" y="24407"/>
                  </a:cubicBezTo>
                  <a:cubicBezTo>
                    <a:pt x="88473" y="36610"/>
                    <a:pt x="125084" y="51864"/>
                    <a:pt x="149490" y="51864"/>
                  </a:cubicBezTo>
                  <a:cubicBezTo>
                    <a:pt x="149490" y="51864"/>
                    <a:pt x="149490" y="51864"/>
                    <a:pt x="149490" y="51864"/>
                  </a:cubicBezTo>
                  <a:cubicBezTo>
                    <a:pt x="152542" y="51864"/>
                    <a:pt x="158643" y="51864"/>
                    <a:pt x="161695" y="51864"/>
                  </a:cubicBezTo>
                  <a:cubicBezTo>
                    <a:pt x="179999" y="48814"/>
                    <a:pt x="198305" y="39661"/>
                    <a:pt x="210507" y="33560"/>
                  </a:cubicBezTo>
                  <a:cubicBezTo>
                    <a:pt x="216609" y="30508"/>
                    <a:pt x="219660" y="27457"/>
                    <a:pt x="219660" y="27457"/>
                  </a:cubicBezTo>
                  <a:cubicBezTo>
                    <a:pt x="219660" y="27457"/>
                    <a:pt x="222712" y="24407"/>
                    <a:pt x="225762" y="27457"/>
                  </a:cubicBezTo>
                  <a:cubicBezTo>
                    <a:pt x="231864" y="24407"/>
                    <a:pt x="234914" y="21356"/>
                    <a:pt x="234914" y="21356"/>
                  </a:cubicBezTo>
                  <a:cubicBezTo>
                    <a:pt x="237966" y="18305"/>
                    <a:pt x="241016" y="21356"/>
                    <a:pt x="244068" y="24407"/>
                  </a:cubicBezTo>
                  <a:cubicBezTo>
                    <a:pt x="247118" y="27457"/>
                    <a:pt x="244068" y="30508"/>
                    <a:pt x="241016" y="33560"/>
                  </a:cubicBezTo>
                  <a:cubicBezTo>
                    <a:pt x="241016" y="33560"/>
                    <a:pt x="231864" y="39661"/>
                    <a:pt x="216609" y="45763"/>
                  </a:cubicBezTo>
                  <a:cubicBezTo>
                    <a:pt x="204405" y="51864"/>
                    <a:pt x="186101" y="61017"/>
                    <a:pt x="161695" y="64068"/>
                  </a:cubicBezTo>
                  <a:cubicBezTo>
                    <a:pt x="152542" y="64068"/>
                    <a:pt x="143388" y="64068"/>
                    <a:pt x="137288" y="64068"/>
                  </a:cubicBezTo>
                  <a:close/>
                </a:path>
              </a:pathLst>
            </a:custGeom>
            <a:solidFill>
              <a:srgbClr val="E87952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FBAFEEF3-3BA5-4410-9780-63D8998F9F00}"/>
                </a:ext>
              </a:extLst>
            </p:cNvPr>
            <p:cNvSpPr/>
            <p:nvPr/>
          </p:nvSpPr>
          <p:spPr>
            <a:xfrm>
              <a:off x="22478814" y="10050532"/>
              <a:ext cx="1446102" cy="485207"/>
            </a:xfrm>
            <a:custGeom>
              <a:avLst/>
              <a:gdLst>
                <a:gd name="connsiteX0" fmla="*/ 1229491 w 1446102"/>
                <a:gd name="connsiteY0" fmla="*/ 27458 h 485207"/>
                <a:gd name="connsiteX1" fmla="*/ 1446103 w 1446102"/>
                <a:gd name="connsiteY1" fmla="*/ 442373 h 485207"/>
                <a:gd name="connsiteX2" fmla="*/ 0 w 1446102"/>
                <a:gd name="connsiteY2" fmla="*/ 402712 h 485207"/>
                <a:gd name="connsiteX3" fmla="*/ 158644 w 1446102"/>
                <a:gd name="connsiteY3" fmla="*/ 0 h 485207"/>
                <a:gd name="connsiteX4" fmla="*/ 1229491 w 1446102"/>
                <a:gd name="connsiteY4" fmla="*/ 27458 h 48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6102" h="485207">
                  <a:moveTo>
                    <a:pt x="1229491" y="27458"/>
                  </a:moveTo>
                  <a:lnTo>
                    <a:pt x="1446103" y="442373"/>
                  </a:lnTo>
                  <a:cubicBezTo>
                    <a:pt x="1446103" y="442373"/>
                    <a:pt x="360000" y="561357"/>
                    <a:pt x="0" y="402712"/>
                  </a:cubicBezTo>
                  <a:lnTo>
                    <a:pt x="158644" y="0"/>
                  </a:lnTo>
                  <a:lnTo>
                    <a:pt x="1229491" y="27458"/>
                  </a:ln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82906A2F-850E-4633-8412-4B573C8FA28F}"/>
                </a:ext>
              </a:extLst>
            </p:cNvPr>
            <p:cNvSpPr/>
            <p:nvPr/>
          </p:nvSpPr>
          <p:spPr>
            <a:xfrm>
              <a:off x="22455261" y="8592468"/>
              <a:ext cx="1510078" cy="1979920"/>
            </a:xfrm>
            <a:custGeom>
              <a:avLst/>
              <a:gdLst>
                <a:gd name="connsiteX0" fmla="*/ 54061 w 1510078"/>
                <a:gd name="connsiteY0" fmla="*/ 1793657 h 1979920"/>
                <a:gd name="connsiteX1" fmla="*/ 1073045 w 1510078"/>
                <a:gd name="connsiteY1" fmla="*/ 1866878 h 1979920"/>
                <a:gd name="connsiteX2" fmla="*/ 1008976 w 1510078"/>
                <a:gd name="connsiteY2" fmla="*/ 1509929 h 1979920"/>
                <a:gd name="connsiteX3" fmla="*/ 1005926 w 1510078"/>
                <a:gd name="connsiteY3" fmla="*/ 1497726 h 1979920"/>
                <a:gd name="connsiteX4" fmla="*/ 1002874 w 1510078"/>
                <a:gd name="connsiteY4" fmla="*/ 1451963 h 1979920"/>
                <a:gd name="connsiteX5" fmla="*/ 1094400 w 1510078"/>
                <a:gd name="connsiteY5" fmla="*/ 744166 h 1979920"/>
                <a:gd name="connsiteX6" fmla="*/ 828978 w 1510078"/>
                <a:gd name="connsiteY6" fmla="*/ 69929 h 1979920"/>
                <a:gd name="connsiteX7" fmla="*/ 908299 w 1510078"/>
                <a:gd name="connsiteY7" fmla="*/ 24166 h 1979920"/>
                <a:gd name="connsiteX8" fmla="*/ 1188977 w 1510078"/>
                <a:gd name="connsiteY8" fmla="*/ 747217 h 1979920"/>
                <a:gd name="connsiteX9" fmla="*/ 1094400 w 1510078"/>
                <a:gd name="connsiteY9" fmla="*/ 1476369 h 1979920"/>
                <a:gd name="connsiteX10" fmla="*/ 1167621 w 1510078"/>
                <a:gd name="connsiteY10" fmla="*/ 1863827 h 1979920"/>
                <a:gd name="connsiteX11" fmla="*/ 1466604 w 1510078"/>
                <a:gd name="connsiteY11" fmla="*/ 1842471 h 1979920"/>
                <a:gd name="connsiteX12" fmla="*/ 1466604 w 1510078"/>
                <a:gd name="connsiteY12" fmla="*/ 1933997 h 1979920"/>
                <a:gd name="connsiteX13" fmla="*/ 35757 w 1510078"/>
                <a:gd name="connsiteY13" fmla="*/ 1885183 h 1979920"/>
                <a:gd name="connsiteX14" fmla="*/ 54061 w 1510078"/>
                <a:gd name="connsiteY14" fmla="*/ 1793657 h 197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10078" h="1979920">
                  <a:moveTo>
                    <a:pt x="54061" y="1793657"/>
                  </a:moveTo>
                  <a:cubicBezTo>
                    <a:pt x="377451" y="1903488"/>
                    <a:pt x="728298" y="1891285"/>
                    <a:pt x="1073045" y="1866878"/>
                  </a:cubicBezTo>
                  <a:cubicBezTo>
                    <a:pt x="1073045" y="1744845"/>
                    <a:pt x="1060841" y="1622811"/>
                    <a:pt x="1008976" y="1509929"/>
                  </a:cubicBezTo>
                  <a:cubicBezTo>
                    <a:pt x="1005926" y="1503827"/>
                    <a:pt x="1005926" y="1500777"/>
                    <a:pt x="1005926" y="1497726"/>
                  </a:cubicBezTo>
                  <a:cubicBezTo>
                    <a:pt x="996774" y="1485523"/>
                    <a:pt x="993722" y="1467217"/>
                    <a:pt x="1002874" y="1451963"/>
                  </a:cubicBezTo>
                  <a:cubicBezTo>
                    <a:pt x="1100502" y="1247556"/>
                    <a:pt x="1109654" y="966878"/>
                    <a:pt x="1094400" y="744166"/>
                  </a:cubicBezTo>
                  <a:cubicBezTo>
                    <a:pt x="1076095" y="484844"/>
                    <a:pt x="929655" y="295692"/>
                    <a:pt x="828978" y="69929"/>
                  </a:cubicBezTo>
                  <a:cubicBezTo>
                    <a:pt x="804569" y="18065"/>
                    <a:pt x="883892" y="-30749"/>
                    <a:pt x="908299" y="24166"/>
                  </a:cubicBezTo>
                  <a:cubicBezTo>
                    <a:pt x="1018129" y="268234"/>
                    <a:pt x="1170671" y="469590"/>
                    <a:pt x="1188977" y="747217"/>
                  </a:cubicBezTo>
                  <a:cubicBezTo>
                    <a:pt x="1204231" y="979082"/>
                    <a:pt x="1192027" y="1259759"/>
                    <a:pt x="1094400" y="1476369"/>
                  </a:cubicBezTo>
                  <a:cubicBezTo>
                    <a:pt x="1149317" y="1598403"/>
                    <a:pt x="1164571" y="1729590"/>
                    <a:pt x="1167621" y="1863827"/>
                  </a:cubicBezTo>
                  <a:cubicBezTo>
                    <a:pt x="1268298" y="1854674"/>
                    <a:pt x="1368976" y="1848573"/>
                    <a:pt x="1466604" y="1842471"/>
                  </a:cubicBezTo>
                  <a:cubicBezTo>
                    <a:pt x="1524570" y="1839420"/>
                    <a:pt x="1524570" y="1930946"/>
                    <a:pt x="1466604" y="1933997"/>
                  </a:cubicBezTo>
                  <a:cubicBezTo>
                    <a:pt x="996774" y="1961454"/>
                    <a:pt x="490332" y="2043827"/>
                    <a:pt x="35757" y="1885183"/>
                  </a:cubicBezTo>
                  <a:cubicBezTo>
                    <a:pt x="-25260" y="1863827"/>
                    <a:pt x="-853" y="1775353"/>
                    <a:pt x="54061" y="1793657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CD2A0267-6721-447F-9EA3-30B48653AD48}"/>
                </a:ext>
              </a:extLst>
            </p:cNvPr>
            <p:cNvSpPr/>
            <p:nvPr/>
          </p:nvSpPr>
          <p:spPr>
            <a:xfrm>
              <a:off x="22617100" y="9965108"/>
              <a:ext cx="1141077" cy="179846"/>
            </a:xfrm>
            <a:custGeom>
              <a:avLst/>
              <a:gdLst>
                <a:gd name="connsiteX0" fmla="*/ 1121714 w 1141077"/>
                <a:gd name="connsiteY0" fmla="*/ 170848 h 179846"/>
                <a:gd name="connsiteX1" fmla="*/ 11206 w 1141077"/>
                <a:gd name="connsiteY1" fmla="*/ 112882 h 179846"/>
                <a:gd name="connsiteX2" fmla="*/ 20358 w 1141077"/>
                <a:gd name="connsiteY2" fmla="*/ 0 h 179846"/>
                <a:gd name="connsiteX3" fmla="*/ 1130866 w 1141077"/>
                <a:gd name="connsiteY3" fmla="*/ 70169 h 179846"/>
                <a:gd name="connsiteX4" fmla="*/ 1121714 w 1141077"/>
                <a:gd name="connsiteY4" fmla="*/ 170848 h 17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1077" h="179846">
                  <a:moveTo>
                    <a:pt x="1121714" y="170848"/>
                  </a:moveTo>
                  <a:cubicBezTo>
                    <a:pt x="1121714" y="170848"/>
                    <a:pt x="331545" y="213559"/>
                    <a:pt x="11206" y="112882"/>
                  </a:cubicBezTo>
                  <a:cubicBezTo>
                    <a:pt x="11206" y="112882"/>
                    <a:pt x="-19302" y="42712"/>
                    <a:pt x="20358" y="0"/>
                  </a:cubicBezTo>
                  <a:cubicBezTo>
                    <a:pt x="285782" y="88474"/>
                    <a:pt x="749510" y="85423"/>
                    <a:pt x="1130866" y="70169"/>
                  </a:cubicBezTo>
                  <a:cubicBezTo>
                    <a:pt x="1158324" y="125085"/>
                    <a:pt x="1121714" y="170848"/>
                    <a:pt x="1121714" y="170848"/>
                  </a:cubicBezTo>
                  <a:close/>
                </a:path>
              </a:pathLst>
            </a:custGeom>
            <a:solidFill>
              <a:srgbClr val="6C5D68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8" name="图形 1">
              <a:extLst>
                <a:ext uri="{FF2B5EF4-FFF2-40B4-BE49-F238E27FC236}">
                  <a16:creationId xmlns:a16="http://schemas.microsoft.com/office/drawing/2014/main" id="{EDB430C7-0A69-4BDC-B391-C701498CA319}"/>
                </a:ext>
              </a:extLst>
            </p:cNvPr>
            <p:cNvGrpSpPr/>
            <p:nvPr/>
          </p:nvGrpSpPr>
          <p:grpSpPr>
            <a:xfrm>
              <a:off x="23397119" y="10001719"/>
              <a:ext cx="216611" cy="164745"/>
              <a:chOff x="23397119" y="10001719"/>
              <a:chExt cx="216611" cy="164745"/>
            </a:xfrm>
          </p:grpSpPr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0D0FFC71-9EEC-4D4E-85E1-C9B8A7A851BE}"/>
                  </a:ext>
                </a:extLst>
              </p:cNvPr>
              <p:cNvSpPr/>
              <p:nvPr/>
            </p:nvSpPr>
            <p:spPr>
              <a:xfrm>
                <a:off x="23397119" y="10001719"/>
                <a:ext cx="216611" cy="164745"/>
              </a:xfrm>
              <a:custGeom>
                <a:avLst/>
                <a:gdLst>
                  <a:gd name="connsiteX0" fmla="*/ 195255 w 216611"/>
                  <a:gd name="connsiteY0" fmla="*/ 164746 h 164745"/>
                  <a:gd name="connsiteX1" fmla="*/ 21356 w 216611"/>
                  <a:gd name="connsiteY1" fmla="*/ 164746 h 164745"/>
                  <a:gd name="connsiteX2" fmla="*/ 0 w 216611"/>
                  <a:gd name="connsiteY2" fmla="*/ 143389 h 164745"/>
                  <a:gd name="connsiteX3" fmla="*/ 0 w 216611"/>
                  <a:gd name="connsiteY3" fmla="*/ 21355 h 164745"/>
                  <a:gd name="connsiteX4" fmla="*/ 21356 w 216611"/>
                  <a:gd name="connsiteY4" fmla="*/ 0 h 164745"/>
                  <a:gd name="connsiteX5" fmla="*/ 195255 w 216611"/>
                  <a:gd name="connsiteY5" fmla="*/ 0 h 164745"/>
                  <a:gd name="connsiteX6" fmla="*/ 216611 w 216611"/>
                  <a:gd name="connsiteY6" fmla="*/ 21355 h 164745"/>
                  <a:gd name="connsiteX7" fmla="*/ 216611 w 216611"/>
                  <a:gd name="connsiteY7" fmla="*/ 143389 h 164745"/>
                  <a:gd name="connsiteX8" fmla="*/ 195255 w 216611"/>
                  <a:gd name="connsiteY8" fmla="*/ 164746 h 164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6611" h="164745">
                    <a:moveTo>
                      <a:pt x="195255" y="164746"/>
                    </a:moveTo>
                    <a:lnTo>
                      <a:pt x="21356" y="164746"/>
                    </a:lnTo>
                    <a:cubicBezTo>
                      <a:pt x="9154" y="164746"/>
                      <a:pt x="0" y="155592"/>
                      <a:pt x="0" y="143389"/>
                    </a:cubicBezTo>
                    <a:lnTo>
                      <a:pt x="0" y="21355"/>
                    </a:lnTo>
                    <a:cubicBezTo>
                      <a:pt x="0" y="9152"/>
                      <a:pt x="9154" y="0"/>
                      <a:pt x="21356" y="0"/>
                    </a:cubicBezTo>
                    <a:lnTo>
                      <a:pt x="195255" y="0"/>
                    </a:lnTo>
                    <a:cubicBezTo>
                      <a:pt x="207459" y="0"/>
                      <a:pt x="216611" y="9152"/>
                      <a:pt x="216611" y="21355"/>
                    </a:cubicBezTo>
                    <a:lnTo>
                      <a:pt x="216611" y="143389"/>
                    </a:lnTo>
                    <a:cubicBezTo>
                      <a:pt x="216611" y="155592"/>
                      <a:pt x="207459" y="164746"/>
                      <a:pt x="195255" y="16474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DD580A90-B638-48C8-A811-C4E6AE0AC1EF}"/>
                  </a:ext>
                </a:extLst>
              </p:cNvPr>
              <p:cNvSpPr/>
              <p:nvPr/>
            </p:nvSpPr>
            <p:spPr>
              <a:xfrm>
                <a:off x="23427627" y="10026125"/>
                <a:ext cx="158644" cy="118982"/>
              </a:xfrm>
              <a:custGeom>
                <a:avLst/>
                <a:gdLst>
                  <a:gd name="connsiteX0" fmla="*/ 143390 w 158644"/>
                  <a:gd name="connsiteY0" fmla="*/ 118983 h 118982"/>
                  <a:gd name="connsiteX1" fmla="*/ 15254 w 158644"/>
                  <a:gd name="connsiteY1" fmla="*/ 118983 h 118982"/>
                  <a:gd name="connsiteX2" fmla="*/ 0 w 158644"/>
                  <a:gd name="connsiteY2" fmla="*/ 103729 h 118982"/>
                  <a:gd name="connsiteX3" fmla="*/ 0 w 158644"/>
                  <a:gd name="connsiteY3" fmla="*/ 15254 h 118982"/>
                  <a:gd name="connsiteX4" fmla="*/ 15254 w 158644"/>
                  <a:gd name="connsiteY4" fmla="*/ 0 h 118982"/>
                  <a:gd name="connsiteX5" fmla="*/ 143390 w 158644"/>
                  <a:gd name="connsiteY5" fmla="*/ 0 h 118982"/>
                  <a:gd name="connsiteX6" fmla="*/ 158644 w 158644"/>
                  <a:gd name="connsiteY6" fmla="*/ 15254 h 118982"/>
                  <a:gd name="connsiteX7" fmla="*/ 158644 w 158644"/>
                  <a:gd name="connsiteY7" fmla="*/ 103729 h 118982"/>
                  <a:gd name="connsiteX8" fmla="*/ 143390 w 158644"/>
                  <a:gd name="connsiteY8" fmla="*/ 118983 h 118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8644" h="118982">
                    <a:moveTo>
                      <a:pt x="143390" y="118983"/>
                    </a:moveTo>
                    <a:lnTo>
                      <a:pt x="15254" y="118983"/>
                    </a:lnTo>
                    <a:cubicBezTo>
                      <a:pt x="6102" y="118983"/>
                      <a:pt x="0" y="112882"/>
                      <a:pt x="0" y="103729"/>
                    </a:cubicBezTo>
                    <a:lnTo>
                      <a:pt x="0" y="15254"/>
                    </a:lnTo>
                    <a:cubicBezTo>
                      <a:pt x="0" y="6102"/>
                      <a:pt x="6102" y="0"/>
                      <a:pt x="15254" y="0"/>
                    </a:cubicBezTo>
                    <a:lnTo>
                      <a:pt x="143390" y="0"/>
                    </a:lnTo>
                    <a:cubicBezTo>
                      <a:pt x="152542" y="0"/>
                      <a:pt x="158644" y="6102"/>
                      <a:pt x="158644" y="15254"/>
                    </a:cubicBezTo>
                    <a:lnTo>
                      <a:pt x="158644" y="103729"/>
                    </a:lnTo>
                    <a:cubicBezTo>
                      <a:pt x="158644" y="112882"/>
                      <a:pt x="152542" y="118983"/>
                      <a:pt x="143390" y="11898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653009D5-5FCA-4CDD-843D-D756EE88FE96}"/>
                </a:ext>
              </a:extLst>
            </p:cNvPr>
            <p:cNvSpPr/>
            <p:nvPr/>
          </p:nvSpPr>
          <p:spPr>
            <a:xfrm>
              <a:off x="23244694" y="8451098"/>
              <a:ext cx="877570" cy="563506"/>
            </a:xfrm>
            <a:custGeom>
              <a:avLst/>
              <a:gdLst>
                <a:gd name="connsiteX0" fmla="*/ 15137 w 877570"/>
                <a:gd name="connsiteY0" fmla="*/ 49603 h 563506"/>
                <a:gd name="connsiteX1" fmla="*/ 73103 w 877570"/>
                <a:gd name="connsiteY1" fmla="*/ 789 h 563506"/>
                <a:gd name="connsiteX2" fmla="*/ 475816 w 877570"/>
                <a:gd name="connsiteY2" fmla="*/ 110620 h 563506"/>
                <a:gd name="connsiteX3" fmla="*/ 857172 w 877570"/>
                <a:gd name="connsiteY3" fmla="*/ 391298 h 563506"/>
                <a:gd name="connsiteX4" fmla="*/ 820561 w 877570"/>
                <a:gd name="connsiteY4" fmla="*/ 473671 h 563506"/>
                <a:gd name="connsiteX5" fmla="*/ 793103 w 877570"/>
                <a:gd name="connsiteY5" fmla="*/ 464519 h 563506"/>
                <a:gd name="connsiteX6" fmla="*/ 793103 w 877570"/>
                <a:gd name="connsiteY6" fmla="*/ 495027 h 563506"/>
                <a:gd name="connsiteX7" fmla="*/ 710731 w 877570"/>
                <a:gd name="connsiteY7" fmla="*/ 519433 h 563506"/>
                <a:gd name="connsiteX8" fmla="*/ 707679 w 877570"/>
                <a:gd name="connsiteY8" fmla="*/ 531637 h 563506"/>
                <a:gd name="connsiteX9" fmla="*/ 619206 w 877570"/>
                <a:gd name="connsiteY9" fmla="*/ 519433 h 563506"/>
                <a:gd name="connsiteX10" fmla="*/ 48697 w 877570"/>
                <a:gd name="connsiteY10" fmla="*/ 131976 h 563506"/>
                <a:gd name="connsiteX11" fmla="*/ 15137 w 877570"/>
                <a:gd name="connsiteY11" fmla="*/ 49603 h 563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77570" h="563506">
                  <a:moveTo>
                    <a:pt x="15137" y="49603"/>
                  </a:moveTo>
                  <a:cubicBezTo>
                    <a:pt x="15137" y="25196"/>
                    <a:pt x="39545" y="-5312"/>
                    <a:pt x="73103" y="789"/>
                  </a:cubicBezTo>
                  <a:cubicBezTo>
                    <a:pt x="204290" y="22146"/>
                    <a:pt x="356832" y="40451"/>
                    <a:pt x="475816" y="110620"/>
                  </a:cubicBezTo>
                  <a:cubicBezTo>
                    <a:pt x="610052" y="189942"/>
                    <a:pt x="729036" y="302824"/>
                    <a:pt x="857172" y="391298"/>
                  </a:cubicBezTo>
                  <a:cubicBezTo>
                    <a:pt x="896832" y="418756"/>
                    <a:pt x="875476" y="491976"/>
                    <a:pt x="820561" y="473671"/>
                  </a:cubicBezTo>
                  <a:lnTo>
                    <a:pt x="793103" y="464519"/>
                  </a:lnTo>
                  <a:cubicBezTo>
                    <a:pt x="793103" y="473671"/>
                    <a:pt x="793103" y="485874"/>
                    <a:pt x="793103" y="495027"/>
                  </a:cubicBezTo>
                  <a:cubicBezTo>
                    <a:pt x="787003" y="537739"/>
                    <a:pt x="735138" y="559095"/>
                    <a:pt x="710731" y="519433"/>
                  </a:cubicBezTo>
                  <a:cubicBezTo>
                    <a:pt x="710731" y="522485"/>
                    <a:pt x="707679" y="528586"/>
                    <a:pt x="707679" y="531637"/>
                  </a:cubicBezTo>
                  <a:cubicBezTo>
                    <a:pt x="692425" y="577400"/>
                    <a:pt x="616154" y="574349"/>
                    <a:pt x="619206" y="519433"/>
                  </a:cubicBezTo>
                  <a:cubicBezTo>
                    <a:pt x="631408" y="235705"/>
                    <a:pt x="268358" y="156383"/>
                    <a:pt x="48697" y="131976"/>
                  </a:cubicBezTo>
                  <a:cubicBezTo>
                    <a:pt x="-3168" y="128925"/>
                    <a:pt x="-12320" y="67908"/>
                    <a:pt x="15137" y="49603"/>
                  </a:cubicBezTo>
                  <a:close/>
                </a:path>
              </a:pathLst>
            </a:custGeom>
            <a:solidFill>
              <a:srgbClr val="F1DDBA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58967B16-2359-430E-8F18-FDF0E7A2A823}"/>
                </a:ext>
              </a:extLst>
            </p:cNvPr>
            <p:cNvSpPr/>
            <p:nvPr/>
          </p:nvSpPr>
          <p:spPr>
            <a:xfrm>
              <a:off x="23798277" y="8653959"/>
              <a:ext cx="198013" cy="161495"/>
            </a:xfrm>
            <a:custGeom>
              <a:avLst/>
              <a:gdLst>
                <a:gd name="connsiteX0" fmla="*/ 13758 w 198013"/>
                <a:gd name="connsiteY0" fmla="*/ 139624 h 161495"/>
                <a:gd name="connsiteX1" fmla="*/ 93079 w 198013"/>
                <a:gd name="connsiteY1" fmla="*/ 139624 h 161495"/>
                <a:gd name="connsiteX2" fmla="*/ 196809 w 198013"/>
                <a:gd name="connsiteY2" fmla="*/ 109116 h 161495"/>
                <a:gd name="connsiteX3" fmla="*/ 187656 w 198013"/>
                <a:gd name="connsiteY3" fmla="*/ 48099 h 161495"/>
                <a:gd name="connsiteX4" fmla="*/ 68673 w 198013"/>
                <a:gd name="connsiteY4" fmla="*/ 8438 h 161495"/>
                <a:gd name="connsiteX5" fmla="*/ 13758 w 198013"/>
                <a:gd name="connsiteY5" fmla="*/ 139624 h 161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8013" h="161495">
                  <a:moveTo>
                    <a:pt x="13758" y="139624"/>
                  </a:moveTo>
                  <a:cubicBezTo>
                    <a:pt x="32062" y="164031"/>
                    <a:pt x="77825" y="173183"/>
                    <a:pt x="93079" y="139624"/>
                  </a:cubicBezTo>
                  <a:cubicBezTo>
                    <a:pt x="105283" y="109116"/>
                    <a:pt x="151046" y="93862"/>
                    <a:pt x="196809" y="109116"/>
                  </a:cubicBezTo>
                  <a:cubicBezTo>
                    <a:pt x="196809" y="99963"/>
                    <a:pt x="202911" y="60302"/>
                    <a:pt x="187656" y="48099"/>
                  </a:cubicBezTo>
                  <a:cubicBezTo>
                    <a:pt x="147994" y="8438"/>
                    <a:pt x="123587" y="-12918"/>
                    <a:pt x="68673" y="8438"/>
                  </a:cubicBezTo>
                  <a:cubicBezTo>
                    <a:pt x="19860" y="26742"/>
                    <a:pt x="-22853" y="87759"/>
                    <a:pt x="13758" y="139624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1" name="图形 1">
              <a:extLst>
                <a:ext uri="{FF2B5EF4-FFF2-40B4-BE49-F238E27FC236}">
                  <a16:creationId xmlns:a16="http://schemas.microsoft.com/office/drawing/2014/main" id="{D8307F89-A0C9-467B-A033-362A04D40CEB}"/>
                </a:ext>
              </a:extLst>
            </p:cNvPr>
            <p:cNvGrpSpPr/>
            <p:nvPr/>
          </p:nvGrpSpPr>
          <p:grpSpPr>
            <a:xfrm>
              <a:off x="22667933" y="8528023"/>
              <a:ext cx="1272413" cy="1016068"/>
              <a:chOff x="22667933" y="8528023"/>
              <a:chExt cx="1272413" cy="1016068"/>
            </a:xfrm>
          </p:grpSpPr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24C22F4B-2441-4DCF-AED1-5F42C3144CF0}"/>
                  </a:ext>
                </a:extLst>
              </p:cNvPr>
              <p:cNvSpPr/>
              <p:nvPr/>
            </p:nvSpPr>
            <p:spPr>
              <a:xfrm>
                <a:off x="23660675" y="8528023"/>
                <a:ext cx="66687" cy="225899"/>
              </a:xfrm>
              <a:custGeom>
                <a:avLst/>
                <a:gdLst>
                  <a:gd name="connsiteX0" fmla="*/ 20174 w 66687"/>
                  <a:gd name="connsiteY0" fmla="*/ 225899 h 225899"/>
                  <a:gd name="connsiteX1" fmla="*/ 1868 w 66687"/>
                  <a:gd name="connsiteY1" fmla="*/ 79459 h 225899"/>
                  <a:gd name="connsiteX2" fmla="*/ 47630 w 66687"/>
                  <a:gd name="connsiteY2" fmla="*/ 136 h 225899"/>
                  <a:gd name="connsiteX3" fmla="*/ 62885 w 66687"/>
                  <a:gd name="connsiteY3" fmla="*/ 137424 h 225899"/>
                  <a:gd name="connsiteX4" fmla="*/ 20174 w 66687"/>
                  <a:gd name="connsiteY4" fmla="*/ 225899 h 225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87" h="225899">
                    <a:moveTo>
                      <a:pt x="20174" y="225899"/>
                    </a:moveTo>
                    <a:cubicBezTo>
                      <a:pt x="20174" y="225899"/>
                      <a:pt x="-7284" y="116069"/>
                      <a:pt x="1868" y="79459"/>
                    </a:cubicBezTo>
                    <a:cubicBezTo>
                      <a:pt x="14072" y="45899"/>
                      <a:pt x="26274" y="-2914"/>
                      <a:pt x="47630" y="136"/>
                    </a:cubicBezTo>
                    <a:cubicBezTo>
                      <a:pt x="96445" y="3187"/>
                      <a:pt x="32376" y="109967"/>
                      <a:pt x="62885" y="137424"/>
                    </a:cubicBezTo>
                    <a:cubicBezTo>
                      <a:pt x="75089" y="149628"/>
                      <a:pt x="20174" y="225899"/>
                      <a:pt x="20174" y="225899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46" name="图形 1">
                <a:extLst>
                  <a:ext uri="{FF2B5EF4-FFF2-40B4-BE49-F238E27FC236}">
                    <a16:creationId xmlns:a16="http://schemas.microsoft.com/office/drawing/2014/main" id="{CC0E3466-EB5D-43D4-B5A0-FB6C3A6D088E}"/>
                  </a:ext>
                </a:extLst>
              </p:cNvPr>
              <p:cNvGrpSpPr/>
              <p:nvPr/>
            </p:nvGrpSpPr>
            <p:grpSpPr>
              <a:xfrm>
                <a:off x="23650248" y="8536039"/>
                <a:ext cx="290098" cy="368088"/>
                <a:chOff x="23650248" y="8536039"/>
                <a:chExt cx="290098" cy="368088"/>
              </a:xfrm>
            </p:grpSpPr>
            <p:sp>
              <p:nvSpPr>
                <p:cNvPr id="51" name="任意多边形: 形状 50">
                  <a:extLst>
                    <a:ext uri="{FF2B5EF4-FFF2-40B4-BE49-F238E27FC236}">
                      <a16:creationId xmlns:a16="http://schemas.microsoft.com/office/drawing/2014/main" id="{F0611BC8-ACFA-48F2-A340-A7FEB076D03A}"/>
                    </a:ext>
                  </a:extLst>
                </p:cNvPr>
                <p:cNvSpPr/>
                <p:nvPr/>
              </p:nvSpPr>
              <p:spPr>
                <a:xfrm>
                  <a:off x="23650248" y="8536039"/>
                  <a:ext cx="284358" cy="368088"/>
                </a:xfrm>
                <a:custGeom>
                  <a:avLst/>
                  <a:gdLst>
                    <a:gd name="connsiteX0" fmla="*/ 170939 w 284358"/>
                    <a:gd name="connsiteY0" fmla="*/ 336866 h 368088"/>
                    <a:gd name="connsiteX1" fmla="*/ 225854 w 284358"/>
                    <a:gd name="connsiteY1" fmla="*/ 236187 h 368088"/>
                    <a:gd name="connsiteX2" fmla="*/ 283821 w 284358"/>
                    <a:gd name="connsiteY2" fmla="*/ 162967 h 368088"/>
                    <a:gd name="connsiteX3" fmla="*/ 116024 w 284358"/>
                    <a:gd name="connsiteY3" fmla="*/ 1272 h 368088"/>
                    <a:gd name="connsiteX4" fmla="*/ 67210 w 284358"/>
                    <a:gd name="connsiteY4" fmla="*/ 50086 h 368088"/>
                    <a:gd name="connsiteX5" fmla="*/ 92 w 284358"/>
                    <a:gd name="connsiteY5" fmla="*/ 297204 h 368088"/>
                    <a:gd name="connsiteX6" fmla="*/ 119074 w 284358"/>
                    <a:gd name="connsiteY6" fmla="*/ 367374 h 368088"/>
                    <a:gd name="connsiteX7" fmla="*/ 170939 w 284358"/>
                    <a:gd name="connsiteY7" fmla="*/ 336866 h 3680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84358" h="368088">
                      <a:moveTo>
                        <a:pt x="170939" y="336866"/>
                      </a:moveTo>
                      <a:cubicBezTo>
                        <a:pt x="189243" y="303306"/>
                        <a:pt x="204498" y="269747"/>
                        <a:pt x="225854" y="236187"/>
                      </a:cubicBezTo>
                      <a:cubicBezTo>
                        <a:pt x="247210" y="202628"/>
                        <a:pt x="268567" y="199577"/>
                        <a:pt x="283821" y="162967"/>
                      </a:cubicBezTo>
                      <a:cubicBezTo>
                        <a:pt x="292973" y="135510"/>
                        <a:pt x="183143" y="16527"/>
                        <a:pt x="116024" y="1272"/>
                      </a:cubicBezTo>
                      <a:cubicBezTo>
                        <a:pt x="79414" y="-7880"/>
                        <a:pt x="73312" y="34832"/>
                        <a:pt x="67210" y="50086"/>
                      </a:cubicBezTo>
                      <a:cubicBezTo>
                        <a:pt x="18397" y="141611"/>
                        <a:pt x="36701" y="199577"/>
                        <a:pt x="92" y="297204"/>
                      </a:cubicBezTo>
                      <a:cubicBezTo>
                        <a:pt x="-2960" y="297204"/>
                        <a:pt x="70262" y="364323"/>
                        <a:pt x="119074" y="367374"/>
                      </a:cubicBezTo>
                      <a:cubicBezTo>
                        <a:pt x="152635" y="370425"/>
                        <a:pt x="158735" y="364323"/>
                        <a:pt x="170939" y="336866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3EEC793E-CC8B-45CE-820B-86376F7BFA79}"/>
                    </a:ext>
                  </a:extLst>
                </p:cNvPr>
                <p:cNvSpPr/>
                <p:nvPr/>
              </p:nvSpPr>
              <p:spPr>
                <a:xfrm>
                  <a:off x="23680849" y="8537156"/>
                  <a:ext cx="259497" cy="274732"/>
                </a:xfrm>
                <a:custGeom>
                  <a:avLst/>
                  <a:gdLst>
                    <a:gd name="connsiteX0" fmla="*/ 192203 w 259497"/>
                    <a:gd name="connsiteY0" fmla="*/ 271682 h 274732"/>
                    <a:gd name="connsiteX1" fmla="*/ 189151 w 259497"/>
                    <a:gd name="connsiteY1" fmla="*/ 268631 h 274732"/>
                    <a:gd name="connsiteX2" fmla="*/ 189151 w 259497"/>
                    <a:gd name="connsiteY2" fmla="*/ 259478 h 274732"/>
                    <a:gd name="connsiteX3" fmla="*/ 250168 w 259497"/>
                    <a:gd name="connsiteY3" fmla="*/ 161851 h 274732"/>
                    <a:gd name="connsiteX4" fmla="*/ 143388 w 259497"/>
                    <a:gd name="connsiteY4" fmla="*/ 36766 h 274732"/>
                    <a:gd name="connsiteX5" fmla="*/ 140338 w 259497"/>
                    <a:gd name="connsiteY5" fmla="*/ 36766 h 274732"/>
                    <a:gd name="connsiteX6" fmla="*/ 64067 w 259497"/>
                    <a:gd name="connsiteY6" fmla="*/ 12360 h 274732"/>
                    <a:gd name="connsiteX7" fmla="*/ 12202 w 259497"/>
                    <a:gd name="connsiteY7" fmla="*/ 146597 h 274732"/>
                    <a:gd name="connsiteX8" fmla="*/ 6100 w 259497"/>
                    <a:gd name="connsiteY8" fmla="*/ 152698 h 274732"/>
                    <a:gd name="connsiteX9" fmla="*/ 0 w 259497"/>
                    <a:gd name="connsiteY9" fmla="*/ 146597 h 274732"/>
                    <a:gd name="connsiteX10" fmla="*/ 54915 w 259497"/>
                    <a:gd name="connsiteY10" fmla="*/ 6258 h 274732"/>
                    <a:gd name="connsiteX11" fmla="*/ 146440 w 259497"/>
                    <a:gd name="connsiteY11" fmla="*/ 30665 h 274732"/>
                    <a:gd name="connsiteX12" fmla="*/ 149490 w 259497"/>
                    <a:gd name="connsiteY12" fmla="*/ 30665 h 274732"/>
                    <a:gd name="connsiteX13" fmla="*/ 259322 w 259497"/>
                    <a:gd name="connsiteY13" fmla="*/ 167953 h 274732"/>
                    <a:gd name="connsiteX14" fmla="*/ 195253 w 259497"/>
                    <a:gd name="connsiteY14" fmla="*/ 274732 h 274732"/>
                    <a:gd name="connsiteX15" fmla="*/ 192203 w 259497"/>
                    <a:gd name="connsiteY15" fmla="*/ 271682 h 274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59497" h="274732">
                      <a:moveTo>
                        <a:pt x="192203" y="271682"/>
                      </a:moveTo>
                      <a:cubicBezTo>
                        <a:pt x="192203" y="271682"/>
                        <a:pt x="189151" y="271682"/>
                        <a:pt x="189151" y="268631"/>
                      </a:cubicBezTo>
                      <a:cubicBezTo>
                        <a:pt x="186101" y="265580"/>
                        <a:pt x="186101" y="262529"/>
                        <a:pt x="189151" y="259478"/>
                      </a:cubicBezTo>
                      <a:cubicBezTo>
                        <a:pt x="189151" y="259478"/>
                        <a:pt x="244068" y="204563"/>
                        <a:pt x="250168" y="161851"/>
                      </a:cubicBezTo>
                      <a:cubicBezTo>
                        <a:pt x="253220" y="146597"/>
                        <a:pt x="241016" y="106936"/>
                        <a:pt x="143388" y="36766"/>
                      </a:cubicBezTo>
                      <a:lnTo>
                        <a:pt x="140338" y="36766"/>
                      </a:lnTo>
                      <a:cubicBezTo>
                        <a:pt x="125084" y="24563"/>
                        <a:pt x="82371" y="156"/>
                        <a:pt x="64067" y="12360"/>
                      </a:cubicBezTo>
                      <a:cubicBezTo>
                        <a:pt x="27457" y="39817"/>
                        <a:pt x="15254" y="143546"/>
                        <a:pt x="12202" y="146597"/>
                      </a:cubicBezTo>
                      <a:cubicBezTo>
                        <a:pt x="12202" y="149648"/>
                        <a:pt x="9152" y="152698"/>
                        <a:pt x="6100" y="152698"/>
                      </a:cubicBezTo>
                      <a:cubicBezTo>
                        <a:pt x="3050" y="152698"/>
                        <a:pt x="0" y="149648"/>
                        <a:pt x="0" y="146597"/>
                      </a:cubicBezTo>
                      <a:cubicBezTo>
                        <a:pt x="0" y="143546"/>
                        <a:pt x="12202" y="36766"/>
                        <a:pt x="54915" y="6258"/>
                      </a:cubicBezTo>
                      <a:cubicBezTo>
                        <a:pt x="85423" y="-15098"/>
                        <a:pt x="140338" y="24563"/>
                        <a:pt x="146440" y="30665"/>
                      </a:cubicBezTo>
                      <a:lnTo>
                        <a:pt x="149490" y="30665"/>
                      </a:lnTo>
                      <a:cubicBezTo>
                        <a:pt x="225762" y="85580"/>
                        <a:pt x="262372" y="134394"/>
                        <a:pt x="259322" y="167953"/>
                      </a:cubicBezTo>
                      <a:cubicBezTo>
                        <a:pt x="253220" y="216766"/>
                        <a:pt x="198305" y="271682"/>
                        <a:pt x="195253" y="274732"/>
                      </a:cubicBezTo>
                      <a:cubicBezTo>
                        <a:pt x="195253" y="271682"/>
                        <a:pt x="195253" y="271682"/>
                        <a:pt x="192203" y="271682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AB339B3E-D7CD-48DB-A1E7-6A09DC0186E0}"/>
                    </a:ext>
                  </a:extLst>
                </p:cNvPr>
                <p:cNvSpPr/>
                <p:nvPr/>
              </p:nvSpPr>
              <p:spPr>
                <a:xfrm>
                  <a:off x="23793729" y="8607481"/>
                  <a:ext cx="78560" cy="76271"/>
                </a:xfrm>
                <a:custGeom>
                  <a:avLst/>
                  <a:gdLst>
                    <a:gd name="connsiteX0" fmla="*/ 73221 w 78560"/>
                    <a:gd name="connsiteY0" fmla="*/ 76271 h 76271"/>
                    <a:gd name="connsiteX1" fmla="*/ 70171 w 78560"/>
                    <a:gd name="connsiteY1" fmla="*/ 73220 h 76271"/>
                    <a:gd name="connsiteX2" fmla="*/ 3052 w 78560"/>
                    <a:gd name="connsiteY2" fmla="*/ 9153 h 76271"/>
                    <a:gd name="connsiteX3" fmla="*/ 0 w 78560"/>
                    <a:gd name="connsiteY3" fmla="*/ 3051 h 76271"/>
                    <a:gd name="connsiteX4" fmla="*/ 6102 w 78560"/>
                    <a:gd name="connsiteY4" fmla="*/ 0 h 76271"/>
                    <a:gd name="connsiteX5" fmla="*/ 76271 w 78560"/>
                    <a:gd name="connsiteY5" fmla="*/ 67119 h 76271"/>
                    <a:gd name="connsiteX6" fmla="*/ 76271 w 78560"/>
                    <a:gd name="connsiteY6" fmla="*/ 76271 h 76271"/>
                    <a:gd name="connsiteX7" fmla="*/ 73221 w 78560"/>
                    <a:gd name="connsiteY7" fmla="*/ 76271 h 762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8560" h="76271">
                      <a:moveTo>
                        <a:pt x="73221" y="76271"/>
                      </a:moveTo>
                      <a:cubicBezTo>
                        <a:pt x="70171" y="76271"/>
                        <a:pt x="70171" y="76271"/>
                        <a:pt x="70171" y="73220"/>
                      </a:cubicBezTo>
                      <a:cubicBezTo>
                        <a:pt x="70171" y="73220"/>
                        <a:pt x="21356" y="18305"/>
                        <a:pt x="3052" y="9153"/>
                      </a:cubicBezTo>
                      <a:cubicBezTo>
                        <a:pt x="0" y="9153"/>
                        <a:pt x="0" y="3051"/>
                        <a:pt x="0" y="3051"/>
                      </a:cubicBezTo>
                      <a:cubicBezTo>
                        <a:pt x="0" y="0"/>
                        <a:pt x="6102" y="0"/>
                        <a:pt x="6102" y="0"/>
                      </a:cubicBezTo>
                      <a:cubicBezTo>
                        <a:pt x="27458" y="12203"/>
                        <a:pt x="76271" y="64068"/>
                        <a:pt x="76271" y="67119"/>
                      </a:cubicBezTo>
                      <a:cubicBezTo>
                        <a:pt x="79323" y="70170"/>
                        <a:pt x="79323" y="73220"/>
                        <a:pt x="76271" y="76271"/>
                      </a:cubicBezTo>
                      <a:cubicBezTo>
                        <a:pt x="76271" y="76271"/>
                        <a:pt x="76271" y="76271"/>
                        <a:pt x="73221" y="76271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44FB67C3-2911-4207-AF59-FF60758A1727}"/>
                  </a:ext>
                </a:extLst>
              </p:cNvPr>
              <p:cNvSpPr/>
              <p:nvPr/>
            </p:nvSpPr>
            <p:spPr>
              <a:xfrm>
                <a:off x="22671561" y="8637833"/>
                <a:ext cx="1195545" cy="877276"/>
              </a:xfrm>
              <a:custGeom>
                <a:avLst/>
                <a:gdLst>
                  <a:gd name="connsiteX0" fmla="*/ 26915 w 1195545"/>
                  <a:gd name="connsiteY0" fmla="*/ 33716 h 877276"/>
                  <a:gd name="connsiteX1" fmla="*/ 496744 w 1195545"/>
                  <a:gd name="connsiteY1" fmla="*/ 198461 h 877276"/>
                  <a:gd name="connsiteX2" fmla="*/ 768271 w 1195545"/>
                  <a:gd name="connsiteY2" fmla="*/ 521851 h 877276"/>
                  <a:gd name="connsiteX3" fmla="*/ 1076406 w 1195545"/>
                  <a:gd name="connsiteY3" fmla="*/ 109987 h 877276"/>
                  <a:gd name="connsiteX4" fmla="*/ 1195389 w 1195545"/>
                  <a:gd name="connsiteY4" fmla="*/ 198461 h 877276"/>
                  <a:gd name="connsiteX5" fmla="*/ 807931 w 1195545"/>
                  <a:gd name="connsiteY5" fmla="*/ 875749 h 877276"/>
                  <a:gd name="connsiteX6" fmla="*/ 26915 w 1195545"/>
                  <a:gd name="connsiteY6" fmla="*/ 33716 h 877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95545" h="877276">
                    <a:moveTo>
                      <a:pt x="26915" y="33716"/>
                    </a:moveTo>
                    <a:cubicBezTo>
                      <a:pt x="106236" y="-76115"/>
                      <a:pt x="399119" y="109987"/>
                      <a:pt x="496744" y="198461"/>
                    </a:cubicBezTo>
                    <a:cubicBezTo>
                      <a:pt x="582170" y="277784"/>
                      <a:pt x="768271" y="521851"/>
                      <a:pt x="768271" y="521851"/>
                    </a:cubicBezTo>
                    <a:cubicBezTo>
                      <a:pt x="768271" y="521851"/>
                      <a:pt x="933017" y="76427"/>
                      <a:pt x="1076406" y="109987"/>
                    </a:cubicBezTo>
                    <a:cubicBezTo>
                      <a:pt x="1125220" y="109987"/>
                      <a:pt x="1167931" y="125241"/>
                      <a:pt x="1195389" y="198461"/>
                    </a:cubicBezTo>
                    <a:cubicBezTo>
                      <a:pt x="1201491" y="366258"/>
                      <a:pt x="1027593" y="829987"/>
                      <a:pt x="807931" y="875749"/>
                    </a:cubicBezTo>
                    <a:cubicBezTo>
                      <a:pt x="621830" y="912360"/>
                      <a:pt x="-153086" y="280834"/>
                      <a:pt x="26915" y="33716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D0E543E2-1278-4750-B504-90DB41C57C50}"/>
                  </a:ext>
                </a:extLst>
              </p:cNvPr>
              <p:cNvSpPr/>
              <p:nvPr/>
            </p:nvSpPr>
            <p:spPr>
              <a:xfrm>
                <a:off x="22667933" y="8624540"/>
                <a:ext cx="1203330" cy="919551"/>
              </a:xfrm>
              <a:custGeom>
                <a:avLst/>
                <a:gdLst>
                  <a:gd name="connsiteX0" fmla="*/ 802406 w 1203330"/>
                  <a:gd name="connsiteY0" fmla="*/ 919552 h 919551"/>
                  <a:gd name="connsiteX1" fmla="*/ 799356 w 1203330"/>
                  <a:gd name="connsiteY1" fmla="*/ 919552 h 919551"/>
                  <a:gd name="connsiteX2" fmla="*/ 268508 w 1203330"/>
                  <a:gd name="connsiteY2" fmla="*/ 590060 h 919551"/>
                  <a:gd name="connsiteX3" fmla="*/ 268508 w 1203330"/>
                  <a:gd name="connsiteY3" fmla="*/ 590060 h 919551"/>
                  <a:gd name="connsiteX4" fmla="*/ 34 w 1203330"/>
                  <a:gd name="connsiteY4" fmla="*/ 159891 h 919551"/>
                  <a:gd name="connsiteX5" fmla="*/ 34 w 1203330"/>
                  <a:gd name="connsiteY5" fmla="*/ 156840 h 919551"/>
                  <a:gd name="connsiteX6" fmla="*/ 48847 w 1203330"/>
                  <a:gd name="connsiteY6" fmla="*/ 28704 h 919551"/>
                  <a:gd name="connsiteX7" fmla="*/ 189187 w 1203330"/>
                  <a:gd name="connsiteY7" fmla="*/ 7348 h 919551"/>
                  <a:gd name="connsiteX8" fmla="*/ 778000 w 1203330"/>
                  <a:gd name="connsiteY8" fmla="*/ 535145 h 919551"/>
                  <a:gd name="connsiteX9" fmla="*/ 778000 w 1203330"/>
                  <a:gd name="connsiteY9" fmla="*/ 544297 h 919551"/>
                  <a:gd name="connsiteX10" fmla="*/ 768848 w 1203330"/>
                  <a:gd name="connsiteY10" fmla="*/ 544297 h 919551"/>
                  <a:gd name="connsiteX11" fmla="*/ 186135 w 1203330"/>
                  <a:gd name="connsiteY11" fmla="*/ 22603 h 919551"/>
                  <a:gd name="connsiteX12" fmla="*/ 54949 w 1203330"/>
                  <a:gd name="connsiteY12" fmla="*/ 43959 h 919551"/>
                  <a:gd name="connsiteX13" fmla="*/ 9186 w 1203330"/>
                  <a:gd name="connsiteY13" fmla="*/ 162941 h 919551"/>
                  <a:gd name="connsiteX14" fmla="*/ 274610 w 1203330"/>
                  <a:gd name="connsiteY14" fmla="*/ 587010 h 919551"/>
                  <a:gd name="connsiteX15" fmla="*/ 274610 w 1203330"/>
                  <a:gd name="connsiteY15" fmla="*/ 587010 h 919551"/>
                  <a:gd name="connsiteX16" fmla="*/ 796304 w 1203330"/>
                  <a:gd name="connsiteY16" fmla="*/ 913450 h 919551"/>
                  <a:gd name="connsiteX17" fmla="*/ 799356 w 1203330"/>
                  <a:gd name="connsiteY17" fmla="*/ 913450 h 919551"/>
                  <a:gd name="connsiteX18" fmla="*/ 1192915 w 1203330"/>
                  <a:gd name="connsiteY18" fmla="*/ 272772 h 919551"/>
                  <a:gd name="connsiteX19" fmla="*/ 1199017 w 1203330"/>
                  <a:gd name="connsiteY19" fmla="*/ 269721 h 919551"/>
                  <a:gd name="connsiteX20" fmla="*/ 1202067 w 1203330"/>
                  <a:gd name="connsiteY20" fmla="*/ 275823 h 919551"/>
                  <a:gd name="connsiteX21" fmla="*/ 802406 w 1203330"/>
                  <a:gd name="connsiteY21" fmla="*/ 919552 h 919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03330" h="919551">
                    <a:moveTo>
                      <a:pt x="802406" y="919552"/>
                    </a:moveTo>
                    <a:cubicBezTo>
                      <a:pt x="802406" y="919552"/>
                      <a:pt x="799356" y="919552"/>
                      <a:pt x="799356" y="919552"/>
                    </a:cubicBezTo>
                    <a:cubicBezTo>
                      <a:pt x="643762" y="913450"/>
                      <a:pt x="488169" y="779213"/>
                      <a:pt x="268508" y="590060"/>
                    </a:cubicBezTo>
                    <a:lnTo>
                      <a:pt x="268508" y="590060"/>
                    </a:lnTo>
                    <a:cubicBezTo>
                      <a:pt x="76305" y="425314"/>
                      <a:pt x="18338" y="251416"/>
                      <a:pt x="34" y="159891"/>
                    </a:cubicBezTo>
                    <a:lnTo>
                      <a:pt x="34" y="156840"/>
                    </a:lnTo>
                    <a:cubicBezTo>
                      <a:pt x="34" y="153789"/>
                      <a:pt x="-3018" y="74467"/>
                      <a:pt x="48847" y="28704"/>
                    </a:cubicBezTo>
                    <a:cubicBezTo>
                      <a:pt x="82407" y="1247"/>
                      <a:pt x="128170" y="-7906"/>
                      <a:pt x="189187" y="7348"/>
                    </a:cubicBezTo>
                    <a:cubicBezTo>
                      <a:pt x="390542" y="50060"/>
                      <a:pt x="759694" y="513789"/>
                      <a:pt x="778000" y="535145"/>
                    </a:cubicBezTo>
                    <a:cubicBezTo>
                      <a:pt x="781050" y="538196"/>
                      <a:pt x="778000" y="541247"/>
                      <a:pt x="778000" y="544297"/>
                    </a:cubicBezTo>
                    <a:cubicBezTo>
                      <a:pt x="774948" y="547348"/>
                      <a:pt x="771898" y="544297"/>
                      <a:pt x="768848" y="544297"/>
                    </a:cubicBezTo>
                    <a:cubicBezTo>
                      <a:pt x="765796" y="538196"/>
                      <a:pt x="384440" y="65314"/>
                      <a:pt x="186135" y="22603"/>
                    </a:cubicBezTo>
                    <a:cubicBezTo>
                      <a:pt x="131220" y="10399"/>
                      <a:pt x="85457" y="16501"/>
                      <a:pt x="54949" y="43959"/>
                    </a:cubicBezTo>
                    <a:cubicBezTo>
                      <a:pt x="6136" y="83620"/>
                      <a:pt x="9186" y="159891"/>
                      <a:pt x="9186" y="162941"/>
                    </a:cubicBezTo>
                    <a:cubicBezTo>
                      <a:pt x="27490" y="251416"/>
                      <a:pt x="88507" y="422263"/>
                      <a:pt x="274610" y="587010"/>
                    </a:cubicBezTo>
                    <a:lnTo>
                      <a:pt x="274610" y="587010"/>
                    </a:lnTo>
                    <a:cubicBezTo>
                      <a:pt x="491220" y="773111"/>
                      <a:pt x="646814" y="910399"/>
                      <a:pt x="796304" y="913450"/>
                    </a:cubicBezTo>
                    <a:cubicBezTo>
                      <a:pt x="796304" y="913450"/>
                      <a:pt x="799356" y="913450"/>
                      <a:pt x="799356" y="913450"/>
                    </a:cubicBezTo>
                    <a:cubicBezTo>
                      <a:pt x="945797" y="913450"/>
                      <a:pt x="1147152" y="516840"/>
                      <a:pt x="1192915" y="272772"/>
                    </a:cubicBezTo>
                    <a:cubicBezTo>
                      <a:pt x="1192915" y="269721"/>
                      <a:pt x="1195966" y="266671"/>
                      <a:pt x="1199017" y="269721"/>
                    </a:cubicBezTo>
                    <a:cubicBezTo>
                      <a:pt x="1202067" y="269721"/>
                      <a:pt x="1205119" y="272772"/>
                      <a:pt x="1202067" y="275823"/>
                    </a:cubicBezTo>
                    <a:cubicBezTo>
                      <a:pt x="1162406" y="492433"/>
                      <a:pt x="964101" y="919552"/>
                      <a:pt x="802406" y="91955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871DBD0E-6C54-472F-8C03-652F47D71FA2}"/>
                  </a:ext>
                </a:extLst>
              </p:cNvPr>
              <p:cNvSpPr/>
              <p:nvPr/>
            </p:nvSpPr>
            <p:spPr>
              <a:xfrm>
                <a:off x="23409323" y="9162735"/>
                <a:ext cx="62280" cy="70169"/>
              </a:xfrm>
              <a:custGeom>
                <a:avLst/>
                <a:gdLst>
                  <a:gd name="connsiteX0" fmla="*/ 57967 w 62280"/>
                  <a:gd name="connsiteY0" fmla="*/ 67119 h 70169"/>
                  <a:gd name="connsiteX1" fmla="*/ 51865 w 62280"/>
                  <a:gd name="connsiteY1" fmla="*/ 64068 h 70169"/>
                  <a:gd name="connsiteX2" fmla="*/ 27458 w 62280"/>
                  <a:gd name="connsiteY2" fmla="*/ 15254 h 70169"/>
                  <a:gd name="connsiteX3" fmla="*/ 12204 w 62280"/>
                  <a:gd name="connsiteY3" fmla="*/ 64068 h 70169"/>
                  <a:gd name="connsiteX4" fmla="*/ 6102 w 62280"/>
                  <a:gd name="connsiteY4" fmla="*/ 70170 h 70169"/>
                  <a:gd name="connsiteX5" fmla="*/ 0 w 62280"/>
                  <a:gd name="connsiteY5" fmla="*/ 64068 h 70169"/>
                  <a:gd name="connsiteX6" fmla="*/ 18304 w 62280"/>
                  <a:gd name="connsiteY6" fmla="*/ 3051 h 70169"/>
                  <a:gd name="connsiteX7" fmla="*/ 24406 w 62280"/>
                  <a:gd name="connsiteY7" fmla="*/ 0 h 70169"/>
                  <a:gd name="connsiteX8" fmla="*/ 30508 w 62280"/>
                  <a:gd name="connsiteY8" fmla="*/ 3051 h 70169"/>
                  <a:gd name="connsiteX9" fmla="*/ 61017 w 62280"/>
                  <a:gd name="connsiteY9" fmla="*/ 64068 h 70169"/>
                  <a:gd name="connsiteX10" fmla="*/ 57967 w 62280"/>
                  <a:gd name="connsiteY10" fmla="*/ 67119 h 70169"/>
                  <a:gd name="connsiteX11" fmla="*/ 57967 w 62280"/>
                  <a:gd name="connsiteY11" fmla="*/ 67119 h 7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2280" h="70169">
                    <a:moveTo>
                      <a:pt x="57967" y="67119"/>
                    </a:moveTo>
                    <a:cubicBezTo>
                      <a:pt x="54915" y="67119"/>
                      <a:pt x="54915" y="67119"/>
                      <a:pt x="51865" y="64068"/>
                    </a:cubicBezTo>
                    <a:cubicBezTo>
                      <a:pt x="45763" y="45763"/>
                      <a:pt x="33559" y="27458"/>
                      <a:pt x="27458" y="15254"/>
                    </a:cubicBezTo>
                    <a:cubicBezTo>
                      <a:pt x="21356" y="27458"/>
                      <a:pt x="15254" y="48814"/>
                      <a:pt x="12204" y="64068"/>
                    </a:cubicBezTo>
                    <a:cubicBezTo>
                      <a:pt x="12204" y="67119"/>
                      <a:pt x="9152" y="70170"/>
                      <a:pt x="6102" y="70170"/>
                    </a:cubicBezTo>
                    <a:cubicBezTo>
                      <a:pt x="3050" y="70170"/>
                      <a:pt x="0" y="67119"/>
                      <a:pt x="0" y="64068"/>
                    </a:cubicBezTo>
                    <a:cubicBezTo>
                      <a:pt x="3050" y="36610"/>
                      <a:pt x="18304" y="3051"/>
                      <a:pt x="18304" y="3051"/>
                    </a:cubicBezTo>
                    <a:cubicBezTo>
                      <a:pt x="18304" y="0"/>
                      <a:pt x="21356" y="0"/>
                      <a:pt x="24406" y="0"/>
                    </a:cubicBezTo>
                    <a:cubicBezTo>
                      <a:pt x="27458" y="0"/>
                      <a:pt x="27458" y="0"/>
                      <a:pt x="30508" y="3051"/>
                    </a:cubicBezTo>
                    <a:cubicBezTo>
                      <a:pt x="30508" y="3051"/>
                      <a:pt x="51865" y="39661"/>
                      <a:pt x="61017" y="64068"/>
                    </a:cubicBezTo>
                    <a:cubicBezTo>
                      <a:pt x="64067" y="61017"/>
                      <a:pt x="61017" y="64068"/>
                      <a:pt x="57967" y="67119"/>
                    </a:cubicBezTo>
                    <a:cubicBezTo>
                      <a:pt x="57967" y="64068"/>
                      <a:pt x="57967" y="67119"/>
                      <a:pt x="57967" y="6711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B5DA6BDC-6C85-4ED3-B74F-CD1C1979A30E}"/>
                  </a:ext>
                </a:extLst>
              </p:cNvPr>
              <p:cNvSpPr/>
              <p:nvPr/>
            </p:nvSpPr>
            <p:spPr>
              <a:xfrm>
                <a:off x="23605070" y="8738668"/>
                <a:ext cx="324480" cy="159208"/>
              </a:xfrm>
              <a:custGeom>
                <a:avLst/>
                <a:gdLst>
                  <a:gd name="connsiteX0" fmla="*/ 261880 w 324480"/>
                  <a:gd name="connsiteY0" fmla="*/ 152542 h 159208"/>
                  <a:gd name="connsiteX1" fmla="*/ 48321 w 324480"/>
                  <a:gd name="connsiteY1" fmla="*/ 91525 h 159208"/>
                  <a:gd name="connsiteX2" fmla="*/ 39169 w 324480"/>
                  <a:gd name="connsiteY2" fmla="*/ 0 h 159208"/>
                  <a:gd name="connsiteX3" fmla="*/ 301541 w 324480"/>
                  <a:gd name="connsiteY3" fmla="*/ 70170 h 159208"/>
                  <a:gd name="connsiteX4" fmla="*/ 261880 w 324480"/>
                  <a:gd name="connsiteY4" fmla="*/ 152542 h 159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480" h="159208">
                    <a:moveTo>
                      <a:pt x="261880" y="152542"/>
                    </a:moveTo>
                    <a:cubicBezTo>
                      <a:pt x="194761" y="112881"/>
                      <a:pt x="124592" y="91525"/>
                      <a:pt x="48321" y="91525"/>
                    </a:cubicBezTo>
                    <a:cubicBezTo>
                      <a:pt x="-9646" y="91525"/>
                      <a:pt x="-18798" y="0"/>
                      <a:pt x="39169" y="0"/>
                    </a:cubicBezTo>
                    <a:cubicBezTo>
                      <a:pt x="130694" y="0"/>
                      <a:pt x="219168" y="21356"/>
                      <a:pt x="301541" y="70170"/>
                    </a:cubicBezTo>
                    <a:cubicBezTo>
                      <a:pt x="350356" y="100678"/>
                      <a:pt x="313745" y="183051"/>
                      <a:pt x="261880" y="152542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DCCC640A-04B8-4D11-9714-91EF79FDB077}"/>
                </a:ext>
              </a:extLst>
            </p:cNvPr>
            <p:cNvSpPr/>
            <p:nvPr/>
          </p:nvSpPr>
          <p:spPr>
            <a:xfrm>
              <a:off x="22976102" y="8238329"/>
              <a:ext cx="67119" cy="140339"/>
            </a:xfrm>
            <a:custGeom>
              <a:avLst/>
              <a:gdLst>
                <a:gd name="connsiteX0" fmla="*/ 0 w 67119"/>
                <a:gd name="connsiteY0" fmla="*/ 0 h 140339"/>
                <a:gd name="connsiteX1" fmla="*/ 64069 w 67119"/>
                <a:gd name="connsiteY1" fmla="*/ 140339 h 140339"/>
                <a:gd name="connsiteX2" fmla="*/ 67119 w 67119"/>
                <a:gd name="connsiteY2" fmla="*/ 54915 h 140339"/>
                <a:gd name="connsiteX3" fmla="*/ 0 w 67119"/>
                <a:gd name="connsiteY3" fmla="*/ 0 h 14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19" h="140339">
                  <a:moveTo>
                    <a:pt x="0" y="0"/>
                  </a:moveTo>
                  <a:cubicBezTo>
                    <a:pt x="0" y="0"/>
                    <a:pt x="12204" y="118983"/>
                    <a:pt x="64069" y="140339"/>
                  </a:cubicBezTo>
                  <a:lnTo>
                    <a:pt x="67119" y="549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9877ED59-3BB4-4812-BD55-19584D2B4679}"/>
                </a:ext>
              </a:extLst>
            </p:cNvPr>
            <p:cNvSpPr/>
            <p:nvPr/>
          </p:nvSpPr>
          <p:spPr>
            <a:xfrm>
              <a:off x="23335173" y="8036973"/>
              <a:ext cx="101809" cy="237945"/>
            </a:xfrm>
            <a:custGeom>
              <a:avLst/>
              <a:gdLst>
                <a:gd name="connsiteX0" fmla="*/ 95506 w 101809"/>
                <a:gd name="connsiteY0" fmla="*/ 0 h 237945"/>
                <a:gd name="connsiteX1" fmla="*/ 52793 w 101809"/>
                <a:gd name="connsiteY1" fmla="*/ 234915 h 237945"/>
                <a:gd name="connsiteX2" fmla="*/ 928 w 101809"/>
                <a:gd name="connsiteY2" fmla="*/ 12203 h 237945"/>
                <a:gd name="connsiteX3" fmla="*/ 95506 w 101809"/>
                <a:gd name="connsiteY3" fmla="*/ 0 h 23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09" h="237945">
                  <a:moveTo>
                    <a:pt x="95506" y="0"/>
                  </a:moveTo>
                  <a:cubicBezTo>
                    <a:pt x="95506" y="0"/>
                    <a:pt x="126014" y="195254"/>
                    <a:pt x="52793" y="234915"/>
                  </a:cubicBezTo>
                  <a:cubicBezTo>
                    <a:pt x="-11274" y="268475"/>
                    <a:pt x="928" y="12203"/>
                    <a:pt x="928" y="12203"/>
                  </a:cubicBezTo>
                  <a:lnTo>
                    <a:pt x="95506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C169B39B-71D2-4220-9030-B72C1020C124}"/>
                </a:ext>
              </a:extLst>
            </p:cNvPr>
            <p:cNvSpPr/>
            <p:nvPr/>
          </p:nvSpPr>
          <p:spPr>
            <a:xfrm>
              <a:off x="22979154" y="7895743"/>
              <a:ext cx="421355" cy="568951"/>
            </a:xfrm>
            <a:custGeom>
              <a:avLst/>
              <a:gdLst>
                <a:gd name="connsiteX0" fmla="*/ 411864 w 421355"/>
                <a:gd name="connsiteY0" fmla="*/ 183941 h 568951"/>
                <a:gd name="connsiteX1" fmla="*/ 411864 w 421355"/>
                <a:gd name="connsiteY1" fmla="*/ 434111 h 568951"/>
                <a:gd name="connsiteX2" fmla="*/ 253220 w 421355"/>
                <a:gd name="connsiteY2" fmla="*/ 568348 h 568951"/>
                <a:gd name="connsiteX3" fmla="*/ 36609 w 421355"/>
                <a:gd name="connsiteY3" fmla="*/ 424958 h 568951"/>
                <a:gd name="connsiteX4" fmla="*/ 0 w 421355"/>
                <a:gd name="connsiteY4" fmla="*/ 199195 h 568951"/>
                <a:gd name="connsiteX5" fmla="*/ 213559 w 421355"/>
                <a:gd name="connsiteY5" fmla="*/ 890 h 568951"/>
                <a:gd name="connsiteX6" fmla="*/ 411864 w 421355"/>
                <a:gd name="connsiteY6" fmla="*/ 183941 h 568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355" h="568951">
                  <a:moveTo>
                    <a:pt x="411864" y="183941"/>
                  </a:moveTo>
                  <a:cubicBezTo>
                    <a:pt x="411864" y="183941"/>
                    <a:pt x="433219" y="360890"/>
                    <a:pt x="411864" y="434111"/>
                  </a:cubicBezTo>
                  <a:cubicBezTo>
                    <a:pt x="393558" y="501230"/>
                    <a:pt x="302033" y="565297"/>
                    <a:pt x="253220" y="568348"/>
                  </a:cubicBezTo>
                  <a:cubicBezTo>
                    <a:pt x="186101" y="574450"/>
                    <a:pt x="67117" y="534789"/>
                    <a:pt x="36609" y="424958"/>
                  </a:cubicBezTo>
                  <a:cubicBezTo>
                    <a:pt x="15254" y="351738"/>
                    <a:pt x="0" y="251060"/>
                    <a:pt x="0" y="199195"/>
                  </a:cubicBezTo>
                  <a:cubicBezTo>
                    <a:pt x="3050" y="104619"/>
                    <a:pt x="27457" y="25297"/>
                    <a:pt x="213559" y="890"/>
                  </a:cubicBezTo>
                  <a:cubicBezTo>
                    <a:pt x="295931" y="-11313"/>
                    <a:pt x="390508" y="104619"/>
                    <a:pt x="411864" y="18394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F8046235-F904-4478-8305-AFC3B3D48C20}"/>
                </a:ext>
              </a:extLst>
            </p:cNvPr>
            <p:cNvSpPr/>
            <p:nvPr/>
          </p:nvSpPr>
          <p:spPr>
            <a:xfrm>
              <a:off x="23292613" y="8136873"/>
              <a:ext cx="41215" cy="41036"/>
            </a:xfrm>
            <a:custGeom>
              <a:avLst/>
              <a:gdLst>
                <a:gd name="connsiteX0" fmla="*/ 778 w 41215"/>
                <a:gd name="connsiteY0" fmla="*/ 25184 h 41036"/>
                <a:gd name="connsiteX1" fmla="*/ 25184 w 41215"/>
                <a:gd name="connsiteY1" fmla="*/ 40438 h 41036"/>
                <a:gd name="connsiteX2" fmla="*/ 40439 w 41215"/>
                <a:gd name="connsiteY2" fmla="*/ 16032 h 41036"/>
                <a:gd name="connsiteX3" fmla="*/ 16032 w 41215"/>
                <a:gd name="connsiteY3" fmla="*/ 778 h 41036"/>
                <a:gd name="connsiteX4" fmla="*/ 778 w 41215"/>
                <a:gd name="connsiteY4" fmla="*/ 25184 h 4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5" h="41036">
                  <a:moveTo>
                    <a:pt x="778" y="25184"/>
                  </a:moveTo>
                  <a:cubicBezTo>
                    <a:pt x="3828" y="34337"/>
                    <a:pt x="12980" y="43489"/>
                    <a:pt x="25184" y="40438"/>
                  </a:cubicBezTo>
                  <a:cubicBezTo>
                    <a:pt x="37388" y="37388"/>
                    <a:pt x="43489" y="28235"/>
                    <a:pt x="40439" y="16032"/>
                  </a:cubicBezTo>
                  <a:cubicBezTo>
                    <a:pt x="37388" y="3828"/>
                    <a:pt x="28234" y="-2273"/>
                    <a:pt x="16032" y="778"/>
                  </a:cubicBezTo>
                  <a:cubicBezTo>
                    <a:pt x="3828" y="3828"/>
                    <a:pt x="-2274" y="16032"/>
                    <a:pt x="778" y="25184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D4A9A8C1-41BD-4B51-A43D-97CDB6C1FEA6}"/>
                </a:ext>
              </a:extLst>
            </p:cNvPr>
            <p:cNvSpPr/>
            <p:nvPr/>
          </p:nvSpPr>
          <p:spPr>
            <a:xfrm>
              <a:off x="23109562" y="8155178"/>
              <a:ext cx="41215" cy="41036"/>
            </a:xfrm>
            <a:custGeom>
              <a:avLst/>
              <a:gdLst>
                <a:gd name="connsiteX0" fmla="*/ 778 w 41215"/>
                <a:gd name="connsiteY0" fmla="*/ 25184 h 41036"/>
                <a:gd name="connsiteX1" fmla="*/ 25184 w 41215"/>
                <a:gd name="connsiteY1" fmla="*/ 40438 h 41036"/>
                <a:gd name="connsiteX2" fmla="*/ 40439 w 41215"/>
                <a:gd name="connsiteY2" fmla="*/ 16032 h 41036"/>
                <a:gd name="connsiteX3" fmla="*/ 16032 w 41215"/>
                <a:gd name="connsiteY3" fmla="*/ 777 h 41036"/>
                <a:gd name="connsiteX4" fmla="*/ 778 w 41215"/>
                <a:gd name="connsiteY4" fmla="*/ 25184 h 4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5" h="41036">
                  <a:moveTo>
                    <a:pt x="778" y="25184"/>
                  </a:moveTo>
                  <a:cubicBezTo>
                    <a:pt x="3828" y="34337"/>
                    <a:pt x="12980" y="43489"/>
                    <a:pt x="25184" y="40438"/>
                  </a:cubicBezTo>
                  <a:cubicBezTo>
                    <a:pt x="37388" y="37387"/>
                    <a:pt x="43489" y="28235"/>
                    <a:pt x="40439" y="16032"/>
                  </a:cubicBezTo>
                  <a:cubicBezTo>
                    <a:pt x="37388" y="3828"/>
                    <a:pt x="28234" y="-2273"/>
                    <a:pt x="16032" y="777"/>
                  </a:cubicBezTo>
                  <a:cubicBezTo>
                    <a:pt x="3828" y="3828"/>
                    <a:pt x="-2274" y="12981"/>
                    <a:pt x="778" y="25184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2AD55A8-B34A-4958-97EF-3B02510F830C}"/>
                </a:ext>
              </a:extLst>
            </p:cNvPr>
            <p:cNvSpPr/>
            <p:nvPr/>
          </p:nvSpPr>
          <p:spPr>
            <a:xfrm>
              <a:off x="23267720" y="8091888"/>
              <a:ext cx="92026" cy="30508"/>
            </a:xfrm>
            <a:custGeom>
              <a:avLst/>
              <a:gdLst>
                <a:gd name="connsiteX0" fmla="*/ 83636 w 92026"/>
                <a:gd name="connsiteY0" fmla="*/ 30509 h 30508"/>
                <a:gd name="connsiteX1" fmla="*/ 77535 w 92026"/>
                <a:gd name="connsiteY1" fmla="*/ 27458 h 30508"/>
                <a:gd name="connsiteX2" fmla="*/ 10416 w 92026"/>
                <a:gd name="connsiteY2" fmla="*/ 21356 h 30508"/>
                <a:gd name="connsiteX3" fmla="*/ 1264 w 92026"/>
                <a:gd name="connsiteY3" fmla="*/ 18305 h 30508"/>
                <a:gd name="connsiteX4" fmla="*/ 4314 w 92026"/>
                <a:gd name="connsiteY4" fmla="*/ 9152 h 30508"/>
                <a:gd name="connsiteX5" fmla="*/ 89738 w 92026"/>
                <a:gd name="connsiteY5" fmla="*/ 18305 h 30508"/>
                <a:gd name="connsiteX6" fmla="*/ 89738 w 92026"/>
                <a:gd name="connsiteY6" fmla="*/ 30509 h 30508"/>
                <a:gd name="connsiteX7" fmla="*/ 83636 w 92026"/>
                <a:gd name="connsiteY7" fmla="*/ 30509 h 3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0508">
                  <a:moveTo>
                    <a:pt x="83636" y="30509"/>
                  </a:moveTo>
                  <a:cubicBezTo>
                    <a:pt x="80586" y="30509"/>
                    <a:pt x="80586" y="30509"/>
                    <a:pt x="77535" y="27458"/>
                  </a:cubicBezTo>
                  <a:cubicBezTo>
                    <a:pt x="53127" y="0"/>
                    <a:pt x="10416" y="21356"/>
                    <a:pt x="10416" y="21356"/>
                  </a:cubicBezTo>
                  <a:cubicBezTo>
                    <a:pt x="7364" y="24407"/>
                    <a:pt x="1264" y="21356"/>
                    <a:pt x="1264" y="18305"/>
                  </a:cubicBezTo>
                  <a:cubicBezTo>
                    <a:pt x="-1788" y="15254"/>
                    <a:pt x="1264" y="9152"/>
                    <a:pt x="4314" y="9152"/>
                  </a:cubicBezTo>
                  <a:cubicBezTo>
                    <a:pt x="22619" y="0"/>
                    <a:pt x="62281" y="-9153"/>
                    <a:pt x="89738" y="18305"/>
                  </a:cubicBezTo>
                  <a:cubicBezTo>
                    <a:pt x="92790" y="21356"/>
                    <a:pt x="92790" y="27458"/>
                    <a:pt x="89738" y="30509"/>
                  </a:cubicBezTo>
                  <a:cubicBezTo>
                    <a:pt x="86688" y="30509"/>
                    <a:pt x="83636" y="30509"/>
                    <a:pt x="83636" y="30509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727F2933-8B46-4B89-A682-FF39985D16EE}"/>
                </a:ext>
              </a:extLst>
            </p:cNvPr>
            <p:cNvSpPr/>
            <p:nvPr/>
          </p:nvSpPr>
          <p:spPr>
            <a:xfrm>
              <a:off x="23074492" y="8089148"/>
              <a:ext cx="92026" cy="36299"/>
            </a:xfrm>
            <a:custGeom>
              <a:avLst/>
              <a:gdLst>
                <a:gd name="connsiteX0" fmla="*/ 8390 w 92026"/>
                <a:gd name="connsiteY0" fmla="*/ 36300 h 36299"/>
                <a:gd name="connsiteX1" fmla="*/ 2288 w 92026"/>
                <a:gd name="connsiteY1" fmla="*/ 33249 h 36299"/>
                <a:gd name="connsiteX2" fmla="*/ 2288 w 92026"/>
                <a:gd name="connsiteY2" fmla="*/ 21045 h 36299"/>
                <a:gd name="connsiteX3" fmla="*/ 87713 w 92026"/>
                <a:gd name="connsiteY3" fmla="*/ 11893 h 36299"/>
                <a:gd name="connsiteX4" fmla="*/ 90763 w 92026"/>
                <a:gd name="connsiteY4" fmla="*/ 24096 h 36299"/>
                <a:gd name="connsiteX5" fmla="*/ 78559 w 92026"/>
                <a:gd name="connsiteY5" fmla="*/ 27147 h 36299"/>
                <a:gd name="connsiteX6" fmla="*/ 11442 w 92026"/>
                <a:gd name="connsiteY6" fmla="*/ 33249 h 36299"/>
                <a:gd name="connsiteX7" fmla="*/ 8390 w 92026"/>
                <a:gd name="connsiteY7" fmla="*/ 36300 h 3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6299">
                  <a:moveTo>
                    <a:pt x="8390" y="36300"/>
                  </a:moveTo>
                  <a:cubicBezTo>
                    <a:pt x="5340" y="36300"/>
                    <a:pt x="5340" y="36300"/>
                    <a:pt x="2288" y="33249"/>
                  </a:cubicBezTo>
                  <a:cubicBezTo>
                    <a:pt x="-763" y="30198"/>
                    <a:pt x="-763" y="24096"/>
                    <a:pt x="2288" y="21045"/>
                  </a:cubicBezTo>
                  <a:cubicBezTo>
                    <a:pt x="14492" y="5791"/>
                    <a:pt x="51102" y="-12514"/>
                    <a:pt x="87713" y="11893"/>
                  </a:cubicBezTo>
                  <a:cubicBezTo>
                    <a:pt x="90763" y="14944"/>
                    <a:pt x="93813" y="17995"/>
                    <a:pt x="90763" y="24096"/>
                  </a:cubicBezTo>
                  <a:cubicBezTo>
                    <a:pt x="87713" y="27147"/>
                    <a:pt x="84661" y="30198"/>
                    <a:pt x="78559" y="27147"/>
                  </a:cubicBezTo>
                  <a:cubicBezTo>
                    <a:pt x="41950" y="2741"/>
                    <a:pt x="14492" y="33249"/>
                    <a:pt x="11442" y="33249"/>
                  </a:cubicBezTo>
                  <a:cubicBezTo>
                    <a:pt x="14492" y="33249"/>
                    <a:pt x="11442" y="36300"/>
                    <a:pt x="8390" y="36300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B246C429-24BC-437F-8019-76B1A96A6D34}"/>
                </a:ext>
              </a:extLst>
            </p:cNvPr>
            <p:cNvSpPr/>
            <p:nvPr/>
          </p:nvSpPr>
          <p:spPr>
            <a:xfrm>
              <a:off x="22938128" y="8154470"/>
              <a:ext cx="77635" cy="114126"/>
            </a:xfrm>
            <a:custGeom>
              <a:avLst/>
              <a:gdLst>
                <a:gd name="connsiteX0" fmla="*/ 65432 w 77635"/>
                <a:gd name="connsiteY0" fmla="*/ 16740 h 114126"/>
                <a:gd name="connsiteX1" fmla="*/ 7466 w 77635"/>
                <a:gd name="connsiteY1" fmla="*/ 7587 h 114126"/>
                <a:gd name="connsiteX2" fmla="*/ 65432 w 77635"/>
                <a:gd name="connsiteY2" fmla="*/ 111316 h 114126"/>
                <a:gd name="connsiteX3" fmla="*/ 65432 w 77635"/>
                <a:gd name="connsiteY3" fmla="*/ 16740 h 11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635" h="114126">
                  <a:moveTo>
                    <a:pt x="65432" y="16740"/>
                  </a:moveTo>
                  <a:cubicBezTo>
                    <a:pt x="65432" y="16740"/>
                    <a:pt x="31872" y="-13769"/>
                    <a:pt x="7466" y="7587"/>
                  </a:cubicBezTo>
                  <a:cubicBezTo>
                    <a:pt x="-16941" y="25893"/>
                    <a:pt x="22720" y="132672"/>
                    <a:pt x="65432" y="111316"/>
                  </a:cubicBezTo>
                  <a:cubicBezTo>
                    <a:pt x="92889" y="89961"/>
                    <a:pt x="65432" y="16740"/>
                    <a:pt x="65432" y="16740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B35031FA-AA2B-48F9-BAE4-90114FEB1C83}"/>
                </a:ext>
              </a:extLst>
            </p:cNvPr>
            <p:cNvSpPr/>
            <p:nvPr/>
          </p:nvSpPr>
          <p:spPr>
            <a:xfrm>
              <a:off x="22939288" y="7781794"/>
              <a:ext cx="519387" cy="404670"/>
            </a:xfrm>
            <a:custGeom>
              <a:avLst/>
              <a:gdLst>
                <a:gd name="connsiteX0" fmla="*/ 6305 w 519387"/>
                <a:gd name="connsiteY0" fmla="*/ 303992 h 404670"/>
                <a:gd name="connsiteX1" fmla="*/ 64272 w 519387"/>
                <a:gd name="connsiteY1" fmla="*/ 404670 h 404670"/>
                <a:gd name="connsiteX2" fmla="*/ 116137 w 519387"/>
                <a:gd name="connsiteY2" fmla="*/ 264332 h 404670"/>
                <a:gd name="connsiteX3" fmla="*/ 125289 w 519387"/>
                <a:gd name="connsiteY3" fmla="*/ 261281 h 404670"/>
                <a:gd name="connsiteX4" fmla="*/ 201560 w 519387"/>
                <a:gd name="connsiteY4" fmla="*/ 233823 h 404670"/>
                <a:gd name="connsiteX5" fmla="*/ 213763 w 519387"/>
                <a:gd name="connsiteY5" fmla="*/ 230772 h 404670"/>
                <a:gd name="connsiteX6" fmla="*/ 250373 w 519387"/>
                <a:gd name="connsiteY6" fmla="*/ 252128 h 404670"/>
                <a:gd name="connsiteX7" fmla="*/ 265627 w 519387"/>
                <a:gd name="connsiteY7" fmla="*/ 242975 h 404670"/>
                <a:gd name="connsiteX8" fmla="*/ 317492 w 519387"/>
                <a:gd name="connsiteY8" fmla="*/ 258230 h 404670"/>
                <a:gd name="connsiteX9" fmla="*/ 354103 w 519387"/>
                <a:gd name="connsiteY9" fmla="*/ 267382 h 404670"/>
                <a:gd name="connsiteX10" fmla="*/ 366305 w 519387"/>
                <a:gd name="connsiteY10" fmla="*/ 267382 h 404670"/>
                <a:gd name="connsiteX11" fmla="*/ 378509 w 519387"/>
                <a:gd name="connsiteY11" fmla="*/ 264332 h 404670"/>
                <a:gd name="connsiteX12" fmla="*/ 387661 w 519387"/>
                <a:gd name="connsiteY12" fmla="*/ 270433 h 404670"/>
                <a:gd name="connsiteX13" fmla="*/ 393763 w 519387"/>
                <a:gd name="connsiteY13" fmla="*/ 273484 h 404670"/>
                <a:gd name="connsiteX14" fmla="*/ 399865 w 519387"/>
                <a:gd name="connsiteY14" fmla="*/ 273484 h 404670"/>
                <a:gd name="connsiteX15" fmla="*/ 405968 w 519387"/>
                <a:gd name="connsiteY15" fmla="*/ 276535 h 404670"/>
                <a:gd name="connsiteX16" fmla="*/ 412068 w 519387"/>
                <a:gd name="connsiteY16" fmla="*/ 285687 h 404670"/>
                <a:gd name="connsiteX17" fmla="*/ 430374 w 519387"/>
                <a:gd name="connsiteY17" fmla="*/ 307043 h 404670"/>
                <a:gd name="connsiteX18" fmla="*/ 460882 w 519387"/>
                <a:gd name="connsiteY18" fmla="*/ 319246 h 404670"/>
                <a:gd name="connsiteX19" fmla="*/ 479187 w 519387"/>
                <a:gd name="connsiteY19" fmla="*/ 374162 h 404670"/>
                <a:gd name="connsiteX20" fmla="*/ 488339 w 519387"/>
                <a:gd name="connsiteY20" fmla="*/ 343653 h 404670"/>
                <a:gd name="connsiteX21" fmla="*/ 497493 w 519387"/>
                <a:gd name="connsiteY21" fmla="*/ 340603 h 404670"/>
                <a:gd name="connsiteX22" fmla="*/ 515797 w 519387"/>
                <a:gd name="connsiteY22" fmla="*/ 242975 h 404670"/>
                <a:gd name="connsiteX23" fmla="*/ 497493 w 519387"/>
                <a:gd name="connsiteY23" fmla="*/ 200264 h 404670"/>
                <a:gd name="connsiteX24" fmla="*/ 500543 w 519387"/>
                <a:gd name="connsiteY24" fmla="*/ 166704 h 404670"/>
                <a:gd name="connsiteX25" fmla="*/ 494441 w 519387"/>
                <a:gd name="connsiteY25" fmla="*/ 130094 h 404670"/>
                <a:gd name="connsiteX26" fmla="*/ 476137 w 519387"/>
                <a:gd name="connsiteY26" fmla="*/ 102637 h 404670"/>
                <a:gd name="connsiteX27" fmla="*/ 460882 w 519387"/>
                <a:gd name="connsiteY27" fmla="*/ 59924 h 404670"/>
                <a:gd name="connsiteX28" fmla="*/ 399865 w 519387"/>
                <a:gd name="connsiteY28" fmla="*/ 38569 h 404670"/>
                <a:gd name="connsiteX29" fmla="*/ 274780 w 519387"/>
                <a:gd name="connsiteY29" fmla="*/ 1959 h 404670"/>
                <a:gd name="connsiteX30" fmla="*/ 262577 w 519387"/>
                <a:gd name="connsiteY30" fmla="*/ 8060 h 404670"/>
                <a:gd name="connsiteX31" fmla="*/ 207662 w 519387"/>
                <a:gd name="connsiteY31" fmla="*/ 23314 h 404670"/>
                <a:gd name="connsiteX32" fmla="*/ 174102 w 519387"/>
                <a:gd name="connsiteY32" fmla="*/ 26365 h 404670"/>
                <a:gd name="connsiteX33" fmla="*/ 143594 w 519387"/>
                <a:gd name="connsiteY33" fmla="*/ 59924 h 404670"/>
                <a:gd name="connsiteX34" fmla="*/ 131391 w 519387"/>
                <a:gd name="connsiteY34" fmla="*/ 78230 h 404670"/>
                <a:gd name="connsiteX35" fmla="*/ 100883 w 519387"/>
                <a:gd name="connsiteY35" fmla="*/ 99586 h 404670"/>
                <a:gd name="connsiteX36" fmla="*/ 88679 w 519387"/>
                <a:gd name="connsiteY36" fmla="*/ 96535 h 404670"/>
                <a:gd name="connsiteX37" fmla="*/ 70374 w 519387"/>
                <a:gd name="connsiteY37" fmla="*/ 136196 h 404670"/>
                <a:gd name="connsiteX38" fmla="*/ 6305 w 519387"/>
                <a:gd name="connsiteY38" fmla="*/ 303992 h 40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9387" h="404670">
                  <a:moveTo>
                    <a:pt x="6305" y="303992"/>
                  </a:moveTo>
                  <a:cubicBezTo>
                    <a:pt x="21560" y="358908"/>
                    <a:pt x="64272" y="404670"/>
                    <a:pt x="64272" y="404670"/>
                  </a:cubicBezTo>
                  <a:cubicBezTo>
                    <a:pt x="58170" y="374162"/>
                    <a:pt x="116137" y="264332"/>
                    <a:pt x="116137" y="264332"/>
                  </a:cubicBezTo>
                  <a:cubicBezTo>
                    <a:pt x="116137" y="264332"/>
                    <a:pt x="119187" y="264332"/>
                    <a:pt x="125289" y="261281"/>
                  </a:cubicBezTo>
                  <a:cubicBezTo>
                    <a:pt x="152746" y="261281"/>
                    <a:pt x="180204" y="252128"/>
                    <a:pt x="201560" y="233823"/>
                  </a:cubicBezTo>
                  <a:cubicBezTo>
                    <a:pt x="204610" y="233823"/>
                    <a:pt x="210713" y="230772"/>
                    <a:pt x="213763" y="230772"/>
                  </a:cubicBezTo>
                  <a:cubicBezTo>
                    <a:pt x="222917" y="242975"/>
                    <a:pt x="232069" y="255179"/>
                    <a:pt x="250373" y="252128"/>
                  </a:cubicBezTo>
                  <a:cubicBezTo>
                    <a:pt x="259525" y="252128"/>
                    <a:pt x="262577" y="242975"/>
                    <a:pt x="265627" y="242975"/>
                  </a:cubicBezTo>
                  <a:cubicBezTo>
                    <a:pt x="286984" y="233823"/>
                    <a:pt x="299188" y="249077"/>
                    <a:pt x="317492" y="258230"/>
                  </a:cubicBezTo>
                  <a:cubicBezTo>
                    <a:pt x="329696" y="264332"/>
                    <a:pt x="341899" y="267382"/>
                    <a:pt x="354103" y="267382"/>
                  </a:cubicBezTo>
                  <a:cubicBezTo>
                    <a:pt x="357153" y="267382"/>
                    <a:pt x="363255" y="264332"/>
                    <a:pt x="366305" y="267382"/>
                  </a:cubicBezTo>
                  <a:cubicBezTo>
                    <a:pt x="372407" y="264332"/>
                    <a:pt x="375459" y="264332"/>
                    <a:pt x="378509" y="264332"/>
                  </a:cubicBezTo>
                  <a:cubicBezTo>
                    <a:pt x="381559" y="267382"/>
                    <a:pt x="384611" y="267382"/>
                    <a:pt x="387661" y="270433"/>
                  </a:cubicBezTo>
                  <a:cubicBezTo>
                    <a:pt x="390713" y="270433"/>
                    <a:pt x="390713" y="273484"/>
                    <a:pt x="393763" y="273484"/>
                  </a:cubicBezTo>
                  <a:cubicBezTo>
                    <a:pt x="396813" y="273484"/>
                    <a:pt x="396813" y="273484"/>
                    <a:pt x="399865" y="273484"/>
                  </a:cubicBezTo>
                  <a:cubicBezTo>
                    <a:pt x="402916" y="273484"/>
                    <a:pt x="405968" y="276535"/>
                    <a:pt x="405968" y="276535"/>
                  </a:cubicBezTo>
                  <a:cubicBezTo>
                    <a:pt x="409018" y="279586"/>
                    <a:pt x="412068" y="282636"/>
                    <a:pt x="412068" y="285687"/>
                  </a:cubicBezTo>
                  <a:cubicBezTo>
                    <a:pt x="418170" y="294840"/>
                    <a:pt x="421222" y="300942"/>
                    <a:pt x="430374" y="307043"/>
                  </a:cubicBezTo>
                  <a:cubicBezTo>
                    <a:pt x="436476" y="313145"/>
                    <a:pt x="448678" y="313145"/>
                    <a:pt x="460882" y="319246"/>
                  </a:cubicBezTo>
                  <a:cubicBezTo>
                    <a:pt x="476137" y="337552"/>
                    <a:pt x="482239" y="355857"/>
                    <a:pt x="479187" y="374162"/>
                  </a:cubicBezTo>
                  <a:cubicBezTo>
                    <a:pt x="479187" y="374162"/>
                    <a:pt x="482239" y="361959"/>
                    <a:pt x="488339" y="343653"/>
                  </a:cubicBezTo>
                  <a:cubicBezTo>
                    <a:pt x="491391" y="346704"/>
                    <a:pt x="494441" y="346704"/>
                    <a:pt x="497493" y="340603"/>
                  </a:cubicBezTo>
                  <a:cubicBezTo>
                    <a:pt x="515797" y="310094"/>
                    <a:pt x="524949" y="276535"/>
                    <a:pt x="515797" y="242975"/>
                  </a:cubicBezTo>
                  <a:cubicBezTo>
                    <a:pt x="512747" y="227721"/>
                    <a:pt x="503593" y="215518"/>
                    <a:pt x="497493" y="200264"/>
                  </a:cubicBezTo>
                  <a:cubicBezTo>
                    <a:pt x="488339" y="181958"/>
                    <a:pt x="497493" y="181958"/>
                    <a:pt x="500543" y="166704"/>
                  </a:cubicBezTo>
                  <a:cubicBezTo>
                    <a:pt x="503593" y="154501"/>
                    <a:pt x="497493" y="142298"/>
                    <a:pt x="494441" y="130094"/>
                  </a:cubicBezTo>
                  <a:cubicBezTo>
                    <a:pt x="488339" y="120941"/>
                    <a:pt x="482239" y="111789"/>
                    <a:pt x="476137" y="102637"/>
                  </a:cubicBezTo>
                  <a:cubicBezTo>
                    <a:pt x="463932" y="87382"/>
                    <a:pt x="466984" y="75179"/>
                    <a:pt x="460882" y="59924"/>
                  </a:cubicBezTo>
                  <a:cubicBezTo>
                    <a:pt x="448678" y="32467"/>
                    <a:pt x="424272" y="38569"/>
                    <a:pt x="399865" y="38569"/>
                  </a:cubicBezTo>
                  <a:cubicBezTo>
                    <a:pt x="357153" y="38569"/>
                    <a:pt x="320542" y="-10245"/>
                    <a:pt x="274780" y="1959"/>
                  </a:cubicBezTo>
                  <a:cubicBezTo>
                    <a:pt x="268679" y="1959"/>
                    <a:pt x="265627" y="5010"/>
                    <a:pt x="262577" y="8060"/>
                  </a:cubicBezTo>
                  <a:cubicBezTo>
                    <a:pt x="244271" y="17213"/>
                    <a:pt x="225967" y="23314"/>
                    <a:pt x="207662" y="23314"/>
                  </a:cubicBezTo>
                  <a:cubicBezTo>
                    <a:pt x="195458" y="23314"/>
                    <a:pt x="186306" y="20264"/>
                    <a:pt x="174102" y="26365"/>
                  </a:cubicBezTo>
                  <a:cubicBezTo>
                    <a:pt x="158848" y="32467"/>
                    <a:pt x="152746" y="47721"/>
                    <a:pt x="143594" y="59924"/>
                  </a:cubicBezTo>
                  <a:cubicBezTo>
                    <a:pt x="140543" y="66027"/>
                    <a:pt x="134441" y="72128"/>
                    <a:pt x="131391" y="78230"/>
                  </a:cubicBezTo>
                  <a:cubicBezTo>
                    <a:pt x="119187" y="84331"/>
                    <a:pt x="110035" y="93484"/>
                    <a:pt x="100883" y="99586"/>
                  </a:cubicBezTo>
                  <a:cubicBezTo>
                    <a:pt x="100883" y="96535"/>
                    <a:pt x="103933" y="84331"/>
                    <a:pt x="88679" y="96535"/>
                  </a:cubicBezTo>
                  <a:cubicBezTo>
                    <a:pt x="73424" y="105687"/>
                    <a:pt x="70374" y="120941"/>
                    <a:pt x="70374" y="136196"/>
                  </a:cubicBezTo>
                  <a:cubicBezTo>
                    <a:pt x="203" y="160603"/>
                    <a:pt x="-8949" y="249077"/>
                    <a:pt x="6305" y="303992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2DC9E9C-A84D-4488-AED0-9D38F7D61140}"/>
                </a:ext>
              </a:extLst>
            </p:cNvPr>
            <p:cNvSpPr/>
            <p:nvPr/>
          </p:nvSpPr>
          <p:spPr>
            <a:xfrm>
              <a:off x="23055425" y="8375617"/>
              <a:ext cx="250168" cy="258417"/>
            </a:xfrm>
            <a:custGeom>
              <a:avLst/>
              <a:gdLst>
                <a:gd name="connsiteX0" fmla="*/ 250168 w 250168"/>
                <a:gd name="connsiteY0" fmla="*/ 39661 h 258417"/>
                <a:gd name="connsiteX1" fmla="*/ 244068 w 250168"/>
                <a:gd name="connsiteY1" fmla="*/ 213559 h 258417"/>
                <a:gd name="connsiteX2" fmla="*/ 0 w 250168"/>
                <a:gd name="connsiteY2" fmla="*/ 204407 h 258417"/>
                <a:gd name="connsiteX3" fmla="*/ 15254 w 250168"/>
                <a:gd name="connsiteY3" fmla="*/ 0 h 258417"/>
                <a:gd name="connsiteX4" fmla="*/ 250168 w 250168"/>
                <a:gd name="connsiteY4" fmla="*/ 39661 h 25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68" h="258417">
                  <a:moveTo>
                    <a:pt x="250168" y="39661"/>
                  </a:moveTo>
                  <a:cubicBezTo>
                    <a:pt x="250168" y="39661"/>
                    <a:pt x="244068" y="140339"/>
                    <a:pt x="244068" y="213559"/>
                  </a:cubicBezTo>
                  <a:cubicBezTo>
                    <a:pt x="244068" y="213559"/>
                    <a:pt x="149490" y="320339"/>
                    <a:pt x="0" y="204407"/>
                  </a:cubicBezTo>
                  <a:cubicBezTo>
                    <a:pt x="0" y="143390"/>
                    <a:pt x="12202" y="64068"/>
                    <a:pt x="15254" y="0"/>
                  </a:cubicBezTo>
                  <a:cubicBezTo>
                    <a:pt x="12202" y="0"/>
                    <a:pt x="198305" y="51865"/>
                    <a:pt x="250168" y="3966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2" name="图形 1">
              <a:extLst>
                <a:ext uri="{FF2B5EF4-FFF2-40B4-BE49-F238E27FC236}">
                  <a16:creationId xmlns:a16="http://schemas.microsoft.com/office/drawing/2014/main" id="{7C663D73-9805-4AC4-AA9E-4E79D3A32B59}"/>
                </a:ext>
              </a:extLst>
            </p:cNvPr>
            <p:cNvGrpSpPr/>
            <p:nvPr/>
          </p:nvGrpSpPr>
          <p:grpSpPr>
            <a:xfrm>
              <a:off x="22700000" y="7690830"/>
              <a:ext cx="796583" cy="346143"/>
              <a:chOff x="22700000" y="7690830"/>
              <a:chExt cx="796583" cy="346143"/>
            </a:xfrm>
          </p:grpSpPr>
          <p:grpSp>
            <p:nvGrpSpPr>
              <p:cNvPr id="39" name="图形 1">
                <a:extLst>
                  <a:ext uri="{FF2B5EF4-FFF2-40B4-BE49-F238E27FC236}">
                    <a16:creationId xmlns:a16="http://schemas.microsoft.com/office/drawing/2014/main" id="{0C9AD915-3809-492A-9EE8-85E2AF8F545D}"/>
                  </a:ext>
                </a:extLst>
              </p:cNvPr>
              <p:cNvGrpSpPr/>
              <p:nvPr/>
            </p:nvGrpSpPr>
            <p:grpSpPr>
              <a:xfrm>
                <a:off x="22700000" y="7690830"/>
                <a:ext cx="773392" cy="325789"/>
                <a:chOff x="22700000" y="7690830"/>
                <a:chExt cx="773392" cy="325789"/>
              </a:xfrm>
            </p:grpSpPr>
            <p:sp>
              <p:nvSpPr>
                <p:cNvPr id="43" name="任意多边形: 形状 42">
                  <a:extLst>
                    <a:ext uri="{FF2B5EF4-FFF2-40B4-BE49-F238E27FC236}">
                      <a16:creationId xmlns:a16="http://schemas.microsoft.com/office/drawing/2014/main" id="{0793C108-250D-428B-A283-990A0D8BDEC1}"/>
                    </a:ext>
                  </a:extLst>
                </p:cNvPr>
                <p:cNvSpPr/>
                <p:nvPr/>
              </p:nvSpPr>
              <p:spPr>
                <a:xfrm>
                  <a:off x="22854068" y="7690830"/>
                  <a:ext cx="619324" cy="325789"/>
                </a:xfrm>
                <a:custGeom>
                  <a:avLst/>
                  <a:gdLst>
                    <a:gd name="connsiteX0" fmla="*/ 442373 w 619324"/>
                    <a:gd name="connsiteY0" fmla="*/ 19703 h 325789"/>
                    <a:gd name="connsiteX1" fmla="*/ 3052 w 619324"/>
                    <a:gd name="connsiteY1" fmla="*/ 138686 h 325789"/>
                    <a:gd name="connsiteX2" fmla="*/ 0 w 619324"/>
                    <a:gd name="connsiteY2" fmla="*/ 147838 h 325789"/>
                    <a:gd name="connsiteX3" fmla="*/ 76271 w 619324"/>
                    <a:gd name="connsiteY3" fmla="*/ 208855 h 325789"/>
                    <a:gd name="connsiteX4" fmla="*/ 54915 w 619324"/>
                    <a:gd name="connsiteY4" fmla="*/ 294279 h 325789"/>
                    <a:gd name="connsiteX5" fmla="*/ 57967 w 619324"/>
                    <a:gd name="connsiteY5" fmla="*/ 300381 h 325789"/>
                    <a:gd name="connsiteX6" fmla="*/ 64069 w 619324"/>
                    <a:gd name="connsiteY6" fmla="*/ 303431 h 325789"/>
                    <a:gd name="connsiteX7" fmla="*/ 399662 w 619324"/>
                    <a:gd name="connsiteY7" fmla="*/ 324787 h 325789"/>
                    <a:gd name="connsiteX8" fmla="*/ 613221 w 619324"/>
                    <a:gd name="connsiteY8" fmla="*/ 282075 h 325789"/>
                    <a:gd name="connsiteX9" fmla="*/ 619322 w 619324"/>
                    <a:gd name="connsiteY9" fmla="*/ 272923 h 325789"/>
                    <a:gd name="connsiteX10" fmla="*/ 442373 w 619324"/>
                    <a:gd name="connsiteY10" fmla="*/ 19703 h 325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19324" h="325789">
                      <a:moveTo>
                        <a:pt x="442373" y="19703"/>
                      </a:moveTo>
                      <a:cubicBezTo>
                        <a:pt x="277628" y="-29111"/>
                        <a:pt x="118984" y="13601"/>
                        <a:pt x="3052" y="138686"/>
                      </a:cubicBezTo>
                      <a:cubicBezTo>
                        <a:pt x="0" y="141737"/>
                        <a:pt x="0" y="144787"/>
                        <a:pt x="0" y="147838"/>
                      </a:cubicBezTo>
                      <a:cubicBezTo>
                        <a:pt x="0" y="150889"/>
                        <a:pt x="21356" y="196651"/>
                        <a:pt x="76271" y="208855"/>
                      </a:cubicBezTo>
                      <a:cubicBezTo>
                        <a:pt x="61017" y="248516"/>
                        <a:pt x="54915" y="291228"/>
                        <a:pt x="54915" y="294279"/>
                      </a:cubicBezTo>
                      <a:cubicBezTo>
                        <a:pt x="54915" y="297330"/>
                        <a:pt x="54915" y="300381"/>
                        <a:pt x="57967" y="300381"/>
                      </a:cubicBezTo>
                      <a:cubicBezTo>
                        <a:pt x="57967" y="303431"/>
                        <a:pt x="61017" y="303431"/>
                        <a:pt x="64069" y="303431"/>
                      </a:cubicBezTo>
                      <a:cubicBezTo>
                        <a:pt x="204407" y="324787"/>
                        <a:pt x="314237" y="327838"/>
                        <a:pt x="399662" y="324787"/>
                      </a:cubicBezTo>
                      <a:cubicBezTo>
                        <a:pt x="540000" y="315635"/>
                        <a:pt x="610170" y="285126"/>
                        <a:pt x="613221" y="282075"/>
                      </a:cubicBezTo>
                      <a:cubicBezTo>
                        <a:pt x="616272" y="282075"/>
                        <a:pt x="619322" y="279025"/>
                        <a:pt x="619322" y="272923"/>
                      </a:cubicBezTo>
                      <a:cubicBezTo>
                        <a:pt x="619322" y="272923"/>
                        <a:pt x="622374" y="74618"/>
                        <a:pt x="442373" y="1970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4A6ED414-4AA7-416F-B0D1-87B2F4930373}"/>
                    </a:ext>
                  </a:extLst>
                </p:cNvPr>
                <p:cNvSpPr/>
                <p:nvPr/>
              </p:nvSpPr>
              <p:spPr>
                <a:xfrm>
                  <a:off x="22700000" y="7725787"/>
                  <a:ext cx="216229" cy="205603"/>
                </a:xfrm>
                <a:custGeom>
                  <a:avLst/>
                  <a:gdLst>
                    <a:gd name="connsiteX0" fmla="*/ 215085 w 216229"/>
                    <a:gd name="connsiteY0" fmla="*/ 97627 h 205603"/>
                    <a:gd name="connsiteX1" fmla="*/ 205933 w 216229"/>
                    <a:gd name="connsiteY1" fmla="*/ 67119 h 205603"/>
                    <a:gd name="connsiteX2" fmla="*/ 193729 w 216229"/>
                    <a:gd name="connsiteY2" fmla="*/ 57966 h 205603"/>
                    <a:gd name="connsiteX3" fmla="*/ 181526 w 216229"/>
                    <a:gd name="connsiteY3" fmla="*/ 30508 h 205603"/>
                    <a:gd name="connsiteX4" fmla="*/ 160170 w 216229"/>
                    <a:gd name="connsiteY4" fmla="*/ 21356 h 205603"/>
                    <a:gd name="connsiteX5" fmla="*/ 144916 w 216229"/>
                    <a:gd name="connsiteY5" fmla="*/ 21356 h 205603"/>
                    <a:gd name="connsiteX6" fmla="*/ 99153 w 216229"/>
                    <a:gd name="connsiteY6" fmla="*/ 0 h 205603"/>
                    <a:gd name="connsiteX7" fmla="*/ 56440 w 216229"/>
                    <a:gd name="connsiteY7" fmla="*/ 30508 h 205603"/>
                    <a:gd name="connsiteX8" fmla="*/ 13730 w 216229"/>
                    <a:gd name="connsiteY8" fmla="*/ 73220 h 205603"/>
                    <a:gd name="connsiteX9" fmla="*/ 13730 w 216229"/>
                    <a:gd name="connsiteY9" fmla="*/ 128136 h 205603"/>
                    <a:gd name="connsiteX10" fmla="*/ 22882 w 216229"/>
                    <a:gd name="connsiteY10" fmla="*/ 170847 h 205603"/>
                    <a:gd name="connsiteX11" fmla="*/ 50340 w 216229"/>
                    <a:gd name="connsiteY11" fmla="*/ 183051 h 205603"/>
                    <a:gd name="connsiteX12" fmla="*/ 56440 w 216229"/>
                    <a:gd name="connsiteY12" fmla="*/ 183051 h 205603"/>
                    <a:gd name="connsiteX13" fmla="*/ 56440 w 216229"/>
                    <a:gd name="connsiteY13" fmla="*/ 183051 h 205603"/>
                    <a:gd name="connsiteX14" fmla="*/ 83899 w 216229"/>
                    <a:gd name="connsiteY14" fmla="*/ 204407 h 205603"/>
                    <a:gd name="connsiteX15" fmla="*/ 117457 w 216229"/>
                    <a:gd name="connsiteY15" fmla="*/ 198305 h 205603"/>
                    <a:gd name="connsiteX16" fmla="*/ 141866 w 216229"/>
                    <a:gd name="connsiteY16" fmla="*/ 198305 h 205603"/>
                    <a:gd name="connsiteX17" fmla="*/ 169322 w 216229"/>
                    <a:gd name="connsiteY17" fmla="*/ 176949 h 205603"/>
                    <a:gd name="connsiteX18" fmla="*/ 175424 w 216229"/>
                    <a:gd name="connsiteY18" fmla="*/ 161695 h 205603"/>
                    <a:gd name="connsiteX19" fmla="*/ 193729 w 216229"/>
                    <a:gd name="connsiteY19" fmla="*/ 146440 h 205603"/>
                    <a:gd name="connsiteX20" fmla="*/ 193729 w 216229"/>
                    <a:gd name="connsiteY20" fmla="*/ 118983 h 205603"/>
                    <a:gd name="connsiteX21" fmla="*/ 196781 w 216229"/>
                    <a:gd name="connsiteY21" fmla="*/ 115932 h 205603"/>
                    <a:gd name="connsiteX22" fmla="*/ 215085 w 216229"/>
                    <a:gd name="connsiteY22" fmla="*/ 97627 h 205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16229" h="205603">
                      <a:moveTo>
                        <a:pt x="215085" y="97627"/>
                      </a:moveTo>
                      <a:cubicBezTo>
                        <a:pt x="218137" y="88474"/>
                        <a:pt x="215085" y="73220"/>
                        <a:pt x="205933" y="67119"/>
                      </a:cubicBezTo>
                      <a:cubicBezTo>
                        <a:pt x="202883" y="64068"/>
                        <a:pt x="196781" y="61017"/>
                        <a:pt x="193729" y="57966"/>
                      </a:cubicBezTo>
                      <a:cubicBezTo>
                        <a:pt x="193729" y="48813"/>
                        <a:pt x="190678" y="39661"/>
                        <a:pt x="181526" y="30508"/>
                      </a:cubicBezTo>
                      <a:cubicBezTo>
                        <a:pt x="175424" y="24406"/>
                        <a:pt x="169322" y="21356"/>
                        <a:pt x="160170" y="21356"/>
                      </a:cubicBezTo>
                      <a:cubicBezTo>
                        <a:pt x="157120" y="21356"/>
                        <a:pt x="151018" y="21356"/>
                        <a:pt x="144916" y="21356"/>
                      </a:cubicBezTo>
                      <a:cubicBezTo>
                        <a:pt x="135764" y="9152"/>
                        <a:pt x="120509" y="0"/>
                        <a:pt x="99153" y="0"/>
                      </a:cubicBezTo>
                      <a:cubicBezTo>
                        <a:pt x="80849" y="3051"/>
                        <a:pt x="65594" y="15254"/>
                        <a:pt x="56440" y="30508"/>
                      </a:cubicBezTo>
                      <a:cubicBezTo>
                        <a:pt x="28984" y="30508"/>
                        <a:pt x="13730" y="51864"/>
                        <a:pt x="13730" y="73220"/>
                      </a:cubicBezTo>
                      <a:cubicBezTo>
                        <a:pt x="-4577" y="88474"/>
                        <a:pt x="-4577" y="115932"/>
                        <a:pt x="13730" y="128136"/>
                      </a:cubicBezTo>
                      <a:cubicBezTo>
                        <a:pt x="10678" y="143390"/>
                        <a:pt x="13730" y="158644"/>
                        <a:pt x="22882" y="170847"/>
                      </a:cubicBezTo>
                      <a:cubicBezTo>
                        <a:pt x="28984" y="180000"/>
                        <a:pt x="38136" y="183051"/>
                        <a:pt x="50340" y="183051"/>
                      </a:cubicBezTo>
                      <a:cubicBezTo>
                        <a:pt x="53390" y="183051"/>
                        <a:pt x="53390" y="183051"/>
                        <a:pt x="56440" y="183051"/>
                      </a:cubicBezTo>
                      <a:cubicBezTo>
                        <a:pt x="56440" y="183051"/>
                        <a:pt x="56440" y="183051"/>
                        <a:pt x="56440" y="183051"/>
                      </a:cubicBezTo>
                      <a:cubicBezTo>
                        <a:pt x="62542" y="195254"/>
                        <a:pt x="71695" y="204407"/>
                        <a:pt x="83899" y="204407"/>
                      </a:cubicBezTo>
                      <a:cubicBezTo>
                        <a:pt x="96103" y="207457"/>
                        <a:pt x="108305" y="204407"/>
                        <a:pt x="117457" y="198305"/>
                      </a:cubicBezTo>
                      <a:cubicBezTo>
                        <a:pt x="126611" y="201356"/>
                        <a:pt x="132712" y="201356"/>
                        <a:pt x="141866" y="198305"/>
                      </a:cubicBezTo>
                      <a:cubicBezTo>
                        <a:pt x="154068" y="195254"/>
                        <a:pt x="163220" y="189152"/>
                        <a:pt x="169322" y="176949"/>
                      </a:cubicBezTo>
                      <a:cubicBezTo>
                        <a:pt x="172374" y="173898"/>
                        <a:pt x="175424" y="167797"/>
                        <a:pt x="175424" y="161695"/>
                      </a:cubicBezTo>
                      <a:cubicBezTo>
                        <a:pt x="181526" y="158644"/>
                        <a:pt x="190678" y="155593"/>
                        <a:pt x="193729" y="146440"/>
                      </a:cubicBezTo>
                      <a:cubicBezTo>
                        <a:pt x="199831" y="134237"/>
                        <a:pt x="196781" y="128136"/>
                        <a:pt x="193729" y="118983"/>
                      </a:cubicBezTo>
                      <a:cubicBezTo>
                        <a:pt x="193729" y="118983"/>
                        <a:pt x="196781" y="118983"/>
                        <a:pt x="196781" y="115932"/>
                      </a:cubicBezTo>
                      <a:cubicBezTo>
                        <a:pt x="208983" y="112881"/>
                        <a:pt x="212035" y="106780"/>
                        <a:pt x="215085" y="9762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011CAC88-0E32-49A3-8B74-E07570F84069}"/>
                  </a:ext>
                </a:extLst>
              </p:cNvPr>
              <p:cNvSpPr/>
              <p:nvPr/>
            </p:nvSpPr>
            <p:spPr>
              <a:xfrm>
                <a:off x="22905933" y="7848583"/>
                <a:ext cx="54152" cy="118220"/>
              </a:xfrm>
              <a:custGeom>
                <a:avLst/>
                <a:gdLst>
                  <a:gd name="connsiteX0" fmla="*/ 6102 w 54152"/>
                  <a:gd name="connsiteY0" fmla="*/ 118220 h 118220"/>
                  <a:gd name="connsiteX1" fmla="*/ 6102 w 54152"/>
                  <a:gd name="connsiteY1" fmla="*/ 118220 h 118220"/>
                  <a:gd name="connsiteX2" fmla="*/ 0 w 54152"/>
                  <a:gd name="connsiteY2" fmla="*/ 112119 h 118220"/>
                  <a:gd name="connsiteX3" fmla="*/ 42713 w 54152"/>
                  <a:gd name="connsiteY3" fmla="*/ 2288 h 118220"/>
                  <a:gd name="connsiteX4" fmla="*/ 51865 w 54152"/>
                  <a:gd name="connsiteY4" fmla="*/ 2288 h 118220"/>
                  <a:gd name="connsiteX5" fmla="*/ 51865 w 54152"/>
                  <a:gd name="connsiteY5" fmla="*/ 11441 h 118220"/>
                  <a:gd name="connsiteX6" fmla="*/ 12204 w 54152"/>
                  <a:gd name="connsiteY6" fmla="*/ 118220 h 118220"/>
                  <a:gd name="connsiteX7" fmla="*/ 6102 w 54152"/>
                  <a:gd name="connsiteY7" fmla="*/ 118220 h 11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152" h="118220">
                    <a:moveTo>
                      <a:pt x="6102" y="118220"/>
                    </a:moveTo>
                    <a:cubicBezTo>
                      <a:pt x="6102" y="118220"/>
                      <a:pt x="6102" y="118220"/>
                      <a:pt x="6102" y="118220"/>
                    </a:cubicBezTo>
                    <a:cubicBezTo>
                      <a:pt x="3050" y="118220"/>
                      <a:pt x="0" y="115169"/>
                      <a:pt x="0" y="112119"/>
                    </a:cubicBezTo>
                    <a:cubicBezTo>
                      <a:pt x="0" y="109068"/>
                      <a:pt x="12204" y="45000"/>
                      <a:pt x="42713" y="2288"/>
                    </a:cubicBezTo>
                    <a:cubicBezTo>
                      <a:pt x="45763" y="-763"/>
                      <a:pt x="48813" y="-763"/>
                      <a:pt x="51865" y="2288"/>
                    </a:cubicBezTo>
                    <a:cubicBezTo>
                      <a:pt x="54915" y="5339"/>
                      <a:pt x="54915" y="8390"/>
                      <a:pt x="51865" y="11441"/>
                    </a:cubicBezTo>
                    <a:cubicBezTo>
                      <a:pt x="24406" y="51102"/>
                      <a:pt x="12204" y="118220"/>
                      <a:pt x="12204" y="118220"/>
                    </a:cubicBezTo>
                    <a:cubicBezTo>
                      <a:pt x="12204" y="118220"/>
                      <a:pt x="9152" y="118220"/>
                      <a:pt x="6102" y="11822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9A282DB2-FAA8-4426-B1C0-72D1E29C2CD8}"/>
                  </a:ext>
                </a:extLst>
              </p:cNvPr>
              <p:cNvSpPr/>
              <p:nvPr/>
            </p:nvSpPr>
            <p:spPr>
              <a:xfrm>
                <a:off x="22882290" y="7928589"/>
                <a:ext cx="614294" cy="102477"/>
              </a:xfrm>
              <a:custGeom>
                <a:avLst/>
                <a:gdLst>
                  <a:gd name="connsiteX0" fmla="*/ 575846 w 614294"/>
                  <a:gd name="connsiteY0" fmla="*/ 1605 h 102477"/>
                  <a:gd name="connsiteX1" fmla="*/ 29745 w 614294"/>
                  <a:gd name="connsiteY1" fmla="*/ 22961 h 102477"/>
                  <a:gd name="connsiteX2" fmla="*/ 29745 w 614294"/>
                  <a:gd name="connsiteY2" fmla="*/ 87029 h 102477"/>
                  <a:gd name="connsiteX3" fmla="*/ 591100 w 614294"/>
                  <a:gd name="connsiteY3" fmla="*/ 62622 h 102477"/>
                  <a:gd name="connsiteX4" fmla="*/ 575846 w 614294"/>
                  <a:gd name="connsiteY4" fmla="*/ 1605 h 102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4294" h="102477">
                    <a:moveTo>
                      <a:pt x="575846" y="1605"/>
                    </a:moveTo>
                    <a:cubicBezTo>
                      <a:pt x="395847" y="53469"/>
                      <a:pt x="212796" y="41266"/>
                      <a:pt x="29745" y="22961"/>
                    </a:cubicBezTo>
                    <a:cubicBezTo>
                      <a:pt x="-9915" y="19910"/>
                      <a:pt x="-9915" y="83977"/>
                      <a:pt x="29745" y="87029"/>
                    </a:cubicBezTo>
                    <a:cubicBezTo>
                      <a:pt x="218898" y="105333"/>
                      <a:pt x="408049" y="117537"/>
                      <a:pt x="591100" y="62622"/>
                    </a:cubicBezTo>
                    <a:cubicBezTo>
                      <a:pt x="630763" y="50418"/>
                      <a:pt x="615509" y="-10599"/>
                      <a:pt x="575846" y="1605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6073491A-EEB0-4DAC-B202-533851236E99}"/>
                  </a:ext>
                </a:extLst>
              </p:cNvPr>
              <p:cNvSpPr/>
              <p:nvPr/>
            </p:nvSpPr>
            <p:spPr>
              <a:xfrm>
                <a:off x="22875424" y="7945057"/>
                <a:ext cx="601017" cy="91916"/>
              </a:xfrm>
              <a:custGeom>
                <a:avLst/>
                <a:gdLst>
                  <a:gd name="connsiteX0" fmla="*/ 295933 w 601017"/>
                  <a:gd name="connsiteY0" fmla="*/ 91916 h 91916"/>
                  <a:gd name="connsiteX1" fmla="*/ 36611 w 601017"/>
                  <a:gd name="connsiteY1" fmla="*/ 76662 h 91916"/>
                  <a:gd name="connsiteX2" fmla="*/ 0 w 601017"/>
                  <a:gd name="connsiteY2" fmla="*/ 30899 h 91916"/>
                  <a:gd name="connsiteX3" fmla="*/ 36611 w 601017"/>
                  <a:gd name="connsiteY3" fmla="*/ 391 h 91916"/>
                  <a:gd name="connsiteX4" fmla="*/ 222712 w 601017"/>
                  <a:gd name="connsiteY4" fmla="*/ 12594 h 91916"/>
                  <a:gd name="connsiteX5" fmla="*/ 228814 w 601017"/>
                  <a:gd name="connsiteY5" fmla="*/ 18696 h 91916"/>
                  <a:gd name="connsiteX6" fmla="*/ 222712 w 601017"/>
                  <a:gd name="connsiteY6" fmla="*/ 24798 h 91916"/>
                  <a:gd name="connsiteX7" fmla="*/ 222712 w 601017"/>
                  <a:gd name="connsiteY7" fmla="*/ 24798 h 91916"/>
                  <a:gd name="connsiteX8" fmla="*/ 33559 w 601017"/>
                  <a:gd name="connsiteY8" fmla="*/ 9543 h 91916"/>
                  <a:gd name="connsiteX9" fmla="*/ 9152 w 601017"/>
                  <a:gd name="connsiteY9" fmla="*/ 30899 h 91916"/>
                  <a:gd name="connsiteX10" fmla="*/ 33559 w 601017"/>
                  <a:gd name="connsiteY10" fmla="*/ 64458 h 91916"/>
                  <a:gd name="connsiteX11" fmla="*/ 594915 w 601017"/>
                  <a:gd name="connsiteY11" fmla="*/ 40052 h 91916"/>
                  <a:gd name="connsiteX12" fmla="*/ 601017 w 601017"/>
                  <a:gd name="connsiteY12" fmla="*/ 43102 h 91916"/>
                  <a:gd name="connsiteX13" fmla="*/ 597965 w 601017"/>
                  <a:gd name="connsiteY13" fmla="*/ 49204 h 91916"/>
                  <a:gd name="connsiteX14" fmla="*/ 295933 w 601017"/>
                  <a:gd name="connsiteY14" fmla="*/ 91916 h 91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01017" h="91916">
                    <a:moveTo>
                      <a:pt x="295933" y="91916"/>
                    </a:moveTo>
                    <a:cubicBezTo>
                      <a:pt x="210509" y="91916"/>
                      <a:pt x="125084" y="85815"/>
                      <a:pt x="36611" y="76662"/>
                    </a:cubicBezTo>
                    <a:cubicBezTo>
                      <a:pt x="12204" y="73611"/>
                      <a:pt x="0" y="52255"/>
                      <a:pt x="0" y="30899"/>
                    </a:cubicBezTo>
                    <a:cubicBezTo>
                      <a:pt x="3050" y="12594"/>
                      <a:pt x="12204" y="-2660"/>
                      <a:pt x="36611" y="391"/>
                    </a:cubicBezTo>
                    <a:cubicBezTo>
                      <a:pt x="36611" y="391"/>
                      <a:pt x="180001" y="12594"/>
                      <a:pt x="222712" y="12594"/>
                    </a:cubicBezTo>
                    <a:cubicBezTo>
                      <a:pt x="225763" y="12594"/>
                      <a:pt x="228814" y="15645"/>
                      <a:pt x="228814" y="18696"/>
                    </a:cubicBezTo>
                    <a:cubicBezTo>
                      <a:pt x="228814" y="21747"/>
                      <a:pt x="225763" y="24798"/>
                      <a:pt x="222712" y="24798"/>
                    </a:cubicBezTo>
                    <a:lnTo>
                      <a:pt x="222712" y="24798"/>
                    </a:lnTo>
                    <a:cubicBezTo>
                      <a:pt x="176949" y="24798"/>
                      <a:pt x="36611" y="12594"/>
                      <a:pt x="33559" y="9543"/>
                    </a:cubicBezTo>
                    <a:cubicBezTo>
                      <a:pt x="18304" y="9543"/>
                      <a:pt x="9152" y="18696"/>
                      <a:pt x="9152" y="30899"/>
                    </a:cubicBezTo>
                    <a:cubicBezTo>
                      <a:pt x="9152" y="46153"/>
                      <a:pt x="15254" y="61408"/>
                      <a:pt x="33559" y="64458"/>
                    </a:cubicBezTo>
                    <a:cubicBezTo>
                      <a:pt x="225763" y="82764"/>
                      <a:pt x="411864" y="94967"/>
                      <a:pt x="594915" y="40052"/>
                    </a:cubicBezTo>
                    <a:cubicBezTo>
                      <a:pt x="597965" y="40052"/>
                      <a:pt x="601017" y="40052"/>
                      <a:pt x="601017" y="43102"/>
                    </a:cubicBezTo>
                    <a:cubicBezTo>
                      <a:pt x="601017" y="46153"/>
                      <a:pt x="601017" y="49204"/>
                      <a:pt x="597965" y="49204"/>
                    </a:cubicBezTo>
                    <a:cubicBezTo>
                      <a:pt x="500340" y="79712"/>
                      <a:pt x="399660" y="91916"/>
                      <a:pt x="295933" y="9191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C321C7EB-4338-4E05-A414-1A0E354A4B9C}"/>
                </a:ext>
              </a:extLst>
            </p:cNvPr>
            <p:cNvSpPr/>
            <p:nvPr/>
          </p:nvSpPr>
          <p:spPr>
            <a:xfrm>
              <a:off x="22963202" y="8088837"/>
              <a:ext cx="520508" cy="589182"/>
            </a:xfrm>
            <a:custGeom>
              <a:avLst/>
              <a:gdLst>
                <a:gd name="connsiteX0" fmla="*/ 15952 w 520508"/>
                <a:gd name="connsiteY0" fmla="*/ 143390 h 589182"/>
                <a:gd name="connsiteX1" fmla="*/ 3748 w 520508"/>
                <a:gd name="connsiteY1" fmla="*/ 12203 h 589182"/>
                <a:gd name="connsiteX2" fmla="*/ 64765 w 520508"/>
                <a:gd name="connsiteY2" fmla="*/ 0 h 589182"/>
                <a:gd name="connsiteX3" fmla="*/ 101375 w 520508"/>
                <a:gd name="connsiteY3" fmla="*/ 222712 h 589182"/>
                <a:gd name="connsiteX4" fmla="*/ 232561 w 520508"/>
                <a:gd name="connsiteY4" fmla="*/ 216610 h 589182"/>
                <a:gd name="connsiteX5" fmla="*/ 272222 w 520508"/>
                <a:gd name="connsiteY5" fmla="*/ 207458 h 589182"/>
                <a:gd name="connsiteX6" fmla="*/ 363748 w 520508"/>
                <a:gd name="connsiteY6" fmla="*/ 244068 h 589182"/>
                <a:gd name="connsiteX7" fmla="*/ 440019 w 520508"/>
                <a:gd name="connsiteY7" fmla="*/ 125085 h 589182"/>
                <a:gd name="connsiteX8" fmla="*/ 473579 w 520508"/>
                <a:gd name="connsiteY8" fmla="*/ 103729 h 589182"/>
                <a:gd name="connsiteX9" fmla="*/ 452223 w 520508"/>
                <a:gd name="connsiteY9" fmla="*/ 201356 h 589182"/>
                <a:gd name="connsiteX10" fmla="*/ 458325 w 520508"/>
                <a:gd name="connsiteY10" fmla="*/ 503390 h 589182"/>
                <a:gd name="connsiteX11" fmla="*/ 455273 w 520508"/>
                <a:gd name="connsiteY11" fmla="*/ 576610 h 589182"/>
                <a:gd name="connsiteX12" fmla="*/ 698 w 520508"/>
                <a:gd name="connsiteY12" fmla="*/ 274576 h 589182"/>
                <a:gd name="connsiteX13" fmla="*/ 15952 w 520508"/>
                <a:gd name="connsiteY13" fmla="*/ 143390 h 58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0508" h="589182">
                  <a:moveTo>
                    <a:pt x="15952" y="143390"/>
                  </a:moveTo>
                  <a:cubicBezTo>
                    <a:pt x="15952" y="143390"/>
                    <a:pt x="3748" y="12203"/>
                    <a:pt x="3748" y="12203"/>
                  </a:cubicBezTo>
                  <a:cubicBezTo>
                    <a:pt x="22052" y="9153"/>
                    <a:pt x="49511" y="6102"/>
                    <a:pt x="64765" y="0"/>
                  </a:cubicBezTo>
                  <a:cubicBezTo>
                    <a:pt x="64765" y="33560"/>
                    <a:pt x="76969" y="204407"/>
                    <a:pt x="101375" y="222712"/>
                  </a:cubicBezTo>
                  <a:cubicBezTo>
                    <a:pt x="134934" y="244068"/>
                    <a:pt x="214257" y="256271"/>
                    <a:pt x="232561" y="216610"/>
                  </a:cubicBezTo>
                  <a:cubicBezTo>
                    <a:pt x="232561" y="216610"/>
                    <a:pt x="256968" y="231865"/>
                    <a:pt x="272222" y="207458"/>
                  </a:cubicBezTo>
                  <a:cubicBezTo>
                    <a:pt x="272222" y="207458"/>
                    <a:pt x="302731" y="247119"/>
                    <a:pt x="363748" y="244068"/>
                  </a:cubicBezTo>
                  <a:cubicBezTo>
                    <a:pt x="394256" y="241017"/>
                    <a:pt x="433917" y="155593"/>
                    <a:pt x="440019" y="125085"/>
                  </a:cubicBezTo>
                  <a:cubicBezTo>
                    <a:pt x="452223" y="131187"/>
                    <a:pt x="461375" y="103729"/>
                    <a:pt x="473579" y="103729"/>
                  </a:cubicBezTo>
                  <a:cubicBezTo>
                    <a:pt x="473579" y="106780"/>
                    <a:pt x="452223" y="198305"/>
                    <a:pt x="452223" y="201356"/>
                  </a:cubicBezTo>
                  <a:cubicBezTo>
                    <a:pt x="452223" y="201356"/>
                    <a:pt x="601713" y="414915"/>
                    <a:pt x="458325" y="503390"/>
                  </a:cubicBezTo>
                  <a:cubicBezTo>
                    <a:pt x="418662" y="527797"/>
                    <a:pt x="455273" y="576610"/>
                    <a:pt x="455273" y="576610"/>
                  </a:cubicBezTo>
                  <a:cubicBezTo>
                    <a:pt x="455273" y="576610"/>
                    <a:pt x="-20658" y="683390"/>
                    <a:pt x="698" y="274576"/>
                  </a:cubicBezTo>
                  <a:cubicBezTo>
                    <a:pt x="3748" y="204407"/>
                    <a:pt x="15952" y="143390"/>
                    <a:pt x="15952" y="143390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8C582B8F-ACFF-4CE7-A3FD-091273356A7F}"/>
                </a:ext>
              </a:extLst>
            </p:cNvPr>
            <p:cNvSpPr/>
            <p:nvPr/>
          </p:nvSpPr>
          <p:spPr>
            <a:xfrm>
              <a:off x="23107288" y="8273627"/>
              <a:ext cx="253221" cy="70909"/>
            </a:xfrm>
            <a:custGeom>
              <a:avLst/>
              <a:gdLst>
                <a:gd name="connsiteX0" fmla="*/ 192205 w 253221"/>
                <a:gd name="connsiteY0" fmla="*/ 7414 h 70909"/>
                <a:gd name="connsiteX1" fmla="*/ 253222 w 253221"/>
                <a:gd name="connsiteY1" fmla="*/ 34871 h 70909"/>
                <a:gd name="connsiteX2" fmla="*/ 134238 w 253221"/>
                <a:gd name="connsiteY2" fmla="*/ 56227 h 70909"/>
                <a:gd name="connsiteX3" fmla="*/ 0 w 253221"/>
                <a:gd name="connsiteY3" fmla="*/ 31821 h 70909"/>
                <a:gd name="connsiteX4" fmla="*/ 48815 w 253221"/>
                <a:gd name="connsiteY4" fmla="*/ 25719 h 70909"/>
                <a:gd name="connsiteX5" fmla="*/ 128136 w 253221"/>
                <a:gd name="connsiteY5" fmla="*/ 10464 h 70909"/>
                <a:gd name="connsiteX6" fmla="*/ 192205 w 253221"/>
                <a:gd name="connsiteY6" fmla="*/ 7414 h 7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221" h="70909">
                  <a:moveTo>
                    <a:pt x="192205" y="7414"/>
                  </a:moveTo>
                  <a:cubicBezTo>
                    <a:pt x="216611" y="19617"/>
                    <a:pt x="222713" y="40973"/>
                    <a:pt x="253222" y="34871"/>
                  </a:cubicBezTo>
                  <a:cubicBezTo>
                    <a:pt x="253222" y="34871"/>
                    <a:pt x="204407" y="98939"/>
                    <a:pt x="134238" y="56227"/>
                  </a:cubicBezTo>
                  <a:cubicBezTo>
                    <a:pt x="134238" y="56227"/>
                    <a:pt x="45763" y="98939"/>
                    <a:pt x="0" y="31821"/>
                  </a:cubicBezTo>
                  <a:cubicBezTo>
                    <a:pt x="0" y="31821"/>
                    <a:pt x="33560" y="34871"/>
                    <a:pt x="48815" y="25719"/>
                  </a:cubicBezTo>
                  <a:cubicBezTo>
                    <a:pt x="64069" y="16566"/>
                    <a:pt x="85425" y="-10892"/>
                    <a:pt x="128136" y="10464"/>
                  </a:cubicBezTo>
                  <a:cubicBezTo>
                    <a:pt x="128136" y="10464"/>
                    <a:pt x="155594" y="-10892"/>
                    <a:pt x="192205" y="7414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A5C88B48-EB88-460C-B913-D78E4B7395E4}"/>
                </a:ext>
              </a:extLst>
            </p:cNvPr>
            <p:cNvSpPr/>
            <p:nvPr/>
          </p:nvSpPr>
          <p:spPr>
            <a:xfrm>
              <a:off x="23207968" y="8363413"/>
              <a:ext cx="85423" cy="45908"/>
            </a:xfrm>
            <a:custGeom>
              <a:avLst/>
              <a:gdLst>
                <a:gd name="connsiteX0" fmla="*/ 85423 w 85423"/>
                <a:gd name="connsiteY0" fmla="*/ 0 h 45908"/>
                <a:gd name="connsiteX1" fmla="*/ 0 w 85423"/>
                <a:gd name="connsiteY1" fmla="*/ 3051 h 45908"/>
                <a:gd name="connsiteX2" fmla="*/ 45763 w 85423"/>
                <a:gd name="connsiteY2" fmla="*/ 45763 h 45908"/>
                <a:gd name="connsiteX3" fmla="*/ 85423 w 85423"/>
                <a:gd name="connsiteY3" fmla="*/ 0 h 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423" h="45908">
                  <a:moveTo>
                    <a:pt x="85423" y="0"/>
                  </a:moveTo>
                  <a:cubicBezTo>
                    <a:pt x="48813" y="15254"/>
                    <a:pt x="0" y="3051"/>
                    <a:pt x="0" y="3051"/>
                  </a:cubicBezTo>
                  <a:cubicBezTo>
                    <a:pt x="0" y="3051"/>
                    <a:pt x="15254" y="48814"/>
                    <a:pt x="45763" y="45763"/>
                  </a:cubicBezTo>
                  <a:cubicBezTo>
                    <a:pt x="76271" y="42712"/>
                    <a:pt x="85423" y="0"/>
                    <a:pt x="85423" y="0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C42F5A7F-C27E-4ABA-A5F8-BE8ED93ECE9A}"/>
                </a:ext>
              </a:extLst>
            </p:cNvPr>
            <p:cNvGrpSpPr/>
            <p:nvPr/>
          </p:nvGrpSpPr>
          <p:grpSpPr>
            <a:xfrm>
              <a:off x="23201866" y="8162057"/>
              <a:ext cx="57964" cy="137288"/>
              <a:chOff x="23201866" y="8162057"/>
              <a:chExt cx="57964" cy="137288"/>
            </a:xfrm>
          </p:grpSpPr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FE856209-36C0-4080-B93E-B24DA5027832}"/>
                  </a:ext>
                </a:extLst>
              </p:cNvPr>
              <p:cNvSpPr/>
              <p:nvPr/>
            </p:nvSpPr>
            <p:spPr>
              <a:xfrm>
                <a:off x="23207968" y="8165108"/>
                <a:ext cx="48812" cy="125504"/>
              </a:xfrm>
              <a:custGeom>
                <a:avLst/>
                <a:gdLst>
                  <a:gd name="connsiteX0" fmla="*/ 33559 w 48812"/>
                  <a:gd name="connsiteY0" fmla="*/ 0 h 125504"/>
                  <a:gd name="connsiteX1" fmla="*/ 48813 w 48812"/>
                  <a:gd name="connsiteY1" fmla="*/ 112881 h 125504"/>
                  <a:gd name="connsiteX2" fmla="*/ 0 w 48812"/>
                  <a:gd name="connsiteY2" fmla="*/ 122034 h 125504"/>
                  <a:gd name="connsiteX3" fmla="*/ 33559 w 48812"/>
                  <a:gd name="connsiteY3" fmla="*/ 0 h 125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2" h="125504">
                    <a:moveTo>
                      <a:pt x="33559" y="0"/>
                    </a:moveTo>
                    <a:cubicBezTo>
                      <a:pt x="33559" y="0"/>
                      <a:pt x="48813" y="91525"/>
                      <a:pt x="48813" y="112881"/>
                    </a:cubicBezTo>
                    <a:cubicBezTo>
                      <a:pt x="48813" y="134237"/>
                      <a:pt x="0" y="122034"/>
                      <a:pt x="0" y="122034"/>
                    </a:cubicBezTo>
                    <a:lnTo>
                      <a:pt x="33559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983582B1-AD56-46CD-BC1A-460F4FBB6578}"/>
                  </a:ext>
                </a:extLst>
              </p:cNvPr>
              <p:cNvSpPr/>
              <p:nvPr/>
            </p:nvSpPr>
            <p:spPr>
              <a:xfrm>
                <a:off x="23201866" y="8162057"/>
                <a:ext cx="57964" cy="137288"/>
              </a:xfrm>
              <a:custGeom>
                <a:avLst/>
                <a:gdLst>
                  <a:gd name="connsiteX0" fmla="*/ 30508 w 57964"/>
                  <a:gd name="connsiteY0" fmla="*/ 137288 h 137288"/>
                  <a:gd name="connsiteX1" fmla="*/ 6102 w 57964"/>
                  <a:gd name="connsiteY1" fmla="*/ 134238 h 137288"/>
                  <a:gd name="connsiteX2" fmla="*/ 0 w 57964"/>
                  <a:gd name="connsiteY2" fmla="*/ 128136 h 137288"/>
                  <a:gd name="connsiteX3" fmla="*/ 6102 w 57964"/>
                  <a:gd name="connsiteY3" fmla="*/ 122034 h 137288"/>
                  <a:gd name="connsiteX4" fmla="*/ 45763 w 57964"/>
                  <a:gd name="connsiteY4" fmla="*/ 122034 h 137288"/>
                  <a:gd name="connsiteX5" fmla="*/ 45763 w 57964"/>
                  <a:gd name="connsiteY5" fmla="*/ 118983 h 137288"/>
                  <a:gd name="connsiteX6" fmla="*/ 30508 w 57964"/>
                  <a:gd name="connsiteY6" fmla="*/ 6102 h 137288"/>
                  <a:gd name="connsiteX7" fmla="*/ 36611 w 57964"/>
                  <a:gd name="connsiteY7" fmla="*/ 0 h 137288"/>
                  <a:gd name="connsiteX8" fmla="*/ 42711 w 57964"/>
                  <a:gd name="connsiteY8" fmla="*/ 6102 h 137288"/>
                  <a:gd name="connsiteX9" fmla="*/ 57965 w 57964"/>
                  <a:gd name="connsiteY9" fmla="*/ 118983 h 137288"/>
                  <a:gd name="connsiteX10" fmla="*/ 51865 w 57964"/>
                  <a:gd name="connsiteY10" fmla="*/ 131187 h 137288"/>
                  <a:gd name="connsiteX11" fmla="*/ 30508 w 57964"/>
                  <a:gd name="connsiteY11" fmla="*/ 137288 h 137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7964" h="137288">
                    <a:moveTo>
                      <a:pt x="30508" y="137288"/>
                    </a:moveTo>
                    <a:cubicBezTo>
                      <a:pt x="18304" y="137288"/>
                      <a:pt x="9152" y="134238"/>
                      <a:pt x="6102" y="134238"/>
                    </a:cubicBezTo>
                    <a:cubicBezTo>
                      <a:pt x="3050" y="134238"/>
                      <a:pt x="0" y="131187"/>
                      <a:pt x="0" y="128136"/>
                    </a:cubicBezTo>
                    <a:cubicBezTo>
                      <a:pt x="0" y="125085"/>
                      <a:pt x="3050" y="122034"/>
                      <a:pt x="6102" y="122034"/>
                    </a:cubicBezTo>
                    <a:cubicBezTo>
                      <a:pt x="18304" y="125085"/>
                      <a:pt x="39661" y="125085"/>
                      <a:pt x="45763" y="122034"/>
                    </a:cubicBezTo>
                    <a:cubicBezTo>
                      <a:pt x="45763" y="122034"/>
                      <a:pt x="45763" y="118983"/>
                      <a:pt x="45763" y="118983"/>
                    </a:cubicBezTo>
                    <a:cubicBezTo>
                      <a:pt x="45763" y="100678"/>
                      <a:pt x="30508" y="9153"/>
                      <a:pt x="30508" y="6102"/>
                    </a:cubicBezTo>
                    <a:cubicBezTo>
                      <a:pt x="30508" y="3051"/>
                      <a:pt x="33559" y="0"/>
                      <a:pt x="36611" y="0"/>
                    </a:cubicBezTo>
                    <a:cubicBezTo>
                      <a:pt x="39661" y="0"/>
                      <a:pt x="42711" y="3051"/>
                      <a:pt x="42711" y="6102"/>
                    </a:cubicBezTo>
                    <a:cubicBezTo>
                      <a:pt x="42711" y="9153"/>
                      <a:pt x="57965" y="100678"/>
                      <a:pt x="57965" y="118983"/>
                    </a:cubicBezTo>
                    <a:cubicBezTo>
                      <a:pt x="57965" y="125085"/>
                      <a:pt x="54915" y="128136"/>
                      <a:pt x="51865" y="131187"/>
                    </a:cubicBezTo>
                    <a:cubicBezTo>
                      <a:pt x="48813" y="134238"/>
                      <a:pt x="39661" y="137288"/>
                      <a:pt x="30508" y="1372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95177193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56241AA5-5BF8-4C98-8EFA-AF784DA12745}"/>
              </a:ext>
            </a:extLst>
          </p:cNvPr>
          <p:cNvGrpSpPr/>
          <p:nvPr/>
        </p:nvGrpSpPr>
        <p:grpSpPr>
          <a:xfrm>
            <a:off x="2827436" y="1961869"/>
            <a:ext cx="3681519" cy="4836990"/>
            <a:chOff x="2295260" y="7504728"/>
            <a:chExt cx="3681519" cy="4836990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5E84BBEC-A0B7-4EB9-A2D5-81F83014CB6D}"/>
                </a:ext>
              </a:extLst>
            </p:cNvPr>
            <p:cNvSpPr/>
            <p:nvPr/>
          </p:nvSpPr>
          <p:spPr>
            <a:xfrm>
              <a:off x="2469960" y="9843075"/>
              <a:ext cx="1130282" cy="2299008"/>
            </a:xfrm>
            <a:custGeom>
              <a:avLst/>
              <a:gdLst>
                <a:gd name="connsiteX0" fmla="*/ 1038685 w 1130282"/>
                <a:gd name="connsiteY0" fmla="*/ 21356 h 2299008"/>
                <a:gd name="connsiteX1" fmla="*/ 1130210 w 1130282"/>
                <a:gd name="connsiteY1" fmla="*/ 1403390 h 2299008"/>
                <a:gd name="connsiteX2" fmla="*/ 1099702 w 1130282"/>
                <a:gd name="connsiteY2" fmla="*/ 2205762 h 2299008"/>
                <a:gd name="connsiteX3" fmla="*/ 873939 w 1130282"/>
                <a:gd name="connsiteY3" fmla="*/ 2288136 h 2299008"/>
                <a:gd name="connsiteX4" fmla="*/ 715295 w 1130282"/>
                <a:gd name="connsiteY4" fmla="*/ 1607797 h 2299008"/>
                <a:gd name="connsiteX5" fmla="*/ 544448 w 1130282"/>
                <a:gd name="connsiteY5" fmla="*/ 503390 h 2299008"/>
                <a:gd name="connsiteX6" fmla="*/ 498685 w 1130282"/>
                <a:gd name="connsiteY6" fmla="*/ 1415593 h 2299008"/>
                <a:gd name="connsiteX7" fmla="*/ 327837 w 1130282"/>
                <a:gd name="connsiteY7" fmla="*/ 2239322 h 2299008"/>
                <a:gd name="connsiteX8" fmla="*/ 83770 w 1130282"/>
                <a:gd name="connsiteY8" fmla="*/ 2233221 h 2299008"/>
                <a:gd name="connsiteX9" fmla="*/ 34956 w 1130282"/>
                <a:gd name="connsiteY9" fmla="*/ 1421695 h 2299008"/>
                <a:gd name="connsiteX10" fmla="*/ 16651 w 1130282"/>
                <a:gd name="connsiteY10" fmla="*/ 0 h 2299008"/>
                <a:gd name="connsiteX11" fmla="*/ 1038685 w 1130282"/>
                <a:gd name="connsiteY11" fmla="*/ 21356 h 2299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30282" h="2299008">
                  <a:moveTo>
                    <a:pt x="1038685" y="21356"/>
                  </a:moveTo>
                  <a:lnTo>
                    <a:pt x="1130210" y="1403390"/>
                  </a:lnTo>
                  <a:cubicBezTo>
                    <a:pt x="1130210" y="1403390"/>
                    <a:pt x="1133261" y="2013559"/>
                    <a:pt x="1099702" y="2205762"/>
                  </a:cubicBezTo>
                  <a:cubicBezTo>
                    <a:pt x="1087498" y="2272881"/>
                    <a:pt x="922753" y="2321695"/>
                    <a:pt x="873939" y="2288136"/>
                  </a:cubicBezTo>
                  <a:cubicBezTo>
                    <a:pt x="751905" y="2230170"/>
                    <a:pt x="715295" y="1607797"/>
                    <a:pt x="715295" y="1607797"/>
                  </a:cubicBezTo>
                  <a:cubicBezTo>
                    <a:pt x="715295" y="1607797"/>
                    <a:pt x="553600" y="518644"/>
                    <a:pt x="544448" y="503390"/>
                  </a:cubicBezTo>
                  <a:cubicBezTo>
                    <a:pt x="529193" y="472881"/>
                    <a:pt x="498685" y="1415593"/>
                    <a:pt x="498685" y="1415593"/>
                  </a:cubicBezTo>
                  <a:cubicBezTo>
                    <a:pt x="498685" y="1415593"/>
                    <a:pt x="452922" y="2181356"/>
                    <a:pt x="327837" y="2239322"/>
                  </a:cubicBezTo>
                  <a:cubicBezTo>
                    <a:pt x="272922" y="2285085"/>
                    <a:pt x="126481" y="2291187"/>
                    <a:pt x="83770" y="2233221"/>
                  </a:cubicBezTo>
                  <a:cubicBezTo>
                    <a:pt x="-4705" y="2114237"/>
                    <a:pt x="41058" y="1519322"/>
                    <a:pt x="34956" y="1421695"/>
                  </a:cubicBezTo>
                  <a:cubicBezTo>
                    <a:pt x="25803" y="1269153"/>
                    <a:pt x="-26061" y="97627"/>
                    <a:pt x="16651" y="0"/>
                  </a:cubicBezTo>
                  <a:cubicBezTo>
                    <a:pt x="715295" y="33560"/>
                    <a:pt x="1038685" y="21356"/>
                    <a:pt x="1038685" y="21356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5305CFC4-A42B-47CA-99C2-FD5A50215F84}"/>
                </a:ext>
              </a:extLst>
            </p:cNvPr>
            <p:cNvSpPr/>
            <p:nvPr/>
          </p:nvSpPr>
          <p:spPr>
            <a:xfrm>
              <a:off x="3005255" y="9986465"/>
              <a:ext cx="70169" cy="366101"/>
            </a:xfrm>
            <a:custGeom>
              <a:avLst/>
              <a:gdLst>
                <a:gd name="connsiteX0" fmla="*/ 6102 w 70169"/>
                <a:gd name="connsiteY0" fmla="*/ 366102 h 366101"/>
                <a:gd name="connsiteX1" fmla="*/ 6102 w 70169"/>
                <a:gd name="connsiteY1" fmla="*/ 366102 h 366101"/>
                <a:gd name="connsiteX2" fmla="*/ 0 w 70169"/>
                <a:gd name="connsiteY2" fmla="*/ 356949 h 366101"/>
                <a:gd name="connsiteX3" fmla="*/ 57966 w 70169"/>
                <a:gd name="connsiteY3" fmla="*/ 6101 h 366101"/>
                <a:gd name="connsiteX4" fmla="*/ 64068 w 70169"/>
                <a:gd name="connsiteY4" fmla="*/ 0 h 366101"/>
                <a:gd name="connsiteX5" fmla="*/ 64068 w 70169"/>
                <a:gd name="connsiteY5" fmla="*/ 0 h 366101"/>
                <a:gd name="connsiteX6" fmla="*/ 70169 w 70169"/>
                <a:gd name="connsiteY6" fmla="*/ 6101 h 366101"/>
                <a:gd name="connsiteX7" fmla="*/ 12203 w 70169"/>
                <a:gd name="connsiteY7" fmla="*/ 360000 h 366101"/>
                <a:gd name="connsiteX8" fmla="*/ 6102 w 70169"/>
                <a:gd name="connsiteY8" fmla="*/ 366102 h 36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169" h="366101">
                  <a:moveTo>
                    <a:pt x="6102" y="366102"/>
                  </a:moveTo>
                  <a:cubicBezTo>
                    <a:pt x="6102" y="366102"/>
                    <a:pt x="6102" y="366102"/>
                    <a:pt x="6102" y="366102"/>
                  </a:cubicBezTo>
                  <a:cubicBezTo>
                    <a:pt x="0" y="363051"/>
                    <a:pt x="0" y="360000"/>
                    <a:pt x="0" y="356949"/>
                  </a:cubicBezTo>
                  <a:cubicBezTo>
                    <a:pt x="48814" y="244068"/>
                    <a:pt x="57966" y="9152"/>
                    <a:pt x="57966" y="6101"/>
                  </a:cubicBezTo>
                  <a:cubicBezTo>
                    <a:pt x="57966" y="3050"/>
                    <a:pt x="61017" y="0"/>
                    <a:pt x="64068" y="0"/>
                  </a:cubicBezTo>
                  <a:cubicBezTo>
                    <a:pt x="64068" y="0"/>
                    <a:pt x="64068" y="0"/>
                    <a:pt x="64068" y="0"/>
                  </a:cubicBezTo>
                  <a:cubicBezTo>
                    <a:pt x="67119" y="0"/>
                    <a:pt x="70169" y="3050"/>
                    <a:pt x="70169" y="6101"/>
                  </a:cubicBezTo>
                  <a:cubicBezTo>
                    <a:pt x="70169" y="15254"/>
                    <a:pt x="61017" y="244068"/>
                    <a:pt x="12203" y="360000"/>
                  </a:cubicBezTo>
                  <a:cubicBezTo>
                    <a:pt x="12203" y="366102"/>
                    <a:pt x="9153" y="366102"/>
                    <a:pt x="6102" y="366102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FD7D1881-7F4C-4982-B40E-3D4C7BAFA917}"/>
                </a:ext>
              </a:extLst>
            </p:cNvPr>
            <p:cNvSpPr/>
            <p:nvPr/>
          </p:nvSpPr>
          <p:spPr>
            <a:xfrm>
              <a:off x="3034499" y="9916295"/>
              <a:ext cx="156856" cy="356949"/>
            </a:xfrm>
            <a:custGeom>
              <a:avLst/>
              <a:gdLst>
                <a:gd name="connsiteX0" fmla="*/ 7365 w 156856"/>
                <a:gd name="connsiteY0" fmla="*/ 356950 h 356949"/>
                <a:gd name="connsiteX1" fmla="*/ 1264 w 156856"/>
                <a:gd name="connsiteY1" fmla="*/ 353899 h 356949"/>
                <a:gd name="connsiteX2" fmla="*/ 4315 w 156856"/>
                <a:gd name="connsiteY2" fmla="*/ 344746 h 356949"/>
                <a:gd name="connsiteX3" fmla="*/ 111094 w 156856"/>
                <a:gd name="connsiteY3" fmla="*/ 268475 h 356949"/>
                <a:gd name="connsiteX4" fmla="*/ 144654 w 156856"/>
                <a:gd name="connsiteY4" fmla="*/ 6102 h 356949"/>
                <a:gd name="connsiteX5" fmla="*/ 150755 w 156856"/>
                <a:gd name="connsiteY5" fmla="*/ 0 h 356949"/>
                <a:gd name="connsiteX6" fmla="*/ 156857 w 156856"/>
                <a:gd name="connsiteY6" fmla="*/ 6102 h 356949"/>
                <a:gd name="connsiteX7" fmla="*/ 123298 w 156856"/>
                <a:gd name="connsiteY7" fmla="*/ 274576 h 356949"/>
                <a:gd name="connsiteX8" fmla="*/ 13467 w 156856"/>
                <a:gd name="connsiteY8" fmla="*/ 353899 h 356949"/>
                <a:gd name="connsiteX9" fmla="*/ 7365 w 156856"/>
                <a:gd name="connsiteY9" fmla="*/ 356950 h 35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856" h="356949">
                  <a:moveTo>
                    <a:pt x="7365" y="356950"/>
                  </a:moveTo>
                  <a:cubicBezTo>
                    <a:pt x="4315" y="356950"/>
                    <a:pt x="4315" y="356950"/>
                    <a:pt x="1264" y="353899"/>
                  </a:cubicBezTo>
                  <a:cubicBezTo>
                    <a:pt x="-1787" y="350847"/>
                    <a:pt x="1264" y="347796"/>
                    <a:pt x="4315" y="344746"/>
                  </a:cubicBezTo>
                  <a:cubicBezTo>
                    <a:pt x="43976" y="320339"/>
                    <a:pt x="101942" y="277627"/>
                    <a:pt x="111094" y="268475"/>
                  </a:cubicBezTo>
                  <a:cubicBezTo>
                    <a:pt x="120247" y="256271"/>
                    <a:pt x="135501" y="100679"/>
                    <a:pt x="144654" y="6102"/>
                  </a:cubicBezTo>
                  <a:cubicBezTo>
                    <a:pt x="144654" y="3051"/>
                    <a:pt x="147704" y="0"/>
                    <a:pt x="150755" y="0"/>
                  </a:cubicBezTo>
                  <a:cubicBezTo>
                    <a:pt x="153806" y="0"/>
                    <a:pt x="156857" y="3051"/>
                    <a:pt x="156857" y="6102"/>
                  </a:cubicBezTo>
                  <a:cubicBezTo>
                    <a:pt x="153806" y="48814"/>
                    <a:pt x="132450" y="259322"/>
                    <a:pt x="123298" y="274576"/>
                  </a:cubicBezTo>
                  <a:cubicBezTo>
                    <a:pt x="111094" y="289831"/>
                    <a:pt x="22620" y="347796"/>
                    <a:pt x="13467" y="353899"/>
                  </a:cubicBezTo>
                  <a:cubicBezTo>
                    <a:pt x="10416" y="356950"/>
                    <a:pt x="7365" y="356950"/>
                    <a:pt x="7365" y="356950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240D09E5-A3DC-4CCA-8E68-6D0A3AFCD563}"/>
                </a:ext>
              </a:extLst>
            </p:cNvPr>
            <p:cNvGrpSpPr/>
            <p:nvPr/>
          </p:nvGrpSpPr>
          <p:grpSpPr>
            <a:xfrm>
              <a:off x="2516522" y="12012227"/>
              <a:ext cx="525342" cy="329491"/>
              <a:chOff x="2516522" y="12012227"/>
              <a:chExt cx="525342" cy="329491"/>
            </a:xfrm>
          </p:grpSpPr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F745EF5A-95F8-45F0-B7EA-5F85F6FBAC66}"/>
                  </a:ext>
                </a:extLst>
              </p:cNvPr>
              <p:cNvSpPr/>
              <p:nvPr/>
            </p:nvSpPr>
            <p:spPr>
              <a:xfrm>
                <a:off x="2553729" y="12295956"/>
                <a:ext cx="488135" cy="45762"/>
              </a:xfrm>
              <a:custGeom>
                <a:avLst/>
                <a:gdLst>
                  <a:gd name="connsiteX0" fmla="*/ 0 w 488135"/>
                  <a:gd name="connsiteY0" fmla="*/ 0 h 45762"/>
                  <a:gd name="connsiteX1" fmla="*/ 488136 w 488135"/>
                  <a:gd name="connsiteY1" fmla="*/ 0 h 45762"/>
                  <a:gd name="connsiteX2" fmla="*/ 488136 w 488135"/>
                  <a:gd name="connsiteY2" fmla="*/ 45763 h 45762"/>
                  <a:gd name="connsiteX3" fmla="*/ 0 w 488135"/>
                  <a:gd name="connsiteY3" fmla="*/ 45763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5" h="45762">
                    <a:moveTo>
                      <a:pt x="0" y="0"/>
                    </a:moveTo>
                    <a:lnTo>
                      <a:pt x="488136" y="0"/>
                    </a:lnTo>
                    <a:lnTo>
                      <a:pt x="488136" y="45763"/>
                    </a:lnTo>
                    <a:lnTo>
                      <a:pt x="0" y="45763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6B9E0327-4E43-4CA6-AC57-C224A88A721D}"/>
                  </a:ext>
                </a:extLst>
              </p:cNvPr>
              <p:cNvSpPr/>
              <p:nvPr/>
            </p:nvSpPr>
            <p:spPr>
              <a:xfrm>
                <a:off x="2516522" y="12012227"/>
                <a:ext cx="525342" cy="286779"/>
              </a:xfrm>
              <a:custGeom>
                <a:avLst/>
                <a:gdLst>
                  <a:gd name="connsiteX0" fmla="*/ 597 w 525342"/>
                  <a:gd name="connsiteY0" fmla="*/ 0 h 286779"/>
                  <a:gd name="connsiteX1" fmla="*/ 339241 w 525342"/>
                  <a:gd name="connsiteY1" fmla="*/ 18305 h 286779"/>
                  <a:gd name="connsiteX2" fmla="*/ 299580 w 525342"/>
                  <a:gd name="connsiteY2" fmla="*/ 158644 h 286779"/>
                  <a:gd name="connsiteX3" fmla="*/ 357546 w 525342"/>
                  <a:gd name="connsiteY3" fmla="*/ 180000 h 286779"/>
                  <a:gd name="connsiteX4" fmla="*/ 525342 w 525342"/>
                  <a:gd name="connsiteY4" fmla="*/ 286779 h 286779"/>
                  <a:gd name="connsiteX5" fmla="*/ 37207 w 525342"/>
                  <a:gd name="connsiteY5" fmla="*/ 286779 h 286779"/>
                  <a:gd name="connsiteX6" fmla="*/ 597 w 525342"/>
                  <a:gd name="connsiteY6" fmla="*/ 0 h 28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5342" h="286779">
                    <a:moveTo>
                      <a:pt x="597" y="0"/>
                    </a:moveTo>
                    <a:lnTo>
                      <a:pt x="339241" y="18305"/>
                    </a:lnTo>
                    <a:lnTo>
                      <a:pt x="299580" y="158644"/>
                    </a:lnTo>
                    <a:cubicBezTo>
                      <a:pt x="320936" y="167797"/>
                      <a:pt x="339241" y="173898"/>
                      <a:pt x="357546" y="180000"/>
                    </a:cubicBezTo>
                    <a:cubicBezTo>
                      <a:pt x="400258" y="195254"/>
                      <a:pt x="513139" y="213559"/>
                      <a:pt x="525342" y="286779"/>
                    </a:cubicBezTo>
                    <a:lnTo>
                      <a:pt x="37207" y="286779"/>
                    </a:lnTo>
                    <a:cubicBezTo>
                      <a:pt x="37207" y="283728"/>
                      <a:pt x="-5505" y="192203"/>
                      <a:pt x="597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ACA50167-170D-4869-82FA-61DC788369E4}"/>
                </a:ext>
              </a:extLst>
            </p:cNvPr>
            <p:cNvGrpSpPr/>
            <p:nvPr/>
          </p:nvGrpSpPr>
          <p:grpSpPr>
            <a:xfrm>
              <a:off x="3261526" y="12012227"/>
              <a:ext cx="540000" cy="327480"/>
              <a:chOff x="3261526" y="12012227"/>
              <a:chExt cx="540000" cy="327480"/>
            </a:xfrm>
          </p:grpSpPr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D5524740-6EA4-46B4-B0E5-FA0E31F721F1}"/>
                  </a:ext>
                </a:extLst>
              </p:cNvPr>
              <p:cNvSpPr/>
              <p:nvPr/>
            </p:nvSpPr>
            <p:spPr>
              <a:xfrm rot="-187628">
                <a:off x="3310329" y="12280666"/>
                <a:ext cx="488130" cy="45762"/>
              </a:xfrm>
              <a:custGeom>
                <a:avLst/>
                <a:gdLst>
                  <a:gd name="connsiteX0" fmla="*/ 0 w 488130"/>
                  <a:gd name="connsiteY0" fmla="*/ 0 h 45762"/>
                  <a:gd name="connsiteX1" fmla="*/ 488130 w 488130"/>
                  <a:gd name="connsiteY1" fmla="*/ 0 h 45762"/>
                  <a:gd name="connsiteX2" fmla="*/ 488130 w 488130"/>
                  <a:gd name="connsiteY2" fmla="*/ 45762 h 45762"/>
                  <a:gd name="connsiteX3" fmla="*/ 0 w 488130"/>
                  <a:gd name="connsiteY3" fmla="*/ 45762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0" h="45762">
                    <a:moveTo>
                      <a:pt x="0" y="0"/>
                    </a:moveTo>
                    <a:lnTo>
                      <a:pt x="488130" y="0"/>
                    </a:lnTo>
                    <a:lnTo>
                      <a:pt x="488130" y="45762"/>
                    </a:lnTo>
                    <a:lnTo>
                      <a:pt x="0" y="45762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8B2E2080-8594-483C-8872-D0BB0B808A60}"/>
                  </a:ext>
                </a:extLst>
              </p:cNvPr>
              <p:cNvSpPr/>
              <p:nvPr/>
            </p:nvSpPr>
            <p:spPr>
              <a:xfrm>
                <a:off x="3261526" y="12012227"/>
                <a:ext cx="540000" cy="283728"/>
              </a:xfrm>
              <a:custGeom>
                <a:avLst/>
                <a:gdLst>
                  <a:gd name="connsiteX0" fmla="*/ 338644 w 540000"/>
                  <a:gd name="connsiteY0" fmla="*/ 0 h 283728"/>
                  <a:gd name="connsiteX1" fmla="*/ 308136 w 540000"/>
                  <a:gd name="connsiteY1" fmla="*/ 140339 h 283728"/>
                  <a:gd name="connsiteX2" fmla="*/ 366102 w 540000"/>
                  <a:gd name="connsiteY2" fmla="*/ 158644 h 283728"/>
                  <a:gd name="connsiteX3" fmla="*/ 540000 w 540000"/>
                  <a:gd name="connsiteY3" fmla="*/ 256271 h 283728"/>
                  <a:gd name="connsiteX4" fmla="*/ 51864 w 540000"/>
                  <a:gd name="connsiteY4" fmla="*/ 283728 h 283728"/>
                  <a:gd name="connsiteX5" fmla="*/ 0 w 540000"/>
                  <a:gd name="connsiteY5" fmla="*/ 3051 h 283728"/>
                  <a:gd name="connsiteX6" fmla="*/ 338644 w 540000"/>
                  <a:gd name="connsiteY6" fmla="*/ 0 h 28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40000" h="283728">
                    <a:moveTo>
                      <a:pt x="338644" y="0"/>
                    </a:moveTo>
                    <a:lnTo>
                      <a:pt x="308136" y="140339"/>
                    </a:lnTo>
                    <a:cubicBezTo>
                      <a:pt x="329492" y="146440"/>
                      <a:pt x="347797" y="152542"/>
                      <a:pt x="366102" y="158644"/>
                    </a:cubicBezTo>
                    <a:cubicBezTo>
                      <a:pt x="411864" y="170848"/>
                      <a:pt x="521695" y="186102"/>
                      <a:pt x="540000" y="256271"/>
                    </a:cubicBezTo>
                    <a:lnTo>
                      <a:pt x="51864" y="283728"/>
                    </a:lnTo>
                    <a:cubicBezTo>
                      <a:pt x="51864" y="283728"/>
                      <a:pt x="6102" y="192203"/>
                      <a:pt x="0" y="3051"/>
                    </a:cubicBezTo>
                    <a:lnTo>
                      <a:pt x="338644" y="0"/>
                    </a:ln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A8A3CBAF-1087-4CB3-B0A3-9432F49B1B92}"/>
                </a:ext>
              </a:extLst>
            </p:cNvPr>
            <p:cNvSpPr/>
            <p:nvPr/>
          </p:nvSpPr>
          <p:spPr>
            <a:xfrm>
              <a:off x="4603899" y="8986237"/>
              <a:ext cx="378904" cy="213200"/>
            </a:xfrm>
            <a:custGeom>
              <a:avLst/>
              <a:gdLst>
                <a:gd name="connsiteX0" fmla="*/ 305085 w 378904"/>
                <a:gd name="connsiteY0" fmla="*/ 173448 h 213200"/>
                <a:gd name="connsiteX1" fmla="*/ 305085 w 378904"/>
                <a:gd name="connsiteY1" fmla="*/ 5651 h 213200"/>
                <a:gd name="connsiteX2" fmla="*/ 0 w 378904"/>
                <a:gd name="connsiteY2" fmla="*/ 84973 h 213200"/>
                <a:gd name="connsiteX3" fmla="*/ 51865 w 378904"/>
                <a:gd name="connsiteY3" fmla="*/ 194803 h 213200"/>
                <a:gd name="connsiteX4" fmla="*/ 183051 w 378904"/>
                <a:gd name="connsiteY4" fmla="*/ 203956 h 213200"/>
                <a:gd name="connsiteX5" fmla="*/ 305085 w 378904"/>
                <a:gd name="connsiteY5" fmla="*/ 173448 h 21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8904" h="213200">
                  <a:moveTo>
                    <a:pt x="305085" y="173448"/>
                  </a:moveTo>
                  <a:cubicBezTo>
                    <a:pt x="439322" y="103278"/>
                    <a:pt x="360000" y="14803"/>
                    <a:pt x="305085" y="5651"/>
                  </a:cubicBezTo>
                  <a:cubicBezTo>
                    <a:pt x="241017" y="-9603"/>
                    <a:pt x="21356" y="2600"/>
                    <a:pt x="0" y="84973"/>
                  </a:cubicBezTo>
                  <a:cubicBezTo>
                    <a:pt x="0" y="84973"/>
                    <a:pt x="27458" y="173448"/>
                    <a:pt x="51865" y="194803"/>
                  </a:cubicBezTo>
                  <a:cubicBezTo>
                    <a:pt x="91525" y="225312"/>
                    <a:pt x="137288" y="210058"/>
                    <a:pt x="183051" y="203956"/>
                  </a:cubicBezTo>
                  <a:cubicBezTo>
                    <a:pt x="213559" y="197854"/>
                    <a:pt x="289831" y="182600"/>
                    <a:pt x="305085" y="173448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CF849E6A-25E8-4057-9760-DAA1E66E8977}"/>
                </a:ext>
              </a:extLst>
            </p:cNvPr>
            <p:cNvSpPr/>
            <p:nvPr/>
          </p:nvSpPr>
          <p:spPr>
            <a:xfrm>
              <a:off x="3239955" y="8444942"/>
              <a:ext cx="1418858" cy="963805"/>
            </a:xfrm>
            <a:custGeom>
              <a:avLst/>
              <a:gdLst>
                <a:gd name="connsiteX0" fmla="*/ 45977 w 1418858"/>
                <a:gd name="connsiteY0" fmla="*/ 19150 h 963805"/>
                <a:gd name="connsiteX1" fmla="*/ 509706 w 1418858"/>
                <a:gd name="connsiteY1" fmla="*/ 247963 h 963805"/>
                <a:gd name="connsiteX2" fmla="*/ 808689 w 1418858"/>
                <a:gd name="connsiteY2" fmla="*/ 604912 h 963805"/>
                <a:gd name="connsiteX3" fmla="*/ 1376147 w 1418858"/>
                <a:gd name="connsiteY3" fmla="*/ 583557 h 963805"/>
                <a:gd name="connsiteX4" fmla="*/ 1418859 w 1418858"/>
                <a:gd name="connsiteY4" fmla="*/ 745252 h 963805"/>
                <a:gd name="connsiteX5" fmla="*/ 698859 w 1418858"/>
                <a:gd name="connsiteY5" fmla="*/ 958811 h 963805"/>
                <a:gd name="connsiteX6" fmla="*/ 45977 w 1418858"/>
                <a:gd name="connsiteY6" fmla="*/ 19150 h 963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8858" h="963805">
                  <a:moveTo>
                    <a:pt x="45977" y="19150"/>
                  </a:moveTo>
                  <a:cubicBezTo>
                    <a:pt x="152757" y="-66274"/>
                    <a:pt x="421232" y="156438"/>
                    <a:pt x="509706" y="247963"/>
                  </a:cubicBezTo>
                  <a:cubicBezTo>
                    <a:pt x="592079" y="330336"/>
                    <a:pt x="808689" y="604912"/>
                    <a:pt x="808689" y="604912"/>
                  </a:cubicBezTo>
                  <a:cubicBezTo>
                    <a:pt x="808689" y="604912"/>
                    <a:pt x="1315130" y="482879"/>
                    <a:pt x="1376147" y="583557"/>
                  </a:cubicBezTo>
                  <a:cubicBezTo>
                    <a:pt x="1400554" y="638472"/>
                    <a:pt x="1415808" y="705591"/>
                    <a:pt x="1418859" y="745252"/>
                  </a:cubicBezTo>
                  <a:cubicBezTo>
                    <a:pt x="1351740" y="919150"/>
                    <a:pt x="823943" y="983217"/>
                    <a:pt x="698859" y="958811"/>
                  </a:cubicBezTo>
                  <a:cubicBezTo>
                    <a:pt x="564621" y="934404"/>
                    <a:pt x="-191989" y="208302"/>
                    <a:pt x="45977" y="1915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9B8183F5-F0C7-41DB-94C7-8F554BAF33C9}"/>
                </a:ext>
              </a:extLst>
            </p:cNvPr>
            <p:cNvSpPr/>
            <p:nvPr/>
          </p:nvSpPr>
          <p:spPr>
            <a:xfrm>
              <a:off x="2816102" y="8055278"/>
              <a:ext cx="67118" cy="140339"/>
            </a:xfrm>
            <a:custGeom>
              <a:avLst/>
              <a:gdLst>
                <a:gd name="connsiteX0" fmla="*/ 0 w 67118"/>
                <a:gd name="connsiteY0" fmla="*/ 0 h 140339"/>
                <a:gd name="connsiteX1" fmla="*/ 64068 w 67118"/>
                <a:gd name="connsiteY1" fmla="*/ 140339 h 140339"/>
                <a:gd name="connsiteX2" fmla="*/ 67119 w 67118"/>
                <a:gd name="connsiteY2" fmla="*/ 54915 h 140339"/>
                <a:gd name="connsiteX3" fmla="*/ 0 w 67118"/>
                <a:gd name="connsiteY3" fmla="*/ 0 h 14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18" h="140339">
                  <a:moveTo>
                    <a:pt x="0" y="0"/>
                  </a:moveTo>
                  <a:cubicBezTo>
                    <a:pt x="0" y="0"/>
                    <a:pt x="12203" y="118983"/>
                    <a:pt x="64068" y="140339"/>
                  </a:cubicBezTo>
                  <a:lnTo>
                    <a:pt x="67119" y="549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8E0FFD54-F958-4148-A867-11042DE9572E}"/>
                </a:ext>
              </a:extLst>
            </p:cNvPr>
            <p:cNvSpPr/>
            <p:nvPr/>
          </p:nvSpPr>
          <p:spPr>
            <a:xfrm>
              <a:off x="3175173" y="7850871"/>
              <a:ext cx="101808" cy="237945"/>
            </a:xfrm>
            <a:custGeom>
              <a:avLst/>
              <a:gdLst>
                <a:gd name="connsiteX0" fmla="*/ 95505 w 101808"/>
                <a:gd name="connsiteY0" fmla="*/ 0 h 237945"/>
                <a:gd name="connsiteX1" fmla="*/ 52793 w 101808"/>
                <a:gd name="connsiteY1" fmla="*/ 234915 h 237945"/>
                <a:gd name="connsiteX2" fmla="*/ 929 w 101808"/>
                <a:gd name="connsiteY2" fmla="*/ 12204 h 237945"/>
                <a:gd name="connsiteX3" fmla="*/ 95505 w 101808"/>
                <a:gd name="connsiteY3" fmla="*/ 0 h 23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08" h="237945">
                  <a:moveTo>
                    <a:pt x="95505" y="0"/>
                  </a:moveTo>
                  <a:cubicBezTo>
                    <a:pt x="95505" y="0"/>
                    <a:pt x="126013" y="195255"/>
                    <a:pt x="52793" y="234915"/>
                  </a:cubicBezTo>
                  <a:cubicBezTo>
                    <a:pt x="-11275" y="268475"/>
                    <a:pt x="929" y="12204"/>
                    <a:pt x="929" y="12204"/>
                  </a:cubicBezTo>
                  <a:lnTo>
                    <a:pt x="95505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5C92835D-15D6-456D-81EB-C313341040EE}"/>
                </a:ext>
              </a:extLst>
            </p:cNvPr>
            <p:cNvSpPr/>
            <p:nvPr/>
          </p:nvSpPr>
          <p:spPr>
            <a:xfrm>
              <a:off x="2819153" y="7710022"/>
              <a:ext cx="421355" cy="568571"/>
            </a:xfrm>
            <a:custGeom>
              <a:avLst/>
              <a:gdLst>
                <a:gd name="connsiteX0" fmla="*/ 411864 w 421355"/>
                <a:gd name="connsiteY0" fmla="*/ 183562 h 568571"/>
                <a:gd name="connsiteX1" fmla="*/ 411864 w 421355"/>
                <a:gd name="connsiteY1" fmla="*/ 433731 h 568571"/>
                <a:gd name="connsiteX2" fmla="*/ 253220 w 421355"/>
                <a:gd name="connsiteY2" fmla="*/ 567968 h 568571"/>
                <a:gd name="connsiteX3" fmla="*/ 36610 w 421355"/>
                <a:gd name="connsiteY3" fmla="*/ 424578 h 568571"/>
                <a:gd name="connsiteX4" fmla="*/ 0 w 421355"/>
                <a:gd name="connsiteY4" fmla="*/ 198816 h 568571"/>
                <a:gd name="connsiteX5" fmla="*/ 213559 w 421355"/>
                <a:gd name="connsiteY5" fmla="*/ 511 h 568571"/>
                <a:gd name="connsiteX6" fmla="*/ 411864 w 421355"/>
                <a:gd name="connsiteY6" fmla="*/ 183562 h 568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355" h="568571">
                  <a:moveTo>
                    <a:pt x="411864" y="183562"/>
                  </a:moveTo>
                  <a:cubicBezTo>
                    <a:pt x="411864" y="183562"/>
                    <a:pt x="433220" y="360510"/>
                    <a:pt x="411864" y="433731"/>
                  </a:cubicBezTo>
                  <a:cubicBezTo>
                    <a:pt x="393559" y="500849"/>
                    <a:pt x="302034" y="564917"/>
                    <a:pt x="253220" y="567968"/>
                  </a:cubicBezTo>
                  <a:cubicBezTo>
                    <a:pt x="186102" y="574070"/>
                    <a:pt x="67119" y="534409"/>
                    <a:pt x="36610" y="424578"/>
                  </a:cubicBezTo>
                  <a:cubicBezTo>
                    <a:pt x="15254" y="351358"/>
                    <a:pt x="0" y="250680"/>
                    <a:pt x="0" y="198816"/>
                  </a:cubicBezTo>
                  <a:cubicBezTo>
                    <a:pt x="3051" y="104239"/>
                    <a:pt x="27458" y="24917"/>
                    <a:pt x="213559" y="511"/>
                  </a:cubicBezTo>
                  <a:cubicBezTo>
                    <a:pt x="298983" y="-8642"/>
                    <a:pt x="393559" y="107290"/>
                    <a:pt x="411864" y="183562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7C6AEF05-7C50-4195-BB8F-7174C6325937}"/>
                </a:ext>
              </a:extLst>
            </p:cNvPr>
            <p:cNvSpPr/>
            <p:nvPr/>
          </p:nvSpPr>
          <p:spPr>
            <a:xfrm>
              <a:off x="3133390" y="7953823"/>
              <a:ext cx="40438" cy="41215"/>
            </a:xfrm>
            <a:custGeom>
              <a:avLst/>
              <a:gdLst>
                <a:gd name="connsiteX0" fmla="*/ 0 w 40438"/>
                <a:gd name="connsiteY0" fmla="*/ 25184 h 41215"/>
                <a:gd name="connsiteX1" fmla="*/ 24407 w 40438"/>
                <a:gd name="connsiteY1" fmla="*/ 40438 h 41215"/>
                <a:gd name="connsiteX2" fmla="*/ 39661 w 40438"/>
                <a:gd name="connsiteY2" fmla="*/ 16032 h 41215"/>
                <a:gd name="connsiteX3" fmla="*/ 15254 w 40438"/>
                <a:gd name="connsiteY3" fmla="*/ 778 h 41215"/>
                <a:gd name="connsiteX4" fmla="*/ 0 w 40438"/>
                <a:gd name="connsiteY4" fmla="*/ 25184 h 4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38" h="41215">
                  <a:moveTo>
                    <a:pt x="0" y="25184"/>
                  </a:moveTo>
                  <a:cubicBezTo>
                    <a:pt x="3051" y="37388"/>
                    <a:pt x="12203" y="43489"/>
                    <a:pt x="24407" y="40438"/>
                  </a:cubicBezTo>
                  <a:cubicBezTo>
                    <a:pt x="36610" y="37388"/>
                    <a:pt x="42712" y="28235"/>
                    <a:pt x="39661" y="16032"/>
                  </a:cubicBezTo>
                  <a:cubicBezTo>
                    <a:pt x="36610" y="3828"/>
                    <a:pt x="27458" y="-2273"/>
                    <a:pt x="15254" y="778"/>
                  </a:cubicBezTo>
                  <a:cubicBezTo>
                    <a:pt x="6102" y="3828"/>
                    <a:pt x="0" y="12981"/>
                    <a:pt x="0" y="25184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42855631-4416-46E3-9399-2B6AA4D18EB7}"/>
                </a:ext>
              </a:extLst>
            </p:cNvPr>
            <p:cNvSpPr/>
            <p:nvPr/>
          </p:nvSpPr>
          <p:spPr>
            <a:xfrm>
              <a:off x="2950339" y="7969077"/>
              <a:ext cx="40438" cy="41036"/>
            </a:xfrm>
            <a:custGeom>
              <a:avLst/>
              <a:gdLst>
                <a:gd name="connsiteX0" fmla="*/ 0 w 40438"/>
                <a:gd name="connsiteY0" fmla="*/ 25184 h 41036"/>
                <a:gd name="connsiteX1" fmla="*/ 24407 w 40438"/>
                <a:gd name="connsiteY1" fmla="*/ 40438 h 41036"/>
                <a:gd name="connsiteX2" fmla="*/ 39661 w 40438"/>
                <a:gd name="connsiteY2" fmla="*/ 16032 h 41036"/>
                <a:gd name="connsiteX3" fmla="*/ 15254 w 40438"/>
                <a:gd name="connsiteY3" fmla="*/ 778 h 41036"/>
                <a:gd name="connsiteX4" fmla="*/ 0 w 40438"/>
                <a:gd name="connsiteY4" fmla="*/ 25184 h 4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38" h="41036">
                  <a:moveTo>
                    <a:pt x="0" y="25184"/>
                  </a:moveTo>
                  <a:cubicBezTo>
                    <a:pt x="3051" y="34337"/>
                    <a:pt x="12203" y="43489"/>
                    <a:pt x="24407" y="40438"/>
                  </a:cubicBezTo>
                  <a:cubicBezTo>
                    <a:pt x="36610" y="37388"/>
                    <a:pt x="42712" y="28235"/>
                    <a:pt x="39661" y="16032"/>
                  </a:cubicBezTo>
                  <a:cubicBezTo>
                    <a:pt x="36610" y="3828"/>
                    <a:pt x="27458" y="-2273"/>
                    <a:pt x="15254" y="778"/>
                  </a:cubicBezTo>
                  <a:cubicBezTo>
                    <a:pt x="6102" y="3828"/>
                    <a:pt x="0" y="16032"/>
                    <a:pt x="0" y="25184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1B37748E-BBA6-44D9-BF5F-18E72F7EA65E}"/>
                </a:ext>
              </a:extLst>
            </p:cNvPr>
            <p:cNvSpPr/>
            <p:nvPr/>
          </p:nvSpPr>
          <p:spPr>
            <a:xfrm>
              <a:off x="3107720" y="7908837"/>
              <a:ext cx="92026" cy="30508"/>
            </a:xfrm>
            <a:custGeom>
              <a:avLst/>
              <a:gdLst>
                <a:gd name="connsiteX0" fmla="*/ 83637 w 92026"/>
                <a:gd name="connsiteY0" fmla="*/ 30509 h 30508"/>
                <a:gd name="connsiteX1" fmla="*/ 77535 w 92026"/>
                <a:gd name="connsiteY1" fmla="*/ 27458 h 30508"/>
                <a:gd name="connsiteX2" fmla="*/ 10416 w 92026"/>
                <a:gd name="connsiteY2" fmla="*/ 21356 h 30508"/>
                <a:gd name="connsiteX3" fmla="*/ 1264 w 92026"/>
                <a:gd name="connsiteY3" fmla="*/ 18305 h 30508"/>
                <a:gd name="connsiteX4" fmla="*/ 4315 w 92026"/>
                <a:gd name="connsiteY4" fmla="*/ 9152 h 30508"/>
                <a:gd name="connsiteX5" fmla="*/ 89738 w 92026"/>
                <a:gd name="connsiteY5" fmla="*/ 18305 h 30508"/>
                <a:gd name="connsiteX6" fmla="*/ 89738 w 92026"/>
                <a:gd name="connsiteY6" fmla="*/ 30509 h 30508"/>
                <a:gd name="connsiteX7" fmla="*/ 83637 w 92026"/>
                <a:gd name="connsiteY7" fmla="*/ 30509 h 3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0508">
                  <a:moveTo>
                    <a:pt x="83637" y="30509"/>
                  </a:moveTo>
                  <a:cubicBezTo>
                    <a:pt x="80586" y="30509"/>
                    <a:pt x="80586" y="30509"/>
                    <a:pt x="77535" y="27458"/>
                  </a:cubicBezTo>
                  <a:cubicBezTo>
                    <a:pt x="53128" y="0"/>
                    <a:pt x="10416" y="21356"/>
                    <a:pt x="10416" y="21356"/>
                  </a:cubicBezTo>
                  <a:cubicBezTo>
                    <a:pt x="7365" y="24407"/>
                    <a:pt x="1264" y="21356"/>
                    <a:pt x="1264" y="18305"/>
                  </a:cubicBezTo>
                  <a:cubicBezTo>
                    <a:pt x="-1787" y="15254"/>
                    <a:pt x="1264" y="9152"/>
                    <a:pt x="4315" y="9152"/>
                  </a:cubicBezTo>
                  <a:cubicBezTo>
                    <a:pt x="22620" y="0"/>
                    <a:pt x="62281" y="-9153"/>
                    <a:pt x="89738" y="18305"/>
                  </a:cubicBezTo>
                  <a:cubicBezTo>
                    <a:pt x="92789" y="21356"/>
                    <a:pt x="92789" y="27458"/>
                    <a:pt x="89738" y="30509"/>
                  </a:cubicBezTo>
                  <a:cubicBezTo>
                    <a:pt x="86687" y="27458"/>
                    <a:pt x="86687" y="30509"/>
                    <a:pt x="83637" y="30509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745D69AA-8348-4E28-AA66-42A02DC943E6}"/>
                </a:ext>
              </a:extLst>
            </p:cNvPr>
            <p:cNvSpPr/>
            <p:nvPr/>
          </p:nvSpPr>
          <p:spPr>
            <a:xfrm>
              <a:off x="2917543" y="7903046"/>
              <a:ext cx="92026" cy="36299"/>
            </a:xfrm>
            <a:custGeom>
              <a:avLst/>
              <a:gdLst>
                <a:gd name="connsiteX0" fmla="*/ 8390 w 92026"/>
                <a:gd name="connsiteY0" fmla="*/ 36300 h 36299"/>
                <a:gd name="connsiteX1" fmla="*/ 2288 w 92026"/>
                <a:gd name="connsiteY1" fmla="*/ 33249 h 36299"/>
                <a:gd name="connsiteX2" fmla="*/ 2288 w 92026"/>
                <a:gd name="connsiteY2" fmla="*/ 21046 h 36299"/>
                <a:gd name="connsiteX3" fmla="*/ 87712 w 92026"/>
                <a:gd name="connsiteY3" fmla="*/ 11893 h 36299"/>
                <a:gd name="connsiteX4" fmla="*/ 90763 w 92026"/>
                <a:gd name="connsiteY4" fmla="*/ 24096 h 36299"/>
                <a:gd name="connsiteX5" fmla="*/ 78559 w 92026"/>
                <a:gd name="connsiteY5" fmla="*/ 27147 h 36299"/>
                <a:gd name="connsiteX6" fmla="*/ 11441 w 92026"/>
                <a:gd name="connsiteY6" fmla="*/ 33249 h 36299"/>
                <a:gd name="connsiteX7" fmla="*/ 8390 w 92026"/>
                <a:gd name="connsiteY7" fmla="*/ 36300 h 3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6299">
                  <a:moveTo>
                    <a:pt x="8390" y="36300"/>
                  </a:moveTo>
                  <a:cubicBezTo>
                    <a:pt x="5339" y="36300"/>
                    <a:pt x="5339" y="36300"/>
                    <a:pt x="2288" y="33249"/>
                  </a:cubicBezTo>
                  <a:cubicBezTo>
                    <a:pt x="-763" y="30198"/>
                    <a:pt x="-763" y="24096"/>
                    <a:pt x="2288" y="21046"/>
                  </a:cubicBezTo>
                  <a:cubicBezTo>
                    <a:pt x="14492" y="5791"/>
                    <a:pt x="51102" y="-12514"/>
                    <a:pt x="87712" y="11893"/>
                  </a:cubicBezTo>
                  <a:cubicBezTo>
                    <a:pt x="90763" y="14944"/>
                    <a:pt x="93814" y="17995"/>
                    <a:pt x="90763" y="24096"/>
                  </a:cubicBezTo>
                  <a:cubicBezTo>
                    <a:pt x="87712" y="27147"/>
                    <a:pt x="84661" y="30198"/>
                    <a:pt x="78559" y="27147"/>
                  </a:cubicBezTo>
                  <a:cubicBezTo>
                    <a:pt x="41949" y="2740"/>
                    <a:pt x="14492" y="33249"/>
                    <a:pt x="11441" y="33249"/>
                  </a:cubicBezTo>
                  <a:cubicBezTo>
                    <a:pt x="11441" y="36300"/>
                    <a:pt x="8390" y="36300"/>
                    <a:pt x="8390" y="36300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BD01E2BE-2B55-4224-993E-7115A010A6D6}"/>
                </a:ext>
              </a:extLst>
            </p:cNvPr>
            <p:cNvSpPr/>
            <p:nvPr/>
          </p:nvSpPr>
          <p:spPr>
            <a:xfrm>
              <a:off x="2778128" y="7968369"/>
              <a:ext cx="77635" cy="114126"/>
            </a:xfrm>
            <a:custGeom>
              <a:avLst/>
              <a:gdLst>
                <a:gd name="connsiteX0" fmla="*/ 65432 w 77635"/>
                <a:gd name="connsiteY0" fmla="*/ 16740 h 114126"/>
                <a:gd name="connsiteX1" fmla="*/ 7466 w 77635"/>
                <a:gd name="connsiteY1" fmla="*/ 7587 h 114126"/>
                <a:gd name="connsiteX2" fmla="*/ 65432 w 77635"/>
                <a:gd name="connsiteY2" fmla="*/ 111316 h 114126"/>
                <a:gd name="connsiteX3" fmla="*/ 65432 w 77635"/>
                <a:gd name="connsiteY3" fmla="*/ 16740 h 11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635" h="114126">
                  <a:moveTo>
                    <a:pt x="65432" y="16740"/>
                  </a:moveTo>
                  <a:cubicBezTo>
                    <a:pt x="65432" y="16740"/>
                    <a:pt x="31872" y="-13769"/>
                    <a:pt x="7466" y="7587"/>
                  </a:cubicBezTo>
                  <a:cubicBezTo>
                    <a:pt x="-16941" y="25892"/>
                    <a:pt x="22720" y="132672"/>
                    <a:pt x="65432" y="111316"/>
                  </a:cubicBezTo>
                  <a:cubicBezTo>
                    <a:pt x="92889" y="89960"/>
                    <a:pt x="65432" y="16740"/>
                    <a:pt x="65432" y="16740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8DFB1D55-95FD-4AC9-89C7-CDDA91367DE9}"/>
                </a:ext>
              </a:extLst>
            </p:cNvPr>
            <p:cNvSpPr/>
            <p:nvPr/>
          </p:nvSpPr>
          <p:spPr>
            <a:xfrm>
              <a:off x="2779288" y="7598743"/>
              <a:ext cx="519387" cy="404670"/>
            </a:xfrm>
            <a:custGeom>
              <a:avLst/>
              <a:gdLst>
                <a:gd name="connsiteX0" fmla="*/ 6305 w 519387"/>
                <a:gd name="connsiteY0" fmla="*/ 303992 h 404670"/>
                <a:gd name="connsiteX1" fmla="*/ 64271 w 519387"/>
                <a:gd name="connsiteY1" fmla="*/ 404670 h 404670"/>
                <a:gd name="connsiteX2" fmla="*/ 116136 w 519387"/>
                <a:gd name="connsiteY2" fmla="*/ 264332 h 404670"/>
                <a:gd name="connsiteX3" fmla="*/ 125288 w 519387"/>
                <a:gd name="connsiteY3" fmla="*/ 261281 h 404670"/>
                <a:gd name="connsiteX4" fmla="*/ 201560 w 519387"/>
                <a:gd name="connsiteY4" fmla="*/ 233823 h 404670"/>
                <a:gd name="connsiteX5" fmla="*/ 213763 w 519387"/>
                <a:gd name="connsiteY5" fmla="*/ 230772 h 404670"/>
                <a:gd name="connsiteX6" fmla="*/ 250373 w 519387"/>
                <a:gd name="connsiteY6" fmla="*/ 252128 h 404670"/>
                <a:gd name="connsiteX7" fmla="*/ 265627 w 519387"/>
                <a:gd name="connsiteY7" fmla="*/ 242975 h 404670"/>
                <a:gd name="connsiteX8" fmla="*/ 317492 w 519387"/>
                <a:gd name="connsiteY8" fmla="*/ 258230 h 404670"/>
                <a:gd name="connsiteX9" fmla="*/ 354102 w 519387"/>
                <a:gd name="connsiteY9" fmla="*/ 267382 h 404670"/>
                <a:gd name="connsiteX10" fmla="*/ 366305 w 519387"/>
                <a:gd name="connsiteY10" fmla="*/ 267382 h 404670"/>
                <a:gd name="connsiteX11" fmla="*/ 378509 w 519387"/>
                <a:gd name="connsiteY11" fmla="*/ 264332 h 404670"/>
                <a:gd name="connsiteX12" fmla="*/ 387661 w 519387"/>
                <a:gd name="connsiteY12" fmla="*/ 270433 h 404670"/>
                <a:gd name="connsiteX13" fmla="*/ 393763 w 519387"/>
                <a:gd name="connsiteY13" fmla="*/ 273484 h 404670"/>
                <a:gd name="connsiteX14" fmla="*/ 399865 w 519387"/>
                <a:gd name="connsiteY14" fmla="*/ 273484 h 404670"/>
                <a:gd name="connsiteX15" fmla="*/ 405966 w 519387"/>
                <a:gd name="connsiteY15" fmla="*/ 276535 h 404670"/>
                <a:gd name="connsiteX16" fmla="*/ 412068 w 519387"/>
                <a:gd name="connsiteY16" fmla="*/ 285687 h 404670"/>
                <a:gd name="connsiteX17" fmla="*/ 430373 w 519387"/>
                <a:gd name="connsiteY17" fmla="*/ 307043 h 404670"/>
                <a:gd name="connsiteX18" fmla="*/ 460882 w 519387"/>
                <a:gd name="connsiteY18" fmla="*/ 319246 h 404670"/>
                <a:gd name="connsiteX19" fmla="*/ 479187 w 519387"/>
                <a:gd name="connsiteY19" fmla="*/ 374162 h 404670"/>
                <a:gd name="connsiteX20" fmla="*/ 488339 w 519387"/>
                <a:gd name="connsiteY20" fmla="*/ 343653 h 404670"/>
                <a:gd name="connsiteX21" fmla="*/ 497492 w 519387"/>
                <a:gd name="connsiteY21" fmla="*/ 340603 h 404670"/>
                <a:gd name="connsiteX22" fmla="*/ 515797 w 519387"/>
                <a:gd name="connsiteY22" fmla="*/ 242975 h 404670"/>
                <a:gd name="connsiteX23" fmla="*/ 497492 w 519387"/>
                <a:gd name="connsiteY23" fmla="*/ 200264 h 404670"/>
                <a:gd name="connsiteX24" fmla="*/ 500543 w 519387"/>
                <a:gd name="connsiteY24" fmla="*/ 166704 h 404670"/>
                <a:gd name="connsiteX25" fmla="*/ 494441 w 519387"/>
                <a:gd name="connsiteY25" fmla="*/ 130094 h 404670"/>
                <a:gd name="connsiteX26" fmla="*/ 476136 w 519387"/>
                <a:gd name="connsiteY26" fmla="*/ 102637 h 404670"/>
                <a:gd name="connsiteX27" fmla="*/ 460882 w 519387"/>
                <a:gd name="connsiteY27" fmla="*/ 59924 h 404670"/>
                <a:gd name="connsiteX28" fmla="*/ 399865 w 519387"/>
                <a:gd name="connsiteY28" fmla="*/ 38569 h 404670"/>
                <a:gd name="connsiteX29" fmla="*/ 274780 w 519387"/>
                <a:gd name="connsiteY29" fmla="*/ 1959 h 404670"/>
                <a:gd name="connsiteX30" fmla="*/ 262577 w 519387"/>
                <a:gd name="connsiteY30" fmla="*/ 8060 h 404670"/>
                <a:gd name="connsiteX31" fmla="*/ 207661 w 519387"/>
                <a:gd name="connsiteY31" fmla="*/ 23314 h 404670"/>
                <a:gd name="connsiteX32" fmla="*/ 174102 w 519387"/>
                <a:gd name="connsiteY32" fmla="*/ 26365 h 404670"/>
                <a:gd name="connsiteX33" fmla="*/ 143593 w 519387"/>
                <a:gd name="connsiteY33" fmla="*/ 59924 h 404670"/>
                <a:gd name="connsiteX34" fmla="*/ 131390 w 519387"/>
                <a:gd name="connsiteY34" fmla="*/ 78230 h 404670"/>
                <a:gd name="connsiteX35" fmla="*/ 100882 w 519387"/>
                <a:gd name="connsiteY35" fmla="*/ 99586 h 404670"/>
                <a:gd name="connsiteX36" fmla="*/ 88678 w 519387"/>
                <a:gd name="connsiteY36" fmla="*/ 96535 h 404670"/>
                <a:gd name="connsiteX37" fmla="*/ 70373 w 519387"/>
                <a:gd name="connsiteY37" fmla="*/ 136196 h 404670"/>
                <a:gd name="connsiteX38" fmla="*/ 6305 w 519387"/>
                <a:gd name="connsiteY38" fmla="*/ 303992 h 40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9387" h="404670">
                  <a:moveTo>
                    <a:pt x="6305" y="303992"/>
                  </a:moveTo>
                  <a:cubicBezTo>
                    <a:pt x="21560" y="358908"/>
                    <a:pt x="64271" y="404670"/>
                    <a:pt x="64271" y="404670"/>
                  </a:cubicBezTo>
                  <a:cubicBezTo>
                    <a:pt x="58170" y="374162"/>
                    <a:pt x="116136" y="264332"/>
                    <a:pt x="116136" y="264332"/>
                  </a:cubicBezTo>
                  <a:cubicBezTo>
                    <a:pt x="116136" y="264332"/>
                    <a:pt x="119187" y="264332"/>
                    <a:pt x="125288" y="261281"/>
                  </a:cubicBezTo>
                  <a:cubicBezTo>
                    <a:pt x="152746" y="261281"/>
                    <a:pt x="180204" y="252128"/>
                    <a:pt x="201560" y="233823"/>
                  </a:cubicBezTo>
                  <a:cubicBezTo>
                    <a:pt x="204610" y="233823"/>
                    <a:pt x="210712" y="230772"/>
                    <a:pt x="213763" y="230772"/>
                  </a:cubicBezTo>
                  <a:cubicBezTo>
                    <a:pt x="222916" y="242975"/>
                    <a:pt x="232068" y="255179"/>
                    <a:pt x="250373" y="252128"/>
                  </a:cubicBezTo>
                  <a:cubicBezTo>
                    <a:pt x="259526" y="252128"/>
                    <a:pt x="262577" y="242975"/>
                    <a:pt x="265627" y="242975"/>
                  </a:cubicBezTo>
                  <a:cubicBezTo>
                    <a:pt x="286983" y="233823"/>
                    <a:pt x="299187" y="249077"/>
                    <a:pt x="317492" y="258230"/>
                  </a:cubicBezTo>
                  <a:cubicBezTo>
                    <a:pt x="329695" y="264332"/>
                    <a:pt x="341899" y="267382"/>
                    <a:pt x="354102" y="267382"/>
                  </a:cubicBezTo>
                  <a:cubicBezTo>
                    <a:pt x="357153" y="267382"/>
                    <a:pt x="363255" y="264332"/>
                    <a:pt x="366305" y="267382"/>
                  </a:cubicBezTo>
                  <a:cubicBezTo>
                    <a:pt x="372407" y="264332"/>
                    <a:pt x="375458" y="264332"/>
                    <a:pt x="378509" y="264332"/>
                  </a:cubicBezTo>
                  <a:cubicBezTo>
                    <a:pt x="381560" y="267382"/>
                    <a:pt x="384610" y="267382"/>
                    <a:pt x="387661" y="270433"/>
                  </a:cubicBezTo>
                  <a:cubicBezTo>
                    <a:pt x="390712" y="270433"/>
                    <a:pt x="390712" y="273484"/>
                    <a:pt x="393763" y="273484"/>
                  </a:cubicBezTo>
                  <a:cubicBezTo>
                    <a:pt x="396814" y="273484"/>
                    <a:pt x="396814" y="273484"/>
                    <a:pt x="399865" y="273484"/>
                  </a:cubicBezTo>
                  <a:cubicBezTo>
                    <a:pt x="402916" y="273484"/>
                    <a:pt x="405966" y="276535"/>
                    <a:pt x="405966" y="276535"/>
                  </a:cubicBezTo>
                  <a:cubicBezTo>
                    <a:pt x="409017" y="279586"/>
                    <a:pt x="412068" y="282636"/>
                    <a:pt x="412068" y="285687"/>
                  </a:cubicBezTo>
                  <a:cubicBezTo>
                    <a:pt x="418170" y="294840"/>
                    <a:pt x="421221" y="300942"/>
                    <a:pt x="430373" y="307043"/>
                  </a:cubicBezTo>
                  <a:cubicBezTo>
                    <a:pt x="436475" y="313145"/>
                    <a:pt x="448678" y="313145"/>
                    <a:pt x="460882" y="319246"/>
                  </a:cubicBezTo>
                  <a:cubicBezTo>
                    <a:pt x="476136" y="337552"/>
                    <a:pt x="482238" y="355857"/>
                    <a:pt x="479187" y="374162"/>
                  </a:cubicBezTo>
                  <a:cubicBezTo>
                    <a:pt x="479187" y="374162"/>
                    <a:pt x="482238" y="361959"/>
                    <a:pt x="488339" y="343653"/>
                  </a:cubicBezTo>
                  <a:cubicBezTo>
                    <a:pt x="491390" y="346704"/>
                    <a:pt x="494441" y="346704"/>
                    <a:pt x="497492" y="340603"/>
                  </a:cubicBezTo>
                  <a:cubicBezTo>
                    <a:pt x="515797" y="310094"/>
                    <a:pt x="524949" y="276535"/>
                    <a:pt x="515797" y="242975"/>
                  </a:cubicBezTo>
                  <a:cubicBezTo>
                    <a:pt x="512746" y="227721"/>
                    <a:pt x="503593" y="215518"/>
                    <a:pt x="497492" y="200264"/>
                  </a:cubicBezTo>
                  <a:cubicBezTo>
                    <a:pt x="488339" y="181958"/>
                    <a:pt x="497492" y="181958"/>
                    <a:pt x="500543" y="166704"/>
                  </a:cubicBezTo>
                  <a:cubicBezTo>
                    <a:pt x="503593" y="154501"/>
                    <a:pt x="497492" y="142298"/>
                    <a:pt x="494441" y="130094"/>
                  </a:cubicBezTo>
                  <a:cubicBezTo>
                    <a:pt x="488339" y="120941"/>
                    <a:pt x="482238" y="111789"/>
                    <a:pt x="476136" y="102637"/>
                  </a:cubicBezTo>
                  <a:cubicBezTo>
                    <a:pt x="463932" y="87382"/>
                    <a:pt x="466983" y="75179"/>
                    <a:pt x="460882" y="59924"/>
                  </a:cubicBezTo>
                  <a:cubicBezTo>
                    <a:pt x="448678" y="32467"/>
                    <a:pt x="424271" y="38569"/>
                    <a:pt x="399865" y="38569"/>
                  </a:cubicBezTo>
                  <a:cubicBezTo>
                    <a:pt x="357153" y="38569"/>
                    <a:pt x="320543" y="-10245"/>
                    <a:pt x="274780" y="1959"/>
                  </a:cubicBezTo>
                  <a:cubicBezTo>
                    <a:pt x="268678" y="1959"/>
                    <a:pt x="265627" y="5010"/>
                    <a:pt x="262577" y="8060"/>
                  </a:cubicBezTo>
                  <a:cubicBezTo>
                    <a:pt x="244271" y="17213"/>
                    <a:pt x="225966" y="23314"/>
                    <a:pt x="207661" y="23314"/>
                  </a:cubicBezTo>
                  <a:cubicBezTo>
                    <a:pt x="195458" y="23314"/>
                    <a:pt x="186305" y="20264"/>
                    <a:pt x="174102" y="26365"/>
                  </a:cubicBezTo>
                  <a:cubicBezTo>
                    <a:pt x="158848" y="32467"/>
                    <a:pt x="152746" y="47721"/>
                    <a:pt x="143593" y="59924"/>
                  </a:cubicBezTo>
                  <a:cubicBezTo>
                    <a:pt x="140543" y="66027"/>
                    <a:pt x="134441" y="72128"/>
                    <a:pt x="131390" y="78230"/>
                  </a:cubicBezTo>
                  <a:cubicBezTo>
                    <a:pt x="119187" y="84331"/>
                    <a:pt x="110034" y="93484"/>
                    <a:pt x="100882" y="99586"/>
                  </a:cubicBezTo>
                  <a:cubicBezTo>
                    <a:pt x="100882" y="96535"/>
                    <a:pt x="103932" y="84331"/>
                    <a:pt x="88678" y="96535"/>
                  </a:cubicBezTo>
                  <a:cubicBezTo>
                    <a:pt x="73424" y="105687"/>
                    <a:pt x="70373" y="120941"/>
                    <a:pt x="70373" y="136196"/>
                  </a:cubicBezTo>
                  <a:cubicBezTo>
                    <a:pt x="204" y="157552"/>
                    <a:pt x="-8949" y="246026"/>
                    <a:pt x="6305" y="303992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BD58B27D-D3D1-4CEA-9170-BAA6C52885F5}"/>
                </a:ext>
              </a:extLst>
            </p:cNvPr>
            <p:cNvSpPr/>
            <p:nvPr/>
          </p:nvSpPr>
          <p:spPr>
            <a:xfrm>
              <a:off x="2895424" y="8189515"/>
              <a:ext cx="250169" cy="258417"/>
            </a:xfrm>
            <a:custGeom>
              <a:avLst/>
              <a:gdLst>
                <a:gd name="connsiteX0" fmla="*/ 250169 w 250169"/>
                <a:gd name="connsiteY0" fmla="*/ 39661 h 258417"/>
                <a:gd name="connsiteX1" fmla="*/ 244068 w 250169"/>
                <a:gd name="connsiteY1" fmla="*/ 213559 h 258417"/>
                <a:gd name="connsiteX2" fmla="*/ 0 w 250169"/>
                <a:gd name="connsiteY2" fmla="*/ 204407 h 258417"/>
                <a:gd name="connsiteX3" fmla="*/ 15254 w 250169"/>
                <a:gd name="connsiteY3" fmla="*/ 0 h 258417"/>
                <a:gd name="connsiteX4" fmla="*/ 250169 w 250169"/>
                <a:gd name="connsiteY4" fmla="*/ 39661 h 25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69" h="258417">
                  <a:moveTo>
                    <a:pt x="250169" y="39661"/>
                  </a:moveTo>
                  <a:cubicBezTo>
                    <a:pt x="250169" y="39661"/>
                    <a:pt x="244068" y="140339"/>
                    <a:pt x="244068" y="213559"/>
                  </a:cubicBezTo>
                  <a:cubicBezTo>
                    <a:pt x="244068" y="213559"/>
                    <a:pt x="149492" y="320339"/>
                    <a:pt x="0" y="204407"/>
                  </a:cubicBezTo>
                  <a:cubicBezTo>
                    <a:pt x="0" y="143390"/>
                    <a:pt x="12203" y="64068"/>
                    <a:pt x="15254" y="0"/>
                  </a:cubicBezTo>
                  <a:cubicBezTo>
                    <a:pt x="15254" y="0"/>
                    <a:pt x="198305" y="51864"/>
                    <a:pt x="250169" y="3966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7E91A3CF-ADB4-47F0-AA9D-B08B228BE45B}"/>
                </a:ext>
              </a:extLst>
            </p:cNvPr>
            <p:cNvSpPr/>
            <p:nvPr/>
          </p:nvSpPr>
          <p:spPr>
            <a:xfrm>
              <a:off x="2480509" y="8354261"/>
              <a:ext cx="1223844" cy="1567951"/>
            </a:xfrm>
            <a:custGeom>
              <a:avLst/>
              <a:gdLst>
                <a:gd name="connsiteX0" fmla="*/ 396610 w 1223844"/>
                <a:gd name="connsiteY0" fmla="*/ 0 h 1567951"/>
                <a:gd name="connsiteX1" fmla="*/ 686441 w 1223844"/>
                <a:gd name="connsiteY1" fmla="*/ 0 h 1567951"/>
                <a:gd name="connsiteX2" fmla="*/ 985424 w 1223844"/>
                <a:gd name="connsiteY2" fmla="*/ 131187 h 1567951"/>
                <a:gd name="connsiteX3" fmla="*/ 1070847 w 1223844"/>
                <a:gd name="connsiteY3" fmla="*/ 1537627 h 1567951"/>
                <a:gd name="connsiteX4" fmla="*/ 0 w 1223844"/>
                <a:gd name="connsiteY4" fmla="*/ 1513220 h 1567951"/>
                <a:gd name="connsiteX5" fmla="*/ 115932 w 1223844"/>
                <a:gd name="connsiteY5" fmla="*/ 103729 h 1567951"/>
                <a:gd name="connsiteX6" fmla="*/ 396610 w 1223844"/>
                <a:gd name="connsiteY6" fmla="*/ 0 h 156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3844" h="1567951">
                  <a:moveTo>
                    <a:pt x="396610" y="0"/>
                  </a:moveTo>
                  <a:cubicBezTo>
                    <a:pt x="396610" y="0"/>
                    <a:pt x="570509" y="54915"/>
                    <a:pt x="686441" y="0"/>
                  </a:cubicBezTo>
                  <a:cubicBezTo>
                    <a:pt x="686441" y="0"/>
                    <a:pt x="961017" y="97627"/>
                    <a:pt x="985424" y="131187"/>
                  </a:cubicBezTo>
                  <a:cubicBezTo>
                    <a:pt x="1009831" y="161695"/>
                    <a:pt x="1449153" y="1202034"/>
                    <a:pt x="1070847" y="1537627"/>
                  </a:cubicBezTo>
                  <a:cubicBezTo>
                    <a:pt x="1070847" y="1537627"/>
                    <a:pt x="579661" y="1620000"/>
                    <a:pt x="0" y="1513220"/>
                  </a:cubicBezTo>
                  <a:cubicBezTo>
                    <a:pt x="0" y="1156272"/>
                    <a:pt x="73220" y="134238"/>
                    <a:pt x="115932" y="103729"/>
                  </a:cubicBezTo>
                  <a:cubicBezTo>
                    <a:pt x="158644" y="73221"/>
                    <a:pt x="396610" y="0"/>
                    <a:pt x="396610" y="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B268C220-DFF1-4B24-8458-8744104D86A7}"/>
                </a:ext>
              </a:extLst>
            </p:cNvPr>
            <p:cNvSpPr/>
            <p:nvPr/>
          </p:nvSpPr>
          <p:spPr>
            <a:xfrm>
              <a:off x="3458475" y="8477990"/>
              <a:ext cx="249738" cy="852542"/>
            </a:xfrm>
            <a:custGeom>
              <a:avLst/>
              <a:gdLst>
                <a:gd name="connsiteX0" fmla="*/ 245424 w 249738"/>
                <a:gd name="connsiteY0" fmla="*/ 852542 h 852542"/>
                <a:gd name="connsiteX1" fmla="*/ 239322 w 249738"/>
                <a:gd name="connsiteY1" fmla="*/ 846441 h 852542"/>
                <a:gd name="connsiteX2" fmla="*/ 1356 w 249738"/>
                <a:gd name="connsiteY2" fmla="*/ 10509 h 852542"/>
                <a:gd name="connsiteX3" fmla="*/ 1356 w 249738"/>
                <a:gd name="connsiteY3" fmla="*/ 1356 h 852542"/>
                <a:gd name="connsiteX4" fmla="*/ 10509 w 249738"/>
                <a:gd name="connsiteY4" fmla="*/ 1356 h 852542"/>
                <a:gd name="connsiteX5" fmla="*/ 248475 w 249738"/>
                <a:gd name="connsiteY5" fmla="*/ 843390 h 852542"/>
                <a:gd name="connsiteX6" fmla="*/ 245424 w 249738"/>
                <a:gd name="connsiteY6" fmla="*/ 852542 h 852542"/>
                <a:gd name="connsiteX7" fmla="*/ 245424 w 249738"/>
                <a:gd name="connsiteY7" fmla="*/ 852542 h 85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738" h="852542">
                  <a:moveTo>
                    <a:pt x="245424" y="852542"/>
                  </a:moveTo>
                  <a:cubicBezTo>
                    <a:pt x="242373" y="852542"/>
                    <a:pt x="239322" y="849492"/>
                    <a:pt x="239322" y="846441"/>
                  </a:cubicBezTo>
                  <a:cubicBezTo>
                    <a:pt x="239322" y="840339"/>
                    <a:pt x="141695" y="205763"/>
                    <a:pt x="1356" y="10509"/>
                  </a:cubicBezTo>
                  <a:cubicBezTo>
                    <a:pt x="-1695" y="7458"/>
                    <a:pt x="1356" y="4407"/>
                    <a:pt x="1356" y="1356"/>
                  </a:cubicBezTo>
                  <a:cubicBezTo>
                    <a:pt x="4407" y="-1695"/>
                    <a:pt x="7458" y="1356"/>
                    <a:pt x="10509" y="1356"/>
                  </a:cubicBezTo>
                  <a:cubicBezTo>
                    <a:pt x="150847" y="199661"/>
                    <a:pt x="248475" y="837288"/>
                    <a:pt x="248475" y="843390"/>
                  </a:cubicBezTo>
                  <a:cubicBezTo>
                    <a:pt x="251525" y="849492"/>
                    <a:pt x="248475" y="852542"/>
                    <a:pt x="245424" y="852542"/>
                  </a:cubicBezTo>
                  <a:cubicBezTo>
                    <a:pt x="245424" y="852542"/>
                    <a:pt x="245424" y="852542"/>
                    <a:pt x="245424" y="852542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CDF2127D-B49A-4D17-9C34-6067258B6D6B}"/>
                </a:ext>
              </a:extLst>
            </p:cNvPr>
            <p:cNvSpPr/>
            <p:nvPr/>
          </p:nvSpPr>
          <p:spPr>
            <a:xfrm>
              <a:off x="2910678" y="8223074"/>
              <a:ext cx="245331" cy="64067"/>
            </a:xfrm>
            <a:custGeom>
              <a:avLst/>
              <a:gdLst>
                <a:gd name="connsiteX0" fmla="*/ 137288 w 245331"/>
                <a:gd name="connsiteY0" fmla="*/ 64068 h 64067"/>
                <a:gd name="connsiteX1" fmla="*/ 125085 w 245331"/>
                <a:gd name="connsiteY1" fmla="*/ 64068 h 64067"/>
                <a:gd name="connsiteX2" fmla="*/ 51864 w 245331"/>
                <a:gd name="connsiteY2" fmla="*/ 36611 h 64067"/>
                <a:gd name="connsiteX3" fmla="*/ 3051 w 245331"/>
                <a:gd name="connsiteY3" fmla="*/ 12204 h 64067"/>
                <a:gd name="connsiteX4" fmla="*/ 0 w 245331"/>
                <a:gd name="connsiteY4" fmla="*/ 3051 h 64067"/>
                <a:gd name="connsiteX5" fmla="*/ 9153 w 245331"/>
                <a:gd name="connsiteY5" fmla="*/ 0 h 64067"/>
                <a:gd name="connsiteX6" fmla="*/ 57966 w 245331"/>
                <a:gd name="connsiteY6" fmla="*/ 24407 h 64067"/>
                <a:gd name="connsiteX7" fmla="*/ 149492 w 245331"/>
                <a:gd name="connsiteY7" fmla="*/ 51865 h 64067"/>
                <a:gd name="connsiteX8" fmla="*/ 161695 w 245331"/>
                <a:gd name="connsiteY8" fmla="*/ 51865 h 64067"/>
                <a:gd name="connsiteX9" fmla="*/ 210508 w 245331"/>
                <a:gd name="connsiteY9" fmla="*/ 33560 h 64067"/>
                <a:gd name="connsiteX10" fmla="*/ 219661 w 245331"/>
                <a:gd name="connsiteY10" fmla="*/ 27458 h 64067"/>
                <a:gd name="connsiteX11" fmla="*/ 225763 w 245331"/>
                <a:gd name="connsiteY11" fmla="*/ 27458 h 64067"/>
                <a:gd name="connsiteX12" fmla="*/ 234915 w 245331"/>
                <a:gd name="connsiteY12" fmla="*/ 21356 h 64067"/>
                <a:gd name="connsiteX13" fmla="*/ 244068 w 245331"/>
                <a:gd name="connsiteY13" fmla="*/ 24407 h 64067"/>
                <a:gd name="connsiteX14" fmla="*/ 241017 w 245331"/>
                <a:gd name="connsiteY14" fmla="*/ 33560 h 64067"/>
                <a:gd name="connsiteX15" fmla="*/ 216610 w 245331"/>
                <a:gd name="connsiteY15" fmla="*/ 45763 h 64067"/>
                <a:gd name="connsiteX16" fmla="*/ 161695 w 245331"/>
                <a:gd name="connsiteY16" fmla="*/ 64068 h 64067"/>
                <a:gd name="connsiteX17" fmla="*/ 137288 w 245331"/>
                <a:gd name="connsiteY17" fmla="*/ 64068 h 64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5331" h="64067">
                  <a:moveTo>
                    <a:pt x="137288" y="64068"/>
                  </a:moveTo>
                  <a:cubicBezTo>
                    <a:pt x="131186" y="64068"/>
                    <a:pt x="128136" y="64068"/>
                    <a:pt x="125085" y="64068"/>
                  </a:cubicBezTo>
                  <a:cubicBezTo>
                    <a:pt x="106780" y="61017"/>
                    <a:pt x="76271" y="48814"/>
                    <a:pt x="51864" y="36611"/>
                  </a:cubicBezTo>
                  <a:cubicBezTo>
                    <a:pt x="24407" y="24407"/>
                    <a:pt x="3051" y="12204"/>
                    <a:pt x="3051" y="12204"/>
                  </a:cubicBezTo>
                  <a:cubicBezTo>
                    <a:pt x="0" y="9153"/>
                    <a:pt x="0" y="6102"/>
                    <a:pt x="0" y="3051"/>
                  </a:cubicBezTo>
                  <a:cubicBezTo>
                    <a:pt x="3051" y="0"/>
                    <a:pt x="6102" y="0"/>
                    <a:pt x="9153" y="0"/>
                  </a:cubicBezTo>
                  <a:cubicBezTo>
                    <a:pt x="9153" y="0"/>
                    <a:pt x="30508" y="12204"/>
                    <a:pt x="57966" y="24407"/>
                  </a:cubicBezTo>
                  <a:cubicBezTo>
                    <a:pt x="88475" y="36611"/>
                    <a:pt x="125085" y="51865"/>
                    <a:pt x="149492" y="51865"/>
                  </a:cubicBezTo>
                  <a:cubicBezTo>
                    <a:pt x="152542" y="51865"/>
                    <a:pt x="158644" y="51865"/>
                    <a:pt x="161695" y="51865"/>
                  </a:cubicBezTo>
                  <a:cubicBezTo>
                    <a:pt x="180000" y="48814"/>
                    <a:pt x="198305" y="39661"/>
                    <a:pt x="210508" y="33560"/>
                  </a:cubicBezTo>
                  <a:cubicBezTo>
                    <a:pt x="216610" y="30508"/>
                    <a:pt x="219661" y="27458"/>
                    <a:pt x="219661" y="27458"/>
                  </a:cubicBezTo>
                  <a:cubicBezTo>
                    <a:pt x="219661" y="27458"/>
                    <a:pt x="222712" y="27458"/>
                    <a:pt x="225763" y="27458"/>
                  </a:cubicBezTo>
                  <a:cubicBezTo>
                    <a:pt x="231864" y="24407"/>
                    <a:pt x="234915" y="21356"/>
                    <a:pt x="234915" y="21356"/>
                  </a:cubicBezTo>
                  <a:cubicBezTo>
                    <a:pt x="237966" y="18305"/>
                    <a:pt x="241017" y="21356"/>
                    <a:pt x="244068" y="24407"/>
                  </a:cubicBezTo>
                  <a:cubicBezTo>
                    <a:pt x="247119" y="27458"/>
                    <a:pt x="244068" y="30508"/>
                    <a:pt x="241017" y="33560"/>
                  </a:cubicBezTo>
                  <a:cubicBezTo>
                    <a:pt x="241017" y="33560"/>
                    <a:pt x="231864" y="39661"/>
                    <a:pt x="216610" y="45763"/>
                  </a:cubicBezTo>
                  <a:cubicBezTo>
                    <a:pt x="204407" y="51865"/>
                    <a:pt x="186102" y="61017"/>
                    <a:pt x="161695" y="64068"/>
                  </a:cubicBezTo>
                  <a:cubicBezTo>
                    <a:pt x="152542" y="64068"/>
                    <a:pt x="146441" y="64068"/>
                    <a:pt x="137288" y="64068"/>
                  </a:cubicBezTo>
                  <a:close/>
                </a:path>
              </a:pathLst>
            </a:custGeom>
            <a:solidFill>
              <a:srgbClr val="E87952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3" name="图形 1">
              <a:extLst>
                <a:ext uri="{FF2B5EF4-FFF2-40B4-BE49-F238E27FC236}">
                  <a16:creationId xmlns:a16="http://schemas.microsoft.com/office/drawing/2014/main" id="{00DABED4-CDD6-4D4B-8AAE-5FB7E8FD8316}"/>
                </a:ext>
              </a:extLst>
            </p:cNvPr>
            <p:cNvGrpSpPr/>
            <p:nvPr/>
          </p:nvGrpSpPr>
          <p:grpSpPr>
            <a:xfrm>
              <a:off x="2540000" y="7504728"/>
              <a:ext cx="798565" cy="346143"/>
              <a:chOff x="2540000" y="7504728"/>
              <a:chExt cx="798565" cy="346143"/>
            </a:xfrm>
          </p:grpSpPr>
          <p:grpSp>
            <p:nvGrpSpPr>
              <p:cNvPr id="58" name="图形 1">
                <a:extLst>
                  <a:ext uri="{FF2B5EF4-FFF2-40B4-BE49-F238E27FC236}">
                    <a16:creationId xmlns:a16="http://schemas.microsoft.com/office/drawing/2014/main" id="{CA54B3E1-6E75-4D24-B1B6-2B92986F0E2D}"/>
                  </a:ext>
                </a:extLst>
              </p:cNvPr>
              <p:cNvGrpSpPr/>
              <p:nvPr/>
            </p:nvGrpSpPr>
            <p:grpSpPr>
              <a:xfrm>
                <a:off x="2540000" y="7504728"/>
                <a:ext cx="773413" cy="325789"/>
                <a:chOff x="2540000" y="7504728"/>
                <a:chExt cx="773413" cy="325789"/>
              </a:xfrm>
            </p:grpSpPr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200554D8-C9BC-419B-9B8F-1C32C7E54BA5}"/>
                    </a:ext>
                  </a:extLst>
                </p:cNvPr>
                <p:cNvSpPr/>
                <p:nvPr/>
              </p:nvSpPr>
              <p:spPr>
                <a:xfrm>
                  <a:off x="2694068" y="7504728"/>
                  <a:ext cx="619345" cy="325789"/>
                </a:xfrm>
                <a:custGeom>
                  <a:avLst/>
                  <a:gdLst>
                    <a:gd name="connsiteX0" fmla="*/ 442373 w 619345"/>
                    <a:gd name="connsiteY0" fmla="*/ 19703 h 325789"/>
                    <a:gd name="connsiteX1" fmla="*/ 3051 w 619345"/>
                    <a:gd name="connsiteY1" fmla="*/ 138685 h 325789"/>
                    <a:gd name="connsiteX2" fmla="*/ 0 w 619345"/>
                    <a:gd name="connsiteY2" fmla="*/ 147838 h 325789"/>
                    <a:gd name="connsiteX3" fmla="*/ 76271 w 619345"/>
                    <a:gd name="connsiteY3" fmla="*/ 208855 h 325789"/>
                    <a:gd name="connsiteX4" fmla="*/ 54915 w 619345"/>
                    <a:gd name="connsiteY4" fmla="*/ 294279 h 325789"/>
                    <a:gd name="connsiteX5" fmla="*/ 57966 w 619345"/>
                    <a:gd name="connsiteY5" fmla="*/ 300381 h 325789"/>
                    <a:gd name="connsiteX6" fmla="*/ 64068 w 619345"/>
                    <a:gd name="connsiteY6" fmla="*/ 303432 h 325789"/>
                    <a:gd name="connsiteX7" fmla="*/ 399661 w 619345"/>
                    <a:gd name="connsiteY7" fmla="*/ 324787 h 325789"/>
                    <a:gd name="connsiteX8" fmla="*/ 613220 w 619345"/>
                    <a:gd name="connsiteY8" fmla="*/ 282076 h 325789"/>
                    <a:gd name="connsiteX9" fmla="*/ 619322 w 619345"/>
                    <a:gd name="connsiteY9" fmla="*/ 272923 h 325789"/>
                    <a:gd name="connsiteX10" fmla="*/ 442373 w 619345"/>
                    <a:gd name="connsiteY10" fmla="*/ 19703 h 325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19345" h="325789">
                      <a:moveTo>
                        <a:pt x="442373" y="19703"/>
                      </a:moveTo>
                      <a:cubicBezTo>
                        <a:pt x="277627" y="-29111"/>
                        <a:pt x="118983" y="13601"/>
                        <a:pt x="3051" y="138685"/>
                      </a:cubicBezTo>
                      <a:cubicBezTo>
                        <a:pt x="0" y="141737"/>
                        <a:pt x="0" y="144788"/>
                        <a:pt x="0" y="147838"/>
                      </a:cubicBezTo>
                      <a:cubicBezTo>
                        <a:pt x="0" y="150889"/>
                        <a:pt x="21356" y="196652"/>
                        <a:pt x="76271" y="208855"/>
                      </a:cubicBezTo>
                      <a:cubicBezTo>
                        <a:pt x="61017" y="248516"/>
                        <a:pt x="54915" y="291228"/>
                        <a:pt x="54915" y="294279"/>
                      </a:cubicBezTo>
                      <a:cubicBezTo>
                        <a:pt x="54915" y="297330"/>
                        <a:pt x="54915" y="300381"/>
                        <a:pt x="57966" y="300381"/>
                      </a:cubicBezTo>
                      <a:cubicBezTo>
                        <a:pt x="57966" y="303432"/>
                        <a:pt x="61017" y="303432"/>
                        <a:pt x="64068" y="303432"/>
                      </a:cubicBezTo>
                      <a:cubicBezTo>
                        <a:pt x="204407" y="324787"/>
                        <a:pt x="314237" y="327838"/>
                        <a:pt x="399661" y="324787"/>
                      </a:cubicBezTo>
                      <a:cubicBezTo>
                        <a:pt x="540000" y="315635"/>
                        <a:pt x="610170" y="285126"/>
                        <a:pt x="613220" y="282076"/>
                      </a:cubicBezTo>
                      <a:cubicBezTo>
                        <a:pt x="616271" y="282076"/>
                        <a:pt x="619322" y="279025"/>
                        <a:pt x="619322" y="272923"/>
                      </a:cubicBezTo>
                      <a:cubicBezTo>
                        <a:pt x="619322" y="272923"/>
                        <a:pt x="625424" y="74618"/>
                        <a:pt x="442373" y="1970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D548A249-AAFC-4627-87E5-6DC91FCF4234}"/>
                    </a:ext>
                  </a:extLst>
                </p:cNvPr>
                <p:cNvSpPr/>
                <p:nvPr/>
              </p:nvSpPr>
              <p:spPr>
                <a:xfrm>
                  <a:off x="2540000" y="7539685"/>
                  <a:ext cx="216228" cy="205603"/>
                </a:xfrm>
                <a:custGeom>
                  <a:avLst/>
                  <a:gdLst>
                    <a:gd name="connsiteX0" fmla="*/ 215085 w 216228"/>
                    <a:gd name="connsiteY0" fmla="*/ 97627 h 205603"/>
                    <a:gd name="connsiteX1" fmla="*/ 205932 w 216228"/>
                    <a:gd name="connsiteY1" fmla="*/ 67119 h 205603"/>
                    <a:gd name="connsiteX2" fmla="*/ 193729 w 216228"/>
                    <a:gd name="connsiteY2" fmla="*/ 57966 h 205603"/>
                    <a:gd name="connsiteX3" fmla="*/ 181525 w 216228"/>
                    <a:gd name="connsiteY3" fmla="*/ 30508 h 205603"/>
                    <a:gd name="connsiteX4" fmla="*/ 160169 w 216228"/>
                    <a:gd name="connsiteY4" fmla="*/ 21356 h 205603"/>
                    <a:gd name="connsiteX5" fmla="*/ 144915 w 216228"/>
                    <a:gd name="connsiteY5" fmla="*/ 21356 h 205603"/>
                    <a:gd name="connsiteX6" fmla="*/ 99153 w 216228"/>
                    <a:gd name="connsiteY6" fmla="*/ 0 h 205603"/>
                    <a:gd name="connsiteX7" fmla="*/ 56441 w 216228"/>
                    <a:gd name="connsiteY7" fmla="*/ 30508 h 205603"/>
                    <a:gd name="connsiteX8" fmla="*/ 13729 w 216228"/>
                    <a:gd name="connsiteY8" fmla="*/ 73220 h 205603"/>
                    <a:gd name="connsiteX9" fmla="*/ 13729 w 216228"/>
                    <a:gd name="connsiteY9" fmla="*/ 128136 h 205603"/>
                    <a:gd name="connsiteX10" fmla="*/ 22881 w 216228"/>
                    <a:gd name="connsiteY10" fmla="*/ 170848 h 205603"/>
                    <a:gd name="connsiteX11" fmla="*/ 50339 w 216228"/>
                    <a:gd name="connsiteY11" fmla="*/ 183051 h 205603"/>
                    <a:gd name="connsiteX12" fmla="*/ 56441 w 216228"/>
                    <a:gd name="connsiteY12" fmla="*/ 183051 h 205603"/>
                    <a:gd name="connsiteX13" fmla="*/ 56441 w 216228"/>
                    <a:gd name="connsiteY13" fmla="*/ 183051 h 205603"/>
                    <a:gd name="connsiteX14" fmla="*/ 83898 w 216228"/>
                    <a:gd name="connsiteY14" fmla="*/ 204407 h 205603"/>
                    <a:gd name="connsiteX15" fmla="*/ 117458 w 216228"/>
                    <a:gd name="connsiteY15" fmla="*/ 198305 h 205603"/>
                    <a:gd name="connsiteX16" fmla="*/ 141864 w 216228"/>
                    <a:gd name="connsiteY16" fmla="*/ 198305 h 205603"/>
                    <a:gd name="connsiteX17" fmla="*/ 169322 w 216228"/>
                    <a:gd name="connsiteY17" fmla="*/ 176949 h 205603"/>
                    <a:gd name="connsiteX18" fmla="*/ 175424 w 216228"/>
                    <a:gd name="connsiteY18" fmla="*/ 161695 h 205603"/>
                    <a:gd name="connsiteX19" fmla="*/ 193729 w 216228"/>
                    <a:gd name="connsiteY19" fmla="*/ 146441 h 205603"/>
                    <a:gd name="connsiteX20" fmla="*/ 193729 w 216228"/>
                    <a:gd name="connsiteY20" fmla="*/ 118983 h 205603"/>
                    <a:gd name="connsiteX21" fmla="*/ 196780 w 216228"/>
                    <a:gd name="connsiteY21" fmla="*/ 115932 h 205603"/>
                    <a:gd name="connsiteX22" fmla="*/ 215085 w 216228"/>
                    <a:gd name="connsiteY22" fmla="*/ 97627 h 205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16228" h="205603">
                      <a:moveTo>
                        <a:pt x="215085" y="97627"/>
                      </a:moveTo>
                      <a:cubicBezTo>
                        <a:pt x="218136" y="88474"/>
                        <a:pt x="215085" y="73220"/>
                        <a:pt x="205932" y="67119"/>
                      </a:cubicBezTo>
                      <a:cubicBezTo>
                        <a:pt x="202881" y="64068"/>
                        <a:pt x="196780" y="61017"/>
                        <a:pt x="193729" y="57966"/>
                      </a:cubicBezTo>
                      <a:cubicBezTo>
                        <a:pt x="193729" y="48814"/>
                        <a:pt x="190678" y="39661"/>
                        <a:pt x="181525" y="30508"/>
                      </a:cubicBezTo>
                      <a:cubicBezTo>
                        <a:pt x="175424" y="24407"/>
                        <a:pt x="169322" y="21356"/>
                        <a:pt x="160169" y="21356"/>
                      </a:cubicBezTo>
                      <a:cubicBezTo>
                        <a:pt x="157119" y="21356"/>
                        <a:pt x="151017" y="21356"/>
                        <a:pt x="144915" y="21356"/>
                      </a:cubicBezTo>
                      <a:cubicBezTo>
                        <a:pt x="135763" y="9153"/>
                        <a:pt x="120508" y="0"/>
                        <a:pt x="99153" y="0"/>
                      </a:cubicBezTo>
                      <a:cubicBezTo>
                        <a:pt x="80847" y="3051"/>
                        <a:pt x="65593" y="15254"/>
                        <a:pt x="56441" y="30508"/>
                      </a:cubicBezTo>
                      <a:cubicBezTo>
                        <a:pt x="28983" y="30508"/>
                        <a:pt x="13729" y="51864"/>
                        <a:pt x="13729" y="73220"/>
                      </a:cubicBezTo>
                      <a:cubicBezTo>
                        <a:pt x="-4576" y="88474"/>
                        <a:pt x="-4576" y="115932"/>
                        <a:pt x="13729" y="128136"/>
                      </a:cubicBezTo>
                      <a:cubicBezTo>
                        <a:pt x="10678" y="143390"/>
                        <a:pt x="13729" y="158644"/>
                        <a:pt x="22881" y="170848"/>
                      </a:cubicBezTo>
                      <a:cubicBezTo>
                        <a:pt x="28983" y="180000"/>
                        <a:pt x="38136" y="183051"/>
                        <a:pt x="50339" y="183051"/>
                      </a:cubicBezTo>
                      <a:cubicBezTo>
                        <a:pt x="53390" y="183051"/>
                        <a:pt x="53390" y="183051"/>
                        <a:pt x="56441" y="183051"/>
                      </a:cubicBezTo>
                      <a:cubicBezTo>
                        <a:pt x="56441" y="183051"/>
                        <a:pt x="56441" y="183051"/>
                        <a:pt x="56441" y="183051"/>
                      </a:cubicBezTo>
                      <a:cubicBezTo>
                        <a:pt x="62542" y="195254"/>
                        <a:pt x="71695" y="204407"/>
                        <a:pt x="83898" y="204407"/>
                      </a:cubicBezTo>
                      <a:cubicBezTo>
                        <a:pt x="96102" y="207458"/>
                        <a:pt x="108305" y="204407"/>
                        <a:pt x="117458" y="198305"/>
                      </a:cubicBezTo>
                      <a:cubicBezTo>
                        <a:pt x="126610" y="201356"/>
                        <a:pt x="132712" y="201356"/>
                        <a:pt x="141864" y="198305"/>
                      </a:cubicBezTo>
                      <a:cubicBezTo>
                        <a:pt x="154068" y="195254"/>
                        <a:pt x="163220" y="189152"/>
                        <a:pt x="169322" y="176949"/>
                      </a:cubicBezTo>
                      <a:cubicBezTo>
                        <a:pt x="172373" y="173898"/>
                        <a:pt x="175424" y="167797"/>
                        <a:pt x="175424" y="161695"/>
                      </a:cubicBezTo>
                      <a:cubicBezTo>
                        <a:pt x="181525" y="158644"/>
                        <a:pt x="190678" y="155593"/>
                        <a:pt x="193729" y="146441"/>
                      </a:cubicBezTo>
                      <a:cubicBezTo>
                        <a:pt x="199831" y="134237"/>
                        <a:pt x="196780" y="128136"/>
                        <a:pt x="193729" y="118983"/>
                      </a:cubicBezTo>
                      <a:cubicBezTo>
                        <a:pt x="193729" y="118983"/>
                        <a:pt x="196780" y="118983"/>
                        <a:pt x="196780" y="115932"/>
                      </a:cubicBezTo>
                      <a:cubicBezTo>
                        <a:pt x="208983" y="112881"/>
                        <a:pt x="212034" y="106780"/>
                        <a:pt x="215085" y="9762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DB7B988D-1282-4FDD-84C0-57FADD1E012F}"/>
                  </a:ext>
                </a:extLst>
              </p:cNvPr>
              <p:cNvSpPr/>
              <p:nvPr/>
            </p:nvSpPr>
            <p:spPr>
              <a:xfrm>
                <a:off x="2748983" y="7665532"/>
                <a:ext cx="54152" cy="118220"/>
              </a:xfrm>
              <a:custGeom>
                <a:avLst/>
                <a:gdLst>
                  <a:gd name="connsiteX0" fmla="*/ 6102 w 54152"/>
                  <a:gd name="connsiteY0" fmla="*/ 118220 h 118220"/>
                  <a:gd name="connsiteX1" fmla="*/ 6102 w 54152"/>
                  <a:gd name="connsiteY1" fmla="*/ 118220 h 118220"/>
                  <a:gd name="connsiteX2" fmla="*/ 0 w 54152"/>
                  <a:gd name="connsiteY2" fmla="*/ 112119 h 118220"/>
                  <a:gd name="connsiteX3" fmla="*/ 42712 w 54152"/>
                  <a:gd name="connsiteY3" fmla="*/ 2288 h 118220"/>
                  <a:gd name="connsiteX4" fmla="*/ 51864 w 54152"/>
                  <a:gd name="connsiteY4" fmla="*/ 2288 h 118220"/>
                  <a:gd name="connsiteX5" fmla="*/ 51864 w 54152"/>
                  <a:gd name="connsiteY5" fmla="*/ 11441 h 118220"/>
                  <a:gd name="connsiteX6" fmla="*/ 12203 w 54152"/>
                  <a:gd name="connsiteY6" fmla="*/ 118220 h 118220"/>
                  <a:gd name="connsiteX7" fmla="*/ 6102 w 54152"/>
                  <a:gd name="connsiteY7" fmla="*/ 118220 h 11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152" h="118220">
                    <a:moveTo>
                      <a:pt x="6102" y="118220"/>
                    </a:moveTo>
                    <a:cubicBezTo>
                      <a:pt x="6102" y="118220"/>
                      <a:pt x="3051" y="118220"/>
                      <a:pt x="6102" y="118220"/>
                    </a:cubicBezTo>
                    <a:cubicBezTo>
                      <a:pt x="3051" y="118220"/>
                      <a:pt x="0" y="115169"/>
                      <a:pt x="0" y="112119"/>
                    </a:cubicBezTo>
                    <a:cubicBezTo>
                      <a:pt x="0" y="109068"/>
                      <a:pt x="12203" y="45000"/>
                      <a:pt x="42712" y="2288"/>
                    </a:cubicBezTo>
                    <a:cubicBezTo>
                      <a:pt x="45763" y="-763"/>
                      <a:pt x="48814" y="-763"/>
                      <a:pt x="51864" y="2288"/>
                    </a:cubicBezTo>
                    <a:cubicBezTo>
                      <a:pt x="54915" y="5339"/>
                      <a:pt x="54915" y="8390"/>
                      <a:pt x="51864" y="11441"/>
                    </a:cubicBezTo>
                    <a:cubicBezTo>
                      <a:pt x="24407" y="51102"/>
                      <a:pt x="12203" y="118220"/>
                      <a:pt x="12203" y="118220"/>
                    </a:cubicBezTo>
                    <a:cubicBezTo>
                      <a:pt x="9153" y="115169"/>
                      <a:pt x="9153" y="118220"/>
                      <a:pt x="6102" y="11822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9BF0D4A9-40A6-445C-A134-E32F618E5179}"/>
                  </a:ext>
                </a:extLst>
              </p:cNvPr>
              <p:cNvSpPr/>
              <p:nvPr/>
            </p:nvSpPr>
            <p:spPr>
              <a:xfrm>
                <a:off x="2725339" y="7742487"/>
                <a:ext cx="613226" cy="102478"/>
              </a:xfrm>
              <a:custGeom>
                <a:avLst/>
                <a:gdLst>
                  <a:gd name="connsiteX0" fmla="*/ 572797 w 613226"/>
                  <a:gd name="connsiteY0" fmla="*/ 1605 h 102478"/>
                  <a:gd name="connsiteX1" fmla="*/ 29746 w 613226"/>
                  <a:gd name="connsiteY1" fmla="*/ 22960 h 102478"/>
                  <a:gd name="connsiteX2" fmla="*/ 29746 w 613226"/>
                  <a:gd name="connsiteY2" fmla="*/ 87028 h 102478"/>
                  <a:gd name="connsiteX3" fmla="*/ 591102 w 613226"/>
                  <a:gd name="connsiteY3" fmla="*/ 62622 h 102478"/>
                  <a:gd name="connsiteX4" fmla="*/ 572797 w 613226"/>
                  <a:gd name="connsiteY4" fmla="*/ 1605 h 102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3226" h="102478">
                    <a:moveTo>
                      <a:pt x="572797" y="1605"/>
                    </a:moveTo>
                    <a:cubicBezTo>
                      <a:pt x="395847" y="53469"/>
                      <a:pt x="212797" y="41266"/>
                      <a:pt x="29746" y="22960"/>
                    </a:cubicBezTo>
                    <a:cubicBezTo>
                      <a:pt x="-9915" y="19910"/>
                      <a:pt x="-9915" y="83977"/>
                      <a:pt x="29746" y="87028"/>
                    </a:cubicBezTo>
                    <a:cubicBezTo>
                      <a:pt x="218898" y="105334"/>
                      <a:pt x="408051" y="117537"/>
                      <a:pt x="591102" y="62622"/>
                    </a:cubicBezTo>
                    <a:cubicBezTo>
                      <a:pt x="630763" y="50418"/>
                      <a:pt x="612458" y="-10599"/>
                      <a:pt x="572797" y="1605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B6F79167-44DD-47F5-84C2-7816EE402CFA}"/>
                  </a:ext>
                </a:extLst>
              </p:cNvPr>
              <p:cNvSpPr/>
              <p:nvPr/>
            </p:nvSpPr>
            <p:spPr>
              <a:xfrm>
                <a:off x="2717273" y="7762397"/>
                <a:ext cx="599167" cy="88474"/>
              </a:xfrm>
              <a:custGeom>
                <a:avLst/>
                <a:gdLst>
                  <a:gd name="connsiteX0" fmla="*/ 294083 w 599167"/>
                  <a:gd name="connsiteY0" fmla="*/ 88474 h 88474"/>
                  <a:gd name="connsiteX1" fmla="*/ 34761 w 599167"/>
                  <a:gd name="connsiteY1" fmla="*/ 73220 h 88474"/>
                  <a:gd name="connsiteX2" fmla="*/ 4253 w 599167"/>
                  <a:gd name="connsiteY2" fmla="*/ 51864 h 88474"/>
                  <a:gd name="connsiteX3" fmla="*/ 7303 w 599167"/>
                  <a:gd name="connsiteY3" fmla="*/ 12203 h 88474"/>
                  <a:gd name="connsiteX4" fmla="*/ 37812 w 599167"/>
                  <a:gd name="connsiteY4" fmla="*/ 0 h 88474"/>
                  <a:gd name="connsiteX5" fmla="*/ 223914 w 599167"/>
                  <a:gd name="connsiteY5" fmla="*/ 12203 h 88474"/>
                  <a:gd name="connsiteX6" fmla="*/ 230015 w 599167"/>
                  <a:gd name="connsiteY6" fmla="*/ 18305 h 88474"/>
                  <a:gd name="connsiteX7" fmla="*/ 223914 w 599167"/>
                  <a:gd name="connsiteY7" fmla="*/ 24407 h 88474"/>
                  <a:gd name="connsiteX8" fmla="*/ 223914 w 599167"/>
                  <a:gd name="connsiteY8" fmla="*/ 24407 h 88474"/>
                  <a:gd name="connsiteX9" fmla="*/ 34761 w 599167"/>
                  <a:gd name="connsiteY9" fmla="*/ 9153 h 88474"/>
                  <a:gd name="connsiteX10" fmla="*/ 13405 w 599167"/>
                  <a:gd name="connsiteY10" fmla="*/ 18305 h 88474"/>
                  <a:gd name="connsiteX11" fmla="*/ 10354 w 599167"/>
                  <a:gd name="connsiteY11" fmla="*/ 45763 h 88474"/>
                  <a:gd name="connsiteX12" fmla="*/ 31710 w 599167"/>
                  <a:gd name="connsiteY12" fmla="*/ 61017 h 88474"/>
                  <a:gd name="connsiteX13" fmla="*/ 593066 w 599167"/>
                  <a:gd name="connsiteY13" fmla="*/ 36610 h 88474"/>
                  <a:gd name="connsiteX14" fmla="*/ 599168 w 599167"/>
                  <a:gd name="connsiteY14" fmla="*/ 39661 h 88474"/>
                  <a:gd name="connsiteX15" fmla="*/ 596117 w 599167"/>
                  <a:gd name="connsiteY15" fmla="*/ 45763 h 88474"/>
                  <a:gd name="connsiteX16" fmla="*/ 294083 w 599167"/>
                  <a:gd name="connsiteY16" fmla="*/ 88474 h 88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99167" h="88474">
                    <a:moveTo>
                      <a:pt x="294083" y="88474"/>
                    </a:moveTo>
                    <a:cubicBezTo>
                      <a:pt x="208659" y="88474"/>
                      <a:pt x="123236" y="82373"/>
                      <a:pt x="34761" y="73220"/>
                    </a:cubicBezTo>
                    <a:cubicBezTo>
                      <a:pt x="19507" y="73220"/>
                      <a:pt x="10354" y="64068"/>
                      <a:pt x="4253" y="51864"/>
                    </a:cubicBezTo>
                    <a:cubicBezTo>
                      <a:pt x="-1849" y="39661"/>
                      <a:pt x="-1849" y="21356"/>
                      <a:pt x="7303" y="12203"/>
                    </a:cubicBezTo>
                    <a:cubicBezTo>
                      <a:pt x="13405" y="3051"/>
                      <a:pt x="25608" y="0"/>
                      <a:pt x="37812" y="0"/>
                    </a:cubicBezTo>
                    <a:cubicBezTo>
                      <a:pt x="37812" y="0"/>
                      <a:pt x="181202" y="12203"/>
                      <a:pt x="223914" y="12203"/>
                    </a:cubicBezTo>
                    <a:cubicBezTo>
                      <a:pt x="226964" y="12203"/>
                      <a:pt x="230015" y="15254"/>
                      <a:pt x="230015" y="18305"/>
                    </a:cubicBezTo>
                    <a:cubicBezTo>
                      <a:pt x="230015" y="21356"/>
                      <a:pt x="226964" y="24407"/>
                      <a:pt x="223914" y="24407"/>
                    </a:cubicBezTo>
                    <a:cubicBezTo>
                      <a:pt x="223914" y="24407"/>
                      <a:pt x="223914" y="24407"/>
                      <a:pt x="223914" y="24407"/>
                    </a:cubicBezTo>
                    <a:cubicBezTo>
                      <a:pt x="178151" y="24407"/>
                      <a:pt x="37812" y="12203"/>
                      <a:pt x="34761" y="9153"/>
                    </a:cubicBezTo>
                    <a:cubicBezTo>
                      <a:pt x="25608" y="9153"/>
                      <a:pt x="19507" y="12203"/>
                      <a:pt x="13405" y="18305"/>
                    </a:cubicBezTo>
                    <a:cubicBezTo>
                      <a:pt x="7303" y="24407"/>
                      <a:pt x="7303" y="36610"/>
                      <a:pt x="10354" y="45763"/>
                    </a:cubicBezTo>
                    <a:cubicBezTo>
                      <a:pt x="13405" y="51864"/>
                      <a:pt x="19507" y="61017"/>
                      <a:pt x="31710" y="61017"/>
                    </a:cubicBezTo>
                    <a:cubicBezTo>
                      <a:pt x="223914" y="79322"/>
                      <a:pt x="410015" y="91525"/>
                      <a:pt x="593066" y="36610"/>
                    </a:cubicBezTo>
                    <a:cubicBezTo>
                      <a:pt x="596117" y="36610"/>
                      <a:pt x="599168" y="36610"/>
                      <a:pt x="599168" y="39661"/>
                    </a:cubicBezTo>
                    <a:cubicBezTo>
                      <a:pt x="599168" y="42712"/>
                      <a:pt x="599168" y="45763"/>
                      <a:pt x="596117" y="45763"/>
                    </a:cubicBezTo>
                    <a:cubicBezTo>
                      <a:pt x="498490" y="79322"/>
                      <a:pt x="397812" y="88474"/>
                      <a:pt x="294083" y="8847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C46CD8D7-3FCE-448C-BA50-AC3F1880AD58}"/>
                </a:ext>
              </a:extLst>
            </p:cNvPr>
            <p:cNvSpPr/>
            <p:nvPr/>
          </p:nvSpPr>
          <p:spPr>
            <a:xfrm>
              <a:off x="2803201" y="7902735"/>
              <a:ext cx="520509" cy="589183"/>
            </a:xfrm>
            <a:custGeom>
              <a:avLst/>
              <a:gdLst>
                <a:gd name="connsiteX0" fmla="*/ 15952 w 520509"/>
                <a:gd name="connsiteY0" fmla="*/ 143390 h 589183"/>
                <a:gd name="connsiteX1" fmla="*/ 3749 w 520509"/>
                <a:gd name="connsiteY1" fmla="*/ 12204 h 589183"/>
                <a:gd name="connsiteX2" fmla="*/ 64766 w 520509"/>
                <a:gd name="connsiteY2" fmla="*/ 0 h 589183"/>
                <a:gd name="connsiteX3" fmla="*/ 101376 w 520509"/>
                <a:gd name="connsiteY3" fmla="*/ 222712 h 589183"/>
                <a:gd name="connsiteX4" fmla="*/ 232562 w 520509"/>
                <a:gd name="connsiteY4" fmla="*/ 216610 h 589183"/>
                <a:gd name="connsiteX5" fmla="*/ 272223 w 520509"/>
                <a:gd name="connsiteY5" fmla="*/ 207458 h 589183"/>
                <a:gd name="connsiteX6" fmla="*/ 363749 w 520509"/>
                <a:gd name="connsiteY6" fmla="*/ 244068 h 589183"/>
                <a:gd name="connsiteX7" fmla="*/ 440020 w 520509"/>
                <a:gd name="connsiteY7" fmla="*/ 125085 h 589183"/>
                <a:gd name="connsiteX8" fmla="*/ 473579 w 520509"/>
                <a:gd name="connsiteY8" fmla="*/ 103729 h 589183"/>
                <a:gd name="connsiteX9" fmla="*/ 452223 w 520509"/>
                <a:gd name="connsiteY9" fmla="*/ 201356 h 589183"/>
                <a:gd name="connsiteX10" fmla="*/ 458325 w 520509"/>
                <a:gd name="connsiteY10" fmla="*/ 503390 h 589183"/>
                <a:gd name="connsiteX11" fmla="*/ 455274 w 520509"/>
                <a:gd name="connsiteY11" fmla="*/ 576610 h 589183"/>
                <a:gd name="connsiteX12" fmla="*/ 698 w 520509"/>
                <a:gd name="connsiteY12" fmla="*/ 274576 h 589183"/>
                <a:gd name="connsiteX13" fmla="*/ 15952 w 520509"/>
                <a:gd name="connsiteY13" fmla="*/ 143390 h 589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0509" h="589183">
                  <a:moveTo>
                    <a:pt x="15952" y="143390"/>
                  </a:moveTo>
                  <a:cubicBezTo>
                    <a:pt x="15952" y="143390"/>
                    <a:pt x="3749" y="12204"/>
                    <a:pt x="3749" y="12204"/>
                  </a:cubicBezTo>
                  <a:cubicBezTo>
                    <a:pt x="22054" y="9153"/>
                    <a:pt x="49511" y="6102"/>
                    <a:pt x="64766" y="0"/>
                  </a:cubicBezTo>
                  <a:cubicBezTo>
                    <a:pt x="64766" y="33560"/>
                    <a:pt x="76969" y="204407"/>
                    <a:pt x="101376" y="222712"/>
                  </a:cubicBezTo>
                  <a:cubicBezTo>
                    <a:pt x="134935" y="244068"/>
                    <a:pt x="214257" y="256271"/>
                    <a:pt x="232562" y="216610"/>
                  </a:cubicBezTo>
                  <a:cubicBezTo>
                    <a:pt x="232562" y="216610"/>
                    <a:pt x="256969" y="231865"/>
                    <a:pt x="272223" y="207458"/>
                  </a:cubicBezTo>
                  <a:cubicBezTo>
                    <a:pt x="272223" y="207458"/>
                    <a:pt x="302732" y="247119"/>
                    <a:pt x="363749" y="244068"/>
                  </a:cubicBezTo>
                  <a:cubicBezTo>
                    <a:pt x="394257" y="241017"/>
                    <a:pt x="433918" y="155593"/>
                    <a:pt x="440020" y="125085"/>
                  </a:cubicBezTo>
                  <a:cubicBezTo>
                    <a:pt x="452223" y="131187"/>
                    <a:pt x="461376" y="103729"/>
                    <a:pt x="473579" y="103729"/>
                  </a:cubicBezTo>
                  <a:cubicBezTo>
                    <a:pt x="473579" y="106780"/>
                    <a:pt x="452223" y="198305"/>
                    <a:pt x="452223" y="201356"/>
                  </a:cubicBezTo>
                  <a:cubicBezTo>
                    <a:pt x="452223" y="201356"/>
                    <a:pt x="601715" y="414915"/>
                    <a:pt x="458325" y="503390"/>
                  </a:cubicBezTo>
                  <a:cubicBezTo>
                    <a:pt x="418664" y="527797"/>
                    <a:pt x="455274" y="576610"/>
                    <a:pt x="455274" y="576610"/>
                  </a:cubicBezTo>
                  <a:cubicBezTo>
                    <a:pt x="455274" y="576610"/>
                    <a:pt x="-20658" y="683390"/>
                    <a:pt x="698" y="274576"/>
                  </a:cubicBezTo>
                  <a:cubicBezTo>
                    <a:pt x="3749" y="204407"/>
                    <a:pt x="15952" y="143390"/>
                    <a:pt x="15952" y="143390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480DDD50-5A50-41EA-A7E3-06B27A807B92}"/>
                </a:ext>
              </a:extLst>
            </p:cNvPr>
            <p:cNvSpPr/>
            <p:nvPr/>
          </p:nvSpPr>
          <p:spPr>
            <a:xfrm>
              <a:off x="2950339" y="8088068"/>
              <a:ext cx="253220" cy="70366"/>
            </a:xfrm>
            <a:custGeom>
              <a:avLst/>
              <a:gdLst>
                <a:gd name="connsiteX0" fmla="*/ 192203 w 253220"/>
                <a:gd name="connsiteY0" fmla="*/ 6871 h 70366"/>
                <a:gd name="connsiteX1" fmla="*/ 253220 w 253220"/>
                <a:gd name="connsiteY1" fmla="*/ 34329 h 70366"/>
                <a:gd name="connsiteX2" fmla="*/ 134237 w 253220"/>
                <a:gd name="connsiteY2" fmla="*/ 55685 h 70366"/>
                <a:gd name="connsiteX3" fmla="*/ 0 w 253220"/>
                <a:gd name="connsiteY3" fmla="*/ 31278 h 70366"/>
                <a:gd name="connsiteX4" fmla="*/ 48814 w 253220"/>
                <a:gd name="connsiteY4" fmla="*/ 25176 h 70366"/>
                <a:gd name="connsiteX5" fmla="*/ 128136 w 253220"/>
                <a:gd name="connsiteY5" fmla="*/ 9922 h 70366"/>
                <a:gd name="connsiteX6" fmla="*/ 192203 w 253220"/>
                <a:gd name="connsiteY6" fmla="*/ 6871 h 70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220" h="70366">
                  <a:moveTo>
                    <a:pt x="192203" y="6871"/>
                  </a:moveTo>
                  <a:cubicBezTo>
                    <a:pt x="216610" y="19075"/>
                    <a:pt x="222712" y="40431"/>
                    <a:pt x="253220" y="34329"/>
                  </a:cubicBezTo>
                  <a:cubicBezTo>
                    <a:pt x="253220" y="34329"/>
                    <a:pt x="204407" y="98397"/>
                    <a:pt x="134237" y="55685"/>
                  </a:cubicBezTo>
                  <a:cubicBezTo>
                    <a:pt x="134237" y="55685"/>
                    <a:pt x="45763" y="98397"/>
                    <a:pt x="0" y="31278"/>
                  </a:cubicBezTo>
                  <a:cubicBezTo>
                    <a:pt x="0" y="31278"/>
                    <a:pt x="33559" y="34329"/>
                    <a:pt x="48814" y="25176"/>
                  </a:cubicBezTo>
                  <a:cubicBezTo>
                    <a:pt x="64068" y="16024"/>
                    <a:pt x="85424" y="-11434"/>
                    <a:pt x="128136" y="9922"/>
                  </a:cubicBezTo>
                  <a:cubicBezTo>
                    <a:pt x="125085" y="12973"/>
                    <a:pt x="155593" y="-11434"/>
                    <a:pt x="192203" y="6871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06299B95-7022-4D64-A855-F4D1BC826305}"/>
                </a:ext>
              </a:extLst>
            </p:cNvPr>
            <p:cNvSpPr/>
            <p:nvPr/>
          </p:nvSpPr>
          <p:spPr>
            <a:xfrm>
              <a:off x="3047966" y="8180363"/>
              <a:ext cx="85423" cy="45908"/>
            </a:xfrm>
            <a:custGeom>
              <a:avLst/>
              <a:gdLst>
                <a:gd name="connsiteX0" fmla="*/ 85424 w 85423"/>
                <a:gd name="connsiteY0" fmla="*/ 0 h 45908"/>
                <a:gd name="connsiteX1" fmla="*/ 0 w 85423"/>
                <a:gd name="connsiteY1" fmla="*/ 3051 h 45908"/>
                <a:gd name="connsiteX2" fmla="*/ 45763 w 85423"/>
                <a:gd name="connsiteY2" fmla="*/ 45763 h 45908"/>
                <a:gd name="connsiteX3" fmla="*/ 85424 w 85423"/>
                <a:gd name="connsiteY3" fmla="*/ 0 h 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423" h="45908">
                  <a:moveTo>
                    <a:pt x="85424" y="0"/>
                  </a:moveTo>
                  <a:cubicBezTo>
                    <a:pt x="48814" y="15254"/>
                    <a:pt x="0" y="3051"/>
                    <a:pt x="0" y="3051"/>
                  </a:cubicBezTo>
                  <a:cubicBezTo>
                    <a:pt x="0" y="3051"/>
                    <a:pt x="15254" y="48814"/>
                    <a:pt x="45763" y="45763"/>
                  </a:cubicBezTo>
                  <a:cubicBezTo>
                    <a:pt x="76271" y="39661"/>
                    <a:pt x="85424" y="0"/>
                    <a:pt x="85424" y="0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7" name="图形 1">
              <a:extLst>
                <a:ext uri="{FF2B5EF4-FFF2-40B4-BE49-F238E27FC236}">
                  <a16:creationId xmlns:a16="http://schemas.microsoft.com/office/drawing/2014/main" id="{542D26ED-2A60-413F-ACB3-5A9C3AC73904}"/>
                </a:ext>
              </a:extLst>
            </p:cNvPr>
            <p:cNvGrpSpPr/>
            <p:nvPr/>
          </p:nvGrpSpPr>
          <p:grpSpPr>
            <a:xfrm>
              <a:off x="3041865" y="7975956"/>
              <a:ext cx="57966" cy="137288"/>
              <a:chOff x="3041865" y="7975956"/>
              <a:chExt cx="57966" cy="137288"/>
            </a:xfrm>
          </p:grpSpPr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74FDA9BB-10D3-4EF8-90FF-9AC6BEED9056}"/>
                  </a:ext>
                </a:extLst>
              </p:cNvPr>
              <p:cNvSpPr/>
              <p:nvPr/>
            </p:nvSpPr>
            <p:spPr>
              <a:xfrm>
                <a:off x="3047966" y="7982058"/>
                <a:ext cx="48813" cy="125504"/>
              </a:xfrm>
              <a:custGeom>
                <a:avLst/>
                <a:gdLst>
                  <a:gd name="connsiteX0" fmla="*/ 33559 w 48813"/>
                  <a:gd name="connsiteY0" fmla="*/ 0 h 125504"/>
                  <a:gd name="connsiteX1" fmla="*/ 48814 w 48813"/>
                  <a:gd name="connsiteY1" fmla="*/ 112881 h 125504"/>
                  <a:gd name="connsiteX2" fmla="*/ 0 w 48813"/>
                  <a:gd name="connsiteY2" fmla="*/ 122034 h 125504"/>
                  <a:gd name="connsiteX3" fmla="*/ 33559 w 48813"/>
                  <a:gd name="connsiteY3" fmla="*/ 0 h 125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" h="125504">
                    <a:moveTo>
                      <a:pt x="33559" y="0"/>
                    </a:moveTo>
                    <a:cubicBezTo>
                      <a:pt x="33559" y="0"/>
                      <a:pt x="48814" y="91525"/>
                      <a:pt x="48814" y="112881"/>
                    </a:cubicBezTo>
                    <a:cubicBezTo>
                      <a:pt x="48814" y="134237"/>
                      <a:pt x="0" y="122034"/>
                      <a:pt x="0" y="122034"/>
                    </a:cubicBezTo>
                    <a:lnTo>
                      <a:pt x="33559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5C63A3F5-6E25-4DF4-92C5-75D7904BA809}"/>
                  </a:ext>
                </a:extLst>
              </p:cNvPr>
              <p:cNvSpPr/>
              <p:nvPr/>
            </p:nvSpPr>
            <p:spPr>
              <a:xfrm>
                <a:off x="3041865" y="7975956"/>
                <a:ext cx="57966" cy="137288"/>
              </a:xfrm>
              <a:custGeom>
                <a:avLst/>
                <a:gdLst>
                  <a:gd name="connsiteX0" fmla="*/ 30508 w 57966"/>
                  <a:gd name="connsiteY0" fmla="*/ 137288 h 137288"/>
                  <a:gd name="connsiteX1" fmla="*/ 6102 w 57966"/>
                  <a:gd name="connsiteY1" fmla="*/ 134237 h 137288"/>
                  <a:gd name="connsiteX2" fmla="*/ 0 w 57966"/>
                  <a:gd name="connsiteY2" fmla="*/ 128136 h 137288"/>
                  <a:gd name="connsiteX3" fmla="*/ 6102 w 57966"/>
                  <a:gd name="connsiteY3" fmla="*/ 122034 h 137288"/>
                  <a:gd name="connsiteX4" fmla="*/ 45763 w 57966"/>
                  <a:gd name="connsiteY4" fmla="*/ 122034 h 137288"/>
                  <a:gd name="connsiteX5" fmla="*/ 45763 w 57966"/>
                  <a:gd name="connsiteY5" fmla="*/ 118983 h 137288"/>
                  <a:gd name="connsiteX6" fmla="*/ 30508 w 57966"/>
                  <a:gd name="connsiteY6" fmla="*/ 6102 h 137288"/>
                  <a:gd name="connsiteX7" fmla="*/ 36610 w 57966"/>
                  <a:gd name="connsiteY7" fmla="*/ 0 h 137288"/>
                  <a:gd name="connsiteX8" fmla="*/ 42712 w 57966"/>
                  <a:gd name="connsiteY8" fmla="*/ 6102 h 137288"/>
                  <a:gd name="connsiteX9" fmla="*/ 57966 w 57966"/>
                  <a:gd name="connsiteY9" fmla="*/ 118983 h 137288"/>
                  <a:gd name="connsiteX10" fmla="*/ 51864 w 57966"/>
                  <a:gd name="connsiteY10" fmla="*/ 131187 h 137288"/>
                  <a:gd name="connsiteX11" fmla="*/ 30508 w 57966"/>
                  <a:gd name="connsiteY11" fmla="*/ 137288 h 137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7966" h="137288">
                    <a:moveTo>
                      <a:pt x="30508" y="137288"/>
                    </a:moveTo>
                    <a:cubicBezTo>
                      <a:pt x="18305" y="137288"/>
                      <a:pt x="9153" y="134237"/>
                      <a:pt x="6102" y="134237"/>
                    </a:cubicBezTo>
                    <a:cubicBezTo>
                      <a:pt x="3051" y="134237"/>
                      <a:pt x="0" y="131187"/>
                      <a:pt x="0" y="128136"/>
                    </a:cubicBezTo>
                    <a:cubicBezTo>
                      <a:pt x="0" y="125084"/>
                      <a:pt x="3051" y="122034"/>
                      <a:pt x="6102" y="122034"/>
                    </a:cubicBezTo>
                    <a:cubicBezTo>
                      <a:pt x="18305" y="125084"/>
                      <a:pt x="39661" y="125084"/>
                      <a:pt x="45763" y="122034"/>
                    </a:cubicBezTo>
                    <a:cubicBezTo>
                      <a:pt x="45763" y="122034"/>
                      <a:pt x="45763" y="118983"/>
                      <a:pt x="45763" y="118983"/>
                    </a:cubicBezTo>
                    <a:cubicBezTo>
                      <a:pt x="45763" y="100678"/>
                      <a:pt x="30508" y="9153"/>
                      <a:pt x="30508" y="6102"/>
                    </a:cubicBezTo>
                    <a:cubicBezTo>
                      <a:pt x="30508" y="3051"/>
                      <a:pt x="33559" y="0"/>
                      <a:pt x="36610" y="0"/>
                    </a:cubicBezTo>
                    <a:cubicBezTo>
                      <a:pt x="39661" y="0"/>
                      <a:pt x="42712" y="3051"/>
                      <a:pt x="42712" y="6102"/>
                    </a:cubicBezTo>
                    <a:cubicBezTo>
                      <a:pt x="42712" y="9153"/>
                      <a:pt x="57966" y="100678"/>
                      <a:pt x="57966" y="118983"/>
                    </a:cubicBezTo>
                    <a:cubicBezTo>
                      <a:pt x="57966" y="125084"/>
                      <a:pt x="54915" y="128136"/>
                      <a:pt x="51864" y="131187"/>
                    </a:cubicBezTo>
                    <a:cubicBezTo>
                      <a:pt x="51864" y="134237"/>
                      <a:pt x="39661" y="137288"/>
                      <a:pt x="30508" y="1372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A5D65EF4-E5E0-4CAB-9592-A55AF401D9B9}"/>
                </a:ext>
              </a:extLst>
            </p:cNvPr>
            <p:cNvSpPr/>
            <p:nvPr/>
          </p:nvSpPr>
          <p:spPr>
            <a:xfrm>
              <a:off x="2321865" y="9867481"/>
              <a:ext cx="1446101" cy="482156"/>
            </a:xfrm>
            <a:custGeom>
              <a:avLst/>
              <a:gdLst>
                <a:gd name="connsiteX0" fmla="*/ 1229492 w 1446101"/>
                <a:gd name="connsiteY0" fmla="*/ 24407 h 482156"/>
                <a:gd name="connsiteX1" fmla="*/ 1446102 w 1446101"/>
                <a:gd name="connsiteY1" fmla="*/ 439323 h 482156"/>
                <a:gd name="connsiteX2" fmla="*/ 0 w 1446101"/>
                <a:gd name="connsiteY2" fmla="*/ 399661 h 482156"/>
                <a:gd name="connsiteX3" fmla="*/ 158644 w 1446101"/>
                <a:gd name="connsiteY3" fmla="*/ 0 h 482156"/>
                <a:gd name="connsiteX4" fmla="*/ 1229492 w 1446101"/>
                <a:gd name="connsiteY4" fmla="*/ 24407 h 482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6101" h="482156">
                  <a:moveTo>
                    <a:pt x="1229492" y="24407"/>
                  </a:moveTo>
                  <a:lnTo>
                    <a:pt x="1446102" y="439323"/>
                  </a:lnTo>
                  <a:cubicBezTo>
                    <a:pt x="1446102" y="439323"/>
                    <a:pt x="360000" y="558306"/>
                    <a:pt x="0" y="399661"/>
                  </a:cubicBezTo>
                  <a:lnTo>
                    <a:pt x="158644" y="0"/>
                  </a:lnTo>
                  <a:lnTo>
                    <a:pt x="1229492" y="24407"/>
                  </a:ln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F8F29EBA-1ECC-4A2D-852F-7E5A43E0D45A}"/>
                </a:ext>
              </a:extLst>
            </p:cNvPr>
            <p:cNvSpPr/>
            <p:nvPr/>
          </p:nvSpPr>
          <p:spPr>
            <a:xfrm>
              <a:off x="4552767" y="8968996"/>
              <a:ext cx="152101" cy="286506"/>
            </a:xfrm>
            <a:custGeom>
              <a:avLst/>
              <a:gdLst>
                <a:gd name="connsiteX0" fmla="*/ 90793 w 152101"/>
                <a:gd name="connsiteY0" fmla="*/ 25943 h 286506"/>
                <a:gd name="connsiteX1" fmla="*/ 151810 w 152101"/>
                <a:gd name="connsiteY1" fmla="*/ 236452 h 286506"/>
                <a:gd name="connsiteX2" fmla="*/ 60284 w 152101"/>
                <a:gd name="connsiteY2" fmla="*/ 248655 h 286506"/>
                <a:gd name="connsiteX3" fmla="*/ 5369 w 152101"/>
                <a:gd name="connsiteY3" fmla="*/ 59503 h 286506"/>
                <a:gd name="connsiteX4" fmla="*/ 90793 w 152101"/>
                <a:gd name="connsiteY4" fmla="*/ 25943 h 286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101" h="286506">
                  <a:moveTo>
                    <a:pt x="90793" y="25943"/>
                  </a:moveTo>
                  <a:cubicBezTo>
                    <a:pt x="124352" y="93062"/>
                    <a:pt x="145708" y="163231"/>
                    <a:pt x="151810" y="236452"/>
                  </a:cubicBezTo>
                  <a:cubicBezTo>
                    <a:pt x="157911" y="294418"/>
                    <a:pt x="66386" y="306621"/>
                    <a:pt x="60284" y="248655"/>
                  </a:cubicBezTo>
                  <a:cubicBezTo>
                    <a:pt x="54182" y="181536"/>
                    <a:pt x="32827" y="120519"/>
                    <a:pt x="5369" y="59503"/>
                  </a:cubicBezTo>
                  <a:cubicBezTo>
                    <a:pt x="-22089" y="7638"/>
                    <a:pt x="63335" y="-25921"/>
                    <a:pt x="90793" y="25943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47F1ED51-7BEF-4D01-9C6B-E9BB4A60A0BF}"/>
                </a:ext>
              </a:extLst>
            </p:cNvPr>
            <p:cNvSpPr/>
            <p:nvPr/>
          </p:nvSpPr>
          <p:spPr>
            <a:xfrm>
              <a:off x="2295260" y="8406366"/>
              <a:ext cx="1510079" cy="1979921"/>
            </a:xfrm>
            <a:custGeom>
              <a:avLst/>
              <a:gdLst>
                <a:gd name="connsiteX0" fmla="*/ 54062 w 1510079"/>
                <a:gd name="connsiteY0" fmla="*/ 1793658 h 1979921"/>
                <a:gd name="connsiteX1" fmla="*/ 1073045 w 1510079"/>
                <a:gd name="connsiteY1" fmla="*/ 1866878 h 1979921"/>
                <a:gd name="connsiteX2" fmla="*/ 1008977 w 1510079"/>
                <a:gd name="connsiteY2" fmla="*/ 1509929 h 1979921"/>
                <a:gd name="connsiteX3" fmla="*/ 1005927 w 1510079"/>
                <a:gd name="connsiteY3" fmla="*/ 1497726 h 1979921"/>
                <a:gd name="connsiteX4" fmla="*/ 1002876 w 1510079"/>
                <a:gd name="connsiteY4" fmla="*/ 1451963 h 1979921"/>
                <a:gd name="connsiteX5" fmla="*/ 1094401 w 1510079"/>
                <a:gd name="connsiteY5" fmla="*/ 744167 h 1979921"/>
                <a:gd name="connsiteX6" fmla="*/ 828977 w 1510079"/>
                <a:gd name="connsiteY6" fmla="*/ 69929 h 1979921"/>
                <a:gd name="connsiteX7" fmla="*/ 908299 w 1510079"/>
                <a:gd name="connsiteY7" fmla="*/ 24166 h 1979921"/>
                <a:gd name="connsiteX8" fmla="*/ 1188977 w 1510079"/>
                <a:gd name="connsiteY8" fmla="*/ 747217 h 1979921"/>
                <a:gd name="connsiteX9" fmla="*/ 1094401 w 1510079"/>
                <a:gd name="connsiteY9" fmla="*/ 1476369 h 1979921"/>
                <a:gd name="connsiteX10" fmla="*/ 1167621 w 1510079"/>
                <a:gd name="connsiteY10" fmla="*/ 1863827 h 1979921"/>
                <a:gd name="connsiteX11" fmla="*/ 1466605 w 1510079"/>
                <a:gd name="connsiteY11" fmla="*/ 1842471 h 1979921"/>
                <a:gd name="connsiteX12" fmla="*/ 1466605 w 1510079"/>
                <a:gd name="connsiteY12" fmla="*/ 1933997 h 1979921"/>
                <a:gd name="connsiteX13" fmla="*/ 35757 w 1510079"/>
                <a:gd name="connsiteY13" fmla="*/ 1885184 h 1979921"/>
                <a:gd name="connsiteX14" fmla="*/ 54062 w 1510079"/>
                <a:gd name="connsiteY14" fmla="*/ 1793658 h 197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10079" h="1979921">
                  <a:moveTo>
                    <a:pt x="54062" y="1793658"/>
                  </a:moveTo>
                  <a:cubicBezTo>
                    <a:pt x="377452" y="1903488"/>
                    <a:pt x="728299" y="1891285"/>
                    <a:pt x="1073045" y="1866878"/>
                  </a:cubicBezTo>
                  <a:cubicBezTo>
                    <a:pt x="1073045" y="1744845"/>
                    <a:pt x="1060842" y="1622811"/>
                    <a:pt x="1008977" y="1509929"/>
                  </a:cubicBezTo>
                  <a:cubicBezTo>
                    <a:pt x="1005927" y="1503828"/>
                    <a:pt x="1005927" y="1500777"/>
                    <a:pt x="1005927" y="1497726"/>
                  </a:cubicBezTo>
                  <a:cubicBezTo>
                    <a:pt x="996774" y="1485523"/>
                    <a:pt x="993723" y="1467217"/>
                    <a:pt x="1002876" y="1451963"/>
                  </a:cubicBezTo>
                  <a:cubicBezTo>
                    <a:pt x="1100503" y="1247556"/>
                    <a:pt x="1109655" y="966878"/>
                    <a:pt x="1094401" y="744167"/>
                  </a:cubicBezTo>
                  <a:cubicBezTo>
                    <a:pt x="1076096" y="484844"/>
                    <a:pt x="929655" y="295692"/>
                    <a:pt x="828977" y="69929"/>
                  </a:cubicBezTo>
                  <a:cubicBezTo>
                    <a:pt x="804571" y="18065"/>
                    <a:pt x="883893" y="-30749"/>
                    <a:pt x="908299" y="24166"/>
                  </a:cubicBezTo>
                  <a:cubicBezTo>
                    <a:pt x="1018130" y="268234"/>
                    <a:pt x="1170672" y="469590"/>
                    <a:pt x="1188977" y="747217"/>
                  </a:cubicBezTo>
                  <a:cubicBezTo>
                    <a:pt x="1204232" y="979082"/>
                    <a:pt x="1192028" y="1259760"/>
                    <a:pt x="1094401" y="1476369"/>
                  </a:cubicBezTo>
                  <a:cubicBezTo>
                    <a:pt x="1149316" y="1598403"/>
                    <a:pt x="1164571" y="1729590"/>
                    <a:pt x="1167621" y="1863827"/>
                  </a:cubicBezTo>
                  <a:cubicBezTo>
                    <a:pt x="1268299" y="1854675"/>
                    <a:pt x="1368977" y="1848573"/>
                    <a:pt x="1466605" y="1842471"/>
                  </a:cubicBezTo>
                  <a:cubicBezTo>
                    <a:pt x="1524571" y="1839421"/>
                    <a:pt x="1524571" y="1930946"/>
                    <a:pt x="1466605" y="1933997"/>
                  </a:cubicBezTo>
                  <a:cubicBezTo>
                    <a:pt x="996774" y="1961455"/>
                    <a:pt x="490333" y="2043827"/>
                    <a:pt x="35757" y="1885184"/>
                  </a:cubicBezTo>
                  <a:cubicBezTo>
                    <a:pt x="-25260" y="1863827"/>
                    <a:pt x="-853" y="1775353"/>
                    <a:pt x="54062" y="1793658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46262755-1D0B-4C1F-A5C7-23CADF58AA21}"/>
                </a:ext>
              </a:extLst>
            </p:cNvPr>
            <p:cNvSpPr/>
            <p:nvPr/>
          </p:nvSpPr>
          <p:spPr>
            <a:xfrm>
              <a:off x="2460150" y="9779007"/>
              <a:ext cx="1139762" cy="179846"/>
            </a:xfrm>
            <a:custGeom>
              <a:avLst/>
              <a:gdLst>
                <a:gd name="connsiteX0" fmla="*/ 1121715 w 1139762"/>
                <a:gd name="connsiteY0" fmla="*/ 170848 h 179846"/>
                <a:gd name="connsiteX1" fmla="*/ 11206 w 1139762"/>
                <a:gd name="connsiteY1" fmla="*/ 112882 h 179846"/>
                <a:gd name="connsiteX2" fmla="*/ 20359 w 1139762"/>
                <a:gd name="connsiteY2" fmla="*/ 0 h 179846"/>
                <a:gd name="connsiteX3" fmla="*/ 1130867 w 1139762"/>
                <a:gd name="connsiteY3" fmla="*/ 70170 h 179846"/>
                <a:gd name="connsiteX4" fmla="*/ 1121715 w 1139762"/>
                <a:gd name="connsiteY4" fmla="*/ 170848 h 17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9762" h="179846">
                  <a:moveTo>
                    <a:pt x="1121715" y="170848"/>
                  </a:moveTo>
                  <a:cubicBezTo>
                    <a:pt x="1121715" y="170848"/>
                    <a:pt x="331545" y="213559"/>
                    <a:pt x="11206" y="112882"/>
                  </a:cubicBezTo>
                  <a:cubicBezTo>
                    <a:pt x="11206" y="112882"/>
                    <a:pt x="-19302" y="42712"/>
                    <a:pt x="20359" y="0"/>
                  </a:cubicBezTo>
                  <a:cubicBezTo>
                    <a:pt x="285782" y="88474"/>
                    <a:pt x="749511" y="85424"/>
                    <a:pt x="1130867" y="70170"/>
                  </a:cubicBezTo>
                  <a:cubicBezTo>
                    <a:pt x="1155274" y="125085"/>
                    <a:pt x="1121715" y="170848"/>
                    <a:pt x="1121715" y="170848"/>
                  </a:cubicBezTo>
                  <a:close/>
                </a:path>
              </a:pathLst>
            </a:custGeom>
            <a:solidFill>
              <a:srgbClr val="6C5D68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2" name="图形 1">
              <a:extLst>
                <a:ext uri="{FF2B5EF4-FFF2-40B4-BE49-F238E27FC236}">
                  <a16:creationId xmlns:a16="http://schemas.microsoft.com/office/drawing/2014/main" id="{074EE11D-DF34-49CF-9939-5770C3444A49}"/>
                </a:ext>
              </a:extLst>
            </p:cNvPr>
            <p:cNvGrpSpPr/>
            <p:nvPr/>
          </p:nvGrpSpPr>
          <p:grpSpPr>
            <a:xfrm>
              <a:off x="3240170" y="9818668"/>
              <a:ext cx="216610" cy="164745"/>
              <a:chOff x="3240170" y="9818668"/>
              <a:chExt cx="216610" cy="164745"/>
            </a:xfrm>
          </p:grpSpPr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607C2DE0-65D8-475F-970F-F2B1E534ADD4}"/>
                  </a:ext>
                </a:extLst>
              </p:cNvPr>
              <p:cNvSpPr/>
              <p:nvPr/>
            </p:nvSpPr>
            <p:spPr>
              <a:xfrm>
                <a:off x="3240170" y="9818668"/>
                <a:ext cx="216610" cy="164745"/>
              </a:xfrm>
              <a:custGeom>
                <a:avLst/>
                <a:gdLst>
                  <a:gd name="connsiteX0" fmla="*/ 195254 w 216610"/>
                  <a:gd name="connsiteY0" fmla="*/ 164746 h 164745"/>
                  <a:gd name="connsiteX1" fmla="*/ 21356 w 216610"/>
                  <a:gd name="connsiteY1" fmla="*/ 164746 h 164745"/>
                  <a:gd name="connsiteX2" fmla="*/ 0 w 216610"/>
                  <a:gd name="connsiteY2" fmla="*/ 143389 h 164745"/>
                  <a:gd name="connsiteX3" fmla="*/ 0 w 216610"/>
                  <a:gd name="connsiteY3" fmla="*/ 21355 h 164745"/>
                  <a:gd name="connsiteX4" fmla="*/ 21356 w 216610"/>
                  <a:gd name="connsiteY4" fmla="*/ 0 h 164745"/>
                  <a:gd name="connsiteX5" fmla="*/ 195254 w 216610"/>
                  <a:gd name="connsiteY5" fmla="*/ 0 h 164745"/>
                  <a:gd name="connsiteX6" fmla="*/ 216610 w 216610"/>
                  <a:gd name="connsiteY6" fmla="*/ 21355 h 164745"/>
                  <a:gd name="connsiteX7" fmla="*/ 216610 w 216610"/>
                  <a:gd name="connsiteY7" fmla="*/ 143389 h 164745"/>
                  <a:gd name="connsiteX8" fmla="*/ 195254 w 216610"/>
                  <a:gd name="connsiteY8" fmla="*/ 164746 h 164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6610" h="164745">
                    <a:moveTo>
                      <a:pt x="195254" y="164746"/>
                    </a:moveTo>
                    <a:lnTo>
                      <a:pt x="21356" y="164746"/>
                    </a:lnTo>
                    <a:cubicBezTo>
                      <a:pt x="9153" y="164746"/>
                      <a:pt x="0" y="155592"/>
                      <a:pt x="0" y="143389"/>
                    </a:cubicBezTo>
                    <a:lnTo>
                      <a:pt x="0" y="21355"/>
                    </a:lnTo>
                    <a:cubicBezTo>
                      <a:pt x="0" y="9152"/>
                      <a:pt x="9153" y="0"/>
                      <a:pt x="21356" y="0"/>
                    </a:cubicBezTo>
                    <a:lnTo>
                      <a:pt x="195254" y="0"/>
                    </a:lnTo>
                    <a:cubicBezTo>
                      <a:pt x="207458" y="0"/>
                      <a:pt x="216610" y="9152"/>
                      <a:pt x="216610" y="21355"/>
                    </a:cubicBezTo>
                    <a:lnTo>
                      <a:pt x="216610" y="143389"/>
                    </a:lnTo>
                    <a:cubicBezTo>
                      <a:pt x="216610" y="152542"/>
                      <a:pt x="207458" y="164746"/>
                      <a:pt x="195254" y="16474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8794350B-6F52-4021-9826-F24645FE8020}"/>
                  </a:ext>
                </a:extLst>
              </p:cNvPr>
              <p:cNvSpPr/>
              <p:nvPr/>
            </p:nvSpPr>
            <p:spPr>
              <a:xfrm>
                <a:off x="3270678" y="9843075"/>
                <a:ext cx="158643" cy="118982"/>
              </a:xfrm>
              <a:custGeom>
                <a:avLst/>
                <a:gdLst>
                  <a:gd name="connsiteX0" fmla="*/ 143390 w 158643"/>
                  <a:gd name="connsiteY0" fmla="*/ 118983 h 118982"/>
                  <a:gd name="connsiteX1" fmla="*/ 15254 w 158643"/>
                  <a:gd name="connsiteY1" fmla="*/ 118983 h 118982"/>
                  <a:gd name="connsiteX2" fmla="*/ 0 w 158643"/>
                  <a:gd name="connsiteY2" fmla="*/ 103729 h 118982"/>
                  <a:gd name="connsiteX3" fmla="*/ 0 w 158643"/>
                  <a:gd name="connsiteY3" fmla="*/ 15254 h 118982"/>
                  <a:gd name="connsiteX4" fmla="*/ 15254 w 158643"/>
                  <a:gd name="connsiteY4" fmla="*/ 0 h 118982"/>
                  <a:gd name="connsiteX5" fmla="*/ 143390 w 158643"/>
                  <a:gd name="connsiteY5" fmla="*/ 0 h 118982"/>
                  <a:gd name="connsiteX6" fmla="*/ 158644 w 158643"/>
                  <a:gd name="connsiteY6" fmla="*/ 15254 h 118982"/>
                  <a:gd name="connsiteX7" fmla="*/ 158644 w 158643"/>
                  <a:gd name="connsiteY7" fmla="*/ 103729 h 118982"/>
                  <a:gd name="connsiteX8" fmla="*/ 143390 w 158643"/>
                  <a:gd name="connsiteY8" fmla="*/ 118983 h 118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8643" h="118982">
                    <a:moveTo>
                      <a:pt x="143390" y="118983"/>
                    </a:moveTo>
                    <a:lnTo>
                      <a:pt x="15254" y="118983"/>
                    </a:lnTo>
                    <a:cubicBezTo>
                      <a:pt x="6102" y="118983"/>
                      <a:pt x="0" y="112882"/>
                      <a:pt x="0" y="103729"/>
                    </a:cubicBezTo>
                    <a:lnTo>
                      <a:pt x="0" y="15254"/>
                    </a:lnTo>
                    <a:cubicBezTo>
                      <a:pt x="0" y="6102"/>
                      <a:pt x="6102" y="0"/>
                      <a:pt x="15254" y="0"/>
                    </a:cubicBezTo>
                    <a:lnTo>
                      <a:pt x="143390" y="0"/>
                    </a:lnTo>
                    <a:cubicBezTo>
                      <a:pt x="152542" y="0"/>
                      <a:pt x="158644" y="6102"/>
                      <a:pt x="158644" y="15254"/>
                    </a:cubicBezTo>
                    <a:lnTo>
                      <a:pt x="158644" y="103729"/>
                    </a:lnTo>
                    <a:cubicBezTo>
                      <a:pt x="158644" y="109831"/>
                      <a:pt x="149491" y="118983"/>
                      <a:pt x="143390" y="11898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3" name="图形 1">
              <a:extLst>
                <a:ext uri="{FF2B5EF4-FFF2-40B4-BE49-F238E27FC236}">
                  <a16:creationId xmlns:a16="http://schemas.microsoft.com/office/drawing/2014/main" id="{D36BDF6E-EAD4-4D9C-B21B-AF1C49BB7C74}"/>
                </a:ext>
              </a:extLst>
            </p:cNvPr>
            <p:cNvGrpSpPr/>
            <p:nvPr/>
          </p:nvGrpSpPr>
          <p:grpSpPr>
            <a:xfrm>
              <a:off x="4675962" y="8998439"/>
              <a:ext cx="161355" cy="121584"/>
              <a:chOff x="4675962" y="8998439"/>
              <a:chExt cx="161355" cy="121584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AA55BB65-3244-47C7-AF50-590D3ECD6833}"/>
                  </a:ext>
                </a:extLst>
              </p:cNvPr>
              <p:cNvSpPr/>
              <p:nvPr/>
            </p:nvSpPr>
            <p:spPr>
              <a:xfrm>
                <a:off x="4675962" y="9006774"/>
                <a:ext cx="148157" cy="110278"/>
              </a:xfrm>
              <a:custGeom>
                <a:avLst/>
                <a:gdLst>
                  <a:gd name="connsiteX0" fmla="*/ 120140 w 148157"/>
                  <a:gd name="connsiteY0" fmla="*/ 12572 h 110278"/>
                  <a:gd name="connsiteX1" fmla="*/ 7258 w 148157"/>
                  <a:gd name="connsiteY1" fmla="*/ 15623 h 110278"/>
                  <a:gd name="connsiteX2" fmla="*/ 16411 w 148157"/>
                  <a:gd name="connsiteY2" fmla="*/ 110199 h 110278"/>
                  <a:gd name="connsiteX3" fmla="*/ 49970 w 148157"/>
                  <a:gd name="connsiteY3" fmla="*/ 61385 h 110278"/>
                  <a:gd name="connsiteX4" fmla="*/ 114038 w 148157"/>
                  <a:gd name="connsiteY4" fmla="*/ 73589 h 110278"/>
                  <a:gd name="connsiteX5" fmla="*/ 138445 w 148157"/>
                  <a:gd name="connsiteY5" fmla="*/ 88843 h 110278"/>
                  <a:gd name="connsiteX6" fmla="*/ 120140 w 148157"/>
                  <a:gd name="connsiteY6" fmla="*/ 12572 h 110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157" h="110278">
                    <a:moveTo>
                      <a:pt x="120140" y="12572"/>
                    </a:moveTo>
                    <a:cubicBezTo>
                      <a:pt x="92682" y="-8784"/>
                      <a:pt x="34716" y="368"/>
                      <a:pt x="7258" y="15623"/>
                    </a:cubicBezTo>
                    <a:cubicBezTo>
                      <a:pt x="-11047" y="27826"/>
                      <a:pt x="10309" y="113250"/>
                      <a:pt x="16411" y="110199"/>
                    </a:cubicBezTo>
                    <a:cubicBezTo>
                      <a:pt x="62174" y="94944"/>
                      <a:pt x="34716" y="64436"/>
                      <a:pt x="49970" y="61385"/>
                    </a:cubicBezTo>
                    <a:cubicBezTo>
                      <a:pt x="74377" y="55283"/>
                      <a:pt x="92682" y="61385"/>
                      <a:pt x="114038" y="73589"/>
                    </a:cubicBezTo>
                    <a:cubicBezTo>
                      <a:pt x="120140" y="79690"/>
                      <a:pt x="129292" y="97995"/>
                      <a:pt x="138445" y="88843"/>
                    </a:cubicBezTo>
                    <a:cubicBezTo>
                      <a:pt x="162852" y="79690"/>
                      <a:pt x="135394" y="24775"/>
                      <a:pt x="120140" y="12572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341EBCF9-A175-4ECC-974E-F5BBAE762DF7}"/>
                  </a:ext>
                </a:extLst>
              </p:cNvPr>
              <p:cNvSpPr/>
              <p:nvPr/>
            </p:nvSpPr>
            <p:spPr>
              <a:xfrm>
                <a:off x="4683221" y="8998439"/>
                <a:ext cx="154097" cy="121584"/>
              </a:xfrm>
              <a:custGeom>
                <a:avLst/>
                <a:gdLst>
                  <a:gd name="connsiteX0" fmla="*/ 24407 w 154097"/>
                  <a:gd name="connsiteY0" fmla="*/ 121584 h 121584"/>
                  <a:gd name="connsiteX1" fmla="*/ 18305 w 154097"/>
                  <a:gd name="connsiteY1" fmla="*/ 118533 h 121584"/>
                  <a:gd name="connsiteX2" fmla="*/ 21356 w 154097"/>
                  <a:gd name="connsiteY2" fmla="*/ 109381 h 121584"/>
                  <a:gd name="connsiteX3" fmla="*/ 42712 w 154097"/>
                  <a:gd name="connsiteY3" fmla="*/ 69720 h 121584"/>
                  <a:gd name="connsiteX4" fmla="*/ 42712 w 154097"/>
                  <a:gd name="connsiteY4" fmla="*/ 66669 h 121584"/>
                  <a:gd name="connsiteX5" fmla="*/ 45763 w 154097"/>
                  <a:gd name="connsiteY5" fmla="*/ 66669 h 121584"/>
                  <a:gd name="connsiteX6" fmla="*/ 115932 w 154097"/>
                  <a:gd name="connsiteY6" fmla="*/ 84974 h 121584"/>
                  <a:gd name="connsiteX7" fmla="*/ 134237 w 154097"/>
                  <a:gd name="connsiteY7" fmla="*/ 94127 h 121584"/>
                  <a:gd name="connsiteX8" fmla="*/ 137288 w 154097"/>
                  <a:gd name="connsiteY8" fmla="*/ 88025 h 121584"/>
                  <a:gd name="connsiteX9" fmla="*/ 109831 w 154097"/>
                  <a:gd name="connsiteY9" fmla="*/ 20906 h 121584"/>
                  <a:gd name="connsiteX10" fmla="*/ 6102 w 154097"/>
                  <a:gd name="connsiteY10" fmla="*/ 27008 h 121584"/>
                  <a:gd name="connsiteX11" fmla="*/ 0 w 154097"/>
                  <a:gd name="connsiteY11" fmla="*/ 23957 h 121584"/>
                  <a:gd name="connsiteX12" fmla="*/ 3051 w 154097"/>
                  <a:gd name="connsiteY12" fmla="*/ 17855 h 121584"/>
                  <a:gd name="connsiteX13" fmla="*/ 122034 w 154097"/>
                  <a:gd name="connsiteY13" fmla="*/ 14805 h 121584"/>
                  <a:gd name="connsiteX14" fmla="*/ 152542 w 154097"/>
                  <a:gd name="connsiteY14" fmla="*/ 91076 h 121584"/>
                  <a:gd name="connsiteX15" fmla="*/ 140339 w 154097"/>
                  <a:gd name="connsiteY15" fmla="*/ 103279 h 121584"/>
                  <a:gd name="connsiteX16" fmla="*/ 112882 w 154097"/>
                  <a:gd name="connsiteY16" fmla="*/ 91076 h 121584"/>
                  <a:gd name="connsiteX17" fmla="*/ 54915 w 154097"/>
                  <a:gd name="connsiteY17" fmla="*/ 72771 h 121584"/>
                  <a:gd name="connsiteX18" fmla="*/ 24407 w 154097"/>
                  <a:gd name="connsiteY18" fmla="*/ 121584 h 121584"/>
                  <a:gd name="connsiteX19" fmla="*/ 24407 w 154097"/>
                  <a:gd name="connsiteY19" fmla="*/ 121584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54097" h="121584">
                    <a:moveTo>
                      <a:pt x="24407" y="121584"/>
                    </a:moveTo>
                    <a:cubicBezTo>
                      <a:pt x="21356" y="121584"/>
                      <a:pt x="21356" y="121584"/>
                      <a:pt x="18305" y="118533"/>
                    </a:cubicBezTo>
                    <a:cubicBezTo>
                      <a:pt x="15254" y="115483"/>
                      <a:pt x="18305" y="112432"/>
                      <a:pt x="21356" y="109381"/>
                    </a:cubicBezTo>
                    <a:cubicBezTo>
                      <a:pt x="33560" y="100229"/>
                      <a:pt x="39661" y="78872"/>
                      <a:pt x="42712" y="69720"/>
                    </a:cubicBezTo>
                    <a:lnTo>
                      <a:pt x="42712" y="66669"/>
                    </a:lnTo>
                    <a:lnTo>
                      <a:pt x="45763" y="66669"/>
                    </a:lnTo>
                    <a:cubicBezTo>
                      <a:pt x="79322" y="57517"/>
                      <a:pt x="100678" y="72771"/>
                      <a:pt x="115932" y="84974"/>
                    </a:cubicBezTo>
                    <a:cubicBezTo>
                      <a:pt x="122034" y="91076"/>
                      <a:pt x="131187" y="97178"/>
                      <a:pt x="134237" y="94127"/>
                    </a:cubicBezTo>
                    <a:cubicBezTo>
                      <a:pt x="134237" y="94127"/>
                      <a:pt x="137288" y="94127"/>
                      <a:pt x="137288" y="88025"/>
                    </a:cubicBezTo>
                    <a:cubicBezTo>
                      <a:pt x="140339" y="72771"/>
                      <a:pt x="131187" y="45313"/>
                      <a:pt x="109831" y="20906"/>
                    </a:cubicBezTo>
                    <a:cubicBezTo>
                      <a:pt x="82373" y="-6551"/>
                      <a:pt x="6102" y="27008"/>
                      <a:pt x="6102" y="27008"/>
                    </a:cubicBezTo>
                    <a:cubicBezTo>
                      <a:pt x="3051" y="27008"/>
                      <a:pt x="0" y="27008"/>
                      <a:pt x="0" y="23957"/>
                    </a:cubicBezTo>
                    <a:cubicBezTo>
                      <a:pt x="0" y="20906"/>
                      <a:pt x="0" y="17855"/>
                      <a:pt x="3051" y="17855"/>
                    </a:cubicBezTo>
                    <a:cubicBezTo>
                      <a:pt x="6102" y="14805"/>
                      <a:pt x="85424" y="-18755"/>
                      <a:pt x="122034" y="14805"/>
                    </a:cubicBezTo>
                    <a:cubicBezTo>
                      <a:pt x="146441" y="39212"/>
                      <a:pt x="158644" y="72771"/>
                      <a:pt x="152542" y="91076"/>
                    </a:cubicBezTo>
                    <a:cubicBezTo>
                      <a:pt x="149492" y="97178"/>
                      <a:pt x="146441" y="103279"/>
                      <a:pt x="140339" y="103279"/>
                    </a:cubicBezTo>
                    <a:cubicBezTo>
                      <a:pt x="131187" y="106330"/>
                      <a:pt x="122034" y="100229"/>
                      <a:pt x="112882" y="91076"/>
                    </a:cubicBezTo>
                    <a:cubicBezTo>
                      <a:pt x="97627" y="78872"/>
                      <a:pt x="82373" y="66669"/>
                      <a:pt x="54915" y="72771"/>
                    </a:cubicBezTo>
                    <a:cubicBezTo>
                      <a:pt x="48814" y="88025"/>
                      <a:pt x="42712" y="112432"/>
                      <a:pt x="24407" y="121584"/>
                    </a:cubicBezTo>
                    <a:cubicBezTo>
                      <a:pt x="24407" y="121584"/>
                      <a:pt x="24407" y="121584"/>
                      <a:pt x="24407" y="12158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4AFE5D4A-3E2E-41BE-8866-20CA33856F69}"/>
                </a:ext>
              </a:extLst>
            </p:cNvPr>
            <p:cNvGrpSpPr/>
            <p:nvPr/>
          </p:nvGrpSpPr>
          <p:grpSpPr>
            <a:xfrm>
              <a:off x="3879530" y="8903667"/>
              <a:ext cx="2097250" cy="3369756"/>
              <a:chOff x="3879530" y="8903667"/>
              <a:chExt cx="2097250" cy="3369756"/>
            </a:xfrm>
          </p:grpSpPr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204A71E1-04A5-4654-B0DB-ECD7BEAC68A1}"/>
                  </a:ext>
                </a:extLst>
              </p:cNvPr>
              <p:cNvSpPr/>
              <p:nvPr/>
            </p:nvSpPr>
            <p:spPr>
              <a:xfrm>
                <a:off x="3879530" y="8952227"/>
                <a:ext cx="1059962" cy="1800890"/>
              </a:xfrm>
              <a:custGeom>
                <a:avLst/>
                <a:gdLst>
                  <a:gd name="connsiteX0" fmla="*/ 159962 w 1059962"/>
                  <a:gd name="connsiteY0" fmla="*/ 0 h 1800890"/>
                  <a:gd name="connsiteX1" fmla="*/ 400979 w 1059962"/>
                  <a:gd name="connsiteY1" fmla="*/ 1800000 h 1800890"/>
                  <a:gd name="connsiteX2" fmla="*/ 641996 w 1059962"/>
                  <a:gd name="connsiteY2" fmla="*/ 1732882 h 1800890"/>
                  <a:gd name="connsiteX3" fmla="*/ 1059962 w 1059962"/>
                  <a:gd name="connsiteY3" fmla="*/ 1729830 h 1800890"/>
                  <a:gd name="connsiteX4" fmla="*/ 1059962 w 1059962"/>
                  <a:gd name="connsiteY4" fmla="*/ 24407 h 1800890"/>
                  <a:gd name="connsiteX5" fmla="*/ 159962 w 1059962"/>
                  <a:gd name="connsiteY5" fmla="*/ 0 h 1800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59962" h="1800890">
                    <a:moveTo>
                      <a:pt x="159962" y="0"/>
                    </a:moveTo>
                    <a:cubicBezTo>
                      <a:pt x="159962" y="0"/>
                      <a:pt x="-328174" y="1424746"/>
                      <a:pt x="400979" y="1800000"/>
                    </a:cubicBezTo>
                    <a:cubicBezTo>
                      <a:pt x="419284" y="1809153"/>
                      <a:pt x="541318" y="1745085"/>
                      <a:pt x="641996" y="1732882"/>
                    </a:cubicBezTo>
                    <a:cubicBezTo>
                      <a:pt x="837250" y="1711525"/>
                      <a:pt x="1059962" y="1729830"/>
                      <a:pt x="1059962" y="1729830"/>
                    </a:cubicBezTo>
                    <a:cubicBezTo>
                      <a:pt x="1059962" y="1729830"/>
                      <a:pt x="519962" y="1107458"/>
                      <a:pt x="1059962" y="24407"/>
                    </a:cubicBezTo>
                    <a:lnTo>
                      <a:pt x="159962" y="0"/>
                    </a:ln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5F89B92B-A341-459E-9429-FBD036209EC8}"/>
                  </a:ext>
                </a:extLst>
              </p:cNvPr>
              <p:cNvSpPr/>
              <p:nvPr/>
            </p:nvSpPr>
            <p:spPr>
              <a:xfrm>
                <a:off x="4039492" y="8903667"/>
                <a:ext cx="947457" cy="437522"/>
              </a:xfrm>
              <a:custGeom>
                <a:avLst/>
                <a:gdLst>
                  <a:gd name="connsiteX0" fmla="*/ 0 w 947457"/>
                  <a:gd name="connsiteY0" fmla="*/ 48560 h 437522"/>
                  <a:gd name="connsiteX1" fmla="*/ 30508 w 947457"/>
                  <a:gd name="connsiteY1" fmla="*/ 387204 h 437522"/>
                  <a:gd name="connsiteX2" fmla="*/ 900000 w 947457"/>
                  <a:gd name="connsiteY2" fmla="*/ 411611 h 437522"/>
                  <a:gd name="connsiteX3" fmla="*/ 900000 w 947457"/>
                  <a:gd name="connsiteY3" fmla="*/ 72967 h 437522"/>
                  <a:gd name="connsiteX4" fmla="*/ 0 w 947457"/>
                  <a:gd name="connsiteY4" fmla="*/ 48560 h 437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7457" h="437522">
                    <a:moveTo>
                      <a:pt x="0" y="48560"/>
                    </a:moveTo>
                    <a:cubicBezTo>
                      <a:pt x="0" y="48560"/>
                      <a:pt x="183051" y="219407"/>
                      <a:pt x="30508" y="387204"/>
                    </a:cubicBezTo>
                    <a:cubicBezTo>
                      <a:pt x="30508" y="387204"/>
                      <a:pt x="637627" y="481780"/>
                      <a:pt x="900000" y="411611"/>
                    </a:cubicBezTo>
                    <a:cubicBezTo>
                      <a:pt x="900000" y="411611"/>
                      <a:pt x="1006780" y="243814"/>
                      <a:pt x="900000" y="72967"/>
                    </a:cubicBezTo>
                    <a:cubicBezTo>
                      <a:pt x="900000" y="72967"/>
                      <a:pt x="363051" y="-73474"/>
                      <a:pt x="0" y="4856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C2E562A4-755B-4CB0-83A1-6D9443CC50BE}"/>
                  </a:ext>
                </a:extLst>
              </p:cNvPr>
              <p:cNvSpPr/>
              <p:nvPr/>
            </p:nvSpPr>
            <p:spPr>
              <a:xfrm>
                <a:off x="4280509" y="10658505"/>
                <a:ext cx="1696271" cy="1614918"/>
              </a:xfrm>
              <a:custGeom>
                <a:avLst/>
                <a:gdLst>
                  <a:gd name="connsiteX0" fmla="*/ 1696271 w 1696271"/>
                  <a:gd name="connsiteY0" fmla="*/ 1579485 h 1614918"/>
                  <a:gd name="connsiteX1" fmla="*/ 802373 w 1696271"/>
                  <a:gd name="connsiteY1" fmla="*/ 1588637 h 1614918"/>
                  <a:gd name="connsiteX2" fmla="*/ 704746 w 1696271"/>
                  <a:gd name="connsiteY2" fmla="*/ 414061 h 1614918"/>
                  <a:gd name="connsiteX3" fmla="*/ 0 w 1696271"/>
                  <a:gd name="connsiteY3" fmla="*/ 93722 h 1614918"/>
                  <a:gd name="connsiteX4" fmla="*/ 622373 w 1696271"/>
                  <a:gd name="connsiteY4" fmla="*/ 2196 h 1614918"/>
                  <a:gd name="connsiteX5" fmla="*/ 1214237 w 1696271"/>
                  <a:gd name="connsiteY5" fmla="*/ 374400 h 1614918"/>
                  <a:gd name="connsiteX6" fmla="*/ 1214237 w 1696271"/>
                  <a:gd name="connsiteY6" fmla="*/ 1271349 h 1614918"/>
                  <a:gd name="connsiteX7" fmla="*/ 1696271 w 1696271"/>
                  <a:gd name="connsiteY7" fmla="*/ 1579485 h 1614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96271" h="1614918">
                    <a:moveTo>
                      <a:pt x="1696271" y="1579485"/>
                    </a:moveTo>
                    <a:cubicBezTo>
                      <a:pt x="1696271" y="1579485"/>
                      <a:pt x="1278305" y="1652705"/>
                      <a:pt x="802373" y="1588637"/>
                    </a:cubicBezTo>
                    <a:cubicBezTo>
                      <a:pt x="326441" y="1524570"/>
                      <a:pt x="787119" y="908298"/>
                      <a:pt x="704746" y="414061"/>
                    </a:cubicBezTo>
                    <a:cubicBezTo>
                      <a:pt x="622373" y="-80176"/>
                      <a:pt x="0" y="93722"/>
                      <a:pt x="0" y="93722"/>
                    </a:cubicBezTo>
                    <a:cubicBezTo>
                      <a:pt x="137288" y="-3905"/>
                      <a:pt x="454576" y="-3905"/>
                      <a:pt x="622373" y="2196"/>
                    </a:cubicBezTo>
                    <a:cubicBezTo>
                      <a:pt x="860339" y="11349"/>
                      <a:pt x="1214237" y="32705"/>
                      <a:pt x="1214237" y="374400"/>
                    </a:cubicBezTo>
                    <a:cubicBezTo>
                      <a:pt x="1214237" y="636773"/>
                      <a:pt x="1086102" y="1027281"/>
                      <a:pt x="1214237" y="1271349"/>
                    </a:cubicBezTo>
                    <a:cubicBezTo>
                      <a:pt x="1327119" y="1491011"/>
                      <a:pt x="1696271" y="1579485"/>
                      <a:pt x="1696271" y="1579485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B01BA103-3676-49D2-BC80-0CFDB7042E29}"/>
                  </a:ext>
                </a:extLst>
              </p:cNvPr>
              <p:cNvSpPr/>
              <p:nvPr/>
            </p:nvSpPr>
            <p:spPr>
              <a:xfrm>
                <a:off x="4034153" y="8946888"/>
                <a:ext cx="908389" cy="404999"/>
              </a:xfrm>
              <a:custGeom>
                <a:avLst/>
                <a:gdLst>
                  <a:gd name="connsiteX0" fmla="*/ 606356 w 908389"/>
                  <a:gd name="connsiteY0" fmla="*/ 405000 h 404999"/>
                  <a:gd name="connsiteX1" fmla="*/ 35847 w 908389"/>
                  <a:gd name="connsiteY1" fmla="*/ 350085 h 404999"/>
                  <a:gd name="connsiteX2" fmla="*/ 26695 w 908389"/>
                  <a:gd name="connsiteY2" fmla="*/ 347034 h 404999"/>
                  <a:gd name="connsiteX3" fmla="*/ 32797 w 908389"/>
                  <a:gd name="connsiteY3" fmla="*/ 340932 h 404999"/>
                  <a:gd name="connsiteX4" fmla="*/ 2288 w 908389"/>
                  <a:gd name="connsiteY4" fmla="*/ 11441 h 404999"/>
                  <a:gd name="connsiteX5" fmla="*/ 2288 w 908389"/>
                  <a:gd name="connsiteY5" fmla="*/ 2288 h 404999"/>
                  <a:gd name="connsiteX6" fmla="*/ 11441 w 908389"/>
                  <a:gd name="connsiteY6" fmla="*/ 2288 h 404999"/>
                  <a:gd name="connsiteX7" fmla="*/ 48051 w 908389"/>
                  <a:gd name="connsiteY7" fmla="*/ 340932 h 404999"/>
                  <a:gd name="connsiteX8" fmla="*/ 902288 w 908389"/>
                  <a:gd name="connsiteY8" fmla="*/ 362288 h 404999"/>
                  <a:gd name="connsiteX9" fmla="*/ 908390 w 908389"/>
                  <a:gd name="connsiteY9" fmla="*/ 365339 h 404999"/>
                  <a:gd name="connsiteX10" fmla="*/ 905339 w 908389"/>
                  <a:gd name="connsiteY10" fmla="*/ 371441 h 404999"/>
                  <a:gd name="connsiteX11" fmla="*/ 606356 w 908389"/>
                  <a:gd name="connsiteY11" fmla="*/ 405000 h 404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08389" h="404999">
                    <a:moveTo>
                      <a:pt x="606356" y="405000"/>
                    </a:moveTo>
                    <a:cubicBezTo>
                      <a:pt x="328729" y="405000"/>
                      <a:pt x="38898" y="353135"/>
                      <a:pt x="35847" y="350085"/>
                    </a:cubicBezTo>
                    <a:lnTo>
                      <a:pt x="26695" y="347034"/>
                    </a:lnTo>
                    <a:lnTo>
                      <a:pt x="32797" y="340932"/>
                    </a:lnTo>
                    <a:cubicBezTo>
                      <a:pt x="179237" y="188390"/>
                      <a:pt x="5339" y="11441"/>
                      <a:pt x="2288" y="11441"/>
                    </a:cubicBezTo>
                    <a:cubicBezTo>
                      <a:pt x="-763" y="8390"/>
                      <a:pt x="-763" y="5339"/>
                      <a:pt x="2288" y="2288"/>
                    </a:cubicBezTo>
                    <a:cubicBezTo>
                      <a:pt x="5339" y="-763"/>
                      <a:pt x="8390" y="-763"/>
                      <a:pt x="11441" y="2288"/>
                    </a:cubicBezTo>
                    <a:cubicBezTo>
                      <a:pt x="14492" y="5339"/>
                      <a:pt x="191441" y="179237"/>
                      <a:pt x="48051" y="340932"/>
                    </a:cubicBezTo>
                    <a:cubicBezTo>
                      <a:pt x="124322" y="353135"/>
                      <a:pt x="624661" y="435508"/>
                      <a:pt x="902288" y="362288"/>
                    </a:cubicBezTo>
                    <a:cubicBezTo>
                      <a:pt x="905339" y="362288"/>
                      <a:pt x="908390" y="362288"/>
                      <a:pt x="908390" y="365339"/>
                    </a:cubicBezTo>
                    <a:cubicBezTo>
                      <a:pt x="908390" y="368390"/>
                      <a:pt x="908390" y="371441"/>
                      <a:pt x="905339" y="371441"/>
                    </a:cubicBezTo>
                    <a:cubicBezTo>
                      <a:pt x="819915" y="395848"/>
                      <a:pt x="713136" y="405000"/>
                      <a:pt x="606356" y="40500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B89F44E6-53E9-466E-AE0A-B1B9B55795A5}"/>
                  </a:ext>
                </a:extLst>
              </p:cNvPr>
              <p:cNvSpPr/>
              <p:nvPr/>
            </p:nvSpPr>
            <p:spPr>
              <a:xfrm>
                <a:off x="4275170" y="10641469"/>
                <a:ext cx="719237" cy="116859"/>
              </a:xfrm>
              <a:custGeom>
                <a:avLst/>
                <a:gdLst>
                  <a:gd name="connsiteX0" fmla="*/ 5339 w 719237"/>
                  <a:gd name="connsiteY0" fmla="*/ 116860 h 116859"/>
                  <a:gd name="connsiteX1" fmla="*/ 2288 w 719237"/>
                  <a:gd name="connsiteY1" fmla="*/ 113809 h 116859"/>
                  <a:gd name="connsiteX2" fmla="*/ 2288 w 719237"/>
                  <a:gd name="connsiteY2" fmla="*/ 104656 h 116859"/>
                  <a:gd name="connsiteX3" fmla="*/ 713135 w 719237"/>
                  <a:gd name="connsiteY3" fmla="*/ 16182 h 116859"/>
                  <a:gd name="connsiteX4" fmla="*/ 719237 w 719237"/>
                  <a:gd name="connsiteY4" fmla="*/ 22283 h 116859"/>
                  <a:gd name="connsiteX5" fmla="*/ 713135 w 719237"/>
                  <a:gd name="connsiteY5" fmla="*/ 28385 h 116859"/>
                  <a:gd name="connsiteX6" fmla="*/ 160932 w 719237"/>
                  <a:gd name="connsiteY6" fmla="*/ 46691 h 116859"/>
                  <a:gd name="connsiteX7" fmla="*/ 11441 w 719237"/>
                  <a:gd name="connsiteY7" fmla="*/ 113809 h 116859"/>
                  <a:gd name="connsiteX8" fmla="*/ 5339 w 719237"/>
                  <a:gd name="connsiteY8" fmla="*/ 116860 h 116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9237" h="116859">
                    <a:moveTo>
                      <a:pt x="5339" y="116860"/>
                    </a:moveTo>
                    <a:cubicBezTo>
                      <a:pt x="5339" y="116860"/>
                      <a:pt x="2288" y="116860"/>
                      <a:pt x="2288" y="113809"/>
                    </a:cubicBezTo>
                    <a:cubicBezTo>
                      <a:pt x="-763" y="110758"/>
                      <a:pt x="-763" y="107707"/>
                      <a:pt x="2288" y="104656"/>
                    </a:cubicBezTo>
                    <a:cubicBezTo>
                      <a:pt x="8390" y="98554"/>
                      <a:pt x="173136" y="-47886"/>
                      <a:pt x="713135" y="16182"/>
                    </a:cubicBezTo>
                    <a:cubicBezTo>
                      <a:pt x="716186" y="16182"/>
                      <a:pt x="719237" y="19232"/>
                      <a:pt x="719237" y="22283"/>
                    </a:cubicBezTo>
                    <a:cubicBezTo>
                      <a:pt x="719237" y="25334"/>
                      <a:pt x="716186" y="28385"/>
                      <a:pt x="713135" y="28385"/>
                    </a:cubicBezTo>
                    <a:cubicBezTo>
                      <a:pt x="435508" y="-5174"/>
                      <a:pt x="258559" y="19232"/>
                      <a:pt x="160932" y="46691"/>
                    </a:cubicBezTo>
                    <a:cubicBezTo>
                      <a:pt x="54152" y="77199"/>
                      <a:pt x="14492" y="113809"/>
                      <a:pt x="11441" y="113809"/>
                    </a:cubicBezTo>
                    <a:cubicBezTo>
                      <a:pt x="8390" y="116860"/>
                      <a:pt x="8390" y="116860"/>
                      <a:pt x="5339" y="11686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511F6B1E-8B9D-4CA4-893E-4E7246D2E44A}"/>
                </a:ext>
              </a:extLst>
            </p:cNvPr>
            <p:cNvSpPr/>
            <p:nvPr/>
          </p:nvSpPr>
          <p:spPr>
            <a:xfrm>
              <a:off x="3816780" y="9230599"/>
              <a:ext cx="220977" cy="84070"/>
            </a:xfrm>
            <a:custGeom>
              <a:avLst/>
              <a:gdLst>
                <a:gd name="connsiteX0" fmla="*/ 0 w 220977"/>
                <a:gd name="connsiteY0" fmla="*/ 72476 h 84070"/>
                <a:gd name="connsiteX1" fmla="*/ 128136 w 220977"/>
                <a:gd name="connsiteY1" fmla="*/ 2306 h 84070"/>
                <a:gd name="connsiteX2" fmla="*/ 219661 w 220977"/>
                <a:gd name="connsiteY2" fmla="*/ 14509 h 84070"/>
                <a:gd name="connsiteX3" fmla="*/ 97627 w 220977"/>
                <a:gd name="connsiteY3" fmla="*/ 78577 h 84070"/>
                <a:gd name="connsiteX4" fmla="*/ 0 w 220977"/>
                <a:gd name="connsiteY4" fmla="*/ 72476 h 84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0977" h="84070">
                  <a:moveTo>
                    <a:pt x="0" y="72476"/>
                  </a:moveTo>
                  <a:cubicBezTo>
                    <a:pt x="0" y="72476"/>
                    <a:pt x="91525" y="5357"/>
                    <a:pt x="128136" y="2306"/>
                  </a:cubicBezTo>
                  <a:cubicBezTo>
                    <a:pt x="164746" y="-745"/>
                    <a:pt x="213559" y="-3795"/>
                    <a:pt x="219661" y="14509"/>
                  </a:cubicBezTo>
                  <a:cubicBezTo>
                    <a:pt x="234915" y="60272"/>
                    <a:pt x="112881" y="41967"/>
                    <a:pt x="97627" y="78577"/>
                  </a:cubicBezTo>
                  <a:cubicBezTo>
                    <a:pt x="91525" y="93832"/>
                    <a:pt x="0" y="72476"/>
                    <a:pt x="0" y="72476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F1984645-6351-49AC-92F3-36B58E543B07}"/>
                </a:ext>
              </a:extLst>
            </p:cNvPr>
            <p:cNvGrpSpPr/>
            <p:nvPr/>
          </p:nvGrpSpPr>
          <p:grpSpPr>
            <a:xfrm>
              <a:off x="3706282" y="9267208"/>
              <a:ext cx="348870" cy="252476"/>
              <a:chOff x="3706282" y="9267208"/>
              <a:chExt cx="348870" cy="252476"/>
            </a:xfrm>
          </p:grpSpPr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5F32A42A-2E57-49D0-88BE-9DF5D5F9918E}"/>
                  </a:ext>
                </a:extLst>
              </p:cNvPr>
              <p:cNvSpPr/>
              <p:nvPr/>
            </p:nvSpPr>
            <p:spPr>
              <a:xfrm>
                <a:off x="3706282" y="9276343"/>
                <a:ext cx="343828" cy="243341"/>
              </a:xfrm>
              <a:custGeom>
                <a:avLst/>
                <a:gdLst>
                  <a:gd name="connsiteX0" fmla="*/ 52532 w 343828"/>
                  <a:gd name="connsiteY0" fmla="*/ 203681 h 243341"/>
                  <a:gd name="connsiteX1" fmla="*/ 165413 w 343828"/>
                  <a:gd name="connsiteY1" fmla="*/ 215884 h 243341"/>
                  <a:gd name="connsiteX2" fmla="*/ 256939 w 343828"/>
                  <a:gd name="connsiteY2" fmla="*/ 243342 h 243341"/>
                  <a:gd name="connsiteX3" fmla="*/ 342362 w 343828"/>
                  <a:gd name="connsiteY3" fmla="*/ 29782 h 243341"/>
                  <a:gd name="connsiteX4" fmla="*/ 278295 w 343828"/>
                  <a:gd name="connsiteY4" fmla="*/ 2325 h 243341"/>
                  <a:gd name="connsiteX5" fmla="*/ 25074 w 343828"/>
                  <a:gd name="connsiteY5" fmla="*/ 32833 h 243341"/>
                  <a:gd name="connsiteX6" fmla="*/ 3718 w 343828"/>
                  <a:gd name="connsiteY6" fmla="*/ 170122 h 243341"/>
                  <a:gd name="connsiteX7" fmla="*/ 52532 w 343828"/>
                  <a:gd name="connsiteY7" fmla="*/ 203681 h 243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3828" h="243341">
                    <a:moveTo>
                      <a:pt x="52532" y="203681"/>
                    </a:moveTo>
                    <a:cubicBezTo>
                      <a:pt x="89142" y="209783"/>
                      <a:pt x="128803" y="209783"/>
                      <a:pt x="165413" y="215884"/>
                    </a:cubicBezTo>
                    <a:cubicBezTo>
                      <a:pt x="205074" y="221986"/>
                      <a:pt x="217278" y="243342"/>
                      <a:pt x="256939" y="243342"/>
                    </a:cubicBezTo>
                    <a:cubicBezTo>
                      <a:pt x="287447" y="243342"/>
                      <a:pt x="354566" y="96901"/>
                      <a:pt x="342362" y="29782"/>
                    </a:cubicBezTo>
                    <a:cubicBezTo>
                      <a:pt x="336261" y="-9878"/>
                      <a:pt x="293549" y="2325"/>
                      <a:pt x="278295" y="2325"/>
                    </a:cubicBezTo>
                    <a:cubicBezTo>
                      <a:pt x="174566" y="-9878"/>
                      <a:pt x="128803" y="29782"/>
                      <a:pt x="25074" y="32833"/>
                    </a:cubicBezTo>
                    <a:cubicBezTo>
                      <a:pt x="25074" y="29782"/>
                      <a:pt x="-11536" y="121308"/>
                      <a:pt x="3718" y="170122"/>
                    </a:cubicBezTo>
                    <a:cubicBezTo>
                      <a:pt x="15922" y="197579"/>
                      <a:pt x="22023" y="200630"/>
                      <a:pt x="52532" y="203681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566E880E-7275-4876-8A42-DCA3AA5D6C9A}"/>
                  </a:ext>
                </a:extLst>
              </p:cNvPr>
              <p:cNvSpPr/>
              <p:nvPr/>
            </p:nvSpPr>
            <p:spPr>
              <a:xfrm>
                <a:off x="3880848" y="9267208"/>
                <a:ext cx="174304" cy="106036"/>
              </a:xfrm>
              <a:custGeom>
                <a:avLst/>
                <a:gdLst>
                  <a:gd name="connsiteX0" fmla="*/ 161695 w 174304"/>
                  <a:gd name="connsiteY0" fmla="*/ 106036 h 106036"/>
                  <a:gd name="connsiteX1" fmla="*/ 161695 w 174304"/>
                  <a:gd name="connsiteY1" fmla="*/ 106036 h 106036"/>
                  <a:gd name="connsiteX2" fmla="*/ 155593 w 174304"/>
                  <a:gd name="connsiteY2" fmla="*/ 99934 h 106036"/>
                  <a:gd name="connsiteX3" fmla="*/ 149491 w 174304"/>
                  <a:gd name="connsiteY3" fmla="*/ 20612 h 106036"/>
                  <a:gd name="connsiteX4" fmla="*/ 6102 w 174304"/>
                  <a:gd name="connsiteY4" fmla="*/ 23663 h 106036"/>
                  <a:gd name="connsiteX5" fmla="*/ 0 w 174304"/>
                  <a:gd name="connsiteY5" fmla="*/ 20612 h 106036"/>
                  <a:gd name="connsiteX6" fmla="*/ 3051 w 174304"/>
                  <a:gd name="connsiteY6" fmla="*/ 14511 h 106036"/>
                  <a:gd name="connsiteX7" fmla="*/ 155593 w 174304"/>
                  <a:gd name="connsiteY7" fmla="*/ 11460 h 106036"/>
                  <a:gd name="connsiteX8" fmla="*/ 167797 w 174304"/>
                  <a:gd name="connsiteY8" fmla="*/ 106036 h 106036"/>
                  <a:gd name="connsiteX9" fmla="*/ 161695 w 174304"/>
                  <a:gd name="connsiteY9" fmla="*/ 106036 h 106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4304" h="106036">
                    <a:moveTo>
                      <a:pt x="161695" y="106036"/>
                    </a:moveTo>
                    <a:cubicBezTo>
                      <a:pt x="161695" y="106036"/>
                      <a:pt x="161695" y="106036"/>
                      <a:pt x="161695" y="106036"/>
                    </a:cubicBezTo>
                    <a:cubicBezTo>
                      <a:pt x="158644" y="106036"/>
                      <a:pt x="155593" y="102985"/>
                      <a:pt x="155593" y="99934"/>
                    </a:cubicBezTo>
                    <a:cubicBezTo>
                      <a:pt x="161695" y="81629"/>
                      <a:pt x="167797" y="32815"/>
                      <a:pt x="149491" y="20612"/>
                    </a:cubicBezTo>
                    <a:cubicBezTo>
                      <a:pt x="109830" y="-3795"/>
                      <a:pt x="9153" y="23663"/>
                      <a:pt x="6102" y="23663"/>
                    </a:cubicBezTo>
                    <a:cubicBezTo>
                      <a:pt x="3051" y="23663"/>
                      <a:pt x="0" y="23663"/>
                      <a:pt x="0" y="20612"/>
                    </a:cubicBezTo>
                    <a:cubicBezTo>
                      <a:pt x="0" y="17561"/>
                      <a:pt x="0" y="14511"/>
                      <a:pt x="3051" y="14511"/>
                    </a:cubicBezTo>
                    <a:cubicBezTo>
                      <a:pt x="6102" y="14511"/>
                      <a:pt x="109830" y="-15998"/>
                      <a:pt x="155593" y="11460"/>
                    </a:cubicBezTo>
                    <a:cubicBezTo>
                      <a:pt x="186102" y="29765"/>
                      <a:pt x="170847" y="96883"/>
                      <a:pt x="167797" y="106036"/>
                    </a:cubicBezTo>
                    <a:cubicBezTo>
                      <a:pt x="167797" y="106036"/>
                      <a:pt x="164746" y="106036"/>
                      <a:pt x="161695" y="10603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1CA64A12-92E1-4890-9616-14DC1EC3242C}"/>
                  </a:ext>
                </a:extLst>
              </p:cNvPr>
              <p:cNvSpPr/>
              <p:nvPr/>
            </p:nvSpPr>
            <p:spPr>
              <a:xfrm>
                <a:off x="3951017" y="9354939"/>
                <a:ext cx="45762" cy="100678"/>
              </a:xfrm>
              <a:custGeom>
                <a:avLst/>
                <a:gdLst>
                  <a:gd name="connsiteX0" fmla="*/ 6102 w 45762"/>
                  <a:gd name="connsiteY0" fmla="*/ 100678 h 100678"/>
                  <a:gd name="connsiteX1" fmla="*/ 6102 w 45762"/>
                  <a:gd name="connsiteY1" fmla="*/ 100678 h 100678"/>
                  <a:gd name="connsiteX2" fmla="*/ 0 w 45762"/>
                  <a:gd name="connsiteY2" fmla="*/ 91525 h 100678"/>
                  <a:gd name="connsiteX3" fmla="*/ 33559 w 45762"/>
                  <a:gd name="connsiteY3" fmla="*/ 6102 h 100678"/>
                  <a:gd name="connsiteX4" fmla="*/ 39661 w 45762"/>
                  <a:gd name="connsiteY4" fmla="*/ 0 h 100678"/>
                  <a:gd name="connsiteX5" fmla="*/ 45763 w 45762"/>
                  <a:gd name="connsiteY5" fmla="*/ 6102 h 100678"/>
                  <a:gd name="connsiteX6" fmla="*/ 12203 w 45762"/>
                  <a:gd name="connsiteY6" fmla="*/ 97627 h 100678"/>
                  <a:gd name="connsiteX7" fmla="*/ 6102 w 45762"/>
                  <a:gd name="connsiteY7" fmla="*/ 100678 h 100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762" h="100678">
                    <a:moveTo>
                      <a:pt x="6102" y="100678"/>
                    </a:moveTo>
                    <a:cubicBezTo>
                      <a:pt x="3051" y="100678"/>
                      <a:pt x="3051" y="100678"/>
                      <a:pt x="6102" y="100678"/>
                    </a:cubicBezTo>
                    <a:cubicBezTo>
                      <a:pt x="0" y="97627"/>
                      <a:pt x="0" y="94576"/>
                      <a:pt x="0" y="91525"/>
                    </a:cubicBezTo>
                    <a:cubicBezTo>
                      <a:pt x="9153" y="73220"/>
                      <a:pt x="33559" y="24407"/>
                      <a:pt x="33559" y="6102"/>
                    </a:cubicBezTo>
                    <a:cubicBezTo>
                      <a:pt x="33559" y="3051"/>
                      <a:pt x="36610" y="0"/>
                      <a:pt x="39661" y="0"/>
                    </a:cubicBezTo>
                    <a:cubicBezTo>
                      <a:pt x="42712" y="0"/>
                      <a:pt x="45763" y="3051"/>
                      <a:pt x="45763" y="6102"/>
                    </a:cubicBezTo>
                    <a:cubicBezTo>
                      <a:pt x="42712" y="30508"/>
                      <a:pt x="12203" y="94576"/>
                      <a:pt x="12203" y="97627"/>
                    </a:cubicBezTo>
                    <a:cubicBezTo>
                      <a:pt x="9153" y="100678"/>
                      <a:pt x="6102" y="100678"/>
                      <a:pt x="6102" y="10067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2E9B80DB-B6BD-46F0-BAA6-915A626C8390}"/>
                </a:ext>
              </a:extLst>
            </p:cNvPr>
            <p:cNvSpPr/>
            <p:nvPr/>
          </p:nvSpPr>
          <p:spPr>
            <a:xfrm>
              <a:off x="2536982" y="8441041"/>
              <a:ext cx="1271634" cy="1139958"/>
            </a:xfrm>
            <a:custGeom>
              <a:avLst/>
              <a:gdLst>
                <a:gd name="connsiteX0" fmla="*/ 74713 w 1271634"/>
                <a:gd name="connsiteY0" fmla="*/ 7797 h 1139958"/>
                <a:gd name="connsiteX1" fmla="*/ 471323 w 1271634"/>
                <a:gd name="connsiteY1" fmla="*/ 340339 h 1139958"/>
                <a:gd name="connsiteX2" fmla="*/ 675730 w 1271634"/>
                <a:gd name="connsiteY2" fmla="*/ 755254 h 1139958"/>
                <a:gd name="connsiteX3" fmla="*/ 1246239 w 1271634"/>
                <a:gd name="connsiteY3" fmla="*/ 849830 h 1139958"/>
                <a:gd name="connsiteX4" fmla="*/ 1267595 w 1271634"/>
                <a:gd name="connsiteY4" fmla="*/ 1051186 h 1139958"/>
                <a:gd name="connsiteX5" fmla="*/ 486578 w 1271634"/>
                <a:gd name="connsiteY5" fmla="*/ 1075593 h 1139958"/>
                <a:gd name="connsiteX6" fmla="*/ 74713 w 1271634"/>
                <a:gd name="connsiteY6" fmla="*/ 7797 h 113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1634" h="1139958">
                  <a:moveTo>
                    <a:pt x="74713" y="7797"/>
                  </a:moveTo>
                  <a:cubicBezTo>
                    <a:pt x="196747" y="-50170"/>
                    <a:pt x="407256" y="230509"/>
                    <a:pt x="471323" y="340339"/>
                  </a:cubicBezTo>
                  <a:cubicBezTo>
                    <a:pt x="529290" y="441017"/>
                    <a:pt x="675730" y="755254"/>
                    <a:pt x="675730" y="755254"/>
                  </a:cubicBezTo>
                  <a:cubicBezTo>
                    <a:pt x="675730" y="755254"/>
                    <a:pt x="1139459" y="752203"/>
                    <a:pt x="1246239" y="849830"/>
                  </a:cubicBezTo>
                  <a:cubicBezTo>
                    <a:pt x="1270646" y="898644"/>
                    <a:pt x="1276747" y="971864"/>
                    <a:pt x="1267595" y="1051186"/>
                  </a:cubicBezTo>
                  <a:cubicBezTo>
                    <a:pt x="1191324" y="1200678"/>
                    <a:pt x="602510" y="1127458"/>
                    <a:pt x="486578" y="1075593"/>
                  </a:cubicBezTo>
                  <a:cubicBezTo>
                    <a:pt x="361493" y="1020678"/>
                    <a:pt x="-199863" y="135932"/>
                    <a:pt x="74713" y="7797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9A84AEFC-0252-45DA-9483-144D33E4552D}"/>
                </a:ext>
              </a:extLst>
            </p:cNvPr>
            <p:cNvSpPr/>
            <p:nvPr/>
          </p:nvSpPr>
          <p:spPr>
            <a:xfrm>
              <a:off x="2547627" y="8444308"/>
              <a:ext cx="673190" cy="761140"/>
            </a:xfrm>
            <a:custGeom>
              <a:avLst/>
              <a:gdLst>
                <a:gd name="connsiteX0" fmla="*/ 668136 w 673190"/>
                <a:gd name="connsiteY0" fmla="*/ 761140 h 761140"/>
                <a:gd name="connsiteX1" fmla="*/ 662034 w 673190"/>
                <a:gd name="connsiteY1" fmla="*/ 758089 h 761140"/>
                <a:gd name="connsiteX2" fmla="*/ 213559 w 673190"/>
                <a:gd name="connsiteY2" fmla="*/ 53343 h 761140"/>
                <a:gd name="connsiteX3" fmla="*/ 64068 w 673190"/>
                <a:gd name="connsiteY3" fmla="*/ 13682 h 761140"/>
                <a:gd name="connsiteX4" fmla="*/ 9153 w 673190"/>
                <a:gd name="connsiteY4" fmla="*/ 59445 h 761140"/>
                <a:gd name="connsiteX5" fmla="*/ 3051 w 673190"/>
                <a:gd name="connsiteY5" fmla="*/ 62496 h 761140"/>
                <a:gd name="connsiteX6" fmla="*/ 0 w 673190"/>
                <a:gd name="connsiteY6" fmla="*/ 56394 h 761140"/>
                <a:gd name="connsiteX7" fmla="*/ 61017 w 673190"/>
                <a:gd name="connsiteY7" fmla="*/ 4530 h 761140"/>
                <a:gd name="connsiteX8" fmla="*/ 219661 w 673190"/>
                <a:gd name="connsiteY8" fmla="*/ 44191 h 761140"/>
                <a:gd name="connsiteX9" fmla="*/ 671187 w 673190"/>
                <a:gd name="connsiteY9" fmla="*/ 751987 h 761140"/>
                <a:gd name="connsiteX10" fmla="*/ 668136 w 673190"/>
                <a:gd name="connsiteY10" fmla="*/ 761140 h 761140"/>
                <a:gd name="connsiteX11" fmla="*/ 668136 w 673190"/>
                <a:gd name="connsiteY11" fmla="*/ 761140 h 761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73190" h="761140">
                  <a:moveTo>
                    <a:pt x="668136" y="761140"/>
                  </a:moveTo>
                  <a:cubicBezTo>
                    <a:pt x="665085" y="761140"/>
                    <a:pt x="665085" y="761140"/>
                    <a:pt x="662034" y="758089"/>
                  </a:cubicBezTo>
                  <a:cubicBezTo>
                    <a:pt x="658983" y="751987"/>
                    <a:pt x="396610" y="172326"/>
                    <a:pt x="213559" y="53343"/>
                  </a:cubicBezTo>
                  <a:cubicBezTo>
                    <a:pt x="155593" y="13682"/>
                    <a:pt x="103729" y="1479"/>
                    <a:pt x="64068" y="13682"/>
                  </a:cubicBezTo>
                  <a:cubicBezTo>
                    <a:pt x="24407" y="25886"/>
                    <a:pt x="9153" y="59445"/>
                    <a:pt x="9153" y="59445"/>
                  </a:cubicBezTo>
                  <a:cubicBezTo>
                    <a:pt x="9153" y="62496"/>
                    <a:pt x="6102" y="62496"/>
                    <a:pt x="3051" y="62496"/>
                  </a:cubicBezTo>
                  <a:cubicBezTo>
                    <a:pt x="0" y="62496"/>
                    <a:pt x="0" y="59445"/>
                    <a:pt x="0" y="56394"/>
                  </a:cubicBezTo>
                  <a:cubicBezTo>
                    <a:pt x="0" y="53343"/>
                    <a:pt x="15254" y="16733"/>
                    <a:pt x="61017" y="4530"/>
                  </a:cubicBezTo>
                  <a:cubicBezTo>
                    <a:pt x="103729" y="-7674"/>
                    <a:pt x="155593" y="4530"/>
                    <a:pt x="219661" y="44191"/>
                  </a:cubicBezTo>
                  <a:cubicBezTo>
                    <a:pt x="405763" y="163174"/>
                    <a:pt x="662034" y="727581"/>
                    <a:pt x="671187" y="751987"/>
                  </a:cubicBezTo>
                  <a:cubicBezTo>
                    <a:pt x="674237" y="755038"/>
                    <a:pt x="674237" y="758089"/>
                    <a:pt x="668136" y="761140"/>
                  </a:cubicBezTo>
                  <a:cubicBezTo>
                    <a:pt x="671187" y="761140"/>
                    <a:pt x="668136" y="761140"/>
                    <a:pt x="668136" y="761140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FBBE63C6-75C0-4F6C-8A6A-04ACB58C3041}"/>
                </a:ext>
              </a:extLst>
            </p:cNvPr>
            <p:cNvSpPr/>
            <p:nvPr/>
          </p:nvSpPr>
          <p:spPr>
            <a:xfrm>
              <a:off x="3103644" y="9190193"/>
              <a:ext cx="114406" cy="82372"/>
            </a:xfrm>
            <a:custGeom>
              <a:avLst/>
              <a:gdLst>
                <a:gd name="connsiteX0" fmla="*/ 78559 w 114406"/>
                <a:gd name="connsiteY0" fmla="*/ 82373 h 82372"/>
                <a:gd name="connsiteX1" fmla="*/ 78559 w 114406"/>
                <a:gd name="connsiteY1" fmla="*/ 82373 h 82372"/>
                <a:gd name="connsiteX2" fmla="*/ 72458 w 114406"/>
                <a:gd name="connsiteY2" fmla="*/ 76271 h 82372"/>
                <a:gd name="connsiteX3" fmla="*/ 93814 w 114406"/>
                <a:gd name="connsiteY3" fmla="*/ 21356 h 82372"/>
                <a:gd name="connsiteX4" fmla="*/ 11441 w 114406"/>
                <a:gd name="connsiteY4" fmla="*/ 73220 h 82372"/>
                <a:gd name="connsiteX5" fmla="*/ 2288 w 114406"/>
                <a:gd name="connsiteY5" fmla="*/ 73220 h 82372"/>
                <a:gd name="connsiteX6" fmla="*/ 2288 w 114406"/>
                <a:gd name="connsiteY6" fmla="*/ 64068 h 82372"/>
                <a:gd name="connsiteX7" fmla="*/ 106017 w 114406"/>
                <a:gd name="connsiteY7" fmla="*/ 0 h 82372"/>
                <a:gd name="connsiteX8" fmla="*/ 112119 w 114406"/>
                <a:gd name="connsiteY8" fmla="*/ 0 h 82372"/>
                <a:gd name="connsiteX9" fmla="*/ 112119 w 114406"/>
                <a:gd name="connsiteY9" fmla="*/ 6102 h 82372"/>
                <a:gd name="connsiteX10" fmla="*/ 81610 w 114406"/>
                <a:gd name="connsiteY10" fmla="*/ 73220 h 82372"/>
                <a:gd name="connsiteX11" fmla="*/ 78559 w 114406"/>
                <a:gd name="connsiteY11" fmla="*/ 82373 h 82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406" h="82372">
                  <a:moveTo>
                    <a:pt x="78559" y="82373"/>
                  </a:moveTo>
                  <a:cubicBezTo>
                    <a:pt x="78559" y="82373"/>
                    <a:pt x="78559" y="82373"/>
                    <a:pt x="78559" y="82373"/>
                  </a:cubicBezTo>
                  <a:cubicBezTo>
                    <a:pt x="75508" y="82373"/>
                    <a:pt x="72458" y="79322"/>
                    <a:pt x="72458" y="76271"/>
                  </a:cubicBezTo>
                  <a:cubicBezTo>
                    <a:pt x="75508" y="57966"/>
                    <a:pt x="84661" y="36610"/>
                    <a:pt x="93814" y="21356"/>
                  </a:cubicBezTo>
                  <a:cubicBezTo>
                    <a:pt x="63305" y="36610"/>
                    <a:pt x="20593" y="61017"/>
                    <a:pt x="11441" y="73220"/>
                  </a:cubicBezTo>
                  <a:cubicBezTo>
                    <a:pt x="8390" y="76271"/>
                    <a:pt x="5339" y="76271"/>
                    <a:pt x="2288" y="73220"/>
                  </a:cubicBezTo>
                  <a:cubicBezTo>
                    <a:pt x="-763" y="70169"/>
                    <a:pt x="-763" y="67119"/>
                    <a:pt x="2288" y="64068"/>
                  </a:cubicBezTo>
                  <a:cubicBezTo>
                    <a:pt x="17542" y="42712"/>
                    <a:pt x="96864" y="3051"/>
                    <a:pt x="106017" y="0"/>
                  </a:cubicBezTo>
                  <a:cubicBezTo>
                    <a:pt x="109068" y="0"/>
                    <a:pt x="112119" y="0"/>
                    <a:pt x="112119" y="0"/>
                  </a:cubicBezTo>
                  <a:cubicBezTo>
                    <a:pt x="115170" y="3051"/>
                    <a:pt x="115170" y="6102"/>
                    <a:pt x="112119" y="6102"/>
                  </a:cubicBezTo>
                  <a:cubicBezTo>
                    <a:pt x="112119" y="6102"/>
                    <a:pt x="84661" y="45763"/>
                    <a:pt x="81610" y="73220"/>
                  </a:cubicBezTo>
                  <a:cubicBezTo>
                    <a:pt x="84661" y="82373"/>
                    <a:pt x="81610" y="82373"/>
                    <a:pt x="78559" y="82373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4C50E87E-28CB-4501-9594-6BDA60BF9852}"/>
                </a:ext>
              </a:extLst>
            </p:cNvPr>
            <p:cNvSpPr/>
            <p:nvPr/>
          </p:nvSpPr>
          <p:spPr>
            <a:xfrm>
              <a:off x="2581187" y="8821041"/>
              <a:ext cx="1180677" cy="768813"/>
            </a:xfrm>
            <a:custGeom>
              <a:avLst/>
              <a:gdLst>
                <a:gd name="connsiteX0" fmla="*/ 866441 w 1180677"/>
                <a:gd name="connsiteY0" fmla="*/ 768814 h 768813"/>
                <a:gd name="connsiteX1" fmla="*/ 387458 w 1180677"/>
                <a:gd name="connsiteY1" fmla="*/ 683390 h 768813"/>
                <a:gd name="connsiteX2" fmla="*/ 0 w 1180677"/>
                <a:gd name="connsiteY2" fmla="*/ 6102 h 768813"/>
                <a:gd name="connsiteX3" fmla="*/ 3051 w 1180677"/>
                <a:gd name="connsiteY3" fmla="*/ 0 h 768813"/>
                <a:gd name="connsiteX4" fmla="*/ 9153 w 1180677"/>
                <a:gd name="connsiteY4" fmla="*/ 3051 h 768813"/>
                <a:gd name="connsiteX5" fmla="*/ 390509 w 1180677"/>
                <a:gd name="connsiteY5" fmla="*/ 674238 h 768813"/>
                <a:gd name="connsiteX6" fmla="*/ 1171526 w 1180677"/>
                <a:gd name="connsiteY6" fmla="*/ 704746 h 768813"/>
                <a:gd name="connsiteX7" fmla="*/ 1180678 w 1180677"/>
                <a:gd name="connsiteY7" fmla="*/ 707797 h 768813"/>
                <a:gd name="connsiteX8" fmla="*/ 1177627 w 1180677"/>
                <a:gd name="connsiteY8" fmla="*/ 716949 h 768813"/>
                <a:gd name="connsiteX9" fmla="*/ 866441 w 1180677"/>
                <a:gd name="connsiteY9" fmla="*/ 768814 h 768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0677" h="768813">
                  <a:moveTo>
                    <a:pt x="866441" y="768814"/>
                  </a:moveTo>
                  <a:cubicBezTo>
                    <a:pt x="677288" y="768814"/>
                    <a:pt x="472881" y="732203"/>
                    <a:pt x="387458" y="683390"/>
                  </a:cubicBezTo>
                  <a:cubicBezTo>
                    <a:pt x="241017" y="597966"/>
                    <a:pt x="9153" y="30508"/>
                    <a:pt x="0" y="6102"/>
                  </a:cubicBezTo>
                  <a:cubicBezTo>
                    <a:pt x="0" y="3051"/>
                    <a:pt x="0" y="0"/>
                    <a:pt x="3051" y="0"/>
                  </a:cubicBezTo>
                  <a:cubicBezTo>
                    <a:pt x="6102" y="0"/>
                    <a:pt x="9153" y="0"/>
                    <a:pt x="9153" y="3051"/>
                  </a:cubicBezTo>
                  <a:cubicBezTo>
                    <a:pt x="12203" y="9153"/>
                    <a:pt x="250169" y="591864"/>
                    <a:pt x="390509" y="674238"/>
                  </a:cubicBezTo>
                  <a:cubicBezTo>
                    <a:pt x="533898" y="756610"/>
                    <a:pt x="997627" y="802373"/>
                    <a:pt x="1171526" y="704746"/>
                  </a:cubicBezTo>
                  <a:cubicBezTo>
                    <a:pt x="1174576" y="704746"/>
                    <a:pt x="1177627" y="704746"/>
                    <a:pt x="1180678" y="707797"/>
                  </a:cubicBezTo>
                  <a:cubicBezTo>
                    <a:pt x="1180678" y="710848"/>
                    <a:pt x="1180678" y="713898"/>
                    <a:pt x="1177627" y="716949"/>
                  </a:cubicBezTo>
                  <a:cubicBezTo>
                    <a:pt x="1107458" y="750509"/>
                    <a:pt x="991525" y="768814"/>
                    <a:pt x="866441" y="768814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E47489CE-E2CE-466A-B6E3-6DB7A91D4743}"/>
                </a:ext>
              </a:extLst>
            </p:cNvPr>
            <p:cNvSpPr/>
            <p:nvPr/>
          </p:nvSpPr>
          <p:spPr>
            <a:xfrm>
              <a:off x="3209661" y="9193244"/>
              <a:ext cx="546101" cy="82372"/>
            </a:xfrm>
            <a:custGeom>
              <a:avLst/>
              <a:gdLst>
                <a:gd name="connsiteX0" fmla="*/ 540000 w 546101"/>
                <a:gd name="connsiteY0" fmla="*/ 82373 h 82372"/>
                <a:gd name="connsiteX1" fmla="*/ 540000 w 546101"/>
                <a:gd name="connsiteY1" fmla="*/ 82373 h 82372"/>
                <a:gd name="connsiteX2" fmla="*/ 6102 w 546101"/>
                <a:gd name="connsiteY2" fmla="*/ 12204 h 82372"/>
                <a:gd name="connsiteX3" fmla="*/ 0 w 546101"/>
                <a:gd name="connsiteY3" fmla="*/ 6102 h 82372"/>
                <a:gd name="connsiteX4" fmla="*/ 6102 w 546101"/>
                <a:gd name="connsiteY4" fmla="*/ 0 h 82372"/>
                <a:gd name="connsiteX5" fmla="*/ 6102 w 546101"/>
                <a:gd name="connsiteY5" fmla="*/ 0 h 82372"/>
                <a:gd name="connsiteX6" fmla="*/ 543051 w 546101"/>
                <a:gd name="connsiteY6" fmla="*/ 73221 h 82372"/>
                <a:gd name="connsiteX7" fmla="*/ 546102 w 546101"/>
                <a:gd name="connsiteY7" fmla="*/ 82373 h 82372"/>
                <a:gd name="connsiteX8" fmla="*/ 540000 w 546101"/>
                <a:gd name="connsiteY8" fmla="*/ 82373 h 82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6101" h="82372">
                  <a:moveTo>
                    <a:pt x="540000" y="82373"/>
                  </a:moveTo>
                  <a:cubicBezTo>
                    <a:pt x="540000" y="82373"/>
                    <a:pt x="536949" y="82373"/>
                    <a:pt x="540000" y="82373"/>
                  </a:cubicBezTo>
                  <a:cubicBezTo>
                    <a:pt x="405763" y="12204"/>
                    <a:pt x="9153" y="12204"/>
                    <a:pt x="6102" y="12204"/>
                  </a:cubicBezTo>
                  <a:cubicBezTo>
                    <a:pt x="3051" y="12204"/>
                    <a:pt x="0" y="9153"/>
                    <a:pt x="0" y="6102"/>
                  </a:cubicBezTo>
                  <a:cubicBezTo>
                    <a:pt x="0" y="3051"/>
                    <a:pt x="3051" y="0"/>
                    <a:pt x="6102" y="0"/>
                  </a:cubicBezTo>
                  <a:cubicBezTo>
                    <a:pt x="6102" y="0"/>
                    <a:pt x="6102" y="0"/>
                    <a:pt x="6102" y="0"/>
                  </a:cubicBezTo>
                  <a:cubicBezTo>
                    <a:pt x="24407" y="0"/>
                    <a:pt x="408814" y="0"/>
                    <a:pt x="543051" y="73221"/>
                  </a:cubicBezTo>
                  <a:cubicBezTo>
                    <a:pt x="546102" y="73221"/>
                    <a:pt x="546102" y="79322"/>
                    <a:pt x="546102" y="82373"/>
                  </a:cubicBezTo>
                  <a:cubicBezTo>
                    <a:pt x="543051" y="82373"/>
                    <a:pt x="543051" y="82373"/>
                    <a:pt x="540000" y="82373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92EA0DDD-3DEA-4A21-9CA6-D486A0675DA7}"/>
                </a:ext>
              </a:extLst>
            </p:cNvPr>
            <p:cNvSpPr/>
            <p:nvPr/>
          </p:nvSpPr>
          <p:spPr>
            <a:xfrm>
              <a:off x="3810678" y="9226320"/>
              <a:ext cx="229815" cy="55398"/>
            </a:xfrm>
            <a:custGeom>
              <a:avLst/>
              <a:gdLst>
                <a:gd name="connsiteX0" fmla="*/ 207458 w 229815"/>
                <a:gd name="connsiteY0" fmla="*/ 55399 h 55398"/>
                <a:gd name="connsiteX1" fmla="*/ 201356 w 229815"/>
                <a:gd name="connsiteY1" fmla="*/ 52348 h 55398"/>
                <a:gd name="connsiteX2" fmla="*/ 204407 w 229815"/>
                <a:gd name="connsiteY2" fmla="*/ 46246 h 55398"/>
                <a:gd name="connsiteX3" fmla="*/ 219661 w 229815"/>
                <a:gd name="connsiteY3" fmla="*/ 21839 h 55398"/>
                <a:gd name="connsiteX4" fmla="*/ 6102 w 229815"/>
                <a:gd name="connsiteY4" fmla="*/ 46246 h 55398"/>
                <a:gd name="connsiteX5" fmla="*/ 0 w 229815"/>
                <a:gd name="connsiteY5" fmla="*/ 43195 h 55398"/>
                <a:gd name="connsiteX6" fmla="*/ 3051 w 229815"/>
                <a:gd name="connsiteY6" fmla="*/ 37093 h 55398"/>
                <a:gd name="connsiteX7" fmla="*/ 228814 w 229815"/>
                <a:gd name="connsiteY7" fmla="*/ 18788 h 55398"/>
                <a:gd name="connsiteX8" fmla="*/ 228814 w 229815"/>
                <a:gd name="connsiteY8" fmla="*/ 21839 h 55398"/>
                <a:gd name="connsiteX9" fmla="*/ 207458 w 229815"/>
                <a:gd name="connsiteY9" fmla="*/ 55399 h 55398"/>
                <a:gd name="connsiteX10" fmla="*/ 207458 w 229815"/>
                <a:gd name="connsiteY10" fmla="*/ 55399 h 55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9815" h="55398">
                  <a:moveTo>
                    <a:pt x="207458" y="55399"/>
                  </a:moveTo>
                  <a:cubicBezTo>
                    <a:pt x="204407" y="55399"/>
                    <a:pt x="204407" y="55399"/>
                    <a:pt x="201356" y="52348"/>
                  </a:cubicBezTo>
                  <a:cubicBezTo>
                    <a:pt x="201356" y="49297"/>
                    <a:pt x="201356" y="46246"/>
                    <a:pt x="204407" y="46246"/>
                  </a:cubicBezTo>
                  <a:cubicBezTo>
                    <a:pt x="219661" y="40144"/>
                    <a:pt x="219661" y="27941"/>
                    <a:pt x="219661" y="21839"/>
                  </a:cubicBezTo>
                  <a:cubicBezTo>
                    <a:pt x="192203" y="-11720"/>
                    <a:pt x="57966" y="27941"/>
                    <a:pt x="6102" y="46246"/>
                  </a:cubicBezTo>
                  <a:cubicBezTo>
                    <a:pt x="3051" y="46246"/>
                    <a:pt x="0" y="46246"/>
                    <a:pt x="0" y="43195"/>
                  </a:cubicBezTo>
                  <a:cubicBezTo>
                    <a:pt x="0" y="40144"/>
                    <a:pt x="0" y="37093"/>
                    <a:pt x="3051" y="37093"/>
                  </a:cubicBezTo>
                  <a:cubicBezTo>
                    <a:pt x="21356" y="30992"/>
                    <a:pt x="192203" y="-30025"/>
                    <a:pt x="228814" y="18788"/>
                  </a:cubicBezTo>
                  <a:lnTo>
                    <a:pt x="228814" y="21839"/>
                  </a:lnTo>
                  <a:cubicBezTo>
                    <a:pt x="231864" y="27941"/>
                    <a:pt x="228814" y="46246"/>
                    <a:pt x="207458" y="55399"/>
                  </a:cubicBezTo>
                  <a:cubicBezTo>
                    <a:pt x="207458" y="55399"/>
                    <a:pt x="207458" y="55399"/>
                    <a:pt x="207458" y="55399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74752F77-CEE5-4A19-807F-A343C734DAC9}"/>
                </a:ext>
              </a:extLst>
            </p:cNvPr>
            <p:cNvSpPr/>
            <p:nvPr/>
          </p:nvSpPr>
          <p:spPr>
            <a:xfrm>
              <a:off x="3730903" y="9237872"/>
              <a:ext cx="124061" cy="335995"/>
            </a:xfrm>
            <a:custGeom>
              <a:avLst/>
              <a:gdLst>
                <a:gd name="connsiteX0" fmla="*/ 27911 w 124061"/>
                <a:gd name="connsiteY0" fmla="*/ 290965 h 335995"/>
                <a:gd name="connsiteX1" fmla="*/ 3504 w 124061"/>
                <a:gd name="connsiteY1" fmla="*/ 68253 h 335995"/>
                <a:gd name="connsiteX2" fmla="*/ 85877 w 124061"/>
                <a:gd name="connsiteY2" fmla="*/ 25542 h 335995"/>
                <a:gd name="connsiteX3" fmla="*/ 119436 w 124061"/>
                <a:gd name="connsiteY3" fmla="*/ 294016 h 335995"/>
                <a:gd name="connsiteX4" fmla="*/ 27911 w 124061"/>
                <a:gd name="connsiteY4" fmla="*/ 290965 h 335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061" h="335995">
                  <a:moveTo>
                    <a:pt x="27911" y="290965"/>
                  </a:moveTo>
                  <a:cubicBezTo>
                    <a:pt x="40114" y="214694"/>
                    <a:pt x="34012" y="141474"/>
                    <a:pt x="3504" y="68253"/>
                  </a:cubicBezTo>
                  <a:cubicBezTo>
                    <a:pt x="-17852" y="13339"/>
                    <a:pt x="64521" y="-29374"/>
                    <a:pt x="85877" y="25542"/>
                  </a:cubicBezTo>
                  <a:cubicBezTo>
                    <a:pt x="119436" y="110966"/>
                    <a:pt x="131639" y="202491"/>
                    <a:pt x="119436" y="294016"/>
                  </a:cubicBezTo>
                  <a:cubicBezTo>
                    <a:pt x="110283" y="351983"/>
                    <a:pt x="18758" y="348932"/>
                    <a:pt x="27911" y="290965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8" name="图形 1">
            <a:extLst>
              <a:ext uri="{FF2B5EF4-FFF2-40B4-BE49-F238E27FC236}">
                <a16:creationId xmlns:a16="http://schemas.microsoft.com/office/drawing/2014/main" id="{43A0F1A8-607C-47D5-8133-A1C75B4C41B0}"/>
              </a:ext>
            </a:extLst>
          </p:cNvPr>
          <p:cNvGrpSpPr/>
          <p:nvPr/>
        </p:nvGrpSpPr>
        <p:grpSpPr>
          <a:xfrm>
            <a:off x="6560088" y="1915568"/>
            <a:ext cx="2663116" cy="4837259"/>
            <a:chOff x="16734704" y="1772186"/>
            <a:chExt cx="2663116" cy="4837259"/>
          </a:xfrm>
        </p:grpSpPr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02ADDE8F-7564-4A4E-8391-DC5FC4C6FB54}"/>
                </a:ext>
              </a:extLst>
            </p:cNvPr>
            <p:cNvSpPr/>
            <p:nvPr/>
          </p:nvSpPr>
          <p:spPr>
            <a:xfrm>
              <a:off x="16792919" y="4110532"/>
              <a:ext cx="1298848" cy="2299008"/>
            </a:xfrm>
            <a:custGeom>
              <a:avLst/>
              <a:gdLst>
                <a:gd name="connsiteX0" fmla="*/ 1207251 w 1298848"/>
                <a:gd name="connsiteY0" fmla="*/ 21356 h 2299008"/>
                <a:gd name="connsiteX1" fmla="*/ 1298777 w 1298848"/>
                <a:gd name="connsiteY1" fmla="*/ 1403390 h 2299008"/>
                <a:gd name="connsiteX2" fmla="*/ 1268268 w 1298848"/>
                <a:gd name="connsiteY2" fmla="*/ 2205763 h 2299008"/>
                <a:gd name="connsiteX3" fmla="*/ 1042505 w 1298848"/>
                <a:gd name="connsiteY3" fmla="*/ 2288136 h 2299008"/>
                <a:gd name="connsiteX4" fmla="*/ 883861 w 1298848"/>
                <a:gd name="connsiteY4" fmla="*/ 1607797 h 2299008"/>
                <a:gd name="connsiteX5" fmla="*/ 713013 w 1298848"/>
                <a:gd name="connsiteY5" fmla="*/ 503390 h 2299008"/>
                <a:gd name="connsiteX6" fmla="*/ 667251 w 1298848"/>
                <a:gd name="connsiteY6" fmla="*/ 1415593 h 2299008"/>
                <a:gd name="connsiteX7" fmla="*/ 237081 w 1298848"/>
                <a:gd name="connsiteY7" fmla="*/ 2199661 h 2299008"/>
                <a:gd name="connsiteX8" fmla="*/ 17421 w 1298848"/>
                <a:gd name="connsiteY8" fmla="*/ 2169153 h 2299008"/>
                <a:gd name="connsiteX9" fmla="*/ 200471 w 1298848"/>
                <a:gd name="connsiteY9" fmla="*/ 1366780 h 2299008"/>
                <a:gd name="connsiteX10" fmla="*/ 185217 w 1298848"/>
                <a:gd name="connsiteY10" fmla="*/ 0 h 2299008"/>
                <a:gd name="connsiteX11" fmla="*/ 1207251 w 1298848"/>
                <a:gd name="connsiteY11" fmla="*/ 21356 h 2299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8848" h="2299008">
                  <a:moveTo>
                    <a:pt x="1207251" y="21356"/>
                  </a:moveTo>
                  <a:lnTo>
                    <a:pt x="1298777" y="1403390"/>
                  </a:lnTo>
                  <a:cubicBezTo>
                    <a:pt x="1298777" y="1403390"/>
                    <a:pt x="1301827" y="2013560"/>
                    <a:pt x="1268268" y="2205763"/>
                  </a:cubicBezTo>
                  <a:cubicBezTo>
                    <a:pt x="1256064" y="2272882"/>
                    <a:pt x="1091318" y="2321695"/>
                    <a:pt x="1042505" y="2288136"/>
                  </a:cubicBezTo>
                  <a:cubicBezTo>
                    <a:pt x="920471" y="2230170"/>
                    <a:pt x="883861" y="1607797"/>
                    <a:pt x="883861" y="1607797"/>
                  </a:cubicBezTo>
                  <a:cubicBezTo>
                    <a:pt x="883861" y="1607797"/>
                    <a:pt x="722166" y="518644"/>
                    <a:pt x="713013" y="503390"/>
                  </a:cubicBezTo>
                  <a:cubicBezTo>
                    <a:pt x="697759" y="472881"/>
                    <a:pt x="716064" y="1192881"/>
                    <a:pt x="667251" y="1415593"/>
                  </a:cubicBezTo>
                  <a:cubicBezTo>
                    <a:pt x="618437" y="1632204"/>
                    <a:pt x="362166" y="2138644"/>
                    <a:pt x="237081" y="2199661"/>
                  </a:cubicBezTo>
                  <a:cubicBezTo>
                    <a:pt x="182166" y="2245424"/>
                    <a:pt x="60132" y="2227119"/>
                    <a:pt x="17421" y="2169153"/>
                  </a:cubicBezTo>
                  <a:cubicBezTo>
                    <a:pt x="-71055" y="2050170"/>
                    <a:pt x="206573" y="1467458"/>
                    <a:pt x="200471" y="1366780"/>
                  </a:cubicBezTo>
                  <a:cubicBezTo>
                    <a:pt x="191318" y="1214237"/>
                    <a:pt x="139454" y="97627"/>
                    <a:pt x="185217" y="0"/>
                  </a:cubicBezTo>
                  <a:cubicBezTo>
                    <a:pt x="883861" y="33559"/>
                    <a:pt x="1207251" y="21356"/>
                    <a:pt x="1207251" y="21356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83EE048D-5FB0-478B-B2F1-7DB956D46973}"/>
                </a:ext>
              </a:extLst>
            </p:cNvPr>
            <p:cNvSpPr/>
            <p:nvPr/>
          </p:nvSpPr>
          <p:spPr>
            <a:xfrm>
              <a:off x="17496781" y="4253922"/>
              <a:ext cx="70169" cy="366101"/>
            </a:xfrm>
            <a:custGeom>
              <a:avLst/>
              <a:gdLst>
                <a:gd name="connsiteX0" fmla="*/ 6101 w 70169"/>
                <a:gd name="connsiteY0" fmla="*/ 366102 h 366101"/>
                <a:gd name="connsiteX1" fmla="*/ 6101 w 70169"/>
                <a:gd name="connsiteY1" fmla="*/ 366102 h 366101"/>
                <a:gd name="connsiteX2" fmla="*/ 0 w 70169"/>
                <a:gd name="connsiteY2" fmla="*/ 356949 h 366101"/>
                <a:gd name="connsiteX3" fmla="*/ 57966 w 70169"/>
                <a:gd name="connsiteY3" fmla="*/ 6102 h 366101"/>
                <a:gd name="connsiteX4" fmla="*/ 64067 w 70169"/>
                <a:gd name="connsiteY4" fmla="*/ 0 h 366101"/>
                <a:gd name="connsiteX5" fmla="*/ 70169 w 70169"/>
                <a:gd name="connsiteY5" fmla="*/ 6102 h 366101"/>
                <a:gd name="connsiteX6" fmla="*/ 12203 w 70169"/>
                <a:gd name="connsiteY6" fmla="*/ 360000 h 366101"/>
                <a:gd name="connsiteX7" fmla="*/ 6101 w 70169"/>
                <a:gd name="connsiteY7" fmla="*/ 366102 h 36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169" h="366101">
                  <a:moveTo>
                    <a:pt x="6101" y="366102"/>
                  </a:moveTo>
                  <a:cubicBezTo>
                    <a:pt x="6101" y="366102"/>
                    <a:pt x="3050" y="366102"/>
                    <a:pt x="6101" y="366102"/>
                  </a:cubicBezTo>
                  <a:cubicBezTo>
                    <a:pt x="0" y="363051"/>
                    <a:pt x="0" y="360000"/>
                    <a:pt x="0" y="356949"/>
                  </a:cubicBezTo>
                  <a:cubicBezTo>
                    <a:pt x="48813" y="244068"/>
                    <a:pt x="57966" y="9152"/>
                    <a:pt x="57966" y="6102"/>
                  </a:cubicBezTo>
                  <a:cubicBezTo>
                    <a:pt x="57966" y="3051"/>
                    <a:pt x="61017" y="0"/>
                    <a:pt x="64067" y="0"/>
                  </a:cubicBezTo>
                  <a:cubicBezTo>
                    <a:pt x="67118" y="0"/>
                    <a:pt x="70169" y="3051"/>
                    <a:pt x="70169" y="6102"/>
                  </a:cubicBezTo>
                  <a:cubicBezTo>
                    <a:pt x="70169" y="15254"/>
                    <a:pt x="61017" y="244068"/>
                    <a:pt x="12203" y="360000"/>
                  </a:cubicBezTo>
                  <a:cubicBezTo>
                    <a:pt x="9152" y="366102"/>
                    <a:pt x="9152" y="366102"/>
                    <a:pt x="6101" y="366102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CD858A00-50B0-4673-8167-3E5CDFFB1211}"/>
                </a:ext>
              </a:extLst>
            </p:cNvPr>
            <p:cNvSpPr/>
            <p:nvPr/>
          </p:nvSpPr>
          <p:spPr>
            <a:xfrm>
              <a:off x="17526025" y="4183752"/>
              <a:ext cx="156856" cy="356949"/>
            </a:xfrm>
            <a:custGeom>
              <a:avLst/>
              <a:gdLst>
                <a:gd name="connsiteX0" fmla="*/ 7365 w 156856"/>
                <a:gd name="connsiteY0" fmla="*/ 356949 h 356949"/>
                <a:gd name="connsiteX1" fmla="*/ 1264 w 156856"/>
                <a:gd name="connsiteY1" fmla="*/ 353898 h 356949"/>
                <a:gd name="connsiteX2" fmla="*/ 4314 w 156856"/>
                <a:gd name="connsiteY2" fmla="*/ 344746 h 356949"/>
                <a:gd name="connsiteX3" fmla="*/ 111094 w 156856"/>
                <a:gd name="connsiteY3" fmla="*/ 268475 h 356949"/>
                <a:gd name="connsiteX4" fmla="*/ 144653 w 156856"/>
                <a:gd name="connsiteY4" fmla="*/ 6102 h 356949"/>
                <a:gd name="connsiteX5" fmla="*/ 150755 w 156856"/>
                <a:gd name="connsiteY5" fmla="*/ 0 h 356949"/>
                <a:gd name="connsiteX6" fmla="*/ 156856 w 156856"/>
                <a:gd name="connsiteY6" fmla="*/ 6102 h 356949"/>
                <a:gd name="connsiteX7" fmla="*/ 123298 w 156856"/>
                <a:gd name="connsiteY7" fmla="*/ 274576 h 356949"/>
                <a:gd name="connsiteX8" fmla="*/ 13467 w 156856"/>
                <a:gd name="connsiteY8" fmla="*/ 353898 h 356949"/>
                <a:gd name="connsiteX9" fmla="*/ 7365 w 156856"/>
                <a:gd name="connsiteY9" fmla="*/ 356949 h 35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856" h="356949">
                  <a:moveTo>
                    <a:pt x="7365" y="356949"/>
                  </a:moveTo>
                  <a:cubicBezTo>
                    <a:pt x="4314" y="356949"/>
                    <a:pt x="4314" y="356949"/>
                    <a:pt x="1264" y="353898"/>
                  </a:cubicBezTo>
                  <a:cubicBezTo>
                    <a:pt x="-1787" y="350847"/>
                    <a:pt x="1264" y="347797"/>
                    <a:pt x="4314" y="344746"/>
                  </a:cubicBezTo>
                  <a:cubicBezTo>
                    <a:pt x="43975" y="320339"/>
                    <a:pt x="101941" y="277627"/>
                    <a:pt x="111094" y="268475"/>
                  </a:cubicBezTo>
                  <a:cubicBezTo>
                    <a:pt x="120247" y="256271"/>
                    <a:pt x="135501" y="100678"/>
                    <a:pt x="144653" y="6102"/>
                  </a:cubicBezTo>
                  <a:cubicBezTo>
                    <a:pt x="144653" y="3051"/>
                    <a:pt x="147704" y="0"/>
                    <a:pt x="150755" y="0"/>
                  </a:cubicBezTo>
                  <a:cubicBezTo>
                    <a:pt x="153806" y="0"/>
                    <a:pt x="156856" y="3051"/>
                    <a:pt x="156856" y="6102"/>
                  </a:cubicBezTo>
                  <a:cubicBezTo>
                    <a:pt x="153806" y="48814"/>
                    <a:pt x="132450" y="259322"/>
                    <a:pt x="123298" y="274576"/>
                  </a:cubicBezTo>
                  <a:cubicBezTo>
                    <a:pt x="111094" y="289831"/>
                    <a:pt x="22619" y="347797"/>
                    <a:pt x="13467" y="353898"/>
                  </a:cubicBezTo>
                  <a:cubicBezTo>
                    <a:pt x="7365" y="356949"/>
                    <a:pt x="7365" y="356949"/>
                    <a:pt x="7365" y="356949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2" name="图形 1">
              <a:extLst>
                <a:ext uri="{FF2B5EF4-FFF2-40B4-BE49-F238E27FC236}">
                  <a16:creationId xmlns:a16="http://schemas.microsoft.com/office/drawing/2014/main" id="{9EBE6B7E-1A01-44C6-A929-B44752A91850}"/>
                </a:ext>
              </a:extLst>
            </p:cNvPr>
            <p:cNvGrpSpPr/>
            <p:nvPr/>
          </p:nvGrpSpPr>
          <p:grpSpPr>
            <a:xfrm>
              <a:off x="16734704" y="6163752"/>
              <a:ext cx="484733" cy="445692"/>
              <a:chOff x="16734704" y="6163752"/>
              <a:chExt cx="484733" cy="445692"/>
            </a:xfrm>
          </p:grpSpPr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854387A3-7052-4B7F-95CF-A54A368EF320}"/>
                  </a:ext>
                </a:extLst>
              </p:cNvPr>
              <p:cNvSpPr/>
              <p:nvPr/>
            </p:nvSpPr>
            <p:spPr>
              <a:xfrm rot="-4561828">
                <a:off x="16954190" y="6284261"/>
                <a:ext cx="45761" cy="488123"/>
              </a:xfrm>
              <a:custGeom>
                <a:avLst/>
                <a:gdLst>
                  <a:gd name="connsiteX0" fmla="*/ 0 w 45761"/>
                  <a:gd name="connsiteY0" fmla="*/ 0 h 488123"/>
                  <a:gd name="connsiteX1" fmla="*/ 45761 w 45761"/>
                  <a:gd name="connsiteY1" fmla="*/ 0 h 488123"/>
                  <a:gd name="connsiteX2" fmla="*/ 45761 w 45761"/>
                  <a:gd name="connsiteY2" fmla="*/ 488123 h 488123"/>
                  <a:gd name="connsiteX3" fmla="*/ 0 w 45761"/>
                  <a:gd name="connsiteY3" fmla="*/ 488123 h 488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761" h="488123">
                    <a:moveTo>
                      <a:pt x="0" y="0"/>
                    </a:moveTo>
                    <a:lnTo>
                      <a:pt x="45761" y="0"/>
                    </a:lnTo>
                    <a:lnTo>
                      <a:pt x="45761" y="488123"/>
                    </a:lnTo>
                    <a:lnTo>
                      <a:pt x="0" y="488123"/>
                    </a:lnTo>
                    <a:close/>
                  </a:path>
                </a:pathLst>
              </a:custGeom>
              <a:solidFill>
                <a:srgbClr val="38333D"/>
              </a:solidFill>
              <a:ln w="30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91FD10B8-9E66-43E4-8CC0-29EFEEE390FE}"/>
                  </a:ext>
                </a:extLst>
              </p:cNvPr>
              <p:cNvSpPr/>
              <p:nvPr/>
            </p:nvSpPr>
            <p:spPr>
              <a:xfrm>
                <a:off x="16739419" y="6163752"/>
                <a:ext cx="473700" cy="399661"/>
              </a:xfrm>
              <a:custGeom>
                <a:avLst/>
                <a:gdLst>
                  <a:gd name="connsiteX0" fmla="*/ 37362 w 473700"/>
                  <a:gd name="connsiteY0" fmla="*/ 0 h 399661"/>
                  <a:gd name="connsiteX1" fmla="*/ 360752 w 473700"/>
                  <a:gd name="connsiteY1" fmla="*/ 97627 h 399661"/>
                  <a:gd name="connsiteX2" fmla="*/ 287531 w 473700"/>
                  <a:gd name="connsiteY2" fmla="*/ 222712 h 399661"/>
                  <a:gd name="connsiteX3" fmla="*/ 336344 w 473700"/>
                  <a:gd name="connsiteY3" fmla="*/ 256271 h 399661"/>
                  <a:gd name="connsiteX4" fmla="*/ 473633 w 473700"/>
                  <a:gd name="connsiteY4" fmla="*/ 399661 h 399661"/>
                  <a:gd name="connsiteX5" fmla="*/ 751 w 473700"/>
                  <a:gd name="connsiteY5" fmla="*/ 280678 h 399661"/>
                  <a:gd name="connsiteX6" fmla="*/ 37362 w 473700"/>
                  <a:gd name="connsiteY6" fmla="*/ 0 h 399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3700" h="399661">
                    <a:moveTo>
                      <a:pt x="37362" y="0"/>
                    </a:moveTo>
                    <a:lnTo>
                      <a:pt x="360752" y="97627"/>
                    </a:lnTo>
                    <a:lnTo>
                      <a:pt x="287531" y="222712"/>
                    </a:lnTo>
                    <a:cubicBezTo>
                      <a:pt x="305836" y="234916"/>
                      <a:pt x="324141" y="247119"/>
                      <a:pt x="336344" y="256271"/>
                    </a:cubicBezTo>
                    <a:cubicBezTo>
                      <a:pt x="376006" y="280678"/>
                      <a:pt x="476684" y="326441"/>
                      <a:pt x="473633" y="399661"/>
                    </a:cubicBezTo>
                    <a:lnTo>
                      <a:pt x="751" y="280678"/>
                    </a:lnTo>
                    <a:cubicBezTo>
                      <a:pt x="3802" y="283729"/>
                      <a:pt x="-14503" y="183051"/>
                      <a:pt x="37362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3350D1A3-0D23-4BD7-9F90-63165431172A}"/>
                </a:ext>
              </a:extLst>
            </p:cNvPr>
            <p:cNvGrpSpPr/>
            <p:nvPr/>
          </p:nvGrpSpPr>
          <p:grpSpPr>
            <a:xfrm>
              <a:off x="17750001" y="6279685"/>
              <a:ext cx="540743" cy="327488"/>
              <a:chOff x="17750001" y="6279685"/>
              <a:chExt cx="540743" cy="327488"/>
            </a:xfrm>
          </p:grpSpPr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2E9FB5E8-3606-4409-8DAC-08B4D25D5D57}"/>
                  </a:ext>
                </a:extLst>
              </p:cNvPr>
              <p:cNvSpPr/>
              <p:nvPr/>
            </p:nvSpPr>
            <p:spPr>
              <a:xfrm rot="-187661">
                <a:off x="17801729" y="6548129"/>
                <a:ext cx="488130" cy="45762"/>
              </a:xfrm>
              <a:custGeom>
                <a:avLst/>
                <a:gdLst>
                  <a:gd name="connsiteX0" fmla="*/ 0 w 488130"/>
                  <a:gd name="connsiteY0" fmla="*/ 0 h 45762"/>
                  <a:gd name="connsiteX1" fmla="*/ 488131 w 488130"/>
                  <a:gd name="connsiteY1" fmla="*/ 0 h 45762"/>
                  <a:gd name="connsiteX2" fmla="*/ 488131 w 488130"/>
                  <a:gd name="connsiteY2" fmla="*/ 45762 h 45762"/>
                  <a:gd name="connsiteX3" fmla="*/ 0 w 488130"/>
                  <a:gd name="connsiteY3" fmla="*/ 45762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0" h="45762">
                    <a:moveTo>
                      <a:pt x="0" y="0"/>
                    </a:moveTo>
                    <a:lnTo>
                      <a:pt x="488131" y="0"/>
                    </a:lnTo>
                    <a:lnTo>
                      <a:pt x="488131" y="45762"/>
                    </a:lnTo>
                    <a:lnTo>
                      <a:pt x="0" y="45762"/>
                    </a:ln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90C11AD0-CBA7-46BB-82EB-AC6480FF2841}"/>
                  </a:ext>
                </a:extLst>
              </p:cNvPr>
              <p:cNvSpPr/>
              <p:nvPr/>
            </p:nvSpPr>
            <p:spPr>
              <a:xfrm>
                <a:off x="17750001" y="6279685"/>
                <a:ext cx="540000" cy="283728"/>
              </a:xfrm>
              <a:custGeom>
                <a:avLst/>
                <a:gdLst>
                  <a:gd name="connsiteX0" fmla="*/ 338643 w 540000"/>
                  <a:gd name="connsiteY0" fmla="*/ 0 h 283728"/>
                  <a:gd name="connsiteX1" fmla="*/ 308135 w 540000"/>
                  <a:gd name="connsiteY1" fmla="*/ 140339 h 283728"/>
                  <a:gd name="connsiteX2" fmla="*/ 366102 w 540000"/>
                  <a:gd name="connsiteY2" fmla="*/ 158644 h 283728"/>
                  <a:gd name="connsiteX3" fmla="*/ 540000 w 540000"/>
                  <a:gd name="connsiteY3" fmla="*/ 256271 h 283728"/>
                  <a:gd name="connsiteX4" fmla="*/ 51865 w 540000"/>
                  <a:gd name="connsiteY4" fmla="*/ 283729 h 283728"/>
                  <a:gd name="connsiteX5" fmla="*/ 0 w 540000"/>
                  <a:gd name="connsiteY5" fmla="*/ 3051 h 283728"/>
                  <a:gd name="connsiteX6" fmla="*/ 338643 w 540000"/>
                  <a:gd name="connsiteY6" fmla="*/ 0 h 28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40000" h="283728">
                    <a:moveTo>
                      <a:pt x="338643" y="0"/>
                    </a:moveTo>
                    <a:lnTo>
                      <a:pt x="308135" y="140339"/>
                    </a:lnTo>
                    <a:cubicBezTo>
                      <a:pt x="329491" y="146441"/>
                      <a:pt x="347797" y="152542"/>
                      <a:pt x="366102" y="158644"/>
                    </a:cubicBezTo>
                    <a:cubicBezTo>
                      <a:pt x="411864" y="170848"/>
                      <a:pt x="521694" y="186102"/>
                      <a:pt x="540000" y="256271"/>
                    </a:cubicBezTo>
                    <a:lnTo>
                      <a:pt x="51865" y="283729"/>
                    </a:lnTo>
                    <a:cubicBezTo>
                      <a:pt x="51865" y="283729"/>
                      <a:pt x="6102" y="192203"/>
                      <a:pt x="0" y="3051"/>
                    </a:cubicBezTo>
                    <a:lnTo>
                      <a:pt x="338643" y="0"/>
                    </a:lnTo>
                    <a:close/>
                  </a:path>
                </a:pathLst>
              </a:custGeom>
              <a:solidFill>
                <a:srgbClr val="7F95BC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EDEED002-3619-4DE3-BD40-CF5356B58718}"/>
                </a:ext>
              </a:extLst>
            </p:cNvPr>
            <p:cNvSpPr/>
            <p:nvPr/>
          </p:nvSpPr>
          <p:spPr>
            <a:xfrm>
              <a:off x="17731338" y="2712399"/>
              <a:ext cx="1419002" cy="963805"/>
            </a:xfrm>
            <a:custGeom>
              <a:avLst/>
              <a:gdLst>
                <a:gd name="connsiteX0" fmla="*/ 46120 w 1419002"/>
                <a:gd name="connsiteY0" fmla="*/ 19150 h 963805"/>
                <a:gd name="connsiteX1" fmla="*/ 509849 w 1419002"/>
                <a:gd name="connsiteY1" fmla="*/ 247963 h 963805"/>
                <a:gd name="connsiteX2" fmla="*/ 808833 w 1419002"/>
                <a:gd name="connsiteY2" fmla="*/ 604912 h 963805"/>
                <a:gd name="connsiteX3" fmla="*/ 1376290 w 1419002"/>
                <a:gd name="connsiteY3" fmla="*/ 583557 h 963805"/>
                <a:gd name="connsiteX4" fmla="*/ 1419003 w 1419002"/>
                <a:gd name="connsiteY4" fmla="*/ 745252 h 963805"/>
                <a:gd name="connsiteX5" fmla="*/ 699002 w 1419002"/>
                <a:gd name="connsiteY5" fmla="*/ 958811 h 963805"/>
                <a:gd name="connsiteX6" fmla="*/ 46120 w 1419002"/>
                <a:gd name="connsiteY6" fmla="*/ 19150 h 963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9002" h="963805">
                  <a:moveTo>
                    <a:pt x="46120" y="19150"/>
                  </a:moveTo>
                  <a:cubicBezTo>
                    <a:pt x="152900" y="-66274"/>
                    <a:pt x="421375" y="156438"/>
                    <a:pt x="509849" y="247963"/>
                  </a:cubicBezTo>
                  <a:cubicBezTo>
                    <a:pt x="592222" y="330336"/>
                    <a:pt x="808833" y="604912"/>
                    <a:pt x="808833" y="604912"/>
                  </a:cubicBezTo>
                  <a:cubicBezTo>
                    <a:pt x="808833" y="604912"/>
                    <a:pt x="1315273" y="482879"/>
                    <a:pt x="1376290" y="583557"/>
                  </a:cubicBezTo>
                  <a:cubicBezTo>
                    <a:pt x="1400697" y="638472"/>
                    <a:pt x="1415951" y="705591"/>
                    <a:pt x="1419003" y="745252"/>
                  </a:cubicBezTo>
                  <a:cubicBezTo>
                    <a:pt x="1351884" y="919150"/>
                    <a:pt x="824088" y="983218"/>
                    <a:pt x="699002" y="958811"/>
                  </a:cubicBezTo>
                  <a:cubicBezTo>
                    <a:pt x="561714" y="934404"/>
                    <a:pt x="-191845" y="208302"/>
                    <a:pt x="46120" y="1915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F262089E-250A-4A2C-9D60-1E993079E74D}"/>
                </a:ext>
              </a:extLst>
            </p:cNvPr>
            <p:cNvSpPr/>
            <p:nvPr/>
          </p:nvSpPr>
          <p:spPr>
            <a:xfrm>
              <a:off x="17307628" y="2319685"/>
              <a:ext cx="67119" cy="140338"/>
            </a:xfrm>
            <a:custGeom>
              <a:avLst/>
              <a:gdLst>
                <a:gd name="connsiteX0" fmla="*/ 0 w 67119"/>
                <a:gd name="connsiteY0" fmla="*/ 0 h 140338"/>
                <a:gd name="connsiteX1" fmla="*/ 64068 w 67119"/>
                <a:gd name="connsiteY1" fmla="*/ 140339 h 140338"/>
                <a:gd name="connsiteX2" fmla="*/ 67119 w 67119"/>
                <a:gd name="connsiteY2" fmla="*/ 54915 h 140338"/>
                <a:gd name="connsiteX3" fmla="*/ 0 w 67119"/>
                <a:gd name="connsiteY3" fmla="*/ 0 h 14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19" h="140338">
                  <a:moveTo>
                    <a:pt x="0" y="0"/>
                  </a:moveTo>
                  <a:cubicBezTo>
                    <a:pt x="0" y="0"/>
                    <a:pt x="12203" y="118983"/>
                    <a:pt x="64068" y="140339"/>
                  </a:cubicBezTo>
                  <a:lnTo>
                    <a:pt x="67119" y="549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1212E163-6389-44C2-8152-28B07D5129FC}"/>
                </a:ext>
              </a:extLst>
            </p:cNvPr>
            <p:cNvSpPr/>
            <p:nvPr/>
          </p:nvSpPr>
          <p:spPr>
            <a:xfrm>
              <a:off x="17666699" y="2118329"/>
              <a:ext cx="101808" cy="237945"/>
            </a:xfrm>
            <a:custGeom>
              <a:avLst/>
              <a:gdLst>
                <a:gd name="connsiteX0" fmla="*/ 95505 w 101808"/>
                <a:gd name="connsiteY0" fmla="*/ 0 h 237945"/>
                <a:gd name="connsiteX1" fmla="*/ 52793 w 101808"/>
                <a:gd name="connsiteY1" fmla="*/ 234915 h 237945"/>
                <a:gd name="connsiteX2" fmla="*/ 929 w 101808"/>
                <a:gd name="connsiteY2" fmla="*/ 12203 h 237945"/>
                <a:gd name="connsiteX3" fmla="*/ 95505 w 101808"/>
                <a:gd name="connsiteY3" fmla="*/ 0 h 23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08" h="237945">
                  <a:moveTo>
                    <a:pt x="95505" y="0"/>
                  </a:moveTo>
                  <a:cubicBezTo>
                    <a:pt x="95505" y="0"/>
                    <a:pt x="126014" y="195254"/>
                    <a:pt x="52793" y="234915"/>
                  </a:cubicBezTo>
                  <a:cubicBezTo>
                    <a:pt x="-11275" y="268475"/>
                    <a:pt x="929" y="12203"/>
                    <a:pt x="929" y="12203"/>
                  </a:cubicBezTo>
                  <a:lnTo>
                    <a:pt x="95505" y="0"/>
                  </a:ln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C37C465E-FBD3-4707-8DBE-37DDC0F984E8}"/>
                </a:ext>
              </a:extLst>
            </p:cNvPr>
            <p:cNvSpPr/>
            <p:nvPr/>
          </p:nvSpPr>
          <p:spPr>
            <a:xfrm>
              <a:off x="17310679" y="1977099"/>
              <a:ext cx="421355" cy="568951"/>
            </a:xfrm>
            <a:custGeom>
              <a:avLst/>
              <a:gdLst>
                <a:gd name="connsiteX0" fmla="*/ 411864 w 421355"/>
                <a:gd name="connsiteY0" fmla="*/ 183941 h 568951"/>
                <a:gd name="connsiteX1" fmla="*/ 411864 w 421355"/>
                <a:gd name="connsiteY1" fmla="*/ 434111 h 568951"/>
                <a:gd name="connsiteX2" fmla="*/ 253220 w 421355"/>
                <a:gd name="connsiteY2" fmla="*/ 568348 h 568951"/>
                <a:gd name="connsiteX3" fmla="*/ 36610 w 421355"/>
                <a:gd name="connsiteY3" fmla="*/ 424958 h 568951"/>
                <a:gd name="connsiteX4" fmla="*/ 0 w 421355"/>
                <a:gd name="connsiteY4" fmla="*/ 199195 h 568951"/>
                <a:gd name="connsiteX5" fmla="*/ 213559 w 421355"/>
                <a:gd name="connsiteY5" fmla="*/ 890 h 568951"/>
                <a:gd name="connsiteX6" fmla="*/ 411864 w 421355"/>
                <a:gd name="connsiteY6" fmla="*/ 183941 h 568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355" h="568951">
                  <a:moveTo>
                    <a:pt x="411864" y="183941"/>
                  </a:moveTo>
                  <a:cubicBezTo>
                    <a:pt x="411864" y="183941"/>
                    <a:pt x="433220" y="360890"/>
                    <a:pt x="411864" y="434111"/>
                  </a:cubicBezTo>
                  <a:cubicBezTo>
                    <a:pt x="393559" y="501229"/>
                    <a:pt x="302034" y="565297"/>
                    <a:pt x="253220" y="568348"/>
                  </a:cubicBezTo>
                  <a:cubicBezTo>
                    <a:pt x="186102" y="574450"/>
                    <a:pt x="67118" y="534789"/>
                    <a:pt x="36610" y="424958"/>
                  </a:cubicBezTo>
                  <a:cubicBezTo>
                    <a:pt x="15254" y="351738"/>
                    <a:pt x="0" y="251060"/>
                    <a:pt x="0" y="199195"/>
                  </a:cubicBezTo>
                  <a:cubicBezTo>
                    <a:pt x="3051" y="104619"/>
                    <a:pt x="27457" y="25297"/>
                    <a:pt x="213559" y="890"/>
                  </a:cubicBezTo>
                  <a:cubicBezTo>
                    <a:pt x="295932" y="-11313"/>
                    <a:pt x="390508" y="104619"/>
                    <a:pt x="411864" y="18394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F4277F81-5208-4FCB-88F9-48B5F0BAA72C}"/>
                </a:ext>
              </a:extLst>
            </p:cNvPr>
            <p:cNvSpPr/>
            <p:nvPr/>
          </p:nvSpPr>
          <p:spPr>
            <a:xfrm>
              <a:off x="17624317" y="2218408"/>
              <a:ext cx="40858" cy="41036"/>
            </a:xfrm>
            <a:custGeom>
              <a:avLst/>
              <a:gdLst>
                <a:gd name="connsiteX0" fmla="*/ 598 w 40858"/>
                <a:gd name="connsiteY0" fmla="*/ 25005 h 41036"/>
                <a:gd name="connsiteX1" fmla="*/ 25006 w 40858"/>
                <a:gd name="connsiteY1" fmla="*/ 40259 h 41036"/>
                <a:gd name="connsiteX2" fmla="*/ 40260 w 40858"/>
                <a:gd name="connsiteY2" fmla="*/ 15853 h 41036"/>
                <a:gd name="connsiteX3" fmla="*/ 15853 w 40858"/>
                <a:gd name="connsiteY3" fmla="*/ 598 h 41036"/>
                <a:gd name="connsiteX4" fmla="*/ 598 w 40858"/>
                <a:gd name="connsiteY4" fmla="*/ 25005 h 4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58" h="41036">
                  <a:moveTo>
                    <a:pt x="598" y="25005"/>
                  </a:moveTo>
                  <a:cubicBezTo>
                    <a:pt x="3650" y="37209"/>
                    <a:pt x="12802" y="43310"/>
                    <a:pt x="25006" y="40259"/>
                  </a:cubicBezTo>
                  <a:cubicBezTo>
                    <a:pt x="34158" y="37209"/>
                    <a:pt x="43310" y="28056"/>
                    <a:pt x="40260" y="15853"/>
                  </a:cubicBezTo>
                  <a:cubicBezTo>
                    <a:pt x="37209" y="6700"/>
                    <a:pt x="28056" y="-2452"/>
                    <a:pt x="15853" y="598"/>
                  </a:cubicBezTo>
                  <a:cubicBezTo>
                    <a:pt x="6701" y="3649"/>
                    <a:pt x="-2453" y="15853"/>
                    <a:pt x="598" y="25005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103E0091-70AE-4CEC-ABF2-7D6933A17964}"/>
                </a:ext>
              </a:extLst>
            </p:cNvPr>
            <p:cNvSpPr/>
            <p:nvPr/>
          </p:nvSpPr>
          <p:spPr>
            <a:xfrm>
              <a:off x="17441087" y="2236713"/>
              <a:ext cx="41037" cy="40857"/>
            </a:xfrm>
            <a:custGeom>
              <a:avLst/>
              <a:gdLst>
                <a:gd name="connsiteX0" fmla="*/ 778 w 41037"/>
                <a:gd name="connsiteY0" fmla="*/ 25005 h 40857"/>
                <a:gd name="connsiteX1" fmla="*/ 25185 w 41037"/>
                <a:gd name="connsiteY1" fmla="*/ 40259 h 40857"/>
                <a:gd name="connsiteX2" fmla="*/ 40439 w 41037"/>
                <a:gd name="connsiteY2" fmla="*/ 15853 h 40857"/>
                <a:gd name="connsiteX3" fmla="*/ 16032 w 41037"/>
                <a:gd name="connsiteY3" fmla="*/ 598 h 40857"/>
                <a:gd name="connsiteX4" fmla="*/ 778 w 41037"/>
                <a:gd name="connsiteY4" fmla="*/ 25005 h 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7" h="40857">
                  <a:moveTo>
                    <a:pt x="778" y="25005"/>
                  </a:moveTo>
                  <a:cubicBezTo>
                    <a:pt x="3829" y="34158"/>
                    <a:pt x="12981" y="43310"/>
                    <a:pt x="25185" y="40259"/>
                  </a:cubicBezTo>
                  <a:cubicBezTo>
                    <a:pt x="34337" y="37209"/>
                    <a:pt x="43489" y="28056"/>
                    <a:pt x="40439" y="15853"/>
                  </a:cubicBezTo>
                  <a:cubicBezTo>
                    <a:pt x="37388" y="6700"/>
                    <a:pt x="28235" y="-2452"/>
                    <a:pt x="16032" y="598"/>
                  </a:cubicBezTo>
                  <a:cubicBezTo>
                    <a:pt x="3829" y="3649"/>
                    <a:pt x="-2274" y="15853"/>
                    <a:pt x="778" y="25005"/>
                  </a:cubicBezTo>
                  <a:close/>
                </a:path>
              </a:pathLst>
            </a:custGeom>
            <a:solidFill>
              <a:srgbClr val="38333D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47930DFB-C92D-4D06-B281-2FA138AE4AED}"/>
                </a:ext>
              </a:extLst>
            </p:cNvPr>
            <p:cNvSpPr/>
            <p:nvPr/>
          </p:nvSpPr>
          <p:spPr>
            <a:xfrm>
              <a:off x="17599246" y="2173244"/>
              <a:ext cx="92026" cy="30508"/>
            </a:xfrm>
            <a:custGeom>
              <a:avLst/>
              <a:gdLst>
                <a:gd name="connsiteX0" fmla="*/ 83636 w 92026"/>
                <a:gd name="connsiteY0" fmla="*/ 30508 h 30508"/>
                <a:gd name="connsiteX1" fmla="*/ 77535 w 92026"/>
                <a:gd name="connsiteY1" fmla="*/ 27458 h 30508"/>
                <a:gd name="connsiteX2" fmla="*/ 10416 w 92026"/>
                <a:gd name="connsiteY2" fmla="*/ 21356 h 30508"/>
                <a:gd name="connsiteX3" fmla="*/ 1264 w 92026"/>
                <a:gd name="connsiteY3" fmla="*/ 18305 h 30508"/>
                <a:gd name="connsiteX4" fmla="*/ 4315 w 92026"/>
                <a:gd name="connsiteY4" fmla="*/ 9153 h 30508"/>
                <a:gd name="connsiteX5" fmla="*/ 89738 w 92026"/>
                <a:gd name="connsiteY5" fmla="*/ 18305 h 30508"/>
                <a:gd name="connsiteX6" fmla="*/ 89738 w 92026"/>
                <a:gd name="connsiteY6" fmla="*/ 30508 h 30508"/>
                <a:gd name="connsiteX7" fmla="*/ 83636 w 92026"/>
                <a:gd name="connsiteY7" fmla="*/ 30508 h 3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0508">
                  <a:moveTo>
                    <a:pt x="83636" y="30508"/>
                  </a:moveTo>
                  <a:cubicBezTo>
                    <a:pt x="80586" y="30508"/>
                    <a:pt x="80586" y="30508"/>
                    <a:pt x="77535" y="27458"/>
                  </a:cubicBezTo>
                  <a:cubicBezTo>
                    <a:pt x="53128" y="0"/>
                    <a:pt x="10416" y="21356"/>
                    <a:pt x="10416" y="21356"/>
                  </a:cubicBezTo>
                  <a:cubicBezTo>
                    <a:pt x="7365" y="24407"/>
                    <a:pt x="1264" y="21356"/>
                    <a:pt x="1264" y="18305"/>
                  </a:cubicBezTo>
                  <a:cubicBezTo>
                    <a:pt x="-1787" y="15254"/>
                    <a:pt x="1264" y="9153"/>
                    <a:pt x="4315" y="9153"/>
                  </a:cubicBezTo>
                  <a:cubicBezTo>
                    <a:pt x="22619" y="0"/>
                    <a:pt x="62281" y="-9153"/>
                    <a:pt x="89738" y="18305"/>
                  </a:cubicBezTo>
                  <a:cubicBezTo>
                    <a:pt x="92789" y="21356"/>
                    <a:pt x="92789" y="27458"/>
                    <a:pt x="89738" y="30508"/>
                  </a:cubicBezTo>
                  <a:cubicBezTo>
                    <a:pt x="86687" y="30508"/>
                    <a:pt x="83636" y="30508"/>
                    <a:pt x="83636" y="30508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E5E81DDC-DE72-4D60-90D0-68D3E20C97B7}"/>
                </a:ext>
              </a:extLst>
            </p:cNvPr>
            <p:cNvSpPr/>
            <p:nvPr/>
          </p:nvSpPr>
          <p:spPr>
            <a:xfrm>
              <a:off x="17406018" y="2170504"/>
              <a:ext cx="92026" cy="36299"/>
            </a:xfrm>
            <a:custGeom>
              <a:avLst/>
              <a:gdLst>
                <a:gd name="connsiteX0" fmla="*/ 8390 w 92026"/>
                <a:gd name="connsiteY0" fmla="*/ 36300 h 36299"/>
                <a:gd name="connsiteX1" fmla="*/ 2288 w 92026"/>
                <a:gd name="connsiteY1" fmla="*/ 33249 h 36299"/>
                <a:gd name="connsiteX2" fmla="*/ 2288 w 92026"/>
                <a:gd name="connsiteY2" fmla="*/ 21045 h 36299"/>
                <a:gd name="connsiteX3" fmla="*/ 87712 w 92026"/>
                <a:gd name="connsiteY3" fmla="*/ 11893 h 36299"/>
                <a:gd name="connsiteX4" fmla="*/ 90763 w 92026"/>
                <a:gd name="connsiteY4" fmla="*/ 24096 h 36299"/>
                <a:gd name="connsiteX5" fmla="*/ 78559 w 92026"/>
                <a:gd name="connsiteY5" fmla="*/ 27147 h 36299"/>
                <a:gd name="connsiteX6" fmla="*/ 11441 w 92026"/>
                <a:gd name="connsiteY6" fmla="*/ 33249 h 36299"/>
                <a:gd name="connsiteX7" fmla="*/ 8390 w 92026"/>
                <a:gd name="connsiteY7" fmla="*/ 36300 h 3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6299">
                  <a:moveTo>
                    <a:pt x="8390" y="36300"/>
                  </a:moveTo>
                  <a:cubicBezTo>
                    <a:pt x="5339" y="36300"/>
                    <a:pt x="5339" y="36300"/>
                    <a:pt x="2288" y="33249"/>
                  </a:cubicBezTo>
                  <a:cubicBezTo>
                    <a:pt x="-763" y="30198"/>
                    <a:pt x="-763" y="24096"/>
                    <a:pt x="2288" y="21045"/>
                  </a:cubicBezTo>
                  <a:cubicBezTo>
                    <a:pt x="14492" y="5791"/>
                    <a:pt x="51101" y="-12514"/>
                    <a:pt x="87712" y="11893"/>
                  </a:cubicBezTo>
                  <a:cubicBezTo>
                    <a:pt x="90763" y="14944"/>
                    <a:pt x="93813" y="17995"/>
                    <a:pt x="90763" y="24096"/>
                  </a:cubicBezTo>
                  <a:cubicBezTo>
                    <a:pt x="87712" y="27147"/>
                    <a:pt x="84661" y="30198"/>
                    <a:pt x="78559" y="27147"/>
                  </a:cubicBezTo>
                  <a:cubicBezTo>
                    <a:pt x="41949" y="2740"/>
                    <a:pt x="14492" y="33249"/>
                    <a:pt x="11441" y="33249"/>
                  </a:cubicBezTo>
                  <a:cubicBezTo>
                    <a:pt x="14492" y="36300"/>
                    <a:pt x="11441" y="36300"/>
                    <a:pt x="8390" y="36300"/>
                  </a:cubicBezTo>
                  <a:close/>
                </a:path>
              </a:pathLst>
            </a:custGeom>
            <a:solidFill>
              <a:srgbClr val="664540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89DB662D-3AE8-4C20-B1BD-3BC9A9E7152B}"/>
                </a:ext>
              </a:extLst>
            </p:cNvPr>
            <p:cNvSpPr/>
            <p:nvPr/>
          </p:nvSpPr>
          <p:spPr>
            <a:xfrm>
              <a:off x="17269654" y="2235826"/>
              <a:ext cx="77634" cy="114126"/>
            </a:xfrm>
            <a:custGeom>
              <a:avLst/>
              <a:gdLst>
                <a:gd name="connsiteX0" fmla="*/ 65431 w 77634"/>
                <a:gd name="connsiteY0" fmla="*/ 16740 h 114126"/>
                <a:gd name="connsiteX1" fmla="*/ 7466 w 77634"/>
                <a:gd name="connsiteY1" fmla="*/ 7587 h 114126"/>
                <a:gd name="connsiteX2" fmla="*/ 65431 w 77634"/>
                <a:gd name="connsiteY2" fmla="*/ 111316 h 114126"/>
                <a:gd name="connsiteX3" fmla="*/ 65431 w 77634"/>
                <a:gd name="connsiteY3" fmla="*/ 16740 h 11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634" h="114126">
                  <a:moveTo>
                    <a:pt x="65431" y="16740"/>
                  </a:moveTo>
                  <a:cubicBezTo>
                    <a:pt x="65431" y="16740"/>
                    <a:pt x="31872" y="-13769"/>
                    <a:pt x="7466" y="7587"/>
                  </a:cubicBezTo>
                  <a:cubicBezTo>
                    <a:pt x="-16941" y="25892"/>
                    <a:pt x="22720" y="132672"/>
                    <a:pt x="65431" y="111316"/>
                  </a:cubicBezTo>
                  <a:cubicBezTo>
                    <a:pt x="92889" y="89960"/>
                    <a:pt x="65431" y="16740"/>
                    <a:pt x="65431" y="16740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F49571F9-E4A9-45DA-8391-B9B671856CA6}"/>
                </a:ext>
              </a:extLst>
            </p:cNvPr>
            <p:cNvSpPr/>
            <p:nvPr/>
          </p:nvSpPr>
          <p:spPr>
            <a:xfrm>
              <a:off x="17270814" y="1863150"/>
              <a:ext cx="519387" cy="404670"/>
            </a:xfrm>
            <a:custGeom>
              <a:avLst/>
              <a:gdLst>
                <a:gd name="connsiteX0" fmla="*/ 6305 w 519387"/>
                <a:gd name="connsiteY0" fmla="*/ 303992 h 404670"/>
                <a:gd name="connsiteX1" fmla="*/ 64271 w 519387"/>
                <a:gd name="connsiteY1" fmla="*/ 404670 h 404670"/>
                <a:gd name="connsiteX2" fmla="*/ 116136 w 519387"/>
                <a:gd name="connsiteY2" fmla="*/ 264331 h 404670"/>
                <a:gd name="connsiteX3" fmla="*/ 125288 w 519387"/>
                <a:gd name="connsiteY3" fmla="*/ 261281 h 404670"/>
                <a:gd name="connsiteX4" fmla="*/ 201559 w 519387"/>
                <a:gd name="connsiteY4" fmla="*/ 233823 h 404670"/>
                <a:gd name="connsiteX5" fmla="*/ 213763 w 519387"/>
                <a:gd name="connsiteY5" fmla="*/ 230772 h 404670"/>
                <a:gd name="connsiteX6" fmla="*/ 250373 w 519387"/>
                <a:gd name="connsiteY6" fmla="*/ 252128 h 404670"/>
                <a:gd name="connsiteX7" fmla="*/ 265627 w 519387"/>
                <a:gd name="connsiteY7" fmla="*/ 242976 h 404670"/>
                <a:gd name="connsiteX8" fmla="*/ 317492 w 519387"/>
                <a:gd name="connsiteY8" fmla="*/ 258230 h 404670"/>
                <a:gd name="connsiteX9" fmla="*/ 354102 w 519387"/>
                <a:gd name="connsiteY9" fmla="*/ 267382 h 404670"/>
                <a:gd name="connsiteX10" fmla="*/ 366305 w 519387"/>
                <a:gd name="connsiteY10" fmla="*/ 267382 h 404670"/>
                <a:gd name="connsiteX11" fmla="*/ 378509 w 519387"/>
                <a:gd name="connsiteY11" fmla="*/ 264331 h 404670"/>
                <a:gd name="connsiteX12" fmla="*/ 387661 w 519387"/>
                <a:gd name="connsiteY12" fmla="*/ 270433 h 404670"/>
                <a:gd name="connsiteX13" fmla="*/ 393763 w 519387"/>
                <a:gd name="connsiteY13" fmla="*/ 273484 h 404670"/>
                <a:gd name="connsiteX14" fmla="*/ 399865 w 519387"/>
                <a:gd name="connsiteY14" fmla="*/ 273484 h 404670"/>
                <a:gd name="connsiteX15" fmla="*/ 405967 w 519387"/>
                <a:gd name="connsiteY15" fmla="*/ 276535 h 404670"/>
                <a:gd name="connsiteX16" fmla="*/ 412068 w 519387"/>
                <a:gd name="connsiteY16" fmla="*/ 285687 h 404670"/>
                <a:gd name="connsiteX17" fmla="*/ 430373 w 519387"/>
                <a:gd name="connsiteY17" fmla="*/ 307043 h 404670"/>
                <a:gd name="connsiteX18" fmla="*/ 460881 w 519387"/>
                <a:gd name="connsiteY18" fmla="*/ 319247 h 404670"/>
                <a:gd name="connsiteX19" fmla="*/ 479187 w 519387"/>
                <a:gd name="connsiteY19" fmla="*/ 374162 h 404670"/>
                <a:gd name="connsiteX20" fmla="*/ 488339 w 519387"/>
                <a:gd name="connsiteY20" fmla="*/ 343653 h 404670"/>
                <a:gd name="connsiteX21" fmla="*/ 497492 w 519387"/>
                <a:gd name="connsiteY21" fmla="*/ 340603 h 404670"/>
                <a:gd name="connsiteX22" fmla="*/ 515797 w 519387"/>
                <a:gd name="connsiteY22" fmla="*/ 242976 h 404670"/>
                <a:gd name="connsiteX23" fmla="*/ 497492 w 519387"/>
                <a:gd name="connsiteY23" fmla="*/ 200264 h 404670"/>
                <a:gd name="connsiteX24" fmla="*/ 500543 w 519387"/>
                <a:gd name="connsiteY24" fmla="*/ 166704 h 404670"/>
                <a:gd name="connsiteX25" fmla="*/ 494441 w 519387"/>
                <a:gd name="connsiteY25" fmla="*/ 130094 h 404670"/>
                <a:gd name="connsiteX26" fmla="*/ 476136 w 519387"/>
                <a:gd name="connsiteY26" fmla="*/ 102637 h 404670"/>
                <a:gd name="connsiteX27" fmla="*/ 460881 w 519387"/>
                <a:gd name="connsiteY27" fmla="*/ 59925 h 404670"/>
                <a:gd name="connsiteX28" fmla="*/ 399865 w 519387"/>
                <a:gd name="connsiteY28" fmla="*/ 38569 h 404670"/>
                <a:gd name="connsiteX29" fmla="*/ 274780 w 519387"/>
                <a:gd name="connsiteY29" fmla="*/ 1959 h 404670"/>
                <a:gd name="connsiteX30" fmla="*/ 262576 w 519387"/>
                <a:gd name="connsiteY30" fmla="*/ 8060 h 404670"/>
                <a:gd name="connsiteX31" fmla="*/ 207662 w 519387"/>
                <a:gd name="connsiteY31" fmla="*/ 23314 h 404670"/>
                <a:gd name="connsiteX32" fmla="*/ 174102 w 519387"/>
                <a:gd name="connsiteY32" fmla="*/ 26365 h 404670"/>
                <a:gd name="connsiteX33" fmla="*/ 143594 w 519387"/>
                <a:gd name="connsiteY33" fmla="*/ 59925 h 404670"/>
                <a:gd name="connsiteX34" fmla="*/ 131390 w 519387"/>
                <a:gd name="connsiteY34" fmla="*/ 78230 h 404670"/>
                <a:gd name="connsiteX35" fmla="*/ 100882 w 519387"/>
                <a:gd name="connsiteY35" fmla="*/ 99586 h 404670"/>
                <a:gd name="connsiteX36" fmla="*/ 88679 w 519387"/>
                <a:gd name="connsiteY36" fmla="*/ 96535 h 404670"/>
                <a:gd name="connsiteX37" fmla="*/ 70373 w 519387"/>
                <a:gd name="connsiteY37" fmla="*/ 136196 h 404670"/>
                <a:gd name="connsiteX38" fmla="*/ 6305 w 519387"/>
                <a:gd name="connsiteY38" fmla="*/ 303992 h 40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9387" h="404670">
                  <a:moveTo>
                    <a:pt x="6305" y="303992"/>
                  </a:moveTo>
                  <a:cubicBezTo>
                    <a:pt x="21560" y="358908"/>
                    <a:pt x="64271" y="404670"/>
                    <a:pt x="64271" y="404670"/>
                  </a:cubicBezTo>
                  <a:cubicBezTo>
                    <a:pt x="58170" y="374162"/>
                    <a:pt x="116136" y="264331"/>
                    <a:pt x="116136" y="264331"/>
                  </a:cubicBezTo>
                  <a:cubicBezTo>
                    <a:pt x="116136" y="264331"/>
                    <a:pt x="119187" y="264331"/>
                    <a:pt x="125288" y="261281"/>
                  </a:cubicBezTo>
                  <a:cubicBezTo>
                    <a:pt x="152746" y="261281"/>
                    <a:pt x="180204" y="252128"/>
                    <a:pt x="201559" y="233823"/>
                  </a:cubicBezTo>
                  <a:cubicBezTo>
                    <a:pt x="204610" y="233823"/>
                    <a:pt x="210713" y="230772"/>
                    <a:pt x="213763" y="230772"/>
                  </a:cubicBezTo>
                  <a:cubicBezTo>
                    <a:pt x="222916" y="242976"/>
                    <a:pt x="232068" y="255179"/>
                    <a:pt x="250373" y="252128"/>
                  </a:cubicBezTo>
                  <a:cubicBezTo>
                    <a:pt x="259525" y="252128"/>
                    <a:pt x="262576" y="242976"/>
                    <a:pt x="265627" y="242976"/>
                  </a:cubicBezTo>
                  <a:cubicBezTo>
                    <a:pt x="286984" y="233823"/>
                    <a:pt x="299187" y="249077"/>
                    <a:pt x="317492" y="258230"/>
                  </a:cubicBezTo>
                  <a:cubicBezTo>
                    <a:pt x="329695" y="264331"/>
                    <a:pt x="341899" y="267382"/>
                    <a:pt x="354102" y="267382"/>
                  </a:cubicBezTo>
                  <a:cubicBezTo>
                    <a:pt x="357153" y="267382"/>
                    <a:pt x="363255" y="264331"/>
                    <a:pt x="366305" y="267382"/>
                  </a:cubicBezTo>
                  <a:cubicBezTo>
                    <a:pt x="372407" y="264331"/>
                    <a:pt x="375458" y="264331"/>
                    <a:pt x="378509" y="264331"/>
                  </a:cubicBezTo>
                  <a:cubicBezTo>
                    <a:pt x="381559" y="267382"/>
                    <a:pt x="384610" y="267382"/>
                    <a:pt x="387661" y="270433"/>
                  </a:cubicBezTo>
                  <a:cubicBezTo>
                    <a:pt x="390712" y="270433"/>
                    <a:pt x="390712" y="273484"/>
                    <a:pt x="393763" y="273484"/>
                  </a:cubicBezTo>
                  <a:cubicBezTo>
                    <a:pt x="396813" y="273484"/>
                    <a:pt x="396813" y="273484"/>
                    <a:pt x="399865" y="273484"/>
                  </a:cubicBezTo>
                  <a:cubicBezTo>
                    <a:pt x="402916" y="273484"/>
                    <a:pt x="405967" y="276535"/>
                    <a:pt x="405967" y="276535"/>
                  </a:cubicBezTo>
                  <a:cubicBezTo>
                    <a:pt x="409018" y="279586"/>
                    <a:pt x="412068" y="282637"/>
                    <a:pt x="412068" y="285687"/>
                  </a:cubicBezTo>
                  <a:cubicBezTo>
                    <a:pt x="418170" y="294840"/>
                    <a:pt x="421221" y="300942"/>
                    <a:pt x="430373" y="307043"/>
                  </a:cubicBezTo>
                  <a:cubicBezTo>
                    <a:pt x="436475" y="313145"/>
                    <a:pt x="448678" y="313145"/>
                    <a:pt x="460881" y="319247"/>
                  </a:cubicBezTo>
                  <a:cubicBezTo>
                    <a:pt x="476136" y="337552"/>
                    <a:pt x="482238" y="355857"/>
                    <a:pt x="479187" y="374162"/>
                  </a:cubicBezTo>
                  <a:cubicBezTo>
                    <a:pt x="479187" y="374162"/>
                    <a:pt x="482238" y="361959"/>
                    <a:pt x="488339" y="343653"/>
                  </a:cubicBezTo>
                  <a:cubicBezTo>
                    <a:pt x="491390" y="346704"/>
                    <a:pt x="494441" y="346704"/>
                    <a:pt x="497492" y="340603"/>
                  </a:cubicBezTo>
                  <a:cubicBezTo>
                    <a:pt x="515797" y="310094"/>
                    <a:pt x="524949" y="276535"/>
                    <a:pt x="515797" y="242976"/>
                  </a:cubicBezTo>
                  <a:cubicBezTo>
                    <a:pt x="512746" y="227721"/>
                    <a:pt x="503593" y="215518"/>
                    <a:pt x="497492" y="200264"/>
                  </a:cubicBezTo>
                  <a:cubicBezTo>
                    <a:pt x="488339" y="181959"/>
                    <a:pt x="497492" y="181959"/>
                    <a:pt x="500543" y="166704"/>
                  </a:cubicBezTo>
                  <a:cubicBezTo>
                    <a:pt x="503593" y="154501"/>
                    <a:pt x="497492" y="142298"/>
                    <a:pt x="494441" y="130094"/>
                  </a:cubicBezTo>
                  <a:cubicBezTo>
                    <a:pt x="488339" y="120942"/>
                    <a:pt x="482238" y="111789"/>
                    <a:pt x="476136" y="102637"/>
                  </a:cubicBezTo>
                  <a:cubicBezTo>
                    <a:pt x="463933" y="87382"/>
                    <a:pt x="466984" y="75179"/>
                    <a:pt x="460881" y="59925"/>
                  </a:cubicBezTo>
                  <a:cubicBezTo>
                    <a:pt x="448678" y="32467"/>
                    <a:pt x="424272" y="38569"/>
                    <a:pt x="399865" y="38569"/>
                  </a:cubicBezTo>
                  <a:cubicBezTo>
                    <a:pt x="357153" y="38569"/>
                    <a:pt x="320542" y="-10245"/>
                    <a:pt x="274780" y="1959"/>
                  </a:cubicBezTo>
                  <a:cubicBezTo>
                    <a:pt x="268678" y="1959"/>
                    <a:pt x="265627" y="5009"/>
                    <a:pt x="262576" y="8060"/>
                  </a:cubicBezTo>
                  <a:cubicBezTo>
                    <a:pt x="244271" y="17213"/>
                    <a:pt x="225967" y="23314"/>
                    <a:pt x="207662" y="23314"/>
                  </a:cubicBezTo>
                  <a:cubicBezTo>
                    <a:pt x="195458" y="23314"/>
                    <a:pt x="186305" y="20264"/>
                    <a:pt x="174102" y="26365"/>
                  </a:cubicBezTo>
                  <a:cubicBezTo>
                    <a:pt x="158848" y="32467"/>
                    <a:pt x="152746" y="47721"/>
                    <a:pt x="143594" y="59925"/>
                  </a:cubicBezTo>
                  <a:cubicBezTo>
                    <a:pt x="140542" y="66026"/>
                    <a:pt x="134441" y="72128"/>
                    <a:pt x="131390" y="78230"/>
                  </a:cubicBezTo>
                  <a:cubicBezTo>
                    <a:pt x="119187" y="84331"/>
                    <a:pt x="110034" y="93484"/>
                    <a:pt x="100882" y="99586"/>
                  </a:cubicBezTo>
                  <a:cubicBezTo>
                    <a:pt x="100882" y="96535"/>
                    <a:pt x="103933" y="84331"/>
                    <a:pt x="88679" y="96535"/>
                  </a:cubicBezTo>
                  <a:cubicBezTo>
                    <a:pt x="73424" y="105687"/>
                    <a:pt x="70373" y="120942"/>
                    <a:pt x="70373" y="136196"/>
                  </a:cubicBezTo>
                  <a:cubicBezTo>
                    <a:pt x="203" y="160603"/>
                    <a:pt x="-8949" y="249077"/>
                    <a:pt x="6305" y="303992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1199CCF0-C3B6-4C1B-B3DF-FE5FF6096B7D}"/>
                </a:ext>
              </a:extLst>
            </p:cNvPr>
            <p:cNvSpPr/>
            <p:nvPr/>
          </p:nvSpPr>
          <p:spPr>
            <a:xfrm>
              <a:off x="17386950" y="2456973"/>
              <a:ext cx="250168" cy="258417"/>
            </a:xfrm>
            <a:custGeom>
              <a:avLst/>
              <a:gdLst>
                <a:gd name="connsiteX0" fmla="*/ 250169 w 250168"/>
                <a:gd name="connsiteY0" fmla="*/ 39661 h 258417"/>
                <a:gd name="connsiteX1" fmla="*/ 244068 w 250168"/>
                <a:gd name="connsiteY1" fmla="*/ 213559 h 258417"/>
                <a:gd name="connsiteX2" fmla="*/ 0 w 250168"/>
                <a:gd name="connsiteY2" fmla="*/ 204407 h 258417"/>
                <a:gd name="connsiteX3" fmla="*/ 15254 w 250168"/>
                <a:gd name="connsiteY3" fmla="*/ 0 h 258417"/>
                <a:gd name="connsiteX4" fmla="*/ 250169 w 250168"/>
                <a:gd name="connsiteY4" fmla="*/ 39661 h 25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68" h="258417">
                  <a:moveTo>
                    <a:pt x="250169" y="39661"/>
                  </a:moveTo>
                  <a:cubicBezTo>
                    <a:pt x="250169" y="39661"/>
                    <a:pt x="244068" y="140339"/>
                    <a:pt x="244068" y="213559"/>
                  </a:cubicBezTo>
                  <a:cubicBezTo>
                    <a:pt x="244068" y="213559"/>
                    <a:pt x="149491" y="320339"/>
                    <a:pt x="0" y="204407"/>
                  </a:cubicBezTo>
                  <a:cubicBezTo>
                    <a:pt x="0" y="143390"/>
                    <a:pt x="12203" y="64068"/>
                    <a:pt x="15254" y="0"/>
                  </a:cubicBezTo>
                  <a:cubicBezTo>
                    <a:pt x="12203" y="0"/>
                    <a:pt x="198305" y="51864"/>
                    <a:pt x="250169" y="39661"/>
                  </a:cubicBezTo>
                  <a:close/>
                </a:path>
              </a:pathLst>
            </a:custGeom>
            <a:solidFill>
              <a:srgbClr val="F49F84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B51518CC-49FB-4F88-965D-F28D88B74FED}"/>
                </a:ext>
              </a:extLst>
            </p:cNvPr>
            <p:cNvSpPr/>
            <p:nvPr/>
          </p:nvSpPr>
          <p:spPr>
            <a:xfrm>
              <a:off x="16972035" y="2621719"/>
              <a:ext cx="1223843" cy="1567951"/>
            </a:xfrm>
            <a:custGeom>
              <a:avLst/>
              <a:gdLst>
                <a:gd name="connsiteX0" fmla="*/ 396610 w 1223843"/>
                <a:gd name="connsiteY0" fmla="*/ 0 h 1567951"/>
                <a:gd name="connsiteX1" fmla="*/ 686441 w 1223843"/>
                <a:gd name="connsiteY1" fmla="*/ 0 h 1567951"/>
                <a:gd name="connsiteX2" fmla="*/ 985423 w 1223843"/>
                <a:gd name="connsiteY2" fmla="*/ 131186 h 1567951"/>
                <a:gd name="connsiteX3" fmla="*/ 1070847 w 1223843"/>
                <a:gd name="connsiteY3" fmla="*/ 1537627 h 1567951"/>
                <a:gd name="connsiteX4" fmla="*/ 0 w 1223843"/>
                <a:gd name="connsiteY4" fmla="*/ 1513220 h 1567951"/>
                <a:gd name="connsiteX5" fmla="*/ 115932 w 1223843"/>
                <a:gd name="connsiteY5" fmla="*/ 103729 h 1567951"/>
                <a:gd name="connsiteX6" fmla="*/ 396610 w 1223843"/>
                <a:gd name="connsiteY6" fmla="*/ 0 h 156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3843" h="1567951">
                  <a:moveTo>
                    <a:pt x="396610" y="0"/>
                  </a:moveTo>
                  <a:cubicBezTo>
                    <a:pt x="396610" y="0"/>
                    <a:pt x="570509" y="54915"/>
                    <a:pt x="686441" y="0"/>
                  </a:cubicBezTo>
                  <a:cubicBezTo>
                    <a:pt x="686441" y="0"/>
                    <a:pt x="961017" y="97627"/>
                    <a:pt x="985423" y="131186"/>
                  </a:cubicBezTo>
                  <a:cubicBezTo>
                    <a:pt x="1009830" y="161695"/>
                    <a:pt x="1449153" y="1202034"/>
                    <a:pt x="1070847" y="1537627"/>
                  </a:cubicBezTo>
                  <a:cubicBezTo>
                    <a:pt x="1070847" y="1537627"/>
                    <a:pt x="579661" y="1620000"/>
                    <a:pt x="0" y="1513220"/>
                  </a:cubicBezTo>
                  <a:cubicBezTo>
                    <a:pt x="0" y="1156271"/>
                    <a:pt x="73220" y="134237"/>
                    <a:pt x="115932" y="103729"/>
                  </a:cubicBezTo>
                  <a:cubicBezTo>
                    <a:pt x="158644" y="70170"/>
                    <a:pt x="396610" y="0"/>
                    <a:pt x="396610" y="0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B2B0D146-D15D-48B4-98B7-AD0CAE467BD1}"/>
                </a:ext>
              </a:extLst>
            </p:cNvPr>
            <p:cNvSpPr/>
            <p:nvPr/>
          </p:nvSpPr>
          <p:spPr>
            <a:xfrm>
              <a:off x="17950000" y="2745447"/>
              <a:ext cx="249738" cy="852542"/>
            </a:xfrm>
            <a:custGeom>
              <a:avLst/>
              <a:gdLst>
                <a:gd name="connsiteX0" fmla="*/ 245423 w 249738"/>
                <a:gd name="connsiteY0" fmla="*/ 852542 h 852542"/>
                <a:gd name="connsiteX1" fmla="*/ 239323 w 249738"/>
                <a:gd name="connsiteY1" fmla="*/ 846441 h 852542"/>
                <a:gd name="connsiteX2" fmla="*/ 1356 w 249738"/>
                <a:gd name="connsiteY2" fmla="*/ 10508 h 852542"/>
                <a:gd name="connsiteX3" fmla="*/ 1356 w 249738"/>
                <a:gd name="connsiteY3" fmla="*/ 1356 h 852542"/>
                <a:gd name="connsiteX4" fmla="*/ 10510 w 249738"/>
                <a:gd name="connsiteY4" fmla="*/ 1356 h 852542"/>
                <a:gd name="connsiteX5" fmla="*/ 248475 w 249738"/>
                <a:gd name="connsiteY5" fmla="*/ 843390 h 852542"/>
                <a:gd name="connsiteX6" fmla="*/ 245423 w 249738"/>
                <a:gd name="connsiteY6" fmla="*/ 852542 h 852542"/>
                <a:gd name="connsiteX7" fmla="*/ 245423 w 249738"/>
                <a:gd name="connsiteY7" fmla="*/ 852542 h 85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738" h="852542">
                  <a:moveTo>
                    <a:pt x="245423" y="852542"/>
                  </a:moveTo>
                  <a:cubicBezTo>
                    <a:pt x="242373" y="852542"/>
                    <a:pt x="239323" y="849492"/>
                    <a:pt x="239323" y="846441"/>
                  </a:cubicBezTo>
                  <a:cubicBezTo>
                    <a:pt x="239323" y="840339"/>
                    <a:pt x="141696" y="205763"/>
                    <a:pt x="1356" y="10508"/>
                  </a:cubicBezTo>
                  <a:cubicBezTo>
                    <a:pt x="-1695" y="7458"/>
                    <a:pt x="1356" y="4407"/>
                    <a:pt x="1356" y="1356"/>
                  </a:cubicBezTo>
                  <a:cubicBezTo>
                    <a:pt x="1356" y="-1695"/>
                    <a:pt x="7458" y="1356"/>
                    <a:pt x="10510" y="1356"/>
                  </a:cubicBezTo>
                  <a:cubicBezTo>
                    <a:pt x="150848" y="199661"/>
                    <a:pt x="248475" y="837288"/>
                    <a:pt x="248475" y="843390"/>
                  </a:cubicBezTo>
                  <a:cubicBezTo>
                    <a:pt x="251525" y="849492"/>
                    <a:pt x="248475" y="852542"/>
                    <a:pt x="245423" y="852542"/>
                  </a:cubicBezTo>
                  <a:cubicBezTo>
                    <a:pt x="245423" y="852542"/>
                    <a:pt x="245423" y="852542"/>
                    <a:pt x="245423" y="852542"/>
                  </a:cubicBezTo>
                  <a:close/>
                </a:path>
              </a:pathLst>
            </a:custGeom>
            <a:solidFill>
              <a:srgbClr val="38343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79341447-C7B5-4A93-9CA8-DF39122CF91F}"/>
                </a:ext>
              </a:extLst>
            </p:cNvPr>
            <p:cNvSpPr/>
            <p:nvPr/>
          </p:nvSpPr>
          <p:spPr>
            <a:xfrm>
              <a:off x="17402204" y="2490532"/>
              <a:ext cx="242280" cy="64067"/>
            </a:xfrm>
            <a:custGeom>
              <a:avLst/>
              <a:gdLst>
                <a:gd name="connsiteX0" fmla="*/ 137288 w 242280"/>
                <a:gd name="connsiteY0" fmla="*/ 64068 h 64067"/>
                <a:gd name="connsiteX1" fmla="*/ 125085 w 242280"/>
                <a:gd name="connsiteY1" fmla="*/ 64068 h 64067"/>
                <a:gd name="connsiteX2" fmla="*/ 51864 w 242280"/>
                <a:gd name="connsiteY2" fmla="*/ 36610 h 64067"/>
                <a:gd name="connsiteX3" fmla="*/ 3051 w 242280"/>
                <a:gd name="connsiteY3" fmla="*/ 12203 h 64067"/>
                <a:gd name="connsiteX4" fmla="*/ 0 w 242280"/>
                <a:gd name="connsiteY4" fmla="*/ 3051 h 64067"/>
                <a:gd name="connsiteX5" fmla="*/ 9152 w 242280"/>
                <a:gd name="connsiteY5" fmla="*/ 0 h 64067"/>
                <a:gd name="connsiteX6" fmla="*/ 54915 w 242280"/>
                <a:gd name="connsiteY6" fmla="*/ 24407 h 64067"/>
                <a:gd name="connsiteX7" fmla="*/ 146440 w 242280"/>
                <a:gd name="connsiteY7" fmla="*/ 51864 h 64067"/>
                <a:gd name="connsiteX8" fmla="*/ 146440 w 242280"/>
                <a:gd name="connsiteY8" fmla="*/ 51864 h 64067"/>
                <a:gd name="connsiteX9" fmla="*/ 158644 w 242280"/>
                <a:gd name="connsiteY9" fmla="*/ 51864 h 64067"/>
                <a:gd name="connsiteX10" fmla="*/ 207457 w 242280"/>
                <a:gd name="connsiteY10" fmla="*/ 33559 h 64067"/>
                <a:gd name="connsiteX11" fmla="*/ 216610 w 242280"/>
                <a:gd name="connsiteY11" fmla="*/ 27458 h 64067"/>
                <a:gd name="connsiteX12" fmla="*/ 222712 w 242280"/>
                <a:gd name="connsiteY12" fmla="*/ 27458 h 64067"/>
                <a:gd name="connsiteX13" fmla="*/ 231865 w 242280"/>
                <a:gd name="connsiteY13" fmla="*/ 21356 h 64067"/>
                <a:gd name="connsiteX14" fmla="*/ 241017 w 242280"/>
                <a:gd name="connsiteY14" fmla="*/ 24407 h 64067"/>
                <a:gd name="connsiteX15" fmla="*/ 237966 w 242280"/>
                <a:gd name="connsiteY15" fmla="*/ 33559 h 64067"/>
                <a:gd name="connsiteX16" fmla="*/ 213559 w 242280"/>
                <a:gd name="connsiteY16" fmla="*/ 45763 h 64067"/>
                <a:gd name="connsiteX17" fmla="*/ 158644 w 242280"/>
                <a:gd name="connsiteY17" fmla="*/ 64068 h 64067"/>
                <a:gd name="connsiteX18" fmla="*/ 137288 w 242280"/>
                <a:gd name="connsiteY18" fmla="*/ 64068 h 64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2280" h="64067">
                  <a:moveTo>
                    <a:pt x="137288" y="64068"/>
                  </a:moveTo>
                  <a:cubicBezTo>
                    <a:pt x="131186" y="64068"/>
                    <a:pt x="128135" y="64068"/>
                    <a:pt x="125085" y="64068"/>
                  </a:cubicBezTo>
                  <a:cubicBezTo>
                    <a:pt x="106780" y="61017"/>
                    <a:pt x="76271" y="48814"/>
                    <a:pt x="51864" y="36610"/>
                  </a:cubicBezTo>
                  <a:cubicBezTo>
                    <a:pt x="24406" y="24407"/>
                    <a:pt x="3051" y="12203"/>
                    <a:pt x="3051" y="12203"/>
                  </a:cubicBezTo>
                  <a:cubicBezTo>
                    <a:pt x="0" y="9153"/>
                    <a:pt x="0" y="6102"/>
                    <a:pt x="0" y="3051"/>
                  </a:cubicBezTo>
                  <a:cubicBezTo>
                    <a:pt x="3051" y="0"/>
                    <a:pt x="6101" y="0"/>
                    <a:pt x="9152" y="0"/>
                  </a:cubicBezTo>
                  <a:cubicBezTo>
                    <a:pt x="9152" y="0"/>
                    <a:pt x="30508" y="12203"/>
                    <a:pt x="54915" y="24407"/>
                  </a:cubicBezTo>
                  <a:cubicBezTo>
                    <a:pt x="85423" y="36610"/>
                    <a:pt x="122034" y="51864"/>
                    <a:pt x="146440" y="51864"/>
                  </a:cubicBezTo>
                  <a:cubicBezTo>
                    <a:pt x="146440" y="51864"/>
                    <a:pt x="146440" y="51864"/>
                    <a:pt x="146440" y="51864"/>
                  </a:cubicBezTo>
                  <a:cubicBezTo>
                    <a:pt x="149491" y="51864"/>
                    <a:pt x="155593" y="51864"/>
                    <a:pt x="158644" y="51864"/>
                  </a:cubicBezTo>
                  <a:cubicBezTo>
                    <a:pt x="176949" y="48814"/>
                    <a:pt x="195254" y="39661"/>
                    <a:pt x="207457" y="33559"/>
                  </a:cubicBezTo>
                  <a:cubicBezTo>
                    <a:pt x="213559" y="30508"/>
                    <a:pt x="216610" y="27458"/>
                    <a:pt x="216610" y="27458"/>
                  </a:cubicBezTo>
                  <a:cubicBezTo>
                    <a:pt x="219660" y="27458"/>
                    <a:pt x="219660" y="24407"/>
                    <a:pt x="222712" y="27458"/>
                  </a:cubicBezTo>
                  <a:cubicBezTo>
                    <a:pt x="228814" y="24407"/>
                    <a:pt x="231865" y="21356"/>
                    <a:pt x="231865" y="21356"/>
                  </a:cubicBezTo>
                  <a:cubicBezTo>
                    <a:pt x="234915" y="18305"/>
                    <a:pt x="237966" y="21356"/>
                    <a:pt x="241017" y="24407"/>
                  </a:cubicBezTo>
                  <a:cubicBezTo>
                    <a:pt x="244068" y="27458"/>
                    <a:pt x="241017" y="30508"/>
                    <a:pt x="237966" y="33559"/>
                  </a:cubicBezTo>
                  <a:cubicBezTo>
                    <a:pt x="237966" y="33559"/>
                    <a:pt x="228814" y="39661"/>
                    <a:pt x="213559" y="45763"/>
                  </a:cubicBezTo>
                  <a:cubicBezTo>
                    <a:pt x="201356" y="51864"/>
                    <a:pt x="183051" y="61017"/>
                    <a:pt x="158644" y="64068"/>
                  </a:cubicBezTo>
                  <a:cubicBezTo>
                    <a:pt x="152542" y="64068"/>
                    <a:pt x="143389" y="64068"/>
                    <a:pt x="137288" y="64068"/>
                  </a:cubicBezTo>
                  <a:close/>
                </a:path>
              </a:pathLst>
            </a:custGeom>
            <a:solidFill>
              <a:srgbClr val="E87952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8" name="图形 1">
              <a:extLst>
                <a:ext uri="{FF2B5EF4-FFF2-40B4-BE49-F238E27FC236}">
                  <a16:creationId xmlns:a16="http://schemas.microsoft.com/office/drawing/2014/main" id="{7597088D-F996-4EAF-8D63-C6A42F6F48B7}"/>
                </a:ext>
              </a:extLst>
            </p:cNvPr>
            <p:cNvGrpSpPr/>
            <p:nvPr/>
          </p:nvGrpSpPr>
          <p:grpSpPr>
            <a:xfrm>
              <a:off x="17031526" y="1772186"/>
              <a:ext cx="797895" cy="346143"/>
              <a:chOff x="17031526" y="1772186"/>
              <a:chExt cx="797895" cy="346143"/>
            </a:xfrm>
          </p:grpSpPr>
          <p:grpSp>
            <p:nvGrpSpPr>
              <p:cNvPr id="134" name="图形 1">
                <a:extLst>
                  <a:ext uri="{FF2B5EF4-FFF2-40B4-BE49-F238E27FC236}">
                    <a16:creationId xmlns:a16="http://schemas.microsoft.com/office/drawing/2014/main" id="{DFCCBD2F-0F27-45A5-AEA2-4AA4344CF0F0}"/>
                  </a:ext>
                </a:extLst>
              </p:cNvPr>
              <p:cNvGrpSpPr/>
              <p:nvPr/>
            </p:nvGrpSpPr>
            <p:grpSpPr>
              <a:xfrm>
                <a:off x="17031526" y="1772186"/>
                <a:ext cx="773393" cy="325789"/>
                <a:chOff x="17031526" y="1772186"/>
                <a:chExt cx="773393" cy="325789"/>
              </a:xfrm>
            </p:grpSpPr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C1F8E69D-D98B-40DA-812C-8A86BE25C6E5}"/>
                    </a:ext>
                  </a:extLst>
                </p:cNvPr>
                <p:cNvSpPr/>
                <p:nvPr/>
              </p:nvSpPr>
              <p:spPr>
                <a:xfrm>
                  <a:off x="17185594" y="1772186"/>
                  <a:ext cx="619324" cy="325789"/>
                </a:xfrm>
                <a:custGeom>
                  <a:avLst/>
                  <a:gdLst>
                    <a:gd name="connsiteX0" fmla="*/ 442373 w 619324"/>
                    <a:gd name="connsiteY0" fmla="*/ 19703 h 325789"/>
                    <a:gd name="connsiteX1" fmla="*/ 3051 w 619324"/>
                    <a:gd name="connsiteY1" fmla="*/ 138686 h 325789"/>
                    <a:gd name="connsiteX2" fmla="*/ 0 w 619324"/>
                    <a:gd name="connsiteY2" fmla="*/ 147838 h 325789"/>
                    <a:gd name="connsiteX3" fmla="*/ 76271 w 619324"/>
                    <a:gd name="connsiteY3" fmla="*/ 208855 h 325789"/>
                    <a:gd name="connsiteX4" fmla="*/ 54915 w 619324"/>
                    <a:gd name="connsiteY4" fmla="*/ 294279 h 325789"/>
                    <a:gd name="connsiteX5" fmla="*/ 57966 w 619324"/>
                    <a:gd name="connsiteY5" fmla="*/ 300381 h 325789"/>
                    <a:gd name="connsiteX6" fmla="*/ 64068 w 619324"/>
                    <a:gd name="connsiteY6" fmla="*/ 303431 h 325789"/>
                    <a:gd name="connsiteX7" fmla="*/ 399661 w 619324"/>
                    <a:gd name="connsiteY7" fmla="*/ 324787 h 325789"/>
                    <a:gd name="connsiteX8" fmla="*/ 613221 w 619324"/>
                    <a:gd name="connsiteY8" fmla="*/ 282075 h 325789"/>
                    <a:gd name="connsiteX9" fmla="*/ 619322 w 619324"/>
                    <a:gd name="connsiteY9" fmla="*/ 272923 h 325789"/>
                    <a:gd name="connsiteX10" fmla="*/ 442373 w 619324"/>
                    <a:gd name="connsiteY10" fmla="*/ 19703 h 325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19324" h="325789">
                      <a:moveTo>
                        <a:pt x="442373" y="19703"/>
                      </a:moveTo>
                      <a:cubicBezTo>
                        <a:pt x="277627" y="-29111"/>
                        <a:pt x="118983" y="13601"/>
                        <a:pt x="3051" y="138686"/>
                      </a:cubicBezTo>
                      <a:cubicBezTo>
                        <a:pt x="0" y="141736"/>
                        <a:pt x="0" y="144787"/>
                        <a:pt x="0" y="147838"/>
                      </a:cubicBezTo>
                      <a:cubicBezTo>
                        <a:pt x="0" y="150889"/>
                        <a:pt x="21356" y="196652"/>
                        <a:pt x="76271" y="208855"/>
                      </a:cubicBezTo>
                      <a:cubicBezTo>
                        <a:pt x="61017" y="248516"/>
                        <a:pt x="54915" y="291228"/>
                        <a:pt x="54915" y="294279"/>
                      </a:cubicBezTo>
                      <a:cubicBezTo>
                        <a:pt x="54915" y="297330"/>
                        <a:pt x="54915" y="300381"/>
                        <a:pt x="57966" y="300381"/>
                      </a:cubicBezTo>
                      <a:cubicBezTo>
                        <a:pt x="57966" y="303431"/>
                        <a:pt x="61017" y="303431"/>
                        <a:pt x="64068" y="303431"/>
                      </a:cubicBezTo>
                      <a:cubicBezTo>
                        <a:pt x="204407" y="324787"/>
                        <a:pt x="314237" y="327838"/>
                        <a:pt x="399661" y="324787"/>
                      </a:cubicBezTo>
                      <a:cubicBezTo>
                        <a:pt x="540000" y="315635"/>
                        <a:pt x="610170" y="285126"/>
                        <a:pt x="613221" y="282075"/>
                      </a:cubicBezTo>
                      <a:cubicBezTo>
                        <a:pt x="616272" y="282075"/>
                        <a:pt x="619322" y="279025"/>
                        <a:pt x="619322" y="272923"/>
                      </a:cubicBezTo>
                      <a:cubicBezTo>
                        <a:pt x="619322" y="272923"/>
                        <a:pt x="622373" y="74618"/>
                        <a:pt x="442373" y="1970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0B6B9EED-4659-498E-BC9B-8C66F5A48BBF}"/>
                    </a:ext>
                  </a:extLst>
                </p:cNvPr>
                <p:cNvSpPr/>
                <p:nvPr/>
              </p:nvSpPr>
              <p:spPr>
                <a:xfrm>
                  <a:off x="17031526" y="1807142"/>
                  <a:ext cx="216229" cy="205603"/>
                </a:xfrm>
                <a:custGeom>
                  <a:avLst/>
                  <a:gdLst>
                    <a:gd name="connsiteX0" fmla="*/ 215085 w 216229"/>
                    <a:gd name="connsiteY0" fmla="*/ 97627 h 205603"/>
                    <a:gd name="connsiteX1" fmla="*/ 205933 w 216229"/>
                    <a:gd name="connsiteY1" fmla="*/ 67119 h 205603"/>
                    <a:gd name="connsiteX2" fmla="*/ 193729 w 216229"/>
                    <a:gd name="connsiteY2" fmla="*/ 57966 h 205603"/>
                    <a:gd name="connsiteX3" fmla="*/ 181526 w 216229"/>
                    <a:gd name="connsiteY3" fmla="*/ 30508 h 205603"/>
                    <a:gd name="connsiteX4" fmla="*/ 160170 w 216229"/>
                    <a:gd name="connsiteY4" fmla="*/ 21356 h 205603"/>
                    <a:gd name="connsiteX5" fmla="*/ 144916 w 216229"/>
                    <a:gd name="connsiteY5" fmla="*/ 21356 h 205603"/>
                    <a:gd name="connsiteX6" fmla="*/ 99153 w 216229"/>
                    <a:gd name="connsiteY6" fmla="*/ 0 h 205603"/>
                    <a:gd name="connsiteX7" fmla="*/ 56441 w 216229"/>
                    <a:gd name="connsiteY7" fmla="*/ 30508 h 205603"/>
                    <a:gd name="connsiteX8" fmla="*/ 13729 w 216229"/>
                    <a:gd name="connsiteY8" fmla="*/ 73220 h 205603"/>
                    <a:gd name="connsiteX9" fmla="*/ 13729 w 216229"/>
                    <a:gd name="connsiteY9" fmla="*/ 128136 h 205603"/>
                    <a:gd name="connsiteX10" fmla="*/ 22882 w 216229"/>
                    <a:gd name="connsiteY10" fmla="*/ 170847 h 205603"/>
                    <a:gd name="connsiteX11" fmla="*/ 50339 w 216229"/>
                    <a:gd name="connsiteY11" fmla="*/ 183051 h 205603"/>
                    <a:gd name="connsiteX12" fmla="*/ 56441 w 216229"/>
                    <a:gd name="connsiteY12" fmla="*/ 183051 h 205603"/>
                    <a:gd name="connsiteX13" fmla="*/ 56441 w 216229"/>
                    <a:gd name="connsiteY13" fmla="*/ 183051 h 205603"/>
                    <a:gd name="connsiteX14" fmla="*/ 83899 w 216229"/>
                    <a:gd name="connsiteY14" fmla="*/ 204407 h 205603"/>
                    <a:gd name="connsiteX15" fmla="*/ 117458 w 216229"/>
                    <a:gd name="connsiteY15" fmla="*/ 198305 h 205603"/>
                    <a:gd name="connsiteX16" fmla="*/ 141865 w 216229"/>
                    <a:gd name="connsiteY16" fmla="*/ 198305 h 205603"/>
                    <a:gd name="connsiteX17" fmla="*/ 169322 w 216229"/>
                    <a:gd name="connsiteY17" fmla="*/ 176949 h 205603"/>
                    <a:gd name="connsiteX18" fmla="*/ 175424 w 216229"/>
                    <a:gd name="connsiteY18" fmla="*/ 161695 h 205603"/>
                    <a:gd name="connsiteX19" fmla="*/ 193729 w 216229"/>
                    <a:gd name="connsiteY19" fmla="*/ 146441 h 205603"/>
                    <a:gd name="connsiteX20" fmla="*/ 193729 w 216229"/>
                    <a:gd name="connsiteY20" fmla="*/ 118983 h 205603"/>
                    <a:gd name="connsiteX21" fmla="*/ 196780 w 216229"/>
                    <a:gd name="connsiteY21" fmla="*/ 115932 h 205603"/>
                    <a:gd name="connsiteX22" fmla="*/ 215085 w 216229"/>
                    <a:gd name="connsiteY22" fmla="*/ 97627 h 205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16229" h="205603">
                      <a:moveTo>
                        <a:pt x="215085" y="97627"/>
                      </a:moveTo>
                      <a:cubicBezTo>
                        <a:pt x="218136" y="88475"/>
                        <a:pt x="215085" y="73220"/>
                        <a:pt x="205933" y="67119"/>
                      </a:cubicBezTo>
                      <a:cubicBezTo>
                        <a:pt x="202882" y="64068"/>
                        <a:pt x="196780" y="61017"/>
                        <a:pt x="193729" y="57966"/>
                      </a:cubicBezTo>
                      <a:cubicBezTo>
                        <a:pt x="193729" y="48814"/>
                        <a:pt x="190679" y="39661"/>
                        <a:pt x="181526" y="30508"/>
                      </a:cubicBezTo>
                      <a:cubicBezTo>
                        <a:pt x="175424" y="24407"/>
                        <a:pt x="169322" y="21356"/>
                        <a:pt x="160170" y="21356"/>
                      </a:cubicBezTo>
                      <a:cubicBezTo>
                        <a:pt x="157119" y="21356"/>
                        <a:pt x="151017" y="21356"/>
                        <a:pt x="144916" y="21356"/>
                      </a:cubicBezTo>
                      <a:cubicBezTo>
                        <a:pt x="135763" y="9153"/>
                        <a:pt x="120509" y="0"/>
                        <a:pt x="99153" y="0"/>
                      </a:cubicBezTo>
                      <a:cubicBezTo>
                        <a:pt x="80848" y="3051"/>
                        <a:pt x="65594" y="15254"/>
                        <a:pt x="56441" y="30508"/>
                      </a:cubicBezTo>
                      <a:cubicBezTo>
                        <a:pt x="28983" y="30508"/>
                        <a:pt x="13729" y="51864"/>
                        <a:pt x="13729" y="73220"/>
                      </a:cubicBezTo>
                      <a:cubicBezTo>
                        <a:pt x="-4576" y="88475"/>
                        <a:pt x="-4576" y="115932"/>
                        <a:pt x="13729" y="128136"/>
                      </a:cubicBezTo>
                      <a:cubicBezTo>
                        <a:pt x="10678" y="143390"/>
                        <a:pt x="13729" y="158644"/>
                        <a:pt x="22882" y="170847"/>
                      </a:cubicBezTo>
                      <a:cubicBezTo>
                        <a:pt x="28983" y="180000"/>
                        <a:pt x="38136" y="183051"/>
                        <a:pt x="50339" y="183051"/>
                      </a:cubicBezTo>
                      <a:cubicBezTo>
                        <a:pt x="53391" y="183051"/>
                        <a:pt x="53391" y="183051"/>
                        <a:pt x="56441" y="183051"/>
                      </a:cubicBezTo>
                      <a:cubicBezTo>
                        <a:pt x="56441" y="183051"/>
                        <a:pt x="56441" y="183051"/>
                        <a:pt x="56441" y="183051"/>
                      </a:cubicBezTo>
                      <a:cubicBezTo>
                        <a:pt x="62543" y="195254"/>
                        <a:pt x="71695" y="204407"/>
                        <a:pt x="83899" y="204407"/>
                      </a:cubicBezTo>
                      <a:cubicBezTo>
                        <a:pt x="96102" y="207458"/>
                        <a:pt x="108305" y="204407"/>
                        <a:pt x="117458" y="198305"/>
                      </a:cubicBezTo>
                      <a:cubicBezTo>
                        <a:pt x="126611" y="201356"/>
                        <a:pt x="132712" y="201356"/>
                        <a:pt x="141865" y="198305"/>
                      </a:cubicBezTo>
                      <a:cubicBezTo>
                        <a:pt x="154068" y="195254"/>
                        <a:pt x="163220" y="189153"/>
                        <a:pt x="169322" y="176949"/>
                      </a:cubicBezTo>
                      <a:cubicBezTo>
                        <a:pt x="172373" y="173898"/>
                        <a:pt x="175424" y="167797"/>
                        <a:pt x="175424" y="161695"/>
                      </a:cubicBezTo>
                      <a:cubicBezTo>
                        <a:pt x="181526" y="158644"/>
                        <a:pt x="190679" y="155593"/>
                        <a:pt x="193729" y="146441"/>
                      </a:cubicBezTo>
                      <a:cubicBezTo>
                        <a:pt x="199831" y="134237"/>
                        <a:pt x="196780" y="128136"/>
                        <a:pt x="193729" y="118983"/>
                      </a:cubicBezTo>
                      <a:cubicBezTo>
                        <a:pt x="193729" y="118983"/>
                        <a:pt x="196780" y="118983"/>
                        <a:pt x="196780" y="115932"/>
                      </a:cubicBezTo>
                      <a:cubicBezTo>
                        <a:pt x="208983" y="112881"/>
                        <a:pt x="212034" y="106780"/>
                        <a:pt x="215085" y="9762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EE74EB19-161F-429B-B859-566D0641D035}"/>
                  </a:ext>
                </a:extLst>
              </p:cNvPr>
              <p:cNvSpPr/>
              <p:nvPr/>
            </p:nvSpPr>
            <p:spPr>
              <a:xfrm>
                <a:off x="17237459" y="1932990"/>
                <a:ext cx="54152" cy="118220"/>
              </a:xfrm>
              <a:custGeom>
                <a:avLst/>
                <a:gdLst>
                  <a:gd name="connsiteX0" fmla="*/ 6101 w 54152"/>
                  <a:gd name="connsiteY0" fmla="*/ 118220 h 118220"/>
                  <a:gd name="connsiteX1" fmla="*/ 6101 w 54152"/>
                  <a:gd name="connsiteY1" fmla="*/ 118220 h 118220"/>
                  <a:gd name="connsiteX2" fmla="*/ 0 w 54152"/>
                  <a:gd name="connsiteY2" fmla="*/ 112119 h 118220"/>
                  <a:gd name="connsiteX3" fmla="*/ 42712 w 54152"/>
                  <a:gd name="connsiteY3" fmla="*/ 2288 h 118220"/>
                  <a:gd name="connsiteX4" fmla="*/ 51864 w 54152"/>
                  <a:gd name="connsiteY4" fmla="*/ 2288 h 118220"/>
                  <a:gd name="connsiteX5" fmla="*/ 51864 w 54152"/>
                  <a:gd name="connsiteY5" fmla="*/ 11441 h 118220"/>
                  <a:gd name="connsiteX6" fmla="*/ 12203 w 54152"/>
                  <a:gd name="connsiteY6" fmla="*/ 118220 h 118220"/>
                  <a:gd name="connsiteX7" fmla="*/ 6101 w 54152"/>
                  <a:gd name="connsiteY7" fmla="*/ 118220 h 11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152" h="118220">
                    <a:moveTo>
                      <a:pt x="6101" y="118220"/>
                    </a:moveTo>
                    <a:cubicBezTo>
                      <a:pt x="6101" y="118220"/>
                      <a:pt x="6101" y="118220"/>
                      <a:pt x="6101" y="118220"/>
                    </a:cubicBezTo>
                    <a:cubicBezTo>
                      <a:pt x="3050" y="118220"/>
                      <a:pt x="0" y="115169"/>
                      <a:pt x="0" y="112119"/>
                    </a:cubicBezTo>
                    <a:cubicBezTo>
                      <a:pt x="0" y="109068"/>
                      <a:pt x="12203" y="45000"/>
                      <a:pt x="42712" y="2288"/>
                    </a:cubicBezTo>
                    <a:cubicBezTo>
                      <a:pt x="45763" y="-763"/>
                      <a:pt x="48813" y="-763"/>
                      <a:pt x="51864" y="2288"/>
                    </a:cubicBezTo>
                    <a:cubicBezTo>
                      <a:pt x="54915" y="5339"/>
                      <a:pt x="54915" y="8390"/>
                      <a:pt x="51864" y="11441"/>
                    </a:cubicBezTo>
                    <a:cubicBezTo>
                      <a:pt x="24406" y="51102"/>
                      <a:pt x="12203" y="118220"/>
                      <a:pt x="12203" y="118220"/>
                    </a:cubicBezTo>
                    <a:cubicBezTo>
                      <a:pt x="12203" y="115169"/>
                      <a:pt x="9152" y="118220"/>
                      <a:pt x="6101" y="11822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279CA209-67DF-42B1-BCC4-C6ED81A03D14}"/>
                  </a:ext>
                </a:extLst>
              </p:cNvPr>
              <p:cNvSpPr/>
              <p:nvPr/>
            </p:nvSpPr>
            <p:spPr>
              <a:xfrm>
                <a:off x="17213814" y="2009944"/>
                <a:ext cx="615607" cy="102477"/>
              </a:xfrm>
              <a:custGeom>
                <a:avLst/>
                <a:gdLst>
                  <a:gd name="connsiteX0" fmla="*/ 575847 w 615607"/>
                  <a:gd name="connsiteY0" fmla="*/ 1605 h 102477"/>
                  <a:gd name="connsiteX1" fmla="*/ 29745 w 615607"/>
                  <a:gd name="connsiteY1" fmla="*/ 22961 h 102477"/>
                  <a:gd name="connsiteX2" fmla="*/ 29745 w 615607"/>
                  <a:gd name="connsiteY2" fmla="*/ 87028 h 102477"/>
                  <a:gd name="connsiteX3" fmla="*/ 591101 w 615607"/>
                  <a:gd name="connsiteY3" fmla="*/ 62622 h 102477"/>
                  <a:gd name="connsiteX4" fmla="*/ 575847 w 615607"/>
                  <a:gd name="connsiteY4" fmla="*/ 1605 h 102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5607" h="102477">
                    <a:moveTo>
                      <a:pt x="575847" y="1605"/>
                    </a:moveTo>
                    <a:cubicBezTo>
                      <a:pt x="395847" y="53469"/>
                      <a:pt x="212796" y="41266"/>
                      <a:pt x="29745" y="22961"/>
                    </a:cubicBezTo>
                    <a:cubicBezTo>
                      <a:pt x="-9915" y="19910"/>
                      <a:pt x="-9915" y="83978"/>
                      <a:pt x="29745" y="87028"/>
                    </a:cubicBezTo>
                    <a:cubicBezTo>
                      <a:pt x="218898" y="105333"/>
                      <a:pt x="408050" y="117537"/>
                      <a:pt x="591101" y="62622"/>
                    </a:cubicBezTo>
                    <a:cubicBezTo>
                      <a:pt x="633814" y="50418"/>
                      <a:pt x="615509" y="-10599"/>
                      <a:pt x="575847" y="1605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5BCC4B6E-2EA5-458F-8614-FB6FF3876AA7}"/>
                  </a:ext>
                </a:extLst>
              </p:cNvPr>
              <p:cNvSpPr/>
              <p:nvPr/>
            </p:nvSpPr>
            <p:spPr>
              <a:xfrm>
                <a:off x="17208799" y="2029061"/>
                <a:ext cx="599167" cy="89268"/>
              </a:xfrm>
              <a:custGeom>
                <a:avLst/>
                <a:gdLst>
                  <a:gd name="connsiteX0" fmla="*/ 294083 w 599167"/>
                  <a:gd name="connsiteY0" fmla="*/ 89268 h 89268"/>
                  <a:gd name="connsiteX1" fmla="*/ 34761 w 599167"/>
                  <a:gd name="connsiteY1" fmla="*/ 74014 h 89268"/>
                  <a:gd name="connsiteX2" fmla="*/ 4252 w 599167"/>
                  <a:gd name="connsiteY2" fmla="*/ 52658 h 89268"/>
                  <a:gd name="connsiteX3" fmla="*/ 7303 w 599167"/>
                  <a:gd name="connsiteY3" fmla="*/ 12997 h 89268"/>
                  <a:gd name="connsiteX4" fmla="*/ 37812 w 599167"/>
                  <a:gd name="connsiteY4" fmla="*/ 794 h 89268"/>
                  <a:gd name="connsiteX5" fmla="*/ 223913 w 599167"/>
                  <a:gd name="connsiteY5" fmla="*/ 12997 h 89268"/>
                  <a:gd name="connsiteX6" fmla="*/ 230015 w 599167"/>
                  <a:gd name="connsiteY6" fmla="*/ 19099 h 89268"/>
                  <a:gd name="connsiteX7" fmla="*/ 223913 w 599167"/>
                  <a:gd name="connsiteY7" fmla="*/ 25200 h 89268"/>
                  <a:gd name="connsiteX8" fmla="*/ 34761 w 599167"/>
                  <a:gd name="connsiteY8" fmla="*/ 9946 h 89268"/>
                  <a:gd name="connsiteX9" fmla="*/ 13405 w 599167"/>
                  <a:gd name="connsiteY9" fmla="*/ 19099 h 89268"/>
                  <a:gd name="connsiteX10" fmla="*/ 10354 w 599167"/>
                  <a:gd name="connsiteY10" fmla="*/ 46556 h 89268"/>
                  <a:gd name="connsiteX11" fmla="*/ 31710 w 599167"/>
                  <a:gd name="connsiteY11" fmla="*/ 61811 h 89268"/>
                  <a:gd name="connsiteX12" fmla="*/ 593066 w 599167"/>
                  <a:gd name="connsiteY12" fmla="*/ 37404 h 89268"/>
                  <a:gd name="connsiteX13" fmla="*/ 599167 w 599167"/>
                  <a:gd name="connsiteY13" fmla="*/ 40455 h 89268"/>
                  <a:gd name="connsiteX14" fmla="*/ 596116 w 599167"/>
                  <a:gd name="connsiteY14" fmla="*/ 46556 h 89268"/>
                  <a:gd name="connsiteX15" fmla="*/ 294083 w 599167"/>
                  <a:gd name="connsiteY15" fmla="*/ 89268 h 89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99167" h="89268">
                    <a:moveTo>
                      <a:pt x="294083" y="89268"/>
                    </a:moveTo>
                    <a:cubicBezTo>
                      <a:pt x="208659" y="89268"/>
                      <a:pt x="123235" y="83167"/>
                      <a:pt x="34761" y="74014"/>
                    </a:cubicBezTo>
                    <a:cubicBezTo>
                      <a:pt x="19506" y="74014"/>
                      <a:pt x="10354" y="64861"/>
                      <a:pt x="4252" y="52658"/>
                    </a:cubicBezTo>
                    <a:cubicBezTo>
                      <a:pt x="-1849" y="40455"/>
                      <a:pt x="-1849" y="22150"/>
                      <a:pt x="7303" y="12997"/>
                    </a:cubicBezTo>
                    <a:cubicBezTo>
                      <a:pt x="13405" y="3844"/>
                      <a:pt x="25608" y="-2257"/>
                      <a:pt x="37812" y="794"/>
                    </a:cubicBezTo>
                    <a:cubicBezTo>
                      <a:pt x="37812" y="794"/>
                      <a:pt x="181202" y="12997"/>
                      <a:pt x="223913" y="12997"/>
                    </a:cubicBezTo>
                    <a:cubicBezTo>
                      <a:pt x="226965" y="12997"/>
                      <a:pt x="230015" y="16048"/>
                      <a:pt x="230015" y="19099"/>
                    </a:cubicBezTo>
                    <a:cubicBezTo>
                      <a:pt x="230015" y="22150"/>
                      <a:pt x="226965" y="25200"/>
                      <a:pt x="223913" y="25200"/>
                    </a:cubicBezTo>
                    <a:cubicBezTo>
                      <a:pt x="178151" y="25200"/>
                      <a:pt x="37812" y="12997"/>
                      <a:pt x="34761" y="9946"/>
                    </a:cubicBezTo>
                    <a:cubicBezTo>
                      <a:pt x="25608" y="9946"/>
                      <a:pt x="19506" y="12997"/>
                      <a:pt x="13405" y="19099"/>
                    </a:cubicBezTo>
                    <a:cubicBezTo>
                      <a:pt x="7303" y="25200"/>
                      <a:pt x="7303" y="37404"/>
                      <a:pt x="10354" y="46556"/>
                    </a:cubicBezTo>
                    <a:cubicBezTo>
                      <a:pt x="13405" y="52658"/>
                      <a:pt x="19506" y="61811"/>
                      <a:pt x="31710" y="61811"/>
                    </a:cubicBezTo>
                    <a:cubicBezTo>
                      <a:pt x="223913" y="80116"/>
                      <a:pt x="410015" y="92319"/>
                      <a:pt x="593066" y="37404"/>
                    </a:cubicBezTo>
                    <a:cubicBezTo>
                      <a:pt x="596116" y="37404"/>
                      <a:pt x="599167" y="37404"/>
                      <a:pt x="599167" y="40455"/>
                    </a:cubicBezTo>
                    <a:cubicBezTo>
                      <a:pt x="599167" y="43505"/>
                      <a:pt x="599167" y="46556"/>
                      <a:pt x="596116" y="46556"/>
                    </a:cubicBezTo>
                    <a:cubicBezTo>
                      <a:pt x="498490" y="77065"/>
                      <a:pt x="397811" y="89268"/>
                      <a:pt x="294083" y="892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DFAD3679-6245-41AF-B50D-2A9A2441DC92}"/>
                </a:ext>
              </a:extLst>
            </p:cNvPr>
            <p:cNvSpPr/>
            <p:nvPr/>
          </p:nvSpPr>
          <p:spPr>
            <a:xfrm>
              <a:off x="17294727" y="2170193"/>
              <a:ext cx="520509" cy="589182"/>
            </a:xfrm>
            <a:custGeom>
              <a:avLst/>
              <a:gdLst>
                <a:gd name="connsiteX0" fmla="*/ 15952 w 520509"/>
                <a:gd name="connsiteY0" fmla="*/ 143390 h 589182"/>
                <a:gd name="connsiteX1" fmla="*/ 3749 w 520509"/>
                <a:gd name="connsiteY1" fmla="*/ 12203 h 589182"/>
                <a:gd name="connsiteX2" fmla="*/ 64766 w 520509"/>
                <a:gd name="connsiteY2" fmla="*/ 0 h 589182"/>
                <a:gd name="connsiteX3" fmla="*/ 101375 w 520509"/>
                <a:gd name="connsiteY3" fmla="*/ 222712 h 589182"/>
                <a:gd name="connsiteX4" fmla="*/ 232562 w 520509"/>
                <a:gd name="connsiteY4" fmla="*/ 216610 h 589182"/>
                <a:gd name="connsiteX5" fmla="*/ 272223 w 520509"/>
                <a:gd name="connsiteY5" fmla="*/ 207458 h 589182"/>
                <a:gd name="connsiteX6" fmla="*/ 363749 w 520509"/>
                <a:gd name="connsiteY6" fmla="*/ 244068 h 589182"/>
                <a:gd name="connsiteX7" fmla="*/ 440020 w 520509"/>
                <a:gd name="connsiteY7" fmla="*/ 125085 h 589182"/>
                <a:gd name="connsiteX8" fmla="*/ 473579 w 520509"/>
                <a:gd name="connsiteY8" fmla="*/ 103729 h 589182"/>
                <a:gd name="connsiteX9" fmla="*/ 452223 w 520509"/>
                <a:gd name="connsiteY9" fmla="*/ 201356 h 589182"/>
                <a:gd name="connsiteX10" fmla="*/ 458325 w 520509"/>
                <a:gd name="connsiteY10" fmla="*/ 503390 h 589182"/>
                <a:gd name="connsiteX11" fmla="*/ 455274 w 520509"/>
                <a:gd name="connsiteY11" fmla="*/ 576610 h 589182"/>
                <a:gd name="connsiteX12" fmla="*/ 698 w 520509"/>
                <a:gd name="connsiteY12" fmla="*/ 274576 h 589182"/>
                <a:gd name="connsiteX13" fmla="*/ 15952 w 520509"/>
                <a:gd name="connsiteY13" fmla="*/ 143390 h 58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0509" h="589182">
                  <a:moveTo>
                    <a:pt x="15952" y="143390"/>
                  </a:moveTo>
                  <a:cubicBezTo>
                    <a:pt x="15952" y="143390"/>
                    <a:pt x="3749" y="12203"/>
                    <a:pt x="3749" y="12203"/>
                  </a:cubicBezTo>
                  <a:cubicBezTo>
                    <a:pt x="22053" y="9153"/>
                    <a:pt x="49512" y="6102"/>
                    <a:pt x="64766" y="0"/>
                  </a:cubicBezTo>
                  <a:cubicBezTo>
                    <a:pt x="64766" y="33559"/>
                    <a:pt x="76969" y="204407"/>
                    <a:pt x="101375" y="222712"/>
                  </a:cubicBezTo>
                  <a:cubicBezTo>
                    <a:pt x="134935" y="244068"/>
                    <a:pt x="214257" y="256271"/>
                    <a:pt x="232562" y="216610"/>
                  </a:cubicBezTo>
                  <a:cubicBezTo>
                    <a:pt x="232562" y="216610"/>
                    <a:pt x="256969" y="231864"/>
                    <a:pt x="272223" y="207458"/>
                  </a:cubicBezTo>
                  <a:cubicBezTo>
                    <a:pt x="272223" y="207458"/>
                    <a:pt x="302732" y="247119"/>
                    <a:pt x="363749" y="244068"/>
                  </a:cubicBezTo>
                  <a:cubicBezTo>
                    <a:pt x="394257" y="241017"/>
                    <a:pt x="433918" y="155593"/>
                    <a:pt x="440020" y="125085"/>
                  </a:cubicBezTo>
                  <a:cubicBezTo>
                    <a:pt x="452223" y="131186"/>
                    <a:pt x="461376" y="103729"/>
                    <a:pt x="473579" y="103729"/>
                  </a:cubicBezTo>
                  <a:cubicBezTo>
                    <a:pt x="473579" y="106780"/>
                    <a:pt x="452223" y="198305"/>
                    <a:pt x="452223" y="201356"/>
                  </a:cubicBezTo>
                  <a:cubicBezTo>
                    <a:pt x="452223" y="201356"/>
                    <a:pt x="601714" y="414915"/>
                    <a:pt x="458325" y="503390"/>
                  </a:cubicBezTo>
                  <a:cubicBezTo>
                    <a:pt x="418663" y="527797"/>
                    <a:pt x="455274" y="576610"/>
                    <a:pt x="455274" y="576610"/>
                  </a:cubicBezTo>
                  <a:cubicBezTo>
                    <a:pt x="455274" y="576610"/>
                    <a:pt x="-20658" y="683390"/>
                    <a:pt x="698" y="274576"/>
                  </a:cubicBezTo>
                  <a:cubicBezTo>
                    <a:pt x="3749" y="204407"/>
                    <a:pt x="15952" y="143390"/>
                    <a:pt x="15952" y="143390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DD70CE3C-CB39-4463-9193-C5A36CD84DF6}"/>
                </a:ext>
              </a:extLst>
            </p:cNvPr>
            <p:cNvSpPr/>
            <p:nvPr/>
          </p:nvSpPr>
          <p:spPr>
            <a:xfrm>
              <a:off x="17441865" y="2355525"/>
              <a:ext cx="253220" cy="70366"/>
            </a:xfrm>
            <a:custGeom>
              <a:avLst/>
              <a:gdLst>
                <a:gd name="connsiteX0" fmla="*/ 192204 w 253220"/>
                <a:gd name="connsiteY0" fmla="*/ 6871 h 70366"/>
                <a:gd name="connsiteX1" fmla="*/ 253221 w 253220"/>
                <a:gd name="connsiteY1" fmla="*/ 34329 h 70366"/>
                <a:gd name="connsiteX2" fmla="*/ 134237 w 253220"/>
                <a:gd name="connsiteY2" fmla="*/ 55685 h 70366"/>
                <a:gd name="connsiteX3" fmla="*/ 0 w 253220"/>
                <a:gd name="connsiteY3" fmla="*/ 31278 h 70366"/>
                <a:gd name="connsiteX4" fmla="*/ 48814 w 253220"/>
                <a:gd name="connsiteY4" fmla="*/ 25176 h 70366"/>
                <a:gd name="connsiteX5" fmla="*/ 128136 w 253220"/>
                <a:gd name="connsiteY5" fmla="*/ 9922 h 70366"/>
                <a:gd name="connsiteX6" fmla="*/ 192204 w 253220"/>
                <a:gd name="connsiteY6" fmla="*/ 6871 h 70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220" h="70366">
                  <a:moveTo>
                    <a:pt x="192204" y="6871"/>
                  </a:moveTo>
                  <a:cubicBezTo>
                    <a:pt x="216610" y="19075"/>
                    <a:pt x="222712" y="40431"/>
                    <a:pt x="253221" y="34329"/>
                  </a:cubicBezTo>
                  <a:cubicBezTo>
                    <a:pt x="253221" y="34329"/>
                    <a:pt x="204407" y="98397"/>
                    <a:pt x="134237" y="55685"/>
                  </a:cubicBezTo>
                  <a:cubicBezTo>
                    <a:pt x="134237" y="55685"/>
                    <a:pt x="45763" y="98397"/>
                    <a:pt x="0" y="31278"/>
                  </a:cubicBezTo>
                  <a:cubicBezTo>
                    <a:pt x="0" y="31278"/>
                    <a:pt x="33560" y="34329"/>
                    <a:pt x="48814" y="25176"/>
                  </a:cubicBezTo>
                  <a:cubicBezTo>
                    <a:pt x="64068" y="16024"/>
                    <a:pt x="85424" y="-11434"/>
                    <a:pt x="128136" y="9922"/>
                  </a:cubicBezTo>
                  <a:cubicBezTo>
                    <a:pt x="125085" y="12973"/>
                    <a:pt x="152542" y="-11434"/>
                    <a:pt x="192204" y="6871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508F5FF9-5BAF-440B-A51F-D0537B07F5BE}"/>
                </a:ext>
              </a:extLst>
            </p:cNvPr>
            <p:cNvSpPr/>
            <p:nvPr/>
          </p:nvSpPr>
          <p:spPr>
            <a:xfrm>
              <a:off x="17539492" y="2444769"/>
              <a:ext cx="85423" cy="45908"/>
            </a:xfrm>
            <a:custGeom>
              <a:avLst/>
              <a:gdLst>
                <a:gd name="connsiteX0" fmla="*/ 85423 w 85423"/>
                <a:gd name="connsiteY0" fmla="*/ 0 h 45908"/>
                <a:gd name="connsiteX1" fmla="*/ 0 w 85423"/>
                <a:gd name="connsiteY1" fmla="*/ 3051 h 45908"/>
                <a:gd name="connsiteX2" fmla="*/ 45763 w 85423"/>
                <a:gd name="connsiteY2" fmla="*/ 45763 h 45908"/>
                <a:gd name="connsiteX3" fmla="*/ 85423 w 85423"/>
                <a:gd name="connsiteY3" fmla="*/ 0 h 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423" h="45908">
                  <a:moveTo>
                    <a:pt x="85423" y="0"/>
                  </a:moveTo>
                  <a:cubicBezTo>
                    <a:pt x="48814" y="15254"/>
                    <a:pt x="0" y="3051"/>
                    <a:pt x="0" y="3051"/>
                  </a:cubicBezTo>
                  <a:cubicBezTo>
                    <a:pt x="0" y="3051"/>
                    <a:pt x="15254" y="48814"/>
                    <a:pt x="45763" y="45763"/>
                  </a:cubicBezTo>
                  <a:cubicBezTo>
                    <a:pt x="76271" y="42712"/>
                    <a:pt x="85423" y="0"/>
                    <a:pt x="85423" y="0"/>
                  </a:cubicBezTo>
                  <a:close/>
                </a:path>
              </a:pathLst>
            </a:custGeom>
            <a:solidFill>
              <a:srgbClr val="FFFFFF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2" name="图形 1">
              <a:extLst>
                <a:ext uri="{FF2B5EF4-FFF2-40B4-BE49-F238E27FC236}">
                  <a16:creationId xmlns:a16="http://schemas.microsoft.com/office/drawing/2014/main" id="{0DEFD5B7-F2DF-42B4-9B5D-7E276F8E940F}"/>
                </a:ext>
              </a:extLst>
            </p:cNvPr>
            <p:cNvGrpSpPr/>
            <p:nvPr/>
          </p:nvGrpSpPr>
          <p:grpSpPr>
            <a:xfrm>
              <a:off x="17533390" y="2243413"/>
              <a:ext cx="57965" cy="137288"/>
              <a:chOff x="17533390" y="2243413"/>
              <a:chExt cx="57965" cy="137288"/>
            </a:xfrm>
          </p:grpSpPr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D07B733A-F234-4028-B2AB-5761BC0CE736}"/>
                  </a:ext>
                </a:extLst>
              </p:cNvPr>
              <p:cNvSpPr/>
              <p:nvPr/>
            </p:nvSpPr>
            <p:spPr>
              <a:xfrm>
                <a:off x="17539492" y="2246464"/>
                <a:ext cx="48813" cy="125505"/>
              </a:xfrm>
              <a:custGeom>
                <a:avLst/>
                <a:gdLst>
                  <a:gd name="connsiteX0" fmla="*/ 33560 w 48813"/>
                  <a:gd name="connsiteY0" fmla="*/ 0 h 125505"/>
                  <a:gd name="connsiteX1" fmla="*/ 48814 w 48813"/>
                  <a:gd name="connsiteY1" fmla="*/ 112881 h 125505"/>
                  <a:gd name="connsiteX2" fmla="*/ 0 w 48813"/>
                  <a:gd name="connsiteY2" fmla="*/ 122034 h 125505"/>
                  <a:gd name="connsiteX3" fmla="*/ 33560 w 48813"/>
                  <a:gd name="connsiteY3" fmla="*/ 0 h 12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" h="125505">
                    <a:moveTo>
                      <a:pt x="33560" y="0"/>
                    </a:moveTo>
                    <a:cubicBezTo>
                      <a:pt x="33560" y="0"/>
                      <a:pt x="48814" y="91525"/>
                      <a:pt x="48814" y="112881"/>
                    </a:cubicBezTo>
                    <a:cubicBezTo>
                      <a:pt x="48814" y="134237"/>
                      <a:pt x="0" y="122034"/>
                      <a:pt x="0" y="122034"/>
                    </a:cubicBezTo>
                    <a:lnTo>
                      <a:pt x="33560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1670A54E-4E4E-43FA-A39C-5C3BEEB64336}"/>
                  </a:ext>
                </a:extLst>
              </p:cNvPr>
              <p:cNvSpPr/>
              <p:nvPr/>
            </p:nvSpPr>
            <p:spPr>
              <a:xfrm>
                <a:off x="17533390" y="2243413"/>
                <a:ext cx="57965" cy="137288"/>
              </a:xfrm>
              <a:custGeom>
                <a:avLst/>
                <a:gdLst>
                  <a:gd name="connsiteX0" fmla="*/ 30508 w 57965"/>
                  <a:gd name="connsiteY0" fmla="*/ 137288 h 137288"/>
                  <a:gd name="connsiteX1" fmla="*/ 6102 w 57965"/>
                  <a:gd name="connsiteY1" fmla="*/ 134237 h 137288"/>
                  <a:gd name="connsiteX2" fmla="*/ 0 w 57965"/>
                  <a:gd name="connsiteY2" fmla="*/ 128136 h 137288"/>
                  <a:gd name="connsiteX3" fmla="*/ 6102 w 57965"/>
                  <a:gd name="connsiteY3" fmla="*/ 122034 h 137288"/>
                  <a:gd name="connsiteX4" fmla="*/ 45763 w 57965"/>
                  <a:gd name="connsiteY4" fmla="*/ 122034 h 137288"/>
                  <a:gd name="connsiteX5" fmla="*/ 45763 w 57965"/>
                  <a:gd name="connsiteY5" fmla="*/ 118983 h 137288"/>
                  <a:gd name="connsiteX6" fmla="*/ 30508 w 57965"/>
                  <a:gd name="connsiteY6" fmla="*/ 6102 h 137288"/>
                  <a:gd name="connsiteX7" fmla="*/ 36611 w 57965"/>
                  <a:gd name="connsiteY7" fmla="*/ 0 h 137288"/>
                  <a:gd name="connsiteX8" fmla="*/ 42712 w 57965"/>
                  <a:gd name="connsiteY8" fmla="*/ 6102 h 137288"/>
                  <a:gd name="connsiteX9" fmla="*/ 57966 w 57965"/>
                  <a:gd name="connsiteY9" fmla="*/ 118983 h 137288"/>
                  <a:gd name="connsiteX10" fmla="*/ 51865 w 57965"/>
                  <a:gd name="connsiteY10" fmla="*/ 131186 h 137288"/>
                  <a:gd name="connsiteX11" fmla="*/ 30508 w 57965"/>
                  <a:gd name="connsiteY11" fmla="*/ 137288 h 137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7965" h="137288">
                    <a:moveTo>
                      <a:pt x="30508" y="137288"/>
                    </a:moveTo>
                    <a:cubicBezTo>
                      <a:pt x="18305" y="137288"/>
                      <a:pt x="9153" y="134237"/>
                      <a:pt x="6102" y="134237"/>
                    </a:cubicBezTo>
                    <a:cubicBezTo>
                      <a:pt x="3051" y="134237"/>
                      <a:pt x="0" y="131186"/>
                      <a:pt x="0" y="128136"/>
                    </a:cubicBezTo>
                    <a:cubicBezTo>
                      <a:pt x="0" y="125085"/>
                      <a:pt x="3051" y="122034"/>
                      <a:pt x="6102" y="122034"/>
                    </a:cubicBezTo>
                    <a:cubicBezTo>
                      <a:pt x="18305" y="125085"/>
                      <a:pt x="39662" y="125085"/>
                      <a:pt x="45763" y="122034"/>
                    </a:cubicBezTo>
                    <a:cubicBezTo>
                      <a:pt x="45763" y="122034"/>
                      <a:pt x="45763" y="118983"/>
                      <a:pt x="45763" y="118983"/>
                    </a:cubicBezTo>
                    <a:cubicBezTo>
                      <a:pt x="45763" y="100678"/>
                      <a:pt x="30508" y="9153"/>
                      <a:pt x="30508" y="6102"/>
                    </a:cubicBezTo>
                    <a:cubicBezTo>
                      <a:pt x="30508" y="3051"/>
                      <a:pt x="33560" y="0"/>
                      <a:pt x="36611" y="0"/>
                    </a:cubicBezTo>
                    <a:cubicBezTo>
                      <a:pt x="39662" y="0"/>
                      <a:pt x="42712" y="3051"/>
                      <a:pt x="42712" y="6102"/>
                    </a:cubicBezTo>
                    <a:cubicBezTo>
                      <a:pt x="42712" y="9153"/>
                      <a:pt x="57966" y="100678"/>
                      <a:pt x="57966" y="118983"/>
                    </a:cubicBezTo>
                    <a:cubicBezTo>
                      <a:pt x="57966" y="125085"/>
                      <a:pt x="54916" y="128136"/>
                      <a:pt x="51865" y="131186"/>
                    </a:cubicBezTo>
                    <a:cubicBezTo>
                      <a:pt x="48814" y="134237"/>
                      <a:pt x="39662" y="137288"/>
                      <a:pt x="30508" y="1372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64681636-2F07-4C44-811F-6366EBE2C1EF}"/>
                </a:ext>
              </a:extLst>
            </p:cNvPr>
            <p:cNvSpPr/>
            <p:nvPr/>
          </p:nvSpPr>
          <p:spPr>
            <a:xfrm>
              <a:off x="16810340" y="4131888"/>
              <a:ext cx="1446100" cy="485206"/>
            </a:xfrm>
            <a:custGeom>
              <a:avLst/>
              <a:gdLst>
                <a:gd name="connsiteX0" fmla="*/ 1229491 w 1446100"/>
                <a:gd name="connsiteY0" fmla="*/ 27457 h 485206"/>
                <a:gd name="connsiteX1" fmla="*/ 1446101 w 1446100"/>
                <a:gd name="connsiteY1" fmla="*/ 442373 h 485206"/>
                <a:gd name="connsiteX2" fmla="*/ 0 w 1446100"/>
                <a:gd name="connsiteY2" fmla="*/ 402712 h 485206"/>
                <a:gd name="connsiteX3" fmla="*/ 158644 w 1446100"/>
                <a:gd name="connsiteY3" fmla="*/ 0 h 485206"/>
                <a:gd name="connsiteX4" fmla="*/ 1229491 w 1446100"/>
                <a:gd name="connsiteY4" fmla="*/ 27457 h 485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6100" h="485206">
                  <a:moveTo>
                    <a:pt x="1229491" y="27457"/>
                  </a:moveTo>
                  <a:lnTo>
                    <a:pt x="1446101" y="442373"/>
                  </a:lnTo>
                  <a:cubicBezTo>
                    <a:pt x="1446101" y="442373"/>
                    <a:pt x="360000" y="561356"/>
                    <a:pt x="0" y="402712"/>
                  </a:cubicBezTo>
                  <a:lnTo>
                    <a:pt x="158644" y="0"/>
                  </a:lnTo>
                  <a:lnTo>
                    <a:pt x="1229491" y="27457"/>
                  </a:ln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E48F92E5-27BA-42D5-80E3-DD4369322AA8}"/>
                </a:ext>
              </a:extLst>
            </p:cNvPr>
            <p:cNvSpPr/>
            <p:nvPr/>
          </p:nvSpPr>
          <p:spPr>
            <a:xfrm>
              <a:off x="19044292" y="3236453"/>
              <a:ext cx="152102" cy="286506"/>
            </a:xfrm>
            <a:custGeom>
              <a:avLst/>
              <a:gdLst>
                <a:gd name="connsiteX0" fmla="*/ 90794 w 152102"/>
                <a:gd name="connsiteY0" fmla="*/ 25943 h 286506"/>
                <a:gd name="connsiteX1" fmla="*/ 151811 w 152102"/>
                <a:gd name="connsiteY1" fmla="*/ 236452 h 286506"/>
                <a:gd name="connsiteX2" fmla="*/ 60285 w 152102"/>
                <a:gd name="connsiteY2" fmla="*/ 248655 h 286506"/>
                <a:gd name="connsiteX3" fmla="*/ 5369 w 152102"/>
                <a:gd name="connsiteY3" fmla="*/ 59503 h 286506"/>
                <a:gd name="connsiteX4" fmla="*/ 90794 w 152102"/>
                <a:gd name="connsiteY4" fmla="*/ 25943 h 286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102" h="286506">
                  <a:moveTo>
                    <a:pt x="90794" y="25943"/>
                  </a:moveTo>
                  <a:cubicBezTo>
                    <a:pt x="124352" y="93062"/>
                    <a:pt x="145709" y="163231"/>
                    <a:pt x="151811" y="236452"/>
                  </a:cubicBezTo>
                  <a:cubicBezTo>
                    <a:pt x="157911" y="294418"/>
                    <a:pt x="66386" y="306621"/>
                    <a:pt x="60285" y="248655"/>
                  </a:cubicBezTo>
                  <a:cubicBezTo>
                    <a:pt x="54183" y="181536"/>
                    <a:pt x="32827" y="120519"/>
                    <a:pt x="5369" y="59503"/>
                  </a:cubicBezTo>
                  <a:cubicBezTo>
                    <a:pt x="-22088" y="7638"/>
                    <a:pt x="63335" y="-25921"/>
                    <a:pt x="90794" y="25943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5D9FD870-C07F-4F94-AFFD-CC7E358BD1C7}"/>
                </a:ext>
              </a:extLst>
            </p:cNvPr>
            <p:cNvSpPr/>
            <p:nvPr/>
          </p:nvSpPr>
          <p:spPr>
            <a:xfrm>
              <a:off x="16786786" y="2673823"/>
              <a:ext cx="1510079" cy="1979920"/>
            </a:xfrm>
            <a:custGeom>
              <a:avLst/>
              <a:gdLst>
                <a:gd name="connsiteX0" fmla="*/ 54062 w 1510079"/>
                <a:gd name="connsiteY0" fmla="*/ 1793658 h 1979920"/>
                <a:gd name="connsiteX1" fmla="*/ 1073045 w 1510079"/>
                <a:gd name="connsiteY1" fmla="*/ 1866878 h 1979920"/>
                <a:gd name="connsiteX2" fmla="*/ 1008977 w 1510079"/>
                <a:gd name="connsiteY2" fmla="*/ 1509929 h 1979920"/>
                <a:gd name="connsiteX3" fmla="*/ 1005926 w 1510079"/>
                <a:gd name="connsiteY3" fmla="*/ 1497726 h 1979920"/>
                <a:gd name="connsiteX4" fmla="*/ 1002875 w 1510079"/>
                <a:gd name="connsiteY4" fmla="*/ 1451963 h 1979920"/>
                <a:gd name="connsiteX5" fmla="*/ 1094401 w 1510079"/>
                <a:gd name="connsiteY5" fmla="*/ 744166 h 1979920"/>
                <a:gd name="connsiteX6" fmla="*/ 828977 w 1510079"/>
                <a:gd name="connsiteY6" fmla="*/ 69929 h 1979920"/>
                <a:gd name="connsiteX7" fmla="*/ 908300 w 1510079"/>
                <a:gd name="connsiteY7" fmla="*/ 24166 h 1979920"/>
                <a:gd name="connsiteX8" fmla="*/ 1188978 w 1510079"/>
                <a:gd name="connsiteY8" fmla="*/ 747217 h 1979920"/>
                <a:gd name="connsiteX9" fmla="*/ 1094401 w 1510079"/>
                <a:gd name="connsiteY9" fmla="*/ 1476370 h 1979920"/>
                <a:gd name="connsiteX10" fmla="*/ 1167622 w 1510079"/>
                <a:gd name="connsiteY10" fmla="*/ 1863827 h 1979920"/>
                <a:gd name="connsiteX11" fmla="*/ 1466604 w 1510079"/>
                <a:gd name="connsiteY11" fmla="*/ 1842471 h 1979920"/>
                <a:gd name="connsiteX12" fmla="*/ 1466604 w 1510079"/>
                <a:gd name="connsiteY12" fmla="*/ 1933997 h 1979920"/>
                <a:gd name="connsiteX13" fmla="*/ 35757 w 1510079"/>
                <a:gd name="connsiteY13" fmla="*/ 1885183 h 1979920"/>
                <a:gd name="connsiteX14" fmla="*/ 54062 w 1510079"/>
                <a:gd name="connsiteY14" fmla="*/ 1793658 h 197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10079" h="1979920">
                  <a:moveTo>
                    <a:pt x="54062" y="1793658"/>
                  </a:moveTo>
                  <a:cubicBezTo>
                    <a:pt x="377451" y="1903488"/>
                    <a:pt x="728299" y="1891285"/>
                    <a:pt x="1073045" y="1866878"/>
                  </a:cubicBezTo>
                  <a:cubicBezTo>
                    <a:pt x="1073045" y="1744844"/>
                    <a:pt x="1060842" y="1622810"/>
                    <a:pt x="1008977" y="1509929"/>
                  </a:cubicBezTo>
                  <a:cubicBezTo>
                    <a:pt x="1005926" y="1503827"/>
                    <a:pt x="1005926" y="1500776"/>
                    <a:pt x="1005926" y="1497726"/>
                  </a:cubicBezTo>
                  <a:cubicBezTo>
                    <a:pt x="996774" y="1485522"/>
                    <a:pt x="993723" y="1467217"/>
                    <a:pt x="1002875" y="1451963"/>
                  </a:cubicBezTo>
                  <a:cubicBezTo>
                    <a:pt x="1100503" y="1247556"/>
                    <a:pt x="1109655" y="966878"/>
                    <a:pt x="1094401" y="744166"/>
                  </a:cubicBezTo>
                  <a:cubicBezTo>
                    <a:pt x="1076096" y="484844"/>
                    <a:pt x="929655" y="295692"/>
                    <a:pt x="828977" y="69929"/>
                  </a:cubicBezTo>
                  <a:cubicBezTo>
                    <a:pt x="804570" y="18065"/>
                    <a:pt x="883892" y="-30749"/>
                    <a:pt x="908300" y="24166"/>
                  </a:cubicBezTo>
                  <a:cubicBezTo>
                    <a:pt x="1018129" y="268234"/>
                    <a:pt x="1170672" y="469590"/>
                    <a:pt x="1188978" y="747217"/>
                  </a:cubicBezTo>
                  <a:cubicBezTo>
                    <a:pt x="1204232" y="979082"/>
                    <a:pt x="1192028" y="1259760"/>
                    <a:pt x="1094401" y="1476370"/>
                  </a:cubicBezTo>
                  <a:cubicBezTo>
                    <a:pt x="1149316" y="1598404"/>
                    <a:pt x="1164570" y="1729590"/>
                    <a:pt x="1167622" y="1863827"/>
                  </a:cubicBezTo>
                  <a:cubicBezTo>
                    <a:pt x="1268299" y="1854675"/>
                    <a:pt x="1368977" y="1848573"/>
                    <a:pt x="1466604" y="1842471"/>
                  </a:cubicBezTo>
                  <a:cubicBezTo>
                    <a:pt x="1524571" y="1839421"/>
                    <a:pt x="1524571" y="1930946"/>
                    <a:pt x="1466604" y="1933997"/>
                  </a:cubicBezTo>
                  <a:cubicBezTo>
                    <a:pt x="996774" y="1961455"/>
                    <a:pt x="490333" y="2043827"/>
                    <a:pt x="35757" y="1885183"/>
                  </a:cubicBezTo>
                  <a:cubicBezTo>
                    <a:pt x="-25260" y="1863827"/>
                    <a:pt x="-853" y="1775353"/>
                    <a:pt x="54062" y="1793658"/>
                  </a:cubicBezTo>
                  <a:close/>
                </a:path>
              </a:pathLst>
            </a:custGeom>
            <a:solidFill>
              <a:srgbClr val="F6EBEB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FE3BCF71-1514-4463-9E1F-456B5B7ADDFD}"/>
                </a:ext>
              </a:extLst>
            </p:cNvPr>
            <p:cNvSpPr/>
            <p:nvPr/>
          </p:nvSpPr>
          <p:spPr>
            <a:xfrm>
              <a:off x="16948625" y="4046464"/>
              <a:ext cx="1141078" cy="179846"/>
            </a:xfrm>
            <a:custGeom>
              <a:avLst/>
              <a:gdLst>
                <a:gd name="connsiteX0" fmla="*/ 1121715 w 1141078"/>
                <a:gd name="connsiteY0" fmla="*/ 170847 h 179846"/>
                <a:gd name="connsiteX1" fmla="*/ 11206 w 1141078"/>
                <a:gd name="connsiteY1" fmla="*/ 112881 h 179846"/>
                <a:gd name="connsiteX2" fmla="*/ 20358 w 1141078"/>
                <a:gd name="connsiteY2" fmla="*/ 0 h 179846"/>
                <a:gd name="connsiteX3" fmla="*/ 1130867 w 1141078"/>
                <a:gd name="connsiteY3" fmla="*/ 70170 h 179846"/>
                <a:gd name="connsiteX4" fmla="*/ 1121715 w 1141078"/>
                <a:gd name="connsiteY4" fmla="*/ 170847 h 17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1078" h="179846">
                  <a:moveTo>
                    <a:pt x="1121715" y="170847"/>
                  </a:moveTo>
                  <a:cubicBezTo>
                    <a:pt x="1121715" y="170847"/>
                    <a:pt x="331545" y="213559"/>
                    <a:pt x="11206" y="112881"/>
                  </a:cubicBezTo>
                  <a:cubicBezTo>
                    <a:pt x="11206" y="112881"/>
                    <a:pt x="-19302" y="42712"/>
                    <a:pt x="20358" y="0"/>
                  </a:cubicBezTo>
                  <a:cubicBezTo>
                    <a:pt x="285782" y="88475"/>
                    <a:pt x="749511" y="85424"/>
                    <a:pt x="1130867" y="70170"/>
                  </a:cubicBezTo>
                  <a:cubicBezTo>
                    <a:pt x="1158325" y="125085"/>
                    <a:pt x="1121715" y="170847"/>
                    <a:pt x="1121715" y="170847"/>
                  </a:cubicBezTo>
                  <a:close/>
                </a:path>
              </a:pathLst>
            </a:custGeom>
            <a:solidFill>
              <a:srgbClr val="6C5D68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7" name="图形 1">
              <a:extLst>
                <a:ext uri="{FF2B5EF4-FFF2-40B4-BE49-F238E27FC236}">
                  <a16:creationId xmlns:a16="http://schemas.microsoft.com/office/drawing/2014/main" id="{5090FC69-9E21-4EAA-892D-58BD1FF9938E}"/>
                </a:ext>
              </a:extLst>
            </p:cNvPr>
            <p:cNvGrpSpPr/>
            <p:nvPr/>
          </p:nvGrpSpPr>
          <p:grpSpPr>
            <a:xfrm>
              <a:off x="17728644" y="4083074"/>
              <a:ext cx="217085" cy="164745"/>
              <a:chOff x="17728644" y="4083074"/>
              <a:chExt cx="217085" cy="164745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706CEEC0-D112-4867-A3AE-D9A53945042A}"/>
                  </a:ext>
                </a:extLst>
              </p:cNvPr>
              <p:cNvSpPr/>
              <p:nvPr/>
            </p:nvSpPr>
            <p:spPr>
              <a:xfrm>
                <a:off x="17728644" y="4083074"/>
                <a:ext cx="217085" cy="164745"/>
              </a:xfrm>
              <a:custGeom>
                <a:avLst/>
                <a:gdLst>
                  <a:gd name="connsiteX0" fmla="*/ 195255 w 217085"/>
                  <a:gd name="connsiteY0" fmla="*/ 164746 h 164745"/>
                  <a:gd name="connsiteX1" fmla="*/ 21356 w 217085"/>
                  <a:gd name="connsiteY1" fmla="*/ 164746 h 164745"/>
                  <a:gd name="connsiteX2" fmla="*/ 0 w 217085"/>
                  <a:gd name="connsiteY2" fmla="*/ 143390 h 164745"/>
                  <a:gd name="connsiteX3" fmla="*/ 0 w 217085"/>
                  <a:gd name="connsiteY3" fmla="*/ 21356 h 164745"/>
                  <a:gd name="connsiteX4" fmla="*/ 21356 w 217085"/>
                  <a:gd name="connsiteY4" fmla="*/ 0 h 164745"/>
                  <a:gd name="connsiteX5" fmla="*/ 195255 w 217085"/>
                  <a:gd name="connsiteY5" fmla="*/ 0 h 164745"/>
                  <a:gd name="connsiteX6" fmla="*/ 216611 w 217085"/>
                  <a:gd name="connsiteY6" fmla="*/ 21356 h 164745"/>
                  <a:gd name="connsiteX7" fmla="*/ 216611 w 217085"/>
                  <a:gd name="connsiteY7" fmla="*/ 143390 h 164745"/>
                  <a:gd name="connsiteX8" fmla="*/ 195255 w 217085"/>
                  <a:gd name="connsiteY8" fmla="*/ 164746 h 164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7085" h="164745">
                    <a:moveTo>
                      <a:pt x="195255" y="164746"/>
                    </a:moveTo>
                    <a:lnTo>
                      <a:pt x="21356" y="164746"/>
                    </a:lnTo>
                    <a:cubicBezTo>
                      <a:pt x="9153" y="164746"/>
                      <a:pt x="0" y="155593"/>
                      <a:pt x="0" y="143390"/>
                    </a:cubicBezTo>
                    <a:lnTo>
                      <a:pt x="0" y="21356"/>
                    </a:lnTo>
                    <a:cubicBezTo>
                      <a:pt x="0" y="9153"/>
                      <a:pt x="9153" y="0"/>
                      <a:pt x="21356" y="0"/>
                    </a:cubicBezTo>
                    <a:lnTo>
                      <a:pt x="195255" y="0"/>
                    </a:lnTo>
                    <a:cubicBezTo>
                      <a:pt x="207457" y="0"/>
                      <a:pt x="216611" y="9153"/>
                      <a:pt x="216611" y="21356"/>
                    </a:cubicBezTo>
                    <a:lnTo>
                      <a:pt x="216611" y="143390"/>
                    </a:lnTo>
                    <a:cubicBezTo>
                      <a:pt x="219661" y="155593"/>
                      <a:pt x="207457" y="164746"/>
                      <a:pt x="195255" y="16474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7C1D9AEA-DEF6-4FFE-AA29-9375E2C71804}"/>
                  </a:ext>
                </a:extLst>
              </p:cNvPr>
              <p:cNvSpPr/>
              <p:nvPr/>
            </p:nvSpPr>
            <p:spPr>
              <a:xfrm>
                <a:off x="17759153" y="4107481"/>
                <a:ext cx="158644" cy="122033"/>
              </a:xfrm>
              <a:custGeom>
                <a:avLst/>
                <a:gdLst>
                  <a:gd name="connsiteX0" fmla="*/ 143390 w 158644"/>
                  <a:gd name="connsiteY0" fmla="*/ 122034 h 122033"/>
                  <a:gd name="connsiteX1" fmla="*/ 15254 w 158644"/>
                  <a:gd name="connsiteY1" fmla="*/ 122034 h 122033"/>
                  <a:gd name="connsiteX2" fmla="*/ 0 w 158644"/>
                  <a:gd name="connsiteY2" fmla="*/ 106780 h 122033"/>
                  <a:gd name="connsiteX3" fmla="*/ 0 w 158644"/>
                  <a:gd name="connsiteY3" fmla="*/ 15254 h 122033"/>
                  <a:gd name="connsiteX4" fmla="*/ 15254 w 158644"/>
                  <a:gd name="connsiteY4" fmla="*/ 0 h 122033"/>
                  <a:gd name="connsiteX5" fmla="*/ 143390 w 158644"/>
                  <a:gd name="connsiteY5" fmla="*/ 0 h 122033"/>
                  <a:gd name="connsiteX6" fmla="*/ 158644 w 158644"/>
                  <a:gd name="connsiteY6" fmla="*/ 15254 h 122033"/>
                  <a:gd name="connsiteX7" fmla="*/ 158644 w 158644"/>
                  <a:gd name="connsiteY7" fmla="*/ 103729 h 122033"/>
                  <a:gd name="connsiteX8" fmla="*/ 143390 w 158644"/>
                  <a:gd name="connsiteY8" fmla="*/ 122034 h 122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8644" h="122033">
                    <a:moveTo>
                      <a:pt x="143390" y="122034"/>
                    </a:moveTo>
                    <a:lnTo>
                      <a:pt x="15254" y="122034"/>
                    </a:lnTo>
                    <a:cubicBezTo>
                      <a:pt x="6102" y="122034"/>
                      <a:pt x="0" y="115932"/>
                      <a:pt x="0" y="106780"/>
                    </a:cubicBezTo>
                    <a:lnTo>
                      <a:pt x="0" y="15254"/>
                    </a:lnTo>
                    <a:cubicBezTo>
                      <a:pt x="0" y="6102"/>
                      <a:pt x="6102" y="0"/>
                      <a:pt x="15254" y="0"/>
                    </a:cubicBezTo>
                    <a:lnTo>
                      <a:pt x="143390" y="0"/>
                    </a:lnTo>
                    <a:cubicBezTo>
                      <a:pt x="152542" y="0"/>
                      <a:pt x="158644" y="6102"/>
                      <a:pt x="158644" y="15254"/>
                    </a:cubicBezTo>
                    <a:lnTo>
                      <a:pt x="158644" y="103729"/>
                    </a:lnTo>
                    <a:cubicBezTo>
                      <a:pt x="158644" y="112881"/>
                      <a:pt x="152542" y="122034"/>
                      <a:pt x="143390" y="12203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8" name="图形 1">
              <a:extLst>
                <a:ext uri="{FF2B5EF4-FFF2-40B4-BE49-F238E27FC236}">
                  <a16:creationId xmlns:a16="http://schemas.microsoft.com/office/drawing/2014/main" id="{35AA9BCE-118D-4677-B600-3357C999A2D8}"/>
                </a:ext>
              </a:extLst>
            </p:cNvPr>
            <p:cNvGrpSpPr/>
            <p:nvPr/>
          </p:nvGrpSpPr>
          <p:grpSpPr>
            <a:xfrm>
              <a:off x="18307095" y="2563003"/>
              <a:ext cx="1087056" cy="1587189"/>
              <a:chOff x="18307095" y="2563003"/>
              <a:chExt cx="1087056" cy="1587189"/>
            </a:xfrm>
          </p:grpSpPr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46DB2698-D7ED-4EC0-829B-8D68B8B1F804}"/>
                  </a:ext>
                </a:extLst>
              </p:cNvPr>
              <p:cNvSpPr/>
              <p:nvPr/>
            </p:nvSpPr>
            <p:spPr>
              <a:xfrm>
                <a:off x="19173509" y="2630122"/>
                <a:ext cx="215381" cy="214308"/>
              </a:xfrm>
              <a:custGeom>
                <a:avLst/>
                <a:gdLst>
                  <a:gd name="connsiteX0" fmla="*/ 193441 w 215381"/>
                  <a:gd name="connsiteY0" fmla="*/ 43461 h 214308"/>
                  <a:gd name="connsiteX1" fmla="*/ 123272 w 215381"/>
                  <a:gd name="connsiteY1" fmla="*/ 749 h 214308"/>
                  <a:gd name="connsiteX2" fmla="*/ 43948 w 215381"/>
                  <a:gd name="connsiteY2" fmla="*/ 22105 h 214308"/>
                  <a:gd name="connsiteX3" fmla="*/ 1238 w 215381"/>
                  <a:gd name="connsiteY3" fmla="*/ 92275 h 214308"/>
                  <a:gd name="connsiteX4" fmla="*/ 92763 w 215381"/>
                  <a:gd name="connsiteY4" fmla="*/ 214308 h 214308"/>
                  <a:gd name="connsiteX5" fmla="*/ 108017 w 215381"/>
                  <a:gd name="connsiteY5" fmla="*/ 214308 h 214308"/>
                  <a:gd name="connsiteX6" fmla="*/ 214797 w 215381"/>
                  <a:gd name="connsiteY6" fmla="*/ 122783 h 214308"/>
                  <a:gd name="connsiteX7" fmla="*/ 193441 w 215381"/>
                  <a:gd name="connsiteY7" fmla="*/ 43461 h 214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5381" h="214308">
                    <a:moveTo>
                      <a:pt x="193441" y="43461"/>
                    </a:moveTo>
                    <a:cubicBezTo>
                      <a:pt x="175136" y="22105"/>
                      <a:pt x="150728" y="6851"/>
                      <a:pt x="123272" y="749"/>
                    </a:cubicBezTo>
                    <a:cubicBezTo>
                      <a:pt x="95813" y="-2302"/>
                      <a:pt x="68357" y="3800"/>
                      <a:pt x="43948" y="22105"/>
                    </a:cubicBezTo>
                    <a:cubicBezTo>
                      <a:pt x="19542" y="40410"/>
                      <a:pt x="7340" y="64817"/>
                      <a:pt x="1238" y="92275"/>
                    </a:cubicBezTo>
                    <a:cubicBezTo>
                      <a:pt x="-7914" y="150241"/>
                      <a:pt x="34796" y="205156"/>
                      <a:pt x="92763" y="214308"/>
                    </a:cubicBezTo>
                    <a:cubicBezTo>
                      <a:pt x="98865" y="214308"/>
                      <a:pt x="101915" y="214308"/>
                      <a:pt x="108017" y="214308"/>
                    </a:cubicBezTo>
                    <a:cubicBezTo>
                      <a:pt x="159882" y="214308"/>
                      <a:pt x="205645" y="174647"/>
                      <a:pt x="214797" y="122783"/>
                    </a:cubicBezTo>
                    <a:cubicBezTo>
                      <a:pt x="217847" y="95325"/>
                      <a:pt x="208695" y="67868"/>
                      <a:pt x="193441" y="43461"/>
                    </a:cubicBezTo>
                    <a:close/>
                  </a:path>
                </a:pathLst>
              </a:custGeom>
              <a:solidFill>
                <a:srgbClr val="EDD1A9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CCCCB4F1-44C0-4468-A91F-EDBAA8B1905A}"/>
                  </a:ext>
                </a:extLst>
              </p:cNvPr>
              <p:cNvSpPr/>
              <p:nvPr/>
            </p:nvSpPr>
            <p:spPr>
              <a:xfrm>
                <a:off x="18691964" y="2563003"/>
                <a:ext cx="214927" cy="214308"/>
              </a:xfrm>
              <a:custGeom>
                <a:avLst/>
                <a:gdLst>
                  <a:gd name="connsiteX0" fmla="*/ 122783 w 214927"/>
                  <a:gd name="connsiteY0" fmla="*/ 749 h 214308"/>
                  <a:gd name="connsiteX1" fmla="*/ 43460 w 214927"/>
                  <a:gd name="connsiteY1" fmla="*/ 22105 h 214308"/>
                  <a:gd name="connsiteX2" fmla="*/ 750 w 214927"/>
                  <a:gd name="connsiteY2" fmla="*/ 92275 h 214308"/>
                  <a:gd name="connsiteX3" fmla="*/ 22104 w 214927"/>
                  <a:gd name="connsiteY3" fmla="*/ 171597 h 214308"/>
                  <a:gd name="connsiteX4" fmla="*/ 92275 w 214927"/>
                  <a:gd name="connsiteY4" fmla="*/ 214309 h 214308"/>
                  <a:gd name="connsiteX5" fmla="*/ 107529 w 214927"/>
                  <a:gd name="connsiteY5" fmla="*/ 214309 h 214308"/>
                  <a:gd name="connsiteX6" fmla="*/ 171596 w 214927"/>
                  <a:gd name="connsiteY6" fmla="*/ 192953 h 214308"/>
                  <a:gd name="connsiteX7" fmla="*/ 214309 w 214927"/>
                  <a:gd name="connsiteY7" fmla="*/ 122783 h 214308"/>
                  <a:gd name="connsiteX8" fmla="*/ 122783 w 214927"/>
                  <a:gd name="connsiteY8" fmla="*/ 749 h 214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4927" h="214308">
                    <a:moveTo>
                      <a:pt x="122783" y="749"/>
                    </a:moveTo>
                    <a:cubicBezTo>
                      <a:pt x="95325" y="-2302"/>
                      <a:pt x="67867" y="3800"/>
                      <a:pt x="43460" y="22105"/>
                    </a:cubicBezTo>
                    <a:cubicBezTo>
                      <a:pt x="22104" y="40410"/>
                      <a:pt x="6850" y="64817"/>
                      <a:pt x="750" y="92275"/>
                    </a:cubicBezTo>
                    <a:cubicBezTo>
                      <a:pt x="-2302" y="119732"/>
                      <a:pt x="3800" y="147190"/>
                      <a:pt x="22104" y="171597"/>
                    </a:cubicBezTo>
                    <a:cubicBezTo>
                      <a:pt x="40410" y="192953"/>
                      <a:pt x="64817" y="208207"/>
                      <a:pt x="92275" y="214309"/>
                    </a:cubicBezTo>
                    <a:cubicBezTo>
                      <a:pt x="98375" y="214309"/>
                      <a:pt x="101427" y="214309"/>
                      <a:pt x="107529" y="214309"/>
                    </a:cubicBezTo>
                    <a:cubicBezTo>
                      <a:pt x="128884" y="214309"/>
                      <a:pt x="153292" y="208207"/>
                      <a:pt x="171596" y="192953"/>
                    </a:cubicBezTo>
                    <a:cubicBezTo>
                      <a:pt x="196003" y="174647"/>
                      <a:pt x="208207" y="150241"/>
                      <a:pt x="214309" y="122783"/>
                    </a:cubicBezTo>
                    <a:cubicBezTo>
                      <a:pt x="220409" y="61766"/>
                      <a:pt x="180748" y="9902"/>
                      <a:pt x="122783" y="749"/>
                    </a:cubicBezTo>
                    <a:close/>
                  </a:path>
                </a:pathLst>
              </a:custGeom>
              <a:solidFill>
                <a:srgbClr val="EDD1A9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0484C221-A33C-4E3F-AF66-6E55B5F5250A}"/>
                  </a:ext>
                </a:extLst>
              </p:cNvPr>
              <p:cNvSpPr/>
              <p:nvPr/>
            </p:nvSpPr>
            <p:spPr>
              <a:xfrm>
                <a:off x="19026950" y="3194014"/>
                <a:ext cx="361496" cy="477195"/>
              </a:xfrm>
              <a:custGeom>
                <a:avLst/>
                <a:gdLst>
                  <a:gd name="connsiteX0" fmla="*/ 196610 w 361496"/>
                  <a:gd name="connsiteY0" fmla="*/ 4315 h 477195"/>
                  <a:gd name="connsiteX1" fmla="*/ 184407 w 361496"/>
                  <a:gd name="connsiteY1" fmla="*/ 1264 h 477195"/>
                  <a:gd name="connsiteX2" fmla="*/ 7457 w 361496"/>
                  <a:gd name="connsiteY2" fmla="*/ 47026 h 477195"/>
                  <a:gd name="connsiteX3" fmla="*/ 1356 w 361496"/>
                  <a:gd name="connsiteY3" fmla="*/ 53128 h 477195"/>
                  <a:gd name="connsiteX4" fmla="*/ 1356 w 361496"/>
                  <a:gd name="connsiteY4" fmla="*/ 62281 h 477195"/>
                  <a:gd name="connsiteX5" fmla="*/ 71526 w 361496"/>
                  <a:gd name="connsiteY5" fmla="*/ 278891 h 477195"/>
                  <a:gd name="connsiteX6" fmla="*/ 71526 w 361496"/>
                  <a:gd name="connsiteY6" fmla="*/ 281942 h 477195"/>
                  <a:gd name="connsiteX7" fmla="*/ 291187 w 361496"/>
                  <a:gd name="connsiteY7" fmla="*/ 477196 h 477195"/>
                  <a:gd name="connsiteX8" fmla="*/ 294237 w 361496"/>
                  <a:gd name="connsiteY8" fmla="*/ 477196 h 477195"/>
                  <a:gd name="connsiteX9" fmla="*/ 343050 w 361496"/>
                  <a:gd name="connsiteY9" fmla="*/ 452789 h 477195"/>
                  <a:gd name="connsiteX10" fmla="*/ 196610 w 361496"/>
                  <a:gd name="connsiteY10" fmla="*/ 4315 h 477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1496" h="477195">
                    <a:moveTo>
                      <a:pt x="196610" y="4315"/>
                    </a:moveTo>
                    <a:cubicBezTo>
                      <a:pt x="193559" y="1264"/>
                      <a:pt x="190507" y="-1787"/>
                      <a:pt x="184407" y="1264"/>
                    </a:cubicBezTo>
                    <a:lnTo>
                      <a:pt x="7457" y="47026"/>
                    </a:lnTo>
                    <a:cubicBezTo>
                      <a:pt x="4407" y="47026"/>
                      <a:pt x="1356" y="50077"/>
                      <a:pt x="1356" y="53128"/>
                    </a:cubicBezTo>
                    <a:cubicBezTo>
                      <a:pt x="1356" y="56179"/>
                      <a:pt x="-1696" y="59230"/>
                      <a:pt x="1356" y="62281"/>
                    </a:cubicBezTo>
                    <a:lnTo>
                      <a:pt x="71526" y="278891"/>
                    </a:lnTo>
                    <a:cubicBezTo>
                      <a:pt x="71526" y="278891"/>
                      <a:pt x="71526" y="281942"/>
                      <a:pt x="71526" y="281942"/>
                    </a:cubicBezTo>
                    <a:cubicBezTo>
                      <a:pt x="77628" y="291094"/>
                      <a:pt x="199662" y="471094"/>
                      <a:pt x="291187" y="477196"/>
                    </a:cubicBezTo>
                    <a:cubicBezTo>
                      <a:pt x="291187" y="477196"/>
                      <a:pt x="294237" y="477196"/>
                      <a:pt x="294237" y="477196"/>
                    </a:cubicBezTo>
                    <a:cubicBezTo>
                      <a:pt x="315593" y="477196"/>
                      <a:pt x="330848" y="468043"/>
                      <a:pt x="343050" y="452789"/>
                    </a:cubicBezTo>
                    <a:cubicBezTo>
                      <a:pt x="425423" y="346010"/>
                      <a:pt x="205762" y="19569"/>
                      <a:pt x="196610" y="4315"/>
                    </a:cubicBezTo>
                    <a:close/>
                  </a:path>
                </a:pathLst>
              </a:custGeom>
              <a:solidFill>
                <a:srgbClr val="EDD1A9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7FEC7CA5-92F5-49AA-866C-98DA822164E0}"/>
                  </a:ext>
                </a:extLst>
              </p:cNvPr>
              <p:cNvSpPr/>
              <p:nvPr/>
            </p:nvSpPr>
            <p:spPr>
              <a:xfrm>
                <a:off x="18406750" y="3116719"/>
                <a:ext cx="447657" cy="429406"/>
              </a:xfrm>
              <a:custGeom>
                <a:avLst/>
                <a:gdLst>
                  <a:gd name="connsiteX0" fmla="*/ 441556 w 447657"/>
                  <a:gd name="connsiteY0" fmla="*/ 96864 h 429406"/>
                  <a:gd name="connsiteX1" fmla="*/ 285963 w 447657"/>
                  <a:gd name="connsiteY1" fmla="*/ 2288 h 429406"/>
                  <a:gd name="connsiteX2" fmla="*/ 273759 w 447657"/>
                  <a:gd name="connsiteY2" fmla="*/ 2288 h 429406"/>
                  <a:gd name="connsiteX3" fmla="*/ 5285 w 447657"/>
                  <a:gd name="connsiteY3" fmla="*/ 386695 h 429406"/>
                  <a:gd name="connsiteX4" fmla="*/ 47996 w 447657"/>
                  <a:gd name="connsiteY4" fmla="*/ 426356 h 429406"/>
                  <a:gd name="connsiteX5" fmla="*/ 69352 w 447657"/>
                  <a:gd name="connsiteY5" fmla="*/ 429407 h 429406"/>
                  <a:gd name="connsiteX6" fmla="*/ 313420 w 447657"/>
                  <a:gd name="connsiteY6" fmla="*/ 304322 h 429406"/>
                  <a:gd name="connsiteX7" fmla="*/ 316472 w 447657"/>
                  <a:gd name="connsiteY7" fmla="*/ 301271 h 429406"/>
                  <a:gd name="connsiteX8" fmla="*/ 444606 w 447657"/>
                  <a:gd name="connsiteY8" fmla="*/ 112119 h 429406"/>
                  <a:gd name="connsiteX9" fmla="*/ 447658 w 447657"/>
                  <a:gd name="connsiteY9" fmla="*/ 102966 h 429406"/>
                  <a:gd name="connsiteX10" fmla="*/ 441556 w 447657"/>
                  <a:gd name="connsiteY10" fmla="*/ 96864 h 429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7657" h="429406">
                    <a:moveTo>
                      <a:pt x="441556" y="96864"/>
                    </a:moveTo>
                    <a:lnTo>
                      <a:pt x="285963" y="2288"/>
                    </a:lnTo>
                    <a:cubicBezTo>
                      <a:pt x="282911" y="-763"/>
                      <a:pt x="276809" y="-763"/>
                      <a:pt x="273759" y="2288"/>
                    </a:cubicBezTo>
                    <a:cubicBezTo>
                      <a:pt x="261555" y="14492"/>
                      <a:pt x="-43530" y="264661"/>
                      <a:pt x="5285" y="386695"/>
                    </a:cubicBezTo>
                    <a:cubicBezTo>
                      <a:pt x="14437" y="408051"/>
                      <a:pt x="29691" y="420254"/>
                      <a:pt x="47996" y="426356"/>
                    </a:cubicBezTo>
                    <a:cubicBezTo>
                      <a:pt x="54098" y="429407"/>
                      <a:pt x="60200" y="429407"/>
                      <a:pt x="69352" y="429407"/>
                    </a:cubicBezTo>
                    <a:cubicBezTo>
                      <a:pt x="160878" y="429407"/>
                      <a:pt x="307318" y="307373"/>
                      <a:pt x="313420" y="304322"/>
                    </a:cubicBezTo>
                    <a:cubicBezTo>
                      <a:pt x="313420" y="304322"/>
                      <a:pt x="313420" y="304322"/>
                      <a:pt x="316472" y="301271"/>
                    </a:cubicBezTo>
                    <a:lnTo>
                      <a:pt x="444606" y="112119"/>
                    </a:lnTo>
                    <a:cubicBezTo>
                      <a:pt x="447658" y="109068"/>
                      <a:pt x="447658" y="106017"/>
                      <a:pt x="447658" y="102966"/>
                    </a:cubicBezTo>
                    <a:cubicBezTo>
                      <a:pt x="444606" y="99915"/>
                      <a:pt x="444606" y="96864"/>
                      <a:pt x="441556" y="96864"/>
                    </a:cubicBezTo>
                    <a:close/>
                  </a:path>
                </a:pathLst>
              </a:custGeom>
              <a:solidFill>
                <a:srgbClr val="EDD1A9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77EA2028-CEB1-467A-B278-A1B86A0401F3}"/>
                  </a:ext>
                </a:extLst>
              </p:cNvPr>
              <p:cNvSpPr/>
              <p:nvPr/>
            </p:nvSpPr>
            <p:spPr>
              <a:xfrm>
                <a:off x="18514414" y="3156834"/>
                <a:ext cx="735354" cy="834714"/>
              </a:xfrm>
              <a:custGeom>
                <a:avLst/>
                <a:gdLst>
                  <a:gd name="connsiteX0" fmla="*/ 675587 w 735354"/>
                  <a:gd name="connsiteY0" fmla="*/ 218444 h 834714"/>
                  <a:gd name="connsiteX1" fmla="*/ 443721 w 735354"/>
                  <a:gd name="connsiteY1" fmla="*/ 1834 h 834714"/>
                  <a:gd name="connsiteX2" fmla="*/ 159993 w 735354"/>
                  <a:gd name="connsiteY2" fmla="*/ 145223 h 834714"/>
                  <a:gd name="connsiteX3" fmla="*/ 4400 w 735354"/>
                  <a:gd name="connsiteY3" fmla="*/ 477766 h 834714"/>
                  <a:gd name="connsiteX4" fmla="*/ 77620 w 735354"/>
                  <a:gd name="connsiteY4" fmla="*/ 727935 h 834714"/>
                  <a:gd name="connsiteX5" fmla="*/ 324739 w 735354"/>
                  <a:gd name="connsiteY5" fmla="*/ 825562 h 834714"/>
                  <a:gd name="connsiteX6" fmla="*/ 425417 w 735354"/>
                  <a:gd name="connsiteY6" fmla="*/ 834715 h 834714"/>
                  <a:gd name="connsiteX7" fmla="*/ 730502 w 735354"/>
                  <a:gd name="connsiteY7" fmla="*/ 581495 h 834714"/>
                  <a:gd name="connsiteX8" fmla="*/ 675587 w 735354"/>
                  <a:gd name="connsiteY8" fmla="*/ 218444 h 834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35354" h="834714">
                    <a:moveTo>
                      <a:pt x="675587" y="218444"/>
                    </a:moveTo>
                    <a:cubicBezTo>
                      <a:pt x="620672" y="90308"/>
                      <a:pt x="538299" y="14037"/>
                      <a:pt x="443721" y="1834"/>
                    </a:cubicBezTo>
                    <a:cubicBezTo>
                      <a:pt x="349146" y="-10370"/>
                      <a:pt x="248468" y="38444"/>
                      <a:pt x="159993" y="145223"/>
                    </a:cubicBezTo>
                    <a:cubicBezTo>
                      <a:pt x="80671" y="239800"/>
                      <a:pt x="22705" y="364884"/>
                      <a:pt x="4400" y="477766"/>
                    </a:cubicBezTo>
                    <a:cubicBezTo>
                      <a:pt x="-10854" y="584545"/>
                      <a:pt x="13552" y="669969"/>
                      <a:pt x="77620" y="727935"/>
                    </a:cubicBezTo>
                    <a:cubicBezTo>
                      <a:pt x="132536" y="776749"/>
                      <a:pt x="214908" y="810308"/>
                      <a:pt x="324739" y="825562"/>
                    </a:cubicBezTo>
                    <a:cubicBezTo>
                      <a:pt x="361350" y="831664"/>
                      <a:pt x="394908" y="834715"/>
                      <a:pt x="425417" y="834715"/>
                    </a:cubicBezTo>
                    <a:cubicBezTo>
                      <a:pt x="602366" y="834715"/>
                      <a:pt x="706095" y="749291"/>
                      <a:pt x="730502" y="581495"/>
                    </a:cubicBezTo>
                    <a:cubicBezTo>
                      <a:pt x="745756" y="465562"/>
                      <a:pt x="724400" y="331325"/>
                      <a:pt x="675587" y="218444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9" name="图形 1">
                <a:extLst>
                  <a:ext uri="{FF2B5EF4-FFF2-40B4-BE49-F238E27FC236}">
                    <a16:creationId xmlns:a16="http://schemas.microsoft.com/office/drawing/2014/main" id="{74376633-A88F-47EB-A0E9-AC9E2A116D54}"/>
                  </a:ext>
                </a:extLst>
              </p:cNvPr>
              <p:cNvGrpSpPr/>
              <p:nvPr/>
            </p:nvGrpSpPr>
            <p:grpSpPr>
              <a:xfrm>
                <a:off x="18307095" y="3588199"/>
                <a:ext cx="1087056" cy="561994"/>
                <a:chOff x="18307095" y="3588199"/>
                <a:chExt cx="1087056" cy="561994"/>
              </a:xfrm>
              <a:solidFill>
                <a:srgbClr val="EDD1A9"/>
              </a:solidFill>
            </p:grpSpPr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10BAA84F-34AF-4C02-940B-853BA55D8FE1}"/>
                    </a:ext>
                  </a:extLst>
                </p:cNvPr>
                <p:cNvSpPr/>
                <p:nvPr/>
              </p:nvSpPr>
              <p:spPr>
                <a:xfrm>
                  <a:off x="18951850" y="3690296"/>
                  <a:ext cx="442301" cy="459897"/>
                </a:xfrm>
                <a:custGeom>
                  <a:avLst/>
                  <a:gdLst>
                    <a:gd name="connsiteX0" fmla="*/ 372387 w 442301"/>
                    <a:gd name="connsiteY0" fmla="*/ 38880 h 459897"/>
                    <a:gd name="connsiteX1" fmla="*/ 58150 w 442301"/>
                    <a:gd name="connsiteY1" fmla="*/ 99897 h 459897"/>
                    <a:gd name="connsiteX2" fmla="*/ 70354 w 442301"/>
                    <a:gd name="connsiteY2" fmla="*/ 420236 h 459897"/>
                    <a:gd name="connsiteX3" fmla="*/ 186286 w 442301"/>
                    <a:gd name="connsiteY3" fmla="*/ 459897 h 459897"/>
                    <a:gd name="connsiteX4" fmla="*/ 228999 w 442301"/>
                    <a:gd name="connsiteY4" fmla="*/ 456847 h 459897"/>
                    <a:gd name="connsiteX5" fmla="*/ 381541 w 442301"/>
                    <a:gd name="connsiteY5" fmla="*/ 359219 h 459897"/>
                    <a:gd name="connsiteX6" fmla="*/ 372387 w 442301"/>
                    <a:gd name="connsiteY6" fmla="*/ 38880 h 4598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42301" h="459897">
                      <a:moveTo>
                        <a:pt x="372387" y="38880"/>
                      </a:moveTo>
                      <a:cubicBezTo>
                        <a:pt x="280861" y="-31289"/>
                        <a:pt x="140523" y="-3831"/>
                        <a:pt x="58150" y="99897"/>
                      </a:cubicBezTo>
                      <a:cubicBezTo>
                        <a:pt x="-24223" y="206677"/>
                        <a:pt x="-18121" y="350067"/>
                        <a:pt x="70354" y="420236"/>
                      </a:cubicBezTo>
                      <a:cubicBezTo>
                        <a:pt x="103913" y="447694"/>
                        <a:pt x="143573" y="459897"/>
                        <a:pt x="186286" y="459897"/>
                      </a:cubicBezTo>
                      <a:cubicBezTo>
                        <a:pt x="201540" y="459897"/>
                        <a:pt x="213744" y="459897"/>
                        <a:pt x="228999" y="456847"/>
                      </a:cubicBezTo>
                      <a:cubicBezTo>
                        <a:pt x="286964" y="444643"/>
                        <a:pt x="341878" y="411084"/>
                        <a:pt x="381541" y="359219"/>
                      </a:cubicBezTo>
                      <a:cubicBezTo>
                        <a:pt x="466964" y="255491"/>
                        <a:pt x="460862" y="112101"/>
                        <a:pt x="372387" y="38880"/>
                      </a:cubicBezTo>
                      <a:close/>
                    </a:path>
                  </a:pathLst>
                </a:custGeom>
                <a:solidFill>
                  <a:srgbClr val="EDD1A9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2E6EF88A-17B6-4F10-A131-FF1D34A681A2}"/>
                    </a:ext>
                  </a:extLst>
                </p:cNvPr>
                <p:cNvSpPr/>
                <p:nvPr/>
              </p:nvSpPr>
              <p:spPr>
                <a:xfrm>
                  <a:off x="18307095" y="3588199"/>
                  <a:ext cx="426489" cy="476570"/>
                </a:xfrm>
                <a:custGeom>
                  <a:avLst/>
                  <a:gdLst>
                    <a:gd name="connsiteX0" fmla="*/ 287991 w 426489"/>
                    <a:gd name="connsiteY0" fmla="*/ 25045 h 476570"/>
                    <a:gd name="connsiteX1" fmla="*/ 123244 w 426489"/>
                    <a:gd name="connsiteY1" fmla="*/ 12842 h 476570"/>
                    <a:gd name="connsiteX2" fmla="*/ 19517 w 426489"/>
                    <a:gd name="connsiteY2" fmla="*/ 314876 h 476570"/>
                    <a:gd name="connsiteX3" fmla="*/ 138499 w 426489"/>
                    <a:gd name="connsiteY3" fmla="*/ 452164 h 476570"/>
                    <a:gd name="connsiteX4" fmla="*/ 236126 w 426489"/>
                    <a:gd name="connsiteY4" fmla="*/ 476571 h 476570"/>
                    <a:gd name="connsiteX5" fmla="*/ 303245 w 426489"/>
                    <a:gd name="connsiteY5" fmla="*/ 464367 h 476570"/>
                    <a:gd name="connsiteX6" fmla="*/ 406973 w 426489"/>
                    <a:gd name="connsiteY6" fmla="*/ 162334 h 476570"/>
                    <a:gd name="connsiteX7" fmla="*/ 287991 w 426489"/>
                    <a:gd name="connsiteY7" fmla="*/ 25045 h 4765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489" h="476570">
                      <a:moveTo>
                        <a:pt x="287991" y="25045"/>
                      </a:moveTo>
                      <a:cubicBezTo>
                        <a:pt x="233076" y="-2412"/>
                        <a:pt x="175109" y="-8514"/>
                        <a:pt x="123244" y="12842"/>
                      </a:cubicBezTo>
                      <a:cubicBezTo>
                        <a:pt x="16465" y="55554"/>
                        <a:pt x="-29298" y="192842"/>
                        <a:pt x="19517" y="314876"/>
                      </a:cubicBezTo>
                      <a:cubicBezTo>
                        <a:pt x="43923" y="375893"/>
                        <a:pt x="86634" y="424706"/>
                        <a:pt x="138499" y="452164"/>
                      </a:cubicBezTo>
                      <a:cubicBezTo>
                        <a:pt x="169007" y="467418"/>
                        <a:pt x="202568" y="476571"/>
                        <a:pt x="236126" y="476571"/>
                      </a:cubicBezTo>
                      <a:cubicBezTo>
                        <a:pt x="260533" y="476571"/>
                        <a:pt x="281889" y="473520"/>
                        <a:pt x="303245" y="464367"/>
                      </a:cubicBezTo>
                      <a:cubicBezTo>
                        <a:pt x="410025" y="421656"/>
                        <a:pt x="455788" y="284367"/>
                        <a:pt x="406973" y="162334"/>
                      </a:cubicBezTo>
                      <a:cubicBezTo>
                        <a:pt x="385618" y="101317"/>
                        <a:pt x="342906" y="52503"/>
                        <a:pt x="287991" y="25045"/>
                      </a:cubicBezTo>
                      <a:close/>
                    </a:path>
                  </a:pathLst>
                </a:custGeom>
                <a:solidFill>
                  <a:srgbClr val="EDD1A9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12023CBD-B346-44C0-BE3C-1AEF36DCC7EB}"/>
                  </a:ext>
                </a:extLst>
              </p:cNvPr>
              <p:cNvSpPr/>
              <p:nvPr/>
            </p:nvSpPr>
            <p:spPr>
              <a:xfrm>
                <a:off x="19028179" y="3798493"/>
                <a:ext cx="283982" cy="293733"/>
              </a:xfrm>
              <a:custGeom>
                <a:avLst/>
                <a:gdLst>
                  <a:gd name="connsiteX0" fmla="*/ 238093 w 283982"/>
                  <a:gd name="connsiteY0" fmla="*/ 25259 h 293733"/>
                  <a:gd name="connsiteX1" fmla="*/ 36736 w 283982"/>
                  <a:gd name="connsiteY1" fmla="*/ 64920 h 293733"/>
                  <a:gd name="connsiteX2" fmla="*/ 45890 w 283982"/>
                  <a:gd name="connsiteY2" fmla="*/ 269327 h 293733"/>
                  <a:gd name="connsiteX3" fmla="*/ 122162 w 283982"/>
                  <a:gd name="connsiteY3" fmla="*/ 293734 h 293733"/>
                  <a:gd name="connsiteX4" fmla="*/ 149618 w 283982"/>
                  <a:gd name="connsiteY4" fmla="*/ 290683 h 293733"/>
                  <a:gd name="connsiteX5" fmla="*/ 247246 w 283982"/>
                  <a:gd name="connsiteY5" fmla="*/ 229666 h 293733"/>
                  <a:gd name="connsiteX6" fmla="*/ 238093 w 283982"/>
                  <a:gd name="connsiteY6" fmla="*/ 25259 h 293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3982" h="293733">
                    <a:moveTo>
                      <a:pt x="238093" y="25259"/>
                    </a:moveTo>
                    <a:cubicBezTo>
                      <a:pt x="180126" y="-20504"/>
                      <a:pt x="88601" y="-2198"/>
                      <a:pt x="36736" y="64920"/>
                    </a:cubicBezTo>
                    <a:cubicBezTo>
                      <a:pt x="-15127" y="132039"/>
                      <a:pt x="-12077" y="223564"/>
                      <a:pt x="45890" y="269327"/>
                    </a:cubicBezTo>
                    <a:cubicBezTo>
                      <a:pt x="67245" y="287632"/>
                      <a:pt x="94703" y="293734"/>
                      <a:pt x="122162" y="293734"/>
                    </a:cubicBezTo>
                    <a:cubicBezTo>
                      <a:pt x="131314" y="293734"/>
                      <a:pt x="140466" y="293734"/>
                      <a:pt x="149618" y="290683"/>
                    </a:cubicBezTo>
                    <a:cubicBezTo>
                      <a:pt x="186229" y="284581"/>
                      <a:pt x="222839" y="260174"/>
                      <a:pt x="247246" y="229666"/>
                    </a:cubicBezTo>
                    <a:cubicBezTo>
                      <a:pt x="299110" y="162547"/>
                      <a:pt x="296058" y="71022"/>
                      <a:pt x="238093" y="25259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D8199F1D-9840-4515-A418-819CC3B82D59}"/>
                  </a:ext>
                </a:extLst>
              </p:cNvPr>
              <p:cNvSpPr/>
              <p:nvPr/>
            </p:nvSpPr>
            <p:spPr>
              <a:xfrm>
                <a:off x="18381392" y="3697447"/>
                <a:ext cx="274304" cy="306305"/>
              </a:xfrm>
              <a:custGeom>
                <a:avLst/>
                <a:gdLst>
                  <a:gd name="connsiteX0" fmla="*/ 262506 w 274304"/>
                  <a:gd name="connsiteY0" fmla="*/ 104949 h 306305"/>
                  <a:gd name="connsiteX1" fmla="*/ 186235 w 274304"/>
                  <a:gd name="connsiteY1" fmla="*/ 16474 h 306305"/>
                  <a:gd name="connsiteX2" fmla="*/ 79455 w 274304"/>
                  <a:gd name="connsiteY2" fmla="*/ 7322 h 306305"/>
                  <a:gd name="connsiteX3" fmla="*/ 12336 w 274304"/>
                  <a:gd name="connsiteY3" fmla="*/ 202576 h 306305"/>
                  <a:gd name="connsiteX4" fmla="*/ 88607 w 274304"/>
                  <a:gd name="connsiteY4" fmla="*/ 291051 h 306305"/>
                  <a:gd name="connsiteX5" fmla="*/ 149624 w 274304"/>
                  <a:gd name="connsiteY5" fmla="*/ 306305 h 306305"/>
                  <a:gd name="connsiteX6" fmla="*/ 192337 w 274304"/>
                  <a:gd name="connsiteY6" fmla="*/ 297153 h 306305"/>
                  <a:gd name="connsiteX7" fmla="*/ 262506 w 274304"/>
                  <a:gd name="connsiteY7" fmla="*/ 104949 h 306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4304" h="306305">
                    <a:moveTo>
                      <a:pt x="262506" y="104949"/>
                    </a:moveTo>
                    <a:cubicBezTo>
                      <a:pt x="247252" y="65288"/>
                      <a:pt x="219795" y="34780"/>
                      <a:pt x="186235" y="16474"/>
                    </a:cubicBezTo>
                    <a:cubicBezTo>
                      <a:pt x="152676" y="-1831"/>
                      <a:pt x="113016" y="-4881"/>
                      <a:pt x="79455" y="7322"/>
                    </a:cubicBezTo>
                    <a:cubicBezTo>
                      <a:pt x="9286" y="34780"/>
                      <a:pt x="-18172" y="123254"/>
                      <a:pt x="12336" y="202576"/>
                    </a:cubicBezTo>
                    <a:cubicBezTo>
                      <a:pt x="27590" y="242237"/>
                      <a:pt x="55049" y="272746"/>
                      <a:pt x="88607" y="291051"/>
                    </a:cubicBezTo>
                    <a:cubicBezTo>
                      <a:pt x="109964" y="300203"/>
                      <a:pt x="131320" y="306305"/>
                      <a:pt x="149624" y="306305"/>
                    </a:cubicBezTo>
                    <a:cubicBezTo>
                      <a:pt x="164879" y="306305"/>
                      <a:pt x="180133" y="303254"/>
                      <a:pt x="192337" y="297153"/>
                    </a:cubicBezTo>
                    <a:cubicBezTo>
                      <a:pt x="262506" y="272746"/>
                      <a:pt x="293015" y="184271"/>
                      <a:pt x="262506" y="104949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B448E304-3395-48FE-BEA7-B9AF9DF3C980}"/>
                  </a:ext>
                </a:extLst>
              </p:cNvPr>
              <p:cNvSpPr/>
              <p:nvPr/>
            </p:nvSpPr>
            <p:spPr>
              <a:xfrm>
                <a:off x="18649345" y="2642419"/>
                <a:ext cx="668780" cy="668791"/>
              </a:xfrm>
              <a:custGeom>
                <a:avLst/>
                <a:gdLst>
                  <a:gd name="connsiteX0" fmla="*/ 382012 w 668780"/>
                  <a:gd name="connsiteY0" fmla="*/ 3706 h 668791"/>
                  <a:gd name="connsiteX1" fmla="*/ 3706 w 668780"/>
                  <a:gd name="connsiteY1" fmla="*/ 287435 h 668791"/>
                  <a:gd name="connsiteX2" fmla="*/ 287436 w 668780"/>
                  <a:gd name="connsiteY2" fmla="*/ 665740 h 668791"/>
                  <a:gd name="connsiteX3" fmla="*/ 336249 w 668780"/>
                  <a:gd name="connsiteY3" fmla="*/ 668791 h 668791"/>
                  <a:gd name="connsiteX4" fmla="*/ 665740 w 668780"/>
                  <a:gd name="connsiteY4" fmla="*/ 382011 h 668791"/>
                  <a:gd name="connsiteX5" fmla="*/ 382012 w 668780"/>
                  <a:gd name="connsiteY5" fmla="*/ 3706 h 668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8780" h="668791">
                    <a:moveTo>
                      <a:pt x="382012" y="3706"/>
                    </a:moveTo>
                    <a:cubicBezTo>
                      <a:pt x="198961" y="-23751"/>
                      <a:pt x="31164" y="104384"/>
                      <a:pt x="3706" y="287435"/>
                    </a:cubicBezTo>
                    <a:cubicBezTo>
                      <a:pt x="-23750" y="470486"/>
                      <a:pt x="104386" y="638283"/>
                      <a:pt x="287436" y="665740"/>
                    </a:cubicBezTo>
                    <a:cubicBezTo>
                      <a:pt x="302691" y="668791"/>
                      <a:pt x="320995" y="668791"/>
                      <a:pt x="336249" y="668791"/>
                    </a:cubicBezTo>
                    <a:cubicBezTo>
                      <a:pt x="497944" y="668791"/>
                      <a:pt x="641334" y="549808"/>
                      <a:pt x="665740" y="382011"/>
                    </a:cubicBezTo>
                    <a:cubicBezTo>
                      <a:pt x="690147" y="202011"/>
                      <a:pt x="565063" y="31164"/>
                      <a:pt x="382012" y="3706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84B07721-B410-4DE3-BD09-40DBAF36354F}"/>
                  </a:ext>
                </a:extLst>
              </p:cNvPr>
              <p:cNvSpPr/>
              <p:nvPr/>
            </p:nvSpPr>
            <p:spPr>
              <a:xfrm>
                <a:off x="19061401" y="2923362"/>
                <a:ext cx="71097" cy="71024"/>
              </a:xfrm>
              <a:custGeom>
                <a:avLst/>
                <a:gdLst>
                  <a:gd name="connsiteX0" fmla="*/ 464 w 71097"/>
                  <a:gd name="connsiteY0" fmla="*/ 30899 h 71024"/>
                  <a:gd name="connsiteX1" fmla="*/ 30972 w 71097"/>
                  <a:gd name="connsiteY1" fmla="*/ 70560 h 71024"/>
                  <a:gd name="connsiteX2" fmla="*/ 70633 w 71097"/>
                  <a:gd name="connsiteY2" fmla="*/ 40052 h 71024"/>
                  <a:gd name="connsiteX3" fmla="*/ 40124 w 71097"/>
                  <a:gd name="connsiteY3" fmla="*/ 391 h 71024"/>
                  <a:gd name="connsiteX4" fmla="*/ 464 w 71097"/>
                  <a:gd name="connsiteY4" fmla="*/ 30899 h 71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097" h="71024">
                    <a:moveTo>
                      <a:pt x="464" y="30899"/>
                    </a:moveTo>
                    <a:cubicBezTo>
                      <a:pt x="-2586" y="49204"/>
                      <a:pt x="9616" y="67509"/>
                      <a:pt x="30972" y="70560"/>
                    </a:cubicBezTo>
                    <a:cubicBezTo>
                      <a:pt x="49277" y="73611"/>
                      <a:pt x="67583" y="61408"/>
                      <a:pt x="70633" y="40052"/>
                    </a:cubicBezTo>
                    <a:cubicBezTo>
                      <a:pt x="73685" y="21747"/>
                      <a:pt x="61481" y="3441"/>
                      <a:pt x="40124" y="391"/>
                    </a:cubicBezTo>
                    <a:cubicBezTo>
                      <a:pt x="21820" y="-2660"/>
                      <a:pt x="3514" y="12594"/>
                      <a:pt x="464" y="30899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D962D969-7075-42E9-B66D-54AA633CC8D6}"/>
                  </a:ext>
                </a:extLst>
              </p:cNvPr>
              <p:cNvSpPr/>
              <p:nvPr/>
            </p:nvSpPr>
            <p:spPr>
              <a:xfrm>
                <a:off x="18823435" y="2889729"/>
                <a:ext cx="71097" cy="71097"/>
              </a:xfrm>
              <a:custGeom>
                <a:avLst/>
                <a:gdLst>
                  <a:gd name="connsiteX0" fmla="*/ 464 w 71097"/>
                  <a:gd name="connsiteY0" fmla="*/ 30972 h 71097"/>
                  <a:gd name="connsiteX1" fmla="*/ 30973 w 71097"/>
                  <a:gd name="connsiteY1" fmla="*/ 70633 h 71097"/>
                  <a:gd name="connsiteX2" fmla="*/ 70633 w 71097"/>
                  <a:gd name="connsiteY2" fmla="*/ 40125 h 71097"/>
                  <a:gd name="connsiteX3" fmla="*/ 40125 w 71097"/>
                  <a:gd name="connsiteY3" fmla="*/ 464 h 71097"/>
                  <a:gd name="connsiteX4" fmla="*/ 464 w 71097"/>
                  <a:gd name="connsiteY4" fmla="*/ 30972 h 7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097" h="71097">
                    <a:moveTo>
                      <a:pt x="464" y="30972"/>
                    </a:moveTo>
                    <a:cubicBezTo>
                      <a:pt x="-2588" y="49278"/>
                      <a:pt x="9616" y="67583"/>
                      <a:pt x="30973" y="70633"/>
                    </a:cubicBezTo>
                    <a:cubicBezTo>
                      <a:pt x="49277" y="73684"/>
                      <a:pt x="67583" y="61481"/>
                      <a:pt x="70633" y="40125"/>
                    </a:cubicBezTo>
                    <a:cubicBezTo>
                      <a:pt x="73683" y="21820"/>
                      <a:pt x="61481" y="3515"/>
                      <a:pt x="40125" y="464"/>
                    </a:cubicBezTo>
                    <a:cubicBezTo>
                      <a:pt x="21821" y="-2587"/>
                      <a:pt x="3514" y="9617"/>
                      <a:pt x="464" y="30972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702874F0-987F-4B0D-9574-709F13A43D67}"/>
                  </a:ext>
                </a:extLst>
              </p:cNvPr>
              <p:cNvSpPr/>
              <p:nvPr/>
            </p:nvSpPr>
            <p:spPr>
              <a:xfrm>
                <a:off x="18884706" y="3029187"/>
                <a:ext cx="156012" cy="91165"/>
              </a:xfrm>
              <a:custGeom>
                <a:avLst/>
                <a:gdLst>
                  <a:gd name="connsiteX0" fmla="*/ 210 w 156012"/>
                  <a:gd name="connsiteY0" fmla="*/ 34905 h 91165"/>
                  <a:gd name="connsiteX1" fmla="*/ 70379 w 156012"/>
                  <a:gd name="connsiteY1" fmla="*/ 89820 h 91165"/>
                  <a:gd name="connsiteX2" fmla="*/ 155803 w 156012"/>
                  <a:gd name="connsiteY2" fmla="*/ 56261 h 91165"/>
                  <a:gd name="connsiteX3" fmla="*/ 85634 w 156012"/>
                  <a:gd name="connsiteY3" fmla="*/ 1345 h 91165"/>
                  <a:gd name="connsiteX4" fmla="*/ 210 w 156012"/>
                  <a:gd name="connsiteY4" fmla="*/ 34905 h 9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6012" h="91165">
                    <a:moveTo>
                      <a:pt x="210" y="34905"/>
                    </a:moveTo>
                    <a:cubicBezTo>
                      <a:pt x="-2842" y="59312"/>
                      <a:pt x="27667" y="83718"/>
                      <a:pt x="70379" y="89820"/>
                    </a:cubicBezTo>
                    <a:cubicBezTo>
                      <a:pt x="113092" y="95922"/>
                      <a:pt x="149701" y="80667"/>
                      <a:pt x="155803" y="56261"/>
                    </a:cubicBezTo>
                    <a:cubicBezTo>
                      <a:pt x="158855" y="31854"/>
                      <a:pt x="128346" y="7447"/>
                      <a:pt x="85634" y="1345"/>
                    </a:cubicBezTo>
                    <a:cubicBezTo>
                      <a:pt x="39871" y="-4756"/>
                      <a:pt x="3260" y="10498"/>
                      <a:pt x="210" y="34905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5774B2BD-2F0C-4B49-82FB-92C57CCF6A82}"/>
                  </a:ext>
                </a:extLst>
              </p:cNvPr>
              <p:cNvSpPr/>
              <p:nvPr/>
            </p:nvSpPr>
            <p:spPr>
              <a:xfrm>
                <a:off x="18858221" y="3174685"/>
                <a:ext cx="177450" cy="60254"/>
              </a:xfrm>
              <a:custGeom>
                <a:avLst/>
                <a:gdLst>
                  <a:gd name="connsiteX0" fmla="*/ 96865 w 177450"/>
                  <a:gd name="connsiteY0" fmla="*/ 60254 h 60254"/>
                  <a:gd name="connsiteX1" fmla="*/ 81610 w 177450"/>
                  <a:gd name="connsiteY1" fmla="*/ 60254 h 60254"/>
                  <a:gd name="connsiteX2" fmla="*/ 2289 w 177450"/>
                  <a:gd name="connsiteY2" fmla="*/ 17542 h 60254"/>
                  <a:gd name="connsiteX3" fmla="*/ 2289 w 177450"/>
                  <a:gd name="connsiteY3" fmla="*/ 2288 h 60254"/>
                  <a:gd name="connsiteX4" fmla="*/ 17543 w 177450"/>
                  <a:gd name="connsiteY4" fmla="*/ 2288 h 60254"/>
                  <a:gd name="connsiteX5" fmla="*/ 84660 w 177450"/>
                  <a:gd name="connsiteY5" fmla="*/ 38898 h 60254"/>
                  <a:gd name="connsiteX6" fmla="*/ 160932 w 177450"/>
                  <a:gd name="connsiteY6" fmla="*/ 23644 h 60254"/>
                  <a:gd name="connsiteX7" fmla="*/ 176186 w 177450"/>
                  <a:gd name="connsiteY7" fmla="*/ 26695 h 60254"/>
                  <a:gd name="connsiteX8" fmla="*/ 173136 w 177450"/>
                  <a:gd name="connsiteY8" fmla="*/ 41949 h 60254"/>
                  <a:gd name="connsiteX9" fmla="*/ 96865 w 177450"/>
                  <a:gd name="connsiteY9" fmla="*/ 60254 h 60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7450" h="60254">
                    <a:moveTo>
                      <a:pt x="96865" y="60254"/>
                    </a:moveTo>
                    <a:cubicBezTo>
                      <a:pt x="90762" y="60254"/>
                      <a:pt x="84660" y="60254"/>
                      <a:pt x="81610" y="60254"/>
                    </a:cubicBezTo>
                    <a:cubicBezTo>
                      <a:pt x="35848" y="54153"/>
                      <a:pt x="2289" y="20593"/>
                      <a:pt x="2289" y="17542"/>
                    </a:cubicBezTo>
                    <a:cubicBezTo>
                      <a:pt x="-763" y="14492"/>
                      <a:pt x="-763" y="5339"/>
                      <a:pt x="2289" y="2288"/>
                    </a:cubicBezTo>
                    <a:cubicBezTo>
                      <a:pt x="5339" y="-763"/>
                      <a:pt x="14491" y="-763"/>
                      <a:pt x="17543" y="2288"/>
                    </a:cubicBezTo>
                    <a:cubicBezTo>
                      <a:pt x="17543" y="2288"/>
                      <a:pt x="48052" y="32797"/>
                      <a:pt x="84660" y="38898"/>
                    </a:cubicBezTo>
                    <a:cubicBezTo>
                      <a:pt x="124323" y="45000"/>
                      <a:pt x="157881" y="23644"/>
                      <a:pt x="160932" y="23644"/>
                    </a:cubicBezTo>
                    <a:cubicBezTo>
                      <a:pt x="167034" y="20593"/>
                      <a:pt x="173136" y="23644"/>
                      <a:pt x="176186" y="26695"/>
                    </a:cubicBezTo>
                    <a:cubicBezTo>
                      <a:pt x="179238" y="32797"/>
                      <a:pt x="176186" y="38898"/>
                      <a:pt x="173136" y="41949"/>
                    </a:cubicBezTo>
                    <a:cubicBezTo>
                      <a:pt x="167034" y="41949"/>
                      <a:pt x="136525" y="60254"/>
                      <a:pt x="96865" y="6025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EBFB4721-2395-48A1-9774-BCBDC82C469E}"/>
                  </a:ext>
                </a:extLst>
              </p:cNvPr>
              <p:cNvSpPr/>
              <p:nvPr/>
            </p:nvSpPr>
            <p:spPr>
              <a:xfrm>
                <a:off x="18748391" y="3211295"/>
                <a:ext cx="389745" cy="106016"/>
              </a:xfrm>
              <a:custGeom>
                <a:avLst/>
                <a:gdLst>
                  <a:gd name="connsiteX0" fmla="*/ 234153 w 389745"/>
                  <a:gd name="connsiteY0" fmla="*/ 106017 h 106016"/>
                  <a:gd name="connsiteX1" fmla="*/ 2288 w 389745"/>
                  <a:gd name="connsiteY1" fmla="*/ 11441 h 106016"/>
                  <a:gd name="connsiteX2" fmla="*/ 2288 w 389745"/>
                  <a:gd name="connsiteY2" fmla="*/ 2288 h 106016"/>
                  <a:gd name="connsiteX3" fmla="*/ 11440 w 389745"/>
                  <a:gd name="connsiteY3" fmla="*/ 2288 h 106016"/>
                  <a:gd name="connsiteX4" fmla="*/ 383644 w 389745"/>
                  <a:gd name="connsiteY4" fmla="*/ 57203 h 106016"/>
                  <a:gd name="connsiteX5" fmla="*/ 389746 w 389745"/>
                  <a:gd name="connsiteY5" fmla="*/ 60254 h 106016"/>
                  <a:gd name="connsiteX6" fmla="*/ 386695 w 389745"/>
                  <a:gd name="connsiteY6" fmla="*/ 66356 h 106016"/>
                  <a:gd name="connsiteX7" fmla="*/ 234153 w 389745"/>
                  <a:gd name="connsiteY7" fmla="*/ 106017 h 106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9745" h="106016">
                    <a:moveTo>
                      <a:pt x="234153" y="106017"/>
                    </a:moveTo>
                    <a:cubicBezTo>
                      <a:pt x="93813" y="106017"/>
                      <a:pt x="5340" y="14492"/>
                      <a:pt x="2288" y="11441"/>
                    </a:cubicBezTo>
                    <a:cubicBezTo>
                      <a:pt x="-763" y="8390"/>
                      <a:pt x="-763" y="5339"/>
                      <a:pt x="2288" y="2288"/>
                    </a:cubicBezTo>
                    <a:cubicBezTo>
                      <a:pt x="5340" y="-763"/>
                      <a:pt x="8390" y="-763"/>
                      <a:pt x="11440" y="2288"/>
                    </a:cubicBezTo>
                    <a:cubicBezTo>
                      <a:pt x="14492" y="5339"/>
                      <a:pt x="170084" y="160932"/>
                      <a:pt x="383644" y="57203"/>
                    </a:cubicBezTo>
                    <a:cubicBezTo>
                      <a:pt x="386695" y="57203"/>
                      <a:pt x="389746" y="57203"/>
                      <a:pt x="389746" y="60254"/>
                    </a:cubicBezTo>
                    <a:cubicBezTo>
                      <a:pt x="389746" y="63305"/>
                      <a:pt x="389746" y="66356"/>
                      <a:pt x="386695" y="66356"/>
                    </a:cubicBezTo>
                    <a:cubicBezTo>
                      <a:pt x="331779" y="96864"/>
                      <a:pt x="279916" y="106017"/>
                      <a:pt x="234153" y="106017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9" name="图形 1">
              <a:extLst>
                <a:ext uri="{FF2B5EF4-FFF2-40B4-BE49-F238E27FC236}">
                  <a16:creationId xmlns:a16="http://schemas.microsoft.com/office/drawing/2014/main" id="{20114C75-AA64-4031-A54C-BA0F2C0D9226}"/>
                </a:ext>
              </a:extLst>
            </p:cNvPr>
            <p:cNvGrpSpPr/>
            <p:nvPr/>
          </p:nvGrpSpPr>
          <p:grpSpPr>
            <a:xfrm>
              <a:off x="17027081" y="2708498"/>
              <a:ext cx="1651552" cy="1148813"/>
              <a:chOff x="17027081" y="2708498"/>
              <a:chExt cx="1651552" cy="1148813"/>
            </a:xfrm>
          </p:grpSpPr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1BD68318-1500-4A10-9D75-408114C240DD}"/>
                  </a:ext>
                </a:extLst>
              </p:cNvPr>
              <p:cNvSpPr/>
              <p:nvPr/>
            </p:nvSpPr>
            <p:spPr>
              <a:xfrm>
                <a:off x="18308305" y="3498056"/>
                <a:ext cx="220977" cy="84070"/>
              </a:xfrm>
              <a:custGeom>
                <a:avLst/>
                <a:gdLst>
                  <a:gd name="connsiteX0" fmla="*/ 0 w 220977"/>
                  <a:gd name="connsiteY0" fmla="*/ 72476 h 84070"/>
                  <a:gd name="connsiteX1" fmla="*/ 128136 w 220977"/>
                  <a:gd name="connsiteY1" fmla="*/ 2306 h 84070"/>
                  <a:gd name="connsiteX2" fmla="*/ 219661 w 220977"/>
                  <a:gd name="connsiteY2" fmla="*/ 14510 h 84070"/>
                  <a:gd name="connsiteX3" fmla="*/ 97627 w 220977"/>
                  <a:gd name="connsiteY3" fmla="*/ 78577 h 84070"/>
                  <a:gd name="connsiteX4" fmla="*/ 0 w 220977"/>
                  <a:gd name="connsiteY4" fmla="*/ 72476 h 84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0977" h="84070">
                    <a:moveTo>
                      <a:pt x="0" y="72476"/>
                    </a:moveTo>
                    <a:cubicBezTo>
                      <a:pt x="0" y="72476"/>
                      <a:pt x="91525" y="5357"/>
                      <a:pt x="128136" y="2306"/>
                    </a:cubicBezTo>
                    <a:cubicBezTo>
                      <a:pt x="164747" y="-745"/>
                      <a:pt x="213559" y="-3795"/>
                      <a:pt x="219661" y="14510"/>
                    </a:cubicBezTo>
                    <a:cubicBezTo>
                      <a:pt x="234916" y="60272"/>
                      <a:pt x="112882" y="41967"/>
                      <a:pt x="97627" y="78577"/>
                    </a:cubicBezTo>
                    <a:cubicBezTo>
                      <a:pt x="88475" y="93832"/>
                      <a:pt x="0" y="72476"/>
                      <a:pt x="0" y="72476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722FB7FE-5029-462F-A9E1-FF17261879F1}"/>
                  </a:ext>
                </a:extLst>
              </p:cNvPr>
              <p:cNvSpPr/>
              <p:nvPr/>
            </p:nvSpPr>
            <p:spPr>
              <a:xfrm>
                <a:off x="17027081" y="2708498"/>
                <a:ext cx="1273061" cy="1139958"/>
              </a:xfrm>
              <a:custGeom>
                <a:avLst/>
                <a:gdLst>
                  <a:gd name="connsiteX0" fmla="*/ 76140 w 1273061"/>
                  <a:gd name="connsiteY0" fmla="*/ 7797 h 1139958"/>
                  <a:gd name="connsiteX1" fmla="*/ 472750 w 1273061"/>
                  <a:gd name="connsiteY1" fmla="*/ 340339 h 1139958"/>
                  <a:gd name="connsiteX2" fmla="*/ 677157 w 1273061"/>
                  <a:gd name="connsiteY2" fmla="*/ 755254 h 1139958"/>
                  <a:gd name="connsiteX3" fmla="*/ 1247666 w 1273061"/>
                  <a:gd name="connsiteY3" fmla="*/ 849830 h 1139958"/>
                  <a:gd name="connsiteX4" fmla="*/ 1269022 w 1273061"/>
                  <a:gd name="connsiteY4" fmla="*/ 1051186 h 1139958"/>
                  <a:gd name="connsiteX5" fmla="*/ 488004 w 1273061"/>
                  <a:gd name="connsiteY5" fmla="*/ 1075593 h 1139958"/>
                  <a:gd name="connsiteX6" fmla="*/ 76140 w 1273061"/>
                  <a:gd name="connsiteY6" fmla="*/ 7797 h 1139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73061" h="1139958">
                    <a:moveTo>
                      <a:pt x="76140" y="7797"/>
                    </a:moveTo>
                    <a:cubicBezTo>
                      <a:pt x="198174" y="-50170"/>
                      <a:pt x="408683" y="230508"/>
                      <a:pt x="472750" y="340339"/>
                    </a:cubicBezTo>
                    <a:cubicBezTo>
                      <a:pt x="530717" y="441017"/>
                      <a:pt x="677157" y="755254"/>
                      <a:pt x="677157" y="755254"/>
                    </a:cubicBezTo>
                    <a:cubicBezTo>
                      <a:pt x="677157" y="755254"/>
                      <a:pt x="1140886" y="752203"/>
                      <a:pt x="1247666" y="849830"/>
                    </a:cubicBezTo>
                    <a:cubicBezTo>
                      <a:pt x="1272072" y="898644"/>
                      <a:pt x="1278174" y="971864"/>
                      <a:pt x="1269022" y="1051186"/>
                    </a:cubicBezTo>
                    <a:cubicBezTo>
                      <a:pt x="1192751" y="1200678"/>
                      <a:pt x="603937" y="1127458"/>
                      <a:pt x="488004" y="1075593"/>
                    </a:cubicBezTo>
                    <a:cubicBezTo>
                      <a:pt x="359869" y="1020678"/>
                      <a:pt x="-201487" y="135932"/>
                      <a:pt x="76140" y="7797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EF91331B-4620-4253-9198-6A5915637437}"/>
                  </a:ext>
                </a:extLst>
              </p:cNvPr>
              <p:cNvSpPr/>
              <p:nvPr/>
            </p:nvSpPr>
            <p:spPr>
              <a:xfrm>
                <a:off x="17039154" y="2711765"/>
                <a:ext cx="672449" cy="761139"/>
              </a:xfrm>
              <a:custGeom>
                <a:avLst/>
                <a:gdLst>
                  <a:gd name="connsiteX0" fmla="*/ 668135 w 672449"/>
                  <a:gd name="connsiteY0" fmla="*/ 761140 h 761139"/>
                  <a:gd name="connsiteX1" fmla="*/ 662033 w 672449"/>
                  <a:gd name="connsiteY1" fmla="*/ 758089 h 761139"/>
                  <a:gd name="connsiteX2" fmla="*/ 213559 w 672449"/>
                  <a:gd name="connsiteY2" fmla="*/ 53343 h 761139"/>
                  <a:gd name="connsiteX3" fmla="*/ 64067 w 672449"/>
                  <a:gd name="connsiteY3" fmla="*/ 13682 h 761139"/>
                  <a:gd name="connsiteX4" fmla="*/ 9152 w 672449"/>
                  <a:gd name="connsiteY4" fmla="*/ 59445 h 761139"/>
                  <a:gd name="connsiteX5" fmla="*/ 3050 w 672449"/>
                  <a:gd name="connsiteY5" fmla="*/ 62496 h 761139"/>
                  <a:gd name="connsiteX6" fmla="*/ 0 w 672449"/>
                  <a:gd name="connsiteY6" fmla="*/ 56394 h 761139"/>
                  <a:gd name="connsiteX7" fmla="*/ 61017 w 672449"/>
                  <a:gd name="connsiteY7" fmla="*/ 4530 h 761139"/>
                  <a:gd name="connsiteX8" fmla="*/ 219660 w 672449"/>
                  <a:gd name="connsiteY8" fmla="*/ 44191 h 761139"/>
                  <a:gd name="connsiteX9" fmla="*/ 671186 w 672449"/>
                  <a:gd name="connsiteY9" fmla="*/ 751987 h 761139"/>
                  <a:gd name="connsiteX10" fmla="*/ 668135 w 672449"/>
                  <a:gd name="connsiteY10" fmla="*/ 761140 h 761139"/>
                  <a:gd name="connsiteX11" fmla="*/ 668135 w 672449"/>
                  <a:gd name="connsiteY11" fmla="*/ 761140 h 761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72449" h="761139">
                    <a:moveTo>
                      <a:pt x="668135" y="761140"/>
                    </a:moveTo>
                    <a:cubicBezTo>
                      <a:pt x="665084" y="761140"/>
                      <a:pt x="665084" y="761140"/>
                      <a:pt x="662033" y="758089"/>
                    </a:cubicBezTo>
                    <a:cubicBezTo>
                      <a:pt x="658982" y="751987"/>
                      <a:pt x="396610" y="172326"/>
                      <a:pt x="213559" y="53343"/>
                    </a:cubicBezTo>
                    <a:cubicBezTo>
                      <a:pt x="155592" y="13682"/>
                      <a:pt x="103729" y="1479"/>
                      <a:pt x="64067" y="13682"/>
                    </a:cubicBezTo>
                    <a:cubicBezTo>
                      <a:pt x="24406" y="25886"/>
                      <a:pt x="12203" y="59445"/>
                      <a:pt x="9152" y="59445"/>
                    </a:cubicBezTo>
                    <a:cubicBezTo>
                      <a:pt x="9152" y="62496"/>
                      <a:pt x="6101" y="62496"/>
                      <a:pt x="3050" y="62496"/>
                    </a:cubicBezTo>
                    <a:cubicBezTo>
                      <a:pt x="0" y="62496"/>
                      <a:pt x="0" y="59445"/>
                      <a:pt x="0" y="56394"/>
                    </a:cubicBezTo>
                    <a:cubicBezTo>
                      <a:pt x="0" y="53343"/>
                      <a:pt x="15254" y="16733"/>
                      <a:pt x="61017" y="4530"/>
                    </a:cubicBezTo>
                    <a:cubicBezTo>
                      <a:pt x="103729" y="-7674"/>
                      <a:pt x="155592" y="4530"/>
                      <a:pt x="219660" y="44191"/>
                    </a:cubicBezTo>
                    <a:cubicBezTo>
                      <a:pt x="405762" y="163174"/>
                      <a:pt x="662033" y="727581"/>
                      <a:pt x="671186" y="751987"/>
                    </a:cubicBezTo>
                    <a:cubicBezTo>
                      <a:pt x="674237" y="755038"/>
                      <a:pt x="671186" y="758089"/>
                      <a:pt x="668135" y="761140"/>
                    </a:cubicBezTo>
                    <a:cubicBezTo>
                      <a:pt x="668135" y="761140"/>
                      <a:pt x="668135" y="761140"/>
                      <a:pt x="668135" y="76114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3476F163-125F-4BDF-9990-C78FB4947FCB}"/>
                  </a:ext>
                </a:extLst>
              </p:cNvPr>
              <p:cNvSpPr/>
              <p:nvPr/>
            </p:nvSpPr>
            <p:spPr>
              <a:xfrm>
                <a:off x="17595170" y="3457651"/>
                <a:ext cx="114407" cy="82372"/>
              </a:xfrm>
              <a:custGeom>
                <a:avLst/>
                <a:gdLst>
                  <a:gd name="connsiteX0" fmla="*/ 78559 w 114407"/>
                  <a:gd name="connsiteY0" fmla="*/ 82373 h 82372"/>
                  <a:gd name="connsiteX1" fmla="*/ 78559 w 114407"/>
                  <a:gd name="connsiteY1" fmla="*/ 82373 h 82372"/>
                  <a:gd name="connsiteX2" fmla="*/ 72457 w 114407"/>
                  <a:gd name="connsiteY2" fmla="*/ 76271 h 82372"/>
                  <a:gd name="connsiteX3" fmla="*/ 93814 w 114407"/>
                  <a:gd name="connsiteY3" fmla="*/ 21356 h 82372"/>
                  <a:gd name="connsiteX4" fmla="*/ 11440 w 114407"/>
                  <a:gd name="connsiteY4" fmla="*/ 73220 h 82372"/>
                  <a:gd name="connsiteX5" fmla="*/ 2288 w 114407"/>
                  <a:gd name="connsiteY5" fmla="*/ 73220 h 82372"/>
                  <a:gd name="connsiteX6" fmla="*/ 2288 w 114407"/>
                  <a:gd name="connsiteY6" fmla="*/ 64068 h 82372"/>
                  <a:gd name="connsiteX7" fmla="*/ 106017 w 114407"/>
                  <a:gd name="connsiteY7" fmla="*/ 0 h 82372"/>
                  <a:gd name="connsiteX8" fmla="*/ 112119 w 114407"/>
                  <a:gd name="connsiteY8" fmla="*/ 0 h 82372"/>
                  <a:gd name="connsiteX9" fmla="*/ 112119 w 114407"/>
                  <a:gd name="connsiteY9" fmla="*/ 6102 h 82372"/>
                  <a:gd name="connsiteX10" fmla="*/ 81611 w 114407"/>
                  <a:gd name="connsiteY10" fmla="*/ 73220 h 82372"/>
                  <a:gd name="connsiteX11" fmla="*/ 78559 w 114407"/>
                  <a:gd name="connsiteY11" fmla="*/ 82373 h 82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4407" h="82372">
                    <a:moveTo>
                      <a:pt x="78559" y="82373"/>
                    </a:moveTo>
                    <a:cubicBezTo>
                      <a:pt x="78559" y="82373"/>
                      <a:pt x="78559" y="82373"/>
                      <a:pt x="78559" y="82373"/>
                    </a:cubicBezTo>
                    <a:cubicBezTo>
                      <a:pt x="75508" y="82373"/>
                      <a:pt x="72457" y="79322"/>
                      <a:pt x="72457" y="76271"/>
                    </a:cubicBezTo>
                    <a:cubicBezTo>
                      <a:pt x="75508" y="57966"/>
                      <a:pt x="84662" y="36610"/>
                      <a:pt x="93814" y="21356"/>
                    </a:cubicBezTo>
                    <a:cubicBezTo>
                      <a:pt x="63305" y="36610"/>
                      <a:pt x="20594" y="61017"/>
                      <a:pt x="11440" y="73220"/>
                    </a:cubicBezTo>
                    <a:cubicBezTo>
                      <a:pt x="8390" y="76271"/>
                      <a:pt x="5339" y="76271"/>
                      <a:pt x="2288" y="73220"/>
                    </a:cubicBezTo>
                    <a:cubicBezTo>
                      <a:pt x="-763" y="70169"/>
                      <a:pt x="-763" y="67119"/>
                      <a:pt x="2288" y="64068"/>
                    </a:cubicBezTo>
                    <a:cubicBezTo>
                      <a:pt x="17543" y="42712"/>
                      <a:pt x="96865" y="3051"/>
                      <a:pt x="106017" y="0"/>
                    </a:cubicBezTo>
                    <a:cubicBezTo>
                      <a:pt x="109068" y="0"/>
                      <a:pt x="112119" y="0"/>
                      <a:pt x="112119" y="0"/>
                    </a:cubicBezTo>
                    <a:cubicBezTo>
                      <a:pt x="115170" y="3051"/>
                      <a:pt x="115170" y="6102"/>
                      <a:pt x="112119" y="6102"/>
                    </a:cubicBezTo>
                    <a:cubicBezTo>
                      <a:pt x="112119" y="6102"/>
                      <a:pt x="84662" y="45763"/>
                      <a:pt x="81611" y="73220"/>
                    </a:cubicBezTo>
                    <a:cubicBezTo>
                      <a:pt x="84662" y="79322"/>
                      <a:pt x="81611" y="82373"/>
                      <a:pt x="78559" y="8237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3E964B7E-8295-4447-8B05-45B0C6DCDFD2}"/>
                  </a:ext>
                </a:extLst>
              </p:cNvPr>
              <p:cNvSpPr/>
              <p:nvPr/>
            </p:nvSpPr>
            <p:spPr>
              <a:xfrm>
                <a:off x="17069662" y="3088498"/>
                <a:ext cx="1180678" cy="768813"/>
              </a:xfrm>
              <a:custGeom>
                <a:avLst/>
                <a:gdLst>
                  <a:gd name="connsiteX0" fmla="*/ 866440 w 1180678"/>
                  <a:gd name="connsiteY0" fmla="*/ 768814 h 768813"/>
                  <a:gd name="connsiteX1" fmla="*/ 387457 w 1180678"/>
                  <a:gd name="connsiteY1" fmla="*/ 683390 h 768813"/>
                  <a:gd name="connsiteX2" fmla="*/ 0 w 1180678"/>
                  <a:gd name="connsiteY2" fmla="*/ 6102 h 768813"/>
                  <a:gd name="connsiteX3" fmla="*/ 3050 w 1180678"/>
                  <a:gd name="connsiteY3" fmla="*/ 0 h 768813"/>
                  <a:gd name="connsiteX4" fmla="*/ 9152 w 1180678"/>
                  <a:gd name="connsiteY4" fmla="*/ 3051 h 768813"/>
                  <a:gd name="connsiteX5" fmla="*/ 390508 w 1180678"/>
                  <a:gd name="connsiteY5" fmla="*/ 674237 h 768813"/>
                  <a:gd name="connsiteX6" fmla="*/ 1171524 w 1180678"/>
                  <a:gd name="connsiteY6" fmla="*/ 704746 h 768813"/>
                  <a:gd name="connsiteX7" fmla="*/ 1180678 w 1180678"/>
                  <a:gd name="connsiteY7" fmla="*/ 707797 h 768813"/>
                  <a:gd name="connsiteX8" fmla="*/ 1177626 w 1180678"/>
                  <a:gd name="connsiteY8" fmla="*/ 716949 h 768813"/>
                  <a:gd name="connsiteX9" fmla="*/ 866440 w 1180678"/>
                  <a:gd name="connsiteY9" fmla="*/ 768814 h 768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0678" h="768813">
                    <a:moveTo>
                      <a:pt x="866440" y="768814"/>
                    </a:moveTo>
                    <a:cubicBezTo>
                      <a:pt x="677288" y="768814"/>
                      <a:pt x="472881" y="732203"/>
                      <a:pt x="387457" y="683390"/>
                    </a:cubicBezTo>
                    <a:cubicBezTo>
                      <a:pt x="241017" y="601017"/>
                      <a:pt x="9152" y="30508"/>
                      <a:pt x="0" y="6102"/>
                    </a:cubicBezTo>
                    <a:cubicBezTo>
                      <a:pt x="0" y="3051"/>
                      <a:pt x="0" y="0"/>
                      <a:pt x="3050" y="0"/>
                    </a:cubicBezTo>
                    <a:cubicBezTo>
                      <a:pt x="6101" y="0"/>
                      <a:pt x="9152" y="0"/>
                      <a:pt x="9152" y="3051"/>
                    </a:cubicBezTo>
                    <a:cubicBezTo>
                      <a:pt x="12203" y="9153"/>
                      <a:pt x="250169" y="591864"/>
                      <a:pt x="390508" y="674237"/>
                    </a:cubicBezTo>
                    <a:cubicBezTo>
                      <a:pt x="533898" y="756610"/>
                      <a:pt x="997628" y="802373"/>
                      <a:pt x="1171524" y="704746"/>
                    </a:cubicBezTo>
                    <a:cubicBezTo>
                      <a:pt x="1174576" y="704746"/>
                      <a:pt x="1177626" y="704746"/>
                      <a:pt x="1180678" y="707797"/>
                    </a:cubicBezTo>
                    <a:cubicBezTo>
                      <a:pt x="1180678" y="710848"/>
                      <a:pt x="1180678" y="713898"/>
                      <a:pt x="1177626" y="716949"/>
                    </a:cubicBezTo>
                    <a:cubicBezTo>
                      <a:pt x="1110507" y="750508"/>
                      <a:pt x="991525" y="768814"/>
                      <a:pt x="866440" y="76881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F915025F-2028-47D0-A8EE-3E188EB81BFB}"/>
                  </a:ext>
                </a:extLst>
              </p:cNvPr>
              <p:cNvSpPr/>
              <p:nvPr/>
            </p:nvSpPr>
            <p:spPr>
              <a:xfrm>
                <a:off x="17701187" y="3457651"/>
                <a:ext cx="546101" cy="85423"/>
              </a:xfrm>
              <a:custGeom>
                <a:avLst/>
                <a:gdLst>
                  <a:gd name="connsiteX0" fmla="*/ 539999 w 546101"/>
                  <a:gd name="connsiteY0" fmla="*/ 85424 h 85423"/>
                  <a:gd name="connsiteX1" fmla="*/ 539999 w 546101"/>
                  <a:gd name="connsiteY1" fmla="*/ 85424 h 85423"/>
                  <a:gd name="connsiteX2" fmla="*/ 6102 w 546101"/>
                  <a:gd name="connsiteY2" fmla="*/ 12203 h 85423"/>
                  <a:gd name="connsiteX3" fmla="*/ 0 w 546101"/>
                  <a:gd name="connsiteY3" fmla="*/ 6102 h 85423"/>
                  <a:gd name="connsiteX4" fmla="*/ 6102 w 546101"/>
                  <a:gd name="connsiteY4" fmla="*/ 0 h 85423"/>
                  <a:gd name="connsiteX5" fmla="*/ 6102 w 546101"/>
                  <a:gd name="connsiteY5" fmla="*/ 0 h 85423"/>
                  <a:gd name="connsiteX6" fmla="*/ 543051 w 546101"/>
                  <a:gd name="connsiteY6" fmla="*/ 73220 h 85423"/>
                  <a:gd name="connsiteX7" fmla="*/ 546102 w 546101"/>
                  <a:gd name="connsiteY7" fmla="*/ 82373 h 85423"/>
                  <a:gd name="connsiteX8" fmla="*/ 539999 w 546101"/>
                  <a:gd name="connsiteY8" fmla="*/ 85424 h 85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46101" h="85423">
                    <a:moveTo>
                      <a:pt x="539999" y="85424"/>
                    </a:moveTo>
                    <a:cubicBezTo>
                      <a:pt x="536949" y="85424"/>
                      <a:pt x="536949" y="85424"/>
                      <a:pt x="539999" y="85424"/>
                    </a:cubicBezTo>
                    <a:cubicBezTo>
                      <a:pt x="405763" y="15254"/>
                      <a:pt x="9153" y="12203"/>
                      <a:pt x="6102" y="12203"/>
                    </a:cubicBezTo>
                    <a:cubicBezTo>
                      <a:pt x="3051" y="12203"/>
                      <a:pt x="0" y="9153"/>
                      <a:pt x="0" y="6102"/>
                    </a:cubicBezTo>
                    <a:cubicBezTo>
                      <a:pt x="0" y="3051"/>
                      <a:pt x="3051" y="0"/>
                      <a:pt x="6102" y="0"/>
                    </a:cubicBezTo>
                    <a:lnTo>
                      <a:pt x="6102" y="0"/>
                    </a:lnTo>
                    <a:cubicBezTo>
                      <a:pt x="24407" y="0"/>
                      <a:pt x="408813" y="0"/>
                      <a:pt x="543051" y="73220"/>
                    </a:cubicBezTo>
                    <a:cubicBezTo>
                      <a:pt x="546102" y="73220"/>
                      <a:pt x="546102" y="79322"/>
                      <a:pt x="546102" y="82373"/>
                    </a:cubicBezTo>
                    <a:cubicBezTo>
                      <a:pt x="543051" y="85424"/>
                      <a:pt x="539999" y="85424"/>
                      <a:pt x="539999" y="8542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B53ECA52-7140-4FE3-BD59-C188E9B96791}"/>
                  </a:ext>
                </a:extLst>
              </p:cNvPr>
              <p:cNvSpPr/>
              <p:nvPr/>
            </p:nvSpPr>
            <p:spPr>
              <a:xfrm>
                <a:off x="18305255" y="3515102"/>
                <a:ext cx="212956" cy="99076"/>
              </a:xfrm>
              <a:custGeom>
                <a:avLst/>
                <a:gdLst>
                  <a:gd name="connsiteX0" fmla="*/ 0 w 212956"/>
                  <a:gd name="connsiteY0" fmla="*/ 95092 h 99076"/>
                  <a:gd name="connsiteX1" fmla="*/ 118982 w 212956"/>
                  <a:gd name="connsiteY1" fmla="*/ 9668 h 99076"/>
                  <a:gd name="connsiteX2" fmla="*/ 210507 w 212956"/>
                  <a:gd name="connsiteY2" fmla="*/ 9668 h 99076"/>
                  <a:gd name="connsiteX3" fmla="*/ 97627 w 212956"/>
                  <a:gd name="connsiteY3" fmla="*/ 88990 h 99076"/>
                  <a:gd name="connsiteX4" fmla="*/ 0 w 212956"/>
                  <a:gd name="connsiteY4" fmla="*/ 95092 h 99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2956" h="99076">
                    <a:moveTo>
                      <a:pt x="0" y="95092"/>
                    </a:moveTo>
                    <a:cubicBezTo>
                      <a:pt x="0" y="95092"/>
                      <a:pt x="82373" y="15770"/>
                      <a:pt x="118982" y="9668"/>
                    </a:cubicBezTo>
                    <a:cubicBezTo>
                      <a:pt x="152542" y="3566"/>
                      <a:pt x="201355" y="-8637"/>
                      <a:pt x="210507" y="9668"/>
                    </a:cubicBezTo>
                    <a:cubicBezTo>
                      <a:pt x="231864" y="52380"/>
                      <a:pt x="106780" y="49329"/>
                      <a:pt x="97627" y="88990"/>
                    </a:cubicBezTo>
                    <a:cubicBezTo>
                      <a:pt x="94576" y="107295"/>
                      <a:pt x="0" y="95092"/>
                      <a:pt x="0" y="95092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08" name="图形 1">
                <a:extLst>
                  <a:ext uri="{FF2B5EF4-FFF2-40B4-BE49-F238E27FC236}">
                    <a16:creationId xmlns:a16="http://schemas.microsoft.com/office/drawing/2014/main" id="{DCB951A2-23D4-4342-BF58-32FF052C40DE}"/>
                  </a:ext>
                </a:extLst>
              </p:cNvPr>
              <p:cNvGrpSpPr/>
              <p:nvPr/>
            </p:nvGrpSpPr>
            <p:grpSpPr>
              <a:xfrm>
                <a:off x="18207397" y="3557056"/>
                <a:ext cx="471235" cy="243492"/>
                <a:chOff x="18207397" y="3557056"/>
                <a:chExt cx="471235" cy="243492"/>
              </a:xfrm>
            </p:grpSpPr>
            <p:sp>
              <p:nvSpPr>
                <p:cNvPr id="111" name="任意多边形: 形状 110">
                  <a:extLst>
                    <a:ext uri="{FF2B5EF4-FFF2-40B4-BE49-F238E27FC236}">
                      <a16:creationId xmlns:a16="http://schemas.microsoft.com/office/drawing/2014/main" id="{5DF4B1FF-D4FD-48E3-BBD6-A298CF64CDB1}"/>
                    </a:ext>
                  </a:extLst>
                </p:cNvPr>
                <p:cNvSpPr/>
                <p:nvPr/>
              </p:nvSpPr>
              <p:spPr>
                <a:xfrm>
                  <a:off x="18207397" y="3564430"/>
                  <a:ext cx="471235" cy="236118"/>
                </a:xfrm>
                <a:custGeom>
                  <a:avLst/>
                  <a:gdLst>
                    <a:gd name="connsiteX0" fmla="*/ 64297 w 471235"/>
                    <a:gd name="connsiteY0" fmla="*/ 228813 h 236118"/>
                    <a:gd name="connsiteX1" fmla="*/ 177179 w 471235"/>
                    <a:gd name="connsiteY1" fmla="*/ 228813 h 236118"/>
                    <a:gd name="connsiteX2" fmla="*/ 287011 w 471235"/>
                    <a:gd name="connsiteY2" fmla="*/ 234915 h 236118"/>
                    <a:gd name="connsiteX3" fmla="*/ 470062 w 471235"/>
                    <a:gd name="connsiteY3" fmla="*/ 94576 h 236118"/>
                    <a:gd name="connsiteX4" fmla="*/ 259552 w 471235"/>
                    <a:gd name="connsiteY4" fmla="*/ 0 h 236118"/>
                    <a:gd name="connsiteX5" fmla="*/ 12434 w 471235"/>
                    <a:gd name="connsiteY5" fmla="*/ 61017 h 236118"/>
                    <a:gd name="connsiteX6" fmla="*/ 9382 w 471235"/>
                    <a:gd name="connsiteY6" fmla="*/ 198305 h 236118"/>
                    <a:gd name="connsiteX7" fmla="*/ 64297 w 471235"/>
                    <a:gd name="connsiteY7" fmla="*/ 228813 h 2361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71235" h="236118">
                      <a:moveTo>
                        <a:pt x="64297" y="228813"/>
                      </a:moveTo>
                      <a:cubicBezTo>
                        <a:pt x="100908" y="228813"/>
                        <a:pt x="140569" y="225763"/>
                        <a:pt x="177179" y="228813"/>
                      </a:cubicBezTo>
                      <a:cubicBezTo>
                        <a:pt x="216840" y="231864"/>
                        <a:pt x="247348" y="228813"/>
                        <a:pt x="287011" y="234915"/>
                      </a:cubicBezTo>
                      <a:cubicBezTo>
                        <a:pt x="348028" y="244068"/>
                        <a:pt x="485316" y="201356"/>
                        <a:pt x="470062" y="94576"/>
                      </a:cubicBezTo>
                      <a:cubicBezTo>
                        <a:pt x="457857" y="12203"/>
                        <a:pt x="277857" y="0"/>
                        <a:pt x="259552" y="0"/>
                      </a:cubicBezTo>
                      <a:cubicBezTo>
                        <a:pt x="155823" y="0"/>
                        <a:pt x="113112" y="45763"/>
                        <a:pt x="12434" y="61017"/>
                      </a:cubicBezTo>
                      <a:cubicBezTo>
                        <a:pt x="9382" y="57966"/>
                        <a:pt x="-11974" y="155593"/>
                        <a:pt x="9382" y="198305"/>
                      </a:cubicBezTo>
                      <a:cubicBezTo>
                        <a:pt x="24637" y="225763"/>
                        <a:pt x="33789" y="228813"/>
                        <a:pt x="64297" y="22881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DE28021C-B8EC-40B3-A4ED-8D8DA1E30C87}"/>
                    </a:ext>
                  </a:extLst>
                </p:cNvPr>
                <p:cNvSpPr/>
                <p:nvPr/>
              </p:nvSpPr>
              <p:spPr>
                <a:xfrm>
                  <a:off x="18372374" y="3557056"/>
                  <a:ext cx="262372" cy="47035"/>
                </a:xfrm>
                <a:custGeom>
                  <a:avLst/>
                  <a:gdLst>
                    <a:gd name="connsiteX0" fmla="*/ 253220 w 262372"/>
                    <a:gd name="connsiteY0" fmla="*/ 43984 h 47035"/>
                    <a:gd name="connsiteX1" fmla="*/ 250168 w 262372"/>
                    <a:gd name="connsiteY1" fmla="*/ 43984 h 47035"/>
                    <a:gd name="connsiteX2" fmla="*/ 6100 w 262372"/>
                    <a:gd name="connsiteY2" fmla="*/ 31781 h 47035"/>
                    <a:gd name="connsiteX3" fmla="*/ 0 w 262372"/>
                    <a:gd name="connsiteY3" fmla="*/ 28730 h 47035"/>
                    <a:gd name="connsiteX4" fmla="*/ 3050 w 262372"/>
                    <a:gd name="connsiteY4" fmla="*/ 22628 h 47035"/>
                    <a:gd name="connsiteX5" fmla="*/ 259322 w 262372"/>
                    <a:gd name="connsiteY5" fmla="*/ 37883 h 47035"/>
                    <a:gd name="connsiteX6" fmla="*/ 262372 w 262372"/>
                    <a:gd name="connsiteY6" fmla="*/ 47035 h 47035"/>
                    <a:gd name="connsiteX7" fmla="*/ 253220 w 262372"/>
                    <a:gd name="connsiteY7" fmla="*/ 43984 h 47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2372" h="47035">
                      <a:moveTo>
                        <a:pt x="253220" y="43984"/>
                      </a:moveTo>
                      <a:cubicBezTo>
                        <a:pt x="253220" y="43984"/>
                        <a:pt x="250168" y="43984"/>
                        <a:pt x="250168" y="43984"/>
                      </a:cubicBezTo>
                      <a:cubicBezTo>
                        <a:pt x="146440" y="-26185"/>
                        <a:pt x="6100" y="31781"/>
                        <a:pt x="6100" y="31781"/>
                      </a:cubicBezTo>
                      <a:cubicBezTo>
                        <a:pt x="3050" y="31781"/>
                        <a:pt x="0" y="31781"/>
                        <a:pt x="0" y="28730"/>
                      </a:cubicBezTo>
                      <a:cubicBezTo>
                        <a:pt x="0" y="25679"/>
                        <a:pt x="0" y="22628"/>
                        <a:pt x="3050" y="22628"/>
                      </a:cubicBezTo>
                      <a:cubicBezTo>
                        <a:pt x="9152" y="19577"/>
                        <a:pt x="149490" y="-35338"/>
                        <a:pt x="259322" y="37883"/>
                      </a:cubicBezTo>
                      <a:cubicBezTo>
                        <a:pt x="262372" y="40933"/>
                        <a:pt x="262372" y="43984"/>
                        <a:pt x="262372" y="47035"/>
                      </a:cubicBezTo>
                      <a:cubicBezTo>
                        <a:pt x="256270" y="43984"/>
                        <a:pt x="253220" y="43984"/>
                        <a:pt x="253220" y="43984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" name="任意多边形: 形状 112">
                  <a:extLst>
                    <a:ext uri="{FF2B5EF4-FFF2-40B4-BE49-F238E27FC236}">
                      <a16:creationId xmlns:a16="http://schemas.microsoft.com/office/drawing/2014/main" id="{9429504D-6795-4678-B527-FFF5AE92C394}"/>
                    </a:ext>
                  </a:extLst>
                </p:cNvPr>
                <p:cNvSpPr/>
                <p:nvPr/>
              </p:nvSpPr>
              <p:spPr>
                <a:xfrm>
                  <a:off x="18457798" y="3643752"/>
                  <a:ext cx="33558" cy="100677"/>
                </a:xfrm>
                <a:custGeom>
                  <a:avLst/>
                  <a:gdLst>
                    <a:gd name="connsiteX0" fmla="*/ 6102 w 33558"/>
                    <a:gd name="connsiteY0" fmla="*/ 100678 h 100677"/>
                    <a:gd name="connsiteX1" fmla="*/ 6102 w 33558"/>
                    <a:gd name="connsiteY1" fmla="*/ 100678 h 100677"/>
                    <a:gd name="connsiteX2" fmla="*/ 0 w 33558"/>
                    <a:gd name="connsiteY2" fmla="*/ 94576 h 100677"/>
                    <a:gd name="connsiteX3" fmla="*/ 21356 w 33558"/>
                    <a:gd name="connsiteY3" fmla="*/ 6102 h 100677"/>
                    <a:gd name="connsiteX4" fmla="*/ 27457 w 33558"/>
                    <a:gd name="connsiteY4" fmla="*/ 0 h 100677"/>
                    <a:gd name="connsiteX5" fmla="*/ 33559 w 33558"/>
                    <a:gd name="connsiteY5" fmla="*/ 6102 h 100677"/>
                    <a:gd name="connsiteX6" fmla="*/ 9152 w 33558"/>
                    <a:gd name="connsiteY6" fmla="*/ 100678 h 100677"/>
                    <a:gd name="connsiteX7" fmla="*/ 6102 w 33558"/>
                    <a:gd name="connsiteY7" fmla="*/ 100678 h 1006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558" h="100677">
                      <a:moveTo>
                        <a:pt x="6102" y="100678"/>
                      </a:moveTo>
                      <a:cubicBezTo>
                        <a:pt x="3050" y="100678"/>
                        <a:pt x="3050" y="100678"/>
                        <a:pt x="6102" y="100678"/>
                      </a:cubicBezTo>
                      <a:cubicBezTo>
                        <a:pt x="0" y="100678"/>
                        <a:pt x="0" y="97627"/>
                        <a:pt x="0" y="94576"/>
                      </a:cubicBezTo>
                      <a:cubicBezTo>
                        <a:pt x="0" y="94576"/>
                        <a:pt x="24406" y="27458"/>
                        <a:pt x="21356" y="6102"/>
                      </a:cubicBezTo>
                      <a:cubicBezTo>
                        <a:pt x="21356" y="3051"/>
                        <a:pt x="24406" y="0"/>
                        <a:pt x="27457" y="0"/>
                      </a:cubicBezTo>
                      <a:cubicBezTo>
                        <a:pt x="30508" y="0"/>
                        <a:pt x="33559" y="3051"/>
                        <a:pt x="33559" y="6102"/>
                      </a:cubicBezTo>
                      <a:cubicBezTo>
                        <a:pt x="33559" y="30508"/>
                        <a:pt x="12202" y="97627"/>
                        <a:pt x="9152" y="100678"/>
                      </a:cubicBezTo>
                      <a:cubicBezTo>
                        <a:pt x="9152" y="100678"/>
                        <a:pt x="6102" y="100678"/>
                        <a:pt x="6102" y="100678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0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4A89E71F-9FAF-478C-AA1D-7C9D7CF7B32B}"/>
                  </a:ext>
                </a:extLst>
              </p:cNvPr>
              <p:cNvSpPr/>
              <p:nvPr/>
            </p:nvSpPr>
            <p:spPr>
              <a:xfrm>
                <a:off x="18296103" y="3504282"/>
                <a:ext cx="228813" cy="72351"/>
              </a:xfrm>
              <a:custGeom>
                <a:avLst/>
                <a:gdLst>
                  <a:gd name="connsiteX0" fmla="*/ 6100 w 228813"/>
                  <a:gd name="connsiteY0" fmla="*/ 72352 h 72351"/>
                  <a:gd name="connsiteX1" fmla="*/ 0 w 228813"/>
                  <a:gd name="connsiteY1" fmla="*/ 69301 h 72351"/>
                  <a:gd name="connsiteX2" fmla="*/ 3050 w 228813"/>
                  <a:gd name="connsiteY2" fmla="*/ 63199 h 72351"/>
                  <a:gd name="connsiteX3" fmla="*/ 225762 w 228813"/>
                  <a:gd name="connsiteY3" fmla="*/ 17436 h 72351"/>
                  <a:gd name="connsiteX4" fmla="*/ 228814 w 228813"/>
                  <a:gd name="connsiteY4" fmla="*/ 38792 h 72351"/>
                  <a:gd name="connsiteX5" fmla="*/ 207457 w 228813"/>
                  <a:gd name="connsiteY5" fmla="*/ 57097 h 72351"/>
                  <a:gd name="connsiteX6" fmla="*/ 201355 w 228813"/>
                  <a:gd name="connsiteY6" fmla="*/ 54046 h 72351"/>
                  <a:gd name="connsiteX7" fmla="*/ 204405 w 228813"/>
                  <a:gd name="connsiteY7" fmla="*/ 47945 h 72351"/>
                  <a:gd name="connsiteX8" fmla="*/ 219660 w 228813"/>
                  <a:gd name="connsiteY8" fmla="*/ 35741 h 72351"/>
                  <a:gd name="connsiteX9" fmla="*/ 219660 w 228813"/>
                  <a:gd name="connsiteY9" fmla="*/ 23538 h 72351"/>
                  <a:gd name="connsiteX10" fmla="*/ 6100 w 228813"/>
                  <a:gd name="connsiteY10" fmla="*/ 72352 h 72351"/>
                  <a:gd name="connsiteX11" fmla="*/ 6100 w 228813"/>
                  <a:gd name="connsiteY11" fmla="*/ 72352 h 72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8813" h="72351">
                    <a:moveTo>
                      <a:pt x="6100" y="72352"/>
                    </a:moveTo>
                    <a:cubicBezTo>
                      <a:pt x="3050" y="72352"/>
                      <a:pt x="3050" y="72352"/>
                      <a:pt x="0" y="69301"/>
                    </a:cubicBezTo>
                    <a:cubicBezTo>
                      <a:pt x="0" y="66250"/>
                      <a:pt x="0" y="63199"/>
                      <a:pt x="3050" y="63199"/>
                    </a:cubicBezTo>
                    <a:cubicBezTo>
                      <a:pt x="21354" y="54046"/>
                      <a:pt x="195253" y="-37479"/>
                      <a:pt x="225762" y="17436"/>
                    </a:cubicBezTo>
                    <a:cubicBezTo>
                      <a:pt x="228814" y="23538"/>
                      <a:pt x="228814" y="32691"/>
                      <a:pt x="228814" y="38792"/>
                    </a:cubicBezTo>
                    <a:cubicBezTo>
                      <a:pt x="225762" y="47945"/>
                      <a:pt x="219660" y="54046"/>
                      <a:pt x="207457" y="57097"/>
                    </a:cubicBezTo>
                    <a:cubicBezTo>
                      <a:pt x="204405" y="57097"/>
                      <a:pt x="201355" y="57097"/>
                      <a:pt x="201355" y="54046"/>
                    </a:cubicBezTo>
                    <a:cubicBezTo>
                      <a:pt x="201355" y="50996"/>
                      <a:pt x="201355" y="47945"/>
                      <a:pt x="204405" y="47945"/>
                    </a:cubicBezTo>
                    <a:cubicBezTo>
                      <a:pt x="213559" y="44894"/>
                      <a:pt x="216609" y="38792"/>
                      <a:pt x="219660" y="35741"/>
                    </a:cubicBezTo>
                    <a:cubicBezTo>
                      <a:pt x="222712" y="29640"/>
                      <a:pt x="219660" y="26589"/>
                      <a:pt x="219660" y="23538"/>
                    </a:cubicBezTo>
                    <a:cubicBezTo>
                      <a:pt x="195253" y="-16123"/>
                      <a:pt x="57965" y="44894"/>
                      <a:pt x="6100" y="72352"/>
                    </a:cubicBezTo>
                    <a:cubicBezTo>
                      <a:pt x="6100" y="72352"/>
                      <a:pt x="6100" y="72352"/>
                      <a:pt x="6100" y="7235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DEA2E7DF-6BE6-43F0-A5E5-C7D07BC73A96}"/>
                  </a:ext>
                </a:extLst>
              </p:cNvPr>
              <p:cNvSpPr/>
              <p:nvPr/>
            </p:nvSpPr>
            <p:spPr>
              <a:xfrm>
                <a:off x="18219378" y="3505329"/>
                <a:ext cx="124061" cy="335995"/>
              </a:xfrm>
              <a:custGeom>
                <a:avLst/>
                <a:gdLst>
                  <a:gd name="connsiteX0" fmla="*/ 27910 w 124061"/>
                  <a:gd name="connsiteY0" fmla="*/ 290966 h 335995"/>
                  <a:gd name="connsiteX1" fmla="*/ 3504 w 124061"/>
                  <a:gd name="connsiteY1" fmla="*/ 68254 h 335995"/>
                  <a:gd name="connsiteX2" fmla="*/ 85877 w 124061"/>
                  <a:gd name="connsiteY2" fmla="*/ 25542 h 335995"/>
                  <a:gd name="connsiteX3" fmla="*/ 119436 w 124061"/>
                  <a:gd name="connsiteY3" fmla="*/ 294016 h 335995"/>
                  <a:gd name="connsiteX4" fmla="*/ 27910 w 124061"/>
                  <a:gd name="connsiteY4" fmla="*/ 290966 h 335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061" h="335995">
                    <a:moveTo>
                      <a:pt x="27910" y="290966"/>
                    </a:moveTo>
                    <a:cubicBezTo>
                      <a:pt x="40114" y="214694"/>
                      <a:pt x="34012" y="141474"/>
                      <a:pt x="3504" y="68254"/>
                    </a:cubicBezTo>
                    <a:cubicBezTo>
                      <a:pt x="-17852" y="13338"/>
                      <a:pt x="64521" y="-29374"/>
                      <a:pt x="85877" y="25542"/>
                    </a:cubicBezTo>
                    <a:cubicBezTo>
                      <a:pt x="119436" y="110965"/>
                      <a:pt x="131640" y="202491"/>
                      <a:pt x="119436" y="294016"/>
                    </a:cubicBezTo>
                    <a:cubicBezTo>
                      <a:pt x="113334" y="351983"/>
                      <a:pt x="21808" y="348931"/>
                      <a:pt x="27910" y="290966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91ABC327-2806-44B9-87CD-5C743893DE61}"/>
                </a:ext>
              </a:extLst>
            </p:cNvPr>
            <p:cNvSpPr/>
            <p:nvPr/>
          </p:nvSpPr>
          <p:spPr>
            <a:xfrm>
              <a:off x="19226249" y="3285377"/>
              <a:ext cx="171571" cy="237768"/>
            </a:xfrm>
            <a:custGeom>
              <a:avLst/>
              <a:gdLst>
                <a:gd name="connsiteX0" fmla="*/ 12565 w 171571"/>
                <a:gd name="connsiteY0" fmla="*/ 147867 h 237768"/>
                <a:gd name="connsiteX1" fmla="*/ 131549 w 171571"/>
                <a:gd name="connsiteY1" fmla="*/ 233291 h 237768"/>
                <a:gd name="connsiteX2" fmla="*/ 159005 w 171571"/>
                <a:gd name="connsiteY2" fmla="*/ 89901 h 237768"/>
                <a:gd name="connsiteX3" fmla="*/ 40023 w 171571"/>
                <a:gd name="connsiteY3" fmla="*/ 4478 h 237768"/>
                <a:gd name="connsiteX4" fmla="*/ 12565 w 171571"/>
                <a:gd name="connsiteY4" fmla="*/ 147867 h 237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571" h="237768">
                  <a:moveTo>
                    <a:pt x="12565" y="147867"/>
                  </a:moveTo>
                  <a:cubicBezTo>
                    <a:pt x="36971" y="211935"/>
                    <a:pt x="91888" y="251596"/>
                    <a:pt x="131549" y="233291"/>
                  </a:cubicBezTo>
                  <a:cubicBezTo>
                    <a:pt x="171210" y="218037"/>
                    <a:pt x="183414" y="150918"/>
                    <a:pt x="159005" y="89901"/>
                  </a:cubicBezTo>
                  <a:cubicBezTo>
                    <a:pt x="134599" y="25833"/>
                    <a:pt x="79684" y="-13828"/>
                    <a:pt x="40023" y="4478"/>
                  </a:cubicBezTo>
                  <a:cubicBezTo>
                    <a:pt x="363" y="19732"/>
                    <a:pt x="-11841" y="83800"/>
                    <a:pt x="12565" y="147867"/>
                  </a:cubicBezTo>
                  <a:close/>
                </a:path>
              </a:pathLst>
            </a:custGeom>
            <a:solidFill>
              <a:srgbClr val="D16156"/>
            </a:solidFill>
            <a:ln w="30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111214274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图形 1">
            <a:extLst>
              <a:ext uri="{FF2B5EF4-FFF2-40B4-BE49-F238E27FC236}">
                <a16:creationId xmlns:a16="http://schemas.microsoft.com/office/drawing/2014/main" id="{58D81753-55C3-41A2-AA4D-8F7FE56DBEEA}"/>
              </a:ext>
            </a:extLst>
          </p:cNvPr>
          <p:cNvGrpSpPr/>
          <p:nvPr/>
        </p:nvGrpSpPr>
        <p:grpSpPr>
          <a:xfrm>
            <a:off x="2555216" y="1989823"/>
            <a:ext cx="3045669" cy="4558388"/>
            <a:chOff x="2319241" y="2491268"/>
            <a:chExt cx="3045669" cy="4558388"/>
          </a:xfrm>
        </p:grpSpPr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91CDDC95-261C-4469-B3F3-A91C08FD22AF}"/>
                </a:ext>
              </a:extLst>
            </p:cNvPr>
            <p:cNvSpPr/>
            <p:nvPr/>
          </p:nvSpPr>
          <p:spPr>
            <a:xfrm>
              <a:off x="3985663" y="3382216"/>
              <a:ext cx="952684" cy="673033"/>
            </a:xfrm>
            <a:custGeom>
              <a:avLst/>
              <a:gdLst>
                <a:gd name="connsiteX0" fmla="*/ 14940 w 952684"/>
                <a:gd name="connsiteY0" fmla="*/ 119683 h 673033"/>
                <a:gd name="connsiteX1" fmla="*/ 411035 w 952684"/>
                <a:gd name="connsiteY1" fmla="*/ 205172 h 673033"/>
                <a:gd name="connsiteX2" fmla="*/ 741589 w 952684"/>
                <a:gd name="connsiteY2" fmla="*/ 427441 h 673033"/>
                <a:gd name="connsiteX3" fmla="*/ 852724 w 952684"/>
                <a:gd name="connsiteY3" fmla="*/ 0 h 673033"/>
                <a:gd name="connsiteX4" fmla="*/ 952460 w 952684"/>
                <a:gd name="connsiteY4" fmla="*/ 79789 h 673033"/>
                <a:gd name="connsiteX5" fmla="*/ 872671 w 952684"/>
                <a:gd name="connsiteY5" fmla="*/ 658259 h 673033"/>
                <a:gd name="connsiteX6" fmla="*/ 14940 w 952684"/>
                <a:gd name="connsiteY6" fmla="*/ 119683 h 67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684" h="673033">
                  <a:moveTo>
                    <a:pt x="14940" y="119683"/>
                  </a:moveTo>
                  <a:cubicBezTo>
                    <a:pt x="74782" y="28496"/>
                    <a:pt x="316998" y="156728"/>
                    <a:pt x="411035" y="205172"/>
                  </a:cubicBezTo>
                  <a:cubicBezTo>
                    <a:pt x="493674" y="247916"/>
                    <a:pt x="741589" y="427441"/>
                    <a:pt x="741589" y="427441"/>
                  </a:cubicBezTo>
                  <a:lnTo>
                    <a:pt x="852724" y="0"/>
                  </a:lnTo>
                  <a:lnTo>
                    <a:pt x="952460" y="79789"/>
                  </a:lnTo>
                  <a:cubicBezTo>
                    <a:pt x="952460" y="79789"/>
                    <a:pt x="961009" y="601267"/>
                    <a:pt x="872671" y="658259"/>
                  </a:cubicBezTo>
                  <a:cubicBezTo>
                    <a:pt x="721642" y="757995"/>
                    <a:pt x="-121841" y="327704"/>
                    <a:pt x="14940" y="119683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58D81753-55C3-41A2-AA4D-8F7FE56DBEEA}"/>
                </a:ext>
              </a:extLst>
            </p:cNvPr>
            <p:cNvGrpSpPr/>
            <p:nvPr/>
          </p:nvGrpSpPr>
          <p:grpSpPr>
            <a:xfrm>
              <a:off x="3749838" y="6727652"/>
              <a:ext cx="458786" cy="322005"/>
              <a:chOff x="3749838" y="6727652"/>
              <a:chExt cx="458786" cy="322005"/>
            </a:xfrm>
          </p:grpSpPr>
          <p:sp>
            <p:nvSpPr>
              <p:cNvPr id="7" name="任意多边形: 形状 6">
                <a:extLst>
                  <a:ext uri="{FF2B5EF4-FFF2-40B4-BE49-F238E27FC236}">
                    <a16:creationId xmlns:a16="http://schemas.microsoft.com/office/drawing/2014/main" id="{D9C30BF4-316C-495C-A170-FFAD2291679E}"/>
                  </a:ext>
                </a:extLst>
              </p:cNvPr>
              <p:cNvSpPr/>
              <p:nvPr/>
            </p:nvSpPr>
            <p:spPr>
              <a:xfrm>
                <a:off x="3764086" y="6727652"/>
                <a:ext cx="173825" cy="210870"/>
              </a:xfrm>
              <a:custGeom>
                <a:avLst/>
                <a:gdLst>
                  <a:gd name="connsiteX0" fmla="*/ 0 w 173825"/>
                  <a:gd name="connsiteY0" fmla="*/ 173826 h 210870"/>
                  <a:gd name="connsiteX1" fmla="*/ 25646 w 173825"/>
                  <a:gd name="connsiteY1" fmla="*/ 0 h 210870"/>
                  <a:gd name="connsiteX2" fmla="*/ 173826 w 173825"/>
                  <a:gd name="connsiteY2" fmla="*/ 0 h 210870"/>
                  <a:gd name="connsiteX3" fmla="*/ 133931 w 173825"/>
                  <a:gd name="connsiteY3" fmla="*/ 182375 h 210870"/>
                  <a:gd name="connsiteX4" fmla="*/ 11398 w 173825"/>
                  <a:gd name="connsiteY4" fmla="*/ 210871 h 210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825" h="210870">
                    <a:moveTo>
                      <a:pt x="0" y="173826"/>
                    </a:moveTo>
                    <a:lnTo>
                      <a:pt x="25646" y="0"/>
                    </a:lnTo>
                    <a:lnTo>
                      <a:pt x="173826" y="0"/>
                    </a:lnTo>
                    <a:lnTo>
                      <a:pt x="133931" y="182375"/>
                    </a:lnTo>
                    <a:lnTo>
                      <a:pt x="11398" y="210871"/>
                    </a:ln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" name="任意多边形: 形状 7">
                <a:extLst>
                  <a:ext uri="{FF2B5EF4-FFF2-40B4-BE49-F238E27FC236}">
                    <a16:creationId xmlns:a16="http://schemas.microsoft.com/office/drawing/2014/main" id="{23119358-C0EE-4998-BF7B-61D25509A953}"/>
                  </a:ext>
                </a:extLst>
              </p:cNvPr>
              <p:cNvSpPr/>
              <p:nvPr/>
            </p:nvSpPr>
            <p:spPr>
              <a:xfrm>
                <a:off x="3750533" y="6858733"/>
                <a:ext cx="458090" cy="148179"/>
              </a:xfrm>
              <a:custGeom>
                <a:avLst/>
                <a:gdLst>
                  <a:gd name="connsiteX0" fmla="*/ 13553 w 458090"/>
                  <a:gd name="connsiteY0" fmla="*/ 42744 h 148179"/>
                  <a:gd name="connsiteX1" fmla="*/ 175980 w 458090"/>
                  <a:gd name="connsiteY1" fmla="*/ 0 h 148179"/>
                  <a:gd name="connsiteX2" fmla="*/ 301363 w 458090"/>
                  <a:gd name="connsiteY2" fmla="*/ 74090 h 148179"/>
                  <a:gd name="connsiteX3" fmla="*/ 458091 w 458090"/>
                  <a:gd name="connsiteY3" fmla="*/ 148179 h 148179"/>
                  <a:gd name="connsiteX4" fmla="*/ 2154 w 458090"/>
                  <a:gd name="connsiteY4" fmla="*/ 148179 h 148179"/>
                  <a:gd name="connsiteX5" fmla="*/ 13553 w 458090"/>
                  <a:gd name="connsiteY5" fmla="*/ 42744 h 148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8090" h="148179">
                    <a:moveTo>
                      <a:pt x="13553" y="42744"/>
                    </a:moveTo>
                    <a:cubicBezTo>
                      <a:pt x="13553" y="42744"/>
                      <a:pt x="116138" y="59842"/>
                      <a:pt x="175980" y="0"/>
                    </a:cubicBezTo>
                    <a:cubicBezTo>
                      <a:pt x="175980" y="0"/>
                      <a:pt x="258618" y="65541"/>
                      <a:pt x="301363" y="74090"/>
                    </a:cubicBezTo>
                    <a:cubicBezTo>
                      <a:pt x="344107" y="82639"/>
                      <a:pt x="446692" y="79789"/>
                      <a:pt x="458091" y="148179"/>
                    </a:cubicBezTo>
                    <a:lnTo>
                      <a:pt x="2154" y="148179"/>
                    </a:lnTo>
                    <a:cubicBezTo>
                      <a:pt x="-695" y="148179"/>
                      <a:pt x="-3545" y="88338"/>
                      <a:pt x="13553" y="42744"/>
                    </a:cubicBezTo>
                    <a:close/>
                  </a:path>
                </a:pathLst>
              </a:custGeom>
              <a:solidFill>
                <a:srgbClr val="6C5D6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" name="任意多边形: 形状 8">
                <a:extLst>
                  <a:ext uri="{FF2B5EF4-FFF2-40B4-BE49-F238E27FC236}">
                    <a16:creationId xmlns:a16="http://schemas.microsoft.com/office/drawing/2014/main" id="{19ECFC1F-DE9D-47B8-8E30-4EE5DAA30FEC}"/>
                  </a:ext>
                </a:extLst>
              </p:cNvPr>
              <p:cNvSpPr/>
              <p:nvPr/>
            </p:nvSpPr>
            <p:spPr>
              <a:xfrm>
                <a:off x="3749838" y="7006913"/>
                <a:ext cx="455936" cy="42744"/>
              </a:xfrm>
              <a:custGeom>
                <a:avLst/>
                <a:gdLst>
                  <a:gd name="connsiteX0" fmla="*/ 0 w 455936"/>
                  <a:gd name="connsiteY0" fmla="*/ 0 h 42744"/>
                  <a:gd name="connsiteX1" fmla="*/ 455937 w 455936"/>
                  <a:gd name="connsiteY1" fmla="*/ 0 h 42744"/>
                  <a:gd name="connsiteX2" fmla="*/ 455937 w 455936"/>
                  <a:gd name="connsiteY2" fmla="*/ 42744 h 42744"/>
                  <a:gd name="connsiteX3" fmla="*/ 0 w 455936"/>
                  <a:gd name="connsiteY3" fmla="*/ 42744 h 42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936" h="42744">
                    <a:moveTo>
                      <a:pt x="0" y="0"/>
                    </a:moveTo>
                    <a:lnTo>
                      <a:pt x="455937" y="0"/>
                    </a:lnTo>
                    <a:lnTo>
                      <a:pt x="455937" y="42744"/>
                    </a:lnTo>
                    <a:lnTo>
                      <a:pt x="0" y="42744"/>
                    </a:ln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" name="任意多边形: 形状 9">
                <a:extLst>
                  <a:ext uri="{FF2B5EF4-FFF2-40B4-BE49-F238E27FC236}">
                    <a16:creationId xmlns:a16="http://schemas.microsoft.com/office/drawing/2014/main" id="{799A280D-F5E0-4288-B0CC-DCA56B744C20}"/>
                  </a:ext>
                </a:extLst>
              </p:cNvPr>
              <p:cNvSpPr/>
              <p:nvPr/>
            </p:nvSpPr>
            <p:spPr>
              <a:xfrm>
                <a:off x="3755537" y="6848047"/>
                <a:ext cx="173113" cy="59129"/>
              </a:xfrm>
              <a:custGeom>
                <a:avLst/>
                <a:gdLst>
                  <a:gd name="connsiteX0" fmla="*/ 37045 w 173113"/>
                  <a:gd name="connsiteY0" fmla="*/ 59129 h 59129"/>
                  <a:gd name="connsiteX1" fmla="*/ 5699 w 173113"/>
                  <a:gd name="connsiteY1" fmla="*/ 56280 h 59129"/>
                  <a:gd name="connsiteX2" fmla="*/ 0 w 173113"/>
                  <a:gd name="connsiteY2" fmla="*/ 50581 h 59129"/>
                  <a:gd name="connsiteX3" fmla="*/ 5699 w 173113"/>
                  <a:gd name="connsiteY3" fmla="*/ 44881 h 59129"/>
                  <a:gd name="connsiteX4" fmla="*/ 162427 w 173113"/>
                  <a:gd name="connsiteY4" fmla="*/ 2137 h 59129"/>
                  <a:gd name="connsiteX5" fmla="*/ 170976 w 173113"/>
                  <a:gd name="connsiteY5" fmla="*/ 2137 h 59129"/>
                  <a:gd name="connsiteX6" fmla="*/ 170976 w 173113"/>
                  <a:gd name="connsiteY6" fmla="*/ 10686 h 59129"/>
                  <a:gd name="connsiteX7" fmla="*/ 37045 w 173113"/>
                  <a:gd name="connsiteY7" fmla="*/ 59129 h 59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3113" h="59129">
                    <a:moveTo>
                      <a:pt x="37045" y="59129"/>
                    </a:moveTo>
                    <a:cubicBezTo>
                      <a:pt x="19947" y="59129"/>
                      <a:pt x="8549" y="56280"/>
                      <a:pt x="5699" y="56280"/>
                    </a:cubicBezTo>
                    <a:cubicBezTo>
                      <a:pt x="2850" y="56280"/>
                      <a:pt x="0" y="53430"/>
                      <a:pt x="0" y="50581"/>
                    </a:cubicBezTo>
                    <a:cubicBezTo>
                      <a:pt x="0" y="47731"/>
                      <a:pt x="2850" y="44881"/>
                      <a:pt x="5699" y="44881"/>
                    </a:cubicBezTo>
                    <a:cubicBezTo>
                      <a:pt x="5699" y="44881"/>
                      <a:pt x="99736" y="59129"/>
                      <a:pt x="162427" y="2137"/>
                    </a:cubicBezTo>
                    <a:cubicBezTo>
                      <a:pt x="165277" y="-712"/>
                      <a:pt x="168127" y="-712"/>
                      <a:pt x="170976" y="2137"/>
                    </a:cubicBezTo>
                    <a:cubicBezTo>
                      <a:pt x="173826" y="4987"/>
                      <a:pt x="173826" y="7837"/>
                      <a:pt x="170976" y="10686"/>
                    </a:cubicBezTo>
                    <a:cubicBezTo>
                      <a:pt x="128232" y="53430"/>
                      <a:pt x="71240" y="59129"/>
                      <a:pt x="37045" y="591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" name="任意多边形: 形状 10">
                <a:extLst>
                  <a:ext uri="{FF2B5EF4-FFF2-40B4-BE49-F238E27FC236}">
                    <a16:creationId xmlns:a16="http://schemas.microsoft.com/office/drawing/2014/main" id="{796A9A90-F698-4F41-B76B-073601C54BFF}"/>
                  </a:ext>
                </a:extLst>
              </p:cNvPr>
              <p:cNvSpPr/>
              <p:nvPr/>
            </p:nvSpPr>
            <p:spPr>
              <a:xfrm>
                <a:off x="3930075" y="6873694"/>
                <a:ext cx="38469" cy="39182"/>
              </a:xfrm>
              <a:custGeom>
                <a:avLst/>
                <a:gdLst>
                  <a:gd name="connsiteX0" fmla="*/ 4987 w 38469"/>
                  <a:gd name="connsiteY0" fmla="*/ 39182 h 39182"/>
                  <a:gd name="connsiteX1" fmla="*/ 2137 w 38469"/>
                  <a:gd name="connsiteY1" fmla="*/ 36332 h 39182"/>
                  <a:gd name="connsiteX2" fmla="*/ 2137 w 38469"/>
                  <a:gd name="connsiteY2" fmla="*/ 27784 h 39182"/>
                  <a:gd name="connsiteX3" fmla="*/ 27784 w 38469"/>
                  <a:gd name="connsiteY3" fmla="*/ 2137 h 39182"/>
                  <a:gd name="connsiteX4" fmla="*/ 36332 w 38469"/>
                  <a:gd name="connsiteY4" fmla="*/ 2137 h 39182"/>
                  <a:gd name="connsiteX5" fmla="*/ 36332 w 38469"/>
                  <a:gd name="connsiteY5" fmla="*/ 10686 h 39182"/>
                  <a:gd name="connsiteX6" fmla="*/ 10686 w 38469"/>
                  <a:gd name="connsiteY6" fmla="*/ 36332 h 39182"/>
                  <a:gd name="connsiteX7" fmla="*/ 4987 w 38469"/>
                  <a:gd name="connsiteY7" fmla="*/ 39182 h 3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9" h="39182">
                    <a:moveTo>
                      <a:pt x="4987" y="39182"/>
                    </a:moveTo>
                    <a:cubicBezTo>
                      <a:pt x="4987" y="39182"/>
                      <a:pt x="2137" y="39182"/>
                      <a:pt x="2137" y="36332"/>
                    </a:cubicBezTo>
                    <a:cubicBezTo>
                      <a:pt x="-712" y="33483"/>
                      <a:pt x="-712" y="30633"/>
                      <a:pt x="2137" y="27784"/>
                    </a:cubicBezTo>
                    <a:lnTo>
                      <a:pt x="27784" y="2137"/>
                    </a:lnTo>
                    <a:cubicBezTo>
                      <a:pt x="30633" y="-712"/>
                      <a:pt x="33483" y="-712"/>
                      <a:pt x="36332" y="2137"/>
                    </a:cubicBezTo>
                    <a:cubicBezTo>
                      <a:pt x="39182" y="4987"/>
                      <a:pt x="39182" y="7836"/>
                      <a:pt x="36332" y="10686"/>
                    </a:cubicBezTo>
                    <a:lnTo>
                      <a:pt x="10686" y="36332"/>
                    </a:lnTo>
                    <a:cubicBezTo>
                      <a:pt x="4987" y="39182"/>
                      <a:pt x="4987" y="39182"/>
                      <a:pt x="4987" y="391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" name="任意多边形: 形状 11">
                <a:extLst>
                  <a:ext uri="{FF2B5EF4-FFF2-40B4-BE49-F238E27FC236}">
                    <a16:creationId xmlns:a16="http://schemas.microsoft.com/office/drawing/2014/main" id="{C2BBA4F5-840F-41C4-B175-BA2DFF6A7DDE}"/>
                  </a:ext>
                </a:extLst>
              </p:cNvPr>
              <p:cNvSpPr/>
              <p:nvPr/>
            </p:nvSpPr>
            <p:spPr>
              <a:xfrm>
                <a:off x="3964271" y="6899340"/>
                <a:ext cx="38469" cy="39181"/>
              </a:xfrm>
              <a:custGeom>
                <a:avLst/>
                <a:gdLst>
                  <a:gd name="connsiteX0" fmla="*/ 4987 w 38469"/>
                  <a:gd name="connsiteY0" fmla="*/ 39182 h 39181"/>
                  <a:gd name="connsiteX1" fmla="*/ 2137 w 38469"/>
                  <a:gd name="connsiteY1" fmla="*/ 36332 h 39181"/>
                  <a:gd name="connsiteX2" fmla="*/ 2137 w 38469"/>
                  <a:gd name="connsiteY2" fmla="*/ 27784 h 39181"/>
                  <a:gd name="connsiteX3" fmla="*/ 27784 w 38469"/>
                  <a:gd name="connsiteY3" fmla="*/ 2137 h 39181"/>
                  <a:gd name="connsiteX4" fmla="*/ 36332 w 38469"/>
                  <a:gd name="connsiteY4" fmla="*/ 2137 h 39181"/>
                  <a:gd name="connsiteX5" fmla="*/ 36332 w 38469"/>
                  <a:gd name="connsiteY5" fmla="*/ 10686 h 39181"/>
                  <a:gd name="connsiteX6" fmla="*/ 10686 w 38469"/>
                  <a:gd name="connsiteY6" fmla="*/ 36332 h 39181"/>
                  <a:gd name="connsiteX7" fmla="*/ 4987 w 38469"/>
                  <a:gd name="connsiteY7" fmla="*/ 39182 h 39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9" h="39181">
                    <a:moveTo>
                      <a:pt x="4987" y="39182"/>
                    </a:moveTo>
                    <a:cubicBezTo>
                      <a:pt x="4987" y="39182"/>
                      <a:pt x="2137" y="39182"/>
                      <a:pt x="2137" y="36332"/>
                    </a:cubicBezTo>
                    <a:cubicBezTo>
                      <a:pt x="-712" y="33483"/>
                      <a:pt x="-712" y="30633"/>
                      <a:pt x="2137" y="27784"/>
                    </a:cubicBezTo>
                    <a:lnTo>
                      <a:pt x="27784" y="2137"/>
                    </a:lnTo>
                    <a:cubicBezTo>
                      <a:pt x="30633" y="-712"/>
                      <a:pt x="33483" y="-712"/>
                      <a:pt x="36332" y="2137"/>
                    </a:cubicBezTo>
                    <a:cubicBezTo>
                      <a:pt x="39182" y="4987"/>
                      <a:pt x="39182" y="7836"/>
                      <a:pt x="36332" y="10686"/>
                    </a:cubicBezTo>
                    <a:lnTo>
                      <a:pt x="10686" y="36332"/>
                    </a:lnTo>
                    <a:cubicBezTo>
                      <a:pt x="7836" y="36332"/>
                      <a:pt x="4987" y="39182"/>
                      <a:pt x="4987" y="391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图形 1">
              <a:extLst>
                <a:ext uri="{FF2B5EF4-FFF2-40B4-BE49-F238E27FC236}">
                  <a16:creationId xmlns:a16="http://schemas.microsoft.com/office/drawing/2014/main" id="{58D81753-55C3-41A2-AA4D-8F7FE56DBEEA}"/>
                </a:ext>
              </a:extLst>
            </p:cNvPr>
            <p:cNvGrpSpPr/>
            <p:nvPr/>
          </p:nvGrpSpPr>
          <p:grpSpPr>
            <a:xfrm>
              <a:off x="2367780" y="6736200"/>
              <a:ext cx="532875" cy="313456"/>
              <a:chOff x="2367780" y="6736200"/>
              <a:chExt cx="532875" cy="313456"/>
            </a:xfrm>
          </p:grpSpPr>
          <p:sp>
            <p:nvSpPr>
              <p:cNvPr id="14" name="任意多边形: 形状 13">
                <a:extLst>
                  <a:ext uri="{FF2B5EF4-FFF2-40B4-BE49-F238E27FC236}">
                    <a16:creationId xmlns:a16="http://schemas.microsoft.com/office/drawing/2014/main" id="{0B296915-492C-457C-86E8-E164A1CAFF8F}"/>
                  </a:ext>
                </a:extLst>
              </p:cNvPr>
              <p:cNvSpPr/>
              <p:nvPr/>
            </p:nvSpPr>
            <p:spPr>
              <a:xfrm>
                <a:off x="2647041" y="6736200"/>
                <a:ext cx="253614" cy="208021"/>
              </a:xfrm>
              <a:custGeom>
                <a:avLst/>
                <a:gdLst>
                  <a:gd name="connsiteX0" fmla="*/ 151029 w 253614"/>
                  <a:gd name="connsiteY0" fmla="*/ 170976 h 208021"/>
                  <a:gd name="connsiteX1" fmla="*/ 253615 w 253614"/>
                  <a:gd name="connsiteY1" fmla="*/ 0 h 208021"/>
                  <a:gd name="connsiteX2" fmla="*/ 65541 w 253614"/>
                  <a:gd name="connsiteY2" fmla="*/ 0 h 208021"/>
                  <a:gd name="connsiteX3" fmla="*/ 0 w 253614"/>
                  <a:gd name="connsiteY3" fmla="*/ 182375 h 208021"/>
                  <a:gd name="connsiteX4" fmla="*/ 139631 w 253614"/>
                  <a:gd name="connsiteY4" fmla="*/ 208021 h 208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3614" h="208021">
                    <a:moveTo>
                      <a:pt x="151029" y="170976"/>
                    </a:moveTo>
                    <a:lnTo>
                      <a:pt x="253615" y="0"/>
                    </a:lnTo>
                    <a:lnTo>
                      <a:pt x="65541" y="0"/>
                    </a:lnTo>
                    <a:lnTo>
                      <a:pt x="0" y="182375"/>
                    </a:lnTo>
                    <a:lnTo>
                      <a:pt x="139631" y="208021"/>
                    </a:ln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" name="任意多边形: 形状 14">
                <a:extLst>
                  <a:ext uri="{FF2B5EF4-FFF2-40B4-BE49-F238E27FC236}">
                    <a16:creationId xmlns:a16="http://schemas.microsoft.com/office/drawing/2014/main" id="{01A8C105-8A2D-4A21-80FD-49F208FBEC76}"/>
                  </a:ext>
                </a:extLst>
              </p:cNvPr>
              <p:cNvSpPr/>
              <p:nvPr/>
            </p:nvSpPr>
            <p:spPr>
              <a:xfrm>
                <a:off x="2367780" y="6858733"/>
                <a:ext cx="452137" cy="148179"/>
              </a:xfrm>
              <a:custGeom>
                <a:avLst/>
                <a:gdLst>
                  <a:gd name="connsiteX0" fmla="*/ 444538 w 452137"/>
                  <a:gd name="connsiteY0" fmla="*/ 42744 h 148179"/>
                  <a:gd name="connsiteX1" fmla="*/ 282111 w 452137"/>
                  <a:gd name="connsiteY1" fmla="*/ 0 h 148179"/>
                  <a:gd name="connsiteX2" fmla="*/ 156728 w 452137"/>
                  <a:gd name="connsiteY2" fmla="*/ 74090 h 148179"/>
                  <a:gd name="connsiteX3" fmla="*/ 0 w 452137"/>
                  <a:gd name="connsiteY3" fmla="*/ 148179 h 148179"/>
                  <a:gd name="connsiteX4" fmla="*/ 444538 w 452137"/>
                  <a:gd name="connsiteY4" fmla="*/ 148179 h 148179"/>
                  <a:gd name="connsiteX5" fmla="*/ 444538 w 452137"/>
                  <a:gd name="connsiteY5" fmla="*/ 42744 h 148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2137" h="148179">
                    <a:moveTo>
                      <a:pt x="444538" y="42744"/>
                    </a:moveTo>
                    <a:cubicBezTo>
                      <a:pt x="444538" y="42744"/>
                      <a:pt x="341953" y="59842"/>
                      <a:pt x="282111" y="0"/>
                    </a:cubicBezTo>
                    <a:cubicBezTo>
                      <a:pt x="282111" y="0"/>
                      <a:pt x="199472" y="65541"/>
                      <a:pt x="156728" y="74090"/>
                    </a:cubicBezTo>
                    <a:cubicBezTo>
                      <a:pt x="113984" y="82639"/>
                      <a:pt x="11398" y="79789"/>
                      <a:pt x="0" y="148179"/>
                    </a:cubicBezTo>
                    <a:lnTo>
                      <a:pt x="444538" y="148179"/>
                    </a:lnTo>
                    <a:cubicBezTo>
                      <a:pt x="444538" y="148179"/>
                      <a:pt x="461636" y="88338"/>
                      <a:pt x="444538" y="42744"/>
                    </a:cubicBezTo>
                    <a:close/>
                  </a:path>
                </a:pathLst>
              </a:custGeom>
              <a:solidFill>
                <a:srgbClr val="6C5D6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" name="任意多边形: 形状 15">
                <a:extLst>
                  <a:ext uri="{FF2B5EF4-FFF2-40B4-BE49-F238E27FC236}">
                    <a16:creationId xmlns:a16="http://schemas.microsoft.com/office/drawing/2014/main" id="{7669C975-7A51-4E4B-9366-35DA594F72E8}"/>
                  </a:ext>
                </a:extLst>
              </p:cNvPr>
              <p:cNvSpPr/>
              <p:nvPr/>
            </p:nvSpPr>
            <p:spPr>
              <a:xfrm>
                <a:off x="2367780" y="7006913"/>
                <a:ext cx="444538" cy="42744"/>
              </a:xfrm>
              <a:custGeom>
                <a:avLst/>
                <a:gdLst>
                  <a:gd name="connsiteX0" fmla="*/ 0 w 444538"/>
                  <a:gd name="connsiteY0" fmla="*/ 0 h 42744"/>
                  <a:gd name="connsiteX1" fmla="*/ 444538 w 444538"/>
                  <a:gd name="connsiteY1" fmla="*/ 0 h 42744"/>
                  <a:gd name="connsiteX2" fmla="*/ 444538 w 444538"/>
                  <a:gd name="connsiteY2" fmla="*/ 42744 h 42744"/>
                  <a:gd name="connsiteX3" fmla="*/ 0 w 444538"/>
                  <a:gd name="connsiteY3" fmla="*/ 42744 h 42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4538" h="42744">
                    <a:moveTo>
                      <a:pt x="0" y="0"/>
                    </a:moveTo>
                    <a:lnTo>
                      <a:pt x="444538" y="0"/>
                    </a:lnTo>
                    <a:lnTo>
                      <a:pt x="444538" y="42744"/>
                    </a:lnTo>
                    <a:lnTo>
                      <a:pt x="0" y="42744"/>
                    </a:ln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" name="任意多边形: 形状 16">
                <a:extLst>
                  <a:ext uri="{FF2B5EF4-FFF2-40B4-BE49-F238E27FC236}">
                    <a16:creationId xmlns:a16="http://schemas.microsoft.com/office/drawing/2014/main" id="{617508D3-0045-4D7A-8994-033C54250536}"/>
                  </a:ext>
                </a:extLst>
              </p:cNvPr>
              <p:cNvSpPr/>
              <p:nvPr/>
            </p:nvSpPr>
            <p:spPr>
              <a:xfrm>
                <a:off x="2647753" y="6848047"/>
                <a:ext cx="173113" cy="59129"/>
              </a:xfrm>
              <a:custGeom>
                <a:avLst/>
                <a:gdLst>
                  <a:gd name="connsiteX0" fmla="*/ 136069 w 173113"/>
                  <a:gd name="connsiteY0" fmla="*/ 59129 h 59129"/>
                  <a:gd name="connsiteX1" fmla="*/ 2137 w 173113"/>
                  <a:gd name="connsiteY1" fmla="*/ 10686 h 59129"/>
                  <a:gd name="connsiteX2" fmla="*/ 2137 w 173113"/>
                  <a:gd name="connsiteY2" fmla="*/ 2137 h 59129"/>
                  <a:gd name="connsiteX3" fmla="*/ 10686 w 173113"/>
                  <a:gd name="connsiteY3" fmla="*/ 2137 h 59129"/>
                  <a:gd name="connsiteX4" fmla="*/ 167414 w 173113"/>
                  <a:gd name="connsiteY4" fmla="*/ 44881 h 59129"/>
                  <a:gd name="connsiteX5" fmla="*/ 173113 w 173113"/>
                  <a:gd name="connsiteY5" fmla="*/ 50581 h 59129"/>
                  <a:gd name="connsiteX6" fmla="*/ 167414 w 173113"/>
                  <a:gd name="connsiteY6" fmla="*/ 56280 h 59129"/>
                  <a:gd name="connsiteX7" fmla="*/ 136069 w 173113"/>
                  <a:gd name="connsiteY7" fmla="*/ 59129 h 59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3113" h="59129">
                    <a:moveTo>
                      <a:pt x="136069" y="59129"/>
                    </a:moveTo>
                    <a:cubicBezTo>
                      <a:pt x="101873" y="59129"/>
                      <a:pt x="44881" y="53430"/>
                      <a:pt x="2137" y="10686"/>
                    </a:cubicBezTo>
                    <a:cubicBezTo>
                      <a:pt x="-712" y="7837"/>
                      <a:pt x="-712" y="4987"/>
                      <a:pt x="2137" y="2137"/>
                    </a:cubicBezTo>
                    <a:cubicBezTo>
                      <a:pt x="4987" y="-712"/>
                      <a:pt x="7836" y="-712"/>
                      <a:pt x="10686" y="2137"/>
                    </a:cubicBezTo>
                    <a:cubicBezTo>
                      <a:pt x="73377" y="59129"/>
                      <a:pt x="167414" y="44881"/>
                      <a:pt x="167414" y="44881"/>
                    </a:cubicBezTo>
                    <a:cubicBezTo>
                      <a:pt x="170264" y="44881"/>
                      <a:pt x="173113" y="47731"/>
                      <a:pt x="173113" y="50581"/>
                    </a:cubicBezTo>
                    <a:cubicBezTo>
                      <a:pt x="173113" y="53430"/>
                      <a:pt x="170264" y="56280"/>
                      <a:pt x="167414" y="56280"/>
                    </a:cubicBezTo>
                    <a:cubicBezTo>
                      <a:pt x="164565" y="59129"/>
                      <a:pt x="153166" y="59129"/>
                      <a:pt x="136069" y="591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39911D6A-0AB0-4884-9B19-E2AAC1E1ACC6}"/>
                  </a:ext>
                </a:extLst>
              </p:cNvPr>
              <p:cNvSpPr/>
              <p:nvPr/>
            </p:nvSpPr>
            <p:spPr>
              <a:xfrm>
                <a:off x="2610709" y="6873694"/>
                <a:ext cx="38469" cy="39182"/>
              </a:xfrm>
              <a:custGeom>
                <a:avLst/>
                <a:gdLst>
                  <a:gd name="connsiteX0" fmla="*/ 30633 w 38469"/>
                  <a:gd name="connsiteY0" fmla="*/ 39182 h 39182"/>
                  <a:gd name="connsiteX1" fmla="*/ 27784 w 38469"/>
                  <a:gd name="connsiteY1" fmla="*/ 36332 h 39182"/>
                  <a:gd name="connsiteX2" fmla="*/ 2137 w 38469"/>
                  <a:gd name="connsiteY2" fmla="*/ 10686 h 39182"/>
                  <a:gd name="connsiteX3" fmla="*/ 2137 w 38469"/>
                  <a:gd name="connsiteY3" fmla="*/ 2137 h 39182"/>
                  <a:gd name="connsiteX4" fmla="*/ 10686 w 38469"/>
                  <a:gd name="connsiteY4" fmla="*/ 2137 h 39182"/>
                  <a:gd name="connsiteX5" fmla="*/ 36332 w 38469"/>
                  <a:gd name="connsiteY5" fmla="*/ 27784 h 39182"/>
                  <a:gd name="connsiteX6" fmla="*/ 36332 w 38469"/>
                  <a:gd name="connsiteY6" fmla="*/ 36332 h 39182"/>
                  <a:gd name="connsiteX7" fmla="*/ 30633 w 38469"/>
                  <a:gd name="connsiteY7" fmla="*/ 39182 h 3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9" h="39182">
                    <a:moveTo>
                      <a:pt x="30633" y="39182"/>
                    </a:moveTo>
                    <a:cubicBezTo>
                      <a:pt x="30633" y="39182"/>
                      <a:pt x="27784" y="39182"/>
                      <a:pt x="27784" y="36332"/>
                    </a:cubicBezTo>
                    <a:lnTo>
                      <a:pt x="2137" y="10686"/>
                    </a:lnTo>
                    <a:cubicBezTo>
                      <a:pt x="-712" y="7836"/>
                      <a:pt x="-712" y="4987"/>
                      <a:pt x="2137" y="2137"/>
                    </a:cubicBezTo>
                    <a:cubicBezTo>
                      <a:pt x="4987" y="-712"/>
                      <a:pt x="7836" y="-712"/>
                      <a:pt x="10686" y="2137"/>
                    </a:cubicBezTo>
                    <a:lnTo>
                      <a:pt x="36332" y="27784"/>
                    </a:lnTo>
                    <a:cubicBezTo>
                      <a:pt x="39182" y="30633"/>
                      <a:pt x="39182" y="33483"/>
                      <a:pt x="36332" y="36332"/>
                    </a:cubicBezTo>
                    <a:cubicBezTo>
                      <a:pt x="33483" y="39182"/>
                      <a:pt x="33483" y="39182"/>
                      <a:pt x="30633" y="391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" name="任意多边形: 形状 18">
                <a:extLst>
                  <a:ext uri="{FF2B5EF4-FFF2-40B4-BE49-F238E27FC236}">
                    <a16:creationId xmlns:a16="http://schemas.microsoft.com/office/drawing/2014/main" id="{481A0504-0748-442C-87BE-86C78E257CF6}"/>
                  </a:ext>
                </a:extLst>
              </p:cNvPr>
              <p:cNvSpPr/>
              <p:nvPr/>
            </p:nvSpPr>
            <p:spPr>
              <a:xfrm>
                <a:off x="2579363" y="6899340"/>
                <a:ext cx="35620" cy="39181"/>
              </a:xfrm>
              <a:custGeom>
                <a:avLst/>
                <a:gdLst>
                  <a:gd name="connsiteX0" fmla="*/ 27784 w 35620"/>
                  <a:gd name="connsiteY0" fmla="*/ 39182 h 39181"/>
                  <a:gd name="connsiteX1" fmla="*/ 24934 w 35620"/>
                  <a:gd name="connsiteY1" fmla="*/ 36332 h 39181"/>
                  <a:gd name="connsiteX2" fmla="*/ 2137 w 35620"/>
                  <a:gd name="connsiteY2" fmla="*/ 10686 h 39181"/>
                  <a:gd name="connsiteX3" fmla="*/ 2137 w 35620"/>
                  <a:gd name="connsiteY3" fmla="*/ 2137 h 39181"/>
                  <a:gd name="connsiteX4" fmla="*/ 10686 w 35620"/>
                  <a:gd name="connsiteY4" fmla="*/ 2137 h 39181"/>
                  <a:gd name="connsiteX5" fmla="*/ 33483 w 35620"/>
                  <a:gd name="connsiteY5" fmla="*/ 27784 h 39181"/>
                  <a:gd name="connsiteX6" fmla="*/ 33483 w 35620"/>
                  <a:gd name="connsiteY6" fmla="*/ 36332 h 39181"/>
                  <a:gd name="connsiteX7" fmla="*/ 27784 w 35620"/>
                  <a:gd name="connsiteY7" fmla="*/ 39182 h 39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620" h="39181">
                    <a:moveTo>
                      <a:pt x="27784" y="39182"/>
                    </a:moveTo>
                    <a:cubicBezTo>
                      <a:pt x="27784" y="39182"/>
                      <a:pt x="24934" y="39182"/>
                      <a:pt x="24934" y="36332"/>
                    </a:cubicBezTo>
                    <a:lnTo>
                      <a:pt x="2137" y="10686"/>
                    </a:lnTo>
                    <a:cubicBezTo>
                      <a:pt x="-712" y="7836"/>
                      <a:pt x="-712" y="4987"/>
                      <a:pt x="2137" y="2137"/>
                    </a:cubicBezTo>
                    <a:cubicBezTo>
                      <a:pt x="4987" y="-712"/>
                      <a:pt x="7836" y="-712"/>
                      <a:pt x="10686" y="2137"/>
                    </a:cubicBezTo>
                    <a:lnTo>
                      <a:pt x="33483" y="27784"/>
                    </a:lnTo>
                    <a:cubicBezTo>
                      <a:pt x="36332" y="30633"/>
                      <a:pt x="36332" y="33483"/>
                      <a:pt x="33483" y="36332"/>
                    </a:cubicBezTo>
                    <a:cubicBezTo>
                      <a:pt x="30633" y="36332"/>
                      <a:pt x="27784" y="39182"/>
                      <a:pt x="27784" y="391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14EFFC7E-DD1F-4506-9BCC-E0CAE39D32EC}"/>
                </a:ext>
              </a:extLst>
            </p:cNvPr>
            <p:cNvSpPr/>
            <p:nvPr/>
          </p:nvSpPr>
          <p:spPr>
            <a:xfrm>
              <a:off x="3564614" y="3117203"/>
              <a:ext cx="233667" cy="241371"/>
            </a:xfrm>
            <a:custGeom>
              <a:avLst/>
              <a:gdLst>
                <a:gd name="connsiteX0" fmla="*/ 233668 w 233667"/>
                <a:gd name="connsiteY0" fmla="*/ 37045 h 241371"/>
                <a:gd name="connsiteX1" fmla="*/ 227968 w 233667"/>
                <a:gd name="connsiteY1" fmla="*/ 199472 h 241371"/>
                <a:gd name="connsiteX2" fmla="*/ 0 w 233667"/>
                <a:gd name="connsiteY2" fmla="*/ 190923 h 241371"/>
                <a:gd name="connsiteX3" fmla="*/ 14248 w 233667"/>
                <a:gd name="connsiteY3" fmla="*/ 0 h 241371"/>
                <a:gd name="connsiteX4" fmla="*/ 233668 w 233667"/>
                <a:gd name="connsiteY4" fmla="*/ 37045 h 241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667" h="241371">
                  <a:moveTo>
                    <a:pt x="233668" y="37045"/>
                  </a:moveTo>
                  <a:cubicBezTo>
                    <a:pt x="233668" y="37045"/>
                    <a:pt x="227968" y="131082"/>
                    <a:pt x="227968" y="199472"/>
                  </a:cubicBezTo>
                  <a:cubicBezTo>
                    <a:pt x="227968" y="199472"/>
                    <a:pt x="139631" y="299208"/>
                    <a:pt x="0" y="190923"/>
                  </a:cubicBezTo>
                  <a:cubicBezTo>
                    <a:pt x="0" y="133931"/>
                    <a:pt x="11398" y="59842"/>
                    <a:pt x="14248" y="0"/>
                  </a:cubicBezTo>
                  <a:cubicBezTo>
                    <a:pt x="14248" y="0"/>
                    <a:pt x="185224" y="48443"/>
                    <a:pt x="233668" y="37045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BC05824E-DE00-4B3B-9394-60008F819BB2}"/>
                </a:ext>
              </a:extLst>
            </p:cNvPr>
            <p:cNvSpPr/>
            <p:nvPr/>
          </p:nvSpPr>
          <p:spPr>
            <a:xfrm>
              <a:off x="3493373" y="3006069"/>
              <a:ext cx="62691" cy="131081"/>
            </a:xfrm>
            <a:custGeom>
              <a:avLst/>
              <a:gdLst>
                <a:gd name="connsiteX0" fmla="*/ 0 w 62691"/>
                <a:gd name="connsiteY0" fmla="*/ 0 h 131081"/>
                <a:gd name="connsiteX1" fmla="*/ 56992 w 62691"/>
                <a:gd name="connsiteY1" fmla="*/ 131082 h 131081"/>
                <a:gd name="connsiteX2" fmla="*/ 62691 w 62691"/>
                <a:gd name="connsiteY2" fmla="*/ 51293 h 131081"/>
                <a:gd name="connsiteX3" fmla="*/ 0 w 62691"/>
                <a:gd name="connsiteY3" fmla="*/ 0 h 13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91" h="131081">
                  <a:moveTo>
                    <a:pt x="0" y="0"/>
                  </a:moveTo>
                  <a:cubicBezTo>
                    <a:pt x="0" y="0"/>
                    <a:pt x="8549" y="111135"/>
                    <a:pt x="56992" y="131082"/>
                  </a:cubicBezTo>
                  <a:lnTo>
                    <a:pt x="62691" y="512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998AB08A-179C-4940-AB3F-D16D77911919}"/>
                </a:ext>
              </a:extLst>
            </p:cNvPr>
            <p:cNvSpPr/>
            <p:nvPr/>
          </p:nvSpPr>
          <p:spPr>
            <a:xfrm>
              <a:off x="3830215" y="2829393"/>
              <a:ext cx="96919" cy="222249"/>
            </a:xfrm>
            <a:custGeom>
              <a:avLst/>
              <a:gdLst>
                <a:gd name="connsiteX0" fmla="*/ 93448 w 96919"/>
                <a:gd name="connsiteY0" fmla="*/ 0 h 222249"/>
                <a:gd name="connsiteX1" fmla="*/ 45005 w 96919"/>
                <a:gd name="connsiteY1" fmla="*/ 219420 h 222249"/>
                <a:gd name="connsiteX2" fmla="*/ 2261 w 96919"/>
                <a:gd name="connsiteY2" fmla="*/ 11398 h 222249"/>
                <a:gd name="connsiteX3" fmla="*/ 93448 w 96919"/>
                <a:gd name="connsiteY3" fmla="*/ 0 h 222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919" h="222249">
                  <a:moveTo>
                    <a:pt x="93448" y="0"/>
                  </a:moveTo>
                  <a:cubicBezTo>
                    <a:pt x="93448" y="0"/>
                    <a:pt x="116245" y="182375"/>
                    <a:pt x="45005" y="219420"/>
                  </a:cubicBezTo>
                  <a:cubicBezTo>
                    <a:pt x="-14837" y="250765"/>
                    <a:pt x="2261" y="11398"/>
                    <a:pt x="2261" y="11398"/>
                  </a:cubicBezTo>
                  <a:lnTo>
                    <a:pt x="93448" y="0"/>
                  </a:lnTo>
                  <a:close/>
                </a:path>
              </a:pathLst>
            </a:custGeom>
            <a:solidFill>
              <a:srgbClr val="664241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4D1D767B-F4AA-4BEF-9F78-D78AE7607247}"/>
                </a:ext>
              </a:extLst>
            </p:cNvPr>
            <p:cNvSpPr/>
            <p:nvPr/>
          </p:nvSpPr>
          <p:spPr>
            <a:xfrm>
              <a:off x="3499073" y="2689552"/>
              <a:ext cx="391943" cy="533228"/>
            </a:xfrm>
            <a:custGeom>
              <a:avLst/>
              <a:gdLst>
                <a:gd name="connsiteX0" fmla="*/ 387546 w 391943"/>
                <a:gd name="connsiteY0" fmla="*/ 179736 h 533228"/>
                <a:gd name="connsiteX1" fmla="*/ 378997 w 391943"/>
                <a:gd name="connsiteY1" fmla="*/ 413403 h 533228"/>
                <a:gd name="connsiteX2" fmla="*/ 225119 w 391943"/>
                <a:gd name="connsiteY2" fmla="*/ 533087 h 533228"/>
                <a:gd name="connsiteX3" fmla="*/ 28496 w 391943"/>
                <a:gd name="connsiteY3" fmla="*/ 390607 h 533228"/>
                <a:gd name="connsiteX4" fmla="*/ 0 w 391943"/>
                <a:gd name="connsiteY4" fmla="*/ 179736 h 533228"/>
                <a:gd name="connsiteX5" fmla="*/ 205171 w 391943"/>
                <a:gd name="connsiteY5" fmla="*/ 211 h 533228"/>
                <a:gd name="connsiteX6" fmla="*/ 387546 w 391943"/>
                <a:gd name="connsiteY6" fmla="*/ 179736 h 533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1943" h="533228">
                  <a:moveTo>
                    <a:pt x="387546" y="179736"/>
                  </a:moveTo>
                  <a:cubicBezTo>
                    <a:pt x="387546" y="179736"/>
                    <a:pt x="401794" y="345013"/>
                    <a:pt x="378997" y="413403"/>
                  </a:cubicBezTo>
                  <a:cubicBezTo>
                    <a:pt x="359050" y="473245"/>
                    <a:pt x="273562" y="533087"/>
                    <a:pt x="225119" y="533087"/>
                  </a:cubicBezTo>
                  <a:cubicBezTo>
                    <a:pt x="162427" y="535936"/>
                    <a:pt x="54142" y="496042"/>
                    <a:pt x="28496" y="390607"/>
                  </a:cubicBezTo>
                  <a:cubicBezTo>
                    <a:pt x="11398" y="322216"/>
                    <a:pt x="0" y="228179"/>
                    <a:pt x="0" y="179736"/>
                  </a:cubicBezTo>
                  <a:cubicBezTo>
                    <a:pt x="5699" y="91398"/>
                    <a:pt x="31346" y="17308"/>
                    <a:pt x="205171" y="211"/>
                  </a:cubicBezTo>
                  <a:cubicBezTo>
                    <a:pt x="284960" y="-5488"/>
                    <a:pt x="370449" y="105646"/>
                    <a:pt x="387546" y="179736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D243C89A-8BED-44A4-ADE4-8B839585A8E7}"/>
                </a:ext>
              </a:extLst>
            </p:cNvPr>
            <p:cNvSpPr/>
            <p:nvPr/>
          </p:nvSpPr>
          <p:spPr>
            <a:xfrm>
              <a:off x="3705913" y="2943377"/>
              <a:ext cx="55322" cy="125382"/>
            </a:xfrm>
            <a:custGeom>
              <a:avLst/>
              <a:gdLst>
                <a:gd name="connsiteX0" fmla="*/ 29676 w 55322"/>
                <a:gd name="connsiteY0" fmla="*/ 125383 h 125382"/>
                <a:gd name="connsiteX1" fmla="*/ 4030 w 55322"/>
                <a:gd name="connsiteY1" fmla="*/ 122533 h 125382"/>
                <a:gd name="connsiteX2" fmla="*/ 1180 w 55322"/>
                <a:gd name="connsiteY2" fmla="*/ 116834 h 125382"/>
                <a:gd name="connsiteX3" fmla="*/ 6880 w 55322"/>
                <a:gd name="connsiteY3" fmla="*/ 113984 h 125382"/>
                <a:gd name="connsiteX4" fmla="*/ 43924 w 55322"/>
                <a:gd name="connsiteY4" fmla="*/ 113984 h 125382"/>
                <a:gd name="connsiteX5" fmla="*/ 43924 w 55322"/>
                <a:gd name="connsiteY5" fmla="*/ 111135 h 125382"/>
                <a:gd name="connsiteX6" fmla="*/ 32526 w 55322"/>
                <a:gd name="connsiteY6" fmla="*/ 5699 h 125382"/>
                <a:gd name="connsiteX7" fmla="*/ 38225 w 55322"/>
                <a:gd name="connsiteY7" fmla="*/ 0 h 125382"/>
                <a:gd name="connsiteX8" fmla="*/ 43924 w 55322"/>
                <a:gd name="connsiteY8" fmla="*/ 5699 h 125382"/>
                <a:gd name="connsiteX9" fmla="*/ 55323 w 55322"/>
                <a:gd name="connsiteY9" fmla="*/ 111135 h 125382"/>
                <a:gd name="connsiteX10" fmla="*/ 49624 w 55322"/>
                <a:gd name="connsiteY10" fmla="*/ 122533 h 125382"/>
                <a:gd name="connsiteX11" fmla="*/ 29676 w 55322"/>
                <a:gd name="connsiteY11" fmla="*/ 125383 h 125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322" h="125382">
                  <a:moveTo>
                    <a:pt x="29676" y="125383"/>
                  </a:moveTo>
                  <a:cubicBezTo>
                    <a:pt x="18278" y="125383"/>
                    <a:pt x="6880" y="122533"/>
                    <a:pt x="4030" y="122533"/>
                  </a:cubicBezTo>
                  <a:cubicBezTo>
                    <a:pt x="1180" y="122533"/>
                    <a:pt x="-1669" y="119683"/>
                    <a:pt x="1180" y="116834"/>
                  </a:cubicBezTo>
                  <a:cubicBezTo>
                    <a:pt x="1180" y="113984"/>
                    <a:pt x="4030" y="111135"/>
                    <a:pt x="6880" y="113984"/>
                  </a:cubicBezTo>
                  <a:cubicBezTo>
                    <a:pt x="18278" y="116834"/>
                    <a:pt x="38225" y="119683"/>
                    <a:pt x="43924" y="113984"/>
                  </a:cubicBezTo>
                  <a:cubicBezTo>
                    <a:pt x="43924" y="113984"/>
                    <a:pt x="43924" y="111135"/>
                    <a:pt x="43924" y="111135"/>
                  </a:cubicBezTo>
                  <a:cubicBezTo>
                    <a:pt x="43924" y="94037"/>
                    <a:pt x="32526" y="5699"/>
                    <a:pt x="32526" y="5699"/>
                  </a:cubicBezTo>
                  <a:cubicBezTo>
                    <a:pt x="32526" y="2850"/>
                    <a:pt x="35376" y="0"/>
                    <a:pt x="38225" y="0"/>
                  </a:cubicBezTo>
                  <a:cubicBezTo>
                    <a:pt x="41075" y="0"/>
                    <a:pt x="43924" y="2850"/>
                    <a:pt x="43924" y="5699"/>
                  </a:cubicBezTo>
                  <a:cubicBezTo>
                    <a:pt x="43924" y="8549"/>
                    <a:pt x="55323" y="94037"/>
                    <a:pt x="55323" y="111135"/>
                  </a:cubicBezTo>
                  <a:cubicBezTo>
                    <a:pt x="55323" y="116834"/>
                    <a:pt x="52473" y="119683"/>
                    <a:pt x="49624" y="122533"/>
                  </a:cubicBezTo>
                  <a:cubicBezTo>
                    <a:pt x="43924" y="122533"/>
                    <a:pt x="35376" y="125383"/>
                    <a:pt x="29676" y="125383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A6750DEC-23A1-412F-8F72-AEB86C52310C}"/>
                </a:ext>
              </a:extLst>
            </p:cNvPr>
            <p:cNvSpPr/>
            <p:nvPr/>
          </p:nvSpPr>
          <p:spPr>
            <a:xfrm>
              <a:off x="3675748" y="3111504"/>
              <a:ext cx="99736" cy="51407"/>
            </a:xfrm>
            <a:custGeom>
              <a:avLst/>
              <a:gdLst>
                <a:gd name="connsiteX0" fmla="*/ 99736 w 99736"/>
                <a:gd name="connsiteY0" fmla="*/ 2850 h 51407"/>
                <a:gd name="connsiteX1" fmla="*/ 0 w 99736"/>
                <a:gd name="connsiteY1" fmla="*/ 0 h 51407"/>
                <a:gd name="connsiteX2" fmla="*/ 48443 w 99736"/>
                <a:gd name="connsiteY2" fmla="*/ 51293 h 51407"/>
                <a:gd name="connsiteX3" fmla="*/ 99736 w 99736"/>
                <a:gd name="connsiteY3" fmla="*/ 2850 h 5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736" h="51407">
                  <a:moveTo>
                    <a:pt x="99736" y="2850"/>
                  </a:moveTo>
                  <a:cubicBezTo>
                    <a:pt x="99736" y="2850"/>
                    <a:pt x="48443" y="14248"/>
                    <a:pt x="0" y="0"/>
                  </a:cubicBezTo>
                  <a:cubicBezTo>
                    <a:pt x="0" y="0"/>
                    <a:pt x="0" y="48443"/>
                    <a:pt x="48443" y="51293"/>
                  </a:cubicBezTo>
                  <a:cubicBezTo>
                    <a:pt x="85488" y="54142"/>
                    <a:pt x="99736" y="2850"/>
                    <a:pt x="99736" y="2850"/>
                  </a:cubicBezTo>
                  <a:close/>
                </a:path>
              </a:pathLst>
            </a:custGeom>
            <a:solidFill>
              <a:srgbClr val="FFFFFF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4A4B89B2-B38E-4F9E-9D79-F5451689CF03}"/>
                </a:ext>
              </a:extLst>
            </p:cNvPr>
            <p:cNvSpPr/>
            <p:nvPr/>
          </p:nvSpPr>
          <p:spPr>
            <a:xfrm>
              <a:off x="3792582" y="2919854"/>
              <a:ext cx="37770" cy="38497"/>
            </a:xfrm>
            <a:custGeom>
              <a:avLst/>
              <a:gdLst>
                <a:gd name="connsiteX0" fmla="*/ 0 w 37770"/>
                <a:gd name="connsiteY0" fmla="*/ 23523 h 38497"/>
                <a:gd name="connsiteX1" fmla="*/ 22797 w 37770"/>
                <a:gd name="connsiteY1" fmla="*/ 37771 h 38497"/>
                <a:gd name="connsiteX2" fmla="*/ 37045 w 37770"/>
                <a:gd name="connsiteY2" fmla="*/ 14974 h 38497"/>
                <a:gd name="connsiteX3" fmla="*/ 14248 w 37770"/>
                <a:gd name="connsiteY3" fmla="*/ 726 h 38497"/>
                <a:gd name="connsiteX4" fmla="*/ 0 w 37770"/>
                <a:gd name="connsiteY4" fmla="*/ 23523 h 3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770" h="38497">
                  <a:moveTo>
                    <a:pt x="0" y="23523"/>
                  </a:moveTo>
                  <a:cubicBezTo>
                    <a:pt x="2850" y="34921"/>
                    <a:pt x="11398" y="40621"/>
                    <a:pt x="22797" y="37771"/>
                  </a:cubicBezTo>
                  <a:cubicBezTo>
                    <a:pt x="34195" y="34921"/>
                    <a:pt x="39894" y="26373"/>
                    <a:pt x="37045" y="14974"/>
                  </a:cubicBezTo>
                  <a:cubicBezTo>
                    <a:pt x="34195" y="3576"/>
                    <a:pt x="25646" y="-2123"/>
                    <a:pt x="14248" y="726"/>
                  </a:cubicBezTo>
                  <a:cubicBezTo>
                    <a:pt x="5699" y="3576"/>
                    <a:pt x="0" y="12125"/>
                    <a:pt x="0" y="23523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CDB9F88-C041-4D95-825E-3CDF9A629830}"/>
                </a:ext>
              </a:extLst>
            </p:cNvPr>
            <p:cNvSpPr/>
            <p:nvPr/>
          </p:nvSpPr>
          <p:spPr>
            <a:xfrm>
              <a:off x="3621047" y="2931253"/>
              <a:ext cx="38329" cy="38497"/>
            </a:xfrm>
            <a:custGeom>
              <a:avLst/>
              <a:gdLst>
                <a:gd name="connsiteX0" fmla="*/ 559 w 38329"/>
                <a:gd name="connsiteY0" fmla="*/ 23523 h 38497"/>
                <a:gd name="connsiteX1" fmla="*/ 23356 w 38329"/>
                <a:gd name="connsiteY1" fmla="*/ 37771 h 38497"/>
                <a:gd name="connsiteX2" fmla="*/ 37604 w 38329"/>
                <a:gd name="connsiteY2" fmla="*/ 14974 h 38497"/>
                <a:gd name="connsiteX3" fmla="*/ 14807 w 38329"/>
                <a:gd name="connsiteY3" fmla="*/ 726 h 38497"/>
                <a:gd name="connsiteX4" fmla="*/ 559 w 38329"/>
                <a:gd name="connsiteY4" fmla="*/ 23523 h 3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29" h="38497">
                  <a:moveTo>
                    <a:pt x="559" y="23523"/>
                  </a:moveTo>
                  <a:cubicBezTo>
                    <a:pt x="3409" y="34921"/>
                    <a:pt x="11957" y="40621"/>
                    <a:pt x="23356" y="37771"/>
                  </a:cubicBezTo>
                  <a:cubicBezTo>
                    <a:pt x="34754" y="34921"/>
                    <a:pt x="40453" y="26373"/>
                    <a:pt x="37604" y="14974"/>
                  </a:cubicBezTo>
                  <a:cubicBezTo>
                    <a:pt x="34754" y="3576"/>
                    <a:pt x="26205" y="-2123"/>
                    <a:pt x="14807" y="726"/>
                  </a:cubicBezTo>
                  <a:cubicBezTo>
                    <a:pt x="6258" y="3576"/>
                    <a:pt x="-2291" y="12125"/>
                    <a:pt x="559" y="23523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4E068C44-12FA-4F4C-8274-31BE017B3548}"/>
                </a:ext>
              </a:extLst>
            </p:cNvPr>
            <p:cNvSpPr/>
            <p:nvPr/>
          </p:nvSpPr>
          <p:spPr>
            <a:xfrm>
              <a:off x="3768605" y="2875322"/>
              <a:ext cx="85956" cy="31010"/>
            </a:xfrm>
            <a:custGeom>
              <a:avLst/>
              <a:gdLst>
                <a:gd name="connsiteX0" fmla="*/ 78120 w 85956"/>
                <a:gd name="connsiteY0" fmla="*/ 31010 h 31010"/>
                <a:gd name="connsiteX1" fmla="*/ 72420 w 85956"/>
                <a:gd name="connsiteY1" fmla="*/ 28161 h 31010"/>
                <a:gd name="connsiteX2" fmla="*/ 9729 w 85956"/>
                <a:gd name="connsiteY2" fmla="*/ 19612 h 31010"/>
                <a:gd name="connsiteX3" fmla="*/ 1180 w 85956"/>
                <a:gd name="connsiteY3" fmla="*/ 16762 h 31010"/>
                <a:gd name="connsiteX4" fmla="*/ 4030 w 85956"/>
                <a:gd name="connsiteY4" fmla="*/ 8213 h 31010"/>
                <a:gd name="connsiteX5" fmla="*/ 83819 w 85956"/>
                <a:gd name="connsiteY5" fmla="*/ 19612 h 31010"/>
                <a:gd name="connsiteX6" fmla="*/ 83819 w 85956"/>
                <a:gd name="connsiteY6" fmla="*/ 31010 h 31010"/>
                <a:gd name="connsiteX7" fmla="*/ 78120 w 85956"/>
                <a:gd name="connsiteY7" fmla="*/ 31010 h 31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6" h="31010">
                  <a:moveTo>
                    <a:pt x="78120" y="31010"/>
                  </a:moveTo>
                  <a:cubicBezTo>
                    <a:pt x="75270" y="31010"/>
                    <a:pt x="75270" y="31010"/>
                    <a:pt x="72420" y="28161"/>
                  </a:cubicBezTo>
                  <a:cubicBezTo>
                    <a:pt x="49624" y="2514"/>
                    <a:pt x="12579" y="19612"/>
                    <a:pt x="9729" y="19612"/>
                  </a:cubicBezTo>
                  <a:cubicBezTo>
                    <a:pt x="6879" y="22461"/>
                    <a:pt x="1180" y="19612"/>
                    <a:pt x="1180" y="16762"/>
                  </a:cubicBezTo>
                  <a:cubicBezTo>
                    <a:pt x="-1669" y="13913"/>
                    <a:pt x="1180" y="8213"/>
                    <a:pt x="4030" y="8213"/>
                  </a:cubicBezTo>
                  <a:cubicBezTo>
                    <a:pt x="21128" y="-335"/>
                    <a:pt x="58172" y="-8884"/>
                    <a:pt x="83819" y="19612"/>
                  </a:cubicBezTo>
                  <a:cubicBezTo>
                    <a:pt x="86669" y="22461"/>
                    <a:pt x="86669" y="28161"/>
                    <a:pt x="83819" y="31010"/>
                  </a:cubicBezTo>
                  <a:cubicBezTo>
                    <a:pt x="83819" y="31010"/>
                    <a:pt x="80969" y="31010"/>
                    <a:pt x="78120" y="31010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E0068309-12AC-4CAF-A1E1-CAEB7ADF1DCC}"/>
                </a:ext>
              </a:extLst>
            </p:cNvPr>
            <p:cNvSpPr/>
            <p:nvPr/>
          </p:nvSpPr>
          <p:spPr>
            <a:xfrm>
              <a:off x="3590972" y="2869449"/>
              <a:ext cx="84775" cy="31184"/>
            </a:xfrm>
            <a:custGeom>
              <a:avLst/>
              <a:gdLst>
                <a:gd name="connsiteX0" fmla="*/ 7836 w 84775"/>
                <a:gd name="connsiteY0" fmla="*/ 31184 h 31184"/>
                <a:gd name="connsiteX1" fmla="*/ 2137 w 84775"/>
                <a:gd name="connsiteY1" fmla="*/ 28335 h 31184"/>
                <a:gd name="connsiteX2" fmla="*/ 2137 w 84775"/>
                <a:gd name="connsiteY2" fmla="*/ 16936 h 31184"/>
                <a:gd name="connsiteX3" fmla="*/ 81926 w 84775"/>
                <a:gd name="connsiteY3" fmla="*/ 11237 h 31184"/>
                <a:gd name="connsiteX4" fmla="*/ 84776 w 84775"/>
                <a:gd name="connsiteY4" fmla="*/ 22635 h 31184"/>
                <a:gd name="connsiteX5" fmla="*/ 73377 w 84775"/>
                <a:gd name="connsiteY5" fmla="*/ 25485 h 31184"/>
                <a:gd name="connsiteX6" fmla="*/ 10686 w 84775"/>
                <a:gd name="connsiteY6" fmla="*/ 28335 h 31184"/>
                <a:gd name="connsiteX7" fmla="*/ 7836 w 84775"/>
                <a:gd name="connsiteY7" fmla="*/ 31184 h 3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775" h="31184">
                  <a:moveTo>
                    <a:pt x="7836" y="31184"/>
                  </a:moveTo>
                  <a:cubicBezTo>
                    <a:pt x="4987" y="31184"/>
                    <a:pt x="4987" y="31184"/>
                    <a:pt x="2137" y="28335"/>
                  </a:cubicBezTo>
                  <a:cubicBezTo>
                    <a:pt x="-712" y="25485"/>
                    <a:pt x="-712" y="19786"/>
                    <a:pt x="2137" y="16936"/>
                  </a:cubicBezTo>
                  <a:cubicBezTo>
                    <a:pt x="16385" y="5538"/>
                    <a:pt x="47731" y="-11560"/>
                    <a:pt x="81926" y="11237"/>
                  </a:cubicBezTo>
                  <a:cubicBezTo>
                    <a:pt x="84776" y="14086"/>
                    <a:pt x="84776" y="16936"/>
                    <a:pt x="84776" y="22635"/>
                  </a:cubicBezTo>
                  <a:cubicBezTo>
                    <a:pt x="81926" y="25485"/>
                    <a:pt x="79077" y="25485"/>
                    <a:pt x="73377" y="25485"/>
                  </a:cubicBezTo>
                  <a:cubicBezTo>
                    <a:pt x="42032" y="2688"/>
                    <a:pt x="13536" y="28335"/>
                    <a:pt x="10686" y="28335"/>
                  </a:cubicBezTo>
                  <a:cubicBezTo>
                    <a:pt x="10686" y="31184"/>
                    <a:pt x="10686" y="31184"/>
                    <a:pt x="7836" y="31184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08B7F252-2D0A-49EB-BAF3-A6A009F269A0}"/>
                </a:ext>
              </a:extLst>
            </p:cNvPr>
            <p:cNvSpPr/>
            <p:nvPr/>
          </p:nvSpPr>
          <p:spPr>
            <a:xfrm>
              <a:off x="3576012" y="3162797"/>
              <a:ext cx="212137" cy="65540"/>
            </a:xfrm>
            <a:custGeom>
              <a:avLst/>
              <a:gdLst>
                <a:gd name="connsiteX0" fmla="*/ 139631 w 212137"/>
                <a:gd name="connsiteY0" fmla="*/ 65541 h 65540"/>
                <a:gd name="connsiteX1" fmla="*/ 136781 w 212137"/>
                <a:gd name="connsiteY1" fmla="*/ 65541 h 65540"/>
                <a:gd name="connsiteX2" fmla="*/ 2850 w 212137"/>
                <a:gd name="connsiteY2" fmla="*/ 11398 h 65540"/>
                <a:gd name="connsiteX3" fmla="*/ 0 w 212137"/>
                <a:gd name="connsiteY3" fmla="*/ 2850 h 65540"/>
                <a:gd name="connsiteX4" fmla="*/ 8549 w 212137"/>
                <a:gd name="connsiteY4" fmla="*/ 0 h 65540"/>
                <a:gd name="connsiteX5" fmla="*/ 136781 w 212137"/>
                <a:gd name="connsiteY5" fmla="*/ 51293 h 65540"/>
                <a:gd name="connsiteX6" fmla="*/ 139631 w 212137"/>
                <a:gd name="connsiteY6" fmla="*/ 51293 h 65540"/>
                <a:gd name="connsiteX7" fmla="*/ 202322 w 212137"/>
                <a:gd name="connsiteY7" fmla="*/ 31346 h 65540"/>
                <a:gd name="connsiteX8" fmla="*/ 210871 w 212137"/>
                <a:gd name="connsiteY8" fmla="*/ 31346 h 65540"/>
                <a:gd name="connsiteX9" fmla="*/ 210871 w 212137"/>
                <a:gd name="connsiteY9" fmla="*/ 39895 h 65540"/>
                <a:gd name="connsiteX10" fmla="*/ 139631 w 212137"/>
                <a:gd name="connsiteY10" fmla="*/ 65541 h 6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2137" h="65540">
                  <a:moveTo>
                    <a:pt x="139631" y="65541"/>
                  </a:moveTo>
                  <a:cubicBezTo>
                    <a:pt x="139631" y="65541"/>
                    <a:pt x="136781" y="65541"/>
                    <a:pt x="136781" y="65541"/>
                  </a:cubicBezTo>
                  <a:cubicBezTo>
                    <a:pt x="88338" y="62691"/>
                    <a:pt x="5699" y="14248"/>
                    <a:pt x="2850" y="11398"/>
                  </a:cubicBezTo>
                  <a:cubicBezTo>
                    <a:pt x="0" y="8549"/>
                    <a:pt x="0" y="5699"/>
                    <a:pt x="0" y="2850"/>
                  </a:cubicBezTo>
                  <a:cubicBezTo>
                    <a:pt x="2850" y="0"/>
                    <a:pt x="5699" y="0"/>
                    <a:pt x="8549" y="0"/>
                  </a:cubicBezTo>
                  <a:cubicBezTo>
                    <a:pt x="8549" y="0"/>
                    <a:pt x="91187" y="51293"/>
                    <a:pt x="136781" y="51293"/>
                  </a:cubicBezTo>
                  <a:cubicBezTo>
                    <a:pt x="136781" y="51293"/>
                    <a:pt x="139631" y="51293"/>
                    <a:pt x="139631" y="51293"/>
                  </a:cubicBezTo>
                  <a:cubicBezTo>
                    <a:pt x="173826" y="51293"/>
                    <a:pt x="202322" y="31346"/>
                    <a:pt x="202322" y="31346"/>
                  </a:cubicBezTo>
                  <a:cubicBezTo>
                    <a:pt x="205172" y="28496"/>
                    <a:pt x="208021" y="31346"/>
                    <a:pt x="210871" y="31346"/>
                  </a:cubicBezTo>
                  <a:cubicBezTo>
                    <a:pt x="213720" y="34195"/>
                    <a:pt x="210871" y="37045"/>
                    <a:pt x="210871" y="39895"/>
                  </a:cubicBezTo>
                  <a:cubicBezTo>
                    <a:pt x="208021" y="42744"/>
                    <a:pt x="179525" y="65541"/>
                    <a:pt x="139631" y="65541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49891637-ADBE-40F0-808C-EC1F823FF68E}"/>
                </a:ext>
              </a:extLst>
            </p:cNvPr>
            <p:cNvSpPr/>
            <p:nvPr/>
          </p:nvSpPr>
          <p:spPr>
            <a:xfrm>
              <a:off x="3466667" y="2706860"/>
              <a:ext cx="103645" cy="250765"/>
            </a:xfrm>
            <a:custGeom>
              <a:avLst/>
              <a:gdLst>
                <a:gd name="connsiteX0" fmla="*/ 103646 w 103645"/>
                <a:gd name="connsiteY0" fmla="*/ 119683 h 250765"/>
                <a:gd name="connsiteX1" fmla="*/ 52353 w 103645"/>
                <a:gd name="connsiteY1" fmla="*/ 250765 h 250765"/>
                <a:gd name="connsiteX2" fmla="*/ 3909 w 103645"/>
                <a:gd name="connsiteY2" fmla="*/ 153879 h 250765"/>
                <a:gd name="connsiteX3" fmla="*/ 66601 w 103645"/>
                <a:gd name="connsiteY3" fmla="*/ 0 h 250765"/>
                <a:gd name="connsiteX4" fmla="*/ 103646 w 103645"/>
                <a:gd name="connsiteY4" fmla="*/ 119683 h 250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645" h="250765">
                  <a:moveTo>
                    <a:pt x="103646" y="119683"/>
                  </a:moveTo>
                  <a:cubicBezTo>
                    <a:pt x="103646" y="119683"/>
                    <a:pt x="46654" y="219420"/>
                    <a:pt x="52353" y="250765"/>
                  </a:cubicBezTo>
                  <a:cubicBezTo>
                    <a:pt x="52353" y="250765"/>
                    <a:pt x="15308" y="208021"/>
                    <a:pt x="3909" y="153879"/>
                  </a:cubicBezTo>
                  <a:cubicBezTo>
                    <a:pt x="-7489" y="96887"/>
                    <a:pt x="3909" y="11398"/>
                    <a:pt x="66601" y="0"/>
                  </a:cubicBezTo>
                  <a:cubicBezTo>
                    <a:pt x="63751" y="0"/>
                    <a:pt x="66601" y="102586"/>
                    <a:pt x="103646" y="119683"/>
                  </a:cubicBezTo>
                  <a:close/>
                </a:path>
              </a:pathLst>
            </a:custGeom>
            <a:solidFill>
              <a:srgbClr val="664241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FEC484B2-79E2-4884-A0D7-E9B34072850B}"/>
                </a:ext>
              </a:extLst>
            </p:cNvPr>
            <p:cNvSpPr/>
            <p:nvPr/>
          </p:nvSpPr>
          <p:spPr>
            <a:xfrm>
              <a:off x="3518588" y="2607604"/>
              <a:ext cx="407212" cy="335773"/>
            </a:xfrm>
            <a:custGeom>
              <a:avLst/>
              <a:gdLst>
                <a:gd name="connsiteX0" fmla="*/ 51724 w 407212"/>
                <a:gd name="connsiteY0" fmla="*/ 218940 h 335773"/>
                <a:gd name="connsiteX1" fmla="*/ 168558 w 407212"/>
                <a:gd name="connsiteY1" fmla="*/ 187594 h 335773"/>
                <a:gd name="connsiteX2" fmla="*/ 387978 w 407212"/>
                <a:gd name="connsiteY2" fmla="*/ 335773 h 335773"/>
                <a:gd name="connsiteX3" fmla="*/ 399376 w 407212"/>
                <a:gd name="connsiteY3" fmla="*/ 179045 h 335773"/>
                <a:gd name="connsiteX4" fmla="*/ 319587 w 407212"/>
                <a:gd name="connsiteY4" fmla="*/ 36565 h 335773"/>
                <a:gd name="connsiteX5" fmla="*/ 131513 w 407212"/>
                <a:gd name="connsiteY5" fmla="*/ 13768 h 335773"/>
                <a:gd name="connsiteX6" fmla="*/ 14679 w 407212"/>
                <a:gd name="connsiteY6" fmla="*/ 99256 h 335773"/>
                <a:gd name="connsiteX7" fmla="*/ 51724 w 407212"/>
                <a:gd name="connsiteY7" fmla="*/ 218940 h 335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7212" h="335773">
                  <a:moveTo>
                    <a:pt x="51724" y="218940"/>
                  </a:moveTo>
                  <a:cubicBezTo>
                    <a:pt x="51724" y="218940"/>
                    <a:pt x="142912" y="187594"/>
                    <a:pt x="168558" y="187594"/>
                  </a:cubicBezTo>
                  <a:cubicBezTo>
                    <a:pt x="262595" y="196143"/>
                    <a:pt x="405075" y="267383"/>
                    <a:pt x="387978" y="335773"/>
                  </a:cubicBezTo>
                  <a:cubicBezTo>
                    <a:pt x="387978" y="335773"/>
                    <a:pt x="422173" y="241736"/>
                    <a:pt x="399376" y="179045"/>
                  </a:cubicBezTo>
                  <a:cubicBezTo>
                    <a:pt x="399376" y="179045"/>
                    <a:pt x="405075" y="62211"/>
                    <a:pt x="319587" y="36565"/>
                  </a:cubicBezTo>
                  <a:cubicBezTo>
                    <a:pt x="234099" y="10918"/>
                    <a:pt x="199904" y="-17578"/>
                    <a:pt x="131513" y="13768"/>
                  </a:cubicBezTo>
                  <a:cubicBezTo>
                    <a:pt x="63123" y="45114"/>
                    <a:pt x="20379" y="65061"/>
                    <a:pt x="14679" y="99256"/>
                  </a:cubicBezTo>
                  <a:cubicBezTo>
                    <a:pt x="11830" y="99256"/>
                    <a:pt x="-33764" y="204692"/>
                    <a:pt x="51724" y="218940"/>
                  </a:cubicBezTo>
                  <a:close/>
                </a:path>
              </a:pathLst>
            </a:custGeom>
            <a:solidFill>
              <a:srgbClr val="664241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B6390723-A85D-4768-912D-21BE52FFD005}"/>
                </a:ext>
              </a:extLst>
            </p:cNvPr>
            <p:cNvSpPr/>
            <p:nvPr/>
          </p:nvSpPr>
          <p:spPr>
            <a:xfrm>
              <a:off x="3459252" y="2923666"/>
              <a:ext cx="73216" cy="105638"/>
            </a:xfrm>
            <a:custGeom>
              <a:avLst/>
              <a:gdLst>
                <a:gd name="connsiteX0" fmla="*/ 62618 w 73216"/>
                <a:gd name="connsiteY0" fmla="*/ 16862 h 105638"/>
                <a:gd name="connsiteX1" fmla="*/ 8475 w 73216"/>
                <a:gd name="connsiteY1" fmla="*/ 5463 h 105638"/>
                <a:gd name="connsiteX2" fmla="*/ 59768 w 73216"/>
                <a:gd name="connsiteY2" fmla="*/ 102350 h 105638"/>
                <a:gd name="connsiteX3" fmla="*/ 62618 w 73216"/>
                <a:gd name="connsiteY3" fmla="*/ 16862 h 105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216" h="105638">
                  <a:moveTo>
                    <a:pt x="62618" y="16862"/>
                  </a:moveTo>
                  <a:cubicBezTo>
                    <a:pt x="62618" y="16862"/>
                    <a:pt x="31272" y="-11634"/>
                    <a:pt x="8475" y="5463"/>
                  </a:cubicBezTo>
                  <a:cubicBezTo>
                    <a:pt x="-17171" y="22561"/>
                    <a:pt x="19873" y="125147"/>
                    <a:pt x="59768" y="102350"/>
                  </a:cubicBezTo>
                  <a:cubicBezTo>
                    <a:pt x="88264" y="88102"/>
                    <a:pt x="62618" y="16862"/>
                    <a:pt x="62618" y="16862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B722C04F-3E1A-445B-A773-266C367027A8}"/>
                </a:ext>
              </a:extLst>
            </p:cNvPr>
            <p:cNvSpPr/>
            <p:nvPr/>
          </p:nvSpPr>
          <p:spPr>
            <a:xfrm>
              <a:off x="3512608" y="2721108"/>
              <a:ext cx="69102" cy="225118"/>
            </a:xfrm>
            <a:custGeom>
              <a:avLst/>
              <a:gdLst>
                <a:gd name="connsiteX0" fmla="*/ 9261 w 69102"/>
                <a:gd name="connsiteY0" fmla="*/ 225119 h 225118"/>
                <a:gd name="connsiteX1" fmla="*/ 9261 w 69102"/>
                <a:gd name="connsiteY1" fmla="*/ 225119 h 225118"/>
                <a:gd name="connsiteX2" fmla="*/ 3562 w 69102"/>
                <a:gd name="connsiteY2" fmla="*/ 219420 h 225118"/>
                <a:gd name="connsiteX3" fmla="*/ 49156 w 69102"/>
                <a:gd name="connsiteY3" fmla="*/ 108285 h 225118"/>
                <a:gd name="connsiteX4" fmla="*/ 6412 w 69102"/>
                <a:gd name="connsiteY4" fmla="*/ 65541 h 225118"/>
                <a:gd name="connsiteX5" fmla="*/ 6412 w 69102"/>
                <a:gd name="connsiteY5" fmla="*/ 2850 h 225118"/>
                <a:gd name="connsiteX6" fmla="*/ 14960 w 69102"/>
                <a:gd name="connsiteY6" fmla="*/ 0 h 225118"/>
                <a:gd name="connsiteX7" fmla="*/ 17810 w 69102"/>
                <a:gd name="connsiteY7" fmla="*/ 8549 h 225118"/>
                <a:gd name="connsiteX8" fmla="*/ 17810 w 69102"/>
                <a:gd name="connsiteY8" fmla="*/ 62691 h 225118"/>
                <a:gd name="connsiteX9" fmla="*/ 60554 w 69102"/>
                <a:gd name="connsiteY9" fmla="*/ 102586 h 225118"/>
                <a:gd name="connsiteX10" fmla="*/ 69103 w 69102"/>
                <a:gd name="connsiteY10" fmla="*/ 105435 h 225118"/>
                <a:gd name="connsiteX11" fmla="*/ 63404 w 69102"/>
                <a:gd name="connsiteY11" fmla="*/ 111135 h 225118"/>
                <a:gd name="connsiteX12" fmla="*/ 14960 w 69102"/>
                <a:gd name="connsiteY12" fmla="*/ 222269 h 225118"/>
                <a:gd name="connsiteX13" fmla="*/ 9261 w 69102"/>
                <a:gd name="connsiteY13" fmla="*/ 225119 h 225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9102" h="225118">
                  <a:moveTo>
                    <a:pt x="9261" y="225119"/>
                  </a:moveTo>
                  <a:cubicBezTo>
                    <a:pt x="9261" y="225119"/>
                    <a:pt x="9261" y="225119"/>
                    <a:pt x="9261" y="225119"/>
                  </a:cubicBezTo>
                  <a:cubicBezTo>
                    <a:pt x="6412" y="225119"/>
                    <a:pt x="3562" y="222269"/>
                    <a:pt x="3562" y="219420"/>
                  </a:cubicBezTo>
                  <a:cubicBezTo>
                    <a:pt x="9261" y="170976"/>
                    <a:pt x="37757" y="125383"/>
                    <a:pt x="49156" y="108285"/>
                  </a:cubicBezTo>
                  <a:cubicBezTo>
                    <a:pt x="37757" y="102586"/>
                    <a:pt x="14960" y="91187"/>
                    <a:pt x="6412" y="65541"/>
                  </a:cubicBezTo>
                  <a:cubicBezTo>
                    <a:pt x="-2137" y="48443"/>
                    <a:pt x="-2137" y="25646"/>
                    <a:pt x="6412" y="2850"/>
                  </a:cubicBezTo>
                  <a:cubicBezTo>
                    <a:pt x="6412" y="0"/>
                    <a:pt x="12111" y="0"/>
                    <a:pt x="14960" y="0"/>
                  </a:cubicBezTo>
                  <a:cubicBezTo>
                    <a:pt x="17810" y="0"/>
                    <a:pt x="20660" y="5699"/>
                    <a:pt x="17810" y="8549"/>
                  </a:cubicBezTo>
                  <a:cubicBezTo>
                    <a:pt x="9261" y="28496"/>
                    <a:pt x="9261" y="45594"/>
                    <a:pt x="17810" y="62691"/>
                  </a:cubicBezTo>
                  <a:cubicBezTo>
                    <a:pt x="29209" y="91187"/>
                    <a:pt x="60554" y="102586"/>
                    <a:pt x="60554" y="102586"/>
                  </a:cubicBezTo>
                  <a:lnTo>
                    <a:pt x="69103" y="105435"/>
                  </a:lnTo>
                  <a:lnTo>
                    <a:pt x="63404" y="111135"/>
                  </a:lnTo>
                  <a:cubicBezTo>
                    <a:pt x="63404" y="111135"/>
                    <a:pt x="23509" y="165277"/>
                    <a:pt x="14960" y="222269"/>
                  </a:cubicBezTo>
                  <a:cubicBezTo>
                    <a:pt x="14960" y="225119"/>
                    <a:pt x="12111" y="225119"/>
                    <a:pt x="9261" y="225119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98269E85-5226-4D30-B3F1-2AB5C0E3CDC7}"/>
                </a:ext>
              </a:extLst>
            </p:cNvPr>
            <p:cNvSpPr/>
            <p:nvPr/>
          </p:nvSpPr>
          <p:spPr>
            <a:xfrm>
              <a:off x="2629943" y="4678786"/>
              <a:ext cx="1625293" cy="2160000"/>
            </a:xfrm>
            <a:custGeom>
              <a:avLst/>
              <a:gdLst>
                <a:gd name="connsiteX0" fmla="*/ 1527388 w 1625293"/>
                <a:gd name="connsiteY0" fmla="*/ 19947 h 2160000"/>
                <a:gd name="connsiteX1" fmla="*/ 1618575 w 1625293"/>
                <a:gd name="connsiteY1" fmla="*/ 1302269 h 2160000"/>
                <a:gd name="connsiteX2" fmla="*/ 1356412 w 1625293"/>
                <a:gd name="connsiteY2" fmla="*/ 2111557 h 2160000"/>
                <a:gd name="connsiteX3" fmla="*/ 1088549 w 1625293"/>
                <a:gd name="connsiteY3" fmla="*/ 2111557 h 2160000"/>
                <a:gd name="connsiteX4" fmla="*/ 1231029 w 1625293"/>
                <a:gd name="connsiteY4" fmla="*/ 1176887 h 2160000"/>
                <a:gd name="connsiteX5" fmla="*/ 1062902 w 1625293"/>
                <a:gd name="connsiteY5" fmla="*/ 470185 h 2160000"/>
                <a:gd name="connsiteX6" fmla="*/ 629763 w 1625293"/>
                <a:gd name="connsiteY6" fmla="*/ 1282322 h 2160000"/>
                <a:gd name="connsiteX7" fmla="*/ 276412 w 1625293"/>
                <a:gd name="connsiteY7" fmla="*/ 2160000 h 2160000"/>
                <a:gd name="connsiteX8" fmla="*/ 0 w 1625293"/>
                <a:gd name="connsiteY8" fmla="*/ 2114406 h 2160000"/>
                <a:gd name="connsiteX9" fmla="*/ 233668 w 1625293"/>
                <a:gd name="connsiteY9" fmla="*/ 1182586 h 2160000"/>
                <a:gd name="connsiteX10" fmla="*/ 575620 w 1625293"/>
                <a:gd name="connsiteY10" fmla="*/ 0 h 2160000"/>
                <a:gd name="connsiteX11" fmla="*/ 1527388 w 1625293"/>
                <a:gd name="connsiteY11" fmla="*/ 19947 h 21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5293" h="2160000">
                  <a:moveTo>
                    <a:pt x="1527388" y="19947"/>
                  </a:moveTo>
                  <a:cubicBezTo>
                    <a:pt x="1527388" y="19947"/>
                    <a:pt x="1655620" y="1205383"/>
                    <a:pt x="1618575" y="1302269"/>
                  </a:cubicBezTo>
                  <a:cubicBezTo>
                    <a:pt x="1584380" y="1402005"/>
                    <a:pt x="1356412" y="2111557"/>
                    <a:pt x="1356412" y="2111557"/>
                  </a:cubicBezTo>
                  <a:lnTo>
                    <a:pt x="1088549" y="2111557"/>
                  </a:lnTo>
                  <a:cubicBezTo>
                    <a:pt x="1088549" y="2111557"/>
                    <a:pt x="1225330" y="1268074"/>
                    <a:pt x="1231029" y="1176887"/>
                  </a:cubicBezTo>
                  <a:cubicBezTo>
                    <a:pt x="1236728" y="1085699"/>
                    <a:pt x="1077150" y="498681"/>
                    <a:pt x="1062902" y="470185"/>
                  </a:cubicBezTo>
                  <a:cubicBezTo>
                    <a:pt x="1048654" y="441689"/>
                    <a:pt x="629763" y="1282322"/>
                    <a:pt x="629763" y="1282322"/>
                  </a:cubicBezTo>
                  <a:lnTo>
                    <a:pt x="276412" y="2160000"/>
                  </a:lnTo>
                  <a:lnTo>
                    <a:pt x="0" y="2114406"/>
                  </a:lnTo>
                  <a:cubicBezTo>
                    <a:pt x="0" y="2114406"/>
                    <a:pt x="185224" y="1370660"/>
                    <a:pt x="233668" y="1182586"/>
                  </a:cubicBezTo>
                  <a:cubicBezTo>
                    <a:pt x="256464" y="1094248"/>
                    <a:pt x="532876" y="91187"/>
                    <a:pt x="575620" y="0"/>
                  </a:cubicBezTo>
                  <a:cubicBezTo>
                    <a:pt x="1225330" y="34195"/>
                    <a:pt x="1527388" y="19947"/>
                    <a:pt x="1527388" y="19947"/>
                  </a:cubicBezTo>
                  <a:close/>
                </a:path>
              </a:pathLst>
            </a:custGeom>
            <a:solidFill>
              <a:srgbClr val="708686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18520C34-5E18-4B48-8013-9B3904E8D055}"/>
                </a:ext>
              </a:extLst>
            </p:cNvPr>
            <p:cNvSpPr/>
            <p:nvPr/>
          </p:nvSpPr>
          <p:spPr>
            <a:xfrm>
              <a:off x="3678598" y="2772216"/>
              <a:ext cx="182815" cy="31530"/>
            </a:xfrm>
            <a:custGeom>
              <a:avLst/>
              <a:gdLst>
                <a:gd name="connsiteX0" fmla="*/ 179525 w 182815"/>
                <a:gd name="connsiteY0" fmla="*/ 31531 h 31530"/>
                <a:gd name="connsiteX1" fmla="*/ 176675 w 182815"/>
                <a:gd name="connsiteY1" fmla="*/ 31531 h 31530"/>
                <a:gd name="connsiteX2" fmla="*/ 8549 w 182815"/>
                <a:gd name="connsiteY2" fmla="*/ 31531 h 31530"/>
                <a:gd name="connsiteX3" fmla="*/ 0 w 182815"/>
                <a:gd name="connsiteY3" fmla="*/ 28681 h 31530"/>
                <a:gd name="connsiteX4" fmla="*/ 2850 w 182815"/>
                <a:gd name="connsiteY4" fmla="*/ 20132 h 31530"/>
                <a:gd name="connsiteX5" fmla="*/ 179525 w 182815"/>
                <a:gd name="connsiteY5" fmla="*/ 22982 h 31530"/>
                <a:gd name="connsiteX6" fmla="*/ 179525 w 182815"/>
                <a:gd name="connsiteY6" fmla="*/ 31531 h 31530"/>
                <a:gd name="connsiteX7" fmla="*/ 179525 w 182815"/>
                <a:gd name="connsiteY7" fmla="*/ 31531 h 31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815" h="31530">
                  <a:moveTo>
                    <a:pt x="179525" y="31531"/>
                  </a:moveTo>
                  <a:cubicBezTo>
                    <a:pt x="179525" y="31531"/>
                    <a:pt x="176675" y="31531"/>
                    <a:pt x="176675" y="31531"/>
                  </a:cubicBezTo>
                  <a:cubicBezTo>
                    <a:pt x="116834" y="-14063"/>
                    <a:pt x="11398" y="28681"/>
                    <a:pt x="8549" y="31531"/>
                  </a:cubicBezTo>
                  <a:cubicBezTo>
                    <a:pt x="5699" y="31531"/>
                    <a:pt x="2850" y="31531"/>
                    <a:pt x="0" y="28681"/>
                  </a:cubicBezTo>
                  <a:cubicBezTo>
                    <a:pt x="0" y="25831"/>
                    <a:pt x="0" y="22982"/>
                    <a:pt x="2850" y="20132"/>
                  </a:cubicBezTo>
                  <a:cubicBezTo>
                    <a:pt x="8549" y="17283"/>
                    <a:pt x="116834" y="-25462"/>
                    <a:pt x="179525" y="22982"/>
                  </a:cubicBezTo>
                  <a:cubicBezTo>
                    <a:pt x="182375" y="25831"/>
                    <a:pt x="182375" y="28681"/>
                    <a:pt x="179525" y="31531"/>
                  </a:cubicBezTo>
                  <a:cubicBezTo>
                    <a:pt x="185224" y="31531"/>
                    <a:pt x="182375" y="31531"/>
                    <a:pt x="179525" y="31531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626B3F7D-B7E1-44B9-930A-1F24ECB40269}"/>
                </a:ext>
              </a:extLst>
            </p:cNvPr>
            <p:cNvSpPr/>
            <p:nvPr/>
          </p:nvSpPr>
          <p:spPr>
            <a:xfrm>
              <a:off x="3177067" y="3271082"/>
              <a:ext cx="1000974" cy="1464524"/>
            </a:xfrm>
            <a:custGeom>
              <a:avLst/>
              <a:gdLst>
                <a:gd name="connsiteX0" fmla="*/ 370449 w 1000974"/>
                <a:gd name="connsiteY0" fmla="*/ 0 h 1464524"/>
                <a:gd name="connsiteX1" fmla="*/ 641161 w 1000974"/>
                <a:gd name="connsiteY1" fmla="*/ 0 h 1464524"/>
                <a:gd name="connsiteX2" fmla="*/ 920422 w 1000974"/>
                <a:gd name="connsiteY2" fmla="*/ 122533 h 1464524"/>
                <a:gd name="connsiteX3" fmla="*/ 1000211 w 1000974"/>
                <a:gd name="connsiteY3" fmla="*/ 1436201 h 1464524"/>
                <a:gd name="connsiteX4" fmla="*/ 0 w 1000974"/>
                <a:gd name="connsiteY4" fmla="*/ 1413404 h 1464524"/>
                <a:gd name="connsiteX5" fmla="*/ 108285 w 1000974"/>
                <a:gd name="connsiteY5" fmla="*/ 96887 h 1464524"/>
                <a:gd name="connsiteX6" fmla="*/ 370449 w 1000974"/>
                <a:gd name="connsiteY6" fmla="*/ 0 h 146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974" h="1464524">
                  <a:moveTo>
                    <a:pt x="370449" y="0"/>
                  </a:moveTo>
                  <a:cubicBezTo>
                    <a:pt x="370449" y="0"/>
                    <a:pt x="532876" y="51293"/>
                    <a:pt x="641161" y="0"/>
                  </a:cubicBezTo>
                  <a:cubicBezTo>
                    <a:pt x="641161" y="0"/>
                    <a:pt x="897625" y="91187"/>
                    <a:pt x="920422" y="122533"/>
                  </a:cubicBezTo>
                  <a:cubicBezTo>
                    <a:pt x="943219" y="151029"/>
                    <a:pt x="1008760" y="1373509"/>
                    <a:pt x="1000211" y="1436201"/>
                  </a:cubicBezTo>
                  <a:cubicBezTo>
                    <a:pt x="1000211" y="1436201"/>
                    <a:pt x="541425" y="1513140"/>
                    <a:pt x="0" y="1413404"/>
                  </a:cubicBezTo>
                  <a:cubicBezTo>
                    <a:pt x="0" y="1080000"/>
                    <a:pt x="68390" y="125383"/>
                    <a:pt x="108285" y="96887"/>
                  </a:cubicBezTo>
                  <a:cubicBezTo>
                    <a:pt x="148179" y="65541"/>
                    <a:pt x="370449" y="0"/>
                    <a:pt x="370449" y="0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BF54BAA0-953A-407E-AB5B-2EC496706F55}"/>
                </a:ext>
              </a:extLst>
            </p:cNvPr>
            <p:cNvSpPr/>
            <p:nvPr/>
          </p:nvSpPr>
          <p:spPr>
            <a:xfrm>
              <a:off x="3547516" y="3271082"/>
              <a:ext cx="168126" cy="111134"/>
            </a:xfrm>
            <a:custGeom>
              <a:avLst/>
              <a:gdLst>
                <a:gd name="connsiteX0" fmla="*/ 168127 w 168126"/>
                <a:gd name="connsiteY0" fmla="*/ 19947 h 111134"/>
                <a:gd name="connsiteX1" fmla="*/ 142480 w 168126"/>
                <a:gd name="connsiteY1" fmla="*/ 111135 h 111134"/>
                <a:gd name="connsiteX2" fmla="*/ 0 w 168126"/>
                <a:gd name="connsiteY2" fmla="*/ 0 h 111134"/>
                <a:gd name="connsiteX3" fmla="*/ 168127 w 168126"/>
                <a:gd name="connsiteY3" fmla="*/ 19947 h 111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126" h="111134">
                  <a:moveTo>
                    <a:pt x="168127" y="19947"/>
                  </a:moveTo>
                  <a:lnTo>
                    <a:pt x="142480" y="111135"/>
                  </a:lnTo>
                  <a:lnTo>
                    <a:pt x="0" y="0"/>
                  </a:lnTo>
                  <a:cubicBezTo>
                    <a:pt x="0" y="0"/>
                    <a:pt x="128232" y="19947"/>
                    <a:pt x="168127" y="19947"/>
                  </a:cubicBezTo>
                  <a:close/>
                </a:path>
              </a:pathLst>
            </a:custGeom>
            <a:solidFill>
              <a:srgbClr val="FFFFFF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A3260F1F-373E-4F2F-9447-D8E023EB5F35}"/>
                </a:ext>
              </a:extLst>
            </p:cNvPr>
            <p:cNvSpPr/>
            <p:nvPr/>
          </p:nvSpPr>
          <p:spPr>
            <a:xfrm>
              <a:off x="3715643" y="3271082"/>
              <a:ext cx="102585" cy="108284"/>
            </a:xfrm>
            <a:custGeom>
              <a:avLst/>
              <a:gdLst>
                <a:gd name="connsiteX0" fmla="*/ 0 w 102585"/>
                <a:gd name="connsiteY0" fmla="*/ 19947 h 108284"/>
                <a:gd name="connsiteX1" fmla="*/ 34195 w 102585"/>
                <a:gd name="connsiteY1" fmla="*/ 108285 h 108284"/>
                <a:gd name="connsiteX2" fmla="*/ 102586 w 102585"/>
                <a:gd name="connsiteY2" fmla="*/ 0 h 108284"/>
                <a:gd name="connsiteX3" fmla="*/ 0 w 102585"/>
                <a:gd name="connsiteY3" fmla="*/ 19947 h 108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585" h="108284">
                  <a:moveTo>
                    <a:pt x="0" y="19947"/>
                  </a:moveTo>
                  <a:lnTo>
                    <a:pt x="34195" y="108285"/>
                  </a:lnTo>
                  <a:lnTo>
                    <a:pt x="102586" y="0"/>
                  </a:lnTo>
                  <a:cubicBezTo>
                    <a:pt x="102586" y="0"/>
                    <a:pt x="37045" y="19947"/>
                    <a:pt x="0" y="19947"/>
                  </a:cubicBezTo>
                  <a:close/>
                </a:path>
              </a:pathLst>
            </a:custGeom>
            <a:solidFill>
              <a:srgbClr val="FFFFFF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E8AEF2C4-7719-4D8E-BC57-76E9B80E6D67}"/>
                </a:ext>
              </a:extLst>
            </p:cNvPr>
            <p:cNvSpPr/>
            <p:nvPr/>
          </p:nvSpPr>
          <p:spPr>
            <a:xfrm>
              <a:off x="3871483" y="3361173"/>
              <a:ext cx="539462" cy="508326"/>
            </a:xfrm>
            <a:custGeom>
              <a:avLst/>
              <a:gdLst>
                <a:gd name="connsiteX0" fmla="*/ 314344 w 539462"/>
                <a:gd name="connsiteY0" fmla="*/ 508326 h 508326"/>
                <a:gd name="connsiteX1" fmla="*/ 6587 w 539462"/>
                <a:gd name="connsiteY1" fmla="*/ 40991 h 508326"/>
                <a:gd name="connsiteX2" fmla="*/ 539463 w 539462"/>
                <a:gd name="connsiteY2" fmla="*/ 183471 h 508326"/>
                <a:gd name="connsiteX3" fmla="*/ 314344 w 539462"/>
                <a:gd name="connsiteY3" fmla="*/ 508326 h 50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9462" h="508326">
                  <a:moveTo>
                    <a:pt x="314344" y="508326"/>
                  </a:moveTo>
                  <a:cubicBezTo>
                    <a:pt x="314344" y="508326"/>
                    <a:pt x="-53255" y="163524"/>
                    <a:pt x="6587" y="40991"/>
                  </a:cubicBezTo>
                  <a:cubicBezTo>
                    <a:pt x="74977" y="-104339"/>
                    <a:pt x="539463" y="183471"/>
                    <a:pt x="539463" y="183471"/>
                  </a:cubicBezTo>
                  <a:cubicBezTo>
                    <a:pt x="539463" y="183471"/>
                    <a:pt x="473922" y="385793"/>
                    <a:pt x="314344" y="508326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5F4726D4-EB9F-4BFA-BDFF-752CD15483E0}"/>
                </a:ext>
              </a:extLst>
            </p:cNvPr>
            <p:cNvSpPr/>
            <p:nvPr/>
          </p:nvSpPr>
          <p:spPr>
            <a:xfrm>
              <a:off x="4091790" y="3387916"/>
              <a:ext cx="49623" cy="515778"/>
            </a:xfrm>
            <a:custGeom>
              <a:avLst/>
              <a:gdLst>
                <a:gd name="connsiteX0" fmla="*/ 45594 w 49623"/>
                <a:gd name="connsiteY0" fmla="*/ 515778 h 515778"/>
                <a:gd name="connsiteX1" fmla="*/ 39894 w 49623"/>
                <a:gd name="connsiteY1" fmla="*/ 510079 h 515778"/>
                <a:gd name="connsiteX2" fmla="*/ 0 w 49623"/>
                <a:gd name="connsiteY2" fmla="*/ 5699 h 515778"/>
                <a:gd name="connsiteX3" fmla="*/ 2850 w 49623"/>
                <a:gd name="connsiteY3" fmla="*/ 0 h 515778"/>
                <a:gd name="connsiteX4" fmla="*/ 8549 w 49623"/>
                <a:gd name="connsiteY4" fmla="*/ 2850 h 515778"/>
                <a:gd name="connsiteX5" fmla="*/ 48443 w 49623"/>
                <a:gd name="connsiteY5" fmla="*/ 510079 h 515778"/>
                <a:gd name="connsiteX6" fmla="*/ 45594 w 49623"/>
                <a:gd name="connsiteY6" fmla="*/ 515778 h 515778"/>
                <a:gd name="connsiteX7" fmla="*/ 45594 w 49623"/>
                <a:gd name="connsiteY7" fmla="*/ 515778 h 515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623" h="515778">
                  <a:moveTo>
                    <a:pt x="45594" y="515778"/>
                  </a:moveTo>
                  <a:cubicBezTo>
                    <a:pt x="42744" y="515778"/>
                    <a:pt x="39894" y="512929"/>
                    <a:pt x="39894" y="510079"/>
                  </a:cubicBezTo>
                  <a:cubicBezTo>
                    <a:pt x="39894" y="504380"/>
                    <a:pt x="5699" y="42744"/>
                    <a:pt x="0" y="5699"/>
                  </a:cubicBezTo>
                  <a:cubicBezTo>
                    <a:pt x="0" y="2850"/>
                    <a:pt x="0" y="0"/>
                    <a:pt x="2850" y="0"/>
                  </a:cubicBezTo>
                  <a:cubicBezTo>
                    <a:pt x="5699" y="0"/>
                    <a:pt x="8549" y="0"/>
                    <a:pt x="8549" y="2850"/>
                  </a:cubicBezTo>
                  <a:cubicBezTo>
                    <a:pt x="17098" y="39894"/>
                    <a:pt x="48443" y="490132"/>
                    <a:pt x="48443" y="510079"/>
                  </a:cubicBezTo>
                  <a:cubicBezTo>
                    <a:pt x="51293" y="512929"/>
                    <a:pt x="48443" y="515778"/>
                    <a:pt x="45594" y="515778"/>
                  </a:cubicBezTo>
                  <a:lnTo>
                    <a:pt x="45594" y="515778"/>
                  </a:ln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778E7B67-9E74-428F-8029-351A54D74A26}"/>
                </a:ext>
              </a:extLst>
            </p:cNvPr>
            <p:cNvSpPr/>
            <p:nvPr/>
          </p:nvSpPr>
          <p:spPr>
            <a:xfrm>
              <a:off x="3687146" y="4815567"/>
              <a:ext cx="65540" cy="341952"/>
            </a:xfrm>
            <a:custGeom>
              <a:avLst/>
              <a:gdLst>
                <a:gd name="connsiteX0" fmla="*/ 5699 w 65540"/>
                <a:gd name="connsiteY0" fmla="*/ 341953 h 341952"/>
                <a:gd name="connsiteX1" fmla="*/ 5699 w 65540"/>
                <a:gd name="connsiteY1" fmla="*/ 341953 h 341952"/>
                <a:gd name="connsiteX2" fmla="*/ 0 w 65540"/>
                <a:gd name="connsiteY2" fmla="*/ 333404 h 341952"/>
                <a:gd name="connsiteX3" fmla="*/ 54143 w 65540"/>
                <a:gd name="connsiteY3" fmla="*/ 5699 h 341952"/>
                <a:gd name="connsiteX4" fmla="*/ 59842 w 65540"/>
                <a:gd name="connsiteY4" fmla="*/ 0 h 341952"/>
                <a:gd name="connsiteX5" fmla="*/ 59842 w 65540"/>
                <a:gd name="connsiteY5" fmla="*/ 0 h 341952"/>
                <a:gd name="connsiteX6" fmla="*/ 65541 w 65540"/>
                <a:gd name="connsiteY6" fmla="*/ 5699 h 341952"/>
                <a:gd name="connsiteX7" fmla="*/ 11398 w 65540"/>
                <a:gd name="connsiteY7" fmla="*/ 336253 h 341952"/>
                <a:gd name="connsiteX8" fmla="*/ 5699 w 65540"/>
                <a:gd name="connsiteY8" fmla="*/ 341953 h 341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540" h="341952">
                  <a:moveTo>
                    <a:pt x="5699" y="341953"/>
                  </a:moveTo>
                  <a:cubicBezTo>
                    <a:pt x="5699" y="341953"/>
                    <a:pt x="5699" y="341953"/>
                    <a:pt x="5699" y="341953"/>
                  </a:cubicBezTo>
                  <a:cubicBezTo>
                    <a:pt x="0" y="339103"/>
                    <a:pt x="0" y="336253"/>
                    <a:pt x="0" y="333404"/>
                  </a:cubicBezTo>
                  <a:cubicBezTo>
                    <a:pt x="45594" y="227968"/>
                    <a:pt x="54143" y="8549"/>
                    <a:pt x="54143" y="5699"/>
                  </a:cubicBezTo>
                  <a:cubicBezTo>
                    <a:pt x="54143" y="2850"/>
                    <a:pt x="56992" y="0"/>
                    <a:pt x="59842" y="0"/>
                  </a:cubicBezTo>
                  <a:lnTo>
                    <a:pt x="59842" y="0"/>
                  </a:lnTo>
                  <a:cubicBezTo>
                    <a:pt x="62691" y="0"/>
                    <a:pt x="65541" y="2850"/>
                    <a:pt x="65541" y="5699"/>
                  </a:cubicBezTo>
                  <a:cubicBezTo>
                    <a:pt x="65541" y="14248"/>
                    <a:pt x="56992" y="227968"/>
                    <a:pt x="11398" y="336253"/>
                  </a:cubicBezTo>
                  <a:cubicBezTo>
                    <a:pt x="11398" y="339103"/>
                    <a:pt x="8549" y="341953"/>
                    <a:pt x="5699" y="341953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5888580B-E374-41D3-8CF0-114049965F61}"/>
                </a:ext>
              </a:extLst>
            </p:cNvPr>
            <p:cNvSpPr/>
            <p:nvPr/>
          </p:nvSpPr>
          <p:spPr>
            <a:xfrm>
              <a:off x="3714462" y="4750026"/>
              <a:ext cx="146510" cy="333403"/>
            </a:xfrm>
            <a:custGeom>
              <a:avLst/>
              <a:gdLst>
                <a:gd name="connsiteX0" fmla="*/ 6880 w 146510"/>
                <a:gd name="connsiteY0" fmla="*/ 333404 h 333403"/>
                <a:gd name="connsiteX1" fmla="*/ 1180 w 146510"/>
                <a:gd name="connsiteY1" fmla="*/ 330554 h 333403"/>
                <a:gd name="connsiteX2" fmla="*/ 4030 w 146510"/>
                <a:gd name="connsiteY2" fmla="*/ 322005 h 333403"/>
                <a:gd name="connsiteX3" fmla="*/ 103766 w 146510"/>
                <a:gd name="connsiteY3" fmla="*/ 250765 h 333403"/>
                <a:gd name="connsiteX4" fmla="*/ 135112 w 146510"/>
                <a:gd name="connsiteY4" fmla="*/ 5699 h 333403"/>
                <a:gd name="connsiteX5" fmla="*/ 140811 w 146510"/>
                <a:gd name="connsiteY5" fmla="*/ 0 h 333403"/>
                <a:gd name="connsiteX6" fmla="*/ 146510 w 146510"/>
                <a:gd name="connsiteY6" fmla="*/ 5699 h 333403"/>
                <a:gd name="connsiteX7" fmla="*/ 115164 w 146510"/>
                <a:gd name="connsiteY7" fmla="*/ 256464 h 333403"/>
                <a:gd name="connsiteX8" fmla="*/ 12579 w 146510"/>
                <a:gd name="connsiteY8" fmla="*/ 330554 h 333403"/>
                <a:gd name="connsiteX9" fmla="*/ 6880 w 146510"/>
                <a:gd name="connsiteY9" fmla="*/ 333404 h 333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6510" h="333403">
                  <a:moveTo>
                    <a:pt x="6880" y="333404"/>
                  </a:moveTo>
                  <a:cubicBezTo>
                    <a:pt x="4030" y="333404"/>
                    <a:pt x="4030" y="333404"/>
                    <a:pt x="1180" y="330554"/>
                  </a:cubicBezTo>
                  <a:cubicBezTo>
                    <a:pt x="-1669" y="327705"/>
                    <a:pt x="1180" y="324855"/>
                    <a:pt x="4030" y="322005"/>
                  </a:cubicBezTo>
                  <a:cubicBezTo>
                    <a:pt x="41075" y="299208"/>
                    <a:pt x="95217" y="259314"/>
                    <a:pt x="103766" y="250765"/>
                  </a:cubicBezTo>
                  <a:cubicBezTo>
                    <a:pt x="112315" y="239367"/>
                    <a:pt x="126563" y="94037"/>
                    <a:pt x="135112" y="5699"/>
                  </a:cubicBezTo>
                  <a:cubicBezTo>
                    <a:pt x="135112" y="2850"/>
                    <a:pt x="137961" y="0"/>
                    <a:pt x="140811" y="0"/>
                  </a:cubicBezTo>
                  <a:cubicBezTo>
                    <a:pt x="143661" y="0"/>
                    <a:pt x="146510" y="2850"/>
                    <a:pt x="146510" y="5699"/>
                  </a:cubicBezTo>
                  <a:cubicBezTo>
                    <a:pt x="143661" y="45594"/>
                    <a:pt x="123713" y="242216"/>
                    <a:pt x="115164" y="256464"/>
                  </a:cubicBezTo>
                  <a:cubicBezTo>
                    <a:pt x="103766" y="270712"/>
                    <a:pt x="21128" y="324855"/>
                    <a:pt x="12579" y="330554"/>
                  </a:cubicBezTo>
                  <a:cubicBezTo>
                    <a:pt x="9729" y="333404"/>
                    <a:pt x="6880" y="333404"/>
                    <a:pt x="6880" y="333404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48FA5303-5157-452E-90A6-F758E6B836A9}"/>
                </a:ext>
              </a:extLst>
            </p:cNvPr>
            <p:cNvSpPr/>
            <p:nvPr/>
          </p:nvSpPr>
          <p:spPr>
            <a:xfrm>
              <a:off x="2319241" y="2752454"/>
              <a:ext cx="749541" cy="854881"/>
            </a:xfrm>
            <a:custGeom>
              <a:avLst/>
              <a:gdLst>
                <a:gd name="connsiteX0" fmla="*/ 749542 w 749541"/>
                <a:gd name="connsiteY0" fmla="*/ 587019 h 854881"/>
                <a:gd name="connsiteX1" fmla="*/ 205267 w 749541"/>
                <a:gd name="connsiteY1" fmla="*/ 487282 h 854881"/>
                <a:gd name="connsiteX2" fmla="*/ 179621 w 749541"/>
                <a:gd name="connsiteY2" fmla="*/ 0 h 854881"/>
                <a:gd name="connsiteX3" fmla="*/ 79885 w 749541"/>
                <a:gd name="connsiteY3" fmla="*/ 8549 h 854881"/>
                <a:gd name="connsiteX4" fmla="*/ 8644 w 749541"/>
                <a:gd name="connsiteY4" fmla="*/ 649710 h 854881"/>
                <a:gd name="connsiteX5" fmla="*/ 681151 w 749541"/>
                <a:gd name="connsiteY5" fmla="*/ 854881 h 854881"/>
                <a:gd name="connsiteX6" fmla="*/ 749542 w 749541"/>
                <a:gd name="connsiteY6" fmla="*/ 587019 h 85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541" h="854881">
                  <a:moveTo>
                    <a:pt x="749542" y="587019"/>
                  </a:moveTo>
                  <a:lnTo>
                    <a:pt x="205267" y="487282"/>
                  </a:lnTo>
                  <a:lnTo>
                    <a:pt x="179621" y="0"/>
                  </a:lnTo>
                  <a:lnTo>
                    <a:pt x="79885" y="8549"/>
                  </a:lnTo>
                  <a:cubicBezTo>
                    <a:pt x="79885" y="8549"/>
                    <a:pt x="-31250" y="535726"/>
                    <a:pt x="8644" y="649710"/>
                  </a:cubicBezTo>
                  <a:cubicBezTo>
                    <a:pt x="48539" y="763694"/>
                    <a:pt x="681151" y="854881"/>
                    <a:pt x="681151" y="854881"/>
                  </a:cubicBezTo>
                  <a:lnTo>
                    <a:pt x="749542" y="587019"/>
                  </a:ln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511D3516-C411-4C5A-90A7-DC548D61A5B7}"/>
                </a:ext>
              </a:extLst>
            </p:cNvPr>
            <p:cNvSpPr/>
            <p:nvPr/>
          </p:nvSpPr>
          <p:spPr>
            <a:xfrm>
              <a:off x="2490313" y="3234037"/>
              <a:ext cx="602446" cy="131081"/>
            </a:xfrm>
            <a:custGeom>
              <a:avLst/>
              <a:gdLst>
                <a:gd name="connsiteX0" fmla="*/ 595567 w 602446"/>
                <a:gd name="connsiteY0" fmla="*/ 131082 h 131081"/>
                <a:gd name="connsiteX1" fmla="*/ 595567 w 602446"/>
                <a:gd name="connsiteY1" fmla="*/ 131082 h 131081"/>
                <a:gd name="connsiteX2" fmla="*/ 34195 w 602446"/>
                <a:gd name="connsiteY2" fmla="*/ 11398 h 131081"/>
                <a:gd name="connsiteX3" fmla="*/ 5699 w 602446"/>
                <a:gd name="connsiteY3" fmla="*/ 45594 h 131081"/>
                <a:gd name="connsiteX4" fmla="*/ 0 w 602446"/>
                <a:gd name="connsiteY4" fmla="*/ 48443 h 131081"/>
                <a:gd name="connsiteX5" fmla="*/ 0 w 602446"/>
                <a:gd name="connsiteY5" fmla="*/ 42744 h 131081"/>
                <a:gd name="connsiteX6" fmla="*/ 31346 w 602446"/>
                <a:gd name="connsiteY6" fmla="*/ 2850 h 131081"/>
                <a:gd name="connsiteX7" fmla="*/ 37045 w 602446"/>
                <a:gd name="connsiteY7" fmla="*/ 0 h 131081"/>
                <a:gd name="connsiteX8" fmla="*/ 598417 w 602446"/>
                <a:gd name="connsiteY8" fmla="*/ 119683 h 131081"/>
                <a:gd name="connsiteX9" fmla="*/ 601267 w 602446"/>
                <a:gd name="connsiteY9" fmla="*/ 125383 h 131081"/>
                <a:gd name="connsiteX10" fmla="*/ 595567 w 602446"/>
                <a:gd name="connsiteY10" fmla="*/ 131082 h 13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2446" h="131081">
                  <a:moveTo>
                    <a:pt x="595567" y="131082"/>
                  </a:moveTo>
                  <a:cubicBezTo>
                    <a:pt x="595567" y="131082"/>
                    <a:pt x="595567" y="131082"/>
                    <a:pt x="595567" y="131082"/>
                  </a:cubicBezTo>
                  <a:cubicBezTo>
                    <a:pt x="589868" y="131082"/>
                    <a:pt x="139631" y="31346"/>
                    <a:pt x="34195" y="11398"/>
                  </a:cubicBezTo>
                  <a:cubicBezTo>
                    <a:pt x="28496" y="17098"/>
                    <a:pt x="14248" y="34195"/>
                    <a:pt x="5699" y="45594"/>
                  </a:cubicBezTo>
                  <a:cubicBezTo>
                    <a:pt x="5699" y="48443"/>
                    <a:pt x="0" y="48443"/>
                    <a:pt x="0" y="48443"/>
                  </a:cubicBezTo>
                  <a:cubicBezTo>
                    <a:pt x="0" y="48443"/>
                    <a:pt x="0" y="42744"/>
                    <a:pt x="0" y="42744"/>
                  </a:cubicBezTo>
                  <a:cubicBezTo>
                    <a:pt x="8549" y="25646"/>
                    <a:pt x="31346" y="2850"/>
                    <a:pt x="31346" y="2850"/>
                  </a:cubicBezTo>
                  <a:cubicBezTo>
                    <a:pt x="31346" y="2850"/>
                    <a:pt x="34195" y="0"/>
                    <a:pt x="37045" y="0"/>
                  </a:cubicBezTo>
                  <a:cubicBezTo>
                    <a:pt x="136781" y="17098"/>
                    <a:pt x="595567" y="119683"/>
                    <a:pt x="598417" y="119683"/>
                  </a:cubicBezTo>
                  <a:cubicBezTo>
                    <a:pt x="601267" y="119683"/>
                    <a:pt x="604116" y="122533"/>
                    <a:pt x="601267" y="125383"/>
                  </a:cubicBezTo>
                  <a:cubicBezTo>
                    <a:pt x="601267" y="128232"/>
                    <a:pt x="598417" y="131082"/>
                    <a:pt x="595567" y="131082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D151A8B3-1F67-4DE5-99A5-F8AA344F3559}"/>
                </a:ext>
              </a:extLst>
            </p:cNvPr>
            <p:cNvSpPr/>
            <p:nvPr/>
          </p:nvSpPr>
          <p:spPr>
            <a:xfrm>
              <a:off x="2904524" y="3248285"/>
              <a:ext cx="562682" cy="405716"/>
            </a:xfrm>
            <a:custGeom>
              <a:avLst/>
              <a:gdLst>
                <a:gd name="connsiteX0" fmla="*/ 1831 w 562682"/>
                <a:gd name="connsiteY0" fmla="*/ 384697 h 405716"/>
                <a:gd name="connsiteX1" fmla="*/ 557504 w 562682"/>
                <a:gd name="connsiteY1" fmla="*/ 296359 h 405716"/>
                <a:gd name="connsiteX2" fmla="*/ 93018 w 562682"/>
                <a:gd name="connsiteY2" fmla="*/ 0 h 405716"/>
                <a:gd name="connsiteX3" fmla="*/ 1831 w 562682"/>
                <a:gd name="connsiteY3" fmla="*/ 384697 h 405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2682" h="405716">
                  <a:moveTo>
                    <a:pt x="1831" y="384697"/>
                  </a:moveTo>
                  <a:cubicBezTo>
                    <a:pt x="1831" y="384697"/>
                    <a:pt x="480564" y="470185"/>
                    <a:pt x="557504" y="296359"/>
                  </a:cubicBezTo>
                  <a:cubicBezTo>
                    <a:pt x="620195" y="151029"/>
                    <a:pt x="93018" y="0"/>
                    <a:pt x="93018" y="0"/>
                  </a:cubicBezTo>
                  <a:cubicBezTo>
                    <a:pt x="93018" y="0"/>
                    <a:pt x="-15267" y="185224"/>
                    <a:pt x="1831" y="384697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95295179-A0C0-46F0-9FA2-68540F5384F7}"/>
                </a:ext>
              </a:extLst>
            </p:cNvPr>
            <p:cNvSpPr/>
            <p:nvPr/>
          </p:nvSpPr>
          <p:spPr>
            <a:xfrm>
              <a:off x="2936520" y="3242586"/>
              <a:ext cx="528382" cy="307757"/>
            </a:xfrm>
            <a:custGeom>
              <a:avLst/>
              <a:gdLst>
                <a:gd name="connsiteX0" fmla="*/ 522658 w 528382"/>
                <a:gd name="connsiteY0" fmla="*/ 307757 h 307757"/>
                <a:gd name="connsiteX1" fmla="*/ 522658 w 528382"/>
                <a:gd name="connsiteY1" fmla="*/ 307757 h 307757"/>
                <a:gd name="connsiteX2" fmla="*/ 516959 w 528382"/>
                <a:gd name="connsiteY2" fmla="*/ 302058 h 307757"/>
                <a:gd name="connsiteX3" fmla="*/ 368779 w 528382"/>
                <a:gd name="connsiteY3" fmla="*/ 131082 h 307757"/>
                <a:gd name="connsiteX4" fmla="*/ 58172 w 528382"/>
                <a:gd name="connsiteY4" fmla="*/ 11398 h 307757"/>
                <a:gd name="connsiteX5" fmla="*/ 9729 w 528382"/>
                <a:gd name="connsiteY5" fmla="*/ 122533 h 307757"/>
                <a:gd name="connsiteX6" fmla="*/ 4030 w 528382"/>
                <a:gd name="connsiteY6" fmla="*/ 125383 h 307757"/>
                <a:gd name="connsiteX7" fmla="*/ 1180 w 528382"/>
                <a:gd name="connsiteY7" fmla="*/ 119683 h 307757"/>
                <a:gd name="connsiteX8" fmla="*/ 55323 w 528382"/>
                <a:gd name="connsiteY8" fmla="*/ 2850 h 307757"/>
                <a:gd name="connsiteX9" fmla="*/ 58172 w 528382"/>
                <a:gd name="connsiteY9" fmla="*/ 0 h 307757"/>
                <a:gd name="connsiteX10" fmla="*/ 61022 w 528382"/>
                <a:gd name="connsiteY10" fmla="*/ 0 h 307757"/>
                <a:gd name="connsiteX11" fmla="*/ 374478 w 528382"/>
                <a:gd name="connsiteY11" fmla="*/ 122533 h 307757"/>
                <a:gd name="connsiteX12" fmla="*/ 528357 w 528382"/>
                <a:gd name="connsiteY12" fmla="*/ 302058 h 307757"/>
                <a:gd name="connsiteX13" fmla="*/ 522658 w 528382"/>
                <a:gd name="connsiteY13" fmla="*/ 307757 h 307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8382" h="307757">
                  <a:moveTo>
                    <a:pt x="522658" y="307757"/>
                  </a:moveTo>
                  <a:cubicBezTo>
                    <a:pt x="522658" y="307757"/>
                    <a:pt x="522658" y="307757"/>
                    <a:pt x="522658" y="307757"/>
                  </a:cubicBezTo>
                  <a:cubicBezTo>
                    <a:pt x="519808" y="307757"/>
                    <a:pt x="516959" y="304908"/>
                    <a:pt x="516959" y="302058"/>
                  </a:cubicBezTo>
                  <a:cubicBezTo>
                    <a:pt x="516959" y="302058"/>
                    <a:pt x="522658" y="199472"/>
                    <a:pt x="368779" y="131082"/>
                  </a:cubicBezTo>
                  <a:cubicBezTo>
                    <a:pt x="226299" y="68391"/>
                    <a:pt x="83819" y="19947"/>
                    <a:pt x="58172" y="11398"/>
                  </a:cubicBezTo>
                  <a:cubicBezTo>
                    <a:pt x="49624" y="25646"/>
                    <a:pt x="23977" y="74090"/>
                    <a:pt x="9729" y="122533"/>
                  </a:cubicBezTo>
                  <a:cubicBezTo>
                    <a:pt x="9729" y="125383"/>
                    <a:pt x="6880" y="128232"/>
                    <a:pt x="4030" y="125383"/>
                  </a:cubicBezTo>
                  <a:cubicBezTo>
                    <a:pt x="1180" y="125383"/>
                    <a:pt x="-1669" y="122533"/>
                    <a:pt x="1180" y="119683"/>
                  </a:cubicBezTo>
                  <a:cubicBezTo>
                    <a:pt x="18278" y="59842"/>
                    <a:pt x="55323" y="2850"/>
                    <a:pt x="55323" y="2850"/>
                  </a:cubicBezTo>
                  <a:lnTo>
                    <a:pt x="58172" y="0"/>
                  </a:lnTo>
                  <a:lnTo>
                    <a:pt x="61022" y="0"/>
                  </a:lnTo>
                  <a:cubicBezTo>
                    <a:pt x="63872" y="0"/>
                    <a:pt x="217750" y="54143"/>
                    <a:pt x="374478" y="122533"/>
                  </a:cubicBezTo>
                  <a:cubicBezTo>
                    <a:pt x="534056" y="193773"/>
                    <a:pt x="528357" y="299209"/>
                    <a:pt x="528357" y="302058"/>
                  </a:cubicBezTo>
                  <a:cubicBezTo>
                    <a:pt x="528357" y="304908"/>
                    <a:pt x="525507" y="307757"/>
                    <a:pt x="522658" y="307757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8" name="图形 1">
              <a:extLst>
                <a:ext uri="{FF2B5EF4-FFF2-40B4-BE49-F238E27FC236}">
                  <a16:creationId xmlns:a16="http://schemas.microsoft.com/office/drawing/2014/main" id="{58D81753-55C3-41A2-AA4D-8F7FE56DBEEA}"/>
                </a:ext>
              </a:extLst>
            </p:cNvPr>
            <p:cNvGrpSpPr/>
            <p:nvPr/>
          </p:nvGrpSpPr>
          <p:grpSpPr>
            <a:xfrm>
              <a:off x="4822132" y="3148549"/>
              <a:ext cx="270769" cy="319828"/>
              <a:chOff x="4822132" y="3148549"/>
              <a:chExt cx="270769" cy="319828"/>
            </a:xfrm>
          </p:grpSpPr>
          <p:grpSp>
            <p:nvGrpSpPr>
              <p:cNvPr id="49" name="图形 1">
                <a:extLst>
                  <a:ext uri="{FF2B5EF4-FFF2-40B4-BE49-F238E27FC236}">
                    <a16:creationId xmlns:a16="http://schemas.microsoft.com/office/drawing/2014/main" id="{58D81753-55C3-41A2-AA4D-8F7FE56DBEEA}"/>
                  </a:ext>
                </a:extLst>
              </p:cNvPr>
              <p:cNvGrpSpPr/>
              <p:nvPr/>
            </p:nvGrpSpPr>
            <p:grpSpPr>
              <a:xfrm>
                <a:off x="4822132" y="3148549"/>
                <a:ext cx="262836" cy="319828"/>
                <a:chOff x="4822132" y="3148549"/>
                <a:chExt cx="262836" cy="319828"/>
              </a:xfrm>
            </p:grpSpPr>
            <p:sp>
              <p:nvSpPr>
                <p:cNvPr id="50" name="任意多边形: 形状 49">
                  <a:extLst>
                    <a:ext uri="{FF2B5EF4-FFF2-40B4-BE49-F238E27FC236}">
                      <a16:creationId xmlns:a16="http://schemas.microsoft.com/office/drawing/2014/main" id="{070263C2-10C7-4F73-9FB7-A3888FBD1CAD}"/>
                    </a:ext>
                  </a:extLst>
                </p:cNvPr>
                <p:cNvSpPr/>
                <p:nvPr/>
              </p:nvSpPr>
              <p:spPr>
                <a:xfrm>
                  <a:off x="4822132" y="3150686"/>
                  <a:ext cx="262836" cy="317691"/>
                </a:xfrm>
                <a:custGeom>
                  <a:avLst/>
                  <a:gdLst>
                    <a:gd name="connsiteX0" fmla="*/ 252772 w 262836"/>
                    <a:gd name="connsiteY0" fmla="*/ 103298 h 317691"/>
                    <a:gd name="connsiteX1" fmla="*/ 232825 w 262836"/>
                    <a:gd name="connsiteY1" fmla="*/ 103298 h 317691"/>
                    <a:gd name="connsiteX2" fmla="*/ 227125 w 262836"/>
                    <a:gd name="connsiteY2" fmla="*/ 106148 h 317691"/>
                    <a:gd name="connsiteX3" fmla="*/ 244223 w 262836"/>
                    <a:gd name="connsiteY3" fmla="*/ 83351 h 317691"/>
                    <a:gd name="connsiteX4" fmla="*/ 261321 w 262836"/>
                    <a:gd name="connsiteY4" fmla="*/ 37757 h 317691"/>
                    <a:gd name="connsiteX5" fmla="*/ 249922 w 262836"/>
                    <a:gd name="connsiteY5" fmla="*/ 34908 h 317691"/>
                    <a:gd name="connsiteX6" fmla="*/ 247073 w 262836"/>
                    <a:gd name="connsiteY6" fmla="*/ 34908 h 317691"/>
                    <a:gd name="connsiteX7" fmla="*/ 244223 w 262836"/>
                    <a:gd name="connsiteY7" fmla="*/ 6412 h 317691"/>
                    <a:gd name="connsiteX8" fmla="*/ 215727 w 262836"/>
                    <a:gd name="connsiteY8" fmla="*/ 6412 h 317691"/>
                    <a:gd name="connsiteX9" fmla="*/ 178682 w 262836"/>
                    <a:gd name="connsiteY9" fmla="*/ 49156 h 317691"/>
                    <a:gd name="connsiteX10" fmla="*/ 130239 w 262836"/>
                    <a:gd name="connsiteY10" fmla="*/ 111847 h 317691"/>
                    <a:gd name="connsiteX11" fmla="*/ 153036 w 262836"/>
                    <a:gd name="connsiteY11" fmla="*/ 57704 h 317691"/>
                    <a:gd name="connsiteX12" fmla="*/ 167284 w 262836"/>
                    <a:gd name="connsiteY12" fmla="*/ 14960 h 317691"/>
                    <a:gd name="connsiteX13" fmla="*/ 135938 w 262836"/>
                    <a:gd name="connsiteY13" fmla="*/ 23509 h 317691"/>
                    <a:gd name="connsiteX14" fmla="*/ 61848 w 262836"/>
                    <a:gd name="connsiteY14" fmla="*/ 117546 h 317691"/>
                    <a:gd name="connsiteX15" fmla="*/ 21954 w 262836"/>
                    <a:gd name="connsiteY15" fmla="*/ 288522 h 317691"/>
                    <a:gd name="connsiteX16" fmla="*/ 21954 w 262836"/>
                    <a:gd name="connsiteY16" fmla="*/ 288522 h 317691"/>
                    <a:gd name="connsiteX17" fmla="*/ 21954 w 262836"/>
                    <a:gd name="connsiteY17" fmla="*/ 294222 h 317691"/>
                    <a:gd name="connsiteX18" fmla="*/ 124539 w 262836"/>
                    <a:gd name="connsiteY18" fmla="*/ 311319 h 317691"/>
                    <a:gd name="connsiteX19" fmla="*/ 207178 w 262836"/>
                    <a:gd name="connsiteY19" fmla="*/ 203034 h 317691"/>
                    <a:gd name="connsiteX20" fmla="*/ 252772 w 262836"/>
                    <a:gd name="connsiteY20" fmla="*/ 103298 h 317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62836" h="317691">
                      <a:moveTo>
                        <a:pt x="252772" y="103298"/>
                      </a:moveTo>
                      <a:cubicBezTo>
                        <a:pt x="247073" y="97599"/>
                        <a:pt x="241373" y="97599"/>
                        <a:pt x="232825" y="103298"/>
                      </a:cubicBezTo>
                      <a:cubicBezTo>
                        <a:pt x="229975" y="103298"/>
                        <a:pt x="229975" y="106148"/>
                        <a:pt x="227125" y="106148"/>
                      </a:cubicBezTo>
                      <a:cubicBezTo>
                        <a:pt x="232825" y="97599"/>
                        <a:pt x="238524" y="91900"/>
                        <a:pt x="244223" y="83351"/>
                      </a:cubicBezTo>
                      <a:cubicBezTo>
                        <a:pt x="255621" y="69103"/>
                        <a:pt x="267020" y="54855"/>
                        <a:pt x="261321" y="37757"/>
                      </a:cubicBezTo>
                      <a:cubicBezTo>
                        <a:pt x="261321" y="34908"/>
                        <a:pt x="249922" y="34908"/>
                        <a:pt x="249922" y="34908"/>
                      </a:cubicBezTo>
                      <a:cubicBezTo>
                        <a:pt x="249922" y="34908"/>
                        <a:pt x="247073" y="34908"/>
                        <a:pt x="247073" y="34908"/>
                      </a:cubicBezTo>
                      <a:cubicBezTo>
                        <a:pt x="249922" y="23509"/>
                        <a:pt x="249922" y="14960"/>
                        <a:pt x="244223" y="6412"/>
                      </a:cubicBezTo>
                      <a:cubicBezTo>
                        <a:pt x="238524" y="-2137"/>
                        <a:pt x="227125" y="-2137"/>
                        <a:pt x="215727" y="6412"/>
                      </a:cubicBezTo>
                      <a:cubicBezTo>
                        <a:pt x="201479" y="17810"/>
                        <a:pt x="190080" y="34908"/>
                        <a:pt x="178682" y="49156"/>
                      </a:cubicBezTo>
                      <a:cubicBezTo>
                        <a:pt x="161584" y="69103"/>
                        <a:pt x="144487" y="89050"/>
                        <a:pt x="130239" y="111847"/>
                      </a:cubicBezTo>
                      <a:cubicBezTo>
                        <a:pt x="138787" y="94749"/>
                        <a:pt x="144487" y="74802"/>
                        <a:pt x="153036" y="57704"/>
                      </a:cubicBezTo>
                      <a:cubicBezTo>
                        <a:pt x="158735" y="46306"/>
                        <a:pt x="170133" y="26359"/>
                        <a:pt x="167284" y="14960"/>
                      </a:cubicBezTo>
                      <a:cubicBezTo>
                        <a:pt x="164434" y="-2137"/>
                        <a:pt x="141637" y="17810"/>
                        <a:pt x="135938" y="23509"/>
                      </a:cubicBezTo>
                      <a:cubicBezTo>
                        <a:pt x="90344" y="71952"/>
                        <a:pt x="64698" y="114697"/>
                        <a:pt x="61848" y="117546"/>
                      </a:cubicBezTo>
                      <a:cubicBezTo>
                        <a:pt x="7706" y="151741"/>
                        <a:pt x="-23640" y="234380"/>
                        <a:pt x="21954" y="288522"/>
                      </a:cubicBezTo>
                      <a:cubicBezTo>
                        <a:pt x="21954" y="288522"/>
                        <a:pt x="21954" y="288522"/>
                        <a:pt x="21954" y="288522"/>
                      </a:cubicBezTo>
                      <a:cubicBezTo>
                        <a:pt x="21954" y="288522"/>
                        <a:pt x="19104" y="291372"/>
                        <a:pt x="21954" y="294222"/>
                      </a:cubicBezTo>
                      <a:cubicBezTo>
                        <a:pt x="36202" y="319868"/>
                        <a:pt x="96043" y="322718"/>
                        <a:pt x="124539" y="311319"/>
                      </a:cubicBezTo>
                      <a:cubicBezTo>
                        <a:pt x="170133" y="294222"/>
                        <a:pt x="184381" y="240079"/>
                        <a:pt x="207178" y="203034"/>
                      </a:cubicBezTo>
                      <a:cubicBezTo>
                        <a:pt x="224276" y="185937"/>
                        <a:pt x="267020" y="117546"/>
                        <a:pt x="252772" y="103298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1" name="任意多边形: 形状 50">
                  <a:extLst>
                    <a:ext uri="{FF2B5EF4-FFF2-40B4-BE49-F238E27FC236}">
                      <a16:creationId xmlns:a16="http://schemas.microsoft.com/office/drawing/2014/main" id="{AEE94563-A965-4A53-A828-FADB7EFF088B}"/>
                    </a:ext>
                  </a:extLst>
                </p:cNvPr>
                <p:cNvSpPr/>
                <p:nvPr/>
              </p:nvSpPr>
              <p:spPr>
                <a:xfrm>
                  <a:off x="4946671" y="3148549"/>
                  <a:ext cx="123957" cy="122532"/>
                </a:xfrm>
                <a:custGeom>
                  <a:avLst/>
                  <a:gdLst>
                    <a:gd name="connsiteX0" fmla="*/ 5699 w 123957"/>
                    <a:gd name="connsiteY0" fmla="*/ 122533 h 122532"/>
                    <a:gd name="connsiteX1" fmla="*/ 5699 w 123957"/>
                    <a:gd name="connsiteY1" fmla="*/ 122533 h 122532"/>
                    <a:gd name="connsiteX2" fmla="*/ 0 w 123957"/>
                    <a:gd name="connsiteY2" fmla="*/ 113984 h 122532"/>
                    <a:gd name="connsiteX3" fmla="*/ 37045 w 123957"/>
                    <a:gd name="connsiteY3" fmla="*/ 17098 h 122532"/>
                    <a:gd name="connsiteX4" fmla="*/ 42744 w 123957"/>
                    <a:gd name="connsiteY4" fmla="*/ 14248 h 122532"/>
                    <a:gd name="connsiteX5" fmla="*/ 45594 w 123957"/>
                    <a:gd name="connsiteY5" fmla="*/ 19947 h 122532"/>
                    <a:gd name="connsiteX6" fmla="*/ 25646 w 123957"/>
                    <a:gd name="connsiteY6" fmla="*/ 74090 h 122532"/>
                    <a:gd name="connsiteX7" fmla="*/ 96887 w 123957"/>
                    <a:gd name="connsiteY7" fmla="*/ 0 h 122532"/>
                    <a:gd name="connsiteX8" fmla="*/ 119684 w 123957"/>
                    <a:gd name="connsiteY8" fmla="*/ 8549 h 122532"/>
                    <a:gd name="connsiteX9" fmla="*/ 119684 w 123957"/>
                    <a:gd name="connsiteY9" fmla="*/ 37045 h 122532"/>
                    <a:gd name="connsiteX10" fmla="*/ 113984 w 123957"/>
                    <a:gd name="connsiteY10" fmla="*/ 39895 h 122532"/>
                    <a:gd name="connsiteX11" fmla="*/ 111135 w 123957"/>
                    <a:gd name="connsiteY11" fmla="*/ 34195 h 122532"/>
                    <a:gd name="connsiteX12" fmla="*/ 111135 w 123957"/>
                    <a:gd name="connsiteY12" fmla="*/ 17098 h 122532"/>
                    <a:gd name="connsiteX13" fmla="*/ 96887 w 123957"/>
                    <a:gd name="connsiteY13" fmla="*/ 11398 h 122532"/>
                    <a:gd name="connsiteX14" fmla="*/ 5699 w 123957"/>
                    <a:gd name="connsiteY14" fmla="*/ 116834 h 122532"/>
                    <a:gd name="connsiteX15" fmla="*/ 5699 w 123957"/>
                    <a:gd name="connsiteY15" fmla="*/ 122533 h 1225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23957" h="122532">
                      <a:moveTo>
                        <a:pt x="5699" y="122533"/>
                      </a:moveTo>
                      <a:cubicBezTo>
                        <a:pt x="5699" y="122533"/>
                        <a:pt x="5699" y="122533"/>
                        <a:pt x="5699" y="122533"/>
                      </a:cubicBezTo>
                      <a:cubicBezTo>
                        <a:pt x="0" y="119683"/>
                        <a:pt x="0" y="116834"/>
                        <a:pt x="0" y="113984"/>
                      </a:cubicBezTo>
                      <a:cubicBezTo>
                        <a:pt x="17098" y="79789"/>
                        <a:pt x="37045" y="19947"/>
                        <a:pt x="37045" y="17098"/>
                      </a:cubicBezTo>
                      <a:cubicBezTo>
                        <a:pt x="37045" y="14248"/>
                        <a:pt x="39895" y="11398"/>
                        <a:pt x="42744" y="14248"/>
                      </a:cubicBezTo>
                      <a:cubicBezTo>
                        <a:pt x="45594" y="14248"/>
                        <a:pt x="45594" y="17098"/>
                        <a:pt x="45594" y="19947"/>
                      </a:cubicBezTo>
                      <a:cubicBezTo>
                        <a:pt x="45594" y="22797"/>
                        <a:pt x="37045" y="48443"/>
                        <a:pt x="25646" y="74090"/>
                      </a:cubicBezTo>
                      <a:cubicBezTo>
                        <a:pt x="51293" y="39895"/>
                        <a:pt x="85488" y="0"/>
                        <a:pt x="96887" y="0"/>
                      </a:cubicBezTo>
                      <a:cubicBezTo>
                        <a:pt x="108285" y="0"/>
                        <a:pt x="116834" y="2850"/>
                        <a:pt x="119684" y="8549"/>
                      </a:cubicBezTo>
                      <a:cubicBezTo>
                        <a:pt x="125383" y="17098"/>
                        <a:pt x="125383" y="25646"/>
                        <a:pt x="119684" y="37045"/>
                      </a:cubicBezTo>
                      <a:cubicBezTo>
                        <a:pt x="119684" y="39895"/>
                        <a:pt x="113984" y="39895"/>
                        <a:pt x="113984" y="39895"/>
                      </a:cubicBezTo>
                      <a:cubicBezTo>
                        <a:pt x="111135" y="39895"/>
                        <a:pt x="111135" y="34195"/>
                        <a:pt x="111135" y="34195"/>
                      </a:cubicBezTo>
                      <a:cubicBezTo>
                        <a:pt x="113984" y="28496"/>
                        <a:pt x="113984" y="19947"/>
                        <a:pt x="111135" y="17098"/>
                      </a:cubicBezTo>
                      <a:cubicBezTo>
                        <a:pt x="108285" y="11398"/>
                        <a:pt x="102586" y="11398"/>
                        <a:pt x="96887" y="11398"/>
                      </a:cubicBezTo>
                      <a:cubicBezTo>
                        <a:pt x="88338" y="14248"/>
                        <a:pt x="42744" y="68391"/>
                        <a:pt x="5699" y="116834"/>
                      </a:cubicBezTo>
                      <a:cubicBezTo>
                        <a:pt x="11398" y="119683"/>
                        <a:pt x="8549" y="122533"/>
                        <a:pt x="5699" y="12253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1B05896A-EF5E-4FC2-8F81-DBED26A47519}"/>
                  </a:ext>
                </a:extLst>
              </p:cNvPr>
              <p:cNvSpPr/>
              <p:nvPr/>
            </p:nvSpPr>
            <p:spPr>
              <a:xfrm>
                <a:off x="4987278" y="3245435"/>
                <a:ext cx="93679" cy="108284"/>
              </a:xfrm>
              <a:custGeom>
                <a:avLst/>
                <a:gdLst>
                  <a:gd name="connsiteX0" fmla="*/ 50581 w 93679"/>
                  <a:gd name="connsiteY0" fmla="*/ 105435 h 108284"/>
                  <a:gd name="connsiteX1" fmla="*/ 50581 w 93679"/>
                  <a:gd name="connsiteY1" fmla="*/ 105435 h 108284"/>
                  <a:gd name="connsiteX2" fmla="*/ 44881 w 93679"/>
                  <a:gd name="connsiteY2" fmla="*/ 96886 h 108284"/>
                  <a:gd name="connsiteX3" fmla="*/ 81926 w 93679"/>
                  <a:gd name="connsiteY3" fmla="*/ 11398 h 108284"/>
                  <a:gd name="connsiteX4" fmla="*/ 76227 w 93679"/>
                  <a:gd name="connsiteY4" fmla="*/ 8549 h 108284"/>
                  <a:gd name="connsiteX5" fmla="*/ 76227 w 93679"/>
                  <a:gd name="connsiteY5" fmla="*/ 8549 h 108284"/>
                  <a:gd name="connsiteX6" fmla="*/ 59129 w 93679"/>
                  <a:gd name="connsiteY6" fmla="*/ 19947 h 108284"/>
                  <a:gd name="connsiteX7" fmla="*/ 39182 w 93679"/>
                  <a:gd name="connsiteY7" fmla="*/ 51293 h 108284"/>
                  <a:gd name="connsiteX8" fmla="*/ 10686 w 93679"/>
                  <a:gd name="connsiteY8" fmla="*/ 94037 h 108284"/>
                  <a:gd name="connsiteX9" fmla="*/ 2137 w 93679"/>
                  <a:gd name="connsiteY9" fmla="*/ 94037 h 108284"/>
                  <a:gd name="connsiteX10" fmla="*/ 2137 w 93679"/>
                  <a:gd name="connsiteY10" fmla="*/ 85488 h 108284"/>
                  <a:gd name="connsiteX11" fmla="*/ 30633 w 93679"/>
                  <a:gd name="connsiteY11" fmla="*/ 45594 h 108284"/>
                  <a:gd name="connsiteX12" fmla="*/ 53430 w 93679"/>
                  <a:gd name="connsiteY12" fmla="*/ 14248 h 108284"/>
                  <a:gd name="connsiteX13" fmla="*/ 76227 w 93679"/>
                  <a:gd name="connsiteY13" fmla="*/ 0 h 108284"/>
                  <a:gd name="connsiteX14" fmla="*/ 76227 w 93679"/>
                  <a:gd name="connsiteY14" fmla="*/ 0 h 108284"/>
                  <a:gd name="connsiteX15" fmla="*/ 90475 w 93679"/>
                  <a:gd name="connsiteY15" fmla="*/ 8549 h 108284"/>
                  <a:gd name="connsiteX16" fmla="*/ 53430 w 93679"/>
                  <a:gd name="connsiteY16" fmla="*/ 108285 h 108284"/>
                  <a:gd name="connsiteX17" fmla="*/ 50581 w 93679"/>
                  <a:gd name="connsiteY17" fmla="*/ 105435 h 108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93679" h="108284">
                    <a:moveTo>
                      <a:pt x="50581" y="105435"/>
                    </a:moveTo>
                    <a:cubicBezTo>
                      <a:pt x="50581" y="105435"/>
                      <a:pt x="47731" y="105435"/>
                      <a:pt x="50581" y="105435"/>
                    </a:cubicBezTo>
                    <a:cubicBezTo>
                      <a:pt x="44881" y="102586"/>
                      <a:pt x="44881" y="99736"/>
                      <a:pt x="44881" y="96886"/>
                    </a:cubicBezTo>
                    <a:cubicBezTo>
                      <a:pt x="70528" y="56992"/>
                      <a:pt x="87625" y="17098"/>
                      <a:pt x="81926" y="11398"/>
                    </a:cubicBezTo>
                    <a:cubicBezTo>
                      <a:pt x="79077" y="8549"/>
                      <a:pt x="76227" y="8549"/>
                      <a:pt x="76227" y="8549"/>
                    </a:cubicBezTo>
                    <a:lnTo>
                      <a:pt x="76227" y="8549"/>
                    </a:lnTo>
                    <a:cubicBezTo>
                      <a:pt x="70528" y="8549"/>
                      <a:pt x="64829" y="11398"/>
                      <a:pt x="59129" y="19947"/>
                    </a:cubicBezTo>
                    <a:cubicBezTo>
                      <a:pt x="53430" y="25646"/>
                      <a:pt x="47731" y="37045"/>
                      <a:pt x="39182" y="51293"/>
                    </a:cubicBezTo>
                    <a:cubicBezTo>
                      <a:pt x="27784" y="68390"/>
                      <a:pt x="16385" y="88338"/>
                      <a:pt x="10686" y="94037"/>
                    </a:cubicBezTo>
                    <a:cubicBezTo>
                      <a:pt x="7837" y="96886"/>
                      <a:pt x="4987" y="96886"/>
                      <a:pt x="2137" y="94037"/>
                    </a:cubicBezTo>
                    <a:cubicBezTo>
                      <a:pt x="-712" y="91187"/>
                      <a:pt x="-712" y="88338"/>
                      <a:pt x="2137" y="85488"/>
                    </a:cubicBezTo>
                    <a:cubicBezTo>
                      <a:pt x="7837" y="79789"/>
                      <a:pt x="19235" y="62691"/>
                      <a:pt x="30633" y="45594"/>
                    </a:cubicBezTo>
                    <a:cubicBezTo>
                      <a:pt x="39182" y="31346"/>
                      <a:pt x="47731" y="19947"/>
                      <a:pt x="53430" y="14248"/>
                    </a:cubicBezTo>
                    <a:cubicBezTo>
                      <a:pt x="61979" y="2850"/>
                      <a:pt x="70528" y="0"/>
                      <a:pt x="76227" y="0"/>
                    </a:cubicBezTo>
                    <a:lnTo>
                      <a:pt x="76227" y="0"/>
                    </a:lnTo>
                    <a:cubicBezTo>
                      <a:pt x="79077" y="0"/>
                      <a:pt x="84776" y="0"/>
                      <a:pt x="90475" y="8549"/>
                    </a:cubicBezTo>
                    <a:cubicBezTo>
                      <a:pt x="104723" y="25646"/>
                      <a:pt x="67678" y="82638"/>
                      <a:pt x="53430" y="108285"/>
                    </a:cubicBezTo>
                    <a:cubicBezTo>
                      <a:pt x="53430" y="105435"/>
                      <a:pt x="53430" y="105435"/>
                      <a:pt x="50581" y="105435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8E1F7A07-9BC2-46E6-9D46-5FE0E031A069}"/>
                  </a:ext>
                </a:extLst>
              </p:cNvPr>
              <p:cNvSpPr/>
              <p:nvPr/>
            </p:nvSpPr>
            <p:spPr>
              <a:xfrm>
                <a:off x="4970181" y="3179153"/>
                <a:ext cx="122720" cy="128973"/>
              </a:xfrm>
              <a:custGeom>
                <a:avLst/>
                <a:gdLst>
                  <a:gd name="connsiteX0" fmla="*/ 4987 w 122720"/>
                  <a:gd name="connsiteY0" fmla="*/ 128973 h 128973"/>
                  <a:gd name="connsiteX1" fmla="*/ 2137 w 122720"/>
                  <a:gd name="connsiteY1" fmla="*/ 128973 h 128973"/>
                  <a:gd name="connsiteX2" fmla="*/ 2137 w 122720"/>
                  <a:gd name="connsiteY2" fmla="*/ 120425 h 128973"/>
                  <a:gd name="connsiteX3" fmla="*/ 36333 w 122720"/>
                  <a:gd name="connsiteY3" fmla="*/ 74831 h 128973"/>
                  <a:gd name="connsiteX4" fmla="*/ 42032 w 122720"/>
                  <a:gd name="connsiteY4" fmla="*/ 66282 h 128973"/>
                  <a:gd name="connsiteX5" fmla="*/ 79077 w 122720"/>
                  <a:gd name="connsiteY5" fmla="*/ 12140 h 128973"/>
                  <a:gd name="connsiteX6" fmla="*/ 110422 w 122720"/>
                  <a:gd name="connsiteY6" fmla="*/ 741 h 128973"/>
                  <a:gd name="connsiteX7" fmla="*/ 121821 w 122720"/>
                  <a:gd name="connsiteY7" fmla="*/ 9290 h 128973"/>
                  <a:gd name="connsiteX8" fmla="*/ 93325 w 122720"/>
                  <a:gd name="connsiteY8" fmla="*/ 71981 h 128973"/>
                  <a:gd name="connsiteX9" fmla="*/ 84776 w 122720"/>
                  <a:gd name="connsiteY9" fmla="*/ 71981 h 128973"/>
                  <a:gd name="connsiteX10" fmla="*/ 84776 w 122720"/>
                  <a:gd name="connsiteY10" fmla="*/ 63433 h 128973"/>
                  <a:gd name="connsiteX11" fmla="*/ 110422 w 122720"/>
                  <a:gd name="connsiteY11" fmla="*/ 12140 h 128973"/>
                  <a:gd name="connsiteX12" fmla="*/ 107573 w 122720"/>
                  <a:gd name="connsiteY12" fmla="*/ 9290 h 128973"/>
                  <a:gd name="connsiteX13" fmla="*/ 84776 w 122720"/>
                  <a:gd name="connsiteY13" fmla="*/ 17839 h 128973"/>
                  <a:gd name="connsiteX14" fmla="*/ 50581 w 122720"/>
                  <a:gd name="connsiteY14" fmla="*/ 69132 h 128973"/>
                  <a:gd name="connsiteX15" fmla="*/ 44881 w 122720"/>
                  <a:gd name="connsiteY15" fmla="*/ 77681 h 128973"/>
                  <a:gd name="connsiteX16" fmla="*/ 7837 w 122720"/>
                  <a:gd name="connsiteY16" fmla="*/ 123274 h 128973"/>
                  <a:gd name="connsiteX17" fmla="*/ 4987 w 122720"/>
                  <a:gd name="connsiteY17" fmla="*/ 128973 h 128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2720" h="128973">
                    <a:moveTo>
                      <a:pt x="4987" y="128973"/>
                    </a:moveTo>
                    <a:cubicBezTo>
                      <a:pt x="4987" y="128973"/>
                      <a:pt x="2137" y="128973"/>
                      <a:pt x="2137" y="128973"/>
                    </a:cubicBezTo>
                    <a:cubicBezTo>
                      <a:pt x="-712" y="126124"/>
                      <a:pt x="-712" y="123274"/>
                      <a:pt x="2137" y="120425"/>
                    </a:cubicBezTo>
                    <a:cubicBezTo>
                      <a:pt x="10686" y="109026"/>
                      <a:pt x="33483" y="80530"/>
                      <a:pt x="36333" y="74831"/>
                    </a:cubicBezTo>
                    <a:cubicBezTo>
                      <a:pt x="36333" y="71981"/>
                      <a:pt x="39182" y="69132"/>
                      <a:pt x="42032" y="66282"/>
                    </a:cubicBezTo>
                    <a:cubicBezTo>
                      <a:pt x="56280" y="43485"/>
                      <a:pt x="70528" y="17839"/>
                      <a:pt x="79077" y="12140"/>
                    </a:cubicBezTo>
                    <a:cubicBezTo>
                      <a:pt x="87625" y="3591"/>
                      <a:pt x="99024" y="-2108"/>
                      <a:pt x="110422" y="741"/>
                    </a:cubicBezTo>
                    <a:cubicBezTo>
                      <a:pt x="116121" y="741"/>
                      <a:pt x="118971" y="6440"/>
                      <a:pt x="121821" y="9290"/>
                    </a:cubicBezTo>
                    <a:cubicBezTo>
                      <a:pt x="127520" y="23538"/>
                      <a:pt x="104723" y="57733"/>
                      <a:pt x="93325" y="71981"/>
                    </a:cubicBezTo>
                    <a:cubicBezTo>
                      <a:pt x="90475" y="74831"/>
                      <a:pt x="87625" y="74831"/>
                      <a:pt x="84776" y="71981"/>
                    </a:cubicBezTo>
                    <a:cubicBezTo>
                      <a:pt x="81926" y="69132"/>
                      <a:pt x="81926" y="66282"/>
                      <a:pt x="84776" y="63433"/>
                    </a:cubicBezTo>
                    <a:cubicBezTo>
                      <a:pt x="101873" y="40636"/>
                      <a:pt x="113272" y="17839"/>
                      <a:pt x="110422" y="12140"/>
                    </a:cubicBezTo>
                    <a:cubicBezTo>
                      <a:pt x="110422" y="9290"/>
                      <a:pt x="107573" y="9290"/>
                      <a:pt x="107573" y="9290"/>
                    </a:cubicBezTo>
                    <a:cubicBezTo>
                      <a:pt x="101873" y="9290"/>
                      <a:pt x="90475" y="12140"/>
                      <a:pt x="84776" y="17839"/>
                    </a:cubicBezTo>
                    <a:cubicBezTo>
                      <a:pt x="76227" y="23538"/>
                      <a:pt x="59129" y="54884"/>
                      <a:pt x="50581" y="69132"/>
                    </a:cubicBezTo>
                    <a:cubicBezTo>
                      <a:pt x="47731" y="74831"/>
                      <a:pt x="44881" y="77681"/>
                      <a:pt x="44881" y="77681"/>
                    </a:cubicBezTo>
                    <a:cubicBezTo>
                      <a:pt x="39182" y="86229"/>
                      <a:pt x="10686" y="123274"/>
                      <a:pt x="7837" y="123274"/>
                    </a:cubicBezTo>
                    <a:cubicBezTo>
                      <a:pt x="7837" y="128973"/>
                      <a:pt x="4987" y="128973"/>
                      <a:pt x="4987" y="128973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4" name="图形 1">
              <a:extLst>
                <a:ext uri="{FF2B5EF4-FFF2-40B4-BE49-F238E27FC236}">
                  <a16:creationId xmlns:a16="http://schemas.microsoft.com/office/drawing/2014/main" id="{58D81753-55C3-41A2-AA4D-8F7FE56DBEEA}"/>
                </a:ext>
              </a:extLst>
            </p:cNvPr>
            <p:cNvGrpSpPr/>
            <p:nvPr/>
          </p:nvGrpSpPr>
          <p:grpSpPr>
            <a:xfrm>
              <a:off x="2364930" y="2491268"/>
              <a:ext cx="200956" cy="298430"/>
              <a:chOff x="2364930" y="2491268"/>
              <a:chExt cx="200956" cy="298430"/>
            </a:xfrm>
          </p:grpSpPr>
          <p:grpSp>
            <p:nvGrpSpPr>
              <p:cNvPr id="55" name="图形 1">
                <a:extLst>
                  <a:ext uri="{FF2B5EF4-FFF2-40B4-BE49-F238E27FC236}">
                    <a16:creationId xmlns:a16="http://schemas.microsoft.com/office/drawing/2014/main" id="{58D81753-55C3-41A2-AA4D-8F7FE56DBEEA}"/>
                  </a:ext>
                </a:extLst>
              </p:cNvPr>
              <p:cNvGrpSpPr/>
              <p:nvPr/>
            </p:nvGrpSpPr>
            <p:grpSpPr>
              <a:xfrm>
                <a:off x="2365258" y="2491268"/>
                <a:ext cx="200628" cy="298430"/>
                <a:chOff x="2365258" y="2491268"/>
                <a:chExt cx="200628" cy="298430"/>
              </a:xfrm>
            </p:grpSpPr>
            <p:sp>
              <p:nvSpPr>
                <p:cNvPr id="56" name="任意多边形: 形状 55">
                  <a:extLst>
                    <a:ext uri="{FF2B5EF4-FFF2-40B4-BE49-F238E27FC236}">
                      <a16:creationId xmlns:a16="http://schemas.microsoft.com/office/drawing/2014/main" id="{6F57F122-FB1D-4786-B5D2-15AA13B5B6B2}"/>
                    </a:ext>
                  </a:extLst>
                </p:cNvPr>
                <p:cNvSpPr/>
                <p:nvPr/>
              </p:nvSpPr>
              <p:spPr>
                <a:xfrm>
                  <a:off x="2365258" y="2498098"/>
                  <a:ext cx="200628" cy="291600"/>
                </a:xfrm>
                <a:custGeom>
                  <a:avLst/>
                  <a:gdLst>
                    <a:gd name="connsiteX0" fmla="*/ 2522 w 200628"/>
                    <a:gd name="connsiteY0" fmla="*/ 148921 h 291600"/>
                    <a:gd name="connsiteX1" fmla="*/ 16770 w 200628"/>
                    <a:gd name="connsiteY1" fmla="*/ 257206 h 291600"/>
                    <a:gd name="connsiteX2" fmla="*/ 110807 w 200628"/>
                    <a:gd name="connsiteY2" fmla="*/ 288551 h 291600"/>
                    <a:gd name="connsiteX3" fmla="*/ 113656 w 200628"/>
                    <a:gd name="connsiteY3" fmla="*/ 285702 h 291600"/>
                    <a:gd name="connsiteX4" fmla="*/ 116506 w 200628"/>
                    <a:gd name="connsiteY4" fmla="*/ 285702 h 291600"/>
                    <a:gd name="connsiteX5" fmla="*/ 199145 w 200628"/>
                    <a:gd name="connsiteY5" fmla="*/ 154620 h 291600"/>
                    <a:gd name="connsiteX6" fmla="*/ 170648 w 200628"/>
                    <a:gd name="connsiteY6" fmla="*/ 154620 h 291600"/>
                    <a:gd name="connsiteX7" fmla="*/ 142152 w 200628"/>
                    <a:gd name="connsiteY7" fmla="*/ 205913 h 291600"/>
                    <a:gd name="connsiteX8" fmla="*/ 153551 w 200628"/>
                    <a:gd name="connsiteY8" fmla="*/ 54884 h 291600"/>
                    <a:gd name="connsiteX9" fmla="*/ 130754 w 200628"/>
                    <a:gd name="connsiteY9" fmla="*/ 34936 h 291600"/>
                    <a:gd name="connsiteX10" fmla="*/ 122205 w 200628"/>
                    <a:gd name="connsiteY10" fmla="*/ 71981 h 291600"/>
                    <a:gd name="connsiteX11" fmla="*/ 113656 w 200628"/>
                    <a:gd name="connsiteY11" fmla="*/ 120425 h 291600"/>
                    <a:gd name="connsiteX12" fmla="*/ 105108 w 200628"/>
                    <a:gd name="connsiteY12" fmla="*/ 57733 h 291600"/>
                    <a:gd name="connsiteX13" fmla="*/ 96559 w 200628"/>
                    <a:gd name="connsiteY13" fmla="*/ 12140 h 291600"/>
                    <a:gd name="connsiteX14" fmla="*/ 73762 w 200628"/>
                    <a:gd name="connsiteY14" fmla="*/ 741 h 291600"/>
                    <a:gd name="connsiteX15" fmla="*/ 56664 w 200628"/>
                    <a:gd name="connsiteY15" fmla="*/ 20688 h 291600"/>
                    <a:gd name="connsiteX16" fmla="*/ 53815 w 200628"/>
                    <a:gd name="connsiteY16" fmla="*/ 17839 h 291600"/>
                    <a:gd name="connsiteX17" fmla="*/ 42416 w 200628"/>
                    <a:gd name="connsiteY17" fmla="*/ 14989 h 291600"/>
                    <a:gd name="connsiteX18" fmla="*/ 33867 w 200628"/>
                    <a:gd name="connsiteY18" fmla="*/ 54884 h 291600"/>
                    <a:gd name="connsiteX19" fmla="*/ 36717 w 200628"/>
                    <a:gd name="connsiteY19" fmla="*/ 77681 h 291600"/>
                    <a:gd name="connsiteX20" fmla="*/ 33867 w 200628"/>
                    <a:gd name="connsiteY20" fmla="*/ 71981 h 291600"/>
                    <a:gd name="connsiteX21" fmla="*/ 16770 w 200628"/>
                    <a:gd name="connsiteY21" fmla="*/ 63433 h 291600"/>
                    <a:gd name="connsiteX22" fmla="*/ 2522 w 200628"/>
                    <a:gd name="connsiteY22" fmla="*/ 148921 h 291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00628" h="291600">
                      <a:moveTo>
                        <a:pt x="2522" y="148921"/>
                      </a:moveTo>
                      <a:cubicBezTo>
                        <a:pt x="5371" y="183116"/>
                        <a:pt x="-11726" y="228710"/>
                        <a:pt x="16770" y="257206"/>
                      </a:cubicBezTo>
                      <a:cubicBezTo>
                        <a:pt x="36717" y="277153"/>
                        <a:pt x="85160" y="299950"/>
                        <a:pt x="110807" y="288551"/>
                      </a:cubicBezTo>
                      <a:cubicBezTo>
                        <a:pt x="113656" y="288551"/>
                        <a:pt x="113656" y="285702"/>
                        <a:pt x="113656" y="285702"/>
                      </a:cubicBezTo>
                      <a:cubicBezTo>
                        <a:pt x="113656" y="285702"/>
                        <a:pt x="113656" y="285702"/>
                        <a:pt x="116506" y="285702"/>
                      </a:cubicBezTo>
                      <a:cubicBezTo>
                        <a:pt x="179197" y="268604"/>
                        <a:pt x="207693" y="203063"/>
                        <a:pt x="199145" y="154620"/>
                      </a:cubicBezTo>
                      <a:cubicBezTo>
                        <a:pt x="199145" y="151770"/>
                        <a:pt x="173498" y="143221"/>
                        <a:pt x="170648" y="154620"/>
                      </a:cubicBezTo>
                      <a:cubicBezTo>
                        <a:pt x="164949" y="174567"/>
                        <a:pt x="156400" y="194514"/>
                        <a:pt x="142152" y="205913"/>
                      </a:cubicBezTo>
                      <a:cubicBezTo>
                        <a:pt x="142152" y="154620"/>
                        <a:pt x="164949" y="106177"/>
                        <a:pt x="153551" y="54884"/>
                      </a:cubicBezTo>
                      <a:cubicBezTo>
                        <a:pt x="150701" y="46335"/>
                        <a:pt x="145002" y="23538"/>
                        <a:pt x="130754" y="34936"/>
                      </a:cubicBezTo>
                      <a:cubicBezTo>
                        <a:pt x="122205" y="43485"/>
                        <a:pt x="125055" y="60583"/>
                        <a:pt x="122205" y="71981"/>
                      </a:cubicBezTo>
                      <a:cubicBezTo>
                        <a:pt x="119356" y="89079"/>
                        <a:pt x="116506" y="103327"/>
                        <a:pt x="113656" y="120425"/>
                      </a:cubicBezTo>
                      <a:cubicBezTo>
                        <a:pt x="110807" y="100477"/>
                        <a:pt x="107957" y="77681"/>
                        <a:pt x="105108" y="57733"/>
                      </a:cubicBezTo>
                      <a:cubicBezTo>
                        <a:pt x="102258" y="43485"/>
                        <a:pt x="105108" y="26388"/>
                        <a:pt x="96559" y="12140"/>
                      </a:cubicBezTo>
                      <a:cubicBezTo>
                        <a:pt x="90860" y="3591"/>
                        <a:pt x="82311" y="-2108"/>
                        <a:pt x="73762" y="741"/>
                      </a:cubicBezTo>
                      <a:cubicBezTo>
                        <a:pt x="65213" y="3591"/>
                        <a:pt x="59514" y="12140"/>
                        <a:pt x="56664" y="20688"/>
                      </a:cubicBezTo>
                      <a:cubicBezTo>
                        <a:pt x="56664" y="20688"/>
                        <a:pt x="56664" y="20688"/>
                        <a:pt x="53815" y="17839"/>
                      </a:cubicBezTo>
                      <a:cubicBezTo>
                        <a:pt x="53815" y="17839"/>
                        <a:pt x="45266" y="12140"/>
                        <a:pt x="42416" y="14989"/>
                      </a:cubicBezTo>
                      <a:cubicBezTo>
                        <a:pt x="31018" y="23538"/>
                        <a:pt x="33867" y="37786"/>
                        <a:pt x="33867" y="54884"/>
                      </a:cubicBezTo>
                      <a:cubicBezTo>
                        <a:pt x="33867" y="63433"/>
                        <a:pt x="33867" y="69132"/>
                        <a:pt x="36717" y="77681"/>
                      </a:cubicBezTo>
                      <a:cubicBezTo>
                        <a:pt x="36717" y="74831"/>
                        <a:pt x="33867" y="74831"/>
                        <a:pt x="33867" y="71981"/>
                      </a:cubicBezTo>
                      <a:cubicBezTo>
                        <a:pt x="31018" y="66282"/>
                        <a:pt x="25319" y="63433"/>
                        <a:pt x="16770" y="63433"/>
                      </a:cubicBezTo>
                      <a:cubicBezTo>
                        <a:pt x="-328" y="60583"/>
                        <a:pt x="2522" y="128973"/>
                        <a:pt x="2522" y="148921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6018CF00-4F38-4318-A097-CF54F6ED8EE0}"/>
                    </a:ext>
                  </a:extLst>
                </p:cNvPr>
                <p:cNvSpPr/>
                <p:nvPr/>
              </p:nvSpPr>
              <p:spPr>
                <a:xfrm>
                  <a:off x="2439020" y="2698311"/>
                  <a:ext cx="48443" cy="37044"/>
                </a:xfrm>
                <a:custGeom>
                  <a:avLst/>
                  <a:gdLst>
                    <a:gd name="connsiteX0" fmla="*/ 5699 w 48443"/>
                    <a:gd name="connsiteY0" fmla="*/ 37045 h 37044"/>
                    <a:gd name="connsiteX1" fmla="*/ 5699 w 48443"/>
                    <a:gd name="connsiteY1" fmla="*/ 37045 h 37044"/>
                    <a:gd name="connsiteX2" fmla="*/ 0 w 48443"/>
                    <a:gd name="connsiteY2" fmla="*/ 31346 h 37044"/>
                    <a:gd name="connsiteX3" fmla="*/ 42744 w 48443"/>
                    <a:gd name="connsiteY3" fmla="*/ 0 h 37044"/>
                    <a:gd name="connsiteX4" fmla="*/ 42744 w 48443"/>
                    <a:gd name="connsiteY4" fmla="*/ 0 h 37044"/>
                    <a:gd name="connsiteX5" fmla="*/ 48443 w 48443"/>
                    <a:gd name="connsiteY5" fmla="*/ 5699 h 37044"/>
                    <a:gd name="connsiteX6" fmla="*/ 42744 w 48443"/>
                    <a:gd name="connsiteY6" fmla="*/ 11398 h 37044"/>
                    <a:gd name="connsiteX7" fmla="*/ 11398 w 48443"/>
                    <a:gd name="connsiteY7" fmla="*/ 34195 h 37044"/>
                    <a:gd name="connsiteX8" fmla="*/ 5699 w 48443"/>
                    <a:gd name="connsiteY8" fmla="*/ 37045 h 37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8443" h="37044">
                      <a:moveTo>
                        <a:pt x="5699" y="37045"/>
                      </a:moveTo>
                      <a:cubicBezTo>
                        <a:pt x="5699" y="37045"/>
                        <a:pt x="5699" y="37045"/>
                        <a:pt x="5699" y="37045"/>
                      </a:cubicBezTo>
                      <a:cubicBezTo>
                        <a:pt x="2850" y="37045"/>
                        <a:pt x="0" y="34195"/>
                        <a:pt x="0" y="31346"/>
                      </a:cubicBezTo>
                      <a:cubicBezTo>
                        <a:pt x="5699" y="5699"/>
                        <a:pt x="28496" y="0"/>
                        <a:pt x="42744" y="0"/>
                      </a:cubicBezTo>
                      <a:lnTo>
                        <a:pt x="42744" y="0"/>
                      </a:lnTo>
                      <a:cubicBezTo>
                        <a:pt x="45594" y="0"/>
                        <a:pt x="48443" y="2850"/>
                        <a:pt x="48443" y="5699"/>
                      </a:cubicBezTo>
                      <a:cubicBezTo>
                        <a:pt x="48443" y="8549"/>
                        <a:pt x="45594" y="11398"/>
                        <a:pt x="42744" y="11398"/>
                      </a:cubicBezTo>
                      <a:cubicBezTo>
                        <a:pt x="42744" y="11398"/>
                        <a:pt x="17098" y="11398"/>
                        <a:pt x="11398" y="34195"/>
                      </a:cubicBezTo>
                      <a:cubicBezTo>
                        <a:pt x="11398" y="34195"/>
                        <a:pt x="8549" y="37045"/>
                        <a:pt x="5699" y="37045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6EAE4E23-44A3-4C8A-8835-3E28D5517217}"/>
                    </a:ext>
                  </a:extLst>
                </p:cNvPr>
                <p:cNvSpPr/>
                <p:nvPr/>
              </p:nvSpPr>
              <p:spPr>
                <a:xfrm>
                  <a:off x="2419073" y="2491268"/>
                  <a:ext cx="80969" cy="130103"/>
                </a:xfrm>
                <a:custGeom>
                  <a:avLst/>
                  <a:gdLst>
                    <a:gd name="connsiteX0" fmla="*/ 59842 w 80969"/>
                    <a:gd name="connsiteY0" fmla="*/ 130104 h 130103"/>
                    <a:gd name="connsiteX1" fmla="*/ 59842 w 80969"/>
                    <a:gd name="connsiteY1" fmla="*/ 130104 h 130103"/>
                    <a:gd name="connsiteX2" fmla="*/ 54142 w 80969"/>
                    <a:gd name="connsiteY2" fmla="*/ 124405 h 130103"/>
                    <a:gd name="connsiteX3" fmla="*/ 34195 w 80969"/>
                    <a:gd name="connsiteY3" fmla="*/ 13270 h 130103"/>
                    <a:gd name="connsiteX4" fmla="*/ 19947 w 80969"/>
                    <a:gd name="connsiteY4" fmla="*/ 10421 h 130103"/>
                    <a:gd name="connsiteX5" fmla="*/ 11398 w 80969"/>
                    <a:gd name="connsiteY5" fmla="*/ 21819 h 130103"/>
                    <a:gd name="connsiteX6" fmla="*/ 5699 w 80969"/>
                    <a:gd name="connsiteY6" fmla="*/ 27518 h 130103"/>
                    <a:gd name="connsiteX7" fmla="*/ 0 w 80969"/>
                    <a:gd name="connsiteY7" fmla="*/ 21819 h 130103"/>
                    <a:gd name="connsiteX8" fmla="*/ 11398 w 80969"/>
                    <a:gd name="connsiteY8" fmla="*/ 1872 h 130103"/>
                    <a:gd name="connsiteX9" fmla="*/ 37045 w 80969"/>
                    <a:gd name="connsiteY9" fmla="*/ 4721 h 130103"/>
                    <a:gd name="connsiteX10" fmla="*/ 59842 w 80969"/>
                    <a:gd name="connsiteY10" fmla="*/ 87360 h 130103"/>
                    <a:gd name="connsiteX11" fmla="*/ 71240 w 80969"/>
                    <a:gd name="connsiteY11" fmla="*/ 38917 h 130103"/>
                    <a:gd name="connsiteX12" fmla="*/ 76939 w 80969"/>
                    <a:gd name="connsiteY12" fmla="*/ 36067 h 130103"/>
                    <a:gd name="connsiteX13" fmla="*/ 79789 w 80969"/>
                    <a:gd name="connsiteY13" fmla="*/ 41766 h 130103"/>
                    <a:gd name="connsiteX14" fmla="*/ 62691 w 80969"/>
                    <a:gd name="connsiteY14" fmla="*/ 124405 h 130103"/>
                    <a:gd name="connsiteX15" fmla="*/ 59842 w 80969"/>
                    <a:gd name="connsiteY15" fmla="*/ 130104 h 1301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0969" h="130103">
                      <a:moveTo>
                        <a:pt x="59842" y="130104"/>
                      </a:moveTo>
                      <a:lnTo>
                        <a:pt x="59842" y="130104"/>
                      </a:lnTo>
                      <a:cubicBezTo>
                        <a:pt x="56992" y="130104"/>
                        <a:pt x="54142" y="127254"/>
                        <a:pt x="54142" y="124405"/>
                      </a:cubicBezTo>
                      <a:cubicBezTo>
                        <a:pt x="48443" y="75961"/>
                        <a:pt x="39894" y="18969"/>
                        <a:pt x="34195" y="13270"/>
                      </a:cubicBezTo>
                      <a:cubicBezTo>
                        <a:pt x="28496" y="10421"/>
                        <a:pt x="22797" y="10421"/>
                        <a:pt x="19947" y="10421"/>
                      </a:cubicBezTo>
                      <a:cubicBezTo>
                        <a:pt x="14248" y="13270"/>
                        <a:pt x="14248" y="16120"/>
                        <a:pt x="11398" y="21819"/>
                      </a:cubicBezTo>
                      <a:cubicBezTo>
                        <a:pt x="11398" y="24669"/>
                        <a:pt x="8549" y="27518"/>
                        <a:pt x="5699" y="27518"/>
                      </a:cubicBezTo>
                      <a:cubicBezTo>
                        <a:pt x="2850" y="27518"/>
                        <a:pt x="0" y="24669"/>
                        <a:pt x="0" y="21819"/>
                      </a:cubicBezTo>
                      <a:cubicBezTo>
                        <a:pt x="0" y="13270"/>
                        <a:pt x="5699" y="4721"/>
                        <a:pt x="11398" y="1872"/>
                      </a:cubicBezTo>
                      <a:cubicBezTo>
                        <a:pt x="19947" y="-978"/>
                        <a:pt x="28496" y="-978"/>
                        <a:pt x="37045" y="4721"/>
                      </a:cubicBezTo>
                      <a:cubicBezTo>
                        <a:pt x="45594" y="10421"/>
                        <a:pt x="54142" y="50315"/>
                        <a:pt x="59842" y="87360"/>
                      </a:cubicBezTo>
                      <a:cubicBezTo>
                        <a:pt x="65541" y="61713"/>
                        <a:pt x="71240" y="41766"/>
                        <a:pt x="71240" y="38917"/>
                      </a:cubicBezTo>
                      <a:cubicBezTo>
                        <a:pt x="71240" y="36067"/>
                        <a:pt x="74090" y="33217"/>
                        <a:pt x="76939" y="36067"/>
                      </a:cubicBezTo>
                      <a:cubicBezTo>
                        <a:pt x="79789" y="36067"/>
                        <a:pt x="82639" y="38917"/>
                        <a:pt x="79789" y="41766"/>
                      </a:cubicBezTo>
                      <a:cubicBezTo>
                        <a:pt x="79789" y="41766"/>
                        <a:pt x="65541" y="93059"/>
                        <a:pt x="62691" y="124405"/>
                      </a:cubicBezTo>
                      <a:cubicBezTo>
                        <a:pt x="65541" y="127254"/>
                        <a:pt x="62691" y="130104"/>
                        <a:pt x="59842" y="130104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0B6C243F-A1F2-44E2-8F3D-5A8B5DB1763A}"/>
                  </a:ext>
                </a:extLst>
              </p:cNvPr>
              <p:cNvSpPr/>
              <p:nvPr/>
            </p:nvSpPr>
            <p:spPr>
              <a:xfrm>
                <a:off x="2364930" y="2546102"/>
                <a:ext cx="51292" cy="103766"/>
              </a:xfrm>
              <a:custGeom>
                <a:avLst/>
                <a:gdLst>
                  <a:gd name="connsiteX0" fmla="*/ 42744 w 51292"/>
                  <a:gd name="connsiteY0" fmla="*/ 103766 h 103766"/>
                  <a:gd name="connsiteX1" fmla="*/ 39894 w 51292"/>
                  <a:gd name="connsiteY1" fmla="*/ 100917 h 103766"/>
                  <a:gd name="connsiteX2" fmla="*/ 37045 w 51292"/>
                  <a:gd name="connsiteY2" fmla="*/ 58172 h 103766"/>
                  <a:gd name="connsiteX3" fmla="*/ 37045 w 51292"/>
                  <a:gd name="connsiteY3" fmla="*/ 26827 h 103766"/>
                  <a:gd name="connsiteX4" fmla="*/ 31346 w 51292"/>
                  <a:gd name="connsiteY4" fmla="*/ 12579 h 103766"/>
                  <a:gd name="connsiteX5" fmla="*/ 22797 w 51292"/>
                  <a:gd name="connsiteY5" fmla="*/ 12579 h 103766"/>
                  <a:gd name="connsiteX6" fmla="*/ 11398 w 51292"/>
                  <a:gd name="connsiteY6" fmla="*/ 86669 h 103766"/>
                  <a:gd name="connsiteX7" fmla="*/ 5699 w 51292"/>
                  <a:gd name="connsiteY7" fmla="*/ 92368 h 103766"/>
                  <a:gd name="connsiteX8" fmla="*/ 0 w 51292"/>
                  <a:gd name="connsiteY8" fmla="*/ 86669 h 103766"/>
                  <a:gd name="connsiteX9" fmla="*/ 19947 w 51292"/>
                  <a:gd name="connsiteY9" fmla="*/ 1180 h 103766"/>
                  <a:gd name="connsiteX10" fmla="*/ 37045 w 51292"/>
                  <a:gd name="connsiteY10" fmla="*/ 4030 h 103766"/>
                  <a:gd name="connsiteX11" fmla="*/ 48443 w 51292"/>
                  <a:gd name="connsiteY11" fmla="*/ 23977 h 103766"/>
                  <a:gd name="connsiteX12" fmla="*/ 48443 w 51292"/>
                  <a:gd name="connsiteY12" fmla="*/ 55323 h 103766"/>
                  <a:gd name="connsiteX13" fmla="*/ 51293 w 51292"/>
                  <a:gd name="connsiteY13" fmla="*/ 95217 h 103766"/>
                  <a:gd name="connsiteX14" fmla="*/ 42744 w 51292"/>
                  <a:gd name="connsiteY14" fmla="*/ 103766 h 103766"/>
                  <a:gd name="connsiteX15" fmla="*/ 42744 w 51292"/>
                  <a:gd name="connsiteY15" fmla="*/ 103766 h 103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1292" h="103766">
                    <a:moveTo>
                      <a:pt x="42744" y="103766"/>
                    </a:moveTo>
                    <a:cubicBezTo>
                      <a:pt x="42744" y="103766"/>
                      <a:pt x="39894" y="103766"/>
                      <a:pt x="39894" y="100917"/>
                    </a:cubicBezTo>
                    <a:cubicBezTo>
                      <a:pt x="37045" y="92368"/>
                      <a:pt x="37045" y="78120"/>
                      <a:pt x="37045" y="58172"/>
                    </a:cubicBezTo>
                    <a:cubicBezTo>
                      <a:pt x="37045" y="46774"/>
                      <a:pt x="37045" y="32526"/>
                      <a:pt x="37045" y="26827"/>
                    </a:cubicBezTo>
                    <a:cubicBezTo>
                      <a:pt x="37045" y="21128"/>
                      <a:pt x="34195" y="15428"/>
                      <a:pt x="31346" y="12579"/>
                    </a:cubicBezTo>
                    <a:cubicBezTo>
                      <a:pt x="28496" y="12579"/>
                      <a:pt x="25646" y="9729"/>
                      <a:pt x="22797" y="12579"/>
                    </a:cubicBezTo>
                    <a:cubicBezTo>
                      <a:pt x="14248" y="15428"/>
                      <a:pt x="11398" y="49624"/>
                      <a:pt x="11398" y="86669"/>
                    </a:cubicBezTo>
                    <a:cubicBezTo>
                      <a:pt x="11398" y="89518"/>
                      <a:pt x="8549" y="92368"/>
                      <a:pt x="5699" y="92368"/>
                    </a:cubicBezTo>
                    <a:cubicBezTo>
                      <a:pt x="2850" y="92368"/>
                      <a:pt x="0" y="89518"/>
                      <a:pt x="0" y="86669"/>
                    </a:cubicBezTo>
                    <a:cubicBezTo>
                      <a:pt x="0" y="66721"/>
                      <a:pt x="0" y="6879"/>
                      <a:pt x="19947" y="1180"/>
                    </a:cubicBezTo>
                    <a:cubicBezTo>
                      <a:pt x="25646" y="-1669"/>
                      <a:pt x="31346" y="1180"/>
                      <a:pt x="37045" y="4030"/>
                    </a:cubicBezTo>
                    <a:cubicBezTo>
                      <a:pt x="42744" y="6879"/>
                      <a:pt x="45594" y="15428"/>
                      <a:pt x="48443" y="23977"/>
                    </a:cubicBezTo>
                    <a:cubicBezTo>
                      <a:pt x="48443" y="29676"/>
                      <a:pt x="48443" y="43924"/>
                      <a:pt x="48443" y="55323"/>
                    </a:cubicBezTo>
                    <a:cubicBezTo>
                      <a:pt x="48443" y="69571"/>
                      <a:pt x="48443" y="89518"/>
                      <a:pt x="51293" y="95217"/>
                    </a:cubicBezTo>
                    <a:cubicBezTo>
                      <a:pt x="48443" y="100917"/>
                      <a:pt x="48443" y="103766"/>
                      <a:pt x="42744" y="103766"/>
                    </a:cubicBezTo>
                    <a:cubicBezTo>
                      <a:pt x="45594" y="103766"/>
                      <a:pt x="45594" y="103766"/>
                      <a:pt x="42744" y="10376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86CD3DF3-DBCC-4744-A7D1-DCAD2173B9AE}"/>
                  </a:ext>
                </a:extLst>
              </p:cNvPr>
              <p:cNvSpPr/>
              <p:nvPr/>
            </p:nvSpPr>
            <p:spPr>
              <a:xfrm>
                <a:off x="2395959" y="2498839"/>
                <a:ext cx="51609" cy="139630"/>
              </a:xfrm>
              <a:custGeom>
                <a:avLst/>
                <a:gdLst>
                  <a:gd name="connsiteX0" fmla="*/ 48760 w 51609"/>
                  <a:gd name="connsiteY0" fmla="*/ 139631 h 139630"/>
                  <a:gd name="connsiteX1" fmla="*/ 43061 w 51609"/>
                  <a:gd name="connsiteY1" fmla="*/ 133931 h 139630"/>
                  <a:gd name="connsiteX2" fmla="*/ 37361 w 51609"/>
                  <a:gd name="connsiteY2" fmla="*/ 85488 h 139630"/>
                  <a:gd name="connsiteX3" fmla="*/ 37361 w 51609"/>
                  <a:gd name="connsiteY3" fmla="*/ 76939 h 139630"/>
                  <a:gd name="connsiteX4" fmla="*/ 34512 w 51609"/>
                  <a:gd name="connsiteY4" fmla="*/ 25646 h 139630"/>
                  <a:gd name="connsiteX5" fmla="*/ 20264 w 51609"/>
                  <a:gd name="connsiteY5" fmla="*/ 11398 h 139630"/>
                  <a:gd name="connsiteX6" fmla="*/ 14565 w 51609"/>
                  <a:gd name="connsiteY6" fmla="*/ 11398 h 139630"/>
                  <a:gd name="connsiteX7" fmla="*/ 11715 w 51609"/>
                  <a:gd name="connsiteY7" fmla="*/ 56992 h 139630"/>
                  <a:gd name="connsiteX8" fmla="*/ 6016 w 51609"/>
                  <a:gd name="connsiteY8" fmla="*/ 65541 h 139630"/>
                  <a:gd name="connsiteX9" fmla="*/ 6016 w 51609"/>
                  <a:gd name="connsiteY9" fmla="*/ 65541 h 139630"/>
                  <a:gd name="connsiteX10" fmla="*/ 317 w 51609"/>
                  <a:gd name="connsiteY10" fmla="*/ 59842 h 139630"/>
                  <a:gd name="connsiteX11" fmla="*/ 8865 w 51609"/>
                  <a:gd name="connsiteY11" fmla="*/ 2850 h 139630"/>
                  <a:gd name="connsiteX12" fmla="*/ 23113 w 51609"/>
                  <a:gd name="connsiteY12" fmla="*/ 0 h 139630"/>
                  <a:gd name="connsiteX13" fmla="*/ 43061 w 51609"/>
                  <a:gd name="connsiteY13" fmla="*/ 19947 h 139630"/>
                  <a:gd name="connsiteX14" fmla="*/ 45910 w 51609"/>
                  <a:gd name="connsiteY14" fmla="*/ 74090 h 139630"/>
                  <a:gd name="connsiteX15" fmla="*/ 45910 w 51609"/>
                  <a:gd name="connsiteY15" fmla="*/ 82638 h 139630"/>
                  <a:gd name="connsiteX16" fmla="*/ 51609 w 51609"/>
                  <a:gd name="connsiteY16" fmla="*/ 128232 h 139630"/>
                  <a:gd name="connsiteX17" fmla="*/ 48760 w 51609"/>
                  <a:gd name="connsiteY17" fmla="*/ 139631 h 139630"/>
                  <a:gd name="connsiteX18" fmla="*/ 48760 w 51609"/>
                  <a:gd name="connsiteY18" fmla="*/ 139631 h 139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1609" h="139630">
                    <a:moveTo>
                      <a:pt x="48760" y="139631"/>
                    </a:moveTo>
                    <a:cubicBezTo>
                      <a:pt x="45910" y="139631"/>
                      <a:pt x="43061" y="136781"/>
                      <a:pt x="43061" y="133931"/>
                    </a:cubicBezTo>
                    <a:cubicBezTo>
                      <a:pt x="43061" y="131082"/>
                      <a:pt x="37361" y="94037"/>
                      <a:pt x="37361" y="85488"/>
                    </a:cubicBezTo>
                    <a:cubicBezTo>
                      <a:pt x="37361" y="82638"/>
                      <a:pt x="37361" y="79789"/>
                      <a:pt x="37361" y="76939"/>
                    </a:cubicBezTo>
                    <a:cubicBezTo>
                      <a:pt x="37361" y="65541"/>
                      <a:pt x="37361" y="34195"/>
                      <a:pt x="34512" y="25646"/>
                    </a:cubicBezTo>
                    <a:cubicBezTo>
                      <a:pt x="31662" y="19947"/>
                      <a:pt x="25963" y="14248"/>
                      <a:pt x="20264" y="11398"/>
                    </a:cubicBezTo>
                    <a:cubicBezTo>
                      <a:pt x="17414" y="11398"/>
                      <a:pt x="17414" y="11398"/>
                      <a:pt x="14565" y="11398"/>
                    </a:cubicBezTo>
                    <a:cubicBezTo>
                      <a:pt x="11715" y="14248"/>
                      <a:pt x="8865" y="37045"/>
                      <a:pt x="11715" y="56992"/>
                    </a:cubicBezTo>
                    <a:cubicBezTo>
                      <a:pt x="11715" y="62691"/>
                      <a:pt x="8865" y="65541"/>
                      <a:pt x="6016" y="65541"/>
                    </a:cubicBezTo>
                    <a:lnTo>
                      <a:pt x="6016" y="65541"/>
                    </a:lnTo>
                    <a:cubicBezTo>
                      <a:pt x="3166" y="65541"/>
                      <a:pt x="317" y="62691"/>
                      <a:pt x="317" y="59842"/>
                    </a:cubicBezTo>
                    <a:cubicBezTo>
                      <a:pt x="317" y="45594"/>
                      <a:pt x="-2533" y="11398"/>
                      <a:pt x="8865" y="2850"/>
                    </a:cubicBezTo>
                    <a:cubicBezTo>
                      <a:pt x="11715" y="0"/>
                      <a:pt x="17414" y="0"/>
                      <a:pt x="23113" y="0"/>
                    </a:cubicBezTo>
                    <a:cubicBezTo>
                      <a:pt x="31662" y="2850"/>
                      <a:pt x="40211" y="14248"/>
                      <a:pt x="43061" y="19947"/>
                    </a:cubicBezTo>
                    <a:cubicBezTo>
                      <a:pt x="45910" y="28496"/>
                      <a:pt x="45910" y="51293"/>
                      <a:pt x="45910" y="74090"/>
                    </a:cubicBezTo>
                    <a:cubicBezTo>
                      <a:pt x="45910" y="76939"/>
                      <a:pt x="45910" y="82638"/>
                      <a:pt x="45910" y="82638"/>
                    </a:cubicBezTo>
                    <a:cubicBezTo>
                      <a:pt x="45910" y="88338"/>
                      <a:pt x="51609" y="116834"/>
                      <a:pt x="51609" y="128232"/>
                    </a:cubicBezTo>
                    <a:cubicBezTo>
                      <a:pt x="51609" y="136781"/>
                      <a:pt x="51609" y="139631"/>
                      <a:pt x="48760" y="139631"/>
                    </a:cubicBezTo>
                    <a:cubicBezTo>
                      <a:pt x="48760" y="139631"/>
                      <a:pt x="48760" y="139631"/>
                      <a:pt x="48760" y="139631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1" name="图形 1">
              <a:extLst>
                <a:ext uri="{FF2B5EF4-FFF2-40B4-BE49-F238E27FC236}">
                  <a16:creationId xmlns:a16="http://schemas.microsoft.com/office/drawing/2014/main" id="{58D81753-55C3-41A2-AA4D-8F7FE56DBEEA}"/>
                </a:ext>
              </a:extLst>
            </p:cNvPr>
            <p:cNvGrpSpPr/>
            <p:nvPr/>
          </p:nvGrpSpPr>
          <p:grpSpPr>
            <a:xfrm>
              <a:off x="3481975" y="2840257"/>
              <a:ext cx="479176" cy="180059"/>
              <a:chOff x="3481975" y="2840257"/>
              <a:chExt cx="479176" cy="180059"/>
            </a:xfrm>
          </p:grpSpPr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A0C62B02-018E-42A1-A4E4-CD366CE787E4}"/>
                  </a:ext>
                </a:extLst>
              </p:cNvPr>
              <p:cNvSpPr/>
              <p:nvPr/>
            </p:nvSpPr>
            <p:spPr>
              <a:xfrm>
                <a:off x="3481975" y="2894934"/>
                <a:ext cx="82638" cy="68536"/>
              </a:xfrm>
              <a:custGeom>
                <a:avLst/>
                <a:gdLst>
                  <a:gd name="connsiteX0" fmla="*/ 76939 w 82638"/>
                  <a:gd name="connsiteY0" fmla="*/ 31346 h 68536"/>
                  <a:gd name="connsiteX1" fmla="*/ 0 w 82638"/>
                  <a:gd name="connsiteY1" fmla="*/ 0 h 68536"/>
                  <a:gd name="connsiteX2" fmla="*/ 14248 w 82638"/>
                  <a:gd name="connsiteY2" fmla="*/ 31346 h 68536"/>
                  <a:gd name="connsiteX3" fmla="*/ 82639 w 82638"/>
                  <a:gd name="connsiteY3" fmla="*/ 68391 h 68536"/>
                  <a:gd name="connsiteX4" fmla="*/ 76939 w 82638"/>
                  <a:gd name="connsiteY4" fmla="*/ 31346 h 68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638" h="68536">
                    <a:moveTo>
                      <a:pt x="76939" y="31346"/>
                    </a:moveTo>
                    <a:cubicBezTo>
                      <a:pt x="76939" y="31346"/>
                      <a:pt x="34195" y="25646"/>
                      <a:pt x="0" y="0"/>
                    </a:cubicBezTo>
                    <a:cubicBezTo>
                      <a:pt x="0" y="0"/>
                      <a:pt x="5699" y="22797"/>
                      <a:pt x="14248" y="31346"/>
                    </a:cubicBezTo>
                    <a:cubicBezTo>
                      <a:pt x="14248" y="31346"/>
                      <a:pt x="45594" y="71240"/>
                      <a:pt x="82639" y="68391"/>
                    </a:cubicBezTo>
                    <a:lnTo>
                      <a:pt x="76939" y="31346"/>
                    </a:ln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A72544D5-2E9E-43BE-BCFE-27985F68D0AD}"/>
                  </a:ext>
                </a:extLst>
              </p:cNvPr>
              <p:cNvSpPr/>
              <p:nvPr/>
            </p:nvSpPr>
            <p:spPr>
              <a:xfrm>
                <a:off x="3544120" y="2840257"/>
                <a:ext cx="410889" cy="180059"/>
              </a:xfrm>
              <a:custGeom>
                <a:avLst/>
                <a:gdLst>
                  <a:gd name="connsiteX0" fmla="*/ 410889 w 410889"/>
                  <a:gd name="connsiteY0" fmla="*/ 31880 h 180059"/>
                  <a:gd name="connsiteX1" fmla="*/ 393791 w 410889"/>
                  <a:gd name="connsiteY1" fmla="*/ 40429 h 180059"/>
                  <a:gd name="connsiteX2" fmla="*/ 373844 w 410889"/>
                  <a:gd name="connsiteY2" fmla="*/ 37579 h 180059"/>
                  <a:gd name="connsiteX3" fmla="*/ 368145 w 410889"/>
                  <a:gd name="connsiteY3" fmla="*/ 123067 h 180059"/>
                  <a:gd name="connsiteX4" fmla="*/ 345348 w 410889"/>
                  <a:gd name="connsiteY4" fmla="*/ 143015 h 180059"/>
                  <a:gd name="connsiteX5" fmla="*/ 74636 w 410889"/>
                  <a:gd name="connsiteY5" fmla="*/ 160112 h 180059"/>
                  <a:gd name="connsiteX6" fmla="*/ 74636 w 410889"/>
                  <a:gd name="connsiteY6" fmla="*/ 180059 h 180059"/>
                  <a:gd name="connsiteX7" fmla="*/ 31892 w 410889"/>
                  <a:gd name="connsiteY7" fmla="*/ 162962 h 180059"/>
                  <a:gd name="connsiteX8" fmla="*/ 29042 w 410889"/>
                  <a:gd name="connsiteY8" fmla="*/ 162962 h 180059"/>
                  <a:gd name="connsiteX9" fmla="*/ 29042 w 410889"/>
                  <a:gd name="connsiteY9" fmla="*/ 162962 h 180059"/>
                  <a:gd name="connsiteX10" fmla="*/ 29042 w 410889"/>
                  <a:gd name="connsiteY10" fmla="*/ 162962 h 180059"/>
                  <a:gd name="connsiteX11" fmla="*/ 17644 w 410889"/>
                  <a:gd name="connsiteY11" fmla="*/ 148714 h 180059"/>
                  <a:gd name="connsiteX12" fmla="*/ 546 w 410889"/>
                  <a:gd name="connsiteY12" fmla="*/ 48978 h 180059"/>
                  <a:gd name="connsiteX13" fmla="*/ 20493 w 410889"/>
                  <a:gd name="connsiteY13" fmla="*/ 26181 h 180059"/>
                  <a:gd name="connsiteX14" fmla="*/ 348198 w 410889"/>
                  <a:gd name="connsiteY14" fmla="*/ 534 h 180059"/>
                  <a:gd name="connsiteX15" fmla="*/ 362446 w 410889"/>
                  <a:gd name="connsiteY15" fmla="*/ 6234 h 180059"/>
                  <a:gd name="connsiteX16" fmla="*/ 362446 w 410889"/>
                  <a:gd name="connsiteY16" fmla="*/ 6234 h 180059"/>
                  <a:gd name="connsiteX17" fmla="*/ 410889 w 410889"/>
                  <a:gd name="connsiteY17" fmla="*/ 31880 h 180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10889" h="180059">
                    <a:moveTo>
                      <a:pt x="410889" y="31880"/>
                    </a:moveTo>
                    <a:cubicBezTo>
                      <a:pt x="405190" y="34730"/>
                      <a:pt x="399491" y="37579"/>
                      <a:pt x="393791" y="40429"/>
                    </a:cubicBezTo>
                    <a:cubicBezTo>
                      <a:pt x="388092" y="40429"/>
                      <a:pt x="382393" y="37579"/>
                      <a:pt x="373844" y="37579"/>
                    </a:cubicBezTo>
                    <a:cubicBezTo>
                      <a:pt x="373844" y="66075"/>
                      <a:pt x="370995" y="94571"/>
                      <a:pt x="368145" y="123067"/>
                    </a:cubicBezTo>
                    <a:cubicBezTo>
                      <a:pt x="368145" y="134466"/>
                      <a:pt x="356747" y="143015"/>
                      <a:pt x="345348" y="143015"/>
                    </a:cubicBezTo>
                    <a:cubicBezTo>
                      <a:pt x="254161" y="140165"/>
                      <a:pt x="162973" y="145864"/>
                      <a:pt x="74636" y="160112"/>
                    </a:cubicBezTo>
                    <a:cubicBezTo>
                      <a:pt x="74636" y="165811"/>
                      <a:pt x="74636" y="174360"/>
                      <a:pt x="74636" y="180059"/>
                    </a:cubicBezTo>
                    <a:cubicBezTo>
                      <a:pt x="60388" y="174360"/>
                      <a:pt x="46140" y="168661"/>
                      <a:pt x="31892" y="162962"/>
                    </a:cubicBezTo>
                    <a:cubicBezTo>
                      <a:pt x="31892" y="162962"/>
                      <a:pt x="29042" y="162962"/>
                      <a:pt x="29042" y="162962"/>
                    </a:cubicBezTo>
                    <a:lnTo>
                      <a:pt x="29042" y="162962"/>
                    </a:lnTo>
                    <a:lnTo>
                      <a:pt x="29042" y="162962"/>
                    </a:lnTo>
                    <a:cubicBezTo>
                      <a:pt x="23343" y="160112"/>
                      <a:pt x="17644" y="154413"/>
                      <a:pt x="17644" y="148714"/>
                    </a:cubicBezTo>
                    <a:cubicBezTo>
                      <a:pt x="11944" y="114518"/>
                      <a:pt x="6245" y="80323"/>
                      <a:pt x="546" y="48978"/>
                    </a:cubicBezTo>
                    <a:cubicBezTo>
                      <a:pt x="-2304" y="37579"/>
                      <a:pt x="6245" y="29030"/>
                      <a:pt x="20493" y="26181"/>
                    </a:cubicBezTo>
                    <a:cubicBezTo>
                      <a:pt x="128778" y="6234"/>
                      <a:pt x="237063" y="-2315"/>
                      <a:pt x="348198" y="534"/>
                    </a:cubicBezTo>
                    <a:cubicBezTo>
                      <a:pt x="353897" y="534"/>
                      <a:pt x="359596" y="3384"/>
                      <a:pt x="362446" y="6234"/>
                    </a:cubicBezTo>
                    <a:lnTo>
                      <a:pt x="362446" y="6234"/>
                    </a:lnTo>
                    <a:cubicBezTo>
                      <a:pt x="382393" y="14782"/>
                      <a:pt x="396641" y="23331"/>
                      <a:pt x="410889" y="3188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4" name="图形 1">
                <a:extLst>
                  <a:ext uri="{FF2B5EF4-FFF2-40B4-BE49-F238E27FC236}">
                    <a16:creationId xmlns:a16="http://schemas.microsoft.com/office/drawing/2014/main" id="{58D81753-55C3-41A2-AA4D-8F7FE56DBEEA}"/>
                  </a:ext>
                </a:extLst>
              </p:cNvPr>
              <p:cNvGrpSpPr/>
              <p:nvPr/>
            </p:nvGrpSpPr>
            <p:grpSpPr>
              <a:xfrm>
                <a:off x="3592667" y="2864254"/>
                <a:ext cx="368484" cy="156062"/>
                <a:chOff x="3592667" y="2864254"/>
                <a:chExt cx="368484" cy="156062"/>
              </a:xfrm>
            </p:grpSpPr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B495545D-1118-47E3-9750-C2E91704B0C4}"/>
                    </a:ext>
                  </a:extLst>
                </p:cNvPr>
                <p:cNvSpPr/>
                <p:nvPr/>
              </p:nvSpPr>
              <p:spPr>
                <a:xfrm>
                  <a:off x="3592667" y="2864254"/>
                  <a:ext cx="368484" cy="156062"/>
                </a:xfrm>
                <a:custGeom>
                  <a:avLst/>
                  <a:gdLst>
                    <a:gd name="connsiteX0" fmla="*/ 348095 w 368484"/>
                    <a:gd name="connsiteY0" fmla="*/ 2184 h 156062"/>
                    <a:gd name="connsiteX1" fmla="*/ 20390 w 368484"/>
                    <a:gd name="connsiteY1" fmla="*/ 16432 h 156062"/>
                    <a:gd name="connsiteX2" fmla="*/ 443 w 368484"/>
                    <a:gd name="connsiteY2" fmla="*/ 39229 h 156062"/>
                    <a:gd name="connsiteX3" fmla="*/ 14691 w 368484"/>
                    <a:gd name="connsiteY3" fmla="*/ 138965 h 156062"/>
                    <a:gd name="connsiteX4" fmla="*/ 37488 w 368484"/>
                    <a:gd name="connsiteY4" fmla="*/ 156063 h 156062"/>
                    <a:gd name="connsiteX5" fmla="*/ 336696 w 368484"/>
                    <a:gd name="connsiteY5" fmla="*/ 141815 h 156062"/>
                    <a:gd name="connsiteX6" fmla="*/ 359493 w 368484"/>
                    <a:gd name="connsiteY6" fmla="*/ 124717 h 156062"/>
                    <a:gd name="connsiteX7" fmla="*/ 368042 w 368484"/>
                    <a:gd name="connsiteY7" fmla="*/ 22131 h 156062"/>
                    <a:gd name="connsiteX8" fmla="*/ 348095 w 368484"/>
                    <a:gd name="connsiteY8" fmla="*/ 2184 h 156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8484" h="156062">
                      <a:moveTo>
                        <a:pt x="348095" y="2184"/>
                      </a:moveTo>
                      <a:cubicBezTo>
                        <a:pt x="236960" y="-3515"/>
                        <a:pt x="128675" y="2184"/>
                        <a:pt x="20390" y="16432"/>
                      </a:cubicBezTo>
                      <a:cubicBezTo>
                        <a:pt x="8992" y="19282"/>
                        <a:pt x="-2407" y="27830"/>
                        <a:pt x="443" y="39229"/>
                      </a:cubicBezTo>
                      <a:cubicBezTo>
                        <a:pt x="6142" y="73424"/>
                        <a:pt x="8992" y="107619"/>
                        <a:pt x="14691" y="138965"/>
                      </a:cubicBezTo>
                      <a:cubicBezTo>
                        <a:pt x="17540" y="150363"/>
                        <a:pt x="26089" y="156063"/>
                        <a:pt x="37488" y="156063"/>
                      </a:cubicBezTo>
                      <a:cubicBezTo>
                        <a:pt x="134374" y="141815"/>
                        <a:pt x="234110" y="136115"/>
                        <a:pt x="336696" y="141815"/>
                      </a:cubicBezTo>
                      <a:cubicBezTo>
                        <a:pt x="348095" y="141815"/>
                        <a:pt x="359493" y="133266"/>
                        <a:pt x="359493" y="124717"/>
                      </a:cubicBezTo>
                      <a:cubicBezTo>
                        <a:pt x="362343" y="90522"/>
                        <a:pt x="365192" y="56326"/>
                        <a:pt x="368042" y="22131"/>
                      </a:cubicBezTo>
                      <a:cubicBezTo>
                        <a:pt x="370891" y="13582"/>
                        <a:pt x="359493" y="2184"/>
                        <a:pt x="348095" y="2184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503F52C9-9578-408B-9E4E-E8551750BEC4}"/>
                    </a:ext>
                  </a:extLst>
                </p:cNvPr>
                <p:cNvSpPr/>
                <p:nvPr/>
              </p:nvSpPr>
              <p:spPr>
                <a:xfrm>
                  <a:off x="3615354" y="2873994"/>
                  <a:ext cx="322557" cy="138332"/>
                </a:xfrm>
                <a:custGeom>
                  <a:avLst/>
                  <a:gdLst>
                    <a:gd name="connsiteX0" fmla="*/ 302610 w 322557"/>
                    <a:gd name="connsiteY0" fmla="*/ 993 h 138332"/>
                    <a:gd name="connsiteX1" fmla="*/ 17650 w 322557"/>
                    <a:gd name="connsiteY1" fmla="*/ 15241 h 138332"/>
                    <a:gd name="connsiteX2" fmla="*/ 552 w 322557"/>
                    <a:gd name="connsiteY2" fmla="*/ 35188 h 138332"/>
                    <a:gd name="connsiteX3" fmla="*/ 11951 w 322557"/>
                    <a:gd name="connsiteY3" fmla="*/ 123526 h 138332"/>
                    <a:gd name="connsiteX4" fmla="*/ 31898 w 322557"/>
                    <a:gd name="connsiteY4" fmla="*/ 137774 h 138332"/>
                    <a:gd name="connsiteX5" fmla="*/ 296911 w 322557"/>
                    <a:gd name="connsiteY5" fmla="*/ 126376 h 138332"/>
                    <a:gd name="connsiteX6" fmla="*/ 316858 w 322557"/>
                    <a:gd name="connsiteY6" fmla="*/ 109278 h 138332"/>
                    <a:gd name="connsiteX7" fmla="*/ 322558 w 322557"/>
                    <a:gd name="connsiteY7" fmla="*/ 20940 h 138332"/>
                    <a:gd name="connsiteX8" fmla="*/ 302610 w 322557"/>
                    <a:gd name="connsiteY8" fmla="*/ 993 h 138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2557" h="138332">
                      <a:moveTo>
                        <a:pt x="302610" y="993"/>
                      </a:moveTo>
                      <a:cubicBezTo>
                        <a:pt x="205724" y="-1857"/>
                        <a:pt x="111687" y="993"/>
                        <a:pt x="17650" y="15241"/>
                      </a:cubicBezTo>
                      <a:cubicBezTo>
                        <a:pt x="6252" y="18091"/>
                        <a:pt x="-2297" y="26639"/>
                        <a:pt x="552" y="35188"/>
                      </a:cubicBezTo>
                      <a:cubicBezTo>
                        <a:pt x="3402" y="63684"/>
                        <a:pt x="9101" y="95030"/>
                        <a:pt x="11951" y="123526"/>
                      </a:cubicBezTo>
                      <a:cubicBezTo>
                        <a:pt x="11951" y="132075"/>
                        <a:pt x="23349" y="140624"/>
                        <a:pt x="31898" y="137774"/>
                      </a:cubicBezTo>
                      <a:cubicBezTo>
                        <a:pt x="117386" y="126376"/>
                        <a:pt x="205724" y="120676"/>
                        <a:pt x="296911" y="126376"/>
                      </a:cubicBezTo>
                      <a:cubicBezTo>
                        <a:pt x="308310" y="126376"/>
                        <a:pt x="316858" y="120676"/>
                        <a:pt x="316858" y="109278"/>
                      </a:cubicBezTo>
                      <a:cubicBezTo>
                        <a:pt x="319708" y="80782"/>
                        <a:pt x="322558" y="49436"/>
                        <a:pt x="322558" y="20940"/>
                      </a:cubicBezTo>
                      <a:cubicBezTo>
                        <a:pt x="322558" y="9542"/>
                        <a:pt x="314009" y="993"/>
                        <a:pt x="302610" y="993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7" name="任意多边形: 形状 66">
                  <a:extLst>
                    <a:ext uri="{FF2B5EF4-FFF2-40B4-BE49-F238E27FC236}">
                      <a16:creationId xmlns:a16="http://schemas.microsoft.com/office/drawing/2014/main" id="{113FA747-A7F8-48B4-BF13-C528172B44E8}"/>
                    </a:ext>
                  </a:extLst>
                </p:cNvPr>
                <p:cNvSpPr/>
                <p:nvPr/>
              </p:nvSpPr>
              <p:spPr>
                <a:xfrm>
                  <a:off x="3670049" y="2886385"/>
                  <a:ext cx="94036" cy="108284"/>
                </a:xfrm>
                <a:custGeom>
                  <a:avLst/>
                  <a:gdLst>
                    <a:gd name="connsiteX0" fmla="*/ 71240 w 94036"/>
                    <a:gd name="connsiteY0" fmla="*/ 108285 h 108284"/>
                    <a:gd name="connsiteX1" fmla="*/ 94037 w 94036"/>
                    <a:gd name="connsiteY1" fmla="*/ 105435 h 108284"/>
                    <a:gd name="connsiteX2" fmla="*/ 25646 w 94036"/>
                    <a:gd name="connsiteY2" fmla="*/ 0 h 108284"/>
                    <a:gd name="connsiteX3" fmla="*/ 0 w 94036"/>
                    <a:gd name="connsiteY3" fmla="*/ 2850 h 108284"/>
                    <a:gd name="connsiteX4" fmla="*/ 71240 w 94036"/>
                    <a:gd name="connsiteY4" fmla="*/ 108285 h 108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036" h="108284">
                      <a:moveTo>
                        <a:pt x="71240" y="108285"/>
                      </a:moveTo>
                      <a:cubicBezTo>
                        <a:pt x="79789" y="108285"/>
                        <a:pt x="85488" y="108285"/>
                        <a:pt x="94037" y="105435"/>
                      </a:cubicBezTo>
                      <a:cubicBezTo>
                        <a:pt x="74090" y="71240"/>
                        <a:pt x="51293" y="34195"/>
                        <a:pt x="25646" y="0"/>
                      </a:cubicBezTo>
                      <a:cubicBezTo>
                        <a:pt x="17098" y="0"/>
                        <a:pt x="8549" y="2850"/>
                        <a:pt x="0" y="2850"/>
                      </a:cubicBezTo>
                      <a:cubicBezTo>
                        <a:pt x="25646" y="37045"/>
                        <a:pt x="48443" y="71240"/>
                        <a:pt x="71240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8" name="任意多边形: 形状 67">
                  <a:extLst>
                    <a:ext uri="{FF2B5EF4-FFF2-40B4-BE49-F238E27FC236}">
                      <a16:creationId xmlns:a16="http://schemas.microsoft.com/office/drawing/2014/main" id="{52DA4785-2603-4626-AED5-C12A1186E74B}"/>
                    </a:ext>
                  </a:extLst>
                </p:cNvPr>
                <p:cNvSpPr/>
                <p:nvPr/>
              </p:nvSpPr>
              <p:spPr>
                <a:xfrm>
                  <a:off x="3718492" y="2883536"/>
                  <a:ext cx="111134" cy="108284"/>
                </a:xfrm>
                <a:custGeom>
                  <a:avLst/>
                  <a:gdLst>
                    <a:gd name="connsiteX0" fmla="*/ 68391 w 111134"/>
                    <a:gd name="connsiteY0" fmla="*/ 108285 h 108284"/>
                    <a:gd name="connsiteX1" fmla="*/ 111135 w 111134"/>
                    <a:gd name="connsiteY1" fmla="*/ 108285 h 108284"/>
                    <a:gd name="connsiteX2" fmla="*/ 48443 w 111134"/>
                    <a:gd name="connsiteY2" fmla="*/ 0 h 108284"/>
                    <a:gd name="connsiteX3" fmla="*/ 0 w 111134"/>
                    <a:gd name="connsiteY3" fmla="*/ 2850 h 108284"/>
                    <a:gd name="connsiteX4" fmla="*/ 68391 w 111134"/>
                    <a:gd name="connsiteY4" fmla="*/ 108285 h 108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1134" h="108284">
                      <a:moveTo>
                        <a:pt x="68391" y="108285"/>
                      </a:moveTo>
                      <a:cubicBezTo>
                        <a:pt x="82639" y="108285"/>
                        <a:pt x="96887" y="108285"/>
                        <a:pt x="111135" y="108285"/>
                      </a:cubicBezTo>
                      <a:cubicBezTo>
                        <a:pt x="91187" y="71240"/>
                        <a:pt x="71240" y="37045"/>
                        <a:pt x="48443" y="0"/>
                      </a:cubicBezTo>
                      <a:cubicBezTo>
                        <a:pt x="31346" y="0"/>
                        <a:pt x="17098" y="2850"/>
                        <a:pt x="0" y="2850"/>
                      </a:cubicBezTo>
                      <a:cubicBezTo>
                        <a:pt x="25646" y="37045"/>
                        <a:pt x="48443" y="71240"/>
                        <a:pt x="68391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69" name="图形 1">
              <a:extLst>
                <a:ext uri="{FF2B5EF4-FFF2-40B4-BE49-F238E27FC236}">
                  <a16:creationId xmlns:a16="http://schemas.microsoft.com/office/drawing/2014/main" id="{58D81753-55C3-41A2-AA4D-8F7FE56DBEEA}"/>
                </a:ext>
              </a:extLst>
            </p:cNvPr>
            <p:cNvGrpSpPr/>
            <p:nvPr/>
          </p:nvGrpSpPr>
          <p:grpSpPr>
            <a:xfrm>
              <a:off x="4843715" y="2923520"/>
              <a:ext cx="521194" cy="492728"/>
              <a:chOff x="4843715" y="2923520"/>
              <a:chExt cx="521194" cy="492728"/>
            </a:xfrm>
          </p:grpSpPr>
          <p:grpSp>
            <p:nvGrpSpPr>
              <p:cNvPr id="70" name="图形 1">
                <a:extLst>
                  <a:ext uri="{FF2B5EF4-FFF2-40B4-BE49-F238E27FC236}">
                    <a16:creationId xmlns:a16="http://schemas.microsoft.com/office/drawing/2014/main" id="{58D81753-55C3-41A2-AA4D-8F7FE56DBEEA}"/>
                  </a:ext>
                </a:extLst>
              </p:cNvPr>
              <p:cNvGrpSpPr/>
              <p:nvPr/>
            </p:nvGrpSpPr>
            <p:grpSpPr>
              <a:xfrm>
                <a:off x="4843715" y="2923520"/>
                <a:ext cx="521194" cy="492728"/>
                <a:chOff x="4843715" y="2923520"/>
                <a:chExt cx="521194" cy="492728"/>
              </a:xfrm>
              <a:solidFill>
                <a:srgbClr val="7F95BC"/>
              </a:solidFill>
            </p:grpSpPr>
            <p:sp>
              <p:nvSpPr>
                <p:cNvPr id="71" name="任意多边形: 形状 70">
                  <a:extLst>
                    <a:ext uri="{FF2B5EF4-FFF2-40B4-BE49-F238E27FC236}">
                      <a16:creationId xmlns:a16="http://schemas.microsoft.com/office/drawing/2014/main" id="{F82A1530-2AEF-4563-8890-5E8692F3F236}"/>
                    </a:ext>
                  </a:extLst>
                </p:cNvPr>
                <p:cNvSpPr/>
                <p:nvPr/>
              </p:nvSpPr>
              <p:spPr>
                <a:xfrm>
                  <a:off x="4843715" y="3074803"/>
                  <a:ext cx="202819" cy="341445"/>
                </a:xfrm>
                <a:custGeom>
                  <a:avLst/>
                  <a:gdLst>
                    <a:gd name="connsiteX0" fmla="*/ 202692 w 202819"/>
                    <a:gd name="connsiteY0" fmla="*/ 56648 h 341445"/>
                    <a:gd name="connsiteX1" fmla="*/ 194143 w 202819"/>
                    <a:gd name="connsiteY1" fmla="*/ 273218 h 341445"/>
                    <a:gd name="connsiteX2" fmla="*/ 148550 w 202819"/>
                    <a:gd name="connsiteY2" fmla="*/ 335910 h 341445"/>
                    <a:gd name="connsiteX3" fmla="*/ 148550 w 202819"/>
                    <a:gd name="connsiteY3" fmla="*/ 335910 h 341445"/>
                    <a:gd name="connsiteX4" fmla="*/ 68761 w 202819"/>
                    <a:gd name="connsiteY4" fmla="*/ 304564 h 341445"/>
                    <a:gd name="connsiteX5" fmla="*/ 3220 w 202819"/>
                    <a:gd name="connsiteY5" fmla="*/ 119340 h 341445"/>
                    <a:gd name="connsiteX6" fmla="*/ 45964 w 202819"/>
                    <a:gd name="connsiteY6" fmla="*/ 36701 h 341445"/>
                    <a:gd name="connsiteX7" fmla="*/ 120054 w 202819"/>
                    <a:gd name="connsiteY7" fmla="*/ 5355 h 341445"/>
                    <a:gd name="connsiteX8" fmla="*/ 202692 w 202819"/>
                    <a:gd name="connsiteY8" fmla="*/ 56648 h 3414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2819" h="341445">
                      <a:moveTo>
                        <a:pt x="202692" y="56648"/>
                      </a:moveTo>
                      <a:lnTo>
                        <a:pt x="194143" y="273218"/>
                      </a:lnTo>
                      <a:cubicBezTo>
                        <a:pt x="194143" y="298865"/>
                        <a:pt x="174196" y="324511"/>
                        <a:pt x="148550" y="335910"/>
                      </a:cubicBezTo>
                      <a:lnTo>
                        <a:pt x="148550" y="335910"/>
                      </a:lnTo>
                      <a:cubicBezTo>
                        <a:pt x="114354" y="350158"/>
                        <a:pt x="77310" y="335910"/>
                        <a:pt x="68761" y="304564"/>
                      </a:cubicBezTo>
                      <a:lnTo>
                        <a:pt x="3220" y="119340"/>
                      </a:lnTo>
                      <a:cubicBezTo>
                        <a:pt x="-8178" y="87994"/>
                        <a:pt x="11769" y="50949"/>
                        <a:pt x="45964" y="36701"/>
                      </a:cubicBezTo>
                      <a:lnTo>
                        <a:pt x="120054" y="5355"/>
                      </a:lnTo>
                      <a:cubicBezTo>
                        <a:pt x="159948" y="-11742"/>
                        <a:pt x="205542" y="13904"/>
                        <a:pt x="202692" y="56648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: 形状 71">
                  <a:extLst>
                    <a:ext uri="{FF2B5EF4-FFF2-40B4-BE49-F238E27FC236}">
                      <a16:creationId xmlns:a16="http://schemas.microsoft.com/office/drawing/2014/main" id="{7B4B3984-E049-4335-A9EC-E476B04702C7}"/>
                    </a:ext>
                  </a:extLst>
                </p:cNvPr>
                <p:cNvSpPr/>
                <p:nvPr/>
              </p:nvSpPr>
              <p:spPr>
                <a:xfrm>
                  <a:off x="5025029" y="2934418"/>
                  <a:ext cx="339881" cy="241510"/>
                </a:xfrm>
                <a:custGeom>
                  <a:avLst/>
                  <a:gdLst>
                    <a:gd name="connsiteX0" fmla="*/ 41326 w 339881"/>
                    <a:gd name="connsiteY0" fmla="*/ 182785 h 241510"/>
                    <a:gd name="connsiteX1" fmla="*/ 252197 w 339881"/>
                    <a:gd name="connsiteY1" fmla="*/ 239778 h 241510"/>
                    <a:gd name="connsiteX2" fmla="*/ 323437 w 339881"/>
                    <a:gd name="connsiteY2" fmla="*/ 216981 h 241510"/>
                    <a:gd name="connsiteX3" fmla="*/ 323437 w 339881"/>
                    <a:gd name="connsiteY3" fmla="*/ 216981 h 241510"/>
                    <a:gd name="connsiteX4" fmla="*/ 317737 w 339881"/>
                    <a:gd name="connsiteY4" fmla="*/ 131492 h 241510"/>
                    <a:gd name="connsiteX5" fmla="*/ 158160 w 339881"/>
                    <a:gd name="connsiteY5" fmla="*/ 11809 h 241510"/>
                    <a:gd name="connsiteX6" fmla="*/ 66972 w 339881"/>
                    <a:gd name="connsiteY6" fmla="*/ 26057 h 241510"/>
                    <a:gd name="connsiteX7" fmla="*/ 15679 w 339881"/>
                    <a:gd name="connsiteY7" fmla="*/ 85899 h 241510"/>
                    <a:gd name="connsiteX8" fmla="*/ 41326 w 339881"/>
                    <a:gd name="connsiteY8" fmla="*/ 182785 h 2415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39881" h="241510">
                      <a:moveTo>
                        <a:pt x="41326" y="182785"/>
                      </a:moveTo>
                      <a:lnTo>
                        <a:pt x="252197" y="239778"/>
                      </a:lnTo>
                      <a:cubicBezTo>
                        <a:pt x="277843" y="245477"/>
                        <a:pt x="306339" y="236928"/>
                        <a:pt x="323437" y="216981"/>
                      </a:cubicBezTo>
                      <a:lnTo>
                        <a:pt x="323437" y="216981"/>
                      </a:lnTo>
                      <a:cubicBezTo>
                        <a:pt x="346233" y="188485"/>
                        <a:pt x="346233" y="151440"/>
                        <a:pt x="317737" y="131492"/>
                      </a:cubicBezTo>
                      <a:lnTo>
                        <a:pt x="158160" y="11809"/>
                      </a:lnTo>
                      <a:cubicBezTo>
                        <a:pt x="132513" y="-8138"/>
                        <a:pt x="89769" y="-2439"/>
                        <a:pt x="66972" y="26057"/>
                      </a:cubicBezTo>
                      <a:lnTo>
                        <a:pt x="15679" y="85899"/>
                      </a:lnTo>
                      <a:cubicBezTo>
                        <a:pt x="-12817" y="122944"/>
                        <a:pt x="-1418" y="171387"/>
                        <a:pt x="41326" y="182785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: 形状 72">
                  <a:extLst>
                    <a:ext uri="{FF2B5EF4-FFF2-40B4-BE49-F238E27FC236}">
                      <a16:creationId xmlns:a16="http://schemas.microsoft.com/office/drawing/2014/main" id="{66313208-E874-44DC-8B41-C75953D5DC8A}"/>
                    </a:ext>
                  </a:extLst>
                </p:cNvPr>
                <p:cNvSpPr/>
                <p:nvPr/>
              </p:nvSpPr>
              <p:spPr>
                <a:xfrm>
                  <a:off x="4844549" y="2923520"/>
                  <a:ext cx="400283" cy="366462"/>
                </a:xfrm>
                <a:custGeom>
                  <a:avLst/>
                  <a:gdLst>
                    <a:gd name="connsiteX0" fmla="*/ 367135 w 400283"/>
                    <a:gd name="connsiteY0" fmla="*/ 48353 h 366462"/>
                    <a:gd name="connsiteX1" fmla="*/ 378534 w 400283"/>
                    <a:gd name="connsiteY1" fmla="*/ 65451 h 366462"/>
                    <a:gd name="connsiteX2" fmla="*/ 352887 w 400283"/>
                    <a:gd name="connsiteY2" fmla="*/ 227878 h 366462"/>
                    <a:gd name="connsiteX3" fmla="*/ 196159 w 400283"/>
                    <a:gd name="connsiteY3" fmla="*/ 344712 h 366462"/>
                    <a:gd name="connsiteX4" fmla="*/ 33732 w 400283"/>
                    <a:gd name="connsiteY4" fmla="*/ 319066 h 366462"/>
                    <a:gd name="connsiteX5" fmla="*/ 22333 w 400283"/>
                    <a:gd name="connsiteY5" fmla="*/ 301968 h 366462"/>
                    <a:gd name="connsiteX6" fmla="*/ 2386 w 400283"/>
                    <a:gd name="connsiteY6" fmla="*/ 256374 h 366462"/>
                    <a:gd name="connsiteX7" fmla="*/ 2386 w 400283"/>
                    <a:gd name="connsiteY7" fmla="*/ 256374 h 366462"/>
                    <a:gd name="connsiteX8" fmla="*/ 47980 w 400283"/>
                    <a:gd name="connsiteY8" fmla="*/ 139540 h 366462"/>
                    <a:gd name="connsiteX9" fmla="*/ 204708 w 400283"/>
                    <a:gd name="connsiteY9" fmla="*/ 22707 h 366462"/>
                    <a:gd name="connsiteX10" fmla="*/ 352887 w 400283"/>
                    <a:gd name="connsiteY10" fmla="*/ 31256 h 366462"/>
                    <a:gd name="connsiteX11" fmla="*/ 367135 w 400283"/>
                    <a:gd name="connsiteY11" fmla="*/ 48353 h 366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00283" h="366462">
                      <a:moveTo>
                        <a:pt x="367135" y="48353"/>
                      </a:moveTo>
                      <a:lnTo>
                        <a:pt x="378534" y="65451"/>
                      </a:lnTo>
                      <a:cubicBezTo>
                        <a:pt x="415578" y="116744"/>
                        <a:pt x="404180" y="190833"/>
                        <a:pt x="352887" y="227878"/>
                      </a:cubicBezTo>
                      <a:lnTo>
                        <a:pt x="196159" y="344712"/>
                      </a:lnTo>
                      <a:cubicBezTo>
                        <a:pt x="144866" y="381757"/>
                        <a:pt x="70776" y="370358"/>
                        <a:pt x="33732" y="319066"/>
                      </a:cubicBezTo>
                      <a:lnTo>
                        <a:pt x="22333" y="301968"/>
                      </a:lnTo>
                      <a:cubicBezTo>
                        <a:pt x="10935" y="287720"/>
                        <a:pt x="5236" y="273472"/>
                        <a:pt x="2386" y="256374"/>
                      </a:cubicBezTo>
                      <a:cubicBezTo>
                        <a:pt x="2386" y="256374"/>
                        <a:pt x="2386" y="256374"/>
                        <a:pt x="2386" y="256374"/>
                      </a:cubicBezTo>
                      <a:cubicBezTo>
                        <a:pt x="-6163" y="213630"/>
                        <a:pt x="8085" y="168037"/>
                        <a:pt x="47980" y="139540"/>
                      </a:cubicBezTo>
                      <a:lnTo>
                        <a:pt x="204708" y="22707"/>
                      </a:lnTo>
                      <a:cubicBezTo>
                        <a:pt x="250302" y="-11489"/>
                        <a:pt x="312993" y="-5789"/>
                        <a:pt x="352887" y="31256"/>
                      </a:cubicBezTo>
                      <a:cubicBezTo>
                        <a:pt x="355737" y="36955"/>
                        <a:pt x="361436" y="42654"/>
                        <a:pt x="367135" y="48353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74" name="图形 1">
                <a:extLst>
                  <a:ext uri="{FF2B5EF4-FFF2-40B4-BE49-F238E27FC236}">
                    <a16:creationId xmlns:a16="http://schemas.microsoft.com/office/drawing/2014/main" id="{58D81753-55C3-41A2-AA4D-8F7FE56DBEEA}"/>
                  </a:ext>
                </a:extLst>
              </p:cNvPr>
              <p:cNvGrpSpPr/>
              <p:nvPr/>
            </p:nvGrpSpPr>
            <p:grpSpPr>
              <a:xfrm>
                <a:off x="5045285" y="2969561"/>
                <a:ext cx="95553" cy="95811"/>
                <a:chOff x="5045285" y="2969561"/>
                <a:chExt cx="95553" cy="95811"/>
              </a:xfrm>
              <a:solidFill>
                <a:srgbClr val="FFFFFF"/>
              </a:solidFill>
            </p:grpSpPr>
            <p:grpSp>
              <p:nvGrpSpPr>
                <p:cNvPr id="75" name="图形 1">
                  <a:extLst>
                    <a:ext uri="{FF2B5EF4-FFF2-40B4-BE49-F238E27FC236}">
                      <a16:creationId xmlns:a16="http://schemas.microsoft.com/office/drawing/2014/main" id="{58D81753-55C3-41A2-AA4D-8F7FE56DBEEA}"/>
                    </a:ext>
                  </a:extLst>
                </p:cNvPr>
                <p:cNvGrpSpPr/>
                <p:nvPr/>
              </p:nvGrpSpPr>
              <p:grpSpPr>
                <a:xfrm>
                  <a:off x="5052644" y="2969561"/>
                  <a:ext cx="81563" cy="95811"/>
                  <a:chOff x="5052644" y="2969561"/>
                  <a:chExt cx="81563" cy="95811"/>
                </a:xfrm>
                <a:solidFill>
                  <a:srgbClr val="FFFFFF"/>
                </a:solidFill>
              </p:grpSpPr>
              <p:sp>
                <p:nvSpPr>
                  <p:cNvPr id="76" name="任意多边形: 形状 75">
                    <a:extLst>
                      <a:ext uri="{FF2B5EF4-FFF2-40B4-BE49-F238E27FC236}">
                        <a16:creationId xmlns:a16="http://schemas.microsoft.com/office/drawing/2014/main" id="{AA29D216-AF67-4BA3-A751-C522CFC87BD8}"/>
                      </a:ext>
                    </a:extLst>
                  </p:cNvPr>
                  <p:cNvSpPr/>
                  <p:nvPr/>
                </p:nvSpPr>
                <p:spPr>
                  <a:xfrm>
                    <a:off x="5052644" y="2969561"/>
                    <a:ext cx="41669" cy="41669"/>
                  </a:xfrm>
                  <a:custGeom>
                    <a:avLst/>
                    <a:gdLst>
                      <a:gd name="connsiteX0" fmla="*/ 36507 w 41669"/>
                      <a:gd name="connsiteY0" fmla="*/ 8011 h 41669"/>
                      <a:gd name="connsiteX1" fmla="*/ 8011 w 41669"/>
                      <a:gd name="connsiteY1" fmla="*/ 5162 h 41669"/>
                      <a:gd name="connsiteX2" fmla="*/ 5162 w 41669"/>
                      <a:gd name="connsiteY2" fmla="*/ 33658 h 41669"/>
                      <a:gd name="connsiteX3" fmla="*/ 33658 w 41669"/>
                      <a:gd name="connsiteY3" fmla="*/ 36507 h 41669"/>
                      <a:gd name="connsiteX4" fmla="*/ 36507 w 41669"/>
                      <a:gd name="connsiteY4" fmla="*/ 8011 h 41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669" h="41669">
                        <a:moveTo>
                          <a:pt x="36507" y="8011"/>
                        </a:moveTo>
                        <a:cubicBezTo>
                          <a:pt x="30808" y="-537"/>
                          <a:pt x="16560" y="-3387"/>
                          <a:pt x="8011" y="5162"/>
                        </a:cubicBezTo>
                        <a:cubicBezTo>
                          <a:pt x="-537" y="10861"/>
                          <a:pt x="-3387" y="25109"/>
                          <a:pt x="5162" y="33658"/>
                        </a:cubicBezTo>
                        <a:cubicBezTo>
                          <a:pt x="10861" y="42207"/>
                          <a:pt x="25109" y="45056"/>
                          <a:pt x="33658" y="36507"/>
                        </a:cubicBezTo>
                        <a:cubicBezTo>
                          <a:pt x="42207" y="30808"/>
                          <a:pt x="45056" y="16560"/>
                          <a:pt x="36507" y="801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77" name="任意多边形: 形状 76">
                    <a:extLst>
                      <a:ext uri="{FF2B5EF4-FFF2-40B4-BE49-F238E27FC236}">
                        <a16:creationId xmlns:a16="http://schemas.microsoft.com/office/drawing/2014/main" id="{2A42612D-99E6-4AF3-9BBE-BA600A3848CF}"/>
                      </a:ext>
                    </a:extLst>
                  </p:cNvPr>
                  <p:cNvSpPr/>
                  <p:nvPr/>
                </p:nvSpPr>
                <p:spPr>
                  <a:xfrm>
                    <a:off x="5092539" y="3023704"/>
                    <a:ext cx="41669" cy="41669"/>
                  </a:xfrm>
                  <a:custGeom>
                    <a:avLst/>
                    <a:gdLst>
                      <a:gd name="connsiteX0" fmla="*/ 36507 w 41669"/>
                      <a:gd name="connsiteY0" fmla="*/ 8011 h 41669"/>
                      <a:gd name="connsiteX1" fmla="*/ 8011 w 41669"/>
                      <a:gd name="connsiteY1" fmla="*/ 5162 h 41669"/>
                      <a:gd name="connsiteX2" fmla="*/ 5162 w 41669"/>
                      <a:gd name="connsiteY2" fmla="*/ 33658 h 41669"/>
                      <a:gd name="connsiteX3" fmla="*/ 33658 w 41669"/>
                      <a:gd name="connsiteY3" fmla="*/ 36507 h 41669"/>
                      <a:gd name="connsiteX4" fmla="*/ 36507 w 41669"/>
                      <a:gd name="connsiteY4" fmla="*/ 8011 h 41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669" h="41669">
                        <a:moveTo>
                          <a:pt x="36507" y="8011"/>
                        </a:moveTo>
                        <a:cubicBezTo>
                          <a:pt x="30808" y="-537"/>
                          <a:pt x="16560" y="-3387"/>
                          <a:pt x="8011" y="5162"/>
                        </a:cubicBezTo>
                        <a:cubicBezTo>
                          <a:pt x="-537" y="10861"/>
                          <a:pt x="-3387" y="25109"/>
                          <a:pt x="5162" y="33658"/>
                        </a:cubicBezTo>
                        <a:cubicBezTo>
                          <a:pt x="10861" y="42207"/>
                          <a:pt x="25109" y="45056"/>
                          <a:pt x="33658" y="36507"/>
                        </a:cubicBezTo>
                        <a:cubicBezTo>
                          <a:pt x="42207" y="30808"/>
                          <a:pt x="45056" y="19410"/>
                          <a:pt x="36507" y="801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78" name="图形 1">
                  <a:extLst>
                    <a:ext uri="{FF2B5EF4-FFF2-40B4-BE49-F238E27FC236}">
                      <a16:creationId xmlns:a16="http://schemas.microsoft.com/office/drawing/2014/main" id="{58D81753-55C3-41A2-AA4D-8F7FE56DBEEA}"/>
                    </a:ext>
                  </a:extLst>
                </p:cNvPr>
                <p:cNvGrpSpPr/>
                <p:nvPr/>
              </p:nvGrpSpPr>
              <p:grpSpPr>
                <a:xfrm>
                  <a:off x="5045285" y="2979300"/>
                  <a:ext cx="95553" cy="79184"/>
                  <a:chOff x="5045285" y="2979300"/>
                  <a:chExt cx="95553" cy="79184"/>
                </a:xfrm>
                <a:solidFill>
                  <a:srgbClr val="FFFFFF"/>
                </a:solidFill>
              </p:grpSpPr>
              <p:sp>
                <p:nvSpPr>
                  <p:cNvPr id="79" name="任意多边形: 形状 78">
                    <a:extLst>
                      <a:ext uri="{FF2B5EF4-FFF2-40B4-BE49-F238E27FC236}">
                        <a16:creationId xmlns:a16="http://schemas.microsoft.com/office/drawing/2014/main" id="{0B3F0249-330C-4CB2-A437-A6EBCE8757B3}"/>
                      </a:ext>
                    </a:extLst>
                  </p:cNvPr>
                  <p:cNvSpPr/>
                  <p:nvPr/>
                </p:nvSpPr>
                <p:spPr>
                  <a:xfrm>
                    <a:off x="5045285" y="3019194"/>
                    <a:ext cx="40479" cy="39289"/>
                  </a:xfrm>
                  <a:custGeom>
                    <a:avLst/>
                    <a:gdLst>
                      <a:gd name="connsiteX0" fmla="*/ 32468 w 40479"/>
                      <a:gd name="connsiteY0" fmla="*/ 35318 h 39289"/>
                      <a:gd name="connsiteX1" fmla="*/ 3972 w 40479"/>
                      <a:gd name="connsiteY1" fmla="*/ 32468 h 39289"/>
                      <a:gd name="connsiteX2" fmla="*/ 6822 w 40479"/>
                      <a:gd name="connsiteY2" fmla="*/ 3972 h 39289"/>
                      <a:gd name="connsiteX3" fmla="*/ 35318 w 40479"/>
                      <a:gd name="connsiteY3" fmla="*/ 6822 h 39289"/>
                      <a:gd name="connsiteX4" fmla="*/ 32468 w 40479"/>
                      <a:gd name="connsiteY4" fmla="*/ 35318 h 39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479" h="39289">
                        <a:moveTo>
                          <a:pt x="32468" y="35318"/>
                        </a:moveTo>
                        <a:cubicBezTo>
                          <a:pt x="23919" y="41017"/>
                          <a:pt x="12521" y="41017"/>
                          <a:pt x="3972" y="32468"/>
                        </a:cubicBezTo>
                        <a:cubicBezTo>
                          <a:pt x="-1727" y="23919"/>
                          <a:pt x="-1727" y="12521"/>
                          <a:pt x="6822" y="3972"/>
                        </a:cubicBezTo>
                        <a:cubicBezTo>
                          <a:pt x="15370" y="-1727"/>
                          <a:pt x="26769" y="-1727"/>
                          <a:pt x="35318" y="6822"/>
                        </a:cubicBezTo>
                        <a:cubicBezTo>
                          <a:pt x="43866" y="15370"/>
                          <a:pt x="41017" y="26769"/>
                          <a:pt x="32468" y="3531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0" name="任意多边形: 形状 79">
                    <a:extLst>
                      <a:ext uri="{FF2B5EF4-FFF2-40B4-BE49-F238E27FC236}">
                        <a16:creationId xmlns:a16="http://schemas.microsoft.com/office/drawing/2014/main" id="{AFAAC556-2B87-4B81-8E71-427CA4D710E4}"/>
                      </a:ext>
                    </a:extLst>
                  </p:cNvPr>
                  <p:cNvSpPr/>
                  <p:nvPr/>
                </p:nvSpPr>
                <p:spPr>
                  <a:xfrm>
                    <a:off x="5099428" y="2979300"/>
                    <a:ext cx="41411" cy="39289"/>
                  </a:xfrm>
                  <a:custGeom>
                    <a:avLst/>
                    <a:gdLst>
                      <a:gd name="connsiteX0" fmla="*/ 32468 w 41411"/>
                      <a:gd name="connsiteY0" fmla="*/ 35318 h 39289"/>
                      <a:gd name="connsiteX1" fmla="*/ 3972 w 41411"/>
                      <a:gd name="connsiteY1" fmla="*/ 32468 h 39289"/>
                      <a:gd name="connsiteX2" fmla="*/ 6822 w 41411"/>
                      <a:gd name="connsiteY2" fmla="*/ 3972 h 39289"/>
                      <a:gd name="connsiteX3" fmla="*/ 35318 w 41411"/>
                      <a:gd name="connsiteY3" fmla="*/ 6822 h 39289"/>
                      <a:gd name="connsiteX4" fmla="*/ 32468 w 41411"/>
                      <a:gd name="connsiteY4" fmla="*/ 35318 h 39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411" h="39289">
                        <a:moveTo>
                          <a:pt x="32468" y="35318"/>
                        </a:moveTo>
                        <a:cubicBezTo>
                          <a:pt x="23919" y="41017"/>
                          <a:pt x="12521" y="41017"/>
                          <a:pt x="3972" y="32468"/>
                        </a:cubicBezTo>
                        <a:cubicBezTo>
                          <a:pt x="-1727" y="23919"/>
                          <a:pt x="-1727" y="12521"/>
                          <a:pt x="6822" y="3972"/>
                        </a:cubicBezTo>
                        <a:cubicBezTo>
                          <a:pt x="15370" y="-1727"/>
                          <a:pt x="26769" y="-1727"/>
                          <a:pt x="35318" y="6822"/>
                        </a:cubicBezTo>
                        <a:cubicBezTo>
                          <a:pt x="43866" y="15370"/>
                          <a:pt x="43866" y="26769"/>
                          <a:pt x="32468" y="3531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D59C3264-4E17-4B52-BCA9-1F4FC3C9E387}"/>
                  </a:ext>
                </a:extLst>
              </p:cNvPr>
              <p:cNvSpPr/>
              <p:nvPr/>
            </p:nvSpPr>
            <p:spPr>
              <a:xfrm>
                <a:off x="4991125" y="3161657"/>
                <a:ext cx="73519" cy="73519"/>
              </a:xfrm>
              <a:custGeom>
                <a:avLst/>
                <a:gdLst>
                  <a:gd name="connsiteX0" fmla="*/ 66681 w 73519"/>
                  <a:gd name="connsiteY0" fmla="*/ 15388 h 73519"/>
                  <a:gd name="connsiteX1" fmla="*/ 15388 w 73519"/>
                  <a:gd name="connsiteY1" fmla="*/ 6839 h 73519"/>
                  <a:gd name="connsiteX2" fmla="*/ 6839 w 73519"/>
                  <a:gd name="connsiteY2" fmla="*/ 58132 h 73519"/>
                  <a:gd name="connsiteX3" fmla="*/ 58132 w 73519"/>
                  <a:gd name="connsiteY3" fmla="*/ 66681 h 73519"/>
                  <a:gd name="connsiteX4" fmla="*/ 66681 w 73519"/>
                  <a:gd name="connsiteY4" fmla="*/ 15388 h 73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519" h="73519">
                    <a:moveTo>
                      <a:pt x="66681" y="15388"/>
                    </a:moveTo>
                    <a:cubicBezTo>
                      <a:pt x="55282" y="-1710"/>
                      <a:pt x="29636" y="-4559"/>
                      <a:pt x="15388" y="6839"/>
                    </a:cubicBezTo>
                    <a:cubicBezTo>
                      <a:pt x="-1710" y="18237"/>
                      <a:pt x="-4559" y="43884"/>
                      <a:pt x="6839" y="58132"/>
                    </a:cubicBezTo>
                    <a:cubicBezTo>
                      <a:pt x="18238" y="75230"/>
                      <a:pt x="43884" y="78079"/>
                      <a:pt x="58132" y="66681"/>
                    </a:cubicBezTo>
                    <a:cubicBezTo>
                      <a:pt x="75230" y="55282"/>
                      <a:pt x="78079" y="32485"/>
                      <a:pt x="66681" y="15388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42731BB6-CF2B-4B36-A832-D85E5A876871}"/>
                  </a:ext>
                </a:extLst>
              </p:cNvPr>
              <p:cNvSpPr/>
              <p:nvPr/>
            </p:nvSpPr>
            <p:spPr>
              <a:xfrm>
                <a:off x="5099410" y="3081868"/>
                <a:ext cx="73519" cy="73519"/>
              </a:xfrm>
              <a:custGeom>
                <a:avLst/>
                <a:gdLst>
                  <a:gd name="connsiteX0" fmla="*/ 66681 w 73519"/>
                  <a:gd name="connsiteY0" fmla="*/ 15388 h 73519"/>
                  <a:gd name="connsiteX1" fmla="*/ 15388 w 73519"/>
                  <a:gd name="connsiteY1" fmla="*/ 6839 h 73519"/>
                  <a:gd name="connsiteX2" fmla="*/ 6839 w 73519"/>
                  <a:gd name="connsiteY2" fmla="*/ 58132 h 73519"/>
                  <a:gd name="connsiteX3" fmla="*/ 58132 w 73519"/>
                  <a:gd name="connsiteY3" fmla="*/ 66681 h 73519"/>
                  <a:gd name="connsiteX4" fmla="*/ 66681 w 73519"/>
                  <a:gd name="connsiteY4" fmla="*/ 15388 h 73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519" h="73519">
                    <a:moveTo>
                      <a:pt x="66681" y="15388"/>
                    </a:moveTo>
                    <a:cubicBezTo>
                      <a:pt x="55282" y="-1710"/>
                      <a:pt x="29636" y="-4559"/>
                      <a:pt x="15388" y="6839"/>
                    </a:cubicBezTo>
                    <a:cubicBezTo>
                      <a:pt x="-1710" y="18237"/>
                      <a:pt x="-4559" y="43884"/>
                      <a:pt x="6839" y="58132"/>
                    </a:cubicBezTo>
                    <a:cubicBezTo>
                      <a:pt x="18237" y="75230"/>
                      <a:pt x="43884" y="78079"/>
                      <a:pt x="58132" y="66681"/>
                    </a:cubicBezTo>
                    <a:cubicBezTo>
                      <a:pt x="75229" y="55282"/>
                      <a:pt x="78079" y="32485"/>
                      <a:pt x="66681" y="15388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3" name="图形 1">
                <a:extLst>
                  <a:ext uri="{FF2B5EF4-FFF2-40B4-BE49-F238E27FC236}">
                    <a16:creationId xmlns:a16="http://schemas.microsoft.com/office/drawing/2014/main" id="{58D81753-55C3-41A2-AA4D-8F7FE56DBEEA}"/>
                  </a:ext>
                </a:extLst>
              </p:cNvPr>
              <p:cNvGrpSpPr/>
              <p:nvPr/>
            </p:nvGrpSpPr>
            <p:grpSpPr>
              <a:xfrm>
                <a:off x="4888287" y="3081615"/>
                <a:ext cx="102521" cy="102521"/>
                <a:chOff x="4888287" y="3081615"/>
                <a:chExt cx="102521" cy="102521"/>
              </a:xfrm>
            </p:grpSpPr>
            <p:sp>
              <p:nvSpPr>
                <p:cNvPr id="84" name="任意多边形: 形状 83">
                  <a:extLst>
                    <a:ext uri="{FF2B5EF4-FFF2-40B4-BE49-F238E27FC236}">
                      <a16:creationId xmlns:a16="http://schemas.microsoft.com/office/drawing/2014/main" id="{EBB9054C-88F5-416B-A272-000597199080}"/>
                    </a:ext>
                  </a:extLst>
                </p:cNvPr>
                <p:cNvSpPr/>
                <p:nvPr/>
              </p:nvSpPr>
              <p:spPr>
                <a:xfrm>
                  <a:off x="4888287" y="3081615"/>
                  <a:ext cx="102521" cy="102521"/>
                </a:xfrm>
                <a:custGeom>
                  <a:avLst/>
                  <a:gdLst>
                    <a:gd name="connsiteX0" fmla="*/ 92580 w 102521"/>
                    <a:gd name="connsiteY0" fmla="*/ 21340 h 102521"/>
                    <a:gd name="connsiteX1" fmla="*/ 21340 w 102521"/>
                    <a:gd name="connsiteY1" fmla="*/ 9941 h 102521"/>
                    <a:gd name="connsiteX2" fmla="*/ 9941 w 102521"/>
                    <a:gd name="connsiteY2" fmla="*/ 81181 h 102521"/>
                    <a:gd name="connsiteX3" fmla="*/ 81181 w 102521"/>
                    <a:gd name="connsiteY3" fmla="*/ 92580 h 102521"/>
                    <a:gd name="connsiteX4" fmla="*/ 92580 w 102521"/>
                    <a:gd name="connsiteY4" fmla="*/ 21340 h 102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2521" h="102521">
                      <a:moveTo>
                        <a:pt x="92580" y="21340"/>
                      </a:moveTo>
                      <a:cubicBezTo>
                        <a:pt x="75482" y="-1457"/>
                        <a:pt x="44136" y="-7156"/>
                        <a:pt x="21340" y="9941"/>
                      </a:cubicBezTo>
                      <a:cubicBezTo>
                        <a:pt x="-1457" y="27039"/>
                        <a:pt x="-7156" y="58385"/>
                        <a:pt x="9941" y="81181"/>
                      </a:cubicBezTo>
                      <a:cubicBezTo>
                        <a:pt x="27039" y="103978"/>
                        <a:pt x="58384" y="109677"/>
                        <a:pt x="81181" y="92580"/>
                      </a:cubicBezTo>
                      <a:cubicBezTo>
                        <a:pt x="103978" y="75482"/>
                        <a:pt x="109677" y="44137"/>
                        <a:pt x="92580" y="2134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: 形状 84">
                  <a:extLst>
                    <a:ext uri="{FF2B5EF4-FFF2-40B4-BE49-F238E27FC236}">
                      <a16:creationId xmlns:a16="http://schemas.microsoft.com/office/drawing/2014/main" id="{3CA5DBD7-301A-40D6-839B-40324C4F26AD}"/>
                    </a:ext>
                  </a:extLst>
                </p:cNvPr>
                <p:cNvSpPr/>
                <p:nvPr/>
              </p:nvSpPr>
              <p:spPr>
                <a:xfrm>
                  <a:off x="4902747" y="3098925"/>
                  <a:ext cx="67901" cy="67901"/>
                </a:xfrm>
                <a:custGeom>
                  <a:avLst/>
                  <a:gdLst>
                    <a:gd name="connsiteX0" fmla="*/ 49624 w 67901"/>
                    <a:gd name="connsiteY0" fmla="*/ 6880 h 67901"/>
                    <a:gd name="connsiteX1" fmla="*/ 38225 w 67901"/>
                    <a:gd name="connsiteY1" fmla="*/ 15428 h 67901"/>
                    <a:gd name="connsiteX2" fmla="*/ 29676 w 67901"/>
                    <a:gd name="connsiteY2" fmla="*/ 4030 h 67901"/>
                    <a:gd name="connsiteX3" fmla="*/ 18278 w 67901"/>
                    <a:gd name="connsiteY3" fmla="*/ 1180 h 67901"/>
                    <a:gd name="connsiteX4" fmla="*/ 9729 w 67901"/>
                    <a:gd name="connsiteY4" fmla="*/ 6880 h 67901"/>
                    <a:gd name="connsiteX5" fmla="*/ 6880 w 67901"/>
                    <a:gd name="connsiteY5" fmla="*/ 18278 h 67901"/>
                    <a:gd name="connsiteX6" fmla="*/ 15428 w 67901"/>
                    <a:gd name="connsiteY6" fmla="*/ 29676 h 67901"/>
                    <a:gd name="connsiteX7" fmla="*/ 4030 w 67901"/>
                    <a:gd name="connsiteY7" fmla="*/ 38225 h 67901"/>
                    <a:gd name="connsiteX8" fmla="*/ 1180 w 67901"/>
                    <a:gd name="connsiteY8" fmla="*/ 49624 h 67901"/>
                    <a:gd name="connsiteX9" fmla="*/ 6880 w 67901"/>
                    <a:gd name="connsiteY9" fmla="*/ 58172 h 67901"/>
                    <a:gd name="connsiteX10" fmla="*/ 18278 w 67901"/>
                    <a:gd name="connsiteY10" fmla="*/ 61022 h 67901"/>
                    <a:gd name="connsiteX11" fmla="*/ 29676 w 67901"/>
                    <a:gd name="connsiteY11" fmla="*/ 52473 h 67901"/>
                    <a:gd name="connsiteX12" fmla="*/ 38225 w 67901"/>
                    <a:gd name="connsiteY12" fmla="*/ 63872 h 67901"/>
                    <a:gd name="connsiteX13" fmla="*/ 49624 w 67901"/>
                    <a:gd name="connsiteY13" fmla="*/ 66721 h 67901"/>
                    <a:gd name="connsiteX14" fmla="*/ 58172 w 67901"/>
                    <a:gd name="connsiteY14" fmla="*/ 61022 h 67901"/>
                    <a:gd name="connsiteX15" fmla="*/ 61022 w 67901"/>
                    <a:gd name="connsiteY15" fmla="*/ 49624 h 67901"/>
                    <a:gd name="connsiteX16" fmla="*/ 52473 w 67901"/>
                    <a:gd name="connsiteY16" fmla="*/ 35376 h 67901"/>
                    <a:gd name="connsiteX17" fmla="*/ 63872 w 67901"/>
                    <a:gd name="connsiteY17" fmla="*/ 26827 h 67901"/>
                    <a:gd name="connsiteX18" fmla="*/ 66721 w 67901"/>
                    <a:gd name="connsiteY18" fmla="*/ 15428 h 67901"/>
                    <a:gd name="connsiteX19" fmla="*/ 61022 w 67901"/>
                    <a:gd name="connsiteY19" fmla="*/ 6880 h 67901"/>
                    <a:gd name="connsiteX20" fmla="*/ 49624 w 67901"/>
                    <a:gd name="connsiteY20" fmla="*/ 6880 h 679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67901" h="67901">
                      <a:moveTo>
                        <a:pt x="49624" y="6880"/>
                      </a:moveTo>
                      <a:lnTo>
                        <a:pt x="38225" y="15428"/>
                      </a:lnTo>
                      <a:lnTo>
                        <a:pt x="29676" y="4030"/>
                      </a:lnTo>
                      <a:cubicBezTo>
                        <a:pt x="26827" y="1180"/>
                        <a:pt x="21128" y="-1669"/>
                        <a:pt x="18278" y="1180"/>
                      </a:cubicBezTo>
                      <a:lnTo>
                        <a:pt x="9729" y="6880"/>
                      </a:lnTo>
                      <a:cubicBezTo>
                        <a:pt x="6880" y="9729"/>
                        <a:pt x="4030" y="15428"/>
                        <a:pt x="6880" y="18278"/>
                      </a:cubicBezTo>
                      <a:lnTo>
                        <a:pt x="15428" y="29676"/>
                      </a:lnTo>
                      <a:lnTo>
                        <a:pt x="4030" y="38225"/>
                      </a:lnTo>
                      <a:cubicBezTo>
                        <a:pt x="1180" y="41075"/>
                        <a:pt x="-1669" y="46774"/>
                        <a:pt x="1180" y="49624"/>
                      </a:cubicBezTo>
                      <a:lnTo>
                        <a:pt x="6880" y="58172"/>
                      </a:lnTo>
                      <a:cubicBezTo>
                        <a:pt x="9729" y="61022"/>
                        <a:pt x="15428" y="63872"/>
                        <a:pt x="18278" y="61022"/>
                      </a:cubicBezTo>
                      <a:lnTo>
                        <a:pt x="29676" y="52473"/>
                      </a:lnTo>
                      <a:lnTo>
                        <a:pt x="38225" y="63872"/>
                      </a:lnTo>
                      <a:cubicBezTo>
                        <a:pt x="41075" y="66721"/>
                        <a:pt x="46774" y="69571"/>
                        <a:pt x="49624" y="66721"/>
                      </a:cubicBezTo>
                      <a:lnTo>
                        <a:pt x="58172" y="61022"/>
                      </a:lnTo>
                      <a:cubicBezTo>
                        <a:pt x="61022" y="58172"/>
                        <a:pt x="63872" y="52473"/>
                        <a:pt x="61022" y="49624"/>
                      </a:cubicBezTo>
                      <a:lnTo>
                        <a:pt x="52473" y="35376"/>
                      </a:lnTo>
                      <a:lnTo>
                        <a:pt x="63872" y="26827"/>
                      </a:lnTo>
                      <a:cubicBezTo>
                        <a:pt x="66721" y="23977"/>
                        <a:pt x="69571" y="18278"/>
                        <a:pt x="66721" y="15428"/>
                      </a:cubicBezTo>
                      <a:lnTo>
                        <a:pt x="61022" y="6880"/>
                      </a:lnTo>
                      <a:cubicBezTo>
                        <a:pt x="58172" y="4030"/>
                        <a:pt x="52473" y="4030"/>
                        <a:pt x="49624" y="6880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86" name="图形 1">
              <a:extLst>
                <a:ext uri="{FF2B5EF4-FFF2-40B4-BE49-F238E27FC236}">
                  <a16:creationId xmlns:a16="http://schemas.microsoft.com/office/drawing/2014/main" id="{58D81753-55C3-41A2-AA4D-8F7FE56DBEEA}"/>
                </a:ext>
              </a:extLst>
            </p:cNvPr>
            <p:cNvGrpSpPr/>
            <p:nvPr/>
          </p:nvGrpSpPr>
          <p:grpSpPr>
            <a:xfrm>
              <a:off x="4815590" y="3264869"/>
              <a:ext cx="131081" cy="156216"/>
              <a:chOff x="4815590" y="3264869"/>
              <a:chExt cx="131081" cy="156216"/>
            </a:xfrm>
          </p:grpSpPr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72DCC1CD-9532-49D4-9568-643B59E798DD}"/>
                  </a:ext>
                </a:extLst>
              </p:cNvPr>
              <p:cNvSpPr/>
              <p:nvPr/>
            </p:nvSpPr>
            <p:spPr>
              <a:xfrm>
                <a:off x="4826632" y="3273502"/>
                <a:ext cx="120039" cy="147582"/>
              </a:xfrm>
              <a:custGeom>
                <a:avLst/>
                <a:gdLst>
                  <a:gd name="connsiteX0" fmla="*/ 43100 w 120039"/>
                  <a:gd name="connsiteY0" fmla="*/ 3279 h 147582"/>
                  <a:gd name="connsiteX1" fmla="*/ 356 w 120039"/>
                  <a:gd name="connsiteY1" fmla="*/ 97316 h 147582"/>
                  <a:gd name="connsiteX2" fmla="*/ 82995 w 120039"/>
                  <a:gd name="connsiteY2" fmla="*/ 122962 h 147582"/>
                  <a:gd name="connsiteX3" fmla="*/ 57348 w 120039"/>
                  <a:gd name="connsiteY3" fmla="*/ 80218 h 147582"/>
                  <a:gd name="connsiteX4" fmla="*/ 94393 w 120039"/>
                  <a:gd name="connsiteY4" fmla="*/ 31775 h 147582"/>
                  <a:gd name="connsiteX5" fmla="*/ 120039 w 120039"/>
                  <a:gd name="connsiteY5" fmla="*/ 17527 h 147582"/>
                  <a:gd name="connsiteX6" fmla="*/ 43100 w 120039"/>
                  <a:gd name="connsiteY6" fmla="*/ 3279 h 147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0039" h="147582">
                    <a:moveTo>
                      <a:pt x="43100" y="3279"/>
                    </a:moveTo>
                    <a:cubicBezTo>
                      <a:pt x="11755" y="17527"/>
                      <a:pt x="-2493" y="68820"/>
                      <a:pt x="356" y="97316"/>
                    </a:cubicBezTo>
                    <a:cubicBezTo>
                      <a:pt x="356" y="117263"/>
                      <a:pt x="51649" y="182804"/>
                      <a:pt x="82995" y="122962"/>
                    </a:cubicBezTo>
                    <a:cubicBezTo>
                      <a:pt x="100092" y="94466"/>
                      <a:pt x="54499" y="94466"/>
                      <a:pt x="57348" y="80218"/>
                    </a:cubicBezTo>
                    <a:cubicBezTo>
                      <a:pt x="63047" y="57421"/>
                      <a:pt x="74446" y="43173"/>
                      <a:pt x="94393" y="31775"/>
                    </a:cubicBezTo>
                    <a:cubicBezTo>
                      <a:pt x="100092" y="28925"/>
                      <a:pt x="120039" y="28925"/>
                      <a:pt x="120039" y="17527"/>
                    </a:cubicBezTo>
                    <a:cubicBezTo>
                      <a:pt x="114340" y="-2420"/>
                      <a:pt x="57348" y="-2420"/>
                      <a:pt x="43100" y="327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5BA56123-1CFB-4837-8ECD-C08045C2E94C}"/>
                  </a:ext>
                </a:extLst>
              </p:cNvPr>
              <p:cNvSpPr/>
              <p:nvPr/>
            </p:nvSpPr>
            <p:spPr>
              <a:xfrm>
                <a:off x="4815590" y="3264869"/>
                <a:ext cx="131081" cy="131595"/>
              </a:xfrm>
              <a:custGeom>
                <a:avLst/>
                <a:gdLst>
                  <a:gd name="connsiteX0" fmla="*/ 94037 w 131081"/>
                  <a:gd name="connsiteY0" fmla="*/ 131596 h 131595"/>
                  <a:gd name="connsiteX1" fmla="*/ 88338 w 131081"/>
                  <a:gd name="connsiteY1" fmla="*/ 125896 h 131595"/>
                  <a:gd name="connsiteX2" fmla="*/ 62691 w 131081"/>
                  <a:gd name="connsiteY2" fmla="*/ 91701 h 131595"/>
                  <a:gd name="connsiteX3" fmla="*/ 59842 w 131081"/>
                  <a:gd name="connsiteY3" fmla="*/ 86002 h 131595"/>
                  <a:gd name="connsiteX4" fmla="*/ 102586 w 131081"/>
                  <a:gd name="connsiteY4" fmla="*/ 40408 h 131595"/>
                  <a:gd name="connsiteX5" fmla="*/ 122533 w 131081"/>
                  <a:gd name="connsiteY5" fmla="*/ 26160 h 131595"/>
                  <a:gd name="connsiteX6" fmla="*/ 116834 w 131081"/>
                  <a:gd name="connsiteY6" fmla="*/ 17612 h 131595"/>
                  <a:gd name="connsiteX7" fmla="*/ 51293 w 131081"/>
                  <a:gd name="connsiteY7" fmla="*/ 14762 h 131595"/>
                  <a:gd name="connsiteX8" fmla="*/ 11398 w 131081"/>
                  <a:gd name="connsiteY8" fmla="*/ 105949 h 131595"/>
                  <a:gd name="connsiteX9" fmla="*/ 5699 w 131081"/>
                  <a:gd name="connsiteY9" fmla="*/ 111648 h 131595"/>
                  <a:gd name="connsiteX10" fmla="*/ 5699 w 131081"/>
                  <a:gd name="connsiteY10" fmla="*/ 111648 h 131595"/>
                  <a:gd name="connsiteX11" fmla="*/ 0 w 131081"/>
                  <a:gd name="connsiteY11" fmla="*/ 105949 h 131595"/>
                  <a:gd name="connsiteX12" fmla="*/ 48443 w 131081"/>
                  <a:gd name="connsiteY12" fmla="*/ 6213 h 131595"/>
                  <a:gd name="connsiteX13" fmla="*/ 122533 w 131081"/>
                  <a:gd name="connsiteY13" fmla="*/ 11912 h 131595"/>
                  <a:gd name="connsiteX14" fmla="*/ 131082 w 131081"/>
                  <a:gd name="connsiteY14" fmla="*/ 29010 h 131595"/>
                  <a:gd name="connsiteX15" fmla="*/ 105435 w 131081"/>
                  <a:gd name="connsiteY15" fmla="*/ 51807 h 131595"/>
                  <a:gd name="connsiteX16" fmla="*/ 68391 w 131081"/>
                  <a:gd name="connsiteY16" fmla="*/ 86002 h 131595"/>
                  <a:gd name="connsiteX17" fmla="*/ 94037 w 131081"/>
                  <a:gd name="connsiteY17" fmla="*/ 125896 h 131595"/>
                  <a:gd name="connsiteX18" fmla="*/ 94037 w 131081"/>
                  <a:gd name="connsiteY18" fmla="*/ 131596 h 131595"/>
                  <a:gd name="connsiteX19" fmla="*/ 94037 w 131081"/>
                  <a:gd name="connsiteY19" fmla="*/ 131596 h 131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31081" h="131595">
                    <a:moveTo>
                      <a:pt x="94037" y="131596"/>
                    </a:moveTo>
                    <a:cubicBezTo>
                      <a:pt x="91187" y="131596"/>
                      <a:pt x="88338" y="128746"/>
                      <a:pt x="88338" y="125896"/>
                    </a:cubicBezTo>
                    <a:cubicBezTo>
                      <a:pt x="88338" y="111648"/>
                      <a:pt x="68391" y="97400"/>
                      <a:pt x="62691" y="91701"/>
                    </a:cubicBezTo>
                    <a:cubicBezTo>
                      <a:pt x="59842" y="91701"/>
                      <a:pt x="59842" y="88852"/>
                      <a:pt x="59842" y="86002"/>
                    </a:cubicBezTo>
                    <a:cubicBezTo>
                      <a:pt x="65541" y="57506"/>
                      <a:pt x="85488" y="46108"/>
                      <a:pt x="102586" y="40408"/>
                    </a:cubicBezTo>
                    <a:cubicBezTo>
                      <a:pt x="113984" y="34709"/>
                      <a:pt x="122533" y="31860"/>
                      <a:pt x="122533" y="26160"/>
                    </a:cubicBezTo>
                    <a:cubicBezTo>
                      <a:pt x="122533" y="23311"/>
                      <a:pt x="119684" y="20461"/>
                      <a:pt x="116834" y="17612"/>
                    </a:cubicBezTo>
                    <a:cubicBezTo>
                      <a:pt x="105435" y="9063"/>
                      <a:pt x="79789" y="6213"/>
                      <a:pt x="51293" y="14762"/>
                    </a:cubicBezTo>
                    <a:cubicBezTo>
                      <a:pt x="14248" y="26160"/>
                      <a:pt x="11398" y="103100"/>
                      <a:pt x="11398" y="105949"/>
                    </a:cubicBezTo>
                    <a:cubicBezTo>
                      <a:pt x="11398" y="108799"/>
                      <a:pt x="8549" y="111648"/>
                      <a:pt x="5699" y="111648"/>
                    </a:cubicBezTo>
                    <a:lnTo>
                      <a:pt x="5699" y="111648"/>
                    </a:lnTo>
                    <a:cubicBezTo>
                      <a:pt x="2850" y="111648"/>
                      <a:pt x="0" y="108799"/>
                      <a:pt x="0" y="105949"/>
                    </a:cubicBezTo>
                    <a:cubicBezTo>
                      <a:pt x="0" y="103100"/>
                      <a:pt x="2850" y="20461"/>
                      <a:pt x="48443" y="6213"/>
                    </a:cubicBezTo>
                    <a:cubicBezTo>
                      <a:pt x="79789" y="-5185"/>
                      <a:pt x="111135" y="514"/>
                      <a:pt x="122533" y="11912"/>
                    </a:cubicBezTo>
                    <a:cubicBezTo>
                      <a:pt x="128232" y="17612"/>
                      <a:pt x="131082" y="23311"/>
                      <a:pt x="131082" y="29010"/>
                    </a:cubicBezTo>
                    <a:cubicBezTo>
                      <a:pt x="131082" y="43258"/>
                      <a:pt x="116834" y="46108"/>
                      <a:pt x="105435" y="51807"/>
                    </a:cubicBezTo>
                    <a:cubicBezTo>
                      <a:pt x="91187" y="57506"/>
                      <a:pt x="74090" y="66055"/>
                      <a:pt x="68391" y="86002"/>
                    </a:cubicBezTo>
                    <a:cubicBezTo>
                      <a:pt x="76939" y="91701"/>
                      <a:pt x="94037" y="105949"/>
                      <a:pt x="94037" y="125896"/>
                    </a:cubicBezTo>
                    <a:cubicBezTo>
                      <a:pt x="99736" y="128746"/>
                      <a:pt x="99736" y="131596"/>
                      <a:pt x="94037" y="131596"/>
                    </a:cubicBezTo>
                    <a:lnTo>
                      <a:pt x="94037" y="131596"/>
                    </a:ln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339" name="图形 1">
            <a:extLst>
              <a:ext uri="{FF2B5EF4-FFF2-40B4-BE49-F238E27FC236}">
                <a16:creationId xmlns:a16="http://schemas.microsoft.com/office/drawing/2014/main" id="{58D81753-55C3-41A2-AA4D-8F7FE56DBEEA}"/>
              </a:ext>
            </a:extLst>
          </p:cNvPr>
          <p:cNvGrpSpPr/>
          <p:nvPr/>
        </p:nvGrpSpPr>
        <p:grpSpPr>
          <a:xfrm>
            <a:off x="6444152" y="2247501"/>
            <a:ext cx="2896067" cy="4296883"/>
            <a:chOff x="6208177" y="2748946"/>
            <a:chExt cx="2896067" cy="4296883"/>
          </a:xfrm>
        </p:grpSpPr>
        <p:grpSp>
          <p:nvGrpSpPr>
            <p:cNvPr id="340" name="图形 1">
              <a:extLst>
                <a:ext uri="{FF2B5EF4-FFF2-40B4-BE49-F238E27FC236}">
                  <a16:creationId xmlns:a16="http://schemas.microsoft.com/office/drawing/2014/main" id="{58D81753-55C3-41A2-AA4D-8F7FE56DBEEA}"/>
                </a:ext>
              </a:extLst>
            </p:cNvPr>
            <p:cNvGrpSpPr/>
            <p:nvPr/>
          </p:nvGrpSpPr>
          <p:grpSpPr>
            <a:xfrm>
              <a:off x="8756592" y="6297361"/>
              <a:ext cx="347652" cy="459918"/>
              <a:chOff x="8756592" y="6297361"/>
              <a:chExt cx="347652" cy="459918"/>
            </a:xfrm>
          </p:grpSpPr>
          <p:sp>
            <p:nvSpPr>
              <p:cNvPr id="341" name="任意多边形: 形状 340">
                <a:extLst>
                  <a:ext uri="{FF2B5EF4-FFF2-40B4-BE49-F238E27FC236}">
                    <a16:creationId xmlns:a16="http://schemas.microsoft.com/office/drawing/2014/main" id="{A596E10B-C9C2-4B20-94EE-241824F1DFBE}"/>
                  </a:ext>
                </a:extLst>
              </p:cNvPr>
              <p:cNvSpPr/>
              <p:nvPr/>
            </p:nvSpPr>
            <p:spPr>
              <a:xfrm>
                <a:off x="8853479" y="6371451"/>
                <a:ext cx="250765" cy="385828"/>
              </a:xfrm>
              <a:custGeom>
                <a:avLst/>
                <a:gdLst>
                  <a:gd name="connsiteX0" fmla="*/ 0 w 250765"/>
                  <a:gd name="connsiteY0" fmla="*/ 82638 h 385828"/>
                  <a:gd name="connsiteX1" fmla="*/ 71240 w 250765"/>
                  <a:gd name="connsiteY1" fmla="*/ 259314 h 385828"/>
                  <a:gd name="connsiteX2" fmla="*/ 79789 w 250765"/>
                  <a:gd name="connsiteY2" fmla="*/ 25646 h 385828"/>
                  <a:gd name="connsiteX3" fmla="*/ 76939 w 250765"/>
                  <a:gd name="connsiteY3" fmla="*/ 0 h 385828"/>
                  <a:gd name="connsiteX4" fmla="*/ 148179 w 250765"/>
                  <a:gd name="connsiteY4" fmla="*/ 22796 h 385828"/>
                  <a:gd name="connsiteX5" fmla="*/ 250765 w 250765"/>
                  <a:gd name="connsiteY5" fmla="*/ 102585 h 385828"/>
                  <a:gd name="connsiteX6" fmla="*/ 236517 w 250765"/>
                  <a:gd name="connsiteY6" fmla="*/ 122533 h 385828"/>
                  <a:gd name="connsiteX7" fmla="*/ 142480 w 250765"/>
                  <a:gd name="connsiteY7" fmla="*/ 79789 h 385828"/>
                  <a:gd name="connsiteX8" fmla="*/ 176675 w 250765"/>
                  <a:gd name="connsiteY8" fmla="*/ 259314 h 385828"/>
                  <a:gd name="connsiteX9" fmla="*/ 99736 w 250765"/>
                  <a:gd name="connsiteY9" fmla="*/ 384697 h 385828"/>
                  <a:gd name="connsiteX10" fmla="*/ 62691 w 250765"/>
                  <a:gd name="connsiteY10" fmla="*/ 361900 h 385828"/>
                  <a:gd name="connsiteX11" fmla="*/ 0 w 250765"/>
                  <a:gd name="connsiteY11" fmla="*/ 82638 h 385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0765" h="385828">
                    <a:moveTo>
                      <a:pt x="0" y="82638"/>
                    </a:moveTo>
                    <a:cubicBezTo>
                      <a:pt x="0" y="82638"/>
                      <a:pt x="54142" y="267863"/>
                      <a:pt x="71240" y="259314"/>
                    </a:cubicBezTo>
                    <a:cubicBezTo>
                      <a:pt x="88337" y="250765"/>
                      <a:pt x="79789" y="25646"/>
                      <a:pt x="79789" y="25646"/>
                    </a:cubicBezTo>
                    <a:lnTo>
                      <a:pt x="76939" y="0"/>
                    </a:lnTo>
                    <a:cubicBezTo>
                      <a:pt x="76939" y="0"/>
                      <a:pt x="128232" y="5699"/>
                      <a:pt x="148179" y="22796"/>
                    </a:cubicBezTo>
                    <a:cubicBezTo>
                      <a:pt x="168126" y="39894"/>
                      <a:pt x="250765" y="102585"/>
                      <a:pt x="250765" y="102585"/>
                    </a:cubicBezTo>
                    <a:lnTo>
                      <a:pt x="236517" y="122533"/>
                    </a:lnTo>
                    <a:lnTo>
                      <a:pt x="142480" y="79789"/>
                    </a:lnTo>
                    <a:cubicBezTo>
                      <a:pt x="142480" y="79789"/>
                      <a:pt x="182375" y="239367"/>
                      <a:pt x="176675" y="259314"/>
                    </a:cubicBezTo>
                    <a:cubicBezTo>
                      <a:pt x="170976" y="279261"/>
                      <a:pt x="105435" y="378997"/>
                      <a:pt x="99736" y="384697"/>
                    </a:cubicBezTo>
                    <a:cubicBezTo>
                      <a:pt x="94037" y="390396"/>
                      <a:pt x="62691" y="373298"/>
                      <a:pt x="62691" y="361900"/>
                    </a:cubicBezTo>
                    <a:cubicBezTo>
                      <a:pt x="65541" y="279261"/>
                      <a:pt x="0" y="82638"/>
                      <a:pt x="0" y="82638"/>
                    </a:cubicBezTo>
                    <a:close/>
                  </a:path>
                </a:pathLst>
              </a:custGeom>
              <a:solidFill>
                <a:srgbClr val="D16156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2" name="任意多边形: 形状 341">
                <a:extLst>
                  <a:ext uri="{FF2B5EF4-FFF2-40B4-BE49-F238E27FC236}">
                    <a16:creationId xmlns:a16="http://schemas.microsoft.com/office/drawing/2014/main" id="{D06297D3-8B8F-4B62-817D-768276603CEB}"/>
                  </a:ext>
                </a:extLst>
              </p:cNvPr>
              <p:cNvSpPr/>
              <p:nvPr/>
            </p:nvSpPr>
            <p:spPr>
              <a:xfrm>
                <a:off x="8756592" y="6297361"/>
                <a:ext cx="192133" cy="333690"/>
              </a:xfrm>
              <a:custGeom>
                <a:avLst/>
                <a:gdLst>
                  <a:gd name="connsiteX0" fmla="*/ 0 w 192133"/>
                  <a:gd name="connsiteY0" fmla="*/ 91187 h 333690"/>
                  <a:gd name="connsiteX1" fmla="*/ 99736 w 192133"/>
                  <a:gd name="connsiteY1" fmla="*/ 156728 h 333690"/>
                  <a:gd name="connsiteX2" fmla="*/ 170976 w 192133"/>
                  <a:gd name="connsiteY2" fmla="*/ 333404 h 333690"/>
                  <a:gd name="connsiteX3" fmla="*/ 176676 w 192133"/>
                  <a:gd name="connsiteY3" fmla="*/ 74090 h 333690"/>
                  <a:gd name="connsiteX4" fmla="*/ 59842 w 192133"/>
                  <a:gd name="connsiteY4" fmla="*/ 0 h 333690"/>
                  <a:gd name="connsiteX5" fmla="*/ 0 w 192133"/>
                  <a:gd name="connsiteY5" fmla="*/ 91187 h 333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133" h="333690">
                    <a:moveTo>
                      <a:pt x="0" y="91187"/>
                    </a:moveTo>
                    <a:lnTo>
                      <a:pt x="99736" y="156728"/>
                    </a:lnTo>
                    <a:cubicBezTo>
                      <a:pt x="99736" y="156728"/>
                      <a:pt x="145330" y="341953"/>
                      <a:pt x="170976" y="333404"/>
                    </a:cubicBezTo>
                    <a:cubicBezTo>
                      <a:pt x="196623" y="324855"/>
                      <a:pt x="199472" y="91187"/>
                      <a:pt x="176676" y="74090"/>
                    </a:cubicBezTo>
                    <a:cubicBezTo>
                      <a:pt x="136781" y="48443"/>
                      <a:pt x="59842" y="0"/>
                      <a:pt x="59842" y="0"/>
                    </a:cubicBezTo>
                    <a:lnTo>
                      <a:pt x="0" y="91187"/>
                    </a:ln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43" name="任意多边形: 形状 342">
              <a:extLst>
                <a:ext uri="{FF2B5EF4-FFF2-40B4-BE49-F238E27FC236}">
                  <a16:creationId xmlns:a16="http://schemas.microsoft.com/office/drawing/2014/main" id="{B83A4049-A2E9-43F6-AAFF-D9E30D5A55CF}"/>
                </a:ext>
              </a:extLst>
            </p:cNvPr>
            <p:cNvSpPr/>
            <p:nvPr/>
          </p:nvSpPr>
          <p:spPr>
            <a:xfrm>
              <a:off x="6702028" y="3674317"/>
              <a:ext cx="1040182" cy="477809"/>
            </a:xfrm>
            <a:custGeom>
              <a:avLst/>
              <a:gdLst>
                <a:gd name="connsiteX0" fmla="*/ 991662 w 1040182"/>
                <a:gd name="connsiteY0" fmla="*/ 192332 h 477809"/>
                <a:gd name="connsiteX1" fmla="*/ 837783 w 1040182"/>
                <a:gd name="connsiteY1" fmla="*/ 9957 h 477809"/>
                <a:gd name="connsiteX2" fmla="*/ 484433 w 1040182"/>
                <a:gd name="connsiteY2" fmla="*/ 269271 h 477809"/>
                <a:gd name="connsiteX3" fmla="*/ 62691 w 1040182"/>
                <a:gd name="connsiteY3" fmla="*/ 129641 h 477809"/>
                <a:gd name="connsiteX4" fmla="*/ 0 w 1040182"/>
                <a:gd name="connsiteY4" fmla="*/ 209430 h 477809"/>
                <a:gd name="connsiteX5" fmla="*/ 461636 w 1040182"/>
                <a:gd name="connsiteY5" fmla="*/ 477292 h 477809"/>
                <a:gd name="connsiteX6" fmla="*/ 991662 w 1040182"/>
                <a:gd name="connsiteY6" fmla="*/ 192332 h 477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0182" h="477809">
                  <a:moveTo>
                    <a:pt x="991662" y="192332"/>
                  </a:moveTo>
                  <a:cubicBezTo>
                    <a:pt x="1125594" y="84047"/>
                    <a:pt x="951768" y="-35637"/>
                    <a:pt x="837783" y="9957"/>
                  </a:cubicBezTo>
                  <a:cubicBezTo>
                    <a:pt x="726649" y="55551"/>
                    <a:pt x="555673" y="255023"/>
                    <a:pt x="484433" y="269271"/>
                  </a:cubicBezTo>
                  <a:cubicBezTo>
                    <a:pt x="398945" y="269271"/>
                    <a:pt x="62691" y="129641"/>
                    <a:pt x="62691" y="129641"/>
                  </a:cubicBezTo>
                  <a:cubicBezTo>
                    <a:pt x="42744" y="152438"/>
                    <a:pt x="0" y="209430"/>
                    <a:pt x="0" y="209430"/>
                  </a:cubicBezTo>
                  <a:cubicBezTo>
                    <a:pt x="0" y="209430"/>
                    <a:pt x="333404" y="451646"/>
                    <a:pt x="461636" y="477292"/>
                  </a:cubicBezTo>
                  <a:cubicBezTo>
                    <a:pt x="524327" y="488691"/>
                    <a:pt x="852032" y="309166"/>
                    <a:pt x="991662" y="192332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4" name="任意多边形: 形状 343">
              <a:extLst>
                <a:ext uri="{FF2B5EF4-FFF2-40B4-BE49-F238E27FC236}">
                  <a16:creationId xmlns:a16="http://schemas.microsoft.com/office/drawing/2014/main" id="{29981DD7-57CB-4252-8D4D-3E932A1217BF}"/>
                </a:ext>
              </a:extLst>
            </p:cNvPr>
            <p:cNvSpPr/>
            <p:nvPr/>
          </p:nvSpPr>
          <p:spPr>
            <a:xfrm>
              <a:off x="7391632" y="3559038"/>
              <a:ext cx="434369" cy="410196"/>
            </a:xfrm>
            <a:custGeom>
              <a:avLst/>
              <a:gdLst>
                <a:gd name="connsiteX0" fmla="*/ 262164 w 434369"/>
                <a:gd name="connsiteY0" fmla="*/ 410197 h 410196"/>
                <a:gd name="connsiteX1" fmla="*/ 424591 w 434369"/>
                <a:gd name="connsiteY1" fmla="*/ 34049 h 410196"/>
                <a:gd name="connsiteX2" fmla="*/ 0 w 434369"/>
                <a:gd name="connsiteY2" fmla="*/ 179379 h 410196"/>
                <a:gd name="connsiteX3" fmla="*/ 262164 w 434369"/>
                <a:gd name="connsiteY3" fmla="*/ 410197 h 410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4369" h="410196">
                  <a:moveTo>
                    <a:pt x="262164" y="410197"/>
                  </a:moveTo>
                  <a:cubicBezTo>
                    <a:pt x="390396" y="293363"/>
                    <a:pt x="461636" y="99590"/>
                    <a:pt x="424591" y="34049"/>
                  </a:cubicBezTo>
                  <a:cubicBezTo>
                    <a:pt x="373298" y="-51439"/>
                    <a:pt x="128232" y="34049"/>
                    <a:pt x="0" y="179379"/>
                  </a:cubicBezTo>
                  <a:cubicBezTo>
                    <a:pt x="17098" y="247769"/>
                    <a:pt x="176675" y="361753"/>
                    <a:pt x="262164" y="410197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5" name="图形 1">
              <a:extLst>
                <a:ext uri="{FF2B5EF4-FFF2-40B4-BE49-F238E27FC236}">
                  <a16:creationId xmlns:a16="http://schemas.microsoft.com/office/drawing/2014/main" id="{58D81753-55C3-41A2-AA4D-8F7FE56DBEEA}"/>
                </a:ext>
              </a:extLst>
            </p:cNvPr>
            <p:cNvGrpSpPr/>
            <p:nvPr/>
          </p:nvGrpSpPr>
          <p:grpSpPr>
            <a:xfrm>
              <a:off x="7493505" y="6684908"/>
              <a:ext cx="354063" cy="360921"/>
              <a:chOff x="7493505" y="6684908"/>
              <a:chExt cx="354063" cy="360921"/>
            </a:xfrm>
          </p:grpSpPr>
          <p:sp>
            <p:nvSpPr>
              <p:cNvPr id="346" name="任意多边形: 形状 345">
                <a:extLst>
                  <a:ext uri="{FF2B5EF4-FFF2-40B4-BE49-F238E27FC236}">
                    <a16:creationId xmlns:a16="http://schemas.microsoft.com/office/drawing/2014/main" id="{8793A1E9-AE12-429F-AEBF-BAEA095A8C25}"/>
                  </a:ext>
                </a:extLst>
              </p:cNvPr>
              <p:cNvSpPr/>
              <p:nvPr/>
            </p:nvSpPr>
            <p:spPr>
              <a:xfrm>
                <a:off x="7493505" y="6801741"/>
                <a:ext cx="340729" cy="244088"/>
              </a:xfrm>
              <a:custGeom>
                <a:avLst/>
                <a:gdLst>
                  <a:gd name="connsiteX0" fmla="*/ 211583 w 340729"/>
                  <a:gd name="connsiteY0" fmla="*/ 0 h 244088"/>
                  <a:gd name="connsiteX1" fmla="*/ 100449 w 340729"/>
                  <a:gd name="connsiteY1" fmla="*/ 153879 h 244088"/>
                  <a:gd name="connsiteX2" fmla="*/ 302770 w 340729"/>
                  <a:gd name="connsiteY2" fmla="*/ 34195 h 244088"/>
                  <a:gd name="connsiteX3" fmla="*/ 322717 w 340729"/>
                  <a:gd name="connsiteY3" fmla="*/ 19947 h 244088"/>
                  <a:gd name="connsiteX4" fmla="*/ 339815 w 340729"/>
                  <a:gd name="connsiteY4" fmla="*/ 91187 h 244088"/>
                  <a:gd name="connsiteX5" fmla="*/ 328417 w 340729"/>
                  <a:gd name="connsiteY5" fmla="*/ 219419 h 244088"/>
                  <a:gd name="connsiteX6" fmla="*/ 302770 w 340729"/>
                  <a:gd name="connsiteY6" fmla="*/ 219419 h 244088"/>
                  <a:gd name="connsiteX7" fmla="*/ 288522 w 340729"/>
                  <a:gd name="connsiteY7" fmla="*/ 116834 h 244088"/>
                  <a:gd name="connsiteX8" fmla="*/ 154591 w 340729"/>
                  <a:gd name="connsiteY8" fmla="*/ 239367 h 244088"/>
                  <a:gd name="connsiteX9" fmla="*/ 6412 w 340729"/>
                  <a:gd name="connsiteY9" fmla="*/ 242216 h 244088"/>
                  <a:gd name="connsiteX10" fmla="*/ 6412 w 340729"/>
                  <a:gd name="connsiteY10" fmla="*/ 199472 h 244088"/>
                  <a:gd name="connsiteX11" fmla="*/ 211583 w 340729"/>
                  <a:gd name="connsiteY11" fmla="*/ 0 h 244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40729" h="244088">
                    <a:moveTo>
                      <a:pt x="211583" y="0"/>
                    </a:moveTo>
                    <a:cubicBezTo>
                      <a:pt x="211583" y="0"/>
                      <a:pt x="86201" y="145330"/>
                      <a:pt x="100449" y="153879"/>
                    </a:cubicBezTo>
                    <a:cubicBezTo>
                      <a:pt x="117546" y="162427"/>
                      <a:pt x="302770" y="34195"/>
                      <a:pt x="302770" y="34195"/>
                    </a:cubicBezTo>
                    <a:lnTo>
                      <a:pt x="322717" y="19947"/>
                    </a:lnTo>
                    <a:cubicBezTo>
                      <a:pt x="322717" y="19947"/>
                      <a:pt x="345514" y="65541"/>
                      <a:pt x="339815" y="91187"/>
                    </a:cubicBezTo>
                    <a:cubicBezTo>
                      <a:pt x="334116" y="116834"/>
                      <a:pt x="328417" y="219419"/>
                      <a:pt x="328417" y="219419"/>
                    </a:cubicBezTo>
                    <a:lnTo>
                      <a:pt x="302770" y="219419"/>
                    </a:lnTo>
                    <a:lnTo>
                      <a:pt x="288522" y="116834"/>
                    </a:lnTo>
                    <a:cubicBezTo>
                      <a:pt x="288522" y="116834"/>
                      <a:pt x="174538" y="236517"/>
                      <a:pt x="154591" y="239367"/>
                    </a:cubicBezTo>
                    <a:cubicBezTo>
                      <a:pt x="134644" y="245066"/>
                      <a:pt x="17810" y="245066"/>
                      <a:pt x="6412" y="242216"/>
                    </a:cubicBezTo>
                    <a:cubicBezTo>
                      <a:pt x="-2137" y="242216"/>
                      <a:pt x="-2137" y="205171"/>
                      <a:pt x="6412" y="199472"/>
                    </a:cubicBezTo>
                    <a:cubicBezTo>
                      <a:pt x="80501" y="159578"/>
                      <a:pt x="211583" y="0"/>
                      <a:pt x="211583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7" name="任意多边形: 形状 346">
                <a:extLst>
                  <a:ext uri="{FF2B5EF4-FFF2-40B4-BE49-F238E27FC236}">
                    <a16:creationId xmlns:a16="http://schemas.microsoft.com/office/drawing/2014/main" id="{365644EE-D846-4AE5-8123-6CA84AA17493}"/>
                  </a:ext>
                </a:extLst>
              </p:cNvPr>
              <p:cNvSpPr/>
              <p:nvPr/>
            </p:nvSpPr>
            <p:spPr>
              <a:xfrm>
                <a:off x="7591888" y="6684908"/>
                <a:ext cx="255680" cy="275190"/>
              </a:xfrm>
              <a:custGeom>
                <a:avLst/>
                <a:gdLst>
                  <a:gd name="connsiteX0" fmla="*/ 158794 w 255680"/>
                  <a:gd name="connsiteY0" fmla="*/ 0 h 275190"/>
                  <a:gd name="connsiteX1" fmla="*/ 113200 w 255680"/>
                  <a:gd name="connsiteY1" fmla="*/ 119683 h 275190"/>
                  <a:gd name="connsiteX2" fmla="*/ 2066 w 255680"/>
                  <a:gd name="connsiteY2" fmla="*/ 273562 h 275190"/>
                  <a:gd name="connsiteX3" fmla="*/ 221485 w 255680"/>
                  <a:gd name="connsiteY3" fmla="*/ 139630 h 275190"/>
                  <a:gd name="connsiteX4" fmla="*/ 255680 w 255680"/>
                  <a:gd name="connsiteY4" fmla="*/ 0 h 275190"/>
                  <a:gd name="connsiteX5" fmla="*/ 158794 w 255680"/>
                  <a:gd name="connsiteY5" fmla="*/ 0 h 275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5680" h="275190">
                    <a:moveTo>
                      <a:pt x="158794" y="0"/>
                    </a:moveTo>
                    <a:lnTo>
                      <a:pt x="113200" y="119683"/>
                    </a:lnTo>
                    <a:cubicBezTo>
                      <a:pt x="113200" y="119683"/>
                      <a:pt x="-17882" y="259314"/>
                      <a:pt x="2066" y="273562"/>
                    </a:cubicBezTo>
                    <a:cubicBezTo>
                      <a:pt x="22013" y="290660"/>
                      <a:pt x="224335" y="168126"/>
                      <a:pt x="221485" y="139630"/>
                    </a:cubicBezTo>
                    <a:cubicBezTo>
                      <a:pt x="221485" y="94037"/>
                      <a:pt x="255680" y="0"/>
                      <a:pt x="255680" y="0"/>
                    </a:cubicBezTo>
                    <a:lnTo>
                      <a:pt x="158794" y="0"/>
                    </a:ln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48" name="任意多边形: 形状 347">
              <a:extLst>
                <a:ext uri="{FF2B5EF4-FFF2-40B4-BE49-F238E27FC236}">
                  <a16:creationId xmlns:a16="http://schemas.microsoft.com/office/drawing/2014/main" id="{00C9DAD2-7596-4E21-86C4-D24E3F6D3126}"/>
                </a:ext>
              </a:extLst>
            </p:cNvPr>
            <p:cNvSpPr/>
            <p:nvPr/>
          </p:nvSpPr>
          <p:spPr>
            <a:xfrm>
              <a:off x="7558644" y="4408074"/>
              <a:ext cx="1348977" cy="2356622"/>
            </a:xfrm>
            <a:custGeom>
              <a:avLst/>
              <a:gdLst>
                <a:gd name="connsiteX0" fmla="*/ 736313 w 1348977"/>
                <a:gd name="connsiteY0" fmla="*/ 0 h 2356622"/>
                <a:gd name="connsiteX1" fmla="*/ 112250 w 1348977"/>
                <a:gd name="connsiteY1" fmla="*/ 0 h 2356622"/>
                <a:gd name="connsiteX2" fmla="*/ 1115 w 1348977"/>
                <a:gd name="connsiteY2" fmla="*/ 430290 h 2356622"/>
                <a:gd name="connsiteX3" fmla="*/ 169242 w 1348977"/>
                <a:gd name="connsiteY3" fmla="*/ 2322428 h 2356622"/>
                <a:gd name="connsiteX4" fmla="*/ 331669 w 1348977"/>
                <a:gd name="connsiteY4" fmla="*/ 2356623 h 2356622"/>
                <a:gd name="connsiteX5" fmla="*/ 431405 w 1348977"/>
                <a:gd name="connsiteY5" fmla="*/ 757995 h 2356622"/>
                <a:gd name="connsiteX6" fmla="*/ 522592 w 1348977"/>
                <a:gd name="connsiteY6" fmla="*/ 1527388 h 2356622"/>
                <a:gd name="connsiteX7" fmla="*/ 533991 w 1348977"/>
                <a:gd name="connsiteY7" fmla="*/ 1575831 h 2356622"/>
                <a:gd name="connsiteX8" fmla="*/ 1220746 w 1348977"/>
                <a:gd name="connsiteY8" fmla="*/ 2065963 h 2356622"/>
                <a:gd name="connsiteX9" fmla="*/ 1348978 w 1348977"/>
                <a:gd name="connsiteY9" fmla="*/ 1894987 h 2356622"/>
                <a:gd name="connsiteX10" fmla="*/ 850297 w 1348977"/>
                <a:gd name="connsiteY10" fmla="*/ 1419103 h 2356622"/>
                <a:gd name="connsiteX11" fmla="*/ 858846 w 1348977"/>
                <a:gd name="connsiteY11" fmla="*/ 384697 h 2356622"/>
                <a:gd name="connsiteX12" fmla="*/ 736313 w 1348977"/>
                <a:gd name="connsiteY12" fmla="*/ 0 h 235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8977" h="2356622">
                  <a:moveTo>
                    <a:pt x="736313" y="0"/>
                  </a:moveTo>
                  <a:lnTo>
                    <a:pt x="112250" y="0"/>
                  </a:lnTo>
                  <a:cubicBezTo>
                    <a:pt x="112250" y="0"/>
                    <a:pt x="21062" y="284960"/>
                    <a:pt x="1115" y="430290"/>
                  </a:cubicBezTo>
                  <a:cubicBezTo>
                    <a:pt x="-15983" y="572771"/>
                    <a:pt x="169242" y="2322428"/>
                    <a:pt x="169242" y="2322428"/>
                  </a:cubicBezTo>
                  <a:lnTo>
                    <a:pt x="331669" y="2356623"/>
                  </a:lnTo>
                  <a:lnTo>
                    <a:pt x="431405" y="757995"/>
                  </a:lnTo>
                  <a:lnTo>
                    <a:pt x="522592" y="1527388"/>
                  </a:lnTo>
                  <a:cubicBezTo>
                    <a:pt x="525442" y="1544485"/>
                    <a:pt x="528292" y="1561583"/>
                    <a:pt x="533991" y="1575831"/>
                  </a:cubicBezTo>
                  <a:lnTo>
                    <a:pt x="1220746" y="2065963"/>
                  </a:lnTo>
                  <a:lnTo>
                    <a:pt x="1348978" y="1894987"/>
                  </a:lnTo>
                  <a:lnTo>
                    <a:pt x="850297" y="1419103"/>
                  </a:lnTo>
                  <a:cubicBezTo>
                    <a:pt x="850297" y="1419103"/>
                    <a:pt x="853147" y="447388"/>
                    <a:pt x="858846" y="384697"/>
                  </a:cubicBezTo>
                  <a:cubicBezTo>
                    <a:pt x="870244" y="276412"/>
                    <a:pt x="736313" y="0"/>
                    <a:pt x="736313" y="0"/>
                  </a:cubicBezTo>
                  <a:close/>
                </a:path>
              </a:pathLst>
            </a:custGeom>
            <a:solidFill>
              <a:srgbClr val="7F95BC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9" name="任意多边形: 形状 348">
              <a:extLst>
                <a:ext uri="{FF2B5EF4-FFF2-40B4-BE49-F238E27FC236}">
                  <a16:creationId xmlns:a16="http://schemas.microsoft.com/office/drawing/2014/main" id="{DDD72F21-9365-4467-B364-105CB801026F}"/>
                </a:ext>
              </a:extLst>
            </p:cNvPr>
            <p:cNvSpPr/>
            <p:nvPr/>
          </p:nvSpPr>
          <p:spPr>
            <a:xfrm>
              <a:off x="7947305" y="4772823"/>
              <a:ext cx="842770" cy="1709762"/>
            </a:xfrm>
            <a:custGeom>
              <a:avLst/>
              <a:gdLst>
                <a:gd name="connsiteX0" fmla="*/ 834934 w 842770"/>
                <a:gd name="connsiteY0" fmla="*/ 1709763 h 1709762"/>
                <a:gd name="connsiteX1" fmla="*/ 832084 w 842770"/>
                <a:gd name="connsiteY1" fmla="*/ 1709763 h 1709762"/>
                <a:gd name="connsiteX2" fmla="*/ 142480 w 842770"/>
                <a:gd name="connsiteY2" fmla="*/ 1219631 h 1709762"/>
                <a:gd name="connsiteX3" fmla="*/ 142480 w 842770"/>
                <a:gd name="connsiteY3" fmla="*/ 1216781 h 1709762"/>
                <a:gd name="connsiteX4" fmla="*/ 131082 w 842770"/>
                <a:gd name="connsiteY4" fmla="*/ 1165488 h 1709762"/>
                <a:gd name="connsiteX5" fmla="*/ 39894 w 842770"/>
                <a:gd name="connsiteY5" fmla="*/ 396095 h 1709762"/>
                <a:gd name="connsiteX6" fmla="*/ 0 w 842770"/>
                <a:gd name="connsiteY6" fmla="*/ 5699 h 1709762"/>
                <a:gd name="connsiteX7" fmla="*/ 5699 w 842770"/>
                <a:gd name="connsiteY7" fmla="*/ 0 h 1709762"/>
                <a:gd name="connsiteX8" fmla="*/ 11398 w 842770"/>
                <a:gd name="connsiteY8" fmla="*/ 5699 h 1709762"/>
                <a:gd name="connsiteX9" fmla="*/ 51293 w 842770"/>
                <a:gd name="connsiteY9" fmla="*/ 396095 h 1709762"/>
                <a:gd name="connsiteX10" fmla="*/ 142480 w 842770"/>
                <a:gd name="connsiteY10" fmla="*/ 1165488 h 1709762"/>
                <a:gd name="connsiteX11" fmla="*/ 153878 w 842770"/>
                <a:gd name="connsiteY11" fmla="*/ 1211082 h 1709762"/>
                <a:gd name="connsiteX12" fmla="*/ 840633 w 842770"/>
                <a:gd name="connsiteY12" fmla="*/ 1701214 h 1709762"/>
                <a:gd name="connsiteX13" fmla="*/ 840633 w 842770"/>
                <a:gd name="connsiteY13" fmla="*/ 1709763 h 1709762"/>
                <a:gd name="connsiteX14" fmla="*/ 834934 w 842770"/>
                <a:gd name="connsiteY14" fmla="*/ 1709763 h 170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2770" h="1709762">
                  <a:moveTo>
                    <a:pt x="834934" y="1709763"/>
                  </a:moveTo>
                  <a:cubicBezTo>
                    <a:pt x="834934" y="1709763"/>
                    <a:pt x="832084" y="1709763"/>
                    <a:pt x="832084" y="1709763"/>
                  </a:cubicBezTo>
                  <a:lnTo>
                    <a:pt x="142480" y="1219631"/>
                  </a:lnTo>
                  <a:lnTo>
                    <a:pt x="142480" y="1216781"/>
                  </a:lnTo>
                  <a:cubicBezTo>
                    <a:pt x="136781" y="1199684"/>
                    <a:pt x="131082" y="1182586"/>
                    <a:pt x="131082" y="1165488"/>
                  </a:cubicBezTo>
                  <a:lnTo>
                    <a:pt x="39894" y="396095"/>
                  </a:lnTo>
                  <a:lnTo>
                    <a:pt x="0" y="5699"/>
                  </a:lnTo>
                  <a:cubicBezTo>
                    <a:pt x="0" y="2850"/>
                    <a:pt x="2850" y="0"/>
                    <a:pt x="5699" y="0"/>
                  </a:cubicBezTo>
                  <a:cubicBezTo>
                    <a:pt x="8549" y="0"/>
                    <a:pt x="11398" y="2850"/>
                    <a:pt x="11398" y="5699"/>
                  </a:cubicBezTo>
                  <a:lnTo>
                    <a:pt x="51293" y="396095"/>
                  </a:lnTo>
                  <a:lnTo>
                    <a:pt x="142480" y="1165488"/>
                  </a:lnTo>
                  <a:cubicBezTo>
                    <a:pt x="142480" y="1182586"/>
                    <a:pt x="148179" y="1196834"/>
                    <a:pt x="153878" y="1211082"/>
                  </a:cubicBezTo>
                  <a:lnTo>
                    <a:pt x="840633" y="1701214"/>
                  </a:lnTo>
                  <a:cubicBezTo>
                    <a:pt x="843483" y="1704063"/>
                    <a:pt x="843483" y="1706913"/>
                    <a:pt x="840633" y="1709763"/>
                  </a:cubicBezTo>
                  <a:cubicBezTo>
                    <a:pt x="837783" y="1709763"/>
                    <a:pt x="834934" y="1709763"/>
                    <a:pt x="834934" y="1709763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0" name="任意多边形: 形状 349">
              <a:extLst>
                <a:ext uri="{FF2B5EF4-FFF2-40B4-BE49-F238E27FC236}">
                  <a16:creationId xmlns:a16="http://schemas.microsoft.com/office/drawing/2014/main" id="{7825942C-FFCA-4F7A-BD7C-532CA0CAF985}"/>
                </a:ext>
              </a:extLst>
            </p:cNvPr>
            <p:cNvSpPr/>
            <p:nvPr/>
          </p:nvSpPr>
          <p:spPr>
            <a:xfrm>
              <a:off x="8246513" y="4553404"/>
              <a:ext cx="169306" cy="176675"/>
            </a:xfrm>
            <a:custGeom>
              <a:avLst/>
              <a:gdLst>
                <a:gd name="connsiteX0" fmla="*/ 165277 w 169306"/>
                <a:gd name="connsiteY0" fmla="*/ 176675 h 176675"/>
                <a:gd name="connsiteX1" fmla="*/ 165277 w 169306"/>
                <a:gd name="connsiteY1" fmla="*/ 176675 h 176675"/>
                <a:gd name="connsiteX2" fmla="*/ 0 w 169306"/>
                <a:gd name="connsiteY2" fmla="*/ 5699 h 176675"/>
                <a:gd name="connsiteX3" fmla="*/ 2850 w 169306"/>
                <a:gd name="connsiteY3" fmla="*/ 0 h 176675"/>
                <a:gd name="connsiteX4" fmla="*/ 8549 w 169306"/>
                <a:gd name="connsiteY4" fmla="*/ 2850 h 176675"/>
                <a:gd name="connsiteX5" fmla="*/ 165277 w 169306"/>
                <a:gd name="connsiteY5" fmla="*/ 168126 h 176675"/>
                <a:gd name="connsiteX6" fmla="*/ 168126 w 169306"/>
                <a:gd name="connsiteY6" fmla="*/ 173826 h 176675"/>
                <a:gd name="connsiteX7" fmla="*/ 165277 w 169306"/>
                <a:gd name="connsiteY7" fmla="*/ 176675 h 17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306" h="176675">
                  <a:moveTo>
                    <a:pt x="165277" y="176675"/>
                  </a:moveTo>
                  <a:cubicBezTo>
                    <a:pt x="165277" y="176675"/>
                    <a:pt x="165277" y="176675"/>
                    <a:pt x="165277" y="176675"/>
                  </a:cubicBezTo>
                  <a:cubicBezTo>
                    <a:pt x="54142" y="145330"/>
                    <a:pt x="2850" y="11398"/>
                    <a:pt x="0" y="5699"/>
                  </a:cubicBezTo>
                  <a:cubicBezTo>
                    <a:pt x="0" y="2850"/>
                    <a:pt x="0" y="0"/>
                    <a:pt x="2850" y="0"/>
                  </a:cubicBezTo>
                  <a:cubicBezTo>
                    <a:pt x="5699" y="0"/>
                    <a:pt x="8549" y="0"/>
                    <a:pt x="8549" y="2850"/>
                  </a:cubicBezTo>
                  <a:cubicBezTo>
                    <a:pt x="8549" y="2850"/>
                    <a:pt x="59842" y="139630"/>
                    <a:pt x="165277" y="168126"/>
                  </a:cubicBezTo>
                  <a:cubicBezTo>
                    <a:pt x="168126" y="168126"/>
                    <a:pt x="170976" y="170976"/>
                    <a:pt x="168126" y="173826"/>
                  </a:cubicBezTo>
                  <a:cubicBezTo>
                    <a:pt x="170976" y="176675"/>
                    <a:pt x="168126" y="176675"/>
                    <a:pt x="165277" y="176675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1" name="任意多边形: 形状 350">
              <a:extLst>
                <a:ext uri="{FF2B5EF4-FFF2-40B4-BE49-F238E27FC236}">
                  <a16:creationId xmlns:a16="http://schemas.microsoft.com/office/drawing/2014/main" id="{7BF5A044-959E-4DEB-AFE2-0C965719A284}"/>
                </a:ext>
              </a:extLst>
            </p:cNvPr>
            <p:cNvSpPr/>
            <p:nvPr/>
          </p:nvSpPr>
          <p:spPr>
            <a:xfrm>
              <a:off x="7574006" y="4553404"/>
              <a:ext cx="162427" cy="179524"/>
            </a:xfrm>
            <a:custGeom>
              <a:avLst/>
              <a:gdLst>
                <a:gd name="connsiteX0" fmla="*/ 5700 w 162427"/>
                <a:gd name="connsiteY0" fmla="*/ 179525 h 179524"/>
                <a:gd name="connsiteX1" fmla="*/ 0 w 162427"/>
                <a:gd name="connsiteY1" fmla="*/ 176675 h 179524"/>
                <a:gd name="connsiteX2" fmla="*/ 2850 w 162427"/>
                <a:gd name="connsiteY2" fmla="*/ 170976 h 179524"/>
                <a:gd name="connsiteX3" fmla="*/ 151029 w 162427"/>
                <a:gd name="connsiteY3" fmla="*/ 2850 h 179524"/>
                <a:gd name="connsiteX4" fmla="*/ 159578 w 162427"/>
                <a:gd name="connsiteY4" fmla="*/ 0 h 179524"/>
                <a:gd name="connsiteX5" fmla="*/ 162428 w 162427"/>
                <a:gd name="connsiteY5" fmla="*/ 8549 h 179524"/>
                <a:gd name="connsiteX6" fmla="*/ 5700 w 162427"/>
                <a:gd name="connsiteY6" fmla="*/ 179525 h 179524"/>
                <a:gd name="connsiteX7" fmla="*/ 5700 w 162427"/>
                <a:gd name="connsiteY7" fmla="*/ 179525 h 179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427" h="179524">
                  <a:moveTo>
                    <a:pt x="5700" y="179525"/>
                  </a:moveTo>
                  <a:cubicBezTo>
                    <a:pt x="2850" y="179525"/>
                    <a:pt x="2850" y="179525"/>
                    <a:pt x="0" y="176675"/>
                  </a:cubicBezTo>
                  <a:cubicBezTo>
                    <a:pt x="0" y="173826"/>
                    <a:pt x="0" y="170976"/>
                    <a:pt x="2850" y="170976"/>
                  </a:cubicBezTo>
                  <a:cubicBezTo>
                    <a:pt x="76940" y="142480"/>
                    <a:pt x="151029" y="2850"/>
                    <a:pt x="151029" y="2850"/>
                  </a:cubicBezTo>
                  <a:cubicBezTo>
                    <a:pt x="151029" y="0"/>
                    <a:pt x="156728" y="0"/>
                    <a:pt x="159578" y="0"/>
                  </a:cubicBezTo>
                  <a:cubicBezTo>
                    <a:pt x="162428" y="0"/>
                    <a:pt x="162428" y="5699"/>
                    <a:pt x="162428" y="8549"/>
                  </a:cubicBezTo>
                  <a:cubicBezTo>
                    <a:pt x="159578" y="11398"/>
                    <a:pt x="85488" y="148179"/>
                    <a:pt x="5700" y="179525"/>
                  </a:cubicBezTo>
                  <a:cubicBezTo>
                    <a:pt x="8549" y="179525"/>
                    <a:pt x="5700" y="179525"/>
                    <a:pt x="5700" y="179525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2" name="任意多边形: 形状 351">
              <a:extLst>
                <a:ext uri="{FF2B5EF4-FFF2-40B4-BE49-F238E27FC236}">
                  <a16:creationId xmlns:a16="http://schemas.microsoft.com/office/drawing/2014/main" id="{E46BFDE9-0A56-42E9-965C-BBE139A41EF9}"/>
                </a:ext>
              </a:extLst>
            </p:cNvPr>
            <p:cNvSpPr/>
            <p:nvPr/>
          </p:nvSpPr>
          <p:spPr>
            <a:xfrm>
              <a:off x="7577891" y="3511975"/>
              <a:ext cx="802553" cy="981671"/>
            </a:xfrm>
            <a:custGeom>
              <a:avLst/>
              <a:gdLst>
                <a:gd name="connsiteX0" fmla="*/ 737012 w 802553"/>
                <a:gd name="connsiteY0" fmla="*/ 434463 h 981671"/>
                <a:gd name="connsiteX1" fmla="*/ 708516 w 802553"/>
                <a:gd name="connsiteY1" fmla="*/ 64015 h 981671"/>
                <a:gd name="connsiteX2" fmla="*/ 363714 w 802553"/>
                <a:gd name="connsiteY2" fmla="*/ 4173 h 981671"/>
                <a:gd name="connsiteX3" fmla="*/ 84453 w 802553"/>
                <a:gd name="connsiteY3" fmla="*/ 98210 h 981671"/>
                <a:gd name="connsiteX4" fmla="*/ 47408 w 802553"/>
                <a:gd name="connsiteY4" fmla="*/ 611139 h 981671"/>
                <a:gd name="connsiteX5" fmla="*/ 41709 w 802553"/>
                <a:gd name="connsiteY5" fmla="*/ 975888 h 981671"/>
                <a:gd name="connsiteX6" fmla="*/ 802553 w 802553"/>
                <a:gd name="connsiteY6" fmla="*/ 961640 h 981671"/>
                <a:gd name="connsiteX7" fmla="*/ 737012 w 802553"/>
                <a:gd name="connsiteY7" fmla="*/ 434463 h 98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2553" h="981671">
                  <a:moveTo>
                    <a:pt x="737012" y="434463"/>
                  </a:moveTo>
                  <a:cubicBezTo>
                    <a:pt x="745561" y="340426"/>
                    <a:pt x="819651" y="123856"/>
                    <a:pt x="708516" y="64015"/>
                  </a:cubicBezTo>
                  <a:cubicBezTo>
                    <a:pt x="611630" y="12722"/>
                    <a:pt x="474849" y="-10075"/>
                    <a:pt x="363714" y="4173"/>
                  </a:cubicBezTo>
                  <a:cubicBezTo>
                    <a:pt x="241181" y="18421"/>
                    <a:pt x="118648" y="38368"/>
                    <a:pt x="84453" y="98210"/>
                  </a:cubicBezTo>
                  <a:cubicBezTo>
                    <a:pt x="-20982" y="272036"/>
                    <a:pt x="-20982" y="425914"/>
                    <a:pt x="47408" y="611139"/>
                  </a:cubicBezTo>
                  <a:cubicBezTo>
                    <a:pt x="67355" y="665281"/>
                    <a:pt x="78754" y="844806"/>
                    <a:pt x="41709" y="975888"/>
                  </a:cubicBezTo>
                  <a:cubicBezTo>
                    <a:pt x="41709" y="975888"/>
                    <a:pt x="434954" y="995835"/>
                    <a:pt x="802553" y="961640"/>
                  </a:cubicBezTo>
                  <a:cubicBezTo>
                    <a:pt x="728464" y="747920"/>
                    <a:pt x="719915" y="679529"/>
                    <a:pt x="737012" y="434463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3" name="任意多边形: 形状 352">
              <a:extLst>
                <a:ext uri="{FF2B5EF4-FFF2-40B4-BE49-F238E27FC236}">
                  <a16:creationId xmlns:a16="http://schemas.microsoft.com/office/drawing/2014/main" id="{C557A94C-8FE8-42BA-83D4-D533DD9186F0}"/>
                </a:ext>
              </a:extLst>
            </p:cNvPr>
            <p:cNvSpPr/>
            <p:nvPr/>
          </p:nvSpPr>
          <p:spPr>
            <a:xfrm>
              <a:off x="7839020" y="3348021"/>
              <a:ext cx="287810" cy="258940"/>
            </a:xfrm>
            <a:custGeom>
              <a:avLst/>
              <a:gdLst>
                <a:gd name="connsiteX0" fmla="*/ 51293 w 287810"/>
                <a:gd name="connsiteY0" fmla="*/ 56992 h 258940"/>
                <a:gd name="connsiteX1" fmla="*/ 0 w 287810"/>
                <a:gd name="connsiteY1" fmla="*/ 188074 h 258940"/>
                <a:gd name="connsiteX2" fmla="*/ 25647 w 287810"/>
                <a:gd name="connsiteY2" fmla="*/ 216570 h 258940"/>
                <a:gd name="connsiteX3" fmla="*/ 199472 w 287810"/>
                <a:gd name="connsiteY3" fmla="*/ 233667 h 258940"/>
                <a:gd name="connsiteX4" fmla="*/ 287810 w 287810"/>
                <a:gd name="connsiteY4" fmla="*/ 173826 h 258940"/>
                <a:gd name="connsiteX5" fmla="*/ 239367 w 287810"/>
                <a:gd name="connsiteY5" fmla="*/ 0 h 258940"/>
                <a:gd name="connsiteX6" fmla="*/ 51293 w 287810"/>
                <a:gd name="connsiteY6" fmla="*/ 56992 h 258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7810" h="258940">
                  <a:moveTo>
                    <a:pt x="51293" y="56992"/>
                  </a:moveTo>
                  <a:cubicBezTo>
                    <a:pt x="51293" y="56992"/>
                    <a:pt x="56992" y="159578"/>
                    <a:pt x="0" y="188074"/>
                  </a:cubicBezTo>
                  <a:lnTo>
                    <a:pt x="25647" y="216570"/>
                  </a:lnTo>
                  <a:cubicBezTo>
                    <a:pt x="71240" y="265013"/>
                    <a:pt x="145330" y="273562"/>
                    <a:pt x="199472" y="233667"/>
                  </a:cubicBezTo>
                  <a:cubicBezTo>
                    <a:pt x="233667" y="208021"/>
                    <a:pt x="267863" y="185224"/>
                    <a:pt x="287810" y="173826"/>
                  </a:cubicBezTo>
                  <a:cubicBezTo>
                    <a:pt x="236517" y="133931"/>
                    <a:pt x="239367" y="56992"/>
                    <a:pt x="239367" y="0"/>
                  </a:cubicBezTo>
                  <a:cubicBezTo>
                    <a:pt x="239367" y="0"/>
                    <a:pt x="99736" y="62691"/>
                    <a:pt x="51293" y="56992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4" name="任意多边形: 形状 353">
              <a:extLst>
                <a:ext uri="{FF2B5EF4-FFF2-40B4-BE49-F238E27FC236}">
                  <a16:creationId xmlns:a16="http://schemas.microsoft.com/office/drawing/2014/main" id="{5D41AF7C-6726-4299-A564-0E4FC0B5DF79}"/>
                </a:ext>
              </a:extLst>
            </p:cNvPr>
            <p:cNvSpPr/>
            <p:nvPr/>
          </p:nvSpPr>
          <p:spPr>
            <a:xfrm>
              <a:off x="7573233" y="3607335"/>
              <a:ext cx="94809" cy="521477"/>
            </a:xfrm>
            <a:custGeom>
              <a:avLst/>
              <a:gdLst>
                <a:gd name="connsiteX0" fmla="*/ 52066 w 94809"/>
                <a:gd name="connsiteY0" fmla="*/ 521478 h 521477"/>
                <a:gd name="connsiteX1" fmla="*/ 46367 w 94809"/>
                <a:gd name="connsiteY1" fmla="*/ 518628 h 521477"/>
                <a:gd name="connsiteX2" fmla="*/ 32119 w 94809"/>
                <a:gd name="connsiteY2" fmla="*/ 467335 h 521477"/>
                <a:gd name="connsiteX3" fmla="*/ 773 w 94809"/>
                <a:gd name="connsiteY3" fmla="*/ 324855 h 521477"/>
                <a:gd name="connsiteX4" fmla="*/ 83412 w 94809"/>
                <a:gd name="connsiteY4" fmla="*/ 2850 h 521477"/>
                <a:gd name="connsiteX5" fmla="*/ 91961 w 94809"/>
                <a:gd name="connsiteY5" fmla="*/ 0 h 521477"/>
                <a:gd name="connsiteX6" fmla="*/ 94810 w 94809"/>
                <a:gd name="connsiteY6" fmla="*/ 8549 h 521477"/>
                <a:gd name="connsiteX7" fmla="*/ 12172 w 94809"/>
                <a:gd name="connsiteY7" fmla="*/ 324855 h 521477"/>
                <a:gd name="connsiteX8" fmla="*/ 43517 w 94809"/>
                <a:gd name="connsiteY8" fmla="*/ 464486 h 521477"/>
                <a:gd name="connsiteX9" fmla="*/ 57765 w 94809"/>
                <a:gd name="connsiteY9" fmla="*/ 515778 h 521477"/>
                <a:gd name="connsiteX10" fmla="*/ 52066 w 94809"/>
                <a:gd name="connsiteY10" fmla="*/ 521478 h 521477"/>
                <a:gd name="connsiteX11" fmla="*/ 52066 w 94809"/>
                <a:gd name="connsiteY11" fmla="*/ 521478 h 52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4809" h="521477">
                  <a:moveTo>
                    <a:pt x="52066" y="521478"/>
                  </a:moveTo>
                  <a:cubicBezTo>
                    <a:pt x="49217" y="521478"/>
                    <a:pt x="46367" y="518628"/>
                    <a:pt x="46367" y="518628"/>
                  </a:cubicBezTo>
                  <a:cubicBezTo>
                    <a:pt x="40668" y="501530"/>
                    <a:pt x="37818" y="484433"/>
                    <a:pt x="32119" y="467335"/>
                  </a:cubicBezTo>
                  <a:cubicBezTo>
                    <a:pt x="17871" y="418892"/>
                    <a:pt x="3623" y="370449"/>
                    <a:pt x="773" y="324855"/>
                  </a:cubicBezTo>
                  <a:cubicBezTo>
                    <a:pt x="-4926" y="208021"/>
                    <a:pt x="20720" y="99736"/>
                    <a:pt x="83412" y="2850"/>
                  </a:cubicBezTo>
                  <a:cubicBezTo>
                    <a:pt x="86261" y="0"/>
                    <a:pt x="89111" y="0"/>
                    <a:pt x="91961" y="0"/>
                  </a:cubicBezTo>
                  <a:cubicBezTo>
                    <a:pt x="94810" y="2850"/>
                    <a:pt x="94810" y="5699"/>
                    <a:pt x="94810" y="8549"/>
                  </a:cubicBezTo>
                  <a:cubicBezTo>
                    <a:pt x="34969" y="105435"/>
                    <a:pt x="6472" y="210871"/>
                    <a:pt x="12172" y="324855"/>
                  </a:cubicBezTo>
                  <a:cubicBezTo>
                    <a:pt x="15021" y="367599"/>
                    <a:pt x="29269" y="416042"/>
                    <a:pt x="43517" y="464486"/>
                  </a:cubicBezTo>
                  <a:cubicBezTo>
                    <a:pt x="49217" y="481583"/>
                    <a:pt x="54916" y="498681"/>
                    <a:pt x="57765" y="515778"/>
                  </a:cubicBezTo>
                  <a:cubicBezTo>
                    <a:pt x="57765" y="515778"/>
                    <a:pt x="57765" y="518628"/>
                    <a:pt x="52066" y="521478"/>
                  </a:cubicBezTo>
                  <a:cubicBezTo>
                    <a:pt x="52066" y="521478"/>
                    <a:pt x="52066" y="521478"/>
                    <a:pt x="52066" y="521478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5" name="任意多边形: 形状 354">
              <a:extLst>
                <a:ext uri="{FF2B5EF4-FFF2-40B4-BE49-F238E27FC236}">
                  <a16:creationId xmlns:a16="http://schemas.microsoft.com/office/drawing/2014/main" id="{329AA4B2-9699-4E39-9BEA-627E3AE0BE36}"/>
                </a:ext>
              </a:extLst>
            </p:cNvPr>
            <p:cNvSpPr/>
            <p:nvPr/>
          </p:nvSpPr>
          <p:spPr>
            <a:xfrm>
              <a:off x="7687991" y="4021247"/>
              <a:ext cx="374478" cy="33475"/>
            </a:xfrm>
            <a:custGeom>
              <a:avLst/>
              <a:gdLst>
                <a:gd name="connsiteX0" fmla="*/ 5700 w 374478"/>
                <a:gd name="connsiteY0" fmla="*/ 33476 h 33475"/>
                <a:gd name="connsiteX1" fmla="*/ 0 w 374478"/>
                <a:gd name="connsiteY1" fmla="*/ 30626 h 33475"/>
                <a:gd name="connsiteX2" fmla="*/ 2850 w 374478"/>
                <a:gd name="connsiteY2" fmla="*/ 24927 h 33475"/>
                <a:gd name="connsiteX3" fmla="*/ 370449 w 374478"/>
                <a:gd name="connsiteY3" fmla="*/ 16378 h 33475"/>
                <a:gd name="connsiteX4" fmla="*/ 373298 w 374478"/>
                <a:gd name="connsiteY4" fmla="*/ 22077 h 33475"/>
                <a:gd name="connsiteX5" fmla="*/ 367599 w 374478"/>
                <a:gd name="connsiteY5" fmla="*/ 24927 h 33475"/>
                <a:gd name="connsiteX6" fmla="*/ 5700 w 374478"/>
                <a:gd name="connsiteY6" fmla="*/ 33476 h 33475"/>
                <a:gd name="connsiteX7" fmla="*/ 5700 w 374478"/>
                <a:gd name="connsiteY7" fmla="*/ 33476 h 3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4478" h="33475">
                  <a:moveTo>
                    <a:pt x="5700" y="33476"/>
                  </a:moveTo>
                  <a:cubicBezTo>
                    <a:pt x="2850" y="33476"/>
                    <a:pt x="2850" y="33476"/>
                    <a:pt x="0" y="30626"/>
                  </a:cubicBezTo>
                  <a:cubicBezTo>
                    <a:pt x="0" y="27776"/>
                    <a:pt x="0" y="24927"/>
                    <a:pt x="2850" y="24927"/>
                  </a:cubicBezTo>
                  <a:cubicBezTo>
                    <a:pt x="82639" y="-3569"/>
                    <a:pt x="276412" y="-9268"/>
                    <a:pt x="370449" y="16378"/>
                  </a:cubicBezTo>
                  <a:cubicBezTo>
                    <a:pt x="373298" y="16378"/>
                    <a:pt x="376148" y="19228"/>
                    <a:pt x="373298" y="22077"/>
                  </a:cubicBezTo>
                  <a:cubicBezTo>
                    <a:pt x="373298" y="24927"/>
                    <a:pt x="370449" y="27776"/>
                    <a:pt x="367599" y="24927"/>
                  </a:cubicBezTo>
                  <a:cubicBezTo>
                    <a:pt x="276412" y="-720"/>
                    <a:pt x="82639" y="4980"/>
                    <a:pt x="5700" y="33476"/>
                  </a:cubicBezTo>
                  <a:cubicBezTo>
                    <a:pt x="5700" y="33476"/>
                    <a:pt x="5700" y="33476"/>
                    <a:pt x="5700" y="33476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6" name="任意多边形: 形状 355">
              <a:extLst>
                <a:ext uri="{FF2B5EF4-FFF2-40B4-BE49-F238E27FC236}">
                  <a16:creationId xmlns:a16="http://schemas.microsoft.com/office/drawing/2014/main" id="{8B190D70-F9F1-466D-9AE7-3F4DF3257DA7}"/>
                </a:ext>
              </a:extLst>
            </p:cNvPr>
            <p:cNvSpPr/>
            <p:nvPr/>
          </p:nvSpPr>
          <p:spPr>
            <a:xfrm>
              <a:off x="7810524" y="3521847"/>
              <a:ext cx="336253" cy="98382"/>
            </a:xfrm>
            <a:custGeom>
              <a:avLst/>
              <a:gdLst>
                <a:gd name="connsiteX0" fmla="*/ 37045 w 336253"/>
                <a:gd name="connsiteY0" fmla="*/ 8549 h 98382"/>
                <a:gd name="connsiteX1" fmla="*/ 37045 w 336253"/>
                <a:gd name="connsiteY1" fmla="*/ 8549 h 98382"/>
                <a:gd name="connsiteX2" fmla="*/ 245066 w 336253"/>
                <a:gd name="connsiteY2" fmla="*/ 37045 h 98382"/>
                <a:gd name="connsiteX3" fmla="*/ 313456 w 336253"/>
                <a:gd name="connsiteY3" fmla="*/ 0 h 98382"/>
                <a:gd name="connsiteX4" fmla="*/ 336253 w 336253"/>
                <a:gd name="connsiteY4" fmla="*/ 8549 h 98382"/>
                <a:gd name="connsiteX5" fmla="*/ 242216 w 336253"/>
                <a:gd name="connsiteY5" fmla="*/ 71240 h 98382"/>
                <a:gd name="connsiteX6" fmla="*/ 34195 w 336253"/>
                <a:gd name="connsiteY6" fmla="*/ 51293 h 98382"/>
                <a:gd name="connsiteX7" fmla="*/ 0 w 336253"/>
                <a:gd name="connsiteY7" fmla="*/ 17098 h 98382"/>
                <a:gd name="connsiteX8" fmla="*/ 37045 w 336253"/>
                <a:gd name="connsiteY8" fmla="*/ 8549 h 9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6253" h="98382">
                  <a:moveTo>
                    <a:pt x="37045" y="8549"/>
                  </a:moveTo>
                  <a:lnTo>
                    <a:pt x="37045" y="8549"/>
                  </a:lnTo>
                  <a:cubicBezTo>
                    <a:pt x="91187" y="68391"/>
                    <a:pt x="179525" y="79789"/>
                    <a:pt x="245066" y="37045"/>
                  </a:cubicBezTo>
                  <a:cubicBezTo>
                    <a:pt x="270712" y="19947"/>
                    <a:pt x="296359" y="5699"/>
                    <a:pt x="313456" y="0"/>
                  </a:cubicBezTo>
                  <a:lnTo>
                    <a:pt x="336253" y="8549"/>
                  </a:lnTo>
                  <a:lnTo>
                    <a:pt x="242216" y="71240"/>
                  </a:lnTo>
                  <a:cubicBezTo>
                    <a:pt x="176675" y="113984"/>
                    <a:pt x="91187" y="105435"/>
                    <a:pt x="34195" y="51293"/>
                  </a:cubicBezTo>
                  <a:lnTo>
                    <a:pt x="0" y="17098"/>
                  </a:lnTo>
                  <a:cubicBezTo>
                    <a:pt x="2850" y="14248"/>
                    <a:pt x="17098" y="8549"/>
                    <a:pt x="37045" y="8549"/>
                  </a:cubicBezTo>
                  <a:close/>
                </a:path>
              </a:pathLst>
            </a:custGeom>
            <a:solidFill>
              <a:srgbClr val="D16156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7" name="任意多边形: 形状 356">
              <a:extLst>
                <a:ext uri="{FF2B5EF4-FFF2-40B4-BE49-F238E27FC236}">
                  <a16:creationId xmlns:a16="http://schemas.microsoft.com/office/drawing/2014/main" id="{BF2BAA35-F1FC-4CFF-835A-F2BFF4CF1603}"/>
                </a:ext>
              </a:extLst>
            </p:cNvPr>
            <p:cNvSpPr/>
            <p:nvPr/>
          </p:nvSpPr>
          <p:spPr>
            <a:xfrm>
              <a:off x="7152265" y="3407863"/>
              <a:ext cx="1109797" cy="479055"/>
            </a:xfrm>
            <a:custGeom>
              <a:avLst/>
              <a:gdLst>
                <a:gd name="connsiteX0" fmla="*/ 1040106 w 1109797"/>
                <a:gd name="connsiteY0" fmla="*/ 378997 h 479055"/>
                <a:gd name="connsiteX1" fmla="*/ 934670 w 1109797"/>
                <a:gd name="connsiteY1" fmla="*/ 165277 h 479055"/>
                <a:gd name="connsiteX2" fmla="*/ 518628 w 1109797"/>
                <a:gd name="connsiteY2" fmla="*/ 276412 h 479055"/>
                <a:gd name="connsiteX3" fmla="*/ 45593 w 1109797"/>
                <a:gd name="connsiteY3" fmla="*/ 0 h 479055"/>
                <a:gd name="connsiteX4" fmla="*/ 0 w 1109797"/>
                <a:gd name="connsiteY4" fmla="*/ 99736 h 479055"/>
                <a:gd name="connsiteX5" fmla="*/ 444538 w 1109797"/>
                <a:gd name="connsiteY5" fmla="*/ 470185 h 479055"/>
                <a:gd name="connsiteX6" fmla="*/ 1040106 w 1109797"/>
                <a:gd name="connsiteY6" fmla="*/ 378997 h 47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9797" h="479055">
                  <a:moveTo>
                    <a:pt x="1040106" y="378997"/>
                  </a:moveTo>
                  <a:cubicBezTo>
                    <a:pt x="1196834" y="307757"/>
                    <a:pt x="1057203" y="148180"/>
                    <a:pt x="934670" y="165277"/>
                  </a:cubicBezTo>
                  <a:cubicBezTo>
                    <a:pt x="814987" y="182375"/>
                    <a:pt x="592717" y="279261"/>
                    <a:pt x="518628" y="276412"/>
                  </a:cubicBezTo>
                  <a:cubicBezTo>
                    <a:pt x="435989" y="256464"/>
                    <a:pt x="45593" y="0"/>
                    <a:pt x="45593" y="0"/>
                  </a:cubicBezTo>
                  <a:cubicBezTo>
                    <a:pt x="22796" y="19947"/>
                    <a:pt x="0" y="99736"/>
                    <a:pt x="0" y="99736"/>
                  </a:cubicBezTo>
                  <a:cubicBezTo>
                    <a:pt x="0" y="99736"/>
                    <a:pt x="327704" y="416042"/>
                    <a:pt x="444538" y="470185"/>
                  </a:cubicBezTo>
                  <a:cubicBezTo>
                    <a:pt x="504380" y="498681"/>
                    <a:pt x="874828" y="455937"/>
                    <a:pt x="1040106" y="378997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8" name="任意多边形: 形状 357">
              <a:extLst>
                <a:ext uri="{FF2B5EF4-FFF2-40B4-BE49-F238E27FC236}">
                  <a16:creationId xmlns:a16="http://schemas.microsoft.com/office/drawing/2014/main" id="{41238C51-C6E8-4A34-97A2-EB7C2B11FB82}"/>
                </a:ext>
              </a:extLst>
            </p:cNvPr>
            <p:cNvSpPr/>
            <p:nvPr/>
          </p:nvSpPr>
          <p:spPr>
            <a:xfrm>
              <a:off x="7950998" y="3532552"/>
              <a:ext cx="398349" cy="354044"/>
            </a:xfrm>
            <a:custGeom>
              <a:avLst/>
              <a:gdLst>
                <a:gd name="connsiteX0" fmla="*/ 84644 w 398349"/>
                <a:gd name="connsiteY0" fmla="*/ 354045 h 354044"/>
                <a:gd name="connsiteX1" fmla="*/ 398101 w 398349"/>
                <a:gd name="connsiteY1" fmla="*/ 143174 h 354044"/>
                <a:gd name="connsiteX2" fmla="*/ 4855 w 398349"/>
                <a:gd name="connsiteY2" fmla="*/ 12092 h 354044"/>
                <a:gd name="connsiteX3" fmla="*/ 84644 w 398349"/>
                <a:gd name="connsiteY3" fmla="*/ 354045 h 35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8349" h="354044">
                  <a:moveTo>
                    <a:pt x="84644" y="354045"/>
                  </a:moveTo>
                  <a:cubicBezTo>
                    <a:pt x="255621" y="334097"/>
                    <a:pt x="392401" y="217264"/>
                    <a:pt x="398101" y="143174"/>
                  </a:cubicBezTo>
                  <a:cubicBezTo>
                    <a:pt x="406649" y="46287"/>
                    <a:pt x="192929" y="-30652"/>
                    <a:pt x="4855" y="12092"/>
                  </a:cubicBezTo>
                  <a:cubicBezTo>
                    <a:pt x="-17941" y="77633"/>
                    <a:pt x="44750" y="265707"/>
                    <a:pt x="84644" y="354045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9" name="任意多边形: 形状 358">
              <a:extLst>
                <a:ext uri="{FF2B5EF4-FFF2-40B4-BE49-F238E27FC236}">
                  <a16:creationId xmlns:a16="http://schemas.microsoft.com/office/drawing/2014/main" id="{761AC36C-2615-4E58-9EB6-0D32384759CB}"/>
                </a:ext>
              </a:extLst>
            </p:cNvPr>
            <p:cNvSpPr/>
            <p:nvPr/>
          </p:nvSpPr>
          <p:spPr>
            <a:xfrm>
              <a:off x="7987199" y="3716332"/>
              <a:ext cx="352638" cy="175962"/>
            </a:xfrm>
            <a:custGeom>
              <a:avLst/>
              <a:gdLst>
                <a:gd name="connsiteX0" fmla="*/ 82639 w 352638"/>
                <a:gd name="connsiteY0" fmla="*/ 175963 h 175962"/>
                <a:gd name="connsiteX1" fmla="*/ 82639 w 352638"/>
                <a:gd name="connsiteY1" fmla="*/ 175963 h 175962"/>
                <a:gd name="connsiteX2" fmla="*/ 0 w 352638"/>
                <a:gd name="connsiteY2" fmla="*/ 59129 h 175962"/>
                <a:gd name="connsiteX3" fmla="*/ 2850 w 352638"/>
                <a:gd name="connsiteY3" fmla="*/ 53430 h 175962"/>
                <a:gd name="connsiteX4" fmla="*/ 8549 w 352638"/>
                <a:gd name="connsiteY4" fmla="*/ 56280 h 175962"/>
                <a:gd name="connsiteX5" fmla="*/ 82639 w 352638"/>
                <a:gd name="connsiteY5" fmla="*/ 167414 h 175962"/>
                <a:gd name="connsiteX6" fmla="*/ 341953 w 352638"/>
                <a:gd name="connsiteY6" fmla="*/ 2137 h 175962"/>
                <a:gd name="connsiteX7" fmla="*/ 350501 w 352638"/>
                <a:gd name="connsiteY7" fmla="*/ 2137 h 175962"/>
                <a:gd name="connsiteX8" fmla="*/ 350501 w 352638"/>
                <a:gd name="connsiteY8" fmla="*/ 10686 h 175962"/>
                <a:gd name="connsiteX9" fmla="*/ 82639 w 352638"/>
                <a:gd name="connsiteY9" fmla="*/ 175963 h 175962"/>
                <a:gd name="connsiteX10" fmla="*/ 82639 w 352638"/>
                <a:gd name="connsiteY10" fmla="*/ 175963 h 175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2638" h="175962">
                  <a:moveTo>
                    <a:pt x="82639" y="175963"/>
                  </a:moveTo>
                  <a:lnTo>
                    <a:pt x="82639" y="175963"/>
                  </a:lnTo>
                  <a:cubicBezTo>
                    <a:pt x="76940" y="175963"/>
                    <a:pt x="51293" y="164565"/>
                    <a:pt x="0" y="59129"/>
                  </a:cubicBezTo>
                  <a:cubicBezTo>
                    <a:pt x="0" y="56280"/>
                    <a:pt x="0" y="53430"/>
                    <a:pt x="2850" y="53430"/>
                  </a:cubicBezTo>
                  <a:cubicBezTo>
                    <a:pt x="5700" y="53430"/>
                    <a:pt x="8549" y="53430"/>
                    <a:pt x="8549" y="56280"/>
                  </a:cubicBezTo>
                  <a:cubicBezTo>
                    <a:pt x="51293" y="144617"/>
                    <a:pt x="76940" y="161715"/>
                    <a:pt x="82639" y="167414"/>
                  </a:cubicBezTo>
                  <a:cubicBezTo>
                    <a:pt x="259314" y="118971"/>
                    <a:pt x="341953" y="4987"/>
                    <a:pt x="341953" y="2137"/>
                  </a:cubicBezTo>
                  <a:cubicBezTo>
                    <a:pt x="344802" y="-712"/>
                    <a:pt x="347652" y="-712"/>
                    <a:pt x="350501" y="2137"/>
                  </a:cubicBezTo>
                  <a:cubicBezTo>
                    <a:pt x="353351" y="4987"/>
                    <a:pt x="353351" y="7836"/>
                    <a:pt x="350501" y="10686"/>
                  </a:cubicBezTo>
                  <a:cubicBezTo>
                    <a:pt x="350501" y="7836"/>
                    <a:pt x="265013" y="124670"/>
                    <a:pt x="82639" y="175963"/>
                  </a:cubicBezTo>
                  <a:lnTo>
                    <a:pt x="82639" y="175963"/>
                  </a:ln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60" name="图形 1">
              <a:extLst>
                <a:ext uri="{FF2B5EF4-FFF2-40B4-BE49-F238E27FC236}">
                  <a16:creationId xmlns:a16="http://schemas.microsoft.com/office/drawing/2014/main" id="{58D81753-55C3-41A2-AA4D-8F7FE56DBEEA}"/>
                </a:ext>
              </a:extLst>
            </p:cNvPr>
            <p:cNvGrpSpPr/>
            <p:nvPr/>
          </p:nvGrpSpPr>
          <p:grpSpPr>
            <a:xfrm>
              <a:off x="6561217" y="3649805"/>
              <a:ext cx="214900" cy="235064"/>
              <a:chOff x="6561217" y="3649805"/>
              <a:chExt cx="214900" cy="235064"/>
            </a:xfrm>
          </p:grpSpPr>
          <p:grpSp>
            <p:nvGrpSpPr>
              <p:cNvPr id="361" name="图形 1">
                <a:extLst>
                  <a:ext uri="{FF2B5EF4-FFF2-40B4-BE49-F238E27FC236}">
                    <a16:creationId xmlns:a16="http://schemas.microsoft.com/office/drawing/2014/main" id="{58D81753-55C3-41A2-AA4D-8F7FE56DBEEA}"/>
                  </a:ext>
                </a:extLst>
              </p:cNvPr>
              <p:cNvGrpSpPr/>
              <p:nvPr/>
            </p:nvGrpSpPr>
            <p:grpSpPr>
              <a:xfrm>
                <a:off x="6561217" y="3649805"/>
                <a:ext cx="214900" cy="235064"/>
                <a:chOff x="6561217" y="3649805"/>
                <a:chExt cx="214900" cy="235064"/>
              </a:xfrm>
            </p:grpSpPr>
            <p:sp>
              <p:nvSpPr>
                <p:cNvPr id="362" name="任意多边形: 形状 361">
                  <a:extLst>
                    <a:ext uri="{FF2B5EF4-FFF2-40B4-BE49-F238E27FC236}">
                      <a16:creationId xmlns:a16="http://schemas.microsoft.com/office/drawing/2014/main" id="{728F9DF8-2D26-491D-A30F-F067F1385BFF}"/>
                    </a:ext>
                  </a:extLst>
                </p:cNvPr>
                <p:cNvSpPr/>
                <p:nvPr/>
              </p:nvSpPr>
              <p:spPr>
                <a:xfrm>
                  <a:off x="6562288" y="3649805"/>
                  <a:ext cx="213828" cy="235064"/>
                </a:xfrm>
                <a:custGeom>
                  <a:avLst/>
                  <a:gdLst>
                    <a:gd name="connsiteX0" fmla="*/ 25755 w 213828"/>
                    <a:gd name="connsiteY0" fmla="*/ 188348 h 235064"/>
                    <a:gd name="connsiteX1" fmla="*/ 151138 w 213828"/>
                    <a:gd name="connsiteY1" fmla="*/ 233942 h 235064"/>
                    <a:gd name="connsiteX2" fmla="*/ 213829 w 213828"/>
                    <a:gd name="connsiteY2" fmla="*/ 191198 h 235064"/>
                    <a:gd name="connsiteX3" fmla="*/ 210979 w 213828"/>
                    <a:gd name="connsiteY3" fmla="*/ 188348 h 235064"/>
                    <a:gd name="connsiteX4" fmla="*/ 210979 w 213828"/>
                    <a:gd name="connsiteY4" fmla="*/ 188348 h 235064"/>
                    <a:gd name="connsiteX5" fmla="*/ 59950 w 213828"/>
                    <a:gd name="connsiteY5" fmla="*/ 275 h 235064"/>
                    <a:gd name="connsiteX6" fmla="*/ 109 w 213828"/>
                    <a:gd name="connsiteY6" fmla="*/ 31620 h 235064"/>
                    <a:gd name="connsiteX7" fmla="*/ 37153 w 213828"/>
                    <a:gd name="connsiteY7" fmla="*/ 65816 h 235064"/>
                    <a:gd name="connsiteX8" fmla="*/ 71349 w 213828"/>
                    <a:gd name="connsiteY8" fmla="*/ 97161 h 235064"/>
                    <a:gd name="connsiteX9" fmla="*/ 45702 w 213828"/>
                    <a:gd name="connsiteY9" fmla="*/ 85763 h 235064"/>
                    <a:gd name="connsiteX10" fmla="*/ 28605 w 213828"/>
                    <a:gd name="connsiteY10" fmla="*/ 111409 h 235064"/>
                    <a:gd name="connsiteX11" fmla="*/ 17206 w 213828"/>
                    <a:gd name="connsiteY11" fmla="*/ 148454 h 235064"/>
                    <a:gd name="connsiteX12" fmla="*/ 25755 w 213828"/>
                    <a:gd name="connsiteY12" fmla="*/ 188348 h 235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13828" h="235064">
                      <a:moveTo>
                        <a:pt x="25755" y="188348"/>
                      </a:moveTo>
                      <a:cubicBezTo>
                        <a:pt x="42853" y="199747"/>
                        <a:pt x="114093" y="242491"/>
                        <a:pt x="151138" y="233942"/>
                      </a:cubicBezTo>
                      <a:cubicBezTo>
                        <a:pt x="176784" y="228243"/>
                        <a:pt x="210979" y="219694"/>
                        <a:pt x="213829" y="191198"/>
                      </a:cubicBezTo>
                      <a:cubicBezTo>
                        <a:pt x="213829" y="188348"/>
                        <a:pt x="213829" y="188348"/>
                        <a:pt x="210979" y="188348"/>
                      </a:cubicBezTo>
                      <a:cubicBezTo>
                        <a:pt x="210979" y="188348"/>
                        <a:pt x="210979" y="188348"/>
                        <a:pt x="210979" y="188348"/>
                      </a:cubicBezTo>
                      <a:cubicBezTo>
                        <a:pt x="225227" y="125657"/>
                        <a:pt x="108394" y="17372"/>
                        <a:pt x="59950" y="275"/>
                      </a:cubicBezTo>
                      <a:cubicBezTo>
                        <a:pt x="51401" y="-2575"/>
                        <a:pt x="-2741" y="17372"/>
                        <a:pt x="109" y="31620"/>
                      </a:cubicBezTo>
                      <a:cubicBezTo>
                        <a:pt x="2958" y="40169"/>
                        <a:pt x="28605" y="60116"/>
                        <a:pt x="37153" y="65816"/>
                      </a:cubicBezTo>
                      <a:cubicBezTo>
                        <a:pt x="48552" y="77214"/>
                        <a:pt x="59950" y="88612"/>
                        <a:pt x="71349" y="97161"/>
                      </a:cubicBezTo>
                      <a:cubicBezTo>
                        <a:pt x="59950" y="88612"/>
                        <a:pt x="57101" y="88612"/>
                        <a:pt x="45702" y="85763"/>
                      </a:cubicBezTo>
                      <a:cubicBezTo>
                        <a:pt x="31454" y="82913"/>
                        <a:pt x="22905" y="102860"/>
                        <a:pt x="28605" y="111409"/>
                      </a:cubicBezTo>
                      <a:cubicBezTo>
                        <a:pt x="20056" y="111409"/>
                        <a:pt x="2958" y="131356"/>
                        <a:pt x="17206" y="148454"/>
                      </a:cubicBezTo>
                      <a:cubicBezTo>
                        <a:pt x="17206" y="148454"/>
                        <a:pt x="-2741" y="168401"/>
                        <a:pt x="25755" y="188348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63" name="任意多边形: 形状 362">
                  <a:extLst>
                    <a:ext uri="{FF2B5EF4-FFF2-40B4-BE49-F238E27FC236}">
                      <a16:creationId xmlns:a16="http://schemas.microsoft.com/office/drawing/2014/main" id="{E8E28BEE-5C4E-42FE-8D69-E7563A1B12E1}"/>
                    </a:ext>
                  </a:extLst>
                </p:cNvPr>
                <p:cNvSpPr/>
                <p:nvPr/>
              </p:nvSpPr>
              <p:spPr>
                <a:xfrm>
                  <a:off x="6699178" y="3784011"/>
                  <a:ext cx="24934" cy="56992"/>
                </a:xfrm>
                <a:custGeom>
                  <a:avLst/>
                  <a:gdLst>
                    <a:gd name="connsiteX0" fmla="*/ 14248 w 24934"/>
                    <a:gd name="connsiteY0" fmla="*/ 56992 h 56992"/>
                    <a:gd name="connsiteX1" fmla="*/ 11399 w 24934"/>
                    <a:gd name="connsiteY1" fmla="*/ 54142 h 56992"/>
                    <a:gd name="connsiteX2" fmla="*/ 5699 w 24934"/>
                    <a:gd name="connsiteY2" fmla="*/ 2850 h 56992"/>
                    <a:gd name="connsiteX3" fmla="*/ 14248 w 24934"/>
                    <a:gd name="connsiteY3" fmla="*/ 0 h 56992"/>
                    <a:gd name="connsiteX4" fmla="*/ 17098 w 24934"/>
                    <a:gd name="connsiteY4" fmla="*/ 8549 h 56992"/>
                    <a:gd name="connsiteX5" fmla="*/ 22797 w 24934"/>
                    <a:gd name="connsiteY5" fmla="*/ 45594 h 56992"/>
                    <a:gd name="connsiteX6" fmla="*/ 22797 w 24934"/>
                    <a:gd name="connsiteY6" fmla="*/ 54142 h 56992"/>
                    <a:gd name="connsiteX7" fmla="*/ 14248 w 24934"/>
                    <a:gd name="connsiteY7" fmla="*/ 56992 h 569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4934" h="56992">
                      <a:moveTo>
                        <a:pt x="14248" y="56992"/>
                      </a:moveTo>
                      <a:cubicBezTo>
                        <a:pt x="14248" y="56992"/>
                        <a:pt x="11399" y="56992"/>
                        <a:pt x="11399" y="54142"/>
                      </a:cubicBezTo>
                      <a:cubicBezTo>
                        <a:pt x="-5699" y="37045"/>
                        <a:pt x="0" y="14248"/>
                        <a:pt x="5699" y="2850"/>
                      </a:cubicBezTo>
                      <a:cubicBezTo>
                        <a:pt x="5699" y="0"/>
                        <a:pt x="11399" y="0"/>
                        <a:pt x="14248" y="0"/>
                      </a:cubicBezTo>
                      <a:cubicBezTo>
                        <a:pt x="17098" y="2850"/>
                        <a:pt x="17098" y="5699"/>
                        <a:pt x="17098" y="8549"/>
                      </a:cubicBezTo>
                      <a:cubicBezTo>
                        <a:pt x="17098" y="8549"/>
                        <a:pt x="5699" y="31346"/>
                        <a:pt x="22797" y="45594"/>
                      </a:cubicBezTo>
                      <a:cubicBezTo>
                        <a:pt x="25647" y="48443"/>
                        <a:pt x="25647" y="51293"/>
                        <a:pt x="22797" y="54142"/>
                      </a:cubicBezTo>
                      <a:cubicBezTo>
                        <a:pt x="17098" y="56992"/>
                        <a:pt x="17098" y="56992"/>
                        <a:pt x="14248" y="56992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64" name="任意多边形: 形状 363">
                  <a:extLst>
                    <a:ext uri="{FF2B5EF4-FFF2-40B4-BE49-F238E27FC236}">
                      <a16:creationId xmlns:a16="http://schemas.microsoft.com/office/drawing/2014/main" id="{9E41BF45-0ED3-40AE-8334-2032DB43B34B}"/>
                    </a:ext>
                  </a:extLst>
                </p:cNvPr>
                <p:cNvSpPr/>
                <p:nvPr/>
              </p:nvSpPr>
              <p:spPr>
                <a:xfrm>
                  <a:off x="6561217" y="3662902"/>
                  <a:ext cx="85956" cy="89762"/>
                </a:xfrm>
                <a:custGeom>
                  <a:avLst/>
                  <a:gdLst>
                    <a:gd name="connsiteX0" fmla="*/ 75270 w 85956"/>
                    <a:gd name="connsiteY0" fmla="*/ 89762 h 89762"/>
                    <a:gd name="connsiteX1" fmla="*/ 72420 w 85956"/>
                    <a:gd name="connsiteY1" fmla="*/ 89762 h 89762"/>
                    <a:gd name="connsiteX2" fmla="*/ 1180 w 85956"/>
                    <a:gd name="connsiteY2" fmla="*/ 21372 h 89762"/>
                    <a:gd name="connsiteX3" fmla="*/ 1180 w 85956"/>
                    <a:gd name="connsiteY3" fmla="*/ 18522 h 89762"/>
                    <a:gd name="connsiteX4" fmla="*/ 4030 w 85956"/>
                    <a:gd name="connsiteY4" fmla="*/ 4274 h 89762"/>
                    <a:gd name="connsiteX5" fmla="*/ 35376 w 85956"/>
                    <a:gd name="connsiteY5" fmla="*/ 4274 h 89762"/>
                    <a:gd name="connsiteX6" fmla="*/ 83819 w 85956"/>
                    <a:gd name="connsiteY6" fmla="*/ 32770 h 89762"/>
                    <a:gd name="connsiteX7" fmla="*/ 83819 w 85956"/>
                    <a:gd name="connsiteY7" fmla="*/ 41319 h 89762"/>
                    <a:gd name="connsiteX8" fmla="*/ 75270 w 85956"/>
                    <a:gd name="connsiteY8" fmla="*/ 41319 h 89762"/>
                    <a:gd name="connsiteX9" fmla="*/ 29676 w 85956"/>
                    <a:gd name="connsiteY9" fmla="*/ 12823 h 89762"/>
                    <a:gd name="connsiteX10" fmla="*/ 12579 w 85956"/>
                    <a:gd name="connsiteY10" fmla="*/ 9974 h 89762"/>
                    <a:gd name="connsiteX11" fmla="*/ 12579 w 85956"/>
                    <a:gd name="connsiteY11" fmla="*/ 9974 h 89762"/>
                    <a:gd name="connsiteX12" fmla="*/ 83819 w 85956"/>
                    <a:gd name="connsiteY12" fmla="*/ 75514 h 89762"/>
                    <a:gd name="connsiteX13" fmla="*/ 83819 w 85956"/>
                    <a:gd name="connsiteY13" fmla="*/ 84063 h 89762"/>
                    <a:gd name="connsiteX14" fmla="*/ 75270 w 85956"/>
                    <a:gd name="connsiteY14" fmla="*/ 89762 h 89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85956" h="89762">
                      <a:moveTo>
                        <a:pt x="75270" y="89762"/>
                      </a:moveTo>
                      <a:cubicBezTo>
                        <a:pt x="75270" y="89762"/>
                        <a:pt x="72420" y="89762"/>
                        <a:pt x="72420" y="89762"/>
                      </a:cubicBezTo>
                      <a:cubicBezTo>
                        <a:pt x="49624" y="69815"/>
                        <a:pt x="1180" y="24222"/>
                        <a:pt x="1180" y="21372"/>
                      </a:cubicBezTo>
                      <a:cubicBezTo>
                        <a:pt x="1180" y="21372"/>
                        <a:pt x="1180" y="21372"/>
                        <a:pt x="1180" y="18522"/>
                      </a:cubicBezTo>
                      <a:cubicBezTo>
                        <a:pt x="-1669" y="12823"/>
                        <a:pt x="1180" y="7124"/>
                        <a:pt x="4030" y="4274"/>
                      </a:cubicBezTo>
                      <a:cubicBezTo>
                        <a:pt x="9729" y="-1425"/>
                        <a:pt x="21128" y="-1425"/>
                        <a:pt x="35376" y="4274"/>
                      </a:cubicBezTo>
                      <a:cubicBezTo>
                        <a:pt x="55323" y="12823"/>
                        <a:pt x="83819" y="32770"/>
                        <a:pt x="83819" y="32770"/>
                      </a:cubicBezTo>
                      <a:cubicBezTo>
                        <a:pt x="86668" y="35620"/>
                        <a:pt x="86668" y="38470"/>
                        <a:pt x="83819" y="41319"/>
                      </a:cubicBezTo>
                      <a:cubicBezTo>
                        <a:pt x="80969" y="44169"/>
                        <a:pt x="78120" y="44169"/>
                        <a:pt x="75270" y="41319"/>
                      </a:cubicBezTo>
                      <a:cubicBezTo>
                        <a:pt x="75270" y="41319"/>
                        <a:pt x="46774" y="21372"/>
                        <a:pt x="29676" y="12823"/>
                      </a:cubicBezTo>
                      <a:cubicBezTo>
                        <a:pt x="18278" y="7124"/>
                        <a:pt x="12579" y="9974"/>
                        <a:pt x="12579" y="9974"/>
                      </a:cubicBezTo>
                      <a:cubicBezTo>
                        <a:pt x="12579" y="9974"/>
                        <a:pt x="12579" y="9974"/>
                        <a:pt x="12579" y="9974"/>
                      </a:cubicBezTo>
                      <a:cubicBezTo>
                        <a:pt x="18278" y="18522"/>
                        <a:pt x="61022" y="58417"/>
                        <a:pt x="83819" y="75514"/>
                      </a:cubicBezTo>
                      <a:cubicBezTo>
                        <a:pt x="86668" y="78364"/>
                        <a:pt x="86668" y="81214"/>
                        <a:pt x="83819" y="84063"/>
                      </a:cubicBezTo>
                      <a:cubicBezTo>
                        <a:pt x="78120" y="89762"/>
                        <a:pt x="78120" y="89762"/>
                        <a:pt x="75270" y="89762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365" name="任意多边形: 形状 364">
                <a:extLst>
                  <a:ext uri="{FF2B5EF4-FFF2-40B4-BE49-F238E27FC236}">
                    <a16:creationId xmlns:a16="http://schemas.microsoft.com/office/drawing/2014/main" id="{BC524B29-36E9-40A9-98BF-ABF5A0A8A5AC}"/>
                  </a:ext>
                </a:extLst>
              </p:cNvPr>
              <p:cNvSpPr/>
              <p:nvPr/>
            </p:nvSpPr>
            <p:spPr>
              <a:xfrm>
                <a:off x="6585463" y="3731229"/>
                <a:ext cx="73821" cy="64180"/>
              </a:xfrm>
              <a:custGeom>
                <a:avLst/>
                <a:gdLst>
                  <a:gd name="connsiteX0" fmla="*/ 65272 w 73821"/>
                  <a:gd name="connsiteY0" fmla="*/ 64180 h 64180"/>
                  <a:gd name="connsiteX1" fmla="*/ 22528 w 73821"/>
                  <a:gd name="connsiteY1" fmla="*/ 49932 h 64180"/>
                  <a:gd name="connsiteX2" fmla="*/ 2581 w 73821"/>
                  <a:gd name="connsiteY2" fmla="*/ 12887 h 64180"/>
                  <a:gd name="connsiteX3" fmla="*/ 36776 w 73821"/>
                  <a:gd name="connsiteY3" fmla="*/ 1489 h 64180"/>
                  <a:gd name="connsiteX4" fmla="*/ 36776 w 73821"/>
                  <a:gd name="connsiteY4" fmla="*/ 1489 h 64180"/>
                  <a:gd name="connsiteX5" fmla="*/ 65272 w 73821"/>
                  <a:gd name="connsiteY5" fmla="*/ 21436 h 64180"/>
                  <a:gd name="connsiteX6" fmla="*/ 73821 w 73821"/>
                  <a:gd name="connsiteY6" fmla="*/ 55632 h 64180"/>
                  <a:gd name="connsiteX7" fmla="*/ 68122 w 73821"/>
                  <a:gd name="connsiteY7" fmla="*/ 64180 h 64180"/>
                  <a:gd name="connsiteX8" fmla="*/ 65272 w 73821"/>
                  <a:gd name="connsiteY8" fmla="*/ 64180 h 64180"/>
                  <a:gd name="connsiteX9" fmla="*/ 25378 w 73821"/>
                  <a:gd name="connsiteY9" fmla="*/ 12887 h 64180"/>
                  <a:gd name="connsiteX10" fmla="*/ 13979 w 73821"/>
                  <a:gd name="connsiteY10" fmla="*/ 18587 h 64180"/>
                  <a:gd name="connsiteX11" fmla="*/ 28227 w 73821"/>
                  <a:gd name="connsiteY11" fmla="*/ 41384 h 64180"/>
                  <a:gd name="connsiteX12" fmla="*/ 65272 w 73821"/>
                  <a:gd name="connsiteY12" fmla="*/ 55632 h 64180"/>
                  <a:gd name="connsiteX13" fmla="*/ 65272 w 73821"/>
                  <a:gd name="connsiteY13" fmla="*/ 55632 h 64180"/>
                  <a:gd name="connsiteX14" fmla="*/ 59573 w 73821"/>
                  <a:gd name="connsiteY14" fmla="*/ 32835 h 64180"/>
                  <a:gd name="connsiteX15" fmla="*/ 33926 w 73821"/>
                  <a:gd name="connsiteY15" fmla="*/ 15737 h 64180"/>
                  <a:gd name="connsiteX16" fmla="*/ 25378 w 73821"/>
                  <a:gd name="connsiteY16" fmla="*/ 12887 h 64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821" h="64180">
                    <a:moveTo>
                      <a:pt x="65272" y="64180"/>
                    </a:moveTo>
                    <a:cubicBezTo>
                      <a:pt x="59573" y="64180"/>
                      <a:pt x="48174" y="61331"/>
                      <a:pt x="22528" y="49932"/>
                    </a:cubicBezTo>
                    <a:cubicBezTo>
                      <a:pt x="8280" y="41384"/>
                      <a:pt x="-5968" y="32835"/>
                      <a:pt x="2581" y="12887"/>
                    </a:cubicBezTo>
                    <a:cubicBezTo>
                      <a:pt x="8280" y="-1361"/>
                      <a:pt x="28227" y="-1361"/>
                      <a:pt x="36776" y="1489"/>
                    </a:cubicBezTo>
                    <a:cubicBezTo>
                      <a:pt x="36776" y="1489"/>
                      <a:pt x="36776" y="1489"/>
                      <a:pt x="36776" y="1489"/>
                    </a:cubicBezTo>
                    <a:cubicBezTo>
                      <a:pt x="39626" y="4339"/>
                      <a:pt x="59573" y="15737"/>
                      <a:pt x="65272" y="21436"/>
                    </a:cubicBezTo>
                    <a:cubicBezTo>
                      <a:pt x="70971" y="27135"/>
                      <a:pt x="73821" y="47083"/>
                      <a:pt x="73821" y="55632"/>
                    </a:cubicBezTo>
                    <a:cubicBezTo>
                      <a:pt x="73821" y="61331"/>
                      <a:pt x="70971" y="61331"/>
                      <a:pt x="68122" y="64180"/>
                    </a:cubicBezTo>
                    <a:cubicBezTo>
                      <a:pt x="68122" y="64180"/>
                      <a:pt x="68122" y="64180"/>
                      <a:pt x="65272" y="64180"/>
                    </a:cubicBezTo>
                    <a:close/>
                    <a:moveTo>
                      <a:pt x="25378" y="12887"/>
                    </a:moveTo>
                    <a:cubicBezTo>
                      <a:pt x="19678" y="12887"/>
                      <a:pt x="16829" y="12887"/>
                      <a:pt x="13979" y="18587"/>
                    </a:cubicBezTo>
                    <a:cubicBezTo>
                      <a:pt x="11130" y="27135"/>
                      <a:pt x="11130" y="32835"/>
                      <a:pt x="28227" y="41384"/>
                    </a:cubicBezTo>
                    <a:cubicBezTo>
                      <a:pt x="51024" y="52782"/>
                      <a:pt x="62422" y="55632"/>
                      <a:pt x="65272" y="55632"/>
                    </a:cubicBezTo>
                    <a:lnTo>
                      <a:pt x="65272" y="55632"/>
                    </a:lnTo>
                    <a:cubicBezTo>
                      <a:pt x="65272" y="49932"/>
                      <a:pt x="62422" y="35684"/>
                      <a:pt x="59573" y="32835"/>
                    </a:cubicBezTo>
                    <a:cubicBezTo>
                      <a:pt x="56723" y="29985"/>
                      <a:pt x="42475" y="21436"/>
                      <a:pt x="33926" y="15737"/>
                    </a:cubicBezTo>
                    <a:cubicBezTo>
                      <a:pt x="33926" y="12887"/>
                      <a:pt x="28227" y="12887"/>
                      <a:pt x="25378" y="1288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6" name="任意多边形: 形状 365">
                <a:extLst>
                  <a:ext uri="{FF2B5EF4-FFF2-40B4-BE49-F238E27FC236}">
                    <a16:creationId xmlns:a16="http://schemas.microsoft.com/office/drawing/2014/main" id="{3188124D-FDCA-4D4D-91B4-723E302FF624}"/>
                  </a:ext>
                </a:extLst>
              </p:cNvPr>
              <p:cNvSpPr/>
              <p:nvPr/>
            </p:nvSpPr>
            <p:spPr>
              <a:xfrm>
                <a:off x="6568096" y="3755515"/>
                <a:ext cx="86605" cy="74089"/>
              </a:xfrm>
              <a:custGeom>
                <a:avLst/>
                <a:gdLst>
                  <a:gd name="connsiteX0" fmla="*/ 68390 w 86605"/>
                  <a:gd name="connsiteY0" fmla="*/ 74090 h 74089"/>
                  <a:gd name="connsiteX1" fmla="*/ 8548 w 86605"/>
                  <a:gd name="connsiteY1" fmla="*/ 45594 h 74089"/>
                  <a:gd name="connsiteX2" fmla="*/ 0 w 86605"/>
                  <a:gd name="connsiteY2" fmla="*/ 19947 h 74089"/>
                  <a:gd name="connsiteX3" fmla="*/ 22796 w 86605"/>
                  <a:gd name="connsiteY3" fmla="*/ 0 h 74089"/>
                  <a:gd name="connsiteX4" fmla="*/ 28496 w 86605"/>
                  <a:gd name="connsiteY4" fmla="*/ 2850 h 74089"/>
                  <a:gd name="connsiteX5" fmla="*/ 25646 w 86605"/>
                  <a:gd name="connsiteY5" fmla="*/ 8549 h 74089"/>
                  <a:gd name="connsiteX6" fmla="*/ 11398 w 86605"/>
                  <a:gd name="connsiteY6" fmla="*/ 19947 h 74089"/>
                  <a:gd name="connsiteX7" fmla="*/ 17097 w 86605"/>
                  <a:gd name="connsiteY7" fmla="*/ 34195 h 74089"/>
                  <a:gd name="connsiteX8" fmla="*/ 71240 w 86605"/>
                  <a:gd name="connsiteY8" fmla="*/ 56992 h 74089"/>
                  <a:gd name="connsiteX9" fmla="*/ 74089 w 86605"/>
                  <a:gd name="connsiteY9" fmla="*/ 45594 h 74089"/>
                  <a:gd name="connsiteX10" fmla="*/ 71240 w 86605"/>
                  <a:gd name="connsiteY10" fmla="*/ 34195 h 74089"/>
                  <a:gd name="connsiteX11" fmla="*/ 71240 w 86605"/>
                  <a:gd name="connsiteY11" fmla="*/ 25646 h 74089"/>
                  <a:gd name="connsiteX12" fmla="*/ 79789 w 86605"/>
                  <a:gd name="connsiteY12" fmla="*/ 25646 h 74089"/>
                  <a:gd name="connsiteX13" fmla="*/ 85488 w 86605"/>
                  <a:gd name="connsiteY13" fmla="*/ 48443 h 74089"/>
                  <a:gd name="connsiteX14" fmla="*/ 76939 w 86605"/>
                  <a:gd name="connsiteY14" fmla="*/ 65541 h 74089"/>
                  <a:gd name="connsiteX15" fmla="*/ 68390 w 86605"/>
                  <a:gd name="connsiteY15" fmla="*/ 74090 h 74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605" h="74089">
                    <a:moveTo>
                      <a:pt x="68390" y="74090"/>
                    </a:moveTo>
                    <a:cubicBezTo>
                      <a:pt x="54142" y="74090"/>
                      <a:pt x="25646" y="65541"/>
                      <a:pt x="8548" y="45594"/>
                    </a:cubicBezTo>
                    <a:cubicBezTo>
                      <a:pt x="0" y="37045"/>
                      <a:pt x="0" y="28496"/>
                      <a:pt x="0" y="19947"/>
                    </a:cubicBezTo>
                    <a:cubicBezTo>
                      <a:pt x="2849" y="5699"/>
                      <a:pt x="19947" y="0"/>
                      <a:pt x="22796" y="0"/>
                    </a:cubicBezTo>
                    <a:cubicBezTo>
                      <a:pt x="25646" y="0"/>
                      <a:pt x="28496" y="0"/>
                      <a:pt x="28496" y="2850"/>
                    </a:cubicBezTo>
                    <a:cubicBezTo>
                      <a:pt x="28496" y="5699"/>
                      <a:pt x="28496" y="8549"/>
                      <a:pt x="25646" y="8549"/>
                    </a:cubicBezTo>
                    <a:cubicBezTo>
                      <a:pt x="22796" y="8549"/>
                      <a:pt x="14248" y="14248"/>
                      <a:pt x="11398" y="19947"/>
                    </a:cubicBezTo>
                    <a:cubicBezTo>
                      <a:pt x="11398" y="22797"/>
                      <a:pt x="11398" y="28496"/>
                      <a:pt x="17097" y="34195"/>
                    </a:cubicBezTo>
                    <a:cubicBezTo>
                      <a:pt x="37045" y="56992"/>
                      <a:pt x="68390" y="59842"/>
                      <a:pt x="71240" y="56992"/>
                    </a:cubicBezTo>
                    <a:cubicBezTo>
                      <a:pt x="71240" y="56992"/>
                      <a:pt x="74089" y="51293"/>
                      <a:pt x="74089" y="45594"/>
                    </a:cubicBezTo>
                    <a:cubicBezTo>
                      <a:pt x="74089" y="42744"/>
                      <a:pt x="74089" y="37045"/>
                      <a:pt x="71240" y="34195"/>
                    </a:cubicBezTo>
                    <a:cubicBezTo>
                      <a:pt x="68390" y="31346"/>
                      <a:pt x="68390" y="28496"/>
                      <a:pt x="71240" y="25646"/>
                    </a:cubicBezTo>
                    <a:cubicBezTo>
                      <a:pt x="74089" y="22797"/>
                      <a:pt x="76939" y="22797"/>
                      <a:pt x="79789" y="25646"/>
                    </a:cubicBezTo>
                    <a:cubicBezTo>
                      <a:pt x="85488" y="31346"/>
                      <a:pt x="88337" y="39894"/>
                      <a:pt x="85488" y="48443"/>
                    </a:cubicBezTo>
                    <a:cubicBezTo>
                      <a:pt x="85488" y="54142"/>
                      <a:pt x="82638" y="62691"/>
                      <a:pt x="76939" y="65541"/>
                    </a:cubicBezTo>
                    <a:cubicBezTo>
                      <a:pt x="76939" y="71240"/>
                      <a:pt x="74089" y="74090"/>
                      <a:pt x="68390" y="74090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7" name="任意多边形: 形状 366">
                <a:extLst>
                  <a:ext uri="{FF2B5EF4-FFF2-40B4-BE49-F238E27FC236}">
                    <a16:creationId xmlns:a16="http://schemas.microsoft.com/office/drawing/2014/main" id="{B7B3B53B-A469-4CA0-8DC8-66C648D4745D}"/>
                  </a:ext>
                </a:extLst>
              </p:cNvPr>
              <p:cNvSpPr/>
              <p:nvPr/>
            </p:nvSpPr>
            <p:spPr>
              <a:xfrm>
                <a:off x="6566523" y="3790422"/>
                <a:ext cx="79225" cy="70527"/>
              </a:xfrm>
              <a:custGeom>
                <a:avLst/>
                <a:gdLst>
                  <a:gd name="connsiteX0" fmla="*/ 50017 w 79225"/>
                  <a:gd name="connsiteY0" fmla="*/ 70528 h 70527"/>
                  <a:gd name="connsiteX1" fmla="*/ 41468 w 79225"/>
                  <a:gd name="connsiteY1" fmla="*/ 67678 h 70527"/>
                  <a:gd name="connsiteX2" fmla="*/ 1574 w 79225"/>
                  <a:gd name="connsiteY2" fmla="*/ 33483 h 70527"/>
                  <a:gd name="connsiteX3" fmla="*/ 10122 w 79225"/>
                  <a:gd name="connsiteY3" fmla="*/ 2137 h 70527"/>
                  <a:gd name="connsiteX4" fmla="*/ 18671 w 79225"/>
                  <a:gd name="connsiteY4" fmla="*/ 2137 h 70527"/>
                  <a:gd name="connsiteX5" fmla="*/ 18671 w 79225"/>
                  <a:gd name="connsiteY5" fmla="*/ 10686 h 70527"/>
                  <a:gd name="connsiteX6" fmla="*/ 12972 w 79225"/>
                  <a:gd name="connsiteY6" fmla="*/ 27784 h 70527"/>
                  <a:gd name="connsiteX7" fmla="*/ 50017 w 79225"/>
                  <a:gd name="connsiteY7" fmla="*/ 59129 h 70527"/>
                  <a:gd name="connsiteX8" fmla="*/ 67114 w 79225"/>
                  <a:gd name="connsiteY8" fmla="*/ 53430 h 70527"/>
                  <a:gd name="connsiteX9" fmla="*/ 61415 w 79225"/>
                  <a:gd name="connsiteY9" fmla="*/ 39182 h 70527"/>
                  <a:gd name="connsiteX10" fmla="*/ 61415 w 79225"/>
                  <a:gd name="connsiteY10" fmla="*/ 30633 h 70527"/>
                  <a:gd name="connsiteX11" fmla="*/ 69964 w 79225"/>
                  <a:gd name="connsiteY11" fmla="*/ 30633 h 70527"/>
                  <a:gd name="connsiteX12" fmla="*/ 75663 w 79225"/>
                  <a:gd name="connsiteY12" fmla="*/ 59129 h 70527"/>
                  <a:gd name="connsiteX13" fmla="*/ 50017 w 79225"/>
                  <a:gd name="connsiteY13" fmla="*/ 70528 h 70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9225" h="70527">
                    <a:moveTo>
                      <a:pt x="50017" y="70528"/>
                    </a:moveTo>
                    <a:cubicBezTo>
                      <a:pt x="47167" y="70528"/>
                      <a:pt x="44318" y="70528"/>
                      <a:pt x="41468" y="67678"/>
                    </a:cubicBezTo>
                    <a:cubicBezTo>
                      <a:pt x="30070" y="61979"/>
                      <a:pt x="7273" y="42032"/>
                      <a:pt x="1574" y="33483"/>
                    </a:cubicBezTo>
                    <a:cubicBezTo>
                      <a:pt x="-4126" y="22085"/>
                      <a:pt x="7273" y="4987"/>
                      <a:pt x="10122" y="2137"/>
                    </a:cubicBezTo>
                    <a:cubicBezTo>
                      <a:pt x="12972" y="-712"/>
                      <a:pt x="15822" y="-712"/>
                      <a:pt x="18671" y="2137"/>
                    </a:cubicBezTo>
                    <a:cubicBezTo>
                      <a:pt x="21521" y="4987"/>
                      <a:pt x="21521" y="7837"/>
                      <a:pt x="18671" y="10686"/>
                    </a:cubicBezTo>
                    <a:cubicBezTo>
                      <a:pt x="15822" y="16385"/>
                      <a:pt x="10122" y="24934"/>
                      <a:pt x="12972" y="27784"/>
                    </a:cubicBezTo>
                    <a:cubicBezTo>
                      <a:pt x="15822" y="33483"/>
                      <a:pt x="38618" y="53430"/>
                      <a:pt x="50017" y="59129"/>
                    </a:cubicBezTo>
                    <a:cubicBezTo>
                      <a:pt x="52866" y="61979"/>
                      <a:pt x="61415" y="59129"/>
                      <a:pt x="67114" y="53430"/>
                    </a:cubicBezTo>
                    <a:cubicBezTo>
                      <a:pt x="67114" y="50581"/>
                      <a:pt x="72814" y="47731"/>
                      <a:pt x="61415" y="39182"/>
                    </a:cubicBezTo>
                    <a:cubicBezTo>
                      <a:pt x="58566" y="36333"/>
                      <a:pt x="58566" y="33483"/>
                      <a:pt x="61415" y="30633"/>
                    </a:cubicBezTo>
                    <a:cubicBezTo>
                      <a:pt x="64265" y="27784"/>
                      <a:pt x="67114" y="27784"/>
                      <a:pt x="69964" y="30633"/>
                    </a:cubicBezTo>
                    <a:cubicBezTo>
                      <a:pt x="84212" y="44881"/>
                      <a:pt x="78513" y="56280"/>
                      <a:pt x="75663" y="59129"/>
                    </a:cubicBezTo>
                    <a:cubicBezTo>
                      <a:pt x="69964" y="64829"/>
                      <a:pt x="58566" y="70528"/>
                      <a:pt x="50017" y="70528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68" name="任意多边形: 形状 367">
              <a:extLst>
                <a:ext uri="{FF2B5EF4-FFF2-40B4-BE49-F238E27FC236}">
                  <a16:creationId xmlns:a16="http://schemas.microsoft.com/office/drawing/2014/main" id="{BC579524-4D6E-46AF-8B52-8E1E02ED7AE6}"/>
                </a:ext>
              </a:extLst>
            </p:cNvPr>
            <p:cNvSpPr/>
            <p:nvPr/>
          </p:nvSpPr>
          <p:spPr>
            <a:xfrm>
              <a:off x="8061289" y="2748946"/>
              <a:ext cx="572770" cy="769535"/>
            </a:xfrm>
            <a:custGeom>
              <a:avLst/>
              <a:gdLst>
                <a:gd name="connsiteX0" fmla="*/ 0 w 572770"/>
                <a:gd name="connsiteY0" fmla="*/ 134590 h 769535"/>
                <a:gd name="connsiteX1" fmla="*/ 330554 w 572770"/>
                <a:gd name="connsiteY1" fmla="*/ 12057 h 769535"/>
                <a:gd name="connsiteX2" fmla="*/ 510079 w 572770"/>
                <a:gd name="connsiteY2" fmla="*/ 430949 h 769535"/>
                <a:gd name="connsiteX3" fmla="*/ 572771 w 572770"/>
                <a:gd name="connsiteY3" fmla="*/ 715909 h 769535"/>
                <a:gd name="connsiteX4" fmla="*/ 267863 w 572770"/>
                <a:gd name="connsiteY4" fmla="*/ 678864 h 769535"/>
                <a:gd name="connsiteX5" fmla="*/ 133931 w 572770"/>
                <a:gd name="connsiteY5" fmla="*/ 205830 h 769535"/>
                <a:gd name="connsiteX6" fmla="*/ 0 w 572770"/>
                <a:gd name="connsiteY6" fmla="*/ 134590 h 769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2770" h="769535">
                  <a:moveTo>
                    <a:pt x="0" y="134590"/>
                  </a:moveTo>
                  <a:cubicBezTo>
                    <a:pt x="0" y="134590"/>
                    <a:pt x="54142" y="-47785"/>
                    <a:pt x="330554" y="12057"/>
                  </a:cubicBezTo>
                  <a:cubicBezTo>
                    <a:pt x="501531" y="49102"/>
                    <a:pt x="555673" y="314115"/>
                    <a:pt x="510079" y="430949"/>
                  </a:cubicBezTo>
                  <a:cubicBezTo>
                    <a:pt x="467335" y="547782"/>
                    <a:pt x="475884" y="656067"/>
                    <a:pt x="572771" y="715909"/>
                  </a:cubicBezTo>
                  <a:cubicBezTo>
                    <a:pt x="572771" y="715909"/>
                    <a:pt x="350501" y="858389"/>
                    <a:pt x="267863" y="678864"/>
                  </a:cubicBezTo>
                  <a:cubicBezTo>
                    <a:pt x="233667" y="604774"/>
                    <a:pt x="262164" y="259972"/>
                    <a:pt x="133931" y="205830"/>
                  </a:cubicBezTo>
                  <a:cubicBezTo>
                    <a:pt x="79789" y="180183"/>
                    <a:pt x="0" y="134590"/>
                    <a:pt x="0" y="134590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9" name="任意多边形: 形状 368">
              <a:extLst>
                <a:ext uri="{FF2B5EF4-FFF2-40B4-BE49-F238E27FC236}">
                  <a16:creationId xmlns:a16="http://schemas.microsoft.com/office/drawing/2014/main" id="{3DE498E1-FFDC-434C-8038-FCE4FE042CA0}"/>
                </a:ext>
              </a:extLst>
            </p:cNvPr>
            <p:cNvSpPr/>
            <p:nvPr/>
          </p:nvSpPr>
          <p:spPr>
            <a:xfrm>
              <a:off x="8468782" y="3293879"/>
              <a:ext cx="170976" cy="176675"/>
            </a:xfrm>
            <a:custGeom>
              <a:avLst/>
              <a:gdLst>
                <a:gd name="connsiteX0" fmla="*/ 165277 w 170976"/>
                <a:gd name="connsiteY0" fmla="*/ 176676 h 176675"/>
                <a:gd name="connsiteX1" fmla="*/ 165277 w 170976"/>
                <a:gd name="connsiteY1" fmla="*/ 176676 h 176675"/>
                <a:gd name="connsiteX2" fmla="*/ 0 w 170976"/>
                <a:gd name="connsiteY2" fmla="*/ 5699 h 176675"/>
                <a:gd name="connsiteX3" fmla="*/ 5699 w 170976"/>
                <a:gd name="connsiteY3" fmla="*/ 0 h 176675"/>
                <a:gd name="connsiteX4" fmla="*/ 11398 w 170976"/>
                <a:gd name="connsiteY4" fmla="*/ 5699 h 176675"/>
                <a:gd name="connsiteX5" fmla="*/ 165277 w 170976"/>
                <a:gd name="connsiteY5" fmla="*/ 168127 h 176675"/>
                <a:gd name="connsiteX6" fmla="*/ 170976 w 170976"/>
                <a:gd name="connsiteY6" fmla="*/ 173826 h 176675"/>
                <a:gd name="connsiteX7" fmla="*/ 165277 w 170976"/>
                <a:gd name="connsiteY7" fmla="*/ 176676 h 17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976" h="176675">
                  <a:moveTo>
                    <a:pt x="165277" y="176676"/>
                  </a:moveTo>
                  <a:lnTo>
                    <a:pt x="165277" y="176676"/>
                  </a:lnTo>
                  <a:cubicBezTo>
                    <a:pt x="165277" y="176676"/>
                    <a:pt x="28496" y="173826"/>
                    <a:pt x="0" y="5699"/>
                  </a:cubicBezTo>
                  <a:cubicBezTo>
                    <a:pt x="0" y="2850"/>
                    <a:pt x="2849" y="0"/>
                    <a:pt x="5699" y="0"/>
                  </a:cubicBezTo>
                  <a:cubicBezTo>
                    <a:pt x="8549" y="0"/>
                    <a:pt x="11398" y="2850"/>
                    <a:pt x="11398" y="5699"/>
                  </a:cubicBezTo>
                  <a:cubicBezTo>
                    <a:pt x="37045" y="165277"/>
                    <a:pt x="165277" y="168127"/>
                    <a:pt x="165277" y="168127"/>
                  </a:cubicBezTo>
                  <a:cubicBezTo>
                    <a:pt x="168126" y="168127"/>
                    <a:pt x="170976" y="170976"/>
                    <a:pt x="170976" y="173826"/>
                  </a:cubicBezTo>
                  <a:cubicBezTo>
                    <a:pt x="170976" y="173826"/>
                    <a:pt x="168126" y="176676"/>
                    <a:pt x="165277" y="176676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0" name="任意多边形: 形状 369">
              <a:extLst>
                <a:ext uri="{FF2B5EF4-FFF2-40B4-BE49-F238E27FC236}">
                  <a16:creationId xmlns:a16="http://schemas.microsoft.com/office/drawing/2014/main" id="{EC8622B5-1874-4547-9DD4-62F1A7A9AB37}"/>
                </a:ext>
              </a:extLst>
            </p:cNvPr>
            <p:cNvSpPr/>
            <p:nvPr/>
          </p:nvSpPr>
          <p:spPr>
            <a:xfrm>
              <a:off x="7987064" y="2867637"/>
              <a:ext cx="213943" cy="150066"/>
            </a:xfrm>
            <a:custGeom>
              <a:avLst/>
              <a:gdLst>
                <a:gd name="connsiteX0" fmla="*/ 135 w 213943"/>
                <a:gd name="connsiteY0" fmla="*/ 52943 h 150066"/>
                <a:gd name="connsiteX1" fmla="*/ 119819 w 213943"/>
                <a:gd name="connsiteY1" fmla="*/ 4500 h 150066"/>
                <a:gd name="connsiteX2" fmla="*/ 205307 w 213943"/>
                <a:gd name="connsiteY2" fmla="*/ 129882 h 150066"/>
                <a:gd name="connsiteX3" fmla="*/ 135 w 213943"/>
                <a:gd name="connsiteY3" fmla="*/ 52943 h 150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943" h="150066">
                  <a:moveTo>
                    <a:pt x="135" y="52943"/>
                  </a:moveTo>
                  <a:cubicBezTo>
                    <a:pt x="135" y="52943"/>
                    <a:pt x="31481" y="-18297"/>
                    <a:pt x="119819" y="4500"/>
                  </a:cubicBezTo>
                  <a:cubicBezTo>
                    <a:pt x="176811" y="18748"/>
                    <a:pt x="236652" y="72890"/>
                    <a:pt x="205307" y="129882"/>
                  </a:cubicBezTo>
                  <a:cubicBezTo>
                    <a:pt x="171111" y="192574"/>
                    <a:pt x="-5564" y="92838"/>
                    <a:pt x="135" y="52943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1" name="任意多边形: 形状 370">
              <a:extLst>
                <a:ext uri="{FF2B5EF4-FFF2-40B4-BE49-F238E27FC236}">
                  <a16:creationId xmlns:a16="http://schemas.microsoft.com/office/drawing/2014/main" id="{819795C6-B807-4454-BF1F-8ADE54F11DB8}"/>
                </a:ext>
              </a:extLst>
            </p:cNvPr>
            <p:cNvSpPr/>
            <p:nvPr/>
          </p:nvSpPr>
          <p:spPr>
            <a:xfrm>
              <a:off x="7700887" y="2891490"/>
              <a:ext cx="303720" cy="559735"/>
            </a:xfrm>
            <a:custGeom>
              <a:avLst/>
              <a:gdLst>
                <a:gd name="connsiteX0" fmla="*/ 220771 w 303720"/>
                <a:gd name="connsiteY0" fmla="*/ 282705 h 559735"/>
                <a:gd name="connsiteX1" fmla="*/ 266365 w 303720"/>
                <a:gd name="connsiteY1" fmla="*/ 148774 h 559735"/>
                <a:gd name="connsiteX2" fmla="*/ 303409 w 303720"/>
                <a:gd name="connsiteY2" fmla="*/ 9143 h 559735"/>
                <a:gd name="connsiteX3" fmla="*/ 9900 w 303720"/>
                <a:gd name="connsiteY3" fmla="*/ 171570 h 559735"/>
                <a:gd name="connsiteX4" fmla="*/ 175177 w 303720"/>
                <a:gd name="connsiteY4" fmla="*/ 485027 h 559735"/>
                <a:gd name="connsiteX5" fmla="*/ 266365 w 303720"/>
                <a:gd name="connsiteY5" fmla="*/ 533470 h 559735"/>
                <a:gd name="connsiteX6" fmla="*/ 220771 w 303720"/>
                <a:gd name="connsiteY6" fmla="*/ 282705 h 55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3720" h="559735">
                  <a:moveTo>
                    <a:pt x="220771" y="282705"/>
                  </a:moveTo>
                  <a:cubicBezTo>
                    <a:pt x="229320" y="234262"/>
                    <a:pt x="243568" y="191518"/>
                    <a:pt x="266365" y="148774"/>
                  </a:cubicBezTo>
                  <a:cubicBezTo>
                    <a:pt x="289161" y="103180"/>
                    <a:pt x="306259" y="9143"/>
                    <a:pt x="303409" y="9143"/>
                  </a:cubicBezTo>
                  <a:cubicBezTo>
                    <a:pt x="197974" y="-27902"/>
                    <a:pt x="41246" y="51887"/>
                    <a:pt x="9900" y="171570"/>
                  </a:cubicBezTo>
                  <a:cubicBezTo>
                    <a:pt x="-4348" y="231412"/>
                    <a:pt x="-32844" y="408087"/>
                    <a:pt x="175177" y="485027"/>
                  </a:cubicBezTo>
                  <a:cubicBezTo>
                    <a:pt x="266365" y="561966"/>
                    <a:pt x="254966" y="581913"/>
                    <a:pt x="266365" y="533470"/>
                  </a:cubicBezTo>
                  <a:cubicBezTo>
                    <a:pt x="274913" y="490726"/>
                    <a:pt x="215072" y="333998"/>
                    <a:pt x="220771" y="282705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2" name="任意多边形: 形状 371">
              <a:extLst>
                <a:ext uri="{FF2B5EF4-FFF2-40B4-BE49-F238E27FC236}">
                  <a16:creationId xmlns:a16="http://schemas.microsoft.com/office/drawing/2014/main" id="{CC3FE140-2CCC-4CCC-B92C-5C5E9DDAA7A6}"/>
                </a:ext>
              </a:extLst>
            </p:cNvPr>
            <p:cNvSpPr/>
            <p:nvPr/>
          </p:nvSpPr>
          <p:spPr>
            <a:xfrm>
              <a:off x="7766035" y="2928298"/>
              <a:ext cx="394990" cy="531156"/>
            </a:xfrm>
            <a:custGeom>
              <a:avLst/>
              <a:gdLst>
                <a:gd name="connsiteX0" fmla="*/ 7444 w 394990"/>
                <a:gd name="connsiteY0" fmla="*/ 171808 h 531156"/>
                <a:gd name="connsiteX1" fmla="*/ 18842 w 394990"/>
                <a:gd name="connsiteY1" fmla="*/ 411175 h 531156"/>
                <a:gd name="connsiteX2" fmla="*/ 158473 w 394990"/>
                <a:gd name="connsiteY2" fmla="*/ 530858 h 531156"/>
                <a:gd name="connsiteX3" fmla="*/ 360795 w 394990"/>
                <a:gd name="connsiteY3" fmla="*/ 396927 h 531156"/>
                <a:gd name="connsiteX4" fmla="*/ 394990 w 394990"/>
                <a:gd name="connsiteY4" fmla="*/ 186056 h 531156"/>
                <a:gd name="connsiteX5" fmla="*/ 195518 w 394990"/>
                <a:gd name="connsiteY5" fmla="*/ 832 h 531156"/>
                <a:gd name="connsiteX6" fmla="*/ 7444 w 394990"/>
                <a:gd name="connsiteY6" fmla="*/ 171808 h 531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4990" h="531156">
                  <a:moveTo>
                    <a:pt x="7444" y="171808"/>
                  </a:moveTo>
                  <a:cubicBezTo>
                    <a:pt x="7444" y="171808"/>
                    <a:pt x="-15353" y="348483"/>
                    <a:pt x="18842" y="411175"/>
                  </a:cubicBezTo>
                  <a:cubicBezTo>
                    <a:pt x="53038" y="473866"/>
                    <a:pt x="110030" y="528009"/>
                    <a:pt x="158473" y="530858"/>
                  </a:cubicBezTo>
                  <a:cubicBezTo>
                    <a:pt x="221164" y="536557"/>
                    <a:pt x="326600" y="459618"/>
                    <a:pt x="360795" y="396927"/>
                  </a:cubicBezTo>
                  <a:cubicBezTo>
                    <a:pt x="394990" y="334235"/>
                    <a:pt x="394990" y="234499"/>
                    <a:pt x="394990" y="186056"/>
                  </a:cubicBezTo>
                  <a:cubicBezTo>
                    <a:pt x="392140" y="97718"/>
                    <a:pt x="366494" y="23628"/>
                    <a:pt x="195518" y="832"/>
                  </a:cubicBezTo>
                  <a:cubicBezTo>
                    <a:pt x="112879" y="-10567"/>
                    <a:pt x="24541" y="97718"/>
                    <a:pt x="7444" y="171808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3" name="任意多边形: 形状 372">
              <a:extLst>
                <a:ext uri="{FF2B5EF4-FFF2-40B4-BE49-F238E27FC236}">
                  <a16:creationId xmlns:a16="http://schemas.microsoft.com/office/drawing/2014/main" id="{40A32437-DC1C-4A94-9F4D-011EE82DA1E6}"/>
                </a:ext>
              </a:extLst>
            </p:cNvPr>
            <p:cNvSpPr/>
            <p:nvPr/>
          </p:nvSpPr>
          <p:spPr>
            <a:xfrm>
              <a:off x="7893162" y="3178714"/>
              <a:ext cx="51292" cy="123713"/>
            </a:xfrm>
            <a:custGeom>
              <a:avLst/>
              <a:gdLst>
                <a:gd name="connsiteX0" fmla="*/ 28496 w 51292"/>
                <a:gd name="connsiteY0" fmla="*/ 123713 h 123713"/>
                <a:gd name="connsiteX1" fmla="*/ 5699 w 51292"/>
                <a:gd name="connsiteY1" fmla="*/ 118014 h 123713"/>
                <a:gd name="connsiteX2" fmla="*/ 0 w 51292"/>
                <a:gd name="connsiteY2" fmla="*/ 106616 h 123713"/>
                <a:gd name="connsiteX3" fmla="*/ 25646 w 51292"/>
                <a:gd name="connsiteY3" fmla="*/ 4030 h 123713"/>
                <a:gd name="connsiteX4" fmla="*/ 31345 w 51292"/>
                <a:gd name="connsiteY4" fmla="*/ 1180 h 123713"/>
                <a:gd name="connsiteX5" fmla="*/ 34195 w 51292"/>
                <a:gd name="connsiteY5" fmla="*/ 6880 h 123713"/>
                <a:gd name="connsiteX6" fmla="*/ 8548 w 51292"/>
                <a:gd name="connsiteY6" fmla="*/ 106616 h 123713"/>
                <a:gd name="connsiteX7" fmla="*/ 8548 w 51292"/>
                <a:gd name="connsiteY7" fmla="*/ 109465 h 123713"/>
                <a:gd name="connsiteX8" fmla="*/ 45593 w 51292"/>
                <a:gd name="connsiteY8" fmla="*/ 109465 h 123713"/>
                <a:gd name="connsiteX9" fmla="*/ 51293 w 51292"/>
                <a:gd name="connsiteY9" fmla="*/ 115164 h 123713"/>
                <a:gd name="connsiteX10" fmla="*/ 45593 w 51292"/>
                <a:gd name="connsiteY10" fmla="*/ 120864 h 123713"/>
                <a:gd name="connsiteX11" fmla="*/ 28496 w 51292"/>
                <a:gd name="connsiteY11" fmla="*/ 123713 h 12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292" h="123713">
                  <a:moveTo>
                    <a:pt x="28496" y="123713"/>
                  </a:moveTo>
                  <a:cubicBezTo>
                    <a:pt x="19947" y="123713"/>
                    <a:pt x="11398" y="123713"/>
                    <a:pt x="5699" y="118014"/>
                  </a:cubicBezTo>
                  <a:cubicBezTo>
                    <a:pt x="2849" y="115164"/>
                    <a:pt x="0" y="112315"/>
                    <a:pt x="0" y="106616"/>
                  </a:cubicBezTo>
                  <a:cubicBezTo>
                    <a:pt x="0" y="86668"/>
                    <a:pt x="25646" y="6880"/>
                    <a:pt x="25646" y="4030"/>
                  </a:cubicBezTo>
                  <a:cubicBezTo>
                    <a:pt x="25646" y="1180"/>
                    <a:pt x="28496" y="-1669"/>
                    <a:pt x="31345" y="1180"/>
                  </a:cubicBezTo>
                  <a:cubicBezTo>
                    <a:pt x="34195" y="1180"/>
                    <a:pt x="37045" y="4030"/>
                    <a:pt x="34195" y="6880"/>
                  </a:cubicBezTo>
                  <a:cubicBezTo>
                    <a:pt x="28496" y="29676"/>
                    <a:pt x="8548" y="89518"/>
                    <a:pt x="8548" y="106616"/>
                  </a:cubicBezTo>
                  <a:cubicBezTo>
                    <a:pt x="8548" y="106616"/>
                    <a:pt x="8548" y="109465"/>
                    <a:pt x="8548" y="109465"/>
                  </a:cubicBezTo>
                  <a:cubicBezTo>
                    <a:pt x="14248" y="115164"/>
                    <a:pt x="34195" y="112315"/>
                    <a:pt x="45593" y="109465"/>
                  </a:cubicBezTo>
                  <a:cubicBezTo>
                    <a:pt x="48443" y="109465"/>
                    <a:pt x="51293" y="109465"/>
                    <a:pt x="51293" y="115164"/>
                  </a:cubicBezTo>
                  <a:cubicBezTo>
                    <a:pt x="51293" y="118014"/>
                    <a:pt x="51293" y="120864"/>
                    <a:pt x="45593" y="120864"/>
                  </a:cubicBezTo>
                  <a:cubicBezTo>
                    <a:pt x="48443" y="123713"/>
                    <a:pt x="37045" y="123713"/>
                    <a:pt x="28496" y="123713"/>
                  </a:cubicBezTo>
                  <a:close/>
                </a:path>
              </a:pathLst>
            </a:custGeom>
            <a:solidFill>
              <a:srgbClr val="E58777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4" name="任意多边形: 形状 373">
              <a:extLst>
                <a:ext uri="{FF2B5EF4-FFF2-40B4-BE49-F238E27FC236}">
                  <a16:creationId xmlns:a16="http://schemas.microsoft.com/office/drawing/2014/main" id="{F9E13C88-033C-4A27-81B3-02D03F9649D7}"/>
                </a:ext>
              </a:extLst>
            </p:cNvPr>
            <p:cNvSpPr/>
            <p:nvPr/>
          </p:nvSpPr>
          <p:spPr>
            <a:xfrm>
              <a:off x="7876065" y="3350871"/>
              <a:ext cx="99736" cy="51292"/>
            </a:xfrm>
            <a:custGeom>
              <a:avLst/>
              <a:gdLst>
                <a:gd name="connsiteX0" fmla="*/ 99736 w 99736"/>
                <a:gd name="connsiteY0" fmla="*/ 0 h 51292"/>
                <a:gd name="connsiteX1" fmla="*/ 0 w 99736"/>
                <a:gd name="connsiteY1" fmla="*/ 0 h 51292"/>
                <a:gd name="connsiteX2" fmla="*/ 48443 w 99736"/>
                <a:gd name="connsiteY2" fmla="*/ 51293 h 51292"/>
                <a:gd name="connsiteX3" fmla="*/ 99736 w 99736"/>
                <a:gd name="connsiteY3" fmla="*/ 0 h 51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736" h="51292">
                  <a:moveTo>
                    <a:pt x="99736" y="0"/>
                  </a:moveTo>
                  <a:cubicBezTo>
                    <a:pt x="48443" y="22797"/>
                    <a:pt x="0" y="0"/>
                    <a:pt x="0" y="0"/>
                  </a:cubicBezTo>
                  <a:cubicBezTo>
                    <a:pt x="0" y="0"/>
                    <a:pt x="14248" y="51293"/>
                    <a:pt x="48443" y="51293"/>
                  </a:cubicBezTo>
                  <a:cubicBezTo>
                    <a:pt x="85488" y="48443"/>
                    <a:pt x="99736" y="0"/>
                    <a:pt x="99736" y="0"/>
                  </a:cubicBezTo>
                  <a:close/>
                </a:path>
              </a:pathLst>
            </a:custGeom>
            <a:solidFill>
              <a:srgbClr val="FFFFFF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5" name="任意多边形: 形状 374">
              <a:extLst>
                <a:ext uri="{FF2B5EF4-FFF2-40B4-BE49-F238E27FC236}">
                  <a16:creationId xmlns:a16="http://schemas.microsoft.com/office/drawing/2014/main" id="{4A90E582-6A38-4CC6-92FD-E801C0BEB99E}"/>
                </a:ext>
              </a:extLst>
            </p:cNvPr>
            <p:cNvSpPr/>
            <p:nvPr/>
          </p:nvSpPr>
          <p:spPr>
            <a:xfrm>
              <a:off x="7824046" y="3153522"/>
              <a:ext cx="38497" cy="38329"/>
            </a:xfrm>
            <a:custGeom>
              <a:avLst/>
              <a:gdLst>
                <a:gd name="connsiteX0" fmla="*/ 37771 w 38497"/>
                <a:gd name="connsiteY0" fmla="*/ 23523 h 38329"/>
                <a:gd name="connsiteX1" fmla="*/ 14974 w 38497"/>
                <a:gd name="connsiteY1" fmla="*/ 37771 h 38329"/>
                <a:gd name="connsiteX2" fmla="*/ 726 w 38497"/>
                <a:gd name="connsiteY2" fmla="*/ 14974 h 38329"/>
                <a:gd name="connsiteX3" fmla="*/ 23523 w 38497"/>
                <a:gd name="connsiteY3" fmla="*/ 726 h 38329"/>
                <a:gd name="connsiteX4" fmla="*/ 37771 w 38497"/>
                <a:gd name="connsiteY4" fmla="*/ 23523 h 38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497" h="38329">
                  <a:moveTo>
                    <a:pt x="37771" y="23523"/>
                  </a:moveTo>
                  <a:cubicBezTo>
                    <a:pt x="34921" y="32072"/>
                    <a:pt x="26373" y="40621"/>
                    <a:pt x="14974" y="37771"/>
                  </a:cubicBezTo>
                  <a:cubicBezTo>
                    <a:pt x="3576" y="34921"/>
                    <a:pt x="-2123" y="26373"/>
                    <a:pt x="726" y="14974"/>
                  </a:cubicBezTo>
                  <a:cubicBezTo>
                    <a:pt x="3576" y="3576"/>
                    <a:pt x="12125" y="-2123"/>
                    <a:pt x="23523" y="726"/>
                  </a:cubicBezTo>
                  <a:cubicBezTo>
                    <a:pt x="34921" y="3576"/>
                    <a:pt x="40621" y="12125"/>
                    <a:pt x="37771" y="23523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6" name="任意多边形: 形状 375">
              <a:extLst>
                <a:ext uri="{FF2B5EF4-FFF2-40B4-BE49-F238E27FC236}">
                  <a16:creationId xmlns:a16="http://schemas.microsoft.com/office/drawing/2014/main" id="{CB122A64-E1C6-408F-9250-80BF0C608D24}"/>
                </a:ext>
              </a:extLst>
            </p:cNvPr>
            <p:cNvSpPr/>
            <p:nvPr/>
          </p:nvSpPr>
          <p:spPr>
            <a:xfrm>
              <a:off x="8003571" y="3159388"/>
              <a:ext cx="38330" cy="38162"/>
            </a:xfrm>
            <a:custGeom>
              <a:avLst/>
              <a:gdLst>
                <a:gd name="connsiteX0" fmla="*/ 37771 w 38330"/>
                <a:gd name="connsiteY0" fmla="*/ 23356 h 38162"/>
                <a:gd name="connsiteX1" fmla="*/ 14974 w 38330"/>
                <a:gd name="connsiteY1" fmla="*/ 37604 h 38162"/>
                <a:gd name="connsiteX2" fmla="*/ 726 w 38330"/>
                <a:gd name="connsiteY2" fmla="*/ 14807 h 38162"/>
                <a:gd name="connsiteX3" fmla="*/ 23523 w 38330"/>
                <a:gd name="connsiteY3" fmla="*/ 559 h 38162"/>
                <a:gd name="connsiteX4" fmla="*/ 37771 w 38330"/>
                <a:gd name="connsiteY4" fmla="*/ 23356 h 3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30" h="38162">
                  <a:moveTo>
                    <a:pt x="37771" y="23356"/>
                  </a:moveTo>
                  <a:cubicBezTo>
                    <a:pt x="34921" y="31905"/>
                    <a:pt x="26372" y="40453"/>
                    <a:pt x="14974" y="37604"/>
                  </a:cubicBezTo>
                  <a:cubicBezTo>
                    <a:pt x="3576" y="34754"/>
                    <a:pt x="-2124" y="26205"/>
                    <a:pt x="726" y="14807"/>
                  </a:cubicBezTo>
                  <a:cubicBezTo>
                    <a:pt x="3576" y="6258"/>
                    <a:pt x="12124" y="-2291"/>
                    <a:pt x="23523" y="559"/>
                  </a:cubicBezTo>
                  <a:cubicBezTo>
                    <a:pt x="32072" y="3409"/>
                    <a:pt x="40621" y="14807"/>
                    <a:pt x="37771" y="23356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7" name="任意多边形: 形状 376">
              <a:extLst>
                <a:ext uri="{FF2B5EF4-FFF2-40B4-BE49-F238E27FC236}">
                  <a16:creationId xmlns:a16="http://schemas.microsoft.com/office/drawing/2014/main" id="{23FF66F1-51E7-4953-B833-D8D16FE0B70E}"/>
                </a:ext>
              </a:extLst>
            </p:cNvPr>
            <p:cNvSpPr/>
            <p:nvPr/>
          </p:nvSpPr>
          <p:spPr>
            <a:xfrm>
              <a:off x="7802687" y="3107565"/>
              <a:ext cx="85956" cy="32434"/>
            </a:xfrm>
            <a:custGeom>
              <a:avLst/>
              <a:gdLst>
                <a:gd name="connsiteX0" fmla="*/ 7836 w 85956"/>
                <a:gd name="connsiteY0" fmla="*/ 32435 h 32434"/>
                <a:gd name="connsiteX1" fmla="*/ 2137 w 85956"/>
                <a:gd name="connsiteY1" fmla="*/ 29585 h 32434"/>
                <a:gd name="connsiteX2" fmla="*/ 2137 w 85956"/>
                <a:gd name="connsiteY2" fmla="*/ 18187 h 32434"/>
                <a:gd name="connsiteX3" fmla="*/ 81926 w 85956"/>
                <a:gd name="connsiteY3" fmla="*/ 9638 h 32434"/>
                <a:gd name="connsiteX4" fmla="*/ 84776 w 85956"/>
                <a:gd name="connsiteY4" fmla="*/ 18187 h 32434"/>
                <a:gd name="connsiteX5" fmla="*/ 76227 w 85956"/>
                <a:gd name="connsiteY5" fmla="*/ 21036 h 32434"/>
                <a:gd name="connsiteX6" fmla="*/ 13536 w 85956"/>
                <a:gd name="connsiteY6" fmla="*/ 26735 h 32434"/>
                <a:gd name="connsiteX7" fmla="*/ 7836 w 85956"/>
                <a:gd name="connsiteY7" fmla="*/ 32435 h 32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6" h="32434">
                  <a:moveTo>
                    <a:pt x="7836" y="32435"/>
                  </a:moveTo>
                  <a:cubicBezTo>
                    <a:pt x="4987" y="32435"/>
                    <a:pt x="4987" y="32435"/>
                    <a:pt x="2137" y="29585"/>
                  </a:cubicBezTo>
                  <a:cubicBezTo>
                    <a:pt x="-712" y="26735"/>
                    <a:pt x="-712" y="21036"/>
                    <a:pt x="2137" y="18187"/>
                  </a:cubicBezTo>
                  <a:cubicBezTo>
                    <a:pt x="27784" y="-10310"/>
                    <a:pt x="64829" y="1089"/>
                    <a:pt x="81926" y="9638"/>
                  </a:cubicBezTo>
                  <a:cubicBezTo>
                    <a:pt x="84776" y="12487"/>
                    <a:pt x="87625" y="15337"/>
                    <a:pt x="84776" y="18187"/>
                  </a:cubicBezTo>
                  <a:cubicBezTo>
                    <a:pt x="81926" y="21036"/>
                    <a:pt x="79077" y="23886"/>
                    <a:pt x="76227" y="21036"/>
                  </a:cubicBezTo>
                  <a:cubicBezTo>
                    <a:pt x="73377" y="21036"/>
                    <a:pt x="36332" y="1089"/>
                    <a:pt x="13536" y="26735"/>
                  </a:cubicBezTo>
                  <a:cubicBezTo>
                    <a:pt x="10686" y="32435"/>
                    <a:pt x="7836" y="32435"/>
                    <a:pt x="7836" y="32435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8" name="任意多边形: 形状 377">
              <a:extLst>
                <a:ext uri="{FF2B5EF4-FFF2-40B4-BE49-F238E27FC236}">
                  <a16:creationId xmlns:a16="http://schemas.microsoft.com/office/drawing/2014/main" id="{8432BFD3-5B03-46C8-B223-2C101C7D9958}"/>
                </a:ext>
              </a:extLst>
            </p:cNvPr>
            <p:cNvSpPr/>
            <p:nvPr/>
          </p:nvSpPr>
          <p:spPr>
            <a:xfrm>
              <a:off x="7977470" y="3106095"/>
              <a:ext cx="85956" cy="33905"/>
            </a:xfrm>
            <a:custGeom>
              <a:avLst/>
              <a:gdLst>
                <a:gd name="connsiteX0" fmla="*/ 80969 w 85956"/>
                <a:gd name="connsiteY0" fmla="*/ 33905 h 33905"/>
                <a:gd name="connsiteX1" fmla="*/ 75270 w 85956"/>
                <a:gd name="connsiteY1" fmla="*/ 31056 h 33905"/>
                <a:gd name="connsiteX2" fmla="*/ 12579 w 85956"/>
                <a:gd name="connsiteY2" fmla="*/ 25357 h 33905"/>
                <a:gd name="connsiteX3" fmla="*/ 1180 w 85956"/>
                <a:gd name="connsiteY3" fmla="*/ 22507 h 33905"/>
                <a:gd name="connsiteX4" fmla="*/ 4030 w 85956"/>
                <a:gd name="connsiteY4" fmla="*/ 11109 h 33905"/>
                <a:gd name="connsiteX5" fmla="*/ 83819 w 85956"/>
                <a:gd name="connsiteY5" fmla="*/ 19657 h 33905"/>
                <a:gd name="connsiteX6" fmla="*/ 83819 w 85956"/>
                <a:gd name="connsiteY6" fmla="*/ 31056 h 33905"/>
                <a:gd name="connsiteX7" fmla="*/ 80969 w 85956"/>
                <a:gd name="connsiteY7" fmla="*/ 33905 h 33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6" h="33905">
                  <a:moveTo>
                    <a:pt x="80969" y="33905"/>
                  </a:moveTo>
                  <a:cubicBezTo>
                    <a:pt x="78120" y="33905"/>
                    <a:pt x="78120" y="33905"/>
                    <a:pt x="75270" y="31056"/>
                  </a:cubicBezTo>
                  <a:cubicBezTo>
                    <a:pt x="75270" y="31056"/>
                    <a:pt x="46774" y="2560"/>
                    <a:pt x="12579" y="25357"/>
                  </a:cubicBezTo>
                  <a:cubicBezTo>
                    <a:pt x="9729" y="28206"/>
                    <a:pt x="4030" y="25357"/>
                    <a:pt x="1180" y="22507"/>
                  </a:cubicBezTo>
                  <a:cubicBezTo>
                    <a:pt x="-1669" y="19657"/>
                    <a:pt x="1180" y="13958"/>
                    <a:pt x="4030" y="11109"/>
                  </a:cubicBezTo>
                  <a:cubicBezTo>
                    <a:pt x="38225" y="-11688"/>
                    <a:pt x="72421" y="5409"/>
                    <a:pt x="83819" y="19657"/>
                  </a:cubicBezTo>
                  <a:cubicBezTo>
                    <a:pt x="86669" y="22507"/>
                    <a:pt x="86669" y="28206"/>
                    <a:pt x="83819" y="31056"/>
                  </a:cubicBezTo>
                  <a:cubicBezTo>
                    <a:pt x="83819" y="33905"/>
                    <a:pt x="83819" y="33905"/>
                    <a:pt x="80969" y="33905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9" name="任意多边形: 形状 378">
              <a:extLst>
                <a:ext uri="{FF2B5EF4-FFF2-40B4-BE49-F238E27FC236}">
                  <a16:creationId xmlns:a16="http://schemas.microsoft.com/office/drawing/2014/main" id="{69A72189-7430-466E-B9E4-BC92276AE153}"/>
                </a:ext>
              </a:extLst>
            </p:cNvPr>
            <p:cNvSpPr/>
            <p:nvPr/>
          </p:nvSpPr>
          <p:spPr>
            <a:xfrm>
              <a:off x="7747703" y="2898083"/>
              <a:ext cx="258548" cy="241917"/>
            </a:xfrm>
            <a:custGeom>
              <a:avLst/>
              <a:gdLst>
                <a:gd name="connsiteX0" fmla="*/ 256594 w 258548"/>
                <a:gd name="connsiteY0" fmla="*/ 2551 h 241917"/>
                <a:gd name="connsiteX1" fmla="*/ 222398 w 258548"/>
                <a:gd name="connsiteY1" fmla="*/ 122234 h 241917"/>
                <a:gd name="connsiteX2" fmla="*/ 129 w 258548"/>
                <a:gd name="connsiteY2" fmla="*/ 241917 h 241917"/>
                <a:gd name="connsiteX3" fmla="*/ 256594 w 258548"/>
                <a:gd name="connsiteY3" fmla="*/ 2551 h 241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8548" h="241917">
                  <a:moveTo>
                    <a:pt x="256594" y="2551"/>
                  </a:moveTo>
                  <a:cubicBezTo>
                    <a:pt x="256594" y="2551"/>
                    <a:pt x="270842" y="85189"/>
                    <a:pt x="222398" y="122234"/>
                  </a:cubicBezTo>
                  <a:cubicBezTo>
                    <a:pt x="222398" y="122234"/>
                    <a:pt x="25775" y="162129"/>
                    <a:pt x="129" y="241917"/>
                  </a:cubicBezTo>
                  <a:cubicBezTo>
                    <a:pt x="129" y="239068"/>
                    <a:pt x="-14119" y="-28795"/>
                    <a:pt x="256594" y="2551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0" name="任意多边形: 形状 379">
              <a:extLst>
                <a:ext uri="{FF2B5EF4-FFF2-40B4-BE49-F238E27FC236}">
                  <a16:creationId xmlns:a16="http://schemas.microsoft.com/office/drawing/2014/main" id="{B4B5BD12-5D2D-4772-B740-4FFA2486D442}"/>
                </a:ext>
              </a:extLst>
            </p:cNvPr>
            <p:cNvSpPr/>
            <p:nvPr/>
          </p:nvSpPr>
          <p:spPr>
            <a:xfrm>
              <a:off x="7970102" y="2900633"/>
              <a:ext cx="209604" cy="293971"/>
            </a:xfrm>
            <a:custGeom>
              <a:avLst/>
              <a:gdLst>
                <a:gd name="connsiteX0" fmla="*/ 0 w 209604"/>
                <a:gd name="connsiteY0" fmla="*/ 119683 h 293971"/>
                <a:gd name="connsiteX1" fmla="*/ 131082 w 209604"/>
                <a:gd name="connsiteY1" fmla="*/ 170976 h 293971"/>
                <a:gd name="connsiteX2" fmla="*/ 185224 w 209604"/>
                <a:gd name="connsiteY2" fmla="*/ 282111 h 293971"/>
                <a:gd name="connsiteX3" fmla="*/ 208021 w 209604"/>
                <a:gd name="connsiteY3" fmla="*/ 279261 h 293971"/>
                <a:gd name="connsiteX4" fmla="*/ 31345 w 209604"/>
                <a:gd name="connsiteY4" fmla="*/ 0 h 293971"/>
                <a:gd name="connsiteX5" fmla="*/ 0 w 209604"/>
                <a:gd name="connsiteY5" fmla="*/ 119683 h 293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604" h="293971">
                  <a:moveTo>
                    <a:pt x="0" y="119683"/>
                  </a:moveTo>
                  <a:cubicBezTo>
                    <a:pt x="0" y="119683"/>
                    <a:pt x="85488" y="165277"/>
                    <a:pt x="131082" y="170976"/>
                  </a:cubicBezTo>
                  <a:cubicBezTo>
                    <a:pt x="179525" y="176675"/>
                    <a:pt x="185224" y="282111"/>
                    <a:pt x="185224" y="282111"/>
                  </a:cubicBezTo>
                  <a:cubicBezTo>
                    <a:pt x="185224" y="282111"/>
                    <a:pt x="205171" y="310607"/>
                    <a:pt x="208021" y="279261"/>
                  </a:cubicBezTo>
                  <a:cubicBezTo>
                    <a:pt x="213720" y="205172"/>
                    <a:pt x="213720" y="19947"/>
                    <a:pt x="31345" y="0"/>
                  </a:cubicBezTo>
                  <a:cubicBezTo>
                    <a:pt x="34195" y="0"/>
                    <a:pt x="22797" y="113984"/>
                    <a:pt x="0" y="119683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1" name="任意多边形: 形状 380">
              <a:extLst>
                <a:ext uri="{FF2B5EF4-FFF2-40B4-BE49-F238E27FC236}">
                  <a16:creationId xmlns:a16="http://schemas.microsoft.com/office/drawing/2014/main" id="{50B312A1-C6A3-4674-AA89-DFB8CB5D22C1}"/>
                </a:ext>
              </a:extLst>
            </p:cNvPr>
            <p:cNvSpPr/>
            <p:nvPr/>
          </p:nvSpPr>
          <p:spPr>
            <a:xfrm>
              <a:off x="7964403" y="2940528"/>
              <a:ext cx="148179" cy="133931"/>
            </a:xfrm>
            <a:custGeom>
              <a:avLst/>
              <a:gdLst>
                <a:gd name="connsiteX0" fmla="*/ 139630 w 148179"/>
                <a:gd name="connsiteY0" fmla="*/ 133931 h 133931"/>
                <a:gd name="connsiteX1" fmla="*/ 139630 w 148179"/>
                <a:gd name="connsiteY1" fmla="*/ 133931 h 133931"/>
                <a:gd name="connsiteX2" fmla="*/ 48443 w 148179"/>
                <a:gd name="connsiteY2" fmla="*/ 102586 h 133931"/>
                <a:gd name="connsiteX3" fmla="*/ 5699 w 148179"/>
                <a:gd name="connsiteY3" fmla="*/ 79789 h 133931"/>
                <a:gd name="connsiteX4" fmla="*/ 0 w 148179"/>
                <a:gd name="connsiteY4" fmla="*/ 76939 h 133931"/>
                <a:gd name="connsiteX5" fmla="*/ 2849 w 148179"/>
                <a:gd name="connsiteY5" fmla="*/ 71240 h 133931"/>
                <a:gd name="connsiteX6" fmla="*/ 28496 w 148179"/>
                <a:gd name="connsiteY6" fmla="*/ 5699 h 133931"/>
                <a:gd name="connsiteX7" fmla="*/ 34195 w 148179"/>
                <a:gd name="connsiteY7" fmla="*/ 0 h 133931"/>
                <a:gd name="connsiteX8" fmla="*/ 34195 w 148179"/>
                <a:gd name="connsiteY8" fmla="*/ 0 h 133931"/>
                <a:gd name="connsiteX9" fmla="*/ 39894 w 148179"/>
                <a:gd name="connsiteY9" fmla="*/ 5699 h 133931"/>
                <a:gd name="connsiteX10" fmla="*/ 17097 w 148179"/>
                <a:gd name="connsiteY10" fmla="*/ 71240 h 133931"/>
                <a:gd name="connsiteX11" fmla="*/ 54142 w 148179"/>
                <a:gd name="connsiteY11" fmla="*/ 91187 h 133931"/>
                <a:gd name="connsiteX12" fmla="*/ 142480 w 148179"/>
                <a:gd name="connsiteY12" fmla="*/ 119683 h 133931"/>
                <a:gd name="connsiteX13" fmla="*/ 148179 w 148179"/>
                <a:gd name="connsiteY13" fmla="*/ 125383 h 133931"/>
                <a:gd name="connsiteX14" fmla="*/ 139630 w 148179"/>
                <a:gd name="connsiteY14" fmla="*/ 133931 h 13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8179" h="133931">
                  <a:moveTo>
                    <a:pt x="139630" y="133931"/>
                  </a:moveTo>
                  <a:cubicBezTo>
                    <a:pt x="139630" y="133931"/>
                    <a:pt x="139630" y="133931"/>
                    <a:pt x="139630" y="133931"/>
                  </a:cubicBezTo>
                  <a:cubicBezTo>
                    <a:pt x="111134" y="131082"/>
                    <a:pt x="79789" y="119683"/>
                    <a:pt x="48443" y="102586"/>
                  </a:cubicBezTo>
                  <a:cubicBezTo>
                    <a:pt x="22796" y="91187"/>
                    <a:pt x="5699" y="79789"/>
                    <a:pt x="5699" y="79789"/>
                  </a:cubicBezTo>
                  <a:lnTo>
                    <a:pt x="0" y="76939"/>
                  </a:lnTo>
                  <a:lnTo>
                    <a:pt x="2849" y="71240"/>
                  </a:lnTo>
                  <a:cubicBezTo>
                    <a:pt x="8548" y="65541"/>
                    <a:pt x="25646" y="28496"/>
                    <a:pt x="28496" y="5699"/>
                  </a:cubicBezTo>
                  <a:cubicBezTo>
                    <a:pt x="28496" y="2850"/>
                    <a:pt x="31345" y="0"/>
                    <a:pt x="34195" y="0"/>
                  </a:cubicBezTo>
                  <a:cubicBezTo>
                    <a:pt x="34195" y="0"/>
                    <a:pt x="34195" y="0"/>
                    <a:pt x="34195" y="0"/>
                  </a:cubicBezTo>
                  <a:cubicBezTo>
                    <a:pt x="37045" y="0"/>
                    <a:pt x="39894" y="2850"/>
                    <a:pt x="39894" y="5699"/>
                  </a:cubicBezTo>
                  <a:cubicBezTo>
                    <a:pt x="39894" y="28496"/>
                    <a:pt x="25646" y="59842"/>
                    <a:pt x="17097" y="71240"/>
                  </a:cubicBezTo>
                  <a:cubicBezTo>
                    <a:pt x="22796" y="74090"/>
                    <a:pt x="37045" y="82638"/>
                    <a:pt x="54142" y="91187"/>
                  </a:cubicBezTo>
                  <a:cubicBezTo>
                    <a:pt x="85488" y="105435"/>
                    <a:pt x="116834" y="116834"/>
                    <a:pt x="142480" y="119683"/>
                  </a:cubicBezTo>
                  <a:cubicBezTo>
                    <a:pt x="145330" y="119683"/>
                    <a:pt x="148179" y="122533"/>
                    <a:pt x="148179" y="125383"/>
                  </a:cubicBezTo>
                  <a:cubicBezTo>
                    <a:pt x="145330" y="131082"/>
                    <a:pt x="142480" y="133931"/>
                    <a:pt x="139630" y="133931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2" name="任意多边形: 形状 381">
              <a:extLst>
                <a:ext uri="{FF2B5EF4-FFF2-40B4-BE49-F238E27FC236}">
                  <a16:creationId xmlns:a16="http://schemas.microsoft.com/office/drawing/2014/main" id="{BF37089B-40BF-4923-826F-4548B9AD41C5}"/>
                </a:ext>
              </a:extLst>
            </p:cNvPr>
            <p:cNvSpPr/>
            <p:nvPr/>
          </p:nvSpPr>
          <p:spPr>
            <a:xfrm>
              <a:off x="7859679" y="3389585"/>
              <a:ext cx="208489" cy="75269"/>
            </a:xfrm>
            <a:custGeom>
              <a:avLst/>
              <a:gdLst>
                <a:gd name="connsiteX0" fmla="*/ 67678 w 208489"/>
                <a:gd name="connsiteY0" fmla="*/ 75270 h 75269"/>
                <a:gd name="connsiteX1" fmla="*/ 2137 w 208489"/>
                <a:gd name="connsiteY1" fmla="*/ 49624 h 75269"/>
                <a:gd name="connsiteX2" fmla="*/ 2137 w 208489"/>
                <a:gd name="connsiteY2" fmla="*/ 41075 h 75269"/>
                <a:gd name="connsiteX3" fmla="*/ 10686 w 208489"/>
                <a:gd name="connsiteY3" fmla="*/ 41075 h 75269"/>
                <a:gd name="connsiteX4" fmla="*/ 76227 w 208489"/>
                <a:gd name="connsiteY4" fmla="*/ 63872 h 75269"/>
                <a:gd name="connsiteX5" fmla="*/ 198760 w 208489"/>
                <a:gd name="connsiteY5" fmla="*/ 1180 h 75269"/>
                <a:gd name="connsiteX6" fmla="*/ 207309 w 208489"/>
                <a:gd name="connsiteY6" fmla="*/ 4030 h 75269"/>
                <a:gd name="connsiteX7" fmla="*/ 204459 w 208489"/>
                <a:gd name="connsiteY7" fmla="*/ 12579 h 75269"/>
                <a:gd name="connsiteX8" fmla="*/ 76227 w 208489"/>
                <a:gd name="connsiteY8" fmla="*/ 75270 h 75269"/>
                <a:gd name="connsiteX9" fmla="*/ 67678 w 208489"/>
                <a:gd name="connsiteY9" fmla="*/ 75270 h 75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8489" h="75269">
                  <a:moveTo>
                    <a:pt x="67678" y="75270"/>
                  </a:moveTo>
                  <a:cubicBezTo>
                    <a:pt x="30633" y="75270"/>
                    <a:pt x="4987" y="49624"/>
                    <a:pt x="2137" y="49624"/>
                  </a:cubicBezTo>
                  <a:cubicBezTo>
                    <a:pt x="-712" y="46774"/>
                    <a:pt x="-712" y="43924"/>
                    <a:pt x="2137" y="41075"/>
                  </a:cubicBezTo>
                  <a:cubicBezTo>
                    <a:pt x="4987" y="38225"/>
                    <a:pt x="7836" y="38225"/>
                    <a:pt x="10686" y="41075"/>
                  </a:cubicBezTo>
                  <a:cubicBezTo>
                    <a:pt x="10686" y="41075"/>
                    <a:pt x="42032" y="69571"/>
                    <a:pt x="76227" y="63872"/>
                  </a:cubicBezTo>
                  <a:cubicBezTo>
                    <a:pt x="113272" y="58172"/>
                    <a:pt x="198760" y="1180"/>
                    <a:pt x="198760" y="1180"/>
                  </a:cubicBezTo>
                  <a:cubicBezTo>
                    <a:pt x="201610" y="-1669"/>
                    <a:pt x="204459" y="1180"/>
                    <a:pt x="207309" y="4030"/>
                  </a:cubicBezTo>
                  <a:cubicBezTo>
                    <a:pt x="210159" y="6880"/>
                    <a:pt x="207309" y="9729"/>
                    <a:pt x="204459" y="12579"/>
                  </a:cubicBezTo>
                  <a:cubicBezTo>
                    <a:pt x="201610" y="15428"/>
                    <a:pt x="116122" y="72420"/>
                    <a:pt x="76227" y="75270"/>
                  </a:cubicBezTo>
                  <a:cubicBezTo>
                    <a:pt x="73377" y="75270"/>
                    <a:pt x="70528" y="75270"/>
                    <a:pt x="67678" y="75270"/>
                  </a:cubicBezTo>
                  <a:close/>
                </a:path>
              </a:pathLst>
            </a:custGeom>
            <a:solidFill>
              <a:srgbClr val="E58777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3" name="任意多边形: 形状 382">
              <a:extLst>
                <a:ext uri="{FF2B5EF4-FFF2-40B4-BE49-F238E27FC236}">
                  <a16:creationId xmlns:a16="http://schemas.microsoft.com/office/drawing/2014/main" id="{17DA5251-B070-4330-8697-EF342A3C091A}"/>
                </a:ext>
              </a:extLst>
            </p:cNvPr>
            <p:cNvSpPr/>
            <p:nvPr/>
          </p:nvSpPr>
          <p:spPr>
            <a:xfrm>
              <a:off x="8122714" y="3167108"/>
              <a:ext cx="73780" cy="106598"/>
            </a:xfrm>
            <a:custGeom>
              <a:avLst/>
              <a:gdLst>
                <a:gd name="connsiteX0" fmla="*/ 12665 w 73780"/>
                <a:gd name="connsiteY0" fmla="*/ 15636 h 106598"/>
                <a:gd name="connsiteX1" fmla="*/ 66807 w 73780"/>
                <a:gd name="connsiteY1" fmla="*/ 7087 h 106598"/>
                <a:gd name="connsiteX2" fmla="*/ 12665 w 73780"/>
                <a:gd name="connsiteY2" fmla="*/ 103973 h 106598"/>
                <a:gd name="connsiteX3" fmla="*/ 12665 w 73780"/>
                <a:gd name="connsiteY3" fmla="*/ 15636 h 106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780" h="106598">
                  <a:moveTo>
                    <a:pt x="12665" y="15636"/>
                  </a:moveTo>
                  <a:cubicBezTo>
                    <a:pt x="12665" y="15636"/>
                    <a:pt x="44010" y="-12860"/>
                    <a:pt x="66807" y="7087"/>
                  </a:cubicBezTo>
                  <a:cubicBezTo>
                    <a:pt x="89604" y="24184"/>
                    <a:pt x="52559" y="123921"/>
                    <a:pt x="12665" y="103973"/>
                  </a:cubicBezTo>
                  <a:cubicBezTo>
                    <a:pt x="-15831" y="86876"/>
                    <a:pt x="12665" y="15636"/>
                    <a:pt x="12665" y="15636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4" name="任意多边形: 形状 383">
              <a:extLst>
                <a:ext uri="{FF2B5EF4-FFF2-40B4-BE49-F238E27FC236}">
                  <a16:creationId xmlns:a16="http://schemas.microsoft.com/office/drawing/2014/main" id="{F87CE80D-4D5A-4C7E-B2D4-0B7EAE2AD49F}"/>
                </a:ext>
              </a:extLst>
            </p:cNvPr>
            <p:cNvSpPr/>
            <p:nvPr/>
          </p:nvSpPr>
          <p:spPr>
            <a:xfrm>
              <a:off x="7742133" y="3011768"/>
              <a:ext cx="233667" cy="148179"/>
            </a:xfrm>
            <a:custGeom>
              <a:avLst/>
              <a:gdLst>
                <a:gd name="connsiteX0" fmla="*/ 5699 w 233667"/>
                <a:gd name="connsiteY0" fmla="*/ 148179 h 148179"/>
                <a:gd name="connsiteX1" fmla="*/ 5699 w 233667"/>
                <a:gd name="connsiteY1" fmla="*/ 148179 h 148179"/>
                <a:gd name="connsiteX2" fmla="*/ 0 w 233667"/>
                <a:gd name="connsiteY2" fmla="*/ 142480 h 148179"/>
                <a:gd name="connsiteX3" fmla="*/ 102585 w 233667"/>
                <a:gd name="connsiteY3" fmla="*/ 42744 h 148179"/>
                <a:gd name="connsiteX4" fmla="*/ 227968 w 233667"/>
                <a:gd name="connsiteY4" fmla="*/ 0 h 148179"/>
                <a:gd name="connsiteX5" fmla="*/ 233667 w 233667"/>
                <a:gd name="connsiteY5" fmla="*/ 2850 h 148179"/>
                <a:gd name="connsiteX6" fmla="*/ 230818 w 233667"/>
                <a:gd name="connsiteY6" fmla="*/ 8549 h 148179"/>
                <a:gd name="connsiteX7" fmla="*/ 105435 w 233667"/>
                <a:gd name="connsiteY7" fmla="*/ 51293 h 148179"/>
                <a:gd name="connsiteX8" fmla="*/ 11398 w 233667"/>
                <a:gd name="connsiteY8" fmla="*/ 142480 h 148179"/>
                <a:gd name="connsiteX9" fmla="*/ 5699 w 233667"/>
                <a:gd name="connsiteY9" fmla="*/ 148179 h 148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3667" h="148179">
                  <a:moveTo>
                    <a:pt x="5699" y="148179"/>
                  </a:moveTo>
                  <a:cubicBezTo>
                    <a:pt x="5699" y="148179"/>
                    <a:pt x="5699" y="148179"/>
                    <a:pt x="5699" y="148179"/>
                  </a:cubicBezTo>
                  <a:cubicBezTo>
                    <a:pt x="2849" y="148179"/>
                    <a:pt x="0" y="145330"/>
                    <a:pt x="0" y="142480"/>
                  </a:cubicBezTo>
                  <a:cubicBezTo>
                    <a:pt x="11398" y="79789"/>
                    <a:pt x="54142" y="56992"/>
                    <a:pt x="102585" y="42744"/>
                  </a:cubicBezTo>
                  <a:cubicBezTo>
                    <a:pt x="165277" y="25646"/>
                    <a:pt x="225119" y="0"/>
                    <a:pt x="227968" y="0"/>
                  </a:cubicBezTo>
                  <a:cubicBezTo>
                    <a:pt x="230818" y="0"/>
                    <a:pt x="233667" y="0"/>
                    <a:pt x="233667" y="2850"/>
                  </a:cubicBezTo>
                  <a:cubicBezTo>
                    <a:pt x="233667" y="5699"/>
                    <a:pt x="233667" y="8549"/>
                    <a:pt x="230818" y="8549"/>
                  </a:cubicBezTo>
                  <a:cubicBezTo>
                    <a:pt x="230818" y="8549"/>
                    <a:pt x="168126" y="31346"/>
                    <a:pt x="105435" y="51293"/>
                  </a:cubicBezTo>
                  <a:cubicBezTo>
                    <a:pt x="54142" y="65541"/>
                    <a:pt x="19947" y="88338"/>
                    <a:pt x="11398" y="142480"/>
                  </a:cubicBezTo>
                  <a:cubicBezTo>
                    <a:pt x="11398" y="145330"/>
                    <a:pt x="8549" y="148179"/>
                    <a:pt x="5699" y="148179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85" name="图形 1">
              <a:extLst>
                <a:ext uri="{FF2B5EF4-FFF2-40B4-BE49-F238E27FC236}">
                  <a16:creationId xmlns:a16="http://schemas.microsoft.com/office/drawing/2014/main" id="{58D81753-55C3-41A2-AA4D-8F7FE56DBEEA}"/>
                </a:ext>
              </a:extLst>
            </p:cNvPr>
            <p:cNvGrpSpPr/>
            <p:nvPr/>
          </p:nvGrpSpPr>
          <p:grpSpPr>
            <a:xfrm>
              <a:off x="7713194" y="3093872"/>
              <a:ext cx="479176" cy="180059"/>
              <a:chOff x="7713194" y="3093872"/>
              <a:chExt cx="479176" cy="180059"/>
            </a:xfrm>
          </p:grpSpPr>
          <p:sp>
            <p:nvSpPr>
              <p:cNvPr id="386" name="任意多边形: 形状 385">
                <a:extLst>
                  <a:ext uri="{FF2B5EF4-FFF2-40B4-BE49-F238E27FC236}">
                    <a16:creationId xmlns:a16="http://schemas.microsoft.com/office/drawing/2014/main" id="{ABA75752-5389-49C9-AFD6-1EB9F88930AD}"/>
                  </a:ext>
                </a:extLst>
              </p:cNvPr>
              <p:cNvSpPr/>
              <p:nvPr/>
            </p:nvSpPr>
            <p:spPr>
              <a:xfrm>
                <a:off x="8109732" y="3148549"/>
                <a:ext cx="82638" cy="68536"/>
              </a:xfrm>
              <a:custGeom>
                <a:avLst/>
                <a:gdLst>
                  <a:gd name="connsiteX0" fmla="*/ 5699 w 82638"/>
                  <a:gd name="connsiteY0" fmla="*/ 31346 h 68536"/>
                  <a:gd name="connsiteX1" fmla="*/ 82639 w 82638"/>
                  <a:gd name="connsiteY1" fmla="*/ 0 h 68536"/>
                  <a:gd name="connsiteX2" fmla="*/ 68391 w 82638"/>
                  <a:gd name="connsiteY2" fmla="*/ 31346 h 68536"/>
                  <a:gd name="connsiteX3" fmla="*/ 0 w 82638"/>
                  <a:gd name="connsiteY3" fmla="*/ 68391 h 68536"/>
                  <a:gd name="connsiteX4" fmla="*/ 5699 w 82638"/>
                  <a:gd name="connsiteY4" fmla="*/ 31346 h 68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638" h="68536">
                    <a:moveTo>
                      <a:pt x="5699" y="31346"/>
                    </a:moveTo>
                    <a:cubicBezTo>
                      <a:pt x="5699" y="31346"/>
                      <a:pt x="48443" y="25646"/>
                      <a:pt x="82639" y="0"/>
                    </a:cubicBezTo>
                    <a:cubicBezTo>
                      <a:pt x="82639" y="0"/>
                      <a:pt x="76939" y="22797"/>
                      <a:pt x="68391" y="31346"/>
                    </a:cubicBezTo>
                    <a:cubicBezTo>
                      <a:pt x="68391" y="31346"/>
                      <a:pt x="37045" y="71240"/>
                      <a:pt x="0" y="68391"/>
                    </a:cubicBezTo>
                    <a:lnTo>
                      <a:pt x="5699" y="31346"/>
                    </a:ln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7" name="任意多边形: 形状 386">
                <a:extLst>
                  <a:ext uri="{FF2B5EF4-FFF2-40B4-BE49-F238E27FC236}">
                    <a16:creationId xmlns:a16="http://schemas.microsoft.com/office/drawing/2014/main" id="{6222E1F5-F6BA-4C5E-937D-81D8F8C1EB83}"/>
                  </a:ext>
                </a:extLst>
              </p:cNvPr>
              <p:cNvSpPr/>
              <p:nvPr/>
            </p:nvSpPr>
            <p:spPr>
              <a:xfrm>
                <a:off x="7719336" y="3093872"/>
                <a:ext cx="410888" cy="180059"/>
              </a:xfrm>
              <a:custGeom>
                <a:avLst/>
                <a:gdLst>
                  <a:gd name="connsiteX0" fmla="*/ 0 w 410888"/>
                  <a:gd name="connsiteY0" fmla="*/ 31880 h 180059"/>
                  <a:gd name="connsiteX1" fmla="*/ 17098 w 410888"/>
                  <a:gd name="connsiteY1" fmla="*/ 40429 h 180059"/>
                  <a:gd name="connsiteX2" fmla="*/ 37045 w 410888"/>
                  <a:gd name="connsiteY2" fmla="*/ 37579 h 180059"/>
                  <a:gd name="connsiteX3" fmla="*/ 42744 w 410888"/>
                  <a:gd name="connsiteY3" fmla="*/ 123067 h 180059"/>
                  <a:gd name="connsiteX4" fmla="*/ 65541 w 410888"/>
                  <a:gd name="connsiteY4" fmla="*/ 143015 h 180059"/>
                  <a:gd name="connsiteX5" fmla="*/ 336253 w 410888"/>
                  <a:gd name="connsiteY5" fmla="*/ 160112 h 180059"/>
                  <a:gd name="connsiteX6" fmla="*/ 336253 w 410888"/>
                  <a:gd name="connsiteY6" fmla="*/ 180059 h 180059"/>
                  <a:gd name="connsiteX7" fmla="*/ 378997 w 410888"/>
                  <a:gd name="connsiteY7" fmla="*/ 162962 h 180059"/>
                  <a:gd name="connsiteX8" fmla="*/ 381847 w 410888"/>
                  <a:gd name="connsiteY8" fmla="*/ 162962 h 180059"/>
                  <a:gd name="connsiteX9" fmla="*/ 381847 w 410888"/>
                  <a:gd name="connsiteY9" fmla="*/ 162962 h 180059"/>
                  <a:gd name="connsiteX10" fmla="*/ 381847 w 410888"/>
                  <a:gd name="connsiteY10" fmla="*/ 162962 h 180059"/>
                  <a:gd name="connsiteX11" fmla="*/ 393245 w 410888"/>
                  <a:gd name="connsiteY11" fmla="*/ 148714 h 180059"/>
                  <a:gd name="connsiteX12" fmla="*/ 410343 w 410888"/>
                  <a:gd name="connsiteY12" fmla="*/ 48978 h 180059"/>
                  <a:gd name="connsiteX13" fmla="*/ 390396 w 410888"/>
                  <a:gd name="connsiteY13" fmla="*/ 26181 h 180059"/>
                  <a:gd name="connsiteX14" fmla="*/ 62691 w 410888"/>
                  <a:gd name="connsiteY14" fmla="*/ 534 h 180059"/>
                  <a:gd name="connsiteX15" fmla="*/ 48443 w 410888"/>
                  <a:gd name="connsiteY15" fmla="*/ 6234 h 180059"/>
                  <a:gd name="connsiteX16" fmla="*/ 48443 w 410888"/>
                  <a:gd name="connsiteY16" fmla="*/ 6234 h 180059"/>
                  <a:gd name="connsiteX17" fmla="*/ 0 w 410888"/>
                  <a:gd name="connsiteY17" fmla="*/ 31880 h 180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10888" h="180059">
                    <a:moveTo>
                      <a:pt x="0" y="31880"/>
                    </a:moveTo>
                    <a:cubicBezTo>
                      <a:pt x="5699" y="34730"/>
                      <a:pt x="11398" y="37579"/>
                      <a:pt x="17098" y="40429"/>
                    </a:cubicBezTo>
                    <a:cubicBezTo>
                      <a:pt x="22797" y="40429"/>
                      <a:pt x="28496" y="37579"/>
                      <a:pt x="37045" y="37579"/>
                    </a:cubicBezTo>
                    <a:cubicBezTo>
                      <a:pt x="37045" y="66075"/>
                      <a:pt x="39894" y="94571"/>
                      <a:pt x="42744" y="123067"/>
                    </a:cubicBezTo>
                    <a:cubicBezTo>
                      <a:pt x="42744" y="134466"/>
                      <a:pt x="54142" y="143015"/>
                      <a:pt x="65541" y="143015"/>
                    </a:cubicBezTo>
                    <a:cubicBezTo>
                      <a:pt x="156728" y="140165"/>
                      <a:pt x="247915" y="145864"/>
                      <a:pt x="336253" y="160112"/>
                    </a:cubicBezTo>
                    <a:cubicBezTo>
                      <a:pt x="336253" y="165811"/>
                      <a:pt x="336253" y="174360"/>
                      <a:pt x="336253" y="180059"/>
                    </a:cubicBezTo>
                    <a:cubicBezTo>
                      <a:pt x="350501" y="174360"/>
                      <a:pt x="364749" y="168661"/>
                      <a:pt x="378997" y="162962"/>
                    </a:cubicBezTo>
                    <a:cubicBezTo>
                      <a:pt x="378997" y="162962"/>
                      <a:pt x="381847" y="162962"/>
                      <a:pt x="381847" y="162962"/>
                    </a:cubicBezTo>
                    <a:lnTo>
                      <a:pt x="381847" y="162962"/>
                    </a:lnTo>
                    <a:lnTo>
                      <a:pt x="381847" y="162962"/>
                    </a:lnTo>
                    <a:cubicBezTo>
                      <a:pt x="387546" y="160112"/>
                      <a:pt x="393245" y="154413"/>
                      <a:pt x="393245" y="148714"/>
                    </a:cubicBezTo>
                    <a:cubicBezTo>
                      <a:pt x="398945" y="114518"/>
                      <a:pt x="404644" y="80323"/>
                      <a:pt x="410343" y="48978"/>
                    </a:cubicBezTo>
                    <a:cubicBezTo>
                      <a:pt x="413193" y="37579"/>
                      <a:pt x="404644" y="29030"/>
                      <a:pt x="390396" y="26181"/>
                    </a:cubicBezTo>
                    <a:cubicBezTo>
                      <a:pt x="282111" y="6234"/>
                      <a:pt x="173826" y="-2315"/>
                      <a:pt x="62691" y="534"/>
                    </a:cubicBezTo>
                    <a:cubicBezTo>
                      <a:pt x="56992" y="534"/>
                      <a:pt x="51293" y="3384"/>
                      <a:pt x="48443" y="6234"/>
                    </a:cubicBezTo>
                    <a:lnTo>
                      <a:pt x="48443" y="6234"/>
                    </a:lnTo>
                    <a:cubicBezTo>
                      <a:pt x="28496" y="14782"/>
                      <a:pt x="14248" y="23331"/>
                      <a:pt x="0" y="3188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388" name="图形 1">
                <a:extLst>
                  <a:ext uri="{FF2B5EF4-FFF2-40B4-BE49-F238E27FC236}">
                    <a16:creationId xmlns:a16="http://schemas.microsoft.com/office/drawing/2014/main" id="{58D81753-55C3-41A2-AA4D-8F7FE56DBEEA}"/>
                  </a:ext>
                </a:extLst>
              </p:cNvPr>
              <p:cNvGrpSpPr/>
              <p:nvPr/>
            </p:nvGrpSpPr>
            <p:grpSpPr>
              <a:xfrm>
                <a:off x="7713194" y="3117869"/>
                <a:ext cx="368484" cy="156062"/>
                <a:chOff x="7713194" y="3117869"/>
                <a:chExt cx="368484" cy="156062"/>
              </a:xfrm>
            </p:grpSpPr>
            <p:sp>
              <p:nvSpPr>
                <p:cNvPr id="389" name="任意多边形: 形状 388">
                  <a:extLst>
                    <a:ext uri="{FF2B5EF4-FFF2-40B4-BE49-F238E27FC236}">
                      <a16:creationId xmlns:a16="http://schemas.microsoft.com/office/drawing/2014/main" id="{9DC20A82-0E67-43D6-A367-33D0938C4A9B}"/>
                    </a:ext>
                  </a:extLst>
                </p:cNvPr>
                <p:cNvSpPr/>
                <p:nvPr/>
              </p:nvSpPr>
              <p:spPr>
                <a:xfrm>
                  <a:off x="7713194" y="3117869"/>
                  <a:ext cx="368484" cy="156062"/>
                </a:xfrm>
                <a:custGeom>
                  <a:avLst/>
                  <a:gdLst>
                    <a:gd name="connsiteX0" fmla="*/ 20390 w 368484"/>
                    <a:gd name="connsiteY0" fmla="*/ 2184 h 156062"/>
                    <a:gd name="connsiteX1" fmla="*/ 348095 w 368484"/>
                    <a:gd name="connsiteY1" fmla="*/ 16432 h 156062"/>
                    <a:gd name="connsiteX2" fmla="*/ 368042 w 368484"/>
                    <a:gd name="connsiteY2" fmla="*/ 39229 h 156062"/>
                    <a:gd name="connsiteX3" fmla="*/ 353794 w 368484"/>
                    <a:gd name="connsiteY3" fmla="*/ 138965 h 156062"/>
                    <a:gd name="connsiteX4" fmla="*/ 330997 w 368484"/>
                    <a:gd name="connsiteY4" fmla="*/ 156063 h 156062"/>
                    <a:gd name="connsiteX5" fmla="*/ 31788 w 368484"/>
                    <a:gd name="connsiteY5" fmla="*/ 141815 h 156062"/>
                    <a:gd name="connsiteX6" fmla="*/ 8992 w 368484"/>
                    <a:gd name="connsiteY6" fmla="*/ 124717 h 156062"/>
                    <a:gd name="connsiteX7" fmla="*/ 443 w 368484"/>
                    <a:gd name="connsiteY7" fmla="*/ 22131 h 156062"/>
                    <a:gd name="connsiteX8" fmla="*/ 20390 w 368484"/>
                    <a:gd name="connsiteY8" fmla="*/ 2184 h 156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8484" h="156062">
                      <a:moveTo>
                        <a:pt x="20390" y="2184"/>
                      </a:moveTo>
                      <a:cubicBezTo>
                        <a:pt x="131524" y="-3515"/>
                        <a:pt x="239810" y="2184"/>
                        <a:pt x="348095" y="16432"/>
                      </a:cubicBezTo>
                      <a:cubicBezTo>
                        <a:pt x="359493" y="19282"/>
                        <a:pt x="370891" y="27830"/>
                        <a:pt x="368042" y="39229"/>
                      </a:cubicBezTo>
                      <a:cubicBezTo>
                        <a:pt x="362343" y="73424"/>
                        <a:pt x="359493" y="107619"/>
                        <a:pt x="353794" y="138965"/>
                      </a:cubicBezTo>
                      <a:cubicBezTo>
                        <a:pt x="350944" y="150363"/>
                        <a:pt x="342395" y="156063"/>
                        <a:pt x="330997" y="156063"/>
                      </a:cubicBezTo>
                      <a:cubicBezTo>
                        <a:pt x="234110" y="141815"/>
                        <a:pt x="134374" y="136115"/>
                        <a:pt x="31788" y="141815"/>
                      </a:cubicBezTo>
                      <a:cubicBezTo>
                        <a:pt x="20390" y="141815"/>
                        <a:pt x="8992" y="133266"/>
                        <a:pt x="8992" y="124717"/>
                      </a:cubicBezTo>
                      <a:cubicBezTo>
                        <a:pt x="6142" y="90522"/>
                        <a:pt x="3292" y="56326"/>
                        <a:pt x="443" y="22131"/>
                      </a:cubicBezTo>
                      <a:cubicBezTo>
                        <a:pt x="-2407" y="10733"/>
                        <a:pt x="8992" y="2184"/>
                        <a:pt x="20390" y="2184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90" name="任意多边形: 形状 389">
                  <a:extLst>
                    <a:ext uri="{FF2B5EF4-FFF2-40B4-BE49-F238E27FC236}">
                      <a16:creationId xmlns:a16="http://schemas.microsoft.com/office/drawing/2014/main" id="{51DF8FCA-BA00-4804-AED5-5F6FEE363422}"/>
                    </a:ext>
                  </a:extLst>
                </p:cNvPr>
                <p:cNvSpPr/>
                <p:nvPr/>
              </p:nvSpPr>
              <p:spPr>
                <a:xfrm>
                  <a:off x="7736434" y="3127609"/>
                  <a:ext cx="322557" cy="138332"/>
                </a:xfrm>
                <a:custGeom>
                  <a:avLst/>
                  <a:gdLst>
                    <a:gd name="connsiteX0" fmla="*/ 19947 w 322557"/>
                    <a:gd name="connsiteY0" fmla="*/ 993 h 138332"/>
                    <a:gd name="connsiteX1" fmla="*/ 304908 w 322557"/>
                    <a:gd name="connsiteY1" fmla="*/ 15241 h 138332"/>
                    <a:gd name="connsiteX2" fmla="*/ 322005 w 322557"/>
                    <a:gd name="connsiteY2" fmla="*/ 35188 h 138332"/>
                    <a:gd name="connsiteX3" fmla="*/ 310607 w 322557"/>
                    <a:gd name="connsiteY3" fmla="*/ 123526 h 138332"/>
                    <a:gd name="connsiteX4" fmla="*/ 290660 w 322557"/>
                    <a:gd name="connsiteY4" fmla="*/ 137774 h 138332"/>
                    <a:gd name="connsiteX5" fmla="*/ 25646 w 322557"/>
                    <a:gd name="connsiteY5" fmla="*/ 126376 h 138332"/>
                    <a:gd name="connsiteX6" fmla="*/ 5699 w 322557"/>
                    <a:gd name="connsiteY6" fmla="*/ 109278 h 138332"/>
                    <a:gd name="connsiteX7" fmla="*/ 0 w 322557"/>
                    <a:gd name="connsiteY7" fmla="*/ 20940 h 138332"/>
                    <a:gd name="connsiteX8" fmla="*/ 19947 w 322557"/>
                    <a:gd name="connsiteY8" fmla="*/ 993 h 138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2557" h="138332">
                      <a:moveTo>
                        <a:pt x="19947" y="993"/>
                      </a:moveTo>
                      <a:cubicBezTo>
                        <a:pt x="116834" y="-1857"/>
                        <a:pt x="210871" y="993"/>
                        <a:pt x="304908" y="15241"/>
                      </a:cubicBezTo>
                      <a:cubicBezTo>
                        <a:pt x="316306" y="18091"/>
                        <a:pt x="324855" y="26639"/>
                        <a:pt x="322005" y="35188"/>
                      </a:cubicBezTo>
                      <a:cubicBezTo>
                        <a:pt x="319156" y="63684"/>
                        <a:pt x="313456" y="95030"/>
                        <a:pt x="310607" y="123526"/>
                      </a:cubicBezTo>
                      <a:cubicBezTo>
                        <a:pt x="310607" y="132075"/>
                        <a:pt x="299208" y="140624"/>
                        <a:pt x="290660" y="137774"/>
                      </a:cubicBezTo>
                      <a:cubicBezTo>
                        <a:pt x="205171" y="126376"/>
                        <a:pt x="116834" y="120676"/>
                        <a:pt x="25646" y="126376"/>
                      </a:cubicBezTo>
                      <a:cubicBezTo>
                        <a:pt x="14248" y="126376"/>
                        <a:pt x="5699" y="120676"/>
                        <a:pt x="5699" y="109278"/>
                      </a:cubicBezTo>
                      <a:cubicBezTo>
                        <a:pt x="2849" y="80782"/>
                        <a:pt x="0" y="49436"/>
                        <a:pt x="0" y="20940"/>
                      </a:cubicBezTo>
                      <a:cubicBezTo>
                        <a:pt x="0" y="9542"/>
                        <a:pt x="8548" y="993"/>
                        <a:pt x="19947" y="993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91" name="任意多边形: 形状 390">
                  <a:extLst>
                    <a:ext uri="{FF2B5EF4-FFF2-40B4-BE49-F238E27FC236}">
                      <a16:creationId xmlns:a16="http://schemas.microsoft.com/office/drawing/2014/main" id="{15211666-5918-448C-BFD6-9ACC40B7312D}"/>
                    </a:ext>
                  </a:extLst>
                </p:cNvPr>
                <p:cNvSpPr/>
                <p:nvPr/>
              </p:nvSpPr>
              <p:spPr>
                <a:xfrm>
                  <a:off x="7910260" y="3137150"/>
                  <a:ext cx="94037" cy="108285"/>
                </a:xfrm>
                <a:custGeom>
                  <a:avLst/>
                  <a:gdLst>
                    <a:gd name="connsiteX0" fmla="*/ 22797 w 94037"/>
                    <a:gd name="connsiteY0" fmla="*/ 108285 h 108285"/>
                    <a:gd name="connsiteX1" fmla="*/ 0 w 94037"/>
                    <a:gd name="connsiteY1" fmla="*/ 105435 h 108285"/>
                    <a:gd name="connsiteX2" fmla="*/ 68391 w 94037"/>
                    <a:gd name="connsiteY2" fmla="*/ 0 h 108285"/>
                    <a:gd name="connsiteX3" fmla="*/ 94037 w 94037"/>
                    <a:gd name="connsiteY3" fmla="*/ 2850 h 108285"/>
                    <a:gd name="connsiteX4" fmla="*/ 22797 w 94037"/>
                    <a:gd name="connsiteY4" fmla="*/ 108285 h 108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037" h="108285">
                      <a:moveTo>
                        <a:pt x="22797" y="108285"/>
                      </a:moveTo>
                      <a:cubicBezTo>
                        <a:pt x="14248" y="108285"/>
                        <a:pt x="8549" y="108285"/>
                        <a:pt x="0" y="105435"/>
                      </a:cubicBezTo>
                      <a:cubicBezTo>
                        <a:pt x="19947" y="71240"/>
                        <a:pt x="42744" y="34195"/>
                        <a:pt x="68391" y="0"/>
                      </a:cubicBezTo>
                      <a:cubicBezTo>
                        <a:pt x="76939" y="0"/>
                        <a:pt x="85488" y="2850"/>
                        <a:pt x="94037" y="2850"/>
                      </a:cubicBezTo>
                      <a:cubicBezTo>
                        <a:pt x="71240" y="39895"/>
                        <a:pt x="45594" y="74090"/>
                        <a:pt x="22797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92" name="任意多边形: 形状 391">
                  <a:extLst>
                    <a:ext uri="{FF2B5EF4-FFF2-40B4-BE49-F238E27FC236}">
                      <a16:creationId xmlns:a16="http://schemas.microsoft.com/office/drawing/2014/main" id="{100BC641-8A29-444F-8C22-4353C9B26A12}"/>
                    </a:ext>
                  </a:extLst>
                </p:cNvPr>
                <p:cNvSpPr/>
                <p:nvPr/>
              </p:nvSpPr>
              <p:spPr>
                <a:xfrm>
                  <a:off x="7844719" y="3134301"/>
                  <a:ext cx="111134" cy="108284"/>
                </a:xfrm>
                <a:custGeom>
                  <a:avLst/>
                  <a:gdLst>
                    <a:gd name="connsiteX0" fmla="*/ 42744 w 111134"/>
                    <a:gd name="connsiteY0" fmla="*/ 108285 h 108284"/>
                    <a:gd name="connsiteX1" fmla="*/ 0 w 111134"/>
                    <a:gd name="connsiteY1" fmla="*/ 108285 h 108284"/>
                    <a:gd name="connsiteX2" fmla="*/ 62692 w 111134"/>
                    <a:gd name="connsiteY2" fmla="*/ 0 h 108284"/>
                    <a:gd name="connsiteX3" fmla="*/ 111135 w 111134"/>
                    <a:gd name="connsiteY3" fmla="*/ 2850 h 108284"/>
                    <a:gd name="connsiteX4" fmla="*/ 42744 w 111134"/>
                    <a:gd name="connsiteY4" fmla="*/ 108285 h 108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1134" h="108284">
                      <a:moveTo>
                        <a:pt x="42744" y="108285"/>
                      </a:moveTo>
                      <a:cubicBezTo>
                        <a:pt x="28496" y="108285"/>
                        <a:pt x="14248" y="108285"/>
                        <a:pt x="0" y="108285"/>
                      </a:cubicBezTo>
                      <a:cubicBezTo>
                        <a:pt x="19948" y="71240"/>
                        <a:pt x="39895" y="37045"/>
                        <a:pt x="62692" y="0"/>
                      </a:cubicBezTo>
                      <a:cubicBezTo>
                        <a:pt x="79789" y="0"/>
                        <a:pt x="94037" y="2850"/>
                        <a:pt x="111135" y="2850"/>
                      </a:cubicBezTo>
                      <a:cubicBezTo>
                        <a:pt x="88338" y="39895"/>
                        <a:pt x="62692" y="74090"/>
                        <a:pt x="42744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393" name="图形 1">
              <a:extLst>
                <a:ext uri="{FF2B5EF4-FFF2-40B4-BE49-F238E27FC236}">
                  <a16:creationId xmlns:a16="http://schemas.microsoft.com/office/drawing/2014/main" id="{58D81753-55C3-41A2-AA4D-8F7FE56DBEEA}"/>
                </a:ext>
              </a:extLst>
            </p:cNvPr>
            <p:cNvGrpSpPr/>
            <p:nvPr/>
          </p:nvGrpSpPr>
          <p:grpSpPr>
            <a:xfrm>
              <a:off x="6208177" y="3524118"/>
              <a:ext cx="538397" cy="369630"/>
              <a:chOff x="6208177" y="3524118"/>
              <a:chExt cx="538397" cy="369630"/>
            </a:xfrm>
          </p:grpSpPr>
          <p:grpSp>
            <p:nvGrpSpPr>
              <p:cNvPr id="394" name="图形 1">
                <a:extLst>
                  <a:ext uri="{FF2B5EF4-FFF2-40B4-BE49-F238E27FC236}">
                    <a16:creationId xmlns:a16="http://schemas.microsoft.com/office/drawing/2014/main" id="{58D81753-55C3-41A2-AA4D-8F7FE56DBEEA}"/>
                  </a:ext>
                </a:extLst>
              </p:cNvPr>
              <p:cNvGrpSpPr/>
              <p:nvPr/>
            </p:nvGrpSpPr>
            <p:grpSpPr>
              <a:xfrm>
                <a:off x="6208177" y="3524118"/>
                <a:ext cx="538397" cy="369630"/>
                <a:chOff x="6208177" y="3524118"/>
                <a:chExt cx="538397" cy="369630"/>
              </a:xfrm>
              <a:solidFill>
                <a:srgbClr val="7F95BC"/>
              </a:solidFill>
            </p:grpSpPr>
            <p:sp>
              <p:nvSpPr>
                <p:cNvPr id="395" name="任意多边形: 形状 394">
                  <a:extLst>
                    <a:ext uri="{FF2B5EF4-FFF2-40B4-BE49-F238E27FC236}">
                      <a16:creationId xmlns:a16="http://schemas.microsoft.com/office/drawing/2014/main" id="{33CDB55A-BCAF-4938-8D36-948D57341DA2}"/>
                    </a:ext>
                  </a:extLst>
                </p:cNvPr>
                <p:cNvSpPr/>
                <p:nvPr/>
              </p:nvSpPr>
              <p:spPr>
                <a:xfrm>
                  <a:off x="6208177" y="3580813"/>
                  <a:ext cx="255996" cy="312935"/>
                </a:xfrm>
                <a:custGeom>
                  <a:avLst/>
                  <a:gdLst>
                    <a:gd name="connsiteX0" fmla="*/ 245936 w 255996"/>
                    <a:gd name="connsiteY0" fmla="*/ 100612 h 312935"/>
                    <a:gd name="connsiteX1" fmla="*/ 126252 w 255996"/>
                    <a:gd name="connsiteY1" fmla="*/ 282987 h 312935"/>
                    <a:gd name="connsiteX2" fmla="*/ 55012 w 255996"/>
                    <a:gd name="connsiteY2" fmla="*/ 311483 h 312935"/>
                    <a:gd name="connsiteX3" fmla="*/ 55012 w 255996"/>
                    <a:gd name="connsiteY3" fmla="*/ 311483 h 312935"/>
                    <a:gd name="connsiteX4" fmla="*/ 870 w 255996"/>
                    <a:gd name="connsiteY4" fmla="*/ 243092 h 312935"/>
                    <a:gd name="connsiteX5" fmla="*/ 40764 w 255996"/>
                    <a:gd name="connsiteY5" fmla="*/ 49319 h 312935"/>
                    <a:gd name="connsiteX6" fmla="*/ 117704 w 255996"/>
                    <a:gd name="connsiteY6" fmla="*/ 876 h 312935"/>
                    <a:gd name="connsiteX7" fmla="*/ 194643 w 255996"/>
                    <a:gd name="connsiteY7" fmla="*/ 12274 h 312935"/>
                    <a:gd name="connsiteX8" fmla="*/ 245936 w 255996"/>
                    <a:gd name="connsiteY8" fmla="*/ 100612 h 312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55996" h="312935">
                      <a:moveTo>
                        <a:pt x="245936" y="100612"/>
                      </a:moveTo>
                      <a:lnTo>
                        <a:pt x="126252" y="282987"/>
                      </a:lnTo>
                      <a:cubicBezTo>
                        <a:pt x="112004" y="305784"/>
                        <a:pt x="83508" y="317182"/>
                        <a:pt x="55012" y="311483"/>
                      </a:cubicBezTo>
                      <a:lnTo>
                        <a:pt x="55012" y="311483"/>
                      </a:lnTo>
                      <a:cubicBezTo>
                        <a:pt x="17967" y="305784"/>
                        <a:pt x="-4829" y="274438"/>
                        <a:pt x="870" y="243092"/>
                      </a:cubicBezTo>
                      <a:lnTo>
                        <a:pt x="40764" y="49319"/>
                      </a:lnTo>
                      <a:cubicBezTo>
                        <a:pt x="46464" y="17974"/>
                        <a:pt x="83508" y="-4823"/>
                        <a:pt x="117704" y="876"/>
                      </a:cubicBezTo>
                      <a:lnTo>
                        <a:pt x="194643" y="12274"/>
                      </a:lnTo>
                      <a:cubicBezTo>
                        <a:pt x="245936" y="17974"/>
                        <a:pt x="271582" y="63567"/>
                        <a:pt x="245936" y="100612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96" name="任意多边形: 形状 395">
                  <a:extLst>
                    <a:ext uri="{FF2B5EF4-FFF2-40B4-BE49-F238E27FC236}">
                      <a16:creationId xmlns:a16="http://schemas.microsoft.com/office/drawing/2014/main" id="{B0F1D95F-E07A-45B9-A50D-0138F75F10EF}"/>
                    </a:ext>
                  </a:extLst>
                </p:cNvPr>
                <p:cNvSpPr/>
                <p:nvPr/>
              </p:nvSpPr>
              <p:spPr>
                <a:xfrm>
                  <a:off x="6463670" y="3554993"/>
                  <a:ext cx="282903" cy="301255"/>
                </a:xfrm>
                <a:custGeom>
                  <a:avLst/>
                  <a:gdLst>
                    <a:gd name="connsiteX0" fmla="*/ 16088 w 282903"/>
                    <a:gd name="connsiteY0" fmla="*/ 123582 h 301255"/>
                    <a:gd name="connsiteX1" fmla="*/ 164268 w 282903"/>
                    <a:gd name="connsiteY1" fmla="*/ 280310 h 301255"/>
                    <a:gd name="connsiteX2" fmla="*/ 238358 w 282903"/>
                    <a:gd name="connsiteY2" fmla="*/ 297408 h 301255"/>
                    <a:gd name="connsiteX3" fmla="*/ 238358 w 282903"/>
                    <a:gd name="connsiteY3" fmla="*/ 297408 h 301255"/>
                    <a:gd name="connsiteX4" fmla="*/ 278252 w 282903"/>
                    <a:gd name="connsiteY4" fmla="*/ 220469 h 301255"/>
                    <a:gd name="connsiteX5" fmla="*/ 204163 w 282903"/>
                    <a:gd name="connsiteY5" fmla="*/ 38094 h 301255"/>
                    <a:gd name="connsiteX6" fmla="*/ 118674 w 282903"/>
                    <a:gd name="connsiteY6" fmla="*/ 3899 h 301255"/>
                    <a:gd name="connsiteX7" fmla="*/ 44585 w 282903"/>
                    <a:gd name="connsiteY7" fmla="*/ 29545 h 301255"/>
                    <a:gd name="connsiteX8" fmla="*/ 16088 w 282903"/>
                    <a:gd name="connsiteY8" fmla="*/ 123582 h 301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82903" h="301255">
                      <a:moveTo>
                        <a:pt x="16088" y="123582"/>
                      </a:moveTo>
                      <a:lnTo>
                        <a:pt x="164268" y="280310"/>
                      </a:lnTo>
                      <a:cubicBezTo>
                        <a:pt x="181366" y="300258"/>
                        <a:pt x="212711" y="305957"/>
                        <a:pt x="238358" y="297408"/>
                      </a:cubicBezTo>
                      <a:lnTo>
                        <a:pt x="238358" y="297408"/>
                      </a:lnTo>
                      <a:cubicBezTo>
                        <a:pt x="272553" y="286010"/>
                        <a:pt x="292500" y="251814"/>
                        <a:pt x="278252" y="220469"/>
                      </a:cubicBezTo>
                      <a:lnTo>
                        <a:pt x="204163" y="38094"/>
                      </a:lnTo>
                      <a:cubicBezTo>
                        <a:pt x="192764" y="6749"/>
                        <a:pt x="152870" y="-7500"/>
                        <a:pt x="118674" y="3899"/>
                      </a:cubicBezTo>
                      <a:lnTo>
                        <a:pt x="44585" y="29545"/>
                      </a:lnTo>
                      <a:cubicBezTo>
                        <a:pt x="1840" y="43793"/>
                        <a:pt x="-15257" y="92237"/>
                        <a:pt x="16088" y="123582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97" name="任意多边形: 形状 396">
                  <a:extLst>
                    <a:ext uri="{FF2B5EF4-FFF2-40B4-BE49-F238E27FC236}">
                      <a16:creationId xmlns:a16="http://schemas.microsoft.com/office/drawing/2014/main" id="{8E8D5ECC-C6F9-4F7F-A1F8-486F298699BF}"/>
                    </a:ext>
                  </a:extLst>
                </p:cNvPr>
                <p:cNvSpPr/>
                <p:nvPr/>
              </p:nvSpPr>
              <p:spPr>
                <a:xfrm>
                  <a:off x="6250672" y="3524118"/>
                  <a:ext cx="429039" cy="271771"/>
                </a:xfrm>
                <a:custGeom>
                  <a:avLst/>
                  <a:gdLst>
                    <a:gd name="connsiteX0" fmla="*/ 425709 w 429039"/>
                    <a:gd name="connsiteY0" fmla="*/ 106014 h 271771"/>
                    <a:gd name="connsiteX1" fmla="*/ 428559 w 429039"/>
                    <a:gd name="connsiteY1" fmla="*/ 128811 h 271771"/>
                    <a:gd name="connsiteX2" fmla="*/ 323123 w 429039"/>
                    <a:gd name="connsiteY2" fmla="*/ 254193 h 271771"/>
                    <a:gd name="connsiteX3" fmla="*/ 129350 w 429039"/>
                    <a:gd name="connsiteY3" fmla="*/ 271291 h 271771"/>
                    <a:gd name="connsiteX4" fmla="*/ 3968 w 429039"/>
                    <a:gd name="connsiteY4" fmla="*/ 165856 h 271771"/>
                    <a:gd name="connsiteX5" fmla="*/ 1118 w 429039"/>
                    <a:gd name="connsiteY5" fmla="*/ 143059 h 271771"/>
                    <a:gd name="connsiteX6" fmla="*/ 6817 w 429039"/>
                    <a:gd name="connsiteY6" fmla="*/ 94616 h 271771"/>
                    <a:gd name="connsiteX7" fmla="*/ 6817 w 429039"/>
                    <a:gd name="connsiteY7" fmla="*/ 94616 h 271771"/>
                    <a:gd name="connsiteX8" fmla="*/ 106553 w 429039"/>
                    <a:gd name="connsiteY8" fmla="*/ 17676 h 271771"/>
                    <a:gd name="connsiteX9" fmla="*/ 300326 w 429039"/>
                    <a:gd name="connsiteY9" fmla="*/ 579 h 271771"/>
                    <a:gd name="connsiteX10" fmla="*/ 422860 w 429039"/>
                    <a:gd name="connsiteY10" fmla="*/ 83217 h 271771"/>
                    <a:gd name="connsiteX11" fmla="*/ 425709 w 429039"/>
                    <a:gd name="connsiteY11" fmla="*/ 106014 h 271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29039" h="271771">
                      <a:moveTo>
                        <a:pt x="425709" y="106014"/>
                      </a:moveTo>
                      <a:lnTo>
                        <a:pt x="428559" y="128811"/>
                      </a:lnTo>
                      <a:cubicBezTo>
                        <a:pt x="434258" y="191502"/>
                        <a:pt x="388664" y="248494"/>
                        <a:pt x="323123" y="254193"/>
                      </a:cubicBezTo>
                      <a:lnTo>
                        <a:pt x="129350" y="271291"/>
                      </a:lnTo>
                      <a:cubicBezTo>
                        <a:pt x="66659" y="276990"/>
                        <a:pt x="9667" y="231397"/>
                        <a:pt x="3968" y="165856"/>
                      </a:cubicBezTo>
                      <a:lnTo>
                        <a:pt x="1118" y="143059"/>
                      </a:lnTo>
                      <a:cubicBezTo>
                        <a:pt x="-1732" y="125961"/>
                        <a:pt x="1118" y="108864"/>
                        <a:pt x="6817" y="94616"/>
                      </a:cubicBezTo>
                      <a:cubicBezTo>
                        <a:pt x="6817" y="94616"/>
                        <a:pt x="6817" y="94616"/>
                        <a:pt x="6817" y="94616"/>
                      </a:cubicBezTo>
                      <a:cubicBezTo>
                        <a:pt x="21065" y="51872"/>
                        <a:pt x="58110" y="20526"/>
                        <a:pt x="106553" y="17676"/>
                      </a:cubicBezTo>
                      <a:lnTo>
                        <a:pt x="300326" y="579"/>
                      </a:lnTo>
                      <a:cubicBezTo>
                        <a:pt x="357319" y="-5120"/>
                        <a:pt x="405762" y="31924"/>
                        <a:pt x="422860" y="83217"/>
                      </a:cubicBezTo>
                      <a:cubicBezTo>
                        <a:pt x="425709" y="88917"/>
                        <a:pt x="425709" y="97465"/>
                        <a:pt x="425709" y="106014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398" name="图形 1">
                <a:extLst>
                  <a:ext uri="{FF2B5EF4-FFF2-40B4-BE49-F238E27FC236}">
                    <a16:creationId xmlns:a16="http://schemas.microsoft.com/office/drawing/2014/main" id="{58D81753-55C3-41A2-AA4D-8F7FE56DBEEA}"/>
                  </a:ext>
                </a:extLst>
              </p:cNvPr>
              <p:cNvGrpSpPr/>
              <p:nvPr/>
            </p:nvGrpSpPr>
            <p:grpSpPr>
              <a:xfrm>
                <a:off x="6502555" y="3552640"/>
                <a:ext cx="105987" cy="106540"/>
                <a:chOff x="6502555" y="3552640"/>
                <a:chExt cx="105987" cy="106540"/>
              </a:xfrm>
              <a:solidFill>
                <a:srgbClr val="FFFFFF"/>
              </a:solidFill>
            </p:grpSpPr>
            <p:grpSp>
              <p:nvGrpSpPr>
                <p:cNvPr id="399" name="图形 1">
                  <a:extLst>
                    <a:ext uri="{FF2B5EF4-FFF2-40B4-BE49-F238E27FC236}">
                      <a16:creationId xmlns:a16="http://schemas.microsoft.com/office/drawing/2014/main" id="{58D81753-55C3-41A2-AA4D-8F7FE56DBEEA}"/>
                    </a:ext>
                  </a:extLst>
                </p:cNvPr>
                <p:cNvGrpSpPr/>
                <p:nvPr/>
              </p:nvGrpSpPr>
              <p:grpSpPr>
                <a:xfrm>
                  <a:off x="6533349" y="3552640"/>
                  <a:ext cx="43848" cy="106540"/>
                  <a:chOff x="6533349" y="3552640"/>
                  <a:chExt cx="43848" cy="106540"/>
                </a:xfrm>
                <a:solidFill>
                  <a:srgbClr val="FFFFFF"/>
                </a:solidFill>
              </p:grpSpPr>
              <p:sp>
                <p:nvSpPr>
                  <p:cNvPr id="400" name="任意多边形: 形状 399">
                    <a:extLst>
                      <a:ext uri="{FF2B5EF4-FFF2-40B4-BE49-F238E27FC236}">
                        <a16:creationId xmlns:a16="http://schemas.microsoft.com/office/drawing/2014/main" id="{09545923-C863-435E-8743-A7903285296E}"/>
                      </a:ext>
                    </a:extLst>
                  </p:cNvPr>
                  <p:cNvSpPr/>
                  <p:nvPr/>
                </p:nvSpPr>
                <p:spPr>
                  <a:xfrm>
                    <a:off x="6533349" y="3552640"/>
                    <a:ext cx="38149" cy="38149"/>
                  </a:xfrm>
                  <a:custGeom>
                    <a:avLst/>
                    <a:gdLst>
                      <a:gd name="connsiteX0" fmla="*/ 37597 w 38149"/>
                      <a:gd name="connsiteY0" fmla="*/ 17650 h 38149"/>
                      <a:gd name="connsiteX1" fmla="*/ 17650 w 38149"/>
                      <a:gd name="connsiteY1" fmla="*/ 552 h 38149"/>
                      <a:gd name="connsiteX2" fmla="*/ 552 w 38149"/>
                      <a:gd name="connsiteY2" fmla="*/ 20500 h 38149"/>
                      <a:gd name="connsiteX3" fmla="*/ 20500 w 38149"/>
                      <a:gd name="connsiteY3" fmla="*/ 37597 h 38149"/>
                      <a:gd name="connsiteX4" fmla="*/ 37597 w 38149"/>
                      <a:gd name="connsiteY4" fmla="*/ 17650 h 381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149" h="38149">
                        <a:moveTo>
                          <a:pt x="37597" y="17650"/>
                        </a:moveTo>
                        <a:cubicBezTo>
                          <a:pt x="37597" y="6252"/>
                          <a:pt x="26199" y="-2297"/>
                          <a:pt x="17650" y="552"/>
                        </a:cubicBezTo>
                        <a:cubicBezTo>
                          <a:pt x="6252" y="552"/>
                          <a:pt x="-2297" y="11951"/>
                          <a:pt x="552" y="20500"/>
                        </a:cubicBezTo>
                        <a:cubicBezTo>
                          <a:pt x="552" y="31898"/>
                          <a:pt x="11951" y="40447"/>
                          <a:pt x="20500" y="37597"/>
                        </a:cubicBezTo>
                        <a:cubicBezTo>
                          <a:pt x="31898" y="40447"/>
                          <a:pt x="40447" y="29048"/>
                          <a:pt x="37597" y="1765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401" name="任意多边形: 形状 400">
                    <a:extLst>
                      <a:ext uri="{FF2B5EF4-FFF2-40B4-BE49-F238E27FC236}">
                        <a16:creationId xmlns:a16="http://schemas.microsoft.com/office/drawing/2014/main" id="{643DF66D-53DA-4CFA-A4E1-4961CBD895C6}"/>
                      </a:ext>
                    </a:extLst>
                  </p:cNvPr>
                  <p:cNvSpPr/>
                  <p:nvPr/>
                </p:nvSpPr>
                <p:spPr>
                  <a:xfrm>
                    <a:off x="6539048" y="3621031"/>
                    <a:ext cx="38149" cy="38149"/>
                  </a:xfrm>
                  <a:custGeom>
                    <a:avLst/>
                    <a:gdLst>
                      <a:gd name="connsiteX0" fmla="*/ 37597 w 38149"/>
                      <a:gd name="connsiteY0" fmla="*/ 17650 h 38149"/>
                      <a:gd name="connsiteX1" fmla="*/ 17650 w 38149"/>
                      <a:gd name="connsiteY1" fmla="*/ 552 h 38149"/>
                      <a:gd name="connsiteX2" fmla="*/ 552 w 38149"/>
                      <a:gd name="connsiteY2" fmla="*/ 20500 h 38149"/>
                      <a:gd name="connsiteX3" fmla="*/ 20499 w 38149"/>
                      <a:gd name="connsiteY3" fmla="*/ 37597 h 38149"/>
                      <a:gd name="connsiteX4" fmla="*/ 37597 w 38149"/>
                      <a:gd name="connsiteY4" fmla="*/ 17650 h 381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149" h="38149">
                        <a:moveTo>
                          <a:pt x="37597" y="17650"/>
                        </a:moveTo>
                        <a:cubicBezTo>
                          <a:pt x="37597" y="6252"/>
                          <a:pt x="26199" y="-2297"/>
                          <a:pt x="17650" y="552"/>
                        </a:cubicBezTo>
                        <a:cubicBezTo>
                          <a:pt x="6251" y="552"/>
                          <a:pt x="-2297" y="11951"/>
                          <a:pt x="552" y="20500"/>
                        </a:cubicBezTo>
                        <a:cubicBezTo>
                          <a:pt x="552" y="31898"/>
                          <a:pt x="11951" y="40447"/>
                          <a:pt x="20499" y="37597"/>
                        </a:cubicBezTo>
                        <a:cubicBezTo>
                          <a:pt x="31898" y="37597"/>
                          <a:pt x="40447" y="29048"/>
                          <a:pt x="37597" y="1765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402" name="图形 1">
                  <a:extLst>
                    <a:ext uri="{FF2B5EF4-FFF2-40B4-BE49-F238E27FC236}">
                      <a16:creationId xmlns:a16="http://schemas.microsoft.com/office/drawing/2014/main" id="{58D81753-55C3-41A2-AA4D-8F7FE56DBEEA}"/>
                    </a:ext>
                  </a:extLst>
                </p:cNvPr>
                <p:cNvGrpSpPr/>
                <p:nvPr/>
              </p:nvGrpSpPr>
              <p:grpSpPr>
                <a:xfrm>
                  <a:off x="6502555" y="3587388"/>
                  <a:ext cx="105987" cy="42744"/>
                  <a:chOff x="6502555" y="3587388"/>
                  <a:chExt cx="105987" cy="42744"/>
                </a:xfrm>
                <a:solidFill>
                  <a:srgbClr val="FFFFFF"/>
                </a:solidFill>
              </p:grpSpPr>
              <p:sp>
                <p:nvSpPr>
                  <p:cNvPr id="403" name="任意多边形: 形状 402">
                    <a:extLst>
                      <a:ext uri="{FF2B5EF4-FFF2-40B4-BE49-F238E27FC236}">
                        <a16:creationId xmlns:a16="http://schemas.microsoft.com/office/drawing/2014/main" id="{21E0998A-6558-43BA-8011-7F1B8B432F3C}"/>
                      </a:ext>
                    </a:extLst>
                  </p:cNvPr>
                  <p:cNvSpPr/>
                  <p:nvPr/>
                </p:nvSpPr>
                <p:spPr>
                  <a:xfrm>
                    <a:off x="6502555" y="3593087"/>
                    <a:ext cx="37597" cy="37044"/>
                  </a:xfrm>
                  <a:custGeom>
                    <a:avLst/>
                    <a:gdLst>
                      <a:gd name="connsiteX0" fmla="*/ 19947 w 37597"/>
                      <a:gd name="connsiteY0" fmla="*/ 37045 h 37044"/>
                      <a:gd name="connsiteX1" fmla="*/ 0 w 37597"/>
                      <a:gd name="connsiteY1" fmla="*/ 19947 h 37044"/>
                      <a:gd name="connsiteX2" fmla="*/ 17097 w 37597"/>
                      <a:gd name="connsiteY2" fmla="*/ 0 h 37044"/>
                      <a:gd name="connsiteX3" fmla="*/ 37045 w 37597"/>
                      <a:gd name="connsiteY3" fmla="*/ 17098 h 37044"/>
                      <a:gd name="connsiteX4" fmla="*/ 19947 w 37597"/>
                      <a:gd name="connsiteY4" fmla="*/ 37045 h 37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597" h="37044">
                        <a:moveTo>
                          <a:pt x="19947" y="37045"/>
                        </a:moveTo>
                        <a:cubicBezTo>
                          <a:pt x="8549" y="37045"/>
                          <a:pt x="0" y="31346"/>
                          <a:pt x="0" y="19947"/>
                        </a:cubicBezTo>
                        <a:cubicBezTo>
                          <a:pt x="0" y="8549"/>
                          <a:pt x="5699" y="0"/>
                          <a:pt x="17097" y="0"/>
                        </a:cubicBezTo>
                        <a:cubicBezTo>
                          <a:pt x="28496" y="0"/>
                          <a:pt x="37045" y="5699"/>
                          <a:pt x="37045" y="17098"/>
                        </a:cubicBezTo>
                        <a:cubicBezTo>
                          <a:pt x="39894" y="25646"/>
                          <a:pt x="31345" y="34195"/>
                          <a:pt x="19947" y="3704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404" name="任意多边形: 形状 403">
                    <a:extLst>
                      <a:ext uri="{FF2B5EF4-FFF2-40B4-BE49-F238E27FC236}">
                        <a16:creationId xmlns:a16="http://schemas.microsoft.com/office/drawing/2014/main" id="{1976D225-85B0-4979-A009-28ABAB1383CB}"/>
                      </a:ext>
                    </a:extLst>
                  </p:cNvPr>
                  <p:cNvSpPr/>
                  <p:nvPr/>
                </p:nvSpPr>
                <p:spPr>
                  <a:xfrm>
                    <a:off x="6570946" y="3587388"/>
                    <a:ext cx="37597" cy="37044"/>
                  </a:xfrm>
                  <a:custGeom>
                    <a:avLst/>
                    <a:gdLst>
                      <a:gd name="connsiteX0" fmla="*/ 19947 w 37597"/>
                      <a:gd name="connsiteY0" fmla="*/ 37045 h 37044"/>
                      <a:gd name="connsiteX1" fmla="*/ 0 w 37597"/>
                      <a:gd name="connsiteY1" fmla="*/ 19947 h 37044"/>
                      <a:gd name="connsiteX2" fmla="*/ 17098 w 37597"/>
                      <a:gd name="connsiteY2" fmla="*/ 0 h 37044"/>
                      <a:gd name="connsiteX3" fmla="*/ 37045 w 37597"/>
                      <a:gd name="connsiteY3" fmla="*/ 17098 h 37044"/>
                      <a:gd name="connsiteX4" fmla="*/ 19947 w 37597"/>
                      <a:gd name="connsiteY4" fmla="*/ 37045 h 37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597" h="37044">
                        <a:moveTo>
                          <a:pt x="19947" y="37045"/>
                        </a:moveTo>
                        <a:cubicBezTo>
                          <a:pt x="8549" y="37045"/>
                          <a:pt x="0" y="31346"/>
                          <a:pt x="0" y="19947"/>
                        </a:cubicBezTo>
                        <a:cubicBezTo>
                          <a:pt x="0" y="8549"/>
                          <a:pt x="5699" y="0"/>
                          <a:pt x="17098" y="0"/>
                        </a:cubicBezTo>
                        <a:cubicBezTo>
                          <a:pt x="28496" y="0"/>
                          <a:pt x="37045" y="5699"/>
                          <a:pt x="37045" y="17098"/>
                        </a:cubicBezTo>
                        <a:cubicBezTo>
                          <a:pt x="39895" y="25646"/>
                          <a:pt x="31346" y="34195"/>
                          <a:pt x="19947" y="3704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sp>
            <p:nvSpPr>
              <p:cNvPr id="405" name="任意多边形: 形状 404">
                <a:extLst>
                  <a:ext uri="{FF2B5EF4-FFF2-40B4-BE49-F238E27FC236}">
                    <a16:creationId xmlns:a16="http://schemas.microsoft.com/office/drawing/2014/main" id="{6EA33759-45A4-474B-B7E9-32F4FFAD46C3}"/>
                  </a:ext>
                </a:extLst>
              </p:cNvPr>
              <p:cNvSpPr/>
              <p:nvPr/>
            </p:nvSpPr>
            <p:spPr>
              <a:xfrm>
                <a:off x="6365463" y="3689662"/>
                <a:ext cx="74713" cy="74713"/>
              </a:xfrm>
              <a:custGeom>
                <a:avLst/>
                <a:gdLst>
                  <a:gd name="connsiteX0" fmla="*/ 74402 w 74713"/>
                  <a:gd name="connsiteY0" fmla="*/ 34507 h 74713"/>
                  <a:gd name="connsiteX1" fmla="*/ 34507 w 74713"/>
                  <a:gd name="connsiteY1" fmla="*/ 312 h 74713"/>
                  <a:gd name="connsiteX2" fmla="*/ 312 w 74713"/>
                  <a:gd name="connsiteY2" fmla="*/ 40206 h 74713"/>
                  <a:gd name="connsiteX3" fmla="*/ 40206 w 74713"/>
                  <a:gd name="connsiteY3" fmla="*/ 74402 h 74713"/>
                  <a:gd name="connsiteX4" fmla="*/ 74402 w 74713"/>
                  <a:gd name="connsiteY4" fmla="*/ 34507 h 74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13" h="74713">
                    <a:moveTo>
                      <a:pt x="74402" y="34507"/>
                    </a:moveTo>
                    <a:cubicBezTo>
                      <a:pt x="71552" y="14560"/>
                      <a:pt x="54454" y="-2538"/>
                      <a:pt x="34507" y="312"/>
                    </a:cubicBezTo>
                    <a:cubicBezTo>
                      <a:pt x="14560" y="3161"/>
                      <a:pt x="-2538" y="20259"/>
                      <a:pt x="312" y="40206"/>
                    </a:cubicBezTo>
                    <a:cubicBezTo>
                      <a:pt x="3162" y="60153"/>
                      <a:pt x="20259" y="77251"/>
                      <a:pt x="40206" y="74402"/>
                    </a:cubicBezTo>
                    <a:cubicBezTo>
                      <a:pt x="60154" y="74402"/>
                      <a:pt x="77251" y="54454"/>
                      <a:pt x="74402" y="34507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6" name="任意多边形: 形状 405">
                <a:extLst>
                  <a:ext uri="{FF2B5EF4-FFF2-40B4-BE49-F238E27FC236}">
                    <a16:creationId xmlns:a16="http://schemas.microsoft.com/office/drawing/2014/main" id="{011EE9BB-E5E9-4EFA-B058-0C6327C1716C}"/>
                  </a:ext>
                </a:extLst>
              </p:cNvPr>
              <p:cNvSpPr/>
              <p:nvPr/>
            </p:nvSpPr>
            <p:spPr>
              <a:xfrm>
                <a:off x="6502244" y="3678263"/>
                <a:ext cx="74401" cy="74713"/>
              </a:xfrm>
              <a:custGeom>
                <a:avLst/>
                <a:gdLst>
                  <a:gd name="connsiteX0" fmla="*/ 74401 w 74401"/>
                  <a:gd name="connsiteY0" fmla="*/ 34507 h 74713"/>
                  <a:gd name="connsiteX1" fmla="*/ 34507 w 74401"/>
                  <a:gd name="connsiteY1" fmla="*/ 312 h 74713"/>
                  <a:gd name="connsiteX2" fmla="*/ 312 w 74401"/>
                  <a:gd name="connsiteY2" fmla="*/ 40206 h 74713"/>
                  <a:gd name="connsiteX3" fmla="*/ 40206 w 74401"/>
                  <a:gd name="connsiteY3" fmla="*/ 74402 h 74713"/>
                  <a:gd name="connsiteX4" fmla="*/ 74401 w 74401"/>
                  <a:gd name="connsiteY4" fmla="*/ 34507 h 74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401" h="74713">
                    <a:moveTo>
                      <a:pt x="74401" y="34507"/>
                    </a:moveTo>
                    <a:cubicBezTo>
                      <a:pt x="71552" y="14560"/>
                      <a:pt x="54454" y="-2538"/>
                      <a:pt x="34507" y="312"/>
                    </a:cubicBezTo>
                    <a:cubicBezTo>
                      <a:pt x="14560" y="3161"/>
                      <a:pt x="-2538" y="20259"/>
                      <a:pt x="312" y="40206"/>
                    </a:cubicBezTo>
                    <a:cubicBezTo>
                      <a:pt x="3161" y="60153"/>
                      <a:pt x="20259" y="77251"/>
                      <a:pt x="40206" y="74402"/>
                    </a:cubicBezTo>
                    <a:cubicBezTo>
                      <a:pt x="60153" y="74402"/>
                      <a:pt x="74401" y="54454"/>
                      <a:pt x="74401" y="34507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407" name="图形 1">
                <a:extLst>
                  <a:ext uri="{FF2B5EF4-FFF2-40B4-BE49-F238E27FC236}">
                    <a16:creationId xmlns:a16="http://schemas.microsoft.com/office/drawing/2014/main" id="{58D81753-55C3-41A2-AA4D-8F7FE56DBEEA}"/>
                  </a:ext>
                </a:extLst>
              </p:cNvPr>
              <p:cNvGrpSpPr/>
              <p:nvPr/>
            </p:nvGrpSpPr>
            <p:grpSpPr>
              <a:xfrm>
                <a:off x="6311361" y="3575719"/>
                <a:ext cx="103097" cy="103127"/>
                <a:chOff x="6311361" y="3575719"/>
                <a:chExt cx="103097" cy="103127"/>
              </a:xfrm>
            </p:grpSpPr>
            <p:sp>
              <p:nvSpPr>
                <p:cNvPr id="408" name="任意多边形: 形状 407">
                  <a:extLst>
                    <a:ext uri="{FF2B5EF4-FFF2-40B4-BE49-F238E27FC236}">
                      <a16:creationId xmlns:a16="http://schemas.microsoft.com/office/drawing/2014/main" id="{11CCB2E7-7BAA-4A45-ACFC-69272106BB06}"/>
                    </a:ext>
                  </a:extLst>
                </p:cNvPr>
                <p:cNvSpPr/>
                <p:nvPr/>
              </p:nvSpPr>
              <p:spPr>
                <a:xfrm>
                  <a:off x="6311361" y="3575719"/>
                  <a:ext cx="103097" cy="103127"/>
                </a:xfrm>
                <a:custGeom>
                  <a:avLst/>
                  <a:gdLst>
                    <a:gd name="connsiteX0" fmla="*/ 102856 w 103097"/>
                    <a:gd name="connsiteY0" fmla="*/ 45864 h 103127"/>
                    <a:gd name="connsiteX1" fmla="*/ 45864 w 103097"/>
                    <a:gd name="connsiteY1" fmla="*/ 271 h 103127"/>
                    <a:gd name="connsiteX2" fmla="*/ 271 w 103097"/>
                    <a:gd name="connsiteY2" fmla="*/ 57263 h 103127"/>
                    <a:gd name="connsiteX3" fmla="*/ 57263 w 103097"/>
                    <a:gd name="connsiteY3" fmla="*/ 102856 h 103127"/>
                    <a:gd name="connsiteX4" fmla="*/ 102856 w 103097"/>
                    <a:gd name="connsiteY4" fmla="*/ 45864 h 1031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3097" h="103127">
                      <a:moveTo>
                        <a:pt x="102856" y="45864"/>
                      </a:moveTo>
                      <a:cubicBezTo>
                        <a:pt x="100007" y="17368"/>
                        <a:pt x="74360" y="-2579"/>
                        <a:pt x="45864" y="271"/>
                      </a:cubicBezTo>
                      <a:cubicBezTo>
                        <a:pt x="17368" y="3120"/>
                        <a:pt x="-2579" y="28767"/>
                        <a:pt x="271" y="57263"/>
                      </a:cubicBezTo>
                      <a:cubicBezTo>
                        <a:pt x="3120" y="85759"/>
                        <a:pt x="28767" y="105706"/>
                        <a:pt x="57263" y="102856"/>
                      </a:cubicBezTo>
                      <a:cubicBezTo>
                        <a:pt x="82909" y="100007"/>
                        <a:pt x="105706" y="74360"/>
                        <a:pt x="102856" y="4586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09" name="任意多边形: 形状 408">
                  <a:extLst>
                    <a:ext uri="{FF2B5EF4-FFF2-40B4-BE49-F238E27FC236}">
                      <a16:creationId xmlns:a16="http://schemas.microsoft.com/office/drawing/2014/main" id="{DB432990-124F-4204-BD60-E4C795B02A57}"/>
                    </a:ext>
                  </a:extLst>
                </p:cNvPr>
                <p:cNvSpPr/>
                <p:nvPr/>
              </p:nvSpPr>
              <p:spPr>
                <a:xfrm>
                  <a:off x="6325880" y="3584538"/>
                  <a:ext cx="71240" cy="71240"/>
                </a:xfrm>
                <a:custGeom>
                  <a:avLst/>
                  <a:gdLst>
                    <a:gd name="connsiteX0" fmla="*/ 62691 w 71240"/>
                    <a:gd name="connsiteY0" fmla="*/ 22797 h 71240"/>
                    <a:gd name="connsiteX1" fmla="*/ 48443 w 71240"/>
                    <a:gd name="connsiteY1" fmla="*/ 22797 h 71240"/>
                    <a:gd name="connsiteX2" fmla="*/ 48443 w 71240"/>
                    <a:gd name="connsiteY2" fmla="*/ 8549 h 71240"/>
                    <a:gd name="connsiteX3" fmla="*/ 39894 w 71240"/>
                    <a:gd name="connsiteY3" fmla="*/ 0 h 71240"/>
                    <a:gd name="connsiteX4" fmla="*/ 31345 w 71240"/>
                    <a:gd name="connsiteY4" fmla="*/ 0 h 71240"/>
                    <a:gd name="connsiteX5" fmla="*/ 22796 w 71240"/>
                    <a:gd name="connsiteY5" fmla="*/ 8549 h 71240"/>
                    <a:gd name="connsiteX6" fmla="*/ 22796 w 71240"/>
                    <a:gd name="connsiteY6" fmla="*/ 22797 h 71240"/>
                    <a:gd name="connsiteX7" fmla="*/ 8548 w 71240"/>
                    <a:gd name="connsiteY7" fmla="*/ 22797 h 71240"/>
                    <a:gd name="connsiteX8" fmla="*/ 0 w 71240"/>
                    <a:gd name="connsiteY8" fmla="*/ 31346 h 71240"/>
                    <a:gd name="connsiteX9" fmla="*/ 0 w 71240"/>
                    <a:gd name="connsiteY9" fmla="*/ 39894 h 71240"/>
                    <a:gd name="connsiteX10" fmla="*/ 8548 w 71240"/>
                    <a:gd name="connsiteY10" fmla="*/ 48443 h 71240"/>
                    <a:gd name="connsiteX11" fmla="*/ 22796 w 71240"/>
                    <a:gd name="connsiteY11" fmla="*/ 48443 h 71240"/>
                    <a:gd name="connsiteX12" fmla="*/ 22796 w 71240"/>
                    <a:gd name="connsiteY12" fmla="*/ 62691 h 71240"/>
                    <a:gd name="connsiteX13" fmla="*/ 31345 w 71240"/>
                    <a:gd name="connsiteY13" fmla="*/ 71240 h 71240"/>
                    <a:gd name="connsiteX14" fmla="*/ 39894 w 71240"/>
                    <a:gd name="connsiteY14" fmla="*/ 71240 h 71240"/>
                    <a:gd name="connsiteX15" fmla="*/ 48443 w 71240"/>
                    <a:gd name="connsiteY15" fmla="*/ 62691 h 71240"/>
                    <a:gd name="connsiteX16" fmla="*/ 48443 w 71240"/>
                    <a:gd name="connsiteY16" fmla="*/ 48443 h 71240"/>
                    <a:gd name="connsiteX17" fmla="*/ 62691 w 71240"/>
                    <a:gd name="connsiteY17" fmla="*/ 48443 h 71240"/>
                    <a:gd name="connsiteX18" fmla="*/ 71240 w 71240"/>
                    <a:gd name="connsiteY18" fmla="*/ 39894 h 71240"/>
                    <a:gd name="connsiteX19" fmla="*/ 71240 w 71240"/>
                    <a:gd name="connsiteY19" fmla="*/ 31346 h 71240"/>
                    <a:gd name="connsiteX20" fmla="*/ 62691 w 71240"/>
                    <a:gd name="connsiteY20" fmla="*/ 22797 h 712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71240" h="71240">
                      <a:moveTo>
                        <a:pt x="62691" y="22797"/>
                      </a:moveTo>
                      <a:lnTo>
                        <a:pt x="48443" y="22797"/>
                      </a:lnTo>
                      <a:lnTo>
                        <a:pt x="48443" y="8549"/>
                      </a:lnTo>
                      <a:cubicBezTo>
                        <a:pt x="48443" y="2850"/>
                        <a:pt x="42744" y="0"/>
                        <a:pt x="39894" y="0"/>
                      </a:cubicBezTo>
                      <a:lnTo>
                        <a:pt x="31345" y="0"/>
                      </a:lnTo>
                      <a:cubicBezTo>
                        <a:pt x="25646" y="0"/>
                        <a:pt x="22796" y="5699"/>
                        <a:pt x="22796" y="8549"/>
                      </a:cubicBezTo>
                      <a:lnTo>
                        <a:pt x="22796" y="22797"/>
                      </a:lnTo>
                      <a:lnTo>
                        <a:pt x="8548" y="22797"/>
                      </a:lnTo>
                      <a:cubicBezTo>
                        <a:pt x="2849" y="22797"/>
                        <a:pt x="0" y="28496"/>
                        <a:pt x="0" y="31346"/>
                      </a:cubicBezTo>
                      <a:lnTo>
                        <a:pt x="0" y="39894"/>
                      </a:lnTo>
                      <a:cubicBezTo>
                        <a:pt x="0" y="45594"/>
                        <a:pt x="5699" y="48443"/>
                        <a:pt x="8548" y="48443"/>
                      </a:cubicBezTo>
                      <a:lnTo>
                        <a:pt x="22796" y="48443"/>
                      </a:lnTo>
                      <a:lnTo>
                        <a:pt x="22796" y="62691"/>
                      </a:lnTo>
                      <a:cubicBezTo>
                        <a:pt x="22796" y="68390"/>
                        <a:pt x="28496" y="71240"/>
                        <a:pt x="31345" y="71240"/>
                      </a:cubicBezTo>
                      <a:lnTo>
                        <a:pt x="39894" y="71240"/>
                      </a:lnTo>
                      <a:cubicBezTo>
                        <a:pt x="45593" y="71240"/>
                        <a:pt x="48443" y="65541"/>
                        <a:pt x="48443" y="62691"/>
                      </a:cubicBezTo>
                      <a:lnTo>
                        <a:pt x="48443" y="48443"/>
                      </a:lnTo>
                      <a:lnTo>
                        <a:pt x="62691" y="48443"/>
                      </a:lnTo>
                      <a:cubicBezTo>
                        <a:pt x="68390" y="48443"/>
                        <a:pt x="71240" y="42744"/>
                        <a:pt x="71240" y="39894"/>
                      </a:cubicBezTo>
                      <a:lnTo>
                        <a:pt x="71240" y="31346"/>
                      </a:lnTo>
                      <a:cubicBezTo>
                        <a:pt x="71240" y="28496"/>
                        <a:pt x="65541" y="22797"/>
                        <a:pt x="62691" y="22797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410" name="图形 1">
              <a:extLst>
                <a:ext uri="{FF2B5EF4-FFF2-40B4-BE49-F238E27FC236}">
                  <a16:creationId xmlns:a16="http://schemas.microsoft.com/office/drawing/2014/main" id="{58D81753-55C3-41A2-AA4D-8F7FE56DBEEA}"/>
                </a:ext>
              </a:extLst>
            </p:cNvPr>
            <p:cNvGrpSpPr/>
            <p:nvPr/>
          </p:nvGrpSpPr>
          <p:grpSpPr>
            <a:xfrm>
              <a:off x="6651447" y="3729868"/>
              <a:ext cx="134399" cy="132773"/>
              <a:chOff x="6651447" y="3729868"/>
              <a:chExt cx="134399" cy="132773"/>
            </a:xfrm>
          </p:grpSpPr>
          <p:sp>
            <p:nvSpPr>
              <p:cNvPr id="411" name="任意多边形: 形状 410">
                <a:extLst>
                  <a:ext uri="{FF2B5EF4-FFF2-40B4-BE49-F238E27FC236}">
                    <a16:creationId xmlns:a16="http://schemas.microsoft.com/office/drawing/2014/main" id="{87C56E10-0010-44AE-BF4A-83F80999F595}"/>
                  </a:ext>
                </a:extLst>
              </p:cNvPr>
              <p:cNvSpPr/>
              <p:nvPr/>
            </p:nvSpPr>
            <p:spPr>
              <a:xfrm>
                <a:off x="6658764" y="3735567"/>
                <a:ext cx="125630" cy="127074"/>
              </a:xfrm>
              <a:custGeom>
                <a:avLst/>
                <a:gdLst>
                  <a:gd name="connsiteX0" fmla="*/ 51813 w 125630"/>
                  <a:gd name="connsiteY0" fmla="*/ 0 h 127074"/>
                  <a:gd name="connsiteX1" fmla="*/ 123053 w 125630"/>
                  <a:gd name="connsiteY1" fmla="*/ 62691 h 127074"/>
                  <a:gd name="connsiteX2" fmla="*/ 68910 w 125630"/>
                  <a:gd name="connsiteY2" fmla="*/ 116834 h 127074"/>
                  <a:gd name="connsiteX3" fmla="*/ 71760 w 125630"/>
                  <a:gd name="connsiteY3" fmla="*/ 71240 h 127074"/>
                  <a:gd name="connsiteX4" fmla="*/ 23317 w 125630"/>
                  <a:gd name="connsiteY4" fmla="*/ 45594 h 127074"/>
                  <a:gd name="connsiteX5" fmla="*/ 520 w 125630"/>
                  <a:gd name="connsiteY5" fmla="*/ 42744 h 127074"/>
                  <a:gd name="connsiteX6" fmla="*/ 51813 w 125630"/>
                  <a:gd name="connsiteY6" fmla="*/ 0 h 127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5630" h="127074">
                    <a:moveTo>
                      <a:pt x="51813" y="0"/>
                    </a:moveTo>
                    <a:cubicBezTo>
                      <a:pt x="80309" y="0"/>
                      <a:pt x="111654" y="37045"/>
                      <a:pt x="123053" y="62691"/>
                    </a:cubicBezTo>
                    <a:cubicBezTo>
                      <a:pt x="131601" y="79789"/>
                      <a:pt x="120203" y="153879"/>
                      <a:pt x="68910" y="116834"/>
                    </a:cubicBezTo>
                    <a:cubicBezTo>
                      <a:pt x="46113" y="99736"/>
                      <a:pt x="80309" y="82639"/>
                      <a:pt x="71760" y="71240"/>
                    </a:cubicBezTo>
                    <a:cubicBezTo>
                      <a:pt x="57512" y="54143"/>
                      <a:pt x="43264" y="48443"/>
                      <a:pt x="23317" y="45594"/>
                    </a:cubicBezTo>
                    <a:cubicBezTo>
                      <a:pt x="17617" y="45594"/>
                      <a:pt x="520" y="51293"/>
                      <a:pt x="520" y="42744"/>
                    </a:cubicBezTo>
                    <a:cubicBezTo>
                      <a:pt x="-5179" y="19947"/>
                      <a:pt x="37565" y="0"/>
                      <a:pt x="51813" y="0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2" name="任意多边形: 形状 411">
                <a:extLst>
                  <a:ext uri="{FF2B5EF4-FFF2-40B4-BE49-F238E27FC236}">
                    <a16:creationId xmlns:a16="http://schemas.microsoft.com/office/drawing/2014/main" id="{05E0D7F8-B983-4AE6-AD3B-DC24E38D6C55}"/>
                  </a:ext>
                </a:extLst>
              </p:cNvPr>
              <p:cNvSpPr/>
              <p:nvPr/>
            </p:nvSpPr>
            <p:spPr>
              <a:xfrm>
                <a:off x="6651447" y="3729868"/>
                <a:ext cx="134399" cy="122532"/>
              </a:xfrm>
              <a:custGeom>
                <a:avLst/>
                <a:gdLst>
                  <a:gd name="connsiteX0" fmla="*/ 76227 w 134399"/>
                  <a:gd name="connsiteY0" fmla="*/ 122533 h 122532"/>
                  <a:gd name="connsiteX1" fmla="*/ 70528 w 134399"/>
                  <a:gd name="connsiteY1" fmla="*/ 119683 h 122532"/>
                  <a:gd name="connsiteX2" fmla="*/ 73377 w 134399"/>
                  <a:gd name="connsiteY2" fmla="*/ 76939 h 122532"/>
                  <a:gd name="connsiteX3" fmla="*/ 33483 w 134399"/>
                  <a:gd name="connsiteY3" fmla="*/ 62691 h 122532"/>
                  <a:gd name="connsiteX4" fmla="*/ 2137 w 134399"/>
                  <a:gd name="connsiteY4" fmla="*/ 51293 h 122532"/>
                  <a:gd name="connsiteX5" fmla="*/ 2137 w 134399"/>
                  <a:gd name="connsiteY5" fmla="*/ 31346 h 122532"/>
                  <a:gd name="connsiteX6" fmla="*/ 56280 w 134399"/>
                  <a:gd name="connsiteY6" fmla="*/ 0 h 122532"/>
                  <a:gd name="connsiteX7" fmla="*/ 59129 w 134399"/>
                  <a:gd name="connsiteY7" fmla="*/ 0 h 122532"/>
                  <a:gd name="connsiteX8" fmla="*/ 133219 w 134399"/>
                  <a:gd name="connsiteY8" fmla="*/ 65541 h 122532"/>
                  <a:gd name="connsiteX9" fmla="*/ 130370 w 134399"/>
                  <a:gd name="connsiteY9" fmla="*/ 74090 h 122532"/>
                  <a:gd name="connsiteX10" fmla="*/ 121821 w 134399"/>
                  <a:gd name="connsiteY10" fmla="*/ 71240 h 122532"/>
                  <a:gd name="connsiteX11" fmla="*/ 59129 w 134399"/>
                  <a:gd name="connsiteY11" fmla="*/ 11398 h 122532"/>
                  <a:gd name="connsiteX12" fmla="*/ 56280 w 134399"/>
                  <a:gd name="connsiteY12" fmla="*/ 11398 h 122532"/>
                  <a:gd name="connsiteX13" fmla="*/ 10686 w 134399"/>
                  <a:gd name="connsiteY13" fmla="*/ 37045 h 122532"/>
                  <a:gd name="connsiteX14" fmla="*/ 10686 w 134399"/>
                  <a:gd name="connsiteY14" fmla="*/ 45594 h 122532"/>
                  <a:gd name="connsiteX15" fmla="*/ 30633 w 134399"/>
                  <a:gd name="connsiteY15" fmla="*/ 51293 h 122532"/>
                  <a:gd name="connsiteX16" fmla="*/ 81926 w 134399"/>
                  <a:gd name="connsiteY16" fmla="*/ 74090 h 122532"/>
                  <a:gd name="connsiteX17" fmla="*/ 81926 w 134399"/>
                  <a:gd name="connsiteY17" fmla="*/ 79789 h 122532"/>
                  <a:gd name="connsiteX18" fmla="*/ 76227 w 134399"/>
                  <a:gd name="connsiteY18" fmla="*/ 116834 h 122532"/>
                  <a:gd name="connsiteX19" fmla="*/ 76227 w 134399"/>
                  <a:gd name="connsiteY19" fmla="*/ 122533 h 122532"/>
                  <a:gd name="connsiteX20" fmla="*/ 76227 w 134399"/>
                  <a:gd name="connsiteY20" fmla="*/ 122533 h 122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4399" h="122532">
                    <a:moveTo>
                      <a:pt x="76227" y="122533"/>
                    </a:moveTo>
                    <a:cubicBezTo>
                      <a:pt x="73377" y="122533"/>
                      <a:pt x="70528" y="122533"/>
                      <a:pt x="70528" y="119683"/>
                    </a:cubicBezTo>
                    <a:cubicBezTo>
                      <a:pt x="64829" y="102586"/>
                      <a:pt x="70528" y="85488"/>
                      <a:pt x="73377" y="76939"/>
                    </a:cubicBezTo>
                    <a:cubicBezTo>
                      <a:pt x="61979" y="62691"/>
                      <a:pt x="47731" y="62691"/>
                      <a:pt x="33483" y="62691"/>
                    </a:cubicBezTo>
                    <a:cubicBezTo>
                      <a:pt x="22084" y="62691"/>
                      <a:pt x="10686" y="62691"/>
                      <a:pt x="2137" y="51293"/>
                    </a:cubicBezTo>
                    <a:cubicBezTo>
                      <a:pt x="-712" y="45594"/>
                      <a:pt x="-712" y="39895"/>
                      <a:pt x="2137" y="31346"/>
                    </a:cubicBezTo>
                    <a:cubicBezTo>
                      <a:pt x="7836" y="17098"/>
                      <a:pt x="27784" y="2850"/>
                      <a:pt x="56280" y="0"/>
                    </a:cubicBezTo>
                    <a:cubicBezTo>
                      <a:pt x="56280" y="0"/>
                      <a:pt x="59129" y="0"/>
                      <a:pt x="59129" y="0"/>
                    </a:cubicBezTo>
                    <a:cubicBezTo>
                      <a:pt x="96174" y="0"/>
                      <a:pt x="130370" y="62691"/>
                      <a:pt x="133219" y="65541"/>
                    </a:cubicBezTo>
                    <a:cubicBezTo>
                      <a:pt x="136069" y="68391"/>
                      <a:pt x="133219" y="71240"/>
                      <a:pt x="130370" y="74090"/>
                    </a:cubicBezTo>
                    <a:cubicBezTo>
                      <a:pt x="127520" y="76939"/>
                      <a:pt x="124670" y="74090"/>
                      <a:pt x="121821" y="71240"/>
                    </a:cubicBezTo>
                    <a:cubicBezTo>
                      <a:pt x="113272" y="54143"/>
                      <a:pt x="84776" y="11398"/>
                      <a:pt x="59129" y="11398"/>
                    </a:cubicBezTo>
                    <a:cubicBezTo>
                      <a:pt x="59129" y="11398"/>
                      <a:pt x="56280" y="11398"/>
                      <a:pt x="56280" y="11398"/>
                    </a:cubicBezTo>
                    <a:cubicBezTo>
                      <a:pt x="33483" y="14248"/>
                      <a:pt x="16385" y="25646"/>
                      <a:pt x="10686" y="37045"/>
                    </a:cubicBezTo>
                    <a:cubicBezTo>
                      <a:pt x="10686" y="39895"/>
                      <a:pt x="7836" y="42744"/>
                      <a:pt x="10686" y="45594"/>
                    </a:cubicBezTo>
                    <a:cubicBezTo>
                      <a:pt x="13536" y="51293"/>
                      <a:pt x="19235" y="51293"/>
                      <a:pt x="30633" y="51293"/>
                    </a:cubicBezTo>
                    <a:cubicBezTo>
                      <a:pt x="44881" y="51293"/>
                      <a:pt x="67678" y="51293"/>
                      <a:pt x="81926" y="74090"/>
                    </a:cubicBezTo>
                    <a:cubicBezTo>
                      <a:pt x="81926" y="76939"/>
                      <a:pt x="81926" y="76939"/>
                      <a:pt x="81926" y="79789"/>
                    </a:cubicBezTo>
                    <a:cubicBezTo>
                      <a:pt x="81926" y="79789"/>
                      <a:pt x="70528" y="102586"/>
                      <a:pt x="76227" y="116834"/>
                    </a:cubicBezTo>
                    <a:cubicBezTo>
                      <a:pt x="81926" y="116834"/>
                      <a:pt x="79077" y="119683"/>
                      <a:pt x="76227" y="122533"/>
                    </a:cubicBezTo>
                    <a:cubicBezTo>
                      <a:pt x="76227" y="122533"/>
                      <a:pt x="76227" y="122533"/>
                      <a:pt x="76227" y="122533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13" name="图形 1">
              <a:extLst>
                <a:ext uri="{FF2B5EF4-FFF2-40B4-BE49-F238E27FC236}">
                  <a16:creationId xmlns:a16="http://schemas.microsoft.com/office/drawing/2014/main" id="{58D81753-55C3-41A2-AA4D-8F7FE56DBEEA}"/>
                </a:ext>
              </a:extLst>
            </p:cNvPr>
            <p:cNvGrpSpPr/>
            <p:nvPr/>
          </p:nvGrpSpPr>
          <p:grpSpPr>
            <a:xfrm>
              <a:off x="6981844" y="3301639"/>
              <a:ext cx="258975" cy="220602"/>
              <a:chOff x="6981844" y="3301639"/>
              <a:chExt cx="258975" cy="220602"/>
            </a:xfrm>
          </p:grpSpPr>
          <p:sp>
            <p:nvSpPr>
              <p:cNvPr id="414" name="任意多边形: 形状 413">
                <a:extLst>
                  <a:ext uri="{FF2B5EF4-FFF2-40B4-BE49-F238E27FC236}">
                    <a16:creationId xmlns:a16="http://schemas.microsoft.com/office/drawing/2014/main" id="{AD5DD924-9849-4AD6-8A1D-E0F0052515A3}"/>
                  </a:ext>
                </a:extLst>
              </p:cNvPr>
              <p:cNvSpPr/>
              <p:nvPr/>
            </p:nvSpPr>
            <p:spPr>
              <a:xfrm>
                <a:off x="6981844" y="3302293"/>
                <a:ext cx="258975" cy="219948"/>
              </a:xfrm>
              <a:custGeom>
                <a:avLst/>
                <a:gdLst>
                  <a:gd name="connsiteX0" fmla="*/ 170421 w 258975"/>
                  <a:gd name="connsiteY0" fmla="*/ 213855 h 219948"/>
                  <a:gd name="connsiteX1" fmla="*/ 113429 w 258975"/>
                  <a:gd name="connsiteY1" fmla="*/ 176810 h 219948"/>
                  <a:gd name="connsiteX2" fmla="*/ 50737 w 258975"/>
                  <a:gd name="connsiteY2" fmla="*/ 145464 h 219948"/>
                  <a:gd name="connsiteX3" fmla="*/ 22241 w 258975"/>
                  <a:gd name="connsiteY3" fmla="*/ 119818 h 219948"/>
                  <a:gd name="connsiteX4" fmla="*/ 70685 w 258975"/>
                  <a:gd name="connsiteY4" fmla="*/ 119818 h 219948"/>
                  <a:gd name="connsiteX5" fmla="*/ 36489 w 258975"/>
                  <a:gd name="connsiteY5" fmla="*/ 99871 h 219948"/>
                  <a:gd name="connsiteX6" fmla="*/ 2294 w 258975"/>
                  <a:gd name="connsiteY6" fmla="*/ 59976 h 219948"/>
                  <a:gd name="connsiteX7" fmla="*/ 10843 w 258975"/>
                  <a:gd name="connsiteY7" fmla="*/ 51427 h 219948"/>
                  <a:gd name="connsiteX8" fmla="*/ 2294 w 258975"/>
                  <a:gd name="connsiteY8" fmla="*/ 31480 h 219948"/>
                  <a:gd name="connsiteX9" fmla="*/ 50737 w 258975"/>
                  <a:gd name="connsiteY9" fmla="*/ 28631 h 219948"/>
                  <a:gd name="connsiteX10" fmla="*/ 93481 w 258975"/>
                  <a:gd name="connsiteY10" fmla="*/ 42879 h 219948"/>
                  <a:gd name="connsiteX11" fmla="*/ 70685 w 258975"/>
                  <a:gd name="connsiteY11" fmla="*/ 20082 h 219948"/>
                  <a:gd name="connsiteX12" fmla="*/ 64985 w 258975"/>
                  <a:gd name="connsiteY12" fmla="*/ 5834 h 219948"/>
                  <a:gd name="connsiteX13" fmla="*/ 119128 w 258975"/>
                  <a:gd name="connsiteY13" fmla="*/ 17232 h 219948"/>
                  <a:gd name="connsiteX14" fmla="*/ 258758 w 258975"/>
                  <a:gd name="connsiteY14" fmla="*/ 136916 h 219948"/>
                  <a:gd name="connsiteX15" fmla="*/ 210315 w 258975"/>
                  <a:gd name="connsiteY15" fmla="*/ 211005 h 219948"/>
                  <a:gd name="connsiteX16" fmla="*/ 170421 w 258975"/>
                  <a:gd name="connsiteY16" fmla="*/ 213855 h 21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8975" h="219948">
                    <a:moveTo>
                      <a:pt x="170421" y="213855"/>
                    </a:moveTo>
                    <a:cubicBezTo>
                      <a:pt x="150473" y="202456"/>
                      <a:pt x="133376" y="188208"/>
                      <a:pt x="113429" y="176810"/>
                    </a:cubicBezTo>
                    <a:cubicBezTo>
                      <a:pt x="93481" y="165411"/>
                      <a:pt x="70685" y="156863"/>
                      <a:pt x="50737" y="145464"/>
                    </a:cubicBezTo>
                    <a:cubicBezTo>
                      <a:pt x="42189" y="142615"/>
                      <a:pt x="22241" y="131216"/>
                      <a:pt x="22241" y="119818"/>
                    </a:cubicBezTo>
                    <a:cubicBezTo>
                      <a:pt x="22241" y="105570"/>
                      <a:pt x="47888" y="111269"/>
                      <a:pt x="70685" y="119818"/>
                    </a:cubicBezTo>
                    <a:cubicBezTo>
                      <a:pt x="59286" y="114119"/>
                      <a:pt x="47888" y="105570"/>
                      <a:pt x="36489" y="99871"/>
                    </a:cubicBezTo>
                    <a:cubicBezTo>
                      <a:pt x="25091" y="91322"/>
                      <a:pt x="-555" y="74224"/>
                      <a:pt x="2294" y="59976"/>
                    </a:cubicBezTo>
                    <a:cubicBezTo>
                      <a:pt x="2294" y="54277"/>
                      <a:pt x="5144" y="51427"/>
                      <a:pt x="10843" y="51427"/>
                    </a:cubicBezTo>
                    <a:cubicBezTo>
                      <a:pt x="2294" y="42879"/>
                      <a:pt x="-3405" y="37179"/>
                      <a:pt x="2294" y="31480"/>
                    </a:cubicBezTo>
                    <a:cubicBezTo>
                      <a:pt x="10843" y="20082"/>
                      <a:pt x="39339" y="25781"/>
                      <a:pt x="50737" y="28631"/>
                    </a:cubicBezTo>
                    <a:cubicBezTo>
                      <a:pt x="64985" y="31480"/>
                      <a:pt x="79233" y="37179"/>
                      <a:pt x="93481" y="42879"/>
                    </a:cubicBezTo>
                    <a:cubicBezTo>
                      <a:pt x="84933" y="34330"/>
                      <a:pt x="79233" y="28631"/>
                      <a:pt x="70685" y="20082"/>
                    </a:cubicBezTo>
                    <a:cubicBezTo>
                      <a:pt x="67835" y="17232"/>
                      <a:pt x="62136" y="11533"/>
                      <a:pt x="64985" y="5834"/>
                    </a:cubicBezTo>
                    <a:cubicBezTo>
                      <a:pt x="73534" y="-11264"/>
                      <a:pt x="110579" y="14383"/>
                      <a:pt x="119128" y="17232"/>
                    </a:cubicBezTo>
                    <a:cubicBezTo>
                      <a:pt x="170421" y="51427"/>
                      <a:pt x="213165" y="97021"/>
                      <a:pt x="258758" y="136916"/>
                    </a:cubicBezTo>
                    <a:cubicBezTo>
                      <a:pt x="261608" y="136916"/>
                      <a:pt x="235962" y="196757"/>
                      <a:pt x="210315" y="211005"/>
                    </a:cubicBezTo>
                    <a:cubicBezTo>
                      <a:pt x="190368" y="222404"/>
                      <a:pt x="184669" y="222404"/>
                      <a:pt x="170421" y="213855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5" name="任意多边形: 形状 414">
                <a:extLst>
                  <a:ext uri="{FF2B5EF4-FFF2-40B4-BE49-F238E27FC236}">
                    <a16:creationId xmlns:a16="http://schemas.microsoft.com/office/drawing/2014/main" id="{57C21C2C-45AA-4DE8-A53A-F4640A747E2B}"/>
                  </a:ext>
                </a:extLst>
              </p:cNvPr>
              <p:cNvSpPr/>
              <p:nvPr/>
            </p:nvSpPr>
            <p:spPr>
              <a:xfrm>
                <a:off x="7037590" y="3301639"/>
                <a:ext cx="122511" cy="86276"/>
              </a:xfrm>
              <a:custGeom>
                <a:avLst/>
                <a:gdLst>
                  <a:gd name="connsiteX0" fmla="*/ 80480 w 122511"/>
                  <a:gd name="connsiteY0" fmla="*/ 86276 h 86276"/>
                  <a:gd name="connsiteX1" fmla="*/ 74780 w 122511"/>
                  <a:gd name="connsiteY1" fmla="*/ 83427 h 86276"/>
                  <a:gd name="connsiteX2" fmla="*/ 29187 w 122511"/>
                  <a:gd name="connsiteY2" fmla="*/ 52081 h 86276"/>
                  <a:gd name="connsiteX3" fmla="*/ 691 w 122511"/>
                  <a:gd name="connsiteY3" fmla="*/ 9337 h 86276"/>
                  <a:gd name="connsiteX4" fmla="*/ 9240 w 122511"/>
                  <a:gd name="connsiteY4" fmla="*/ 788 h 86276"/>
                  <a:gd name="connsiteX5" fmla="*/ 120374 w 122511"/>
                  <a:gd name="connsiteY5" fmla="*/ 63479 h 86276"/>
                  <a:gd name="connsiteX6" fmla="*/ 120374 w 122511"/>
                  <a:gd name="connsiteY6" fmla="*/ 72028 h 86276"/>
                  <a:gd name="connsiteX7" fmla="*/ 111825 w 122511"/>
                  <a:gd name="connsiteY7" fmla="*/ 72028 h 86276"/>
                  <a:gd name="connsiteX8" fmla="*/ 12089 w 122511"/>
                  <a:gd name="connsiteY8" fmla="*/ 12187 h 86276"/>
                  <a:gd name="connsiteX9" fmla="*/ 34886 w 122511"/>
                  <a:gd name="connsiteY9" fmla="*/ 43532 h 86276"/>
                  <a:gd name="connsiteX10" fmla="*/ 83329 w 122511"/>
                  <a:gd name="connsiteY10" fmla="*/ 80577 h 86276"/>
                  <a:gd name="connsiteX11" fmla="*/ 80480 w 122511"/>
                  <a:gd name="connsiteY11" fmla="*/ 86276 h 86276"/>
                  <a:gd name="connsiteX12" fmla="*/ 80480 w 122511"/>
                  <a:gd name="connsiteY12" fmla="*/ 86276 h 86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22511" h="86276">
                    <a:moveTo>
                      <a:pt x="80480" y="86276"/>
                    </a:moveTo>
                    <a:cubicBezTo>
                      <a:pt x="77630" y="86276"/>
                      <a:pt x="77630" y="86276"/>
                      <a:pt x="74780" y="83427"/>
                    </a:cubicBezTo>
                    <a:cubicBezTo>
                      <a:pt x="71931" y="77727"/>
                      <a:pt x="49134" y="63479"/>
                      <a:pt x="29187" y="52081"/>
                    </a:cubicBezTo>
                    <a:cubicBezTo>
                      <a:pt x="26337" y="49231"/>
                      <a:pt x="-5009" y="29284"/>
                      <a:pt x="691" y="9337"/>
                    </a:cubicBezTo>
                    <a:cubicBezTo>
                      <a:pt x="691" y="3638"/>
                      <a:pt x="3540" y="788"/>
                      <a:pt x="9240" y="788"/>
                    </a:cubicBezTo>
                    <a:cubicBezTo>
                      <a:pt x="29187" y="-4911"/>
                      <a:pt x="74780" y="20735"/>
                      <a:pt x="120374" y="63479"/>
                    </a:cubicBezTo>
                    <a:cubicBezTo>
                      <a:pt x="123224" y="66329"/>
                      <a:pt x="123224" y="69179"/>
                      <a:pt x="120374" y="72028"/>
                    </a:cubicBezTo>
                    <a:cubicBezTo>
                      <a:pt x="117525" y="74878"/>
                      <a:pt x="114675" y="74878"/>
                      <a:pt x="111825" y="72028"/>
                    </a:cubicBezTo>
                    <a:cubicBezTo>
                      <a:pt x="60532" y="26435"/>
                      <a:pt x="23488" y="9337"/>
                      <a:pt x="12089" y="12187"/>
                    </a:cubicBezTo>
                    <a:cubicBezTo>
                      <a:pt x="9240" y="20735"/>
                      <a:pt x="23488" y="34983"/>
                      <a:pt x="34886" y="43532"/>
                    </a:cubicBezTo>
                    <a:cubicBezTo>
                      <a:pt x="49134" y="52081"/>
                      <a:pt x="80480" y="72028"/>
                      <a:pt x="83329" y="80577"/>
                    </a:cubicBezTo>
                    <a:cubicBezTo>
                      <a:pt x="86179" y="80577"/>
                      <a:pt x="83329" y="83427"/>
                      <a:pt x="80480" y="86276"/>
                    </a:cubicBezTo>
                    <a:cubicBezTo>
                      <a:pt x="80480" y="86276"/>
                      <a:pt x="80480" y="86276"/>
                      <a:pt x="80480" y="86276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6" name="任意多边形: 形状 415">
                <a:extLst>
                  <a:ext uri="{FF2B5EF4-FFF2-40B4-BE49-F238E27FC236}">
                    <a16:creationId xmlns:a16="http://schemas.microsoft.com/office/drawing/2014/main" id="{D0DB4ADD-F0D3-4682-B7E1-E9A6C42751C8}"/>
                  </a:ext>
                </a:extLst>
              </p:cNvPr>
              <p:cNvSpPr/>
              <p:nvPr/>
            </p:nvSpPr>
            <p:spPr>
              <a:xfrm>
                <a:off x="6982958" y="3343991"/>
                <a:ext cx="117301" cy="63871"/>
              </a:xfrm>
              <a:custGeom>
                <a:avLst/>
                <a:gdLst>
                  <a:gd name="connsiteX0" fmla="*/ 109465 w 117301"/>
                  <a:gd name="connsiteY0" fmla="*/ 63872 h 63871"/>
                  <a:gd name="connsiteX1" fmla="*/ 106615 w 117301"/>
                  <a:gd name="connsiteY1" fmla="*/ 61022 h 63871"/>
                  <a:gd name="connsiteX2" fmla="*/ 4030 w 117301"/>
                  <a:gd name="connsiteY2" fmla="*/ 12579 h 63871"/>
                  <a:gd name="connsiteX3" fmla="*/ 1180 w 117301"/>
                  <a:gd name="connsiteY3" fmla="*/ 4030 h 63871"/>
                  <a:gd name="connsiteX4" fmla="*/ 6879 w 117301"/>
                  <a:gd name="connsiteY4" fmla="*/ 1180 h 63871"/>
                  <a:gd name="connsiteX5" fmla="*/ 115164 w 117301"/>
                  <a:gd name="connsiteY5" fmla="*/ 52473 h 63871"/>
                  <a:gd name="connsiteX6" fmla="*/ 115164 w 117301"/>
                  <a:gd name="connsiteY6" fmla="*/ 61022 h 63871"/>
                  <a:gd name="connsiteX7" fmla="*/ 109465 w 117301"/>
                  <a:gd name="connsiteY7" fmla="*/ 63872 h 63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7301" h="63871">
                    <a:moveTo>
                      <a:pt x="109465" y="63872"/>
                    </a:moveTo>
                    <a:cubicBezTo>
                      <a:pt x="106615" y="63872"/>
                      <a:pt x="106615" y="63872"/>
                      <a:pt x="106615" y="61022"/>
                    </a:cubicBezTo>
                    <a:cubicBezTo>
                      <a:pt x="92367" y="46774"/>
                      <a:pt x="26827" y="21128"/>
                      <a:pt x="4030" y="12579"/>
                    </a:cubicBezTo>
                    <a:cubicBezTo>
                      <a:pt x="1180" y="12579"/>
                      <a:pt x="-1669" y="9729"/>
                      <a:pt x="1180" y="4030"/>
                    </a:cubicBezTo>
                    <a:cubicBezTo>
                      <a:pt x="1180" y="1180"/>
                      <a:pt x="4030" y="-1669"/>
                      <a:pt x="6879" y="1180"/>
                    </a:cubicBezTo>
                    <a:cubicBezTo>
                      <a:pt x="9729" y="1180"/>
                      <a:pt x="95217" y="32526"/>
                      <a:pt x="115164" y="52473"/>
                    </a:cubicBezTo>
                    <a:cubicBezTo>
                      <a:pt x="118014" y="55323"/>
                      <a:pt x="118014" y="58172"/>
                      <a:pt x="115164" y="61022"/>
                    </a:cubicBezTo>
                    <a:cubicBezTo>
                      <a:pt x="112315" y="63872"/>
                      <a:pt x="112315" y="63872"/>
                      <a:pt x="109465" y="6387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7" name="任意多边形: 形状 416">
                <a:extLst>
                  <a:ext uri="{FF2B5EF4-FFF2-40B4-BE49-F238E27FC236}">
                    <a16:creationId xmlns:a16="http://schemas.microsoft.com/office/drawing/2014/main" id="{988441A8-FDA5-4E29-ADD2-F9333029638C}"/>
                  </a:ext>
                </a:extLst>
              </p:cNvPr>
              <p:cNvSpPr/>
              <p:nvPr/>
            </p:nvSpPr>
            <p:spPr>
              <a:xfrm>
                <a:off x="7043980" y="3416412"/>
                <a:ext cx="42744" cy="31345"/>
              </a:xfrm>
              <a:custGeom>
                <a:avLst/>
                <a:gdLst>
                  <a:gd name="connsiteX0" fmla="*/ 37045 w 42744"/>
                  <a:gd name="connsiteY0" fmla="*/ 31346 h 31345"/>
                  <a:gd name="connsiteX1" fmla="*/ 34195 w 42744"/>
                  <a:gd name="connsiteY1" fmla="*/ 31346 h 31345"/>
                  <a:gd name="connsiteX2" fmla="*/ 2849 w 42744"/>
                  <a:gd name="connsiteY2" fmla="*/ 11398 h 31345"/>
                  <a:gd name="connsiteX3" fmla="*/ 0 w 42744"/>
                  <a:gd name="connsiteY3" fmla="*/ 2850 h 31345"/>
                  <a:gd name="connsiteX4" fmla="*/ 8549 w 42744"/>
                  <a:gd name="connsiteY4" fmla="*/ 0 h 31345"/>
                  <a:gd name="connsiteX5" fmla="*/ 39894 w 42744"/>
                  <a:gd name="connsiteY5" fmla="*/ 19947 h 31345"/>
                  <a:gd name="connsiteX6" fmla="*/ 42744 w 42744"/>
                  <a:gd name="connsiteY6" fmla="*/ 28496 h 31345"/>
                  <a:gd name="connsiteX7" fmla="*/ 37045 w 42744"/>
                  <a:gd name="connsiteY7" fmla="*/ 31346 h 31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744" h="31345">
                    <a:moveTo>
                      <a:pt x="37045" y="31346"/>
                    </a:moveTo>
                    <a:cubicBezTo>
                      <a:pt x="37045" y="31346"/>
                      <a:pt x="34195" y="31346"/>
                      <a:pt x="34195" y="31346"/>
                    </a:cubicBezTo>
                    <a:lnTo>
                      <a:pt x="2849" y="11398"/>
                    </a:lnTo>
                    <a:cubicBezTo>
                      <a:pt x="0" y="8549"/>
                      <a:pt x="0" y="5699"/>
                      <a:pt x="0" y="2850"/>
                    </a:cubicBezTo>
                    <a:cubicBezTo>
                      <a:pt x="2849" y="0"/>
                      <a:pt x="5699" y="0"/>
                      <a:pt x="8549" y="0"/>
                    </a:cubicBezTo>
                    <a:lnTo>
                      <a:pt x="39894" y="19947"/>
                    </a:lnTo>
                    <a:cubicBezTo>
                      <a:pt x="42744" y="22797"/>
                      <a:pt x="42744" y="25646"/>
                      <a:pt x="42744" y="28496"/>
                    </a:cubicBezTo>
                    <a:cubicBezTo>
                      <a:pt x="39894" y="31346"/>
                      <a:pt x="39894" y="31346"/>
                      <a:pt x="37045" y="31346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8" name="任意多边形: 形状 417">
                <a:extLst>
                  <a:ext uri="{FF2B5EF4-FFF2-40B4-BE49-F238E27FC236}">
                    <a16:creationId xmlns:a16="http://schemas.microsoft.com/office/drawing/2014/main" id="{9C0B7D48-480D-4EEF-938A-85CC565EE606}"/>
                  </a:ext>
                </a:extLst>
              </p:cNvPr>
              <p:cNvSpPr/>
              <p:nvPr/>
            </p:nvSpPr>
            <p:spPr>
              <a:xfrm>
                <a:off x="7103822" y="3402164"/>
                <a:ext cx="54142" cy="62691"/>
              </a:xfrm>
              <a:custGeom>
                <a:avLst/>
                <a:gdLst>
                  <a:gd name="connsiteX0" fmla="*/ 5700 w 54142"/>
                  <a:gd name="connsiteY0" fmla="*/ 62691 h 62691"/>
                  <a:gd name="connsiteX1" fmla="*/ 5700 w 54142"/>
                  <a:gd name="connsiteY1" fmla="*/ 62691 h 62691"/>
                  <a:gd name="connsiteX2" fmla="*/ 0 w 54142"/>
                  <a:gd name="connsiteY2" fmla="*/ 56992 h 62691"/>
                  <a:gd name="connsiteX3" fmla="*/ 45594 w 54142"/>
                  <a:gd name="connsiteY3" fmla="*/ 0 h 62691"/>
                  <a:gd name="connsiteX4" fmla="*/ 54143 w 54142"/>
                  <a:gd name="connsiteY4" fmla="*/ 2850 h 62691"/>
                  <a:gd name="connsiteX5" fmla="*/ 51293 w 54142"/>
                  <a:gd name="connsiteY5" fmla="*/ 11398 h 62691"/>
                  <a:gd name="connsiteX6" fmla="*/ 11399 w 54142"/>
                  <a:gd name="connsiteY6" fmla="*/ 62691 h 62691"/>
                  <a:gd name="connsiteX7" fmla="*/ 5700 w 54142"/>
                  <a:gd name="connsiteY7" fmla="*/ 62691 h 62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142" h="62691">
                    <a:moveTo>
                      <a:pt x="5700" y="62691"/>
                    </a:moveTo>
                    <a:cubicBezTo>
                      <a:pt x="5700" y="62691"/>
                      <a:pt x="5700" y="62691"/>
                      <a:pt x="5700" y="62691"/>
                    </a:cubicBezTo>
                    <a:cubicBezTo>
                      <a:pt x="0" y="62691"/>
                      <a:pt x="0" y="59842"/>
                      <a:pt x="0" y="56992"/>
                    </a:cubicBezTo>
                    <a:cubicBezTo>
                      <a:pt x="8549" y="19947"/>
                      <a:pt x="45594" y="0"/>
                      <a:pt x="45594" y="0"/>
                    </a:cubicBezTo>
                    <a:cubicBezTo>
                      <a:pt x="48444" y="0"/>
                      <a:pt x="51293" y="0"/>
                      <a:pt x="54143" y="2850"/>
                    </a:cubicBezTo>
                    <a:cubicBezTo>
                      <a:pt x="54143" y="5699"/>
                      <a:pt x="54143" y="8549"/>
                      <a:pt x="51293" y="11398"/>
                    </a:cubicBezTo>
                    <a:cubicBezTo>
                      <a:pt x="51293" y="11398"/>
                      <a:pt x="19948" y="28496"/>
                      <a:pt x="11399" y="62691"/>
                    </a:cubicBezTo>
                    <a:cubicBezTo>
                      <a:pt x="11399" y="62691"/>
                      <a:pt x="8549" y="62691"/>
                      <a:pt x="5700" y="62691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1847498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B92D4B06-4D55-44D0-A126-5710903F8D5A}"/>
              </a:ext>
            </a:extLst>
          </p:cNvPr>
          <p:cNvGrpSpPr/>
          <p:nvPr/>
        </p:nvGrpSpPr>
        <p:grpSpPr>
          <a:xfrm>
            <a:off x="2628083" y="1721282"/>
            <a:ext cx="2810389" cy="4826930"/>
            <a:chOff x="10002276" y="2222727"/>
            <a:chExt cx="2810389" cy="4826930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C0383BB3-8AEE-4E3F-9DA5-6A2E6E6B4072}"/>
                </a:ext>
              </a:extLst>
            </p:cNvPr>
            <p:cNvSpPr/>
            <p:nvPr/>
          </p:nvSpPr>
          <p:spPr>
            <a:xfrm>
              <a:off x="10101606" y="2535884"/>
              <a:ext cx="159578" cy="173825"/>
            </a:xfrm>
            <a:custGeom>
              <a:avLst/>
              <a:gdLst>
                <a:gd name="connsiteX0" fmla="*/ 148179 w 159578"/>
                <a:gd name="connsiteY0" fmla="*/ 0 h 173825"/>
                <a:gd name="connsiteX1" fmla="*/ 159578 w 159578"/>
                <a:gd name="connsiteY1" fmla="*/ 136781 h 173825"/>
                <a:gd name="connsiteX2" fmla="*/ 22796 w 159578"/>
                <a:gd name="connsiteY2" fmla="*/ 173826 h 173825"/>
                <a:gd name="connsiteX3" fmla="*/ 0 w 159578"/>
                <a:gd name="connsiteY3" fmla="*/ 11398 h 17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578" h="173825">
                  <a:moveTo>
                    <a:pt x="148179" y="0"/>
                  </a:moveTo>
                  <a:lnTo>
                    <a:pt x="159578" y="136781"/>
                  </a:lnTo>
                  <a:lnTo>
                    <a:pt x="22796" y="173826"/>
                  </a:lnTo>
                  <a:lnTo>
                    <a:pt x="0" y="11398"/>
                  </a:ln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AC01B916-5591-4E9F-82AC-E8669C386BAF}"/>
                </a:ext>
              </a:extLst>
            </p:cNvPr>
            <p:cNvSpPr/>
            <p:nvPr/>
          </p:nvSpPr>
          <p:spPr>
            <a:xfrm>
              <a:off x="10074396" y="2300950"/>
              <a:ext cx="196312" cy="266146"/>
            </a:xfrm>
            <a:custGeom>
              <a:avLst/>
              <a:gdLst>
                <a:gd name="connsiteX0" fmla="*/ 4412 w 196312"/>
                <a:gd name="connsiteY0" fmla="*/ 129499 h 266146"/>
                <a:gd name="connsiteX1" fmla="*/ 30059 w 196312"/>
                <a:gd name="connsiteY1" fmla="*/ 257731 h 266146"/>
                <a:gd name="connsiteX2" fmla="*/ 161140 w 196312"/>
                <a:gd name="connsiteY2" fmla="*/ 260581 h 266146"/>
                <a:gd name="connsiteX3" fmla="*/ 158291 w 196312"/>
                <a:gd name="connsiteY3" fmla="*/ 4116 h 266146"/>
                <a:gd name="connsiteX4" fmla="*/ 112698 w 196312"/>
                <a:gd name="connsiteY4" fmla="*/ 12665 h 266146"/>
                <a:gd name="connsiteX5" fmla="*/ 61404 w 196312"/>
                <a:gd name="connsiteY5" fmla="*/ 18364 h 266146"/>
                <a:gd name="connsiteX6" fmla="*/ 38608 w 196312"/>
                <a:gd name="connsiteY6" fmla="*/ 44011 h 266146"/>
                <a:gd name="connsiteX7" fmla="*/ 12961 w 196312"/>
                <a:gd name="connsiteY7" fmla="*/ 89604 h 266146"/>
                <a:gd name="connsiteX8" fmla="*/ 4412 w 196312"/>
                <a:gd name="connsiteY8" fmla="*/ 129499 h 26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6312" h="266146">
                  <a:moveTo>
                    <a:pt x="4412" y="129499"/>
                  </a:moveTo>
                  <a:cubicBezTo>
                    <a:pt x="12961" y="169393"/>
                    <a:pt x="-6986" y="232084"/>
                    <a:pt x="30059" y="257731"/>
                  </a:cubicBezTo>
                  <a:cubicBezTo>
                    <a:pt x="55706" y="274829"/>
                    <a:pt x="161140" y="260581"/>
                    <a:pt x="161140" y="260581"/>
                  </a:cubicBezTo>
                  <a:cubicBezTo>
                    <a:pt x="229532" y="217836"/>
                    <a:pt x="181088" y="61108"/>
                    <a:pt x="158291" y="4116"/>
                  </a:cubicBezTo>
                  <a:cubicBezTo>
                    <a:pt x="155442" y="-4433"/>
                    <a:pt x="112698" y="1266"/>
                    <a:pt x="112698" y="12665"/>
                  </a:cubicBezTo>
                  <a:cubicBezTo>
                    <a:pt x="112698" y="32612"/>
                    <a:pt x="69954" y="12665"/>
                    <a:pt x="61404" y="18364"/>
                  </a:cubicBezTo>
                  <a:cubicBezTo>
                    <a:pt x="50006" y="24063"/>
                    <a:pt x="38608" y="44011"/>
                    <a:pt x="38608" y="44011"/>
                  </a:cubicBezTo>
                  <a:cubicBezTo>
                    <a:pt x="27209" y="58259"/>
                    <a:pt x="18660" y="83905"/>
                    <a:pt x="12961" y="89604"/>
                  </a:cubicBezTo>
                  <a:cubicBezTo>
                    <a:pt x="-4136" y="98153"/>
                    <a:pt x="-1287" y="103852"/>
                    <a:pt x="4412" y="129499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ECDA6B90-23AC-4440-A8C9-3FCDFA1F1BDE}"/>
                </a:ext>
              </a:extLst>
            </p:cNvPr>
            <p:cNvSpPr/>
            <p:nvPr/>
          </p:nvSpPr>
          <p:spPr>
            <a:xfrm>
              <a:off x="12472476" y="3746966"/>
              <a:ext cx="205171" cy="210870"/>
            </a:xfrm>
            <a:custGeom>
              <a:avLst/>
              <a:gdLst>
                <a:gd name="connsiteX0" fmla="*/ 91188 w 205171"/>
                <a:gd name="connsiteY0" fmla="*/ 0 h 210870"/>
                <a:gd name="connsiteX1" fmla="*/ 0 w 205171"/>
                <a:gd name="connsiteY1" fmla="*/ 99736 h 210870"/>
                <a:gd name="connsiteX2" fmla="*/ 88338 w 205171"/>
                <a:gd name="connsiteY2" fmla="*/ 210871 h 210870"/>
                <a:gd name="connsiteX3" fmla="*/ 205172 w 205171"/>
                <a:gd name="connsiteY3" fmla="*/ 94037 h 210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171" h="210870">
                  <a:moveTo>
                    <a:pt x="91188" y="0"/>
                  </a:moveTo>
                  <a:lnTo>
                    <a:pt x="0" y="99736"/>
                  </a:lnTo>
                  <a:lnTo>
                    <a:pt x="88338" y="210871"/>
                  </a:lnTo>
                  <a:lnTo>
                    <a:pt x="205172" y="94037"/>
                  </a:ln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16E8F323-53BB-4D9A-ACBF-59F04416A244}"/>
                </a:ext>
              </a:extLst>
            </p:cNvPr>
            <p:cNvSpPr/>
            <p:nvPr/>
          </p:nvSpPr>
          <p:spPr>
            <a:xfrm>
              <a:off x="11560066" y="3338830"/>
              <a:ext cx="1086235" cy="1060695"/>
            </a:xfrm>
            <a:custGeom>
              <a:avLst/>
              <a:gdLst>
                <a:gd name="connsiteX0" fmla="*/ 68927 w 1086235"/>
                <a:gd name="connsiteY0" fmla="*/ 6342 h 1060695"/>
                <a:gd name="connsiteX1" fmla="*/ 399481 w 1086235"/>
                <a:gd name="connsiteY1" fmla="*/ 334046 h 1060695"/>
                <a:gd name="connsiteX2" fmla="*/ 581856 w 1086235"/>
                <a:gd name="connsiteY2" fmla="*/ 755787 h 1060695"/>
                <a:gd name="connsiteX3" fmla="*/ 952305 w 1086235"/>
                <a:gd name="connsiteY3" fmla="*/ 408136 h 1060695"/>
                <a:gd name="connsiteX4" fmla="*/ 1086236 w 1086235"/>
                <a:gd name="connsiteY4" fmla="*/ 559165 h 1060695"/>
                <a:gd name="connsiteX5" fmla="*/ 567608 w 1086235"/>
                <a:gd name="connsiteY5" fmla="*/ 1060695 h 1060695"/>
                <a:gd name="connsiteX6" fmla="*/ 68927 w 1086235"/>
                <a:gd name="connsiteY6" fmla="*/ 6342 h 106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6235" h="1060695">
                  <a:moveTo>
                    <a:pt x="68927" y="6342"/>
                  </a:moveTo>
                  <a:cubicBezTo>
                    <a:pt x="185760" y="-44951"/>
                    <a:pt x="339640" y="228611"/>
                    <a:pt x="399481" y="334046"/>
                  </a:cubicBezTo>
                  <a:cubicBezTo>
                    <a:pt x="453624" y="428083"/>
                    <a:pt x="581856" y="755787"/>
                    <a:pt x="581856" y="755787"/>
                  </a:cubicBezTo>
                  <a:lnTo>
                    <a:pt x="952305" y="408136"/>
                  </a:lnTo>
                  <a:lnTo>
                    <a:pt x="1086236" y="559165"/>
                  </a:lnTo>
                  <a:cubicBezTo>
                    <a:pt x="1086236" y="559165"/>
                    <a:pt x="687291" y="1057846"/>
                    <a:pt x="567608" y="1060695"/>
                  </a:cubicBezTo>
                  <a:cubicBezTo>
                    <a:pt x="362436" y="1060695"/>
                    <a:pt x="-193237" y="123175"/>
                    <a:pt x="68927" y="6342"/>
                  </a:cubicBezTo>
                  <a:close/>
                </a:path>
              </a:pathLst>
            </a:custGeom>
            <a:solidFill>
              <a:srgbClr val="708686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70AB798B-8FE5-41B2-B1D6-EE6205E13FCE}"/>
                </a:ext>
              </a:extLst>
            </p:cNvPr>
            <p:cNvGrpSpPr/>
            <p:nvPr/>
          </p:nvGrpSpPr>
          <p:grpSpPr>
            <a:xfrm>
              <a:off x="12045035" y="6633615"/>
              <a:ext cx="529822" cy="360062"/>
              <a:chOff x="12045035" y="6633615"/>
              <a:chExt cx="529822" cy="360062"/>
            </a:xfrm>
          </p:grpSpPr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C5F33D92-1099-4339-AF4C-46541A2CA93A}"/>
                  </a:ext>
                </a:extLst>
              </p:cNvPr>
              <p:cNvSpPr/>
              <p:nvPr/>
            </p:nvSpPr>
            <p:spPr>
              <a:xfrm>
                <a:off x="12045035" y="6633615"/>
                <a:ext cx="210871" cy="247915"/>
              </a:xfrm>
              <a:custGeom>
                <a:avLst/>
                <a:gdLst>
                  <a:gd name="connsiteX0" fmla="*/ 62692 w 210871"/>
                  <a:gd name="connsiteY0" fmla="*/ 216570 h 247915"/>
                  <a:gd name="connsiteX1" fmla="*/ 0 w 210871"/>
                  <a:gd name="connsiteY1" fmla="*/ 56992 h 247915"/>
                  <a:gd name="connsiteX2" fmla="*/ 162428 w 210871"/>
                  <a:gd name="connsiteY2" fmla="*/ 0 h 247915"/>
                  <a:gd name="connsiteX3" fmla="*/ 210871 w 210871"/>
                  <a:gd name="connsiteY3" fmla="*/ 173826 h 247915"/>
                  <a:gd name="connsiteX4" fmla="*/ 85488 w 210871"/>
                  <a:gd name="connsiteY4" fmla="*/ 247915 h 247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0871" h="247915">
                    <a:moveTo>
                      <a:pt x="62692" y="216570"/>
                    </a:moveTo>
                    <a:lnTo>
                      <a:pt x="0" y="56992"/>
                    </a:lnTo>
                    <a:lnTo>
                      <a:pt x="162428" y="0"/>
                    </a:lnTo>
                    <a:lnTo>
                      <a:pt x="210871" y="173826"/>
                    </a:lnTo>
                    <a:lnTo>
                      <a:pt x="85488" y="247915"/>
                    </a:ln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F5823EBC-AFC4-4FFF-8F26-43EF14EAFC01}"/>
                  </a:ext>
                </a:extLst>
              </p:cNvPr>
              <p:cNvSpPr/>
              <p:nvPr/>
            </p:nvSpPr>
            <p:spPr>
              <a:xfrm>
                <a:off x="12096172" y="6756148"/>
                <a:ext cx="464641" cy="199472"/>
              </a:xfrm>
              <a:custGeom>
                <a:avLst/>
                <a:gdLst>
                  <a:gd name="connsiteX0" fmla="*/ 156 w 464641"/>
                  <a:gd name="connsiteY0" fmla="*/ 99736 h 199472"/>
                  <a:gd name="connsiteX1" fmla="*/ 148335 w 464641"/>
                  <a:gd name="connsiteY1" fmla="*/ 0 h 199472"/>
                  <a:gd name="connsiteX2" fmla="*/ 290815 w 464641"/>
                  <a:gd name="connsiteY2" fmla="*/ 28496 h 199472"/>
                  <a:gd name="connsiteX3" fmla="*/ 464642 w 464641"/>
                  <a:gd name="connsiteY3" fmla="*/ 45593 h 199472"/>
                  <a:gd name="connsiteX4" fmla="*/ 34351 w 464641"/>
                  <a:gd name="connsiteY4" fmla="*/ 199472 h 199472"/>
                  <a:gd name="connsiteX5" fmla="*/ 156 w 464641"/>
                  <a:gd name="connsiteY5" fmla="*/ 99736 h 199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4641" h="199472">
                    <a:moveTo>
                      <a:pt x="156" y="99736"/>
                    </a:moveTo>
                    <a:cubicBezTo>
                      <a:pt x="156" y="99736"/>
                      <a:pt x="114141" y="76939"/>
                      <a:pt x="148335" y="0"/>
                    </a:cubicBezTo>
                    <a:cubicBezTo>
                      <a:pt x="148335" y="0"/>
                      <a:pt x="248071" y="34195"/>
                      <a:pt x="290815" y="28496"/>
                    </a:cubicBezTo>
                    <a:cubicBezTo>
                      <a:pt x="333560" y="22796"/>
                      <a:pt x="430447" y="-14248"/>
                      <a:pt x="464642" y="45593"/>
                    </a:cubicBezTo>
                    <a:lnTo>
                      <a:pt x="34351" y="199472"/>
                    </a:lnTo>
                    <a:cubicBezTo>
                      <a:pt x="34351" y="199472"/>
                      <a:pt x="-2693" y="148179"/>
                      <a:pt x="156" y="99736"/>
                    </a:cubicBezTo>
                    <a:close/>
                  </a:path>
                </a:pathLst>
              </a:custGeom>
              <a:solidFill>
                <a:srgbClr val="7E94B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51E3FF57-EB9B-49E8-9BAE-850CB3CDB188}"/>
                  </a:ext>
                </a:extLst>
              </p:cNvPr>
              <p:cNvSpPr/>
              <p:nvPr/>
            </p:nvSpPr>
            <p:spPr>
              <a:xfrm rot="-1175784">
                <a:off x="12124947" y="6875710"/>
                <a:ext cx="455947" cy="42745"/>
              </a:xfrm>
              <a:custGeom>
                <a:avLst/>
                <a:gdLst>
                  <a:gd name="connsiteX0" fmla="*/ 0 w 455947"/>
                  <a:gd name="connsiteY0" fmla="*/ 0 h 42745"/>
                  <a:gd name="connsiteX1" fmla="*/ 455947 w 455947"/>
                  <a:gd name="connsiteY1" fmla="*/ 0 h 42745"/>
                  <a:gd name="connsiteX2" fmla="*/ 455947 w 455947"/>
                  <a:gd name="connsiteY2" fmla="*/ 42745 h 42745"/>
                  <a:gd name="connsiteX3" fmla="*/ 0 w 455947"/>
                  <a:gd name="connsiteY3" fmla="*/ 42745 h 42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947" h="42745">
                    <a:moveTo>
                      <a:pt x="0" y="0"/>
                    </a:moveTo>
                    <a:lnTo>
                      <a:pt x="455947" y="0"/>
                    </a:lnTo>
                    <a:lnTo>
                      <a:pt x="455947" y="42745"/>
                    </a:lnTo>
                    <a:lnTo>
                      <a:pt x="0" y="42745"/>
                    </a:lnTo>
                    <a:close/>
                  </a:path>
                </a:pathLst>
              </a:custGeom>
              <a:solidFill>
                <a:srgbClr val="38333D"/>
              </a:solidFill>
              <a:ln w="28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B6EA467C-D691-442E-ADA9-E1F8FB788A3F}"/>
                  </a:ext>
                </a:extLst>
              </p:cNvPr>
              <p:cNvSpPr/>
              <p:nvPr/>
            </p:nvSpPr>
            <p:spPr>
              <a:xfrm>
                <a:off x="12090629" y="6753298"/>
                <a:ext cx="159578" cy="108285"/>
              </a:xfrm>
              <a:custGeom>
                <a:avLst/>
                <a:gdLst>
                  <a:gd name="connsiteX0" fmla="*/ 5700 w 159578"/>
                  <a:gd name="connsiteY0" fmla="*/ 108285 h 108285"/>
                  <a:gd name="connsiteX1" fmla="*/ 0 w 159578"/>
                  <a:gd name="connsiteY1" fmla="*/ 105435 h 108285"/>
                  <a:gd name="connsiteX2" fmla="*/ 2850 w 159578"/>
                  <a:gd name="connsiteY2" fmla="*/ 99736 h 108285"/>
                  <a:gd name="connsiteX3" fmla="*/ 148180 w 159578"/>
                  <a:gd name="connsiteY3" fmla="*/ 2850 h 108285"/>
                  <a:gd name="connsiteX4" fmla="*/ 156728 w 159578"/>
                  <a:gd name="connsiteY4" fmla="*/ 0 h 108285"/>
                  <a:gd name="connsiteX5" fmla="*/ 159578 w 159578"/>
                  <a:gd name="connsiteY5" fmla="*/ 8549 h 108285"/>
                  <a:gd name="connsiteX6" fmla="*/ 5700 w 159578"/>
                  <a:gd name="connsiteY6" fmla="*/ 108285 h 108285"/>
                  <a:gd name="connsiteX7" fmla="*/ 5700 w 159578"/>
                  <a:gd name="connsiteY7" fmla="*/ 108285 h 108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9578" h="108285">
                    <a:moveTo>
                      <a:pt x="5700" y="108285"/>
                    </a:moveTo>
                    <a:cubicBezTo>
                      <a:pt x="2850" y="108285"/>
                      <a:pt x="0" y="105435"/>
                      <a:pt x="0" y="105435"/>
                    </a:cubicBezTo>
                    <a:cubicBezTo>
                      <a:pt x="0" y="102586"/>
                      <a:pt x="0" y="99736"/>
                      <a:pt x="2850" y="99736"/>
                    </a:cubicBezTo>
                    <a:cubicBezTo>
                      <a:pt x="2850" y="99736"/>
                      <a:pt x="108285" y="76939"/>
                      <a:pt x="148180" y="2850"/>
                    </a:cubicBezTo>
                    <a:cubicBezTo>
                      <a:pt x="151030" y="0"/>
                      <a:pt x="153878" y="0"/>
                      <a:pt x="156728" y="0"/>
                    </a:cubicBezTo>
                    <a:cubicBezTo>
                      <a:pt x="159578" y="0"/>
                      <a:pt x="159578" y="5699"/>
                      <a:pt x="159578" y="8549"/>
                    </a:cubicBezTo>
                    <a:cubicBezTo>
                      <a:pt x="113984" y="85488"/>
                      <a:pt x="11398" y="105435"/>
                      <a:pt x="5700" y="108285"/>
                    </a:cubicBezTo>
                    <a:cubicBezTo>
                      <a:pt x="5700" y="108285"/>
                      <a:pt x="5700" y="108285"/>
                      <a:pt x="5700" y="10828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1D6B355C-D397-4554-9C01-9CD58585EDBC}"/>
                  </a:ext>
                </a:extLst>
              </p:cNvPr>
              <p:cNvSpPr/>
              <p:nvPr/>
            </p:nvSpPr>
            <p:spPr>
              <a:xfrm>
                <a:off x="12264455" y="6761847"/>
                <a:ext cx="22796" cy="42744"/>
              </a:xfrm>
              <a:custGeom>
                <a:avLst/>
                <a:gdLst>
                  <a:gd name="connsiteX0" fmla="*/ 5700 w 22796"/>
                  <a:gd name="connsiteY0" fmla="*/ 42744 h 42744"/>
                  <a:gd name="connsiteX1" fmla="*/ 5700 w 22796"/>
                  <a:gd name="connsiteY1" fmla="*/ 42744 h 42744"/>
                  <a:gd name="connsiteX2" fmla="*/ 0 w 22796"/>
                  <a:gd name="connsiteY2" fmla="*/ 34195 h 42744"/>
                  <a:gd name="connsiteX3" fmla="*/ 14248 w 22796"/>
                  <a:gd name="connsiteY3" fmla="*/ 2849 h 42744"/>
                  <a:gd name="connsiteX4" fmla="*/ 19948 w 22796"/>
                  <a:gd name="connsiteY4" fmla="*/ 0 h 42744"/>
                  <a:gd name="connsiteX5" fmla="*/ 22796 w 22796"/>
                  <a:gd name="connsiteY5" fmla="*/ 5699 h 42744"/>
                  <a:gd name="connsiteX6" fmla="*/ 8548 w 22796"/>
                  <a:gd name="connsiteY6" fmla="*/ 37045 h 42744"/>
                  <a:gd name="connsiteX7" fmla="*/ 5700 w 22796"/>
                  <a:gd name="connsiteY7" fmla="*/ 42744 h 42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796" h="42744">
                    <a:moveTo>
                      <a:pt x="5700" y="42744"/>
                    </a:moveTo>
                    <a:cubicBezTo>
                      <a:pt x="5700" y="42744"/>
                      <a:pt x="2850" y="42744"/>
                      <a:pt x="5700" y="42744"/>
                    </a:cubicBezTo>
                    <a:cubicBezTo>
                      <a:pt x="0" y="39894"/>
                      <a:pt x="0" y="37045"/>
                      <a:pt x="0" y="34195"/>
                    </a:cubicBezTo>
                    <a:lnTo>
                      <a:pt x="14248" y="2849"/>
                    </a:lnTo>
                    <a:cubicBezTo>
                      <a:pt x="14248" y="0"/>
                      <a:pt x="19948" y="0"/>
                      <a:pt x="19948" y="0"/>
                    </a:cubicBezTo>
                    <a:cubicBezTo>
                      <a:pt x="22796" y="0"/>
                      <a:pt x="22796" y="5699"/>
                      <a:pt x="22796" y="5699"/>
                    </a:cubicBezTo>
                    <a:lnTo>
                      <a:pt x="8548" y="37045"/>
                    </a:lnTo>
                    <a:cubicBezTo>
                      <a:pt x="8548" y="42744"/>
                      <a:pt x="5700" y="42744"/>
                      <a:pt x="5700" y="42744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416C0DC6-C9B5-4716-83F6-1B24DC004EE5}"/>
                  </a:ext>
                </a:extLst>
              </p:cNvPr>
              <p:cNvSpPr/>
              <p:nvPr/>
            </p:nvSpPr>
            <p:spPr>
              <a:xfrm>
                <a:off x="12307199" y="6773245"/>
                <a:ext cx="22796" cy="42744"/>
              </a:xfrm>
              <a:custGeom>
                <a:avLst/>
                <a:gdLst>
                  <a:gd name="connsiteX0" fmla="*/ 5700 w 22796"/>
                  <a:gd name="connsiteY0" fmla="*/ 42744 h 42744"/>
                  <a:gd name="connsiteX1" fmla="*/ 5700 w 22796"/>
                  <a:gd name="connsiteY1" fmla="*/ 42744 h 42744"/>
                  <a:gd name="connsiteX2" fmla="*/ 0 w 22796"/>
                  <a:gd name="connsiteY2" fmla="*/ 34195 h 42744"/>
                  <a:gd name="connsiteX3" fmla="*/ 14248 w 22796"/>
                  <a:gd name="connsiteY3" fmla="*/ 2850 h 42744"/>
                  <a:gd name="connsiteX4" fmla="*/ 19948 w 22796"/>
                  <a:gd name="connsiteY4" fmla="*/ 0 h 42744"/>
                  <a:gd name="connsiteX5" fmla="*/ 22796 w 22796"/>
                  <a:gd name="connsiteY5" fmla="*/ 5699 h 42744"/>
                  <a:gd name="connsiteX6" fmla="*/ 8548 w 22796"/>
                  <a:gd name="connsiteY6" fmla="*/ 37045 h 42744"/>
                  <a:gd name="connsiteX7" fmla="*/ 5700 w 22796"/>
                  <a:gd name="connsiteY7" fmla="*/ 42744 h 42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796" h="42744">
                    <a:moveTo>
                      <a:pt x="5700" y="42744"/>
                    </a:moveTo>
                    <a:cubicBezTo>
                      <a:pt x="2850" y="42744"/>
                      <a:pt x="2850" y="42744"/>
                      <a:pt x="5700" y="42744"/>
                    </a:cubicBezTo>
                    <a:cubicBezTo>
                      <a:pt x="0" y="39895"/>
                      <a:pt x="0" y="37045"/>
                      <a:pt x="0" y="34195"/>
                    </a:cubicBezTo>
                    <a:lnTo>
                      <a:pt x="14248" y="2850"/>
                    </a:lnTo>
                    <a:cubicBezTo>
                      <a:pt x="14248" y="0"/>
                      <a:pt x="19948" y="0"/>
                      <a:pt x="19948" y="0"/>
                    </a:cubicBezTo>
                    <a:cubicBezTo>
                      <a:pt x="22796" y="0"/>
                      <a:pt x="22796" y="5699"/>
                      <a:pt x="22796" y="5699"/>
                    </a:cubicBezTo>
                    <a:lnTo>
                      <a:pt x="8548" y="37045"/>
                    </a:lnTo>
                    <a:cubicBezTo>
                      <a:pt x="8548" y="42744"/>
                      <a:pt x="5700" y="42744"/>
                      <a:pt x="5700" y="42744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A5A5D5D3-B1C8-4B2C-BC34-552DFA0241F4}"/>
                </a:ext>
              </a:extLst>
            </p:cNvPr>
            <p:cNvGrpSpPr/>
            <p:nvPr/>
          </p:nvGrpSpPr>
          <p:grpSpPr>
            <a:xfrm>
              <a:off x="10925141" y="6727652"/>
              <a:ext cx="464485" cy="322005"/>
              <a:chOff x="10925141" y="6727652"/>
              <a:chExt cx="464485" cy="322005"/>
            </a:xfrm>
          </p:grpSpPr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7CCD03B9-FB08-4870-9210-135877CAA00C}"/>
                  </a:ext>
                </a:extLst>
              </p:cNvPr>
              <p:cNvSpPr/>
              <p:nvPr/>
            </p:nvSpPr>
            <p:spPr>
              <a:xfrm>
                <a:off x="10945089" y="6727652"/>
                <a:ext cx="170976" cy="210870"/>
              </a:xfrm>
              <a:custGeom>
                <a:avLst/>
                <a:gdLst>
                  <a:gd name="connsiteX0" fmla="*/ 0 w 170976"/>
                  <a:gd name="connsiteY0" fmla="*/ 173826 h 210870"/>
                  <a:gd name="connsiteX1" fmla="*/ 0 w 170976"/>
                  <a:gd name="connsiteY1" fmla="*/ 0 h 210870"/>
                  <a:gd name="connsiteX2" fmla="*/ 170976 w 170976"/>
                  <a:gd name="connsiteY2" fmla="*/ 0 h 210870"/>
                  <a:gd name="connsiteX3" fmla="*/ 153878 w 170976"/>
                  <a:gd name="connsiteY3" fmla="*/ 182375 h 210870"/>
                  <a:gd name="connsiteX4" fmla="*/ 11398 w 170976"/>
                  <a:gd name="connsiteY4" fmla="*/ 210871 h 210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976" h="210870">
                    <a:moveTo>
                      <a:pt x="0" y="173826"/>
                    </a:moveTo>
                    <a:lnTo>
                      <a:pt x="0" y="0"/>
                    </a:lnTo>
                    <a:lnTo>
                      <a:pt x="170976" y="0"/>
                    </a:lnTo>
                    <a:lnTo>
                      <a:pt x="153878" y="182375"/>
                    </a:lnTo>
                    <a:lnTo>
                      <a:pt x="11398" y="210871"/>
                    </a:ln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04FD0EEA-EDC1-4FA5-829B-C4523CB12DC2}"/>
                  </a:ext>
                </a:extLst>
              </p:cNvPr>
              <p:cNvSpPr/>
              <p:nvPr/>
            </p:nvSpPr>
            <p:spPr>
              <a:xfrm>
                <a:off x="10926091" y="6858733"/>
                <a:ext cx="463535" cy="148179"/>
              </a:xfrm>
              <a:custGeom>
                <a:avLst/>
                <a:gdLst>
                  <a:gd name="connsiteX0" fmla="*/ 7599 w 463535"/>
                  <a:gd name="connsiteY0" fmla="*/ 42744 h 148179"/>
                  <a:gd name="connsiteX1" fmla="*/ 181425 w 463535"/>
                  <a:gd name="connsiteY1" fmla="*/ 0 h 148179"/>
                  <a:gd name="connsiteX2" fmla="*/ 306807 w 463535"/>
                  <a:gd name="connsiteY2" fmla="*/ 74090 h 148179"/>
                  <a:gd name="connsiteX3" fmla="*/ 463535 w 463535"/>
                  <a:gd name="connsiteY3" fmla="*/ 148179 h 148179"/>
                  <a:gd name="connsiteX4" fmla="*/ 7599 w 463535"/>
                  <a:gd name="connsiteY4" fmla="*/ 148179 h 148179"/>
                  <a:gd name="connsiteX5" fmla="*/ 7599 w 463535"/>
                  <a:gd name="connsiteY5" fmla="*/ 42744 h 148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3535" h="148179">
                    <a:moveTo>
                      <a:pt x="7599" y="42744"/>
                    </a:moveTo>
                    <a:cubicBezTo>
                      <a:pt x="7599" y="42744"/>
                      <a:pt x="124433" y="59842"/>
                      <a:pt x="181425" y="0"/>
                    </a:cubicBezTo>
                    <a:cubicBezTo>
                      <a:pt x="181425" y="0"/>
                      <a:pt x="264063" y="65541"/>
                      <a:pt x="306807" y="74090"/>
                    </a:cubicBezTo>
                    <a:cubicBezTo>
                      <a:pt x="349551" y="82639"/>
                      <a:pt x="452137" y="79789"/>
                      <a:pt x="463535" y="148179"/>
                    </a:cubicBezTo>
                    <a:lnTo>
                      <a:pt x="7599" y="148179"/>
                    </a:lnTo>
                    <a:cubicBezTo>
                      <a:pt x="7599" y="148179"/>
                      <a:pt x="-9498" y="88338"/>
                      <a:pt x="7599" y="42744"/>
                    </a:cubicBezTo>
                    <a:close/>
                  </a:path>
                </a:pathLst>
              </a:custGeom>
              <a:solidFill>
                <a:srgbClr val="7E94B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2DCE690B-C044-4A4C-8A2F-8678FC9CF58F}"/>
                  </a:ext>
                </a:extLst>
              </p:cNvPr>
              <p:cNvSpPr/>
              <p:nvPr/>
            </p:nvSpPr>
            <p:spPr>
              <a:xfrm>
                <a:off x="10933690" y="7006913"/>
                <a:ext cx="455936" cy="42744"/>
              </a:xfrm>
              <a:custGeom>
                <a:avLst/>
                <a:gdLst>
                  <a:gd name="connsiteX0" fmla="*/ 0 w 455936"/>
                  <a:gd name="connsiteY0" fmla="*/ 0 h 42744"/>
                  <a:gd name="connsiteX1" fmla="*/ 455936 w 455936"/>
                  <a:gd name="connsiteY1" fmla="*/ 0 h 42744"/>
                  <a:gd name="connsiteX2" fmla="*/ 455936 w 455936"/>
                  <a:gd name="connsiteY2" fmla="*/ 42744 h 42744"/>
                  <a:gd name="connsiteX3" fmla="*/ 0 w 455936"/>
                  <a:gd name="connsiteY3" fmla="*/ 42744 h 42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936" h="42744">
                    <a:moveTo>
                      <a:pt x="0" y="0"/>
                    </a:moveTo>
                    <a:lnTo>
                      <a:pt x="455936" y="0"/>
                    </a:lnTo>
                    <a:lnTo>
                      <a:pt x="455936" y="42744"/>
                    </a:lnTo>
                    <a:lnTo>
                      <a:pt x="0" y="42744"/>
                    </a:ln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749963AC-8F84-4BF8-8EBD-8986EB7574B2}"/>
                  </a:ext>
                </a:extLst>
              </p:cNvPr>
              <p:cNvSpPr/>
              <p:nvPr/>
            </p:nvSpPr>
            <p:spPr>
              <a:xfrm>
                <a:off x="10925141" y="6848047"/>
                <a:ext cx="187361" cy="59129"/>
              </a:xfrm>
              <a:custGeom>
                <a:avLst/>
                <a:gdLst>
                  <a:gd name="connsiteX0" fmla="*/ 39894 w 187361"/>
                  <a:gd name="connsiteY0" fmla="*/ 59129 h 59129"/>
                  <a:gd name="connsiteX1" fmla="*/ 5700 w 187361"/>
                  <a:gd name="connsiteY1" fmla="*/ 56280 h 59129"/>
                  <a:gd name="connsiteX2" fmla="*/ 0 w 187361"/>
                  <a:gd name="connsiteY2" fmla="*/ 50581 h 59129"/>
                  <a:gd name="connsiteX3" fmla="*/ 5700 w 187361"/>
                  <a:gd name="connsiteY3" fmla="*/ 44881 h 59129"/>
                  <a:gd name="connsiteX4" fmla="*/ 176676 w 187361"/>
                  <a:gd name="connsiteY4" fmla="*/ 2137 h 59129"/>
                  <a:gd name="connsiteX5" fmla="*/ 185224 w 187361"/>
                  <a:gd name="connsiteY5" fmla="*/ 2137 h 59129"/>
                  <a:gd name="connsiteX6" fmla="*/ 185224 w 187361"/>
                  <a:gd name="connsiteY6" fmla="*/ 10686 h 59129"/>
                  <a:gd name="connsiteX7" fmla="*/ 39894 w 187361"/>
                  <a:gd name="connsiteY7" fmla="*/ 59129 h 59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7361" h="59129">
                    <a:moveTo>
                      <a:pt x="39894" y="59129"/>
                    </a:moveTo>
                    <a:cubicBezTo>
                      <a:pt x="19948" y="59129"/>
                      <a:pt x="8548" y="56280"/>
                      <a:pt x="5700" y="56280"/>
                    </a:cubicBezTo>
                    <a:cubicBezTo>
                      <a:pt x="2850" y="56280"/>
                      <a:pt x="0" y="53430"/>
                      <a:pt x="0" y="50581"/>
                    </a:cubicBezTo>
                    <a:cubicBezTo>
                      <a:pt x="0" y="47731"/>
                      <a:pt x="2850" y="44881"/>
                      <a:pt x="5700" y="44881"/>
                    </a:cubicBezTo>
                    <a:cubicBezTo>
                      <a:pt x="5700" y="44881"/>
                      <a:pt x="111134" y="59129"/>
                      <a:pt x="176676" y="2137"/>
                    </a:cubicBezTo>
                    <a:cubicBezTo>
                      <a:pt x="179525" y="-712"/>
                      <a:pt x="182375" y="-712"/>
                      <a:pt x="185224" y="2137"/>
                    </a:cubicBezTo>
                    <a:cubicBezTo>
                      <a:pt x="188074" y="4987"/>
                      <a:pt x="188074" y="7837"/>
                      <a:pt x="185224" y="10686"/>
                    </a:cubicBezTo>
                    <a:cubicBezTo>
                      <a:pt x="139630" y="53430"/>
                      <a:pt x="79789" y="59129"/>
                      <a:pt x="39894" y="591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D80358B7-492F-4394-9002-7B37AC0922E1}"/>
                  </a:ext>
                </a:extLst>
              </p:cNvPr>
              <p:cNvSpPr/>
              <p:nvPr/>
            </p:nvSpPr>
            <p:spPr>
              <a:xfrm>
                <a:off x="11111078" y="6873694"/>
                <a:ext cx="38469" cy="39182"/>
              </a:xfrm>
              <a:custGeom>
                <a:avLst/>
                <a:gdLst>
                  <a:gd name="connsiteX0" fmla="*/ 4987 w 38469"/>
                  <a:gd name="connsiteY0" fmla="*/ 39182 h 39182"/>
                  <a:gd name="connsiteX1" fmla="*/ 2137 w 38469"/>
                  <a:gd name="connsiteY1" fmla="*/ 36332 h 39182"/>
                  <a:gd name="connsiteX2" fmla="*/ 2137 w 38469"/>
                  <a:gd name="connsiteY2" fmla="*/ 27784 h 39182"/>
                  <a:gd name="connsiteX3" fmla="*/ 27784 w 38469"/>
                  <a:gd name="connsiteY3" fmla="*/ 2137 h 39182"/>
                  <a:gd name="connsiteX4" fmla="*/ 36332 w 38469"/>
                  <a:gd name="connsiteY4" fmla="*/ 2137 h 39182"/>
                  <a:gd name="connsiteX5" fmla="*/ 36332 w 38469"/>
                  <a:gd name="connsiteY5" fmla="*/ 10686 h 39182"/>
                  <a:gd name="connsiteX6" fmla="*/ 10686 w 38469"/>
                  <a:gd name="connsiteY6" fmla="*/ 36332 h 39182"/>
                  <a:gd name="connsiteX7" fmla="*/ 4987 w 38469"/>
                  <a:gd name="connsiteY7" fmla="*/ 39182 h 3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9" h="39182">
                    <a:moveTo>
                      <a:pt x="4987" y="39182"/>
                    </a:moveTo>
                    <a:cubicBezTo>
                      <a:pt x="4987" y="39182"/>
                      <a:pt x="2137" y="39182"/>
                      <a:pt x="2137" y="36332"/>
                    </a:cubicBezTo>
                    <a:cubicBezTo>
                      <a:pt x="-712" y="33483"/>
                      <a:pt x="-712" y="30633"/>
                      <a:pt x="2137" y="27784"/>
                    </a:cubicBezTo>
                    <a:lnTo>
                      <a:pt x="27784" y="2137"/>
                    </a:lnTo>
                    <a:cubicBezTo>
                      <a:pt x="30633" y="-712"/>
                      <a:pt x="33483" y="-712"/>
                      <a:pt x="36332" y="2137"/>
                    </a:cubicBezTo>
                    <a:cubicBezTo>
                      <a:pt x="39182" y="4987"/>
                      <a:pt x="39182" y="7836"/>
                      <a:pt x="36332" y="10686"/>
                    </a:cubicBezTo>
                    <a:lnTo>
                      <a:pt x="10686" y="36332"/>
                    </a:lnTo>
                    <a:cubicBezTo>
                      <a:pt x="7836" y="39182"/>
                      <a:pt x="4987" y="39182"/>
                      <a:pt x="4987" y="391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2B747E37-2EDB-43E4-95C5-1323FD0D4537}"/>
                  </a:ext>
                </a:extLst>
              </p:cNvPr>
              <p:cNvSpPr/>
              <p:nvPr/>
            </p:nvSpPr>
            <p:spPr>
              <a:xfrm>
                <a:off x="11145273" y="6899340"/>
                <a:ext cx="35619" cy="39181"/>
              </a:xfrm>
              <a:custGeom>
                <a:avLst/>
                <a:gdLst>
                  <a:gd name="connsiteX0" fmla="*/ 4986 w 35619"/>
                  <a:gd name="connsiteY0" fmla="*/ 39182 h 39181"/>
                  <a:gd name="connsiteX1" fmla="*/ 2137 w 35619"/>
                  <a:gd name="connsiteY1" fmla="*/ 36332 h 39181"/>
                  <a:gd name="connsiteX2" fmla="*/ 2137 w 35619"/>
                  <a:gd name="connsiteY2" fmla="*/ 27784 h 39181"/>
                  <a:gd name="connsiteX3" fmla="*/ 24934 w 35619"/>
                  <a:gd name="connsiteY3" fmla="*/ 2137 h 39181"/>
                  <a:gd name="connsiteX4" fmla="*/ 33483 w 35619"/>
                  <a:gd name="connsiteY4" fmla="*/ 2137 h 39181"/>
                  <a:gd name="connsiteX5" fmla="*/ 33483 w 35619"/>
                  <a:gd name="connsiteY5" fmla="*/ 10686 h 39181"/>
                  <a:gd name="connsiteX6" fmla="*/ 10686 w 35619"/>
                  <a:gd name="connsiteY6" fmla="*/ 36332 h 39181"/>
                  <a:gd name="connsiteX7" fmla="*/ 4986 w 35619"/>
                  <a:gd name="connsiteY7" fmla="*/ 39182 h 39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619" h="39181">
                    <a:moveTo>
                      <a:pt x="4986" y="39182"/>
                    </a:moveTo>
                    <a:cubicBezTo>
                      <a:pt x="4986" y="39182"/>
                      <a:pt x="2137" y="39182"/>
                      <a:pt x="2137" y="36332"/>
                    </a:cubicBezTo>
                    <a:cubicBezTo>
                      <a:pt x="-712" y="33483"/>
                      <a:pt x="-712" y="30633"/>
                      <a:pt x="2137" y="27784"/>
                    </a:cubicBezTo>
                    <a:lnTo>
                      <a:pt x="24934" y="2137"/>
                    </a:lnTo>
                    <a:cubicBezTo>
                      <a:pt x="27784" y="-712"/>
                      <a:pt x="30633" y="-712"/>
                      <a:pt x="33483" y="2137"/>
                    </a:cubicBezTo>
                    <a:cubicBezTo>
                      <a:pt x="36332" y="4987"/>
                      <a:pt x="36332" y="7836"/>
                      <a:pt x="33483" y="10686"/>
                    </a:cubicBezTo>
                    <a:lnTo>
                      <a:pt x="10686" y="36332"/>
                    </a:lnTo>
                    <a:cubicBezTo>
                      <a:pt x="7836" y="36332"/>
                      <a:pt x="7836" y="39182"/>
                      <a:pt x="4986" y="391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F35E45B5-D47C-40F6-A840-5FBD1B11B649}"/>
                </a:ext>
              </a:extLst>
            </p:cNvPr>
            <p:cNvSpPr/>
            <p:nvPr/>
          </p:nvSpPr>
          <p:spPr>
            <a:xfrm>
              <a:off x="10838251" y="4661689"/>
              <a:ext cx="1426203" cy="2134353"/>
            </a:xfrm>
            <a:custGeom>
              <a:avLst/>
              <a:gdLst>
                <a:gd name="connsiteX0" fmla="*/ 967417 w 1426203"/>
                <a:gd name="connsiteY0" fmla="*/ 17098 h 2134353"/>
                <a:gd name="connsiteX1" fmla="*/ 1266626 w 1426203"/>
                <a:gd name="connsiteY1" fmla="*/ 1054354 h 2134353"/>
                <a:gd name="connsiteX2" fmla="*/ 1426204 w 1426203"/>
                <a:gd name="connsiteY2" fmla="*/ 1989024 h 2134353"/>
                <a:gd name="connsiteX3" fmla="*/ 1155491 w 1426203"/>
                <a:gd name="connsiteY3" fmla="*/ 2097309 h 2134353"/>
                <a:gd name="connsiteX4" fmla="*/ 876230 w 1426203"/>
                <a:gd name="connsiteY4" fmla="*/ 1248127 h 2134353"/>
                <a:gd name="connsiteX5" fmla="*/ 502932 w 1426203"/>
                <a:gd name="connsiteY5" fmla="*/ 470185 h 2134353"/>
                <a:gd name="connsiteX6" fmla="*/ 460188 w 1426203"/>
                <a:gd name="connsiteY6" fmla="*/ 1379209 h 2134353"/>
                <a:gd name="connsiteX7" fmla="*/ 323406 w 1426203"/>
                <a:gd name="connsiteY7" fmla="*/ 2125805 h 2134353"/>
                <a:gd name="connsiteX8" fmla="*/ 55544 w 1426203"/>
                <a:gd name="connsiteY8" fmla="*/ 2134354 h 2134353"/>
                <a:gd name="connsiteX9" fmla="*/ 84040 w 1426203"/>
                <a:gd name="connsiteY9" fmla="*/ 1362111 h 2134353"/>
                <a:gd name="connsiteX10" fmla="*/ 9950 w 1426203"/>
                <a:gd name="connsiteY10" fmla="*/ 0 h 2134353"/>
                <a:gd name="connsiteX11" fmla="*/ 967417 w 1426203"/>
                <a:gd name="connsiteY11" fmla="*/ 17098 h 2134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26203" h="2134353">
                  <a:moveTo>
                    <a:pt x="967417" y="17098"/>
                  </a:moveTo>
                  <a:lnTo>
                    <a:pt x="1266626" y="1054354"/>
                  </a:lnTo>
                  <a:lnTo>
                    <a:pt x="1426204" y="1989024"/>
                  </a:lnTo>
                  <a:lnTo>
                    <a:pt x="1155491" y="2097309"/>
                  </a:lnTo>
                  <a:lnTo>
                    <a:pt x="876230" y="1248127"/>
                  </a:lnTo>
                  <a:cubicBezTo>
                    <a:pt x="876230" y="1248127"/>
                    <a:pt x="511480" y="484433"/>
                    <a:pt x="502932" y="470185"/>
                  </a:cubicBezTo>
                  <a:cubicBezTo>
                    <a:pt x="488684" y="441689"/>
                    <a:pt x="460188" y="1379209"/>
                    <a:pt x="460188" y="1379209"/>
                  </a:cubicBezTo>
                  <a:lnTo>
                    <a:pt x="323406" y="2125805"/>
                  </a:lnTo>
                  <a:lnTo>
                    <a:pt x="55544" y="2134354"/>
                  </a:lnTo>
                  <a:cubicBezTo>
                    <a:pt x="55544" y="2134354"/>
                    <a:pt x="89739" y="1456148"/>
                    <a:pt x="84040" y="1362111"/>
                  </a:cubicBezTo>
                  <a:cubicBezTo>
                    <a:pt x="75491" y="1219631"/>
                    <a:pt x="-32794" y="91187"/>
                    <a:pt x="9950" y="0"/>
                  </a:cubicBezTo>
                  <a:cubicBezTo>
                    <a:pt x="662510" y="28496"/>
                    <a:pt x="967417" y="17098"/>
                    <a:pt x="967417" y="17098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031E260C-D69B-4690-8EC3-71690EE9C4E8}"/>
                </a:ext>
              </a:extLst>
            </p:cNvPr>
            <p:cNvSpPr/>
            <p:nvPr/>
          </p:nvSpPr>
          <p:spPr>
            <a:xfrm>
              <a:off x="11335484" y="4792770"/>
              <a:ext cx="65541" cy="341952"/>
            </a:xfrm>
            <a:custGeom>
              <a:avLst/>
              <a:gdLst>
                <a:gd name="connsiteX0" fmla="*/ 5700 w 65541"/>
                <a:gd name="connsiteY0" fmla="*/ 341953 h 341952"/>
                <a:gd name="connsiteX1" fmla="*/ 5700 w 65541"/>
                <a:gd name="connsiteY1" fmla="*/ 341953 h 341952"/>
                <a:gd name="connsiteX2" fmla="*/ 0 w 65541"/>
                <a:gd name="connsiteY2" fmla="*/ 333404 h 341952"/>
                <a:gd name="connsiteX3" fmla="*/ 54142 w 65541"/>
                <a:gd name="connsiteY3" fmla="*/ 5699 h 341952"/>
                <a:gd name="connsiteX4" fmla="*/ 59842 w 65541"/>
                <a:gd name="connsiteY4" fmla="*/ 0 h 341952"/>
                <a:gd name="connsiteX5" fmla="*/ 59842 w 65541"/>
                <a:gd name="connsiteY5" fmla="*/ 0 h 341952"/>
                <a:gd name="connsiteX6" fmla="*/ 65541 w 65541"/>
                <a:gd name="connsiteY6" fmla="*/ 5699 h 341952"/>
                <a:gd name="connsiteX7" fmla="*/ 11398 w 65541"/>
                <a:gd name="connsiteY7" fmla="*/ 336253 h 341952"/>
                <a:gd name="connsiteX8" fmla="*/ 5700 w 65541"/>
                <a:gd name="connsiteY8" fmla="*/ 341953 h 341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541" h="341952">
                  <a:moveTo>
                    <a:pt x="5700" y="341953"/>
                  </a:moveTo>
                  <a:cubicBezTo>
                    <a:pt x="2850" y="341953"/>
                    <a:pt x="2850" y="341953"/>
                    <a:pt x="5700" y="341953"/>
                  </a:cubicBezTo>
                  <a:cubicBezTo>
                    <a:pt x="0" y="339103"/>
                    <a:pt x="0" y="336253"/>
                    <a:pt x="0" y="333404"/>
                  </a:cubicBezTo>
                  <a:cubicBezTo>
                    <a:pt x="45594" y="227968"/>
                    <a:pt x="54142" y="8549"/>
                    <a:pt x="54142" y="5699"/>
                  </a:cubicBezTo>
                  <a:cubicBezTo>
                    <a:pt x="54142" y="2850"/>
                    <a:pt x="56992" y="0"/>
                    <a:pt x="59842" y="0"/>
                  </a:cubicBezTo>
                  <a:lnTo>
                    <a:pt x="59842" y="0"/>
                  </a:lnTo>
                  <a:cubicBezTo>
                    <a:pt x="62692" y="0"/>
                    <a:pt x="65541" y="2850"/>
                    <a:pt x="65541" y="5699"/>
                  </a:cubicBezTo>
                  <a:cubicBezTo>
                    <a:pt x="65541" y="14248"/>
                    <a:pt x="56992" y="227968"/>
                    <a:pt x="11398" y="336253"/>
                  </a:cubicBezTo>
                  <a:cubicBezTo>
                    <a:pt x="8549" y="341953"/>
                    <a:pt x="5700" y="341953"/>
                    <a:pt x="5700" y="341953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2C5CC8C0-014B-481B-9ACC-27D649296075}"/>
                </a:ext>
              </a:extLst>
            </p:cNvPr>
            <p:cNvSpPr/>
            <p:nvPr/>
          </p:nvSpPr>
          <p:spPr>
            <a:xfrm>
              <a:off x="11359950" y="4727230"/>
              <a:ext cx="146510" cy="333403"/>
            </a:xfrm>
            <a:custGeom>
              <a:avLst/>
              <a:gdLst>
                <a:gd name="connsiteX0" fmla="*/ 6880 w 146510"/>
                <a:gd name="connsiteY0" fmla="*/ 333404 h 333403"/>
                <a:gd name="connsiteX1" fmla="*/ 1180 w 146510"/>
                <a:gd name="connsiteY1" fmla="*/ 330554 h 333403"/>
                <a:gd name="connsiteX2" fmla="*/ 4030 w 146510"/>
                <a:gd name="connsiteY2" fmla="*/ 322005 h 333403"/>
                <a:gd name="connsiteX3" fmla="*/ 103766 w 146510"/>
                <a:gd name="connsiteY3" fmla="*/ 250765 h 333403"/>
                <a:gd name="connsiteX4" fmla="*/ 135112 w 146510"/>
                <a:gd name="connsiteY4" fmla="*/ 5699 h 333403"/>
                <a:gd name="connsiteX5" fmla="*/ 140811 w 146510"/>
                <a:gd name="connsiteY5" fmla="*/ 0 h 333403"/>
                <a:gd name="connsiteX6" fmla="*/ 146510 w 146510"/>
                <a:gd name="connsiteY6" fmla="*/ 5699 h 333403"/>
                <a:gd name="connsiteX7" fmla="*/ 115164 w 146510"/>
                <a:gd name="connsiteY7" fmla="*/ 256464 h 333403"/>
                <a:gd name="connsiteX8" fmla="*/ 12579 w 146510"/>
                <a:gd name="connsiteY8" fmla="*/ 330554 h 333403"/>
                <a:gd name="connsiteX9" fmla="*/ 6880 w 146510"/>
                <a:gd name="connsiteY9" fmla="*/ 333404 h 333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6510" h="333403">
                  <a:moveTo>
                    <a:pt x="6880" y="333404"/>
                  </a:moveTo>
                  <a:cubicBezTo>
                    <a:pt x="4030" y="333404"/>
                    <a:pt x="4030" y="333404"/>
                    <a:pt x="1180" y="330554"/>
                  </a:cubicBezTo>
                  <a:cubicBezTo>
                    <a:pt x="-1669" y="327705"/>
                    <a:pt x="1180" y="324855"/>
                    <a:pt x="4030" y="322005"/>
                  </a:cubicBezTo>
                  <a:cubicBezTo>
                    <a:pt x="41075" y="299208"/>
                    <a:pt x="95217" y="259314"/>
                    <a:pt x="103766" y="250765"/>
                  </a:cubicBezTo>
                  <a:cubicBezTo>
                    <a:pt x="112315" y="239367"/>
                    <a:pt x="126563" y="94037"/>
                    <a:pt x="135112" y="5699"/>
                  </a:cubicBezTo>
                  <a:cubicBezTo>
                    <a:pt x="135112" y="2850"/>
                    <a:pt x="137962" y="0"/>
                    <a:pt x="140811" y="0"/>
                  </a:cubicBezTo>
                  <a:cubicBezTo>
                    <a:pt x="143660" y="0"/>
                    <a:pt x="146510" y="2850"/>
                    <a:pt x="146510" y="5699"/>
                  </a:cubicBezTo>
                  <a:cubicBezTo>
                    <a:pt x="143660" y="45594"/>
                    <a:pt x="123714" y="242216"/>
                    <a:pt x="115164" y="256464"/>
                  </a:cubicBezTo>
                  <a:cubicBezTo>
                    <a:pt x="103766" y="270712"/>
                    <a:pt x="21128" y="324855"/>
                    <a:pt x="12579" y="330554"/>
                  </a:cubicBezTo>
                  <a:cubicBezTo>
                    <a:pt x="9729" y="333404"/>
                    <a:pt x="9729" y="333404"/>
                    <a:pt x="6880" y="333404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5F0AA540-494A-49F0-9CD2-83016B86C848}"/>
                </a:ext>
              </a:extLst>
            </p:cNvPr>
            <p:cNvSpPr/>
            <p:nvPr/>
          </p:nvSpPr>
          <p:spPr>
            <a:xfrm>
              <a:off x="10822555" y="3253984"/>
              <a:ext cx="1000975" cy="1455975"/>
            </a:xfrm>
            <a:custGeom>
              <a:avLst/>
              <a:gdLst>
                <a:gd name="connsiteX0" fmla="*/ 387546 w 1000975"/>
                <a:gd name="connsiteY0" fmla="*/ 0 h 1455975"/>
                <a:gd name="connsiteX1" fmla="*/ 615515 w 1000975"/>
                <a:gd name="connsiteY1" fmla="*/ 8549 h 1455975"/>
                <a:gd name="connsiteX2" fmla="*/ 920423 w 1000975"/>
                <a:gd name="connsiteY2" fmla="*/ 113984 h 1455975"/>
                <a:gd name="connsiteX3" fmla="*/ 1000211 w 1000975"/>
                <a:gd name="connsiteY3" fmla="*/ 1427652 h 1455975"/>
                <a:gd name="connsiteX4" fmla="*/ 0 w 1000975"/>
                <a:gd name="connsiteY4" fmla="*/ 1404855 h 1455975"/>
                <a:gd name="connsiteX5" fmla="*/ 108285 w 1000975"/>
                <a:gd name="connsiteY5" fmla="*/ 88338 h 1455975"/>
                <a:gd name="connsiteX6" fmla="*/ 387546 w 1000975"/>
                <a:gd name="connsiteY6" fmla="*/ 0 h 1455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975" h="1455975">
                  <a:moveTo>
                    <a:pt x="387546" y="0"/>
                  </a:moveTo>
                  <a:cubicBezTo>
                    <a:pt x="387546" y="0"/>
                    <a:pt x="507230" y="62691"/>
                    <a:pt x="615515" y="8549"/>
                  </a:cubicBezTo>
                  <a:cubicBezTo>
                    <a:pt x="615515" y="8549"/>
                    <a:pt x="880528" y="59842"/>
                    <a:pt x="920423" y="113984"/>
                  </a:cubicBezTo>
                  <a:cubicBezTo>
                    <a:pt x="943219" y="145330"/>
                    <a:pt x="1008760" y="1364960"/>
                    <a:pt x="1000211" y="1427652"/>
                  </a:cubicBezTo>
                  <a:cubicBezTo>
                    <a:pt x="1000211" y="1427652"/>
                    <a:pt x="541425" y="1504591"/>
                    <a:pt x="0" y="1404855"/>
                  </a:cubicBezTo>
                  <a:cubicBezTo>
                    <a:pt x="0" y="1071451"/>
                    <a:pt x="68390" y="116834"/>
                    <a:pt x="108285" y="88338"/>
                  </a:cubicBezTo>
                  <a:cubicBezTo>
                    <a:pt x="173826" y="42744"/>
                    <a:pt x="387546" y="0"/>
                    <a:pt x="387546" y="0"/>
                  </a:cubicBezTo>
                  <a:close/>
                </a:path>
              </a:pathLst>
            </a:custGeom>
            <a:solidFill>
              <a:srgbClr val="708686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913B7193-0F54-482D-87CD-0AC3AB33AF69}"/>
                </a:ext>
              </a:extLst>
            </p:cNvPr>
            <p:cNvSpPr/>
            <p:nvPr/>
          </p:nvSpPr>
          <p:spPr>
            <a:xfrm>
              <a:off x="11737278" y="3365119"/>
              <a:ext cx="49623" cy="692453"/>
            </a:xfrm>
            <a:custGeom>
              <a:avLst/>
              <a:gdLst>
                <a:gd name="connsiteX0" fmla="*/ 45594 w 49623"/>
                <a:gd name="connsiteY0" fmla="*/ 692454 h 692453"/>
                <a:gd name="connsiteX1" fmla="*/ 39894 w 49623"/>
                <a:gd name="connsiteY1" fmla="*/ 686755 h 692453"/>
                <a:gd name="connsiteX2" fmla="*/ 0 w 49623"/>
                <a:gd name="connsiteY2" fmla="*/ 5699 h 692453"/>
                <a:gd name="connsiteX3" fmla="*/ 2850 w 49623"/>
                <a:gd name="connsiteY3" fmla="*/ 0 h 692453"/>
                <a:gd name="connsiteX4" fmla="*/ 8548 w 49623"/>
                <a:gd name="connsiteY4" fmla="*/ 2850 h 692453"/>
                <a:gd name="connsiteX5" fmla="*/ 48444 w 49623"/>
                <a:gd name="connsiteY5" fmla="*/ 686755 h 692453"/>
                <a:gd name="connsiteX6" fmla="*/ 45594 w 49623"/>
                <a:gd name="connsiteY6" fmla="*/ 692454 h 692453"/>
                <a:gd name="connsiteX7" fmla="*/ 45594 w 49623"/>
                <a:gd name="connsiteY7" fmla="*/ 692454 h 692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623" h="692453">
                  <a:moveTo>
                    <a:pt x="45594" y="692454"/>
                  </a:moveTo>
                  <a:cubicBezTo>
                    <a:pt x="42744" y="692454"/>
                    <a:pt x="39894" y="689604"/>
                    <a:pt x="39894" y="686755"/>
                  </a:cubicBezTo>
                  <a:cubicBezTo>
                    <a:pt x="39894" y="681055"/>
                    <a:pt x="5700" y="42744"/>
                    <a:pt x="0" y="5699"/>
                  </a:cubicBezTo>
                  <a:cubicBezTo>
                    <a:pt x="0" y="2850"/>
                    <a:pt x="0" y="0"/>
                    <a:pt x="2850" y="0"/>
                  </a:cubicBezTo>
                  <a:cubicBezTo>
                    <a:pt x="5700" y="0"/>
                    <a:pt x="8548" y="0"/>
                    <a:pt x="8548" y="2850"/>
                  </a:cubicBezTo>
                  <a:cubicBezTo>
                    <a:pt x="17098" y="39895"/>
                    <a:pt x="48444" y="661108"/>
                    <a:pt x="48444" y="686755"/>
                  </a:cubicBezTo>
                  <a:cubicBezTo>
                    <a:pt x="51293" y="689604"/>
                    <a:pt x="48444" y="692454"/>
                    <a:pt x="45594" y="692454"/>
                  </a:cubicBezTo>
                  <a:cubicBezTo>
                    <a:pt x="45594" y="692454"/>
                    <a:pt x="45594" y="692454"/>
                    <a:pt x="45594" y="692454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F67D3147-0EC0-4B77-8F95-B9DF4866C952}"/>
                </a:ext>
              </a:extLst>
            </p:cNvPr>
            <p:cNvSpPr/>
            <p:nvPr/>
          </p:nvSpPr>
          <p:spPr>
            <a:xfrm>
              <a:off x="12556117" y="3569545"/>
              <a:ext cx="233377" cy="282855"/>
            </a:xfrm>
            <a:custGeom>
              <a:avLst/>
              <a:gdLst>
                <a:gd name="connsiteX0" fmla="*/ 226966 w 233377"/>
                <a:gd name="connsiteY0" fmla="*/ 154624 h 282855"/>
                <a:gd name="connsiteX1" fmla="*/ 232665 w 233377"/>
                <a:gd name="connsiteY1" fmla="*/ 103331 h 282855"/>
                <a:gd name="connsiteX2" fmla="*/ 229815 w 233377"/>
                <a:gd name="connsiteY2" fmla="*/ 69136 h 282855"/>
                <a:gd name="connsiteX3" fmla="*/ 189921 w 233377"/>
                <a:gd name="connsiteY3" fmla="*/ 34940 h 282855"/>
                <a:gd name="connsiteX4" fmla="*/ 158575 w 233377"/>
                <a:gd name="connsiteY4" fmla="*/ 745 h 282855"/>
                <a:gd name="connsiteX5" fmla="*/ 4697 w 233377"/>
                <a:gd name="connsiteY5" fmla="*/ 205917 h 282855"/>
                <a:gd name="connsiteX6" fmla="*/ 112982 w 233377"/>
                <a:gd name="connsiteY6" fmla="*/ 282856 h 282855"/>
                <a:gd name="connsiteX7" fmla="*/ 209868 w 233377"/>
                <a:gd name="connsiteY7" fmla="*/ 194518 h 282855"/>
                <a:gd name="connsiteX8" fmla="*/ 226966 w 233377"/>
                <a:gd name="connsiteY8" fmla="*/ 154624 h 282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3377" h="282855">
                  <a:moveTo>
                    <a:pt x="226966" y="154624"/>
                  </a:moveTo>
                  <a:cubicBezTo>
                    <a:pt x="224116" y="146075"/>
                    <a:pt x="232665" y="120429"/>
                    <a:pt x="232665" y="103331"/>
                  </a:cubicBezTo>
                  <a:cubicBezTo>
                    <a:pt x="232665" y="100481"/>
                    <a:pt x="235515" y="77685"/>
                    <a:pt x="229815" y="69136"/>
                  </a:cubicBezTo>
                  <a:cubicBezTo>
                    <a:pt x="224116" y="57737"/>
                    <a:pt x="178523" y="49188"/>
                    <a:pt x="189921" y="34940"/>
                  </a:cubicBezTo>
                  <a:cubicBezTo>
                    <a:pt x="195620" y="23542"/>
                    <a:pt x="167124" y="-4954"/>
                    <a:pt x="158575" y="745"/>
                  </a:cubicBezTo>
                  <a:cubicBezTo>
                    <a:pt x="107282" y="34940"/>
                    <a:pt x="-26649" y="131827"/>
                    <a:pt x="4697" y="205917"/>
                  </a:cubicBezTo>
                  <a:cubicBezTo>
                    <a:pt x="4697" y="205917"/>
                    <a:pt x="81636" y="280006"/>
                    <a:pt x="112982" y="282856"/>
                  </a:cubicBezTo>
                  <a:cubicBezTo>
                    <a:pt x="158575" y="282856"/>
                    <a:pt x="178523" y="223014"/>
                    <a:pt x="209868" y="194518"/>
                  </a:cubicBezTo>
                  <a:cubicBezTo>
                    <a:pt x="226966" y="174571"/>
                    <a:pt x="232665" y="168872"/>
                    <a:pt x="226966" y="154624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F113B548-FA0E-4B1F-AEB0-D52D5875A261}"/>
                </a:ext>
              </a:extLst>
            </p:cNvPr>
            <p:cNvSpPr/>
            <p:nvPr/>
          </p:nvSpPr>
          <p:spPr>
            <a:xfrm>
              <a:off x="10093056" y="2601425"/>
              <a:ext cx="1032985" cy="1069393"/>
            </a:xfrm>
            <a:custGeom>
              <a:avLst/>
              <a:gdLst>
                <a:gd name="connsiteX0" fmla="*/ 1028707 w 1032985"/>
                <a:gd name="connsiteY0" fmla="*/ 877678 h 1069393"/>
                <a:gd name="connsiteX1" fmla="*/ 874829 w 1032985"/>
                <a:gd name="connsiteY1" fmla="*/ 709552 h 1069393"/>
                <a:gd name="connsiteX2" fmla="*/ 404644 w 1032985"/>
                <a:gd name="connsiteY2" fmla="*/ 569921 h 1069393"/>
                <a:gd name="connsiteX3" fmla="*/ 173826 w 1032985"/>
                <a:gd name="connsiteY3" fmla="*/ 0 h 1069393"/>
                <a:gd name="connsiteX4" fmla="*/ 0 w 1032985"/>
                <a:gd name="connsiteY4" fmla="*/ 2850 h 1069393"/>
                <a:gd name="connsiteX5" fmla="*/ 148180 w 1032985"/>
                <a:gd name="connsiteY5" fmla="*/ 803588 h 1069393"/>
                <a:gd name="connsiteX6" fmla="*/ 923272 w 1032985"/>
                <a:gd name="connsiteY6" fmla="*/ 1068602 h 1069393"/>
                <a:gd name="connsiteX7" fmla="*/ 1028707 w 1032985"/>
                <a:gd name="connsiteY7" fmla="*/ 877678 h 10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2985" h="1069393">
                  <a:moveTo>
                    <a:pt x="1028707" y="877678"/>
                  </a:moveTo>
                  <a:cubicBezTo>
                    <a:pt x="1042955" y="806438"/>
                    <a:pt x="1028707" y="749446"/>
                    <a:pt x="874829" y="709552"/>
                  </a:cubicBezTo>
                  <a:cubicBezTo>
                    <a:pt x="661109" y="649710"/>
                    <a:pt x="404644" y="569921"/>
                    <a:pt x="404644" y="569921"/>
                  </a:cubicBezTo>
                  <a:lnTo>
                    <a:pt x="173826" y="0"/>
                  </a:lnTo>
                  <a:lnTo>
                    <a:pt x="0" y="2850"/>
                  </a:lnTo>
                  <a:cubicBezTo>
                    <a:pt x="0" y="2850"/>
                    <a:pt x="76940" y="706702"/>
                    <a:pt x="148180" y="803588"/>
                  </a:cubicBezTo>
                  <a:cubicBezTo>
                    <a:pt x="205172" y="883377"/>
                    <a:pt x="589868" y="1025858"/>
                    <a:pt x="923272" y="1068602"/>
                  </a:cubicBezTo>
                  <a:cubicBezTo>
                    <a:pt x="1011610" y="1080000"/>
                    <a:pt x="1011610" y="966016"/>
                    <a:pt x="1028707" y="877678"/>
                  </a:cubicBezTo>
                  <a:close/>
                </a:path>
              </a:pathLst>
            </a:custGeom>
            <a:solidFill>
              <a:srgbClr val="708686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16040F0B-1156-4E04-945E-D14D34373396}"/>
                </a:ext>
              </a:extLst>
            </p:cNvPr>
            <p:cNvSpPr/>
            <p:nvPr/>
          </p:nvSpPr>
          <p:spPr>
            <a:xfrm>
              <a:off x="10428044" y="3165646"/>
              <a:ext cx="613931" cy="162427"/>
            </a:xfrm>
            <a:custGeom>
              <a:avLst/>
              <a:gdLst>
                <a:gd name="connsiteX0" fmla="*/ 608232 w 613931"/>
                <a:gd name="connsiteY0" fmla="*/ 162427 h 162427"/>
                <a:gd name="connsiteX1" fmla="*/ 608232 w 613931"/>
                <a:gd name="connsiteY1" fmla="*/ 162427 h 162427"/>
                <a:gd name="connsiteX2" fmla="*/ 485699 w 613931"/>
                <a:gd name="connsiteY2" fmla="*/ 133931 h 162427"/>
                <a:gd name="connsiteX3" fmla="*/ 69657 w 613931"/>
                <a:gd name="connsiteY3" fmla="*/ 11398 h 162427"/>
                <a:gd name="connsiteX4" fmla="*/ 9815 w 613931"/>
                <a:gd name="connsiteY4" fmla="*/ 54143 h 162427"/>
                <a:gd name="connsiteX5" fmla="*/ 1267 w 613931"/>
                <a:gd name="connsiteY5" fmla="*/ 54143 h 162427"/>
                <a:gd name="connsiteX6" fmla="*/ 1267 w 613931"/>
                <a:gd name="connsiteY6" fmla="*/ 45594 h 162427"/>
                <a:gd name="connsiteX7" fmla="*/ 66807 w 613931"/>
                <a:gd name="connsiteY7" fmla="*/ 0 h 162427"/>
                <a:gd name="connsiteX8" fmla="*/ 69657 w 613931"/>
                <a:gd name="connsiteY8" fmla="*/ 0 h 162427"/>
                <a:gd name="connsiteX9" fmla="*/ 488549 w 613931"/>
                <a:gd name="connsiteY9" fmla="*/ 125383 h 162427"/>
                <a:gd name="connsiteX10" fmla="*/ 608232 w 613931"/>
                <a:gd name="connsiteY10" fmla="*/ 153879 h 162427"/>
                <a:gd name="connsiteX11" fmla="*/ 613931 w 613931"/>
                <a:gd name="connsiteY11" fmla="*/ 159578 h 162427"/>
                <a:gd name="connsiteX12" fmla="*/ 608232 w 613931"/>
                <a:gd name="connsiteY12" fmla="*/ 162427 h 162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3931" h="162427">
                  <a:moveTo>
                    <a:pt x="608232" y="162427"/>
                  </a:moveTo>
                  <a:cubicBezTo>
                    <a:pt x="605382" y="162427"/>
                    <a:pt x="605382" y="162427"/>
                    <a:pt x="608232" y="162427"/>
                  </a:cubicBezTo>
                  <a:cubicBezTo>
                    <a:pt x="545541" y="156728"/>
                    <a:pt x="485699" y="133931"/>
                    <a:pt x="485699" y="133931"/>
                  </a:cubicBezTo>
                  <a:cubicBezTo>
                    <a:pt x="434406" y="119683"/>
                    <a:pt x="103852" y="19947"/>
                    <a:pt x="69657" y="11398"/>
                  </a:cubicBezTo>
                  <a:lnTo>
                    <a:pt x="9815" y="54143"/>
                  </a:lnTo>
                  <a:cubicBezTo>
                    <a:pt x="6965" y="56992"/>
                    <a:pt x="4116" y="54143"/>
                    <a:pt x="1267" y="54143"/>
                  </a:cubicBezTo>
                  <a:cubicBezTo>
                    <a:pt x="-1583" y="51293"/>
                    <a:pt x="1267" y="48443"/>
                    <a:pt x="1267" y="45594"/>
                  </a:cubicBezTo>
                  <a:lnTo>
                    <a:pt x="66807" y="0"/>
                  </a:lnTo>
                  <a:lnTo>
                    <a:pt x="69657" y="0"/>
                  </a:lnTo>
                  <a:cubicBezTo>
                    <a:pt x="72507" y="0"/>
                    <a:pt x="434406" y="108285"/>
                    <a:pt x="488549" y="125383"/>
                  </a:cubicBezTo>
                  <a:cubicBezTo>
                    <a:pt x="488549" y="125383"/>
                    <a:pt x="551240" y="148179"/>
                    <a:pt x="608232" y="153879"/>
                  </a:cubicBezTo>
                  <a:cubicBezTo>
                    <a:pt x="611082" y="153879"/>
                    <a:pt x="613931" y="156728"/>
                    <a:pt x="613931" y="159578"/>
                  </a:cubicBezTo>
                  <a:cubicBezTo>
                    <a:pt x="611082" y="162427"/>
                    <a:pt x="608232" y="162427"/>
                    <a:pt x="608232" y="162427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7" name="图形 1">
              <a:extLst>
                <a:ext uri="{FF2B5EF4-FFF2-40B4-BE49-F238E27FC236}">
                  <a16:creationId xmlns:a16="http://schemas.microsoft.com/office/drawing/2014/main" id="{C0F70019-5940-4CE0-A0A4-A4100E1B8F46}"/>
                </a:ext>
              </a:extLst>
            </p:cNvPr>
            <p:cNvGrpSpPr/>
            <p:nvPr/>
          </p:nvGrpSpPr>
          <p:grpSpPr>
            <a:xfrm>
              <a:off x="11375378" y="3416412"/>
              <a:ext cx="76939" cy="1091398"/>
              <a:chOff x="11375378" y="3416412"/>
              <a:chExt cx="76939" cy="1091398"/>
            </a:xfrm>
            <a:solidFill>
              <a:srgbClr val="38333D"/>
            </a:solidFill>
          </p:grpSpPr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29080D51-2A95-4DB1-8D87-3C4AB768F508}"/>
                  </a:ext>
                </a:extLst>
              </p:cNvPr>
              <p:cNvSpPr/>
              <p:nvPr/>
            </p:nvSpPr>
            <p:spPr>
              <a:xfrm>
                <a:off x="11375378" y="3416412"/>
                <a:ext cx="51293" cy="51292"/>
              </a:xfrm>
              <a:custGeom>
                <a:avLst/>
                <a:gdLst>
                  <a:gd name="connsiteX0" fmla="*/ 0 w 51293"/>
                  <a:gd name="connsiteY0" fmla="*/ 25646 h 51292"/>
                  <a:gd name="connsiteX1" fmla="*/ 25647 w 51293"/>
                  <a:gd name="connsiteY1" fmla="*/ 51293 h 51292"/>
                  <a:gd name="connsiteX2" fmla="*/ 51293 w 51293"/>
                  <a:gd name="connsiteY2" fmla="*/ 25646 h 51292"/>
                  <a:gd name="connsiteX3" fmla="*/ 25647 w 51293"/>
                  <a:gd name="connsiteY3" fmla="*/ 0 h 51292"/>
                  <a:gd name="connsiteX4" fmla="*/ 0 w 51293"/>
                  <a:gd name="connsiteY4" fmla="*/ 25646 h 5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293" h="51292">
                    <a:moveTo>
                      <a:pt x="0" y="25646"/>
                    </a:moveTo>
                    <a:cubicBezTo>
                      <a:pt x="0" y="39895"/>
                      <a:pt x="11399" y="51293"/>
                      <a:pt x="25647" y="51293"/>
                    </a:cubicBezTo>
                    <a:cubicBezTo>
                      <a:pt x="39895" y="51293"/>
                      <a:pt x="51293" y="39895"/>
                      <a:pt x="51293" y="25646"/>
                    </a:cubicBezTo>
                    <a:cubicBezTo>
                      <a:pt x="51293" y="11398"/>
                      <a:pt x="39895" y="0"/>
                      <a:pt x="25647" y="0"/>
                    </a:cubicBezTo>
                    <a:cubicBezTo>
                      <a:pt x="11399" y="0"/>
                      <a:pt x="0" y="11398"/>
                      <a:pt x="0" y="25646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B471D259-D464-498A-B5C8-D2411C256481}"/>
                  </a:ext>
                </a:extLst>
              </p:cNvPr>
              <p:cNvSpPr/>
              <p:nvPr/>
            </p:nvSpPr>
            <p:spPr>
              <a:xfrm>
                <a:off x="11401025" y="3826755"/>
                <a:ext cx="51292" cy="51292"/>
              </a:xfrm>
              <a:custGeom>
                <a:avLst/>
                <a:gdLst>
                  <a:gd name="connsiteX0" fmla="*/ 0 w 51292"/>
                  <a:gd name="connsiteY0" fmla="*/ 25646 h 51292"/>
                  <a:gd name="connsiteX1" fmla="*/ 25646 w 51292"/>
                  <a:gd name="connsiteY1" fmla="*/ 51293 h 51292"/>
                  <a:gd name="connsiteX2" fmla="*/ 51293 w 51292"/>
                  <a:gd name="connsiteY2" fmla="*/ 25646 h 51292"/>
                  <a:gd name="connsiteX3" fmla="*/ 25646 w 51292"/>
                  <a:gd name="connsiteY3" fmla="*/ 0 h 51292"/>
                  <a:gd name="connsiteX4" fmla="*/ 0 w 51292"/>
                  <a:gd name="connsiteY4" fmla="*/ 25646 h 5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292" h="51292">
                    <a:moveTo>
                      <a:pt x="0" y="25646"/>
                    </a:moveTo>
                    <a:cubicBezTo>
                      <a:pt x="0" y="39894"/>
                      <a:pt x="11398" y="51293"/>
                      <a:pt x="25646" y="51293"/>
                    </a:cubicBezTo>
                    <a:cubicBezTo>
                      <a:pt x="39894" y="51293"/>
                      <a:pt x="51293" y="39894"/>
                      <a:pt x="51293" y="25646"/>
                    </a:cubicBezTo>
                    <a:cubicBezTo>
                      <a:pt x="51293" y="11398"/>
                      <a:pt x="39894" y="0"/>
                      <a:pt x="25646" y="0"/>
                    </a:cubicBezTo>
                    <a:cubicBezTo>
                      <a:pt x="11398" y="0"/>
                      <a:pt x="0" y="11398"/>
                      <a:pt x="0" y="25646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64CFF51E-7335-4D99-8C05-98D14094FEB7}"/>
                  </a:ext>
                </a:extLst>
              </p:cNvPr>
              <p:cNvSpPr/>
              <p:nvPr/>
            </p:nvSpPr>
            <p:spPr>
              <a:xfrm>
                <a:off x="11401025" y="4456517"/>
                <a:ext cx="51292" cy="51292"/>
              </a:xfrm>
              <a:custGeom>
                <a:avLst/>
                <a:gdLst>
                  <a:gd name="connsiteX0" fmla="*/ 0 w 51292"/>
                  <a:gd name="connsiteY0" fmla="*/ 25646 h 51292"/>
                  <a:gd name="connsiteX1" fmla="*/ 25646 w 51292"/>
                  <a:gd name="connsiteY1" fmla="*/ 51293 h 51292"/>
                  <a:gd name="connsiteX2" fmla="*/ 51293 w 51292"/>
                  <a:gd name="connsiteY2" fmla="*/ 25646 h 51292"/>
                  <a:gd name="connsiteX3" fmla="*/ 25646 w 51292"/>
                  <a:gd name="connsiteY3" fmla="*/ 0 h 51292"/>
                  <a:gd name="connsiteX4" fmla="*/ 0 w 51292"/>
                  <a:gd name="connsiteY4" fmla="*/ 25646 h 5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292" h="51292">
                    <a:moveTo>
                      <a:pt x="0" y="25646"/>
                    </a:moveTo>
                    <a:cubicBezTo>
                      <a:pt x="0" y="39895"/>
                      <a:pt x="11398" y="51293"/>
                      <a:pt x="25646" y="51293"/>
                    </a:cubicBezTo>
                    <a:cubicBezTo>
                      <a:pt x="39894" y="51293"/>
                      <a:pt x="51293" y="39895"/>
                      <a:pt x="51293" y="25646"/>
                    </a:cubicBezTo>
                    <a:cubicBezTo>
                      <a:pt x="51293" y="11398"/>
                      <a:pt x="39894" y="0"/>
                      <a:pt x="25646" y="0"/>
                    </a:cubicBezTo>
                    <a:cubicBezTo>
                      <a:pt x="11398" y="0"/>
                      <a:pt x="0" y="11398"/>
                      <a:pt x="0" y="25646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00720F21-1FF4-45C9-82FE-062F6A0EBBF3}"/>
                  </a:ext>
                </a:extLst>
              </p:cNvPr>
              <p:cNvSpPr/>
              <p:nvPr/>
            </p:nvSpPr>
            <p:spPr>
              <a:xfrm>
                <a:off x="11395326" y="3612668"/>
                <a:ext cx="51292" cy="51659"/>
              </a:xfrm>
              <a:custGeom>
                <a:avLst/>
                <a:gdLst>
                  <a:gd name="connsiteX0" fmla="*/ 0 w 51292"/>
                  <a:gd name="connsiteY0" fmla="*/ 26013 h 51659"/>
                  <a:gd name="connsiteX1" fmla="*/ 25646 w 51292"/>
                  <a:gd name="connsiteY1" fmla="*/ 51660 h 51659"/>
                  <a:gd name="connsiteX2" fmla="*/ 51293 w 51292"/>
                  <a:gd name="connsiteY2" fmla="*/ 26013 h 51659"/>
                  <a:gd name="connsiteX3" fmla="*/ 25646 w 51292"/>
                  <a:gd name="connsiteY3" fmla="*/ 367 h 51659"/>
                  <a:gd name="connsiteX4" fmla="*/ 0 w 51292"/>
                  <a:gd name="connsiteY4" fmla="*/ 26013 h 51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292" h="51659">
                    <a:moveTo>
                      <a:pt x="0" y="26013"/>
                    </a:moveTo>
                    <a:cubicBezTo>
                      <a:pt x="0" y="40261"/>
                      <a:pt x="11398" y="51660"/>
                      <a:pt x="25646" y="51660"/>
                    </a:cubicBezTo>
                    <a:cubicBezTo>
                      <a:pt x="39894" y="51660"/>
                      <a:pt x="51293" y="40261"/>
                      <a:pt x="51293" y="26013"/>
                    </a:cubicBezTo>
                    <a:cubicBezTo>
                      <a:pt x="51293" y="11765"/>
                      <a:pt x="39894" y="367"/>
                      <a:pt x="25646" y="367"/>
                    </a:cubicBezTo>
                    <a:cubicBezTo>
                      <a:pt x="11398" y="-2483"/>
                      <a:pt x="0" y="11765"/>
                      <a:pt x="0" y="26013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FC8C1132-2CAB-4F9E-8B32-C63249DBEDB2}"/>
                  </a:ext>
                </a:extLst>
              </p:cNvPr>
              <p:cNvSpPr/>
              <p:nvPr/>
            </p:nvSpPr>
            <p:spPr>
              <a:xfrm>
                <a:off x="11401025" y="4254195"/>
                <a:ext cx="51292" cy="51292"/>
              </a:xfrm>
              <a:custGeom>
                <a:avLst/>
                <a:gdLst>
                  <a:gd name="connsiteX0" fmla="*/ 0 w 51292"/>
                  <a:gd name="connsiteY0" fmla="*/ 25646 h 51292"/>
                  <a:gd name="connsiteX1" fmla="*/ 25646 w 51292"/>
                  <a:gd name="connsiteY1" fmla="*/ 51293 h 51292"/>
                  <a:gd name="connsiteX2" fmla="*/ 51293 w 51292"/>
                  <a:gd name="connsiteY2" fmla="*/ 25646 h 51292"/>
                  <a:gd name="connsiteX3" fmla="*/ 25646 w 51292"/>
                  <a:gd name="connsiteY3" fmla="*/ 0 h 51292"/>
                  <a:gd name="connsiteX4" fmla="*/ 0 w 51292"/>
                  <a:gd name="connsiteY4" fmla="*/ 25646 h 5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292" h="51292">
                    <a:moveTo>
                      <a:pt x="0" y="25646"/>
                    </a:moveTo>
                    <a:cubicBezTo>
                      <a:pt x="0" y="39894"/>
                      <a:pt x="11398" y="51293"/>
                      <a:pt x="25646" y="51293"/>
                    </a:cubicBezTo>
                    <a:cubicBezTo>
                      <a:pt x="39894" y="51293"/>
                      <a:pt x="51293" y="39894"/>
                      <a:pt x="51293" y="25646"/>
                    </a:cubicBezTo>
                    <a:cubicBezTo>
                      <a:pt x="51293" y="11398"/>
                      <a:pt x="39894" y="0"/>
                      <a:pt x="25646" y="0"/>
                    </a:cubicBezTo>
                    <a:cubicBezTo>
                      <a:pt x="11398" y="0"/>
                      <a:pt x="0" y="11398"/>
                      <a:pt x="0" y="25646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B2679A4F-A4EF-4AE9-917A-DAF8BC866718}"/>
                  </a:ext>
                </a:extLst>
              </p:cNvPr>
              <p:cNvSpPr/>
              <p:nvPr/>
            </p:nvSpPr>
            <p:spPr>
              <a:xfrm>
                <a:off x="11401025" y="4040475"/>
                <a:ext cx="51292" cy="51292"/>
              </a:xfrm>
              <a:custGeom>
                <a:avLst/>
                <a:gdLst>
                  <a:gd name="connsiteX0" fmla="*/ 0 w 51292"/>
                  <a:gd name="connsiteY0" fmla="*/ 25646 h 51292"/>
                  <a:gd name="connsiteX1" fmla="*/ 25646 w 51292"/>
                  <a:gd name="connsiteY1" fmla="*/ 51293 h 51292"/>
                  <a:gd name="connsiteX2" fmla="*/ 51293 w 51292"/>
                  <a:gd name="connsiteY2" fmla="*/ 25646 h 51292"/>
                  <a:gd name="connsiteX3" fmla="*/ 25646 w 51292"/>
                  <a:gd name="connsiteY3" fmla="*/ 0 h 51292"/>
                  <a:gd name="connsiteX4" fmla="*/ 0 w 51292"/>
                  <a:gd name="connsiteY4" fmla="*/ 25646 h 5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292" h="51292">
                    <a:moveTo>
                      <a:pt x="0" y="25646"/>
                    </a:moveTo>
                    <a:cubicBezTo>
                      <a:pt x="0" y="39894"/>
                      <a:pt x="11398" y="51293"/>
                      <a:pt x="25646" y="51293"/>
                    </a:cubicBezTo>
                    <a:cubicBezTo>
                      <a:pt x="39894" y="51293"/>
                      <a:pt x="51293" y="39894"/>
                      <a:pt x="51293" y="25646"/>
                    </a:cubicBezTo>
                    <a:cubicBezTo>
                      <a:pt x="51293" y="11398"/>
                      <a:pt x="39894" y="0"/>
                      <a:pt x="25646" y="0"/>
                    </a:cubicBezTo>
                    <a:cubicBezTo>
                      <a:pt x="11398" y="0"/>
                      <a:pt x="0" y="11398"/>
                      <a:pt x="0" y="25646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78660CC5-BC11-4C57-9288-A0E994AF3A19}"/>
                </a:ext>
              </a:extLst>
            </p:cNvPr>
            <p:cNvSpPr/>
            <p:nvPr/>
          </p:nvSpPr>
          <p:spPr>
            <a:xfrm>
              <a:off x="11210101" y="3094406"/>
              <a:ext cx="233667" cy="210025"/>
            </a:xfrm>
            <a:custGeom>
              <a:avLst/>
              <a:gdLst>
                <a:gd name="connsiteX0" fmla="*/ 233668 w 233667"/>
                <a:gd name="connsiteY0" fmla="*/ 37045 h 210025"/>
                <a:gd name="connsiteX1" fmla="*/ 227968 w 233667"/>
                <a:gd name="connsiteY1" fmla="*/ 168127 h 210025"/>
                <a:gd name="connsiteX2" fmla="*/ 0 w 233667"/>
                <a:gd name="connsiteY2" fmla="*/ 159578 h 210025"/>
                <a:gd name="connsiteX3" fmla="*/ 14248 w 233667"/>
                <a:gd name="connsiteY3" fmla="*/ 0 h 210025"/>
                <a:gd name="connsiteX4" fmla="*/ 233668 w 233667"/>
                <a:gd name="connsiteY4" fmla="*/ 37045 h 21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667" h="210025">
                  <a:moveTo>
                    <a:pt x="233668" y="37045"/>
                  </a:moveTo>
                  <a:cubicBezTo>
                    <a:pt x="233668" y="37045"/>
                    <a:pt x="227968" y="99736"/>
                    <a:pt x="227968" y="168127"/>
                  </a:cubicBezTo>
                  <a:cubicBezTo>
                    <a:pt x="227968" y="168127"/>
                    <a:pt x="139630" y="267863"/>
                    <a:pt x="0" y="159578"/>
                  </a:cubicBezTo>
                  <a:cubicBezTo>
                    <a:pt x="0" y="102586"/>
                    <a:pt x="11398" y="59842"/>
                    <a:pt x="14248" y="0"/>
                  </a:cubicBezTo>
                  <a:cubicBezTo>
                    <a:pt x="14248" y="0"/>
                    <a:pt x="185224" y="48443"/>
                    <a:pt x="233668" y="37045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808948C7-8222-4A85-83CF-C380CC70492D}"/>
                </a:ext>
              </a:extLst>
            </p:cNvPr>
            <p:cNvSpPr/>
            <p:nvPr/>
          </p:nvSpPr>
          <p:spPr>
            <a:xfrm>
              <a:off x="11124613" y="2983272"/>
              <a:ext cx="65540" cy="128232"/>
            </a:xfrm>
            <a:custGeom>
              <a:avLst/>
              <a:gdLst>
                <a:gd name="connsiteX0" fmla="*/ 0 w 65540"/>
                <a:gd name="connsiteY0" fmla="*/ 0 h 128232"/>
                <a:gd name="connsiteX1" fmla="*/ 62692 w 65540"/>
                <a:gd name="connsiteY1" fmla="*/ 128232 h 128232"/>
                <a:gd name="connsiteX2" fmla="*/ 65541 w 65540"/>
                <a:gd name="connsiteY2" fmla="*/ 48443 h 128232"/>
                <a:gd name="connsiteX3" fmla="*/ 0 w 65540"/>
                <a:gd name="connsiteY3" fmla="*/ 0 h 128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540" h="128232">
                  <a:moveTo>
                    <a:pt x="0" y="0"/>
                  </a:moveTo>
                  <a:cubicBezTo>
                    <a:pt x="0" y="0"/>
                    <a:pt x="14248" y="111135"/>
                    <a:pt x="62692" y="128232"/>
                  </a:cubicBezTo>
                  <a:lnTo>
                    <a:pt x="65541" y="484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CC225377-A1CA-4250-8ED3-696A87C382D3}"/>
                </a:ext>
              </a:extLst>
            </p:cNvPr>
            <p:cNvSpPr/>
            <p:nvPr/>
          </p:nvSpPr>
          <p:spPr>
            <a:xfrm>
              <a:off x="11460444" y="2789499"/>
              <a:ext cx="95929" cy="222280"/>
            </a:xfrm>
            <a:custGeom>
              <a:avLst/>
              <a:gdLst>
                <a:gd name="connsiteX0" fmla="*/ 88760 w 95929"/>
                <a:gd name="connsiteY0" fmla="*/ 0 h 222280"/>
                <a:gd name="connsiteX1" fmla="*/ 51716 w 95929"/>
                <a:gd name="connsiteY1" fmla="*/ 219419 h 222280"/>
                <a:gd name="connsiteX2" fmla="*/ 422 w 95929"/>
                <a:gd name="connsiteY2" fmla="*/ 14248 h 222280"/>
                <a:gd name="connsiteX3" fmla="*/ 88760 w 95929"/>
                <a:gd name="connsiteY3" fmla="*/ 0 h 222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929" h="222280">
                  <a:moveTo>
                    <a:pt x="88760" y="0"/>
                  </a:moveTo>
                  <a:cubicBezTo>
                    <a:pt x="88760" y="0"/>
                    <a:pt x="120106" y="182375"/>
                    <a:pt x="51716" y="219419"/>
                  </a:cubicBezTo>
                  <a:cubicBezTo>
                    <a:pt x="-8126" y="250765"/>
                    <a:pt x="422" y="14248"/>
                    <a:pt x="422" y="14248"/>
                  </a:cubicBezTo>
                  <a:lnTo>
                    <a:pt x="88760" y="0"/>
                  </a:ln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163B859F-9C35-44A0-AAF3-A62FD5364E54}"/>
                </a:ext>
              </a:extLst>
            </p:cNvPr>
            <p:cNvSpPr/>
            <p:nvPr/>
          </p:nvSpPr>
          <p:spPr>
            <a:xfrm>
              <a:off x="11127463" y="2660435"/>
              <a:ext cx="395728" cy="531422"/>
            </a:xfrm>
            <a:custGeom>
              <a:avLst/>
              <a:gdLst>
                <a:gd name="connsiteX0" fmla="*/ 384697 w 395728"/>
                <a:gd name="connsiteY0" fmla="*/ 168959 h 531422"/>
                <a:gd name="connsiteX1" fmla="*/ 387546 w 395728"/>
                <a:gd name="connsiteY1" fmla="*/ 402626 h 531422"/>
                <a:gd name="connsiteX2" fmla="*/ 239367 w 395728"/>
                <a:gd name="connsiteY2" fmla="*/ 530858 h 531422"/>
                <a:gd name="connsiteX3" fmla="*/ 37045 w 395728"/>
                <a:gd name="connsiteY3" fmla="*/ 399777 h 531422"/>
                <a:gd name="connsiteX4" fmla="*/ 0 w 395728"/>
                <a:gd name="connsiteY4" fmla="*/ 188906 h 531422"/>
                <a:gd name="connsiteX5" fmla="*/ 196623 w 395728"/>
                <a:gd name="connsiteY5" fmla="*/ 832 h 531422"/>
                <a:gd name="connsiteX6" fmla="*/ 384697 w 395728"/>
                <a:gd name="connsiteY6" fmla="*/ 168959 h 531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5728" h="531422">
                  <a:moveTo>
                    <a:pt x="384697" y="168959"/>
                  </a:moveTo>
                  <a:cubicBezTo>
                    <a:pt x="384697" y="168959"/>
                    <a:pt x="407493" y="334236"/>
                    <a:pt x="387546" y="402626"/>
                  </a:cubicBezTo>
                  <a:cubicBezTo>
                    <a:pt x="370449" y="465317"/>
                    <a:pt x="287810" y="525159"/>
                    <a:pt x="239367" y="530858"/>
                  </a:cubicBezTo>
                  <a:cubicBezTo>
                    <a:pt x="176675" y="536558"/>
                    <a:pt x="65541" y="499513"/>
                    <a:pt x="37045" y="399777"/>
                  </a:cubicBezTo>
                  <a:cubicBezTo>
                    <a:pt x="17098" y="331386"/>
                    <a:pt x="0" y="237349"/>
                    <a:pt x="0" y="188906"/>
                  </a:cubicBezTo>
                  <a:cubicBezTo>
                    <a:pt x="0" y="100568"/>
                    <a:pt x="25646" y="26478"/>
                    <a:pt x="196623" y="832"/>
                  </a:cubicBezTo>
                  <a:cubicBezTo>
                    <a:pt x="273562" y="-10567"/>
                    <a:pt x="364749" y="97718"/>
                    <a:pt x="384697" y="168959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9204EDE8-96D3-4DC8-93B1-6E2768DDD8D0}"/>
                </a:ext>
              </a:extLst>
            </p:cNvPr>
            <p:cNvSpPr/>
            <p:nvPr/>
          </p:nvSpPr>
          <p:spPr>
            <a:xfrm>
              <a:off x="11338334" y="2903483"/>
              <a:ext cx="54142" cy="131081"/>
            </a:xfrm>
            <a:custGeom>
              <a:avLst/>
              <a:gdLst>
                <a:gd name="connsiteX0" fmla="*/ 25646 w 54142"/>
                <a:gd name="connsiteY0" fmla="*/ 131082 h 131081"/>
                <a:gd name="connsiteX1" fmla="*/ 5700 w 54142"/>
                <a:gd name="connsiteY1" fmla="*/ 128232 h 131081"/>
                <a:gd name="connsiteX2" fmla="*/ 0 w 54142"/>
                <a:gd name="connsiteY2" fmla="*/ 122533 h 131081"/>
                <a:gd name="connsiteX3" fmla="*/ 5700 w 54142"/>
                <a:gd name="connsiteY3" fmla="*/ 116834 h 131081"/>
                <a:gd name="connsiteX4" fmla="*/ 42744 w 54142"/>
                <a:gd name="connsiteY4" fmla="*/ 113984 h 131081"/>
                <a:gd name="connsiteX5" fmla="*/ 42744 w 54142"/>
                <a:gd name="connsiteY5" fmla="*/ 111135 h 131081"/>
                <a:gd name="connsiteX6" fmla="*/ 25646 w 54142"/>
                <a:gd name="connsiteY6" fmla="*/ 5699 h 131081"/>
                <a:gd name="connsiteX7" fmla="*/ 31346 w 54142"/>
                <a:gd name="connsiteY7" fmla="*/ 0 h 131081"/>
                <a:gd name="connsiteX8" fmla="*/ 37045 w 54142"/>
                <a:gd name="connsiteY8" fmla="*/ 5699 h 131081"/>
                <a:gd name="connsiteX9" fmla="*/ 54142 w 54142"/>
                <a:gd name="connsiteY9" fmla="*/ 111135 h 131081"/>
                <a:gd name="connsiteX10" fmla="*/ 48444 w 54142"/>
                <a:gd name="connsiteY10" fmla="*/ 122533 h 131081"/>
                <a:gd name="connsiteX11" fmla="*/ 25646 w 54142"/>
                <a:gd name="connsiteY11" fmla="*/ 131082 h 13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142" h="131081">
                  <a:moveTo>
                    <a:pt x="25646" y="131082"/>
                  </a:moveTo>
                  <a:cubicBezTo>
                    <a:pt x="17098" y="131082"/>
                    <a:pt x="8548" y="128232"/>
                    <a:pt x="5700" y="128232"/>
                  </a:cubicBezTo>
                  <a:cubicBezTo>
                    <a:pt x="2850" y="128232"/>
                    <a:pt x="0" y="125383"/>
                    <a:pt x="0" y="122533"/>
                  </a:cubicBezTo>
                  <a:cubicBezTo>
                    <a:pt x="0" y="119683"/>
                    <a:pt x="2850" y="116834"/>
                    <a:pt x="5700" y="116834"/>
                  </a:cubicBezTo>
                  <a:cubicBezTo>
                    <a:pt x="17098" y="119683"/>
                    <a:pt x="37045" y="119683"/>
                    <a:pt x="42744" y="113984"/>
                  </a:cubicBezTo>
                  <a:cubicBezTo>
                    <a:pt x="42744" y="113984"/>
                    <a:pt x="42744" y="111135"/>
                    <a:pt x="42744" y="111135"/>
                  </a:cubicBezTo>
                  <a:cubicBezTo>
                    <a:pt x="42744" y="94037"/>
                    <a:pt x="25646" y="8549"/>
                    <a:pt x="25646" y="5699"/>
                  </a:cubicBezTo>
                  <a:cubicBezTo>
                    <a:pt x="25646" y="2850"/>
                    <a:pt x="25646" y="0"/>
                    <a:pt x="31346" y="0"/>
                  </a:cubicBezTo>
                  <a:cubicBezTo>
                    <a:pt x="34196" y="0"/>
                    <a:pt x="37045" y="0"/>
                    <a:pt x="37045" y="5699"/>
                  </a:cubicBezTo>
                  <a:cubicBezTo>
                    <a:pt x="37045" y="8549"/>
                    <a:pt x="54142" y="94037"/>
                    <a:pt x="54142" y="111135"/>
                  </a:cubicBezTo>
                  <a:cubicBezTo>
                    <a:pt x="54142" y="116834"/>
                    <a:pt x="51293" y="119683"/>
                    <a:pt x="48444" y="122533"/>
                  </a:cubicBezTo>
                  <a:cubicBezTo>
                    <a:pt x="45594" y="131082"/>
                    <a:pt x="37045" y="131082"/>
                    <a:pt x="25646" y="131082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16BC0CE4-5DDD-45AB-A84C-BA837D5119F0}"/>
                </a:ext>
              </a:extLst>
            </p:cNvPr>
            <p:cNvSpPr/>
            <p:nvPr/>
          </p:nvSpPr>
          <p:spPr>
            <a:xfrm>
              <a:off x="11420972" y="2885826"/>
              <a:ext cx="37604" cy="38162"/>
            </a:xfrm>
            <a:custGeom>
              <a:avLst/>
              <a:gdLst>
                <a:gd name="connsiteX0" fmla="*/ 0 w 37604"/>
                <a:gd name="connsiteY0" fmla="*/ 23356 h 38162"/>
                <a:gd name="connsiteX1" fmla="*/ 22797 w 37604"/>
                <a:gd name="connsiteY1" fmla="*/ 37604 h 38162"/>
                <a:gd name="connsiteX2" fmla="*/ 37045 w 37604"/>
                <a:gd name="connsiteY2" fmla="*/ 14807 h 38162"/>
                <a:gd name="connsiteX3" fmla="*/ 14248 w 37604"/>
                <a:gd name="connsiteY3" fmla="*/ 559 h 38162"/>
                <a:gd name="connsiteX4" fmla="*/ 0 w 37604"/>
                <a:gd name="connsiteY4" fmla="*/ 23356 h 3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04" h="38162">
                  <a:moveTo>
                    <a:pt x="0" y="23356"/>
                  </a:moveTo>
                  <a:cubicBezTo>
                    <a:pt x="2850" y="31905"/>
                    <a:pt x="11398" y="40453"/>
                    <a:pt x="22797" y="37604"/>
                  </a:cubicBezTo>
                  <a:cubicBezTo>
                    <a:pt x="31346" y="34754"/>
                    <a:pt x="39894" y="26205"/>
                    <a:pt x="37045" y="14807"/>
                  </a:cubicBezTo>
                  <a:cubicBezTo>
                    <a:pt x="34196" y="6258"/>
                    <a:pt x="25646" y="-2291"/>
                    <a:pt x="14248" y="559"/>
                  </a:cubicBezTo>
                  <a:cubicBezTo>
                    <a:pt x="5700" y="3409"/>
                    <a:pt x="0" y="11957"/>
                    <a:pt x="0" y="23356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FF3D46C2-77D1-47A7-94AA-49970C53A40D}"/>
                </a:ext>
              </a:extLst>
            </p:cNvPr>
            <p:cNvSpPr/>
            <p:nvPr/>
          </p:nvSpPr>
          <p:spPr>
            <a:xfrm>
              <a:off x="11249996" y="2902924"/>
              <a:ext cx="37604" cy="38162"/>
            </a:xfrm>
            <a:custGeom>
              <a:avLst/>
              <a:gdLst>
                <a:gd name="connsiteX0" fmla="*/ 0 w 37604"/>
                <a:gd name="connsiteY0" fmla="*/ 23356 h 38162"/>
                <a:gd name="connsiteX1" fmla="*/ 22797 w 37604"/>
                <a:gd name="connsiteY1" fmla="*/ 37604 h 38162"/>
                <a:gd name="connsiteX2" fmla="*/ 37045 w 37604"/>
                <a:gd name="connsiteY2" fmla="*/ 14807 h 38162"/>
                <a:gd name="connsiteX3" fmla="*/ 14248 w 37604"/>
                <a:gd name="connsiteY3" fmla="*/ 559 h 38162"/>
                <a:gd name="connsiteX4" fmla="*/ 0 w 37604"/>
                <a:gd name="connsiteY4" fmla="*/ 23356 h 3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04" h="38162">
                  <a:moveTo>
                    <a:pt x="0" y="23356"/>
                  </a:moveTo>
                  <a:cubicBezTo>
                    <a:pt x="2850" y="31905"/>
                    <a:pt x="11398" y="40453"/>
                    <a:pt x="22797" y="37604"/>
                  </a:cubicBezTo>
                  <a:cubicBezTo>
                    <a:pt x="31346" y="34754"/>
                    <a:pt x="39894" y="26205"/>
                    <a:pt x="37045" y="14807"/>
                  </a:cubicBezTo>
                  <a:cubicBezTo>
                    <a:pt x="34196" y="6258"/>
                    <a:pt x="25646" y="-2291"/>
                    <a:pt x="14248" y="559"/>
                  </a:cubicBezTo>
                  <a:cubicBezTo>
                    <a:pt x="5700" y="3409"/>
                    <a:pt x="0" y="14807"/>
                    <a:pt x="0" y="23356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1A511046-97AE-454D-B60B-0BAE2D14BB34}"/>
                </a:ext>
              </a:extLst>
            </p:cNvPr>
            <p:cNvSpPr/>
            <p:nvPr/>
          </p:nvSpPr>
          <p:spPr>
            <a:xfrm>
              <a:off x="11394145" y="2840792"/>
              <a:ext cx="85956" cy="31345"/>
            </a:xfrm>
            <a:custGeom>
              <a:avLst/>
              <a:gdLst>
                <a:gd name="connsiteX0" fmla="*/ 80969 w 85956"/>
                <a:gd name="connsiteY0" fmla="*/ 31346 h 31345"/>
                <a:gd name="connsiteX1" fmla="*/ 75270 w 85956"/>
                <a:gd name="connsiteY1" fmla="*/ 28496 h 31345"/>
                <a:gd name="connsiteX2" fmla="*/ 12579 w 85956"/>
                <a:gd name="connsiteY2" fmla="*/ 22797 h 31345"/>
                <a:gd name="connsiteX3" fmla="*/ 1180 w 85956"/>
                <a:gd name="connsiteY3" fmla="*/ 19947 h 31345"/>
                <a:gd name="connsiteX4" fmla="*/ 4030 w 85956"/>
                <a:gd name="connsiteY4" fmla="*/ 8549 h 31345"/>
                <a:gd name="connsiteX5" fmla="*/ 83819 w 85956"/>
                <a:gd name="connsiteY5" fmla="*/ 17098 h 31345"/>
                <a:gd name="connsiteX6" fmla="*/ 83819 w 85956"/>
                <a:gd name="connsiteY6" fmla="*/ 28496 h 31345"/>
                <a:gd name="connsiteX7" fmla="*/ 80969 w 85956"/>
                <a:gd name="connsiteY7" fmla="*/ 31346 h 3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6" h="31345">
                  <a:moveTo>
                    <a:pt x="80969" y="31346"/>
                  </a:moveTo>
                  <a:cubicBezTo>
                    <a:pt x="78120" y="31346"/>
                    <a:pt x="78120" y="31346"/>
                    <a:pt x="75270" y="28496"/>
                  </a:cubicBezTo>
                  <a:cubicBezTo>
                    <a:pt x="49624" y="2850"/>
                    <a:pt x="12579" y="22797"/>
                    <a:pt x="12579" y="22797"/>
                  </a:cubicBezTo>
                  <a:cubicBezTo>
                    <a:pt x="9729" y="25646"/>
                    <a:pt x="4030" y="22797"/>
                    <a:pt x="1180" y="19947"/>
                  </a:cubicBezTo>
                  <a:cubicBezTo>
                    <a:pt x="-1669" y="17098"/>
                    <a:pt x="1180" y="11398"/>
                    <a:pt x="4030" y="8549"/>
                  </a:cubicBezTo>
                  <a:cubicBezTo>
                    <a:pt x="21128" y="0"/>
                    <a:pt x="58173" y="-8549"/>
                    <a:pt x="83819" y="17098"/>
                  </a:cubicBezTo>
                  <a:cubicBezTo>
                    <a:pt x="86669" y="19947"/>
                    <a:pt x="86669" y="25646"/>
                    <a:pt x="83819" y="28496"/>
                  </a:cubicBezTo>
                  <a:cubicBezTo>
                    <a:pt x="83819" y="28496"/>
                    <a:pt x="83819" y="31346"/>
                    <a:pt x="80969" y="31346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8D7B8D69-B37A-4A6C-B122-C46DFDBC78E9}"/>
                </a:ext>
              </a:extLst>
            </p:cNvPr>
            <p:cNvSpPr/>
            <p:nvPr/>
          </p:nvSpPr>
          <p:spPr>
            <a:xfrm>
              <a:off x="11219362" y="2841081"/>
              <a:ext cx="85956" cy="33905"/>
            </a:xfrm>
            <a:custGeom>
              <a:avLst/>
              <a:gdLst>
                <a:gd name="connsiteX0" fmla="*/ 7837 w 85956"/>
                <a:gd name="connsiteY0" fmla="*/ 33905 h 33905"/>
                <a:gd name="connsiteX1" fmla="*/ 2137 w 85956"/>
                <a:gd name="connsiteY1" fmla="*/ 31056 h 33905"/>
                <a:gd name="connsiteX2" fmla="*/ 2137 w 85956"/>
                <a:gd name="connsiteY2" fmla="*/ 19657 h 33905"/>
                <a:gd name="connsiteX3" fmla="*/ 81927 w 85956"/>
                <a:gd name="connsiteY3" fmla="*/ 11108 h 33905"/>
                <a:gd name="connsiteX4" fmla="*/ 84776 w 85956"/>
                <a:gd name="connsiteY4" fmla="*/ 22507 h 33905"/>
                <a:gd name="connsiteX5" fmla="*/ 73377 w 85956"/>
                <a:gd name="connsiteY5" fmla="*/ 25356 h 33905"/>
                <a:gd name="connsiteX6" fmla="*/ 10687 w 85956"/>
                <a:gd name="connsiteY6" fmla="*/ 31056 h 33905"/>
                <a:gd name="connsiteX7" fmla="*/ 7837 w 85956"/>
                <a:gd name="connsiteY7" fmla="*/ 33905 h 33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6" h="33905">
                  <a:moveTo>
                    <a:pt x="7837" y="33905"/>
                  </a:moveTo>
                  <a:cubicBezTo>
                    <a:pt x="4987" y="33905"/>
                    <a:pt x="4987" y="33905"/>
                    <a:pt x="2137" y="31056"/>
                  </a:cubicBezTo>
                  <a:cubicBezTo>
                    <a:pt x="-712" y="28206"/>
                    <a:pt x="-712" y="22507"/>
                    <a:pt x="2137" y="19657"/>
                  </a:cubicBezTo>
                  <a:cubicBezTo>
                    <a:pt x="13536" y="5409"/>
                    <a:pt x="47731" y="-11688"/>
                    <a:pt x="81927" y="11108"/>
                  </a:cubicBezTo>
                  <a:cubicBezTo>
                    <a:pt x="84776" y="13958"/>
                    <a:pt x="87625" y="16808"/>
                    <a:pt x="84776" y="22507"/>
                  </a:cubicBezTo>
                  <a:cubicBezTo>
                    <a:pt x="81927" y="25356"/>
                    <a:pt x="79077" y="28206"/>
                    <a:pt x="73377" y="25356"/>
                  </a:cubicBezTo>
                  <a:cubicBezTo>
                    <a:pt x="39183" y="2560"/>
                    <a:pt x="13536" y="31056"/>
                    <a:pt x="10687" y="31056"/>
                  </a:cubicBezTo>
                  <a:cubicBezTo>
                    <a:pt x="10687" y="33905"/>
                    <a:pt x="7837" y="33905"/>
                    <a:pt x="7837" y="33905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63FB5A62-1931-4C27-8525-433964F17BD5}"/>
                </a:ext>
              </a:extLst>
            </p:cNvPr>
            <p:cNvSpPr/>
            <p:nvPr/>
          </p:nvSpPr>
          <p:spPr>
            <a:xfrm>
              <a:off x="11212951" y="3137150"/>
              <a:ext cx="215857" cy="59841"/>
            </a:xfrm>
            <a:custGeom>
              <a:avLst/>
              <a:gdLst>
                <a:gd name="connsiteX0" fmla="*/ 139630 w 215857"/>
                <a:gd name="connsiteY0" fmla="*/ 59842 h 59841"/>
                <a:gd name="connsiteX1" fmla="*/ 2850 w 215857"/>
                <a:gd name="connsiteY1" fmla="*/ 11398 h 59841"/>
                <a:gd name="connsiteX2" fmla="*/ 0 w 215857"/>
                <a:gd name="connsiteY2" fmla="*/ 2850 h 59841"/>
                <a:gd name="connsiteX3" fmla="*/ 8548 w 215857"/>
                <a:gd name="connsiteY3" fmla="*/ 0 h 59841"/>
                <a:gd name="connsiteX4" fmla="*/ 139630 w 215857"/>
                <a:gd name="connsiteY4" fmla="*/ 45594 h 59841"/>
                <a:gd name="connsiteX5" fmla="*/ 139630 w 215857"/>
                <a:gd name="connsiteY5" fmla="*/ 45594 h 59841"/>
                <a:gd name="connsiteX6" fmla="*/ 205171 w 215857"/>
                <a:gd name="connsiteY6" fmla="*/ 22797 h 59841"/>
                <a:gd name="connsiteX7" fmla="*/ 213720 w 215857"/>
                <a:gd name="connsiteY7" fmla="*/ 22797 h 59841"/>
                <a:gd name="connsiteX8" fmla="*/ 213720 w 215857"/>
                <a:gd name="connsiteY8" fmla="*/ 31346 h 59841"/>
                <a:gd name="connsiteX9" fmla="*/ 139630 w 215857"/>
                <a:gd name="connsiteY9" fmla="*/ 59842 h 59841"/>
                <a:gd name="connsiteX10" fmla="*/ 139630 w 215857"/>
                <a:gd name="connsiteY10" fmla="*/ 59842 h 5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5857" h="59841">
                  <a:moveTo>
                    <a:pt x="139630" y="59842"/>
                  </a:moveTo>
                  <a:cubicBezTo>
                    <a:pt x="91187" y="59842"/>
                    <a:pt x="8548" y="14248"/>
                    <a:pt x="2850" y="11398"/>
                  </a:cubicBezTo>
                  <a:cubicBezTo>
                    <a:pt x="0" y="8549"/>
                    <a:pt x="0" y="5699"/>
                    <a:pt x="0" y="2850"/>
                  </a:cubicBezTo>
                  <a:cubicBezTo>
                    <a:pt x="2850" y="0"/>
                    <a:pt x="5699" y="0"/>
                    <a:pt x="8548" y="0"/>
                  </a:cubicBezTo>
                  <a:cubicBezTo>
                    <a:pt x="8548" y="0"/>
                    <a:pt x="94037" y="45594"/>
                    <a:pt x="139630" y="45594"/>
                  </a:cubicBezTo>
                  <a:cubicBezTo>
                    <a:pt x="139630" y="45594"/>
                    <a:pt x="139630" y="45594"/>
                    <a:pt x="139630" y="45594"/>
                  </a:cubicBezTo>
                  <a:cubicBezTo>
                    <a:pt x="176675" y="45594"/>
                    <a:pt x="205171" y="22797"/>
                    <a:pt x="205171" y="22797"/>
                  </a:cubicBezTo>
                  <a:cubicBezTo>
                    <a:pt x="208021" y="19947"/>
                    <a:pt x="210871" y="19947"/>
                    <a:pt x="213720" y="22797"/>
                  </a:cubicBezTo>
                  <a:cubicBezTo>
                    <a:pt x="216570" y="25646"/>
                    <a:pt x="216570" y="28496"/>
                    <a:pt x="213720" y="31346"/>
                  </a:cubicBezTo>
                  <a:cubicBezTo>
                    <a:pt x="210871" y="37045"/>
                    <a:pt x="179525" y="59842"/>
                    <a:pt x="139630" y="59842"/>
                  </a:cubicBezTo>
                  <a:cubicBezTo>
                    <a:pt x="139630" y="59842"/>
                    <a:pt x="139630" y="59842"/>
                    <a:pt x="139630" y="59842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BF6BDF95-C8C0-4D79-9CAB-7B1E582124EF}"/>
                </a:ext>
              </a:extLst>
            </p:cNvPr>
            <p:cNvSpPr/>
            <p:nvPr/>
          </p:nvSpPr>
          <p:spPr>
            <a:xfrm>
              <a:off x="11090122" y="2684063"/>
              <a:ext cx="105731" cy="250765"/>
            </a:xfrm>
            <a:custGeom>
              <a:avLst/>
              <a:gdLst>
                <a:gd name="connsiteX0" fmla="*/ 105731 w 105731"/>
                <a:gd name="connsiteY0" fmla="*/ 119683 h 250765"/>
                <a:gd name="connsiteX1" fmla="*/ 60137 w 105731"/>
                <a:gd name="connsiteY1" fmla="*/ 250765 h 250765"/>
                <a:gd name="connsiteX2" fmla="*/ 5995 w 105731"/>
                <a:gd name="connsiteY2" fmla="*/ 156728 h 250765"/>
                <a:gd name="connsiteX3" fmla="*/ 60137 w 105731"/>
                <a:gd name="connsiteY3" fmla="*/ 0 h 250765"/>
                <a:gd name="connsiteX4" fmla="*/ 105731 w 105731"/>
                <a:gd name="connsiteY4" fmla="*/ 119683 h 250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31" h="250765">
                  <a:moveTo>
                    <a:pt x="105731" y="119683"/>
                  </a:moveTo>
                  <a:cubicBezTo>
                    <a:pt x="105731" y="119683"/>
                    <a:pt x="54439" y="222269"/>
                    <a:pt x="60137" y="250765"/>
                  </a:cubicBezTo>
                  <a:cubicBezTo>
                    <a:pt x="60137" y="250765"/>
                    <a:pt x="20243" y="208021"/>
                    <a:pt x="5995" y="156728"/>
                  </a:cubicBezTo>
                  <a:cubicBezTo>
                    <a:pt x="-8253" y="102586"/>
                    <a:pt x="295" y="14248"/>
                    <a:pt x="60137" y="0"/>
                  </a:cubicBezTo>
                  <a:cubicBezTo>
                    <a:pt x="60137" y="0"/>
                    <a:pt x="65837" y="102586"/>
                    <a:pt x="105731" y="119683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2A835326-0C47-4CAA-8DE0-C98438AE06FE}"/>
                </a:ext>
              </a:extLst>
            </p:cNvPr>
            <p:cNvSpPr/>
            <p:nvPr/>
          </p:nvSpPr>
          <p:spPr>
            <a:xfrm>
              <a:off x="11139921" y="2574494"/>
              <a:ext cx="469124" cy="237830"/>
            </a:xfrm>
            <a:custGeom>
              <a:avLst/>
              <a:gdLst>
                <a:gd name="connsiteX0" fmla="*/ 55932 w 469124"/>
                <a:gd name="connsiteY0" fmla="*/ 229253 h 237830"/>
                <a:gd name="connsiteX1" fmla="*/ 169917 w 469124"/>
                <a:gd name="connsiteY1" fmla="*/ 192208 h 237830"/>
                <a:gd name="connsiteX2" fmla="*/ 469125 w 469124"/>
                <a:gd name="connsiteY2" fmla="*/ 180809 h 237830"/>
                <a:gd name="connsiteX3" fmla="*/ 121473 w 469124"/>
                <a:gd name="connsiteY3" fmla="*/ 9833 h 237830"/>
                <a:gd name="connsiteX4" fmla="*/ 10339 w 469124"/>
                <a:gd name="connsiteY4" fmla="*/ 109569 h 237830"/>
                <a:gd name="connsiteX5" fmla="*/ 55932 w 469124"/>
                <a:gd name="connsiteY5" fmla="*/ 229253 h 237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9124" h="237830">
                  <a:moveTo>
                    <a:pt x="55932" y="229253"/>
                  </a:moveTo>
                  <a:cubicBezTo>
                    <a:pt x="55932" y="229253"/>
                    <a:pt x="144270" y="192208"/>
                    <a:pt x="169917" y="192208"/>
                  </a:cubicBezTo>
                  <a:cubicBezTo>
                    <a:pt x="263953" y="195057"/>
                    <a:pt x="383637" y="300493"/>
                    <a:pt x="469125" y="180809"/>
                  </a:cubicBezTo>
                  <a:cubicBezTo>
                    <a:pt x="426381" y="86773"/>
                    <a:pt x="275352" y="-35761"/>
                    <a:pt x="121473" y="9833"/>
                  </a:cubicBezTo>
                  <a:cubicBezTo>
                    <a:pt x="47384" y="29780"/>
                    <a:pt x="16038" y="75374"/>
                    <a:pt x="10339" y="109569"/>
                  </a:cubicBezTo>
                  <a:cubicBezTo>
                    <a:pt x="10339" y="109569"/>
                    <a:pt x="-32406" y="217854"/>
                    <a:pt x="55932" y="229253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1A8E75A0-AF35-49AC-880C-7B71CA2020DD}"/>
                </a:ext>
              </a:extLst>
            </p:cNvPr>
            <p:cNvSpPr/>
            <p:nvPr/>
          </p:nvSpPr>
          <p:spPr>
            <a:xfrm>
              <a:off x="11089436" y="2906154"/>
              <a:ext cx="73488" cy="103283"/>
            </a:xfrm>
            <a:custGeom>
              <a:avLst/>
              <a:gdLst>
                <a:gd name="connsiteX0" fmla="*/ 60823 w 73488"/>
                <a:gd name="connsiteY0" fmla="*/ 14426 h 103283"/>
                <a:gd name="connsiteX1" fmla="*/ 6681 w 73488"/>
                <a:gd name="connsiteY1" fmla="*/ 5877 h 103283"/>
                <a:gd name="connsiteX2" fmla="*/ 60823 w 73488"/>
                <a:gd name="connsiteY2" fmla="*/ 99914 h 103283"/>
                <a:gd name="connsiteX3" fmla="*/ 60823 w 73488"/>
                <a:gd name="connsiteY3" fmla="*/ 14426 h 103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8" h="103283">
                  <a:moveTo>
                    <a:pt x="60823" y="14426"/>
                  </a:moveTo>
                  <a:cubicBezTo>
                    <a:pt x="60823" y="14426"/>
                    <a:pt x="29478" y="-11220"/>
                    <a:pt x="6681" y="5877"/>
                  </a:cubicBezTo>
                  <a:cubicBezTo>
                    <a:pt x="-16115" y="22975"/>
                    <a:pt x="23779" y="122711"/>
                    <a:pt x="60823" y="99914"/>
                  </a:cubicBezTo>
                  <a:cubicBezTo>
                    <a:pt x="89319" y="82817"/>
                    <a:pt x="60823" y="14426"/>
                    <a:pt x="60823" y="14426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FC155359-01DE-4340-8AFB-1F4B530938EA}"/>
                </a:ext>
              </a:extLst>
            </p:cNvPr>
            <p:cNvSpPr/>
            <p:nvPr/>
          </p:nvSpPr>
          <p:spPr>
            <a:xfrm>
              <a:off x="11133700" y="2699981"/>
              <a:ext cx="70702" cy="226299"/>
            </a:xfrm>
            <a:custGeom>
              <a:avLst/>
              <a:gdLst>
                <a:gd name="connsiteX0" fmla="*/ 16560 w 70702"/>
                <a:gd name="connsiteY0" fmla="*/ 226299 h 226299"/>
                <a:gd name="connsiteX1" fmla="*/ 16560 w 70702"/>
                <a:gd name="connsiteY1" fmla="*/ 226299 h 226299"/>
                <a:gd name="connsiteX2" fmla="*/ 10861 w 70702"/>
                <a:gd name="connsiteY2" fmla="*/ 220600 h 226299"/>
                <a:gd name="connsiteX3" fmla="*/ 53605 w 70702"/>
                <a:gd name="connsiteY3" fmla="*/ 106616 h 226299"/>
                <a:gd name="connsiteX4" fmla="*/ 8011 w 70702"/>
                <a:gd name="connsiteY4" fmla="*/ 66721 h 226299"/>
                <a:gd name="connsiteX5" fmla="*/ 5162 w 70702"/>
                <a:gd name="connsiteY5" fmla="*/ 4030 h 226299"/>
                <a:gd name="connsiteX6" fmla="*/ 10861 w 70702"/>
                <a:gd name="connsiteY6" fmla="*/ 1180 h 226299"/>
                <a:gd name="connsiteX7" fmla="*/ 13710 w 70702"/>
                <a:gd name="connsiteY7" fmla="*/ 6880 h 226299"/>
                <a:gd name="connsiteX8" fmla="*/ 16560 w 70702"/>
                <a:gd name="connsiteY8" fmla="*/ 61022 h 226299"/>
                <a:gd name="connsiteX9" fmla="*/ 62154 w 70702"/>
                <a:gd name="connsiteY9" fmla="*/ 98067 h 226299"/>
                <a:gd name="connsiteX10" fmla="*/ 70702 w 70702"/>
                <a:gd name="connsiteY10" fmla="*/ 100916 h 226299"/>
                <a:gd name="connsiteX11" fmla="*/ 65004 w 70702"/>
                <a:gd name="connsiteY11" fmla="*/ 106616 h 226299"/>
                <a:gd name="connsiteX12" fmla="*/ 22259 w 70702"/>
                <a:gd name="connsiteY12" fmla="*/ 220600 h 226299"/>
                <a:gd name="connsiteX13" fmla="*/ 16560 w 70702"/>
                <a:gd name="connsiteY13" fmla="*/ 226299 h 22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702" h="226299">
                  <a:moveTo>
                    <a:pt x="16560" y="226299"/>
                  </a:moveTo>
                  <a:cubicBezTo>
                    <a:pt x="16560" y="226299"/>
                    <a:pt x="16560" y="226299"/>
                    <a:pt x="16560" y="226299"/>
                  </a:cubicBezTo>
                  <a:cubicBezTo>
                    <a:pt x="13710" y="226299"/>
                    <a:pt x="10861" y="223449"/>
                    <a:pt x="10861" y="220600"/>
                  </a:cubicBezTo>
                  <a:cubicBezTo>
                    <a:pt x="13710" y="172157"/>
                    <a:pt x="42206" y="123713"/>
                    <a:pt x="53605" y="106616"/>
                  </a:cubicBezTo>
                  <a:cubicBezTo>
                    <a:pt x="42206" y="100916"/>
                    <a:pt x="19410" y="89518"/>
                    <a:pt x="8011" y="66721"/>
                  </a:cubicBezTo>
                  <a:cubicBezTo>
                    <a:pt x="-538" y="49624"/>
                    <a:pt x="-3387" y="26827"/>
                    <a:pt x="5162" y="4030"/>
                  </a:cubicBezTo>
                  <a:cubicBezTo>
                    <a:pt x="5162" y="1180"/>
                    <a:pt x="8011" y="-1669"/>
                    <a:pt x="10861" y="1180"/>
                  </a:cubicBezTo>
                  <a:cubicBezTo>
                    <a:pt x="13710" y="1180"/>
                    <a:pt x="16560" y="4030"/>
                    <a:pt x="13710" y="6880"/>
                  </a:cubicBezTo>
                  <a:cubicBezTo>
                    <a:pt x="8011" y="26827"/>
                    <a:pt x="8011" y="43924"/>
                    <a:pt x="16560" y="61022"/>
                  </a:cubicBezTo>
                  <a:cubicBezTo>
                    <a:pt x="30808" y="86668"/>
                    <a:pt x="62154" y="98067"/>
                    <a:pt x="62154" y="98067"/>
                  </a:cubicBezTo>
                  <a:lnTo>
                    <a:pt x="70702" y="100916"/>
                  </a:lnTo>
                  <a:lnTo>
                    <a:pt x="65004" y="106616"/>
                  </a:lnTo>
                  <a:cubicBezTo>
                    <a:pt x="65004" y="106616"/>
                    <a:pt x="25109" y="163608"/>
                    <a:pt x="22259" y="220600"/>
                  </a:cubicBezTo>
                  <a:cubicBezTo>
                    <a:pt x="22259" y="223449"/>
                    <a:pt x="19410" y="226299"/>
                    <a:pt x="16560" y="226299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15776071-5FBA-4EEE-8BE5-D2B0440BB2CA}"/>
                </a:ext>
              </a:extLst>
            </p:cNvPr>
            <p:cNvSpPr/>
            <p:nvPr/>
          </p:nvSpPr>
          <p:spPr>
            <a:xfrm>
              <a:off x="11304138" y="2735845"/>
              <a:ext cx="181662" cy="36556"/>
            </a:xfrm>
            <a:custGeom>
              <a:avLst/>
              <a:gdLst>
                <a:gd name="connsiteX0" fmla="*/ 5700 w 181662"/>
                <a:gd name="connsiteY0" fmla="*/ 36556 h 36556"/>
                <a:gd name="connsiteX1" fmla="*/ 0 w 181662"/>
                <a:gd name="connsiteY1" fmla="*/ 33707 h 36556"/>
                <a:gd name="connsiteX2" fmla="*/ 2850 w 181662"/>
                <a:gd name="connsiteY2" fmla="*/ 25158 h 36556"/>
                <a:gd name="connsiteX3" fmla="*/ 179526 w 181662"/>
                <a:gd name="connsiteY3" fmla="*/ 19459 h 36556"/>
                <a:gd name="connsiteX4" fmla="*/ 179526 w 181662"/>
                <a:gd name="connsiteY4" fmla="*/ 28007 h 36556"/>
                <a:gd name="connsiteX5" fmla="*/ 170976 w 181662"/>
                <a:gd name="connsiteY5" fmla="*/ 28007 h 36556"/>
                <a:gd name="connsiteX6" fmla="*/ 5700 w 181662"/>
                <a:gd name="connsiteY6" fmla="*/ 36556 h 36556"/>
                <a:gd name="connsiteX7" fmla="*/ 5700 w 181662"/>
                <a:gd name="connsiteY7" fmla="*/ 36556 h 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662" h="36556">
                  <a:moveTo>
                    <a:pt x="5700" y="36556"/>
                  </a:moveTo>
                  <a:cubicBezTo>
                    <a:pt x="2850" y="36556"/>
                    <a:pt x="2850" y="36556"/>
                    <a:pt x="0" y="33707"/>
                  </a:cubicBezTo>
                  <a:cubicBezTo>
                    <a:pt x="0" y="30857"/>
                    <a:pt x="0" y="28007"/>
                    <a:pt x="2850" y="25158"/>
                  </a:cubicBezTo>
                  <a:cubicBezTo>
                    <a:pt x="8549" y="22308"/>
                    <a:pt x="113984" y="-26135"/>
                    <a:pt x="179526" y="19459"/>
                  </a:cubicBezTo>
                  <a:cubicBezTo>
                    <a:pt x="182375" y="22308"/>
                    <a:pt x="182375" y="25158"/>
                    <a:pt x="179526" y="28007"/>
                  </a:cubicBezTo>
                  <a:cubicBezTo>
                    <a:pt x="176676" y="30857"/>
                    <a:pt x="173826" y="30857"/>
                    <a:pt x="170976" y="28007"/>
                  </a:cubicBezTo>
                  <a:cubicBezTo>
                    <a:pt x="111135" y="-11887"/>
                    <a:pt x="8549" y="36556"/>
                    <a:pt x="5700" y="36556"/>
                  </a:cubicBezTo>
                  <a:cubicBezTo>
                    <a:pt x="5700" y="36556"/>
                    <a:pt x="5700" y="36556"/>
                    <a:pt x="5700" y="36556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0813E7FA-B205-4827-BF2F-AACB387A7BB6}"/>
                </a:ext>
              </a:extLst>
            </p:cNvPr>
            <p:cNvSpPr/>
            <p:nvPr/>
          </p:nvSpPr>
          <p:spPr>
            <a:xfrm>
              <a:off x="11315537" y="3086570"/>
              <a:ext cx="112400" cy="27783"/>
            </a:xfrm>
            <a:custGeom>
              <a:avLst/>
              <a:gdLst>
                <a:gd name="connsiteX0" fmla="*/ 62691 w 112400"/>
                <a:gd name="connsiteY0" fmla="*/ 27784 h 27783"/>
                <a:gd name="connsiteX1" fmla="*/ 2849 w 112400"/>
                <a:gd name="connsiteY1" fmla="*/ 13536 h 27783"/>
                <a:gd name="connsiteX2" fmla="*/ 0 w 112400"/>
                <a:gd name="connsiteY2" fmla="*/ 4987 h 27783"/>
                <a:gd name="connsiteX3" fmla="*/ 8548 w 112400"/>
                <a:gd name="connsiteY3" fmla="*/ 2137 h 27783"/>
                <a:gd name="connsiteX4" fmla="*/ 102585 w 112400"/>
                <a:gd name="connsiteY4" fmla="*/ 2137 h 27783"/>
                <a:gd name="connsiteX5" fmla="*/ 111134 w 112400"/>
                <a:gd name="connsiteY5" fmla="*/ 2137 h 27783"/>
                <a:gd name="connsiteX6" fmla="*/ 111134 w 112400"/>
                <a:gd name="connsiteY6" fmla="*/ 10686 h 27783"/>
                <a:gd name="connsiteX7" fmla="*/ 62691 w 112400"/>
                <a:gd name="connsiteY7" fmla="*/ 27784 h 27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400" h="27783">
                  <a:moveTo>
                    <a:pt x="62691" y="27784"/>
                  </a:moveTo>
                  <a:cubicBezTo>
                    <a:pt x="31345" y="27784"/>
                    <a:pt x="5699" y="13536"/>
                    <a:pt x="2849" y="13536"/>
                  </a:cubicBezTo>
                  <a:cubicBezTo>
                    <a:pt x="0" y="13536"/>
                    <a:pt x="0" y="7836"/>
                    <a:pt x="0" y="4987"/>
                  </a:cubicBezTo>
                  <a:cubicBezTo>
                    <a:pt x="0" y="2137"/>
                    <a:pt x="5699" y="2137"/>
                    <a:pt x="8548" y="2137"/>
                  </a:cubicBezTo>
                  <a:cubicBezTo>
                    <a:pt x="8548" y="2137"/>
                    <a:pt x="68390" y="30633"/>
                    <a:pt x="102585" y="2137"/>
                  </a:cubicBezTo>
                  <a:cubicBezTo>
                    <a:pt x="105435" y="-712"/>
                    <a:pt x="108285" y="-712"/>
                    <a:pt x="111134" y="2137"/>
                  </a:cubicBezTo>
                  <a:cubicBezTo>
                    <a:pt x="113984" y="4987"/>
                    <a:pt x="111134" y="7836"/>
                    <a:pt x="111134" y="10686"/>
                  </a:cubicBezTo>
                  <a:cubicBezTo>
                    <a:pt x="94037" y="24934"/>
                    <a:pt x="79789" y="27784"/>
                    <a:pt x="62691" y="27784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707EC78D-0A6C-4540-94CF-F1FB22AC9F7B}"/>
                </a:ext>
              </a:extLst>
            </p:cNvPr>
            <p:cNvSpPr/>
            <p:nvPr/>
          </p:nvSpPr>
          <p:spPr>
            <a:xfrm>
              <a:off x="10853901" y="3604485"/>
              <a:ext cx="37044" cy="316306"/>
            </a:xfrm>
            <a:custGeom>
              <a:avLst/>
              <a:gdLst>
                <a:gd name="connsiteX0" fmla="*/ 5700 w 37044"/>
                <a:gd name="connsiteY0" fmla="*/ 316306 h 316306"/>
                <a:gd name="connsiteX1" fmla="*/ 5700 w 37044"/>
                <a:gd name="connsiteY1" fmla="*/ 316306 h 316306"/>
                <a:gd name="connsiteX2" fmla="*/ 0 w 37044"/>
                <a:gd name="connsiteY2" fmla="*/ 310607 h 316306"/>
                <a:gd name="connsiteX3" fmla="*/ 25646 w 37044"/>
                <a:gd name="connsiteY3" fmla="*/ 5699 h 316306"/>
                <a:gd name="connsiteX4" fmla="*/ 31346 w 37044"/>
                <a:gd name="connsiteY4" fmla="*/ 0 h 316306"/>
                <a:gd name="connsiteX5" fmla="*/ 37045 w 37044"/>
                <a:gd name="connsiteY5" fmla="*/ 5699 h 316306"/>
                <a:gd name="connsiteX6" fmla="*/ 11398 w 37044"/>
                <a:gd name="connsiteY6" fmla="*/ 310607 h 316306"/>
                <a:gd name="connsiteX7" fmla="*/ 5700 w 37044"/>
                <a:gd name="connsiteY7" fmla="*/ 316306 h 31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044" h="316306">
                  <a:moveTo>
                    <a:pt x="5700" y="316306"/>
                  </a:moveTo>
                  <a:lnTo>
                    <a:pt x="5700" y="316306"/>
                  </a:lnTo>
                  <a:cubicBezTo>
                    <a:pt x="2850" y="316306"/>
                    <a:pt x="0" y="313456"/>
                    <a:pt x="0" y="310607"/>
                  </a:cubicBezTo>
                  <a:cubicBezTo>
                    <a:pt x="5700" y="239367"/>
                    <a:pt x="25646" y="8549"/>
                    <a:pt x="25646" y="5699"/>
                  </a:cubicBezTo>
                  <a:cubicBezTo>
                    <a:pt x="25646" y="2850"/>
                    <a:pt x="28496" y="0"/>
                    <a:pt x="31346" y="0"/>
                  </a:cubicBezTo>
                  <a:cubicBezTo>
                    <a:pt x="34196" y="0"/>
                    <a:pt x="37045" y="2850"/>
                    <a:pt x="37045" y="5699"/>
                  </a:cubicBezTo>
                  <a:cubicBezTo>
                    <a:pt x="37045" y="8549"/>
                    <a:pt x="14248" y="239367"/>
                    <a:pt x="11398" y="310607"/>
                  </a:cubicBezTo>
                  <a:cubicBezTo>
                    <a:pt x="11398" y="313456"/>
                    <a:pt x="8548" y="316306"/>
                    <a:pt x="5700" y="316306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5" name="图形 1">
              <a:extLst>
                <a:ext uri="{FF2B5EF4-FFF2-40B4-BE49-F238E27FC236}">
                  <a16:creationId xmlns:a16="http://schemas.microsoft.com/office/drawing/2014/main" id="{20985F13-71A5-4FE6-B91A-648420796ED2}"/>
                </a:ext>
              </a:extLst>
            </p:cNvPr>
            <p:cNvGrpSpPr/>
            <p:nvPr/>
          </p:nvGrpSpPr>
          <p:grpSpPr>
            <a:xfrm>
              <a:off x="11101817" y="2808912"/>
              <a:ext cx="482025" cy="180059"/>
              <a:chOff x="11101817" y="2808912"/>
              <a:chExt cx="482025" cy="180059"/>
            </a:xfrm>
          </p:grpSpPr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BA6189E8-A8C7-4049-9F9E-E1C449F915CB}"/>
                  </a:ext>
                </a:extLst>
              </p:cNvPr>
              <p:cNvSpPr/>
              <p:nvPr/>
            </p:nvSpPr>
            <p:spPr>
              <a:xfrm>
                <a:off x="11101817" y="2863588"/>
                <a:ext cx="82638" cy="68536"/>
              </a:xfrm>
              <a:custGeom>
                <a:avLst/>
                <a:gdLst>
                  <a:gd name="connsiteX0" fmla="*/ 76939 w 82638"/>
                  <a:gd name="connsiteY0" fmla="*/ 31346 h 68536"/>
                  <a:gd name="connsiteX1" fmla="*/ 0 w 82638"/>
                  <a:gd name="connsiteY1" fmla="*/ 0 h 68536"/>
                  <a:gd name="connsiteX2" fmla="*/ 14248 w 82638"/>
                  <a:gd name="connsiteY2" fmla="*/ 31346 h 68536"/>
                  <a:gd name="connsiteX3" fmla="*/ 82638 w 82638"/>
                  <a:gd name="connsiteY3" fmla="*/ 68391 h 68536"/>
                  <a:gd name="connsiteX4" fmla="*/ 76939 w 82638"/>
                  <a:gd name="connsiteY4" fmla="*/ 31346 h 68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638" h="68536">
                    <a:moveTo>
                      <a:pt x="76939" y="31346"/>
                    </a:moveTo>
                    <a:cubicBezTo>
                      <a:pt x="76939" y="31346"/>
                      <a:pt x="34195" y="25646"/>
                      <a:pt x="0" y="0"/>
                    </a:cubicBezTo>
                    <a:cubicBezTo>
                      <a:pt x="0" y="0"/>
                      <a:pt x="5699" y="22797"/>
                      <a:pt x="14248" y="31346"/>
                    </a:cubicBezTo>
                    <a:cubicBezTo>
                      <a:pt x="14248" y="31346"/>
                      <a:pt x="45593" y="71240"/>
                      <a:pt x="82638" y="68391"/>
                    </a:cubicBezTo>
                    <a:lnTo>
                      <a:pt x="76939" y="31346"/>
                    </a:ln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34D4B88E-F4EA-4704-B50A-CFEEC0F6C902}"/>
                  </a:ext>
                </a:extLst>
              </p:cNvPr>
              <p:cNvSpPr/>
              <p:nvPr/>
            </p:nvSpPr>
            <p:spPr>
              <a:xfrm>
                <a:off x="11166811" y="2808912"/>
                <a:ext cx="410888" cy="180059"/>
              </a:xfrm>
              <a:custGeom>
                <a:avLst/>
                <a:gdLst>
                  <a:gd name="connsiteX0" fmla="*/ 410889 w 410888"/>
                  <a:gd name="connsiteY0" fmla="*/ 31880 h 180059"/>
                  <a:gd name="connsiteX1" fmla="*/ 393791 w 410888"/>
                  <a:gd name="connsiteY1" fmla="*/ 40429 h 180059"/>
                  <a:gd name="connsiteX2" fmla="*/ 373844 w 410888"/>
                  <a:gd name="connsiteY2" fmla="*/ 37579 h 180059"/>
                  <a:gd name="connsiteX3" fmla="*/ 368145 w 410888"/>
                  <a:gd name="connsiteY3" fmla="*/ 123067 h 180059"/>
                  <a:gd name="connsiteX4" fmla="*/ 345348 w 410888"/>
                  <a:gd name="connsiteY4" fmla="*/ 143015 h 180059"/>
                  <a:gd name="connsiteX5" fmla="*/ 74636 w 410888"/>
                  <a:gd name="connsiteY5" fmla="*/ 160112 h 180059"/>
                  <a:gd name="connsiteX6" fmla="*/ 74636 w 410888"/>
                  <a:gd name="connsiteY6" fmla="*/ 180059 h 180059"/>
                  <a:gd name="connsiteX7" fmla="*/ 31892 w 410888"/>
                  <a:gd name="connsiteY7" fmla="*/ 162962 h 180059"/>
                  <a:gd name="connsiteX8" fmla="*/ 29042 w 410888"/>
                  <a:gd name="connsiteY8" fmla="*/ 162962 h 180059"/>
                  <a:gd name="connsiteX9" fmla="*/ 29042 w 410888"/>
                  <a:gd name="connsiteY9" fmla="*/ 162962 h 180059"/>
                  <a:gd name="connsiteX10" fmla="*/ 29042 w 410888"/>
                  <a:gd name="connsiteY10" fmla="*/ 162962 h 180059"/>
                  <a:gd name="connsiteX11" fmla="*/ 17644 w 410888"/>
                  <a:gd name="connsiteY11" fmla="*/ 148714 h 180059"/>
                  <a:gd name="connsiteX12" fmla="*/ 546 w 410888"/>
                  <a:gd name="connsiteY12" fmla="*/ 48978 h 180059"/>
                  <a:gd name="connsiteX13" fmla="*/ 20494 w 410888"/>
                  <a:gd name="connsiteY13" fmla="*/ 26181 h 180059"/>
                  <a:gd name="connsiteX14" fmla="*/ 348198 w 410888"/>
                  <a:gd name="connsiteY14" fmla="*/ 534 h 180059"/>
                  <a:gd name="connsiteX15" fmla="*/ 362446 w 410888"/>
                  <a:gd name="connsiteY15" fmla="*/ 6234 h 180059"/>
                  <a:gd name="connsiteX16" fmla="*/ 362446 w 410888"/>
                  <a:gd name="connsiteY16" fmla="*/ 6234 h 180059"/>
                  <a:gd name="connsiteX17" fmla="*/ 410889 w 410888"/>
                  <a:gd name="connsiteY17" fmla="*/ 31880 h 180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10888" h="180059">
                    <a:moveTo>
                      <a:pt x="410889" y="31880"/>
                    </a:moveTo>
                    <a:cubicBezTo>
                      <a:pt x="405190" y="34730"/>
                      <a:pt x="399491" y="37579"/>
                      <a:pt x="393791" y="40429"/>
                    </a:cubicBezTo>
                    <a:cubicBezTo>
                      <a:pt x="388092" y="40429"/>
                      <a:pt x="382393" y="37579"/>
                      <a:pt x="373844" y="37579"/>
                    </a:cubicBezTo>
                    <a:cubicBezTo>
                      <a:pt x="373844" y="66075"/>
                      <a:pt x="370995" y="94571"/>
                      <a:pt x="368145" y="123067"/>
                    </a:cubicBezTo>
                    <a:cubicBezTo>
                      <a:pt x="368145" y="134466"/>
                      <a:pt x="356747" y="143015"/>
                      <a:pt x="345348" y="143015"/>
                    </a:cubicBezTo>
                    <a:cubicBezTo>
                      <a:pt x="254161" y="140165"/>
                      <a:pt x="162974" y="145864"/>
                      <a:pt x="74636" y="160112"/>
                    </a:cubicBezTo>
                    <a:cubicBezTo>
                      <a:pt x="74636" y="165811"/>
                      <a:pt x="74636" y="174360"/>
                      <a:pt x="74636" y="180059"/>
                    </a:cubicBezTo>
                    <a:cubicBezTo>
                      <a:pt x="60388" y="174360"/>
                      <a:pt x="46140" y="168661"/>
                      <a:pt x="31892" y="162962"/>
                    </a:cubicBezTo>
                    <a:cubicBezTo>
                      <a:pt x="31892" y="162962"/>
                      <a:pt x="29042" y="162962"/>
                      <a:pt x="29042" y="162962"/>
                    </a:cubicBezTo>
                    <a:lnTo>
                      <a:pt x="29042" y="162962"/>
                    </a:lnTo>
                    <a:lnTo>
                      <a:pt x="29042" y="162962"/>
                    </a:lnTo>
                    <a:cubicBezTo>
                      <a:pt x="23343" y="160112"/>
                      <a:pt x="17644" y="154413"/>
                      <a:pt x="17644" y="148714"/>
                    </a:cubicBezTo>
                    <a:cubicBezTo>
                      <a:pt x="11944" y="114518"/>
                      <a:pt x="6246" y="80323"/>
                      <a:pt x="546" y="48978"/>
                    </a:cubicBezTo>
                    <a:cubicBezTo>
                      <a:pt x="-2304" y="37579"/>
                      <a:pt x="6246" y="29030"/>
                      <a:pt x="20494" y="26181"/>
                    </a:cubicBezTo>
                    <a:cubicBezTo>
                      <a:pt x="128778" y="6234"/>
                      <a:pt x="237063" y="-2315"/>
                      <a:pt x="348198" y="534"/>
                    </a:cubicBezTo>
                    <a:cubicBezTo>
                      <a:pt x="353897" y="534"/>
                      <a:pt x="359596" y="3384"/>
                      <a:pt x="362446" y="6234"/>
                    </a:cubicBezTo>
                    <a:lnTo>
                      <a:pt x="362446" y="6234"/>
                    </a:lnTo>
                    <a:cubicBezTo>
                      <a:pt x="382393" y="14782"/>
                      <a:pt x="396641" y="23331"/>
                      <a:pt x="410889" y="3188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3" name="图形 1">
                <a:extLst>
                  <a:ext uri="{FF2B5EF4-FFF2-40B4-BE49-F238E27FC236}">
                    <a16:creationId xmlns:a16="http://schemas.microsoft.com/office/drawing/2014/main" id="{1B976000-F7C0-417B-ABCE-B8881A7234F4}"/>
                  </a:ext>
                </a:extLst>
              </p:cNvPr>
              <p:cNvGrpSpPr/>
              <p:nvPr/>
            </p:nvGrpSpPr>
            <p:grpSpPr>
              <a:xfrm>
                <a:off x="11215358" y="2832908"/>
                <a:ext cx="368484" cy="156062"/>
                <a:chOff x="11215358" y="2832908"/>
                <a:chExt cx="368484" cy="156062"/>
              </a:xfrm>
            </p:grpSpPr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95C1E752-2E29-488C-8B81-B8BB17A5511F}"/>
                    </a:ext>
                  </a:extLst>
                </p:cNvPr>
                <p:cNvSpPr/>
                <p:nvPr/>
              </p:nvSpPr>
              <p:spPr>
                <a:xfrm>
                  <a:off x="11215358" y="2832908"/>
                  <a:ext cx="368484" cy="156062"/>
                </a:xfrm>
                <a:custGeom>
                  <a:avLst/>
                  <a:gdLst>
                    <a:gd name="connsiteX0" fmla="*/ 348094 w 368484"/>
                    <a:gd name="connsiteY0" fmla="*/ 2184 h 156062"/>
                    <a:gd name="connsiteX1" fmla="*/ 20390 w 368484"/>
                    <a:gd name="connsiteY1" fmla="*/ 16432 h 156062"/>
                    <a:gd name="connsiteX2" fmla="*/ 443 w 368484"/>
                    <a:gd name="connsiteY2" fmla="*/ 39229 h 156062"/>
                    <a:gd name="connsiteX3" fmla="*/ 14691 w 368484"/>
                    <a:gd name="connsiteY3" fmla="*/ 138965 h 156062"/>
                    <a:gd name="connsiteX4" fmla="*/ 37487 w 368484"/>
                    <a:gd name="connsiteY4" fmla="*/ 156063 h 156062"/>
                    <a:gd name="connsiteX5" fmla="*/ 336696 w 368484"/>
                    <a:gd name="connsiteY5" fmla="*/ 141815 h 156062"/>
                    <a:gd name="connsiteX6" fmla="*/ 359492 w 368484"/>
                    <a:gd name="connsiteY6" fmla="*/ 124717 h 156062"/>
                    <a:gd name="connsiteX7" fmla="*/ 368042 w 368484"/>
                    <a:gd name="connsiteY7" fmla="*/ 22131 h 156062"/>
                    <a:gd name="connsiteX8" fmla="*/ 348094 w 368484"/>
                    <a:gd name="connsiteY8" fmla="*/ 2184 h 156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8484" h="156062">
                      <a:moveTo>
                        <a:pt x="348094" y="2184"/>
                      </a:moveTo>
                      <a:cubicBezTo>
                        <a:pt x="236960" y="-3515"/>
                        <a:pt x="128675" y="2184"/>
                        <a:pt x="20390" y="16432"/>
                      </a:cubicBezTo>
                      <a:cubicBezTo>
                        <a:pt x="8991" y="19282"/>
                        <a:pt x="-2407" y="27830"/>
                        <a:pt x="443" y="39229"/>
                      </a:cubicBezTo>
                      <a:cubicBezTo>
                        <a:pt x="6142" y="73424"/>
                        <a:pt x="8991" y="107619"/>
                        <a:pt x="14691" y="138965"/>
                      </a:cubicBezTo>
                      <a:cubicBezTo>
                        <a:pt x="17540" y="150363"/>
                        <a:pt x="26089" y="156063"/>
                        <a:pt x="37487" y="156063"/>
                      </a:cubicBezTo>
                      <a:cubicBezTo>
                        <a:pt x="134374" y="141815"/>
                        <a:pt x="234110" y="136115"/>
                        <a:pt x="336696" y="141815"/>
                      </a:cubicBezTo>
                      <a:cubicBezTo>
                        <a:pt x="348094" y="141815"/>
                        <a:pt x="359492" y="133266"/>
                        <a:pt x="359492" y="124717"/>
                      </a:cubicBezTo>
                      <a:cubicBezTo>
                        <a:pt x="362342" y="90522"/>
                        <a:pt x="365192" y="56326"/>
                        <a:pt x="368042" y="22131"/>
                      </a:cubicBezTo>
                      <a:cubicBezTo>
                        <a:pt x="370891" y="13582"/>
                        <a:pt x="359492" y="2184"/>
                        <a:pt x="348094" y="2184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A01657B0-B0E9-4F19-BE26-37F58DBB3621}"/>
                    </a:ext>
                  </a:extLst>
                </p:cNvPr>
                <p:cNvSpPr/>
                <p:nvPr/>
              </p:nvSpPr>
              <p:spPr>
                <a:xfrm>
                  <a:off x="11238045" y="2842648"/>
                  <a:ext cx="322557" cy="138332"/>
                </a:xfrm>
                <a:custGeom>
                  <a:avLst/>
                  <a:gdLst>
                    <a:gd name="connsiteX0" fmla="*/ 302611 w 322557"/>
                    <a:gd name="connsiteY0" fmla="*/ 993 h 138332"/>
                    <a:gd name="connsiteX1" fmla="*/ 17650 w 322557"/>
                    <a:gd name="connsiteY1" fmla="*/ 15241 h 138332"/>
                    <a:gd name="connsiteX2" fmla="*/ 552 w 322557"/>
                    <a:gd name="connsiteY2" fmla="*/ 35188 h 138332"/>
                    <a:gd name="connsiteX3" fmla="*/ 11951 w 322557"/>
                    <a:gd name="connsiteY3" fmla="*/ 123526 h 138332"/>
                    <a:gd name="connsiteX4" fmla="*/ 31898 w 322557"/>
                    <a:gd name="connsiteY4" fmla="*/ 137774 h 138332"/>
                    <a:gd name="connsiteX5" fmla="*/ 296911 w 322557"/>
                    <a:gd name="connsiteY5" fmla="*/ 126376 h 138332"/>
                    <a:gd name="connsiteX6" fmla="*/ 316859 w 322557"/>
                    <a:gd name="connsiteY6" fmla="*/ 109278 h 138332"/>
                    <a:gd name="connsiteX7" fmla="*/ 322557 w 322557"/>
                    <a:gd name="connsiteY7" fmla="*/ 20940 h 138332"/>
                    <a:gd name="connsiteX8" fmla="*/ 302611 w 322557"/>
                    <a:gd name="connsiteY8" fmla="*/ 993 h 138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2557" h="138332">
                      <a:moveTo>
                        <a:pt x="302611" y="993"/>
                      </a:moveTo>
                      <a:cubicBezTo>
                        <a:pt x="205724" y="-1857"/>
                        <a:pt x="111687" y="993"/>
                        <a:pt x="17650" y="15241"/>
                      </a:cubicBezTo>
                      <a:cubicBezTo>
                        <a:pt x="6252" y="18091"/>
                        <a:pt x="-2297" y="26639"/>
                        <a:pt x="552" y="35188"/>
                      </a:cubicBezTo>
                      <a:cubicBezTo>
                        <a:pt x="3402" y="63684"/>
                        <a:pt x="9101" y="95030"/>
                        <a:pt x="11951" y="123526"/>
                      </a:cubicBezTo>
                      <a:cubicBezTo>
                        <a:pt x="11951" y="132075"/>
                        <a:pt x="23349" y="140624"/>
                        <a:pt x="31898" y="137774"/>
                      </a:cubicBezTo>
                      <a:cubicBezTo>
                        <a:pt x="117386" y="126376"/>
                        <a:pt x="205724" y="120676"/>
                        <a:pt x="296911" y="126376"/>
                      </a:cubicBezTo>
                      <a:cubicBezTo>
                        <a:pt x="308309" y="126376"/>
                        <a:pt x="316859" y="120676"/>
                        <a:pt x="316859" y="109278"/>
                      </a:cubicBezTo>
                      <a:cubicBezTo>
                        <a:pt x="319708" y="80782"/>
                        <a:pt x="322557" y="49436"/>
                        <a:pt x="322557" y="20940"/>
                      </a:cubicBezTo>
                      <a:cubicBezTo>
                        <a:pt x="322557" y="9542"/>
                        <a:pt x="314009" y="993"/>
                        <a:pt x="302611" y="993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17D3B727-D444-4BB8-BA13-F62DA5E7048B}"/>
                    </a:ext>
                  </a:extLst>
                </p:cNvPr>
                <p:cNvSpPr/>
                <p:nvPr/>
              </p:nvSpPr>
              <p:spPr>
                <a:xfrm>
                  <a:off x="11292740" y="2855040"/>
                  <a:ext cx="94037" cy="108284"/>
                </a:xfrm>
                <a:custGeom>
                  <a:avLst/>
                  <a:gdLst>
                    <a:gd name="connsiteX0" fmla="*/ 71240 w 94037"/>
                    <a:gd name="connsiteY0" fmla="*/ 108285 h 108284"/>
                    <a:gd name="connsiteX1" fmla="*/ 94037 w 94037"/>
                    <a:gd name="connsiteY1" fmla="*/ 105435 h 108284"/>
                    <a:gd name="connsiteX2" fmla="*/ 25646 w 94037"/>
                    <a:gd name="connsiteY2" fmla="*/ 0 h 108284"/>
                    <a:gd name="connsiteX3" fmla="*/ 0 w 94037"/>
                    <a:gd name="connsiteY3" fmla="*/ 2850 h 108284"/>
                    <a:gd name="connsiteX4" fmla="*/ 71240 w 94037"/>
                    <a:gd name="connsiteY4" fmla="*/ 108285 h 108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037" h="108284">
                      <a:moveTo>
                        <a:pt x="71240" y="108285"/>
                      </a:moveTo>
                      <a:cubicBezTo>
                        <a:pt x="79789" y="108285"/>
                        <a:pt x="85488" y="108285"/>
                        <a:pt x="94037" y="105435"/>
                      </a:cubicBezTo>
                      <a:cubicBezTo>
                        <a:pt x="74090" y="71240"/>
                        <a:pt x="51293" y="34195"/>
                        <a:pt x="25646" y="0"/>
                      </a:cubicBezTo>
                      <a:cubicBezTo>
                        <a:pt x="17098" y="0"/>
                        <a:pt x="8549" y="2850"/>
                        <a:pt x="0" y="2850"/>
                      </a:cubicBezTo>
                      <a:cubicBezTo>
                        <a:pt x="22797" y="37045"/>
                        <a:pt x="48444" y="71240"/>
                        <a:pt x="71240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7" name="任意多边形: 形状 66">
                  <a:extLst>
                    <a:ext uri="{FF2B5EF4-FFF2-40B4-BE49-F238E27FC236}">
                      <a16:creationId xmlns:a16="http://schemas.microsoft.com/office/drawing/2014/main" id="{A8E36B9E-56B3-41A6-9B53-63122C0799B6}"/>
                    </a:ext>
                  </a:extLst>
                </p:cNvPr>
                <p:cNvSpPr/>
                <p:nvPr/>
              </p:nvSpPr>
              <p:spPr>
                <a:xfrm>
                  <a:off x="11341183" y="2852190"/>
                  <a:ext cx="111134" cy="108285"/>
                </a:xfrm>
                <a:custGeom>
                  <a:avLst/>
                  <a:gdLst>
                    <a:gd name="connsiteX0" fmla="*/ 68390 w 111134"/>
                    <a:gd name="connsiteY0" fmla="*/ 108285 h 108285"/>
                    <a:gd name="connsiteX1" fmla="*/ 111134 w 111134"/>
                    <a:gd name="connsiteY1" fmla="*/ 108285 h 108285"/>
                    <a:gd name="connsiteX2" fmla="*/ 48443 w 111134"/>
                    <a:gd name="connsiteY2" fmla="*/ 0 h 108285"/>
                    <a:gd name="connsiteX3" fmla="*/ 0 w 111134"/>
                    <a:gd name="connsiteY3" fmla="*/ 2850 h 108285"/>
                    <a:gd name="connsiteX4" fmla="*/ 68390 w 111134"/>
                    <a:gd name="connsiteY4" fmla="*/ 108285 h 108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1134" h="108285">
                      <a:moveTo>
                        <a:pt x="68390" y="108285"/>
                      </a:moveTo>
                      <a:cubicBezTo>
                        <a:pt x="82638" y="108285"/>
                        <a:pt x="96886" y="108285"/>
                        <a:pt x="111134" y="108285"/>
                      </a:cubicBezTo>
                      <a:cubicBezTo>
                        <a:pt x="91187" y="71240"/>
                        <a:pt x="71240" y="37045"/>
                        <a:pt x="48443" y="0"/>
                      </a:cubicBezTo>
                      <a:cubicBezTo>
                        <a:pt x="31346" y="0"/>
                        <a:pt x="17098" y="2850"/>
                        <a:pt x="0" y="2850"/>
                      </a:cubicBezTo>
                      <a:cubicBezTo>
                        <a:pt x="22796" y="37045"/>
                        <a:pt x="45594" y="71240"/>
                        <a:pt x="68390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73303040-F928-463D-8CE8-4BAFA62F1561}"/>
                </a:ext>
              </a:extLst>
            </p:cNvPr>
            <p:cNvGrpSpPr/>
            <p:nvPr/>
          </p:nvGrpSpPr>
          <p:grpSpPr>
            <a:xfrm>
              <a:off x="12505311" y="3295368"/>
              <a:ext cx="307353" cy="538135"/>
              <a:chOff x="12505311" y="3295368"/>
              <a:chExt cx="307353" cy="538135"/>
            </a:xfrm>
          </p:grpSpPr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E25ADE44-11F6-4F92-8399-1067E56A1F02}"/>
                  </a:ext>
                </a:extLst>
              </p:cNvPr>
              <p:cNvSpPr/>
              <p:nvPr/>
            </p:nvSpPr>
            <p:spPr>
              <a:xfrm>
                <a:off x="12529468" y="3385066"/>
                <a:ext cx="283197" cy="448437"/>
              </a:xfrm>
              <a:custGeom>
                <a:avLst/>
                <a:gdLst>
                  <a:gd name="connsiteX0" fmla="*/ 239367 w 283197"/>
                  <a:gd name="connsiteY0" fmla="*/ 444538 h 448437"/>
                  <a:gd name="connsiteX1" fmla="*/ 239367 w 283197"/>
                  <a:gd name="connsiteY1" fmla="*/ 444538 h 448437"/>
                  <a:gd name="connsiteX2" fmla="*/ 162428 w 283197"/>
                  <a:gd name="connsiteY2" fmla="*/ 410343 h 448437"/>
                  <a:gd name="connsiteX3" fmla="*/ 0 w 283197"/>
                  <a:gd name="connsiteY3" fmla="*/ 68390 h 448437"/>
                  <a:gd name="connsiteX4" fmla="*/ 196623 w 283197"/>
                  <a:gd name="connsiteY4" fmla="*/ 0 h 448437"/>
                  <a:gd name="connsiteX5" fmla="*/ 282112 w 283197"/>
                  <a:gd name="connsiteY5" fmla="*/ 367599 h 448437"/>
                  <a:gd name="connsiteX6" fmla="*/ 239367 w 283197"/>
                  <a:gd name="connsiteY6" fmla="*/ 444538 h 448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3197" h="448437">
                    <a:moveTo>
                      <a:pt x="239367" y="444538"/>
                    </a:moveTo>
                    <a:lnTo>
                      <a:pt x="239367" y="444538"/>
                    </a:lnTo>
                    <a:cubicBezTo>
                      <a:pt x="208022" y="455937"/>
                      <a:pt x="176676" y="441689"/>
                      <a:pt x="162428" y="410343"/>
                    </a:cubicBezTo>
                    <a:lnTo>
                      <a:pt x="0" y="68390"/>
                    </a:lnTo>
                    <a:lnTo>
                      <a:pt x="196623" y="0"/>
                    </a:lnTo>
                    <a:lnTo>
                      <a:pt x="282112" y="367599"/>
                    </a:lnTo>
                    <a:cubicBezTo>
                      <a:pt x="287810" y="401794"/>
                      <a:pt x="270712" y="433140"/>
                      <a:pt x="239367" y="444538"/>
                    </a:cubicBezTo>
                    <a:close/>
                  </a:path>
                </a:pathLst>
              </a:custGeom>
              <a:solidFill>
                <a:srgbClr val="6383A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1D3BD16A-8028-47C5-91BD-5073C2FF4271}"/>
                  </a:ext>
                </a:extLst>
              </p:cNvPr>
              <p:cNvSpPr/>
              <p:nvPr/>
            </p:nvSpPr>
            <p:spPr>
              <a:xfrm>
                <a:off x="12505311" y="3295368"/>
                <a:ext cx="246410" cy="247786"/>
              </a:xfrm>
              <a:custGeom>
                <a:avLst/>
                <a:gdLst>
                  <a:gd name="connsiteX0" fmla="*/ 240727 w 246410"/>
                  <a:gd name="connsiteY0" fmla="*/ 83999 h 247786"/>
                  <a:gd name="connsiteX1" fmla="*/ 83998 w 246410"/>
                  <a:gd name="connsiteY1" fmla="*/ 7060 h 247786"/>
                  <a:gd name="connsiteX2" fmla="*/ 7060 w 246410"/>
                  <a:gd name="connsiteY2" fmla="*/ 163788 h 247786"/>
                  <a:gd name="connsiteX3" fmla="*/ 163788 w 246410"/>
                  <a:gd name="connsiteY3" fmla="*/ 240727 h 247786"/>
                  <a:gd name="connsiteX4" fmla="*/ 240727 w 246410"/>
                  <a:gd name="connsiteY4" fmla="*/ 83999 h 247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6410" h="247786">
                    <a:moveTo>
                      <a:pt x="240727" y="83999"/>
                    </a:moveTo>
                    <a:cubicBezTo>
                      <a:pt x="217930" y="18458"/>
                      <a:pt x="146690" y="-15737"/>
                      <a:pt x="83998" y="7060"/>
                    </a:cubicBezTo>
                    <a:cubicBezTo>
                      <a:pt x="18458" y="29856"/>
                      <a:pt x="-15738" y="101096"/>
                      <a:pt x="7060" y="163788"/>
                    </a:cubicBezTo>
                    <a:cubicBezTo>
                      <a:pt x="29856" y="229329"/>
                      <a:pt x="101096" y="263524"/>
                      <a:pt x="163788" y="240727"/>
                    </a:cubicBezTo>
                    <a:cubicBezTo>
                      <a:pt x="226479" y="220780"/>
                      <a:pt x="260674" y="149540"/>
                      <a:pt x="240727" y="83999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7" name="图形 1">
              <a:extLst>
                <a:ext uri="{FF2B5EF4-FFF2-40B4-BE49-F238E27FC236}">
                  <a16:creationId xmlns:a16="http://schemas.microsoft.com/office/drawing/2014/main" id="{0D6135FD-5D5E-4D42-96CA-BD8626DF33D0}"/>
                </a:ext>
              </a:extLst>
            </p:cNvPr>
            <p:cNvGrpSpPr/>
            <p:nvPr/>
          </p:nvGrpSpPr>
          <p:grpSpPr>
            <a:xfrm>
              <a:off x="10002276" y="2222727"/>
              <a:ext cx="537869" cy="290667"/>
              <a:chOff x="10002276" y="2222727"/>
              <a:chExt cx="537869" cy="290667"/>
            </a:xfrm>
          </p:grpSpPr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DAB03C6D-BD98-4AE0-B751-900B7DFA5119}"/>
                  </a:ext>
                </a:extLst>
              </p:cNvPr>
              <p:cNvSpPr/>
              <p:nvPr/>
            </p:nvSpPr>
            <p:spPr>
              <a:xfrm>
                <a:off x="10002276" y="2245224"/>
                <a:ext cx="446981" cy="268170"/>
              </a:xfrm>
              <a:custGeom>
                <a:avLst/>
                <a:gdLst>
                  <a:gd name="connsiteX0" fmla="*/ 2444 w 446981"/>
                  <a:gd name="connsiteY0" fmla="*/ 222269 h 268170"/>
                  <a:gd name="connsiteX1" fmla="*/ 2444 w 446981"/>
                  <a:gd name="connsiteY1" fmla="*/ 222269 h 268170"/>
                  <a:gd name="connsiteX2" fmla="*/ 39488 w 446981"/>
                  <a:gd name="connsiteY2" fmla="*/ 145330 h 268170"/>
                  <a:gd name="connsiteX3" fmla="*/ 387140 w 446981"/>
                  <a:gd name="connsiteY3" fmla="*/ 0 h 268170"/>
                  <a:gd name="connsiteX4" fmla="*/ 446981 w 446981"/>
                  <a:gd name="connsiteY4" fmla="*/ 199472 h 268170"/>
                  <a:gd name="connsiteX5" fmla="*/ 73684 w 446981"/>
                  <a:gd name="connsiteY5" fmla="*/ 267863 h 268170"/>
                  <a:gd name="connsiteX6" fmla="*/ 2444 w 446981"/>
                  <a:gd name="connsiteY6" fmla="*/ 222269 h 268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6981" h="268170">
                    <a:moveTo>
                      <a:pt x="2444" y="222269"/>
                    </a:moveTo>
                    <a:lnTo>
                      <a:pt x="2444" y="222269"/>
                    </a:lnTo>
                    <a:cubicBezTo>
                      <a:pt x="-6106" y="190924"/>
                      <a:pt x="8142" y="159578"/>
                      <a:pt x="39488" y="145330"/>
                    </a:cubicBezTo>
                    <a:lnTo>
                      <a:pt x="387140" y="0"/>
                    </a:lnTo>
                    <a:lnTo>
                      <a:pt x="446981" y="199472"/>
                    </a:lnTo>
                    <a:lnTo>
                      <a:pt x="73684" y="267863"/>
                    </a:lnTo>
                    <a:cubicBezTo>
                      <a:pt x="42338" y="270712"/>
                      <a:pt x="10992" y="253615"/>
                      <a:pt x="2444" y="222269"/>
                    </a:cubicBezTo>
                    <a:close/>
                  </a:path>
                </a:pathLst>
              </a:custGeom>
              <a:solidFill>
                <a:srgbClr val="6383A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5FBB4F68-F9E1-4A37-9868-AE450FF62A6D}"/>
                  </a:ext>
                </a:extLst>
              </p:cNvPr>
              <p:cNvSpPr/>
              <p:nvPr/>
            </p:nvSpPr>
            <p:spPr>
              <a:xfrm>
                <a:off x="10295678" y="2222727"/>
                <a:ext cx="244467" cy="243236"/>
              </a:xfrm>
              <a:custGeom>
                <a:avLst/>
                <a:gdLst>
                  <a:gd name="connsiteX0" fmla="*/ 156429 w 244467"/>
                  <a:gd name="connsiteY0" fmla="*/ 239067 h 243236"/>
                  <a:gd name="connsiteX1" fmla="*/ 239067 w 244467"/>
                  <a:gd name="connsiteY1" fmla="*/ 88038 h 243236"/>
                  <a:gd name="connsiteX2" fmla="*/ 88038 w 244467"/>
                  <a:gd name="connsiteY2" fmla="*/ 5400 h 243236"/>
                  <a:gd name="connsiteX3" fmla="*/ 5400 w 244467"/>
                  <a:gd name="connsiteY3" fmla="*/ 156429 h 243236"/>
                  <a:gd name="connsiteX4" fmla="*/ 156429 w 244467"/>
                  <a:gd name="connsiteY4" fmla="*/ 239067 h 243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4467" h="243236">
                    <a:moveTo>
                      <a:pt x="156429" y="239067"/>
                    </a:moveTo>
                    <a:cubicBezTo>
                      <a:pt x="221970" y="219120"/>
                      <a:pt x="259015" y="150730"/>
                      <a:pt x="239067" y="88038"/>
                    </a:cubicBezTo>
                    <a:cubicBezTo>
                      <a:pt x="219120" y="22497"/>
                      <a:pt x="150730" y="-14547"/>
                      <a:pt x="88038" y="5400"/>
                    </a:cubicBezTo>
                    <a:cubicBezTo>
                      <a:pt x="22498" y="25347"/>
                      <a:pt x="-14548" y="93738"/>
                      <a:pt x="5400" y="156429"/>
                    </a:cubicBezTo>
                    <a:cubicBezTo>
                      <a:pt x="25347" y="219120"/>
                      <a:pt x="93738" y="256165"/>
                      <a:pt x="156429" y="239067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8" name="图形 1">
              <a:extLst>
                <a:ext uri="{FF2B5EF4-FFF2-40B4-BE49-F238E27FC236}">
                  <a16:creationId xmlns:a16="http://schemas.microsoft.com/office/drawing/2014/main" id="{BE6F2EFF-CBBC-47BF-B9E8-DD9A906306DD}"/>
                </a:ext>
              </a:extLst>
            </p:cNvPr>
            <p:cNvGrpSpPr/>
            <p:nvPr/>
          </p:nvGrpSpPr>
          <p:grpSpPr>
            <a:xfrm>
              <a:off x="12649864" y="3552974"/>
              <a:ext cx="161715" cy="217640"/>
              <a:chOff x="12649864" y="3552974"/>
              <a:chExt cx="161715" cy="217640"/>
            </a:xfrm>
          </p:grpSpPr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46B28050-BC64-49BF-94A4-BF6EC34D7400}"/>
                  </a:ext>
                </a:extLst>
              </p:cNvPr>
              <p:cNvSpPr/>
              <p:nvPr/>
            </p:nvSpPr>
            <p:spPr>
              <a:xfrm>
                <a:off x="12657306" y="3552974"/>
                <a:ext cx="137618" cy="107681"/>
              </a:xfrm>
              <a:custGeom>
                <a:avLst/>
                <a:gdLst>
                  <a:gd name="connsiteX0" fmla="*/ 117228 w 137618"/>
                  <a:gd name="connsiteY0" fmla="*/ 219 h 107681"/>
                  <a:gd name="connsiteX1" fmla="*/ 31740 w 137618"/>
                  <a:gd name="connsiteY1" fmla="*/ 40113 h 107681"/>
                  <a:gd name="connsiteX2" fmla="*/ 17492 w 137618"/>
                  <a:gd name="connsiteY2" fmla="*/ 45812 h 107681"/>
                  <a:gd name="connsiteX3" fmla="*/ 6093 w 137618"/>
                  <a:gd name="connsiteY3" fmla="*/ 57211 h 107681"/>
                  <a:gd name="connsiteX4" fmla="*/ 8943 w 137618"/>
                  <a:gd name="connsiteY4" fmla="*/ 102805 h 107681"/>
                  <a:gd name="connsiteX5" fmla="*/ 51687 w 137618"/>
                  <a:gd name="connsiteY5" fmla="*/ 97105 h 107681"/>
                  <a:gd name="connsiteX6" fmla="*/ 105830 w 137618"/>
                  <a:gd name="connsiteY6" fmla="*/ 65760 h 107681"/>
                  <a:gd name="connsiteX7" fmla="*/ 137175 w 137618"/>
                  <a:gd name="connsiteY7" fmla="*/ 31564 h 107681"/>
                  <a:gd name="connsiteX8" fmla="*/ 117228 w 137618"/>
                  <a:gd name="connsiteY8" fmla="*/ 219 h 107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7618" h="107681">
                    <a:moveTo>
                      <a:pt x="117228" y="219"/>
                    </a:moveTo>
                    <a:cubicBezTo>
                      <a:pt x="88732" y="-2631"/>
                      <a:pt x="60236" y="23016"/>
                      <a:pt x="31740" y="40113"/>
                    </a:cubicBezTo>
                    <a:cubicBezTo>
                      <a:pt x="28890" y="42963"/>
                      <a:pt x="20341" y="42963"/>
                      <a:pt x="17492" y="45812"/>
                    </a:cubicBezTo>
                    <a:cubicBezTo>
                      <a:pt x="14642" y="48662"/>
                      <a:pt x="8943" y="51512"/>
                      <a:pt x="6093" y="57211"/>
                    </a:cubicBezTo>
                    <a:cubicBezTo>
                      <a:pt x="-2455" y="71459"/>
                      <a:pt x="-2455" y="91406"/>
                      <a:pt x="8943" y="102805"/>
                    </a:cubicBezTo>
                    <a:cubicBezTo>
                      <a:pt x="20341" y="114203"/>
                      <a:pt x="40289" y="102805"/>
                      <a:pt x="51687" y="97105"/>
                    </a:cubicBezTo>
                    <a:cubicBezTo>
                      <a:pt x="68785" y="88556"/>
                      <a:pt x="88732" y="77158"/>
                      <a:pt x="105830" y="65760"/>
                    </a:cubicBezTo>
                    <a:cubicBezTo>
                      <a:pt x="117228" y="57211"/>
                      <a:pt x="134326" y="48662"/>
                      <a:pt x="137175" y="31564"/>
                    </a:cubicBezTo>
                    <a:cubicBezTo>
                      <a:pt x="140025" y="14467"/>
                      <a:pt x="128626" y="219"/>
                      <a:pt x="117228" y="21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D680B158-70A4-4C83-A434-BA90CF347270}"/>
                  </a:ext>
                </a:extLst>
              </p:cNvPr>
              <p:cNvSpPr/>
              <p:nvPr/>
            </p:nvSpPr>
            <p:spPr>
              <a:xfrm>
                <a:off x="12660155" y="3603036"/>
                <a:ext cx="137618" cy="108911"/>
              </a:xfrm>
              <a:custGeom>
                <a:avLst/>
                <a:gdLst>
                  <a:gd name="connsiteX0" fmla="*/ 117228 w 137618"/>
                  <a:gd name="connsiteY0" fmla="*/ 1449 h 108911"/>
                  <a:gd name="connsiteX1" fmla="*/ 23192 w 137618"/>
                  <a:gd name="connsiteY1" fmla="*/ 41344 h 108911"/>
                  <a:gd name="connsiteX2" fmla="*/ 17492 w 137618"/>
                  <a:gd name="connsiteY2" fmla="*/ 47043 h 108911"/>
                  <a:gd name="connsiteX3" fmla="*/ 6094 w 137618"/>
                  <a:gd name="connsiteY3" fmla="*/ 58441 h 108911"/>
                  <a:gd name="connsiteX4" fmla="*/ 8944 w 137618"/>
                  <a:gd name="connsiteY4" fmla="*/ 104035 h 108911"/>
                  <a:gd name="connsiteX5" fmla="*/ 51688 w 137618"/>
                  <a:gd name="connsiteY5" fmla="*/ 98336 h 108911"/>
                  <a:gd name="connsiteX6" fmla="*/ 105830 w 137618"/>
                  <a:gd name="connsiteY6" fmla="*/ 66990 h 108911"/>
                  <a:gd name="connsiteX7" fmla="*/ 137176 w 137618"/>
                  <a:gd name="connsiteY7" fmla="*/ 32795 h 108911"/>
                  <a:gd name="connsiteX8" fmla="*/ 117228 w 137618"/>
                  <a:gd name="connsiteY8" fmla="*/ 1449 h 108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7618" h="108911">
                    <a:moveTo>
                      <a:pt x="117228" y="1449"/>
                    </a:moveTo>
                    <a:cubicBezTo>
                      <a:pt x="83033" y="-7100"/>
                      <a:pt x="54537" y="24246"/>
                      <a:pt x="23192" y="41344"/>
                    </a:cubicBezTo>
                    <a:cubicBezTo>
                      <a:pt x="20342" y="44193"/>
                      <a:pt x="17492" y="44193"/>
                      <a:pt x="17492" y="47043"/>
                    </a:cubicBezTo>
                    <a:cubicBezTo>
                      <a:pt x="14643" y="49892"/>
                      <a:pt x="8944" y="52742"/>
                      <a:pt x="6094" y="58441"/>
                    </a:cubicBezTo>
                    <a:cubicBezTo>
                      <a:pt x="-2455" y="72689"/>
                      <a:pt x="-2455" y="92636"/>
                      <a:pt x="8944" y="104035"/>
                    </a:cubicBezTo>
                    <a:cubicBezTo>
                      <a:pt x="20342" y="115433"/>
                      <a:pt x="40289" y="104035"/>
                      <a:pt x="51688" y="98336"/>
                    </a:cubicBezTo>
                    <a:cubicBezTo>
                      <a:pt x="68785" y="89787"/>
                      <a:pt x="88732" y="78388"/>
                      <a:pt x="105830" y="66990"/>
                    </a:cubicBezTo>
                    <a:cubicBezTo>
                      <a:pt x="117228" y="58441"/>
                      <a:pt x="134326" y="49892"/>
                      <a:pt x="137176" y="32795"/>
                    </a:cubicBezTo>
                    <a:cubicBezTo>
                      <a:pt x="140025" y="15697"/>
                      <a:pt x="128627" y="4299"/>
                      <a:pt x="117228" y="144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980D0182-95F5-4197-87FE-575499EFBC1A}"/>
                  </a:ext>
                </a:extLst>
              </p:cNvPr>
              <p:cNvSpPr/>
              <p:nvPr/>
            </p:nvSpPr>
            <p:spPr>
              <a:xfrm>
                <a:off x="12685802" y="3651359"/>
                <a:ext cx="125777" cy="97634"/>
              </a:xfrm>
              <a:custGeom>
                <a:avLst/>
                <a:gdLst>
                  <a:gd name="connsiteX0" fmla="*/ 102980 w 125777"/>
                  <a:gd name="connsiteY0" fmla="*/ 1570 h 97634"/>
                  <a:gd name="connsiteX1" fmla="*/ 20341 w 125777"/>
                  <a:gd name="connsiteY1" fmla="*/ 35765 h 97634"/>
                  <a:gd name="connsiteX2" fmla="*/ 14642 w 125777"/>
                  <a:gd name="connsiteY2" fmla="*/ 41464 h 97634"/>
                  <a:gd name="connsiteX3" fmla="*/ 6093 w 125777"/>
                  <a:gd name="connsiteY3" fmla="*/ 52863 h 97634"/>
                  <a:gd name="connsiteX4" fmla="*/ 8943 w 125777"/>
                  <a:gd name="connsiteY4" fmla="*/ 92757 h 97634"/>
                  <a:gd name="connsiteX5" fmla="*/ 48837 w 125777"/>
                  <a:gd name="connsiteY5" fmla="*/ 87058 h 97634"/>
                  <a:gd name="connsiteX6" fmla="*/ 97281 w 125777"/>
                  <a:gd name="connsiteY6" fmla="*/ 61412 h 97634"/>
                  <a:gd name="connsiteX7" fmla="*/ 125777 w 125777"/>
                  <a:gd name="connsiteY7" fmla="*/ 32915 h 97634"/>
                  <a:gd name="connsiteX8" fmla="*/ 102980 w 125777"/>
                  <a:gd name="connsiteY8" fmla="*/ 1570 h 97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5777" h="97634">
                    <a:moveTo>
                      <a:pt x="102980" y="1570"/>
                    </a:moveTo>
                    <a:cubicBezTo>
                      <a:pt x="71634" y="-6979"/>
                      <a:pt x="45988" y="21517"/>
                      <a:pt x="20341" y="35765"/>
                    </a:cubicBezTo>
                    <a:cubicBezTo>
                      <a:pt x="17492" y="35765"/>
                      <a:pt x="17492" y="38615"/>
                      <a:pt x="14642" y="41464"/>
                    </a:cubicBezTo>
                    <a:cubicBezTo>
                      <a:pt x="11793" y="44314"/>
                      <a:pt x="6093" y="47164"/>
                      <a:pt x="6093" y="52863"/>
                    </a:cubicBezTo>
                    <a:cubicBezTo>
                      <a:pt x="-2455" y="64261"/>
                      <a:pt x="-2455" y="81359"/>
                      <a:pt x="8943" y="92757"/>
                    </a:cubicBezTo>
                    <a:cubicBezTo>
                      <a:pt x="20341" y="104156"/>
                      <a:pt x="37439" y="92757"/>
                      <a:pt x="48837" y="87058"/>
                    </a:cubicBezTo>
                    <a:cubicBezTo>
                      <a:pt x="65935" y="78509"/>
                      <a:pt x="80183" y="69960"/>
                      <a:pt x="97281" y="61412"/>
                    </a:cubicBezTo>
                    <a:cubicBezTo>
                      <a:pt x="108679" y="55712"/>
                      <a:pt x="122927" y="47164"/>
                      <a:pt x="125777" y="32915"/>
                    </a:cubicBezTo>
                    <a:cubicBezTo>
                      <a:pt x="122927" y="15818"/>
                      <a:pt x="111529" y="4419"/>
                      <a:pt x="102980" y="1570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830D0BD9-9C6F-44E5-97AA-2CDA4A9B707D}"/>
                  </a:ext>
                </a:extLst>
              </p:cNvPr>
              <p:cNvSpPr/>
              <p:nvPr/>
            </p:nvSpPr>
            <p:spPr>
              <a:xfrm>
                <a:off x="12713570" y="3700369"/>
                <a:ext cx="90201" cy="70245"/>
              </a:xfrm>
              <a:custGeom>
                <a:avLst/>
                <a:gdLst>
                  <a:gd name="connsiteX0" fmla="*/ 78061 w 90201"/>
                  <a:gd name="connsiteY0" fmla="*/ 1003 h 70245"/>
                  <a:gd name="connsiteX1" fmla="*/ 15370 w 90201"/>
                  <a:gd name="connsiteY1" fmla="*/ 26649 h 70245"/>
                  <a:gd name="connsiteX2" fmla="*/ 12521 w 90201"/>
                  <a:gd name="connsiteY2" fmla="*/ 29499 h 70245"/>
                  <a:gd name="connsiteX3" fmla="*/ 3972 w 90201"/>
                  <a:gd name="connsiteY3" fmla="*/ 38048 h 70245"/>
                  <a:gd name="connsiteX4" fmla="*/ 6821 w 90201"/>
                  <a:gd name="connsiteY4" fmla="*/ 66544 h 70245"/>
                  <a:gd name="connsiteX5" fmla="*/ 35317 w 90201"/>
                  <a:gd name="connsiteY5" fmla="*/ 63694 h 70245"/>
                  <a:gd name="connsiteX6" fmla="*/ 69513 w 90201"/>
                  <a:gd name="connsiteY6" fmla="*/ 43747 h 70245"/>
                  <a:gd name="connsiteX7" fmla="*/ 89460 w 90201"/>
                  <a:gd name="connsiteY7" fmla="*/ 23800 h 70245"/>
                  <a:gd name="connsiteX8" fmla="*/ 78061 w 90201"/>
                  <a:gd name="connsiteY8" fmla="*/ 1003 h 70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0201" h="70245">
                    <a:moveTo>
                      <a:pt x="78061" y="1003"/>
                    </a:moveTo>
                    <a:cubicBezTo>
                      <a:pt x="55265" y="-4696"/>
                      <a:pt x="35317" y="15251"/>
                      <a:pt x="15370" y="26649"/>
                    </a:cubicBezTo>
                    <a:cubicBezTo>
                      <a:pt x="12521" y="26649"/>
                      <a:pt x="12521" y="29499"/>
                      <a:pt x="12521" y="29499"/>
                    </a:cubicBezTo>
                    <a:cubicBezTo>
                      <a:pt x="9671" y="32349"/>
                      <a:pt x="6821" y="35198"/>
                      <a:pt x="3972" y="38048"/>
                    </a:cubicBezTo>
                    <a:cubicBezTo>
                      <a:pt x="-1727" y="46597"/>
                      <a:pt x="-1727" y="60845"/>
                      <a:pt x="6821" y="66544"/>
                    </a:cubicBezTo>
                    <a:cubicBezTo>
                      <a:pt x="15370" y="75093"/>
                      <a:pt x="26769" y="66544"/>
                      <a:pt x="35317" y="63694"/>
                    </a:cubicBezTo>
                    <a:cubicBezTo>
                      <a:pt x="46716" y="57995"/>
                      <a:pt x="58114" y="52296"/>
                      <a:pt x="69513" y="43747"/>
                    </a:cubicBezTo>
                    <a:cubicBezTo>
                      <a:pt x="78061" y="38048"/>
                      <a:pt x="86610" y="35198"/>
                      <a:pt x="89460" y="23800"/>
                    </a:cubicBezTo>
                    <a:cubicBezTo>
                      <a:pt x="92310" y="9552"/>
                      <a:pt x="86610" y="1003"/>
                      <a:pt x="78061" y="100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3B1CC39A-45DD-4874-8ECB-87D6A1833DF5}"/>
                  </a:ext>
                </a:extLst>
              </p:cNvPr>
              <p:cNvSpPr/>
              <p:nvPr/>
            </p:nvSpPr>
            <p:spPr>
              <a:xfrm>
                <a:off x="12649864" y="3558892"/>
                <a:ext cx="151095" cy="156728"/>
              </a:xfrm>
              <a:custGeom>
                <a:avLst/>
                <a:gdLst>
                  <a:gd name="connsiteX0" fmla="*/ 27784 w 151095"/>
                  <a:gd name="connsiteY0" fmla="*/ 156728 h 156728"/>
                  <a:gd name="connsiteX1" fmla="*/ 7836 w 151095"/>
                  <a:gd name="connsiteY1" fmla="*/ 145330 h 156728"/>
                  <a:gd name="connsiteX2" fmla="*/ 10686 w 151095"/>
                  <a:gd name="connsiteY2" fmla="*/ 96887 h 156728"/>
                  <a:gd name="connsiteX3" fmla="*/ 10686 w 151095"/>
                  <a:gd name="connsiteY3" fmla="*/ 96887 h 156728"/>
                  <a:gd name="connsiteX4" fmla="*/ 2137 w 151095"/>
                  <a:gd name="connsiteY4" fmla="*/ 85488 h 156728"/>
                  <a:gd name="connsiteX5" fmla="*/ 2137 w 151095"/>
                  <a:gd name="connsiteY5" fmla="*/ 65541 h 156728"/>
                  <a:gd name="connsiteX6" fmla="*/ 87625 w 151095"/>
                  <a:gd name="connsiteY6" fmla="*/ 0 h 156728"/>
                  <a:gd name="connsiteX7" fmla="*/ 96174 w 151095"/>
                  <a:gd name="connsiteY7" fmla="*/ 2850 h 156728"/>
                  <a:gd name="connsiteX8" fmla="*/ 93324 w 151095"/>
                  <a:gd name="connsiteY8" fmla="*/ 11398 h 156728"/>
                  <a:gd name="connsiteX9" fmla="*/ 13536 w 151095"/>
                  <a:gd name="connsiteY9" fmla="*/ 71240 h 156728"/>
                  <a:gd name="connsiteX10" fmla="*/ 13536 w 151095"/>
                  <a:gd name="connsiteY10" fmla="*/ 82639 h 156728"/>
                  <a:gd name="connsiteX11" fmla="*/ 24934 w 151095"/>
                  <a:gd name="connsiteY11" fmla="*/ 94037 h 156728"/>
                  <a:gd name="connsiteX12" fmla="*/ 124670 w 151095"/>
                  <a:gd name="connsiteY12" fmla="*/ 45594 h 156728"/>
                  <a:gd name="connsiteX13" fmla="*/ 138918 w 151095"/>
                  <a:gd name="connsiteY13" fmla="*/ 42744 h 156728"/>
                  <a:gd name="connsiteX14" fmla="*/ 150316 w 151095"/>
                  <a:gd name="connsiteY14" fmla="*/ 59842 h 156728"/>
                  <a:gd name="connsiteX15" fmla="*/ 76227 w 151095"/>
                  <a:gd name="connsiteY15" fmla="*/ 139631 h 156728"/>
                  <a:gd name="connsiteX16" fmla="*/ 27784 w 151095"/>
                  <a:gd name="connsiteY16" fmla="*/ 156728 h 156728"/>
                  <a:gd name="connsiteX17" fmla="*/ 22084 w 151095"/>
                  <a:gd name="connsiteY17" fmla="*/ 102586 h 156728"/>
                  <a:gd name="connsiteX18" fmla="*/ 19235 w 151095"/>
                  <a:gd name="connsiteY18" fmla="*/ 139631 h 156728"/>
                  <a:gd name="connsiteX19" fmla="*/ 73377 w 151095"/>
                  <a:gd name="connsiteY19" fmla="*/ 128232 h 156728"/>
                  <a:gd name="connsiteX20" fmla="*/ 141768 w 151095"/>
                  <a:gd name="connsiteY20" fmla="*/ 59842 h 156728"/>
                  <a:gd name="connsiteX21" fmla="*/ 136068 w 151095"/>
                  <a:gd name="connsiteY21" fmla="*/ 48443 h 156728"/>
                  <a:gd name="connsiteX22" fmla="*/ 133219 w 151095"/>
                  <a:gd name="connsiteY22" fmla="*/ 48443 h 156728"/>
                  <a:gd name="connsiteX23" fmla="*/ 22084 w 151095"/>
                  <a:gd name="connsiteY23" fmla="*/ 102586 h 156728"/>
                  <a:gd name="connsiteX24" fmla="*/ 22084 w 151095"/>
                  <a:gd name="connsiteY24" fmla="*/ 102586 h 156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51095" h="156728">
                    <a:moveTo>
                      <a:pt x="27784" y="156728"/>
                    </a:moveTo>
                    <a:cubicBezTo>
                      <a:pt x="19235" y="156728"/>
                      <a:pt x="13536" y="153879"/>
                      <a:pt x="7836" y="145330"/>
                    </a:cubicBezTo>
                    <a:cubicBezTo>
                      <a:pt x="-712" y="128232"/>
                      <a:pt x="10686" y="96887"/>
                      <a:pt x="10686" y="96887"/>
                    </a:cubicBezTo>
                    <a:cubicBezTo>
                      <a:pt x="10686" y="96887"/>
                      <a:pt x="10686" y="96887"/>
                      <a:pt x="10686" y="96887"/>
                    </a:cubicBezTo>
                    <a:cubicBezTo>
                      <a:pt x="7836" y="94037"/>
                      <a:pt x="4987" y="88338"/>
                      <a:pt x="2137" y="85488"/>
                    </a:cubicBezTo>
                    <a:cubicBezTo>
                      <a:pt x="-712" y="79789"/>
                      <a:pt x="-712" y="71240"/>
                      <a:pt x="2137" y="65541"/>
                    </a:cubicBezTo>
                    <a:cubicBezTo>
                      <a:pt x="13536" y="34195"/>
                      <a:pt x="84776" y="2850"/>
                      <a:pt x="87625" y="0"/>
                    </a:cubicBezTo>
                    <a:cubicBezTo>
                      <a:pt x="90475" y="0"/>
                      <a:pt x="93324" y="0"/>
                      <a:pt x="96174" y="2850"/>
                    </a:cubicBezTo>
                    <a:cubicBezTo>
                      <a:pt x="96174" y="5699"/>
                      <a:pt x="96174" y="8549"/>
                      <a:pt x="93324" y="11398"/>
                    </a:cubicBezTo>
                    <a:cubicBezTo>
                      <a:pt x="73377" y="19947"/>
                      <a:pt x="22084" y="48443"/>
                      <a:pt x="13536" y="71240"/>
                    </a:cubicBezTo>
                    <a:cubicBezTo>
                      <a:pt x="13536" y="74090"/>
                      <a:pt x="13536" y="79789"/>
                      <a:pt x="13536" y="82639"/>
                    </a:cubicBezTo>
                    <a:cubicBezTo>
                      <a:pt x="16385" y="88338"/>
                      <a:pt x="19235" y="91187"/>
                      <a:pt x="24934" y="94037"/>
                    </a:cubicBezTo>
                    <a:cubicBezTo>
                      <a:pt x="42032" y="96887"/>
                      <a:pt x="73377" y="79789"/>
                      <a:pt x="124670" y="45594"/>
                    </a:cubicBezTo>
                    <a:cubicBezTo>
                      <a:pt x="124670" y="45594"/>
                      <a:pt x="130370" y="42744"/>
                      <a:pt x="138918" y="42744"/>
                    </a:cubicBezTo>
                    <a:cubicBezTo>
                      <a:pt x="144618" y="45594"/>
                      <a:pt x="150316" y="51293"/>
                      <a:pt x="150316" y="59842"/>
                    </a:cubicBezTo>
                    <a:cubicBezTo>
                      <a:pt x="156016" y="85488"/>
                      <a:pt x="130370" y="111135"/>
                      <a:pt x="76227" y="139631"/>
                    </a:cubicBezTo>
                    <a:cubicBezTo>
                      <a:pt x="59129" y="148179"/>
                      <a:pt x="42032" y="156728"/>
                      <a:pt x="27784" y="156728"/>
                    </a:cubicBezTo>
                    <a:close/>
                    <a:moveTo>
                      <a:pt x="22084" y="102586"/>
                    </a:moveTo>
                    <a:cubicBezTo>
                      <a:pt x="19235" y="111135"/>
                      <a:pt x="13536" y="131082"/>
                      <a:pt x="19235" y="139631"/>
                    </a:cubicBezTo>
                    <a:cubicBezTo>
                      <a:pt x="24934" y="151029"/>
                      <a:pt x="36332" y="148179"/>
                      <a:pt x="73377" y="128232"/>
                    </a:cubicBezTo>
                    <a:cubicBezTo>
                      <a:pt x="121820" y="102586"/>
                      <a:pt x="144618" y="79789"/>
                      <a:pt x="141768" y="59842"/>
                    </a:cubicBezTo>
                    <a:cubicBezTo>
                      <a:pt x="138918" y="51293"/>
                      <a:pt x="136068" y="48443"/>
                      <a:pt x="136068" y="48443"/>
                    </a:cubicBezTo>
                    <a:cubicBezTo>
                      <a:pt x="133219" y="48443"/>
                      <a:pt x="133219" y="48443"/>
                      <a:pt x="133219" y="48443"/>
                    </a:cubicBezTo>
                    <a:cubicBezTo>
                      <a:pt x="59129" y="102586"/>
                      <a:pt x="33483" y="105435"/>
                      <a:pt x="22084" y="102586"/>
                    </a:cubicBezTo>
                    <a:cubicBezTo>
                      <a:pt x="22084" y="102586"/>
                      <a:pt x="22084" y="102586"/>
                      <a:pt x="22084" y="10258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405DE139-628E-4334-A772-69E4DA6F40FC}"/>
                  </a:ext>
                </a:extLst>
              </p:cNvPr>
              <p:cNvSpPr/>
              <p:nvPr/>
            </p:nvSpPr>
            <p:spPr>
              <a:xfrm>
                <a:off x="12674565" y="3644380"/>
                <a:ext cx="136036" cy="105435"/>
              </a:xfrm>
              <a:custGeom>
                <a:avLst/>
                <a:gdLst>
                  <a:gd name="connsiteX0" fmla="*/ 28729 w 136036"/>
                  <a:gd name="connsiteY0" fmla="*/ 105435 h 105435"/>
                  <a:gd name="connsiteX1" fmla="*/ 11631 w 136036"/>
                  <a:gd name="connsiteY1" fmla="*/ 99736 h 105435"/>
                  <a:gd name="connsiteX2" fmla="*/ 233 w 136036"/>
                  <a:gd name="connsiteY2" fmla="*/ 65541 h 105435"/>
                  <a:gd name="connsiteX3" fmla="*/ 5932 w 136036"/>
                  <a:gd name="connsiteY3" fmla="*/ 59842 h 105435"/>
                  <a:gd name="connsiteX4" fmla="*/ 11631 w 136036"/>
                  <a:gd name="connsiteY4" fmla="*/ 65541 h 105435"/>
                  <a:gd name="connsiteX5" fmla="*/ 20180 w 136036"/>
                  <a:gd name="connsiteY5" fmla="*/ 88338 h 105435"/>
                  <a:gd name="connsiteX6" fmla="*/ 40127 w 136036"/>
                  <a:gd name="connsiteY6" fmla="*/ 88338 h 105435"/>
                  <a:gd name="connsiteX7" fmla="*/ 125615 w 136036"/>
                  <a:gd name="connsiteY7" fmla="*/ 37045 h 105435"/>
                  <a:gd name="connsiteX8" fmla="*/ 125615 w 136036"/>
                  <a:gd name="connsiteY8" fmla="*/ 25646 h 105435"/>
                  <a:gd name="connsiteX9" fmla="*/ 114217 w 136036"/>
                  <a:gd name="connsiteY9" fmla="*/ 11398 h 105435"/>
                  <a:gd name="connsiteX10" fmla="*/ 108518 w 136036"/>
                  <a:gd name="connsiteY10" fmla="*/ 5699 h 105435"/>
                  <a:gd name="connsiteX11" fmla="*/ 114217 w 136036"/>
                  <a:gd name="connsiteY11" fmla="*/ 0 h 105435"/>
                  <a:gd name="connsiteX12" fmla="*/ 134164 w 136036"/>
                  <a:gd name="connsiteY12" fmla="*/ 19947 h 105435"/>
                  <a:gd name="connsiteX13" fmla="*/ 131315 w 136036"/>
                  <a:gd name="connsiteY13" fmla="*/ 42744 h 105435"/>
                  <a:gd name="connsiteX14" fmla="*/ 42977 w 136036"/>
                  <a:gd name="connsiteY14" fmla="*/ 96887 h 105435"/>
                  <a:gd name="connsiteX15" fmla="*/ 28729 w 136036"/>
                  <a:gd name="connsiteY15" fmla="*/ 105435 h 105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6036" h="105435">
                    <a:moveTo>
                      <a:pt x="28729" y="105435"/>
                    </a:moveTo>
                    <a:cubicBezTo>
                      <a:pt x="23030" y="105435"/>
                      <a:pt x="17330" y="102586"/>
                      <a:pt x="11631" y="99736"/>
                    </a:cubicBezTo>
                    <a:cubicBezTo>
                      <a:pt x="-2617" y="88338"/>
                      <a:pt x="233" y="68391"/>
                      <a:pt x="233" y="65541"/>
                    </a:cubicBezTo>
                    <a:cubicBezTo>
                      <a:pt x="233" y="62691"/>
                      <a:pt x="3082" y="59842"/>
                      <a:pt x="5932" y="59842"/>
                    </a:cubicBezTo>
                    <a:cubicBezTo>
                      <a:pt x="8782" y="59842"/>
                      <a:pt x="11631" y="62691"/>
                      <a:pt x="11631" y="65541"/>
                    </a:cubicBezTo>
                    <a:cubicBezTo>
                      <a:pt x="11631" y="71240"/>
                      <a:pt x="11631" y="82639"/>
                      <a:pt x="20180" y="88338"/>
                    </a:cubicBezTo>
                    <a:cubicBezTo>
                      <a:pt x="25879" y="91187"/>
                      <a:pt x="31578" y="91187"/>
                      <a:pt x="40127" y="88338"/>
                    </a:cubicBezTo>
                    <a:cubicBezTo>
                      <a:pt x="77172" y="76939"/>
                      <a:pt x="114217" y="48443"/>
                      <a:pt x="125615" y="37045"/>
                    </a:cubicBezTo>
                    <a:cubicBezTo>
                      <a:pt x="128465" y="34195"/>
                      <a:pt x="128465" y="28496"/>
                      <a:pt x="125615" y="25646"/>
                    </a:cubicBezTo>
                    <a:cubicBezTo>
                      <a:pt x="122766" y="17098"/>
                      <a:pt x="117067" y="11398"/>
                      <a:pt x="114217" y="11398"/>
                    </a:cubicBezTo>
                    <a:cubicBezTo>
                      <a:pt x="111367" y="11398"/>
                      <a:pt x="108518" y="8549"/>
                      <a:pt x="108518" y="5699"/>
                    </a:cubicBezTo>
                    <a:cubicBezTo>
                      <a:pt x="108518" y="2850"/>
                      <a:pt x="111367" y="0"/>
                      <a:pt x="114217" y="0"/>
                    </a:cubicBezTo>
                    <a:cubicBezTo>
                      <a:pt x="122766" y="0"/>
                      <a:pt x="131315" y="11398"/>
                      <a:pt x="134164" y="19947"/>
                    </a:cubicBezTo>
                    <a:cubicBezTo>
                      <a:pt x="137014" y="28496"/>
                      <a:pt x="137014" y="37045"/>
                      <a:pt x="131315" y="42744"/>
                    </a:cubicBezTo>
                    <a:cubicBezTo>
                      <a:pt x="119916" y="54143"/>
                      <a:pt x="82871" y="85488"/>
                      <a:pt x="42977" y="96887"/>
                    </a:cubicBezTo>
                    <a:cubicBezTo>
                      <a:pt x="37278" y="105435"/>
                      <a:pt x="31578" y="105435"/>
                      <a:pt x="28729" y="105435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9" name="图形 1">
              <a:extLst>
                <a:ext uri="{FF2B5EF4-FFF2-40B4-BE49-F238E27FC236}">
                  <a16:creationId xmlns:a16="http://schemas.microsoft.com/office/drawing/2014/main" id="{9C62F7B0-2CD8-4743-82DE-C104FF385AB5}"/>
                </a:ext>
              </a:extLst>
            </p:cNvPr>
            <p:cNvGrpSpPr/>
            <p:nvPr/>
          </p:nvGrpSpPr>
          <p:grpSpPr>
            <a:xfrm>
              <a:off x="12580761" y="3632270"/>
              <a:ext cx="155750" cy="135082"/>
              <a:chOff x="12580761" y="3632270"/>
              <a:chExt cx="155750" cy="135082"/>
            </a:xfrm>
          </p:grpSpPr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0F2CB144-5A95-4E54-B3FE-C53DEB8E8CFF}"/>
                  </a:ext>
                </a:extLst>
              </p:cNvPr>
              <p:cNvSpPr/>
              <p:nvPr/>
            </p:nvSpPr>
            <p:spPr>
              <a:xfrm>
                <a:off x="12585330" y="3638536"/>
                <a:ext cx="144564" cy="128816"/>
              </a:xfrm>
              <a:custGeom>
                <a:avLst/>
                <a:gdLst>
                  <a:gd name="connsiteX0" fmla="*/ 83770 w 144564"/>
                  <a:gd name="connsiteY0" fmla="*/ 145 h 128816"/>
                  <a:gd name="connsiteX1" fmla="*/ 1130 w 144564"/>
                  <a:gd name="connsiteY1" fmla="*/ 62836 h 128816"/>
                  <a:gd name="connsiteX2" fmla="*/ 35326 w 144564"/>
                  <a:gd name="connsiteY2" fmla="*/ 128377 h 128816"/>
                  <a:gd name="connsiteX3" fmla="*/ 58122 w 144564"/>
                  <a:gd name="connsiteY3" fmla="*/ 74235 h 128816"/>
                  <a:gd name="connsiteX4" fmla="*/ 115115 w 144564"/>
                  <a:gd name="connsiteY4" fmla="*/ 48588 h 128816"/>
                  <a:gd name="connsiteX5" fmla="*/ 143611 w 144564"/>
                  <a:gd name="connsiteY5" fmla="*/ 48588 h 128816"/>
                  <a:gd name="connsiteX6" fmla="*/ 83770 w 144564"/>
                  <a:gd name="connsiteY6" fmla="*/ 145 h 12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4564" h="128816">
                    <a:moveTo>
                      <a:pt x="83770" y="145"/>
                    </a:moveTo>
                    <a:cubicBezTo>
                      <a:pt x="49574" y="-2705"/>
                      <a:pt x="12529" y="37190"/>
                      <a:pt x="1130" y="62836"/>
                    </a:cubicBezTo>
                    <a:cubicBezTo>
                      <a:pt x="-7418" y="82783"/>
                      <a:pt x="35326" y="134076"/>
                      <a:pt x="35326" y="128377"/>
                    </a:cubicBezTo>
                    <a:cubicBezTo>
                      <a:pt x="41025" y="116979"/>
                      <a:pt x="49574" y="85633"/>
                      <a:pt x="58122" y="74235"/>
                    </a:cubicBezTo>
                    <a:cubicBezTo>
                      <a:pt x="72370" y="54287"/>
                      <a:pt x="89468" y="51438"/>
                      <a:pt x="115115" y="48588"/>
                    </a:cubicBezTo>
                    <a:cubicBezTo>
                      <a:pt x="123664" y="48588"/>
                      <a:pt x="140762" y="57137"/>
                      <a:pt x="143611" y="48588"/>
                    </a:cubicBezTo>
                    <a:cubicBezTo>
                      <a:pt x="152160" y="28641"/>
                      <a:pt x="100866" y="145"/>
                      <a:pt x="83770" y="145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B630EF7E-1AC9-4EA8-874B-9A38F37D0248}"/>
                  </a:ext>
                </a:extLst>
              </p:cNvPr>
              <p:cNvSpPr/>
              <p:nvPr/>
            </p:nvSpPr>
            <p:spPr>
              <a:xfrm>
                <a:off x="12580761" y="3632270"/>
                <a:ext cx="155750" cy="131793"/>
              </a:xfrm>
              <a:custGeom>
                <a:avLst/>
                <a:gdLst>
                  <a:gd name="connsiteX0" fmla="*/ 71240 w 155750"/>
                  <a:gd name="connsiteY0" fmla="*/ 131793 h 131793"/>
                  <a:gd name="connsiteX1" fmla="*/ 71240 w 155750"/>
                  <a:gd name="connsiteY1" fmla="*/ 131793 h 131793"/>
                  <a:gd name="connsiteX2" fmla="*/ 65541 w 155750"/>
                  <a:gd name="connsiteY2" fmla="*/ 123245 h 131793"/>
                  <a:gd name="connsiteX3" fmla="*/ 59842 w 155750"/>
                  <a:gd name="connsiteY3" fmla="*/ 80501 h 131793"/>
                  <a:gd name="connsiteX4" fmla="*/ 59842 w 155750"/>
                  <a:gd name="connsiteY4" fmla="*/ 74801 h 131793"/>
                  <a:gd name="connsiteX5" fmla="*/ 125382 w 155750"/>
                  <a:gd name="connsiteY5" fmla="*/ 52005 h 131793"/>
                  <a:gd name="connsiteX6" fmla="*/ 145330 w 155750"/>
                  <a:gd name="connsiteY6" fmla="*/ 49155 h 131793"/>
                  <a:gd name="connsiteX7" fmla="*/ 145330 w 155750"/>
                  <a:gd name="connsiteY7" fmla="*/ 43456 h 131793"/>
                  <a:gd name="connsiteX8" fmla="*/ 88338 w 155750"/>
                  <a:gd name="connsiteY8" fmla="*/ 9261 h 131793"/>
                  <a:gd name="connsiteX9" fmla="*/ 11398 w 155750"/>
                  <a:gd name="connsiteY9" fmla="*/ 71952 h 131793"/>
                  <a:gd name="connsiteX10" fmla="*/ 2850 w 155750"/>
                  <a:gd name="connsiteY10" fmla="*/ 74801 h 131793"/>
                  <a:gd name="connsiteX11" fmla="*/ 0 w 155750"/>
                  <a:gd name="connsiteY11" fmla="*/ 66253 h 131793"/>
                  <a:gd name="connsiteX12" fmla="*/ 88338 w 155750"/>
                  <a:gd name="connsiteY12" fmla="*/ 712 h 131793"/>
                  <a:gd name="connsiteX13" fmla="*/ 153878 w 155750"/>
                  <a:gd name="connsiteY13" fmla="*/ 43456 h 131793"/>
                  <a:gd name="connsiteX14" fmla="*/ 151029 w 155750"/>
                  <a:gd name="connsiteY14" fmla="*/ 60553 h 131793"/>
                  <a:gd name="connsiteX15" fmla="*/ 122533 w 155750"/>
                  <a:gd name="connsiteY15" fmla="*/ 66253 h 131793"/>
                  <a:gd name="connsiteX16" fmla="*/ 68390 w 155750"/>
                  <a:gd name="connsiteY16" fmla="*/ 83350 h 131793"/>
                  <a:gd name="connsiteX17" fmla="*/ 74090 w 155750"/>
                  <a:gd name="connsiteY17" fmla="*/ 131793 h 131793"/>
                  <a:gd name="connsiteX18" fmla="*/ 71240 w 155750"/>
                  <a:gd name="connsiteY18" fmla="*/ 131793 h 131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55750" h="131793">
                    <a:moveTo>
                      <a:pt x="71240" y="131793"/>
                    </a:moveTo>
                    <a:cubicBezTo>
                      <a:pt x="71240" y="131793"/>
                      <a:pt x="71240" y="131793"/>
                      <a:pt x="71240" y="131793"/>
                    </a:cubicBezTo>
                    <a:cubicBezTo>
                      <a:pt x="65541" y="128944"/>
                      <a:pt x="65541" y="126094"/>
                      <a:pt x="65541" y="123245"/>
                    </a:cubicBezTo>
                    <a:cubicBezTo>
                      <a:pt x="71240" y="108997"/>
                      <a:pt x="62691" y="89049"/>
                      <a:pt x="59842" y="80501"/>
                    </a:cubicBezTo>
                    <a:cubicBezTo>
                      <a:pt x="59842" y="77651"/>
                      <a:pt x="59842" y="77651"/>
                      <a:pt x="59842" y="74801"/>
                    </a:cubicBezTo>
                    <a:cubicBezTo>
                      <a:pt x="79789" y="49155"/>
                      <a:pt x="105435" y="49155"/>
                      <a:pt x="125382" y="52005"/>
                    </a:cubicBezTo>
                    <a:cubicBezTo>
                      <a:pt x="133931" y="52005"/>
                      <a:pt x="142480" y="52005"/>
                      <a:pt x="145330" y="49155"/>
                    </a:cubicBezTo>
                    <a:cubicBezTo>
                      <a:pt x="145330" y="49155"/>
                      <a:pt x="148179" y="46305"/>
                      <a:pt x="145330" y="43456"/>
                    </a:cubicBezTo>
                    <a:cubicBezTo>
                      <a:pt x="139630" y="29208"/>
                      <a:pt x="116834" y="14960"/>
                      <a:pt x="88338" y="9261"/>
                    </a:cubicBezTo>
                    <a:cubicBezTo>
                      <a:pt x="51293" y="3561"/>
                      <a:pt x="11398" y="69102"/>
                      <a:pt x="11398" y="71952"/>
                    </a:cubicBezTo>
                    <a:cubicBezTo>
                      <a:pt x="8548" y="74801"/>
                      <a:pt x="5699" y="74801"/>
                      <a:pt x="2850" y="74801"/>
                    </a:cubicBezTo>
                    <a:cubicBezTo>
                      <a:pt x="0" y="71952"/>
                      <a:pt x="0" y="69102"/>
                      <a:pt x="0" y="66253"/>
                    </a:cubicBezTo>
                    <a:cubicBezTo>
                      <a:pt x="2850" y="63403"/>
                      <a:pt x="42744" y="-7837"/>
                      <a:pt x="88338" y="712"/>
                    </a:cubicBezTo>
                    <a:cubicBezTo>
                      <a:pt x="122533" y="6411"/>
                      <a:pt x="148179" y="26358"/>
                      <a:pt x="153878" y="43456"/>
                    </a:cubicBezTo>
                    <a:cubicBezTo>
                      <a:pt x="156728" y="49155"/>
                      <a:pt x="156728" y="54854"/>
                      <a:pt x="151029" y="60553"/>
                    </a:cubicBezTo>
                    <a:cubicBezTo>
                      <a:pt x="145330" y="66253"/>
                      <a:pt x="133931" y="66253"/>
                      <a:pt x="122533" y="66253"/>
                    </a:cubicBezTo>
                    <a:cubicBezTo>
                      <a:pt x="105435" y="66253"/>
                      <a:pt x="85488" y="63403"/>
                      <a:pt x="68390" y="83350"/>
                    </a:cubicBezTo>
                    <a:cubicBezTo>
                      <a:pt x="71240" y="91899"/>
                      <a:pt x="82638" y="114696"/>
                      <a:pt x="74090" y="131793"/>
                    </a:cubicBezTo>
                    <a:cubicBezTo>
                      <a:pt x="76939" y="131793"/>
                      <a:pt x="74090" y="131793"/>
                      <a:pt x="71240" y="131793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0" name="图形 1">
              <a:extLst>
                <a:ext uri="{FF2B5EF4-FFF2-40B4-BE49-F238E27FC236}">
                  <a16:creationId xmlns:a16="http://schemas.microsoft.com/office/drawing/2014/main" id="{CA869F25-13E5-44D8-8FA5-F2170FBA0874}"/>
                </a:ext>
              </a:extLst>
            </p:cNvPr>
            <p:cNvGrpSpPr/>
            <p:nvPr/>
          </p:nvGrpSpPr>
          <p:grpSpPr>
            <a:xfrm>
              <a:off x="10067821" y="2254030"/>
              <a:ext cx="186090" cy="207764"/>
              <a:chOff x="10067821" y="2254030"/>
              <a:chExt cx="186090" cy="207764"/>
            </a:xfrm>
          </p:grpSpPr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1DBDA6FA-949C-4C3E-A925-87AC89772A4C}"/>
                  </a:ext>
                </a:extLst>
              </p:cNvPr>
              <p:cNvSpPr/>
              <p:nvPr/>
            </p:nvSpPr>
            <p:spPr>
              <a:xfrm>
                <a:off x="10152131" y="2254030"/>
                <a:ext cx="97653" cy="153866"/>
              </a:xfrm>
              <a:custGeom>
                <a:avLst/>
                <a:gdLst>
                  <a:gd name="connsiteX0" fmla="*/ 40661 w 97653"/>
                  <a:gd name="connsiteY0" fmla="*/ 2593 h 153866"/>
                  <a:gd name="connsiteX1" fmla="*/ 86255 w 97653"/>
                  <a:gd name="connsiteY1" fmla="*/ 85232 h 153866"/>
                  <a:gd name="connsiteX2" fmla="*/ 94804 w 97653"/>
                  <a:gd name="connsiteY2" fmla="*/ 99480 h 153866"/>
                  <a:gd name="connsiteX3" fmla="*/ 97653 w 97653"/>
                  <a:gd name="connsiteY3" fmla="*/ 116577 h 153866"/>
                  <a:gd name="connsiteX4" fmla="*/ 66308 w 97653"/>
                  <a:gd name="connsiteY4" fmla="*/ 153622 h 153866"/>
                  <a:gd name="connsiteX5" fmla="*/ 34962 w 97653"/>
                  <a:gd name="connsiteY5" fmla="*/ 122276 h 153866"/>
                  <a:gd name="connsiteX6" fmla="*/ 9316 w 97653"/>
                  <a:gd name="connsiteY6" fmla="*/ 65284 h 153866"/>
                  <a:gd name="connsiteX7" fmla="*/ 3616 w 97653"/>
                  <a:gd name="connsiteY7" fmla="*/ 19691 h 153866"/>
                  <a:gd name="connsiteX8" fmla="*/ 40661 w 97653"/>
                  <a:gd name="connsiteY8" fmla="*/ 2593 h 153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7653" h="153866">
                    <a:moveTo>
                      <a:pt x="40661" y="2593"/>
                    </a:moveTo>
                    <a:cubicBezTo>
                      <a:pt x="63458" y="16841"/>
                      <a:pt x="72007" y="53886"/>
                      <a:pt x="86255" y="85232"/>
                    </a:cubicBezTo>
                    <a:cubicBezTo>
                      <a:pt x="86255" y="88081"/>
                      <a:pt x="94804" y="96630"/>
                      <a:pt x="94804" y="99480"/>
                    </a:cubicBezTo>
                    <a:cubicBezTo>
                      <a:pt x="97653" y="105179"/>
                      <a:pt x="97653" y="110878"/>
                      <a:pt x="97653" y="116577"/>
                    </a:cubicBezTo>
                    <a:cubicBezTo>
                      <a:pt x="94804" y="133675"/>
                      <a:pt x="83405" y="150772"/>
                      <a:pt x="66308" y="153622"/>
                    </a:cubicBezTo>
                    <a:cubicBezTo>
                      <a:pt x="49210" y="156472"/>
                      <a:pt x="40661" y="133675"/>
                      <a:pt x="34962" y="122276"/>
                    </a:cubicBezTo>
                    <a:cubicBezTo>
                      <a:pt x="26413" y="105179"/>
                      <a:pt x="17865" y="85232"/>
                      <a:pt x="9316" y="65284"/>
                    </a:cubicBezTo>
                    <a:cubicBezTo>
                      <a:pt x="3616" y="51036"/>
                      <a:pt x="-4932" y="36788"/>
                      <a:pt x="3616" y="19691"/>
                    </a:cubicBezTo>
                    <a:cubicBezTo>
                      <a:pt x="15015" y="-257"/>
                      <a:pt x="29263" y="-3106"/>
                      <a:pt x="40661" y="259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80598573-D3DE-4E3F-9EC8-528368D634BF}"/>
                  </a:ext>
                </a:extLst>
              </p:cNvPr>
              <p:cNvSpPr/>
              <p:nvPr/>
            </p:nvSpPr>
            <p:spPr>
              <a:xfrm>
                <a:off x="10117936" y="2294380"/>
                <a:ext cx="97653" cy="153410"/>
              </a:xfrm>
              <a:custGeom>
                <a:avLst/>
                <a:gdLst>
                  <a:gd name="connsiteX0" fmla="*/ 40662 w 97653"/>
                  <a:gd name="connsiteY0" fmla="*/ 2137 h 153410"/>
                  <a:gd name="connsiteX1" fmla="*/ 91954 w 97653"/>
                  <a:gd name="connsiteY1" fmla="*/ 90475 h 153410"/>
                  <a:gd name="connsiteX2" fmla="*/ 94804 w 97653"/>
                  <a:gd name="connsiteY2" fmla="*/ 99024 h 153410"/>
                  <a:gd name="connsiteX3" fmla="*/ 97654 w 97653"/>
                  <a:gd name="connsiteY3" fmla="*/ 116121 h 153410"/>
                  <a:gd name="connsiteX4" fmla="*/ 66308 w 97653"/>
                  <a:gd name="connsiteY4" fmla="*/ 153166 h 153410"/>
                  <a:gd name="connsiteX5" fmla="*/ 34962 w 97653"/>
                  <a:gd name="connsiteY5" fmla="*/ 121821 h 153410"/>
                  <a:gd name="connsiteX6" fmla="*/ 9316 w 97653"/>
                  <a:gd name="connsiteY6" fmla="*/ 64828 h 153410"/>
                  <a:gd name="connsiteX7" fmla="*/ 3616 w 97653"/>
                  <a:gd name="connsiteY7" fmla="*/ 19235 h 153410"/>
                  <a:gd name="connsiteX8" fmla="*/ 40662 w 97653"/>
                  <a:gd name="connsiteY8" fmla="*/ 2137 h 153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7653" h="153410">
                    <a:moveTo>
                      <a:pt x="40662" y="2137"/>
                    </a:moveTo>
                    <a:cubicBezTo>
                      <a:pt x="74857" y="16385"/>
                      <a:pt x="77706" y="59129"/>
                      <a:pt x="91954" y="90475"/>
                    </a:cubicBezTo>
                    <a:cubicBezTo>
                      <a:pt x="91954" y="93325"/>
                      <a:pt x="94804" y="96174"/>
                      <a:pt x="94804" y="99024"/>
                    </a:cubicBezTo>
                    <a:cubicBezTo>
                      <a:pt x="97654" y="104723"/>
                      <a:pt x="97654" y="110422"/>
                      <a:pt x="97654" y="116121"/>
                    </a:cubicBezTo>
                    <a:cubicBezTo>
                      <a:pt x="94804" y="133219"/>
                      <a:pt x="83406" y="150317"/>
                      <a:pt x="66308" y="153166"/>
                    </a:cubicBezTo>
                    <a:cubicBezTo>
                      <a:pt x="49210" y="156016"/>
                      <a:pt x="40662" y="133219"/>
                      <a:pt x="34962" y="121821"/>
                    </a:cubicBezTo>
                    <a:cubicBezTo>
                      <a:pt x="26414" y="104723"/>
                      <a:pt x="17865" y="84776"/>
                      <a:pt x="9316" y="64828"/>
                    </a:cubicBezTo>
                    <a:cubicBezTo>
                      <a:pt x="3616" y="50580"/>
                      <a:pt x="-4932" y="36332"/>
                      <a:pt x="3616" y="19235"/>
                    </a:cubicBezTo>
                    <a:cubicBezTo>
                      <a:pt x="15016" y="2137"/>
                      <a:pt x="29264" y="-3562"/>
                      <a:pt x="40662" y="2137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D4717162-17D6-452F-B44C-9BE6AE4C5D3C}"/>
                  </a:ext>
                </a:extLst>
              </p:cNvPr>
              <p:cNvSpPr/>
              <p:nvPr/>
            </p:nvSpPr>
            <p:spPr>
              <a:xfrm>
                <a:off x="10090696" y="2326870"/>
                <a:ext cx="84999" cy="132350"/>
              </a:xfrm>
              <a:custGeom>
                <a:avLst/>
                <a:gdLst>
                  <a:gd name="connsiteX0" fmla="*/ 30856 w 84999"/>
                  <a:gd name="connsiteY0" fmla="*/ 993 h 132350"/>
                  <a:gd name="connsiteX1" fmla="*/ 79300 w 84999"/>
                  <a:gd name="connsiteY1" fmla="*/ 77932 h 132350"/>
                  <a:gd name="connsiteX2" fmla="*/ 82150 w 84999"/>
                  <a:gd name="connsiteY2" fmla="*/ 86481 h 132350"/>
                  <a:gd name="connsiteX3" fmla="*/ 85000 w 84999"/>
                  <a:gd name="connsiteY3" fmla="*/ 100729 h 132350"/>
                  <a:gd name="connsiteX4" fmla="*/ 59353 w 84999"/>
                  <a:gd name="connsiteY4" fmla="*/ 132075 h 132350"/>
                  <a:gd name="connsiteX5" fmla="*/ 30856 w 84999"/>
                  <a:gd name="connsiteY5" fmla="*/ 103579 h 132350"/>
                  <a:gd name="connsiteX6" fmla="*/ 8060 w 84999"/>
                  <a:gd name="connsiteY6" fmla="*/ 55135 h 132350"/>
                  <a:gd name="connsiteX7" fmla="*/ 2360 w 84999"/>
                  <a:gd name="connsiteY7" fmla="*/ 15241 h 132350"/>
                  <a:gd name="connsiteX8" fmla="*/ 30856 w 84999"/>
                  <a:gd name="connsiteY8" fmla="*/ 993 h 132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4999" h="132350">
                    <a:moveTo>
                      <a:pt x="30856" y="993"/>
                    </a:moveTo>
                    <a:cubicBezTo>
                      <a:pt x="62202" y="12391"/>
                      <a:pt x="65052" y="49436"/>
                      <a:pt x="79300" y="77932"/>
                    </a:cubicBezTo>
                    <a:cubicBezTo>
                      <a:pt x="79300" y="80782"/>
                      <a:pt x="82150" y="83632"/>
                      <a:pt x="82150" y="86481"/>
                    </a:cubicBezTo>
                    <a:cubicBezTo>
                      <a:pt x="82150" y="92180"/>
                      <a:pt x="85000" y="95030"/>
                      <a:pt x="85000" y="100729"/>
                    </a:cubicBezTo>
                    <a:cubicBezTo>
                      <a:pt x="85000" y="114977"/>
                      <a:pt x="73601" y="129225"/>
                      <a:pt x="59353" y="132075"/>
                    </a:cubicBezTo>
                    <a:cubicBezTo>
                      <a:pt x="45105" y="134924"/>
                      <a:pt x="36556" y="114977"/>
                      <a:pt x="30856" y="103579"/>
                    </a:cubicBezTo>
                    <a:cubicBezTo>
                      <a:pt x="22308" y="89331"/>
                      <a:pt x="13760" y="72233"/>
                      <a:pt x="8060" y="55135"/>
                    </a:cubicBezTo>
                    <a:cubicBezTo>
                      <a:pt x="2360" y="43737"/>
                      <a:pt x="-3338" y="29489"/>
                      <a:pt x="2360" y="15241"/>
                    </a:cubicBezTo>
                    <a:cubicBezTo>
                      <a:pt x="8060" y="993"/>
                      <a:pt x="22308" y="-1857"/>
                      <a:pt x="30856" y="99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5465F4EB-54CF-4B6E-905A-B9009D71E50E}"/>
                  </a:ext>
                </a:extLst>
              </p:cNvPr>
              <p:cNvSpPr/>
              <p:nvPr/>
            </p:nvSpPr>
            <p:spPr>
              <a:xfrm>
                <a:off x="10067821" y="2363880"/>
                <a:ext cx="62280" cy="97914"/>
              </a:xfrm>
              <a:custGeom>
                <a:avLst/>
                <a:gdLst>
                  <a:gd name="connsiteX0" fmla="*/ 25235 w 62280"/>
                  <a:gd name="connsiteY0" fmla="*/ 1028 h 97914"/>
                  <a:gd name="connsiteX1" fmla="*/ 59431 w 62280"/>
                  <a:gd name="connsiteY1" fmla="*/ 58020 h 97914"/>
                  <a:gd name="connsiteX2" fmla="*/ 59431 w 62280"/>
                  <a:gd name="connsiteY2" fmla="*/ 63719 h 97914"/>
                  <a:gd name="connsiteX3" fmla="*/ 62281 w 62280"/>
                  <a:gd name="connsiteY3" fmla="*/ 75118 h 97914"/>
                  <a:gd name="connsiteX4" fmla="*/ 42333 w 62280"/>
                  <a:gd name="connsiteY4" fmla="*/ 97914 h 97914"/>
                  <a:gd name="connsiteX5" fmla="*/ 22386 w 62280"/>
                  <a:gd name="connsiteY5" fmla="*/ 77967 h 97914"/>
                  <a:gd name="connsiteX6" fmla="*/ 5288 w 62280"/>
                  <a:gd name="connsiteY6" fmla="*/ 40922 h 97914"/>
                  <a:gd name="connsiteX7" fmla="*/ 2439 w 62280"/>
                  <a:gd name="connsiteY7" fmla="*/ 12426 h 97914"/>
                  <a:gd name="connsiteX8" fmla="*/ 25235 w 62280"/>
                  <a:gd name="connsiteY8" fmla="*/ 1028 h 97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2280" h="97914">
                    <a:moveTo>
                      <a:pt x="25235" y="1028"/>
                    </a:moveTo>
                    <a:cubicBezTo>
                      <a:pt x="48033" y="9577"/>
                      <a:pt x="50882" y="38073"/>
                      <a:pt x="59431" y="58020"/>
                    </a:cubicBezTo>
                    <a:cubicBezTo>
                      <a:pt x="59431" y="60870"/>
                      <a:pt x="59431" y="60870"/>
                      <a:pt x="59431" y="63719"/>
                    </a:cubicBezTo>
                    <a:cubicBezTo>
                      <a:pt x="59431" y="66569"/>
                      <a:pt x="62281" y="69418"/>
                      <a:pt x="62281" y="75118"/>
                    </a:cubicBezTo>
                    <a:cubicBezTo>
                      <a:pt x="62281" y="86516"/>
                      <a:pt x="53731" y="95065"/>
                      <a:pt x="42333" y="97914"/>
                    </a:cubicBezTo>
                    <a:cubicBezTo>
                      <a:pt x="30935" y="97914"/>
                      <a:pt x="25235" y="86516"/>
                      <a:pt x="22386" y="77967"/>
                    </a:cubicBezTo>
                    <a:cubicBezTo>
                      <a:pt x="16687" y="66569"/>
                      <a:pt x="10987" y="55170"/>
                      <a:pt x="5288" y="40922"/>
                    </a:cubicBezTo>
                    <a:cubicBezTo>
                      <a:pt x="2439" y="32373"/>
                      <a:pt x="-3261" y="20975"/>
                      <a:pt x="2439" y="12426"/>
                    </a:cubicBezTo>
                    <a:cubicBezTo>
                      <a:pt x="8138" y="1028"/>
                      <a:pt x="16687" y="-1822"/>
                      <a:pt x="25235" y="1028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5A61189F-F919-44EC-AD64-72F5B93E6DE8}"/>
                  </a:ext>
                </a:extLst>
              </p:cNvPr>
              <p:cNvSpPr/>
              <p:nvPr/>
            </p:nvSpPr>
            <p:spPr>
              <a:xfrm>
                <a:off x="10120956" y="2278239"/>
                <a:ext cx="132955" cy="172156"/>
              </a:xfrm>
              <a:custGeom>
                <a:avLst/>
                <a:gdLst>
                  <a:gd name="connsiteX0" fmla="*/ 66137 w 132955"/>
                  <a:gd name="connsiteY0" fmla="*/ 172157 h 172156"/>
                  <a:gd name="connsiteX1" fmla="*/ 23393 w 132955"/>
                  <a:gd name="connsiteY1" fmla="*/ 123713 h 172156"/>
                  <a:gd name="connsiteX2" fmla="*/ 11995 w 132955"/>
                  <a:gd name="connsiteY2" fmla="*/ 15428 h 172156"/>
                  <a:gd name="connsiteX3" fmla="*/ 31942 w 132955"/>
                  <a:gd name="connsiteY3" fmla="*/ 6880 h 172156"/>
                  <a:gd name="connsiteX4" fmla="*/ 40491 w 132955"/>
                  <a:gd name="connsiteY4" fmla="*/ 15428 h 172156"/>
                  <a:gd name="connsiteX5" fmla="*/ 91784 w 132955"/>
                  <a:gd name="connsiteY5" fmla="*/ 115165 h 172156"/>
                  <a:gd name="connsiteX6" fmla="*/ 108881 w 132955"/>
                  <a:gd name="connsiteY6" fmla="*/ 112315 h 172156"/>
                  <a:gd name="connsiteX7" fmla="*/ 117430 w 132955"/>
                  <a:gd name="connsiteY7" fmla="*/ 103766 h 172156"/>
                  <a:gd name="connsiteX8" fmla="*/ 88934 w 132955"/>
                  <a:gd name="connsiteY8" fmla="*/ 9729 h 172156"/>
                  <a:gd name="connsiteX9" fmla="*/ 91784 w 132955"/>
                  <a:gd name="connsiteY9" fmla="*/ 1180 h 172156"/>
                  <a:gd name="connsiteX10" fmla="*/ 100332 w 132955"/>
                  <a:gd name="connsiteY10" fmla="*/ 4030 h 172156"/>
                  <a:gd name="connsiteX11" fmla="*/ 131678 w 132955"/>
                  <a:gd name="connsiteY11" fmla="*/ 106616 h 172156"/>
                  <a:gd name="connsiteX12" fmla="*/ 117430 w 132955"/>
                  <a:gd name="connsiteY12" fmla="*/ 120864 h 172156"/>
                  <a:gd name="connsiteX13" fmla="*/ 106032 w 132955"/>
                  <a:gd name="connsiteY13" fmla="*/ 123713 h 172156"/>
                  <a:gd name="connsiteX14" fmla="*/ 106032 w 132955"/>
                  <a:gd name="connsiteY14" fmla="*/ 123713 h 172156"/>
                  <a:gd name="connsiteX15" fmla="*/ 80385 w 132955"/>
                  <a:gd name="connsiteY15" fmla="*/ 163608 h 172156"/>
                  <a:gd name="connsiteX16" fmla="*/ 66137 w 132955"/>
                  <a:gd name="connsiteY16" fmla="*/ 172157 h 172156"/>
                  <a:gd name="connsiteX17" fmla="*/ 29092 w 132955"/>
                  <a:gd name="connsiteY17" fmla="*/ 18278 h 172156"/>
                  <a:gd name="connsiteX18" fmla="*/ 17694 w 132955"/>
                  <a:gd name="connsiteY18" fmla="*/ 23977 h 172156"/>
                  <a:gd name="connsiteX19" fmla="*/ 31942 w 132955"/>
                  <a:gd name="connsiteY19" fmla="*/ 118014 h 172156"/>
                  <a:gd name="connsiteX20" fmla="*/ 68987 w 132955"/>
                  <a:gd name="connsiteY20" fmla="*/ 157909 h 172156"/>
                  <a:gd name="connsiteX21" fmla="*/ 88934 w 132955"/>
                  <a:gd name="connsiteY21" fmla="*/ 126563 h 172156"/>
                  <a:gd name="connsiteX22" fmla="*/ 88934 w 132955"/>
                  <a:gd name="connsiteY22" fmla="*/ 126563 h 172156"/>
                  <a:gd name="connsiteX23" fmla="*/ 31942 w 132955"/>
                  <a:gd name="connsiteY23" fmla="*/ 21128 h 172156"/>
                  <a:gd name="connsiteX24" fmla="*/ 31942 w 132955"/>
                  <a:gd name="connsiteY24" fmla="*/ 21128 h 172156"/>
                  <a:gd name="connsiteX25" fmla="*/ 29092 w 132955"/>
                  <a:gd name="connsiteY25" fmla="*/ 18278 h 172156"/>
                  <a:gd name="connsiteX26" fmla="*/ 29092 w 132955"/>
                  <a:gd name="connsiteY26" fmla="*/ 18278 h 172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2955" h="172156">
                    <a:moveTo>
                      <a:pt x="66137" y="172157"/>
                    </a:moveTo>
                    <a:cubicBezTo>
                      <a:pt x="49040" y="172157"/>
                      <a:pt x="37641" y="146510"/>
                      <a:pt x="23393" y="123713"/>
                    </a:cubicBezTo>
                    <a:cubicBezTo>
                      <a:pt x="-2253" y="69571"/>
                      <a:pt x="-7953" y="32526"/>
                      <a:pt x="11995" y="15428"/>
                    </a:cubicBezTo>
                    <a:cubicBezTo>
                      <a:pt x="20544" y="9729"/>
                      <a:pt x="26243" y="6880"/>
                      <a:pt x="31942" y="6880"/>
                    </a:cubicBezTo>
                    <a:cubicBezTo>
                      <a:pt x="40491" y="9729"/>
                      <a:pt x="40491" y="15428"/>
                      <a:pt x="40491" y="15428"/>
                    </a:cubicBezTo>
                    <a:cubicBezTo>
                      <a:pt x="60438" y="75270"/>
                      <a:pt x="77536" y="109465"/>
                      <a:pt x="91784" y="115165"/>
                    </a:cubicBezTo>
                    <a:cubicBezTo>
                      <a:pt x="97483" y="118014"/>
                      <a:pt x="103182" y="115165"/>
                      <a:pt x="108881" y="112315"/>
                    </a:cubicBezTo>
                    <a:cubicBezTo>
                      <a:pt x="111731" y="109465"/>
                      <a:pt x="114580" y="106616"/>
                      <a:pt x="117430" y="103766"/>
                    </a:cubicBezTo>
                    <a:cubicBezTo>
                      <a:pt x="125979" y="80969"/>
                      <a:pt x="97483" y="26827"/>
                      <a:pt x="88934" y="9729"/>
                    </a:cubicBezTo>
                    <a:cubicBezTo>
                      <a:pt x="86084" y="6880"/>
                      <a:pt x="88934" y="4030"/>
                      <a:pt x="91784" y="1180"/>
                    </a:cubicBezTo>
                    <a:cubicBezTo>
                      <a:pt x="94633" y="-1669"/>
                      <a:pt x="97483" y="1180"/>
                      <a:pt x="100332" y="4030"/>
                    </a:cubicBezTo>
                    <a:cubicBezTo>
                      <a:pt x="103182" y="6880"/>
                      <a:pt x="140227" y="75270"/>
                      <a:pt x="131678" y="106616"/>
                    </a:cubicBezTo>
                    <a:cubicBezTo>
                      <a:pt x="128828" y="115165"/>
                      <a:pt x="125979" y="118014"/>
                      <a:pt x="117430" y="120864"/>
                    </a:cubicBezTo>
                    <a:cubicBezTo>
                      <a:pt x="114580" y="120864"/>
                      <a:pt x="108881" y="123713"/>
                      <a:pt x="106032" y="123713"/>
                    </a:cubicBezTo>
                    <a:cubicBezTo>
                      <a:pt x="106032" y="123713"/>
                      <a:pt x="106032" y="123713"/>
                      <a:pt x="106032" y="123713"/>
                    </a:cubicBezTo>
                    <a:cubicBezTo>
                      <a:pt x="106032" y="123713"/>
                      <a:pt x="97483" y="155059"/>
                      <a:pt x="80385" y="163608"/>
                    </a:cubicBezTo>
                    <a:cubicBezTo>
                      <a:pt x="71836" y="169307"/>
                      <a:pt x="68987" y="172157"/>
                      <a:pt x="66137" y="172157"/>
                    </a:cubicBezTo>
                    <a:close/>
                    <a:moveTo>
                      <a:pt x="29092" y="18278"/>
                    </a:moveTo>
                    <a:cubicBezTo>
                      <a:pt x="26243" y="18278"/>
                      <a:pt x="23393" y="18278"/>
                      <a:pt x="17694" y="23977"/>
                    </a:cubicBezTo>
                    <a:cubicBezTo>
                      <a:pt x="3446" y="35376"/>
                      <a:pt x="9145" y="69571"/>
                      <a:pt x="31942" y="118014"/>
                    </a:cubicBezTo>
                    <a:cubicBezTo>
                      <a:pt x="49040" y="155059"/>
                      <a:pt x="57588" y="163608"/>
                      <a:pt x="68987" y="157909"/>
                    </a:cubicBezTo>
                    <a:cubicBezTo>
                      <a:pt x="80385" y="152209"/>
                      <a:pt x="86084" y="132262"/>
                      <a:pt x="88934" y="126563"/>
                    </a:cubicBezTo>
                    <a:cubicBezTo>
                      <a:pt x="88934" y="126563"/>
                      <a:pt x="88934" y="126563"/>
                      <a:pt x="88934" y="126563"/>
                    </a:cubicBezTo>
                    <a:cubicBezTo>
                      <a:pt x="77536" y="120864"/>
                      <a:pt x="57588" y="103766"/>
                      <a:pt x="31942" y="21128"/>
                    </a:cubicBezTo>
                    <a:lnTo>
                      <a:pt x="31942" y="21128"/>
                    </a:lnTo>
                    <a:cubicBezTo>
                      <a:pt x="31942" y="21128"/>
                      <a:pt x="31942" y="18278"/>
                      <a:pt x="29092" y="18278"/>
                    </a:cubicBezTo>
                    <a:cubicBezTo>
                      <a:pt x="29092" y="18278"/>
                      <a:pt x="29092" y="18278"/>
                      <a:pt x="29092" y="18278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48CF6C9C-F2BA-4A47-98C2-066AD442DE76}"/>
                  </a:ext>
                </a:extLst>
              </p:cNvPr>
              <p:cNvSpPr/>
              <p:nvPr/>
            </p:nvSpPr>
            <p:spPr>
              <a:xfrm>
                <a:off x="10084508" y="2321046"/>
                <a:ext cx="96886" cy="140748"/>
              </a:xfrm>
              <a:custGeom>
                <a:avLst/>
                <a:gdLst>
                  <a:gd name="connsiteX0" fmla="*/ 65541 w 96886"/>
                  <a:gd name="connsiteY0" fmla="*/ 140749 h 140748"/>
                  <a:gd name="connsiteX1" fmla="*/ 39894 w 96886"/>
                  <a:gd name="connsiteY1" fmla="*/ 123651 h 140748"/>
                  <a:gd name="connsiteX2" fmla="*/ 0 w 96886"/>
                  <a:gd name="connsiteY2" fmla="*/ 26764 h 140748"/>
                  <a:gd name="connsiteX3" fmla="*/ 11398 w 96886"/>
                  <a:gd name="connsiteY3" fmla="*/ 6817 h 140748"/>
                  <a:gd name="connsiteX4" fmla="*/ 39894 w 96886"/>
                  <a:gd name="connsiteY4" fmla="*/ 1118 h 140748"/>
                  <a:gd name="connsiteX5" fmla="*/ 42744 w 96886"/>
                  <a:gd name="connsiteY5" fmla="*/ 9667 h 140748"/>
                  <a:gd name="connsiteX6" fmla="*/ 34196 w 96886"/>
                  <a:gd name="connsiteY6" fmla="*/ 12516 h 140748"/>
                  <a:gd name="connsiteX7" fmla="*/ 17098 w 96886"/>
                  <a:gd name="connsiteY7" fmla="*/ 15366 h 140748"/>
                  <a:gd name="connsiteX8" fmla="*/ 11398 w 96886"/>
                  <a:gd name="connsiteY8" fmla="*/ 26764 h 140748"/>
                  <a:gd name="connsiteX9" fmla="*/ 48444 w 96886"/>
                  <a:gd name="connsiteY9" fmla="*/ 117952 h 140748"/>
                  <a:gd name="connsiteX10" fmla="*/ 65541 w 96886"/>
                  <a:gd name="connsiteY10" fmla="*/ 129350 h 140748"/>
                  <a:gd name="connsiteX11" fmla="*/ 65541 w 96886"/>
                  <a:gd name="connsiteY11" fmla="*/ 129350 h 140748"/>
                  <a:gd name="connsiteX12" fmla="*/ 85488 w 96886"/>
                  <a:gd name="connsiteY12" fmla="*/ 115102 h 140748"/>
                  <a:gd name="connsiteX13" fmla="*/ 94037 w 96886"/>
                  <a:gd name="connsiteY13" fmla="*/ 112252 h 140748"/>
                  <a:gd name="connsiteX14" fmla="*/ 96886 w 96886"/>
                  <a:gd name="connsiteY14" fmla="*/ 120801 h 140748"/>
                  <a:gd name="connsiteX15" fmla="*/ 65541 w 96886"/>
                  <a:gd name="connsiteY15" fmla="*/ 140749 h 140748"/>
                  <a:gd name="connsiteX16" fmla="*/ 65541 w 96886"/>
                  <a:gd name="connsiteY16" fmla="*/ 140749 h 14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6886" h="140748">
                    <a:moveTo>
                      <a:pt x="65541" y="140749"/>
                    </a:moveTo>
                    <a:cubicBezTo>
                      <a:pt x="56992" y="140749"/>
                      <a:pt x="48444" y="135049"/>
                      <a:pt x="39894" y="123651"/>
                    </a:cubicBezTo>
                    <a:cubicBezTo>
                      <a:pt x="14248" y="89456"/>
                      <a:pt x="0" y="41012"/>
                      <a:pt x="0" y="26764"/>
                    </a:cubicBezTo>
                    <a:cubicBezTo>
                      <a:pt x="0" y="18216"/>
                      <a:pt x="2850" y="12516"/>
                      <a:pt x="11398" y="6817"/>
                    </a:cubicBezTo>
                    <a:cubicBezTo>
                      <a:pt x="19948" y="1118"/>
                      <a:pt x="34196" y="-1732"/>
                      <a:pt x="39894" y="1118"/>
                    </a:cubicBezTo>
                    <a:cubicBezTo>
                      <a:pt x="42744" y="1118"/>
                      <a:pt x="42744" y="6817"/>
                      <a:pt x="42744" y="9667"/>
                    </a:cubicBezTo>
                    <a:cubicBezTo>
                      <a:pt x="39894" y="12516"/>
                      <a:pt x="37045" y="12516"/>
                      <a:pt x="34196" y="12516"/>
                    </a:cubicBezTo>
                    <a:cubicBezTo>
                      <a:pt x="31346" y="12516"/>
                      <a:pt x="22796" y="12516"/>
                      <a:pt x="17098" y="15366"/>
                    </a:cubicBezTo>
                    <a:cubicBezTo>
                      <a:pt x="14248" y="18216"/>
                      <a:pt x="11398" y="21065"/>
                      <a:pt x="11398" y="26764"/>
                    </a:cubicBezTo>
                    <a:cubicBezTo>
                      <a:pt x="11398" y="41012"/>
                      <a:pt x="25646" y="86606"/>
                      <a:pt x="48444" y="117952"/>
                    </a:cubicBezTo>
                    <a:cubicBezTo>
                      <a:pt x="54142" y="126500"/>
                      <a:pt x="59842" y="129350"/>
                      <a:pt x="65541" y="129350"/>
                    </a:cubicBezTo>
                    <a:lnTo>
                      <a:pt x="65541" y="129350"/>
                    </a:lnTo>
                    <a:cubicBezTo>
                      <a:pt x="76940" y="129350"/>
                      <a:pt x="85488" y="115102"/>
                      <a:pt x="85488" y="115102"/>
                    </a:cubicBezTo>
                    <a:cubicBezTo>
                      <a:pt x="88338" y="112252"/>
                      <a:pt x="91188" y="112252"/>
                      <a:pt x="94037" y="112252"/>
                    </a:cubicBezTo>
                    <a:cubicBezTo>
                      <a:pt x="96886" y="115102"/>
                      <a:pt x="96886" y="117952"/>
                      <a:pt x="96886" y="120801"/>
                    </a:cubicBezTo>
                    <a:cubicBezTo>
                      <a:pt x="94037" y="123651"/>
                      <a:pt x="82638" y="140749"/>
                      <a:pt x="65541" y="140749"/>
                    </a:cubicBezTo>
                    <a:cubicBezTo>
                      <a:pt x="65541" y="140749"/>
                      <a:pt x="65541" y="140749"/>
                      <a:pt x="65541" y="140749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5B90E173-10BB-48C7-A371-DE3872F465B0}"/>
                </a:ext>
              </a:extLst>
            </p:cNvPr>
            <p:cNvSpPr/>
            <p:nvPr/>
          </p:nvSpPr>
          <p:spPr>
            <a:xfrm>
              <a:off x="10149913" y="2376165"/>
              <a:ext cx="106423" cy="122674"/>
            </a:xfrm>
            <a:custGeom>
              <a:avLst/>
              <a:gdLst>
                <a:gd name="connsiteX0" fmla="*/ 105571 w 106423"/>
                <a:gd name="connsiteY0" fmla="*/ 111276 h 122674"/>
                <a:gd name="connsiteX1" fmla="*/ 77075 w 106423"/>
                <a:gd name="connsiteY1" fmla="*/ 11539 h 122674"/>
                <a:gd name="connsiteX2" fmla="*/ 135 w 106423"/>
                <a:gd name="connsiteY2" fmla="*/ 17239 h 122674"/>
                <a:gd name="connsiteX3" fmla="*/ 51429 w 106423"/>
                <a:gd name="connsiteY3" fmla="*/ 88479 h 122674"/>
                <a:gd name="connsiteX4" fmla="*/ 17233 w 106423"/>
                <a:gd name="connsiteY4" fmla="*/ 122674 h 122674"/>
                <a:gd name="connsiteX5" fmla="*/ 105571 w 106423"/>
                <a:gd name="connsiteY5" fmla="*/ 111276 h 122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423" h="122674">
                  <a:moveTo>
                    <a:pt x="105571" y="111276"/>
                  </a:moveTo>
                  <a:cubicBezTo>
                    <a:pt x="105571" y="111276"/>
                    <a:pt x="114119" y="28637"/>
                    <a:pt x="77075" y="11539"/>
                  </a:cubicBezTo>
                  <a:cubicBezTo>
                    <a:pt x="40030" y="-8408"/>
                    <a:pt x="-2714" y="141"/>
                    <a:pt x="135" y="17239"/>
                  </a:cubicBezTo>
                  <a:cubicBezTo>
                    <a:pt x="135" y="34336"/>
                    <a:pt x="51429" y="40036"/>
                    <a:pt x="51429" y="88479"/>
                  </a:cubicBezTo>
                  <a:cubicBezTo>
                    <a:pt x="51429" y="88479"/>
                    <a:pt x="22932" y="102727"/>
                    <a:pt x="17233" y="122674"/>
                  </a:cubicBezTo>
                  <a:lnTo>
                    <a:pt x="105571" y="111276"/>
                  </a:ln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B7788EAB-E035-4F58-B707-F1F892296E74}"/>
                </a:ext>
              </a:extLst>
            </p:cNvPr>
            <p:cNvSpPr/>
            <p:nvPr/>
          </p:nvSpPr>
          <p:spPr>
            <a:xfrm>
              <a:off x="10138650" y="2370472"/>
              <a:ext cx="117603" cy="128367"/>
            </a:xfrm>
            <a:custGeom>
              <a:avLst/>
              <a:gdLst>
                <a:gd name="connsiteX0" fmla="*/ 28496 w 117603"/>
                <a:gd name="connsiteY0" fmla="*/ 128367 h 128367"/>
                <a:gd name="connsiteX1" fmla="*/ 28496 w 117603"/>
                <a:gd name="connsiteY1" fmla="*/ 128367 h 128367"/>
                <a:gd name="connsiteX2" fmla="*/ 22797 w 117603"/>
                <a:gd name="connsiteY2" fmla="*/ 122668 h 128367"/>
                <a:gd name="connsiteX3" fmla="*/ 54142 w 117603"/>
                <a:gd name="connsiteY3" fmla="*/ 88473 h 128367"/>
                <a:gd name="connsiteX4" fmla="*/ 19948 w 117603"/>
                <a:gd name="connsiteY4" fmla="*/ 42879 h 128367"/>
                <a:gd name="connsiteX5" fmla="*/ 0 w 117603"/>
                <a:gd name="connsiteY5" fmla="*/ 20082 h 128367"/>
                <a:gd name="connsiteX6" fmla="*/ 8549 w 117603"/>
                <a:gd name="connsiteY6" fmla="*/ 5834 h 128367"/>
                <a:gd name="connsiteX7" fmla="*/ 85488 w 117603"/>
                <a:gd name="connsiteY7" fmla="*/ 11533 h 128367"/>
                <a:gd name="connsiteX8" fmla="*/ 116834 w 117603"/>
                <a:gd name="connsiteY8" fmla="*/ 116969 h 128367"/>
                <a:gd name="connsiteX9" fmla="*/ 111134 w 117603"/>
                <a:gd name="connsiteY9" fmla="*/ 122668 h 128367"/>
                <a:gd name="connsiteX10" fmla="*/ 105436 w 117603"/>
                <a:gd name="connsiteY10" fmla="*/ 116969 h 128367"/>
                <a:gd name="connsiteX11" fmla="*/ 79789 w 117603"/>
                <a:gd name="connsiteY11" fmla="*/ 22932 h 128367"/>
                <a:gd name="connsiteX12" fmla="*/ 14248 w 117603"/>
                <a:gd name="connsiteY12" fmla="*/ 17233 h 128367"/>
                <a:gd name="connsiteX13" fmla="*/ 11398 w 117603"/>
                <a:gd name="connsiteY13" fmla="*/ 22932 h 128367"/>
                <a:gd name="connsiteX14" fmla="*/ 25646 w 117603"/>
                <a:gd name="connsiteY14" fmla="*/ 37180 h 128367"/>
                <a:gd name="connsiteX15" fmla="*/ 62692 w 117603"/>
                <a:gd name="connsiteY15" fmla="*/ 94172 h 128367"/>
                <a:gd name="connsiteX16" fmla="*/ 59842 w 117603"/>
                <a:gd name="connsiteY16" fmla="*/ 99871 h 128367"/>
                <a:gd name="connsiteX17" fmla="*/ 28496 w 117603"/>
                <a:gd name="connsiteY17" fmla="*/ 128367 h 128367"/>
                <a:gd name="connsiteX18" fmla="*/ 28496 w 117603"/>
                <a:gd name="connsiteY18" fmla="*/ 128367 h 128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7603" h="128367">
                  <a:moveTo>
                    <a:pt x="28496" y="128367"/>
                  </a:moveTo>
                  <a:cubicBezTo>
                    <a:pt x="28496" y="128367"/>
                    <a:pt x="28496" y="128367"/>
                    <a:pt x="28496" y="128367"/>
                  </a:cubicBezTo>
                  <a:cubicBezTo>
                    <a:pt x="25646" y="128367"/>
                    <a:pt x="22797" y="125518"/>
                    <a:pt x="22797" y="122668"/>
                  </a:cubicBezTo>
                  <a:cubicBezTo>
                    <a:pt x="28496" y="105570"/>
                    <a:pt x="48444" y="91322"/>
                    <a:pt x="54142" y="88473"/>
                  </a:cubicBezTo>
                  <a:cubicBezTo>
                    <a:pt x="51293" y="65676"/>
                    <a:pt x="34196" y="51428"/>
                    <a:pt x="19948" y="42879"/>
                  </a:cubicBezTo>
                  <a:cubicBezTo>
                    <a:pt x="11398" y="37180"/>
                    <a:pt x="0" y="31481"/>
                    <a:pt x="0" y="20082"/>
                  </a:cubicBezTo>
                  <a:cubicBezTo>
                    <a:pt x="0" y="14383"/>
                    <a:pt x="2850" y="8684"/>
                    <a:pt x="8549" y="5834"/>
                  </a:cubicBezTo>
                  <a:cubicBezTo>
                    <a:pt x="22797" y="-2715"/>
                    <a:pt x="56992" y="-2715"/>
                    <a:pt x="85488" y="11533"/>
                  </a:cubicBezTo>
                  <a:cubicBezTo>
                    <a:pt x="125382" y="31481"/>
                    <a:pt x="116834" y="114119"/>
                    <a:pt x="116834" y="116969"/>
                  </a:cubicBezTo>
                  <a:cubicBezTo>
                    <a:pt x="116834" y="119818"/>
                    <a:pt x="113984" y="122668"/>
                    <a:pt x="111134" y="122668"/>
                  </a:cubicBezTo>
                  <a:cubicBezTo>
                    <a:pt x="108285" y="122668"/>
                    <a:pt x="105436" y="119818"/>
                    <a:pt x="105436" y="116969"/>
                  </a:cubicBezTo>
                  <a:cubicBezTo>
                    <a:pt x="105436" y="116969"/>
                    <a:pt x="113984" y="40029"/>
                    <a:pt x="79789" y="22932"/>
                  </a:cubicBezTo>
                  <a:cubicBezTo>
                    <a:pt x="54142" y="8684"/>
                    <a:pt x="25646" y="8684"/>
                    <a:pt x="14248" y="17233"/>
                  </a:cubicBezTo>
                  <a:cubicBezTo>
                    <a:pt x="11398" y="20082"/>
                    <a:pt x="11398" y="22932"/>
                    <a:pt x="11398" y="22932"/>
                  </a:cubicBezTo>
                  <a:cubicBezTo>
                    <a:pt x="11398" y="25781"/>
                    <a:pt x="19948" y="31481"/>
                    <a:pt x="25646" y="37180"/>
                  </a:cubicBezTo>
                  <a:cubicBezTo>
                    <a:pt x="42744" y="48578"/>
                    <a:pt x="62692" y="62826"/>
                    <a:pt x="62692" y="94172"/>
                  </a:cubicBezTo>
                  <a:cubicBezTo>
                    <a:pt x="62692" y="97022"/>
                    <a:pt x="62692" y="97022"/>
                    <a:pt x="59842" y="99871"/>
                  </a:cubicBezTo>
                  <a:cubicBezTo>
                    <a:pt x="59842" y="99871"/>
                    <a:pt x="34196" y="111270"/>
                    <a:pt x="28496" y="128367"/>
                  </a:cubicBezTo>
                  <a:cubicBezTo>
                    <a:pt x="34196" y="128367"/>
                    <a:pt x="31346" y="128367"/>
                    <a:pt x="28496" y="128367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86" name="图形 1">
            <a:extLst>
              <a:ext uri="{FF2B5EF4-FFF2-40B4-BE49-F238E27FC236}">
                <a16:creationId xmlns:a16="http://schemas.microsoft.com/office/drawing/2014/main" id="{FF139733-1352-4DE6-8246-4C8CFE2C122F}"/>
              </a:ext>
            </a:extLst>
          </p:cNvPr>
          <p:cNvGrpSpPr/>
          <p:nvPr/>
        </p:nvGrpSpPr>
        <p:grpSpPr>
          <a:xfrm>
            <a:off x="6303467" y="2912829"/>
            <a:ext cx="3445218" cy="3635382"/>
            <a:chOff x="13677660" y="3414274"/>
            <a:chExt cx="3445218" cy="3635382"/>
          </a:xfrm>
        </p:grpSpPr>
        <p:grpSp>
          <p:nvGrpSpPr>
            <p:cNvPr id="87" name="图形 1">
              <a:extLst>
                <a:ext uri="{FF2B5EF4-FFF2-40B4-BE49-F238E27FC236}">
                  <a16:creationId xmlns:a16="http://schemas.microsoft.com/office/drawing/2014/main" id="{A8E7B7C4-BE95-4611-B168-C4D91551A0F8}"/>
                </a:ext>
              </a:extLst>
            </p:cNvPr>
            <p:cNvGrpSpPr/>
            <p:nvPr/>
          </p:nvGrpSpPr>
          <p:grpSpPr>
            <a:xfrm>
              <a:off x="14668150" y="4579018"/>
              <a:ext cx="2454728" cy="2435664"/>
              <a:chOff x="14668150" y="4579018"/>
              <a:chExt cx="2454728" cy="2435664"/>
            </a:xfrm>
          </p:grpSpPr>
          <p:sp>
            <p:nvSpPr>
              <p:cNvPr id="174" name="任意多边形: 形状 173">
                <a:extLst>
                  <a:ext uri="{FF2B5EF4-FFF2-40B4-BE49-F238E27FC236}">
                    <a16:creationId xmlns:a16="http://schemas.microsoft.com/office/drawing/2014/main" id="{16D54EE3-19F6-4634-BCEE-6537A13DB8AA}"/>
                  </a:ext>
                </a:extLst>
              </p:cNvPr>
              <p:cNvSpPr/>
              <p:nvPr/>
            </p:nvSpPr>
            <p:spPr>
              <a:xfrm>
                <a:off x="14668150" y="4579018"/>
                <a:ext cx="2454728" cy="2435664"/>
              </a:xfrm>
              <a:custGeom>
                <a:avLst/>
                <a:gdLst>
                  <a:gd name="connsiteX0" fmla="*/ 2386489 w 2454728"/>
                  <a:gd name="connsiteY0" fmla="*/ 1820930 h 2435664"/>
                  <a:gd name="connsiteX1" fmla="*/ 220791 w 2454728"/>
                  <a:gd name="connsiteY1" fmla="*/ 2134386 h 2435664"/>
                  <a:gd name="connsiteX2" fmla="*/ 249287 w 2454728"/>
                  <a:gd name="connsiteY2" fmla="*/ 1108529 h 2435664"/>
                  <a:gd name="connsiteX3" fmla="*/ 249287 w 2454728"/>
                  <a:gd name="connsiteY3" fmla="*/ 1108529 h 2435664"/>
                  <a:gd name="connsiteX4" fmla="*/ 579841 w 2454728"/>
                  <a:gd name="connsiteY4" fmla="*/ 880560 h 2435664"/>
                  <a:gd name="connsiteX5" fmla="*/ 1161160 w 2454728"/>
                  <a:gd name="connsiteY5" fmla="*/ 88370 h 2435664"/>
                  <a:gd name="connsiteX6" fmla="*/ 1354933 w 2454728"/>
                  <a:gd name="connsiteY6" fmla="*/ 32 h 2435664"/>
                  <a:gd name="connsiteX7" fmla="*/ 2386489 w 2454728"/>
                  <a:gd name="connsiteY7" fmla="*/ 1820930 h 2435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54728" h="2435664">
                    <a:moveTo>
                      <a:pt x="2386489" y="1820930"/>
                    </a:moveTo>
                    <a:cubicBezTo>
                      <a:pt x="2104379" y="2698608"/>
                      <a:pt x="588390" y="2476339"/>
                      <a:pt x="220791" y="2134386"/>
                    </a:cubicBezTo>
                    <a:cubicBezTo>
                      <a:pt x="38416" y="1966259"/>
                      <a:pt x="-181004" y="1510323"/>
                      <a:pt x="249287" y="1108529"/>
                    </a:cubicBezTo>
                    <a:cubicBezTo>
                      <a:pt x="249287" y="1108529"/>
                      <a:pt x="249287" y="1108529"/>
                      <a:pt x="249287" y="1108529"/>
                    </a:cubicBezTo>
                    <a:cubicBezTo>
                      <a:pt x="334775" y="1028740"/>
                      <a:pt x="443060" y="951800"/>
                      <a:pt x="579841" y="880560"/>
                    </a:cubicBezTo>
                    <a:cubicBezTo>
                      <a:pt x="807809" y="760877"/>
                      <a:pt x="950290" y="287842"/>
                      <a:pt x="1161160" y="88370"/>
                    </a:cubicBezTo>
                    <a:cubicBezTo>
                      <a:pt x="1218152" y="34228"/>
                      <a:pt x="1283693" y="32"/>
                      <a:pt x="1354933" y="32"/>
                    </a:cubicBezTo>
                    <a:cubicBezTo>
                      <a:pt x="1691187" y="-5667"/>
                      <a:pt x="2728442" y="743779"/>
                      <a:pt x="2386489" y="182093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5" name="任意多边形: 形状 174">
                <a:extLst>
                  <a:ext uri="{FF2B5EF4-FFF2-40B4-BE49-F238E27FC236}">
                    <a16:creationId xmlns:a16="http://schemas.microsoft.com/office/drawing/2014/main" id="{9E687591-4FAC-4804-874A-565EA2368DE9}"/>
                  </a:ext>
                </a:extLst>
              </p:cNvPr>
              <p:cNvSpPr/>
              <p:nvPr/>
            </p:nvSpPr>
            <p:spPr>
              <a:xfrm>
                <a:off x="15316381" y="5394037"/>
                <a:ext cx="873245" cy="404643"/>
              </a:xfrm>
              <a:custGeom>
                <a:avLst/>
                <a:gdLst>
                  <a:gd name="connsiteX0" fmla="*/ 869129 w 873245"/>
                  <a:gd name="connsiteY0" fmla="*/ 404644 h 404643"/>
                  <a:gd name="connsiteX1" fmla="*/ 863430 w 873245"/>
                  <a:gd name="connsiteY1" fmla="*/ 401794 h 404643"/>
                  <a:gd name="connsiteX2" fmla="*/ 5699 w 873245"/>
                  <a:gd name="connsiteY2" fmla="*/ 11398 h 404643"/>
                  <a:gd name="connsiteX3" fmla="*/ 0 w 873245"/>
                  <a:gd name="connsiteY3" fmla="*/ 5699 h 404643"/>
                  <a:gd name="connsiteX4" fmla="*/ 5699 w 873245"/>
                  <a:gd name="connsiteY4" fmla="*/ 0 h 404643"/>
                  <a:gd name="connsiteX5" fmla="*/ 5699 w 873245"/>
                  <a:gd name="connsiteY5" fmla="*/ 0 h 404643"/>
                  <a:gd name="connsiteX6" fmla="*/ 871979 w 873245"/>
                  <a:gd name="connsiteY6" fmla="*/ 393245 h 404643"/>
                  <a:gd name="connsiteX7" fmla="*/ 871979 w 873245"/>
                  <a:gd name="connsiteY7" fmla="*/ 401794 h 404643"/>
                  <a:gd name="connsiteX8" fmla="*/ 869129 w 873245"/>
                  <a:gd name="connsiteY8" fmla="*/ 404644 h 404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73245" h="404643">
                    <a:moveTo>
                      <a:pt x="869129" y="404644"/>
                    </a:moveTo>
                    <a:cubicBezTo>
                      <a:pt x="866280" y="404644"/>
                      <a:pt x="866280" y="404644"/>
                      <a:pt x="863430" y="401794"/>
                    </a:cubicBezTo>
                    <a:cubicBezTo>
                      <a:pt x="584169" y="19947"/>
                      <a:pt x="11398" y="11398"/>
                      <a:pt x="5699" y="11398"/>
                    </a:cubicBezTo>
                    <a:cubicBezTo>
                      <a:pt x="2850" y="11398"/>
                      <a:pt x="0" y="8549"/>
                      <a:pt x="0" y="5699"/>
                    </a:cubicBezTo>
                    <a:cubicBezTo>
                      <a:pt x="0" y="2849"/>
                      <a:pt x="2850" y="0"/>
                      <a:pt x="5699" y="0"/>
                    </a:cubicBezTo>
                    <a:lnTo>
                      <a:pt x="5699" y="0"/>
                    </a:lnTo>
                    <a:cubicBezTo>
                      <a:pt x="11398" y="0"/>
                      <a:pt x="592717" y="8549"/>
                      <a:pt x="871979" y="393245"/>
                    </a:cubicBezTo>
                    <a:cubicBezTo>
                      <a:pt x="874828" y="396095"/>
                      <a:pt x="871979" y="398945"/>
                      <a:pt x="871979" y="401794"/>
                    </a:cubicBezTo>
                    <a:cubicBezTo>
                      <a:pt x="871979" y="404644"/>
                      <a:pt x="869129" y="404644"/>
                      <a:pt x="869129" y="404644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6" name="任意多边形: 形状 175">
                <a:extLst>
                  <a:ext uri="{FF2B5EF4-FFF2-40B4-BE49-F238E27FC236}">
                    <a16:creationId xmlns:a16="http://schemas.microsoft.com/office/drawing/2014/main" id="{B2137DB0-7A15-41CD-9235-C4F62DF3EA7C}"/>
                  </a:ext>
                </a:extLst>
              </p:cNvPr>
              <p:cNvSpPr/>
              <p:nvPr/>
            </p:nvSpPr>
            <p:spPr>
              <a:xfrm>
                <a:off x="15932608" y="5847836"/>
                <a:ext cx="197726" cy="517915"/>
              </a:xfrm>
              <a:custGeom>
                <a:avLst/>
                <a:gdLst>
                  <a:gd name="connsiteX0" fmla="*/ 181662 w 197726"/>
                  <a:gd name="connsiteY0" fmla="*/ 517915 h 517915"/>
                  <a:gd name="connsiteX1" fmla="*/ 181662 w 197726"/>
                  <a:gd name="connsiteY1" fmla="*/ 517915 h 517915"/>
                  <a:gd name="connsiteX2" fmla="*/ 175963 w 197726"/>
                  <a:gd name="connsiteY2" fmla="*/ 512216 h 517915"/>
                  <a:gd name="connsiteX3" fmla="*/ 2137 w 197726"/>
                  <a:gd name="connsiteY3" fmla="*/ 10686 h 517915"/>
                  <a:gd name="connsiteX4" fmla="*/ 2137 w 197726"/>
                  <a:gd name="connsiteY4" fmla="*/ 2137 h 517915"/>
                  <a:gd name="connsiteX5" fmla="*/ 10686 w 197726"/>
                  <a:gd name="connsiteY5" fmla="*/ 2137 h 517915"/>
                  <a:gd name="connsiteX6" fmla="*/ 190211 w 197726"/>
                  <a:gd name="connsiteY6" fmla="*/ 512216 h 517915"/>
                  <a:gd name="connsiteX7" fmla="*/ 181662 w 197726"/>
                  <a:gd name="connsiteY7" fmla="*/ 517915 h 517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7726" h="517915">
                    <a:moveTo>
                      <a:pt x="181662" y="517915"/>
                    </a:moveTo>
                    <a:cubicBezTo>
                      <a:pt x="181662" y="517915"/>
                      <a:pt x="181662" y="517915"/>
                      <a:pt x="181662" y="517915"/>
                    </a:cubicBezTo>
                    <a:cubicBezTo>
                      <a:pt x="178812" y="517915"/>
                      <a:pt x="175963" y="515066"/>
                      <a:pt x="175963" y="512216"/>
                    </a:cubicBezTo>
                    <a:cubicBezTo>
                      <a:pt x="227256" y="230106"/>
                      <a:pt x="2137" y="13536"/>
                      <a:pt x="2137" y="10686"/>
                    </a:cubicBezTo>
                    <a:cubicBezTo>
                      <a:pt x="-712" y="7836"/>
                      <a:pt x="-712" y="4987"/>
                      <a:pt x="2137" y="2137"/>
                    </a:cubicBezTo>
                    <a:cubicBezTo>
                      <a:pt x="4986" y="-712"/>
                      <a:pt x="7836" y="-712"/>
                      <a:pt x="10686" y="2137"/>
                    </a:cubicBezTo>
                    <a:cubicBezTo>
                      <a:pt x="13536" y="4987"/>
                      <a:pt x="241504" y="224407"/>
                      <a:pt x="190211" y="512216"/>
                    </a:cubicBezTo>
                    <a:cubicBezTo>
                      <a:pt x="187361" y="515066"/>
                      <a:pt x="184512" y="517915"/>
                      <a:pt x="181662" y="51791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7" name="任意多边形: 形状 176">
                <a:extLst>
                  <a:ext uri="{FF2B5EF4-FFF2-40B4-BE49-F238E27FC236}">
                    <a16:creationId xmlns:a16="http://schemas.microsoft.com/office/drawing/2014/main" id="{A5733CFA-62FD-4BD5-B685-5786FAAD0A3D}"/>
                  </a:ext>
                </a:extLst>
              </p:cNvPr>
              <p:cNvSpPr/>
              <p:nvPr/>
            </p:nvSpPr>
            <p:spPr>
              <a:xfrm>
                <a:off x="15750233" y="5892718"/>
                <a:ext cx="90700" cy="390395"/>
              </a:xfrm>
              <a:custGeom>
                <a:avLst/>
                <a:gdLst>
                  <a:gd name="connsiteX0" fmla="*/ 4987 w 90700"/>
                  <a:gd name="connsiteY0" fmla="*/ 390396 h 390395"/>
                  <a:gd name="connsiteX1" fmla="*/ 2137 w 90700"/>
                  <a:gd name="connsiteY1" fmla="*/ 387546 h 390395"/>
                  <a:gd name="connsiteX2" fmla="*/ 2137 w 90700"/>
                  <a:gd name="connsiteY2" fmla="*/ 378997 h 390395"/>
                  <a:gd name="connsiteX3" fmla="*/ 79077 w 90700"/>
                  <a:gd name="connsiteY3" fmla="*/ 5699 h 390395"/>
                  <a:gd name="connsiteX4" fmla="*/ 84776 w 90700"/>
                  <a:gd name="connsiteY4" fmla="*/ 0 h 390395"/>
                  <a:gd name="connsiteX5" fmla="*/ 84776 w 90700"/>
                  <a:gd name="connsiteY5" fmla="*/ 0 h 390395"/>
                  <a:gd name="connsiteX6" fmla="*/ 90475 w 90700"/>
                  <a:gd name="connsiteY6" fmla="*/ 5699 h 390395"/>
                  <a:gd name="connsiteX7" fmla="*/ 10687 w 90700"/>
                  <a:gd name="connsiteY7" fmla="*/ 387546 h 390395"/>
                  <a:gd name="connsiteX8" fmla="*/ 4987 w 90700"/>
                  <a:gd name="connsiteY8" fmla="*/ 390396 h 390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0700" h="390395">
                    <a:moveTo>
                      <a:pt x="4987" y="390396"/>
                    </a:moveTo>
                    <a:cubicBezTo>
                      <a:pt x="2137" y="390396"/>
                      <a:pt x="2137" y="390396"/>
                      <a:pt x="2137" y="387546"/>
                    </a:cubicBezTo>
                    <a:cubicBezTo>
                      <a:pt x="-712" y="384697"/>
                      <a:pt x="-712" y="381847"/>
                      <a:pt x="2137" y="378997"/>
                    </a:cubicBezTo>
                    <a:cubicBezTo>
                      <a:pt x="87625" y="304908"/>
                      <a:pt x="79077" y="8549"/>
                      <a:pt x="79077" y="5699"/>
                    </a:cubicBezTo>
                    <a:cubicBezTo>
                      <a:pt x="79077" y="2849"/>
                      <a:pt x="81927" y="0"/>
                      <a:pt x="84776" y="0"/>
                    </a:cubicBezTo>
                    <a:lnTo>
                      <a:pt x="84776" y="0"/>
                    </a:lnTo>
                    <a:cubicBezTo>
                      <a:pt x="87625" y="0"/>
                      <a:pt x="90475" y="2849"/>
                      <a:pt x="90475" y="5699"/>
                    </a:cubicBezTo>
                    <a:cubicBezTo>
                      <a:pt x="90475" y="17097"/>
                      <a:pt x="99024" y="310607"/>
                      <a:pt x="10687" y="387546"/>
                    </a:cubicBezTo>
                    <a:cubicBezTo>
                      <a:pt x="7837" y="390396"/>
                      <a:pt x="4987" y="390396"/>
                      <a:pt x="4987" y="3903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8" name="任意多边形: 形状 177">
                <a:extLst>
                  <a:ext uri="{FF2B5EF4-FFF2-40B4-BE49-F238E27FC236}">
                    <a16:creationId xmlns:a16="http://schemas.microsoft.com/office/drawing/2014/main" id="{A4250C8D-9B24-49D5-AFA4-8D2920C55316}"/>
                  </a:ext>
                </a:extLst>
              </p:cNvPr>
              <p:cNvSpPr/>
              <p:nvPr/>
            </p:nvSpPr>
            <p:spPr>
              <a:xfrm>
                <a:off x="16176961" y="5553615"/>
                <a:ext cx="429577" cy="196622"/>
              </a:xfrm>
              <a:custGeom>
                <a:avLst/>
                <a:gdLst>
                  <a:gd name="connsiteX0" fmla="*/ 427441 w 429577"/>
                  <a:gd name="connsiteY0" fmla="*/ 196623 h 196622"/>
                  <a:gd name="connsiteX1" fmla="*/ 421742 w 429577"/>
                  <a:gd name="connsiteY1" fmla="*/ 193773 h 196622"/>
                  <a:gd name="connsiteX2" fmla="*/ 5700 w 429577"/>
                  <a:gd name="connsiteY2" fmla="*/ 11399 h 196622"/>
                  <a:gd name="connsiteX3" fmla="*/ 0 w 429577"/>
                  <a:gd name="connsiteY3" fmla="*/ 5700 h 196622"/>
                  <a:gd name="connsiteX4" fmla="*/ 5700 w 429577"/>
                  <a:gd name="connsiteY4" fmla="*/ 0 h 196622"/>
                  <a:gd name="connsiteX5" fmla="*/ 427441 w 429577"/>
                  <a:gd name="connsiteY5" fmla="*/ 188074 h 196622"/>
                  <a:gd name="connsiteX6" fmla="*/ 427441 w 429577"/>
                  <a:gd name="connsiteY6" fmla="*/ 196623 h 196622"/>
                  <a:gd name="connsiteX7" fmla="*/ 427441 w 429577"/>
                  <a:gd name="connsiteY7" fmla="*/ 196623 h 196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9577" h="196622">
                    <a:moveTo>
                      <a:pt x="427441" y="196623"/>
                    </a:moveTo>
                    <a:cubicBezTo>
                      <a:pt x="424592" y="196623"/>
                      <a:pt x="424592" y="196623"/>
                      <a:pt x="421742" y="193773"/>
                    </a:cubicBezTo>
                    <a:cubicBezTo>
                      <a:pt x="296360" y="37045"/>
                      <a:pt x="8549" y="11399"/>
                      <a:pt x="5700" y="11399"/>
                    </a:cubicBezTo>
                    <a:cubicBezTo>
                      <a:pt x="2850" y="11399"/>
                      <a:pt x="0" y="8549"/>
                      <a:pt x="0" y="5700"/>
                    </a:cubicBezTo>
                    <a:cubicBezTo>
                      <a:pt x="0" y="2850"/>
                      <a:pt x="2850" y="0"/>
                      <a:pt x="5700" y="0"/>
                    </a:cubicBezTo>
                    <a:cubicBezTo>
                      <a:pt x="8549" y="0"/>
                      <a:pt x="299208" y="28496"/>
                      <a:pt x="427441" y="188074"/>
                    </a:cubicBezTo>
                    <a:cubicBezTo>
                      <a:pt x="430290" y="190924"/>
                      <a:pt x="430290" y="193773"/>
                      <a:pt x="427441" y="196623"/>
                    </a:cubicBezTo>
                    <a:cubicBezTo>
                      <a:pt x="430290" y="196623"/>
                      <a:pt x="427441" y="196623"/>
                      <a:pt x="427441" y="19662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9" name="任意多边形: 形状 178">
                <a:extLst>
                  <a:ext uri="{FF2B5EF4-FFF2-40B4-BE49-F238E27FC236}">
                    <a16:creationId xmlns:a16="http://schemas.microsoft.com/office/drawing/2014/main" id="{37BEF539-E286-4172-B80F-F6501EA0C8FF}"/>
                  </a:ext>
                </a:extLst>
              </p:cNvPr>
              <p:cNvSpPr/>
              <p:nvPr/>
            </p:nvSpPr>
            <p:spPr>
              <a:xfrm>
                <a:off x="16744033" y="6171979"/>
                <a:ext cx="113399" cy="641160"/>
              </a:xfrm>
              <a:custGeom>
                <a:avLst/>
                <a:gdLst>
                  <a:gd name="connsiteX0" fmla="*/ 5699 w 113399"/>
                  <a:gd name="connsiteY0" fmla="*/ 641161 h 641160"/>
                  <a:gd name="connsiteX1" fmla="*/ 5699 w 113399"/>
                  <a:gd name="connsiteY1" fmla="*/ 641161 h 641160"/>
                  <a:gd name="connsiteX2" fmla="*/ 0 w 113399"/>
                  <a:gd name="connsiteY2" fmla="*/ 632612 h 641160"/>
                  <a:gd name="connsiteX3" fmla="*/ 74089 w 113399"/>
                  <a:gd name="connsiteY3" fmla="*/ 5699 h 641160"/>
                  <a:gd name="connsiteX4" fmla="*/ 76939 w 113399"/>
                  <a:gd name="connsiteY4" fmla="*/ 0 h 641160"/>
                  <a:gd name="connsiteX5" fmla="*/ 82638 w 113399"/>
                  <a:gd name="connsiteY5" fmla="*/ 2849 h 641160"/>
                  <a:gd name="connsiteX6" fmla="*/ 8548 w 113399"/>
                  <a:gd name="connsiteY6" fmla="*/ 638311 h 641160"/>
                  <a:gd name="connsiteX7" fmla="*/ 5699 w 113399"/>
                  <a:gd name="connsiteY7" fmla="*/ 641161 h 641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3399" h="641160">
                    <a:moveTo>
                      <a:pt x="5699" y="641161"/>
                    </a:moveTo>
                    <a:cubicBezTo>
                      <a:pt x="2849" y="641161"/>
                      <a:pt x="2849" y="638311"/>
                      <a:pt x="5699" y="641161"/>
                    </a:cubicBezTo>
                    <a:cubicBezTo>
                      <a:pt x="0" y="638311"/>
                      <a:pt x="0" y="635461"/>
                      <a:pt x="0" y="632612"/>
                    </a:cubicBezTo>
                    <a:cubicBezTo>
                      <a:pt x="176676" y="299208"/>
                      <a:pt x="74089" y="8548"/>
                      <a:pt x="74089" y="5699"/>
                    </a:cubicBezTo>
                    <a:cubicBezTo>
                      <a:pt x="74089" y="2849"/>
                      <a:pt x="74089" y="0"/>
                      <a:pt x="76939" y="0"/>
                    </a:cubicBezTo>
                    <a:cubicBezTo>
                      <a:pt x="79789" y="0"/>
                      <a:pt x="82638" y="0"/>
                      <a:pt x="82638" y="2849"/>
                    </a:cubicBezTo>
                    <a:cubicBezTo>
                      <a:pt x="82638" y="5699"/>
                      <a:pt x="188073" y="299208"/>
                      <a:pt x="8548" y="638311"/>
                    </a:cubicBezTo>
                    <a:cubicBezTo>
                      <a:pt x="8548" y="638311"/>
                      <a:pt x="5699" y="641161"/>
                      <a:pt x="5699" y="641161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8" name="图形 1">
              <a:extLst>
                <a:ext uri="{FF2B5EF4-FFF2-40B4-BE49-F238E27FC236}">
                  <a16:creationId xmlns:a16="http://schemas.microsoft.com/office/drawing/2014/main" id="{84659956-5D8D-4239-99C3-CE80F446C4EA}"/>
                </a:ext>
              </a:extLst>
            </p:cNvPr>
            <p:cNvGrpSpPr/>
            <p:nvPr/>
          </p:nvGrpSpPr>
          <p:grpSpPr>
            <a:xfrm>
              <a:off x="14652288" y="6719103"/>
              <a:ext cx="416177" cy="330553"/>
              <a:chOff x="14652288" y="6719103"/>
              <a:chExt cx="416177" cy="330553"/>
            </a:xfrm>
          </p:grpSpPr>
          <p:sp>
            <p:nvSpPr>
              <p:cNvPr id="172" name="任意多边形: 形状 171">
                <a:extLst>
                  <a:ext uri="{FF2B5EF4-FFF2-40B4-BE49-F238E27FC236}">
                    <a16:creationId xmlns:a16="http://schemas.microsoft.com/office/drawing/2014/main" id="{AE971A99-342B-4E04-9D0D-18882CD5E76D}"/>
                  </a:ext>
                </a:extLst>
              </p:cNvPr>
              <p:cNvSpPr/>
              <p:nvPr/>
            </p:nvSpPr>
            <p:spPr>
              <a:xfrm>
                <a:off x="14652288" y="6801741"/>
                <a:ext cx="372008" cy="247915"/>
              </a:xfrm>
              <a:custGeom>
                <a:avLst/>
                <a:gdLst>
                  <a:gd name="connsiteX0" fmla="*/ 273697 w 372008"/>
                  <a:gd name="connsiteY0" fmla="*/ 0 h 247915"/>
                  <a:gd name="connsiteX1" fmla="*/ 119819 w 372008"/>
                  <a:gd name="connsiteY1" fmla="*/ 111135 h 247915"/>
                  <a:gd name="connsiteX2" fmla="*/ 347787 w 372008"/>
                  <a:gd name="connsiteY2" fmla="*/ 65541 h 247915"/>
                  <a:gd name="connsiteX3" fmla="*/ 370583 w 372008"/>
                  <a:gd name="connsiteY3" fmla="*/ 56992 h 247915"/>
                  <a:gd name="connsiteX4" fmla="*/ 364885 w 372008"/>
                  <a:gd name="connsiteY4" fmla="*/ 131082 h 247915"/>
                  <a:gd name="connsiteX5" fmla="*/ 310742 w 372008"/>
                  <a:gd name="connsiteY5" fmla="*/ 247915 h 247915"/>
                  <a:gd name="connsiteX6" fmla="*/ 287945 w 372008"/>
                  <a:gd name="connsiteY6" fmla="*/ 239367 h 247915"/>
                  <a:gd name="connsiteX7" fmla="*/ 307893 w 372008"/>
                  <a:gd name="connsiteY7" fmla="*/ 136781 h 247915"/>
                  <a:gd name="connsiteX8" fmla="*/ 142615 w 372008"/>
                  <a:gd name="connsiteY8" fmla="*/ 210871 h 247915"/>
                  <a:gd name="connsiteX9" fmla="*/ 2985 w 372008"/>
                  <a:gd name="connsiteY9" fmla="*/ 165277 h 247915"/>
                  <a:gd name="connsiteX10" fmla="*/ 17233 w 372008"/>
                  <a:gd name="connsiteY10" fmla="*/ 125383 h 247915"/>
                  <a:gd name="connsiteX11" fmla="*/ 273697 w 372008"/>
                  <a:gd name="connsiteY11" fmla="*/ 0 h 247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2008" h="247915">
                    <a:moveTo>
                      <a:pt x="273697" y="0"/>
                    </a:moveTo>
                    <a:cubicBezTo>
                      <a:pt x="273697" y="0"/>
                      <a:pt x="108420" y="96887"/>
                      <a:pt x="119819" y="111135"/>
                    </a:cubicBezTo>
                    <a:cubicBezTo>
                      <a:pt x="131217" y="125383"/>
                      <a:pt x="347787" y="65541"/>
                      <a:pt x="347787" y="65541"/>
                    </a:cubicBezTo>
                    <a:lnTo>
                      <a:pt x="370583" y="56992"/>
                    </a:lnTo>
                    <a:cubicBezTo>
                      <a:pt x="370583" y="56992"/>
                      <a:pt x="376283" y="108285"/>
                      <a:pt x="364885" y="131082"/>
                    </a:cubicBezTo>
                    <a:cubicBezTo>
                      <a:pt x="353486" y="153879"/>
                      <a:pt x="310742" y="247915"/>
                      <a:pt x="310742" y="247915"/>
                    </a:cubicBezTo>
                    <a:lnTo>
                      <a:pt x="287945" y="239367"/>
                    </a:lnTo>
                    <a:lnTo>
                      <a:pt x="307893" y="136781"/>
                    </a:lnTo>
                    <a:cubicBezTo>
                      <a:pt x="307893" y="136781"/>
                      <a:pt x="162563" y="210871"/>
                      <a:pt x="142615" y="210871"/>
                    </a:cubicBezTo>
                    <a:cubicBezTo>
                      <a:pt x="122668" y="208021"/>
                      <a:pt x="11534" y="170976"/>
                      <a:pt x="2985" y="165277"/>
                    </a:cubicBezTo>
                    <a:cubicBezTo>
                      <a:pt x="-5564" y="162427"/>
                      <a:pt x="5834" y="125383"/>
                      <a:pt x="17233" y="125383"/>
                    </a:cubicBezTo>
                    <a:cubicBezTo>
                      <a:pt x="97022" y="108285"/>
                      <a:pt x="273697" y="0"/>
                      <a:pt x="273697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3" name="任意多边形: 形状 172">
                <a:extLst>
                  <a:ext uri="{FF2B5EF4-FFF2-40B4-BE49-F238E27FC236}">
                    <a16:creationId xmlns:a16="http://schemas.microsoft.com/office/drawing/2014/main" id="{C4A35751-9E3C-4C36-BC39-245C512A426A}"/>
                  </a:ext>
                </a:extLst>
              </p:cNvPr>
              <p:cNvSpPr/>
              <p:nvPr/>
            </p:nvSpPr>
            <p:spPr>
              <a:xfrm>
                <a:off x="14771250" y="6719103"/>
                <a:ext cx="297215" cy="199469"/>
              </a:xfrm>
              <a:custGeom>
                <a:avLst/>
                <a:gdLst>
                  <a:gd name="connsiteX0" fmla="*/ 180382 w 297215"/>
                  <a:gd name="connsiteY0" fmla="*/ 0 h 199469"/>
                  <a:gd name="connsiteX1" fmla="*/ 154735 w 297215"/>
                  <a:gd name="connsiteY1" fmla="*/ 82638 h 199469"/>
                  <a:gd name="connsiteX2" fmla="*/ 857 w 297215"/>
                  <a:gd name="connsiteY2" fmla="*/ 193773 h 199469"/>
                  <a:gd name="connsiteX3" fmla="*/ 254472 w 297215"/>
                  <a:gd name="connsiteY3" fmla="*/ 139630 h 199469"/>
                  <a:gd name="connsiteX4" fmla="*/ 297216 w 297215"/>
                  <a:gd name="connsiteY4" fmla="*/ 8549 h 199469"/>
                  <a:gd name="connsiteX5" fmla="*/ 180382 w 297215"/>
                  <a:gd name="connsiteY5" fmla="*/ 0 h 199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7215" h="199469">
                    <a:moveTo>
                      <a:pt x="180382" y="0"/>
                    </a:moveTo>
                    <a:lnTo>
                      <a:pt x="154735" y="82638"/>
                    </a:lnTo>
                    <a:cubicBezTo>
                      <a:pt x="154735" y="82638"/>
                      <a:pt x="-13391" y="170976"/>
                      <a:pt x="857" y="193773"/>
                    </a:cubicBezTo>
                    <a:cubicBezTo>
                      <a:pt x="15105" y="216570"/>
                      <a:pt x="243073" y="165277"/>
                      <a:pt x="254472" y="139630"/>
                    </a:cubicBezTo>
                    <a:cubicBezTo>
                      <a:pt x="271569" y="96886"/>
                      <a:pt x="297216" y="8549"/>
                      <a:pt x="297216" y="8549"/>
                    </a:cubicBezTo>
                    <a:lnTo>
                      <a:pt x="180382" y="0"/>
                    </a:ln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9" name="图形 1">
              <a:extLst>
                <a:ext uri="{FF2B5EF4-FFF2-40B4-BE49-F238E27FC236}">
                  <a16:creationId xmlns:a16="http://schemas.microsoft.com/office/drawing/2014/main" id="{52F3685D-5EE5-42BA-A1C7-C2A422D98B25}"/>
                </a:ext>
              </a:extLst>
            </p:cNvPr>
            <p:cNvGrpSpPr/>
            <p:nvPr/>
          </p:nvGrpSpPr>
          <p:grpSpPr>
            <a:xfrm>
              <a:off x="13677660" y="6133926"/>
              <a:ext cx="473233" cy="280269"/>
              <a:chOff x="13677660" y="6133926"/>
              <a:chExt cx="473233" cy="280269"/>
            </a:xfrm>
          </p:grpSpPr>
          <p:sp>
            <p:nvSpPr>
              <p:cNvPr id="170" name="任意多边形: 形状 169">
                <a:extLst>
                  <a:ext uri="{FF2B5EF4-FFF2-40B4-BE49-F238E27FC236}">
                    <a16:creationId xmlns:a16="http://schemas.microsoft.com/office/drawing/2014/main" id="{73E68BB2-FD13-4F38-86A9-EC5830A531BA}"/>
                  </a:ext>
                </a:extLst>
              </p:cNvPr>
              <p:cNvSpPr/>
              <p:nvPr/>
            </p:nvSpPr>
            <p:spPr>
              <a:xfrm>
                <a:off x="13677660" y="6133926"/>
                <a:ext cx="356399" cy="280269"/>
              </a:xfrm>
              <a:custGeom>
                <a:avLst/>
                <a:gdLst>
                  <a:gd name="connsiteX0" fmla="*/ 313656 w 356399"/>
                  <a:gd name="connsiteY0" fmla="*/ 66549 h 280269"/>
                  <a:gd name="connsiteX1" fmla="*/ 125582 w 356399"/>
                  <a:gd name="connsiteY1" fmla="*/ 52301 h 280269"/>
                  <a:gd name="connsiteX2" fmla="*/ 333602 w 356399"/>
                  <a:gd name="connsiteY2" fmla="*/ 160586 h 280269"/>
                  <a:gd name="connsiteX3" fmla="*/ 356400 w 356399"/>
                  <a:gd name="connsiteY3" fmla="*/ 169134 h 280269"/>
                  <a:gd name="connsiteX4" fmla="*/ 305106 w 356399"/>
                  <a:gd name="connsiteY4" fmla="*/ 223277 h 280269"/>
                  <a:gd name="connsiteX5" fmla="*/ 188273 w 356399"/>
                  <a:gd name="connsiteY5" fmla="*/ 280269 h 280269"/>
                  <a:gd name="connsiteX6" fmla="*/ 176874 w 356399"/>
                  <a:gd name="connsiteY6" fmla="*/ 260322 h 280269"/>
                  <a:gd name="connsiteX7" fmla="*/ 256664 w 356399"/>
                  <a:gd name="connsiteY7" fmla="*/ 194781 h 280269"/>
                  <a:gd name="connsiteX8" fmla="*/ 79988 w 356399"/>
                  <a:gd name="connsiteY8" fmla="*/ 146338 h 280269"/>
                  <a:gd name="connsiteX9" fmla="*/ 199 w 356399"/>
                  <a:gd name="connsiteY9" fmla="*/ 23805 h 280269"/>
                  <a:gd name="connsiteX10" fmla="*/ 37244 w 356399"/>
                  <a:gd name="connsiteY10" fmla="*/ 1008 h 280269"/>
                  <a:gd name="connsiteX11" fmla="*/ 313656 w 356399"/>
                  <a:gd name="connsiteY11" fmla="*/ 66549 h 280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6399" h="280269">
                    <a:moveTo>
                      <a:pt x="313656" y="66549"/>
                    </a:moveTo>
                    <a:cubicBezTo>
                      <a:pt x="313656" y="66549"/>
                      <a:pt x="122732" y="35203"/>
                      <a:pt x="125582" y="52301"/>
                    </a:cubicBezTo>
                    <a:cubicBezTo>
                      <a:pt x="125582" y="69398"/>
                      <a:pt x="333602" y="160586"/>
                      <a:pt x="333602" y="160586"/>
                    </a:cubicBezTo>
                    <a:lnTo>
                      <a:pt x="356400" y="169134"/>
                    </a:lnTo>
                    <a:cubicBezTo>
                      <a:pt x="356400" y="169134"/>
                      <a:pt x="327904" y="211879"/>
                      <a:pt x="305106" y="223277"/>
                    </a:cubicBezTo>
                    <a:cubicBezTo>
                      <a:pt x="282310" y="231826"/>
                      <a:pt x="188273" y="280269"/>
                      <a:pt x="188273" y="280269"/>
                    </a:cubicBezTo>
                    <a:lnTo>
                      <a:pt x="176874" y="260322"/>
                    </a:lnTo>
                    <a:lnTo>
                      <a:pt x="256664" y="194781"/>
                    </a:lnTo>
                    <a:cubicBezTo>
                      <a:pt x="256664" y="194781"/>
                      <a:pt x="97085" y="160586"/>
                      <a:pt x="79988" y="146338"/>
                    </a:cubicBezTo>
                    <a:cubicBezTo>
                      <a:pt x="65740" y="132090"/>
                      <a:pt x="3049" y="32353"/>
                      <a:pt x="199" y="23805"/>
                    </a:cubicBezTo>
                    <a:cubicBezTo>
                      <a:pt x="-2651" y="15256"/>
                      <a:pt x="25845" y="-4691"/>
                      <a:pt x="37244" y="1008"/>
                    </a:cubicBezTo>
                    <a:cubicBezTo>
                      <a:pt x="108484" y="38053"/>
                      <a:pt x="313656" y="66549"/>
                      <a:pt x="313656" y="66549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1" name="任意多边形: 形状 170">
                <a:extLst>
                  <a:ext uri="{FF2B5EF4-FFF2-40B4-BE49-F238E27FC236}">
                    <a16:creationId xmlns:a16="http://schemas.microsoft.com/office/drawing/2014/main" id="{85D1B7E0-2A60-4637-A1C3-C54A225170EF}"/>
                  </a:ext>
                </a:extLst>
              </p:cNvPr>
              <p:cNvSpPr/>
              <p:nvPr/>
            </p:nvSpPr>
            <p:spPr>
              <a:xfrm>
                <a:off x="13803212" y="6152031"/>
                <a:ext cx="347681" cy="152850"/>
              </a:xfrm>
              <a:custGeom>
                <a:avLst/>
                <a:gdLst>
                  <a:gd name="connsiteX0" fmla="*/ 259343 w 347681"/>
                  <a:gd name="connsiteY0" fmla="*/ 0 h 152850"/>
                  <a:gd name="connsiteX1" fmla="*/ 188103 w 347681"/>
                  <a:gd name="connsiteY1" fmla="*/ 48444 h 152850"/>
                  <a:gd name="connsiteX2" fmla="*/ 29 w 347681"/>
                  <a:gd name="connsiteY2" fmla="*/ 34196 h 152850"/>
                  <a:gd name="connsiteX3" fmla="*/ 230847 w 347681"/>
                  <a:gd name="connsiteY3" fmla="*/ 151029 h 152850"/>
                  <a:gd name="connsiteX4" fmla="*/ 347681 w 347681"/>
                  <a:gd name="connsiteY4" fmla="*/ 74090 h 152850"/>
                  <a:gd name="connsiteX5" fmla="*/ 259343 w 347681"/>
                  <a:gd name="connsiteY5" fmla="*/ 0 h 152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7681" h="152850">
                    <a:moveTo>
                      <a:pt x="259343" y="0"/>
                    </a:moveTo>
                    <a:lnTo>
                      <a:pt x="188103" y="48444"/>
                    </a:lnTo>
                    <a:cubicBezTo>
                      <a:pt x="188103" y="48444"/>
                      <a:pt x="29" y="8549"/>
                      <a:pt x="29" y="34196"/>
                    </a:cubicBezTo>
                    <a:cubicBezTo>
                      <a:pt x="-2821" y="59842"/>
                      <a:pt x="205201" y="168127"/>
                      <a:pt x="230847" y="151029"/>
                    </a:cubicBezTo>
                    <a:cubicBezTo>
                      <a:pt x="270741" y="128232"/>
                      <a:pt x="347681" y="74090"/>
                      <a:pt x="347681" y="74090"/>
                    </a:cubicBezTo>
                    <a:lnTo>
                      <a:pt x="259343" y="0"/>
                    </a:ln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CE0F556E-BF06-492F-8154-77A04007D3E4}"/>
                </a:ext>
              </a:extLst>
            </p:cNvPr>
            <p:cNvSpPr/>
            <p:nvPr/>
          </p:nvSpPr>
          <p:spPr>
            <a:xfrm>
              <a:off x="15969485" y="3593087"/>
              <a:ext cx="592172" cy="953358"/>
            </a:xfrm>
            <a:custGeom>
              <a:avLst/>
              <a:gdLst>
                <a:gd name="connsiteX0" fmla="*/ 147635 w 592172"/>
                <a:gd name="connsiteY0" fmla="*/ 937520 h 953358"/>
                <a:gd name="connsiteX1" fmla="*/ 47899 w 592172"/>
                <a:gd name="connsiteY1" fmla="*/ 720950 h 953358"/>
                <a:gd name="connsiteX2" fmla="*/ 406948 w 592172"/>
                <a:gd name="connsiteY2" fmla="*/ 501530 h 953358"/>
                <a:gd name="connsiteX3" fmla="*/ 384152 w 592172"/>
                <a:gd name="connsiteY3" fmla="*/ 8549 h 953358"/>
                <a:gd name="connsiteX4" fmla="*/ 492436 w 592172"/>
                <a:gd name="connsiteY4" fmla="*/ 0 h 953358"/>
                <a:gd name="connsiteX5" fmla="*/ 592172 w 592172"/>
                <a:gd name="connsiteY5" fmla="*/ 572770 h 953358"/>
                <a:gd name="connsiteX6" fmla="*/ 147635 w 592172"/>
                <a:gd name="connsiteY6" fmla="*/ 937520 h 953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2172" h="953358">
                  <a:moveTo>
                    <a:pt x="147635" y="937520"/>
                  </a:moveTo>
                  <a:cubicBezTo>
                    <a:pt x="-6245" y="1011610"/>
                    <a:pt x="-40439" y="806438"/>
                    <a:pt x="47899" y="720950"/>
                  </a:cubicBezTo>
                  <a:cubicBezTo>
                    <a:pt x="136236" y="638311"/>
                    <a:pt x="344257" y="547124"/>
                    <a:pt x="406948" y="501530"/>
                  </a:cubicBezTo>
                  <a:cubicBezTo>
                    <a:pt x="435444" y="416042"/>
                    <a:pt x="384152" y="8549"/>
                    <a:pt x="384152" y="8549"/>
                  </a:cubicBezTo>
                  <a:cubicBezTo>
                    <a:pt x="412648" y="2850"/>
                    <a:pt x="492436" y="0"/>
                    <a:pt x="492436" y="0"/>
                  </a:cubicBezTo>
                  <a:cubicBezTo>
                    <a:pt x="492436" y="0"/>
                    <a:pt x="592172" y="447388"/>
                    <a:pt x="592172" y="572770"/>
                  </a:cubicBezTo>
                  <a:cubicBezTo>
                    <a:pt x="589323" y="638311"/>
                    <a:pt x="310062" y="857731"/>
                    <a:pt x="147635" y="937520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1" name="图形 1">
              <a:extLst>
                <a:ext uri="{FF2B5EF4-FFF2-40B4-BE49-F238E27FC236}">
                  <a16:creationId xmlns:a16="http://schemas.microsoft.com/office/drawing/2014/main" id="{E1D5EC7F-8845-47FA-8EAD-6A2C60A0DCC0}"/>
                </a:ext>
              </a:extLst>
            </p:cNvPr>
            <p:cNvGrpSpPr/>
            <p:nvPr/>
          </p:nvGrpSpPr>
          <p:grpSpPr>
            <a:xfrm>
              <a:off x="16336115" y="3414274"/>
              <a:ext cx="251189" cy="213008"/>
              <a:chOff x="16336115" y="3414274"/>
              <a:chExt cx="251189" cy="213008"/>
            </a:xfrm>
          </p:grpSpPr>
          <p:grpSp>
            <p:nvGrpSpPr>
              <p:cNvPr id="164" name="图形 1">
                <a:extLst>
                  <a:ext uri="{FF2B5EF4-FFF2-40B4-BE49-F238E27FC236}">
                    <a16:creationId xmlns:a16="http://schemas.microsoft.com/office/drawing/2014/main" id="{95420C6A-471C-401C-A31D-F50ABEF04CA5}"/>
                  </a:ext>
                </a:extLst>
              </p:cNvPr>
              <p:cNvGrpSpPr/>
              <p:nvPr/>
            </p:nvGrpSpPr>
            <p:grpSpPr>
              <a:xfrm>
                <a:off x="16336115" y="3414274"/>
                <a:ext cx="249408" cy="213008"/>
                <a:chOff x="16336115" y="3414274"/>
                <a:chExt cx="249408" cy="213008"/>
              </a:xfrm>
            </p:grpSpPr>
            <p:sp>
              <p:nvSpPr>
                <p:cNvPr id="167" name="任意多边形: 形状 166">
                  <a:extLst>
                    <a:ext uri="{FF2B5EF4-FFF2-40B4-BE49-F238E27FC236}">
                      <a16:creationId xmlns:a16="http://schemas.microsoft.com/office/drawing/2014/main" id="{B42960D4-4482-4710-8161-11FD6717D140}"/>
                    </a:ext>
                  </a:extLst>
                </p:cNvPr>
                <p:cNvSpPr/>
                <p:nvPr/>
              </p:nvSpPr>
              <p:spPr>
                <a:xfrm>
                  <a:off x="16336115" y="3415096"/>
                  <a:ext cx="245490" cy="212186"/>
                </a:xfrm>
                <a:custGeom>
                  <a:avLst/>
                  <a:gdLst>
                    <a:gd name="connsiteX0" fmla="*/ 222694 w 245490"/>
                    <a:gd name="connsiteY0" fmla="*/ 86804 h 212186"/>
                    <a:gd name="connsiteX1" fmla="*/ 208446 w 245490"/>
                    <a:gd name="connsiteY1" fmla="*/ 81104 h 212186"/>
                    <a:gd name="connsiteX2" fmla="*/ 202746 w 245490"/>
                    <a:gd name="connsiteY2" fmla="*/ 83954 h 212186"/>
                    <a:gd name="connsiteX3" fmla="*/ 219844 w 245490"/>
                    <a:gd name="connsiteY3" fmla="*/ 69706 h 212186"/>
                    <a:gd name="connsiteX4" fmla="*/ 245490 w 245490"/>
                    <a:gd name="connsiteY4" fmla="*/ 41210 h 212186"/>
                    <a:gd name="connsiteX5" fmla="*/ 236942 w 245490"/>
                    <a:gd name="connsiteY5" fmla="*/ 38360 h 212186"/>
                    <a:gd name="connsiteX6" fmla="*/ 234092 w 245490"/>
                    <a:gd name="connsiteY6" fmla="*/ 38360 h 212186"/>
                    <a:gd name="connsiteX7" fmla="*/ 239791 w 245490"/>
                    <a:gd name="connsiteY7" fmla="*/ 18413 h 212186"/>
                    <a:gd name="connsiteX8" fmla="*/ 222694 w 245490"/>
                    <a:gd name="connsiteY8" fmla="*/ 12714 h 212186"/>
                    <a:gd name="connsiteX9" fmla="*/ 185648 w 245490"/>
                    <a:gd name="connsiteY9" fmla="*/ 35511 h 212186"/>
                    <a:gd name="connsiteX10" fmla="*/ 134356 w 245490"/>
                    <a:gd name="connsiteY10" fmla="*/ 69706 h 212186"/>
                    <a:gd name="connsiteX11" fmla="*/ 165702 w 245490"/>
                    <a:gd name="connsiteY11" fmla="*/ 35511 h 212186"/>
                    <a:gd name="connsiteX12" fmla="*/ 188498 w 245490"/>
                    <a:gd name="connsiteY12" fmla="*/ 7015 h 212186"/>
                    <a:gd name="connsiteX13" fmla="*/ 162852 w 245490"/>
                    <a:gd name="connsiteY13" fmla="*/ 7015 h 212186"/>
                    <a:gd name="connsiteX14" fmla="*/ 54566 w 245490"/>
                    <a:gd name="connsiteY14" fmla="*/ 109600 h 212186"/>
                    <a:gd name="connsiteX15" fmla="*/ 51717 w 245490"/>
                    <a:gd name="connsiteY15" fmla="*/ 52608 h 212186"/>
                    <a:gd name="connsiteX16" fmla="*/ 23221 w 245490"/>
                    <a:gd name="connsiteY16" fmla="*/ 46909 h 212186"/>
                    <a:gd name="connsiteX17" fmla="*/ 3274 w 245490"/>
                    <a:gd name="connsiteY17" fmla="*/ 177991 h 212186"/>
                    <a:gd name="connsiteX18" fmla="*/ 68814 w 245490"/>
                    <a:gd name="connsiteY18" fmla="*/ 212186 h 212186"/>
                    <a:gd name="connsiteX19" fmla="*/ 157152 w 245490"/>
                    <a:gd name="connsiteY19" fmla="*/ 149495 h 212186"/>
                    <a:gd name="connsiteX20" fmla="*/ 222694 w 245490"/>
                    <a:gd name="connsiteY20" fmla="*/ 86804 h 212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45490" h="212186">
                      <a:moveTo>
                        <a:pt x="222694" y="86804"/>
                      </a:moveTo>
                      <a:cubicBezTo>
                        <a:pt x="219844" y="81104"/>
                        <a:pt x="214144" y="81104"/>
                        <a:pt x="208446" y="81104"/>
                      </a:cubicBezTo>
                      <a:cubicBezTo>
                        <a:pt x="205596" y="81104"/>
                        <a:pt x="205596" y="81104"/>
                        <a:pt x="202746" y="83954"/>
                      </a:cubicBezTo>
                      <a:cubicBezTo>
                        <a:pt x="208446" y="81104"/>
                        <a:pt x="214144" y="75405"/>
                        <a:pt x="219844" y="69706"/>
                      </a:cubicBezTo>
                      <a:cubicBezTo>
                        <a:pt x="231242" y="61157"/>
                        <a:pt x="245490" y="52608"/>
                        <a:pt x="245490" y="41210"/>
                      </a:cubicBezTo>
                      <a:cubicBezTo>
                        <a:pt x="245490" y="41210"/>
                        <a:pt x="239791" y="38360"/>
                        <a:pt x="236942" y="38360"/>
                      </a:cubicBezTo>
                      <a:cubicBezTo>
                        <a:pt x="236942" y="38360"/>
                        <a:pt x="236942" y="38360"/>
                        <a:pt x="234092" y="38360"/>
                      </a:cubicBezTo>
                      <a:cubicBezTo>
                        <a:pt x="239791" y="32661"/>
                        <a:pt x="242640" y="24112"/>
                        <a:pt x="239791" y="18413"/>
                      </a:cubicBezTo>
                      <a:cubicBezTo>
                        <a:pt x="236942" y="12714"/>
                        <a:pt x="231242" y="9864"/>
                        <a:pt x="222694" y="12714"/>
                      </a:cubicBezTo>
                      <a:cubicBezTo>
                        <a:pt x="208446" y="18413"/>
                        <a:pt x="197047" y="29811"/>
                        <a:pt x="185648" y="35511"/>
                      </a:cubicBezTo>
                      <a:cubicBezTo>
                        <a:pt x="168551" y="46909"/>
                        <a:pt x="151454" y="58307"/>
                        <a:pt x="134356" y="69706"/>
                      </a:cubicBezTo>
                      <a:cubicBezTo>
                        <a:pt x="145754" y="58307"/>
                        <a:pt x="157152" y="46909"/>
                        <a:pt x="165702" y="35511"/>
                      </a:cubicBezTo>
                      <a:cubicBezTo>
                        <a:pt x="171400" y="26962"/>
                        <a:pt x="185648" y="18413"/>
                        <a:pt x="188498" y="7015"/>
                      </a:cubicBezTo>
                      <a:cubicBezTo>
                        <a:pt x="191348" y="-7233"/>
                        <a:pt x="171400" y="4165"/>
                        <a:pt x="162852" y="7015"/>
                      </a:cubicBezTo>
                      <a:cubicBezTo>
                        <a:pt x="117258" y="32661"/>
                        <a:pt x="91612" y="78255"/>
                        <a:pt x="54566" y="109600"/>
                      </a:cubicBezTo>
                      <a:cubicBezTo>
                        <a:pt x="57416" y="95352"/>
                        <a:pt x="54566" y="72556"/>
                        <a:pt x="51717" y="52608"/>
                      </a:cubicBezTo>
                      <a:cubicBezTo>
                        <a:pt x="48868" y="35511"/>
                        <a:pt x="23221" y="35511"/>
                        <a:pt x="23221" y="46909"/>
                      </a:cubicBezTo>
                      <a:cubicBezTo>
                        <a:pt x="26070" y="98202"/>
                        <a:pt x="-10974" y="149495"/>
                        <a:pt x="3274" y="177991"/>
                      </a:cubicBezTo>
                      <a:cubicBezTo>
                        <a:pt x="11822" y="197938"/>
                        <a:pt x="46018" y="212186"/>
                        <a:pt x="68814" y="212186"/>
                      </a:cubicBezTo>
                      <a:cubicBezTo>
                        <a:pt x="103010" y="209336"/>
                        <a:pt x="131506" y="172292"/>
                        <a:pt x="157152" y="149495"/>
                      </a:cubicBezTo>
                      <a:cubicBezTo>
                        <a:pt x="177100" y="140946"/>
                        <a:pt x="228392" y="98202"/>
                        <a:pt x="222694" y="86804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8" name="任意多边形: 形状 167">
                  <a:extLst>
                    <a:ext uri="{FF2B5EF4-FFF2-40B4-BE49-F238E27FC236}">
                      <a16:creationId xmlns:a16="http://schemas.microsoft.com/office/drawing/2014/main" id="{F1FC9C35-4FF4-4228-92B8-F687AD0B42C1}"/>
                    </a:ext>
                  </a:extLst>
                </p:cNvPr>
                <p:cNvSpPr/>
                <p:nvPr/>
              </p:nvSpPr>
              <p:spPr>
                <a:xfrm>
                  <a:off x="16394244" y="3531979"/>
                  <a:ext cx="19234" cy="49709"/>
                </a:xfrm>
                <a:custGeom>
                  <a:avLst/>
                  <a:gdLst>
                    <a:gd name="connsiteX0" fmla="*/ 4987 w 19234"/>
                    <a:gd name="connsiteY0" fmla="*/ 49710 h 49709"/>
                    <a:gd name="connsiteX1" fmla="*/ 2137 w 19234"/>
                    <a:gd name="connsiteY1" fmla="*/ 49710 h 49709"/>
                    <a:gd name="connsiteX2" fmla="*/ 2137 w 19234"/>
                    <a:gd name="connsiteY2" fmla="*/ 41161 h 49709"/>
                    <a:gd name="connsiteX3" fmla="*/ 4987 w 19234"/>
                    <a:gd name="connsiteY3" fmla="*/ 9815 h 49709"/>
                    <a:gd name="connsiteX4" fmla="*/ 4987 w 19234"/>
                    <a:gd name="connsiteY4" fmla="*/ 1266 h 49709"/>
                    <a:gd name="connsiteX5" fmla="*/ 13536 w 19234"/>
                    <a:gd name="connsiteY5" fmla="*/ 1266 h 49709"/>
                    <a:gd name="connsiteX6" fmla="*/ 7837 w 19234"/>
                    <a:gd name="connsiteY6" fmla="*/ 46860 h 49709"/>
                    <a:gd name="connsiteX7" fmla="*/ 4987 w 19234"/>
                    <a:gd name="connsiteY7" fmla="*/ 49710 h 497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9234" h="49709">
                      <a:moveTo>
                        <a:pt x="4987" y="49710"/>
                      </a:moveTo>
                      <a:cubicBezTo>
                        <a:pt x="4987" y="49710"/>
                        <a:pt x="2137" y="49710"/>
                        <a:pt x="2137" y="49710"/>
                      </a:cubicBezTo>
                      <a:cubicBezTo>
                        <a:pt x="-712" y="46860"/>
                        <a:pt x="-712" y="44011"/>
                        <a:pt x="2137" y="41161"/>
                      </a:cubicBezTo>
                      <a:cubicBezTo>
                        <a:pt x="16385" y="24063"/>
                        <a:pt x="7837" y="9815"/>
                        <a:pt x="4987" y="9815"/>
                      </a:cubicBezTo>
                      <a:cubicBezTo>
                        <a:pt x="2137" y="6966"/>
                        <a:pt x="4987" y="4116"/>
                        <a:pt x="4987" y="1266"/>
                      </a:cubicBezTo>
                      <a:cubicBezTo>
                        <a:pt x="7837" y="-1583"/>
                        <a:pt x="10686" y="1266"/>
                        <a:pt x="13536" y="1266"/>
                      </a:cubicBezTo>
                      <a:cubicBezTo>
                        <a:pt x="19235" y="9815"/>
                        <a:pt x="24934" y="26913"/>
                        <a:pt x="7837" y="46860"/>
                      </a:cubicBezTo>
                      <a:cubicBezTo>
                        <a:pt x="7837" y="49710"/>
                        <a:pt x="7837" y="49710"/>
                        <a:pt x="4987" y="49710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9" name="任意多边形: 形状 168">
                  <a:extLst>
                    <a:ext uri="{FF2B5EF4-FFF2-40B4-BE49-F238E27FC236}">
                      <a16:creationId xmlns:a16="http://schemas.microsoft.com/office/drawing/2014/main" id="{55494D68-2D56-4AB7-8CD3-65E7F4A983EC}"/>
                    </a:ext>
                  </a:extLst>
                </p:cNvPr>
                <p:cNvSpPr/>
                <p:nvPr/>
              </p:nvSpPr>
              <p:spPr>
                <a:xfrm>
                  <a:off x="16465484" y="3414274"/>
                  <a:ext cx="120039" cy="76226"/>
                </a:xfrm>
                <a:custGeom>
                  <a:avLst/>
                  <a:gdLst>
                    <a:gd name="connsiteX0" fmla="*/ 4987 w 120039"/>
                    <a:gd name="connsiteY0" fmla="*/ 76227 h 76226"/>
                    <a:gd name="connsiteX1" fmla="*/ 2137 w 120039"/>
                    <a:gd name="connsiteY1" fmla="*/ 73377 h 76226"/>
                    <a:gd name="connsiteX2" fmla="*/ 2137 w 120039"/>
                    <a:gd name="connsiteY2" fmla="*/ 64828 h 76226"/>
                    <a:gd name="connsiteX3" fmla="*/ 56280 w 120039"/>
                    <a:gd name="connsiteY3" fmla="*/ 2137 h 76226"/>
                    <a:gd name="connsiteX4" fmla="*/ 64829 w 120039"/>
                    <a:gd name="connsiteY4" fmla="*/ 2137 h 76226"/>
                    <a:gd name="connsiteX5" fmla="*/ 64829 w 120039"/>
                    <a:gd name="connsiteY5" fmla="*/ 10686 h 76226"/>
                    <a:gd name="connsiteX6" fmla="*/ 44881 w 120039"/>
                    <a:gd name="connsiteY6" fmla="*/ 36332 h 76226"/>
                    <a:gd name="connsiteX7" fmla="*/ 104723 w 120039"/>
                    <a:gd name="connsiteY7" fmla="*/ 4987 h 76226"/>
                    <a:gd name="connsiteX8" fmla="*/ 118971 w 120039"/>
                    <a:gd name="connsiteY8" fmla="*/ 16385 h 76226"/>
                    <a:gd name="connsiteX9" fmla="*/ 110422 w 120039"/>
                    <a:gd name="connsiteY9" fmla="*/ 39182 h 76226"/>
                    <a:gd name="connsiteX10" fmla="*/ 101873 w 120039"/>
                    <a:gd name="connsiteY10" fmla="*/ 39182 h 76226"/>
                    <a:gd name="connsiteX11" fmla="*/ 101873 w 120039"/>
                    <a:gd name="connsiteY11" fmla="*/ 30633 h 76226"/>
                    <a:gd name="connsiteX12" fmla="*/ 107573 w 120039"/>
                    <a:gd name="connsiteY12" fmla="*/ 19235 h 76226"/>
                    <a:gd name="connsiteX13" fmla="*/ 101873 w 120039"/>
                    <a:gd name="connsiteY13" fmla="*/ 16385 h 76226"/>
                    <a:gd name="connsiteX14" fmla="*/ 7837 w 120039"/>
                    <a:gd name="connsiteY14" fmla="*/ 76227 h 76226"/>
                    <a:gd name="connsiteX15" fmla="*/ 4987 w 120039"/>
                    <a:gd name="connsiteY15" fmla="*/ 76227 h 76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20039" h="76226">
                      <a:moveTo>
                        <a:pt x="4987" y="76227"/>
                      </a:moveTo>
                      <a:cubicBezTo>
                        <a:pt x="2137" y="76227"/>
                        <a:pt x="2137" y="76227"/>
                        <a:pt x="2137" y="73377"/>
                      </a:cubicBezTo>
                      <a:cubicBezTo>
                        <a:pt x="-712" y="70528"/>
                        <a:pt x="-712" y="67678"/>
                        <a:pt x="2137" y="64828"/>
                      </a:cubicBezTo>
                      <a:cubicBezTo>
                        <a:pt x="24934" y="44881"/>
                        <a:pt x="56280" y="2137"/>
                        <a:pt x="56280" y="2137"/>
                      </a:cubicBezTo>
                      <a:cubicBezTo>
                        <a:pt x="59129" y="-712"/>
                        <a:pt x="61979" y="-712"/>
                        <a:pt x="64829" y="2137"/>
                      </a:cubicBezTo>
                      <a:cubicBezTo>
                        <a:pt x="67678" y="4987"/>
                        <a:pt x="67678" y="7836"/>
                        <a:pt x="64829" y="10686"/>
                      </a:cubicBezTo>
                      <a:cubicBezTo>
                        <a:pt x="64829" y="10686"/>
                        <a:pt x="56280" y="22084"/>
                        <a:pt x="44881" y="36332"/>
                      </a:cubicBezTo>
                      <a:cubicBezTo>
                        <a:pt x="70528" y="19235"/>
                        <a:pt x="96174" y="2137"/>
                        <a:pt x="104723" y="4987"/>
                      </a:cubicBezTo>
                      <a:cubicBezTo>
                        <a:pt x="116122" y="7836"/>
                        <a:pt x="118971" y="13536"/>
                        <a:pt x="118971" y="16385"/>
                      </a:cubicBezTo>
                      <a:cubicBezTo>
                        <a:pt x="121821" y="24934"/>
                        <a:pt x="118971" y="33483"/>
                        <a:pt x="110422" y="39182"/>
                      </a:cubicBezTo>
                      <a:cubicBezTo>
                        <a:pt x="107573" y="42032"/>
                        <a:pt x="104723" y="42032"/>
                        <a:pt x="101873" y="39182"/>
                      </a:cubicBezTo>
                      <a:cubicBezTo>
                        <a:pt x="99024" y="36332"/>
                        <a:pt x="99024" y="33483"/>
                        <a:pt x="101873" y="30633"/>
                      </a:cubicBezTo>
                      <a:cubicBezTo>
                        <a:pt x="107573" y="24934"/>
                        <a:pt x="107573" y="22084"/>
                        <a:pt x="107573" y="19235"/>
                      </a:cubicBezTo>
                      <a:cubicBezTo>
                        <a:pt x="107573" y="16385"/>
                        <a:pt x="104723" y="16385"/>
                        <a:pt x="101873" y="16385"/>
                      </a:cubicBezTo>
                      <a:cubicBezTo>
                        <a:pt x="93325" y="16385"/>
                        <a:pt x="47731" y="47731"/>
                        <a:pt x="7837" y="76227"/>
                      </a:cubicBezTo>
                      <a:cubicBezTo>
                        <a:pt x="7837" y="76227"/>
                        <a:pt x="7837" y="76227"/>
                        <a:pt x="4987" y="76227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771DDE9E-0E2B-4DC7-B987-EF8420C7835F}"/>
                  </a:ext>
                </a:extLst>
              </p:cNvPr>
              <p:cNvSpPr/>
              <p:nvPr/>
            </p:nvSpPr>
            <p:spPr>
              <a:xfrm>
                <a:off x="16469291" y="3489383"/>
                <a:ext cx="92917" cy="78057"/>
              </a:xfrm>
              <a:custGeom>
                <a:avLst/>
                <a:gdLst>
                  <a:gd name="connsiteX0" fmla="*/ 35375 w 92917"/>
                  <a:gd name="connsiteY0" fmla="*/ 78057 h 78057"/>
                  <a:gd name="connsiteX1" fmla="*/ 29676 w 92917"/>
                  <a:gd name="connsiteY1" fmla="*/ 75208 h 78057"/>
                  <a:gd name="connsiteX2" fmla="*/ 29676 w 92917"/>
                  <a:gd name="connsiteY2" fmla="*/ 66659 h 78057"/>
                  <a:gd name="connsiteX3" fmla="*/ 80969 w 92917"/>
                  <a:gd name="connsiteY3" fmla="*/ 12516 h 78057"/>
                  <a:gd name="connsiteX4" fmla="*/ 78119 w 92917"/>
                  <a:gd name="connsiteY4" fmla="*/ 9667 h 78057"/>
                  <a:gd name="connsiteX5" fmla="*/ 63871 w 92917"/>
                  <a:gd name="connsiteY5" fmla="*/ 15366 h 78057"/>
                  <a:gd name="connsiteX6" fmla="*/ 41075 w 92917"/>
                  <a:gd name="connsiteY6" fmla="*/ 35313 h 78057"/>
                  <a:gd name="connsiteX7" fmla="*/ 9729 w 92917"/>
                  <a:gd name="connsiteY7" fmla="*/ 60960 h 78057"/>
                  <a:gd name="connsiteX8" fmla="*/ 1180 w 92917"/>
                  <a:gd name="connsiteY8" fmla="*/ 58110 h 78057"/>
                  <a:gd name="connsiteX9" fmla="*/ 4030 w 92917"/>
                  <a:gd name="connsiteY9" fmla="*/ 49561 h 78057"/>
                  <a:gd name="connsiteX10" fmla="*/ 35375 w 92917"/>
                  <a:gd name="connsiteY10" fmla="*/ 26764 h 78057"/>
                  <a:gd name="connsiteX11" fmla="*/ 61022 w 92917"/>
                  <a:gd name="connsiteY11" fmla="*/ 6817 h 78057"/>
                  <a:gd name="connsiteX12" fmla="*/ 83819 w 92917"/>
                  <a:gd name="connsiteY12" fmla="*/ 1118 h 78057"/>
                  <a:gd name="connsiteX13" fmla="*/ 92367 w 92917"/>
                  <a:gd name="connsiteY13" fmla="*/ 9667 h 78057"/>
                  <a:gd name="connsiteX14" fmla="*/ 35375 w 92917"/>
                  <a:gd name="connsiteY14" fmla="*/ 75208 h 78057"/>
                  <a:gd name="connsiteX15" fmla="*/ 35375 w 92917"/>
                  <a:gd name="connsiteY15" fmla="*/ 78057 h 78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2917" h="78057">
                    <a:moveTo>
                      <a:pt x="35375" y="78057"/>
                    </a:moveTo>
                    <a:cubicBezTo>
                      <a:pt x="32526" y="78057"/>
                      <a:pt x="32526" y="78057"/>
                      <a:pt x="29676" y="75208"/>
                    </a:cubicBezTo>
                    <a:cubicBezTo>
                      <a:pt x="26827" y="72358"/>
                      <a:pt x="26827" y="69508"/>
                      <a:pt x="29676" y="66659"/>
                    </a:cubicBezTo>
                    <a:cubicBezTo>
                      <a:pt x="58173" y="43862"/>
                      <a:pt x="80969" y="18215"/>
                      <a:pt x="80969" y="12516"/>
                    </a:cubicBezTo>
                    <a:cubicBezTo>
                      <a:pt x="80969" y="9667"/>
                      <a:pt x="78119" y="9667"/>
                      <a:pt x="78119" y="9667"/>
                    </a:cubicBezTo>
                    <a:cubicBezTo>
                      <a:pt x="75270" y="9667"/>
                      <a:pt x="72421" y="9667"/>
                      <a:pt x="63871" y="15366"/>
                    </a:cubicBezTo>
                    <a:cubicBezTo>
                      <a:pt x="58173" y="18215"/>
                      <a:pt x="49623" y="26764"/>
                      <a:pt x="41075" y="35313"/>
                    </a:cubicBezTo>
                    <a:cubicBezTo>
                      <a:pt x="26827" y="46712"/>
                      <a:pt x="15428" y="58110"/>
                      <a:pt x="9729" y="60960"/>
                    </a:cubicBezTo>
                    <a:cubicBezTo>
                      <a:pt x="6879" y="60960"/>
                      <a:pt x="4030" y="60960"/>
                      <a:pt x="1180" y="58110"/>
                    </a:cubicBezTo>
                    <a:cubicBezTo>
                      <a:pt x="-1669" y="55260"/>
                      <a:pt x="1180" y="52411"/>
                      <a:pt x="4030" y="49561"/>
                    </a:cubicBezTo>
                    <a:cubicBezTo>
                      <a:pt x="9729" y="46712"/>
                      <a:pt x="23977" y="35313"/>
                      <a:pt x="35375" y="26764"/>
                    </a:cubicBezTo>
                    <a:cubicBezTo>
                      <a:pt x="46774" y="18215"/>
                      <a:pt x="55323" y="9667"/>
                      <a:pt x="61022" y="6817"/>
                    </a:cubicBezTo>
                    <a:cubicBezTo>
                      <a:pt x="69571" y="1118"/>
                      <a:pt x="78119" y="-1732"/>
                      <a:pt x="83819" y="1118"/>
                    </a:cubicBezTo>
                    <a:cubicBezTo>
                      <a:pt x="86669" y="1118"/>
                      <a:pt x="89518" y="3967"/>
                      <a:pt x="92367" y="9667"/>
                    </a:cubicBezTo>
                    <a:cubicBezTo>
                      <a:pt x="98067" y="23915"/>
                      <a:pt x="58173" y="58110"/>
                      <a:pt x="35375" y="75208"/>
                    </a:cubicBezTo>
                    <a:cubicBezTo>
                      <a:pt x="38225" y="78057"/>
                      <a:pt x="35375" y="78057"/>
                      <a:pt x="35375" y="7805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AACBAC33-7FF0-4F4D-B3E0-C86A71990605}"/>
                  </a:ext>
                </a:extLst>
              </p:cNvPr>
              <p:cNvSpPr/>
              <p:nvPr/>
            </p:nvSpPr>
            <p:spPr>
              <a:xfrm>
                <a:off x="16466441" y="3444467"/>
                <a:ext cx="120864" cy="77380"/>
              </a:xfrm>
              <a:custGeom>
                <a:avLst/>
                <a:gdLst>
                  <a:gd name="connsiteX0" fmla="*/ 6880 w 120864"/>
                  <a:gd name="connsiteY0" fmla="*/ 77380 h 77380"/>
                  <a:gd name="connsiteX1" fmla="*/ 1180 w 120864"/>
                  <a:gd name="connsiteY1" fmla="*/ 74531 h 77380"/>
                  <a:gd name="connsiteX2" fmla="*/ 4030 w 120864"/>
                  <a:gd name="connsiteY2" fmla="*/ 65982 h 77380"/>
                  <a:gd name="connsiteX3" fmla="*/ 41075 w 120864"/>
                  <a:gd name="connsiteY3" fmla="*/ 40335 h 77380"/>
                  <a:gd name="connsiteX4" fmla="*/ 46774 w 120864"/>
                  <a:gd name="connsiteY4" fmla="*/ 34636 h 77380"/>
                  <a:gd name="connsiteX5" fmla="*/ 89518 w 120864"/>
                  <a:gd name="connsiteY5" fmla="*/ 3290 h 77380"/>
                  <a:gd name="connsiteX6" fmla="*/ 115165 w 120864"/>
                  <a:gd name="connsiteY6" fmla="*/ 3290 h 77380"/>
                  <a:gd name="connsiteX7" fmla="*/ 120864 w 120864"/>
                  <a:gd name="connsiteY7" fmla="*/ 14689 h 77380"/>
                  <a:gd name="connsiteX8" fmla="*/ 83819 w 120864"/>
                  <a:gd name="connsiteY8" fmla="*/ 54583 h 77380"/>
                  <a:gd name="connsiteX9" fmla="*/ 75270 w 120864"/>
                  <a:gd name="connsiteY9" fmla="*/ 54583 h 77380"/>
                  <a:gd name="connsiteX10" fmla="*/ 75270 w 120864"/>
                  <a:gd name="connsiteY10" fmla="*/ 46035 h 77380"/>
                  <a:gd name="connsiteX11" fmla="*/ 109465 w 120864"/>
                  <a:gd name="connsiteY11" fmla="*/ 14689 h 77380"/>
                  <a:gd name="connsiteX12" fmla="*/ 92368 w 120864"/>
                  <a:gd name="connsiteY12" fmla="*/ 14689 h 77380"/>
                  <a:gd name="connsiteX13" fmla="*/ 52473 w 120864"/>
                  <a:gd name="connsiteY13" fmla="*/ 46035 h 77380"/>
                  <a:gd name="connsiteX14" fmla="*/ 46774 w 120864"/>
                  <a:gd name="connsiteY14" fmla="*/ 51734 h 77380"/>
                  <a:gd name="connsiteX15" fmla="*/ 6880 w 120864"/>
                  <a:gd name="connsiteY15" fmla="*/ 77380 h 77380"/>
                  <a:gd name="connsiteX16" fmla="*/ 6880 w 120864"/>
                  <a:gd name="connsiteY16" fmla="*/ 77380 h 77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0864" h="77380">
                    <a:moveTo>
                      <a:pt x="6880" y="77380"/>
                    </a:moveTo>
                    <a:cubicBezTo>
                      <a:pt x="4030" y="77380"/>
                      <a:pt x="4030" y="77380"/>
                      <a:pt x="1180" y="74531"/>
                    </a:cubicBezTo>
                    <a:cubicBezTo>
                      <a:pt x="-1669" y="71681"/>
                      <a:pt x="1180" y="68831"/>
                      <a:pt x="4030" y="65982"/>
                    </a:cubicBezTo>
                    <a:cubicBezTo>
                      <a:pt x="12579" y="60283"/>
                      <a:pt x="38225" y="43185"/>
                      <a:pt x="41075" y="40335"/>
                    </a:cubicBezTo>
                    <a:cubicBezTo>
                      <a:pt x="41075" y="40335"/>
                      <a:pt x="43924" y="37486"/>
                      <a:pt x="46774" y="34636"/>
                    </a:cubicBezTo>
                    <a:cubicBezTo>
                      <a:pt x="63872" y="20388"/>
                      <a:pt x="80969" y="6140"/>
                      <a:pt x="89518" y="3290"/>
                    </a:cubicBezTo>
                    <a:cubicBezTo>
                      <a:pt x="98067" y="441"/>
                      <a:pt x="109465" y="-2409"/>
                      <a:pt x="115165" y="3290"/>
                    </a:cubicBezTo>
                    <a:cubicBezTo>
                      <a:pt x="118014" y="6140"/>
                      <a:pt x="120864" y="8990"/>
                      <a:pt x="120864" y="14689"/>
                    </a:cubicBezTo>
                    <a:cubicBezTo>
                      <a:pt x="120864" y="26087"/>
                      <a:pt x="98067" y="43185"/>
                      <a:pt x="83819" y="54583"/>
                    </a:cubicBezTo>
                    <a:cubicBezTo>
                      <a:pt x="80969" y="57433"/>
                      <a:pt x="78120" y="54583"/>
                      <a:pt x="75270" y="54583"/>
                    </a:cubicBezTo>
                    <a:cubicBezTo>
                      <a:pt x="72421" y="51734"/>
                      <a:pt x="75270" y="48884"/>
                      <a:pt x="75270" y="46035"/>
                    </a:cubicBezTo>
                    <a:cubicBezTo>
                      <a:pt x="92368" y="31786"/>
                      <a:pt x="106616" y="17538"/>
                      <a:pt x="109465" y="14689"/>
                    </a:cubicBezTo>
                    <a:cubicBezTo>
                      <a:pt x="106616" y="11839"/>
                      <a:pt x="98067" y="11839"/>
                      <a:pt x="92368" y="14689"/>
                    </a:cubicBezTo>
                    <a:cubicBezTo>
                      <a:pt x="86669" y="17538"/>
                      <a:pt x="63872" y="37486"/>
                      <a:pt x="52473" y="46035"/>
                    </a:cubicBezTo>
                    <a:cubicBezTo>
                      <a:pt x="49624" y="48884"/>
                      <a:pt x="46774" y="51734"/>
                      <a:pt x="46774" y="51734"/>
                    </a:cubicBezTo>
                    <a:cubicBezTo>
                      <a:pt x="41075" y="57433"/>
                      <a:pt x="9729" y="77380"/>
                      <a:pt x="6880" y="77380"/>
                    </a:cubicBezTo>
                    <a:cubicBezTo>
                      <a:pt x="9729" y="77380"/>
                      <a:pt x="6880" y="77380"/>
                      <a:pt x="6880" y="77380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68C11D3F-D493-4FFE-A5E8-DC27C2950A97}"/>
                </a:ext>
              </a:extLst>
            </p:cNvPr>
            <p:cNvSpPr/>
            <p:nvPr/>
          </p:nvSpPr>
          <p:spPr>
            <a:xfrm>
              <a:off x="14330368" y="4365213"/>
              <a:ext cx="909383" cy="389823"/>
            </a:xfrm>
            <a:custGeom>
              <a:avLst/>
              <a:gdLst>
                <a:gd name="connsiteX0" fmla="*/ 783691 w 909383"/>
                <a:gd name="connsiteY0" fmla="*/ 111251 h 389823"/>
                <a:gd name="connsiteX1" fmla="*/ 379047 w 909383"/>
                <a:gd name="connsiteY1" fmla="*/ 199589 h 389823"/>
                <a:gd name="connsiteX2" fmla="*/ 42794 w 909383"/>
                <a:gd name="connsiteY2" fmla="*/ 117 h 389823"/>
                <a:gd name="connsiteX3" fmla="*/ 50 w 909383"/>
                <a:gd name="connsiteY3" fmla="*/ 88454 h 389823"/>
                <a:gd name="connsiteX4" fmla="*/ 319206 w 909383"/>
                <a:gd name="connsiteY4" fmla="*/ 376264 h 389823"/>
                <a:gd name="connsiteX5" fmla="*/ 849231 w 909383"/>
                <a:gd name="connsiteY5" fmla="*/ 359167 h 389823"/>
                <a:gd name="connsiteX6" fmla="*/ 783691 w 909383"/>
                <a:gd name="connsiteY6" fmla="*/ 111251 h 38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9383" h="389823">
                  <a:moveTo>
                    <a:pt x="783691" y="111251"/>
                  </a:moveTo>
                  <a:cubicBezTo>
                    <a:pt x="701053" y="119800"/>
                    <a:pt x="379047" y="199589"/>
                    <a:pt x="379047" y="199589"/>
                  </a:cubicBezTo>
                  <a:cubicBezTo>
                    <a:pt x="379047" y="199589"/>
                    <a:pt x="48493" y="-5583"/>
                    <a:pt x="42794" y="117"/>
                  </a:cubicBezTo>
                  <a:cubicBezTo>
                    <a:pt x="-14198" y="34312"/>
                    <a:pt x="19997" y="25763"/>
                    <a:pt x="50" y="88454"/>
                  </a:cubicBezTo>
                  <a:cubicBezTo>
                    <a:pt x="-2800" y="97003"/>
                    <a:pt x="116884" y="250882"/>
                    <a:pt x="319206" y="376264"/>
                  </a:cubicBezTo>
                  <a:cubicBezTo>
                    <a:pt x="373348" y="410460"/>
                    <a:pt x="712451" y="370565"/>
                    <a:pt x="849231" y="359167"/>
                  </a:cubicBezTo>
                  <a:cubicBezTo>
                    <a:pt x="931871" y="350618"/>
                    <a:pt x="946119" y="94154"/>
                    <a:pt x="783691" y="111251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F3E79C46-8660-4FCD-8507-D5C1CAEF92BF}"/>
                </a:ext>
              </a:extLst>
            </p:cNvPr>
            <p:cNvSpPr/>
            <p:nvPr/>
          </p:nvSpPr>
          <p:spPr>
            <a:xfrm>
              <a:off x="15005775" y="4346764"/>
              <a:ext cx="483469" cy="417510"/>
            </a:xfrm>
            <a:custGeom>
              <a:avLst/>
              <a:gdLst>
                <a:gd name="connsiteX0" fmla="*/ 188073 w 483469"/>
                <a:gd name="connsiteY0" fmla="*/ 417510 h 417510"/>
                <a:gd name="connsiteX1" fmla="*/ 478733 w 483469"/>
                <a:gd name="connsiteY1" fmla="*/ 41362 h 417510"/>
                <a:gd name="connsiteX2" fmla="*/ 0 w 483469"/>
                <a:gd name="connsiteY2" fmla="*/ 124001 h 417510"/>
                <a:gd name="connsiteX3" fmla="*/ 56992 w 483469"/>
                <a:gd name="connsiteY3" fmla="*/ 229436 h 417510"/>
                <a:gd name="connsiteX4" fmla="*/ 188073 w 483469"/>
                <a:gd name="connsiteY4" fmla="*/ 417510 h 417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3469" h="417510">
                  <a:moveTo>
                    <a:pt x="188073" y="417510"/>
                  </a:moveTo>
                  <a:cubicBezTo>
                    <a:pt x="188073" y="417510"/>
                    <a:pt x="527177" y="152497"/>
                    <a:pt x="478733" y="41362"/>
                  </a:cubicBezTo>
                  <a:cubicBezTo>
                    <a:pt x="421741" y="-86870"/>
                    <a:pt x="0" y="124001"/>
                    <a:pt x="0" y="124001"/>
                  </a:cubicBezTo>
                  <a:cubicBezTo>
                    <a:pt x="0" y="124001"/>
                    <a:pt x="19947" y="180993"/>
                    <a:pt x="56992" y="229436"/>
                  </a:cubicBezTo>
                  <a:cubicBezTo>
                    <a:pt x="74089" y="294977"/>
                    <a:pt x="116833" y="371917"/>
                    <a:pt x="188073" y="417510"/>
                  </a:cubicBezTo>
                  <a:close/>
                </a:path>
              </a:pathLst>
            </a:custGeom>
            <a:solidFill>
              <a:srgbClr val="D16156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55726E93-D7C5-401A-91B9-247B7CBEE193}"/>
                </a:ext>
              </a:extLst>
            </p:cNvPr>
            <p:cNvSpPr/>
            <p:nvPr/>
          </p:nvSpPr>
          <p:spPr>
            <a:xfrm>
              <a:off x="15604191" y="4034776"/>
              <a:ext cx="270712" cy="256464"/>
            </a:xfrm>
            <a:custGeom>
              <a:avLst/>
              <a:gdLst>
                <a:gd name="connsiteX0" fmla="*/ 0 w 270712"/>
                <a:gd name="connsiteY0" fmla="*/ 256464 h 256464"/>
                <a:gd name="connsiteX1" fmla="*/ 259313 w 270712"/>
                <a:gd name="connsiteY1" fmla="*/ 256464 h 256464"/>
                <a:gd name="connsiteX2" fmla="*/ 270712 w 270712"/>
                <a:gd name="connsiteY2" fmla="*/ 122533 h 256464"/>
                <a:gd name="connsiteX3" fmla="*/ 262163 w 270712"/>
                <a:gd name="connsiteY3" fmla="*/ 17098 h 256464"/>
                <a:gd name="connsiteX4" fmla="*/ 193773 w 270712"/>
                <a:gd name="connsiteY4" fmla="*/ 0 h 256464"/>
                <a:gd name="connsiteX5" fmla="*/ 48443 w 270712"/>
                <a:gd name="connsiteY5" fmla="*/ 85488 h 25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0712" h="256464">
                  <a:moveTo>
                    <a:pt x="0" y="256464"/>
                  </a:moveTo>
                  <a:lnTo>
                    <a:pt x="259313" y="256464"/>
                  </a:lnTo>
                  <a:lnTo>
                    <a:pt x="270712" y="122533"/>
                  </a:lnTo>
                  <a:lnTo>
                    <a:pt x="262163" y="17098"/>
                  </a:lnTo>
                  <a:lnTo>
                    <a:pt x="193773" y="0"/>
                  </a:lnTo>
                  <a:lnTo>
                    <a:pt x="48443" y="85488"/>
                  </a:lnTo>
                  <a:close/>
                </a:path>
              </a:pathLst>
            </a:custGeom>
            <a:solidFill>
              <a:srgbClr val="664241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805412C8-8EE9-4633-8B3F-F07F0CD7B5BD}"/>
                </a:ext>
              </a:extLst>
            </p:cNvPr>
            <p:cNvSpPr/>
            <p:nvPr/>
          </p:nvSpPr>
          <p:spPr>
            <a:xfrm>
              <a:off x="15270787" y="3695643"/>
              <a:ext cx="439201" cy="619670"/>
            </a:xfrm>
            <a:custGeom>
              <a:avLst/>
              <a:gdLst>
                <a:gd name="connsiteX0" fmla="*/ 376148 w 439201"/>
                <a:gd name="connsiteY0" fmla="*/ 438869 h 619670"/>
                <a:gd name="connsiteX1" fmla="*/ 367599 w 439201"/>
                <a:gd name="connsiteY1" fmla="*/ 287840 h 619670"/>
                <a:gd name="connsiteX2" fmla="*/ 407493 w 439201"/>
                <a:gd name="connsiteY2" fmla="*/ 151059 h 619670"/>
                <a:gd name="connsiteX3" fmla="*/ 438839 w 439201"/>
                <a:gd name="connsiteY3" fmla="*/ 8578 h 619670"/>
                <a:gd name="connsiteX4" fmla="*/ 133932 w 439201"/>
                <a:gd name="connsiteY4" fmla="*/ 165307 h 619670"/>
                <a:gd name="connsiteX5" fmla="*/ 0 w 439201"/>
                <a:gd name="connsiteY5" fmla="*/ 544304 h 619670"/>
                <a:gd name="connsiteX6" fmla="*/ 396095 w 439201"/>
                <a:gd name="connsiteY6" fmla="*/ 595597 h 619670"/>
                <a:gd name="connsiteX7" fmla="*/ 376148 w 439201"/>
                <a:gd name="connsiteY7" fmla="*/ 438869 h 619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9201" h="619670">
                  <a:moveTo>
                    <a:pt x="376148" y="438869"/>
                  </a:moveTo>
                  <a:cubicBezTo>
                    <a:pt x="367599" y="390425"/>
                    <a:pt x="361900" y="339132"/>
                    <a:pt x="367599" y="287840"/>
                  </a:cubicBezTo>
                  <a:cubicBezTo>
                    <a:pt x="373298" y="239396"/>
                    <a:pt x="387546" y="193803"/>
                    <a:pt x="407493" y="151059"/>
                  </a:cubicBezTo>
                  <a:cubicBezTo>
                    <a:pt x="427441" y="105465"/>
                    <a:pt x="441689" y="8578"/>
                    <a:pt x="438839" y="8578"/>
                  </a:cubicBezTo>
                  <a:cubicBezTo>
                    <a:pt x="330554" y="-25617"/>
                    <a:pt x="159578" y="45623"/>
                    <a:pt x="133932" y="165307"/>
                  </a:cubicBezTo>
                  <a:cubicBezTo>
                    <a:pt x="122533" y="225148"/>
                    <a:pt x="113984" y="387576"/>
                    <a:pt x="0" y="544304"/>
                  </a:cubicBezTo>
                  <a:cubicBezTo>
                    <a:pt x="96886" y="615544"/>
                    <a:pt x="387546" y="644040"/>
                    <a:pt x="396095" y="595597"/>
                  </a:cubicBezTo>
                  <a:cubicBezTo>
                    <a:pt x="401794" y="555702"/>
                    <a:pt x="381847" y="478763"/>
                    <a:pt x="376148" y="438869"/>
                  </a:cubicBezTo>
                  <a:close/>
                </a:path>
              </a:pathLst>
            </a:custGeom>
            <a:solidFill>
              <a:srgbClr val="664241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C2173946-6C42-4FD8-9ED7-9EF5FCE5EA6C}"/>
                </a:ext>
              </a:extLst>
            </p:cNvPr>
            <p:cNvSpPr/>
            <p:nvPr/>
          </p:nvSpPr>
          <p:spPr>
            <a:xfrm>
              <a:off x="14891790" y="5274987"/>
              <a:ext cx="1099892" cy="1532453"/>
            </a:xfrm>
            <a:custGeom>
              <a:avLst/>
              <a:gdLst>
                <a:gd name="connsiteX0" fmla="*/ 1060052 w 1099892"/>
                <a:gd name="connsiteY0" fmla="*/ 5066 h 1532453"/>
                <a:gd name="connsiteX1" fmla="*/ 1088548 w 1099892"/>
                <a:gd name="connsiteY1" fmla="*/ 281478 h 1532453"/>
                <a:gd name="connsiteX2" fmla="*/ 475883 w 1099892"/>
                <a:gd name="connsiteY2" fmla="*/ 646227 h 1532453"/>
                <a:gd name="connsiteX3" fmla="*/ 190923 w 1099892"/>
                <a:gd name="connsiteY3" fmla="*/ 1532454 h 1532453"/>
                <a:gd name="connsiteX4" fmla="*/ 0 w 1099892"/>
                <a:gd name="connsiteY4" fmla="*/ 1489710 h 1532453"/>
                <a:gd name="connsiteX5" fmla="*/ 142480 w 1099892"/>
                <a:gd name="connsiteY5" fmla="*/ 503747 h 1532453"/>
                <a:gd name="connsiteX6" fmla="*/ 775092 w 1099892"/>
                <a:gd name="connsiteY6" fmla="*/ 5066 h 1532453"/>
                <a:gd name="connsiteX7" fmla="*/ 1060052 w 1099892"/>
                <a:gd name="connsiteY7" fmla="*/ 5066 h 1532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99892" h="1532453">
                  <a:moveTo>
                    <a:pt x="1060052" y="5066"/>
                  </a:moveTo>
                  <a:cubicBezTo>
                    <a:pt x="1060052" y="5066"/>
                    <a:pt x="1125594" y="176042"/>
                    <a:pt x="1088548" y="281478"/>
                  </a:cubicBezTo>
                  <a:cubicBezTo>
                    <a:pt x="1048654" y="386913"/>
                    <a:pt x="498681" y="594934"/>
                    <a:pt x="475883" y="646227"/>
                  </a:cubicBezTo>
                  <a:cubicBezTo>
                    <a:pt x="453087" y="697520"/>
                    <a:pt x="190923" y="1532454"/>
                    <a:pt x="190923" y="1532454"/>
                  </a:cubicBezTo>
                  <a:cubicBezTo>
                    <a:pt x="190923" y="1532454"/>
                    <a:pt x="82638" y="1515356"/>
                    <a:pt x="0" y="1489710"/>
                  </a:cubicBezTo>
                  <a:cubicBezTo>
                    <a:pt x="0" y="1489710"/>
                    <a:pt x="88337" y="663324"/>
                    <a:pt x="142480" y="503747"/>
                  </a:cubicBezTo>
                  <a:cubicBezTo>
                    <a:pt x="190923" y="369815"/>
                    <a:pt x="720950" y="19314"/>
                    <a:pt x="775092" y="5066"/>
                  </a:cubicBezTo>
                  <a:cubicBezTo>
                    <a:pt x="829234" y="-6332"/>
                    <a:pt x="1060052" y="5066"/>
                    <a:pt x="1060052" y="5066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FF1007D4-FF5E-4AAB-A910-B6EDB305F72F}"/>
                </a:ext>
              </a:extLst>
            </p:cNvPr>
            <p:cNvSpPr/>
            <p:nvPr/>
          </p:nvSpPr>
          <p:spPr>
            <a:xfrm>
              <a:off x="14002714" y="5274987"/>
              <a:ext cx="1664168" cy="999577"/>
            </a:xfrm>
            <a:custGeom>
              <a:avLst/>
              <a:gdLst>
                <a:gd name="connsiteX0" fmla="*/ 1664169 w 1664168"/>
                <a:gd name="connsiteY0" fmla="*/ 5066 h 999577"/>
                <a:gd name="connsiteX1" fmla="*/ 1535937 w 1664168"/>
                <a:gd name="connsiteY1" fmla="*/ 281478 h 999577"/>
                <a:gd name="connsiteX2" fmla="*/ 926121 w 1664168"/>
                <a:gd name="connsiteY2" fmla="*/ 577836 h 999577"/>
                <a:gd name="connsiteX3" fmla="*/ 99736 w 1664168"/>
                <a:gd name="connsiteY3" fmla="*/ 999578 h 999577"/>
                <a:gd name="connsiteX4" fmla="*/ 0 w 1664168"/>
                <a:gd name="connsiteY4" fmla="*/ 896992 h 999577"/>
                <a:gd name="connsiteX5" fmla="*/ 587019 w 1664168"/>
                <a:gd name="connsiteY5" fmla="*/ 426808 h 999577"/>
                <a:gd name="connsiteX6" fmla="*/ 1225330 w 1664168"/>
                <a:gd name="connsiteY6" fmla="*/ 5066 h 999577"/>
                <a:gd name="connsiteX7" fmla="*/ 1664169 w 1664168"/>
                <a:gd name="connsiteY7" fmla="*/ 5066 h 999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64168" h="999577">
                  <a:moveTo>
                    <a:pt x="1664169" y="5066"/>
                  </a:moveTo>
                  <a:cubicBezTo>
                    <a:pt x="1664169" y="5066"/>
                    <a:pt x="1575831" y="176042"/>
                    <a:pt x="1535937" y="281478"/>
                  </a:cubicBezTo>
                  <a:cubicBezTo>
                    <a:pt x="1496042" y="386913"/>
                    <a:pt x="977414" y="557889"/>
                    <a:pt x="926121" y="577836"/>
                  </a:cubicBezTo>
                  <a:cubicBezTo>
                    <a:pt x="658259" y="680422"/>
                    <a:pt x="99736" y="999578"/>
                    <a:pt x="99736" y="999578"/>
                  </a:cubicBezTo>
                  <a:cubicBezTo>
                    <a:pt x="99736" y="999578"/>
                    <a:pt x="48444" y="951135"/>
                    <a:pt x="0" y="896992"/>
                  </a:cubicBezTo>
                  <a:cubicBezTo>
                    <a:pt x="0" y="896992"/>
                    <a:pt x="393245" y="560739"/>
                    <a:pt x="587019" y="426808"/>
                  </a:cubicBezTo>
                  <a:cubicBezTo>
                    <a:pt x="792190" y="284327"/>
                    <a:pt x="1168338" y="19314"/>
                    <a:pt x="1225330" y="5066"/>
                  </a:cubicBezTo>
                  <a:cubicBezTo>
                    <a:pt x="1276622" y="-6332"/>
                    <a:pt x="1664169" y="5066"/>
                    <a:pt x="1664169" y="5066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6929DAF4-E2D1-47F1-B29F-BB4870A99DCD}"/>
                </a:ext>
              </a:extLst>
            </p:cNvPr>
            <p:cNvSpPr/>
            <p:nvPr/>
          </p:nvSpPr>
          <p:spPr>
            <a:xfrm>
              <a:off x="14980127" y="5466860"/>
              <a:ext cx="405910" cy="534142"/>
            </a:xfrm>
            <a:custGeom>
              <a:avLst/>
              <a:gdLst>
                <a:gd name="connsiteX0" fmla="*/ 5700 w 405910"/>
                <a:gd name="connsiteY0" fmla="*/ 534143 h 534142"/>
                <a:gd name="connsiteX1" fmla="*/ 5700 w 405910"/>
                <a:gd name="connsiteY1" fmla="*/ 534143 h 534142"/>
                <a:gd name="connsiteX2" fmla="*/ 0 w 405910"/>
                <a:gd name="connsiteY2" fmla="*/ 528443 h 534142"/>
                <a:gd name="connsiteX3" fmla="*/ 8549 w 405910"/>
                <a:gd name="connsiteY3" fmla="*/ 485699 h 534142"/>
                <a:gd name="connsiteX4" fmla="*/ 59842 w 405910"/>
                <a:gd name="connsiteY4" fmla="*/ 291926 h 534142"/>
                <a:gd name="connsiteX5" fmla="*/ 396096 w 405910"/>
                <a:gd name="connsiteY5" fmla="*/ 1266 h 534142"/>
                <a:gd name="connsiteX6" fmla="*/ 404644 w 405910"/>
                <a:gd name="connsiteY6" fmla="*/ 1266 h 534142"/>
                <a:gd name="connsiteX7" fmla="*/ 404644 w 405910"/>
                <a:gd name="connsiteY7" fmla="*/ 9815 h 534142"/>
                <a:gd name="connsiteX8" fmla="*/ 71240 w 405910"/>
                <a:gd name="connsiteY8" fmla="*/ 297625 h 534142"/>
                <a:gd name="connsiteX9" fmla="*/ 22797 w 405910"/>
                <a:gd name="connsiteY9" fmla="*/ 485699 h 534142"/>
                <a:gd name="connsiteX10" fmla="*/ 14248 w 405910"/>
                <a:gd name="connsiteY10" fmla="*/ 528443 h 534142"/>
                <a:gd name="connsiteX11" fmla="*/ 5700 w 405910"/>
                <a:gd name="connsiteY11" fmla="*/ 534143 h 534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910" h="534142">
                  <a:moveTo>
                    <a:pt x="5700" y="534143"/>
                  </a:moveTo>
                  <a:cubicBezTo>
                    <a:pt x="2850" y="534143"/>
                    <a:pt x="2850" y="534143"/>
                    <a:pt x="5700" y="534143"/>
                  </a:cubicBezTo>
                  <a:cubicBezTo>
                    <a:pt x="2850" y="534143"/>
                    <a:pt x="0" y="531293"/>
                    <a:pt x="0" y="528443"/>
                  </a:cubicBezTo>
                  <a:cubicBezTo>
                    <a:pt x="2850" y="514195"/>
                    <a:pt x="5700" y="499947"/>
                    <a:pt x="8549" y="485699"/>
                  </a:cubicBezTo>
                  <a:cubicBezTo>
                    <a:pt x="22797" y="405911"/>
                    <a:pt x="37045" y="320422"/>
                    <a:pt x="59842" y="291926"/>
                  </a:cubicBezTo>
                  <a:cubicBezTo>
                    <a:pt x="116834" y="212137"/>
                    <a:pt x="233668" y="112401"/>
                    <a:pt x="396096" y="1266"/>
                  </a:cubicBezTo>
                  <a:cubicBezTo>
                    <a:pt x="398945" y="-1583"/>
                    <a:pt x="401794" y="1266"/>
                    <a:pt x="404644" y="1266"/>
                  </a:cubicBezTo>
                  <a:cubicBezTo>
                    <a:pt x="407494" y="4116"/>
                    <a:pt x="404644" y="6966"/>
                    <a:pt x="404644" y="9815"/>
                  </a:cubicBezTo>
                  <a:cubicBezTo>
                    <a:pt x="245066" y="120950"/>
                    <a:pt x="128232" y="220686"/>
                    <a:pt x="71240" y="297625"/>
                  </a:cubicBezTo>
                  <a:cubicBezTo>
                    <a:pt x="51293" y="323272"/>
                    <a:pt x="37045" y="408760"/>
                    <a:pt x="22797" y="485699"/>
                  </a:cubicBezTo>
                  <a:cubicBezTo>
                    <a:pt x="19948" y="499947"/>
                    <a:pt x="17098" y="514195"/>
                    <a:pt x="14248" y="528443"/>
                  </a:cubicBezTo>
                  <a:cubicBezTo>
                    <a:pt x="8549" y="534143"/>
                    <a:pt x="5700" y="534143"/>
                    <a:pt x="5700" y="534143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C818FAEB-88B6-480F-9B32-8C63EB22BFB3}"/>
                </a:ext>
              </a:extLst>
            </p:cNvPr>
            <p:cNvSpPr/>
            <p:nvPr/>
          </p:nvSpPr>
          <p:spPr>
            <a:xfrm>
              <a:off x="15288058" y="4306845"/>
              <a:ext cx="745891" cy="845956"/>
            </a:xfrm>
            <a:custGeom>
              <a:avLst/>
              <a:gdLst>
                <a:gd name="connsiteX0" fmla="*/ 25473 w 745891"/>
                <a:gd name="connsiteY0" fmla="*/ 796533 h 845956"/>
                <a:gd name="connsiteX1" fmla="*/ 592544 w 745891"/>
                <a:gd name="connsiteY1" fmla="*/ 836427 h 845956"/>
                <a:gd name="connsiteX2" fmla="*/ 695130 w 745891"/>
                <a:gd name="connsiteY2" fmla="*/ 380490 h 845956"/>
                <a:gd name="connsiteX3" fmla="*/ 695130 w 745891"/>
                <a:gd name="connsiteY3" fmla="*/ 78432 h 845956"/>
                <a:gd name="connsiteX4" fmla="*/ 353178 w 745891"/>
                <a:gd name="connsiteY4" fmla="*/ 1493 h 845956"/>
                <a:gd name="connsiteX5" fmla="*/ 45421 w 745891"/>
                <a:gd name="connsiteY5" fmla="*/ 109778 h 845956"/>
                <a:gd name="connsiteX6" fmla="*/ 25473 w 745891"/>
                <a:gd name="connsiteY6" fmla="*/ 796533 h 845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5891" h="845956">
                  <a:moveTo>
                    <a:pt x="25473" y="796533"/>
                  </a:moveTo>
                  <a:cubicBezTo>
                    <a:pt x="25473" y="802232"/>
                    <a:pt x="367426" y="870622"/>
                    <a:pt x="592544" y="836427"/>
                  </a:cubicBezTo>
                  <a:cubicBezTo>
                    <a:pt x="589694" y="753789"/>
                    <a:pt x="672334" y="443182"/>
                    <a:pt x="695130" y="380490"/>
                  </a:cubicBezTo>
                  <a:cubicBezTo>
                    <a:pt x="706528" y="351994"/>
                    <a:pt x="803415" y="141124"/>
                    <a:pt x="695130" y="78432"/>
                  </a:cubicBezTo>
                  <a:cubicBezTo>
                    <a:pt x="601094" y="21440"/>
                    <a:pt x="464312" y="-7056"/>
                    <a:pt x="353178" y="1493"/>
                  </a:cubicBezTo>
                  <a:cubicBezTo>
                    <a:pt x="230645" y="10042"/>
                    <a:pt x="79615" y="47087"/>
                    <a:pt x="45421" y="109778"/>
                  </a:cubicBezTo>
                  <a:cubicBezTo>
                    <a:pt x="-68563" y="320649"/>
                    <a:pt x="73917" y="465979"/>
                    <a:pt x="25473" y="796533"/>
                  </a:cubicBezTo>
                  <a:close/>
                </a:path>
              </a:pathLst>
            </a:custGeom>
            <a:solidFill>
              <a:srgbClr val="D16156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EDD26B6F-0155-40A8-836B-0749236FB829}"/>
                </a:ext>
              </a:extLst>
            </p:cNvPr>
            <p:cNvSpPr/>
            <p:nvPr/>
          </p:nvSpPr>
          <p:spPr>
            <a:xfrm>
              <a:off x="15530102" y="4145811"/>
              <a:ext cx="296358" cy="230220"/>
            </a:xfrm>
            <a:custGeom>
              <a:avLst/>
              <a:gdLst>
                <a:gd name="connsiteX0" fmla="*/ 65541 w 296358"/>
                <a:gd name="connsiteY0" fmla="*/ 48542 h 230220"/>
                <a:gd name="connsiteX1" fmla="*/ 0 w 296358"/>
                <a:gd name="connsiteY1" fmla="*/ 182473 h 230220"/>
                <a:gd name="connsiteX2" fmla="*/ 296359 w 296358"/>
                <a:gd name="connsiteY2" fmla="*/ 176774 h 230220"/>
                <a:gd name="connsiteX3" fmla="*/ 256464 w 296358"/>
                <a:gd name="connsiteY3" fmla="*/ 99 h 230220"/>
                <a:gd name="connsiteX4" fmla="*/ 65541 w 296358"/>
                <a:gd name="connsiteY4" fmla="*/ 48542 h 230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6358" h="230220">
                  <a:moveTo>
                    <a:pt x="65541" y="48542"/>
                  </a:moveTo>
                  <a:cubicBezTo>
                    <a:pt x="65541" y="48542"/>
                    <a:pt x="68390" y="153977"/>
                    <a:pt x="0" y="182473"/>
                  </a:cubicBezTo>
                  <a:cubicBezTo>
                    <a:pt x="0" y="182473"/>
                    <a:pt x="162427" y="293608"/>
                    <a:pt x="296359" y="176774"/>
                  </a:cubicBezTo>
                  <a:cubicBezTo>
                    <a:pt x="247915" y="134030"/>
                    <a:pt x="253615" y="57091"/>
                    <a:pt x="256464" y="99"/>
                  </a:cubicBezTo>
                  <a:cubicBezTo>
                    <a:pt x="256464" y="-2751"/>
                    <a:pt x="113984" y="57091"/>
                    <a:pt x="65541" y="48542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2B55D588-9FCF-4AB8-B307-64E24BFF2150}"/>
                </a:ext>
              </a:extLst>
            </p:cNvPr>
            <p:cNvSpPr/>
            <p:nvPr/>
          </p:nvSpPr>
          <p:spPr>
            <a:xfrm>
              <a:off x="15225194" y="5100528"/>
              <a:ext cx="724703" cy="223348"/>
            </a:xfrm>
            <a:custGeom>
              <a:avLst/>
              <a:gdLst>
                <a:gd name="connsiteX0" fmla="*/ 0 w 724703"/>
                <a:gd name="connsiteY0" fmla="*/ 179525 h 223348"/>
                <a:gd name="connsiteX1" fmla="*/ 71240 w 724703"/>
                <a:gd name="connsiteY1" fmla="*/ 11398 h 223348"/>
                <a:gd name="connsiteX2" fmla="*/ 644011 w 724703"/>
                <a:gd name="connsiteY2" fmla="*/ 0 h 223348"/>
                <a:gd name="connsiteX3" fmla="*/ 723799 w 724703"/>
                <a:gd name="connsiteY3" fmla="*/ 179525 h 223348"/>
                <a:gd name="connsiteX4" fmla="*/ 330554 w 724703"/>
                <a:gd name="connsiteY4" fmla="*/ 213720 h 223348"/>
                <a:gd name="connsiteX5" fmla="*/ 0 w 724703"/>
                <a:gd name="connsiteY5" fmla="*/ 179525 h 22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4703" h="223348">
                  <a:moveTo>
                    <a:pt x="0" y="179525"/>
                  </a:moveTo>
                  <a:cubicBezTo>
                    <a:pt x="0" y="179525"/>
                    <a:pt x="56992" y="62691"/>
                    <a:pt x="71240" y="11398"/>
                  </a:cubicBezTo>
                  <a:cubicBezTo>
                    <a:pt x="71240" y="11398"/>
                    <a:pt x="424591" y="42744"/>
                    <a:pt x="644011" y="0"/>
                  </a:cubicBezTo>
                  <a:cubicBezTo>
                    <a:pt x="644011" y="0"/>
                    <a:pt x="701003" y="111135"/>
                    <a:pt x="723799" y="179525"/>
                  </a:cubicBezTo>
                  <a:cubicBezTo>
                    <a:pt x="746597" y="250765"/>
                    <a:pt x="330554" y="213720"/>
                    <a:pt x="330554" y="213720"/>
                  </a:cubicBezTo>
                  <a:lnTo>
                    <a:pt x="0" y="179525"/>
                  </a:lnTo>
                  <a:close/>
                </a:path>
              </a:pathLst>
            </a:custGeom>
            <a:solidFill>
              <a:srgbClr val="D16156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F2F56658-FAB5-4B27-B98D-572A3F311750}"/>
                </a:ext>
              </a:extLst>
            </p:cNvPr>
            <p:cNvSpPr/>
            <p:nvPr/>
          </p:nvSpPr>
          <p:spPr>
            <a:xfrm>
              <a:off x="15302025" y="4353931"/>
              <a:ext cx="111242" cy="532875"/>
            </a:xfrm>
            <a:custGeom>
              <a:avLst/>
              <a:gdLst>
                <a:gd name="connsiteX0" fmla="*/ 31454 w 111242"/>
                <a:gd name="connsiteY0" fmla="*/ 532876 h 532875"/>
                <a:gd name="connsiteX1" fmla="*/ 25754 w 111242"/>
                <a:gd name="connsiteY1" fmla="*/ 527177 h 532875"/>
                <a:gd name="connsiteX2" fmla="*/ 108 w 111242"/>
                <a:gd name="connsiteY2" fmla="*/ 347652 h 532875"/>
                <a:gd name="connsiteX3" fmla="*/ 99844 w 111242"/>
                <a:gd name="connsiteY3" fmla="*/ 2850 h 532875"/>
                <a:gd name="connsiteX4" fmla="*/ 108392 w 111242"/>
                <a:gd name="connsiteY4" fmla="*/ 0 h 532875"/>
                <a:gd name="connsiteX5" fmla="*/ 111242 w 111242"/>
                <a:gd name="connsiteY5" fmla="*/ 8549 h 532875"/>
                <a:gd name="connsiteX6" fmla="*/ 11506 w 111242"/>
                <a:gd name="connsiteY6" fmla="*/ 347652 h 532875"/>
                <a:gd name="connsiteX7" fmla="*/ 37152 w 111242"/>
                <a:gd name="connsiteY7" fmla="*/ 524327 h 532875"/>
                <a:gd name="connsiteX8" fmla="*/ 31454 w 111242"/>
                <a:gd name="connsiteY8" fmla="*/ 532876 h 532875"/>
                <a:gd name="connsiteX9" fmla="*/ 31454 w 111242"/>
                <a:gd name="connsiteY9" fmla="*/ 532876 h 53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1242" h="532875">
                  <a:moveTo>
                    <a:pt x="31454" y="532876"/>
                  </a:moveTo>
                  <a:cubicBezTo>
                    <a:pt x="28604" y="532876"/>
                    <a:pt x="25754" y="530026"/>
                    <a:pt x="25754" y="527177"/>
                  </a:cubicBezTo>
                  <a:cubicBezTo>
                    <a:pt x="14356" y="470185"/>
                    <a:pt x="108" y="407493"/>
                    <a:pt x="108" y="347652"/>
                  </a:cubicBezTo>
                  <a:cubicBezTo>
                    <a:pt x="-2742" y="219419"/>
                    <a:pt x="51400" y="94037"/>
                    <a:pt x="99844" y="2850"/>
                  </a:cubicBezTo>
                  <a:cubicBezTo>
                    <a:pt x="99844" y="0"/>
                    <a:pt x="105543" y="0"/>
                    <a:pt x="108392" y="0"/>
                  </a:cubicBezTo>
                  <a:cubicBezTo>
                    <a:pt x="111242" y="0"/>
                    <a:pt x="111242" y="5699"/>
                    <a:pt x="111242" y="8549"/>
                  </a:cubicBezTo>
                  <a:cubicBezTo>
                    <a:pt x="65648" y="99736"/>
                    <a:pt x="11506" y="222269"/>
                    <a:pt x="11506" y="347652"/>
                  </a:cubicBezTo>
                  <a:cubicBezTo>
                    <a:pt x="11506" y="407493"/>
                    <a:pt x="25754" y="467335"/>
                    <a:pt x="37152" y="524327"/>
                  </a:cubicBezTo>
                  <a:cubicBezTo>
                    <a:pt x="37152" y="530026"/>
                    <a:pt x="34303" y="532876"/>
                    <a:pt x="31454" y="532876"/>
                  </a:cubicBezTo>
                  <a:cubicBezTo>
                    <a:pt x="31454" y="532876"/>
                    <a:pt x="31454" y="532876"/>
                    <a:pt x="31454" y="532876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797FFFF1-D10C-4A29-9C0A-A223B983572C}"/>
                </a:ext>
              </a:extLst>
            </p:cNvPr>
            <p:cNvSpPr/>
            <p:nvPr/>
          </p:nvSpPr>
          <p:spPr>
            <a:xfrm>
              <a:off x="15430365" y="4755412"/>
              <a:ext cx="297539" cy="43057"/>
            </a:xfrm>
            <a:custGeom>
              <a:avLst/>
              <a:gdLst>
                <a:gd name="connsiteX0" fmla="*/ 290659 w 297539"/>
                <a:gd name="connsiteY0" fmla="*/ 43057 h 43057"/>
                <a:gd name="connsiteX1" fmla="*/ 290659 w 297539"/>
                <a:gd name="connsiteY1" fmla="*/ 43057 h 43057"/>
                <a:gd name="connsiteX2" fmla="*/ 5699 w 297539"/>
                <a:gd name="connsiteY2" fmla="*/ 14561 h 43057"/>
                <a:gd name="connsiteX3" fmla="*/ 0 w 297539"/>
                <a:gd name="connsiteY3" fmla="*/ 8862 h 43057"/>
                <a:gd name="connsiteX4" fmla="*/ 5699 w 297539"/>
                <a:gd name="connsiteY4" fmla="*/ 3163 h 43057"/>
                <a:gd name="connsiteX5" fmla="*/ 293509 w 297539"/>
                <a:gd name="connsiteY5" fmla="*/ 31659 h 43057"/>
                <a:gd name="connsiteX6" fmla="*/ 296359 w 297539"/>
                <a:gd name="connsiteY6" fmla="*/ 37358 h 43057"/>
                <a:gd name="connsiteX7" fmla="*/ 290659 w 297539"/>
                <a:gd name="connsiteY7" fmla="*/ 43057 h 43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7539" h="43057">
                  <a:moveTo>
                    <a:pt x="290659" y="43057"/>
                  </a:moveTo>
                  <a:cubicBezTo>
                    <a:pt x="290659" y="43057"/>
                    <a:pt x="290659" y="43057"/>
                    <a:pt x="290659" y="43057"/>
                  </a:cubicBezTo>
                  <a:cubicBezTo>
                    <a:pt x="199472" y="14561"/>
                    <a:pt x="99736" y="6012"/>
                    <a:pt x="5699" y="14561"/>
                  </a:cubicBezTo>
                  <a:cubicBezTo>
                    <a:pt x="2850" y="14561"/>
                    <a:pt x="0" y="11712"/>
                    <a:pt x="0" y="8862"/>
                  </a:cubicBezTo>
                  <a:cubicBezTo>
                    <a:pt x="0" y="6012"/>
                    <a:pt x="2850" y="3163"/>
                    <a:pt x="5699" y="3163"/>
                  </a:cubicBezTo>
                  <a:cubicBezTo>
                    <a:pt x="102586" y="-5386"/>
                    <a:pt x="202322" y="3163"/>
                    <a:pt x="293509" y="31659"/>
                  </a:cubicBezTo>
                  <a:cubicBezTo>
                    <a:pt x="296359" y="31659"/>
                    <a:pt x="299208" y="34508"/>
                    <a:pt x="296359" y="37358"/>
                  </a:cubicBezTo>
                  <a:cubicBezTo>
                    <a:pt x="296359" y="43057"/>
                    <a:pt x="293509" y="43057"/>
                    <a:pt x="290659" y="43057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BF5A97BE-5035-4D9C-94F0-800A73D1B427}"/>
                </a:ext>
              </a:extLst>
            </p:cNvPr>
            <p:cNvSpPr/>
            <p:nvPr/>
          </p:nvSpPr>
          <p:spPr>
            <a:xfrm>
              <a:off x="15185299" y="4903905"/>
              <a:ext cx="803588" cy="461868"/>
            </a:xfrm>
            <a:custGeom>
              <a:avLst/>
              <a:gdLst>
                <a:gd name="connsiteX0" fmla="*/ 133932 w 803588"/>
                <a:gd name="connsiteY0" fmla="*/ 142480 h 461868"/>
                <a:gd name="connsiteX1" fmla="*/ 0 w 803588"/>
                <a:gd name="connsiteY1" fmla="*/ 370449 h 461868"/>
                <a:gd name="connsiteX2" fmla="*/ 803589 w 803588"/>
                <a:gd name="connsiteY2" fmla="*/ 458786 h 461868"/>
                <a:gd name="connsiteX3" fmla="*/ 703853 w 803588"/>
                <a:gd name="connsiteY3" fmla="*/ 128232 h 461868"/>
                <a:gd name="connsiteX4" fmla="*/ 672507 w 803588"/>
                <a:gd name="connsiteY4" fmla="*/ 0 h 461868"/>
                <a:gd name="connsiteX5" fmla="*/ 133932 w 803588"/>
                <a:gd name="connsiteY5" fmla="*/ 142480 h 461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3588" h="461868">
                  <a:moveTo>
                    <a:pt x="133932" y="142480"/>
                  </a:moveTo>
                  <a:cubicBezTo>
                    <a:pt x="116834" y="173826"/>
                    <a:pt x="0" y="370449"/>
                    <a:pt x="0" y="370449"/>
                  </a:cubicBezTo>
                  <a:cubicBezTo>
                    <a:pt x="0" y="370449"/>
                    <a:pt x="401794" y="481583"/>
                    <a:pt x="803589" y="458786"/>
                  </a:cubicBezTo>
                  <a:cubicBezTo>
                    <a:pt x="803589" y="458786"/>
                    <a:pt x="695303" y="205172"/>
                    <a:pt x="703853" y="128232"/>
                  </a:cubicBezTo>
                  <a:cubicBezTo>
                    <a:pt x="712401" y="51293"/>
                    <a:pt x="672507" y="0"/>
                    <a:pt x="672507" y="0"/>
                  </a:cubicBezTo>
                  <a:cubicBezTo>
                    <a:pt x="672507" y="0"/>
                    <a:pt x="185224" y="54143"/>
                    <a:pt x="133932" y="142480"/>
                  </a:cubicBezTo>
                  <a:close/>
                </a:path>
              </a:pathLst>
            </a:custGeom>
            <a:solidFill>
              <a:srgbClr val="D16156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3D97E6D2-2A5E-40BB-ABF5-857CD30F0E7A}"/>
                </a:ext>
              </a:extLst>
            </p:cNvPr>
            <p:cNvSpPr/>
            <p:nvPr/>
          </p:nvSpPr>
          <p:spPr>
            <a:xfrm>
              <a:off x="15481564" y="3737623"/>
              <a:ext cx="389285" cy="530891"/>
            </a:xfrm>
            <a:custGeom>
              <a:avLst/>
              <a:gdLst>
                <a:gd name="connsiteX0" fmla="*/ 2944 w 389285"/>
                <a:gd name="connsiteY0" fmla="*/ 177469 h 530891"/>
                <a:gd name="connsiteX1" fmla="*/ 22891 w 389285"/>
                <a:gd name="connsiteY1" fmla="*/ 416836 h 530891"/>
                <a:gd name="connsiteX2" fmla="*/ 165372 w 389285"/>
                <a:gd name="connsiteY2" fmla="*/ 530820 h 530891"/>
                <a:gd name="connsiteX3" fmla="*/ 361994 w 389285"/>
                <a:gd name="connsiteY3" fmla="*/ 388340 h 530891"/>
                <a:gd name="connsiteX4" fmla="*/ 387640 w 389285"/>
                <a:gd name="connsiteY4" fmla="*/ 177469 h 530891"/>
                <a:gd name="connsiteX5" fmla="*/ 179620 w 389285"/>
                <a:gd name="connsiteY5" fmla="*/ 793 h 530891"/>
                <a:gd name="connsiteX6" fmla="*/ 2944 w 389285"/>
                <a:gd name="connsiteY6" fmla="*/ 177469 h 530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285" h="530891">
                  <a:moveTo>
                    <a:pt x="2944" y="177469"/>
                  </a:moveTo>
                  <a:cubicBezTo>
                    <a:pt x="2944" y="177469"/>
                    <a:pt x="-11304" y="354144"/>
                    <a:pt x="22891" y="416836"/>
                  </a:cubicBezTo>
                  <a:cubicBezTo>
                    <a:pt x="59936" y="479527"/>
                    <a:pt x="119778" y="530820"/>
                    <a:pt x="165372" y="530820"/>
                  </a:cubicBezTo>
                  <a:cubicBezTo>
                    <a:pt x="228062" y="533670"/>
                    <a:pt x="330648" y="451031"/>
                    <a:pt x="361994" y="388340"/>
                  </a:cubicBezTo>
                  <a:cubicBezTo>
                    <a:pt x="393340" y="325648"/>
                    <a:pt x="390490" y="223063"/>
                    <a:pt x="387640" y="177469"/>
                  </a:cubicBezTo>
                  <a:cubicBezTo>
                    <a:pt x="381941" y="89131"/>
                    <a:pt x="353445" y="17891"/>
                    <a:pt x="179620" y="793"/>
                  </a:cubicBezTo>
                  <a:cubicBezTo>
                    <a:pt x="102680" y="-10605"/>
                    <a:pt x="17192" y="103379"/>
                    <a:pt x="2944" y="177469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956E40B7-BA1B-4A98-B723-A25B1603F36D}"/>
                </a:ext>
              </a:extLst>
            </p:cNvPr>
            <p:cNvSpPr/>
            <p:nvPr/>
          </p:nvSpPr>
          <p:spPr>
            <a:xfrm>
              <a:off x="15612740" y="3988002"/>
              <a:ext cx="54142" cy="123713"/>
            </a:xfrm>
            <a:custGeom>
              <a:avLst/>
              <a:gdLst>
                <a:gd name="connsiteX0" fmla="*/ 25646 w 54142"/>
                <a:gd name="connsiteY0" fmla="*/ 123713 h 123713"/>
                <a:gd name="connsiteX1" fmla="*/ 5700 w 54142"/>
                <a:gd name="connsiteY1" fmla="*/ 118014 h 123713"/>
                <a:gd name="connsiteX2" fmla="*/ 0 w 54142"/>
                <a:gd name="connsiteY2" fmla="*/ 106616 h 123713"/>
                <a:gd name="connsiteX3" fmla="*/ 22796 w 54142"/>
                <a:gd name="connsiteY3" fmla="*/ 4030 h 123713"/>
                <a:gd name="connsiteX4" fmla="*/ 28496 w 54142"/>
                <a:gd name="connsiteY4" fmla="*/ 1180 h 123713"/>
                <a:gd name="connsiteX5" fmla="*/ 31346 w 54142"/>
                <a:gd name="connsiteY5" fmla="*/ 6879 h 123713"/>
                <a:gd name="connsiteX6" fmla="*/ 8548 w 54142"/>
                <a:gd name="connsiteY6" fmla="*/ 106616 h 123713"/>
                <a:gd name="connsiteX7" fmla="*/ 11398 w 54142"/>
                <a:gd name="connsiteY7" fmla="*/ 109465 h 123713"/>
                <a:gd name="connsiteX8" fmla="*/ 48444 w 54142"/>
                <a:gd name="connsiteY8" fmla="*/ 109465 h 123713"/>
                <a:gd name="connsiteX9" fmla="*/ 54142 w 54142"/>
                <a:gd name="connsiteY9" fmla="*/ 112315 h 123713"/>
                <a:gd name="connsiteX10" fmla="*/ 51293 w 54142"/>
                <a:gd name="connsiteY10" fmla="*/ 118014 h 123713"/>
                <a:gd name="connsiteX11" fmla="*/ 25646 w 54142"/>
                <a:gd name="connsiteY11" fmla="*/ 123713 h 12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142" h="123713">
                  <a:moveTo>
                    <a:pt x="25646" y="123713"/>
                  </a:moveTo>
                  <a:cubicBezTo>
                    <a:pt x="17098" y="123713"/>
                    <a:pt x="11398" y="123713"/>
                    <a:pt x="5700" y="118014"/>
                  </a:cubicBezTo>
                  <a:cubicBezTo>
                    <a:pt x="2850" y="115164"/>
                    <a:pt x="0" y="112315"/>
                    <a:pt x="0" y="106616"/>
                  </a:cubicBezTo>
                  <a:cubicBezTo>
                    <a:pt x="0" y="86668"/>
                    <a:pt x="19948" y="6879"/>
                    <a:pt x="22796" y="4030"/>
                  </a:cubicBezTo>
                  <a:cubicBezTo>
                    <a:pt x="22796" y="1180"/>
                    <a:pt x="25646" y="-1669"/>
                    <a:pt x="28496" y="1180"/>
                  </a:cubicBezTo>
                  <a:cubicBezTo>
                    <a:pt x="31346" y="1180"/>
                    <a:pt x="34196" y="4030"/>
                    <a:pt x="31346" y="6879"/>
                  </a:cubicBezTo>
                  <a:cubicBezTo>
                    <a:pt x="25646" y="29676"/>
                    <a:pt x="8548" y="92368"/>
                    <a:pt x="8548" y="106616"/>
                  </a:cubicBezTo>
                  <a:cubicBezTo>
                    <a:pt x="8548" y="106616"/>
                    <a:pt x="8548" y="109465"/>
                    <a:pt x="11398" y="109465"/>
                  </a:cubicBezTo>
                  <a:cubicBezTo>
                    <a:pt x="17098" y="115164"/>
                    <a:pt x="37045" y="112315"/>
                    <a:pt x="48444" y="109465"/>
                  </a:cubicBezTo>
                  <a:cubicBezTo>
                    <a:pt x="51293" y="109465"/>
                    <a:pt x="54142" y="109465"/>
                    <a:pt x="54142" y="112315"/>
                  </a:cubicBezTo>
                  <a:cubicBezTo>
                    <a:pt x="54142" y="115164"/>
                    <a:pt x="54142" y="118014"/>
                    <a:pt x="51293" y="118014"/>
                  </a:cubicBezTo>
                  <a:cubicBezTo>
                    <a:pt x="48444" y="120864"/>
                    <a:pt x="37045" y="123713"/>
                    <a:pt x="25646" y="123713"/>
                  </a:cubicBezTo>
                  <a:close/>
                </a:path>
              </a:pathLst>
            </a:custGeom>
            <a:solidFill>
              <a:srgbClr val="E58777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FAABC0BA-CE81-4F7D-BD37-200B0F0CC72A}"/>
                </a:ext>
              </a:extLst>
            </p:cNvPr>
            <p:cNvSpPr/>
            <p:nvPr/>
          </p:nvSpPr>
          <p:spPr>
            <a:xfrm>
              <a:off x="15598492" y="4157309"/>
              <a:ext cx="99736" cy="51407"/>
            </a:xfrm>
            <a:custGeom>
              <a:avLst/>
              <a:gdLst>
                <a:gd name="connsiteX0" fmla="*/ 99736 w 99736"/>
                <a:gd name="connsiteY0" fmla="*/ 0 h 51407"/>
                <a:gd name="connsiteX1" fmla="*/ 0 w 99736"/>
                <a:gd name="connsiteY1" fmla="*/ 2850 h 51407"/>
                <a:gd name="connsiteX2" fmla="*/ 48444 w 99736"/>
                <a:gd name="connsiteY2" fmla="*/ 51293 h 51407"/>
                <a:gd name="connsiteX3" fmla="*/ 99736 w 99736"/>
                <a:gd name="connsiteY3" fmla="*/ 0 h 5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736" h="51407">
                  <a:moveTo>
                    <a:pt x="99736" y="0"/>
                  </a:moveTo>
                  <a:cubicBezTo>
                    <a:pt x="48444" y="25646"/>
                    <a:pt x="0" y="2850"/>
                    <a:pt x="0" y="2850"/>
                  </a:cubicBezTo>
                  <a:cubicBezTo>
                    <a:pt x="0" y="2850"/>
                    <a:pt x="14248" y="54143"/>
                    <a:pt x="48444" y="51293"/>
                  </a:cubicBezTo>
                  <a:cubicBezTo>
                    <a:pt x="88338" y="48443"/>
                    <a:pt x="99736" y="0"/>
                    <a:pt x="99736" y="0"/>
                  </a:cubicBezTo>
                  <a:close/>
                </a:path>
              </a:pathLst>
            </a:custGeom>
            <a:solidFill>
              <a:srgbClr val="FFFFFF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06553F74-0D0E-4C05-B4B2-BA1D51125CC1}"/>
                </a:ext>
              </a:extLst>
            </p:cNvPr>
            <p:cNvSpPr/>
            <p:nvPr/>
          </p:nvSpPr>
          <p:spPr>
            <a:xfrm>
              <a:off x="15540774" y="3965659"/>
              <a:ext cx="37770" cy="38497"/>
            </a:xfrm>
            <a:custGeom>
              <a:avLst/>
              <a:gdLst>
                <a:gd name="connsiteX0" fmla="*/ 37771 w 37770"/>
                <a:gd name="connsiteY0" fmla="*/ 23523 h 38497"/>
                <a:gd name="connsiteX1" fmla="*/ 14974 w 37770"/>
                <a:gd name="connsiteY1" fmla="*/ 37771 h 38497"/>
                <a:gd name="connsiteX2" fmla="*/ 726 w 37770"/>
                <a:gd name="connsiteY2" fmla="*/ 14974 h 38497"/>
                <a:gd name="connsiteX3" fmla="*/ 23523 w 37770"/>
                <a:gd name="connsiteY3" fmla="*/ 726 h 38497"/>
                <a:gd name="connsiteX4" fmla="*/ 37771 w 37770"/>
                <a:gd name="connsiteY4" fmla="*/ 23523 h 3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770" h="38497">
                  <a:moveTo>
                    <a:pt x="37771" y="23523"/>
                  </a:moveTo>
                  <a:cubicBezTo>
                    <a:pt x="34922" y="34922"/>
                    <a:pt x="26372" y="40621"/>
                    <a:pt x="14974" y="37771"/>
                  </a:cubicBezTo>
                  <a:cubicBezTo>
                    <a:pt x="3576" y="34922"/>
                    <a:pt x="-2124" y="26373"/>
                    <a:pt x="726" y="14974"/>
                  </a:cubicBezTo>
                  <a:cubicBezTo>
                    <a:pt x="3576" y="3576"/>
                    <a:pt x="12124" y="-2123"/>
                    <a:pt x="23523" y="726"/>
                  </a:cubicBezTo>
                  <a:cubicBezTo>
                    <a:pt x="32072" y="3576"/>
                    <a:pt x="37771" y="12125"/>
                    <a:pt x="37771" y="23523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133268F1-05A4-4D2A-94E2-72293529C343}"/>
                </a:ext>
              </a:extLst>
            </p:cNvPr>
            <p:cNvSpPr/>
            <p:nvPr/>
          </p:nvSpPr>
          <p:spPr>
            <a:xfrm>
              <a:off x="15717449" y="3962809"/>
              <a:ext cx="38497" cy="38497"/>
            </a:xfrm>
            <a:custGeom>
              <a:avLst/>
              <a:gdLst>
                <a:gd name="connsiteX0" fmla="*/ 37771 w 38497"/>
                <a:gd name="connsiteY0" fmla="*/ 23523 h 38497"/>
                <a:gd name="connsiteX1" fmla="*/ 14974 w 38497"/>
                <a:gd name="connsiteY1" fmla="*/ 37771 h 38497"/>
                <a:gd name="connsiteX2" fmla="*/ 726 w 38497"/>
                <a:gd name="connsiteY2" fmla="*/ 14974 h 38497"/>
                <a:gd name="connsiteX3" fmla="*/ 23523 w 38497"/>
                <a:gd name="connsiteY3" fmla="*/ 726 h 38497"/>
                <a:gd name="connsiteX4" fmla="*/ 37771 w 38497"/>
                <a:gd name="connsiteY4" fmla="*/ 23523 h 3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497" h="38497">
                  <a:moveTo>
                    <a:pt x="37771" y="23523"/>
                  </a:moveTo>
                  <a:cubicBezTo>
                    <a:pt x="34921" y="34922"/>
                    <a:pt x="26373" y="40621"/>
                    <a:pt x="14974" y="37771"/>
                  </a:cubicBezTo>
                  <a:cubicBezTo>
                    <a:pt x="3575" y="34922"/>
                    <a:pt x="-2123" y="26373"/>
                    <a:pt x="726" y="14974"/>
                  </a:cubicBezTo>
                  <a:cubicBezTo>
                    <a:pt x="3575" y="3576"/>
                    <a:pt x="12125" y="-2123"/>
                    <a:pt x="23523" y="726"/>
                  </a:cubicBezTo>
                  <a:cubicBezTo>
                    <a:pt x="34921" y="3576"/>
                    <a:pt x="40621" y="14974"/>
                    <a:pt x="37771" y="23523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95C86CFA-D22E-40B5-8703-00D021FA3A7C}"/>
                </a:ext>
              </a:extLst>
            </p:cNvPr>
            <p:cNvSpPr/>
            <p:nvPr/>
          </p:nvSpPr>
          <p:spPr>
            <a:xfrm>
              <a:off x="15513716" y="3917850"/>
              <a:ext cx="85956" cy="34287"/>
            </a:xfrm>
            <a:custGeom>
              <a:avLst/>
              <a:gdLst>
                <a:gd name="connsiteX0" fmla="*/ 7836 w 85956"/>
                <a:gd name="connsiteY0" fmla="*/ 34287 h 34287"/>
                <a:gd name="connsiteX1" fmla="*/ 2137 w 85956"/>
                <a:gd name="connsiteY1" fmla="*/ 31438 h 34287"/>
                <a:gd name="connsiteX2" fmla="*/ 2137 w 85956"/>
                <a:gd name="connsiteY2" fmla="*/ 20039 h 34287"/>
                <a:gd name="connsiteX3" fmla="*/ 81926 w 85956"/>
                <a:gd name="connsiteY3" fmla="*/ 5791 h 34287"/>
                <a:gd name="connsiteX4" fmla="*/ 84776 w 85956"/>
                <a:gd name="connsiteY4" fmla="*/ 14340 h 34287"/>
                <a:gd name="connsiteX5" fmla="*/ 76227 w 85956"/>
                <a:gd name="connsiteY5" fmla="*/ 17190 h 34287"/>
                <a:gd name="connsiteX6" fmla="*/ 13536 w 85956"/>
                <a:gd name="connsiteY6" fmla="*/ 25739 h 34287"/>
                <a:gd name="connsiteX7" fmla="*/ 7836 w 85956"/>
                <a:gd name="connsiteY7" fmla="*/ 34287 h 3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6" h="34287">
                  <a:moveTo>
                    <a:pt x="7836" y="34287"/>
                  </a:moveTo>
                  <a:cubicBezTo>
                    <a:pt x="4987" y="34287"/>
                    <a:pt x="4987" y="34287"/>
                    <a:pt x="2137" y="31438"/>
                  </a:cubicBezTo>
                  <a:cubicBezTo>
                    <a:pt x="-712" y="28588"/>
                    <a:pt x="-712" y="22889"/>
                    <a:pt x="2137" y="20039"/>
                  </a:cubicBezTo>
                  <a:cubicBezTo>
                    <a:pt x="24934" y="-8457"/>
                    <a:pt x="64828" y="92"/>
                    <a:pt x="81926" y="5791"/>
                  </a:cubicBezTo>
                  <a:cubicBezTo>
                    <a:pt x="84776" y="8641"/>
                    <a:pt x="87625" y="11491"/>
                    <a:pt x="84776" y="14340"/>
                  </a:cubicBezTo>
                  <a:cubicBezTo>
                    <a:pt x="81926" y="17190"/>
                    <a:pt x="79076" y="20039"/>
                    <a:pt x="76227" y="17190"/>
                  </a:cubicBezTo>
                  <a:cubicBezTo>
                    <a:pt x="73377" y="17190"/>
                    <a:pt x="36332" y="92"/>
                    <a:pt x="13536" y="25739"/>
                  </a:cubicBezTo>
                  <a:cubicBezTo>
                    <a:pt x="13536" y="34287"/>
                    <a:pt x="10686" y="34287"/>
                    <a:pt x="7836" y="34287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C147396E-BAF9-4C90-964E-02B1AD948B6F}"/>
                </a:ext>
              </a:extLst>
            </p:cNvPr>
            <p:cNvSpPr/>
            <p:nvPr/>
          </p:nvSpPr>
          <p:spPr>
            <a:xfrm>
              <a:off x="15690657" y="3910417"/>
              <a:ext cx="86647" cy="33171"/>
            </a:xfrm>
            <a:custGeom>
              <a:avLst/>
              <a:gdLst>
                <a:gd name="connsiteX0" fmla="*/ 81661 w 86647"/>
                <a:gd name="connsiteY0" fmla="*/ 33171 h 33171"/>
                <a:gd name="connsiteX1" fmla="*/ 75961 w 86647"/>
                <a:gd name="connsiteY1" fmla="*/ 30322 h 33171"/>
                <a:gd name="connsiteX2" fmla="*/ 13270 w 86647"/>
                <a:gd name="connsiteY2" fmla="*/ 27472 h 33171"/>
                <a:gd name="connsiteX3" fmla="*/ 1871 w 86647"/>
                <a:gd name="connsiteY3" fmla="*/ 24622 h 33171"/>
                <a:gd name="connsiteX4" fmla="*/ 4721 w 86647"/>
                <a:gd name="connsiteY4" fmla="*/ 13224 h 33171"/>
                <a:gd name="connsiteX5" fmla="*/ 84510 w 86647"/>
                <a:gd name="connsiteY5" fmla="*/ 18923 h 33171"/>
                <a:gd name="connsiteX6" fmla="*/ 84510 w 86647"/>
                <a:gd name="connsiteY6" fmla="*/ 30322 h 33171"/>
                <a:gd name="connsiteX7" fmla="*/ 81661 w 86647"/>
                <a:gd name="connsiteY7" fmla="*/ 33171 h 33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6647" h="33171">
                  <a:moveTo>
                    <a:pt x="81661" y="33171"/>
                  </a:moveTo>
                  <a:cubicBezTo>
                    <a:pt x="78811" y="33171"/>
                    <a:pt x="78811" y="33171"/>
                    <a:pt x="75961" y="30322"/>
                  </a:cubicBezTo>
                  <a:cubicBezTo>
                    <a:pt x="75961" y="30322"/>
                    <a:pt x="47465" y="4675"/>
                    <a:pt x="13270" y="27472"/>
                  </a:cubicBezTo>
                  <a:cubicBezTo>
                    <a:pt x="10421" y="30322"/>
                    <a:pt x="4721" y="30322"/>
                    <a:pt x="1871" y="24622"/>
                  </a:cubicBezTo>
                  <a:cubicBezTo>
                    <a:pt x="-978" y="21773"/>
                    <a:pt x="-978" y="16074"/>
                    <a:pt x="4721" y="13224"/>
                  </a:cubicBezTo>
                  <a:cubicBezTo>
                    <a:pt x="38917" y="-12422"/>
                    <a:pt x="73111" y="4675"/>
                    <a:pt x="84510" y="18923"/>
                  </a:cubicBezTo>
                  <a:cubicBezTo>
                    <a:pt x="87359" y="21773"/>
                    <a:pt x="87359" y="27472"/>
                    <a:pt x="84510" y="30322"/>
                  </a:cubicBezTo>
                  <a:cubicBezTo>
                    <a:pt x="84510" y="33171"/>
                    <a:pt x="81661" y="33171"/>
                    <a:pt x="81661" y="33171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CE24C2E5-4047-4F6C-A82E-D7701A98E364}"/>
                </a:ext>
              </a:extLst>
            </p:cNvPr>
            <p:cNvSpPr/>
            <p:nvPr/>
          </p:nvSpPr>
          <p:spPr>
            <a:xfrm>
              <a:off x="15461060" y="3706010"/>
              <a:ext cx="249784" cy="248976"/>
            </a:xfrm>
            <a:custGeom>
              <a:avLst/>
              <a:gdLst>
                <a:gd name="connsiteX0" fmla="*/ 245716 w 249784"/>
                <a:gd name="connsiteY0" fmla="*/ 1061 h 248976"/>
                <a:gd name="connsiteX1" fmla="*/ 217220 w 249784"/>
                <a:gd name="connsiteY1" fmla="*/ 120745 h 248976"/>
                <a:gd name="connsiteX2" fmla="*/ 651 w 249784"/>
                <a:gd name="connsiteY2" fmla="*/ 248977 h 248976"/>
                <a:gd name="connsiteX3" fmla="*/ 245716 w 249784"/>
                <a:gd name="connsiteY3" fmla="*/ 1061 h 24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784" h="248976">
                  <a:moveTo>
                    <a:pt x="245716" y="1061"/>
                  </a:moveTo>
                  <a:cubicBezTo>
                    <a:pt x="245716" y="1061"/>
                    <a:pt x="265664" y="83700"/>
                    <a:pt x="217220" y="120745"/>
                  </a:cubicBezTo>
                  <a:cubicBezTo>
                    <a:pt x="217220" y="120745"/>
                    <a:pt x="23447" y="169188"/>
                    <a:pt x="651" y="248977"/>
                  </a:cubicBezTo>
                  <a:cubicBezTo>
                    <a:pt x="651" y="248977"/>
                    <a:pt x="-24996" y="-18886"/>
                    <a:pt x="245716" y="1061"/>
                  </a:cubicBezTo>
                  <a:close/>
                </a:path>
              </a:pathLst>
            </a:custGeom>
            <a:solidFill>
              <a:srgbClr val="664241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91B37708-312D-49DE-B283-8EC7C950491E}"/>
                </a:ext>
              </a:extLst>
            </p:cNvPr>
            <p:cNvSpPr/>
            <p:nvPr/>
          </p:nvSpPr>
          <p:spPr>
            <a:xfrm>
              <a:off x="15681130" y="3707071"/>
              <a:ext cx="216952" cy="287542"/>
            </a:xfrm>
            <a:custGeom>
              <a:avLst/>
              <a:gdLst>
                <a:gd name="connsiteX0" fmla="*/ 0 w 216952"/>
                <a:gd name="connsiteY0" fmla="*/ 119684 h 287542"/>
                <a:gd name="connsiteX1" fmla="*/ 133932 w 216952"/>
                <a:gd name="connsiteY1" fmla="*/ 165277 h 287542"/>
                <a:gd name="connsiteX2" fmla="*/ 193774 w 216952"/>
                <a:gd name="connsiteY2" fmla="*/ 276412 h 287542"/>
                <a:gd name="connsiteX3" fmla="*/ 216570 w 216952"/>
                <a:gd name="connsiteY3" fmla="*/ 270712 h 287542"/>
                <a:gd name="connsiteX4" fmla="*/ 28496 w 216952"/>
                <a:gd name="connsiteY4" fmla="*/ 0 h 287542"/>
                <a:gd name="connsiteX5" fmla="*/ 0 w 216952"/>
                <a:gd name="connsiteY5" fmla="*/ 119684 h 287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6952" h="287542">
                  <a:moveTo>
                    <a:pt x="0" y="119684"/>
                  </a:moveTo>
                  <a:cubicBezTo>
                    <a:pt x="0" y="119684"/>
                    <a:pt x="85488" y="159578"/>
                    <a:pt x="133932" y="165277"/>
                  </a:cubicBezTo>
                  <a:cubicBezTo>
                    <a:pt x="182375" y="168127"/>
                    <a:pt x="193774" y="276412"/>
                    <a:pt x="193774" y="276412"/>
                  </a:cubicBezTo>
                  <a:cubicBezTo>
                    <a:pt x="193774" y="276412"/>
                    <a:pt x="213720" y="304908"/>
                    <a:pt x="216570" y="270712"/>
                  </a:cubicBezTo>
                  <a:cubicBezTo>
                    <a:pt x="219420" y="196623"/>
                    <a:pt x="210871" y="11398"/>
                    <a:pt x="28496" y="0"/>
                  </a:cubicBezTo>
                  <a:cubicBezTo>
                    <a:pt x="25646" y="0"/>
                    <a:pt x="19948" y="113984"/>
                    <a:pt x="0" y="119684"/>
                  </a:cubicBezTo>
                  <a:close/>
                </a:path>
              </a:pathLst>
            </a:custGeom>
            <a:solidFill>
              <a:srgbClr val="664241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146F346C-6FC7-4AE5-BE88-598F24FB4D3B}"/>
                </a:ext>
              </a:extLst>
            </p:cNvPr>
            <p:cNvSpPr/>
            <p:nvPr/>
          </p:nvSpPr>
          <p:spPr>
            <a:xfrm>
              <a:off x="15672582" y="3701372"/>
              <a:ext cx="145329" cy="173825"/>
            </a:xfrm>
            <a:custGeom>
              <a:avLst/>
              <a:gdLst>
                <a:gd name="connsiteX0" fmla="*/ 142480 w 145329"/>
                <a:gd name="connsiteY0" fmla="*/ 173826 h 173825"/>
                <a:gd name="connsiteX1" fmla="*/ 142480 w 145329"/>
                <a:gd name="connsiteY1" fmla="*/ 173826 h 173825"/>
                <a:gd name="connsiteX2" fmla="*/ 48443 w 145329"/>
                <a:gd name="connsiteY2" fmla="*/ 148179 h 173825"/>
                <a:gd name="connsiteX3" fmla="*/ 5699 w 145329"/>
                <a:gd name="connsiteY3" fmla="*/ 125383 h 173825"/>
                <a:gd name="connsiteX4" fmla="*/ 0 w 145329"/>
                <a:gd name="connsiteY4" fmla="*/ 122533 h 173825"/>
                <a:gd name="connsiteX5" fmla="*/ 2850 w 145329"/>
                <a:gd name="connsiteY5" fmla="*/ 116834 h 173825"/>
                <a:gd name="connsiteX6" fmla="*/ 17098 w 145329"/>
                <a:gd name="connsiteY6" fmla="*/ 94037 h 173825"/>
                <a:gd name="connsiteX7" fmla="*/ 25646 w 145329"/>
                <a:gd name="connsiteY7" fmla="*/ 56992 h 173825"/>
                <a:gd name="connsiteX8" fmla="*/ 28496 w 145329"/>
                <a:gd name="connsiteY8" fmla="*/ 31346 h 173825"/>
                <a:gd name="connsiteX9" fmla="*/ 31346 w 145329"/>
                <a:gd name="connsiteY9" fmla="*/ 5699 h 173825"/>
                <a:gd name="connsiteX10" fmla="*/ 37045 w 145329"/>
                <a:gd name="connsiteY10" fmla="*/ 0 h 173825"/>
                <a:gd name="connsiteX11" fmla="*/ 42744 w 145329"/>
                <a:gd name="connsiteY11" fmla="*/ 5699 h 173825"/>
                <a:gd name="connsiteX12" fmla="*/ 39894 w 145329"/>
                <a:gd name="connsiteY12" fmla="*/ 31346 h 173825"/>
                <a:gd name="connsiteX13" fmla="*/ 37045 w 145329"/>
                <a:gd name="connsiteY13" fmla="*/ 56992 h 173825"/>
                <a:gd name="connsiteX14" fmla="*/ 28496 w 145329"/>
                <a:gd name="connsiteY14" fmla="*/ 99736 h 173825"/>
                <a:gd name="connsiteX15" fmla="*/ 14248 w 145329"/>
                <a:gd name="connsiteY15" fmla="*/ 119683 h 173825"/>
                <a:gd name="connsiteX16" fmla="*/ 51293 w 145329"/>
                <a:gd name="connsiteY16" fmla="*/ 136781 h 173825"/>
                <a:gd name="connsiteX17" fmla="*/ 139630 w 145329"/>
                <a:gd name="connsiteY17" fmla="*/ 162427 h 173825"/>
                <a:gd name="connsiteX18" fmla="*/ 145330 w 145329"/>
                <a:gd name="connsiteY18" fmla="*/ 168127 h 173825"/>
                <a:gd name="connsiteX19" fmla="*/ 142480 w 145329"/>
                <a:gd name="connsiteY19" fmla="*/ 173826 h 17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5329" h="173825">
                  <a:moveTo>
                    <a:pt x="142480" y="173826"/>
                  </a:moveTo>
                  <a:cubicBezTo>
                    <a:pt x="142480" y="173826"/>
                    <a:pt x="142480" y="173826"/>
                    <a:pt x="142480" y="173826"/>
                  </a:cubicBezTo>
                  <a:cubicBezTo>
                    <a:pt x="108285" y="170976"/>
                    <a:pt x="71240" y="156728"/>
                    <a:pt x="48443" y="148179"/>
                  </a:cubicBezTo>
                  <a:cubicBezTo>
                    <a:pt x="22796" y="136781"/>
                    <a:pt x="5699" y="128232"/>
                    <a:pt x="5699" y="125383"/>
                  </a:cubicBezTo>
                  <a:lnTo>
                    <a:pt x="0" y="122533"/>
                  </a:lnTo>
                  <a:lnTo>
                    <a:pt x="2850" y="116834"/>
                  </a:lnTo>
                  <a:cubicBezTo>
                    <a:pt x="8548" y="111135"/>
                    <a:pt x="14248" y="102586"/>
                    <a:pt x="17098" y="94037"/>
                  </a:cubicBezTo>
                  <a:cubicBezTo>
                    <a:pt x="22796" y="82639"/>
                    <a:pt x="22796" y="68391"/>
                    <a:pt x="25646" y="56992"/>
                  </a:cubicBezTo>
                  <a:cubicBezTo>
                    <a:pt x="25646" y="51293"/>
                    <a:pt x="25646" y="39895"/>
                    <a:pt x="28496" y="31346"/>
                  </a:cubicBezTo>
                  <a:cubicBezTo>
                    <a:pt x="28496" y="19947"/>
                    <a:pt x="31346" y="11398"/>
                    <a:pt x="31346" y="5699"/>
                  </a:cubicBezTo>
                  <a:cubicBezTo>
                    <a:pt x="31346" y="2850"/>
                    <a:pt x="34195" y="0"/>
                    <a:pt x="37045" y="0"/>
                  </a:cubicBezTo>
                  <a:cubicBezTo>
                    <a:pt x="39894" y="0"/>
                    <a:pt x="42744" y="2850"/>
                    <a:pt x="42744" y="5699"/>
                  </a:cubicBezTo>
                  <a:cubicBezTo>
                    <a:pt x="42744" y="11398"/>
                    <a:pt x="42744" y="22797"/>
                    <a:pt x="39894" y="31346"/>
                  </a:cubicBezTo>
                  <a:cubicBezTo>
                    <a:pt x="39894" y="42744"/>
                    <a:pt x="37045" y="51293"/>
                    <a:pt x="37045" y="56992"/>
                  </a:cubicBezTo>
                  <a:cubicBezTo>
                    <a:pt x="37045" y="71240"/>
                    <a:pt x="34195" y="85488"/>
                    <a:pt x="28496" y="99736"/>
                  </a:cubicBezTo>
                  <a:cubicBezTo>
                    <a:pt x="25646" y="108285"/>
                    <a:pt x="19947" y="113984"/>
                    <a:pt x="14248" y="119683"/>
                  </a:cubicBezTo>
                  <a:cubicBezTo>
                    <a:pt x="19947" y="122533"/>
                    <a:pt x="34195" y="131082"/>
                    <a:pt x="51293" y="136781"/>
                  </a:cubicBezTo>
                  <a:cubicBezTo>
                    <a:pt x="74090" y="145330"/>
                    <a:pt x="108285" y="159578"/>
                    <a:pt x="139630" y="162427"/>
                  </a:cubicBezTo>
                  <a:cubicBezTo>
                    <a:pt x="142480" y="162427"/>
                    <a:pt x="145330" y="165277"/>
                    <a:pt x="145330" y="168127"/>
                  </a:cubicBezTo>
                  <a:cubicBezTo>
                    <a:pt x="145330" y="173826"/>
                    <a:pt x="145330" y="173826"/>
                    <a:pt x="142480" y="173826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9E0DF6A7-57BB-4694-A4E1-A11B74D058F6}"/>
                </a:ext>
              </a:extLst>
            </p:cNvPr>
            <p:cNvSpPr/>
            <p:nvPr/>
          </p:nvSpPr>
          <p:spPr>
            <a:xfrm>
              <a:off x="15760920" y="3821161"/>
              <a:ext cx="239366" cy="506874"/>
            </a:xfrm>
            <a:custGeom>
              <a:avLst/>
              <a:gdLst>
                <a:gd name="connsiteX0" fmla="*/ 45593 w 239366"/>
                <a:gd name="connsiteY0" fmla="*/ 54037 h 506874"/>
                <a:gd name="connsiteX1" fmla="*/ 0 w 239366"/>
                <a:gd name="connsiteY1" fmla="*/ 487177 h 506874"/>
                <a:gd name="connsiteX2" fmla="*/ 239367 w 239366"/>
                <a:gd name="connsiteY2" fmla="*/ 470079 h 506874"/>
                <a:gd name="connsiteX3" fmla="*/ 113984 w 239366"/>
                <a:gd name="connsiteY3" fmla="*/ 2744 h 506874"/>
                <a:gd name="connsiteX4" fmla="*/ 45593 w 239366"/>
                <a:gd name="connsiteY4" fmla="*/ 54037 h 506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366" h="506874">
                  <a:moveTo>
                    <a:pt x="45593" y="54037"/>
                  </a:moveTo>
                  <a:cubicBezTo>
                    <a:pt x="45593" y="54037"/>
                    <a:pt x="151029" y="233562"/>
                    <a:pt x="0" y="487177"/>
                  </a:cubicBezTo>
                  <a:cubicBezTo>
                    <a:pt x="0" y="487177"/>
                    <a:pt x="128232" y="541319"/>
                    <a:pt x="239367" y="470079"/>
                  </a:cubicBezTo>
                  <a:cubicBezTo>
                    <a:pt x="239367" y="470079"/>
                    <a:pt x="230817" y="236412"/>
                    <a:pt x="113984" y="2744"/>
                  </a:cubicBezTo>
                  <a:cubicBezTo>
                    <a:pt x="105435" y="-14354"/>
                    <a:pt x="45593" y="54037"/>
                    <a:pt x="45593" y="54037"/>
                  </a:cubicBezTo>
                  <a:close/>
                </a:path>
              </a:pathLst>
            </a:custGeom>
            <a:solidFill>
              <a:srgbClr val="664241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27018B0E-37F6-4002-B12C-E8EC077775C6}"/>
                </a:ext>
              </a:extLst>
            </p:cNvPr>
            <p:cNvSpPr/>
            <p:nvPr/>
          </p:nvSpPr>
          <p:spPr>
            <a:xfrm>
              <a:off x="15433215" y="3866649"/>
              <a:ext cx="131081" cy="159578"/>
            </a:xfrm>
            <a:custGeom>
              <a:avLst/>
              <a:gdLst>
                <a:gd name="connsiteX0" fmla="*/ 5699 w 131081"/>
                <a:gd name="connsiteY0" fmla="*/ 159578 h 159578"/>
                <a:gd name="connsiteX1" fmla="*/ 5699 w 131081"/>
                <a:gd name="connsiteY1" fmla="*/ 159578 h 159578"/>
                <a:gd name="connsiteX2" fmla="*/ 0 w 131081"/>
                <a:gd name="connsiteY2" fmla="*/ 153879 h 159578"/>
                <a:gd name="connsiteX3" fmla="*/ 125382 w 131081"/>
                <a:gd name="connsiteY3" fmla="*/ 0 h 159578"/>
                <a:gd name="connsiteX4" fmla="*/ 131081 w 131081"/>
                <a:gd name="connsiteY4" fmla="*/ 2850 h 159578"/>
                <a:gd name="connsiteX5" fmla="*/ 128232 w 131081"/>
                <a:gd name="connsiteY5" fmla="*/ 8549 h 159578"/>
                <a:gd name="connsiteX6" fmla="*/ 11398 w 131081"/>
                <a:gd name="connsiteY6" fmla="*/ 153879 h 159578"/>
                <a:gd name="connsiteX7" fmla="*/ 5699 w 131081"/>
                <a:gd name="connsiteY7" fmla="*/ 159578 h 159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1081" h="159578">
                  <a:moveTo>
                    <a:pt x="5699" y="159578"/>
                  </a:moveTo>
                  <a:cubicBezTo>
                    <a:pt x="5699" y="159578"/>
                    <a:pt x="5699" y="159578"/>
                    <a:pt x="5699" y="159578"/>
                  </a:cubicBezTo>
                  <a:cubicBezTo>
                    <a:pt x="2849" y="159578"/>
                    <a:pt x="0" y="156728"/>
                    <a:pt x="0" y="153879"/>
                  </a:cubicBezTo>
                  <a:cubicBezTo>
                    <a:pt x="19947" y="34195"/>
                    <a:pt x="122533" y="0"/>
                    <a:pt x="125382" y="0"/>
                  </a:cubicBezTo>
                  <a:cubicBezTo>
                    <a:pt x="128232" y="0"/>
                    <a:pt x="131081" y="0"/>
                    <a:pt x="131081" y="2850"/>
                  </a:cubicBezTo>
                  <a:cubicBezTo>
                    <a:pt x="131081" y="5699"/>
                    <a:pt x="131081" y="8549"/>
                    <a:pt x="128232" y="8549"/>
                  </a:cubicBezTo>
                  <a:cubicBezTo>
                    <a:pt x="128232" y="8549"/>
                    <a:pt x="28496" y="39895"/>
                    <a:pt x="11398" y="153879"/>
                  </a:cubicBezTo>
                  <a:cubicBezTo>
                    <a:pt x="11398" y="156728"/>
                    <a:pt x="8548" y="159578"/>
                    <a:pt x="5699" y="159578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7FE4A776-D07A-4452-AB9F-3943E374791C}"/>
                </a:ext>
              </a:extLst>
            </p:cNvPr>
            <p:cNvSpPr/>
            <p:nvPr/>
          </p:nvSpPr>
          <p:spPr>
            <a:xfrm>
              <a:off x="15334191" y="4063272"/>
              <a:ext cx="81926" cy="176675"/>
            </a:xfrm>
            <a:custGeom>
              <a:avLst/>
              <a:gdLst>
                <a:gd name="connsiteX0" fmla="*/ 4986 w 81926"/>
                <a:gd name="connsiteY0" fmla="*/ 176676 h 176675"/>
                <a:gd name="connsiteX1" fmla="*/ 2137 w 81926"/>
                <a:gd name="connsiteY1" fmla="*/ 173826 h 176675"/>
                <a:gd name="connsiteX2" fmla="*/ 2137 w 81926"/>
                <a:gd name="connsiteY2" fmla="*/ 165277 h 176675"/>
                <a:gd name="connsiteX3" fmla="*/ 70528 w 81926"/>
                <a:gd name="connsiteY3" fmla="*/ 5699 h 176675"/>
                <a:gd name="connsiteX4" fmla="*/ 76227 w 81926"/>
                <a:gd name="connsiteY4" fmla="*/ 0 h 176675"/>
                <a:gd name="connsiteX5" fmla="*/ 81926 w 81926"/>
                <a:gd name="connsiteY5" fmla="*/ 5699 h 176675"/>
                <a:gd name="connsiteX6" fmla="*/ 13536 w 81926"/>
                <a:gd name="connsiteY6" fmla="*/ 168127 h 176675"/>
                <a:gd name="connsiteX7" fmla="*/ 4986 w 81926"/>
                <a:gd name="connsiteY7" fmla="*/ 176676 h 17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926" h="176675">
                  <a:moveTo>
                    <a:pt x="4986" y="176676"/>
                  </a:moveTo>
                  <a:cubicBezTo>
                    <a:pt x="4986" y="176676"/>
                    <a:pt x="2137" y="176676"/>
                    <a:pt x="2137" y="173826"/>
                  </a:cubicBezTo>
                  <a:cubicBezTo>
                    <a:pt x="-712" y="170976"/>
                    <a:pt x="-712" y="168127"/>
                    <a:pt x="2137" y="165277"/>
                  </a:cubicBezTo>
                  <a:cubicBezTo>
                    <a:pt x="50580" y="113984"/>
                    <a:pt x="67678" y="8549"/>
                    <a:pt x="70528" y="5699"/>
                  </a:cubicBezTo>
                  <a:cubicBezTo>
                    <a:pt x="70528" y="2850"/>
                    <a:pt x="73377" y="0"/>
                    <a:pt x="76227" y="0"/>
                  </a:cubicBezTo>
                  <a:cubicBezTo>
                    <a:pt x="79076" y="0"/>
                    <a:pt x="81926" y="2850"/>
                    <a:pt x="81926" y="5699"/>
                  </a:cubicBezTo>
                  <a:cubicBezTo>
                    <a:pt x="81926" y="11398"/>
                    <a:pt x="61979" y="116834"/>
                    <a:pt x="13536" y="168127"/>
                  </a:cubicBezTo>
                  <a:cubicBezTo>
                    <a:pt x="7836" y="176676"/>
                    <a:pt x="4986" y="176676"/>
                    <a:pt x="4986" y="176676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4F11FE1C-46AB-4F79-8DED-15630EAB6B57}"/>
                </a:ext>
              </a:extLst>
            </p:cNvPr>
            <p:cNvSpPr/>
            <p:nvPr/>
          </p:nvSpPr>
          <p:spPr>
            <a:xfrm>
              <a:off x="15376935" y="4139031"/>
              <a:ext cx="66008" cy="120863"/>
            </a:xfrm>
            <a:custGeom>
              <a:avLst/>
              <a:gdLst>
                <a:gd name="connsiteX0" fmla="*/ 4986 w 66008"/>
                <a:gd name="connsiteY0" fmla="*/ 120864 h 120863"/>
                <a:gd name="connsiteX1" fmla="*/ 2137 w 66008"/>
                <a:gd name="connsiteY1" fmla="*/ 118014 h 120863"/>
                <a:gd name="connsiteX2" fmla="*/ 2137 w 66008"/>
                <a:gd name="connsiteY2" fmla="*/ 109465 h 120863"/>
                <a:gd name="connsiteX3" fmla="*/ 56280 w 66008"/>
                <a:gd name="connsiteY3" fmla="*/ 4030 h 120863"/>
                <a:gd name="connsiteX4" fmla="*/ 61979 w 66008"/>
                <a:gd name="connsiteY4" fmla="*/ 1180 h 120863"/>
                <a:gd name="connsiteX5" fmla="*/ 64828 w 66008"/>
                <a:gd name="connsiteY5" fmla="*/ 6880 h 120863"/>
                <a:gd name="connsiteX6" fmla="*/ 4986 w 66008"/>
                <a:gd name="connsiteY6" fmla="*/ 118014 h 120863"/>
                <a:gd name="connsiteX7" fmla="*/ 4986 w 66008"/>
                <a:gd name="connsiteY7" fmla="*/ 120864 h 120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008" h="120863">
                  <a:moveTo>
                    <a:pt x="4986" y="120864"/>
                  </a:moveTo>
                  <a:cubicBezTo>
                    <a:pt x="2137" y="120864"/>
                    <a:pt x="2137" y="120864"/>
                    <a:pt x="2137" y="118014"/>
                  </a:cubicBezTo>
                  <a:cubicBezTo>
                    <a:pt x="-712" y="115165"/>
                    <a:pt x="-712" y="112315"/>
                    <a:pt x="2137" y="109465"/>
                  </a:cubicBezTo>
                  <a:cubicBezTo>
                    <a:pt x="30633" y="83819"/>
                    <a:pt x="56280" y="4030"/>
                    <a:pt x="56280" y="4030"/>
                  </a:cubicBezTo>
                  <a:cubicBezTo>
                    <a:pt x="56280" y="1180"/>
                    <a:pt x="59129" y="-1669"/>
                    <a:pt x="61979" y="1180"/>
                  </a:cubicBezTo>
                  <a:cubicBezTo>
                    <a:pt x="64828" y="1180"/>
                    <a:pt x="67678" y="4030"/>
                    <a:pt x="64828" y="6880"/>
                  </a:cubicBezTo>
                  <a:cubicBezTo>
                    <a:pt x="64828" y="9729"/>
                    <a:pt x="39182" y="92368"/>
                    <a:pt x="4986" y="118014"/>
                  </a:cubicBezTo>
                  <a:cubicBezTo>
                    <a:pt x="7836" y="120864"/>
                    <a:pt x="4986" y="120864"/>
                    <a:pt x="4986" y="120864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41D9FE34-C818-4B3E-98A2-A54F12B1FF77}"/>
                </a:ext>
              </a:extLst>
            </p:cNvPr>
            <p:cNvSpPr/>
            <p:nvPr/>
          </p:nvSpPr>
          <p:spPr>
            <a:xfrm>
              <a:off x="15758070" y="3859683"/>
              <a:ext cx="89952" cy="451504"/>
            </a:xfrm>
            <a:custGeom>
              <a:avLst/>
              <a:gdLst>
                <a:gd name="connsiteX0" fmla="*/ 5699 w 89952"/>
                <a:gd name="connsiteY0" fmla="*/ 451504 h 451504"/>
                <a:gd name="connsiteX1" fmla="*/ 5699 w 89952"/>
                <a:gd name="connsiteY1" fmla="*/ 451504 h 451504"/>
                <a:gd name="connsiteX2" fmla="*/ 0 w 89952"/>
                <a:gd name="connsiteY2" fmla="*/ 442955 h 451504"/>
                <a:gd name="connsiteX3" fmla="*/ 74090 w 89952"/>
                <a:gd name="connsiteY3" fmla="*/ 123800 h 451504"/>
                <a:gd name="connsiteX4" fmla="*/ 34195 w 89952"/>
                <a:gd name="connsiteY4" fmla="*/ 9815 h 451504"/>
                <a:gd name="connsiteX5" fmla="*/ 34195 w 89952"/>
                <a:gd name="connsiteY5" fmla="*/ 1266 h 451504"/>
                <a:gd name="connsiteX6" fmla="*/ 42744 w 89952"/>
                <a:gd name="connsiteY6" fmla="*/ 1266 h 451504"/>
                <a:gd name="connsiteX7" fmla="*/ 85488 w 89952"/>
                <a:gd name="connsiteY7" fmla="*/ 118100 h 451504"/>
                <a:gd name="connsiteX8" fmla="*/ 11398 w 89952"/>
                <a:gd name="connsiteY8" fmla="*/ 442955 h 451504"/>
                <a:gd name="connsiteX9" fmla="*/ 5699 w 89952"/>
                <a:gd name="connsiteY9" fmla="*/ 451504 h 451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952" h="451504">
                  <a:moveTo>
                    <a:pt x="5699" y="451504"/>
                  </a:moveTo>
                  <a:cubicBezTo>
                    <a:pt x="5699" y="451504"/>
                    <a:pt x="5699" y="451504"/>
                    <a:pt x="5699" y="451504"/>
                  </a:cubicBezTo>
                  <a:cubicBezTo>
                    <a:pt x="0" y="448654"/>
                    <a:pt x="0" y="445805"/>
                    <a:pt x="0" y="442955"/>
                  </a:cubicBezTo>
                  <a:cubicBezTo>
                    <a:pt x="79789" y="303324"/>
                    <a:pt x="82638" y="192190"/>
                    <a:pt x="74090" y="123800"/>
                  </a:cubicBezTo>
                  <a:cubicBezTo>
                    <a:pt x="62691" y="49710"/>
                    <a:pt x="34195" y="9815"/>
                    <a:pt x="34195" y="9815"/>
                  </a:cubicBezTo>
                  <a:cubicBezTo>
                    <a:pt x="31346" y="6966"/>
                    <a:pt x="34195" y="4116"/>
                    <a:pt x="34195" y="1266"/>
                  </a:cubicBezTo>
                  <a:cubicBezTo>
                    <a:pt x="37045" y="-1583"/>
                    <a:pt x="39894" y="1266"/>
                    <a:pt x="42744" y="1266"/>
                  </a:cubicBezTo>
                  <a:cubicBezTo>
                    <a:pt x="42744" y="4116"/>
                    <a:pt x="74090" y="44011"/>
                    <a:pt x="85488" y="118100"/>
                  </a:cubicBezTo>
                  <a:cubicBezTo>
                    <a:pt x="96886" y="186491"/>
                    <a:pt x="91187" y="300475"/>
                    <a:pt x="11398" y="442955"/>
                  </a:cubicBezTo>
                  <a:cubicBezTo>
                    <a:pt x="8548" y="451504"/>
                    <a:pt x="8548" y="451504"/>
                    <a:pt x="5699" y="451504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64FEC2BA-5052-4CA4-A91C-13F59FA61DFD}"/>
                </a:ext>
              </a:extLst>
            </p:cNvPr>
            <p:cNvSpPr/>
            <p:nvPr/>
          </p:nvSpPr>
          <p:spPr>
            <a:xfrm>
              <a:off x="15598492" y="3725119"/>
              <a:ext cx="112314" cy="17328"/>
            </a:xfrm>
            <a:custGeom>
              <a:avLst/>
              <a:gdLst>
                <a:gd name="connsiteX0" fmla="*/ 5700 w 112314"/>
                <a:gd name="connsiteY0" fmla="*/ 16148 h 17328"/>
                <a:gd name="connsiteX1" fmla="*/ 0 w 112314"/>
                <a:gd name="connsiteY1" fmla="*/ 13298 h 17328"/>
                <a:gd name="connsiteX2" fmla="*/ 2850 w 112314"/>
                <a:gd name="connsiteY2" fmla="*/ 7599 h 17328"/>
                <a:gd name="connsiteX3" fmla="*/ 108285 w 112314"/>
                <a:gd name="connsiteY3" fmla="*/ 7599 h 17328"/>
                <a:gd name="connsiteX4" fmla="*/ 111134 w 112314"/>
                <a:gd name="connsiteY4" fmla="*/ 13298 h 17328"/>
                <a:gd name="connsiteX5" fmla="*/ 105436 w 112314"/>
                <a:gd name="connsiteY5" fmla="*/ 16148 h 17328"/>
                <a:gd name="connsiteX6" fmla="*/ 5700 w 112314"/>
                <a:gd name="connsiteY6" fmla="*/ 16148 h 17328"/>
                <a:gd name="connsiteX7" fmla="*/ 5700 w 112314"/>
                <a:gd name="connsiteY7" fmla="*/ 16148 h 17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314" h="17328">
                  <a:moveTo>
                    <a:pt x="5700" y="16148"/>
                  </a:moveTo>
                  <a:cubicBezTo>
                    <a:pt x="2850" y="16148"/>
                    <a:pt x="2850" y="16148"/>
                    <a:pt x="0" y="13298"/>
                  </a:cubicBezTo>
                  <a:cubicBezTo>
                    <a:pt x="0" y="10448"/>
                    <a:pt x="0" y="7599"/>
                    <a:pt x="2850" y="7599"/>
                  </a:cubicBezTo>
                  <a:cubicBezTo>
                    <a:pt x="48444" y="-9499"/>
                    <a:pt x="108285" y="7599"/>
                    <a:pt x="108285" y="7599"/>
                  </a:cubicBezTo>
                  <a:cubicBezTo>
                    <a:pt x="111134" y="7599"/>
                    <a:pt x="113984" y="10448"/>
                    <a:pt x="111134" y="13298"/>
                  </a:cubicBezTo>
                  <a:cubicBezTo>
                    <a:pt x="111134" y="16148"/>
                    <a:pt x="108285" y="18997"/>
                    <a:pt x="105436" y="16148"/>
                  </a:cubicBezTo>
                  <a:cubicBezTo>
                    <a:pt x="105436" y="16148"/>
                    <a:pt x="48444" y="-950"/>
                    <a:pt x="5700" y="16148"/>
                  </a:cubicBezTo>
                  <a:cubicBezTo>
                    <a:pt x="5700" y="16148"/>
                    <a:pt x="5700" y="16148"/>
                    <a:pt x="5700" y="16148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BB8C8BF1-1096-40FF-9041-4B29F8A96319}"/>
                </a:ext>
              </a:extLst>
            </p:cNvPr>
            <p:cNvSpPr/>
            <p:nvPr/>
          </p:nvSpPr>
          <p:spPr>
            <a:xfrm>
              <a:off x="15584244" y="4192216"/>
              <a:ext cx="201609" cy="81926"/>
            </a:xfrm>
            <a:custGeom>
              <a:avLst/>
              <a:gdLst>
                <a:gd name="connsiteX0" fmla="*/ 71240 w 201609"/>
                <a:gd name="connsiteY0" fmla="*/ 81926 h 81926"/>
                <a:gd name="connsiteX1" fmla="*/ 62692 w 201609"/>
                <a:gd name="connsiteY1" fmla="*/ 81926 h 81926"/>
                <a:gd name="connsiteX2" fmla="*/ 2850 w 201609"/>
                <a:gd name="connsiteY2" fmla="*/ 61979 h 81926"/>
                <a:gd name="connsiteX3" fmla="*/ 0 w 201609"/>
                <a:gd name="connsiteY3" fmla="*/ 53430 h 81926"/>
                <a:gd name="connsiteX4" fmla="*/ 8548 w 201609"/>
                <a:gd name="connsiteY4" fmla="*/ 50581 h 81926"/>
                <a:gd name="connsiteX5" fmla="*/ 62692 w 201609"/>
                <a:gd name="connsiteY5" fmla="*/ 67678 h 81926"/>
                <a:gd name="connsiteX6" fmla="*/ 68390 w 201609"/>
                <a:gd name="connsiteY6" fmla="*/ 67678 h 81926"/>
                <a:gd name="connsiteX7" fmla="*/ 190924 w 201609"/>
                <a:gd name="connsiteY7" fmla="*/ 2137 h 81926"/>
                <a:gd name="connsiteX8" fmla="*/ 199472 w 201609"/>
                <a:gd name="connsiteY8" fmla="*/ 2137 h 81926"/>
                <a:gd name="connsiteX9" fmla="*/ 199472 w 201609"/>
                <a:gd name="connsiteY9" fmla="*/ 10686 h 81926"/>
                <a:gd name="connsiteX10" fmla="*/ 71240 w 201609"/>
                <a:gd name="connsiteY10" fmla="*/ 81926 h 8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1609" h="81926">
                  <a:moveTo>
                    <a:pt x="71240" y="81926"/>
                  </a:moveTo>
                  <a:cubicBezTo>
                    <a:pt x="68390" y="81926"/>
                    <a:pt x="65541" y="81926"/>
                    <a:pt x="62692" y="81926"/>
                  </a:cubicBezTo>
                  <a:cubicBezTo>
                    <a:pt x="42744" y="79077"/>
                    <a:pt x="22796" y="73377"/>
                    <a:pt x="2850" y="61979"/>
                  </a:cubicBezTo>
                  <a:cubicBezTo>
                    <a:pt x="0" y="59129"/>
                    <a:pt x="0" y="56280"/>
                    <a:pt x="0" y="53430"/>
                  </a:cubicBezTo>
                  <a:cubicBezTo>
                    <a:pt x="2850" y="50581"/>
                    <a:pt x="5700" y="50581"/>
                    <a:pt x="8548" y="50581"/>
                  </a:cubicBezTo>
                  <a:cubicBezTo>
                    <a:pt x="25646" y="61979"/>
                    <a:pt x="42744" y="67678"/>
                    <a:pt x="62692" y="67678"/>
                  </a:cubicBezTo>
                  <a:cubicBezTo>
                    <a:pt x="65541" y="67678"/>
                    <a:pt x="68390" y="67678"/>
                    <a:pt x="68390" y="67678"/>
                  </a:cubicBezTo>
                  <a:cubicBezTo>
                    <a:pt x="125382" y="67678"/>
                    <a:pt x="190924" y="2137"/>
                    <a:pt x="190924" y="2137"/>
                  </a:cubicBezTo>
                  <a:cubicBezTo>
                    <a:pt x="193773" y="-712"/>
                    <a:pt x="196623" y="-712"/>
                    <a:pt x="199472" y="2137"/>
                  </a:cubicBezTo>
                  <a:cubicBezTo>
                    <a:pt x="202322" y="4987"/>
                    <a:pt x="202322" y="7837"/>
                    <a:pt x="199472" y="10686"/>
                  </a:cubicBezTo>
                  <a:cubicBezTo>
                    <a:pt x="202322" y="16385"/>
                    <a:pt x="133932" y="81926"/>
                    <a:pt x="71240" y="81926"/>
                  </a:cubicBezTo>
                  <a:close/>
                </a:path>
              </a:pathLst>
            </a:custGeom>
            <a:solidFill>
              <a:srgbClr val="E58777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79683D36-A7F8-4747-B8C0-E7841E53C8A3}"/>
                </a:ext>
              </a:extLst>
            </p:cNvPr>
            <p:cNvSpPr/>
            <p:nvPr/>
          </p:nvSpPr>
          <p:spPr>
            <a:xfrm>
              <a:off x="15299283" y="5848793"/>
              <a:ext cx="74089" cy="78119"/>
            </a:xfrm>
            <a:custGeom>
              <a:avLst/>
              <a:gdLst>
                <a:gd name="connsiteX0" fmla="*/ 74090 w 74089"/>
                <a:gd name="connsiteY0" fmla="*/ 78120 h 78119"/>
                <a:gd name="connsiteX1" fmla="*/ 5700 w 74089"/>
                <a:gd name="connsiteY1" fmla="*/ 78120 h 78119"/>
                <a:gd name="connsiteX2" fmla="*/ 0 w 74089"/>
                <a:gd name="connsiteY2" fmla="*/ 72421 h 78119"/>
                <a:gd name="connsiteX3" fmla="*/ 5700 w 74089"/>
                <a:gd name="connsiteY3" fmla="*/ 66721 h 78119"/>
                <a:gd name="connsiteX4" fmla="*/ 56992 w 74089"/>
                <a:gd name="connsiteY4" fmla="*/ 66721 h 78119"/>
                <a:gd name="connsiteX5" fmla="*/ 19948 w 74089"/>
                <a:gd name="connsiteY5" fmla="*/ 9729 h 78119"/>
                <a:gd name="connsiteX6" fmla="*/ 17098 w 74089"/>
                <a:gd name="connsiteY6" fmla="*/ 4030 h 78119"/>
                <a:gd name="connsiteX7" fmla="*/ 22796 w 74089"/>
                <a:gd name="connsiteY7" fmla="*/ 1180 h 78119"/>
                <a:gd name="connsiteX8" fmla="*/ 68390 w 74089"/>
                <a:gd name="connsiteY8" fmla="*/ 72421 h 78119"/>
                <a:gd name="connsiteX9" fmla="*/ 74090 w 74089"/>
                <a:gd name="connsiteY9" fmla="*/ 78120 h 78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089" h="78119">
                  <a:moveTo>
                    <a:pt x="74090" y="78120"/>
                  </a:moveTo>
                  <a:lnTo>
                    <a:pt x="5700" y="78120"/>
                  </a:lnTo>
                  <a:cubicBezTo>
                    <a:pt x="2850" y="78120"/>
                    <a:pt x="0" y="75270"/>
                    <a:pt x="0" y="72421"/>
                  </a:cubicBezTo>
                  <a:cubicBezTo>
                    <a:pt x="0" y="69571"/>
                    <a:pt x="2850" y="66721"/>
                    <a:pt x="5700" y="66721"/>
                  </a:cubicBezTo>
                  <a:lnTo>
                    <a:pt x="56992" y="66721"/>
                  </a:lnTo>
                  <a:cubicBezTo>
                    <a:pt x="42744" y="38225"/>
                    <a:pt x="28496" y="12579"/>
                    <a:pt x="19948" y="9729"/>
                  </a:cubicBezTo>
                  <a:cubicBezTo>
                    <a:pt x="17098" y="9729"/>
                    <a:pt x="14248" y="6880"/>
                    <a:pt x="17098" y="4030"/>
                  </a:cubicBezTo>
                  <a:cubicBezTo>
                    <a:pt x="17098" y="1180"/>
                    <a:pt x="19948" y="-1669"/>
                    <a:pt x="22796" y="1180"/>
                  </a:cubicBezTo>
                  <a:cubicBezTo>
                    <a:pt x="37045" y="4030"/>
                    <a:pt x="59842" y="52473"/>
                    <a:pt x="68390" y="72421"/>
                  </a:cubicBezTo>
                  <a:lnTo>
                    <a:pt x="74090" y="78120"/>
                  </a:ln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8158C357-A382-41B2-99C5-97B437629A52}"/>
                </a:ext>
              </a:extLst>
            </p:cNvPr>
            <p:cNvSpPr/>
            <p:nvPr/>
          </p:nvSpPr>
          <p:spPr>
            <a:xfrm>
              <a:off x="15857532" y="4182955"/>
              <a:ext cx="479007" cy="439865"/>
            </a:xfrm>
            <a:custGeom>
              <a:avLst/>
              <a:gdLst>
                <a:gd name="connsiteX0" fmla="*/ 273836 w 479007"/>
                <a:gd name="connsiteY0" fmla="*/ 0 h 439865"/>
                <a:gd name="connsiteX1" fmla="*/ 20221 w 479007"/>
                <a:gd name="connsiteY1" fmla="*/ 404644 h 439865"/>
                <a:gd name="connsiteX2" fmla="*/ 479007 w 479007"/>
                <a:gd name="connsiteY2" fmla="*/ 290660 h 439865"/>
                <a:gd name="connsiteX3" fmla="*/ 273836 w 479007"/>
                <a:gd name="connsiteY3" fmla="*/ 0 h 439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9007" h="439865">
                  <a:moveTo>
                    <a:pt x="273836" y="0"/>
                  </a:moveTo>
                  <a:cubicBezTo>
                    <a:pt x="273836" y="0"/>
                    <a:pt x="-88064" y="227968"/>
                    <a:pt x="20221" y="404644"/>
                  </a:cubicBezTo>
                  <a:cubicBezTo>
                    <a:pt x="97160" y="527177"/>
                    <a:pt x="479007" y="290660"/>
                    <a:pt x="479007" y="290660"/>
                  </a:cubicBezTo>
                  <a:cubicBezTo>
                    <a:pt x="479007" y="290660"/>
                    <a:pt x="416316" y="108285"/>
                    <a:pt x="273836" y="0"/>
                  </a:cubicBezTo>
                  <a:close/>
                </a:path>
              </a:pathLst>
            </a:custGeom>
            <a:solidFill>
              <a:srgbClr val="D16156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7A54C574-A577-457B-B8E9-4CC807C6AB43}"/>
                </a:ext>
              </a:extLst>
            </p:cNvPr>
            <p:cNvSpPr/>
            <p:nvPr/>
          </p:nvSpPr>
          <p:spPr>
            <a:xfrm>
              <a:off x="15872767" y="4358450"/>
              <a:ext cx="475170" cy="269043"/>
            </a:xfrm>
            <a:custGeom>
              <a:avLst/>
              <a:gdLst>
                <a:gd name="connsiteX0" fmla="*/ 104722 w 475170"/>
                <a:gd name="connsiteY0" fmla="*/ 269043 h 269043"/>
                <a:gd name="connsiteX1" fmla="*/ 2137 w 475170"/>
                <a:gd name="connsiteY1" fmla="*/ 231998 h 269043"/>
                <a:gd name="connsiteX2" fmla="*/ 2137 w 475170"/>
                <a:gd name="connsiteY2" fmla="*/ 223450 h 269043"/>
                <a:gd name="connsiteX3" fmla="*/ 10686 w 475170"/>
                <a:gd name="connsiteY3" fmla="*/ 223450 h 269043"/>
                <a:gd name="connsiteX4" fmla="*/ 207308 w 475170"/>
                <a:gd name="connsiteY4" fmla="*/ 231998 h 269043"/>
                <a:gd name="connsiteX5" fmla="*/ 460923 w 475170"/>
                <a:gd name="connsiteY5" fmla="*/ 109465 h 269043"/>
                <a:gd name="connsiteX6" fmla="*/ 415330 w 475170"/>
                <a:gd name="connsiteY6" fmla="*/ 9729 h 269043"/>
                <a:gd name="connsiteX7" fmla="*/ 418179 w 475170"/>
                <a:gd name="connsiteY7" fmla="*/ 1180 h 269043"/>
                <a:gd name="connsiteX8" fmla="*/ 426728 w 475170"/>
                <a:gd name="connsiteY8" fmla="*/ 4030 h 269043"/>
                <a:gd name="connsiteX9" fmla="*/ 475171 w 475170"/>
                <a:gd name="connsiteY9" fmla="*/ 109465 h 269043"/>
                <a:gd name="connsiteX10" fmla="*/ 475171 w 475170"/>
                <a:gd name="connsiteY10" fmla="*/ 112315 h 269043"/>
                <a:gd name="connsiteX11" fmla="*/ 472322 w 475170"/>
                <a:gd name="connsiteY11" fmla="*/ 115164 h 269043"/>
                <a:gd name="connsiteX12" fmla="*/ 215858 w 475170"/>
                <a:gd name="connsiteY12" fmla="*/ 240547 h 269043"/>
                <a:gd name="connsiteX13" fmla="*/ 104722 w 475170"/>
                <a:gd name="connsiteY13" fmla="*/ 269043 h 26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5170" h="269043">
                  <a:moveTo>
                    <a:pt x="104722" y="269043"/>
                  </a:moveTo>
                  <a:cubicBezTo>
                    <a:pt x="36332" y="269043"/>
                    <a:pt x="4986" y="234848"/>
                    <a:pt x="2137" y="231998"/>
                  </a:cubicBezTo>
                  <a:cubicBezTo>
                    <a:pt x="-712" y="229149"/>
                    <a:pt x="-712" y="226299"/>
                    <a:pt x="2137" y="223450"/>
                  </a:cubicBezTo>
                  <a:cubicBezTo>
                    <a:pt x="4986" y="220600"/>
                    <a:pt x="7836" y="220600"/>
                    <a:pt x="10686" y="223450"/>
                  </a:cubicBezTo>
                  <a:cubicBezTo>
                    <a:pt x="13536" y="226299"/>
                    <a:pt x="76226" y="288990"/>
                    <a:pt x="207308" y="231998"/>
                  </a:cubicBezTo>
                  <a:cubicBezTo>
                    <a:pt x="326992" y="180705"/>
                    <a:pt x="438126" y="120864"/>
                    <a:pt x="460923" y="109465"/>
                  </a:cubicBezTo>
                  <a:cubicBezTo>
                    <a:pt x="455224" y="95217"/>
                    <a:pt x="440976" y="49624"/>
                    <a:pt x="415330" y="9729"/>
                  </a:cubicBezTo>
                  <a:cubicBezTo>
                    <a:pt x="412480" y="6879"/>
                    <a:pt x="415330" y="4030"/>
                    <a:pt x="418179" y="1180"/>
                  </a:cubicBezTo>
                  <a:cubicBezTo>
                    <a:pt x="421029" y="-1669"/>
                    <a:pt x="423878" y="1180"/>
                    <a:pt x="426728" y="4030"/>
                  </a:cubicBezTo>
                  <a:cubicBezTo>
                    <a:pt x="458074" y="52473"/>
                    <a:pt x="475171" y="106616"/>
                    <a:pt x="475171" y="109465"/>
                  </a:cubicBezTo>
                  <a:lnTo>
                    <a:pt x="475171" y="112315"/>
                  </a:lnTo>
                  <a:lnTo>
                    <a:pt x="472322" y="115164"/>
                  </a:lnTo>
                  <a:cubicBezTo>
                    <a:pt x="472322" y="115164"/>
                    <a:pt x="346939" y="183555"/>
                    <a:pt x="215858" y="240547"/>
                  </a:cubicBezTo>
                  <a:cubicBezTo>
                    <a:pt x="170264" y="263344"/>
                    <a:pt x="133218" y="269043"/>
                    <a:pt x="104722" y="269043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33FA3F31-7266-409F-A24D-5BF83D1C6E3D}"/>
                </a:ext>
              </a:extLst>
            </p:cNvPr>
            <p:cNvSpPr/>
            <p:nvPr/>
          </p:nvSpPr>
          <p:spPr>
            <a:xfrm>
              <a:off x="14189990" y="4225500"/>
              <a:ext cx="207591" cy="228686"/>
            </a:xfrm>
            <a:custGeom>
              <a:avLst/>
              <a:gdLst>
                <a:gd name="connsiteX0" fmla="*/ 32144 w 207591"/>
                <a:gd name="connsiteY0" fmla="*/ 171176 h 228686"/>
                <a:gd name="connsiteX1" fmla="*/ 140428 w 207591"/>
                <a:gd name="connsiteY1" fmla="*/ 228168 h 228686"/>
                <a:gd name="connsiteX2" fmla="*/ 205969 w 207591"/>
                <a:gd name="connsiteY2" fmla="*/ 156928 h 228686"/>
                <a:gd name="connsiteX3" fmla="*/ 52090 w 207591"/>
                <a:gd name="connsiteY3" fmla="*/ 200 h 228686"/>
                <a:gd name="connsiteX4" fmla="*/ 29294 w 207591"/>
                <a:gd name="connsiteY4" fmla="*/ 31545 h 228686"/>
                <a:gd name="connsiteX5" fmla="*/ 798 w 207591"/>
                <a:gd name="connsiteY5" fmla="*/ 65740 h 228686"/>
                <a:gd name="connsiteX6" fmla="*/ 3648 w 207591"/>
                <a:gd name="connsiteY6" fmla="*/ 97086 h 228686"/>
                <a:gd name="connsiteX7" fmla="*/ 15046 w 207591"/>
                <a:gd name="connsiteY7" fmla="*/ 139830 h 228686"/>
                <a:gd name="connsiteX8" fmla="*/ 32144 w 207591"/>
                <a:gd name="connsiteY8" fmla="*/ 171176 h 228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7591" h="228686">
                  <a:moveTo>
                    <a:pt x="32144" y="171176"/>
                  </a:moveTo>
                  <a:cubicBezTo>
                    <a:pt x="60640" y="191123"/>
                    <a:pt x="103384" y="233867"/>
                    <a:pt x="140428" y="228168"/>
                  </a:cubicBezTo>
                  <a:cubicBezTo>
                    <a:pt x="166075" y="222469"/>
                    <a:pt x="205969" y="156928"/>
                    <a:pt x="205969" y="156928"/>
                  </a:cubicBezTo>
                  <a:cubicBezTo>
                    <a:pt x="223067" y="91387"/>
                    <a:pt x="100534" y="22996"/>
                    <a:pt x="52090" y="200"/>
                  </a:cubicBezTo>
                  <a:cubicBezTo>
                    <a:pt x="43542" y="-2650"/>
                    <a:pt x="23594" y="25846"/>
                    <a:pt x="29294" y="31545"/>
                  </a:cubicBezTo>
                  <a:cubicBezTo>
                    <a:pt x="40692" y="42944"/>
                    <a:pt x="3648" y="57192"/>
                    <a:pt x="798" y="65740"/>
                  </a:cubicBezTo>
                  <a:cubicBezTo>
                    <a:pt x="-2052" y="74289"/>
                    <a:pt x="3648" y="94237"/>
                    <a:pt x="3648" y="97086"/>
                  </a:cubicBezTo>
                  <a:cubicBezTo>
                    <a:pt x="3648" y="114184"/>
                    <a:pt x="15046" y="134131"/>
                    <a:pt x="15046" y="139830"/>
                  </a:cubicBezTo>
                  <a:cubicBezTo>
                    <a:pt x="9346" y="154078"/>
                    <a:pt x="15046" y="156928"/>
                    <a:pt x="32144" y="171176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6" name="图形 1">
              <a:extLst>
                <a:ext uri="{FF2B5EF4-FFF2-40B4-BE49-F238E27FC236}">
                  <a16:creationId xmlns:a16="http://schemas.microsoft.com/office/drawing/2014/main" id="{1170ADF3-2C3F-4EBE-B0FA-B623B98E4432}"/>
                </a:ext>
              </a:extLst>
            </p:cNvPr>
            <p:cNvGrpSpPr/>
            <p:nvPr/>
          </p:nvGrpSpPr>
          <p:grpSpPr>
            <a:xfrm>
              <a:off x="14170840" y="4218992"/>
              <a:ext cx="135505" cy="182198"/>
              <a:chOff x="14170840" y="4218992"/>
              <a:chExt cx="135505" cy="182198"/>
            </a:xfrm>
          </p:grpSpPr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880C395F-6DE9-4079-B074-683C1525180D}"/>
                  </a:ext>
                </a:extLst>
              </p:cNvPr>
              <p:cNvSpPr/>
              <p:nvPr/>
            </p:nvSpPr>
            <p:spPr>
              <a:xfrm>
                <a:off x="14173131" y="4218992"/>
                <a:ext cx="122554" cy="80858"/>
              </a:xfrm>
              <a:custGeom>
                <a:avLst/>
                <a:gdLst>
                  <a:gd name="connsiteX0" fmla="*/ 14807 w 122554"/>
                  <a:gd name="connsiteY0" fmla="*/ 1008 h 80858"/>
                  <a:gd name="connsiteX1" fmla="*/ 91747 w 122554"/>
                  <a:gd name="connsiteY1" fmla="*/ 23805 h 80858"/>
                  <a:gd name="connsiteX2" fmla="*/ 103145 w 122554"/>
                  <a:gd name="connsiteY2" fmla="*/ 26654 h 80858"/>
                  <a:gd name="connsiteX3" fmla="*/ 114543 w 122554"/>
                  <a:gd name="connsiteY3" fmla="*/ 35203 h 80858"/>
                  <a:gd name="connsiteX4" fmla="*/ 117393 w 122554"/>
                  <a:gd name="connsiteY4" fmla="*/ 75098 h 80858"/>
                  <a:gd name="connsiteX5" fmla="*/ 80348 w 122554"/>
                  <a:gd name="connsiteY5" fmla="*/ 75098 h 80858"/>
                  <a:gd name="connsiteX6" fmla="*/ 31905 w 122554"/>
                  <a:gd name="connsiteY6" fmla="*/ 55151 h 80858"/>
                  <a:gd name="connsiteX7" fmla="*/ 559 w 122554"/>
                  <a:gd name="connsiteY7" fmla="*/ 29504 h 80858"/>
                  <a:gd name="connsiteX8" fmla="*/ 14807 w 122554"/>
                  <a:gd name="connsiteY8" fmla="*/ 1008 h 80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2554" h="80858">
                    <a:moveTo>
                      <a:pt x="14807" y="1008"/>
                    </a:moveTo>
                    <a:cubicBezTo>
                      <a:pt x="37604" y="-4691"/>
                      <a:pt x="66100" y="15256"/>
                      <a:pt x="91747" y="23805"/>
                    </a:cubicBezTo>
                    <a:cubicBezTo>
                      <a:pt x="94596" y="23805"/>
                      <a:pt x="103145" y="26654"/>
                      <a:pt x="103145" y="26654"/>
                    </a:cubicBezTo>
                    <a:cubicBezTo>
                      <a:pt x="105995" y="29504"/>
                      <a:pt x="111693" y="32354"/>
                      <a:pt x="114543" y="35203"/>
                    </a:cubicBezTo>
                    <a:cubicBezTo>
                      <a:pt x="123092" y="46602"/>
                      <a:pt x="125941" y="63699"/>
                      <a:pt x="117393" y="75098"/>
                    </a:cubicBezTo>
                    <a:cubicBezTo>
                      <a:pt x="108844" y="86496"/>
                      <a:pt x="91747" y="77947"/>
                      <a:pt x="80348" y="75098"/>
                    </a:cubicBezTo>
                    <a:cubicBezTo>
                      <a:pt x="63251" y="69399"/>
                      <a:pt x="46153" y="63699"/>
                      <a:pt x="31905" y="55151"/>
                    </a:cubicBezTo>
                    <a:cubicBezTo>
                      <a:pt x="20507" y="49451"/>
                      <a:pt x="6259" y="43752"/>
                      <a:pt x="559" y="29504"/>
                    </a:cubicBezTo>
                    <a:cubicBezTo>
                      <a:pt x="-2291" y="15256"/>
                      <a:pt x="6259" y="3858"/>
                      <a:pt x="14807" y="1008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F9941565-952F-43DE-A4F8-C74B9994EDCE}"/>
                  </a:ext>
                </a:extLst>
              </p:cNvPr>
              <p:cNvSpPr/>
              <p:nvPr/>
            </p:nvSpPr>
            <p:spPr>
              <a:xfrm>
                <a:off x="14180003" y="4262487"/>
                <a:ext cx="124231" cy="82956"/>
              </a:xfrm>
              <a:custGeom>
                <a:avLst/>
                <a:gdLst>
                  <a:gd name="connsiteX0" fmla="*/ 13635 w 124231"/>
                  <a:gd name="connsiteY0" fmla="*/ 3106 h 82956"/>
                  <a:gd name="connsiteX1" fmla="*/ 99123 w 124231"/>
                  <a:gd name="connsiteY1" fmla="*/ 25903 h 82956"/>
                  <a:gd name="connsiteX2" fmla="*/ 104822 w 124231"/>
                  <a:gd name="connsiteY2" fmla="*/ 28753 h 82956"/>
                  <a:gd name="connsiteX3" fmla="*/ 116220 w 124231"/>
                  <a:gd name="connsiteY3" fmla="*/ 37302 h 82956"/>
                  <a:gd name="connsiteX4" fmla="*/ 119070 w 124231"/>
                  <a:gd name="connsiteY4" fmla="*/ 77196 h 82956"/>
                  <a:gd name="connsiteX5" fmla="*/ 82025 w 124231"/>
                  <a:gd name="connsiteY5" fmla="*/ 77196 h 82956"/>
                  <a:gd name="connsiteX6" fmla="*/ 33581 w 124231"/>
                  <a:gd name="connsiteY6" fmla="*/ 57249 h 82956"/>
                  <a:gd name="connsiteX7" fmla="*/ 2236 w 124231"/>
                  <a:gd name="connsiteY7" fmla="*/ 31603 h 82956"/>
                  <a:gd name="connsiteX8" fmla="*/ 13635 w 124231"/>
                  <a:gd name="connsiteY8" fmla="*/ 3106 h 82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4231" h="82956">
                    <a:moveTo>
                      <a:pt x="13635" y="3106"/>
                    </a:moveTo>
                    <a:cubicBezTo>
                      <a:pt x="42131" y="-8292"/>
                      <a:pt x="70627" y="14505"/>
                      <a:pt x="99123" y="25903"/>
                    </a:cubicBezTo>
                    <a:cubicBezTo>
                      <a:pt x="101972" y="25903"/>
                      <a:pt x="104822" y="28753"/>
                      <a:pt x="104822" y="28753"/>
                    </a:cubicBezTo>
                    <a:cubicBezTo>
                      <a:pt x="107671" y="31603"/>
                      <a:pt x="113371" y="34452"/>
                      <a:pt x="116220" y="37302"/>
                    </a:cubicBezTo>
                    <a:cubicBezTo>
                      <a:pt x="124769" y="48700"/>
                      <a:pt x="127619" y="65798"/>
                      <a:pt x="119070" y="77196"/>
                    </a:cubicBezTo>
                    <a:cubicBezTo>
                      <a:pt x="110521" y="88595"/>
                      <a:pt x="93423" y="80046"/>
                      <a:pt x="82025" y="77196"/>
                    </a:cubicBezTo>
                    <a:cubicBezTo>
                      <a:pt x="64927" y="71497"/>
                      <a:pt x="47829" y="65798"/>
                      <a:pt x="33581" y="57249"/>
                    </a:cubicBezTo>
                    <a:cubicBezTo>
                      <a:pt x="22183" y="51550"/>
                      <a:pt x="7935" y="45851"/>
                      <a:pt x="2236" y="31603"/>
                    </a:cubicBezTo>
                    <a:cubicBezTo>
                      <a:pt x="-3463" y="17355"/>
                      <a:pt x="2236" y="5956"/>
                      <a:pt x="13635" y="3106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1F985150-B57A-4288-8494-572219494491}"/>
                  </a:ext>
                </a:extLst>
              </p:cNvPr>
              <p:cNvSpPr/>
              <p:nvPr/>
            </p:nvSpPr>
            <p:spPr>
              <a:xfrm>
                <a:off x="14177544" y="4302058"/>
                <a:ext cx="108402" cy="71882"/>
              </a:xfrm>
              <a:custGeom>
                <a:avLst/>
                <a:gdLst>
                  <a:gd name="connsiteX0" fmla="*/ 13244 w 108402"/>
                  <a:gd name="connsiteY0" fmla="*/ 3430 h 71882"/>
                  <a:gd name="connsiteX1" fmla="*/ 87334 w 108402"/>
                  <a:gd name="connsiteY1" fmla="*/ 20528 h 71882"/>
                  <a:gd name="connsiteX2" fmla="*/ 93032 w 108402"/>
                  <a:gd name="connsiteY2" fmla="*/ 23378 h 71882"/>
                  <a:gd name="connsiteX3" fmla="*/ 101582 w 108402"/>
                  <a:gd name="connsiteY3" fmla="*/ 31926 h 71882"/>
                  <a:gd name="connsiteX4" fmla="*/ 104431 w 108402"/>
                  <a:gd name="connsiteY4" fmla="*/ 66122 h 71882"/>
                  <a:gd name="connsiteX5" fmla="*/ 70236 w 108402"/>
                  <a:gd name="connsiteY5" fmla="*/ 66122 h 71882"/>
                  <a:gd name="connsiteX6" fmla="*/ 27492 w 108402"/>
                  <a:gd name="connsiteY6" fmla="*/ 49024 h 71882"/>
                  <a:gd name="connsiteX7" fmla="*/ 1846 w 108402"/>
                  <a:gd name="connsiteY7" fmla="*/ 29077 h 71882"/>
                  <a:gd name="connsiteX8" fmla="*/ 13244 w 108402"/>
                  <a:gd name="connsiteY8" fmla="*/ 3430 h 71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402" h="71882">
                    <a:moveTo>
                      <a:pt x="13244" y="3430"/>
                    </a:moveTo>
                    <a:cubicBezTo>
                      <a:pt x="38890" y="-7968"/>
                      <a:pt x="64536" y="11979"/>
                      <a:pt x="87334" y="20528"/>
                    </a:cubicBezTo>
                    <a:cubicBezTo>
                      <a:pt x="90183" y="20528"/>
                      <a:pt x="90183" y="23378"/>
                      <a:pt x="93032" y="23378"/>
                    </a:cubicBezTo>
                    <a:cubicBezTo>
                      <a:pt x="95882" y="26227"/>
                      <a:pt x="98732" y="26227"/>
                      <a:pt x="101582" y="31926"/>
                    </a:cubicBezTo>
                    <a:cubicBezTo>
                      <a:pt x="110130" y="40475"/>
                      <a:pt x="110130" y="57573"/>
                      <a:pt x="104431" y="66122"/>
                    </a:cubicBezTo>
                    <a:cubicBezTo>
                      <a:pt x="95882" y="77520"/>
                      <a:pt x="81634" y="68971"/>
                      <a:pt x="70236" y="66122"/>
                    </a:cubicBezTo>
                    <a:cubicBezTo>
                      <a:pt x="55988" y="60422"/>
                      <a:pt x="41740" y="57573"/>
                      <a:pt x="27492" y="49024"/>
                    </a:cubicBezTo>
                    <a:cubicBezTo>
                      <a:pt x="18943" y="46174"/>
                      <a:pt x="4694" y="40475"/>
                      <a:pt x="1846" y="29077"/>
                    </a:cubicBezTo>
                    <a:cubicBezTo>
                      <a:pt x="-3854" y="17678"/>
                      <a:pt x="4694" y="9130"/>
                      <a:pt x="13244" y="3430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66699642-3EF7-42FF-A238-D34F1CCEB280}"/>
                  </a:ext>
                </a:extLst>
              </p:cNvPr>
              <p:cNvSpPr/>
              <p:nvPr/>
            </p:nvSpPr>
            <p:spPr>
              <a:xfrm>
                <a:off x="14179389" y="4345596"/>
                <a:ext cx="80045" cy="55594"/>
              </a:xfrm>
              <a:custGeom>
                <a:avLst/>
                <a:gdLst>
                  <a:gd name="connsiteX0" fmla="*/ 11398 w 80045"/>
                  <a:gd name="connsiteY0" fmla="*/ 2636 h 55594"/>
                  <a:gd name="connsiteX1" fmla="*/ 65541 w 80045"/>
                  <a:gd name="connsiteY1" fmla="*/ 16884 h 55594"/>
                  <a:gd name="connsiteX2" fmla="*/ 68390 w 80045"/>
                  <a:gd name="connsiteY2" fmla="*/ 19734 h 55594"/>
                  <a:gd name="connsiteX3" fmla="*/ 74089 w 80045"/>
                  <a:gd name="connsiteY3" fmla="*/ 25433 h 55594"/>
                  <a:gd name="connsiteX4" fmla="*/ 76939 w 80045"/>
                  <a:gd name="connsiteY4" fmla="*/ 51079 h 55594"/>
                  <a:gd name="connsiteX5" fmla="*/ 51293 w 80045"/>
                  <a:gd name="connsiteY5" fmla="*/ 51079 h 55594"/>
                  <a:gd name="connsiteX6" fmla="*/ 19947 w 80045"/>
                  <a:gd name="connsiteY6" fmla="*/ 39681 h 55594"/>
                  <a:gd name="connsiteX7" fmla="*/ 0 w 80045"/>
                  <a:gd name="connsiteY7" fmla="*/ 22583 h 55594"/>
                  <a:gd name="connsiteX8" fmla="*/ 11398 w 80045"/>
                  <a:gd name="connsiteY8" fmla="*/ 2636 h 55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045" h="55594">
                    <a:moveTo>
                      <a:pt x="11398" y="2636"/>
                    </a:moveTo>
                    <a:cubicBezTo>
                      <a:pt x="31345" y="-5913"/>
                      <a:pt x="48443" y="8335"/>
                      <a:pt x="65541" y="16884"/>
                    </a:cubicBezTo>
                    <a:cubicBezTo>
                      <a:pt x="68390" y="16884"/>
                      <a:pt x="68390" y="19734"/>
                      <a:pt x="68390" y="19734"/>
                    </a:cubicBezTo>
                    <a:cubicBezTo>
                      <a:pt x="71240" y="19734"/>
                      <a:pt x="74089" y="22583"/>
                      <a:pt x="74089" y="25433"/>
                    </a:cubicBezTo>
                    <a:cubicBezTo>
                      <a:pt x="79789" y="31132"/>
                      <a:pt x="82638" y="42530"/>
                      <a:pt x="76939" y="51079"/>
                    </a:cubicBezTo>
                    <a:cubicBezTo>
                      <a:pt x="71240" y="59628"/>
                      <a:pt x="59841" y="53929"/>
                      <a:pt x="51293" y="51079"/>
                    </a:cubicBezTo>
                    <a:cubicBezTo>
                      <a:pt x="39894" y="48230"/>
                      <a:pt x="31345" y="42530"/>
                      <a:pt x="19947" y="39681"/>
                    </a:cubicBezTo>
                    <a:cubicBezTo>
                      <a:pt x="14248" y="36831"/>
                      <a:pt x="2849" y="33982"/>
                      <a:pt x="0" y="22583"/>
                    </a:cubicBezTo>
                    <a:cubicBezTo>
                      <a:pt x="0" y="11185"/>
                      <a:pt x="5699" y="5486"/>
                      <a:pt x="11398" y="2636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A30B0C34-573A-4E5B-B0DD-A8DA4073C8D5}"/>
                  </a:ext>
                </a:extLst>
              </p:cNvPr>
              <p:cNvSpPr/>
              <p:nvPr/>
            </p:nvSpPr>
            <p:spPr>
              <a:xfrm>
                <a:off x="14173545" y="4221669"/>
                <a:ext cx="132799" cy="126562"/>
              </a:xfrm>
              <a:custGeom>
                <a:avLst/>
                <a:gdLst>
                  <a:gd name="connsiteX0" fmla="*/ 111279 w 132799"/>
                  <a:gd name="connsiteY0" fmla="*/ 126563 h 126562"/>
                  <a:gd name="connsiteX1" fmla="*/ 71384 w 132799"/>
                  <a:gd name="connsiteY1" fmla="*/ 115164 h 126562"/>
                  <a:gd name="connsiteX2" fmla="*/ 144 w 132799"/>
                  <a:gd name="connsiteY2" fmla="*/ 55323 h 126562"/>
                  <a:gd name="connsiteX3" fmla="*/ 8693 w 132799"/>
                  <a:gd name="connsiteY3" fmla="*/ 38225 h 126562"/>
                  <a:gd name="connsiteX4" fmla="*/ 20092 w 132799"/>
                  <a:gd name="connsiteY4" fmla="*/ 38225 h 126562"/>
                  <a:gd name="connsiteX5" fmla="*/ 111279 w 132799"/>
                  <a:gd name="connsiteY5" fmla="*/ 69571 h 126562"/>
                  <a:gd name="connsiteX6" fmla="*/ 119828 w 132799"/>
                  <a:gd name="connsiteY6" fmla="*/ 58172 h 126562"/>
                  <a:gd name="connsiteX7" fmla="*/ 119828 w 132799"/>
                  <a:gd name="connsiteY7" fmla="*/ 49624 h 126562"/>
                  <a:gd name="connsiteX8" fmla="*/ 45738 w 132799"/>
                  <a:gd name="connsiteY8" fmla="*/ 9729 h 126562"/>
                  <a:gd name="connsiteX9" fmla="*/ 42888 w 132799"/>
                  <a:gd name="connsiteY9" fmla="*/ 4030 h 126562"/>
                  <a:gd name="connsiteX10" fmla="*/ 48588 w 132799"/>
                  <a:gd name="connsiteY10" fmla="*/ 1180 h 126562"/>
                  <a:gd name="connsiteX11" fmla="*/ 128377 w 132799"/>
                  <a:gd name="connsiteY11" fmla="*/ 46774 h 126562"/>
                  <a:gd name="connsiteX12" fmla="*/ 128377 w 132799"/>
                  <a:gd name="connsiteY12" fmla="*/ 63872 h 126562"/>
                  <a:gd name="connsiteX13" fmla="*/ 122677 w 132799"/>
                  <a:gd name="connsiteY13" fmla="*/ 72420 h 126562"/>
                  <a:gd name="connsiteX14" fmla="*/ 131226 w 132799"/>
                  <a:gd name="connsiteY14" fmla="*/ 112315 h 126562"/>
                  <a:gd name="connsiteX15" fmla="*/ 111279 w 132799"/>
                  <a:gd name="connsiteY15" fmla="*/ 126563 h 126562"/>
                  <a:gd name="connsiteX16" fmla="*/ 14392 w 132799"/>
                  <a:gd name="connsiteY16" fmla="*/ 49624 h 126562"/>
                  <a:gd name="connsiteX17" fmla="*/ 14392 w 132799"/>
                  <a:gd name="connsiteY17" fmla="*/ 49624 h 126562"/>
                  <a:gd name="connsiteX18" fmla="*/ 8693 w 132799"/>
                  <a:gd name="connsiteY18" fmla="*/ 58172 h 126562"/>
                  <a:gd name="connsiteX19" fmla="*/ 74234 w 132799"/>
                  <a:gd name="connsiteY19" fmla="*/ 106616 h 126562"/>
                  <a:gd name="connsiteX20" fmla="*/ 119828 w 132799"/>
                  <a:gd name="connsiteY20" fmla="*/ 109465 h 126562"/>
                  <a:gd name="connsiteX21" fmla="*/ 114129 w 132799"/>
                  <a:gd name="connsiteY21" fmla="*/ 78120 h 126562"/>
                  <a:gd name="connsiteX22" fmla="*/ 114129 w 132799"/>
                  <a:gd name="connsiteY22" fmla="*/ 78120 h 126562"/>
                  <a:gd name="connsiteX23" fmla="*/ 14392 w 132799"/>
                  <a:gd name="connsiteY23" fmla="*/ 49624 h 126562"/>
                  <a:gd name="connsiteX24" fmla="*/ 14392 w 132799"/>
                  <a:gd name="connsiteY24" fmla="*/ 49624 h 126562"/>
                  <a:gd name="connsiteX25" fmla="*/ 14392 w 132799"/>
                  <a:gd name="connsiteY25" fmla="*/ 49624 h 12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32799" h="126562">
                    <a:moveTo>
                      <a:pt x="111279" y="126563"/>
                    </a:moveTo>
                    <a:cubicBezTo>
                      <a:pt x="99880" y="126563"/>
                      <a:pt x="85632" y="120864"/>
                      <a:pt x="71384" y="115164"/>
                    </a:cubicBezTo>
                    <a:cubicBezTo>
                      <a:pt x="37189" y="103766"/>
                      <a:pt x="-2705" y="80969"/>
                      <a:pt x="144" y="55323"/>
                    </a:cubicBezTo>
                    <a:cubicBezTo>
                      <a:pt x="144" y="46774"/>
                      <a:pt x="2994" y="41075"/>
                      <a:pt x="8693" y="38225"/>
                    </a:cubicBezTo>
                    <a:cubicBezTo>
                      <a:pt x="14392" y="35376"/>
                      <a:pt x="20092" y="38225"/>
                      <a:pt x="20092" y="38225"/>
                    </a:cubicBezTo>
                    <a:cubicBezTo>
                      <a:pt x="65685" y="63872"/>
                      <a:pt x="97031" y="72420"/>
                      <a:pt x="111279" y="69571"/>
                    </a:cubicBezTo>
                    <a:cubicBezTo>
                      <a:pt x="116978" y="66721"/>
                      <a:pt x="116978" y="63872"/>
                      <a:pt x="119828" y="58172"/>
                    </a:cubicBezTo>
                    <a:cubicBezTo>
                      <a:pt x="119828" y="55323"/>
                      <a:pt x="119828" y="52473"/>
                      <a:pt x="119828" y="49624"/>
                    </a:cubicBezTo>
                    <a:cubicBezTo>
                      <a:pt x="111279" y="32526"/>
                      <a:pt x="62836" y="15428"/>
                      <a:pt x="45738" y="9729"/>
                    </a:cubicBezTo>
                    <a:cubicBezTo>
                      <a:pt x="42888" y="9729"/>
                      <a:pt x="40039" y="6880"/>
                      <a:pt x="42888" y="4030"/>
                    </a:cubicBezTo>
                    <a:cubicBezTo>
                      <a:pt x="42888" y="1180"/>
                      <a:pt x="45738" y="-1669"/>
                      <a:pt x="48588" y="1180"/>
                    </a:cubicBezTo>
                    <a:cubicBezTo>
                      <a:pt x="54287" y="4030"/>
                      <a:pt x="116978" y="21128"/>
                      <a:pt x="128377" y="46774"/>
                    </a:cubicBezTo>
                    <a:cubicBezTo>
                      <a:pt x="131226" y="52473"/>
                      <a:pt x="131226" y="58172"/>
                      <a:pt x="128377" y="63872"/>
                    </a:cubicBezTo>
                    <a:cubicBezTo>
                      <a:pt x="128377" y="66721"/>
                      <a:pt x="125527" y="69571"/>
                      <a:pt x="122677" y="72420"/>
                    </a:cubicBezTo>
                    <a:cubicBezTo>
                      <a:pt x="125527" y="75270"/>
                      <a:pt x="136925" y="98067"/>
                      <a:pt x="131226" y="112315"/>
                    </a:cubicBezTo>
                    <a:cubicBezTo>
                      <a:pt x="128377" y="123713"/>
                      <a:pt x="122677" y="126563"/>
                      <a:pt x="111279" y="126563"/>
                    </a:cubicBezTo>
                    <a:close/>
                    <a:moveTo>
                      <a:pt x="14392" y="49624"/>
                    </a:moveTo>
                    <a:cubicBezTo>
                      <a:pt x="14392" y="49624"/>
                      <a:pt x="14392" y="49624"/>
                      <a:pt x="14392" y="49624"/>
                    </a:cubicBezTo>
                    <a:cubicBezTo>
                      <a:pt x="11543" y="49624"/>
                      <a:pt x="11543" y="52473"/>
                      <a:pt x="8693" y="58172"/>
                    </a:cubicBezTo>
                    <a:cubicBezTo>
                      <a:pt x="5844" y="75270"/>
                      <a:pt x="31490" y="92368"/>
                      <a:pt x="74234" y="106616"/>
                    </a:cubicBezTo>
                    <a:cubicBezTo>
                      <a:pt x="105580" y="118014"/>
                      <a:pt x="116978" y="118014"/>
                      <a:pt x="119828" y="109465"/>
                    </a:cubicBezTo>
                    <a:cubicBezTo>
                      <a:pt x="122677" y="100916"/>
                      <a:pt x="116978" y="83819"/>
                      <a:pt x="114129" y="78120"/>
                    </a:cubicBezTo>
                    <a:lnTo>
                      <a:pt x="114129" y="78120"/>
                    </a:lnTo>
                    <a:cubicBezTo>
                      <a:pt x="105580" y="83819"/>
                      <a:pt x="82783" y="83819"/>
                      <a:pt x="14392" y="49624"/>
                    </a:cubicBezTo>
                    <a:lnTo>
                      <a:pt x="14392" y="49624"/>
                    </a:lnTo>
                    <a:cubicBezTo>
                      <a:pt x="17242" y="49624"/>
                      <a:pt x="17242" y="49624"/>
                      <a:pt x="14392" y="49624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FDCDA067-1A21-478E-8715-D72D04B4C94B}"/>
                  </a:ext>
                </a:extLst>
              </p:cNvPr>
              <p:cNvSpPr/>
              <p:nvPr/>
            </p:nvSpPr>
            <p:spPr>
              <a:xfrm>
                <a:off x="14170840" y="4302638"/>
                <a:ext cx="122989" cy="76939"/>
              </a:xfrm>
              <a:custGeom>
                <a:avLst/>
                <a:gdLst>
                  <a:gd name="connsiteX0" fmla="*/ 96886 w 122989"/>
                  <a:gd name="connsiteY0" fmla="*/ 76939 h 76939"/>
                  <a:gd name="connsiteX1" fmla="*/ 88338 w 122989"/>
                  <a:gd name="connsiteY1" fmla="*/ 76939 h 76939"/>
                  <a:gd name="connsiteX2" fmla="*/ 5700 w 122989"/>
                  <a:gd name="connsiteY2" fmla="*/ 39895 h 76939"/>
                  <a:gd name="connsiteX3" fmla="*/ 0 w 122989"/>
                  <a:gd name="connsiteY3" fmla="*/ 19947 h 76939"/>
                  <a:gd name="connsiteX4" fmla="*/ 17098 w 122989"/>
                  <a:gd name="connsiteY4" fmla="*/ 0 h 76939"/>
                  <a:gd name="connsiteX5" fmla="*/ 22797 w 122989"/>
                  <a:gd name="connsiteY5" fmla="*/ 2850 h 76939"/>
                  <a:gd name="connsiteX6" fmla="*/ 19948 w 122989"/>
                  <a:gd name="connsiteY6" fmla="*/ 8549 h 76939"/>
                  <a:gd name="connsiteX7" fmla="*/ 11398 w 122989"/>
                  <a:gd name="connsiteY7" fmla="*/ 19947 h 76939"/>
                  <a:gd name="connsiteX8" fmla="*/ 14248 w 122989"/>
                  <a:gd name="connsiteY8" fmla="*/ 28496 h 76939"/>
                  <a:gd name="connsiteX9" fmla="*/ 91188 w 122989"/>
                  <a:gd name="connsiteY9" fmla="*/ 62691 h 76939"/>
                  <a:gd name="connsiteX10" fmla="*/ 108285 w 122989"/>
                  <a:gd name="connsiteY10" fmla="*/ 59842 h 76939"/>
                  <a:gd name="connsiteX11" fmla="*/ 111134 w 122989"/>
                  <a:gd name="connsiteY11" fmla="*/ 39895 h 76939"/>
                  <a:gd name="connsiteX12" fmla="*/ 116834 w 122989"/>
                  <a:gd name="connsiteY12" fmla="*/ 34195 h 76939"/>
                  <a:gd name="connsiteX13" fmla="*/ 122534 w 122989"/>
                  <a:gd name="connsiteY13" fmla="*/ 39895 h 76939"/>
                  <a:gd name="connsiteX14" fmla="*/ 116834 w 122989"/>
                  <a:gd name="connsiteY14" fmla="*/ 71240 h 76939"/>
                  <a:gd name="connsiteX15" fmla="*/ 96886 w 122989"/>
                  <a:gd name="connsiteY15" fmla="*/ 76939 h 76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989" h="76939">
                    <a:moveTo>
                      <a:pt x="96886" y="76939"/>
                    </a:moveTo>
                    <a:cubicBezTo>
                      <a:pt x="94037" y="76939"/>
                      <a:pt x="91188" y="76939"/>
                      <a:pt x="88338" y="76939"/>
                    </a:cubicBezTo>
                    <a:cubicBezTo>
                      <a:pt x="54142" y="71240"/>
                      <a:pt x="14248" y="48443"/>
                      <a:pt x="5700" y="39895"/>
                    </a:cubicBezTo>
                    <a:cubicBezTo>
                      <a:pt x="0" y="34195"/>
                      <a:pt x="0" y="28496"/>
                      <a:pt x="0" y="19947"/>
                    </a:cubicBezTo>
                    <a:cubicBezTo>
                      <a:pt x="2850" y="11398"/>
                      <a:pt x="8549" y="2850"/>
                      <a:pt x="17098" y="0"/>
                    </a:cubicBezTo>
                    <a:cubicBezTo>
                      <a:pt x="19948" y="0"/>
                      <a:pt x="22797" y="0"/>
                      <a:pt x="22797" y="2850"/>
                    </a:cubicBezTo>
                    <a:cubicBezTo>
                      <a:pt x="22797" y="5699"/>
                      <a:pt x="22797" y="8549"/>
                      <a:pt x="19948" y="8549"/>
                    </a:cubicBezTo>
                    <a:cubicBezTo>
                      <a:pt x="17098" y="8549"/>
                      <a:pt x="14248" y="14248"/>
                      <a:pt x="11398" y="19947"/>
                    </a:cubicBezTo>
                    <a:cubicBezTo>
                      <a:pt x="11398" y="22797"/>
                      <a:pt x="11398" y="25646"/>
                      <a:pt x="14248" y="28496"/>
                    </a:cubicBezTo>
                    <a:cubicBezTo>
                      <a:pt x="22797" y="37045"/>
                      <a:pt x="59842" y="56992"/>
                      <a:pt x="91188" y="62691"/>
                    </a:cubicBezTo>
                    <a:cubicBezTo>
                      <a:pt x="99736" y="62691"/>
                      <a:pt x="105436" y="62691"/>
                      <a:pt x="108285" y="59842"/>
                    </a:cubicBezTo>
                    <a:cubicBezTo>
                      <a:pt x="113984" y="54143"/>
                      <a:pt x="111134" y="39895"/>
                      <a:pt x="111134" y="39895"/>
                    </a:cubicBezTo>
                    <a:cubicBezTo>
                      <a:pt x="111134" y="37045"/>
                      <a:pt x="111134" y="34195"/>
                      <a:pt x="116834" y="34195"/>
                    </a:cubicBezTo>
                    <a:cubicBezTo>
                      <a:pt x="119684" y="34195"/>
                      <a:pt x="122534" y="34195"/>
                      <a:pt x="122534" y="39895"/>
                    </a:cubicBezTo>
                    <a:cubicBezTo>
                      <a:pt x="122534" y="39895"/>
                      <a:pt x="125382" y="59842"/>
                      <a:pt x="116834" y="71240"/>
                    </a:cubicBezTo>
                    <a:cubicBezTo>
                      <a:pt x="111134" y="74090"/>
                      <a:pt x="105436" y="76939"/>
                      <a:pt x="96886" y="76939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DA13C04B-3D07-426B-85B1-7BA8515E79CE}"/>
                </a:ext>
              </a:extLst>
            </p:cNvPr>
            <p:cNvSpPr/>
            <p:nvPr/>
          </p:nvSpPr>
          <p:spPr>
            <a:xfrm>
              <a:off x="14997023" y="4447962"/>
              <a:ext cx="216972" cy="343533"/>
            </a:xfrm>
            <a:custGeom>
              <a:avLst/>
              <a:gdLst>
                <a:gd name="connsiteX0" fmla="*/ 188276 w 216972"/>
                <a:gd name="connsiteY0" fmla="*/ 282117 h 343533"/>
                <a:gd name="connsiteX1" fmla="*/ 179728 w 216972"/>
                <a:gd name="connsiteY1" fmla="*/ 276418 h 343533"/>
                <a:gd name="connsiteX2" fmla="*/ 145532 w 216972"/>
                <a:gd name="connsiteY2" fmla="*/ 265019 h 343533"/>
                <a:gd name="connsiteX3" fmla="*/ 142682 w 216972"/>
                <a:gd name="connsiteY3" fmla="*/ 262170 h 343533"/>
                <a:gd name="connsiteX4" fmla="*/ 145532 w 216972"/>
                <a:gd name="connsiteY4" fmla="*/ 253621 h 343533"/>
                <a:gd name="connsiteX5" fmla="*/ 148382 w 216972"/>
                <a:gd name="connsiteY5" fmla="*/ 239373 h 343533"/>
                <a:gd name="connsiteX6" fmla="*/ 117036 w 216972"/>
                <a:gd name="connsiteY6" fmla="*/ 188080 h 343533"/>
                <a:gd name="connsiteX7" fmla="*/ 94240 w 216972"/>
                <a:gd name="connsiteY7" fmla="*/ 165283 h 343533"/>
                <a:gd name="connsiteX8" fmla="*/ 94240 w 216972"/>
                <a:gd name="connsiteY8" fmla="*/ 136787 h 343533"/>
                <a:gd name="connsiteX9" fmla="*/ 74292 w 216972"/>
                <a:gd name="connsiteY9" fmla="*/ 105441 h 343533"/>
                <a:gd name="connsiteX10" fmla="*/ 48646 w 216972"/>
                <a:gd name="connsiteY10" fmla="*/ 71246 h 343533"/>
                <a:gd name="connsiteX11" fmla="*/ 48646 w 216972"/>
                <a:gd name="connsiteY11" fmla="*/ 42750 h 343533"/>
                <a:gd name="connsiteX12" fmla="*/ 20150 w 216972"/>
                <a:gd name="connsiteY12" fmla="*/ 2856 h 343533"/>
                <a:gd name="connsiteX13" fmla="*/ 5902 w 216972"/>
                <a:gd name="connsiteY13" fmla="*/ 28502 h 343533"/>
                <a:gd name="connsiteX14" fmla="*/ 23000 w 216972"/>
                <a:gd name="connsiteY14" fmla="*/ 56998 h 343533"/>
                <a:gd name="connsiteX15" fmla="*/ 23000 w 216972"/>
                <a:gd name="connsiteY15" fmla="*/ 85494 h 343533"/>
                <a:gd name="connsiteX16" fmla="*/ 54344 w 216972"/>
                <a:gd name="connsiteY16" fmla="*/ 125389 h 343533"/>
                <a:gd name="connsiteX17" fmla="*/ 68592 w 216972"/>
                <a:gd name="connsiteY17" fmla="*/ 151035 h 343533"/>
                <a:gd name="connsiteX18" fmla="*/ 68592 w 216972"/>
                <a:gd name="connsiteY18" fmla="*/ 179531 h 343533"/>
                <a:gd name="connsiteX19" fmla="*/ 102788 w 216972"/>
                <a:gd name="connsiteY19" fmla="*/ 219426 h 343533"/>
                <a:gd name="connsiteX20" fmla="*/ 119886 w 216972"/>
                <a:gd name="connsiteY20" fmla="*/ 253621 h 343533"/>
                <a:gd name="connsiteX21" fmla="*/ 119886 w 216972"/>
                <a:gd name="connsiteY21" fmla="*/ 279267 h 343533"/>
                <a:gd name="connsiteX22" fmla="*/ 174028 w 216972"/>
                <a:gd name="connsiteY22" fmla="*/ 304914 h 343533"/>
                <a:gd name="connsiteX23" fmla="*/ 188276 w 216972"/>
                <a:gd name="connsiteY23" fmla="*/ 333410 h 343533"/>
                <a:gd name="connsiteX24" fmla="*/ 216772 w 216972"/>
                <a:gd name="connsiteY24" fmla="*/ 324861 h 343533"/>
                <a:gd name="connsiteX25" fmla="*/ 188276 w 216972"/>
                <a:gd name="connsiteY25" fmla="*/ 282117 h 343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6972" h="343533">
                  <a:moveTo>
                    <a:pt x="188276" y="282117"/>
                  </a:moveTo>
                  <a:cubicBezTo>
                    <a:pt x="185426" y="279267"/>
                    <a:pt x="182577" y="276418"/>
                    <a:pt x="179728" y="276418"/>
                  </a:cubicBezTo>
                  <a:cubicBezTo>
                    <a:pt x="171178" y="276418"/>
                    <a:pt x="151232" y="273568"/>
                    <a:pt x="145532" y="265019"/>
                  </a:cubicBezTo>
                  <a:cubicBezTo>
                    <a:pt x="145532" y="265019"/>
                    <a:pt x="142682" y="265019"/>
                    <a:pt x="142682" y="262170"/>
                  </a:cubicBezTo>
                  <a:cubicBezTo>
                    <a:pt x="142682" y="259320"/>
                    <a:pt x="145532" y="256470"/>
                    <a:pt x="145532" y="253621"/>
                  </a:cubicBezTo>
                  <a:cubicBezTo>
                    <a:pt x="145532" y="247922"/>
                    <a:pt x="148382" y="245072"/>
                    <a:pt x="148382" y="239373"/>
                  </a:cubicBezTo>
                  <a:cubicBezTo>
                    <a:pt x="148382" y="222275"/>
                    <a:pt x="119886" y="190930"/>
                    <a:pt x="117036" y="188080"/>
                  </a:cubicBezTo>
                  <a:cubicBezTo>
                    <a:pt x="105638" y="182381"/>
                    <a:pt x="94240" y="179531"/>
                    <a:pt x="94240" y="165283"/>
                  </a:cubicBezTo>
                  <a:cubicBezTo>
                    <a:pt x="94240" y="156734"/>
                    <a:pt x="97089" y="145336"/>
                    <a:pt x="94240" y="136787"/>
                  </a:cubicBezTo>
                  <a:cubicBezTo>
                    <a:pt x="91390" y="122539"/>
                    <a:pt x="85690" y="111141"/>
                    <a:pt x="74292" y="105441"/>
                  </a:cubicBezTo>
                  <a:cubicBezTo>
                    <a:pt x="74292" y="102592"/>
                    <a:pt x="45796" y="91193"/>
                    <a:pt x="48646" y="71246"/>
                  </a:cubicBezTo>
                  <a:cubicBezTo>
                    <a:pt x="48646" y="62697"/>
                    <a:pt x="51496" y="51299"/>
                    <a:pt x="48646" y="42750"/>
                  </a:cubicBezTo>
                  <a:cubicBezTo>
                    <a:pt x="45796" y="25652"/>
                    <a:pt x="34398" y="14254"/>
                    <a:pt x="20150" y="2856"/>
                  </a:cubicBezTo>
                  <a:cubicBezTo>
                    <a:pt x="5902" y="-8543"/>
                    <a:pt x="-8346" y="17104"/>
                    <a:pt x="5902" y="28502"/>
                  </a:cubicBezTo>
                  <a:cubicBezTo>
                    <a:pt x="17300" y="37051"/>
                    <a:pt x="23000" y="42750"/>
                    <a:pt x="23000" y="56998"/>
                  </a:cubicBezTo>
                  <a:cubicBezTo>
                    <a:pt x="23000" y="65547"/>
                    <a:pt x="20150" y="76945"/>
                    <a:pt x="23000" y="85494"/>
                  </a:cubicBezTo>
                  <a:cubicBezTo>
                    <a:pt x="25848" y="99742"/>
                    <a:pt x="40096" y="125389"/>
                    <a:pt x="54344" y="125389"/>
                  </a:cubicBezTo>
                  <a:cubicBezTo>
                    <a:pt x="68592" y="125389"/>
                    <a:pt x="71442" y="136787"/>
                    <a:pt x="68592" y="151035"/>
                  </a:cubicBezTo>
                  <a:cubicBezTo>
                    <a:pt x="68592" y="159584"/>
                    <a:pt x="65744" y="168133"/>
                    <a:pt x="68592" y="179531"/>
                  </a:cubicBezTo>
                  <a:cubicBezTo>
                    <a:pt x="71442" y="196629"/>
                    <a:pt x="99938" y="216576"/>
                    <a:pt x="102788" y="219426"/>
                  </a:cubicBezTo>
                  <a:cubicBezTo>
                    <a:pt x="117036" y="227974"/>
                    <a:pt x="122736" y="236523"/>
                    <a:pt x="119886" y="253621"/>
                  </a:cubicBezTo>
                  <a:cubicBezTo>
                    <a:pt x="117036" y="262170"/>
                    <a:pt x="117036" y="270718"/>
                    <a:pt x="119886" y="279267"/>
                  </a:cubicBezTo>
                  <a:cubicBezTo>
                    <a:pt x="128434" y="296365"/>
                    <a:pt x="156930" y="302064"/>
                    <a:pt x="174028" y="304914"/>
                  </a:cubicBezTo>
                  <a:cubicBezTo>
                    <a:pt x="182577" y="313462"/>
                    <a:pt x="185426" y="322011"/>
                    <a:pt x="188276" y="333410"/>
                  </a:cubicBezTo>
                  <a:cubicBezTo>
                    <a:pt x="191126" y="350507"/>
                    <a:pt x="219622" y="344808"/>
                    <a:pt x="216772" y="324861"/>
                  </a:cubicBezTo>
                  <a:cubicBezTo>
                    <a:pt x="208224" y="307763"/>
                    <a:pt x="199674" y="293515"/>
                    <a:pt x="188276" y="282117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F9431BCF-0ABB-4F69-B0BA-66AA0A315472}"/>
                </a:ext>
              </a:extLst>
            </p:cNvPr>
            <p:cNvSpPr/>
            <p:nvPr/>
          </p:nvSpPr>
          <p:spPr>
            <a:xfrm>
              <a:off x="16122619" y="4161433"/>
              <a:ext cx="228749" cy="314233"/>
            </a:xfrm>
            <a:custGeom>
              <a:avLst/>
              <a:gdLst>
                <a:gd name="connsiteX0" fmla="*/ 225319 w 228749"/>
                <a:gd name="connsiteY0" fmla="*/ 289385 h 314233"/>
                <a:gd name="connsiteX1" fmla="*/ 208222 w 228749"/>
                <a:gd name="connsiteY1" fmla="*/ 258039 h 314233"/>
                <a:gd name="connsiteX2" fmla="*/ 211071 w 228749"/>
                <a:gd name="connsiteY2" fmla="*/ 240942 h 314233"/>
                <a:gd name="connsiteX3" fmla="*/ 196823 w 228749"/>
                <a:gd name="connsiteY3" fmla="*/ 215295 h 314233"/>
                <a:gd name="connsiteX4" fmla="*/ 182575 w 228749"/>
                <a:gd name="connsiteY4" fmla="*/ 209596 h 314233"/>
                <a:gd name="connsiteX5" fmla="*/ 168327 w 228749"/>
                <a:gd name="connsiteY5" fmla="*/ 186799 h 314233"/>
                <a:gd name="connsiteX6" fmla="*/ 159778 w 228749"/>
                <a:gd name="connsiteY6" fmla="*/ 158303 h 314233"/>
                <a:gd name="connsiteX7" fmla="*/ 159778 w 228749"/>
                <a:gd name="connsiteY7" fmla="*/ 155454 h 314233"/>
                <a:gd name="connsiteX8" fmla="*/ 145530 w 228749"/>
                <a:gd name="connsiteY8" fmla="*/ 144055 h 314233"/>
                <a:gd name="connsiteX9" fmla="*/ 119884 w 228749"/>
                <a:gd name="connsiteY9" fmla="*/ 115559 h 314233"/>
                <a:gd name="connsiteX10" fmla="*/ 99936 w 228749"/>
                <a:gd name="connsiteY10" fmla="*/ 87063 h 314233"/>
                <a:gd name="connsiteX11" fmla="*/ 74290 w 228749"/>
                <a:gd name="connsiteY11" fmla="*/ 69965 h 314233"/>
                <a:gd name="connsiteX12" fmla="*/ 77140 w 228749"/>
                <a:gd name="connsiteY12" fmla="*/ 47169 h 314233"/>
                <a:gd name="connsiteX13" fmla="*/ 28696 w 228749"/>
                <a:gd name="connsiteY13" fmla="*/ 10124 h 314233"/>
                <a:gd name="connsiteX14" fmla="*/ 200 w 228749"/>
                <a:gd name="connsiteY14" fmla="*/ 18672 h 314233"/>
                <a:gd name="connsiteX15" fmla="*/ 17298 w 228749"/>
                <a:gd name="connsiteY15" fmla="*/ 47169 h 314233"/>
                <a:gd name="connsiteX16" fmla="*/ 42944 w 228749"/>
                <a:gd name="connsiteY16" fmla="*/ 58567 h 314233"/>
                <a:gd name="connsiteX17" fmla="*/ 42944 w 228749"/>
                <a:gd name="connsiteY17" fmla="*/ 69965 h 314233"/>
                <a:gd name="connsiteX18" fmla="*/ 42944 w 228749"/>
                <a:gd name="connsiteY18" fmla="*/ 78514 h 314233"/>
                <a:gd name="connsiteX19" fmla="*/ 54342 w 228749"/>
                <a:gd name="connsiteY19" fmla="*/ 101311 h 314233"/>
                <a:gd name="connsiteX20" fmla="*/ 77140 w 228749"/>
                <a:gd name="connsiteY20" fmla="*/ 109860 h 314233"/>
                <a:gd name="connsiteX21" fmla="*/ 91388 w 228749"/>
                <a:gd name="connsiteY21" fmla="*/ 121258 h 314233"/>
                <a:gd name="connsiteX22" fmla="*/ 94237 w 228749"/>
                <a:gd name="connsiteY22" fmla="*/ 132657 h 314233"/>
                <a:gd name="connsiteX23" fmla="*/ 111334 w 228749"/>
                <a:gd name="connsiteY23" fmla="*/ 155454 h 314233"/>
                <a:gd name="connsiteX24" fmla="*/ 134132 w 228749"/>
                <a:gd name="connsiteY24" fmla="*/ 166852 h 314233"/>
                <a:gd name="connsiteX25" fmla="*/ 136982 w 228749"/>
                <a:gd name="connsiteY25" fmla="*/ 172551 h 314233"/>
                <a:gd name="connsiteX26" fmla="*/ 148380 w 228749"/>
                <a:gd name="connsiteY26" fmla="*/ 218145 h 314233"/>
                <a:gd name="connsiteX27" fmla="*/ 176876 w 228749"/>
                <a:gd name="connsiteY27" fmla="*/ 235243 h 314233"/>
                <a:gd name="connsiteX28" fmla="*/ 182575 w 228749"/>
                <a:gd name="connsiteY28" fmla="*/ 275137 h 314233"/>
                <a:gd name="connsiteX29" fmla="*/ 208222 w 228749"/>
                <a:gd name="connsiteY29" fmla="*/ 309332 h 314233"/>
                <a:gd name="connsiteX30" fmla="*/ 225319 w 228749"/>
                <a:gd name="connsiteY30" fmla="*/ 289385 h 31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28749" h="314233">
                  <a:moveTo>
                    <a:pt x="225319" y="289385"/>
                  </a:moveTo>
                  <a:cubicBezTo>
                    <a:pt x="213920" y="280836"/>
                    <a:pt x="208222" y="272287"/>
                    <a:pt x="208222" y="258039"/>
                  </a:cubicBezTo>
                  <a:cubicBezTo>
                    <a:pt x="208222" y="252340"/>
                    <a:pt x="211071" y="246641"/>
                    <a:pt x="211071" y="240942"/>
                  </a:cubicBezTo>
                  <a:cubicBezTo>
                    <a:pt x="211071" y="229543"/>
                    <a:pt x="205372" y="220995"/>
                    <a:pt x="196823" y="215295"/>
                  </a:cubicBezTo>
                  <a:cubicBezTo>
                    <a:pt x="191124" y="212446"/>
                    <a:pt x="185424" y="212446"/>
                    <a:pt x="182575" y="209596"/>
                  </a:cubicBezTo>
                  <a:cubicBezTo>
                    <a:pt x="171176" y="203897"/>
                    <a:pt x="168327" y="198198"/>
                    <a:pt x="168327" y="186799"/>
                  </a:cubicBezTo>
                  <a:cubicBezTo>
                    <a:pt x="165478" y="175401"/>
                    <a:pt x="165478" y="166852"/>
                    <a:pt x="159778" y="158303"/>
                  </a:cubicBezTo>
                  <a:cubicBezTo>
                    <a:pt x="159778" y="158303"/>
                    <a:pt x="159778" y="158303"/>
                    <a:pt x="159778" y="155454"/>
                  </a:cubicBezTo>
                  <a:cubicBezTo>
                    <a:pt x="154078" y="149754"/>
                    <a:pt x="151230" y="146905"/>
                    <a:pt x="145530" y="144055"/>
                  </a:cubicBezTo>
                  <a:cubicBezTo>
                    <a:pt x="131282" y="132657"/>
                    <a:pt x="125582" y="135506"/>
                    <a:pt x="119884" y="115559"/>
                  </a:cubicBezTo>
                  <a:cubicBezTo>
                    <a:pt x="117034" y="101311"/>
                    <a:pt x="114184" y="92762"/>
                    <a:pt x="99936" y="87063"/>
                  </a:cubicBezTo>
                  <a:cubicBezTo>
                    <a:pt x="88538" y="81364"/>
                    <a:pt x="77140" y="87063"/>
                    <a:pt x="74290" y="69965"/>
                  </a:cubicBezTo>
                  <a:cubicBezTo>
                    <a:pt x="71440" y="64266"/>
                    <a:pt x="79989" y="55717"/>
                    <a:pt x="77140" y="47169"/>
                  </a:cubicBezTo>
                  <a:cubicBezTo>
                    <a:pt x="68590" y="24372"/>
                    <a:pt x="34396" y="32921"/>
                    <a:pt x="28696" y="10124"/>
                  </a:cubicBezTo>
                  <a:cubicBezTo>
                    <a:pt x="25846" y="-6974"/>
                    <a:pt x="-2650" y="-1275"/>
                    <a:pt x="200" y="18672"/>
                  </a:cubicBezTo>
                  <a:cubicBezTo>
                    <a:pt x="3050" y="30071"/>
                    <a:pt x="8749" y="38620"/>
                    <a:pt x="17298" y="47169"/>
                  </a:cubicBezTo>
                  <a:cubicBezTo>
                    <a:pt x="22997" y="52868"/>
                    <a:pt x="37245" y="52868"/>
                    <a:pt x="42944" y="58567"/>
                  </a:cubicBezTo>
                  <a:cubicBezTo>
                    <a:pt x="48644" y="64266"/>
                    <a:pt x="42944" y="58567"/>
                    <a:pt x="42944" y="69965"/>
                  </a:cubicBezTo>
                  <a:cubicBezTo>
                    <a:pt x="42944" y="72815"/>
                    <a:pt x="42944" y="75665"/>
                    <a:pt x="42944" y="78514"/>
                  </a:cubicBezTo>
                  <a:cubicBezTo>
                    <a:pt x="42944" y="87063"/>
                    <a:pt x="48644" y="95612"/>
                    <a:pt x="54342" y="101311"/>
                  </a:cubicBezTo>
                  <a:cubicBezTo>
                    <a:pt x="60042" y="107010"/>
                    <a:pt x="68590" y="107010"/>
                    <a:pt x="77140" y="109860"/>
                  </a:cubicBezTo>
                  <a:cubicBezTo>
                    <a:pt x="88538" y="115559"/>
                    <a:pt x="85688" y="107010"/>
                    <a:pt x="91388" y="121258"/>
                  </a:cubicBezTo>
                  <a:cubicBezTo>
                    <a:pt x="91388" y="124108"/>
                    <a:pt x="91388" y="129807"/>
                    <a:pt x="94237" y="132657"/>
                  </a:cubicBezTo>
                  <a:cubicBezTo>
                    <a:pt x="97086" y="141206"/>
                    <a:pt x="102786" y="149754"/>
                    <a:pt x="111334" y="155454"/>
                  </a:cubicBezTo>
                  <a:cubicBezTo>
                    <a:pt x="117034" y="161153"/>
                    <a:pt x="128432" y="161153"/>
                    <a:pt x="134132" y="166852"/>
                  </a:cubicBezTo>
                  <a:cubicBezTo>
                    <a:pt x="134132" y="169702"/>
                    <a:pt x="136982" y="169702"/>
                    <a:pt x="136982" y="172551"/>
                  </a:cubicBezTo>
                  <a:cubicBezTo>
                    <a:pt x="148380" y="181100"/>
                    <a:pt x="139830" y="206747"/>
                    <a:pt x="148380" y="218145"/>
                  </a:cubicBezTo>
                  <a:cubicBezTo>
                    <a:pt x="156928" y="229543"/>
                    <a:pt x="168327" y="226694"/>
                    <a:pt x="176876" y="235243"/>
                  </a:cubicBezTo>
                  <a:cubicBezTo>
                    <a:pt x="191124" y="246641"/>
                    <a:pt x="179726" y="260889"/>
                    <a:pt x="182575" y="275137"/>
                  </a:cubicBezTo>
                  <a:cubicBezTo>
                    <a:pt x="185424" y="289385"/>
                    <a:pt x="196823" y="300783"/>
                    <a:pt x="208222" y="309332"/>
                  </a:cubicBezTo>
                  <a:cubicBezTo>
                    <a:pt x="216770" y="323580"/>
                    <a:pt x="236718" y="303633"/>
                    <a:pt x="225319" y="289385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941E8F4B-98EE-4D67-9C1E-080BEA0C8193}"/>
                </a:ext>
              </a:extLst>
            </p:cNvPr>
            <p:cNvSpPr/>
            <p:nvPr/>
          </p:nvSpPr>
          <p:spPr>
            <a:xfrm>
              <a:off x="15513835" y="4313663"/>
              <a:ext cx="326873" cy="77313"/>
            </a:xfrm>
            <a:custGeom>
              <a:avLst/>
              <a:gdLst>
                <a:gd name="connsiteX0" fmla="*/ 298378 w 326873"/>
                <a:gd name="connsiteY0" fmla="*/ 14622 h 77313"/>
                <a:gd name="connsiteX1" fmla="*/ 255634 w 326873"/>
                <a:gd name="connsiteY1" fmla="*/ 14622 h 77313"/>
                <a:gd name="connsiteX2" fmla="*/ 232837 w 326873"/>
                <a:gd name="connsiteY2" fmla="*/ 28870 h 77313"/>
                <a:gd name="connsiteX3" fmla="*/ 207190 w 326873"/>
                <a:gd name="connsiteY3" fmla="*/ 43118 h 77313"/>
                <a:gd name="connsiteX4" fmla="*/ 192942 w 326873"/>
                <a:gd name="connsiteY4" fmla="*/ 37419 h 77313"/>
                <a:gd name="connsiteX5" fmla="*/ 190093 w 326873"/>
                <a:gd name="connsiteY5" fmla="*/ 34569 h 77313"/>
                <a:gd name="connsiteX6" fmla="*/ 184394 w 326873"/>
                <a:gd name="connsiteY6" fmla="*/ 34569 h 77313"/>
                <a:gd name="connsiteX7" fmla="*/ 181544 w 326873"/>
                <a:gd name="connsiteY7" fmla="*/ 34569 h 77313"/>
                <a:gd name="connsiteX8" fmla="*/ 170146 w 326873"/>
                <a:gd name="connsiteY8" fmla="*/ 37419 h 77313"/>
                <a:gd name="connsiteX9" fmla="*/ 133101 w 326873"/>
                <a:gd name="connsiteY9" fmla="*/ 43118 h 77313"/>
                <a:gd name="connsiteX10" fmla="*/ 93206 w 326873"/>
                <a:gd name="connsiteY10" fmla="*/ 26021 h 77313"/>
                <a:gd name="connsiteX11" fmla="*/ 81808 w 326873"/>
                <a:gd name="connsiteY11" fmla="*/ 31720 h 77313"/>
                <a:gd name="connsiteX12" fmla="*/ 44763 w 326873"/>
                <a:gd name="connsiteY12" fmla="*/ 8923 h 77313"/>
                <a:gd name="connsiteX13" fmla="*/ 7718 w 326873"/>
                <a:gd name="connsiteY13" fmla="*/ 6073 h 77313"/>
                <a:gd name="connsiteX14" fmla="*/ 21966 w 326873"/>
                <a:gd name="connsiteY14" fmla="*/ 31720 h 77313"/>
                <a:gd name="connsiteX15" fmla="*/ 61861 w 326873"/>
                <a:gd name="connsiteY15" fmla="*/ 63065 h 77313"/>
                <a:gd name="connsiteX16" fmla="*/ 98905 w 326873"/>
                <a:gd name="connsiteY16" fmla="*/ 57366 h 77313"/>
                <a:gd name="connsiteX17" fmla="*/ 127401 w 326873"/>
                <a:gd name="connsiteY17" fmla="*/ 74464 h 77313"/>
                <a:gd name="connsiteX18" fmla="*/ 141649 w 326873"/>
                <a:gd name="connsiteY18" fmla="*/ 77313 h 77313"/>
                <a:gd name="connsiteX19" fmla="*/ 161597 w 326873"/>
                <a:gd name="connsiteY19" fmla="*/ 74464 h 77313"/>
                <a:gd name="connsiteX20" fmla="*/ 178694 w 326873"/>
                <a:gd name="connsiteY20" fmla="*/ 60216 h 77313"/>
                <a:gd name="connsiteX21" fmla="*/ 221438 w 326873"/>
                <a:gd name="connsiteY21" fmla="*/ 74464 h 77313"/>
                <a:gd name="connsiteX22" fmla="*/ 249934 w 326873"/>
                <a:gd name="connsiteY22" fmla="*/ 51667 h 77313"/>
                <a:gd name="connsiteX23" fmla="*/ 306926 w 326873"/>
                <a:gd name="connsiteY23" fmla="*/ 45968 h 77313"/>
                <a:gd name="connsiteX24" fmla="*/ 326874 w 326873"/>
                <a:gd name="connsiteY24" fmla="*/ 17472 h 77313"/>
                <a:gd name="connsiteX25" fmla="*/ 298378 w 326873"/>
                <a:gd name="connsiteY25" fmla="*/ 14622 h 77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6873" h="77313">
                  <a:moveTo>
                    <a:pt x="298378" y="14622"/>
                  </a:moveTo>
                  <a:cubicBezTo>
                    <a:pt x="298378" y="20321"/>
                    <a:pt x="261333" y="11773"/>
                    <a:pt x="255634" y="14622"/>
                  </a:cubicBezTo>
                  <a:cubicBezTo>
                    <a:pt x="247085" y="14622"/>
                    <a:pt x="238536" y="20321"/>
                    <a:pt x="232837" y="28870"/>
                  </a:cubicBezTo>
                  <a:cubicBezTo>
                    <a:pt x="221438" y="40269"/>
                    <a:pt x="224288" y="51667"/>
                    <a:pt x="207190" y="43118"/>
                  </a:cubicBezTo>
                  <a:cubicBezTo>
                    <a:pt x="201491" y="40269"/>
                    <a:pt x="195792" y="37419"/>
                    <a:pt x="192942" y="37419"/>
                  </a:cubicBezTo>
                  <a:cubicBezTo>
                    <a:pt x="192942" y="37419"/>
                    <a:pt x="190093" y="37419"/>
                    <a:pt x="190093" y="34569"/>
                  </a:cubicBezTo>
                  <a:cubicBezTo>
                    <a:pt x="187243" y="34569"/>
                    <a:pt x="184394" y="34569"/>
                    <a:pt x="184394" y="34569"/>
                  </a:cubicBezTo>
                  <a:cubicBezTo>
                    <a:pt x="184394" y="34569"/>
                    <a:pt x="181544" y="34569"/>
                    <a:pt x="181544" y="34569"/>
                  </a:cubicBezTo>
                  <a:cubicBezTo>
                    <a:pt x="175845" y="34569"/>
                    <a:pt x="172995" y="34569"/>
                    <a:pt x="170146" y="37419"/>
                  </a:cubicBezTo>
                  <a:cubicBezTo>
                    <a:pt x="158747" y="43118"/>
                    <a:pt x="150198" y="48817"/>
                    <a:pt x="133101" y="43118"/>
                  </a:cubicBezTo>
                  <a:cubicBezTo>
                    <a:pt x="118853" y="37419"/>
                    <a:pt x="113153" y="20321"/>
                    <a:pt x="93206" y="26021"/>
                  </a:cubicBezTo>
                  <a:cubicBezTo>
                    <a:pt x="90357" y="26021"/>
                    <a:pt x="84657" y="31720"/>
                    <a:pt x="81808" y="31720"/>
                  </a:cubicBezTo>
                  <a:cubicBezTo>
                    <a:pt x="59011" y="34569"/>
                    <a:pt x="59011" y="17472"/>
                    <a:pt x="44763" y="8923"/>
                  </a:cubicBezTo>
                  <a:cubicBezTo>
                    <a:pt x="33365" y="374"/>
                    <a:pt x="21966" y="374"/>
                    <a:pt x="7718" y="6073"/>
                  </a:cubicBezTo>
                  <a:cubicBezTo>
                    <a:pt x="-9379" y="14622"/>
                    <a:pt x="4869" y="37419"/>
                    <a:pt x="21966" y="31720"/>
                  </a:cubicBezTo>
                  <a:cubicBezTo>
                    <a:pt x="19117" y="31720"/>
                    <a:pt x="56161" y="60216"/>
                    <a:pt x="61861" y="63065"/>
                  </a:cubicBezTo>
                  <a:cubicBezTo>
                    <a:pt x="76109" y="65915"/>
                    <a:pt x="87507" y="54517"/>
                    <a:pt x="98905" y="57366"/>
                  </a:cubicBezTo>
                  <a:cubicBezTo>
                    <a:pt x="104605" y="57366"/>
                    <a:pt x="121702" y="74464"/>
                    <a:pt x="127401" y="74464"/>
                  </a:cubicBezTo>
                  <a:cubicBezTo>
                    <a:pt x="133101" y="77313"/>
                    <a:pt x="138800" y="77313"/>
                    <a:pt x="141649" y="77313"/>
                  </a:cubicBezTo>
                  <a:cubicBezTo>
                    <a:pt x="147349" y="77313"/>
                    <a:pt x="155897" y="77313"/>
                    <a:pt x="161597" y="74464"/>
                  </a:cubicBezTo>
                  <a:cubicBezTo>
                    <a:pt x="161597" y="74464"/>
                    <a:pt x="178694" y="63065"/>
                    <a:pt x="178694" y="60216"/>
                  </a:cubicBezTo>
                  <a:cubicBezTo>
                    <a:pt x="195792" y="63065"/>
                    <a:pt x="204341" y="77313"/>
                    <a:pt x="221438" y="74464"/>
                  </a:cubicBezTo>
                  <a:cubicBezTo>
                    <a:pt x="238536" y="71614"/>
                    <a:pt x="238536" y="60216"/>
                    <a:pt x="249934" y="51667"/>
                  </a:cubicBezTo>
                  <a:cubicBezTo>
                    <a:pt x="267032" y="34569"/>
                    <a:pt x="286979" y="54517"/>
                    <a:pt x="306926" y="45968"/>
                  </a:cubicBezTo>
                  <a:cubicBezTo>
                    <a:pt x="321174" y="40269"/>
                    <a:pt x="324024" y="31720"/>
                    <a:pt x="326874" y="17472"/>
                  </a:cubicBezTo>
                  <a:cubicBezTo>
                    <a:pt x="326874" y="-5325"/>
                    <a:pt x="298378" y="-5325"/>
                    <a:pt x="298378" y="14622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30" name="图形 1">
              <a:extLst>
                <a:ext uri="{FF2B5EF4-FFF2-40B4-BE49-F238E27FC236}">
                  <a16:creationId xmlns:a16="http://schemas.microsoft.com/office/drawing/2014/main" id="{D08BB1D9-B4B6-40D7-A13B-5D653BD277B2}"/>
                </a:ext>
              </a:extLst>
            </p:cNvPr>
            <p:cNvGrpSpPr/>
            <p:nvPr/>
          </p:nvGrpSpPr>
          <p:grpSpPr>
            <a:xfrm>
              <a:off x="15428866" y="3914558"/>
              <a:ext cx="513495" cy="180059"/>
              <a:chOff x="15428866" y="3914558"/>
              <a:chExt cx="513495" cy="180059"/>
            </a:xfrm>
          </p:grpSpPr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8221C747-66BC-42A1-9700-EF3D95DE0DF6}"/>
                  </a:ext>
                </a:extLst>
              </p:cNvPr>
              <p:cNvSpPr/>
              <p:nvPr/>
            </p:nvSpPr>
            <p:spPr>
              <a:xfrm>
                <a:off x="15826460" y="3940739"/>
                <a:ext cx="115902" cy="100118"/>
              </a:xfrm>
              <a:custGeom>
                <a:avLst/>
                <a:gdLst>
                  <a:gd name="connsiteX0" fmla="*/ 0 w 115902"/>
                  <a:gd name="connsiteY0" fmla="*/ 54142 h 100118"/>
                  <a:gd name="connsiteX1" fmla="*/ 99736 w 115902"/>
                  <a:gd name="connsiteY1" fmla="*/ 0 h 100118"/>
                  <a:gd name="connsiteX2" fmla="*/ 113984 w 115902"/>
                  <a:gd name="connsiteY2" fmla="*/ 45594 h 100118"/>
                  <a:gd name="connsiteX3" fmla="*/ 0 w 115902"/>
                  <a:gd name="connsiteY3" fmla="*/ 99736 h 100118"/>
                  <a:gd name="connsiteX4" fmla="*/ 0 w 115902"/>
                  <a:gd name="connsiteY4" fmla="*/ 54142 h 100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902" h="100118">
                    <a:moveTo>
                      <a:pt x="0" y="54142"/>
                    </a:moveTo>
                    <a:cubicBezTo>
                      <a:pt x="0" y="54142"/>
                      <a:pt x="62692" y="37045"/>
                      <a:pt x="99736" y="0"/>
                    </a:cubicBezTo>
                    <a:cubicBezTo>
                      <a:pt x="99736" y="0"/>
                      <a:pt x="122533" y="37045"/>
                      <a:pt x="113984" y="45594"/>
                    </a:cubicBezTo>
                    <a:cubicBezTo>
                      <a:pt x="113984" y="45594"/>
                      <a:pt x="37045" y="105435"/>
                      <a:pt x="0" y="99736"/>
                    </a:cubicBezTo>
                    <a:lnTo>
                      <a:pt x="0" y="54142"/>
                    </a:ln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A1DC001C-7BE4-4BF7-B5F9-A7BEB1CDCB65}"/>
                  </a:ext>
                </a:extLst>
              </p:cNvPr>
              <p:cNvSpPr/>
              <p:nvPr/>
            </p:nvSpPr>
            <p:spPr>
              <a:xfrm>
                <a:off x="15433215" y="3914558"/>
                <a:ext cx="410888" cy="180059"/>
              </a:xfrm>
              <a:custGeom>
                <a:avLst/>
                <a:gdLst>
                  <a:gd name="connsiteX0" fmla="*/ 0 w 410888"/>
                  <a:gd name="connsiteY0" fmla="*/ 31880 h 180059"/>
                  <a:gd name="connsiteX1" fmla="*/ 17097 w 410888"/>
                  <a:gd name="connsiteY1" fmla="*/ 40429 h 180059"/>
                  <a:gd name="connsiteX2" fmla="*/ 37045 w 410888"/>
                  <a:gd name="connsiteY2" fmla="*/ 37579 h 180059"/>
                  <a:gd name="connsiteX3" fmla="*/ 42744 w 410888"/>
                  <a:gd name="connsiteY3" fmla="*/ 123067 h 180059"/>
                  <a:gd name="connsiteX4" fmla="*/ 65541 w 410888"/>
                  <a:gd name="connsiteY4" fmla="*/ 143015 h 180059"/>
                  <a:gd name="connsiteX5" fmla="*/ 336253 w 410888"/>
                  <a:gd name="connsiteY5" fmla="*/ 160112 h 180059"/>
                  <a:gd name="connsiteX6" fmla="*/ 336253 w 410888"/>
                  <a:gd name="connsiteY6" fmla="*/ 180059 h 180059"/>
                  <a:gd name="connsiteX7" fmla="*/ 378997 w 410888"/>
                  <a:gd name="connsiteY7" fmla="*/ 162962 h 180059"/>
                  <a:gd name="connsiteX8" fmla="*/ 381847 w 410888"/>
                  <a:gd name="connsiteY8" fmla="*/ 162962 h 180059"/>
                  <a:gd name="connsiteX9" fmla="*/ 381847 w 410888"/>
                  <a:gd name="connsiteY9" fmla="*/ 162962 h 180059"/>
                  <a:gd name="connsiteX10" fmla="*/ 381847 w 410888"/>
                  <a:gd name="connsiteY10" fmla="*/ 162962 h 180059"/>
                  <a:gd name="connsiteX11" fmla="*/ 393245 w 410888"/>
                  <a:gd name="connsiteY11" fmla="*/ 148714 h 180059"/>
                  <a:gd name="connsiteX12" fmla="*/ 410343 w 410888"/>
                  <a:gd name="connsiteY12" fmla="*/ 48977 h 180059"/>
                  <a:gd name="connsiteX13" fmla="*/ 390395 w 410888"/>
                  <a:gd name="connsiteY13" fmla="*/ 26181 h 180059"/>
                  <a:gd name="connsiteX14" fmla="*/ 62691 w 410888"/>
                  <a:gd name="connsiteY14" fmla="*/ 534 h 180059"/>
                  <a:gd name="connsiteX15" fmla="*/ 48443 w 410888"/>
                  <a:gd name="connsiteY15" fmla="*/ 6233 h 180059"/>
                  <a:gd name="connsiteX16" fmla="*/ 48443 w 410888"/>
                  <a:gd name="connsiteY16" fmla="*/ 6233 h 180059"/>
                  <a:gd name="connsiteX17" fmla="*/ 0 w 410888"/>
                  <a:gd name="connsiteY17" fmla="*/ 31880 h 180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10888" h="180059">
                    <a:moveTo>
                      <a:pt x="0" y="31880"/>
                    </a:moveTo>
                    <a:cubicBezTo>
                      <a:pt x="5699" y="34729"/>
                      <a:pt x="11398" y="37579"/>
                      <a:pt x="17097" y="40429"/>
                    </a:cubicBezTo>
                    <a:cubicBezTo>
                      <a:pt x="22796" y="40429"/>
                      <a:pt x="28496" y="37579"/>
                      <a:pt x="37045" y="37579"/>
                    </a:cubicBezTo>
                    <a:cubicBezTo>
                      <a:pt x="37045" y="66075"/>
                      <a:pt x="39894" y="94571"/>
                      <a:pt x="42744" y="123067"/>
                    </a:cubicBezTo>
                    <a:cubicBezTo>
                      <a:pt x="42744" y="134466"/>
                      <a:pt x="54142" y="143015"/>
                      <a:pt x="65541" y="143015"/>
                    </a:cubicBezTo>
                    <a:cubicBezTo>
                      <a:pt x="156728" y="140165"/>
                      <a:pt x="247915" y="145864"/>
                      <a:pt x="336253" y="160112"/>
                    </a:cubicBezTo>
                    <a:cubicBezTo>
                      <a:pt x="336253" y="165811"/>
                      <a:pt x="336253" y="174360"/>
                      <a:pt x="336253" y="180059"/>
                    </a:cubicBezTo>
                    <a:cubicBezTo>
                      <a:pt x="350501" y="174360"/>
                      <a:pt x="364749" y="168661"/>
                      <a:pt x="378997" y="162962"/>
                    </a:cubicBezTo>
                    <a:cubicBezTo>
                      <a:pt x="378997" y="162962"/>
                      <a:pt x="381847" y="162962"/>
                      <a:pt x="381847" y="162962"/>
                    </a:cubicBezTo>
                    <a:lnTo>
                      <a:pt x="381847" y="162962"/>
                    </a:lnTo>
                    <a:lnTo>
                      <a:pt x="381847" y="162962"/>
                    </a:lnTo>
                    <a:cubicBezTo>
                      <a:pt x="387545" y="160112"/>
                      <a:pt x="393245" y="154413"/>
                      <a:pt x="393245" y="148714"/>
                    </a:cubicBezTo>
                    <a:cubicBezTo>
                      <a:pt x="398945" y="114518"/>
                      <a:pt x="404643" y="80323"/>
                      <a:pt x="410343" y="48977"/>
                    </a:cubicBezTo>
                    <a:cubicBezTo>
                      <a:pt x="413193" y="37579"/>
                      <a:pt x="404643" y="29030"/>
                      <a:pt x="390395" y="26181"/>
                    </a:cubicBezTo>
                    <a:cubicBezTo>
                      <a:pt x="282111" y="6233"/>
                      <a:pt x="173825" y="-2315"/>
                      <a:pt x="62691" y="534"/>
                    </a:cubicBezTo>
                    <a:cubicBezTo>
                      <a:pt x="56992" y="534"/>
                      <a:pt x="51293" y="3384"/>
                      <a:pt x="48443" y="6233"/>
                    </a:cubicBezTo>
                    <a:lnTo>
                      <a:pt x="48443" y="6233"/>
                    </a:lnTo>
                    <a:cubicBezTo>
                      <a:pt x="28496" y="17632"/>
                      <a:pt x="14248" y="23331"/>
                      <a:pt x="0" y="3188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53" name="图形 1">
                <a:extLst>
                  <a:ext uri="{FF2B5EF4-FFF2-40B4-BE49-F238E27FC236}">
                    <a16:creationId xmlns:a16="http://schemas.microsoft.com/office/drawing/2014/main" id="{81248549-06DA-4C82-B21F-E6083C99EBCB}"/>
                  </a:ext>
                </a:extLst>
              </p:cNvPr>
              <p:cNvGrpSpPr/>
              <p:nvPr/>
            </p:nvGrpSpPr>
            <p:grpSpPr>
              <a:xfrm>
                <a:off x="15428866" y="3938555"/>
                <a:ext cx="369540" cy="156062"/>
                <a:chOff x="15428866" y="3938555"/>
                <a:chExt cx="369540" cy="156062"/>
              </a:xfrm>
            </p:grpSpPr>
            <p:sp>
              <p:nvSpPr>
                <p:cNvPr id="154" name="任意多边形: 形状 153">
                  <a:extLst>
                    <a:ext uri="{FF2B5EF4-FFF2-40B4-BE49-F238E27FC236}">
                      <a16:creationId xmlns:a16="http://schemas.microsoft.com/office/drawing/2014/main" id="{06A07626-B05A-49D9-911B-2AEB90BDB4F9}"/>
                    </a:ext>
                  </a:extLst>
                </p:cNvPr>
                <p:cNvSpPr/>
                <p:nvPr/>
              </p:nvSpPr>
              <p:spPr>
                <a:xfrm>
                  <a:off x="15428866" y="3938555"/>
                  <a:ext cx="369540" cy="156062"/>
                </a:xfrm>
                <a:custGeom>
                  <a:avLst/>
                  <a:gdLst>
                    <a:gd name="connsiteX0" fmla="*/ 21446 w 369540"/>
                    <a:gd name="connsiteY0" fmla="*/ 2184 h 156062"/>
                    <a:gd name="connsiteX1" fmla="*/ 349150 w 369540"/>
                    <a:gd name="connsiteY1" fmla="*/ 16432 h 156062"/>
                    <a:gd name="connsiteX2" fmla="*/ 369098 w 369540"/>
                    <a:gd name="connsiteY2" fmla="*/ 39229 h 156062"/>
                    <a:gd name="connsiteX3" fmla="*/ 354850 w 369540"/>
                    <a:gd name="connsiteY3" fmla="*/ 138965 h 156062"/>
                    <a:gd name="connsiteX4" fmla="*/ 332053 w 369540"/>
                    <a:gd name="connsiteY4" fmla="*/ 156062 h 156062"/>
                    <a:gd name="connsiteX5" fmla="*/ 32845 w 369540"/>
                    <a:gd name="connsiteY5" fmla="*/ 141814 h 156062"/>
                    <a:gd name="connsiteX6" fmla="*/ 10047 w 369540"/>
                    <a:gd name="connsiteY6" fmla="*/ 124717 h 156062"/>
                    <a:gd name="connsiteX7" fmla="*/ 1499 w 369540"/>
                    <a:gd name="connsiteY7" fmla="*/ 22131 h 156062"/>
                    <a:gd name="connsiteX8" fmla="*/ 21446 w 369540"/>
                    <a:gd name="connsiteY8" fmla="*/ 2184 h 156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9540" h="156062">
                      <a:moveTo>
                        <a:pt x="21446" y="2184"/>
                      </a:moveTo>
                      <a:cubicBezTo>
                        <a:pt x="132581" y="-3515"/>
                        <a:pt x="240866" y="2184"/>
                        <a:pt x="349150" y="16432"/>
                      </a:cubicBezTo>
                      <a:cubicBezTo>
                        <a:pt x="360549" y="19282"/>
                        <a:pt x="371948" y="27830"/>
                        <a:pt x="369098" y="39229"/>
                      </a:cubicBezTo>
                      <a:cubicBezTo>
                        <a:pt x="363398" y="73424"/>
                        <a:pt x="360549" y="107619"/>
                        <a:pt x="354850" y="138965"/>
                      </a:cubicBezTo>
                      <a:cubicBezTo>
                        <a:pt x="352000" y="150363"/>
                        <a:pt x="343451" y="156062"/>
                        <a:pt x="332053" y="156062"/>
                      </a:cubicBezTo>
                      <a:cubicBezTo>
                        <a:pt x="235166" y="141814"/>
                        <a:pt x="135430" y="136115"/>
                        <a:pt x="32845" y="141814"/>
                      </a:cubicBezTo>
                      <a:cubicBezTo>
                        <a:pt x="21446" y="141814"/>
                        <a:pt x="10047" y="133266"/>
                        <a:pt x="10047" y="124717"/>
                      </a:cubicBezTo>
                      <a:cubicBezTo>
                        <a:pt x="7198" y="90522"/>
                        <a:pt x="4349" y="56326"/>
                        <a:pt x="1499" y="22131"/>
                      </a:cubicBezTo>
                      <a:cubicBezTo>
                        <a:pt x="-4201" y="13582"/>
                        <a:pt x="7198" y="5034"/>
                        <a:pt x="21446" y="2184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5" name="任意多边形: 形状 154">
                  <a:extLst>
                    <a:ext uri="{FF2B5EF4-FFF2-40B4-BE49-F238E27FC236}">
                      <a16:creationId xmlns:a16="http://schemas.microsoft.com/office/drawing/2014/main" id="{5C13AD78-4B8A-4AF8-BCFB-ECA434E4AFBD}"/>
                    </a:ext>
                  </a:extLst>
                </p:cNvPr>
                <p:cNvSpPr/>
                <p:nvPr/>
              </p:nvSpPr>
              <p:spPr>
                <a:xfrm>
                  <a:off x="15450312" y="3948295"/>
                  <a:ext cx="322558" cy="138333"/>
                </a:xfrm>
                <a:custGeom>
                  <a:avLst/>
                  <a:gdLst>
                    <a:gd name="connsiteX0" fmla="*/ 19948 w 322558"/>
                    <a:gd name="connsiteY0" fmla="*/ 993 h 138333"/>
                    <a:gd name="connsiteX1" fmla="*/ 304908 w 322558"/>
                    <a:gd name="connsiteY1" fmla="*/ 15241 h 138333"/>
                    <a:gd name="connsiteX2" fmla="*/ 322006 w 322558"/>
                    <a:gd name="connsiteY2" fmla="*/ 35188 h 138333"/>
                    <a:gd name="connsiteX3" fmla="*/ 310608 w 322558"/>
                    <a:gd name="connsiteY3" fmla="*/ 123526 h 138333"/>
                    <a:gd name="connsiteX4" fmla="*/ 290660 w 322558"/>
                    <a:gd name="connsiteY4" fmla="*/ 137774 h 138333"/>
                    <a:gd name="connsiteX5" fmla="*/ 25647 w 322558"/>
                    <a:gd name="connsiteY5" fmla="*/ 126376 h 138333"/>
                    <a:gd name="connsiteX6" fmla="*/ 5700 w 322558"/>
                    <a:gd name="connsiteY6" fmla="*/ 109278 h 138333"/>
                    <a:gd name="connsiteX7" fmla="*/ 0 w 322558"/>
                    <a:gd name="connsiteY7" fmla="*/ 20940 h 138333"/>
                    <a:gd name="connsiteX8" fmla="*/ 19948 w 322558"/>
                    <a:gd name="connsiteY8" fmla="*/ 993 h 1383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2558" h="138333">
                      <a:moveTo>
                        <a:pt x="19948" y="993"/>
                      </a:moveTo>
                      <a:cubicBezTo>
                        <a:pt x="116834" y="-1857"/>
                        <a:pt x="210871" y="993"/>
                        <a:pt x="304908" y="15241"/>
                      </a:cubicBezTo>
                      <a:cubicBezTo>
                        <a:pt x="316306" y="18091"/>
                        <a:pt x="324856" y="26639"/>
                        <a:pt x="322006" y="35188"/>
                      </a:cubicBezTo>
                      <a:cubicBezTo>
                        <a:pt x="319156" y="63684"/>
                        <a:pt x="313456" y="95030"/>
                        <a:pt x="310608" y="123526"/>
                      </a:cubicBezTo>
                      <a:cubicBezTo>
                        <a:pt x="310608" y="132075"/>
                        <a:pt x="299208" y="140624"/>
                        <a:pt x="290660" y="137774"/>
                      </a:cubicBezTo>
                      <a:cubicBezTo>
                        <a:pt x="205172" y="126376"/>
                        <a:pt x="116834" y="120676"/>
                        <a:pt x="25647" y="126376"/>
                      </a:cubicBezTo>
                      <a:cubicBezTo>
                        <a:pt x="14248" y="126376"/>
                        <a:pt x="5700" y="120676"/>
                        <a:pt x="5700" y="109278"/>
                      </a:cubicBezTo>
                      <a:cubicBezTo>
                        <a:pt x="2850" y="80782"/>
                        <a:pt x="0" y="49436"/>
                        <a:pt x="0" y="20940"/>
                      </a:cubicBezTo>
                      <a:cubicBezTo>
                        <a:pt x="0" y="9542"/>
                        <a:pt x="8549" y="993"/>
                        <a:pt x="19948" y="993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6" name="任意多边形: 形状 155">
                  <a:extLst>
                    <a:ext uri="{FF2B5EF4-FFF2-40B4-BE49-F238E27FC236}">
                      <a16:creationId xmlns:a16="http://schemas.microsoft.com/office/drawing/2014/main" id="{1CCCC708-484B-4375-8DCE-020510E259DD}"/>
                    </a:ext>
                  </a:extLst>
                </p:cNvPr>
                <p:cNvSpPr/>
                <p:nvPr/>
              </p:nvSpPr>
              <p:spPr>
                <a:xfrm>
                  <a:off x="15624138" y="3960686"/>
                  <a:ext cx="94037" cy="108285"/>
                </a:xfrm>
                <a:custGeom>
                  <a:avLst/>
                  <a:gdLst>
                    <a:gd name="connsiteX0" fmla="*/ 22797 w 94037"/>
                    <a:gd name="connsiteY0" fmla="*/ 108285 h 108285"/>
                    <a:gd name="connsiteX1" fmla="*/ 0 w 94037"/>
                    <a:gd name="connsiteY1" fmla="*/ 105435 h 108285"/>
                    <a:gd name="connsiteX2" fmla="*/ 68390 w 94037"/>
                    <a:gd name="connsiteY2" fmla="*/ 0 h 108285"/>
                    <a:gd name="connsiteX3" fmla="*/ 94037 w 94037"/>
                    <a:gd name="connsiteY3" fmla="*/ 2850 h 108285"/>
                    <a:gd name="connsiteX4" fmla="*/ 22797 w 94037"/>
                    <a:gd name="connsiteY4" fmla="*/ 108285 h 108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037" h="108285">
                      <a:moveTo>
                        <a:pt x="22797" y="108285"/>
                      </a:moveTo>
                      <a:cubicBezTo>
                        <a:pt x="14248" y="108285"/>
                        <a:pt x="8549" y="108285"/>
                        <a:pt x="0" y="105435"/>
                      </a:cubicBezTo>
                      <a:cubicBezTo>
                        <a:pt x="19948" y="71240"/>
                        <a:pt x="42744" y="34195"/>
                        <a:pt x="68390" y="0"/>
                      </a:cubicBezTo>
                      <a:cubicBezTo>
                        <a:pt x="76940" y="0"/>
                        <a:pt x="85488" y="2850"/>
                        <a:pt x="94037" y="2850"/>
                      </a:cubicBezTo>
                      <a:cubicBezTo>
                        <a:pt x="71240" y="39895"/>
                        <a:pt x="45594" y="74090"/>
                        <a:pt x="22797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7" name="任意多边形: 形状 156">
                  <a:extLst>
                    <a:ext uri="{FF2B5EF4-FFF2-40B4-BE49-F238E27FC236}">
                      <a16:creationId xmlns:a16="http://schemas.microsoft.com/office/drawing/2014/main" id="{40385E6E-6E67-4047-B5C1-605AB6D222DA}"/>
                    </a:ext>
                  </a:extLst>
                </p:cNvPr>
                <p:cNvSpPr/>
                <p:nvPr/>
              </p:nvSpPr>
              <p:spPr>
                <a:xfrm>
                  <a:off x="15558598" y="3957836"/>
                  <a:ext cx="111134" cy="108284"/>
                </a:xfrm>
                <a:custGeom>
                  <a:avLst/>
                  <a:gdLst>
                    <a:gd name="connsiteX0" fmla="*/ 42744 w 111134"/>
                    <a:gd name="connsiteY0" fmla="*/ 108285 h 108284"/>
                    <a:gd name="connsiteX1" fmla="*/ 0 w 111134"/>
                    <a:gd name="connsiteY1" fmla="*/ 108285 h 108284"/>
                    <a:gd name="connsiteX2" fmla="*/ 62691 w 111134"/>
                    <a:gd name="connsiteY2" fmla="*/ 0 h 108284"/>
                    <a:gd name="connsiteX3" fmla="*/ 111134 w 111134"/>
                    <a:gd name="connsiteY3" fmla="*/ 2850 h 108284"/>
                    <a:gd name="connsiteX4" fmla="*/ 42744 w 111134"/>
                    <a:gd name="connsiteY4" fmla="*/ 108285 h 108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1134" h="108284">
                      <a:moveTo>
                        <a:pt x="42744" y="108285"/>
                      </a:moveTo>
                      <a:cubicBezTo>
                        <a:pt x="28496" y="108285"/>
                        <a:pt x="14248" y="108285"/>
                        <a:pt x="0" y="108285"/>
                      </a:cubicBezTo>
                      <a:cubicBezTo>
                        <a:pt x="19947" y="71240"/>
                        <a:pt x="39894" y="37045"/>
                        <a:pt x="62691" y="0"/>
                      </a:cubicBezTo>
                      <a:cubicBezTo>
                        <a:pt x="79789" y="0"/>
                        <a:pt x="94037" y="2850"/>
                        <a:pt x="111134" y="2850"/>
                      </a:cubicBezTo>
                      <a:cubicBezTo>
                        <a:pt x="88338" y="37045"/>
                        <a:pt x="65541" y="71240"/>
                        <a:pt x="42744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31" name="图形 1">
              <a:extLst>
                <a:ext uri="{FF2B5EF4-FFF2-40B4-BE49-F238E27FC236}">
                  <a16:creationId xmlns:a16="http://schemas.microsoft.com/office/drawing/2014/main" id="{E4C8A8DB-C36D-4B81-A7CE-EBED3FBCD230}"/>
                </a:ext>
              </a:extLst>
            </p:cNvPr>
            <p:cNvGrpSpPr/>
            <p:nvPr/>
          </p:nvGrpSpPr>
          <p:grpSpPr>
            <a:xfrm>
              <a:off x="13785274" y="4056994"/>
              <a:ext cx="535547" cy="372479"/>
              <a:chOff x="13785274" y="4056994"/>
              <a:chExt cx="535547" cy="372479"/>
            </a:xfrm>
          </p:grpSpPr>
          <p:grpSp>
            <p:nvGrpSpPr>
              <p:cNvPr id="135" name="图形 1">
                <a:extLst>
                  <a:ext uri="{FF2B5EF4-FFF2-40B4-BE49-F238E27FC236}">
                    <a16:creationId xmlns:a16="http://schemas.microsoft.com/office/drawing/2014/main" id="{F4C178C2-921E-4D2B-9473-C220B1D3383E}"/>
                  </a:ext>
                </a:extLst>
              </p:cNvPr>
              <p:cNvGrpSpPr/>
              <p:nvPr/>
            </p:nvGrpSpPr>
            <p:grpSpPr>
              <a:xfrm>
                <a:off x="13785274" y="4056994"/>
                <a:ext cx="535547" cy="372479"/>
                <a:chOff x="13785274" y="4056994"/>
                <a:chExt cx="535547" cy="372479"/>
              </a:xfrm>
              <a:solidFill>
                <a:srgbClr val="7F95BC"/>
              </a:solidFill>
            </p:grpSpPr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632ADBF9-271E-4E34-8293-C551511D5776}"/>
                    </a:ext>
                  </a:extLst>
                </p:cNvPr>
                <p:cNvSpPr/>
                <p:nvPr/>
              </p:nvSpPr>
              <p:spPr>
                <a:xfrm>
                  <a:off x="13785274" y="4116538"/>
                  <a:ext cx="254772" cy="312935"/>
                </a:xfrm>
                <a:custGeom>
                  <a:avLst/>
                  <a:gdLst>
                    <a:gd name="connsiteX0" fmla="*/ 245936 w 254772"/>
                    <a:gd name="connsiteY0" fmla="*/ 100612 h 312935"/>
                    <a:gd name="connsiteX1" fmla="*/ 126252 w 254772"/>
                    <a:gd name="connsiteY1" fmla="*/ 282987 h 312935"/>
                    <a:gd name="connsiteX2" fmla="*/ 55012 w 254772"/>
                    <a:gd name="connsiteY2" fmla="*/ 311483 h 312935"/>
                    <a:gd name="connsiteX3" fmla="*/ 55012 w 254772"/>
                    <a:gd name="connsiteY3" fmla="*/ 311483 h 312935"/>
                    <a:gd name="connsiteX4" fmla="*/ 870 w 254772"/>
                    <a:gd name="connsiteY4" fmla="*/ 243092 h 312935"/>
                    <a:gd name="connsiteX5" fmla="*/ 40764 w 254772"/>
                    <a:gd name="connsiteY5" fmla="*/ 49319 h 312935"/>
                    <a:gd name="connsiteX6" fmla="*/ 117704 w 254772"/>
                    <a:gd name="connsiteY6" fmla="*/ 876 h 312935"/>
                    <a:gd name="connsiteX7" fmla="*/ 194643 w 254772"/>
                    <a:gd name="connsiteY7" fmla="*/ 12274 h 312935"/>
                    <a:gd name="connsiteX8" fmla="*/ 245936 w 254772"/>
                    <a:gd name="connsiteY8" fmla="*/ 100612 h 312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54772" h="312935">
                      <a:moveTo>
                        <a:pt x="245936" y="100612"/>
                      </a:moveTo>
                      <a:lnTo>
                        <a:pt x="126252" y="282987"/>
                      </a:lnTo>
                      <a:cubicBezTo>
                        <a:pt x="112004" y="305784"/>
                        <a:pt x="83508" y="317182"/>
                        <a:pt x="55012" y="311483"/>
                      </a:cubicBezTo>
                      <a:lnTo>
                        <a:pt x="55012" y="311483"/>
                      </a:lnTo>
                      <a:cubicBezTo>
                        <a:pt x="17967" y="305784"/>
                        <a:pt x="-4829" y="274438"/>
                        <a:pt x="870" y="243092"/>
                      </a:cubicBezTo>
                      <a:lnTo>
                        <a:pt x="40764" y="49319"/>
                      </a:lnTo>
                      <a:cubicBezTo>
                        <a:pt x="46463" y="17974"/>
                        <a:pt x="83508" y="-4823"/>
                        <a:pt x="117704" y="876"/>
                      </a:cubicBezTo>
                      <a:lnTo>
                        <a:pt x="194643" y="12274"/>
                      </a:lnTo>
                      <a:cubicBezTo>
                        <a:pt x="245936" y="17974"/>
                        <a:pt x="268732" y="63567"/>
                        <a:pt x="245936" y="100612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9" name="任意多边形: 形状 148">
                  <a:extLst>
                    <a:ext uri="{FF2B5EF4-FFF2-40B4-BE49-F238E27FC236}">
                      <a16:creationId xmlns:a16="http://schemas.microsoft.com/office/drawing/2014/main" id="{F8F60EF9-56A1-4FFE-A9E2-FF2311B780ED}"/>
                    </a:ext>
                  </a:extLst>
                </p:cNvPr>
                <p:cNvSpPr/>
                <p:nvPr/>
              </p:nvSpPr>
              <p:spPr>
                <a:xfrm>
                  <a:off x="14039181" y="4090718"/>
                  <a:ext cx="281640" cy="301255"/>
                </a:xfrm>
                <a:custGeom>
                  <a:avLst/>
                  <a:gdLst>
                    <a:gd name="connsiteX0" fmla="*/ 14825 w 281640"/>
                    <a:gd name="connsiteY0" fmla="*/ 123582 h 301255"/>
                    <a:gd name="connsiteX1" fmla="*/ 163005 w 281640"/>
                    <a:gd name="connsiteY1" fmla="*/ 280311 h 301255"/>
                    <a:gd name="connsiteX2" fmla="*/ 237095 w 281640"/>
                    <a:gd name="connsiteY2" fmla="*/ 297408 h 301255"/>
                    <a:gd name="connsiteX3" fmla="*/ 237095 w 281640"/>
                    <a:gd name="connsiteY3" fmla="*/ 297408 h 301255"/>
                    <a:gd name="connsiteX4" fmla="*/ 276989 w 281640"/>
                    <a:gd name="connsiteY4" fmla="*/ 220469 h 301255"/>
                    <a:gd name="connsiteX5" fmla="*/ 202899 w 281640"/>
                    <a:gd name="connsiteY5" fmla="*/ 38094 h 301255"/>
                    <a:gd name="connsiteX6" fmla="*/ 117411 w 281640"/>
                    <a:gd name="connsiteY6" fmla="*/ 3899 h 301255"/>
                    <a:gd name="connsiteX7" fmla="*/ 43321 w 281640"/>
                    <a:gd name="connsiteY7" fmla="*/ 29545 h 301255"/>
                    <a:gd name="connsiteX8" fmla="*/ 14825 w 281640"/>
                    <a:gd name="connsiteY8" fmla="*/ 123582 h 301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81640" h="301255">
                      <a:moveTo>
                        <a:pt x="14825" y="123582"/>
                      </a:moveTo>
                      <a:lnTo>
                        <a:pt x="163005" y="280311"/>
                      </a:lnTo>
                      <a:cubicBezTo>
                        <a:pt x="180103" y="300258"/>
                        <a:pt x="211449" y="305957"/>
                        <a:pt x="237095" y="297408"/>
                      </a:cubicBezTo>
                      <a:lnTo>
                        <a:pt x="237095" y="297408"/>
                      </a:lnTo>
                      <a:cubicBezTo>
                        <a:pt x="271290" y="286010"/>
                        <a:pt x="291237" y="251815"/>
                        <a:pt x="276989" y="220469"/>
                      </a:cubicBezTo>
                      <a:lnTo>
                        <a:pt x="202899" y="38094"/>
                      </a:lnTo>
                      <a:cubicBezTo>
                        <a:pt x="191501" y="6749"/>
                        <a:pt x="151607" y="-7499"/>
                        <a:pt x="117411" y="3899"/>
                      </a:cubicBezTo>
                      <a:lnTo>
                        <a:pt x="43321" y="29545"/>
                      </a:lnTo>
                      <a:cubicBezTo>
                        <a:pt x="577" y="43793"/>
                        <a:pt x="-13671" y="92237"/>
                        <a:pt x="14825" y="123582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0" name="任意多边形: 形状 149">
                  <a:extLst>
                    <a:ext uri="{FF2B5EF4-FFF2-40B4-BE49-F238E27FC236}">
                      <a16:creationId xmlns:a16="http://schemas.microsoft.com/office/drawing/2014/main" id="{4E2B98B9-FD65-4A16-B062-CF2F62B55E64}"/>
                    </a:ext>
                  </a:extLst>
                </p:cNvPr>
                <p:cNvSpPr/>
                <p:nvPr/>
              </p:nvSpPr>
              <p:spPr>
                <a:xfrm>
                  <a:off x="13827770" y="4056994"/>
                  <a:ext cx="429039" cy="268921"/>
                </a:xfrm>
                <a:custGeom>
                  <a:avLst/>
                  <a:gdLst>
                    <a:gd name="connsiteX0" fmla="*/ 425709 w 429039"/>
                    <a:gd name="connsiteY0" fmla="*/ 106014 h 268921"/>
                    <a:gd name="connsiteX1" fmla="*/ 428559 w 429039"/>
                    <a:gd name="connsiteY1" fmla="*/ 125961 h 268921"/>
                    <a:gd name="connsiteX2" fmla="*/ 323124 w 429039"/>
                    <a:gd name="connsiteY2" fmla="*/ 251344 h 268921"/>
                    <a:gd name="connsiteX3" fmla="*/ 129350 w 429039"/>
                    <a:gd name="connsiteY3" fmla="*/ 268442 h 268921"/>
                    <a:gd name="connsiteX4" fmla="*/ 3968 w 429039"/>
                    <a:gd name="connsiteY4" fmla="*/ 163006 h 268921"/>
                    <a:gd name="connsiteX5" fmla="*/ 1118 w 429039"/>
                    <a:gd name="connsiteY5" fmla="*/ 143059 h 268921"/>
                    <a:gd name="connsiteX6" fmla="*/ 6818 w 429039"/>
                    <a:gd name="connsiteY6" fmla="*/ 94615 h 268921"/>
                    <a:gd name="connsiteX7" fmla="*/ 6818 w 429039"/>
                    <a:gd name="connsiteY7" fmla="*/ 94615 h 268921"/>
                    <a:gd name="connsiteX8" fmla="*/ 106554 w 429039"/>
                    <a:gd name="connsiteY8" fmla="*/ 17676 h 268921"/>
                    <a:gd name="connsiteX9" fmla="*/ 300326 w 429039"/>
                    <a:gd name="connsiteY9" fmla="*/ 579 h 268921"/>
                    <a:gd name="connsiteX10" fmla="*/ 422860 w 429039"/>
                    <a:gd name="connsiteY10" fmla="*/ 83217 h 268921"/>
                    <a:gd name="connsiteX11" fmla="*/ 425709 w 429039"/>
                    <a:gd name="connsiteY11" fmla="*/ 106014 h 2689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29039" h="268921">
                      <a:moveTo>
                        <a:pt x="425709" y="106014"/>
                      </a:moveTo>
                      <a:lnTo>
                        <a:pt x="428559" y="125961"/>
                      </a:lnTo>
                      <a:cubicBezTo>
                        <a:pt x="434258" y="188653"/>
                        <a:pt x="388664" y="245645"/>
                        <a:pt x="323124" y="251344"/>
                      </a:cubicBezTo>
                      <a:lnTo>
                        <a:pt x="129350" y="268442"/>
                      </a:lnTo>
                      <a:cubicBezTo>
                        <a:pt x="66659" y="274141"/>
                        <a:pt x="9667" y="228547"/>
                        <a:pt x="3968" y="163006"/>
                      </a:cubicBezTo>
                      <a:lnTo>
                        <a:pt x="1118" y="143059"/>
                      </a:lnTo>
                      <a:cubicBezTo>
                        <a:pt x="-1732" y="125961"/>
                        <a:pt x="1118" y="108864"/>
                        <a:pt x="6818" y="94615"/>
                      </a:cubicBezTo>
                      <a:cubicBezTo>
                        <a:pt x="6818" y="94615"/>
                        <a:pt x="6818" y="94615"/>
                        <a:pt x="6818" y="94615"/>
                      </a:cubicBezTo>
                      <a:cubicBezTo>
                        <a:pt x="21066" y="51871"/>
                        <a:pt x="58110" y="20526"/>
                        <a:pt x="106554" y="17676"/>
                      </a:cubicBezTo>
                      <a:lnTo>
                        <a:pt x="300326" y="579"/>
                      </a:lnTo>
                      <a:cubicBezTo>
                        <a:pt x="357319" y="-5121"/>
                        <a:pt x="405762" y="31924"/>
                        <a:pt x="422860" y="83217"/>
                      </a:cubicBezTo>
                      <a:cubicBezTo>
                        <a:pt x="422860" y="91766"/>
                        <a:pt x="425709" y="100315"/>
                        <a:pt x="425709" y="106014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36" name="图形 1">
                <a:extLst>
                  <a:ext uri="{FF2B5EF4-FFF2-40B4-BE49-F238E27FC236}">
                    <a16:creationId xmlns:a16="http://schemas.microsoft.com/office/drawing/2014/main" id="{ADAF735E-7E43-4F4D-99ED-7C6897F0B1B9}"/>
                  </a:ext>
                </a:extLst>
              </p:cNvPr>
              <p:cNvGrpSpPr/>
              <p:nvPr/>
            </p:nvGrpSpPr>
            <p:grpSpPr>
              <a:xfrm>
                <a:off x="14079653" y="4088366"/>
                <a:ext cx="103137" cy="106539"/>
                <a:chOff x="14079653" y="4088366"/>
                <a:chExt cx="103137" cy="106539"/>
              </a:xfrm>
              <a:solidFill>
                <a:srgbClr val="FFFFFF"/>
              </a:solidFill>
            </p:grpSpPr>
            <p:grpSp>
              <p:nvGrpSpPr>
                <p:cNvPr id="142" name="图形 1">
                  <a:extLst>
                    <a:ext uri="{FF2B5EF4-FFF2-40B4-BE49-F238E27FC236}">
                      <a16:creationId xmlns:a16="http://schemas.microsoft.com/office/drawing/2014/main" id="{62EE1706-0817-42E7-9FC9-0AC7557ECCAA}"/>
                    </a:ext>
                  </a:extLst>
                </p:cNvPr>
                <p:cNvGrpSpPr/>
                <p:nvPr/>
              </p:nvGrpSpPr>
              <p:grpSpPr>
                <a:xfrm>
                  <a:off x="14110446" y="4088366"/>
                  <a:ext cx="43296" cy="106539"/>
                  <a:chOff x="14110446" y="4088366"/>
                  <a:chExt cx="43296" cy="106539"/>
                </a:xfrm>
                <a:solidFill>
                  <a:srgbClr val="FFFFFF"/>
                </a:solidFill>
              </p:grpSpPr>
              <p:sp>
                <p:nvSpPr>
                  <p:cNvPr id="146" name="任意多边形: 形状 145">
                    <a:extLst>
                      <a:ext uri="{FF2B5EF4-FFF2-40B4-BE49-F238E27FC236}">
                        <a16:creationId xmlns:a16="http://schemas.microsoft.com/office/drawing/2014/main" id="{56C25DE9-A698-43ED-82CC-794D4B355476}"/>
                      </a:ext>
                    </a:extLst>
                  </p:cNvPr>
                  <p:cNvSpPr/>
                  <p:nvPr/>
                </p:nvSpPr>
                <p:spPr>
                  <a:xfrm>
                    <a:off x="14110446" y="4088366"/>
                    <a:ext cx="37597" cy="38149"/>
                  </a:xfrm>
                  <a:custGeom>
                    <a:avLst/>
                    <a:gdLst>
                      <a:gd name="connsiteX0" fmla="*/ 37597 w 37597"/>
                      <a:gd name="connsiteY0" fmla="*/ 17650 h 38149"/>
                      <a:gd name="connsiteX1" fmla="*/ 17650 w 37597"/>
                      <a:gd name="connsiteY1" fmla="*/ 552 h 38149"/>
                      <a:gd name="connsiteX2" fmla="*/ 552 w 37597"/>
                      <a:gd name="connsiteY2" fmla="*/ 20499 h 38149"/>
                      <a:gd name="connsiteX3" fmla="*/ 20500 w 37597"/>
                      <a:gd name="connsiteY3" fmla="*/ 37597 h 38149"/>
                      <a:gd name="connsiteX4" fmla="*/ 37597 w 37597"/>
                      <a:gd name="connsiteY4" fmla="*/ 17650 h 381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597" h="38149">
                        <a:moveTo>
                          <a:pt x="37597" y="17650"/>
                        </a:moveTo>
                        <a:cubicBezTo>
                          <a:pt x="37597" y="6251"/>
                          <a:pt x="26199" y="-2297"/>
                          <a:pt x="17650" y="552"/>
                        </a:cubicBezTo>
                        <a:cubicBezTo>
                          <a:pt x="6252" y="552"/>
                          <a:pt x="-2297" y="11951"/>
                          <a:pt x="552" y="20499"/>
                        </a:cubicBezTo>
                        <a:cubicBezTo>
                          <a:pt x="552" y="31898"/>
                          <a:pt x="11951" y="40447"/>
                          <a:pt x="20500" y="37597"/>
                        </a:cubicBezTo>
                        <a:cubicBezTo>
                          <a:pt x="29048" y="37597"/>
                          <a:pt x="37597" y="29048"/>
                          <a:pt x="37597" y="1765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" name="任意多边形: 形状 146">
                    <a:extLst>
                      <a:ext uri="{FF2B5EF4-FFF2-40B4-BE49-F238E27FC236}">
                        <a16:creationId xmlns:a16="http://schemas.microsoft.com/office/drawing/2014/main" id="{78FF86D4-C0A8-4A96-A785-6E9BAE89408C}"/>
                      </a:ext>
                    </a:extLst>
                  </p:cNvPr>
                  <p:cNvSpPr/>
                  <p:nvPr/>
                </p:nvSpPr>
                <p:spPr>
                  <a:xfrm>
                    <a:off x="14116145" y="4156756"/>
                    <a:ext cx="37596" cy="38149"/>
                  </a:xfrm>
                  <a:custGeom>
                    <a:avLst/>
                    <a:gdLst>
                      <a:gd name="connsiteX0" fmla="*/ 37597 w 37596"/>
                      <a:gd name="connsiteY0" fmla="*/ 17650 h 38149"/>
                      <a:gd name="connsiteX1" fmla="*/ 17650 w 37596"/>
                      <a:gd name="connsiteY1" fmla="*/ 552 h 38149"/>
                      <a:gd name="connsiteX2" fmla="*/ 552 w 37596"/>
                      <a:gd name="connsiteY2" fmla="*/ 20499 h 38149"/>
                      <a:gd name="connsiteX3" fmla="*/ 20500 w 37596"/>
                      <a:gd name="connsiteY3" fmla="*/ 37597 h 38149"/>
                      <a:gd name="connsiteX4" fmla="*/ 37597 w 37596"/>
                      <a:gd name="connsiteY4" fmla="*/ 17650 h 381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596" h="38149">
                        <a:moveTo>
                          <a:pt x="37597" y="17650"/>
                        </a:moveTo>
                        <a:cubicBezTo>
                          <a:pt x="37597" y="6251"/>
                          <a:pt x="26199" y="-2297"/>
                          <a:pt x="17650" y="552"/>
                        </a:cubicBezTo>
                        <a:cubicBezTo>
                          <a:pt x="6252" y="552"/>
                          <a:pt x="-2297" y="11951"/>
                          <a:pt x="552" y="20499"/>
                        </a:cubicBezTo>
                        <a:cubicBezTo>
                          <a:pt x="552" y="31898"/>
                          <a:pt x="11951" y="40447"/>
                          <a:pt x="20500" y="37597"/>
                        </a:cubicBezTo>
                        <a:cubicBezTo>
                          <a:pt x="29048" y="37597"/>
                          <a:pt x="37597" y="29048"/>
                          <a:pt x="37597" y="1765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43" name="图形 1">
                  <a:extLst>
                    <a:ext uri="{FF2B5EF4-FFF2-40B4-BE49-F238E27FC236}">
                      <a16:creationId xmlns:a16="http://schemas.microsoft.com/office/drawing/2014/main" id="{2F621565-7B82-4A6C-8D1D-3737FD1FE8B8}"/>
                    </a:ext>
                  </a:extLst>
                </p:cNvPr>
                <p:cNvGrpSpPr/>
                <p:nvPr/>
              </p:nvGrpSpPr>
              <p:grpSpPr>
                <a:xfrm>
                  <a:off x="14079653" y="4123113"/>
                  <a:ext cx="103137" cy="42744"/>
                  <a:chOff x="14079653" y="4123113"/>
                  <a:chExt cx="103137" cy="42744"/>
                </a:xfrm>
                <a:solidFill>
                  <a:srgbClr val="FFFFFF"/>
                </a:solidFill>
              </p:grpSpPr>
              <p:sp>
                <p:nvSpPr>
                  <p:cNvPr id="144" name="任意多边形: 形状 143">
                    <a:extLst>
                      <a:ext uri="{FF2B5EF4-FFF2-40B4-BE49-F238E27FC236}">
                        <a16:creationId xmlns:a16="http://schemas.microsoft.com/office/drawing/2014/main" id="{0F639FD6-CB1A-4E0B-9FC0-BF7C5F9B29FD}"/>
                      </a:ext>
                    </a:extLst>
                  </p:cNvPr>
                  <p:cNvSpPr/>
                  <p:nvPr/>
                </p:nvSpPr>
                <p:spPr>
                  <a:xfrm>
                    <a:off x="14079653" y="4128813"/>
                    <a:ext cx="37044" cy="37044"/>
                  </a:xfrm>
                  <a:custGeom>
                    <a:avLst/>
                    <a:gdLst>
                      <a:gd name="connsiteX0" fmla="*/ 19947 w 37044"/>
                      <a:gd name="connsiteY0" fmla="*/ 37045 h 37044"/>
                      <a:gd name="connsiteX1" fmla="*/ 0 w 37044"/>
                      <a:gd name="connsiteY1" fmla="*/ 19947 h 37044"/>
                      <a:gd name="connsiteX2" fmla="*/ 17097 w 37044"/>
                      <a:gd name="connsiteY2" fmla="*/ 0 h 37044"/>
                      <a:gd name="connsiteX3" fmla="*/ 37045 w 37044"/>
                      <a:gd name="connsiteY3" fmla="*/ 17098 h 37044"/>
                      <a:gd name="connsiteX4" fmla="*/ 19947 w 37044"/>
                      <a:gd name="connsiteY4" fmla="*/ 37045 h 37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044" h="37044">
                        <a:moveTo>
                          <a:pt x="19947" y="37045"/>
                        </a:moveTo>
                        <a:cubicBezTo>
                          <a:pt x="8548" y="37045"/>
                          <a:pt x="0" y="31346"/>
                          <a:pt x="0" y="19947"/>
                        </a:cubicBezTo>
                        <a:cubicBezTo>
                          <a:pt x="0" y="8549"/>
                          <a:pt x="5699" y="0"/>
                          <a:pt x="17097" y="0"/>
                        </a:cubicBezTo>
                        <a:cubicBezTo>
                          <a:pt x="28496" y="0"/>
                          <a:pt x="37045" y="5699"/>
                          <a:pt x="37045" y="17098"/>
                        </a:cubicBezTo>
                        <a:cubicBezTo>
                          <a:pt x="37045" y="25646"/>
                          <a:pt x="28496" y="34195"/>
                          <a:pt x="19947" y="3704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" name="任意多边形: 形状 144">
                    <a:extLst>
                      <a:ext uri="{FF2B5EF4-FFF2-40B4-BE49-F238E27FC236}">
                        <a16:creationId xmlns:a16="http://schemas.microsoft.com/office/drawing/2014/main" id="{CF533184-66A7-43B5-9140-DE0B761F0F0A}"/>
                      </a:ext>
                    </a:extLst>
                  </p:cNvPr>
                  <p:cNvSpPr/>
                  <p:nvPr/>
                </p:nvSpPr>
                <p:spPr>
                  <a:xfrm>
                    <a:off x="14145194" y="4123113"/>
                    <a:ext cx="37596" cy="37044"/>
                  </a:xfrm>
                  <a:custGeom>
                    <a:avLst/>
                    <a:gdLst>
                      <a:gd name="connsiteX0" fmla="*/ 19948 w 37596"/>
                      <a:gd name="connsiteY0" fmla="*/ 37045 h 37044"/>
                      <a:gd name="connsiteX1" fmla="*/ 0 w 37596"/>
                      <a:gd name="connsiteY1" fmla="*/ 19947 h 37044"/>
                      <a:gd name="connsiteX2" fmla="*/ 17098 w 37596"/>
                      <a:gd name="connsiteY2" fmla="*/ 0 h 37044"/>
                      <a:gd name="connsiteX3" fmla="*/ 37045 w 37596"/>
                      <a:gd name="connsiteY3" fmla="*/ 17098 h 37044"/>
                      <a:gd name="connsiteX4" fmla="*/ 19948 w 37596"/>
                      <a:gd name="connsiteY4" fmla="*/ 37045 h 37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596" h="37044">
                        <a:moveTo>
                          <a:pt x="19948" y="37045"/>
                        </a:moveTo>
                        <a:cubicBezTo>
                          <a:pt x="8548" y="37045"/>
                          <a:pt x="0" y="31346"/>
                          <a:pt x="0" y="19947"/>
                        </a:cubicBezTo>
                        <a:cubicBezTo>
                          <a:pt x="0" y="8549"/>
                          <a:pt x="5700" y="0"/>
                          <a:pt x="17098" y="0"/>
                        </a:cubicBezTo>
                        <a:cubicBezTo>
                          <a:pt x="28496" y="0"/>
                          <a:pt x="37045" y="5699"/>
                          <a:pt x="37045" y="17098"/>
                        </a:cubicBezTo>
                        <a:cubicBezTo>
                          <a:pt x="39894" y="25646"/>
                          <a:pt x="31346" y="34195"/>
                          <a:pt x="19948" y="3704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F94168D0-082E-4220-8374-73089CD76B4E}"/>
                  </a:ext>
                </a:extLst>
              </p:cNvPr>
              <p:cNvSpPr/>
              <p:nvPr/>
            </p:nvSpPr>
            <p:spPr>
              <a:xfrm>
                <a:off x="13942560" y="4225387"/>
                <a:ext cx="74401" cy="74713"/>
              </a:xfrm>
              <a:custGeom>
                <a:avLst/>
                <a:gdLst>
                  <a:gd name="connsiteX0" fmla="*/ 74402 w 74401"/>
                  <a:gd name="connsiteY0" fmla="*/ 34507 h 74713"/>
                  <a:gd name="connsiteX1" fmla="*/ 34507 w 74401"/>
                  <a:gd name="connsiteY1" fmla="*/ 312 h 74713"/>
                  <a:gd name="connsiteX2" fmla="*/ 312 w 74401"/>
                  <a:gd name="connsiteY2" fmla="*/ 40206 h 74713"/>
                  <a:gd name="connsiteX3" fmla="*/ 40206 w 74401"/>
                  <a:gd name="connsiteY3" fmla="*/ 74402 h 74713"/>
                  <a:gd name="connsiteX4" fmla="*/ 74402 w 74401"/>
                  <a:gd name="connsiteY4" fmla="*/ 34507 h 74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401" h="74713">
                    <a:moveTo>
                      <a:pt x="74402" y="34507"/>
                    </a:moveTo>
                    <a:cubicBezTo>
                      <a:pt x="71552" y="14560"/>
                      <a:pt x="54454" y="-2538"/>
                      <a:pt x="34507" y="312"/>
                    </a:cubicBezTo>
                    <a:cubicBezTo>
                      <a:pt x="14560" y="3161"/>
                      <a:pt x="-2538" y="20259"/>
                      <a:pt x="312" y="40206"/>
                    </a:cubicBezTo>
                    <a:cubicBezTo>
                      <a:pt x="3162" y="60154"/>
                      <a:pt x="20259" y="77251"/>
                      <a:pt x="40206" y="74402"/>
                    </a:cubicBezTo>
                    <a:cubicBezTo>
                      <a:pt x="60154" y="74402"/>
                      <a:pt x="74402" y="54454"/>
                      <a:pt x="74402" y="34507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9F3277EB-7189-4854-A40A-01CBCD44A19D}"/>
                  </a:ext>
                </a:extLst>
              </p:cNvPr>
              <p:cNvSpPr/>
              <p:nvPr/>
            </p:nvSpPr>
            <p:spPr>
              <a:xfrm>
                <a:off x="14076492" y="4213989"/>
                <a:ext cx="74713" cy="74713"/>
              </a:xfrm>
              <a:custGeom>
                <a:avLst/>
                <a:gdLst>
                  <a:gd name="connsiteX0" fmla="*/ 74402 w 74713"/>
                  <a:gd name="connsiteY0" fmla="*/ 34507 h 74713"/>
                  <a:gd name="connsiteX1" fmla="*/ 34507 w 74713"/>
                  <a:gd name="connsiteY1" fmla="*/ 312 h 74713"/>
                  <a:gd name="connsiteX2" fmla="*/ 312 w 74713"/>
                  <a:gd name="connsiteY2" fmla="*/ 40206 h 74713"/>
                  <a:gd name="connsiteX3" fmla="*/ 40206 w 74713"/>
                  <a:gd name="connsiteY3" fmla="*/ 74402 h 74713"/>
                  <a:gd name="connsiteX4" fmla="*/ 74402 w 74713"/>
                  <a:gd name="connsiteY4" fmla="*/ 34507 h 74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13" h="74713">
                    <a:moveTo>
                      <a:pt x="74402" y="34507"/>
                    </a:moveTo>
                    <a:cubicBezTo>
                      <a:pt x="71552" y="14560"/>
                      <a:pt x="54454" y="-2538"/>
                      <a:pt x="34507" y="312"/>
                    </a:cubicBezTo>
                    <a:cubicBezTo>
                      <a:pt x="14560" y="3161"/>
                      <a:pt x="-2538" y="20259"/>
                      <a:pt x="312" y="40206"/>
                    </a:cubicBezTo>
                    <a:cubicBezTo>
                      <a:pt x="3162" y="60153"/>
                      <a:pt x="20259" y="77251"/>
                      <a:pt x="40206" y="74402"/>
                    </a:cubicBezTo>
                    <a:cubicBezTo>
                      <a:pt x="60154" y="71552"/>
                      <a:pt x="77251" y="54454"/>
                      <a:pt x="74402" y="34507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39" name="图形 1">
                <a:extLst>
                  <a:ext uri="{FF2B5EF4-FFF2-40B4-BE49-F238E27FC236}">
                    <a16:creationId xmlns:a16="http://schemas.microsoft.com/office/drawing/2014/main" id="{0B7C6C5E-85CB-4537-B002-20D47128CE53}"/>
                  </a:ext>
                </a:extLst>
              </p:cNvPr>
              <p:cNvGrpSpPr/>
              <p:nvPr/>
            </p:nvGrpSpPr>
            <p:grpSpPr>
              <a:xfrm>
                <a:off x="13885609" y="4111444"/>
                <a:ext cx="103098" cy="103127"/>
                <a:chOff x="13885609" y="4111444"/>
                <a:chExt cx="103098" cy="103127"/>
              </a:xfrm>
            </p:grpSpPr>
            <p:sp>
              <p:nvSpPr>
                <p:cNvPr id="140" name="任意多边形: 形状 139">
                  <a:extLst>
                    <a:ext uri="{FF2B5EF4-FFF2-40B4-BE49-F238E27FC236}">
                      <a16:creationId xmlns:a16="http://schemas.microsoft.com/office/drawing/2014/main" id="{F411BC75-B5F8-4774-BF13-7B6CF0206DC7}"/>
                    </a:ext>
                  </a:extLst>
                </p:cNvPr>
                <p:cNvSpPr/>
                <p:nvPr/>
              </p:nvSpPr>
              <p:spPr>
                <a:xfrm>
                  <a:off x="13885609" y="4111444"/>
                  <a:ext cx="103098" cy="103127"/>
                </a:xfrm>
                <a:custGeom>
                  <a:avLst/>
                  <a:gdLst>
                    <a:gd name="connsiteX0" fmla="*/ 102857 w 103098"/>
                    <a:gd name="connsiteY0" fmla="*/ 45864 h 103127"/>
                    <a:gd name="connsiteX1" fmla="*/ 45865 w 103098"/>
                    <a:gd name="connsiteY1" fmla="*/ 271 h 103127"/>
                    <a:gd name="connsiteX2" fmla="*/ 271 w 103098"/>
                    <a:gd name="connsiteY2" fmla="*/ 57263 h 103127"/>
                    <a:gd name="connsiteX3" fmla="*/ 57263 w 103098"/>
                    <a:gd name="connsiteY3" fmla="*/ 102856 h 103127"/>
                    <a:gd name="connsiteX4" fmla="*/ 102857 w 103098"/>
                    <a:gd name="connsiteY4" fmla="*/ 45864 h 1031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3098" h="103127">
                      <a:moveTo>
                        <a:pt x="102857" y="45864"/>
                      </a:moveTo>
                      <a:cubicBezTo>
                        <a:pt x="100007" y="17368"/>
                        <a:pt x="74361" y="-2579"/>
                        <a:pt x="45865" y="271"/>
                      </a:cubicBezTo>
                      <a:cubicBezTo>
                        <a:pt x="17369" y="3120"/>
                        <a:pt x="-2579" y="28767"/>
                        <a:pt x="271" y="57263"/>
                      </a:cubicBezTo>
                      <a:cubicBezTo>
                        <a:pt x="3121" y="85759"/>
                        <a:pt x="28767" y="105706"/>
                        <a:pt x="57263" y="102856"/>
                      </a:cubicBezTo>
                      <a:cubicBezTo>
                        <a:pt x="82909" y="97157"/>
                        <a:pt x="105706" y="74360"/>
                        <a:pt x="102857" y="4586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1" name="任意多边形: 形状 140">
                  <a:extLst>
                    <a:ext uri="{FF2B5EF4-FFF2-40B4-BE49-F238E27FC236}">
                      <a16:creationId xmlns:a16="http://schemas.microsoft.com/office/drawing/2014/main" id="{D8C9B165-F635-434B-9E41-833007FA991D}"/>
                    </a:ext>
                  </a:extLst>
                </p:cNvPr>
                <p:cNvSpPr/>
                <p:nvPr/>
              </p:nvSpPr>
              <p:spPr>
                <a:xfrm>
                  <a:off x="13900128" y="4120264"/>
                  <a:ext cx="71240" cy="71240"/>
                </a:xfrm>
                <a:custGeom>
                  <a:avLst/>
                  <a:gdLst>
                    <a:gd name="connsiteX0" fmla="*/ 62692 w 71240"/>
                    <a:gd name="connsiteY0" fmla="*/ 22797 h 71240"/>
                    <a:gd name="connsiteX1" fmla="*/ 48444 w 71240"/>
                    <a:gd name="connsiteY1" fmla="*/ 22797 h 71240"/>
                    <a:gd name="connsiteX2" fmla="*/ 48444 w 71240"/>
                    <a:gd name="connsiteY2" fmla="*/ 8549 h 71240"/>
                    <a:gd name="connsiteX3" fmla="*/ 39894 w 71240"/>
                    <a:gd name="connsiteY3" fmla="*/ 0 h 71240"/>
                    <a:gd name="connsiteX4" fmla="*/ 31346 w 71240"/>
                    <a:gd name="connsiteY4" fmla="*/ 0 h 71240"/>
                    <a:gd name="connsiteX5" fmla="*/ 22797 w 71240"/>
                    <a:gd name="connsiteY5" fmla="*/ 8549 h 71240"/>
                    <a:gd name="connsiteX6" fmla="*/ 22797 w 71240"/>
                    <a:gd name="connsiteY6" fmla="*/ 22797 h 71240"/>
                    <a:gd name="connsiteX7" fmla="*/ 8549 w 71240"/>
                    <a:gd name="connsiteY7" fmla="*/ 22797 h 71240"/>
                    <a:gd name="connsiteX8" fmla="*/ 0 w 71240"/>
                    <a:gd name="connsiteY8" fmla="*/ 31346 h 71240"/>
                    <a:gd name="connsiteX9" fmla="*/ 0 w 71240"/>
                    <a:gd name="connsiteY9" fmla="*/ 39895 h 71240"/>
                    <a:gd name="connsiteX10" fmla="*/ 8549 w 71240"/>
                    <a:gd name="connsiteY10" fmla="*/ 48443 h 71240"/>
                    <a:gd name="connsiteX11" fmla="*/ 22797 w 71240"/>
                    <a:gd name="connsiteY11" fmla="*/ 48443 h 71240"/>
                    <a:gd name="connsiteX12" fmla="*/ 22797 w 71240"/>
                    <a:gd name="connsiteY12" fmla="*/ 62691 h 71240"/>
                    <a:gd name="connsiteX13" fmla="*/ 31346 w 71240"/>
                    <a:gd name="connsiteY13" fmla="*/ 71240 h 71240"/>
                    <a:gd name="connsiteX14" fmla="*/ 39894 w 71240"/>
                    <a:gd name="connsiteY14" fmla="*/ 71240 h 71240"/>
                    <a:gd name="connsiteX15" fmla="*/ 48444 w 71240"/>
                    <a:gd name="connsiteY15" fmla="*/ 62691 h 71240"/>
                    <a:gd name="connsiteX16" fmla="*/ 48444 w 71240"/>
                    <a:gd name="connsiteY16" fmla="*/ 48443 h 71240"/>
                    <a:gd name="connsiteX17" fmla="*/ 62692 w 71240"/>
                    <a:gd name="connsiteY17" fmla="*/ 48443 h 71240"/>
                    <a:gd name="connsiteX18" fmla="*/ 71240 w 71240"/>
                    <a:gd name="connsiteY18" fmla="*/ 39895 h 71240"/>
                    <a:gd name="connsiteX19" fmla="*/ 71240 w 71240"/>
                    <a:gd name="connsiteY19" fmla="*/ 31346 h 71240"/>
                    <a:gd name="connsiteX20" fmla="*/ 62692 w 71240"/>
                    <a:gd name="connsiteY20" fmla="*/ 22797 h 712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71240" h="71240">
                      <a:moveTo>
                        <a:pt x="62692" y="22797"/>
                      </a:moveTo>
                      <a:lnTo>
                        <a:pt x="48444" y="22797"/>
                      </a:lnTo>
                      <a:lnTo>
                        <a:pt x="48444" y="8549"/>
                      </a:lnTo>
                      <a:cubicBezTo>
                        <a:pt x="48444" y="2850"/>
                        <a:pt x="42744" y="0"/>
                        <a:pt x="39894" y="0"/>
                      </a:cubicBezTo>
                      <a:lnTo>
                        <a:pt x="31346" y="0"/>
                      </a:lnTo>
                      <a:cubicBezTo>
                        <a:pt x="25646" y="0"/>
                        <a:pt x="22797" y="5699"/>
                        <a:pt x="22797" y="8549"/>
                      </a:cubicBezTo>
                      <a:lnTo>
                        <a:pt x="22797" y="22797"/>
                      </a:lnTo>
                      <a:lnTo>
                        <a:pt x="8549" y="22797"/>
                      </a:lnTo>
                      <a:cubicBezTo>
                        <a:pt x="2850" y="22797"/>
                        <a:pt x="0" y="28496"/>
                        <a:pt x="0" y="31346"/>
                      </a:cubicBezTo>
                      <a:lnTo>
                        <a:pt x="0" y="39895"/>
                      </a:lnTo>
                      <a:cubicBezTo>
                        <a:pt x="0" y="45594"/>
                        <a:pt x="5700" y="48443"/>
                        <a:pt x="8549" y="48443"/>
                      </a:cubicBezTo>
                      <a:lnTo>
                        <a:pt x="22797" y="48443"/>
                      </a:lnTo>
                      <a:lnTo>
                        <a:pt x="22797" y="62691"/>
                      </a:lnTo>
                      <a:cubicBezTo>
                        <a:pt x="22797" y="68391"/>
                        <a:pt x="28496" y="71240"/>
                        <a:pt x="31346" y="71240"/>
                      </a:cubicBezTo>
                      <a:lnTo>
                        <a:pt x="39894" y="71240"/>
                      </a:lnTo>
                      <a:cubicBezTo>
                        <a:pt x="45594" y="71240"/>
                        <a:pt x="48444" y="65541"/>
                        <a:pt x="48444" y="62691"/>
                      </a:cubicBezTo>
                      <a:lnTo>
                        <a:pt x="48444" y="48443"/>
                      </a:lnTo>
                      <a:lnTo>
                        <a:pt x="62692" y="48443"/>
                      </a:lnTo>
                      <a:cubicBezTo>
                        <a:pt x="68390" y="48443"/>
                        <a:pt x="71240" y="42744"/>
                        <a:pt x="71240" y="39895"/>
                      </a:cubicBezTo>
                      <a:lnTo>
                        <a:pt x="71240" y="31346"/>
                      </a:lnTo>
                      <a:cubicBezTo>
                        <a:pt x="71240" y="25646"/>
                        <a:pt x="68390" y="22797"/>
                        <a:pt x="62692" y="22797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32" name="图形 1">
              <a:extLst>
                <a:ext uri="{FF2B5EF4-FFF2-40B4-BE49-F238E27FC236}">
                  <a16:creationId xmlns:a16="http://schemas.microsoft.com/office/drawing/2014/main" id="{8D0D393B-4F1D-48C3-A3AA-0DB627F9286C}"/>
                </a:ext>
              </a:extLst>
            </p:cNvPr>
            <p:cNvGrpSpPr/>
            <p:nvPr/>
          </p:nvGrpSpPr>
          <p:grpSpPr>
            <a:xfrm>
              <a:off x="14235201" y="4275418"/>
              <a:ext cx="136377" cy="112708"/>
              <a:chOff x="14235201" y="4275418"/>
              <a:chExt cx="136377" cy="112708"/>
            </a:xfrm>
          </p:grpSpPr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167538DE-020B-4879-B0F7-7BBD0885920A}"/>
                  </a:ext>
                </a:extLst>
              </p:cNvPr>
              <p:cNvSpPr/>
              <p:nvPr/>
            </p:nvSpPr>
            <p:spPr>
              <a:xfrm>
                <a:off x="14240892" y="4276311"/>
                <a:ext cx="125315" cy="106237"/>
              </a:xfrm>
              <a:custGeom>
                <a:avLst/>
                <a:gdLst>
                  <a:gd name="connsiteX0" fmla="*/ 1188 w 125315"/>
                  <a:gd name="connsiteY0" fmla="*/ 51974 h 106237"/>
                  <a:gd name="connsiteX1" fmla="*/ 23986 w 125315"/>
                  <a:gd name="connsiteY1" fmla="*/ 49125 h 106237"/>
                  <a:gd name="connsiteX2" fmla="*/ 75278 w 125315"/>
                  <a:gd name="connsiteY2" fmla="*/ 63373 h 106237"/>
                  <a:gd name="connsiteX3" fmla="*/ 100924 w 125315"/>
                  <a:gd name="connsiteY3" fmla="*/ 106117 h 106237"/>
                  <a:gd name="connsiteX4" fmla="*/ 123722 w 125315"/>
                  <a:gd name="connsiteY4" fmla="*/ 46275 h 106237"/>
                  <a:gd name="connsiteX5" fmla="*/ 46782 w 125315"/>
                  <a:gd name="connsiteY5" fmla="*/ 681 h 106237"/>
                  <a:gd name="connsiteX6" fmla="*/ 1188 w 125315"/>
                  <a:gd name="connsiteY6" fmla="*/ 51974 h 106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5315" h="106237">
                    <a:moveTo>
                      <a:pt x="1188" y="51974"/>
                    </a:moveTo>
                    <a:cubicBezTo>
                      <a:pt x="4038" y="60523"/>
                      <a:pt x="18286" y="49125"/>
                      <a:pt x="23986" y="49125"/>
                    </a:cubicBezTo>
                    <a:cubicBezTo>
                      <a:pt x="43932" y="46275"/>
                      <a:pt x="58180" y="49125"/>
                      <a:pt x="75278" y="63373"/>
                    </a:cubicBezTo>
                    <a:cubicBezTo>
                      <a:pt x="83827" y="71922"/>
                      <a:pt x="95226" y="97568"/>
                      <a:pt x="100924" y="106117"/>
                    </a:cubicBezTo>
                    <a:cubicBezTo>
                      <a:pt x="103774" y="108967"/>
                      <a:pt x="132270" y="60523"/>
                      <a:pt x="123722" y="46275"/>
                    </a:cubicBezTo>
                    <a:cubicBezTo>
                      <a:pt x="109474" y="26328"/>
                      <a:pt x="75278" y="-5018"/>
                      <a:pt x="46782" y="681"/>
                    </a:cubicBezTo>
                    <a:cubicBezTo>
                      <a:pt x="32534" y="6381"/>
                      <a:pt x="-7360" y="34877"/>
                      <a:pt x="1188" y="51974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0D5F96A3-7925-4166-9B9B-169E7EC84CAA}"/>
                  </a:ext>
                </a:extLst>
              </p:cNvPr>
              <p:cNvSpPr/>
              <p:nvPr/>
            </p:nvSpPr>
            <p:spPr>
              <a:xfrm>
                <a:off x="14235201" y="4275418"/>
                <a:ext cx="136377" cy="112708"/>
              </a:xfrm>
              <a:custGeom>
                <a:avLst/>
                <a:gdLst>
                  <a:gd name="connsiteX0" fmla="*/ 80969 w 136377"/>
                  <a:gd name="connsiteY0" fmla="*/ 112709 h 112708"/>
                  <a:gd name="connsiteX1" fmla="*/ 75269 w 136377"/>
                  <a:gd name="connsiteY1" fmla="*/ 109859 h 112708"/>
                  <a:gd name="connsiteX2" fmla="*/ 75269 w 136377"/>
                  <a:gd name="connsiteY2" fmla="*/ 69965 h 112708"/>
                  <a:gd name="connsiteX3" fmla="*/ 29676 w 136377"/>
                  <a:gd name="connsiteY3" fmla="*/ 61416 h 112708"/>
                  <a:gd name="connsiteX4" fmla="*/ 4029 w 136377"/>
                  <a:gd name="connsiteY4" fmla="*/ 58566 h 112708"/>
                  <a:gd name="connsiteX5" fmla="*/ 1180 w 136377"/>
                  <a:gd name="connsiteY5" fmla="*/ 44318 h 112708"/>
                  <a:gd name="connsiteX6" fmla="*/ 52473 w 136377"/>
                  <a:gd name="connsiteY6" fmla="*/ 1574 h 112708"/>
                  <a:gd name="connsiteX7" fmla="*/ 135111 w 136377"/>
                  <a:gd name="connsiteY7" fmla="*/ 47168 h 112708"/>
                  <a:gd name="connsiteX8" fmla="*/ 135111 w 136377"/>
                  <a:gd name="connsiteY8" fmla="*/ 55717 h 112708"/>
                  <a:gd name="connsiteX9" fmla="*/ 126563 w 136377"/>
                  <a:gd name="connsiteY9" fmla="*/ 55717 h 112708"/>
                  <a:gd name="connsiteX10" fmla="*/ 55323 w 136377"/>
                  <a:gd name="connsiteY10" fmla="*/ 12973 h 112708"/>
                  <a:gd name="connsiteX11" fmla="*/ 12579 w 136377"/>
                  <a:gd name="connsiteY11" fmla="*/ 47168 h 112708"/>
                  <a:gd name="connsiteX12" fmla="*/ 12579 w 136377"/>
                  <a:gd name="connsiteY12" fmla="*/ 52867 h 112708"/>
                  <a:gd name="connsiteX13" fmla="*/ 29676 w 136377"/>
                  <a:gd name="connsiteY13" fmla="*/ 52867 h 112708"/>
                  <a:gd name="connsiteX14" fmla="*/ 86669 w 136377"/>
                  <a:gd name="connsiteY14" fmla="*/ 67115 h 112708"/>
                  <a:gd name="connsiteX15" fmla="*/ 86669 w 136377"/>
                  <a:gd name="connsiteY15" fmla="*/ 72814 h 112708"/>
                  <a:gd name="connsiteX16" fmla="*/ 86669 w 136377"/>
                  <a:gd name="connsiteY16" fmla="*/ 107010 h 112708"/>
                  <a:gd name="connsiteX17" fmla="*/ 80969 w 136377"/>
                  <a:gd name="connsiteY17" fmla="*/ 112709 h 112708"/>
                  <a:gd name="connsiteX18" fmla="*/ 80969 w 136377"/>
                  <a:gd name="connsiteY18" fmla="*/ 112709 h 112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36377" h="112708">
                    <a:moveTo>
                      <a:pt x="80969" y="112709"/>
                    </a:moveTo>
                    <a:cubicBezTo>
                      <a:pt x="78119" y="112709"/>
                      <a:pt x="78119" y="112709"/>
                      <a:pt x="75269" y="109859"/>
                    </a:cubicBezTo>
                    <a:cubicBezTo>
                      <a:pt x="66721" y="95611"/>
                      <a:pt x="72421" y="75664"/>
                      <a:pt x="75269" y="69965"/>
                    </a:cubicBezTo>
                    <a:cubicBezTo>
                      <a:pt x="61021" y="55717"/>
                      <a:pt x="43925" y="58566"/>
                      <a:pt x="29676" y="61416"/>
                    </a:cubicBezTo>
                    <a:cubicBezTo>
                      <a:pt x="18277" y="64266"/>
                      <a:pt x="9729" y="64266"/>
                      <a:pt x="4029" y="58566"/>
                    </a:cubicBezTo>
                    <a:cubicBezTo>
                      <a:pt x="1180" y="55717"/>
                      <a:pt x="-1669" y="50018"/>
                      <a:pt x="1180" y="44318"/>
                    </a:cubicBezTo>
                    <a:cubicBezTo>
                      <a:pt x="4029" y="30070"/>
                      <a:pt x="23977" y="10123"/>
                      <a:pt x="52473" y="1574"/>
                    </a:cubicBezTo>
                    <a:cubicBezTo>
                      <a:pt x="89517" y="-9824"/>
                      <a:pt x="135111" y="44318"/>
                      <a:pt x="135111" y="47168"/>
                    </a:cubicBezTo>
                    <a:cubicBezTo>
                      <a:pt x="137961" y="50018"/>
                      <a:pt x="135111" y="52867"/>
                      <a:pt x="135111" y="55717"/>
                    </a:cubicBezTo>
                    <a:cubicBezTo>
                      <a:pt x="132262" y="58566"/>
                      <a:pt x="129413" y="55717"/>
                      <a:pt x="126563" y="55717"/>
                    </a:cubicBezTo>
                    <a:cubicBezTo>
                      <a:pt x="115165" y="41469"/>
                      <a:pt x="80969" y="4424"/>
                      <a:pt x="55323" y="12973"/>
                    </a:cubicBezTo>
                    <a:cubicBezTo>
                      <a:pt x="29676" y="21522"/>
                      <a:pt x="12579" y="38619"/>
                      <a:pt x="12579" y="47168"/>
                    </a:cubicBezTo>
                    <a:cubicBezTo>
                      <a:pt x="12579" y="50018"/>
                      <a:pt x="12579" y="52867"/>
                      <a:pt x="12579" y="52867"/>
                    </a:cubicBezTo>
                    <a:cubicBezTo>
                      <a:pt x="15428" y="55717"/>
                      <a:pt x="21127" y="52867"/>
                      <a:pt x="29676" y="52867"/>
                    </a:cubicBezTo>
                    <a:cubicBezTo>
                      <a:pt x="43925" y="50018"/>
                      <a:pt x="69571" y="47168"/>
                      <a:pt x="86669" y="67115"/>
                    </a:cubicBezTo>
                    <a:cubicBezTo>
                      <a:pt x="89517" y="69965"/>
                      <a:pt x="89517" y="69965"/>
                      <a:pt x="86669" y="72814"/>
                    </a:cubicBezTo>
                    <a:cubicBezTo>
                      <a:pt x="83819" y="78514"/>
                      <a:pt x="78119" y="98461"/>
                      <a:pt x="86669" y="107010"/>
                    </a:cubicBezTo>
                    <a:cubicBezTo>
                      <a:pt x="86669" y="107010"/>
                      <a:pt x="86669" y="109859"/>
                      <a:pt x="80969" y="112709"/>
                    </a:cubicBezTo>
                    <a:cubicBezTo>
                      <a:pt x="83819" y="112709"/>
                      <a:pt x="80969" y="112709"/>
                      <a:pt x="80969" y="112709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30317536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240E434E-4E1C-477D-B35B-B4C0A9FA4842}"/>
              </a:ext>
            </a:extLst>
          </p:cNvPr>
          <p:cNvGrpSpPr/>
          <p:nvPr/>
        </p:nvGrpSpPr>
        <p:grpSpPr>
          <a:xfrm>
            <a:off x="2884506" y="2414218"/>
            <a:ext cx="2726002" cy="4137011"/>
            <a:chOff x="18724273" y="2915663"/>
            <a:chExt cx="2726002" cy="4137011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D612FA17-643D-4255-BD19-F0415FFE1E89}"/>
                </a:ext>
              </a:extLst>
            </p:cNvPr>
            <p:cNvSpPr/>
            <p:nvPr/>
          </p:nvSpPr>
          <p:spPr>
            <a:xfrm>
              <a:off x="18938228" y="4536306"/>
              <a:ext cx="101762" cy="161834"/>
            </a:xfrm>
            <a:custGeom>
              <a:avLst/>
              <a:gdLst>
                <a:gd name="connsiteX0" fmla="*/ 0 w 101762"/>
                <a:gd name="connsiteY0" fmla="*/ 0 h 161834"/>
                <a:gd name="connsiteX1" fmla="*/ 91188 w 101762"/>
                <a:gd name="connsiteY1" fmla="*/ 94037 h 161834"/>
                <a:gd name="connsiteX2" fmla="*/ 96886 w 101762"/>
                <a:gd name="connsiteY2" fmla="*/ 159578 h 161834"/>
                <a:gd name="connsiteX3" fmla="*/ 34196 w 101762"/>
                <a:gd name="connsiteY3" fmla="*/ 85488 h 161834"/>
                <a:gd name="connsiteX4" fmla="*/ 0 w 101762"/>
                <a:gd name="connsiteY4" fmla="*/ 0 h 161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762" h="161834">
                  <a:moveTo>
                    <a:pt x="0" y="0"/>
                  </a:moveTo>
                  <a:cubicBezTo>
                    <a:pt x="0" y="0"/>
                    <a:pt x="74089" y="37045"/>
                    <a:pt x="91188" y="94037"/>
                  </a:cubicBezTo>
                  <a:cubicBezTo>
                    <a:pt x="96886" y="116834"/>
                    <a:pt x="108285" y="151029"/>
                    <a:pt x="96886" y="159578"/>
                  </a:cubicBezTo>
                  <a:cubicBezTo>
                    <a:pt x="68389" y="176676"/>
                    <a:pt x="62692" y="91187"/>
                    <a:pt x="34196" y="85488"/>
                  </a:cubicBezTo>
                  <a:cubicBezTo>
                    <a:pt x="22796" y="8263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71D2378A-C587-417F-8D52-ED846A9DF7DA}"/>
                </a:ext>
              </a:extLst>
            </p:cNvPr>
            <p:cNvGrpSpPr/>
            <p:nvPr/>
          </p:nvGrpSpPr>
          <p:grpSpPr>
            <a:xfrm>
              <a:off x="18814336" y="4478442"/>
              <a:ext cx="182361" cy="230645"/>
              <a:chOff x="18814336" y="4478442"/>
              <a:chExt cx="182361" cy="230645"/>
            </a:xfrm>
          </p:grpSpPr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85FC03DA-EBA4-4FDE-8B21-7F37F0182C11}"/>
                  </a:ext>
                </a:extLst>
              </p:cNvPr>
              <p:cNvSpPr/>
              <p:nvPr/>
            </p:nvSpPr>
            <p:spPr>
              <a:xfrm>
                <a:off x="18814336" y="4478442"/>
                <a:ext cx="176282" cy="230645"/>
              </a:xfrm>
              <a:custGeom>
                <a:avLst/>
                <a:gdLst>
                  <a:gd name="connsiteX0" fmla="*/ 9908 w 176282"/>
                  <a:gd name="connsiteY0" fmla="*/ 23669 h 230645"/>
                  <a:gd name="connsiteX1" fmla="*/ 7057 w 176282"/>
                  <a:gd name="connsiteY1" fmla="*/ 126255 h 230645"/>
                  <a:gd name="connsiteX2" fmla="*/ 1359 w 176282"/>
                  <a:gd name="connsiteY2" fmla="*/ 191796 h 230645"/>
                  <a:gd name="connsiteX3" fmla="*/ 41253 w 176282"/>
                  <a:gd name="connsiteY3" fmla="*/ 206044 h 230645"/>
                  <a:gd name="connsiteX4" fmla="*/ 64049 w 176282"/>
                  <a:gd name="connsiteY4" fmla="*/ 228841 h 230645"/>
                  <a:gd name="connsiteX5" fmla="*/ 89696 w 176282"/>
                  <a:gd name="connsiteY5" fmla="*/ 220292 h 230645"/>
                  <a:gd name="connsiteX6" fmla="*/ 132440 w 176282"/>
                  <a:gd name="connsiteY6" fmla="*/ 217442 h 230645"/>
                  <a:gd name="connsiteX7" fmla="*/ 160936 w 176282"/>
                  <a:gd name="connsiteY7" fmla="*/ 223141 h 230645"/>
                  <a:gd name="connsiteX8" fmla="*/ 172336 w 176282"/>
                  <a:gd name="connsiteY8" fmla="*/ 174698 h 230645"/>
                  <a:gd name="connsiteX9" fmla="*/ 118192 w 176282"/>
                  <a:gd name="connsiteY9" fmla="*/ 3722 h 230645"/>
                  <a:gd name="connsiteX10" fmla="*/ 18456 w 176282"/>
                  <a:gd name="connsiteY10" fmla="*/ 9421 h 230645"/>
                  <a:gd name="connsiteX11" fmla="*/ 9908 w 176282"/>
                  <a:gd name="connsiteY11" fmla="*/ 23669 h 23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6282" h="230645">
                    <a:moveTo>
                      <a:pt x="9908" y="23669"/>
                    </a:moveTo>
                    <a:cubicBezTo>
                      <a:pt x="9908" y="49316"/>
                      <a:pt x="1359" y="63564"/>
                      <a:pt x="7057" y="126255"/>
                    </a:cubicBezTo>
                    <a:cubicBezTo>
                      <a:pt x="9908" y="154751"/>
                      <a:pt x="-4340" y="166149"/>
                      <a:pt x="1359" y="191796"/>
                    </a:cubicBezTo>
                    <a:cubicBezTo>
                      <a:pt x="4208" y="211743"/>
                      <a:pt x="27005" y="214593"/>
                      <a:pt x="41253" y="206044"/>
                    </a:cubicBezTo>
                    <a:cubicBezTo>
                      <a:pt x="41253" y="220292"/>
                      <a:pt x="49801" y="225991"/>
                      <a:pt x="64049" y="228841"/>
                    </a:cubicBezTo>
                    <a:cubicBezTo>
                      <a:pt x="69749" y="228841"/>
                      <a:pt x="86847" y="225991"/>
                      <a:pt x="89696" y="220292"/>
                    </a:cubicBezTo>
                    <a:cubicBezTo>
                      <a:pt x="92545" y="234540"/>
                      <a:pt x="126741" y="234540"/>
                      <a:pt x="132440" y="217442"/>
                    </a:cubicBezTo>
                    <a:cubicBezTo>
                      <a:pt x="140989" y="228841"/>
                      <a:pt x="155237" y="223141"/>
                      <a:pt x="160936" y="223141"/>
                    </a:cubicBezTo>
                    <a:cubicBezTo>
                      <a:pt x="186584" y="214593"/>
                      <a:pt x="172336" y="186096"/>
                      <a:pt x="172336" y="174698"/>
                    </a:cubicBezTo>
                    <a:cubicBezTo>
                      <a:pt x="166636" y="103458"/>
                      <a:pt x="132440" y="74962"/>
                      <a:pt x="118192" y="3722"/>
                    </a:cubicBezTo>
                    <a:cubicBezTo>
                      <a:pt x="121041" y="3722"/>
                      <a:pt x="49801" y="-7676"/>
                      <a:pt x="18456" y="9421"/>
                    </a:cubicBezTo>
                    <a:cubicBezTo>
                      <a:pt x="-1491" y="17970"/>
                      <a:pt x="7057" y="3722"/>
                      <a:pt x="9908" y="23669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B5490E73-F211-45DA-82AC-9C36041949DC}"/>
                  </a:ext>
                </a:extLst>
              </p:cNvPr>
              <p:cNvSpPr/>
              <p:nvPr/>
            </p:nvSpPr>
            <p:spPr>
              <a:xfrm>
                <a:off x="18938228" y="4579050"/>
                <a:ext cx="58469" cy="128232"/>
              </a:xfrm>
              <a:custGeom>
                <a:avLst/>
                <a:gdLst>
                  <a:gd name="connsiteX0" fmla="*/ 28496 w 58469"/>
                  <a:gd name="connsiteY0" fmla="*/ 128232 h 128232"/>
                  <a:gd name="connsiteX1" fmla="*/ 2849 w 58469"/>
                  <a:gd name="connsiteY1" fmla="*/ 122533 h 128232"/>
                  <a:gd name="connsiteX2" fmla="*/ 0 w 58469"/>
                  <a:gd name="connsiteY2" fmla="*/ 113984 h 128232"/>
                  <a:gd name="connsiteX3" fmla="*/ 8548 w 58469"/>
                  <a:gd name="connsiteY3" fmla="*/ 111135 h 128232"/>
                  <a:gd name="connsiteX4" fmla="*/ 37045 w 58469"/>
                  <a:gd name="connsiteY4" fmla="*/ 116834 h 128232"/>
                  <a:gd name="connsiteX5" fmla="*/ 45593 w 58469"/>
                  <a:gd name="connsiteY5" fmla="*/ 105435 h 128232"/>
                  <a:gd name="connsiteX6" fmla="*/ 22796 w 58469"/>
                  <a:gd name="connsiteY6" fmla="*/ 8549 h 128232"/>
                  <a:gd name="connsiteX7" fmla="*/ 25645 w 58469"/>
                  <a:gd name="connsiteY7" fmla="*/ 0 h 128232"/>
                  <a:gd name="connsiteX8" fmla="*/ 34196 w 58469"/>
                  <a:gd name="connsiteY8" fmla="*/ 2850 h 128232"/>
                  <a:gd name="connsiteX9" fmla="*/ 56992 w 58469"/>
                  <a:gd name="connsiteY9" fmla="*/ 108285 h 128232"/>
                  <a:gd name="connsiteX10" fmla="*/ 42744 w 58469"/>
                  <a:gd name="connsiteY10" fmla="*/ 125383 h 128232"/>
                  <a:gd name="connsiteX11" fmla="*/ 28496 w 58469"/>
                  <a:gd name="connsiteY11" fmla="*/ 128232 h 128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8469" h="128232">
                    <a:moveTo>
                      <a:pt x="28496" y="128232"/>
                    </a:moveTo>
                    <a:cubicBezTo>
                      <a:pt x="14248" y="128232"/>
                      <a:pt x="2849" y="122533"/>
                      <a:pt x="2849" y="122533"/>
                    </a:cubicBezTo>
                    <a:cubicBezTo>
                      <a:pt x="0" y="119684"/>
                      <a:pt x="0" y="116834"/>
                      <a:pt x="0" y="113984"/>
                    </a:cubicBezTo>
                    <a:cubicBezTo>
                      <a:pt x="2849" y="111135"/>
                      <a:pt x="5700" y="111135"/>
                      <a:pt x="8548" y="111135"/>
                    </a:cubicBezTo>
                    <a:cubicBezTo>
                      <a:pt x="14248" y="113984"/>
                      <a:pt x="28496" y="119684"/>
                      <a:pt x="37045" y="116834"/>
                    </a:cubicBezTo>
                    <a:cubicBezTo>
                      <a:pt x="39893" y="113984"/>
                      <a:pt x="42744" y="111135"/>
                      <a:pt x="45593" y="105435"/>
                    </a:cubicBezTo>
                    <a:cubicBezTo>
                      <a:pt x="54141" y="74090"/>
                      <a:pt x="25645" y="8549"/>
                      <a:pt x="22796" y="8549"/>
                    </a:cubicBezTo>
                    <a:cubicBezTo>
                      <a:pt x="22796" y="5699"/>
                      <a:pt x="22796" y="2850"/>
                      <a:pt x="25645" y="0"/>
                    </a:cubicBezTo>
                    <a:cubicBezTo>
                      <a:pt x="28496" y="0"/>
                      <a:pt x="31345" y="0"/>
                      <a:pt x="34196" y="2850"/>
                    </a:cubicBezTo>
                    <a:cubicBezTo>
                      <a:pt x="34196" y="5699"/>
                      <a:pt x="65541" y="71240"/>
                      <a:pt x="56992" y="108285"/>
                    </a:cubicBezTo>
                    <a:cubicBezTo>
                      <a:pt x="54141" y="116834"/>
                      <a:pt x="48444" y="122533"/>
                      <a:pt x="42744" y="125383"/>
                    </a:cubicBezTo>
                    <a:cubicBezTo>
                      <a:pt x="37045" y="128232"/>
                      <a:pt x="34196" y="128232"/>
                      <a:pt x="28496" y="12823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EFAFE8D6-265B-4AED-91B9-E2932D3A5C35}"/>
                  </a:ext>
                </a:extLst>
              </p:cNvPr>
              <p:cNvSpPr/>
              <p:nvPr/>
            </p:nvSpPr>
            <p:spPr>
              <a:xfrm>
                <a:off x="18857259" y="4651959"/>
                <a:ext cx="75269" cy="23977"/>
              </a:xfrm>
              <a:custGeom>
                <a:avLst/>
                <a:gdLst>
                  <a:gd name="connsiteX0" fmla="*/ 66721 w 75269"/>
                  <a:gd name="connsiteY0" fmla="*/ 21128 h 23977"/>
                  <a:gd name="connsiteX1" fmla="*/ 4030 w 75269"/>
                  <a:gd name="connsiteY1" fmla="*/ 9729 h 23977"/>
                  <a:gd name="connsiteX2" fmla="*/ 1181 w 75269"/>
                  <a:gd name="connsiteY2" fmla="*/ 4030 h 23977"/>
                  <a:gd name="connsiteX3" fmla="*/ 6879 w 75269"/>
                  <a:gd name="connsiteY3" fmla="*/ 1180 h 23977"/>
                  <a:gd name="connsiteX4" fmla="*/ 69570 w 75269"/>
                  <a:gd name="connsiteY4" fmla="*/ 12579 h 23977"/>
                  <a:gd name="connsiteX5" fmla="*/ 75270 w 75269"/>
                  <a:gd name="connsiteY5" fmla="*/ 18278 h 23977"/>
                  <a:gd name="connsiteX6" fmla="*/ 69570 w 75269"/>
                  <a:gd name="connsiteY6" fmla="*/ 23977 h 23977"/>
                  <a:gd name="connsiteX7" fmla="*/ 66721 w 75269"/>
                  <a:gd name="connsiteY7" fmla="*/ 21128 h 23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5269" h="23977">
                    <a:moveTo>
                      <a:pt x="66721" y="21128"/>
                    </a:moveTo>
                    <a:cubicBezTo>
                      <a:pt x="46774" y="21128"/>
                      <a:pt x="6879" y="9729"/>
                      <a:pt x="4030" y="9729"/>
                    </a:cubicBezTo>
                    <a:cubicBezTo>
                      <a:pt x="1181" y="9729"/>
                      <a:pt x="-1670" y="6880"/>
                      <a:pt x="1181" y="4030"/>
                    </a:cubicBezTo>
                    <a:cubicBezTo>
                      <a:pt x="1181" y="1180"/>
                      <a:pt x="4030" y="-1669"/>
                      <a:pt x="6879" y="1180"/>
                    </a:cubicBezTo>
                    <a:cubicBezTo>
                      <a:pt x="21127" y="4030"/>
                      <a:pt x="58173" y="12579"/>
                      <a:pt x="69570" y="12579"/>
                    </a:cubicBezTo>
                    <a:cubicBezTo>
                      <a:pt x="72421" y="12579"/>
                      <a:pt x="75270" y="15428"/>
                      <a:pt x="75270" y="18278"/>
                    </a:cubicBezTo>
                    <a:cubicBezTo>
                      <a:pt x="75270" y="21128"/>
                      <a:pt x="72421" y="23977"/>
                      <a:pt x="69570" y="23977"/>
                    </a:cubicBezTo>
                    <a:cubicBezTo>
                      <a:pt x="69570" y="21128"/>
                      <a:pt x="66721" y="21128"/>
                      <a:pt x="66721" y="21128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880516AE-D058-4F2E-9215-7BE18EB2AD7D}"/>
                </a:ext>
              </a:extLst>
            </p:cNvPr>
            <p:cNvSpPr/>
            <p:nvPr/>
          </p:nvSpPr>
          <p:spPr>
            <a:xfrm>
              <a:off x="19072112" y="2915802"/>
              <a:ext cx="523704" cy="858222"/>
            </a:xfrm>
            <a:custGeom>
              <a:avLst/>
              <a:gdLst>
                <a:gd name="connsiteX0" fmla="*/ 416090 w 523704"/>
                <a:gd name="connsiteY0" fmla="*/ 64620 h 858222"/>
                <a:gd name="connsiteX1" fmla="*/ 467382 w 523704"/>
                <a:gd name="connsiteY1" fmla="*/ 41823 h 858222"/>
                <a:gd name="connsiteX2" fmla="*/ 515826 w 523704"/>
                <a:gd name="connsiteY2" fmla="*/ 1929 h 858222"/>
                <a:gd name="connsiteX3" fmla="*/ 245114 w 523704"/>
                <a:gd name="connsiteY3" fmla="*/ 175755 h 858222"/>
                <a:gd name="connsiteX4" fmla="*/ 208069 w 523704"/>
                <a:gd name="connsiteY4" fmla="*/ 341032 h 858222"/>
                <a:gd name="connsiteX5" fmla="*/ 131129 w 523704"/>
                <a:gd name="connsiteY5" fmla="*/ 415121 h 858222"/>
                <a:gd name="connsiteX6" fmla="*/ 116881 w 523704"/>
                <a:gd name="connsiteY6" fmla="*/ 546203 h 858222"/>
                <a:gd name="connsiteX7" fmla="*/ 5746 w 523704"/>
                <a:gd name="connsiteY7" fmla="*/ 702931 h 858222"/>
                <a:gd name="connsiteX8" fmla="*/ 74137 w 523704"/>
                <a:gd name="connsiteY8" fmla="*/ 834013 h 858222"/>
                <a:gd name="connsiteX9" fmla="*/ 225166 w 523704"/>
                <a:gd name="connsiteY9" fmla="*/ 856810 h 858222"/>
                <a:gd name="connsiteX10" fmla="*/ 379045 w 523704"/>
                <a:gd name="connsiteY10" fmla="*/ 842562 h 858222"/>
                <a:gd name="connsiteX11" fmla="*/ 495878 w 523704"/>
                <a:gd name="connsiteY11" fmla="*/ 617443 h 858222"/>
                <a:gd name="connsiteX12" fmla="*/ 416090 w 523704"/>
                <a:gd name="connsiteY12" fmla="*/ 64620 h 858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3704" h="858222">
                  <a:moveTo>
                    <a:pt x="416090" y="64620"/>
                  </a:moveTo>
                  <a:cubicBezTo>
                    <a:pt x="433187" y="56071"/>
                    <a:pt x="450285" y="50372"/>
                    <a:pt x="467382" y="41823"/>
                  </a:cubicBezTo>
                  <a:cubicBezTo>
                    <a:pt x="484481" y="36124"/>
                    <a:pt x="532923" y="4778"/>
                    <a:pt x="515826" y="1929"/>
                  </a:cubicBezTo>
                  <a:cubicBezTo>
                    <a:pt x="413241" y="-15169"/>
                    <a:pt x="282158" y="84567"/>
                    <a:pt x="245114" y="175755"/>
                  </a:cubicBezTo>
                  <a:cubicBezTo>
                    <a:pt x="222317" y="229897"/>
                    <a:pt x="245114" y="292588"/>
                    <a:pt x="208069" y="341032"/>
                  </a:cubicBezTo>
                  <a:cubicBezTo>
                    <a:pt x="185273" y="369528"/>
                    <a:pt x="151077" y="383776"/>
                    <a:pt x="131129" y="415121"/>
                  </a:cubicBezTo>
                  <a:cubicBezTo>
                    <a:pt x="102633" y="457866"/>
                    <a:pt x="128280" y="500610"/>
                    <a:pt x="116881" y="546203"/>
                  </a:cubicBezTo>
                  <a:cubicBezTo>
                    <a:pt x="105482" y="608894"/>
                    <a:pt x="25694" y="640240"/>
                    <a:pt x="5746" y="702931"/>
                  </a:cubicBezTo>
                  <a:cubicBezTo>
                    <a:pt x="-14200" y="762773"/>
                    <a:pt x="19994" y="811217"/>
                    <a:pt x="74137" y="834013"/>
                  </a:cubicBezTo>
                  <a:cubicBezTo>
                    <a:pt x="119730" y="853961"/>
                    <a:pt x="176722" y="853961"/>
                    <a:pt x="225166" y="856810"/>
                  </a:cubicBezTo>
                  <a:cubicBezTo>
                    <a:pt x="276459" y="859660"/>
                    <a:pt x="330602" y="859660"/>
                    <a:pt x="379045" y="842562"/>
                  </a:cubicBezTo>
                  <a:cubicBezTo>
                    <a:pt x="478781" y="808367"/>
                    <a:pt x="481630" y="708631"/>
                    <a:pt x="495878" y="617443"/>
                  </a:cubicBezTo>
                  <a:cubicBezTo>
                    <a:pt x="530074" y="452166"/>
                    <a:pt x="558570" y="192852"/>
                    <a:pt x="416090" y="64620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0C6922D8-7F0B-4DB3-BCE6-267EF9A498CF}"/>
                </a:ext>
              </a:extLst>
            </p:cNvPr>
            <p:cNvSpPr/>
            <p:nvPr/>
          </p:nvSpPr>
          <p:spPr>
            <a:xfrm>
              <a:off x="19587575" y="2915663"/>
              <a:ext cx="484730" cy="798465"/>
            </a:xfrm>
            <a:custGeom>
              <a:avLst/>
              <a:gdLst>
                <a:gd name="connsiteX0" fmla="*/ 54506 w 484730"/>
                <a:gd name="connsiteY0" fmla="*/ 554891 h 798465"/>
                <a:gd name="connsiteX1" fmla="*/ 139994 w 484730"/>
                <a:gd name="connsiteY1" fmla="*/ 703070 h 798465"/>
                <a:gd name="connsiteX2" fmla="*/ 228331 w 484730"/>
                <a:gd name="connsiteY2" fmla="*/ 711619 h 798465"/>
                <a:gd name="connsiteX3" fmla="*/ 234031 w 484730"/>
                <a:gd name="connsiteY3" fmla="*/ 797107 h 798465"/>
                <a:gd name="connsiteX4" fmla="*/ 424955 w 484730"/>
                <a:gd name="connsiteY4" fmla="*/ 774310 h 798465"/>
                <a:gd name="connsiteX5" fmla="*/ 470548 w 484730"/>
                <a:gd name="connsiteY5" fmla="*/ 597635 h 798465"/>
                <a:gd name="connsiteX6" fmla="*/ 405007 w 484730"/>
                <a:gd name="connsiteY6" fmla="*/ 503598 h 798465"/>
                <a:gd name="connsiteX7" fmla="*/ 385060 w 484730"/>
                <a:gd name="connsiteY7" fmla="*/ 432358 h 798465"/>
                <a:gd name="connsiteX8" fmla="*/ 385060 w 484730"/>
                <a:gd name="connsiteY8" fmla="*/ 349719 h 798465"/>
                <a:gd name="connsiteX9" fmla="*/ 336616 w 484730"/>
                <a:gd name="connsiteY9" fmla="*/ 287028 h 798465"/>
                <a:gd name="connsiteX10" fmla="*/ 291023 w 484730"/>
                <a:gd name="connsiteY10" fmla="*/ 232885 h 798465"/>
                <a:gd name="connsiteX11" fmla="*/ 291023 w 484730"/>
                <a:gd name="connsiteY11" fmla="*/ 178743 h 798465"/>
                <a:gd name="connsiteX12" fmla="*/ 363 w 484730"/>
                <a:gd name="connsiteY12" fmla="*/ 7767 h 798465"/>
                <a:gd name="connsiteX13" fmla="*/ 31708 w 484730"/>
                <a:gd name="connsiteY13" fmla="*/ 150247 h 798465"/>
                <a:gd name="connsiteX14" fmla="*/ 71603 w 484730"/>
                <a:gd name="connsiteY14" fmla="*/ 287028 h 798465"/>
                <a:gd name="connsiteX15" fmla="*/ 63055 w 484730"/>
                <a:gd name="connsiteY15" fmla="*/ 438057 h 798465"/>
                <a:gd name="connsiteX16" fmla="*/ 54506 w 484730"/>
                <a:gd name="connsiteY16" fmla="*/ 554891 h 798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84730" h="798465">
                  <a:moveTo>
                    <a:pt x="54506" y="554891"/>
                  </a:moveTo>
                  <a:cubicBezTo>
                    <a:pt x="63055" y="603334"/>
                    <a:pt x="88700" y="683123"/>
                    <a:pt x="139994" y="703070"/>
                  </a:cubicBezTo>
                  <a:cubicBezTo>
                    <a:pt x="165640" y="711619"/>
                    <a:pt x="199835" y="714469"/>
                    <a:pt x="228331" y="711619"/>
                  </a:cubicBezTo>
                  <a:cubicBezTo>
                    <a:pt x="256827" y="708769"/>
                    <a:pt x="211234" y="811355"/>
                    <a:pt x="234031" y="797107"/>
                  </a:cubicBezTo>
                  <a:cubicBezTo>
                    <a:pt x="293872" y="760062"/>
                    <a:pt x="373660" y="825603"/>
                    <a:pt x="424955" y="774310"/>
                  </a:cubicBezTo>
                  <a:cubicBezTo>
                    <a:pt x="464848" y="734416"/>
                    <a:pt x="507592" y="697371"/>
                    <a:pt x="470548" y="597635"/>
                  </a:cubicBezTo>
                  <a:cubicBezTo>
                    <a:pt x="464848" y="577688"/>
                    <a:pt x="419255" y="514996"/>
                    <a:pt x="405007" y="503598"/>
                  </a:cubicBezTo>
                  <a:cubicBezTo>
                    <a:pt x="382211" y="483651"/>
                    <a:pt x="379360" y="463703"/>
                    <a:pt x="385060" y="432358"/>
                  </a:cubicBezTo>
                  <a:cubicBezTo>
                    <a:pt x="390759" y="403862"/>
                    <a:pt x="396459" y="378215"/>
                    <a:pt x="385060" y="349719"/>
                  </a:cubicBezTo>
                  <a:cubicBezTo>
                    <a:pt x="376511" y="324073"/>
                    <a:pt x="359412" y="301276"/>
                    <a:pt x="336616" y="287028"/>
                  </a:cubicBezTo>
                  <a:cubicBezTo>
                    <a:pt x="316668" y="272780"/>
                    <a:pt x="296722" y="261382"/>
                    <a:pt x="291023" y="232885"/>
                  </a:cubicBezTo>
                  <a:cubicBezTo>
                    <a:pt x="288172" y="215788"/>
                    <a:pt x="291023" y="195841"/>
                    <a:pt x="291023" y="178743"/>
                  </a:cubicBezTo>
                  <a:cubicBezTo>
                    <a:pt x="293872" y="56210"/>
                    <a:pt x="108648" y="-26428"/>
                    <a:pt x="363" y="7767"/>
                  </a:cubicBezTo>
                  <a:cubicBezTo>
                    <a:pt x="-2486" y="7767"/>
                    <a:pt x="11762" y="101804"/>
                    <a:pt x="31708" y="150247"/>
                  </a:cubicBezTo>
                  <a:cubicBezTo>
                    <a:pt x="51655" y="192991"/>
                    <a:pt x="65903" y="238585"/>
                    <a:pt x="71603" y="287028"/>
                  </a:cubicBezTo>
                  <a:cubicBezTo>
                    <a:pt x="77303" y="335471"/>
                    <a:pt x="71603" y="386764"/>
                    <a:pt x="63055" y="438057"/>
                  </a:cubicBezTo>
                  <a:cubicBezTo>
                    <a:pt x="57355" y="472252"/>
                    <a:pt x="48807" y="512147"/>
                    <a:pt x="54506" y="554891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D69FA72D-E69C-43AD-8308-BBB871A3049F}"/>
                </a:ext>
              </a:extLst>
            </p:cNvPr>
            <p:cNvSpPr/>
            <p:nvPr/>
          </p:nvSpPr>
          <p:spPr>
            <a:xfrm>
              <a:off x="20049264" y="3524580"/>
              <a:ext cx="932172" cy="386974"/>
            </a:xfrm>
            <a:custGeom>
              <a:avLst/>
              <a:gdLst>
                <a:gd name="connsiteX0" fmla="*/ 125692 w 932172"/>
                <a:gd name="connsiteY0" fmla="*/ 111251 h 386974"/>
                <a:gd name="connsiteX1" fmla="*/ 530336 w 932172"/>
                <a:gd name="connsiteY1" fmla="*/ 199589 h 386974"/>
                <a:gd name="connsiteX2" fmla="*/ 866589 w 932172"/>
                <a:gd name="connsiteY2" fmla="*/ 117 h 386974"/>
                <a:gd name="connsiteX3" fmla="*/ 932131 w 932172"/>
                <a:gd name="connsiteY3" fmla="*/ 68507 h 386974"/>
                <a:gd name="connsiteX4" fmla="*/ 590179 w 932172"/>
                <a:gd name="connsiteY4" fmla="*/ 373415 h 386974"/>
                <a:gd name="connsiteX5" fmla="*/ 60151 w 932172"/>
                <a:gd name="connsiteY5" fmla="*/ 356317 h 386974"/>
                <a:gd name="connsiteX6" fmla="*/ 125692 w 932172"/>
                <a:gd name="connsiteY6" fmla="*/ 111251 h 386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2172" h="386974">
                  <a:moveTo>
                    <a:pt x="125692" y="111251"/>
                  </a:moveTo>
                  <a:cubicBezTo>
                    <a:pt x="208331" y="119800"/>
                    <a:pt x="530336" y="199589"/>
                    <a:pt x="530336" y="199589"/>
                  </a:cubicBezTo>
                  <a:cubicBezTo>
                    <a:pt x="530336" y="199589"/>
                    <a:pt x="860891" y="-5583"/>
                    <a:pt x="866589" y="117"/>
                  </a:cubicBezTo>
                  <a:cubicBezTo>
                    <a:pt x="923581" y="34312"/>
                    <a:pt x="915032" y="5816"/>
                    <a:pt x="932131" y="68507"/>
                  </a:cubicBezTo>
                  <a:cubicBezTo>
                    <a:pt x="934980" y="77056"/>
                    <a:pt x="789651" y="248032"/>
                    <a:pt x="590179" y="373415"/>
                  </a:cubicBezTo>
                  <a:cubicBezTo>
                    <a:pt x="536035" y="407610"/>
                    <a:pt x="196932" y="367716"/>
                    <a:pt x="60151" y="356317"/>
                  </a:cubicBezTo>
                  <a:cubicBezTo>
                    <a:pt x="-22486" y="350618"/>
                    <a:pt x="-36734" y="94154"/>
                    <a:pt x="125692" y="111251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71429290-65A4-4AB2-81A6-F9A05C46BB4A}"/>
                </a:ext>
              </a:extLst>
            </p:cNvPr>
            <p:cNvSpPr/>
            <p:nvPr/>
          </p:nvSpPr>
          <p:spPr>
            <a:xfrm>
              <a:off x="19772568" y="3562045"/>
              <a:ext cx="430926" cy="378694"/>
            </a:xfrm>
            <a:custGeom>
              <a:avLst/>
              <a:gdLst>
                <a:gd name="connsiteX0" fmla="*/ 365343 w 430926"/>
                <a:gd name="connsiteY0" fmla="*/ 378694 h 378694"/>
                <a:gd name="connsiteX1" fmla="*/ 594 w 430926"/>
                <a:gd name="connsiteY1" fmla="*/ 62388 h 378694"/>
                <a:gd name="connsiteX2" fmla="*/ 422335 w 430926"/>
                <a:gd name="connsiteY2" fmla="*/ 33892 h 378694"/>
                <a:gd name="connsiteX3" fmla="*/ 365343 w 430926"/>
                <a:gd name="connsiteY3" fmla="*/ 378694 h 378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926" h="378694">
                  <a:moveTo>
                    <a:pt x="365343" y="378694"/>
                  </a:moveTo>
                  <a:cubicBezTo>
                    <a:pt x="194367" y="370145"/>
                    <a:pt x="11993" y="136478"/>
                    <a:pt x="594" y="62388"/>
                  </a:cubicBezTo>
                  <a:cubicBezTo>
                    <a:pt x="-13654" y="-34499"/>
                    <a:pt x="231411" y="2546"/>
                    <a:pt x="422335" y="33892"/>
                  </a:cubicBezTo>
                  <a:cubicBezTo>
                    <a:pt x="450831" y="96583"/>
                    <a:pt x="402387" y="290356"/>
                    <a:pt x="365343" y="378694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" name="图形 1">
              <a:extLst>
                <a:ext uri="{FF2B5EF4-FFF2-40B4-BE49-F238E27FC236}">
                  <a16:creationId xmlns:a16="http://schemas.microsoft.com/office/drawing/2014/main" id="{79318527-9BAA-4E70-85A8-FA651A9049FC}"/>
                </a:ext>
              </a:extLst>
            </p:cNvPr>
            <p:cNvGrpSpPr/>
            <p:nvPr/>
          </p:nvGrpSpPr>
          <p:grpSpPr>
            <a:xfrm>
              <a:off x="19743751" y="6684908"/>
              <a:ext cx="340730" cy="360921"/>
              <a:chOff x="19743751" y="6684908"/>
              <a:chExt cx="340730" cy="360921"/>
            </a:xfrm>
          </p:grpSpPr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E0FA5925-4606-4212-B7C6-540028D9ABC5}"/>
                  </a:ext>
                </a:extLst>
              </p:cNvPr>
              <p:cNvSpPr/>
              <p:nvPr/>
            </p:nvSpPr>
            <p:spPr>
              <a:xfrm>
                <a:off x="19743751" y="6801741"/>
                <a:ext cx="340730" cy="244088"/>
              </a:xfrm>
              <a:custGeom>
                <a:avLst/>
                <a:gdLst>
                  <a:gd name="connsiteX0" fmla="*/ 129147 w 340730"/>
                  <a:gd name="connsiteY0" fmla="*/ 0 h 244088"/>
                  <a:gd name="connsiteX1" fmla="*/ 240282 w 340730"/>
                  <a:gd name="connsiteY1" fmla="*/ 153879 h 244088"/>
                  <a:gd name="connsiteX2" fmla="*/ 37959 w 340730"/>
                  <a:gd name="connsiteY2" fmla="*/ 34195 h 244088"/>
                  <a:gd name="connsiteX3" fmla="*/ 18012 w 340730"/>
                  <a:gd name="connsiteY3" fmla="*/ 19947 h 244088"/>
                  <a:gd name="connsiteX4" fmla="*/ 915 w 340730"/>
                  <a:gd name="connsiteY4" fmla="*/ 91187 h 244088"/>
                  <a:gd name="connsiteX5" fmla="*/ 12314 w 340730"/>
                  <a:gd name="connsiteY5" fmla="*/ 219419 h 244088"/>
                  <a:gd name="connsiteX6" fmla="*/ 37959 w 340730"/>
                  <a:gd name="connsiteY6" fmla="*/ 219419 h 244088"/>
                  <a:gd name="connsiteX7" fmla="*/ 52207 w 340730"/>
                  <a:gd name="connsiteY7" fmla="*/ 116834 h 244088"/>
                  <a:gd name="connsiteX8" fmla="*/ 186139 w 340730"/>
                  <a:gd name="connsiteY8" fmla="*/ 239367 h 244088"/>
                  <a:gd name="connsiteX9" fmla="*/ 334319 w 340730"/>
                  <a:gd name="connsiteY9" fmla="*/ 242216 h 244088"/>
                  <a:gd name="connsiteX10" fmla="*/ 334319 w 340730"/>
                  <a:gd name="connsiteY10" fmla="*/ 199472 h 244088"/>
                  <a:gd name="connsiteX11" fmla="*/ 129147 w 340730"/>
                  <a:gd name="connsiteY11" fmla="*/ 0 h 244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40730" h="244088">
                    <a:moveTo>
                      <a:pt x="129147" y="0"/>
                    </a:moveTo>
                    <a:cubicBezTo>
                      <a:pt x="129147" y="0"/>
                      <a:pt x="254530" y="145330"/>
                      <a:pt x="240282" y="153879"/>
                    </a:cubicBezTo>
                    <a:cubicBezTo>
                      <a:pt x="223184" y="162427"/>
                      <a:pt x="37959" y="34195"/>
                      <a:pt x="37959" y="34195"/>
                    </a:cubicBezTo>
                    <a:lnTo>
                      <a:pt x="18012" y="19947"/>
                    </a:lnTo>
                    <a:cubicBezTo>
                      <a:pt x="18012" y="19947"/>
                      <a:pt x="-4785" y="65541"/>
                      <a:pt x="915" y="91187"/>
                    </a:cubicBezTo>
                    <a:cubicBezTo>
                      <a:pt x="6614" y="116834"/>
                      <a:pt x="12314" y="219419"/>
                      <a:pt x="12314" y="219419"/>
                    </a:cubicBezTo>
                    <a:lnTo>
                      <a:pt x="37959" y="219419"/>
                    </a:lnTo>
                    <a:lnTo>
                      <a:pt x="52207" y="116834"/>
                    </a:lnTo>
                    <a:cubicBezTo>
                      <a:pt x="52207" y="116834"/>
                      <a:pt x="166192" y="236517"/>
                      <a:pt x="186139" y="239367"/>
                    </a:cubicBezTo>
                    <a:cubicBezTo>
                      <a:pt x="206087" y="245066"/>
                      <a:pt x="322920" y="245066"/>
                      <a:pt x="334319" y="242216"/>
                    </a:cubicBezTo>
                    <a:cubicBezTo>
                      <a:pt x="342867" y="242216"/>
                      <a:pt x="342867" y="205171"/>
                      <a:pt x="334319" y="199472"/>
                    </a:cubicBezTo>
                    <a:cubicBezTo>
                      <a:pt x="260228" y="159578"/>
                      <a:pt x="129147" y="0"/>
                      <a:pt x="129147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DC5B0918-5B7E-40D1-9748-DB45E38624B7}"/>
                  </a:ext>
                </a:extLst>
              </p:cNvPr>
              <p:cNvSpPr/>
              <p:nvPr/>
            </p:nvSpPr>
            <p:spPr>
              <a:xfrm>
                <a:off x="19764584" y="6684908"/>
                <a:ext cx="221515" cy="275190"/>
              </a:xfrm>
              <a:custGeom>
                <a:avLst/>
                <a:gdLst>
                  <a:gd name="connsiteX0" fmla="*/ 62721 w 221515"/>
                  <a:gd name="connsiteY0" fmla="*/ 0 h 275190"/>
                  <a:gd name="connsiteX1" fmla="*/ 108314 w 221515"/>
                  <a:gd name="connsiteY1" fmla="*/ 119683 h 275190"/>
                  <a:gd name="connsiteX2" fmla="*/ 219450 w 221515"/>
                  <a:gd name="connsiteY2" fmla="*/ 273562 h 275190"/>
                  <a:gd name="connsiteX3" fmla="*/ 30 w 221515"/>
                  <a:gd name="connsiteY3" fmla="*/ 139630 h 275190"/>
                  <a:gd name="connsiteX4" fmla="*/ 8578 w 221515"/>
                  <a:gd name="connsiteY4" fmla="*/ 0 h 275190"/>
                  <a:gd name="connsiteX5" fmla="*/ 62721 w 221515"/>
                  <a:gd name="connsiteY5" fmla="*/ 0 h 275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1515" h="275190">
                    <a:moveTo>
                      <a:pt x="62721" y="0"/>
                    </a:moveTo>
                    <a:lnTo>
                      <a:pt x="108314" y="119683"/>
                    </a:lnTo>
                    <a:cubicBezTo>
                      <a:pt x="108314" y="119683"/>
                      <a:pt x="239396" y="259314"/>
                      <a:pt x="219450" y="273562"/>
                    </a:cubicBezTo>
                    <a:cubicBezTo>
                      <a:pt x="199502" y="290660"/>
                      <a:pt x="-2821" y="168126"/>
                      <a:pt x="30" y="139630"/>
                    </a:cubicBezTo>
                    <a:cubicBezTo>
                      <a:pt x="30" y="94037"/>
                      <a:pt x="8578" y="0"/>
                      <a:pt x="8578" y="0"/>
                    </a:cubicBezTo>
                    <a:lnTo>
                      <a:pt x="62721" y="0"/>
                    </a:ln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图形 1">
              <a:extLst>
                <a:ext uri="{FF2B5EF4-FFF2-40B4-BE49-F238E27FC236}">
                  <a16:creationId xmlns:a16="http://schemas.microsoft.com/office/drawing/2014/main" id="{7B5F5616-6598-4004-9D07-F5CF7B85C18E}"/>
                </a:ext>
              </a:extLst>
            </p:cNvPr>
            <p:cNvGrpSpPr/>
            <p:nvPr/>
          </p:nvGrpSpPr>
          <p:grpSpPr>
            <a:xfrm>
              <a:off x="18943928" y="6627916"/>
              <a:ext cx="307542" cy="424758"/>
              <a:chOff x="18943928" y="6627916"/>
              <a:chExt cx="307542" cy="424758"/>
            </a:xfrm>
          </p:grpSpPr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1C5CAC96-279C-466E-AC4A-CF1F8A1DBA9D}"/>
                  </a:ext>
                </a:extLst>
              </p:cNvPr>
              <p:cNvSpPr/>
              <p:nvPr/>
            </p:nvSpPr>
            <p:spPr>
              <a:xfrm>
                <a:off x="18943928" y="6730501"/>
                <a:ext cx="307542" cy="322173"/>
              </a:xfrm>
              <a:custGeom>
                <a:avLst/>
                <a:gdLst>
                  <a:gd name="connsiteX0" fmla="*/ 182374 w 307542"/>
                  <a:gd name="connsiteY0" fmla="*/ 17098 h 322173"/>
                  <a:gd name="connsiteX1" fmla="*/ 233666 w 307542"/>
                  <a:gd name="connsiteY1" fmla="*/ 199472 h 322173"/>
                  <a:gd name="connsiteX2" fmla="*/ 85488 w 307542"/>
                  <a:gd name="connsiteY2" fmla="*/ 19947 h 322173"/>
                  <a:gd name="connsiteX3" fmla="*/ 74089 w 307542"/>
                  <a:gd name="connsiteY3" fmla="*/ 0 h 322173"/>
                  <a:gd name="connsiteX4" fmla="*/ 34194 w 307542"/>
                  <a:gd name="connsiteY4" fmla="*/ 62691 h 322173"/>
                  <a:gd name="connsiteX5" fmla="*/ 0 w 307542"/>
                  <a:gd name="connsiteY5" fmla="*/ 188074 h 322173"/>
                  <a:gd name="connsiteX6" fmla="*/ 22796 w 307542"/>
                  <a:gd name="connsiteY6" fmla="*/ 196623 h 322173"/>
                  <a:gd name="connsiteX7" fmla="*/ 71240 w 307542"/>
                  <a:gd name="connsiteY7" fmla="*/ 105435 h 322173"/>
                  <a:gd name="connsiteX8" fmla="*/ 153878 w 307542"/>
                  <a:gd name="connsiteY8" fmla="*/ 267863 h 322173"/>
                  <a:gd name="connsiteX9" fmla="*/ 290658 w 307542"/>
                  <a:gd name="connsiteY9" fmla="*/ 322005 h 322173"/>
                  <a:gd name="connsiteX10" fmla="*/ 304906 w 307542"/>
                  <a:gd name="connsiteY10" fmla="*/ 279261 h 322173"/>
                  <a:gd name="connsiteX11" fmla="*/ 182374 w 307542"/>
                  <a:gd name="connsiteY11" fmla="*/ 17098 h 322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7542" h="322173">
                    <a:moveTo>
                      <a:pt x="182374" y="17098"/>
                    </a:moveTo>
                    <a:cubicBezTo>
                      <a:pt x="182374" y="17098"/>
                      <a:pt x="250765" y="196623"/>
                      <a:pt x="233666" y="199472"/>
                    </a:cubicBezTo>
                    <a:cubicBezTo>
                      <a:pt x="216569" y="202322"/>
                      <a:pt x="85488" y="19947"/>
                      <a:pt x="85488" y="19947"/>
                    </a:cubicBezTo>
                    <a:lnTo>
                      <a:pt x="74089" y="0"/>
                    </a:lnTo>
                    <a:cubicBezTo>
                      <a:pt x="74089" y="0"/>
                      <a:pt x="37045" y="37045"/>
                      <a:pt x="34194" y="62691"/>
                    </a:cubicBezTo>
                    <a:cubicBezTo>
                      <a:pt x="28496" y="88338"/>
                      <a:pt x="0" y="188074"/>
                      <a:pt x="0" y="188074"/>
                    </a:cubicBezTo>
                    <a:lnTo>
                      <a:pt x="22796" y="196623"/>
                    </a:lnTo>
                    <a:lnTo>
                      <a:pt x="71240" y="105435"/>
                    </a:lnTo>
                    <a:cubicBezTo>
                      <a:pt x="71240" y="105435"/>
                      <a:pt x="136781" y="256464"/>
                      <a:pt x="153878" y="267863"/>
                    </a:cubicBezTo>
                    <a:cubicBezTo>
                      <a:pt x="170976" y="279261"/>
                      <a:pt x="282110" y="319156"/>
                      <a:pt x="290658" y="322005"/>
                    </a:cubicBezTo>
                    <a:cubicBezTo>
                      <a:pt x="299208" y="324855"/>
                      <a:pt x="313456" y="290660"/>
                      <a:pt x="304906" y="279261"/>
                    </a:cubicBezTo>
                    <a:cubicBezTo>
                      <a:pt x="253614" y="210871"/>
                      <a:pt x="182374" y="17098"/>
                      <a:pt x="182374" y="17098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50F1BFD0-4628-4DD8-8161-FF3739E30A25}"/>
                  </a:ext>
                </a:extLst>
              </p:cNvPr>
              <p:cNvSpPr/>
              <p:nvPr/>
            </p:nvSpPr>
            <p:spPr>
              <a:xfrm>
                <a:off x="19014806" y="6627916"/>
                <a:ext cx="168022" cy="299499"/>
              </a:xfrm>
              <a:custGeom>
                <a:avLst/>
                <a:gdLst>
                  <a:gd name="connsiteX0" fmla="*/ 151391 w 168022"/>
                  <a:gd name="connsiteY0" fmla="*/ 5699 h 299499"/>
                  <a:gd name="connsiteX1" fmla="*/ 111496 w 168022"/>
                  <a:gd name="connsiteY1" fmla="*/ 116834 h 299499"/>
                  <a:gd name="connsiteX2" fmla="*/ 162788 w 168022"/>
                  <a:gd name="connsiteY2" fmla="*/ 299208 h 299499"/>
                  <a:gd name="connsiteX3" fmla="*/ 362 w 168022"/>
                  <a:gd name="connsiteY3" fmla="*/ 96886 h 299499"/>
                  <a:gd name="connsiteX4" fmla="*/ 105796 w 168022"/>
                  <a:gd name="connsiteY4" fmla="*/ 0 h 299499"/>
                  <a:gd name="connsiteX5" fmla="*/ 151391 w 168022"/>
                  <a:gd name="connsiteY5" fmla="*/ 5699 h 299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8022" h="299499">
                    <a:moveTo>
                      <a:pt x="151391" y="5699"/>
                    </a:moveTo>
                    <a:lnTo>
                      <a:pt x="111496" y="116834"/>
                    </a:lnTo>
                    <a:cubicBezTo>
                      <a:pt x="111496" y="116834"/>
                      <a:pt x="188436" y="290660"/>
                      <a:pt x="162788" y="299208"/>
                    </a:cubicBezTo>
                    <a:cubicBezTo>
                      <a:pt x="137143" y="307757"/>
                      <a:pt x="-8188" y="125382"/>
                      <a:pt x="362" y="96886"/>
                    </a:cubicBezTo>
                    <a:cubicBezTo>
                      <a:pt x="48804" y="62691"/>
                      <a:pt x="105796" y="0"/>
                      <a:pt x="105796" y="0"/>
                    </a:cubicBezTo>
                    <a:lnTo>
                      <a:pt x="151391" y="5699"/>
                    </a:ln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5D050E2-6D4B-410F-A1B4-F197E8C1DD8A}"/>
                </a:ext>
              </a:extLst>
            </p:cNvPr>
            <p:cNvSpPr/>
            <p:nvPr/>
          </p:nvSpPr>
          <p:spPr>
            <a:xfrm>
              <a:off x="19015168" y="4408074"/>
              <a:ext cx="1004320" cy="2413614"/>
            </a:xfrm>
            <a:custGeom>
              <a:avLst/>
              <a:gdLst>
                <a:gd name="connsiteX0" fmla="*/ 267862 w 1004320"/>
                <a:gd name="connsiteY0" fmla="*/ 0 h 2413614"/>
                <a:gd name="connsiteX1" fmla="*/ 891926 w 1004320"/>
                <a:gd name="connsiteY1" fmla="*/ 0 h 2413614"/>
                <a:gd name="connsiteX2" fmla="*/ 1003059 w 1004320"/>
                <a:gd name="connsiteY2" fmla="*/ 430290 h 2413614"/>
                <a:gd name="connsiteX3" fmla="*/ 857730 w 1004320"/>
                <a:gd name="connsiteY3" fmla="*/ 2393668 h 2413614"/>
                <a:gd name="connsiteX4" fmla="*/ 746595 w 1004320"/>
                <a:gd name="connsiteY4" fmla="*/ 2413615 h 2413614"/>
                <a:gd name="connsiteX5" fmla="*/ 572770 w 1004320"/>
                <a:gd name="connsiteY5" fmla="*/ 760844 h 2413614"/>
                <a:gd name="connsiteX6" fmla="*/ 507229 w 1004320"/>
                <a:gd name="connsiteY6" fmla="*/ 1518839 h 2413614"/>
                <a:gd name="connsiteX7" fmla="*/ 495830 w 1004320"/>
                <a:gd name="connsiteY7" fmla="*/ 1567282 h 2413614"/>
                <a:gd name="connsiteX8" fmla="*/ 111134 w 1004320"/>
                <a:gd name="connsiteY8" fmla="*/ 2336676 h 2413614"/>
                <a:gd name="connsiteX9" fmla="*/ 0 w 1004320"/>
                <a:gd name="connsiteY9" fmla="*/ 2316728 h 2413614"/>
                <a:gd name="connsiteX10" fmla="*/ 176674 w 1004320"/>
                <a:gd name="connsiteY10" fmla="*/ 1547335 h 2413614"/>
                <a:gd name="connsiteX11" fmla="*/ 142480 w 1004320"/>
                <a:gd name="connsiteY11" fmla="*/ 387546 h 2413614"/>
                <a:gd name="connsiteX12" fmla="*/ 267862 w 1004320"/>
                <a:gd name="connsiteY12" fmla="*/ 0 h 2413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4320" h="2413614">
                  <a:moveTo>
                    <a:pt x="267862" y="0"/>
                  </a:moveTo>
                  <a:lnTo>
                    <a:pt x="891926" y="0"/>
                  </a:lnTo>
                  <a:cubicBezTo>
                    <a:pt x="891926" y="0"/>
                    <a:pt x="983113" y="284960"/>
                    <a:pt x="1003059" y="430290"/>
                  </a:cubicBezTo>
                  <a:cubicBezTo>
                    <a:pt x="1020158" y="572771"/>
                    <a:pt x="857730" y="2393668"/>
                    <a:pt x="857730" y="2393668"/>
                  </a:cubicBezTo>
                  <a:lnTo>
                    <a:pt x="746595" y="2413615"/>
                  </a:lnTo>
                  <a:lnTo>
                    <a:pt x="572770" y="760844"/>
                  </a:lnTo>
                  <a:lnTo>
                    <a:pt x="507229" y="1518839"/>
                  </a:lnTo>
                  <a:cubicBezTo>
                    <a:pt x="504379" y="1535937"/>
                    <a:pt x="501530" y="1553034"/>
                    <a:pt x="495830" y="1567282"/>
                  </a:cubicBezTo>
                  <a:lnTo>
                    <a:pt x="111134" y="2336676"/>
                  </a:lnTo>
                  <a:lnTo>
                    <a:pt x="0" y="2316728"/>
                  </a:lnTo>
                  <a:lnTo>
                    <a:pt x="176674" y="1547335"/>
                  </a:lnTo>
                  <a:cubicBezTo>
                    <a:pt x="176674" y="1547335"/>
                    <a:pt x="148178" y="447388"/>
                    <a:pt x="142480" y="387546"/>
                  </a:cubicBezTo>
                  <a:cubicBezTo>
                    <a:pt x="133930" y="276412"/>
                    <a:pt x="267862" y="0"/>
                    <a:pt x="267862" y="0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37881708-0B86-4F86-8DA3-8F679532E30C}"/>
                </a:ext>
              </a:extLst>
            </p:cNvPr>
            <p:cNvSpPr/>
            <p:nvPr/>
          </p:nvSpPr>
          <p:spPr>
            <a:xfrm>
              <a:off x="19235973" y="3514824"/>
              <a:ext cx="766971" cy="921829"/>
            </a:xfrm>
            <a:custGeom>
              <a:avLst/>
              <a:gdLst>
                <a:gd name="connsiteX0" fmla="*/ 41357 w 766971"/>
                <a:gd name="connsiteY0" fmla="*/ 366073 h 921829"/>
                <a:gd name="connsiteX1" fmla="*/ 55605 w 766971"/>
                <a:gd name="connsiteY1" fmla="*/ 64015 h 921829"/>
                <a:gd name="connsiteX2" fmla="*/ 400408 w 766971"/>
                <a:gd name="connsiteY2" fmla="*/ 4173 h 921829"/>
                <a:gd name="connsiteX3" fmla="*/ 682518 w 766971"/>
                <a:gd name="connsiteY3" fmla="*/ 98210 h 921829"/>
                <a:gd name="connsiteX4" fmla="*/ 719564 w 766971"/>
                <a:gd name="connsiteY4" fmla="*/ 611139 h 921829"/>
                <a:gd name="connsiteX5" fmla="*/ 679669 w 766971"/>
                <a:gd name="connsiteY5" fmla="*/ 916046 h 921829"/>
                <a:gd name="connsiteX6" fmla="*/ 47057 w 766971"/>
                <a:gd name="connsiteY6" fmla="*/ 901798 h 921829"/>
                <a:gd name="connsiteX7" fmla="*/ 41357 w 766971"/>
                <a:gd name="connsiteY7" fmla="*/ 366073 h 921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6971" h="921829">
                  <a:moveTo>
                    <a:pt x="41357" y="366073"/>
                  </a:moveTo>
                  <a:cubicBezTo>
                    <a:pt x="32809" y="337577"/>
                    <a:pt x="-55528" y="123856"/>
                    <a:pt x="55605" y="64015"/>
                  </a:cubicBezTo>
                  <a:cubicBezTo>
                    <a:pt x="152492" y="12722"/>
                    <a:pt x="289273" y="-10075"/>
                    <a:pt x="400408" y="4173"/>
                  </a:cubicBezTo>
                  <a:cubicBezTo>
                    <a:pt x="522941" y="18421"/>
                    <a:pt x="645474" y="38368"/>
                    <a:pt x="682518" y="98210"/>
                  </a:cubicBezTo>
                  <a:cubicBezTo>
                    <a:pt x="787954" y="272036"/>
                    <a:pt x="787954" y="425914"/>
                    <a:pt x="719564" y="611139"/>
                  </a:cubicBezTo>
                  <a:cubicBezTo>
                    <a:pt x="699617" y="665281"/>
                    <a:pt x="693917" y="790664"/>
                    <a:pt x="679669" y="916046"/>
                  </a:cubicBezTo>
                  <a:cubicBezTo>
                    <a:pt x="679669" y="916046"/>
                    <a:pt x="414656" y="935993"/>
                    <a:pt x="47057" y="901798"/>
                  </a:cubicBezTo>
                  <a:cubicBezTo>
                    <a:pt x="75553" y="696627"/>
                    <a:pt x="47057" y="386020"/>
                    <a:pt x="41357" y="366073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46697335-7662-4F07-B338-54EC99C80FB6}"/>
                </a:ext>
              </a:extLst>
            </p:cNvPr>
            <p:cNvSpPr/>
            <p:nvPr/>
          </p:nvSpPr>
          <p:spPr>
            <a:xfrm>
              <a:off x="19448306" y="3348021"/>
              <a:ext cx="290659" cy="304907"/>
            </a:xfrm>
            <a:custGeom>
              <a:avLst/>
              <a:gdLst>
                <a:gd name="connsiteX0" fmla="*/ 239367 w 290659"/>
                <a:gd name="connsiteY0" fmla="*/ 56992 h 304907"/>
                <a:gd name="connsiteX1" fmla="*/ 290660 w 290659"/>
                <a:gd name="connsiteY1" fmla="*/ 188074 h 304907"/>
                <a:gd name="connsiteX2" fmla="*/ 182375 w 290659"/>
                <a:gd name="connsiteY2" fmla="*/ 304908 h 304907"/>
                <a:gd name="connsiteX3" fmla="*/ 0 w 290659"/>
                <a:gd name="connsiteY3" fmla="*/ 173826 h 304907"/>
                <a:gd name="connsiteX4" fmla="*/ 48444 w 290659"/>
                <a:gd name="connsiteY4" fmla="*/ 0 h 304907"/>
                <a:gd name="connsiteX5" fmla="*/ 239367 w 290659"/>
                <a:gd name="connsiteY5" fmla="*/ 56992 h 30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0659" h="304907">
                  <a:moveTo>
                    <a:pt x="239367" y="56992"/>
                  </a:moveTo>
                  <a:cubicBezTo>
                    <a:pt x="239367" y="56992"/>
                    <a:pt x="233668" y="159578"/>
                    <a:pt x="290660" y="188074"/>
                  </a:cubicBezTo>
                  <a:lnTo>
                    <a:pt x="182375" y="304908"/>
                  </a:lnTo>
                  <a:cubicBezTo>
                    <a:pt x="182375" y="304908"/>
                    <a:pt x="51294" y="202322"/>
                    <a:pt x="0" y="173826"/>
                  </a:cubicBezTo>
                  <a:cubicBezTo>
                    <a:pt x="51294" y="133931"/>
                    <a:pt x="48444" y="56992"/>
                    <a:pt x="48444" y="0"/>
                  </a:cubicBezTo>
                  <a:cubicBezTo>
                    <a:pt x="51294" y="0"/>
                    <a:pt x="190924" y="62691"/>
                    <a:pt x="239367" y="56992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187CB3C7-B826-4C23-9F49-F9E021A7FF0E}"/>
                </a:ext>
              </a:extLst>
            </p:cNvPr>
            <p:cNvSpPr/>
            <p:nvPr/>
          </p:nvSpPr>
          <p:spPr>
            <a:xfrm>
              <a:off x="19908763" y="3606155"/>
              <a:ext cx="96701" cy="522657"/>
            </a:xfrm>
            <a:custGeom>
              <a:avLst/>
              <a:gdLst>
                <a:gd name="connsiteX0" fmla="*/ 43924 w 96701"/>
                <a:gd name="connsiteY0" fmla="*/ 522658 h 522657"/>
                <a:gd name="connsiteX1" fmla="*/ 43924 w 96701"/>
                <a:gd name="connsiteY1" fmla="*/ 522658 h 522657"/>
                <a:gd name="connsiteX2" fmla="*/ 38225 w 96701"/>
                <a:gd name="connsiteY2" fmla="*/ 516959 h 522657"/>
                <a:gd name="connsiteX3" fmla="*/ 52473 w 96701"/>
                <a:gd name="connsiteY3" fmla="*/ 465666 h 522657"/>
                <a:gd name="connsiteX4" fmla="*/ 83819 w 96701"/>
                <a:gd name="connsiteY4" fmla="*/ 326035 h 522657"/>
                <a:gd name="connsiteX5" fmla="*/ 1180 w 96701"/>
                <a:gd name="connsiteY5" fmla="*/ 9729 h 522657"/>
                <a:gd name="connsiteX6" fmla="*/ 4031 w 96701"/>
                <a:gd name="connsiteY6" fmla="*/ 1180 h 522657"/>
                <a:gd name="connsiteX7" fmla="*/ 12579 w 96701"/>
                <a:gd name="connsiteY7" fmla="*/ 4030 h 522657"/>
                <a:gd name="connsiteX8" fmla="*/ 95217 w 96701"/>
                <a:gd name="connsiteY8" fmla="*/ 326035 h 522657"/>
                <a:gd name="connsiteX9" fmla="*/ 63872 w 96701"/>
                <a:gd name="connsiteY9" fmla="*/ 468515 h 522657"/>
                <a:gd name="connsiteX10" fmla="*/ 49624 w 96701"/>
                <a:gd name="connsiteY10" fmla="*/ 519808 h 522657"/>
                <a:gd name="connsiteX11" fmla="*/ 43924 w 96701"/>
                <a:gd name="connsiteY11" fmla="*/ 522658 h 5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701" h="522657">
                  <a:moveTo>
                    <a:pt x="43924" y="522658"/>
                  </a:moveTo>
                  <a:cubicBezTo>
                    <a:pt x="41075" y="522658"/>
                    <a:pt x="41075" y="522658"/>
                    <a:pt x="43924" y="522658"/>
                  </a:cubicBezTo>
                  <a:cubicBezTo>
                    <a:pt x="41075" y="522658"/>
                    <a:pt x="38225" y="519808"/>
                    <a:pt x="38225" y="516959"/>
                  </a:cubicBezTo>
                  <a:cubicBezTo>
                    <a:pt x="43924" y="499861"/>
                    <a:pt x="46775" y="482763"/>
                    <a:pt x="52473" y="465666"/>
                  </a:cubicBezTo>
                  <a:cubicBezTo>
                    <a:pt x="66721" y="417223"/>
                    <a:pt x="80969" y="368779"/>
                    <a:pt x="83819" y="326035"/>
                  </a:cubicBezTo>
                  <a:cubicBezTo>
                    <a:pt x="89519" y="212051"/>
                    <a:pt x="63872" y="106616"/>
                    <a:pt x="1180" y="9729"/>
                  </a:cubicBezTo>
                  <a:cubicBezTo>
                    <a:pt x="-1669" y="6880"/>
                    <a:pt x="1180" y="4030"/>
                    <a:pt x="4031" y="1180"/>
                  </a:cubicBezTo>
                  <a:cubicBezTo>
                    <a:pt x="6880" y="-1669"/>
                    <a:pt x="9728" y="1180"/>
                    <a:pt x="12579" y="4030"/>
                  </a:cubicBezTo>
                  <a:cubicBezTo>
                    <a:pt x="75271" y="103766"/>
                    <a:pt x="103767" y="212051"/>
                    <a:pt x="95217" y="326035"/>
                  </a:cubicBezTo>
                  <a:cubicBezTo>
                    <a:pt x="92368" y="368779"/>
                    <a:pt x="78120" y="420072"/>
                    <a:pt x="63872" y="468515"/>
                  </a:cubicBezTo>
                  <a:cubicBezTo>
                    <a:pt x="58172" y="485613"/>
                    <a:pt x="52473" y="502711"/>
                    <a:pt x="49624" y="519808"/>
                  </a:cubicBezTo>
                  <a:cubicBezTo>
                    <a:pt x="46775" y="519808"/>
                    <a:pt x="43924" y="522658"/>
                    <a:pt x="43924" y="522658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58F0ED98-35E3-4C4E-B501-C9B8D5F62E87}"/>
                </a:ext>
              </a:extLst>
            </p:cNvPr>
            <p:cNvSpPr/>
            <p:nvPr/>
          </p:nvSpPr>
          <p:spPr>
            <a:xfrm>
              <a:off x="19513849" y="4020709"/>
              <a:ext cx="373297" cy="34013"/>
            </a:xfrm>
            <a:custGeom>
              <a:avLst/>
              <a:gdLst>
                <a:gd name="connsiteX0" fmla="*/ 370449 w 373297"/>
                <a:gd name="connsiteY0" fmla="*/ 34014 h 34013"/>
                <a:gd name="connsiteX1" fmla="*/ 370449 w 373297"/>
                <a:gd name="connsiteY1" fmla="*/ 34014 h 34013"/>
                <a:gd name="connsiteX2" fmla="*/ 5698 w 373297"/>
                <a:gd name="connsiteY2" fmla="*/ 22615 h 34013"/>
                <a:gd name="connsiteX3" fmla="*/ 0 w 373297"/>
                <a:gd name="connsiteY3" fmla="*/ 19766 h 34013"/>
                <a:gd name="connsiteX4" fmla="*/ 2849 w 373297"/>
                <a:gd name="connsiteY4" fmla="*/ 14067 h 34013"/>
                <a:gd name="connsiteX5" fmla="*/ 370449 w 373297"/>
                <a:gd name="connsiteY5" fmla="*/ 25465 h 34013"/>
                <a:gd name="connsiteX6" fmla="*/ 373297 w 373297"/>
                <a:gd name="connsiteY6" fmla="*/ 31164 h 34013"/>
                <a:gd name="connsiteX7" fmla="*/ 370449 w 373297"/>
                <a:gd name="connsiteY7" fmla="*/ 34014 h 3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3297" h="34013">
                  <a:moveTo>
                    <a:pt x="370449" y="34014"/>
                  </a:moveTo>
                  <a:cubicBezTo>
                    <a:pt x="370449" y="34014"/>
                    <a:pt x="370449" y="34014"/>
                    <a:pt x="370449" y="34014"/>
                  </a:cubicBezTo>
                  <a:cubicBezTo>
                    <a:pt x="290658" y="5518"/>
                    <a:pt x="99736" y="-181"/>
                    <a:pt x="5698" y="22615"/>
                  </a:cubicBezTo>
                  <a:cubicBezTo>
                    <a:pt x="2849" y="22615"/>
                    <a:pt x="0" y="22615"/>
                    <a:pt x="0" y="19766"/>
                  </a:cubicBezTo>
                  <a:cubicBezTo>
                    <a:pt x="0" y="16916"/>
                    <a:pt x="0" y="14067"/>
                    <a:pt x="2849" y="14067"/>
                  </a:cubicBezTo>
                  <a:cubicBezTo>
                    <a:pt x="96886" y="-8730"/>
                    <a:pt x="290658" y="-3031"/>
                    <a:pt x="370449" y="25465"/>
                  </a:cubicBezTo>
                  <a:cubicBezTo>
                    <a:pt x="373297" y="25465"/>
                    <a:pt x="373297" y="28315"/>
                    <a:pt x="373297" y="31164"/>
                  </a:cubicBezTo>
                  <a:cubicBezTo>
                    <a:pt x="373297" y="31164"/>
                    <a:pt x="373297" y="34014"/>
                    <a:pt x="370449" y="34014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F7C63B53-1059-47D4-BE77-31E5649ED0C1}"/>
                </a:ext>
              </a:extLst>
            </p:cNvPr>
            <p:cNvSpPr/>
            <p:nvPr/>
          </p:nvSpPr>
          <p:spPr>
            <a:xfrm>
              <a:off x="19428361" y="3524696"/>
              <a:ext cx="336252" cy="145329"/>
            </a:xfrm>
            <a:custGeom>
              <a:avLst/>
              <a:gdLst>
                <a:gd name="connsiteX0" fmla="*/ 302057 w 336252"/>
                <a:gd name="connsiteY0" fmla="*/ 5699 h 145329"/>
                <a:gd name="connsiteX1" fmla="*/ 205170 w 336252"/>
                <a:gd name="connsiteY1" fmla="*/ 113984 h 145329"/>
                <a:gd name="connsiteX2" fmla="*/ 22796 w 336252"/>
                <a:gd name="connsiteY2" fmla="*/ 0 h 145329"/>
                <a:gd name="connsiteX3" fmla="*/ 0 w 336252"/>
                <a:gd name="connsiteY3" fmla="*/ 8549 h 145329"/>
                <a:gd name="connsiteX4" fmla="*/ 208021 w 336252"/>
                <a:gd name="connsiteY4" fmla="*/ 145330 h 145329"/>
                <a:gd name="connsiteX5" fmla="*/ 336253 w 336252"/>
                <a:gd name="connsiteY5" fmla="*/ 14248 h 145329"/>
                <a:gd name="connsiteX6" fmla="*/ 302057 w 336252"/>
                <a:gd name="connsiteY6" fmla="*/ 5699 h 145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6252" h="145329">
                  <a:moveTo>
                    <a:pt x="302057" y="5699"/>
                  </a:moveTo>
                  <a:lnTo>
                    <a:pt x="205170" y="113984"/>
                  </a:lnTo>
                  <a:cubicBezTo>
                    <a:pt x="205170" y="113984"/>
                    <a:pt x="82637" y="19947"/>
                    <a:pt x="22796" y="0"/>
                  </a:cubicBezTo>
                  <a:lnTo>
                    <a:pt x="0" y="8549"/>
                  </a:lnTo>
                  <a:lnTo>
                    <a:pt x="208021" y="145330"/>
                  </a:lnTo>
                  <a:lnTo>
                    <a:pt x="336253" y="14248"/>
                  </a:lnTo>
                  <a:cubicBezTo>
                    <a:pt x="333402" y="11398"/>
                    <a:pt x="319154" y="5699"/>
                    <a:pt x="302057" y="5699"/>
                  </a:cubicBezTo>
                  <a:close/>
                </a:path>
              </a:pathLst>
            </a:custGeom>
            <a:solidFill>
              <a:srgbClr val="D16156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CB3A775D-A797-4B13-9E79-8D96F0C9772F}"/>
                </a:ext>
              </a:extLst>
            </p:cNvPr>
            <p:cNvSpPr/>
            <p:nvPr/>
          </p:nvSpPr>
          <p:spPr>
            <a:xfrm>
              <a:off x="19426715" y="2953964"/>
              <a:ext cx="389286" cy="530910"/>
            </a:xfrm>
            <a:custGeom>
              <a:avLst/>
              <a:gdLst>
                <a:gd name="connsiteX0" fmla="*/ 386342 w 389286"/>
                <a:gd name="connsiteY0" fmla="*/ 174638 h 530910"/>
                <a:gd name="connsiteX1" fmla="*/ 366395 w 389286"/>
                <a:gd name="connsiteY1" fmla="*/ 414005 h 530910"/>
                <a:gd name="connsiteX2" fmla="*/ 223915 w 389286"/>
                <a:gd name="connsiteY2" fmla="*/ 530839 h 530910"/>
                <a:gd name="connsiteX3" fmla="*/ 27291 w 389286"/>
                <a:gd name="connsiteY3" fmla="*/ 388358 h 530910"/>
                <a:gd name="connsiteX4" fmla="*/ 1646 w 389286"/>
                <a:gd name="connsiteY4" fmla="*/ 177488 h 530910"/>
                <a:gd name="connsiteX5" fmla="*/ 209667 w 389286"/>
                <a:gd name="connsiteY5" fmla="*/ 812 h 530910"/>
                <a:gd name="connsiteX6" fmla="*/ 386342 w 389286"/>
                <a:gd name="connsiteY6" fmla="*/ 174638 h 530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286" h="530910">
                  <a:moveTo>
                    <a:pt x="386342" y="174638"/>
                  </a:moveTo>
                  <a:cubicBezTo>
                    <a:pt x="386342" y="174638"/>
                    <a:pt x="400590" y="351313"/>
                    <a:pt x="366395" y="414005"/>
                  </a:cubicBezTo>
                  <a:cubicBezTo>
                    <a:pt x="329350" y="476696"/>
                    <a:pt x="269508" y="527989"/>
                    <a:pt x="223915" y="530839"/>
                  </a:cubicBezTo>
                  <a:cubicBezTo>
                    <a:pt x="161223" y="533688"/>
                    <a:pt x="58638" y="451050"/>
                    <a:pt x="27291" y="388358"/>
                  </a:cubicBezTo>
                  <a:cubicBezTo>
                    <a:pt x="-4054" y="325667"/>
                    <a:pt x="-1205" y="223081"/>
                    <a:pt x="1646" y="177488"/>
                  </a:cubicBezTo>
                  <a:cubicBezTo>
                    <a:pt x="7344" y="89150"/>
                    <a:pt x="35840" y="17910"/>
                    <a:pt x="209667" y="812"/>
                  </a:cubicBezTo>
                  <a:cubicBezTo>
                    <a:pt x="286606" y="-10586"/>
                    <a:pt x="369244" y="100548"/>
                    <a:pt x="386342" y="174638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CAF4EDD2-05BC-4A02-954E-EF458F784194}"/>
                </a:ext>
              </a:extLst>
            </p:cNvPr>
            <p:cNvSpPr/>
            <p:nvPr/>
          </p:nvSpPr>
          <p:spPr>
            <a:xfrm>
              <a:off x="19629502" y="3205541"/>
              <a:ext cx="55323" cy="119683"/>
            </a:xfrm>
            <a:custGeom>
              <a:avLst/>
              <a:gdLst>
                <a:gd name="connsiteX0" fmla="*/ 29676 w 55323"/>
                <a:gd name="connsiteY0" fmla="*/ 119683 h 119683"/>
                <a:gd name="connsiteX1" fmla="*/ 4029 w 55323"/>
                <a:gd name="connsiteY1" fmla="*/ 116834 h 119683"/>
                <a:gd name="connsiteX2" fmla="*/ 1180 w 55323"/>
                <a:gd name="connsiteY2" fmla="*/ 111135 h 119683"/>
                <a:gd name="connsiteX3" fmla="*/ 6880 w 55323"/>
                <a:gd name="connsiteY3" fmla="*/ 108285 h 119683"/>
                <a:gd name="connsiteX4" fmla="*/ 43924 w 55323"/>
                <a:gd name="connsiteY4" fmla="*/ 108285 h 119683"/>
                <a:gd name="connsiteX5" fmla="*/ 46773 w 55323"/>
                <a:gd name="connsiteY5" fmla="*/ 105435 h 119683"/>
                <a:gd name="connsiteX6" fmla="*/ 23977 w 55323"/>
                <a:gd name="connsiteY6" fmla="*/ 5699 h 119683"/>
                <a:gd name="connsiteX7" fmla="*/ 26827 w 55323"/>
                <a:gd name="connsiteY7" fmla="*/ 0 h 119683"/>
                <a:gd name="connsiteX8" fmla="*/ 32525 w 55323"/>
                <a:gd name="connsiteY8" fmla="*/ 2850 h 119683"/>
                <a:gd name="connsiteX9" fmla="*/ 55323 w 55323"/>
                <a:gd name="connsiteY9" fmla="*/ 105435 h 119683"/>
                <a:gd name="connsiteX10" fmla="*/ 49624 w 55323"/>
                <a:gd name="connsiteY10" fmla="*/ 116834 h 119683"/>
                <a:gd name="connsiteX11" fmla="*/ 29676 w 55323"/>
                <a:gd name="connsiteY11" fmla="*/ 119683 h 11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323" h="119683">
                  <a:moveTo>
                    <a:pt x="29676" y="119683"/>
                  </a:moveTo>
                  <a:cubicBezTo>
                    <a:pt x="18277" y="119683"/>
                    <a:pt x="6880" y="116834"/>
                    <a:pt x="4029" y="116834"/>
                  </a:cubicBezTo>
                  <a:cubicBezTo>
                    <a:pt x="1180" y="116834"/>
                    <a:pt x="-1669" y="113984"/>
                    <a:pt x="1180" y="111135"/>
                  </a:cubicBezTo>
                  <a:cubicBezTo>
                    <a:pt x="1180" y="108285"/>
                    <a:pt x="4029" y="105435"/>
                    <a:pt x="6880" y="108285"/>
                  </a:cubicBezTo>
                  <a:cubicBezTo>
                    <a:pt x="18277" y="111135"/>
                    <a:pt x="38225" y="113984"/>
                    <a:pt x="43924" y="108285"/>
                  </a:cubicBezTo>
                  <a:cubicBezTo>
                    <a:pt x="43924" y="108285"/>
                    <a:pt x="43924" y="105435"/>
                    <a:pt x="46773" y="105435"/>
                  </a:cubicBezTo>
                  <a:cubicBezTo>
                    <a:pt x="46773" y="91187"/>
                    <a:pt x="32525" y="28496"/>
                    <a:pt x="23977" y="5699"/>
                  </a:cubicBezTo>
                  <a:cubicBezTo>
                    <a:pt x="23977" y="2850"/>
                    <a:pt x="23977" y="0"/>
                    <a:pt x="26827" y="0"/>
                  </a:cubicBezTo>
                  <a:cubicBezTo>
                    <a:pt x="29676" y="0"/>
                    <a:pt x="32525" y="0"/>
                    <a:pt x="32525" y="2850"/>
                  </a:cubicBezTo>
                  <a:cubicBezTo>
                    <a:pt x="32525" y="5699"/>
                    <a:pt x="55323" y="85488"/>
                    <a:pt x="55323" y="105435"/>
                  </a:cubicBezTo>
                  <a:cubicBezTo>
                    <a:pt x="55323" y="111135"/>
                    <a:pt x="52473" y="113984"/>
                    <a:pt x="49624" y="116834"/>
                  </a:cubicBezTo>
                  <a:cubicBezTo>
                    <a:pt x="46773" y="119683"/>
                    <a:pt x="38225" y="119683"/>
                    <a:pt x="29676" y="119683"/>
                  </a:cubicBezTo>
                  <a:close/>
                </a:path>
              </a:pathLst>
            </a:custGeom>
            <a:solidFill>
              <a:srgbClr val="E58777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A68A4317-C59C-449C-B736-9587361205D8}"/>
                </a:ext>
              </a:extLst>
            </p:cNvPr>
            <p:cNvSpPr/>
            <p:nvPr/>
          </p:nvSpPr>
          <p:spPr>
            <a:xfrm>
              <a:off x="19599337" y="3370818"/>
              <a:ext cx="99736" cy="54525"/>
            </a:xfrm>
            <a:custGeom>
              <a:avLst/>
              <a:gdLst>
                <a:gd name="connsiteX0" fmla="*/ 0 w 99736"/>
                <a:gd name="connsiteY0" fmla="*/ 0 h 54525"/>
                <a:gd name="connsiteX1" fmla="*/ 99736 w 99736"/>
                <a:gd name="connsiteY1" fmla="*/ 2850 h 54525"/>
                <a:gd name="connsiteX2" fmla="*/ 59841 w 99736"/>
                <a:gd name="connsiteY2" fmla="*/ 54143 h 54525"/>
                <a:gd name="connsiteX3" fmla="*/ 0 w 99736"/>
                <a:gd name="connsiteY3" fmla="*/ 0 h 5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736" h="54525">
                  <a:moveTo>
                    <a:pt x="0" y="0"/>
                  </a:moveTo>
                  <a:cubicBezTo>
                    <a:pt x="48442" y="28496"/>
                    <a:pt x="99736" y="2850"/>
                    <a:pt x="99736" y="2850"/>
                  </a:cubicBezTo>
                  <a:cubicBezTo>
                    <a:pt x="99736" y="2850"/>
                    <a:pt x="91186" y="48443"/>
                    <a:pt x="59841" y="54143"/>
                  </a:cubicBezTo>
                  <a:cubicBezTo>
                    <a:pt x="28496" y="5984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6FE7938F-D2CE-45F2-B286-97B530D2C398}"/>
                </a:ext>
              </a:extLst>
            </p:cNvPr>
            <p:cNvSpPr/>
            <p:nvPr/>
          </p:nvSpPr>
          <p:spPr>
            <a:xfrm>
              <a:off x="19718460" y="3179168"/>
              <a:ext cx="38330" cy="38497"/>
            </a:xfrm>
            <a:custGeom>
              <a:avLst/>
              <a:gdLst>
                <a:gd name="connsiteX0" fmla="*/ 559 w 38330"/>
                <a:gd name="connsiteY0" fmla="*/ 23523 h 38497"/>
                <a:gd name="connsiteX1" fmla="*/ 23357 w 38330"/>
                <a:gd name="connsiteY1" fmla="*/ 37771 h 38497"/>
                <a:gd name="connsiteX2" fmla="*/ 37605 w 38330"/>
                <a:gd name="connsiteY2" fmla="*/ 14974 h 38497"/>
                <a:gd name="connsiteX3" fmla="*/ 14807 w 38330"/>
                <a:gd name="connsiteY3" fmla="*/ 726 h 38497"/>
                <a:gd name="connsiteX4" fmla="*/ 559 w 38330"/>
                <a:gd name="connsiteY4" fmla="*/ 23523 h 3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30" h="38497">
                  <a:moveTo>
                    <a:pt x="559" y="23523"/>
                  </a:moveTo>
                  <a:cubicBezTo>
                    <a:pt x="3409" y="34921"/>
                    <a:pt x="11958" y="40621"/>
                    <a:pt x="23357" y="37771"/>
                  </a:cubicBezTo>
                  <a:cubicBezTo>
                    <a:pt x="34754" y="34921"/>
                    <a:pt x="40454" y="26373"/>
                    <a:pt x="37605" y="14974"/>
                  </a:cubicBezTo>
                  <a:cubicBezTo>
                    <a:pt x="34754" y="3576"/>
                    <a:pt x="26206" y="-2123"/>
                    <a:pt x="14807" y="726"/>
                  </a:cubicBezTo>
                  <a:cubicBezTo>
                    <a:pt x="6258" y="3576"/>
                    <a:pt x="-2290" y="12125"/>
                    <a:pt x="559" y="23523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B07AAF40-A928-4076-87DD-B4690616F16D}"/>
                </a:ext>
              </a:extLst>
            </p:cNvPr>
            <p:cNvSpPr/>
            <p:nvPr/>
          </p:nvSpPr>
          <p:spPr>
            <a:xfrm>
              <a:off x="19541618" y="3179168"/>
              <a:ext cx="38496" cy="38497"/>
            </a:xfrm>
            <a:custGeom>
              <a:avLst/>
              <a:gdLst>
                <a:gd name="connsiteX0" fmla="*/ 727 w 38496"/>
                <a:gd name="connsiteY0" fmla="*/ 23523 h 38497"/>
                <a:gd name="connsiteX1" fmla="*/ 23523 w 38496"/>
                <a:gd name="connsiteY1" fmla="*/ 37771 h 38497"/>
                <a:gd name="connsiteX2" fmla="*/ 37771 w 38496"/>
                <a:gd name="connsiteY2" fmla="*/ 14974 h 38497"/>
                <a:gd name="connsiteX3" fmla="*/ 14975 w 38496"/>
                <a:gd name="connsiteY3" fmla="*/ 726 h 38497"/>
                <a:gd name="connsiteX4" fmla="*/ 727 w 38496"/>
                <a:gd name="connsiteY4" fmla="*/ 23523 h 3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496" h="38497">
                  <a:moveTo>
                    <a:pt x="727" y="23523"/>
                  </a:moveTo>
                  <a:cubicBezTo>
                    <a:pt x="3576" y="34921"/>
                    <a:pt x="12124" y="40621"/>
                    <a:pt x="23523" y="37771"/>
                  </a:cubicBezTo>
                  <a:cubicBezTo>
                    <a:pt x="34920" y="34921"/>
                    <a:pt x="40620" y="26373"/>
                    <a:pt x="37771" y="14974"/>
                  </a:cubicBezTo>
                  <a:cubicBezTo>
                    <a:pt x="34920" y="3576"/>
                    <a:pt x="26372" y="-2123"/>
                    <a:pt x="14975" y="726"/>
                  </a:cubicBezTo>
                  <a:cubicBezTo>
                    <a:pt x="3576" y="3576"/>
                    <a:pt x="-2124" y="12125"/>
                    <a:pt x="727" y="23523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44E9E8EA-ABB1-48CE-B831-76E88C22179E}"/>
                </a:ext>
              </a:extLst>
            </p:cNvPr>
            <p:cNvSpPr/>
            <p:nvPr/>
          </p:nvSpPr>
          <p:spPr>
            <a:xfrm>
              <a:off x="19695042" y="3138740"/>
              <a:ext cx="85955" cy="32605"/>
            </a:xfrm>
            <a:custGeom>
              <a:avLst/>
              <a:gdLst>
                <a:gd name="connsiteX0" fmla="*/ 78120 w 85955"/>
                <a:gd name="connsiteY0" fmla="*/ 29756 h 32605"/>
                <a:gd name="connsiteX1" fmla="*/ 72420 w 85955"/>
                <a:gd name="connsiteY1" fmla="*/ 26906 h 32605"/>
                <a:gd name="connsiteX2" fmla="*/ 9728 w 85955"/>
                <a:gd name="connsiteY2" fmla="*/ 18358 h 32605"/>
                <a:gd name="connsiteX3" fmla="*/ 1180 w 85955"/>
                <a:gd name="connsiteY3" fmla="*/ 15508 h 32605"/>
                <a:gd name="connsiteX4" fmla="*/ 4031 w 85955"/>
                <a:gd name="connsiteY4" fmla="*/ 6959 h 32605"/>
                <a:gd name="connsiteX5" fmla="*/ 83819 w 85955"/>
                <a:gd name="connsiteY5" fmla="*/ 21207 h 32605"/>
                <a:gd name="connsiteX6" fmla="*/ 83819 w 85955"/>
                <a:gd name="connsiteY6" fmla="*/ 32606 h 32605"/>
                <a:gd name="connsiteX7" fmla="*/ 78120 w 85955"/>
                <a:gd name="connsiteY7" fmla="*/ 29756 h 32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5" h="32605">
                  <a:moveTo>
                    <a:pt x="78120" y="29756"/>
                  </a:moveTo>
                  <a:cubicBezTo>
                    <a:pt x="75271" y="29756"/>
                    <a:pt x="75271" y="29756"/>
                    <a:pt x="72420" y="26906"/>
                  </a:cubicBezTo>
                  <a:cubicBezTo>
                    <a:pt x="49624" y="1260"/>
                    <a:pt x="9728" y="18358"/>
                    <a:pt x="9728" y="18358"/>
                  </a:cubicBezTo>
                  <a:cubicBezTo>
                    <a:pt x="6880" y="21207"/>
                    <a:pt x="1180" y="18358"/>
                    <a:pt x="1180" y="15508"/>
                  </a:cubicBezTo>
                  <a:cubicBezTo>
                    <a:pt x="-1669" y="12658"/>
                    <a:pt x="1180" y="6959"/>
                    <a:pt x="4031" y="6959"/>
                  </a:cubicBezTo>
                  <a:cubicBezTo>
                    <a:pt x="21128" y="-1590"/>
                    <a:pt x="58172" y="-7289"/>
                    <a:pt x="83819" y="21207"/>
                  </a:cubicBezTo>
                  <a:cubicBezTo>
                    <a:pt x="86668" y="24057"/>
                    <a:pt x="86668" y="29756"/>
                    <a:pt x="83819" y="32606"/>
                  </a:cubicBezTo>
                  <a:cubicBezTo>
                    <a:pt x="83819" y="26906"/>
                    <a:pt x="80969" y="29756"/>
                    <a:pt x="78120" y="29756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B8CB547F-2E0C-4947-9CDF-685DD9050E36}"/>
                </a:ext>
              </a:extLst>
            </p:cNvPr>
            <p:cNvSpPr/>
            <p:nvPr/>
          </p:nvSpPr>
          <p:spPr>
            <a:xfrm>
              <a:off x="19517410" y="3128763"/>
              <a:ext cx="84775" cy="31184"/>
            </a:xfrm>
            <a:custGeom>
              <a:avLst/>
              <a:gdLst>
                <a:gd name="connsiteX0" fmla="*/ 7836 w 84775"/>
                <a:gd name="connsiteY0" fmla="*/ 31184 h 31184"/>
                <a:gd name="connsiteX1" fmla="*/ 2137 w 84775"/>
                <a:gd name="connsiteY1" fmla="*/ 28334 h 31184"/>
                <a:gd name="connsiteX2" fmla="*/ 2137 w 84775"/>
                <a:gd name="connsiteY2" fmla="*/ 16936 h 31184"/>
                <a:gd name="connsiteX3" fmla="*/ 81927 w 84775"/>
                <a:gd name="connsiteY3" fmla="*/ 11237 h 31184"/>
                <a:gd name="connsiteX4" fmla="*/ 84776 w 84775"/>
                <a:gd name="connsiteY4" fmla="*/ 22635 h 31184"/>
                <a:gd name="connsiteX5" fmla="*/ 73377 w 84775"/>
                <a:gd name="connsiteY5" fmla="*/ 25485 h 31184"/>
                <a:gd name="connsiteX6" fmla="*/ 10687 w 84775"/>
                <a:gd name="connsiteY6" fmla="*/ 28334 h 31184"/>
                <a:gd name="connsiteX7" fmla="*/ 7836 w 84775"/>
                <a:gd name="connsiteY7" fmla="*/ 31184 h 3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775" h="31184">
                  <a:moveTo>
                    <a:pt x="7836" y="31184"/>
                  </a:moveTo>
                  <a:cubicBezTo>
                    <a:pt x="4987" y="31184"/>
                    <a:pt x="4987" y="31184"/>
                    <a:pt x="2137" y="28334"/>
                  </a:cubicBezTo>
                  <a:cubicBezTo>
                    <a:pt x="-712" y="25485"/>
                    <a:pt x="-712" y="19786"/>
                    <a:pt x="2137" y="16936"/>
                  </a:cubicBezTo>
                  <a:cubicBezTo>
                    <a:pt x="16385" y="5538"/>
                    <a:pt x="47731" y="-11560"/>
                    <a:pt x="81927" y="11237"/>
                  </a:cubicBezTo>
                  <a:cubicBezTo>
                    <a:pt x="84776" y="14086"/>
                    <a:pt x="84776" y="16936"/>
                    <a:pt x="84776" y="22635"/>
                  </a:cubicBezTo>
                  <a:cubicBezTo>
                    <a:pt x="81927" y="25485"/>
                    <a:pt x="79076" y="25485"/>
                    <a:pt x="73377" y="25485"/>
                  </a:cubicBezTo>
                  <a:cubicBezTo>
                    <a:pt x="39183" y="2688"/>
                    <a:pt x="13536" y="28334"/>
                    <a:pt x="10687" y="28334"/>
                  </a:cubicBezTo>
                  <a:cubicBezTo>
                    <a:pt x="10687" y="31184"/>
                    <a:pt x="10687" y="31184"/>
                    <a:pt x="7836" y="31184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84D35753-0A4C-4B45-93BF-5F78A070FCCB}"/>
                </a:ext>
              </a:extLst>
            </p:cNvPr>
            <p:cNvSpPr/>
            <p:nvPr/>
          </p:nvSpPr>
          <p:spPr>
            <a:xfrm>
              <a:off x="19584798" y="2919519"/>
              <a:ext cx="251695" cy="246149"/>
            </a:xfrm>
            <a:custGeom>
              <a:avLst/>
              <a:gdLst>
                <a:gd name="connsiteX0" fmla="*/ 3140 w 251695"/>
                <a:gd name="connsiteY0" fmla="*/ 1061 h 246149"/>
                <a:gd name="connsiteX1" fmla="*/ 31636 w 251695"/>
                <a:gd name="connsiteY1" fmla="*/ 120745 h 246149"/>
                <a:gd name="connsiteX2" fmla="*/ 251056 w 251695"/>
                <a:gd name="connsiteY2" fmla="*/ 246127 h 246149"/>
                <a:gd name="connsiteX3" fmla="*/ 3140 w 251695"/>
                <a:gd name="connsiteY3" fmla="*/ 1061 h 24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1695" h="246149">
                  <a:moveTo>
                    <a:pt x="3140" y="1061"/>
                  </a:moveTo>
                  <a:cubicBezTo>
                    <a:pt x="3140" y="1061"/>
                    <a:pt x="-13957" y="83700"/>
                    <a:pt x="31636" y="120745"/>
                  </a:cubicBezTo>
                  <a:cubicBezTo>
                    <a:pt x="31636" y="120745"/>
                    <a:pt x="225409" y="169188"/>
                    <a:pt x="251056" y="246127"/>
                  </a:cubicBezTo>
                  <a:cubicBezTo>
                    <a:pt x="251056" y="248977"/>
                    <a:pt x="276701" y="-18886"/>
                    <a:pt x="3140" y="1061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E13473AC-24ED-4534-8B7A-7CF1B4E40EE3}"/>
                </a:ext>
              </a:extLst>
            </p:cNvPr>
            <p:cNvSpPr/>
            <p:nvPr/>
          </p:nvSpPr>
          <p:spPr>
            <a:xfrm>
              <a:off x="19398709" y="2920580"/>
              <a:ext cx="217724" cy="287542"/>
            </a:xfrm>
            <a:custGeom>
              <a:avLst/>
              <a:gdLst>
                <a:gd name="connsiteX0" fmla="*/ 217725 w 217724"/>
                <a:gd name="connsiteY0" fmla="*/ 119683 h 287542"/>
                <a:gd name="connsiteX1" fmla="*/ 83793 w 217724"/>
                <a:gd name="connsiteY1" fmla="*/ 165277 h 287542"/>
                <a:gd name="connsiteX2" fmla="*/ 23952 w 217724"/>
                <a:gd name="connsiteY2" fmla="*/ 276412 h 287542"/>
                <a:gd name="connsiteX3" fmla="*/ 1156 w 217724"/>
                <a:gd name="connsiteY3" fmla="*/ 270712 h 287542"/>
                <a:gd name="connsiteX4" fmla="*/ 189229 w 217724"/>
                <a:gd name="connsiteY4" fmla="*/ 0 h 287542"/>
                <a:gd name="connsiteX5" fmla="*/ 217725 w 217724"/>
                <a:gd name="connsiteY5" fmla="*/ 119683 h 287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7724" h="287542">
                  <a:moveTo>
                    <a:pt x="217725" y="119683"/>
                  </a:moveTo>
                  <a:cubicBezTo>
                    <a:pt x="217725" y="119683"/>
                    <a:pt x="132237" y="162427"/>
                    <a:pt x="83793" y="165277"/>
                  </a:cubicBezTo>
                  <a:cubicBezTo>
                    <a:pt x="35350" y="168127"/>
                    <a:pt x="23952" y="276412"/>
                    <a:pt x="23952" y="276412"/>
                  </a:cubicBezTo>
                  <a:cubicBezTo>
                    <a:pt x="23952" y="276412"/>
                    <a:pt x="4005" y="304908"/>
                    <a:pt x="1156" y="270712"/>
                  </a:cubicBezTo>
                  <a:cubicBezTo>
                    <a:pt x="-4544" y="196623"/>
                    <a:pt x="4005" y="11398"/>
                    <a:pt x="189229" y="0"/>
                  </a:cubicBezTo>
                  <a:cubicBezTo>
                    <a:pt x="189229" y="0"/>
                    <a:pt x="194928" y="113984"/>
                    <a:pt x="217725" y="119683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EFCBB9D2-F694-470B-91F9-65ED58413999}"/>
                </a:ext>
              </a:extLst>
            </p:cNvPr>
            <p:cNvSpPr/>
            <p:nvPr/>
          </p:nvSpPr>
          <p:spPr>
            <a:xfrm>
              <a:off x="19385655" y="3182980"/>
              <a:ext cx="71285" cy="105638"/>
            </a:xfrm>
            <a:custGeom>
              <a:avLst/>
              <a:gdLst>
                <a:gd name="connsiteX0" fmla="*/ 62652 w 71285"/>
                <a:gd name="connsiteY0" fmla="*/ 16862 h 105638"/>
                <a:gd name="connsiteX1" fmla="*/ 8510 w 71285"/>
                <a:gd name="connsiteY1" fmla="*/ 5463 h 105638"/>
                <a:gd name="connsiteX2" fmla="*/ 56954 w 71285"/>
                <a:gd name="connsiteY2" fmla="*/ 102350 h 105638"/>
                <a:gd name="connsiteX3" fmla="*/ 62652 w 71285"/>
                <a:gd name="connsiteY3" fmla="*/ 16862 h 105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285" h="105638">
                  <a:moveTo>
                    <a:pt x="62652" y="16862"/>
                  </a:moveTo>
                  <a:cubicBezTo>
                    <a:pt x="62652" y="16862"/>
                    <a:pt x="31307" y="-11635"/>
                    <a:pt x="8510" y="5463"/>
                  </a:cubicBezTo>
                  <a:cubicBezTo>
                    <a:pt x="-17137" y="22561"/>
                    <a:pt x="19908" y="125146"/>
                    <a:pt x="56954" y="102350"/>
                  </a:cubicBezTo>
                  <a:cubicBezTo>
                    <a:pt x="85450" y="85252"/>
                    <a:pt x="62652" y="16862"/>
                    <a:pt x="62652" y="16862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8D735F34-A191-4945-AC5D-47007C383BD4}"/>
                </a:ext>
              </a:extLst>
            </p:cNvPr>
            <p:cNvSpPr/>
            <p:nvPr/>
          </p:nvSpPr>
          <p:spPr>
            <a:xfrm>
              <a:off x="19419810" y="2917731"/>
              <a:ext cx="199472" cy="273561"/>
            </a:xfrm>
            <a:custGeom>
              <a:avLst/>
              <a:gdLst>
                <a:gd name="connsiteX0" fmla="*/ 5700 w 199472"/>
                <a:gd name="connsiteY0" fmla="*/ 273562 h 273561"/>
                <a:gd name="connsiteX1" fmla="*/ 5700 w 199472"/>
                <a:gd name="connsiteY1" fmla="*/ 273562 h 273561"/>
                <a:gd name="connsiteX2" fmla="*/ 0 w 199472"/>
                <a:gd name="connsiteY2" fmla="*/ 267863 h 273561"/>
                <a:gd name="connsiteX3" fmla="*/ 59843 w 199472"/>
                <a:gd name="connsiteY3" fmla="*/ 162427 h 273561"/>
                <a:gd name="connsiteX4" fmla="*/ 185224 w 199472"/>
                <a:gd name="connsiteY4" fmla="*/ 119683 h 273561"/>
                <a:gd name="connsiteX5" fmla="*/ 170976 w 199472"/>
                <a:gd name="connsiteY5" fmla="*/ 99736 h 273561"/>
                <a:gd name="connsiteX6" fmla="*/ 162428 w 199472"/>
                <a:gd name="connsiteY6" fmla="*/ 56992 h 273561"/>
                <a:gd name="connsiteX7" fmla="*/ 159579 w 199472"/>
                <a:gd name="connsiteY7" fmla="*/ 31346 h 273561"/>
                <a:gd name="connsiteX8" fmla="*/ 156728 w 199472"/>
                <a:gd name="connsiteY8" fmla="*/ 5699 h 273561"/>
                <a:gd name="connsiteX9" fmla="*/ 162428 w 199472"/>
                <a:gd name="connsiteY9" fmla="*/ 0 h 273561"/>
                <a:gd name="connsiteX10" fmla="*/ 168127 w 199472"/>
                <a:gd name="connsiteY10" fmla="*/ 5699 h 273561"/>
                <a:gd name="connsiteX11" fmla="*/ 170976 w 199472"/>
                <a:gd name="connsiteY11" fmla="*/ 31346 h 273561"/>
                <a:gd name="connsiteX12" fmla="*/ 173827 w 199472"/>
                <a:gd name="connsiteY12" fmla="*/ 56992 h 273561"/>
                <a:gd name="connsiteX13" fmla="*/ 182375 w 199472"/>
                <a:gd name="connsiteY13" fmla="*/ 94037 h 273561"/>
                <a:gd name="connsiteX14" fmla="*/ 196623 w 199472"/>
                <a:gd name="connsiteY14" fmla="*/ 116834 h 273561"/>
                <a:gd name="connsiteX15" fmla="*/ 199472 w 199472"/>
                <a:gd name="connsiteY15" fmla="*/ 122533 h 273561"/>
                <a:gd name="connsiteX16" fmla="*/ 193774 w 199472"/>
                <a:gd name="connsiteY16" fmla="*/ 125383 h 273561"/>
                <a:gd name="connsiteX17" fmla="*/ 56992 w 199472"/>
                <a:gd name="connsiteY17" fmla="*/ 173826 h 273561"/>
                <a:gd name="connsiteX18" fmla="*/ 5700 w 199472"/>
                <a:gd name="connsiteY18" fmla="*/ 267863 h 273561"/>
                <a:gd name="connsiteX19" fmla="*/ 5700 w 199472"/>
                <a:gd name="connsiteY19" fmla="*/ 273562 h 273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472" h="273561">
                  <a:moveTo>
                    <a:pt x="5700" y="273562"/>
                  </a:moveTo>
                  <a:cubicBezTo>
                    <a:pt x="5700" y="273562"/>
                    <a:pt x="5700" y="273562"/>
                    <a:pt x="5700" y="273562"/>
                  </a:cubicBezTo>
                  <a:cubicBezTo>
                    <a:pt x="2851" y="273562"/>
                    <a:pt x="0" y="270712"/>
                    <a:pt x="0" y="267863"/>
                  </a:cubicBezTo>
                  <a:cubicBezTo>
                    <a:pt x="0" y="265013"/>
                    <a:pt x="5700" y="168127"/>
                    <a:pt x="59843" y="162427"/>
                  </a:cubicBezTo>
                  <a:cubicBezTo>
                    <a:pt x="111135" y="156728"/>
                    <a:pt x="168127" y="128232"/>
                    <a:pt x="185224" y="119683"/>
                  </a:cubicBezTo>
                  <a:cubicBezTo>
                    <a:pt x="179526" y="113984"/>
                    <a:pt x="176676" y="108285"/>
                    <a:pt x="170976" y="99736"/>
                  </a:cubicBezTo>
                  <a:cubicBezTo>
                    <a:pt x="165278" y="85488"/>
                    <a:pt x="162428" y="71240"/>
                    <a:pt x="162428" y="56992"/>
                  </a:cubicBezTo>
                  <a:cubicBezTo>
                    <a:pt x="162428" y="51293"/>
                    <a:pt x="159579" y="39894"/>
                    <a:pt x="159579" y="31346"/>
                  </a:cubicBezTo>
                  <a:cubicBezTo>
                    <a:pt x="159579" y="19947"/>
                    <a:pt x="156728" y="11398"/>
                    <a:pt x="156728" y="5699"/>
                  </a:cubicBezTo>
                  <a:cubicBezTo>
                    <a:pt x="156728" y="2850"/>
                    <a:pt x="159579" y="0"/>
                    <a:pt x="162428" y="0"/>
                  </a:cubicBezTo>
                  <a:cubicBezTo>
                    <a:pt x="165278" y="0"/>
                    <a:pt x="168127" y="2850"/>
                    <a:pt x="168127" y="5699"/>
                  </a:cubicBezTo>
                  <a:cubicBezTo>
                    <a:pt x="168127" y="11398"/>
                    <a:pt x="170976" y="22797"/>
                    <a:pt x="170976" y="31346"/>
                  </a:cubicBezTo>
                  <a:cubicBezTo>
                    <a:pt x="170976" y="42744"/>
                    <a:pt x="173827" y="51293"/>
                    <a:pt x="173827" y="56992"/>
                  </a:cubicBezTo>
                  <a:cubicBezTo>
                    <a:pt x="173827" y="71240"/>
                    <a:pt x="176676" y="82638"/>
                    <a:pt x="182375" y="94037"/>
                  </a:cubicBezTo>
                  <a:cubicBezTo>
                    <a:pt x="185224" y="102586"/>
                    <a:pt x="190924" y="108285"/>
                    <a:pt x="196623" y="116834"/>
                  </a:cubicBezTo>
                  <a:lnTo>
                    <a:pt x="199472" y="122533"/>
                  </a:lnTo>
                  <a:lnTo>
                    <a:pt x="193774" y="125383"/>
                  </a:lnTo>
                  <a:cubicBezTo>
                    <a:pt x="190924" y="128232"/>
                    <a:pt x="122534" y="165277"/>
                    <a:pt x="56992" y="173826"/>
                  </a:cubicBezTo>
                  <a:cubicBezTo>
                    <a:pt x="11399" y="179525"/>
                    <a:pt x="5700" y="267863"/>
                    <a:pt x="5700" y="267863"/>
                  </a:cubicBezTo>
                  <a:cubicBezTo>
                    <a:pt x="11399" y="270712"/>
                    <a:pt x="8550" y="273562"/>
                    <a:pt x="5700" y="273562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45746393-CFBB-440B-89A4-7EC145548BC3}"/>
                </a:ext>
              </a:extLst>
            </p:cNvPr>
            <p:cNvSpPr/>
            <p:nvPr/>
          </p:nvSpPr>
          <p:spPr>
            <a:xfrm>
              <a:off x="19508861" y="3408575"/>
              <a:ext cx="209445" cy="79076"/>
            </a:xfrm>
            <a:custGeom>
              <a:avLst/>
              <a:gdLst>
                <a:gd name="connsiteX0" fmla="*/ 138917 w 209445"/>
                <a:gd name="connsiteY0" fmla="*/ 79077 h 79076"/>
                <a:gd name="connsiteX1" fmla="*/ 127520 w 209445"/>
                <a:gd name="connsiteY1" fmla="*/ 79077 h 79076"/>
                <a:gd name="connsiteX2" fmla="*/ 2137 w 209445"/>
                <a:gd name="connsiteY2" fmla="*/ 10686 h 79076"/>
                <a:gd name="connsiteX3" fmla="*/ 2137 w 209445"/>
                <a:gd name="connsiteY3" fmla="*/ 2137 h 79076"/>
                <a:gd name="connsiteX4" fmla="*/ 10685 w 209445"/>
                <a:gd name="connsiteY4" fmla="*/ 2137 h 79076"/>
                <a:gd name="connsiteX5" fmla="*/ 133220 w 209445"/>
                <a:gd name="connsiteY5" fmla="*/ 67678 h 79076"/>
                <a:gd name="connsiteX6" fmla="*/ 198760 w 209445"/>
                <a:gd name="connsiteY6" fmla="*/ 47731 h 79076"/>
                <a:gd name="connsiteX7" fmla="*/ 207309 w 209445"/>
                <a:gd name="connsiteY7" fmla="*/ 47731 h 79076"/>
                <a:gd name="connsiteX8" fmla="*/ 207309 w 209445"/>
                <a:gd name="connsiteY8" fmla="*/ 56280 h 79076"/>
                <a:gd name="connsiteX9" fmla="*/ 138917 w 209445"/>
                <a:gd name="connsiteY9" fmla="*/ 79077 h 79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445" h="79076">
                  <a:moveTo>
                    <a:pt x="138917" y="79077"/>
                  </a:moveTo>
                  <a:cubicBezTo>
                    <a:pt x="136068" y="79077"/>
                    <a:pt x="130369" y="79077"/>
                    <a:pt x="127520" y="79077"/>
                  </a:cubicBezTo>
                  <a:cubicBezTo>
                    <a:pt x="87625" y="73377"/>
                    <a:pt x="4987" y="13536"/>
                    <a:pt x="2137" y="10686"/>
                  </a:cubicBezTo>
                  <a:cubicBezTo>
                    <a:pt x="-712" y="7836"/>
                    <a:pt x="-712" y="4987"/>
                    <a:pt x="2137" y="2137"/>
                  </a:cubicBezTo>
                  <a:cubicBezTo>
                    <a:pt x="4987" y="-712"/>
                    <a:pt x="7836" y="-712"/>
                    <a:pt x="10685" y="2137"/>
                  </a:cubicBezTo>
                  <a:cubicBezTo>
                    <a:pt x="10685" y="2137"/>
                    <a:pt x="96173" y="61979"/>
                    <a:pt x="133220" y="67678"/>
                  </a:cubicBezTo>
                  <a:cubicBezTo>
                    <a:pt x="167413" y="73377"/>
                    <a:pt x="198760" y="47731"/>
                    <a:pt x="198760" y="47731"/>
                  </a:cubicBezTo>
                  <a:cubicBezTo>
                    <a:pt x="201609" y="44881"/>
                    <a:pt x="204460" y="44881"/>
                    <a:pt x="207309" y="47731"/>
                  </a:cubicBezTo>
                  <a:cubicBezTo>
                    <a:pt x="210157" y="50581"/>
                    <a:pt x="210157" y="53430"/>
                    <a:pt x="207309" y="56280"/>
                  </a:cubicBezTo>
                  <a:cubicBezTo>
                    <a:pt x="198760" y="56280"/>
                    <a:pt x="173113" y="79077"/>
                    <a:pt x="138917" y="79077"/>
                  </a:cubicBezTo>
                  <a:close/>
                </a:path>
              </a:pathLst>
            </a:custGeom>
            <a:solidFill>
              <a:srgbClr val="E58777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B0AA58F4-A839-4AD4-A556-35E49F957B15}"/>
                </a:ext>
              </a:extLst>
            </p:cNvPr>
            <p:cNvSpPr/>
            <p:nvPr/>
          </p:nvSpPr>
          <p:spPr>
            <a:xfrm>
              <a:off x="19229601" y="3256834"/>
              <a:ext cx="113271" cy="276411"/>
            </a:xfrm>
            <a:custGeom>
              <a:avLst/>
              <a:gdLst>
                <a:gd name="connsiteX0" fmla="*/ 4986 w 113271"/>
                <a:gd name="connsiteY0" fmla="*/ 276412 h 276411"/>
                <a:gd name="connsiteX1" fmla="*/ 2137 w 113271"/>
                <a:gd name="connsiteY1" fmla="*/ 276412 h 276411"/>
                <a:gd name="connsiteX2" fmla="*/ 2137 w 113271"/>
                <a:gd name="connsiteY2" fmla="*/ 267863 h 276411"/>
                <a:gd name="connsiteX3" fmla="*/ 22084 w 113271"/>
                <a:gd name="connsiteY3" fmla="*/ 179525 h 276411"/>
                <a:gd name="connsiteX4" fmla="*/ 70528 w 113271"/>
                <a:gd name="connsiteY4" fmla="*/ 68391 h 276411"/>
                <a:gd name="connsiteX5" fmla="*/ 101873 w 113271"/>
                <a:gd name="connsiteY5" fmla="*/ 5699 h 276411"/>
                <a:gd name="connsiteX6" fmla="*/ 107572 w 113271"/>
                <a:gd name="connsiteY6" fmla="*/ 0 h 276411"/>
                <a:gd name="connsiteX7" fmla="*/ 113272 w 113271"/>
                <a:gd name="connsiteY7" fmla="*/ 5699 h 276411"/>
                <a:gd name="connsiteX8" fmla="*/ 79076 w 113271"/>
                <a:gd name="connsiteY8" fmla="*/ 74090 h 276411"/>
                <a:gd name="connsiteX9" fmla="*/ 33482 w 113271"/>
                <a:gd name="connsiteY9" fmla="*/ 173826 h 276411"/>
                <a:gd name="connsiteX10" fmla="*/ 10685 w 113271"/>
                <a:gd name="connsiteY10" fmla="*/ 270713 h 276411"/>
                <a:gd name="connsiteX11" fmla="*/ 4986 w 113271"/>
                <a:gd name="connsiteY11" fmla="*/ 276412 h 27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3271" h="276411">
                  <a:moveTo>
                    <a:pt x="4986" y="276412"/>
                  </a:moveTo>
                  <a:cubicBezTo>
                    <a:pt x="4986" y="276412"/>
                    <a:pt x="2137" y="276412"/>
                    <a:pt x="2137" y="276412"/>
                  </a:cubicBezTo>
                  <a:cubicBezTo>
                    <a:pt x="-712" y="273562"/>
                    <a:pt x="-712" y="270713"/>
                    <a:pt x="2137" y="267863"/>
                  </a:cubicBezTo>
                  <a:cubicBezTo>
                    <a:pt x="16385" y="250765"/>
                    <a:pt x="30633" y="213720"/>
                    <a:pt x="22084" y="179525"/>
                  </a:cubicBezTo>
                  <a:cubicBezTo>
                    <a:pt x="13536" y="142480"/>
                    <a:pt x="39181" y="96887"/>
                    <a:pt x="70528" y="68391"/>
                  </a:cubicBezTo>
                  <a:cubicBezTo>
                    <a:pt x="99024" y="45594"/>
                    <a:pt x="101873" y="5699"/>
                    <a:pt x="101873" y="5699"/>
                  </a:cubicBezTo>
                  <a:cubicBezTo>
                    <a:pt x="101873" y="2850"/>
                    <a:pt x="104722" y="0"/>
                    <a:pt x="107572" y="0"/>
                  </a:cubicBezTo>
                  <a:cubicBezTo>
                    <a:pt x="110421" y="0"/>
                    <a:pt x="113272" y="2850"/>
                    <a:pt x="113272" y="5699"/>
                  </a:cubicBezTo>
                  <a:cubicBezTo>
                    <a:pt x="113272" y="8549"/>
                    <a:pt x="110421" y="48443"/>
                    <a:pt x="79076" y="74090"/>
                  </a:cubicBezTo>
                  <a:cubicBezTo>
                    <a:pt x="50580" y="96887"/>
                    <a:pt x="27784" y="139631"/>
                    <a:pt x="33482" y="173826"/>
                  </a:cubicBezTo>
                  <a:cubicBezTo>
                    <a:pt x="42032" y="210871"/>
                    <a:pt x="27784" y="250765"/>
                    <a:pt x="10685" y="270713"/>
                  </a:cubicBezTo>
                  <a:cubicBezTo>
                    <a:pt x="7836" y="276412"/>
                    <a:pt x="7836" y="276412"/>
                    <a:pt x="4986" y="276412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EA4E5CC2-8FA2-4F3B-BDE3-37C7CC915A8E}"/>
                </a:ext>
              </a:extLst>
            </p:cNvPr>
            <p:cNvSpPr/>
            <p:nvPr/>
          </p:nvSpPr>
          <p:spPr>
            <a:xfrm>
              <a:off x="19133341" y="3606155"/>
              <a:ext cx="26444" cy="95217"/>
            </a:xfrm>
            <a:custGeom>
              <a:avLst/>
              <a:gdLst>
                <a:gd name="connsiteX0" fmla="*/ 21457 w 26444"/>
                <a:gd name="connsiteY0" fmla="*/ 95217 h 95217"/>
                <a:gd name="connsiteX1" fmla="*/ 18608 w 26444"/>
                <a:gd name="connsiteY1" fmla="*/ 95217 h 95217"/>
                <a:gd name="connsiteX2" fmla="*/ 7209 w 26444"/>
                <a:gd name="connsiteY2" fmla="*/ 4030 h 95217"/>
                <a:gd name="connsiteX3" fmla="*/ 12908 w 26444"/>
                <a:gd name="connsiteY3" fmla="*/ 1180 h 95217"/>
                <a:gd name="connsiteX4" fmla="*/ 15757 w 26444"/>
                <a:gd name="connsiteY4" fmla="*/ 6880 h 95217"/>
                <a:gd name="connsiteX5" fmla="*/ 24307 w 26444"/>
                <a:gd name="connsiteY5" fmla="*/ 83819 h 95217"/>
                <a:gd name="connsiteX6" fmla="*/ 24307 w 26444"/>
                <a:gd name="connsiteY6" fmla="*/ 92368 h 95217"/>
                <a:gd name="connsiteX7" fmla="*/ 21457 w 26444"/>
                <a:gd name="connsiteY7" fmla="*/ 95217 h 95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44" h="95217">
                  <a:moveTo>
                    <a:pt x="21457" y="95217"/>
                  </a:moveTo>
                  <a:cubicBezTo>
                    <a:pt x="21457" y="95217"/>
                    <a:pt x="18608" y="95217"/>
                    <a:pt x="18608" y="95217"/>
                  </a:cubicBezTo>
                  <a:cubicBezTo>
                    <a:pt x="-12739" y="69571"/>
                    <a:pt x="4360" y="6880"/>
                    <a:pt x="7209" y="4030"/>
                  </a:cubicBezTo>
                  <a:cubicBezTo>
                    <a:pt x="7209" y="1180"/>
                    <a:pt x="10059" y="-1669"/>
                    <a:pt x="12908" y="1180"/>
                  </a:cubicBezTo>
                  <a:cubicBezTo>
                    <a:pt x="15757" y="1180"/>
                    <a:pt x="18608" y="4030"/>
                    <a:pt x="15757" y="6880"/>
                  </a:cubicBezTo>
                  <a:cubicBezTo>
                    <a:pt x="15757" y="6880"/>
                    <a:pt x="-1340" y="63872"/>
                    <a:pt x="24307" y="83819"/>
                  </a:cubicBezTo>
                  <a:cubicBezTo>
                    <a:pt x="27156" y="86668"/>
                    <a:pt x="27156" y="89518"/>
                    <a:pt x="24307" y="92368"/>
                  </a:cubicBezTo>
                  <a:cubicBezTo>
                    <a:pt x="24307" y="95217"/>
                    <a:pt x="21457" y="95217"/>
                    <a:pt x="21457" y="95217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9DC26D5D-2D24-4CC3-B35C-5F28B8C74E73}"/>
                </a:ext>
              </a:extLst>
            </p:cNvPr>
            <p:cNvSpPr/>
            <p:nvPr/>
          </p:nvSpPr>
          <p:spPr>
            <a:xfrm>
              <a:off x="19870761" y="3237599"/>
              <a:ext cx="64115" cy="224406"/>
            </a:xfrm>
            <a:custGeom>
              <a:avLst/>
              <a:gdLst>
                <a:gd name="connsiteX0" fmla="*/ 53429 w 64115"/>
                <a:gd name="connsiteY0" fmla="*/ 221557 h 224406"/>
                <a:gd name="connsiteX1" fmla="*/ 50580 w 64115"/>
                <a:gd name="connsiteY1" fmla="*/ 221557 h 224406"/>
                <a:gd name="connsiteX2" fmla="*/ 36332 w 64115"/>
                <a:gd name="connsiteY2" fmla="*/ 84776 h 224406"/>
                <a:gd name="connsiteX3" fmla="*/ 2137 w 64115"/>
                <a:gd name="connsiteY3" fmla="*/ 10686 h 224406"/>
                <a:gd name="connsiteX4" fmla="*/ 2137 w 64115"/>
                <a:gd name="connsiteY4" fmla="*/ 2137 h 224406"/>
                <a:gd name="connsiteX5" fmla="*/ 10685 w 64115"/>
                <a:gd name="connsiteY5" fmla="*/ 2137 h 224406"/>
                <a:gd name="connsiteX6" fmla="*/ 50580 w 64115"/>
                <a:gd name="connsiteY6" fmla="*/ 87625 h 224406"/>
                <a:gd name="connsiteX7" fmla="*/ 61978 w 64115"/>
                <a:gd name="connsiteY7" fmla="*/ 215857 h 224406"/>
                <a:gd name="connsiteX8" fmla="*/ 61978 w 64115"/>
                <a:gd name="connsiteY8" fmla="*/ 224406 h 224406"/>
                <a:gd name="connsiteX9" fmla="*/ 53429 w 64115"/>
                <a:gd name="connsiteY9" fmla="*/ 221557 h 224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115" h="224406">
                  <a:moveTo>
                    <a:pt x="53429" y="221557"/>
                  </a:moveTo>
                  <a:cubicBezTo>
                    <a:pt x="53429" y="221557"/>
                    <a:pt x="50580" y="221557"/>
                    <a:pt x="50580" y="221557"/>
                  </a:cubicBezTo>
                  <a:cubicBezTo>
                    <a:pt x="19234" y="193061"/>
                    <a:pt x="24933" y="138918"/>
                    <a:pt x="36332" y="84776"/>
                  </a:cubicBezTo>
                  <a:cubicBezTo>
                    <a:pt x="44881" y="42032"/>
                    <a:pt x="2137" y="10686"/>
                    <a:pt x="2137" y="10686"/>
                  </a:cubicBezTo>
                  <a:cubicBezTo>
                    <a:pt x="-712" y="7836"/>
                    <a:pt x="-712" y="4987"/>
                    <a:pt x="2137" y="2137"/>
                  </a:cubicBezTo>
                  <a:cubicBezTo>
                    <a:pt x="4986" y="-712"/>
                    <a:pt x="7836" y="-712"/>
                    <a:pt x="10685" y="2137"/>
                  </a:cubicBezTo>
                  <a:cubicBezTo>
                    <a:pt x="13536" y="4987"/>
                    <a:pt x="59129" y="39182"/>
                    <a:pt x="50580" y="87625"/>
                  </a:cubicBezTo>
                  <a:cubicBezTo>
                    <a:pt x="39181" y="138918"/>
                    <a:pt x="33482" y="190211"/>
                    <a:pt x="61978" y="215857"/>
                  </a:cubicBezTo>
                  <a:cubicBezTo>
                    <a:pt x="64828" y="218707"/>
                    <a:pt x="64828" y="221557"/>
                    <a:pt x="61978" y="224406"/>
                  </a:cubicBezTo>
                  <a:cubicBezTo>
                    <a:pt x="56280" y="221557"/>
                    <a:pt x="53429" y="221557"/>
                    <a:pt x="53429" y="221557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E07EE636-0F58-4A6C-AEB2-1F274408AAA7}"/>
                </a:ext>
              </a:extLst>
            </p:cNvPr>
            <p:cNvSpPr/>
            <p:nvPr/>
          </p:nvSpPr>
          <p:spPr>
            <a:xfrm>
              <a:off x="19822756" y="3410712"/>
              <a:ext cx="57978" cy="108284"/>
            </a:xfrm>
            <a:custGeom>
              <a:avLst/>
              <a:gdLst>
                <a:gd name="connsiteX0" fmla="*/ 50142 w 57978"/>
                <a:gd name="connsiteY0" fmla="*/ 108285 h 108284"/>
                <a:gd name="connsiteX1" fmla="*/ 47294 w 57978"/>
                <a:gd name="connsiteY1" fmla="*/ 108285 h 108284"/>
                <a:gd name="connsiteX2" fmla="*/ 1699 w 57978"/>
                <a:gd name="connsiteY2" fmla="*/ 5699 h 108284"/>
                <a:gd name="connsiteX3" fmla="*/ 7398 w 57978"/>
                <a:gd name="connsiteY3" fmla="*/ 0 h 108284"/>
                <a:gd name="connsiteX4" fmla="*/ 13098 w 57978"/>
                <a:gd name="connsiteY4" fmla="*/ 5699 h 108284"/>
                <a:gd name="connsiteX5" fmla="*/ 55842 w 57978"/>
                <a:gd name="connsiteY5" fmla="*/ 99736 h 108284"/>
                <a:gd name="connsiteX6" fmla="*/ 55842 w 57978"/>
                <a:gd name="connsiteY6" fmla="*/ 108285 h 108284"/>
                <a:gd name="connsiteX7" fmla="*/ 50142 w 57978"/>
                <a:gd name="connsiteY7" fmla="*/ 108285 h 108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978" h="108284">
                  <a:moveTo>
                    <a:pt x="50142" y="108285"/>
                  </a:moveTo>
                  <a:cubicBezTo>
                    <a:pt x="50142" y="108285"/>
                    <a:pt x="47294" y="108285"/>
                    <a:pt x="47294" y="108285"/>
                  </a:cubicBezTo>
                  <a:cubicBezTo>
                    <a:pt x="-6850" y="68390"/>
                    <a:pt x="-1150" y="8549"/>
                    <a:pt x="1699" y="5699"/>
                  </a:cubicBezTo>
                  <a:cubicBezTo>
                    <a:pt x="1699" y="2850"/>
                    <a:pt x="4549" y="0"/>
                    <a:pt x="7398" y="0"/>
                  </a:cubicBezTo>
                  <a:cubicBezTo>
                    <a:pt x="10247" y="0"/>
                    <a:pt x="13098" y="2850"/>
                    <a:pt x="13098" y="5699"/>
                  </a:cubicBezTo>
                  <a:cubicBezTo>
                    <a:pt x="13098" y="5699"/>
                    <a:pt x="7398" y="62691"/>
                    <a:pt x="55842" y="99736"/>
                  </a:cubicBezTo>
                  <a:cubicBezTo>
                    <a:pt x="58691" y="102586"/>
                    <a:pt x="58691" y="105435"/>
                    <a:pt x="55842" y="108285"/>
                  </a:cubicBezTo>
                  <a:cubicBezTo>
                    <a:pt x="55842" y="105435"/>
                    <a:pt x="52991" y="108285"/>
                    <a:pt x="50142" y="108285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3" name="图形 1">
              <a:extLst>
                <a:ext uri="{FF2B5EF4-FFF2-40B4-BE49-F238E27FC236}">
                  <a16:creationId xmlns:a16="http://schemas.microsoft.com/office/drawing/2014/main" id="{59288B9D-29D5-4210-A5AB-CEB05357395C}"/>
                </a:ext>
              </a:extLst>
            </p:cNvPr>
            <p:cNvGrpSpPr/>
            <p:nvPr/>
          </p:nvGrpSpPr>
          <p:grpSpPr>
            <a:xfrm>
              <a:off x="18735905" y="4410924"/>
              <a:ext cx="1558733" cy="1544572"/>
              <a:chOff x="18735905" y="4410924"/>
              <a:chExt cx="1558733" cy="1544572"/>
            </a:xfrm>
          </p:grpSpPr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184A3CAA-27EE-4E77-A938-FC26799482AF}"/>
                  </a:ext>
                </a:extLst>
              </p:cNvPr>
              <p:cNvSpPr/>
              <p:nvPr/>
            </p:nvSpPr>
            <p:spPr>
              <a:xfrm>
                <a:off x="18735905" y="4410924"/>
                <a:ext cx="1558733" cy="1544572"/>
              </a:xfrm>
              <a:custGeom>
                <a:avLst/>
                <a:gdLst>
                  <a:gd name="connsiteX0" fmla="*/ 0 w 1558733"/>
                  <a:gd name="connsiteY0" fmla="*/ 1296570 h 1544572"/>
                  <a:gd name="connsiteX1" fmla="*/ 31347 w 1558733"/>
                  <a:gd name="connsiteY1" fmla="*/ 1322216 h 1544572"/>
                  <a:gd name="connsiteX2" fmla="*/ 1558734 w 1558733"/>
                  <a:gd name="connsiteY2" fmla="*/ 1467546 h 1544572"/>
                  <a:gd name="connsiteX3" fmla="*/ 1424802 w 1558733"/>
                  <a:gd name="connsiteY3" fmla="*/ 1185435 h 1544572"/>
                  <a:gd name="connsiteX4" fmla="*/ 1416254 w 1558733"/>
                  <a:gd name="connsiteY4" fmla="*/ 1159789 h 1544572"/>
                  <a:gd name="connsiteX5" fmla="*/ 1336465 w 1558733"/>
                  <a:gd name="connsiteY5" fmla="*/ 889076 h 1544572"/>
                  <a:gd name="connsiteX6" fmla="*/ 1330766 w 1558733"/>
                  <a:gd name="connsiteY6" fmla="*/ 860580 h 1544572"/>
                  <a:gd name="connsiteX7" fmla="*/ 1290872 w 1558733"/>
                  <a:gd name="connsiteY7" fmla="*/ 521477 h 1544572"/>
                  <a:gd name="connsiteX8" fmla="*/ 1290872 w 1558733"/>
                  <a:gd name="connsiteY8" fmla="*/ 492981 h 1544572"/>
                  <a:gd name="connsiteX9" fmla="*/ 1288021 w 1558733"/>
                  <a:gd name="connsiteY9" fmla="*/ 430290 h 1544572"/>
                  <a:gd name="connsiteX10" fmla="*/ 1245277 w 1558733"/>
                  <a:gd name="connsiteY10" fmla="*/ 190923 h 1544572"/>
                  <a:gd name="connsiteX11" fmla="*/ 1236729 w 1558733"/>
                  <a:gd name="connsiteY11" fmla="*/ 162427 h 1544572"/>
                  <a:gd name="connsiteX12" fmla="*/ 1179737 w 1558733"/>
                  <a:gd name="connsiteY12" fmla="*/ 17098 h 1544572"/>
                  <a:gd name="connsiteX13" fmla="*/ 552824 w 1558733"/>
                  <a:gd name="connsiteY13" fmla="*/ 0 h 1544572"/>
                  <a:gd name="connsiteX14" fmla="*/ 484433 w 1558733"/>
                  <a:gd name="connsiteY14" fmla="*/ 94037 h 1544572"/>
                  <a:gd name="connsiteX15" fmla="*/ 470185 w 1558733"/>
                  <a:gd name="connsiteY15" fmla="*/ 116834 h 1544572"/>
                  <a:gd name="connsiteX16" fmla="*/ 470185 w 1558733"/>
                  <a:gd name="connsiteY16" fmla="*/ 116834 h 1544572"/>
                  <a:gd name="connsiteX17" fmla="*/ 319156 w 1558733"/>
                  <a:gd name="connsiteY17" fmla="*/ 430290 h 1544572"/>
                  <a:gd name="connsiteX18" fmla="*/ 307759 w 1558733"/>
                  <a:gd name="connsiteY18" fmla="*/ 455937 h 1544572"/>
                  <a:gd name="connsiteX19" fmla="*/ 176676 w 1558733"/>
                  <a:gd name="connsiteY19" fmla="*/ 829235 h 1544572"/>
                  <a:gd name="connsiteX20" fmla="*/ 168127 w 1558733"/>
                  <a:gd name="connsiteY20" fmla="*/ 857731 h 1544572"/>
                  <a:gd name="connsiteX21" fmla="*/ 8550 w 1558733"/>
                  <a:gd name="connsiteY21" fmla="*/ 1285171 h 1544572"/>
                  <a:gd name="connsiteX22" fmla="*/ 8550 w 1558733"/>
                  <a:gd name="connsiteY22" fmla="*/ 1285171 h 1544572"/>
                  <a:gd name="connsiteX23" fmla="*/ 0 w 1558733"/>
                  <a:gd name="connsiteY23" fmla="*/ 1296570 h 1544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558733" h="1544572">
                    <a:moveTo>
                      <a:pt x="0" y="1296570"/>
                    </a:moveTo>
                    <a:cubicBezTo>
                      <a:pt x="11399" y="1305119"/>
                      <a:pt x="22798" y="1313667"/>
                      <a:pt x="31347" y="1322216"/>
                    </a:cubicBezTo>
                    <a:cubicBezTo>
                      <a:pt x="378999" y="1570132"/>
                      <a:pt x="1011610" y="1598628"/>
                      <a:pt x="1558734" y="1467546"/>
                    </a:cubicBezTo>
                    <a:cubicBezTo>
                      <a:pt x="1501742" y="1367810"/>
                      <a:pt x="1458998" y="1273773"/>
                      <a:pt x="1424802" y="1185435"/>
                    </a:cubicBezTo>
                    <a:cubicBezTo>
                      <a:pt x="1421953" y="1176887"/>
                      <a:pt x="1419104" y="1168338"/>
                      <a:pt x="1416254" y="1159789"/>
                    </a:cubicBezTo>
                    <a:cubicBezTo>
                      <a:pt x="1379209" y="1062903"/>
                      <a:pt x="1353562" y="971715"/>
                      <a:pt x="1336465" y="889076"/>
                    </a:cubicBezTo>
                    <a:cubicBezTo>
                      <a:pt x="1333616" y="880528"/>
                      <a:pt x="1330766" y="869129"/>
                      <a:pt x="1330766" y="860580"/>
                    </a:cubicBezTo>
                    <a:cubicBezTo>
                      <a:pt x="1302270" y="723799"/>
                      <a:pt x="1293721" y="612665"/>
                      <a:pt x="1290872" y="521477"/>
                    </a:cubicBezTo>
                    <a:cubicBezTo>
                      <a:pt x="1290872" y="510079"/>
                      <a:pt x="1290872" y="501530"/>
                      <a:pt x="1290872" y="492981"/>
                    </a:cubicBezTo>
                    <a:cubicBezTo>
                      <a:pt x="1290872" y="470185"/>
                      <a:pt x="1288021" y="450237"/>
                      <a:pt x="1288021" y="430290"/>
                    </a:cubicBezTo>
                    <a:cubicBezTo>
                      <a:pt x="1282322" y="344802"/>
                      <a:pt x="1265225" y="259314"/>
                      <a:pt x="1245277" y="190923"/>
                    </a:cubicBezTo>
                    <a:cubicBezTo>
                      <a:pt x="1242429" y="182375"/>
                      <a:pt x="1239578" y="170976"/>
                      <a:pt x="1236729" y="162427"/>
                    </a:cubicBezTo>
                    <a:cubicBezTo>
                      <a:pt x="1208233" y="65541"/>
                      <a:pt x="1179737" y="17098"/>
                      <a:pt x="1179737" y="17098"/>
                    </a:cubicBezTo>
                    <a:cubicBezTo>
                      <a:pt x="1179737" y="17098"/>
                      <a:pt x="909024" y="37045"/>
                      <a:pt x="552824" y="0"/>
                    </a:cubicBezTo>
                    <a:cubicBezTo>
                      <a:pt x="530027" y="28496"/>
                      <a:pt x="507231" y="62691"/>
                      <a:pt x="484433" y="94037"/>
                    </a:cubicBezTo>
                    <a:cubicBezTo>
                      <a:pt x="478735" y="102586"/>
                      <a:pt x="473035" y="111134"/>
                      <a:pt x="470185" y="116834"/>
                    </a:cubicBezTo>
                    <a:lnTo>
                      <a:pt x="470185" y="116834"/>
                    </a:lnTo>
                    <a:cubicBezTo>
                      <a:pt x="413193" y="210871"/>
                      <a:pt x="361900" y="319156"/>
                      <a:pt x="319156" y="430290"/>
                    </a:cubicBezTo>
                    <a:cubicBezTo>
                      <a:pt x="316307" y="438839"/>
                      <a:pt x="313456" y="447388"/>
                      <a:pt x="307759" y="455937"/>
                    </a:cubicBezTo>
                    <a:cubicBezTo>
                      <a:pt x="262164" y="578470"/>
                      <a:pt x="219420" y="703852"/>
                      <a:pt x="176676" y="829235"/>
                    </a:cubicBezTo>
                    <a:cubicBezTo>
                      <a:pt x="173827" y="837783"/>
                      <a:pt x="170976" y="846332"/>
                      <a:pt x="168127" y="857731"/>
                    </a:cubicBezTo>
                    <a:cubicBezTo>
                      <a:pt x="116835" y="1008760"/>
                      <a:pt x="68391" y="1156939"/>
                      <a:pt x="8550" y="1285171"/>
                    </a:cubicBezTo>
                    <a:lnTo>
                      <a:pt x="8550" y="1285171"/>
                    </a:lnTo>
                    <a:cubicBezTo>
                      <a:pt x="2851" y="1290871"/>
                      <a:pt x="0" y="1293720"/>
                      <a:pt x="0" y="129657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6F54C7DF-C48B-4E04-8DE3-0BDFA7FBCE0B}"/>
                  </a:ext>
                </a:extLst>
              </p:cNvPr>
              <p:cNvSpPr/>
              <p:nvPr/>
            </p:nvSpPr>
            <p:spPr>
              <a:xfrm>
                <a:off x="19200392" y="4502111"/>
                <a:ext cx="775090" cy="134694"/>
              </a:xfrm>
              <a:custGeom>
                <a:avLst/>
                <a:gdLst>
                  <a:gd name="connsiteX0" fmla="*/ 0 w 775090"/>
                  <a:gd name="connsiteY0" fmla="*/ 25646 h 134694"/>
                  <a:gd name="connsiteX1" fmla="*/ 367598 w 775090"/>
                  <a:gd name="connsiteY1" fmla="*/ 128232 h 134694"/>
                  <a:gd name="connsiteX2" fmla="*/ 775091 w 775090"/>
                  <a:gd name="connsiteY2" fmla="*/ 94037 h 134694"/>
                  <a:gd name="connsiteX3" fmla="*/ 766543 w 775090"/>
                  <a:gd name="connsiteY3" fmla="*/ 65541 h 134694"/>
                  <a:gd name="connsiteX4" fmla="*/ 390394 w 775090"/>
                  <a:gd name="connsiteY4" fmla="*/ 99736 h 134694"/>
                  <a:gd name="connsiteX5" fmla="*/ 14248 w 775090"/>
                  <a:gd name="connsiteY5" fmla="*/ 0 h 134694"/>
                  <a:gd name="connsiteX6" fmla="*/ 0 w 775090"/>
                  <a:gd name="connsiteY6" fmla="*/ 25646 h 134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5090" h="134694">
                    <a:moveTo>
                      <a:pt x="0" y="25646"/>
                    </a:moveTo>
                    <a:cubicBezTo>
                      <a:pt x="108285" y="96887"/>
                      <a:pt x="239366" y="119683"/>
                      <a:pt x="367598" y="128232"/>
                    </a:cubicBezTo>
                    <a:cubicBezTo>
                      <a:pt x="501530" y="136781"/>
                      <a:pt x="646859" y="145330"/>
                      <a:pt x="775091" y="94037"/>
                    </a:cubicBezTo>
                    <a:cubicBezTo>
                      <a:pt x="772242" y="85488"/>
                      <a:pt x="769393" y="74090"/>
                      <a:pt x="766543" y="65541"/>
                    </a:cubicBezTo>
                    <a:cubicBezTo>
                      <a:pt x="649709" y="111135"/>
                      <a:pt x="515778" y="105435"/>
                      <a:pt x="390394" y="99736"/>
                    </a:cubicBezTo>
                    <a:cubicBezTo>
                      <a:pt x="259313" y="91187"/>
                      <a:pt x="125382" y="71240"/>
                      <a:pt x="14248" y="0"/>
                    </a:cubicBezTo>
                    <a:cubicBezTo>
                      <a:pt x="8548" y="11398"/>
                      <a:pt x="2849" y="17098"/>
                      <a:pt x="0" y="25646"/>
                    </a:cubicBezTo>
                    <a:close/>
                  </a:path>
                </a:pathLst>
              </a:custGeom>
              <a:solidFill>
                <a:srgbClr val="F1DDB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CB4B558F-7492-47D4-B388-876449D922B6}"/>
                  </a:ext>
                </a:extLst>
              </p:cNvPr>
              <p:cNvSpPr/>
              <p:nvPr/>
            </p:nvSpPr>
            <p:spPr>
              <a:xfrm>
                <a:off x="19037964" y="4846913"/>
                <a:ext cx="985962" cy="128856"/>
              </a:xfrm>
              <a:custGeom>
                <a:avLst/>
                <a:gdLst>
                  <a:gd name="connsiteX0" fmla="*/ 0 w 985962"/>
                  <a:gd name="connsiteY0" fmla="*/ 22797 h 128856"/>
                  <a:gd name="connsiteX1" fmla="*/ 549973 w 985962"/>
                  <a:gd name="connsiteY1" fmla="*/ 128232 h 128856"/>
                  <a:gd name="connsiteX2" fmla="*/ 985962 w 985962"/>
                  <a:gd name="connsiteY2" fmla="*/ 85488 h 128856"/>
                  <a:gd name="connsiteX3" fmla="*/ 985962 w 985962"/>
                  <a:gd name="connsiteY3" fmla="*/ 56992 h 128856"/>
                  <a:gd name="connsiteX4" fmla="*/ 549973 w 985962"/>
                  <a:gd name="connsiteY4" fmla="*/ 102586 h 128856"/>
                  <a:gd name="connsiteX5" fmla="*/ 11397 w 985962"/>
                  <a:gd name="connsiteY5" fmla="*/ 0 h 128856"/>
                  <a:gd name="connsiteX6" fmla="*/ 0 w 985962"/>
                  <a:gd name="connsiteY6" fmla="*/ 22797 h 128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85962" h="128856">
                    <a:moveTo>
                      <a:pt x="0" y="22797"/>
                    </a:moveTo>
                    <a:cubicBezTo>
                      <a:pt x="173825" y="94037"/>
                      <a:pt x="361900" y="125383"/>
                      <a:pt x="549973" y="128232"/>
                    </a:cubicBezTo>
                    <a:cubicBezTo>
                      <a:pt x="692453" y="131082"/>
                      <a:pt x="846333" y="125383"/>
                      <a:pt x="985962" y="85488"/>
                    </a:cubicBezTo>
                    <a:cubicBezTo>
                      <a:pt x="985962" y="74090"/>
                      <a:pt x="985962" y="65541"/>
                      <a:pt x="985962" y="56992"/>
                    </a:cubicBezTo>
                    <a:cubicBezTo>
                      <a:pt x="846333" y="99736"/>
                      <a:pt x="692453" y="105435"/>
                      <a:pt x="549973" y="102586"/>
                    </a:cubicBezTo>
                    <a:cubicBezTo>
                      <a:pt x="364749" y="99736"/>
                      <a:pt x="182374" y="68391"/>
                      <a:pt x="11397" y="0"/>
                    </a:cubicBezTo>
                    <a:cubicBezTo>
                      <a:pt x="5700" y="5699"/>
                      <a:pt x="2849" y="14248"/>
                      <a:pt x="0" y="22797"/>
                    </a:cubicBezTo>
                    <a:close/>
                  </a:path>
                </a:pathLst>
              </a:custGeom>
              <a:solidFill>
                <a:srgbClr val="F1DDB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9800E43D-67B8-4038-B1CF-11C823DA9554}"/>
                  </a:ext>
                </a:extLst>
              </p:cNvPr>
              <p:cNvSpPr/>
              <p:nvPr/>
            </p:nvSpPr>
            <p:spPr>
              <a:xfrm>
                <a:off x="18898333" y="5240158"/>
                <a:ext cx="1171188" cy="141446"/>
              </a:xfrm>
              <a:custGeom>
                <a:avLst/>
                <a:gdLst>
                  <a:gd name="connsiteX0" fmla="*/ 0 w 1171188"/>
                  <a:gd name="connsiteY0" fmla="*/ 28496 h 141446"/>
                  <a:gd name="connsiteX1" fmla="*/ 552824 w 1171188"/>
                  <a:gd name="connsiteY1" fmla="*/ 139631 h 141446"/>
                  <a:gd name="connsiteX2" fmla="*/ 1171188 w 1171188"/>
                  <a:gd name="connsiteY2" fmla="*/ 56992 h 141446"/>
                  <a:gd name="connsiteX3" fmla="*/ 1165489 w 1171188"/>
                  <a:gd name="connsiteY3" fmla="*/ 28496 h 141446"/>
                  <a:gd name="connsiteX4" fmla="*/ 581320 w 1171188"/>
                  <a:gd name="connsiteY4" fmla="*/ 111135 h 141446"/>
                  <a:gd name="connsiteX5" fmla="*/ 8548 w 1171188"/>
                  <a:gd name="connsiteY5" fmla="*/ 0 h 141446"/>
                  <a:gd name="connsiteX6" fmla="*/ 0 w 1171188"/>
                  <a:gd name="connsiteY6" fmla="*/ 28496 h 141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71188" h="141446">
                    <a:moveTo>
                      <a:pt x="0" y="28496"/>
                    </a:moveTo>
                    <a:cubicBezTo>
                      <a:pt x="168127" y="113984"/>
                      <a:pt x="364749" y="133932"/>
                      <a:pt x="552824" y="139631"/>
                    </a:cubicBezTo>
                    <a:cubicBezTo>
                      <a:pt x="763694" y="145330"/>
                      <a:pt x="980265" y="142480"/>
                      <a:pt x="1171188" y="56992"/>
                    </a:cubicBezTo>
                    <a:cubicBezTo>
                      <a:pt x="1168338" y="48443"/>
                      <a:pt x="1165489" y="37045"/>
                      <a:pt x="1165489" y="28496"/>
                    </a:cubicBezTo>
                    <a:cubicBezTo>
                      <a:pt x="985964" y="108285"/>
                      <a:pt x="780792" y="116834"/>
                      <a:pt x="581320" y="111135"/>
                    </a:cubicBezTo>
                    <a:cubicBezTo>
                      <a:pt x="384697" y="105435"/>
                      <a:pt x="182375" y="91187"/>
                      <a:pt x="8548" y="0"/>
                    </a:cubicBezTo>
                    <a:cubicBezTo>
                      <a:pt x="5700" y="11398"/>
                      <a:pt x="2851" y="19947"/>
                      <a:pt x="0" y="28496"/>
                    </a:cubicBezTo>
                    <a:close/>
                  </a:path>
                </a:pathLst>
              </a:custGeom>
              <a:solidFill>
                <a:srgbClr val="F1DDB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52940E7B-A3A3-432A-A5B0-4360F304244E}"/>
                  </a:ext>
                </a:extLst>
              </p:cNvPr>
              <p:cNvSpPr/>
              <p:nvPr/>
            </p:nvSpPr>
            <p:spPr>
              <a:xfrm>
                <a:off x="18735905" y="5570712"/>
                <a:ext cx="1424802" cy="190259"/>
              </a:xfrm>
              <a:custGeom>
                <a:avLst/>
                <a:gdLst>
                  <a:gd name="connsiteX0" fmla="*/ 0 w 1424802"/>
                  <a:gd name="connsiteY0" fmla="*/ 136781 h 190259"/>
                  <a:gd name="connsiteX1" fmla="*/ 31347 w 1424802"/>
                  <a:gd name="connsiteY1" fmla="*/ 162427 h 190259"/>
                  <a:gd name="connsiteX2" fmla="*/ 735199 w 1424802"/>
                  <a:gd name="connsiteY2" fmla="*/ 170976 h 190259"/>
                  <a:gd name="connsiteX3" fmla="*/ 1424802 w 1424802"/>
                  <a:gd name="connsiteY3" fmla="*/ 25646 h 190259"/>
                  <a:gd name="connsiteX4" fmla="*/ 1416254 w 1424802"/>
                  <a:gd name="connsiteY4" fmla="*/ 0 h 190259"/>
                  <a:gd name="connsiteX5" fmla="*/ 709552 w 1424802"/>
                  <a:gd name="connsiteY5" fmla="*/ 145330 h 190259"/>
                  <a:gd name="connsiteX6" fmla="*/ 5700 w 1424802"/>
                  <a:gd name="connsiteY6" fmla="*/ 128232 h 190259"/>
                  <a:gd name="connsiteX7" fmla="*/ 0 w 1424802"/>
                  <a:gd name="connsiteY7" fmla="*/ 136781 h 190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24802" h="190259">
                    <a:moveTo>
                      <a:pt x="0" y="136781"/>
                    </a:moveTo>
                    <a:cubicBezTo>
                      <a:pt x="11399" y="145330"/>
                      <a:pt x="22798" y="153878"/>
                      <a:pt x="31347" y="162427"/>
                    </a:cubicBezTo>
                    <a:cubicBezTo>
                      <a:pt x="262164" y="199472"/>
                      <a:pt x="498681" y="196623"/>
                      <a:pt x="735199" y="170976"/>
                    </a:cubicBezTo>
                    <a:cubicBezTo>
                      <a:pt x="968865" y="145330"/>
                      <a:pt x="1205384" y="111134"/>
                      <a:pt x="1424802" y="25646"/>
                    </a:cubicBezTo>
                    <a:cubicBezTo>
                      <a:pt x="1421953" y="17098"/>
                      <a:pt x="1419104" y="8549"/>
                      <a:pt x="1416254" y="0"/>
                    </a:cubicBezTo>
                    <a:cubicBezTo>
                      <a:pt x="1191136" y="88338"/>
                      <a:pt x="948920" y="119683"/>
                      <a:pt x="709552" y="145330"/>
                    </a:cubicBezTo>
                    <a:cubicBezTo>
                      <a:pt x="470185" y="170976"/>
                      <a:pt x="236519" y="170976"/>
                      <a:pt x="5700" y="128232"/>
                    </a:cubicBezTo>
                    <a:cubicBezTo>
                      <a:pt x="2851" y="131082"/>
                      <a:pt x="0" y="133931"/>
                      <a:pt x="0" y="136781"/>
                    </a:cubicBezTo>
                    <a:close/>
                  </a:path>
                </a:pathLst>
              </a:custGeom>
              <a:solidFill>
                <a:srgbClr val="F1DDB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74F15454-56A8-429B-B6DB-17F8B91ADF62}"/>
                </a:ext>
              </a:extLst>
            </p:cNvPr>
            <p:cNvSpPr/>
            <p:nvPr/>
          </p:nvSpPr>
          <p:spPr>
            <a:xfrm>
              <a:off x="19277330" y="4373879"/>
              <a:ext cx="638312" cy="61081"/>
            </a:xfrm>
            <a:custGeom>
              <a:avLst/>
              <a:gdLst>
                <a:gd name="connsiteX0" fmla="*/ 0 w 638312"/>
                <a:gd name="connsiteY0" fmla="*/ 39895 h 61081"/>
                <a:gd name="connsiteX1" fmla="*/ 632613 w 638312"/>
                <a:gd name="connsiteY1" fmla="*/ 54143 h 61081"/>
                <a:gd name="connsiteX2" fmla="*/ 638312 w 638312"/>
                <a:gd name="connsiteY2" fmla="*/ 11398 h 61081"/>
                <a:gd name="connsiteX3" fmla="*/ 5700 w 638312"/>
                <a:gd name="connsiteY3" fmla="*/ 0 h 61081"/>
                <a:gd name="connsiteX4" fmla="*/ 0 w 638312"/>
                <a:gd name="connsiteY4" fmla="*/ 39895 h 6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8312" h="61081">
                  <a:moveTo>
                    <a:pt x="0" y="39895"/>
                  </a:moveTo>
                  <a:cubicBezTo>
                    <a:pt x="173827" y="76939"/>
                    <a:pt x="632613" y="54143"/>
                    <a:pt x="632613" y="54143"/>
                  </a:cubicBezTo>
                  <a:lnTo>
                    <a:pt x="638312" y="11398"/>
                  </a:lnTo>
                  <a:cubicBezTo>
                    <a:pt x="638312" y="11398"/>
                    <a:pt x="253615" y="37045"/>
                    <a:pt x="5700" y="0"/>
                  </a:cubicBezTo>
                  <a:lnTo>
                    <a:pt x="0" y="39895"/>
                  </a:ln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9D9C9BF5-0623-4B86-B94D-5BDBFDC2E75B}"/>
                </a:ext>
              </a:extLst>
            </p:cNvPr>
            <p:cNvSpPr/>
            <p:nvPr/>
          </p:nvSpPr>
          <p:spPr>
            <a:xfrm>
              <a:off x="18724273" y="3607998"/>
              <a:ext cx="622834" cy="928308"/>
            </a:xfrm>
            <a:custGeom>
              <a:avLst/>
              <a:gdLst>
                <a:gd name="connsiteX0" fmla="*/ 478968 w 622834"/>
                <a:gd name="connsiteY0" fmla="*/ 13585 h 928308"/>
                <a:gd name="connsiteX1" fmla="*/ 567306 w 622834"/>
                <a:gd name="connsiteY1" fmla="*/ 233005 h 928308"/>
                <a:gd name="connsiteX2" fmla="*/ 182609 w 622834"/>
                <a:gd name="connsiteY2" fmla="*/ 478071 h 928308"/>
                <a:gd name="connsiteX3" fmla="*/ 213956 w 622834"/>
                <a:gd name="connsiteY3" fmla="*/ 905512 h 928308"/>
                <a:gd name="connsiteX4" fmla="*/ 94272 w 622834"/>
                <a:gd name="connsiteY4" fmla="*/ 928308 h 928308"/>
                <a:gd name="connsiteX5" fmla="*/ 235 w 622834"/>
                <a:gd name="connsiteY5" fmla="*/ 395432 h 928308"/>
                <a:gd name="connsiteX6" fmla="*/ 478968 w 622834"/>
                <a:gd name="connsiteY6" fmla="*/ 13585 h 92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2834" h="928308">
                  <a:moveTo>
                    <a:pt x="478968" y="13585"/>
                  </a:moveTo>
                  <a:cubicBezTo>
                    <a:pt x="638546" y="-54805"/>
                    <a:pt x="661344" y="153216"/>
                    <a:pt x="567306" y="233005"/>
                  </a:cubicBezTo>
                  <a:cubicBezTo>
                    <a:pt x="476120" y="312794"/>
                    <a:pt x="245301" y="432477"/>
                    <a:pt x="182609" y="478071"/>
                  </a:cubicBezTo>
                  <a:cubicBezTo>
                    <a:pt x="151264" y="560709"/>
                    <a:pt x="213956" y="905512"/>
                    <a:pt x="213956" y="905512"/>
                  </a:cubicBezTo>
                  <a:cubicBezTo>
                    <a:pt x="185460" y="911211"/>
                    <a:pt x="94272" y="928308"/>
                    <a:pt x="94272" y="928308"/>
                  </a:cubicBezTo>
                  <a:cubicBezTo>
                    <a:pt x="94272" y="928308"/>
                    <a:pt x="-5464" y="520815"/>
                    <a:pt x="235" y="395432"/>
                  </a:cubicBezTo>
                  <a:cubicBezTo>
                    <a:pt x="5935" y="329891"/>
                    <a:pt x="313692" y="84825"/>
                    <a:pt x="478968" y="13585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0B39A39F-0B55-4093-B85D-87F774DC9C85}"/>
                </a:ext>
              </a:extLst>
            </p:cNvPr>
            <p:cNvSpPr/>
            <p:nvPr/>
          </p:nvSpPr>
          <p:spPr>
            <a:xfrm>
              <a:off x="19026565" y="3556823"/>
              <a:ext cx="396284" cy="401013"/>
            </a:xfrm>
            <a:custGeom>
              <a:avLst/>
              <a:gdLst>
                <a:gd name="connsiteX0" fmla="*/ 0 w 396284"/>
                <a:gd name="connsiteY0" fmla="*/ 113203 h 401013"/>
                <a:gd name="connsiteX1" fmla="*/ 367600 w 396284"/>
                <a:gd name="connsiteY1" fmla="*/ 22016 h 401013"/>
                <a:gd name="connsiteX2" fmla="*/ 202323 w 396284"/>
                <a:gd name="connsiteY2" fmla="*/ 401013 h 401013"/>
                <a:gd name="connsiteX3" fmla="*/ 0 w 396284"/>
                <a:gd name="connsiteY3" fmla="*/ 113203 h 401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6284" h="401013">
                  <a:moveTo>
                    <a:pt x="0" y="113203"/>
                  </a:moveTo>
                  <a:cubicBezTo>
                    <a:pt x="128232" y="-781"/>
                    <a:pt x="307757" y="-23578"/>
                    <a:pt x="367600" y="22016"/>
                  </a:cubicBezTo>
                  <a:cubicBezTo>
                    <a:pt x="444539" y="81858"/>
                    <a:pt x="359051" y="289879"/>
                    <a:pt x="202323" y="401013"/>
                  </a:cubicBezTo>
                  <a:cubicBezTo>
                    <a:pt x="136781" y="375367"/>
                    <a:pt x="37045" y="201541"/>
                    <a:pt x="0" y="113203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4A35B096-7429-42F7-9D90-C05708CCAB4F}"/>
                </a:ext>
              </a:extLst>
            </p:cNvPr>
            <p:cNvSpPr/>
            <p:nvPr/>
          </p:nvSpPr>
          <p:spPr>
            <a:xfrm>
              <a:off x="19127885" y="3580422"/>
              <a:ext cx="301437" cy="383113"/>
            </a:xfrm>
            <a:custGeom>
              <a:avLst/>
              <a:gdLst>
                <a:gd name="connsiteX0" fmla="*/ 101003 w 301437"/>
                <a:gd name="connsiteY0" fmla="*/ 383113 h 383113"/>
                <a:gd name="connsiteX1" fmla="*/ 101003 w 301437"/>
                <a:gd name="connsiteY1" fmla="*/ 383113 h 383113"/>
                <a:gd name="connsiteX2" fmla="*/ 1267 w 301437"/>
                <a:gd name="connsiteY2" fmla="*/ 283377 h 383113"/>
                <a:gd name="connsiteX3" fmla="*/ 1267 w 301437"/>
                <a:gd name="connsiteY3" fmla="*/ 274829 h 383113"/>
                <a:gd name="connsiteX4" fmla="*/ 9815 w 301437"/>
                <a:gd name="connsiteY4" fmla="*/ 274829 h 383113"/>
                <a:gd name="connsiteX5" fmla="*/ 101003 w 301437"/>
                <a:gd name="connsiteY5" fmla="*/ 368865 h 383113"/>
                <a:gd name="connsiteX6" fmla="*/ 271979 w 301437"/>
                <a:gd name="connsiteY6" fmla="*/ 155145 h 383113"/>
                <a:gd name="connsiteX7" fmla="*/ 274828 w 301437"/>
                <a:gd name="connsiteY7" fmla="*/ 146596 h 383113"/>
                <a:gd name="connsiteX8" fmla="*/ 274828 w 301437"/>
                <a:gd name="connsiteY8" fmla="*/ 9815 h 383113"/>
                <a:gd name="connsiteX9" fmla="*/ 274828 w 301437"/>
                <a:gd name="connsiteY9" fmla="*/ 1266 h 383113"/>
                <a:gd name="connsiteX10" fmla="*/ 283377 w 301437"/>
                <a:gd name="connsiteY10" fmla="*/ 1266 h 383113"/>
                <a:gd name="connsiteX11" fmla="*/ 283377 w 301437"/>
                <a:gd name="connsiteY11" fmla="*/ 149446 h 383113"/>
                <a:gd name="connsiteX12" fmla="*/ 280528 w 301437"/>
                <a:gd name="connsiteY12" fmla="*/ 157995 h 383113"/>
                <a:gd name="connsiteX13" fmla="*/ 101003 w 301437"/>
                <a:gd name="connsiteY13" fmla="*/ 383113 h 383113"/>
                <a:gd name="connsiteX14" fmla="*/ 101003 w 301437"/>
                <a:gd name="connsiteY14" fmla="*/ 383113 h 383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1437" h="383113">
                  <a:moveTo>
                    <a:pt x="101003" y="383113"/>
                  </a:moveTo>
                  <a:lnTo>
                    <a:pt x="101003" y="383113"/>
                  </a:lnTo>
                  <a:cubicBezTo>
                    <a:pt x="72507" y="371715"/>
                    <a:pt x="44011" y="340369"/>
                    <a:pt x="1267" y="283377"/>
                  </a:cubicBezTo>
                  <a:cubicBezTo>
                    <a:pt x="-1584" y="280528"/>
                    <a:pt x="1267" y="277678"/>
                    <a:pt x="1267" y="274829"/>
                  </a:cubicBezTo>
                  <a:cubicBezTo>
                    <a:pt x="4116" y="271979"/>
                    <a:pt x="6965" y="274829"/>
                    <a:pt x="9815" y="274829"/>
                  </a:cubicBezTo>
                  <a:cubicBezTo>
                    <a:pt x="49709" y="326121"/>
                    <a:pt x="78205" y="360317"/>
                    <a:pt x="101003" y="368865"/>
                  </a:cubicBezTo>
                  <a:cubicBezTo>
                    <a:pt x="129499" y="351768"/>
                    <a:pt x="240633" y="246333"/>
                    <a:pt x="271979" y="155145"/>
                  </a:cubicBezTo>
                  <a:cubicBezTo>
                    <a:pt x="271979" y="152296"/>
                    <a:pt x="274828" y="149446"/>
                    <a:pt x="274828" y="146596"/>
                  </a:cubicBezTo>
                  <a:cubicBezTo>
                    <a:pt x="286227" y="118100"/>
                    <a:pt x="306173" y="55409"/>
                    <a:pt x="274828" y="9815"/>
                  </a:cubicBezTo>
                  <a:cubicBezTo>
                    <a:pt x="271979" y="6966"/>
                    <a:pt x="274828" y="4116"/>
                    <a:pt x="274828" y="1266"/>
                  </a:cubicBezTo>
                  <a:cubicBezTo>
                    <a:pt x="277677" y="-1583"/>
                    <a:pt x="280528" y="1266"/>
                    <a:pt x="283377" y="1266"/>
                  </a:cubicBezTo>
                  <a:cubicBezTo>
                    <a:pt x="317572" y="52559"/>
                    <a:pt x="294776" y="118100"/>
                    <a:pt x="283377" y="149446"/>
                  </a:cubicBezTo>
                  <a:cubicBezTo>
                    <a:pt x="283377" y="152296"/>
                    <a:pt x="280528" y="155145"/>
                    <a:pt x="280528" y="157995"/>
                  </a:cubicBezTo>
                  <a:cubicBezTo>
                    <a:pt x="249181" y="257731"/>
                    <a:pt x="129499" y="366016"/>
                    <a:pt x="101003" y="383113"/>
                  </a:cubicBezTo>
                  <a:lnTo>
                    <a:pt x="101003" y="383113"/>
                  </a:ln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8" name="图形 1">
              <a:extLst>
                <a:ext uri="{FF2B5EF4-FFF2-40B4-BE49-F238E27FC236}">
                  <a16:creationId xmlns:a16="http://schemas.microsoft.com/office/drawing/2014/main" id="{4071A149-331F-4C57-8C1C-6C9555DAA6E0}"/>
                </a:ext>
              </a:extLst>
            </p:cNvPr>
            <p:cNvGrpSpPr/>
            <p:nvPr/>
          </p:nvGrpSpPr>
          <p:grpSpPr>
            <a:xfrm>
              <a:off x="19306759" y="3083008"/>
              <a:ext cx="560986" cy="213720"/>
              <a:chOff x="19306759" y="3083008"/>
              <a:chExt cx="560986" cy="213720"/>
            </a:xfrm>
          </p:grpSpPr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27927144-3F66-4ECB-9F72-F4789DCD6175}"/>
                  </a:ext>
                </a:extLst>
              </p:cNvPr>
              <p:cNvSpPr/>
              <p:nvPr/>
            </p:nvSpPr>
            <p:spPr>
              <a:xfrm>
                <a:off x="19306759" y="3083008"/>
                <a:ext cx="164345" cy="156728"/>
              </a:xfrm>
              <a:custGeom>
                <a:avLst/>
                <a:gdLst>
                  <a:gd name="connsiteX0" fmla="*/ 158646 w 164345"/>
                  <a:gd name="connsiteY0" fmla="*/ 119683 h 156728"/>
                  <a:gd name="connsiteX1" fmla="*/ 16166 w 164345"/>
                  <a:gd name="connsiteY1" fmla="*/ 0 h 156728"/>
                  <a:gd name="connsiteX2" fmla="*/ 1918 w 164345"/>
                  <a:gd name="connsiteY2" fmla="*/ 54142 h 156728"/>
                  <a:gd name="connsiteX3" fmla="*/ 164346 w 164345"/>
                  <a:gd name="connsiteY3" fmla="*/ 156728 h 156728"/>
                  <a:gd name="connsiteX4" fmla="*/ 158646 w 164345"/>
                  <a:gd name="connsiteY4" fmla="*/ 119683 h 156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345" h="156728">
                    <a:moveTo>
                      <a:pt x="158646" y="119683"/>
                    </a:moveTo>
                    <a:cubicBezTo>
                      <a:pt x="158646" y="119683"/>
                      <a:pt x="47511" y="68390"/>
                      <a:pt x="16166" y="0"/>
                    </a:cubicBezTo>
                    <a:cubicBezTo>
                      <a:pt x="16166" y="0"/>
                      <a:pt x="-6630" y="45594"/>
                      <a:pt x="1918" y="54142"/>
                    </a:cubicBezTo>
                    <a:cubicBezTo>
                      <a:pt x="1918" y="54142"/>
                      <a:pt x="81707" y="153879"/>
                      <a:pt x="164346" y="156728"/>
                    </a:cubicBezTo>
                    <a:lnTo>
                      <a:pt x="158646" y="119683"/>
                    </a:ln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3A507959-A829-47AA-9949-86F384EA3321}"/>
                  </a:ext>
                </a:extLst>
              </p:cNvPr>
              <p:cNvSpPr/>
              <p:nvPr/>
            </p:nvSpPr>
            <p:spPr>
              <a:xfrm>
                <a:off x="19450611" y="3116669"/>
                <a:ext cx="410888" cy="180059"/>
              </a:xfrm>
              <a:custGeom>
                <a:avLst/>
                <a:gdLst>
                  <a:gd name="connsiteX0" fmla="*/ 410888 w 410888"/>
                  <a:gd name="connsiteY0" fmla="*/ 31880 h 180059"/>
                  <a:gd name="connsiteX1" fmla="*/ 393791 w 410888"/>
                  <a:gd name="connsiteY1" fmla="*/ 40429 h 180059"/>
                  <a:gd name="connsiteX2" fmla="*/ 373844 w 410888"/>
                  <a:gd name="connsiteY2" fmla="*/ 37579 h 180059"/>
                  <a:gd name="connsiteX3" fmla="*/ 368144 w 410888"/>
                  <a:gd name="connsiteY3" fmla="*/ 123067 h 180059"/>
                  <a:gd name="connsiteX4" fmla="*/ 345348 w 410888"/>
                  <a:gd name="connsiteY4" fmla="*/ 143015 h 180059"/>
                  <a:gd name="connsiteX5" fmla="*/ 74635 w 410888"/>
                  <a:gd name="connsiteY5" fmla="*/ 160112 h 180059"/>
                  <a:gd name="connsiteX6" fmla="*/ 74635 w 410888"/>
                  <a:gd name="connsiteY6" fmla="*/ 180059 h 180059"/>
                  <a:gd name="connsiteX7" fmla="*/ 31891 w 410888"/>
                  <a:gd name="connsiteY7" fmla="*/ 162962 h 180059"/>
                  <a:gd name="connsiteX8" fmla="*/ 29042 w 410888"/>
                  <a:gd name="connsiteY8" fmla="*/ 162962 h 180059"/>
                  <a:gd name="connsiteX9" fmla="*/ 29042 w 410888"/>
                  <a:gd name="connsiteY9" fmla="*/ 162962 h 180059"/>
                  <a:gd name="connsiteX10" fmla="*/ 29042 w 410888"/>
                  <a:gd name="connsiteY10" fmla="*/ 162962 h 180059"/>
                  <a:gd name="connsiteX11" fmla="*/ 17643 w 410888"/>
                  <a:gd name="connsiteY11" fmla="*/ 148714 h 180059"/>
                  <a:gd name="connsiteX12" fmla="*/ 546 w 410888"/>
                  <a:gd name="connsiteY12" fmla="*/ 48978 h 180059"/>
                  <a:gd name="connsiteX13" fmla="*/ 20494 w 410888"/>
                  <a:gd name="connsiteY13" fmla="*/ 26181 h 180059"/>
                  <a:gd name="connsiteX14" fmla="*/ 348198 w 410888"/>
                  <a:gd name="connsiteY14" fmla="*/ 534 h 180059"/>
                  <a:gd name="connsiteX15" fmla="*/ 362446 w 410888"/>
                  <a:gd name="connsiteY15" fmla="*/ 6233 h 180059"/>
                  <a:gd name="connsiteX16" fmla="*/ 362446 w 410888"/>
                  <a:gd name="connsiteY16" fmla="*/ 6233 h 180059"/>
                  <a:gd name="connsiteX17" fmla="*/ 410888 w 410888"/>
                  <a:gd name="connsiteY17" fmla="*/ 31880 h 180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10888" h="180059">
                    <a:moveTo>
                      <a:pt x="410888" y="31880"/>
                    </a:moveTo>
                    <a:cubicBezTo>
                      <a:pt x="405190" y="34729"/>
                      <a:pt x="399491" y="37579"/>
                      <a:pt x="393791" y="40429"/>
                    </a:cubicBezTo>
                    <a:cubicBezTo>
                      <a:pt x="388092" y="40429"/>
                      <a:pt x="382392" y="37579"/>
                      <a:pt x="373844" y="37579"/>
                    </a:cubicBezTo>
                    <a:cubicBezTo>
                      <a:pt x="373844" y="66075"/>
                      <a:pt x="370995" y="94571"/>
                      <a:pt x="368144" y="123067"/>
                    </a:cubicBezTo>
                    <a:cubicBezTo>
                      <a:pt x="368144" y="134466"/>
                      <a:pt x="356747" y="143015"/>
                      <a:pt x="345348" y="143015"/>
                    </a:cubicBezTo>
                    <a:cubicBezTo>
                      <a:pt x="254160" y="140165"/>
                      <a:pt x="162974" y="145864"/>
                      <a:pt x="74635" y="160112"/>
                    </a:cubicBezTo>
                    <a:cubicBezTo>
                      <a:pt x="74635" y="165811"/>
                      <a:pt x="74635" y="174360"/>
                      <a:pt x="74635" y="180059"/>
                    </a:cubicBezTo>
                    <a:cubicBezTo>
                      <a:pt x="60387" y="174360"/>
                      <a:pt x="46139" y="168661"/>
                      <a:pt x="31891" y="162962"/>
                    </a:cubicBezTo>
                    <a:cubicBezTo>
                      <a:pt x="31891" y="162962"/>
                      <a:pt x="29042" y="162962"/>
                      <a:pt x="29042" y="162962"/>
                    </a:cubicBezTo>
                    <a:cubicBezTo>
                      <a:pt x="29042" y="162962"/>
                      <a:pt x="29042" y="162962"/>
                      <a:pt x="29042" y="162962"/>
                    </a:cubicBezTo>
                    <a:lnTo>
                      <a:pt x="29042" y="162962"/>
                    </a:lnTo>
                    <a:cubicBezTo>
                      <a:pt x="23343" y="160112"/>
                      <a:pt x="17643" y="154413"/>
                      <a:pt x="17643" y="148714"/>
                    </a:cubicBezTo>
                    <a:cubicBezTo>
                      <a:pt x="11944" y="114518"/>
                      <a:pt x="6246" y="80323"/>
                      <a:pt x="546" y="48978"/>
                    </a:cubicBezTo>
                    <a:cubicBezTo>
                      <a:pt x="-2304" y="37579"/>
                      <a:pt x="6246" y="29030"/>
                      <a:pt x="20494" y="26181"/>
                    </a:cubicBezTo>
                    <a:cubicBezTo>
                      <a:pt x="128778" y="6233"/>
                      <a:pt x="237063" y="-2315"/>
                      <a:pt x="348198" y="534"/>
                    </a:cubicBezTo>
                    <a:cubicBezTo>
                      <a:pt x="353896" y="534"/>
                      <a:pt x="359596" y="3384"/>
                      <a:pt x="362446" y="6233"/>
                    </a:cubicBezTo>
                    <a:lnTo>
                      <a:pt x="362446" y="6233"/>
                    </a:lnTo>
                    <a:cubicBezTo>
                      <a:pt x="382392" y="14782"/>
                      <a:pt x="396640" y="23331"/>
                      <a:pt x="410888" y="3188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9" name="图形 1">
                <a:extLst>
                  <a:ext uri="{FF2B5EF4-FFF2-40B4-BE49-F238E27FC236}">
                    <a16:creationId xmlns:a16="http://schemas.microsoft.com/office/drawing/2014/main" id="{C1CB6501-E6C2-4969-9FA5-A0937080DD97}"/>
                  </a:ext>
                </a:extLst>
              </p:cNvPr>
              <p:cNvGrpSpPr/>
              <p:nvPr/>
            </p:nvGrpSpPr>
            <p:grpSpPr>
              <a:xfrm>
                <a:off x="19499158" y="3140666"/>
                <a:ext cx="368587" cy="156062"/>
                <a:chOff x="19499158" y="3140666"/>
                <a:chExt cx="368587" cy="156062"/>
              </a:xfrm>
            </p:grpSpPr>
            <p:sp>
              <p:nvSpPr>
                <p:cNvPr id="70" name="任意多边形: 形状 69">
                  <a:extLst>
                    <a:ext uri="{FF2B5EF4-FFF2-40B4-BE49-F238E27FC236}">
                      <a16:creationId xmlns:a16="http://schemas.microsoft.com/office/drawing/2014/main" id="{35D0C914-5B18-4A01-B7B0-3E9546FE62B1}"/>
                    </a:ext>
                  </a:extLst>
                </p:cNvPr>
                <p:cNvSpPr/>
                <p:nvPr/>
              </p:nvSpPr>
              <p:spPr>
                <a:xfrm>
                  <a:off x="19499158" y="3140666"/>
                  <a:ext cx="368587" cy="156062"/>
                </a:xfrm>
                <a:custGeom>
                  <a:avLst/>
                  <a:gdLst>
                    <a:gd name="connsiteX0" fmla="*/ 348093 w 368587"/>
                    <a:gd name="connsiteY0" fmla="*/ 2184 h 156062"/>
                    <a:gd name="connsiteX1" fmla="*/ 20389 w 368587"/>
                    <a:gd name="connsiteY1" fmla="*/ 16432 h 156062"/>
                    <a:gd name="connsiteX2" fmla="*/ 443 w 368587"/>
                    <a:gd name="connsiteY2" fmla="*/ 39229 h 156062"/>
                    <a:gd name="connsiteX3" fmla="*/ 14691 w 368587"/>
                    <a:gd name="connsiteY3" fmla="*/ 138965 h 156062"/>
                    <a:gd name="connsiteX4" fmla="*/ 37488 w 368587"/>
                    <a:gd name="connsiteY4" fmla="*/ 156063 h 156062"/>
                    <a:gd name="connsiteX5" fmla="*/ 336696 w 368587"/>
                    <a:gd name="connsiteY5" fmla="*/ 141815 h 156062"/>
                    <a:gd name="connsiteX6" fmla="*/ 359493 w 368587"/>
                    <a:gd name="connsiteY6" fmla="*/ 124717 h 156062"/>
                    <a:gd name="connsiteX7" fmla="*/ 368041 w 368587"/>
                    <a:gd name="connsiteY7" fmla="*/ 22131 h 156062"/>
                    <a:gd name="connsiteX8" fmla="*/ 348093 w 368587"/>
                    <a:gd name="connsiteY8" fmla="*/ 2184 h 156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8587" h="156062">
                      <a:moveTo>
                        <a:pt x="348093" y="2184"/>
                      </a:moveTo>
                      <a:cubicBezTo>
                        <a:pt x="236960" y="-3515"/>
                        <a:pt x="128675" y="2184"/>
                        <a:pt x="20389" y="16432"/>
                      </a:cubicBezTo>
                      <a:cubicBezTo>
                        <a:pt x="8992" y="19282"/>
                        <a:pt x="-2407" y="27830"/>
                        <a:pt x="443" y="39229"/>
                      </a:cubicBezTo>
                      <a:cubicBezTo>
                        <a:pt x="6141" y="73424"/>
                        <a:pt x="8992" y="107619"/>
                        <a:pt x="14691" y="138965"/>
                      </a:cubicBezTo>
                      <a:cubicBezTo>
                        <a:pt x="17540" y="150363"/>
                        <a:pt x="26089" y="156063"/>
                        <a:pt x="37488" y="156063"/>
                      </a:cubicBezTo>
                      <a:cubicBezTo>
                        <a:pt x="134373" y="141815"/>
                        <a:pt x="234109" y="136115"/>
                        <a:pt x="336696" y="141815"/>
                      </a:cubicBezTo>
                      <a:cubicBezTo>
                        <a:pt x="348093" y="141815"/>
                        <a:pt x="359493" y="133266"/>
                        <a:pt x="359493" y="124717"/>
                      </a:cubicBezTo>
                      <a:cubicBezTo>
                        <a:pt x="362342" y="90522"/>
                        <a:pt x="365192" y="56326"/>
                        <a:pt x="368041" y="22131"/>
                      </a:cubicBezTo>
                      <a:cubicBezTo>
                        <a:pt x="370892" y="10733"/>
                        <a:pt x="362342" y="2184"/>
                        <a:pt x="348093" y="2184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: 形状 70">
                  <a:extLst>
                    <a:ext uri="{FF2B5EF4-FFF2-40B4-BE49-F238E27FC236}">
                      <a16:creationId xmlns:a16="http://schemas.microsoft.com/office/drawing/2014/main" id="{3266ECC2-5EE3-4A21-A71F-35496CDB01DE}"/>
                    </a:ext>
                  </a:extLst>
                </p:cNvPr>
                <p:cNvSpPr/>
                <p:nvPr/>
              </p:nvSpPr>
              <p:spPr>
                <a:xfrm>
                  <a:off x="19524694" y="3147556"/>
                  <a:ext cx="322556" cy="138332"/>
                </a:xfrm>
                <a:custGeom>
                  <a:avLst/>
                  <a:gdLst>
                    <a:gd name="connsiteX0" fmla="*/ 302611 w 322556"/>
                    <a:gd name="connsiteY0" fmla="*/ 993 h 138332"/>
                    <a:gd name="connsiteX1" fmla="*/ 17651 w 322556"/>
                    <a:gd name="connsiteY1" fmla="*/ 15241 h 138332"/>
                    <a:gd name="connsiteX2" fmla="*/ 552 w 322556"/>
                    <a:gd name="connsiteY2" fmla="*/ 35188 h 138332"/>
                    <a:gd name="connsiteX3" fmla="*/ 11951 w 322556"/>
                    <a:gd name="connsiteY3" fmla="*/ 123526 h 138332"/>
                    <a:gd name="connsiteX4" fmla="*/ 31899 w 322556"/>
                    <a:gd name="connsiteY4" fmla="*/ 137774 h 138332"/>
                    <a:gd name="connsiteX5" fmla="*/ 296912 w 322556"/>
                    <a:gd name="connsiteY5" fmla="*/ 126376 h 138332"/>
                    <a:gd name="connsiteX6" fmla="*/ 316859 w 322556"/>
                    <a:gd name="connsiteY6" fmla="*/ 109278 h 138332"/>
                    <a:gd name="connsiteX7" fmla="*/ 322557 w 322556"/>
                    <a:gd name="connsiteY7" fmla="*/ 20940 h 138332"/>
                    <a:gd name="connsiteX8" fmla="*/ 302611 w 322556"/>
                    <a:gd name="connsiteY8" fmla="*/ 993 h 138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2556" h="138332">
                      <a:moveTo>
                        <a:pt x="302611" y="993"/>
                      </a:moveTo>
                      <a:cubicBezTo>
                        <a:pt x="205724" y="-1857"/>
                        <a:pt x="111687" y="993"/>
                        <a:pt x="17651" y="15241"/>
                      </a:cubicBezTo>
                      <a:cubicBezTo>
                        <a:pt x="6252" y="18091"/>
                        <a:pt x="-2297" y="26639"/>
                        <a:pt x="552" y="35188"/>
                      </a:cubicBezTo>
                      <a:cubicBezTo>
                        <a:pt x="3403" y="63684"/>
                        <a:pt x="9101" y="95030"/>
                        <a:pt x="11951" y="123526"/>
                      </a:cubicBezTo>
                      <a:cubicBezTo>
                        <a:pt x="11951" y="132075"/>
                        <a:pt x="23349" y="140624"/>
                        <a:pt x="31899" y="137774"/>
                      </a:cubicBezTo>
                      <a:cubicBezTo>
                        <a:pt x="117387" y="126376"/>
                        <a:pt x="205724" y="120676"/>
                        <a:pt x="296912" y="126376"/>
                      </a:cubicBezTo>
                      <a:cubicBezTo>
                        <a:pt x="308309" y="126376"/>
                        <a:pt x="316859" y="120676"/>
                        <a:pt x="316859" y="109278"/>
                      </a:cubicBezTo>
                      <a:cubicBezTo>
                        <a:pt x="319708" y="80782"/>
                        <a:pt x="322557" y="49436"/>
                        <a:pt x="322557" y="20940"/>
                      </a:cubicBezTo>
                      <a:cubicBezTo>
                        <a:pt x="322557" y="12391"/>
                        <a:pt x="314009" y="3843"/>
                        <a:pt x="302611" y="993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: 形状 71">
                  <a:extLst>
                    <a:ext uri="{FF2B5EF4-FFF2-40B4-BE49-F238E27FC236}">
                      <a16:creationId xmlns:a16="http://schemas.microsoft.com/office/drawing/2014/main" id="{ACF6227D-4612-48F2-9DC9-24E3A722BC3B}"/>
                    </a:ext>
                  </a:extLst>
                </p:cNvPr>
                <p:cNvSpPr/>
                <p:nvPr/>
              </p:nvSpPr>
              <p:spPr>
                <a:xfrm>
                  <a:off x="19576539" y="3159947"/>
                  <a:ext cx="94038" cy="108284"/>
                </a:xfrm>
                <a:custGeom>
                  <a:avLst/>
                  <a:gdLst>
                    <a:gd name="connsiteX0" fmla="*/ 71240 w 94038"/>
                    <a:gd name="connsiteY0" fmla="*/ 108285 h 108284"/>
                    <a:gd name="connsiteX1" fmla="*/ 94038 w 94038"/>
                    <a:gd name="connsiteY1" fmla="*/ 105435 h 108284"/>
                    <a:gd name="connsiteX2" fmla="*/ 25647 w 94038"/>
                    <a:gd name="connsiteY2" fmla="*/ 0 h 108284"/>
                    <a:gd name="connsiteX3" fmla="*/ 0 w 94038"/>
                    <a:gd name="connsiteY3" fmla="*/ 2850 h 108284"/>
                    <a:gd name="connsiteX4" fmla="*/ 71240 w 94038"/>
                    <a:gd name="connsiteY4" fmla="*/ 108285 h 108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038" h="108284">
                      <a:moveTo>
                        <a:pt x="71240" y="108285"/>
                      </a:moveTo>
                      <a:cubicBezTo>
                        <a:pt x="79790" y="108285"/>
                        <a:pt x="85488" y="108285"/>
                        <a:pt x="94038" y="105435"/>
                      </a:cubicBezTo>
                      <a:cubicBezTo>
                        <a:pt x="74091" y="71240"/>
                        <a:pt x="51294" y="34195"/>
                        <a:pt x="25647" y="0"/>
                      </a:cubicBezTo>
                      <a:cubicBezTo>
                        <a:pt x="17099" y="0"/>
                        <a:pt x="8550" y="2850"/>
                        <a:pt x="0" y="2850"/>
                      </a:cubicBezTo>
                      <a:cubicBezTo>
                        <a:pt x="25647" y="39894"/>
                        <a:pt x="48444" y="74090"/>
                        <a:pt x="71240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: 形状 72">
                  <a:extLst>
                    <a:ext uri="{FF2B5EF4-FFF2-40B4-BE49-F238E27FC236}">
                      <a16:creationId xmlns:a16="http://schemas.microsoft.com/office/drawing/2014/main" id="{09FF3B54-FE07-456C-ACE6-6A6F53830F75}"/>
                    </a:ext>
                  </a:extLst>
                </p:cNvPr>
                <p:cNvSpPr/>
                <p:nvPr/>
              </p:nvSpPr>
              <p:spPr>
                <a:xfrm>
                  <a:off x="19624982" y="3157098"/>
                  <a:ext cx="111135" cy="108284"/>
                </a:xfrm>
                <a:custGeom>
                  <a:avLst/>
                  <a:gdLst>
                    <a:gd name="connsiteX0" fmla="*/ 68391 w 111135"/>
                    <a:gd name="connsiteY0" fmla="*/ 108285 h 108284"/>
                    <a:gd name="connsiteX1" fmla="*/ 111135 w 111135"/>
                    <a:gd name="connsiteY1" fmla="*/ 108285 h 108284"/>
                    <a:gd name="connsiteX2" fmla="*/ 48444 w 111135"/>
                    <a:gd name="connsiteY2" fmla="*/ 0 h 108284"/>
                    <a:gd name="connsiteX3" fmla="*/ 0 w 111135"/>
                    <a:gd name="connsiteY3" fmla="*/ 2850 h 108284"/>
                    <a:gd name="connsiteX4" fmla="*/ 68391 w 111135"/>
                    <a:gd name="connsiteY4" fmla="*/ 108285 h 108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1135" h="108284">
                      <a:moveTo>
                        <a:pt x="68391" y="108285"/>
                      </a:moveTo>
                      <a:cubicBezTo>
                        <a:pt x="82639" y="108285"/>
                        <a:pt x="96887" y="108285"/>
                        <a:pt x="111135" y="108285"/>
                      </a:cubicBezTo>
                      <a:cubicBezTo>
                        <a:pt x="91188" y="71240"/>
                        <a:pt x="71240" y="37045"/>
                        <a:pt x="48444" y="0"/>
                      </a:cubicBezTo>
                      <a:cubicBezTo>
                        <a:pt x="31347" y="0"/>
                        <a:pt x="17099" y="2850"/>
                        <a:pt x="0" y="2850"/>
                      </a:cubicBezTo>
                      <a:cubicBezTo>
                        <a:pt x="25647" y="37045"/>
                        <a:pt x="48444" y="74090"/>
                        <a:pt x="68391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39" name="图形 1">
              <a:extLst>
                <a:ext uri="{FF2B5EF4-FFF2-40B4-BE49-F238E27FC236}">
                  <a16:creationId xmlns:a16="http://schemas.microsoft.com/office/drawing/2014/main" id="{33AD3893-7EC2-4178-8342-FE84BB21766C}"/>
                </a:ext>
              </a:extLst>
            </p:cNvPr>
            <p:cNvGrpSpPr/>
            <p:nvPr/>
          </p:nvGrpSpPr>
          <p:grpSpPr>
            <a:xfrm>
              <a:off x="20903024" y="3348577"/>
              <a:ext cx="206922" cy="254306"/>
              <a:chOff x="20903024" y="3348577"/>
              <a:chExt cx="206922" cy="254306"/>
            </a:xfrm>
          </p:grpSpPr>
          <p:grpSp>
            <p:nvGrpSpPr>
              <p:cNvPr id="60" name="图形 1">
                <a:extLst>
                  <a:ext uri="{FF2B5EF4-FFF2-40B4-BE49-F238E27FC236}">
                    <a16:creationId xmlns:a16="http://schemas.microsoft.com/office/drawing/2014/main" id="{F0F3E42C-AF5E-4DB9-94B3-FB54E0D3BECC}"/>
                  </a:ext>
                </a:extLst>
              </p:cNvPr>
              <p:cNvGrpSpPr/>
              <p:nvPr/>
            </p:nvGrpSpPr>
            <p:grpSpPr>
              <a:xfrm>
                <a:off x="20903024" y="3348577"/>
                <a:ext cx="194759" cy="254306"/>
                <a:chOff x="20903024" y="3348577"/>
                <a:chExt cx="194759" cy="254306"/>
              </a:xfrm>
            </p:grpSpPr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99C87BE6-CD9E-44AC-88DE-17629D42C168}"/>
                    </a:ext>
                  </a:extLst>
                </p:cNvPr>
                <p:cNvSpPr/>
                <p:nvPr/>
              </p:nvSpPr>
              <p:spPr>
                <a:xfrm>
                  <a:off x="20903024" y="3349458"/>
                  <a:ext cx="194759" cy="253424"/>
                </a:xfrm>
                <a:custGeom>
                  <a:avLst/>
                  <a:gdLst>
                    <a:gd name="connsiteX0" fmla="*/ 180956 w 194759"/>
                    <a:gd name="connsiteY0" fmla="*/ 132494 h 253424"/>
                    <a:gd name="connsiteX1" fmla="*/ 161008 w 194759"/>
                    <a:gd name="connsiteY1" fmla="*/ 101149 h 253424"/>
                    <a:gd name="connsiteX2" fmla="*/ 135363 w 194759"/>
                    <a:gd name="connsiteY2" fmla="*/ 84051 h 253424"/>
                    <a:gd name="connsiteX3" fmla="*/ 112565 w 194759"/>
                    <a:gd name="connsiteY3" fmla="*/ 101149 h 253424"/>
                    <a:gd name="connsiteX4" fmla="*/ 135363 w 194759"/>
                    <a:gd name="connsiteY4" fmla="*/ 58405 h 253424"/>
                    <a:gd name="connsiteX5" fmla="*/ 161008 w 194759"/>
                    <a:gd name="connsiteY5" fmla="*/ 15661 h 253424"/>
                    <a:gd name="connsiteX6" fmla="*/ 95468 w 194759"/>
                    <a:gd name="connsiteY6" fmla="*/ 1413 h 253424"/>
                    <a:gd name="connsiteX7" fmla="*/ 7131 w 194759"/>
                    <a:gd name="connsiteY7" fmla="*/ 226531 h 253424"/>
                    <a:gd name="connsiteX8" fmla="*/ 7131 w 194759"/>
                    <a:gd name="connsiteY8" fmla="*/ 226531 h 253424"/>
                    <a:gd name="connsiteX9" fmla="*/ 7131 w 194759"/>
                    <a:gd name="connsiteY9" fmla="*/ 229381 h 253424"/>
                    <a:gd name="connsiteX10" fmla="*/ 78371 w 194759"/>
                    <a:gd name="connsiteY10" fmla="*/ 252178 h 253424"/>
                    <a:gd name="connsiteX11" fmla="*/ 186656 w 194759"/>
                    <a:gd name="connsiteY11" fmla="*/ 169539 h 253424"/>
                    <a:gd name="connsiteX12" fmla="*/ 180956 w 194759"/>
                    <a:gd name="connsiteY12" fmla="*/ 132494 h 253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94759" h="253424">
                      <a:moveTo>
                        <a:pt x="180956" y="132494"/>
                      </a:moveTo>
                      <a:cubicBezTo>
                        <a:pt x="189505" y="112547"/>
                        <a:pt x="166708" y="101149"/>
                        <a:pt x="161008" y="101149"/>
                      </a:cubicBezTo>
                      <a:cubicBezTo>
                        <a:pt x="163859" y="92600"/>
                        <a:pt x="149611" y="75502"/>
                        <a:pt x="135363" y="84051"/>
                      </a:cubicBezTo>
                      <a:cubicBezTo>
                        <a:pt x="123964" y="89750"/>
                        <a:pt x="123964" y="92600"/>
                        <a:pt x="112565" y="101149"/>
                      </a:cubicBezTo>
                      <a:cubicBezTo>
                        <a:pt x="121115" y="86901"/>
                        <a:pt x="129664" y="72653"/>
                        <a:pt x="135363" y="58405"/>
                      </a:cubicBezTo>
                      <a:cubicBezTo>
                        <a:pt x="141061" y="49856"/>
                        <a:pt x="161008" y="24210"/>
                        <a:pt x="161008" y="15661"/>
                      </a:cubicBezTo>
                      <a:cubicBezTo>
                        <a:pt x="161008" y="-1437"/>
                        <a:pt x="101167" y="-1437"/>
                        <a:pt x="95468" y="1413"/>
                      </a:cubicBezTo>
                      <a:cubicBezTo>
                        <a:pt x="55573" y="32758"/>
                        <a:pt x="-24216" y="172389"/>
                        <a:pt x="7131" y="226531"/>
                      </a:cubicBezTo>
                      <a:cubicBezTo>
                        <a:pt x="7131" y="226531"/>
                        <a:pt x="7131" y="226531"/>
                        <a:pt x="7131" y="226531"/>
                      </a:cubicBezTo>
                      <a:cubicBezTo>
                        <a:pt x="7131" y="226531"/>
                        <a:pt x="4280" y="229381"/>
                        <a:pt x="7131" y="229381"/>
                      </a:cubicBezTo>
                      <a:cubicBezTo>
                        <a:pt x="18528" y="255028"/>
                        <a:pt x="52724" y="255028"/>
                        <a:pt x="78371" y="252178"/>
                      </a:cubicBezTo>
                      <a:cubicBezTo>
                        <a:pt x="115416" y="249328"/>
                        <a:pt x="172408" y="186637"/>
                        <a:pt x="186656" y="169539"/>
                      </a:cubicBezTo>
                      <a:cubicBezTo>
                        <a:pt x="206603" y="143893"/>
                        <a:pt x="183805" y="129645"/>
                        <a:pt x="180956" y="132494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6892A3F6-96C1-42D5-850E-3D122EB68372}"/>
                    </a:ext>
                  </a:extLst>
                </p:cNvPr>
                <p:cNvSpPr/>
                <p:nvPr/>
              </p:nvSpPr>
              <p:spPr>
                <a:xfrm>
                  <a:off x="20956460" y="3505462"/>
                  <a:ext cx="24030" cy="56279"/>
                </a:xfrm>
                <a:custGeom>
                  <a:avLst/>
                  <a:gdLst>
                    <a:gd name="connsiteX0" fmla="*/ 13536 w 24030"/>
                    <a:gd name="connsiteY0" fmla="*/ 56280 h 56279"/>
                    <a:gd name="connsiteX1" fmla="*/ 13536 w 24030"/>
                    <a:gd name="connsiteY1" fmla="*/ 56280 h 56279"/>
                    <a:gd name="connsiteX2" fmla="*/ 7836 w 24030"/>
                    <a:gd name="connsiteY2" fmla="*/ 47731 h 56279"/>
                    <a:gd name="connsiteX3" fmla="*/ 2137 w 24030"/>
                    <a:gd name="connsiteY3" fmla="*/ 10686 h 56279"/>
                    <a:gd name="connsiteX4" fmla="*/ 2137 w 24030"/>
                    <a:gd name="connsiteY4" fmla="*/ 2137 h 56279"/>
                    <a:gd name="connsiteX5" fmla="*/ 10687 w 24030"/>
                    <a:gd name="connsiteY5" fmla="*/ 2137 h 56279"/>
                    <a:gd name="connsiteX6" fmla="*/ 19235 w 24030"/>
                    <a:gd name="connsiteY6" fmla="*/ 53430 h 56279"/>
                    <a:gd name="connsiteX7" fmla="*/ 13536 w 24030"/>
                    <a:gd name="connsiteY7" fmla="*/ 56280 h 562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4030" h="56279">
                      <a:moveTo>
                        <a:pt x="13536" y="56280"/>
                      </a:moveTo>
                      <a:cubicBezTo>
                        <a:pt x="10687" y="56280"/>
                        <a:pt x="10687" y="56280"/>
                        <a:pt x="13536" y="56280"/>
                      </a:cubicBezTo>
                      <a:cubicBezTo>
                        <a:pt x="7836" y="53430"/>
                        <a:pt x="7836" y="50581"/>
                        <a:pt x="7836" y="47731"/>
                      </a:cubicBezTo>
                      <a:cubicBezTo>
                        <a:pt x="19235" y="27784"/>
                        <a:pt x="2137" y="10686"/>
                        <a:pt x="2137" y="10686"/>
                      </a:cubicBezTo>
                      <a:cubicBezTo>
                        <a:pt x="-712" y="7837"/>
                        <a:pt x="-712" y="4987"/>
                        <a:pt x="2137" y="2137"/>
                      </a:cubicBezTo>
                      <a:cubicBezTo>
                        <a:pt x="4987" y="-712"/>
                        <a:pt x="7836" y="-712"/>
                        <a:pt x="10687" y="2137"/>
                      </a:cubicBezTo>
                      <a:cubicBezTo>
                        <a:pt x="19235" y="10686"/>
                        <a:pt x="30633" y="30633"/>
                        <a:pt x="19235" y="53430"/>
                      </a:cubicBezTo>
                      <a:cubicBezTo>
                        <a:pt x="16385" y="56280"/>
                        <a:pt x="13536" y="56280"/>
                        <a:pt x="13536" y="56280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8CDA6F53-2B41-4F4F-A631-1A5E7721A78E}"/>
                    </a:ext>
                  </a:extLst>
                </p:cNvPr>
                <p:cNvSpPr/>
                <p:nvPr/>
              </p:nvSpPr>
              <p:spPr>
                <a:xfrm>
                  <a:off x="20996355" y="3348577"/>
                  <a:ext cx="74494" cy="104879"/>
                </a:xfrm>
                <a:custGeom>
                  <a:avLst/>
                  <a:gdLst>
                    <a:gd name="connsiteX0" fmla="*/ 22084 w 74494"/>
                    <a:gd name="connsiteY0" fmla="*/ 104880 h 104879"/>
                    <a:gd name="connsiteX1" fmla="*/ 19234 w 74494"/>
                    <a:gd name="connsiteY1" fmla="*/ 104880 h 104879"/>
                    <a:gd name="connsiteX2" fmla="*/ 16385 w 74494"/>
                    <a:gd name="connsiteY2" fmla="*/ 96331 h 104879"/>
                    <a:gd name="connsiteX3" fmla="*/ 64828 w 74494"/>
                    <a:gd name="connsiteY3" fmla="*/ 13693 h 104879"/>
                    <a:gd name="connsiteX4" fmla="*/ 64828 w 74494"/>
                    <a:gd name="connsiteY4" fmla="*/ 13693 h 104879"/>
                    <a:gd name="connsiteX5" fmla="*/ 47730 w 74494"/>
                    <a:gd name="connsiteY5" fmla="*/ 22241 h 104879"/>
                    <a:gd name="connsiteX6" fmla="*/ 10685 w 74494"/>
                    <a:gd name="connsiteY6" fmla="*/ 62136 h 104879"/>
                    <a:gd name="connsiteX7" fmla="*/ 2137 w 74494"/>
                    <a:gd name="connsiteY7" fmla="*/ 62136 h 104879"/>
                    <a:gd name="connsiteX8" fmla="*/ 2137 w 74494"/>
                    <a:gd name="connsiteY8" fmla="*/ 53587 h 104879"/>
                    <a:gd name="connsiteX9" fmla="*/ 39181 w 74494"/>
                    <a:gd name="connsiteY9" fmla="*/ 10843 h 104879"/>
                    <a:gd name="connsiteX10" fmla="*/ 67677 w 74494"/>
                    <a:gd name="connsiteY10" fmla="*/ 2294 h 104879"/>
                    <a:gd name="connsiteX11" fmla="*/ 73377 w 74494"/>
                    <a:gd name="connsiteY11" fmla="*/ 13693 h 104879"/>
                    <a:gd name="connsiteX12" fmla="*/ 73377 w 74494"/>
                    <a:gd name="connsiteY12" fmla="*/ 16542 h 104879"/>
                    <a:gd name="connsiteX13" fmla="*/ 24933 w 74494"/>
                    <a:gd name="connsiteY13" fmla="*/ 102030 h 104879"/>
                    <a:gd name="connsiteX14" fmla="*/ 22084 w 74494"/>
                    <a:gd name="connsiteY14" fmla="*/ 104880 h 104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4494" h="104879">
                      <a:moveTo>
                        <a:pt x="22084" y="104880"/>
                      </a:moveTo>
                      <a:cubicBezTo>
                        <a:pt x="22084" y="104880"/>
                        <a:pt x="19234" y="104880"/>
                        <a:pt x="19234" y="104880"/>
                      </a:cubicBezTo>
                      <a:cubicBezTo>
                        <a:pt x="16385" y="102030"/>
                        <a:pt x="16385" y="99181"/>
                        <a:pt x="16385" y="96331"/>
                      </a:cubicBezTo>
                      <a:cubicBezTo>
                        <a:pt x="30633" y="73534"/>
                        <a:pt x="59129" y="22241"/>
                        <a:pt x="64828" y="13693"/>
                      </a:cubicBezTo>
                      <a:cubicBezTo>
                        <a:pt x="64828" y="13693"/>
                        <a:pt x="64828" y="13693"/>
                        <a:pt x="64828" y="13693"/>
                      </a:cubicBezTo>
                      <a:cubicBezTo>
                        <a:pt x="61978" y="13693"/>
                        <a:pt x="56280" y="13693"/>
                        <a:pt x="47730" y="22241"/>
                      </a:cubicBezTo>
                      <a:cubicBezTo>
                        <a:pt x="33482" y="36489"/>
                        <a:pt x="10685" y="62136"/>
                        <a:pt x="10685" y="62136"/>
                      </a:cubicBezTo>
                      <a:cubicBezTo>
                        <a:pt x="7836" y="64985"/>
                        <a:pt x="4986" y="64985"/>
                        <a:pt x="2137" y="62136"/>
                      </a:cubicBezTo>
                      <a:cubicBezTo>
                        <a:pt x="-712" y="59286"/>
                        <a:pt x="-712" y="56437"/>
                        <a:pt x="2137" y="53587"/>
                      </a:cubicBezTo>
                      <a:cubicBezTo>
                        <a:pt x="2137" y="53587"/>
                        <a:pt x="24933" y="25091"/>
                        <a:pt x="39181" y="10843"/>
                      </a:cubicBezTo>
                      <a:cubicBezTo>
                        <a:pt x="50580" y="2294"/>
                        <a:pt x="59129" y="-3405"/>
                        <a:pt x="67677" y="2294"/>
                      </a:cubicBezTo>
                      <a:cubicBezTo>
                        <a:pt x="73377" y="5144"/>
                        <a:pt x="76226" y="10843"/>
                        <a:pt x="73377" y="13693"/>
                      </a:cubicBezTo>
                      <a:cubicBezTo>
                        <a:pt x="73377" y="13693"/>
                        <a:pt x="73377" y="13693"/>
                        <a:pt x="73377" y="16542"/>
                      </a:cubicBezTo>
                      <a:cubicBezTo>
                        <a:pt x="73377" y="19392"/>
                        <a:pt x="42032" y="76384"/>
                        <a:pt x="24933" y="102030"/>
                      </a:cubicBezTo>
                      <a:cubicBezTo>
                        <a:pt x="24933" y="104880"/>
                        <a:pt x="22084" y="104880"/>
                        <a:pt x="22084" y="104880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7A167A63-EB0F-4417-88A6-F85D28F7F9DD}"/>
                  </a:ext>
                </a:extLst>
              </p:cNvPr>
              <p:cNvSpPr/>
              <p:nvPr/>
            </p:nvSpPr>
            <p:spPr>
              <a:xfrm>
                <a:off x="20999469" y="3426928"/>
                <a:ext cx="68362" cy="74971"/>
              </a:xfrm>
              <a:custGeom>
                <a:avLst/>
                <a:gdLst>
                  <a:gd name="connsiteX0" fmla="*/ 13270 w 68362"/>
                  <a:gd name="connsiteY0" fmla="*/ 74971 h 74971"/>
                  <a:gd name="connsiteX1" fmla="*/ 13270 w 68362"/>
                  <a:gd name="connsiteY1" fmla="*/ 74971 h 74971"/>
                  <a:gd name="connsiteX2" fmla="*/ 4722 w 68362"/>
                  <a:gd name="connsiteY2" fmla="*/ 69272 h 74971"/>
                  <a:gd name="connsiteX3" fmla="*/ 1871 w 68362"/>
                  <a:gd name="connsiteY3" fmla="*/ 35077 h 74971"/>
                  <a:gd name="connsiteX4" fmla="*/ 24669 w 68362"/>
                  <a:gd name="connsiteY4" fmla="*/ 6581 h 74971"/>
                  <a:gd name="connsiteX5" fmla="*/ 24669 w 68362"/>
                  <a:gd name="connsiteY5" fmla="*/ 6581 h 74971"/>
                  <a:gd name="connsiteX6" fmla="*/ 61714 w 68362"/>
                  <a:gd name="connsiteY6" fmla="*/ 6581 h 74971"/>
                  <a:gd name="connsiteX7" fmla="*/ 53165 w 68362"/>
                  <a:gd name="connsiteY7" fmla="*/ 46475 h 74971"/>
                  <a:gd name="connsiteX8" fmla="*/ 13270 w 68362"/>
                  <a:gd name="connsiteY8" fmla="*/ 74971 h 74971"/>
                  <a:gd name="connsiteX9" fmla="*/ 16119 w 68362"/>
                  <a:gd name="connsiteY9" fmla="*/ 63573 h 74971"/>
                  <a:gd name="connsiteX10" fmla="*/ 16119 w 68362"/>
                  <a:gd name="connsiteY10" fmla="*/ 63573 h 74971"/>
                  <a:gd name="connsiteX11" fmla="*/ 16119 w 68362"/>
                  <a:gd name="connsiteY11" fmla="*/ 63573 h 74971"/>
                  <a:gd name="connsiteX12" fmla="*/ 33218 w 68362"/>
                  <a:gd name="connsiteY12" fmla="*/ 15130 h 74971"/>
                  <a:gd name="connsiteX13" fmla="*/ 13270 w 68362"/>
                  <a:gd name="connsiteY13" fmla="*/ 40776 h 74971"/>
                  <a:gd name="connsiteX14" fmla="*/ 16119 w 68362"/>
                  <a:gd name="connsiteY14" fmla="*/ 63573 h 74971"/>
                  <a:gd name="connsiteX15" fmla="*/ 47466 w 68362"/>
                  <a:gd name="connsiteY15" fmla="*/ 40776 h 74971"/>
                  <a:gd name="connsiteX16" fmla="*/ 56014 w 68362"/>
                  <a:gd name="connsiteY16" fmla="*/ 15130 h 74971"/>
                  <a:gd name="connsiteX17" fmla="*/ 33218 w 68362"/>
                  <a:gd name="connsiteY17" fmla="*/ 15130 h 74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8362" h="74971">
                    <a:moveTo>
                      <a:pt x="13270" y="74971"/>
                    </a:moveTo>
                    <a:cubicBezTo>
                      <a:pt x="13270" y="74971"/>
                      <a:pt x="13270" y="74971"/>
                      <a:pt x="13270" y="74971"/>
                    </a:cubicBezTo>
                    <a:cubicBezTo>
                      <a:pt x="10421" y="74971"/>
                      <a:pt x="7571" y="74971"/>
                      <a:pt x="4722" y="69272"/>
                    </a:cubicBezTo>
                    <a:cubicBezTo>
                      <a:pt x="-978" y="60723"/>
                      <a:pt x="-978" y="40776"/>
                      <a:pt x="1871" y="35077"/>
                    </a:cubicBezTo>
                    <a:cubicBezTo>
                      <a:pt x="4722" y="26528"/>
                      <a:pt x="21819" y="9430"/>
                      <a:pt x="24669" y="6581"/>
                    </a:cubicBezTo>
                    <a:cubicBezTo>
                      <a:pt x="24669" y="6581"/>
                      <a:pt x="24669" y="6581"/>
                      <a:pt x="24669" y="6581"/>
                    </a:cubicBezTo>
                    <a:cubicBezTo>
                      <a:pt x="33218" y="882"/>
                      <a:pt x="50315" y="-4818"/>
                      <a:pt x="61714" y="6581"/>
                    </a:cubicBezTo>
                    <a:cubicBezTo>
                      <a:pt x="75962" y="23678"/>
                      <a:pt x="64563" y="35077"/>
                      <a:pt x="53165" y="46475"/>
                    </a:cubicBezTo>
                    <a:cubicBezTo>
                      <a:pt x="27518" y="72122"/>
                      <a:pt x="18970" y="74971"/>
                      <a:pt x="13270" y="74971"/>
                    </a:cubicBezTo>
                    <a:close/>
                    <a:moveTo>
                      <a:pt x="16119" y="63573"/>
                    </a:moveTo>
                    <a:lnTo>
                      <a:pt x="16119" y="63573"/>
                    </a:lnTo>
                    <a:lnTo>
                      <a:pt x="16119" y="63573"/>
                    </a:lnTo>
                    <a:close/>
                    <a:moveTo>
                      <a:pt x="33218" y="15130"/>
                    </a:moveTo>
                    <a:cubicBezTo>
                      <a:pt x="27518" y="23678"/>
                      <a:pt x="16119" y="35077"/>
                      <a:pt x="13270" y="40776"/>
                    </a:cubicBezTo>
                    <a:cubicBezTo>
                      <a:pt x="10421" y="43626"/>
                      <a:pt x="13270" y="60723"/>
                      <a:pt x="16119" y="63573"/>
                    </a:cubicBezTo>
                    <a:cubicBezTo>
                      <a:pt x="18970" y="63573"/>
                      <a:pt x="30367" y="57874"/>
                      <a:pt x="47466" y="40776"/>
                    </a:cubicBezTo>
                    <a:cubicBezTo>
                      <a:pt x="61714" y="26528"/>
                      <a:pt x="61714" y="20829"/>
                      <a:pt x="56014" y="15130"/>
                    </a:cubicBezTo>
                    <a:cubicBezTo>
                      <a:pt x="47466" y="6581"/>
                      <a:pt x="36067" y="12280"/>
                      <a:pt x="33218" y="15130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614294BD-B664-4C07-8E52-A7380110D6F0}"/>
                  </a:ext>
                </a:extLst>
              </p:cNvPr>
              <p:cNvSpPr/>
              <p:nvPr/>
            </p:nvSpPr>
            <p:spPr>
              <a:xfrm>
                <a:off x="21016301" y="3442058"/>
                <a:ext cx="77652" cy="85488"/>
              </a:xfrm>
              <a:custGeom>
                <a:avLst/>
                <a:gdLst>
                  <a:gd name="connsiteX0" fmla="*/ 16386 w 77652"/>
                  <a:gd name="connsiteY0" fmla="*/ 85488 h 85488"/>
                  <a:gd name="connsiteX1" fmla="*/ 13535 w 77652"/>
                  <a:gd name="connsiteY1" fmla="*/ 85488 h 85488"/>
                  <a:gd name="connsiteX2" fmla="*/ 2138 w 77652"/>
                  <a:gd name="connsiteY2" fmla="*/ 71240 h 85488"/>
                  <a:gd name="connsiteX3" fmla="*/ 2138 w 77652"/>
                  <a:gd name="connsiteY3" fmla="*/ 48443 h 85488"/>
                  <a:gd name="connsiteX4" fmla="*/ 10686 w 77652"/>
                  <a:gd name="connsiteY4" fmla="*/ 45594 h 85488"/>
                  <a:gd name="connsiteX5" fmla="*/ 13535 w 77652"/>
                  <a:gd name="connsiteY5" fmla="*/ 54142 h 85488"/>
                  <a:gd name="connsiteX6" fmla="*/ 13535 w 77652"/>
                  <a:gd name="connsiteY6" fmla="*/ 65541 h 85488"/>
                  <a:gd name="connsiteX7" fmla="*/ 19235 w 77652"/>
                  <a:gd name="connsiteY7" fmla="*/ 76939 h 85488"/>
                  <a:gd name="connsiteX8" fmla="*/ 19235 w 77652"/>
                  <a:gd name="connsiteY8" fmla="*/ 76939 h 85488"/>
                  <a:gd name="connsiteX9" fmla="*/ 64830 w 77652"/>
                  <a:gd name="connsiteY9" fmla="*/ 37045 h 85488"/>
                  <a:gd name="connsiteX10" fmla="*/ 64830 w 77652"/>
                  <a:gd name="connsiteY10" fmla="*/ 19947 h 85488"/>
                  <a:gd name="connsiteX11" fmla="*/ 47731 w 77652"/>
                  <a:gd name="connsiteY11" fmla="*/ 11398 h 85488"/>
                  <a:gd name="connsiteX12" fmla="*/ 42031 w 77652"/>
                  <a:gd name="connsiteY12" fmla="*/ 5699 h 85488"/>
                  <a:gd name="connsiteX13" fmla="*/ 47731 w 77652"/>
                  <a:gd name="connsiteY13" fmla="*/ 0 h 85488"/>
                  <a:gd name="connsiteX14" fmla="*/ 47731 w 77652"/>
                  <a:gd name="connsiteY14" fmla="*/ 0 h 85488"/>
                  <a:gd name="connsiteX15" fmla="*/ 73378 w 77652"/>
                  <a:gd name="connsiteY15" fmla="*/ 11398 h 85488"/>
                  <a:gd name="connsiteX16" fmla="*/ 73378 w 77652"/>
                  <a:gd name="connsiteY16" fmla="*/ 37045 h 85488"/>
                  <a:gd name="connsiteX17" fmla="*/ 16386 w 77652"/>
                  <a:gd name="connsiteY17" fmla="*/ 85488 h 85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7652" h="85488">
                    <a:moveTo>
                      <a:pt x="16386" y="85488"/>
                    </a:moveTo>
                    <a:cubicBezTo>
                      <a:pt x="16386" y="85488"/>
                      <a:pt x="13535" y="85488"/>
                      <a:pt x="13535" y="85488"/>
                    </a:cubicBezTo>
                    <a:cubicBezTo>
                      <a:pt x="7838" y="82638"/>
                      <a:pt x="2138" y="76939"/>
                      <a:pt x="2138" y="71240"/>
                    </a:cubicBezTo>
                    <a:cubicBezTo>
                      <a:pt x="-713" y="62691"/>
                      <a:pt x="-713" y="54142"/>
                      <a:pt x="2138" y="48443"/>
                    </a:cubicBezTo>
                    <a:cubicBezTo>
                      <a:pt x="2138" y="45594"/>
                      <a:pt x="7838" y="45594"/>
                      <a:pt x="10686" y="45594"/>
                    </a:cubicBezTo>
                    <a:cubicBezTo>
                      <a:pt x="13535" y="45594"/>
                      <a:pt x="13535" y="51293"/>
                      <a:pt x="13535" y="54142"/>
                    </a:cubicBezTo>
                    <a:cubicBezTo>
                      <a:pt x="10686" y="56992"/>
                      <a:pt x="13535" y="62691"/>
                      <a:pt x="13535" y="65541"/>
                    </a:cubicBezTo>
                    <a:cubicBezTo>
                      <a:pt x="16386" y="71240"/>
                      <a:pt x="19235" y="74090"/>
                      <a:pt x="19235" y="76939"/>
                    </a:cubicBezTo>
                    <a:cubicBezTo>
                      <a:pt x="19235" y="76939"/>
                      <a:pt x="19235" y="76939"/>
                      <a:pt x="19235" y="76939"/>
                    </a:cubicBezTo>
                    <a:cubicBezTo>
                      <a:pt x="24934" y="76939"/>
                      <a:pt x="53431" y="65541"/>
                      <a:pt x="64830" y="37045"/>
                    </a:cubicBezTo>
                    <a:cubicBezTo>
                      <a:pt x="67679" y="31346"/>
                      <a:pt x="67679" y="25646"/>
                      <a:pt x="64830" y="19947"/>
                    </a:cubicBezTo>
                    <a:cubicBezTo>
                      <a:pt x="61979" y="14248"/>
                      <a:pt x="50582" y="11398"/>
                      <a:pt x="47731" y="11398"/>
                    </a:cubicBezTo>
                    <a:cubicBezTo>
                      <a:pt x="44882" y="11398"/>
                      <a:pt x="42031" y="8549"/>
                      <a:pt x="42031" y="5699"/>
                    </a:cubicBezTo>
                    <a:cubicBezTo>
                      <a:pt x="42031" y="2850"/>
                      <a:pt x="44882" y="0"/>
                      <a:pt x="47731" y="0"/>
                    </a:cubicBezTo>
                    <a:cubicBezTo>
                      <a:pt x="47731" y="0"/>
                      <a:pt x="47731" y="0"/>
                      <a:pt x="47731" y="0"/>
                    </a:cubicBezTo>
                    <a:cubicBezTo>
                      <a:pt x="47731" y="0"/>
                      <a:pt x="67679" y="0"/>
                      <a:pt x="73378" y="11398"/>
                    </a:cubicBezTo>
                    <a:cubicBezTo>
                      <a:pt x="79078" y="17098"/>
                      <a:pt x="79078" y="28496"/>
                      <a:pt x="73378" y="37045"/>
                    </a:cubicBezTo>
                    <a:cubicBezTo>
                      <a:pt x="59130" y="68390"/>
                      <a:pt x="27783" y="85488"/>
                      <a:pt x="16386" y="85488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FF212BBA-9199-4BBD-9D0B-7AC84E5F2DB3}"/>
                  </a:ext>
                </a:extLst>
              </p:cNvPr>
              <p:cNvSpPr/>
              <p:nvPr/>
            </p:nvSpPr>
            <p:spPr>
              <a:xfrm>
                <a:off x="21036269" y="3476966"/>
                <a:ext cx="73676" cy="76226"/>
              </a:xfrm>
              <a:custGeom>
                <a:avLst/>
                <a:gdLst>
                  <a:gd name="connsiteX0" fmla="*/ 24914 w 73676"/>
                  <a:gd name="connsiteY0" fmla="*/ 76227 h 76226"/>
                  <a:gd name="connsiteX1" fmla="*/ 7816 w 73676"/>
                  <a:gd name="connsiteY1" fmla="*/ 70528 h 76226"/>
                  <a:gd name="connsiteX2" fmla="*/ 4967 w 73676"/>
                  <a:gd name="connsiteY2" fmla="*/ 42032 h 76226"/>
                  <a:gd name="connsiteX3" fmla="*/ 13515 w 73676"/>
                  <a:gd name="connsiteY3" fmla="*/ 39182 h 76226"/>
                  <a:gd name="connsiteX4" fmla="*/ 16366 w 73676"/>
                  <a:gd name="connsiteY4" fmla="*/ 47731 h 76226"/>
                  <a:gd name="connsiteX5" fmla="*/ 16366 w 73676"/>
                  <a:gd name="connsiteY5" fmla="*/ 61979 h 76226"/>
                  <a:gd name="connsiteX6" fmla="*/ 33463 w 73676"/>
                  <a:gd name="connsiteY6" fmla="*/ 64829 h 76226"/>
                  <a:gd name="connsiteX7" fmla="*/ 59110 w 73676"/>
                  <a:gd name="connsiteY7" fmla="*/ 24934 h 76226"/>
                  <a:gd name="connsiteX8" fmla="*/ 47711 w 73676"/>
                  <a:gd name="connsiteY8" fmla="*/ 10686 h 76226"/>
                  <a:gd name="connsiteX9" fmla="*/ 47711 w 73676"/>
                  <a:gd name="connsiteY9" fmla="*/ 2137 h 76226"/>
                  <a:gd name="connsiteX10" fmla="*/ 56259 w 73676"/>
                  <a:gd name="connsiteY10" fmla="*/ 2137 h 76226"/>
                  <a:gd name="connsiteX11" fmla="*/ 73358 w 73676"/>
                  <a:gd name="connsiteY11" fmla="*/ 27784 h 76226"/>
                  <a:gd name="connsiteX12" fmla="*/ 44862 w 73676"/>
                  <a:gd name="connsiteY12" fmla="*/ 73377 h 76226"/>
                  <a:gd name="connsiteX13" fmla="*/ 24914 w 73676"/>
                  <a:gd name="connsiteY13" fmla="*/ 76227 h 76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3676" h="76226">
                    <a:moveTo>
                      <a:pt x="24914" y="76227"/>
                    </a:moveTo>
                    <a:cubicBezTo>
                      <a:pt x="19215" y="76227"/>
                      <a:pt x="10666" y="73377"/>
                      <a:pt x="7816" y="70528"/>
                    </a:cubicBezTo>
                    <a:cubicBezTo>
                      <a:pt x="4967" y="67678"/>
                      <a:pt x="-6432" y="59129"/>
                      <a:pt x="4967" y="42032"/>
                    </a:cubicBezTo>
                    <a:cubicBezTo>
                      <a:pt x="7816" y="39182"/>
                      <a:pt x="10666" y="39182"/>
                      <a:pt x="13515" y="39182"/>
                    </a:cubicBezTo>
                    <a:cubicBezTo>
                      <a:pt x="16366" y="42032"/>
                      <a:pt x="16366" y="44881"/>
                      <a:pt x="16366" y="47731"/>
                    </a:cubicBezTo>
                    <a:cubicBezTo>
                      <a:pt x="10666" y="56280"/>
                      <a:pt x="13515" y="61979"/>
                      <a:pt x="16366" y="61979"/>
                    </a:cubicBezTo>
                    <a:cubicBezTo>
                      <a:pt x="22064" y="67678"/>
                      <a:pt x="30614" y="64829"/>
                      <a:pt x="33463" y="64829"/>
                    </a:cubicBezTo>
                    <a:cubicBezTo>
                      <a:pt x="42011" y="56280"/>
                      <a:pt x="56259" y="33483"/>
                      <a:pt x="59110" y="24934"/>
                    </a:cubicBezTo>
                    <a:cubicBezTo>
                      <a:pt x="59110" y="22085"/>
                      <a:pt x="53410" y="13536"/>
                      <a:pt x="47711" y="10686"/>
                    </a:cubicBezTo>
                    <a:cubicBezTo>
                      <a:pt x="44862" y="7837"/>
                      <a:pt x="44862" y="4987"/>
                      <a:pt x="47711" y="2137"/>
                    </a:cubicBezTo>
                    <a:cubicBezTo>
                      <a:pt x="50560" y="-712"/>
                      <a:pt x="53410" y="-712"/>
                      <a:pt x="56259" y="2137"/>
                    </a:cubicBezTo>
                    <a:cubicBezTo>
                      <a:pt x="59110" y="4987"/>
                      <a:pt x="76207" y="16385"/>
                      <a:pt x="73358" y="27784"/>
                    </a:cubicBezTo>
                    <a:cubicBezTo>
                      <a:pt x="70507" y="39182"/>
                      <a:pt x="53410" y="64829"/>
                      <a:pt x="44862" y="73377"/>
                    </a:cubicBezTo>
                    <a:cubicBezTo>
                      <a:pt x="33463" y="73377"/>
                      <a:pt x="30614" y="76227"/>
                      <a:pt x="24914" y="7622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0" name="图形 1">
              <a:extLst>
                <a:ext uri="{FF2B5EF4-FFF2-40B4-BE49-F238E27FC236}">
                  <a16:creationId xmlns:a16="http://schemas.microsoft.com/office/drawing/2014/main" id="{2EC6DA7D-A1B9-4B6A-BE30-133DF0150E07}"/>
                </a:ext>
              </a:extLst>
            </p:cNvPr>
            <p:cNvGrpSpPr/>
            <p:nvPr/>
          </p:nvGrpSpPr>
          <p:grpSpPr>
            <a:xfrm>
              <a:off x="20924187" y="3166522"/>
              <a:ext cx="526088" cy="400918"/>
              <a:chOff x="20924187" y="3166522"/>
              <a:chExt cx="526088" cy="400918"/>
            </a:xfrm>
          </p:grpSpPr>
          <p:grpSp>
            <p:nvGrpSpPr>
              <p:cNvPr id="44" name="图形 1">
                <a:extLst>
                  <a:ext uri="{FF2B5EF4-FFF2-40B4-BE49-F238E27FC236}">
                    <a16:creationId xmlns:a16="http://schemas.microsoft.com/office/drawing/2014/main" id="{A3BF68AB-17CB-4641-91B5-FD2156CF01E4}"/>
                  </a:ext>
                </a:extLst>
              </p:cNvPr>
              <p:cNvGrpSpPr/>
              <p:nvPr/>
            </p:nvGrpSpPr>
            <p:grpSpPr>
              <a:xfrm>
                <a:off x="20924187" y="3166522"/>
                <a:ext cx="526088" cy="400918"/>
                <a:chOff x="20924187" y="3166522"/>
                <a:chExt cx="526088" cy="400918"/>
              </a:xfrm>
              <a:solidFill>
                <a:srgbClr val="7F95BC"/>
              </a:solidFill>
            </p:grpSpPr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AA967A81-B68A-41B6-9C16-29AEB7AFCCBD}"/>
                    </a:ext>
                  </a:extLst>
                </p:cNvPr>
                <p:cNvSpPr/>
                <p:nvPr/>
              </p:nvSpPr>
              <p:spPr>
                <a:xfrm>
                  <a:off x="21150636" y="3194658"/>
                  <a:ext cx="299638" cy="291283"/>
                </a:xfrm>
                <a:custGeom>
                  <a:avLst/>
                  <a:gdLst>
                    <a:gd name="connsiteX0" fmla="*/ 18832 w 299638"/>
                    <a:gd name="connsiteY0" fmla="*/ 136265 h 291283"/>
                    <a:gd name="connsiteX1" fmla="*/ 186959 w 299638"/>
                    <a:gd name="connsiteY1" fmla="*/ 275896 h 291283"/>
                    <a:gd name="connsiteX2" fmla="*/ 261048 w 299638"/>
                    <a:gd name="connsiteY2" fmla="*/ 284445 h 291283"/>
                    <a:gd name="connsiteX3" fmla="*/ 261048 w 299638"/>
                    <a:gd name="connsiteY3" fmla="*/ 284445 h 291283"/>
                    <a:gd name="connsiteX4" fmla="*/ 292393 w 299638"/>
                    <a:gd name="connsiteY4" fmla="*/ 204656 h 291283"/>
                    <a:gd name="connsiteX5" fmla="*/ 198357 w 299638"/>
                    <a:gd name="connsiteY5" fmla="*/ 30830 h 291283"/>
                    <a:gd name="connsiteX6" fmla="*/ 110020 w 299638"/>
                    <a:gd name="connsiteY6" fmla="*/ 8033 h 291283"/>
                    <a:gd name="connsiteX7" fmla="*/ 38780 w 299638"/>
                    <a:gd name="connsiteY7" fmla="*/ 42228 h 291283"/>
                    <a:gd name="connsiteX8" fmla="*/ 18832 w 299638"/>
                    <a:gd name="connsiteY8" fmla="*/ 136265 h 2912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99638" h="291283">
                      <a:moveTo>
                        <a:pt x="18832" y="136265"/>
                      </a:moveTo>
                      <a:lnTo>
                        <a:pt x="186959" y="275896"/>
                      </a:lnTo>
                      <a:cubicBezTo>
                        <a:pt x="206905" y="292994"/>
                        <a:pt x="238252" y="295843"/>
                        <a:pt x="261048" y="284445"/>
                      </a:cubicBezTo>
                      <a:lnTo>
                        <a:pt x="261048" y="284445"/>
                      </a:lnTo>
                      <a:cubicBezTo>
                        <a:pt x="295244" y="270197"/>
                        <a:pt x="309492" y="233152"/>
                        <a:pt x="292393" y="204656"/>
                      </a:cubicBezTo>
                      <a:lnTo>
                        <a:pt x="198357" y="30830"/>
                      </a:lnTo>
                      <a:cubicBezTo>
                        <a:pt x="181260" y="2334"/>
                        <a:pt x="141365" y="-9064"/>
                        <a:pt x="110020" y="8033"/>
                      </a:cubicBezTo>
                      <a:lnTo>
                        <a:pt x="38780" y="42228"/>
                      </a:lnTo>
                      <a:cubicBezTo>
                        <a:pt x="-3964" y="59326"/>
                        <a:pt x="-12513" y="110619"/>
                        <a:pt x="18832" y="136265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D9D92E9B-9411-45BD-BD93-CB61EBABAEEF}"/>
                    </a:ext>
                  </a:extLst>
                </p:cNvPr>
                <p:cNvSpPr/>
                <p:nvPr/>
              </p:nvSpPr>
              <p:spPr>
                <a:xfrm>
                  <a:off x="20924187" y="3253768"/>
                  <a:ext cx="228950" cy="313672"/>
                </a:xfrm>
                <a:custGeom>
                  <a:avLst/>
                  <a:gdLst>
                    <a:gd name="connsiteX0" fmla="*/ 222485 w 228950"/>
                    <a:gd name="connsiteY0" fmla="*/ 82855 h 313672"/>
                    <a:gd name="connsiteX1" fmla="*/ 125598 w 228950"/>
                    <a:gd name="connsiteY1" fmla="*/ 276628 h 313672"/>
                    <a:gd name="connsiteX2" fmla="*/ 60057 w 228950"/>
                    <a:gd name="connsiteY2" fmla="*/ 313673 h 313672"/>
                    <a:gd name="connsiteX3" fmla="*/ 60057 w 228950"/>
                    <a:gd name="connsiteY3" fmla="*/ 313673 h 313672"/>
                    <a:gd name="connsiteX4" fmla="*/ 216 w 228950"/>
                    <a:gd name="connsiteY4" fmla="*/ 253831 h 313672"/>
                    <a:gd name="connsiteX5" fmla="*/ 17313 w 228950"/>
                    <a:gd name="connsiteY5" fmla="*/ 57208 h 313672"/>
                    <a:gd name="connsiteX6" fmla="*/ 88553 w 228950"/>
                    <a:gd name="connsiteY6" fmla="*/ 216 h 313672"/>
                    <a:gd name="connsiteX7" fmla="*/ 168342 w 228950"/>
                    <a:gd name="connsiteY7" fmla="*/ 3066 h 313672"/>
                    <a:gd name="connsiteX8" fmla="*/ 222485 w 228950"/>
                    <a:gd name="connsiteY8" fmla="*/ 82855 h 313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28950" h="313672">
                      <a:moveTo>
                        <a:pt x="222485" y="82855"/>
                      </a:moveTo>
                      <a:lnTo>
                        <a:pt x="125598" y="276628"/>
                      </a:lnTo>
                      <a:cubicBezTo>
                        <a:pt x="114200" y="299425"/>
                        <a:pt x="88553" y="313673"/>
                        <a:pt x="60057" y="313673"/>
                      </a:cubicBezTo>
                      <a:lnTo>
                        <a:pt x="60057" y="313673"/>
                      </a:lnTo>
                      <a:cubicBezTo>
                        <a:pt x="23013" y="313673"/>
                        <a:pt x="-2635" y="285177"/>
                        <a:pt x="216" y="253831"/>
                      </a:cubicBezTo>
                      <a:lnTo>
                        <a:pt x="17313" y="57208"/>
                      </a:lnTo>
                      <a:cubicBezTo>
                        <a:pt x="20162" y="23013"/>
                        <a:pt x="51509" y="-2633"/>
                        <a:pt x="88553" y="216"/>
                      </a:cubicBezTo>
                      <a:lnTo>
                        <a:pt x="168342" y="3066"/>
                      </a:lnTo>
                      <a:cubicBezTo>
                        <a:pt x="213936" y="3066"/>
                        <a:pt x="242432" y="45810"/>
                        <a:pt x="222485" y="82855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A2376852-631B-462D-9291-24497F79C1B7}"/>
                    </a:ext>
                  </a:extLst>
                </p:cNvPr>
                <p:cNvSpPr/>
                <p:nvPr/>
              </p:nvSpPr>
              <p:spPr>
                <a:xfrm>
                  <a:off x="20938507" y="3166522"/>
                  <a:ext cx="427621" cy="292672"/>
                </a:xfrm>
                <a:custGeom>
                  <a:avLst/>
                  <a:gdLst>
                    <a:gd name="connsiteX0" fmla="*/ 2993 w 427621"/>
                    <a:gd name="connsiteY0" fmla="*/ 181500 h 292672"/>
                    <a:gd name="connsiteX1" fmla="*/ 8692 w 427621"/>
                    <a:gd name="connsiteY1" fmla="*/ 201447 h 292672"/>
                    <a:gd name="connsiteX2" fmla="*/ 145473 w 427621"/>
                    <a:gd name="connsiteY2" fmla="*/ 289785 h 292672"/>
                    <a:gd name="connsiteX3" fmla="*/ 336397 w 427621"/>
                    <a:gd name="connsiteY3" fmla="*/ 249890 h 292672"/>
                    <a:gd name="connsiteX4" fmla="*/ 424734 w 427621"/>
                    <a:gd name="connsiteY4" fmla="*/ 113109 h 292672"/>
                    <a:gd name="connsiteX5" fmla="*/ 419034 w 427621"/>
                    <a:gd name="connsiteY5" fmla="*/ 93162 h 292672"/>
                    <a:gd name="connsiteX6" fmla="*/ 399088 w 427621"/>
                    <a:gd name="connsiteY6" fmla="*/ 47568 h 292672"/>
                    <a:gd name="connsiteX7" fmla="*/ 399088 w 427621"/>
                    <a:gd name="connsiteY7" fmla="*/ 47568 h 292672"/>
                    <a:gd name="connsiteX8" fmla="*/ 282253 w 427621"/>
                    <a:gd name="connsiteY8" fmla="*/ 1974 h 292672"/>
                    <a:gd name="connsiteX9" fmla="*/ 91330 w 427621"/>
                    <a:gd name="connsiteY9" fmla="*/ 41869 h 292672"/>
                    <a:gd name="connsiteX10" fmla="*/ 144 w 427621"/>
                    <a:gd name="connsiteY10" fmla="*/ 155853 h 292672"/>
                    <a:gd name="connsiteX11" fmla="*/ 2993 w 427621"/>
                    <a:gd name="connsiteY11" fmla="*/ 181500 h 292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27621" h="292672">
                      <a:moveTo>
                        <a:pt x="2993" y="181500"/>
                      </a:moveTo>
                      <a:lnTo>
                        <a:pt x="8692" y="201447"/>
                      </a:lnTo>
                      <a:cubicBezTo>
                        <a:pt x="22940" y="264138"/>
                        <a:pt x="82781" y="304033"/>
                        <a:pt x="145473" y="289785"/>
                      </a:cubicBezTo>
                      <a:lnTo>
                        <a:pt x="336397" y="249890"/>
                      </a:lnTo>
                      <a:cubicBezTo>
                        <a:pt x="399088" y="235642"/>
                        <a:pt x="438982" y="175800"/>
                        <a:pt x="424734" y="113109"/>
                      </a:cubicBezTo>
                      <a:lnTo>
                        <a:pt x="419034" y="93162"/>
                      </a:lnTo>
                      <a:cubicBezTo>
                        <a:pt x="416185" y="76064"/>
                        <a:pt x="407637" y="61816"/>
                        <a:pt x="399088" y="47568"/>
                      </a:cubicBezTo>
                      <a:lnTo>
                        <a:pt x="399088" y="47568"/>
                      </a:lnTo>
                      <a:cubicBezTo>
                        <a:pt x="373441" y="13373"/>
                        <a:pt x="327848" y="-6574"/>
                        <a:pt x="282253" y="1974"/>
                      </a:cubicBezTo>
                      <a:lnTo>
                        <a:pt x="91330" y="41869"/>
                      </a:lnTo>
                      <a:cubicBezTo>
                        <a:pt x="37188" y="53267"/>
                        <a:pt x="-2707" y="101711"/>
                        <a:pt x="144" y="155853"/>
                      </a:cubicBezTo>
                      <a:cubicBezTo>
                        <a:pt x="2993" y="167252"/>
                        <a:pt x="2993" y="172951"/>
                        <a:pt x="2993" y="18150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45" name="图形 1">
                <a:extLst>
                  <a:ext uri="{FF2B5EF4-FFF2-40B4-BE49-F238E27FC236}">
                    <a16:creationId xmlns:a16="http://schemas.microsoft.com/office/drawing/2014/main" id="{2E5395B2-E242-450D-9459-C4C31E76060A}"/>
                  </a:ext>
                </a:extLst>
              </p:cNvPr>
              <p:cNvGrpSpPr/>
              <p:nvPr/>
            </p:nvGrpSpPr>
            <p:grpSpPr>
              <a:xfrm>
                <a:off x="21000615" y="3239177"/>
                <a:ext cx="104038" cy="103870"/>
                <a:chOff x="21000615" y="3239177"/>
                <a:chExt cx="104038" cy="103870"/>
              </a:xfrm>
              <a:solidFill>
                <a:srgbClr val="FFFFFF"/>
              </a:solidFill>
            </p:grpSpPr>
            <p:grpSp>
              <p:nvGrpSpPr>
                <p:cNvPr id="51" name="图形 1">
                  <a:extLst>
                    <a:ext uri="{FF2B5EF4-FFF2-40B4-BE49-F238E27FC236}">
                      <a16:creationId xmlns:a16="http://schemas.microsoft.com/office/drawing/2014/main" id="{7CEE9B98-0F78-440F-B1A8-9B03573B4B71}"/>
                    </a:ext>
                  </a:extLst>
                </p:cNvPr>
                <p:cNvGrpSpPr/>
                <p:nvPr/>
              </p:nvGrpSpPr>
              <p:grpSpPr>
                <a:xfrm>
                  <a:off x="21026429" y="3239177"/>
                  <a:ext cx="52410" cy="103870"/>
                  <a:chOff x="21026429" y="3239177"/>
                  <a:chExt cx="52410" cy="103870"/>
                </a:xfrm>
                <a:solidFill>
                  <a:srgbClr val="FFFFFF"/>
                </a:solidFill>
              </p:grpSpPr>
              <p:sp>
                <p:nvSpPr>
                  <p:cNvPr id="55" name="任意多边形: 形状 54">
                    <a:extLst>
                      <a:ext uri="{FF2B5EF4-FFF2-40B4-BE49-F238E27FC236}">
                        <a16:creationId xmlns:a16="http://schemas.microsoft.com/office/drawing/2014/main" id="{477E7D03-F166-47A0-A701-8E9CF4C75FE6}"/>
                      </a:ext>
                    </a:extLst>
                  </p:cNvPr>
                  <p:cNvSpPr/>
                  <p:nvPr/>
                </p:nvSpPr>
                <p:spPr>
                  <a:xfrm>
                    <a:off x="21026429" y="3239177"/>
                    <a:ext cx="38162" cy="38329"/>
                  </a:xfrm>
                  <a:custGeom>
                    <a:avLst/>
                    <a:gdLst>
                      <a:gd name="connsiteX0" fmla="*/ 559 w 38162"/>
                      <a:gd name="connsiteY0" fmla="*/ 23356 h 38329"/>
                      <a:gd name="connsiteX1" fmla="*/ 14807 w 38162"/>
                      <a:gd name="connsiteY1" fmla="*/ 559 h 38329"/>
                      <a:gd name="connsiteX2" fmla="*/ 37603 w 38162"/>
                      <a:gd name="connsiteY2" fmla="*/ 14807 h 38329"/>
                      <a:gd name="connsiteX3" fmla="*/ 23355 w 38162"/>
                      <a:gd name="connsiteY3" fmla="*/ 37604 h 38329"/>
                      <a:gd name="connsiteX4" fmla="*/ 559 w 38162"/>
                      <a:gd name="connsiteY4" fmla="*/ 23356 h 383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162" h="38329">
                        <a:moveTo>
                          <a:pt x="559" y="23356"/>
                        </a:moveTo>
                        <a:cubicBezTo>
                          <a:pt x="-2290" y="11957"/>
                          <a:pt x="6258" y="3409"/>
                          <a:pt x="14807" y="559"/>
                        </a:cubicBezTo>
                        <a:cubicBezTo>
                          <a:pt x="26206" y="-2291"/>
                          <a:pt x="34754" y="6258"/>
                          <a:pt x="37603" y="14807"/>
                        </a:cubicBezTo>
                        <a:cubicBezTo>
                          <a:pt x="40454" y="26205"/>
                          <a:pt x="31904" y="34754"/>
                          <a:pt x="23355" y="37604"/>
                        </a:cubicBezTo>
                        <a:cubicBezTo>
                          <a:pt x="14807" y="40453"/>
                          <a:pt x="3408" y="34754"/>
                          <a:pt x="559" y="2335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56" name="任意多边形: 形状 55">
                    <a:extLst>
                      <a:ext uri="{FF2B5EF4-FFF2-40B4-BE49-F238E27FC236}">
                        <a16:creationId xmlns:a16="http://schemas.microsoft.com/office/drawing/2014/main" id="{906AD71F-556A-4F7B-B77B-9B5497D96140}"/>
                      </a:ext>
                    </a:extLst>
                  </p:cNvPr>
                  <p:cNvSpPr/>
                  <p:nvPr/>
                </p:nvSpPr>
                <p:spPr>
                  <a:xfrm>
                    <a:off x="21040677" y="3304718"/>
                    <a:ext cx="38162" cy="38329"/>
                  </a:xfrm>
                  <a:custGeom>
                    <a:avLst/>
                    <a:gdLst>
                      <a:gd name="connsiteX0" fmla="*/ 559 w 38162"/>
                      <a:gd name="connsiteY0" fmla="*/ 23356 h 38329"/>
                      <a:gd name="connsiteX1" fmla="*/ 14807 w 38162"/>
                      <a:gd name="connsiteY1" fmla="*/ 559 h 38329"/>
                      <a:gd name="connsiteX2" fmla="*/ 37603 w 38162"/>
                      <a:gd name="connsiteY2" fmla="*/ 14807 h 38329"/>
                      <a:gd name="connsiteX3" fmla="*/ 23355 w 38162"/>
                      <a:gd name="connsiteY3" fmla="*/ 37604 h 38329"/>
                      <a:gd name="connsiteX4" fmla="*/ 559 w 38162"/>
                      <a:gd name="connsiteY4" fmla="*/ 23356 h 383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162" h="38329">
                        <a:moveTo>
                          <a:pt x="559" y="23356"/>
                        </a:moveTo>
                        <a:cubicBezTo>
                          <a:pt x="-2290" y="11957"/>
                          <a:pt x="6258" y="3409"/>
                          <a:pt x="14807" y="559"/>
                        </a:cubicBezTo>
                        <a:cubicBezTo>
                          <a:pt x="26206" y="-2291"/>
                          <a:pt x="34754" y="6258"/>
                          <a:pt x="37603" y="14807"/>
                        </a:cubicBezTo>
                        <a:cubicBezTo>
                          <a:pt x="40454" y="26205"/>
                          <a:pt x="31904" y="34754"/>
                          <a:pt x="23355" y="37604"/>
                        </a:cubicBezTo>
                        <a:cubicBezTo>
                          <a:pt x="11958" y="40453"/>
                          <a:pt x="3408" y="34754"/>
                          <a:pt x="559" y="2335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52" name="图形 1">
                  <a:extLst>
                    <a:ext uri="{FF2B5EF4-FFF2-40B4-BE49-F238E27FC236}">
                      <a16:creationId xmlns:a16="http://schemas.microsoft.com/office/drawing/2014/main" id="{9EC53B77-6BCB-4EF9-B548-D553663B75B0}"/>
                    </a:ext>
                  </a:extLst>
                </p:cNvPr>
                <p:cNvGrpSpPr/>
                <p:nvPr/>
              </p:nvGrpSpPr>
              <p:grpSpPr>
                <a:xfrm>
                  <a:off x="21000615" y="3264656"/>
                  <a:ext cx="104038" cy="52745"/>
                  <a:chOff x="21000615" y="3264656"/>
                  <a:chExt cx="104038" cy="52745"/>
                </a:xfrm>
                <a:solidFill>
                  <a:srgbClr val="FFFFFF"/>
                </a:solidFill>
              </p:grpSpPr>
              <p:sp>
                <p:nvSpPr>
                  <p:cNvPr id="53" name="任意多边形: 形状 52">
                    <a:extLst>
                      <a:ext uri="{FF2B5EF4-FFF2-40B4-BE49-F238E27FC236}">
                        <a16:creationId xmlns:a16="http://schemas.microsoft.com/office/drawing/2014/main" id="{6A9C6E32-2448-4675-807A-77C3FBE65A3E}"/>
                      </a:ext>
                    </a:extLst>
                  </p:cNvPr>
                  <p:cNvSpPr/>
                  <p:nvPr/>
                </p:nvSpPr>
                <p:spPr>
                  <a:xfrm>
                    <a:off x="21066156" y="3264656"/>
                    <a:ext cx="38496" cy="38497"/>
                  </a:xfrm>
                  <a:custGeom>
                    <a:avLst/>
                    <a:gdLst>
                      <a:gd name="connsiteX0" fmla="*/ 23523 w 38496"/>
                      <a:gd name="connsiteY0" fmla="*/ 37771 h 38497"/>
                      <a:gd name="connsiteX1" fmla="*/ 37771 w 38496"/>
                      <a:gd name="connsiteY1" fmla="*/ 14974 h 38497"/>
                      <a:gd name="connsiteX2" fmla="*/ 14975 w 38496"/>
                      <a:gd name="connsiteY2" fmla="*/ 726 h 38497"/>
                      <a:gd name="connsiteX3" fmla="*/ 727 w 38496"/>
                      <a:gd name="connsiteY3" fmla="*/ 23523 h 38497"/>
                      <a:gd name="connsiteX4" fmla="*/ 23523 w 38496"/>
                      <a:gd name="connsiteY4" fmla="*/ 37771 h 38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496" h="38497">
                        <a:moveTo>
                          <a:pt x="23523" y="37771"/>
                        </a:moveTo>
                        <a:cubicBezTo>
                          <a:pt x="34920" y="34921"/>
                          <a:pt x="40620" y="26373"/>
                          <a:pt x="37771" y="14974"/>
                        </a:cubicBezTo>
                        <a:cubicBezTo>
                          <a:pt x="34920" y="3576"/>
                          <a:pt x="26372" y="-2123"/>
                          <a:pt x="14975" y="726"/>
                        </a:cubicBezTo>
                        <a:cubicBezTo>
                          <a:pt x="3576" y="3576"/>
                          <a:pt x="-2124" y="12125"/>
                          <a:pt x="727" y="23523"/>
                        </a:cubicBezTo>
                        <a:cubicBezTo>
                          <a:pt x="3576" y="34921"/>
                          <a:pt x="14975" y="40621"/>
                          <a:pt x="23523" y="377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54" name="任意多边形: 形状 53">
                    <a:extLst>
                      <a:ext uri="{FF2B5EF4-FFF2-40B4-BE49-F238E27FC236}">
                        <a16:creationId xmlns:a16="http://schemas.microsoft.com/office/drawing/2014/main" id="{7E51EFA0-BF6D-4EAF-B670-C5B8BDEF9C22}"/>
                      </a:ext>
                    </a:extLst>
                  </p:cNvPr>
                  <p:cNvSpPr/>
                  <p:nvPr/>
                </p:nvSpPr>
                <p:spPr>
                  <a:xfrm>
                    <a:off x="21000615" y="3278904"/>
                    <a:ext cx="38497" cy="38497"/>
                  </a:xfrm>
                  <a:custGeom>
                    <a:avLst/>
                    <a:gdLst>
                      <a:gd name="connsiteX0" fmla="*/ 23524 w 38497"/>
                      <a:gd name="connsiteY0" fmla="*/ 37771 h 38497"/>
                      <a:gd name="connsiteX1" fmla="*/ 37772 w 38497"/>
                      <a:gd name="connsiteY1" fmla="*/ 14974 h 38497"/>
                      <a:gd name="connsiteX2" fmla="*/ 14974 w 38497"/>
                      <a:gd name="connsiteY2" fmla="*/ 726 h 38497"/>
                      <a:gd name="connsiteX3" fmla="*/ 726 w 38497"/>
                      <a:gd name="connsiteY3" fmla="*/ 23523 h 38497"/>
                      <a:gd name="connsiteX4" fmla="*/ 23524 w 38497"/>
                      <a:gd name="connsiteY4" fmla="*/ 37771 h 38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497" h="38497">
                        <a:moveTo>
                          <a:pt x="23524" y="37771"/>
                        </a:moveTo>
                        <a:cubicBezTo>
                          <a:pt x="34921" y="34921"/>
                          <a:pt x="40621" y="26373"/>
                          <a:pt x="37772" y="14974"/>
                        </a:cubicBezTo>
                        <a:cubicBezTo>
                          <a:pt x="34921" y="3576"/>
                          <a:pt x="26373" y="-2123"/>
                          <a:pt x="14974" y="726"/>
                        </a:cubicBezTo>
                        <a:cubicBezTo>
                          <a:pt x="3577" y="3576"/>
                          <a:pt x="-2123" y="12125"/>
                          <a:pt x="726" y="23523"/>
                        </a:cubicBezTo>
                        <a:cubicBezTo>
                          <a:pt x="3577" y="34921"/>
                          <a:pt x="12125" y="40621"/>
                          <a:pt x="23524" y="377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861BB2F8-0B58-4F9A-B30B-060FCB206812}"/>
                  </a:ext>
                </a:extLst>
              </p:cNvPr>
              <p:cNvSpPr/>
              <p:nvPr/>
            </p:nvSpPr>
            <p:spPr>
              <a:xfrm>
                <a:off x="21196698" y="3324791"/>
                <a:ext cx="75789" cy="74956"/>
              </a:xfrm>
              <a:custGeom>
                <a:avLst/>
                <a:gdLst>
                  <a:gd name="connsiteX0" fmla="*/ 1266 w 75789"/>
                  <a:gd name="connsiteY0" fmla="*/ 46027 h 74956"/>
                  <a:gd name="connsiteX1" fmla="*/ 29763 w 75789"/>
                  <a:gd name="connsiteY1" fmla="*/ 433 h 74956"/>
                  <a:gd name="connsiteX2" fmla="*/ 75355 w 75789"/>
                  <a:gd name="connsiteY2" fmla="*/ 28929 h 74956"/>
                  <a:gd name="connsiteX3" fmla="*/ 46859 w 75789"/>
                  <a:gd name="connsiteY3" fmla="*/ 74523 h 74956"/>
                  <a:gd name="connsiteX4" fmla="*/ 1266 w 75789"/>
                  <a:gd name="connsiteY4" fmla="*/ 46027 h 7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789" h="74956">
                    <a:moveTo>
                      <a:pt x="1266" y="46027"/>
                    </a:moveTo>
                    <a:cubicBezTo>
                      <a:pt x="-4433" y="26080"/>
                      <a:pt x="9815" y="6133"/>
                      <a:pt x="29763" y="433"/>
                    </a:cubicBezTo>
                    <a:cubicBezTo>
                      <a:pt x="49710" y="-2416"/>
                      <a:pt x="69658" y="8982"/>
                      <a:pt x="75355" y="28929"/>
                    </a:cubicBezTo>
                    <a:cubicBezTo>
                      <a:pt x="78206" y="48877"/>
                      <a:pt x="66807" y="68824"/>
                      <a:pt x="46859" y="74523"/>
                    </a:cubicBezTo>
                    <a:cubicBezTo>
                      <a:pt x="24063" y="77373"/>
                      <a:pt x="4115" y="65974"/>
                      <a:pt x="1266" y="46027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29744E52-14AF-493F-836B-28F27E934F67}"/>
                  </a:ext>
                </a:extLst>
              </p:cNvPr>
              <p:cNvSpPr/>
              <p:nvPr/>
            </p:nvSpPr>
            <p:spPr>
              <a:xfrm>
                <a:off x="21063599" y="3349604"/>
                <a:ext cx="74957" cy="76808"/>
              </a:xfrm>
              <a:custGeom>
                <a:avLst/>
                <a:gdLst>
                  <a:gd name="connsiteX0" fmla="*/ 433 w 74957"/>
                  <a:gd name="connsiteY0" fmla="*/ 46860 h 76808"/>
                  <a:gd name="connsiteX1" fmla="*/ 28929 w 74957"/>
                  <a:gd name="connsiteY1" fmla="*/ 1266 h 76808"/>
                  <a:gd name="connsiteX2" fmla="*/ 74524 w 74957"/>
                  <a:gd name="connsiteY2" fmla="*/ 29762 h 76808"/>
                  <a:gd name="connsiteX3" fmla="*/ 46028 w 74957"/>
                  <a:gd name="connsiteY3" fmla="*/ 75356 h 76808"/>
                  <a:gd name="connsiteX4" fmla="*/ 433 w 74957"/>
                  <a:gd name="connsiteY4" fmla="*/ 46860 h 76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957" h="76808">
                    <a:moveTo>
                      <a:pt x="433" y="46860"/>
                    </a:moveTo>
                    <a:cubicBezTo>
                      <a:pt x="-2416" y="26913"/>
                      <a:pt x="8982" y="6966"/>
                      <a:pt x="28929" y="1266"/>
                    </a:cubicBezTo>
                    <a:cubicBezTo>
                      <a:pt x="48877" y="-4433"/>
                      <a:pt x="68824" y="9815"/>
                      <a:pt x="74524" y="29762"/>
                    </a:cubicBezTo>
                    <a:cubicBezTo>
                      <a:pt x="77373" y="49710"/>
                      <a:pt x="65974" y="69657"/>
                      <a:pt x="46028" y="75356"/>
                    </a:cubicBezTo>
                    <a:cubicBezTo>
                      <a:pt x="26080" y="81055"/>
                      <a:pt x="6133" y="69657"/>
                      <a:pt x="433" y="46860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48" name="图形 1">
                <a:extLst>
                  <a:ext uri="{FF2B5EF4-FFF2-40B4-BE49-F238E27FC236}">
                    <a16:creationId xmlns:a16="http://schemas.microsoft.com/office/drawing/2014/main" id="{22EF58D1-7FB2-4067-BF48-26FA2050315C}"/>
                  </a:ext>
                </a:extLst>
              </p:cNvPr>
              <p:cNvGrpSpPr/>
              <p:nvPr/>
            </p:nvGrpSpPr>
            <p:grpSpPr>
              <a:xfrm>
                <a:off x="21191172" y="3198750"/>
                <a:ext cx="104770" cy="104769"/>
                <a:chOff x="21191172" y="3198750"/>
                <a:chExt cx="104770" cy="104769"/>
              </a:xfrm>
            </p:grpSpPr>
            <p:sp>
              <p:nvSpPr>
                <p:cNvPr id="49" name="任意多边形: 形状 48">
                  <a:extLst>
                    <a:ext uri="{FF2B5EF4-FFF2-40B4-BE49-F238E27FC236}">
                      <a16:creationId xmlns:a16="http://schemas.microsoft.com/office/drawing/2014/main" id="{B42390BB-4025-4BC5-A37C-BC525DBBBFBC}"/>
                    </a:ext>
                  </a:extLst>
                </p:cNvPr>
                <p:cNvSpPr/>
                <p:nvPr/>
              </p:nvSpPr>
              <p:spPr>
                <a:xfrm>
                  <a:off x="21191172" y="3198750"/>
                  <a:ext cx="104770" cy="104769"/>
                </a:xfrm>
                <a:custGeom>
                  <a:avLst/>
                  <a:gdLst>
                    <a:gd name="connsiteX0" fmla="*/ 1092 w 104770"/>
                    <a:gd name="connsiteY0" fmla="*/ 63783 h 104769"/>
                    <a:gd name="connsiteX1" fmla="*/ 40987 w 104770"/>
                    <a:gd name="connsiteY1" fmla="*/ 1092 h 104769"/>
                    <a:gd name="connsiteX2" fmla="*/ 103679 w 104770"/>
                    <a:gd name="connsiteY2" fmla="*/ 40986 h 104769"/>
                    <a:gd name="connsiteX3" fmla="*/ 63784 w 104770"/>
                    <a:gd name="connsiteY3" fmla="*/ 103678 h 104769"/>
                    <a:gd name="connsiteX4" fmla="*/ 1092 w 104770"/>
                    <a:gd name="connsiteY4" fmla="*/ 63783 h 1047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770" h="104769">
                      <a:moveTo>
                        <a:pt x="1092" y="63783"/>
                      </a:moveTo>
                      <a:cubicBezTo>
                        <a:pt x="-4608" y="35287"/>
                        <a:pt x="12491" y="9641"/>
                        <a:pt x="40987" y="1092"/>
                      </a:cubicBezTo>
                      <a:cubicBezTo>
                        <a:pt x="69483" y="-4607"/>
                        <a:pt x="95129" y="12490"/>
                        <a:pt x="103679" y="40986"/>
                      </a:cubicBezTo>
                      <a:cubicBezTo>
                        <a:pt x="109377" y="69483"/>
                        <a:pt x="92280" y="95129"/>
                        <a:pt x="63784" y="103678"/>
                      </a:cubicBezTo>
                      <a:cubicBezTo>
                        <a:pt x="35288" y="109377"/>
                        <a:pt x="6792" y="92279"/>
                        <a:pt x="1092" y="6378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0" name="任意多边形: 形状 49">
                  <a:extLst>
                    <a:ext uri="{FF2B5EF4-FFF2-40B4-BE49-F238E27FC236}">
                      <a16:creationId xmlns:a16="http://schemas.microsoft.com/office/drawing/2014/main" id="{3C135C07-7BD5-40C2-860C-1E1055472674}"/>
                    </a:ext>
                  </a:extLst>
                </p:cNvPr>
                <p:cNvSpPr/>
                <p:nvPr/>
              </p:nvSpPr>
              <p:spPr>
                <a:xfrm>
                  <a:off x="21208245" y="3211240"/>
                  <a:ext cx="75207" cy="74089"/>
                </a:xfrm>
                <a:custGeom>
                  <a:avLst/>
                  <a:gdLst>
                    <a:gd name="connsiteX0" fmla="*/ 6816 w 75207"/>
                    <a:gd name="connsiteY0" fmla="*/ 31346 h 74089"/>
                    <a:gd name="connsiteX1" fmla="*/ 21064 w 75207"/>
                    <a:gd name="connsiteY1" fmla="*/ 28496 h 74089"/>
                    <a:gd name="connsiteX2" fmla="*/ 18215 w 75207"/>
                    <a:gd name="connsiteY2" fmla="*/ 14248 h 74089"/>
                    <a:gd name="connsiteX3" fmla="*/ 23915 w 75207"/>
                    <a:gd name="connsiteY3" fmla="*/ 2850 h 74089"/>
                    <a:gd name="connsiteX4" fmla="*/ 32463 w 75207"/>
                    <a:gd name="connsiteY4" fmla="*/ 0 h 74089"/>
                    <a:gd name="connsiteX5" fmla="*/ 43862 w 75207"/>
                    <a:gd name="connsiteY5" fmla="*/ 5699 h 74089"/>
                    <a:gd name="connsiteX6" fmla="*/ 46711 w 75207"/>
                    <a:gd name="connsiteY6" fmla="*/ 19947 h 74089"/>
                    <a:gd name="connsiteX7" fmla="*/ 60959 w 75207"/>
                    <a:gd name="connsiteY7" fmla="*/ 17098 h 74089"/>
                    <a:gd name="connsiteX8" fmla="*/ 72358 w 75207"/>
                    <a:gd name="connsiteY8" fmla="*/ 22797 h 74089"/>
                    <a:gd name="connsiteX9" fmla="*/ 75207 w 75207"/>
                    <a:gd name="connsiteY9" fmla="*/ 31346 h 74089"/>
                    <a:gd name="connsiteX10" fmla="*/ 69508 w 75207"/>
                    <a:gd name="connsiteY10" fmla="*/ 42744 h 74089"/>
                    <a:gd name="connsiteX11" fmla="*/ 55260 w 75207"/>
                    <a:gd name="connsiteY11" fmla="*/ 45594 h 74089"/>
                    <a:gd name="connsiteX12" fmla="*/ 58110 w 75207"/>
                    <a:gd name="connsiteY12" fmla="*/ 59842 h 74089"/>
                    <a:gd name="connsiteX13" fmla="*/ 52411 w 75207"/>
                    <a:gd name="connsiteY13" fmla="*/ 71240 h 74089"/>
                    <a:gd name="connsiteX14" fmla="*/ 43862 w 75207"/>
                    <a:gd name="connsiteY14" fmla="*/ 74090 h 74089"/>
                    <a:gd name="connsiteX15" fmla="*/ 32463 w 75207"/>
                    <a:gd name="connsiteY15" fmla="*/ 68390 h 74089"/>
                    <a:gd name="connsiteX16" fmla="*/ 29614 w 75207"/>
                    <a:gd name="connsiteY16" fmla="*/ 54142 h 74089"/>
                    <a:gd name="connsiteX17" fmla="*/ 15366 w 75207"/>
                    <a:gd name="connsiteY17" fmla="*/ 56992 h 74089"/>
                    <a:gd name="connsiteX18" fmla="*/ 3967 w 75207"/>
                    <a:gd name="connsiteY18" fmla="*/ 51293 h 74089"/>
                    <a:gd name="connsiteX19" fmla="*/ 1118 w 75207"/>
                    <a:gd name="connsiteY19" fmla="*/ 42744 h 74089"/>
                    <a:gd name="connsiteX20" fmla="*/ 6816 w 75207"/>
                    <a:gd name="connsiteY20" fmla="*/ 31346 h 74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75207" h="74089">
                      <a:moveTo>
                        <a:pt x="6816" y="31346"/>
                      </a:moveTo>
                      <a:lnTo>
                        <a:pt x="21064" y="28496"/>
                      </a:lnTo>
                      <a:lnTo>
                        <a:pt x="18215" y="14248"/>
                      </a:lnTo>
                      <a:cubicBezTo>
                        <a:pt x="18215" y="8549"/>
                        <a:pt x="21064" y="5699"/>
                        <a:pt x="23915" y="2850"/>
                      </a:cubicBezTo>
                      <a:lnTo>
                        <a:pt x="32463" y="0"/>
                      </a:lnTo>
                      <a:cubicBezTo>
                        <a:pt x="38163" y="0"/>
                        <a:pt x="41012" y="2850"/>
                        <a:pt x="43862" y="5699"/>
                      </a:cubicBezTo>
                      <a:lnTo>
                        <a:pt x="46711" y="19947"/>
                      </a:lnTo>
                      <a:lnTo>
                        <a:pt x="60959" y="17098"/>
                      </a:lnTo>
                      <a:cubicBezTo>
                        <a:pt x="66659" y="17098"/>
                        <a:pt x="69508" y="19947"/>
                        <a:pt x="72358" y="22797"/>
                      </a:cubicBezTo>
                      <a:lnTo>
                        <a:pt x="75207" y="31346"/>
                      </a:lnTo>
                      <a:cubicBezTo>
                        <a:pt x="75207" y="37045"/>
                        <a:pt x="72358" y="39894"/>
                        <a:pt x="69508" y="42744"/>
                      </a:cubicBezTo>
                      <a:lnTo>
                        <a:pt x="55260" y="45594"/>
                      </a:lnTo>
                      <a:lnTo>
                        <a:pt x="58110" y="59842"/>
                      </a:lnTo>
                      <a:cubicBezTo>
                        <a:pt x="58110" y="65541"/>
                        <a:pt x="55260" y="68390"/>
                        <a:pt x="52411" y="71240"/>
                      </a:cubicBezTo>
                      <a:lnTo>
                        <a:pt x="43862" y="74090"/>
                      </a:lnTo>
                      <a:cubicBezTo>
                        <a:pt x="38163" y="74090"/>
                        <a:pt x="35312" y="71240"/>
                        <a:pt x="32463" y="68390"/>
                      </a:cubicBezTo>
                      <a:lnTo>
                        <a:pt x="29614" y="54142"/>
                      </a:lnTo>
                      <a:lnTo>
                        <a:pt x="15366" y="56992"/>
                      </a:lnTo>
                      <a:cubicBezTo>
                        <a:pt x="9667" y="56992"/>
                        <a:pt x="6816" y="54142"/>
                        <a:pt x="3967" y="51293"/>
                      </a:cubicBezTo>
                      <a:lnTo>
                        <a:pt x="1118" y="42744"/>
                      </a:lnTo>
                      <a:cubicBezTo>
                        <a:pt x="-1732" y="37045"/>
                        <a:pt x="1118" y="34195"/>
                        <a:pt x="6816" y="31346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41" name="图形 1">
              <a:extLst>
                <a:ext uri="{FF2B5EF4-FFF2-40B4-BE49-F238E27FC236}">
                  <a16:creationId xmlns:a16="http://schemas.microsoft.com/office/drawing/2014/main" id="{4656E9B2-DABC-4298-BBDA-8AE543EAFD16}"/>
                </a:ext>
              </a:extLst>
            </p:cNvPr>
            <p:cNvGrpSpPr/>
            <p:nvPr/>
          </p:nvGrpSpPr>
          <p:grpSpPr>
            <a:xfrm>
              <a:off x="20884508" y="3451642"/>
              <a:ext cx="123650" cy="140242"/>
              <a:chOff x="20884508" y="3451642"/>
              <a:chExt cx="123650" cy="140242"/>
            </a:xfrm>
          </p:grpSpPr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27263CF4-432A-46D9-85AB-911E280BAA25}"/>
                  </a:ext>
                </a:extLst>
              </p:cNvPr>
              <p:cNvSpPr/>
              <p:nvPr/>
            </p:nvSpPr>
            <p:spPr>
              <a:xfrm>
                <a:off x="20892876" y="3457446"/>
                <a:ext cx="111315" cy="134439"/>
              </a:xfrm>
              <a:custGeom>
                <a:avLst/>
                <a:gdLst>
                  <a:gd name="connsiteX0" fmla="*/ 111315 w 111315"/>
                  <a:gd name="connsiteY0" fmla="*/ 27356 h 134439"/>
                  <a:gd name="connsiteX1" fmla="*/ 88519 w 111315"/>
                  <a:gd name="connsiteY1" fmla="*/ 35905 h 134439"/>
                  <a:gd name="connsiteX2" fmla="*/ 48624 w 111315"/>
                  <a:gd name="connsiteY2" fmla="*/ 72950 h 134439"/>
                  <a:gd name="connsiteX3" fmla="*/ 65721 w 111315"/>
                  <a:gd name="connsiteY3" fmla="*/ 115694 h 134439"/>
                  <a:gd name="connsiteX4" fmla="*/ 180 w 111315"/>
                  <a:gd name="connsiteY4" fmla="*/ 81499 h 134439"/>
                  <a:gd name="connsiteX5" fmla="*/ 51473 w 111315"/>
                  <a:gd name="connsiteY5" fmla="*/ 1710 h 134439"/>
                  <a:gd name="connsiteX6" fmla="*/ 111315 w 111315"/>
                  <a:gd name="connsiteY6" fmla="*/ 27356 h 134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315" h="134439">
                    <a:moveTo>
                      <a:pt x="111315" y="27356"/>
                    </a:moveTo>
                    <a:cubicBezTo>
                      <a:pt x="111315" y="35905"/>
                      <a:pt x="94217" y="33055"/>
                      <a:pt x="88519" y="35905"/>
                    </a:cubicBezTo>
                    <a:cubicBezTo>
                      <a:pt x="71420" y="44454"/>
                      <a:pt x="57172" y="53003"/>
                      <a:pt x="48624" y="72950"/>
                    </a:cubicBezTo>
                    <a:cubicBezTo>
                      <a:pt x="42924" y="84348"/>
                      <a:pt x="82819" y="90048"/>
                      <a:pt x="65721" y="115694"/>
                    </a:cubicBezTo>
                    <a:cubicBezTo>
                      <a:pt x="28676" y="166987"/>
                      <a:pt x="-2669" y="98596"/>
                      <a:pt x="180" y="81499"/>
                    </a:cubicBezTo>
                    <a:cubicBezTo>
                      <a:pt x="3031" y="55852"/>
                      <a:pt x="22977" y="10258"/>
                      <a:pt x="51473" y="1710"/>
                    </a:cubicBezTo>
                    <a:cubicBezTo>
                      <a:pt x="62872" y="-3990"/>
                      <a:pt x="111315" y="4559"/>
                      <a:pt x="111315" y="27356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21BA7870-B0B6-4340-9572-CE9DD343662B}"/>
                  </a:ext>
                </a:extLst>
              </p:cNvPr>
              <p:cNvSpPr/>
              <p:nvPr/>
            </p:nvSpPr>
            <p:spPr>
              <a:xfrm>
                <a:off x="20884508" y="3451642"/>
                <a:ext cx="123650" cy="124347"/>
              </a:xfrm>
              <a:custGeom>
                <a:avLst/>
                <a:gdLst>
                  <a:gd name="connsiteX0" fmla="*/ 74089 w 123650"/>
                  <a:gd name="connsiteY0" fmla="*/ 124347 h 124347"/>
                  <a:gd name="connsiteX1" fmla="*/ 74089 w 123650"/>
                  <a:gd name="connsiteY1" fmla="*/ 124347 h 124347"/>
                  <a:gd name="connsiteX2" fmla="*/ 68391 w 123650"/>
                  <a:gd name="connsiteY2" fmla="*/ 118648 h 124347"/>
                  <a:gd name="connsiteX3" fmla="*/ 51293 w 123650"/>
                  <a:gd name="connsiteY3" fmla="*/ 84453 h 124347"/>
                  <a:gd name="connsiteX4" fmla="*/ 51293 w 123650"/>
                  <a:gd name="connsiteY4" fmla="*/ 78753 h 124347"/>
                  <a:gd name="connsiteX5" fmla="*/ 94037 w 123650"/>
                  <a:gd name="connsiteY5" fmla="*/ 41709 h 124347"/>
                  <a:gd name="connsiteX6" fmla="*/ 111135 w 123650"/>
                  <a:gd name="connsiteY6" fmla="*/ 30310 h 124347"/>
                  <a:gd name="connsiteX7" fmla="*/ 108285 w 123650"/>
                  <a:gd name="connsiteY7" fmla="*/ 21761 h 124347"/>
                  <a:gd name="connsiteX8" fmla="*/ 56992 w 123650"/>
                  <a:gd name="connsiteY8" fmla="*/ 10363 h 124347"/>
                  <a:gd name="connsiteX9" fmla="*/ 11399 w 123650"/>
                  <a:gd name="connsiteY9" fmla="*/ 87302 h 124347"/>
                  <a:gd name="connsiteX10" fmla="*/ 5700 w 123650"/>
                  <a:gd name="connsiteY10" fmla="*/ 93001 h 124347"/>
                  <a:gd name="connsiteX11" fmla="*/ 0 w 123650"/>
                  <a:gd name="connsiteY11" fmla="*/ 87302 h 124347"/>
                  <a:gd name="connsiteX12" fmla="*/ 54143 w 123650"/>
                  <a:gd name="connsiteY12" fmla="*/ 1814 h 124347"/>
                  <a:gd name="connsiteX13" fmla="*/ 116833 w 123650"/>
                  <a:gd name="connsiteY13" fmla="*/ 16062 h 124347"/>
                  <a:gd name="connsiteX14" fmla="*/ 122533 w 123650"/>
                  <a:gd name="connsiteY14" fmla="*/ 33160 h 124347"/>
                  <a:gd name="connsiteX15" fmla="*/ 96887 w 123650"/>
                  <a:gd name="connsiteY15" fmla="*/ 53107 h 124347"/>
                  <a:gd name="connsiteX16" fmla="*/ 62692 w 123650"/>
                  <a:gd name="connsiteY16" fmla="*/ 78753 h 124347"/>
                  <a:gd name="connsiteX17" fmla="*/ 79789 w 123650"/>
                  <a:gd name="connsiteY17" fmla="*/ 118648 h 124347"/>
                  <a:gd name="connsiteX18" fmla="*/ 74089 w 123650"/>
                  <a:gd name="connsiteY18" fmla="*/ 124347 h 124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50" h="124347">
                    <a:moveTo>
                      <a:pt x="74089" y="124347"/>
                    </a:moveTo>
                    <a:cubicBezTo>
                      <a:pt x="74089" y="124347"/>
                      <a:pt x="74089" y="124347"/>
                      <a:pt x="74089" y="124347"/>
                    </a:cubicBezTo>
                    <a:cubicBezTo>
                      <a:pt x="71240" y="124347"/>
                      <a:pt x="68391" y="121498"/>
                      <a:pt x="68391" y="118648"/>
                    </a:cubicBezTo>
                    <a:cubicBezTo>
                      <a:pt x="68391" y="101550"/>
                      <a:pt x="54143" y="84453"/>
                      <a:pt x="51293" y="84453"/>
                    </a:cubicBezTo>
                    <a:cubicBezTo>
                      <a:pt x="48444" y="81603"/>
                      <a:pt x="48444" y="81603"/>
                      <a:pt x="51293" y="78753"/>
                    </a:cubicBezTo>
                    <a:cubicBezTo>
                      <a:pt x="59841" y="53107"/>
                      <a:pt x="79789" y="47408"/>
                      <a:pt x="94037" y="41709"/>
                    </a:cubicBezTo>
                    <a:cubicBezTo>
                      <a:pt x="105436" y="38859"/>
                      <a:pt x="111135" y="36009"/>
                      <a:pt x="111135" y="30310"/>
                    </a:cubicBezTo>
                    <a:cubicBezTo>
                      <a:pt x="111135" y="27460"/>
                      <a:pt x="111135" y="24611"/>
                      <a:pt x="108285" y="21761"/>
                    </a:cubicBezTo>
                    <a:cubicBezTo>
                      <a:pt x="99736" y="13212"/>
                      <a:pt x="79789" y="7513"/>
                      <a:pt x="56992" y="10363"/>
                    </a:cubicBezTo>
                    <a:cubicBezTo>
                      <a:pt x="31345" y="16062"/>
                      <a:pt x="14248" y="67355"/>
                      <a:pt x="11399" y="87302"/>
                    </a:cubicBezTo>
                    <a:cubicBezTo>
                      <a:pt x="11399" y="90152"/>
                      <a:pt x="8548" y="93001"/>
                      <a:pt x="5700" y="93001"/>
                    </a:cubicBezTo>
                    <a:cubicBezTo>
                      <a:pt x="2849" y="93001"/>
                      <a:pt x="0" y="90152"/>
                      <a:pt x="0" y="87302"/>
                    </a:cubicBezTo>
                    <a:cubicBezTo>
                      <a:pt x="0" y="84453"/>
                      <a:pt x="17097" y="10363"/>
                      <a:pt x="54143" y="1814"/>
                    </a:cubicBezTo>
                    <a:cubicBezTo>
                      <a:pt x="82639" y="-3885"/>
                      <a:pt x="105436" y="4664"/>
                      <a:pt x="116833" y="16062"/>
                    </a:cubicBezTo>
                    <a:cubicBezTo>
                      <a:pt x="122533" y="21761"/>
                      <a:pt x="125383" y="27460"/>
                      <a:pt x="122533" y="33160"/>
                    </a:cubicBezTo>
                    <a:cubicBezTo>
                      <a:pt x="119684" y="44558"/>
                      <a:pt x="108285" y="47408"/>
                      <a:pt x="96887" y="53107"/>
                    </a:cubicBezTo>
                    <a:cubicBezTo>
                      <a:pt x="82639" y="55957"/>
                      <a:pt x="68391" y="61656"/>
                      <a:pt x="62692" y="78753"/>
                    </a:cubicBezTo>
                    <a:cubicBezTo>
                      <a:pt x="68391" y="84453"/>
                      <a:pt x="79789" y="101550"/>
                      <a:pt x="79789" y="118648"/>
                    </a:cubicBezTo>
                    <a:cubicBezTo>
                      <a:pt x="79789" y="121498"/>
                      <a:pt x="76940" y="124347"/>
                      <a:pt x="74089" y="12434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86" name="图形 1">
            <a:extLst>
              <a:ext uri="{FF2B5EF4-FFF2-40B4-BE49-F238E27FC236}">
                <a16:creationId xmlns:a16="http://schemas.microsoft.com/office/drawing/2014/main" id="{F5E61D16-B2F6-4885-A04C-DBBFF88160FD}"/>
              </a:ext>
            </a:extLst>
          </p:cNvPr>
          <p:cNvGrpSpPr/>
          <p:nvPr/>
        </p:nvGrpSpPr>
        <p:grpSpPr>
          <a:xfrm>
            <a:off x="7003763" y="1122025"/>
            <a:ext cx="2073576" cy="5426187"/>
            <a:chOff x="22843530" y="1623470"/>
            <a:chExt cx="2073576" cy="5426187"/>
          </a:xfrm>
        </p:grpSpPr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33691173-EBC5-40A2-9EA0-31E508F7270F}"/>
                </a:ext>
              </a:extLst>
            </p:cNvPr>
            <p:cNvSpPr/>
            <p:nvPr/>
          </p:nvSpPr>
          <p:spPr>
            <a:xfrm>
              <a:off x="24190048" y="2074248"/>
              <a:ext cx="162427" cy="170976"/>
            </a:xfrm>
            <a:custGeom>
              <a:avLst/>
              <a:gdLst>
                <a:gd name="connsiteX0" fmla="*/ 128232 w 162427"/>
                <a:gd name="connsiteY0" fmla="*/ 0 h 170976"/>
                <a:gd name="connsiteX1" fmla="*/ 162428 w 162427"/>
                <a:gd name="connsiteY1" fmla="*/ 111135 h 170976"/>
                <a:gd name="connsiteX2" fmla="*/ 56992 w 162427"/>
                <a:gd name="connsiteY2" fmla="*/ 170976 h 170976"/>
                <a:gd name="connsiteX3" fmla="*/ 0 w 162427"/>
                <a:gd name="connsiteY3" fmla="*/ 31346 h 170976"/>
                <a:gd name="connsiteX4" fmla="*/ 79789 w 162427"/>
                <a:gd name="connsiteY4" fmla="*/ 25646 h 17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427" h="170976">
                  <a:moveTo>
                    <a:pt x="128232" y="0"/>
                  </a:moveTo>
                  <a:lnTo>
                    <a:pt x="162428" y="111135"/>
                  </a:lnTo>
                  <a:lnTo>
                    <a:pt x="56992" y="170976"/>
                  </a:lnTo>
                  <a:lnTo>
                    <a:pt x="0" y="31346"/>
                  </a:lnTo>
                  <a:lnTo>
                    <a:pt x="79789" y="25646"/>
                  </a:ln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89335C3A-5602-4EA8-AA8E-E10FE74E9045}"/>
                </a:ext>
              </a:extLst>
            </p:cNvPr>
            <p:cNvSpPr/>
            <p:nvPr/>
          </p:nvSpPr>
          <p:spPr>
            <a:xfrm>
              <a:off x="22843530" y="3303633"/>
              <a:ext cx="607718" cy="1012946"/>
            </a:xfrm>
            <a:custGeom>
              <a:avLst/>
              <a:gdLst>
                <a:gd name="connsiteX0" fmla="*/ 534381 w 607718"/>
                <a:gd name="connsiteY0" fmla="*/ 7343 h 1012946"/>
                <a:gd name="connsiteX1" fmla="*/ 175332 w 607718"/>
                <a:gd name="connsiteY1" fmla="*/ 283755 h 1012946"/>
                <a:gd name="connsiteX2" fmla="*/ 12904 w 607718"/>
                <a:gd name="connsiteY2" fmla="*/ 956262 h 1012946"/>
                <a:gd name="connsiteX3" fmla="*/ 161084 w 607718"/>
                <a:gd name="connsiteY3" fmla="*/ 1010404 h 1012946"/>
                <a:gd name="connsiteX4" fmla="*/ 534381 w 607718"/>
                <a:gd name="connsiteY4" fmla="*/ 7343 h 1012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7718" h="1012946">
                  <a:moveTo>
                    <a:pt x="534381" y="7343"/>
                  </a:moveTo>
                  <a:cubicBezTo>
                    <a:pt x="417548" y="-43949"/>
                    <a:pt x="246572" y="186869"/>
                    <a:pt x="175332" y="283755"/>
                  </a:cubicBezTo>
                  <a:cubicBezTo>
                    <a:pt x="86993" y="406288"/>
                    <a:pt x="-41239" y="790985"/>
                    <a:pt x="12904" y="956262"/>
                  </a:cubicBezTo>
                  <a:cubicBezTo>
                    <a:pt x="24301" y="993307"/>
                    <a:pt x="78444" y="1021803"/>
                    <a:pt x="161084" y="1010404"/>
                  </a:cubicBezTo>
                  <a:cubicBezTo>
                    <a:pt x="292165" y="993307"/>
                    <a:pt x="793694" y="124177"/>
                    <a:pt x="534381" y="7343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DAF13A72-0AFC-4993-9E56-73F3A13B655E}"/>
                </a:ext>
              </a:extLst>
            </p:cNvPr>
            <p:cNvSpPr/>
            <p:nvPr/>
          </p:nvSpPr>
          <p:spPr>
            <a:xfrm>
              <a:off x="23748360" y="2969024"/>
              <a:ext cx="62691" cy="131081"/>
            </a:xfrm>
            <a:custGeom>
              <a:avLst/>
              <a:gdLst>
                <a:gd name="connsiteX0" fmla="*/ 62692 w 62691"/>
                <a:gd name="connsiteY0" fmla="*/ 0 h 131081"/>
                <a:gd name="connsiteX1" fmla="*/ 2849 w 62691"/>
                <a:gd name="connsiteY1" fmla="*/ 131082 h 131081"/>
                <a:gd name="connsiteX2" fmla="*/ 0 w 62691"/>
                <a:gd name="connsiteY2" fmla="*/ 51293 h 131081"/>
                <a:gd name="connsiteX3" fmla="*/ 62692 w 62691"/>
                <a:gd name="connsiteY3" fmla="*/ 0 h 13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91" h="131081">
                  <a:moveTo>
                    <a:pt x="62692" y="0"/>
                  </a:moveTo>
                  <a:cubicBezTo>
                    <a:pt x="62692" y="0"/>
                    <a:pt x="51293" y="111135"/>
                    <a:pt x="2849" y="131082"/>
                  </a:cubicBezTo>
                  <a:lnTo>
                    <a:pt x="0" y="51293"/>
                  </a:lnTo>
                  <a:lnTo>
                    <a:pt x="62692" y="0"/>
                  </a:ln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CAA438A9-E22E-41DA-9FE1-1FB9B1A46668}"/>
                </a:ext>
              </a:extLst>
            </p:cNvPr>
            <p:cNvSpPr/>
            <p:nvPr/>
          </p:nvSpPr>
          <p:spPr>
            <a:xfrm>
              <a:off x="23380572" y="2778100"/>
              <a:ext cx="95093" cy="222249"/>
            </a:xfrm>
            <a:custGeom>
              <a:avLst/>
              <a:gdLst>
                <a:gd name="connsiteX0" fmla="*/ 5888 w 95093"/>
                <a:gd name="connsiteY0" fmla="*/ 0 h 222249"/>
                <a:gd name="connsiteX1" fmla="*/ 45783 w 95093"/>
                <a:gd name="connsiteY1" fmla="*/ 219420 h 222249"/>
                <a:gd name="connsiteX2" fmla="*/ 94226 w 95093"/>
                <a:gd name="connsiteY2" fmla="*/ 11398 h 222249"/>
                <a:gd name="connsiteX3" fmla="*/ 5888 w 95093"/>
                <a:gd name="connsiteY3" fmla="*/ 0 h 222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093" h="222249">
                  <a:moveTo>
                    <a:pt x="5888" y="0"/>
                  </a:moveTo>
                  <a:cubicBezTo>
                    <a:pt x="5888" y="0"/>
                    <a:pt x="-22608" y="182375"/>
                    <a:pt x="45783" y="219420"/>
                  </a:cubicBezTo>
                  <a:cubicBezTo>
                    <a:pt x="105624" y="250765"/>
                    <a:pt x="94226" y="11398"/>
                    <a:pt x="94226" y="11398"/>
                  </a:cubicBezTo>
                  <a:lnTo>
                    <a:pt x="5888" y="0"/>
                  </a:ln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8B7F80C2-8E36-47AB-8BBD-0DFEC43F0F37}"/>
                </a:ext>
              </a:extLst>
            </p:cNvPr>
            <p:cNvSpPr/>
            <p:nvPr/>
          </p:nvSpPr>
          <p:spPr>
            <a:xfrm>
              <a:off x="23414639" y="2649036"/>
              <a:ext cx="393561" cy="531421"/>
            </a:xfrm>
            <a:custGeom>
              <a:avLst/>
              <a:gdLst>
                <a:gd name="connsiteX0" fmla="*/ 8865 w 393561"/>
                <a:gd name="connsiteY0" fmla="*/ 171808 h 531421"/>
                <a:gd name="connsiteX1" fmla="*/ 8865 w 393561"/>
                <a:gd name="connsiteY1" fmla="*/ 405475 h 531421"/>
                <a:gd name="connsiteX2" fmla="*/ 157045 w 393561"/>
                <a:gd name="connsiteY2" fmla="*/ 530858 h 531421"/>
                <a:gd name="connsiteX3" fmla="*/ 359368 w 393561"/>
                <a:gd name="connsiteY3" fmla="*/ 396927 h 531421"/>
                <a:gd name="connsiteX4" fmla="*/ 393561 w 393561"/>
                <a:gd name="connsiteY4" fmla="*/ 186056 h 531421"/>
                <a:gd name="connsiteX5" fmla="*/ 194089 w 393561"/>
                <a:gd name="connsiteY5" fmla="*/ 832 h 531421"/>
                <a:gd name="connsiteX6" fmla="*/ 8865 w 393561"/>
                <a:gd name="connsiteY6" fmla="*/ 171808 h 531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561" h="531421">
                  <a:moveTo>
                    <a:pt x="8865" y="171808"/>
                  </a:moveTo>
                  <a:cubicBezTo>
                    <a:pt x="8865" y="171808"/>
                    <a:pt x="-11081" y="337085"/>
                    <a:pt x="8865" y="405475"/>
                  </a:cubicBezTo>
                  <a:cubicBezTo>
                    <a:pt x="25963" y="468167"/>
                    <a:pt x="111452" y="528008"/>
                    <a:pt x="157045" y="530858"/>
                  </a:cubicBezTo>
                  <a:cubicBezTo>
                    <a:pt x="219736" y="536557"/>
                    <a:pt x="330871" y="499512"/>
                    <a:pt x="359368" y="396927"/>
                  </a:cubicBezTo>
                  <a:cubicBezTo>
                    <a:pt x="379313" y="328536"/>
                    <a:pt x="393561" y="234499"/>
                    <a:pt x="393561" y="186056"/>
                  </a:cubicBezTo>
                  <a:cubicBezTo>
                    <a:pt x="390712" y="97718"/>
                    <a:pt x="367916" y="23628"/>
                    <a:pt x="194089" y="832"/>
                  </a:cubicBezTo>
                  <a:cubicBezTo>
                    <a:pt x="117151" y="-10567"/>
                    <a:pt x="28812" y="97718"/>
                    <a:pt x="8865" y="171808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93CE2224-9BAB-418F-905E-C796DAAD1D1A}"/>
                </a:ext>
              </a:extLst>
            </p:cNvPr>
            <p:cNvSpPr/>
            <p:nvPr/>
          </p:nvSpPr>
          <p:spPr>
            <a:xfrm>
              <a:off x="23543188" y="2894934"/>
              <a:ext cx="54143" cy="128232"/>
            </a:xfrm>
            <a:custGeom>
              <a:avLst/>
              <a:gdLst>
                <a:gd name="connsiteX0" fmla="*/ 28496 w 54143"/>
                <a:gd name="connsiteY0" fmla="*/ 128232 h 128232"/>
                <a:gd name="connsiteX1" fmla="*/ 5700 w 54143"/>
                <a:gd name="connsiteY1" fmla="*/ 122533 h 128232"/>
                <a:gd name="connsiteX2" fmla="*/ 0 w 54143"/>
                <a:gd name="connsiteY2" fmla="*/ 111135 h 128232"/>
                <a:gd name="connsiteX3" fmla="*/ 14248 w 54143"/>
                <a:gd name="connsiteY3" fmla="*/ 5699 h 128232"/>
                <a:gd name="connsiteX4" fmla="*/ 19948 w 54143"/>
                <a:gd name="connsiteY4" fmla="*/ 0 h 128232"/>
                <a:gd name="connsiteX5" fmla="*/ 25647 w 54143"/>
                <a:gd name="connsiteY5" fmla="*/ 5699 h 128232"/>
                <a:gd name="connsiteX6" fmla="*/ 11399 w 54143"/>
                <a:gd name="connsiteY6" fmla="*/ 111135 h 128232"/>
                <a:gd name="connsiteX7" fmla="*/ 11399 w 54143"/>
                <a:gd name="connsiteY7" fmla="*/ 113984 h 128232"/>
                <a:gd name="connsiteX8" fmla="*/ 48444 w 54143"/>
                <a:gd name="connsiteY8" fmla="*/ 113984 h 128232"/>
                <a:gd name="connsiteX9" fmla="*/ 54143 w 54143"/>
                <a:gd name="connsiteY9" fmla="*/ 119683 h 128232"/>
                <a:gd name="connsiteX10" fmla="*/ 48444 w 54143"/>
                <a:gd name="connsiteY10" fmla="*/ 125383 h 128232"/>
                <a:gd name="connsiteX11" fmla="*/ 28496 w 54143"/>
                <a:gd name="connsiteY11" fmla="*/ 128232 h 128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143" h="128232">
                  <a:moveTo>
                    <a:pt x="28496" y="128232"/>
                  </a:moveTo>
                  <a:cubicBezTo>
                    <a:pt x="19948" y="128232"/>
                    <a:pt x="11399" y="128232"/>
                    <a:pt x="5700" y="122533"/>
                  </a:cubicBezTo>
                  <a:cubicBezTo>
                    <a:pt x="2851" y="119683"/>
                    <a:pt x="0" y="116834"/>
                    <a:pt x="0" y="111135"/>
                  </a:cubicBezTo>
                  <a:cubicBezTo>
                    <a:pt x="0" y="91187"/>
                    <a:pt x="14248" y="8549"/>
                    <a:pt x="14248" y="5699"/>
                  </a:cubicBezTo>
                  <a:cubicBezTo>
                    <a:pt x="14248" y="2850"/>
                    <a:pt x="17099" y="0"/>
                    <a:pt x="19948" y="0"/>
                  </a:cubicBezTo>
                  <a:cubicBezTo>
                    <a:pt x="22796" y="0"/>
                    <a:pt x="25647" y="2850"/>
                    <a:pt x="25647" y="5699"/>
                  </a:cubicBezTo>
                  <a:cubicBezTo>
                    <a:pt x="25647" y="5699"/>
                    <a:pt x="11399" y="91187"/>
                    <a:pt x="11399" y="111135"/>
                  </a:cubicBezTo>
                  <a:cubicBezTo>
                    <a:pt x="11399" y="111135"/>
                    <a:pt x="11399" y="113984"/>
                    <a:pt x="11399" y="113984"/>
                  </a:cubicBezTo>
                  <a:cubicBezTo>
                    <a:pt x="17099" y="119683"/>
                    <a:pt x="37045" y="116834"/>
                    <a:pt x="48444" y="113984"/>
                  </a:cubicBezTo>
                  <a:cubicBezTo>
                    <a:pt x="51293" y="113984"/>
                    <a:pt x="54143" y="113984"/>
                    <a:pt x="54143" y="119683"/>
                  </a:cubicBezTo>
                  <a:cubicBezTo>
                    <a:pt x="54143" y="122533"/>
                    <a:pt x="54143" y="125383"/>
                    <a:pt x="48444" y="125383"/>
                  </a:cubicBezTo>
                  <a:cubicBezTo>
                    <a:pt x="48444" y="125383"/>
                    <a:pt x="39895" y="128232"/>
                    <a:pt x="28496" y="128232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4E6E381B-2E89-4DAF-ACF1-78D233095442}"/>
                </a:ext>
              </a:extLst>
            </p:cNvPr>
            <p:cNvSpPr/>
            <p:nvPr/>
          </p:nvSpPr>
          <p:spPr>
            <a:xfrm>
              <a:off x="23477089" y="2874428"/>
              <a:ext cx="38329" cy="38329"/>
            </a:xfrm>
            <a:custGeom>
              <a:avLst/>
              <a:gdLst>
                <a:gd name="connsiteX0" fmla="*/ 37603 w 38329"/>
                <a:gd name="connsiteY0" fmla="*/ 23356 h 38329"/>
                <a:gd name="connsiteX1" fmla="*/ 14807 w 38329"/>
                <a:gd name="connsiteY1" fmla="*/ 37604 h 38329"/>
                <a:gd name="connsiteX2" fmla="*/ 559 w 38329"/>
                <a:gd name="connsiteY2" fmla="*/ 14807 h 38329"/>
                <a:gd name="connsiteX3" fmla="*/ 23355 w 38329"/>
                <a:gd name="connsiteY3" fmla="*/ 559 h 38329"/>
                <a:gd name="connsiteX4" fmla="*/ 37603 w 38329"/>
                <a:gd name="connsiteY4" fmla="*/ 23356 h 38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29" h="38329">
                  <a:moveTo>
                    <a:pt x="37603" y="23356"/>
                  </a:moveTo>
                  <a:cubicBezTo>
                    <a:pt x="34754" y="34754"/>
                    <a:pt x="26206" y="40453"/>
                    <a:pt x="14807" y="37604"/>
                  </a:cubicBezTo>
                  <a:cubicBezTo>
                    <a:pt x="6258" y="34754"/>
                    <a:pt x="-2290" y="26205"/>
                    <a:pt x="559" y="14807"/>
                  </a:cubicBezTo>
                  <a:cubicBezTo>
                    <a:pt x="3408" y="6258"/>
                    <a:pt x="11958" y="-2291"/>
                    <a:pt x="23355" y="559"/>
                  </a:cubicBezTo>
                  <a:cubicBezTo>
                    <a:pt x="34754" y="3409"/>
                    <a:pt x="40454" y="11957"/>
                    <a:pt x="37603" y="23356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D3F66599-27BF-4044-8DF3-3B092AFADB9B}"/>
                </a:ext>
              </a:extLst>
            </p:cNvPr>
            <p:cNvSpPr/>
            <p:nvPr/>
          </p:nvSpPr>
          <p:spPr>
            <a:xfrm>
              <a:off x="23648065" y="2888676"/>
              <a:ext cx="38329" cy="38329"/>
            </a:xfrm>
            <a:custGeom>
              <a:avLst/>
              <a:gdLst>
                <a:gd name="connsiteX0" fmla="*/ 37603 w 38329"/>
                <a:gd name="connsiteY0" fmla="*/ 23356 h 38329"/>
                <a:gd name="connsiteX1" fmla="*/ 14807 w 38329"/>
                <a:gd name="connsiteY1" fmla="*/ 37604 h 38329"/>
                <a:gd name="connsiteX2" fmla="*/ 559 w 38329"/>
                <a:gd name="connsiteY2" fmla="*/ 14807 h 38329"/>
                <a:gd name="connsiteX3" fmla="*/ 23355 w 38329"/>
                <a:gd name="connsiteY3" fmla="*/ 559 h 38329"/>
                <a:gd name="connsiteX4" fmla="*/ 37603 w 38329"/>
                <a:gd name="connsiteY4" fmla="*/ 23356 h 38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29" h="38329">
                  <a:moveTo>
                    <a:pt x="37603" y="23356"/>
                  </a:moveTo>
                  <a:cubicBezTo>
                    <a:pt x="34754" y="34754"/>
                    <a:pt x="26206" y="40453"/>
                    <a:pt x="14807" y="37604"/>
                  </a:cubicBezTo>
                  <a:cubicBezTo>
                    <a:pt x="6258" y="34754"/>
                    <a:pt x="-2290" y="26205"/>
                    <a:pt x="559" y="14807"/>
                  </a:cubicBezTo>
                  <a:cubicBezTo>
                    <a:pt x="3408" y="6258"/>
                    <a:pt x="11958" y="-2291"/>
                    <a:pt x="23355" y="559"/>
                  </a:cubicBezTo>
                  <a:cubicBezTo>
                    <a:pt x="34754" y="3409"/>
                    <a:pt x="40454" y="14807"/>
                    <a:pt x="37603" y="23356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40095743-BBA1-4FA4-941B-FB97D2BA5CBE}"/>
                </a:ext>
              </a:extLst>
            </p:cNvPr>
            <p:cNvSpPr/>
            <p:nvPr/>
          </p:nvSpPr>
          <p:spPr>
            <a:xfrm>
              <a:off x="23452713" y="2828304"/>
              <a:ext cx="85956" cy="32434"/>
            </a:xfrm>
            <a:custGeom>
              <a:avLst/>
              <a:gdLst>
                <a:gd name="connsiteX0" fmla="*/ 7838 w 85956"/>
                <a:gd name="connsiteY0" fmla="*/ 32435 h 32434"/>
                <a:gd name="connsiteX1" fmla="*/ 2138 w 85956"/>
                <a:gd name="connsiteY1" fmla="*/ 29585 h 32434"/>
                <a:gd name="connsiteX2" fmla="*/ 2138 w 85956"/>
                <a:gd name="connsiteY2" fmla="*/ 18187 h 32434"/>
                <a:gd name="connsiteX3" fmla="*/ 81927 w 85956"/>
                <a:gd name="connsiteY3" fmla="*/ 9638 h 32434"/>
                <a:gd name="connsiteX4" fmla="*/ 84775 w 85956"/>
                <a:gd name="connsiteY4" fmla="*/ 18187 h 32434"/>
                <a:gd name="connsiteX5" fmla="*/ 76227 w 85956"/>
                <a:gd name="connsiteY5" fmla="*/ 21036 h 32434"/>
                <a:gd name="connsiteX6" fmla="*/ 13535 w 85956"/>
                <a:gd name="connsiteY6" fmla="*/ 26735 h 32434"/>
                <a:gd name="connsiteX7" fmla="*/ 7838 w 85956"/>
                <a:gd name="connsiteY7" fmla="*/ 32435 h 32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6" h="32434">
                  <a:moveTo>
                    <a:pt x="7838" y="32435"/>
                  </a:moveTo>
                  <a:cubicBezTo>
                    <a:pt x="4987" y="32435"/>
                    <a:pt x="4987" y="32435"/>
                    <a:pt x="2138" y="29585"/>
                  </a:cubicBezTo>
                  <a:cubicBezTo>
                    <a:pt x="-713" y="26735"/>
                    <a:pt x="-713" y="21036"/>
                    <a:pt x="2138" y="18187"/>
                  </a:cubicBezTo>
                  <a:cubicBezTo>
                    <a:pt x="27783" y="-10310"/>
                    <a:pt x="64830" y="1089"/>
                    <a:pt x="81927" y="9638"/>
                  </a:cubicBezTo>
                  <a:cubicBezTo>
                    <a:pt x="84775" y="12487"/>
                    <a:pt x="87626" y="15337"/>
                    <a:pt x="84775" y="18187"/>
                  </a:cubicBezTo>
                  <a:cubicBezTo>
                    <a:pt x="81927" y="21036"/>
                    <a:pt x="79078" y="23886"/>
                    <a:pt x="76227" y="21036"/>
                  </a:cubicBezTo>
                  <a:cubicBezTo>
                    <a:pt x="73378" y="21036"/>
                    <a:pt x="36334" y="1089"/>
                    <a:pt x="13535" y="26735"/>
                  </a:cubicBezTo>
                  <a:cubicBezTo>
                    <a:pt x="13535" y="29585"/>
                    <a:pt x="10686" y="32435"/>
                    <a:pt x="7838" y="32435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1C49B0D0-168B-43CC-82BE-B325042B5D12}"/>
                </a:ext>
              </a:extLst>
            </p:cNvPr>
            <p:cNvSpPr/>
            <p:nvPr/>
          </p:nvSpPr>
          <p:spPr>
            <a:xfrm>
              <a:off x="23630346" y="2826833"/>
              <a:ext cx="85956" cy="33905"/>
            </a:xfrm>
            <a:custGeom>
              <a:avLst/>
              <a:gdLst>
                <a:gd name="connsiteX0" fmla="*/ 80969 w 85956"/>
                <a:gd name="connsiteY0" fmla="*/ 33905 h 33905"/>
                <a:gd name="connsiteX1" fmla="*/ 75270 w 85956"/>
                <a:gd name="connsiteY1" fmla="*/ 31056 h 33905"/>
                <a:gd name="connsiteX2" fmla="*/ 12578 w 85956"/>
                <a:gd name="connsiteY2" fmla="*/ 25356 h 33905"/>
                <a:gd name="connsiteX3" fmla="*/ 1181 w 85956"/>
                <a:gd name="connsiteY3" fmla="*/ 22507 h 33905"/>
                <a:gd name="connsiteX4" fmla="*/ 4030 w 85956"/>
                <a:gd name="connsiteY4" fmla="*/ 11108 h 33905"/>
                <a:gd name="connsiteX5" fmla="*/ 83818 w 85956"/>
                <a:gd name="connsiteY5" fmla="*/ 19657 h 33905"/>
                <a:gd name="connsiteX6" fmla="*/ 83818 w 85956"/>
                <a:gd name="connsiteY6" fmla="*/ 31056 h 33905"/>
                <a:gd name="connsiteX7" fmla="*/ 80969 w 85956"/>
                <a:gd name="connsiteY7" fmla="*/ 33905 h 33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6" h="33905">
                  <a:moveTo>
                    <a:pt x="80969" y="33905"/>
                  </a:moveTo>
                  <a:cubicBezTo>
                    <a:pt x="78119" y="33905"/>
                    <a:pt x="78119" y="33905"/>
                    <a:pt x="75270" y="31056"/>
                  </a:cubicBezTo>
                  <a:cubicBezTo>
                    <a:pt x="75270" y="31056"/>
                    <a:pt x="46774" y="2560"/>
                    <a:pt x="12578" y="25356"/>
                  </a:cubicBezTo>
                  <a:cubicBezTo>
                    <a:pt x="9729" y="28206"/>
                    <a:pt x="4030" y="25356"/>
                    <a:pt x="1181" y="22507"/>
                  </a:cubicBezTo>
                  <a:cubicBezTo>
                    <a:pt x="-1670" y="19657"/>
                    <a:pt x="1181" y="13958"/>
                    <a:pt x="4030" y="11108"/>
                  </a:cubicBezTo>
                  <a:cubicBezTo>
                    <a:pt x="38225" y="-11688"/>
                    <a:pt x="72421" y="5409"/>
                    <a:pt x="83818" y="19657"/>
                  </a:cubicBezTo>
                  <a:cubicBezTo>
                    <a:pt x="86669" y="22507"/>
                    <a:pt x="86669" y="28206"/>
                    <a:pt x="83818" y="31056"/>
                  </a:cubicBezTo>
                  <a:cubicBezTo>
                    <a:pt x="83818" y="33905"/>
                    <a:pt x="80969" y="33905"/>
                    <a:pt x="80969" y="33905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09C90D71-875F-4ACA-93CB-EDC45F91A15C}"/>
                </a:ext>
              </a:extLst>
            </p:cNvPr>
            <p:cNvSpPr/>
            <p:nvPr/>
          </p:nvSpPr>
          <p:spPr>
            <a:xfrm>
              <a:off x="23774006" y="2887847"/>
              <a:ext cx="72514" cy="106598"/>
            </a:xfrm>
            <a:custGeom>
              <a:avLst/>
              <a:gdLst>
                <a:gd name="connsiteX0" fmla="*/ 11398 w 72514"/>
                <a:gd name="connsiteY0" fmla="*/ 15636 h 106598"/>
                <a:gd name="connsiteX1" fmla="*/ 65541 w 72514"/>
                <a:gd name="connsiteY1" fmla="*/ 7087 h 106598"/>
                <a:gd name="connsiteX2" fmla="*/ 11398 w 72514"/>
                <a:gd name="connsiteY2" fmla="*/ 103973 h 106598"/>
                <a:gd name="connsiteX3" fmla="*/ 11398 w 72514"/>
                <a:gd name="connsiteY3" fmla="*/ 15636 h 106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514" h="106598">
                  <a:moveTo>
                    <a:pt x="11398" y="15636"/>
                  </a:moveTo>
                  <a:cubicBezTo>
                    <a:pt x="11398" y="15636"/>
                    <a:pt x="42745" y="-12860"/>
                    <a:pt x="65541" y="7087"/>
                  </a:cubicBezTo>
                  <a:cubicBezTo>
                    <a:pt x="88338" y="24185"/>
                    <a:pt x="51293" y="123921"/>
                    <a:pt x="11398" y="103973"/>
                  </a:cubicBezTo>
                  <a:cubicBezTo>
                    <a:pt x="-14247" y="84026"/>
                    <a:pt x="11398" y="15636"/>
                    <a:pt x="11398" y="15636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48E00822-317B-4968-8055-2B3F81498C3B}"/>
                </a:ext>
              </a:extLst>
            </p:cNvPr>
            <p:cNvSpPr/>
            <p:nvPr/>
          </p:nvSpPr>
          <p:spPr>
            <a:xfrm>
              <a:off x="23371708" y="2545453"/>
              <a:ext cx="479718" cy="377977"/>
            </a:xfrm>
            <a:custGeom>
              <a:avLst/>
              <a:gdLst>
                <a:gd name="connsiteX0" fmla="*/ 419396 w 479718"/>
                <a:gd name="connsiteY0" fmla="*/ 127212 h 377977"/>
                <a:gd name="connsiteX1" fmla="*/ 402299 w 479718"/>
                <a:gd name="connsiteY1" fmla="*/ 90167 h 377977"/>
                <a:gd name="connsiteX2" fmla="*/ 390900 w 479718"/>
                <a:gd name="connsiteY2" fmla="*/ 93017 h 377977"/>
                <a:gd name="connsiteX3" fmla="*/ 362404 w 479718"/>
                <a:gd name="connsiteY3" fmla="*/ 73069 h 377977"/>
                <a:gd name="connsiteX4" fmla="*/ 351005 w 479718"/>
                <a:gd name="connsiteY4" fmla="*/ 55972 h 377977"/>
                <a:gd name="connsiteX5" fmla="*/ 322509 w 479718"/>
                <a:gd name="connsiteY5" fmla="*/ 24626 h 377977"/>
                <a:gd name="connsiteX6" fmla="*/ 291164 w 479718"/>
                <a:gd name="connsiteY6" fmla="*/ 21777 h 377977"/>
                <a:gd name="connsiteX7" fmla="*/ 239871 w 479718"/>
                <a:gd name="connsiteY7" fmla="*/ 7529 h 377977"/>
                <a:gd name="connsiteX8" fmla="*/ 228472 w 479718"/>
                <a:gd name="connsiteY8" fmla="*/ 1829 h 377977"/>
                <a:gd name="connsiteX9" fmla="*/ 111639 w 479718"/>
                <a:gd name="connsiteY9" fmla="*/ 36025 h 377977"/>
                <a:gd name="connsiteX10" fmla="*/ 54647 w 479718"/>
                <a:gd name="connsiteY10" fmla="*/ 55972 h 377977"/>
                <a:gd name="connsiteX11" fmla="*/ 40399 w 479718"/>
                <a:gd name="connsiteY11" fmla="*/ 95866 h 377977"/>
                <a:gd name="connsiteX12" fmla="*/ 23300 w 479718"/>
                <a:gd name="connsiteY12" fmla="*/ 121513 h 377977"/>
                <a:gd name="connsiteX13" fmla="*/ 17602 w 479718"/>
                <a:gd name="connsiteY13" fmla="*/ 155708 h 377977"/>
                <a:gd name="connsiteX14" fmla="*/ 20451 w 479718"/>
                <a:gd name="connsiteY14" fmla="*/ 187054 h 377977"/>
                <a:gd name="connsiteX15" fmla="*/ 3354 w 479718"/>
                <a:gd name="connsiteY15" fmla="*/ 226948 h 377977"/>
                <a:gd name="connsiteX16" fmla="*/ 20451 w 479718"/>
                <a:gd name="connsiteY16" fmla="*/ 318135 h 377977"/>
                <a:gd name="connsiteX17" fmla="*/ 29000 w 479718"/>
                <a:gd name="connsiteY17" fmla="*/ 320985 h 377977"/>
                <a:gd name="connsiteX18" fmla="*/ 37548 w 479718"/>
                <a:gd name="connsiteY18" fmla="*/ 349481 h 377977"/>
                <a:gd name="connsiteX19" fmla="*/ 54647 w 479718"/>
                <a:gd name="connsiteY19" fmla="*/ 298188 h 377977"/>
                <a:gd name="connsiteX20" fmla="*/ 83143 w 479718"/>
                <a:gd name="connsiteY20" fmla="*/ 286790 h 377977"/>
                <a:gd name="connsiteX21" fmla="*/ 100240 w 479718"/>
                <a:gd name="connsiteY21" fmla="*/ 266843 h 377977"/>
                <a:gd name="connsiteX22" fmla="*/ 105939 w 479718"/>
                <a:gd name="connsiteY22" fmla="*/ 258294 h 377977"/>
                <a:gd name="connsiteX23" fmla="*/ 111639 w 479718"/>
                <a:gd name="connsiteY23" fmla="*/ 255444 h 377977"/>
                <a:gd name="connsiteX24" fmla="*/ 117339 w 479718"/>
                <a:gd name="connsiteY24" fmla="*/ 255444 h 377977"/>
                <a:gd name="connsiteX25" fmla="*/ 123036 w 479718"/>
                <a:gd name="connsiteY25" fmla="*/ 252595 h 377977"/>
                <a:gd name="connsiteX26" fmla="*/ 131587 w 479718"/>
                <a:gd name="connsiteY26" fmla="*/ 246895 h 377977"/>
                <a:gd name="connsiteX27" fmla="*/ 142984 w 479718"/>
                <a:gd name="connsiteY27" fmla="*/ 249745 h 377977"/>
                <a:gd name="connsiteX28" fmla="*/ 154383 w 479718"/>
                <a:gd name="connsiteY28" fmla="*/ 249745 h 377977"/>
                <a:gd name="connsiteX29" fmla="*/ 188579 w 479718"/>
                <a:gd name="connsiteY29" fmla="*/ 241196 h 377977"/>
                <a:gd name="connsiteX30" fmla="*/ 237021 w 479718"/>
                <a:gd name="connsiteY30" fmla="*/ 226948 h 377977"/>
                <a:gd name="connsiteX31" fmla="*/ 251269 w 479718"/>
                <a:gd name="connsiteY31" fmla="*/ 235497 h 377977"/>
                <a:gd name="connsiteX32" fmla="*/ 285464 w 479718"/>
                <a:gd name="connsiteY32" fmla="*/ 215550 h 377977"/>
                <a:gd name="connsiteX33" fmla="*/ 296863 w 479718"/>
                <a:gd name="connsiteY33" fmla="*/ 218399 h 377977"/>
                <a:gd name="connsiteX34" fmla="*/ 368103 w 479718"/>
                <a:gd name="connsiteY34" fmla="*/ 244046 h 377977"/>
                <a:gd name="connsiteX35" fmla="*/ 376652 w 479718"/>
                <a:gd name="connsiteY35" fmla="*/ 246895 h 377977"/>
                <a:gd name="connsiteX36" fmla="*/ 425095 w 479718"/>
                <a:gd name="connsiteY36" fmla="*/ 377977 h 377977"/>
                <a:gd name="connsiteX37" fmla="*/ 479237 w 479718"/>
                <a:gd name="connsiteY37" fmla="*/ 283940 h 377977"/>
                <a:gd name="connsiteX38" fmla="*/ 419396 w 479718"/>
                <a:gd name="connsiteY38" fmla="*/ 127212 h 377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79718" h="377977">
                  <a:moveTo>
                    <a:pt x="419396" y="127212"/>
                  </a:moveTo>
                  <a:cubicBezTo>
                    <a:pt x="419396" y="112964"/>
                    <a:pt x="416547" y="98716"/>
                    <a:pt x="402299" y="90167"/>
                  </a:cubicBezTo>
                  <a:cubicBezTo>
                    <a:pt x="388051" y="78769"/>
                    <a:pt x="390900" y="90167"/>
                    <a:pt x="390900" y="93017"/>
                  </a:cubicBezTo>
                  <a:cubicBezTo>
                    <a:pt x="382351" y="87318"/>
                    <a:pt x="373803" y="78769"/>
                    <a:pt x="362404" y="73069"/>
                  </a:cubicBezTo>
                  <a:cubicBezTo>
                    <a:pt x="356704" y="67370"/>
                    <a:pt x="353855" y="61671"/>
                    <a:pt x="351005" y="55972"/>
                  </a:cubicBezTo>
                  <a:cubicBezTo>
                    <a:pt x="342456" y="44573"/>
                    <a:pt x="336757" y="33175"/>
                    <a:pt x="322509" y="24626"/>
                  </a:cubicBezTo>
                  <a:cubicBezTo>
                    <a:pt x="311111" y="18927"/>
                    <a:pt x="302563" y="21777"/>
                    <a:pt x="291164" y="21777"/>
                  </a:cubicBezTo>
                  <a:cubicBezTo>
                    <a:pt x="271216" y="21777"/>
                    <a:pt x="256968" y="16077"/>
                    <a:pt x="239871" y="7529"/>
                  </a:cubicBezTo>
                  <a:cubicBezTo>
                    <a:pt x="237021" y="4679"/>
                    <a:pt x="231323" y="1829"/>
                    <a:pt x="228472" y="1829"/>
                  </a:cubicBezTo>
                  <a:cubicBezTo>
                    <a:pt x="185728" y="-9569"/>
                    <a:pt x="154383" y="36025"/>
                    <a:pt x="111639" y="36025"/>
                  </a:cubicBezTo>
                  <a:cubicBezTo>
                    <a:pt x="88842" y="36025"/>
                    <a:pt x="66044" y="33175"/>
                    <a:pt x="54647" y="55972"/>
                  </a:cubicBezTo>
                  <a:cubicBezTo>
                    <a:pt x="48947" y="70220"/>
                    <a:pt x="48947" y="81618"/>
                    <a:pt x="40399" y="95866"/>
                  </a:cubicBezTo>
                  <a:cubicBezTo>
                    <a:pt x="34699" y="104415"/>
                    <a:pt x="26151" y="112964"/>
                    <a:pt x="23300" y="121513"/>
                  </a:cubicBezTo>
                  <a:cubicBezTo>
                    <a:pt x="17602" y="130062"/>
                    <a:pt x="14752" y="144310"/>
                    <a:pt x="17602" y="155708"/>
                  </a:cubicBezTo>
                  <a:cubicBezTo>
                    <a:pt x="20451" y="172806"/>
                    <a:pt x="29000" y="172806"/>
                    <a:pt x="20451" y="187054"/>
                  </a:cubicBezTo>
                  <a:cubicBezTo>
                    <a:pt x="14752" y="201302"/>
                    <a:pt x="6203" y="212700"/>
                    <a:pt x="3354" y="226948"/>
                  </a:cubicBezTo>
                  <a:cubicBezTo>
                    <a:pt x="-5196" y="258294"/>
                    <a:pt x="3354" y="289639"/>
                    <a:pt x="20451" y="318135"/>
                  </a:cubicBezTo>
                  <a:cubicBezTo>
                    <a:pt x="23300" y="320985"/>
                    <a:pt x="26151" y="320985"/>
                    <a:pt x="29000" y="320985"/>
                  </a:cubicBezTo>
                  <a:cubicBezTo>
                    <a:pt x="31850" y="338083"/>
                    <a:pt x="37548" y="349481"/>
                    <a:pt x="37548" y="349481"/>
                  </a:cubicBezTo>
                  <a:cubicBezTo>
                    <a:pt x="34699" y="332383"/>
                    <a:pt x="40399" y="315286"/>
                    <a:pt x="54647" y="298188"/>
                  </a:cubicBezTo>
                  <a:cubicBezTo>
                    <a:pt x="63195" y="295339"/>
                    <a:pt x="74594" y="292489"/>
                    <a:pt x="83143" y="286790"/>
                  </a:cubicBezTo>
                  <a:cubicBezTo>
                    <a:pt x="91691" y="281091"/>
                    <a:pt x="94540" y="272542"/>
                    <a:pt x="100240" y="266843"/>
                  </a:cubicBezTo>
                  <a:cubicBezTo>
                    <a:pt x="100240" y="263993"/>
                    <a:pt x="103091" y="261143"/>
                    <a:pt x="105939" y="258294"/>
                  </a:cubicBezTo>
                  <a:cubicBezTo>
                    <a:pt x="108788" y="258294"/>
                    <a:pt x="111639" y="255444"/>
                    <a:pt x="111639" y="255444"/>
                  </a:cubicBezTo>
                  <a:cubicBezTo>
                    <a:pt x="114488" y="255444"/>
                    <a:pt x="114488" y="255444"/>
                    <a:pt x="117339" y="255444"/>
                  </a:cubicBezTo>
                  <a:cubicBezTo>
                    <a:pt x="120187" y="252595"/>
                    <a:pt x="120187" y="252595"/>
                    <a:pt x="123036" y="252595"/>
                  </a:cubicBezTo>
                  <a:cubicBezTo>
                    <a:pt x="125887" y="249745"/>
                    <a:pt x="128736" y="249745"/>
                    <a:pt x="131587" y="246895"/>
                  </a:cubicBezTo>
                  <a:cubicBezTo>
                    <a:pt x="134435" y="246895"/>
                    <a:pt x="140135" y="246895"/>
                    <a:pt x="142984" y="249745"/>
                  </a:cubicBezTo>
                  <a:cubicBezTo>
                    <a:pt x="145835" y="249745"/>
                    <a:pt x="151532" y="249745"/>
                    <a:pt x="154383" y="249745"/>
                  </a:cubicBezTo>
                  <a:cubicBezTo>
                    <a:pt x="165780" y="249745"/>
                    <a:pt x="177180" y="246895"/>
                    <a:pt x="188579" y="241196"/>
                  </a:cubicBezTo>
                  <a:cubicBezTo>
                    <a:pt x="205676" y="232647"/>
                    <a:pt x="214224" y="218399"/>
                    <a:pt x="237021" y="226948"/>
                  </a:cubicBezTo>
                  <a:cubicBezTo>
                    <a:pt x="242720" y="229798"/>
                    <a:pt x="245571" y="235497"/>
                    <a:pt x="251269" y="235497"/>
                  </a:cubicBezTo>
                  <a:cubicBezTo>
                    <a:pt x="265517" y="238347"/>
                    <a:pt x="276916" y="226948"/>
                    <a:pt x="285464" y="215550"/>
                  </a:cubicBezTo>
                  <a:cubicBezTo>
                    <a:pt x="288315" y="215550"/>
                    <a:pt x="294013" y="218399"/>
                    <a:pt x="296863" y="218399"/>
                  </a:cubicBezTo>
                  <a:cubicBezTo>
                    <a:pt x="316811" y="232647"/>
                    <a:pt x="342456" y="241196"/>
                    <a:pt x="368103" y="244046"/>
                  </a:cubicBezTo>
                  <a:cubicBezTo>
                    <a:pt x="373803" y="246895"/>
                    <a:pt x="376652" y="246895"/>
                    <a:pt x="376652" y="246895"/>
                  </a:cubicBezTo>
                  <a:cubicBezTo>
                    <a:pt x="376652" y="246895"/>
                    <a:pt x="430795" y="349481"/>
                    <a:pt x="425095" y="377977"/>
                  </a:cubicBezTo>
                  <a:cubicBezTo>
                    <a:pt x="425095" y="377977"/>
                    <a:pt x="464989" y="335233"/>
                    <a:pt x="479237" y="283940"/>
                  </a:cubicBezTo>
                  <a:cubicBezTo>
                    <a:pt x="482088" y="226948"/>
                    <a:pt x="473539" y="144310"/>
                    <a:pt x="419396" y="127212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05C3EEF8-1B57-43D8-8E3E-BD42E3FEAE7A}"/>
                </a:ext>
              </a:extLst>
            </p:cNvPr>
            <p:cNvSpPr/>
            <p:nvPr/>
          </p:nvSpPr>
          <p:spPr>
            <a:xfrm>
              <a:off x="23734112" y="2684063"/>
              <a:ext cx="63403" cy="225118"/>
            </a:xfrm>
            <a:custGeom>
              <a:avLst/>
              <a:gdLst>
                <a:gd name="connsiteX0" fmla="*/ 51293 w 63403"/>
                <a:gd name="connsiteY0" fmla="*/ 225119 h 225118"/>
                <a:gd name="connsiteX1" fmla="*/ 45593 w 63403"/>
                <a:gd name="connsiteY1" fmla="*/ 219420 h 225118"/>
                <a:gd name="connsiteX2" fmla="*/ 0 w 63403"/>
                <a:gd name="connsiteY2" fmla="*/ 105435 h 225118"/>
                <a:gd name="connsiteX3" fmla="*/ 0 w 63403"/>
                <a:gd name="connsiteY3" fmla="*/ 99736 h 225118"/>
                <a:gd name="connsiteX4" fmla="*/ 2849 w 63403"/>
                <a:gd name="connsiteY4" fmla="*/ 96886 h 225118"/>
                <a:gd name="connsiteX5" fmla="*/ 48444 w 63403"/>
                <a:gd name="connsiteY5" fmla="*/ 59842 h 225118"/>
                <a:gd name="connsiteX6" fmla="*/ 48444 w 63403"/>
                <a:gd name="connsiteY6" fmla="*/ 5699 h 225118"/>
                <a:gd name="connsiteX7" fmla="*/ 51293 w 63403"/>
                <a:gd name="connsiteY7" fmla="*/ 0 h 225118"/>
                <a:gd name="connsiteX8" fmla="*/ 56992 w 63403"/>
                <a:gd name="connsiteY8" fmla="*/ 2850 h 225118"/>
                <a:gd name="connsiteX9" fmla="*/ 56992 w 63403"/>
                <a:gd name="connsiteY9" fmla="*/ 65541 h 225118"/>
                <a:gd name="connsiteX10" fmla="*/ 11399 w 63403"/>
                <a:gd name="connsiteY10" fmla="*/ 105435 h 225118"/>
                <a:gd name="connsiteX11" fmla="*/ 54143 w 63403"/>
                <a:gd name="connsiteY11" fmla="*/ 216570 h 225118"/>
                <a:gd name="connsiteX12" fmla="*/ 51293 w 63403"/>
                <a:gd name="connsiteY12" fmla="*/ 225119 h 225118"/>
                <a:gd name="connsiteX13" fmla="*/ 51293 w 63403"/>
                <a:gd name="connsiteY13" fmla="*/ 225119 h 225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03" h="225118">
                  <a:moveTo>
                    <a:pt x="51293" y="225119"/>
                  </a:moveTo>
                  <a:cubicBezTo>
                    <a:pt x="48444" y="225119"/>
                    <a:pt x="45593" y="222269"/>
                    <a:pt x="45593" y="219420"/>
                  </a:cubicBezTo>
                  <a:cubicBezTo>
                    <a:pt x="39895" y="162427"/>
                    <a:pt x="0" y="108285"/>
                    <a:pt x="0" y="105435"/>
                  </a:cubicBezTo>
                  <a:cubicBezTo>
                    <a:pt x="0" y="105435"/>
                    <a:pt x="0" y="102586"/>
                    <a:pt x="0" y="99736"/>
                  </a:cubicBezTo>
                  <a:cubicBezTo>
                    <a:pt x="0" y="96886"/>
                    <a:pt x="2849" y="96886"/>
                    <a:pt x="2849" y="96886"/>
                  </a:cubicBezTo>
                  <a:cubicBezTo>
                    <a:pt x="2849" y="96886"/>
                    <a:pt x="34196" y="85488"/>
                    <a:pt x="48444" y="59842"/>
                  </a:cubicBezTo>
                  <a:cubicBezTo>
                    <a:pt x="56992" y="45594"/>
                    <a:pt x="56992" y="25646"/>
                    <a:pt x="48444" y="5699"/>
                  </a:cubicBezTo>
                  <a:cubicBezTo>
                    <a:pt x="48444" y="2850"/>
                    <a:pt x="48444" y="0"/>
                    <a:pt x="51293" y="0"/>
                  </a:cubicBezTo>
                  <a:cubicBezTo>
                    <a:pt x="54143" y="0"/>
                    <a:pt x="56992" y="0"/>
                    <a:pt x="56992" y="2850"/>
                  </a:cubicBezTo>
                  <a:cubicBezTo>
                    <a:pt x="65541" y="25646"/>
                    <a:pt x="65541" y="45594"/>
                    <a:pt x="56992" y="65541"/>
                  </a:cubicBezTo>
                  <a:cubicBezTo>
                    <a:pt x="45593" y="88338"/>
                    <a:pt x="22796" y="99736"/>
                    <a:pt x="11399" y="105435"/>
                  </a:cubicBezTo>
                  <a:cubicBezTo>
                    <a:pt x="22796" y="122533"/>
                    <a:pt x="51293" y="168127"/>
                    <a:pt x="54143" y="216570"/>
                  </a:cubicBezTo>
                  <a:cubicBezTo>
                    <a:pt x="56992" y="222269"/>
                    <a:pt x="56992" y="225119"/>
                    <a:pt x="51293" y="225119"/>
                  </a:cubicBezTo>
                  <a:lnTo>
                    <a:pt x="51293" y="225119"/>
                  </a:ln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BE1E2D70-7984-46B8-90DE-95245BA97B28}"/>
                </a:ext>
              </a:extLst>
            </p:cNvPr>
            <p:cNvSpPr/>
            <p:nvPr/>
          </p:nvSpPr>
          <p:spPr>
            <a:xfrm>
              <a:off x="23460550" y="2664001"/>
              <a:ext cx="242216" cy="79904"/>
            </a:xfrm>
            <a:custGeom>
              <a:avLst/>
              <a:gdLst>
                <a:gd name="connsiteX0" fmla="*/ 5698 w 242216"/>
                <a:gd name="connsiteY0" fmla="*/ 79904 h 79904"/>
                <a:gd name="connsiteX1" fmla="*/ 0 w 242216"/>
                <a:gd name="connsiteY1" fmla="*/ 74205 h 79904"/>
                <a:gd name="connsiteX2" fmla="*/ 5698 w 242216"/>
                <a:gd name="connsiteY2" fmla="*/ 68506 h 79904"/>
                <a:gd name="connsiteX3" fmla="*/ 48442 w 242216"/>
                <a:gd name="connsiteY3" fmla="*/ 48559 h 79904"/>
                <a:gd name="connsiteX4" fmla="*/ 56992 w 242216"/>
                <a:gd name="connsiteY4" fmla="*/ 40010 h 79904"/>
                <a:gd name="connsiteX5" fmla="*/ 91186 w 242216"/>
                <a:gd name="connsiteY5" fmla="*/ 20063 h 79904"/>
                <a:gd name="connsiteX6" fmla="*/ 119682 w 242216"/>
                <a:gd name="connsiteY6" fmla="*/ 28611 h 79904"/>
                <a:gd name="connsiteX7" fmla="*/ 145329 w 242216"/>
                <a:gd name="connsiteY7" fmla="*/ 34311 h 79904"/>
                <a:gd name="connsiteX8" fmla="*/ 165277 w 242216"/>
                <a:gd name="connsiteY8" fmla="*/ 20063 h 79904"/>
                <a:gd name="connsiteX9" fmla="*/ 185224 w 242216"/>
                <a:gd name="connsiteY9" fmla="*/ 2965 h 79904"/>
                <a:gd name="connsiteX10" fmla="*/ 222269 w 242216"/>
                <a:gd name="connsiteY10" fmla="*/ 8664 h 79904"/>
                <a:gd name="connsiteX11" fmla="*/ 242216 w 242216"/>
                <a:gd name="connsiteY11" fmla="*/ 40010 h 79904"/>
                <a:gd name="connsiteX12" fmla="*/ 239366 w 242216"/>
                <a:gd name="connsiteY12" fmla="*/ 45709 h 79904"/>
                <a:gd name="connsiteX13" fmla="*/ 233666 w 242216"/>
                <a:gd name="connsiteY13" fmla="*/ 42860 h 79904"/>
                <a:gd name="connsiteX14" fmla="*/ 219418 w 242216"/>
                <a:gd name="connsiteY14" fmla="*/ 17213 h 79904"/>
                <a:gd name="connsiteX15" fmla="*/ 193773 w 242216"/>
                <a:gd name="connsiteY15" fmla="*/ 14363 h 79904"/>
                <a:gd name="connsiteX16" fmla="*/ 176674 w 242216"/>
                <a:gd name="connsiteY16" fmla="*/ 28611 h 79904"/>
                <a:gd name="connsiteX17" fmla="*/ 151029 w 242216"/>
                <a:gd name="connsiteY17" fmla="*/ 45709 h 79904"/>
                <a:gd name="connsiteX18" fmla="*/ 119682 w 242216"/>
                <a:gd name="connsiteY18" fmla="*/ 37160 h 79904"/>
                <a:gd name="connsiteX19" fmla="*/ 96886 w 242216"/>
                <a:gd name="connsiteY19" fmla="*/ 31461 h 79904"/>
                <a:gd name="connsiteX20" fmla="*/ 68389 w 242216"/>
                <a:gd name="connsiteY20" fmla="*/ 48559 h 79904"/>
                <a:gd name="connsiteX21" fmla="*/ 59841 w 242216"/>
                <a:gd name="connsiteY21" fmla="*/ 57108 h 79904"/>
                <a:gd name="connsiteX22" fmla="*/ 5698 w 242216"/>
                <a:gd name="connsiteY22" fmla="*/ 79904 h 79904"/>
                <a:gd name="connsiteX23" fmla="*/ 5698 w 242216"/>
                <a:gd name="connsiteY23" fmla="*/ 79904 h 79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42216" h="79904">
                  <a:moveTo>
                    <a:pt x="5698" y="79904"/>
                  </a:moveTo>
                  <a:cubicBezTo>
                    <a:pt x="2849" y="79904"/>
                    <a:pt x="0" y="77055"/>
                    <a:pt x="0" y="74205"/>
                  </a:cubicBezTo>
                  <a:cubicBezTo>
                    <a:pt x="0" y="71356"/>
                    <a:pt x="2849" y="68506"/>
                    <a:pt x="5698" y="68506"/>
                  </a:cubicBezTo>
                  <a:cubicBezTo>
                    <a:pt x="22796" y="65656"/>
                    <a:pt x="37045" y="59957"/>
                    <a:pt x="48442" y="48559"/>
                  </a:cubicBezTo>
                  <a:cubicBezTo>
                    <a:pt x="51293" y="45709"/>
                    <a:pt x="54141" y="42860"/>
                    <a:pt x="56992" y="40010"/>
                  </a:cubicBezTo>
                  <a:cubicBezTo>
                    <a:pt x="65541" y="31461"/>
                    <a:pt x="76938" y="20063"/>
                    <a:pt x="91186" y="20063"/>
                  </a:cubicBezTo>
                  <a:cubicBezTo>
                    <a:pt x="102585" y="20063"/>
                    <a:pt x="111134" y="22912"/>
                    <a:pt x="119682" y="28611"/>
                  </a:cubicBezTo>
                  <a:cubicBezTo>
                    <a:pt x="128232" y="31461"/>
                    <a:pt x="136781" y="37160"/>
                    <a:pt x="145329" y="34311"/>
                  </a:cubicBezTo>
                  <a:cubicBezTo>
                    <a:pt x="153878" y="31461"/>
                    <a:pt x="159577" y="25762"/>
                    <a:pt x="165277" y="20063"/>
                  </a:cubicBezTo>
                  <a:cubicBezTo>
                    <a:pt x="170976" y="14363"/>
                    <a:pt x="176674" y="8664"/>
                    <a:pt x="185224" y="2965"/>
                  </a:cubicBezTo>
                  <a:cubicBezTo>
                    <a:pt x="196622" y="-2734"/>
                    <a:pt x="210870" y="115"/>
                    <a:pt x="222269" y="8664"/>
                  </a:cubicBezTo>
                  <a:cubicBezTo>
                    <a:pt x="230817" y="14363"/>
                    <a:pt x="239366" y="25762"/>
                    <a:pt x="242216" y="40010"/>
                  </a:cubicBezTo>
                  <a:cubicBezTo>
                    <a:pt x="242216" y="42860"/>
                    <a:pt x="242216" y="45709"/>
                    <a:pt x="239366" y="45709"/>
                  </a:cubicBezTo>
                  <a:cubicBezTo>
                    <a:pt x="236517" y="45709"/>
                    <a:pt x="233666" y="45709"/>
                    <a:pt x="233666" y="42860"/>
                  </a:cubicBezTo>
                  <a:cubicBezTo>
                    <a:pt x="230817" y="31461"/>
                    <a:pt x="225118" y="22912"/>
                    <a:pt x="219418" y="17213"/>
                  </a:cubicBezTo>
                  <a:cubicBezTo>
                    <a:pt x="210870" y="11514"/>
                    <a:pt x="202321" y="8664"/>
                    <a:pt x="193773" y="14363"/>
                  </a:cubicBezTo>
                  <a:cubicBezTo>
                    <a:pt x="188073" y="17213"/>
                    <a:pt x="182374" y="22912"/>
                    <a:pt x="176674" y="28611"/>
                  </a:cubicBezTo>
                  <a:cubicBezTo>
                    <a:pt x="170976" y="37160"/>
                    <a:pt x="162426" y="42860"/>
                    <a:pt x="151029" y="45709"/>
                  </a:cubicBezTo>
                  <a:cubicBezTo>
                    <a:pt x="139630" y="48559"/>
                    <a:pt x="128232" y="42860"/>
                    <a:pt x="119682" y="37160"/>
                  </a:cubicBezTo>
                  <a:cubicBezTo>
                    <a:pt x="111134" y="34311"/>
                    <a:pt x="105434" y="28611"/>
                    <a:pt x="96886" y="31461"/>
                  </a:cubicBezTo>
                  <a:cubicBezTo>
                    <a:pt x="85488" y="31461"/>
                    <a:pt x="76938" y="40010"/>
                    <a:pt x="68389" y="48559"/>
                  </a:cubicBezTo>
                  <a:cubicBezTo>
                    <a:pt x="65541" y="51408"/>
                    <a:pt x="62690" y="54258"/>
                    <a:pt x="59841" y="57108"/>
                  </a:cubicBezTo>
                  <a:cubicBezTo>
                    <a:pt x="39893" y="68506"/>
                    <a:pt x="22796" y="77055"/>
                    <a:pt x="5698" y="79904"/>
                  </a:cubicBezTo>
                  <a:cubicBezTo>
                    <a:pt x="5698" y="79904"/>
                    <a:pt x="5698" y="79904"/>
                    <a:pt x="5698" y="79904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7484EA13-83BA-4C76-B933-6B1487AD7945}"/>
                </a:ext>
              </a:extLst>
            </p:cNvPr>
            <p:cNvSpPr/>
            <p:nvPr/>
          </p:nvSpPr>
          <p:spPr>
            <a:xfrm>
              <a:off x="23434903" y="2586611"/>
              <a:ext cx="270000" cy="77505"/>
            </a:xfrm>
            <a:custGeom>
              <a:avLst/>
              <a:gdLst>
                <a:gd name="connsiteX0" fmla="*/ 5700 w 270000"/>
                <a:gd name="connsiteY0" fmla="*/ 77505 h 77505"/>
                <a:gd name="connsiteX1" fmla="*/ 5700 w 270000"/>
                <a:gd name="connsiteY1" fmla="*/ 77505 h 77505"/>
                <a:gd name="connsiteX2" fmla="*/ 0 w 270000"/>
                <a:gd name="connsiteY2" fmla="*/ 71806 h 77505"/>
                <a:gd name="connsiteX3" fmla="*/ 14248 w 270000"/>
                <a:gd name="connsiteY3" fmla="*/ 46160 h 77505"/>
                <a:gd name="connsiteX4" fmla="*/ 71240 w 270000"/>
                <a:gd name="connsiteY4" fmla="*/ 31912 h 77505"/>
                <a:gd name="connsiteX5" fmla="*/ 108285 w 270000"/>
                <a:gd name="connsiteY5" fmla="*/ 14814 h 77505"/>
                <a:gd name="connsiteX6" fmla="*/ 133932 w 270000"/>
                <a:gd name="connsiteY6" fmla="*/ 566 h 77505"/>
                <a:gd name="connsiteX7" fmla="*/ 185224 w 270000"/>
                <a:gd name="connsiteY7" fmla="*/ 11964 h 77505"/>
                <a:gd name="connsiteX8" fmla="*/ 210871 w 270000"/>
                <a:gd name="connsiteY8" fmla="*/ 17664 h 77505"/>
                <a:gd name="connsiteX9" fmla="*/ 267864 w 270000"/>
                <a:gd name="connsiteY9" fmla="*/ 37611 h 77505"/>
                <a:gd name="connsiteX10" fmla="*/ 267864 w 270000"/>
                <a:gd name="connsiteY10" fmla="*/ 46160 h 77505"/>
                <a:gd name="connsiteX11" fmla="*/ 259313 w 270000"/>
                <a:gd name="connsiteY11" fmla="*/ 46160 h 77505"/>
                <a:gd name="connsiteX12" fmla="*/ 216569 w 270000"/>
                <a:gd name="connsiteY12" fmla="*/ 29062 h 77505"/>
                <a:gd name="connsiteX13" fmla="*/ 179525 w 270000"/>
                <a:gd name="connsiteY13" fmla="*/ 23363 h 77505"/>
                <a:gd name="connsiteX14" fmla="*/ 136781 w 270000"/>
                <a:gd name="connsiteY14" fmla="*/ 11964 h 77505"/>
                <a:gd name="connsiteX15" fmla="*/ 113984 w 270000"/>
                <a:gd name="connsiteY15" fmla="*/ 26212 h 77505"/>
                <a:gd name="connsiteX16" fmla="*/ 68391 w 270000"/>
                <a:gd name="connsiteY16" fmla="*/ 46160 h 77505"/>
                <a:gd name="connsiteX17" fmla="*/ 19948 w 270000"/>
                <a:gd name="connsiteY17" fmla="*/ 57558 h 77505"/>
                <a:gd name="connsiteX18" fmla="*/ 8548 w 270000"/>
                <a:gd name="connsiteY18" fmla="*/ 74656 h 77505"/>
                <a:gd name="connsiteX19" fmla="*/ 5700 w 270000"/>
                <a:gd name="connsiteY19" fmla="*/ 77505 h 77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0000" h="77505">
                  <a:moveTo>
                    <a:pt x="5700" y="77505"/>
                  </a:moveTo>
                  <a:cubicBezTo>
                    <a:pt x="5700" y="77505"/>
                    <a:pt x="5700" y="77505"/>
                    <a:pt x="5700" y="77505"/>
                  </a:cubicBezTo>
                  <a:cubicBezTo>
                    <a:pt x="2849" y="77505"/>
                    <a:pt x="0" y="74656"/>
                    <a:pt x="0" y="71806"/>
                  </a:cubicBezTo>
                  <a:cubicBezTo>
                    <a:pt x="0" y="60408"/>
                    <a:pt x="5700" y="51859"/>
                    <a:pt x="14248" y="46160"/>
                  </a:cubicBezTo>
                  <a:cubicBezTo>
                    <a:pt x="31345" y="31912"/>
                    <a:pt x="56992" y="31912"/>
                    <a:pt x="71240" y="31912"/>
                  </a:cubicBezTo>
                  <a:cubicBezTo>
                    <a:pt x="79789" y="34761"/>
                    <a:pt x="96887" y="23363"/>
                    <a:pt x="108285" y="14814"/>
                  </a:cubicBezTo>
                  <a:cubicBezTo>
                    <a:pt x="119684" y="6265"/>
                    <a:pt x="128232" y="566"/>
                    <a:pt x="133932" y="566"/>
                  </a:cubicBezTo>
                  <a:cubicBezTo>
                    <a:pt x="156728" y="-2284"/>
                    <a:pt x="170976" y="6265"/>
                    <a:pt x="185224" y="11964"/>
                  </a:cubicBezTo>
                  <a:cubicBezTo>
                    <a:pt x="196623" y="17664"/>
                    <a:pt x="202321" y="20513"/>
                    <a:pt x="210871" y="17664"/>
                  </a:cubicBezTo>
                  <a:cubicBezTo>
                    <a:pt x="239367" y="3416"/>
                    <a:pt x="265013" y="34761"/>
                    <a:pt x="267864" y="37611"/>
                  </a:cubicBezTo>
                  <a:cubicBezTo>
                    <a:pt x="270712" y="40461"/>
                    <a:pt x="270712" y="43310"/>
                    <a:pt x="267864" y="46160"/>
                  </a:cubicBezTo>
                  <a:cubicBezTo>
                    <a:pt x="265013" y="49009"/>
                    <a:pt x="262164" y="49009"/>
                    <a:pt x="259313" y="46160"/>
                  </a:cubicBezTo>
                  <a:cubicBezTo>
                    <a:pt x="259313" y="46160"/>
                    <a:pt x="236517" y="20513"/>
                    <a:pt x="216569" y="29062"/>
                  </a:cubicBezTo>
                  <a:cubicBezTo>
                    <a:pt x="202321" y="37611"/>
                    <a:pt x="190924" y="29062"/>
                    <a:pt x="179525" y="23363"/>
                  </a:cubicBezTo>
                  <a:cubicBezTo>
                    <a:pt x="168127" y="17664"/>
                    <a:pt x="156728" y="9115"/>
                    <a:pt x="136781" y="11964"/>
                  </a:cubicBezTo>
                  <a:cubicBezTo>
                    <a:pt x="131081" y="11964"/>
                    <a:pt x="122533" y="20513"/>
                    <a:pt x="113984" y="26212"/>
                  </a:cubicBezTo>
                  <a:cubicBezTo>
                    <a:pt x="99736" y="37611"/>
                    <a:pt x="82639" y="49009"/>
                    <a:pt x="68391" y="46160"/>
                  </a:cubicBezTo>
                  <a:cubicBezTo>
                    <a:pt x="56992" y="43310"/>
                    <a:pt x="34196" y="46160"/>
                    <a:pt x="19948" y="57558"/>
                  </a:cubicBezTo>
                  <a:cubicBezTo>
                    <a:pt x="14248" y="63257"/>
                    <a:pt x="11399" y="68957"/>
                    <a:pt x="8548" y="74656"/>
                  </a:cubicBezTo>
                  <a:cubicBezTo>
                    <a:pt x="11399" y="77505"/>
                    <a:pt x="8548" y="77505"/>
                    <a:pt x="5700" y="77505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2" name="图形 1">
              <a:extLst>
                <a:ext uri="{FF2B5EF4-FFF2-40B4-BE49-F238E27FC236}">
                  <a16:creationId xmlns:a16="http://schemas.microsoft.com/office/drawing/2014/main" id="{7EF24E7A-687D-4C9F-8297-CE69019C8FF2}"/>
                </a:ext>
              </a:extLst>
            </p:cNvPr>
            <p:cNvGrpSpPr/>
            <p:nvPr/>
          </p:nvGrpSpPr>
          <p:grpSpPr>
            <a:xfrm>
              <a:off x="24554797" y="6345805"/>
              <a:ext cx="362308" cy="550039"/>
              <a:chOff x="24554797" y="6345805"/>
              <a:chExt cx="362308" cy="550039"/>
            </a:xfrm>
          </p:grpSpPr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0F993E91-FC82-4A32-9D96-A5B4468E22DF}"/>
                  </a:ext>
                </a:extLst>
              </p:cNvPr>
              <p:cNvSpPr/>
              <p:nvPr/>
            </p:nvSpPr>
            <p:spPr>
              <a:xfrm>
                <a:off x="24554797" y="6345805"/>
                <a:ext cx="262163" cy="236517"/>
              </a:xfrm>
              <a:custGeom>
                <a:avLst/>
                <a:gdLst>
                  <a:gd name="connsiteX0" fmla="*/ 239367 w 262163"/>
                  <a:gd name="connsiteY0" fmla="*/ 111135 h 236517"/>
                  <a:gd name="connsiteX1" fmla="*/ 105436 w 262163"/>
                  <a:gd name="connsiteY1" fmla="*/ 0 h 236517"/>
                  <a:gd name="connsiteX2" fmla="*/ 0 w 262163"/>
                  <a:gd name="connsiteY2" fmla="*/ 133931 h 236517"/>
                  <a:gd name="connsiteX3" fmla="*/ 151029 w 262163"/>
                  <a:gd name="connsiteY3" fmla="*/ 236517 h 236517"/>
                  <a:gd name="connsiteX4" fmla="*/ 262164 w 262163"/>
                  <a:gd name="connsiteY4" fmla="*/ 142480 h 236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2163" h="236517">
                    <a:moveTo>
                      <a:pt x="239367" y="111135"/>
                    </a:moveTo>
                    <a:lnTo>
                      <a:pt x="105436" y="0"/>
                    </a:lnTo>
                    <a:lnTo>
                      <a:pt x="0" y="133931"/>
                    </a:lnTo>
                    <a:lnTo>
                      <a:pt x="151029" y="236517"/>
                    </a:lnTo>
                    <a:lnTo>
                      <a:pt x="262164" y="142480"/>
                    </a:ln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94405FB9-80E1-4A57-8AA3-0DE517FE8929}"/>
                  </a:ext>
                </a:extLst>
              </p:cNvPr>
              <p:cNvSpPr/>
              <p:nvPr/>
            </p:nvSpPr>
            <p:spPr>
              <a:xfrm>
                <a:off x="24587435" y="6445541"/>
                <a:ext cx="297917" cy="421741"/>
              </a:xfrm>
              <a:custGeom>
                <a:avLst/>
                <a:gdLst>
                  <a:gd name="connsiteX0" fmla="*/ 215279 w 297917"/>
                  <a:gd name="connsiteY0" fmla="*/ 0 h 421741"/>
                  <a:gd name="connsiteX1" fmla="*/ 72798 w 297917"/>
                  <a:gd name="connsiteY1" fmla="*/ 108285 h 421741"/>
                  <a:gd name="connsiteX2" fmla="*/ 55702 w 297917"/>
                  <a:gd name="connsiteY2" fmla="*/ 253615 h 421741"/>
                  <a:gd name="connsiteX3" fmla="*/ 15806 w 297917"/>
                  <a:gd name="connsiteY3" fmla="*/ 421742 h 421741"/>
                  <a:gd name="connsiteX4" fmla="*/ 297918 w 297917"/>
                  <a:gd name="connsiteY4" fmla="*/ 65541 h 421741"/>
                  <a:gd name="connsiteX5" fmla="*/ 215279 w 297917"/>
                  <a:gd name="connsiteY5" fmla="*/ 0 h 421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7917" h="421741">
                    <a:moveTo>
                      <a:pt x="215279" y="0"/>
                    </a:moveTo>
                    <a:cubicBezTo>
                      <a:pt x="215279" y="0"/>
                      <a:pt x="158287" y="102586"/>
                      <a:pt x="72798" y="108285"/>
                    </a:cubicBezTo>
                    <a:cubicBezTo>
                      <a:pt x="72798" y="108285"/>
                      <a:pt x="72798" y="213720"/>
                      <a:pt x="55702" y="253615"/>
                    </a:cubicBezTo>
                    <a:cubicBezTo>
                      <a:pt x="35754" y="290660"/>
                      <a:pt x="-29787" y="373298"/>
                      <a:pt x="15806" y="421742"/>
                    </a:cubicBezTo>
                    <a:lnTo>
                      <a:pt x="297918" y="65541"/>
                    </a:lnTo>
                    <a:cubicBezTo>
                      <a:pt x="297918" y="65541"/>
                      <a:pt x="263722" y="17098"/>
                      <a:pt x="215279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AF2ED796-B3DE-4DA2-9FC1-39F5A939D2A6}"/>
                  </a:ext>
                </a:extLst>
              </p:cNvPr>
              <p:cNvSpPr/>
              <p:nvPr/>
            </p:nvSpPr>
            <p:spPr>
              <a:xfrm rot="-3097861">
                <a:off x="24530891" y="6682480"/>
                <a:ext cx="455919" cy="42742"/>
              </a:xfrm>
              <a:custGeom>
                <a:avLst/>
                <a:gdLst>
                  <a:gd name="connsiteX0" fmla="*/ 0 w 455919"/>
                  <a:gd name="connsiteY0" fmla="*/ 0 h 42742"/>
                  <a:gd name="connsiteX1" fmla="*/ 455919 w 455919"/>
                  <a:gd name="connsiteY1" fmla="*/ 0 h 42742"/>
                  <a:gd name="connsiteX2" fmla="*/ 455919 w 455919"/>
                  <a:gd name="connsiteY2" fmla="*/ 42742 h 42742"/>
                  <a:gd name="connsiteX3" fmla="*/ 0 w 455919"/>
                  <a:gd name="connsiteY3" fmla="*/ 42742 h 42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919" h="42742">
                    <a:moveTo>
                      <a:pt x="0" y="0"/>
                    </a:moveTo>
                    <a:lnTo>
                      <a:pt x="455919" y="0"/>
                    </a:lnTo>
                    <a:lnTo>
                      <a:pt x="455919" y="42742"/>
                    </a:lnTo>
                    <a:lnTo>
                      <a:pt x="0" y="42742"/>
                    </a:lnTo>
                    <a:close/>
                  </a:path>
                </a:pathLst>
              </a:custGeom>
              <a:solidFill>
                <a:srgbClr val="38333D"/>
              </a:solidFill>
              <a:ln w="284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9203A4E9-FBF3-4206-9804-A19B6E49DD00}"/>
                  </a:ext>
                </a:extLst>
              </p:cNvPr>
              <p:cNvSpPr/>
              <p:nvPr/>
            </p:nvSpPr>
            <p:spPr>
              <a:xfrm>
                <a:off x="24654534" y="6442691"/>
                <a:ext cx="156728" cy="119683"/>
              </a:xfrm>
              <a:custGeom>
                <a:avLst/>
                <a:gdLst>
                  <a:gd name="connsiteX0" fmla="*/ 5700 w 156728"/>
                  <a:gd name="connsiteY0" fmla="*/ 119683 h 119683"/>
                  <a:gd name="connsiteX1" fmla="*/ 0 w 156728"/>
                  <a:gd name="connsiteY1" fmla="*/ 113984 h 119683"/>
                  <a:gd name="connsiteX2" fmla="*/ 5700 w 156728"/>
                  <a:gd name="connsiteY2" fmla="*/ 108285 h 119683"/>
                  <a:gd name="connsiteX3" fmla="*/ 145331 w 156728"/>
                  <a:gd name="connsiteY3" fmla="*/ 2849 h 119683"/>
                  <a:gd name="connsiteX4" fmla="*/ 153879 w 156728"/>
                  <a:gd name="connsiteY4" fmla="*/ 0 h 119683"/>
                  <a:gd name="connsiteX5" fmla="*/ 156728 w 156728"/>
                  <a:gd name="connsiteY5" fmla="*/ 8548 h 119683"/>
                  <a:gd name="connsiteX6" fmla="*/ 5700 w 156728"/>
                  <a:gd name="connsiteY6" fmla="*/ 119683 h 119683"/>
                  <a:gd name="connsiteX7" fmla="*/ 5700 w 156728"/>
                  <a:gd name="connsiteY7" fmla="*/ 119683 h 119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6728" h="119683">
                    <a:moveTo>
                      <a:pt x="5700" y="119683"/>
                    </a:moveTo>
                    <a:cubicBezTo>
                      <a:pt x="2851" y="119683"/>
                      <a:pt x="0" y="116834"/>
                      <a:pt x="0" y="113984"/>
                    </a:cubicBezTo>
                    <a:cubicBezTo>
                      <a:pt x="0" y="111134"/>
                      <a:pt x="0" y="108285"/>
                      <a:pt x="5700" y="108285"/>
                    </a:cubicBezTo>
                    <a:cubicBezTo>
                      <a:pt x="91188" y="94037"/>
                      <a:pt x="142480" y="2849"/>
                      <a:pt x="145331" y="2849"/>
                    </a:cubicBezTo>
                    <a:cubicBezTo>
                      <a:pt x="148180" y="0"/>
                      <a:pt x="151029" y="0"/>
                      <a:pt x="153879" y="0"/>
                    </a:cubicBezTo>
                    <a:cubicBezTo>
                      <a:pt x="156728" y="2849"/>
                      <a:pt x="156728" y="5699"/>
                      <a:pt x="156728" y="8548"/>
                    </a:cubicBezTo>
                    <a:cubicBezTo>
                      <a:pt x="151029" y="11398"/>
                      <a:pt x="96887" y="102585"/>
                      <a:pt x="5700" y="119683"/>
                    </a:cubicBezTo>
                    <a:cubicBezTo>
                      <a:pt x="5700" y="119683"/>
                      <a:pt x="5700" y="119683"/>
                      <a:pt x="5700" y="11968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F6DB19AD-663F-4DFB-BD44-A351EF489DC1}"/>
                  </a:ext>
                </a:extLst>
              </p:cNvPr>
              <p:cNvSpPr/>
              <p:nvPr/>
            </p:nvSpPr>
            <p:spPr>
              <a:xfrm>
                <a:off x="24654534" y="6588021"/>
                <a:ext cx="45594" cy="14248"/>
              </a:xfrm>
              <a:custGeom>
                <a:avLst/>
                <a:gdLst>
                  <a:gd name="connsiteX0" fmla="*/ 5700 w 45594"/>
                  <a:gd name="connsiteY0" fmla="*/ 14248 h 14248"/>
                  <a:gd name="connsiteX1" fmla="*/ 0 w 45594"/>
                  <a:gd name="connsiteY1" fmla="*/ 8549 h 14248"/>
                  <a:gd name="connsiteX2" fmla="*/ 5700 w 45594"/>
                  <a:gd name="connsiteY2" fmla="*/ 2850 h 14248"/>
                  <a:gd name="connsiteX3" fmla="*/ 39895 w 45594"/>
                  <a:gd name="connsiteY3" fmla="*/ 0 h 14248"/>
                  <a:gd name="connsiteX4" fmla="*/ 45595 w 45594"/>
                  <a:gd name="connsiteY4" fmla="*/ 5699 h 14248"/>
                  <a:gd name="connsiteX5" fmla="*/ 39895 w 45594"/>
                  <a:gd name="connsiteY5" fmla="*/ 11399 h 14248"/>
                  <a:gd name="connsiteX6" fmla="*/ 5700 w 45594"/>
                  <a:gd name="connsiteY6" fmla="*/ 14248 h 14248"/>
                  <a:gd name="connsiteX7" fmla="*/ 5700 w 45594"/>
                  <a:gd name="connsiteY7" fmla="*/ 14248 h 1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594" h="14248">
                    <a:moveTo>
                      <a:pt x="5700" y="14248"/>
                    </a:moveTo>
                    <a:cubicBezTo>
                      <a:pt x="2851" y="14248"/>
                      <a:pt x="0" y="11399"/>
                      <a:pt x="0" y="8549"/>
                    </a:cubicBezTo>
                    <a:cubicBezTo>
                      <a:pt x="0" y="5699"/>
                      <a:pt x="2851" y="2850"/>
                      <a:pt x="5700" y="2850"/>
                    </a:cubicBezTo>
                    <a:lnTo>
                      <a:pt x="39895" y="0"/>
                    </a:lnTo>
                    <a:cubicBezTo>
                      <a:pt x="42744" y="0"/>
                      <a:pt x="45595" y="2850"/>
                      <a:pt x="45595" y="5699"/>
                    </a:cubicBezTo>
                    <a:cubicBezTo>
                      <a:pt x="45595" y="8549"/>
                      <a:pt x="42744" y="11399"/>
                      <a:pt x="39895" y="11399"/>
                    </a:cubicBezTo>
                    <a:lnTo>
                      <a:pt x="5700" y="14248"/>
                    </a:lnTo>
                    <a:lnTo>
                      <a:pt x="5700" y="14248"/>
                    </a:ln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429D62D0-C2C2-4E61-987D-A29F2FB7108E}"/>
                  </a:ext>
                </a:extLst>
              </p:cNvPr>
              <p:cNvSpPr/>
              <p:nvPr/>
            </p:nvSpPr>
            <p:spPr>
              <a:xfrm>
                <a:off x="24651685" y="6630765"/>
                <a:ext cx="45592" cy="14248"/>
              </a:xfrm>
              <a:custGeom>
                <a:avLst/>
                <a:gdLst>
                  <a:gd name="connsiteX0" fmla="*/ 5700 w 45592"/>
                  <a:gd name="connsiteY0" fmla="*/ 14248 h 14248"/>
                  <a:gd name="connsiteX1" fmla="*/ 0 w 45592"/>
                  <a:gd name="connsiteY1" fmla="*/ 8549 h 14248"/>
                  <a:gd name="connsiteX2" fmla="*/ 5700 w 45592"/>
                  <a:gd name="connsiteY2" fmla="*/ 2850 h 14248"/>
                  <a:gd name="connsiteX3" fmla="*/ 39893 w 45592"/>
                  <a:gd name="connsiteY3" fmla="*/ 0 h 14248"/>
                  <a:gd name="connsiteX4" fmla="*/ 45593 w 45592"/>
                  <a:gd name="connsiteY4" fmla="*/ 5699 h 14248"/>
                  <a:gd name="connsiteX5" fmla="*/ 39893 w 45592"/>
                  <a:gd name="connsiteY5" fmla="*/ 11399 h 14248"/>
                  <a:gd name="connsiteX6" fmla="*/ 5700 w 45592"/>
                  <a:gd name="connsiteY6" fmla="*/ 14248 h 14248"/>
                  <a:gd name="connsiteX7" fmla="*/ 5700 w 45592"/>
                  <a:gd name="connsiteY7" fmla="*/ 14248 h 1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592" h="14248">
                    <a:moveTo>
                      <a:pt x="5700" y="14248"/>
                    </a:moveTo>
                    <a:cubicBezTo>
                      <a:pt x="2849" y="14248"/>
                      <a:pt x="0" y="11399"/>
                      <a:pt x="0" y="8549"/>
                    </a:cubicBezTo>
                    <a:cubicBezTo>
                      <a:pt x="0" y="5699"/>
                      <a:pt x="2849" y="2850"/>
                      <a:pt x="5700" y="2850"/>
                    </a:cubicBezTo>
                    <a:lnTo>
                      <a:pt x="39893" y="0"/>
                    </a:lnTo>
                    <a:cubicBezTo>
                      <a:pt x="42744" y="0"/>
                      <a:pt x="45593" y="2850"/>
                      <a:pt x="45593" y="5699"/>
                    </a:cubicBezTo>
                    <a:cubicBezTo>
                      <a:pt x="45593" y="8549"/>
                      <a:pt x="42744" y="11399"/>
                      <a:pt x="39893" y="11399"/>
                    </a:cubicBezTo>
                    <a:lnTo>
                      <a:pt x="5700" y="14248"/>
                    </a:lnTo>
                    <a:cubicBezTo>
                      <a:pt x="5700" y="14248"/>
                      <a:pt x="5700" y="14248"/>
                      <a:pt x="5700" y="14248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3" name="图形 1">
              <a:extLst>
                <a:ext uri="{FF2B5EF4-FFF2-40B4-BE49-F238E27FC236}">
                  <a16:creationId xmlns:a16="http://schemas.microsoft.com/office/drawing/2014/main" id="{01FAB296-9B2E-4C32-8B97-C6A235764A0B}"/>
                </a:ext>
              </a:extLst>
            </p:cNvPr>
            <p:cNvGrpSpPr/>
            <p:nvPr/>
          </p:nvGrpSpPr>
          <p:grpSpPr>
            <a:xfrm>
              <a:off x="23010312" y="6739050"/>
              <a:ext cx="463536" cy="310606"/>
              <a:chOff x="23010312" y="6739050"/>
              <a:chExt cx="463536" cy="310606"/>
            </a:xfrm>
          </p:grpSpPr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8BAB2014-3C0A-4652-88EC-03D0EA4EF8AF}"/>
                  </a:ext>
                </a:extLst>
              </p:cNvPr>
              <p:cNvSpPr/>
              <p:nvPr/>
            </p:nvSpPr>
            <p:spPr>
              <a:xfrm>
                <a:off x="23261078" y="6739050"/>
                <a:ext cx="205170" cy="199472"/>
              </a:xfrm>
              <a:custGeom>
                <a:avLst/>
                <a:gdLst>
                  <a:gd name="connsiteX0" fmla="*/ 205170 w 205170"/>
                  <a:gd name="connsiteY0" fmla="*/ 162427 h 199472"/>
                  <a:gd name="connsiteX1" fmla="*/ 170976 w 205170"/>
                  <a:gd name="connsiteY1" fmla="*/ 0 h 199472"/>
                  <a:gd name="connsiteX2" fmla="*/ 0 w 205170"/>
                  <a:gd name="connsiteY2" fmla="*/ 0 h 199472"/>
                  <a:gd name="connsiteX3" fmla="*/ 51293 w 205170"/>
                  <a:gd name="connsiteY3" fmla="*/ 170976 h 199472"/>
                  <a:gd name="connsiteX4" fmla="*/ 193773 w 205170"/>
                  <a:gd name="connsiteY4" fmla="*/ 199472 h 199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170" h="199472">
                    <a:moveTo>
                      <a:pt x="205170" y="162427"/>
                    </a:moveTo>
                    <a:lnTo>
                      <a:pt x="170976" y="0"/>
                    </a:lnTo>
                    <a:lnTo>
                      <a:pt x="0" y="0"/>
                    </a:lnTo>
                    <a:lnTo>
                      <a:pt x="51293" y="170976"/>
                    </a:lnTo>
                    <a:lnTo>
                      <a:pt x="193773" y="199472"/>
                    </a:ln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B12C23D6-846C-462E-A304-CDE6FCD710CF}"/>
                  </a:ext>
                </a:extLst>
              </p:cNvPr>
              <p:cNvSpPr/>
              <p:nvPr/>
            </p:nvSpPr>
            <p:spPr>
              <a:xfrm>
                <a:off x="23010312" y="6858733"/>
                <a:ext cx="463536" cy="148179"/>
              </a:xfrm>
              <a:custGeom>
                <a:avLst/>
                <a:gdLst>
                  <a:gd name="connsiteX0" fmla="*/ 455937 w 463536"/>
                  <a:gd name="connsiteY0" fmla="*/ 42744 h 148179"/>
                  <a:gd name="connsiteX1" fmla="*/ 282112 w 463536"/>
                  <a:gd name="connsiteY1" fmla="*/ 0 h 148179"/>
                  <a:gd name="connsiteX2" fmla="*/ 156728 w 463536"/>
                  <a:gd name="connsiteY2" fmla="*/ 74090 h 148179"/>
                  <a:gd name="connsiteX3" fmla="*/ 0 w 463536"/>
                  <a:gd name="connsiteY3" fmla="*/ 148179 h 148179"/>
                  <a:gd name="connsiteX4" fmla="*/ 455937 w 463536"/>
                  <a:gd name="connsiteY4" fmla="*/ 148179 h 148179"/>
                  <a:gd name="connsiteX5" fmla="*/ 455937 w 463536"/>
                  <a:gd name="connsiteY5" fmla="*/ 42744 h 148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3536" h="148179">
                    <a:moveTo>
                      <a:pt x="455937" y="42744"/>
                    </a:moveTo>
                    <a:cubicBezTo>
                      <a:pt x="455937" y="42744"/>
                      <a:pt x="339104" y="59842"/>
                      <a:pt x="282112" y="0"/>
                    </a:cubicBezTo>
                    <a:cubicBezTo>
                      <a:pt x="282112" y="0"/>
                      <a:pt x="199472" y="65541"/>
                      <a:pt x="156728" y="74090"/>
                    </a:cubicBezTo>
                    <a:cubicBezTo>
                      <a:pt x="113984" y="82639"/>
                      <a:pt x="11399" y="79789"/>
                      <a:pt x="0" y="148179"/>
                    </a:cubicBezTo>
                    <a:lnTo>
                      <a:pt x="455937" y="148179"/>
                    </a:lnTo>
                    <a:cubicBezTo>
                      <a:pt x="455937" y="148179"/>
                      <a:pt x="473035" y="88338"/>
                      <a:pt x="455937" y="42744"/>
                    </a:cubicBezTo>
                    <a:close/>
                  </a:path>
                </a:pathLst>
              </a:custGeom>
              <a:solidFill>
                <a:srgbClr val="6C5D6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995839C3-C181-4825-8B65-9DB8B2AF8136}"/>
                  </a:ext>
                </a:extLst>
              </p:cNvPr>
              <p:cNvSpPr/>
              <p:nvPr/>
            </p:nvSpPr>
            <p:spPr>
              <a:xfrm>
                <a:off x="23010312" y="7006913"/>
                <a:ext cx="455936" cy="42744"/>
              </a:xfrm>
              <a:custGeom>
                <a:avLst/>
                <a:gdLst>
                  <a:gd name="connsiteX0" fmla="*/ -1 w 455936"/>
                  <a:gd name="connsiteY0" fmla="*/ 0 h 42744"/>
                  <a:gd name="connsiteX1" fmla="*/ 455936 w 455936"/>
                  <a:gd name="connsiteY1" fmla="*/ 0 h 42744"/>
                  <a:gd name="connsiteX2" fmla="*/ 455936 w 455936"/>
                  <a:gd name="connsiteY2" fmla="*/ 42744 h 42744"/>
                  <a:gd name="connsiteX3" fmla="*/ -1 w 455936"/>
                  <a:gd name="connsiteY3" fmla="*/ 42744 h 42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936" h="42744">
                    <a:moveTo>
                      <a:pt x="-1" y="0"/>
                    </a:moveTo>
                    <a:lnTo>
                      <a:pt x="455936" y="0"/>
                    </a:lnTo>
                    <a:lnTo>
                      <a:pt x="455936" y="42744"/>
                    </a:lnTo>
                    <a:lnTo>
                      <a:pt x="-1" y="42744"/>
                    </a:ln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BD2B3D17-04DD-451F-AA7E-EAA29EA285A4}"/>
                  </a:ext>
                </a:extLst>
              </p:cNvPr>
              <p:cNvSpPr/>
              <p:nvPr/>
            </p:nvSpPr>
            <p:spPr>
              <a:xfrm>
                <a:off x="23284587" y="6848047"/>
                <a:ext cx="187360" cy="59129"/>
              </a:xfrm>
              <a:custGeom>
                <a:avLst/>
                <a:gdLst>
                  <a:gd name="connsiteX0" fmla="*/ 147468 w 187360"/>
                  <a:gd name="connsiteY0" fmla="*/ 59129 h 59129"/>
                  <a:gd name="connsiteX1" fmla="*/ 2137 w 187360"/>
                  <a:gd name="connsiteY1" fmla="*/ 10686 h 59129"/>
                  <a:gd name="connsiteX2" fmla="*/ 2137 w 187360"/>
                  <a:gd name="connsiteY2" fmla="*/ 2137 h 59129"/>
                  <a:gd name="connsiteX3" fmla="*/ 10685 w 187360"/>
                  <a:gd name="connsiteY3" fmla="*/ 2137 h 59129"/>
                  <a:gd name="connsiteX4" fmla="*/ 181661 w 187360"/>
                  <a:gd name="connsiteY4" fmla="*/ 44881 h 59129"/>
                  <a:gd name="connsiteX5" fmla="*/ 187361 w 187360"/>
                  <a:gd name="connsiteY5" fmla="*/ 50581 h 59129"/>
                  <a:gd name="connsiteX6" fmla="*/ 181661 w 187360"/>
                  <a:gd name="connsiteY6" fmla="*/ 56280 h 59129"/>
                  <a:gd name="connsiteX7" fmla="*/ 147468 w 187360"/>
                  <a:gd name="connsiteY7" fmla="*/ 59129 h 59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7360" h="59129">
                    <a:moveTo>
                      <a:pt x="147468" y="59129"/>
                    </a:moveTo>
                    <a:cubicBezTo>
                      <a:pt x="110421" y="59129"/>
                      <a:pt x="47731" y="53430"/>
                      <a:pt x="2137" y="10686"/>
                    </a:cubicBezTo>
                    <a:cubicBezTo>
                      <a:pt x="-712" y="7837"/>
                      <a:pt x="-712" y="4987"/>
                      <a:pt x="2137" y="2137"/>
                    </a:cubicBezTo>
                    <a:cubicBezTo>
                      <a:pt x="4987" y="-712"/>
                      <a:pt x="7836" y="-712"/>
                      <a:pt x="10685" y="2137"/>
                    </a:cubicBezTo>
                    <a:cubicBezTo>
                      <a:pt x="73377" y="59129"/>
                      <a:pt x="178812" y="44881"/>
                      <a:pt x="181661" y="44881"/>
                    </a:cubicBezTo>
                    <a:cubicBezTo>
                      <a:pt x="184512" y="44881"/>
                      <a:pt x="187361" y="47731"/>
                      <a:pt x="187361" y="50581"/>
                    </a:cubicBezTo>
                    <a:cubicBezTo>
                      <a:pt x="187361" y="53430"/>
                      <a:pt x="184512" y="56280"/>
                      <a:pt x="181661" y="56280"/>
                    </a:cubicBezTo>
                    <a:cubicBezTo>
                      <a:pt x="181661" y="59129"/>
                      <a:pt x="167413" y="59129"/>
                      <a:pt x="147468" y="591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01B5FAFB-9A47-4757-B428-E3114FE16189}"/>
                  </a:ext>
                </a:extLst>
              </p:cNvPr>
              <p:cNvSpPr/>
              <p:nvPr/>
            </p:nvSpPr>
            <p:spPr>
              <a:xfrm>
                <a:off x="23256091" y="6873694"/>
                <a:ext cx="35620" cy="39182"/>
              </a:xfrm>
              <a:custGeom>
                <a:avLst/>
                <a:gdLst>
                  <a:gd name="connsiteX0" fmla="*/ 27784 w 35620"/>
                  <a:gd name="connsiteY0" fmla="*/ 39182 h 39182"/>
                  <a:gd name="connsiteX1" fmla="*/ 24933 w 35620"/>
                  <a:gd name="connsiteY1" fmla="*/ 36332 h 39182"/>
                  <a:gd name="connsiteX2" fmla="*/ 2137 w 35620"/>
                  <a:gd name="connsiteY2" fmla="*/ 10686 h 39182"/>
                  <a:gd name="connsiteX3" fmla="*/ 2137 w 35620"/>
                  <a:gd name="connsiteY3" fmla="*/ 2137 h 39182"/>
                  <a:gd name="connsiteX4" fmla="*/ 10685 w 35620"/>
                  <a:gd name="connsiteY4" fmla="*/ 2137 h 39182"/>
                  <a:gd name="connsiteX5" fmla="*/ 33483 w 35620"/>
                  <a:gd name="connsiteY5" fmla="*/ 27784 h 39182"/>
                  <a:gd name="connsiteX6" fmla="*/ 33483 w 35620"/>
                  <a:gd name="connsiteY6" fmla="*/ 36332 h 39182"/>
                  <a:gd name="connsiteX7" fmla="*/ 27784 w 35620"/>
                  <a:gd name="connsiteY7" fmla="*/ 39182 h 3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620" h="39182">
                    <a:moveTo>
                      <a:pt x="27784" y="39182"/>
                    </a:moveTo>
                    <a:cubicBezTo>
                      <a:pt x="27784" y="39182"/>
                      <a:pt x="24933" y="39182"/>
                      <a:pt x="24933" y="36332"/>
                    </a:cubicBezTo>
                    <a:lnTo>
                      <a:pt x="2137" y="10686"/>
                    </a:lnTo>
                    <a:cubicBezTo>
                      <a:pt x="-712" y="7836"/>
                      <a:pt x="-712" y="4987"/>
                      <a:pt x="2137" y="2137"/>
                    </a:cubicBezTo>
                    <a:cubicBezTo>
                      <a:pt x="4987" y="-712"/>
                      <a:pt x="7836" y="-712"/>
                      <a:pt x="10685" y="2137"/>
                    </a:cubicBezTo>
                    <a:lnTo>
                      <a:pt x="33483" y="27784"/>
                    </a:lnTo>
                    <a:cubicBezTo>
                      <a:pt x="36332" y="30633"/>
                      <a:pt x="36332" y="33483"/>
                      <a:pt x="33483" y="36332"/>
                    </a:cubicBezTo>
                    <a:cubicBezTo>
                      <a:pt x="30633" y="39182"/>
                      <a:pt x="27784" y="39182"/>
                      <a:pt x="27784" y="391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7169C132-6A92-4EC8-A61B-B03D18934E80}"/>
                  </a:ext>
                </a:extLst>
              </p:cNvPr>
              <p:cNvSpPr/>
              <p:nvPr/>
            </p:nvSpPr>
            <p:spPr>
              <a:xfrm>
                <a:off x="23216196" y="6899340"/>
                <a:ext cx="38469" cy="39181"/>
              </a:xfrm>
              <a:custGeom>
                <a:avLst/>
                <a:gdLst>
                  <a:gd name="connsiteX0" fmla="*/ 30634 w 38469"/>
                  <a:gd name="connsiteY0" fmla="*/ 39182 h 39181"/>
                  <a:gd name="connsiteX1" fmla="*/ 27783 w 38469"/>
                  <a:gd name="connsiteY1" fmla="*/ 36332 h 39181"/>
                  <a:gd name="connsiteX2" fmla="*/ 2138 w 38469"/>
                  <a:gd name="connsiteY2" fmla="*/ 10686 h 39181"/>
                  <a:gd name="connsiteX3" fmla="*/ 2138 w 38469"/>
                  <a:gd name="connsiteY3" fmla="*/ 2137 h 39181"/>
                  <a:gd name="connsiteX4" fmla="*/ 10686 w 38469"/>
                  <a:gd name="connsiteY4" fmla="*/ 2137 h 39181"/>
                  <a:gd name="connsiteX5" fmla="*/ 36332 w 38469"/>
                  <a:gd name="connsiteY5" fmla="*/ 27784 h 39181"/>
                  <a:gd name="connsiteX6" fmla="*/ 36332 w 38469"/>
                  <a:gd name="connsiteY6" fmla="*/ 36332 h 39181"/>
                  <a:gd name="connsiteX7" fmla="*/ 30634 w 38469"/>
                  <a:gd name="connsiteY7" fmla="*/ 39182 h 39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9" h="39181">
                    <a:moveTo>
                      <a:pt x="30634" y="39182"/>
                    </a:moveTo>
                    <a:cubicBezTo>
                      <a:pt x="30634" y="39182"/>
                      <a:pt x="27783" y="39182"/>
                      <a:pt x="27783" y="36332"/>
                    </a:cubicBezTo>
                    <a:lnTo>
                      <a:pt x="2138" y="10686"/>
                    </a:lnTo>
                    <a:cubicBezTo>
                      <a:pt x="-713" y="7836"/>
                      <a:pt x="-713" y="4987"/>
                      <a:pt x="2138" y="2137"/>
                    </a:cubicBezTo>
                    <a:cubicBezTo>
                      <a:pt x="4987" y="-712"/>
                      <a:pt x="7836" y="-712"/>
                      <a:pt x="10686" y="2137"/>
                    </a:cubicBezTo>
                    <a:lnTo>
                      <a:pt x="36332" y="27784"/>
                    </a:lnTo>
                    <a:cubicBezTo>
                      <a:pt x="39182" y="30633"/>
                      <a:pt x="39182" y="33483"/>
                      <a:pt x="36332" y="36332"/>
                    </a:cubicBezTo>
                    <a:cubicBezTo>
                      <a:pt x="33483" y="36332"/>
                      <a:pt x="33483" y="39182"/>
                      <a:pt x="30634" y="391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BDF361BB-4FB3-49A4-853E-D49C5F2CA40D}"/>
                </a:ext>
              </a:extLst>
            </p:cNvPr>
            <p:cNvSpPr/>
            <p:nvPr/>
          </p:nvSpPr>
          <p:spPr>
            <a:xfrm>
              <a:off x="23074243" y="4664538"/>
              <a:ext cx="1694274" cy="2142902"/>
            </a:xfrm>
            <a:custGeom>
              <a:avLst/>
              <a:gdLst>
                <a:gd name="connsiteX0" fmla="*/ 70000 w 1694274"/>
                <a:gd name="connsiteY0" fmla="*/ 14248 h 2142902"/>
                <a:gd name="connsiteX1" fmla="*/ 7309 w 1694274"/>
                <a:gd name="connsiteY1" fmla="*/ 1302269 h 2142902"/>
                <a:gd name="connsiteX2" fmla="*/ 144091 w 1694274"/>
                <a:gd name="connsiteY2" fmla="*/ 2142902 h 2142902"/>
                <a:gd name="connsiteX3" fmla="*/ 420501 w 1694274"/>
                <a:gd name="connsiteY3" fmla="*/ 2142902 h 2142902"/>
                <a:gd name="connsiteX4" fmla="*/ 383457 w 1694274"/>
                <a:gd name="connsiteY4" fmla="*/ 1325066 h 2142902"/>
                <a:gd name="connsiteX5" fmla="*/ 534486 w 1694274"/>
                <a:gd name="connsiteY5" fmla="*/ 467335 h 2142902"/>
                <a:gd name="connsiteX6" fmla="*/ 779553 w 1694274"/>
                <a:gd name="connsiteY6" fmla="*/ 1330765 h 2142902"/>
                <a:gd name="connsiteX7" fmla="*/ 1454909 w 1694274"/>
                <a:gd name="connsiteY7" fmla="*/ 1943430 h 2142902"/>
                <a:gd name="connsiteX8" fmla="*/ 1694275 w 1694274"/>
                <a:gd name="connsiteY8" fmla="*/ 1681267 h 2142902"/>
                <a:gd name="connsiteX9" fmla="*/ 1152850 w 1694274"/>
                <a:gd name="connsiteY9" fmla="*/ 1159789 h 2142902"/>
                <a:gd name="connsiteX10" fmla="*/ 1024618 w 1694274"/>
                <a:gd name="connsiteY10" fmla="*/ 0 h 2142902"/>
                <a:gd name="connsiteX11" fmla="*/ 70000 w 1694274"/>
                <a:gd name="connsiteY11" fmla="*/ 14248 h 2142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94274" h="2142902">
                  <a:moveTo>
                    <a:pt x="70000" y="14248"/>
                  </a:moveTo>
                  <a:cubicBezTo>
                    <a:pt x="70000" y="14248"/>
                    <a:pt x="-26885" y="1008760"/>
                    <a:pt x="7309" y="1302269"/>
                  </a:cubicBezTo>
                  <a:cubicBezTo>
                    <a:pt x="35805" y="1555884"/>
                    <a:pt x="144091" y="2142902"/>
                    <a:pt x="144091" y="2142902"/>
                  </a:cubicBezTo>
                  <a:lnTo>
                    <a:pt x="420501" y="2142902"/>
                  </a:lnTo>
                  <a:cubicBezTo>
                    <a:pt x="420501" y="2142902"/>
                    <a:pt x="377757" y="1419103"/>
                    <a:pt x="383457" y="1325066"/>
                  </a:cubicBezTo>
                  <a:cubicBezTo>
                    <a:pt x="389156" y="1193984"/>
                    <a:pt x="520238" y="495831"/>
                    <a:pt x="534486" y="467335"/>
                  </a:cubicBezTo>
                  <a:cubicBezTo>
                    <a:pt x="545885" y="444538"/>
                    <a:pt x="745357" y="1282322"/>
                    <a:pt x="779553" y="1330765"/>
                  </a:cubicBezTo>
                  <a:lnTo>
                    <a:pt x="1454909" y="1943430"/>
                  </a:lnTo>
                  <a:lnTo>
                    <a:pt x="1694275" y="1681267"/>
                  </a:lnTo>
                  <a:lnTo>
                    <a:pt x="1152850" y="1159789"/>
                  </a:lnTo>
                  <a:cubicBezTo>
                    <a:pt x="1152850" y="1159789"/>
                    <a:pt x="1067362" y="91187"/>
                    <a:pt x="1024618" y="0"/>
                  </a:cubicBezTo>
                  <a:cubicBezTo>
                    <a:pt x="372060" y="25646"/>
                    <a:pt x="70000" y="14248"/>
                    <a:pt x="70000" y="14248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11989536-B5FD-4D46-8F2B-621B8B2533C3}"/>
                </a:ext>
              </a:extLst>
            </p:cNvPr>
            <p:cNvSpPr/>
            <p:nvPr/>
          </p:nvSpPr>
          <p:spPr>
            <a:xfrm>
              <a:off x="23548888" y="4795620"/>
              <a:ext cx="65540" cy="339102"/>
            </a:xfrm>
            <a:custGeom>
              <a:avLst/>
              <a:gdLst>
                <a:gd name="connsiteX0" fmla="*/ 59841 w 65540"/>
                <a:gd name="connsiteY0" fmla="*/ 339103 h 339102"/>
                <a:gd name="connsiteX1" fmla="*/ 54143 w 65540"/>
                <a:gd name="connsiteY1" fmla="*/ 336253 h 339102"/>
                <a:gd name="connsiteX2" fmla="*/ 0 w 65540"/>
                <a:gd name="connsiteY2" fmla="*/ 5699 h 339102"/>
                <a:gd name="connsiteX3" fmla="*/ 5700 w 65540"/>
                <a:gd name="connsiteY3" fmla="*/ 0 h 339102"/>
                <a:gd name="connsiteX4" fmla="*/ 11399 w 65540"/>
                <a:gd name="connsiteY4" fmla="*/ 5699 h 339102"/>
                <a:gd name="connsiteX5" fmla="*/ 65541 w 65540"/>
                <a:gd name="connsiteY5" fmla="*/ 333404 h 339102"/>
                <a:gd name="connsiteX6" fmla="*/ 59841 w 65540"/>
                <a:gd name="connsiteY6" fmla="*/ 339103 h 339102"/>
                <a:gd name="connsiteX7" fmla="*/ 59841 w 65540"/>
                <a:gd name="connsiteY7" fmla="*/ 339103 h 339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5540" h="339102">
                  <a:moveTo>
                    <a:pt x="59841" y="339103"/>
                  </a:moveTo>
                  <a:cubicBezTo>
                    <a:pt x="56992" y="339103"/>
                    <a:pt x="56992" y="339103"/>
                    <a:pt x="54143" y="336253"/>
                  </a:cubicBezTo>
                  <a:cubicBezTo>
                    <a:pt x="8548" y="227968"/>
                    <a:pt x="0" y="14248"/>
                    <a:pt x="0" y="5699"/>
                  </a:cubicBezTo>
                  <a:cubicBezTo>
                    <a:pt x="0" y="2850"/>
                    <a:pt x="2849" y="0"/>
                    <a:pt x="5700" y="0"/>
                  </a:cubicBezTo>
                  <a:cubicBezTo>
                    <a:pt x="8548" y="0"/>
                    <a:pt x="11399" y="2850"/>
                    <a:pt x="11399" y="5699"/>
                  </a:cubicBezTo>
                  <a:cubicBezTo>
                    <a:pt x="11399" y="8549"/>
                    <a:pt x="19948" y="227968"/>
                    <a:pt x="65541" y="333404"/>
                  </a:cubicBezTo>
                  <a:cubicBezTo>
                    <a:pt x="65541" y="333404"/>
                    <a:pt x="65541" y="336253"/>
                    <a:pt x="59841" y="339103"/>
                  </a:cubicBezTo>
                  <a:cubicBezTo>
                    <a:pt x="62692" y="339103"/>
                    <a:pt x="59841" y="339103"/>
                    <a:pt x="59841" y="339103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58DA38D6-5046-4D57-AE83-0F5DFE361C02}"/>
                </a:ext>
              </a:extLst>
            </p:cNvPr>
            <p:cNvSpPr/>
            <p:nvPr/>
          </p:nvSpPr>
          <p:spPr>
            <a:xfrm>
              <a:off x="23443452" y="4730079"/>
              <a:ext cx="145330" cy="330554"/>
            </a:xfrm>
            <a:custGeom>
              <a:avLst/>
              <a:gdLst>
                <a:gd name="connsiteX0" fmla="*/ 136781 w 145330"/>
                <a:gd name="connsiteY0" fmla="*/ 330554 h 330554"/>
                <a:gd name="connsiteX1" fmla="*/ 133932 w 145330"/>
                <a:gd name="connsiteY1" fmla="*/ 330554 h 330554"/>
                <a:gd name="connsiteX2" fmla="*/ 31347 w 145330"/>
                <a:gd name="connsiteY2" fmla="*/ 256464 h 330554"/>
                <a:gd name="connsiteX3" fmla="*/ 0 w 145330"/>
                <a:gd name="connsiteY3" fmla="*/ 5699 h 330554"/>
                <a:gd name="connsiteX4" fmla="*/ 5700 w 145330"/>
                <a:gd name="connsiteY4" fmla="*/ 0 h 330554"/>
                <a:gd name="connsiteX5" fmla="*/ 11399 w 145330"/>
                <a:gd name="connsiteY5" fmla="*/ 5699 h 330554"/>
                <a:gd name="connsiteX6" fmla="*/ 42744 w 145330"/>
                <a:gd name="connsiteY6" fmla="*/ 250765 h 330554"/>
                <a:gd name="connsiteX7" fmla="*/ 142480 w 145330"/>
                <a:gd name="connsiteY7" fmla="*/ 322005 h 330554"/>
                <a:gd name="connsiteX8" fmla="*/ 145331 w 145330"/>
                <a:gd name="connsiteY8" fmla="*/ 330554 h 330554"/>
                <a:gd name="connsiteX9" fmla="*/ 136781 w 145330"/>
                <a:gd name="connsiteY9" fmla="*/ 330554 h 330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5330" h="330554">
                  <a:moveTo>
                    <a:pt x="136781" y="330554"/>
                  </a:moveTo>
                  <a:cubicBezTo>
                    <a:pt x="136781" y="330554"/>
                    <a:pt x="133932" y="330554"/>
                    <a:pt x="133932" y="330554"/>
                  </a:cubicBezTo>
                  <a:cubicBezTo>
                    <a:pt x="125383" y="324855"/>
                    <a:pt x="42744" y="270712"/>
                    <a:pt x="31347" y="256464"/>
                  </a:cubicBezTo>
                  <a:cubicBezTo>
                    <a:pt x="19948" y="242216"/>
                    <a:pt x="2851" y="45594"/>
                    <a:pt x="0" y="5699"/>
                  </a:cubicBezTo>
                  <a:cubicBezTo>
                    <a:pt x="0" y="2850"/>
                    <a:pt x="2851" y="0"/>
                    <a:pt x="5700" y="0"/>
                  </a:cubicBezTo>
                  <a:cubicBezTo>
                    <a:pt x="8548" y="0"/>
                    <a:pt x="11399" y="2850"/>
                    <a:pt x="11399" y="5699"/>
                  </a:cubicBezTo>
                  <a:cubicBezTo>
                    <a:pt x="19948" y="94037"/>
                    <a:pt x="34196" y="239367"/>
                    <a:pt x="42744" y="250765"/>
                  </a:cubicBezTo>
                  <a:cubicBezTo>
                    <a:pt x="51293" y="259314"/>
                    <a:pt x="105436" y="299208"/>
                    <a:pt x="142480" y="322005"/>
                  </a:cubicBezTo>
                  <a:cubicBezTo>
                    <a:pt x="145331" y="324855"/>
                    <a:pt x="145331" y="327705"/>
                    <a:pt x="145331" y="330554"/>
                  </a:cubicBezTo>
                  <a:cubicBezTo>
                    <a:pt x="142480" y="330554"/>
                    <a:pt x="139631" y="330554"/>
                    <a:pt x="136781" y="330554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D33E04F8-9BC6-4386-A5C3-896A7E289A10}"/>
                </a:ext>
              </a:extLst>
            </p:cNvPr>
            <p:cNvSpPr/>
            <p:nvPr/>
          </p:nvSpPr>
          <p:spPr>
            <a:xfrm>
              <a:off x="23503295" y="3094406"/>
              <a:ext cx="233666" cy="241371"/>
            </a:xfrm>
            <a:custGeom>
              <a:avLst/>
              <a:gdLst>
                <a:gd name="connsiteX0" fmla="*/ 0 w 233666"/>
                <a:gd name="connsiteY0" fmla="*/ 37045 h 241371"/>
                <a:gd name="connsiteX1" fmla="*/ 5698 w 233666"/>
                <a:gd name="connsiteY1" fmla="*/ 199472 h 241371"/>
                <a:gd name="connsiteX2" fmla="*/ 233666 w 233666"/>
                <a:gd name="connsiteY2" fmla="*/ 190924 h 241371"/>
                <a:gd name="connsiteX3" fmla="*/ 219418 w 233666"/>
                <a:gd name="connsiteY3" fmla="*/ 0 h 241371"/>
                <a:gd name="connsiteX4" fmla="*/ 0 w 233666"/>
                <a:gd name="connsiteY4" fmla="*/ 37045 h 241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666" h="241371">
                  <a:moveTo>
                    <a:pt x="0" y="37045"/>
                  </a:moveTo>
                  <a:cubicBezTo>
                    <a:pt x="0" y="37045"/>
                    <a:pt x="5698" y="131082"/>
                    <a:pt x="5698" y="199472"/>
                  </a:cubicBezTo>
                  <a:cubicBezTo>
                    <a:pt x="5698" y="199472"/>
                    <a:pt x="94037" y="299208"/>
                    <a:pt x="233666" y="190924"/>
                  </a:cubicBezTo>
                  <a:cubicBezTo>
                    <a:pt x="233666" y="133931"/>
                    <a:pt x="222269" y="59842"/>
                    <a:pt x="219418" y="0"/>
                  </a:cubicBezTo>
                  <a:cubicBezTo>
                    <a:pt x="222269" y="0"/>
                    <a:pt x="48442" y="48443"/>
                    <a:pt x="0" y="37045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BD49771C-0913-4866-97B7-E307C17AF0FD}"/>
                </a:ext>
              </a:extLst>
            </p:cNvPr>
            <p:cNvSpPr/>
            <p:nvPr/>
          </p:nvSpPr>
          <p:spPr>
            <a:xfrm>
              <a:off x="23123532" y="3248285"/>
              <a:ext cx="1000975" cy="1464524"/>
            </a:xfrm>
            <a:custGeom>
              <a:avLst/>
              <a:gdLst>
                <a:gd name="connsiteX0" fmla="*/ 630527 w 1000975"/>
                <a:gd name="connsiteY0" fmla="*/ 0 h 1464524"/>
                <a:gd name="connsiteX1" fmla="*/ 359815 w 1000975"/>
                <a:gd name="connsiteY1" fmla="*/ 0 h 1464524"/>
                <a:gd name="connsiteX2" fmla="*/ 80554 w 1000975"/>
                <a:gd name="connsiteY2" fmla="*/ 122533 h 1464524"/>
                <a:gd name="connsiteX3" fmla="*/ 764 w 1000975"/>
                <a:gd name="connsiteY3" fmla="*/ 1436201 h 1464524"/>
                <a:gd name="connsiteX4" fmla="*/ 1000976 w 1000975"/>
                <a:gd name="connsiteY4" fmla="*/ 1413404 h 1464524"/>
                <a:gd name="connsiteX5" fmla="*/ 892691 w 1000975"/>
                <a:gd name="connsiteY5" fmla="*/ 96887 h 1464524"/>
                <a:gd name="connsiteX6" fmla="*/ 630527 w 1000975"/>
                <a:gd name="connsiteY6" fmla="*/ 0 h 146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975" h="1464524">
                  <a:moveTo>
                    <a:pt x="630527" y="0"/>
                  </a:moveTo>
                  <a:cubicBezTo>
                    <a:pt x="630527" y="0"/>
                    <a:pt x="468100" y="51293"/>
                    <a:pt x="359815" y="0"/>
                  </a:cubicBezTo>
                  <a:cubicBezTo>
                    <a:pt x="359815" y="0"/>
                    <a:pt x="103351" y="91187"/>
                    <a:pt x="80554" y="122533"/>
                  </a:cubicBezTo>
                  <a:cubicBezTo>
                    <a:pt x="57756" y="151029"/>
                    <a:pt x="-7785" y="1373509"/>
                    <a:pt x="764" y="1436201"/>
                  </a:cubicBezTo>
                  <a:cubicBezTo>
                    <a:pt x="764" y="1436201"/>
                    <a:pt x="459551" y="1513140"/>
                    <a:pt x="1000976" y="1413404"/>
                  </a:cubicBezTo>
                  <a:cubicBezTo>
                    <a:pt x="1000976" y="1080000"/>
                    <a:pt x="932585" y="125383"/>
                    <a:pt x="892691" y="96887"/>
                  </a:cubicBezTo>
                  <a:cubicBezTo>
                    <a:pt x="852796" y="65541"/>
                    <a:pt x="630527" y="0"/>
                    <a:pt x="630527" y="0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CAE6DA28-21E8-40C8-92EC-8D9699C6016A}"/>
                </a:ext>
              </a:extLst>
            </p:cNvPr>
            <p:cNvSpPr/>
            <p:nvPr/>
          </p:nvSpPr>
          <p:spPr>
            <a:xfrm>
              <a:off x="23684363" y="3248285"/>
              <a:ext cx="485737" cy="1484643"/>
            </a:xfrm>
            <a:custGeom>
              <a:avLst/>
              <a:gdLst>
                <a:gd name="connsiteX0" fmla="*/ 69696 w 485737"/>
                <a:gd name="connsiteY0" fmla="*/ 0 h 1484643"/>
                <a:gd name="connsiteX1" fmla="*/ 366054 w 485737"/>
                <a:gd name="connsiteY1" fmla="*/ 88338 h 1484643"/>
                <a:gd name="connsiteX2" fmla="*/ 485737 w 485737"/>
                <a:gd name="connsiteY2" fmla="*/ 1424802 h 1484643"/>
                <a:gd name="connsiteX3" fmla="*/ 24101 w 485737"/>
                <a:gd name="connsiteY3" fmla="*/ 1484644 h 1484643"/>
                <a:gd name="connsiteX4" fmla="*/ 69696 w 485737"/>
                <a:gd name="connsiteY4" fmla="*/ 0 h 1484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737" h="1484643">
                  <a:moveTo>
                    <a:pt x="69696" y="0"/>
                  </a:moveTo>
                  <a:cubicBezTo>
                    <a:pt x="69696" y="0"/>
                    <a:pt x="306213" y="74090"/>
                    <a:pt x="366054" y="88338"/>
                  </a:cubicBezTo>
                  <a:cubicBezTo>
                    <a:pt x="425896" y="102586"/>
                    <a:pt x="485737" y="1424802"/>
                    <a:pt x="485737" y="1424802"/>
                  </a:cubicBezTo>
                  <a:cubicBezTo>
                    <a:pt x="485737" y="1424802"/>
                    <a:pt x="143785" y="1478945"/>
                    <a:pt x="24101" y="1484644"/>
                  </a:cubicBezTo>
                  <a:cubicBezTo>
                    <a:pt x="26952" y="1484644"/>
                    <a:pt x="-55687" y="427441"/>
                    <a:pt x="69696" y="0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1DA1273F-B53C-4B4A-A533-EDE697EEB4B3}"/>
                </a:ext>
              </a:extLst>
            </p:cNvPr>
            <p:cNvSpPr/>
            <p:nvPr/>
          </p:nvSpPr>
          <p:spPr>
            <a:xfrm>
              <a:off x="24093161" y="5810079"/>
              <a:ext cx="142480" cy="59841"/>
            </a:xfrm>
            <a:custGeom>
              <a:avLst/>
              <a:gdLst>
                <a:gd name="connsiteX0" fmla="*/ 99736 w 142480"/>
                <a:gd name="connsiteY0" fmla="*/ 59842 h 59841"/>
                <a:gd name="connsiteX1" fmla="*/ 96887 w 142480"/>
                <a:gd name="connsiteY1" fmla="*/ 59842 h 59841"/>
                <a:gd name="connsiteX2" fmla="*/ 96887 w 142480"/>
                <a:gd name="connsiteY2" fmla="*/ 51293 h 59841"/>
                <a:gd name="connsiteX3" fmla="*/ 122534 w 142480"/>
                <a:gd name="connsiteY3" fmla="*/ 14248 h 59841"/>
                <a:gd name="connsiteX4" fmla="*/ 5700 w 142480"/>
                <a:gd name="connsiteY4" fmla="*/ 34196 h 59841"/>
                <a:gd name="connsiteX5" fmla="*/ 0 w 142480"/>
                <a:gd name="connsiteY5" fmla="*/ 31346 h 59841"/>
                <a:gd name="connsiteX6" fmla="*/ 2851 w 142480"/>
                <a:gd name="connsiteY6" fmla="*/ 25647 h 59841"/>
                <a:gd name="connsiteX7" fmla="*/ 142480 w 142480"/>
                <a:gd name="connsiteY7" fmla="*/ 0 h 59841"/>
                <a:gd name="connsiteX8" fmla="*/ 102587 w 142480"/>
                <a:gd name="connsiteY8" fmla="*/ 56992 h 59841"/>
                <a:gd name="connsiteX9" fmla="*/ 99736 w 142480"/>
                <a:gd name="connsiteY9" fmla="*/ 59842 h 5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2480" h="59841">
                  <a:moveTo>
                    <a:pt x="99736" y="59842"/>
                  </a:moveTo>
                  <a:cubicBezTo>
                    <a:pt x="99736" y="59842"/>
                    <a:pt x="96887" y="59842"/>
                    <a:pt x="96887" y="59842"/>
                  </a:cubicBezTo>
                  <a:cubicBezTo>
                    <a:pt x="94038" y="56992"/>
                    <a:pt x="94038" y="54143"/>
                    <a:pt x="96887" y="51293"/>
                  </a:cubicBezTo>
                  <a:lnTo>
                    <a:pt x="122534" y="14248"/>
                  </a:lnTo>
                  <a:lnTo>
                    <a:pt x="5700" y="34196"/>
                  </a:lnTo>
                  <a:cubicBezTo>
                    <a:pt x="2851" y="34196"/>
                    <a:pt x="0" y="34196"/>
                    <a:pt x="0" y="31346"/>
                  </a:cubicBezTo>
                  <a:cubicBezTo>
                    <a:pt x="0" y="28496"/>
                    <a:pt x="0" y="25647"/>
                    <a:pt x="2851" y="25647"/>
                  </a:cubicBezTo>
                  <a:lnTo>
                    <a:pt x="142480" y="0"/>
                  </a:lnTo>
                  <a:lnTo>
                    <a:pt x="102587" y="56992"/>
                  </a:lnTo>
                  <a:cubicBezTo>
                    <a:pt x="102587" y="59842"/>
                    <a:pt x="99736" y="59842"/>
                    <a:pt x="99736" y="59842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306A9853-27F1-46DF-BB0A-E8574F67EEA0}"/>
                </a:ext>
              </a:extLst>
            </p:cNvPr>
            <p:cNvSpPr/>
            <p:nvPr/>
          </p:nvSpPr>
          <p:spPr>
            <a:xfrm>
              <a:off x="23075854" y="3248285"/>
              <a:ext cx="407493" cy="1496447"/>
            </a:xfrm>
            <a:custGeom>
              <a:avLst/>
              <a:gdLst>
                <a:gd name="connsiteX0" fmla="*/ 407493 w 407493"/>
                <a:gd name="connsiteY0" fmla="*/ 0 h 1496447"/>
                <a:gd name="connsiteX1" fmla="*/ 259313 w 407493"/>
                <a:gd name="connsiteY1" fmla="*/ 1496042 h 1496447"/>
                <a:gd name="connsiteX2" fmla="*/ 0 w 407493"/>
                <a:gd name="connsiteY2" fmla="*/ 1470396 h 1496447"/>
                <a:gd name="connsiteX3" fmla="*/ 128232 w 407493"/>
                <a:gd name="connsiteY3" fmla="*/ 122533 h 1496447"/>
                <a:gd name="connsiteX4" fmla="*/ 407493 w 407493"/>
                <a:gd name="connsiteY4" fmla="*/ 0 h 1496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493" h="1496447">
                  <a:moveTo>
                    <a:pt x="407493" y="0"/>
                  </a:moveTo>
                  <a:cubicBezTo>
                    <a:pt x="407493" y="0"/>
                    <a:pt x="216569" y="729499"/>
                    <a:pt x="259313" y="1496042"/>
                  </a:cubicBezTo>
                  <a:cubicBezTo>
                    <a:pt x="259313" y="1496042"/>
                    <a:pt x="74089" y="1501741"/>
                    <a:pt x="0" y="1470396"/>
                  </a:cubicBezTo>
                  <a:cubicBezTo>
                    <a:pt x="0" y="1470396"/>
                    <a:pt x="85488" y="170976"/>
                    <a:pt x="128232" y="122533"/>
                  </a:cubicBezTo>
                  <a:cubicBezTo>
                    <a:pt x="170976" y="71240"/>
                    <a:pt x="407493" y="0"/>
                    <a:pt x="407493" y="0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114B2D09-3119-4481-91E9-F6DB55B2ADDF}"/>
                </a:ext>
              </a:extLst>
            </p:cNvPr>
            <p:cNvSpPr/>
            <p:nvPr/>
          </p:nvSpPr>
          <p:spPr>
            <a:xfrm>
              <a:off x="23497595" y="3121722"/>
              <a:ext cx="229148" cy="63871"/>
            </a:xfrm>
            <a:custGeom>
              <a:avLst/>
              <a:gdLst>
                <a:gd name="connsiteX0" fmla="*/ 96886 w 229148"/>
                <a:gd name="connsiteY0" fmla="*/ 63872 h 63871"/>
                <a:gd name="connsiteX1" fmla="*/ 76940 w 229148"/>
                <a:gd name="connsiteY1" fmla="*/ 61022 h 63871"/>
                <a:gd name="connsiteX2" fmla="*/ 25645 w 229148"/>
                <a:gd name="connsiteY2" fmla="*/ 43924 h 63871"/>
                <a:gd name="connsiteX3" fmla="*/ 2849 w 229148"/>
                <a:gd name="connsiteY3" fmla="*/ 32526 h 63871"/>
                <a:gd name="connsiteX4" fmla="*/ 0 w 229148"/>
                <a:gd name="connsiteY4" fmla="*/ 23977 h 63871"/>
                <a:gd name="connsiteX5" fmla="*/ 8548 w 229148"/>
                <a:gd name="connsiteY5" fmla="*/ 21128 h 63871"/>
                <a:gd name="connsiteX6" fmla="*/ 17097 w 229148"/>
                <a:gd name="connsiteY6" fmla="*/ 26827 h 63871"/>
                <a:gd name="connsiteX7" fmla="*/ 22796 w 229148"/>
                <a:gd name="connsiteY7" fmla="*/ 26827 h 63871"/>
                <a:gd name="connsiteX8" fmla="*/ 31345 w 229148"/>
                <a:gd name="connsiteY8" fmla="*/ 32526 h 63871"/>
                <a:gd name="connsiteX9" fmla="*/ 76940 w 229148"/>
                <a:gd name="connsiteY9" fmla="*/ 49624 h 63871"/>
                <a:gd name="connsiteX10" fmla="*/ 88337 w 229148"/>
                <a:gd name="connsiteY10" fmla="*/ 49624 h 63871"/>
                <a:gd name="connsiteX11" fmla="*/ 88337 w 229148"/>
                <a:gd name="connsiteY11" fmla="*/ 49624 h 63871"/>
                <a:gd name="connsiteX12" fmla="*/ 173825 w 229148"/>
                <a:gd name="connsiteY12" fmla="*/ 23977 h 63871"/>
                <a:gd name="connsiteX13" fmla="*/ 219420 w 229148"/>
                <a:gd name="connsiteY13" fmla="*/ 1180 h 63871"/>
                <a:gd name="connsiteX14" fmla="*/ 227968 w 229148"/>
                <a:gd name="connsiteY14" fmla="*/ 4030 h 63871"/>
                <a:gd name="connsiteX15" fmla="*/ 225118 w 229148"/>
                <a:gd name="connsiteY15" fmla="*/ 12579 h 63871"/>
                <a:gd name="connsiteX16" fmla="*/ 179525 w 229148"/>
                <a:gd name="connsiteY16" fmla="*/ 35376 h 63871"/>
                <a:gd name="connsiteX17" fmla="*/ 111134 w 229148"/>
                <a:gd name="connsiteY17" fmla="*/ 61022 h 63871"/>
                <a:gd name="connsiteX18" fmla="*/ 96886 w 229148"/>
                <a:gd name="connsiteY18" fmla="*/ 63872 h 63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9148" h="63871">
                  <a:moveTo>
                    <a:pt x="96886" y="63872"/>
                  </a:moveTo>
                  <a:cubicBezTo>
                    <a:pt x="91188" y="63872"/>
                    <a:pt x="82637" y="63872"/>
                    <a:pt x="76940" y="61022"/>
                  </a:cubicBezTo>
                  <a:cubicBezTo>
                    <a:pt x="54141" y="58172"/>
                    <a:pt x="37045" y="49624"/>
                    <a:pt x="25645" y="43924"/>
                  </a:cubicBezTo>
                  <a:cubicBezTo>
                    <a:pt x="14248" y="38225"/>
                    <a:pt x="5700" y="32526"/>
                    <a:pt x="2849" y="32526"/>
                  </a:cubicBezTo>
                  <a:cubicBezTo>
                    <a:pt x="0" y="29676"/>
                    <a:pt x="0" y="26827"/>
                    <a:pt x="0" y="23977"/>
                  </a:cubicBezTo>
                  <a:cubicBezTo>
                    <a:pt x="2849" y="21128"/>
                    <a:pt x="5700" y="21128"/>
                    <a:pt x="8548" y="21128"/>
                  </a:cubicBezTo>
                  <a:cubicBezTo>
                    <a:pt x="8548" y="21128"/>
                    <a:pt x="11397" y="23977"/>
                    <a:pt x="17097" y="26827"/>
                  </a:cubicBezTo>
                  <a:cubicBezTo>
                    <a:pt x="19948" y="26827"/>
                    <a:pt x="19948" y="26827"/>
                    <a:pt x="22796" y="26827"/>
                  </a:cubicBezTo>
                  <a:cubicBezTo>
                    <a:pt x="22796" y="26827"/>
                    <a:pt x="25645" y="29676"/>
                    <a:pt x="31345" y="32526"/>
                  </a:cubicBezTo>
                  <a:cubicBezTo>
                    <a:pt x="45593" y="38225"/>
                    <a:pt x="62692" y="46774"/>
                    <a:pt x="76940" y="49624"/>
                  </a:cubicBezTo>
                  <a:cubicBezTo>
                    <a:pt x="79789" y="49624"/>
                    <a:pt x="85488" y="49624"/>
                    <a:pt x="88337" y="49624"/>
                  </a:cubicBezTo>
                  <a:cubicBezTo>
                    <a:pt x="88337" y="49624"/>
                    <a:pt x="88337" y="49624"/>
                    <a:pt x="88337" y="49624"/>
                  </a:cubicBezTo>
                  <a:cubicBezTo>
                    <a:pt x="111134" y="49624"/>
                    <a:pt x="148180" y="35376"/>
                    <a:pt x="173825" y="23977"/>
                  </a:cubicBezTo>
                  <a:cubicBezTo>
                    <a:pt x="196622" y="12579"/>
                    <a:pt x="216569" y="1180"/>
                    <a:pt x="219420" y="1180"/>
                  </a:cubicBezTo>
                  <a:cubicBezTo>
                    <a:pt x="222269" y="-1669"/>
                    <a:pt x="225118" y="1180"/>
                    <a:pt x="227968" y="4030"/>
                  </a:cubicBezTo>
                  <a:cubicBezTo>
                    <a:pt x="230817" y="6880"/>
                    <a:pt x="227968" y="9729"/>
                    <a:pt x="225118" y="12579"/>
                  </a:cubicBezTo>
                  <a:cubicBezTo>
                    <a:pt x="222269" y="12579"/>
                    <a:pt x="205172" y="23977"/>
                    <a:pt x="179525" y="35376"/>
                  </a:cubicBezTo>
                  <a:cubicBezTo>
                    <a:pt x="156728" y="46774"/>
                    <a:pt x="128232" y="58172"/>
                    <a:pt x="111134" y="61022"/>
                  </a:cubicBezTo>
                  <a:cubicBezTo>
                    <a:pt x="105436" y="63872"/>
                    <a:pt x="102585" y="63872"/>
                    <a:pt x="96886" y="63872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77521AB7-6B57-477C-85CC-CC4341511427}"/>
                </a:ext>
              </a:extLst>
            </p:cNvPr>
            <p:cNvSpPr/>
            <p:nvPr/>
          </p:nvSpPr>
          <p:spPr>
            <a:xfrm>
              <a:off x="23654323" y="3835588"/>
              <a:ext cx="189150" cy="145045"/>
            </a:xfrm>
            <a:custGeom>
              <a:avLst/>
              <a:gdLst>
                <a:gd name="connsiteX0" fmla="*/ 0 w 189150"/>
                <a:gd name="connsiteY0" fmla="*/ 145045 h 145045"/>
                <a:gd name="connsiteX1" fmla="*/ 105436 w 189150"/>
                <a:gd name="connsiteY1" fmla="*/ 19663 h 145045"/>
                <a:gd name="connsiteX2" fmla="*/ 185224 w 189150"/>
                <a:gd name="connsiteY2" fmla="*/ 5415 h 145045"/>
                <a:gd name="connsiteX3" fmla="*/ 99736 w 189150"/>
                <a:gd name="connsiteY3" fmla="*/ 93752 h 145045"/>
                <a:gd name="connsiteX4" fmla="*/ 0 w 189150"/>
                <a:gd name="connsiteY4" fmla="*/ 145045 h 1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150" h="145045">
                  <a:moveTo>
                    <a:pt x="0" y="145045"/>
                  </a:moveTo>
                  <a:cubicBezTo>
                    <a:pt x="0" y="145045"/>
                    <a:pt x="37045" y="48159"/>
                    <a:pt x="105436" y="19663"/>
                  </a:cubicBezTo>
                  <a:cubicBezTo>
                    <a:pt x="133932" y="8264"/>
                    <a:pt x="176676" y="-8833"/>
                    <a:pt x="185224" y="5415"/>
                  </a:cubicBezTo>
                  <a:cubicBezTo>
                    <a:pt x="210870" y="39610"/>
                    <a:pt x="102585" y="56708"/>
                    <a:pt x="99736" y="93752"/>
                  </a:cubicBezTo>
                  <a:cubicBezTo>
                    <a:pt x="99736" y="108000"/>
                    <a:pt x="0" y="145045"/>
                    <a:pt x="0" y="145045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F1A2ABC9-C909-4313-8CDC-D3CE4745B465}"/>
                </a:ext>
              </a:extLst>
            </p:cNvPr>
            <p:cNvSpPr/>
            <p:nvPr/>
          </p:nvSpPr>
          <p:spPr>
            <a:xfrm>
              <a:off x="23860519" y="2114142"/>
              <a:ext cx="782617" cy="1528512"/>
            </a:xfrm>
            <a:custGeom>
              <a:avLst/>
              <a:gdLst>
                <a:gd name="connsiteX0" fmla="*/ 44569 w 782617"/>
                <a:gd name="connsiteY0" fmla="*/ 1416253 h 1528512"/>
                <a:gd name="connsiteX1" fmla="*/ 73065 w 782617"/>
                <a:gd name="connsiteY1" fmla="*/ 1188285 h 1528512"/>
                <a:gd name="connsiteX2" fmla="*/ 437814 w 782617"/>
                <a:gd name="connsiteY2" fmla="*/ 701003 h 1528512"/>
                <a:gd name="connsiteX3" fmla="*/ 343777 w 782617"/>
                <a:gd name="connsiteY3" fmla="*/ 99736 h 1528512"/>
                <a:gd name="connsiteX4" fmla="*/ 486258 w 782617"/>
                <a:gd name="connsiteY4" fmla="*/ 0 h 1528512"/>
                <a:gd name="connsiteX5" fmla="*/ 782617 w 782617"/>
                <a:gd name="connsiteY5" fmla="*/ 743747 h 1528512"/>
                <a:gd name="connsiteX6" fmla="*/ 244041 w 782617"/>
                <a:gd name="connsiteY6" fmla="*/ 1507441 h 1528512"/>
                <a:gd name="connsiteX7" fmla="*/ 44569 w 782617"/>
                <a:gd name="connsiteY7" fmla="*/ 1416253 h 1528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2617" h="1528512">
                  <a:moveTo>
                    <a:pt x="44569" y="1416253"/>
                  </a:moveTo>
                  <a:cubicBezTo>
                    <a:pt x="-9574" y="1364960"/>
                    <a:pt x="-29520" y="1310818"/>
                    <a:pt x="73065" y="1188285"/>
                  </a:cubicBezTo>
                  <a:cubicBezTo>
                    <a:pt x="212696" y="1017309"/>
                    <a:pt x="437814" y="701003"/>
                    <a:pt x="437814" y="701003"/>
                  </a:cubicBezTo>
                  <a:lnTo>
                    <a:pt x="343777" y="99736"/>
                  </a:lnTo>
                  <a:lnTo>
                    <a:pt x="486258" y="0"/>
                  </a:lnTo>
                  <a:cubicBezTo>
                    <a:pt x="486258" y="0"/>
                    <a:pt x="782617" y="624063"/>
                    <a:pt x="782617" y="743747"/>
                  </a:cubicBezTo>
                  <a:cubicBezTo>
                    <a:pt x="782617" y="840633"/>
                    <a:pt x="489107" y="1279472"/>
                    <a:pt x="244041" y="1507441"/>
                  </a:cubicBezTo>
                  <a:cubicBezTo>
                    <a:pt x="175650" y="1570132"/>
                    <a:pt x="110110" y="1478945"/>
                    <a:pt x="44569" y="1416253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CC62ED5F-0523-403C-AA1F-C5FECDE36E4C}"/>
                </a:ext>
              </a:extLst>
            </p:cNvPr>
            <p:cNvSpPr/>
            <p:nvPr/>
          </p:nvSpPr>
          <p:spPr>
            <a:xfrm>
              <a:off x="23822449" y="4291240"/>
              <a:ext cx="287098" cy="299208"/>
            </a:xfrm>
            <a:custGeom>
              <a:avLst/>
              <a:gdLst>
                <a:gd name="connsiteX0" fmla="*/ 245067 w 287098"/>
                <a:gd name="connsiteY0" fmla="*/ 299208 h 299208"/>
                <a:gd name="connsiteX1" fmla="*/ 245067 w 287098"/>
                <a:gd name="connsiteY1" fmla="*/ 299208 h 299208"/>
                <a:gd name="connsiteX2" fmla="*/ 0 w 287098"/>
                <a:gd name="connsiteY2" fmla="*/ 34195 h 299208"/>
                <a:gd name="connsiteX3" fmla="*/ 0 w 287098"/>
                <a:gd name="connsiteY3" fmla="*/ 31346 h 299208"/>
                <a:gd name="connsiteX4" fmla="*/ 2851 w 287098"/>
                <a:gd name="connsiteY4" fmla="*/ 28496 h 299208"/>
                <a:gd name="connsiteX5" fmla="*/ 62692 w 287098"/>
                <a:gd name="connsiteY5" fmla="*/ 0 h 299208"/>
                <a:gd name="connsiteX6" fmla="*/ 65542 w 287098"/>
                <a:gd name="connsiteY6" fmla="*/ 0 h 299208"/>
                <a:gd name="connsiteX7" fmla="*/ 68391 w 287098"/>
                <a:gd name="connsiteY7" fmla="*/ 2850 h 299208"/>
                <a:gd name="connsiteX8" fmla="*/ 284960 w 287098"/>
                <a:gd name="connsiteY8" fmla="*/ 245066 h 299208"/>
                <a:gd name="connsiteX9" fmla="*/ 284960 w 287098"/>
                <a:gd name="connsiteY9" fmla="*/ 250765 h 299208"/>
                <a:gd name="connsiteX10" fmla="*/ 250767 w 287098"/>
                <a:gd name="connsiteY10" fmla="*/ 296359 h 299208"/>
                <a:gd name="connsiteX11" fmla="*/ 245067 w 287098"/>
                <a:gd name="connsiteY11" fmla="*/ 299208 h 299208"/>
                <a:gd name="connsiteX12" fmla="*/ 11399 w 287098"/>
                <a:gd name="connsiteY12" fmla="*/ 34195 h 299208"/>
                <a:gd name="connsiteX13" fmla="*/ 242216 w 287098"/>
                <a:gd name="connsiteY13" fmla="*/ 287810 h 299208"/>
                <a:gd name="connsiteX14" fmla="*/ 270712 w 287098"/>
                <a:gd name="connsiteY14" fmla="*/ 250765 h 299208"/>
                <a:gd name="connsiteX15" fmla="*/ 59843 w 287098"/>
                <a:gd name="connsiteY15" fmla="*/ 11398 h 299208"/>
                <a:gd name="connsiteX16" fmla="*/ 11399 w 287098"/>
                <a:gd name="connsiteY16" fmla="*/ 34195 h 299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7098" h="299208">
                  <a:moveTo>
                    <a:pt x="245067" y="299208"/>
                  </a:moveTo>
                  <a:cubicBezTo>
                    <a:pt x="242216" y="299208"/>
                    <a:pt x="242216" y="299208"/>
                    <a:pt x="245067" y="299208"/>
                  </a:cubicBezTo>
                  <a:cubicBezTo>
                    <a:pt x="125383" y="242216"/>
                    <a:pt x="5700" y="42744"/>
                    <a:pt x="0" y="34195"/>
                  </a:cubicBezTo>
                  <a:cubicBezTo>
                    <a:pt x="0" y="34195"/>
                    <a:pt x="0" y="31346"/>
                    <a:pt x="0" y="31346"/>
                  </a:cubicBezTo>
                  <a:cubicBezTo>
                    <a:pt x="0" y="31346"/>
                    <a:pt x="0" y="28496"/>
                    <a:pt x="2851" y="28496"/>
                  </a:cubicBezTo>
                  <a:lnTo>
                    <a:pt x="62692" y="0"/>
                  </a:lnTo>
                  <a:cubicBezTo>
                    <a:pt x="62692" y="0"/>
                    <a:pt x="65542" y="0"/>
                    <a:pt x="65542" y="0"/>
                  </a:cubicBezTo>
                  <a:cubicBezTo>
                    <a:pt x="65542" y="0"/>
                    <a:pt x="68391" y="2850"/>
                    <a:pt x="68391" y="2850"/>
                  </a:cubicBezTo>
                  <a:cubicBezTo>
                    <a:pt x="99736" y="71240"/>
                    <a:pt x="282112" y="245066"/>
                    <a:pt x="284960" y="245066"/>
                  </a:cubicBezTo>
                  <a:cubicBezTo>
                    <a:pt x="287811" y="247916"/>
                    <a:pt x="287811" y="250765"/>
                    <a:pt x="284960" y="250765"/>
                  </a:cubicBezTo>
                  <a:lnTo>
                    <a:pt x="250767" y="296359"/>
                  </a:lnTo>
                  <a:cubicBezTo>
                    <a:pt x="247916" y="296359"/>
                    <a:pt x="245067" y="299208"/>
                    <a:pt x="245067" y="299208"/>
                  </a:cubicBezTo>
                  <a:close/>
                  <a:moveTo>
                    <a:pt x="11399" y="34195"/>
                  </a:moveTo>
                  <a:cubicBezTo>
                    <a:pt x="31347" y="65541"/>
                    <a:pt x="139631" y="233668"/>
                    <a:pt x="242216" y="287810"/>
                  </a:cubicBezTo>
                  <a:lnTo>
                    <a:pt x="270712" y="250765"/>
                  </a:lnTo>
                  <a:cubicBezTo>
                    <a:pt x="245067" y="225119"/>
                    <a:pt x="94038" y="82639"/>
                    <a:pt x="59843" y="11398"/>
                  </a:cubicBezTo>
                  <a:lnTo>
                    <a:pt x="11399" y="34195"/>
                  </a:ln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BE22FAA7-8099-4BCE-8D0E-9FBA215D9817}"/>
                </a:ext>
              </a:extLst>
            </p:cNvPr>
            <p:cNvSpPr/>
            <p:nvPr/>
          </p:nvSpPr>
          <p:spPr>
            <a:xfrm>
              <a:off x="23084402" y="4362480"/>
              <a:ext cx="136780" cy="196622"/>
            </a:xfrm>
            <a:custGeom>
              <a:avLst/>
              <a:gdLst>
                <a:gd name="connsiteX0" fmla="*/ 5700 w 136780"/>
                <a:gd name="connsiteY0" fmla="*/ 196623 h 196622"/>
                <a:gd name="connsiteX1" fmla="*/ 0 w 136780"/>
                <a:gd name="connsiteY1" fmla="*/ 190924 h 196622"/>
                <a:gd name="connsiteX2" fmla="*/ 5700 w 136780"/>
                <a:gd name="connsiteY2" fmla="*/ 185224 h 196622"/>
                <a:gd name="connsiteX3" fmla="*/ 128232 w 136780"/>
                <a:gd name="connsiteY3" fmla="*/ 74090 h 196622"/>
                <a:gd name="connsiteX4" fmla="*/ 119684 w 136780"/>
                <a:gd name="connsiteY4" fmla="*/ 19947 h 196622"/>
                <a:gd name="connsiteX5" fmla="*/ 19948 w 136780"/>
                <a:gd name="connsiteY5" fmla="*/ 111135 h 196622"/>
                <a:gd name="connsiteX6" fmla="*/ 11397 w 136780"/>
                <a:gd name="connsiteY6" fmla="*/ 108285 h 196622"/>
                <a:gd name="connsiteX7" fmla="*/ 14248 w 136780"/>
                <a:gd name="connsiteY7" fmla="*/ 99736 h 196622"/>
                <a:gd name="connsiteX8" fmla="*/ 116833 w 136780"/>
                <a:gd name="connsiteY8" fmla="*/ 2850 h 196622"/>
                <a:gd name="connsiteX9" fmla="*/ 122533 w 136780"/>
                <a:gd name="connsiteY9" fmla="*/ 0 h 196622"/>
                <a:gd name="connsiteX10" fmla="*/ 125382 w 136780"/>
                <a:gd name="connsiteY10" fmla="*/ 2850 h 196622"/>
                <a:gd name="connsiteX11" fmla="*/ 136781 w 136780"/>
                <a:gd name="connsiteY11" fmla="*/ 71240 h 196622"/>
                <a:gd name="connsiteX12" fmla="*/ 136781 w 136780"/>
                <a:gd name="connsiteY12" fmla="*/ 74090 h 196622"/>
                <a:gd name="connsiteX13" fmla="*/ 5700 w 136780"/>
                <a:gd name="connsiteY13" fmla="*/ 196623 h 196622"/>
                <a:gd name="connsiteX14" fmla="*/ 5700 w 136780"/>
                <a:gd name="connsiteY14" fmla="*/ 196623 h 19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6780" h="196622">
                  <a:moveTo>
                    <a:pt x="5700" y="196623"/>
                  </a:moveTo>
                  <a:cubicBezTo>
                    <a:pt x="2849" y="196623"/>
                    <a:pt x="0" y="193773"/>
                    <a:pt x="0" y="190924"/>
                  </a:cubicBezTo>
                  <a:cubicBezTo>
                    <a:pt x="0" y="188074"/>
                    <a:pt x="2849" y="185224"/>
                    <a:pt x="5700" y="185224"/>
                  </a:cubicBezTo>
                  <a:cubicBezTo>
                    <a:pt x="79789" y="179525"/>
                    <a:pt x="122533" y="85488"/>
                    <a:pt x="128232" y="74090"/>
                  </a:cubicBezTo>
                  <a:lnTo>
                    <a:pt x="119684" y="19947"/>
                  </a:lnTo>
                  <a:cubicBezTo>
                    <a:pt x="79789" y="71240"/>
                    <a:pt x="22796" y="108285"/>
                    <a:pt x="19948" y="111135"/>
                  </a:cubicBezTo>
                  <a:cubicBezTo>
                    <a:pt x="17097" y="113984"/>
                    <a:pt x="14248" y="111135"/>
                    <a:pt x="11397" y="108285"/>
                  </a:cubicBezTo>
                  <a:cubicBezTo>
                    <a:pt x="8548" y="105435"/>
                    <a:pt x="11397" y="102586"/>
                    <a:pt x="14248" y="99736"/>
                  </a:cubicBezTo>
                  <a:cubicBezTo>
                    <a:pt x="14248" y="99736"/>
                    <a:pt x="79789" y="56992"/>
                    <a:pt x="116833" y="2850"/>
                  </a:cubicBezTo>
                  <a:cubicBezTo>
                    <a:pt x="116833" y="0"/>
                    <a:pt x="119684" y="0"/>
                    <a:pt x="122533" y="0"/>
                  </a:cubicBezTo>
                  <a:cubicBezTo>
                    <a:pt x="125382" y="0"/>
                    <a:pt x="125382" y="2850"/>
                    <a:pt x="125382" y="2850"/>
                  </a:cubicBezTo>
                  <a:lnTo>
                    <a:pt x="136781" y="71240"/>
                  </a:lnTo>
                  <a:cubicBezTo>
                    <a:pt x="136781" y="71240"/>
                    <a:pt x="136781" y="74090"/>
                    <a:pt x="136781" y="74090"/>
                  </a:cubicBezTo>
                  <a:cubicBezTo>
                    <a:pt x="136781" y="82639"/>
                    <a:pt x="91188" y="190924"/>
                    <a:pt x="5700" y="196623"/>
                  </a:cubicBezTo>
                  <a:cubicBezTo>
                    <a:pt x="5700" y="196623"/>
                    <a:pt x="5700" y="196623"/>
                    <a:pt x="5700" y="196623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A4085DA6-CBA7-4EA6-ACCD-2AB876CBE13B}"/>
                </a:ext>
              </a:extLst>
            </p:cNvPr>
            <p:cNvSpPr/>
            <p:nvPr/>
          </p:nvSpPr>
          <p:spPr>
            <a:xfrm>
              <a:off x="23520391" y="3063061"/>
              <a:ext cx="116833" cy="54543"/>
            </a:xfrm>
            <a:custGeom>
              <a:avLst/>
              <a:gdLst>
                <a:gd name="connsiteX0" fmla="*/ 116833 w 116833"/>
                <a:gd name="connsiteY0" fmla="*/ 0 h 54543"/>
                <a:gd name="connsiteX1" fmla="*/ 0 w 116833"/>
                <a:gd name="connsiteY1" fmla="*/ 2850 h 54543"/>
                <a:gd name="connsiteX2" fmla="*/ 71240 w 116833"/>
                <a:gd name="connsiteY2" fmla="*/ 54143 h 54543"/>
                <a:gd name="connsiteX3" fmla="*/ 116833 w 116833"/>
                <a:gd name="connsiteY3" fmla="*/ 0 h 54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833" h="54543">
                  <a:moveTo>
                    <a:pt x="116833" y="0"/>
                  </a:moveTo>
                  <a:cubicBezTo>
                    <a:pt x="116833" y="0"/>
                    <a:pt x="59841" y="28496"/>
                    <a:pt x="0" y="2850"/>
                  </a:cubicBezTo>
                  <a:cubicBezTo>
                    <a:pt x="0" y="2850"/>
                    <a:pt x="31345" y="59842"/>
                    <a:pt x="71240" y="54143"/>
                  </a:cubicBezTo>
                  <a:cubicBezTo>
                    <a:pt x="108285" y="51293"/>
                    <a:pt x="116833" y="0"/>
                    <a:pt x="116833" y="0"/>
                  </a:cubicBezTo>
                  <a:close/>
                </a:path>
              </a:pathLst>
            </a:custGeom>
            <a:solidFill>
              <a:srgbClr val="FFFFFF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A16318F4-7B67-42E8-AA08-C948082C1752}"/>
                </a:ext>
              </a:extLst>
            </p:cNvPr>
            <p:cNvSpPr/>
            <p:nvPr/>
          </p:nvSpPr>
          <p:spPr>
            <a:xfrm>
              <a:off x="24084613" y="3527546"/>
              <a:ext cx="42744" cy="322005"/>
            </a:xfrm>
            <a:custGeom>
              <a:avLst/>
              <a:gdLst>
                <a:gd name="connsiteX0" fmla="*/ 37045 w 42744"/>
                <a:gd name="connsiteY0" fmla="*/ 322005 h 322005"/>
                <a:gd name="connsiteX1" fmla="*/ 31347 w 42744"/>
                <a:gd name="connsiteY1" fmla="*/ 316306 h 322005"/>
                <a:gd name="connsiteX2" fmla="*/ 0 w 42744"/>
                <a:gd name="connsiteY2" fmla="*/ 5699 h 322005"/>
                <a:gd name="connsiteX3" fmla="*/ 5700 w 42744"/>
                <a:gd name="connsiteY3" fmla="*/ 0 h 322005"/>
                <a:gd name="connsiteX4" fmla="*/ 11399 w 42744"/>
                <a:gd name="connsiteY4" fmla="*/ 5699 h 322005"/>
                <a:gd name="connsiteX5" fmla="*/ 42744 w 42744"/>
                <a:gd name="connsiteY5" fmla="*/ 316306 h 322005"/>
                <a:gd name="connsiteX6" fmla="*/ 37045 w 42744"/>
                <a:gd name="connsiteY6" fmla="*/ 322005 h 322005"/>
                <a:gd name="connsiteX7" fmla="*/ 37045 w 42744"/>
                <a:gd name="connsiteY7" fmla="*/ 322005 h 322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744" h="322005">
                  <a:moveTo>
                    <a:pt x="37045" y="322005"/>
                  </a:moveTo>
                  <a:cubicBezTo>
                    <a:pt x="34196" y="322005"/>
                    <a:pt x="31347" y="319156"/>
                    <a:pt x="31347" y="316306"/>
                  </a:cubicBezTo>
                  <a:cubicBezTo>
                    <a:pt x="25647" y="225119"/>
                    <a:pt x="0" y="8549"/>
                    <a:pt x="0" y="5699"/>
                  </a:cubicBezTo>
                  <a:cubicBezTo>
                    <a:pt x="0" y="2850"/>
                    <a:pt x="2851" y="0"/>
                    <a:pt x="5700" y="0"/>
                  </a:cubicBezTo>
                  <a:cubicBezTo>
                    <a:pt x="8548" y="0"/>
                    <a:pt x="11399" y="2850"/>
                    <a:pt x="11399" y="5699"/>
                  </a:cubicBezTo>
                  <a:cubicBezTo>
                    <a:pt x="11399" y="8549"/>
                    <a:pt x="37045" y="222269"/>
                    <a:pt x="42744" y="316306"/>
                  </a:cubicBezTo>
                  <a:cubicBezTo>
                    <a:pt x="42744" y="319156"/>
                    <a:pt x="39895" y="322005"/>
                    <a:pt x="37045" y="322005"/>
                  </a:cubicBezTo>
                  <a:cubicBezTo>
                    <a:pt x="37045" y="322005"/>
                    <a:pt x="37045" y="322005"/>
                    <a:pt x="37045" y="322005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39E08F2F-DFBC-4576-A126-26365F019D2A}"/>
                </a:ext>
              </a:extLst>
            </p:cNvPr>
            <p:cNvSpPr/>
            <p:nvPr/>
          </p:nvSpPr>
          <p:spPr>
            <a:xfrm>
              <a:off x="23880154" y="2806596"/>
              <a:ext cx="503667" cy="552823"/>
            </a:xfrm>
            <a:custGeom>
              <a:avLst/>
              <a:gdLst>
                <a:gd name="connsiteX0" fmla="*/ 4987 w 503667"/>
                <a:gd name="connsiteY0" fmla="*/ 552823 h 552823"/>
                <a:gd name="connsiteX1" fmla="*/ 2138 w 503667"/>
                <a:gd name="connsiteY1" fmla="*/ 549974 h 552823"/>
                <a:gd name="connsiteX2" fmla="*/ 2138 w 503667"/>
                <a:gd name="connsiteY2" fmla="*/ 541425 h 552823"/>
                <a:gd name="connsiteX3" fmla="*/ 84775 w 503667"/>
                <a:gd name="connsiteY3" fmla="*/ 447388 h 552823"/>
                <a:gd name="connsiteX4" fmla="*/ 415331 w 503667"/>
                <a:gd name="connsiteY4" fmla="*/ 2850 h 552823"/>
                <a:gd name="connsiteX5" fmla="*/ 418180 w 503667"/>
                <a:gd name="connsiteY5" fmla="*/ 0 h 552823"/>
                <a:gd name="connsiteX6" fmla="*/ 497968 w 503667"/>
                <a:gd name="connsiteY6" fmla="*/ 0 h 552823"/>
                <a:gd name="connsiteX7" fmla="*/ 503668 w 503667"/>
                <a:gd name="connsiteY7" fmla="*/ 5699 h 552823"/>
                <a:gd name="connsiteX8" fmla="*/ 497968 w 503667"/>
                <a:gd name="connsiteY8" fmla="*/ 11398 h 552823"/>
                <a:gd name="connsiteX9" fmla="*/ 423879 w 503667"/>
                <a:gd name="connsiteY9" fmla="*/ 11398 h 552823"/>
                <a:gd name="connsiteX10" fmla="*/ 96175 w 503667"/>
                <a:gd name="connsiteY10" fmla="*/ 453087 h 552823"/>
                <a:gd name="connsiteX11" fmla="*/ 13535 w 503667"/>
                <a:gd name="connsiteY11" fmla="*/ 547124 h 552823"/>
                <a:gd name="connsiteX12" fmla="*/ 4987 w 503667"/>
                <a:gd name="connsiteY12" fmla="*/ 552823 h 552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3667" h="552823">
                  <a:moveTo>
                    <a:pt x="4987" y="552823"/>
                  </a:moveTo>
                  <a:cubicBezTo>
                    <a:pt x="2138" y="552823"/>
                    <a:pt x="2138" y="552823"/>
                    <a:pt x="2138" y="549974"/>
                  </a:cubicBezTo>
                  <a:cubicBezTo>
                    <a:pt x="-713" y="547124"/>
                    <a:pt x="-713" y="544274"/>
                    <a:pt x="2138" y="541425"/>
                  </a:cubicBezTo>
                  <a:cubicBezTo>
                    <a:pt x="47731" y="501530"/>
                    <a:pt x="84775" y="447388"/>
                    <a:pt x="84775" y="447388"/>
                  </a:cubicBezTo>
                  <a:cubicBezTo>
                    <a:pt x="118971" y="404644"/>
                    <a:pt x="412480" y="8549"/>
                    <a:pt x="415331" y="2850"/>
                  </a:cubicBezTo>
                  <a:lnTo>
                    <a:pt x="418180" y="0"/>
                  </a:lnTo>
                  <a:lnTo>
                    <a:pt x="497968" y="0"/>
                  </a:lnTo>
                  <a:cubicBezTo>
                    <a:pt x="500819" y="0"/>
                    <a:pt x="503668" y="2850"/>
                    <a:pt x="503668" y="5699"/>
                  </a:cubicBezTo>
                  <a:cubicBezTo>
                    <a:pt x="503668" y="8549"/>
                    <a:pt x="500819" y="11398"/>
                    <a:pt x="497968" y="11398"/>
                  </a:cubicBezTo>
                  <a:lnTo>
                    <a:pt x="423879" y="11398"/>
                  </a:lnTo>
                  <a:cubicBezTo>
                    <a:pt x="401083" y="42744"/>
                    <a:pt x="127520" y="410343"/>
                    <a:pt x="96175" y="453087"/>
                  </a:cubicBezTo>
                  <a:cubicBezTo>
                    <a:pt x="96175" y="453087"/>
                    <a:pt x="59130" y="507230"/>
                    <a:pt x="13535" y="547124"/>
                  </a:cubicBezTo>
                  <a:cubicBezTo>
                    <a:pt x="7838" y="549974"/>
                    <a:pt x="4987" y="552823"/>
                    <a:pt x="4987" y="552823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0" name="图形 1">
              <a:extLst>
                <a:ext uri="{FF2B5EF4-FFF2-40B4-BE49-F238E27FC236}">
                  <a16:creationId xmlns:a16="http://schemas.microsoft.com/office/drawing/2014/main" id="{0940B107-09CC-4553-9587-6C9D2B9E756A}"/>
                </a:ext>
              </a:extLst>
            </p:cNvPr>
            <p:cNvGrpSpPr/>
            <p:nvPr/>
          </p:nvGrpSpPr>
          <p:grpSpPr>
            <a:xfrm>
              <a:off x="23367577" y="2795198"/>
              <a:ext cx="480518" cy="200024"/>
              <a:chOff x="23367577" y="2795198"/>
              <a:chExt cx="480518" cy="200024"/>
            </a:xfrm>
          </p:grpSpPr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90FBFA7A-2EB7-4EB2-A331-15B182F8FF0B}"/>
                  </a:ext>
                </a:extLst>
              </p:cNvPr>
              <p:cNvSpPr/>
              <p:nvPr/>
            </p:nvSpPr>
            <p:spPr>
              <a:xfrm>
                <a:off x="23756908" y="2795198"/>
                <a:ext cx="91187" cy="116833"/>
              </a:xfrm>
              <a:custGeom>
                <a:avLst/>
                <a:gdLst>
                  <a:gd name="connsiteX0" fmla="*/ 8548 w 91187"/>
                  <a:gd name="connsiteY0" fmla="*/ 74090 h 116833"/>
                  <a:gd name="connsiteX1" fmla="*/ 91188 w 91187"/>
                  <a:gd name="connsiteY1" fmla="*/ 0 h 116833"/>
                  <a:gd name="connsiteX2" fmla="*/ 74091 w 91187"/>
                  <a:gd name="connsiteY2" fmla="*/ 91187 h 116833"/>
                  <a:gd name="connsiteX3" fmla="*/ 0 w 91187"/>
                  <a:gd name="connsiteY3" fmla="*/ 116834 h 116833"/>
                  <a:gd name="connsiteX4" fmla="*/ 8548 w 91187"/>
                  <a:gd name="connsiteY4" fmla="*/ 74090 h 116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187" h="116833">
                    <a:moveTo>
                      <a:pt x="8548" y="74090"/>
                    </a:moveTo>
                    <a:cubicBezTo>
                      <a:pt x="8548" y="74090"/>
                      <a:pt x="59843" y="42744"/>
                      <a:pt x="91188" y="0"/>
                    </a:cubicBezTo>
                    <a:cubicBezTo>
                      <a:pt x="91188" y="0"/>
                      <a:pt x="82639" y="82639"/>
                      <a:pt x="74091" y="91187"/>
                    </a:cubicBezTo>
                    <a:cubicBezTo>
                      <a:pt x="74091" y="91187"/>
                      <a:pt x="37045" y="116834"/>
                      <a:pt x="0" y="116834"/>
                    </a:cubicBezTo>
                    <a:lnTo>
                      <a:pt x="8548" y="74090"/>
                    </a:ln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CF181189-EE51-47EF-ABFF-1D3A0C251E84}"/>
                  </a:ext>
                </a:extLst>
              </p:cNvPr>
              <p:cNvSpPr/>
              <p:nvPr/>
            </p:nvSpPr>
            <p:spPr>
              <a:xfrm>
                <a:off x="23369363" y="2810336"/>
                <a:ext cx="407493" cy="167236"/>
              </a:xfrm>
              <a:custGeom>
                <a:avLst/>
                <a:gdLst>
                  <a:gd name="connsiteX0" fmla="*/ 0 w 407493"/>
                  <a:gd name="connsiteY0" fmla="*/ 53252 h 167236"/>
                  <a:gd name="connsiteX1" fmla="*/ 17097 w 407493"/>
                  <a:gd name="connsiteY1" fmla="*/ 61801 h 167236"/>
                  <a:gd name="connsiteX2" fmla="*/ 37045 w 407493"/>
                  <a:gd name="connsiteY2" fmla="*/ 56102 h 167236"/>
                  <a:gd name="connsiteX3" fmla="*/ 51293 w 407493"/>
                  <a:gd name="connsiteY3" fmla="*/ 141590 h 167236"/>
                  <a:gd name="connsiteX4" fmla="*/ 76940 w 407493"/>
                  <a:gd name="connsiteY4" fmla="*/ 158687 h 167236"/>
                  <a:gd name="connsiteX5" fmla="*/ 347652 w 407493"/>
                  <a:gd name="connsiteY5" fmla="*/ 147289 h 167236"/>
                  <a:gd name="connsiteX6" fmla="*/ 347652 w 407493"/>
                  <a:gd name="connsiteY6" fmla="*/ 167236 h 167236"/>
                  <a:gd name="connsiteX7" fmla="*/ 390396 w 407493"/>
                  <a:gd name="connsiteY7" fmla="*/ 147289 h 167236"/>
                  <a:gd name="connsiteX8" fmla="*/ 393245 w 407493"/>
                  <a:gd name="connsiteY8" fmla="*/ 144439 h 167236"/>
                  <a:gd name="connsiteX9" fmla="*/ 393245 w 407493"/>
                  <a:gd name="connsiteY9" fmla="*/ 144439 h 167236"/>
                  <a:gd name="connsiteX10" fmla="*/ 393245 w 407493"/>
                  <a:gd name="connsiteY10" fmla="*/ 144439 h 167236"/>
                  <a:gd name="connsiteX11" fmla="*/ 401794 w 407493"/>
                  <a:gd name="connsiteY11" fmla="*/ 130191 h 167236"/>
                  <a:gd name="connsiteX12" fmla="*/ 407493 w 407493"/>
                  <a:gd name="connsiteY12" fmla="*/ 27606 h 167236"/>
                  <a:gd name="connsiteX13" fmla="*/ 384697 w 407493"/>
                  <a:gd name="connsiteY13" fmla="*/ 4809 h 167236"/>
                  <a:gd name="connsiteX14" fmla="*/ 54141 w 407493"/>
                  <a:gd name="connsiteY14" fmla="*/ 13357 h 167236"/>
                  <a:gd name="connsiteX15" fmla="*/ 39893 w 407493"/>
                  <a:gd name="connsiteY15" fmla="*/ 19057 h 167236"/>
                  <a:gd name="connsiteX16" fmla="*/ 39893 w 407493"/>
                  <a:gd name="connsiteY16" fmla="*/ 19057 h 167236"/>
                  <a:gd name="connsiteX17" fmla="*/ 0 w 407493"/>
                  <a:gd name="connsiteY17" fmla="*/ 53252 h 167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07493" h="167236">
                    <a:moveTo>
                      <a:pt x="0" y="53252"/>
                    </a:moveTo>
                    <a:cubicBezTo>
                      <a:pt x="5700" y="56102"/>
                      <a:pt x="11397" y="58951"/>
                      <a:pt x="17097" y="61801"/>
                    </a:cubicBezTo>
                    <a:cubicBezTo>
                      <a:pt x="22796" y="58951"/>
                      <a:pt x="28496" y="58951"/>
                      <a:pt x="37045" y="56102"/>
                    </a:cubicBezTo>
                    <a:cubicBezTo>
                      <a:pt x="39893" y="84598"/>
                      <a:pt x="45593" y="113094"/>
                      <a:pt x="51293" y="141590"/>
                    </a:cubicBezTo>
                    <a:cubicBezTo>
                      <a:pt x="54141" y="152988"/>
                      <a:pt x="65541" y="158687"/>
                      <a:pt x="76940" y="158687"/>
                    </a:cubicBezTo>
                    <a:cubicBezTo>
                      <a:pt x="168126" y="147289"/>
                      <a:pt x="256464" y="144439"/>
                      <a:pt x="347652" y="147289"/>
                    </a:cubicBezTo>
                    <a:cubicBezTo>
                      <a:pt x="347652" y="152988"/>
                      <a:pt x="347652" y="161537"/>
                      <a:pt x="347652" y="167236"/>
                    </a:cubicBezTo>
                    <a:cubicBezTo>
                      <a:pt x="361900" y="161537"/>
                      <a:pt x="376148" y="152988"/>
                      <a:pt x="390396" y="147289"/>
                    </a:cubicBezTo>
                    <a:cubicBezTo>
                      <a:pt x="390396" y="147289"/>
                      <a:pt x="393245" y="147289"/>
                      <a:pt x="393245" y="144439"/>
                    </a:cubicBezTo>
                    <a:lnTo>
                      <a:pt x="393245" y="144439"/>
                    </a:lnTo>
                    <a:lnTo>
                      <a:pt x="393245" y="144439"/>
                    </a:lnTo>
                    <a:cubicBezTo>
                      <a:pt x="398945" y="141590"/>
                      <a:pt x="401794" y="135891"/>
                      <a:pt x="401794" y="130191"/>
                    </a:cubicBezTo>
                    <a:cubicBezTo>
                      <a:pt x="404644" y="95996"/>
                      <a:pt x="407493" y="61801"/>
                      <a:pt x="407493" y="27606"/>
                    </a:cubicBezTo>
                    <a:cubicBezTo>
                      <a:pt x="407493" y="16207"/>
                      <a:pt x="398945" y="7658"/>
                      <a:pt x="384697" y="4809"/>
                    </a:cubicBezTo>
                    <a:cubicBezTo>
                      <a:pt x="276412" y="-3740"/>
                      <a:pt x="165277" y="-891"/>
                      <a:pt x="54141" y="13357"/>
                    </a:cubicBezTo>
                    <a:cubicBezTo>
                      <a:pt x="48444" y="13357"/>
                      <a:pt x="42744" y="16207"/>
                      <a:pt x="39893" y="19057"/>
                    </a:cubicBezTo>
                    <a:lnTo>
                      <a:pt x="39893" y="19057"/>
                    </a:lnTo>
                    <a:cubicBezTo>
                      <a:pt x="28496" y="33305"/>
                      <a:pt x="14248" y="44703"/>
                      <a:pt x="0" y="53252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47" name="图形 1">
                <a:extLst>
                  <a:ext uri="{FF2B5EF4-FFF2-40B4-BE49-F238E27FC236}">
                    <a16:creationId xmlns:a16="http://schemas.microsoft.com/office/drawing/2014/main" id="{B01A6119-4064-4958-B114-5E99B7908C65}"/>
                  </a:ext>
                </a:extLst>
              </p:cNvPr>
              <p:cNvGrpSpPr/>
              <p:nvPr/>
            </p:nvGrpSpPr>
            <p:grpSpPr>
              <a:xfrm>
                <a:off x="23367577" y="2835805"/>
                <a:ext cx="369383" cy="159417"/>
                <a:chOff x="23367577" y="2835805"/>
                <a:chExt cx="369383" cy="159417"/>
              </a:xfrm>
            </p:grpSpPr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F2AC458D-6A23-4A95-8AFE-F15BA623C60F}"/>
                    </a:ext>
                  </a:extLst>
                </p:cNvPr>
                <p:cNvSpPr/>
                <p:nvPr/>
              </p:nvSpPr>
              <p:spPr>
                <a:xfrm>
                  <a:off x="23367577" y="2835805"/>
                  <a:ext cx="369383" cy="159417"/>
                </a:xfrm>
                <a:custGeom>
                  <a:avLst/>
                  <a:gdLst>
                    <a:gd name="connsiteX0" fmla="*/ 18882 w 369383"/>
                    <a:gd name="connsiteY0" fmla="*/ 19235 h 159417"/>
                    <a:gd name="connsiteX1" fmla="*/ 346587 w 369383"/>
                    <a:gd name="connsiteY1" fmla="*/ 2137 h 159417"/>
                    <a:gd name="connsiteX2" fmla="*/ 369383 w 369383"/>
                    <a:gd name="connsiteY2" fmla="*/ 22084 h 159417"/>
                    <a:gd name="connsiteX3" fmla="*/ 366534 w 369383"/>
                    <a:gd name="connsiteY3" fmla="*/ 124670 h 159417"/>
                    <a:gd name="connsiteX4" fmla="*/ 343738 w 369383"/>
                    <a:gd name="connsiteY4" fmla="*/ 141768 h 159417"/>
                    <a:gd name="connsiteX5" fmla="*/ 44529 w 369383"/>
                    <a:gd name="connsiteY5" fmla="*/ 158865 h 159417"/>
                    <a:gd name="connsiteX6" fmla="*/ 18882 w 369383"/>
                    <a:gd name="connsiteY6" fmla="*/ 141768 h 159417"/>
                    <a:gd name="connsiteX7" fmla="*/ 1785 w 369383"/>
                    <a:gd name="connsiteY7" fmla="*/ 42032 h 159417"/>
                    <a:gd name="connsiteX8" fmla="*/ 18882 w 369383"/>
                    <a:gd name="connsiteY8" fmla="*/ 19235 h 1594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9383" h="159417">
                      <a:moveTo>
                        <a:pt x="18882" y="19235"/>
                      </a:moveTo>
                      <a:cubicBezTo>
                        <a:pt x="130018" y="2137"/>
                        <a:pt x="238302" y="-3562"/>
                        <a:pt x="346587" y="2137"/>
                      </a:cubicBezTo>
                      <a:cubicBezTo>
                        <a:pt x="357986" y="2137"/>
                        <a:pt x="369383" y="13536"/>
                        <a:pt x="369383" y="22084"/>
                      </a:cubicBezTo>
                      <a:cubicBezTo>
                        <a:pt x="366534" y="56280"/>
                        <a:pt x="366534" y="90475"/>
                        <a:pt x="366534" y="124670"/>
                      </a:cubicBezTo>
                      <a:cubicBezTo>
                        <a:pt x="366534" y="136069"/>
                        <a:pt x="355135" y="144617"/>
                        <a:pt x="343738" y="141768"/>
                      </a:cubicBezTo>
                      <a:cubicBezTo>
                        <a:pt x="244002" y="136069"/>
                        <a:pt x="144266" y="141768"/>
                        <a:pt x="44529" y="158865"/>
                      </a:cubicBezTo>
                      <a:cubicBezTo>
                        <a:pt x="33130" y="161715"/>
                        <a:pt x="21733" y="153166"/>
                        <a:pt x="18882" y="141768"/>
                      </a:cubicBezTo>
                      <a:cubicBezTo>
                        <a:pt x="13183" y="107573"/>
                        <a:pt x="4634" y="76227"/>
                        <a:pt x="1785" y="42032"/>
                      </a:cubicBezTo>
                      <a:cubicBezTo>
                        <a:pt x="-3914" y="33483"/>
                        <a:pt x="4634" y="22084"/>
                        <a:pt x="18882" y="19235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9" name="任意多边形: 形状 148">
                  <a:extLst>
                    <a:ext uri="{FF2B5EF4-FFF2-40B4-BE49-F238E27FC236}">
                      <a16:creationId xmlns:a16="http://schemas.microsoft.com/office/drawing/2014/main" id="{9128A967-C9E1-4245-ABB8-8BED5A02422E}"/>
                    </a:ext>
                  </a:extLst>
                </p:cNvPr>
                <p:cNvSpPr/>
                <p:nvPr/>
              </p:nvSpPr>
              <p:spPr>
                <a:xfrm>
                  <a:off x="23386460" y="2844307"/>
                  <a:ext cx="324855" cy="139523"/>
                </a:xfrm>
                <a:custGeom>
                  <a:avLst/>
                  <a:gdLst>
                    <a:gd name="connsiteX0" fmla="*/ 19948 w 324855"/>
                    <a:gd name="connsiteY0" fmla="*/ 16432 h 139523"/>
                    <a:gd name="connsiteX1" fmla="*/ 304908 w 324855"/>
                    <a:gd name="connsiteY1" fmla="*/ 2184 h 139523"/>
                    <a:gd name="connsiteX2" fmla="*/ 324856 w 324855"/>
                    <a:gd name="connsiteY2" fmla="*/ 19282 h 139523"/>
                    <a:gd name="connsiteX3" fmla="*/ 322005 w 324855"/>
                    <a:gd name="connsiteY3" fmla="*/ 107619 h 139523"/>
                    <a:gd name="connsiteX4" fmla="*/ 302059 w 324855"/>
                    <a:gd name="connsiteY4" fmla="*/ 124717 h 139523"/>
                    <a:gd name="connsiteX5" fmla="*/ 37045 w 324855"/>
                    <a:gd name="connsiteY5" fmla="*/ 138965 h 139523"/>
                    <a:gd name="connsiteX6" fmla="*/ 14248 w 324855"/>
                    <a:gd name="connsiteY6" fmla="*/ 124717 h 139523"/>
                    <a:gd name="connsiteX7" fmla="*/ 0 w 324855"/>
                    <a:gd name="connsiteY7" fmla="*/ 36379 h 139523"/>
                    <a:gd name="connsiteX8" fmla="*/ 19948 w 324855"/>
                    <a:gd name="connsiteY8" fmla="*/ 16432 h 1395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4855" h="139523">
                      <a:moveTo>
                        <a:pt x="19948" y="16432"/>
                      </a:moveTo>
                      <a:cubicBezTo>
                        <a:pt x="116835" y="2184"/>
                        <a:pt x="210871" y="-3515"/>
                        <a:pt x="304908" y="2184"/>
                      </a:cubicBezTo>
                      <a:cubicBezTo>
                        <a:pt x="316307" y="2184"/>
                        <a:pt x="324856" y="10733"/>
                        <a:pt x="324856" y="19282"/>
                      </a:cubicBezTo>
                      <a:cubicBezTo>
                        <a:pt x="324856" y="47778"/>
                        <a:pt x="322005" y="79123"/>
                        <a:pt x="322005" y="107619"/>
                      </a:cubicBezTo>
                      <a:cubicBezTo>
                        <a:pt x="322005" y="116168"/>
                        <a:pt x="313456" y="124717"/>
                        <a:pt x="302059" y="124717"/>
                      </a:cubicBezTo>
                      <a:cubicBezTo>
                        <a:pt x="213720" y="121867"/>
                        <a:pt x="128232" y="124717"/>
                        <a:pt x="37045" y="138965"/>
                      </a:cubicBezTo>
                      <a:cubicBezTo>
                        <a:pt x="25647" y="141815"/>
                        <a:pt x="17099" y="133266"/>
                        <a:pt x="14248" y="124717"/>
                      </a:cubicBezTo>
                      <a:cubicBezTo>
                        <a:pt x="8548" y="96221"/>
                        <a:pt x="2851" y="64875"/>
                        <a:pt x="0" y="36379"/>
                      </a:cubicBezTo>
                      <a:cubicBezTo>
                        <a:pt x="0" y="27830"/>
                        <a:pt x="8548" y="19282"/>
                        <a:pt x="19948" y="16432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0" name="任意多边形: 形状 149">
                  <a:extLst>
                    <a:ext uri="{FF2B5EF4-FFF2-40B4-BE49-F238E27FC236}">
                      <a16:creationId xmlns:a16="http://schemas.microsoft.com/office/drawing/2014/main" id="{E0E95919-F23E-4174-A2CA-DC338D6BFBE6}"/>
                    </a:ext>
                  </a:extLst>
                </p:cNvPr>
                <p:cNvSpPr/>
                <p:nvPr/>
              </p:nvSpPr>
              <p:spPr>
                <a:xfrm>
                  <a:off x="23574535" y="2852190"/>
                  <a:ext cx="85488" cy="111134"/>
                </a:xfrm>
                <a:custGeom>
                  <a:avLst/>
                  <a:gdLst>
                    <a:gd name="connsiteX0" fmla="*/ 22796 w 85488"/>
                    <a:gd name="connsiteY0" fmla="*/ 111135 h 111134"/>
                    <a:gd name="connsiteX1" fmla="*/ 0 w 85488"/>
                    <a:gd name="connsiteY1" fmla="*/ 111135 h 111134"/>
                    <a:gd name="connsiteX2" fmla="*/ 56992 w 85488"/>
                    <a:gd name="connsiteY2" fmla="*/ 0 h 111134"/>
                    <a:gd name="connsiteX3" fmla="*/ 85488 w 85488"/>
                    <a:gd name="connsiteY3" fmla="*/ 0 h 111134"/>
                    <a:gd name="connsiteX4" fmla="*/ 22796 w 85488"/>
                    <a:gd name="connsiteY4" fmla="*/ 111135 h 111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5488" h="111134">
                      <a:moveTo>
                        <a:pt x="22796" y="111135"/>
                      </a:moveTo>
                      <a:cubicBezTo>
                        <a:pt x="14248" y="111135"/>
                        <a:pt x="8548" y="111135"/>
                        <a:pt x="0" y="111135"/>
                      </a:cubicBezTo>
                      <a:cubicBezTo>
                        <a:pt x="17097" y="74090"/>
                        <a:pt x="37045" y="37045"/>
                        <a:pt x="56992" y="0"/>
                      </a:cubicBezTo>
                      <a:cubicBezTo>
                        <a:pt x="65541" y="0"/>
                        <a:pt x="74089" y="0"/>
                        <a:pt x="85488" y="0"/>
                      </a:cubicBezTo>
                      <a:cubicBezTo>
                        <a:pt x="59841" y="37045"/>
                        <a:pt x="39893" y="74090"/>
                        <a:pt x="22796" y="11113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1" name="任意多边形: 形状 150">
                  <a:extLst>
                    <a:ext uri="{FF2B5EF4-FFF2-40B4-BE49-F238E27FC236}">
                      <a16:creationId xmlns:a16="http://schemas.microsoft.com/office/drawing/2014/main" id="{3B723583-DDB5-4560-9D04-42CF4955E0D9}"/>
                    </a:ext>
                  </a:extLst>
                </p:cNvPr>
                <p:cNvSpPr/>
                <p:nvPr/>
              </p:nvSpPr>
              <p:spPr>
                <a:xfrm>
                  <a:off x="23506143" y="2849340"/>
                  <a:ext cx="99736" cy="116833"/>
                </a:xfrm>
                <a:custGeom>
                  <a:avLst/>
                  <a:gdLst>
                    <a:gd name="connsiteX0" fmla="*/ 42744 w 99736"/>
                    <a:gd name="connsiteY0" fmla="*/ 113984 h 116833"/>
                    <a:gd name="connsiteX1" fmla="*/ 0 w 99736"/>
                    <a:gd name="connsiteY1" fmla="*/ 116834 h 116833"/>
                    <a:gd name="connsiteX2" fmla="*/ 51293 w 99736"/>
                    <a:gd name="connsiteY2" fmla="*/ 2850 h 116833"/>
                    <a:gd name="connsiteX3" fmla="*/ 99736 w 99736"/>
                    <a:gd name="connsiteY3" fmla="*/ 0 h 116833"/>
                    <a:gd name="connsiteX4" fmla="*/ 42744 w 99736"/>
                    <a:gd name="connsiteY4" fmla="*/ 113984 h 116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9736" h="116833">
                      <a:moveTo>
                        <a:pt x="42744" y="113984"/>
                      </a:moveTo>
                      <a:cubicBezTo>
                        <a:pt x="28496" y="113984"/>
                        <a:pt x="14248" y="116834"/>
                        <a:pt x="0" y="116834"/>
                      </a:cubicBezTo>
                      <a:cubicBezTo>
                        <a:pt x="14248" y="79789"/>
                        <a:pt x="34196" y="39895"/>
                        <a:pt x="51293" y="2850"/>
                      </a:cubicBezTo>
                      <a:cubicBezTo>
                        <a:pt x="68391" y="2850"/>
                        <a:pt x="82639" y="2850"/>
                        <a:pt x="99736" y="0"/>
                      </a:cubicBezTo>
                      <a:cubicBezTo>
                        <a:pt x="79789" y="39895"/>
                        <a:pt x="59841" y="76939"/>
                        <a:pt x="42744" y="113984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352A06E8-F0AA-4C92-B5F1-A9B3C0BAF287}"/>
                </a:ext>
              </a:extLst>
            </p:cNvPr>
            <p:cNvSpPr/>
            <p:nvPr/>
          </p:nvSpPr>
          <p:spPr>
            <a:xfrm>
              <a:off x="24157908" y="1857055"/>
              <a:ext cx="196387" cy="267536"/>
            </a:xfrm>
            <a:custGeom>
              <a:avLst/>
              <a:gdLst>
                <a:gd name="connsiteX0" fmla="*/ 186020 w 196387"/>
                <a:gd name="connsiteY0" fmla="*/ 94660 h 267536"/>
                <a:gd name="connsiteX1" fmla="*/ 160373 w 196387"/>
                <a:gd name="connsiteY1" fmla="*/ 49067 h 267536"/>
                <a:gd name="connsiteX2" fmla="*/ 137576 w 196387"/>
                <a:gd name="connsiteY2" fmla="*/ 20571 h 267536"/>
                <a:gd name="connsiteX3" fmla="*/ 86284 w 196387"/>
                <a:gd name="connsiteY3" fmla="*/ 14871 h 267536"/>
                <a:gd name="connsiteX4" fmla="*/ 40689 w 196387"/>
                <a:gd name="connsiteY4" fmla="*/ 3473 h 267536"/>
                <a:gd name="connsiteX5" fmla="*/ 32140 w 196387"/>
                <a:gd name="connsiteY5" fmla="*/ 259937 h 267536"/>
                <a:gd name="connsiteX6" fmla="*/ 163221 w 196387"/>
                <a:gd name="connsiteY6" fmla="*/ 259937 h 267536"/>
                <a:gd name="connsiteX7" fmla="*/ 191717 w 196387"/>
                <a:gd name="connsiteY7" fmla="*/ 134555 h 267536"/>
                <a:gd name="connsiteX8" fmla="*/ 186020 w 196387"/>
                <a:gd name="connsiteY8" fmla="*/ 94660 h 267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6387" h="267536">
                  <a:moveTo>
                    <a:pt x="186020" y="94660"/>
                  </a:moveTo>
                  <a:cubicBezTo>
                    <a:pt x="177469" y="88961"/>
                    <a:pt x="171772" y="63315"/>
                    <a:pt x="160373" y="49067"/>
                  </a:cubicBezTo>
                  <a:cubicBezTo>
                    <a:pt x="160373" y="46217"/>
                    <a:pt x="148973" y="29119"/>
                    <a:pt x="137576" y="20571"/>
                  </a:cubicBezTo>
                  <a:cubicBezTo>
                    <a:pt x="129028" y="14871"/>
                    <a:pt x="86284" y="34819"/>
                    <a:pt x="86284" y="14871"/>
                  </a:cubicBezTo>
                  <a:cubicBezTo>
                    <a:pt x="86284" y="3473"/>
                    <a:pt x="46388" y="-5076"/>
                    <a:pt x="40689" y="3473"/>
                  </a:cubicBezTo>
                  <a:cubicBezTo>
                    <a:pt x="17892" y="60465"/>
                    <a:pt x="-33400" y="217193"/>
                    <a:pt x="32140" y="259937"/>
                  </a:cubicBezTo>
                  <a:cubicBezTo>
                    <a:pt x="32140" y="259937"/>
                    <a:pt x="140425" y="277035"/>
                    <a:pt x="163221" y="259937"/>
                  </a:cubicBezTo>
                  <a:cubicBezTo>
                    <a:pt x="200268" y="234291"/>
                    <a:pt x="183169" y="174449"/>
                    <a:pt x="191717" y="134555"/>
                  </a:cubicBezTo>
                  <a:cubicBezTo>
                    <a:pt x="197417" y="111758"/>
                    <a:pt x="200268" y="106059"/>
                    <a:pt x="186020" y="94660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2" name="图形 1">
              <a:extLst>
                <a:ext uri="{FF2B5EF4-FFF2-40B4-BE49-F238E27FC236}">
                  <a16:creationId xmlns:a16="http://schemas.microsoft.com/office/drawing/2014/main" id="{D56514EA-EE93-49AB-9A49-73BF0AE2940F}"/>
                </a:ext>
              </a:extLst>
            </p:cNvPr>
            <p:cNvGrpSpPr/>
            <p:nvPr/>
          </p:nvGrpSpPr>
          <p:grpSpPr>
            <a:xfrm>
              <a:off x="23967238" y="1623470"/>
              <a:ext cx="392101" cy="492900"/>
              <a:chOff x="23967238" y="1623470"/>
              <a:chExt cx="392101" cy="492900"/>
            </a:xfrm>
          </p:grpSpPr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7235BD1B-B006-4BCE-9725-ACAB55272986}"/>
                  </a:ext>
                </a:extLst>
              </p:cNvPr>
              <p:cNvSpPr/>
              <p:nvPr/>
            </p:nvSpPr>
            <p:spPr>
              <a:xfrm>
                <a:off x="24004824" y="1689551"/>
                <a:ext cx="354515" cy="426818"/>
              </a:xfrm>
              <a:custGeom>
                <a:avLst/>
                <a:gdLst>
                  <a:gd name="connsiteX0" fmla="*/ 327704 w 354515"/>
                  <a:gd name="connsiteY0" fmla="*/ 416042 h 426818"/>
                  <a:gd name="connsiteX1" fmla="*/ 327704 w 354515"/>
                  <a:gd name="connsiteY1" fmla="*/ 416042 h 426818"/>
                  <a:gd name="connsiteX2" fmla="*/ 245065 w 354515"/>
                  <a:gd name="connsiteY2" fmla="*/ 404644 h 426818"/>
                  <a:gd name="connsiteX3" fmla="*/ 0 w 354515"/>
                  <a:gd name="connsiteY3" fmla="*/ 116834 h 426818"/>
                  <a:gd name="connsiteX4" fmla="*/ 170976 w 354515"/>
                  <a:gd name="connsiteY4" fmla="*/ 0 h 426818"/>
                  <a:gd name="connsiteX5" fmla="*/ 347652 w 354515"/>
                  <a:gd name="connsiteY5" fmla="*/ 333404 h 426818"/>
                  <a:gd name="connsiteX6" fmla="*/ 327704 w 354515"/>
                  <a:gd name="connsiteY6" fmla="*/ 416042 h 426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4515" h="426818">
                    <a:moveTo>
                      <a:pt x="327704" y="416042"/>
                    </a:moveTo>
                    <a:lnTo>
                      <a:pt x="327704" y="416042"/>
                    </a:lnTo>
                    <a:cubicBezTo>
                      <a:pt x="302057" y="433140"/>
                      <a:pt x="265013" y="430290"/>
                      <a:pt x="245065" y="404644"/>
                    </a:cubicBezTo>
                    <a:lnTo>
                      <a:pt x="0" y="116834"/>
                    </a:lnTo>
                    <a:lnTo>
                      <a:pt x="170976" y="0"/>
                    </a:lnTo>
                    <a:lnTo>
                      <a:pt x="347652" y="333404"/>
                    </a:lnTo>
                    <a:cubicBezTo>
                      <a:pt x="361900" y="364749"/>
                      <a:pt x="353352" y="398945"/>
                      <a:pt x="327704" y="416042"/>
                    </a:cubicBezTo>
                    <a:close/>
                  </a:path>
                </a:pathLst>
              </a:custGeom>
              <a:solidFill>
                <a:srgbClr val="6383A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21350134-E50C-4805-8D97-71A23BC7529B}"/>
                  </a:ext>
                </a:extLst>
              </p:cNvPr>
              <p:cNvSpPr/>
              <p:nvPr/>
            </p:nvSpPr>
            <p:spPr>
              <a:xfrm>
                <a:off x="23967238" y="1623470"/>
                <a:ext cx="247402" cy="246147"/>
              </a:xfrm>
              <a:custGeom>
                <a:avLst/>
                <a:gdLst>
                  <a:gd name="connsiteX0" fmla="*/ 225659 w 247402"/>
                  <a:gd name="connsiteY0" fmla="*/ 54683 h 246147"/>
                  <a:gd name="connsiteX1" fmla="*/ 54683 w 247402"/>
                  <a:gd name="connsiteY1" fmla="*/ 20488 h 246147"/>
                  <a:gd name="connsiteX2" fmla="*/ 20489 w 247402"/>
                  <a:gd name="connsiteY2" fmla="*/ 191464 h 246147"/>
                  <a:gd name="connsiteX3" fmla="*/ 191465 w 247402"/>
                  <a:gd name="connsiteY3" fmla="*/ 225659 h 246147"/>
                  <a:gd name="connsiteX4" fmla="*/ 225659 w 247402"/>
                  <a:gd name="connsiteY4" fmla="*/ 54683 h 246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7402" h="246147">
                    <a:moveTo>
                      <a:pt x="225659" y="54683"/>
                    </a:moveTo>
                    <a:cubicBezTo>
                      <a:pt x="188615" y="-2309"/>
                      <a:pt x="111675" y="-16557"/>
                      <a:pt x="54683" y="20488"/>
                    </a:cubicBezTo>
                    <a:cubicBezTo>
                      <a:pt x="-2309" y="57533"/>
                      <a:pt x="-16557" y="134472"/>
                      <a:pt x="20489" y="191464"/>
                    </a:cubicBezTo>
                    <a:cubicBezTo>
                      <a:pt x="57533" y="248456"/>
                      <a:pt x="134473" y="262704"/>
                      <a:pt x="191465" y="225659"/>
                    </a:cubicBezTo>
                    <a:cubicBezTo>
                      <a:pt x="248457" y="188615"/>
                      <a:pt x="265554" y="111675"/>
                      <a:pt x="225659" y="54683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3" name="图形 1">
              <a:extLst>
                <a:ext uri="{FF2B5EF4-FFF2-40B4-BE49-F238E27FC236}">
                  <a16:creationId xmlns:a16="http://schemas.microsoft.com/office/drawing/2014/main" id="{6F7D44A8-1A70-4FC6-96F8-CD44ADA97A31}"/>
                </a:ext>
              </a:extLst>
            </p:cNvPr>
            <p:cNvGrpSpPr/>
            <p:nvPr/>
          </p:nvGrpSpPr>
          <p:grpSpPr>
            <a:xfrm>
              <a:off x="23662872" y="3590237"/>
              <a:ext cx="247915" cy="558522"/>
              <a:chOff x="23662872" y="3590237"/>
              <a:chExt cx="247915" cy="558522"/>
            </a:xfrm>
          </p:grpSpPr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56C68AF0-6341-4B47-8CA5-976F00F05D90}"/>
                  </a:ext>
                </a:extLst>
              </p:cNvPr>
              <p:cNvSpPr/>
              <p:nvPr/>
            </p:nvSpPr>
            <p:spPr>
              <a:xfrm>
                <a:off x="23682819" y="3715620"/>
                <a:ext cx="208020" cy="433139"/>
              </a:xfrm>
              <a:custGeom>
                <a:avLst/>
                <a:gdLst>
                  <a:gd name="connsiteX0" fmla="*/ 111134 w 208020"/>
                  <a:gd name="connsiteY0" fmla="*/ 433140 h 433139"/>
                  <a:gd name="connsiteX1" fmla="*/ 111134 w 208020"/>
                  <a:gd name="connsiteY1" fmla="*/ 433140 h 433139"/>
                  <a:gd name="connsiteX2" fmla="*/ 48444 w 208020"/>
                  <a:gd name="connsiteY2" fmla="*/ 378997 h 433139"/>
                  <a:gd name="connsiteX3" fmla="*/ 0 w 208020"/>
                  <a:gd name="connsiteY3" fmla="*/ 2850 h 433139"/>
                  <a:gd name="connsiteX4" fmla="*/ 208021 w 208020"/>
                  <a:gd name="connsiteY4" fmla="*/ 0 h 433139"/>
                  <a:gd name="connsiteX5" fmla="*/ 173825 w 208020"/>
                  <a:gd name="connsiteY5" fmla="*/ 376148 h 433139"/>
                  <a:gd name="connsiteX6" fmla="*/ 111134 w 208020"/>
                  <a:gd name="connsiteY6" fmla="*/ 433140 h 433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8020" h="433139">
                    <a:moveTo>
                      <a:pt x="111134" y="433140"/>
                    </a:moveTo>
                    <a:lnTo>
                      <a:pt x="111134" y="433140"/>
                    </a:lnTo>
                    <a:cubicBezTo>
                      <a:pt x="79789" y="433140"/>
                      <a:pt x="51293" y="410343"/>
                      <a:pt x="48444" y="378997"/>
                    </a:cubicBezTo>
                    <a:lnTo>
                      <a:pt x="0" y="2850"/>
                    </a:lnTo>
                    <a:lnTo>
                      <a:pt x="208021" y="0"/>
                    </a:lnTo>
                    <a:lnTo>
                      <a:pt x="173825" y="376148"/>
                    </a:lnTo>
                    <a:cubicBezTo>
                      <a:pt x="170976" y="407493"/>
                      <a:pt x="142480" y="430290"/>
                      <a:pt x="111134" y="433140"/>
                    </a:cubicBezTo>
                    <a:close/>
                  </a:path>
                </a:pathLst>
              </a:custGeom>
              <a:solidFill>
                <a:srgbClr val="6383A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643E8DE6-E490-49A6-9685-0A2C77A77CB4}"/>
                  </a:ext>
                </a:extLst>
              </p:cNvPr>
              <p:cNvSpPr/>
              <p:nvPr/>
            </p:nvSpPr>
            <p:spPr>
              <a:xfrm>
                <a:off x="23662872" y="3590237"/>
                <a:ext cx="247915" cy="247915"/>
              </a:xfrm>
              <a:custGeom>
                <a:avLst/>
                <a:gdLst>
                  <a:gd name="connsiteX0" fmla="*/ 247916 w 247915"/>
                  <a:gd name="connsiteY0" fmla="*/ 122533 h 247915"/>
                  <a:gd name="connsiteX1" fmla="*/ 122533 w 247915"/>
                  <a:gd name="connsiteY1" fmla="*/ 0 h 247915"/>
                  <a:gd name="connsiteX2" fmla="*/ 0 w 247915"/>
                  <a:gd name="connsiteY2" fmla="*/ 125383 h 247915"/>
                  <a:gd name="connsiteX3" fmla="*/ 125383 w 247915"/>
                  <a:gd name="connsiteY3" fmla="*/ 247915 h 247915"/>
                  <a:gd name="connsiteX4" fmla="*/ 247916 w 247915"/>
                  <a:gd name="connsiteY4" fmla="*/ 122533 h 247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7915" h="247915">
                    <a:moveTo>
                      <a:pt x="247916" y="122533"/>
                    </a:moveTo>
                    <a:cubicBezTo>
                      <a:pt x="247916" y="54143"/>
                      <a:pt x="190924" y="0"/>
                      <a:pt x="122533" y="0"/>
                    </a:cubicBezTo>
                    <a:cubicBezTo>
                      <a:pt x="54143" y="0"/>
                      <a:pt x="0" y="56992"/>
                      <a:pt x="0" y="125383"/>
                    </a:cubicBezTo>
                    <a:cubicBezTo>
                      <a:pt x="0" y="193773"/>
                      <a:pt x="56992" y="247915"/>
                      <a:pt x="125383" y="247915"/>
                    </a:cubicBezTo>
                    <a:cubicBezTo>
                      <a:pt x="193773" y="247915"/>
                      <a:pt x="247916" y="190923"/>
                      <a:pt x="247916" y="122533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4" name="图形 1">
              <a:extLst>
                <a:ext uri="{FF2B5EF4-FFF2-40B4-BE49-F238E27FC236}">
                  <a16:creationId xmlns:a16="http://schemas.microsoft.com/office/drawing/2014/main" id="{9D35EF17-12A1-4FA0-A977-C852074CD5F7}"/>
                </a:ext>
              </a:extLst>
            </p:cNvPr>
            <p:cNvGrpSpPr/>
            <p:nvPr/>
          </p:nvGrpSpPr>
          <p:grpSpPr>
            <a:xfrm>
              <a:off x="24178649" y="1815646"/>
              <a:ext cx="181964" cy="207679"/>
              <a:chOff x="24178649" y="1815646"/>
              <a:chExt cx="181964" cy="207679"/>
            </a:xfrm>
          </p:grpSpPr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4EEBBFCD-403E-454F-A31C-2CE619413E76}"/>
                  </a:ext>
                </a:extLst>
              </p:cNvPr>
              <p:cNvSpPr/>
              <p:nvPr/>
            </p:nvSpPr>
            <p:spPr>
              <a:xfrm>
                <a:off x="24178649" y="1815646"/>
                <a:ext cx="94804" cy="153440"/>
              </a:xfrm>
              <a:custGeom>
                <a:avLst/>
                <a:gdLst>
                  <a:gd name="connsiteX0" fmla="*/ 59843 w 94804"/>
                  <a:gd name="connsiteY0" fmla="*/ 2137 h 153440"/>
                  <a:gd name="connsiteX1" fmla="*/ 11399 w 94804"/>
                  <a:gd name="connsiteY1" fmla="*/ 84776 h 153440"/>
                  <a:gd name="connsiteX2" fmla="*/ 2851 w 94804"/>
                  <a:gd name="connsiteY2" fmla="*/ 99024 h 153440"/>
                  <a:gd name="connsiteX3" fmla="*/ 0 w 94804"/>
                  <a:gd name="connsiteY3" fmla="*/ 116121 h 153440"/>
                  <a:gd name="connsiteX4" fmla="*/ 28496 w 94804"/>
                  <a:gd name="connsiteY4" fmla="*/ 153166 h 153440"/>
                  <a:gd name="connsiteX5" fmla="*/ 59843 w 94804"/>
                  <a:gd name="connsiteY5" fmla="*/ 121821 h 153440"/>
                  <a:gd name="connsiteX6" fmla="*/ 85488 w 94804"/>
                  <a:gd name="connsiteY6" fmla="*/ 64828 h 153440"/>
                  <a:gd name="connsiteX7" fmla="*/ 91188 w 94804"/>
                  <a:gd name="connsiteY7" fmla="*/ 19235 h 153440"/>
                  <a:gd name="connsiteX8" fmla="*/ 59843 w 94804"/>
                  <a:gd name="connsiteY8" fmla="*/ 2137 h 153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804" h="153440">
                    <a:moveTo>
                      <a:pt x="59843" y="2137"/>
                    </a:moveTo>
                    <a:cubicBezTo>
                      <a:pt x="37046" y="16385"/>
                      <a:pt x="28496" y="53430"/>
                      <a:pt x="11399" y="84776"/>
                    </a:cubicBezTo>
                    <a:cubicBezTo>
                      <a:pt x="11399" y="87625"/>
                      <a:pt x="2851" y="96174"/>
                      <a:pt x="2851" y="99024"/>
                    </a:cubicBezTo>
                    <a:cubicBezTo>
                      <a:pt x="0" y="104723"/>
                      <a:pt x="0" y="110422"/>
                      <a:pt x="0" y="116121"/>
                    </a:cubicBezTo>
                    <a:cubicBezTo>
                      <a:pt x="0" y="133219"/>
                      <a:pt x="14248" y="150317"/>
                      <a:pt x="28496" y="153166"/>
                    </a:cubicBezTo>
                    <a:cubicBezTo>
                      <a:pt x="45595" y="156016"/>
                      <a:pt x="54143" y="136069"/>
                      <a:pt x="59843" y="121821"/>
                    </a:cubicBezTo>
                    <a:cubicBezTo>
                      <a:pt x="68391" y="104723"/>
                      <a:pt x="76940" y="84776"/>
                      <a:pt x="85488" y="64828"/>
                    </a:cubicBezTo>
                    <a:cubicBezTo>
                      <a:pt x="91188" y="50580"/>
                      <a:pt x="99736" y="36332"/>
                      <a:pt x="91188" y="19235"/>
                    </a:cubicBezTo>
                    <a:cubicBezTo>
                      <a:pt x="85488" y="2137"/>
                      <a:pt x="71240" y="-3562"/>
                      <a:pt x="59843" y="2137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00930E98-1C68-4D90-A844-9FF7CA86FAAE}"/>
                  </a:ext>
                </a:extLst>
              </p:cNvPr>
              <p:cNvSpPr/>
              <p:nvPr/>
            </p:nvSpPr>
            <p:spPr>
              <a:xfrm>
                <a:off x="24212845" y="1856715"/>
                <a:ext cx="94804" cy="152266"/>
              </a:xfrm>
              <a:custGeom>
                <a:avLst/>
                <a:gdLst>
                  <a:gd name="connsiteX0" fmla="*/ 59843 w 94804"/>
                  <a:gd name="connsiteY0" fmla="*/ 963 h 152266"/>
                  <a:gd name="connsiteX1" fmla="*/ 5700 w 94804"/>
                  <a:gd name="connsiteY1" fmla="*/ 89300 h 152266"/>
                  <a:gd name="connsiteX2" fmla="*/ 2851 w 94804"/>
                  <a:gd name="connsiteY2" fmla="*/ 97849 h 152266"/>
                  <a:gd name="connsiteX3" fmla="*/ 0 w 94804"/>
                  <a:gd name="connsiteY3" fmla="*/ 114947 h 152266"/>
                  <a:gd name="connsiteX4" fmla="*/ 28496 w 94804"/>
                  <a:gd name="connsiteY4" fmla="*/ 151992 h 152266"/>
                  <a:gd name="connsiteX5" fmla="*/ 59843 w 94804"/>
                  <a:gd name="connsiteY5" fmla="*/ 120646 h 152266"/>
                  <a:gd name="connsiteX6" fmla="*/ 85488 w 94804"/>
                  <a:gd name="connsiteY6" fmla="*/ 63654 h 152266"/>
                  <a:gd name="connsiteX7" fmla="*/ 91188 w 94804"/>
                  <a:gd name="connsiteY7" fmla="*/ 18060 h 152266"/>
                  <a:gd name="connsiteX8" fmla="*/ 59843 w 94804"/>
                  <a:gd name="connsiteY8" fmla="*/ 963 h 152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804" h="152266">
                    <a:moveTo>
                      <a:pt x="59843" y="963"/>
                    </a:moveTo>
                    <a:cubicBezTo>
                      <a:pt x="25647" y="12361"/>
                      <a:pt x="19948" y="55105"/>
                      <a:pt x="5700" y="89300"/>
                    </a:cubicBezTo>
                    <a:cubicBezTo>
                      <a:pt x="5700" y="92150"/>
                      <a:pt x="2851" y="95000"/>
                      <a:pt x="2851" y="97849"/>
                    </a:cubicBezTo>
                    <a:cubicBezTo>
                      <a:pt x="0" y="103548"/>
                      <a:pt x="0" y="109248"/>
                      <a:pt x="0" y="114947"/>
                    </a:cubicBezTo>
                    <a:cubicBezTo>
                      <a:pt x="0" y="132045"/>
                      <a:pt x="14248" y="149142"/>
                      <a:pt x="28496" y="151992"/>
                    </a:cubicBezTo>
                    <a:cubicBezTo>
                      <a:pt x="45595" y="154841"/>
                      <a:pt x="54143" y="134894"/>
                      <a:pt x="59843" y="120646"/>
                    </a:cubicBezTo>
                    <a:cubicBezTo>
                      <a:pt x="68391" y="103548"/>
                      <a:pt x="76940" y="83601"/>
                      <a:pt x="85488" y="63654"/>
                    </a:cubicBezTo>
                    <a:cubicBezTo>
                      <a:pt x="91188" y="49406"/>
                      <a:pt x="99736" y="35158"/>
                      <a:pt x="91188" y="18060"/>
                    </a:cubicBezTo>
                    <a:cubicBezTo>
                      <a:pt x="85488" y="963"/>
                      <a:pt x="71240" y="-1887"/>
                      <a:pt x="59843" y="96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1CEA305B-8C38-4E94-B892-990F1500D4C2}"/>
                  </a:ext>
                </a:extLst>
              </p:cNvPr>
              <p:cNvSpPr/>
              <p:nvPr/>
            </p:nvSpPr>
            <p:spPr>
              <a:xfrm>
                <a:off x="24252740" y="1890461"/>
                <a:ext cx="86254" cy="129921"/>
              </a:xfrm>
              <a:custGeom>
                <a:avLst/>
                <a:gdLst>
                  <a:gd name="connsiteX0" fmla="*/ 54141 w 86254"/>
                  <a:gd name="connsiteY0" fmla="*/ 1413 h 129921"/>
                  <a:gd name="connsiteX1" fmla="*/ 5700 w 86254"/>
                  <a:gd name="connsiteY1" fmla="*/ 75502 h 129921"/>
                  <a:gd name="connsiteX2" fmla="*/ 2849 w 86254"/>
                  <a:gd name="connsiteY2" fmla="*/ 84051 h 129921"/>
                  <a:gd name="connsiteX3" fmla="*/ 0 w 86254"/>
                  <a:gd name="connsiteY3" fmla="*/ 98299 h 129921"/>
                  <a:gd name="connsiteX4" fmla="*/ 25645 w 86254"/>
                  <a:gd name="connsiteY4" fmla="*/ 129645 h 129921"/>
                  <a:gd name="connsiteX5" fmla="*/ 54141 w 86254"/>
                  <a:gd name="connsiteY5" fmla="*/ 103998 h 129921"/>
                  <a:gd name="connsiteX6" fmla="*/ 76940 w 86254"/>
                  <a:gd name="connsiteY6" fmla="*/ 55555 h 129921"/>
                  <a:gd name="connsiteX7" fmla="*/ 82637 w 86254"/>
                  <a:gd name="connsiteY7" fmla="*/ 15661 h 129921"/>
                  <a:gd name="connsiteX8" fmla="*/ 54141 w 86254"/>
                  <a:gd name="connsiteY8" fmla="*/ 1413 h 129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254" h="129921">
                    <a:moveTo>
                      <a:pt x="54141" y="1413"/>
                    </a:moveTo>
                    <a:cubicBezTo>
                      <a:pt x="22796" y="12811"/>
                      <a:pt x="17097" y="49856"/>
                      <a:pt x="5700" y="75502"/>
                    </a:cubicBezTo>
                    <a:cubicBezTo>
                      <a:pt x="5700" y="78352"/>
                      <a:pt x="2849" y="81202"/>
                      <a:pt x="2849" y="84051"/>
                    </a:cubicBezTo>
                    <a:cubicBezTo>
                      <a:pt x="0" y="89750"/>
                      <a:pt x="0" y="92600"/>
                      <a:pt x="0" y="98299"/>
                    </a:cubicBezTo>
                    <a:cubicBezTo>
                      <a:pt x="0" y="112547"/>
                      <a:pt x="11397" y="126795"/>
                      <a:pt x="25645" y="129645"/>
                    </a:cubicBezTo>
                    <a:cubicBezTo>
                      <a:pt x="39893" y="132495"/>
                      <a:pt x="48444" y="112547"/>
                      <a:pt x="54141" y="103998"/>
                    </a:cubicBezTo>
                    <a:cubicBezTo>
                      <a:pt x="62692" y="89750"/>
                      <a:pt x="71240" y="72653"/>
                      <a:pt x="76940" y="55555"/>
                    </a:cubicBezTo>
                    <a:cubicBezTo>
                      <a:pt x="82637" y="44157"/>
                      <a:pt x="91188" y="29909"/>
                      <a:pt x="82637" y="15661"/>
                    </a:cubicBezTo>
                    <a:cubicBezTo>
                      <a:pt x="76940" y="-1437"/>
                      <a:pt x="65541" y="-1437"/>
                      <a:pt x="54141" y="141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347A4CD0-0B50-4341-8E39-6BBC49124A8A}"/>
                  </a:ext>
                </a:extLst>
              </p:cNvPr>
              <p:cNvSpPr/>
              <p:nvPr/>
            </p:nvSpPr>
            <p:spPr>
              <a:xfrm>
                <a:off x="24298333" y="1927335"/>
                <a:ext cx="62280" cy="95990"/>
              </a:xfrm>
              <a:custGeom>
                <a:avLst/>
                <a:gdLst>
                  <a:gd name="connsiteX0" fmla="*/ 39895 w 62280"/>
                  <a:gd name="connsiteY0" fmla="*/ 1583 h 95990"/>
                  <a:gd name="connsiteX1" fmla="*/ 2851 w 62280"/>
                  <a:gd name="connsiteY1" fmla="*/ 55726 h 95990"/>
                  <a:gd name="connsiteX2" fmla="*/ 2851 w 62280"/>
                  <a:gd name="connsiteY2" fmla="*/ 61425 h 95990"/>
                  <a:gd name="connsiteX3" fmla="*/ 0 w 62280"/>
                  <a:gd name="connsiteY3" fmla="*/ 72823 h 95990"/>
                  <a:gd name="connsiteX4" fmla="*/ 17099 w 62280"/>
                  <a:gd name="connsiteY4" fmla="*/ 95620 h 95990"/>
                  <a:gd name="connsiteX5" fmla="*/ 39895 w 62280"/>
                  <a:gd name="connsiteY5" fmla="*/ 75673 h 95990"/>
                  <a:gd name="connsiteX6" fmla="*/ 56992 w 62280"/>
                  <a:gd name="connsiteY6" fmla="*/ 38628 h 95990"/>
                  <a:gd name="connsiteX7" fmla="*/ 59843 w 62280"/>
                  <a:gd name="connsiteY7" fmla="*/ 10132 h 95990"/>
                  <a:gd name="connsiteX8" fmla="*/ 39895 w 62280"/>
                  <a:gd name="connsiteY8" fmla="*/ 1583 h 95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2280" h="95990">
                    <a:moveTo>
                      <a:pt x="39895" y="1583"/>
                    </a:moveTo>
                    <a:cubicBezTo>
                      <a:pt x="17099" y="10132"/>
                      <a:pt x="14248" y="35778"/>
                      <a:pt x="2851" y="55726"/>
                    </a:cubicBezTo>
                    <a:cubicBezTo>
                      <a:pt x="2851" y="58575"/>
                      <a:pt x="2851" y="58575"/>
                      <a:pt x="2851" y="61425"/>
                    </a:cubicBezTo>
                    <a:cubicBezTo>
                      <a:pt x="2851" y="64274"/>
                      <a:pt x="0" y="67124"/>
                      <a:pt x="0" y="72823"/>
                    </a:cubicBezTo>
                    <a:cubicBezTo>
                      <a:pt x="0" y="84222"/>
                      <a:pt x="8548" y="92770"/>
                      <a:pt x="17099" y="95620"/>
                    </a:cubicBezTo>
                    <a:cubicBezTo>
                      <a:pt x="28496" y="98470"/>
                      <a:pt x="34196" y="84222"/>
                      <a:pt x="39895" y="75673"/>
                    </a:cubicBezTo>
                    <a:cubicBezTo>
                      <a:pt x="45595" y="64274"/>
                      <a:pt x="51293" y="52876"/>
                      <a:pt x="56992" y="38628"/>
                    </a:cubicBezTo>
                    <a:cubicBezTo>
                      <a:pt x="59843" y="30079"/>
                      <a:pt x="65541" y="21530"/>
                      <a:pt x="59843" y="10132"/>
                    </a:cubicBezTo>
                    <a:cubicBezTo>
                      <a:pt x="56992" y="-1266"/>
                      <a:pt x="45595" y="-1266"/>
                      <a:pt x="39895" y="158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2579C7E4-DF01-4C40-867C-5DDE6CF1D319}"/>
                  </a:ext>
                </a:extLst>
              </p:cNvPr>
              <p:cNvSpPr/>
              <p:nvPr/>
            </p:nvSpPr>
            <p:spPr>
              <a:xfrm>
                <a:off x="24180299" y="1843430"/>
                <a:ext cx="131757" cy="168126"/>
              </a:xfrm>
              <a:custGeom>
                <a:avLst/>
                <a:gdLst>
                  <a:gd name="connsiteX0" fmla="*/ 61042 w 131757"/>
                  <a:gd name="connsiteY0" fmla="*/ 168127 h 168126"/>
                  <a:gd name="connsiteX1" fmla="*/ 49644 w 131757"/>
                  <a:gd name="connsiteY1" fmla="*/ 165277 h 168126"/>
                  <a:gd name="connsiteX2" fmla="*/ 23997 w 131757"/>
                  <a:gd name="connsiteY2" fmla="*/ 125383 h 168126"/>
                  <a:gd name="connsiteX3" fmla="*/ 23997 w 131757"/>
                  <a:gd name="connsiteY3" fmla="*/ 125383 h 168126"/>
                  <a:gd name="connsiteX4" fmla="*/ 12598 w 131757"/>
                  <a:gd name="connsiteY4" fmla="*/ 122533 h 168126"/>
                  <a:gd name="connsiteX5" fmla="*/ 1201 w 131757"/>
                  <a:gd name="connsiteY5" fmla="*/ 105435 h 168126"/>
                  <a:gd name="connsiteX6" fmla="*/ 32546 w 131757"/>
                  <a:gd name="connsiteY6" fmla="*/ 2850 h 168126"/>
                  <a:gd name="connsiteX7" fmla="*/ 41094 w 131757"/>
                  <a:gd name="connsiteY7" fmla="*/ 0 h 168126"/>
                  <a:gd name="connsiteX8" fmla="*/ 43945 w 131757"/>
                  <a:gd name="connsiteY8" fmla="*/ 8549 h 168126"/>
                  <a:gd name="connsiteX9" fmla="*/ 12598 w 131757"/>
                  <a:gd name="connsiteY9" fmla="*/ 102586 h 168126"/>
                  <a:gd name="connsiteX10" fmla="*/ 18298 w 131757"/>
                  <a:gd name="connsiteY10" fmla="*/ 111135 h 168126"/>
                  <a:gd name="connsiteX11" fmla="*/ 35396 w 131757"/>
                  <a:gd name="connsiteY11" fmla="*/ 113984 h 168126"/>
                  <a:gd name="connsiteX12" fmla="*/ 89538 w 131757"/>
                  <a:gd name="connsiteY12" fmla="*/ 17098 h 168126"/>
                  <a:gd name="connsiteX13" fmla="*/ 100937 w 131757"/>
                  <a:gd name="connsiteY13" fmla="*/ 8549 h 168126"/>
                  <a:gd name="connsiteX14" fmla="*/ 120885 w 131757"/>
                  <a:gd name="connsiteY14" fmla="*/ 17098 h 168126"/>
                  <a:gd name="connsiteX15" fmla="*/ 106637 w 131757"/>
                  <a:gd name="connsiteY15" fmla="*/ 125383 h 168126"/>
                  <a:gd name="connsiteX16" fmla="*/ 61042 w 131757"/>
                  <a:gd name="connsiteY16" fmla="*/ 168127 h 168126"/>
                  <a:gd name="connsiteX17" fmla="*/ 35396 w 131757"/>
                  <a:gd name="connsiteY17" fmla="*/ 122533 h 168126"/>
                  <a:gd name="connsiteX18" fmla="*/ 55342 w 131757"/>
                  <a:gd name="connsiteY18" fmla="*/ 153879 h 168126"/>
                  <a:gd name="connsiteX19" fmla="*/ 92389 w 131757"/>
                  <a:gd name="connsiteY19" fmla="*/ 113984 h 168126"/>
                  <a:gd name="connsiteX20" fmla="*/ 109485 w 131757"/>
                  <a:gd name="connsiteY20" fmla="*/ 19947 h 168126"/>
                  <a:gd name="connsiteX21" fmla="*/ 98086 w 131757"/>
                  <a:gd name="connsiteY21" fmla="*/ 14248 h 168126"/>
                  <a:gd name="connsiteX22" fmla="*/ 95237 w 131757"/>
                  <a:gd name="connsiteY22" fmla="*/ 17098 h 168126"/>
                  <a:gd name="connsiteX23" fmla="*/ 35396 w 131757"/>
                  <a:gd name="connsiteY23" fmla="*/ 122533 h 168126"/>
                  <a:gd name="connsiteX24" fmla="*/ 35396 w 131757"/>
                  <a:gd name="connsiteY24" fmla="*/ 122533 h 168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31757" h="168126">
                    <a:moveTo>
                      <a:pt x="61042" y="168127"/>
                    </a:moveTo>
                    <a:cubicBezTo>
                      <a:pt x="58193" y="168127"/>
                      <a:pt x="55342" y="168127"/>
                      <a:pt x="49644" y="165277"/>
                    </a:cubicBezTo>
                    <a:cubicBezTo>
                      <a:pt x="32546" y="156728"/>
                      <a:pt x="23997" y="125383"/>
                      <a:pt x="23997" y="125383"/>
                    </a:cubicBezTo>
                    <a:lnTo>
                      <a:pt x="23997" y="125383"/>
                    </a:lnTo>
                    <a:cubicBezTo>
                      <a:pt x="18298" y="125383"/>
                      <a:pt x="15449" y="122533"/>
                      <a:pt x="12598" y="122533"/>
                    </a:cubicBezTo>
                    <a:cubicBezTo>
                      <a:pt x="6900" y="119683"/>
                      <a:pt x="1201" y="113984"/>
                      <a:pt x="1201" y="105435"/>
                    </a:cubicBezTo>
                    <a:cubicBezTo>
                      <a:pt x="-7348" y="74090"/>
                      <a:pt x="32546" y="5699"/>
                      <a:pt x="32546" y="2850"/>
                    </a:cubicBezTo>
                    <a:cubicBezTo>
                      <a:pt x="35396" y="0"/>
                      <a:pt x="38245" y="0"/>
                      <a:pt x="41094" y="0"/>
                    </a:cubicBezTo>
                    <a:cubicBezTo>
                      <a:pt x="43945" y="2850"/>
                      <a:pt x="43945" y="5699"/>
                      <a:pt x="43945" y="8549"/>
                    </a:cubicBezTo>
                    <a:cubicBezTo>
                      <a:pt x="32546" y="25646"/>
                      <a:pt x="6900" y="79789"/>
                      <a:pt x="12598" y="102586"/>
                    </a:cubicBezTo>
                    <a:cubicBezTo>
                      <a:pt x="12598" y="105435"/>
                      <a:pt x="15449" y="108285"/>
                      <a:pt x="18298" y="111135"/>
                    </a:cubicBezTo>
                    <a:cubicBezTo>
                      <a:pt x="23997" y="113984"/>
                      <a:pt x="29697" y="116834"/>
                      <a:pt x="35396" y="113984"/>
                    </a:cubicBezTo>
                    <a:cubicBezTo>
                      <a:pt x="49644" y="108285"/>
                      <a:pt x="69590" y="74090"/>
                      <a:pt x="89538" y="17098"/>
                    </a:cubicBezTo>
                    <a:cubicBezTo>
                      <a:pt x="89538" y="17098"/>
                      <a:pt x="92389" y="8549"/>
                      <a:pt x="100937" y="8549"/>
                    </a:cubicBezTo>
                    <a:cubicBezTo>
                      <a:pt x="106637" y="8549"/>
                      <a:pt x="115185" y="8549"/>
                      <a:pt x="120885" y="17098"/>
                    </a:cubicBezTo>
                    <a:cubicBezTo>
                      <a:pt x="143681" y="37045"/>
                      <a:pt x="126582" y="88338"/>
                      <a:pt x="106637" y="125383"/>
                    </a:cubicBezTo>
                    <a:cubicBezTo>
                      <a:pt x="92389" y="142480"/>
                      <a:pt x="78141" y="168127"/>
                      <a:pt x="61042" y="168127"/>
                    </a:cubicBezTo>
                    <a:close/>
                    <a:moveTo>
                      <a:pt x="35396" y="122533"/>
                    </a:moveTo>
                    <a:cubicBezTo>
                      <a:pt x="38245" y="131082"/>
                      <a:pt x="43945" y="151029"/>
                      <a:pt x="55342" y="153879"/>
                    </a:cubicBezTo>
                    <a:cubicBezTo>
                      <a:pt x="66741" y="159578"/>
                      <a:pt x="75290" y="151029"/>
                      <a:pt x="92389" y="113984"/>
                    </a:cubicBezTo>
                    <a:cubicBezTo>
                      <a:pt x="118034" y="65541"/>
                      <a:pt x="123733" y="31346"/>
                      <a:pt x="109485" y="19947"/>
                    </a:cubicBezTo>
                    <a:cubicBezTo>
                      <a:pt x="103786" y="14248"/>
                      <a:pt x="98086" y="14248"/>
                      <a:pt x="98086" y="14248"/>
                    </a:cubicBezTo>
                    <a:cubicBezTo>
                      <a:pt x="95237" y="14248"/>
                      <a:pt x="95237" y="17098"/>
                      <a:pt x="95237" y="17098"/>
                    </a:cubicBezTo>
                    <a:cubicBezTo>
                      <a:pt x="69590" y="99736"/>
                      <a:pt x="49644" y="116834"/>
                      <a:pt x="35396" y="122533"/>
                    </a:cubicBezTo>
                    <a:cubicBezTo>
                      <a:pt x="38245" y="122533"/>
                      <a:pt x="35396" y="122533"/>
                      <a:pt x="35396" y="122533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A9BA9DE2-BEC6-452C-9731-BC11D63715DE}"/>
                  </a:ext>
                </a:extLst>
              </p:cNvPr>
              <p:cNvSpPr/>
              <p:nvPr/>
            </p:nvSpPr>
            <p:spPr>
              <a:xfrm>
                <a:off x="24245860" y="1879357"/>
                <a:ext cx="100916" cy="143598"/>
              </a:xfrm>
              <a:custGeom>
                <a:avLst/>
                <a:gdLst>
                  <a:gd name="connsiteX0" fmla="*/ 32525 w 100916"/>
                  <a:gd name="connsiteY0" fmla="*/ 143598 h 143598"/>
                  <a:gd name="connsiteX1" fmla="*/ 32525 w 100916"/>
                  <a:gd name="connsiteY1" fmla="*/ 143598 h 143598"/>
                  <a:gd name="connsiteX2" fmla="*/ 1180 w 100916"/>
                  <a:gd name="connsiteY2" fmla="*/ 123651 h 143598"/>
                  <a:gd name="connsiteX3" fmla="*/ 4029 w 100916"/>
                  <a:gd name="connsiteY3" fmla="*/ 115102 h 143598"/>
                  <a:gd name="connsiteX4" fmla="*/ 12579 w 100916"/>
                  <a:gd name="connsiteY4" fmla="*/ 117952 h 143598"/>
                  <a:gd name="connsiteX5" fmla="*/ 32525 w 100916"/>
                  <a:gd name="connsiteY5" fmla="*/ 132200 h 143598"/>
                  <a:gd name="connsiteX6" fmla="*/ 49624 w 100916"/>
                  <a:gd name="connsiteY6" fmla="*/ 120801 h 143598"/>
                  <a:gd name="connsiteX7" fmla="*/ 89517 w 100916"/>
                  <a:gd name="connsiteY7" fmla="*/ 29614 h 143598"/>
                  <a:gd name="connsiteX8" fmla="*/ 83819 w 100916"/>
                  <a:gd name="connsiteY8" fmla="*/ 18216 h 143598"/>
                  <a:gd name="connsiteX9" fmla="*/ 66721 w 100916"/>
                  <a:gd name="connsiteY9" fmla="*/ 12516 h 143598"/>
                  <a:gd name="connsiteX10" fmla="*/ 58172 w 100916"/>
                  <a:gd name="connsiteY10" fmla="*/ 9667 h 143598"/>
                  <a:gd name="connsiteX11" fmla="*/ 61021 w 100916"/>
                  <a:gd name="connsiteY11" fmla="*/ 1118 h 143598"/>
                  <a:gd name="connsiteX12" fmla="*/ 89517 w 100916"/>
                  <a:gd name="connsiteY12" fmla="*/ 6817 h 143598"/>
                  <a:gd name="connsiteX13" fmla="*/ 100916 w 100916"/>
                  <a:gd name="connsiteY13" fmla="*/ 26764 h 143598"/>
                  <a:gd name="connsiteX14" fmla="*/ 58172 w 100916"/>
                  <a:gd name="connsiteY14" fmla="*/ 123651 h 143598"/>
                  <a:gd name="connsiteX15" fmla="*/ 32525 w 100916"/>
                  <a:gd name="connsiteY15" fmla="*/ 143598 h 143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0916" h="143598">
                    <a:moveTo>
                      <a:pt x="32525" y="143598"/>
                    </a:moveTo>
                    <a:cubicBezTo>
                      <a:pt x="32525" y="143598"/>
                      <a:pt x="32525" y="143598"/>
                      <a:pt x="32525" y="143598"/>
                    </a:cubicBezTo>
                    <a:cubicBezTo>
                      <a:pt x="15428" y="143598"/>
                      <a:pt x="4029" y="123651"/>
                      <a:pt x="1180" y="123651"/>
                    </a:cubicBezTo>
                    <a:cubicBezTo>
                      <a:pt x="-1669" y="120801"/>
                      <a:pt x="1180" y="117952"/>
                      <a:pt x="4029" y="115102"/>
                    </a:cubicBezTo>
                    <a:cubicBezTo>
                      <a:pt x="6880" y="112252"/>
                      <a:pt x="9729" y="115102"/>
                      <a:pt x="12579" y="117952"/>
                    </a:cubicBezTo>
                    <a:cubicBezTo>
                      <a:pt x="15428" y="120801"/>
                      <a:pt x="23977" y="132200"/>
                      <a:pt x="32525" y="132200"/>
                    </a:cubicBezTo>
                    <a:cubicBezTo>
                      <a:pt x="38225" y="132200"/>
                      <a:pt x="43924" y="129350"/>
                      <a:pt x="49624" y="120801"/>
                    </a:cubicBezTo>
                    <a:cubicBezTo>
                      <a:pt x="72420" y="89456"/>
                      <a:pt x="86668" y="43862"/>
                      <a:pt x="89517" y="29614"/>
                    </a:cubicBezTo>
                    <a:cubicBezTo>
                      <a:pt x="89517" y="23915"/>
                      <a:pt x="86668" y="21065"/>
                      <a:pt x="83819" y="18216"/>
                    </a:cubicBezTo>
                    <a:cubicBezTo>
                      <a:pt x="78120" y="12516"/>
                      <a:pt x="69571" y="12516"/>
                      <a:pt x="66721" y="12516"/>
                    </a:cubicBezTo>
                    <a:cubicBezTo>
                      <a:pt x="63872" y="12516"/>
                      <a:pt x="61021" y="12516"/>
                      <a:pt x="58172" y="9667"/>
                    </a:cubicBezTo>
                    <a:cubicBezTo>
                      <a:pt x="58172" y="6817"/>
                      <a:pt x="58172" y="3968"/>
                      <a:pt x="61021" y="1118"/>
                    </a:cubicBezTo>
                    <a:cubicBezTo>
                      <a:pt x="66721" y="-1732"/>
                      <a:pt x="80969" y="1118"/>
                      <a:pt x="89517" y="6817"/>
                    </a:cubicBezTo>
                    <a:cubicBezTo>
                      <a:pt x="98067" y="12516"/>
                      <a:pt x="100916" y="18216"/>
                      <a:pt x="100916" y="26764"/>
                    </a:cubicBezTo>
                    <a:cubicBezTo>
                      <a:pt x="100916" y="43862"/>
                      <a:pt x="83819" y="89456"/>
                      <a:pt x="58172" y="123651"/>
                    </a:cubicBezTo>
                    <a:cubicBezTo>
                      <a:pt x="49624" y="140749"/>
                      <a:pt x="41075" y="143598"/>
                      <a:pt x="32525" y="143598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5" name="图形 1">
              <a:extLst>
                <a:ext uri="{FF2B5EF4-FFF2-40B4-BE49-F238E27FC236}">
                  <a16:creationId xmlns:a16="http://schemas.microsoft.com/office/drawing/2014/main" id="{EC276F74-5427-4538-984B-4BFA72CFCFD1}"/>
                </a:ext>
              </a:extLst>
            </p:cNvPr>
            <p:cNvGrpSpPr/>
            <p:nvPr/>
          </p:nvGrpSpPr>
          <p:grpSpPr>
            <a:xfrm>
              <a:off x="24166554" y="1929245"/>
              <a:ext cx="120381" cy="162782"/>
              <a:chOff x="24166554" y="1929245"/>
              <a:chExt cx="120381" cy="162782"/>
            </a:xfrm>
          </p:grpSpPr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5BCAA23D-2DAE-4377-BAE5-227D164349C8}"/>
                  </a:ext>
                </a:extLst>
              </p:cNvPr>
              <p:cNvSpPr/>
              <p:nvPr/>
            </p:nvSpPr>
            <p:spPr>
              <a:xfrm>
                <a:off x="24168434" y="1938179"/>
                <a:ext cx="113078" cy="153847"/>
              </a:xfrm>
              <a:custGeom>
                <a:avLst/>
                <a:gdLst>
                  <a:gd name="connsiteX0" fmla="*/ 33013 w 113078"/>
                  <a:gd name="connsiteY0" fmla="*/ 7836 h 153847"/>
                  <a:gd name="connsiteX1" fmla="*/ 1667 w 113078"/>
                  <a:gd name="connsiteY1" fmla="*/ 107573 h 153847"/>
                  <a:gd name="connsiteX2" fmla="*/ 64358 w 113078"/>
                  <a:gd name="connsiteY2" fmla="*/ 153166 h 153847"/>
                  <a:gd name="connsiteX3" fmla="*/ 58659 w 113078"/>
                  <a:gd name="connsiteY3" fmla="*/ 81926 h 153847"/>
                  <a:gd name="connsiteX4" fmla="*/ 90006 w 113078"/>
                  <a:gd name="connsiteY4" fmla="*/ 30633 h 153847"/>
                  <a:gd name="connsiteX5" fmla="*/ 112802 w 113078"/>
                  <a:gd name="connsiteY5" fmla="*/ 13536 h 153847"/>
                  <a:gd name="connsiteX6" fmla="*/ 33013 w 113078"/>
                  <a:gd name="connsiteY6" fmla="*/ 7836 h 153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3078" h="153847">
                    <a:moveTo>
                      <a:pt x="33013" y="7836"/>
                    </a:moveTo>
                    <a:cubicBezTo>
                      <a:pt x="4517" y="24934"/>
                      <a:pt x="-4033" y="79077"/>
                      <a:pt x="1667" y="107573"/>
                    </a:cubicBezTo>
                    <a:cubicBezTo>
                      <a:pt x="4517" y="127520"/>
                      <a:pt x="64358" y="158865"/>
                      <a:pt x="64358" y="153166"/>
                    </a:cubicBezTo>
                    <a:cubicBezTo>
                      <a:pt x="121350" y="99024"/>
                      <a:pt x="55810" y="96174"/>
                      <a:pt x="58659" y="81926"/>
                    </a:cubicBezTo>
                    <a:cubicBezTo>
                      <a:pt x="58659" y="59129"/>
                      <a:pt x="72907" y="44881"/>
                      <a:pt x="90006" y="30633"/>
                    </a:cubicBezTo>
                    <a:cubicBezTo>
                      <a:pt x="95703" y="24934"/>
                      <a:pt x="115651" y="24934"/>
                      <a:pt x="112802" y="13536"/>
                    </a:cubicBezTo>
                    <a:cubicBezTo>
                      <a:pt x="104254" y="-6412"/>
                      <a:pt x="47261" y="-712"/>
                      <a:pt x="33013" y="7836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AF2436D6-E9D5-484D-9584-2E4D05FD7D22}"/>
                  </a:ext>
                </a:extLst>
              </p:cNvPr>
              <p:cNvSpPr/>
              <p:nvPr/>
            </p:nvSpPr>
            <p:spPr>
              <a:xfrm>
                <a:off x="24166554" y="1929245"/>
                <a:ext cx="120381" cy="133604"/>
              </a:xfrm>
              <a:custGeom>
                <a:avLst/>
                <a:gdLst>
                  <a:gd name="connsiteX0" fmla="*/ 91885 w 120381"/>
                  <a:gd name="connsiteY0" fmla="*/ 133605 h 133604"/>
                  <a:gd name="connsiteX1" fmla="*/ 86186 w 120381"/>
                  <a:gd name="connsiteY1" fmla="*/ 130755 h 133604"/>
                  <a:gd name="connsiteX2" fmla="*/ 57690 w 120381"/>
                  <a:gd name="connsiteY2" fmla="*/ 99410 h 133604"/>
                  <a:gd name="connsiteX3" fmla="*/ 54839 w 120381"/>
                  <a:gd name="connsiteY3" fmla="*/ 93710 h 133604"/>
                  <a:gd name="connsiteX4" fmla="*/ 94734 w 120381"/>
                  <a:gd name="connsiteY4" fmla="*/ 36718 h 133604"/>
                  <a:gd name="connsiteX5" fmla="*/ 108982 w 120381"/>
                  <a:gd name="connsiteY5" fmla="*/ 22470 h 133604"/>
                  <a:gd name="connsiteX6" fmla="*/ 106133 w 120381"/>
                  <a:gd name="connsiteY6" fmla="*/ 16771 h 133604"/>
                  <a:gd name="connsiteX7" fmla="*/ 40591 w 120381"/>
                  <a:gd name="connsiteY7" fmla="*/ 22470 h 133604"/>
                  <a:gd name="connsiteX8" fmla="*/ 12095 w 120381"/>
                  <a:gd name="connsiteY8" fmla="*/ 116507 h 133604"/>
                  <a:gd name="connsiteX9" fmla="*/ 6397 w 120381"/>
                  <a:gd name="connsiteY9" fmla="*/ 122207 h 133604"/>
                  <a:gd name="connsiteX10" fmla="*/ 698 w 120381"/>
                  <a:gd name="connsiteY10" fmla="*/ 116507 h 133604"/>
                  <a:gd name="connsiteX11" fmla="*/ 34893 w 120381"/>
                  <a:gd name="connsiteY11" fmla="*/ 11072 h 133604"/>
                  <a:gd name="connsiteX12" fmla="*/ 111831 w 120381"/>
                  <a:gd name="connsiteY12" fmla="*/ 8222 h 133604"/>
                  <a:gd name="connsiteX13" fmla="*/ 120382 w 120381"/>
                  <a:gd name="connsiteY13" fmla="*/ 22470 h 133604"/>
                  <a:gd name="connsiteX14" fmla="*/ 100434 w 120381"/>
                  <a:gd name="connsiteY14" fmla="*/ 42418 h 133604"/>
                  <a:gd name="connsiteX15" fmla="*/ 66238 w 120381"/>
                  <a:gd name="connsiteY15" fmla="*/ 88011 h 133604"/>
                  <a:gd name="connsiteX16" fmla="*/ 97583 w 120381"/>
                  <a:gd name="connsiteY16" fmla="*/ 122207 h 133604"/>
                  <a:gd name="connsiteX17" fmla="*/ 91885 w 120381"/>
                  <a:gd name="connsiteY17" fmla="*/ 133605 h 133604"/>
                  <a:gd name="connsiteX18" fmla="*/ 91885 w 120381"/>
                  <a:gd name="connsiteY18" fmla="*/ 133605 h 133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0381" h="133604">
                    <a:moveTo>
                      <a:pt x="91885" y="133605"/>
                    </a:moveTo>
                    <a:cubicBezTo>
                      <a:pt x="89035" y="133605"/>
                      <a:pt x="86186" y="130755"/>
                      <a:pt x="86186" y="130755"/>
                    </a:cubicBezTo>
                    <a:cubicBezTo>
                      <a:pt x="83335" y="113658"/>
                      <a:pt x="57690" y="102259"/>
                      <a:pt x="57690" y="99410"/>
                    </a:cubicBezTo>
                    <a:cubicBezTo>
                      <a:pt x="54839" y="99410"/>
                      <a:pt x="54839" y="96560"/>
                      <a:pt x="54839" y="93710"/>
                    </a:cubicBezTo>
                    <a:cubicBezTo>
                      <a:pt x="54839" y="62365"/>
                      <a:pt x="77637" y="48117"/>
                      <a:pt x="94734" y="36718"/>
                    </a:cubicBezTo>
                    <a:cubicBezTo>
                      <a:pt x="103283" y="31019"/>
                      <a:pt x="108982" y="28170"/>
                      <a:pt x="108982" y="22470"/>
                    </a:cubicBezTo>
                    <a:cubicBezTo>
                      <a:pt x="108982" y="22470"/>
                      <a:pt x="108982" y="19621"/>
                      <a:pt x="106133" y="16771"/>
                    </a:cubicBezTo>
                    <a:cubicBezTo>
                      <a:pt x="94734" y="8222"/>
                      <a:pt x="66238" y="8222"/>
                      <a:pt x="40591" y="22470"/>
                    </a:cubicBezTo>
                    <a:cubicBezTo>
                      <a:pt x="6397" y="39568"/>
                      <a:pt x="12095" y="116507"/>
                      <a:pt x="12095" y="116507"/>
                    </a:cubicBezTo>
                    <a:cubicBezTo>
                      <a:pt x="12095" y="119357"/>
                      <a:pt x="9246" y="122207"/>
                      <a:pt x="6397" y="122207"/>
                    </a:cubicBezTo>
                    <a:cubicBezTo>
                      <a:pt x="3547" y="122207"/>
                      <a:pt x="698" y="119357"/>
                      <a:pt x="698" y="116507"/>
                    </a:cubicBezTo>
                    <a:cubicBezTo>
                      <a:pt x="698" y="113658"/>
                      <a:pt x="-7851" y="31019"/>
                      <a:pt x="34893" y="11072"/>
                    </a:cubicBezTo>
                    <a:cubicBezTo>
                      <a:pt x="66238" y="-3176"/>
                      <a:pt x="97583" y="-3176"/>
                      <a:pt x="111831" y="8222"/>
                    </a:cubicBezTo>
                    <a:cubicBezTo>
                      <a:pt x="117531" y="11072"/>
                      <a:pt x="120382" y="16771"/>
                      <a:pt x="120382" y="22470"/>
                    </a:cubicBezTo>
                    <a:cubicBezTo>
                      <a:pt x="120382" y="31019"/>
                      <a:pt x="111831" y="36718"/>
                      <a:pt x="100434" y="42418"/>
                    </a:cubicBezTo>
                    <a:cubicBezTo>
                      <a:pt x="86186" y="50966"/>
                      <a:pt x="69087" y="62365"/>
                      <a:pt x="66238" y="88011"/>
                    </a:cubicBezTo>
                    <a:cubicBezTo>
                      <a:pt x="74787" y="93710"/>
                      <a:pt x="94734" y="105109"/>
                      <a:pt x="97583" y="122207"/>
                    </a:cubicBezTo>
                    <a:cubicBezTo>
                      <a:pt x="97583" y="127906"/>
                      <a:pt x="97583" y="130755"/>
                      <a:pt x="91885" y="133605"/>
                    </a:cubicBezTo>
                    <a:cubicBezTo>
                      <a:pt x="91885" y="130755"/>
                      <a:pt x="91885" y="133605"/>
                      <a:pt x="91885" y="133605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4837F061-DD79-41CC-9019-D125AAB55344}"/>
                </a:ext>
              </a:extLst>
            </p:cNvPr>
            <p:cNvSpPr/>
            <p:nvPr/>
          </p:nvSpPr>
          <p:spPr>
            <a:xfrm>
              <a:off x="23101499" y="3366788"/>
              <a:ext cx="106615" cy="924452"/>
            </a:xfrm>
            <a:custGeom>
              <a:avLst/>
              <a:gdLst>
                <a:gd name="connsiteX0" fmla="*/ 5700 w 106615"/>
                <a:gd name="connsiteY0" fmla="*/ 924452 h 924452"/>
                <a:gd name="connsiteX1" fmla="*/ 5700 w 106615"/>
                <a:gd name="connsiteY1" fmla="*/ 924452 h 924452"/>
                <a:gd name="connsiteX2" fmla="*/ 0 w 106615"/>
                <a:gd name="connsiteY2" fmla="*/ 918753 h 924452"/>
                <a:gd name="connsiteX3" fmla="*/ 28496 w 106615"/>
                <a:gd name="connsiteY3" fmla="*/ 554004 h 924452"/>
                <a:gd name="connsiteX4" fmla="*/ 96887 w 106615"/>
                <a:gd name="connsiteY4" fmla="*/ 4030 h 924452"/>
                <a:gd name="connsiteX5" fmla="*/ 102587 w 106615"/>
                <a:gd name="connsiteY5" fmla="*/ 1180 h 924452"/>
                <a:gd name="connsiteX6" fmla="*/ 105436 w 106615"/>
                <a:gd name="connsiteY6" fmla="*/ 6880 h 924452"/>
                <a:gd name="connsiteX7" fmla="*/ 37045 w 106615"/>
                <a:gd name="connsiteY7" fmla="*/ 556853 h 924452"/>
                <a:gd name="connsiteX8" fmla="*/ 8548 w 106615"/>
                <a:gd name="connsiteY8" fmla="*/ 921603 h 924452"/>
                <a:gd name="connsiteX9" fmla="*/ 5700 w 106615"/>
                <a:gd name="connsiteY9" fmla="*/ 924452 h 924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6615" h="924452">
                  <a:moveTo>
                    <a:pt x="5700" y="924452"/>
                  </a:moveTo>
                  <a:cubicBezTo>
                    <a:pt x="5700" y="924452"/>
                    <a:pt x="5700" y="924452"/>
                    <a:pt x="5700" y="924452"/>
                  </a:cubicBezTo>
                  <a:cubicBezTo>
                    <a:pt x="2851" y="924452"/>
                    <a:pt x="0" y="921603"/>
                    <a:pt x="0" y="918753"/>
                  </a:cubicBezTo>
                  <a:cubicBezTo>
                    <a:pt x="0" y="915903"/>
                    <a:pt x="19948" y="653740"/>
                    <a:pt x="28496" y="554004"/>
                  </a:cubicBezTo>
                  <a:cubicBezTo>
                    <a:pt x="31347" y="534056"/>
                    <a:pt x="91188" y="41075"/>
                    <a:pt x="96887" y="4030"/>
                  </a:cubicBezTo>
                  <a:cubicBezTo>
                    <a:pt x="96887" y="1180"/>
                    <a:pt x="99736" y="-1669"/>
                    <a:pt x="102587" y="1180"/>
                  </a:cubicBezTo>
                  <a:cubicBezTo>
                    <a:pt x="105436" y="1180"/>
                    <a:pt x="108285" y="4030"/>
                    <a:pt x="105436" y="6880"/>
                  </a:cubicBezTo>
                  <a:cubicBezTo>
                    <a:pt x="96887" y="43924"/>
                    <a:pt x="37045" y="551154"/>
                    <a:pt x="37045" y="556853"/>
                  </a:cubicBezTo>
                  <a:cubicBezTo>
                    <a:pt x="28496" y="656589"/>
                    <a:pt x="8548" y="918753"/>
                    <a:pt x="8548" y="921603"/>
                  </a:cubicBezTo>
                  <a:cubicBezTo>
                    <a:pt x="11399" y="921603"/>
                    <a:pt x="8548" y="924452"/>
                    <a:pt x="5700" y="924452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7" name="图形 1">
              <a:extLst>
                <a:ext uri="{FF2B5EF4-FFF2-40B4-BE49-F238E27FC236}">
                  <a16:creationId xmlns:a16="http://schemas.microsoft.com/office/drawing/2014/main" id="{5AC6F2D9-86C1-4592-AC1C-144F41849DFD}"/>
                </a:ext>
              </a:extLst>
            </p:cNvPr>
            <p:cNvGrpSpPr/>
            <p:nvPr/>
          </p:nvGrpSpPr>
          <p:grpSpPr>
            <a:xfrm>
              <a:off x="23586980" y="3888953"/>
              <a:ext cx="289612" cy="248533"/>
              <a:chOff x="23586980" y="3888953"/>
              <a:chExt cx="289612" cy="248533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FCA8F1B4-AFC1-4C11-BFBD-6A328B704AE5}"/>
                  </a:ext>
                </a:extLst>
              </p:cNvPr>
              <p:cNvSpPr/>
              <p:nvPr/>
            </p:nvSpPr>
            <p:spPr>
              <a:xfrm>
                <a:off x="23586980" y="3901573"/>
                <a:ext cx="289612" cy="235913"/>
              </a:xfrm>
              <a:custGeom>
                <a:avLst/>
                <a:gdLst>
                  <a:gd name="connsiteX0" fmla="*/ 41696 w 289612"/>
                  <a:gd name="connsiteY0" fmla="*/ 230089 h 235913"/>
                  <a:gd name="connsiteX1" fmla="*/ 169928 w 289612"/>
                  <a:gd name="connsiteY1" fmla="*/ 221540 h 235913"/>
                  <a:gd name="connsiteX2" fmla="*/ 252568 w 289612"/>
                  <a:gd name="connsiteY2" fmla="*/ 218690 h 235913"/>
                  <a:gd name="connsiteX3" fmla="*/ 263965 w 289612"/>
                  <a:gd name="connsiteY3" fmla="*/ 167398 h 235913"/>
                  <a:gd name="connsiteX4" fmla="*/ 289612 w 289612"/>
                  <a:gd name="connsiteY4" fmla="*/ 136052 h 235913"/>
                  <a:gd name="connsiteX5" fmla="*/ 275364 w 289612"/>
                  <a:gd name="connsiteY5" fmla="*/ 107556 h 235913"/>
                  <a:gd name="connsiteX6" fmla="*/ 263965 w 289612"/>
                  <a:gd name="connsiteY6" fmla="*/ 53413 h 235913"/>
                  <a:gd name="connsiteX7" fmla="*/ 266816 w 289612"/>
                  <a:gd name="connsiteY7" fmla="*/ 16369 h 235913"/>
                  <a:gd name="connsiteX8" fmla="*/ 206973 w 289612"/>
                  <a:gd name="connsiteY8" fmla="*/ 10669 h 235913"/>
                  <a:gd name="connsiteX9" fmla="*/ 1803 w 289612"/>
                  <a:gd name="connsiteY9" fmla="*/ 101857 h 235913"/>
                  <a:gd name="connsiteX10" fmla="*/ 21749 w 289612"/>
                  <a:gd name="connsiteY10" fmla="*/ 224390 h 235913"/>
                  <a:gd name="connsiteX11" fmla="*/ 41696 w 289612"/>
                  <a:gd name="connsiteY11" fmla="*/ 230089 h 235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9612" h="235913">
                    <a:moveTo>
                      <a:pt x="41696" y="230089"/>
                    </a:moveTo>
                    <a:cubicBezTo>
                      <a:pt x="75892" y="224390"/>
                      <a:pt x="92989" y="235788"/>
                      <a:pt x="169928" y="221540"/>
                    </a:cubicBezTo>
                    <a:cubicBezTo>
                      <a:pt x="204124" y="215841"/>
                      <a:pt x="221221" y="230089"/>
                      <a:pt x="252568" y="218690"/>
                    </a:cubicBezTo>
                    <a:cubicBezTo>
                      <a:pt x="278213" y="210142"/>
                      <a:pt x="278213" y="184495"/>
                      <a:pt x="263965" y="167398"/>
                    </a:cubicBezTo>
                    <a:cubicBezTo>
                      <a:pt x="283913" y="164548"/>
                      <a:pt x="289612" y="155999"/>
                      <a:pt x="289612" y="136052"/>
                    </a:cubicBezTo>
                    <a:cubicBezTo>
                      <a:pt x="289612" y="127503"/>
                      <a:pt x="281064" y="110406"/>
                      <a:pt x="275364" y="107556"/>
                    </a:cubicBezTo>
                    <a:cubicBezTo>
                      <a:pt x="292461" y="101857"/>
                      <a:pt x="286763" y="59113"/>
                      <a:pt x="263965" y="53413"/>
                    </a:cubicBezTo>
                    <a:cubicBezTo>
                      <a:pt x="278213" y="42015"/>
                      <a:pt x="269665" y="24917"/>
                      <a:pt x="266816" y="16369"/>
                    </a:cubicBezTo>
                    <a:cubicBezTo>
                      <a:pt x="252568" y="-14977"/>
                      <a:pt x="218372" y="7820"/>
                      <a:pt x="206973" y="10669"/>
                    </a:cubicBezTo>
                    <a:cubicBezTo>
                      <a:pt x="118636" y="27767"/>
                      <a:pt x="87291" y="73361"/>
                      <a:pt x="1803" y="101857"/>
                    </a:cubicBezTo>
                    <a:cubicBezTo>
                      <a:pt x="-1048" y="99007"/>
                      <a:pt x="-3897" y="187345"/>
                      <a:pt x="21749" y="224390"/>
                    </a:cubicBezTo>
                    <a:cubicBezTo>
                      <a:pt x="35997" y="244337"/>
                      <a:pt x="16051" y="232938"/>
                      <a:pt x="41696" y="23008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5DEA547C-D903-41EA-B608-580CF3639FF3}"/>
                  </a:ext>
                </a:extLst>
              </p:cNvPr>
              <p:cNvSpPr/>
              <p:nvPr/>
            </p:nvSpPr>
            <p:spPr>
              <a:xfrm>
                <a:off x="23704436" y="3888953"/>
                <a:ext cx="156008" cy="68882"/>
              </a:xfrm>
              <a:custGeom>
                <a:avLst/>
                <a:gdLst>
                  <a:gd name="connsiteX0" fmla="*/ 146509 w 156008"/>
                  <a:gd name="connsiteY0" fmla="*/ 68883 h 68882"/>
                  <a:gd name="connsiteX1" fmla="*/ 146509 w 156008"/>
                  <a:gd name="connsiteY1" fmla="*/ 68883 h 68882"/>
                  <a:gd name="connsiteX2" fmla="*/ 140811 w 156008"/>
                  <a:gd name="connsiteY2" fmla="*/ 60334 h 68882"/>
                  <a:gd name="connsiteX3" fmla="*/ 143660 w 156008"/>
                  <a:gd name="connsiteY3" fmla="*/ 23289 h 68882"/>
                  <a:gd name="connsiteX4" fmla="*/ 129412 w 156008"/>
                  <a:gd name="connsiteY4" fmla="*/ 14740 h 68882"/>
                  <a:gd name="connsiteX5" fmla="*/ 9729 w 156008"/>
                  <a:gd name="connsiteY5" fmla="*/ 54635 h 68882"/>
                  <a:gd name="connsiteX6" fmla="*/ 1180 w 156008"/>
                  <a:gd name="connsiteY6" fmla="*/ 51785 h 68882"/>
                  <a:gd name="connsiteX7" fmla="*/ 4029 w 156008"/>
                  <a:gd name="connsiteY7" fmla="*/ 43236 h 68882"/>
                  <a:gd name="connsiteX8" fmla="*/ 129412 w 156008"/>
                  <a:gd name="connsiteY8" fmla="*/ 492 h 68882"/>
                  <a:gd name="connsiteX9" fmla="*/ 152209 w 156008"/>
                  <a:gd name="connsiteY9" fmla="*/ 14740 h 68882"/>
                  <a:gd name="connsiteX10" fmla="*/ 152209 w 156008"/>
                  <a:gd name="connsiteY10" fmla="*/ 60334 h 68882"/>
                  <a:gd name="connsiteX11" fmla="*/ 146509 w 156008"/>
                  <a:gd name="connsiteY11" fmla="*/ 68883 h 68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6008" h="68882">
                    <a:moveTo>
                      <a:pt x="146509" y="68883"/>
                    </a:moveTo>
                    <a:cubicBezTo>
                      <a:pt x="146509" y="68883"/>
                      <a:pt x="146509" y="68883"/>
                      <a:pt x="146509" y="68883"/>
                    </a:cubicBezTo>
                    <a:cubicBezTo>
                      <a:pt x="140811" y="66033"/>
                      <a:pt x="140811" y="63184"/>
                      <a:pt x="140811" y="60334"/>
                    </a:cubicBezTo>
                    <a:cubicBezTo>
                      <a:pt x="140811" y="60334"/>
                      <a:pt x="149360" y="37537"/>
                      <a:pt x="143660" y="23289"/>
                    </a:cubicBezTo>
                    <a:cubicBezTo>
                      <a:pt x="140811" y="17590"/>
                      <a:pt x="135112" y="14740"/>
                      <a:pt x="129412" y="14740"/>
                    </a:cubicBezTo>
                    <a:cubicBezTo>
                      <a:pt x="89517" y="6192"/>
                      <a:pt x="9729" y="54635"/>
                      <a:pt x="9729" y="54635"/>
                    </a:cubicBezTo>
                    <a:cubicBezTo>
                      <a:pt x="6880" y="57485"/>
                      <a:pt x="4029" y="54635"/>
                      <a:pt x="1180" y="51785"/>
                    </a:cubicBezTo>
                    <a:cubicBezTo>
                      <a:pt x="-1669" y="48936"/>
                      <a:pt x="1180" y="46086"/>
                      <a:pt x="4029" y="43236"/>
                    </a:cubicBezTo>
                    <a:cubicBezTo>
                      <a:pt x="6880" y="40387"/>
                      <a:pt x="86668" y="-5207"/>
                      <a:pt x="129412" y="492"/>
                    </a:cubicBezTo>
                    <a:cubicBezTo>
                      <a:pt x="140811" y="3342"/>
                      <a:pt x="146509" y="6192"/>
                      <a:pt x="152209" y="14740"/>
                    </a:cubicBezTo>
                    <a:cubicBezTo>
                      <a:pt x="160757" y="31838"/>
                      <a:pt x="152209" y="60334"/>
                      <a:pt x="152209" y="60334"/>
                    </a:cubicBezTo>
                    <a:cubicBezTo>
                      <a:pt x="152209" y="68883"/>
                      <a:pt x="149360" y="68883"/>
                      <a:pt x="146509" y="68883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C1E1FC2A-064F-403D-8209-C6FABEEC12C7}"/>
                  </a:ext>
                </a:extLst>
              </p:cNvPr>
              <p:cNvSpPr/>
              <p:nvPr/>
            </p:nvSpPr>
            <p:spPr>
              <a:xfrm>
                <a:off x="23808201" y="3974934"/>
                <a:ext cx="15844" cy="94037"/>
              </a:xfrm>
              <a:custGeom>
                <a:avLst/>
                <a:gdLst>
                  <a:gd name="connsiteX0" fmla="*/ 5700 w 15844"/>
                  <a:gd name="connsiteY0" fmla="*/ 94037 h 94037"/>
                  <a:gd name="connsiteX1" fmla="*/ 5700 w 15844"/>
                  <a:gd name="connsiteY1" fmla="*/ 94037 h 94037"/>
                  <a:gd name="connsiteX2" fmla="*/ 0 w 15844"/>
                  <a:gd name="connsiteY2" fmla="*/ 88338 h 94037"/>
                  <a:gd name="connsiteX3" fmla="*/ 5700 w 15844"/>
                  <a:gd name="connsiteY3" fmla="*/ 5699 h 94037"/>
                  <a:gd name="connsiteX4" fmla="*/ 8550 w 15844"/>
                  <a:gd name="connsiteY4" fmla="*/ 0 h 94037"/>
                  <a:gd name="connsiteX5" fmla="*/ 14248 w 15844"/>
                  <a:gd name="connsiteY5" fmla="*/ 2850 h 94037"/>
                  <a:gd name="connsiteX6" fmla="*/ 8550 w 15844"/>
                  <a:gd name="connsiteY6" fmla="*/ 88338 h 94037"/>
                  <a:gd name="connsiteX7" fmla="*/ 5700 w 15844"/>
                  <a:gd name="connsiteY7" fmla="*/ 94037 h 9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844" h="94037">
                    <a:moveTo>
                      <a:pt x="5700" y="94037"/>
                    </a:moveTo>
                    <a:cubicBezTo>
                      <a:pt x="5700" y="94037"/>
                      <a:pt x="5700" y="94037"/>
                      <a:pt x="5700" y="94037"/>
                    </a:cubicBezTo>
                    <a:cubicBezTo>
                      <a:pt x="2851" y="94037"/>
                      <a:pt x="0" y="91187"/>
                      <a:pt x="0" y="88338"/>
                    </a:cubicBezTo>
                    <a:cubicBezTo>
                      <a:pt x="2851" y="71240"/>
                      <a:pt x="8550" y="22797"/>
                      <a:pt x="5700" y="5699"/>
                    </a:cubicBezTo>
                    <a:cubicBezTo>
                      <a:pt x="5700" y="2850"/>
                      <a:pt x="5700" y="0"/>
                      <a:pt x="8550" y="0"/>
                    </a:cubicBezTo>
                    <a:cubicBezTo>
                      <a:pt x="11399" y="0"/>
                      <a:pt x="14248" y="0"/>
                      <a:pt x="14248" y="2850"/>
                    </a:cubicBezTo>
                    <a:cubicBezTo>
                      <a:pt x="19948" y="22797"/>
                      <a:pt x="8550" y="85488"/>
                      <a:pt x="8550" y="88338"/>
                    </a:cubicBezTo>
                    <a:cubicBezTo>
                      <a:pt x="11399" y="91187"/>
                      <a:pt x="8550" y="94037"/>
                      <a:pt x="5700" y="94037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9DC704B0-0482-4AAC-8359-164687F099CD}"/>
                </a:ext>
              </a:extLst>
            </p:cNvPr>
            <p:cNvSpPr/>
            <p:nvPr/>
          </p:nvSpPr>
          <p:spPr>
            <a:xfrm>
              <a:off x="22856674" y="3980633"/>
              <a:ext cx="780550" cy="356368"/>
            </a:xfrm>
            <a:custGeom>
              <a:avLst/>
              <a:gdLst>
                <a:gd name="connsiteX0" fmla="*/ 2609 w 780550"/>
                <a:gd name="connsiteY0" fmla="*/ 279261 h 356368"/>
                <a:gd name="connsiteX1" fmla="*/ 390156 w 780550"/>
                <a:gd name="connsiteY1" fmla="*/ 313456 h 356368"/>
                <a:gd name="connsiteX2" fmla="*/ 780551 w 780550"/>
                <a:gd name="connsiteY2" fmla="*/ 159578 h 356368"/>
                <a:gd name="connsiteX3" fmla="*/ 757754 w 780550"/>
                <a:gd name="connsiteY3" fmla="*/ 0 h 356368"/>
                <a:gd name="connsiteX4" fmla="*/ 2609 w 780550"/>
                <a:gd name="connsiteY4" fmla="*/ 279261 h 35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0550" h="356368">
                  <a:moveTo>
                    <a:pt x="2609" y="279261"/>
                  </a:moveTo>
                  <a:cubicBezTo>
                    <a:pt x="39653" y="401794"/>
                    <a:pt x="273321" y="350501"/>
                    <a:pt x="390156" y="313456"/>
                  </a:cubicBezTo>
                  <a:cubicBezTo>
                    <a:pt x="492741" y="282111"/>
                    <a:pt x="780551" y="159578"/>
                    <a:pt x="780551" y="159578"/>
                  </a:cubicBezTo>
                  <a:lnTo>
                    <a:pt x="757754" y="0"/>
                  </a:lnTo>
                  <a:cubicBezTo>
                    <a:pt x="754905" y="0"/>
                    <a:pt x="-51532" y="94037"/>
                    <a:pt x="2609" y="279261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CED1451A-1F81-4448-803F-4878A92E4A57}"/>
                </a:ext>
              </a:extLst>
            </p:cNvPr>
            <p:cNvSpPr/>
            <p:nvPr/>
          </p:nvSpPr>
          <p:spPr>
            <a:xfrm>
              <a:off x="22969237" y="3969235"/>
              <a:ext cx="673686" cy="364749"/>
            </a:xfrm>
            <a:custGeom>
              <a:avLst/>
              <a:gdLst>
                <a:gd name="connsiteX0" fmla="*/ 120865 w 673686"/>
                <a:gd name="connsiteY0" fmla="*/ 364749 h 364749"/>
                <a:gd name="connsiteX1" fmla="*/ 115165 w 673686"/>
                <a:gd name="connsiteY1" fmla="*/ 359050 h 364749"/>
                <a:gd name="connsiteX2" fmla="*/ 120865 w 673686"/>
                <a:gd name="connsiteY2" fmla="*/ 353351 h 364749"/>
                <a:gd name="connsiteX3" fmla="*/ 662289 w 673686"/>
                <a:gd name="connsiteY3" fmla="*/ 165277 h 364749"/>
                <a:gd name="connsiteX4" fmla="*/ 639491 w 673686"/>
                <a:gd name="connsiteY4" fmla="*/ 14248 h 364749"/>
                <a:gd name="connsiteX5" fmla="*/ 9729 w 673686"/>
                <a:gd name="connsiteY5" fmla="*/ 165277 h 364749"/>
                <a:gd name="connsiteX6" fmla="*/ 1181 w 673686"/>
                <a:gd name="connsiteY6" fmla="*/ 162427 h 364749"/>
                <a:gd name="connsiteX7" fmla="*/ 4030 w 673686"/>
                <a:gd name="connsiteY7" fmla="*/ 153878 h 364749"/>
                <a:gd name="connsiteX8" fmla="*/ 642342 w 673686"/>
                <a:gd name="connsiteY8" fmla="*/ 0 h 364749"/>
                <a:gd name="connsiteX9" fmla="*/ 648041 w 673686"/>
                <a:gd name="connsiteY9" fmla="*/ 0 h 364749"/>
                <a:gd name="connsiteX10" fmla="*/ 673687 w 673686"/>
                <a:gd name="connsiteY10" fmla="*/ 168126 h 364749"/>
                <a:gd name="connsiteX11" fmla="*/ 670838 w 673686"/>
                <a:gd name="connsiteY11" fmla="*/ 170976 h 364749"/>
                <a:gd name="connsiteX12" fmla="*/ 120865 w 673686"/>
                <a:gd name="connsiteY12" fmla="*/ 364749 h 364749"/>
                <a:gd name="connsiteX13" fmla="*/ 120865 w 673686"/>
                <a:gd name="connsiteY13" fmla="*/ 364749 h 36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73686" h="364749">
                  <a:moveTo>
                    <a:pt x="120865" y="364749"/>
                  </a:moveTo>
                  <a:cubicBezTo>
                    <a:pt x="118014" y="364749"/>
                    <a:pt x="115165" y="361900"/>
                    <a:pt x="115165" y="359050"/>
                  </a:cubicBezTo>
                  <a:cubicBezTo>
                    <a:pt x="115165" y="356201"/>
                    <a:pt x="118014" y="353351"/>
                    <a:pt x="120865" y="353351"/>
                  </a:cubicBezTo>
                  <a:cubicBezTo>
                    <a:pt x="291841" y="339103"/>
                    <a:pt x="622394" y="182375"/>
                    <a:pt x="662289" y="165277"/>
                  </a:cubicBezTo>
                  <a:lnTo>
                    <a:pt x="639491" y="14248"/>
                  </a:lnTo>
                  <a:cubicBezTo>
                    <a:pt x="585350" y="22797"/>
                    <a:pt x="126562" y="96886"/>
                    <a:pt x="9729" y="165277"/>
                  </a:cubicBezTo>
                  <a:cubicBezTo>
                    <a:pt x="6880" y="168126"/>
                    <a:pt x="4030" y="165277"/>
                    <a:pt x="1181" y="162427"/>
                  </a:cubicBezTo>
                  <a:cubicBezTo>
                    <a:pt x="-1670" y="159578"/>
                    <a:pt x="1181" y="156728"/>
                    <a:pt x="4030" y="153878"/>
                  </a:cubicBezTo>
                  <a:cubicBezTo>
                    <a:pt x="129413" y="79789"/>
                    <a:pt x="622394" y="2850"/>
                    <a:pt x="642342" y="0"/>
                  </a:cubicBezTo>
                  <a:lnTo>
                    <a:pt x="648041" y="0"/>
                  </a:lnTo>
                  <a:lnTo>
                    <a:pt x="673687" y="168126"/>
                  </a:lnTo>
                  <a:lnTo>
                    <a:pt x="670838" y="170976"/>
                  </a:lnTo>
                  <a:cubicBezTo>
                    <a:pt x="665138" y="176675"/>
                    <a:pt x="303238" y="350501"/>
                    <a:pt x="120865" y="364749"/>
                  </a:cubicBezTo>
                  <a:cubicBezTo>
                    <a:pt x="120865" y="364749"/>
                    <a:pt x="120865" y="364749"/>
                    <a:pt x="120865" y="364749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508861419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F6C3F871-B793-407A-B98F-603A483F8D7A}"/>
              </a:ext>
            </a:extLst>
          </p:cNvPr>
          <p:cNvGrpSpPr/>
          <p:nvPr/>
        </p:nvGrpSpPr>
        <p:grpSpPr>
          <a:xfrm>
            <a:off x="6535798" y="2676764"/>
            <a:ext cx="2349399" cy="4181236"/>
            <a:chOff x="6388314" y="8252503"/>
            <a:chExt cx="2349399" cy="4181236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96820781-4D7F-4DF3-9157-58E09DAE72CF}"/>
                </a:ext>
              </a:extLst>
            </p:cNvPr>
            <p:cNvSpPr/>
            <p:nvPr/>
          </p:nvSpPr>
          <p:spPr>
            <a:xfrm>
              <a:off x="6605917" y="9135499"/>
              <a:ext cx="763347" cy="741715"/>
            </a:xfrm>
            <a:custGeom>
              <a:avLst/>
              <a:gdLst>
                <a:gd name="connsiteX0" fmla="*/ 586242 w 763347"/>
                <a:gd name="connsiteY0" fmla="*/ 42812 h 741715"/>
                <a:gd name="connsiteX1" fmla="*/ 415266 w 763347"/>
                <a:gd name="connsiteY1" fmla="*/ 555741 h 741715"/>
                <a:gd name="connsiteX2" fmla="*/ 7773 w 763347"/>
                <a:gd name="connsiteY2" fmla="*/ 618432 h 741715"/>
                <a:gd name="connsiteX3" fmla="*/ 39118 w 763347"/>
                <a:gd name="connsiteY3" fmla="*/ 709620 h 741715"/>
                <a:gd name="connsiteX4" fmla="*/ 497904 w 763347"/>
                <a:gd name="connsiteY4" fmla="*/ 721018 h 741715"/>
                <a:gd name="connsiteX5" fmla="*/ 760068 w 763347"/>
                <a:gd name="connsiteY5" fmla="*/ 239435 h 741715"/>
                <a:gd name="connsiteX6" fmla="*/ 586242 w 763347"/>
                <a:gd name="connsiteY6" fmla="*/ 42812 h 741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3347" h="741715">
                  <a:moveTo>
                    <a:pt x="586242" y="42812"/>
                  </a:moveTo>
                  <a:cubicBezTo>
                    <a:pt x="540648" y="139699"/>
                    <a:pt x="415266" y="555741"/>
                    <a:pt x="415266" y="555741"/>
                  </a:cubicBezTo>
                  <a:cubicBezTo>
                    <a:pt x="415266" y="555741"/>
                    <a:pt x="7773" y="612733"/>
                    <a:pt x="7773" y="618432"/>
                  </a:cubicBezTo>
                  <a:cubicBezTo>
                    <a:pt x="-9325" y="681124"/>
                    <a:pt x="2073" y="701071"/>
                    <a:pt x="39118" y="709620"/>
                  </a:cubicBezTo>
                  <a:cubicBezTo>
                    <a:pt x="47667" y="712470"/>
                    <a:pt x="267087" y="772311"/>
                    <a:pt x="497904" y="721018"/>
                  </a:cubicBezTo>
                  <a:cubicBezTo>
                    <a:pt x="560596" y="706770"/>
                    <a:pt x="708775" y="373367"/>
                    <a:pt x="760068" y="239435"/>
                  </a:cubicBezTo>
                  <a:cubicBezTo>
                    <a:pt x="785715" y="162495"/>
                    <a:pt x="654633" y="-102518"/>
                    <a:pt x="586242" y="42812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3B8BA0FA-07A9-4849-8F1D-DBEFB82079E4}"/>
                </a:ext>
              </a:extLst>
            </p:cNvPr>
            <p:cNvSpPr/>
            <p:nvPr/>
          </p:nvSpPr>
          <p:spPr>
            <a:xfrm>
              <a:off x="7448624" y="8673091"/>
              <a:ext cx="139630" cy="191764"/>
            </a:xfrm>
            <a:custGeom>
              <a:avLst/>
              <a:gdLst>
                <a:gd name="connsiteX0" fmla="*/ 0 w 139630"/>
                <a:gd name="connsiteY0" fmla="*/ 840 h 191764"/>
                <a:gd name="connsiteX1" fmla="*/ 37045 w 139630"/>
                <a:gd name="connsiteY1" fmla="*/ 177516 h 191764"/>
                <a:gd name="connsiteX2" fmla="*/ 96886 w 139630"/>
                <a:gd name="connsiteY2" fmla="*/ 191764 h 191764"/>
                <a:gd name="connsiteX3" fmla="*/ 139630 w 139630"/>
                <a:gd name="connsiteY3" fmla="*/ 100576 h 191764"/>
                <a:gd name="connsiteX4" fmla="*/ 0 w 139630"/>
                <a:gd name="connsiteY4" fmla="*/ 840 h 191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630" h="191764">
                  <a:moveTo>
                    <a:pt x="0" y="840"/>
                  </a:moveTo>
                  <a:lnTo>
                    <a:pt x="37045" y="177516"/>
                  </a:lnTo>
                  <a:lnTo>
                    <a:pt x="96886" y="191764"/>
                  </a:lnTo>
                  <a:lnTo>
                    <a:pt x="139630" y="100576"/>
                  </a:lnTo>
                  <a:cubicBezTo>
                    <a:pt x="139630" y="97727"/>
                    <a:pt x="91187" y="-10558"/>
                    <a:pt x="0" y="840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F0B0ABB1-82EB-4A75-BE49-C2A52540BDB4}"/>
                </a:ext>
              </a:extLst>
            </p:cNvPr>
            <p:cNvGrpSpPr/>
            <p:nvPr/>
          </p:nvGrpSpPr>
          <p:grpSpPr>
            <a:xfrm>
              <a:off x="8400392" y="11720158"/>
              <a:ext cx="337322" cy="467093"/>
              <a:chOff x="8400392" y="11720158"/>
              <a:chExt cx="337322" cy="467093"/>
            </a:xfrm>
          </p:grpSpPr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7412177C-0BF7-4BDA-9173-ED271A8AFE2C}"/>
                  </a:ext>
                </a:extLst>
              </p:cNvPr>
              <p:cNvSpPr/>
              <p:nvPr/>
            </p:nvSpPr>
            <p:spPr>
              <a:xfrm>
                <a:off x="8491579" y="11808263"/>
                <a:ext cx="246134" cy="378988"/>
              </a:xfrm>
              <a:custGeom>
                <a:avLst/>
                <a:gdLst>
                  <a:gd name="connsiteX0" fmla="*/ 0 w 246134"/>
                  <a:gd name="connsiteY0" fmla="*/ 91420 h 378988"/>
                  <a:gd name="connsiteX1" fmla="*/ 96886 w 246134"/>
                  <a:gd name="connsiteY1" fmla="*/ 253847 h 378988"/>
                  <a:gd name="connsiteX2" fmla="*/ 68390 w 246134"/>
                  <a:gd name="connsiteY2" fmla="*/ 23030 h 378988"/>
                  <a:gd name="connsiteX3" fmla="*/ 62691 w 246134"/>
                  <a:gd name="connsiteY3" fmla="*/ 233 h 378988"/>
                  <a:gd name="connsiteX4" fmla="*/ 136781 w 246134"/>
                  <a:gd name="connsiteY4" fmla="*/ 11631 h 378988"/>
                  <a:gd name="connsiteX5" fmla="*/ 236517 w 246134"/>
                  <a:gd name="connsiteY5" fmla="*/ 65774 h 378988"/>
                  <a:gd name="connsiteX6" fmla="*/ 245066 w 246134"/>
                  <a:gd name="connsiteY6" fmla="*/ 88571 h 378988"/>
                  <a:gd name="connsiteX7" fmla="*/ 199472 w 246134"/>
                  <a:gd name="connsiteY7" fmla="*/ 239599 h 378988"/>
                  <a:gd name="connsiteX8" fmla="*/ 145330 w 246134"/>
                  <a:gd name="connsiteY8" fmla="*/ 376381 h 378988"/>
                  <a:gd name="connsiteX9" fmla="*/ 105435 w 246134"/>
                  <a:gd name="connsiteY9" fmla="*/ 359283 h 378988"/>
                  <a:gd name="connsiteX10" fmla="*/ 0 w 246134"/>
                  <a:gd name="connsiteY10" fmla="*/ 91420 h 378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6134" h="378988">
                    <a:moveTo>
                      <a:pt x="0" y="91420"/>
                    </a:moveTo>
                    <a:cubicBezTo>
                      <a:pt x="0" y="91420"/>
                      <a:pt x="82638" y="265246"/>
                      <a:pt x="96886" y="253847"/>
                    </a:cubicBezTo>
                    <a:cubicBezTo>
                      <a:pt x="111134" y="242449"/>
                      <a:pt x="68390" y="23030"/>
                      <a:pt x="68390" y="23030"/>
                    </a:cubicBezTo>
                    <a:lnTo>
                      <a:pt x="62691" y="233"/>
                    </a:lnTo>
                    <a:cubicBezTo>
                      <a:pt x="62691" y="233"/>
                      <a:pt x="113984" y="-2617"/>
                      <a:pt x="136781" y="11631"/>
                    </a:cubicBezTo>
                    <a:cubicBezTo>
                      <a:pt x="153878" y="23030"/>
                      <a:pt x="210871" y="51526"/>
                      <a:pt x="236517" y="65774"/>
                    </a:cubicBezTo>
                    <a:cubicBezTo>
                      <a:pt x="245066" y="71473"/>
                      <a:pt x="247915" y="80022"/>
                      <a:pt x="245066" y="88571"/>
                    </a:cubicBezTo>
                    <a:cubicBezTo>
                      <a:pt x="233667" y="122766"/>
                      <a:pt x="208021" y="211103"/>
                      <a:pt x="199472" y="239599"/>
                    </a:cubicBezTo>
                    <a:cubicBezTo>
                      <a:pt x="193773" y="259547"/>
                      <a:pt x="148179" y="367831"/>
                      <a:pt x="145330" y="376381"/>
                    </a:cubicBezTo>
                    <a:cubicBezTo>
                      <a:pt x="139630" y="384929"/>
                      <a:pt x="108285" y="370681"/>
                      <a:pt x="105435" y="359283"/>
                    </a:cubicBezTo>
                    <a:cubicBezTo>
                      <a:pt x="94037" y="276645"/>
                      <a:pt x="0" y="91420"/>
                      <a:pt x="0" y="9142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DD7FB19B-8B32-4049-949E-B22BCB7154A2}"/>
                  </a:ext>
                </a:extLst>
              </p:cNvPr>
              <p:cNvSpPr/>
              <p:nvPr/>
            </p:nvSpPr>
            <p:spPr>
              <a:xfrm>
                <a:off x="8400392" y="11720158"/>
                <a:ext cx="195919" cy="342489"/>
              </a:xfrm>
              <a:custGeom>
                <a:avLst/>
                <a:gdLst>
                  <a:gd name="connsiteX0" fmla="*/ 0 w 195919"/>
                  <a:gd name="connsiteY0" fmla="*/ 91188 h 342489"/>
                  <a:gd name="connsiteX1" fmla="*/ 91188 w 195919"/>
                  <a:gd name="connsiteY1" fmla="*/ 179526 h 342489"/>
                  <a:gd name="connsiteX2" fmla="*/ 188074 w 195919"/>
                  <a:gd name="connsiteY2" fmla="*/ 341953 h 342489"/>
                  <a:gd name="connsiteX3" fmla="*/ 151029 w 195919"/>
                  <a:gd name="connsiteY3" fmla="*/ 85488 h 342489"/>
                  <a:gd name="connsiteX4" fmla="*/ 37045 w 195919"/>
                  <a:gd name="connsiteY4" fmla="*/ 0 h 342489"/>
                  <a:gd name="connsiteX5" fmla="*/ 0 w 195919"/>
                  <a:gd name="connsiteY5" fmla="*/ 91188 h 342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5919" h="342489">
                    <a:moveTo>
                      <a:pt x="0" y="91188"/>
                    </a:moveTo>
                    <a:lnTo>
                      <a:pt x="91188" y="179526"/>
                    </a:lnTo>
                    <a:cubicBezTo>
                      <a:pt x="91188" y="179526"/>
                      <a:pt x="165277" y="353352"/>
                      <a:pt x="188074" y="341953"/>
                    </a:cubicBezTo>
                    <a:cubicBezTo>
                      <a:pt x="210871" y="330554"/>
                      <a:pt x="179525" y="96887"/>
                      <a:pt x="151029" y="85488"/>
                    </a:cubicBezTo>
                    <a:cubicBezTo>
                      <a:pt x="108285" y="65541"/>
                      <a:pt x="37045" y="0"/>
                      <a:pt x="37045" y="0"/>
                    </a:cubicBezTo>
                    <a:lnTo>
                      <a:pt x="0" y="91188"/>
                    </a:ln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63395836-918D-4A40-9AD3-8A403506885C}"/>
                </a:ext>
              </a:extLst>
            </p:cNvPr>
            <p:cNvSpPr/>
            <p:nvPr/>
          </p:nvSpPr>
          <p:spPr>
            <a:xfrm>
              <a:off x="8645458" y="11836992"/>
              <a:ext cx="35375" cy="168126"/>
            </a:xfrm>
            <a:custGeom>
              <a:avLst/>
              <a:gdLst>
                <a:gd name="connsiteX0" fmla="*/ 31346 w 35375"/>
                <a:gd name="connsiteY0" fmla="*/ 168126 h 168126"/>
                <a:gd name="connsiteX1" fmla="*/ 25646 w 35375"/>
                <a:gd name="connsiteY1" fmla="*/ 162428 h 168126"/>
                <a:gd name="connsiteX2" fmla="*/ 0 w 35375"/>
                <a:gd name="connsiteY2" fmla="*/ 5700 h 168126"/>
                <a:gd name="connsiteX3" fmla="*/ 2850 w 35375"/>
                <a:gd name="connsiteY3" fmla="*/ 0 h 168126"/>
                <a:gd name="connsiteX4" fmla="*/ 8549 w 35375"/>
                <a:gd name="connsiteY4" fmla="*/ 2850 h 168126"/>
                <a:gd name="connsiteX5" fmla="*/ 34195 w 35375"/>
                <a:gd name="connsiteY5" fmla="*/ 162428 h 168126"/>
                <a:gd name="connsiteX6" fmla="*/ 31346 w 35375"/>
                <a:gd name="connsiteY6" fmla="*/ 168126 h 168126"/>
                <a:gd name="connsiteX7" fmla="*/ 31346 w 35375"/>
                <a:gd name="connsiteY7" fmla="*/ 168126 h 168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375" h="168126">
                  <a:moveTo>
                    <a:pt x="31346" y="168126"/>
                  </a:moveTo>
                  <a:cubicBezTo>
                    <a:pt x="28496" y="168126"/>
                    <a:pt x="25646" y="165278"/>
                    <a:pt x="25646" y="162428"/>
                  </a:cubicBezTo>
                  <a:cubicBezTo>
                    <a:pt x="22797" y="125382"/>
                    <a:pt x="0" y="5700"/>
                    <a:pt x="0" y="5700"/>
                  </a:cubicBezTo>
                  <a:cubicBezTo>
                    <a:pt x="0" y="2850"/>
                    <a:pt x="0" y="0"/>
                    <a:pt x="2850" y="0"/>
                  </a:cubicBezTo>
                  <a:cubicBezTo>
                    <a:pt x="5699" y="0"/>
                    <a:pt x="8549" y="0"/>
                    <a:pt x="8549" y="2850"/>
                  </a:cubicBezTo>
                  <a:cubicBezTo>
                    <a:pt x="8549" y="8549"/>
                    <a:pt x="31346" y="122534"/>
                    <a:pt x="34195" y="162428"/>
                  </a:cubicBezTo>
                  <a:cubicBezTo>
                    <a:pt x="37045" y="165278"/>
                    <a:pt x="34195" y="168126"/>
                    <a:pt x="31346" y="168126"/>
                  </a:cubicBezTo>
                  <a:lnTo>
                    <a:pt x="31346" y="168126"/>
                  </a:ln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193E09BD-D529-42D4-9A66-05B3AA302AEE}"/>
                </a:ext>
              </a:extLst>
            </p:cNvPr>
            <p:cNvGrpSpPr/>
            <p:nvPr/>
          </p:nvGrpSpPr>
          <p:grpSpPr>
            <a:xfrm>
              <a:off x="7174350" y="12059262"/>
              <a:ext cx="340729" cy="374477"/>
              <a:chOff x="7174350" y="12059262"/>
              <a:chExt cx="340729" cy="374477"/>
            </a:xfrm>
          </p:grpSpPr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2996CC1B-A14E-49DF-A403-3FC1F9003A8C}"/>
                  </a:ext>
                </a:extLst>
              </p:cNvPr>
              <p:cNvSpPr/>
              <p:nvPr/>
            </p:nvSpPr>
            <p:spPr>
              <a:xfrm>
                <a:off x="7174350" y="12187494"/>
                <a:ext cx="340729" cy="246245"/>
              </a:xfrm>
              <a:custGeom>
                <a:avLst/>
                <a:gdLst>
                  <a:gd name="connsiteX0" fmla="*/ 211583 w 340729"/>
                  <a:gd name="connsiteY0" fmla="*/ 0 h 246245"/>
                  <a:gd name="connsiteX1" fmla="*/ 100448 w 340729"/>
                  <a:gd name="connsiteY1" fmla="*/ 153878 h 246245"/>
                  <a:gd name="connsiteX2" fmla="*/ 302770 w 340729"/>
                  <a:gd name="connsiteY2" fmla="*/ 34195 h 246245"/>
                  <a:gd name="connsiteX3" fmla="*/ 322717 w 340729"/>
                  <a:gd name="connsiteY3" fmla="*/ 19947 h 246245"/>
                  <a:gd name="connsiteX4" fmla="*/ 339815 w 340729"/>
                  <a:gd name="connsiteY4" fmla="*/ 91187 h 246245"/>
                  <a:gd name="connsiteX5" fmla="*/ 328417 w 340729"/>
                  <a:gd name="connsiteY5" fmla="*/ 205171 h 246245"/>
                  <a:gd name="connsiteX6" fmla="*/ 311319 w 340729"/>
                  <a:gd name="connsiteY6" fmla="*/ 222269 h 246245"/>
                  <a:gd name="connsiteX7" fmla="*/ 154591 w 340729"/>
                  <a:gd name="connsiteY7" fmla="*/ 242216 h 246245"/>
                  <a:gd name="connsiteX8" fmla="*/ 6412 w 340729"/>
                  <a:gd name="connsiteY8" fmla="*/ 245065 h 246245"/>
                  <a:gd name="connsiteX9" fmla="*/ 6412 w 340729"/>
                  <a:gd name="connsiteY9" fmla="*/ 202321 h 246245"/>
                  <a:gd name="connsiteX10" fmla="*/ 211583 w 340729"/>
                  <a:gd name="connsiteY10" fmla="*/ 0 h 246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0729" h="246245">
                    <a:moveTo>
                      <a:pt x="211583" y="0"/>
                    </a:moveTo>
                    <a:cubicBezTo>
                      <a:pt x="211583" y="0"/>
                      <a:pt x="86200" y="145329"/>
                      <a:pt x="100448" y="153878"/>
                    </a:cubicBezTo>
                    <a:cubicBezTo>
                      <a:pt x="117546" y="162427"/>
                      <a:pt x="302770" y="34195"/>
                      <a:pt x="302770" y="34195"/>
                    </a:cubicBezTo>
                    <a:lnTo>
                      <a:pt x="322717" y="19947"/>
                    </a:lnTo>
                    <a:cubicBezTo>
                      <a:pt x="322717" y="19947"/>
                      <a:pt x="345514" y="65541"/>
                      <a:pt x="339815" y="91187"/>
                    </a:cubicBezTo>
                    <a:cubicBezTo>
                      <a:pt x="336966" y="111134"/>
                      <a:pt x="331266" y="173825"/>
                      <a:pt x="328417" y="205171"/>
                    </a:cubicBezTo>
                    <a:cubicBezTo>
                      <a:pt x="328417" y="213720"/>
                      <a:pt x="319868" y="222269"/>
                      <a:pt x="311319" y="222269"/>
                    </a:cubicBezTo>
                    <a:cubicBezTo>
                      <a:pt x="274274" y="225119"/>
                      <a:pt x="185936" y="236517"/>
                      <a:pt x="154591" y="242216"/>
                    </a:cubicBezTo>
                    <a:cubicBezTo>
                      <a:pt x="134644" y="245065"/>
                      <a:pt x="17810" y="247915"/>
                      <a:pt x="6412" y="245065"/>
                    </a:cubicBezTo>
                    <a:cubicBezTo>
                      <a:pt x="-2137" y="245065"/>
                      <a:pt x="-2137" y="208021"/>
                      <a:pt x="6412" y="202321"/>
                    </a:cubicBezTo>
                    <a:cubicBezTo>
                      <a:pt x="80501" y="159577"/>
                      <a:pt x="211583" y="0"/>
                      <a:pt x="211583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760DB1B1-079D-4D19-9928-07EA6F1C16ED}"/>
                  </a:ext>
                </a:extLst>
              </p:cNvPr>
              <p:cNvSpPr/>
              <p:nvPr/>
            </p:nvSpPr>
            <p:spPr>
              <a:xfrm>
                <a:off x="7275582" y="12059262"/>
                <a:ext cx="224334" cy="283739"/>
              </a:xfrm>
              <a:custGeom>
                <a:avLst/>
                <a:gdLst>
                  <a:gd name="connsiteX0" fmla="*/ 104652 w 224334"/>
                  <a:gd name="connsiteY0" fmla="*/ 0 h 283739"/>
                  <a:gd name="connsiteX1" fmla="*/ 113200 w 224334"/>
                  <a:gd name="connsiteY1" fmla="*/ 128232 h 283739"/>
                  <a:gd name="connsiteX2" fmla="*/ 2066 w 224334"/>
                  <a:gd name="connsiteY2" fmla="*/ 282111 h 283739"/>
                  <a:gd name="connsiteX3" fmla="*/ 221485 w 224334"/>
                  <a:gd name="connsiteY3" fmla="*/ 148179 h 283739"/>
                  <a:gd name="connsiteX4" fmla="*/ 224335 w 224334"/>
                  <a:gd name="connsiteY4" fmla="*/ 0 h 283739"/>
                  <a:gd name="connsiteX5" fmla="*/ 104652 w 224334"/>
                  <a:gd name="connsiteY5" fmla="*/ 0 h 283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4334" h="283739">
                    <a:moveTo>
                      <a:pt x="104652" y="0"/>
                    </a:moveTo>
                    <a:lnTo>
                      <a:pt x="113200" y="128232"/>
                    </a:lnTo>
                    <a:cubicBezTo>
                      <a:pt x="113200" y="128232"/>
                      <a:pt x="-17881" y="267863"/>
                      <a:pt x="2066" y="282111"/>
                    </a:cubicBezTo>
                    <a:cubicBezTo>
                      <a:pt x="22013" y="299208"/>
                      <a:pt x="224335" y="176675"/>
                      <a:pt x="221485" y="148179"/>
                    </a:cubicBezTo>
                    <a:cubicBezTo>
                      <a:pt x="221485" y="102585"/>
                      <a:pt x="224335" y="0"/>
                      <a:pt x="224335" y="0"/>
                    </a:cubicBezTo>
                    <a:lnTo>
                      <a:pt x="104652" y="0"/>
                    </a:ln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5CA2BCEF-5A14-4357-95D5-18CAE36C64E3}"/>
                </a:ext>
              </a:extLst>
            </p:cNvPr>
            <p:cNvSpPr/>
            <p:nvPr/>
          </p:nvSpPr>
          <p:spPr>
            <a:xfrm>
              <a:off x="7136895" y="9793826"/>
              <a:ext cx="1383180" cy="2348892"/>
            </a:xfrm>
            <a:custGeom>
              <a:avLst/>
              <a:gdLst>
                <a:gd name="connsiteX0" fmla="*/ 838906 w 1383180"/>
                <a:gd name="connsiteY0" fmla="*/ 0 h 2348892"/>
                <a:gd name="connsiteX1" fmla="*/ 214843 w 1383180"/>
                <a:gd name="connsiteY1" fmla="*/ 0 h 2348892"/>
                <a:gd name="connsiteX2" fmla="*/ 103708 w 1383180"/>
                <a:gd name="connsiteY2" fmla="*/ 430290 h 2348892"/>
                <a:gd name="connsiteX3" fmla="*/ 3972 w 1383180"/>
                <a:gd name="connsiteY3" fmla="*/ 1262374 h 2348892"/>
                <a:gd name="connsiteX4" fmla="*/ 6822 w 1383180"/>
                <a:gd name="connsiteY4" fmla="*/ 1427651 h 2348892"/>
                <a:gd name="connsiteX5" fmla="*/ 220542 w 1383180"/>
                <a:gd name="connsiteY5" fmla="*/ 2336676 h 2348892"/>
                <a:gd name="connsiteX6" fmla="*/ 363022 w 1383180"/>
                <a:gd name="connsiteY6" fmla="*/ 2339524 h 2348892"/>
                <a:gd name="connsiteX7" fmla="*/ 391518 w 1383180"/>
                <a:gd name="connsiteY7" fmla="*/ 1453298 h 2348892"/>
                <a:gd name="connsiteX8" fmla="*/ 405766 w 1383180"/>
                <a:gd name="connsiteY8" fmla="*/ 1305118 h 2348892"/>
                <a:gd name="connsiteX9" fmla="*/ 533998 w 1383180"/>
                <a:gd name="connsiteY9" fmla="*/ 763694 h 2348892"/>
                <a:gd name="connsiteX10" fmla="*/ 579592 w 1383180"/>
                <a:gd name="connsiteY10" fmla="*/ 1541635 h 2348892"/>
                <a:gd name="connsiteX11" fmla="*/ 619487 w 1383180"/>
                <a:gd name="connsiteY11" fmla="*/ 1638522 h 2348892"/>
                <a:gd name="connsiteX12" fmla="*/ 1309091 w 1383180"/>
                <a:gd name="connsiteY12" fmla="*/ 2103008 h 2348892"/>
                <a:gd name="connsiteX13" fmla="*/ 1383181 w 1383180"/>
                <a:gd name="connsiteY13" fmla="*/ 1980475 h 2348892"/>
                <a:gd name="connsiteX14" fmla="*/ 927244 w 1383180"/>
                <a:gd name="connsiteY14" fmla="*/ 1473245 h 2348892"/>
                <a:gd name="connsiteX15" fmla="*/ 958589 w 1383180"/>
                <a:gd name="connsiteY15" fmla="*/ 447387 h 2348892"/>
                <a:gd name="connsiteX16" fmla="*/ 838906 w 1383180"/>
                <a:gd name="connsiteY16" fmla="*/ 0 h 2348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83180" h="2348892">
                  <a:moveTo>
                    <a:pt x="838906" y="0"/>
                  </a:moveTo>
                  <a:lnTo>
                    <a:pt x="214843" y="0"/>
                  </a:lnTo>
                  <a:cubicBezTo>
                    <a:pt x="214843" y="0"/>
                    <a:pt x="123655" y="284960"/>
                    <a:pt x="103708" y="430290"/>
                  </a:cubicBezTo>
                  <a:cubicBezTo>
                    <a:pt x="98009" y="484433"/>
                    <a:pt x="29619" y="1048654"/>
                    <a:pt x="3972" y="1262374"/>
                  </a:cubicBezTo>
                  <a:cubicBezTo>
                    <a:pt x="-1727" y="1316517"/>
                    <a:pt x="-1727" y="1373509"/>
                    <a:pt x="6822" y="1427651"/>
                  </a:cubicBezTo>
                  <a:cubicBezTo>
                    <a:pt x="43867" y="1667019"/>
                    <a:pt x="157851" y="2333826"/>
                    <a:pt x="220542" y="2336676"/>
                  </a:cubicBezTo>
                  <a:cubicBezTo>
                    <a:pt x="297481" y="2350924"/>
                    <a:pt x="331676" y="2353773"/>
                    <a:pt x="363022" y="2339524"/>
                  </a:cubicBezTo>
                  <a:cubicBezTo>
                    <a:pt x="405766" y="2319578"/>
                    <a:pt x="394368" y="1675567"/>
                    <a:pt x="391518" y="1453298"/>
                  </a:cubicBezTo>
                  <a:cubicBezTo>
                    <a:pt x="391518" y="1402005"/>
                    <a:pt x="394368" y="1353562"/>
                    <a:pt x="405766" y="1305118"/>
                  </a:cubicBezTo>
                  <a:lnTo>
                    <a:pt x="533998" y="763694"/>
                  </a:lnTo>
                  <a:cubicBezTo>
                    <a:pt x="533998" y="763694"/>
                    <a:pt x="559645" y="1396306"/>
                    <a:pt x="579592" y="1541635"/>
                  </a:cubicBezTo>
                  <a:cubicBezTo>
                    <a:pt x="585291" y="1584379"/>
                    <a:pt x="608088" y="1627123"/>
                    <a:pt x="619487" y="1638522"/>
                  </a:cubicBezTo>
                  <a:cubicBezTo>
                    <a:pt x="761967" y="1778153"/>
                    <a:pt x="1186558" y="2157150"/>
                    <a:pt x="1309091" y="2103008"/>
                  </a:cubicBezTo>
                  <a:cubicBezTo>
                    <a:pt x="1346136" y="2068812"/>
                    <a:pt x="1371782" y="2028918"/>
                    <a:pt x="1383181" y="1980475"/>
                  </a:cubicBezTo>
                  <a:cubicBezTo>
                    <a:pt x="1383181" y="1823747"/>
                    <a:pt x="927244" y="1473245"/>
                    <a:pt x="927244" y="1473245"/>
                  </a:cubicBezTo>
                  <a:cubicBezTo>
                    <a:pt x="927244" y="1473245"/>
                    <a:pt x="975687" y="612665"/>
                    <a:pt x="958589" y="447387"/>
                  </a:cubicBezTo>
                  <a:cubicBezTo>
                    <a:pt x="935792" y="208021"/>
                    <a:pt x="838906" y="0"/>
                    <a:pt x="838906" y="0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75F9C645-C4AB-40DE-B7C8-90A0FB31C5A6}"/>
                </a:ext>
              </a:extLst>
            </p:cNvPr>
            <p:cNvSpPr/>
            <p:nvPr/>
          </p:nvSpPr>
          <p:spPr>
            <a:xfrm>
              <a:off x="7625299" y="10158575"/>
              <a:ext cx="99736" cy="1000211"/>
            </a:xfrm>
            <a:custGeom>
              <a:avLst/>
              <a:gdLst>
                <a:gd name="connsiteX0" fmla="*/ 94037 w 99736"/>
                <a:gd name="connsiteY0" fmla="*/ 1000211 h 1000211"/>
                <a:gd name="connsiteX1" fmla="*/ 88338 w 99736"/>
                <a:gd name="connsiteY1" fmla="*/ 997362 h 1000211"/>
                <a:gd name="connsiteX2" fmla="*/ 39895 w 99736"/>
                <a:gd name="connsiteY2" fmla="*/ 396095 h 1000211"/>
                <a:gd name="connsiteX3" fmla="*/ 0 w 99736"/>
                <a:gd name="connsiteY3" fmla="*/ 5700 h 1000211"/>
                <a:gd name="connsiteX4" fmla="*/ 5699 w 99736"/>
                <a:gd name="connsiteY4" fmla="*/ 0 h 1000211"/>
                <a:gd name="connsiteX5" fmla="*/ 11399 w 99736"/>
                <a:gd name="connsiteY5" fmla="*/ 5700 h 1000211"/>
                <a:gd name="connsiteX6" fmla="*/ 51293 w 99736"/>
                <a:gd name="connsiteY6" fmla="*/ 396095 h 1000211"/>
                <a:gd name="connsiteX7" fmla="*/ 99736 w 99736"/>
                <a:gd name="connsiteY7" fmla="*/ 994512 h 1000211"/>
                <a:gd name="connsiteX8" fmla="*/ 94037 w 99736"/>
                <a:gd name="connsiteY8" fmla="*/ 1000211 h 1000211"/>
                <a:gd name="connsiteX9" fmla="*/ 94037 w 99736"/>
                <a:gd name="connsiteY9" fmla="*/ 1000211 h 1000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736" h="1000211">
                  <a:moveTo>
                    <a:pt x="94037" y="1000211"/>
                  </a:moveTo>
                  <a:cubicBezTo>
                    <a:pt x="91187" y="1000211"/>
                    <a:pt x="91187" y="1000211"/>
                    <a:pt x="88338" y="997362"/>
                  </a:cubicBezTo>
                  <a:cubicBezTo>
                    <a:pt x="82639" y="980264"/>
                    <a:pt x="42744" y="455937"/>
                    <a:pt x="39895" y="396095"/>
                  </a:cubicBezTo>
                  <a:lnTo>
                    <a:pt x="0" y="5700"/>
                  </a:lnTo>
                  <a:cubicBezTo>
                    <a:pt x="0" y="2850"/>
                    <a:pt x="2850" y="0"/>
                    <a:pt x="5699" y="0"/>
                  </a:cubicBezTo>
                  <a:cubicBezTo>
                    <a:pt x="8549" y="0"/>
                    <a:pt x="11399" y="2850"/>
                    <a:pt x="11399" y="5700"/>
                  </a:cubicBezTo>
                  <a:lnTo>
                    <a:pt x="51293" y="396095"/>
                  </a:lnTo>
                  <a:cubicBezTo>
                    <a:pt x="68391" y="629763"/>
                    <a:pt x="94037" y="980264"/>
                    <a:pt x="99736" y="994512"/>
                  </a:cubicBezTo>
                  <a:cubicBezTo>
                    <a:pt x="99736" y="997362"/>
                    <a:pt x="99736" y="1000211"/>
                    <a:pt x="94037" y="1000211"/>
                  </a:cubicBezTo>
                  <a:cubicBezTo>
                    <a:pt x="96887" y="1000211"/>
                    <a:pt x="94037" y="1000211"/>
                    <a:pt x="94037" y="1000211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899A117D-FC8E-47E1-95D6-10C3DD5EBDCF}"/>
                </a:ext>
              </a:extLst>
            </p:cNvPr>
            <p:cNvSpPr/>
            <p:nvPr/>
          </p:nvSpPr>
          <p:spPr>
            <a:xfrm>
              <a:off x="7727885" y="8528602"/>
              <a:ext cx="230817" cy="341952"/>
            </a:xfrm>
            <a:custGeom>
              <a:avLst/>
              <a:gdLst>
                <a:gd name="connsiteX0" fmla="*/ 230818 w 230817"/>
                <a:gd name="connsiteY0" fmla="*/ 0 h 341952"/>
                <a:gd name="connsiteX1" fmla="*/ 116834 w 230817"/>
                <a:gd name="connsiteY1" fmla="*/ 336253 h 341952"/>
                <a:gd name="connsiteX2" fmla="*/ 42744 w 230817"/>
                <a:gd name="connsiteY2" fmla="*/ 341953 h 341952"/>
                <a:gd name="connsiteX3" fmla="*/ 0 w 230817"/>
                <a:gd name="connsiteY3" fmla="*/ 233667 h 341952"/>
                <a:gd name="connsiteX4" fmla="*/ 85488 w 230817"/>
                <a:gd name="connsiteY4" fmla="*/ 105435 h 341952"/>
                <a:gd name="connsiteX5" fmla="*/ 230818 w 230817"/>
                <a:gd name="connsiteY5" fmla="*/ 0 h 341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817" h="341952">
                  <a:moveTo>
                    <a:pt x="230818" y="0"/>
                  </a:moveTo>
                  <a:cubicBezTo>
                    <a:pt x="230818" y="0"/>
                    <a:pt x="230818" y="170976"/>
                    <a:pt x="116834" y="336253"/>
                  </a:cubicBezTo>
                  <a:lnTo>
                    <a:pt x="42744" y="341953"/>
                  </a:lnTo>
                  <a:lnTo>
                    <a:pt x="0" y="233667"/>
                  </a:lnTo>
                  <a:lnTo>
                    <a:pt x="85488" y="105435"/>
                  </a:lnTo>
                  <a:lnTo>
                    <a:pt x="230818" y="0"/>
                  </a:ln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B7D9FA86-9F74-4857-8154-A878BAC469B3}"/>
                </a:ext>
              </a:extLst>
            </p:cNvPr>
            <p:cNvSpPr/>
            <p:nvPr/>
          </p:nvSpPr>
          <p:spPr>
            <a:xfrm>
              <a:off x="7132318" y="8947497"/>
              <a:ext cx="375753" cy="393241"/>
            </a:xfrm>
            <a:custGeom>
              <a:avLst/>
              <a:gdLst>
                <a:gd name="connsiteX0" fmla="*/ 327704 w 375753"/>
                <a:gd name="connsiteY0" fmla="*/ 393242 h 393241"/>
                <a:gd name="connsiteX1" fmla="*/ 322005 w 375753"/>
                <a:gd name="connsiteY1" fmla="*/ 14245 h 393241"/>
                <a:gd name="connsiteX2" fmla="*/ 0 w 375753"/>
                <a:gd name="connsiteY2" fmla="*/ 273559 h 393241"/>
                <a:gd name="connsiteX3" fmla="*/ 327704 w 375753"/>
                <a:gd name="connsiteY3" fmla="*/ 393242 h 393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753" h="393241">
                  <a:moveTo>
                    <a:pt x="327704" y="393242"/>
                  </a:moveTo>
                  <a:cubicBezTo>
                    <a:pt x="404644" y="239363"/>
                    <a:pt x="378997" y="59839"/>
                    <a:pt x="322005" y="14245"/>
                  </a:cubicBezTo>
                  <a:cubicBezTo>
                    <a:pt x="245066" y="-45597"/>
                    <a:pt x="65541" y="91184"/>
                    <a:pt x="0" y="273559"/>
                  </a:cubicBezTo>
                  <a:cubicBezTo>
                    <a:pt x="39895" y="330551"/>
                    <a:pt x="233668" y="381844"/>
                    <a:pt x="327704" y="393242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8D0D244A-17E2-4FEB-BC31-4BC40A283BFD}"/>
                </a:ext>
              </a:extLst>
            </p:cNvPr>
            <p:cNvSpPr/>
            <p:nvPr/>
          </p:nvSpPr>
          <p:spPr>
            <a:xfrm>
              <a:off x="7264435" y="8897727"/>
              <a:ext cx="764121" cy="921829"/>
            </a:xfrm>
            <a:custGeom>
              <a:avLst/>
              <a:gdLst>
                <a:gd name="connsiteX0" fmla="*/ 722764 w 764121"/>
                <a:gd name="connsiteY0" fmla="*/ 366073 h 921829"/>
                <a:gd name="connsiteX1" fmla="*/ 708516 w 764121"/>
                <a:gd name="connsiteY1" fmla="*/ 64015 h 921829"/>
                <a:gd name="connsiteX2" fmla="*/ 363714 w 764121"/>
                <a:gd name="connsiteY2" fmla="*/ 4173 h 921829"/>
                <a:gd name="connsiteX3" fmla="*/ 84453 w 764121"/>
                <a:gd name="connsiteY3" fmla="*/ 98210 h 921829"/>
                <a:gd name="connsiteX4" fmla="*/ 47408 w 764121"/>
                <a:gd name="connsiteY4" fmla="*/ 611139 h 921829"/>
                <a:gd name="connsiteX5" fmla="*/ 87303 w 764121"/>
                <a:gd name="connsiteY5" fmla="*/ 916046 h 921829"/>
                <a:gd name="connsiteX6" fmla="*/ 719915 w 764121"/>
                <a:gd name="connsiteY6" fmla="*/ 901798 h 921829"/>
                <a:gd name="connsiteX7" fmla="*/ 722764 w 764121"/>
                <a:gd name="connsiteY7" fmla="*/ 366073 h 921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4121" h="921829">
                  <a:moveTo>
                    <a:pt x="722764" y="366073"/>
                  </a:moveTo>
                  <a:cubicBezTo>
                    <a:pt x="731313" y="337577"/>
                    <a:pt x="819651" y="123857"/>
                    <a:pt x="708516" y="64015"/>
                  </a:cubicBezTo>
                  <a:cubicBezTo>
                    <a:pt x="611630" y="12722"/>
                    <a:pt x="474849" y="-10075"/>
                    <a:pt x="363714" y="4173"/>
                  </a:cubicBezTo>
                  <a:cubicBezTo>
                    <a:pt x="241181" y="18421"/>
                    <a:pt x="118648" y="38369"/>
                    <a:pt x="84453" y="98210"/>
                  </a:cubicBezTo>
                  <a:cubicBezTo>
                    <a:pt x="-20982" y="272036"/>
                    <a:pt x="-20982" y="425915"/>
                    <a:pt x="47408" y="611139"/>
                  </a:cubicBezTo>
                  <a:cubicBezTo>
                    <a:pt x="67355" y="665281"/>
                    <a:pt x="73055" y="790664"/>
                    <a:pt x="87303" y="916046"/>
                  </a:cubicBezTo>
                  <a:cubicBezTo>
                    <a:pt x="87303" y="916046"/>
                    <a:pt x="352316" y="935994"/>
                    <a:pt x="719915" y="901798"/>
                  </a:cubicBezTo>
                  <a:cubicBezTo>
                    <a:pt x="688569" y="696627"/>
                    <a:pt x="714216" y="388869"/>
                    <a:pt x="722764" y="366073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17D017FD-7C5F-4ED5-AC42-5E5987658B06}"/>
                </a:ext>
              </a:extLst>
            </p:cNvPr>
            <p:cNvSpPr/>
            <p:nvPr/>
          </p:nvSpPr>
          <p:spPr>
            <a:xfrm>
              <a:off x="7410204" y="8252503"/>
              <a:ext cx="300945" cy="551246"/>
            </a:xfrm>
            <a:custGeom>
              <a:avLst/>
              <a:gdLst>
                <a:gd name="connsiteX0" fmla="*/ 220795 w 300945"/>
                <a:gd name="connsiteY0" fmla="*/ 298896 h 551246"/>
                <a:gd name="connsiteX1" fmla="*/ 266389 w 300945"/>
                <a:gd name="connsiteY1" fmla="*/ 164964 h 551246"/>
                <a:gd name="connsiteX2" fmla="*/ 300584 w 300945"/>
                <a:gd name="connsiteY2" fmla="*/ 8236 h 551246"/>
                <a:gd name="connsiteX3" fmla="*/ 1375 w 300945"/>
                <a:gd name="connsiteY3" fmla="*/ 216257 h 551246"/>
                <a:gd name="connsiteX4" fmla="*/ 166653 w 300945"/>
                <a:gd name="connsiteY4" fmla="*/ 538262 h 551246"/>
                <a:gd name="connsiteX5" fmla="*/ 220795 w 300945"/>
                <a:gd name="connsiteY5" fmla="*/ 298896 h 551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0945" h="551246">
                  <a:moveTo>
                    <a:pt x="220795" y="298896"/>
                  </a:moveTo>
                  <a:cubicBezTo>
                    <a:pt x="229344" y="250452"/>
                    <a:pt x="243592" y="207708"/>
                    <a:pt x="266389" y="164964"/>
                  </a:cubicBezTo>
                  <a:cubicBezTo>
                    <a:pt x="289186" y="119370"/>
                    <a:pt x="303434" y="8236"/>
                    <a:pt x="300584" y="8236"/>
                  </a:cubicBezTo>
                  <a:cubicBezTo>
                    <a:pt x="195149" y="-28809"/>
                    <a:pt x="21323" y="62378"/>
                    <a:pt x="1375" y="216257"/>
                  </a:cubicBezTo>
                  <a:cubicBezTo>
                    <a:pt x="-7173" y="278948"/>
                    <a:pt x="21323" y="512616"/>
                    <a:pt x="166653" y="538262"/>
                  </a:cubicBezTo>
                  <a:cubicBezTo>
                    <a:pt x="257840" y="612352"/>
                    <a:pt x="212246" y="347339"/>
                    <a:pt x="220795" y="298896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091B399E-8163-44CA-A0AD-78E7734D351B}"/>
                </a:ext>
              </a:extLst>
            </p:cNvPr>
            <p:cNvSpPr/>
            <p:nvPr/>
          </p:nvSpPr>
          <p:spPr>
            <a:xfrm>
              <a:off x="7472526" y="8302670"/>
              <a:ext cx="394989" cy="531137"/>
            </a:xfrm>
            <a:custGeom>
              <a:avLst/>
              <a:gdLst>
                <a:gd name="connsiteX0" fmla="*/ 7444 w 394989"/>
                <a:gd name="connsiteY0" fmla="*/ 171789 h 531137"/>
                <a:gd name="connsiteX1" fmla="*/ 18842 w 394989"/>
                <a:gd name="connsiteY1" fmla="*/ 411156 h 531137"/>
                <a:gd name="connsiteX2" fmla="*/ 158473 w 394989"/>
                <a:gd name="connsiteY2" fmla="*/ 530839 h 531137"/>
                <a:gd name="connsiteX3" fmla="*/ 360795 w 394989"/>
                <a:gd name="connsiteY3" fmla="*/ 396908 h 531137"/>
                <a:gd name="connsiteX4" fmla="*/ 394990 w 394989"/>
                <a:gd name="connsiteY4" fmla="*/ 186037 h 531137"/>
                <a:gd name="connsiteX5" fmla="*/ 195518 w 394989"/>
                <a:gd name="connsiteY5" fmla="*/ 812 h 531137"/>
                <a:gd name="connsiteX6" fmla="*/ 7444 w 394989"/>
                <a:gd name="connsiteY6" fmla="*/ 171789 h 531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4989" h="531137">
                  <a:moveTo>
                    <a:pt x="7444" y="171789"/>
                  </a:moveTo>
                  <a:cubicBezTo>
                    <a:pt x="7444" y="171789"/>
                    <a:pt x="-15353" y="348464"/>
                    <a:pt x="18842" y="411156"/>
                  </a:cubicBezTo>
                  <a:cubicBezTo>
                    <a:pt x="53037" y="473847"/>
                    <a:pt x="110029" y="527989"/>
                    <a:pt x="158473" y="530839"/>
                  </a:cubicBezTo>
                  <a:cubicBezTo>
                    <a:pt x="221164" y="536538"/>
                    <a:pt x="326600" y="459599"/>
                    <a:pt x="360795" y="396908"/>
                  </a:cubicBezTo>
                  <a:cubicBezTo>
                    <a:pt x="394990" y="334216"/>
                    <a:pt x="394990" y="234480"/>
                    <a:pt x="394990" y="186037"/>
                  </a:cubicBezTo>
                  <a:cubicBezTo>
                    <a:pt x="392141" y="97699"/>
                    <a:pt x="366494" y="23609"/>
                    <a:pt x="195518" y="812"/>
                  </a:cubicBezTo>
                  <a:cubicBezTo>
                    <a:pt x="115729" y="-10586"/>
                    <a:pt x="27391" y="100549"/>
                    <a:pt x="7444" y="171789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869DF8BE-AC9A-48D7-9C44-DAD10C2B7A20}"/>
                </a:ext>
              </a:extLst>
            </p:cNvPr>
            <p:cNvSpPr/>
            <p:nvPr/>
          </p:nvSpPr>
          <p:spPr>
            <a:xfrm>
              <a:off x="7599653" y="8555917"/>
              <a:ext cx="51292" cy="123713"/>
            </a:xfrm>
            <a:custGeom>
              <a:avLst/>
              <a:gdLst>
                <a:gd name="connsiteX0" fmla="*/ 28496 w 51292"/>
                <a:gd name="connsiteY0" fmla="*/ 123714 h 123713"/>
                <a:gd name="connsiteX1" fmla="*/ 5699 w 51292"/>
                <a:gd name="connsiteY1" fmla="*/ 118014 h 123713"/>
                <a:gd name="connsiteX2" fmla="*/ 0 w 51292"/>
                <a:gd name="connsiteY2" fmla="*/ 106616 h 123713"/>
                <a:gd name="connsiteX3" fmla="*/ 25646 w 51292"/>
                <a:gd name="connsiteY3" fmla="*/ 4030 h 123713"/>
                <a:gd name="connsiteX4" fmla="*/ 31345 w 51292"/>
                <a:gd name="connsiteY4" fmla="*/ 1180 h 123713"/>
                <a:gd name="connsiteX5" fmla="*/ 34195 w 51292"/>
                <a:gd name="connsiteY5" fmla="*/ 6880 h 123713"/>
                <a:gd name="connsiteX6" fmla="*/ 8549 w 51292"/>
                <a:gd name="connsiteY6" fmla="*/ 106616 h 123713"/>
                <a:gd name="connsiteX7" fmla="*/ 8549 w 51292"/>
                <a:gd name="connsiteY7" fmla="*/ 109465 h 123713"/>
                <a:gd name="connsiteX8" fmla="*/ 45593 w 51292"/>
                <a:gd name="connsiteY8" fmla="*/ 109465 h 123713"/>
                <a:gd name="connsiteX9" fmla="*/ 51293 w 51292"/>
                <a:gd name="connsiteY9" fmla="*/ 115165 h 123713"/>
                <a:gd name="connsiteX10" fmla="*/ 45593 w 51292"/>
                <a:gd name="connsiteY10" fmla="*/ 120864 h 123713"/>
                <a:gd name="connsiteX11" fmla="*/ 28496 w 51292"/>
                <a:gd name="connsiteY11" fmla="*/ 123714 h 12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292" h="123713">
                  <a:moveTo>
                    <a:pt x="28496" y="123714"/>
                  </a:moveTo>
                  <a:cubicBezTo>
                    <a:pt x="19947" y="123714"/>
                    <a:pt x="11398" y="123714"/>
                    <a:pt x="5699" y="118014"/>
                  </a:cubicBezTo>
                  <a:cubicBezTo>
                    <a:pt x="2849" y="115165"/>
                    <a:pt x="0" y="112315"/>
                    <a:pt x="0" y="106616"/>
                  </a:cubicBezTo>
                  <a:cubicBezTo>
                    <a:pt x="0" y="86669"/>
                    <a:pt x="25646" y="6880"/>
                    <a:pt x="25646" y="4030"/>
                  </a:cubicBezTo>
                  <a:cubicBezTo>
                    <a:pt x="25646" y="1180"/>
                    <a:pt x="28496" y="-1669"/>
                    <a:pt x="31345" y="1180"/>
                  </a:cubicBezTo>
                  <a:cubicBezTo>
                    <a:pt x="34195" y="1180"/>
                    <a:pt x="37045" y="4030"/>
                    <a:pt x="34195" y="6880"/>
                  </a:cubicBezTo>
                  <a:cubicBezTo>
                    <a:pt x="28496" y="29676"/>
                    <a:pt x="8549" y="89518"/>
                    <a:pt x="8549" y="106616"/>
                  </a:cubicBezTo>
                  <a:cubicBezTo>
                    <a:pt x="8549" y="106616"/>
                    <a:pt x="8549" y="109465"/>
                    <a:pt x="8549" y="109465"/>
                  </a:cubicBezTo>
                  <a:cubicBezTo>
                    <a:pt x="14248" y="115165"/>
                    <a:pt x="34195" y="112315"/>
                    <a:pt x="45593" y="109465"/>
                  </a:cubicBezTo>
                  <a:cubicBezTo>
                    <a:pt x="48443" y="109465"/>
                    <a:pt x="51293" y="109465"/>
                    <a:pt x="51293" y="115165"/>
                  </a:cubicBezTo>
                  <a:cubicBezTo>
                    <a:pt x="51293" y="118014"/>
                    <a:pt x="51293" y="120864"/>
                    <a:pt x="45593" y="120864"/>
                  </a:cubicBezTo>
                  <a:cubicBezTo>
                    <a:pt x="48443" y="120864"/>
                    <a:pt x="39894" y="123714"/>
                    <a:pt x="28496" y="123714"/>
                  </a:cubicBezTo>
                  <a:close/>
                </a:path>
              </a:pathLst>
            </a:custGeom>
            <a:solidFill>
              <a:srgbClr val="E58777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FC57F915-D36C-44FA-B6EF-27D4A7306B25}"/>
                </a:ext>
              </a:extLst>
            </p:cNvPr>
            <p:cNvSpPr/>
            <p:nvPr/>
          </p:nvSpPr>
          <p:spPr>
            <a:xfrm>
              <a:off x="7582555" y="8725224"/>
              <a:ext cx="99736" cy="51292"/>
            </a:xfrm>
            <a:custGeom>
              <a:avLst/>
              <a:gdLst>
                <a:gd name="connsiteX0" fmla="*/ 99736 w 99736"/>
                <a:gd name="connsiteY0" fmla="*/ 0 h 51292"/>
                <a:gd name="connsiteX1" fmla="*/ 0 w 99736"/>
                <a:gd name="connsiteY1" fmla="*/ 0 h 51292"/>
                <a:gd name="connsiteX2" fmla="*/ 48443 w 99736"/>
                <a:gd name="connsiteY2" fmla="*/ 51293 h 51292"/>
                <a:gd name="connsiteX3" fmla="*/ 99736 w 99736"/>
                <a:gd name="connsiteY3" fmla="*/ 0 h 51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736" h="51292">
                  <a:moveTo>
                    <a:pt x="99736" y="0"/>
                  </a:moveTo>
                  <a:cubicBezTo>
                    <a:pt x="48443" y="22797"/>
                    <a:pt x="0" y="0"/>
                    <a:pt x="0" y="0"/>
                  </a:cubicBezTo>
                  <a:cubicBezTo>
                    <a:pt x="0" y="0"/>
                    <a:pt x="14248" y="51293"/>
                    <a:pt x="48443" y="51293"/>
                  </a:cubicBezTo>
                  <a:cubicBezTo>
                    <a:pt x="88338" y="51293"/>
                    <a:pt x="99736" y="0"/>
                    <a:pt x="99736" y="0"/>
                  </a:cubicBezTo>
                  <a:close/>
                </a:path>
              </a:pathLst>
            </a:custGeom>
            <a:solidFill>
              <a:srgbClr val="FFFFFF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595539CE-E0E2-46D0-B46A-1AB1741DCC50}"/>
                </a:ext>
              </a:extLst>
            </p:cNvPr>
            <p:cNvSpPr/>
            <p:nvPr/>
          </p:nvSpPr>
          <p:spPr>
            <a:xfrm>
              <a:off x="7533386" y="8528043"/>
              <a:ext cx="38330" cy="38330"/>
            </a:xfrm>
            <a:custGeom>
              <a:avLst/>
              <a:gdLst>
                <a:gd name="connsiteX0" fmla="*/ 37771 w 38330"/>
                <a:gd name="connsiteY0" fmla="*/ 23356 h 38330"/>
                <a:gd name="connsiteX1" fmla="*/ 14974 w 38330"/>
                <a:gd name="connsiteY1" fmla="*/ 37604 h 38330"/>
                <a:gd name="connsiteX2" fmla="*/ 726 w 38330"/>
                <a:gd name="connsiteY2" fmla="*/ 14807 h 38330"/>
                <a:gd name="connsiteX3" fmla="*/ 23523 w 38330"/>
                <a:gd name="connsiteY3" fmla="*/ 559 h 38330"/>
                <a:gd name="connsiteX4" fmla="*/ 37771 w 38330"/>
                <a:gd name="connsiteY4" fmla="*/ 23356 h 38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30" h="38330">
                  <a:moveTo>
                    <a:pt x="37771" y="23356"/>
                  </a:moveTo>
                  <a:cubicBezTo>
                    <a:pt x="34921" y="34754"/>
                    <a:pt x="26372" y="40453"/>
                    <a:pt x="14974" y="37604"/>
                  </a:cubicBezTo>
                  <a:cubicBezTo>
                    <a:pt x="3576" y="34754"/>
                    <a:pt x="-2124" y="26205"/>
                    <a:pt x="726" y="14807"/>
                  </a:cubicBezTo>
                  <a:cubicBezTo>
                    <a:pt x="3576" y="6258"/>
                    <a:pt x="12124" y="-2291"/>
                    <a:pt x="23523" y="559"/>
                  </a:cubicBezTo>
                  <a:cubicBezTo>
                    <a:pt x="32072" y="3408"/>
                    <a:pt x="40621" y="14807"/>
                    <a:pt x="37771" y="23356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4A159B42-1718-4E69-B4FC-FEFF75EEA1CB}"/>
                </a:ext>
              </a:extLst>
            </p:cNvPr>
            <p:cNvSpPr/>
            <p:nvPr/>
          </p:nvSpPr>
          <p:spPr>
            <a:xfrm>
              <a:off x="7710061" y="8536592"/>
              <a:ext cx="38497" cy="38329"/>
            </a:xfrm>
            <a:custGeom>
              <a:avLst/>
              <a:gdLst>
                <a:gd name="connsiteX0" fmla="*/ 37771 w 38497"/>
                <a:gd name="connsiteY0" fmla="*/ 23356 h 38329"/>
                <a:gd name="connsiteX1" fmla="*/ 14974 w 38497"/>
                <a:gd name="connsiteY1" fmla="*/ 37604 h 38329"/>
                <a:gd name="connsiteX2" fmla="*/ 726 w 38497"/>
                <a:gd name="connsiteY2" fmla="*/ 14807 h 38329"/>
                <a:gd name="connsiteX3" fmla="*/ 23523 w 38497"/>
                <a:gd name="connsiteY3" fmla="*/ 559 h 38329"/>
                <a:gd name="connsiteX4" fmla="*/ 37771 w 38497"/>
                <a:gd name="connsiteY4" fmla="*/ 23356 h 38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497" h="38329">
                  <a:moveTo>
                    <a:pt x="37771" y="23356"/>
                  </a:moveTo>
                  <a:cubicBezTo>
                    <a:pt x="34921" y="34754"/>
                    <a:pt x="26373" y="40453"/>
                    <a:pt x="14974" y="37604"/>
                  </a:cubicBezTo>
                  <a:cubicBezTo>
                    <a:pt x="3576" y="34754"/>
                    <a:pt x="-2123" y="26205"/>
                    <a:pt x="726" y="14807"/>
                  </a:cubicBezTo>
                  <a:cubicBezTo>
                    <a:pt x="3576" y="6258"/>
                    <a:pt x="12125" y="-2291"/>
                    <a:pt x="23523" y="559"/>
                  </a:cubicBezTo>
                  <a:cubicBezTo>
                    <a:pt x="34921" y="3408"/>
                    <a:pt x="40621" y="11957"/>
                    <a:pt x="37771" y="23356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41971532-2AC7-4E3C-B203-F0DD23030281}"/>
                </a:ext>
              </a:extLst>
            </p:cNvPr>
            <p:cNvSpPr/>
            <p:nvPr/>
          </p:nvSpPr>
          <p:spPr>
            <a:xfrm>
              <a:off x="7509178" y="8481919"/>
              <a:ext cx="85956" cy="32434"/>
            </a:xfrm>
            <a:custGeom>
              <a:avLst/>
              <a:gdLst>
                <a:gd name="connsiteX0" fmla="*/ 7836 w 85956"/>
                <a:gd name="connsiteY0" fmla="*/ 32435 h 32434"/>
                <a:gd name="connsiteX1" fmla="*/ 2137 w 85956"/>
                <a:gd name="connsiteY1" fmla="*/ 29585 h 32434"/>
                <a:gd name="connsiteX2" fmla="*/ 2137 w 85956"/>
                <a:gd name="connsiteY2" fmla="*/ 18187 h 32434"/>
                <a:gd name="connsiteX3" fmla="*/ 81926 w 85956"/>
                <a:gd name="connsiteY3" fmla="*/ 9638 h 32434"/>
                <a:gd name="connsiteX4" fmla="*/ 84776 w 85956"/>
                <a:gd name="connsiteY4" fmla="*/ 18187 h 32434"/>
                <a:gd name="connsiteX5" fmla="*/ 76227 w 85956"/>
                <a:gd name="connsiteY5" fmla="*/ 21036 h 32434"/>
                <a:gd name="connsiteX6" fmla="*/ 13536 w 85956"/>
                <a:gd name="connsiteY6" fmla="*/ 26735 h 32434"/>
                <a:gd name="connsiteX7" fmla="*/ 7836 w 85956"/>
                <a:gd name="connsiteY7" fmla="*/ 32435 h 32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6" h="32434">
                  <a:moveTo>
                    <a:pt x="7836" y="32435"/>
                  </a:moveTo>
                  <a:cubicBezTo>
                    <a:pt x="4987" y="32435"/>
                    <a:pt x="4987" y="32435"/>
                    <a:pt x="2137" y="29585"/>
                  </a:cubicBezTo>
                  <a:cubicBezTo>
                    <a:pt x="-712" y="26735"/>
                    <a:pt x="-712" y="21036"/>
                    <a:pt x="2137" y="18187"/>
                  </a:cubicBezTo>
                  <a:cubicBezTo>
                    <a:pt x="27784" y="-10309"/>
                    <a:pt x="64828" y="1089"/>
                    <a:pt x="81926" y="9638"/>
                  </a:cubicBezTo>
                  <a:cubicBezTo>
                    <a:pt x="84776" y="12487"/>
                    <a:pt x="87625" y="15337"/>
                    <a:pt x="84776" y="18187"/>
                  </a:cubicBezTo>
                  <a:cubicBezTo>
                    <a:pt x="81926" y="21036"/>
                    <a:pt x="79076" y="23886"/>
                    <a:pt x="76227" y="21036"/>
                  </a:cubicBezTo>
                  <a:cubicBezTo>
                    <a:pt x="73377" y="21036"/>
                    <a:pt x="36332" y="1089"/>
                    <a:pt x="13536" y="26735"/>
                  </a:cubicBezTo>
                  <a:cubicBezTo>
                    <a:pt x="13536" y="32435"/>
                    <a:pt x="10686" y="32435"/>
                    <a:pt x="7836" y="32435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DEA3E59D-4254-4791-95EE-2379A156339A}"/>
                </a:ext>
              </a:extLst>
            </p:cNvPr>
            <p:cNvSpPr/>
            <p:nvPr/>
          </p:nvSpPr>
          <p:spPr>
            <a:xfrm>
              <a:off x="7683961" y="8483298"/>
              <a:ext cx="85956" cy="33905"/>
            </a:xfrm>
            <a:custGeom>
              <a:avLst/>
              <a:gdLst>
                <a:gd name="connsiteX0" fmla="*/ 80969 w 85956"/>
                <a:gd name="connsiteY0" fmla="*/ 33905 h 33905"/>
                <a:gd name="connsiteX1" fmla="*/ 75270 w 85956"/>
                <a:gd name="connsiteY1" fmla="*/ 31056 h 33905"/>
                <a:gd name="connsiteX2" fmla="*/ 12579 w 85956"/>
                <a:gd name="connsiteY2" fmla="*/ 25357 h 33905"/>
                <a:gd name="connsiteX3" fmla="*/ 1180 w 85956"/>
                <a:gd name="connsiteY3" fmla="*/ 22507 h 33905"/>
                <a:gd name="connsiteX4" fmla="*/ 4030 w 85956"/>
                <a:gd name="connsiteY4" fmla="*/ 11109 h 33905"/>
                <a:gd name="connsiteX5" fmla="*/ 83819 w 85956"/>
                <a:gd name="connsiteY5" fmla="*/ 19657 h 33905"/>
                <a:gd name="connsiteX6" fmla="*/ 83819 w 85956"/>
                <a:gd name="connsiteY6" fmla="*/ 31056 h 33905"/>
                <a:gd name="connsiteX7" fmla="*/ 80969 w 85956"/>
                <a:gd name="connsiteY7" fmla="*/ 33905 h 33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6" h="33905">
                  <a:moveTo>
                    <a:pt x="80969" y="33905"/>
                  </a:moveTo>
                  <a:cubicBezTo>
                    <a:pt x="78120" y="33905"/>
                    <a:pt x="78120" y="33905"/>
                    <a:pt x="75270" y="31056"/>
                  </a:cubicBezTo>
                  <a:cubicBezTo>
                    <a:pt x="75270" y="31056"/>
                    <a:pt x="46774" y="2560"/>
                    <a:pt x="12579" y="25357"/>
                  </a:cubicBezTo>
                  <a:cubicBezTo>
                    <a:pt x="9729" y="28206"/>
                    <a:pt x="4030" y="25357"/>
                    <a:pt x="1180" y="22507"/>
                  </a:cubicBezTo>
                  <a:cubicBezTo>
                    <a:pt x="-1669" y="19657"/>
                    <a:pt x="1180" y="13958"/>
                    <a:pt x="4030" y="11109"/>
                  </a:cubicBezTo>
                  <a:cubicBezTo>
                    <a:pt x="38225" y="-11688"/>
                    <a:pt x="72421" y="5409"/>
                    <a:pt x="83819" y="19657"/>
                  </a:cubicBezTo>
                  <a:cubicBezTo>
                    <a:pt x="86669" y="22507"/>
                    <a:pt x="86669" y="28206"/>
                    <a:pt x="83819" y="31056"/>
                  </a:cubicBezTo>
                  <a:cubicBezTo>
                    <a:pt x="86669" y="33905"/>
                    <a:pt x="83819" y="33905"/>
                    <a:pt x="80969" y="33905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675B1C19-8904-4C47-B2BA-EF592BDEEDF7}"/>
                </a:ext>
              </a:extLst>
            </p:cNvPr>
            <p:cNvSpPr/>
            <p:nvPr/>
          </p:nvSpPr>
          <p:spPr>
            <a:xfrm>
              <a:off x="7456850" y="8255886"/>
              <a:ext cx="256865" cy="258467"/>
            </a:xfrm>
            <a:custGeom>
              <a:avLst/>
              <a:gdLst>
                <a:gd name="connsiteX0" fmla="*/ 253938 w 256865"/>
                <a:gd name="connsiteY0" fmla="*/ 2003 h 258467"/>
                <a:gd name="connsiteX1" fmla="*/ 222592 w 256865"/>
                <a:gd name="connsiteY1" fmla="*/ 138784 h 258467"/>
                <a:gd name="connsiteX2" fmla="*/ 323 w 256865"/>
                <a:gd name="connsiteY2" fmla="*/ 258468 h 258467"/>
                <a:gd name="connsiteX3" fmla="*/ 253938 w 256865"/>
                <a:gd name="connsiteY3" fmla="*/ 2003 h 258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865" h="258467">
                  <a:moveTo>
                    <a:pt x="253938" y="2003"/>
                  </a:moveTo>
                  <a:cubicBezTo>
                    <a:pt x="253938" y="2003"/>
                    <a:pt x="271036" y="101739"/>
                    <a:pt x="222592" y="138784"/>
                  </a:cubicBezTo>
                  <a:cubicBezTo>
                    <a:pt x="222592" y="138784"/>
                    <a:pt x="25969" y="178679"/>
                    <a:pt x="323" y="258468"/>
                  </a:cubicBezTo>
                  <a:cubicBezTo>
                    <a:pt x="323" y="258468"/>
                    <a:pt x="-19624" y="-26493"/>
                    <a:pt x="253938" y="2003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CEF08162-833E-492C-8B83-AFB39F00EF23}"/>
                </a:ext>
              </a:extLst>
            </p:cNvPr>
            <p:cNvSpPr/>
            <p:nvPr/>
          </p:nvSpPr>
          <p:spPr>
            <a:xfrm>
              <a:off x="7679442" y="8257889"/>
              <a:ext cx="277711" cy="328134"/>
            </a:xfrm>
            <a:custGeom>
              <a:avLst/>
              <a:gdLst>
                <a:gd name="connsiteX0" fmla="*/ 0 w 277711"/>
                <a:gd name="connsiteY0" fmla="*/ 136781 h 328134"/>
                <a:gd name="connsiteX1" fmla="*/ 131082 w 277711"/>
                <a:gd name="connsiteY1" fmla="*/ 188074 h 328134"/>
                <a:gd name="connsiteX2" fmla="*/ 185224 w 277711"/>
                <a:gd name="connsiteY2" fmla="*/ 299208 h 328134"/>
                <a:gd name="connsiteX3" fmla="*/ 267863 w 277711"/>
                <a:gd name="connsiteY3" fmla="*/ 319156 h 328134"/>
                <a:gd name="connsiteX4" fmla="*/ 28496 w 277711"/>
                <a:gd name="connsiteY4" fmla="*/ 0 h 328134"/>
                <a:gd name="connsiteX5" fmla="*/ 0 w 277711"/>
                <a:gd name="connsiteY5" fmla="*/ 136781 h 328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711" h="328134">
                  <a:moveTo>
                    <a:pt x="0" y="136781"/>
                  </a:moveTo>
                  <a:cubicBezTo>
                    <a:pt x="0" y="136781"/>
                    <a:pt x="85488" y="182375"/>
                    <a:pt x="131082" y="188074"/>
                  </a:cubicBezTo>
                  <a:cubicBezTo>
                    <a:pt x="179525" y="193773"/>
                    <a:pt x="185224" y="299208"/>
                    <a:pt x="185224" y="299208"/>
                  </a:cubicBezTo>
                  <a:cubicBezTo>
                    <a:pt x="185224" y="299208"/>
                    <a:pt x="253615" y="347652"/>
                    <a:pt x="267863" y="319156"/>
                  </a:cubicBezTo>
                  <a:cubicBezTo>
                    <a:pt x="299208" y="256464"/>
                    <a:pt x="265013" y="0"/>
                    <a:pt x="28496" y="0"/>
                  </a:cubicBezTo>
                  <a:cubicBezTo>
                    <a:pt x="31345" y="0"/>
                    <a:pt x="22796" y="131082"/>
                    <a:pt x="0" y="136781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7B1915CF-1236-477A-A7FF-DF304B2BFF13}"/>
                </a:ext>
              </a:extLst>
            </p:cNvPr>
            <p:cNvSpPr/>
            <p:nvPr/>
          </p:nvSpPr>
          <p:spPr>
            <a:xfrm>
              <a:off x="7673743" y="8255039"/>
              <a:ext cx="142480" cy="196622"/>
            </a:xfrm>
            <a:custGeom>
              <a:avLst/>
              <a:gdLst>
                <a:gd name="connsiteX0" fmla="*/ 136781 w 142480"/>
                <a:gd name="connsiteY0" fmla="*/ 196623 h 196622"/>
                <a:gd name="connsiteX1" fmla="*/ 136781 w 142480"/>
                <a:gd name="connsiteY1" fmla="*/ 196623 h 196622"/>
                <a:gd name="connsiteX2" fmla="*/ 45594 w 142480"/>
                <a:gd name="connsiteY2" fmla="*/ 165277 h 196622"/>
                <a:gd name="connsiteX3" fmla="*/ 2850 w 142480"/>
                <a:gd name="connsiteY3" fmla="*/ 142480 h 196622"/>
                <a:gd name="connsiteX4" fmla="*/ 0 w 142480"/>
                <a:gd name="connsiteY4" fmla="*/ 139631 h 196622"/>
                <a:gd name="connsiteX5" fmla="*/ 0 w 142480"/>
                <a:gd name="connsiteY5" fmla="*/ 136781 h 196622"/>
                <a:gd name="connsiteX6" fmla="*/ 17098 w 142480"/>
                <a:gd name="connsiteY6" fmla="*/ 113984 h 196622"/>
                <a:gd name="connsiteX7" fmla="*/ 25647 w 142480"/>
                <a:gd name="connsiteY7" fmla="*/ 76939 h 196622"/>
                <a:gd name="connsiteX8" fmla="*/ 28496 w 142480"/>
                <a:gd name="connsiteY8" fmla="*/ 42744 h 196622"/>
                <a:gd name="connsiteX9" fmla="*/ 31346 w 142480"/>
                <a:gd name="connsiteY9" fmla="*/ 5699 h 196622"/>
                <a:gd name="connsiteX10" fmla="*/ 37045 w 142480"/>
                <a:gd name="connsiteY10" fmla="*/ 0 h 196622"/>
                <a:gd name="connsiteX11" fmla="*/ 42744 w 142480"/>
                <a:gd name="connsiteY11" fmla="*/ 5699 h 196622"/>
                <a:gd name="connsiteX12" fmla="*/ 39895 w 142480"/>
                <a:gd name="connsiteY12" fmla="*/ 39895 h 196622"/>
                <a:gd name="connsiteX13" fmla="*/ 37045 w 142480"/>
                <a:gd name="connsiteY13" fmla="*/ 76939 h 196622"/>
                <a:gd name="connsiteX14" fmla="*/ 25647 w 142480"/>
                <a:gd name="connsiteY14" fmla="*/ 116834 h 196622"/>
                <a:gd name="connsiteX15" fmla="*/ 11399 w 142480"/>
                <a:gd name="connsiteY15" fmla="*/ 136781 h 196622"/>
                <a:gd name="connsiteX16" fmla="*/ 48444 w 142480"/>
                <a:gd name="connsiteY16" fmla="*/ 156728 h 196622"/>
                <a:gd name="connsiteX17" fmla="*/ 136781 w 142480"/>
                <a:gd name="connsiteY17" fmla="*/ 185224 h 196622"/>
                <a:gd name="connsiteX18" fmla="*/ 142480 w 142480"/>
                <a:gd name="connsiteY18" fmla="*/ 190923 h 196622"/>
                <a:gd name="connsiteX19" fmla="*/ 136781 w 142480"/>
                <a:gd name="connsiteY19" fmla="*/ 196623 h 19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2480" h="196622">
                  <a:moveTo>
                    <a:pt x="136781" y="196623"/>
                  </a:moveTo>
                  <a:cubicBezTo>
                    <a:pt x="136781" y="196623"/>
                    <a:pt x="136781" y="196623"/>
                    <a:pt x="136781" y="196623"/>
                  </a:cubicBezTo>
                  <a:cubicBezTo>
                    <a:pt x="102586" y="190923"/>
                    <a:pt x="68391" y="176675"/>
                    <a:pt x="45594" y="165277"/>
                  </a:cubicBezTo>
                  <a:cubicBezTo>
                    <a:pt x="19948" y="153879"/>
                    <a:pt x="2850" y="142480"/>
                    <a:pt x="2850" y="142480"/>
                  </a:cubicBezTo>
                  <a:cubicBezTo>
                    <a:pt x="2850" y="142480"/>
                    <a:pt x="0" y="139631"/>
                    <a:pt x="0" y="139631"/>
                  </a:cubicBezTo>
                  <a:cubicBezTo>
                    <a:pt x="0" y="136781"/>
                    <a:pt x="0" y="136781"/>
                    <a:pt x="0" y="136781"/>
                  </a:cubicBezTo>
                  <a:cubicBezTo>
                    <a:pt x="5700" y="131082"/>
                    <a:pt x="11399" y="122533"/>
                    <a:pt x="17098" y="113984"/>
                  </a:cubicBezTo>
                  <a:cubicBezTo>
                    <a:pt x="22797" y="102586"/>
                    <a:pt x="25647" y="88338"/>
                    <a:pt x="25647" y="76939"/>
                  </a:cubicBezTo>
                  <a:cubicBezTo>
                    <a:pt x="25647" y="71240"/>
                    <a:pt x="25647" y="56992"/>
                    <a:pt x="28496" y="42744"/>
                  </a:cubicBezTo>
                  <a:cubicBezTo>
                    <a:pt x="28496" y="28496"/>
                    <a:pt x="28496" y="14248"/>
                    <a:pt x="31346" y="5699"/>
                  </a:cubicBezTo>
                  <a:cubicBezTo>
                    <a:pt x="31346" y="2850"/>
                    <a:pt x="34196" y="0"/>
                    <a:pt x="37045" y="0"/>
                  </a:cubicBezTo>
                  <a:cubicBezTo>
                    <a:pt x="39895" y="0"/>
                    <a:pt x="42744" y="2850"/>
                    <a:pt x="42744" y="5699"/>
                  </a:cubicBezTo>
                  <a:cubicBezTo>
                    <a:pt x="42744" y="11399"/>
                    <a:pt x="42744" y="25647"/>
                    <a:pt x="39895" y="39895"/>
                  </a:cubicBezTo>
                  <a:cubicBezTo>
                    <a:pt x="39895" y="54143"/>
                    <a:pt x="39895" y="68391"/>
                    <a:pt x="37045" y="76939"/>
                  </a:cubicBezTo>
                  <a:cubicBezTo>
                    <a:pt x="34196" y="91187"/>
                    <a:pt x="34196" y="105435"/>
                    <a:pt x="25647" y="116834"/>
                  </a:cubicBezTo>
                  <a:cubicBezTo>
                    <a:pt x="22797" y="125383"/>
                    <a:pt x="17098" y="131082"/>
                    <a:pt x="11399" y="136781"/>
                  </a:cubicBezTo>
                  <a:cubicBezTo>
                    <a:pt x="17098" y="139631"/>
                    <a:pt x="31346" y="148179"/>
                    <a:pt x="48444" y="156728"/>
                  </a:cubicBezTo>
                  <a:cubicBezTo>
                    <a:pt x="71240" y="168127"/>
                    <a:pt x="105436" y="182375"/>
                    <a:pt x="136781" y="185224"/>
                  </a:cubicBezTo>
                  <a:cubicBezTo>
                    <a:pt x="139631" y="185224"/>
                    <a:pt x="142480" y="188074"/>
                    <a:pt x="142480" y="190923"/>
                  </a:cubicBezTo>
                  <a:cubicBezTo>
                    <a:pt x="142480" y="193773"/>
                    <a:pt x="139631" y="196623"/>
                    <a:pt x="136781" y="196623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C3B6A17E-A756-4F57-ABAE-6C220E8E344F}"/>
                </a:ext>
              </a:extLst>
            </p:cNvPr>
            <p:cNvSpPr/>
            <p:nvPr/>
          </p:nvSpPr>
          <p:spPr>
            <a:xfrm>
              <a:off x="7522714" y="8733683"/>
              <a:ext cx="290659" cy="304998"/>
            </a:xfrm>
            <a:custGeom>
              <a:avLst/>
              <a:gdLst>
                <a:gd name="connsiteX0" fmla="*/ 51293 w 290659"/>
                <a:gd name="connsiteY0" fmla="*/ 57082 h 304998"/>
                <a:gd name="connsiteX1" fmla="*/ 0 w 290659"/>
                <a:gd name="connsiteY1" fmla="*/ 188164 h 304998"/>
                <a:gd name="connsiteX2" fmla="*/ 108285 w 290659"/>
                <a:gd name="connsiteY2" fmla="*/ 304998 h 304998"/>
                <a:gd name="connsiteX3" fmla="*/ 290660 w 290659"/>
                <a:gd name="connsiteY3" fmla="*/ 173916 h 304998"/>
                <a:gd name="connsiteX4" fmla="*/ 242216 w 290659"/>
                <a:gd name="connsiteY4" fmla="*/ 90 h 304998"/>
                <a:gd name="connsiteX5" fmla="*/ 51293 w 290659"/>
                <a:gd name="connsiteY5" fmla="*/ 57082 h 304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0659" h="304998">
                  <a:moveTo>
                    <a:pt x="51293" y="57082"/>
                  </a:moveTo>
                  <a:cubicBezTo>
                    <a:pt x="51293" y="57082"/>
                    <a:pt x="56992" y="159668"/>
                    <a:pt x="0" y="188164"/>
                  </a:cubicBezTo>
                  <a:lnTo>
                    <a:pt x="108285" y="304998"/>
                  </a:lnTo>
                  <a:cubicBezTo>
                    <a:pt x="108285" y="304998"/>
                    <a:pt x="239367" y="202412"/>
                    <a:pt x="290660" y="173916"/>
                  </a:cubicBezTo>
                  <a:cubicBezTo>
                    <a:pt x="239367" y="134022"/>
                    <a:pt x="242216" y="57082"/>
                    <a:pt x="242216" y="90"/>
                  </a:cubicBezTo>
                  <a:cubicBezTo>
                    <a:pt x="242216" y="-2759"/>
                    <a:pt x="102585" y="62782"/>
                    <a:pt x="51293" y="57082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B0F9A476-D303-4374-97E3-386E933C179D}"/>
                </a:ext>
              </a:extLst>
            </p:cNvPr>
            <p:cNvSpPr/>
            <p:nvPr/>
          </p:nvSpPr>
          <p:spPr>
            <a:xfrm>
              <a:off x="7566170" y="8766788"/>
              <a:ext cx="208488" cy="75270"/>
            </a:xfrm>
            <a:custGeom>
              <a:avLst/>
              <a:gdLst>
                <a:gd name="connsiteX0" fmla="*/ 67678 w 208488"/>
                <a:gd name="connsiteY0" fmla="*/ 75270 h 75270"/>
                <a:gd name="connsiteX1" fmla="*/ 2137 w 208488"/>
                <a:gd name="connsiteY1" fmla="*/ 49623 h 75270"/>
                <a:gd name="connsiteX2" fmla="*/ 2137 w 208488"/>
                <a:gd name="connsiteY2" fmla="*/ 41075 h 75270"/>
                <a:gd name="connsiteX3" fmla="*/ 10686 w 208488"/>
                <a:gd name="connsiteY3" fmla="*/ 41075 h 75270"/>
                <a:gd name="connsiteX4" fmla="*/ 76227 w 208488"/>
                <a:gd name="connsiteY4" fmla="*/ 63871 h 75270"/>
                <a:gd name="connsiteX5" fmla="*/ 198760 w 208488"/>
                <a:gd name="connsiteY5" fmla="*/ 1180 h 75270"/>
                <a:gd name="connsiteX6" fmla="*/ 207308 w 208488"/>
                <a:gd name="connsiteY6" fmla="*/ 4030 h 75270"/>
                <a:gd name="connsiteX7" fmla="*/ 204459 w 208488"/>
                <a:gd name="connsiteY7" fmla="*/ 12579 h 75270"/>
                <a:gd name="connsiteX8" fmla="*/ 76227 w 208488"/>
                <a:gd name="connsiteY8" fmla="*/ 75270 h 75270"/>
                <a:gd name="connsiteX9" fmla="*/ 67678 w 208488"/>
                <a:gd name="connsiteY9" fmla="*/ 75270 h 75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8488" h="75270">
                  <a:moveTo>
                    <a:pt x="67678" y="75270"/>
                  </a:moveTo>
                  <a:cubicBezTo>
                    <a:pt x="30633" y="75270"/>
                    <a:pt x="4987" y="49623"/>
                    <a:pt x="2137" y="49623"/>
                  </a:cubicBezTo>
                  <a:cubicBezTo>
                    <a:pt x="-712" y="46774"/>
                    <a:pt x="-712" y="43924"/>
                    <a:pt x="2137" y="41075"/>
                  </a:cubicBezTo>
                  <a:cubicBezTo>
                    <a:pt x="4987" y="38225"/>
                    <a:pt x="7836" y="38225"/>
                    <a:pt x="10686" y="41075"/>
                  </a:cubicBezTo>
                  <a:cubicBezTo>
                    <a:pt x="10686" y="41075"/>
                    <a:pt x="42032" y="69571"/>
                    <a:pt x="76227" y="63871"/>
                  </a:cubicBezTo>
                  <a:cubicBezTo>
                    <a:pt x="113272" y="58172"/>
                    <a:pt x="198760" y="1180"/>
                    <a:pt x="198760" y="1180"/>
                  </a:cubicBezTo>
                  <a:cubicBezTo>
                    <a:pt x="201609" y="-1669"/>
                    <a:pt x="204459" y="1180"/>
                    <a:pt x="207308" y="4030"/>
                  </a:cubicBezTo>
                  <a:cubicBezTo>
                    <a:pt x="210158" y="6879"/>
                    <a:pt x="207308" y="9729"/>
                    <a:pt x="204459" y="12579"/>
                  </a:cubicBezTo>
                  <a:cubicBezTo>
                    <a:pt x="201609" y="15428"/>
                    <a:pt x="116121" y="72420"/>
                    <a:pt x="76227" y="75270"/>
                  </a:cubicBezTo>
                  <a:cubicBezTo>
                    <a:pt x="73377" y="75270"/>
                    <a:pt x="70528" y="75270"/>
                    <a:pt x="67678" y="75270"/>
                  </a:cubicBezTo>
                  <a:close/>
                </a:path>
              </a:pathLst>
            </a:custGeom>
            <a:solidFill>
              <a:srgbClr val="E58777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E9FD59B9-B0AB-4A7A-9A39-77D6BB739F3A}"/>
                </a:ext>
              </a:extLst>
            </p:cNvPr>
            <p:cNvSpPr/>
            <p:nvPr/>
          </p:nvSpPr>
          <p:spPr>
            <a:xfrm>
              <a:off x="7259777" y="8993087"/>
              <a:ext cx="94809" cy="518627"/>
            </a:xfrm>
            <a:custGeom>
              <a:avLst/>
              <a:gdLst>
                <a:gd name="connsiteX0" fmla="*/ 52066 w 94809"/>
                <a:gd name="connsiteY0" fmla="*/ 518627 h 518627"/>
                <a:gd name="connsiteX1" fmla="*/ 46367 w 94809"/>
                <a:gd name="connsiteY1" fmla="*/ 515779 h 518627"/>
                <a:gd name="connsiteX2" fmla="*/ 32119 w 94809"/>
                <a:gd name="connsiteY2" fmla="*/ 464485 h 518627"/>
                <a:gd name="connsiteX3" fmla="*/ 773 w 94809"/>
                <a:gd name="connsiteY3" fmla="*/ 324855 h 518627"/>
                <a:gd name="connsiteX4" fmla="*/ 83412 w 94809"/>
                <a:gd name="connsiteY4" fmla="*/ 2850 h 518627"/>
                <a:gd name="connsiteX5" fmla="*/ 91961 w 94809"/>
                <a:gd name="connsiteY5" fmla="*/ 0 h 518627"/>
                <a:gd name="connsiteX6" fmla="*/ 94810 w 94809"/>
                <a:gd name="connsiteY6" fmla="*/ 8548 h 518627"/>
                <a:gd name="connsiteX7" fmla="*/ 12172 w 94809"/>
                <a:gd name="connsiteY7" fmla="*/ 324855 h 518627"/>
                <a:gd name="connsiteX8" fmla="*/ 43517 w 94809"/>
                <a:gd name="connsiteY8" fmla="*/ 464485 h 518627"/>
                <a:gd name="connsiteX9" fmla="*/ 57765 w 94809"/>
                <a:gd name="connsiteY9" fmla="*/ 515779 h 518627"/>
                <a:gd name="connsiteX10" fmla="*/ 52066 w 94809"/>
                <a:gd name="connsiteY10" fmla="*/ 518627 h 518627"/>
                <a:gd name="connsiteX11" fmla="*/ 52066 w 94809"/>
                <a:gd name="connsiteY11" fmla="*/ 518627 h 518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4809" h="518627">
                  <a:moveTo>
                    <a:pt x="52066" y="518627"/>
                  </a:moveTo>
                  <a:cubicBezTo>
                    <a:pt x="49217" y="518627"/>
                    <a:pt x="46367" y="515779"/>
                    <a:pt x="46367" y="515779"/>
                  </a:cubicBezTo>
                  <a:cubicBezTo>
                    <a:pt x="40668" y="498681"/>
                    <a:pt x="37818" y="481583"/>
                    <a:pt x="32119" y="464485"/>
                  </a:cubicBezTo>
                  <a:cubicBezTo>
                    <a:pt x="17871" y="416042"/>
                    <a:pt x="3623" y="367599"/>
                    <a:pt x="773" y="324855"/>
                  </a:cubicBezTo>
                  <a:cubicBezTo>
                    <a:pt x="-4926" y="208021"/>
                    <a:pt x="20720" y="99736"/>
                    <a:pt x="83412" y="2850"/>
                  </a:cubicBezTo>
                  <a:cubicBezTo>
                    <a:pt x="86261" y="0"/>
                    <a:pt x="89111" y="0"/>
                    <a:pt x="91961" y="0"/>
                  </a:cubicBezTo>
                  <a:cubicBezTo>
                    <a:pt x="94810" y="2850"/>
                    <a:pt x="94810" y="5699"/>
                    <a:pt x="94810" y="8548"/>
                  </a:cubicBezTo>
                  <a:cubicBezTo>
                    <a:pt x="34969" y="105435"/>
                    <a:pt x="6472" y="210871"/>
                    <a:pt x="12172" y="324855"/>
                  </a:cubicBezTo>
                  <a:cubicBezTo>
                    <a:pt x="15021" y="367599"/>
                    <a:pt x="29269" y="416042"/>
                    <a:pt x="43517" y="464485"/>
                  </a:cubicBezTo>
                  <a:cubicBezTo>
                    <a:pt x="49217" y="481583"/>
                    <a:pt x="54916" y="498681"/>
                    <a:pt x="57765" y="515779"/>
                  </a:cubicBezTo>
                  <a:cubicBezTo>
                    <a:pt x="57765" y="515779"/>
                    <a:pt x="54916" y="518627"/>
                    <a:pt x="52066" y="518627"/>
                  </a:cubicBezTo>
                  <a:cubicBezTo>
                    <a:pt x="52066" y="518627"/>
                    <a:pt x="52066" y="518627"/>
                    <a:pt x="52066" y="518627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8A916B5F-0532-4C22-8903-068A8B1F9B9A}"/>
                </a:ext>
              </a:extLst>
            </p:cNvPr>
            <p:cNvSpPr/>
            <p:nvPr/>
          </p:nvSpPr>
          <p:spPr>
            <a:xfrm>
              <a:off x="7374534" y="9403611"/>
              <a:ext cx="374478" cy="34014"/>
            </a:xfrm>
            <a:custGeom>
              <a:avLst/>
              <a:gdLst>
                <a:gd name="connsiteX0" fmla="*/ 5700 w 374478"/>
                <a:gd name="connsiteY0" fmla="*/ 34014 h 34014"/>
                <a:gd name="connsiteX1" fmla="*/ 0 w 374478"/>
                <a:gd name="connsiteY1" fmla="*/ 31164 h 34014"/>
                <a:gd name="connsiteX2" fmla="*/ 2850 w 374478"/>
                <a:gd name="connsiteY2" fmla="*/ 25465 h 34014"/>
                <a:gd name="connsiteX3" fmla="*/ 370449 w 374478"/>
                <a:gd name="connsiteY3" fmla="*/ 14067 h 34014"/>
                <a:gd name="connsiteX4" fmla="*/ 373298 w 374478"/>
                <a:gd name="connsiteY4" fmla="*/ 19766 h 34014"/>
                <a:gd name="connsiteX5" fmla="*/ 367599 w 374478"/>
                <a:gd name="connsiteY5" fmla="*/ 22615 h 34014"/>
                <a:gd name="connsiteX6" fmla="*/ 5700 w 374478"/>
                <a:gd name="connsiteY6" fmla="*/ 34014 h 34014"/>
                <a:gd name="connsiteX7" fmla="*/ 5700 w 374478"/>
                <a:gd name="connsiteY7" fmla="*/ 34014 h 34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4478" h="34014">
                  <a:moveTo>
                    <a:pt x="5700" y="34014"/>
                  </a:moveTo>
                  <a:cubicBezTo>
                    <a:pt x="2850" y="34014"/>
                    <a:pt x="2850" y="34014"/>
                    <a:pt x="0" y="31164"/>
                  </a:cubicBezTo>
                  <a:cubicBezTo>
                    <a:pt x="0" y="28315"/>
                    <a:pt x="0" y="25465"/>
                    <a:pt x="2850" y="25465"/>
                  </a:cubicBezTo>
                  <a:cubicBezTo>
                    <a:pt x="82639" y="-3031"/>
                    <a:pt x="276412" y="-8730"/>
                    <a:pt x="370449" y="14067"/>
                  </a:cubicBezTo>
                  <a:cubicBezTo>
                    <a:pt x="373298" y="14067"/>
                    <a:pt x="376148" y="16916"/>
                    <a:pt x="373298" y="19766"/>
                  </a:cubicBezTo>
                  <a:cubicBezTo>
                    <a:pt x="373298" y="22615"/>
                    <a:pt x="370449" y="25465"/>
                    <a:pt x="367599" y="22615"/>
                  </a:cubicBezTo>
                  <a:cubicBezTo>
                    <a:pt x="276412" y="2668"/>
                    <a:pt x="82639" y="8367"/>
                    <a:pt x="5700" y="34014"/>
                  </a:cubicBezTo>
                  <a:cubicBezTo>
                    <a:pt x="5700" y="34014"/>
                    <a:pt x="5700" y="34014"/>
                    <a:pt x="5700" y="34014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60AFF097-46B8-4D27-9B47-BE76FBA81D56}"/>
                </a:ext>
              </a:extLst>
            </p:cNvPr>
            <p:cNvSpPr/>
            <p:nvPr/>
          </p:nvSpPr>
          <p:spPr>
            <a:xfrm>
              <a:off x="7830471" y="8544311"/>
              <a:ext cx="72514" cy="106598"/>
            </a:xfrm>
            <a:custGeom>
              <a:avLst/>
              <a:gdLst>
                <a:gd name="connsiteX0" fmla="*/ 11399 w 72514"/>
                <a:gd name="connsiteY0" fmla="*/ 15636 h 106598"/>
                <a:gd name="connsiteX1" fmla="*/ 65541 w 72514"/>
                <a:gd name="connsiteY1" fmla="*/ 7087 h 106598"/>
                <a:gd name="connsiteX2" fmla="*/ 11399 w 72514"/>
                <a:gd name="connsiteY2" fmla="*/ 103973 h 106598"/>
                <a:gd name="connsiteX3" fmla="*/ 11399 w 72514"/>
                <a:gd name="connsiteY3" fmla="*/ 15636 h 106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514" h="106598">
                  <a:moveTo>
                    <a:pt x="11399" y="15636"/>
                  </a:moveTo>
                  <a:cubicBezTo>
                    <a:pt x="11399" y="15636"/>
                    <a:pt x="42744" y="-12860"/>
                    <a:pt x="65541" y="7087"/>
                  </a:cubicBezTo>
                  <a:cubicBezTo>
                    <a:pt x="88338" y="24184"/>
                    <a:pt x="51293" y="123921"/>
                    <a:pt x="11399" y="103973"/>
                  </a:cubicBezTo>
                  <a:cubicBezTo>
                    <a:pt x="-14248" y="84026"/>
                    <a:pt x="11399" y="15636"/>
                    <a:pt x="11399" y="15636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C00C33F4-C724-4E8B-82BB-C9B2C50348C3}"/>
                </a:ext>
              </a:extLst>
            </p:cNvPr>
            <p:cNvSpPr/>
            <p:nvPr/>
          </p:nvSpPr>
          <p:spPr>
            <a:xfrm>
              <a:off x="7425827" y="8428865"/>
              <a:ext cx="136781" cy="153878"/>
            </a:xfrm>
            <a:custGeom>
              <a:avLst/>
              <a:gdLst>
                <a:gd name="connsiteX0" fmla="*/ 5699 w 136781"/>
                <a:gd name="connsiteY0" fmla="*/ 153878 h 153878"/>
                <a:gd name="connsiteX1" fmla="*/ 5699 w 136781"/>
                <a:gd name="connsiteY1" fmla="*/ 153878 h 153878"/>
                <a:gd name="connsiteX2" fmla="*/ 0 w 136781"/>
                <a:gd name="connsiteY2" fmla="*/ 148179 h 153878"/>
                <a:gd name="connsiteX3" fmla="*/ 131082 w 136781"/>
                <a:gd name="connsiteY3" fmla="*/ 0 h 153878"/>
                <a:gd name="connsiteX4" fmla="*/ 136781 w 136781"/>
                <a:gd name="connsiteY4" fmla="*/ 2849 h 153878"/>
                <a:gd name="connsiteX5" fmla="*/ 133931 w 136781"/>
                <a:gd name="connsiteY5" fmla="*/ 8549 h 153878"/>
                <a:gd name="connsiteX6" fmla="*/ 11399 w 136781"/>
                <a:gd name="connsiteY6" fmla="*/ 148179 h 153878"/>
                <a:gd name="connsiteX7" fmla="*/ 5699 w 136781"/>
                <a:gd name="connsiteY7" fmla="*/ 153878 h 153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6781" h="153878">
                  <a:moveTo>
                    <a:pt x="5699" y="153878"/>
                  </a:moveTo>
                  <a:cubicBezTo>
                    <a:pt x="5699" y="153878"/>
                    <a:pt x="2850" y="153878"/>
                    <a:pt x="5699" y="153878"/>
                  </a:cubicBezTo>
                  <a:cubicBezTo>
                    <a:pt x="2850" y="153878"/>
                    <a:pt x="0" y="151029"/>
                    <a:pt x="0" y="148179"/>
                  </a:cubicBezTo>
                  <a:cubicBezTo>
                    <a:pt x="22797" y="28496"/>
                    <a:pt x="131082" y="0"/>
                    <a:pt x="131082" y="0"/>
                  </a:cubicBezTo>
                  <a:cubicBezTo>
                    <a:pt x="133931" y="0"/>
                    <a:pt x="136781" y="0"/>
                    <a:pt x="136781" y="2849"/>
                  </a:cubicBezTo>
                  <a:cubicBezTo>
                    <a:pt x="136781" y="5699"/>
                    <a:pt x="136781" y="8549"/>
                    <a:pt x="133931" y="8549"/>
                  </a:cubicBezTo>
                  <a:cubicBezTo>
                    <a:pt x="133931" y="8549"/>
                    <a:pt x="34195" y="37045"/>
                    <a:pt x="11399" y="148179"/>
                  </a:cubicBezTo>
                  <a:cubicBezTo>
                    <a:pt x="8549" y="153878"/>
                    <a:pt x="5699" y="153878"/>
                    <a:pt x="5699" y="153878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100FF2E3-310C-44E1-8B50-999A592E356D}"/>
                </a:ext>
              </a:extLst>
            </p:cNvPr>
            <p:cNvSpPr/>
            <p:nvPr/>
          </p:nvSpPr>
          <p:spPr>
            <a:xfrm>
              <a:off x="7764930" y="8380422"/>
              <a:ext cx="103765" cy="173825"/>
            </a:xfrm>
            <a:custGeom>
              <a:avLst/>
              <a:gdLst>
                <a:gd name="connsiteX0" fmla="*/ 99736 w 103765"/>
                <a:gd name="connsiteY0" fmla="*/ 173826 h 173825"/>
                <a:gd name="connsiteX1" fmla="*/ 94037 w 103765"/>
                <a:gd name="connsiteY1" fmla="*/ 168126 h 173825"/>
                <a:gd name="connsiteX2" fmla="*/ 51293 w 103765"/>
                <a:gd name="connsiteY2" fmla="*/ 68390 h 173825"/>
                <a:gd name="connsiteX3" fmla="*/ 0 w 103765"/>
                <a:gd name="connsiteY3" fmla="*/ 5699 h 173825"/>
                <a:gd name="connsiteX4" fmla="*/ 2849 w 103765"/>
                <a:gd name="connsiteY4" fmla="*/ 0 h 173825"/>
                <a:gd name="connsiteX5" fmla="*/ 8548 w 103765"/>
                <a:gd name="connsiteY5" fmla="*/ 2849 h 173825"/>
                <a:gd name="connsiteX6" fmla="*/ 54142 w 103765"/>
                <a:gd name="connsiteY6" fmla="*/ 62691 h 173825"/>
                <a:gd name="connsiteX7" fmla="*/ 102585 w 103765"/>
                <a:gd name="connsiteY7" fmla="*/ 168126 h 173825"/>
                <a:gd name="connsiteX8" fmla="*/ 99736 w 103765"/>
                <a:gd name="connsiteY8" fmla="*/ 173826 h 173825"/>
                <a:gd name="connsiteX9" fmla="*/ 99736 w 103765"/>
                <a:gd name="connsiteY9" fmla="*/ 173826 h 17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3765" h="173825">
                  <a:moveTo>
                    <a:pt x="99736" y="173826"/>
                  </a:moveTo>
                  <a:cubicBezTo>
                    <a:pt x="96886" y="173826"/>
                    <a:pt x="94037" y="170976"/>
                    <a:pt x="94037" y="168126"/>
                  </a:cubicBezTo>
                  <a:cubicBezTo>
                    <a:pt x="94037" y="156728"/>
                    <a:pt x="85488" y="94037"/>
                    <a:pt x="51293" y="68390"/>
                  </a:cubicBezTo>
                  <a:cubicBezTo>
                    <a:pt x="19947" y="45593"/>
                    <a:pt x="2849" y="5699"/>
                    <a:pt x="0" y="5699"/>
                  </a:cubicBezTo>
                  <a:cubicBezTo>
                    <a:pt x="0" y="2849"/>
                    <a:pt x="0" y="0"/>
                    <a:pt x="2849" y="0"/>
                  </a:cubicBezTo>
                  <a:cubicBezTo>
                    <a:pt x="5699" y="0"/>
                    <a:pt x="8548" y="0"/>
                    <a:pt x="8548" y="2849"/>
                  </a:cubicBezTo>
                  <a:cubicBezTo>
                    <a:pt x="8548" y="2849"/>
                    <a:pt x="25646" y="39894"/>
                    <a:pt x="54142" y="62691"/>
                  </a:cubicBezTo>
                  <a:cubicBezTo>
                    <a:pt x="91187" y="88337"/>
                    <a:pt x="99736" y="156728"/>
                    <a:pt x="102585" y="168126"/>
                  </a:cubicBezTo>
                  <a:cubicBezTo>
                    <a:pt x="105435" y="170976"/>
                    <a:pt x="102585" y="173826"/>
                    <a:pt x="99736" y="173826"/>
                  </a:cubicBezTo>
                  <a:cubicBezTo>
                    <a:pt x="99736" y="173826"/>
                    <a:pt x="99736" y="173826"/>
                    <a:pt x="99736" y="173826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9AD212A8-05E5-418E-9619-19548FFBC14C}"/>
                </a:ext>
              </a:extLst>
            </p:cNvPr>
            <p:cNvSpPr/>
            <p:nvPr/>
          </p:nvSpPr>
          <p:spPr>
            <a:xfrm>
              <a:off x="7499917" y="8907599"/>
              <a:ext cx="336253" cy="145329"/>
            </a:xfrm>
            <a:custGeom>
              <a:avLst/>
              <a:gdLst>
                <a:gd name="connsiteX0" fmla="*/ 34195 w 336253"/>
                <a:gd name="connsiteY0" fmla="*/ 5699 h 145329"/>
                <a:gd name="connsiteX1" fmla="*/ 131082 w 336253"/>
                <a:gd name="connsiteY1" fmla="*/ 113984 h 145329"/>
                <a:gd name="connsiteX2" fmla="*/ 313456 w 336253"/>
                <a:gd name="connsiteY2" fmla="*/ 0 h 145329"/>
                <a:gd name="connsiteX3" fmla="*/ 336253 w 336253"/>
                <a:gd name="connsiteY3" fmla="*/ 8548 h 145329"/>
                <a:gd name="connsiteX4" fmla="*/ 128232 w 336253"/>
                <a:gd name="connsiteY4" fmla="*/ 145330 h 145329"/>
                <a:gd name="connsiteX5" fmla="*/ 0 w 336253"/>
                <a:gd name="connsiteY5" fmla="*/ 14248 h 145329"/>
                <a:gd name="connsiteX6" fmla="*/ 34195 w 336253"/>
                <a:gd name="connsiteY6" fmla="*/ 5699 h 145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6253" h="145329">
                  <a:moveTo>
                    <a:pt x="34195" y="5699"/>
                  </a:moveTo>
                  <a:lnTo>
                    <a:pt x="131082" y="113984"/>
                  </a:lnTo>
                  <a:cubicBezTo>
                    <a:pt x="131082" y="113984"/>
                    <a:pt x="253615" y="19947"/>
                    <a:pt x="313456" y="0"/>
                  </a:cubicBezTo>
                  <a:lnTo>
                    <a:pt x="336253" y="8548"/>
                  </a:lnTo>
                  <a:lnTo>
                    <a:pt x="128232" y="145330"/>
                  </a:lnTo>
                  <a:lnTo>
                    <a:pt x="0" y="14248"/>
                  </a:lnTo>
                  <a:cubicBezTo>
                    <a:pt x="0" y="14248"/>
                    <a:pt x="14248" y="8548"/>
                    <a:pt x="34195" y="5699"/>
                  </a:cubicBezTo>
                  <a:close/>
                </a:path>
              </a:pathLst>
            </a:custGeom>
            <a:solidFill>
              <a:srgbClr val="D16156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9701A1DD-1DC4-407E-AB96-832909B2EF91}"/>
                </a:ext>
              </a:extLst>
            </p:cNvPr>
            <p:cNvSpPr/>
            <p:nvPr/>
          </p:nvSpPr>
          <p:spPr>
            <a:xfrm>
              <a:off x="7254851" y="9773879"/>
              <a:ext cx="834934" cy="252940"/>
            </a:xfrm>
            <a:custGeom>
              <a:avLst/>
              <a:gdLst>
                <a:gd name="connsiteX0" fmla="*/ 726649 w 834934"/>
                <a:gd name="connsiteY0" fmla="*/ 0 h 252940"/>
                <a:gd name="connsiteX1" fmla="*/ 834934 w 834934"/>
                <a:gd name="connsiteY1" fmla="*/ 170976 h 252940"/>
                <a:gd name="connsiteX2" fmla="*/ 0 w 834934"/>
                <a:gd name="connsiteY2" fmla="*/ 193773 h 252940"/>
                <a:gd name="connsiteX3" fmla="*/ 96887 w 834934"/>
                <a:gd name="connsiteY3" fmla="*/ 42744 h 252940"/>
                <a:gd name="connsiteX4" fmla="*/ 726649 w 834934"/>
                <a:gd name="connsiteY4" fmla="*/ 0 h 252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4934" h="252940">
                  <a:moveTo>
                    <a:pt x="726649" y="0"/>
                  </a:moveTo>
                  <a:lnTo>
                    <a:pt x="834934" y="170976"/>
                  </a:lnTo>
                  <a:cubicBezTo>
                    <a:pt x="834934" y="170976"/>
                    <a:pt x="376148" y="339103"/>
                    <a:pt x="0" y="193773"/>
                  </a:cubicBezTo>
                  <a:lnTo>
                    <a:pt x="96887" y="42744"/>
                  </a:lnTo>
                  <a:cubicBezTo>
                    <a:pt x="96887" y="37045"/>
                    <a:pt x="641161" y="19948"/>
                    <a:pt x="726649" y="0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9CD6A9ED-F384-49B8-8E2E-97804D588922}"/>
                </a:ext>
              </a:extLst>
            </p:cNvPr>
            <p:cNvSpPr/>
            <p:nvPr/>
          </p:nvSpPr>
          <p:spPr>
            <a:xfrm>
              <a:off x="7346038" y="9788127"/>
              <a:ext cx="293509" cy="28496"/>
            </a:xfrm>
            <a:custGeom>
              <a:avLst/>
              <a:gdLst>
                <a:gd name="connsiteX0" fmla="*/ 5700 w 293509"/>
                <a:gd name="connsiteY0" fmla="*/ 28496 h 28496"/>
                <a:gd name="connsiteX1" fmla="*/ 0 w 293509"/>
                <a:gd name="connsiteY1" fmla="*/ 22796 h 28496"/>
                <a:gd name="connsiteX2" fmla="*/ 5700 w 293509"/>
                <a:gd name="connsiteY2" fmla="*/ 17098 h 28496"/>
                <a:gd name="connsiteX3" fmla="*/ 287810 w 293509"/>
                <a:gd name="connsiteY3" fmla="*/ 0 h 28496"/>
                <a:gd name="connsiteX4" fmla="*/ 293509 w 293509"/>
                <a:gd name="connsiteY4" fmla="*/ 2850 h 28496"/>
                <a:gd name="connsiteX5" fmla="*/ 290660 w 293509"/>
                <a:gd name="connsiteY5" fmla="*/ 8548 h 28496"/>
                <a:gd name="connsiteX6" fmla="*/ 5700 w 293509"/>
                <a:gd name="connsiteY6" fmla="*/ 28496 h 28496"/>
                <a:gd name="connsiteX7" fmla="*/ 5700 w 293509"/>
                <a:gd name="connsiteY7" fmla="*/ 28496 h 28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3509" h="28496">
                  <a:moveTo>
                    <a:pt x="5700" y="28496"/>
                  </a:moveTo>
                  <a:cubicBezTo>
                    <a:pt x="2850" y="28496"/>
                    <a:pt x="0" y="25646"/>
                    <a:pt x="0" y="22796"/>
                  </a:cubicBezTo>
                  <a:cubicBezTo>
                    <a:pt x="0" y="19948"/>
                    <a:pt x="2850" y="17098"/>
                    <a:pt x="5700" y="17098"/>
                  </a:cubicBezTo>
                  <a:cubicBezTo>
                    <a:pt x="8549" y="17098"/>
                    <a:pt x="202322" y="14248"/>
                    <a:pt x="287810" y="0"/>
                  </a:cubicBezTo>
                  <a:cubicBezTo>
                    <a:pt x="290660" y="0"/>
                    <a:pt x="293509" y="0"/>
                    <a:pt x="293509" y="2850"/>
                  </a:cubicBezTo>
                  <a:cubicBezTo>
                    <a:pt x="293509" y="5700"/>
                    <a:pt x="293509" y="8548"/>
                    <a:pt x="290660" y="8548"/>
                  </a:cubicBezTo>
                  <a:cubicBezTo>
                    <a:pt x="202322" y="25646"/>
                    <a:pt x="8549" y="28496"/>
                    <a:pt x="5700" y="28496"/>
                  </a:cubicBezTo>
                  <a:lnTo>
                    <a:pt x="5700" y="28496"/>
                  </a:ln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033B7942-66A4-4477-A538-B60EA816A749}"/>
                </a:ext>
              </a:extLst>
            </p:cNvPr>
            <p:cNvSpPr/>
            <p:nvPr/>
          </p:nvSpPr>
          <p:spPr>
            <a:xfrm>
              <a:off x="7618128" y="8827810"/>
              <a:ext cx="223741" cy="384696"/>
            </a:xfrm>
            <a:custGeom>
              <a:avLst/>
              <a:gdLst>
                <a:gd name="connsiteX0" fmla="*/ 192396 w 223741"/>
                <a:gd name="connsiteY0" fmla="*/ 0 h 384696"/>
                <a:gd name="connsiteX1" fmla="*/ 27119 w 223741"/>
                <a:gd name="connsiteY1" fmla="*/ 182375 h 384696"/>
                <a:gd name="connsiteX2" fmla="*/ 10021 w 223741"/>
                <a:gd name="connsiteY2" fmla="*/ 364749 h 384696"/>
                <a:gd name="connsiteX3" fmla="*/ 52765 w 223741"/>
                <a:gd name="connsiteY3" fmla="*/ 364749 h 384696"/>
                <a:gd name="connsiteX4" fmla="*/ 124005 w 223741"/>
                <a:gd name="connsiteY4" fmla="*/ 384696 h 384696"/>
                <a:gd name="connsiteX5" fmla="*/ 163900 w 223741"/>
                <a:gd name="connsiteY5" fmla="*/ 359050 h 384696"/>
                <a:gd name="connsiteX6" fmla="*/ 223742 w 223741"/>
                <a:gd name="connsiteY6" fmla="*/ 34195 h 384696"/>
                <a:gd name="connsiteX7" fmla="*/ 192396 w 223741"/>
                <a:gd name="connsiteY7" fmla="*/ 0 h 384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3741" h="384696">
                  <a:moveTo>
                    <a:pt x="192396" y="0"/>
                  </a:moveTo>
                  <a:cubicBezTo>
                    <a:pt x="192396" y="0"/>
                    <a:pt x="61314" y="85488"/>
                    <a:pt x="27119" y="182375"/>
                  </a:cubicBezTo>
                  <a:cubicBezTo>
                    <a:pt x="-7077" y="282111"/>
                    <a:pt x="-4227" y="356200"/>
                    <a:pt x="10021" y="364749"/>
                  </a:cubicBezTo>
                  <a:cubicBezTo>
                    <a:pt x="24269" y="373298"/>
                    <a:pt x="35667" y="356200"/>
                    <a:pt x="52765" y="364749"/>
                  </a:cubicBezTo>
                  <a:cubicBezTo>
                    <a:pt x="69863" y="373298"/>
                    <a:pt x="112607" y="384696"/>
                    <a:pt x="124005" y="384696"/>
                  </a:cubicBezTo>
                  <a:cubicBezTo>
                    <a:pt x="138253" y="384696"/>
                    <a:pt x="169599" y="370448"/>
                    <a:pt x="163900" y="359050"/>
                  </a:cubicBezTo>
                  <a:cubicBezTo>
                    <a:pt x="158201" y="347652"/>
                    <a:pt x="200945" y="59841"/>
                    <a:pt x="223742" y="34195"/>
                  </a:cubicBezTo>
                  <a:lnTo>
                    <a:pt x="192396" y="0"/>
                  </a:ln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C8FAD03E-76C7-4343-968D-B915458E6A21}"/>
                </a:ext>
              </a:extLst>
            </p:cNvPr>
            <p:cNvSpPr/>
            <p:nvPr/>
          </p:nvSpPr>
          <p:spPr>
            <a:xfrm>
              <a:off x="7662344" y="8862718"/>
              <a:ext cx="138918" cy="247203"/>
            </a:xfrm>
            <a:custGeom>
              <a:avLst/>
              <a:gdLst>
                <a:gd name="connsiteX0" fmla="*/ 5699 w 138918"/>
                <a:gd name="connsiteY0" fmla="*/ 247203 h 247203"/>
                <a:gd name="connsiteX1" fmla="*/ 5699 w 138918"/>
                <a:gd name="connsiteY1" fmla="*/ 247203 h 247203"/>
                <a:gd name="connsiteX2" fmla="*/ 0 w 138918"/>
                <a:gd name="connsiteY2" fmla="*/ 241504 h 247203"/>
                <a:gd name="connsiteX3" fmla="*/ 128232 w 138918"/>
                <a:gd name="connsiteY3" fmla="*/ 2137 h 247203"/>
                <a:gd name="connsiteX4" fmla="*/ 136781 w 138918"/>
                <a:gd name="connsiteY4" fmla="*/ 2137 h 247203"/>
                <a:gd name="connsiteX5" fmla="*/ 136781 w 138918"/>
                <a:gd name="connsiteY5" fmla="*/ 10686 h 247203"/>
                <a:gd name="connsiteX6" fmla="*/ 11398 w 138918"/>
                <a:gd name="connsiteY6" fmla="*/ 244354 h 247203"/>
                <a:gd name="connsiteX7" fmla="*/ 5699 w 138918"/>
                <a:gd name="connsiteY7" fmla="*/ 247203 h 247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918" h="247203">
                  <a:moveTo>
                    <a:pt x="5699" y="247203"/>
                  </a:moveTo>
                  <a:lnTo>
                    <a:pt x="5699" y="247203"/>
                  </a:lnTo>
                  <a:cubicBezTo>
                    <a:pt x="2850" y="247203"/>
                    <a:pt x="0" y="244354"/>
                    <a:pt x="0" y="241504"/>
                  </a:cubicBezTo>
                  <a:cubicBezTo>
                    <a:pt x="5699" y="130370"/>
                    <a:pt x="122533" y="7836"/>
                    <a:pt x="128232" y="2137"/>
                  </a:cubicBezTo>
                  <a:cubicBezTo>
                    <a:pt x="131082" y="-712"/>
                    <a:pt x="133931" y="-712"/>
                    <a:pt x="136781" y="2137"/>
                  </a:cubicBezTo>
                  <a:cubicBezTo>
                    <a:pt x="139630" y="4987"/>
                    <a:pt x="139630" y="7836"/>
                    <a:pt x="136781" y="10686"/>
                  </a:cubicBezTo>
                  <a:cubicBezTo>
                    <a:pt x="136781" y="10686"/>
                    <a:pt x="17098" y="136068"/>
                    <a:pt x="11398" y="244354"/>
                  </a:cubicBezTo>
                  <a:cubicBezTo>
                    <a:pt x="11398" y="244354"/>
                    <a:pt x="8549" y="247203"/>
                    <a:pt x="5699" y="247203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7CAB74D4-34CA-4809-8215-F61A4CA7AEB1}"/>
                </a:ext>
              </a:extLst>
            </p:cNvPr>
            <p:cNvSpPr/>
            <p:nvPr/>
          </p:nvSpPr>
          <p:spPr>
            <a:xfrm>
              <a:off x="7759231" y="8813003"/>
              <a:ext cx="98179" cy="73685"/>
            </a:xfrm>
            <a:custGeom>
              <a:avLst/>
              <a:gdLst>
                <a:gd name="connsiteX0" fmla="*/ 0 w 98179"/>
                <a:gd name="connsiteY0" fmla="*/ 14807 h 73685"/>
                <a:gd name="connsiteX1" fmla="*/ 17098 w 98179"/>
                <a:gd name="connsiteY1" fmla="*/ 559 h 73685"/>
                <a:gd name="connsiteX2" fmla="*/ 88338 w 98179"/>
                <a:gd name="connsiteY2" fmla="*/ 23356 h 73685"/>
                <a:gd name="connsiteX3" fmla="*/ 94037 w 98179"/>
                <a:gd name="connsiteY3" fmla="*/ 49002 h 73685"/>
                <a:gd name="connsiteX4" fmla="*/ 76940 w 98179"/>
                <a:gd name="connsiteY4" fmla="*/ 71799 h 73685"/>
                <a:gd name="connsiteX5" fmla="*/ 14248 w 98179"/>
                <a:gd name="connsiteY5" fmla="*/ 51852 h 73685"/>
                <a:gd name="connsiteX6" fmla="*/ 5700 w 98179"/>
                <a:gd name="connsiteY6" fmla="*/ 37604 h 73685"/>
                <a:gd name="connsiteX7" fmla="*/ 0 w 98179"/>
                <a:gd name="connsiteY7" fmla="*/ 14807 h 7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8179" h="73685">
                  <a:moveTo>
                    <a:pt x="0" y="14807"/>
                  </a:moveTo>
                  <a:cubicBezTo>
                    <a:pt x="0" y="6258"/>
                    <a:pt x="8549" y="-2291"/>
                    <a:pt x="17098" y="559"/>
                  </a:cubicBezTo>
                  <a:cubicBezTo>
                    <a:pt x="39895" y="9108"/>
                    <a:pt x="65541" y="14807"/>
                    <a:pt x="88338" y="23356"/>
                  </a:cubicBezTo>
                  <a:cubicBezTo>
                    <a:pt x="99736" y="26205"/>
                    <a:pt x="99736" y="43303"/>
                    <a:pt x="94037" y="49002"/>
                  </a:cubicBezTo>
                  <a:cubicBezTo>
                    <a:pt x="105436" y="57551"/>
                    <a:pt x="91188" y="80348"/>
                    <a:pt x="76940" y="71799"/>
                  </a:cubicBezTo>
                  <a:cubicBezTo>
                    <a:pt x="56992" y="60400"/>
                    <a:pt x="37045" y="54701"/>
                    <a:pt x="14248" y="51852"/>
                  </a:cubicBezTo>
                  <a:cubicBezTo>
                    <a:pt x="5700" y="51852"/>
                    <a:pt x="2850" y="43303"/>
                    <a:pt x="5700" y="37604"/>
                  </a:cubicBezTo>
                  <a:cubicBezTo>
                    <a:pt x="2850" y="29055"/>
                    <a:pt x="0" y="23356"/>
                    <a:pt x="0" y="14807"/>
                  </a:cubicBezTo>
                  <a:close/>
                </a:path>
              </a:pathLst>
            </a:custGeom>
            <a:solidFill>
              <a:srgbClr val="7F95BC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51DEAE6C-DC28-42E6-BFEE-E82264DB66B3}"/>
                </a:ext>
              </a:extLst>
            </p:cNvPr>
            <p:cNvSpPr/>
            <p:nvPr/>
          </p:nvSpPr>
          <p:spPr>
            <a:xfrm>
              <a:off x="7318920" y="8827810"/>
              <a:ext cx="223741" cy="384696"/>
            </a:xfrm>
            <a:custGeom>
              <a:avLst/>
              <a:gdLst>
                <a:gd name="connsiteX0" fmla="*/ 192396 w 223741"/>
                <a:gd name="connsiteY0" fmla="*/ 0 h 384696"/>
                <a:gd name="connsiteX1" fmla="*/ 27119 w 223741"/>
                <a:gd name="connsiteY1" fmla="*/ 182375 h 384696"/>
                <a:gd name="connsiteX2" fmla="*/ 10021 w 223741"/>
                <a:gd name="connsiteY2" fmla="*/ 364749 h 384696"/>
                <a:gd name="connsiteX3" fmla="*/ 52765 w 223741"/>
                <a:gd name="connsiteY3" fmla="*/ 364749 h 384696"/>
                <a:gd name="connsiteX4" fmla="*/ 124005 w 223741"/>
                <a:gd name="connsiteY4" fmla="*/ 384696 h 384696"/>
                <a:gd name="connsiteX5" fmla="*/ 163900 w 223741"/>
                <a:gd name="connsiteY5" fmla="*/ 359050 h 384696"/>
                <a:gd name="connsiteX6" fmla="*/ 223742 w 223741"/>
                <a:gd name="connsiteY6" fmla="*/ 34195 h 384696"/>
                <a:gd name="connsiteX7" fmla="*/ 192396 w 223741"/>
                <a:gd name="connsiteY7" fmla="*/ 0 h 384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3741" h="384696">
                  <a:moveTo>
                    <a:pt x="192396" y="0"/>
                  </a:moveTo>
                  <a:cubicBezTo>
                    <a:pt x="192396" y="0"/>
                    <a:pt x="61314" y="85488"/>
                    <a:pt x="27119" y="182375"/>
                  </a:cubicBezTo>
                  <a:cubicBezTo>
                    <a:pt x="-7077" y="282111"/>
                    <a:pt x="-4227" y="356200"/>
                    <a:pt x="10021" y="364749"/>
                  </a:cubicBezTo>
                  <a:cubicBezTo>
                    <a:pt x="21419" y="373298"/>
                    <a:pt x="35667" y="356200"/>
                    <a:pt x="52765" y="364749"/>
                  </a:cubicBezTo>
                  <a:cubicBezTo>
                    <a:pt x="69863" y="373298"/>
                    <a:pt x="112607" y="384696"/>
                    <a:pt x="124005" y="384696"/>
                  </a:cubicBezTo>
                  <a:cubicBezTo>
                    <a:pt x="135404" y="384696"/>
                    <a:pt x="169599" y="370448"/>
                    <a:pt x="163900" y="359050"/>
                  </a:cubicBezTo>
                  <a:cubicBezTo>
                    <a:pt x="158201" y="347652"/>
                    <a:pt x="200945" y="59841"/>
                    <a:pt x="223742" y="34195"/>
                  </a:cubicBezTo>
                  <a:lnTo>
                    <a:pt x="192396" y="0"/>
                  </a:ln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88BDA2EA-3145-40CC-BC41-C7DEA37D4330}"/>
                </a:ext>
              </a:extLst>
            </p:cNvPr>
            <p:cNvSpPr/>
            <p:nvPr/>
          </p:nvSpPr>
          <p:spPr>
            <a:xfrm>
              <a:off x="7363136" y="8862718"/>
              <a:ext cx="138918" cy="247203"/>
            </a:xfrm>
            <a:custGeom>
              <a:avLst/>
              <a:gdLst>
                <a:gd name="connsiteX0" fmla="*/ 5699 w 138918"/>
                <a:gd name="connsiteY0" fmla="*/ 247203 h 247203"/>
                <a:gd name="connsiteX1" fmla="*/ 5699 w 138918"/>
                <a:gd name="connsiteY1" fmla="*/ 247203 h 247203"/>
                <a:gd name="connsiteX2" fmla="*/ 0 w 138918"/>
                <a:gd name="connsiteY2" fmla="*/ 241504 h 247203"/>
                <a:gd name="connsiteX3" fmla="*/ 128232 w 138918"/>
                <a:gd name="connsiteY3" fmla="*/ 2137 h 247203"/>
                <a:gd name="connsiteX4" fmla="*/ 136781 w 138918"/>
                <a:gd name="connsiteY4" fmla="*/ 2137 h 247203"/>
                <a:gd name="connsiteX5" fmla="*/ 136781 w 138918"/>
                <a:gd name="connsiteY5" fmla="*/ 10686 h 247203"/>
                <a:gd name="connsiteX6" fmla="*/ 11398 w 138918"/>
                <a:gd name="connsiteY6" fmla="*/ 244354 h 247203"/>
                <a:gd name="connsiteX7" fmla="*/ 5699 w 138918"/>
                <a:gd name="connsiteY7" fmla="*/ 247203 h 247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918" h="247203">
                  <a:moveTo>
                    <a:pt x="5699" y="247203"/>
                  </a:moveTo>
                  <a:cubicBezTo>
                    <a:pt x="5699" y="247203"/>
                    <a:pt x="5699" y="247203"/>
                    <a:pt x="5699" y="247203"/>
                  </a:cubicBezTo>
                  <a:cubicBezTo>
                    <a:pt x="2850" y="247203"/>
                    <a:pt x="0" y="244354"/>
                    <a:pt x="0" y="241504"/>
                  </a:cubicBezTo>
                  <a:cubicBezTo>
                    <a:pt x="5699" y="130370"/>
                    <a:pt x="122533" y="7836"/>
                    <a:pt x="128232" y="2137"/>
                  </a:cubicBezTo>
                  <a:cubicBezTo>
                    <a:pt x="131082" y="-712"/>
                    <a:pt x="133931" y="-712"/>
                    <a:pt x="136781" y="2137"/>
                  </a:cubicBezTo>
                  <a:cubicBezTo>
                    <a:pt x="139630" y="4987"/>
                    <a:pt x="139630" y="7836"/>
                    <a:pt x="136781" y="10686"/>
                  </a:cubicBezTo>
                  <a:cubicBezTo>
                    <a:pt x="136781" y="10686"/>
                    <a:pt x="17098" y="136068"/>
                    <a:pt x="11398" y="244354"/>
                  </a:cubicBezTo>
                  <a:cubicBezTo>
                    <a:pt x="11398" y="244354"/>
                    <a:pt x="8549" y="247203"/>
                    <a:pt x="5699" y="247203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79A8AE5A-C747-434D-8453-A8F627746A9D}"/>
                </a:ext>
              </a:extLst>
            </p:cNvPr>
            <p:cNvSpPr/>
            <p:nvPr/>
          </p:nvSpPr>
          <p:spPr>
            <a:xfrm>
              <a:off x="7460022" y="8813003"/>
              <a:ext cx="98179" cy="73685"/>
            </a:xfrm>
            <a:custGeom>
              <a:avLst/>
              <a:gdLst>
                <a:gd name="connsiteX0" fmla="*/ 0 w 98179"/>
                <a:gd name="connsiteY0" fmla="*/ 14807 h 73685"/>
                <a:gd name="connsiteX1" fmla="*/ 17098 w 98179"/>
                <a:gd name="connsiteY1" fmla="*/ 559 h 73685"/>
                <a:gd name="connsiteX2" fmla="*/ 88338 w 98179"/>
                <a:gd name="connsiteY2" fmla="*/ 23356 h 73685"/>
                <a:gd name="connsiteX3" fmla="*/ 94037 w 98179"/>
                <a:gd name="connsiteY3" fmla="*/ 49002 h 73685"/>
                <a:gd name="connsiteX4" fmla="*/ 76940 w 98179"/>
                <a:gd name="connsiteY4" fmla="*/ 71799 h 73685"/>
                <a:gd name="connsiteX5" fmla="*/ 14248 w 98179"/>
                <a:gd name="connsiteY5" fmla="*/ 51852 h 73685"/>
                <a:gd name="connsiteX6" fmla="*/ 5700 w 98179"/>
                <a:gd name="connsiteY6" fmla="*/ 37604 h 73685"/>
                <a:gd name="connsiteX7" fmla="*/ 0 w 98179"/>
                <a:gd name="connsiteY7" fmla="*/ 14807 h 7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8179" h="73685">
                  <a:moveTo>
                    <a:pt x="0" y="14807"/>
                  </a:moveTo>
                  <a:cubicBezTo>
                    <a:pt x="0" y="6258"/>
                    <a:pt x="8549" y="-2291"/>
                    <a:pt x="17098" y="559"/>
                  </a:cubicBezTo>
                  <a:cubicBezTo>
                    <a:pt x="39895" y="9108"/>
                    <a:pt x="65541" y="14807"/>
                    <a:pt x="88338" y="23356"/>
                  </a:cubicBezTo>
                  <a:cubicBezTo>
                    <a:pt x="99736" y="26205"/>
                    <a:pt x="99736" y="43303"/>
                    <a:pt x="94037" y="49002"/>
                  </a:cubicBezTo>
                  <a:cubicBezTo>
                    <a:pt x="105436" y="57551"/>
                    <a:pt x="91188" y="80348"/>
                    <a:pt x="76940" y="71799"/>
                  </a:cubicBezTo>
                  <a:cubicBezTo>
                    <a:pt x="56992" y="60400"/>
                    <a:pt x="37045" y="54701"/>
                    <a:pt x="14248" y="51852"/>
                  </a:cubicBezTo>
                  <a:cubicBezTo>
                    <a:pt x="5700" y="51852"/>
                    <a:pt x="2850" y="43303"/>
                    <a:pt x="5700" y="37604"/>
                  </a:cubicBezTo>
                  <a:cubicBezTo>
                    <a:pt x="2850" y="29055"/>
                    <a:pt x="0" y="23356"/>
                    <a:pt x="0" y="14807"/>
                  </a:cubicBezTo>
                  <a:close/>
                </a:path>
              </a:pathLst>
            </a:custGeom>
            <a:solidFill>
              <a:srgbClr val="7F95BC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95B837FC-52C6-425F-998C-A86864AD8DE0}"/>
                </a:ext>
              </a:extLst>
            </p:cNvPr>
            <p:cNvSpPr/>
            <p:nvPr/>
          </p:nvSpPr>
          <p:spPr>
            <a:xfrm>
              <a:off x="7363136" y="12305910"/>
              <a:ext cx="146596" cy="95304"/>
            </a:xfrm>
            <a:custGeom>
              <a:avLst/>
              <a:gdLst>
                <a:gd name="connsiteX0" fmla="*/ 5699 w 146596"/>
                <a:gd name="connsiteY0" fmla="*/ 95304 h 95304"/>
                <a:gd name="connsiteX1" fmla="*/ 0 w 146596"/>
                <a:gd name="connsiteY1" fmla="*/ 92454 h 95304"/>
                <a:gd name="connsiteX2" fmla="*/ 2850 w 146596"/>
                <a:gd name="connsiteY2" fmla="*/ 86755 h 95304"/>
                <a:gd name="connsiteX3" fmla="*/ 136781 w 146596"/>
                <a:gd name="connsiteY3" fmla="*/ 1267 h 95304"/>
                <a:gd name="connsiteX4" fmla="*/ 145330 w 146596"/>
                <a:gd name="connsiteY4" fmla="*/ 1267 h 95304"/>
                <a:gd name="connsiteX5" fmla="*/ 145330 w 146596"/>
                <a:gd name="connsiteY5" fmla="*/ 9816 h 95304"/>
                <a:gd name="connsiteX6" fmla="*/ 5699 w 146596"/>
                <a:gd name="connsiteY6" fmla="*/ 95304 h 95304"/>
                <a:gd name="connsiteX7" fmla="*/ 5699 w 146596"/>
                <a:gd name="connsiteY7" fmla="*/ 95304 h 9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596" h="95304">
                  <a:moveTo>
                    <a:pt x="5699" y="95304"/>
                  </a:moveTo>
                  <a:cubicBezTo>
                    <a:pt x="2850" y="95304"/>
                    <a:pt x="2850" y="95304"/>
                    <a:pt x="0" y="92454"/>
                  </a:cubicBezTo>
                  <a:cubicBezTo>
                    <a:pt x="0" y="89604"/>
                    <a:pt x="0" y="86755"/>
                    <a:pt x="2850" y="86755"/>
                  </a:cubicBezTo>
                  <a:cubicBezTo>
                    <a:pt x="37045" y="69657"/>
                    <a:pt x="136781" y="1267"/>
                    <a:pt x="136781" y="1267"/>
                  </a:cubicBezTo>
                  <a:cubicBezTo>
                    <a:pt x="139630" y="-1583"/>
                    <a:pt x="142480" y="1267"/>
                    <a:pt x="145330" y="1267"/>
                  </a:cubicBezTo>
                  <a:cubicBezTo>
                    <a:pt x="148179" y="4116"/>
                    <a:pt x="145330" y="6966"/>
                    <a:pt x="145330" y="9816"/>
                  </a:cubicBezTo>
                  <a:cubicBezTo>
                    <a:pt x="136781" y="9816"/>
                    <a:pt x="42744" y="78206"/>
                    <a:pt x="5699" y="95304"/>
                  </a:cubicBezTo>
                  <a:cubicBezTo>
                    <a:pt x="5699" y="95304"/>
                    <a:pt x="5699" y="95304"/>
                    <a:pt x="5699" y="95304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C1E510E7-A826-499C-8059-7E4CDD2DD568}"/>
                </a:ext>
              </a:extLst>
            </p:cNvPr>
            <p:cNvSpPr/>
            <p:nvPr/>
          </p:nvSpPr>
          <p:spPr>
            <a:xfrm>
              <a:off x="7965985" y="11255673"/>
              <a:ext cx="106701" cy="37044"/>
            </a:xfrm>
            <a:custGeom>
              <a:avLst/>
              <a:gdLst>
                <a:gd name="connsiteX0" fmla="*/ 4116 w 106701"/>
                <a:gd name="connsiteY0" fmla="*/ 37045 h 37044"/>
                <a:gd name="connsiteX1" fmla="*/ 1266 w 106701"/>
                <a:gd name="connsiteY1" fmla="*/ 34196 h 37044"/>
                <a:gd name="connsiteX2" fmla="*/ 1266 w 106701"/>
                <a:gd name="connsiteY2" fmla="*/ 25646 h 37044"/>
                <a:gd name="connsiteX3" fmla="*/ 101003 w 106701"/>
                <a:gd name="connsiteY3" fmla="*/ 0 h 37044"/>
                <a:gd name="connsiteX4" fmla="*/ 106702 w 106701"/>
                <a:gd name="connsiteY4" fmla="*/ 5700 h 37044"/>
                <a:gd name="connsiteX5" fmla="*/ 101003 w 106701"/>
                <a:gd name="connsiteY5" fmla="*/ 11398 h 37044"/>
                <a:gd name="connsiteX6" fmla="*/ 6965 w 106701"/>
                <a:gd name="connsiteY6" fmla="*/ 34196 h 37044"/>
                <a:gd name="connsiteX7" fmla="*/ 4116 w 106701"/>
                <a:gd name="connsiteY7" fmla="*/ 37045 h 37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701" h="37044">
                  <a:moveTo>
                    <a:pt x="4116" y="37045"/>
                  </a:moveTo>
                  <a:cubicBezTo>
                    <a:pt x="1266" y="37045"/>
                    <a:pt x="1266" y="37045"/>
                    <a:pt x="1266" y="34196"/>
                  </a:cubicBezTo>
                  <a:cubicBezTo>
                    <a:pt x="-1583" y="31346"/>
                    <a:pt x="1266" y="28496"/>
                    <a:pt x="1266" y="25646"/>
                  </a:cubicBezTo>
                  <a:cubicBezTo>
                    <a:pt x="29762" y="5700"/>
                    <a:pt x="98153" y="0"/>
                    <a:pt x="101003" y="0"/>
                  </a:cubicBezTo>
                  <a:cubicBezTo>
                    <a:pt x="103852" y="0"/>
                    <a:pt x="106702" y="2850"/>
                    <a:pt x="106702" y="5700"/>
                  </a:cubicBezTo>
                  <a:cubicBezTo>
                    <a:pt x="106702" y="8548"/>
                    <a:pt x="103852" y="11398"/>
                    <a:pt x="101003" y="11398"/>
                  </a:cubicBezTo>
                  <a:cubicBezTo>
                    <a:pt x="101003" y="11398"/>
                    <a:pt x="32612" y="17098"/>
                    <a:pt x="6965" y="34196"/>
                  </a:cubicBezTo>
                  <a:cubicBezTo>
                    <a:pt x="6965" y="37045"/>
                    <a:pt x="4116" y="37045"/>
                    <a:pt x="4116" y="37045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F4682C94-FBCD-49D5-9B01-797A2518B97E}"/>
                </a:ext>
              </a:extLst>
            </p:cNvPr>
            <p:cNvSpPr/>
            <p:nvPr/>
          </p:nvSpPr>
          <p:spPr>
            <a:xfrm>
              <a:off x="8441955" y="11761722"/>
              <a:ext cx="84999" cy="135111"/>
            </a:xfrm>
            <a:custGeom>
              <a:avLst/>
              <a:gdLst>
                <a:gd name="connsiteX0" fmla="*/ 6880 w 84999"/>
                <a:gd name="connsiteY0" fmla="*/ 135112 h 135111"/>
                <a:gd name="connsiteX1" fmla="*/ 1180 w 84999"/>
                <a:gd name="connsiteY1" fmla="*/ 132262 h 135111"/>
                <a:gd name="connsiteX2" fmla="*/ 4030 w 84999"/>
                <a:gd name="connsiteY2" fmla="*/ 123714 h 135111"/>
                <a:gd name="connsiteX3" fmla="*/ 75270 w 84999"/>
                <a:gd name="connsiteY3" fmla="*/ 4030 h 135111"/>
                <a:gd name="connsiteX4" fmla="*/ 80969 w 84999"/>
                <a:gd name="connsiteY4" fmla="*/ 1180 h 135111"/>
                <a:gd name="connsiteX5" fmla="*/ 83819 w 84999"/>
                <a:gd name="connsiteY5" fmla="*/ 6880 h 135111"/>
                <a:gd name="connsiteX6" fmla="*/ 6880 w 84999"/>
                <a:gd name="connsiteY6" fmla="*/ 135112 h 135111"/>
                <a:gd name="connsiteX7" fmla="*/ 6880 w 84999"/>
                <a:gd name="connsiteY7" fmla="*/ 135112 h 13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999" h="135111">
                  <a:moveTo>
                    <a:pt x="6880" y="135112"/>
                  </a:moveTo>
                  <a:cubicBezTo>
                    <a:pt x="4030" y="135112"/>
                    <a:pt x="4030" y="135112"/>
                    <a:pt x="1180" y="132262"/>
                  </a:cubicBezTo>
                  <a:cubicBezTo>
                    <a:pt x="-1669" y="129412"/>
                    <a:pt x="1180" y="126563"/>
                    <a:pt x="4030" y="123714"/>
                  </a:cubicBezTo>
                  <a:cubicBezTo>
                    <a:pt x="52473" y="95217"/>
                    <a:pt x="75270" y="4030"/>
                    <a:pt x="75270" y="4030"/>
                  </a:cubicBezTo>
                  <a:cubicBezTo>
                    <a:pt x="75270" y="1180"/>
                    <a:pt x="78120" y="-1669"/>
                    <a:pt x="80969" y="1180"/>
                  </a:cubicBezTo>
                  <a:cubicBezTo>
                    <a:pt x="83819" y="1180"/>
                    <a:pt x="86668" y="4030"/>
                    <a:pt x="83819" y="6880"/>
                  </a:cubicBezTo>
                  <a:cubicBezTo>
                    <a:pt x="83819" y="12579"/>
                    <a:pt x="61022" y="103766"/>
                    <a:pt x="6880" y="135112"/>
                  </a:cubicBezTo>
                  <a:cubicBezTo>
                    <a:pt x="6880" y="135112"/>
                    <a:pt x="6880" y="135112"/>
                    <a:pt x="6880" y="135112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875F7378-7611-41F8-98FA-3954CC917D65}"/>
                </a:ext>
              </a:extLst>
            </p:cNvPr>
            <p:cNvSpPr/>
            <p:nvPr/>
          </p:nvSpPr>
          <p:spPr>
            <a:xfrm>
              <a:off x="7354587" y="12127652"/>
              <a:ext cx="151029" cy="19946"/>
            </a:xfrm>
            <a:custGeom>
              <a:avLst/>
              <a:gdLst>
                <a:gd name="connsiteX0" fmla="*/ 82639 w 151029"/>
                <a:gd name="connsiteY0" fmla="*/ 19947 h 19946"/>
                <a:gd name="connsiteX1" fmla="*/ 2850 w 151029"/>
                <a:gd name="connsiteY1" fmla="*/ 8548 h 19946"/>
                <a:gd name="connsiteX2" fmla="*/ 0 w 151029"/>
                <a:gd name="connsiteY2" fmla="*/ 2850 h 19946"/>
                <a:gd name="connsiteX3" fmla="*/ 5699 w 151029"/>
                <a:gd name="connsiteY3" fmla="*/ 0 h 19946"/>
                <a:gd name="connsiteX4" fmla="*/ 145330 w 151029"/>
                <a:gd name="connsiteY4" fmla="*/ 2850 h 19946"/>
                <a:gd name="connsiteX5" fmla="*/ 151029 w 151029"/>
                <a:gd name="connsiteY5" fmla="*/ 5699 h 19946"/>
                <a:gd name="connsiteX6" fmla="*/ 148179 w 151029"/>
                <a:gd name="connsiteY6" fmla="*/ 11398 h 19946"/>
                <a:gd name="connsiteX7" fmla="*/ 82639 w 151029"/>
                <a:gd name="connsiteY7" fmla="*/ 19947 h 19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029" h="19946">
                  <a:moveTo>
                    <a:pt x="82639" y="19947"/>
                  </a:moveTo>
                  <a:cubicBezTo>
                    <a:pt x="39895" y="19947"/>
                    <a:pt x="5699" y="8548"/>
                    <a:pt x="2850" y="8548"/>
                  </a:cubicBezTo>
                  <a:cubicBezTo>
                    <a:pt x="0" y="8548"/>
                    <a:pt x="0" y="5699"/>
                    <a:pt x="0" y="2850"/>
                  </a:cubicBezTo>
                  <a:cubicBezTo>
                    <a:pt x="0" y="0"/>
                    <a:pt x="2850" y="0"/>
                    <a:pt x="5699" y="0"/>
                  </a:cubicBezTo>
                  <a:cubicBezTo>
                    <a:pt x="5699" y="0"/>
                    <a:pt x="79789" y="25646"/>
                    <a:pt x="145330" y="2850"/>
                  </a:cubicBezTo>
                  <a:cubicBezTo>
                    <a:pt x="148179" y="2850"/>
                    <a:pt x="151029" y="2850"/>
                    <a:pt x="151029" y="5699"/>
                  </a:cubicBezTo>
                  <a:cubicBezTo>
                    <a:pt x="151029" y="8548"/>
                    <a:pt x="151029" y="11398"/>
                    <a:pt x="148179" y="11398"/>
                  </a:cubicBezTo>
                  <a:cubicBezTo>
                    <a:pt x="128232" y="17098"/>
                    <a:pt x="105435" y="19947"/>
                    <a:pt x="82639" y="19947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3762AD93-3D4D-4EAD-AEC8-E1D7BB53B2AB}"/>
                </a:ext>
              </a:extLst>
            </p:cNvPr>
            <p:cNvSpPr/>
            <p:nvPr/>
          </p:nvSpPr>
          <p:spPr>
            <a:xfrm>
              <a:off x="7414429" y="9104938"/>
              <a:ext cx="676490" cy="774376"/>
            </a:xfrm>
            <a:custGeom>
              <a:avLst/>
              <a:gdLst>
                <a:gd name="connsiteX0" fmla="*/ 629762 w 676490"/>
                <a:gd name="connsiteY0" fmla="*/ 59126 h 774376"/>
                <a:gd name="connsiteX1" fmla="*/ 413193 w 676490"/>
                <a:gd name="connsiteY1" fmla="*/ 156012 h 774376"/>
                <a:gd name="connsiteX2" fmla="*/ 407493 w 676490"/>
                <a:gd name="connsiteY2" fmla="*/ 554957 h 774376"/>
                <a:gd name="connsiteX3" fmla="*/ 0 w 676490"/>
                <a:gd name="connsiteY3" fmla="*/ 657543 h 774376"/>
                <a:gd name="connsiteX4" fmla="*/ 11398 w 676490"/>
                <a:gd name="connsiteY4" fmla="*/ 774377 h 774376"/>
                <a:gd name="connsiteX5" fmla="*/ 578470 w 676490"/>
                <a:gd name="connsiteY5" fmla="*/ 666091 h 774376"/>
                <a:gd name="connsiteX6" fmla="*/ 629762 w 676490"/>
                <a:gd name="connsiteY6" fmla="*/ 59126 h 774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6490" h="774376">
                  <a:moveTo>
                    <a:pt x="629762" y="59126"/>
                  </a:moveTo>
                  <a:cubicBezTo>
                    <a:pt x="515778" y="-69106"/>
                    <a:pt x="401794" y="33479"/>
                    <a:pt x="413193" y="156012"/>
                  </a:cubicBezTo>
                  <a:cubicBezTo>
                    <a:pt x="424591" y="275696"/>
                    <a:pt x="421742" y="529310"/>
                    <a:pt x="407493" y="554957"/>
                  </a:cubicBezTo>
                  <a:cubicBezTo>
                    <a:pt x="356201" y="577753"/>
                    <a:pt x="0" y="657543"/>
                    <a:pt x="0" y="657543"/>
                  </a:cubicBezTo>
                  <a:cubicBezTo>
                    <a:pt x="17097" y="683189"/>
                    <a:pt x="11398" y="774377"/>
                    <a:pt x="11398" y="774377"/>
                  </a:cubicBezTo>
                  <a:cubicBezTo>
                    <a:pt x="11398" y="774377"/>
                    <a:pt x="498681" y="760129"/>
                    <a:pt x="578470" y="666091"/>
                  </a:cubicBezTo>
                  <a:cubicBezTo>
                    <a:pt x="618364" y="614799"/>
                    <a:pt x="743746" y="184508"/>
                    <a:pt x="629762" y="59126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2A88EA7C-3D4F-46ED-B1F1-D78F3F1F81E9}"/>
                </a:ext>
              </a:extLst>
            </p:cNvPr>
            <p:cNvSpPr/>
            <p:nvPr/>
          </p:nvSpPr>
          <p:spPr>
            <a:xfrm>
              <a:off x="7805165" y="8963209"/>
              <a:ext cx="350222" cy="404323"/>
            </a:xfrm>
            <a:custGeom>
              <a:avLst/>
              <a:gdLst>
                <a:gd name="connsiteX0" fmla="*/ 350161 w 350222"/>
                <a:gd name="connsiteY0" fmla="*/ 386079 h 404323"/>
                <a:gd name="connsiteX1" fmla="*/ 182034 w 350222"/>
                <a:gd name="connsiteY1" fmla="*/ 1382 h 404323"/>
                <a:gd name="connsiteX2" fmla="*/ 2509 w 350222"/>
                <a:gd name="connsiteY2" fmla="*/ 374680 h 404323"/>
                <a:gd name="connsiteX3" fmla="*/ 350161 w 350222"/>
                <a:gd name="connsiteY3" fmla="*/ 386079 h 404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222" h="404323">
                  <a:moveTo>
                    <a:pt x="350161" y="386079"/>
                  </a:moveTo>
                  <a:cubicBezTo>
                    <a:pt x="353010" y="215102"/>
                    <a:pt x="256124" y="18480"/>
                    <a:pt x="182034" y="1382"/>
                  </a:cubicBezTo>
                  <a:cubicBezTo>
                    <a:pt x="85148" y="-18566"/>
                    <a:pt x="-17438" y="180907"/>
                    <a:pt x="2509" y="374680"/>
                  </a:cubicBezTo>
                  <a:cubicBezTo>
                    <a:pt x="65201" y="408875"/>
                    <a:pt x="258974" y="414575"/>
                    <a:pt x="350161" y="386079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50C72BED-3A91-4707-A057-8EFCBD5373D4}"/>
                </a:ext>
              </a:extLst>
            </p:cNvPr>
            <p:cNvSpPr/>
            <p:nvPr/>
          </p:nvSpPr>
          <p:spPr>
            <a:xfrm>
              <a:off x="7800194" y="8961741"/>
              <a:ext cx="178456" cy="410342"/>
            </a:xfrm>
            <a:custGeom>
              <a:avLst/>
              <a:gdLst>
                <a:gd name="connsiteX0" fmla="*/ 144260 w 178456"/>
                <a:gd name="connsiteY0" fmla="*/ 410343 h 410342"/>
                <a:gd name="connsiteX1" fmla="*/ 144260 w 178456"/>
                <a:gd name="connsiteY1" fmla="*/ 410343 h 410342"/>
                <a:gd name="connsiteX2" fmla="*/ 4630 w 178456"/>
                <a:gd name="connsiteY2" fmla="*/ 381847 h 410342"/>
                <a:gd name="connsiteX3" fmla="*/ 1780 w 178456"/>
                <a:gd name="connsiteY3" fmla="*/ 378997 h 410342"/>
                <a:gd name="connsiteX4" fmla="*/ 53073 w 178456"/>
                <a:gd name="connsiteY4" fmla="*/ 102586 h 410342"/>
                <a:gd name="connsiteX5" fmla="*/ 58772 w 178456"/>
                <a:gd name="connsiteY5" fmla="*/ 94037 h 410342"/>
                <a:gd name="connsiteX6" fmla="*/ 172757 w 178456"/>
                <a:gd name="connsiteY6" fmla="*/ 0 h 410342"/>
                <a:gd name="connsiteX7" fmla="*/ 178456 w 178456"/>
                <a:gd name="connsiteY7" fmla="*/ 5700 h 410342"/>
                <a:gd name="connsiteX8" fmla="*/ 172757 w 178456"/>
                <a:gd name="connsiteY8" fmla="*/ 11398 h 410342"/>
                <a:gd name="connsiteX9" fmla="*/ 67321 w 178456"/>
                <a:gd name="connsiteY9" fmla="*/ 102586 h 410342"/>
                <a:gd name="connsiteX10" fmla="*/ 61622 w 178456"/>
                <a:gd name="connsiteY10" fmla="*/ 111134 h 410342"/>
                <a:gd name="connsiteX11" fmla="*/ 10329 w 178456"/>
                <a:gd name="connsiteY11" fmla="*/ 378997 h 410342"/>
                <a:gd name="connsiteX12" fmla="*/ 144260 w 178456"/>
                <a:gd name="connsiteY12" fmla="*/ 404644 h 410342"/>
                <a:gd name="connsiteX13" fmla="*/ 149960 w 178456"/>
                <a:gd name="connsiteY13" fmla="*/ 410343 h 410342"/>
                <a:gd name="connsiteX14" fmla="*/ 144260 w 178456"/>
                <a:gd name="connsiteY14" fmla="*/ 410343 h 41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8456" h="410342">
                  <a:moveTo>
                    <a:pt x="144260" y="410343"/>
                  </a:moveTo>
                  <a:lnTo>
                    <a:pt x="144260" y="410343"/>
                  </a:lnTo>
                  <a:cubicBezTo>
                    <a:pt x="70171" y="410343"/>
                    <a:pt x="27427" y="393245"/>
                    <a:pt x="4630" y="381847"/>
                  </a:cubicBezTo>
                  <a:cubicBezTo>
                    <a:pt x="4630" y="381847"/>
                    <a:pt x="1780" y="378997"/>
                    <a:pt x="1780" y="378997"/>
                  </a:cubicBezTo>
                  <a:cubicBezTo>
                    <a:pt x="-3919" y="347652"/>
                    <a:pt x="1780" y="188074"/>
                    <a:pt x="53073" y="102586"/>
                  </a:cubicBezTo>
                  <a:cubicBezTo>
                    <a:pt x="53073" y="99736"/>
                    <a:pt x="55923" y="96886"/>
                    <a:pt x="58772" y="94037"/>
                  </a:cubicBezTo>
                  <a:cubicBezTo>
                    <a:pt x="75870" y="65541"/>
                    <a:pt x="110065" y="5700"/>
                    <a:pt x="172757" y="0"/>
                  </a:cubicBezTo>
                  <a:cubicBezTo>
                    <a:pt x="175606" y="0"/>
                    <a:pt x="178456" y="2850"/>
                    <a:pt x="178456" y="5700"/>
                  </a:cubicBezTo>
                  <a:cubicBezTo>
                    <a:pt x="178456" y="8548"/>
                    <a:pt x="175606" y="11398"/>
                    <a:pt x="172757" y="11398"/>
                  </a:cubicBezTo>
                  <a:cubicBezTo>
                    <a:pt x="115764" y="17098"/>
                    <a:pt x="84419" y="74090"/>
                    <a:pt x="67321" y="102586"/>
                  </a:cubicBezTo>
                  <a:cubicBezTo>
                    <a:pt x="64472" y="105436"/>
                    <a:pt x="64472" y="108285"/>
                    <a:pt x="61622" y="111134"/>
                  </a:cubicBezTo>
                  <a:cubicBezTo>
                    <a:pt x="13179" y="190924"/>
                    <a:pt x="4630" y="344802"/>
                    <a:pt x="10329" y="378997"/>
                  </a:cubicBezTo>
                  <a:cubicBezTo>
                    <a:pt x="33126" y="390396"/>
                    <a:pt x="75870" y="404644"/>
                    <a:pt x="144260" y="404644"/>
                  </a:cubicBezTo>
                  <a:cubicBezTo>
                    <a:pt x="147110" y="404644"/>
                    <a:pt x="149960" y="407493"/>
                    <a:pt x="149960" y="410343"/>
                  </a:cubicBezTo>
                  <a:cubicBezTo>
                    <a:pt x="149960" y="407493"/>
                    <a:pt x="147110" y="410343"/>
                    <a:pt x="144260" y="410343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7" name="图形 1">
              <a:extLst>
                <a:ext uri="{FF2B5EF4-FFF2-40B4-BE49-F238E27FC236}">
                  <a16:creationId xmlns:a16="http://schemas.microsoft.com/office/drawing/2014/main" id="{3EA71D94-272F-4C49-B73E-83BBC65CDFE2}"/>
                </a:ext>
              </a:extLst>
            </p:cNvPr>
            <p:cNvGrpSpPr/>
            <p:nvPr/>
          </p:nvGrpSpPr>
          <p:grpSpPr>
            <a:xfrm>
              <a:off x="7425281" y="8471610"/>
              <a:ext cx="537221" cy="194325"/>
              <a:chOff x="7425281" y="8471610"/>
              <a:chExt cx="537221" cy="194325"/>
            </a:xfrm>
          </p:grpSpPr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BF453BA3-E8D1-4357-B61D-AB95C8E71BF9}"/>
                  </a:ext>
                </a:extLst>
              </p:cNvPr>
              <p:cNvSpPr/>
              <p:nvPr/>
            </p:nvSpPr>
            <p:spPr>
              <a:xfrm>
                <a:off x="7827621" y="8471610"/>
                <a:ext cx="134881" cy="111233"/>
              </a:xfrm>
              <a:custGeom>
                <a:avLst/>
                <a:gdLst>
                  <a:gd name="connsiteX0" fmla="*/ 0 w 134881"/>
                  <a:gd name="connsiteY0" fmla="*/ 71240 h 111233"/>
                  <a:gd name="connsiteX1" fmla="*/ 131082 w 134881"/>
                  <a:gd name="connsiteY1" fmla="*/ 0 h 111233"/>
                  <a:gd name="connsiteX2" fmla="*/ 131082 w 134881"/>
                  <a:gd name="connsiteY2" fmla="*/ 54142 h 111233"/>
                  <a:gd name="connsiteX3" fmla="*/ 0 w 134881"/>
                  <a:gd name="connsiteY3" fmla="*/ 111134 h 111233"/>
                  <a:gd name="connsiteX4" fmla="*/ 0 w 134881"/>
                  <a:gd name="connsiteY4" fmla="*/ 71240 h 111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881" h="111233">
                    <a:moveTo>
                      <a:pt x="0" y="71240"/>
                    </a:moveTo>
                    <a:cubicBezTo>
                      <a:pt x="0" y="71240"/>
                      <a:pt x="94037" y="48443"/>
                      <a:pt x="131082" y="0"/>
                    </a:cubicBezTo>
                    <a:cubicBezTo>
                      <a:pt x="131082" y="0"/>
                      <a:pt x="139630" y="45593"/>
                      <a:pt x="131082" y="54142"/>
                    </a:cubicBezTo>
                    <a:cubicBezTo>
                      <a:pt x="131082" y="54142"/>
                      <a:pt x="37045" y="113984"/>
                      <a:pt x="0" y="111134"/>
                    </a:cubicBezTo>
                    <a:lnTo>
                      <a:pt x="0" y="71240"/>
                    </a:ln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40566F96-FBE3-4AC3-A92B-BBCB35FE5D13}"/>
                  </a:ext>
                </a:extLst>
              </p:cNvPr>
              <p:cNvSpPr/>
              <p:nvPr/>
            </p:nvSpPr>
            <p:spPr>
              <a:xfrm>
                <a:off x="7431526" y="8480887"/>
                <a:ext cx="407493" cy="167398"/>
              </a:xfrm>
              <a:custGeom>
                <a:avLst/>
                <a:gdLst>
                  <a:gd name="connsiteX0" fmla="*/ 0 w 407493"/>
                  <a:gd name="connsiteY0" fmla="*/ 50564 h 167398"/>
                  <a:gd name="connsiteX1" fmla="*/ 17098 w 407493"/>
                  <a:gd name="connsiteY1" fmla="*/ 59113 h 167398"/>
                  <a:gd name="connsiteX2" fmla="*/ 37045 w 407493"/>
                  <a:gd name="connsiteY2" fmla="*/ 53414 h 167398"/>
                  <a:gd name="connsiteX3" fmla="*/ 48444 w 407493"/>
                  <a:gd name="connsiteY3" fmla="*/ 138902 h 167398"/>
                  <a:gd name="connsiteX4" fmla="*/ 74090 w 407493"/>
                  <a:gd name="connsiteY4" fmla="*/ 156000 h 167398"/>
                  <a:gd name="connsiteX5" fmla="*/ 344802 w 407493"/>
                  <a:gd name="connsiteY5" fmla="*/ 147451 h 167398"/>
                  <a:gd name="connsiteX6" fmla="*/ 344802 w 407493"/>
                  <a:gd name="connsiteY6" fmla="*/ 167398 h 167398"/>
                  <a:gd name="connsiteX7" fmla="*/ 387546 w 407493"/>
                  <a:gd name="connsiteY7" fmla="*/ 147451 h 167398"/>
                  <a:gd name="connsiteX8" fmla="*/ 390396 w 407493"/>
                  <a:gd name="connsiteY8" fmla="*/ 144601 h 167398"/>
                  <a:gd name="connsiteX9" fmla="*/ 390396 w 407493"/>
                  <a:gd name="connsiteY9" fmla="*/ 144601 h 167398"/>
                  <a:gd name="connsiteX10" fmla="*/ 390396 w 407493"/>
                  <a:gd name="connsiteY10" fmla="*/ 144601 h 167398"/>
                  <a:gd name="connsiteX11" fmla="*/ 398945 w 407493"/>
                  <a:gd name="connsiteY11" fmla="*/ 130353 h 167398"/>
                  <a:gd name="connsiteX12" fmla="*/ 407493 w 407493"/>
                  <a:gd name="connsiteY12" fmla="*/ 27768 h 167398"/>
                  <a:gd name="connsiteX13" fmla="*/ 384697 w 407493"/>
                  <a:gd name="connsiteY13" fmla="*/ 4971 h 167398"/>
                  <a:gd name="connsiteX14" fmla="*/ 54143 w 407493"/>
                  <a:gd name="connsiteY14" fmla="*/ 10670 h 167398"/>
                  <a:gd name="connsiteX15" fmla="*/ 39895 w 407493"/>
                  <a:gd name="connsiteY15" fmla="*/ 16369 h 167398"/>
                  <a:gd name="connsiteX16" fmla="*/ 39895 w 407493"/>
                  <a:gd name="connsiteY16" fmla="*/ 16369 h 167398"/>
                  <a:gd name="connsiteX17" fmla="*/ 0 w 407493"/>
                  <a:gd name="connsiteY17" fmla="*/ 50564 h 16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07493" h="167398">
                    <a:moveTo>
                      <a:pt x="0" y="50564"/>
                    </a:moveTo>
                    <a:cubicBezTo>
                      <a:pt x="5700" y="53414"/>
                      <a:pt x="11399" y="56264"/>
                      <a:pt x="17098" y="59113"/>
                    </a:cubicBezTo>
                    <a:cubicBezTo>
                      <a:pt x="22797" y="56264"/>
                      <a:pt x="28496" y="56264"/>
                      <a:pt x="37045" y="53414"/>
                    </a:cubicBezTo>
                    <a:cubicBezTo>
                      <a:pt x="39895" y="81910"/>
                      <a:pt x="45594" y="110406"/>
                      <a:pt x="48444" y="138902"/>
                    </a:cubicBezTo>
                    <a:cubicBezTo>
                      <a:pt x="51293" y="150300"/>
                      <a:pt x="62692" y="156000"/>
                      <a:pt x="74090" y="156000"/>
                    </a:cubicBezTo>
                    <a:cubicBezTo>
                      <a:pt x="165277" y="144601"/>
                      <a:pt x="256464" y="141752"/>
                      <a:pt x="344802" y="147451"/>
                    </a:cubicBezTo>
                    <a:cubicBezTo>
                      <a:pt x="344802" y="153150"/>
                      <a:pt x="344802" y="161699"/>
                      <a:pt x="344802" y="167398"/>
                    </a:cubicBezTo>
                    <a:cubicBezTo>
                      <a:pt x="359050" y="161699"/>
                      <a:pt x="373298" y="153150"/>
                      <a:pt x="387546" y="147451"/>
                    </a:cubicBezTo>
                    <a:cubicBezTo>
                      <a:pt x="387546" y="147451"/>
                      <a:pt x="390396" y="147451"/>
                      <a:pt x="390396" y="144601"/>
                    </a:cubicBezTo>
                    <a:lnTo>
                      <a:pt x="390396" y="144601"/>
                    </a:lnTo>
                    <a:lnTo>
                      <a:pt x="390396" y="144601"/>
                    </a:lnTo>
                    <a:cubicBezTo>
                      <a:pt x="396095" y="141752"/>
                      <a:pt x="398945" y="136052"/>
                      <a:pt x="398945" y="130353"/>
                    </a:cubicBezTo>
                    <a:cubicBezTo>
                      <a:pt x="401794" y="96158"/>
                      <a:pt x="404644" y="61963"/>
                      <a:pt x="407493" y="27768"/>
                    </a:cubicBezTo>
                    <a:cubicBezTo>
                      <a:pt x="407493" y="16369"/>
                      <a:pt x="398945" y="7820"/>
                      <a:pt x="384697" y="4971"/>
                    </a:cubicBezTo>
                    <a:cubicBezTo>
                      <a:pt x="276412" y="-3578"/>
                      <a:pt x="165277" y="-728"/>
                      <a:pt x="54143" y="10670"/>
                    </a:cubicBezTo>
                    <a:cubicBezTo>
                      <a:pt x="48444" y="10670"/>
                      <a:pt x="42744" y="13520"/>
                      <a:pt x="39895" y="16369"/>
                    </a:cubicBezTo>
                    <a:lnTo>
                      <a:pt x="39895" y="16369"/>
                    </a:lnTo>
                    <a:cubicBezTo>
                      <a:pt x="25647" y="30617"/>
                      <a:pt x="11399" y="42016"/>
                      <a:pt x="0" y="50564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76" name="图形 1">
                <a:extLst>
                  <a:ext uri="{FF2B5EF4-FFF2-40B4-BE49-F238E27FC236}">
                    <a16:creationId xmlns:a16="http://schemas.microsoft.com/office/drawing/2014/main" id="{D7A23E67-ED97-4FCC-8FB5-B42C3589E0B9}"/>
                  </a:ext>
                </a:extLst>
              </p:cNvPr>
              <p:cNvGrpSpPr/>
              <p:nvPr/>
            </p:nvGrpSpPr>
            <p:grpSpPr>
              <a:xfrm>
                <a:off x="7425281" y="8508836"/>
                <a:ext cx="370994" cy="157098"/>
                <a:chOff x="7425281" y="8508836"/>
                <a:chExt cx="370994" cy="157098"/>
              </a:xfrm>
            </p:grpSpPr>
            <p:sp>
              <p:nvSpPr>
                <p:cNvPr id="77" name="任意多边形: 形状 76">
                  <a:extLst>
                    <a:ext uri="{FF2B5EF4-FFF2-40B4-BE49-F238E27FC236}">
                      <a16:creationId xmlns:a16="http://schemas.microsoft.com/office/drawing/2014/main" id="{BDC66BA8-9881-406C-B654-215F0C077A2A}"/>
                    </a:ext>
                  </a:extLst>
                </p:cNvPr>
                <p:cNvSpPr/>
                <p:nvPr/>
              </p:nvSpPr>
              <p:spPr>
                <a:xfrm>
                  <a:off x="7425281" y="8508836"/>
                  <a:ext cx="370994" cy="157098"/>
                </a:xfrm>
                <a:custGeom>
                  <a:avLst/>
                  <a:gdLst>
                    <a:gd name="connsiteX0" fmla="*/ 20493 w 370994"/>
                    <a:gd name="connsiteY0" fmla="*/ 16915 h 157098"/>
                    <a:gd name="connsiteX1" fmla="*/ 348198 w 370994"/>
                    <a:gd name="connsiteY1" fmla="*/ 2667 h 157098"/>
                    <a:gd name="connsiteX2" fmla="*/ 370994 w 370994"/>
                    <a:gd name="connsiteY2" fmla="*/ 22615 h 157098"/>
                    <a:gd name="connsiteX3" fmla="*/ 365295 w 370994"/>
                    <a:gd name="connsiteY3" fmla="*/ 125200 h 157098"/>
                    <a:gd name="connsiteX4" fmla="*/ 342498 w 370994"/>
                    <a:gd name="connsiteY4" fmla="*/ 142298 h 157098"/>
                    <a:gd name="connsiteX5" fmla="*/ 43290 w 370994"/>
                    <a:gd name="connsiteY5" fmla="*/ 156546 h 157098"/>
                    <a:gd name="connsiteX6" fmla="*/ 17644 w 370994"/>
                    <a:gd name="connsiteY6" fmla="*/ 139448 h 157098"/>
                    <a:gd name="connsiteX7" fmla="*/ 546 w 370994"/>
                    <a:gd name="connsiteY7" fmla="*/ 39712 h 157098"/>
                    <a:gd name="connsiteX8" fmla="*/ 20493 w 370994"/>
                    <a:gd name="connsiteY8" fmla="*/ 16915 h 157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70994" h="157098">
                      <a:moveTo>
                        <a:pt x="20493" y="16915"/>
                      </a:moveTo>
                      <a:cubicBezTo>
                        <a:pt x="131628" y="-182"/>
                        <a:pt x="239913" y="-3032"/>
                        <a:pt x="348198" y="2667"/>
                      </a:cubicBezTo>
                      <a:cubicBezTo>
                        <a:pt x="359596" y="2667"/>
                        <a:pt x="370994" y="14066"/>
                        <a:pt x="370994" y="22615"/>
                      </a:cubicBezTo>
                      <a:cubicBezTo>
                        <a:pt x="368145" y="56810"/>
                        <a:pt x="368145" y="91005"/>
                        <a:pt x="365295" y="125200"/>
                      </a:cubicBezTo>
                      <a:cubicBezTo>
                        <a:pt x="365295" y="136599"/>
                        <a:pt x="353897" y="145148"/>
                        <a:pt x="342498" y="142298"/>
                      </a:cubicBezTo>
                      <a:cubicBezTo>
                        <a:pt x="242762" y="136599"/>
                        <a:pt x="143026" y="139448"/>
                        <a:pt x="43290" y="156546"/>
                      </a:cubicBezTo>
                      <a:cubicBezTo>
                        <a:pt x="31892" y="159396"/>
                        <a:pt x="20493" y="150847"/>
                        <a:pt x="17644" y="139448"/>
                      </a:cubicBezTo>
                      <a:cubicBezTo>
                        <a:pt x="11945" y="105253"/>
                        <a:pt x="6245" y="73907"/>
                        <a:pt x="546" y="39712"/>
                      </a:cubicBezTo>
                      <a:cubicBezTo>
                        <a:pt x="-2303" y="28314"/>
                        <a:pt x="6245" y="16915"/>
                        <a:pt x="20493" y="16915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: 形状 77">
                  <a:extLst>
                    <a:ext uri="{FF2B5EF4-FFF2-40B4-BE49-F238E27FC236}">
                      <a16:creationId xmlns:a16="http://schemas.microsoft.com/office/drawing/2014/main" id="{3611B347-0C50-4510-8060-7A68113573EA}"/>
                    </a:ext>
                  </a:extLst>
                </p:cNvPr>
                <p:cNvSpPr/>
                <p:nvPr/>
              </p:nvSpPr>
              <p:spPr>
                <a:xfrm>
                  <a:off x="7448624" y="8516210"/>
                  <a:ext cx="324854" cy="134924"/>
                </a:xfrm>
                <a:custGeom>
                  <a:avLst/>
                  <a:gdLst>
                    <a:gd name="connsiteX0" fmla="*/ 19947 w 324854"/>
                    <a:gd name="connsiteY0" fmla="*/ 15241 h 134924"/>
                    <a:gd name="connsiteX1" fmla="*/ 304908 w 324854"/>
                    <a:gd name="connsiteY1" fmla="*/ 993 h 134924"/>
                    <a:gd name="connsiteX2" fmla="*/ 324855 w 324854"/>
                    <a:gd name="connsiteY2" fmla="*/ 18091 h 134924"/>
                    <a:gd name="connsiteX3" fmla="*/ 322005 w 324854"/>
                    <a:gd name="connsiteY3" fmla="*/ 106429 h 134924"/>
                    <a:gd name="connsiteX4" fmla="*/ 302058 w 324854"/>
                    <a:gd name="connsiteY4" fmla="*/ 123526 h 134924"/>
                    <a:gd name="connsiteX5" fmla="*/ 37045 w 324854"/>
                    <a:gd name="connsiteY5" fmla="*/ 134925 h 134924"/>
                    <a:gd name="connsiteX6" fmla="*/ 14248 w 324854"/>
                    <a:gd name="connsiteY6" fmla="*/ 120677 h 134924"/>
                    <a:gd name="connsiteX7" fmla="*/ 0 w 324854"/>
                    <a:gd name="connsiteY7" fmla="*/ 32339 h 134924"/>
                    <a:gd name="connsiteX8" fmla="*/ 19947 w 324854"/>
                    <a:gd name="connsiteY8" fmla="*/ 15241 h 1349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4854" h="134924">
                      <a:moveTo>
                        <a:pt x="19947" y="15241"/>
                      </a:moveTo>
                      <a:cubicBezTo>
                        <a:pt x="116834" y="993"/>
                        <a:pt x="210871" y="-1856"/>
                        <a:pt x="304908" y="993"/>
                      </a:cubicBezTo>
                      <a:cubicBezTo>
                        <a:pt x="316306" y="993"/>
                        <a:pt x="324855" y="9542"/>
                        <a:pt x="324855" y="18091"/>
                      </a:cubicBezTo>
                      <a:cubicBezTo>
                        <a:pt x="324855" y="46587"/>
                        <a:pt x="322005" y="77933"/>
                        <a:pt x="322005" y="106429"/>
                      </a:cubicBezTo>
                      <a:cubicBezTo>
                        <a:pt x="322005" y="114977"/>
                        <a:pt x="313456" y="123526"/>
                        <a:pt x="302058" y="123526"/>
                      </a:cubicBezTo>
                      <a:cubicBezTo>
                        <a:pt x="213720" y="120677"/>
                        <a:pt x="128232" y="123526"/>
                        <a:pt x="37045" y="134925"/>
                      </a:cubicBezTo>
                      <a:cubicBezTo>
                        <a:pt x="25646" y="134925"/>
                        <a:pt x="17098" y="129225"/>
                        <a:pt x="14248" y="120677"/>
                      </a:cubicBezTo>
                      <a:cubicBezTo>
                        <a:pt x="8549" y="92181"/>
                        <a:pt x="5699" y="60835"/>
                        <a:pt x="0" y="32339"/>
                      </a:cubicBezTo>
                      <a:cubicBezTo>
                        <a:pt x="0" y="23790"/>
                        <a:pt x="8549" y="15241"/>
                        <a:pt x="19947" y="15241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9" name="任意多边形: 形状 78">
                  <a:extLst>
                    <a:ext uri="{FF2B5EF4-FFF2-40B4-BE49-F238E27FC236}">
                      <a16:creationId xmlns:a16="http://schemas.microsoft.com/office/drawing/2014/main" id="{72FCDC84-D74F-495D-B4AE-968317CB3525}"/>
                    </a:ext>
                  </a:extLst>
                </p:cNvPr>
                <p:cNvSpPr/>
                <p:nvPr/>
              </p:nvSpPr>
              <p:spPr>
                <a:xfrm>
                  <a:off x="7633848" y="8520053"/>
                  <a:ext cx="82638" cy="111134"/>
                </a:xfrm>
                <a:custGeom>
                  <a:avLst/>
                  <a:gdLst>
                    <a:gd name="connsiteX0" fmla="*/ 22797 w 82638"/>
                    <a:gd name="connsiteY0" fmla="*/ 111134 h 111134"/>
                    <a:gd name="connsiteX1" fmla="*/ 0 w 82638"/>
                    <a:gd name="connsiteY1" fmla="*/ 111134 h 111134"/>
                    <a:gd name="connsiteX2" fmla="*/ 56992 w 82638"/>
                    <a:gd name="connsiteY2" fmla="*/ 0 h 111134"/>
                    <a:gd name="connsiteX3" fmla="*/ 82638 w 82638"/>
                    <a:gd name="connsiteY3" fmla="*/ 0 h 111134"/>
                    <a:gd name="connsiteX4" fmla="*/ 22797 w 82638"/>
                    <a:gd name="connsiteY4" fmla="*/ 111134 h 111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638" h="111134">
                      <a:moveTo>
                        <a:pt x="22797" y="111134"/>
                      </a:moveTo>
                      <a:cubicBezTo>
                        <a:pt x="14248" y="111134"/>
                        <a:pt x="8549" y="111134"/>
                        <a:pt x="0" y="111134"/>
                      </a:cubicBezTo>
                      <a:cubicBezTo>
                        <a:pt x="17098" y="74090"/>
                        <a:pt x="37045" y="37045"/>
                        <a:pt x="56992" y="0"/>
                      </a:cubicBezTo>
                      <a:cubicBezTo>
                        <a:pt x="65541" y="0"/>
                        <a:pt x="74090" y="0"/>
                        <a:pt x="82638" y="0"/>
                      </a:cubicBezTo>
                      <a:cubicBezTo>
                        <a:pt x="62691" y="39894"/>
                        <a:pt x="39894" y="74090"/>
                        <a:pt x="22797" y="111134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0" name="任意多边形: 形状 79">
                  <a:extLst>
                    <a:ext uri="{FF2B5EF4-FFF2-40B4-BE49-F238E27FC236}">
                      <a16:creationId xmlns:a16="http://schemas.microsoft.com/office/drawing/2014/main" id="{8A30F6FF-9CF2-4917-8869-D36FBC71CE32}"/>
                    </a:ext>
                  </a:extLst>
                </p:cNvPr>
                <p:cNvSpPr/>
                <p:nvPr/>
              </p:nvSpPr>
              <p:spPr>
                <a:xfrm>
                  <a:off x="7565458" y="8522902"/>
                  <a:ext cx="102585" cy="113984"/>
                </a:xfrm>
                <a:custGeom>
                  <a:avLst/>
                  <a:gdLst>
                    <a:gd name="connsiteX0" fmla="*/ 42744 w 102585"/>
                    <a:gd name="connsiteY0" fmla="*/ 111134 h 113984"/>
                    <a:gd name="connsiteX1" fmla="*/ 0 w 102585"/>
                    <a:gd name="connsiteY1" fmla="*/ 113984 h 113984"/>
                    <a:gd name="connsiteX2" fmla="*/ 54142 w 102585"/>
                    <a:gd name="connsiteY2" fmla="*/ 0 h 113984"/>
                    <a:gd name="connsiteX3" fmla="*/ 102585 w 102585"/>
                    <a:gd name="connsiteY3" fmla="*/ 0 h 113984"/>
                    <a:gd name="connsiteX4" fmla="*/ 42744 w 102585"/>
                    <a:gd name="connsiteY4" fmla="*/ 111134 h 1139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2585" h="113984">
                      <a:moveTo>
                        <a:pt x="42744" y="111134"/>
                      </a:moveTo>
                      <a:cubicBezTo>
                        <a:pt x="28496" y="111134"/>
                        <a:pt x="14248" y="113984"/>
                        <a:pt x="0" y="113984"/>
                      </a:cubicBezTo>
                      <a:cubicBezTo>
                        <a:pt x="17097" y="76939"/>
                        <a:pt x="34195" y="37045"/>
                        <a:pt x="54142" y="0"/>
                      </a:cubicBezTo>
                      <a:cubicBezTo>
                        <a:pt x="71240" y="0"/>
                        <a:pt x="85488" y="0"/>
                        <a:pt x="102585" y="0"/>
                      </a:cubicBezTo>
                      <a:cubicBezTo>
                        <a:pt x="82638" y="37045"/>
                        <a:pt x="62691" y="74089"/>
                        <a:pt x="42744" y="111134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48" name="图形 1">
              <a:extLst>
                <a:ext uri="{FF2B5EF4-FFF2-40B4-BE49-F238E27FC236}">
                  <a16:creationId xmlns:a16="http://schemas.microsoft.com/office/drawing/2014/main" id="{F10D7F4E-FA01-43E3-B5E4-1E17CB5D6C85}"/>
                </a:ext>
              </a:extLst>
            </p:cNvPr>
            <p:cNvGrpSpPr/>
            <p:nvPr/>
          </p:nvGrpSpPr>
          <p:grpSpPr>
            <a:xfrm>
              <a:off x="6840540" y="9672626"/>
              <a:ext cx="524777" cy="432047"/>
              <a:chOff x="6840540" y="9672626"/>
              <a:chExt cx="524777" cy="432047"/>
            </a:xfrm>
          </p:grpSpPr>
          <p:grpSp>
            <p:nvGrpSpPr>
              <p:cNvPr id="58" name="图形 1">
                <a:extLst>
                  <a:ext uri="{FF2B5EF4-FFF2-40B4-BE49-F238E27FC236}">
                    <a16:creationId xmlns:a16="http://schemas.microsoft.com/office/drawing/2014/main" id="{0FBFA7D5-76A0-4F83-8D72-2157E81FFD31}"/>
                  </a:ext>
                </a:extLst>
              </p:cNvPr>
              <p:cNvGrpSpPr/>
              <p:nvPr/>
            </p:nvGrpSpPr>
            <p:grpSpPr>
              <a:xfrm>
                <a:off x="6840540" y="9672626"/>
                <a:ext cx="524777" cy="432047"/>
                <a:chOff x="6840540" y="9672626"/>
                <a:chExt cx="524777" cy="432047"/>
              </a:xfrm>
              <a:solidFill>
                <a:srgbClr val="7F95BC"/>
              </a:solidFill>
            </p:grpSpPr>
            <p:sp>
              <p:nvSpPr>
                <p:cNvPr id="71" name="任意多边形: 形状 70">
                  <a:extLst>
                    <a:ext uri="{FF2B5EF4-FFF2-40B4-BE49-F238E27FC236}">
                      <a16:creationId xmlns:a16="http://schemas.microsoft.com/office/drawing/2014/main" id="{D7175433-11F0-418A-93B3-C49EC5594A50}"/>
                    </a:ext>
                  </a:extLst>
                </p:cNvPr>
                <p:cNvSpPr/>
                <p:nvPr/>
              </p:nvSpPr>
              <p:spPr>
                <a:xfrm>
                  <a:off x="6844311" y="9781845"/>
                  <a:ext cx="208650" cy="322828"/>
                </a:xfrm>
                <a:custGeom>
                  <a:avLst/>
                  <a:gdLst>
                    <a:gd name="connsiteX0" fmla="*/ 205368 w 208650"/>
                    <a:gd name="connsiteY0" fmla="*/ 71822 h 322828"/>
                    <a:gd name="connsiteX1" fmla="*/ 136978 w 208650"/>
                    <a:gd name="connsiteY1" fmla="*/ 276994 h 322828"/>
                    <a:gd name="connsiteX2" fmla="*/ 77136 w 208650"/>
                    <a:gd name="connsiteY2" fmla="*/ 322588 h 322828"/>
                    <a:gd name="connsiteX3" fmla="*/ 77136 w 208650"/>
                    <a:gd name="connsiteY3" fmla="*/ 322588 h 322828"/>
                    <a:gd name="connsiteX4" fmla="*/ 8745 w 208650"/>
                    <a:gd name="connsiteY4" fmla="*/ 271295 h 322828"/>
                    <a:gd name="connsiteX5" fmla="*/ 197 w 208650"/>
                    <a:gd name="connsiteY5" fmla="*/ 74672 h 322828"/>
                    <a:gd name="connsiteX6" fmla="*/ 62888 w 208650"/>
                    <a:gd name="connsiteY6" fmla="*/ 9132 h 322828"/>
                    <a:gd name="connsiteX7" fmla="*/ 142677 w 208650"/>
                    <a:gd name="connsiteY7" fmla="*/ 582 h 322828"/>
                    <a:gd name="connsiteX8" fmla="*/ 205368 w 208650"/>
                    <a:gd name="connsiteY8" fmla="*/ 71822 h 3228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8650" h="322828">
                      <a:moveTo>
                        <a:pt x="205368" y="71822"/>
                      </a:moveTo>
                      <a:lnTo>
                        <a:pt x="136978" y="276994"/>
                      </a:lnTo>
                      <a:cubicBezTo>
                        <a:pt x="128429" y="302640"/>
                        <a:pt x="105632" y="319738"/>
                        <a:pt x="77136" y="322588"/>
                      </a:cubicBezTo>
                      <a:lnTo>
                        <a:pt x="77136" y="322588"/>
                      </a:lnTo>
                      <a:cubicBezTo>
                        <a:pt x="40091" y="325438"/>
                        <a:pt x="8745" y="302640"/>
                        <a:pt x="8745" y="271295"/>
                      </a:cubicBezTo>
                      <a:lnTo>
                        <a:pt x="197" y="74672"/>
                      </a:lnTo>
                      <a:cubicBezTo>
                        <a:pt x="-2653" y="40477"/>
                        <a:pt x="25843" y="11981"/>
                        <a:pt x="62888" y="9132"/>
                      </a:cubicBezTo>
                      <a:lnTo>
                        <a:pt x="142677" y="582"/>
                      </a:lnTo>
                      <a:cubicBezTo>
                        <a:pt x="185421" y="-5116"/>
                        <a:pt x="219616" y="31928"/>
                        <a:pt x="205368" y="71822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: 形状 71">
                  <a:extLst>
                    <a:ext uri="{FF2B5EF4-FFF2-40B4-BE49-F238E27FC236}">
                      <a16:creationId xmlns:a16="http://schemas.microsoft.com/office/drawing/2014/main" id="{52CAD73F-D6AD-464D-9D27-0A9A26AEC32D}"/>
                    </a:ext>
                  </a:extLst>
                </p:cNvPr>
                <p:cNvSpPr/>
                <p:nvPr/>
              </p:nvSpPr>
              <p:spPr>
                <a:xfrm>
                  <a:off x="7046677" y="9696343"/>
                  <a:ext cx="318640" cy="278813"/>
                </a:xfrm>
                <a:custGeom>
                  <a:avLst/>
                  <a:gdLst>
                    <a:gd name="connsiteX0" fmla="*/ 25799 w 318640"/>
                    <a:gd name="connsiteY0" fmla="*/ 151625 h 278813"/>
                    <a:gd name="connsiteX1" fmla="*/ 211023 w 318640"/>
                    <a:gd name="connsiteY1" fmla="*/ 268459 h 278813"/>
                    <a:gd name="connsiteX2" fmla="*/ 287963 w 318640"/>
                    <a:gd name="connsiteY2" fmla="*/ 265610 h 278813"/>
                    <a:gd name="connsiteX3" fmla="*/ 287963 w 318640"/>
                    <a:gd name="connsiteY3" fmla="*/ 265610 h 278813"/>
                    <a:gd name="connsiteX4" fmla="*/ 307910 w 318640"/>
                    <a:gd name="connsiteY4" fmla="*/ 182971 h 278813"/>
                    <a:gd name="connsiteX5" fmla="*/ 191076 w 318640"/>
                    <a:gd name="connsiteY5" fmla="*/ 23393 h 278813"/>
                    <a:gd name="connsiteX6" fmla="*/ 99889 w 318640"/>
                    <a:gd name="connsiteY6" fmla="*/ 11995 h 278813"/>
                    <a:gd name="connsiteX7" fmla="*/ 34348 w 318640"/>
                    <a:gd name="connsiteY7" fmla="*/ 54739 h 278813"/>
                    <a:gd name="connsiteX8" fmla="*/ 25799 w 318640"/>
                    <a:gd name="connsiteY8" fmla="*/ 151625 h 278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8640" h="278813">
                      <a:moveTo>
                        <a:pt x="25799" y="151625"/>
                      </a:moveTo>
                      <a:lnTo>
                        <a:pt x="211023" y="268459"/>
                      </a:lnTo>
                      <a:cubicBezTo>
                        <a:pt x="233820" y="282707"/>
                        <a:pt x="262316" y="282707"/>
                        <a:pt x="287963" y="265610"/>
                      </a:cubicBezTo>
                      <a:lnTo>
                        <a:pt x="287963" y="265610"/>
                      </a:lnTo>
                      <a:cubicBezTo>
                        <a:pt x="319308" y="245662"/>
                        <a:pt x="327857" y="208618"/>
                        <a:pt x="307910" y="182971"/>
                      </a:cubicBezTo>
                      <a:lnTo>
                        <a:pt x="191076" y="23393"/>
                      </a:lnTo>
                      <a:cubicBezTo>
                        <a:pt x="171129" y="-2253"/>
                        <a:pt x="131234" y="-7953"/>
                        <a:pt x="99889" y="11995"/>
                      </a:cubicBezTo>
                      <a:lnTo>
                        <a:pt x="34348" y="54739"/>
                      </a:lnTo>
                      <a:cubicBezTo>
                        <a:pt x="-8396" y="77536"/>
                        <a:pt x="-11246" y="128828"/>
                        <a:pt x="25799" y="151625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: 形状 72">
                  <a:extLst>
                    <a:ext uri="{FF2B5EF4-FFF2-40B4-BE49-F238E27FC236}">
                      <a16:creationId xmlns:a16="http://schemas.microsoft.com/office/drawing/2014/main" id="{022FD5B3-5E3D-4654-881D-495EDB08C1AC}"/>
                    </a:ext>
                  </a:extLst>
                </p:cNvPr>
                <p:cNvSpPr/>
                <p:nvPr/>
              </p:nvSpPr>
              <p:spPr>
                <a:xfrm>
                  <a:off x="6840540" y="9672626"/>
                  <a:ext cx="427122" cy="319236"/>
                </a:xfrm>
                <a:custGeom>
                  <a:avLst/>
                  <a:gdLst>
                    <a:gd name="connsiteX0" fmla="*/ 411461 w 427122"/>
                    <a:gd name="connsiteY0" fmla="*/ 78456 h 319236"/>
                    <a:gd name="connsiteX1" fmla="*/ 420010 w 427122"/>
                    <a:gd name="connsiteY1" fmla="*/ 98403 h 319236"/>
                    <a:gd name="connsiteX2" fmla="*/ 348769 w 427122"/>
                    <a:gd name="connsiteY2" fmla="*/ 246582 h 319236"/>
                    <a:gd name="connsiteX3" fmla="*/ 163545 w 427122"/>
                    <a:gd name="connsiteY3" fmla="*/ 312123 h 319236"/>
                    <a:gd name="connsiteX4" fmla="*/ 15366 w 427122"/>
                    <a:gd name="connsiteY4" fmla="*/ 240883 h 319236"/>
                    <a:gd name="connsiteX5" fmla="*/ 6817 w 427122"/>
                    <a:gd name="connsiteY5" fmla="*/ 220936 h 319236"/>
                    <a:gd name="connsiteX6" fmla="*/ 1118 w 427122"/>
                    <a:gd name="connsiteY6" fmla="*/ 172492 h 319236"/>
                    <a:gd name="connsiteX7" fmla="*/ 1118 w 427122"/>
                    <a:gd name="connsiteY7" fmla="*/ 172492 h 319236"/>
                    <a:gd name="connsiteX8" fmla="*/ 78057 w 427122"/>
                    <a:gd name="connsiteY8" fmla="*/ 72756 h 319236"/>
                    <a:gd name="connsiteX9" fmla="*/ 263281 w 427122"/>
                    <a:gd name="connsiteY9" fmla="*/ 7216 h 319236"/>
                    <a:gd name="connsiteX10" fmla="*/ 402912 w 427122"/>
                    <a:gd name="connsiteY10" fmla="*/ 58508 h 319236"/>
                    <a:gd name="connsiteX11" fmla="*/ 411461 w 427122"/>
                    <a:gd name="connsiteY11" fmla="*/ 78456 h 319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27122" h="319236">
                      <a:moveTo>
                        <a:pt x="411461" y="78456"/>
                      </a:moveTo>
                      <a:lnTo>
                        <a:pt x="420010" y="98403"/>
                      </a:lnTo>
                      <a:cubicBezTo>
                        <a:pt x="442806" y="158244"/>
                        <a:pt x="408611" y="223785"/>
                        <a:pt x="348769" y="246582"/>
                      </a:cubicBezTo>
                      <a:lnTo>
                        <a:pt x="163545" y="312123"/>
                      </a:lnTo>
                      <a:cubicBezTo>
                        <a:pt x="103704" y="334920"/>
                        <a:pt x="38163" y="300725"/>
                        <a:pt x="15366" y="240883"/>
                      </a:cubicBezTo>
                      <a:lnTo>
                        <a:pt x="6817" y="220936"/>
                      </a:lnTo>
                      <a:cubicBezTo>
                        <a:pt x="1118" y="203838"/>
                        <a:pt x="-1732" y="189590"/>
                        <a:pt x="1118" y="172492"/>
                      </a:cubicBezTo>
                      <a:cubicBezTo>
                        <a:pt x="1118" y="172492"/>
                        <a:pt x="1118" y="172492"/>
                        <a:pt x="1118" y="172492"/>
                      </a:cubicBezTo>
                      <a:cubicBezTo>
                        <a:pt x="3968" y="129748"/>
                        <a:pt x="32464" y="89854"/>
                        <a:pt x="78057" y="72756"/>
                      </a:cubicBezTo>
                      <a:lnTo>
                        <a:pt x="263281" y="7216"/>
                      </a:lnTo>
                      <a:cubicBezTo>
                        <a:pt x="317424" y="-12732"/>
                        <a:pt x="374416" y="10065"/>
                        <a:pt x="402912" y="58508"/>
                      </a:cubicBezTo>
                      <a:cubicBezTo>
                        <a:pt x="405762" y="64208"/>
                        <a:pt x="408611" y="69907"/>
                        <a:pt x="411461" y="78456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59" name="图形 1">
                <a:extLst>
                  <a:ext uri="{FF2B5EF4-FFF2-40B4-BE49-F238E27FC236}">
                    <a16:creationId xmlns:a16="http://schemas.microsoft.com/office/drawing/2014/main" id="{02E1EBF0-DAD5-4635-8C31-DA2CB19A495C}"/>
                  </a:ext>
                </a:extLst>
              </p:cNvPr>
              <p:cNvGrpSpPr/>
              <p:nvPr/>
            </p:nvGrpSpPr>
            <p:grpSpPr>
              <a:xfrm>
                <a:off x="7077434" y="9707310"/>
                <a:ext cx="101218" cy="104640"/>
                <a:chOff x="7077434" y="9707310"/>
                <a:chExt cx="101218" cy="104640"/>
              </a:xfrm>
              <a:solidFill>
                <a:srgbClr val="FFFFFF"/>
              </a:solidFill>
            </p:grpSpPr>
            <p:grpSp>
              <p:nvGrpSpPr>
                <p:cNvPr id="65" name="图形 1">
                  <a:extLst>
                    <a:ext uri="{FF2B5EF4-FFF2-40B4-BE49-F238E27FC236}">
                      <a16:creationId xmlns:a16="http://schemas.microsoft.com/office/drawing/2014/main" id="{267C0343-D3FA-4126-AC79-55EEEE78546B}"/>
                    </a:ext>
                  </a:extLst>
                </p:cNvPr>
                <p:cNvGrpSpPr/>
                <p:nvPr/>
              </p:nvGrpSpPr>
              <p:grpSpPr>
                <a:xfrm>
                  <a:off x="7097095" y="9707310"/>
                  <a:ext cx="61610" cy="104640"/>
                  <a:chOff x="7097095" y="9707310"/>
                  <a:chExt cx="61610" cy="104640"/>
                </a:xfrm>
                <a:solidFill>
                  <a:srgbClr val="FFFFFF"/>
                </a:solidFill>
              </p:grpSpPr>
              <p:sp>
                <p:nvSpPr>
                  <p:cNvPr id="69" name="任意多边形: 形状 68">
                    <a:extLst>
                      <a:ext uri="{FF2B5EF4-FFF2-40B4-BE49-F238E27FC236}">
                        <a16:creationId xmlns:a16="http://schemas.microsoft.com/office/drawing/2014/main" id="{8A8A1BE4-6077-4171-BBB1-79339317E46B}"/>
                      </a:ext>
                    </a:extLst>
                  </p:cNvPr>
                  <p:cNvSpPr/>
                  <p:nvPr/>
                </p:nvSpPr>
                <p:spPr>
                  <a:xfrm>
                    <a:off x="7097095" y="9707310"/>
                    <a:ext cx="38813" cy="39100"/>
                  </a:xfrm>
                  <a:custGeom>
                    <a:avLst/>
                    <a:gdLst>
                      <a:gd name="connsiteX0" fmla="*/ 38073 w 38813"/>
                      <a:gd name="connsiteY0" fmla="*/ 12426 h 39100"/>
                      <a:gd name="connsiteX1" fmla="*/ 12426 w 38813"/>
                      <a:gd name="connsiteY1" fmla="*/ 1028 h 39100"/>
                      <a:gd name="connsiteX2" fmla="*/ 1028 w 38813"/>
                      <a:gd name="connsiteY2" fmla="*/ 26674 h 39100"/>
                      <a:gd name="connsiteX3" fmla="*/ 26674 w 38813"/>
                      <a:gd name="connsiteY3" fmla="*/ 38072 h 39100"/>
                      <a:gd name="connsiteX4" fmla="*/ 38073 w 38813"/>
                      <a:gd name="connsiteY4" fmla="*/ 12426 h 391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813" h="39100">
                        <a:moveTo>
                          <a:pt x="38073" y="12426"/>
                        </a:moveTo>
                        <a:cubicBezTo>
                          <a:pt x="35223" y="1028"/>
                          <a:pt x="23825" y="-1822"/>
                          <a:pt x="12426" y="1028"/>
                        </a:cubicBezTo>
                        <a:cubicBezTo>
                          <a:pt x="1028" y="3877"/>
                          <a:pt x="-1822" y="15276"/>
                          <a:pt x="1028" y="26674"/>
                        </a:cubicBezTo>
                        <a:cubicBezTo>
                          <a:pt x="3877" y="38072"/>
                          <a:pt x="15276" y="40922"/>
                          <a:pt x="26674" y="38072"/>
                        </a:cubicBezTo>
                        <a:cubicBezTo>
                          <a:pt x="35223" y="35223"/>
                          <a:pt x="40922" y="23824"/>
                          <a:pt x="38073" y="1242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70" name="任意多边形: 形状 69">
                    <a:extLst>
                      <a:ext uri="{FF2B5EF4-FFF2-40B4-BE49-F238E27FC236}">
                        <a16:creationId xmlns:a16="http://schemas.microsoft.com/office/drawing/2014/main" id="{8C2DE4B3-AE46-44A4-8AC4-FD02B80070A4}"/>
                      </a:ext>
                    </a:extLst>
                  </p:cNvPr>
                  <p:cNvSpPr/>
                  <p:nvPr/>
                </p:nvSpPr>
                <p:spPr>
                  <a:xfrm>
                    <a:off x="7119892" y="9772851"/>
                    <a:ext cx="38813" cy="39100"/>
                  </a:xfrm>
                  <a:custGeom>
                    <a:avLst/>
                    <a:gdLst>
                      <a:gd name="connsiteX0" fmla="*/ 38073 w 38813"/>
                      <a:gd name="connsiteY0" fmla="*/ 12426 h 39100"/>
                      <a:gd name="connsiteX1" fmla="*/ 12426 w 38813"/>
                      <a:gd name="connsiteY1" fmla="*/ 1028 h 39100"/>
                      <a:gd name="connsiteX2" fmla="*/ 1028 w 38813"/>
                      <a:gd name="connsiteY2" fmla="*/ 26674 h 39100"/>
                      <a:gd name="connsiteX3" fmla="*/ 26674 w 38813"/>
                      <a:gd name="connsiteY3" fmla="*/ 38072 h 39100"/>
                      <a:gd name="connsiteX4" fmla="*/ 38073 w 38813"/>
                      <a:gd name="connsiteY4" fmla="*/ 12426 h 391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813" h="39100">
                        <a:moveTo>
                          <a:pt x="38073" y="12426"/>
                        </a:moveTo>
                        <a:cubicBezTo>
                          <a:pt x="35223" y="1028"/>
                          <a:pt x="23825" y="-1822"/>
                          <a:pt x="12426" y="1028"/>
                        </a:cubicBezTo>
                        <a:cubicBezTo>
                          <a:pt x="1028" y="3878"/>
                          <a:pt x="-1822" y="15276"/>
                          <a:pt x="1028" y="26674"/>
                        </a:cubicBezTo>
                        <a:cubicBezTo>
                          <a:pt x="3878" y="38072"/>
                          <a:pt x="15276" y="40922"/>
                          <a:pt x="26674" y="38072"/>
                        </a:cubicBezTo>
                        <a:cubicBezTo>
                          <a:pt x="35223" y="32374"/>
                          <a:pt x="40922" y="20975"/>
                          <a:pt x="38073" y="1242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66" name="图形 1">
                  <a:extLst>
                    <a:ext uri="{FF2B5EF4-FFF2-40B4-BE49-F238E27FC236}">
                      <a16:creationId xmlns:a16="http://schemas.microsoft.com/office/drawing/2014/main" id="{EA62FE6F-3A91-4759-9DFF-1B27C19911F3}"/>
                    </a:ext>
                  </a:extLst>
                </p:cNvPr>
                <p:cNvGrpSpPr/>
                <p:nvPr/>
              </p:nvGrpSpPr>
              <p:grpSpPr>
                <a:xfrm>
                  <a:off x="7077434" y="9727543"/>
                  <a:ext cx="101218" cy="61324"/>
                  <a:chOff x="7077434" y="9727543"/>
                  <a:chExt cx="101218" cy="61324"/>
                </a:xfrm>
                <a:solidFill>
                  <a:srgbClr val="FFFFFF"/>
                </a:solidFill>
              </p:grpSpPr>
              <p:sp>
                <p:nvSpPr>
                  <p:cNvPr id="67" name="任意多边形: 形状 66">
                    <a:extLst>
                      <a:ext uri="{FF2B5EF4-FFF2-40B4-BE49-F238E27FC236}">
                        <a16:creationId xmlns:a16="http://schemas.microsoft.com/office/drawing/2014/main" id="{DB274C71-DA12-420C-A4ED-0CE0C9CB4892}"/>
                      </a:ext>
                    </a:extLst>
                  </p:cNvPr>
                  <p:cNvSpPr/>
                  <p:nvPr/>
                </p:nvSpPr>
                <p:spPr>
                  <a:xfrm>
                    <a:off x="7077434" y="9750341"/>
                    <a:ext cx="38527" cy="38527"/>
                  </a:xfrm>
                  <a:custGeom>
                    <a:avLst/>
                    <a:gdLst>
                      <a:gd name="connsiteX0" fmla="*/ 26388 w 38527"/>
                      <a:gd name="connsiteY0" fmla="*/ 37786 h 38527"/>
                      <a:gd name="connsiteX1" fmla="*/ 741 w 38527"/>
                      <a:gd name="connsiteY1" fmla="*/ 26388 h 38527"/>
                      <a:gd name="connsiteX2" fmla="*/ 12140 w 38527"/>
                      <a:gd name="connsiteY2" fmla="*/ 741 h 38527"/>
                      <a:gd name="connsiteX3" fmla="*/ 37786 w 38527"/>
                      <a:gd name="connsiteY3" fmla="*/ 12140 h 38527"/>
                      <a:gd name="connsiteX4" fmla="*/ 26388 w 38527"/>
                      <a:gd name="connsiteY4" fmla="*/ 37786 h 385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527" h="38527">
                        <a:moveTo>
                          <a:pt x="26388" y="37786"/>
                        </a:moveTo>
                        <a:cubicBezTo>
                          <a:pt x="14989" y="40636"/>
                          <a:pt x="3591" y="34936"/>
                          <a:pt x="741" y="26388"/>
                        </a:cubicBezTo>
                        <a:cubicBezTo>
                          <a:pt x="-2108" y="14989"/>
                          <a:pt x="3591" y="3590"/>
                          <a:pt x="12140" y="741"/>
                        </a:cubicBezTo>
                        <a:cubicBezTo>
                          <a:pt x="23538" y="-2108"/>
                          <a:pt x="34936" y="3590"/>
                          <a:pt x="37786" y="12140"/>
                        </a:cubicBezTo>
                        <a:cubicBezTo>
                          <a:pt x="40636" y="23538"/>
                          <a:pt x="34936" y="34936"/>
                          <a:pt x="26388" y="3778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68" name="任意多边形: 形状 67">
                    <a:extLst>
                      <a:ext uri="{FF2B5EF4-FFF2-40B4-BE49-F238E27FC236}">
                        <a16:creationId xmlns:a16="http://schemas.microsoft.com/office/drawing/2014/main" id="{9E76DE55-F424-4385-A460-DDC4510BB528}"/>
                      </a:ext>
                    </a:extLst>
                  </p:cNvPr>
                  <p:cNvSpPr/>
                  <p:nvPr/>
                </p:nvSpPr>
                <p:spPr>
                  <a:xfrm>
                    <a:off x="7140125" y="9727543"/>
                    <a:ext cx="38527" cy="38527"/>
                  </a:xfrm>
                  <a:custGeom>
                    <a:avLst/>
                    <a:gdLst>
                      <a:gd name="connsiteX0" fmla="*/ 26388 w 38527"/>
                      <a:gd name="connsiteY0" fmla="*/ 37787 h 38527"/>
                      <a:gd name="connsiteX1" fmla="*/ 741 w 38527"/>
                      <a:gd name="connsiteY1" fmla="*/ 26388 h 38527"/>
                      <a:gd name="connsiteX2" fmla="*/ 12140 w 38527"/>
                      <a:gd name="connsiteY2" fmla="*/ 741 h 38527"/>
                      <a:gd name="connsiteX3" fmla="*/ 37786 w 38527"/>
                      <a:gd name="connsiteY3" fmla="*/ 12140 h 38527"/>
                      <a:gd name="connsiteX4" fmla="*/ 26388 w 38527"/>
                      <a:gd name="connsiteY4" fmla="*/ 37787 h 385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527" h="38527">
                        <a:moveTo>
                          <a:pt x="26388" y="37787"/>
                        </a:moveTo>
                        <a:cubicBezTo>
                          <a:pt x="14989" y="40636"/>
                          <a:pt x="3591" y="34937"/>
                          <a:pt x="741" y="26388"/>
                        </a:cubicBezTo>
                        <a:cubicBezTo>
                          <a:pt x="-2108" y="14989"/>
                          <a:pt x="3591" y="3591"/>
                          <a:pt x="12140" y="741"/>
                        </a:cubicBezTo>
                        <a:cubicBezTo>
                          <a:pt x="23538" y="-2108"/>
                          <a:pt x="34936" y="3591"/>
                          <a:pt x="37786" y="12140"/>
                        </a:cubicBezTo>
                        <a:cubicBezTo>
                          <a:pt x="40636" y="23539"/>
                          <a:pt x="34936" y="34937"/>
                          <a:pt x="26388" y="3778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3117489A-9607-45A8-9810-8952497FC395}"/>
                  </a:ext>
                </a:extLst>
              </p:cNvPr>
              <p:cNvSpPr/>
              <p:nvPr/>
            </p:nvSpPr>
            <p:spPr>
              <a:xfrm>
                <a:off x="6973856" y="9877581"/>
                <a:ext cx="74455" cy="74706"/>
              </a:xfrm>
              <a:custGeom>
                <a:avLst/>
                <a:gdLst>
                  <a:gd name="connsiteX0" fmla="*/ 72973 w 74455"/>
                  <a:gd name="connsiteY0" fmla="*/ 24530 h 74706"/>
                  <a:gd name="connsiteX1" fmla="*/ 24530 w 74455"/>
                  <a:gd name="connsiteY1" fmla="*/ 1733 h 74706"/>
                  <a:gd name="connsiteX2" fmla="*/ 1733 w 74455"/>
                  <a:gd name="connsiteY2" fmla="*/ 50176 h 74706"/>
                  <a:gd name="connsiteX3" fmla="*/ 50177 w 74455"/>
                  <a:gd name="connsiteY3" fmla="*/ 72974 h 74706"/>
                  <a:gd name="connsiteX4" fmla="*/ 72973 w 74455"/>
                  <a:gd name="connsiteY4" fmla="*/ 24530 h 74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455" h="74706">
                    <a:moveTo>
                      <a:pt x="72973" y="24530"/>
                    </a:moveTo>
                    <a:cubicBezTo>
                      <a:pt x="67274" y="4582"/>
                      <a:pt x="44477" y="-3966"/>
                      <a:pt x="24530" y="1733"/>
                    </a:cubicBezTo>
                    <a:cubicBezTo>
                      <a:pt x="4583" y="7432"/>
                      <a:pt x="-3966" y="30230"/>
                      <a:pt x="1733" y="50176"/>
                    </a:cubicBezTo>
                    <a:cubicBezTo>
                      <a:pt x="7433" y="70124"/>
                      <a:pt x="30229" y="78672"/>
                      <a:pt x="50177" y="72974"/>
                    </a:cubicBezTo>
                    <a:cubicBezTo>
                      <a:pt x="67274" y="64424"/>
                      <a:pt x="78673" y="44478"/>
                      <a:pt x="72973" y="24530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420E3001-2C12-4300-AB5A-9AFC52C31BF1}"/>
                  </a:ext>
                </a:extLst>
              </p:cNvPr>
              <p:cNvSpPr/>
              <p:nvPr/>
            </p:nvSpPr>
            <p:spPr>
              <a:xfrm>
                <a:off x="7102088" y="9831987"/>
                <a:ext cx="74455" cy="74706"/>
              </a:xfrm>
              <a:custGeom>
                <a:avLst/>
                <a:gdLst>
                  <a:gd name="connsiteX0" fmla="*/ 72973 w 74455"/>
                  <a:gd name="connsiteY0" fmla="*/ 24530 h 74706"/>
                  <a:gd name="connsiteX1" fmla="*/ 24530 w 74455"/>
                  <a:gd name="connsiteY1" fmla="*/ 1733 h 74706"/>
                  <a:gd name="connsiteX2" fmla="*/ 1733 w 74455"/>
                  <a:gd name="connsiteY2" fmla="*/ 50176 h 74706"/>
                  <a:gd name="connsiteX3" fmla="*/ 50177 w 74455"/>
                  <a:gd name="connsiteY3" fmla="*/ 72974 h 74706"/>
                  <a:gd name="connsiteX4" fmla="*/ 72973 w 74455"/>
                  <a:gd name="connsiteY4" fmla="*/ 24530 h 74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455" h="74706">
                    <a:moveTo>
                      <a:pt x="72973" y="24530"/>
                    </a:moveTo>
                    <a:cubicBezTo>
                      <a:pt x="67274" y="4583"/>
                      <a:pt x="44477" y="-3966"/>
                      <a:pt x="24530" y="1733"/>
                    </a:cubicBezTo>
                    <a:cubicBezTo>
                      <a:pt x="4583" y="7432"/>
                      <a:pt x="-3966" y="30229"/>
                      <a:pt x="1733" y="50176"/>
                    </a:cubicBezTo>
                    <a:cubicBezTo>
                      <a:pt x="7433" y="70124"/>
                      <a:pt x="30229" y="78672"/>
                      <a:pt x="50177" y="72974"/>
                    </a:cubicBezTo>
                    <a:cubicBezTo>
                      <a:pt x="67274" y="64424"/>
                      <a:pt x="78673" y="44477"/>
                      <a:pt x="72973" y="24530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2" name="图形 1">
                <a:extLst>
                  <a:ext uri="{FF2B5EF4-FFF2-40B4-BE49-F238E27FC236}">
                    <a16:creationId xmlns:a16="http://schemas.microsoft.com/office/drawing/2014/main" id="{5A4CABE2-6E49-4322-9FAE-7188EB557F63}"/>
                  </a:ext>
                </a:extLst>
              </p:cNvPr>
              <p:cNvGrpSpPr/>
              <p:nvPr/>
            </p:nvGrpSpPr>
            <p:grpSpPr>
              <a:xfrm>
                <a:off x="6893316" y="9774243"/>
                <a:ext cx="103306" cy="101857"/>
                <a:chOff x="6893316" y="9774243"/>
                <a:chExt cx="103306" cy="101857"/>
              </a:xfrm>
            </p:grpSpPr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EC19CE0D-2AE2-4F3F-A415-59C7BE6E0CA5}"/>
                    </a:ext>
                  </a:extLst>
                </p:cNvPr>
                <p:cNvSpPr/>
                <p:nvPr/>
              </p:nvSpPr>
              <p:spPr>
                <a:xfrm>
                  <a:off x="6893316" y="9774243"/>
                  <a:ext cx="103306" cy="101857"/>
                </a:xfrm>
                <a:custGeom>
                  <a:avLst/>
                  <a:gdLst>
                    <a:gd name="connsiteX0" fmla="*/ 99372 w 103306"/>
                    <a:gd name="connsiteY0" fmla="*/ 33831 h 101857"/>
                    <a:gd name="connsiteX1" fmla="*/ 33831 w 103306"/>
                    <a:gd name="connsiteY1" fmla="*/ 2486 h 101857"/>
                    <a:gd name="connsiteX2" fmla="*/ 2485 w 103306"/>
                    <a:gd name="connsiteY2" fmla="*/ 68026 h 101857"/>
                    <a:gd name="connsiteX3" fmla="*/ 68026 w 103306"/>
                    <a:gd name="connsiteY3" fmla="*/ 99372 h 101857"/>
                    <a:gd name="connsiteX4" fmla="*/ 99372 w 103306"/>
                    <a:gd name="connsiteY4" fmla="*/ 33831 h 1018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3306" h="101857">
                      <a:moveTo>
                        <a:pt x="99372" y="33831"/>
                      </a:moveTo>
                      <a:cubicBezTo>
                        <a:pt x="90823" y="8184"/>
                        <a:pt x="59477" y="-6064"/>
                        <a:pt x="33831" y="2486"/>
                      </a:cubicBezTo>
                      <a:cubicBezTo>
                        <a:pt x="8184" y="11034"/>
                        <a:pt x="-6064" y="42380"/>
                        <a:pt x="2485" y="68026"/>
                      </a:cubicBezTo>
                      <a:cubicBezTo>
                        <a:pt x="11034" y="93672"/>
                        <a:pt x="42380" y="107920"/>
                        <a:pt x="68026" y="99372"/>
                      </a:cubicBezTo>
                      <a:cubicBezTo>
                        <a:pt x="96522" y="90823"/>
                        <a:pt x="110770" y="59478"/>
                        <a:pt x="99372" y="3383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32F0E698-2958-4B8F-A9C7-E1549063684A}"/>
                    </a:ext>
                  </a:extLst>
                </p:cNvPr>
                <p:cNvSpPr/>
                <p:nvPr/>
              </p:nvSpPr>
              <p:spPr>
                <a:xfrm>
                  <a:off x="6904349" y="9788127"/>
                  <a:ext cx="74089" cy="74089"/>
                </a:xfrm>
                <a:custGeom>
                  <a:avLst/>
                  <a:gdLst>
                    <a:gd name="connsiteX0" fmla="*/ 59842 w 74089"/>
                    <a:gd name="connsiteY0" fmla="*/ 14248 h 74089"/>
                    <a:gd name="connsiteX1" fmla="*/ 45594 w 74089"/>
                    <a:gd name="connsiteY1" fmla="*/ 19948 h 74089"/>
                    <a:gd name="connsiteX2" fmla="*/ 39895 w 74089"/>
                    <a:gd name="connsiteY2" fmla="*/ 5700 h 74089"/>
                    <a:gd name="connsiteX3" fmla="*/ 28496 w 74089"/>
                    <a:gd name="connsiteY3" fmla="*/ 0 h 74089"/>
                    <a:gd name="connsiteX4" fmla="*/ 19948 w 74089"/>
                    <a:gd name="connsiteY4" fmla="*/ 2850 h 74089"/>
                    <a:gd name="connsiteX5" fmla="*/ 14248 w 74089"/>
                    <a:gd name="connsiteY5" fmla="*/ 14248 h 74089"/>
                    <a:gd name="connsiteX6" fmla="*/ 19948 w 74089"/>
                    <a:gd name="connsiteY6" fmla="*/ 28496 h 74089"/>
                    <a:gd name="connsiteX7" fmla="*/ 5700 w 74089"/>
                    <a:gd name="connsiteY7" fmla="*/ 34196 h 74089"/>
                    <a:gd name="connsiteX8" fmla="*/ 0 w 74089"/>
                    <a:gd name="connsiteY8" fmla="*/ 45594 h 74089"/>
                    <a:gd name="connsiteX9" fmla="*/ 2850 w 74089"/>
                    <a:gd name="connsiteY9" fmla="*/ 54142 h 74089"/>
                    <a:gd name="connsiteX10" fmla="*/ 14248 w 74089"/>
                    <a:gd name="connsiteY10" fmla="*/ 59842 h 74089"/>
                    <a:gd name="connsiteX11" fmla="*/ 28496 w 74089"/>
                    <a:gd name="connsiteY11" fmla="*/ 54142 h 74089"/>
                    <a:gd name="connsiteX12" fmla="*/ 34196 w 74089"/>
                    <a:gd name="connsiteY12" fmla="*/ 68390 h 74089"/>
                    <a:gd name="connsiteX13" fmla="*/ 45594 w 74089"/>
                    <a:gd name="connsiteY13" fmla="*/ 74090 h 74089"/>
                    <a:gd name="connsiteX14" fmla="*/ 54143 w 74089"/>
                    <a:gd name="connsiteY14" fmla="*/ 71240 h 74089"/>
                    <a:gd name="connsiteX15" fmla="*/ 59842 w 74089"/>
                    <a:gd name="connsiteY15" fmla="*/ 59842 h 74089"/>
                    <a:gd name="connsiteX16" fmla="*/ 54143 w 74089"/>
                    <a:gd name="connsiteY16" fmla="*/ 45594 h 74089"/>
                    <a:gd name="connsiteX17" fmla="*/ 68391 w 74089"/>
                    <a:gd name="connsiteY17" fmla="*/ 39894 h 74089"/>
                    <a:gd name="connsiteX18" fmla="*/ 74090 w 74089"/>
                    <a:gd name="connsiteY18" fmla="*/ 28496 h 74089"/>
                    <a:gd name="connsiteX19" fmla="*/ 71240 w 74089"/>
                    <a:gd name="connsiteY19" fmla="*/ 19948 h 74089"/>
                    <a:gd name="connsiteX20" fmla="*/ 59842 w 74089"/>
                    <a:gd name="connsiteY20" fmla="*/ 14248 h 74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74089" h="74089">
                      <a:moveTo>
                        <a:pt x="59842" y="14248"/>
                      </a:moveTo>
                      <a:lnTo>
                        <a:pt x="45594" y="19948"/>
                      </a:lnTo>
                      <a:lnTo>
                        <a:pt x="39895" y="5700"/>
                      </a:lnTo>
                      <a:cubicBezTo>
                        <a:pt x="37045" y="0"/>
                        <a:pt x="34196" y="0"/>
                        <a:pt x="28496" y="0"/>
                      </a:cubicBezTo>
                      <a:lnTo>
                        <a:pt x="19948" y="2850"/>
                      </a:lnTo>
                      <a:cubicBezTo>
                        <a:pt x="14248" y="5700"/>
                        <a:pt x="14248" y="8548"/>
                        <a:pt x="14248" y="14248"/>
                      </a:cubicBezTo>
                      <a:lnTo>
                        <a:pt x="19948" y="28496"/>
                      </a:lnTo>
                      <a:lnTo>
                        <a:pt x="5700" y="34196"/>
                      </a:lnTo>
                      <a:cubicBezTo>
                        <a:pt x="0" y="37045"/>
                        <a:pt x="0" y="39894"/>
                        <a:pt x="0" y="45594"/>
                      </a:cubicBezTo>
                      <a:lnTo>
                        <a:pt x="2850" y="54142"/>
                      </a:lnTo>
                      <a:cubicBezTo>
                        <a:pt x="5700" y="59842"/>
                        <a:pt x="8549" y="59842"/>
                        <a:pt x="14248" y="59842"/>
                      </a:cubicBezTo>
                      <a:lnTo>
                        <a:pt x="28496" y="54142"/>
                      </a:lnTo>
                      <a:lnTo>
                        <a:pt x="34196" y="68390"/>
                      </a:lnTo>
                      <a:cubicBezTo>
                        <a:pt x="37045" y="74090"/>
                        <a:pt x="39895" y="74090"/>
                        <a:pt x="45594" y="74090"/>
                      </a:cubicBezTo>
                      <a:lnTo>
                        <a:pt x="54143" y="71240"/>
                      </a:lnTo>
                      <a:cubicBezTo>
                        <a:pt x="59842" y="68390"/>
                        <a:pt x="59842" y="65541"/>
                        <a:pt x="59842" y="59842"/>
                      </a:cubicBezTo>
                      <a:lnTo>
                        <a:pt x="54143" y="45594"/>
                      </a:lnTo>
                      <a:lnTo>
                        <a:pt x="68391" y="39894"/>
                      </a:lnTo>
                      <a:cubicBezTo>
                        <a:pt x="74090" y="37045"/>
                        <a:pt x="74090" y="34196"/>
                        <a:pt x="74090" y="28496"/>
                      </a:cubicBezTo>
                      <a:lnTo>
                        <a:pt x="71240" y="19948"/>
                      </a:lnTo>
                      <a:cubicBezTo>
                        <a:pt x="71240" y="14248"/>
                        <a:pt x="65541" y="11398"/>
                        <a:pt x="59842" y="14248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49" name="图形 1">
              <a:extLst>
                <a:ext uri="{FF2B5EF4-FFF2-40B4-BE49-F238E27FC236}">
                  <a16:creationId xmlns:a16="http://schemas.microsoft.com/office/drawing/2014/main" id="{D2EC250B-20E0-49F8-AACB-D048C17FE72A}"/>
                </a:ext>
              </a:extLst>
            </p:cNvPr>
            <p:cNvGrpSpPr/>
            <p:nvPr/>
          </p:nvGrpSpPr>
          <p:grpSpPr>
            <a:xfrm>
              <a:off x="7186216" y="9759532"/>
              <a:ext cx="273975" cy="188020"/>
              <a:chOff x="7186216" y="9759532"/>
              <a:chExt cx="273975" cy="188020"/>
            </a:xfrm>
          </p:grpSpPr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6A7E4EEB-64CD-439B-8D3D-D046F09FB9BF}"/>
                  </a:ext>
                </a:extLst>
              </p:cNvPr>
              <p:cNvSpPr/>
              <p:nvPr/>
            </p:nvSpPr>
            <p:spPr>
              <a:xfrm>
                <a:off x="7186216" y="9759532"/>
                <a:ext cx="273975" cy="188020"/>
              </a:xfrm>
              <a:custGeom>
                <a:avLst/>
                <a:gdLst>
                  <a:gd name="connsiteX0" fmla="*/ 245311 w 273975"/>
                  <a:gd name="connsiteY0" fmla="*/ 116932 h 188020"/>
                  <a:gd name="connsiteX1" fmla="*/ 182619 w 273975"/>
                  <a:gd name="connsiteY1" fmla="*/ 142579 h 188020"/>
                  <a:gd name="connsiteX2" fmla="*/ 119928 w 273975"/>
                  <a:gd name="connsiteY2" fmla="*/ 176774 h 188020"/>
                  <a:gd name="connsiteX3" fmla="*/ 82883 w 273975"/>
                  <a:gd name="connsiteY3" fmla="*/ 185323 h 188020"/>
                  <a:gd name="connsiteX4" fmla="*/ 111379 w 273975"/>
                  <a:gd name="connsiteY4" fmla="*/ 145428 h 188020"/>
                  <a:gd name="connsiteX5" fmla="*/ 74334 w 273975"/>
                  <a:gd name="connsiteY5" fmla="*/ 159676 h 188020"/>
                  <a:gd name="connsiteX6" fmla="*/ 23042 w 273975"/>
                  <a:gd name="connsiteY6" fmla="*/ 165375 h 188020"/>
                  <a:gd name="connsiteX7" fmla="*/ 20192 w 273975"/>
                  <a:gd name="connsiteY7" fmla="*/ 153977 h 188020"/>
                  <a:gd name="connsiteX8" fmla="*/ 245 w 273975"/>
                  <a:gd name="connsiteY8" fmla="*/ 148278 h 188020"/>
                  <a:gd name="connsiteX9" fmla="*/ 28741 w 273975"/>
                  <a:gd name="connsiteY9" fmla="*/ 105534 h 188020"/>
                  <a:gd name="connsiteX10" fmla="*/ 65786 w 273975"/>
                  <a:gd name="connsiteY10" fmla="*/ 79887 h 188020"/>
                  <a:gd name="connsiteX11" fmla="*/ 34440 w 273975"/>
                  <a:gd name="connsiteY11" fmla="*/ 85586 h 188020"/>
                  <a:gd name="connsiteX12" fmla="*/ 20192 w 273975"/>
                  <a:gd name="connsiteY12" fmla="*/ 79887 h 188020"/>
                  <a:gd name="connsiteX13" fmla="*/ 62936 w 273975"/>
                  <a:gd name="connsiteY13" fmla="*/ 42842 h 188020"/>
                  <a:gd name="connsiteX14" fmla="*/ 242461 w 273975"/>
                  <a:gd name="connsiteY14" fmla="*/ 98 h 188020"/>
                  <a:gd name="connsiteX15" fmla="*/ 273807 w 273975"/>
                  <a:gd name="connsiteY15" fmla="*/ 85586 h 188020"/>
                  <a:gd name="connsiteX16" fmla="*/ 245311 w 273975"/>
                  <a:gd name="connsiteY16" fmla="*/ 116932 h 18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73975" h="188020">
                    <a:moveTo>
                      <a:pt x="245311" y="116932"/>
                    </a:moveTo>
                    <a:cubicBezTo>
                      <a:pt x="225363" y="125481"/>
                      <a:pt x="202566" y="131180"/>
                      <a:pt x="182619" y="142579"/>
                    </a:cubicBezTo>
                    <a:cubicBezTo>
                      <a:pt x="159822" y="153977"/>
                      <a:pt x="139875" y="165375"/>
                      <a:pt x="119928" y="176774"/>
                    </a:cubicBezTo>
                    <a:cubicBezTo>
                      <a:pt x="111379" y="179623"/>
                      <a:pt x="91432" y="193871"/>
                      <a:pt x="82883" y="185323"/>
                    </a:cubicBezTo>
                    <a:cubicBezTo>
                      <a:pt x="71485" y="176774"/>
                      <a:pt x="91432" y="159676"/>
                      <a:pt x="111379" y="145428"/>
                    </a:cubicBezTo>
                    <a:cubicBezTo>
                      <a:pt x="99981" y="151127"/>
                      <a:pt x="85733" y="156827"/>
                      <a:pt x="74334" y="159676"/>
                    </a:cubicBezTo>
                    <a:cubicBezTo>
                      <a:pt x="62936" y="162526"/>
                      <a:pt x="34440" y="173924"/>
                      <a:pt x="23042" y="165375"/>
                    </a:cubicBezTo>
                    <a:cubicBezTo>
                      <a:pt x="20192" y="162526"/>
                      <a:pt x="20192" y="156827"/>
                      <a:pt x="20192" y="153977"/>
                    </a:cubicBezTo>
                    <a:cubicBezTo>
                      <a:pt x="8794" y="156827"/>
                      <a:pt x="245" y="156827"/>
                      <a:pt x="245" y="148278"/>
                    </a:cubicBezTo>
                    <a:cubicBezTo>
                      <a:pt x="-2605" y="134030"/>
                      <a:pt x="20192" y="114082"/>
                      <a:pt x="28741" y="105534"/>
                    </a:cubicBezTo>
                    <a:cubicBezTo>
                      <a:pt x="40139" y="96985"/>
                      <a:pt x="54387" y="88436"/>
                      <a:pt x="65786" y="79887"/>
                    </a:cubicBezTo>
                    <a:cubicBezTo>
                      <a:pt x="54387" y="82737"/>
                      <a:pt x="45838" y="82737"/>
                      <a:pt x="34440" y="85586"/>
                    </a:cubicBezTo>
                    <a:cubicBezTo>
                      <a:pt x="28741" y="85586"/>
                      <a:pt x="23042" y="85586"/>
                      <a:pt x="20192" y="79887"/>
                    </a:cubicBezTo>
                    <a:cubicBezTo>
                      <a:pt x="11643" y="59940"/>
                      <a:pt x="54387" y="45692"/>
                      <a:pt x="62936" y="42842"/>
                    </a:cubicBezTo>
                    <a:cubicBezTo>
                      <a:pt x="119928" y="20046"/>
                      <a:pt x="182619" y="14346"/>
                      <a:pt x="242461" y="98"/>
                    </a:cubicBezTo>
                    <a:cubicBezTo>
                      <a:pt x="242461" y="-2751"/>
                      <a:pt x="276656" y="57090"/>
                      <a:pt x="273807" y="85586"/>
                    </a:cubicBezTo>
                    <a:cubicBezTo>
                      <a:pt x="268107" y="105534"/>
                      <a:pt x="262408" y="108383"/>
                      <a:pt x="245311" y="116932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AA2301EB-FEE2-4050-B543-0CDFCE6E4671}"/>
                  </a:ext>
                </a:extLst>
              </p:cNvPr>
              <p:cNvSpPr/>
              <p:nvPr/>
            </p:nvSpPr>
            <p:spPr>
              <a:xfrm>
                <a:off x="7197859" y="9776728"/>
                <a:ext cx="122533" cy="74089"/>
              </a:xfrm>
              <a:custGeom>
                <a:avLst/>
                <a:gdLst>
                  <a:gd name="connsiteX0" fmla="*/ 22797 w 122533"/>
                  <a:gd name="connsiteY0" fmla="*/ 74090 h 74089"/>
                  <a:gd name="connsiteX1" fmla="*/ 2850 w 122533"/>
                  <a:gd name="connsiteY1" fmla="*/ 65541 h 74089"/>
                  <a:gd name="connsiteX2" fmla="*/ 0 w 122533"/>
                  <a:gd name="connsiteY2" fmla="*/ 54142 h 74089"/>
                  <a:gd name="connsiteX3" fmla="*/ 116834 w 122533"/>
                  <a:gd name="connsiteY3" fmla="*/ 0 h 74089"/>
                  <a:gd name="connsiteX4" fmla="*/ 122533 w 122533"/>
                  <a:gd name="connsiteY4" fmla="*/ 5699 h 74089"/>
                  <a:gd name="connsiteX5" fmla="*/ 116834 w 122533"/>
                  <a:gd name="connsiteY5" fmla="*/ 11398 h 74089"/>
                  <a:gd name="connsiteX6" fmla="*/ 8549 w 122533"/>
                  <a:gd name="connsiteY6" fmla="*/ 56992 h 74089"/>
                  <a:gd name="connsiteX7" fmla="*/ 8549 w 122533"/>
                  <a:gd name="connsiteY7" fmla="*/ 59842 h 74089"/>
                  <a:gd name="connsiteX8" fmla="*/ 48443 w 122533"/>
                  <a:gd name="connsiteY8" fmla="*/ 59842 h 74089"/>
                  <a:gd name="connsiteX9" fmla="*/ 108285 w 122533"/>
                  <a:gd name="connsiteY9" fmla="*/ 39894 h 74089"/>
                  <a:gd name="connsiteX10" fmla="*/ 111135 w 122533"/>
                  <a:gd name="connsiteY10" fmla="*/ 45594 h 74089"/>
                  <a:gd name="connsiteX11" fmla="*/ 105435 w 122533"/>
                  <a:gd name="connsiteY11" fmla="*/ 48443 h 74089"/>
                  <a:gd name="connsiteX12" fmla="*/ 54143 w 122533"/>
                  <a:gd name="connsiteY12" fmla="*/ 65541 h 74089"/>
                  <a:gd name="connsiteX13" fmla="*/ 22797 w 122533"/>
                  <a:gd name="connsiteY13" fmla="*/ 74090 h 74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2533" h="74089">
                    <a:moveTo>
                      <a:pt x="22797" y="74090"/>
                    </a:moveTo>
                    <a:cubicBezTo>
                      <a:pt x="14248" y="74090"/>
                      <a:pt x="5699" y="71240"/>
                      <a:pt x="2850" y="65541"/>
                    </a:cubicBezTo>
                    <a:cubicBezTo>
                      <a:pt x="0" y="62691"/>
                      <a:pt x="0" y="56992"/>
                      <a:pt x="0" y="54142"/>
                    </a:cubicBezTo>
                    <a:cubicBezTo>
                      <a:pt x="8549" y="34195"/>
                      <a:pt x="54143" y="11398"/>
                      <a:pt x="116834" y="0"/>
                    </a:cubicBezTo>
                    <a:cubicBezTo>
                      <a:pt x="119683" y="0"/>
                      <a:pt x="122533" y="0"/>
                      <a:pt x="122533" y="5699"/>
                    </a:cubicBezTo>
                    <a:cubicBezTo>
                      <a:pt x="122533" y="8548"/>
                      <a:pt x="122533" y="11398"/>
                      <a:pt x="116834" y="11398"/>
                    </a:cubicBezTo>
                    <a:cubicBezTo>
                      <a:pt x="51293" y="25646"/>
                      <a:pt x="11399" y="45594"/>
                      <a:pt x="8549" y="56992"/>
                    </a:cubicBezTo>
                    <a:cubicBezTo>
                      <a:pt x="8549" y="56992"/>
                      <a:pt x="8549" y="59842"/>
                      <a:pt x="8549" y="59842"/>
                    </a:cubicBezTo>
                    <a:cubicBezTo>
                      <a:pt x="14248" y="68390"/>
                      <a:pt x="37045" y="62691"/>
                      <a:pt x="48443" y="59842"/>
                    </a:cubicBezTo>
                    <a:cubicBezTo>
                      <a:pt x="62691" y="54142"/>
                      <a:pt x="96887" y="39894"/>
                      <a:pt x="108285" y="39894"/>
                    </a:cubicBezTo>
                    <a:cubicBezTo>
                      <a:pt x="111135" y="39894"/>
                      <a:pt x="113984" y="42744"/>
                      <a:pt x="111135" y="45594"/>
                    </a:cubicBezTo>
                    <a:cubicBezTo>
                      <a:pt x="111135" y="48443"/>
                      <a:pt x="108285" y="51293"/>
                      <a:pt x="105435" y="48443"/>
                    </a:cubicBezTo>
                    <a:cubicBezTo>
                      <a:pt x="99736" y="48443"/>
                      <a:pt x="74090" y="56992"/>
                      <a:pt x="54143" y="65541"/>
                    </a:cubicBezTo>
                    <a:cubicBezTo>
                      <a:pt x="51293" y="68390"/>
                      <a:pt x="37045" y="74090"/>
                      <a:pt x="22797" y="74090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C55F34CF-E53E-45E5-8A80-E2DD013ABADF}"/>
                  </a:ext>
                </a:extLst>
              </p:cNvPr>
              <p:cNvSpPr/>
              <p:nvPr/>
            </p:nvSpPr>
            <p:spPr>
              <a:xfrm>
                <a:off x="7199442" y="9847968"/>
                <a:ext cx="112400" cy="68390"/>
              </a:xfrm>
              <a:custGeom>
                <a:avLst/>
                <a:gdLst>
                  <a:gd name="connsiteX0" fmla="*/ 6966 w 112400"/>
                  <a:gd name="connsiteY0" fmla="*/ 68390 h 68390"/>
                  <a:gd name="connsiteX1" fmla="*/ 1267 w 112400"/>
                  <a:gd name="connsiteY1" fmla="*/ 65541 h 68390"/>
                  <a:gd name="connsiteX2" fmla="*/ 1267 w 112400"/>
                  <a:gd name="connsiteY2" fmla="*/ 56992 h 68390"/>
                  <a:gd name="connsiteX3" fmla="*/ 106702 w 112400"/>
                  <a:gd name="connsiteY3" fmla="*/ 0 h 68390"/>
                  <a:gd name="connsiteX4" fmla="*/ 112401 w 112400"/>
                  <a:gd name="connsiteY4" fmla="*/ 5699 h 68390"/>
                  <a:gd name="connsiteX5" fmla="*/ 106702 w 112400"/>
                  <a:gd name="connsiteY5" fmla="*/ 11398 h 68390"/>
                  <a:gd name="connsiteX6" fmla="*/ 6966 w 112400"/>
                  <a:gd name="connsiteY6" fmla="*/ 68390 h 68390"/>
                  <a:gd name="connsiteX7" fmla="*/ 6966 w 112400"/>
                  <a:gd name="connsiteY7" fmla="*/ 68390 h 68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2400" h="68390">
                    <a:moveTo>
                      <a:pt x="6966" y="68390"/>
                    </a:moveTo>
                    <a:cubicBezTo>
                      <a:pt x="4116" y="68390"/>
                      <a:pt x="4116" y="68390"/>
                      <a:pt x="1267" y="65541"/>
                    </a:cubicBezTo>
                    <a:cubicBezTo>
                      <a:pt x="-1583" y="62691"/>
                      <a:pt x="1267" y="59842"/>
                      <a:pt x="1267" y="56992"/>
                    </a:cubicBezTo>
                    <a:cubicBezTo>
                      <a:pt x="9815" y="51293"/>
                      <a:pt x="81056" y="2850"/>
                      <a:pt x="106702" y="0"/>
                    </a:cubicBezTo>
                    <a:cubicBezTo>
                      <a:pt x="109552" y="0"/>
                      <a:pt x="112401" y="2850"/>
                      <a:pt x="112401" y="5699"/>
                    </a:cubicBezTo>
                    <a:cubicBezTo>
                      <a:pt x="112401" y="8548"/>
                      <a:pt x="109552" y="11398"/>
                      <a:pt x="106702" y="11398"/>
                    </a:cubicBezTo>
                    <a:cubicBezTo>
                      <a:pt x="86755" y="14248"/>
                      <a:pt x="26913" y="54142"/>
                      <a:pt x="6966" y="68390"/>
                    </a:cubicBezTo>
                    <a:cubicBezTo>
                      <a:pt x="6966" y="68390"/>
                      <a:pt x="6966" y="68390"/>
                      <a:pt x="6966" y="68390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5DDD4C86-68E6-48B9-8ADA-806056A99F00}"/>
                  </a:ext>
                </a:extLst>
              </p:cNvPr>
              <p:cNvSpPr/>
              <p:nvPr/>
            </p:nvSpPr>
            <p:spPr>
              <a:xfrm>
                <a:off x="7291896" y="9885013"/>
                <a:ext cx="45593" cy="25646"/>
              </a:xfrm>
              <a:custGeom>
                <a:avLst/>
                <a:gdLst>
                  <a:gd name="connsiteX0" fmla="*/ 5699 w 45593"/>
                  <a:gd name="connsiteY0" fmla="*/ 25646 h 25646"/>
                  <a:gd name="connsiteX1" fmla="*/ 0 w 45593"/>
                  <a:gd name="connsiteY1" fmla="*/ 22797 h 25646"/>
                  <a:gd name="connsiteX2" fmla="*/ 2850 w 45593"/>
                  <a:gd name="connsiteY2" fmla="*/ 14248 h 25646"/>
                  <a:gd name="connsiteX3" fmla="*/ 37045 w 45593"/>
                  <a:gd name="connsiteY3" fmla="*/ 0 h 25646"/>
                  <a:gd name="connsiteX4" fmla="*/ 45594 w 45593"/>
                  <a:gd name="connsiteY4" fmla="*/ 2850 h 25646"/>
                  <a:gd name="connsiteX5" fmla="*/ 42744 w 45593"/>
                  <a:gd name="connsiteY5" fmla="*/ 11398 h 25646"/>
                  <a:gd name="connsiteX6" fmla="*/ 5699 w 45593"/>
                  <a:gd name="connsiteY6" fmla="*/ 25646 h 25646"/>
                  <a:gd name="connsiteX7" fmla="*/ 5699 w 45593"/>
                  <a:gd name="connsiteY7" fmla="*/ 25646 h 25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593" h="25646">
                    <a:moveTo>
                      <a:pt x="5699" y="25646"/>
                    </a:moveTo>
                    <a:cubicBezTo>
                      <a:pt x="2850" y="25646"/>
                      <a:pt x="0" y="25646"/>
                      <a:pt x="0" y="22797"/>
                    </a:cubicBezTo>
                    <a:cubicBezTo>
                      <a:pt x="0" y="19948"/>
                      <a:pt x="0" y="17098"/>
                      <a:pt x="2850" y="14248"/>
                    </a:cubicBezTo>
                    <a:lnTo>
                      <a:pt x="37045" y="0"/>
                    </a:lnTo>
                    <a:cubicBezTo>
                      <a:pt x="39894" y="0"/>
                      <a:pt x="42744" y="0"/>
                      <a:pt x="45594" y="2850"/>
                    </a:cubicBezTo>
                    <a:cubicBezTo>
                      <a:pt x="45594" y="5700"/>
                      <a:pt x="45594" y="8549"/>
                      <a:pt x="42744" y="11398"/>
                    </a:cubicBezTo>
                    <a:lnTo>
                      <a:pt x="5699" y="25646"/>
                    </a:lnTo>
                    <a:cubicBezTo>
                      <a:pt x="5699" y="25646"/>
                      <a:pt x="5699" y="25646"/>
                      <a:pt x="5699" y="25646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DBC7274A-E77F-4EC0-B781-BFF1F852EC4D}"/>
                  </a:ext>
                </a:extLst>
              </p:cNvPr>
              <p:cNvSpPr/>
              <p:nvPr/>
            </p:nvSpPr>
            <p:spPr>
              <a:xfrm>
                <a:off x="7338971" y="9799525"/>
                <a:ext cx="31130" cy="82638"/>
              </a:xfrm>
              <a:custGeom>
                <a:avLst/>
                <a:gdLst>
                  <a:gd name="connsiteX0" fmla="*/ 24165 w 31130"/>
                  <a:gd name="connsiteY0" fmla="*/ 82638 h 82638"/>
                  <a:gd name="connsiteX1" fmla="*/ 18466 w 31130"/>
                  <a:gd name="connsiteY1" fmla="*/ 79789 h 82638"/>
                  <a:gd name="connsiteX2" fmla="*/ 1368 w 31130"/>
                  <a:gd name="connsiteY2" fmla="*/ 5700 h 82638"/>
                  <a:gd name="connsiteX3" fmla="*/ 7067 w 31130"/>
                  <a:gd name="connsiteY3" fmla="*/ 0 h 82638"/>
                  <a:gd name="connsiteX4" fmla="*/ 12767 w 31130"/>
                  <a:gd name="connsiteY4" fmla="*/ 5700 h 82638"/>
                  <a:gd name="connsiteX5" fmla="*/ 29864 w 31130"/>
                  <a:gd name="connsiteY5" fmla="*/ 71240 h 82638"/>
                  <a:gd name="connsiteX6" fmla="*/ 29864 w 31130"/>
                  <a:gd name="connsiteY6" fmla="*/ 79789 h 82638"/>
                  <a:gd name="connsiteX7" fmla="*/ 24165 w 31130"/>
                  <a:gd name="connsiteY7" fmla="*/ 82638 h 82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30" h="82638">
                    <a:moveTo>
                      <a:pt x="24165" y="82638"/>
                    </a:moveTo>
                    <a:cubicBezTo>
                      <a:pt x="21315" y="82638"/>
                      <a:pt x="21315" y="82638"/>
                      <a:pt x="18466" y="79789"/>
                    </a:cubicBezTo>
                    <a:cubicBezTo>
                      <a:pt x="-7181" y="48444"/>
                      <a:pt x="1368" y="5700"/>
                      <a:pt x="1368" y="5700"/>
                    </a:cubicBezTo>
                    <a:cubicBezTo>
                      <a:pt x="1368" y="2850"/>
                      <a:pt x="4218" y="0"/>
                      <a:pt x="7067" y="0"/>
                    </a:cubicBezTo>
                    <a:cubicBezTo>
                      <a:pt x="9917" y="0"/>
                      <a:pt x="12767" y="2850"/>
                      <a:pt x="12767" y="5700"/>
                    </a:cubicBezTo>
                    <a:cubicBezTo>
                      <a:pt x="12767" y="5700"/>
                      <a:pt x="7067" y="42744"/>
                      <a:pt x="29864" y="71240"/>
                    </a:cubicBezTo>
                    <a:cubicBezTo>
                      <a:pt x="32714" y="74090"/>
                      <a:pt x="29864" y="76940"/>
                      <a:pt x="29864" y="79789"/>
                    </a:cubicBezTo>
                    <a:cubicBezTo>
                      <a:pt x="27015" y="82638"/>
                      <a:pt x="24165" y="82638"/>
                      <a:pt x="24165" y="82638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3D8F8DC9-2973-4882-8169-1644D0231751}"/>
                </a:ext>
              </a:extLst>
            </p:cNvPr>
            <p:cNvSpPr/>
            <p:nvPr/>
          </p:nvSpPr>
          <p:spPr>
            <a:xfrm>
              <a:off x="6388314" y="9718860"/>
              <a:ext cx="293998" cy="164422"/>
            </a:xfrm>
            <a:custGeom>
              <a:avLst/>
              <a:gdLst>
                <a:gd name="connsiteX0" fmla="*/ 82895 w 293998"/>
                <a:gd name="connsiteY0" fmla="*/ 157604 h 164422"/>
                <a:gd name="connsiteX1" fmla="*/ 85745 w 293998"/>
                <a:gd name="connsiteY1" fmla="*/ 140506 h 164422"/>
                <a:gd name="connsiteX2" fmla="*/ 91444 w 293998"/>
                <a:gd name="connsiteY2" fmla="*/ 137657 h 164422"/>
                <a:gd name="connsiteX3" fmla="*/ 68647 w 293998"/>
                <a:gd name="connsiteY3" fmla="*/ 140506 h 164422"/>
                <a:gd name="connsiteX4" fmla="*/ 28753 w 293998"/>
                <a:gd name="connsiteY4" fmla="*/ 131958 h 164422"/>
                <a:gd name="connsiteX5" fmla="*/ 28753 w 293998"/>
                <a:gd name="connsiteY5" fmla="*/ 126258 h 164422"/>
                <a:gd name="connsiteX6" fmla="*/ 28753 w 293998"/>
                <a:gd name="connsiteY6" fmla="*/ 123409 h 164422"/>
                <a:gd name="connsiteX7" fmla="*/ 3106 w 293998"/>
                <a:gd name="connsiteY7" fmla="*/ 109161 h 164422"/>
                <a:gd name="connsiteX8" fmla="*/ 5956 w 293998"/>
                <a:gd name="connsiteY8" fmla="*/ 86364 h 164422"/>
                <a:gd name="connsiteX9" fmla="*/ 51550 w 293998"/>
                <a:gd name="connsiteY9" fmla="*/ 74966 h 164422"/>
                <a:gd name="connsiteX10" fmla="*/ 114241 w 293998"/>
                <a:gd name="connsiteY10" fmla="*/ 60718 h 164422"/>
                <a:gd name="connsiteX11" fmla="*/ 62948 w 293998"/>
                <a:gd name="connsiteY11" fmla="*/ 57868 h 164422"/>
                <a:gd name="connsiteX12" fmla="*/ 23054 w 293998"/>
                <a:gd name="connsiteY12" fmla="*/ 55018 h 164422"/>
                <a:gd name="connsiteX13" fmla="*/ 37302 w 293998"/>
                <a:gd name="connsiteY13" fmla="*/ 32222 h 164422"/>
                <a:gd name="connsiteX14" fmla="*/ 293766 w 293998"/>
                <a:gd name="connsiteY14" fmla="*/ 26522 h 164422"/>
                <a:gd name="connsiteX15" fmla="*/ 282368 w 293998"/>
                <a:gd name="connsiteY15" fmla="*/ 117710 h 164422"/>
                <a:gd name="connsiteX16" fmla="*/ 182632 w 293998"/>
                <a:gd name="connsiteY16" fmla="*/ 151905 h 164422"/>
                <a:gd name="connsiteX17" fmla="*/ 117091 w 293998"/>
                <a:gd name="connsiteY17" fmla="*/ 160454 h 164422"/>
                <a:gd name="connsiteX18" fmla="*/ 82895 w 293998"/>
                <a:gd name="connsiteY18" fmla="*/ 157604 h 16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93998" h="164422">
                  <a:moveTo>
                    <a:pt x="82895" y="157604"/>
                  </a:moveTo>
                  <a:cubicBezTo>
                    <a:pt x="80046" y="151905"/>
                    <a:pt x="80046" y="146206"/>
                    <a:pt x="85745" y="140506"/>
                  </a:cubicBezTo>
                  <a:cubicBezTo>
                    <a:pt x="85745" y="140506"/>
                    <a:pt x="88595" y="137657"/>
                    <a:pt x="91444" y="137657"/>
                  </a:cubicBezTo>
                  <a:cubicBezTo>
                    <a:pt x="82895" y="140506"/>
                    <a:pt x="77196" y="140506"/>
                    <a:pt x="68647" y="140506"/>
                  </a:cubicBezTo>
                  <a:cubicBezTo>
                    <a:pt x="54399" y="143356"/>
                    <a:pt x="40151" y="143356"/>
                    <a:pt x="28753" y="131958"/>
                  </a:cubicBezTo>
                  <a:cubicBezTo>
                    <a:pt x="28753" y="131958"/>
                    <a:pt x="25903" y="129108"/>
                    <a:pt x="28753" y="126258"/>
                  </a:cubicBezTo>
                  <a:cubicBezTo>
                    <a:pt x="28753" y="126258"/>
                    <a:pt x="28753" y="126258"/>
                    <a:pt x="28753" y="123409"/>
                  </a:cubicBezTo>
                  <a:cubicBezTo>
                    <a:pt x="20204" y="120559"/>
                    <a:pt x="8806" y="117710"/>
                    <a:pt x="3106" y="109161"/>
                  </a:cubicBezTo>
                  <a:cubicBezTo>
                    <a:pt x="-2593" y="100612"/>
                    <a:pt x="257" y="92063"/>
                    <a:pt x="5956" y="86364"/>
                  </a:cubicBezTo>
                  <a:cubicBezTo>
                    <a:pt x="17354" y="77815"/>
                    <a:pt x="37302" y="77815"/>
                    <a:pt x="51550" y="74966"/>
                  </a:cubicBezTo>
                  <a:cubicBezTo>
                    <a:pt x="71497" y="69266"/>
                    <a:pt x="94294" y="63567"/>
                    <a:pt x="114241" y="60718"/>
                  </a:cubicBezTo>
                  <a:cubicBezTo>
                    <a:pt x="97143" y="60718"/>
                    <a:pt x="80046" y="57868"/>
                    <a:pt x="62948" y="57868"/>
                  </a:cubicBezTo>
                  <a:cubicBezTo>
                    <a:pt x="51550" y="57868"/>
                    <a:pt x="34452" y="60718"/>
                    <a:pt x="23054" y="55018"/>
                  </a:cubicBezTo>
                  <a:cubicBezTo>
                    <a:pt x="8806" y="46470"/>
                    <a:pt x="28753" y="35071"/>
                    <a:pt x="37302" y="32222"/>
                  </a:cubicBezTo>
                  <a:cubicBezTo>
                    <a:pt x="88595" y="15124"/>
                    <a:pt x="256721" y="-27620"/>
                    <a:pt x="293766" y="26522"/>
                  </a:cubicBezTo>
                  <a:cubicBezTo>
                    <a:pt x="293766" y="26522"/>
                    <a:pt x="296616" y="97762"/>
                    <a:pt x="282368" y="117710"/>
                  </a:cubicBezTo>
                  <a:cubicBezTo>
                    <a:pt x="259571" y="146206"/>
                    <a:pt x="219677" y="146206"/>
                    <a:pt x="182632" y="151905"/>
                  </a:cubicBezTo>
                  <a:cubicBezTo>
                    <a:pt x="159835" y="154754"/>
                    <a:pt x="139888" y="157604"/>
                    <a:pt x="117091" y="160454"/>
                  </a:cubicBezTo>
                  <a:cubicBezTo>
                    <a:pt x="105692" y="163303"/>
                    <a:pt x="88595" y="169002"/>
                    <a:pt x="82895" y="157604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CFFB4424-F1BE-4DAE-B92F-D439DABC0714}"/>
                </a:ext>
              </a:extLst>
            </p:cNvPr>
            <p:cNvSpPr/>
            <p:nvPr/>
          </p:nvSpPr>
          <p:spPr>
            <a:xfrm>
              <a:off x="6523215" y="9725758"/>
              <a:ext cx="125787" cy="85537"/>
            </a:xfrm>
            <a:custGeom>
              <a:avLst/>
              <a:gdLst>
                <a:gd name="connsiteX0" fmla="*/ 7836 w 125787"/>
                <a:gd name="connsiteY0" fmla="*/ 22474 h 85537"/>
                <a:gd name="connsiteX1" fmla="*/ 96174 w 125787"/>
                <a:gd name="connsiteY1" fmla="*/ 2526 h 85537"/>
                <a:gd name="connsiteX2" fmla="*/ 124670 w 125787"/>
                <a:gd name="connsiteY2" fmla="*/ 59518 h 85537"/>
                <a:gd name="connsiteX3" fmla="*/ 73377 w 125787"/>
                <a:gd name="connsiteY3" fmla="*/ 45270 h 85537"/>
                <a:gd name="connsiteX4" fmla="*/ 27784 w 125787"/>
                <a:gd name="connsiteY4" fmla="*/ 68068 h 85537"/>
                <a:gd name="connsiteX5" fmla="*/ 13536 w 125787"/>
                <a:gd name="connsiteY5" fmla="*/ 85165 h 85537"/>
                <a:gd name="connsiteX6" fmla="*/ 7836 w 125787"/>
                <a:gd name="connsiteY6" fmla="*/ 22474 h 85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787" h="85537">
                  <a:moveTo>
                    <a:pt x="7836" y="22474"/>
                  </a:moveTo>
                  <a:cubicBezTo>
                    <a:pt x="24934" y="-324"/>
                    <a:pt x="70528" y="-3172"/>
                    <a:pt x="96174" y="2526"/>
                  </a:cubicBezTo>
                  <a:cubicBezTo>
                    <a:pt x="113272" y="8226"/>
                    <a:pt x="130370" y="59518"/>
                    <a:pt x="124670" y="59518"/>
                  </a:cubicBezTo>
                  <a:cubicBezTo>
                    <a:pt x="113272" y="56669"/>
                    <a:pt x="84776" y="45270"/>
                    <a:pt x="73377" y="45270"/>
                  </a:cubicBezTo>
                  <a:cubicBezTo>
                    <a:pt x="53430" y="45270"/>
                    <a:pt x="39182" y="53820"/>
                    <a:pt x="27784" y="68068"/>
                  </a:cubicBezTo>
                  <a:cubicBezTo>
                    <a:pt x="22084" y="73766"/>
                    <a:pt x="22084" y="88014"/>
                    <a:pt x="13536" y="85165"/>
                  </a:cubicBezTo>
                  <a:cubicBezTo>
                    <a:pt x="-6412" y="79466"/>
                    <a:pt x="-712" y="33872"/>
                    <a:pt x="7836" y="22474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17EDDED4-AECF-47F3-B61F-5BC5EE1AC101}"/>
                </a:ext>
              </a:extLst>
            </p:cNvPr>
            <p:cNvSpPr/>
            <p:nvPr/>
          </p:nvSpPr>
          <p:spPr>
            <a:xfrm>
              <a:off x="6516668" y="9723611"/>
              <a:ext cx="120998" cy="95861"/>
            </a:xfrm>
            <a:custGeom>
              <a:avLst/>
              <a:gdLst>
                <a:gd name="connsiteX0" fmla="*/ 20082 w 120998"/>
                <a:gd name="connsiteY0" fmla="*/ 95861 h 95861"/>
                <a:gd name="connsiteX1" fmla="*/ 5834 w 120998"/>
                <a:gd name="connsiteY1" fmla="*/ 87312 h 95861"/>
                <a:gd name="connsiteX2" fmla="*/ 11533 w 120998"/>
                <a:gd name="connsiteY2" fmla="*/ 24621 h 95861"/>
                <a:gd name="connsiteX3" fmla="*/ 105570 w 120998"/>
                <a:gd name="connsiteY3" fmla="*/ 1824 h 95861"/>
                <a:gd name="connsiteX4" fmla="*/ 111270 w 120998"/>
                <a:gd name="connsiteY4" fmla="*/ 7523 h 95861"/>
                <a:gd name="connsiteX5" fmla="*/ 105570 w 120998"/>
                <a:gd name="connsiteY5" fmla="*/ 13223 h 95861"/>
                <a:gd name="connsiteX6" fmla="*/ 22932 w 120998"/>
                <a:gd name="connsiteY6" fmla="*/ 30320 h 95861"/>
                <a:gd name="connsiteX7" fmla="*/ 17233 w 120998"/>
                <a:gd name="connsiteY7" fmla="*/ 81613 h 95861"/>
                <a:gd name="connsiteX8" fmla="*/ 22932 w 120998"/>
                <a:gd name="connsiteY8" fmla="*/ 84463 h 95861"/>
                <a:gd name="connsiteX9" fmla="*/ 34330 w 120998"/>
                <a:gd name="connsiteY9" fmla="*/ 73064 h 95861"/>
                <a:gd name="connsiteX10" fmla="*/ 82774 w 120998"/>
                <a:gd name="connsiteY10" fmla="*/ 44568 h 95861"/>
                <a:gd name="connsiteX11" fmla="*/ 85623 w 120998"/>
                <a:gd name="connsiteY11" fmla="*/ 44568 h 95861"/>
                <a:gd name="connsiteX12" fmla="*/ 91322 w 120998"/>
                <a:gd name="connsiteY12" fmla="*/ 47418 h 95861"/>
                <a:gd name="connsiteX13" fmla="*/ 116969 w 120998"/>
                <a:gd name="connsiteY13" fmla="*/ 73064 h 95861"/>
                <a:gd name="connsiteX14" fmla="*/ 119818 w 120998"/>
                <a:gd name="connsiteY14" fmla="*/ 78763 h 95861"/>
                <a:gd name="connsiteX15" fmla="*/ 114119 w 120998"/>
                <a:gd name="connsiteY15" fmla="*/ 81613 h 95861"/>
                <a:gd name="connsiteX16" fmla="*/ 82774 w 120998"/>
                <a:gd name="connsiteY16" fmla="*/ 53117 h 95861"/>
                <a:gd name="connsiteX17" fmla="*/ 45729 w 120998"/>
                <a:gd name="connsiteY17" fmla="*/ 78763 h 95861"/>
                <a:gd name="connsiteX18" fmla="*/ 20082 w 120998"/>
                <a:gd name="connsiteY18" fmla="*/ 95861 h 95861"/>
                <a:gd name="connsiteX19" fmla="*/ 20082 w 120998"/>
                <a:gd name="connsiteY19" fmla="*/ 95861 h 95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0998" h="95861">
                  <a:moveTo>
                    <a:pt x="20082" y="95861"/>
                  </a:moveTo>
                  <a:cubicBezTo>
                    <a:pt x="14383" y="95861"/>
                    <a:pt x="8684" y="93011"/>
                    <a:pt x="5834" y="87312"/>
                  </a:cubicBezTo>
                  <a:cubicBezTo>
                    <a:pt x="-2715" y="75914"/>
                    <a:pt x="-2715" y="47418"/>
                    <a:pt x="11533" y="24621"/>
                  </a:cubicBezTo>
                  <a:cubicBezTo>
                    <a:pt x="28631" y="-9575"/>
                    <a:pt x="102721" y="1824"/>
                    <a:pt x="105570" y="1824"/>
                  </a:cubicBezTo>
                  <a:cubicBezTo>
                    <a:pt x="108420" y="1824"/>
                    <a:pt x="111270" y="4673"/>
                    <a:pt x="111270" y="7523"/>
                  </a:cubicBezTo>
                  <a:cubicBezTo>
                    <a:pt x="111270" y="10373"/>
                    <a:pt x="108420" y="13223"/>
                    <a:pt x="105570" y="13223"/>
                  </a:cubicBezTo>
                  <a:cubicBezTo>
                    <a:pt x="85623" y="10373"/>
                    <a:pt x="34330" y="7523"/>
                    <a:pt x="22932" y="30320"/>
                  </a:cubicBezTo>
                  <a:cubicBezTo>
                    <a:pt x="11533" y="50267"/>
                    <a:pt x="11533" y="73064"/>
                    <a:pt x="17233" y="81613"/>
                  </a:cubicBezTo>
                  <a:cubicBezTo>
                    <a:pt x="20082" y="84463"/>
                    <a:pt x="20082" y="84463"/>
                    <a:pt x="22932" y="84463"/>
                  </a:cubicBezTo>
                  <a:cubicBezTo>
                    <a:pt x="25781" y="84463"/>
                    <a:pt x="28631" y="78763"/>
                    <a:pt x="34330" y="73064"/>
                  </a:cubicBezTo>
                  <a:cubicBezTo>
                    <a:pt x="42879" y="61666"/>
                    <a:pt x="57127" y="44568"/>
                    <a:pt x="82774" y="44568"/>
                  </a:cubicBezTo>
                  <a:cubicBezTo>
                    <a:pt x="82774" y="44568"/>
                    <a:pt x="82774" y="44568"/>
                    <a:pt x="85623" y="44568"/>
                  </a:cubicBezTo>
                  <a:cubicBezTo>
                    <a:pt x="88473" y="44568"/>
                    <a:pt x="88473" y="44568"/>
                    <a:pt x="91322" y="47418"/>
                  </a:cubicBezTo>
                  <a:cubicBezTo>
                    <a:pt x="91322" y="47418"/>
                    <a:pt x="102721" y="67365"/>
                    <a:pt x="116969" y="73064"/>
                  </a:cubicBezTo>
                  <a:cubicBezTo>
                    <a:pt x="119818" y="73064"/>
                    <a:pt x="122668" y="75914"/>
                    <a:pt x="119818" y="78763"/>
                  </a:cubicBezTo>
                  <a:cubicBezTo>
                    <a:pt x="119818" y="81613"/>
                    <a:pt x="116969" y="84463"/>
                    <a:pt x="114119" y="81613"/>
                  </a:cubicBezTo>
                  <a:cubicBezTo>
                    <a:pt x="97022" y="78763"/>
                    <a:pt x="88473" y="61666"/>
                    <a:pt x="82774" y="53117"/>
                  </a:cubicBezTo>
                  <a:cubicBezTo>
                    <a:pt x="62826" y="53117"/>
                    <a:pt x="54277" y="67365"/>
                    <a:pt x="45729" y="78763"/>
                  </a:cubicBezTo>
                  <a:cubicBezTo>
                    <a:pt x="34330" y="87312"/>
                    <a:pt x="28631" y="93011"/>
                    <a:pt x="20082" y="95861"/>
                  </a:cubicBezTo>
                  <a:cubicBezTo>
                    <a:pt x="20082" y="95861"/>
                    <a:pt x="20082" y="95861"/>
                    <a:pt x="20082" y="95861"/>
                  </a:cubicBezTo>
                  <a:close/>
                </a:path>
              </a:pathLst>
            </a:custGeom>
            <a:solidFill>
              <a:srgbClr val="E58777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85" name="图形 1">
            <a:extLst>
              <a:ext uri="{FF2B5EF4-FFF2-40B4-BE49-F238E27FC236}">
                <a16:creationId xmlns:a16="http://schemas.microsoft.com/office/drawing/2014/main" id="{F97FEA41-47F2-4426-9B4F-96EE674FFC3E}"/>
              </a:ext>
            </a:extLst>
          </p:cNvPr>
          <p:cNvGrpSpPr/>
          <p:nvPr/>
        </p:nvGrpSpPr>
        <p:grpSpPr>
          <a:xfrm>
            <a:off x="2707425" y="3058383"/>
            <a:ext cx="3506357" cy="3799041"/>
            <a:chOff x="2559941" y="8634122"/>
            <a:chExt cx="3506357" cy="3799041"/>
          </a:xfrm>
        </p:grpSpPr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9C42ECB0-C3E4-40FA-80CF-D674C978DE26}"/>
                </a:ext>
              </a:extLst>
            </p:cNvPr>
            <p:cNvSpPr/>
            <p:nvPr/>
          </p:nvSpPr>
          <p:spPr>
            <a:xfrm>
              <a:off x="4514914" y="9138417"/>
              <a:ext cx="881913" cy="710046"/>
            </a:xfrm>
            <a:custGeom>
              <a:avLst/>
              <a:gdLst>
                <a:gd name="connsiteX0" fmla="*/ 169594 w 881913"/>
                <a:gd name="connsiteY0" fmla="*/ 604116 h 710046"/>
                <a:gd name="connsiteX1" fmla="*/ 21414 w 881913"/>
                <a:gd name="connsiteY1" fmla="*/ 376147 h 710046"/>
                <a:gd name="connsiteX2" fmla="*/ 374765 w 881913"/>
                <a:gd name="connsiteY2" fmla="*/ 378997 h 710046"/>
                <a:gd name="connsiteX3" fmla="*/ 676823 w 881913"/>
                <a:gd name="connsiteY3" fmla="*/ 458786 h 710046"/>
                <a:gd name="connsiteX4" fmla="*/ 665425 w 881913"/>
                <a:gd name="connsiteY4" fmla="*/ 0 h 710046"/>
                <a:gd name="connsiteX5" fmla="*/ 793657 w 881913"/>
                <a:gd name="connsiteY5" fmla="*/ 22796 h 710046"/>
                <a:gd name="connsiteX6" fmla="*/ 816454 w 881913"/>
                <a:gd name="connsiteY6" fmla="*/ 692454 h 710046"/>
                <a:gd name="connsiteX7" fmla="*/ 169594 w 881913"/>
                <a:gd name="connsiteY7" fmla="*/ 604116 h 71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913" h="710046">
                  <a:moveTo>
                    <a:pt x="169594" y="604116"/>
                  </a:moveTo>
                  <a:cubicBezTo>
                    <a:pt x="41361" y="558522"/>
                    <a:pt x="-41277" y="418891"/>
                    <a:pt x="21414" y="376147"/>
                  </a:cubicBezTo>
                  <a:cubicBezTo>
                    <a:pt x="92654" y="327705"/>
                    <a:pt x="223736" y="316305"/>
                    <a:pt x="374765" y="378997"/>
                  </a:cubicBezTo>
                  <a:cubicBezTo>
                    <a:pt x="463103" y="416042"/>
                    <a:pt x="668274" y="473034"/>
                    <a:pt x="676823" y="458786"/>
                  </a:cubicBezTo>
                  <a:cubicBezTo>
                    <a:pt x="682522" y="453087"/>
                    <a:pt x="665425" y="0"/>
                    <a:pt x="665425" y="0"/>
                  </a:cubicBezTo>
                  <a:cubicBezTo>
                    <a:pt x="708169" y="37045"/>
                    <a:pt x="793657" y="22796"/>
                    <a:pt x="793657" y="22796"/>
                  </a:cubicBezTo>
                  <a:cubicBezTo>
                    <a:pt x="793657" y="22796"/>
                    <a:pt x="976032" y="589868"/>
                    <a:pt x="816454" y="692454"/>
                  </a:cubicBezTo>
                  <a:cubicBezTo>
                    <a:pt x="733815" y="746596"/>
                    <a:pt x="332021" y="663957"/>
                    <a:pt x="169594" y="604116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4CF9DB3F-6AD4-4626-B26D-60058E5E6C4E}"/>
                </a:ext>
              </a:extLst>
            </p:cNvPr>
            <p:cNvSpPr/>
            <p:nvPr/>
          </p:nvSpPr>
          <p:spPr>
            <a:xfrm>
              <a:off x="5188888" y="9594354"/>
              <a:ext cx="42744" cy="96886"/>
            </a:xfrm>
            <a:custGeom>
              <a:avLst/>
              <a:gdLst>
                <a:gd name="connsiteX0" fmla="*/ 37045 w 42744"/>
                <a:gd name="connsiteY0" fmla="*/ 96886 h 96886"/>
                <a:gd name="connsiteX1" fmla="*/ 31346 w 42744"/>
                <a:gd name="connsiteY1" fmla="*/ 94037 h 96886"/>
                <a:gd name="connsiteX2" fmla="*/ 0 w 42744"/>
                <a:gd name="connsiteY2" fmla="*/ 8548 h 96886"/>
                <a:gd name="connsiteX3" fmla="*/ 2850 w 42744"/>
                <a:gd name="connsiteY3" fmla="*/ 0 h 96886"/>
                <a:gd name="connsiteX4" fmla="*/ 11398 w 42744"/>
                <a:gd name="connsiteY4" fmla="*/ 2849 h 96886"/>
                <a:gd name="connsiteX5" fmla="*/ 42744 w 42744"/>
                <a:gd name="connsiteY5" fmla="*/ 88337 h 96886"/>
                <a:gd name="connsiteX6" fmla="*/ 37045 w 42744"/>
                <a:gd name="connsiteY6" fmla="*/ 96886 h 96886"/>
                <a:gd name="connsiteX7" fmla="*/ 37045 w 42744"/>
                <a:gd name="connsiteY7" fmla="*/ 96886 h 96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744" h="96886">
                  <a:moveTo>
                    <a:pt x="37045" y="96886"/>
                  </a:moveTo>
                  <a:cubicBezTo>
                    <a:pt x="34195" y="96886"/>
                    <a:pt x="31346" y="96886"/>
                    <a:pt x="31346" y="94037"/>
                  </a:cubicBezTo>
                  <a:lnTo>
                    <a:pt x="0" y="8548"/>
                  </a:lnTo>
                  <a:cubicBezTo>
                    <a:pt x="0" y="5699"/>
                    <a:pt x="0" y="2849"/>
                    <a:pt x="2850" y="0"/>
                  </a:cubicBezTo>
                  <a:cubicBezTo>
                    <a:pt x="5699" y="0"/>
                    <a:pt x="8549" y="0"/>
                    <a:pt x="11398" y="2849"/>
                  </a:cubicBezTo>
                  <a:lnTo>
                    <a:pt x="42744" y="88337"/>
                  </a:lnTo>
                  <a:cubicBezTo>
                    <a:pt x="42744" y="91187"/>
                    <a:pt x="39895" y="94037"/>
                    <a:pt x="37045" y="96886"/>
                  </a:cubicBezTo>
                  <a:cubicBezTo>
                    <a:pt x="37045" y="96886"/>
                    <a:pt x="37045" y="96886"/>
                    <a:pt x="37045" y="96886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8" name="图形 1">
              <a:extLst>
                <a:ext uri="{FF2B5EF4-FFF2-40B4-BE49-F238E27FC236}">
                  <a16:creationId xmlns:a16="http://schemas.microsoft.com/office/drawing/2014/main" id="{5CB20B3B-F8EF-4DD7-8EC5-1DF2643D196E}"/>
                </a:ext>
              </a:extLst>
            </p:cNvPr>
            <p:cNvGrpSpPr/>
            <p:nvPr/>
          </p:nvGrpSpPr>
          <p:grpSpPr>
            <a:xfrm>
              <a:off x="2559941" y="9751082"/>
              <a:ext cx="2716703" cy="2489762"/>
              <a:chOff x="2559941" y="9751082"/>
              <a:chExt cx="2716703" cy="2489762"/>
            </a:xfrm>
          </p:grpSpPr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91990876-0B43-4FA0-9FD2-95C0D4B94E3A}"/>
                  </a:ext>
                </a:extLst>
              </p:cNvPr>
              <p:cNvSpPr/>
              <p:nvPr/>
            </p:nvSpPr>
            <p:spPr>
              <a:xfrm>
                <a:off x="2559941" y="9751082"/>
                <a:ext cx="2716703" cy="2489762"/>
              </a:xfrm>
              <a:custGeom>
                <a:avLst/>
                <a:gdLst>
                  <a:gd name="connsiteX0" fmla="*/ 75702 w 2716703"/>
                  <a:gd name="connsiteY0" fmla="*/ 1863641 h 2489762"/>
                  <a:gd name="connsiteX1" fmla="*/ 2472219 w 2716703"/>
                  <a:gd name="connsiteY1" fmla="*/ 2182796 h 2489762"/>
                  <a:gd name="connsiteX2" fmla="*/ 2440873 w 2716703"/>
                  <a:gd name="connsiteY2" fmla="*/ 1134142 h 2489762"/>
                  <a:gd name="connsiteX3" fmla="*/ 2440873 w 2716703"/>
                  <a:gd name="connsiteY3" fmla="*/ 1134142 h 2489762"/>
                  <a:gd name="connsiteX4" fmla="*/ 2073274 w 2716703"/>
                  <a:gd name="connsiteY4" fmla="*/ 900474 h 2489762"/>
                  <a:gd name="connsiteX5" fmla="*/ 1429264 w 2716703"/>
                  <a:gd name="connsiteY5" fmla="*/ 91187 h 2489762"/>
                  <a:gd name="connsiteX6" fmla="*/ 1215544 w 2716703"/>
                  <a:gd name="connsiteY6" fmla="*/ 0 h 2489762"/>
                  <a:gd name="connsiteX7" fmla="*/ 75702 w 2716703"/>
                  <a:gd name="connsiteY7" fmla="*/ 1863641 h 2489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16703" h="2489762">
                    <a:moveTo>
                      <a:pt x="75702" y="1863641"/>
                    </a:moveTo>
                    <a:cubicBezTo>
                      <a:pt x="386309" y="2758417"/>
                      <a:pt x="2067575" y="2530448"/>
                      <a:pt x="2472219" y="2182796"/>
                    </a:cubicBezTo>
                    <a:cubicBezTo>
                      <a:pt x="2674541" y="2008971"/>
                      <a:pt x="2916757" y="1547335"/>
                      <a:pt x="2440873" y="1134142"/>
                    </a:cubicBezTo>
                    <a:cubicBezTo>
                      <a:pt x="2440873" y="1134142"/>
                      <a:pt x="2440873" y="1134142"/>
                      <a:pt x="2440873" y="1134142"/>
                    </a:cubicBezTo>
                    <a:cubicBezTo>
                      <a:pt x="2346837" y="1054354"/>
                      <a:pt x="2227153" y="974564"/>
                      <a:pt x="2073274" y="900474"/>
                    </a:cubicBezTo>
                    <a:cubicBezTo>
                      <a:pt x="1822509" y="780791"/>
                      <a:pt x="1665781" y="296359"/>
                      <a:pt x="1429264" y="91187"/>
                    </a:cubicBezTo>
                    <a:cubicBezTo>
                      <a:pt x="1363723" y="34195"/>
                      <a:pt x="1295333" y="0"/>
                      <a:pt x="1215544" y="0"/>
                    </a:cubicBezTo>
                    <a:cubicBezTo>
                      <a:pt x="845095" y="2849"/>
                      <a:pt x="-303296" y="766543"/>
                      <a:pt x="75702" y="1863641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14CB80E6-2529-4603-91A3-74D15F4F01F4}"/>
                  </a:ext>
                </a:extLst>
              </p:cNvPr>
              <p:cNvSpPr/>
              <p:nvPr/>
            </p:nvSpPr>
            <p:spPr>
              <a:xfrm>
                <a:off x="3593822" y="10591715"/>
                <a:ext cx="965303" cy="410342"/>
              </a:xfrm>
              <a:custGeom>
                <a:avLst/>
                <a:gdLst>
                  <a:gd name="connsiteX0" fmla="*/ 4987 w 965303"/>
                  <a:gd name="connsiteY0" fmla="*/ 410343 h 410342"/>
                  <a:gd name="connsiteX1" fmla="*/ 2137 w 965303"/>
                  <a:gd name="connsiteY1" fmla="*/ 410343 h 410342"/>
                  <a:gd name="connsiteX2" fmla="*/ 2137 w 965303"/>
                  <a:gd name="connsiteY2" fmla="*/ 401794 h 410342"/>
                  <a:gd name="connsiteX3" fmla="*/ 959604 w 965303"/>
                  <a:gd name="connsiteY3" fmla="*/ 0 h 410342"/>
                  <a:gd name="connsiteX4" fmla="*/ 959604 w 965303"/>
                  <a:gd name="connsiteY4" fmla="*/ 0 h 410342"/>
                  <a:gd name="connsiteX5" fmla="*/ 965303 w 965303"/>
                  <a:gd name="connsiteY5" fmla="*/ 5699 h 410342"/>
                  <a:gd name="connsiteX6" fmla="*/ 959604 w 965303"/>
                  <a:gd name="connsiteY6" fmla="*/ 11398 h 410342"/>
                  <a:gd name="connsiteX7" fmla="*/ 10686 w 965303"/>
                  <a:gd name="connsiteY7" fmla="*/ 407493 h 410342"/>
                  <a:gd name="connsiteX8" fmla="*/ 4987 w 965303"/>
                  <a:gd name="connsiteY8" fmla="*/ 410343 h 410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65303" h="410342">
                    <a:moveTo>
                      <a:pt x="4987" y="410343"/>
                    </a:moveTo>
                    <a:cubicBezTo>
                      <a:pt x="4987" y="410343"/>
                      <a:pt x="2137" y="410343"/>
                      <a:pt x="2137" y="410343"/>
                    </a:cubicBezTo>
                    <a:cubicBezTo>
                      <a:pt x="-712" y="407493"/>
                      <a:pt x="-712" y="404643"/>
                      <a:pt x="2137" y="401794"/>
                    </a:cubicBezTo>
                    <a:cubicBezTo>
                      <a:pt x="312744" y="8548"/>
                      <a:pt x="953905" y="0"/>
                      <a:pt x="959604" y="0"/>
                    </a:cubicBezTo>
                    <a:lnTo>
                      <a:pt x="959604" y="0"/>
                    </a:lnTo>
                    <a:cubicBezTo>
                      <a:pt x="962454" y="0"/>
                      <a:pt x="965303" y="2849"/>
                      <a:pt x="965303" y="5699"/>
                    </a:cubicBezTo>
                    <a:cubicBezTo>
                      <a:pt x="965303" y="8548"/>
                      <a:pt x="962454" y="11398"/>
                      <a:pt x="959604" y="11398"/>
                    </a:cubicBezTo>
                    <a:cubicBezTo>
                      <a:pt x="953905" y="11398"/>
                      <a:pt x="318443" y="19947"/>
                      <a:pt x="10686" y="407493"/>
                    </a:cubicBezTo>
                    <a:cubicBezTo>
                      <a:pt x="7836" y="410343"/>
                      <a:pt x="4987" y="410343"/>
                      <a:pt x="4987" y="41034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A86E3DDA-1BA8-40F8-9BDD-ED894F20D57D}"/>
                  </a:ext>
                </a:extLst>
              </p:cNvPr>
              <p:cNvSpPr/>
              <p:nvPr/>
            </p:nvSpPr>
            <p:spPr>
              <a:xfrm>
                <a:off x="3660913" y="11051213"/>
                <a:ext cx="216444" cy="529314"/>
              </a:xfrm>
              <a:custGeom>
                <a:avLst/>
                <a:gdLst>
                  <a:gd name="connsiteX0" fmla="*/ 14835 w 216444"/>
                  <a:gd name="connsiteY0" fmla="*/ 529314 h 529314"/>
                  <a:gd name="connsiteX1" fmla="*/ 9136 w 216444"/>
                  <a:gd name="connsiteY1" fmla="*/ 523615 h 529314"/>
                  <a:gd name="connsiteX2" fmla="*/ 205759 w 216444"/>
                  <a:gd name="connsiteY2" fmla="*/ 2137 h 529314"/>
                  <a:gd name="connsiteX3" fmla="*/ 214307 w 216444"/>
                  <a:gd name="connsiteY3" fmla="*/ 2137 h 529314"/>
                  <a:gd name="connsiteX4" fmla="*/ 214307 w 216444"/>
                  <a:gd name="connsiteY4" fmla="*/ 10687 h 529314"/>
                  <a:gd name="connsiteX5" fmla="*/ 20534 w 216444"/>
                  <a:gd name="connsiteY5" fmla="*/ 520766 h 529314"/>
                  <a:gd name="connsiteX6" fmla="*/ 14835 w 216444"/>
                  <a:gd name="connsiteY6" fmla="*/ 529314 h 529314"/>
                  <a:gd name="connsiteX7" fmla="*/ 14835 w 216444"/>
                  <a:gd name="connsiteY7" fmla="*/ 529314 h 529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6444" h="529314">
                    <a:moveTo>
                      <a:pt x="14835" y="529314"/>
                    </a:moveTo>
                    <a:cubicBezTo>
                      <a:pt x="11985" y="529314"/>
                      <a:pt x="9136" y="526464"/>
                      <a:pt x="9136" y="523615"/>
                    </a:cubicBezTo>
                    <a:cubicBezTo>
                      <a:pt x="-50706" y="230106"/>
                      <a:pt x="202909" y="4987"/>
                      <a:pt x="205759" y="2137"/>
                    </a:cubicBezTo>
                    <a:cubicBezTo>
                      <a:pt x="208608" y="-712"/>
                      <a:pt x="211458" y="-712"/>
                      <a:pt x="214307" y="2137"/>
                    </a:cubicBezTo>
                    <a:cubicBezTo>
                      <a:pt x="217157" y="4987"/>
                      <a:pt x="217157" y="7837"/>
                      <a:pt x="214307" y="10687"/>
                    </a:cubicBezTo>
                    <a:cubicBezTo>
                      <a:pt x="211458" y="13536"/>
                      <a:pt x="-36458" y="232955"/>
                      <a:pt x="20534" y="520766"/>
                    </a:cubicBezTo>
                    <a:cubicBezTo>
                      <a:pt x="20534" y="526464"/>
                      <a:pt x="17685" y="529314"/>
                      <a:pt x="14835" y="529314"/>
                    </a:cubicBezTo>
                    <a:cubicBezTo>
                      <a:pt x="14835" y="529314"/>
                      <a:pt x="14835" y="529314"/>
                      <a:pt x="14835" y="529314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4" name="任意多边形: 形状 163">
                <a:extLst>
                  <a:ext uri="{FF2B5EF4-FFF2-40B4-BE49-F238E27FC236}">
                    <a16:creationId xmlns:a16="http://schemas.microsoft.com/office/drawing/2014/main" id="{32599E93-76B6-4C97-92A9-55D98EC0509E}"/>
                  </a:ext>
                </a:extLst>
              </p:cNvPr>
              <p:cNvSpPr/>
              <p:nvPr/>
            </p:nvSpPr>
            <p:spPr>
              <a:xfrm>
                <a:off x="3983313" y="11098945"/>
                <a:ext cx="96366" cy="396094"/>
              </a:xfrm>
              <a:custGeom>
                <a:avLst/>
                <a:gdLst>
                  <a:gd name="connsiteX0" fmla="*/ 91380 w 96366"/>
                  <a:gd name="connsiteY0" fmla="*/ 396095 h 396094"/>
                  <a:gd name="connsiteX1" fmla="*/ 88530 w 96366"/>
                  <a:gd name="connsiteY1" fmla="*/ 396095 h 396094"/>
                  <a:gd name="connsiteX2" fmla="*/ 192 w 96366"/>
                  <a:gd name="connsiteY2" fmla="*/ 5700 h 396094"/>
                  <a:gd name="connsiteX3" fmla="*/ 5891 w 96366"/>
                  <a:gd name="connsiteY3" fmla="*/ 0 h 396094"/>
                  <a:gd name="connsiteX4" fmla="*/ 5891 w 96366"/>
                  <a:gd name="connsiteY4" fmla="*/ 0 h 396094"/>
                  <a:gd name="connsiteX5" fmla="*/ 11591 w 96366"/>
                  <a:gd name="connsiteY5" fmla="*/ 5700 h 396094"/>
                  <a:gd name="connsiteX6" fmla="*/ 94229 w 96366"/>
                  <a:gd name="connsiteY6" fmla="*/ 384697 h 396094"/>
                  <a:gd name="connsiteX7" fmla="*/ 94229 w 96366"/>
                  <a:gd name="connsiteY7" fmla="*/ 393245 h 396094"/>
                  <a:gd name="connsiteX8" fmla="*/ 91380 w 96366"/>
                  <a:gd name="connsiteY8" fmla="*/ 396095 h 396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6366" h="396094">
                    <a:moveTo>
                      <a:pt x="91380" y="396095"/>
                    </a:moveTo>
                    <a:cubicBezTo>
                      <a:pt x="91380" y="396095"/>
                      <a:pt x="88530" y="396095"/>
                      <a:pt x="88530" y="396095"/>
                    </a:cubicBezTo>
                    <a:cubicBezTo>
                      <a:pt x="-8357" y="316306"/>
                      <a:pt x="192" y="19948"/>
                      <a:pt x="192" y="5700"/>
                    </a:cubicBezTo>
                    <a:cubicBezTo>
                      <a:pt x="192" y="2850"/>
                      <a:pt x="3042" y="0"/>
                      <a:pt x="5891" y="0"/>
                    </a:cubicBezTo>
                    <a:cubicBezTo>
                      <a:pt x="5891" y="0"/>
                      <a:pt x="5891" y="0"/>
                      <a:pt x="5891" y="0"/>
                    </a:cubicBezTo>
                    <a:cubicBezTo>
                      <a:pt x="8741" y="0"/>
                      <a:pt x="11591" y="2850"/>
                      <a:pt x="11591" y="5700"/>
                    </a:cubicBezTo>
                    <a:cubicBezTo>
                      <a:pt x="11591" y="8548"/>
                      <a:pt x="3042" y="310607"/>
                      <a:pt x="94229" y="384697"/>
                    </a:cubicBezTo>
                    <a:cubicBezTo>
                      <a:pt x="97079" y="387546"/>
                      <a:pt x="97079" y="390396"/>
                      <a:pt x="94229" y="393245"/>
                    </a:cubicBezTo>
                    <a:cubicBezTo>
                      <a:pt x="94229" y="396095"/>
                      <a:pt x="94229" y="396095"/>
                      <a:pt x="91380" y="39609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A161473D-A37B-4C36-92C3-CCBD4CD09065}"/>
                  </a:ext>
                </a:extLst>
              </p:cNvPr>
              <p:cNvSpPr/>
              <p:nvPr/>
            </p:nvSpPr>
            <p:spPr>
              <a:xfrm>
                <a:off x="3129336" y="10754142"/>
                <a:ext cx="475171" cy="199472"/>
              </a:xfrm>
              <a:custGeom>
                <a:avLst/>
                <a:gdLst>
                  <a:gd name="connsiteX0" fmla="*/ 4987 w 475171"/>
                  <a:gd name="connsiteY0" fmla="*/ 199472 h 199472"/>
                  <a:gd name="connsiteX1" fmla="*/ 2137 w 475171"/>
                  <a:gd name="connsiteY1" fmla="*/ 199472 h 199472"/>
                  <a:gd name="connsiteX2" fmla="*/ 2137 w 475171"/>
                  <a:gd name="connsiteY2" fmla="*/ 190924 h 199472"/>
                  <a:gd name="connsiteX3" fmla="*/ 469472 w 475171"/>
                  <a:gd name="connsiteY3" fmla="*/ 0 h 199472"/>
                  <a:gd name="connsiteX4" fmla="*/ 475171 w 475171"/>
                  <a:gd name="connsiteY4" fmla="*/ 5700 h 199472"/>
                  <a:gd name="connsiteX5" fmla="*/ 469472 w 475171"/>
                  <a:gd name="connsiteY5" fmla="*/ 11398 h 199472"/>
                  <a:gd name="connsiteX6" fmla="*/ 10686 w 475171"/>
                  <a:gd name="connsiteY6" fmla="*/ 199472 h 199472"/>
                  <a:gd name="connsiteX7" fmla="*/ 4987 w 475171"/>
                  <a:gd name="connsiteY7" fmla="*/ 199472 h 199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5171" h="199472">
                    <a:moveTo>
                      <a:pt x="4987" y="199472"/>
                    </a:moveTo>
                    <a:cubicBezTo>
                      <a:pt x="4987" y="199472"/>
                      <a:pt x="2137" y="199472"/>
                      <a:pt x="2137" y="199472"/>
                    </a:cubicBezTo>
                    <a:cubicBezTo>
                      <a:pt x="-712" y="196623"/>
                      <a:pt x="-712" y="193774"/>
                      <a:pt x="2137" y="190924"/>
                    </a:cubicBezTo>
                    <a:cubicBezTo>
                      <a:pt x="144617" y="28496"/>
                      <a:pt x="466623" y="0"/>
                      <a:pt x="469472" y="0"/>
                    </a:cubicBezTo>
                    <a:cubicBezTo>
                      <a:pt x="472322" y="0"/>
                      <a:pt x="475171" y="2850"/>
                      <a:pt x="475171" y="5700"/>
                    </a:cubicBezTo>
                    <a:cubicBezTo>
                      <a:pt x="475171" y="8549"/>
                      <a:pt x="472322" y="11398"/>
                      <a:pt x="469472" y="11398"/>
                    </a:cubicBezTo>
                    <a:cubicBezTo>
                      <a:pt x="466623" y="11398"/>
                      <a:pt x="150317" y="39894"/>
                      <a:pt x="10686" y="199472"/>
                    </a:cubicBezTo>
                    <a:cubicBezTo>
                      <a:pt x="7836" y="199472"/>
                      <a:pt x="7836" y="199472"/>
                      <a:pt x="4987" y="19947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179C2753-EC6B-4581-BC81-EE4C31E29176}"/>
                  </a:ext>
                </a:extLst>
              </p:cNvPr>
              <p:cNvSpPr/>
              <p:nvPr/>
            </p:nvSpPr>
            <p:spPr>
              <a:xfrm>
                <a:off x="2853549" y="11381055"/>
                <a:ext cx="126895" cy="655408"/>
              </a:xfrm>
              <a:custGeom>
                <a:avLst/>
                <a:gdLst>
                  <a:gd name="connsiteX0" fmla="*/ 121197 w 126895"/>
                  <a:gd name="connsiteY0" fmla="*/ 655409 h 655408"/>
                  <a:gd name="connsiteX1" fmla="*/ 115497 w 126895"/>
                  <a:gd name="connsiteY1" fmla="*/ 652559 h 655408"/>
                  <a:gd name="connsiteX2" fmla="*/ 32859 w 126895"/>
                  <a:gd name="connsiteY2" fmla="*/ 2850 h 655408"/>
                  <a:gd name="connsiteX3" fmla="*/ 41408 w 126895"/>
                  <a:gd name="connsiteY3" fmla="*/ 0 h 655408"/>
                  <a:gd name="connsiteX4" fmla="*/ 44257 w 126895"/>
                  <a:gd name="connsiteY4" fmla="*/ 8549 h 655408"/>
                  <a:gd name="connsiteX5" fmla="*/ 126896 w 126895"/>
                  <a:gd name="connsiteY5" fmla="*/ 646861 h 655408"/>
                  <a:gd name="connsiteX6" fmla="*/ 121197 w 126895"/>
                  <a:gd name="connsiteY6" fmla="*/ 655409 h 655408"/>
                  <a:gd name="connsiteX7" fmla="*/ 121197 w 126895"/>
                  <a:gd name="connsiteY7" fmla="*/ 655409 h 655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6895" h="655408">
                    <a:moveTo>
                      <a:pt x="121197" y="655409"/>
                    </a:moveTo>
                    <a:cubicBezTo>
                      <a:pt x="118347" y="655409"/>
                      <a:pt x="118347" y="655409"/>
                      <a:pt x="115497" y="652559"/>
                    </a:cubicBezTo>
                    <a:cubicBezTo>
                      <a:pt x="-81125" y="307758"/>
                      <a:pt x="32859" y="5700"/>
                      <a:pt x="32859" y="2850"/>
                    </a:cubicBezTo>
                    <a:cubicBezTo>
                      <a:pt x="32859" y="0"/>
                      <a:pt x="38558" y="0"/>
                      <a:pt x="41408" y="0"/>
                    </a:cubicBezTo>
                    <a:cubicBezTo>
                      <a:pt x="44257" y="0"/>
                      <a:pt x="44257" y="5700"/>
                      <a:pt x="44257" y="8549"/>
                    </a:cubicBezTo>
                    <a:cubicBezTo>
                      <a:pt x="44257" y="11398"/>
                      <a:pt x="-69727" y="307758"/>
                      <a:pt x="126896" y="646861"/>
                    </a:cubicBezTo>
                    <a:cubicBezTo>
                      <a:pt x="126896" y="649710"/>
                      <a:pt x="126896" y="652559"/>
                      <a:pt x="121197" y="655409"/>
                    </a:cubicBezTo>
                    <a:cubicBezTo>
                      <a:pt x="124046" y="655409"/>
                      <a:pt x="121197" y="655409"/>
                      <a:pt x="121197" y="65540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9" name="图形 1">
              <a:extLst>
                <a:ext uri="{FF2B5EF4-FFF2-40B4-BE49-F238E27FC236}">
                  <a16:creationId xmlns:a16="http://schemas.microsoft.com/office/drawing/2014/main" id="{9B45678A-9746-4B74-B5C4-81738DFF215F}"/>
                </a:ext>
              </a:extLst>
            </p:cNvPr>
            <p:cNvGrpSpPr/>
            <p:nvPr/>
          </p:nvGrpSpPr>
          <p:grpSpPr>
            <a:xfrm>
              <a:off x="5451052" y="11797098"/>
              <a:ext cx="615246" cy="378092"/>
              <a:chOff x="5451052" y="11797098"/>
              <a:chExt cx="615246" cy="378092"/>
            </a:xfrm>
          </p:grpSpPr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D74AD977-AD75-4884-9F6C-89A777C3D49C}"/>
                  </a:ext>
                </a:extLst>
              </p:cNvPr>
              <p:cNvSpPr/>
              <p:nvPr/>
            </p:nvSpPr>
            <p:spPr>
              <a:xfrm>
                <a:off x="5451052" y="11797098"/>
                <a:ext cx="259313" cy="265012"/>
              </a:xfrm>
              <a:custGeom>
                <a:avLst/>
                <a:gdLst>
                  <a:gd name="connsiteX0" fmla="*/ 102586 w 259313"/>
                  <a:gd name="connsiteY0" fmla="*/ 233668 h 265012"/>
                  <a:gd name="connsiteX1" fmla="*/ 0 w 259313"/>
                  <a:gd name="connsiteY1" fmla="*/ 71240 h 265012"/>
                  <a:gd name="connsiteX2" fmla="*/ 151029 w 259313"/>
                  <a:gd name="connsiteY2" fmla="*/ 0 h 265012"/>
                  <a:gd name="connsiteX3" fmla="*/ 259314 w 259313"/>
                  <a:gd name="connsiteY3" fmla="*/ 170976 h 265012"/>
                  <a:gd name="connsiteX4" fmla="*/ 131082 w 259313"/>
                  <a:gd name="connsiteY4" fmla="*/ 265013 h 265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9313" h="265012">
                    <a:moveTo>
                      <a:pt x="102586" y="233668"/>
                    </a:moveTo>
                    <a:lnTo>
                      <a:pt x="0" y="71240"/>
                    </a:lnTo>
                    <a:lnTo>
                      <a:pt x="151029" y="0"/>
                    </a:lnTo>
                    <a:lnTo>
                      <a:pt x="259314" y="170976"/>
                    </a:lnTo>
                    <a:lnTo>
                      <a:pt x="131082" y="265013"/>
                    </a:ln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EAB9B61B-BD30-4560-AE46-48F7D70534DC}"/>
                  </a:ext>
                </a:extLst>
              </p:cNvPr>
              <p:cNvSpPr/>
              <p:nvPr/>
            </p:nvSpPr>
            <p:spPr>
              <a:xfrm>
                <a:off x="5553637" y="11898864"/>
                <a:ext cx="492981" cy="237335"/>
              </a:xfrm>
              <a:custGeom>
                <a:avLst/>
                <a:gdLst>
                  <a:gd name="connsiteX0" fmla="*/ 0 w 492981"/>
                  <a:gd name="connsiteY0" fmla="*/ 131901 h 237335"/>
                  <a:gd name="connsiteX1" fmla="*/ 139631 w 492981"/>
                  <a:gd name="connsiteY1" fmla="*/ 12217 h 237335"/>
                  <a:gd name="connsiteX2" fmla="*/ 299208 w 492981"/>
                  <a:gd name="connsiteY2" fmla="*/ 29315 h 237335"/>
                  <a:gd name="connsiteX3" fmla="*/ 492982 w 492981"/>
                  <a:gd name="connsiteY3" fmla="*/ 29315 h 237335"/>
                  <a:gd name="connsiteX4" fmla="*/ 48443 w 492981"/>
                  <a:gd name="connsiteY4" fmla="*/ 237336 h 237335"/>
                  <a:gd name="connsiteX5" fmla="*/ 0 w 492981"/>
                  <a:gd name="connsiteY5" fmla="*/ 131901 h 23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2981" h="237335">
                    <a:moveTo>
                      <a:pt x="0" y="131901"/>
                    </a:moveTo>
                    <a:cubicBezTo>
                      <a:pt x="0" y="131901"/>
                      <a:pt x="111135" y="100555"/>
                      <a:pt x="139631" y="12217"/>
                    </a:cubicBezTo>
                    <a:cubicBezTo>
                      <a:pt x="139631" y="12217"/>
                      <a:pt x="253615" y="40713"/>
                      <a:pt x="299208" y="29315"/>
                    </a:cubicBezTo>
                    <a:cubicBezTo>
                      <a:pt x="344802" y="17917"/>
                      <a:pt x="447388" y="-30527"/>
                      <a:pt x="492982" y="29315"/>
                    </a:cubicBezTo>
                    <a:lnTo>
                      <a:pt x="48443" y="237336"/>
                    </a:lnTo>
                    <a:cubicBezTo>
                      <a:pt x="48443" y="237336"/>
                      <a:pt x="5699" y="186043"/>
                      <a:pt x="0" y="131901"/>
                    </a:cubicBezTo>
                    <a:close/>
                  </a:path>
                </a:pathLst>
              </a:custGeom>
              <a:solidFill>
                <a:srgbClr val="F1DDB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7CB82DE1-9C98-4ED1-93C8-AE5F7CAD0484}"/>
                  </a:ext>
                </a:extLst>
              </p:cNvPr>
              <p:cNvSpPr/>
              <p:nvPr/>
            </p:nvSpPr>
            <p:spPr>
              <a:xfrm rot="-1502571">
                <a:off x="5589550" y="12028003"/>
                <a:ext cx="490136" cy="45594"/>
              </a:xfrm>
              <a:custGeom>
                <a:avLst/>
                <a:gdLst>
                  <a:gd name="connsiteX0" fmla="*/ 0 w 490136"/>
                  <a:gd name="connsiteY0" fmla="*/ 0 h 45594"/>
                  <a:gd name="connsiteX1" fmla="*/ 490137 w 490136"/>
                  <a:gd name="connsiteY1" fmla="*/ 0 h 45594"/>
                  <a:gd name="connsiteX2" fmla="*/ 490137 w 490136"/>
                  <a:gd name="connsiteY2" fmla="*/ 45594 h 45594"/>
                  <a:gd name="connsiteX3" fmla="*/ 0 w 490136"/>
                  <a:gd name="connsiteY3" fmla="*/ 45594 h 45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0136" h="45594">
                    <a:moveTo>
                      <a:pt x="0" y="0"/>
                    </a:moveTo>
                    <a:lnTo>
                      <a:pt x="490137" y="0"/>
                    </a:lnTo>
                    <a:lnTo>
                      <a:pt x="490137" y="45594"/>
                    </a:lnTo>
                    <a:lnTo>
                      <a:pt x="0" y="45594"/>
                    </a:ln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612D3F44-E29D-4C83-84D2-D7C1B3ED0F5E}"/>
                  </a:ext>
                </a:extLst>
              </p:cNvPr>
              <p:cNvSpPr/>
              <p:nvPr/>
            </p:nvSpPr>
            <p:spPr>
              <a:xfrm>
                <a:off x="5547938" y="11905382"/>
                <a:ext cx="152209" cy="131081"/>
              </a:xfrm>
              <a:custGeom>
                <a:avLst/>
                <a:gdLst>
                  <a:gd name="connsiteX0" fmla="*/ 5699 w 152209"/>
                  <a:gd name="connsiteY0" fmla="*/ 131082 h 131081"/>
                  <a:gd name="connsiteX1" fmla="*/ 0 w 152209"/>
                  <a:gd name="connsiteY1" fmla="*/ 128232 h 131081"/>
                  <a:gd name="connsiteX2" fmla="*/ 2850 w 152209"/>
                  <a:gd name="connsiteY2" fmla="*/ 119684 h 131081"/>
                  <a:gd name="connsiteX3" fmla="*/ 139630 w 152209"/>
                  <a:gd name="connsiteY3" fmla="*/ 2850 h 131081"/>
                  <a:gd name="connsiteX4" fmla="*/ 148179 w 152209"/>
                  <a:gd name="connsiteY4" fmla="*/ 0 h 131081"/>
                  <a:gd name="connsiteX5" fmla="*/ 151029 w 152209"/>
                  <a:gd name="connsiteY5" fmla="*/ 8549 h 131081"/>
                  <a:gd name="connsiteX6" fmla="*/ 5699 w 152209"/>
                  <a:gd name="connsiteY6" fmla="*/ 131082 h 131081"/>
                  <a:gd name="connsiteX7" fmla="*/ 5699 w 152209"/>
                  <a:gd name="connsiteY7" fmla="*/ 131082 h 131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2209" h="131081">
                    <a:moveTo>
                      <a:pt x="5699" y="131082"/>
                    </a:moveTo>
                    <a:cubicBezTo>
                      <a:pt x="2850" y="131082"/>
                      <a:pt x="0" y="128232"/>
                      <a:pt x="0" y="128232"/>
                    </a:cubicBezTo>
                    <a:cubicBezTo>
                      <a:pt x="0" y="125383"/>
                      <a:pt x="0" y="122534"/>
                      <a:pt x="2850" y="119684"/>
                    </a:cubicBezTo>
                    <a:cubicBezTo>
                      <a:pt x="2850" y="119684"/>
                      <a:pt x="102586" y="91188"/>
                      <a:pt x="139630" y="2850"/>
                    </a:cubicBezTo>
                    <a:cubicBezTo>
                      <a:pt x="139630" y="0"/>
                      <a:pt x="145330" y="0"/>
                      <a:pt x="148179" y="0"/>
                    </a:cubicBezTo>
                    <a:cubicBezTo>
                      <a:pt x="151029" y="0"/>
                      <a:pt x="153878" y="5700"/>
                      <a:pt x="151029" y="8549"/>
                    </a:cubicBezTo>
                    <a:cubicBezTo>
                      <a:pt x="111134" y="99736"/>
                      <a:pt x="11398" y="128232"/>
                      <a:pt x="5699" y="131082"/>
                    </a:cubicBezTo>
                    <a:cubicBezTo>
                      <a:pt x="5699" y="131082"/>
                      <a:pt x="5699" y="131082"/>
                      <a:pt x="5699" y="1310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DC9A35A7-6F51-4D32-BCF7-91A43AE6F538}"/>
                  </a:ext>
                </a:extLst>
              </p:cNvPr>
              <p:cNvSpPr/>
              <p:nvPr/>
            </p:nvSpPr>
            <p:spPr>
              <a:xfrm>
                <a:off x="5721764" y="11912751"/>
                <a:ext cx="23977" cy="49623"/>
              </a:xfrm>
              <a:custGeom>
                <a:avLst/>
                <a:gdLst>
                  <a:gd name="connsiteX0" fmla="*/ 5699 w 23977"/>
                  <a:gd name="connsiteY0" fmla="*/ 49623 h 49623"/>
                  <a:gd name="connsiteX1" fmla="*/ 5699 w 23977"/>
                  <a:gd name="connsiteY1" fmla="*/ 49623 h 49623"/>
                  <a:gd name="connsiteX2" fmla="*/ 0 w 23977"/>
                  <a:gd name="connsiteY2" fmla="*/ 41075 h 49623"/>
                  <a:gd name="connsiteX3" fmla="*/ 11398 w 23977"/>
                  <a:gd name="connsiteY3" fmla="*/ 4030 h 49623"/>
                  <a:gd name="connsiteX4" fmla="*/ 19947 w 23977"/>
                  <a:gd name="connsiteY4" fmla="*/ 1180 h 49623"/>
                  <a:gd name="connsiteX5" fmla="*/ 22797 w 23977"/>
                  <a:gd name="connsiteY5" fmla="*/ 9729 h 49623"/>
                  <a:gd name="connsiteX6" fmla="*/ 11398 w 23977"/>
                  <a:gd name="connsiteY6" fmla="*/ 46774 h 49623"/>
                  <a:gd name="connsiteX7" fmla="*/ 5699 w 23977"/>
                  <a:gd name="connsiteY7" fmla="*/ 49623 h 49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77" h="49623">
                    <a:moveTo>
                      <a:pt x="5699" y="49623"/>
                    </a:moveTo>
                    <a:cubicBezTo>
                      <a:pt x="5699" y="49623"/>
                      <a:pt x="2850" y="49623"/>
                      <a:pt x="5699" y="49623"/>
                    </a:cubicBezTo>
                    <a:cubicBezTo>
                      <a:pt x="0" y="49623"/>
                      <a:pt x="0" y="43924"/>
                      <a:pt x="0" y="41075"/>
                    </a:cubicBezTo>
                    <a:lnTo>
                      <a:pt x="11398" y="4030"/>
                    </a:lnTo>
                    <a:cubicBezTo>
                      <a:pt x="11398" y="1180"/>
                      <a:pt x="17098" y="-1669"/>
                      <a:pt x="19947" y="1180"/>
                    </a:cubicBezTo>
                    <a:cubicBezTo>
                      <a:pt x="22797" y="1180"/>
                      <a:pt x="25646" y="6879"/>
                      <a:pt x="22797" y="9729"/>
                    </a:cubicBezTo>
                    <a:lnTo>
                      <a:pt x="11398" y="46774"/>
                    </a:lnTo>
                    <a:cubicBezTo>
                      <a:pt x="8549" y="46774"/>
                      <a:pt x="8549" y="49623"/>
                      <a:pt x="5699" y="4962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46F56752-7B0F-4957-9D84-6A5BF4022F4E}"/>
                  </a:ext>
                </a:extLst>
              </p:cNvPr>
              <p:cNvSpPr/>
              <p:nvPr/>
            </p:nvSpPr>
            <p:spPr>
              <a:xfrm>
                <a:off x="5767358" y="11921300"/>
                <a:ext cx="23977" cy="49624"/>
              </a:xfrm>
              <a:custGeom>
                <a:avLst/>
                <a:gdLst>
                  <a:gd name="connsiteX0" fmla="*/ 5699 w 23977"/>
                  <a:gd name="connsiteY0" fmla="*/ 49624 h 49624"/>
                  <a:gd name="connsiteX1" fmla="*/ 5699 w 23977"/>
                  <a:gd name="connsiteY1" fmla="*/ 49624 h 49624"/>
                  <a:gd name="connsiteX2" fmla="*/ 0 w 23977"/>
                  <a:gd name="connsiteY2" fmla="*/ 41075 h 49624"/>
                  <a:gd name="connsiteX3" fmla="*/ 11398 w 23977"/>
                  <a:gd name="connsiteY3" fmla="*/ 4030 h 49624"/>
                  <a:gd name="connsiteX4" fmla="*/ 19947 w 23977"/>
                  <a:gd name="connsiteY4" fmla="*/ 1180 h 49624"/>
                  <a:gd name="connsiteX5" fmla="*/ 22797 w 23977"/>
                  <a:gd name="connsiteY5" fmla="*/ 9730 h 49624"/>
                  <a:gd name="connsiteX6" fmla="*/ 11398 w 23977"/>
                  <a:gd name="connsiteY6" fmla="*/ 46774 h 49624"/>
                  <a:gd name="connsiteX7" fmla="*/ 5699 w 23977"/>
                  <a:gd name="connsiteY7" fmla="*/ 49624 h 49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77" h="49624">
                    <a:moveTo>
                      <a:pt x="5699" y="49624"/>
                    </a:moveTo>
                    <a:cubicBezTo>
                      <a:pt x="5699" y="49624"/>
                      <a:pt x="5699" y="49624"/>
                      <a:pt x="5699" y="49624"/>
                    </a:cubicBezTo>
                    <a:cubicBezTo>
                      <a:pt x="0" y="49624"/>
                      <a:pt x="0" y="43924"/>
                      <a:pt x="0" y="41075"/>
                    </a:cubicBezTo>
                    <a:lnTo>
                      <a:pt x="11398" y="4030"/>
                    </a:lnTo>
                    <a:cubicBezTo>
                      <a:pt x="11398" y="1180"/>
                      <a:pt x="17098" y="-1669"/>
                      <a:pt x="19947" y="1180"/>
                    </a:cubicBezTo>
                    <a:cubicBezTo>
                      <a:pt x="22797" y="1180"/>
                      <a:pt x="25646" y="6880"/>
                      <a:pt x="22797" y="9730"/>
                    </a:cubicBezTo>
                    <a:lnTo>
                      <a:pt x="11398" y="46774"/>
                    </a:lnTo>
                    <a:cubicBezTo>
                      <a:pt x="11398" y="46774"/>
                      <a:pt x="8549" y="49624"/>
                      <a:pt x="5699" y="49624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0" name="图形 1">
              <a:extLst>
                <a:ext uri="{FF2B5EF4-FFF2-40B4-BE49-F238E27FC236}">
                  <a16:creationId xmlns:a16="http://schemas.microsoft.com/office/drawing/2014/main" id="{01F5C62E-6051-48FA-AEC5-7008542B43A8}"/>
                </a:ext>
              </a:extLst>
            </p:cNvPr>
            <p:cNvGrpSpPr/>
            <p:nvPr/>
          </p:nvGrpSpPr>
          <p:grpSpPr>
            <a:xfrm>
              <a:off x="4594165" y="11976622"/>
              <a:ext cx="492137" cy="456541"/>
              <a:chOff x="4594165" y="11976622"/>
              <a:chExt cx="492137" cy="456541"/>
            </a:xfrm>
          </p:grpSpPr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7243E282-A8CE-4A22-A4E6-DED1830E1135}"/>
                  </a:ext>
                </a:extLst>
              </p:cNvPr>
              <p:cNvSpPr/>
              <p:nvPr/>
            </p:nvSpPr>
            <p:spPr>
              <a:xfrm>
                <a:off x="4630365" y="11976622"/>
                <a:ext cx="179525" cy="239367"/>
              </a:xfrm>
              <a:custGeom>
                <a:avLst/>
                <a:gdLst>
                  <a:gd name="connsiteX0" fmla="*/ 0 w 179525"/>
                  <a:gd name="connsiteY0" fmla="*/ 190924 h 239367"/>
                  <a:gd name="connsiteX1" fmla="*/ 17098 w 179525"/>
                  <a:gd name="connsiteY1" fmla="*/ 0 h 239367"/>
                  <a:gd name="connsiteX2" fmla="*/ 179525 w 179525"/>
                  <a:gd name="connsiteY2" fmla="*/ 34196 h 239367"/>
                  <a:gd name="connsiteX3" fmla="*/ 162428 w 179525"/>
                  <a:gd name="connsiteY3" fmla="*/ 239367 h 239367"/>
                  <a:gd name="connsiteX4" fmla="*/ 2850 w 179525"/>
                  <a:gd name="connsiteY4" fmla="*/ 233668 h 239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9525" h="239367">
                    <a:moveTo>
                      <a:pt x="0" y="190924"/>
                    </a:moveTo>
                    <a:lnTo>
                      <a:pt x="17098" y="0"/>
                    </a:lnTo>
                    <a:lnTo>
                      <a:pt x="179525" y="34196"/>
                    </a:lnTo>
                    <a:lnTo>
                      <a:pt x="162428" y="239367"/>
                    </a:lnTo>
                    <a:lnTo>
                      <a:pt x="2850" y="233668"/>
                    </a:ln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6B9D7A62-5A74-42E1-8F47-195DE6FE5EB6}"/>
                  </a:ext>
                </a:extLst>
              </p:cNvPr>
              <p:cNvSpPr/>
              <p:nvPr/>
            </p:nvSpPr>
            <p:spPr>
              <a:xfrm>
                <a:off x="4604314" y="12158998"/>
                <a:ext cx="481988" cy="227968"/>
              </a:xfrm>
              <a:custGeom>
                <a:avLst/>
                <a:gdLst>
                  <a:gd name="connsiteX0" fmla="*/ 26052 w 481988"/>
                  <a:gd name="connsiteY0" fmla="*/ 8548 h 227968"/>
                  <a:gd name="connsiteX1" fmla="*/ 211276 w 481988"/>
                  <a:gd name="connsiteY1" fmla="*/ 0 h 227968"/>
                  <a:gd name="connsiteX2" fmla="*/ 328110 w 481988"/>
                  <a:gd name="connsiteY2" fmla="*/ 111134 h 227968"/>
                  <a:gd name="connsiteX3" fmla="*/ 481988 w 481988"/>
                  <a:gd name="connsiteY3" fmla="*/ 227968 h 227968"/>
                  <a:gd name="connsiteX4" fmla="*/ 405 w 481988"/>
                  <a:gd name="connsiteY4" fmla="*/ 122533 h 227968"/>
                  <a:gd name="connsiteX5" fmla="*/ 26052 w 481988"/>
                  <a:gd name="connsiteY5" fmla="*/ 8548 h 227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1988" h="227968">
                    <a:moveTo>
                      <a:pt x="26052" y="8548"/>
                    </a:moveTo>
                    <a:cubicBezTo>
                      <a:pt x="26052" y="8548"/>
                      <a:pt x="134337" y="51293"/>
                      <a:pt x="211276" y="0"/>
                    </a:cubicBezTo>
                    <a:cubicBezTo>
                      <a:pt x="211276" y="0"/>
                      <a:pt x="285366" y="91187"/>
                      <a:pt x="328110" y="111134"/>
                    </a:cubicBezTo>
                    <a:cubicBezTo>
                      <a:pt x="370854" y="131081"/>
                      <a:pt x="481988" y="153878"/>
                      <a:pt x="481988" y="227968"/>
                    </a:cubicBezTo>
                    <a:lnTo>
                      <a:pt x="405" y="122533"/>
                    </a:lnTo>
                    <a:cubicBezTo>
                      <a:pt x="405" y="122533"/>
                      <a:pt x="-5294" y="56992"/>
                      <a:pt x="26052" y="854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C9BC33C3-0BF2-4E7D-9BE0-7DBE6E8837EB}"/>
                  </a:ext>
                </a:extLst>
              </p:cNvPr>
              <p:cNvSpPr/>
              <p:nvPr/>
            </p:nvSpPr>
            <p:spPr>
              <a:xfrm rot="-4650881">
                <a:off x="4815578" y="12112843"/>
                <a:ext cx="45595" cy="490156"/>
              </a:xfrm>
              <a:custGeom>
                <a:avLst/>
                <a:gdLst>
                  <a:gd name="connsiteX0" fmla="*/ 0 w 45595"/>
                  <a:gd name="connsiteY0" fmla="*/ 0 h 490156"/>
                  <a:gd name="connsiteX1" fmla="*/ 45596 w 45595"/>
                  <a:gd name="connsiteY1" fmla="*/ 0 h 490156"/>
                  <a:gd name="connsiteX2" fmla="*/ 45596 w 45595"/>
                  <a:gd name="connsiteY2" fmla="*/ 490157 h 490156"/>
                  <a:gd name="connsiteX3" fmla="*/ 0 w 45595"/>
                  <a:gd name="connsiteY3" fmla="*/ 490157 h 490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95" h="490156">
                    <a:moveTo>
                      <a:pt x="0" y="0"/>
                    </a:moveTo>
                    <a:lnTo>
                      <a:pt x="45596" y="0"/>
                    </a:lnTo>
                    <a:lnTo>
                      <a:pt x="45596" y="490157"/>
                    </a:lnTo>
                    <a:lnTo>
                      <a:pt x="0" y="490157"/>
                    </a:lnTo>
                    <a:close/>
                  </a:path>
                </a:pathLst>
              </a:custGeom>
              <a:solidFill>
                <a:srgbClr val="38333D"/>
              </a:solidFill>
              <a:ln w="28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FF3AF73A-687B-45C1-BB3F-4761B4EB9D1C}"/>
                  </a:ext>
                </a:extLst>
              </p:cNvPr>
              <p:cNvSpPr/>
              <p:nvPr/>
            </p:nvSpPr>
            <p:spPr>
              <a:xfrm>
                <a:off x="4626336" y="12152118"/>
                <a:ext cx="198983" cy="38224"/>
              </a:xfrm>
              <a:custGeom>
                <a:avLst/>
                <a:gdLst>
                  <a:gd name="connsiteX0" fmla="*/ 92368 w 198983"/>
                  <a:gd name="connsiteY0" fmla="*/ 38225 h 38224"/>
                  <a:gd name="connsiteX1" fmla="*/ 4030 w 198983"/>
                  <a:gd name="connsiteY1" fmla="*/ 21128 h 38224"/>
                  <a:gd name="connsiteX2" fmla="*/ 1180 w 198983"/>
                  <a:gd name="connsiteY2" fmla="*/ 12579 h 38224"/>
                  <a:gd name="connsiteX3" fmla="*/ 9729 w 198983"/>
                  <a:gd name="connsiteY3" fmla="*/ 9729 h 38224"/>
                  <a:gd name="connsiteX4" fmla="*/ 189254 w 198983"/>
                  <a:gd name="connsiteY4" fmla="*/ 1180 h 38224"/>
                  <a:gd name="connsiteX5" fmla="*/ 197803 w 198983"/>
                  <a:gd name="connsiteY5" fmla="*/ 4030 h 38224"/>
                  <a:gd name="connsiteX6" fmla="*/ 194954 w 198983"/>
                  <a:gd name="connsiteY6" fmla="*/ 12579 h 38224"/>
                  <a:gd name="connsiteX7" fmla="*/ 92368 w 198983"/>
                  <a:gd name="connsiteY7" fmla="*/ 38225 h 38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8983" h="38224">
                    <a:moveTo>
                      <a:pt x="92368" y="38225"/>
                    </a:moveTo>
                    <a:cubicBezTo>
                      <a:pt x="43924" y="38225"/>
                      <a:pt x="6879" y="23977"/>
                      <a:pt x="4030" y="21128"/>
                    </a:cubicBezTo>
                    <a:cubicBezTo>
                      <a:pt x="1180" y="21128"/>
                      <a:pt x="-1669" y="15428"/>
                      <a:pt x="1180" y="12579"/>
                    </a:cubicBezTo>
                    <a:cubicBezTo>
                      <a:pt x="1180" y="9729"/>
                      <a:pt x="6879" y="6880"/>
                      <a:pt x="9729" y="9729"/>
                    </a:cubicBezTo>
                    <a:cubicBezTo>
                      <a:pt x="9729" y="9729"/>
                      <a:pt x="106616" y="46774"/>
                      <a:pt x="189254" y="1180"/>
                    </a:cubicBezTo>
                    <a:cubicBezTo>
                      <a:pt x="192104" y="-1669"/>
                      <a:pt x="194954" y="1180"/>
                      <a:pt x="197803" y="4030"/>
                    </a:cubicBezTo>
                    <a:cubicBezTo>
                      <a:pt x="200653" y="6880"/>
                      <a:pt x="197803" y="9729"/>
                      <a:pt x="194954" y="12579"/>
                    </a:cubicBezTo>
                    <a:cubicBezTo>
                      <a:pt x="157909" y="29676"/>
                      <a:pt x="120864" y="38225"/>
                      <a:pt x="92368" y="3822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22E13A60-60BC-482E-BD35-D09F3DA6C415}"/>
                  </a:ext>
                </a:extLst>
              </p:cNvPr>
              <p:cNvSpPr/>
              <p:nvPr/>
            </p:nvSpPr>
            <p:spPr>
              <a:xfrm>
                <a:off x="4805861" y="12189163"/>
                <a:ext cx="45104" cy="32525"/>
              </a:xfrm>
              <a:custGeom>
                <a:avLst/>
                <a:gdLst>
                  <a:gd name="connsiteX0" fmla="*/ 6880 w 45104"/>
                  <a:gd name="connsiteY0" fmla="*/ 32526 h 32525"/>
                  <a:gd name="connsiteX1" fmla="*/ 1180 w 45104"/>
                  <a:gd name="connsiteY1" fmla="*/ 29676 h 32525"/>
                  <a:gd name="connsiteX2" fmla="*/ 4030 w 45104"/>
                  <a:gd name="connsiteY2" fmla="*/ 21128 h 32525"/>
                  <a:gd name="connsiteX3" fmla="*/ 35376 w 45104"/>
                  <a:gd name="connsiteY3" fmla="*/ 1180 h 32525"/>
                  <a:gd name="connsiteX4" fmla="*/ 43924 w 45104"/>
                  <a:gd name="connsiteY4" fmla="*/ 4030 h 32525"/>
                  <a:gd name="connsiteX5" fmla="*/ 41075 w 45104"/>
                  <a:gd name="connsiteY5" fmla="*/ 12579 h 32525"/>
                  <a:gd name="connsiteX6" fmla="*/ 9729 w 45104"/>
                  <a:gd name="connsiteY6" fmla="*/ 32526 h 32525"/>
                  <a:gd name="connsiteX7" fmla="*/ 6880 w 45104"/>
                  <a:gd name="connsiteY7" fmla="*/ 32526 h 32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104" h="32525">
                    <a:moveTo>
                      <a:pt x="6880" y="32526"/>
                    </a:moveTo>
                    <a:cubicBezTo>
                      <a:pt x="4030" y="32526"/>
                      <a:pt x="4030" y="32526"/>
                      <a:pt x="1180" y="29676"/>
                    </a:cubicBezTo>
                    <a:cubicBezTo>
                      <a:pt x="-1669" y="26827"/>
                      <a:pt x="1180" y="23977"/>
                      <a:pt x="4030" y="21128"/>
                    </a:cubicBezTo>
                    <a:lnTo>
                      <a:pt x="35376" y="1180"/>
                    </a:lnTo>
                    <a:cubicBezTo>
                      <a:pt x="38225" y="-1669"/>
                      <a:pt x="41075" y="1180"/>
                      <a:pt x="43924" y="4030"/>
                    </a:cubicBezTo>
                    <a:cubicBezTo>
                      <a:pt x="46774" y="6880"/>
                      <a:pt x="43924" y="9729"/>
                      <a:pt x="41075" y="12579"/>
                    </a:cubicBezTo>
                    <a:lnTo>
                      <a:pt x="9729" y="32526"/>
                    </a:lnTo>
                    <a:cubicBezTo>
                      <a:pt x="9729" y="32526"/>
                      <a:pt x="6880" y="32526"/>
                      <a:pt x="6880" y="3252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D628BF92-4E38-421C-B131-C10D078EC7EA}"/>
                  </a:ext>
                </a:extLst>
              </p:cNvPr>
              <p:cNvSpPr/>
              <p:nvPr/>
            </p:nvSpPr>
            <p:spPr>
              <a:xfrm>
                <a:off x="4837206" y="12223358"/>
                <a:ext cx="45104" cy="32526"/>
              </a:xfrm>
              <a:custGeom>
                <a:avLst/>
                <a:gdLst>
                  <a:gd name="connsiteX0" fmla="*/ 6879 w 45104"/>
                  <a:gd name="connsiteY0" fmla="*/ 32526 h 32526"/>
                  <a:gd name="connsiteX1" fmla="*/ 1180 w 45104"/>
                  <a:gd name="connsiteY1" fmla="*/ 29676 h 32526"/>
                  <a:gd name="connsiteX2" fmla="*/ 4030 w 45104"/>
                  <a:gd name="connsiteY2" fmla="*/ 21128 h 32526"/>
                  <a:gd name="connsiteX3" fmla="*/ 35375 w 45104"/>
                  <a:gd name="connsiteY3" fmla="*/ 1180 h 32526"/>
                  <a:gd name="connsiteX4" fmla="*/ 43924 w 45104"/>
                  <a:gd name="connsiteY4" fmla="*/ 4030 h 32526"/>
                  <a:gd name="connsiteX5" fmla="*/ 41075 w 45104"/>
                  <a:gd name="connsiteY5" fmla="*/ 12579 h 32526"/>
                  <a:gd name="connsiteX6" fmla="*/ 9729 w 45104"/>
                  <a:gd name="connsiteY6" fmla="*/ 32526 h 32526"/>
                  <a:gd name="connsiteX7" fmla="*/ 6879 w 45104"/>
                  <a:gd name="connsiteY7" fmla="*/ 32526 h 32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104" h="32526">
                    <a:moveTo>
                      <a:pt x="6879" y="32526"/>
                    </a:moveTo>
                    <a:cubicBezTo>
                      <a:pt x="4030" y="32526"/>
                      <a:pt x="4030" y="32526"/>
                      <a:pt x="1180" y="29676"/>
                    </a:cubicBezTo>
                    <a:cubicBezTo>
                      <a:pt x="-1669" y="26827"/>
                      <a:pt x="1180" y="23977"/>
                      <a:pt x="4030" y="21128"/>
                    </a:cubicBezTo>
                    <a:lnTo>
                      <a:pt x="35375" y="1180"/>
                    </a:lnTo>
                    <a:cubicBezTo>
                      <a:pt x="38225" y="-1669"/>
                      <a:pt x="41075" y="1180"/>
                      <a:pt x="43924" y="4030"/>
                    </a:cubicBezTo>
                    <a:cubicBezTo>
                      <a:pt x="46774" y="6880"/>
                      <a:pt x="43924" y="9729"/>
                      <a:pt x="41075" y="12579"/>
                    </a:cubicBezTo>
                    <a:lnTo>
                      <a:pt x="9729" y="32526"/>
                    </a:lnTo>
                    <a:cubicBezTo>
                      <a:pt x="9729" y="32526"/>
                      <a:pt x="9729" y="32526"/>
                      <a:pt x="6879" y="3252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15328E26-6BD1-470D-AFF7-EECF3A86EE68}"/>
                </a:ext>
              </a:extLst>
            </p:cNvPr>
            <p:cNvSpPr/>
            <p:nvPr/>
          </p:nvSpPr>
          <p:spPr>
            <a:xfrm>
              <a:off x="3802898" y="10548971"/>
              <a:ext cx="1144945" cy="1553034"/>
            </a:xfrm>
            <a:custGeom>
              <a:avLst/>
              <a:gdLst>
                <a:gd name="connsiteX0" fmla="*/ 18180 w 1144945"/>
                <a:gd name="connsiteY0" fmla="*/ 0 h 1553034"/>
                <a:gd name="connsiteX1" fmla="*/ 21030 w 1144945"/>
                <a:gd name="connsiteY1" fmla="*/ 319155 h 1553034"/>
                <a:gd name="connsiteX2" fmla="*/ 747679 w 1144945"/>
                <a:gd name="connsiteY2" fmla="*/ 638311 h 1553034"/>
                <a:gd name="connsiteX3" fmla="*/ 773325 w 1144945"/>
                <a:gd name="connsiteY3" fmla="*/ 1553034 h 1553034"/>
                <a:gd name="connsiteX4" fmla="*/ 1061136 w 1144945"/>
                <a:gd name="connsiteY4" fmla="*/ 1515989 h 1553034"/>
                <a:gd name="connsiteX5" fmla="*/ 1140924 w 1144945"/>
                <a:gd name="connsiteY5" fmla="*/ 549973 h 1553034"/>
                <a:gd name="connsiteX6" fmla="*/ 488365 w 1144945"/>
                <a:gd name="connsiteY6" fmla="*/ 56992 h 1553034"/>
                <a:gd name="connsiteX7" fmla="*/ 18180 w 1144945"/>
                <a:gd name="connsiteY7" fmla="*/ 0 h 1553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4945" h="1553034">
                  <a:moveTo>
                    <a:pt x="18180" y="0"/>
                  </a:moveTo>
                  <a:cubicBezTo>
                    <a:pt x="18180" y="0"/>
                    <a:pt x="-24564" y="213720"/>
                    <a:pt x="21030" y="319155"/>
                  </a:cubicBezTo>
                  <a:cubicBezTo>
                    <a:pt x="63774" y="424591"/>
                    <a:pt x="722033" y="587018"/>
                    <a:pt x="747679" y="638311"/>
                  </a:cubicBezTo>
                  <a:cubicBezTo>
                    <a:pt x="773325" y="689604"/>
                    <a:pt x="773325" y="1553034"/>
                    <a:pt x="773325" y="1553034"/>
                  </a:cubicBezTo>
                  <a:cubicBezTo>
                    <a:pt x="773325" y="1553034"/>
                    <a:pt x="992745" y="1535937"/>
                    <a:pt x="1061136" y="1515989"/>
                  </a:cubicBezTo>
                  <a:cubicBezTo>
                    <a:pt x="1061136" y="1515989"/>
                    <a:pt x="1166571" y="683905"/>
                    <a:pt x="1140924" y="549973"/>
                  </a:cubicBezTo>
                  <a:cubicBezTo>
                    <a:pt x="1115278" y="416042"/>
                    <a:pt x="548207" y="71240"/>
                    <a:pt x="488365" y="56992"/>
                  </a:cubicBezTo>
                  <a:cubicBezTo>
                    <a:pt x="422824" y="45593"/>
                    <a:pt x="18180" y="0"/>
                    <a:pt x="18180" y="0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7C086CE2-D682-4FCE-A681-3CD14C65887E}"/>
                </a:ext>
              </a:extLst>
            </p:cNvPr>
            <p:cNvSpPr/>
            <p:nvPr/>
          </p:nvSpPr>
          <p:spPr>
            <a:xfrm>
              <a:off x="4165880" y="10527264"/>
              <a:ext cx="1518838" cy="1463606"/>
            </a:xfrm>
            <a:custGeom>
              <a:avLst/>
              <a:gdLst>
                <a:gd name="connsiteX0" fmla="*/ 0 w 1518838"/>
                <a:gd name="connsiteY0" fmla="*/ 64452 h 1463606"/>
                <a:gd name="connsiteX1" fmla="*/ 142480 w 1518838"/>
                <a:gd name="connsiteY1" fmla="*/ 340863 h 1463606"/>
                <a:gd name="connsiteX2" fmla="*/ 869129 w 1518838"/>
                <a:gd name="connsiteY2" fmla="*/ 546035 h 1463606"/>
                <a:gd name="connsiteX3" fmla="*/ 1262375 w 1518838"/>
                <a:gd name="connsiteY3" fmla="*/ 1463607 h 1463606"/>
                <a:gd name="connsiteX4" fmla="*/ 1518839 w 1518838"/>
                <a:gd name="connsiteY4" fmla="*/ 1312578 h 1463606"/>
                <a:gd name="connsiteX5" fmla="*/ 1139842 w 1518838"/>
                <a:gd name="connsiteY5" fmla="*/ 312367 h 1463606"/>
                <a:gd name="connsiteX6" fmla="*/ 512929 w 1518838"/>
                <a:gd name="connsiteY6" fmla="*/ 1760 h 1463606"/>
                <a:gd name="connsiteX7" fmla="*/ 0 w 1518838"/>
                <a:gd name="connsiteY7" fmla="*/ 64452 h 1463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8838" h="1463606">
                  <a:moveTo>
                    <a:pt x="0" y="64452"/>
                  </a:moveTo>
                  <a:cubicBezTo>
                    <a:pt x="0" y="64452"/>
                    <a:pt x="99736" y="235428"/>
                    <a:pt x="142480" y="340863"/>
                  </a:cubicBezTo>
                  <a:cubicBezTo>
                    <a:pt x="185224" y="446298"/>
                    <a:pt x="843483" y="494741"/>
                    <a:pt x="869129" y="546035"/>
                  </a:cubicBezTo>
                  <a:cubicBezTo>
                    <a:pt x="894776" y="597327"/>
                    <a:pt x="1262375" y="1463607"/>
                    <a:pt x="1262375" y="1463607"/>
                  </a:cubicBezTo>
                  <a:cubicBezTo>
                    <a:pt x="1262375" y="1463607"/>
                    <a:pt x="1441900" y="1389518"/>
                    <a:pt x="1518839" y="1312578"/>
                  </a:cubicBezTo>
                  <a:cubicBezTo>
                    <a:pt x="1518839" y="1312578"/>
                    <a:pt x="1233879" y="506140"/>
                    <a:pt x="1139842" y="312367"/>
                  </a:cubicBezTo>
                  <a:cubicBezTo>
                    <a:pt x="1080000" y="189834"/>
                    <a:pt x="572770" y="13158"/>
                    <a:pt x="512929" y="1760"/>
                  </a:cubicBezTo>
                  <a:cubicBezTo>
                    <a:pt x="453087" y="-12488"/>
                    <a:pt x="0" y="64452"/>
                    <a:pt x="0" y="64452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77857B2E-0361-4C33-81CD-E5B58DBF8FBF}"/>
                </a:ext>
              </a:extLst>
            </p:cNvPr>
            <p:cNvSpPr/>
            <p:nvPr/>
          </p:nvSpPr>
          <p:spPr>
            <a:xfrm>
              <a:off x="4539178" y="10719948"/>
              <a:ext cx="416042" cy="438838"/>
            </a:xfrm>
            <a:custGeom>
              <a:avLst/>
              <a:gdLst>
                <a:gd name="connsiteX0" fmla="*/ 410343 w 416042"/>
                <a:gd name="connsiteY0" fmla="*/ 438839 h 438838"/>
                <a:gd name="connsiteX1" fmla="*/ 404644 w 416042"/>
                <a:gd name="connsiteY1" fmla="*/ 433139 h 438838"/>
                <a:gd name="connsiteX2" fmla="*/ 353351 w 416042"/>
                <a:gd name="connsiteY2" fmla="*/ 313456 h 438838"/>
                <a:gd name="connsiteX3" fmla="*/ 2850 w 416042"/>
                <a:gd name="connsiteY3" fmla="*/ 11398 h 438838"/>
                <a:gd name="connsiteX4" fmla="*/ 0 w 416042"/>
                <a:gd name="connsiteY4" fmla="*/ 2849 h 438838"/>
                <a:gd name="connsiteX5" fmla="*/ 8549 w 416042"/>
                <a:gd name="connsiteY5" fmla="*/ 0 h 438838"/>
                <a:gd name="connsiteX6" fmla="*/ 361900 w 416042"/>
                <a:gd name="connsiteY6" fmla="*/ 304907 h 438838"/>
                <a:gd name="connsiteX7" fmla="*/ 416042 w 416042"/>
                <a:gd name="connsiteY7" fmla="*/ 427441 h 438838"/>
                <a:gd name="connsiteX8" fmla="*/ 410343 w 416042"/>
                <a:gd name="connsiteY8" fmla="*/ 438839 h 438838"/>
                <a:gd name="connsiteX9" fmla="*/ 410343 w 416042"/>
                <a:gd name="connsiteY9" fmla="*/ 438839 h 438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6042" h="438838">
                  <a:moveTo>
                    <a:pt x="410343" y="438839"/>
                  </a:moveTo>
                  <a:cubicBezTo>
                    <a:pt x="407493" y="438839"/>
                    <a:pt x="404644" y="435989"/>
                    <a:pt x="404644" y="433139"/>
                  </a:cubicBezTo>
                  <a:cubicBezTo>
                    <a:pt x="396095" y="390395"/>
                    <a:pt x="376148" y="341953"/>
                    <a:pt x="353351" y="313456"/>
                  </a:cubicBezTo>
                  <a:cubicBezTo>
                    <a:pt x="350501" y="310607"/>
                    <a:pt x="193773" y="119683"/>
                    <a:pt x="2850" y="11398"/>
                  </a:cubicBezTo>
                  <a:cubicBezTo>
                    <a:pt x="0" y="8548"/>
                    <a:pt x="0" y="5699"/>
                    <a:pt x="0" y="2849"/>
                  </a:cubicBezTo>
                  <a:cubicBezTo>
                    <a:pt x="2850" y="0"/>
                    <a:pt x="5699" y="0"/>
                    <a:pt x="8549" y="0"/>
                  </a:cubicBezTo>
                  <a:cubicBezTo>
                    <a:pt x="202322" y="108285"/>
                    <a:pt x="361900" y="302057"/>
                    <a:pt x="361900" y="304907"/>
                  </a:cubicBezTo>
                  <a:cubicBezTo>
                    <a:pt x="384697" y="333403"/>
                    <a:pt x="407493" y="384697"/>
                    <a:pt x="416042" y="427441"/>
                  </a:cubicBezTo>
                  <a:cubicBezTo>
                    <a:pt x="416042" y="435989"/>
                    <a:pt x="416042" y="438839"/>
                    <a:pt x="410343" y="438839"/>
                  </a:cubicBezTo>
                  <a:cubicBezTo>
                    <a:pt x="413193" y="438839"/>
                    <a:pt x="410343" y="438839"/>
                    <a:pt x="410343" y="438839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83FDC971-D4C8-4DF8-9176-B9F1504552DE}"/>
                </a:ext>
              </a:extLst>
            </p:cNvPr>
            <p:cNvSpPr/>
            <p:nvPr/>
          </p:nvSpPr>
          <p:spPr>
            <a:xfrm>
              <a:off x="3903683" y="9192559"/>
              <a:ext cx="242249" cy="223244"/>
            </a:xfrm>
            <a:custGeom>
              <a:avLst/>
              <a:gdLst>
                <a:gd name="connsiteX0" fmla="*/ 222303 w 242249"/>
                <a:gd name="connsiteY0" fmla="*/ 2850 h 223244"/>
                <a:gd name="connsiteX1" fmla="*/ 242250 w 242249"/>
                <a:gd name="connsiteY1" fmla="*/ 165277 h 223244"/>
                <a:gd name="connsiteX2" fmla="*/ 14282 w 242249"/>
                <a:gd name="connsiteY2" fmla="*/ 190923 h 223244"/>
                <a:gd name="connsiteX3" fmla="*/ 34 w 242249"/>
                <a:gd name="connsiteY3" fmla="*/ 0 h 223244"/>
                <a:gd name="connsiteX4" fmla="*/ 222303 w 242249"/>
                <a:gd name="connsiteY4" fmla="*/ 2850 h 22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49" h="223244">
                  <a:moveTo>
                    <a:pt x="222303" y="2850"/>
                  </a:moveTo>
                  <a:cubicBezTo>
                    <a:pt x="222303" y="2850"/>
                    <a:pt x="230852" y="96886"/>
                    <a:pt x="242250" y="165277"/>
                  </a:cubicBezTo>
                  <a:cubicBezTo>
                    <a:pt x="242250" y="165277"/>
                    <a:pt x="171010" y="276411"/>
                    <a:pt x="14282" y="190923"/>
                  </a:cubicBezTo>
                  <a:cubicBezTo>
                    <a:pt x="5733" y="133931"/>
                    <a:pt x="5733" y="59842"/>
                    <a:pt x="34" y="0"/>
                  </a:cubicBezTo>
                  <a:cubicBezTo>
                    <a:pt x="-2816" y="0"/>
                    <a:pt x="176709" y="19947"/>
                    <a:pt x="222303" y="2850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F461B4EF-5D35-4143-8A0E-AC185872F06E}"/>
                </a:ext>
              </a:extLst>
            </p:cNvPr>
            <p:cNvSpPr/>
            <p:nvPr/>
          </p:nvSpPr>
          <p:spPr>
            <a:xfrm>
              <a:off x="3639030" y="9326490"/>
              <a:ext cx="1108192" cy="1442472"/>
            </a:xfrm>
            <a:custGeom>
              <a:avLst/>
              <a:gdLst>
                <a:gd name="connsiteX0" fmla="*/ 273236 w 1108192"/>
                <a:gd name="connsiteY0" fmla="*/ 22797 h 1442472"/>
                <a:gd name="connsiteX1" fmla="*/ 501204 w 1108192"/>
                <a:gd name="connsiteY1" fmla="*/ 0 h 1442472"/>
                <a:gd name="connsiteX2" fmla="*/ 817510 w 1108192"/>
                <a:gd name="connsiteY2" fmla="*/ 56992 h 1442472"/>
                <a:gd name="connsiteX3" fmla="*/ 1108170 w 1108192"/>
                <a:gd name="connsiteY3" fmla="*/ 1199684 h 1442472"/>
                <a:gd name="connsiteX4" fmla="*/ 79463 w 1108192"/>
                <a:gd name="connsiteY4" fmla="*/ 1441900 h 1442472"/>
                <a:gd name="connsiteX5" fmla="*/ 11072 w 1108192"/>
                <a:gd name="connsiteY5" fmla="*/ 156728 h 1442472"/>
                <a:gd name="connsiteX6" fmla="*/ 273236 w 1108192"/>
                <a:gd name="connsiteY6" fmla="*/ 22797 h 1442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8192" h="1442472">
                  <a:moveTo>
                    <a:pt x="273236" y="22797"/>
                  </a:moveTo>
                  <a:cubicBezTo>
                    <a:pt x="273236" y="22797"/>
                    <a:pt x="407167" y="96887"/>
                    <a:pt x="501204" y="0"/>
                  </a:cubicBezTo>
                  <a:cubicBezTo>
                    <a:pt x="501204" y="0"/>
                    <a:pt x="791864" y="31346"/>
                    <a:pt x="817510" y="56992"/>
                  </a:cubicBezTo>
                  <a:cubicBezTo>
                    <a:pt x="846006" y="82639"/>
                    <a:pt x="1111019" y="1136993"/>
                    <a:pt x="1108170" y="1199684"/>
                  </a:cubicBezTo>
                  <a:cubicBezTo>
                    <a:pt x="1108170" y="1199684"/>
                    <a:pt x="626587" y="1456148"/>
                    <a:pt x="79463" y="1441900"/>
                  </a:cubicBezTo>
                  <a:cubicBezTo>
                    <a:pt x="28170" y="1114195"/>
                    <a:pt x="-23123" y="190924"/>
                    <a:pt x="11072" y="156728"/>
                  </a:cubicBezTo>
                  <a:cubicBezTo>
                    <a:pt x="45267" y="119684"/>
                    <a:pt x="273236" y="22797"/>
                    <a:pt x="273236" y="22797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4C907FAE-62C9-4A23-A3F5-F0BB2CD7DF98}"/>
                </a:ext>
              </a:extLst>
            </p:cNvPr>
            <p:cNvSpPr/>
            <p:nvPr/>
          </p:nvSpPr>
          <p:spPr>
            <a:xfrm>
              <a:off x="4286790" y="9362649"/>
              <a:ext cx="551596" cy="456823"/>
            </a:xfrm>
            <a:custGeom>
              <a:avLst/>
              <a:gdLst>
                <a:gd name="connsiteX0" fmla="*/ 403417 w 551596"/>
                <a:gd name="connsiteY0" fmla="*/ 456823 h 456823"/>
                <a:gd name="connsiteX1" fmla="*/ 1623 w 551596"/>
                <a:gd name="connsiteY1" fmla="*/ 63578 h 456823"/>
                <a:gd name="connsiteX2" fmla="*/ 551597 w 551596"/>
                <a:gd name="connsiteY2" fmla="*/ 89225 h 456823"/>
                <a:gd name="connsiteX3" fmla="*/ 403417 w 551596"/>
                <a:gd name="connsiteY3" fmla="*/ 456823 h 456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1596" h="456823">
                  <a:moveTo>
                    <a:pt x="403417" y="456823"/>
                  </a:moveTo>
                  <a:cubicBezTo>
                    <a:pt x="403417" y="456823"/>
                    <a:pt x="-29723" y="200359"/>
                    <a:pt x="1623" y="63578"/>
                  </a:cubicBezTo>
                  <a:cubicBezTo>
                    <a:pt x="38668" y="-93151"/>
                    <a:pt x="551597" y="89225"/>
                    <a:pt x="551597" y="89225"/>
                  </a:cubicBezTo>
                  <a:cubicBezTo>
                    <a:pt x="551597" y="89225"/>
                    <a:pt x="531649" y="305794"/>
                    <a:pt x="403417" y="456823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4EFE27F1-44B2-4FD8-ADB4-64255FC4E688}"/>
                </a:ext>
              </a:extLst>
            </p:cNvPr>
            <p:cNvSpPr/>
            <p:nvPr/>
          </p:nvSpPr>
          <p:spPr>
            <a:xfrm>
              <a:off x="4450840" y="9380634"/>
              <a:ext cx="127254" cy="501529"/>
            </a:xfrm>
            <a:custGeom>
              <a:avLst/>
              <a:gdLst>
                <a:gd name="connsiteX0" fmla="*/ 122533 w 127254"/>
                <a:gd name="connsiteY0" fmla="*/ 501530 h 501529"/>
                <a:gd name="connsiteX1" fmla="*/ 116834 w 127254"/>
                <a:gd name="connsiteY1" fmla="*/ 498681 h 501529"/>
                <a:gd name="connsiteX2" fmla="*/ 0 w 127254"/>
                <a:gd name="connsiteY2" fmla="*/ 5699 h 501529"/>
                <a:gd name="connsiteX3" fmla="*/ 2850 w 127254"/>
                <a:gd name="connsiteY3" fmla="*/ 0 h 501529"/>
                <a:gd name="connsiteX4" fmla="*/ 8549 w 127254"/>
                <a:gd name="connsiteY4" fmla="*/ 2849 h 501529"/>
                <a:gd name="connsiteX5" fmla="*/ 125382 w 127254"/>
                <a:gd name="connsiteY5" fmla="*/ 495831 h 501529"/>
                <a:gd name="connsiteX6" fmla="*/ 122533 w 127254"/>
                <a:gd name="connsiteY6" fmla="*/ 501530 h 501529"/>
                <a:gd name="connsiteX7" fmla="*/ 122533 w 127254"/>
                <a:gd name="connsiteY7" fmla="*/ 501530 h 501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7254" h="501529">
                  <a:moveTo>
                    <a:pt x="122533" y="501530"/>
                  </a:moveTo>
                  <a:cubicBezTo>
                    <a:pt x="119683" y="501530"/>
                    <a:pt x="116834" y="498681"/>
                    <a:pt x="116834" y="498681"/>
                  </a:cubicBezTo>
                  <a:cubicBezTo>
                    <a:pt x="116834" y="492981"/>
                    <a:pt x="14248" y="39894"/>
                    <a:pt x="0" y="5699"/>
                  </a:cubicBezTo>
                  <a:cubicBezTo>
                    <a:pt x="0" y="2849"/>
                    <a:pt x="0" y="0"/>
                    <a:pt x="2850" y="0"/>
                  </a:cubicBezTo>
                  <a:cubicBezTo>
                    <a:pt x="5699" y="0"/>
                    <a:pt x="8549" y="0"/>
                    <a:pt x="8549" y="2849"/>
                  </a:cubicBezTo>
                  <a:cubicBezTo>
                    <a:pt x="22797" y="39894"/>
                    <a:pt x="122533" y="478733"/>
                    <a:pt x="125382" y="495831"/>
                  </a:cubicBezTo>
                  <a:cubicBezTo>
                    <a:pt x="128232" y="498681"/>
                    <a:pt x="128232" y="501530"/>
                    <a:pt x="122533" y="501530"/>
                  </a:cubicBezTo>
                  <a:cubicBezTo>
                    <a:pt x="125382" y="501530"/>
                    <a:pt x="122533" y="501530"/>
                    <a:pt x="122533" y="501530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9C7EF33E-ECF0-458F-A42F-210578395924}"/>
                </a:ext>
              </a:extLst>
            </p:cNvPr>
            <p:cNvSpPr/>
            <p:nvPr/>
          </p:nvSpPr>
          <p:spPr>
            <a:xfrm>
              <a:off x="3815379" y="9075726"/>
              <a:ext cx="65540" cy="128232"/>
            </a:xfrm>
            <a:custGeom>
              <a:avLst/>
              <a:gdLst>
                <a:gd name="connsiteX0" fmla="*/ 0 w 65540"/>
                <a:gd name="connsiteY0" fmla="*/ 0 h 128232"/>
                <a:gd name="connsiteX1" fmla="*/ 65541 w 65540"/>
                <a:gd name="connsiteY1" fmla="*/ 128232 h 128232"/>
                <a:gd name="connsiteX2" fmla="*/ 65541 w 65540"/>
                <a:gd name="connsiteY2" fmla="*/ 48444 h 128232"/>
                <a:gd name="connsiteX3" fmla="*/ 0 w 65540"/>
                <a:gd name="connsiteY3" fmla="*/ 0 h 128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540" h="128232">
                  <a:moveTo>
                    <a:pt x="0" y="0"/>
                  </a:moveTo>
                  <a:cubicBezTo>
                    <a:pt x="0" y="0"/>
                    <a:pt x="17098" y="111134"/>
                    <a:pt x="65541" y="128232"/>
                  </a:cubicBezTo>
                  <a:lnTo>
                    <a:pt x="65541" y="484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88D5611B-29AB-4F4F-BA32-9B2D4CA72397}"/>
                </a:ext>
              </a:extLst>
            </p:cNvPr>
            <p:cNvSpPr/>
            <p:nvPr/>
          </p:nvSpPr>
          <p:spPr>
            <a:xfrm>
              <a:off x="4140234" y="8867704"/>
              <a:ext cx="101204" cy="225612"/>
            </a:xfrm>
            <a:custGeom>
              <a:avLst/>
              <a:gdLst>
                <a:gd name="connsiteX0" fmla="*/ 91187 w 101204"/>
                <a:gd name="connsiteY0" fmla="*/ 0 h 225612"/>
                <a:gd name="connsiteX1" fmla="*/ 59842 w 101204"/>
                <a:gd name="connsiteY1" fmla="*/ 222269 h 225612"/>
                <a:gd name="connsiteX2" fmla="*/ 0 w 101204"/>
                <a:gd name="connsiteY2" fmla="*/ 17098 h 225612"/>
                <a:gd name="connsiteX3" fmla="*/ 91187 w 101204"/>
                <a:gd name="connsiteY3" fmla="*/ 0 h 225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204" h="225612">
                  <a:moveTo>
                    <a:pt x="91187" y="0"/>
                  </a:moveTo>
                  <a:cubicBezTo>
                    <a:pt x="91187" y="0"/>
                    <a:pt x="128232" y="182375"/>
                    <a:pt x="59842" y="222269"/>
                  </a:cubicBezTo>
                  <a:cubicBezTo>
                    <a:pt x="2850" y="256465"/>
                    <a:pt x="0" y="17098"/>
                    <a:pt x="0" y="17098"/>
                  </a:cubicBezTo>
                  <a:lnTo>
                    <a:pt x="91187" y="0"/>
                  </a:ln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42CAFE0A-0261-452E-9E39-611A78AF6558}"/>
                </a:ext>
              </a:extLst>
            </p:cNvPr>
            <p:cNvSpPr/>
            <p:nvPr/>
          </p:nvSpPr>
          <p:spPr>
            <a:xfrm>
              <a:off x="3812309" y="8748405"/>
              <a:ext cx="398928" cy="530902"/>
            </a:xfrm>
            <a:custGeom>
              <a:avLst/>
              <a:gdLst>
                <a:gd name="connsiteX0" fmla="*/ 382067 w 398928"/>
                <a:gd name="connsiteY0" fmla="*/ 162043 h 530902"/>
                <a:gd name="connsiteX1" fmla="*/ 393465 w 398928"/>
                <a:gd name="connsiteY1" fmla="*/ 395711 h 530902"/>
                <a:gd name="connsiteX2" fmla="*/ 250985 w 398928"/>
                <a:gd name="connsiteY2" fmla="*/ 529642 h 530902"/>
                <a:gd name="connsiteX3" fmla="*/ 42964 w 398928"/>
                <a:gd name="connsiteY3" fmla="*/ 404260 h 530902"/>
                <a:gd name="connsiteX4" fmla="*/ 220 w 398928"/>
                <a:gd name="connsiteY4" fmla="*/ 196238 h 530902"/>
                <a:gd name="connsiteX5" fmla="*/ 191143 w 398928"/>
                <a:gd name="connsiteY5" fmla="*/ 2466 h 530902"/>
                <a:gd name="connsiteX6" fmla="*/ 382067 w 398928"/>
                <a:gd name="connsiteY6" fmla="*/ 162043 h 53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8928" h="530902">
                  <a:moveTo>
                    <a:pt x="382067" y="162043"/>
                  </a:moveTo>
                  <a:cubicBezTo>
                    <a:pt x="382067" y="162043"/>
                    <a:pt x="410563" y="327320"/>
                    <a:pt x="393465" y="395711"/>
                  </a:cubicBezTo>
                  <a:cubicBezTo>
                    <a:pt x="379217" y="458402"/>
                    <a:pt x="296579" y="523943"/>
                    <a:pt x="250985" y="529642"/>
                  </a:cubicBezTo>
                  <a:cubicBezTo>
                    <a:pt x="188294" y="538191"/>
                    <a:pt x="77159" y="503996"/>
                    <a:pt x="42964" y="404260"/>
                  </a:cubicBezTo>
                  <a:cubicBezTo>
                    <a:pt x="20167" y="335869"/>
                    <a:pt x="220" y="244682"/>
                    <a:pt x="220" y="196238"/>
                  </a:cubicBezTo>
                  <a:cubicBezTo>
                    <a:pt x="-2630" y="107901"/>
                    <a:pt x="20167" y="33811"/>
                    <a:pt x="191143" y="2466"/>
                  </a:cubicBezTo>
                  <a:cubicBezTo>
                    <a:pt x="268083" y="-17482"/>
                    <a:pt x="359270" y="87954"/>
                    <a:pt x="382067" y="162043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F294C623-2DB1-4131-9FE9-15F0DA5EA2D5}"/>
                </a:ext>
              </a:extLst>
            </p:cNvPr>
            <p:cNvSpPr/>
            <p:nvPr/>
          </p:nvSpPr>
          <p:spPr>
            <a:xfrm>
              <a:off x="4029099" y="8993087"/>
              <a:ext cx="51292" cy="125382"/>
            </a:xfrm>
            <a:custGeom>
              <a:avLst/>
              <a:gdLst>
                <a:gd name="connsiteX0" fmla="*/ 22797 w 51292"/>
                <a:gd name="connsiteY0" fmla="*/ 125382 h 125382"/>
                <a:gd name="connsiteX1" fmla="*/ 5699 w 51292"/>
                <a:gd name="connsiteY1" fmla="*/ 125382 h 125382"/>
                <a:gd name="connsiteX2" fmla="*/ 0 w 51292"/>
                <a:gd name="connsiteY2" fmla="*/ 119683 h 125382"/>
                <a:gd name="connsiteX3" fmla="*/ 5699 w 51292"/>
                <a:gd name="connsiteY3" fmla="*/ 113984 h 125382"/>
                <a:gd name="connsiteX4" fmla="*/ 42744 w 51292"/>
                <a:gd name="connsiteY4" fmla="*/ 111134 h 125382"/>
                <a:gd name="connsiteX5" fmla="*/ 42744 w 51292"/>
                <a:gd name="connsiteY5" fmla="*/ 108285 h 125382"/>
                <a:gd name="connsiteX6" fmla="*/ 22797 w 51292"/>
                <a:gd name="connsiteY6" fmla="*/ 5699 h 125382"/>
                <a:gd name="connsiteX7" fmla="*/ 25646 w 51292"/>
                <a:gd name="connsiteY7" fmla="*/ 0 h 125382"/>
                <a:gd name="connsiteX8" fmla="*/ 31346 w 51292"/>
                <a:gd name="connsiteY8" fmla="*/ 2850 h 125382"/>
                <a:gd name="connsiteX9" fmla="*/ 51293 w 51292"/>
                <a:gd name="connsiteY9" fmla="*/ 108285 h 125382"/>
                <a:gd name="connsiteX10" fmla="*/ 45594 w 51292"/>
                <a:gd name="connsiteY10" fmla="*/ 119683 h 125382"/>
                <a:gd name="connsiteX11" fmla="*/ 22797 w 51292"/>
                <a:gd name="connsiteY11" fmla="*/ 125382 h 125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292" h="125382">
                  <a:moveTo>
                    <a:pt x="22797" y="125382"/>
                  </a:moveTo>
                  <a:cubicBezTo>
                    <a:pt x="14248" y="125382"/>
                    <a:pt x="8549" y="125382"/>
                    <a:pt x="5699" y="125382"/>
                  </a:cubicBezTo>
                  <a:cubicBezTo>
                    <a:pt x="2850" y="125382"/>
                    <a:pt x="0" y="122533"/>
                    <a:pt x="0" y="119683"/>
                  </a:cubicBezTo>
                  <a:cubicBezTo>
                    <a:pt x="0" y="116834"/>
                    <a:pt x="2850" y="113984"/>
                    <a:pt x="5699" y="113984"/>
                  </a:cubicBezTo>
                  <a:cubicBezTo>
                    <a:pt x="17098" y="116834"/>
                    <a:pt x="37045" y="116834"/>
                    <a:pt x="42744" y="111134"/>
                  </a:cubicBezTo>
                  <a:cubicBezTo>
                    <a:pt x="42744" y="111134"/>
                    <a:pt x="42744" y="108285"/>
                    <a:pt x="42744" y="108285"/>
                  </a:cubicBezTo>
                  <a:cubicBezTo>
                    <a:pt x="42744" y="91187"/>
                    <a:pt x="22797" y="5699"/>
                    <a:pt x="22797" y="5699"/>
                  </a:cubicBezTo>
                  <a:cubicBezTo>
                    <a:pt x="22797" y="2850"/>
                    <a:pt x="22797" y="0"/>
                    <a:pt x="25646" y="0"/>
                  </a:cubicBezTo>
                  <a:cubicBezTo>
                    <a:pt x="28496" y="0"/>
                    <a:pt x="31346" y="0"/>
                    <a:pt x="31346" y="2850"/>
                  </a:cubicBezTo>
                  <a:cubicBezTo>
                    <a:pt x="31346" y="5699"/>
                    <a:pt x="51293" y="88338"/>
                    <a:pt x="51293" y="108285"/>
                  </a:cubicBezTo>
                  <a:cubicBezTo>
                    <a:pt x="51293" y="113984"/>
                    <a:pt x="51293" y="116834"/>
                    <a:pt x="45594" y="119683"/>
                  </a:cubicBezTo>
                  <a:cubicBezTo>
                    <a:pt x="45594" y="125382"/>
                    <a:pt x="34195" y="125382"/>
                    <a:pt x="22797" y="125382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6D964528-E4EF-4E92-A3F3-B7341E4BF2D3}"/>
                </a:ext>
              </a:extLst>
            </p:cNvPr>
            <p:cNvSpPr/>
            <p:nvPr/>
          </p:nvSpPr>
          <p:spPr>
            <a:xfrm>
              <a:off x="4108162" y="8966882"/>
              <a:ext cx="38329" cy="38162"/>
            </a:xfrm>
            <a:custGeom>
              <a:avLst/>
              <a:gdLst>
                <a:gd name="connsiteX0" fmla="*/ 726 w 38329"/>
                <a:gd name="connsiteY0" fmla="*/ 23356 h 38162"/>
                <a:gd name="connsiteX1" fmla="*/ 23523 w 38329"/>
                <a:gd name="connsiteY1" fmla="*/ 37604 h 38162"/>
                <a:gd name="connsiteX2" fmla="*/ 37771 w 38329"/>
                <a:gd name="connsiteY2" fmla="*/ 14807 h 38162"/>
                <a:gd name="connsiteX3" fmla="*/ 14974 w 38329"/>
                <a:gd name="connsiteY3" fmla="*/ 559 h 38162"/>
                <a:gd name="connsiteX4" fmla="*/ 726 w 38329"/>
                <a:gd name="connsiteY4" fmla="*/ 23356 h 3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29" h="38162">
                  <a:moveTo>
                    <a:pt x="726" y="23356"/>
                  </a:moveTo>
                  <a:cubicBezTo>
                    <a:pt x="3576" y="31904"/>
                    <a:pt x="12125" y="40453"/>
                    <a:pt x="23523" y="37604"/>
                  </a:cubicBezTo>
                  <a:cubicBezTo>
                    <a:pt x="32072" y="34754"/>
                    <a:pt x="40621" y="26205"/>
                    <a:pt x="37771" y="14807"/>
                  </a:cubicBezTo>
                  <a:cubicBezTo>
                    <a:pt x="34921" y="6258"/>
                    <a:pt x="26373" y="-2291"/>
                    <a:pt x="14974" y="559"/>
                  </a:cubicBezTo>
                  <a:cubicBezTo>
                    <a:pt x="3576" y="3408"/>
                    <a:pt x="-2123" y="14807"/>
                    <a:pt x="726" y="23356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CB9685E5-243E-4024-A8C5-7EEB33D11D1B}"/>
                </a:ext>
              </a:extLst>
            </p:cNvPr>
            <p:cNvSpPr/>
            <p:nvPr/>
          </p:nvSpPr>
          <p:spPr>
            <a:xfrm>
              <a:off x="3937185" y="8992528"/>
              <a:ext cx="38329" cy="38162"/>
            </a:xfrm>
            <a:custGeom>
              <a:avLst/>
              <a:gdLst>
                <a:gd name="connsiteX0" fmla="*/ 726 w 38329"/>
                <a:gd name="connsiteY0" fmla="*/ 23356 h 38162"/>
                <a:gd name="connsiteX1" fmla="*/ 23523 w 38329"/>
                <a:gd name="connsiteY1" fmla="*/ 37604 h 38162"/>
                <a:gd name="connsiteX2" fmla="*/ 37771 w 38329"/>
                <a:gd name="connsiteY2" fmla="*/ 14807 h 38162"/>
                <a:gd name="connsiteX3" fmla="*/ 14974 w 38329"/>
                <a:gd name="connsiteY3" fmla="*/ 559 h 38162"/>
                <a:gd name="connsiteX4" fmla="*/ 726 w 38329"/>
                <a:gd name="connsiteY4" fmla="*/ 23356 h 3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29" h="38162">
                  <a:moveTo>
                    <a:pt x="726" y="23356"/>
                  </a:moveTo>
                  <a:cubicBezTo>
                    <a:pt x="3576" y="31905"/>
                    <a:pt x="12125" y="40453"/>
                    <a:pt x="23523" y="37604"/>
                  </a:cubicBezTo>
                  <a:cubicBezTo>
                    <a:pt x="32072" y="34754"/>
                    <a:pt x="40621" y="26205"/>
                    <a:pt x="37771" y="14807"/>
                  </a:cubicBezTo>
                  <a:cubicBezTo>
                    <a:pt x="34921" y="6258"/>
                    <a:pt x="26373" y="-2291"/>
                    <a:pt x="14974" y="559"/>
                  </a:cubicBezTo>
                  <a:cubicBezTo>
                    <a:pt x="3576" y="3409"/>
                    <a:pt x="-2123" y="11957"/>
                    <a:pt x="726" y="23356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C0ADACE0-3BED-446F-B536-AC7BD40AF5A1}"/>
                </a:ext>
              </a:extLst>
            </p:cNvPr>
            <p:cNvSpPr/>
            <p:nvPr/>
          </p:nvSpPr>
          <p:spPr>
            <a:xfrm>
              <a:off x="4079212" y="8920336"/>
              <a:ext cx="85956" cy="30007"/>
            </a:xfrm>
            <a:custGeom>
              <a:avLst/>
              <a:gdLst>
                <a:gd name="connsiteX0" fmla="*/ 80969 w 85956"/>
                <a:gd name="connsiteY0" fmla="*/ 30007 h 30007"/>
                <a:gd name="connsiteX1" fmla="*/ 75270 w 85956"/>
                <a:gd name="connsiteY1" fmla="*/ 27158 h 30007"/>
                <a:gd name="connsiteX2" fmla="*/ 12579 w 85956"/>
                <a:gd name="connsiteY2" fmla="*/ 24308 h 30007"/>
                <a:gd name="connsiteX3" fmla="*/ 1180 w 85956"/>
                <a:gd name="connsiteY3" fmla="*/ 21458 h 30007"/>
                <a:gd name="connsiteX4" fmla="*/ 4030 w 85956"/>
                <a:gd name="connsiteY4" fmla="*/ 10060 h 30007"/>
                <a:gd name="connsiteX5" fmla="*/ 83819 w 85956"/>
                <a:gd name="connsiteY5" fmla="*/ 15759 h 30007"/>
                <a:gd name="connsiteX6" fmla="*/ 83819 w 85956"/>
                <a:gd name="connsiteY6" fmla="*/ 27158 h 30007"/>
                <a:gd name="connsiteX7" fmla="*/ 80969 w 85956"/>
                <a:gd name="connsiteY7" fmla="*/ 30007 h 30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6" h="30007">
                  <a:moveTo>
                    <a:pt x="80969" y="30007"/>
                  </a:moveTo>
                  <a:cubicBezTo>
                    <a:pt x="78120" y="30007"/>
                    <a:pt x="78120" y="30007"/>
                    <a:pt x="75270" y="27158"/>
                  </a:cubicBezTo>
                  <a:cubicBezTo>
                    <a:pt x="49624" y="1511"/>
                    <a:pt x="15428" y="21458"/>
                    <a:pt x="12579" y="24308"/>
                  </a:cubicBezTo>
                  <a:cubicBezTo>
                    <a:pt x="9729" y="27158"/>
                    <a:pt x="4030" y="24308"/>
                    <a:pt x="1180" y="21458"/>
                  </a:cubicBezTo>
                  <a:cubicBezTo>
                    <a:pt x="-1669" y="18609"/>
                    <a:pt x="1180" y="12910"/>
                    <a:pt x="4030" y="10060"/>
                  </a:cubicBezTo>
                  <a:cubicBezTo>
                    <a:pt x="21128" y="1511"/>
                    <a:pt x="58172" y="-9887"/>
                    <a:pt x="83819" y="15759"/>
                  </a:cubicBezTo>
                  <a:cubicBezTo>
                    <a:pt x="86669" y="18609"/>
                    <a:pt x="86669" y="24308"/>
                    <a:pt x="83819" y="27158"/>
                  </a:cubicBezTo>
                  <a:cubicBezTo>
                    <a:pt x="83819" y="30007"/>
                    <a:pt x="80969" y="30007"/>
                    <a:pt x="80969" y="30007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D6575D95-BE36-4476-A8F4-E525FEE9B0E8}"/>
                </a:ext>
              </a:extLst>
            </p:cNvPr>
            <p:cNvSpPr/>
            <p:nvPr/>
          </p:nvSpPr>
          <p:spPr>
            <a:xfrm>
              <a:off x="3901579" y="8928599"/>
              <a:ext cx="85956" cy="35992"/>
            </a:xfrm>
            <a:custGeom>
              <a:avLst/>
              <a:gdLst>
                <a:gd name="connsiteX0" fmla="*/ 7836 w 85956"/>
                <a:gd name="connsiteY0" fmla="*/ 35992 h 35992"/>
                <a:gd name="connsiteX1" fmla="*/ 2137 w 85956"/>
                <a:gd name="connsiteY1" fmla="*/ 33143 h 35992"/>
                <a:gd name="connsiteX2" fmla="*/ 2137 w 85956"/>
                <a:gd name="connsiteY2" fmla="*/ 21744 h 35992"/>
                <a:gd name="connsiteX3" fmla="*/ 81926 w 85956"/>
                <a:gd name="connsiteY3" fmla="*/ 10346 h 35992"/>
                <a:gd name="connsiteX4" fmla="*/ 84776 w 85956"/>
                <a:gd name="connsiteY4" fmla="*/ 21744 h 35992"/>
                <a:gd name="connsiteX5" fmla="*/ 73377 w 85956"/>
                <a:gd name="connsiteY5" fmla="*/ 24594 h 35992"/>
                <a:gd name="connsiteX6" fmla="*/ 10686 w 85956"/>
                <a:gd name="connsiteY6" fmla="*/ 33143 h 35992"/>
                <a:gd name="connsiteX7" fmla="*/ 7836 w 85956"/>
                <a:gd name="connsiteY7" fmla="*/ 35992 h 35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6" h="35992">
                  <a:moveTo>
                    <a:pt x="7836" y="35992"/>
                  </a:moveTo>
                  <a:cubicBezTo>
                    <a:pt x="4987" y="35992"/>
                    <a:pt x="4987" y="35992"/>
                    <a:pt x="2137" y="33143"/>
                  </a:cubicBezTo>
                  <a:cubicBezTo>
                    <a:pt x="-712" y="30293"/>
                    <a:pt x="-712" y="24594"/>
                    <a:pt x="2137" y="21744"/>
                  </a:cubicBezTo>
                  <a:cubicBezTo>
                    <a:pt x="13536" y="7496"/>
                    <a:pt x="44881" y="-12451"/>
                    <a:pt x="81926" y="10346"/>
                  </a:cubicBezTo>
                  <a:cubicBezTo>
                    <a:pt x="84776" y="13195"/>
                    <a:pt x="87625" y="16045"/>
                    <a:pt x="84776" y="21744"/>
                  </a:cubicBezTo>
                  <a:cubicBezTo>
                    <a:pt x="81926" y="24594"/>
                    <a:pt x="79077" y="27443"/>
                    <a:pt x="73377" y="24594"/>
                  </a:cubicBezTo>
                  <a:cubicBezTo>
                    <a:pt x="39182" y="4647"/>
                    <a:pt x="13536" y="33143"/>
                    <a:pt x="10686" y="33143"/>
                  </a:cubicBezTo>
                  <a:cubicBezTo>
                    <a:pt x="13536" y="33143"/>
                    <a:pt x="10686" y="35992"/>
                    <a:pt x="7836" y="35992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F3B9F264-98BF-4798-BF49-8A131AC16134}"/>
                </a:ext>
              </a:extLst>
            </p:cNvPr>
            <p:cNvSpPr/>
            <p:nvPr/>
          </p:nvSpPr>
          <p:spPr>
            <a:xfrm>
              <a:off x="3909416" y="9226754"/>
              <a:ext cx="215857" cy="54143"/>
            </a:xfrm>
            <a:custGeom>
              <a:avLst/>
              <a:gdLst>
                <a:gd name="connsiteX0" fmla="*/ 136781 w 215857"/>
                <a:gd name="connsiteY0" fmla="*/ 54143 h 54143"/>
                <a:gd name="connsiteX1" fmla="*/ 2850 w 215857"/>
                <a:gd name="connsiteY1" fmla="*/ 11399 h 54143"/>
                <a:gd name="connsiteX2" fmla="*/ 0 w 215857"/>
                <a:gd name="connsiteY2" fmla="*/ 2850 h 54143"/>
                <a:gd name="connsiteX3" fmla="*/ 8549 w 215857"/>
                <a:gd name="connsiteY3" fmla="*/ 0 h 54143"/>
                <a:gd name="connsiteX4" fmla="*/ 136781 w 215857"/>
                <a:gd name="connsiteY4" fmla="*/ 42744 h 54143"/>
                <a:gd name="connsiteX5" fmla="*/ 139631 w 215857"/>
                <a:gd name="connsiteY5" fmla="*/ 42744 h 54143"/>
                <a:gd name="connsiteX6" fmla="*/ 205172 w 215857"/>
                <a:gd name="connsiteY6" fmla="*/ 17098 h 54143"/>
                <a:gd name="connsiteX7" fmla="*/ 213720 w 215857"/>
                <a:gd name="connsiteY7" fmla="*/ 17098 h 54143"/>
                <a:gd name="connsiteX8" fmla="*/ 213720 w 215857"/>
                <a:gd name="connsiteY8" fmla="*/ 25647 h 54143"/>
                <a:gd name="connsiteX9" fmla="*/ 142480 w 215857"/>
                <a:gd name="connsiteY9" fmla="*/ 54143 h 54143"/>
                <a:gd name="connsiteX10" fmla="*/ 136781 w 215857"/>
                <a:gd name="connsiteY10" fmla="*/ 54143 h 54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5857" h="54143">
                  <a:moveTo>
                    <a:pt x="136781" y="54143"/>
                  </a:moveTo>
                  <a:cubicBezTo>
                    <a:pt x="88338" y="54143"/>
                    <a:pt x="5699" y="11399"/>
                    <a:pt x="2850" y="11399"/>
                  </a:cubicBezTo>
                  <a:cubicBezTo>
                    <a:pt x="0" y="11399"/>
                    <a:pt x="0" y="5700"/>
                    <a:pt x="0" y="2850"/>
                  </a:cubicBezTo>
                  <a:cubicBezTo>
                    <a:pt x="0" y="0"/>
                    <a:pt x="5699" y="0"/>
                    <a:pt x="8549" y="0"/>
                  </a:cubicBezTo>
                  <a:cubicBezTo>
                    <a:pt x="8549" y="0"/>
                    <a:pt x="91187" y="42744"/>
                    <a:pt x="136781" y="42744"/>
                  </a:cubicBezTo>
                  <a:cubicBezTo>
                    <a:pt x="136781" y="42744"/>
                    <a:pt x="139631" y="42744"/>
                    <a:pt x="139631" y="42744"/>
                  </a:cubicBezTo>
                  <a:cubicBezTo>
                    <a:pt x="176675" y="39895"/>
                    <a:pt x="205172" y="17098"/>
                    <a:pt x="205172" y="17098"/>
                  </a:cubicBezTo>
                  <a:cubicBezTo>
                    <a:pt x="208021" y="14248"/>
                    <a:pt x="210871" y="14248"/>
                    <a:pt x="213720" y="17098"/>
                  </a:cubicBezTo>
                  <a:cubicBezTo>
                    <a:pt x="216570" y="19948"/>
                    <a:pt x="216570" y="22797"/>
                    <a:pt x="213720" y="25647"/>
                  </a:cubicBezTo>
                  <a:cubicBezTo>
                    <a:pt x="213720" y="25647"/>
                    <a:pt x="182375" y="51293"/>
                    <a:pt x="142480" y="54143"/>
                  </a:cubicBezTo>
                  <a:cubicBezTo>
                    <a:pt x="139631" y="54143"/>
                    <a:pt x="136781" y="54143"/>
                    <a:pt x="136781" y="54143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7434EC1B-6AA0-4511-9F55-CF002CB006E2}"/>
                </a:ext>
              </a:extLst>
            </p:cNvPr>
            <p:cNvSpPr/>
            <p:nvPr/>
          </p:nvSpPr>
          <p:spPr>
            <a:xfrm>
              <a:off x="3777645" y="8996889"/>
              <a:ext cx="74083" cy="105083"/>
            </a:xfrm>
            <a:custGeom>
              <a:avLst/>
              <a:gdLst>
                <a:gd name="connsiteX0" fmla="*/ 60530 w 74083"/>
                <a:gd name="connsiteY0" fmla="*/ 13296 h 105083"/>
                <a:gd name="connsiteX1" fmla="*/ 6388 w 74083"/>
                <a:gd name="connsiteY1" fmla="*/ 7596 h 105083"/>
                <a:gd name="connsiteX2" fmla="*/ 63380 w 74083"/>
                <a:gd name="connsiteY2" fmla="*/ 101633 h 105083"/>
                <a:gd name="connsiteX3" fmla="*/ 60530 w 74083"/>
                <a:gd name="connsiteY3" fmla="*/ 13296 h 10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083" h="105083">
                  <a:moveTo>
                    <a:pt x="60530" y="13296"/>
                  </a:moveTo>
                  <a:cubicBezTo>
                    <a:pt x="60530" y="13296"/>
                    <a:pt x="29185" y="-12352"/>
                    <a:pt x="6388" y="7596"/>
                  </a:cubicBezTo>
                  <a:cubicBezTo>
                    <a:pt x="-16409" y="27544"/>
                    <a:pt x="26335" y="124430"/>
                    <a:pt x="63380" y="101633"/>
                  </a:cubicBezTo>
                  <a:cubicBezTo>
                    <a:pt x="89026" y="81686"/>
                    <a:pt x="60530" y="13296"/>
                    <a:pt x="60530" y="13296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FC34A7F6-E6AD-4C05-809B-9CC285BE7798}"/>
                </a:ext>
              </a:extLst>
            </p:cNvPr>
            <p:cNvSpPr/>
            <p:nvPr/>
          </p:nvSpPr>
          <p:spPr>
            <a:xfrm>
              <a:off x="3771116" y="8634122"/>
              <a:ext cx="480483" cy="390311"/>
            </a:xfrm>
            <a:custGeom>
              <a:avLst/>
              <a:gdLst>
                <a:gd name="connsiteX0" fmla="*/ 7218 w 480483"/>
                <a:gd name="connsiteY0" fmla="*/ 299124 h 390311"/>
                <a:gd name="connsiteX1" fmla="*/ 64210 w 480483"/>
                <a:gd name="connsiteY1" fmla="*/ 390311 h 390311"/>
                <a:gd name="connsiteX2" fmla="*/ 104105 w 480483"/>
                <a:gd name="connsiteY2" fmla="*/ 256380 h 390311"/>
                <a:gd name="connsiteX3" fmla="*/ 112653 w 480483"/>
                <a:gd name="connsiteY3" fmla="*/ 253530 h 390311"/>
                <a:gd name="connsiteX4" fmla="*/ 183894 w 480483"/>
                <a:gd name="connsiteY4" fmla="*/ 225034 h 390311"/>
                <a:gd name="connsiteX5" fmla="*/ 195292 w 480483"/>
                <a:gd name="connsiteY5" fmla="*/ 222185 h 390311"/>
                <a:gd name="connsiteX6" fmla="*/ 229487 w 480483"/>
                <a:gd name="connsiteY6" fmla="*/ 242132 h 390311"/>
                <a:gd name="connsiteX7" fmla="*/ 243735 w 480483"/>
                <a:gd name="connsiteY7" fmla="*/ 230733 h 390311"/>
                <a:gd name="connsiteX8" fmla="*/ 292178 w 480483"/>
                <a:gd name="connsiteY8" fmla="*/ 244981 h 390311"/>
                <a:gd name="connsiteX9" fmla="*/ 326374 w 480483"/>
                <a:gd name="connsiteY9" fmla="*/ 250681 h 390311"/>
                <a:gd name="connsiteX10" fmla="*/ 337772 w 480483"/>
                <a:gd name="connsiteY10" fmla="*/ 247831 h 390311"/>
                <a:gd name="connsiteX11" fmla="*/ 349171 w 480483"/>
                <a:gd name="connsiteY11" fmla="*/ 244981 h 390311"/>
                <a:gd name="connsiteX12" fmla="*/ 357719 w 480483"/>
                <a:gd name="connsiteY12" fmla="*/ 247831 h 390311"/>
                <a:gd name="connsiteX13" fmla="*/ 363419 w 480483"/>
                <a:gd name="connsiteY13" fmla="*/ 250681 h 390311"/>
                <a:gd name="connsiteX14" fmla="*/ 369118 w 480483"/>
                <a:gd name="connsiteY14" fmla="*/ 250681 h 390311"/>
                <a:gd name="connsiteX15" fmla="*/ 377666 w 480483"/>
                <a:gd name="connsiteY15" fmla="*/ 253530 h 390311"/>
                <a:gd name="connsiteX16" fmla="*/ 383366 w 480483"/>
                <a:gd name="connsiteY16" fmla="*/ 262079 h 390311"/>
                <a:gd name="connsiteX17" fmla="*/ 400463 w 480483"/>
                <a:gd name="connsiteY17" fmla="*/ 282026 h 390311"/>
                <a:gd name="connsiteX18" fmla="*/ 428959 w 480483"/>
                <a:gd name="connsiteY18" fmla="*/ 290575 h 390311"/>
                <a:gd name="connsiteX19" fmla="*/ 448907 w 480483"/>
                <a:gd name="connsiteY19" fmla="*/ 341868 h 390311"/>
                <a:gd name="connsiteX20" fmla="*/ 454606 w 480483"/>
                <a:gd name="connsiteY20" fmla="*/ 313372 h 390311"/>
                <a:gd name="connsiteX21" fmla="*/ 463155 w 480483"/>
                <a:gd name="connsiteY21" fmla="*/ 310522 h 390311"/>
                <a:gd name="connsiteX22" fmla="*/ 474553 w 480483"/>
                <a:gd name="connsiteY22" fmla="*/ 219335 h 390311"/>
                <a:gd name="connsiteX23" fmla="*/ 454606 w 480483"/>
                <a:gd name="connsiteY23" fmla="*/ 179440 h 390311"/>
                <a:gd name="connsiteX24" fmla="*/ 457455 w 480483"/>
                <a:gd name="connsiteY24" fmla="*/ 145245 h 390311"/>
                <a:gd name="connsiteX25" fmla="*/ 448907 w 480483"/>
                <a:gd name="connsiteY25" fmla="*/ 113900 h 390311"/>
                <a:gd name="connsiteX26" fmla="*/ 428959 w 480483"/>
                <a:gd name="connsiteY26" fmla="*/ 88253 h 390311"/>
                <a:gd name="connsiteX27" fmla="*/ 411862 w 480483"/>
                <a:gd name="connsiteY27" fmla="*/ 48359 h 390311"/>
                <a:gd name="connsiteX28" fmla="*/ 354870 w 480483"/>
                <a:gd name="connsiteY28" fmla="*/ 31261 h 390311"/>
                <a:gd name="connsiteX29" fmla="*/ 238036 w 480483"/>
                <a:gd name="connsiteY29" fmla="*/ 2765 h 390311"/>
                <a:gd name="connsiteX30" fmla="*/ 226638 w 480483"/>
                <a:gd name="connsiteY30" fmla="*/ 8464 h 390311"/>
                <a:gd name="connsiteX31" fmla="*/ 175345 w 480483"/>
                <a:gd name="connsiteY31" fmla="*/ 22712 h 390311"/>
                <a:gd name="connsiteX32" fmla="*/ 143999 w 480483"/>
                <a:gd name="connsiteY32" fmla="*/ 25562 h 390311"/>
                <a:gd name="connsiteX33" fmla="*/ 118353 w 480483"/>
                <a:gd name="connsiteY33" fmla="*/ 56907 h 390311"/>
                <a:gd name="connsiteX34" fmla="*/ 106954 w 480483"/>
                <a:gd name="connsiteY34" fmla="*/ 76855 h 390311"/>
                <a:gd name="connsiteX35" fmla="*/ 78458 w 480483"/>
                <a:gd name="connsiteY35" fmla="*/ 96802 h 390311"/>
                <a:gd name="connsiteX36" fmla="*/ 67060 w 480483"/>
                <a:gd name="connsiteY36" fmla="*/ 93952 h 390311"/>
                <a:gd name="connsiteX37" fmla="*/ 52812 w 480483"/>
                <a:gd name="connsiteY37" fmla="*/ 133847 h 390311"/>
                <a:gd name="connsiteX38" fmla="*/ 7218 w 480483"/>
                <a:gd name="connsiteY38" fmla="*/ 299124 h 39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80483" h="390311">
                  <a:moveTo>
                    <a:pt x="7218" y="299124"/>
                  </a:moveTo>
                  <a:cubicBezTo>
                    <a:pt x="21466" y="350416"/>
                    <a:pt x="64210" y="390311"/>
                    <a:pt x="64210" y="390311"/>
                  </a:cubicBezTo>
                  <a:cubicBezTo>
                    <a:pt x="55661" y="361815"/>
                    <a:pt x="104105" y="256380"/>
                    <a:pt x="104105" y="256380"/>
                  </a:cubicBezTo>
                  <a:cubicBezTo>
                    <a:pt x="104105" y="256380"/>
                    <a:pt x="106954" y="256380"/>
                    <a:pt x="112653" y="253530"/>
                  </a:cubicBezTo>
                  <a:cubicBezTo>
                    <a:pt x="138300" y="250681"/>
                    <a:pt x="163946" y="242132"/>
                    <a:pt x="183894" y="225034"/>
                  </a:cubicBezTo>
                  <a:cubicBezTo>
                    <a:pt x="186743" y="225034"/>
                    <a:pt x="192442" y="222185"/>
                    <a:pt x="195292" y="222185"/>
                  </a:cubicBezTo>
                  <a:cubicBezTo>
                    <a:pt x="203841" y="233583"/>
                    <a:pt x="215239" y="244981"/>
                    <a:pt x="229487" y="242132"/>
                  </a:cubicBezTo>
                  <a:cubicBezTo>
                    <a:pt x="235186" y="239282"/>
                    <a:pt x="238036" y="233583"/>
                    <a:pt x="243735" y="230733"/>
                  </a:cubicBezTo>
                  <a:cubicBezTo>
                    <a:pt x="263682" y="222185"/>
                    <a:pt x="275081" y="236433"/>
                    <a:pt x="292178" y="244981"/>
                  </a:cubicBezTo>
                  <a:cubicBezTo>
                    <a:pt x="303577" y="250681"/>
                    <a:pt x="314975" y="253530"/>
                    <a:pt x="326374" y="250681"/>
                  </a:cubicBezTo>
                  <a:cubicBezTo>
                    <a:pt x="329223" y="250681"/>
                    <a:pt x="334923" y="247831"/>
                    <a:pt x="337772" y="247831"/>
                  </a:cubicBezTo>
                  <a:cubicBezTo>
                    <a:pt x="343471" y="244981"/>
                    <a:pt x="346321" y="244981"/>
                    <a:pt x="349171" y="244981"/>
                  </a:cubicBezTo>
                  <a:cubicBezTo>
                    <a:pt x="352020" y="244981"/>
                    <a:pt x="354870" y="247831"/>
                    <a:pt x="357719" y="247831"/>
                  </a:cubicBezTo>
                  <a:cubicBezTo>
                    <a:pt x="360569" y="247831"/>
                    <a:pt x="360569" y="250681"/>
                    <a:pt x="363419" y="250681"/>
                  </a:cubicBezTo>
                  <a:cubicBezTo>
                    <a:pt x="366268" y="250681"/>
                    <a:pt x="366268" y="250681"/>
                    <a:pt x="369118" y="250681"/>
                  </a:cubicBezTo>
                  <a:cubicBezTo>
                    <a:pt x="371967" y="250681"/>
                    <a:pt x="374817" y="253530"/>
                    <a:pt x="377666" y="253530"/>
                  </a:cubicBezTo>
                  <a:cubicBezTo>
                    <a:pt x="380516" y="256380"/>
                    <a:pt x="383366" y="259229"/>
                    <a:pt x="383366" y="262079"/>
                  </a:cubicBezTo>
                  <a:cubicBezTo>
                    <a:pt x="389065" y="270628"/>
                    <a:pt x="391914" y="276327"/>
                    <a:pt x="400463" y="282026"/>
                  </a:cubicBezTo>
                  <a:cubicBezTo>
                    <a:pt x="406163" y="284876"/>
                    <a:pt x="417561" y="287726"/>
                    <a:pt x="428959" y="290575"/>
                  </a:cubicBezTo>
                  <a:cubicBezTo>
                    <a:pt x="443207" y="307672"/>
                    <a:pt x="451756" y="324770"/>
                    <a:pt x="448907" y="341868"/>
                  </a:cubicBezTo>
                  <a:cubicBezTo>
                    <a:pt x="448907" y="341868"/>
                    <a:pt x="451756" y="330470"/>
                    <a:pt x="454606" y="313372"/>
                  </a:cubicBezTo>
                  <a:cubicBezTo>
                    <a:pt x="457455" y="316222"/>
                    <a:pt x="460305" y="316222"/>
                    <a:pt x="463155" y="310522"/>
                  </a:cubicBezTo>
                  <a:cubicBezTo>
                    <a:pt x="480252" y="282026"/>
                    <a:pt x="485952" y="250681"/>
                    <a:pt x="474553" y="219335"/>
                  </a:cubicBezTo>
                  <a:cubicBezTo>
                    <a:pt x="468854" y="205087"/>
                    <a:pt x="460305" y="193689"/>
                    <a:pt x="454606" y="179440"/>
                  </a:cubicBezTo>
                  <a:cubicBezTo>
                    <a:pt x="446057" y="162343"/>
                    <a:pt x="454606" y="162343"/>
                    <a:pt x="457455" y="145245"/>
                  </a:cubicBezTo>
                  <a:cubicBezTo>
                    <a:pt x="457455" y="133847"/>
                    <a:pt x="454606" y="122448"/>
                    <a:pt x="448907" y="113900"/>
                  </a:cubicBezTo>
                  <a:cubicBezTo>
                    <a:pt x="443207" y="105351"/>
                    <a:pt x="437508" y="96802"/>
                    <a:pt x="428959" y="88253"/>
                  </a:cubicBezTo>
                  <a:cubicBezTo>
                    <a:pt x="417561" y="74005"/>
                    <a:pt x="417561" y="62607"/>
                    <a:pt x="411862" y="48359"/>
                  </a:cubicBezTo>
                  <a:cubicBezTo>
                    <a:pt x="400463" y="22712"/>
                    <a:pt x="377666" y="28411"/>
                    <a:pt x="354870" y="31261"/>
                  </a:cubicBezTo>
                  <a:cubicBezTo>
                    <a:pt x="314975" y="34110"/>
                    <a:pt x="277930" y="-11483"/>
                    <a:pt x="238036" y="2765"/>
                  </a:cubicBezTo>
                  <a:cubicBezTo>
                    <a:pt x="232337" y="5614"/>
                    <a:pt x="229487" y="8464"/>
                    <a:pt x="226638" y="8464"/>
                  </a:cubicBezTo>
                  <a:cubicBezTo>
                    <a:pt x="209540" y="17013"/>
                    <a:pt x="195292" y="22712"/>
                    <a:pt x="175345" y="22712"/>
                  </a:cubicBezTo>
                  <a:cubicBezTo>
                    <a:pt x="163946" y="22712"/>
                    <a:pt x="155397" y="19862"/>
                    <a:pt x="143999" y="25562"/>
                  </a:cubicBezTo>
                  <a:cubicBezTo>
                    <a:pt x="132601" y="31261"/>
                    <a:pt x="124052" y="45509"/>
                    <a:pt x="118353" y="56907"/>
                  </a:cubicBezTo>
                  <a:cubicBezTo>
                    <a:pt x="115503" y="62607"/>
                    <a:pt x="109804" y="71155"/>
                    <a:pt x="106954" y="76855"/>
                  </a:cubicBezTo>
                  <a:cubicBezTo>
                    <a:pt x="95556" y="85403"/>
                    <a:pt x="87007" y="91103"/>
                    <a:pt x="78458" y="96802"/>
                  </a:cubicBezTo>
                  <a:cubicBezTo>
                    <a:pt x="78458" y="93952"/>
                    <a:pt x="81308" y="82554"/>
                    <a:pt x="67060" y="93952"/>
                  </a:cubicBezTo>
                  <a:cubicBezTo>
                    <a:pt x="52812" y="105351"/>
                    <a:pt x="49962" y="116749"/>
                    <a:pt x="52812" y="133847"/>
                  </a:cubicBezTo>
                  <a:cubicBezTo>
                    <a:pt x="-4180" y="165192"/>
                    <a:pt x="-7030" y="247831"/>
                    <a:pt x="7218" y="299124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7E669285-589E-4190-A043-09A457DA34D8}"/>
                </a:ext>
              </a:extLst>
            </p:cNvPr>
            <p:cNvSpPr/>
            <p:nvPr/>
          </p:nvSpPr>
          <p:spPr>
            <a:xfrm>
              <a:off x="3813067" y="8793615"/>
              <a:ext cx="67853" cy="222268"/>
            </a:xfrm>
            <a:custGeom>
              <a:avLst/>
              <a:gdLst>
                <a:gd name="connsiteX0" fmla="*/ 25109 w 67853"/>
                <a:gd name="connsiteY0" fmla="*/ 222269 h 222268"/>
                <a:gd name="connsiteX1" fmla="*/ 25109 w 67853"/>
                <a:gd name="connsiteY1" fmla="*/ 222269 h 222268"/>
                <a:gd name="connsiteX2" fmla="*/ 19410 w 67853"/>
                <a:gd name="connsiteY2" fmla="*/ 216570 h 222268"/>
                <a:gd name="connsiteX3" fmla="*/ 56455 w 67853"/>
                <a:gd name="connsiteY3" fmla="*/ 102585 h 222268"/>
                <a:gd name="connsiteX4" fmla="*/ 8011 w 67853"/>
                <a:gd name="connsiteY4" fmla="*/ 65541 h 222268"/>
                <a:gd name="connsiteX5" fmla="*/ 5162 w 67853"/>
                <a:gd name="connsiteY5" fmla="*/ 2849 h 222268"/>
                <a:gd name="connsiteX6" fmla="*/ 10861 w 67853"/>
                <a:gd name="connsiteY6" fmla="*/ 0 h 222268"/>
                <a:gd name="connsiteX7" fmla="*/ 13711 w 67853"/>
                <a:gd name="connsiteY7" fmla="*/ 5699 h 222268"/>
                <a:gd name="connsiteX8" fmla="*/ 16560 w 67853"/>
                <a:gd name="connsiteY8" fmla="*/ 59841 h 222268"/>
                <a:gd name="connsiteX9" fmla="*/ 65003 w 67853"/>
                <a:gd name="connsiteY9" fmla="*/ 94037 h 222268"/>
                <a:gd name="connsiteX10" fmla="*/ 67853 w 67853"/>
                <a:gd name="connsiteY10" fmla="*/ 96886 h 222268"/>
                <a:gd name="connsiteX11" fmla="*/ 67853 w 67853"/>
                <a:gd name="connsiteY11" fmla="*/ 102585 h 222268"/>
                <a:gd name="connsiteX12" fmla="*/ 27959 w 67853"/>
                <a:gd name="connsiteY12" fmla="*/ 216570 h 222268"/>
                <a:gd name="connsiteX13" fmla="*/ 25109 w 67853"/>
                <a:gd name="connsiteY13" fmla="*/ 222269 h 222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7853" h="222268">
                  <a:moveTo>
                    <a:pt x="25109" y="222269"/>
                  </a:moveTo>
                  <a:cubicBezTo>
                    <a:pt x="25109" y="222269"/>
                    <a:pt x="25109" y="222269"/>
                    <a:pt x="25109" y="222269"/>
                  </a:cubicBezTo>
                  <a:cubicBezTo>
                    <a:pt x="22259" y="222269"/>
                    <a:pt x="19410" y="219419"/>
                    <a:pt x="19410" y="216570"/>
                  </a:cubicBezTo>
                  <a:cubicBezTo>
                    <a:pt x="22259" y="165277"/>
                    <a:pt x="47906" y="119683"/>
                    <a:pt x="56455" y="102585"/>
                  </a:cubicBezTo>
                  <a:cubicBezTo>
                    <a:pt x="45056" y="96886"/>
                    <a:pt x="22259" y="88337"/>
                    <a:pt x="8011" y="65541"/>
                  </a:cubicBezTo>
                  <a:cubicBezTo>
                    <a:pt x="-537" y="48443"/>
                    <a:pt x="-3387" y="25646"/>
                    <a:pt x="5162" y="2849"/>
                  </a:cubicBezTo>
                  <a:cubicBezTo>
                    <a:pt x="5162" y="0"/>
                    <a:pt x="8011" y="0"/>
                    <a:pt x="10861" y="0"/>
                  </a:cubicBezTo>
                  <a:cubicBezTo>
                    <a:pt x="13711" y="0"/>
                    <a:pt x="16560" y="2849"/>
                    <a:pt x="13711" y="5699"/>
                  </a:cubicBezTo>
                  <a:cubicBezTo>
                    <a:pt x="8011" y="25646"/>
                    <a:pt x="8011" y="45593"/>
                    <a:pt x="16560" y="59841"/>
                  </a:cubicBezTo>
                  <a:cubicBezTo>
                    <a:pt x="30808" y="85488"/>
                    <a:pt x="62154" y="94037"/>
                    <a:pt x="65003" y="94037"/>
                  </a:cubicBezTo>
                  <a:cubicBezTo>
                    <a:pt x="67853" y="94037"/>
                    <a:pt x="67853" y="96886"/>
                    <a:pt x="67853" y="96886"/>
                  </a:cubicBezTo>
                  <a:cubicBezTo>
                    <a:pt x="67853" y="99736"/>
                    <a:pt x="67853" y="99736"/>
                    <a:pt x="67853" y="102585"/>
                  </a:cubicBezTo>
                  <a:cubicBezTo>
                    <a:pt x="67853" y="102585"/>
                    <a:pt x="30808" y="159578"/>
                    <a:pt x="27959" y="216570"/>
                  </a:cubicBezTo>
                  <a:cubicBezTo>
                    <a:pt x="27959" y="219419"/>
                    <a:pt x="27959" y="222269"/>
                    <a:pt x="25109" y="222269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FC4B35FC-FCF5-43F7-9754-3A94C8D25A4B}"/>
                </a:ext>
              </a:extLst>
            </p:cNvPr>
            <p:cNvSpPr/>
            <p:nvPr/>
          </p:nvSpPr>
          <p:spPr>
            <a:xfrm>
              <a:off x="3989204" y="9161214"/>
              <a:ext cx="99736" cy="62806"/>
            </a:xfrm>
            <a:custGeom>
              <a:avLst/>
              <a:gdLst>
                <a:gd name="connsiteX0" fmla="*/ 0 w 99736"/>
                <a:gd name="connsiteY0" fmla="*/ 0 h 62806"/>
                <a:gd name="connsiteX1" fmla="*/ 99736 w 99736"/>
                <a:gd name="connsiteY1" fmla="*/ 14248 h 62806"/>
                <a:gd name="connsiteX2" fmla="*/ 42744 w 99736"/>
                <a:gd name="connsiteY2" fmla="*/ 62692 h 62806"/>
                <a:gd name="connsiteX3" fmla="*/ 0 w 99736"/>
                <a:gd name="connsiteY3" fmla="*/ 0 h 62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736" h="62806">
                  <a:moveTo>
                    <a:pt x="0" y="0"/>
                  </a:moveTo>
                  <a:cubicBezTo>
                    <a:pt x="48443" y="19948"/>
                    <a:pt x="99736" y="14248"/>
                    <a:pt x="99736" y="14248"/>
                  </a:cubicBezTo>
                  <a:cubicBezTo>
                    <a:pt x="99736" y="14248"/>
                    <a:pt x="79789" y="65541"/>
                    <a:pt x="42744" y="62692"/>
                  </a:cubicBezTo>
                  <a:cubicBezTo>
                    <a:pt x="17098" y="62692"/>
                    <a:pt x="5699" y="31346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BF7F0346-CBA0-44A1-8647-1A14503F7452}"/>
                </a:ext>
              </a:extLst>
            </p:cNvPr>
            <p:cNvSpPr/>
            <p:nvPr/>
          </p:nvSpPr>
          <p:spPr>
            <a:xfrm>
              <a:off x="3916784" y="8765003"/>
              <a:ext cx="243396" cy="71355"/>
            </a:xfrm>
            <a:custGeom>
              <a:avLst/>
              <a:gdLst>
                <a:gd name="connsiteX0" fmla="*/ 234848 w 243396"/>
                <a:gd name="connsiteY0" fmla="*/ 71356 h 71355"/>
                <a:gd name="connsiteX1" fmla="*/ 234848 w 243396"/>
                <a:gd name="connsiteY1" fmla="*/ 71356 h 71355"/>
                <a:gd name="connsiteX2" fmla="*/ 183555 w 243396"/>
                <a:gd name="connsiteY2" fmla="*/ 51408 h 71355"/>
                <a:gd name="connsiteX3" fmla="*/ 175006 w 243396"/>
                <a:gd name="connsiteY3" fmla="*/ 42860 h 71355"/>
                <a:gd name="connsiteX4" fmla="*/ 146510 w 243396"/>
                <a:gd name="connsiteY4" fmla="*/ 25762 h 71355"/>
                <a:gd name="connsiteX5" fmla="*/ 146510 w 243396"/>
                <a:gd name="connsiteY5" fmla="*/ 25762 h 71355"/>
                <a:gd name="connsiteX6" fmla="*/ 123713 w 243396"/>
                <a:gd name="connsiteY6" fmla="*/ 34311 h 71355"/>
                <a:gd name="connsiteX7" fmla="*/ 92368 w 243396"/>
                <a:gd name="connsiteY7" fmla="*/ 42860 h 71355"/>
                <a:gd name="connsiteX8" fmla="*/ 66721 w 243396"/>
                <a:gd name="connsiteY8" fmla="*/ 25762 h 71355"/>
                <a:gd name="connsiteX9" fmla="*/ 49624 w 243396"/>
                <a:gd name="connsiteY9" fmla="*/ 11514 h 71355"/>
                <a:gd name="connsiteX10" fmla="*/ 23977 w 243396"/>
                <a:gd name="connsiteY10" fmla="*/ 17213 h 71355"/>
                <a:gd name="connsiteX11" fmla="*/ 9729 w 243396"/>
                <a:gd name="connsiteY11" fmla="*/ 42860 h 71355"/>
                <a:gd name="connsiteX12" fmla="*/ 4030 w 243396"/>
                <a:gd name="connsiteY12" fmla="*/ 45709 h 71355"/>
                <a:gd name="connsiteX13" fmla="*/ 1180 w 243396"/>
                <a:gd name="connsiteY13" fmla="*/ 40010 h 71355"/>
                <a:gd name="connsiteX14" fmla="*/ 18278 w 243396"/>
                <a:gd name="connsiteY14" fmla="*/ 8664 h 71355"/>
                <a:gd name="connsiteX15" fmla="*/ 55323 w 243396"/>
                <a:gd name="connsiteY15" fmla="*/ 2965 h 71355"/>
                <a:gd name="connsiteX16" fmla="*/ 75270 w 243396"/>
                <a:gd name="connsiteY16" fmla="*/ 17213 h 71355"/>
                <a:gd name="connsiteX17" fmla="*/ 95217 w 243396"/>
                <a:gd name="connsiteY17" fmla="*/ 31461 h 71355"/>
                <a:gd name="connsiteX18" fmla="*/ 120864 w 243396"/>
                <a:gd name="connsiteY18" fmla="*/ 22912 h 71355"/>
                <a:gd name="connsiteX19" fmla="*/ 149360 w 243396"/>
                <a:gd name="connsiteY19" fmla="*/ 14364 h 71355"/>
                <a:gd name="connsiteX20" fmla="*/ 149360 w 243396"/>
                <a:gd name="connsiteY20" fmla="*/ 14364 h 71355"/>
                <a:gd name="connsiteX21" fmla="*/ 183555 w 243396"/>
                <a:gd name="connsiteY21" fmla="*/ 34311 h 71355"/>
                <a:gd name="connsiteX22" fmla="*/ 192104 w 243396"/>
                <a:gd name="connsiteY22" fmla="*/ 40010 h 71355"/>
                <a:gd name="connsiteX23" fmla="*/ 237698 w 243396"/>
                <a:gd name="connsiteY23" fmla="*/ 57108 h 71355"/>
                <a:gd name="connsiteX24" fmla="*/ 243397 w 243396"/>
                <a:gd name="connsiteY24" fmla="*/ 62807 h 71355"/>
                <a:gd name="connsiteX25" fmla="*/ 234848 w 243396"/>
                <a:gd name="connsiteY25" fmla="*/ 71356 h 71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43396" h="71355">
                  <a:moveTo>
                    <a:pt x="234848" y="71356"/>
                  </a:moveTo>
                  <a:cubicBezTo>
                    <a:pt x="231998" y="71356"/>
                    <a:pt x="231998" y="71356"/>
                    <a:pt x="234848" y="71356"/>
                  </a:cubicBezTo>
                  <a:cubicBezTo>
                    <a:pt x="214901" y="71356"/>
                    <a:pt x="197803" y="62807"/>
                    <a:pt x="183555" y="51408"/>
                  </a:cubicBezTo>
                  <a:cubicBezTo>
                    <a:pt x="180705" y="48559"/>
                    <a:pt x="177856" y="45709"/>
                    <a:pt x="175006" y="42860"/>
                  </a:cubicBezTo>
                  <a:cubicBezTo>
                    <a:pt x="166457" y="34311"/>
                    <a:pt x="157909" y="25762"/>
                    <a:pt x="146510" y="25762"/>
                  </a:cubicBezTo>
                  <a:cubicBezTo>
                    <a:pt x="146510" y="25762"/>
                    <a:pt x="146510" y="25762"/>
                    <a:pt x="146510" y="25762"/>
                  </a:cubicBezTo>
                  <a:cubicBezTo>
                    <a:pt x="137961" y="25762"/>
                    <a:pt x="132262" y="28612"/>
                    <a:pt x="123713" y="34311"/>
                  </a:cubicBezTo>
                  <a:cubicBezTo>
                    <a:pt x="115164" y="40010"/>
                    <a:pt x="103766" y="45709"/>
                    <a:pt x="92368" y="42860"/>
                  </a:cubicBezTo>
                  <a:cubicBezTo>
                    <a:pt x="80969" y="40010"/>
                    <a:pt x="75270" y="34311"/>
                    <a:pt x="66721" y="25762"/>
                  </a:cubicBezTo>
                  <a:cubicBezTo>
                    <a:pt x="61022" y="20063"/>
                    <a:pt x="55323" y="14364"/>
                    <a:pt x="49624" y="11514"/>
                  </a:cubicBezTo>
                  <a:cubicBezTo>
                    <a:pt x="41075" y="8664"/>
                    <a:pt x="32526" y="11514"/>
                    <a:pt x="23977" y="17213"/>
                  </a:cubicBezTo>
                  <a:cubicBezTo>
                    <a:pt x="18278" y="22912"/>
                    <a:pt x="12579" y="31461"/>
                    <a:pt x="9729" y="42860"/>
                  </a:cubicBezTo>
                  <a:cubicBezTo>
                    <a:pt x="9729" y="45709"/>
                    <a:pt x="6880" y="48559"/>
                    <a:pt x="4030" y="45709"/>
                  </a:cubicBezTo>
                  <a:cubicBezTo>
                    <a:pt x="1180" y="45709"/>
                    <a:pt x="-1669" y="42860"/>
                    <a:pt x="1180" y="40010"/>
                  </a:cubicBezTo>
                  <a:cubicBezTo>
                    <a:pt x="4030" y="25762"/>
                    <a:pt x="9729" y="17213"/>
                    <a:pt x="18278" y="8664"/>
                  </a:cubicBezTo>
                  <a:cubicBezTo>
                    <a:pt x="29676" y="116"/>
                    <a:pt x="43924" y="-2734"/>
                    <a:pt x="55323" y="2965"/>
                  </a:cubicBezTo>
                  <a:cubicBezTo>
                    <a:pt x="63872" y="5815"/>
                    <a:pt x="69571" y="11514"/>
                    <a:pt x="75270" y="17213"/>
                  </a:cubicBezTo>
                  <a:cubicBezTo>
                    <a:pt x="80969" y="22912"/>
                    <a:pt x="86668" y="28612"/>
                    <a:pt x="95217" y="31461"/>
                  </a:cubicBezTo>
                  <a:cubicBezTo>
                    <a:pt x="103766" y="31461"/>
                    <a:pt x="112315" y="28612"/>
                    <a:pt x="120864" y="22912"/>
                  </a:cubicBezTo>
                  <a:cubicBezTo>
                    <a:pt x="129413" y="17213"/>
                    <a:pt x="137961" y="14364"/>
                    <a:pt x="149360" y="14364"/>
                  </a:cubicBezTo>
                  <a:lnTo>
                    <a:pt x="149360" y="14364"/>
                  </a:lnTo>
                  <a:cubicBezTo>
                    <a:pt x="163608" y="14364"/>
                    <a:pt x="175006" y="22912"/>
                    <a:pt x="183555" y="34311"/>
                  </a:cubicBezTo>
                  <a:cubicBezTo>
                    <a:pt x="186405" y="37160"/>
                    <a:pt x="189254" y="40010"/>
                    <a:pt x="192104" y="40010"/>
                  </a:cubicBezTo>
                  <a:cubicBezTo>
                    <a:pt x="203502" y="51408"/>
                    <a:pt x="220600" y="57108"/>
                    <a:pt x="237698" y="57108"/>
                  </a:cubicBezTo>
                  <a:cubicBezTo>
                    <a:pt x="240547" y="57108"/>
                    <a:pt x="243397" y="59957"/>
                    <a:pt x="243397" y="62807"/>
                  </a:cubicBezTo>
                  <a:cubicBezTo>
                    <a:pt x="237698" y="68506"/>
                    <a:pt x="234848" y="71356"/>
                    <a:pt x="234848" y="71356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9A6376DD-E93B-46A2-AE6F-9B50ABA441A5}"/>
                </a:ext>
              </a:extLst>
            </p:cNvPr>
            <p:cNvSpPr/>
            <p:nvPr/>
          </p:nvSpPr>
          <p:spPr>
            <a:xfrm>
              <a:off x="3901579" y="8681921"/>
              <a:ext cx="271424" cy="74648"/>
            </a:xfrm>
            <a:custGeom>
              <a:avLst/>
              <a:gdLst>
                <a:gd name="connsiteX0" fmla="*/ 267150 w 271424"/>
                <a:gd name="connsiteY0" fmla="*/ 74649 h 74648"/>
                <a:gd name="connsiteX1" fmla="*/ 261451 w 271424"/>
                <a:gd name="connsiteY1" fmla="*/ 68950 h 74648"/>
                <a:gd name="connsiteX2" fmla="*/ 250053 w 271424"/>
                <a:gd name="connsiteY2" fmla="*/ 51852 h 74648"/>
                <a:gd name="connsiteX3" fmla="*/ 201609 w 271424"/>
                <a:gd name="connsiteY3" fmla="*/ 43303 h 74648"/>
                <a:gd name="connsiteX4" fmla="*/ 156016 w 271424"/>
                <a:gd name="connsiteY4" fmla="*/ 26206 h 74648"/>
                <a:gd name="connsiteX5" fmla="*/ 133219 w 271424"/>
                <a:gd name="connsiteY5" fmla="*/ 14807 h 74648"/>
                <a:gd name="connsiteX6" fmla="*/ 90475 w 271424"/>
                <a:gd name="connsiteY6" fmla="*/ 26206 h 74648"/>
                <a:gd name="connsiteX7" fmla="*/ 53430 w 271424"/>
                <a:gd name="connsiteY7" fmla="*/ 34754 h 74648"/>
                <a:gd name="connsiteX8" fmla="*/ 10686 w 271424"/>
                <a:gd name="connsiteY8" fmla="*/ 51852 h 74648"/>
                <a:gd name="connsiteX9" fmla="*/ 2137 w 271424"/>
                <a:gd name="connsiteY9" fmla="*/ 51852 h 74648"/>
                <a:gd name="connsiteX10" fmla="*/ 2137 w 271424"/>
                <a:gd name="connsiteY10" fmla="*/ 43303 h 74648"/>
                <a:gd name="connsiteX11" fmla="*/ 56280 w 271424"/>
                <a:gd name="connsiteY11" fmla="*/ 20506 h 74648"/>
                <a:gd name="connsiteX12" fmla="*/ 81926 w 271424"/>
                <a:gd name="connsiteY12" fmla="*/ 14807 h 74648"/>
                <a:gd name="connsiteX13" fmla="*/ 130369 w 271424"/>
                <a:gd name="connsiteY13" fmla="*/ 559 h 74648"/>
                <a:gd name="connsiteX14" fmla="*/ 158865 w 271424"/>
                <a:gd name="connsiteY14" fmla="*/ 14807 h 74648"/>
                <a:gd name="connsiteX15" fmla="*/ 195910 w 271424"/>
                <a:gd name="connsiteY15" fmla="*/ 31905 h 74648"/>
                <a:gd name="connsiteX16" fmla="*/ 252902 w 271424"/>
                <a:gd name="connsiteY16" fmla="*/ 43303 h 74648"/>
                <a:gd name="connsiteX17" fmla="*/ 267150 w 271424"/>
                <a:gd name="connsiteY17" fmla="*/ 68950 h 74648"/>
                <a:gd name="connsiteX18" fmla="*/ 267150 w 271424"/>
                <a:gd name="connsiteY18" fmla="*/ 74649 h 74648"/>
                <a:gd name="connsiteX19" fmla="*/ 267150 w 271424"/>
                <a:gd name="connsiteY19" fmla="*/ 74649 h 74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1424" h="74648">
                  <a:moveTo>
                    <a:pt x="267150" y="74649"/>
                  </a:moveTo>
                  <a:cubicBezTo>
                    <a:pt x="264301" y="74649"/>
                    <a:pt x="261451" y="71799"/>
                    <a:pt x="261451" y="68950"/>
                  </a:cubicBezTo>
                  <a:cubicBezTo>
                    <a:pt x="261451" y="60401"/>
                    <a:pt x="255752" y="54702"/>
                    <a:pt x="250053" y="51852"/>
                  </a:cubicBezTo>
                  <a:cubicBezTo>
                    <a:pt x="235805" y="43303"/>
                    <a:pt x="213008" y="40454"/>
                    <a:pt x="201609" y="43303"/>
                  </a:cubicBezTo>
                  <a:cubicBezTo>
                    <a:pt x="187361" y="46153"/>
                    <a:pt x="170264" y="34754"/>
                    <a:pt x="156016" y="26206"/>
                  </a:cubicBezTo>
                  <a:cubicBezTo>
                    <a:pt x="147467" y="20506"/>
                    <a:pt x="138918" y="14807"/>
                    <a:pt x="133219" y="14807"/>
                  </a:cubicBezTo>
                  <a:cubicBezTo>
                    <a:pt x="113272" y="11958"/>
                    <a:pt x="101873" y="20506"/>
                    <a:pt x="90475" y="26206"/>
                  </a:cubicBezTo>
                  <a:cubicBezTo>
                    <a:pt x="79077" y="31905"/>
                    <a:pt x="67678" y="40454"/>
                    <a:pt x="53430" y="34754"/>
                  </a:cubicBezTo>
                  <a:cubicBezTo>
                    <a:pt x="33483" y="26206"/>
                    <a:pt x="10686" y="51852"/>
                    <a:pt x="10686" y="51852"/>
                  </a:cubicBezTo>
                  <a:cubicBezTo>
                    <a:pt x="7836" y="54702"/>
                    <a:pt x="4987" y="54702"/>
                    <a:pt x="2137" y="51852"/>
                  </a:cubicBezTo>
                  <a:cubicBezTo>
                    <a:pt x="-712" y="49002"/>
                    <a:pt x="-712" y="46153"/>
                    <a:pt x="2137" y="43303"/>
                  </a:cubicBezTo>
                  <a:cubicBezTo>
                    <a:pt x="2137" y="43303"/>
                    <a:pt x="27784" y="9108"/>
                    <a:pt x="56280" y="20506"/>
                  </a:cubicBezTo>
                  <a:cubicBezTo>
                    <a:pt x="64828" y="23356"/>
                    <a:pt x="70528" y="20506"/>
                    <a:pt x="81926" y="14807"/>
                  </a:cubicBezTo>
                  <a:cubicBezTo>
                    <a:pt x="93325" y="6258"/>
                    <a:pt x="107573" y="-2290"/>
                    <a:pt x="130369" y="559"/>
                  </a:cubicBezTo>
                  <a:cubicBezTo>
                    <a:pt x="138918" y="559"/>
                    <a:pt x="147467" y="6258"/>
                    <a:pt x="158865" y="14807"/>
                  </a:cubicBezTo>
                  <a:cubicBezTo>
                    <a:pt x="170264" y="23356"/>
                    <a:pt x="187361" y="31905"/>
                    <a:pt x="195910" y="31905"/>
                  </a:cubicBezTo>
                  <a:cubicBezTo>
                    <a:pt x="210158" y="29055"/>
                    <a:pt x="235805" y="29055"/>
                    <a:pt x="252902" y="43303"/>
                  </a:cubicBezTo>
                  <a:cubicBezTo>
                    <a:pt x="261451" y="49002"/>
                    <a:pt x="267150" y="57551"/>
                    <a:pt x="267150" y="68950"/>
                  </a:cubicBezTo>
                  <a:cubicBezTo>
                    <a:pt x="272850" y="71799"/>
                    <a:pt x="272850" y="74649"/>
                    <a:pt x="267150" y="74649"/>
                  </a:cubicBezTo>
                  <a:cubicBezTo>
                    <a:pt x="270000" y="74649"/>
                    <a:pt x="267150" y="74649"/>
                    <a:pt x="267150" y="74649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302B12EA-24B0-4DF2-86D2-1508A9965A38}"/>
                </a:ext>
              </a:extLst>
            </p:cNvPr>
            <p:cNvSpPr/>
            <p:nvPr/>
          </p:nvSpPr>
          <p:spPr>
            <a:xfrm>
              <a:off x="3883769" y="9326490"/>
              <a:ext cx="290659" cy="74613"/>
            </a:xfrm>
            <a:custGeom>
              <a:avLst/>
              <a:gdLst>
                <a:gd name="connsiteX0" fmla="*/ 28496 w 290659"/>
                <a:gd name="connsiteY0" fmla="*/ 22797 h 74613"/>
                <a:gd name="connsiteX1" fmla="*/ 153879 w 290659"/>
                <a:gd name="connsiteY1" fmla="*/ 48444 h 74613"/>
                <a:gd name="connsiteX2" fmla="*/ 256464 w 290659"/>
                <a:gd name="connsiteY2" fmla="*/ 0 h 74613"/>
                <a:gd name="connsiteX3" fmla="*/ 290660 w 290659"/>
                <a:gd name="connsiteY3" fmla="*/ 2850 h 74613"/>
                <a:gd name="connsiteX4" fmla="*/ 159578 w 290659"/>
                <a:gd name="connsiteY4" fmla="*/ 74090 h 74613"/>
                <a:gd name="connsiteX5" fmla="*/ 0 w 290659"/>
                <a:gd name="connsiteY5" fmla="*/ 37045 h 74613"/>
                <a:gd name="connsiteX6" fmla="*/ 28496 w 290659"/>
                <a:gd name="connsiteY6" fmla="*/ 22797 h 74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0659" h="74613">
                  <a:moveTo>
                    <a:pt x="28496" y="22797"/>
                  </a:moveTo>
                  <a:cubicBezTo>
                    <a:pt x="28496" y="22797"/>
                    <a:pt x="99736" y="54143"/>
                    <a:pt x="153879" y="48444"/>
                  </a:cubicBezTo>
                  <a:cubicBezTo>
                    <a:pt x="208021" y="42744"/>
                    <a:pt x="256464" y="0"/>
                    <a:pt x="256464" y="0"/>
                  </a:cubicBezTo>
                  <a:lnTo>
                    <a:pt x="290660" y="2850"/>
                  </a:lnTo>
                  <a:cubicBezTo>
                    <a:pt x="290660" y="2850"/>
                    <a:pt x="222269" y="68391"/>
                    <a:pt x="159578" y="74090"/>
                  </a:cubicBezTo>
                  <a:cubicBezTo>
                    <a:pt x="96886" y="79789"/>
                    <a:pt x="0" y="37045"/>
                    <a:pt x="0" y="37045"/>
                  </a:cubicBezTo>
                  <a:lnTo>
                    <a:pt x="28496" y="22797"/>
                  </a:ln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41C6B5F8-47E0-4C41-8438-9E22D21074D0}"/>
                </a:ext>
              </a:extLst>
            </p:cNvPr>
            <p:cNvSpPr/>
            <p:nvPr/>
          </p:nvSpPr>
          <p:spPr>
            <a:xfrm>
              <a:off x="4009152" y="9930891"/>
              <a:ext cx="189150" cy="170691"/>
            </a:xfrm>
            <a:custGeom>
              <a:avLst/>
              <a:gdLst>
                <a:gd name="connsiteX0" fmla="*/ 0 w 189150"/>
                <a:gd name="connsiteY0" fmla="*/ 170692 h 170691"/>
                <a:gd name="connsiteX1" fmla="*/ 105435 w 189150"/>
                <a:gd name="connsiteY1" fmla="*/ 19663 h 170691"/>
                <a:gd name="connsiteX2" fmla="*/ 185224 w 189150"/>
                <a:gd name="connsiteY2" fmla="*/ 5415 h 170691"/>
                <a:gd name="connsiteX3" fmla="*/ 99736 w 189150"/>
                <a:gd name="connsiteY3" fmla="*/ 93752 h 170691"/>
                <a:gd name="connsiteX4" fmla="*/ 0 w 189150"/>
                <a:gd name="connsiteY4" fmla="*/ 170692 h 170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150" h="170691">
                  <a:moveTo>
                    <a:pt x="0" y="170692"/>
                  </a:moveTo>
                  <a:cubicBezTo>
                    <a:pt x="0" y="170692"/>
                    <a:pt x="14248" y="56707"/>
                    <a:pt x="105435" y="19663"/>
                  </a:cubicBezTo>
                  <a:cubicBezTo>
                    <a:pt x="133931" y="8264"/>
                    <a:pt x="176675" y="-8833"/>
                    <a:pt x="185224" y="5415"/>
                  </a:cubicBezTo>
                  <a:cubicBezTo>
                    <a:pt x="210871" y="39610"/>
                    <a:pt x="102586" y="56707"/>
                    <a:pt x="99736" y="93752"/>
                  </a:cubicBezTo>
                  <a:cubicBezTo>
                    <a:pt x="99736" y="105151"/>
                    <a:pt x="0" y="170692"/>
                    <a:pt x="0" y="170692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A016DC19-4058-4C9C-AC72-F0B91B440821}"/>
                </a:ext>
              </a:extLst>
            </p:cNvPr>
            <p:cNvSpPr/>
            <p:nvPr/>
          </p:nvSpPr>
          <p:spPr>
            <a:xfrm>
              <a:off x="3541975" y="9755648"/>
              <a:ext cx="309128" cy="826062"/>
            </a:xfrm>
            <a:custGeom>
              <a:avLst/>
              <a:gdLst>
                <a:gd name="connsiteX0" fmla="*/ 19789 w 309128"/>
                <a:gd name="connsiteY0" fmla="*/ 1132 h 826062"/>
                <a:gd name="connsiteX1" fmla="*/ 2691 w 309128"/>
                <a:gd name="connsiteY1" fmla="*/ 303191 h 826062"/>
                <a:gd name="connsiteX2" fmla="*/ 79631 w 309128"/>
                <a:gd name="connsiteY2" fmla="*/ 818969 h 826062"/>
                <a:gd name="connsiteX3" fmla="*/ 307599 w 309128"/>
                <a:gd name="connsiteY3" fmla="*/ 599549 h 826062"/>
                <a:gd name="connsiteX4" fmla="*/ 19789 w 309128"/>
                <a:gd name="connsiteY4" fmla="*/ 1132 h 826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128" h="826062">
                  <a:moveTo>
                    <a:pt x="19789" y="1132"/>
                  </a:moveTo>
                  <a:cubicBezTo>
                    <a:pt x="19789" y="1132"/>
                    <a:pt x="-8707" y="203455"/>
                    <a:pt x="2691" y="303191"/>
                  </a:cubicBezTo>
                  <a:cubicBezTo>
                    <a:pt x="14090" y="402927"/>
                    <a:pt x="51135" y="764827"/>
                    <a:pt x="79631" y="818969"/>
                  </a:cubicBezTo>
                  <a:cubicBezTo>
                    <a:pt x="108127" y="873112"/>
                    <a:pt x="307599" y="599549"/>
                    <a:pt x="307599" y="599549"/>
                  </a:cubicBezTo>
                  <a:cubicBezTo>
                    <a:pt x="307599" y="599549"/>
                    <a:pt x="347493" y="-30213"/>
                    <a:pt x="19789" y="1132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646D8C0C-BF11-4B1B-B5ED-A89ECAFCCD2A}"/>
                </a:ext>
              </a:extLst>
            </p:cNvPr>
            <p:cNvSpPr/>
            <p:nvPr/>
          </p:nvSpPr>
          <p:spPr>
            <a:xfrm>
              <a:off x="3610351" y="10130079"/>
              <a:ext cx="438997" cy="502161"/>
            </a:xfrm>
            <a:custGeom>
              <a:avLst/>
              <a:gdLst>
                <a:gd name="connsiteX0" fmla="*/ 367456 w 438997"/>
                <a:gd name="connsiteY0" fmla="*/ 0 h 502161"/>
                <a:gd name="connsiteX1" fmla="*/ 5556 w 438997"/>
                <a:gd name="connsiteY1" fmla="*/ 350501 h 502161"/>
                <a:gd name="connsiteX2" fmla="*/ 130938 w 438997"/>
                <a:gd name="connsiteY2" fmla="*/ 490132 h 502161"/>
                <a:gd name="connsiteX3" fmla="*/ 438696 w 438997"/>
                <a:gd name="connsiteY3" fmla="*/ 102586 h 502161"/>
                <a:gd name="connsiteX4" fmla="*/ 367456 w 438997"/>
                <a:gd name="connsiteY4" fmla="*/ 0 h 502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997" h="502161">
                  <a:moveTo>
                    <a:pt x="367456" y="0"/>
                  </a:moveTo>
                  <a:cubicBezTo>
                    <a:pt x="367456" y="0"/>
                    <a:pt x="28353" y="270712"/>
                    <a:pt x="5556" y="350501"/>
                  </a:cubicBezTo>
                  <a:cubicBezTo>
                    <a:pt x="-17241" y="430290"/>
                    <a:pt x="31202" y="538575"/>
                    <a:pt x="130938" y="490132"/>
                  </a:cubicBezTo>
                  <a:cubicBezTo>
                    <a:pt x="230675" y="441689"/>
                    <a:pt x="432996" y="108285"/>
                    <a:pt x="438696" y="102586"/>
                  </a:cubicBezTo>
                  <a:cubicBezTo>
                    <a:pt x="444395" y="96886"/>
                    <a:pt x="367456" y="0"/>
                    <a:pt x="367456" y="0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D55F72D9-8479-4076-A2F8-A4791D3BF0FD}"/>
                </a:ext>
              </a:extLst>
            </p:cNvPr>
            <p:cNvSpPr/>
            <p:nvPr/>
          </p:nvSpPr>
          <p:spPr>
            <a:xfrm>
              <a:off x="3490524" y="9469709"/>
              <a:ext cx="393245" cy="554074"/>
            </a:xfrm>
            <a:custGeom>
              <a:avLst/>
              <a:gdLst>
                <a:gd name="connsiteX0" fmla="*/ 0 w 393245"/>
                <a:gd name="connsiteY0" fmla="*/ 540687 h 554074"/>
                <a:gd name="connsiteX1" fmla="*/ 159578 w 393245"/>
                <a:gd name="connsiteY1" fmla="*/ 2112 h 554074"/>
                <a:gd name="connsiteX2" fmla="*/ 393245 w 393245"/>
                <a:gd name="connsiteY2" fmla="*/ 500792 h 554074"/>
                <a:gd name="connsiteX3" fmla="*/ 0 w 393245"/>
                <a:gd name="connsiteY3" fmla="*/ 540687 h 554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245" h="554074">
                  <a:moveTo>
                    <a:pt x="0" y="540687"/>
                  </a:moveTo>
                  <a:cubicBezTo>
                    <a:pt x="0" y="540687"/>
                    <a:pt x="25646" y="39157"/>
                    <a:pt x="159578" y="2112"/>
                  </a:cubicBezTo>
                  <a:cubicBezTo>
                    <a:pt x="313456" y="-37783"/>
                    <a:pt x="393245" y="500792"/>
                    <a:pt x="393245" y="500792"/>
                  </a:cubicBezTo>
                  <a:cubicBezTo>
                    <a:pt x="393245" y="500792"/>
                    <a:pt x="196623" y="586281"/>
                    <a:pt x="0" y="540687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C121C14A-DBC3-437A-A0A3-71595E928EE7}"/>
                </a:ext>
              </a:extLst>
            </p:cNvPr>
            <p:cNvSpPr/>
            <p:nvPr/>
          </p:nvSpPr>
          <p:spPr>
            <a:xfrm>
              <a:off x="3644402" y="9468971"/>
              <a:ext cx="245065" cy="547124"/>
            </a:xfrm>
            <a:custGeom>
              <a:avLst/>
              <a:gdLst>
                <a:gd name="connsiteX0" fmla="*/ 116834 w 245065"/>
                <a:gd name="connsiteY0" fmla="*/ 547124 h 547124"/>
                <a:gd name="connsiteX1" fmla="*/ 111135 w 245065"/>
                <a:gd name="connsiteY1" fmla="*/ 541425 h 547124"/>
                <a:gd name="connsiteX2" fmla="*/ 116834 w 245065"/>
                <a:gd name="connsiteY2" fmla="*/ 535726 h 547124"/>
                <a:gd name="connsiteX3" fmla="*/ 233668 w 245065"/>
                <a:gd name="connsiteY3" fmla="*/ 501531 h 547124"/>
                <a:gd name="connsiteX4" fmla="*/ 153879 w 245065"/>
                <a:gd name="connsiteY4" fmla="*/ 179526 h 547124"/>
                <a:gd name="connsiteX5" fmla="*/ 5699 w 245065"/>
                <a:gd name="connsiteY5" fmla="*/ 11399 h 547124"/>
                <a:gd name="connsiteX6" fmla="*/ 0 w 245065"/>
                <a:gd name="connsiteY6" fmla="*/ 5700 h 547124"/>
                <a:gd name="connsiteX7" fmla="*/ 5699 w 245065"/>
                <a:gd name="connsiteY7" fmla="*/ 0 h 547124"/>
                <a:gd name="connsiteX8" fmla="*/ 165277 w 245065"/>
                <a:gd name="connsiteY8" fmla="*/ 176676 h 547124"/>
                <a:gd name="connsiteX9" fmla="*/ 245066 w 245065"/>
                <a:gd name="connsiteY9" fmla="*/ 504380 h 547124"/>
                <a:gd name="connsiteX10" fmla="*/ 245066 w 245065"/>
                <a:gd name="connsiteY10" fmla="*/ 507230 h 547124"/>
                <a:gd name="connsiteX11" fmla="*/ 242216 w 245065"/>
                <a:gd name="connsiteY11" fmla="*/ 510080 h 547124"/>
                <a:gd name="connsiteX12" fmla="*/ 116834 w 245065"/>
                <a:gd name="connsiteY12" fmla="*/ 547124 h 547124"/>
                <a:gd name="connsiteX13" fmla="*/ 116834 w 245065"/>
                <a:gd name="connsiteY13" fmla="*/ 547124 h 547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5065" h="547124">
                  <a:moveTo>
                    <a:pt x="116834" y="547124"/>
                  </a:moveTo>
                  <a:cubicBezTo>
                    <a:pt x="113984" y="547124"/>
                    <a:pt x="111135" y="544275"/>
                    <a:pt x="111135" y="541425"/>
                  </a:cubicBezTo>
                  <a:cubicBezTo>
                    <a:pt x="111135" y="538576"/>
                    <a:pt x="113984" y="535726"/>
                    <a:pt x="116834" y="535726"/>
                  </a:cubicBezTo>
                  <a:cubicBezTo>
                    <a:pt x="168127" y="527177"/>
                    <a:pt x="219420" y="507230"/>
                    <a:pt x="233668" y="501531"/>
                  </a:cubicBezTo>
                  <a:cubicBezTo>
                    <a:pt x="227968" y="475884"/>
                    <a:pt x="199472" y="327705"/>
                    <a:pt x="153879" y="179526"/>
                  </a:cubicBezTo>
                  <a:cubicBezTo>
                    <a:pt x="108285" y="19948"/>
                    <a:pt x="5699" y="11399"/>
                    <a:pt x="5699" y="11399"/>
                  </a:cubicBezTo>
                  <a:cubicBezTo>
                    <a:pt x="2850" y="11399"/>
                    <a:pt x="0" y="8549"/>
                    <a:pt x="0" y="5700"/>
                  </a:cubicBezTo>
                  <a:cubicBezTo>
                    <a:pt x="0" y="2850"/>
                    <a:pt x="2850" y="0"/>
                    <a:pt x="5699" y="0"/>
                  </a:cubicBezTo>
                  <a:cubicBezTo>
                    <a:pt x="11398" y="0"/>
                    <a:pt x="116834" y="8549"/>
                    <a:pt x="165277" y="176676"/>
                  </a:cubicBezTo>
                  <a:cubicBezTo>
                    <a:pt x="213720" y="339104"/>
                    <a:pt x="245066" y="501531"/>
                    <a:pt x="245066" y="504380"/>
                  </a:cubicBezTo>
                  <a:lnTo>
                    <a:pt x="245066" y="507230"/>
                  </a:lnTo>
                  <a:lnTo>
                    <a:pt x="242216" y="510080"/>
                  </a:lnTo>
                  <a:cubicBezTo>
                    <a:pt x="242216" y="510080"/>
                    <a:pt x="179525" y="535726"/>
                    <a:pt x="116834" y="547124"/>
                  </a:cubicBezTo>
                  <a:cubicBezTo>
                    <a:pt x="119683" y="547124"/>
                    <a:pt x="116834" y="547124"/>
                    <a:pt x="116834" y="547124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9B5AAC6C-0BCE-416B-AFEC-FF8884F8A305}"/>
                </a:ext>
              </a:extLst>
            </p:cNvPr>
            <p:cNvSpPr/>
            <p:nvPr/>
          </p:nvSpPr>
          <p:spPr>
            <a:xfrm>
              <a:off x="3693558" y="10220086"/>
              <a:ext cx="174293" cy="146509"/>
            </a:xfrm>
            <a:custGeom>
              <a:avLst/>
              <a:gdLst>
                <a:gd name="connsiteX0" fmla="*/ 4987 w 174293"/>
                <a:gd name="connsiteY0" fmla="*/ 146510 h 146509"/>
                <a:gd name="connsiteX1" fmla="*/ 2137 w 174293"/>
                <a:gd name="connsiteY1" fmla="*/ 146510 h 146509"/>
                <a:gd name="connsiteX2" fmla="*/ 2137 w 174293"/>
                <a:gd name="connsiteY2" fmla="*/ 137961 h 146509"/>
                <a:gd name="connsiteX3" fmla="*/ 164565 w 174293"/>
                <a:gd name="connsiteY3" fmla="*/ 1180 h 146509"/>
                <a:gd name="connsiteX4" fmla="*/ 173113 w 174293"/>
                <a:gd name="connsiteY4" fmla="*/ 4029 h 146509"/>
                <a:gd name="connsiteX5" fmla="*/ 170264 w 174293"/>
                <a:gd name="connsiteY5" fmla="*/ 12579 h 146509"/>
                <a:gd name="connsiteX6" fmla="*/ 10686 w 174293"/>
                <a:gd name="connsiteY6" fmla="*/ 146510 h 146509"/>
                <a:gd name="connsiteX7" fmla="*/ 4987 w 174293"/>
                <a:gd name="connsiteY7" fmla="*/ 146510 h 146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293" h="146509">
                  <a:moveTo>
                    <a:pt x="4987" y="146510"/>
                  </a:moveTo>
                  <a:cubicBezTo>
                    <a:pt x="4987" y="146510"/>
                    <a:pt x="2137" y="146510"/>
                    <a:pt x="2137" y="146510"/>
                  </a:cubicBezTo>
                  <a:cubicBezTo>
                    <a:pt x="-712" y="143661"/>
                    <a:pt x="-712" y="140811"/>
                    <a:pt x="2137" y="137961"/>
                  </a:cubicBezTo>
                  <a:cubicBezTo>
                    <a:pt x="47731" y="80969"/>
                    <a:pt x="158865" y="4029"/>
                    <a:pt x="164565" y="1180"/>
                  </a:cubicBezTo>
                  <a:cubicBezTo>
                    <a:pt x="167414" y="-1669"/>
                    <a:pt x="170264" y="1180"/>
                    <a:pt x="173113" y="4029"/>
                  </a:cubicBezTo>
                  <a:cubicBezTo>
                    <a:pt x="175963" y="6879"/>
                    <a:pt x="173113" y="9729"/>
                    <a:pt x="170264" y="12579"/>
                  </a:cubicBezTo>
                  <a:cubicBezTo>
                    <a:pt x="170264" y="12579"/>
                    <a:pt x="56280" y="89517"/>
                    <a:pt x="10686" y="146510"/>
                  </a:cubicBezTo>
                  <a:cubicBezTo>
                    <a:pt x="7836" y="146510"/>
                    <a:pt x="4987" y="146510"/>
                    <a:pt x="4987" y="146510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0" name="图形 1">
              <a:extLst>
                <a:ext uri="{FF2B5EF4-FFF2-40B4-BE49-F238E27FC236}">
                  <a16:creationId xmlns:a16="http://schemas.microsoft.com/office/drawing/2014/main" id="{FFA6C1D6-9BA5-4A8E-A8EF-FE13A2E04490}"/>
                </a:ext>
              </a:extLst>
            </p:cNvPr>
            <p:cNvGrpSpPr/>
            <p:nvPr/>
          </p:nvGrpSpPr>
          <p:grpSpPr>
            <a:xfrm>
              <a:off x="3781183" y="8892817"/>
              <a:ext cx="480232" cy="180059"/>
              <a:chOff x="3781183" y="8892817"/>
              <a:chExt cx="480232" cy="180059"/>
            </a:xfrm>
          </p:grpSpPr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94DB5363-F138-40A7-9E0F-CFAE43661CBC}"/>
                  </a:ext>
                </a:extLst>
              </p:cNvPr>
              <p:cNvSpPr/>
              <p:nvPr/>
            </p:nvSpPr>
            <p:spPr>
              <a:xfrm>
                <a:off x="3781183" y="8947493"/>
                <a:ext cx="82638" cy="68536"/>
              </a:xfrm>
              <a:custGeom>
                <a:avLst/>
                <a:gdLst>
                  <a:gd name="connsiteX0" fmla="*/ 76939 w 82638"/>
                  <a:gd name="connsiteY0" fmla="*/ 31346 h 68536"/>
                  <a:gd name="connsiteX1" fmla="*/ 0 w 82638"/>
                  <a:gd name="connsiteY1" fmla="*/ 0 h 68536"/>
                  <a:gd name="connsiteX2" fmla="*/ 14248 w 82638"/>
                  <a:gd name="connsiteY2" fmla="*/ 31346 h 68536"/>
                  <a:gd name="connsiteX3" fmla="*/ 82639 w 82638"/>
                  <a:gd name="connsiteY3" fmla="*/ 68390 h 68536"/>
                  <a:gd name="connsiteX4" fmla="*/ 76939 w 82638"/>
                  <a:gd name="connsiteY4" fmla="*/ 31346 h 68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638" h="68536">
                    <a:moveTo>
                      <a:pt x="76939" y="31346"/>
                    </a:moveTo>
                    <a:cubicBezTo>
                      <a:pt x="76939" y="31346"/>
                      <a:pt x="34195" y="25646"/>
                      <a:pt x="0" y="0"/>
                    </a:cubicBezTo>
                    <a:cubicBezTo>
                      <a:pt x="0" y="0"/>
                      <a:pt x="5699" y="22796"/>
                      <a:pt x="14248" y="31346"/>
                    </a:cubicBezTo>
                    <a:cubicBezTo>
                      <a:pt x="14248" y="31346"/>
                      <a:pt x="45594" y="71240"/>
                      <a:pt x="82639" y="68390"/>
                    </a:cubicBezTo>
                    <a:lnTo>
                      <a:pt x="76939" y="31346"/>
                    </a:ln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D415CAFF-95D7-47C2-9CA8-49CCC945442E}"/>
                  </a:ext>
                </a:extLst>
              </p:cNvPr>
              <p:cNvSpPr/>
              <p:nvPr/>
            </p:nvSpPr>
            <p:spPr>
              <a:xfrm>
                <a:off x="3846178" y="8892817"/>
                <a:ext cx="410889" cy="180059"/>
              </a:xfrm>
              <a:custGeom>
                <a:avLst/>
                <a:gdLst>
                  <a:gd name="connsiteX0" fmla="*/ 410889 w 410889"/>
                  <a:gd name="connsiteY0" fmla="*/ 31880 h 180059"/>
                  <a:gd name="connsiteX1" fmla="*/ 393791 w 410889"/>
                  <a:gd name="connsiteY1" fmla="*/ 40429 h 180059"/>
                  <a:gd name="connsiteX2" fmla="*/ 373844 w 410889"/>
                  <a:gd name="connsiteY2" fmla="*/ 37579 h 180059"/>
                  <a:gd name="connsiteX3" fmla="*/ 368145 w 410889"/>
                  <a:gd name="connsiteY3" fmla="*/ 123067 h 180059"/>
                  <a:gd name="connsiteX4" fmla="*/ 345348 w 410889"/>
                  <a:gd name="connsiteY4" fmla="*/ 143015 h 180059"/>
                  <a:gd name="connsiteX5" fmla="*/ 74636 w 410889"/>
                  <a:gd name="connsiteY5" fmla="*/ 160112 h 180059"/>
                  <a:gd name="connsiteX6" fmla="*/ 74636 w 410889"/>
                  <a:gd name="connsiteY6" fmla="*/ 180059 h 180059"/>
                  <a:gd name="connsiteX7" fmla="*/ 31892 w 410889"/>
                  <a:gd name="connsiteY7" fmla="*/ 162961 h 180059"/>
                  <a:gd name="connsiteX8" fmla="*/ 29042 w 410889"/>
                  <a:gd name="connsiteY8" fmla="*/ 162961 h 180059"/>
                  <a:gd name="connsiteX9" fmla="*/ 29042 w 410889"/>
                  <a:gd name="connsiteY9" fmla="*/ 162961 h 180059"/>
                  <a:gd name="connsiteX10" fmla="*/ 29042 w 410889"/>
                  <a:gd name="connsiteY10" fmla="*/ 162961 h 180059"/>
                  <a:gd name="connsiteX11" fmla="*/ 17644 w 410889"/>
                  <a:gd name="connsiteY11" fmla="*/ 148713 h 180059"/>
                  <a:gd name="connsiteX12" fmla="*/ 546 w 410889"/>
                  <a:gd name="connsiteY12" fmla="*/ 48977 h 180059"/>
                  <a:gd name="connsiteX13" fmla="*/ 20493 w 410889"/>
                  <a:gd name="connsiteY13" fmla="*/ 26181 h 180059"/>
                  <a:gd name="connsiteX14" fmla="*/ 348198 w 410889"/>
                  <a:gd name="connsiteY14" fmla="*/ 534 h 180059"/>
                  <a:gd name="connsiteX15" fmla="*/ 362446 w 410889"/>
                  <a:gd name="connsiteY15" fmla="*/ 6233 h 180059"/>
                  <a:gd name="connsiteX16" fmla="*/ 362446 w 410889"/>
                  <a:gd name="connsiteY16" fmla="*/ 6233 h 180059"/>
                  <a:gd name="connsiteX17" fmla="*/ 410889 w 410889"/>
                  <a:gd name="connsiteY17" fmla="*/ 31880 h 180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10889" h="180059">
                    <a:moveTo>
                      <a:pt x="410889" y="31880"/>
                    </a:moveTo>
                    <a:cubicBezTo>
                      <a:pt x="405190" y="34729"/>
                      <a:pt x="399491" y="37579"/>
                      <a:pt x="393791" y="40429"/>
                    </a:cubicBezTo>
                    <a:cubicBezTo>
                      <a:pt x="388092" y="40429"/>
                      <a:pt x="382393" y="37579"/>
                      <a:pt x="373844" y="37579"/>
                    </a:cubicBezTo>
                    <a:cubicBezTo>
                      <a:pt x="373844" y="66075"/>
                      <a:pt x="370995" y="94571"/>
                      <a:pt x="368145" y="123067"/>
                    </a:cubicBezTo>
                    <a:cubicBezTo>
                      <a:pt x="368145" y="134465"/>
                      <a:pt x="356747" y="143015"/>
                      <a:pt x="345348" y="143015"/>
                    </a:cubicBezTo>
                    <a:cubicBezTo>
                      <a:pt x="254161" y="140165"/>
                      <a:pt x="162973" y="145864"/>
                      <a:pt x="74636" y="160112"/>
                    </a:cubicBezTo>
                    <a:cubicBezTo>
                      <a:pt x="74636" y="165811"/>
                      <a:pt x="74636" y="174360"/>
                      <a:pt x="74636" y="180059"/>
                    </a:cubicBezTo>
                    <a:cubicBezTo>
                      <a:pt x="60388" y="174360"/>
                      <a:pt x="46140" y="168661"/>
                      <a:pt x="31892" y="162961"/>
                    </a:cubicBezTo>
                    <a:cubicBezTo>
                      <a:pt x="31892" y="162961"/>
                      <a:pt x="29042" y="162961"/>
                      <a:pt x="29042" y="162961"/>
                    </a:cubicBezTo>
                    <a:lnTo>
                      <a:pt x="29042" y="162961"/>
                    </a:lnTo>
                    <a:lnTo>
                      <a:pt x="29042" y="162961"/>
                    </a:lnTo>
                    <a:cubicBezTo>
                      <a:pt x="23343" y="160112"/>
                      <a:pt x="17644" y="154413"/>
                      <a:pt x="17644" y="148713"/>
                    </a:cubicBezTo>
                    <a:cubicBezTo>
                      <a:pt x="11944" y="114519"/>
                      <a:pt x="6245" y="80323"/>
                      <a:pt x="546" y="48977"/>
                    </a:cubicBezTo>
                    <a:cubicBezTo>
                      <a:pt x="-2304" y="37579"/>
                      <a:pt x="6245" y="29030"/>
                      <a:pt x="20493" y="26181"/>
                    </a:cubicBezTo>
                    <a:cubicBezTo>
                      <a:pt x="128778" y="6233"/>
                      <a:pt x="237063" y="-2315"/>
                      <a:pt x="348198" y="534"/>
                    </a:cubicBezTo>
                    <a:cubicBezTo>
                      <a:pt x="353897" y="534"/>
                      <a:pt x="359596" y="3384"/>
                      <a:pt x="362446" y="6233"/>
                    </a:cubicBezTo>
                    <a:lnTo>
                      <a:pt x="362446" y="6233"/>
                    </a:lnTo>
                    <a:cubicBezTo>
                      <a:pt x="382393" y="14782"/>
                      <a:pt x="396641" y="23331"/>
                      <a:pt x="410889" y="3188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44" name="图形 1">
                <a:extLst>
                  <a:ext uri="{FF2B5EF4-FFF2-40B4-BE49-F238E27FC236}">
                    <a16:creationId xmlns:a16="http://schemas.microsoft.com/office/drawing/2014/main" id="{FBD1E071-A004-4699-B21E-A55967C614A7}"/>
                  </a:ext>
                </a:extLst>
              </p:cNvPr>
              <p:cNvGrpSpPr/>
              <p:nvPr/>
            </p:nvGrpSpPr>
            <p:grpSpPr>
              <a:xfrm>
                <a:off x="3891875" y="8916813"/>
                <a:ext cx="369540" cy="156062"/>
                <a:chOff x="3891875" y="8916813"/>
                <a:chExt cx="369540" cy="156062"/>
              </a:xfrm>
            </p:grpSpPr>
            <p:sp>
              <p:nvSpPr>
                <p:cNvPr id="145" name="任意多边形: 形状 144">
                  <a:extLst>
                    <a:ext uri="{FF2B5EF4-FFF2-40B4-BE49-F238E27FC236}">
                      <a16:creationId xmlns:a16="http://schemas.microsoft.com/office/drawing/2014/main" id="{C6E0CE60-D5FD-4428-9D3E-07E8B05DD307}"/>
                    </a:ext>
                  </a:extLst>
                </p:cNvPr>
                <p:cNvSpPr/>
                <p:nvPr/>
              </p:nvSpPr>
              <p:spPr>
                <a:xfrm>
                  <a:off x="3891875" y="8916813"/>
                  <a:ext cx="369540" cy="156062"/>
                </a:xfrm>
                <a:custGeom>
                  <a:avLst/>
                  <a:gdLst>
                    <a:gd name="connsiteX0" fmla="*/ 348095 w 369540"/>
                    <a:gd name="connsiteY0" fmla="*/ 2184 h 156062"/>
                    <a:gd name="connsiteX1" fmla="*/ 20390 w 369540"/>
                    <a:gd name="connsiteY1" fmla="*/ 16432 h 156062"/>
                    <a:gd name="connsiteX2" fmla="*/ 443 w 369540"/>
                    <a:gd name="connsiteY2" fmla="*/ 39228 h 156062"/>
                    <a:gd name="connsiteX3" fmla="*/ 14691 w 369540"/>
                    <a:gd name="connsiteY3" fmla="*/ 138965 h 156062"/>
                    <a:gd name="connsiteX4" fmla="*/ 37488 w 369540"/>
                    <a:gd name="connsiteY4" fmla="*/ 156062 h 156062"/>
                    <a:gd name="connsiteX5" fmla="*/ 336696 w 369540"/>
                    <a:gd name="connsiteY5" fmla="*/ 141814 h 156062"/>
                    <a:gd name="connsiteX6" fmla="*/ 359493 w 369540"/>
                    <a:gd name="connsiteY6" fmla="*/ 124717 h 156062"/>
                    <a:gd name="connsiteX7" fmla="*/ 368042 w 369540"/>
                    <a:gd name="connsiteY7" fmla="*/ 22131 h 156062"/>
                    <a:gd name="connsiteX8" fmla="*/ 348095 w 369540"/>
                    <a:gd name="connsiteY8" fmla="*/ 2184 h 156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9540" h="156062">
                      <a:moveTo>
                        <a:pt x="348095" y="2184"/>
                      </a:moveTo>
                      <a:cubicBezTo>
                        <a:pt x="236960" y="-3515"/>
                        <a:pt x="128675" y="2184"/>
                        <a:pt x="20390" y="16432"/>
                      </a:cubicBezTo>
                      <a:cubicBezTo>
                        <a:pt x="8992" y="19282"/>
                        <a:pt x="-2407" y="27830"/>
                        <a:pt x="443" y="39228"/>
                      </a:cubicBezTo>
                      <a:cubicBezTo>
                        <a:pt x="6142" y="73424"/>
                        <a:pt x="8992" y="107620"/>
                        <a:pt x="14691" y="138965"/>
                      </a:cubicBezTo>
                      <a:cubicBezTo>
                        <a:pt x="17540" y="150364"/>
                        <a:pt x="26089" y="156062"/>
                        <a:pt x="37488" y="156062"/>
                      </a:cubicBezTo>
                      <a:cubicBezTo>
                        <a:pt x="134374" y="141814"/>
                        <a:pt x="234110" y="136116"/>
                        <a:pt x="336696" y="141814"/>
                      </a:cubicBezTo>
                      <a:cubicBezTo>
                        <a:pt x="348095" y="141814"/>
                        <a:pt x="359493" y="133266"/>
                        <a:pt x="359493" y="124717"/>
                      </a:cubicBezTo>
                      <a:cubicBezTo>
                        <a:pt x="362343" y="90522"/>
                        <a:pt x="365192" y="56326"/>
                        <a:pt x="368042" y="22131"/>
                      </a:cubicBezTo>
                      <a:cubicBezTo>
                        <a:pt x="373741" y="10732"/>
                        <a:pt x="362343" y="2184"/>
                        <a:pt x="348095" y="2184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6" name="任意多边形: 形状 145">
                  <a:extLst>
                    <a:ext uri="{FF2B5EF4-FFF2-40B4-BE49-F238E27FC236}">
                      <a16:creationId xmlns:a16="http://schemas.microsoft.com/office/drawing/2014/main" id="{D2777CA4-C969-473A-9995-97B107AE4791}"/>
                    </a:ext>
                  </a:extLst>
                </p:cNvPr>
                <p:cNvSpPr/>
                <p:nvPr/>
              </p:nvSpPr>
              <p:spPr>
                <a:xfrm>
                  <a:off x="3917412" y="8923704"/>
                  <a:ext cx="322557" cy="138332"/>
                </a:xfrm>
                <a:custGeom>
                  <a:avLst/>
                  <a:gdLst>
                    <a:gd name="connsiteX0" fmla="*/ 302610 w 322557"/>
                    <a:gd name="connsiteY0" fmla="*/ 993 h 138332"/>
                    <a:gd name="connsiteX1" fmla="*/ 17650 w 322557"/>
                    <a:gd name="connsiteY1" fmla="*/ 15241 h 138332"/>
                    <a:gd name="connsiteX2" fmla="*/ 552 w 322557"/>
                    <a:gd name="connsiteY2" fmla="*/ 35188 h 138332"/>
                    <a:gd name="connsiteX3" fmla="*/ 11951 w 322557"/>
                    <a:gd name="connsiteY3" fmla="*/ 123526 h 138332"/>
                    <a:gd name="connsiteX4" fmla="*/ 31898 w 322557"/>
                    <a:gd name="connsiteY4" fmla="*/ 137774 h 138332"/>
                    <a:gd name="connsiteX5" fmla="*/ 296911 w 322557"/>
                    <a:gd name="connsiteY5" fmla="*/ 126375 h 138332"/>
                    <a:gd name="connsiteX6" fmla="*/ 316858 w 322557"/>
                    <a:gd name="connsiteY6" fmla="*/ 109278 h 138332"/>
                    <a:gd name="connsiteX7" fmla="*/ 322558 w 322557"/>
                    <a:gd name="connsiteY7" fmla="*/ 20940 h 138332"/>
                    <a:gd name="connsiteX8" fmla="*/ 302610 w 322557"/>
                    <a:gd name="connsiteY8" fmla="*/ 993 h 138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2557" h="138332">
                      <a:moveTo>
                        <a:pt x="302610" y="993"/>
                      </a:moveTo>
                      <a:cubicBezTo>
                        <a:pt x="205724" y="-1857"/>
                        <a:pt x="111687" y="993"/>
                        <a:pt x="17650" y="15241"/>
                      </a:cubicBezTo>
                      <a:cubicBezTo>
                        <a:pt x="6252" y="18090"/>
                        <a:pt x="-2297" y="26639"/>
                        <a:pt x="552" y="35188"/>
                      </a:cubicBezTo>
                      <a:cubicBezTo>
                        <a:pt x="3402" y="63684"/>
                        <a:pt x="9101" y="95030"/>
                        <a:pt x="11951" y="123526"/>
                      </a:cubicBezTo>
                      <a:cubicBezTo>
                        <a:pt x="11951" y="132074"/>
                        <a:pt x="23349" y="140624"/>
                        <a:pt x="31898" y="137774"/>
                      </a:cubicBezTo>
                      <a:cubicBezTo>
                        <a:pt x="117386" y="126375"/>
                        <a:pt x="205724" y="120676"/>
                        <a:pt x="296911" y="126375"/>
                      </a:cubicBezTo>
                      <a:cubicBezTo>
                        <a:pt x="308310" y="126375"/>
                        <a:pt x="316858" y="120676"/>
                        <a:pt x="316858" y="109278"/>
                      </a:cubicBezTo>
                      <a:cubicBezTo>
                        <a:pt x="319708" y="80782"/>
                        <a:pt x="322558" y="49436"/>
                        <a:pt x="322558" y="20940"/>
                      </a:cubicBezTo>
                      <a:cubicBezTo>
                        <a:pt x="322558" y="9542"/>
                        <a:pt x="314009" y="3842"/>
                        <a:pt x="302610" y="993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7" name="任意多边形: 形状 146">
                  <a:extLst>
                    <a:ext uri="{FF2B5EF4-FFF2-40B4-BE49-F238E27FC236}">
                      <a16:creationId xmlns:a16="http://schemas.microsoft.com/office/drawing/2014/main" id="{8C38C86D-D3B6-48C0-8400-C17452F7D3FB}"/>
                    </a:ext>
                  </a:extLst>
                </p:cNvPr>
                <p:cNvSpPr/>
                <p:nvPr/>
              </p:nvSpPr>
              <p:spPr>
                <a:xfrm>
                  <a:off x="3972107" y="8936095"/>
                  <a:ext cx="94036" cy="108284"/>
                </a:xfrm>
                <a:custGeom>
                  <a:avLst/>
                  <a:gdLst>
                    <a:gd name="connsiteX0" fmla="*/ 71240 w 94036"/>
                    <a:gd name="connsiteY0" fmla="*/ 108285 h 108284"/>
                    <a:gd name="connsiteX1" fmla="*/ 94037 w 94036"/>
                    <a:gd name="connsiteY1" fmla="*/ 105435 h 108284"/>
                    <a:gd name="connsiteX2" fmla="*/ 25646 w 94036"/>
                    <a:gd name="connsiteY2" fmla="*/ 0 h 108284"/>
                    <a:gd name="connsiteX3" fmla="*/ 0 w 94036"/>
                    <a:gd name="connsiteY3" fmla="*/ 2850 h 108284"/>
                    <a:gd name="connsiteX4" fmla="*/ 71240 w 94036"/>
                    <a:gd name="connsiteY4" fmla="*/ 108285 h 108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036" h="108284">
                      <a:moveTo>
                        <a:pt x="71240" y="108285"/>
                      </a:moveTo>
                      <a:cubicBezTo>
                        <a:pt x="79789" y="108285"/>
                        <a:pt x="85488" y="108285"/>
                        <a:pt x="94037" y="105435"/>
                      </a:cubicBezTo>
                      <a:cubicBezTo>
                        <a:pt x="74090" y="71240"/>
                        <a:pt x="51293" y="34195"/>
                        <a:pt x="25646" y="0"/>
                      </a:cubicBezTo>
                      <a:cubicBezTo>
                        <a:pt x="17098" y="0"/>
                        <a:pt x="8549" y="2850"/>
                        <a:pt x="0" y="2850"/>
                      </a:cubicBezTo>
                      <a:cubicBezTo>
                        <a:pt x="22797" y="39894"/>
                        <a:pt x="48443" y="74090"/>
                        <a:pt x="71240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E15F930D-0B05-41C0-B5A8-8AD8C04388D9}"/>
                    </a:ext>
                  </a:extLst>
                </p:cNvPr>
                <p:cNvSpPr/>
                <p:nvPr/>
              </p:nvSpPr>
              <p:spPr>
                <a:xfrm>
                  <a:off x="4020550" y="8933245"/>
                  <a:ext cx="111134" cy="108284"/>
                </a:xfrm>
                <a:custGeom>
                  <a:avLst/>
                  <a:gdLst>
                    <a:gd name="connsiteX0" fmla="*/ 68390 w 111134"/>
                    <a:gd name="connsiteY0" fmla="*/ 108285 h 108284"/>
                    <a:gd name="connsiteX1" fmla="*/ 111135 w 111134"/>
                    <a:gd name="connsiteY1" fmla="*/ 108285 h 108284"/>
                    <a:gd name="connsiteX2" fmla="*/ 48443 w 111134"/>
                    <a:gd name="connsiteY2" fmla="*/ 0 h 108284"/>
                    <a:gd name="connsiteX3" fmla="*/ 0 w 111134"/>
                    <a:gd name="connsiteY3" fmla="*/ 2850 h 108284"/>
                    <a:gd name="connsiteX4" fmla="*/ 68390 w 111134"/>
                    <a:gd name="connsiteY4" fmla="*/ 108285 h 108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1134" h="108284">
                      <a:moveTo>
                        <a:pt x="68390" y="108285"/>
                      </a:moveTo>
                      <a:cubicBezTo>
                        <a:pt x="82638" y="108285"/>
                        <a:pt x="96886" y="108285"/>
                        <a:pt x="111135" y="108285"/>
                      </a:cubicBezTo>
                      <a:cubicBezTo>
                        <a:pt x="91187" y="71240"/>
                        <a:pt x="71240" y="37045"/>
                        <a:pt x="48443" y="0"/>
                      </a:cubicBezTo>
                      <a:cubicBezTo>
                        <a:pt x="31346" y="0"/>
                        <a:pt x="17098" y="2850"/>
                        <a:pt x="0" y="2850"/>
                      </a:cubicBezTo>
                      <a:cubicBezTo>
                        <a:pt x="22797" y="37045"/>
                        <a:pt x="45594" y="74090"/>
                        <a:pt x="68390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7408CE37-4174-46C7-B1AF-22EC281D12C7}"/>
                </a:ext>
              </a:extLst>
            </p:cNvPr>
            <p:cNvSpPr/>
            <p:nvPr/>
          </p:nvSpPr>
          <p:spPr>
            <a:xfrm>
              <a:off x="5159597" y="8909825"/>
              <a:ext cx="196387" cy="267535"/>
            </a:xfrm>
            <a:custGeom>
              <a:avLst/>
              <a:gdLst>
                <a:gd name="connsiteX0" fmla="*/ 186019 w 196387"/>
                <a:gd name="connsiteY0" fmla="*/ 94660 h 267535"/>
                <a:gd name="connsiteX1" fmla="*/ 160373 w 196387"/>
                <a:gd name="connsiteY1" fmla="*/ 49066 h 267535"/>
                <a:gd name="connsiteX2" fmla="*/ 137576 w 196387"/>
                <a:gd name="connsiteY2" fmla="*/ 20570 h 267535"/>
                <a:gd name="connsiteX3" fmla="*/ 86283 w 196387"/>
                <a:gd name="connsiteY3" fmla="*/ 14872 h 267535"/>
                <a:gd name="connsiteX4" fmla="*/ 40689 w 196387"/>
                <a:gd name="connsiteY4" fmla="*/ 3473 h 267535"/>
                <a:gd name="connsiteX5" fmla="*/ 32141 w 196387"/>
                <a:gd name="connsiteY5" fmla="*/ 259937 h 267535"/>
                <a:gd name="connsiteX6" fmla="*/ 163222 w 196387"/>
                <a:gd name="connsiteY6" fmla="*/ 259937 h 267535"/>
                <a:gd name="connsiteX7" fmla="*/ 191718 w 196387"/>
                <a:gd name="connsiteY7" fmla="*/ 134554 h 267535"/>
                <a:gd name="connsiteX8" fmla="*/ 186019 w 196387"/>
                <a:gd name="connsiteY8" fmla="*/ 94660 h 26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6387" h="267535">
                  <a:moveTo>
                    <a:pt x="186019" y="94660"/>
                  </a:moveTo>
                  <a:cubicBezTo>
                    <a:pt x="177470" y="88961"/>
                    <a:pt x="171771" y="63314"/>
                    <a:pt x="160373" y="49066"/>
                  </a:cubicBezTo>
                  <a:cubicBezTo>
                    <a:pt x="160373" y="46217"/>
                    <a:pt x="148974" y="29120"/>
                    <a:pt x="137576" y="20570"/>
                  </a:cubicBezTo>
                  <a:cubicBezTo>
                    <a:pt x="129027" y="14872"/>
                    <a:pt x="86283" y="34818"/>
                    <a:pt x="86283" y="14872"/>
                  </a:cubicBezTo>
                  <a:cubicBezTo>
                    <a:pt x="86283" y="3473"/>
                    <a:pt x="46389" y="-5076"/>
                    <a:pt x="40689" y="3473"/>
                  </a:cubicBezTo>
                  <a:cubicBezTo>
                    <a:pt x="17892" y="60465"/>
                    <a:pt x="-33400" y="217193"/>
                    <a:pt x="32141" y="259937"/>
                  </a:cubicBezTo>
                  <a:cubicBezTo>
                    <a:pt x="32141" y="259937"/>
                    <a:pt x="140425" y="277035"/>
                    <a:pt x="163222" y="259937"/>
                  </a:cubicBezTo>
                  <a:cubicBezTo>
                    <a:pt x="200267" y="234291"/>
                    <a:pt x="183169" y="174449"/>
                    <a:pt x="191718" y="134554"/>
                  </a:cubicBezTo>
                  <a:cubicBezTo>
                    <a:pt x="197417" y="111758"/>
                    <a:pt x="200267" y="103209"/>
                    <a:pt x="186019" y="94660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2" name="图形 1">
              <a:extLst>
                <a:ext uri="{FF2B5EF4-FFF2-40B4-BE49-F238E27FC236}">
                  <a16:creationId xmlns:a16="http://schemas.microsoft.com/office/drawing/2014/main" id="{C53B71BA-CF9B-4BA1-B1DD-BD449C6CA114}"/>
                </a:ext>
              </a:extLst>
            </p:cNvPr>
            <p:cNvGrpSpPr/>
            <p:nvPr/>
          </p:nvGrpSpPr>
          <p:grpSpPr>
            <a:xfrm>
              <a:off x="4000603" y="9716784"/>
              <a:ext cx="248017" cy="555775"/>
              <a:chOff x="4000603" y="9716784"/>
              <a:chExt cx="248017" cy="555775"/>
            </a:xfrm>
          </p:grpSpPr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F511364E-764A-4D84-8AFA-EA81E05C3E6C}"/>
                  </a:ext>
                </a:extLst>
              </p:cNvPr>
              <p:cNvSpPr/>
              <p:nvPr/>
            </p:nvSpPr>
            <p:spPr>
              <a:xfrm>
                <a:off x="4017701" y="9839419"/>
                <a:ext cx="208021" cy="433140"/>
              </a:xfrm>
              <a:custGeom>
                <a:avLst/>
                <a:gdLst>
                  <a:gd name="connsiteX0" fmla="*/ 96887 w 208021"/>
                  <a:gd name="connsiteY0" fmla="*/ 433140 h 433140"/>
                  <a:gd name="connsiteX1" fmla="*/ 96887 w 208021"/>
                  <a:gd name="connsiteY1" fmla="*/ 433140 h 433140"/>
                  <a:gd name="connsiteX2" fmla="*/ 34195 w 208021"/>
                  <a:gd name="connsiteY2" fmla="*/ 376148 h 433140"/>
                  <a:gd name="connsiteX3" fmla="*/ 0 w 208021"/>
                  <a:gd name="connsiteY3" fmla="*/ 0 h 433140"/>
                  <a:gd name="connsiteX4" fmla="*/ 208021 w 208021"/>
                  <a:gd name="connsiteY4" fmla="*/ 5700 h 433140"/>
                  <a:gd name="connsiteX5" fmla="*/ 159578 w 208021"/>
                  <a:gd name="connsiteY5" fmla="*/ 381848 h 433140"/>
                  <a:gd name="connsiteX6" fmla="*/ 96887 w 208021"/>
                  <a:gd name="connsiteY6" fmla="*/ 433140 h 433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8021" h="433140">
                    <a:moveTo>
                      <a:pt x="96887" y="433140"/>
                    </a:moveTo>
                    <a:lnTo>
                      <a:pt x="96887" y="433140"/>
                    </a:lnTo>
                    <a:cubicBezTo>
                      <a:pt x="65541" y="433140"/>
                      <a:pt x="37045" y="407494"/>
                      <a:pt x="34195" y="376148"/>
                    </a:cubicBezTo>
                    <a:lnTo>
                      <a:pt x="0" y="0"/>
                    </a:lnTo>
                    <a:lnTo>
                      <a:pt x="208021" y="5700"/>
                    </a:lnTo>
                    <a:lnTo>
                      <a:pt x="159578" y="381848"/>
                    </a:lnTo>
                    <a:cubicBezTo>
                      <a:pt x="156728" y="410344"/>
                      <a:pt x="128232" y="433140"/>
                      <a:pt x="96887" y="433140"/>
                    </a:cubicBezTo>
                    <a:close/>
                  </a:path>
                </a:pathLst>
              </a:custGeom>
              <a:solidFill>
                <a:srgbClr val="6383A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73A527F8-7365-4566-93A3-CAC16C1D05B4}"/>
                  </a:ext>
                </a:extLst>
              </p:cNvPr>
              <p:cNvSpPr/>
              <p:nvPr/>
            </p:nvSpPr>
            <p:spPr>
              <a:xfrm>
                <a:off x="4000603" y="9716784"/>
                <a:ext cx="248017" cy="248018"/>
              </a:xfrm>
              <a:custGeom>
                <a:avLst/>
                <a:gdLst>
                  <a:gd name="connsiteX0" fmla="*/ 247915 w 248017"/>
                  <a:gd name="connsiteY0" fmla="*/ 125485 h 248018"/>
                  <a:gd name="connsiteX1" fmla="*/ 125383 w 248017"/>
                  <a:gd name="connsiteY1" fmla="*/ 102 h 248018"/>
                  <a:gd name="connsiteX2" fmla="*/ 0 w 248017"/>
                  <a:gd name="connsiteY2" fmla="*/ 122635 h 248018"/>
                  <a:gd name="connsiteX3" fmla="*/ 122533 w 248017"/>
                  <a:gd name="connsiteY3" fmla="*/ 248018 h 248018"/>
                  <a:gd name="connsiteX4" fmla="*/ 247915 w 248017"/>
                  <a:gd name="connsiteY4" fmla="*/ 125485 h 248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8017" h="248018">
                    <a:moveTo>
                      <a:pt x="247915" y="125485"/>
                    </a:moveTo>
                    <a:cubicBezTo>
                      <a:pt x="250765" y="57095"/>
                      <a:pt x="193773" y="102"/>
                      <a:pt x="125383" y="102"/>
                    </a:cubicBezTo>
                    <a:cubicBezTo>
                      <a:pt x="56992" y="-2747"/>
                      <a:pt x="0" y="54245"/>
                      <a:pt x="0" y="122635"/>
                    </a:cubicBezTo>
                    <a:cubicBezTo>
                      <a:pt x="0" y="191026"/>
                      <a:pt x="54143" y="248018"/>
                      <a:pt x="122533" y="248018"/>
                    </a:cubicBezTo>
                    <a:cubicBezTo>
                      <a:pt x="188074" y="248018"/>
                      <a:pt x="245066" y="193875"/>
                      <a:pt x="247915" y="125485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3" name="图形 1">
              <a:extLst>
                <a:ext uri="{FF2B5EF4-FFF2-40B4-BE49-F238E27FC236}">
                  <a16:creationId xmlns:a16="http://schemas.microsoft.com/office/drawing/2014/main" id="{F39D25C0-179F-4466-A90B-CAE019BF2565}"/>
                </a:ext>
              </a:extLst>
            </p:cNvPr>
            <p:cNvGrpSpPr/>
            <p:nvPr/>
          </p:nvGrpSpPr>
          <p:grpSpPr>
            <a:xfrm>
              <a:off x="4968928" y="8676240"/>
              <a:ext cx="392100" cy="492900"/>
              <a:chOff x="4968928" y="8676240"/>
              <a:chExt cx="392100" cy="492900"/>
            </a:xfrm>
          </p:grpSpPr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33CACE07-7939-44C9-8FD8-42A298540356}"/>
                  </a:ext>
                </a:extLst>
              </p:cNvPr>
              <p:cNvSpPr/>
              <p:nvPr/>
            </p:nvSpPr>
            <p:spPr>
              <a:xfrm>
                <a:off x="5006513" y="8742322"/>
                <a:ext cx="354515" cy="426818"/>
              </a:xfrm>
              <a:custGeom>
                <a:avLst/>
                <a:gdLst>
                  <a:gd name="connsiteX0" fmla="*/ 327704 w 354515"/>
                  <a:gd name="connsiteY0" fmla="*/ 416042 h 426818"/>
                  <a:gd name="connsiteX1" fmla="*/ 327704 w 354515"/>
                  <a:gd name="connsiteY1" fmla="*/ 416042 h 426818"/>
                  <a:gd name="connsiteX2" fmla="*/ 245066 w 354515"/>
                  <a:gd name="connsiteY2" fmla="*/ 404644 h 426818"/>
                  <a:gd name="connsiteX3" fmla="*/ 0 w 354515"/>
                  <a:gd name="connsiteY3" fmla="*/ 116834 h 426818"/>
                  <a:gd name="connsiteX4" fmla="*/ 170976 w 354515"/>
                  <a:gd name="connsiteY4" fmla="*/ 0 h 426818"/>
                  <a:gd name="connsiteX5" fmla="*/ 347652 w 354515"/>
                  <a:gd name="connsiteY5" fmla="*/ 333404 h 426818"/>
                  <a:gd name="connsiteX6" fmla="*/ 327704 w 354515"/>
                  <a:gd name="connsiteY6" fmla="*/ 416042 h 426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4515" h="426818">
                    <a:moveTo>
                      <a:pt x="327704" y="416042"/>
                    </a:moveTo>
                    <a:lnTo>
                      <a:pt x="327704" y="416042"/>
                    </a:lnTo>
                    <a:cubicBezTo>
                      <a:pt x="302058" y="433140"/>
                      <a:pt x="265013" y="430290"/>
                      <a:pt x="245066" y="404644"/>
                    </a:cubicBezTo>
                    <a:lnTo>
                      <a:pt x="0" y="116834"/>
                    </a:lnTo>
                    <a:lnTo>
                      <a:pt x="170976" y="0"/>
                    </a:lnTo>
                    <a:lnTo>
                      <a:pt x="347652" y="333404"/>
                    </a:lnTo>
                    <a:cubicBezTo>
                      <a:pt x="361900" y="361900"/>
                      <a:pt x="353351" y="398944"/>
                      <a:pt x="327704" y="416042"/>
                    </a:cubicBezTo>
                    <a:close/>
                  </a:path>
                </a:pathLst>
              </a:custGeom>
              <a:solidFill>
                <a:srgbClr val="6383A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197C4745-8AF3-43A0-8C88-B9569F20DE99}"/>
                  </a:ext>
                </a:extLst>
              </p:cNvPr>
              <p:cNvSpPr/>
              <p:nvPr/>
            </p:nvSpPr>
            <p:spPr>
              <a:xfrm>
                <a:off x="4968928" y="8676240"/>
                <a:ext cx="246147" cy="246147"/>
              </a:xfrm>
              <a:custGeom>
                <a:avLst/>
                <a:gdLst>
                  <a:gd name="connsiteX0" fmla="*/ 225659 w 246147"/>
                  <a:gd name="connsiteY0" fmla="*/ 54683 h 246147"/>
                  <a:gd name="connsiteX1" fmla="*/ 54683 w 246147"/>
                  <a:gd name="connsiteY1" fmla="*/ 20488 h 246147"/>
                  <a:gd name="connsiteX2" fmla="*/ 20488 w 246147"/>
                  <a:gd name="connsiteY2" fmla="*/ 191464 h 246147"/>
                  <a:gd name="connsiteX3" fmla="*/ 191464 w 246147"/>
                  <a:gd name="connsiteY3" fmla="*/ 225659 h 246147"/>
                  <a:gd name="connsiteX4" fmla="*/ 225659 w 246147"/>
                  <a:gd name="connsiteY4" fmla="*/ 54683 h 246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6147" h="246147">
                    <a:moveTo>
                      <a:pt x="225659" y="54683"/>
                    </a:moveTo>
                    <a:cubicBezTo>
                      <a:pt x="188614" y="-2309"/>
                      <a:pt x="111675" y="-16557"/>
                      <a:pt x="54683" y="20488"/>
                    </a:cubicBezTo>
                    <a:cubicBezTo>
                      <a:pt x="-2309" y="57533"/>
                      <a:pt x="-16557" y="134472"/>
                      <a:pt x="20488" y="191464"/>
                    </a:cubicBezTo>
                    <a:cubicBezTo>
                      <a:pt x="57533" y="248457"/>
                      <a:pt x="134472" y="262705"/>
                      <a:pt x="191464" y="225659"/>
                    </a:cubicBezTo>
                    <a:cubicBezTo>
                      <a:pt x="248456" y="188615"/>
                      <a:pt x="262704" y="111675"/>
                      <a:pt x="225659" y="54683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4" name="图形 1">
              <a:extLst>
                <a:ext uri="{FF2B5EF4-FFF2-40B4-BE49-F238E27FC236}">
                  <a16:creationId xmlns:a16="http://schemas.microsoft.com/office/drawing/2014/main" id="{73757B49-40E7-41FA-BF06-4711648C4944}"/>
                </a:ext>
              </a:extLst>
            </p:cNvPr>
            <p:cNvGrpSpPr/>
            <p:nvPr/>
          </p:nvGrpSpPr>
          <p:grpSpPr>
            <a:xfrm>
              <a:off x="5180339" y="8867961"/>
              <a:ext cx="181963" cy="208135"/>
              <a:chOff x="5180339" y="8867961"/>
              <a:chExt cx="181963" cy="208135"/>
            </a:xfrm>
          </p:grpSpPr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E941D669-C318-4103-AEDD-BACA11EEFB61}"/>
                  </a:ext>
                </a:extLst>
              </p:cNvPr>
              <p:cNvSpPr/>
              <p:nvPr/>
            </p:nvSpPr>
            <p:spPr>
              <a:xfrm>
                <a:off x="5180339" y="8867961"/>
                <a:ext cx="94803" cy="153896"/>
              </a:xfrm>
              <a:custGeom>
                <a:avLst/>
                <a:gdLst>
                  <a:gd name="connsiteX0" fmla="*/ 59842 w 94803"/>
                  <a:gd name="connsiteY0" fmla="*/ 2593 h 153896"/>
                  <a:gd name="connsiteX1" fmla="*/ 11398 w 94803"/>
                  <a:gd name="connsiteY1" fmla="*/ 85232 h 153896"/>
                  <a:gd name="connsiteX2" fmla="*/ 2850 w 94803"/>
                  <a:gd name="connsiteY2" fmla="*/ 99480 h 153896"/>
                  <a:gd name="connsiteX3" fmla="*/ 0 w 94803"/>
                  <a:gd name="connsiteY3" fmla="*/ 116577 h 153896"/>
                  <a:gd name="connsiteX4" fmla="*/ 28496 w 94803"/>
                  <a:gd name="connsiteY4" fmla="*/ 153622 h 153896"/>
                  <a:gd name="connsiteX5" fmla="*/ 59842 w 94803"/>
                  <a:gd name="connsiteY5" fmla="*/ 122276 h 153896"/>
                  <a:gd name="connsiteX6" fmla="*/ 85488 w 94803"/>
                  <a:gd name="connsiteY6" fmla="*/ 65284 h 153896"/>
                  <a:gd name="connsiteX7" fmla="*/ 91187 w 94803"/>
                  <a:gd name="connsiteY7" fmla="*/ 19690 h 153896"/>
                  <a:gd name="connsiteX8" fmla="*/ 59842 w 94803"/>
                  <a:gd name="connsiteY8" fmla="*/ 2593 h 153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803" h="153896">
                    <a:moveTo>
                      <a:pt x="59842" y="2593"/>
                    </a:moveTo>
                    <a:cubicBezTo>
                      <a:pt x="37045" y="16841"/>
                      <a:pt x="28496" y="53886"/>
                      <a:pt x="11398" y="85232"/>
                    </a:cubicBezTo>
                    <a:cubicBezTo>
                      <a:pt x="11398" y="88081"/>
                      <a:pt x="2850" y="96630"/>
                      <a:pt x="2850" y="99480"/>
                    </a:cubicBezTo>
                    <a:cubicBezTo>
                      <a:pt x="0" y="105178"/>
                      <a:pt x="0" y="110878"/>
                      <a:pt x="0" y="116577"/>
                    </a:cubicBezTo>
                    <a:cubicBezTo>
                      <a:pt x="0" y="133675"/>
                      <a:pt x="14248" y="150772"/>
                      <a:pt x="28496" y="153622"/>
                    </a:cubicBezTo>
                    <a:cubicBezTo>
                      <a:pt x="45594" y="156472"/>
                      <a:pt x="54143" y="136524"/>
                      <a:pt x="59842" y="122276"/>
                    </a:cubicBezTo>
                    <a:cubicBezTo>
                      <a:pt x="68391" y="105178"/>
                      <a:pt x="76939" y="85232"/>
                      <a:pt x="85488" y="65284"/>
                    </a:cubicBezTo>
                    <a:cubicBezTo>
                      <a:pt x="91187" y="51036"/>
                      <a:pt x="99736" y="36788"/>
                      <a:pt x="91187" y="19690"/>
                    </a:cubicBezTo>
                    <a:cubicBezTo>
                      <a:pt x="85488" y="-257"/>
                      <a:pt x="71240" y="-3106"/>
                      <a:pt x="59842" y="259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B1B3EBC1-F487-4A68-AF35-BB8F1556F2F0}"/>
                  </a:ext>
                </a:extLst>
              </p:cNvPr>
              <p:cNvSpPr/>
              <p:nvPr/>
            </p:nvSpPr>
            <p:spPr>
              <a:xfrm>
                <a:off x="5211685" y="8909486"/>
                <a:ext cx="94803" cy="152266"/>
              </a:xfrm>
              <a:custGeom>
                <a:avLst/>
                <a:gdLst>
                  <a:gd name="connsiteX0" fmla="*/ 59842 w 94803"/>
                  <a:gd name="connsiteY0" fmla="*/ 963 h 152266"/>
                  <a:gd name="connsiteX1" fmla="*/ 5699 w 94803"/>
                  <a:gd name="connsiteY1" fmla="*/ 89300 h 152266"/>
                  <a:gd name="connsiteX2" fmla="*/ 2850 w 94803"/>
                  <a:gd name="connsiteY2" fmla="*/ 97849 h 152266"/>
                  <a:gd name="connsiteX3" fmla="*/ 0 w 94803"/>
                  <a:gd name="connsiteY3" fmla="*/ 114947 h 152266"/>
                  <a:gd name="connsiteX4" fmla="*/ 28496 w 94803"/>
                  <a:gd name="connsiteY4" fmla="*/ 151992 h 152266"/>
                  <a:gd name="connsiteX5" fmla="*/ 59842 w 94803"/>
                  <a:gd name="connsiteY5" fmla="*/ 120646 h 152266"/>
                  <a:gd name="connsiteX6" fmla="*/ 85488 w 94803"/>
                  <a:gd name="connsiteY6" fmla="*/ 63654 h 152266"/>
                  <a:gd name="connsiteX7" fmla="*/ 91187 w 94803"/>
                  <a:gd name="connsiteY7" fmla="*/ 18060 h 152266"/>
                  <a:gd name="connsiteX8" fmla="*/ 59842 w 94803"/>
                  <a:gd name="connsiteY8" fmla="*/ 963 h 152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803" h="152266">
                    <a:moveTo>
                      <a:pt x="59842" y="963"/>
                    </a:moveTo>
                    <a:cubicBezTo>
                      <a:pt x="25646" y="12361"/>
                      <a:pt x="19947" y="55105"/>
                      <a:pt x="5699" y="89300"/>
                    </a:cubicBezTo>
                    <a:cubicBezTo>
                      <a:pt x="5699" y="92150"/>
                      <a:pt x="2850" y="95000"/>
                      <a:pt x="2850" y="97849"/>
                    </a:cubicBezTo>
                    <a:cubicBezTo>
                      <a:pt x="0" y="103548"/>
                      <a:pt x="0" y="109248"/>
                      <a:pt x="0" y="114947"/>
                    </a:cubicBezTo>
                    <a:cubicBezTo>
                      <a:pt x="0" y="132044"/>
                      <a:pt x="14248" y="149142"/>
                      <a:pt x="28496" y="151992"/>
                    </a:cubicBezTo>
                    <a:cubicBezTo>
                      <a:pt x="45594" y="154841"/>
                      <a:pt x="54143" y="134894"/>
                      <a:pt x="59842" y="120646"/>
                    </a:cubicBezTo>
                    <a:cubicBezTo>
                      <a:pt x="68391" y="103548"/>
                      <a:pt x="76939" y="83601"/>
                      <a:pt x="85488" y="63654"/>
                    </a:cubicBezTo>
                    <a:cubicBezTo>
                      <a:pt x="91187" y="49406"/>
                      <a:pt x="99736" y="35158"/>
                      <a:pt x="91187" y="18060"/>
                    </a:cubicBezTo>
                    <a:cubicBezTo>
                      <a:pt x="88338" y="963"/>
                      <a:pt x="71240" y="-1887"/>
                      <a:pt x="59842" y="96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DC732E35-989C-461C-BE78-A1A51A617448}"/>
                  </a:ext>
                </a:extLst>
              </p:cNvPr>
              <p:cNvSpPr/>
              <p:nvPr/>
            </p:nvSpPr>
            <p:spPr>
              <a:xfrm>
                <a:off x="5254429" y="8941892"/>
                <a:ext cx="86255" cy="128410"/>
              </a:xfrm>
              <a:custGeom>
                <a:avLst/>
                <a:gdLst>
                  <a:gd name="connsiteX0" fmla="*/ 54143 w 86255"/>
                  <a:gd name="connsiteY0" fmla="*/ 2752 h 128410"/>
                  <a:gd name="connsiteX1" fmla="*/ 5699 w 86255"/>
                  <a:gd name="connsiteY1" fmla="*/ 76842 h 128410"/>
                  <a:gd name="connsiteX2" fmla="*/ 2850 w 86255"/>
                  <a:gd name="connsiteY2" fmla="*/ 82541 h 128410"/>
                  <a:gd name="connsiteX3" fmla="*/ 0 w 86255"/>
                  <a:gd name="connsiteY3" fmla="*/ 96789 h 128410"/>
                  <a:gd name="connsiteX4" fmla="*/ 25646 w 86255"/>
                  <a:gd name="connsiteY4" fmla="*/ 128134 h 128410"/>
                  <a:gd name="connsiteX5" fmla="*/ 54143 w 86255"/>
                  <a:gd name="connsiteY5" fmla="*/ 102488 h 128410"/>
                  <a:gd name="connsiteX6" fmla="*/ 76939 w 86255"/>
                  <a:gd name="connsiteY6" fmla="*/ 54045 h 128410"/>
                  <a:gd name="connsiteX7" fmla="*/ 82639 w 86255"/>
                  <a:gd name="connsiteY7" fmla="*/ 14150 h 128410"/>
                  <a:gd name="connsiteX8" fmla="*/ 54143 w 86255"/>
                  <a:gd name="connsiteY8" fmla="*/ 2752 h 128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255" h="128410">
                    <a:moveTo>
                      <a:pt x="54143" y="2752"/>
                    </a:moveTo>
                    <a:cubicBezTo>
                      <a:pt x="22797" y="14150"/>
                      <a:pt x="17098" y="51195"/>
                      <a:pt x="5699" y="76842"/>
                    </a:cubicBezTo>
                    <a:cubicBezTo>
                      <a:pt x="5699" y="79691"/>
                      <a:pt x="2850" y="82541"/>
                      <a:pt x="2850" y="82541"/>
                    </a:cubicBezTo>
                    <a:cubicBezTo>
                      <a:pt x="0" y="88240"/>
                      <a:pt x="0" y="91090"/>
                      <a:pt x="0" y="96789"/>
                    </a:cubicBezTo>
                    <a:cubicBezTo>
                      <a:pt x="0" y="111037"/>
                      <a:pt x="11398" y="125285"/>
                      <a:pt x="25646" y="128134"/>
                    </a:cubicBezTo>
                    <a:cubicBezTo>
                      <a:pt x="39895" y="130984"/>
                      <a:pt x="48443" y="111037"/>
                      <a:pt x="54143" y="102488"/>
                    </a:cubicBezTo>
                    <a:cubicBezTo>
                      <a:pt x="62691" y="88240"/>
                      <a:pt x="71240" y="71142"/>
                      <a:pt x="76939" y="54045"/>
                    </a:cubicBezTo>
                    <a:cubicBezTo>
                      <a:pt x="82639" y="42646"/>
                      <a:pt x="91187" y="28398"/>
                      <a:pt x="82639" y="14150"/>
                    </a:cubicBezTo>
                    <a:cubicBezTo>
                      <a:pt x="76939" y="-98"/>
                      <a:pt x="65541" y="-2947"/>
                      <a:pt x="54143" y="2752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62359CF7-596B-45C4-96B0-22FBB1FC8767}"/>
                  </a:ext>
                </a:extLst>
              </p:cNvPr>
              <p:cNvSpPr/>
              <p:nvPr/>
            </p:nvSpPr>
            <p:spPr>
              <a:xfrm>
                <a:off x="5300022" y="8980106"/>
                <a:ext cx="62280" cy="95990"/>
              </a:xfrm>
              <a:custGeom>
                <a:avLst/>
                <a:gdLst>
                  <a:gd name="connsiteX0" fmla="*/ 39895 w 62280"/>
                  <a:gd name="connsiteY0" fmla="*/ 1583 h 95990"/>
                  <a:gd name="connsiteX1" fmla="*/ 2850 w 62280"/>
                  <a:gd name="connsiteY1" fmla="*/ 55726 h 95990"/>
                  <a:gd name="connsiteX2" fmla="*/ 2850 w 62280"/>
                  <a:gd name="connsiteY2" fmla="*/ 61424 h 95990"/>
                  <a:gd name="connsiteX3" fmla="*/ 0 w 62280"/>
                  <a:gd name="connsiteY3" fmla="*/ 72823 h 95990"/>
                  <a:gd name="connsiteX4" fmla="*/ 17098 w 62280"/>
                  <a:gd name="connsiteY4" fmla="*/ 95620 h 95990"/>
                  <a:gd name="connsiteX5" fmla="*/ 39895 w 62280"/>
                  <a:gd name="connsiteY5" fmla="*/ 75672 h 95990"/>
                  <a:gd name="connsiteX6" fmla="*/ 56992 w 62280"/>
                  <a:gd name="connsiteY6" fmla="*/ 38628 h 95990"/>
                  <a:gd name="connsiteX7" fmla="*/ 59842 w 62280"/>
                  <a:gd name="connsiteY7" fmla="*/ 10132 h 95990"/>
                  <a:gd name="connsiteX8" fmla="*/ 39895 w 62280"/>
                  <a:gd name="connsiteY8" fmla="*/ 1583 h 95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2280" h="95990">
                    <a:moveTo>
                      <a:pt x="39895" y="1583"/>
                    </a:moveTo>
                    <a:cubicBezTo>
                      <a:pt x="17098" y="10132"/>
                      <a:pt x="14248" y="35778"/>
                      <a:pt x="2850" y="55726"/>
                    </a:cubicBezTo>
                    <a:cubicBezTo>
                      <a:pt x="2850" y="58575"/>
                      <a:pt x="2850" y="58575"/>
                      <a:pt x="2850" y="61424"/>
                    </a:cubicBezTo>
                    <a:cubicBezTo>
                      <a:pt x="2850" y="64274"/>
                      <a:pt x="0" y="67124"/>
                      <a:pt x="0" y="72823"/>
                    </a:cubicBezTo>
                    <a:cubicBezTo>
                      <a:pt x="0" y="84222"/>
                      <a:pt x="8549" y="92770"/>
                      <a:pt x="17098" y="95620"/>
                    </a:cubicBezTo>
                    <a:cubicBezTo>
                      <a:pt x="28496" y="98470"/>
                      <a:pt x="34195" y="84222"/>
                      <a:pt x="39895" y="75672"/>
                    </a:cubicBezTo>
                    <a:cubicBezTo>
                      <a:pt x="45594" y="64274"/>
                      <a:pt x="51293" y="52876"/>
                      <a:pt x="56992" y="38628"/>
                    </a:cubicBezTo>
                    <a:cubicBezTo>
                      <a:pt x="59842" y="30079"/>
                      <a:pt x="65541" y="21530"/>
                      <a:pt x="59842" y="10132"/>
                    </a:cubicBezTo>
                    <a:cubicBezTo>
                      <a:pt x="56992" y="-1267"/>
                      <a:pt x="45594" y="-1267"/>
                      <a:pt x="39895" y="158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727DF7F7-391A-491F-BA41-E551D2625C46}"/>
                  </a:ext>
                </a:extLst>
              </p:cNvPr>
              <p:cNvSpPr/>
              <p:nvPr/>
            </p:nvSpPr>
            <p:spPr>
              <a:xfrm>
                <a:off x="5181988" y="8896200"/>
                <a:ext cx="133023" cy="168126"/>
              </a:xfrm>
              <a:custGeom>
                <a:avLst/>
                <a:gdLst>
                  <a:gd name="connsiteX0" fmla="*/ 61043 w 133023"/>
                  <a:gd name="connsiteY0" fmla="*/ 168127 h 168126"/>
                  <a:gd name="connsiteX1" fmla="*/ 49644 w 133023"/>
                  <a:gd name="connsiteY1" fmla="*/ 165277 h 168126"/>
                  <a:gd name="connsiteX2" fmla="*/ 23998 w 133023"/>
                  <a:gd name="connsiteY2" fmla="*/ 125383 h 168126"/>
                  <a:gd name="connsiteX3" fmla="*/ 23998 w 133023"/>
                  <a:gd name="connsiteY3" fmla="*/ 125383 h 168126"/>
                  <a:gd name="connsiteX4" fmla="*/ 12599 w 133023"/>
                  <a:gd name="connsiteY4" fmla="*/ 122533 h 168126"/>
                  <a:gd name="connsiteX5" fmla="*/ 1201 w 133023"/>
                  <a:gd name="connsiteY5" fmla="*/ 105435 h 168126"/>
                  <a:gd name="connsiteX6" fmla="*/ 32547 w 133023"/>
                  <a:gd name="connsiteY6" fmla="*/ 2850 h 168126"/>
                  <a:gd name="connsiteX7" fmla="*/ 41095 w 133023"/>
                  <a:gd name="connsiteY7" fmla="*/ 0 h 168126"/>
                  <a:gd name="connsiteX8" fmla="*/ 43945 w 133023"/>
                  <a:gd name="connsiteY8" fmla="*/ 8549 h 168126"/>
                  <a:gd name="connsiteX9" fmla="*/ 12599 w 133023"/>
                  <a:gd name="connsiteY9" fmla="*/ 102585 h 168126"/>
                  <a:gd name="connsiteX10" fmla="*/ 18299 w 133023"/>
                  <a:gd name="connsiteY10" fmla="*/ 111135 h 168126"/>
                  <a:gd name="connsiteX11" fmla="*/ 35396 w 133023"/>
                  <a:gd name="connsiteY11" fmla="*/ 113985 h 168126"/>
                  <a:gd name="connsiteX12" fmla="*/ 89539 w 133023"/>
                  <a:gd name="connsiteY12" fmla="*/ 17098 h 168126"/>
                  <a:gd name="connsiteX13" fmla="*/ 100937 w 133023"/>
                  <a:gd name="connsiteY13" fmla="*/ 8549 h 168126"/>
                  <a:gd name="connsiteX14" fmla="*/ 120884 w 133023"/>
                  <a:gd name="connsiteY14" fmla="*/ 17098 h 168126"/>
                  <a:gd name="connsiteX15" fmla="*/ 106636 w 133023"/>
                  <a:gd name="connsiteY15" fmla="*/ 125383 h 168126"/>
                  <a:gd name="connsiteX16" fmla="*/ 61043 w 133023"/>
                  <a:gd name="connsiteY16" fmla="*/ 168127 h 168126"/>
                  <a:gd name="connsiteX17" fmla="*/ 35396 w 133023"/>
                  <a:gd name="connsiteY17" fmla="*/ 122533 h 168126"/>
                  <a:gd name="connsiteX18" fmla="*/ 55343 w 133023"/>
                  <a:gd name="connsiteY18" fmla="*/ 153879 h 168126"/>
                  <a:gd name="connsiteX19" fmla="*/ 92388 w 133023"/>
                  <a:gd name="connsiteY19" fmla="*/ 113985 h 168126"/>
                  <a:gd name="connsiteX20" fmla="*/ 109486 w 133023"/>
                  <a:gd name="connsiteY20" fmla="*/ 19947 h 168126"/>
                  <a:gd name="connsiteX21" fmla="*/ 98088 w 133023"/>
                  <a:gd name="connsiteY21" fmla="*/ 14248 h 168126"/>
                  <a:gd name="connsiteX22" fmla="*/ 95238 w 133023"/>
                  <a:gd name="connsiteY22" fmla="*/ 17098 h 168126"/>
                  <a:gd name="connsiteX23" fmla="*/ 35396 w 133023"/>
                  <a:gd name="connsiteY23" fmla="*/ 122533 h 168126"/>
                  <a:gd name="connsiteX24" fmla="*/ 35396 w 133023"/>
                  <a:gd name="connsiteY24" fmla="*/ 122533 h 168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33023" h="168126">
                    <a:moveTo>
                      <a:pt x="61043" y="168127"/>
                    </a:moveTo>
                    <a:cubicBezTo>
                      <a:pt x="58193" y="168127"/>
                      <a:pt x="55343" y="168127"/>
                      <a:pt x="49644" y="165277"/>
                    </a:cubicBezTo>
                    <a:cubicBezTo>
                      <a:pt x="32547" y="156729"/>
                      <a:pt x="23998" y="125383"/>
                      <a:pt x="23998" y="125383"/>
                    </a:cubicBezTo>
                    <a:lnTo>
                      <a:pt x="23998" y="125383"/>
                    </a:lnTo>
                    <a:cubicBezTo>
                      <a:pt x="18299" y="125383"/>
                      <a:pt x="15449" y="122533"/>
                      <a:pt x="12599" y="122533"/>
                    </a:cubicBezTo>
                    <a:cubicBezTo>
                      <a:pt x="6900" y="119683"/>
                      <a:pt x="1201" y="113985"/>
                      <a:pt x="1201" y="105435"/>
                    </a:cubicBezTo>
                    <a:cubicBezTo>
                      <a:pt x="-7348" y="74089"/>
                      <a:pt x="32547" y="5699"/>
                      <a:pt x="32547" y="2850"/>
                    </a:cubicBezTo>
                    <a:cubicBezTo>
                      <a:pt x="35396" y="0"/>
                      <a:pt x="38246" y="0"/>
                      <a:pt x="41095" y="0"/>
                    </a:cubicBezTo>
                    <a:cubicBezTo>
                      <a:pt x="43945" y="2850"/>
                      <a:pt x="43945" y="5699"/>
                      <a:pt x="43945" y="8549"/>
                    </a:cubicBezTo>
                    <a:cubicBezTo>
                      <a:pt x="32547" y="25647"/>
                      <a:pt x="6900" y="79789"/>
                      <a:pt x="12599" y="102585"/>
                    </a:cubicBezTo>
                    <a:cubicBezTo>
                      <a:pt x="12599" y="105435"/>
                      <a:pt x="15449" y="108285"/>
                      <a:pt x="18299" y="111135"/>
                    </a:cubicBezTo>
                    <a:cubicBezTo>
                      <a:pt x="23998" y="113985"/>
                      <a:pt x="29697" y="113985"/>
                      <a:pt x="35396" y="113985"/>
                    </a:cubicBezTo>
                    <a:cubicBezTo>
                      <a:pt x="49644" y="108285"/>
                      <a:pt x="69591" y="74089"/>
                      <a:pt x="89539" y="17098"/>
                    </a:cubicBezTo>
                    <a:cubicBezTo>
                      <a:pt x="89539" y="17098"/>
                      <a:pt x="92388" y="8549"/>
                      <a:pt x="100937" y="8549"/>
                    </a:cubicBezTo>
                    <a:cubicBezTo>
                      <a:pt x="106636" y="5699"/>
                      <a:pt x="115185" y="8549"/>
                      <a:pt x="120884" y="17098"/>
                    </a:cubicBezTo>
                    <a:cubicBezTo>
                      <a:pt x="146531" y="37045"/>
                      <a:pt x="126584" y="88337"/>
                      <a:pt x="106636" y="125383"/>
                    </a:cubicBezTo>
                    <a:cubicBezTo>
                      <a:pt x="92388" y="142481"/>
                      <a:pt x="78140" y="168127"/>
                      <a:pt x="61043" y="168127"/>
                    </a:cubicBezTo>
                    <a:close/>
                    <a:moveTo>
                      <a:pt x="35396" y="122533"/>
                    </a:moveTo>
                    <a:cubicBezTo>
                      <a:pt x="38246" y="131082"/>
                      <a:pt x="43945" y="151029"/>
                      <a:pt x="55343" y="153879"/>
                    </a:cubicBezTo>
                    <a:cubicBezTo>
                      <a:pt x="66742" y="159578"/>
                      <a:pt x="75291" y="151029"/>
                      <a:pt x="92388" y="113985"/>
                    </a:cubicBezTo>
                    <a:cubicBezTo>
                      <a:pt x="118035" y="65541"/>
                      <a:pt x="123734" y="31345"/>
                      <a:pt x="109486" y="19947"/>
                    </a:cubicBezTo>
                    <a:cubicBezTo>
                      <a:pt x="103787" y="14248"/>
                      <a:pt x="100937" y="14248"/>
                      <a:pt x="98088" y="14248"/>
                    </a:cubicBezTo>
                    <a:cubicBezTo>
                      <a:pt x="95238" y="14248"/>
                      <a:pt x="95238" y="17098"/>
                      <a:pt x="95238" y="17098"/>
                    </a:cubicBezTo>
                    <a:cubicBezTo>
                      <a:pt x="66742" y="99737"/>
                      <a:pt x="49644" y="116834"/>
                      <a:pt x="35396" y="122533"/>
                    </a:cubicBezTo>
                    <a:cubicBezTo>
                      <a:pt x="35396" y="122533"/>
                      <a:pt x="35396" y="122533"/>
                      <a:pt x="35396" y="122533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C2CE7A7D-7418-4FD0-8A18-B175446250E6}"/>
                  </a:ext>
                </a:extLst>
              </p:cNvPr>
              <p:cNvSpPr/>
              <p:nvPr/>
            </p:nvSpPr>
            <p:spPr>
              <a:xfrm>
                <a:off x="5247549" y="8932127"/>
                <a:ext cx="100916" cy="143598"/>
              </a:xfrm>
              <a:custGeom>
                <a:avLst/>
                <a:gdLst>
                  <a:gd name="connsiteX0" fmla="*/ 32526 w 100916"/>
                  <a:gd name="connsiteY0" fmla="*/ 143598 h 143598"/>
                  <a:gd name="connsiteX1" fmla="*/ 32526 w 100916"/>
                  <a:gd name="connsiteY1" fmla="*/ 143598 h 143598"/>
                  <a:gd name="connsiteX2" fmla="*/ 1180 w 100916"/>
                  <a:gd name="connsiteY2" fmla="*/ 123651 h 143598"/>
                  <a:gd name="connsiteX3" fmla="*/ 4030 w 100916"/>
                  <a:gd name="connsiteY3" fmla="*/ 115102 h 143598"/>
                  <a:gd name="connsiteX4" fmla="*/ 12579 w 100916"/>
                  <a:gd name="connsiteY4" fmla="*/ 117952 h 143598"/>
                  <a:gd name="connsiteX5" fmla="*/ 32526 w 100916"/>
                  <a:gd name="connsiteY5" fmla="*/ 132200 h 143598"/>
                  <a:gd name="connsiteX6" fmla="*/ 49624 w 100916"/>
                  <a:gd name="connsiteY6" fmla="*/ 120802 h 143598"/>
                  <a:gd name="connsiteX7" fmla="*/ 89518 w 100916"/>
                  <a:gd name="connsiteY7" fmla="*/ 29614 h 143598"/>
                  <a:gd name="connsiteX8" fmla="*/ 83819 w 100916"/>
                  <a:gd name="connsiteY8" fmla="*/ 18216 h 143598"/>
                  <a:gd name="connsiteX9" fmla="*/ 66721 w 100916"/>
                  <a:gd name="connsiteY9" fmla="*/ 12516 h 143598"/>
                  <a:gd name="connsiteX10" fmla="*/ 58173 w 100916"/>
                  <a:gd name="connsiteY10" fmla="*/ 9666 h 143598"/>
                  <a:gd name="connsiteX11" fmla="*/ 61022 w 100916"/>
                  <a:gd name="connsiteY11" fmla="*/ 1118 h 143598"/>
                  <a:gd name="connsiteX12" fmla="*/ 89518 w 100916"/>
                  <a:gd name="connsiteY12" fmla="*/ 6818 h 143598"/>
                  <a:gd name="connsiteX13" fmla="*/ 100917 w 100916"/>
                  <a:gd name="connsiteY13" fmla="*/ 26764 h 143598"/>
                  <a:gd name="connsiteX14" fmla="*/ 58173 w 100916"/>
                  <a:gd name="connsiteY14" fmla="*/ 123651 h 143598"/>
                  <a:gd name="connsiteX15" fmla="*/ 32526 w 100916"/>
                  <a:gd name="connsiteY15" fmla="*/ 143598 h 143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0916" h="143598">
                    <a:moveTo>
                      <a:pt x="32526" y="143598"/>
                    </a:moveTo>
                    <a:cubicBezTo>
                      <a:pt x="32526" y="143598"/>
                      <a:pt x="32526" y="143598"/>
                      <a:pt x="32526" y="143598"/>
                    </a:cubicBezTo>
                    <a:cubicBezTo>
                      <a:pt x="15428" y="143598"/>
                      <a:pt x="4030" y="123651"/>
                      <a:pt x="1180" y="123651"/>
                    </a:cubicBezTo>
                    <a:cubicBezTo>
                      <a:pt x="-1669" y="120802"/>
                      <a:pt x="1180" y="117952"/>
                      <a:pt x="4030" y="115102"/>
                    </a:cubicBezTo>
                    <a:cubicBezTo>
                      <a:pt x="6880" y="112252"/>
                      <a:pt x="9729" y="115102"/>
                      <a:pt x="12579" y="117952"/>
                    </a:cubicBezTo>
                    <a:cubicBezTo>
                      <a:pt x="15428" y="120802"/>
                      <a:pt x="23977" y="132200"/>
                      <a:pt x="32526" y="132200"/>
                    </a:cubicBezTo>
                    <a:cubicBezTo>
                      <a:pt x="38225" y="132200"/>
                      <a:pt x="43924" y="129350"/>
                      <a:pt x="49624" y="120802"/>
                    </a:cubicBezTo>
                    <a:cubicBezTo>
                      <a:pt x="72421" y="89456"/>
                      <a:pt x="86669" y="43862"/>
                      <a:pt x="89518" y="29614"/>
                    </a:cubicBezTo>
                    <a:cubicBezTo>
                      <a:pt x="89518" y="23914"/>
                      <a:pt x="86669" y="21066"/>
                      <a:pt x="83819" y="18216"/>
                    </a:cubicBezTo>
                    <a:cubicBezTo>
                      <a:pt x="78120" y="12516"/>
                      <a:pt x="66721" y="12516"/>
                      <a:pt x="66721" y="12516"/>
                    </a:cubicBezTo>
                    <a:cubicBezTo>
                      <a:pt x="63872" y="12516"/>
                      <a:pt x="61022" y="12516"/>
                      <a:pt x="58173" y="9666"/>
                    </a:cubicBezTo>
                    <a:cubicBezTo>
                      <a:pt x="58173" y="6818"/>
                      <a:pt x="58173" y="3968"/>
                      <a:pt x="61022" y="1118"/>
                    </a:cubicBezTo>
                    <a:cubicBezTo>
                      <a:pt x="66721" y="-1732"/>
                      <a:pt x="80969" y="1118"/>
                      <a:pt x="89518" y="6818"/>
                    </a:cubicBezTo>
                    <a:cubicBezTo>
                      <a:pt x="98067" y="12516"/>
                      <a:pt x="100917" y="18216"/>
                      <a:pt x="100917" y="26764"/>
                    </a:cubicBezTo>
                    <a:cubicBezTo>
                      <a:pt x="100917" y="43862"/>
                      <a:pt x="83819" y="89456"/>
                      <a:pt x="58173" y="123651"/>
                    </a:cubicBezTo>
                    <a:cubicBezTo>
                      <a:pt x="49624" y="137899"/>
                      <a:pt x="41075" y="143598"/>
                      <a:pt x="32526" y="143598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5" name="图形 1">
              <a:extLst>
                <a:ext uri="{FF2B5EF4-FFF2-40B4-BE49-F238E27FC236}">
                  <a16:creationId xmlns:a16="http://schemas.microsoft.com/office/drawing/2014/main" id="{905DC5A6-28AC-4552-A301-EBCFC750F085}"/>
                </a:ext>
              </a:extLst>
            </p:cNvPr>
            <p:cNvGrpSpPr/>
            <p:nvPr/>
          </p:nvGrpSpPr>
          <p:grpSpPr>
            <a:xfrm>
              <a:off x="5168243" y="8979165"/>
              <a:ext cx="120381" cy="165632"/>
              <a:chOff x="5168243" y="8979165"/>
              <a:chExt cx="120381" cy="165632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6151D314-7051-495B-8F4F-A825E2C54B64}"/>
                  </a:ext>
                </a:extLst>
              </p:cNvPr>
              <p:cNvSpPr/>
              <p:nvPr/>
            </p:nvSpPr>
            <p:spPr>
              <a:xfrm>
                <a:off x="5170124" y="8990950"/>
                <a:ext cx="113078" cy="153847"/>
              </a:xfrm>
              <a:custGeom>
                <a:avLst/>
                <a:gdLst>
                  <a:gd name="connsiteX0" fmla="*/ 33012 w 113078"/>
                  <a:gd name="connsiteY0" fmla="*/ 7836 h 153847"/>
                  <a:gd name="connsiteX1" fmla="*/ 1667 w 113078"/>
                  <a:gd name="connsiteY1" fmla="*/ 107572 h 153847"/>
                  <a:gd name="connsiteX2" fmla="*/ 64358 w 113078"/>
                  <a:gd name="connsiteY2" fmla="*/ 153166 h 153847"/>
                  <a:gd name="connsiteX3" fmla="*/ 58659 w 113078"/>
                  <a:gd name="connsiteY3" fmla="*/ 81926 h 153847"/>
                  <a:gd name="connsiteX4" fmla="*/ 90004 w 113078"/>
                  <a:gd name="connsiteY4" fmla="*/ 30634 h 153847"/>
                  <a:gd name="connsiteX5" fmla="*/ 112801 w 113078"/>
                  <a:gd name="connsiteY5" fmla="*/ 13536 h 153847"/>
                  <a:gd name="connsiteX6" fmla="*/ 33012 w 113078"/>
                  <a:gd name="connsiteY6" fmla="*/ 7836 h 153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3078" h="153847">
                    <a:moveTo>
                      <a:pt x="33012" y="7836"/>
                    </a:moveTo>
                    <a:cubicBezTo>
                      <a:pt x="4516" y="24934"/>
                      <a:pt x="-4032" y="79076"/>
                      <a:pt x="1667" y="107572"/>
                    </a:cubicBezTo>
                    <a:cubicBezTo>
                      <a:pt x="4516" y="127520"/>
                      <a:pt x="64358" y="158866"/>
                      <a:pt x="64358" y="153166"/>
                    </a:cubicBezTo>
                    <a:cubicBezTo>
                      <a:pt x="121350" y="99024"/>
                      <a:pt x="55809" y="96174"/>
                      <a:pt x="58659" y="81926"/>
                    </a:cubicBezTo>
                    <a:cubicBezTo>
                      <a:pt x="58659" y="59130"/>
                      <a:pt x="72907" y="44882"/>
                      <a:pt x="90004" y="30634"/>
                    </a:cubicBezTo>
                    <a:cubicBezTo>
                      <a:pt x="95704" y="24934"/>
                      <a:pt x="115651" y="24934"/>
                      <a:pt x="112801" y="13536"/>
                    </a:cubicBezTo>
                    <a:cubicBezTo>
                      <a:pt x="104252" y="-6412"/>
                      <a:pt x="47260" y="-712"/>
                      <a:pt x="33012" y="7836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E6B07945-615F-42C2-9D63-D89EE634EC17}"/>
                  </a:ext>
                </a:extLst>
              </p:cNvPr>
              <p:cNvSpPr/>
              <p:nvPr/>
            </p:nvSpPr>
            <p:spPr>
              <a:xfrm>
                <a:off x="5168243" y="8979165"/>
                <a:ext cx="120381" cy="133604"/>
              </a:xfrm>
              <a:custGeom>
                <a:avLst/>
                <a:gdLst>
                  <a:gd name="connsiteX0" fmla="*/ 91885 w 120381"/>
                  <a:gd name="connsiteY0" fmla="*/ 133605 h 133604"/>
                  <a:gd name="connsiteX1" fmla="*/ 86186 w 120381"/>
                  <a:gd name="connsiteY1" fmla="*/ 130756 h 133604"/>
                  <a:gd name="connsiteX2" fmla="*/ 57690 w 120381"/>
                  <a:gd name="connsiteY2" fmla="*/ 99410 h 133604"/>
                  <a:gd name="connsiteX3" fmla="*/ 54840 w 120381"/>
                  <a:gd name="connsiteY3" fmla="*/ 93710 h 133604"/>
                  <a:gd name="connsiteX4" fmla="*/ 94735 w 120381"/>
                  <a:gd name="connsiteY4" fmla="*/ 36718 h 133604"/>
                  <a:gd name="connsiteX5" fmla="*/ 108983 w 120381"/>
                  <a:gd name="connsiteY5" fmla="*/ 22470 h 133604"/>
                  <a:gd name="connsiteX6" fmla="*/ 106133 w 120381"/>
                  <a:gd name="connsiteY6" fmla="*/ 16772 h 133604"/>
                  <a:gd name="connsiteX7" fmla="*/ 40592 w 120381"/>
                  <a:gd name="connsiteY7" fmla="*/ 22470 h 133604"/>
                  <a:gd name="connsiteX8" fmla="*/ 12096 w 120381"/>
                  <a:gd name="connsiteY8" fmla="*/ 116508 h 133604"/>
                  <a:gd name="connsiteX9" fmla="*/ 6397 w 120381"/>
                  <a:gd name="connsiteY9" fmla="*/ 122206 h 133604"/>
                  <a:gd name="connsiteX10" fmla="*/ 698 w 120381"/>
                  <a:gd name="connsiteY10" fmla="*/ 116508 h 133604"/>
                  <a:gd name="connsiteX11" fmla="*/ 34893 w 120381"/>
                  <a:gd name="connsiteY11" fmla="*/ 11072 h 133604"/>
                  <a:gd name="connsiteX12" fmla="*/ 111832 w 120381"/>
                  <a:gd name="connsiteY12" fmla="*/ 8222 h 133604"/>
                  <a:gd name="connsiteX13" fmla="*/ 120381 w 120381"/>
                  <a:gd name="connsiteY13" fmla="*/ 22470 h 133604"/>
                  <a:gd name="connsiteX14" fmla="*/ 100434 w 120381"/>
                  <a:gd name="connsiteY14" fmla="*/ 42418 h 133604"/>
                  <a:gd name="connsiteX15" fmla="*/ 66239 w 120381"/>
                  <a:gd name="connsiteY15" fmla="*/ 88012 h 133604"/>
                  <a:gd name="connsiteX16" fmla="*/ 97584 w 120381"/>
                  <a:gd name="connsiteY16" fmla="*/ 122206 h 133604"/>
                  <a:gd name="connsiteX17" fmla="*/ 91885 w 120381"/>
                  <a:gd name="connsiteY17" fmla="*/ 133605 h 133604"/>
                  <a:gd name="connsiteX18" fmla="*/ 91885 w 120381"/>
                  <a:gd name="connsiteY18" fmla="*/ 133605 h 133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0381" h="133604">
                    <a:moveTo>
                      <a:pt x="91885" y="133605"/>
                    </a:moveTo>
                    <a:cubicBezTo>
                      <a:pt x="89036" y="133605"/>
                      <a:pt x="86186" y="130756"/>
                      <a:pt x="86186" y="130756"/>
                    </a:cubicBezTo>
                    <a:cubicBezTo>
                      <a:pt x="83336" y="113658"/>
                      <a:pt x="57690" y="102260"/>
                      <a:pt x="57690" y="99410"/>
                    </a:cubicBezTo>
                    <a:cubicBezTo>
                      <a:pt x="54840" y="99410"/>
                      <a:pt x="54840" y="96560"/>
                      <a:pt x="54840" y="93710"/>
                    </a:cubicBezTo>
                    <a:cubicBezTo>
                      <a:pt x="54840" y="62365"/>
                      <a:pt x="77637" y="48116"/>
                      <a:pt x="94735" y="36718"/>
                    </a:cubicBezTo>
                    <a:cubicBezTo>
                      <a:pt x="103284" y="31020"/>
                      <a:pt x="108983" y="28170"/>
                      <a:pt x="108983" y="22470"/>
                    </a:cubicBezTo>
                    <a:cubicBezTo>
                      <a:pt x="108983" y="22470"/>
                      <a:pt x="108983" y="19620"/>
                      <a:pt x="106133" y="16772"/>
                    </a:cubicBezTo>
                    <a:cubicBezTo>
                      <a:pt x="94735" y="8222"/>
                      <a:pt x="66239" y="8222"/>
                      <a:pt x="40592" y="22470"/>
                    </a:cubicBezTo>
                    <a:cubicBezTo>
                      <a:pt x="6397" y="39568"/>
                      <a:pt x="12096" y="116508"/>
                      <a:pt x="12096" y="116508"/>
                    </a:cubicBezTo>
                    <a:cubicBezTo>
                      <a:pt x="12096" y="119357"/>
                      <a:pt x="9247" y="122206"/>
                      <a:pt x="6397" y="122206"/>
                    </a:cubicBezTo>
                    <a:cubicBezTo>
                      <a:pt x="3547" y="122206"/>
                      <a:pt x="698" y="119357"/>
                      <a:pt x="698" y="116508"/>
                    </a:cubicBezTo>
                    <a:cubicBezTo>
                      <a:pt x="698" y="113658"/>
                      <a:pt x="-7851" y="31020"/>
                      <a:pt x="34893" y="11072"/>
                    </a:cubicBezTo>
                    <a:cubicBezTo>
                      <a:pt x="66239" y="-3176"/>
                      <a:pt x="97584" y="-3176"/>
                      <a:pt x="111832" y="8222"/>
                    </a:cubicBezTo>
                    <a:cubicBezTo>
                      <a:pt x="117532" y="11072"/>
                      <a:pt x="120381" y="16772"/>
                      <a:pt x="120381" y="22470"/>
                    </a:cubicBezTo>
                    <a:cubicBezTo>
                      <a:pt x="120381" y="31020"/>
                      <a:pt x="111832" y="36718"/>
                      <a:pt x="100434" y="42418"/>
                    </a:cubicBezTo>
                    <a:cubicBezTo>
                      <a:pt x="86186" y="50966"/>
                      <a:pt x="69088" y="62365"/>
                      <a:pt x="66239" y="88012"/>
                    </a:cubicBezTo>
                    <a:cubicBezTo>
                      <a:pt x="74788" y="93710"/>
                      <a:pt x="94735" y="105109"/>
                      <a:pt x="97584" y="122206"/>
                    </a:cubicBezTo>
                    <a:cubicBezTo>
                      <a:pt x="97584" y="130756"/>
                      <a:pt x="94735" y="133605"/>
                      <a:pt x="91885" y="133605"/>
                    </a:cubicBezTo>
                    <a:cubicBezTo>
                      <a:pt x="91885" y="133605"/>
                      <a:pt x="91885" y="133605"/>
                      <a:pt x="91885" y="133605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6" name="图形 1">
              <a:extLst>
                <a:ext uri="{FF2B5EF4-FFF2-40B4-BE49-F238E27FC236}">
                  <a16:creationId xmlns:a16="http://schemas.microsoft.com/office/drawing/2014/main" id="{F56F3444-0DBC-40AD-AB4B-FDC7A4903187}"/>
                </a:ext>
              </a:extLst>
            </p:cNvPr>
            <p:cNvGrpSpPr/>
            <p:nvPr/>
          </p:nvGrpSpPr>
          <p:grpSpPr>
            <a:xfrm>
              <a:off x="3954700" y="9983739"/>
              <a:ext cx="273871" cy="267530"/>
              <a:chOff x="3954700" y="9983739"/>
              <a:chExt cx="273871" cy="267530"/>
            </a:xfrm>
          </p:grpSpPr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B7D46810-F49B-46EF-B006-37C09BA44909}"/>
                  </a:ext>
                </a:extLst>
              </p:cNvPr>
              <p:cNvSpPr/>
              <p:nvPr/>
            </p:nvSpPr>
            <p:spPr>
              <a:xfrm>
                <a:off x="3954700" y="9994027"/>
                <a:ext cx="273871" cy="257242"/>
              </a:xfrm>
              <a:custGeom>
                <a:avLst/>
                <a:gdLst>
                  <a:gd name="connsiteX0" fmla="*/ 154188 w 273871"/>
                  <a:gd name="connsiteY0" fmla="*/ 221540 h 257242"/>
                  <a:gd name="connsiteX1" fmla="*/ 236827 w 273871"/>
                  <a:gd name="connsiteY1" fmla="*/ 218690 h 257242"/>
                  <a:gd name="connsiteX2" fmla="*/ 248225 w 273871"/>
                  <a:gd name="connsiteY2" fmla="*/ 167398 h 257242"/>
                  <a:gd name="connsiteX3" fmla="*/ 273872 w 273871"/>
                  <a:gd name="connsiteY3" fmla="*/ 136052 h 257242"/>
                  <a:gd name="connsiteX4" fmla="*/ 259624 w 273871"/>
                  <a:gd name="connsiteY4" fmla="*/ 107556 h 257242"/>
                  <a:gd name="connsiteX5" fmla="*/ 248225 w 273871"/>
                  <a:gd name="connsiteY5" fmla="*/ 53413 h 257242"/>
                  <a:gd name="connsiteX6" fmla="*/ 251075 w 273871"/>
                  <a:gd name="connsiteY6" fmla="*/ 16368 h 257242"/>
                  <a:gd name="connsiteX7" fmla="*/ 188383 w 273871"/>
                  <a:gd name="connsiteY7" fmla="*/ 10669 h 257242"/>
                  <a:gd name="connsiteX8" fmla="*/ 310 w 273871"/>
                  <a:gd name="connsiteY8" fmla="*/ 164548 h 257242"/>
                  <a:gd name="connsiteX9" fmla="*/ 40204 w 273871"/>
                  <a:gd name="connsiteY9" fmla="*/ 244336 h 257242"/>
                  <a:gd name="connsiteX10" fmla="*/ 154188 w 273871"/>
                  <a:gd name="connsiteY10" fmla="*/ 221540 h 257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3871" h="257242">
                    <a:moveTo>
                      <a:pt x="154188" y="221540"/>
                    </a:moveTo>
                    <a:cubicBezTo>
                      <a:pt x="188383" y="215840"/>
                      <a:pt x="205481" y="230088"/>
                      <a:pt x="236827" y="218690"/>
                    </a:cubicBezTo>
                    <a:cubicBezTo>
                      <a:pt x="262473" y="210142"/>
                      <a:pt x="262473" y="184495"/>
                      <a:pt x="248225" y="167398"/>
                    </a:cubicBezTo>
                    <a:cubicBezTo>
                      <a:pt x="268172" y="164548"/>
                      <a:pt x="273872" y="155999"/>
                      <a:pt x="273872" y="136052"/>
                    </a:cubicBezTo>
                    <a:cubicBezTo>
                      <a:pt x="273872" y="127503"/>
                      <a:pt x="265323" y="110406"/>
                      <a:pt x="259624" y="107556"/>
                    </a:cubicBezTo>
                    <a:cubicBezTo>
                      <a:pt x="276721" y="101856"/>
                      <a:pt x="271022" y="59112"/>
                      <a:pt x="248225" y="53413"/>
                    </a:cubicBezTo>
                    <a:cubicBezTo>
                      <a:pt x="262473" y="42015"/>
                      <a:pt x="253924" y="24917"/>
                      <a:pt x="251075" y="16368"/>
                    </a:cubicBezTo>
                    <a:cubicBezTo>
                      <a:pt x="236827" y="-14977"/>
                      <a:pt x="202631" y="7820"/>
                      <a:pt x="188383" y="10669"/>
                    </a:cubicBezTo>
                    <a:cubicBezTo>
                      <a:pt x="100046" y="27767"/>
                      <a:pt x="28806" y="113255"/>
                      <a:pt x="310" y="164548"/>
                    </a:cubicBezTo>
                    <a:cubicBezTo>
                      <a:pt x="-2540" y="161698"/>
                      <a:pt x="14558" y="210142"/>
                      <a:pt x="40204" y="244336"/>
                    </a:cubicBezTo>
                    <a:cubicBezTo>
                      <a:pt x="60151" y="264284"/>
                      <a:pt x="105745" y="264284"/>
                      <a:pt x="154188" y="221540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C82CC6EF-AC42-4C15-9D77-87FC626A1AA3}"/>
                  </a:ext>
                </a:extLst>
              </p:cNvPr>
              <p:cNvSpPr/>
              <p:nvPr/>
            </p:nvSpPr>
            <p:spPr>
              <a:xfrm>
                <a:off x="4062114" y="9983739"/>
                <a:ext cx="156008" cy="69400"/>
              </a:xfrm>
              <a:custGeom>
                <a:avLst/>
                <a:gdLst>
                  <a:gd name="connsiteX0" fmla="*/ 146510 w 156008"/>
                  <a:gd name="connsiteY0" fmla="*/ 69400 h 69400"/>
                  <a:gd name="connsiteX1" fmla="*/ 146510 w 156008"/>
                  <a:gd name="connsiteY1" fmla="*/ 69400 h 69400"/>
                  <a:gd name="connsiteX2" fmla="*/ 140811 w 156008"/>
                  <a:gd name="connsiteY2" fmla="*/ 60852 h 69400"/>
                  <a:gd name="connsiteX3" fmla="*/ 143660 w 156008"/>
                  <a:gd name="connsiteY3" fmla="*/ 23807 h 69400"/>
                  <a:gd name="connsiteX4" fmla="*/ 129412 w 156008"/>
                  <a:gd name="connsiteY4" fmla="*/ 15258 h 69400"/>
                  <a:gd name="connsiteX5" fmla="*/ 9729 w 156008"/>
                  <a:gd name="connsiteY5" fmla="*/ 55152 h 69400"/>
                  <a:gd name="connsiteX6" fmla="*/ 1180 w 156008"/>
                  <a:gd name="connsiteY6" fmla="*/ 52303 h 69400"/>
                  <a:gd name="connsiteX7" fmla="*/ 4030 w 156008"/>
                  <a:gd name="connsiteY7" fmla="*/ 43754 h 69400"/>
                  <a:gd name="connsiteX8" fmla="*/ 129412 w 156008"/>
                  <a:gd name="connsiteY8" fmla="*/ 1010 h 69400"/>
                  <a:gd name="connsiteX9" fmla="*/ 152209 w 156008"/>
                  <a:gd name="connsiteY9" fmla="*/ 15258 h 69400"/>
                  <a:gd name="connsiteX10" fmla="*/ 152209 w 156008"/>
                  <a:gd name="connsiteY10" fmla="*/ 60852 h 69400"/>
                  <a:gd name="connsiteX11" fmla="*/ 146510 w 156008"/>
                  <a:gd name="connsiteY11" fmla="*/ 69400 h 69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6008" h="69400">
                    <a:moveTo>
                      <a:pt x="146510" y="69400"/>
                    </a:moveTo>
                    <a:cubicBezTo>
                      <a:pt x="143660" y="69400"/>
                      <a:pt x="143660" y="69400"/>
                      <a:pt x="146510" y="69400"/>
                    </a:cubicBezTo>
                    <a:cubicBezTo>
                      <a:pt x="140811" y="66551"/>
                      <a:pt x="140811" y="63702"/>
                      <a:pt x="140811" y="60852"/>
                    </a:cubicBezTo>
                    <a:cubicBezTo>
                      <a:pt x="140811" y="60852"/>
                      <a:pt x="149360" y="38055"/>
                      <a:pt x="143660" y="23807"/>
                    </a:cubicBezTo>
                    <a:cubicBezTo>
                      <a:pt x="140811" y="18108"/>
                      <a:pt x="135112" y="15258"/>
                      <a:pt x="129412" y="15258"/>
                    </a:cubicBezTo>
                    <a:cubicBezTo>
                      <a:pt x="89518" y="6710"/>
                      <a:pt x="9729" y="55152"/>
                      <a:pt x="9729" y="55152"/>
                    </a:cubicBezTo>
                    <a:cubicBezTo>
                      <a:pt x="6880" y="58002"/>
                      <a:pt x="4030" y="55152"/>
                      <a:pt x="1180" y="52303"/>
                    </a:cubicBezTo>
                    <a:cubicBezTo>
                      <a:pt x="-1669" y="49454"/>
                      <a:pt x="1180" y="46604"/>
                      <a:pt x="4030" y="43754"/>
                    </a:cubicBezTo>
                    <a:cubicBezTo>
                      <a:pt x="6880" y="40904"/>
                      <a:pt x="86668" y="-7538"/>
                      <a:pt x="129412" y="1010"/>
                    </a:cubicBezTo>
                    <a:cubicBezTo>
                      <a:pt x="140811" y="3860"/>
                      <a:pt x="146510" y="6710"/>
                      <a:pt x="152209" y="15258"/>
                    </a:cubicBezTo>
                    <a:cubicBezTo>
                      <a:pt x="160758" y="32356"/>
                      <a:pt x="152209" y="60852"/>
                      <a:pt x="152209" y="60852"/>
                    </a:cubicBezTo>
                    <a:cubicBezTo>
                      <a:pt x="149360" y="66551"/>
                      <a:pt x="146510" y="69400"/>
                      <a:pt x="146510" y="694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50E115CC-C103-4701-8F17-3CB5FD24EBD5}"/>
                  </a:ext>
                </a:extLst>
              </p:cNvPr>
              <p:cNvSpPr/>
              <p:nvPr/>
            </p:nvSpPr>
            <p:spPr>
              <a:xfrm>
                <a:off x="4163030" y="10067387"/>
                <a:ext cx="15843" cy="94037"/>
              </a:xfrm>
              <a:custGeom>
                <a:avLst/>
                <a:gdLst>
                  <a:gd name="connsiteX0" fmla="*/ 5699 w 15843"/>
                  <a:gd name="connsiteY0" fmla="*/ 94037 h 94037"/>
                  <a:gd name="connsiteX1" fmla="*/ 5699 w 15843"/>
                  <a:gd name="connsiteY1" fmla="*/ 94037 h 94037"/>
                  <a:gd name="connsiteX2" fmla="*/ 0 w 15843"/>
                  <a:gd name="connsiteY2" fmla="*/ 88338 h 94037"/>
                  <a:gd name="connsiteX3" fmla="*/ 5699 w 15843"/>
                  <a:gd name="connsiteY3" fmla="*/ 5700 h 94037"/>
                  <a:gd name="connsiteX4" fmla="*/ 8549 w 15843"/>
                  <a:gd name="connsiteY4" fmla="*/ 0 h 94037"/>
                  <a:gd name="connsiteX5" fmla="*/ 14248 w 15843"/>
                  <a:gd name="connsiteY5" fmla="*/ 2850 h 94037"/>
                  <a:gd name="connsiteX6" fmla="*/ 8549 w 15843"/>
                  <a:gd name="connsiteY6" fmla="*/ 88338 h 94037"/>
                  <a:gd name="connsiteX7" fmla="*/ 5699 w 15843"/>
                  <a:gd name="connsiteY7" fmla="*/ 94037 h 9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843" h="94037">
                    <a:moveTo>
                      <a:pt x="5699" y="94037"/>
                    </a:moveTo>
                    <a:cubicBezTo>
                      <a:pt x="5699" y="94037"/>
                      <a:pt x="5699" y="94037"/>
                      <a:pt x="5699" y="94037"/>
                    </a:cubicBezTo>
                    <a:cubicBezTo>
                      <a:pt x="2850" y="94037"/>
                      <a:pt x="0" y="91188"/>
                      <a:pt x="0" y="88338"/>
                    </a:cubicBezTo>
                    <a:cubicBezTo>
                      <a:pt x="2850" y="71240"/>
                      <a:pt x="8549" y="22797"/>
                      <a:pt x="5699" y="5700"/>
                    </a:cubicBezTo>
                    <a:cubicBezTo>
                      <a:pt x="5699" y="2850"/>
                      <a:pt x="5699" y="0"/>
                      <a:pt x="8549" y="0"/>
                    </a:cubicBezTo>
                    <a:cubicBezTo>
                      <a:pt x="11398" y="0"/>
                      <a:pt x="14248" y="0"/>
                      <a:pt x="14248" y="2850"/>
                    </a:cubicBezTo>
                    <a:cubicBezTo>
                      <a:pt x="19947" y="22797"/>
                      <a:pt x="8549" y="85488"/>
                      <a:pt x="8549" y="88338"/>
                    </a:cubicBezTo>
                    <a:cubicBezTo>
                      <a:pt x="11398" y="91188"/>
                      <a:pt x="8549" y="94037"/>
                      <a:pt x="5699" y="94037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2443540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7EDA10CF-62A3-449C-BDA0-42D71679D382}"/>
              </a:ext>
            </a:extLst>
          </p:cNvPr>
          <p:cNvGrpSpPr/>
          <p:nvPr/>
        </p:nvGrpSpPr>
        <p:grpSpPr>
          <a:xfrm>
            <a:off x="2487198" y="2070660"/>
            <a:ext cx="3031326" cy="4787340"/>
            <a:chOff x="9802397" y="7645219"/>
            <a:chExt cx="3031326" cy="4787340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FBA811F9-960D-4B6D-9574-A989C6F2ECE3}"/>
                </a:ext>
              </a:extLst>
            </p:cNvPr>
            <p:cNvSpPr/>
            <p:nvPr/>
          </p:nvSpPr>
          <p:spPr>
            <a:xfrm>
              <a:off x="11445970" y="8622639"/>
              <a:ext cx="952641" cy="672955"/>
            </a:xfrm>
            <a:custGeom>
              <a:avLst/>
              <a:gdLst>
                <a:gd name="connsiteX0" fmla="*/ 14896 w 952641"/>
                <a:gd name="connsiteY0" fmla="*/ 119683 h 672955"/>
                <a:gd name="connsiteX1" fmla="*/ 410992 w 952641"/>
                <a:gd name="connsiteY1" fmla="*/ 205171 h 672955"/>
                <a:gd name="connsiteX2" fmla="*/ 741545 w 952641"/>
                <a:gd name="connsiteY2" fmla="*/ 427441 h 672955"/>
                <a:gd name="connsiteX3" fmla="*/ 852681 w 952641"/>
                <a:gd name="connsiteY3" fmla="*/ 0 h 672955"/>
                <a:gd name="connsiteX4" fmla="*/ 952417 w 952641"/>
                <a:gd name="connsiteY4" fmla="*/ 56992 h 672955"/>
                <a:gd name="connsiteX5" fmla="*/ 872627 w 952641"/>
                <a:gd name="connsiteY5" fmla="*/ 658259 h 672955"/>
                <a:gd name="connsiteX6" fmla="*/ 14896 w 952641"/>
                <a:gd name="connsiteY6" fmla="*/ 119683 h 672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641" h="672955">
                  <a:moveTo>
                    <a:pt x="14896" y="119683"/>
                  </a:moveTo>
                  <a:cubicBezTo>
                    <a:pt x="74738" y="28496"/>
                    <a:pt x="316954" y="156728"/>
                    <a:pt x="410992" y="205171"/>
                  </a:cubicBezTo>
                  <a:cubicBezTo>
                    <a:pt x="493630" y="247915"/>
                    <a:pt x="741545" y="427441"/>
                    <a:pt x="741545" y="427441"/>
                  </a:cubicBezTo>
                  <a:lnTo>
                    <a:pt x="852681" y="0"/>
                  </a:lnTo>
                  <a:lnTo>
                    <a:pt x="952417" y="56992"/>
                  </a:lnTo>
                  <a:cubicBezTo>
                    <a:pt x="952417" y="56992"/>
                    <a:pt x="960965" y="601267"/>
                    <a:pt x="872627" y="658259"/>
                  </a:cubicBezTo>
                  <a:cubicBezTo>
                    <a:pt x="724448" y="757995"/>
                    <a:pt x="-121884" y="324855"/>
                    <a:pt x="14896" y="119683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813796DB-9F90-40A7-93B9-C45EE07FEE45}"/>
                </a:ext>
              </a:extLst>
            </p:cNvPr>
            <p:cNvSpPr/>
            <p:nvPr/>
          </p:nvSpPr>
          <p:spPr>
            <a:xfrm>
              <a:off x="11334597" y="8598745"/>
              <a:ext cx="539462" cy="508326"/>
            </a:xfrm>
            <a:custGeom>
              <a:avLst/>
              <a:gdLst>
                <a:gd name="connsiteX0" fmla="*/ 314344 w 539462"/>
                <a:gd name="connsiteY0" fmla="*/ 508326 h 508326"/>
                <a:gd name="connsiteX1" fmla="*/ 6587 w 539462"/>
                <a:gd name="connsiteY1" fmla="*/ 40991 h 508326"/>
                <a:gd name="connsiteX2" fmla="*/ 539462 w 539462"/>
                <a:gd name="connsiteY2" fmla="*/ 183471 h 508326"/>
                <a:gd name="connsiteX3" fmla="*/ 314344 w 539462"/>
                <a:gd name="connsiteY3" fmla="*/ 508326 h 50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9462" h="508326">
                  <a:moveTo>
                    <a:pt x="314344" y="508326"/>
                  </a:moveTo>
                  <a:cubicBezTo>
                    <a:pt x="314344" y="508326"/>
                    <a:pt x="-53255" y="163524"/>
                    <a:pt x="6587" y="40991"/>
                  </a:cubicBezTo>
                  <a:cubicBezTo>
                    <a:pt x="74977" y="-104339"/>
                    <a:pt x="539462" y="183471"/>
                    <a:pt x="539462" y="183471"/>
                  </a:cubicBezTo>
                  <a:cubicBezTo>
                    <a:pt x="539462" y="183471"/>
                    <a:pt x="471072" y="388642"/>
                    <a:pt x="314344" y="508326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72F910B7-C0D0-4A1F-AA79-115A57839AC6}"/>
                </a:ext>
              </a:extLst>
            </p:cNvPr>
            <p:cNvGrpSpPr/>
            <p:nvPr/>
          </p:nvGrpSpPr>
          <p:grpSpPr>
            <a:xfrm>
              <a:off x="11239547" y="11968074"/>
              <a:ext cx="452137" cy="319155"/>
              <a:chOff x="11239547" y="11968074"/>
              <a:chExt cx="452137" cy="319155"/>
            </a:xfrm>
          </p:grpSpPr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C39BF8F9-5CE6-46EA-A00B-11F36B0E0C97}"/>
                  </a:ext>
                </a:extLst>
              </p:cNvPr>
              <p:cNvSpPr/>
              <p:nvPr/>
            </p:nvSpPr>
            <p:spPr>
              <a:xfrm>
                <a:off x="11247146" y="11968074"/>
                <a:ext cx="199472" cy="208020"/>
              </a:xfrm>
              <a:custGeom>
                <a:avLst/>
                <a:gdLst>
                  <a:gd name="connsiteX0" fmla="*/ 0 w 199472"/>
                  <a:gd name="connsiteY0" fmla="*/ 170976 h 208020"/>
                  <a:gd name="connsiteX1" fmla="*/ 11399 w 199472"/>
                  <a:gd name="connsiteY1" fmla="*/ 0 h 208020"/>
                  <a:gd name="connsiteX2" fmla="*/ 199472 w 199472"/>
                  <a:gd name="connsiteY2" fmla="*/ 0 h 208020"/>
                  <a:gd name="connsiteX3" fmla="*/ 153879 w 199472"/>
                  <a:gd name="connsiteY3" fmla="*/ 182375 h 208020"/>
                  <a:gd name="connsiteX4" fmla="*/ 11399 w 199472"/>
                  <a:gd name="connsiteY4" fmla="*/ 208021 h 20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472" h="208020">
                    <a:moveTo>
                      <a:pt x="0" y="170976"/>
                    </a:moveTo>
                    <a:lnTo>
                      <a:pt x="11399" y="0"/>
                    </a:lnTo>
                    <a:lnTo>
                      <a:pt x="199472" y="0"/>
                    </a:lnTo>
                    <a:lnTo>
                      <a:pt x="153879" y="182375"/>
                    </a:lnTo>
                    <a:lnTo>
                      <a:pt x="11399" y="208021"/>
                    </a:ln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DE387C2F-6FC2-44D8-B521-562919FECDDB}"/>
                  </a:ext>
                </a:extLst>
              </p:cNvPr>
              <p:cNvSpPr/>
              <p:nvPr/>
            </p:nvSpPr>
            <p:spPr>
              <a:xfrm>
                <a:off x="11239547" y="12096306"/>
                <a:ext cx="452137" cy="148179"/>
              </a:xfrm>
              <a:custGeom>
                <a:avLst/>
                <a:gdLst>
                  <a:gd name="connsiteX0" fmla="*/ 7599 w 452137"/>
                  <a:gd name="connsiteY0" fmla="*/ 42744 h 148179"/>
                  <a:gd name="connsiteX1" fmla="*/ 170026 w 452137"/>
                  <a:gd name="connsiteY1" fmla="*/ 0 h 148179"/>
                  <a:gd name="connsiteX2" fmla="*/ 295409 w 452137"/>
                  <a:gd name="connsiteY2" fmla="*/ 74090 h 148179"/>
                  <a:gd name="connsiteX3" fmla="*/ 452137 w 452137"/>
                  <a:gd name="connsiteY3" fmla="*/ 148180 h 148179"/>
                  <a:gd name="connsiteX4" fmla="*/ 7599 w 452137"/>
                  <a:gd name="connsiteY4" fmla="*/ 148180 h 148179"/>
                  <a:gd name="connsiteX5" fmla="*/ 7599 w 452137"/>
                  <a:gd name="connsiteY5" fmla="*/ 42744 h 148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2137" h="148179">
                    <a:moveTo>
                      <a:pt x="7599" y="42744"/>
                    </a:moveTo>
                    <a:cubicBezTo>
                      <a:pt x="7599" y="42744"/>
                      <a:pt x="110185" y="59842"/>
                      <a:pt x="170026" y="0"/>
                    </a:cubicBezTo>
                    <a:cubicBezTo>
                      <a:pt x="170026" y="0"/>
                      <a:pt x="252665" y="65541"/>
                      <a:pt x="295409" y="74090"/>
                    </a:cubicBezTo>
                    <a:cubicBezTo>
                      <a:pt x="338153" y="82638"/>
                      <a:pt x="440739" y="79789"/>
                      <a:pt x="452137" y="148180"/>
                    </a:cubicBezTo>
                    <a:lnTo>
                      <a:pt x="7599" y="148180"/>
                    </a:lnTo>
                    <a:cubicBezTo>
                      <a:pt x="7599" y="148180"/>
                      <a:pt x="-9498" y="91188"/>
                      <a:pt x="7599" y="42744"/>
                    </a:cubicBezTo>
                    <a:close/>
                  </a:path>
                </a:pathLst>
              </a:custGeom>
              <a:solidFill>
                <a:srgbClr val="6C5D6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6A01980A-549B-4748-AEFA-D9CDD1EA63CC}"/>
                  </a:ext>
                </a:extLst>
              </p:cNvPr>
              <p:cNvSpPr/>
              <p:nvPr/>
            </p:nvSpPr>
            <p:spPr>
              <a:xfrm>
                <a:off x="11247146" y="12244485"/>
                <a:ext cx="444538" cy="42744"/>
              </a:xfrm>
              <a:custGeom>
                <a:avLst/>
                <a:gdLst>
                  <a:gd name="connsiteX0" fmla="*/ 0 w 444538"/>
                  <a:gd name="connsiteY0" fmla="*/ 0 h 42744"/>
                  <a:gd name="connsiteX1" fmla="*/ 444538 w 444538"/>
                  <a:gd name="connsiteY1" fmla="*/ 0 h 42744"/>
                  <a:gd name="connsiteX2" fmla="*/ 444538 w 444538"/>
                  <a:gd name="connsiteY2" fmla="*/ 42744 h 42744"/>
                  <a:gd name="connsiteX3" fmla="*/ 0 w 444538"/>
                  <a:gd name="connsiteY3" fmla="*/ 42744 h 42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4538" h="42744">
                    <a:moveTo>
                      <a:pt x="0" y="0"/>
                    </a:moveTo>
                    <a:lnTo>
                      <a:pt x="444538" y="0"/>
                    </a:lnTo>
                    <a:lnTo>
                      <a:pt x="444538" y="42744"/>
                    </a:lnTo>
                    <a:lnTo>
                      <a:pt x="0" y="42744"/>
                    </a:ln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4A524EAA-B5CD-47ED-8E0B-D2D452D4C96A}"/>
                  </a:ext>
                </a:extLst>
              </p:cNvPr>
              <p:cNvSpPr/>
              <p:nvPr/>
            </p:nvSpPr>
            <p:spPr>
              <a:xfrm>
                <a:off x="11241447" y="12088470"/>
                <a:ext cx="173113" cy="59128"/>
              </a:xfrm>
              <a:custGeom>
                <a:avLst/>
                <a:gdLst>
                  <a:gd name="connsiteX0" fmla="*/ 37045 w 173113"/>
                  <a:gd name="connsiteY0" fmla="*/ 59129 h 59128"/>
                  <a:gd name="connsiteX1" fmla="*/ 5699 w 173113"/>
                  <a:gd name="connsiteY1" fmla="*/ 56280 h 59128"/>
                  <a:gd name="connsiteX2" fmla="*/ 0 w 173113"/>
                  <a:gd name="connsiteY2" fmla="*/ 50580 h 59128"/>
                  <a:gd name="connsiteX3" fmla="*/ 5699 w 173113"/>
                  <a:gd name="connsiteY3" fmla="*/ 44881 h 59128"/>
                  <a:gd name="connsiteX4" fmla="*/ 162427 w 173113"/>
                  <a:gd name="connsiteY4" fmla="*/ 2137 h 59128"/>
                  <a:gd name="connsiteX5" fmla="*/ 170976 w 173113"/>
                  <a:gd name="connsiteY5" fmla="*/ 2137 h 59128"/>
                  <a:gd name="connsiteX6" fmla="*/ 170976 w 173113"/>
                  <a:gd name="connsiteY6" fmla="*/ 10686 h 59128"/>
                  <a:gd name="connsiteX7" fmla="*/ 37045 w 173113"/>
                  <a:gd name="connsiteY7" fmla="*/ 59129 h 59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3113" h="59128">
                    <a:moveTo>
                      <a:pt x="37045" y="59129"/>
                    </a:moveTo>
                    <a:cubicBezTo>
                      <a:pt x="19947" y="59129"/>
                      <a:pt x="8548" y="56280"/>
                      <a:pt x="5699" y="56280"/>
                    </a:cubicBezTo>
                    <a:cubicBezTo>
                      <a:pt x="2850" y="56280"/>
                      <a:pt x="0" y="53430"/>
                      <a:pt x="0" y="50580"/>
                    </a:cubicBezTo>
                    <a:cubicBezTo>
                      <a:pt x="0" y="47731"/>
                      <a:pt x="2850" y="44881"/>
                      <a:pt x="5699" y="44881"/>
                    </a:cubicBezTo>
                    <a:cubicBezTo>
                      <a:pt x="5699" y="44881"/>
                      <a:pt x="99736" y="59129"/>
                      <a:pt x="162427" y="2137"/>
                    </a:cubicBezTo>
                    <a:cubicBezTo>
                      <a:pt x="165277" y="-712"/>
                      <a:pt x="168126" y="-712"/>
                      <a:pt x="170976" y="2137"/>
                    </a:cubicBezTo>
                    <a:cubicBezTo>
                      <a:pt x="173826" y="4986"/>
                      <a:pt x="173826" y="7836"/>
                      <a:pt x="170976" y="10686"/>
                    </a:cubicBezTo>
                    <a:cubicBezTo>
                      <a:pt x="125382" y="50580"/>
                      <a:pt x="71240" y="59129"/>
                      <a:pt x="37045" y="591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80AB1E4E-3403-453F-BCE9-17AC63D6279E}"/>
                  </a:ext>
                </a:extLst>
              </p:cNvPr>
              <p:cNvSpPr/>
              <p:nvPr/>
            </p:nvSpPr>
            <p:spPr>
              <a:xfrm>
                <a:off x="11413136" y="12111266"/>
                <a:ext cx="38469" cy="39181"/>
              </a:xfrm>
              <a:custGeom>
                <a:avLst/>
                <a:gdLst>
                  <a:gd name="connsiteX0" fmla="*/ 4986 w 38469"/>
                  <a:gd name="connsiteY0" fmla="*/ 39182 h 39181"/>
                  <a:gd name="connsiteX1" fmla="*/ 2137 w 38469"/>
                  <a:gd name="connsiteY1" fmla="*/ 36332 h 39181"/>
                  <a:gd name="connsiteX2" fmla="*/ 2137 w 38469"/>
                  <a:gd name="connsiteY2" fmla="*/ 27784 h 39181"/>
                  <a:gd name="connsiteX3" fmla="*/ 27784 w 38469"/>
                  <a:gd name="connsiteY3" fmla="*/ 2137 h 39181"/>
                  <a:gd name="connsiteX4" fmla="*/ 36332 w 38469"/>
                  <a:gd name="connsiteY4" fmla="*/ 2137 h 39181"/>
                  <a:gd name="connsiteX5" fmla="*/ 36332 w 38469"/>
                  <a:gd name="connsiteY5" fmla="*/ 10686 h 39181"/>
                  <a:gd name="connsiteX6" fmla="*/ 10686 w 38469"/>
                  <a:gd name="connsiteY6" fmla="*/ 36332 h 39181"/>
                  <a:gd name="connsiteX7" fmla="*/ 4986 w 38469"/>
                  <a:gd name="connsiteY7" fmla="*/ 39182 h 39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9" h="39181">
                    <a:moveTo>
                      <a:pt x="4986" y="39182"/>
                    </a:moveTo>
                    <a:cubicBezTo>
                      <a:pt x="4986" y="39182"/>
                      <a:pt x="2137" y="39182"/>
                      <a:pt x="2137" y="36332"/>
                    </a:cubicBezTo>
                    <a:cubicBezTo>
                      <a:pt x="-712" y="33483"/>
                      <a:pt x="-712" y="30633"/>
                      <a:pt x="2137" y="27784"/>
                    </a:cubicBezTo>
                    <a:lnTo>
                      <a:pt x="27784" y="2137"/>
                    </a:lnTo>
                    <a:cubicBezTo>
                      <a:pt x="30633" y="-712"/>
                      <a:pt x="33482" y="-712"/>
                      <a:pt x="36332" y="2137"/>
                    </a:cubicBezTo>
                    <a:cubicBezTo>
                      <a:pt x="39182" y="4987"/>
                      <a:pt x="39182" y="7836"/>
                      <a:pt x="36332" y="10686"/>
                    </a:cubicBezTo>
                    <a:lnTo>
                      <a:pt x="10686" y="36332"/>
                    </a:lnTo>
                    <a:cubicBezTo>
                      <a:pt x="7836" y="39182"/>
                      <a:pt x="4986" y="39182"/>
                      <a:pt x="4986" y="391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177B2904-29CE-47F6-B754-15F6F3558784}"/>
                  </a:ext>
                </a:extLst>
              </p:cNvPr>
              <p:cNvSpPr/>
              <p:nvPr/>
            </p:nvSpPr>
            <p:spPr>
              <a:xfrm>
                <a:off x="11447331" y="12136913"/>
                <a:ext cx="35620" cy="39181"/>
              </a:xfrm>
              <a:custGeom>
                <a:avLst/>
                <a:gdLst>
                  <a:gd name="connsiteX0" fmla="*/ 4987 w 35620"/>
                  <a:gd name="connsiteY0" fmla="*/ 39182 h 39181"/>
                  <a:gd name="connsiteX1" fmla="*/ 2137 w 35620"/>
                  <a:gd name="connsiteY1" fmla="*/ 36333 h 39181"/>
                  <a:gd name="connsiteX2" fmla="*/ 2137 w 35620"/>
                  <a:gd name="connsiteY2" fmla="*/ 27784 h 39181"/>
                  <a:gd name="connsiteX3" fmla="*/ 24935 w 35620"/>
                  <a:gd name="connsiteY3" fmla="*/ 2137 h 39181"/>
                  <a:gd name="connsiteX4" fmla="*/ 33483 w 35620"/>
                  <a:gd name="connsiteY4" fmla="*/ 2137 h 39181"/>
                  <a:gd name="connsiteX5" fmla="*/ 33483 w 35620"/>
                  <a:gd name="connsiteY5" fmla="*/ 10686 h 39181"/>
                  <a:gd name="connsiteX6" fmla="*/ 10687 w 35620"/>
                  <a:gd name="connsiteY6" fmla="*/ 36333 h 39181"/>
                  <a:gd name="connsiteX7" fmla="*/ 4987 w 35620"/>
                  <a:gd name="connsiteY7" fmla="*/ 39182 h 39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620" h="39181">
                    <a:moveTo>
                      <a:pt x="4987" y="39182"/>
                    </a:moveTo>
                    <a:cubicBezTo>
                      <a:pt x="4987" y="39182"/>
                      <a:pt x="2137" y="39182"/>
                      <a:pt x="2137" y="36333"/>
                    </a:cubicBezTo>
                    <a:cubicBezTo>
                      <a:pt x="-712" y="33483"/>
                      <a:pt x="-712" y="30633"/>
                      <a:pt x="2137" y="27784"/>
                    </a:cubicBezTo>
                    <a:lnTo>
                      <a:pt x="24935" y="2137"/>
                    </a:lnTo>
                    <a:cubicBezTo>
                      <a:pt x="27784" y="-712"/>
                      <a:pt x="30633" y="-712"/>
                      <a:pt x="33483" y="2137"/>
                    </a:cubicBezTo>
                    <a:cubicBezTo>
                      <a:pt x="36333" y="4987"/>
                      <a:pt x="36333" y="7837"/>
                      <a:pt x="33483" y="10686"/>
                    </a:cubicBezTo>
                    <a:lnTo>
                      <a:pt x="10687" y="36333"/>
                    </a:lnTo>
                    <a:cubicBezTo>
                      <a:pt x="7837" y="39182"/>
                      <a:pt x="7837" y="39182"/>
                      <a:pt x="4987" y="391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EDDC45F6-1E47-4C21-BF47-99A8CEB5AF91}"/>
                </a:ext>
              </a:extLst>
            </p:cNvPr>
            <p:cNvSpPr/>
            <p:nvPr/>
          </p:nvSpPr>
          <p:spPr>
            <a:xfrm>
              <a:off x="11022027" y="8357625"/>
              <a:ext cx="233667" cy="241371"/>
            </a:xfrm>
            <a:custGeom>
              <a:avLst/>
              <a:gdLst>
                <a:gd name="connsiteX0" fmla="*/ 233668 w 233667"/>
                <a:gd name="connsiteY0" fmla="*/ 37045 h 241371"/>
                <a:gd name="connsiteX1" fmla="*/ 227968 w 233667"/>
                <a:gd name="connsiteY1" fmla="*/ 199472 h 241371"/>
                <a:gd name="connsiteX2" fmla="*/ 0 w 233667"/>
                <a:gd name="connsiteY2" fmla="*/ 190923 h 241371"/>
                <a:gd name="connsiteX3" fmla="*/ 14248 w 233667"/>
                <a:gd name="connsiteY3" fmla="*/ 0 h 241371"/>
                <a:gd name="connsiteX4" fmla="*/ 233668 w 233667"/>
                <a:gd name="connsiteY4" fmla="*/ 37045 h 241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667" h="241371">
                  <a:moveTo>
                    <a:pt x="233668" y="37045"/>
                  </a:moveTo>
                  <a:cubicBezTo>
                    <a:pt x="233668" y="37045"/>
                    <a:pt x="227968" y="131082"/>
                    <a:pt x="227968" y="199472"/>
                  </a:cubicBezTo>
                  <a:cubicBezTo>
                    <a:pt x="227968" y="199472"/>
                    <a:pt x="139630" y="299208"/>
                    <a:pt x="0" y="190923"/>
                  </a:cubicBezTo>
                  <a:cubicBezTo>
                    <a:pt x="0" y="133931"/>
                    <a:pt x="11398" y="59841"/>
                    <a:pt x="14248" y="0"/>
                  </a:cubicBezTo>
                  <a:cubicBezTo>
                    <a:pt x="14248" y="0"/>
                    <a:pt x="185224" y="48443"/>
                    <a:pt x="233668" y="37045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9F1A4D99-DDED-457D-84B9-570B74494C90}"/>
                </a:ext>
              </a:extLst>
            </p:cNvPr>
            <p:cNvSpPr/>
            <p:nvPr/>
          </p:nvSpPr>
          <p:spPr>
            <a:xfrm>
              <a:off x="10936539" y="8246491"/>
              <a:ext cx="65541" cy="128232"/>
            </a:xfrm>
            <a:custGeom>
              <a:avLst/>
              <a:gdLst>
                <a:gd name="connsiteX0" fmla="*/ 0 w 65541"/>
                <a:gd name="connsiteY0" fmla="*/ 0 h 128232"/>
                <a:gd name="connsiteX1" fmla="*/ 62692 w 65541"/>
                <a:gd name="connsiteY1" fmla="*/ 128232 h 128232"/>
                <a:gd name="connsiteX2" fmla="*/ 65541 w 65541"/>
                <a:gd name="connsiteY2" fmla="*/ 48444 h 128232"/>
                <a:gd name="connsiteX3" fmla="*/ 0 w 65541"/>
                <a:gd name="connsiteY3" fmla="*/ 0 h 128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541" h="128232">
                  <a:moveTo>
                    <a:pt x="0" y="0"/>
                  </a:moveTo>
                  <a:cubicBezTo>
                    <a:pt x="0" y="0"/>
                    <a:pt x="14248" y="111135"/>
                    <a:pt x="62692" y="128232"/>
                  </a:cubicBezTo>
                  <a:lnTo>
                    <a:pt x="65541" y="484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F3134BC9-BC4D-4ACD-B6AA-9DFFEE470C79}"/>
                </a:ext>
              </a:extLst>
            </p:cNvPr>
            <p:cNvSpPr/>
            <p:nvPr/>
          </p:nvSpPr>
          <p:spPr>
            <a:xfrm>
              <a:off x="11269521" y="8049868"/>
              <a:ext cx="95929" cy="222280"/>
            </a:xfrm>
            <a:custGeom>
              <a:avLst/>
              <a:gdLst>
                <a:gd name="connsiteX0" fmla="*/ 88760 w 95929"/>
                <a:gd name="connsiteY0" fmla="*/ 0 h 222280"/>
                <a:gd name="connsiteX1" fmla="*/ 51715 w 95929"/>
                <a:gd name="connsiteY1" fmla="*/ 219419 h 222280"/>
                <a:gd name="connsiteX2" fmla="*/ 422 w 95929"/>
                <a:gd name="connsiteY2" fmla="*/ 14248 h 222280"/>
                <a:gd name="connsiteX3" fmla="*/ 88760 w 95929"/>
                <a:gd name="connsiteY3" fmla="*/ 0 h 222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929" h="222280">
                  <a:moveTo>
                    <a:pt x="88760" y="0"/>
                  </a:moveTo>
                  <a:cubicBezTo>
                    <a:pt x="88760" y="0"/>
                    <a:pt x="120105" y="182375"/>
                    <a:pt x="51715" y="219419"/>
                  </a:cubicBezTo>
                  <a:cubicBezTo>
                    <a:pt x="-8127" y="250765"/>
                    <a:pt x="422" y="14248"/>
                    <a:pt x="422" y="14248"/>
                  </a:cubicBezTo>
                  <a:lnTo>
                    <a:pt x="88760" y="0"/>
                  </a:ln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27DA08A0-9F45-491F-BA32-A9900950F3E7}"/>
                </a:ext>
              </a:extLst>
            </p:cNvPr>
            <p:cNvSpPr/>
            <p:nvPr/>
          </p:nvSpPr>
          <p:spPr>
            <a:xfrm>
              <a:off x="10936539" y="7923210"/>
              <a:ext cx="395728" cy="531865"/>
            </a:xfrm>
            <a:custGeom>
              <a:avLst/>
              <a:gdLst>
                <a:gd name="connsiteX0" fmla="*/ 384697 w 395728"/>
                <a:gd name="connsiteY0" fmla="*/ 169402 h 531865"/>
                <a:gd name="connsiteX1" fmla="*/ 387546 w 395728"/>
                <a:gd name="connsiteY1" fmla="*/ 403069 h 531865"/>
                <a:gd name="connsiteX2" fmla="*/ 239367 w 395728"/>
                <a:gd name="connsiteY2" fmla="*/ 531301 h 531865"/>
                <a:gd name="connsiteX3" fmla="*/ 37045 w 395728"/>
                <a:gd name="connsiteY3" fmla="*/ 400220 h 531865"/>
                <a:gd name="connsiteX4" fmla="*/ 0 w 395728"/>
                <a:gd name="connsiteY4" fmla="*/ 189349 h 531865"/>
                <a:gd name="connsiteX5" fmla="*/ 196623 w 395728"/>
                <a:gd name="connsiteY5" fmla="*/ 1275 h 531865"/>
                <a:gd name="connsiteX6" fmla="*/ 384697 w 395728"/>
                <a:gd name="connsiteY6" fmla="*/ 169402 h 531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5728" h="531865">
                  <a:moveTo>
                    <a:pt x="384697" y="169402"/>
                  </a:moveTo>
                  <a:cubicBezTo>
                    <a:pt x="384697" y="169402"/>
                    <a:pt x="407494" y="334679"/>
                    <a:pt x="387546" y="403069"/>
                  </a:cubicBezTo>
                  <a:cubicBezTo>
                    <a:pt x="370449" y="465760"/>
                    <a:pt x="287810" y="525602"/>
                    <a:pt x="239367" y="531301"/>
                  </a:cubicBezTo>
                  <a:cubicBezTo>
                    <a:pt x="176676" y="537000"/>
                    <a:pt x="65541" y="499956"/>
                    <a:pt x="37045" y="400220"/>
                  </a:cubicBezTo>
                  <a:cubicBezTo>
                    <a:pt x="17098" y="331829"/>
                    <a:pt x="0" y="237792"/>
                    <a:pt x="0" y="189349"/>
                  </a:cubicBezTo>
                  <a:cubicBezTo>
                    <a:pt x="0" y="101011"/>
                    <a:pt x="25646" y="26921"/>
                    <a:pt x="196623" y="1275"/>
                  </a:cubicBezTo>
                  <a:cubicBezTo>
                    <a:pt x="276412" y="-12973"/>
                    <a:pt x="367599" y="95312"/>
                    <a:pt x="384697" y="169402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345E4A01-D33A-4FF6-97B7-44C00DE8C533}"/>
                </a:ext>
              </a:extLst>
            </p:cNvPr>
            <p:cNvSpPr/>
            <p:nvPr/>
          </p:nvSpPr>
          <p:spPr>
            <a:xfrm>
              <a:off x="11150260" y="8166702"/>
              <a:ext cx="54142" cy="131081"/>
            </a:xfrm>
            <a:custGeom>
              <a:avLst/>
              <a:gdLst>
                <a:gd name="connsiteX0" fmla="*/ 25646 w 54142"/>
                <a:gd name="connsiteY0" fmla="*/ 131082 h 131081"/>
                <a:gd name="connsiteX1" fmla="*/ 5700 w 54142"/>
                <a:gd name="connsiteY1" fmla="*/ 128232 h 131081"/>
                <a:gd name="connsiteX2" fmla="*/ 0 w 54142"/>
                <a:gd name="connsiteY2" fmla="*/ 122533 h 131081"/>
                <a:gd name="connsiteX3" fmla="*/ 5700 w 54142"/>
                <a:gd name="connsiteY3" fmla="*/ 116834 h 131081"/>
                <a:gd name="connsiteX4" fmla="*/ 42744 w 54142"/>
                <a:gd name="connsiteY4" fmla="*/ 113984 h 131081"/>
                <a:gd name="connsiteX5" fmla="*/ 42744 w 54142"/>
                <a:gd name="connsiteY5" fmla="*/ 111134 h 131081"/>
                <a:gd name="connsiteX6" fmla="*/ 25646 w 54142"/>
                <a:gd name="connsiteY6" fmla="*/ 5699 h 131081"/>
                <a:gd name="connsiteX7" fmla="*/ 31346 w 54142"/>
                <a:gd name="connsiteY7" fmla="*/ 0 h 131081"/>
                <a:gd name="connsiteX8" fmla="*/ 37045 w 54142"/>
                <a:gd name="connsiteY8" fmla="*/ 5699 h 131081"/>
                <a:gd name="connsiteX9" fmla="*/ 54142 w 54142"/>
                <a:gd name="connsiteY9" fmla="*/ 111134 h 131081"/>
                <a:gd name="connsiteX10" fmla="*/ 48444 w 54142"/>
                <a:gd name="connsiteY10" fmla="*/ 122533 h 131081"/>
                <a:gd name="connsiteX11" fmla="*/ 25646 w 54142"/>
                <a:gd name="connsiteY11" fmla="*/ 131082 h 13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142" h="131081">
                  <a:moveTo>
                    <a:pt x="25646" y="131082"/>
                  </a:moveTo>
                  <a:cubicBezTo>
                    <a:pt x="17098" y="131082"/>
                    <a:pt x="8549" y="128232"/>
                    <a:pt x="5700" y="128232"/>
                  </a:cubicBezTo>
                  <a:cubicBezTo>
                    <a:pt x="2850" y="128232"/>
                    <a:pt x="0" y="125382"/>
                    <a:pt x="0" y="122533"/>
                  </a:cubicBezTo>
                  <a:cubicBezTo>
                    <a:pt x="0" y="119683"/>
                    <a:pt x="2850" y="116834"/>
                    <a:pt x="5700" y="116834"/>
                  </a:cubicBezTo>
                  <a:cubicBezTo>
                    <a:pt x="17098" y="119683"/>
                    <a:pt x="37045" y="119683"/>
                    <a:pt x="42744" y="113984"/>
                  </a:cubicBezTo>
                  <a:cubicBezTo>
                    <a:pt x="42744" y="113984"/>
                    <a:pt x="42744" y="111134"/>
                    <a:pt x="42744" y="111134"/>
                  </a:cubicBezTo>
                  <a:cubicBezTo>
                    <a:pt x="42744" y="94037"/>
                    <a:pt x="25646" y="8548"/>
                    <a:pt x="25646" y="5699"/>
                  </a:cubicBezTo>
                  <a:cubicBezTo>
                    <a:pt x="25646" y="2849"/>
                    <a:pt x="25646" y="0"/>
                    <a:pt x="31346" y="0"/>
                  </a:cubicBezTo>
                  <a:cubicBezTo>
                    <a:pt x="34196" y="0"/>
                    <a:pt x="37045" y="0"/>
                    <a:pt x="37045" y="5699"/>
                  </a:cubicBezTo>
                  <a:cubicBezTo>
                    <a:pt x="37045" y="8548"/>
                    <a:pt x="54142" y="94037"/>
                    <a:pt x="54142" y="111134"/>
                  </a:cubicBezTo>
                  <a:cubicBezTo>
                    <a:pt x="54142" y="116834"/>
                    <a:pt x="51293" y="119683"/>
                    <a:pt x="48444" y="122533"/>
                  </a:cubicBezTo>
                  <a:cubicBezTo>
                    <a:pt x="45594" y="128232"/>
                    <a:pt x="34196" y="131082"/>
                    <a:pt x="25646" y="131082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5C5F577A-9251-4128-A9E3-4EC9BB7281ED}"/>
                </a:ext>
              </a:extLst>
            </p:cNvPr>
            <p:cNvSpPr/>
            <p:nvPr/>
          </p:nvSpPr>
          <p:spPr>
            <a:xfrm>
              <a:off x="11121764" y="8343377"/>
              <a:ext cx="99736" cy="48557"/>
            </a:xfrm>
            <a:custGeom>
              <a:avLst/>
              <a:gdLst>
                <a:gd name="connsiteX0" fmla="*/ 99736 w 99736"/>
                <a:gd name="connsiteY0" fmla="*/ 0 h 48557"/>
                <a:gd name="connsiteX1" fmla="*/ 0 w 99736"/>
                <a:gd name="connsiteY1" fmla="*/ 0 h 48557"/>
                <a:gd name="connsiteX2" fmla="*/ 48444 w 99736"/>
                <a:gd name="connsiteY2" fmla="*/ 48443 h 48557"/>
                <a:gd name="connsiteX3" fmla="*/ 99736 w 99736"/>
                <a:gd name="connsiteY3" fmla="*/ 0 h 4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736" h="48557">
                  <a:moveTo>
                    <a:pt x="99736" y="0"/>
                  </a:moveTo>
                  <a:cubicBezTo>
                    <a:pt x="99736" y="0"/>
                    <a:pt x="48444" y="14248"/>
                    <a:pt x="0" y="0"/>
                  </a:cubicBezTo>
                  <a:cubicBezTo>
                    <a:pt x="0" y="0"/>
                    <a:pt x="2850" y="48443"/>
                    <a:pt x="48444" y="48443"/>
                  </a:cubicBezTo>
                  <a:cubicBezTo>
                    <a:pt x="88338" y="51293"/>
                    <a:pt x="99736" y="0"/>
                    <a:pt x="99736" y="0"/>
                  </a:cubicBezTo>
                  <a:close/>
                </a:path>
              </a:pathLst>
            </a:custGeom>
            <a:solidFill>
              <a:srgbClr val="FFFFFF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433FCBF8-4C91-4750-8703-BBC551C78842}"/>
                </a:ext>
              </a:extLst>
            </p:cNvPr>
            <p:cNvSpPr/>
            <p:nvPr/>
          </p:nvSpPr>
          <p:spPr>
            <a:xfrm>
              <a:off x="11232172" y="8146196"/>
              <a:ext cx="38330" cy="38162"/>
            </a:xfrm>
            <a:custGeom>
              <a:avLst/>
              <a:gdLst>
                <a:gd name="connsiteX0" fmla="*/ 726 w 38330"/>
                <a:gd name="connsiteY0" fmla="*/ 23356 h 38162"/>
                <a:gd name="connsiteX1" fmla="*/ 23523 w 38330"/>
                <a:gd name="connsiteY1" fmla="*/ 37604 h 38162"/>
                <a:gd name="connsiteX2" fmla="*/ 37771 w 38330"/>
                <a:gd name="connsiteY2" fmla="*/ 14807 h 38162"/>
                <a:gd name="connsiteX3" fmla="*/ 14974 w 38330"/>
                <a:gd name="connsiteY3" fmla="*/ 559 h 38162"/>
                <a:gd name="connsiteX4" fmla="*/ 726 w 38330"/>
                <a:gd name="connsiteY4" fmla="*/ 23356 h 3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30" h="38162">
                  <a:moveTo>
                    <a:pt x="726" y="23356"/>
                  </a:moveTo>
                  <a:cubicBezTo>
                    <a:pt x="3576" y="31905"/>
                    <a:pt x="12125" y="40454"/>
                    <a:pt x="23523" y="37604"/>
                  </a:cubicBezTo>
                  <a:cubicBezTo>
                    <a:pt x="32072" y="34754"/>
                    <a:pt x="40621" y="26206"/>
                    <a:pt x="37771" y="14807"/>
                  </a:cubicBezTo>
                  <a:cubicBezTo>
                    <a:pt x="34922" y="6258"/>
                    <a:pt x="26373" y="-2290"/>
                    <a:pt x="14974" y="559"/>
                  </a:cubicBezTo>
                  <a:cubicBezTo>
                    <a:pt x="3576" y="3409"/>
                    <a:pt x="-2123" y="14807"/>
                    <a:pt x="726" y="23356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015C9F17-6FFB-40E2-93B6-0B0686944AEC}"/>
                </a:ext>
              </a:extLst>
            </p:cNvPr>
            <p:cNvSpPr/>
            <p:nvPr/>
          </p:nvSpPr>
          <p:spPr>
            <a:xfrm>
              <a:off x="11061196" y="8166143"/>
              <a:ext cx="38330" cy="38162"/>
            </a:xfrm>
            <a:custGeom>
              <a:avLst/>
              <a:gdLst>
                <a:gd name="connsiteX0" fmla="*/ 726 w 38330"/>
                <a:gd name="connsiteY0" fmla="*/ 23356 h 38162"/>
                <a:gd name="connsiteX1" fmla="*/ 23523 w 38330"/>
                <a:gd name="connsiteY1" fmla="*/ 37604 h 38162"/>
                <a:gd name="connsiteX2" fmla="*/ 37771 w 38330"/>
                <a:gd name="connsiteY2" fmla="*/ 14807 h 38162"/>
                <a:gd name="connsiteX3" fmla="*/ 14974 w 38330"/>
                <a:gd name="connsiteY3" fmla="*/ 559 h 38162"/>
                <a:gd name="connsiteX4" fmla="*/ 726 w 38330"/>
                <a:gd name="connsiteY4" fmla="*/ 23356 h 3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30" h="38162">
                  <a:moveTo>
                    <a:pt x="726" y="23356"/>
                  </a:moveTo>
                  <a:cubicBezTo>
                    <a:pt x="3576" y="31904"/>
                    <a:pt x="12125" y="40453"/>
                    <a:pt x="23523" y="37604"/>
                  </a:cubicBezTo>
                  <a:cubicBezTo>
                    <a:pt x="32072" y="34754"/>
                    <a:pt x="40621" y="26205"/>
                    <a:pt x="37771" y="14807"/>
                  </a:cubicBezTo>
                  <a:cubicBezTo>
                    <a:pt x="34922" y="6258"/>
                    <a:pt x="26373" y="-2291"/>
                    <a:pt x="14974" y="559"/>
                  </a:cubicBezTo>
                  <a:cubicBezTo>
                    <a:pt x="3576" y="3408"/>
                    <a:pt x="-2123" y="11957"/>
                    <a:pt x="726" y="23356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84B9965F-3AB1-40F3-8732-3628C13294A1}"/>
                </a:ext>
              </a:extLst>
            </p:cNvPr>
            <p:cNvSpPr/>
            <p:nvPr/>
          </p:nvSpPr>
          <p:spPr>
            <a:xfrm>
              <a:off x="11206071" y="8101161"/>
              <a:ext cx="85956" cy="31345"/>
            </a:xfrm>
            <a:custGeom>
              <a:avLst/>
              <a:gdLst>
                <a:gd name="connsiteX0" fmla="*/ 80970 w 85956"/>
                <a:gd name="connsiteY0" fmla="*/ 31345 h 31345"/>
                <a:gd name="connsiteX1" fmla="*/ 75270 w 85956"/>
                <a:gd name="connsiteY1" fmla="*/ 28496 h 31345"/>
                <a:gd name="connsiteX2" fmla="*/ 12579 w 85956"/>
                <a:gd name="connsiteY2" fmla="*/ 22797 h 31345"/>
                <a:gd name="connsiteX3" fmla="*/ 1180 w 85956"/>
                <a:gd name="connsiteY3" fmla="*/ 19947 h 31345"/>
                <a:gd name="connsiteX4" fmla="*/ 4030 w 85956"/>
                <a:gd name="connsiteY4" fmla="*/ 8549 h 31345"/>
                <a:gd name="connsiteX5" fmla="*/ 83819 w 85956"/>
                <a:gd name="connsiteY5" fmla="*/ 17097 h 31345"/>
                <a:gd name="connsiteX6" fmla="*/ 83819 w 85956"/>
                <a:gd name="connsiteY6" fmla="*/ 28496 h 31345"/>
                <a:gd name="connsiteX7" fmla="*/ 80970 w 85956"/>
                <a:gd name="connsiteY7" fmla="*/ 31345 h 3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6" h="31345">
                  <a:moveTo>
                    <a:pt x="80970" y="31345"/>
                  </a:moveTo>
                  <a:cubicBezTo>
                    <a:pt x="78120" y="31345"/>
                    <a:pt x="78120" y="31345"/>
                    <a:pt x="75270" y="28496"/>
                  </a:cubicBezTo>
                  <a:cubicBezTo>
                    <a:pt x="49624" y="2849"/>
                    <a:pt x="12579" y="22797"/>
                    <a:pt x="12579" y="22797"/>
                  </a:cubicBezTo>
                  <a:cubicBezTo>
                    <a:pt x="9730" y="25646"/>
                    <a:pt x="4030" y="22797"/>
                    <a:pt x="1180" y="19947"/>
                  </a:cubicBezTo>
                  <a:cubicBezTo>
                    <a:pt x="-1669" y="17097"/>
                    <a:pt x="1180" y="11398"/>
                    <a:pt x="4030" y="8549"/>
                  </a:cubicBezTo>
                  <a:cubicBezTo>
                    <a:pt x="21128" y="0"/>
                    <a:pt x="58173" y="-8549"/>
                    <a:pt x="83819" y="17097"/>
                  </a:cubicBezTo>
                  <a:cubicBezTo>
                    <a:pt x="86669" y="19947"/>
                    <a:pt x="86669" y="25646"/>
                    <a:pt x="83819" y="28496"/>
                  </a:cubicBezTo>
                  <a:cubicBezTo>
                    <a:pt x="83819" y="31345"/>
                    <a:pt x="80970" y="31345"/>
                    <a:pt x="80970" y="31345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0D291CA5-E568-4EC5-A780-6CE31C972D0B}"/>
                </a:ext>
              </a:extLst>
            </p:cNvPr>
            <p:cNvSpPr/>
            <p:nvPr/>
          </p:nvSpPr>
          <p:spPr>
            <a:xfrm>
              <a:off x="11028439" y="8101451"/>
              <a:ext cx="85956" cy="33905"/>
            </a:xfrm>
            <a:custGeom>
              <a:avLst/>
              <a:gdLst>
                <a:gd name="connsiteX0" fmla="*/ 7836 w 85956"/>
                <a:gd name="connsiteY0" fmla="*/ 33905 h 33905"/>
                <a:gd name="connsiteX1" fmla="*/ 2137 w 85956"/>
                <a:gd name="connsiteY1" fmla="*/ 31056 h 33905"/>
                <a:gd name="connsiteX2" fmla="*/ 2137 w 85956"/>
                <a:gd name="connsiteY2" fmla="*/ 19657 h 33905"/>
                <a:gd name="connsiteX3" fmla="*/ 81926 w 85956"/>
                <a:gd name="connsiteY3" fmla="*/ 11108 h 33905"/>
                <a:gd name="connsiteX4" fmla="*/ 84776 w 85956"/>
                <a:gd name="connsiteY4" fmla="*/ 22507 h 33905"/>
                <a:gd name="connsiteX5" fmla="*/ 73377 w 85956"/>
                <a:gd name="connsiteY5" fmla="*/ 25356 h 33905"/>
                <a:gd name="connsiteX6" fmla="*/ 10686 w 85956"/>
                <a:gd name="connsiteY6" fmla="*/ 31056 h 33905"/>
                <a:gd name="connsiteX7" fmla="*/ 7836 w 85956"/>
                <a:gd name="connsiteY7" fmla="*/ 33905 h 33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6" h="33905">
                  <a:moveTo>
                    <a:pt x="7836" y="33905"/>
                  </a:moveTo>
                  <a:cubicBezTo>
                    <a:pt x="4986" y="33905"/>
                    <a:pt x="4986" y="33905"/>
                    <a:pt x="2137" y="31056"/>
                  </a:cubicBezTo>
                  <a:cubicBezTo>
                    <a:pt x="-712" y="28206"/>
                    <a:pt x="-712" y="22507"/>
                    <a:pt x="2137" y="19657"/>
                  </a:cubicBezTo>
                  <a:cubicBezTo>
                    <a:pt x="13536" y="5409"/>
                    <a:pt x="47730" y="-11688"/>
                    <a:pt x="81926" y="11108"/>
                  </a:cubicBezTo>
                  <a:cubicBezTo>
                    <a:pt x="84776" y="13958"/>
                    <a:pt x="87625" y="16808"/>
                    <a:pt x="84776" y="22507"/>
                  </a:cubicBezTo>
                  <a:cubicBezTo>
                    <a:pt x="81926" y="25356"/>
                    <a:pt x="79076" y="28206"/>
                    <a:pt x="73377" y="25356"/>
                  </a:cubicBezTo>
                  <a:cubicBezTo>
                    <a:pt x="39182" y="2560"/>
                    <a:pt x="13536" y="31056"/>
                    <a:pt x="10686" y="31056"/>
                  </a:cubicBezTo>
                  <a:cubicBezTo>
                    <a:pt x="13536" y="33905"/>
                    <a:pt x="10686" y="33905"/>
                    <a:pt x="7836" y="33905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B95EFA52-ADB6-40BD-A511-05CF52584B2D}"/>
                </a:ext>
              </a:extLst>
            </p:cNvPr>
            <p:cNvSpPr/>
            <p:nvPr/>
          </p:nvSpPr>
          <p:spPr>
            <a:xfrm>
              <a:off x="11024877" y="8400369"/>
              <a:ext cx="215857" cy="59841"/>
            </a:xfrm>
            <a:custGeom>
              <a:avLst/>
              <a:gdLst>
                <a:gd name="connsiteX0" fmla="*/ 139630 w 215857"/>
                <a:gd name="connsiteY0" fmla="*/ 59841 h 59841"/>
                <a:gd name="connsiteX1" fmla="*/ 2850 w 215857"/>
                <a:gd name="connsiteY1" fmla="*/ 11398 h 59841"/>
                <a:gd name="connsiteX2" fmla="*/ 0 w 215857"/>
                <a:gd name="connsiteY2" fmla="*/ 2849 h 59841"/>
                <a:gd name="connsiteX3" fmla="*/ 8548 w 215857"/>
                <a:gd name="connsiteY3" fmla="*/ 0 h 59841"/>
                <a:gd name="connsiteX4" fmla="*/ 139630 w 215857"/>
                <a:gd name="connsiteY4" fmla="*/ 45593 h 59841"/>
                <a:gd name="connsiteX5" fmla="*/ 139630 w 215857"/>
                <a:gd name="connsiteY5" fmla="*/ 45593 h 59841"/>
                <a:gd name="connsiteX6" fmla="*/ 205172 w 215857"/>
                <a:gd name="connsiteY6" fmla="*/ 22797 h 59841"/>
                <a:gd name="connsiteX7" fmla="*/ 213720 w 215857"/>
                <a:gd name="connsiteY7" fmla="*/ 22797 h 59841"/>
                <a:gd name="connsiteX8" fmla="*/ 213720 w 215857"/>
                <a:gd name="connsiteY8" fmla="*/ 31345 h 59841"/>
                <a:gd name="connsiteX9" fmla="*/ 139630 w 215857"/>
                <a:gd name="connsiteY9" fmla="*/ 59841 h 59841"/>
                <a:gd name="connsiteX10" fmla="*/ 139630 w 215857"/>
                <a:gd name="connsiteY10" fmla="*/ 59841 h 5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5857" h="59841">
                  <a:moveTo>
                    <a:pt x="139630" y="59841"/>
                  </a:moveTo>
                  <a:cubicBezTo>
                    <a:pt x="91188" y="59841"/>
                    <a:pt x="8548" y="14248"/>
                    <a:pt x="2850" y="11398"/>
                  </a:cubicBezTo>
                  <a:cubicBezTo>
                    <a:pt x="0" y="8549"/>
                    <a:pt x="0" y="5699"/>
                    <a:pt x="0" y="2849"/>
                  </a:cubicBezTo>
                  <a:cubicBezTo>
                    <a:pt x="2850" y="0"/>
                    <a:pt x="5700" y="0"/>
                    <a:pt x="8548" y="0"/>
                  </a:cubicBezTo>
                  <a:cubicBezTo>
                    <a:pt x="8548" y="0"/>
                    <a:pt x="94037" y="45593"/>
                    <a:pt x="139630" y="45593"/>
                  </a:cubicBezTo>
                  <a:cubicBezTo>
                    <a:pt x="139630" y="45593"/>
                    <a:pt x="139630" y="45593"/>
                    <a:pt x="139630" y="45593"/>
                  </a:cubicBezTo>
                  <a:cubicBezTo>
                    <a:pt x="176676" y="45593"/>
                    <a:pt x="205172" y="22797"/>
                    <a:pt x="205172" y="22797"/>
                  </a:cubicBezTo>
                  <a:cubicBezTo>
                    <a:pt x="208021" y="19947"/>
                    <a:pt x="210871" y="19947"/>
                    <a:pt x="213720" y="22797"/>
                  </a:cubicBezTo>
                  <a:cubicBezTo>
                    <a:pt x="216570" y="25646"/>
                    <a:pt x="216570" y="28496"/>
                    <a:pt x="213720" y="31345"/>
                  </a:cubicBezTo>
                  <a:cubicBezTo>
                    <a:pt x="210871" y="34195"/>
                    <a:pt x="179525" y="56992"/>
                    <a:pt x="139630" y="59841"/>
                  </a:cubicBezTo>
                  <a:cubicBezTo>
                    <a:pt x="139630" y="59841"/>
                    <a:pt x="139630" y="59841"/>
                    <a:pt x="139630" y="59841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5CC8BA0A-18B5-45BE-B298-3AEDEBC43ED8}"/>
                </a:ext>
              </a:extLst>
            </p:cNvPr>
            <p:cNvSpPr/>
            <p:nvPr/>
          </p:nvSpPr>
          <p:spPr>
            <a:xfrm>
              <a:off x="10899199" y="7944433"/>
              <a:ext cx="105730" cy="250765"/>
            </a:xfrm>
            <a:custGeom>
              <a:avLst/>
              <a:gdLst>
                <a:gd name="connsiteX0" fmla="*/ 105731 w 105730"/>
                <a:gd name="connsiteY0" fmla="*/ 119683 h 250765"/>
                <a:gd name="connsiteX1" fmla="*/ 60138 w 105730"/>
                <a:gd name="connsiteY1" fmla="*/ 250765 h 250765"/>
                <a:gd name="connsiteX2" fmla="*/ 5995 w 105730"/>
                <a:gd name="connsiteY2" fmla="*/ 156728 h 250765"/>
                <a:gd name="connsiteX3" fmla="*/ 60138 w 105730"/>
                <a:gd name="connsiteY3" fmla="*/ 0 h 250765"/>
                <a:gd name="connsiteX4" fmla="*/ 105731 w 105730"/>
                <a:gd name="connsiteY4" fmla="*/ 119683 h 250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30" h="250765">
                  <a:moveTo>
                    <a:pt x="105731" y="119683"/>
                  </a:moveTo>
                  <a:cubicBezTo>
                    <a:pt x="105731" y="119683"/>
                    <a:pt x="54438" y="222269"/>
                    <a:pt x="60138" y="250765"/>
                  </a:cubicBezTo>
                  <a:cubicBezTo>
                    <a:pt x="60138" y="250765"/>
                    <a:pt x="20243" y="208021"/>
                    <a:pt x="5995" y="156728"/>
                  </a:cubicBezTo>
                  <a:cubicBezTo>
                    <a:pt x="-8253" y="102585"/>
                    <a:pt x="296" y="14248"/>
                    <a:pt x="60138" y="0"/>
                  </a:cubicBezTo>
                  <a:cubicBezTo>
                    <a:pt x="62987" y="0"/>
                    <a:pt x="68686" y="102585"/>
                    <a:pt x="105731" y="119683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12E6039-33EF-4CD3-9ED3-30FC30BDA03E}"/>
                </a:ext>
              </a:extLst>
            </p:cNvPr>
            <p:cNvSpPr/>
            <p:nvPr/>
          </p:nvSpPr>
          <p:spPr>
            <a:xfrm>
              <a:off x="10951134" y="7836644"/>
              <a:ext cx="407714" cy="327207"/>
            </a:xfrm>
            <a:custGeom>
              <a:avLst/>
              <a:gdLst>
                <a:gd name="connsiteX0" fmla="*/ 53796 w 407714"/>
                <a:gd name="connsiteY0" fmla="*/ 227472 h 327207"/>
                <a:gd name="connsiteX1" fmla="*/ 167780 w 407714"/>
                <a:gd name="connsiteY1" fmla="*/ 190427 h 327207"/>
                <a:gd name="connsiteX2" fmla="*/ 392899 w 407714"/>
                <a:gd name="connsiteY2" fmla="*/ 327208 h 327207"/>
                <a:gd name="connsiteX3" fmla="*/ 395748 w 407714"/>
                <a:gd name="connsiteY3" fmla="*/ 170480 h 327207"/>
                <a:gd name="connsiteX4" fmla="*/ 310260 w 407714"/>
                <a:gd name="connsiteY4" fmla="*/ 30849 h 327207"/>
                <a:gd name="connsiteX5" fmla="*/ 122187 w 407714"/>
                <a:gd name="connsiteY5" fmla="*/ 16601 h 327207"/>
                <a:gd name="connsiteX6" fmla="*/ 8203 w 407714"/>
                <a:gd name="connsiteY6" fmla="*/ 104939 h 327207"/>
                <a:gd name="connsiteX7" fmla="*/ 53796 w 407714"/>
                <a:gd name="connsiteY7" fmla="*/ 227472 h 32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7714" h="327207">
                  <a:moveTo>
                    <a:pt x="53796" y="227472"/>
                  </a:moveTo>
                  <a:cubicBezTo>
                    <a:pt x="53796" y="227472"/>
                    <a:pt x="142133" y="190427"/>
                    <a:pt x="167780" y="190427"/>
                  </a:cubicBezTo>
                  <a:cubicBezTo>
                    <a:pt x="261817" y="193277"/>
                    <a:pt x="407147" y="258818"/>
                    <a:pt x="392899" y="327208"/>
                  </a:cubicBezTo>
                  <a:cubicBezTo>
                    <a:pt x="392899" y="327208"/>
                    <a:pt x="424244" y="230322"/>
                    <a:pt x="395748" y="170480"/>
                  </a:cubicBezTo>
                  <a:cubicBezTo>
                    <a:pt x="395748" y="170480"/>
                    <a:pt x="395748" y="53646"/>
                    <a:pt x="310260" y="30849"/>
                  </a:cubicBezTo>
                  <a:cubicBezTo>
                    <a:pt x="224772" y="8052"/>
                    <a:pt x="187727" y="-17594"/>
                    <a:pt x="122187" y="16601"/>
                  </a:cubicBezTo>
                  <a:cubicBezTo>
                    <a:pt x="56645" y="53646"/>
                    <a:pt x="13901" y="70744"/>
                    <a:pt x="8203" y="104939"/>
                  </a:cubicBezTo>
                  <a:cubicBezTo>
                    <a:pt x="11051" y="107789"/>
                    <a:pt x="-31693" y="216074"/>
                    <a:pt x="53796" y="227472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D62604CE-C620-45F9-8377-6FA0D098ABB0}"/>
                </a:ext>
              </a:extLst>
            </p:cNvPr>
            <p:cNvSpPr/>
            <p:nvPr/>
          </p:nvSpPr>
          <p:spPr>
            <a:xfrm>
              <a:off x="10901362" y="8166524"/>
              <a:ext cx="72222" cy="103283"/>
            </a:xfrm>
            <a:custGeom>
              <a:avLst/>
              <a:gdLst>
                <a:gd name="connsiteX0" fmla="*/ 60823 w 72222"/>
                <a:gd name="connsiteY0" fmla="*/ 14426 h 103283"/>
                <a:gd name="connsiteX1" fmla="*/ 6681 w 72222"/>
                <a:gd name="connsiteY1" fmla="*/ 5877 h 103283"/>
                <a:gd name="connsiteX2" fmla="*/ 60823 w 72222"/>
                <a:gd name="connsiteY2" fmla="*/ 99914 h 103283"/>
                <a:gd name="connsiteX3" fmla="*/ 60823 w 72222"/>
                <a:gd name="connsiteY3" fmla="*/ 14426 h 103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222" h="103283">
                  <a:moveTo>
                    <a:pt x="60823" y="14426"/>
                  </a:moveTo>
                  <a:cubicBezTo>
                    <a:pt x="60823" y="14426"/>
                    <a:pt x="29478" y="-11220"/>
                    <a:pt x="6681" y="5877"/>
                  </a:cubicBezTo>
                  <a:cubicBezTo>
                    <a:pt x="-16115" y="22975"/>
                    <a:pt x="23779" y="122711"/>
                    <a:pt x="60823" y="99914"/>
                  </a:cubicBezTo>
                  <a:cubicBezTo>
                    <a:pt x="86471" y="82817"/>
                    <a:pt x="60823" y="14426"/>
                    <a:pt x="60823" y="14426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7B784A63-60CB-4AF3-8B66-FC5EEE5DCE70}"/>
                </a:ext>
              </a:extLst>
            </p:cNvPr>
            <p:cNvSpPr/>
            <p:nvPr/>
          </p:nvSpPr>
          <p:spPr>
            <a:xfrm>
              <a:off x="10945626" y="7960350"/>
              <a:ext cx="62153" cy="226299"/>
            </a:xfrm>
            <a:custGeom>
              <a:avLst/>
              <a:gdLst>
                <a:gd name="connsiteX0" fmla="*/ 16560 w 62153"/>
                <a:gd name="connsiteY0" fmla="*/ 226299 h 226299"/>
                <a:gd name="connsiteX1" fmla="*/ 16560 w 62153"/>
                <a:gd name="connsiteY1" fmla="*/ 226299 h 226299"/>
                <a:gd name="connsiteX2" fmla="*/ 10861 w 62153"/>
                <a:gd name="connsiteY2" fmla="*/ 220600 h 226299"/>
                <a:gd name="connsiteX3" fmla="*/ 53605 w 62153"/>
                <a:gd name="connsiteY3" fmla="*/ 106616 h 226299"/>
                <a:gd name="connsiteX4" fmla="*/ 8011 w 62153"/>
                <a:gd name="connsiteY4" fmla="*/ 66721 h 226299"/>
                <a:gd name="connsiteX5" fmla="*/ 5161 w 62153"/>
                <a:gd name="connsiteY5" fmla="*/ 4030 h 226299"/>
                <a:gd name="connsiteX6" fmla="*/ 10861 w 62153"/>
                <a:gd name="connsiteY6" fmla="*/ 1180 h 226299"/>
                <a:gd name="connsiteX7" fmla="*/ 13711 w 62153"/>
                <a:gd name="connsiteY7" fmla="*/ 6880 h 226299"/>
                <a:gd name="connsiteX8" fmla="*/ 13711 w 62153"/>
                <a:gd name="connsiteY8" fmla="*/ 61022 h 226299"/>
                <a:gd name="connsiteX9" fmla="*/ 59304 w 62153"/>
                <a:gd name="connsiteY9" fmla="*/ 98067 h 226299"/>
                <a:gd name="connsiteX10" fmla="*/ 62154 w 62153"/>
                <a:gd name="connsiteY10" fmla="*/ 100916 h 226299"/>
                <a:gd name="connsiteX11" fmla="*/ 62154 w 62153"/>
                <a:gd name="connsiteY11" fmla="*/ 106616 h 226299"/>
                <a:gd name="connsiteX12" fmla="*/ 19409 w 62153"/>
                <a:gd name="connsiteY12" fmla="*/ 220600 h 226299"/>
                <a:gd name="connsiteX13" fmla="*/ 16560 w 62153"/>
                <a:gd name="connsiteY13" fmla="*/ 226299 h 22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153" h="226299">
                  <a:moveTo>
                    <a:pt x="16560" y="226299"/>
                  </a:moveTo>
                  <a:cubicBezTo>
                    <a:pt x="16560" y="226299"/>
                    <a:pt x="16560" y="226299"/>
                    <a:pt x="16560" y="226299"/>
                  </a:cubicBezTo>
                  <a:cubicBezTo>
                    <a:pt x="13711" y="226299"/>
                    <a:pt x="10861" y="223449"/>
                    <a:pt x="10861" y="220600"/>
                  </a:cubicBezTo>
                  <a:cubicBezTo>
                    <a:pt x="13711" y="172156"/>
                    <a:pt x="42207" y="123713"/>
                    <a:pt x="53605" y="106616"/>
                  </a:cubicBezTo>
                  <a:cubicBezTo>
                    <a:pt x="42207" y="100916"/>
                    <a:pt x="19409" y="89518"/>
                    <a:pt x="8011" y="66721"/>
                  </a:cubicBezTo>
                  <a:cubicBezTo>
                    <a:pt x="-537" y="49624"/>
                    <a:pt x="-3387" y="26827"/>
                    <a:pt x="5161" y="4030"/>
                  </a:cubicBezTo>
                  <a:cubicBezTo>
                    <a:pt x="5161" y="1180"/>
                    <a:pt x="8011" y="-1669"/>
                    <a:pt x="10861" y="1180"/>
                  </a:cubicBezTo>
                  <a:cubicBezTo>
                    <a:pt x="13711" y="1180"/>
                    <a:pt x="16560" y="4030"/>
                    <a:pt x="13711" y="6880"/>
                  </a:cubicBezTo>
                  <a:cubicBezTo>
                    <a:pt x="8011" y="26827"/>
                    <a:pt x="8011" y="43924"/>
                    <a:pt x="13711" y="61022"/>
                  </a:cubicBezTo>
                  <a:cubicBezTo>
                    <a:pt x="27959" y="86668"/>
                    <a:pt x="59304" y="98067"/>
                    <a:pt x="59304" y="98067"/>
                  </a:cubicBezTo>
                  <a:cubicBezTo>
                    <a:pt x="62154" y="98067"/>
                    <a:pt x="62154" y="100916"/>
                    <a:pt x="62154" y="100916"/>
                  </a:cubicBezTo>
                  <a:cubicBezTo>
                    <a:pt x="62154" y="103766"/>
                    <a:pt x="62154" y="103766"/>
                    <a:pt x="62154" y="106616"/>
                  </a:cubicBezTo>
                  <a:cubicBezTo>
                    <a:pt x="62154" y="106616"/>
                    <a:pt x="22259" y="163608"/>
                    <a:pt x="19409" y="220600"/>
                  </a:cubicBezTo>
                  <a:cubicBezTo>
                    <a:pt x="22259" y="223449"/>
                    <a:pt x="19409" y="226299"/>
                    <a:pt x="16560" y="226299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0F556126-84A6-40CB-AF3C-E11AC3E06207}"/>
                </a:ext>
              </a:extLst>
            </p:cNvPr>
            <p:cNvSpPr/>
            <p:nvPr/>
          </p:nvSpPr>
          <p:spPr>
            <a:xfrm>
              <a:off x="10734217" y="11936728"/>
              <a:ext cx="188074" cy="236517"/>
            </a:xfrm>
            <a:custGeom>
              <a:avLst/>
              <a:gdLst>
                <a:gd name="connsiteX0" fmla="*/ 0 w 188074"/>
                <a:gd name="connsiteY0" fmla="*/ 199472 h 236517"/>
                <a:gd name="connsiteX1" fmla="*/ 0 w 188074"/>
                <a:gd name="connsiteY1" fmla="*/ 0 h 236517"/>
                <a:gd name="connsiteX2" fmla="*/ 188074 w 188074"/>
                <a:gd name="connsiteY2" fmla="*/ 0 h 236517"/>
                <a:gd name="connsiteX3" fmla="*/ 153879 w 188074"/>
                <a:gd name="connsiteY3" fmla="*/ 210871 h 236517"/>
                <a:gd name="connsiteX4" fmla="*/ 11399 w 188074"/>
                <a:gd name="connsiteY4" fmla="*/ 236518 h 236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074" h="236517">
                  <a:moveTo>
                    <a:pt x="0" y="199472"/>
                  </a:moveTo>
                  <a:lnTo>
                    <a:pt x="0" y="0"/>
                  </a:lnTo>
                  <a:lnTo>
                    <a:pt x="188074" y="0"/>
                  </a:lnTo>
                  <a:lnTo>
                    <a:pt x="153879" y="210871"/>
                  </a:lnTo>
                  <a:lnTo>
                    <a:pt x="11399" y="236518"/>
                  </a:ln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3CF9631F-A9F0-43B0-962F-FB482E8323C0}"/>
                </a:ext>
              </a:extLst>
            </p:cNvPr>
            <p:cNvSpPr/>
            <p:nvPr/>
          </p:nvSpPr>
          <p:spPr>
            <a:xfrm>
              <a:off x="10638489" y="9922058"/>
              <a:ext cx="1074162" cy="2108707"/>
            </a:xfrm>
            <a:custGeom>
              <a:avLst/>
              <a:gdLst>
                <a:gd name="connsiteX0" fmla="*/ 976257 w 1074162"/>
                <a:gd name="connsiteY0" fmla="*/ 17097 h 2108707"/>
                <a:gd name="connsiteX1" fmla="*/ 1067444 w 1074162"/>
                <a:gd name="connsiteY1" fmla="*/ 1299419 h 2108707"/>
                <a:gd name="connsiteX2" fmla="*/ 805281 w 1074162"/>
                <a:gd name="connsiteY2" fmla="*/ 2108707 h 2108707"/>
                <a:gd name="connsiteX3" fmla="*/ 537417 w 1074162"/>
                <a:gd name="connsiteY3" fmla="*/ 2108707 h 2108707"/>
                <a:gd name="connsiteX4" fmla="*/ 679897 w 1074162"/>
                <a:gd name="connsiteY4" fmla="*/ 1174036 h 2108707"/>
                <a:gd name="connsiteX5" fmla="*/ 511771 w 1074162"/>
                <a:gd name="connsiteY5" fmla="*/ 467335 h 2108707"/>
                <a:gd name="connsiteX6" fmla="*/ 483275 w 1074162"/>
                <a:gd name="connsiteY6" fmla="*/ 1159788 h 2108707"/>
                <a:gd name="connsiteX7" fmla="*/ 329396 w 1074162"/>
                <a:gd name="connsiteY7" fmla="*/ 2103008 h 2108707"/>
                <a:gd name="connsiteX8" fmla="*/ 41586 w 1074162"/>
                <a:gd name="connsiteY8" fmla="*/ 2088760 h 2108707"/>
                <a:gd name="connsiteX9" fmla="*/ 24488 w 1074162"/>
                <a:gd name="connsiteY9" fmla="*/ 1085699 h 2108707"/>
                <a:gd name="connsiteX10" fmla="*/ 21639 w 1074162"/>
                <a:gd name="connsiteY10" fmla="*/ 0 h 2108707"/>
                <a:gd name="connsiteX11" fmla="*/ 976257 w 1074162"/>
                <a:gd name="connsiteY11" fmla="*/ 17097 h 2108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74162" h="2108707">
                  <a:moveTo>
                    <a:pt x="976257" y="17097"/>
                  </a:moveTo>
                  <a:cubicBezTo>
                    <a:pt x="976257" y="17097"/>
                    <a:pt x="1104489" y="1202533"/>
                    <a:pt x="1067444" y="1299419"/>
                  </a:cubicBezTo>
                  <a:cubicBezTo>
                    <a:pt x="1033249" y="1399155"/>
                    <a:pt x="805281" y="2108707"/>
                    <a:pt x="805281" y="2108707"/>
                  </a:cubicBezTo>
                  <a:lnTo>
                    <a:pt x="537417" y="2108707"/>
                  </a:lnTo>
                  <a:cubicBezTo>
                    <a:pt x="537417" y="2108707"/>
                    <a:pt x="674199" y="1265224"/>
                    <a:pt x="679897" y="1174036"/>
                  </a:cubicBezTo>
                  <a:cubicBezTo>
                    <a:pt x="685597" y="1082850"/>
                    <a:pt x="526019" y="495831"/>
                    <a:pt x="511771" y="467335"/>
                  </a:cubicBezTo>
                  <a:cubicBezTo>
                    <a:pt x="497523" y="438839"/>
                    <a:pt x="483275" y="1159788"/>
                    <a:pt x="483275" y="1159788"/>
                  </a:cubicBezTo>
                  <a:lnTo>
                    <a:pt x="329396" y="2103008"/>
                  </a:lnTo>
                  <a:lnTo>
                    <a:pt x="41586" y="2088760"/>
                  </a:lnTo>
                  <a:cubicBezTo>
                    <a:pt x="41586" y="2088760"/>
                    <a:pt x="38736" y="1176886"/>
                    <a:pt x="24488" y="1085699"/>
                  </a:cubicBezTo>
                  <a:cubicBezTo>
                    <a:pt x="10240" y="994512"/>
                    <a:pt x="-21105" y="91187"/>
                    <a:pt x="21639" y="0"/>
                  </a:cubicBezTo>
                  <a:cubicBezTo>
                    <a:pt x="674199" y="28496"/>
                    <a:pt x="976257" y="17097"/>
                    <a:pt x="976257" y="17097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F357AC73-53F9-4BBA-97E8-82F1726F5D67}"/>
                </a:ext>
              </a:extLst>
            </p:cNvPr>
            <p:cNvSpPr/>
            <p:nvPr/>
          </p:nvSpPr>
          <p:spPr>
            <a:xfrm>
              <a:off x="11113215" y="7996214"/>
              <a:ext cx="181662" cy="36555"/>
            </a:xfrm>
            <a:custGeom>
              <a:avLst/>
              <a:gdLst>
                <a:gd name="connsiteX0" fmla="*/ 5699 w 181662"/>
                <a:gd name="connsiteY0" fmla="*/ 36556 h 36555"/>
                <a:gd name="connsiteX1" fmla="*/ 0 w 181662"/>
                <a:gd name="connsiteY1" fmla="*/ 33707 h 36555"/>
                <a:gd name="connsiteX2" fmla="*/ 2850 w 181662"/>
                <a:gd name="connsiteY2" fmla="*/ 25158 h 36555"/>
                <a:gd name="connsiteX3" fmla="*/ 179525 w 181662"/>
                <a:gd name="connsiteY3" fmla="*/ 19459 h 36555"/>
                <a:gd name="connsiteX4" fmla="*/ 179525 w 181662"/>
                <a:gd name="connsiteY4" fmla="*/ 28008 h 36555"/>
                <a:gd name="connsiteX5" fmla="*/ 170976 w 181662"/>
                <a:gd name="connsiteY5" fmla="*/ 28008 h 36555"/>
                <a:gd name="connsiteX6" fmla="*/ 5699 w 181662"/>
                <a:gd name="connsiteY6" fmla="*/ 36556 h 36555"/>
                <a:gd name="connsiteX7" fmla="*/ 5699 w 181662"/>
                <a:gd name="connsiteY7" fmla="*/ 36556 h 3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662" h="36555">
                  <a:moveTo>
                    <a:pt x="5699" y="36556"/>
                  </a:moveTo>
                  <a:cubicBezTo>
                    <a:pt x="2850" y="36556"/>
                    <a:pt x="2850" y="36556"/>
                    <a:pt x="0" y="33707"/>
                  </a:cubicBezTo>
                  <a:cubicBezTo>
                    <a:pt x="0" y="30857"/>
                    <a:pt x="0" y="28008"/>
                    <a:pt x="2850" y="25158"/>
                  </a:cubicBezTo>
                  <a:cubicBezTo>
                    <a:pt x="8548" y="22308"/>
                    <a:pt x="113984" y="-26135"/>
                    <a:pt x="179525" y="19459"/>
                  </a:cubicBezTo>
                  <a:cubicBezTo>
                    <a:pt x="182375" y="22308"/>
                    <a:pt x="182375" y="25158"/>
                    <a:pt x="179525" y="28008"/>
                  </a:cubicBezTo>
                  <a:cubicBezTo>
                    <a:pt x="176675" y="30857"/>
                    <a:pt x="173826" y="30857"/>
                    <a:pt x="170976" y="28008"/>
                  </a:cubicBezTo>
                  <a:cubicBezTo>
                    <a:pt x="113984" y="-11887"/>
                    <a:pt x="8548" y="36556"/>
                    <a:pt x="5699" y="36556"/>
                  </a:cubicBezTo>
                  <a:cubicBezTo>
                    <a:pt x="8548" y="36556"/>
                    <a:pt x="8548" y="36556"/>
                    <a:pt x="5699" y="36556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FF6099AF-E08D-443E-A0BE-2C5A0C4E6BD8}"/>
                </a:ext>
              </a:extLst>
            </p:cNvPr>
            <p:cNvSpPr/>
            <p:nvPr/>
          </p:nvSpPr>
          <p:spPr>
            <a:xfrm>
              <a:off x="10634481" y="8508654"/>
              <a:ext cx="1000975" cy="1464524"/>
            </a:xfrm>
            <a:custGeom>
              <a:avLst/>
              <a:gdLst>
                <a:gd name="connsiteX0" fmla="*/ 370449 w 1000975"/>
                <a:gd name="connsiteY0" fmla="*/ 0 h 1464524"/>
                <a:gd name="connsiteX1" fmla="*/ 641161 w 1000975"/>
                <a:gd name="connsiteY1" fmla="*/ 0 h 1464524"/>
                <a:gd name="connsiteX2" fmla="*/ 920423 w 1000975"/>
                <a:gd name="connsiteY2" fmla="*/ 122533 h 1464524"/>
                <a:gd name="connsiteX3" fmla="*/ 1000211 w 1000975"/>
                <a:gd name="connsiteY3" fmla="*/ 1436200 h 1464524"/>
                <a:gd name="connsiteX4" fmla="*/ 0 w 1000975"/>
                <a:gd name="connsiteY4" fmla="*/ 1413404 h 1464524"/>
                <a:gd name="connsiteX5" fmla="*/ 108285 w 1000975"/>
                <a:gd name="connsiteY5" fmla="*/ 96886 h 1464524"/>
                <a:gd name="connsiteX6" fmla="*/ 370449 w 1000975"/>
                <a:gd name="connsiteY6" fmla="*/ 0 h 146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975" h="1464524">
                  <a:moveTo>
                    <a:pt x="370449" y="0"/>
                  </a:moveTo>
                  <a:cubicBezTo>
                    <a:pt x="370449" y="0"/>
                    <a:pt x="532876" y="51293"/>
                    <a:pt x="641161" y="0"/>
                  </a:cubicBezTo>
                  <a:cubicBezTo>
                    <a:pt x="641161" y="0"/>
                    <a:pt x="897625" y="91187"/>
                    <a:pt x="920423" y="122533"/>
                  </a:cubicBezTo>
                  <a:cubicBezTo>
                    <a:pt x="943219" y="151029"/>
                    <a:pt x="1008761" y="1373509"/>
                    <a:pt x="1000211" y="1436200"/>
                  </a:cubicBezTo>
                  <a:cubicBezTo>
                    <a:pt x="1000211" y="1436200"/>
                    <a:pt x="541425" y="1513140"/>
                    <a:pt x="0" y="1413404"/>
                  </a:cubicBezTo>
                  <a:cubicBezTo>
                    <a:pt x="0" y="1080000"/>
                    <a:pt x="68391" y="125382"/>
                    <a:pt x="108285" y="96886"/>
                  </a:cubicBezTo>
                  <a:cubicBezTo>
                    <a:pt x="148180" y="68390"/>
                    <a:pt x="370449" y="0"/>
                    <a:pt x="370449" y="0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7BE5A8E3-0816-4AF4-A692-790F49E1AAA9}"/>
                </a:ext>
              </a:extLst>
            </p:cNvPr>
            <p:cNvSpPr/>
            <p:nvPr/>
          </p:nvSpPr>
          <p:spPr>
            <a:xfrm>
              <a:off x="11004930" y="8511226"/>
              <a:ext cx="168127" cy="111412"/>
            </a:xfrm>
            <a:custGeom>
              <a:avLst/>
              <a:gdLst>
                <a:gd name="connsiteX0" fmla="*/ 168127 w 168127"/>
                <a:gd name="connsiteY0" fmla="*/ 20225 h 111412"/>
                <a:gd name="connsiteX1" fmla="*/ 142480 w 168127"/>
                <a:gd name="connsiteY1" fmla="*/ 111413 h 111412"/>
                <a:gd name="connsiteX2" fmla="*/ 0 w 168127"/>
                <a:gd name="connsiteY2" fmla="*/ 278 h 111412"/>
                <a:gd name="connsiteX3" fmla="*/ 168127 w 168127"/>
                <a:gd name="connsiteY3" fmla="*/ 20225 h 111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127" h="111412">
                  <a:moveTo>
                    <a:pt x="168127" y="20225"/>
                  </a:moveTo>
                  <a:lnTo>
                    <a:pt x="142480" y="111413"/>
                  </a:lnTo>
                  <a:lnTo>
                    <a:pt x="0" y="278"/>
                  </a:lnTo>
                  <a:cubicBezTo>
                    <a:pt x="0" y="-2572"/>
                    <a:pt x="128232" y="17376"/>
                    <a:pt x="168127" y="20225"/>
                  </a:cubicBezTo>
                  <a:close/>
                </a:path>
              </a:pathLst>
            </a:custGeom>
            <a:solidFill>
              <a:srgbClr val="FFFFFF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87B6577B-7CAF-4DB0-9A99-250BC46631A4}"/>
                </a:ext>
              </a:extLst>
            </p:cNvPr>
            <p:cNvSpPr/>
            <p:nvPr/>
          </p:nvSpPr>
          <p:spPr>
            <a:xfrm>
              <a:off x="11173057" y="8511257"/>
              <a:ext cx="102585" cy="108531"/>
            </a:xfrm>
            <a:custGeom>
              <a:avLst/>
              <a:gdLst>
                <a:gd name="connsiteX0" fmla="*/ 0 w 102585"/>
                <a:gd name="connsiteY0" fmla="*/ 20194 h 108531"/>
                <a:gd name="connsiteX1" fmla="*/ 34195 w 102585"/>
                <a:gd name="connsiteY1" fmla="*/ 108532 h 108531"/>
                <a:gd name="connsiteX2" fmla="*/ 102585 w 102585"/>
                <a:gd name="connsiteY2" fmla="*/ 246 h 108531"/>
                <a:gd name="connsiteX3" fmla="*/ 0 w 102585"/>
                <a:gd name="connsiteY3" fmla="*/ 20194 h 108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585" h="108531">
                  <a:moveTo>
                    <a:pt x="0" y="20194"/>
                  </a:moveTo>
                  <a:lnTo>
                    <a:pt x="34195" y="108532"/>
                  </a:lnTo>
                  <a:lnTo>
                    <a:pt x="102585" y="246"/>
                  </a:lnTo>
                  <a:cubicBezTo>
                    <a:pt x="102585" y="-2603"/>
                    <a:pt x="37045" y="20194"/>
                    <a:pt x="0" y="20194"/>
                  </a:cubicBezTo>
                  <a:close/>
                </a:path>
              </a:pathLst>
            </a:custGeom>
            <a:solidFill>
              <a:srgbClr val="FFFFFF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F7BC2C8E-D2D8-47C4-B039-6110334E7F87}"/>
                </a:ext>
              </a:extLst>
            </p:cNvPr>
            <p:cNvSpPr/>
            <p:nvPr/>
          </p:nvSpPr>
          <p:spPr>
            <a:xfrm>
              <a:off x="11549204" y="8625488"/>
              <a:ext cx="49624" cy="515778"/>
            </a:xfrm>
            <a:custGeom>
              <a:avLst/>
              <a:gdLst>
                <a:gd name="connsiteX0" fmla="*/ 45594 w 49624"/>
                <a:gd name="connsiteY0" fmla="*/ 515778 h 515778"/>
                <a:gd name="connsiteX1" fmla="*/ 39894 w 49624"/>
                <a:gd name="connsiteY1" fmla="*/ 510079 h 515778"/>
                <a:gd name="connsiteX2" fmla="*/ 0 w 49624"/>
                <a:gd name="connsiteY2" fmla="*/ 5699 h 515778"/>
                <a:gd name="connsiteX3" fmla="*/ 2850 w 49624"/>
                <a:gd name="connsiteY3" fmla="*/ 0 h 515778"/>
                <a:gd name="connsiteX4" fmla="*/ 8549 w 49624"/>
                <a:gd name="connsiteY4" fmla="*/ 2850 h 515778"/>
                <a:gd name="connsiteX5" fmla="*/ 48444 w 49624"/>
                <a:gd name="connsiteY5" fmla="*/ 510079 h 515778"/>
                <a:gd name="connsiteX6" fmla="*/ 45594 w 49624"/>
                <a:gd name="connsiteY6" fmla="*/ 515778 h 515778"/>
                <a:gd name="connsiteX7" fmla="*/ 45594 w 49624"/>
                <a:gd name="connsiteY7" fmla="*/ 515778 h 515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624" h="515778">
                  <a:moveTo>
                    <a:pt x="45594" y="515778"/>
                  </a:moveTo>
                  <a:cubicBezTo>
                    <a:pt x="42744" y="515778"/>
                    <a:pt x="39894" y="512929"/>
                    <a:pt x="39894" y="510079"/>
                  </a:cubicBezTo>
                  <a:cubicBezTo>
                    <a:pt x="39894" y="504380"/>
                    <a:pt x="5700" y="42744"/>
                    <a:pt x="0" y="5699"/>
                  </a:cubicBezTo>
                  <a:cubicBezTo>
                    <a:pt x="0" y="2850"/>
                    <a:pt x="0" y="0"/>
                    <a:pt x="2850" y="0"/>
                  </a:cubicBezTo>
                  <a:cubicBezTo>
                    <a:pt x="5700" y="0"/>
                    <a:pt x="8549" y="0"/>
                    <a:pt x="8549" y="2850"/>
                  </a:cubicBezTo>
                  <a:cubicBezTo>
                    <a:pt x="17098" y="39895"/>
                    <a:pt x="48444" y="490132"/>
                    <a:pt x="48444" y="510079"/>
                  </a:cubicBezTo>
                  <a:cubicBezTo>
                    <a:pt x="51293" y="512929"/>
                    <a:pt x="48444" y="515778"/>
                    <a:pt x="45594" y="515778"/>
                  </a:cubicBezTo>
                  <a:cubicBezTo>
                    <a:pt x="45594" y="515778"/>
                    <a:pt x="45594" y="515778"/>
                    <a:pt x="45594" y="515778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F2BC7A3-C515-4C32-AAEE-A460830CB2BA}"/>
                </a:ext>
              </a:extLst>
            </p:cNvPr>
            <p:cNvSpPr/>
            <p:nvPr/>
          </p:nvSpPr>
          <p:spPr>
            <a:xfrm>
              <a:off x="11144561" y="10053139"/>
              <a:ext cx="65540" cy="341952"/>
            </a:xfrm>
            <a:custGeom>
              <a:avLst/>
              <a:gdLst>
                <a:gd name="connsiteX0" fmla="*/ 5699 w 65540"/>
                <a:gd name="connsiteY0" fmla="*/ 341953 h 341952"/>
                <a:gd name="connsiteX1" fmla="*/ 5699 w 65540"/>
                <a:gd name="connsiteY1" fmla="*/ 341953 h 341952"/>
                <a:gd name="connsiteX2" fmla="*/ 0 w 65540"/>
                <a:gd name="connsiteY2" fmla="*/ 333404 h 341952"/>
                <a:gd name="connsiteX3" fmla="*/ 54142 w 65540"/>
                <a:gd name="connsiteY3" fmla="*/ 5700 h 341952"/>
                <a:gd name="connsiteX4" fmla="*/ 59841 w 65540"/>
                <a:gd name="connsiteY4" fmla="*/ 0 h 341952"/>
                <a:gd name="connsiteX5" fmla="*/ 65541 w 65540"/>
                <a:gd name="connsiteY5" fmla="*/ 5700 h 341952"/>
                <a:gd name="connsiteX6" fmla="*/ 11398 w 65540"/>
                <a:gd name="connsiteY6" fmla="*/ 336254 h 341952"/>
                <a:gd name="connsiteX7" fmla="*/ 5699 w 65540"/>
                <a:gd name="connsiteY7" fmla="*/ 341953 h 341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5540" h="341952">
                  <a:moveTo>
                    <a:pt x="5699" y="341953"/>
                  </a:moveTo>
                  <a:cubicBezTo>
                    <a:pt x="5699" y="341953"/>
                    <a:pt x="5699" y="341953"/>
                    <a:pt x="5699" y="341953"/>
                  </a:cubicBezTo>
                  <a:cubicBezTo>
                    <a:pt x="0" y="339104"/>
                    <a:pt x="0" y="336254"/>
                    <a:pt x="0" y="333404"/>
                  </a:cubicBezTo>
                  <a:cubicBezTo>
                    <a:pt x="45593" y="227968"/>
                    <a:pt x="54142" y="8549"/>
                    <a:pt x="54142" y="5700"/>
                  </a:cubicBezTo>
                  <a:cubicBezTo>
                    <a:pt x="54142" y="2850"/>
                    <a:pt x="56992" y="0"/>
                    <a:pt x="59841" y="0"/>
                  </a:cubicBezTo>
                  <a:cubicBezTo>
                    <a:pt x="62691" y="0"/>
                    <a:pt x="65541" y="2850"/>
                    <a:pt x="65541" y="5700"/>
                  </a:cubicBezTo>
                  <a:cubicBezTo>
                    <a:pt x="65541" y="14248"/>
                    <a:pt x="56992" y="227968"/>
                    <a:pt x="11398" y="336254"/>
                  </a:cubicBezTo>
                  <a:cubicBezTo>
                    <a:pt x="11398" y="341953"/>
                    <a:pt x="8548" y="341953"/>
                    <a:pt x="5699" y="341953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1D24D41B-A9B6-4950-9A88-A9255A2A5C18}"/>
                </a:ext>
              </a:extLst>
            </p:cNvPr>
            <p:cNvSpPr/>
            <p:nvPr/>
          </p:nvSpPr>
          <p:spPr>
            <a:xfrm>
              <a:off x="11171877" y="9987599"/>
              <a:ext cx="146509" cy="333404"/>
            </a:xfrm>
            <a:custGeom>
              <a:avLst/>
              <a:gdLst>
                <a:gd name="connsiteX0" fmla="*/ 6879 w 146509"/>
                <a:gd name="connsiteY0" fmla="*/ 333404 h 333404"/>
                <a:gd name="connsiteX1" fmla="*/ 1180 w 146509"/>
                <a:gd name="connsiteY1" fmla="*/ 330554 h 333404"/>
                <a:gd name="connsiteX2" fmla="*/ 4029 w 146509"/>
                <a:gd name="connsiteY2" fmla="*/ 322005 h 333404"/>
                <a:gd name="connsiteX3" fmla="*/ 103765 w 146509"/>
                <a:gd name="connsiteY3" fmla="*/ 250765 h 333404"/>
                <a:gd name="connsiteX4" fmla="*/ 135111 w 146509"/>
                <a:gd name="connsiteY4" fmla="*/ 5700 h 333404"/>
                <a:gd name="connsiteX5" fmla="*/ 140811 w 146509"/>
                <a:gd name="connsiteY5" fmla="*/ 0 h 333404"/>
                <a:gd name="connsiteX6" fmla="*/ 146510 w 146509"/>
                <a:gd name="connsiteY6" fmla="*/ 5700 h 333404"/>
                <a:gd name="connsiteX7" fmla="*/ 115165 w 146509"/>
                <a:gd name="connsiteY7" fmla="*/ 256464 h 333404"/>
                <a:gd name="connsiteX8" fmla="*/ 12579 w 146509"/>
                <a:gd name="connsiteY8" fmla="*/ 330554 h 333404"/>
                <a:gd name="connsiteX9" fmla="*/ 6879 w 146509"/>
                <a:gd name="connsiteY9" fmla="*/ 333404 h 333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6509" h="333404">
                  <a:moveTo>
                    <a:pt x="6879" y="333404"/>
                  </a:moveTo>
                  <a:cubicBezTo>
                    <a:pt x="4029" y="333404"/>
                    <a:pt x="4029" y="333404"/>
                    <a:pt x="1180" y="330554"/>
                  </a:cubicBezTo>
                  <a:cubicBezTo>
                    <a:pt x="-1669" y="327705"/>
                    <a:pt x="1180" y="324855"/>
                    <a:pt x="4029" y="322005"/>
                  </a:cubicBezTo>
                  <a:cubicBezTo>
                    <a:pt x="41075" y="299208"/>
                    <a:pt x="95217" y="259314"/>
                    <a:pt x="103765" y="250765"/>
                  </a:cubicBezTo>
                  <a:cubicBezTo>
                    <a:pt x="112315" y="239367"/>
                    <a:pt x="126563" y="94037"/>
                    <a:pt x="135111" y="5700"/>
                  </a:cubicBezTo>
                  <a:cubicBezTo>
                    <a:pt x="135111" y="2850"/>
                    <a:pt x="137961" y="0"/>
                    <a:pt x="140811" y="0"/>
                  </a:cubicBezTo>
                  <a:cubicBezTo>
                    <a:pt x="143661" y="0"/>
                    <a:pt x="146510" y="2850"/>
                    <a:pt x="146510" y="5700"/>
                  </a:cubicBezTo>
                  <a:cubicBezTo>
                    <a:pt x="143661" y="45594"/>
                    <a:pt x="123713" y="242216"/>
                    <a:pt x="115165" y="256464"/>
                  </a:cubicBezTo>
                  <a:cubicBezTo>
                    <a:pt x="103765" y="270712"/>
                    <a:pt x="21127" y="324855"/>
                    <a:pt x="12579" y="330554"/>
                  </a:cubicBezTo>
                  <a:cubicBezTo>
                    <a:pt x="9729" y="333404"/>
                    <a:pt x="6879" y="333404"/>
                    <a:pt x="6879" y="333404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ABBAFE76-3263-4D96-8D35-623C20E1FCF5}"/>
                </a:ext>
              </a:extLst>
            </p:cNvPr>
            <p:cNvSpPr/>
            <p:nvPr/>
          </p:nvSpPr>
          <p:spPr>
            <a:xfrm>
              <a:off x="10657595" y="12119103"/>
              <a:ext cx="267309" cy="313456"/>
            </a:xfrm>
            <a:custGeom>
              <a:avLst/>
              <a:gdLst>
                <a:gd name="connsiteX0" fmla="*/ 2533 w 267309"/>
                <a:gd name="connsiteY0" fmla="*/ 210871 h 313456"/>
                <a:gd name="connsiteX1" fmla="*/ 2533 w 267309"/>
                <a:gd name="connsiteY1" fmla="*/ 262164 h 313456"/>
                <a:gd name="connsiteX2" fmla="*/ 127916 w 267309"/>
                <a:gd name="connsiteY2" fmla="*/ 313456 h 313456"/>
                <a:gd name="connsiteX3" fmla="*/ 261846 w 267309"/>
                <a:gd name="connsiteY3" fmla="*/ 262164 h 313456"/>
                <a:gd name="connsiteX4" fmla="*/ 250448 w 267309"/>
                <a:gd name="connsiteY4" fmla="*/ 37045 h 313456"/>
                <a:gd name="connsiteX5" fmla="*/ 236200 w 267309"/>
                <a:gd name="connsiteY5" fmla="*/ 0 h 313456"/>
                <a:gd name="connsiteX6" fmla="*/ 219102 w 267309"/>
                <a:gd name="connsiteY6" fmla="*/ 210871 h 313456"/>
                <a:gd name="connsiteX7" fmla="*/ 2533 w 267309"/>
                <a:gd name="connsiteY7" fmla="*/ 210871 h 313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7309" h="313456">
                  <a:moveTo>
                    <a:pt x="2533" y="210871"/>
                  </a:moveTo>
                  <a:cubicBezTo>
                    <a:pt x="2533" y="210871"/>
                    <a:pt x="-3166" y="250766"/>
                    <a:pt x="2533" y="262164"/>
                  </a:cubicBezTo>
                  <a:cubicBezTo>
                    <a:pt x="11082" y="279262"/>
                    <a:pt x="68074" y="313456"/>
                    <a:pt x="127916" y="313456"/>
                  </a:cubicBezTo>
                  <a:cubicBezTo>
                    <a:pt x="199156" y="313456"/>
                    <a:pt x="247598" y="279262"/>
                    <a:pt x="261846" y="262164"/>
                  </a:cubicBezTo>
                  <a:cubicBezTo>
                    <a:pt x="278944" y="245066"/>
                    <a:pt x="250448" y="37045"/>
                    <a:pt x="250448" y="37045"/>
                  </a:cubicBezTo>
                  <a:lnTo>
                    <a:pt x="236200" y="0"/>
                  </a:lnTo>
                  <a:lnTo>
                    <a:pt x="219102" y="210871"/>
                  </a:lnTo>
                  <a:lnTo>
                    <a:pt x="2533" y="210871"/>
                  </a:ln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416663A9-0FD7-437B-B5FA-8D2FE0013D48}"/>
                </a:ext>
              </a:extLst>
            </p:cNvPr>
            <p:cNvSpPr/>
            <p:nvPr/>
          </p:nvSpPr>
          <p:spPr>
            <a:xfrm>
              <a:off x="10659331" y="12104854"/>
              <a:ext cx="253479" cy="290857"/>
            </a:xfrm>
            <a:custGeom>
              <a:avLst/>
              <a:gdLst>
                <a:gd name="connsiteX0" fmla="*/ 72037 w 253479"/>
                <a:gd name="connsiteY0" fmla="*/ 0 h 290857"/>
                <a:gd name="connsiteX1" fmla="*/ 237314 w 253479"/>
                <a:gd name="connsiteY1" fmla="*/ 14248 h 290857"/>
                <a:gd name="connsiteX2" fmla="*/ 251562 w 253479"/>
                <a:gd name="connsiteY2" fmla="*/ 233668 h 290857"/>
                <a:gd name="connsiteX3" fmla="*/ 120480 w 253479"/>
                <a:gd name="connsiteY3" fmla="*/ 290660 h 290857"/>
                <a:gd name="connsiteX4" fmla="*/ 797 w 253479"/>
                <a:gd name="connsiteY4" fmla="*/ 230818 h 290857"/>
                <a:gd name="connsiteX5" fmla="*/ 72037 w 253479"/>
                <a:gd name="connsiteY5" fmla="*/ 0 h 29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479" h="290857">
                  <a:moveTo>
                    <a:pt x="72037" y="0"/>
                  </a:moveTo>
                  <a:cubicBezTo>
                    <a:pt x="72037" y="0"/>
                    <a:pt x="129029" y="65541"/>
                    <a:pt x="237314" y="14248"/>
                  </a:cubicBezTo>
                  <a:cubicBezTo>
                    <a:pt x="237314" y="14248"/>
                    <a:pt x="260110" y="202322"/>
                    <a:pt x="251562" y="233668"/>
                  </a:cubicBezTo>
                  <a:cubicBezTo>
                    <a:pt x="240163" y="265014"/>
                    <a:pt x="157525" y="293510"/>
                    <a:pt x="120480" y="290660"/>
                  </a:cubicBezTo>
                  <a:cubicBezTo>
                    <a:pt x="83435" y="287810"/>
                    <a:pt x="12195" y="253615"/>
                    <a:pt x="797" y="230818"/>
                  </a:cubicBezTo>
                  <a:cubicBezTo>
                    <a:pt x="-7753" y="210871"/>
                    <a:pt x="54939" y="48444"/>
                    <a:pt x="72037" y="0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13B87D96-C6CB-403F-A2F7-0D3BD7F03BD6}"/>
                </a:ext>
              </a:extLst>
            </p:cNvPr>
            <p:cNvSpPr/>
            <p:nvPr/>
          </p:nvSpPr>
          <p:spPr>
            <a:xfrm>
              <a:off x="10724488" y="12095126"/>
              <a:ext cx="177856" cy="46774"/>
            </a:xfrm>
            <a:custGeom>
              <a:avLst/>
              <a:gdLst>
                <a:gd name="connsiteX0" fmla="*/ 86669 w 177856"/>
                <a:gd name="connsiteY0" fmla="*/ 46774 h 46774"/>
                <a:gd name="connsiteX1" fmla="*/ 1180 w 177856"/>
                <a:gd name="connsiteY1" fmla="*/ 9729 h 46774"/>
                <a:gd name="connsiteX2" fmla="*/ 4030 w 177856"/>
                <a:gd name="connsiteY2" fmla="*/ 1180 h 46774"/>
                <a:gd name="connsiteX3" fmla="*/ 12579 w 177856"/>
                <a:gd name="connsiteY3" fmla="*/ 4030 h 46774"/>
                <a:gd name="connsiteX4" fmla="*/ 172157 w 177856"/>
                <a:gd name="connsiteY4" fmla="*/ 15428 h 46774"/>
                <a:gd name="connsiteX5" fmla="*/ 177856 w 177856"/>
                <a:gd name="connsiteY5" fmla="*/ 18278 h 46774"/>
                <a:gd name="connsiteX6" fmla="*/ 175006 w 177856"/>
                <a:gd name="connsiteY6" fmla="*/ 23977 h 46774"/>
                <a:gd name="connsiteX7" fmla="*/ 86669 w 177856"/>
                <a:gd name="connsiteY7" fmla="*/ 46774 h 46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856" h="46774">
                  <a:moveTo>
                    <a:pt x="86669" y="46774"/>
                  </a:moveTo>
                  <a:cubicBezTo>
                    <a:pt x="26827" y="46774"/>
                    <a:pt x="4030" y="12579"/>
                    <a:pt x="1180" y="9729"/>
                  </a:cubicBezTo>
                  <a:cubicBezTo>
                    <a:pt x="-1669" y="6880"/>
                    <a:pt x="1180" y="4030"/>
                    <a:pt x="4030" y="1180"/>
                  </a:cubicBezTo>
                  <a:cubicBezTo>
                    <a:pt x="6880" y="-1669"/>
                    <a:pt x="9729" y="1180"/>
                    <a:pt x="12579" y="4030"/>
                  </a:cubicBezTo>
                  <a:cubicBezTo>
                    <a:pt x="15428" y="6880"/>
                    <a:pt x="55323" y="66721"/>
                    <a:pt x="172157" y="15428"/>
                  </a:cubicBezTo>
                  <a:cubicBezTo>
                    <a:pt x="175006" y="15428"/>
                    <a:pt x="177856" y="15428"/>
                    <a:pt x="177856" y="18278"/>
                  </a:cubicBezTo>
                  <a:cubicBezTo>
                    <a:pt x="177856" y="21128"/>
                    <a:pt x="177856" y="23977"/>
                    <a:pt x="175006" y="23977"/>
                  </a:cubicBezTo>
                  <a:cubicBezTo>
                    <a:pt x="137961" y="43924"/>
                    <a:pt x="109465" y="46774"/>
                    <a:pt x="86669" y="46774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B376B60C-BB91-4C56-94DA-3572399213B7}"/>
                </a:ext>
              </a:extLst>
            </p:cNvPr>
            <p:cNvSpPr/>
            <p:nvPr/>
          </p:nvSpPr>
          <p:spPr>
            <a:xfrm>
              <a:off x="10739917" y="12167546"/>
              <a:ext cx="113984" cy="25646"/>
            </a:xfrm>
            <a:custGeom>
              <a:avLst/>
              <a:gdLst>
                <a:gd name="connsiteX0" fmla="*/ 74090 w 113984"/>
                <a:gd name="connsiteY0" fmla="*/ 25646 h 25646"/>
                <a:gd name="connsiteX1" fmla="*/ 2850 w 113984"/>
                <a:gd name="connsiteY1" fmla="*/ 8548 h 25646"/>
                <a:gd name="connsiteX2" fmla="*/ 0 w 113984"/>
                <a:gd name="connsiteY2" fmla="*/ 2850 h 25646"/>
                <a:gd name="connsiteX3" fmla="*/ 5700 w 113984"/>
                <a:gd name="connsiteY3" fmla="*/ 0 h 25646"/>
                <a:gd name="connsiteX4" fmla="*/ 108285 w 113984"/>
                <a:gd name="connsiteY4" fmla="*/ 11398 h 25646"/>
                <a:gd name="connsiteX5" fmla="*/ 113984 w 113984"/>
                <a:gd name="connsiteY5" fmla="*/ 14248 h 25646"/>
                <a:gd name="connsiteX6" fmla="*/ 111134 w 113984"/>
                <a:gd name="connsiteY6" fmla="*/ 19948 h 25646"/>
                <a:gd name="connsiteX7" fmla="*/ 74090 w 113984"/>
                <a:gd name="connsiteY7" fmla="*/ 25646 h 2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984" h="25646">
                  <a:moveTo>
                    <a:pt x="74090" y="25646"/>
                  </a:moveTo>
                  <a:cubicBezTo>
                    <a:pt x="31346" y="25646"/>
                    <a:pt x="2850" y="11398"/>
                    <a:pt x="2850" y="8548"/>
                  </a:cubicBezTo>
                  <a:cubicBezTo>
                    <a:pt x="0" y="8548"/>
                    <a:pt x="0" y="2850"/>
                    <a:pt x="0" y="2850"/>
                  </a:cubicBezTo>
                  <a:cubicBezTo>
                    <a:pt x="0" y="0"/>
                    <a:pt x="5700" y="0"/>
                    <a:pt x="5700" y="0"/>
                  </a:cubicBezTo>
                  <a:cubicBezTo>
                    <a:pt x="5700" y="0"/>
                    <a:pt x="51293" y="22796"/>
                    <a:pt x="108285" y="11398"/>
                  </a:cubicBezTo>
                  <a:cubicBezTo>
                    <a:pt x="111134" y="11398"/>
                    <a:pt x="113984" y="11398"/>
                    <a:pt x="113984" y="14248"/>
                  </a:cubicBezTo>
                  <a:cubicBezTo>
                    <a:pt x="113984" y="17098"/>
                    <a:pt x="113984" y="19948"/>
                    <a:pt x="111134" y="19948"/>
                  </a:cubicBezTo>
                  <a:cubicBezTo>
                    <a:pt x="99736" y="25646"/>
                    <a:pt x="85488" y="25646"/>
                    <a:pt x="74090" y="25646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41A921FB-18AE-4DAD-A6AA-706BABC52BF2}"/>
                </a:ext>
              </a:extLst>
            </p:cNvPr>
            <p:cNvSpPr/>
            <p:nvPr/>
          </p:nvSpPr>
          <p:spPr>
            <a:xfrm>
              <a:off x="10728519" y="12218839"/>
              <a:ext cx="113984" cy="25647"/>
            </a:xfrm>
            <a:custGeom>
              <a:avLst/>
              <a:gdLst>
                <a:gd name="connsiteX0" fmla="*/ 74090 w 113984"/>
                <a:gd name="connsiteY0" fmla="*/ 25647 h 25647"/>
                <a:gd name="connsiteX1" fmla="*/ 2850 w 113984"/>
                <a:gd name="connsiteY1" fmla="*/ 8549 h 25647"/>
                <a:gd name="connsiteX2" fmla="*/ 0 w 113984"/>
                <a:gd name="connsiteY2" fmla="*/ 2850 h 25647"/>
                <a:gd name="connsiteX3" fmla="*/ 5699 w 113984"/>
                <a:gd name="connsiteY3" fmla="*/ 0 h 25647"/>
                <a:gd name="connsiteX4" fmla="*/ 108285 w 113984"/>
                <a:gd name="connsiteY4" fmla="*/ 11399 h 25647"/>
                <a:gd name="connsiteX5" fmla="*/ 113984 w 113984"/>
                <a:gd name="connsiteY5" fmla="*/ 14248 h 25647"/>
                <a:gd name="connsiteX6" fmla="*/ 111134 w 113984"/>
                <a:gd name="connsiteY6" fmla="*/ 19948 h 25647"/>
                <a:gd name="connsiteX7" fmla="*/ 74090 w 113984"/>
                <a:gd name="connsiteY7" fmla="*/ 25647 h 2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984" h="25647">
                  <a:moveTo>
                    <a:pt x="74090" y="25647"/>
                  </a:moveTo>
                  <a:cubicBezTo>
                    <a:pt x="31346" y="25647"/>
                    <a:pt x="2850" y="11399"/>
                    <a:pt x="2850" y="8549"/>
                  </a:cubicBezTo>
                  <a:cubicBezTo>
                    <a:pt x="0" y="8549"/>
                    <a:pt x="0" y="2850"/>
                    <a:pt x="0" y="2850"/>
                  </a:cubicBezTo>
                  <a:cubicBezTo>
                    <a:pt x="0" y="0"/>
                    <a:pt x="5699" y="0"/>
                    <a:pt x="5699" y="0"/>
                  </a:cubicBezTo>
                  <a:cubicBezTo>
                    <a:pt x="5699" y="0"/>
                    <a:pt x="51293" y="22797"/>
                    <a:pt x="108285" y="11399"/>
                  </a:cubicBezTo>
                  <a:cubicBezTo>
                    <a:pt x="111134" y="11399"/>
                    <a:pt x="113984" y="11399"/>
                    <a:pt x="113984" y="14248"/>
                  </a:cubicBezTo>
                  <a:cubicBezTo>
                    <a:pt x="113984" y="17098"/>
                    <a:pt x="113984" y="19948"/>
                    <a:pt x="111134" y="19948"/>
                  </a:cubicBezTo>
                  <a:cubicBezTo>
                    <a:pt x="99736" y="25647"/>
                    <a:pt x="85488" y="25647"/>
                    <a:pt x="74090" y="25647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5" name="图形 1">
              <a:extLst>
                <a:ext uri="{FF2B5EF4-FFF2-40B4-BE49-F238E27FC236}">
                  <a16:creationId xmlns:a16="http://schemas.microsoft.com/office/drawing/2014/main" id="{17E576CB-F066-496D-8F5D-4A96AFE7D31D}"/>
                </a:ext>
              </a:extLst>
            </p:cNvPr>
            <p:cNvGrpSpPr/>
            <p:nvPr/>
          </p:nvGrpSpPr>
          <p:grpSpPr>
            <a:xfrm>
              <a:off x="9802397" y="7645219"/>
              <a:ext cx="361985" cy="241854"/>
              <a:chOff x="9802397" y="7645219"/>
              <a:chExt cx="361985" cy="241854"/>
            </a:xfrm>
          </p:grpSpPr>
          <p:grpSp>
            <p:nvGrpSpPr>
              <p:cNvPr id="74" name="图形 1">
                <a:extLst>
                  <a:ext uri="{FF2B5EF4-FFF2-40B4-BE49-F238E27FC236}">
                    <a16:creationId xmlns:a16="http://schemas.microsoft.com/office/drawing/2014/main" id="{E39A14ED-8FF9-4150-AAF8-47923090CF43}"/>
                  </a:ext>
                </a:extLst>
              </p:cNvPr>
              <p:cNvGrpSpPr/>
              <p:nvPr/>
            </p:nvGrpSpPr>
            <p:grpSpPr>
              <a:xfrm>
                <a:off x="9802397" y="7645219"/>
                <a:ext cx="361985" cy="241854"/>
                <a:chOff x="9802397" y="7645219"/>
                <a:chExt cx="361985" cy="241854"/>
              </a:xfrm>
            </p:grpSpPr>
            <p:sp>
              <p:nvSpPr>
                <p:cNvPr id="77" name="任意多边形: 形状 76">
                  <a:extLst>
                    <a:ext uri="{FF2B5EF4-FFF2-40B4-BE49-F238E27FC236}">
                      <a16:creationId xmlns:a16="http://schemas.microsoft.com/office/drawing/2014/main" id="{2CFCA651-3CED-4BA2-ACD1-72B519BFF22F}"/>
                    </a:ext>
                  </a:extLst>
                </p:cNvPr>
                <p:cNvSpPr/>
                <p:nvPr/>
              </p:nvSpPr>
              <p:spPr>
                <a:xfrm>
                  <a:off x="9802397" y="7645219"/>
                  <a:ext cx="361985" cy="241854"/>
                </a:xfrm>
                <a:custGeom>
                  <a:avLst/>
                  <a:gdLst>
                    <a:gd name="connsiteX0" fmla="*/ 165277 w 361985"/>
                    <a:gd name="connsiteY0" fmla="*/ 213726 h 241854"/>
                    <a:gd name="connsiteX1" fmla="*/ 299208 w 361985"/>
                    <a:gd name="connsiteY1" fmla="*/ 236523 h 241854"/>
                    <a:gd name="connsiteX2" fmla="*/ 361899 w 361985"/>
                    <a:gd name="connsiteY2" fmla="*/ 156734 h 241854"/>
                    <a:gd name="connsiteX3" fmla="*/ 279261 w 361985"/>
                    <a:gd name="connsiteY3" fmla="*/ 5705 h 241854"/>
                    <a:gd name="connsiteX4" fmla="*/ 247915 w 361985"/>
                    <a:gd name="connsiteY4" fmla="*/ 28502 h 241854"/>
                    <a:gd name="connsiteX5" fmla="*/ 267863 w 361985"/>
                    <a:gd name="connsiteY5" fmla="*/ 99742 h 241854"/>
                    <a:gd name="connsiteX6" fmla="*/ 91187 w 361985"/>
                    <a:gd name="connsiteY6" fmla="*/ 37050 h 241854"/>
                    <a:gd name="connsiteX7" fmla="*/ 59842 w 361985"/>
                    <a:gd name="connsiteY7" fmla="*/ 51298 h 241854"/>
                    <a:gd name="connsiteX8" fmla="*/ 99736 w 361985"/>
                    <a:gd name="connsiteY8" fmla="*/ 71246 h 241854"/>
                    <a:gd name="connsiteX9" fmla="*/ 153878 w 361985"/>
                    <a:gd name="connsiteY9" fmla="*/ 96892 h 241854"/>
                    <a:gd name="connsiteX10" fmla="*/ 76939 w 361985"/>
                    <a:gd name="connsiteY10" fmla="*/ 85494 h 241854"/>
                    <a:gd name="connsiteX11" fmla="*/ 19947 w 361985"/>
                    <a:gd name="connsiteY11" fmla="*/ 79795 h 241854"/>
                    <a:gd name="connsiteX12" fmla="*/ 0 w 361985"/>
                    <a:gd name="connsiteY12" fmla="*/ 99742 h 241854"/>
                    <a:gd name="connsiteX13" fmla="*/ 17098 w 361985"/>
                    <a:gd name="connsiteY13" fmla="*/ 122539 h 241854"/>
                    <a:gd name="connsiteX14" fmla="*/ 14248 w 361985"/>
                    <a:gd name="connsiteY14" fmla="*/ 122539 h 241854"/>
                    <a:gd name="connsiteX15" fmla="*/ 5699 w 361985"/>
                    <a:gd name="connsiteY15" fmla="*/ 131087 h 241854"/>
                    <a:gd name="connsiteX16" fmla="*/ 48443 w 361985"/>
                    <a:gd name="connsiteY16" fmla="*/ 151035 h 241854"/>
                    <a:gd name="connsiteX17" fmla="*/ 74090 w 361985"/>
                    <a:gd name="connsiteY17" fmla="*/ 156734 h 241854"/>
                    <a:gd name="connsiteX18" fmla="*/ 65541 w 361985"/>
                    <a:gd name="connsiteY18" fmla="*/ 156734 h 241854"/>
                    <a:gd name="connsiteX19" fmla="*/ 51293 w 361985"/>
                    <a:gd name="connsiteY19" fmla="*/ 170982 h 241854"/>
                    <a:gd name="connsiteX20" fmla="*/ 165277 w 361985"/>
                    <a:gd name="connsiteY20" fmla="*/ 213726 h 2418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61985" h="241854">
                      <a:moveTo>
                        <a:pt x="165277" y="213726"/>
                      </a:moveTo>
                      <a:cubicBezTo>
                        <a:pt x="208021" y="225124"/>
                        <a:pt x="256464" y="253620"/>
                        <a:pt x="299208" y="236523"/>
                      </a:cubicBezTo>
                      <a:cubicBezTo>
                        <a:pt x="327704" y="225124"/>
                        <a:pt x="361899" y="188079"/>
                        <a:pt x="361899" y="156734"/>
                      </a:cubicBezTo>
                      <a:cubicBezTo>
                        <a:pt x="364749" y="111140"/>
                        <a:pt x="296359" y="71246"/>
                        <a:pt x="279261" y="5705"/>
                      </a:cubicBezTo>
                      <a:cubicBezTo>
                        <a:pt x="276411" y="-8543"/>
                        <a:pt x="245066" y="5705"/>
                        <a:pt x="247915" y="28502"/>
                      </a:cubicBezTo>
                      <a:cubicBezTo>
                        <a:pt x="250765" y="56998"/>
                        <a:pt x="259314" y="82644"/>
                        <a:pt x="267863" y="99742"/>
                      </a:cubicBezTo>
                      <a:cubicBezTo>
                        <a:pt x="208021" y="82644"/>
                        <a:pt x="156728" y="42750"/>
                        <a:pt x="91187" y="37050"/>
                      </a:cubicBezTo>
                      <a:cubicBezTo>
                        <a:pt x="79789" y="37050"/>
                        <a:pt x="51293" y="37050"/>
                        <a:pt x="59842" y="51298"/>
                      </a:cubicBezTo>
                      <a:cubicBezTo>
                        <a:pt x="65541" y="59847"/>
                        <a:pt x="88338" y="65547"/>
                        <a:pt x="99736" y="71246"/>
                      </a:cubicBezTo>
                      <a:cubicBezTo>
                        <a:pt x="116834" y="79795"/>
                        <a:pt x="136781" y="88343"/>
                        <a:pt x="153878" y="96892"/>
                      </a:cubicBezTo>
                      <a:cubicBezTo>
                        <a:pt x="128232" y="94043"/>
                        <a:pt x="102586" y="88343"/>
                        <a:pt x="76939" y="85494"/>
                      </a:cubicBezTo>
                      <a:cubicBezTo>
                        <a:pt x="59842" y="82644"/>
                        <a:pt x="39894" y="76945"/>
                        <a:pt x="19947" y="79795"/>
                      </a:cubicBezTo>
                      <a:cubicBezTo>
                        <a:pt x="8548" y="82644"/>
                        <a:pt x="0" y="88343"/>
                        <a:pt x="0" y="99742"/>
                      </a:cubicBezTo>
                      <a:cubicBezTo>
                        <a:pt x="0" y="111140"/>
                        <a:pt x="8548" y="116839"/>
                        <a:pt x="17098" y="122539"/>
                      </a:cubicBezTo>
                      <a:cubicBezTo>
                        <a:pt x="17098" y="122539"/>
                        <a:pt x="14248" y="122539"/>
                        <a:pt x="14248" y="122539"/>
                      </a:cubicBezTo>
                      <a:cubicBezTo>
                        <a:pt x="11398" y="122539"/>
                        <a:pt x="5699" y="131087"/>
                        <a:pt x="5699" y="131087"/>
                      </a:cubicBezTo>
                      <a:cubicBezTo>
                        <a:pt x="11398" y="145335"/>
                        <a:pt x="31346" y="148185"/>
                        <a:pt x="48443" y="151035"/>
                      </a:cubicBezTo>
                      <a:cubicBezTo>
                        <a:pt x="56992" y="153884"/>
                        <a:pt x="65541" y="153884"/>
                        <a:pt x="74090" y="156734"/>
                      </a:cubicBezTo>
                      <a:cubicBezTo>
                        <a:pt x="71240" y="156734"/>
                        <a:pt x="68390" y="156734"/>
                        <a:pt x="65541" y="156734"/>
                      </a:cubicBezTo>
                      <a:cubicBezTo>
                        <a:pt x="56992" y="159583"/>
                        <a:pt x="51293" y="162433"/>
                        <a:pt x="51293" y="170982"/>
                      </a:cubicBezTo>
                      <a:cubicBezTo>
                        <a:pt x="59842" y="188079"/>
                        <a:pt x="139630" y="208027"/>
                        <a:pt x="165277" y="213726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: 形状 77">
                  <a:extLst>
                    <a:ext uri="{FF2B5EF4-FFF2-40B4-BE49-F238E27FC236}">
                      <a16:creationId xmlns:a16="http://schemas.microsoft.com/office/drawing/2014/main" id="{C4173A03-1C71-4216-A73A-0BEDD9B14E3A}"/>
                    </a:ext>
                  </a:extLst>
                </p:cNvPr>
                <p:cNvSpPr/>
                <p:nvPr/>
              </p:nvSpPr>
              <p:spPr>
                <a:xfrm>
                  <a:off x="10055141" y="7760878"/>
                  <a:ext cx="32216" cy="55322"/>
                </a:xfrm>
                <a:custGeom>
                  <a:avLst/>
                  <a:gdLst>
                    <a:gd name="connsiteX0" fmla="*/ 29366 w 32216"/>
                    <a:gd name="connsiteY0" fmla="*/ 55323 h 55322"/>
                    <a:gd name="connsiteX1" fmla="*/ 29366 w 32216"/>
                    <a:gd name="connsiteY1" fmla="*/ 55323 h 55322"/>
                    <a:gd name="connsiteX2" fmla="*/ 870 w 32216"/>
                    <a:gd name="connsiteY2" fmla="*/ 4030 h 55322"/>
                    <a:gd name="connsiteX3" fmla="*/ 6570 w 32216"/>
                    <a:gd name="connsiteY3" fmla="*/ 1180 h 55322"/>
                    <a:gd name="connsiteX4" fmla="*/ 9419 w 32216"/>
                    <a:gd name="connsiteY4" fmla="*/ 6880 h 55322"/>
                    <a:gd name="connsiteX5" fmla="*/ 29366 w 32216"/>
                    <a:gd name="connsiteY5" fmla="*/ 46774 h 55322"/>
                    <a:gd name="connsiteX6" fmla="*/ 32216 w 32216"/>
                    <a:gd name="connsiteY6" fmla="*/ 52473 h 55322"/>
                    <a:gd name="connsiteX7" fmla="*/ 29366 w 32216"/>
                    <a:gd name="connsiteY7" fmla="*/ 55323 h 55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216" h="55322">
                      <a:moveTo>
                        <a:pt x="29366" y="55323"/>
                      </a:moveTo>
                      <a:cubicBezTo>
                        <a:pt x="29366" y="55323"/>
                        <a:pt x="29366" y="55323"/>
                        <a:pt x="29366" y="55323"/>
                      </a:cubicBezTo>
                      <a:cubicBezTo>
                        <a:pt x="870" y="41075"/>
                        <a:pt x="-1979" y="15428"/>
                        <a:pt x="870" y="4030"/>
                      </a:cubicBezTo>
                      <a:cubicBezTo>
                        <a:pt x="870" y="1180"/>
                        <a:pt x="3720" y="-1669"/>
                        <a:pt x="6570" y="1180"/>
                      </a:cubicBezTo>
                      <a:cubicBezTo>
                        <a:pt x="9419" y="1180"/>
                        <a:pt x="12269" y="4030"/>
                        <a:pt x="9419" y="6880"/>
                      </a:cubicBezTo>
                      <a:cubicBezTo>
                        <a:pt x="9419" y="6880"/>
                        <a:pt x="3720" y="32526"/>
                        <a:pt x="29366" y="46774"/>
                      </a:cubicBezTo>
                      <a:cubicBezTo>
                        <a:pt x="32216" y="46774"/>
                        <a:pt x="32216" y="52473"/>
                        <a:pt x="32216" y="52473"/>
                      </a:cubicBezTo>
                      <a:cubicBezTo>
                        <a:pt x="32216" y="55323"/>
                        <a:pt x="32216" y="55323"/>
                        <a:pt x="29366" y="5532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9" name="任意多边形: 形状 78">
                  <a:extLst>
                    <a:ext uri="{FF2B5EF4-FFF2-40B4-BE49-F238E27FC236}">
                      <a16:creationId xmlns:a16="http://schemas.microsoft.com/office/drawing/2014/main" id="{BCFD29DB-C3F0-448F-8D44-3743FD49F629}"/>
                    </a:ext>
                  </a:extLst>
                </p:cNvPr>
                <p:cNvSpPr/>
                <p:nvPr/>
              </p:nvSpPr>
              <p:spPr>
                <a:xfrm>
                  <a:off x="9802397" y="7687968"/>
                  <a:ext cx="165276" cy="74089"/>
                </a:xfrm>
                <a:custGeom>
                  <a:avLst/>
                  <a:gdLst>
                    <a:gd name="connsiteX0" fmla="*/ 19947 w 165276"/>
                    <a:gd name="connsiteY0" fmla="*/ 74089 h 74089"/>
                    <a:gd name="connsiteX1" fmla="*/ 19947 w 165276"/>
                    <a:gd name="connsiteY1" fmla="*/ 74089 h 74089"/>
                    <a:gd name="connsiteX2" fmla="*/ 0 w 165276"/>
                    <a:gd name="connsiteY2" fmla="*/ 54142 h 74089"/>
                    <a:gd name="connsiteX3" fmla="*/ 11398 w 165276"/>
                    <a:gd name="connsiteY3" fmla="*/ 31345 h 74089"/>
                    <a:gd name="connsiteX4" fmla="*/ 113984 w 165276"/>
                    <a:gd name="connsiteY4" fmla="*/ 37045 h 74089"/>
                    <a:gd name="connsiteX5" fmla="*/ 62691 w 165276"/>
                    <a:gd name="connsiteY5" fmla="*/ 11398 h 74089"/>
                    <a:gd name="connsiteX6" fmla="*/ 59842 w 165276"/>
                    <a:gd name="connsiteY6" fmla="*/ 2849 h 74089"/>
                    <a:gd name="connsiteX7" fmla="*/ 68390 w 165276"/>
                    <a:gd name="connsiteY7" fmla="*/ 0 h 74089"/>
                    <a:gd name="connsiteX8" fmla="*/ 162427 w 165276"/>
                    <a:gd name="connsiteY8" fmla="*/ 45593 h 74089"/>
                    <a:gd name="connsiteX9" fmla="*/ 165277 w 165276"/>
                    <a:gd name="connsiteY9" fmla="*/ 51293 h 74089"/>
                    <a:gd name="connsiteX10" fmla="*/ 159578 w 165276"/>
                    <a:gd name="connsiteY10" fmla="*/ 54142 h 74089"/>
                    <a:gd name="connsiteX11" fmla="*/ 19947 w 165276"/>
                    <a:gd name="connsiteY11" fmla="*/ 37045 h 74089"/>
                    <a:gd name="connsiteX12" fmla="*/ 14248 w 165276"/>
                    <a:gd name="connsiteY12" fmla="*/ 48443 h 74089"/>
                    <a:gd name="connsiteX13" fmla="*/ 25646 w 165276"/>
                    <a:gd name="connsiteY13" fmla="*/ 59841 h 74089"/>
                    <a:gd name="connsiteX14" fmla="*/ 28496 w 165276"/>
                    <a:gd name="connsiteY14" fmla="*/ 65541 h 74089"/>
                    <a:gd name="connsiteX15" fmla="*/ 19947 w 165276"/>
                    <a:gd name="connsiteY15" fmla="*/ 74089 h 74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65276" h="74089">
                      <a:moveTo>
                        <a:pt x="19947" y="74089"/>
                      </a:moveTo>
                      <a:cubicBezTo>
                        <a:pt x="19947" y="74089"/>
                        <a:pt x="19947" y="74089"/>
                        <a:pt x="19947" y="74089"/>
                      </a:cubicBezTo>
                      <a:cubicBezTo>
                        <a:pt x="8548" y="68390"/>
                        <a:pt x="0" y="62691"/>
                        <a:pt x="0" y="54142"/>
                      </a:cubicBezTo>
                      <a:cubicBezTo>
                        <a:pt x="0" y="45593"/>
                        <a:pt x="2850" y="37045"/>
                        <a:pt x="11398" y="31345"/>
                      </a:cubicBezTo>
                      <a:cubicBezTo>
                        <a:pt x="19947" y="22797"/>
                        <a:pt x="71240" y="31345"/>
                        <a:pt x="113984" y="37045"/>
                      </a:cubicBezTo>
                      <a:cubicBezTo>
                        <a:pt x="88338" y="25646"/>
                        <a:pt x="62691" y="11398"/>
                        <a:pt x="62691" y="11398"/>
                      </a:cubicBezTo>
                      <a:cubicBezTo>
                        <a:pt x="59842" y="11398"/>
                        <a:pt x="59842" y="5699"/>
                        <a:pt x="59842" y="2849"/>
                      </a:cubicBezTo>
                      <a:cubicBezTo>
                        <a:pt x="59842" y="0"/>
                        <a:pt x="65541" y="0"/>
                        <a:pt x="68390" y="0"/>
                      </a:cubicBezTo>
                      <a:cubicBezTo>
                        <a:pt x="68390" y="0"/>
                        <a:pt x="125382" y="31345"/>
                        <a:pt x="162427" y="45593"/>
                      </a:cubicBezTo>
                      <a:cubicBezTo>
                        <a:pt x="165277" y="45593"/>
                        <a:pt x="165277" y="48443"/>
                        <a:pt x="165277" y="51293"/>
                      </a:cubicBezTo>
                      <a:cubicBezTo>
                        <a:pt x="165277" y="54142"/>
                        <a:pt x="162427" y="56992"/>
                        <a:pt x="159578" y="54142"/>
                      </a:cubicBezTo>
                      <a:cubicBezTo>
                        <a:pt x="96886" y="42744"/>
                        <a:pt x="28496" y="31345"/>
                        <a:pt x="19947" y="37045"/>
                      </a:cubicBezTo>
                      <a:cubicBezTo>
                        <a:pt x="17098" y="39894"/>
                        <a:pt x="11398" y="42744"/>
                        <a:pt x="14248" y="48443"/>
                      </a:cubicBezTo>
                      <a:cubicBezTo>
                        <a:pt x="14248" y="54142"/>
                        <a:pt x="19947" y="56992"/>
                        <a:pt x="25646" y="59841"/>
                      </a:cubicBezTo>
                      <a:cubicBezTo>
                        <a:pt x="28496" y="59841"/>
                        <a:pt x="28496" y="62691"/>
                        <a:pt x="28496" y="65541"/>
                      </a:cubicBezTo>
                      <a:cubicBezTo>
                        <a:pt x="25646" y="74089"/>
                        <a:pt x="22796" y="74089"/>
                        <a:pt x="19947" y="74089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56E43255-ED4C-4BB6-8E24-1D48FAE4C9B6}"/>
                  </a:ext>
                </a:extLst>
              </p:cNvPr>
              <p:cNvSpPr/>
              <p:nvPr/>
            </p:nvSpPr>
            <p:spPr>
              <a:xfrm>
                <a:off x="9856540" y="7793404"/>
                <a:ext cx="125382" cy="68390"/>
              </a:xfrm>
              <a:custGeom>
                <a:avLst/>
                <a:gdLst>
                  <a:gd name="connsiteX0" fmla="*/ 96886 w 125382"/>
                  <a:gd name="connsiteY0" fmla="*/ 68390 h 68390"/>
                  <a:gd name="connsiteX1" fmla="*/ 96886 w 125382"/>
                  <a:gd name="connsiteY1" fmla="*/ 68390 h 68390"/>
                  <a:gd name="connsiteX2" fmla="*/ 0 w 125382"/>
                  <a:gd name="connsiteY2" fmla="*/ 19947 h 68390"/>
                  <a:gd name="connsiteX3" fmla="*/ 5700 w 125382"/>
                  <a:gd name="connsiteY3" fmla="*/ 5699 h 68390"/>
                  <a:gd name="connsiteX4" fmla="*/ 34196 w 125382"/>
                  <a:gd name="connsiteY4" fmla="*/ 0 h 68390"/>
                  <a:gd name="connsiteX5" fmla="*/ 71240 w 125382"/>
                  <a:gd name="connsiteY5" fmla="*/ 8549 h 68390"/>
                  <a:gd name="connsiteX6" fmla="*/ 119684 w 125382"/>
                  <a:gd name="connsiteY6" fmla="*/ 19947 h 68390"/>
                  <a:gd name="connsiteX7" fmla="*/ 125382 w 125382"/>
                  <a:gd name="connsiteY7" fmla="*/ 25646 h 68390"/>
                  <a:gd name="connsiteX8" fmla="*/ 119684 w 125382"/>
                  <a:gd name="connsiteY8" fmla="*/ 31346 h 68390"/>
                  <a:gd name="connsiteX9" fmla="*/ 71240 w 125382"/>
                  <a:gd name="connsiteY9" fmla="*/ 19947 h 68390"/>
                  <a:gd name="connsiteX10" fmla="*/ 34196 w 125382"/>
                  <a:gd name="connsiteY10" fmla="*/ 11398 h 68390"/>
                  <a:gd name="connsiteX11" fmla="*/ 14248 w 125382"/>
                  <a:gd name="connsiteY11" fmla="*/ 14248 h 68390"/>
                  <a:gd name="connsiteX12" fmla="*/ 11398 w 125382"/>
                  <a:gd name="connsiteY12" fmla="*/ 22797 h 68390"/>
                  <a:gd name="connsiteX13" fmla="*/ 99736 w 125382"/>
                  <a:gd name="connsiteY13" fmla="*/ 59842 h 68390"/>
                  <a:gd name="connsiteX14" fmla="*/ 102586 w 125382"/>
                  <a:gd name="connsiteY14" fmla="*/ 65541 h 68390"/>
                  <a:gd name="connsiteX15" fmla="*/ 96886 w 125382"/>
                  <a:gd name="connsiteY15" fmla="*/ 68390 h 68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5382" h="68390">
                    <a:moveTo>
                      <a:pt x="96886" y="68390"/>
                    </a:moveTo>
                    <a:cubicBezTo>
                      <a:pt x="96886" y="68390"/>
                      <a:pt x="96886" y="68390"/>
                      <a:pt x="96886" y="68390"/>
                    </a:cubicBezTo>
                    <a:cubicBezTo>
                      <a:pt x="68390" y="59842"/>
                      <a:pt x="2850" y="39894"/>
                      <a:pt x="0" y="19947"/>
                    </a:cubicBezTo>
                    <a:cubicBezTo>
                      <a:pt x="0" y="11398"/>
                      <a:pt x="2850" y="5699"/>
                      <a:pt x="5700" y="5699"/>
                    </a:cubicBezTo>
                    <a:cubicBezTo>
                      <a:pt x="11398" y="0"/>
                      <a:pt x="19948" y="0"/>
                      <a:pt x="34196" y="0"/>
                    </a:cubicBezTo>
                    <a:cubicBezTo>
                      <a:pt x="42744" y="0"/>
                      <a:pt x="56992" y="5699"/>
                      <a:pt x="71240" y="8549"/>
                    </a:cubicBezTo>
                    <a:cubicBezTo>
                      <a:pt x="91188" y="14248"/>
                      <a:pt x="111134" y="19947"/>
                      <a:pt x="119684" y="19947"/>
                    </a:cubicBezTo>
                    <a:cubicBezTo>
                      <a:pt x="122533" y="19947"/>
                      <a:pt x="125382" y="22797"/>
                      <a:pt x="125382" y="25646"/>
                    </a:cubicBezTo>
                    <a:cubicBezTo>
                      <a:pt x="125382" y="28496"/>
                      <a:pt x="122533" y="31346"/>
                      <a:pt x="119684" y="31346"/>
                    </a:cubicBezTo>
                    <a:cubicBezTo>
                      <a:pt x="111134" y="31346"/>
                      <a:pt x="91188" y="25646"/>
                      <a:pt x="71240" y="19947"/>
                    </a:cubicBezTo>
                    <a:cubicBezTo>
                      <a:pt x="56992" y="17098"/>
                      <a:pt x="42744" y="11398"/>
                      <a:pt x="34196" y="11398"/>
                    </a:cubicBezTo>
                    <a:cubicBezTo>
                      <a:pt x="25646" y="11398"/>
                      <a:pt x="17098" y="11398"/>
                      <a:pt x="14248" y="14248"/>
                    </a:cubicBezTo>
                    <a:cubicBezTo>
                      <a:pt x="14248" y="14248"/>
                      <a:pt x="11398" y="17098"/>
                      <a:pt x="11398" y="22797"/>
                    </a:cubicBezTo>
                    <a:cubicBezTo>
                      <a:pt x="11398" y="31346"/>
                      <a:pt x="51293" y="48443"/>
                      <a:pt x="99736" y="59842"/>
                    </a:cubicBezTo>
                    <a:cubicBezTo>
                      <a:pt x="102586" y="59842"/>
                      <a:pt x="105436" y="62691"/>
                      <a:pt x="102586" y="65541"/>
                    </a:cubicBezTo>
                    <a:cubicBezTo>
                      <a:pt x="102586" y="65541"/>
                      <a:pt x="99736" y="68390"/>
                      <a:pt x="96886" y="6839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CD456A14-3807-4FF5-A36D-161B2CF08F5B}"/>
                  </a:ext>
                </a:extLst>
              </p:cNvPr>
              <p:cNvSpPr/>
              <p:nvPr/>
            </p:nvSpPr>
            <p:spPr>
              <a:xfrm>
                <a:off x="9806830" y="7747810"/>
                <a:ext cx="169393" cy="54142"/>
              </a:xfrm>
              <a:custGeom>
                <a:avLst/>
                <a:gdLst>
                  <a:gd name="connsiteX0" fmla="*/ 63958 w 169393"/>
                  <a:gd name="connsiteY0" fmla="*/ 54143 h 54142"/>
                  <a:gd name="connsiteX1" fmla="*/ 63958 w 169393"/>
                  <a:gd name="connsiteY1" fmla="*/ 54143 h 54142"/>
                  <a:gd name="connsiteX2" fmla="*/ 1266 w 169393"/>
                  <a:gd name="connsiteY2" fmla="*/ 28496 h 54142"/>
                  <a:gd name="connsiteX3" fmla="*/ 1266 w 169393"/>
                  <a:gd name="connsiteY3" fmla="*/ 14248 h 54142"/>
                  <a:gd name="connsiteX4" fmla="*/ 32612 w 169393"/>
                  <a:gd name="connsiteY4" fmla="*/ 0 h 54142"/>
                  <a:gd name="connsiteX5" fmla="*/ 32612 w 169393"/>
                  <a:gd name="connsiteY5" fmla="*/ 0 h 54142"/>
                  <a:gd name="connsiteX6" fmla="*/ 95304 w 169393"/>
                  <a:gd name="connsiteY6" fmla="*/ 14248 h 54142"/>
                  <a:gd name="connsiteX7" fmla="*/ 106702 w 169393"/>
                  <a:gd name="connsiteY7" fmla="*/ 17098 h 54142"/>
                  <a:gd name="connsiteX8" fmla="*/ 163694 w 169393"/>
                  <a:gd name="connsiteY8" fmla="*/ 25647 h 54142"/>
                  <a:gd name="connsiteX9" fmla="*/ 169394 w 169393"/>
                  <a:gd name="connsiteY9" fmla="*/ 31346 h 54142"/>
                  <a:gd name="connsiteX10" fmla="*/ 163694 w 169393"/>
                  <a:gd name="connsiteY10" fmla="*/ 37045 h 54142"/>
                  <a:gd name="connsiteX11" fmla="*/ 106702 w 169393"/>
                  <a:gd name="connsiteY11" fmla="*/ 28496 h 54142"/>
                  <a:gd name="connsiteX12" fmla="*/ 95304 w 169393"/>
                  <a:gd name="connsiteY12" fmla="*/ 25647 h 54142"/>
                  <a:gd name="connsiteX13" fmla="*/ 35462 w 169393"/>
                  <a:gd name="connsiteY13" fmla="*/ 11399 h 54142"/>
                  <a:gd name="connsiteX14" fmla="*/ 35462 w 169393"/>
                  <a:gd name="connsiteY14" fmla="*/ 11399 h 54142"/>
                  <a:gd name="connsiteX15" fmla="*/ 12665 w 169393"/>
                  <a:gd name="connsiteY15" fmla="*/ 19948 h 54142"/>
                  <a:gd name="connsiteX16" fmla="*/ 12665 w 169393"/>
                  <a:gd name="connsiteY16" fmla="*/ 22797 h 54142"/>
                  <a:gd name="connsiteX17" fmla="*/ 66808 w 169393"/>
                  <a:gd name="connsiteY17" fmla="*/ 42744 h 54142"/>
                  <a:gd name="connsiteX18" fmla="*/ 69657 w 169393"/>
                  <a:gd name="connsiteY18" fmla="*/ 48444 h 54142"/>
                  <a:gd name="connsiteX19" fmla="*/ 63958 w 169393"/>
                  <a:gd name="connsiteY19" fmla="*/ 54143 h 54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69393" h="54142">
                    <a:moveTo>
                      <a:pt x="63958" y="54143"/>
                    </a:moveTo>
                    <a:cubicBezTo>
                      <a:pt x="63958" y="54143"/>
                      <a:pt x="63958" y="54143"/>
                      <a:pt x="63958" y="54143"/>
                    </a:cubicBezTo>
                    <a:cubicBezTo>
                      <a:pt x="46860" y="51293"/>
                      <a:pt x="6966" y="39895"/>
                      <a:pt x="1266" y="28496"/>
                    </a:cubicBezTo>
                    <a:cubicBezTo>
                      <a:pt x="-1583" y="22797"/>
                      <a:pt x="1266" y="19948"/>
                      <a:pt x="1266" y="14248"/>
                    </a:cubicBezTo>
                    <a:cubicBezTo>
                      <a:pt x="6966" y="5700"/>
                      <a:pt x="21214" y="0"/>
                      <a:pt x="32612" y="0"/>
                    </a:cubicBezTo>
                    <a:cubicBezTo>
                      <a:pt x="32612" y="0"/>
                      <a:pt x="32612" y="0"/>
                      <a:pt x="32612" y="0"/>
                    </a:cubicBezTo>
                    <a:cubicBezTo>
                      <a:pt x="44010" y="0"/>
                      <a:pt x="69657" y="8549"/>
                      <a:pt x="95304" y="14248"/>
                    </a:cubicBezTo>
                    <a:cubicBezTo>
                      <a:pt x="101002" y="17098"/>
                      <a:pt x="103852" y="17098"/>
                      <a:pt x="106702" y="17098"/>
                    </a:cubicBezTo>
                    <a:cubicBezTo>
                      <a:pt x="112401" y="19948"/>
                      <a:pt x="149446" y="25647"/>
                      <a:pt x="163694" y="25647"/>
                    </a:cubicBezTo>
                    <a:cubicBezTo>
                      <a:pt x="166544" y="25647"/>
                      <a:pt x="169394" y="28496"/>
                      <a:pt x="169394" y="31346"/>
                    </a:cubicBezTo>
                    <a:cubicBezTo>
                      <a:pt x="169394" y="34196"/>
                      <a:pt x="166544" y="37045"/>
                      <a:pt x="163694" y="37045"/>
                    </a:cubicBezTo>
                    <a:cubicBezTo>
                      <a:pt x="160844" y="37045"/>
                      <a:pt x="115250" y="28496"/>
                      <a:pt x="106702" y="28496"/>
                    </a:cubicBezTo>
                    <a:cubicBezTo>
                      <a:pt x="103852" y="28496"/>
                      <a:pt x="101002" y="25647"/>
                      <a:pt x="95304" y="25647"/>
                    </a:cubicBezTo>
                    <a:cubicBezTo>
                      <a:pt x="78206" y="19948"/>
                      <a:pt x="44010" y="11399"/>
                      <a:pt x="35462" y="11399"/>
                    </a:cubicBezTo>
                    <a:cubicBezTo>
                      <a:pt x="35462" y="11399"/>
                      <a:pt x="35462" y="11399"/>
                      <a:pt x="35462" y="11399"/>
                    </a:cubicBezTo>
                    <a:cubicBezTo>
                      <a:pt x="26913" y="11399"/>
                      <a:pt x="15514" y="14248"/>
                      <a:pt x="12665" y="19948"/>
                    </a:cubicBezTo>
                    <a:cubicBezTo>
                      <a:pt x="12665" y="19948"/>
                      <a:pt x="12665" y="22797"/>
                      <a:pt x="12665" y="22797"/>
                    </a:cubicBezTo>
                    <a:cubicBezTo>
                      <a:pt x="15514" y="28496"/>
                      <a:pt x="41161" y="37045"/>
                      <a:pt x="66808" y="42744"/>
                    </a:cubicBezTo>
                    <a:cubicBezTo>
                      <a:pt x="69657" y="42744"/>
                      <a:pt x="72506" y="45594"/>
                      <a:pt x="69657" y="48444"/>
                    </a:cubicBezTo>
                    <a:cubicBezTo>
                      <a:pt x="69657" y="51293"/>
                      <a:pt x="66808" y="54143"/>
                      <a:pt x="63958" y="54143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42D3F01B-023C-46D5-ADC0-B87988C01B5B}"/>
                </a:ext>
              </a:extLst>
            </p:cNvPr>
            <p:cNvSpPr/>
            <p:nvPr/>
          </p:nvSpPr>
          <p:spPr>
            <a:xfrm>
              <a:off x="9952963" y="7810501"/>
              <a:ext cx="961660" cy="1002959"/>
            </a:xfrm>
            <a:custGeom>
              <a:avLst/>
              <a:gdLst>
                <a:gd name="connsiteX0" fmla="*/ 949381 w 961660"/>
                <a:gd name="connsiteY0" fmla="*/ 909024 h 1002959"/>
                <a:gd name="connsiteX1" fmla="*/ 724262 w 961660"/>
                <a:gd name="connsiteY1" fmla="*/ 712401 h 1002959"/>
                <a:gd name="connsiteX2" fmla="*/ 234131 w 961660"/>
                <a:gd name="connsiteY2" fmla="*/ 581319 h 1002959"/>
                <a:gd name="connsiteX3" fmla="*/ 205635 w 961660"/>
                <a:gd name="connsiteY3" fmla="*/ 0 h 1002959"/>
                <a:gd name="connsiteX4" fmla="*/ 51756 w 961660"/>
                <a:gd name="connsiteY4" fmla="*/ 48443 h 1002959"/>
                <a:gd name="connsiteX5" fmla="*/ 17560 w 961660"/>
                <a:gd name="connsiteY5" fmla="*/ 763694 h 1002959"/>
                <a:gd name="connsiteX6" fmla="*/ 749909 w 961660"/>
                <a:gd name="connsiteY6" fmla="*/ 1000211 h 1002959"/>
                <a:gd name="connsiteX7" fmla="*/ 949381 w 961660"/>
                <a:gd name="connsiteY7" fmla="*/ 909024 h 1002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1660" h="1002959">
                  <a:moveTo>
                    <a:pt x="949381" y="909024"/>
                  </a:moveTo>
                  <a:cubicBezTo>
                    <a:pt x="1003524" y="857731"/>
                    <a:pt x="869592" y="757994"/>
                    <a:pt x="724262" y="712401"/>
                  </a:cubicBezTo>
                  <a:cubicBezTo>
                    <a:pt x="493445" y="638311"/>
                    <a:pt x="234131" y="581319"/>
                    <a:pt x="234131" y="581319"/>
                  </a:cubicBezTo>
                  <a:lnTo>
                    <a:pt x="205635" y="0"/>
                  </a:lnTo>
                  <a:lnTo>
                    <a:pt x="51756" y="48443"/>
                  </a:lnTo>
                  <a:cubicBezTo>
                    <a:pt x="51756" y="48443"/>
                    <a:pt x="-36582" y="666807"/>
                    <a:pt x="17560" y="763694"/>
                  </a:cubicBezTo>
                  <a:cubicBezTo>
                    <a:pt x="66004" y="849182"/>
                    <a:pt x="410806" y="946069"/>
                    <a:pt x="749909" y="1000211"/>
                  </a:cubicBezTo>
                  <a:cubicBezTo>
                    <a:pt x="841096" y="1014459"/>
                    <a:pt x="883840" y="971715"/>
                    <a:pt x="949381" y="909024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C7544499-D81B-4BB4-9382-90FEE55A0FAF}"/>
                </a:ext>
              </a:extLst>
            </p:cNvPr>
            <p:cNvSpPr/>
            <p:nvPr/>
          </p:nvSpPr>
          <p:spPr>
            <a:xfrm>
              <a:off x="10417901" y="8411768"/>
              <a:ext cx="562770" cy="428709"/>
            </a:xfrm>
            <a:custGeom>
              <a:avLst/>
              <a:gdLst>
                <a:gd name="connsiteX0" fmla="*/ 82649 w 562770"/>
                <a:gd name="connsiteY0" fmla="*/ 0 h 428709"/>
                <a:gd name="connsiteX1" fmla="*/ 561383 w 562770"/>
                <a:gd name="connsiteY1" fmla="*/ 247915 h 428709"/>
                <a:gd name="connsiteX2" fmla="*/ 11 w 562770"/>
                <a:gd name="connsiteY2" fmla="*/ 384697 h 428709"/>
                <a:gd name="connsiteX3" fmla="*/ 82649 w 562770"/>
                <a:gd name="connsiteY3" fmla="*/ 0 h 428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2770" h="428709">
                  <a:moveTo>
                    <a:pt x="82649" y="0"/>
                  </a:moveTo>
                  <a:cubicBezTo>
                    <a:pt x="82649" y="0"/>
                    <a:pt x="592728" y="113984"/>
                    <a:pt x="561383" y="247915"/>
                  </a:cubicBezTo>
                  <a:cubicBezTo>
                    <a:pt x="490143" y="547124"/>
                    <a:pt x="11" y="384697"/>
                    <a:pt x="11" y="384697"/>
                  </a:cubicBezTo>
                  <a:cubicBezTo>
                    <a:pt x="11" y="384697"/>
                    <a:pt x="-2839" y="188074"/>
                    <a:pt x="82649" y="0"/>
                  </a:cubicBezTo>
                  <a:close/>
                </a:path>
              </a:pathLst>
            </a:custGeom>
            <a:solidFill>
              <a:srgbClr val="F1DDBA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EF280B61-8399-4BB2-B51F-5C215917EC9A}"/>
                </a:ext>
              </a:extLst>
            </p:cNvPr>
            <p:cNvSpPr/>
            <p:nvPr/>
          </p:nvSpPr>
          <p:spPr>
            <a:xfrm>
              <a:off x="10680075" y="8776517"/>
              <a:ext cx="42744" cy="322004"/>
            </a:xfrm>
            <a:custGeom>
              <a:avLst/>
              <a:gdLst>
                <a:gd name="connsiteX0" fmla="*/ 5700 w 42744"/>
                <a:gd name="connsiteY0" fmla="*/ 322005 h 322004"/>
                <a:gd name="connsiteX1" fmla="*/ 5700 w 42744"/>
                <a:gd name="connsiteY1" fmla="*/ 322005 h 322004"/>
                <a:gd name="connsiteX2" fmla="*/ 0 w 42744"/>
                <a:gd name="connsiteY2" fmla="*/ 316306 h 322004"/>
                <a:gd name="connsiteX3" fmla="*/ 31346 w 42744"/>
                <a:gd name="connsiteY3" fmla="*/ 5699 h 322004"/>
                <a:gd name="connsiteX4" fmla="*/ 37045 w 42744"/>
                <a:gd name="connsiteY4" fmla="*/ 0 h 322004"/>
                <a:gd name="connsiteX5" fmla="*/ 42744 w 42744"/>
                <a:gd name="connsiteY5" fmla="*/ 5699 h 322004"/>
                <a:gd name="connsiteX6" fmla="*/ 11398 w 42744"/>
                <a:gd name="connsiteY6" fmla="*/ 316306 h 322004"/>
                <a:gd name="connsiteX7" fmla="*/ 5700 w 42744"/>
                <a:gd name="connsiteY7" fmla="*/ 322005 h 322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744" h="322004">
                  <a:moveTo>
                    <a:pt x="5700" y="322005"/>
                  </a:moveTo>
                  <a:cubicBezTo>
                    <a:pt x="5700" y="322005"/>
                    <a:pt x="5700" y="322005"/>
                    <a:pt x="5700" y="322005"/>
                  </a:cubicBezTo>
                  <a:cubicBezTo>
                    <a:pt x="2850" y="322005"/>
                    <a:pt x="0" y="319156"/>
                    <a:pt x="0" y="316306"/>
                  </a:cubicBezTo>
                  <a:cubicBezTo>
                    <a:pt x="5700" y="225119"/>
                    <a:pt x="31346" y="8549"/>
                    <a:pt x="31346" y="5699"/>
                  </a:cubicBezTo>
                  <a:cubicBezTo>
                    <a:pt x="31346" y="2850"/>
                    <a:pt x="34196" y="0"/>
                    <a:pt x="37045" y="0"/>
                  </a:cubicBezTo>
                  <a:cubicBezTo>
                    <a:pt x="39894" y="0"/>
                    <a:pt x="42744" y="2850"/>
                    <a:pt x="42744" y="5699"/>
                  </a:cubicBezTo>
                  <a:cubicBezTo>
                    <a:pt x="42744" y="8549"/>
                    <a:pt x="17098" y="222269"/>
                    <a:pt x="11398" y="316306"/>
                  </a:cubicBezTo>
                  <a:cubicBezTo>
                    <a:pt x="11398" y="319156"/>
                    <a:pt x="8549" y="322005"/>
                    <a:pt x="5700" y="322005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DEC60237-206A-4C6A-AA50-25173CDF9947}"/>
                </a:ext>
              </a:extLst>
            </p:cNvPr>
            <p:cNvSpPr/>
            <p:nvPr/>
          </p:nvSpPr>
          <p:spPr>
            <a:xfrm>
              <a:off x="10493670" y="8404888"/>
              <a:ext cx="419360" cy="157908"/>
            </a:xfrm>
            <a:custGeom>
              <a:avLst/>
              <a:gdLst>
                <a:gd name="connsiteX0" fmla="*/ 414373 w 419360"/>
                <a:gd name="connsiteY0" fmla="*/ 157909 h 157908"/>
                <a:gd name="connsiteX1" fmla="*/ 411523 w 419360"/>
                <a:gd name="connsiteY1" fmla="*/ 157909 h 157908"/>
                <a:gd name="connsiteX2" fmla="*/ 4030 w 419360"/>
                <a:gd name="connsiteY2" fmla="*/ 9729 h 157908"/>
                <a:gd name="connsiteX3" fmla="*/ 1180 w 419360"/>
                <a:gd name="connsiteY3" fmla="*/ 4030 h 157908"/>
                <a:gd name="connsiteX4" fmla="*/ 6880 w 419360"/>
                <a:gd name="connsiteY4" fmla="*/ 1180 h 157908"/>
                <a:gd name="connsiteX5" fmla="*/ 417223 w 419360"/>
                <a:gd name="connsiteY5" fmla="*/ 149360 h 157908"/>
                <a:gd name="connsiteX6" fmla="*/ 417223 w 419360"/>
                <a:gd name="connsiteY6" fmla="*/ 157909 h 157908"/>
                <a:gd name="connsiteX7" fmla="*/ 414373 w 419360"/>
                <a:gd name="connsiteY7" fmla="*/ 157909 h 157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9360" h="157908">
                  <a:moveTo>
                    <a:pt x="414373" y="157909"/>
                  </a:moveTo>
                  <a:cubicBezTo>
                    <a:pt x="414373" y="157909"/>
                    <a:pt x="411523" y="157909"/>
                    <a:pt x="411523" y="157909"/>
                  </a:cubicBezTo>
                  <a:cubicBezTo>
                    <a:pt x="311787" y="86669"/>
                    <a:pt x="9730" y="12579"/>
                    <a:pt x="4030" y="9729"/>
                  </a:cubicBezTo>
                  <a:cubicBezTo>
                    <a:pt x="1180" y="9729"/>
                    <a:pt x="-1669" y="6880"/>
                    <a:pt x="1180" y="4030"/>
                  </a:cubicBezTo>
                  <a:cubicBezTo>
                    <a:pt x="1180" y="1180"/>
                    <a:pt x="4030" y="-1669"/>
                    <a:pt x="6880" y="1180"/>
                  </a:cubicBezTo>
                  <a:cubicBezTo>
                    <a:pt x="18278" y="4030"/>
                    <a:pt x="317487" y="78120"/>
                    <a:pt x="417223" y="149360"/>
                  </a:cubicBezTo>
                  <a:cubicBezTo>
                    <a:pt x="420073" y="152210"/>
                    <a:pt x="420073" y="155059"/>
                    <a:pt x="417223" y="157909"/>
                  </a:cubicBezTo>
                  <a:cubicBezTo>
                    <a:pt x="417223" y="157909"/>
                    <a:pt x="414373" y="157909"/>
                    <a:pt x="414373" y="157909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0" name="图形 1">
              <a:extLst>
                <a:ext uri="{FF2B5EF4-FFF2-40B4-BE49-F238E27FC236}">
                  <a16:creationId xmlns:a16="http://schemas.microsoft.com/office/drawing/2014/main" id="{73B39B7A-05DE-4B9C-B31F-DBF33E6A943E}"/>
                </a:ext>
              </a:extLst>
            </p:cNvPr>
            <p:cNvGrpSpPr/>
            <p:nvPr/>
          </p:nvGrpSpPr>
          <p:grpSpPr>
            <a:xfrm>
              <a:off x="10913743" y="8069281"/>
              <a:ext cx="480232" cy="180059"/>
              <a:chOff x="10913743" y="8069281"/>
              <a:chExt cx="480232" cy="180059"/>
            </a:xfrm>
          </p:grpSpPr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F90BEB9A-4EA1-4529-9F5D-CEC03B8BC2FD}"/>
                  </a:ext>
                </a:extLst>
              </p:cNvPr>
              <p:cNvSpPr/>
              <p:nvPr/>
            </p:nvSpPr>
            <p:spPr>
              <a:xfrm>
                <a:off x="10913743" y="8123958"/>
                <a:ext cx="82638" cy="68536"/>
              </a:xfrm>
              <a:custGeom>
                <a:avLst/>
                <a:gdLst>
                  <a:gd name="connsiteX0" fmla="*/ 76939 w 82638"/>
                  <a:gd name="connsiteY0" fmla="*/ 31345 h 68536"/>
                  <a:gd name="connsiteX1" fmla="*/ 0 w 82638"/>
                  <a:gd name="connsiteY1" fmla="*/ 0 h 68536"/>
                  <a:gd name="connsiteX2" fmla="*/ 14248 w 82638"/>
                  <a:gd name="connsiteY2" fmla="*/ 31345 h 68536"/>
                  <a:gd name="connsiteX3" fmla="*/ 82638 w 82638"/>
                  <a:gd name="connsiteY3" fmla="*/ 68390 h 68536"/>
                  <a:gd name="connsiteX4" fmla="*/ 76939 w 82638"/>
                  <a:gd name="connsiteY4" fmla="*/ 31345 h 68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638" h="68536">
                    <a:moveTo>
                      <a:pt x="76939" y="31345"/>
                    </a:moveTo>
                    <a:cubicBezTo>
                      <a:pt x="76939" y="31345"/>
                      <a:pt x="34195" y="25646"/>
                      <a:pt x="0" y="0"/>
                    </a:cubicBezTo>
                    <a:cubicBezTo>
                      <a:pt x="0" y="0"/>
                      <a:pt x="5699" y="22796"/>
                      <a:pt x="14248" y="31345"/>
                    </a:cubicBezTo>
                    <a:cubicBezTo>
                      <a:pt x="14248" y="31345"/>
                      <a:pt x="45594" y="71240"/>
                      <a:pt x="82638" y="68390"/>
                    </a:cubicBezTo>
                    <a:lnTo>
                      <a:pt x="76939" y="31345"/>
                    </a:ln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8B098C83-4245-4964-977E-4799BAEBF26B}"/>
                  </a:ext>
                </a:extLst>
              </p:cNvPr>
              <p:cNvSpPr/>
              <p:nvPr/>
            </p:nvSpPr>
            <p:spPr>
              <a:xfrm>
                <a:off x="10978737" y="8069281"/>
                <a:ext cx="410888" cy="180059"/>
              </a:xfrm>
              <a:custGeom>
                <a:avLst/>
                <a:gdLst>
                  <a:gd name="connsiteX0" fmla="*/ 410889 w 410888"/>
                  <a:gd name="connsiteY0" fmla="*/ 31880 h 180059"/>
                  <a:gd name="connsiteX1" fmla="*/ 393792 w 410888"/>
                  <a:gd name="connsiteY1" fmla="*/ 40429 h 180059"/>
                  <a:gd name="connsiteX2" fmla="*/ 373844 w 410888"/>
                  <a:gd name="connsiteY2" fmla="*/ 37579 h 180059"/>
                  <a:gd name="connsiteX3" fmla="*/ 368145 w 410888"/>
                  <a:gd name="connsiteY3" fmla="*/ 123067 h 180059"/>
                  <a:gd name="connsiteX4" fmla="*/ 345348 w 410888"/>
                  <a:gd name="connsiteY4" fmla="*/ 143014 h 180059"/>
                  <a:gd name="connsiteX5" fmla="*/ 74636 w 410888"/>
                  <a:gd name="connsiteY5" fmla="*/ 160112 h 180059"/>
                  <a:gd name="connsiteX6" fmla="*/ 74636 w 410888"/>
                  <a:gd name="connsiteY6" fmla="*/ 180059 h 180059"/>
                  <a:gd name="connsiteX7" fmla="*/ 31892 w 410888"/>
                  <a:gd name="connsiteY7" fmla="*/ 162962 h 180059"/>
                  <a:gd name="connsiteX8" fmla="*/ 29042 w 410888"/>
                  <a:gd name="connsiteY8" fmla="*/ 162962 h 180059"/>
                  <a:gd name="connsiteX9" fmla="*/ 29042 w 410888"/>
                  <a:gd name="connsiteY9" fmla="*/ 162962 h 180059"/>
                  <a:gd name="connsiteX10" fmla="*/ 29042 w 410888"/>
                  <a:gd name="connsiteY10" fmla="*/ 162962 h 180059"/>
                  <a:gd name="connsiteX11" fmla="*/ 17644 w 410888"/>
                  <a:gd name="connsiteY11" fmla="*/ 148714 h 180059"/>
                  <a:gd name="connsiteX12" fmla="*/ 546 w 410888"/>
                  <a:gd name="connsiteY12" fmla="*/ 48977 h 180059"/>
                  <a:gd name="connsiteX13" fmla="*/ 20494 w 410888"/>
                  <a:gd name="connsiteY13" fmla="*/ 26181 h 180059"/>
                  <a:gd name="connsiteX14" fmla="*/ 348198 w 410888"/>
                  <a:gd name="connsiteY14" fmla="*/ 534 h 180059"/>
                  <a:gd name="connsiteX15" fmla="*/ 362446 w 410888"/>
                  <a:gd name="connsiteY15" fmla="*/ 6233 h 180059"/>
                  <a:gd name="connsiteX16" fmla="*/ 362446 w 410888"/>
                  <a:gd name="connsiteY16" fmla="*/ 6233 h 180059"/>
                  <a:gd name="connsiteX17" fmla="*/ 410889 w 410888"/>
                  <a:gd name="connsiteY17" fmla="*/ 31880 h 180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10888" h="180059">
                    <a:moveTo>
                      <a:pt x="410889" y="31880"/>
                    </a:moveTo>
                    <a:cubicBezTo>
                      <a:pt x="405190" y="34729"/>
                      <a:pt x="399491" y="37579"/>
                      <a:pt x="393792" y="40429"/>
                    </a:cubicBezTo>
                    <a:cubicBezTo>
                      <a:pt x="388092" y="40429"/>
                      <a:pt x="382393" y="37579"/>
                      <a:pt x="373844" y="37579"/>
                    </a:cubicBezTo>
                    <a:cubicBezTo>
                      <a:pt x="373844" y="66075"/>
                      <a:pt x="370995" y="94571"/>
                      <a:pt x="368145" y="123067"/>
                    </a:cubicBezTo>
                    <a:cubicBezTo>
                      <a:pt x="368145" y="134466"/>
                      <a:pt x="356747" y="143014"/>
                      <a:pt x="345348" y="143014"/>
                    </a:cubicBezTo>
                    <a:cubicBezTo>
                      <a:pt x="254161" y="140165"/>
                      <a:pt x="162974" y="145864"/>
                      <a:pt x="74636" y="160112"/>
                    </a:cubicBezTo>
                    <a:cubicBezTo>
                      <a:pt x="74636" y="165811"/>
                      <a:pt x="74636" y="174360"/>
                      <a:pt x="74636" y="180059"/>
                    </a:cubicBezTo>
                    <a:cubicBezTo>
                      <a:pt x="60388" y="174360"/>
                      <a:pt x="46140" y="168661"/>
                      <a:pt x="31892" y="162962"/>
                    </a:cubicBezTo>
                    <a:cubicBezTo>
                      <a:pt x="31892" y="162962"/>
                      <a:pt x="29042" y="162962"/>
                      <a:pt x="29042" y="162962"/>
                    </a:cubicBezTo>
                    <a:lnTo>
                      <a:pt x="29042" y="162962"/>
                    </a:lnTo>
                    <a:lnTo>
                      <a:pt x="29042" y="162962"/>
                    </a:lnTo>
                    <a:cubicBezTo>
                      <a:pt x="23343" y="160112"/>
                      <a:pt x="17644" y="154413"/>
                      <a:pt x="17644" y="148714"/>
                    </a:cubicBezTo>
                    <a:cubicBezTo>
                      <a:pt x="11944" y="114518"/>
                      <a:pt x="6246" y="80323"/>
                      <a:pt x="546" y="48977"/>
                    </a:cubicBezTo>
                    <a:cubicBezTo>
                      <a:pt x="-2304" y="37579"/>
                      <a:pt x="6246" y="29030"/>
                      <a:pt x="20494" y="26181"/>
                    </a:cubicBezTo>
                    <a:cubicBezTo>
                      <a:pt x="128778" y="6233"/>
                      <a:pt x="237064" y="-2315"/>
                      <a:pt x="348198" y="534"/>
                    </a:cubicBezTo>
                    <a:cubicBezTo>
                      <a:pt x="353897" y="534"/>
                      <a:pt x="359596" y="3384"/>
                      <a:pt x="362446" y="6233"/>
                    </a:cubicBezTo>
                    <a:lnTo>
                      <a:pt x="362446" y="6233"/>
                    </a:lnTo>
                    <a:cubicBezTo>
                      <a:pt x="382393" y="14782"/>
                      <a:pt x="396641" y="23331"/>
                      <a:pt x="410889" y="3188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9" name="图形 1">
                <a:extLst>
                  <a:ext uri="{FF2B5EF4-FFF2-40B4-BE49-F238E27FC236}">
                    <a16:creationId xmlns:a16="http://schemas.microsoft.com/office/drawing/2014/main" id="{C95FE730-3B58-4AA5-9A8B-5AF9570ED317}"/>
                  </a:ext>
                </a:extLst>
              </p:cNvPr>
              <p:cNvGrpSpPr/>
              <p:nvPr/>
            </p:nvGrpSpPr>
            <p:grpSpPr>
              <a:xfrm>
                <a:off x="11024434" y="8093278"/>
                <a:ext cx="369540" cy="156062"/>
                <a:chOff x="11024434" y="8093278"/>
                <a:chExt cx="369540" cy="156062"/>
              </a:xfrm>
            </p:grpSpPr>
            <p:sp>
              <p:nvSpPr>
                <p:cNvPr id="70" name="任意多边形: 形状 69">
                  <a:extLst>
                    <a:ext uri="{FF2B5EF4-FFF2-40B4-BE49-F238E27FC236}">
                      <a16:creationId xmlns:a16="http://schemas.microsoft.com/office/drawing/2014/main" id="{C5E79972-F707-4E0F-99DC-978854F4377C}"/>
                    </a:ext>
                  </a:extLst>
                </p:cNvPr>
                <p:cNvSpPr/>
                <p:nvPr/>
              </p:nvSpPr>
              <p:spPr>
                <a:xfrm>
                  <a:off x="11024434" y="8093278"/>
                  <a:ext cx="369540" cy="156062"/>
                </a:xfrm>
                <a:custGeom>
                  <a:avLst/>
                  <a:gdLst>
                    <a:gd name="connsiteX0" fmla="*/ 348095 w 369540"/>
                    <a:gd name="connsiteY0" fmla="*/ 2184 h 156062"/>
                    <a:gd name="connsiteX1" fmla="*/ 20391 w 369540"/>
                    <a:gd name="connsiteY1" fmla="*/ 16432 h 156062"/>
                    <a:gd name="connsiteX2" fmla="*/ 443 w 369540"/>
                    <a:gd name="connsiteY2" fmla="*/ 39229 h 156062"/>
                    <a:gd name="connsiteX3" fmla="*/ 14691 w 369540"/>
                    <a:gd name="connsiteY3" fmla="*/ 138965 h 156062"/>
                    <a:gd name="connsiteX4" fmla="*/ 37487 w 369540"/>
                    <a:gd name="connsiteY4" fmla="*/ 156063 h 156062"/>
                    <a:gd name="connsiteX5" fmla="*/ 336696 w 369540"/>
                    <a:gd name="connsiteY5" fmla="*/ 141815 h 156062"/>
                    <a:gd name="connsiteX6" fmla="*/ 359493 w 369540"/>
                    <a:gd name="connsiteY6" fmla="*/ 124717 h 156062"/>
                    <a:gd name="connsiteX7" fmla="*/ 368042 w 369540"/>
                    <a:gd name="connsiteY7" fmla="*/ 22131 h 156062"/>
                    <a:gd name="connsiteX8" fmla="*/ 348095 w 369540"/>
                    <a:gd name="connsiteY8" fmla="*/ 2184 h 156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9540" h="156062">
                      <a:moveTo>
                        <a:pt x="348095" y="2184"/>
                      </a:moveTo>
                      <a:cubicBezTo>
                        <a:pt x="236960" y="-3515"/>
                        <a:pt x="128675" y="2184"/>
                        <a:pt x="20391" y="16432"/>
                      </a:cubicBezTo>
                      <a:cubicBezTo>
                        <a:pt x="8991" y="19281"/>
                        <a:pt x="-2407" y="27830"/>
                        <a:pt x="443" y="39229"/>
                      </a:cubicBezTo>
                      <a:cubicBezTo>
                        <a:pt x="6142" y="73424"/>
                        <a:pt x="8991" y="107619"/>
                        <a:pt x="14691" y="138965"/>
                      </a:cubicBezTo>
                      <a:cubicBezTo>
                        <a:pt x="17541" y="150363"/>
                        <a:pt x="26089" y="156063"/>
                        <a:pt x="37487" y="156063"/>
                      </a:cubicBezTo>
                      <a:cubicBezTo>
                        <a:pt x="134375" y="141815"/>
                        <a:pt x="234111" y="136115"/>
                        <a:pt x="336696" y="141815"/>
                      </a:cubicBezTo>
                      <a:cubicBezTo>
                        <a:pt x="348095" y="141815"/>
                        <a:pt x="359493" y="133266"/>
                        <a:pt x="359493" y="124717"/>
                      </a:cubicBezTo>
                      <a:cubicBezTo>
                        <a:pt x="362343" y="90522"/>
                        <a:pt x="365192" y="56326"/>
                        <a:pt x="368042" y="22131"/>
                      </a:cubicBezTo>
                      <a:cubicBezTo>
                        <a:pt x="373741" y="13582"/>
                        <a:pt x="362343" y="2184"/>
                        <a:pt x="348095" y="2184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: 形状 70">
                  <a:extLst>
                    <a:ext uri="{FF2B5EF4-FFF2-40B4-BE49-F238E27FC236}">
                      <a16:creationId xmlns:a16="http://schemas.microsoft.com/office/drawing/2014/main" id="{6F59F8FF-A5CD-4508-B112-5F0CEB233FB6}"/>
                    </a:ext>
                  </a:extLst>
                </p:cNvPr>
                <p:cNvSpPr/>
                <p:nvPr/>
              </p:nvSpPr>
              <p:spPr>
                <a:xfrm>
                  <a:off x="11049971" y="8103017"/>
                  <a:ext cx="322558" cy="138332"/>
                </a:xfrm>
                <a:custGeom>
                  <a:avLst/>
                  <a:gdLst>
                    <a:gd name="connsiteX0" fmla="*/ 302611 w 322558"/>
                    <a:gd name="connsiteY0" fmla="*/ 993 h 138332"/>
                    <a:gd name="connsiteX1" fmla="*/ 17650 w 322558"/>
                    <a:gd name="connsiteY1" fmla="*/ 15241 h 138332"/>
                    <a:gd name="connsiteX2" fmla="*/ 552 w 322558"/>
                    <a:gd name="connsiteY2" fmla="*/ 35188 h 138332"/>
                    <a:gd name="connsiteX3" fmla="*/ 11951 w 322558"/>
                    <a:gd name="connsiteY3" fmla="*/ 123526 h 138332"/>
                    <a:gd name="connsiteX4" fmla="*/ 31898 w 322558"/>
                    <a:gd name="connsiteY4" fmla="*/ 137774 h 138332"/>
                    <a:gd name="connsiteX5" fmla="*/ 296911 w 322558"/>
                    <a:gd name="connsiteY5" fmla="*/ 126376 h 138332"/>
                    <a:gd name="connsiteX6" fmla="*/ 316859 w 322558"/>
                    <a:gd name="connsiteY6" fmla="*/ 109278 h 138332"/>
                    <a:gd name="connsiteX7" fmla="*/ 322558 w 322558"/>
                    <a:gd name="connsiteY7" fmla="*/ 20940 h 138332"/>
                    <a:gd name="connsiteX8" fmla="*/ 302611 w 322558"/>
                    <a:gd name="connsiteY8" fmla="*/ 993 h 138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2558" h="138332">
                      <a:moveTo>
                        <a:pt x="302611" y="993"/>
                      </a:moveTo>
                      <a:cubicBezTo>
                        <a:pt x="205724" y="-1856"/>
                        <a:pt x="111687" y="993"/>
                        <a:pt x="17650" y="15241"/>
                      </a:cubicBezTo>
                      <a:cubicBezTo>
                        <a:pt x="6252" y="18091"/>
                        <a:pt x="-2297" y="26640"/>
                        <a:pt x="552" y="35188"/>
                      </a:cubicBezTo>
                      <a:cubicBezTo>
                        <a:pt x="3402" y="63685"/>
                        <a:pt x="9102" y="95030"/>
                        <a:pt x="11951" y="123526"/>
                      </a:cubicBezTo>
                      <a:cubicBezTo>
                        <a:pt x="11951" y="132075"/>
                        <a:pt x="23350" y="140624"/>
                        <a:pt x="31898" y="137774"/>
                      </a:cubicBezTo>
                      <a:cubicBezTo>
                        <a:pt x="117386" y="126376"/>
                        <a:pt x="205724" y="120677"/>
                        <a:pt x="296911" y="126376"/>
                      </a:cubicBezTo>
                      <a:cubicBezTo>
                        <a:pt x="308310" y="126376"/>
                        <a:pt x="316859" y="120677"/>
                        <a:pt x="316859" y="109278"/>
                      </a:cubicBezTo>
                      <a:cubicBezTo>
                        <a:pt x="319708" y="80782"/>
                        <a:pt x="322558" y="49437"/>
                        <a:pt x="322558" y="20940"/>
                      </a:cubicBezTo>
                      <a:cubicBezTo>
                        <a:pt x="322558" y="9542"/>
                        <a:pt x="314009" y="993"/>
                        <a:pt x="302611" y="993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: 形状 71">
                  <a:extLst>
                    <a:ext uri="{FF2B5EF4-FFF2-40B4-BE49-F238E27FC236}">
                      <a16:creationId xmlns:a16="http://schemas.microsoft.com/office/drawing/2014/main" id="{F58FB572-6C6A-47A0-963D-3A1811D932C1}"/>
                    </a:ext>
                  </a:extLst>
                </p:cNvPr>
                <p:cNvSpPr/>
                <p:nvPr/>
              </p:nvSpPr>
              <p:spPr>
                <a:xfrm>
                  <a:off x="11101817" y="8115409"/>
                  <a:ext cx="94036" cy="108285"/>
                </a:xfrm>
                <a:custGeom>
                  <a:avLst/>
                  <a:gdLst>
                    <a:gd name="connsiteX0" fmla="*/ 71240 w 94036"/>
                    <a:gd name="connsiteY0" fmla="*/ 108285 h 108285"/>
                    <a:gd name="connsiteX1" fmla="*/ 94037 w 94036"/>
                    <a:gd name="connsiteY1" fmla="*/ 105435 h 108285"/>
                    <a:gd name="connsiteX2" fmla="*/ 25646 w 94036"/>
                    <a:gd name="connsiteY2" fmla="*/ 0 h 108285"/>
                    <a:gd name="connsiteX3" fmla="*/ 0 w 94036"/>
                    <a:gd name="connsiteY3" fmla="*/ 2849 h 108285"/>
                    <a:gd name="connsiteX4" fmla="*/ 71240 w 94036"/>
                    <a:gd name="connsiteY4" fmla="*/ 108285 h 108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036" h="108285">
                      <a:moveTo>
                        <a:pt x="71240" y="108285"/>
                      </a:moveTo>
                      <a:cubicBezTo>
                        <a:pt x="79789" y="108285"/>
                        <a:pt x="85488" y="108285"/>
                        <a:pt x="94037" y="105435"/>
                      </a:cubicBezTo>
                      <a:cubicBezTo>
                        <a:pt x="74089" y="71240"/>
                        <a:pt x="51293" y="34195"/>
                        <a:pt x="25646" y="0"/>
                      </a:cubicBezTo>
                      <a:cubicBezTo>
                        <a:pt x="17097" y="0"/>
                        <a:pt x="8548" y="2849"/>
                        <a:pt x="0" y="2849"/>
                      </a:cubicBezTo>
                      <a:cubicBezTo>
                        <a:pt x="25646" y="37045"/>
                        <a:pt x="51293" y="71240"/>
                        <a:pt x="71240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: 形状 72">
                  <a:extLst>
                    <a:ext uri="{FF2B5EF4-FFF2-40B4-BE49-F238E27FC236}">
                      <a16:creationId xmlns:a16="http://schemas.microsoft.com/office/drawing/2014/main" id="{45E19F92-F6F0-41D7-A400-6A80B67FF9A9}"/>
                    </a:ext>
                  </a:extLst>
                </p:cNvPr>
                <p:cNvSpPr/>
                <p:nvPr/>
              </p:nvSpPr>
              <p:spPr>
                <a:xfrm>
                  <a:off x="11153109" y="8112559"/>
                  <a:ext cx="111134" cy="108285"/>
                </a:xfrm>
                <a:custGeom>
                  <a:avLst/>
                  <a:gdLst>
                    <a:gd name="connsiteX0" fmla="*/ 68390 w 111134"/>
                    <a:gd name="connsiteY0" fmla="*/ 108285 h 108285"/>
                    <a:gd name="connsiteX1" fmla="*/ 111134 w 111134"/>
                    <a:gd name="connsiteY1" fmla="*/ 108285 h 108285"/>
                    <a:gd name="connsiteX2" fmla="*/ 48444 w 111134"/>
                    <a:gd name="connsiteY2" fmla="*/ 0 h 108285"/>
                    <a:gd name="connsiteX3" fmla="*/ 0 w 111134"/>
                    <a:gd name="connsiteY3" fmla="*/ 2850 h 108285"/>
                    <a:gd name="connsiteX4" fmla="*/ 68390 w 111134"/>
                    <a:gd name="connsiteY4" fmla="*/ 108285 h 108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1134" h="108285">
                      <a:moveTo>
                        <a:pt x="68390" y="108285"/>
                      </a:moveTo>
                      <a:cubicBezTo>
                        <a:pt x="82638" y="108285"/>
                        <a:pt x="96886" y="108285"/>
                        <a:pt x="111134" y="108285"/>
                      </a:cubicBezTo>
                      <a:cubicBezTo>
                        <a:pt x="91188" y="71240"/>
                        <a:pt x="71240" y="37045"/>
                        <a:pt x="48444" y="0"/>
                      </a:cubicBezTo>
                      <a:cubicBezTo>
                        <a:pt x="31346" y="0"/>
                        <a:pt x="17098" y="2850"/>
                        <a:pt x="0" y="2850"/>
                      </a:cubicBezTo>
                      <a:cubicBezTo>
                        <a:pt x="22796" y="37045"/>
                        <a:pt x="45594" y="71240"/>
                        <a:pt x="68390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41" name="图形 1">
              <a:extLst>
                <a:ext uri="{FF2B5EF4-FFF2-40B4-BE49-F238E27FC236}">
                  <a16:creationId xmlns:a16="http://schemas.microsoft.com/office/drawing/2014/main" id="{169D0BDB-1513-4CF7-B96F-EE69BAD66258}"/>
                </a:ext>
              </a:extLst>
            </p:cNvPr>
            <p:cNvGrpSpPr/>
            <p:nvPr/>
          </p:nvGrpSpPr>
          <p:grpSpPr>
            <a:xfrm>
              <a:off x="12290945" y="8369024"/>
              <a:ext cx="267918" cy="322678"/>
              <a:chOff x="12290945" y="8369024"/>
              <a:chExt cx="267918" cy="322678"/>
            </a:xfrm>
          </p:grpSpPr>
          <p:grpSp>
            <p:nvGrpSpPr>
              <p:cNvPr id="62" name="图形 1">
                <a:extLst>
                  <a:ext uri="{FF2B5EF4-FFF2-40B4-BE49-F238E27FC236}">
                    <a16:creationId xmlns:a16="http://schemas.microsoft.com/office/drawing/2014/main" id="{0AC0724B-0C47-40E9-99CC-1F0D04F53267}"/>
                  </a:ext>
                </a:extLst>
              </p:cNvPr>
              <p:cNvGrpSpPr/>
              <p:nvPr/>
            </p:nvGrpSpPr>
            <p:grpSpPr>
              <a:xfrm>
                <a:off x="12290945" y="8369024"/>
                <a:ext cx="262836" cy="322678"/>
                <a:chOff x="12290945" y="8369024"/>
                <a:chExt cx="262836" cy="322678"/>
              </a:xfrm>
            </p:grpSpPr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50DFE7B7-8F9D-448B-84DF-92019CDAE889}"/>
                    </a:ext>
                  </a:extLst>
                </p:cNvPr>
                <p:cNvSpPr/>
                <p:nvPr/>
              </p:nvSpPr>
              <p:spPr>
                <a:xfrm>
                  <a:off x="12290945" y="8374011"/>
                  <a:ext cx="262836" cy="317691"/>
                </a:xfrm>
                <a:custGeom>
                  <a:avLst/>
                  <a:gdLst>
                    <a:gd name="connsiteX0" fmla="*/ 252771 w 262836"/>
                    <a:gd name="connsiteY0" fmla="*/ 103298 h 317691"/>
                    <a:gd name="connsiteX1" fmla="*/ 232824 w 262836"/>
                    <a:gd name="connsiteY1" fmla="*/ 103298 h 317691"/>
                    <a:gd name="connsiteX2" fmla="*/ 227125 w 262836"/>
                    <a:gd name="connsiteY2" fmla="*/ 106148 h 317691"/>
                    <a:gd name="connsiteX3" fmla="*/ 244223 w 262836"/>
                    <a:gd name="connsiteY3" fmla="*/ 83351 h 317691"/>
                    <a:gd name="connsiteX4" fmla="*/ 261320 w 262836"/>
                    <a:gd name="connsiteY4" fmla="*/ 37757 h 317691"/>
                    <a:gd name="connsiteX5" fmla="*/ 249922 w 262836"/>
                    <a:gd name="connsiteY5" fmla="*/ 34908 h 317691"/>
                    <a:gd name="connsiteX6" fmla="*/ 247072 w 262836"/>
                    <a:gd name="connsiteY6" fmla="*/ 34908 h 317691"/>
                    <a:gd name="connsiteX7" fmla="*/ 244223 w 262836"/>
                    <a:gd name="connsiteY7" fmla="*/ 6412 h 317691"/>
                    <a:gd name="connsiteX8" fmla="*/ 215727 w 262836"/>
                    <a:gd name="connsiteY8" fmla="*/ 6412 h 317691"/>
                    <a:gd name="connsiteX9" fmla="*/ 178682 w 262836"/>
                    <a:gd name="connsiteY9" fmla="*/ 49156 h 317691"/>
                    <a:gd name="connsiteX10" fmla="*/ 130238 w 262836"/>
                    <a:gd name="connsiteY10" fmla="*/ 111847 h 317691"/>
                    <a:gd name="connsiteX11" fmla="*/ 153035 w 262836"/>
                    <a:gd name="connsiteY11" fmla="*/ 57704 h 317691"/>
                    <a:gd name="connsiteX12" fmla="*/ 167283 w 262836"/>
                    <a:gd name="connsiteY12" fmla="*/ 14960 h 317691"/>
                    <a:gd name="connsiteX13" fmla="*/ 135938 w 262836"/>
                    <a:gd name="connsiteY13" fmla="*/ 23509 h 317691"/>
                    <a:gd name="connsiteX14" fmla="*/ 61848 w 262836"/>
                    <a:gd name="connsiteY14" fmla="*/ 117546 h 317691"/>
                    <a:gd name="connsiteX15" fmla="*/ 21954 w 262836"/>
                    <a:gd name="connsiteY15" fmla="*/ 288522 h 317691"/>
                    <a:gd name="connsiteX16" fmla="*/ 21954 w 262836"/>
                    <a:gd name="connsiteY16" fmla="*/ 288522 h 317691"/>
                    <a:gd name="connsiteX17" fmla="*/ 21954 w 262836"/>
                    <a:gd name="connsiteY17" fmla="*/ 294221 h 317691"/>
                    <a:gd name="connsiteX18" fmla="*/ 124539 w 262836"/>
                    <a:gd name="connsiteY18" fmla="*/ 311319 h 317691"/>
                    <a:gd name="connsiteX19" fmla="*/ 207178 w 262836"/>
                    <a:gd name="connsiteY19" fmla="*/ 203034 h 317691"/>
                    <a:gd name="connsiteX20" fmla="*/ 252771 w 262836"/>
                    <a:gd name="connsiteY20" fmla="*/ 103298 h 317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62836" h="317691">
                      <a:moveTo>
                        <a:pt x="252771" y="103298"/>
                      </a:moveTo>
                      <a:cubicBezTo>
                        <a:pt x="247072" y="97599"/>
                        <a:pt x="241373" y="97599"/>
                        <a:pt x="232824" y="103298"/>
                      </a:cubicBezTo>
                      <a:cubicBezTo>
                        <a:pt x="229975" y="103298"/>
                        <a:pt x="229975" y="106148"/>
                        <a:pt x="227125" y="106148"/>
                      </a:cubicBezTo>
                      <a:cubicBezTo>
                        <a:pt x="232824" y="97599"/>
                        <a:pt x="238523" y="91900"/>
                        <a:pt x="244223" y="83351"/>
                      </a:cubicBezTo>
                      <a:cubicBezTo>
                        <a:pt x="255621" y="69103"/>
                        <a:pt x="267019" y="54855"/>
                        <a:pt x="261320" y="37757"/>
                      </a:cubicBezTo>
                      <a:cubicBezTo>
                        <a:pt x="261320" y="34908"/>
                        <a:pt x="249922" y="34908"/>
                        <a:pt x="249922" y="34908"/>
                      </a:cubicBezTo>
                      <a:cubicBezTo>
                        <a:pt x="249922" y="34908"/>
                        <a:pt x="247072" y="34908"/>
                        <a:pt x="247072" y="34908"/>
                      </a:cubicBezTo>
                      <a:cubicBezTo>
                        <a:pt x="249922" y="23509"/>
                        <a:pt x="249922" y="14960"/>
                        <a:pt x="244223" y="6412"/>
                      </a:cubicBezTo>
                      <a:cubicBezTo>
                        <a:pt x="238523" y="-2137"/>
                        <a:pt x="227125" y="-2137"/>
                        <a:pt x="215727" y="6412"/>
                      </a:cubicBezTo>
                      <a:cubicBezTo>
                        <a:pt x="201479" y="17810"/>
                        <a:pt x="190080" y="34908"/>
                        <a:pt x="178682" y="49156"/>
                      </a:cubicBezTo>
                      <a:cubicBezTo>
                        <a:pt x="161584" y="69103"/>
                        <a:pt x="144487" y="89050"/>
                        <a:pt x="130238" y="111847"/>
                      </a:cubicBezTo>
                      <a:cubicBezTo>
                        <a:pt x="138787" y="94749"/>
                        <a:pt x="144487" y="74802"/>
                        <a:pt x="153035" y="57704"/>
                      </a:cubicBezTo>
                      <a:cubicBezTo>
                        <a:pt x="158735" y="46306"/>
                        <a:pt x="170133" y="26359"/>
                        <a:pt x="167283" y="14960"/>
                      </a:cubicBezTo>
                      <a:cubicBezTo>
                        <a:pt x="164434" y="-2137"/>
                        <a:pt x="141637" y="17810"/>
                        <a:pt x="135938" y="23509"/>
                      </a:cubicBezTo>
                      <a:cubicBezTo>
                        <a:pt x="90344" y="71952"/>
                        <a:pt x="64698" y="114696"/>
                        <a:pt x="61848" y="117546"/>
                      </a:cubicBezTo>
                      <a:cubicBezTo>
                        <a:pt x="7706" y="151741"/>
                        <a:pt x="-23640" y="234380"/>
                        <a:pt x="21954" y="288522"/>
                      </a:cubicBezTo>
                      <a:cubicBezTo>
                        <a:pt x="21954" y="288522"/>
                        <a:pt x="21954" y="288522"/>
                        <a:pt x="21954" y="288522"/>
                      </a:cubicBezTo>
                      <a:cubicBezTo>
                        <a:pt x="21954" y="288522"/>
                        <a:pt x="19104" y="291372"/>
                        <a:pt x="21954" y="294221"/>
                      </a:cubicBezTo>
                      <a:cubicBezTo>
                        <a:pt x="36202" y="319868"/>
                        <a:pt x="96043" y="322717"/>
                        <a:pt x="124539" y="311319"/>
                      </a:cubicBezTo>
                      <a:cubicBezTo>
                        <a:pt x="170133" y="294221"/>
                        <a:pt x="184381" y="240079"/>
                        <a:pt x="207178" y="203034"/>
                      </a:cubicBezTo>
                      <a:cubicBezTo>
                        <a:pt x="221426" y="185936"/>
                        <a:pt x="267019" y="114696"/>
                        <a:pt x="252771" y="103298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A6EA4D18-44B9-4BD9-B7E4-E1A9B680E800}"/>
                    </a:ext>
                  </a:extLst>
                </p:cNvPr>
                <p:cNvSpPr/>
                <p:nvPr/>
              </p:nvSpPr>
              <p:spPr>
                <a:xfrm>
                  <a:off x="12415484" y="8369024"/>
                  <a:ext cx="123958" cy="122533"/>
                </a:xfrm>
                <a:custGeom>
                  <a:avLst/>
                  <a:gdLst>
                    <a:gd name="connsiteX0" fmla="*/ 5700 w 123958"/>
                    <a:gd name="connsiteY0" fmla="*/ 122533 h 122533"/>
                    <a:gd name="connsiteX1" fmla="*/ 5700 w 123958"/>
                    <a:gd name="connsiteY1" fmla="*/ 122533 h 122533"/>
                    <a:gd name="connsiteX2" fmla="*/ 0 w 123958"/>
                    <a:gd name="connsiteY2" fmla="*/ 113984 h 122533"/>
                    <a:gd name="connsiteX3" fmla="*/ 37045 w 123958"/>
                    <a:gd name="connsiteY3" fmla="*/ 17098 h 122533"/>
                    <a:gd name="connsiteX4" fmla="*/ 42744 w 123958"/>
                    <a:gd name="connsiteY4" fmla="*/ 14248 h 122533"/>
                    <a:gd name="connsiteX5" fmla="*/ 45594 w 123958"/>
                    <a:gd name="connsiteY5" fmla="*/ 19947 h 122533"/>
                    <a:gd name="connsiteX6" fmla="*/ 25647 w 123958"/>
                    <a:gd name="connsiteY6" fmla="*/ 74090 h 122533"/>
                    <a:gd name="connsiteX7" fmla="*/ 96887 w 123958"/>
                    <a:gd name="connsiteY7" fmla="*/ 0 h 122533"/>
                    <a:gd name="connsiteX8" fmla="*/ 119684 w 123958"/>
                    <a:gd name="connsiteY8" fmla="*/ 8549 h 122533"/>
                    <a:gd name="connsiteX9" fmla="*/ 119684 w 123958"/>
                    <a:gd name="connsiteY9" fmla="*/ 37045 h 122533"/>
                    <a:gd name="connsiteX10" fmla="*/ 113984 w 123958"/>
                    <a:gd name="connsiteY10" fmla="*/ 39895 h 122533"/>
                    <a:gd name="connsiteX11" fmla="*/ 111135 w 123958"/>
                    <a:gd name="connsiteY11" fmla="*/ 34195 h 122533"/>
                    <a:gd name="connsiteX12" fmla="*/ 111135 w 123958"/>
                    <a:gd name="connsiteY12" fmla="*/ 17098 h 122533"/>
                    <a:gd name="connsiteX13" fmla="*/ 96887 w 123958"/>
                    <a:gd name="connsiteY13" fmla="*/ 11399 h 122533"/>
                    <a:gd name="connsiteX14" fmla="*/ 5700 w 123958"/>
                    <a:gd name="connsiteY14" fmla="*/ 116834 h 122533"/>
                    <a:gd name="connsiteX15" fmla="*/ 5700 w 123958"/>
                    <a:gd name="connsiteY15" fmla="*/ 122533 h 1225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23958" h="122533">
                      <a:moveTo>
                        <a:pt x="5700" y="122533"/>
                      </a:moveTo>
                      <a:cubicBezTo>
                        <a:pt x="5700" y="122533"/>
                        <a:pt x="5700" y="122533"/>
                        <a:pt x="5700" y="122533"/>
                      </a:cubicBezTo>
                      <a:cubicBezTo>
                        <a:pt x="0" y="119683"/>
                        <a:pt x="0" y="116834"/>
                        <a:pt x="0" y="113984"/>
                      </a:cubicBezTo>
                      <a:cubicBezTo>
                        <a:pt x="17098" y="79789"/>
                        <a:pt x="37045" y="19947"/>
                        <a:pt x="37045" y="17098"/>
                      </a:cubicBezTo>
                      <a:cubicBezTo>
                        <a:pt x="37045" y="14248"/>
                        <a:pt x="39895" y="14248"/>
                        <a:pt x="42744" y="14248"/>
                      </a:cubicBezTo>
                      <a:cubicBezTo>
                        <a:pt x="45594" y="14248"/>
                        <a:pt x="45594" y="17098"/>
                        <a:pt x="45594" y="19947"/>
                      </a:cubicBezTo>
                      <a:cubicBezTo>
                        <a:pt x="45594" y="22797"/>
                        <a:pt x="37045" y="48443"/>
                        <a:pt x="25647" y="74090"/>
                      </a:cubicBezTo>
                      <a:cubicBezTo>
                        <a:pt x="51293" y="39895"/>
                        <a:pt x="85488" y="0"/>
                        <a:pt x="96887" y="0"/>
                      </a:cubicBezTo>
                      <a:cubicBezTo>
                        <a:pt x="108285" y="0"/>
                        <a:pt x="116834" y="2850"/>
                        <a:pt x="119684" y="8549"/>
                      </a:cubicBezTo>
                      <a:cubicBezTo>
                        <a:pt x="125383" y="17098"/>
                        <a:pt x="125383" y="25647"/>
                        <a:pt x="119684" y="37045"/>
                      </a:cubicBezTo>
                      <a:cubicBezTo>
                        <a:pt x="119684" y="39895"/>
                        <a:pt x="113984" y="39895"/>
                        <a:pt x="113984" y="39895"/>
                      </a:cubicBezTo>
                      <a:cubicBezTo>
                        <a:pt x="111135" y="39895"/>
                        <a:pt x="111135" y="34195"/>
                        <a:pt x="111135" y="34195"/>
                      </a:cubicBezTo>
                      <a:cubicBezTo>
                        <a:pt x="113984" y="28496"/>
                        <a:pt x="113984" y="19947"/>
                        <a:pt x="111135" y="17098"/>
                      </a:cubicBezTo>
                      <a:cubicBezTo>
                        <a:pt x="108285" y="11399"/>
                        <a:pt x="102586" y="11399"/>
                        <a:pt x="96887" y="11399"/>
                      </a:cubicBezTo>
                      <a:cubicBezTo>
                        <a:pt x="88338" y="14248"/>
                        <a:pt x="42744" y="68391"/>
                        <a:pt x="5700" y="116834"/>
                      </a:cubicBezTo>
                      <a:cubicBezTo>
                        <a:pt x="8549" y="122533"/>
                        <a:pt x="8549" y="122533"/>
                        <a:pt x="5700" y="12253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C5957E61-E576-46AA-8636-D023622522AD}"/>
                  </a:ext>
                </a:extLst>
              </p:cNvPr>
              <p:cNvSpPr/>
              <p:nvPr/>
            </p:nvSpPr>
            <p:spPr>
              <a:xfrm>
                <a:off x="12456091" y="8468760"/>
                <a:ext cx="93679" cy="108285"/>
              </a:xfrm>
              <a:custGeom>
                <a:avLst/>
                <a:gdLst>
                  <a:gd name="connsiteX0" fmla="*/ 50580 w 93679"/>
                  <a:gd name="connsiteY0" fmla="*/ 105435 h 108285"/>
                  <a:gd name="connsiteX1" fmla="*/ 50580 w 93679"/>
                  <a:gd name="connsiteY1" fmla="*/ 105435 h 108285"/>
                  <a:gd name="connsiteX2" fmla="*/ 44881 w 93679"/>
                  <a:gd name="connsiteY2" fmla="*/ 96887 h 108285"/>
                  <a:gd name="connsiteX3" fmla="*/ 81926 w 93679"/>
                  <a:gd name="connsiteY3" fmla="*/ 11399 h 108285"/>
                  <a:gd name="connsiteX4" fmla="*/ 76227 w 93679"/>
                  <a:gd name="connsiteY4" fmla="*/ 8549 h 108285"/>
                  <a:gd name="connsiteX5" fmla="*/ 76227 w 93679"/>
                  <a:gd name="connsiteY5" fmla="*/ 8549 h 108285"/>
                  <a:gd name="connsiteX6" fmla="*/ 59129 w 93679"/>
                  <a:gd name="connsiteY6" fmla="*/ 19947 h 108285"/>
                  <a:gd name="connsiteX7" fmla="*/ 39182 w 93679"/>
                  <a:gd name="connsiteY7" fmla="*/ 51293 h 108285"/>
                  <a:gd name="connsiteX8" fmla="*/ 10686 w 93679"/>
                  <a:gd name="connsiteY8" fmla="*/ 94037 h 108285"/>
                  <a:gd name="connsiteX9" fmla="*/ 2137 w 93679"/>
                  <a:gd name="connsiteY9" fmla="*/ 94037 h 108285"/>
                  <a:gd name="connsiteX10" fmla="*/ 2137 w 93679"/>
                  <a:gd name="connsiteY10" fmla="*/ 85488 h 108285"/>
                  <a:gd name="connsiteX11" fmla="*/ 30633 w 93679"/>
                  <a:gd name="connsiteY11" fmla="*/ 45594 h 108285"/>
                  <a:gd name="connsiteX12" fmla="*/ 53430 w 93679"/>
                  <a:gd name="connsiteY12" fmla="*/ 14248 h 108285"/>
                  <a:gd name="connsiteX13" fmla="*/ 76227 w 93679"/>
                  <a:gd name="connsiteY13" fmla="*/ 0 h 108285"/>
                  <a:gd name="connsiteX14" fmla="*/ 76227 w 93679"/>
                  <a:gd name="connsiteY14" fmla="*/ 0 h 108285"/>
                  <a:gd name="connsiteX15" fmla="*/ 90475 w 93679"/>
                  <a:gd name="connsiteY15" fmla="*/ 8549 h 108285"/>
                  <a:gd name="connsiteX16" fmla="*/ 53430 w 93679"/>
                  <a:gd name="connsiteY16" fmla="*/ 108285 h 108285"/>
                  <a:gd name="connsiteX17" fmla="*/ 50580 w 93679"/>
                  <a:gd name="connsiteY17" fmla="*/ 105435 h 108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93679" h="108285">
                    <a:moveTo>
                      <a:pt x="50580" y="105435"/>
                    </a:moveTo>
                    <a:cubicBezTo>
                      <a:pt x="50580" y="105435"/>
                      <a:pt x="47731" y="105435"/>
                      <a:pt x="50580" y="105435"/>
                    </a:cubicBezTo>
                    <a:cubicBezTo>
                      <a:pt x="44881" y="102586"/>
                      <a:pt x="44881" y="99736"/>
                      <a:pt x="44881" y="96887"/>
                    </a:cubicBezTo>
                    <a:cubicBezTo>
                      <a:pt x="70528" y="56992"/>
                      <a:pt x="87625" y="17098"/>
                      <a:pt x="81926" y="11399"/>
                    </a:cubicBezTo>
                    <a:cubicBezTo>
                      <a:pt x="79076" y="8549"/>
                      <a:pt x="76227" y="8549"/>
                      <a:pt x="76227" y="8549"/>
                    </a:cubicBezTo>
                    <a:lnTo>
                      <a:pt x="76227" y="8549"/>
                    </a:lnTo>
                    <a:cubicBezTo>
                      <a:pt x="70528" y="8549"/>
                      <a:pt x="67678" y="11399"/>
                      <a:pt x="59129" y="19947"/>
                    </a:cubicBezTo>
                    <a:cubicBezTo>
                      <a:pt x="53430" y="25647"/>
                      <a:pt x="47731" y="37045"/>
                      <a:pt x="39182" y="51293"/>
                    </a:cubicBezTo>
                    <a:cubicBezTo>
                      <a:pt x="27784" y="68391"/>
                      <a:pt x="16385" y="88338"/>
                      <a:pt x="10686" y="94037"/>
                    </a:cubicBezTo>
                    <a:cubicBezTo>
                      <a:pt x="7836" y="96887"/>
                      <a:pt x="4986" y="96887"/>
                      <a:pt x="2137" y="94037"/>
                    </a:cubicBezTo>
                    <a:cubicBezTo>
                      <a:pt x="-712" y="91187"/>
                      <a:pt x="-712" y="88338"/>
                      <a:pt x="2137" y="85488"/>
                    </a:cubicBezTo>
                    <a:cubicBezTo>
                      <a:pt x="7836" y="79789"/>
                      <a:pt x="19234" y="62691"/>
                      <a:pt x="30633" y="45594"/>
                    </a:cubicBezTo>
                    <a:cubicBezTo>
                      <a:pt x="39182" y="31346"/>
                      <a:pt x="47731" y="19947"/>
                      <a:pt x="53430" y="14248"/>
                    </a:cubicBezTo>
                    <a:cubicBezTo>
                      <a:pt x="61979" y="2850"/>
                      <a:pt x="70528" y="0"/>
                      <a:pt x="76227" y="0"/>
                    </a:cubicBezTo>
                    <a:cubicBezTo>
                      <a:pt x="76227" y="0"/>
                      <a:pt x="76227" y="0"/>
                      <a:pt x="76227" y="0"/>
                    </a:cubicBezTo>
                    <a:cubicBezTo>
                      <a:pt x="79076" y="0"/>
                      <a:pt x="84776" y="0"/>
                      <a:pt x="90475" y="8549"/>
                    </a:cubicBezTo>
                    <a:cubicBezTo>
                      <a:pt x="104723" y="25647"/>
                      <a:pt x="67678" y="82639"/>
                      <a:pt x="53430" y="108285"/>
                    </a:cubicBezTo>
                    <a:cubicBezTo>
                      <a:pt x="53430" y="105435"/>
                      <a:pt x="53430" y="105435"/>
                      <a:pt x="50580" y="105435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6246AB1D-080A-403F-BA95-1D3313A347E3}"/>
                  </a:ext>
                </a:extLst>
              </p:cNvPr>
              <p:cNvSpPr/>
              <p:nvPr/>
            </p:nvSpPr>
            <p:spPr>
              <a:xfrm>
                <a:off x="12436144" y="8402478"/>
                <a:ext cx="122719" cy="128973"/>
              </a:xfrm>
              <a:custGeom>
                <a:avLst/>
                <a:gdLst>
                  <a:gd name="connsiteX0" fmla="*/ 4987 w 122719"/>
                  <a:gd name="connsiteY0" fmla="*/ 128973 h 128973"/>
                  <a:gd name="connsiteX1" fmla="*/ 2137 w 122719"/>
                  <a:gd name="connsiteY1" fmla="*/ 128973 h 128973"/>
                  <a:gd name="connsiteX2" fmla="*/ 2137 w 122719"/>
                  <a:gd name="connsiteY2" fmla="*/ 120425 h 128973"/>
                  <a:gd name="connsiteX3" fmla="*/ 36332 w 122719"/>
                  <a:gd name="connsiteY3" fmla="*/ 74831 h 128973"/>
                  <a:gd name="connsiteX4" fmla="*/ 42032 w 122719"/>
                  <a:gd name="connsiteY4" fmla="*/ 66282 h 128973"/>
                  <a:gd name="connsiteX5" fmla="*/ 79076 w 122719"/>
                  <a:gd name="connsiteY5" fmla="*/ 12140 h 128973"/>
                  <a:gd name="connsiteX6" fmla="*/ 110422 w 122719"/>
                  <a:gd name="connsiteY6" fmla="*/ 741 h 128973"/>
                  <a:gd name="connsiteX7" fmla="*/ 121820 w 122719"/>
                  <a:gd name="connsiteY7" fmla="*/ 9290 h 128973"/>
                  <a:gd name="connsiteX8" fmla="*/ 93324 w 122719"/>
                  <a:gd name="connsiteY8" fmla="*/ 71981 h 128973"/>
                  <a:gd name="connsiteX9" fmla="*/ 84776 w 122719"/>
                  <a:gd name="connsiteY9" fmla="*/ 71981 h 128973"/>
                  <a:gd name="connsiteX10" fmla="*/ 84776 w 122719"/>
                  <a:gd name="connsiteY10" fmla="*/ 63433 h 128973"/>
                  <a:gd name="connsiteX11" fmla="*/ 110422 w 122719"/>
                  <a:gd name="connsiteY11" fmla="*/ 12140 h 128973"/>
                  <a:gd name="connsiteX12" fmla="*/ 107572 w 122719"/>
                  <a:gd name="connsiteY12" fmla="*/ 9290 h 128973"/>
                  <a:gd name="connsiteX13" fmla="*/ 84776 w 122719"/>
                  <a:gd name="connsiteY13" fmla="*/ 17839 h 128973"/>
                  <a:gd name="connsiteX14" fmla="*/ 50580 w 122719"/>
                  <a:gd name="connsiteY14" fmla="*/ 71981 h 128973"/>
                  <a:gd name="connsiteX15" fmla="*/ 44881 w 122719"/>
                  <a:gd name="connsiteY15" fmla="*/ 80530 h 128973"/>
                  <a:gd name="connsiteX16" fmla="*/ 7836 w 122719"/>
                  <a:gd name="connsiteY16" fmla="*/ 126124 h 128973"/>
                  <a:gd name="connsiteX17" fmla="*/ 4987 w 122719"/>
                  <a:gd name="connsiteY17" fmla="*/ 128973 h 128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2719" h="128973">
                    <a:moveTo>
                      <a:pt x="4987" y="128973"/>
                    </a:moveTo>
                    <a:cubicBezTo>
                      <a:pt x="4987" y="128973"/>
                      <a:pt x="2137" y="128973"/>
                      <a:pt x="2137" y="128973"/>
                    </a:cubicBezTo>
                    <a:cubicBezTo>
                      <a:pt x="-712" y="126124"/>
                      <a:pt x="-712" y="123274"/>
                      <a:pt x="2137" y="120425"/>
                    </a:cubicBezTo>
                    <a:cubicBezTo>
                      <a:pt x="10686" y="109026"/>
                      <a:pt x="33483" y="80530"/>
                      <a:pt x="36332" y="74831"/>
                    </a:cubicBezTo>
                    <a:cubicBezTo>
                      <a:pt x="36332" y="71981"/>
                      <a:pt x="39182" y="69132"/>
                      <a:pt x="42032" y="66282"/>
                    </a:cubicBezTo>
                    <a:cubicBezTo>
                      <a:pt x="56280" y="43485"/>
                      <a:pt x="70528" y="17839"/>
                      <a:pt x="79076" y="12140"/>
                    </a:cubicBezTo>
                    <a:cubicBezTo>
                      <a:pt x="87625" y="3591"/>
                      <a:pt x="101873" y="-2108"/>
                      <a:pt x="110422" y="741"/>
                    </a:cubicBezTo>
                    <a:cubicBezTo>
                      <a:pt x="116122" y="741"/>
                      <a:pt x="118971" y="6441"/>
                      <a:pt x="121820" y="9290"/>
                    </a:cubicBezTo>
                    <a:cubicBezTo>
                      <a:pt x="127520" y="23538"/>
                      <a:pt x="104723" y="57733"/>
                      <a:pt x="93324" y="71981"/>
                    </a:cubicBezTo>
                    <a:cubicBezTo>
                      <a:pt x="90475" y="74831"/>
                      <a:pt x="87625" y="74831"/>
                      <a:pt x="84776" y="71981"/>
                    </a:cubicBezTo>
                    <a:cubicBezTo>
                      <a:pt x="81926" y="69132"/>
                      <a:pt x="81926" y="66282"/>
                      <a:pt x="84776" y="63433"/>
                    </a:cubicBezTo>
                    <a:cubicBezTo>
                      <a:pt x="101873" y="40636"/>
                      <a:pt x="113272" y="17839"/>
                      <a:pt x="110422" y="12140"/>
                    </a:cubicBezTo>
                    <a:cubicBezTo>
                      <a:pt x="110422" y="9290"/>
                      <a:pt x="107572" y="9290"/>
                      <a:pt x="107572" y="9290"/>
                    </a:cubicBezTo>
                    <a:cubicBezTo>
                      <a:pt x="101873" y="9290"/>
                      <a:pt x="90475" y="12140"/>
                      <a:pt x="84776" y="17839"/>
                    </a:cubicBezTo>
                    <a:cubicBezTo>
                      <a:pt x="76227" y="23538"/>
                      <a:pt x="59129" y="54884"/>
                      <a:pt x="50580" y="71981"/>
                    </a:cubicBezTo>
                    <a:cubicBezTo>
                      <a:pt x="47731" y="74831"/>
                      <a:pt x="44881" y="80530"/>
                      <a:pt x="44881" y="80530"/>
                    </a:cubicBezTo>
                    <a:cubicBezTo>
                      <a:pt x="39182" y="89079"/>
                      <a:pt x="10686" y="126124"/>
                      <a:pt x="7836" y="126124"/>
                    </a:cubicBezTo>
                    <a:cubicBezTo>
                      <a:pt x="7836" y="126124"/>
                      <a:pt x="7836" y="128973"/>
                      <a:pt x="4987" y="128973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2" name="图形 1">
              <a:extLst>
                <a:ext uri="{FF2B5EF4-FFF2-40B4-BE49-F238E27FC236}">
                  <a16:creationId xmlns:a16="http://schemas.microsoft.com/office/drawing/2014/main" id="{84ABA15B-FD09-4100-9C54-C7ACDBAF52E6}"/>
                </a:ext>
              </a:extLst>
            </p:cNvPr>
            <p:cNvGrpSpPr/>
            <p:nvPr/>
          </p:nvGrpSpPr>
          <p:grpSpPr>
            <a:xfrm>
              <a:off x="12310513" y="8146845"/>
              <a:ext cx="523210" cy="492728"/>
              <a:chOff x="12310513" y="8146845"/>
              <a:chExt cx="523210" cy="492728"/>
            </a:xfrm>
          </p:grpSpPr>
          <p:grpSp>
            <p:nvGrpSpPr>
              <p:cNvPr id="46" name="图形 1">
                <a:extLst>
                  <a:ext uri="{FF2B5EF4-FFF2-40B4-BE49-F238E27FC236}">
                    <a16:creationId xmlns:a16="http://schemas.microsoft.com/office/drawing/2014/main" id="{7E42E778-CDCE-42A7-91B4-76F064D4B30F}"/>
                  </a:ext>
                </a:extLst>
              </p:cNvPr>
              <p:cNvGrpSpPr/>
              <p:nvPr/>
            </p:nvGrpSpPr>
            <p:grpSpPr>
              <a:xfrm>
                <a:off x="12310513" y="8146845"/>
                <a:ext cx="523210" cy="492728"/>
                <a:chOff x="12310513" y="8146845"/>
                <a:chExt cx="523210" cy="492728"/>
              </a:xfrm>
              <a:solidFill>
                <a:srgbClr val="7F95BC"/>
              </a:solidFill>
            </p:grpSpPr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5FD45CC9-9EDE-4B42-AA84-D02A1791F7A1}"/>
                    </a:ext>
                  </a:extLst>
                </p:cNvPr>
                <p:cNvSpPr/>
                <p:nvPr/>
              </p:nvSpPr>
              <p:spPr>
                <a:xfrm>
                  <a:off x="12312528" y="8298127"/>
                  <a:ext cx="202692" cy="341445"/>
                </a:xfrm>
                <a:custGeom>
                  <a:avLst/>
                  <a:gdLst>
                    <a:gd name="connsiteX0" fmla="*/ 202692 w 202692"/>
                    <a:gd name="connsiteY0" fmla="*/ 56648 h 341445"/>
                    <a:gd name="connsiteX1" fmla="*/ 194144 w 202692"/>
                    <a:gd name="connsiteY1" fmla="*/ 273218 h 341445"/>
                    <a:gd name="connsiteX2" fmla="*/ 148550 w 202692"/>
                    <a:gd name="connsiteY2" fmla="*/ 335910 h 341445"/>
                    <a:gd name="connsiteX3" fmla="*/ 148550 w 202692"/>
                    <a:gd name="connsiteY3" fmla="*/ 335910 h 341445"/>
                    <a:gd name="connsiteX4" fmla="*/ 68761 w 202692"/>
                    <a:gd name="connsiteY4" fmla="*/ 304564 h 341445"/>
                    <a:gd name="connsiteX5" fmla="*/ 3220 w 202692"/>
                    <a:gd name="connsiteY5" fmla="*/ 119340 h 341445"/>
                    <a:gd name="connsiteX6" fmla="*/ 45964 w 202692"/>
                    <a:gd name="connsiteY6" fmla="*/ 36701 h 341445"/>
                    <a:gd name="connsiteX7" fmla="*/ 120054 w 202692"/>
                    <a:gd name="connsiteY7" fmla="*/ 5355 h 341445"/>
                    <a:gd name="connsiteX8" fmla="*/ 202692 w 202692"/>
                    <a:gd name="connsiteY8" fmla="*/ 56648 h 3414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2692" h="341445">
                      <a:moveTo>
                        <a:pt x="202692" y="56648"/>
                      </a:moveTo>
                      <a:lnTo>
                        <a:pt x="194144" y="273218"/>
                      </a:lnTo>
                      <a:cubicBezTo>
                        <a:pt x="194144" y="298865"/>
                        <a:pt x="174196" y="324511"/>
                        <a:pt x="148550" y="335910"/>
                      </a:cubicBezTo>
                      <a:lnTo>
                        <a:pt x="148550" y="335910"/>
                      </a:lnTo>
                      <a:cubicBezTo>
                        <a:pt x="114355" y="350158"/>
                        <a:pt x="77310" y="335910"/>
                        <a:pt x="68761" y="304564"/>
                      </a:cubicBezTo>
                      <a:lnTo>
                        <a:pt x="3220" y="119340"/>
                      </a:lnTo>
                      <a:cubicBezTo>
                        <a:pt x="-8178" y="87994"/>
                        <a:pt x="11769" y="50949"/>
                        <a:pt x="45964" y="36701"/>
                      </a:cubicBezTo>
                      <a:lnTo>
                        <a:pt x="120054" y="5355"/>
                      </a:lnTo>
                      <a:cubicBezTo>
                        <a:pt x="159948" y="-11742"/>
                        <a:pt x="202692" y="13904"/>
                        <a:pt x="202692" y="56648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609AF586-35A7-4D2F-968A-794CDD0D49A7}"/>
                    </a:ext>
                  </a:extLst>
                </p:cNvPr>
                <p:cNvSpPr/>
                <p:nvPr/>
              </p:nvSpPr>
              <p:spPr>
                <a:xfrm>
                  <a:off x="12493842" y="8157742"/>
                  <a:ext cx="339881" cy="241510"/>
                </a:xfrm>
                <a:custGeom>
                  <a:avLst/>
                  <a:gdLst>
                    <a:gd name="connsiteX0" fmla="*/ 41326 w 339881"/>
                    <a:gd name="connsiteY0" fmla="*/ 182785 h 241510"/>
                    <a:gd name="connsiteX1" fmla="*/ 252196 w 339881"/>
                    <a:gd name="connsiteY1" fmla="*/ 239777 h 241510"/>
                    <a:gd name="connsiteX2" fmla="*/ 323436 w 339881"/>
                    <a:gd name="connsiteY2" fmla="*/ 216981 h 241510"/>
                    <a:gd name="connsiteX3" fmla="*/ 323436 w 339881"/>
                    <a:gd name="connsiteY3" fmla="*/ 216981 h 241510"/>
                    <a:gd name="connsiteX4" fmla="*/ 317738 w 339881"/>
                    <a:gd name="connsiteY4" fmla="*/ 131492 h 241510"/>
                    <a:gd name="connsiteX5" fmla="*/ 158160 w 339881"/>
                    <a:gd name="connsiteY5" fmla="*/ 11809 h 241510"/>
                    <a:gd name="connsiteX6" fmla="*/ 66972 w 339881"/>
                    <a:gd name="connsiteY6" fmla="*/ 26057 h 241510"/>
                    <a:gd name="connsiteX7" fmla="*/ 15679 w 339881"/>
                    <a:gd name="connsiteY7" fmla="*/ 85899 h 241510"/>
                    <a:gd name="connsiteX8" fmla="*/ 41326 w 339881"/>
                    <a:gd name="connsiteY8" fmla="*/ 182785 h 2415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39881" h="241510">
                      <a:moveTo>
                        <a:pt x="41326" y="182785"/>
                      </a:moveTo>
                      <a:lnTo>
                        <a:pt x="252196" y="239777"/>
                      </a:lnTo>
                      <a:cubicBezTo>
                        <a:pt x="277843" y="245477"/>
                        <a:pt x="306339" y="236928"/>
                        <a:pt x="323436" y="216981"/>
                      </a:cubicBezTo>
                      <a:lnTo>
                        <a:pt x="323436" y="216981"/>
                      </a:lnTo>
                      <a:cubicBezTo>
                        <a:pt x="346234" y="188485"/>
                        <a:pt x="346234" y="151440"/>
                        <a:pt x="317738" y="131492"/>
                      </a:cubicBezTo>
                      <a:lnTo>
                        <a:pt x="158160" y="11809"/>
                      </a:lnTo>
                      <a:cubicBezTo>
                        <a:pt x="132513" y="-8138"/>
                        <a:pt x="89769" y="-2439"/>
                        <a:pt x="66972" y="26057"/>
                      </a:cubicBezTo>
                      <a:lnTo>
                        <a:pt x="15679" y="85899"/>
                      </a:lnTo>
                      <a:cubicBezTo>
                        <a:pt x="-12817" y="122944"/>
                        <a:pt x="-1418" y="171387"/>
                        <a:pt x="41326" y="182785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1F2BAA68-F883-475E-BCAB-FBF78EA1B987}"/>
                    </a:ext>
                  </a:extLst>
                </p:cNvPr>
                <p:cNvSpPr/>
                <p:nvPr/>
              </p:nvSpPr>
              <p:spPr>
                <a:xfrm>
                  <a:off x="12310513" y="8146845"/>
                  <a:ext cx="400283" cy="366462"/>
                </a:xfrm>
                <a:custGeom>
                  <a:avLst/>
                  <a:gdLst>
                    <a:gd name="connsiteX0" fmla="*/ 367135 w 400283"/>
                    <a:gd name="connsiteY0" fmla="*/ 48353 h 366462"/>
                    <a:gd name="connsiteX1" fmla="*/ 378533 w 400283"/>
                    <a:gd name="connsiteY1" fmla="*/ 65451 h 366462"/>
                    <a:gd name="connsiteX2" fmla="*/ 352887 w 400283"/>
                    <a:gd name="connsiteY2" fmla="*/ 227878 h 366462"/>
                    <a:gd name="connsiteX3" fmla="*/ 196159 w 400283"/>
                    <a:gd name="connsiteY3" fmla="*/ 344712 h 366462"/>
                    <a:gd name="connsiteX4" fmla="*/ 33731 w 400283"/>
                    <a:gd name="connsiteY4" fmla="*/ 319066 h 366462"/>
                    <a:gd name="connsiteX5" fmla="*/ 22333 w 400283"/>
                    <a:gd name="connsiteY5" fmla="*/ 301968 h 366462"/>
                    <a:gd name="connsiteX6" fmla="*/ 2386 w 400283"/>
                    <a:gd name="connsiteY6" fmla="*/ 256374 h 366462"/>
                    <a:gd name="connsiteX7" fmla="*/ 2386 w 400283"/>
                    <a:gd name="connsiteY7" fmla="*/ 256374 h 366462"/>
                    <a:gd name="connsiteX8" fmla="*/ 47979 w 400283"/>
                    <a:gd name="connsiteY8" fmla="*/ 139541 h 366462"/>
                    <a:gd name="connsiteX9" fmla="*/ 204707 w 400283"/>
                    <a:gd name="connsiteY9" fmla="*/ 22707 h 366462"/>
                    <a:gd name="connsiteX10" fmla="*/ 352887 w 400283"/>
                    <a:gd name="connsiteY10" fmla="*/ 31256 h 366462"/>
                    <a:gd name="connsiteX11" fmla="*/ 367135 w 400283"/>
                    <a:gd name="connsiteY11" fmla="*/ 48353 h 366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00283" h="366462">
                      <a:moveTo>
                        <a:pt x="367135" y="48353"/>
                      </a:moveTo>
                      <a:lnTo>
                        <a:pt x="378533" y="65451"/>
                      </a:lnTo>
                      <a:cubicBezTo>
                        <a:pt x="415579" y="116744"/>
                        <a:pt x="404180" y="190834"/>
                        <a:pt x="352887" y="227878"/>
                      </a:cubicBezTo>
                      <a:lnTo>
                        <a:pt x="196159" y="344712"/>
                      </a:lnTo>
                      <a:cubicBezTo>
                        <a:pt x="144866" y="381757"/>
                        <a:pt x="70776" y="370358"/>
                        <a:pt x="33731" y="319066"/>
                      </a:cubicBezTo>
                      <a:lnTo>
                        <a:pt x="22333" y="301968"/>
                      </a:lnTo>
                      <a:cubicBezTo>
                        <a:pt x="10935" y="287720"/>
                        <a:pt x="5235" y="273472"/>
                        <a:pt x="2386" y="256374"/>
                      </a:cubicBezTo>
                      <a:lnTo>
                        <a:pt x="2386" y="256374"/>
                      </a:lnTo>
                      <a:cubicBezTo>
                        <a:pt x="-6163" y="213630"/>
                        <a:pt x="8085" y="168037"/>
                        <a:pt x="47979" y="139541"/>
                      </a:cubicBezTo>
                      <a:lnTo>
                        <a:pt x="204707" y="22707"/>
                      </a:lnTo>
                      <a:cubicBezTo>
                        <a:pt x="250301" y="-11488"/>
                        <a:pt x="312993" y="-5789"/>
                        <a:pt x="352887" y="31256"/>
                      </a:cubicBezTo>
                      <a:cubicBezTo>
                        <a:pt x="358587" y="36955"/>
                        <a:pt x="364285" y="42654"/>
                        <a:pt x="367135" y="48353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47" name="图形 1">
                <a:extLst>
                  <a:ext uri="{FF2B5EF4-FFF2-40B4-BE49-F238E27FC236}">
                    <a16:creationId xmlns:a16="http://schemas.microsoft.com/office/drawing/2014/main" id="{DA0B72A8-F21C-4C9F-90F8-B9B2F6F56805}"/>
                  </a:ext>
                </a:extLst>
              </p:cNvPr>
              <p:cNvGrpSpPr/>
              <p:nvPr/>
            </p:nvGrpSpPr>
            <p:grpSpPr>
              <a:xfrm>
                <a:off x="12514098" y="8192886"/>
                <a:ext cx="94621" cy="95811"/>
                <a:chOff x="12514098" y="8192886"/>
                <a:chExt cx="94621" cy="95811"/>
              </a:xfrm>
              <a:solidFill>
                <a:srgbClr val="FFFFFF"/>
              </a:solidFill>
            </p:grpSpPr>
            <p:grpSp>
              <p:nvGrpSpPr>
                <p:cNvPr id="53" name="图形 1">
                  <a:extLst>
                    <a:ext uri="{FF2B5EF4-FFF2-40B4-BE49-F238E27FC236}">
                      <a16:creationId xmlns:a16="http://schemas.microsoft.com/office/drawing/2014/main" id="{F587EC75-DE5D-4213-A309-038F310CB1C1}"/>
                    </a:ext>
                  </a:extLst>
                </p:cNvPr>
                <p:cNvGrpSpPr/>
                <p:nvPr/>
              </p:nvGrpSpPr>
              <p:grpSpPr>
                <a:xfrm>
                  <a:off x="12521457" y="8192886"/>
                  <a:ext cx="80373" cy="95811"/>
                  <a:chOff x="12521457" y="8192886"/>
                  <a:chExt cx="80373" cy="95811"/>
                </a:xfrm>
                <a:solidFill>
                  <a:srgbClr val="FFFFFF"/>
                </a:solidFill>
              </p:grpSpPr>
              <p:sp>
                <p:nvSpPr>
                  <p:cNvPr id="57" name="任意多边形: 形状 56">
                    <a:extLst>
                      <a:ext uri="{FF2B5EF4-FFF2-40B4-BE49-F238E27FC236}">
                        <a16:creationId xmlns:a16="http://schemas.microsoft.com/office/drawing/2014/main" id="{E8DE9D60-66A0-45F4-95D7-E702564671D9}"/>
                      </a:ext>
                    </a:extLst>
                  </p:cNvPr>
                  <p:cNvSpPr/>
                  <p:nvPr/>
                </p:nvSpPr>
                <p:spPr>
                  <a:xfrm>
                    <a:off x="12521457" y="8192886"/>
                    <a:ext cx="40479" cy="41669"/>
                  </a:xfrm>
                  <a:custGeom>
                    <a:avLst/>
                    <a:gdLst>
                      <a:gd name="connsiteX0" fmla="*/ 36507 w 40479"/>
                      <a:gd name="connsiteY0" fmla="*/ 8012 h 41669"/>
                      <a:gd name="connsiteX1" fmla="*/ 8011 w 40479"/>
                      <a:gd name="connsiteY1" fmla="*/ 5162 h 41669"/>
                      <a:gd name="connsiteX2" fmla="*/ 5162 w 40479"/>
                      <a:gd name="connsiteY2" fmla="*/ 33658 h 41669"/>
                      <a:gd name="connsiteX3" fmla="*/ 33658 w 40479"/>
                      <a:gd name="connsiteY3" fmla="*/ 36508 h 41669"/>
                      <a:gd name="connsiteX4" fmla="*/ 36507 w 40479"/>
                      <a:gd name="connsiteY4" fmla="*/ 8012 h 41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479" h="41669">
                        <a:moveTo>
                          <a:pt x="36507" y="8012"/>
                        </a:moveTo>
                        <a:cubicBezTo>
                          <a:pt x="30808" y="-537"/>
                          <a:pt x="16560" y="-3387"/>
                          <a:pt x="8011" y="5162"/>
                        </a:cubicBezTo>
                        <a:cubicBezTo>
                          <a:pt x="-537" y="10861"/>
                          <a:pt x="-3387" y="25109"/>
                          <a:pt x="5162" y="33658"/>
                        </a:cubicBezTo>
                        <a:cubicBezTo>
                          <a:pt x="10861" y="42207"/>
                          <a:pt x="25109" y="45056"/>
                          <a:pt x="33658" y="36508"/>
                        </a:cubicBezTo>
                        <a:cubicBezTo>
                          <a:pt x="42207" y="27959"/>
                          <a:pt x="42207" y="16560"/>
                          <a:pt x="36507" y="801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58" name="任意多边形: 形状 57">
                    <a:extLst>
                      <a:ext uri="{FF2B5EF4-FFF2-40B4-BE49-F238E27FC236}">
                        <a16:creationId xmlns:a16="http://schemas.microsoft.com/office/drawing/2014/main" id="{9A5EDD2E-77B0-440A-A2D8-34ACF3DBC341}"/>
                      </a:ext>
                    </a:extLst>
                  </p:cNvPr>
                  <p:cNvSpPr/>
                  <p:nvPr/>
                </p:nvSpPr>
                <p:spPr>
                  <a:xfrm>
                    <a:off x="12561351" y="8247028"/>
                    <a:ext cx="40479" cy="41669"/>
                  </a:xfrm>
                  <a:custGeom>
                    <a:avLst/>
                    <a:gdLst>
                      <a:gd name="connsiteX0" fmla="*/ 36508 w 40479"/>
                      <a:gd name="connsiteY0" fmla="*/ 8011 h 41669"/>
                      <a:gd name="connsiteX1" fmla="*/ 8012 w 40479"/>
                      <a:gd name="connsiteY1" fmla="*/ 5162 h 41669"/>
                      <a:gd name="connsiteX2" fmla="*/ 5162 w 40479"/>
                      <a:gd name="connsiteY2" fmla="*/ 33658 h 41669"/>
                      <a:gd name="connsiteX3" fmla="*/ 33658 w 40479"/>
                      <a:gd name="connsiteY3" fmla="*/ 36507 h 41669"/>
                      <a:gd name="connsiteX4" fmla="*/ 36508 w 40479"/>
                      <a:gd name="connsiteY4" fmla="*/ 8011 h 41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479" h="41669">
                        <a:moveTo>
                          <a:pt x="36508" y="8011"/>
                        </a:moveTo>
                        <a:cubicBezTo>
                          <a:pt x="30808" y="-538"/>
                          <a:pt x="16560" y="-3387"/>
                          <a:pt x="8012" y="5162"/>
                        </a:cubicBezTo>
                        <a:cubicBezTo>
                          <a:pt x="-538" y="10861"/>
                          <a:pt x="-3387" y="25109"/>
                          <a:pt x="5162" y="33658"/>
                        </a:cubicBezTo>
                        <a:cubicBezTo>
                          <a:pt x="10861" y="42206"/>
                          <a:pt x="25109" y="45056"/>
                          <a:pt x="33658" y="36507"/>
                        </a:cubicBezTo>
                        <a:cubicBezTo>
                          <a:pt x="42207" y="30808"/>
                          <a:pt x="42207" y="16560"/>
                          <a:pt x="36508" y="801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54" name="图形 1">
                  <a:extLst>
                    <a:ext uri="{FF2B5EF4-FFF2-40B4-BE49-F238E27FC236}">
                      <a16:creationId xmlns:a16="http://schemas.microsoft.com/office/drawing/2014/main" id="{1B436B58-DA69-4620-9083-C380FC6E4EEE}"/>
                    </a:ext>
                  </a:extLst>
                </p:cNvPr>
                <p:cNvGrpSpPr/>
                <p:nvPr/>
              </p:nvGrpSpPr>
              <p:grpSpPr>
                <a:xfrm>
                  <a:off x="12514098" y="8199775"/>
                  <a:ext cx="94621" cy="79184"/>
                  <a:chOff x="12514098" y="8199775"/>
                  <a:chExt cx="94621" cy="79184"/>
                </a:xfrm>
                <a:solidFill>
                  <a:srgbClr val="FFFFFF"/>
                </a:solidFill>
              </p:grpSpPr>
              <p:sp>
                <p:nvSpPr>
                  <p:cNvPr id="55" name="任意多边形: 形状 54">
                    <a:extLst>
                      <a:ext uri="{FF2B5EF4-FFF2-40B4-BE49-F238E27FC236}">
                        <a16:creationId xmlns:a16="http://schemas.microsoft.com/office/drawing/2014/main" id="{41704993-66DD-408C-B015-3DD0F480A58D}"/>
                      </a:ext>
                    </a:extLst>
                  </p:cNvPr>
                  <p:cNvSpPr/>
                  <p:nvPr/>
                </p:nvSpPr>
                <p:spPr>
                  <a:xfrm>
                    <a:off x="12514098" y="8239669"/>
                    <a:ext cx="40479" cy="39289"/>
                  </a:xfrm>
                  <a:custGeom>
                    <a:avLst/>
                    <a:gdLst>
                      <a:gd name="connsiteX0" fmla="*/ 32468 w 40479"/>
                      <a:gd name="connsiteY0" fmla="*/ 35317 h 39289"/>
                      <a:gd name="connsiteX1" fmla="*/ 3972 w 40479"/>
                      <a:gd name="connsiteY1" fmla="*/ 32468 h 39289"/>
                      <a:gd name="connsiteX2" fmla="*/ 6821 w 40479"/>
                      <a:gd name="connsiteY2" fmla="*/ 3972 h 39289"/>
                      <a:gd name="connsiteX3" fmla="*/ 35317 w 40479"/>
                      <a:gd name="connsiteY3" fmla="*/ 6821 h 39289"/>
                      <a:gd name="connsiteX4" fmla="*/ 32468 w 40479"/>
                      <a:gd name="connsiteY4" fmla="*/ 35317 h 39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479" h="39289">
                        <a:moveTo>
                          <a:pt x="32468" y="35317"/>
                        </a:moveTo>
                        <a:cubicBezTo>
                          <a:pt x="23919" y="41017"/>
                          <a:pt x="12521" y="41017"/>
                          <a:pt x="3972" y="32468"/>
                        </a:cubicBezTo>
                        <a:cubicBezTo>
                          <a:pt x="-1727" y="23919"/>
                          <a:pt x="-1727" y="12521"/>
                          <a:pt x="6821" y="3972"/>
                        </a:cubicBezTo>
                        <a:cubicBezTo>
                          <a:pt x="15370" y="-1727"/>
                          <a:pt x="26769" y="-1727"/>
                          <a:pt x="35317" y="6821"/>
                        </a:cubicBezTo>
                        <a:cubicBezTo>
                          <a:pt x="43866" y="18220"/>
                          <a:pt x="41017" y="29618"/>
                          <a:pt x="32468" y="3531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56" name="任意多边形: 形状 55">
                    <a:extLst>
                      <a:ext uri="{FF2B5EF4-FFF2-40B4-BE49-F238E27FC236}">
                        <a16:creationId xmlns:a16="http://schemas.microsoft.com/office/drawing/2014/main" id="{CF9A37C5-0B71-45D0-AEA7-FA1C68754667}"/>
                      </a:ext>
                    </a:extLst>
                  </p:cNvPr>
                  <p:cNvSpPr/>
                  <p:nvPr/>
                </p:nvSpPr>
                <p:spPr>
                  <a:xfrm>
                    <a:off x="12568240" y="8199775"/>
                    <a:ext cx="40479" cy="39289"/>
                  </a:xfrm>
                  <a:custGeom>
                    <a:avLst/>
                    <a:gdLst>
                      <a:gd name="connsiteX0" fmla="*/ 32468 w 40479"/>
                      <a:gd name="connsiteY0" fmla="*/ 35318 h 39289"/>
                      <a:gd name="connsiteX1" fmla="*/ 3972 w 40479"/>
                      <a:gd name="connsiteY1" fmla="*/ 32468 h 39289"/>
                      <a:gd name="connsiteX2" fmla="*/ 6821 w 40479"/>
                      <a:gd name="connsiteY2" fmla="*/ 3972 h 39289"/>
                      <a:gd name="connsiteX3" fmla="*/ 35317 w 40479"/>
                      <a:gd name="connsiteY3" fmla="*/ 6822 h 39289"/>
                      <a:gd name="connsiteX4" fmla="*/ 32468 w 40479"/>
                      <a:gd name="connsiteY4" fmla="*/ 35318 h 39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479" h="39289">
                        <a:moveTo>
                          <a:pt x="32468" y="35318"/>
                        </a:moveTo>
                        <a:cubicBezTo>
                          <a:pt x="23919" y="41017"/>
                          <a:pt x="12521" y="41017"/>
                          <a:pt x="3972" y="32468"/>
                        </a:cubicBezTo>
                        <a:cubicBezTo>
                          <a:pt x="-1727" y="23919"/>
                          <a:pt x="-1727" y="12521"/>
                          <a:pt x="6821" y="3972"/>
                        </a:cubicBezTo>
                        <a:cubicBezTo>
                          <a:pt x="15371" y="-1727"/>
                          <a:pt x="26769" y="-1727"/>
                          <a:pt x="35317" y="6822"/>
                        </a:cubicBezTo>
                        <a:cubicBezTo>
                          <a:pt x="43867" y="18220"/>
                          <a:pt x="41017" y="29619"/>
                          <a:pt x="32468" y="3531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D231DA5C-C561-4CED-876D-7A30E88CE3EE}"/>
                  </a:ext>
                </a:extLst>
              </p:cNvPr>
              <p:cNvSpPr/>
              <p:nvPr/>
            </p:nvSpPr>
            <p:spPr>
              <a:xfrm>
                <a:off x="12457088" y="8384982"/>
                <a:ext cx="74756" cy="73519"/>
              </a:xfrm>
              <a:custGeom>
                <a:avLst/>
                <a:gdLst>
                  <a:gd name="connsiteX0" fmla="*/ 66681 w 74756"/>
                  <a:gd name="connsiteY0" fmla="*/ 15388 h 73519"/>
                  <a:gd name="connsiteX1" fmla="*/ 15387 w 74756"/>
                  <a:gd name="connsiteY1" fmla="*/ 6839 h 73519"/>
                  <a:gd name="connsiteX2" fmla="*/ 6839 w 74756"/>
                  <a:gd name="connsiteY2" fmla="*/ 58132 h 73519"/>
                  <a:gd name="connsiteX3" fmla="*/ 58131 w 74756"/>
                  <a:gd name="connsiteY3" fmla="*/ 66681 h 73519"/>
                  <a:gd name="connsiteX4" fmla="*/ 66681 w 74756"/>
                  <a:gd name="connsiteY4" fmla="*/ 15388 h 73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56" h="73519">
                    <a:moveTo>
                      <a:pt x="66681" y="15388"/>
                    </a:moveTo>
                    <a:cubicBezTo>
                      <a:pt x="55283" y="-1710"/>
                      <a:pt x="29635" y="-4559"/>
                      <a:pt x="15387" y="6839"/>
                    </a:cubicBezTo>
                    <a:cubicBezTo>
                      <a:pt x="-1710" y="18237"/>
                      <a:pt x="-4559" y="43884"/>
                      <a:pt x="6839" y="58132"/>
                    </a:cubicBezTo>
                    <a:cubicBezTo>
                      <a:pt x="18237" y="75229"/>
                      <a:pt x="43883" y="78079"/>
                      <a:pt x="58131" y="66681"/>
                    </a:cubicBezTo>
                    <a:cubicBezTo>
                      <a:pt x="75229" y="55282"/>
                      <a:pt x="80929" y="32485"/>
                      <a:pt x="66681" y="15388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5B66CC9D-9AB0-41C6-BE10-CB8BC837979D}"/>
                  </a:ext>
                </a:extLst>
              </p:cNvPr>
              <p:cNvSpPr/>
              <p:nvPr/>
            </p:nvSpPr>
            <p:spPr>
              <a:xfrm>
                <a:off x="12568223" y="8305193"/>
                <a:ext cx="72744" cy="73519"/>
              </a:xfrm>
              <a:custGeom>
                <a:avLst/>
                <a:gdLst>
                  <a:gd name="connsiteX0" fmla="*/ 66681 w 72744"/>
                  <a:gd name="connsiteY0" fmla="*/ 15388 h 73519"/>
                  <a:gd name="connsiteX1" fmla="*/ 15388 w 72744"/>
                  <a:gd name="connsiteY1" fmla="*/ 6839 h 73519"/>
                  <a:gd name="connsiteX2" fmla="*/ 6839 w 72744"/>
                  <a:gd name="connsiteY2" fmla="*/ 58132 h 73519"/>
                  <a:gd name="connsiteX3" fmla="*/ 58132 w 72744"/>
                  <a:gd name="connsiteY3" fmla="*/ 66681 h 73519"/>
                  <a:gd name="connsiteX4" fmla="*/ 66681 w 72744"/>
                  <a:gd name="connsiteY4" fmla="*/ 15388 h 73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744" h="73519">
                    <a:moveTo>
                      <a:pt x="66681" y="15388"/>
                    </a:moveTo>
                    <a:cubicBezTo>
                      <a:pt x="55282" y="-1710"/>
                      <a:pt x="29636" y="-4559"/>
                      <a:pt x="15388" y="6839"/>
                    </a:cubicBezTo>
                    <a:cubicBezTo>
                      <a:pt x="-1710" y="18238"/>
                      <a:pt x="-4559" y="43884"/>
                      <a:pt x="6839" y="58132"/>
                    </a:cubicBezTo>
                    <a:cubicBezTo>
                      <a:pt x="18237" y="75230"/>
                      <a:pt x="43884" y="78079"/>
                      <a:pt x="58132" y="66681"/>
                    </a:cubicBezTo>
                    <a:cubicBezTo>
                      <a:pt x="72380" y="55282"/>
                      <a:pt x="78079" y="29636"/>
                      <a:pt x="66681" y="15388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50" name="图形 1">
                <a:extLst>
                  <a:ext uri="{FF2B5EF4-FFF2-40B4-BE49-F238E27FC236}">
                    <a16:creationId xmlns:a16="http://schemas.microsoft.com/office/drawing/2014/main" id="{36D93B45-8878-4790-BF52-DFAF018B32CA}"/>
                  </a:ext>
                </a:extLst>
              </p:cNvPr>
              <p:cNvGrpSpPr/>
              <p:nvPr/>
            </p:nvGrpSpPr>
            <p:grpSpPr>
              <a:xfrm>
                <a:off x="12354250" y="8304940"/>
                <a:ext cx="103356" cy="102521"/>
                <a:chOff x="12354250" y="8304940"/>
                <a:chExt cx="103356" cy="102521"/>
              </a:xfrm>
            </p:grpSpPr>
            <p:sp>
              <p:nvSpPr>
                <p:cNvPr id="51" name="任意多边形: 形状 50">
                  <a:extLst>
                    <a:ext uri="{FF2B5EF4-FFF2-40B4-BE49-F238E27FC236}">
                      <a16:creationId xmlns:a16="http://schemas.microsoft.com/office/drawing/2014/main" id="{A24FE928-6FD3-438F-A771-12E3BEB2D4AC}"/>
                    </a:ext>
                  </a:extLst>
                </p:cNvPr>
                <p:cNvSpPr/>
                <p:nvPr/>
              </p:nvSpPr>
              <p:spPr>
                <a:xfrm>
                  <a:off x="12354250" y="8304940"/>
                  <a:ext cx="103356" cy="102521"/>
                </a:xfrm>
                <a:custGeom>
                  <a:avLst/>
                  <a:gdLst>
                    <a:gd name="connsiteX0" fmla="*/ 92580 w 103356"/>
                    <a:gd name="connsiteY0" fmla="*/ 21340 h 102521"/>
                    <a:gd name="connsiteX1" fmla="*/ 21340 w 103356"/>
                    <a:gd name="connsiteY1" fmla="*/ 9941 h 102521"/>
                    <a:gd name="connsiteX2" fmla="*/ 9941 w 103356"/>
                    <a:gd name="connsiteY2" fmla="*/ 81182 h 102521"/>
                    <a:gd name="connsiteX3" fmla="*/ 81181 w 103356"/>
                    <a:gd name="connsiteY3" fmla="*/ 92580 h 102521"/>
                    <a:gd name="connsiteX4" fmla="*/ 92580 w 103356"/>
                    <a:gd name="connsiteY4" fmla="*/ 21340 h 102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3356" h="102521">
                      <a:moveTo>
                        <a:pt x="92580" y="21340"/>
                      </a:moveTo>
                      <a:cubicBezTo>
                        <a:pt x="75482" y="-1457"/>
                        <a:pt x="44137" y="-7156"/>
                        <a:pt x="21340" y="9941"/>
                      </a:cubicBezTo>
                      <a:cubicBezTo>
                        <a:pt x="-1457" y="27039"/>
                        <a:pt x="-7156" y="58385"/>
                        <a:pt x="9941" y="81182"/>
                      </a:cubicBezTo>
                      <a:cubicBezTo>
                        <a:pt x="27039" y="103979"/>
                        <a:pt x="58385" y="109678"/>
                        <a:pt x="81181" y="92580"/>
                      </a:cubicBezTo>
                      <a:cubicBezTo>
                        <a:pt x="106828" y="75482"/>
                        <a:pt x="109678" y="44137"/>
                        <a:pt x="92580" y="2134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86542907-B27B-46DE-8ED0-620FCDE56089}"/>
                    </a:ext>
                  </a:extLst>
                </p:cNvPr>
                <p:cNvSpPr/>
                <p:nvPr/>
              </p:nvSpPr>
              <p:spPr>
                <a:xfrm>
                  <a:off x="12368710" y="8322250"/>
                  <a:ext cx="67901" cy="67901"/>
                </a:xfrm>
                <a:custGeom>
                  <a:avLst/>
                  <a:gdLst>
                    <a:gd name="connsiteX0" fmla="*/ 49623 w 67901"/>
                    <a:gd name="connsiteY0" fmla="*/ 6880 h 67901"/>
                    <a:gd name="connsiteX1" fmla="*/ 38225 w 67901"/>
                    <a:gd name="connsiteY1" fmla="*/ 15428 h 67901"/>
                    <a:gd name="connsiteX2" fmla="*/ 29676 w 67901"/>
                    <a:gd name="connsiteY2" fmla="*/ 4030 h 67901"/>
                    <a:gd name="connsiteX3" fmla="*/ 18277 w 67901"/>
                    <a:gd name="connsiteY3" fmla="*/ 1180 h 67901"/>
                    <a:gd name="connsiteX4" fmla="*/ 9729 w 67901"/>
                    <a:gd name="connsiteY4" fmla="*/ 6880 h 67901"/>
                    <a:gd name="connsiteX5" fmla="*/ 6879 w 67901"/>
                    <a:gd name="connsiteY5" fmla="*/ 18278 h 67901"/>
                    <a:gd name="connsiteX6" fmla="*/ 15428 w 67901"/>
                    <a:gd name="connsiteY6" fmla="*/ 29676 h 67901"/>
                    <a:gd name="connsiteX7" fmla="*/ 4029 w 67901"/>
                    <a:gd name="connsiteY7" fmla="*/ 38225 h 67901"/>
                    <a:gd name="connsiteX8" fmla="*/ 1180 w 67901"/>
                    <a:gd name="connsiteY8" fmla="*/ 49624 h 67901"/>
                    <a:gd name="connsiteX9" fmla="*/ 6879 w 67901"/>
                    <a:gd name="connsiteY9" fmla="*/ 58173 h 67901"/>
                    <a:gd name="connsiteX10" fmla="*/ 18277 w 67901"/>
                    <a:gd name="connsiteY10" fmla="*/ 61022 h 67901"/>
                    <a:gd name="connsiteX11" fmla="*/ 29676 w 67901"/>
                    <a:gd name="connsiteY11" fmla="*/ 52473 h 67901"/>
                    <a:gd name="connsiteX12" fmla="*/ 38225 w 67901"/>
                    <a:gd name="connsiteY12" fmla="*/ 63872 h 67901"/>
                    <a:gd name="connsiteX13" fmla="*/ 49623 w 67901"/>
                    <a:gd name="connsiteY13" fmla="*/ 66721 h 67901"/>
                    <a:gd name="connsiteX14" fmla="*/ 58173 w 67901"/>
                    <a:gd name="connsiteY14" fmla="*/ 61022 h 67901"/>
                    <a:gd name="connsiteX15" fmla="*/ 61021 w 67901"/>
                    <a:gd name="connsiteY15" fmla="*/ 49624 h 67901"/>
                    <a:gd name="connsiteX16" fmla="*/ 52473 w 67901"/>
                    <a:gd name="connsiteY16" fmla="*/ 38225 h 67901"/>
                    <a:gd name="connsiteX17" fmla="*/ 63871 w 67901"/>
                    <a:gd name="connsiteY17" fmla="*/ 29676 h 67901"/>
                    <a:gd name="connsiteX18" fmla="*/ 66721 w 67901"/>
                    <a:gd name="connsiteY18" fmla="*/ 18278 h 67901"/>
                    <a:gd name="connsiteX19" fmla="*/ 61021 w 67901"/>
                    <a:gd name="connsiteY19" fmla="*/ 9729 h 67901"/>
                    <a:gd name="connsiteX20" fmla="*/ 49623 w 67901"/>
                    <a:gd name="connsiteY20" fmla="*/ 6880 h 679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67901" h="67901">
                      <a:moveTo>
                        <a:pt x="49623" y="6880"/>
                      </a:moveTo>
                      <a:lnTo>
                        <a:pt x="38225" y="15428"/>
                      </a:lnTo>
                      <a:lnTo>
                        <a:pt x="29676" y="4030"/>
                      </a:lnTo>
                      <a:cubicBezTo>
                        <a:pt x="26827" y="1180"/>
                        <a:pt x="21127" y="-1669"/>
                        <a:pt x="18277" y="1180"/>
                      </a:cubicBezTo>
                      <a:lnTo>
                        <a:pt x="9729" y="6880"/>
                      </a:lnTo>
                      <a:cubicBezTo>
                        <a:pt x="6879" y="9729"/>
                        <a:pt x="4029" y="15428"/>
                        <a:pt x="6879" y="18278"/>
                      </a:cubicBezTo>
                      <a:lnTo>
                        <a:pt x="15428" y="29676"/>
                      </a:lnTo>
                      <a:lnTo>
                        <a:pt x="4029" y="38225"/>
                      </a:lnTo>
                      <a:cubicBezTo>
                        <a:pt x="1180" y="41075"/>
                        <a:pt x="-1669" y="46774"/>
                        <a:pt x="1180" y="49624"/>
                      </a:cubicBezTo>
                      <a:lnTo>
                        <a:pt x="6879" y="58173"/>
                      </a:lnTo>
                      <a:cubicBezTo>
                        <a:pt x="9729" y="61022"/>
                        <a:pt x="15428" y="63872"/>
                        <a:pt x="18277" y="61022"/>
                      </a:cubicBezTo>
                      <a:lnTo>
                        <a:pt x="29676" y="52473"/>
                      </a:lnTo>
                      <a:lnTo>
                        <a:pt x="38225" y="63872"/>
                      </a:lnTo>
                      <a:cubicBezTo>
                        <a:pt x="41075" y="66721"/>
                        <a:pt x="46773" y="69571"/>
                        <a:pt x="49623" y="66721"/>
                      </a:cubicBezTo>
                      <a:lnTo>
                        <a:pt x="58173" y="61022"/>
                      </a:lnTo>
                      <a:cubicBezTo>
                        <a:pt x="61021" y="58173"/>
                        <a:pt x="63871" y="52473"/>
                        <a:pt x="61021" y="49624"/>
                      </a:cubicBezTo>
                      <a:lnTo>
                        <a:pt x="52473" y="38225"/>
                      </a:lnTo>
                      <a:lnTo>
                        <a:pt x="63871" y="29676"/>
                      </a:lnTo>
                      <a:cubicBezTo>
                        <a:pt x="66721" y="26827"/>
                        <a:pt x="69571" y="21128"/>
                        <a:pt x="66721" y="18278"/>
                      </a:cubicBezTo>
                      <a:lnTo>
                        <a:pt x="61021" y="9729"/>
                      </a:lnTo>
                      <a:cubicBezTo>
                        <a:pt x="61021" y="4030"/>
                        <a:pt x="55323" y="4030"/>
                        <a:pt x="49623" y="6880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9699B40C-AC8C-4A01-8F88-9E71E8F78DD5}"/>
                </a:ext>
              </a:extLst>
            </p:cNvPr>
            <p:cNvGrpSpPr/>
            <p:nvPr/>
          </p:nvGrpSpPr>
          <p:grpSpPr>
            <a:xfrm>
              <a:off x="12284403" y="8488193"/>
              <a:ext cx="131081" cy="156216"/>
              <a:chOff x="12284403" y="8488193"/>
              <a:chExt cx="131081" cy="156216"/>
            </a:xfrm>
          </p:grpSpPr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223CEA1C-B40E-43A2-A217-39EABE57CBCA}"/>
                  </a:ext>
                </a:extLst>
              </p:cNvPr>
              <p:cNvSpPr/>
              <p:nvPr/>
            </p:nvSpPr>
            <p:spPr>
              <a:xfrm>
                <a:off x="12295445" y="8494845"/>
                <a:ext cx="120039" cy="149564"/>
              </a:xfrm>
              <a:custGeom>
                <a:avLst/>
                <a:gdLst>
                  <a:gd name="connsiteX0" fmla="*/ 43100 w 120039"/>
                  <a:gd name="connsiteY0" fmla="*/ 5261 h 149564"/>
                  <a:gd name="connsiteX1" fmla="*/ 356 w 120039"/>
                  <a:gd name="connsiteY1" fmla="*/ 99298 h 149564"/>
                  <a:gd name="connsiteX2" fmla="*/ 82995 w 120039"/>
                  <a:gd name="connsiteY2" fmla="*/ 124944 h 149564"/>
                  <a:gd name="connsiteX3" fmla="*/ 57348 w 120039"/>
                  <a:gd name="connsiteY3" fmla="*/ 82200 h 149564"/>
                  <a:gd name="connsiteX4" fmla="*/ 94393 w 120039"/>
                  <a:gd name="connsiteY4" fmla="*/ 33757 h 149564"/>
                  <a:gd name="connsiteX5" fmla="*/ 120039 w 120039"/>
                  <a:gd name="connsiteY5" fmla="*/ 19509 h 149564"/>
                  <a:gd name="connsiteX6" fmla="*/ 43100 w 120039"/>
                  <a:gd name="connsiteY6" fmla="*/ 5261 h 149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0039" h="149564">
                    <a:moveTo>
                      <a:pt x="43100" y="5261"/>
                    </a:moveTo>
                    <a:cubicBezTo>
                      <a:pt x="11754" y="19509"/>
                      <a:pt x="-2494" y="70802"/>
                      <a:pt x="356" y="99298"/>
                    </a:cubicBezTo>
                    <a:cubicBezTo>
                      <a:pt x="356" y="119245"/>
                      <a:pt x="51649" y="184786"/>
                      <a:pt x="82995" y="124944"/>
                    </a:cubicBezTo>
                    <a:cubicBezTo>
                      <a:pt x="100092" y="96448"/>
                      <a:pt x="54499" y="96448"/>
                      <a:pt x="57348" y="82200"/>
                    </a:cubicBezTo>
                    <a:cubicBezTo>
                      <a:pt x="63047" y="59403"/>
                      <a:pt x="74446" y="45155"/>
                      <a:pt x="94393" y="33757"/>
                    </a:cubicBezTo>
                    <a:cubicBezTo>
                      <a:pt x="100092" y="30907"/>
                      <a:pt x="120039" y="30907"/>
                      <a:pt x="120039" y="19509"/>
                    </a:cubicBezTo>
                    <a:cubicBezTo>
                      <a:pt x="114340" y="-3288"/>
                      <a:pt x="57348" y="-3288"/>
                      <a:pt x="43100" y="5261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429D368A-6ECC-456C-9BD2-96284455259A}"/>
                  </a:ext>
                </a:extLst>
              </p:cNvPr>
              <p:cNvSpPr/>
              <p:nvPr/>
            </p:nvSpPr>
            <p:spPr>
              <a:xfrm>
                <a:off x="12284403" y="8488193"/>
                <a:ext cx="131081" cy="131595"/>
              </a:xfrm>
              <a:custGeom>
                <a:avLst/>
                <a:gdLst>
                  <a:gd name="connsiteX0" fmla="*/ 94037 w 131081"/>
                  <a:gd name="connsiteY0" fmla="*/ 131596 h 131595"/>
                  <a:gd name="connsiteX1" fmla="*/ 88337 w 131081"/>
                  <a:gd name="connsiteY1" fmla="*/ 125897 h 131595"/>
                  <a:gd name="connsiteX2" fmla="*/ 62691 w 131081"/>
                  <a:gd name="connsiteY2" fmla="*/ 91701 h 131595"/>
                  <a:gd name="connsiteX3" fmla="*/ 59841 w 131081"/>
                  <a:gd name="connsiteY3" fmla="*/ 86002 h 131595"/>
                  <a:gd name="connsiteX4" fmla="*/ 102585 w 131081"/>
                  <a:gd name="connsiteY4" fmla="*/ 40408 h 131595"/>
                  <a:gd name="connsiteX5" fmla="*/ 122533 w 131081"/>
                  <a:gd name="connsiteY5" fmla="*/ 26160 h 131595"/>
                  <a:gd name="connsiteX6" fmla="*/ 116833 w 131081"/>
                  <a:gd name="connsiteY6" fmla="*/ 17612 h 131595"/>
                  <a:gd name="connsiteX7" fmla="*/ 51293 w 131081"/>
                  <a:gd name="connsiteY7" fmla="*/ 14762 h 131595"/>
                  <a:gd name="connsiteX8" fmla="*/ 11398 w 131081"/>
                  <a:gd name="connsiteY8" fmla="*/ 105949 h 131595"/>
                  <a:gd name="connsiteX9" fmla="*/ 5699 w 131081"/>
                  <a:gd name="connsiteY9" fmla="*/ 111649 h 131595"/>
                  <a:gd name="connsiteX10" fmla="*/ 5699 w 131081"/>
                  <a:gd name="connsiteY10" fmla="*/ 111649 h 131595"/>
                  <a:gd name="connsiteX11" fmla="*/ 0 w 131081"/>
                  <a:gd name="connsiteY11" fmla="*/ 105949 h 131595"/>
                  <a:gd name="connsiteX12" fmla="*/ 48443 w 131081"/>
                  <a:gd name="connsiteY12" fmla="*/ 6213 h 131595"/>
                  <a:gd name="connsiteX13" fmla="*/ 122533 w 131081"/>
                  <a:gd name="connsiteY13" fmla="*/ 11912 h 131595"/>
                  <a:gd name="connsiteX14" fmla="*/ 131081 w 131081"/>
                  <a:gd name="connsiteY14" fmla="*/ 29010 h 131595"/>
                  <a:gd name="connsiteX15" fmla="*/ 105435 w 131081"/>
                  <a:gd name="connsiteY15" fmla="*/ 51807 h 131595"/>
                  <a:gd name="connsiteX16" fmla="*/ 68390 w 131081"/>
                  <a:gd name="connsiteY16" fmla="*/ 86002 h 131595"/>
                  <a:gd name="connsiteX17" fmla="*/ 94037 w 131081"/>
                  <a:gd name="connsiteY17" fmla="*/ 125897 h 131595"/>
                  <a:gd name="connsiteX18" fmla="*/ 94037 w 131081"/>
                  <a:gd name="connsiteY18" fmla="*/ 131596 h 131595"/>
                  <a:gd name="connsiteX19" fmla="*/ 94037 w 131081"/>
                  <a:gd name="connsiteY19" fmla="*/ 131596 h 131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31081" h="131595">
                    <a:moveTo>
                      <a:pt x="94037" y="131596"/>
                    </a:moveTo>
                    <a:cubicBezTo>
                      <a:pt x="91187" y="131596"/>
                      <a:pt x="88337" y="128746"/>
                      <a:pt x="88337" y="125897"/>
                    </a:cubicBezTo>
                    <a:cubicBezTo>
                      <a:pt x="85488" y="108799"/>
                      <a:pt x="62691" y="91701"/>
                      <a:pt x="62691" y="91701"/>
                    </a:cubicBezTo>
                    <a:cubicBezTo>
                      <a:pt x="59841" y="91701"/>
                      <a:pt x="59841" y="88852"/>
                      <a:pt x="59841" y="86002"/>
                    </a:cubicBezTo>
                    <a:cubicBezTo>
                      <a:pt x="65541" y="57506"/>
                      <a:pt x="85488" y="46108"/>
                      <a:pt x="102585" y="40408"/>
                    </a:cubicBezTo>
                    <a:cubicBezTo>
                      <a:pt x="113984" y="34709"/>
                      <a:pt x="122533" y="31860"/>
                      <a:pt x="122533" y="26160"/>
                    </a:cubicBezTo>
                    <a:cubicBezTo>
                      <a:pt x="122533" y="23311"/>
                      <a:pt x="119683" y="20461"/>
                      <a:pt x="116833" y="17612"/>
                    </a:cubicBezTo>
                    <a:cubicBezTo>
                      <a:pt x="105435" y="9063"/>
                      <a:pt x="79789" y="6213"/>
                      <a:pt x="51293" y="14762"/>
                    </a:cubicBezTo>
                    <a:cubicBezTo>
                      <a:pt x="14248" y="26160"/>
                      <a:pt x="11398" y="103100"/>
                      <a:pt x="11398" y="105949"/>
                    </a:cubicBezTo>
                    <a:cubicBezTo>
                      <a:pt x="11398" y="108799"/>
                      <a:pt x="8548" y="111649"/>
                      <a:pt x="5699" y="111649"/>
                    </a:cubicBezTo>
                    <a:cubicBezTo>
                      <a:pt x="5699" y="111649"/>
                      <a:pt x="5699" y="111649"/>
                      <a:pt x="5699" y="111649"/>
                    </a:cubicBezTo>
                    <a:cubicBezTo>
                      <a:pt x="2849" y="111649"/>
                      <a:pt x="0" y="108799"/>
                      <a:pt x="0" y="105949"/>
                    </a:cubicBezTo>
                    <a:cubicBezTo>
                      <a:pt x="0" y="103100"/>
                      <a:pt x="2849" y="20461"/>
                      <a:pt x="48443" y="6213"/>
                    </a:cubicBezTo>
                    <a:cubicBezTo>
                      <a:pt x="79789" y="-5185"/>
                      <a:pt x="111134" y="514"/>
                      <a:pt x="122533" y="11912"/>
                    </a:cubicBezTo>
                    <a:cubicBezTo>
                      <a:pt x="128232" y="17612"/>
                      <a:pt x="131081" y="23311"/>
                      <a:pt x="131081" y="29010"/>
                    </a:cubicBezTo>
                    <a:cubicBezTo>
                      <a:pt x="131081" y="43258"/>
                      <a:pt x="116833" y="46108"/>
                      <a:pt x="105435" y="51807"/>
                    </a:cubicBezTo>
                    <a:cubicBezTo>
                      <a:pt x="91187" y="57506"/>
                      <a:pt x="74089" y="66055"/>
                      <a:pt x="68390" y="86002"/>
                    </a:cubicBezTo>
                    <a:cubicBezTo>
                      <a:pt x="76939" y="91701"/>
                      <a:pt x="94037" y="105949"/>
                      <a:pt x="94037" y="125897"/>
                    </a:cubicBezTo>
                    <a:cubicBezTo>
                      <a:pt x="99736" y="128746"/>
                      <a:pt x="96886" y="131596"/>
                      <a:pt x="94037" y="131596"/>
                    </a:cubicBezTo>
                    <a:cubicBezTo>
                      <a:pt x="94037" y="131596"/>
                      <a:pt x="94037" y="131596"/>
                      <a:pt x="94037" y="13159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86" name="图形 1">
            <a:extLst>
              <a:ext uri="{FF2B5EF4-FFF2-40B4-BE49-F238E27FC236}">
                <a16:creationId xmlns:a16="http://schemas.microsoft.com/office/drawing/2014/main" id="{794AD61D-9AE4-4EE3-8C51-E960A2A5E24A}"/>
              </a:ext>
            </a:extLst>
          </p:cNvPr>
          <p:cNvGrpSpPr/>
          <p:nvPr/>
        </p:nvGrpSpPr>
        <p:grpSpPr>
          <a:xfrm>
            <a:off x="6889837" y="2696316"/>
            <a:ext cx="2717491" cy="4160706"/>
            <a:chOff x="14205036" y="8270875"/>
            <a:chExt cx="2717491" cy="4160706"/>
          </a:xfrm>
        </p:grpSpPr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137E672E-0EB3-4644-89E5-652C04E88160}"/>
                </a:ext>
              </a:extLst>
            </p:cNvPr>
            <p:cNvSpPr/>
            <p:nvPr/>
          </p:nvSpPr>
          <p:spPr>
            <a:xfrm>
              <a:off x="15068966" y="8270875"/>
              <a:ext cx="526986" cy="705230"/>
            </a:xfrm>
            <a:custGeom>
              <a:avLst/>
              <a:gdLst>
                <a:gd name="connsiteX0" fmla="*/ 444038 w 526986"/>
                <a:gd name="connsiteY0" fmla="*/ 434402 h 705230"/>
                <a:gd name="connsiteX1" fmla="*/ 444038 w 526986"/>
                <a:gd name="connsiteY1" fmla="*/ 283373 h 705230"/>
                <a:gd name="connsiteX2" fmla="*/ 489632 w 526986"/>
                <a:gd name="connsiteY2" fmla="*/ 149442 h 705230"/>
                <a:gd name="connsiteX3" fmla="*/ 526676 w 526986"/>
                <a:gd name="connsiteY3" fmla="*/ 9811 h 705230"/>
                <a:gd name="connsiteX4" fmla="*/ 230317 w 526986"/>
                <a:gd name="connsiteY4" fmla="*/ 166540 h 705230"/>
                <a:gd name="connsiteX5" fmla="*/ 227468 w 526986"/>
                <a:gd name="connsiteY5" fmla="*/ 220682 h 705230"/>
                <a:gd name="connsiteX6" fmla="*/ 181874 w 526986"/>
                <a:gd name="connsiteY6" fmla="*/ 271975 h 705230"/>
                <a:gd name="connsiteX7" fmla="*/ 130581 w 526986"/>
                <a:gd name="connsiteY7" fmla="*/ 334666 h 705230"/>
                <a:gd name="connsiteX8" fmla="*/ 127732 w 526986"/>
                <a:gd name="connsiteY8" fmla="*/ 417304 h 705230"/>
                <a:gd name="connsiteX9" fmla="*/ 104935 w 526986"/>
                <a:gd name="connsiteY9" fmla="*/ 485695 h 705230"/>
                <a:gd name="connsiteX10" fmla="*/ 53642 w 526986"/>
                <a:gd name="connsiteY10" fmla="*/ 517041 h 705230"/>
                <a:gd name="connsiteX11" fmla="*/ 16597 w 526986"/>
                <a:gd name="connsiteY11" fmla="*/ 631025 h 705230"/>
                <a:gd name="connsiteX12" fmla="*/ 207521 w 526986"/>
                <a:gd name="connsiteY12" fmla="*/ 662371 h 705230"/>
                <a:gd name="connsiteX13" fmla="*/ 275911 w 526986"/>
                <a:gd name="connsiteY13" fmla="*/ 702265 h 705230"/>
                <a:gd name="connsiteX14" fmla="*/ 364249 w 526986"/>
                <a:gd name="connsiteY14" fmla="*/ 696566 h 705230"/>
                <a:gd name="connsiteX15" fmla="*/ 455436 w 526986"/>
                <a:gd name="connsiteY15" fmla="*/ 551236 h 705230"/>
                <a:gd name="connsiteX16" fmla="*/ 444038 w 526986"/>
                <a:gd name="connsiteY16" fmla="*/ 434402 h 705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26986" h="705230">
                  <a:moveTo>
                    <a:pt x="444038" y="434402"/>
                  </a:moveTo>
                  <a:cubicBezTo>
                    <a:pt x="438338" y="385959"/>
                    <a:pt x="435489" y="334666"/>
                    <a:pt x="444038" y="283373"/>
                  </a:cubicBezTo>
                  <a:cubicBezTo>
                    <a:pt x="452586" y="234930"/>
                    <a:pt x="466834" y="192186"/>
                    <a:pt x="489632" y="149442"/>
                  </a:cubicBezTo>
                  <a:cubicBezTo>
                    <a:pt x="512428" y="103848"/>
                    <a:pt x="529526" y="9811"/>
                    <a:pt x="526676" y="9811"/>
                  </a:cubicBezTo>
                  <a:cubicBezTo>
                    <a:pt x="421241" y="-27234"/>
                    <a:pt x="230317" y="44007"/>
                    <a:pt x="230317" y="166540"/>
                  </a:cubicBezTo>
                  <a:cubicBezTo>
                    <a:pt x="230317" y="186487"/>
                    <a:pt x="233167" y="203584"/>
                    <a:pt x="227468" y="220682"/>
                  </a:cubicBezTo>
                  <a:cubicBezTo>
                    <a:pt x="221769" y="249178"/>
                    <a:pt x="201821" y="257727"/>
                    <a:pt x="181874" y="271975"/>
                  </a:cubicBezTo>
                  <a:cubicBezTo>
                    <a:pt x="159077" y="286223"/>
                    <a:pt x="139130" y="306170"/>
                    <a:pt x="130581" y="334666"/>
                  </a:cubicBezTo>
                  <a:cubicBezTo>
                    <a:pt x="119183" y="363162"/>
                    <a:pt x="124882" y="388808"/>
                    <a:pt x="127732" y="417304"/>
                  </a:cubicBezTo>
                  <a:cubicBezTo>
                    <a:pt x="133431" y="448650"/>
                    <a:pt x="130581" y="468597"/>
                    <a:pt x="104935" y="485695"/>
                  </a:cubicBezTo>
                  <a:cubicBezTo>
                    <a:pt x="87837" y="497093"/>
                    <a:pt x="70739" y="505642"/>
                    <a:pt x="53642" y="517041"/>
                  </a:cubicBezTo>
                  <a:cubicBezTo>
                    <a:pt x="16597" y="539838"/>
                    <a:pt x="-23297" y="591131"/>
                    <a:pt x="16597" y="631025"/>
                  </a:cubicBezTo>
                  <a:cubicBezTo>
                    <a:pt x="67890" y="685167"/>
                    <a:pt x="150529" y="625326"/>
                    <a:pt x="207521" y="662371"/>
                  </a:cubicBezTo>
                  <a:cubicBezTo>
                    <a:pt x="230317" y="676619"/>
                    <a:pt x="247415" y="696566"/>
                    <a:pt x="275911" y="702265"/>
                  </a:cubicBezTo>
                  <a:cubicBezTo>
                    <a:pt x="301558" y="707964"/>
                    <a:pt x="338602" y="705115"/>
                    <a:pt x="364249" y="696566"/>
                  </a:cubicBezTo>
                  <a:cubicBezTo>
                    <a:pt x="415542" y="679468"/>
                    <a:pt x="446888" y="599679"/>
                    <a:pt x="455436" y="551236"/>
                  </a:cubicBezTo>
                  <a:cubicBezTo>
                    <a:pt x="455436" y="517041"/>
                    <a:pt x="446888" y="474297"/>
                    <a:pt x="444038" y="434402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E724B41B-61BE-492D-8A88-66CEE05D9542}"/>
                </a:ext>
              </a:extLst>
            </p:cNvPr>
            <p:cNvSpPr/>
            <p:nvPr/>
          </p:nvSpPr>
          <p:spPr>
            <a:xfrm>
              <a:off x="15570438" y="8568381"/>
              <a:ext cx="259445" cy="416123"/>
            </a:xfrm>
            <a:custGeom>
              <a:avLst/>
              <a:gdLst>
                <a:gd name="connsiteX0" fmla="*/ 250323 w 259445"/>
                <a:gd name="connsiteY0" fmla="*/ 324970 h 416123"/>
                <a:gd name="connsiteX1" fmla="*/ 201880 w 259445"/>
                <a:gd name="connsiteY1" fmla="*/ 270828 h 416123"/>
                <a:gd name="connsiteX2" fmla="*/ 210429 w 259445"/>
                <a:gd name="connsiteY2" fmla="*/ 182490 h 416123"/>
                <a:gd name="connsiteX3" fmla="*/ 179083 w 259445"/>
                <a:gd name="connsiteY3" fmla="*/ 20062 h 416123"/>
                <a:gd name="connsiteX4" fmla="*/ 181933 w 259445"/>
                <a:gd name="connsiteY4" fmla="*/ 8664 h 416123"/>
                <a:gd name="connsiteX5" fmla="*/ 170534 w 259445"/>
                <a:gd name="connsiteY5" fmla="*/ 2965 h 416123"/>
                <a:gd name="connsiteX6" fmla="*/ 161986 w 259445"/>
                <a:gd name="connsiteY6" fmla="*/ 11514 h 416123"/>
                <a:gd name="connsiteX7" fmla="*/ 164835 w 259445"/>
                <a:gd name="connsiteY7" fmla="*/ 22912 h 416123"/>
                <a:gd name="connsiteX8" fmla="*/ 116392 w 259445"/>
                <a:gd name="connsiteY8" fmla="*/ 85603 h 416123"/>
                <a:gd name="connsiteX9" fmla="*/ 79347 w 259445"/>
                <a:gd name="connsiteY9" fmla="*/ 151144 h 416123"/>
                <a:gd name="connsiteX10" fmla="*/ 5258 w 259445"/>
                <a:gd name="connsiteY10" fmla="*/ 296474 h 416123"/>
                <a:gd name="connsiteX11" fmla="*/ 113542 w 259445"/>
                <a:gd name="connsiteY11" fmla="*/ 410459 h 416123"/>
                <a:gd name="connsiteX12" fmla="*/ 204730 w 259445"/>
                <a:gd name="connsiteY12" fmla="*/ 413308 h 416123"/>
                <a:gd name="connsiteX13" fmla="*/ 244624 w 259445"/>
                <a:gd name="connsiteY13" fmla="*/ 396211 h 416123"/>
                <a:gd name="connsiteX14" fmla="*/ 250323 w 259445"/>
                <a:gd name="connsiteY14" fmla="*/ 324970 h 416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9445" h="416123">
                  <a:moveTo>
                    <a:pt x="250323" y="324970"/>
                  </a:moveTo>
                  <a:cubicBezTo>
                    <a:pt x="238925" y="305023"/>
                    <a:pt x="213278" y="293625"/>
                    <a:pt x="201880" y="270828"/>
                  </a:cubicBezTo>
                  <a:cubicBezTo>
                    <a:pt x="190482" y="242332"/>
                    <a:pt x="210429" y="210986"/>
                    <a:pt x="210429" y="182490"/>
                  </a:cubicBezTo>
                  <a:cubicBezTo>
                    <a:pt x="216128" y="131197"/>
                    <a:pt x="193331" y="71355"/>
                    <a:pt x="179083" y="20062"/>
                  </a:cubicBezTo>
                  <a:cubicBezTo>
                    <a:pt x="179083" y="17213"/>
                    <a:pt x="181933" y="11514"/>
                    <a:pt x="181933" y="8664"/>
                  </a:cubicBezTo>
                  <a:cubicBezTo>
                    <a:pt x="181933" y="115"/>
                    <a:pt x="173384" y="-2734"/>
                    <a:pt x="170534" y="2965"/>
                  </a:cubicBezTo>
                  <a:cubicBezTo>
                    <a:pt x="164835" y="2965"/>
                    <a:pt x="159136" y="5814"/>
                    <a:pt x="161986" y="11514"/>
                  </a:cubicBezTo>
                  <a:cubicBezTo>
                    <a:pt x="161986" y="14363"/>
                    <a:pt x="164835" y="17213"/>
                    <a:pt x="164835" y="22912"/>
                  </a:cubicBezTo>
                  <a:cubicBezTo>
                    <a:pt x="156286" y="48558"/>
                    <a:pt x="133490" y="65656"/>
                    <a:pt x="116392" y="85603"/>
                  </a:cubicBezTo>
                  <a:cubicBezTo>
                    <a:pt x="99294" y="105551"/>
                    <a:pt x="90746" y="128347"/>
                    <a:pt x="79347" y="151144"/>
                  </a:cubicBezTo>
                  <a:cubicBezTo>
                    <a:pt x="56550" y="199588"/>
                    <a:pt x="19506" y="245181"/>
                    <a:pt x="5258" y="296474"/>
                  </a:cubicBezTo>
                  <a:cubicBezTo>
                    <a:pt x="-17540" y="370564"/>
                    <a:pt x="36603" y="436105"/>
                    <a:pt x="113542" y="410459"/>
                  </a:cubicBezTo>
                  <a:cubicBezTo>
                    <a:pt x="150587" y="399060"/>
                    <a:pt x="170534" y="413308"/>
                    <a:pt x="204730" y="413308"/>
                  </a:cubicBezTo>
                  <a:cubicBezTo>
                    <a:pt x="218978" y="413308"/>
                    <a:pt x="233226" y="407609"/>
                    <a:pt x="244624" y="396211"/>
                  </a:cubicBezTo>
                  <a:cubicBezTo>
                    <a:pt x="261722" y="376263"/>
                    <a:pt x="264571" y="347767"/>
                    <a:pt x="250323" y="324970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F10FB382-1F97-4BDB-A37C-C553ABCE95D2}"/>
                </a:ext>
              </a:extLst>
            </p:cNvPr>
            <p:cNvSpPr/>
            <p:nvPr/>
          </p:nvSpPr>
          <p:spPr>
            <a:xfrm>
              <a:off x="14367432" y="9122756"/>
              <a:ext cx="879131" cy="390971"/>
            </a:xfrm>
            <a:custGeom>
              <a:avLst/>
              <a:gdLst>
                <a:gd name="connsiteX0" fmla="*/ 726680 w 879131"/>
                <a:gd name="connsiteY0" fmla="*/ 1413 h 390971"/>
                <a:gd name="connsiteX1" fmla="*/ 379029 w 879131"/>
                <a:gd name="connsiteY1" fmla="*/ 200885 h 390971"/>
                <a:gd name="connsiteX2" fmla="*/ 42775 w 879131"/>
                <a:gd name="connsiteY2" fmla="*/ 1413 h 390971"/>
                <a:gd name="connsiteX3" fmla="*/ 31 w 879131"/>
                <a:gd name="connsiteY3" fmla="*/ 89750 h 390971"/>
                <a:gd name="connsiteX4" fmla="*/ 393277 w 879131"/>
                <a:gd name="connsiteY4" fmla="*/ 388958 h 390971"/>
                <a:gd name="connsiteX5" fmla="*/ 852063 w 879131"/>
                <a:gd name="connsiteY5" fmla="*/ 192336 h 390971"/>
                <a:gd name="connsiteX6" fmla="*/ 726680 w 879131"/>
                <a:gd name="connsiteY6" fmla="*/ 1413 h 390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9131" h="390971">
                  <a:moveTo>
                    <a:pt x="726680" y="1413"/>
                  </a:moveTo>
                  <a:cubicBezTo>
                    <a:pt x="644042" y="9961"/>
                    <a:pt x="379029" y="200885"/>
                    <a:pt x="379029" y="200885"/>
                  </a:cubicBezTo>
                  <a:cubicBezTo>
                    <a:pt x="379029" y="200885"/>
                    <a:pt x="48475" y="-4287"/>
                    <a:pt x="42775" y="1413"/>
                  </a:cubicBezTo>
                  <a:cubicBezTo>
                    <a:pt x="-14217" y="35607"/>
                    <a:pt x="19979" y="27059"/>
                    <a:pt x="31" y="89750"/>
                  </a:cubicBezTo>
                  <a:cubicBezTo>
                    <a:pt x="-2818" y="98299"/>
                    <a:pt x="190955" y="331966"/>
                    <a:pt x="393277" y="388958"/>
                  </a:cubicBezTo>
                  <a:cubicBezTo>
                    <a:pt x="453119" y="406056"/>
                    <a:pt x="749477" y="312019"/>
                    <a:pt x="852063" y="192336"/>
                  </a:cubicBezTo>
                  <a:cubicBezTo>
                    <a:pt x="906206" y="126795"/>
                    <a:pt x="886258" y="-15685"/>
                    <a:pt x="726680" y="1413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2E2A0735-F5F9-41BC-938C-10A7615E1886}"/>
                </a:ext>
              </a:extLst>
            </p:cNvPr>
            <p:cNvSpPr/>
            <p:nvPr/>
          </p:nvSpPr>
          <p:spPr>
            <a:xfrm>
              <a:off x="14224185" y="8981489"/>
              <a:ext cx="207592" cy="228686"/>
            </a:xfrm>
            <a:custGeom>
              <a:avLst/>
              <a:gdLst>
                <a:gd name="connsiteX0" fmla="*/ 32143 w 207592"/>
                <a:gd name="connsiteY0" fmla="*/ 171176 h 228686"/>
                <a:gd name="connsiteX1" fmla="*/ 140429 w 207592"/>
                <a:gd name="connsiteY1" fmla="*/ 228168 h 228686"/>
                <a:gd name="connsiteX2" fmla="*/ 205969 w 207592"/>
                <a:gd name="connsiteY2" fmla="*/ 156928 h 228686"/>
                <a:gd name="connsiteX3" fmla="*/ 52091 w 207592"/>
                <a:gd name="connsiteY3" fmla="*/ 200 h 228686"/>
                <a:gd name="connsiteX4" fmla="*/ 29294 w 207592"/>
                <a:gd name="connsiteY4" fmla="*/ 31545 h 228686"/>
                <a:gd name="connsiteX5" fmla="*/ 798 w 207592"/>
                <a:gd name="connsiteY5" fmla="*/ 65740 h 228686"/>
                <a:gd name="connsiteX6" fmla="*/ 3647 w 207592"/>
                <a:gd name="connsiteY6" fmla="*/ 97086 h 228686"/>
                <a:gd name="connsiteX7" fmla="*/ 15046 w 207592"/>
                <a:gd name="connsiteY7" fmla="*/ 139830 h 228686"/>
                <a:gd name="connsiteX8" fmla="*/ 32143 w 207592"/>
                <a:gd name="connsiteY8" fmla="*/ 171176 h 228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7592" h="228686">
                  <a:moveTo>
                    <a:pt x="32143" y="171176"/>
                  </a:moveTo>
                  <a:cubicBezTo>
                    <a:pt x="60639" y="191123"/>
                    <a:pt x="103384" y="233867"/>
                    <a:pt x="140429" y="228168"/>
                  </a:cubicBezTo>
                  <a:cubicBezTo>
                    <a:pt x="166075" y="222469"/>
                    <a:pt x="205969" y="156928"/>
                    <a:pt x="205969" y="156928"/>
                  </a:cubicBezTo>
                  <a:cubicBezTo>
                    <a:pt x="223067" y="91387"/>
                    <a:pt x="100534" y="22996"/>
                    <a:pt x="52091" y="200"/>
                  </a:cubicBezTo>
                  <a:cubicBezTo>
                    <a:pt x="43542" y="-2650"/>
                    <a:pt x="23595" y="25846"/>
                    <a:pt x="29294" y="31545"/>
                  </a:cubicBezTo>
                  <a:cubicBezTo>
                    <a:pt x="40693" y="42944"/>
                    <a:pt x="3647" y="57192"/>
                    <a:pt x="798" y="65740"/>
                  </a:cubicBezTo>
                  <a:cubicBezTo>
                    <a:pt x="-2051" y="74289"/>
                    <a:pt x="3647" y="94236"/>
                    <a:pt x="3647" y="97086"/>
                  </a:cubicBezTo>
                  <a:cubicBezTo>
                    <a:pt x="3647" y="114184"/>
                    <a:pt x="15046" y="134131"/>
                    <a:pt x="15046" y="139830"/>
                  </a:cubicBezTo>
                  <a:cubicBezTo>
                    <a:pt x="9347" y="154078"/>
                    <a:pt x="15046" y="159777"/>
                    <a:pt x="32143" y="171176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A8EB563B-E476-461D-97FB-E1F40009BF08}"/>
                </a:ext>
              </a:extLst>
            </p:cNvPr>
            <p:cNvSpPr/>
            <p:nvPr/>
          </p:nvSpPr>
          <p:spPr>
            <a:xfrm>
              <a:off x="15002925" y="8951525"/>
              <a:ext cx="412402" cy="440507"/>
            </a:xfrm>
            <a:custGeom>
              <a:avLst/>
              <a:gdLst>
                <a:gd name="connsiteX0" fmla="*/ 188074 w 412402"/>
                <a:gd name="connsiteY0" fmla="*/ 440507 h 440507"/>
                <a:gd name="connsiteX1" fmla="*/ 404643 w 412402"/>
                <a:gd name="connsiteY1" fmla="*/ 27315 h 440507"/>
                <a:gd name="connsiteX2" fmla="*/ 0 w 412402"/>
                <a:gd name="connsiteY2" fmla="*/ 181193 h 440507"/>
                <a:gd name="connsiteX3" fmla="*/ 188074 w 412402"/>
                <a:gd name="connsiteY3" fmla="*/ 440507 h 440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402" h="440507">
                  <a:moveTo>
                    <a:pt x="188074" y="440507"/>
                  </a:moveTo>
                  <a:cubicBezTo>
                    <a:pt x="304907" y="315125"/>
                    <a:pt x="447387" y="90005"/>
                    <a:pt x="404643" y="27315"/>
                  </a:cubicBezTo>
                  <a:cubicBezTo>
                    <a:pt x="347651" y="-52474"/>
                    <a:pt x="105435" y="55811"/>
                    <a:pt x="0" y="181193"/>
                  </a:cubicBezTo>
                  <a:cubicBezTo>
                    <a:pt x="22796" y="249583"/>
                    <a:pt x="99736" y="400613"/>
                    <a:pt x="188074" y="440507"/>
                  </a:cubicBezTo>
                  <a:close/>
                </a:path>
              </a:pathLst>
            </a:custGeom>
            <a:solidFill>
              <a:srgbClr val="D16156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2" name="图形 1">
              <a:extLst>
                <a:ext uri="{FF2B5EF4-FFF2-40B4-BE49-F238E27FC236}">
                  <a16:creationId xmlns:a16="http://schemas.microsoft.com/office/drawing/2014/main" id="{BBB11F4D-7E82-4B4E-92C3-66B780264D11}"/>
                </a:ext>
              </a:extLst>
            </p:cNvPr>
            <p:cNvGrpSpPr/>
            <p:nvPr/>
          </p:nvGrpSpPr>
          <p:grpSpPr>
            <a:xfrm>
              <a:off x="15046188" y="11574829"/>
              <a:ext cx="295839" cy="456118"/>
              <a:chOff x="15046188" y="11574829"/>
              <a:chExt cx="295839" cy="456118"/>
            </a:xfrm>
          </p:grpSpPr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1F293E7F-1171-4BC4-BCD6-9C4565AAB455}"/>
                  </a:ext>
                </a:extLst>
              </p:cNvPr>
              <p:cNvSpPr/>
              <p:nvPr/>
            </p:nvSpPr>
            <p:spPr>
              <a:xfrm>
                <a:off x="15046188" y="11691662"/>
                <a:ext cx="295839" cy="339285"/>
              </a:xfrm>
              <a:custGeom>
                <a:avLst/>
                <a:gdLst>
                  <a:gd name="connsiteX0" fmla="*/ 90667 w 295839"/>
                  <a:gd name="connsiteY0" fmla="*/ 28496 h 339285"/>
                  <a:gd name="connsiteX1" fmla="*/ 59322 w 295839"/>
                  <a:gd name="connsiteY1" fmla="*/ 216570 h 339285"/>
                  <a:gd name="connsiteX2" fmla="*/ 190403 w 295839"/>
                  <a:gd name="connsiteY2" fmla="*/ 22797 h 339285"/>
                  <a:gd name="connsiteX3" fmla="*/ 201802 w 295839"/>
                  <a:gd name="connsiteY3" fmla="*/ 0 h 339285"/>
                  <a:gd name="connsiteX4" fmla="*/ 250245 w 295839"/>
                  <a:gd name="connsiteY4" fmla="*/ 56992 h 339285"/>
                  <a:gd name="connsiteX5" fmla="*/ 295839 w 295839"/>
                  <a:gd name="connsiteY5" fmla="*/ 179526 h 339285"/>
                  <a:gd name="connsiteX6" fmla="*/ 273043 w 295839"/>
                  <a:gd name="connsiteY6" fmla="*/ 190924 h 339285"/>
                  <a:gd name="connsiteX7" fmla="*/ 216050 w 295839"/>
                  <a:gd name="connsiteY7" fmla="*/ 105436 h 339285"/>
                  <a:gd name="connsiteX8" fmla="*/ 150509 w 295839"/>
                  <a:gd name="connsiteY8" fmla="*/ 273562 h 339285"/>
                  <a:gd name="connsiteX9" fmla="*/ 19427 w 295839"/>
                  <a:gd name="connsiteY9" fmla="*/ 339104 h 339285"/>
                  <a:gd name="connsiteX10" fmla="*/ 2330 w 295839"/>
                  <a:gd name="connsiteY10" fmla="*/ 299208 h 339285"/>
                  <a:gd name="connsiteX11" fmla="*/ 90667 w 295839"/>
                  <a:gd name="connsiteY11" fmla="*/ 28496 h 339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95839" h="339285">
                    <a:moveTo>
                      <a:pt x="90667" y="28496"/>
                    </a:moveTo>
                    <a:cubicBezTo>
                      <a:pt x="90667" y="28496"/>
                      <a:pt x="39375" y="213720"/>
                      <a:pt x="59322" y="216570"/>
                    </a:cubicBezTo>
                    <a:cubicBezTo>
                      <a:pt x="76419" y="216570"/>
                      <a:pt x="190403" y="22797"/>
                      <a:pt x="190403" y="22797"/>
                    </a:cubicBezTo>
                    <a:lnTo>
                      <a:pt x="201802" y="0"/>
                    </a:lnTo>
                    <a:cubicBezTo>
                      <a:pt x="201802" y="0"/>
                      <a:pt x="241697" y="34196"/>
                      <a:pt x="250245" y="56992"/>
                    </a:cubicBezTo>
                    <a:cubicBezTo>
                      <a:pt x="255945" y="82639"/>
                      <a:pt x="295839" y="179526"/>
                      <a:pt x="295839" y="179526"/>
                    </a:cubicBezTo>
                    <a:lnTo>
                      <a:pt x="273043" y="190924"/>
                    </a:lnTo>
                    <a:lnTo>
                      <a:pt x="216050" y="105436"/>
                    </a:lnTo>
                    <a:cubicBezTo>
                      <a:pt x="216050" y="105436"/>
                      <a:pt x="164757" y="262164"/>
                      <a:pt x="150509" y="273562"/>
                    </a:cubicBezTo>
                    <a:cubicBezTo>
                      <a:pt x="133411" y="287810"/>
                      <a:pt x="27976" y="336254"/>
                      <a:pt x="19427" y="339104"/>
                    </a:cubicBezTo>
                    <a:cubicBezTo>
                      <a:pt x="10879" y="341953"/>
                      <a:pt x="-6219" y="310608"/>
                      <a:pt x="2330" y="299208"/>
                    </a:cubicBezTo>
                    <a:cubicBezTo>
                      <a:pt x="42224" y="230818"/>
                      <a:pt x="90667" y="28496"/>
                      <a:pt x="90667" y="28496"/>
                    </a:cubicBezTo>
                    <a:close/>
                  </a:path>
                </a:pathLst>
              </a:custGeom>
              <a:solidFill>
                <a:srgbClr val="F1DDB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61895252-C1CA-4C81-A7DE-EAAD2FBC0C12}"/>
                  </a:ext>
                </a:extLst>
              </p:cNvPr>
              <p:cNvSpPr/>
              <p:nvPr/>
            </p:nvSpPr>
            <p:spPr>
              <a:xfrm>
                <a:off x="15088413" y="11574829"/>
                <a:ext cx="160679" cy="336374"/>
              </a:xfrm>
              <a:custGeom>
                <a:avLst/>
                <a:gdLst>
                  <a:gd name="connsiteX0" fmla="*/ 0 w 160679"/>
                  <a:gd name="connsiteY0" fmla="*/ 39894 h 336374"/>
                  <a:gd name="connsiteX1" fmla="*/ 51293 w 160679"/>
                  <a:gd name="connsiteY1" fmla="*/ 148179 h 336374"/>
                  <a:gd name="connsiteX2" fmla="*/ 19947 w 160679"/>
                  <a:gd name="connsiteY2" fmla="*/ 336253 h 336374"/>
                  <a:gd name="connsiteX3" fmla="*/ 159578 w 160679"/>
                  <a:gd name="connsiteY3" fmla="*/ 119683 h 336374"/>
                  <a:gd name="connsiteX4" fmla="*/ 88338 w 160679"/>
                  <a:gd name="connsiteY4" fmla="*/ 0 h 336374"/>
                  <a:gd name="connsiteX5" fmla="*/ 0 w 160679"/>
                  <a:gd name="connsiteY5" fmla="*/ 39894 h 336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0679" h="336374">
                    <a:moveTo>
                      <a:pt x="0" y="39894"/>
                    </a:moveTo>
                    <a:lnTo>
                      <a:pt x="51293" y="148179"/>
                    </a:lnTo>
                    <a:cubicBezTo>
                      <a:pt x="51293" y="148179"/>
                      <a:pt x="-5700" y="330553"/>
                      <a:pt x="19947" y="336253"/>
                    </a:cubicBezTo>
                    <a:cubicBezTo>
                      <a:pt x="45594" y="341953"/>
                      <a:pt x="173826" y="145329"/>
                      <a:pt x="159578" y="119683"/>
                    </a:cubicBezTo>
                    <a:cubicBezTo>
                      <a:pt x="139630" y="76939"/>
                      <a:pt x="88338" y="0"/>
                      <a:pt x="88338" y="0"/>
                    </a:cubicBezTo>
                    <a:lnTo>
                      <a:pt x="0" y="39894"/>
                    </a:ln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3" name="图形 1">
              <a:extLst>
                <a:ext uri="{FF2B5EF4-FFF2-40B4-BE49-F238E27FC236}">
                  <a16:creationId xmlns:a16="http://schemas.microsoft.com/office/drawing/2014/main" id="{6469242C-D886-4F5C-A7A3-9E2C0CCA62DB}"/>
                </a:ext>
              </a:extLst>
            </p:cNvPr>
            <p:cNvGrpSpPr/>
            <p:nvPr/>
          </p:nvGrpSpPr>
          <p:grpSpPr>
            <a:xfrm>
              <a:off x="15500893" y="12067810"/>
              <a:ext cx="340730" cy="363771"/>
              <a:chOff x="15500893" y="12067810"/>
              <a:chExt cx="340730" cy="363771"/>
            </a:xfrm>
          </p:grpSpPr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2C2A726F-957D-44B5-86E9-7AF6BF24BD8D}"/>
                  </a:ext>
                </a:extLst>
              </p:cNvPr>
              <p:cNvSpPr/>
              <p:nvPr/>
            </p:nvSpPr>
            <p:spPr>
              <a:xfrm>
                <a:off x="15500893" y="12187494"/>
                <a:ext cx="340730" cy="244087"/>
              </a:xfrm>
              <a:custGeom>
                <a:avLst/>
                <a:gdLst>
                  <a:gd name="connsiteX0" fmla="*/ 211583 w 340730"/>
                  <a:gd name="connsiteY0" fmla="*/ 0 h 244087"/>
                  <a:gd name="connsiteX1" fmla="*/ 100449 w 340730"/>
                  <a:gd name="connsiteY1" fmla="*/ 153878 h 244087"/>
                  <a:gd name="connsiteX2" fmla="*/ 302771 w 340730"/>
                  <a:gd name="connsiteY2" fmla="*/ 34195 h 244087"/>
                  <a:gd name="connsiteX3" fmla="*/ 322718 w 340730"/>
                  <a:gd name="connsiteY3" fmla="*/ 19947 h 244087"/>
                  <a:gd name="connsiteX4" fmla="*/ 339815 w 340730"/>
                  <a:gd name="connsiteY4" fmla="*/ 91187 h 244087"/>
                  <a:gd name="connsiteX5" fmla="*/ 328417 w 340730"/>
                  <a:gd name="connsiteY5" fmla="*/ 219419 h 244087"/>
                  <a:gd name="connsiteX6" fmla="*/ 302771 w 340730"/>
                  <a:gd name="connsiteY6" fmla="*/ 219419 h 244087"/>
                  <a:gd name="connsiteX7" fmla="*/ 288523 w 340730"/>
                  <a:gd name="connsiteY7" fmla="*/ 116833 h 244087"/>
                  <a:gd name="connsiteX8" fmla="*/ 154591 w 340730"/>
                  <a:gd name="connsiteY8" fmla="*/ 239367 h 244087"/>
                  <a:gd name="connsiteX9" fmla="*/ 6411 w 340730"/>
                  <a:gd name="connsiteY9" fmla="*/ 242216 h 244087"/>
                  <a:gd name="connsiteX10" fmla="*/ 6411 w 340730"/>
                  <a:gd name="connsiteY10" fmla="*/ 199472 h 244087"/>
                  <a:gd name="connsiteX11" fmla="*/ 211583 w 340730"/>
                  <a:gd name="connsiteY11" fmla="*/ 0 h 244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40730" h="244087">
                    <a:moveTo>
                      <a:pt x="211583" y="0"/>
                    </a:moveTo>
                    <a:cubicBezTo>
                      <a:pt x="211583" y="0"/>
                      <a:pt x="86201" y="145329"/>
                      <a:pt x="100449" y="153878"/>
                    </a:cubicBezTo>
                    <a:cubicBezTo>
                      <a:pt x="117547" y="162427"/>
                      <a:pt x="302771" y="34195"/>
                      <a:pt x="302771" y="34195"/>
                    </a:cubicBezTo>
                    <a:lnTo>
                      <a:pt x="322718" y="19947"/>
                    </a:lnTo>
                    <a:cubicBezTo>
                      <a:pt x="322718" y="19947"/>
                      <a:pt x="345515" y="65541"/>
                      <a:pt x="339815" y="91187"/>
                    </a:cubicBezTo>
                    <a:cubicBezTo>
                      <a:pt x="334116" y="116833"/>
                      <a:pt x="328417" y="219419"/>
                      <a:pt x="328417" y="219419"/>
                    </a:cubicBezTo>
                    <a:lnTo>
                      <a:pt x="302771" y="219419"/>
                    </a:lnTo>
                    <a:lnTo>
                      <a:pt x="288523" y="116833"/>
                    </a:lnTo>
                    <a:cubicBezTo>
                      <a:pt x="288523" y="116833"/>
                      <a:pt x="174539" y="236517"/>
                      <a:pt x="154591" y="239367"/>
                    </a:cubicBezTo>
                    <a:cubicBezTo>
                      <a:pt x="134644" y="245065"/>
                      <a:pt x="17810" y="245065"/>
                      <a:pt x="6411" y="242216"/>
                    </a:cubicBezTo>
                    <a:cubicBezTo>
                      <a:pt x="-2137" y="242216"/>
                      <a:pt x="-2137" y="205171"/>
                      <a:pt x="6411" y="199472"/>
                    </a:cubicBezTo>
                    <a:cubicBezTo>
                      <a:pt x="80501" y="159577"/>
                      <a:pt x="211583" y="0"/>
                      <a:pt x="211583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D2A43692-2A2C-4687-BC87-407BC3C8F8D4}"/>
                  </a:ext>
                </a:extLst>
              </p:cNvPr>
              <p:cNvSpPr/>
              <p:nvPr/>
            </p:nvSpPr>
            <p:spPr>
              <a:xfrm>
                <a:off x="15599276" y="12067810"/>
                <a:ext cx="221514" cy="275190"/>
              </a:xfrm>
              <a:custGeom>
                <a:avLst/>
                <a:gdLst>
                  <a:gd name="connsiteX0" fmla="*/ 116050 w 221514"/>
                  <a:gd name="connsiteY0" fmla="*/ 0 h 275190"/>
                  <a:gd name="connsiteX1" fmla="*/ 113200 w 221514"/>
                  <a:gd name="connsiteY1" fmla="*/ 119684 h 275190"/>
                  <a:gd name="connsiteX2" fmla="*/ 2066 w 221514"/>
                  <a:gd name="connsiteY2" fmla="*/ 273562 h 275190"/>
                  <a:gd name="connsiteX3" fmla="*/ 221485 w 221514"/>
                  <a:gd name="connsiteY3" fmla="*/ 139630 h 275190"/>
                  <a:gd name="connsiteX4" fmla="*/ 221485 w 221514"/>
                  <a:gd name="connsiteY4" fmla="*/ 0 h 275190"/>
                  <a:gd name="connsiteX5" fmla="*/ 116050 w 221514"/>
                  <a:gd name="connsiteY5" fmla="*/ 0 h 275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1514" h="275190">
                    <a:moveTo>
                      <a:pt x="116050" y="0"/>
                    </a:moveTo>
                    <a:lnTo>
                      <a:pt x="113200" y="119684"/>
                    </a:lnTo>
                    <a:cubicBezTo>
                      <a:pt x="113200" y="119684"/>
                      <a:pt x="-17882" y="259314"/>
                      <a:pt x="2066" y="273562"/>
                    </a:cubicBezTo>
                    <a:cubicBezTo>
                      <a:pt x="22013" y="290660"/>
                      <a:pt x="224335" y="168126"/>
                      <a:pt x="221485" y="139630"/>
                    </a:cubicBezTo>
                    <a:cubicBezTo>
                      <a:pt x="221485" y="94037"/>
                      <a:pt x="221485" y="0"/>
                      <a:pt x="221485" y="0"/>
                    </a:cubicBezTo>
                    <a:lnTo>
                      <a:pt x="116050" y="0"/>
                    </a:ln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DC7C31EF-CD4F-4A16-95D9-D2BB1D87C37E}"/>
                </a:ext>
              </a:extLst>
            </p:cNvPr>
            <p:cNvSpPr/>
            <p:nvPr/>
          </p:nvSpPr>
          <p:spPr>
            <a:xfrm>
              <a:off x="14722696" y="9793826"/>
              <a:ext cx="1266880" cy="2348073"/>
            </a:xfrm>
            <a:custGeom>
              <a:avLst/>
              <a:gdLst>
                <a:gd name="connsiteX0" fmla="*/ 1143659 w 1266880"/>
                <a:gd name="connsiteY0" fmla="*/ 0 h 2348073"/>
                <a:gd name="connsiteX1" fmla="*/ 528144 w 1266880"/>
                <a:gd name="connsiteY1" fmla="*/ 11398 h 2348073"/>
                <a:gd name="connsiteX2" fmla="*/ 18065 w 1266880"/>
                <a:gd name="connsiteY2" fmla="*/ 869129 h 2348073"/>
                <a:gd name="connsiteX3" fmla="*/ 6667 w 1266880"/>
                <a:gd name="connsiteY3" fmla="*/ 971714 h 2348073"/>
                <a:gd name="connsiteX4" fmla="*/ 345769 w 1266880"/>
                <a:gd name="connsiteY4" fmla="*/ 1917783 h 2348073"/>
                <a:gd name="connsiteX5" fmla="*/ 516746 w 1266880"/>
                <a:gd name="connsiteY5" fmla="*/ 1829445 h 2348073"/>
                <a:gd name="connsiteX6" fmla="*/ 348619 w 1266880"/>
                <a:gd name="connsiteY6" fmla="*/ 1003060 h 2348073"/>
                <a:gd name="connsiteX7" fmla="*/ 733316 w 1266880"/>
                <a:gd name="connsiteY7" fmla="*/ 649709 h 2348073"/>
                <a:gd name="connsiteX8" fmla="*/ 938488 w 1266880"/>
                <a:gd name="connsiteY8" fmla="*/ 2348074 h 2348073"/>
                <a:gd name="connsiteX9" fmla="*/ 1120862 w 1266880"/>
                <a:gd name="connsiteY9" fmla="*/ 2348074 h 2348073"/>
                <a:gd name="connsiteX10" fmla="*/ 1266192 w 1266880"/>
                <a:gd name="connsiteY10" fmla="*/ 390395 h 2348073"/>
                <a:gd name="connsiteX11" fmla="*/ 1143659 w 1266880"/>
                <a:gd name="connsiteY11" fmla="*/ 0 h 234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66880" h="2348073">
                  <a:moveTo>
                    <a:pt x="1143659" y="0"/>
                  </a:moveTo>
                  <a:lnTo>
                    <a:pt x="528144" y="11398"/>
                  </a:lnTo>
                  <a:lnTo>
                    <a:pt x="18065" y="869129"/>
                  </a:lnTo>
                  <a:cubicBezTo>
                    <a:pt x="-1882" y="900474"/>
                    <a:pt x="-4732" y="937520"/>
                    <a:pt x="6667" y="971714"/>
                  </a:cubicBezTo>
                  <a:lnTo>
                    <a:pt x="345769" y="1917783"/>
                  </a:lnTo>
                  <a:lnTo>
                    <a:pt x="516746" y="1829445"/>
                  </a:lnTo>
                  <a:lnTo>
                    <a:pt x="348619" y="1003060"/>
                  </a:lnTo>
                  <a:lnTo>
                    <a:pt x="733316" y="649709"/>
                  </a:lnTo>
                  <a:lnTo>
                    <a:pt x="938488" y="2348074"/>
                  </a:lnTo>
                  <a:lnTo>
                    <a:pt x="1120862" y="2348074"/>
                  </a:lnTo>
                  <a:cubicBezTo>
                    <a:pt x="1120862" y="2348074"/>
                    <a:pt x="1257643" y="501530"/>
                    <a:pt x="1266192" y="390395"/>
                  </a:cubicBezTo>
                  <a:cubicBezTo>
                    <a:pt x="1277590" y="276411"/>
                    <a:pt x="1143659" y="0"/>
                    <a:pt x="1143659" y="0"/>
                  </a:cubicBezTo>
                  <a:close/>
                </a:path>
              </a:pathLst>
            </a:custGeom>
            <a:solidFill>
              <a:srgbClr val="7F95BC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C6669616-2795-405A-9425-49EE789784A0}"/>
                </a:ext>
              </a:extLst>
            </p:cNvPr>
            <p:cNvSpPr/>
            <p:nvPr/>
          </p:nvSpPr>
          <p:spPr>
            <a:xfrm>
              <a:off x="15450312" y="10246913"/>
              <a:ext cx="216570" cy="1900685"/>
            </a:xfrm>
            <a:custGeom>
              <a:avLst/>
              <a:gdLst>
                <a:gd name="connsiteX0" fmla="*/ 210871 w 216570"/>
                <a:gd name="connsiteY0" fmla="*/ 1900686 h 1900685"/>
                <a:gd name="connsiteX1" fmla="*/ 205172 w 216570"/>
                <a:gd name="connsiteY1" fmla="*/ 1894987 h 1900685"/>
                <a:gd name="connsiteX2" fmla="*/ 0 w 216570"/>
                <a:gd name="connsiteY2" fmla="*/ 196623 h 1900685"/>
                <a:gd name="connsiteX3" fmla="*/ 11399 w 216570"/>
                <a:gd name="connsiteY3" fmla="*/ 5699 h 1900685"/>
                <a:gd name="connsiteX4" fmla="*/ 17098 w 216570"/>
                <a:gd name="connsiteY4" fmla="*/ 0 h 1900685"/>
                <a:gd name="connsiteX5" fmla="*/ 22797 w 216570"/>
                <a:gd name="connsiteY5" fmla="*/ 5699 h 1900685"/>
                <a:gd name="connsiteX6" fmla="*/ 11399 w 216570"/>
                <a:gd name="connsiteY6" fmla="*/ 193773 h 1900685"/>
                <a:gd name="connsiteX7" fmla="*/ 216570 w 216570"/>
                <a:gd name="connsiteY7" fmla="*/ 1892137 h 1900685"/>
                <a:gd name="connsiteX8" fmla="*/ 210871 w 216570"/>
                <a:gd name="connsiteY8" fmla="*/ 1900686 h 1900685"/>
                <a:gd name="connsiteX9" fmla="*/ 210871 w 216570"/>
                <a:gd name="connsiteY9" fmla="*/ 1900686 h 1900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570" h="1900685">
                  <a:moveTo>
                    <a:pt x="210871" y="1900686"/>
                  </a:moveTo>
                  <a:cubicBezTo>
                    <a:pt x="208022" y="1900686"/>
                    <a:pt x="205172" y="1897837"/>
                    <a:pt x="205172" y="1894987"/>
                  </a:cubicBezTo>
                  <a:lnTo>
                    <a:pt x="0" y="196623"/>
                  </a:lnTo>
                  <a:lnTo>
                    <a:pt x="11399" y="5699"/>
                  </a:lnTo>
                  <a:cubicBezTo>
                    <a:pt x="11399" y="2850"/>
                    <a:pt x="14248" y="0"/>
                    <a:pt x="17098" y="0"/>
                  </a:cubicBezTo>
                  <a:cubicBezTo>
                    <a:pt x="19948" y="0"/>
                    <a:pt x="22797" y="2850"/>
                    <a:pt x="22797" y="5699"/>
                  </a:cubicBezTo>
                  <a:lnTo>
                    <a:pt x="11399" y="193773"/>
                  </a:lnTo>
                  <a:lnTo>
                    <a:pt x="216570" y="1892137"/>
                  </a:lnTo>
                  <a:cubicBezTo>
                    <a:pt x="216570" y="1897837"/>
                    <a:pt x="213720" y="1900686"/>
                    <a:pt x="210871" y="1900686"/>
                  </a:cubicBezTo>
                  <a:cubicBezTo>
                    <a:pt x="210871" y="1900686"/>
                    <a:pt x="210871" y="1900686"/>
                    <a:pt x="210871" y="1900686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7141DC26-6888-42EC-96EA-0515AA10AF25}"/>
                </a:ext>
              </a:extLst>
            </p:cNvPr>
            <p:cNvSpPr/>
            <p:nvPr/>
          </p:nvSpPr>
          <p:spPr>
            <a:xfrm>
              <a:off x="15154989" y="8900576"/>
              <a:ext cx="766971" cy="921829"/>
            </a:xfrm>
            <a:custGeom>
              <a:avLst/>
              <a:gdLst>
                <a:gd name="connsiteX0" fmla="*/ 725613 w 766971"/>
                <a:gd name="connsiteY0" fmla="*/ 366073 h 921829"/>
                <a:gd name="connsiteX1" fmla="*/ 711365 w 766971"/>
                <a:gd name="connsiteY1" fmla="*/ 64015 h 921829"/>
                <a:gd name="connsiteX2" fmla="*/ 366563 w 766971"/>
                <a:gd name="connsiteY2" fmla="*/ 4173 h 921829"/>
                <a:gd name="connsiteX3" fmla="*/ 84453 w 766971"/>
                <a:gd name="connsiteY3" fmla="*/ 98210 h 921829"/>
                <a:gd name="connsiteX4" fmla="*/ 47408 w 766971"/>
                <a:gd name="connsiteY4" fmla="*/ 611138 h 921829"/>
                <a:gd name="connsiteX5" fmla="*/ 87302 w 766971"/>
                <a:gd name="connsiteY5" fmla="*/ 916046 h 921829"/>
                <a:gd name="connsiteX6" fmla="*/ 719915 w 766971"/>
                <a:gd name="connsiteY6" fmla="*/ 901798 h 921829"/>
                <a:gd name="connsiteX7" fmla="*/ 725613 w 766971"/>
                <a:gd name="connsiteY7" fmla="*/ 366073 h 921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6971" h="921829">
                  <a:moveTo>
                    <a:pt x="725613" y="366073"/>
                  </a:moveTo>
                  <a:cubicBezTo>
                    <a:pt x="734163" y="337577"/>
                    <a:pt x="822500" y="123857"/>
                    <a:pt x="711365" y="64015"/>
                  </a:cubicBezTo>
                  <a:cubicBezTo>
                    <a:pt x="614479" y="12722"/>
                    <a:pt x="477698" y="-10075"/>
                    <a:pt x="366563" y="4173"/>
                  </a:cubicBezTo>
                  <a:cubicBezTo>
                    <a:pt x="244031" y="18421"/>
                    <a:pt x="121498" y="38369"/>
                    <a:pt x="84453" y="98210"/>
                  </a:cubicBezTo>
                  <a:cubicBezTo>
                    <a:pt x="-20982" y="272036"/>
                    <a:pt x="-20982" y="425914"/>
                    <a:pt x="47408" y="611138"/>
                  </a:cubicBezTo>
                  <a:cubicBezTo>
                    <a:pt x="67355" y="665281"/>
                    <a:pt x="73054" y="790664"/>
                    <a:pt x="87302" y="916046"/>
                  </a:cubicBezTo>
                  <a:cubicBezTo>
                    <a:pt x="87302" y="916046"/>
                    <a:pt x="352315" y="935994"/>
                    <a:pt x="719915" y="901798"/>
                  </a:cubicBezTo>
                  <a:cubicBezTo>
                    <a:pt x="691419" y="696626"/>
                    <a:pt x="717065" y="388869"/>
                    <a:pt x="725613" y="366073"/>
                  </a:cubicBezTo>
                  <a:close/>
                </a:path>
              </a:pathLst>
            </a:custGeom>
            <a:solidFill>
              <a:srgbClr val="D16156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208D8CFE-0E81-438B-A046-7E1B23B32115}"/>
                </a:ext>
              </a:extLst>
            </p:cNvPr>
            <p:cNvSpPr/>
            <p:nvPr/>
          </p:nvSpPr>
          <p:spPr>
            <a:xfrm>
              <a:off x="15418967" y="8736532"/>
              <a:ext cx="287809" cy="209747"/>
            </a:xfrm>
            <a:custGeom>
              <a:avLst/>
              <a:gdLst>
                <a:gd name="connsiteX0" fmla="*/ 51293 w 287809"/>
                <a:gd name="connsiteY0" fmla="*/ 57082 h 209747"/>
                <a:gd name="connsiteX1" fmla="*/ 0 w 287809"/>
                <a:gd name="connsiteY1" fmla="*/ 188164 h 209747"/>
                <a:gd name="connsiteX2" fmla="*/ 287809 w 287809"/>
                <a:gd name="connsiteY2" fmla="*/ 173916 h 209747"/>
                <a:gd name="connsiteX3" fmla="*/ 239367 w 287809"/>
                <a:gd name="connsiteY3" fmla="*/ 90 h 209747"/>
                <a:gd name="connsiteX4" fmla="*/ 51293 w 287809"/>
                <a:gd name="connsiteY4" fmla="*/ 57082 h 209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7809" h="209747">
                  <a:moveTo>
                    <a:pt x="51293" y="57082"/>
                  </a:moveTo>
                  <a:cubicBezTo>
                    <a:pt x="51293" y="57082"/>
                    <a:pt x="56992" y="159668"/>
                    <a:pt x="0" y="188164"/>
                  </a:cubicBezTo>
                  <a:cubicBezTo>
                    <a:pt x="0" y="188164"/>
                    <a:pt x="168126" y="245157"/>
                    <a:pt x="287809" y="173916"/>
                  </a:cubicBezTo>
                  <a:cubicBezTo>
                    <a:pt x="236517" y="134022"/>
                    <a:pt x="239367" y="57082"/>
                    <a:pt x="239367" y="90"/>
                  </a:cubicBezTo>
                  <a:cubicBezTo>
                    <a:pt x="239367" y="-2759"/>
                    <a:pt x="99736" y="62782"/>
                    <a:pt x="51293" y="57082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319969CA-3EA9-49EF-8173-B233D55FB1BC}"/>
                </a:ext>
              </a:extLst>
            </p:cNvPr>
            <p:cNvSpPr/>
            <p:nvPr/>
          </p:nvSpPr>
          <p:spPr>
            <a:xfrm>
              <a:off x="15153181" y="8993087"/>
              <a:ext cx="94810" cy="521477"/>
            </a:xfrm>
            <a:custGeom>
              <a:avLst/>
              <a:gdLst>
                <a:gd name="connsiteX0" fmla="*/ 52066 w 94810"/>
                <a:gd name="connsiteY0" fmla="*/ 521477 h 521477"/>
                <a:gd name="connsiteX1" fmla="*/ 46367 w 94810"/>
                <a:gd name="connsiteY1" fmla="*/ 518627 h 521477"/>
                <a:gd name="connsiteX2" fmla="*/ 32119 w 94810"/>
                <a:gd name="connsiteY2" fmla="*/ 467335 h 521477"/>
                <a:gd name="connsiteX3" fmla="*/ 773 w 94810"/>
                <a:gd name="connsiteY3" fmla="*/ 324855 h 521477"/>
                <a:gd name="connsiteX4" fmla="*/ 83411 w 94810"/>
                <a:gd name="connsiteY4" fmla="*/ 2850 h 521477"/>
                <a:gd name="connsiteX5" fmla="*/ 91960 w 94810"/>
                <a:gd name="connsiteY5" fmla="*/ 0 h 521477"/>
                <a:gd name="connsiteX6" fmla="*/ 94810 w 94810"/>
                <a:gd name="connsiteY6" fmla="*/ 8548 h 521477"/>
                <a:gd name="connsiteX7" fmla="*/ 12171 w 94810"/>
                <a:gd name="connsiteY7" fmla="*/ 324855 h 521477"/>
                <a:gd name="connsiteX8" fmla="*/ 43517 w 94810"/>
                <a:gd name="connsiteY8" fmla="*/ 464485 h 521477"/>
                <a:gd name="connsiteX9" fmla="*/ 57765 w 94810"/>
                <a:gd name="connsiteY9" fmla="*/ 515779 h 521477"/>
                <a:gd name="connsiteX10" fmla="*/ 52066 w 94810"/>
                <a:gd name="connsiteY10" fmla="*/ 521477 h 521477"/>
                <a:gd name="connsiteX11" fmla="*/ 52066 w 94810"/>
                <a:gd name="connsiteY11" fmla="*/ 521477 h 52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4810" h="521477">
                  <a:moveTo>
                    <a:pt x="52066" y="521477"/>
                  </a:moveTo>
                  <a:cubicBezTo>
                    <a:pt x="49216" y="521477"/>
                    <a:pt x="46367" y="518627"/>
                    <a:pt x="46367" y="518627"/>
                  </a:cubicBezTo>
                  <a:cubicBezTo>
                    <a:pt x="40667" y="501531"/>
                    <a:pt x="37818" y="484433"/>
                    <a:pt x="32119" y="467335"/>
                  </a:cubicBezTo>
                  <a:cubicBezTo>
                    <a:pt x="17871" y="418891"/>
                    <a:pt x="3623" y="370449"/>
                    <a:pt x="773" y="324855"/>
                  </a:cubicBezTo>
                  <a:cubicBezTo>
                    <a:pt x="-4926" y="208021"/>
                    <a:pt x="20720" y="99736"/>
                    <a:pt x="83411" y="2850"/>
                  </a:cubicBezTo>
                  <a:cubicBezTo>
                    <a:pt x="86261" y="0"/>
                    <a:pt x="89111" y="0"/>
                    <a:pt x="91960" y="0"/>
                  </a:cubicBezTo>
                  <a:cubicBezTo>
                    <a:pt x="94810" y="2850"/>
                    <a:pt x="94810" y="5699"/>
                    <a:pt x="94810" y="8548"/>
                  </a:cubicBezTo>
                  <a:cubicBezTo>
                    <a:pt x="34968" y="105435"/>
                    <a:pt x="6472" y="210871"/>
                    <a:pt x="12171" y="324855"/>
                  </a:cubicBezTo>
                  <a:cubicBezTo>
                    <a:pt x="15021" y="367599"/>
                    <a:pt x="29269" y="416042"/>
                    <a:pt x="43517" y="464485"/>
                  </a:cubicBezTo>
                  <a:cubicBezTo>
                    <a:pt x="49216" y="481583"/>
                    <a:pt x="54915" y="498681"/>
                    <a:pt x="57765" y="515779"/>
                  </a:cubicBezTo>
                  <a:cubicBezTo>
                    <a:pt x="57765" y="518627"/>
                    <a:pt x="57765" y="521477"/>
                    <a:pt x="52066" y="521477"/>
                  </a:cubicBezTo>
                  <a:cubicBezTo>
                    <a:pt x="52066" y="521477"/>
                    <a:pt x="52066" y="521477"/>
                    <a:pt x="52066" y="521477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6FADA27C-B40E-4EED-9AFE-7F7BB2E6CBEB}"/>
                </a:ext>
              </a:extLst>
            </p:cNvPr>
            <p:cNvSpPr/>
            <p:nvPr/>
          </p:nvSpPr>
          <p:spPr>
            <a:xfrm>
              <a:off x="15267938" y="9406461"/>
              <a:ext cx="374478" cy="34013"/>
            </a:xfrm>
            <a:custGeom>
              <a:avLst/>
              <a:gdLst>
                <a:gd name="connsiteX0" fmla="*/ 5700 w 374478"/>
                <a:gd name="connsiteY0" fmla="*/ 34014 h 34013"/>
                <a:gd name="connsiteX1" fmla="*/ 0 w 374478"/>
                <a:gd name="connsiteY1" fmla="*/ 31165 h 34013"/>
                <a:gd name="connsiteX2" fmla="*/ 2850 w 374478"/>
                <a:gd name="connsiteY2" fmla="*/ 25465 h 34013"/>
                <a:gd name="connsiteX3" fmla="*/ 370449 w 374478"/>
                <a:gd name="connsiteY3" fmla="*/ 14067 h 34013"/>
                <a:gd name="connsiteX4" fmla="*/ 373298 w 374478"/>
                <a:gd name="connsiteY4" fmla="*/ 19766 h 34013"/>
                <a:gd name="connsiteX5" fmla="*/ 367599 w 374478"/>
                <a:gd name="connsiteY5" fmla="*/ 22615 h 34013"/>
                <a:gd name="connsiteX6" fmla="*/ 5700 w 374478"/>
                <a:gd name="connsiteY6" fmla="*/ 34014 h 34013"/>
                <a:gd name="connsiteX7" fmla="*/ 5700 w 374478"/>
                <a:gd name="connsiteY7" fmla="*/ 34014 h 3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4478" h="34013">
                  <a:moveTo>
                    <a:pt x="5700" y="34014"/>
                  </a:moveTo>
                  <a:cubicBezTo>
                    <a:pt x="2850" y="34014"/>
                    <a:pt x="2850" y="34014"/>
                    <a:pt x="0" y="31165"/>
                  </a:cubicBezTo>
                  <a:cubicBezTo>
                    <a:pt x="0" y="28315"/>
                    <a:pt x="0" y="25465"/>
                    <a:pt x="2850" y="25465"/>
                  </a:cubicBezTo>
                  <a:cubicBezTo>
                    <a:pt x="82638" y="-3031"/>
                    <a:pt x="276412" y="-8730"/>
                    <a:pt x="370449" y="14067"/>
                  </a:cubicBezTo>
                  <a:cubicBezTo>
                    <a:pt x="373298" y="14067"/>
                    <a:pt x="376148" y="16917"/>
                    <a:pt x="373298" y="19766"/>
                  </a:cubicBezTo>
                  <a:cubicBezTo>
                    <a:pt x="373298" y="22615"/>
                    <a:pt x="370449" y="25465"/>
                    <a:pt x="367599" y="22615"/>
                  </a:cubicBezTo>
                  <a:cubicBezTo>
                    <a:pt x="276412" y="2669"/>
                    <a:pt x="82638" y="8367"/>
                    <a:pt x="5700" y="34014"/>
                  </a:cubicBezTo>
                  <a:cubicBezTo>
                    <a:pt x="5700" y="34014"/>
                    <a:pt x="5700" y="34014"/>
                    <a:pt x="5700" y="34014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4C4D681F-3B5A-4581-91E6-BFB8CABE96E0}"/>
                </a:ext>
              </a:extLst>
            </p:cNvPr>
            <p:cNvSpPr/>
            <p:nvPr/>
          </p:nvSpPr>
          <p:spPr>
            <a:xfrm>
              <a:off x="15393320" y="8907599"/>
              <a:ext cx="336253" cy="59841"/>
            </a:xfrm>
            <a:custGeom>
              <a:avLst/>
              <a:gdLst>
                <a:gd name="connsiteX0" fmla="*/ 34196 w 336253"/>
                <a:gd name="connsiteY0" fmla="*/ 8548 h 59841"/>
                <a:gd name="connsiteX1" fmla="*/ 313456 w 336253"/>
                <a:gd name="connsiteY1" fmla="*/ 0 h 59841"/>
                <a:gd name="connsiteX2" fmla="*/ 336254 w 336253"/>
                <a:gd name="connsiteY2" fmla="*/ 8548 h 59841"/>
                <a:gd name="connsiteX3" fmla="*/ 159578 w 336253"/>
                <a:gd name="connsiteY3" fmla="*/ 59842 h 59841"/>
                <a:gd name="connsiteX4" fmla="*/ 0 w 336253"/>
                <a:gd name="connsiteY4" fmla="*/ 14248 h 59841"/>
                <a:gd name="connsiteX5" fmla="*/ 34196 w 336253"/>
                <a:gd name="connsiteY5" fmla="*/ 8548 h 5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253" h="59841">
                  <a:moveTo>
                    <a:pt x="34196" y="8548"/>
                  </a:moveTo>
                  <a:cubicBezTo>
                    <a:pt x="34196" y="8548"/>
                    <a:pt x="139631" y="62691"/>
                    <a:pt x="313456" y="0"/>
                  </a:cubicBezTo>
                  <a:lnTo>
                    <a:pt x="336254" y="8548"/>
                  </a:lnTo>
                  <a:cubicBezTo>
                    <a:pt x="336254" y="8548"/>
                    <a:pt x="262164" y="59842"/>
                    <a:pt x="159578" y="59842"/>
                  </a:cubicBezTo>
                  <a:cubicBezTo>
                    <a:pt x="62692" y="59842"/>
                    <a:pt x="0" y="14248"/>
                    <a:pt x="0" y="14248"/>
                  </a:cubicBezTo>
                  <a:cubicBezTo>
                    <a:pt x="0" y="14248"/>
                    <a:pt x="14248" y="11398"/>
                    <a:pt x="34196" y="8548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55F4F640-0B69-4944-A40C-F912DFB75128}"/>
                </a:ext>
              </a:extLst>
            </p:cNvPr>
            <p:cNvSpPr/>
            <p:nvPr/>
          </p:nvSpPr>
          <p:spPr>
            <a:xfrm>
              <a:off x="15813020" y="9031555"/>
              <a:ext cx="899667" cy="589725"/>
            </a:xfrm>
            <a:custGeom>
              <a:avLst/>
              <a:gdLst>
                <a:gd name="connsiteX0" fmla="*/ 4892 w 899667"/>
                <a:gd name="connsiteY0" fmla="*/ 106862 h 589725"/>
                <a:gd name="connsiteX1" fmla="*/ 192965 w 899667"/>
                <a:gd name="connsiteY1" fmla="*/ 84065 h 589725"/>
                <a:gd name="connsiteX2" fmla="*/ 492173 w 899667"/>
                <a:gd name="connsiteY2" fmla="*/ 408920 h 589725"/>
                <a:gd name="connsiteX3" fmla="*/ 859773 w 899667"/>
                <a:gd name="connsiteY3" fmla="*/ 386123 h 589725"/>
                <a:gd name="connsiteX4" fmla="*/ 899667 w 899667"/>
                <a:gd name="connsiteY4" fmla="*/ 494408 h 589725"/>
                <a:gd name="connsiteX5" fmla="*/ 383889 w 899667"/>
                <a:gd name="connsiteY5" fmla="*/ 577047 h 589725"/>
                <a:gd name="connsiteX6" fmla="*/ 4892 w 899667"/>
                <a:gd name="connsiteY6" fmla="*/ 106862 h 58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9667" h="589725">
                  <a:moveTo>
                    <a:pt x="4892" y="106862"/>
                  </a:moveTo>
                  <a:cubicBezTo>
                    <a:pt x="56184" y="-58415"/>
                    <a:pt x="110326" y="-4273"/>
                    <a:pt x="192965" y="84065"/>
                  </a:cubicBezTo>
                  <a:cubicBezTo>
                    <a:pt x="278453" y="178102"/>
                    <a:pt x="466527" y="394672"/>
                    <a:pt x="492173" y="408920"/>
                  </a:cubicBezTo>
                  <a:cubicBezTo>
                    <a:pt x="549165" y="406071"/>
                    <a:pt x="859773" y="386123"/>
                    <a:pt x="859773" y="386123"/>
                  </a:cubicBezTo>
                  <a:cubicBezTo>
                    <a:pt x="854073" y="414619"/>
                    <a:pt x="899667" y="494408"/>
                    <a:pt x="899667" y="494408"/>
                  </a:cubicBezTo>
                  <a:cubicBezTo>
                    <a:pt x="899667" y="494408"/>
                    <a:pt x="497873" y="631189"/>
                    <a:pt x="383889" y="577047"/>
                  </a:cubicBezTo>
                  <a:cubicBezTo>
                    <a:pt x="321197" y="554250"/>
                    <a:pt x="-46402" y="269289"/>
                    <a:pt x="4892" y="106862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08E70265-4F71-49EC-BBDA-561D578969CE}"/>
                </a:ext>
              </a:extLst>
            </p:cNvPr>
            <p:cNvSpPr/>
            <p:nvPr/>
          </p:nvSpPr>
          <p:spPr>
            <a:xfrm>
              <a:off x="15725733" y="8946598"/>
              <a:ext cx="377139" cy="416937"/>
            </a:xfrm>
            <a:custGeom>
              <a:avLst/>
              <a:gdLst>
                <a:gd name="connsiteX0" fmla="*/ 377140 w 377139"/>
                <a:gd name="connsiteY0" fmla="*/ 214616 h 416937"/>
                <a:gd name="connsiteX1" fmla="*/ 63683 w 377139"/>
                <a:gd name="connsiteY1" fmla="*/ 3745 h 416937"/>
                <a:gd name="connsiteX2" fmla="*/ 89329 w 377139"/>
                <a:gd name="connsiteY2" fmla="*/ 416938 h 416937"/>
                <a:gd name="connsiteX3" fmla="*/ 377140 w 377139"/>
                <a:gd name="connsiteY3" fmla="*/ 214616 h 41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7139" h="416937">
                  <a:moveTo>
                    <a:pt x="377140" y="214616"/>
                  </a:moveTo>
                  <a:cubicBezTo>
                    <a:pt x="294500" y="63587"/>
                    <a:pt x="134923" y="-19052"/>
                    <a:pt x="63683" y="3745"/>
                  </a:cubicBezTo>
                  <a:cubicBezTo>
                    <a:pt x="-30354" y="32241"/>
                    <a:pt x="-18956" y="257360"/>
                    <a:pt x="89329" y="416938"/>
                  </a:cubicBezTo>
                  <a:cubicBezTo>
                    <a:pt x="160569" y="414088"/>
                    <a:pt x="311598" y="285856"/>
                    <a:pt x="377140" y="214616"/>
                  </a:cubicBezTo>
                  <a:close/>
                </a:path>
              </a:pathLst>
            </a:custGeom>
            <a:solidFill>
              <a:srgbClr val="D16156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01082E8A-DEB8-412D-A831-A076E1C868C2}"/>
                </a:ext>
              </a:extLst>
            </p:cNvPr>
            <p:cNvSpPr/>
            <p:nvPr/>
          </p:nvSpPr>
          <p:spPr>
            <a:xfrm>
              <a:off x="15725175" y="8961741"/>
              <a:ext cx="219385" cy="407493"/>
            </a:xfrm>
            <a:custGeom>
              <a:avLst/>
              <a:gdLst>
                <a:gd name="connsiteX0" fmla="*/ 95585 w 219385"/>
                <a:gd name="connsiteY0" fmla="*/ 407493 h 407493"/>
                <a:gd name="connsiteX1" fmla="*/ 89887 w 219385"/>
                <a:gd name="connsiteY1" fmla="*/ 407493 h 407493"/>
                <a:gd name="connsiteX2" fmla="*/ 89887 w 219385"/>
                <a:gd name="connsiteY2" fmla="*/ 407493 h 407493"/>
                <a:gd name="connsiteX3" fmla="*/ 89887 w 219385"/>
                <a:gd name="connsiteY3" fmla="*/ 407493 h 407493"/>
                <a:gd name="connsiteX4" fmla="*/ 4399 w 219385"/>
                <a:gd name="connsiteY4" fmla="*/ 56992 h 407493"/>
                <a:gd name="connsiteX5" fmla="*/ 38593 w 219385"/>
                <a:gd name="connsiteY5" fmla="*/ 0 h 407493"/>
                <a:gd name="connsiteX6" fmla="*/ 47143 w 219385"/>
                <a:gd name="connsiteY6" fmla="*/ 2850 h 407493"/>
                <a:gd name="connsiteX7" fmla="*/ 44293 w 219385"/>
                <a:gd name="connsiteY7" fmla="*/ 11398 h 407493"/>
                <a:gd name="connsiteX8" fmla="*/ 12947 w 219385"/>
                <a:gd name="connsiteY8" fmla="*/ 62692 h 407493"/>
                <a:gd name="connsiteX9" fmla="*/ 95585 w 219385"/>
                <a:gd name="connsiteY9" fmla="*/ 401794 h 407493"/>
                <a:gd name="connsiteX10" fmla="*/ 95585 w 219385"/>
                <a:gd name="connsiteY10" fmla="*/ 401794 h 407493"/>
                <a:gd name="connsiteX11" fmla="*/ 209570 w 219385"/>
                <a:gd name="connsiteY11" fmla="*/ 339103 h 407493"/>
                <a:gd name="connsiteX12" fmla="*/ 218119 w 219385"/>
                <a:gd name="connsiteY12" fmla="*/ 339103 h 407493"/>
                <a:gd name="connsiteX13" fmla="*/ 218119 w 219385"/>
                <a:gd name="connsiteY13" fmla="*/ 347652 h 407493"/>
                <a:gd name="connsiteX14" fmla="*/ 95585 w 219385"/>
                <a:gd name="connsiteY14" fmla="*/ 407493 h 407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9385" h="407493">
                  <a:moveTo>
                    <a:pt x="95585" y="407493"/>
                  </a:moveTo>
                  <a:cubicBezTo>
                    <a:pt x="92737" y="407493"/>
                    <a:pt x="89887" y="407493"/>
                    <a:pt x="89887" y="407493"/>
                  </a:cubicBezTo>
                  <a:lnTo>
                    <a:pt x="89887" y="407493"/>
                  </a:lnTo>
                  <a:lnTo>
                    <a:pt x="89887" y="407493"/>
                  </a:lnTo>
                  <a:cubicBezTo>
                    <a:pt x="35744" y="330554"/>
                    <a:pt x="-15549" y="153878"/>
                    <a:pt x="4399" y="56992"/>
                  </a:cubicBezTo>
                  <a:cubicBezTo>
                    <a:pt x="10097" y="28496"/>
                    <a:pt x="21496" y="8548"/>
                    <a:pt x="38593" y="0"/>
                  </a:cubicBezTo>
                  <a:cubicBezTo>
                    <a:pt x="41443" y="0"/>
                    <a:pt x="44293" y="0"/>
                    <a:pt x="47143" y="2850"/>
                  </a:cubicBezTo>
                  <a:cubicBezTo>
                    <a:pt x="49992" y="5700"/>
                    <a:pt x="47143" y="8548"/>
                    <a:pt x="44293" y="11398"/>
                  </a:cubicBezTo>
                  <a:cubicBezTo>
                    <a:pt x="30045" y="19948"/>
                    <a:pt x="18647" y="37045"/>
                    <a:pt x="12947" y="62692"/>
                  </a:cubicBezTo>
                  <a:cubicBezTo>
                    <a:pt x="-7000" y="153878"/>
                    <a:pt x="41443" y="324855"/>
                    <a:pt x="95585" y="401794"/>
                  </a:cubicBezTo>
                  <a:cubicBezTo>
                    <a:pt x="95585" y="401794"/>
                    <a:pt x="95585" y="401794"/>
                    <a:pt x="95585" y="401794"/>
                  </a:cubicBezTo>
                  <a:cubicBezTo>
                    <a:pt x="101285" y="401794"/>
                    <a:pt x="132631" y="398945"/>
                    <a:pt x="209570" y="339103"/>
                  </a:cubicBezTo>
                  <a:cubicBezTo>
                    <a:pt x="212419" y="336253"/>
                    <a:pt x="215269" y="339103"/>
                    <a:pt x="218119" y="339103"/>
                  </a:cubicBezTo>
                  <a:cubicBezTo>
                    <a:pt x="220969" y="341953"/>
                    <a:pt x="218119" y="344802"/>
                    <a:pt x="218119" y="347652"/>
                  </a:cubicBezTo>
                  <a:cubicBezTo>
                    <a:pt x="138330" y="398945"/>
                    <a:pt x="106985" y="407493"/>
                    <a:pt x="95585" y="407493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5933AD4E-40F0-44D3-9DC1-C59CBF2D49D9}"/>
                </a:ext>
              </a:extLst>
            </p:cNvPr>
            <p:cNvSpPr/>
            <p:nvPr/>
          </p:nvSpPr>
          <p:spPr>
            <a:xfrm>
              <a:off x="15820761" y="9939155"/>
              <a:ext cx="169307" cy="176675"/>
            </a:xfrm>
            <a:custGeom>
              <a:avLst/>
              <a:gdLst>
                <a:gd name="connsiteX0" fmla="*/ 162428 w 169307"/>
                <a:gd name="connsiteY0" fmla="*/ 176676 h 176675"/>
                <a:gd name="connsiteX1" fmla="*/ 162428 w 169307"/>
                <a:gd name="connsiteY1" fmla="*/ 176676 h 176675"/>
                <a:gd name="connsiteX2" fmla="*/ 0 w 169307"/>
                <a:gd name="connsiteY2" fmla="*/ 5700 h 176675"/>
                <a:gd name="connsiteX3" fmla="*/ 2850 w 169307"/>
                <a:gd name="connsiteY3" fmla="*/ 0 h 176675"/>
                <a:gd name="connsiteX4" fmla="*/ 8549 w 169307"/>
                <a:gd name="connsiteY4" fmla="*/ 2850 h 176675"/>
                <a:gd name="connsiteX5" fmla="*/ 165278 w 169307"/>
                <a:gd name="connsiteY5" fmla="*/ 168127 h 176675"/>
                <a:gd name="connsiteX6" fmla="*/ 168127 w 169307"/>
                <a:gd name="connsiteY6" fmla="*/ 173826 h 176675"/>
                <a:gd name="connsiteX7" fmla="*/ 162428 w 169307"/>
                <a:gd name="connsiteY7" fmla="*/ 176676 h 17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307" h="176675">
                  <a:moveTo>
                    <a:pt x="162428" y="176676"/>
                  </a:moveTo>
                  <a:cubicBezTo>
                    <a:pt x="162428" y="176676"/>
                    <a:pt x="162428" y="176676"/>
                    <a:pt x="162428" y="176676"/>
                  </a:cubicBezTo>
                  <a:cubicBezTo>
                    <a:pt x="51293" y="145330"/>
                    <a:pt x="0" y="11399"/>
                    <a:pt x="0" y="5700"/>
                  </a:cubicBezTo>
                  <a:cubicBezTo>
                    <a:pt x="0" y="2850"/>
                    <a:pt x="0" y="0"/>
                    <a:pt x="2850" y="0"/>
                  </a:cubicBezTo>
                  <a:cubicBezTo>
                    <a:pt x="5700" y="0"/>
                    <a:pt x="8549" y="0"/>
                    <a:pt x="8549" y="2850"/>
                  </a:cubicBezTo>
                  <a:cubicBezTo>
                    <a:pt x="8549" y="2850"/>
                    <a:pt x="59842" y="139631"/>
                    <a:pt x="165278" y="168127"/>
                  </a:cubicBezTo>
                  <a:cubicBezTo>
                    <a:pt x="168127" y="168127"/>
                    <a:pt x="170976" y="170976"/>
                    <a:pt x="168127" y="173826"/>
                  </a:cubicBezTo>
                  <a:cubicBezTo>
                    <a:pt x="165278" y="173826"/>
                    <a:pt x="165278" y="176676"/>
                    <a:pt x="162428" y="176676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7BE00B6A-B6BD-4220-9A99-0D20A4C80571}"/>
                </a:ext>
              </a:extLst>
            </p:cNvPr>
            <p:cNvSpPr/>
            <p:nvPr/>
          </p:nvSpPr>
          <p:spPr>
            <a:xfrm>
              <a:off x="15104330" y="9919209"/>
              <a:ext cx="175005" cy="119682"/>
            </a:xfrm>
            <a:custGeom>
              <a:avLst/>
              <a:gdLst>
                <a:gd name="connsiteX0" fmla="*/ 35375 w 175005"/>
                <a:gd name="connsiteY0" fmla="*/ 119683 h 119682"/>
                <a:gd name="connsiteX1" fmla="*/ 4029 w 175005"/>
                <a:gd name="connsiteY1" fmla="*/ 113984 h 119682"/>
                <a:gd name="connsiteX2" fmla="*/ 1180 w 175005"/>
                <a:gd name="connsiteY2" fmla="*/ 108285 h 119682"/>
                <a:gd name="connsiteX3" fmla="*/ 6879 w 175005"/>
                <a:gd name="connsiteY3" fmla="*/ 105435 h 119682"/>
                <a:gd name="connsiteX4" fmla="*/ 166457 w 175005"/>
                <a:gd name="connsiteY4" fmla="*/ 2850 h 119682"/>
                <a:gd name="connsiteX5" fmla="*/ 172157 w 175005"/>
                <a:gd name="connsiteY5" fmla="*/ 0 h 119682"/>
                <a:gd name="connsiteX6" fmla="*/ 175006 w 175005"/>
                <a:gd name="connsiteY6" fmla="*/ 5699 h 119682"/>
                <a:gd name="connsiteX7" fmla="*/ 35375 w 175005"/>
                <a:gd name="connsiteY7" fmla="*/ 119683 h 119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005" h="119682">
                  <a:moveTo>
                    <a:pt x="35375" y="119683"/>
                  </a:moveTo>
                  <a:cubicBezTo>
                    <a:pt x="23977" y="119683"/>
                    <a:pt x="15428" y="119683"/>
                    <a:pt x="4029" y="113984"/>
                  </a:cubicBezTo>
                  <a:cubicBezTo>
                    <a:pt x="1180" y="113984"/>
                    <a:pt x="-1669" y="111134"/>
                    <a:pt x="1180" y="108285"/>
                  </a:cubicBezTo>
                  <a:cubicBezTo>
                    <a:pt x="1180" y="105435"/>
                    <a:pt x="4029" y="105435"/>
                    <a:pt x="6879" y="105435"/>
                  </a:cubicBezTo>
                  <a:cubicBezTo>
                    <a:pt x="112315" y="133931"/>
                    <a:pt x="163607" y="2850"/>
                    <a:pt x="166457" y="2850"/>
                  </a:cubicBezTo>
                  <a:cubicBezTo>
                    <a:pt x="166457" y="0"/>
                    <a:pt x="169307" y="0"/>
                    <a:pt x="172157" y="0"/>
                  </a:cubicBezTo>
                  <a:cubicBezTo>
                    <a:pt x="175006" y="0"/>
                    <a:pt x="175006" y="2850"/>
                    <a:pt x="175006" y="5699"/>
                  </a:cubicBezTo>
                  <a:cubicBezTo>
                    <a:pt x="172157" y="8548"/>
                    <a:pt x="126563" y="119683"/>
                    <a:pt x="35375" y="119683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140B639B-ADB8-47F8-AFC8-E6FC1061F029}"/>
                </a:ext>
              </a:extLst>
            </p:cNvPr>
            <p:cNvSpPr/>
            <p:nvPr/>
          </p:nvSpPr>
          <p:spPr>
            <a:xfrm>
              <a:off x="15239442" y="9793826"/>
              <a:ext cx="644010" cy="31344"/>
            </a:xfrm>
            <a:custGeom>
              <a:avLst/>
              <a:gdLst>
                <a:gd name="connsiteX0" fmla="*/ 227968 w 644010"/>
                <a:gd name="connsiteY0" fmla="*/ 31345 h 31344"/>
                <a:gd name="connsiteX1" fmla="*/ 5700 w 644010"/>
                <a:gd name="connsiteY1" fmla="*/ 25646 h 31344"/>
                <a:gd name="connsiteX2" fmla="*/ 0 w 644010"/>
                <a:gd name="connsiteY2" fmla="*/ 19947 h 31344"/>
                <a:gd name="connsiteX3" fmla="*/ 5700 w 644010"/>
                <a:gd name="connsiteY3" fmla="*/ 14248 h 31344"/>
                <a:gd name="connsiteX4" fmla="*/ 638311 w 644010"/>
                <a:gd name="connsiteY4" fmla="*/ 0 h 31344"/>
                <a:gd name="connsiteX5" fmla="*/ 644011 w 644010"/>
                <a:gd name="connsiteY5" fmla="*/ 5699 h 31344"/>
                <a:gd name="connsiteX6" fmla="*/ 638311 w 644010"/>
                <a:gd name="connsiteY6" fmla="*/ 11398 h 31344"/>
                <a:gd name="connsiteX7" fmla="*/ 227968 w 644010"/>
                <a:gd name="connsiteY7" fmla="*/ 31345 h 31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4010" h="31344">
                  <a:moveTo>
                    <a:pt x="227968" y="31345"/>
                  </a:moveTo>
                  <a:cubicBezTo>
                    <a:pt x="94037" y="31345"/>
                    <a:pt x="8549" y="25646"/>
                    <a:pt x="5700" y="25646"/>
                  </a:cubicBezTo>
                  <a:cubicBezTo>
                    <a:pt x="2850" y="25646"/>
                    <a:pt x="0" y="22796"/>
                    <a:pt x="0" y="19947"/>
                  </a:cubicBezTo>
                  <a:cubicBezTo>
                    <a:pt x="0" y="17097"/>
                    <a:pt x="2850" y="14248"/>
                    <a:pt x="5700" y="14248"/>
                  </a:cubicBezTo>
                  <a:cubicBezTo>
                    <a:pt x="8549" y="14248"/>
                    <a:pt x="293510" y="37045"/>
                    <a:pt x="638311" y="0"/>
                  </a:cubicBezTo>
                  <a:cubicBezTo>
                    <a:pt x="641161" y="0"/>
                    <a:pt x="644011" y="2849"/>
                    <a:pt x="644011" y="5699"/>
                  </a:cubicBezTo>
                  <a:cubicBezTo>
                    <a:pt x="644011" y="8548"/>
                    <a:pt x="641161" y="11398"/>
                    <a:pt x="638311" y="11398"/>
                  </a:cubicBezTo>
                  <a:cubicBezTo>
                    <a:pt x="484433" y="28496"/>
                    <a:pt x="339103" y="31345"/>
                    <a:pt x="227968" y="31345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D9AE7F0D-DB69-4DA8-99BD-4BCCDD558AFF}"/>
                </a:ext>
              </a:extLst>
            </p:cNvPr>
            <p:cNvSpPr/>
            <p:nvPr/>
          </p:nvSpPr>
          <p:spPr>
            <a:xfrm>
              <a:off x="15005775" y="10768390"/>
              <a:ext cx="68390" cy="34195"/>
            </a:xfrm>
            <a:custGeom>
              <a:avLst/>
              <a:gdLst>
                <a:gd name="connsiteX0" fmla="*/ 65541 w 68390"/>
                <a:gd name="connsiteY0" fmla="*/ 34196 h 34195"/>
                <a:gd name="connsiteX1" fmla="*/ 65541 w 68390"/>
                <a:gd name="connsiteY1" fmla="*/ 34196 h 34195"/>
                <a:gd name="connsiteX2" fmla="*/ 2849 w 68390"/>
                <a:gd name="connsiteY2" fmla="*/ 8549 h 34195"/>
                <a:gd name="connsiteX3" fmla="*/ 0 w 68390"/>
                <a:gd name="connsiteY3" fmla="*/ 2850 h 34195"/>
                <a:gd name="connsiteX4" fmla="*/ 5699 w 68390"/>
                <a:gd name="connsiteY4" fmla="*/ 0 h 34195"/>
                <a:gd name="connsiteX5" fmla="*/ 65541 w 68390"/>
                <a:gd name="connsiteY5" fmla="*/ 25646 h 34195"/>
                <a:gd name="connsiteX6" fmla="*/ 68390 w 68390"/>
                <a:gd name="connsiteY6" fmla="*/ 31346 h 34195"/>
                <a:gd name="connsiteX7" fmla="*/ 65541 w 68390"/>
                <a:gd name="connsiteY7" fmla="*/ 34196 h 34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390" h="34195">
                  <a:moveTo>
                    <a:pt x="65541" y="34196"/>
                  </a:moveTo>
                  <a:cubicBezTo>
                    <a:pt x="65541" y="34196"/>
                    <a:pt x="65541" y="34196"/>
                    <a:pt x="65541" y="34196"/>
                  </a:cubicBezTo>
                  <a:lnTo>
                    <a:pt x="2849" y="8549"/>
                  </a:lnTo>
                  <a:cubicBezTo>
                    <a:pt x="0" y="8549"/>
                    <a:pt x="0" y="5700"/>
                    <a:pt x="0" y="2850"/>
                  </a:cubicBezTo>
                  <a:cubicBezTo>
                    <a:pt x="0" y="0"/>
                    <a:pt x="2849" y="0"/>
                    <a:pt x="5699" y="0"/>
                  </a:cubicBezTo>
                  <a:lnTo>
                    <a:pt x="65541" y="25646"/>
                  </a:lnTo>
                  <a:cubicBezTo>
                    <a:pt x="68390" y="25646"/>
                    <a:pt x="68390" y="28496"/>
                    <a:pt x="68390" y="31346"/>
                  </a:cubicBezTo>
                  <a:cubicBezTo>
                    <a:pt x="68390" y="31346"/>
                    <a:pt x="68390" y="34196"/>
                    <a:pt x="65541" y="34196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C1544DEC-46DE-44C7-BB74-8E1D13B960FD}"/>
                </a:ext>
              </a:extLst>
            </p:cNvPr>
            <p:cNvSpPr/>
            <p:nvPr/>
          </p:nvSpPr>
          <p:spPr>
            <a:xfrm>
              <a:off x="15354531" y="8310756"/>
              <a:ext cx="394989" cy="531600"/>
            </a:xfrm>
            <a:custGeom>
              <a:avLst/>
              <a:gdLst>
                <a:gd name="connsiteX0" fmla="*/ 7444 w 394989"/>
                <a:gd name="connsiteY0" fmla="*/ 169402 h 531600"/>
                <a:gd name="connsiteX1" fmla="*/ 18842 w 394989"/>
                <a:gd name="connsiteY1" fmla="*/ 408769 h 531600"/>
                <a:gd name="connsiteX2" fmla="*/ 158473 w 394989"/>
                <a:gd name="connsiteY2" fmla="*/ 531302 h 531600"/>
                <a:gd name="connsiteX3" fmla="*/ 360795 w 394989"/>
                <a:gd name="connsiteY3" fmla="*/ 397370 h 531600"/>
                <a:gd name="connsiteX4" fmla="*/ 394990 w 394989"/>
                <a:gd name="connsiteY4" fmla="*/ 186499 h 531600"/>
                <a:gd name="connsiteX5" fmla="*/ 195517 w 394989"/>
                <a:gd name="connsiteY5" fmla="*/ 1275 h 531600"/>
                <a:gd name="connsiteX6" fmla="*/ 7444 w 394989"/>
                <a:gd name="connsiteY6" fmla="*/ 169402 h 53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4989" h="531600">
                  <a:moveTo>
                    <a:pt x="7444" y="169402"/>
                  </a:moveTo>
                  <a:cubicBezTo>
                    <a:pt x="7444" y="169402"/>
                    <a:pt x="-15353" y="346078"/>
                    <a:pt x="18842" y="408769"/>
                  </a:cubicBezTo>
                  <a:cubicBezTo>
                    <a:pt x="53037" y="471460"/>
                    <a:pt x="110029" y="525603"/>
                    <a:pt x="158473" y="531302"/>
                  </a:cubicBezTo>
                  <a:cubicBezTo>
                    <a:pt x="221164" y="537001"/>
                    <a:pt x="326599" y="460062"/>
                    <a:pt x="360795" y="397370"/>
                  </a:cubicBezTo>
                  <a:cubicBezTo>
                    <a:pt x="394990" y="334679"/>
                    <a:pt x="394990" y="234943"/>
                    <a:pt x="394990" y="186499"/>
                  </a:cubicBezTo>
                  <a:cubicBezTo>
                    <a:pt x="392141" y="98162"/>
                    <a:pt x="369343" y="24072"/>
                    <a:pt x="195517" y="1275"/>
                  </a:cubicBezTo>
                  <a:cubicBezTo>
                    <a:pt x="112879" y="-12973"/>
                    <a:pt x="24541" y="95312"/>
                    <a:pt x="7444" y="169402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E397D0CA-E605-46EB-8F55-920593E94653}"/>
                </a:ext>
              </a:extLst>
            </p:cNvPr>
            <p:cNvSpPr/>
            <p:nvPr/>
          </p:nvSpPr>
          <p:spPr>
            <a:xfrm>
              <a:off x="15478808" y="8558767"/>
              <a:ext cx="51293" cy="123713"/>
            </a:xfrm>
            <a:custGeom>
              <a:avLst/>
              <a:gdLst>
                <a:gd name="connsiteX0" fmla="*/ 28496 w 51293"/>
                <a:gd name="connsiteY0" fmla="*/ 123713 h 123713"/>
                <a:gd name="connsiteX1" fmla="*/ 5700 w 51293"/>
                <a:gd name="connsiteY1" fmla="*/ 118014 h 123713"/>
                <a:gd name="connsiteX2" fmla="*/ 0 w 51293"/>
                <a:gd name="connsiteY2" fmla="*/ 106616 h 123713"/>
                <a:gd name="connsiteX3" fmla="*/ 25647 w 51293"/>
                <a:gd name="connsiteY3" fmla="*/ 4030 h 123713"/>
                <a:gd name="connsiteX4" fmla="*/ 31346 w 51293"/>
                <a:gd name="connsiteY4" fmla="*/ 1180 h 123713"/>
                <a:gd name="connsiteX5" fmla="*/ 34196 w 51293"/>
                <a:gd name="connsiteY5" fmla="*/ 6880 h 123713"/>
                <a:gd name="connsiteX6" fmla="*/ 8549 w 51293"/>
                <a:gd name="connsiteY6" fmla="*/ 106616 h 123713"/>
                <a:gd name="connsiteX7" fmla="*/ 8549 w 51293"/>
                <a:gd name="connsiteY7" fmla="*/ 109465 h 123713"/>
                <a:gd name="connsiteX8" fmla="*/ 45594 w 51293"/>
                <a:gd name="connsiteY8" fmla="*/ 112315 h 123713"/>
                <a:gd name="connsiteX9" fmla="*/ 51293 w 51293"/>
                <a:gd name="connsiteY9" fmla="*/ 118014 h 123713"/>
                <a:gd name="connsiteX10" fmla="*/ 45594 w 51293"/>
                <a:gd name="connsiteY10" fmla="*/ 123713 h 123713"/>
                <a:gd name="connsiteX11" fmla="*/ 28496 w 51293"/>
                <a:gd name="connsiteY11" fmla="*/ 123713 h 12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293" h="123713">
                  <a:moveTo>
                    <a:pt x="28496" y="123713"/>
                  </a:moveTo>
                  <a:cubicBezTo>
                    <a:pt x="19948" y="123713"/>
                    <a:pt x="11399" y="123713"/>
                    <a:pt x="5700" y="118014"/>
                  </a:cubicBezTo>
                  <a:cubicBezTo>
                    <a:pt x="2850" y="115164"/>
                    <a:pt x="0" y="112315"/>
                    <a:pt x="0" y="106616"/>
                  </a:cubicBezTo>
                  <a:cubicBezTo>
                    <a:pt x="0" y="86668"/>
                    <a:pt x="25647" y="9729"/>
                    <a:pt x="25647" y="4030"/>
                  </a:cubicBezTo>
                  <a:cubicBezTo>
                    <a:pt x="25647" y="1180"/>
                    <a:pt x="28496" y="-1669"/>
                    <a:pt x="31346" y="1180"/>
                  </a:cubicBezTo>
                  <a:cubicBezTo>
                    <a:pt x="34196" y="1180"/>
                    <a:pt x="37045" y="4030"/>
                    <a:pt x="34196" y="6880"/>
                  </a:cubicBezTo>
                  <a:cubicBezTo>
                    <a:pt x="28496" y="29676"/>
                    <a:pt x="8549" y="89518"/>
                    <a:pt x="8549" y="106616"/>
                  </a:cubicBezTo>
                  <a:cubicBezTo>
                    <a:pt x="8549" y="106616"/>
                    <a:pt x="8549" y="109465"/>
                    <a:pt x="8549" y="109465"/>
                  </a:cubicBezTo>
                  <a:cubicBezTo>
                    <a:pt x="14248" y="115164"/>
                    <a:pt x="34196" y="112315"/>
                    <a:pt x="45594" y="112315"/>
                  </a:cubicBezTo>
                  <a:cubicBezTo>
                    <a:pt x="48444" y="112315"/>
                    <a:pt x="51293" y="112315"/>
                    <a:pt x="51293" y="118014"/>
                  </a:cubicBezTo>
                  <a:cubicBezTo>
                    <a:pt x="51293" y="120864"/>
                    <a:pt x="51293" y="123713"/>
                    <a:pt x="45594" y="123713"/>
                  </a:cubicBezTo>
                  <a:cubicBezTo>
                    <a:pt x="48444" y="123713"/>
                    <a:pt x="39895" y="123713"/>
                    <a:pt x="28496" y="123713"/>
                  </a:cubicBezTo>
                  <a:close/>
                </a:path>
              </a:pathLst>
            </a:custGeom>
            <a:solidFill>
              <a:srgbClr val="E58777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9C712FD0-B078-4766-B4B2-E883F2299725}"/>
                </a:ext>
              </a:extLst>
            </p:cNvPr>
            <p:cNvSpPr/>
            <p:nvPr/>
          </p:nvSpPr>
          <p:spPr>
            <a:xfrm>
              <a:off x="15458861" y="8722375"/>
              <a:ext cx="112314" cy="25646"/>
            </a:xfrm>
            <a:custGeom>
              <a:avLst/>
              <a:gdLst>
                <a:gd name="connsiteX0" fmla="*/ 56992 w 112314"/>
                <a:gd name="connsiteY0" fmla="*/ 25646 h 25646"/>
                <a:gd name="connsiteX1" fmla="*/ 2850 w 112314"/>
                <a:gd name="connsiteY1" fmla="*/ 11398 h 25646"/>
                <a:gd name="connsiteX2" fmla="*/ 0 w 112314"/>
                <a:gd name="connsiteY2" fmla="*/ 2849 h 25646"/>
                <a:gd name="connsiteX3" fmla="*/ 8548 w 112314"/>
                <a:gd name="connsiteY3" fmla="*/ 0 h 25646"/>
                <a:gd name="connsiteX4" fmla="*/ 102586 w 112314"/>
                <a:gd name="connsiteY4" fmla="*/ 0 h 25646"/>
                <a:gd name="connsiteX5" fmla="*/ 111134 w 112314"/>
                <a:gd name="connsiteY5" fmla="*/ 2849 h 25646"/>
                <a:gd name="connsiteX6" fmla="*/ 108285 w 112314"/>
                <a:gd name="connsiteY6" fmla="*/ 11398 h 25646"/>
                <a:gd name="connsiteX7" fmla="*/ 56992 w 112314"/>
                <a:gd name="connsiteY7" fmla="*/ 25646 h 2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314" h="25646">
                  <a:moveTo>
                    <a:pt x="56992" y="25646"/>
                  </a:moveTo>
                  <a:cubicBezTo>
                    <a:pt x="25646" y="25646"/>
                    <a:pt x="5699" y="14248"/>
                    <a:pt x="2850" y="11398"/>
                  </a:cubicBezTo>
                  <a:cubicBezTo>
                    <a:pt x="0" y="8548"/>
                    <a:pt x="0" y="5699"/>
                    <a:pt x="0" y="2849"/>
                  </a:cubicBezTo>
                  <a:cubicBezTo>
                    <a:pt x="2850" y="0"/>
                    <a:pt x="5699" y="0"/>
                    <a:pt x="8548" y="0"/>
                  </a:cubicBezTo>
                  <a:cubicBezTo>
                    <a:pt x="8548" y="0"/>
                    <a:pt x="56992" y="25646"/>
                    <a:pt x="102586" y="0"/>
                  </a:cubicBezTo>
                  <a:cubicBezTo>
                    <a:pt x="105435" y="0"/>
                    <a:pt x="108285" y="0"/>
                    <a:pt x="111134" y="2849"/>
                  </a:cubicBezTo>
                  <a:cubicBezTo>
                    <a:pt x="113984" y="5699"/>
                    <a:pt x="111134" y="8548"/>
                    <a:pt x="108285" y="11398"/>
                  </a:cubicBezTo>
                  <a:cubicBezTo>
                    <a:pt x="88338" y="22796"/>
                    <a:pt x="71240" y="25646"/>
                    <a:pt x="56992" y="25646"/>
                  </a:cubicBezTo>
                  <a:close/>
                </a:path>
              </a:pathLst>
            </a:custGeom>
            <a:solidFill>
              <a:srgbClr val="E58777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A06B0554-16C2-4238-B0F1-E76ED438FBCF}"/>
                </a:ext>
              </a:extLst>
            </p:cNvPr>
            <p:cNvSpPr/>
            <p:nvPr/>
          </p:nvSpPr>
          <p:spPr>
            <a:xfrm>
              <a:off x="15412541" y="8533742"/>
              <a:ext cx="38497" cy="38162"/>
            </a:xfrm>
            <a:custGeom>
              <a:avLst/>
              <a:gdLst>
                <a:gd name="connsiteX0" fmla="*/ 37771 w 38497"/>
                <a:gd name="connsiteY0" fmla="*/ 23356 h 38162"/>
                <a:gd name="connsiteX1" fmla="*/ 14974 w 38497"/>
                <a:gd name="connsiteY1" fmla="*/ 37604 h 38162"/>
                <a:gd name="connsiteX2" fmla="*/ 726 w 38497"/>
                <a:gd name="connsiteY2" fmla="*/ 14807 h 38162"/>
                <a:gd name="connsiteX3" fmla="*/ 23523 w 38497"/>
                <a:gd name="connsiteY3" fmla="*/ 559 h 38162"/>
                <a:gd name="connsiteX4" fmla="*/ 37771 w 38497"/>
                <a:gd name="connsiteY4" fmla="*/ 23356 h 3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497" h="38162">
                  <a:moveTo>
                    <a:pt x="37771" y="23356"/>
                  </a:moveTo>
                  <a:cubicBezTo>
                    <a:pt x="34922" y="31905"/>
                    <a:pt x="26372" y="40453"/>
                    <a:pt x="14974" y="37604"/>
                  </a:cubicBezTo>
                  <a:cubicBezTo>
                    <a:pt x="3576" y="34754"/>
                    <a:pt x="-2124" y="26205"/>
                    <a:pt x="726" y="14807"/>
                  </a:cubicBezTo>
                  <a:cubicBezTo>
                    <a:pt x="3576" y="6258"/>
                    <a:pt x="12124" y="-2291"/>
                    <a:pt x="23523" y="559"/>
                  </a:cubicBezTo>
                  <a:cubicBezTo>
                    <a:pt x="34922" y="3409"/>
                    <a:pt x="40621" y="14807"/>
                    <a:pt x="37771" y="23356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220A0549-84F6-4756-B05F-B89CA85C0987}"/>
                </a:ext>
              </a:extLst>
            </p:cNvPr>
            <p:cNvSpPr/>
            <p:nvPr/>
          </p:nvSpPr>
          <p:spPr>
            <a:xfrm>
              <a:off x="15589384" y="8539274"/>
              <a:ext cx="38329" cy="38497"/>
            </a:xfrm>
            <a:custGeom>
              <a:avLst/>
              <a:gdLst>
                <a:gd name="connsiteX0" fmla="*/ 37604 w 38329"/>
                <a:gd name="connsiteY0" fmla="*/ 23523 h 38497"/>
                <a:gd name="connsiteX1" fmla="*/ 14807 w 38329"/>
                <a:gd name="connsiteY1" fmla="*/ 37771 h 38497"/>
                <a:gd name="connsiteX2" fmla="*/ 559 w 38329"/>
                <a:gd name="connsiteY2" fmla="*/ 14974 h 38497"/>
                <a:gd name="connsiteX3" fmla="*/ 23356 w 38329"/>
                <a:gd name="connsiteY3" fmla="*/ 726 h 38497"/>
                <a:gd name="connsiteX4" fmla="*/ 37604 w 38329"/>
                <a:gd name="connsiteY4" fmla="*/ 23523 h 3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29" h="38497">
                  <a:moveTo>
                    <a:pt x="37604" y="23523"/>
                  </a:moveTo>
                  <a:cubicBezTo>
                    <a:pt x="34754" y="34921"/>
                    <a:pt x="26205" y="40621"/>
                    <a:pt x="14807" y="37771"/>
                  </a:cubicBezTo>
                  <a:cubicBezTo>
                    <a:pt x="6258" y="34921"/>
                    <a:pt x="-2291" y="26373"/>
                    <a:pt x="559" y="14974"/>
                  </a:cubicBezTo>
                  <a:cubicBezTo>
                    <a:pt x="3408" y="3576"/>
                    <a:pt x="11957" y="-2123"/>
                    <a:pt x="23356" y="726"/>
                  </a:cubicBezTo>
                  <a:cubicBezTo>
                    <a:pt x="34754" y="3576"/>
                    <a:pt x="40453" y="14974"/>
                    <a:pt x="37604" y="23523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F06A34DE-D495-48C5-9A9E-5AE4C5D963E1}"/>
                </a:ext>
              </a:extLst>
            </p:cNvPr>
            <p:cNvSpPr/>
            <p:nvPr/>
          </p:nvSpPr>
          <p:spPr>
            <a:xfrm>
              <a:off x="15388334" y="8487618"/>
              <a:ext cx="85956" cy="32434"/>
            </a:xfrm>
            <a:custGeom>
              <a:avLst/>
              <a:gdLst>
                <a:gd name="connsiteX0" fmla="*/ 7836 w 85956"/>
                <a:gd name="connsiteY0" fmla="*/ 32435 h 32434"/>
                <a:gd name="connsiteX1" fmla="*/ 2137 w 85956"/>
                <a:gd name="connsiteY1" fmla="*/ 29585 h 32434"/>
                <a:gd name="connsiteX2" fmla="*/ 2137 w 85956"/>
                <a:gd name="connsiteY2" fmla="*/ 18187 h 32434"/>
                <a:gd name="connsiteX3" fmla="*/ 81926 w 85956"/>
                <a:gd name="connsiteY3" fmla="*/ 9638 h 32434"/>
                <a:gd name="connsiteX4" fmla="*/ 84776 w 85956"/>
                <a:gd name="connsiteY4" fmla="*/ 18187 h 32434"/>
                <a:gd name="connsiteX5" fmla="*/ 76226 w 85956"/>
                <a:gd name="connsiteY5" fmla="*/ 21036 h 32434"/>
                <a:gd name="connsiteX6" fmla="*/ 13536 w 85956"/>
                <a:gd name="connsiteY6" fmla="*/ 26735 h 32434"/>
                <a:gd name="connsiteX7" fmla="*/ 7836 w 85956"/>
                <a:gd name="connsiteY7" fmla="*/ 32435 h 32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6" h="32434">
                  <a:moveTo>
                    <a:pt x="7836" y="32435"/>
                  </a:moveTo>
                  <a:cubicBezTo>
                    <a:pt x="4986" y="32435"/>
                    <a:pt x="4986" y="32435"/>
                    <a:pt x="2137" y="29585"/>
                  </a:cubicBezTo>
                  <a:cubicBezTo>
                    <a:pt x="-712" y="26735"/>
                    <a:pt x="-712" y="21036"/>
                    <a:pt x="2137" y="18187"/>
                  </a:cubicBezTo>
                  <a:cubicBezTo>
                    <a:pt x="27784" y="-10309"/>
                    <a:pt x="64828" y="1089"/>
                    <a:pt x="81926" y="9638"/>
                  </a:cubicBezTo>
                  <a:cubicBezTo>
                    <a:pt x="84776" y="12487"/>
                    <a:pt x="87625" y="15337"/>
                    <a:pt x="84776" y="18187"/>
                  </a:cubicBezTo>
                  <a:cubicBezTo>
                    <a:pt x="81926" y="21036"/>
                    <a:pt x="79076" y="23886"/>
                    <a:pt x="76226" y="21036"/>
                  </a:cubicBezTo>
                  <a:cubicBezTo>
                    <a:pt x="73377" y="21036"/>
                    <a:pt x="36332" y="1089"/>
                    <a:pt x="13536" y="26735"/>
                  </a:cubicBezTo>
                  <a:cubicBezTo>
                    <a:pt x="13536" y="32435"/>
                    <a:pt x="10686" y="32435"/>
                    <a:pt x="7836" y="32435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9DF606D5-ABB4-409D-A084-E4AA2E02C1F8}"/>
                </a:ext>
              </a:extLst>
            </p:cNvPr>
            <p:cNvSpPr/>
            <p:nvPr/>
          </p:nvSpPr>
          <p:spPr>
            <a:xfrm>
              <a:off x="15565966" y="8488997"/>
              <a:ext cx="85956" cy="33905"/>
            </a:xfrm>
            <a:custGeom>
              <a:avLst/>
              <a:gdLst>
                <a:gd name="connsiteX0" fmla="*/ 80970 w 85956"/>
                <a:gd name="connsiteY0" fmla="*/ 33905 h 33905"/>
                <a:gd name="connsiteX1" fmla="*/ 75270 w 85956"/>
                <a:gd name="connsiteY1" fmla="*/ 31056 h 33905"/>
                <a:gd name="connsiteX2" fmla="*/ 12579 w 85956"/>
                <a:gd name="connsiteY2" fmla="*/ 25356 h 33905"/>
                <a:gd name="connsiteX3" fmla="*/ 1180 w 85956"/>
                <a:gd name="connsiteY3" fmla="*/ 22507 h 33905"/>
                <a:gd name="connsiteX4" fmla="*/ 4030 w 85956"/>
                <a:gd name="connsiteY4" fmla="*/ 11108 h 33905"/>
                <a:gd name="connsiteX5" fmla="*/ 83819 w 85956"/>
                <a:gd name="connsiteY5" fmla="*/ 19657 h 33905"/>
                <a:gd name="connsiteX6" fmla="*/ 83819 w 85956"/>
                <a:gd name="connsiteY6" fmla="*/ 31056 h 33905"/>
                <a:gd name="connsiteX7" fmla="*/ 80970 w 85956"/>
                <a:gd name="connsiteY7" fmla="*/ 33905 h 33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6" h="33905">
                  <a:moveTo>
                    <a:pt x="80970" y="33905"/>
                  </a:moveTo>
                  <a:cubicBezTo>
                    <a:pt x="78120" y="33905"/>
                    <a:pt x="78120" y="33905"/>
                    <a:pt x="75270" y="31056"/>
                  </a:cubicBezTo>
                  <a:cubicBezTo>
                    <a:pt x="75270" y="31056"/>
                    <a:pt x="46774" y="2560"/>
                    <a:pt x="12579" y="25356"/>
                  </a:cubicBezTo>
                  <a:cubicBezTo>
                    <a:pt x="9730" y="28206"/>
                    <a:pt x="4030" y="25356"/>
                    <a:pt x="1180" y="22507"/>
                  </a:cubicBezTo>
                  <a:cubicBezTo>
                    <a:pt x="-1669" y="19657"/>
                    <a:pt x="1180" y="13958"/>
                    <a:pt x="4030" y="11108"/>
                  </a:cubicBezTo>
                  <a:cubicBezTo>
                    <a:pt x="38226" y="-11688"/>
                    <a:pt x="72421" y="5409"/>
                    <a:pt x="83819" y="19657"/>
                  </a:cubicBezTo>
                  <a:cubicBezTo>
                    <a:pt x="86669" y="22507"/>
                    <a:pt x="86669" y="28206"/>
                    <a:pt x="83819" y="31056"/>
                  </a:cubicBezTo>
                  <a:cubicBezTo>
                    <a:pt x="83819" y="31056"/>
                    <a:pt x="80970" y="33905"/>
                    <a:pt x="80970" y="33905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373B00B6-AC92-4E19-B412-22C5A22C9D9B}"/>
                </a:ext>
              </a:extLst>
            </p:cNvPr>
            <p:cNvSpPr/>
            <p:nvPr/>
          </p:nvSpPr>
          <p:spPr>
            <a:xfrm>
              <a:off x="15336199" y="8278135"/>
              <a:ext cx="258548" cy="239067"/>
            </a:xfrm>
            <a:custGeom>
              <a:avLst/>
              <a:gdLst>
                <a:gd name="connsiteX0" fmla="*/ 256594 w 258548"/>
                <a:gd name="connsiteY0" fmla="*/ 2551 h 239067"/>
                <a:gd name="connsiteX1" fmla="*/ 222399 w 258548"/>
                <a:gd name="connsiteY1" fmla="*/ 122234 h 239067"/>
                <a:gd name="connsiteX2" fmla="*/ 129 w 258548"/>
                <a:gd name="connsiteY2" fmla="*/ 239068 h 239067"/>
                <a:gd name="connsiteX3" fmla="*/ 256594 w 258548"/>
                <a:gd name="connsiteY3" fmla="*/ 2551 h 239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8548" h="239067">
                  <a:moveTo>
                    <a:pt x="256594" y="2551"/>
                  </a:moveTo>
                  <a:cubicBezTo>
                    <a:pt x="256594" y="2551"/>
                    <a:pt x="270842" y="85190"/>
                    <a:pt x="222399" y="122234"/>
                  </a:cubicBezTo>
                  <a:cubicBezTo>
                    <a:pt x="222399" y="122234"/>
                    <a:pt x="25776" y="162129"/>
                    <a:pt x="129" y="239068"/>
                  </a:cubicBezTo>
                  <a:cubicBezTo>
                    <a:pt x="129" y="239068"/>
                    <a:pt x="-14119" y="-28795"/>
                    <a:pt x="256594" y="2551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92C5764C-3558-420B-B16A-A6735406931F}"/>
                </a:ext>
              </a:extLst>
            </p:cNvPr>
            <p:cNvSpPr/>
            <p:nvPr/>
          </p:nvSpPr>
          <p:spPr>
            <a:xfrm>
              <a:off x="15558598" y="8280686"/>
              <a:ext cx="210567" cy="293971"/>
            </a:xfrm>
            <a:custGeom>
              <a:avLst/>
              <a:gdLst>
                <a:gd name="connsiteX0" fmla="*/ 0 w 210567"/>
                <a:gd name="connsiteY0" fmla="*/ 119683 h 293971"/>
                <a:gd name="connsiteX1" fmla="*/ 131082 w 210567"/>
                <a:gd name="connsiteY1" fmla="*/ 170976 h 293971"/>
                <a:gd name="connsiteX2" fmla="*/ 185224 w 210567"/>
                <a:gd name="connsiteY2" fmla="*/ 282111 h 293971"/>
                <a:gd name="connsiteX3" fmla="*/ 208021 w 210567"/>
                <a:gd name="connsiteY3" fmla="*/ 279261 h 293971"/>
                <a:gd name="connsiteX4" fmla="*/ 31346 w 210567"/>
                <a:gd name="connsiteY4" fmla="*/ 0 h 293971"/>
                <a:gd name="connsiteX5" fmla="*/ 0 w 210567"/>
                <a:gd name="connsiteY5" fmla="*/ 119683 h 293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0567" h="293971">
                  <a:moveTo>
                    <a:pt x="0" y="119683"/>
                  </a:moveTo>
                  <a:cubicBezTo>
                    <a:pt x="0" y="119683"/>
                    <a:pt x="82638" y="165277"/>
                    <a:pt x="131082" y="170976"/>
                  </a:cubicBezTo>
                  <a:cubicBezTo>
                    <a:pt x="179525" y="176675"/>
                    <a:pt x="185224" y="282111"/>
                    <a:pt x="185224" y="282111"/>
                  </a:cubicBezTo>
                  <a:cubicBezTo>
                    <a:pt x="185224" y="282111"/>
                    <a:pt x="205171" y="310607"/>
                    <a:pt x="208021" y="279261"/>
                  </a:cubicBezTo>
                  <a:cubicBezTo>
                    <a:pt x="216570" y="205171"/>
                    <a:pt x="213720" y="19947"/>
                    <a:pt x="31346" y="0"/>
                  </a:cubicBezTo>
                  <a:cubicBezTo>
                    <a:pt x="34195" y="0"/>
                    <a:pt x="22796" y="113984"/>
                    <a:pt x="0" y="119683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FF68ACF1-DB02-4512-A917-D3F92B1611F1}"/>
                </a:ext>
              </a:extLst>
            </p:cNvPr>
            <p:cNvSpPr/>
            <p:nvPr/>
          </p:nvSpPr>
          <p:spPr>
            <a:xfrm>
              <a:off x="15709626" y="8550011"/>
              <a:ext cx="72514" cy="104492"/>
            </a:xfrm>
            <a:custGeom>
              <a:avLst/>
              <a:gdLst>
                <a:gd name="connsiteX0" fmla="*/ 11398 w 72514"/>
                <a:gd name="connsiteY0" fmla="*/ 15636 h 104492"/>
                <a:gd name="connsiteX1" fmla="*/ 65542 w 72514"/>
                <a:gd name="connsiteY1" fmla="*/ 7087 h 104492"/>
                <a:gd name="connsiteX2" fmla="*/ 11398 w 72514"/>
                <a:gd name="connsiteY2" fmla="*/ 101124 h 104492"/>
                <a:gd name="connsiteX3" fmla="*/ 11398 w 72514"/>
                <a:gd name="connsiteY3" fmla="*/ 15636 h 104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514" h="104492">
                  <a:moveTo>
                    <a:pt x="11398" y="15636"/>
                  </a:moveTo>
                  <a:cubicBezTo>
                    <a:pt x="11398" y="15636"/>
                    <a:pt x="42744" y="-12860"/>
                    <a:pt x="65542" y="7087"/>
                  </a:cubicBezTo>
                  <a:cubicBezTo>
                    <a:pt x="88338" y="24184"/>
                    <a:pt x="51293" y="123920"/>
                    <a:pt x="11398" y="101124"/>
                  </a:cubicBezTo>
                  <a:cubicBezTo>
                    <a:pt x="-14248" y="84026"/>
                    <a:pt x="11398" y="15636"/>
                    <a:pt x="11398" y="15636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9436516E-2BAA-4D01-83F8-A4DDBCB03343}"/>
                </a:ext>
              </a:extLst>
            </p:cNvPr>
            <p:cNvSpPr/>
            <p:nvPr/>
          </p:nvSpPr>
          <p:spPr>
            <a:xfrm>
              <a:off x="15552898" y="8274987"/>
              <a:ext cx="194953" cy="282111"/>
            </a:xfrm>
            <a:custGeom>
              <a:avLst/>
              <a:gdLst>
                <a:gd name="connsiteX0" fmla="*/ 190924 w 194953"/>
                <a:gd name="connsiteY0" fmla="*/ 282111 h 282111"/>
                <a:gd name="connsiteX1" fmla="*/ 185224 w 194953"/>
                <a:gd name="connsiteY1" fmla="*/ 276412 h 282111"/>
                <a:gd name="connsiteX2" fmla="*/ 136782 w 194953"/>
                <a:gd name="connsiteY2" fmla="*/ 179525 h 282111"/>
                <a:gd name="connsiteX3" fmla="*/ 2850 w 194953"/>
                <a:gd name="connsiteY3" fmla="*/ 125383 h 282111"/>
                <a:gd name="connsiteX4" fmla="*/ 0 w 194953"/>
                <a:gd name="connsiteY4" fmla="*/ 122533 h 282111"/>
                <a:gd name="connsiteX5" fmla="*/ 0 w 194953"/>
                <a:gd name="connsiteY5" fmla="*/ 116834 h 282111"/>
                <a:gd name="connsiteX6" fmla="*/ 17098 w 194953"/>
                <a:gd name="connsiteY6" fmla="*/ 94037 h 282111"/>
                <a:gd name="connsiteX7" fmla="*/ 25646 w 194953"/>
                <a:gd name="connsiteY7" fmla="*/ 56992 h 282111"/>
                <a:gd name="connsiteX8" fmla="*/ 28496 w 194953"/>
                <a:gd name="connsiteY8" fmla="*/ 31346 h 282111"/>
                <a:gd name="connsiteX9" fmla="*/ 31346 w 194953"/>
                <a:gd name="connsiteY9" fmla="*/ 5700 h 282111"/>
                <a:gd name="connsiteX10" fmla="*/ 37045 w 194953"/>
                <a:gd name="connsiteY10" fmla="*/ 0 h 282111"/>
                <a:gd name="connsiteX11" fmla="*/ 42744 w 194953"/>
                <a:gd name="connsiteY11" fmla="*/ 5700 h 282111"/>
                <a:gd name="connsiteX12" fmla="*/ 39894 w 194953"/>
                <a:gd name="connsiteY12" fmla="*/ 31346 h 282111"/>
                <a:gd name="connsiteX13" fmla="*/ 37045 w 194953"/>
                <a:gd name="connsiteY13" fmla="*/ 56992 h 282111"/>
                <a:gd name="connsiteX14" fmla="*/ 25646 w 194953"/>
                <a:gd name="connsiteY14" fmla="*/ 96887 h 282111"/>
                <a:gd name="connsiteX15" fmla="*/ 11398 w 194953"/>
                <a:gd name="connsiteY15" fmla="*/ 116834 h 282111"/>
                <a:gd name="connsiteX16" fmla="*/ 136782 w 194953"/>
                <a:gd name="connsiteY16" fmla="*/ 165277 h 282111"/>
                <a:gd name="connsiteX17" fmla="*/ 193774 w 194953"/>
                <a:gd name="connsiteY17" fmla="*/ 273562 h 282111"/>
                <a:gd name="connsiteX18" fmla="*/ 190924 w 194953"/>
                <a:gd name="connsiteY18" fmla="*/ 282111 h 282111"/>
                <a:gd name="connsiteX19" fmla="*/ 190924 w 194953"/>
                <a:gd name="connsiteY19" fmla="*/ 282111 h 282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4953" h="282111">
                  <a:moveTo>
                    <a:pt x="190924" y="282111"/>
                  </a:moveTo>
                  <a:cubicBezTo>
                    <a:pt x="188074" y="282111"/>
                    <a:pt x="185224" y="279261"/>
                    <a:pt x="185224" y="276412"/>
                  </a:cubicBezTo>
                  <a:cubicBezTo>
                    <a:pt x="185224" y="276412"/>
                    <a:pt x="185224" y="188074"/>
                    <a:pt x="136782" y="179525"/>
                  </a:cubicBezTo>
                  <a:cubicBezTo>
                    <a:pt x="71240" y="170976"/>
                    <a:pt x="5700" y="128232"/>
                    <a:pt x="2850" y="125383"/>
                  </a:cubicBezTo>
                  <a:cubicBezTo>
                    <a:pt x="2850" y="125383"/>
                    <a:pt x="0" y="122533"/>
                    <a:pt x="0" y="122533"/>
                  </a:cubicBezTo>
                  <a:cubicBezTo>
                    <a:pt x="0" y="119684"/>
                    <a:pt x="0" y="119684"/>
                    <a:pt x="0" y="116834"/>
                  </a:cubicBezTo>
                  <a:cubicBezTo>
                    <a:pt x="5700" y="111135"/>
                    <a:pt x="11398" y="102586"/>
                    <a:pt x="17098" y="94037"/>
                  </a:cubicBezTo>
                  <a:cubicBezTo>
                    <a:pt x="22797" y="82639"/>
                    <a:pt x="25646" y="68391"/>
                    <a:pt x="25646" y="56992"/>
                  </a:cubicBezTo>
                  <a:cubicBezTo>
                    <a:pt x="25646" y="51293"/>
                    <a:pt x="28496" y="39895"/>
                    <a:pt x="28496" y="31346"/>
                  </a:cubicBezTo>
                  <a:cubicBezTo>
                    <a:pt x="28496" y="19948"/>
                    <a:pt x="31346" y="11399"/>
                    <a:pt x="31346" y="5700"/>
                  </a:cubicBezTo>
                  <a:cubicBezTo>
                    <a:pt x="31346" y="2850"/>
                    <a:pt x="34196" y="0"/>
                    <a:pt x="37045" y="0"/>
                  </a:cubicBezTo>
                  <a:cubicBezTo>
                    <a:pt x="39894" y="0"/>
                    <a:pt x="42744" y="2850"/>
                    <a:pt x="42744" y="5700"/>
                  </a:cubicBezTo>
                  <a:cubicBezTo>
                    <a:pt x="42744" y="11399"/>
                    <a:pt x="39894" y="22797"/>
                    <a:pt x="39894" y="31346"/>
                  </a:cubicBezTo>
                  <a:cubicBezTo>
                    <a:pt x="39894" y="42744"/>
                    <a:pt x="37045" y="51293"/>
                    <a:pt x="37045" y="56992"/>
                  </a:cubicBezTo>
                  <a:cubicBezTo>
                    <a:pt x="34196" y="71240"/>
                    <a:pt x="34196" y="85488"/>
                    <a:pt x="25646" y="96887"/>
                  </a:cubicBezTo>
                  <a:cubicBezTo>
                    <a:pt x="22797" y="102586"/>
                    <a:pt x="17098" y="111135"/>
                    <a:pt x="11398" y="116834"/>
                  </a:cubicBezTo>
                  <a:cubicBezTo>
                    <a:pt x="28496" y="128232"/>
                    <a:pt x="82638" y="156728"/>
                    <a:pt x="136782" y="165277"/>
                  </a:cubicBezTo>
                  <a:cubicBezTo>
                    <a:pt x="190924" y="173826"/>
                    <a:pt x="193774" y="267863"/>
                    <a:pt x="193774" y="273562"/>
                  </a:cubicBezTo>
                  <a:cubicBezTo>
                    <a:pt x="196623" y="279261"/>
                    <a:pt x="193774" y="282111"/>
                    <a:pt x="190924" y="282111"/>
                  </a:cubicBezTo>
                  <a:lnTo>
                    <a:pt x="190924" y="282111"/>
                  </a:ln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74F0F65A-A5A6-411A-A0CB-481D0C54DE45}"/>
                </a:ext>
              </a:extLst>
            </p:cNvPr>
            <p:cNvSpPr/>
            <p:nvPr/>
          </p:nvSpPr>
          <p:spPr>
            <a:xfrm>
              <a:off x="15247679" y="8411768"/>
              <a:ext cx="259625" cy="267863"/>
            </a:xfrm>
            <a:custGeom>
              <a:avLst/>
              <a:gdLst>
                <a:gd name="connsiteX0" fmla="*/ 6011 w 259625"/>
                <a:gd name="connsiteY0" fmla="*/ 267863 h 267863"/>
                <a:gd name="connsiteX1" fmla="*/ 312 w 259625"/>
                <a:gd name="connsiteY1" fmla="*/ 262164 h 267863"/>
                <a:gd name="connsiteX2" fmla="*/ 34507 w 259625"/>
                <a:gd name="connsiteY2" fmla="*/ 202322 h 267863"/>
                <a:gd name="connsiteX3" fmla="*/ 82950 w 259625"/>
                <a:gd name="connsiteY3" fmla="*/ 122533 h 267863"/>
                <a:gd name="connsiteX4" fmla="*/ 253926 w 259625"/>
                <a:gd name="connsiteY4" fmla="*/ 0 h 267863"/>
                <a:gd name="connsiteX5" fmla="*/ 259625 w 259625"/>
                <a:gd name="connsiteY5" fmla="*/ 5699 h 267863"/>
                <a:gd name="connsiteX6" fmla="*/ 253926 w 259625"/>
                <a:gd name="connsiteY6" fmla="*/ 11399 h 267863"/>
                <a:gd name="connsiteX7" fmla="*/ 91499 w 259625"/>
                <a:gd name="connsiteY7" fmla="*/ 125383 h 267863"/>
                <a:gd name="connsiteX8" fmla="*/ 40206 w 259625"/>
                <a:gd name="connsiteY8" fmla="*/ 213720 h 267863"/>
                <a:gd name="connsiteX9" fmla="*/ 11710 w 259625"/>
                <a:gd name="connsiteY9" fmla="*/ 265013 h 267863"/>
                <a:gd name="connsiteX10" fmla="*/ 6011 w 259625"/>
                <a:gd name="connsiteY10" fmla="*/ 267863 h 267863"/>
                <a:gd name="connsiteX11" fmla="*/ 6011 w 259625"/>
                <a:gd name="connsiteY11" fmla="*/ 267863 h 267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9625" h="267863">
                  <a:moveTo>
                    <a:pt x="6011" y="267863"/>
                  </a:moveTo>
                  <a:cubicBezTo>
                    <a:pt x="3161" y="267863"/>
                    <a:pt x="312" y="265013"/>
                    <a:pt x="312" y="262164"/>
                  </a:cubicBezTo>
                  <a:cubicBezTo>
                    <a:pt x="-2538" y="227968"/>
                    <a:pt x="14560" y="216570"/>
                    <a:pt x="34507" y="202322"/>
                  </a:cubicBezTo>
                  <a:cubicBezTo>
                    <a:pt x="54454" y="188074"/>
                    <a:pt x="77251" y="170976"/>
                    <a:pt x="82950" y="122533"/>
                  </a:cubicBezTo>
                  <a:cubicBezTo>
                    <a:pt x="91499" y="22797"/>
                    <a:pt x="248227" y="0"/>
                    <a:pt x="253926" y="0"/>
                  </a:cubicBezTo>
                  <a:cubicBezTo>
                    <a:pt x="256776" y="0"/>
                    <a:pt x="259625" y="2850"/>
                    <a:pt x="259625" y="5699"/>
                  </a:cubicBezTo>
                  <a:cubicBezTo>
                    <a:pt x="259625" y="8549"/>
                    <a:pt x="256776" y="11399"/>
                    <a:pt x="253926" y="11399"/>
                  </a:cubicBezTo>
                  <a:cubicBezTo>
                    <a:pt x="251077" y="11399"/>
                    <a:pt x="100048" y="34195"/>
                    <a:pt x="91499" y="125383"/>
                  </a:cubicBezTo>
                  <a:cubicBezTo>
                    <a:pt x="88649" y="179525"/>
                    <a:pt x="60153" y="199472"/>
                    <a:pt x="40206" y="213720"/>
                  </a:cubicBezTo>
                  <a:cubicBezTo>
                    <a:pt x="23108" y="227968"/>
                    <a:pt x="8860" y="236517"/>
                    <a:pt x="11710" y="265013"/>
                  </a:cubicBezTo>
                  <a:cubicBezTo>
                    <a:pt x="11710" y="265013"/>
                    <a:pt x="8860" y="267863"/>
                    <a:pt x="6011" y="267863"/>
                  </a:cubicBezTo>
                  <a:cubicBezTo>
                    <a:pt x="6011" y="267863"/>
                    <a:pt x="6011" y="267863"/>
                    <a:pt x="6011" y="267863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E9B9BBB8-B0B2-49B1-9D4E-138ED85E1F17}"/>
                </a:ext>
              </a:extLst>
            </p:cNvPr>
            <p:cNvSpPr/>
            <p:nvPr/>
          </p:nvSpPr>
          <p:spPr>
            <a:xfrm>
              <a:off x="15123178" y="8774380"/>
              <a:ext cx="112701" cy="110422"/>
            </a:xfrm>
            <a:custGeom>
              <a:avLst/>
              <a:gdLst>
                <a:gd name="connsiteX0" fmla="*/ 7979 w 112701"/>
                <a:gd name="connsiteY0" fmla="*/ 110422 h 110422"/>
                <a:gd name="connsiteX1" fmla="*/ 2280 w 112701"/>
                <a:gd name="connsiteY1" fmla="*/ 107573 h 110422"/>
                <a:gd name="connsiteX2" fmla="*/ 30776 w 112701"/>
                <a:gd name="connsiteY2" fmla="*/ 50581 h 110422"/>
                <a:gd name="connsiteX3" fmla="*/ 102016 w 112701"/>
                <a:gd name="connsiteY3" fmla="*/ 2137 h 110422"/>
                <a:gd name="connsiteX4" fmla="*/ 110565 w 112701"/>
                <a:gd name="connsiteY4" fmla="*/ 2137 h 110422"/>
                <a:gd name="connsiteX5" fmla="*/ 110565 w 112701"/>
                <a:gd name="connsiteY5" fmla="*/ 10686 h 110422"/>
                <a:gd name="connsiteX6" fmla="*/ 36475 w 112701"/>
                <a:gd name="connsiteY6" fmla="*/ 61979 h 110422"/>
                <a:gd name="connsiteX7" fmla="*/ 13678 w 112701"/>
                <a:gd name="connsiteY7" fmla="*/ 104723 h 110422"/>
                <a:gd name="connsiteX8" fmla="*/ 7979 w 112701"/>
                <a:gd name="connsiteY8" fmla="*/ 110422 h 110422"/>
                <a:gd name="connsiteX9" fmla="*/ 7979 w 112701"/>
                <a:gd name="connsiteY9" fmla="*/ 110422 h 110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2701" h="110422">
                  <a:moveTo>
                    <a:pt x="7979" y="110422"/>
                  </a:moveTo>
                  <a:cubicBezTo>
                    <a:pt x="5129" y="110422"/>
                    <a:pt x="2280" y="107573"/>
                    <a:pt x="2280" y="107573"/>
                  </a:cubicBezTo>
                  <a:cubicBezTo>
                    <a:pt x="2280" y="107573"/>
                    <a:pt x="-11968" y="67678"/>
                    <a:pt x="30776" y="50581"/>
                  </a:cubicBezTo>
                  <a:cubicBezTo>
                    <a:pt x="67821" y="33483"/>
                    <a:pt x="102016" y="2137"/>
                    <a:pt x="102016" y="2137"/>
                  </a:cubicBezTo>
                  <a:cubicBezTo>
                    <a:pt x="104866" y="-712"/>
                    <a:pt x="107715" y="-712"/>
                    <a:pt x="110565" y="2137"/>
                  </a:cubicBezTo>
                  <a:cubicBezTo>
                    <a:pt x="113414" y="4987"/>
                    <a:pt x="113414" y="7836"/>
                    <a:pt x="110565" y="10686"/>
                  </a:cubicBezTo>
                  <a:cubicBezTo>
                    <a:pt x="107715" y="10686"/>
                    <a:pt x="73520" y="44881"/>
                    <a:pt x="36475" y="61979"/>
                  </a:cubicBezTo>
                  <a:cubicBezTo>
                    <a:pt x="5129" y="76227"/>
                    <a:pt x="13678" y="104723"/>
                    <a:pt x="13678" y="104723"/>
                  </a:cubicBezTo>
                  <a:cubicBezTo>
                    <a:pt x="13678" y="104723"/>
                    <a:pt x="13678" y="107573"/>
                    <a:pt x="7979" y="110422"/>
                  </a:cubicBezTo>
                  <a:cubicBezTo>
                    <a:pt x="10829" y="110422"/>
                    <a:pt x="7979" y="110422"/>
                    <a:pt x="7979" y="110422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D5372FA0-E024-4FDC-B3B2-C23CA6299439}"/>
                </a:ext>
              </a:extLst>
            </p:cNvPr>
            <p:cNvSpPr/>
            <p:nvPr/>
          </p:nvSpPr>
          <p:spPr>
            <a:xfrm>
              <a:off x="15445326" y="8769638"/>
              <a:ext cx="208488" cy="75269"/>
            </a:xfrm>
            <a:custGeom>
              <a:avLst/>
              <a:gdLst>
                <a:gd name="connsiteX0" fmla="*/ 67678 w 208488"/>
                <a:gd name="connsiteY0" fmla="*/ 75270 h 75269"/>
                <a:gd name="connsiteX1" fmla="*/ 2137 w 208488"/>
                <a:gd name="connsiteY1" fmla="*/ 49624 h 75269"/>
                <a:gd name="connsiteX2" fmla="*/ 2137 w 208488"/>
                <a:gd name="connsiteY2" fmla="*/ 41075 h 75269"/>
                <a:gd name="connsiteX3" fmla="*/ 10686 w 208488"/>
                <a:gd name="connsiteY3" fmla="*/ 41075 h 75269"/>
                <a:gd name="connsiteX4" fmla="*/ 76226 w 208488"/>
                <a:gd name="connsiteY4" fmla="*/ 63872 h 75269"/>
                <a:gd name="connsiteX5" fmla="*/ 198760 w 208488"/>
                <a:gd name="connsiteY5" fmla="*/ 1180 h 75269"/>
                <a:gd name="connsiteX6" fmla="*/ 207308 w 208488"/>
                <a:gd name="connsiteY6" fmla="*/ 4030 h 75269"/>
                <a:gd name="connsiteX7" fmla="*/ 204459 w 208488"/>
                <a:gd name="connsiteY7" fmla="*/ 12579 h 75269"/>
                <a:gd name="connsiteX8" fmla="*/ 76226 w 208488"/>
                <a:gd name="connsiteY8" fmla="*/ 75270 h 75269"/>
                <a:gd name="connsiteX9" fmla="*/ 67678 w 208488"/>
                <a:gd name="connsiteY9" fmla="*/ 75270 h 75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8488" h="75269">
                  <a:moveTo>
                    <a:pt x="67678" y="75270"/>
                  </a:moveTo>
                  <a:cubicBezTo>
                    <a:pt x="30633" y="75270"/>
                    <a:pt x="4986" y="49624"/>
                    <a:pt x="2137" y="49624"/>
                  </a:cubicBezTo>
                  <a:cubicBezTo>
                    <a:pt x="-712" y="46774"/>
                    <a:pt x="-712" y="43924"/>
                    <a:pt x="2137" y="41075"/>
                  </a:cubicBezTo>
                  <a:cubicBezTo>
                    <a:pt x="4986" y="38225"/>
                    <a:pt x="7836" y="38225"/>
                    <a:pt x="10686" y="41075"/>
                  </a:cubicBezTo>
                  <a:cubicBezTo>
                    <a:pt x="10686" y="41075"/>
                    <a:pt x="39182" y="69571"/>
                    <a:pt x="76226" y="63872"/>
                  </a:cubicBezTo>
                  <a:cubicBezTo>
                    <a:pt x="113272" y="58173"/>
                    <a:pt x="198760" y="1180"/>
                    <a:pt x="198760" y="1180"/>
                  </a:cubicBezTo>
                  <a:cubicBezTo>
                    <a:pt x="201610" y="-1669"/>
                    <a:pt x="204459" y="1180"/>
                    <a:pt x="207308" y="4030"/>
                  </a:cubicBezTo>
                  <a:cubicBezTo>
                    <a:pt x="210158" y="6880"/>
                    <a:pt x="207308" y="9729"/>
                    <a:pt x="204459" y="12579"/>
                  </a:cubicBezTo>
                  <a:cubicBezTo>
                    <a:pt x="201610" y="15428"/>
                    <a:pt x="116122" y="72421"/>
                    <a:pt x="76226" y="75270"/>
                  </a:cubicBezTo>
                  <a:cubicBezTo>
                    <a:pt x="73377" y="75270"/>
                    <a:pt x="70528" y="75270"/>
                    <a:pt x="67678" y="75270"/>
                  </a:cubicBezTo>
                  <a:close/>
                </a:path>
              </a:pathLst>
            </a:custGeom>
            <a:solidFill>
              <a:srgbClr val="E58777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2" name="图形 1">
              <a:extLst>
                <a:ext uri="{FF2B5EF4-FFF2-40B4-BE49-F238E27FC236}">
                  <a16:creationId xmlns:a16="http://schemas.microsoft.com/office/drawing/2014/main" id="{7239B2E3-34AE-4FCF-A078-14954B3D710C}"/>
                </a:ext>
              </a:extLst>
            </p:cNvPr>
            <p:cNvGrpSpPr/>
            <p:nvPr/>
          </p:nvGrpSpPr>
          <p:grpSpPr>
            <a:xfrm>
              <a:off x="15293141" y="8475575"/>
              <a:ext cx="480126" cy="178408"/>
              <a:chOff x="15293141" y="8475575"/>
              <a:chExt cx="480126" cy="178408"/>
            </a:xfrm>
          </p:grpSpPr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9C3C239D-5D94-4D71-A5BE-D135C02BE742}"/>
                  </a:ext>
                </a:extLst>
              </p:cNvPr>
              <p:cNvSpPr/>
              <p:nvPr/>
            </p:nvSpPr>
            <p:spPr>
              <a:xfrm>
                <a:off x="15689680" y="8500106"/>
                <a:ext cx="83587" cy="94419"/>
              </a:xfrm>
              <a:custGeom>
                <a:avLst/>
                <a:gdLst>
                  <a:gd name="connsiteX0" fmla="*/ 0 w 83587"/>
                  <a:gd name="connsiteY0" fmla="*/ 51293 h 94419"/>
                  <a:gd name="connsiteX1" fmla="*/ 79789 w 83587"/>
                  <a:gd name="connsiteY1" fmla="*/ 0 h 94419"/>
                  <a:gd name="connsiteX2" fmla="*/ 79789 w 83587"/>
                  <a:gd name="connsiteY2" fmla="*/ 39894 h 94419"/>
                  <a:gd name="connsiteX3" fmla="*/ 0 w 83587"/>
                  <a:gd name="connsiteY3" fmla="*/ 94037 h 94419"/>
                  <a:gd name="connsiteX4" fmla="*/ 0 w 83587"/>
                  <a:gd name="connsiteY4" fmla="*/ 51293 h 94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587" h="94419">
                    <a:moveTo>
                      <a:pt x="0" y="51293"/>
                    </a:moveTo>
                    <a:cubicBezTo>
                      <a:pt x="0" y="51293"/>
                      <a:pt x="45593" y="39894"/>
                      <a:pt x="79789" y="0"/>
                    </a:cubicBezTo>
                    <a:cubicBezTo>
                      <a:pt x="79789" y="0"/>
                      <a:pt x="88337" y="31345"/>
                      <a:pt x="79789" y="39894"/>
                    </a:cubicBezTo>
                    <a:cubicBezTo>
                      <a:pt x="79789" y="39894"/>
                      <a:pt x="37045" y="99736"/>
                      <a:pt x="0" y="94037"/>
                    </a:cubicBezTo>
                    <a:lnTo>
                      <a:pt x="0" y="51293"/>
                    </a:ln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0DBFA791-84F8-4365-9DFF-38B551A7C5EB}"/>
                  </a:ext>
                </a:extLst>
              </p:cNvPr>
              <p:cNvSpPr/>
              <p:nvPr/>
            </p:nvSpPr>
            <p:spPr>
              <a:xfrm>
                <a:off x="15299283" y="8475575"/>
                <a:ext cx="410888" cy="178408"/>
              </a:xfrm>
              <a:custGeom>
                <a:avLst/>
                <a:gdLst>
                  <a:gd name="connsiteX0" fmla="*/ 0 w 410888"/>
                  <a:gd name="connsiteY0" fmla="*/ 30229 h 178408"/>
                  <a:gd name="connsiteX1" fmla="*/ 17098 w 410888"/>
                  <a:gd name="connsiteY1" fmla="*/ 38778 h 178408"/>
                  <a:gd name="connsiteX2" fmla="*/ 37045 w 410888"/>
                  <a:gd name="connsiteY2" fmla="*/ 35928 h 178408"/>
                  <a:gd name="connsiteX3" fmla="*/ 42744 w 410888"/>
                  <a:gd name="connsiteY3" fmla="*/ 121417 h 178408"/>
                  <a:gd name="connsiteX4" fmla="*/ 65541 w 410888"/>
                  <a:gd name="connsiteY4" fmla="*/ 141364 h 178408"/>
                  <a:gd name="connsiteX5" fmla="*/ 336253 w 410888"/>
                  <a:gd name="connsiteY5" fmla="*/ 158461 h 178408"/>
                  <a:gd name="connsiteX6" fmla="*/ 336253 w 410888"/>
                  <a:gd name="connsiteY6" fmla="*/ 178409 h 178408"/>
                  <a:gd name="connsiteX7" fmla="*/ 378997 w 410888"/>
                  <a:gd name="connsiteY7" fmla="*/ 161311 h 178408"/>
                  <a:gd name="connsiteX8" fmla="*/ 381847 w 410888"/>
                  <a:gd name="connsiteY8" fmla="*/ 161311 h 178408"/>
                  <a:gd name="connsiteX9" fmla="*/ 381847 w 410888"/>
                  <a:gd name="connsiteY9" fmla="*/ 161311 h 178408"/>
                  <a:gd name="connsiteX10" fmla="*/ 381847 w 410888"/>
                  <a:gd name="connsiteY10" fmla="*/ 161311 h 178408"/>
                  <a:gd name="connsiteX11" fmla="*/ 393245 w 410888"/>
                  <a:gd name="connsiteY11" fmla="*/ 147063 h 178408"/>
                  <a:gd name="connsiteX12" fmla="*/ 410343 w 410888"/>
                  <a:gd name="connsiteY12" fmla="*/ 47327 h 178408"/>
                  <a:gd name="connsiteX13" fmla="*/ 390396 w 410888"/>
                  <a:gd name="connsiteY13" fmla="*/ 24530 h 178408"/>
                  <a:gd name="connsiteX14" fmla="*/ 62692 w 410888"/>
                  <a:gd name="connsiteY14" fmla="*/ 1733 h 178408"/>
                  <a:gd name="connsiteX15" fmla="*/ 48444 w 410888"/>
                  <a:gd name="connsiteY15" fmla="*/ 7432 h 178408"/>
                  <a:gd name="connsiteX16" fmla="*/ 48444 w 410888"/>
                  <a:gd name="connsiteY16" fmla="*/ 7432 h 178408"/>
                  <a:gd name="connsiteX17" fmla="*/ 0 w 410888"/>
                  <a:gd name="connsiteY17" fmla="*/ 30229 h 178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10888" h="178408">
                    <a:moveTo>
                      <a:pt x="0" y="30229"/>
                    </a:moveTo>
                    <a:cubicBezTo>
                      <a:pt x="5700" y="33079"/>
                      <a:pt x="11398" y="35928"/>
                      <a:pt x="17098" y="38778"/>
                    </a:cubicBezTo>
                    <a:cubicBezTo>
                      <a:pt x="22796" y="38778"/>
                      <a:pt x="28496" y="35928"/>
                      <a:pt x="37045" y="35928"/>
                    </a:cubicBezTo>
                    <a:cubicBezTo>
                      <a:pt x="37045" y="64424"/>
                      <a:pt x="39894" y="92920"/>
                      <a:pt x="42744" y="121417"/>
                    </a:cubicBezTo>
                    <a:cubicBezTo>
                      <a:pt x="42744" y="132815"/>
                      <a:pt x="54142" y="141364"/>
                      <a:pt x="65541" y="141364"/>
                    </a:cubicBezTo>
                    <a:cubicBezTo>
                      <a:pt x="156728" y="138514"/>
                      <a:pt x="247916" y="144213"/>
                      <a:pt x="336253" y="158461"/>
                    </a:cubicBezTo>
                    <a:cubicBezTo>
                      <a:pt x="336253" y="164161"/>
                      <a:pt x="336253" y="172709"/>
                      <a:pt x="336253" y="178409"/>
                    </a:cubicBezTo>
                    <a:cubicBezTo>
                      <a:pt x="350501" y="172709"/>
                      <a:pt x="364749" y="167010"/>
                      <a:pt x="378997" y="161311"/>
                    </a:cubicBezTo>
                    <a:cubicBezTo>
                      <a:pt x="378997" y="161311"/>
                      <a:pt x="381847" y="161311"/>
                      <a:pt x="381847" y="161311"/>
                    </a:cubicBezTo>
                    <a:lnTo>
                      <a:pt x="381847" y="161311"/>
                    </a:lnTo>
                    <a:lnTo>
                      <a:pt x="381847" y="161311"/>
                    </a:lnTo>
                    <a:cubicBezTo>
                      <a:pt x="387546" y="158461"/>
                      <a:pt x="393245" y="152762"/>
                      <a:pt x="393245" y="147063"/>
                    </a:cubicBezTo>
                    <a:cubicBezTo>
                      <a:pt x="398945" y="112868"/>
                      <a:pt x="404644" y="78672"/>
                      <a:pt x="410343" y="47327"/>
                    </a:cubicBezTo>
                    <a:cubicBezTo>
                      <a:pt x="413193" y="35928"/>
                      <a:pt x="404644" y="27379"/>
                      <a:pt x="390396" y="24530"/>
                    </a:cubicBezTo>
                    <a:cubicBezTo>
                      <a:pt x="282111" y="4583"/>
                      <a:pt x="173826" y="-3966"/>
                      <a:pt x="62692" y="1733"/>
                    </a:cubicBezTo>
                    <a:cubicBezTo>
                      <a:pt x="56992" y="1733"/>
                      <a:pt x="51293" y="4583"/>
                      <a:pt x="48444" y="7432"/>
                    </a:cubicBezTo>
                    <a:lnTo>
                      <a:pt x="48444" y="7432"/>
                    </a:lnTo>
                    <a:cubicBezTo>
                      <a:pt x="28496" y="13131"/>
                      <a:pt x="14248" y="21680"/>
                      <a:pt x="0" y="30229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50" name="图形 1">
                <a:extLst>
                  <a:ext uri="{FF2B5EF4-FFF2-40B4-BE49-F238E27FC236}">
                    <a16:creationId xmlns:a16="http://schemas.microsoft.com/office/drawing/2014/main" id="{49489A99-693B-49DF-B93F-D03A9A5F016A}"/>
                  </a:ext>
                </a:extLst>
              </p:cNvPr>
              <p:cNvGrpSpPr/>
              <p:nvPr/>
            </p:nvGrpSpPr>
            <p:grpSpPr>
              <a:xfrm>
                <a:off x="15293141" y="8497922"/>
                <a:ext cx="368485" cy="156062"/>
                <a:chOff x="15293141" y="8497922"/>
                <a:chExt cx="368485" cy="156062"/>
              </a:xfrm>
            </p:grpSpPr>
            <p:sp>
              <p:nvSpPr>
                <p:cNvPr id="151" name="任意多边形: 形状 150">
                  <a:extLst>
                    <a:ext uri="{FF2B5EF4-FFF2-40B4-BE49-F238E27FC236}">
                      <a16:creationId xmlns:a16="http://schemas.microsoft.com/office/drawing/2014/main" id="{01592CAF-325D-4C46-9DC0-448D8A7D1EC6}"/>
                    </a:ext>
                  </a:extLst>
                </p:cNvPr>
                <p:cNvSpPr/>
                <p:nvPr/>
              </p:nvSpPr>
              <p:spPr>
                <a:xfrm>
                  <a:off x="15293141" y="8497922"/>
                  <a:ext cx="368485" cy="156062"/>
                </a:xfrm>
                <a:custGeom>
                  <a:avLst/>
                  <a:gdLst>
                    <a:gd name="connsiteX0" fmla="*/ 20390 w 368485"/>
                    <a:gd name="connsiteY0" fmla="*/ 2184 h 156062"/>
                    <a:gd name="connsiteX1" fmla="*/ 348095 w 368485"/>
                    <a:gd name="connsiteY1" fmla="*/ 16432 h 156062"/>
                    <a:gd name="connsiteX2" fmla="*/ 368042 w 368485"/>
                    <a:gd name="connsiteY2" fmla="*/ 39229 h 156062"/>
                    <a:gd name="connsiteX3" fmla="*/ 353794 w 368485"/>
                    <a:gd name="connsiteY3" fmla="*/ 138965 h 156062"/>
                    <a:gd name="connsiteX4" fmla="*/ 330997 w 368485"/>
                    <a:gd name="connsiteY4" fmla="*/ 156062 h 156062"/>
                    <a:gd name="connsiteX5" fmla="*/ 31789 w 368485"/>
                    <a:gd name="connsiteY5" fmla="*/ 141814 h 156062"/>
                    <a:gd name="connsiteX6" fmla="*/ 8992 w 368485"/>
                    <a:gd name="connsiteY6" fmla="*/ 124717 h 156062"/>
                    <a:gd name="connsiteX7" fmla="*/ 443 w 368485"/>
                    <a:gd name="connsiteY7" fmla="*/ 22131 h 156062"/>
                    <a:gd name="connsiteX8" fmla="*/ 20390 w 368485"/>
                    <a:gd name="connsiteY8" fmla="*/ 2184 h 156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8485" h="156062">
                      <a:moveTo>
                        <a:pt x="20390" y="2184"/>
                      </a:moveTo>
                      <a:cubicBezTo>
                        <a:pt x="131525" y="-3515"/>
                        <a:pt x="239810" y="2184"/>
                        <a:pt x="348095" y="16432"/>
                      </a:cubicBezTo>
                      <a:cubicBezTo>
                        <a:pt x="359493" y="19281"/>
                        <a:pt x="370891" y="27830"/>
                        <a:pt x="368042" y="39229"/>
                      </a:cubicBezTo>
                      <a:cubicBezTo>
                        <a:pt x="362343" y="73424"/>
                        <a:pt x="359493" y="107619"/>
                        <a:pt x="353794" y="138965"/>
                      </a:cubicBezTo>
                      <a:cubicBezTo>
                        <a:pt x="350945" y="150363"/>
                        <a:pt x="342395" y="156062"/>
                        <a:pt x="330997" y="156062"/>
                      </a:cubicBezTo>
                      <a:cubicBezTo>
                        <a:pt x="234111" y="141814"/>
                        <a:pt x="134374" y="136115"/>
                        <a:pt x="31789" y="141814"/>
                      </a:cubicBezTo>
                      <a:cubicBezTo>
                        <a:pt x="20390" y="141814"/>
                        <a:pt x="8992" y="133265"/>
                        <a:pt x="8992" y="124717"/>
                      </a:cubicBezTo>
                      <a:cubicBezTo>
                        <a:pt x="6142" y="90521"/>
                        <a:pt x="3292" y="56326"/>
                        <a:pt x="443" y="22131"/>
                      </a:cubicBezTo>
                      <a:cubicBezTo>
                        <a:pt x="-2406" y="13582"/>
                        <a:pt x="8992" y="2184"/>
                        <a:pt x="20390" y="2184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2" name="任意多边形: 形状 151">
                  <a:extLst>
                    <a:ext uri="{FF2B5EF4-FFF2-40B4-BE49-F238E27FC236}">
                      <a16:creationId xmlns:a16="http://schemas.microsoft.com/office/drawing/2014/main" id="{0CC6E524-B6D1-4145-8DF2-2160D97243EA}"/>
                    </a:ext>
                  </a:extLst>
                </p:cNvPr>
                <p:cNvSpPr/>
                <p:nvPr/>
              </p:nvSpPr>
              <p:spPr>
                <a:xfrm>
                  <a:off x="15316381" y="8507661"/>
                  <a:ext cx="322557" cy="138332"/>
                </a:xfrm>
                <a:custGeom>
                  <a:avLst/>
                  <a:gdLst>
                    <a:gd name="connsiteX0" fmla="*/ 19947 w 322557"/>
                    <a:gd name="connsiteY0" fmla="*/ 993 h 138332"/>
                    <a:gd name="connsiteX1" fmla="*/ 304907 w 322557"/>
                    <a:gd name="connsiteY1" fmla="*/ 15241 h 138332"/>
                    <a:gd name="connsiteX2" fmla="*/ 322005 w 322557"/>
                    <a:gd name="connsiteY2" fmla="*/ 35188 h 138332"/>
                    <a:gd name="connsiteX3" fmla="*/ 310607 w 322557"/>
                    <a:gd name="connsiteY3" fmla="*/ 123526 h 138332"/>
                    <a:gd name="connsiteX4" fmla="*/ 290659 w 322557"/>
                    <a:gd name="connsiteY4" fmla="*/ 137774 h 138332"/>
                    <a:gd name="connsiteX5" fmla="*/ 25646 w 322557"/>
                    <a:gd name="connsiteY5" fmla="*/ 126375 h 138332"/>
                    <a:gd name="connsiteX6" fmla="*/ 5699 w 322557"/>
                    <a:gd name="connsiteY6" fmla="*/ 109278 h 138332"/>
                    <a:gd name="connsiteX7" fmla="*/ 0 w 322557"/>
                    <a:gd name="connsiteY7" fmla="*/ 20940 h 138332"/>
                    <a:gd name="connsiteX8" fmla="*/ 19947 w 322557"/>
                    <a:gd name="connsiteY8" fmla="*/ 993 h 138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2557" h="138332">
                      <a:moveTo>
                        <a:pt x="19947" y="993"/>
                      </a:moveTo>
                      <a:cubicBezTo>
                        <a:pt x="116834" y="-1857"/>
                        <a:pt x="210871" y="993"/>
                        <a:pt x="304907" y="15241"/>
                      </a:cubicBezTo>
                      <a:cubicBezTo>
                        <a:pt x="316306" y="18090"/>
                        <a:pt x="324855" y="26639"/>
                        <a:pt x="322005" y="35188"/>
                      </a:cubicBezTo>
                      <a:cubicBezTo>
                        <a:pt x="319155" y="63684"/>
                        <a:pt x="313456" y="95030"/>
                        <a:pt x="310607" y="123526"/>
                      </a:cubicBezTo>
                      <a:cubicBezTo>
                        <a:pt x="310607" y="132075"/>
                        <a:pt x="299208" y="140624"/>
                        <a:pt x="290659" y="137774"/>
                      </a:cubicBezTo>
                      <a:cubicBezTo>
                        <a:pt x="205171" y="126375"/>
                        <a:pt x="116834" y="120676"/>
                        <a:pt x="25646" y="126375"/>
                      </a:cubicBezTo>
                      <a:cubicBezTo>
                        <a:pt x="14248" y="126375"/>
                        <a:pt x="5699" y="120676"/>
                        <a:pt x="5699" y="109278"/>
                      </a:cubicBezTo>
                      <a:cubicBezTo>
                        <a:pt x="2850" y="80782"/>
                        <a:pt x="0" y="49436"/>
                        <a:pt x="0" y="20940"/>
                      </a:cubicBezTo>
                      <a:cubicBezTo>
                        <a:pt x="0" y="9542"/>
                        <a:pt x="8548" y="993"/>
                        <a:pt x="19947" y="993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3" name="任意多边形: 形状 152">
                  <a:extLst>
                    <a:ext uri="{FF2B5EF4-FFF2-40B4-BE49-F238E27FC236}">
                      <a16:creationId xmlns:a16="http://schemas.microsoft.com/office/drawing/2014/main" id="{E2A4BDE3-DD7E-47EB-B715-B7FCEBA8A807}"/>
                    </a:ext>
                  </a:extLst>
                </p:cNvPr>
                <p:cNvSpPr/>
                <p:nvPr/>
              </p:nvSpPr>
              <p:spPr>
                <a:xfrm>
                  <a:off x="15490207" y="8520053"/>
                  <a:ext cx="94036" cy="108285"/>
                </a:xfrm>
                <a:custGeom>
                  <a:avLst/>
                  <a:gdLst>
                    <a:gd name="connsiteX0" fmla="*/ 22796 w 94036"/>
                    <a:gd name="connsiteY0" fmla="*/ 108285 h 108285"/>
                    <a:gd name="connsiteX1" fmla="*/ 0 w 94036"/>
                    <a:gd name="connsiteY1" fmla="*/ 105435 h 108285"/>
                    <a:gd name="connsiteX2" fmla="*/ 68390 w 94036"/>
                    <a:gd name="connsiteY2" fmla="*/ 0 h 108285"/>
                    <a:gd name="connsiteX3" fmla="*/ 94037 w 94036"/>
                    <a:gd name="connsiteY3" fmla="*/ 2850 h 108285"/>
                    <a:gd name="connsiteX4" fmla="*/ 22796 w 94036"/>
                    <a:gd name="connsiteY4" fmla="*/ 108285 h 108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036" h="108285">
                      <a:moveTo>
                        <a:pt x="22796" y="108285"/>
                      </a:moveTo>
                      <a:cubicBezTo>
                        <a:pt x="14248" y="108285"/>
                        <a:pt x="8548" y="108285"/>
                        <a:pt x="0" y="105435"/>
                      </a:cubicBezTo>
                      <a:cubicBezTo>
                        <a:pt x="19947" y="71240"/>
                        <a:pt x="42744" y="34195"/>
                        <a:pt x="68390" y="0"/>
                      </a:cubicBezTo>
                      <a:cubicBezTo>
                        <a:pt x="76939" y="0"/>
                        <a:pt x="85488" y="2850"/>
                        <a:pt x="94037" y="2850"/>
                      </a:cubicBezTo>
                      <a:cubicBezTo>
                        <a:pt x="71240" y="37045"/>
                        <a:pt x="45593" y="71240"/>
                        <a:pt x="22796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4" name="任意多边形: 形状 153">
                  <a:extLst>
                    <a:ext uri="{FF2B5EF4-FFF2-40B4-BE49-F238E27FC236}">
                      <a16:creationId xmlns:a16="http://schemas.microsoft.com/office/drawing/2014/main" id="{C9D1B301-F2AB-4DD0-A8F7-527448CEA9BB}"/>
                    </a:ext>
                  </a:extLst>
                </p:cNvPr>
                <p:cNvSpPr/>
                <p:nvPr/>
              </p:nvSpPr>
              <p:spPr>
                <a:xfrm>
                  <a:off x="15424666" y="8517203"/>
                  <a:ext cx="111134" cy="108285"/>
                </a:xfrm>
                <a:custGeom>
                  <a:avLst/>
                  <a:gdLst>
                    <a:gd name="connsiteX0" fmla="*/ 42744 w 111134"/>
                    <a:gd name="connsiteY0" fmla="*/ 108285 h 108285"/>
                    <a:gd name="connsiteX1" fmla="*/ 0 w 111134"/>
                    <a:gd name="connsiteY1" fmla="*/ 108285 h 108285"/>
                    <a:gd name="connsiteX2" fmla="*/ 62692 w 111134"/>
                    <a:gd name="connsiteY2" fmla="*/ 0 h 108285"/>
                    <a:gd name="connsiteX3" fmla="*/ 111134 w 111134"/>
                    <a:gd name="connsiteY3" fmla="*/ 2850 h 108285"/>
                    <a:gd name="connsiteX4" fmla="*/ 42744 w 111134"/>
                    <a:gd name="connsiteY4" fmla="*/ 108285 h 108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1134" h="108285">
                      <a:moveTo>
                        <a:pt x="42744" y="108285"/>
                      </a:moveTo>
                      <a:cubicBezTo>
                        <a:pt x="28496" y="108285"/>
                        <a:pt x="14248" y="108285"/>
                        <a:pt x="0" y="108285"/>
                      </a:cubicBezTo>
                      <a:cubicBezTo>
                        <a:pt x="19948" y="71240"/>
                        <a:pt x="39894" y="37045"/>
                        <a:pt x="62692" y="0"/>
                      </a:cubicBezTo>
                      <a:cubicBezTo>
                        <a:pt x="79789" y="0"/>
                        <a:pt x="94037" y="2850"/>
                        <a:pt x="111134" y="2850"/>
                      </a:cubicBezTo>
                      <a:cubicBezTo>
                        <a:pt x="88338" y="37045"/>
                        <a:pt x="65541" y="71240"/>
                        <a:pt x="42744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23" name="图形 1">
              <a:extLst>
                <a:ext uri="{FF2B5EF4-FFF2-40B4-BE49-F238E27FC236}">
                  <a16:creationId xmlns:a16="http://schemas.microsoft.com/office/drawing/2014/main" id="{3D805288-2267-483C-8CD3-5A685BF029DE}"/>
                </a:ext>
              </a:extLst>
            </p:cNvPr>
            <p:cNvGrpSpPr/>
            <p:nvPr/>
          </p:nvGrpSpPr>
          <p:grpSpPr>
            <a:xfrm>
              <a:off x="14225026" y="8770530"/>
              <a:ext cx="285205" cy="444080"/>
              <a:chOff x="14225026" y="8770530"/>
              <a:chExt cx="285205" cy="444080"/>
            </a:xfrm>
          </p:grpSpPr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03766412-29D7-4982-BB1F-668EF5F0699C}"/>
                  </a:ext>
                </a:extLst>
              </p:cNvPr>
              <p:cNvSpPr/>
              <p:nvPr/>
            </p:nvSpPr>
            <p:spPr>
              <a:xfrm>
                <a:off x="14225026" y="8842058"/>
                <a:ext cx="262120" cy="372552"/>
              </a:xfrm>
              <a:custGeom>
                <a:avLst/>
                <a:gdLst>
                  <a:gd name="connsiteX0" fmla="*/ 31303 w 262120"/>
                  <a:gd name="connsiteY0" fmla="*/ 367599 h 372552"/>
                  <a:gd name="connsiteX1" fmla="*/ 31303 w 262120"/>
                  <a:gd name="connsiteY1" fmla="*/ 367599 h 372552"/>
                  <a:gd name="connsiteX2" fmla="*/ 2806 w 262120"/>
                  <a:gd name="connsiteY2" fmla="*/ 302058 h 372552"/>
                  <a:gd name="connsiteX3" fmla="*/ 102543 w 262120"/>
                  <a:gd name="connsiteY3" fmla="*/ 0 h 372552"/>
                  <a:gd name="connsiteX4" fmla="*/ 262121 w 262120"/>
                  <a:gd name="connsiteY4" fmla="*/ 71240 h 372552"/>
                  <a:gd name="connsiteX5" fmla="*/ 99693 w 262120"/>
                  <a:gd name="connsiteY5" fmla="*/ 344802 h 372552"/>
                  <a:gd name="connsiteX6" fmla="*/ 31303 w 262120"/>
                  <a:gd name="connsiteY6" fmla="*/ 367599 h 372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2120" h="372552">
                    <a:moveTo>
                      <a:pt x="31303" y="367599"/>
                    </a:moveTo>
                    <a:lnTo>
                      <a:pt x="31303" y="367599"/>
                    </a:lnTo>
                    <a:cubicBezTo>
                      <a:pt x="5656" y="356200"/>
                      <a:pt x="-5742" y="327704"/>
                      <a:pt x="2806" y="302058"/>
                    </a:cubicBezTo>
                    <a:lnTo>
                      <a:pt x="102543" y="0"/>
                    </a:lnTo>
                    <a:lnTo>
                      <a:pt x="262121" y="71240"/>
                    </a:lnTo>
                    <a:lnTo>
                      <a:pt x="99693" y="344802"/>
                    </a:lnTo>
                    <a:cubicBezTo>
                      <a:pt x="85445" y="370448"/>
                      <a:pt x="54100" y="378997"/>
                      <a:pt x="31303" y="367599"/>
                    </a:cubicBezTo>
                    <a:close/>
                  </a:path>
                </a:pathLst>
              </a:custGeom>
              <a:solidFill>
                <a:srgbClr val="6383A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B53996EA-E4F1-423F-88E7-89C25A962CFF}"/>
                  </a:ext>
                </a:extLst>
              </p:cNvPr>
              <p:cNvSpPr/>
              <p:nvPr/>
            </p:nvSpPr>
            <p:spPr>
              <a:xfrm>
                <a:off x="14301634" y="8770530"/>
                <a:ext cx="208596" cy="210284"/>
              </a:xfrm>
              <a:custGeom>
                <a:avLst/>
                <a:gdLst>
                  <a:gd name="connsiteX0" fmla="*/ 199760 w 208596"/>
                  <a:gd name="connsiteY0" fmla="*/ 148467 h 210284"/>
                  <a:gd name="connsiteX1" fmla="*/ 148468 w 208596"/>
                  <a:gd name="connsiteY1" fmla="*/ 8837 h 210284"/>
                  <a:gd name="connsiteX2" fmla="*/ 8837 w 208596"/>
                  <a:gd name="connsiteY2" fmla="*/ 60129 h 210284"/>
                  <a:gd name="connsiteX3" fmla="*/ 60130 w 208596"/>
                  <a:gd name="connsiteY3" fmla="*/ 199760 h 210284"/>
                  <a:gd name="connsiteX4" fmla="*/ 199760 w 208596"/>
                  <a:gd name="connsiteY4" fmla="*/ 148467 h 210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8596" h="210284">
                    <a:moveTo>
                      <a:pt x="199760" y="148467"/>
                    </a:moveTo>
                    <a:cubicBezTo>
                      <a:pt x="222557" y="97174"/>
                      <a:pt x="199760" y="34483"/>
                      <a:pt x="148468" y="8837"/>
                    </a:cubicBezTo>
                    <a:cubicBezTo>
                      <a:pt x="97174" y="-13960"/>
                      <a:pt x="34484" y="8837"/>
                      <a:pt x="8837" y="60129"/>
                    </a:cubicBezTo>
                    <a:cubicBezTo>
                      <a:pt x="-13960" y="111422"/>
                      <a:pt x="8837" y="174113"/>
                      <a:pt x="60130" y="199760"/>
                    </a:cubicBezTo>
                    <a:cubicBezTo>
                      <a:pt x="114272" y="225407"/>
                      <a:pt x="174114" y="202610"/>
                      <a:pt x="199760" y="148467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4" name="图形 1">
              <a:extLst>
                <a:ext uri="{FF2B5EF4-FFF2-40B4-BE49-F238E27FC236}">
                  <a16:creationId xmlns:a16="http://schemas.microsoft.com/office/drawing/2014/main" id="{C2D64AC3-0DC8-4AFD-BD0F-FD4E34893DBE}"/>
                </a:ext>
              </a:extLst>
            </p:cNvPr>
            <p:cNvGrpSpPr/>
            <p:nvPr/>
          </p:nvGrpSpPr>
          <p:grpSpPr>
            <a:xfrm>
              <a:off x="14205036" y="8974981"/>
              <a:ext cx="138354" cy="182198"/>
              <a:chOff x="14205036" y="8974981"/>
              <a:chExt cx="138354" cy="182198"/>
            </a:xfrm>
          </p:grpSpPr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5D4EE5CB-F285-419B-B748-7694CA710FCF}"/>
                  </a:ext>
                </a:extLst>
              </p:cNvPr>
              <p:cNvSpPr/>
              <p:nvPr/>
            </p:nvSpPr>
            <p:spPr>
              <a:xfrm>
                <a:off x="14210008" y="8974981"/>
                <a:ext cx="122721" cy="80858"/>
              </a:xfrm>
              <a:custGeom>
                <a:avLst/>
                <a:gdLst>
                  <a:gd name="connsiteX0" fmla="*/ 14974 w 122721"/>
                  <a:gd name="connsiteY0" fmla="*/ 1008 h 80858"/>
                  <a:gd name="connsiteX1" fmla="*/ 91914 w 122721"/>
                  <a:gd name="connsiteY1" fmla="*/ 23805 h 80858"/>
                  <a:gd name="connsiteX2" fmla="*/ 103312 w 122721"/>
                  <a:gd name="connsiteY2" fmla="*/ 26654 h 80858"/>
                  <a:gd name="connsiteX3" fmla="*/ 114710 w 122721"/>
                  <a:gd name="connsiteY3" fmla="*/ 35204 h 80858"/>
                  <a:gd name="connsiteX4" fmla="*/ 117560 w 122721"/>
                  <a:gd name="connsiteY4" fmla="*/ 75098 h 80858"/>
                  <a:gd name="connsiteX5" fmla="*/ 80515 w 122721"/>
                  <a:gd name="connsiteY5" fmla="*/ 75098 h 80858"/>
                  <a:gd name="connsiteX6" fmla="*/ 32072 w 122721"/>
                  <a:gd name="connsiteY6" fmla="*/ 55150 h 80858"/>
                  <a:gd name="connsiteX7" fmla="*/ 726 w 122721"/>
                  <a:gd name="connsiteY7" fmla="*/ 29504 h 80858"/>
                  <a:gd name="connsiteX8" fmla="*/ 14974 w 122721"/>
                  <a:gd name="connsiteY8" fmla="*/ 1008 h 80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2721" h="80858">
                    <a:moveTo>
                      <a:pt x="14974" y="1008"/>
                    </a:moveTo>
                    <a:cubicBezTo>
                      <a:pt x="37771" y="-4691"/>
                      <a:pt x="66267" y="15256"/>
                      <a:pt x="91914" y="23805"/>
                    </a:cubicBezTo>
                    <a:cubicBezTo>
                      <a:pt x="94763" y="23805"/>
                      <a:pt x="103312" y="26654"/>
                      <a:pt x="103312" y="26654"/>
                    </a:cubicBezTo>
                    <a:cubicBezTo>
                      <a:pt x="106162" y="29504"/>
                      <a:pt x="111861" y="32354"/>
                      <a:pt x="114710" y="35204"/>
                    </a:cubicBezTo>
                    <a:cubicBezTo>
                      <a:pt x="123259" y="46602"/>
                      <a:pt x="126109" y="63700"/>
                      <a:pt x="117560" y="75098"/>
                    </a:cubicBezTo>
                    <a:cubicBezTo>
                      <a:pt x="109011" y="86496"/>
                      <a:pt x="91914" y="77948"/>
                      <a:pt x="80515" y="75098"/>
                    </a:cubicBezTo>
                    <a:cubicBezTo>
                      <a:pt x="63418" y="69398"/>
                      <a:pt x="46320" y="63700"/>
                      <a:pt x="32072" y="55150"/>
                    </a:cubicBezTo>
                    <a:cubicBezTo>
                      <a:pt x="20673" y="49452"/>
                      <a:pt x="6425" y="43752"/>
                      <a:pt x="726" y="29504"/>
                    </a:cubicBezTo>
                    <a:cubicBezTo>
                      <a:pt x="-2123" y="18106"/>
                      <a:pt x="3576" y="3858"/>
                      <a:pt x="14974" y="1008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BC9E95E3-71D8-4EBD-83BB-D546B7E27CE9}"/>
                  </a:ext>
                </a:extLst>
              </p:cNvPr>
              <p:cNvSpPr/>
              <p:nvPr/>
            </p:nvSpPr>
            <p:spPr>
              <a:xfrm>
                <a:off x="14214588" y="9018477"/>
                <a:ext cx="123840" cy="82956"/>
              </a:xfrm>
              <a:custGeom>
                <a:avLst/>
                <a:gdLst>
                  <a:gd name="connsiteX0" fmla="*/ 13244 w 123840"/>
                  <a:gd name="connsiteY0" fmla="*/ 3107 h 82956"/>
                  <a:gd name="connsiteX1" fmla="*/ 98732 w 123840"/>
                  <a:gd name="connsiteY1" fmla="*/ 25903 h 82956"/>
                  <a:gd name="connsiteX2" fmla="*/ 104431 w 123840"/>
                  <a:gd name="connsiteY2" fmla="*/ 28753 h 82956"/>
                  <a:gd name="connsiteX3" fmla="*/ 115830 w 123840"/>
                  <a:gd name="connsiteY3" fmla="*/ 37301 h 82956"/>
                  <a:gd name="connsiteX4" fmla="*/ 118679 w 123840"/>
                  <a:gd name="connsiteY4" fmla="*/ 77196 h 82956"/>
                  <a:gd name="connsiteX5" fmla="*/ 81634 w 123840"/>
                  <a:gd name="connsiteY5" fmla="*/ 77196 h 82956"/>
                  <a:gd name="connsiteX6" fmla="*/ 33191 w 123840"/>
                  <a:gd name="connsiteY6" fmla="*/ 57249 h 82956"/>
                  <a:gd name="connsiteX7" fmla="*/ 1845 w 123840"/>
                  <a:gd name="connsiteY7" fmla="*/ 31603 h 82956"/>
                  <a:gd name="connsiteX8" fmla="*/ 13244 w 123840"/>
                  <a:gd name="connsiteY8" fmla="*/ 3107 h 82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40" h="82956">
                    <a:moveTo>
                      <a:pt x="13244" y="3107"/>
                    </a:moveTo>
                    <a:cubicBezTo>
                      <a:pt x="41740" y="-8292"/>
                      <a:pt x="70236" y="14505"/>
                      <a:pt x="98732" y="25903"/>
                    </a:cubicBezTo>
                    <a:cubicBezTo>
                      <a:pt x="101582" y="25903"/>
                      <a:pt x="104431" y="28753"/>
                      <a:pt x="104431" y="28753"/>
                    </a:cubicBezTo>
                    <a:cubicBezTo>
                      <a:pt x="107281" y="31603"/>
                      <a:pt x="112980" y="34452"/>
                      <a:pt x="115830" y="37301"/>
                    </a:cubicBezTo>
                    <a:cubicBezTo>
                      <a:pt x="124378" y="48700"/>
                      <a:pt x="127228" y="65797"/>
                      <a:pt x="118679" y="77196"/>
                    </a:cubicBezTo>
                    <a:cubicBezTo>
                      <a:pt x="110130" y="88595"/>
                      <a:pt x="93033" y="80045"/>
                      <a:pt x="81634" y="77196"/>
                    </a:cubicBezTo>
                    <a:cubicBezTo>
                      <a:pt x="64537" y="71497"/>
                      <a:pt x="47439" y="65797"/>
                      <a:pt x="33191" y="57249"/>
                    </a:cubicBezTo>
                    <a:cubicBezTo>
                      <a:pt x="21793" y="51549"/>
                      <a:pt x="7545" y="45851"/>
                      <a:pt x="1845" y="31603"/>
                    </a:cubicBezTo>
                    <a:cubicBezTo>
                      <a:pt x="-3854" y="17355"/>
                      <a:pt x="4695" y="5956"/>
                      <a:pt x="13244" y="3107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65B03AE2-42A5-4D28-B99E-A8B8A5218955}"/>
                  </a:ext>
                </a:extLst>
              </p:cNvPr>
              <p:cNvSpPr/>
              <p:nvPr/>
            </p:nvSpPr>
            <p:spPr>
              <a:xfrm>
                <a:off x="14212843" y="9060897"/>
                <a:ext cx="107299" cy="71881"/>
              </a:xfrm>
              <a:custGeom>
                <a:avLst/>
                <a:gdLst>
                  <a:gd name="connsiteX0" fmla="*/ 12140 w 107299"/>
                  <a:gd name="connsiteY0" fmla="*/ 3430 h 71881"/>
                  <a:gd name="connsiteX1" fmla="*/ 86229 w 107299"/>
                  <a:gd name="connsiteY1" fmla="*/ 20528 h 71881"/>
                  <a:gd name="connsiteX2" fmla="*/ 91929 w 107299"/>
                  <a:gd name="connsiteY2" fmla="*/ 23377 h 71881"/>
                  <a:gd name="connsiteX3" fmla="*/ 100477 w 107299"/>
                  <a:gd name="connsiteY3" fmla="*/ 31926 h 71881"/>
                  <a:gd name="connsiteX4" fmla="*/ 103327 w 107299"/>
                  <a:gd name="connsiteY4" fmla="*/ 66121 h 71881"/>
                  <a:gd name="connsiteX5" fmla="*/ 69132 w 107299"/>
                  <a:gd name="connsiteY5" fmla="*/ 66121 h 71881"/>
                  <a:gd name="connsiteX6" fmla="*/ 26388 w 107299"/>
                  <a:gd name="connsiteY6" fmla="*/ 49024 h 71881"/>
                  <a:gd name="connsiteX7" fmla="*/ 741 w 107299"/>
                  <a:gd name="connsiteY7" fmla="*/ 29077 h 71881"/>
                  <a:gd name="connsiteX8" fmla="*/ 12140 w 107299"/>
                  <a:gd name="connsiteY8" fmla="*/ 3430 h 71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299" h="71881">
                    <a:moveTo>
                      <a:pt x="12140" y="3430"/>
                    </a:moveTo>
                    <a:cubicBezTo>
                      <a:pt x="37787" y="-7968"/>
                      <a:pt x="63433" y="11979"/>
                      <a:pt x="86229" y="20528"/>
                    </a:cubicBezTo>
                    <a:cubicBezTo>
                      <a:pt x="89079" y="20528"/>
                      <a:pt x="89079" y="23377"/>
                      <a:pt x="91929" y="23377"/>
                    </a:cubicBezTo>
                    <a:cubicBezTo>
                      <a:pt x="94779" y="26227"/>
                      <a:pt x="97628" y="26227"/>
                      <a:pt x="100477" y="31926"/>
                    </a:cubicBezTo>
                    <a:cubicBezTo>
                      <a:pt x="109027" y="40475"/>
                      <a:pt x="109027" y="57573"/>
                      <a:pt x="103327" y="66121"/>
                    </a:cubicBezTo>
                    <a:cubicBezTo>
                      <a:pt x="94779" y="77520"/>
                      <a:pt x="80531" y="68971"/>
                      <a:pt x="69132" y="66121"/>
                    </a:cubicBezTo>
                    <a:cubicBezTo>
                      <a:pt x="54884" y="60422"/>
                      <a:pt x="40636" y="57573"/>
                      <a:pt x="26388" y="49024"/>
                    </a:cubicBezTo>
                    <a:cubicBezTo>
                      <a:pt x="17839" y="46174"/>
                      <a:pt x="3591" y="40475"/>
                      <a:pt x="741" y="29077"/>
                    </a:cubicBezTo>
                    <a:cubicBezTo>
                      <a:pt x="-2108" y="14829"/>
                      <a:pt x="3591" y="6280"/>
                      <a:pt x="12140" y="3430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53F39EB7-992D-44EE-88AC-00CB2D894AC8}"/>
                  </a:ext>
                </a:extLst>
              </p:cNvPr>
              <p:cNvSpPr/>
              <p:nvPr/>
            </p:nvSpPr>
            <p:spPr>
              <a:xfrm>
                <a:off x="14216434" y="9101586"/>
                <a:ext cx="80045" cy="55594"/>
              </a:xfrm>
              <a:custGeom>
                <a:avLst/>
                <a:gdLst>
                  <a:gd name="connsiteX0" fmla="*/ 11398 w 80045"/>
                  <a:gd name="connsiteY0" fmla="*/ 2636 h 55594"/>
                  <a:gd name="connsiteX1" fmla="*/ 65541 w 80045"/>
                  <a:gd name="connsiteY1" fmla="*/ 16884 h 55594"/>
                  <a:gd name="connsiteX2" fmla="*/ 68390 w 80045"/>
                  <a:gd name="connsiteY2" fmla="*/ 19734 h 55594"/>
                  <a:gd name="connsiteX3" fmla="*/ 74090 w 80045"/>
                  <a:gd name="connsiteY3" fmla="*/ 25432 h 55594"/>
                  <a:gd name="connsiteX4" fmla="*/ 76940 w 80045"/>
                  <a:gd name="connsiteY4" fmla="*/ 51079 h 55594"/>
                  <a:gd name="connsiteX5" fmla="*/ 51293 w 80045"/>
                  <a:gd name="connsiteY5" fmla="*/ 51079 h 55594"/>
                  <a:gd name="connsiteX6" fmla="*/ 19948 w 80045"/>
                  <a:gd name="connsiteY6" fmla="*/ 39680 h 55594"/>
                  <a:gd name="connsiteX7" fmla="*/ 0 w 80045"/>
                  <a:gd name="connsiteY7" fmla="*/ 22583 h 55594"/>
                  <a:gd name="connsiteX8" fmla="*/ 11398 w 80045"/>
                  <a:gd name="connsiteY8" fmla="*/ 2636 h 55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045" h="55594">
                    <a:moveTo>
                      <a:pt x="11398" y="2636"/>
                    </a:moveTo>
                    <a:cubicBezTo>
                      <a:pt x="31346" y="-5913"/>
                      <a:pt x="48444" y="8335"/>
                      <a:pt x="65541" y="16884"/>
                    </a:cubicBezTo>
                    <a:cubicBezTo>
                      <a:pt x="68390" y="16884"/>
                      <a:pt x="68390" y="19734"/>
                      <a:pt x="68390" y="19734"/>
                    </a:cubicBezTo>
                    <a:cubicBezTo>
                      <a:pt x="71240" y="19734"/>
                      <a:pt x="74090" y="22583"/>
                      <a:pt x="74090" y="25432"/>
                    </a:cubicBezTo>
                    <a:cubicBezTo>
                      <a:pt x="79789" y="31132"/>
                      <a:pt x="82638" y="42530"/>
                      <a:pt x="76940" y="51079"/>
                    </a:cubicBezTo>
                    <a:cubicBezTo>
                      <a:pt x="71240" y="59628"/>
                      <a:pt x="59842" y="53928"/>
                      <a:pt x="51293" y="51079"/>
                    </a:cubicBezTo>
                    <a:cubicBezTo>
                      <a:pt x="39894" y="48230"/>
                      <a:pt x="31346" y="42530"/>
                      <a:pt x="19948" y="39680"/>
                    </a:cubicBezTo>
                    <a:cubicBezTo>
                      <a:pt x="14248" y="36831"/>
                      <a:pt x="2850" y="33982"/>
                      <a:pt x="0" y="22583"/>
                    </a:cubicBezTo>
                    <a:cubicBezTo>
                      <a:pt x="0" y="11184"/>
                      <a:pt x="5700" y="5486"/>
                      <a:pt x="11398" y="2636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00F295D1-36D6-4527-B8A7-4C2A457BFD96}"/>
                  </a:ext>
                </a:extLst>
              </p:cNvPr>
              <p:cNvSpPr/>
              <p:nvPr/>
            </p:nvSpPr>
            <p:spPr>
              <a:xfrm>
                <a:off x="14210520" y="8977659"/>
                <a:ext cx="132870" cy="126562"/>
              </a:xfrm>
              <a:custGeom>
                <a:avLst/>
                <a:gdLst>
                  <a:gd name="connsiteX0" fmla="*/ 111350 w 132870"/>
                  <a:gd name="connsiteY0" fmla="*/ 126563 h 126562"/>
                  <a:gd name="connsiteX1" fmla="*/ 71454 w 132870"/>
                  <a:gd name="connsiteY1" fmla="*/ 115165 h 126562"/>
                  <a:gd name="connsiteX2" fmla="*/ 214 w 132870"/>
                  <a:gd name="connsiteY2" fmla="*/ 55323 h 126562"/>
                  <a:gd name="connsiteX3" fmla="*/ 8764 w 132870"/>
                  <a:gd name="connsiteY3" fmla="*/ 38225 h 126562"/>
                  <a:gd name="connsiteX4" fmla="*/ 20162 w 132870"/>
                  <a:gd name="connsiteY4" fmla="*/ 38225 h 126562"/>
                  <a:gd name="connsiteX5" fmla="*/ 111350 w 132870"/>
                  <a:gd name="connsiteY5" fmla="*/ 69571 h 126562"/>
                  <a:gd name="connsiteX6" fmla="*/ 119898 w 132870"/>
                  <a:gd name="connsiteY6" fmla="*/ 58173 h 126562"/>
                  <a:gd name="connsiteX7" fmla="*/ 119898 w 132870"/>
                  <a:gd name="connsiteY7" fmla="*/ 49623 h 126562"/>
                  <a:gd name="connsiteX8" fmla="*/ 45808 w 132870"/>
                  <a:gd name="connsiteY8" fmla="*/ 9729 h 126562"/>
                  <a:gd name="connsiteX9" fmla="*/ 42958 w 132870"/>
                  <a:gd name="connsiteY9" fmla="*/ 4030 h 126562"/>
                  <a:gd name="connsiteX10" fmla="*/ 48658 w 132870"/>
                  <a:gd name="connsiteY10" fmla="*/ 1180 h 126562"/>
                  <a:gd name="connsiteX11" fmla="*/ 128447 w 132870"/>
                  <a:gd name="connsiteY11" fmla="*/ 46774 h 126562"/>
                  <a:gd name="connsiteX12" fmla="*/ 128447 w 132870"/>
                  <a:gd name="connsiteY12" fmla="*/ 63871 h 126562"/>
                  <a:gd name="connsiteX13" fmla="*/ 122748 w 132870"/>
                  <a:gd name="connsiteY13" fmla="*/ 72421 h 126562"/>
                  <a:gd name="connsiteX14" fmla="*/ 131296 w 132870"/>
                  <a:gd name="connsiteY14" fmla="*/ 112315 h 126562"/>
                  <a:gd name="connsiteX15" fmla="*/ 111350 w 132870"/>
                  <a:gd name="connsiteY15" fmla="*/ 126563 h 126562"/>
                  <a:gd name="connsiteX16" fmla="*/ 14462 w 132870"/>
                  <a:gd name="connsiteY16" fmla="*/ 49623 h 126562"/>
                  <a:gd name="connsiteX17" fmla="*/ 14462 w 132870"/>
                  <a:gd name="connsiteY17" fmla="*/ 49623 h 126562"/>
                  <a:gd name="connsiteX18" fmla="*/ 8764 w 132870"/>
                  <a:gd name="connsiteY18" fmla="*/ 58173 h 126562"/>
                  <a:gd name="connsiteX19" fmla="*/ 74304 w 132870"/>
                  <a:gd name="connsiteY19" fmla="*/ 106615 h 126562"/>
                  <a:gd name="connsiteX20" fmla="*/ 119898 w 132870"/>
                  <a:gd name="connsiteY20" fmla="*/ 109465 h 126562"/>
                  <a:gd name="connsiteX21" fmla="*/ 114199 w 132870"/>
                  <a:gd name="connsiteY21" fmla="*/ 78119 h 126562"/>
                  <a:gd name="connsiteX22" fmla="*/ 114199 w 132870"/>
                  <a:gd name="connsiteY22" fmla="*/ 78119 h 126562"/>
                  <a:gd name="connsiteX23" fmla="*/ 14462 w 132870"/>
                  <a:gd name="connsiteY23" fmla="*/ 49623 h 126562"/>
                  <a:gd name="connsiteX24" fmla="*/ 14462 w 132870"/>
                  <a:gd name="connsiteY24" fmla="*/ 49623 h 126562"/>
                  <a:gd name="connsiteX25" fmla="*/ 14462 w 132870"/>
                  <a:gd name="connsiteY25" fmla="*/ 49623 h 12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32870" h="126562">
                    <a:moveTo>
                      <a:pt x="111350" y="126563"/>
                    </a:moveTo>
                    <a:cubicBezTo>
                      <a:pt x="99950" y="126563"/>
                      <a:pt x="85702" y="120863"/>
                      <a:pt x="71454" y="115165"/>
                    </a:cubicBezTo>
                    <a:cubicBezTo>
                      <a:pt x="23012" y="98067"/>
                      <a:pt x="-2635" y="75270"/>
                      <a:pt x="214" y="55323"/>
                    </a:cubicBezTo>
                    <a:cubicBezTo>
                      <a:pt x="214" y="46774"/>
                      <a:pt x="3064" y="41075"/>
                      <a:pt x="8764" y="38225"/>
                    </a:cubicBezTo>
                    <a:cubicBezTo>
                      <a:pt x="14462" y="35375"/>
                      <a:pt x="20162" y="38225"/>
                      <a:pt x="20162" y="38225"/>
                    </a:cubicBezTo>
                    <a:cubicBezTo>
                      <a:pt x="65756" y="63871"/>
                      <a:pt x="97102" y="75270"/>
                      <a:pt x="111350" y="69571"/>
                    </a:cubicBezTo>
                    <a:cubicBezTo>
                      <a:pt x="117048" y="66721"/>
                      <a:pt x="117048" y="63871"/>
                      <a:pt x="119898" y="58173"/>
                    </a:cubicBezTo>
                    <a:cubicBezTo>
                      <a:pt x="119898" y="55323"/>
                      <a:pt x="119898" y="52473"/>
                      <a:pt x="119898" y="49623"/>
                    </a:cubicBezTo>
                    <a:cubicBezTo>
                      <a:pt x="111350" y="32526"/>
                      <a:pt x="62906" y="15428"/>
                      <a:pt x="45808" y="9729"/>
                    </a:cubicBezTo>
                    <a:cubicBezTo>
                      <a:pt x="42958" y="9729"/>
                      <a:pt x="40109" y="6879"/>
                      <a:pt x="42958" y="4030"/>
                    </a:cubicBezTo>
                    <a:cubicBezTo>
                      <a:pt x="42958" y="1180"/>
                      <a:pt x="45808" y="-1669"/>
                      <a:pt x="48658" y="1180"/>
                    </a:cubicBezTo>
                    <a:cubicBezTo>
                      <a:pt x="54358" y="4030"/>
                      <a:pt x="117048" y="21127"/>
                      <a:pt x="128447" y="46774"/>
                    </a:cubicBezTo>
                    <a:cubicBezTo>
                      <a:pt x="131296" y="52473"/>
                      <a:pt x="131296" y="58173"/>
                      <a:pt x="128447" y="63871"/>
                    </a:cubicBezTo>
                    <a:cubicBezTo>
                      <a:pt x="128447" y="66721"/>
                      <a:pt x="125598" y="69571"/>
                      <a:pt x="122748" y="72421"/>
                    </a:cubicBezTo>
                    <a:cubicBezTo>
                      <a:pt x="125598" y="75270"/>
                      <a:pt x="136996" y="98067"/>
                      <a:pt x="131296" y="112315"/>
                    </a:cubicBezTo>
                    <a:cubicBezTo>
                      <a:pt x="128447" y="123713"/>
                      <a:pt x="119898" y="126563"/>
                      <a:pt x="111350" y="126563"/>
                    </a:cubicBezTo>
                    <a:close/>
                    <a:moveTo>
                      <a:pt x="14462" y="49623"/>
                    </a:moveTo>
                    <a:cubicBezTo>
                      <a:pt x="14462" y="49623"/>
                      <a:pt x="11613" y="49623"/>
                      <a:pt x="14462" y="49623"/>
                    </a:cubicBezTo>
                    <a:cubicBezTo>
                      <a:pt x="11613" y="49623"/>
                      <a:pt x="11613" y="52473"/>
                      <a:pt x="8764" y="58173"/>
                    </a:cubicBezTo>
                    <a:cubicBezTo>
                      <a:pt x="5914" y="75270"/>
                      <a:pt x="31560" y="92367"/>
                      <a:pt x="74304" y="106615"/>
                    </a:cubicBezTo>
                    <a:cubicBezTo>
                      <a:pt x="105650" y="118014"/>
                      <a:pt x="117048" y="118014"/>
                      <a:pt x="119898" y="109465"/>
                    </a:cubicBezTo>
                    <a:cubicBezTo>
                      <a:pt x="122748" y="100917"/>
                      <a:pt x="117048" y="83819"/>
                      <a:pt x="114199" y="78119"/>
                    </a:cubicBezTo>
                    <a:cubicBezTo>
                      <a:pt x="114199" y="78119"/>
                      <a:pt x="114199" y="78119"/>
                      <a:pt x="114199" y="78119"/>
                    </a:cubicBezTo>
                    <a:cubicBezTo>
                      <a:pt x="102800" y="83819"/>
                      <a:pt x="82854" y="83819"/>
                      <a:pt x="14462" y="49623"/>
                    </a:cubicBezTo>
                    <a:lnTo>
                      <a:pt x="14462" y="49623"/>
                    </a:lnTo>
                    <a:cubicBezTo>
                      <a:pt x="14462" y="49623"/>
                      <a:pt x="14462" y="49623"/>
                      <a:pt x="14462" y="49623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911EB288-7DEB-48AB-98D0-09A92F5A1B4C}"/>
                  </a:ext>
                </a:extLst>
              </p:cNvPr>
              <p:cNvSpPr/>
              <p:nvPr/>
            </p:nvSpPr>
            <p:spPr>
              <a:xfrm>
                <a:off x="14205036" y="9058628"/>
                <a:ext cx="122988" cy="76939"/>
              </a:xfrm>
              <a:custGeom>
                <a:avLst/>
                <a:gdLst>
                  <a:gd name="connsiteX0" fmla="*/ 96886 w 122988"/>
                  <a:gd name="connsiteY0" fmla="*/ 76940 h 76939"/>
                  <a:gd name="connsiteX1" fmla="*/ 88338 w 122988"/>
                  <a:gd name="connsiteY1" fmla="*/ 76940 h 76939"/>
                  <a:gd name="connsiteX2" fmla="*/ 5699 w 122988"/>
                  <a:gd name="connsiteY2" fmla="*/ 39894 h 76939"/>
                  <a:gd name="connsiteX3" fmla="*/ 0 w 122988"/>
                  <a:gd name="connsiteY3" fmla="*/ 19948 h 76939"/>
                  <a:gd name="connsiteX4" fmla="*/ 17098 w 122988"/>
                  <a:gd name="connsiteY4" fmla="*/ 0 h 76939"/>
                  <a:gd name="connsiteX5" fmla="*/ 22796 w 122988"/>
                  <a:gd name="connsiteY5" fmla="*/ 2850 h 76939"/>
                  <a:gd name="connsiteX6" fmla="*/ 19947 w 122988"/>
                  <a:gd name="connsiteY6" fmla="*/ 8549 h 76939"/>
                  <a:gd name="connsiteX7" fmla="*/ 11398 w 122988"/>
                  <a:gd name="connsiteY7" fmla="*/ 19948 h 76939"/>
                  <a:gd name="connsiteX8" fmla="*/ 14248 w 122988"/>
                  <a:gd name="connsiteY8" fmla="*/ 28496 h 76939"/>
                  <a:gd name="connsiteX9" fmla="*/ 91187 w 122988"/>
                  <a:gd name="connsiteY9" fmla="*/ 62692 h 76939"/>
                  <a:gd name="connsiteX10" fmla="*/ 108285 w 122988"/>
                  <a:gd name="connsiteY10" fmla="*/ 59842 h 76939"/>
                  <a:gd name="connsiteX11" fmla="*/ 111134 w 122988"/>
                  <a:gd name="connsiteY11" fmla="*/ 39894 h 76939"/>
                  <a:gd name="connsiteX12" fmla="*/ 116834 w 122988"/>
                  <a:gd name="connsiteY12" fmla="*/ 34196 h 76939"/>
                  <a:gd name="connsiteX13" fmla="*/ 122533 w 122988"/>
                  <a:gd name="connsiteY13" fmla="*/ 39894 h 76939"/>
                  <a:gd name="connsiteX14" fmla="*/ 116834 w 122988"/>
                  <a:gd name="connsiteY14" fmla="*/ 71240 h 76939"/>
                  <a:gd name="connsiteX15" fmla="*/ 96886 w 122988"/>
                  <a:gd name="connsiteY15" fmla="*/ 76940 h 76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988" h="76939">
                    <a:moveTo>
                      <a:pt x="96886" y="76940"/>
                    </a:moveTo>
                    <a:cubicBezTo>
                      <a:pt x="94037" y="76940"/>
                      <a:pt x="91187" y="76940"/>
                      <a:pt x="88338" y="76940"/>
                    </a:cubicBezTo>
                    <a:cubicBezTo>
                      <a:pt x="54142" y="71240"/>
                      <a:pt x="14248" y="48444"/>
                      <a:pt x="5699" y="39894"/>
                    </a:cubicBezTo>
                    <a:cubicBezTo>
                      <a:pt x="0" y="34196"/>
                      <a:pt x="0" y="28496"/>
                      <a:pt x="0" y="19948"/>
                    </a:cubicBezTo>
                    <a:cubicBezTo>
                      <a:pt x="2850" y="11398"/>
                      <a:pt x="8548" y="2850"/>
                      <a:pt x="17098" y="0"/>
                    </a:cubicBezTo>
                    <a:cubicBezTo>
                      <a:pt x="19947" y="0"/>
                      <a:pt x="22796" y="0"/>
                      <a:pt x="22796" y="2850"/>
                    </a:cubicBezTo>
                    <a:cubicBezTo>
                      <a:pt x="22796" y="5700"/>
                      <a:pt x="22796" y="8549"/>
                      <a:pt x="19947" y="8549"/>
                    </a:cubicBezTo>
                    <a:cubicBezTo>
                      <a:pt x="17098" y="8549"/>
                      <a:pt x="14248" y="14248"/>
                      <a:pt x="11398" y="19948"/>
                    </a:cubicBezTo>
                    <a:cubicBezTo>
                      <a:pt x="11398" y="22797"/>
                      <a:pt x="11398" y="25646"/>
                      <a:pt x="14248" y="28496"/>
                    </a:cubicBezTo>
                    <a:cubicBezTo>
                      <a:pt x="22796" y="37045"/>
                      <a:pt x="59842" y="56992"/>
                      <a:pt x="91187" y="62692"/>
                    </a:cubicBezTo>
                    <a:cubicBezTo>
                      <a:pt x="99736" y="62692"/>
                      <a:pt x="105435" y="62692"/>
                      <a:pt x="108285" y="59842"/>
                    </a:cubicBezTo>
                    <a:cubicBezTo>
                      <a:pt x="113984" y="54142"/>
                      <a:pt x="113984" y="42744"/>
                      <a:pt x="111134" y="39894"/>
                    </a:cubicBezTo>
                    <a:cubicBezTo>
                      <a:pt x="111134" y="37045"/>
                      <a:pt x="111134" y="34196"/>
                      <a:pt x="116834" y="34196"/>
                    </a:cubicBezTo>
                    <a:cubicBezTo>
                      <a:pt x="119683" y="34196"/>
                      <a:pt x="122533" y="34196"/>
                      <a:pt x="122533" y="39894"/>
                    </a:cubicBezTo>
                    <a:cubicBezTo>
                      <a:pt x="122533" y="39894"/>
                      <a:pt x="125382" y="59842"/>
                      <a:pt x="116834" y="71240"/>
                    </a:cubicBezTo>
                    <a:cubicBezTo>
                      <a:pt x="111134" y="74090"/>
                      <a:pt x="105435" y="76940"/>
                      <a:pt x="96886" y="76940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F2352C74-756C-41C1-B454-A1404B50C37F}"/>
                </a:ext>
              </a:extLst>
            </p:cNvPr>
            <p:cNvSpPr/>
            <p:nvPr/>
          </p:nvSpPr>
          <p:spPr>
            <a:xfrm>
              <a:off x="14277937" y="9037999"/>
              <a:ext cx="124731" cy="114768"/>
            </a:xfrm>
            <a:custGeom>
              <a:avLst/>
              <a:gdLst>
                <a:gd name="connsiteX0" fmla="*/ 1188 w 124731"/>
                <a:gd name="connsiteY0" fmla="*/ 49124 h 114768"/>
                <a:gd name="connsiteX1" fmla="*/ 23985 w 124731"/>
                <a:gd name="connsiteY1" fmla="*/ 46275 h 114768"/>
                <a:gd name="connsiteX2" fmla="*/ 75277 w 124731"/>
                <a:gd name="connsiteY2" fmla="*/ 60523 h 114768"/>
                <a:gd name="connsiteX3" fmla="*/ 80977 w 124731"/>
                <a:gd name="connsiteY3" fmla="*/ 114666 h 114768"/>
                <a:gd name="connsiteX4" fmla="*/ 123721 w 124731"/>
                <a:gd name="connsiteY4" fmla="*/ 46275 h 114768"/>
                <a:gd name="connsiteX5" fmla="*/ 46781 w 124731"/>
                <a:gd name="connsiteY5" fmla="*/ 682 h 114768"/>
                <a:gd name="connsiteX6" fmla="*/ 1188 w 124731"/>
                <a:gd name="connsiteY6" fmla="*/ 49124 h 114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731" h="114768">
                  <a:moveTo>
                    <a:pt x="1188" y="49124"/>
                  </a:moveTo>
                  <a:cubicBezTo>
                    <a:pt x="4037" y="57674"/>
                    <a:pt x="18285" y="46275"/>
                    <a:pt x="23985" y="46275"/>
                  </a:cubicBezTo>
                  <a:cubicBezTo>
                    <a:pt x="43933" y="43426"/>
                    <a:pt x="58181" y="46275"/>
                    <a:pt x="75277" y="60523"/>
                  </a:cubicBezTo>
                  <a:cubicBezTo>
                    <a:pt x="69579" y="80470"/>
                    <a:pt x="75277" y="103267"/>
                    <a:pt x="80977" y="114666"/>
                  </a:cubicBezTo>
                  <a:cubicBezTo>
                    <a:pt x="83827" y="117515"/>
                    <a:pt x="132270" y="60523"/>
                    <a:pt x="123721" y="46275"/>
                  </a:cubicBezTo>
                  <a:cubicBezTo>
                    <a:pt x="109473" y="26328"/>
                    <a:pt x="75277" y="-5018"/>
                    <a:pt x="46781" y="682"/>
                  </a:cubicBezTo>
                  <a:cubicBezTo>
                    <a:pt x="32533" y="682"/>
                    <a:pt x="-7361" y="29178"/>
                    <a:pt x="1188" y="49124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FF60D6DC-69FD-4FDB-9D67-C1EF30E1F16C}"/>
                </a:ext>
              </a:extLst>
            </p:cNvPr>
            <p:cNvSpPr/>
            <p:nvPr/>
          </p:nvSpPr>
          <p:spPr>
            <a:xfrm>
              <a:off x="14269396" y="9031474"/>
              <a:ext cx="136378" cy="112641"/>
            </a:xfrm>
            <a:custGeom>
              <a:avLst/>
              <a:gdLst>
                <a:gd name="connsiteX0" fmla="*/ 80970 w 136378"/>
                <a:gd name="connsiteY0" fmla="*/ 112642 h 112641"/>
                <a:gd name="connsiteX1" fmla="*/ 75270 w 136378"/>
                <a:gd name="connsiteY1" fmla="*/ 109792 h 112641"/>
                <a:gd name="connsiteX2" fmla="*/ 75270 w 136378"/>
                <a:gd name="connsiteY2" fmla="*/ 69898 h 112641"/>
                <a:gd name="connsiteX3" fmla="*/ 29676 w 136378"/>
                <a:gd name="connsiteY3" fmla="*/ 61349 h 112641"/>
                <a:gd name="connsiteX4" fmla="*/ 4030 w 136378"/>
                <a:gd name="connsiteY4" fmla="*/ 58499 h 112641"/>
                <a:gd name="connsiteX5" fmla="*/ 1180 w 136378"/>
                <a:gd name="connsiteY5" fmla="*/ 44251 h 112641"/>
                <a:gd name="connsiteX6" fmla="*/ 52474 w 136378"/>
                <a:gd name="connsiteY6" fmla="*/ 1507 h 112641"/>
                <a:gd name="connsiteX7" fmla="*/ 135112 w 136378"/>
                <a:gd name="connsiteY7" fmla="*/ 47101 h 112641"/>
                <a:gd name="connsiteX8" fmla="*/ 135112 w 136378"/>
                <a:gd name="connsiteY8" fmla="*/ 55649 h 112641"/>
                <a:gd name="connsiteX9" fmla="*/ 126563 w 136378"/>
                <a:gd name="connsiteY9" fmla="*/ 55649 h 112641"/>
                <a:gd name="connsiteX10" fmla="*/ 55323 w 136378"/>
                <a:gd name="connsiteY10" fmla="*/ 12905 h 112641"/>
                <a:gd name="connsiteX11" fmla="*/ 12579 w 136378"/>
                <a:gd name="connsiteY11" fmla="*/ 47101 h 112641"/>
                <a:gd name="connsiteX12" fmla="*/ 12579 w 136378"/>
                <a:gd name="connsiteY12" fmla="*/ 52800 h 112641"/>
                <a:gd name="connsiteX13" fmla="*/ 29676 w 136378"/>
                <a:gd name="connsiteY13" fmla="*/ 52800 h 112641"/>
                <a:gd name="connsiteX14" fmla="*/ 86669 w 136378"/>
                <a:gd name="connsiteY14" fmla="*/ 67048 h 112641"/>
                <a:gd name="connsiteX15" fmla="*/ 86669 w 136378"/>
                <a:gd name="connsiteY15" fmla="*/ 72747 h 112641"/>
                <a:gd name="connsiteX16" fmla="*/ 86669 w 136378"/>
                <a:gd name="connsiteY16" fmla="*/ 106943 h 112641"/>
                <a:gd name="connsiteX17" fmla="*/ 80970 w 136378"/>
                <a:gd name="connsiteY17" fmla="*/ 112642 h 112641"/>
                <a:gd name="connsiteX18" fmla="*/ 80970 w 136378"/>
                <a:gd name="connsiteY18" fmla="*/ 112642 h 11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6378" h="112641">
                  <a:moveTo>
                    <a:pt x="80970" y="112642"/>
                  </a:moveTo>
                  <a:cubicBezTo>
                    <a:pt x="78120" y="112642"/>
                    <a:pt x="78120" y="112642"/>
                    <a:pt x="75270" y="109792"/>
                  </a:cubicBezTo>
                  <a:cubicBezTo>
                    <a:pt x="66722" y="95544"/>
                    <a:pt x="72421" y="75597"/>
                    <a:pt x="75270" y="69898"/>
                  </a:cubicBezTo>
                  <a:cubicBezTo>
                    <a:pt x="61022" y="55649"/>
                    <a:pt x="43924" y="58499"/>
                    <a:pt x="29676" y="61349"/>
                  </a:cubicBezTo>
                  <a:cubicBezTo>
                    <a:pt x="18278" y="64199"/>
                    <a:pt x="9730" y="64199"/>
                    <a:pt x="4030" y="58499"/>
                  </a:cubicBezTo>
                  <a:cubicBezTo>
                    <a:pt x="1180" y="55649"/>
                    <a:pt x="-1669" y="49951"/>
                    <a:pt x="1180" y="44251"/>
                  </a:cubicBezTo>
                  <a:cubicBezTo>
                    <a:pt x="4030" y="30003"/>
                    <a:pt x="23978" y="10056"/>
                    <a:pt x="52474" y="1507"/>
                  </a:cubicBezTo>
                  <a:cubicBezTo>
                    <a:pt x="89518" y="-9891"/>
                    <a:pt x="135112" y="47101"/>
                    <a:pt x="135112" y="47101"/>
                  </a:cubicBezTo>
                  <a:cubicBezTo>
                    <a:pt x="137962" y="49951"/>
                    <a:pt x="135112" y="52800"/>
                    <a:pt x="135112" y="55649"/>
                  </a:cubicBezTo>
                  <a:cubicBezTo>
                    <a:pt x="132262" y="58499"/>
                    <a:pt x="129413" y="58499"/>
                    <a:pt x="126563" y="55649"/>
                  </a:cubicBezTo>
                  <a:cubicBezTo>
                    <a:pt x="115165" y="41401"/>
                    <a:pt x="80970" y="4357"/>
                    <a:pt x="55323" y="12905"/>
                  </a:cubicBezTo>
                  <a:cubicBezTo>
                    <a:pt x="29676" y="21455"/>
                    <a:pt x="12579" y="38552"/>
                    <a:pt x="12579" y="47101"/>
                  </a:cubicBezTo>
                  <a:cubicBezTo>
                    <a:pt x="12579" y="49951"/>
                    <a:pt x="12579" y="52800"/>
                    <a:pt x="12579" y="52800"/>
                  </a:cubicBezTo>
                  <a:cubicBezTo>
                    <a:pt x="15428" y="55649"/>
                    <a:pt x="21128" y="52800"/>
                    <a:pt x="29676" y="52800"/>
                  </a:cubicBezTo>
                  <a:cubicBezTo>
                    <a:pt x="43924" y="49951"/>
                    <a:pt x="69571" y="47101"/>
                    <a:pt x="86669" y="67048"/>
                  </a:cubicBezTo>
                  <a:cubicBezTo>
                    <a:pt x="89518" y="69898"/>
                    <a:pt x="89518" y="69898"/>
                    <a:pt x="86669" y="72747"/>
                  </a:cubicBezTo>
                  <a:cubicBezTo>
                    <a:pt x="83819" y="78447"/>
                    <a:pt x="78120" y="98394"/>
                    <a:pt x="86669" y="106943"/>
                  </a:cubicBezTo>
                  <a:cubicBezTo>
                    <a:pt x="89518" y="106943"/>
                    <a:pt x="86669" y="109792"/>
                    <a:pt x="80970" y="112642"/>
                  </a:cubicBezTo>
                  <a:cubicBezTo>
                    <a:pt x="83819" y="112642"/>
                    <a:pt x="83819" y="112642"/>
                    <a:pt x="80970" y="112642"/>
                  </a:cubicBezTo>
                  <a:close/>
                </a:path>
              </a:pathLst>
            </a:custGeom>
            <a:solidFill>
              <a:srgbClr val="E58777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8DB7838F-4528-4372-BF28-5A6FEE1F8287}"/>
                </a:ext>
              </a:extLst>
            </p:cNvPr>
            <p:cNvSpPr/>
            <p:nvPr/>
          </p:nvSpPr>
          <p:spPr>
            <a:xfrm>
              <a:off x="16661394" y="9346270"/>
              <a:ext cx="225119" cy="184320"/>
            </a:xfrm>
            <a:custGeom>
              <a:avLst/>
              <a:gdLst>
                <a:gd name="connsiteX0" fmla="*/ 188074 w 225119"/>
                <a:gd name="connsiteY0" fmla="*/ 145498 h 184320"/>
                <a:gd name="connsiteX1" fmla="*/ 213720 w 225119"/>
                <a:gd name="connsiteY1" fmla="*/ 108453 h 184320"/>
                <a:gd name="connsiteX2" fmla="*/ 225119 w 225119"/>
                <a:gd name="connsiteY2" fmla="*/ 79957 h 184320"/>
                <a:gd name="connsiteX3" fmla="*/ 210871 w 225119"/>
                <a:gd name="connsiteY3" fmla="*/ 37213 h 184320"/>
                <a:gd name="connsiteX4" fmla="*/ 202322 w 225119"/>
                <a:gd name="connsiteY4" fmla="*/ 168 h 184320"/>
                <a:gd name="connsiteX5" fmla="*/ 0 w 225119"/>
                <a:gd name="connsiteY5" fmla="*/ 85656 h 184320"/>
                <a:gd name="connsiteX6" fmla="*/ 34196 w 225119"/>
                <a:gd name="connsiteY6" fmla="*/ 176844 h 184320"/>
                <a:gd name="connsiteX7" fmla="*/ 156728 w 225119"/>
                <a:gd name="connsiteY7" fmla="*/ 165445 h 184320"/>
                <a:gd name="connsiteX8" fmla="*/ 188074 w 225119"/>
                <a:gd name="connsiteY8" fmla="*/ 145498 h 18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5119" h="184320">
                  <a:moveTo>
                    <a:pt x="188074" y="145498"/>
                  </a:moveTo>
                  <a:cubicBezTo>
                    <a:pt x="188074" y="136949"/>
                    <a:pt x="208022" y="122701"/>
                    <a:pt x="213720" y="108453"/>
                  </a:cubicBezTo>
                  <a:cubicBezTo>
                    <a:pt x="213720" y="105604"/>
                    <a:pt x="225119" y="91356"/>
                    <a:pt x="225119" y="79957"/>
                  </a:cubicBezTo>
                  <a:cubicBezTo>
                    <a:pt x="225119" y="71408"/>
                    <a:pt x="196623" y="45762"/>
                    <a:pt x="210871" y="37213"/>
                  </a:cubicBezTo>
                  <a:cubicBezTo>
                    <a:pt x="219420" y="31514"/>
                    <a:pt x="210871" y="-2681"/>
                    <a:pt x="202322" y="168"/>
                  </a:cubicBezTo>
                  <a:cubicBezTo>
                    <a:pt x="148180" y="3018"/>
                    <a:pt x="11399" y="20116"/>
                    <a:pt x="0" y="85656"/>
                  </a:cubicBezTo>
                  <a:cubicBezTo>
                    <a:pt x="0" y="85656"/>
                    <a:pt x="11399" y="162596"/>
                    <a:pt x="34196" y="176844"/>
                  </a:cubicBezTo>
                  <a:cubicBezTo>
                    <a:pt x="68391" y="196791"/>
                    <a:pt x="122534" y="171145"/>
                    <a:pt x="156728" y="165445"/>
                  </a:cubicBezTo>
                  <a:cubicBezTo>
                    <a:pt x="179526" y="159746"/>
                    <a:pt x="185224" y="156897"/>
                    <a:pt x="188074" y="145498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8" name="图形 1">
              <a:extLst>
                <a:ext uri="{FF2B5EF4-FFF2-40B4-BE49-F238E27FC236}">
                  <a16:creationId xmlns:a16="http://schemas.microsoft.com/office/drawing/2014/main" id="{553E3796-DA71-4A02-AFE1-AE20E60C6ECC}"/>
                </a:ext>
              </a:extLst>
            </p:cNvPr>
            <p:cNvGrpSpPr/>
            <p:nvPr/>
          </p:nvGrpSpPr>
          <p:grpSpPr>
            <a:xfrm>
              <a:off x="16681215" y="9095546"/>
              <a:ext cx="208274" cy="467733"/>
              <a:chOff x="16681215" y="9095546"/>
              <a:chExt cx="208274" cy="467733"/>
            </a:xfrm>
          </p:grpSpPr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2D60572F-2C6F-463E-9291-443FC2CB410F}"/>
                  </a:ext>
                </a:extLst>
              </p:cNvPr>
              <p:cNvSpPr/>
              <p:nvPr/>
            </p:nvSpPr>
            <p:spPr>
              <a:xfrm>
                <a:off x="16698439" y="9195409"/>
                <a:ext cx="173826" cy="367870"/>
              </a:xfrm>
              <a:custGeom>
                <a:avLst/>
                <a:gdLst>
                  <a:gd name="connsiteX0" fmla="*/ 102586 w 173826"/>
                  <a:gd name="connsiteY0" fmla="*/ 367599 h 367870"/>
                  <a:gd name="connsiteX1" fmla="*/ 102586 w 173826"/>
                  <a:gd name="connsiteY1" fmla="*/ 367599 h 367870"/>
                  <a:gd name="connsiteX2" fmla="*/ 153878 w 173826"/>
                  <a:gd name="connsiteY2" fmla="*/ 319155 h 367870"/>
                  <a:gd name="connsiteX3" fmla="*/ 173826 w 173826"/>
                  <a:gd name="connsiteY3" fmla="*/ 0 h 367870"/>
                  <a:gd name="connsiteX4" fmla="*/ 0 w 173826"/>
                  <a:gd name="connsiteY4" fmla="*/ 8548 h 367870"/>
                  <a:gd name="connsiteX5" fmla="*/ 48443 w 173826"/>
                  <a:gd name="connsiteY5" fmla="*/ 324855 h 367870"/>
                  <a:gd name="connsiteX6" fmla="*/ 102586 w 173826"/>
                  <a:gd name="connsiteY6" fmla="*/ 367599 h 367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3826" h="367870">
                    <a:moveTo>
                      <a:pt x="102586" y="367599"/>
                    </a:moveTo>
                    <a:lnTo>
                      <a:pt x="102586" y="367599"/>
                    </a:lnTo>
                    <a:cubicBezTo>
                      <a:pt x="131082" y="367599"/>
                      <a:pt x="151029" y="344801"/>
                      <a:pt x="153878" y="319155"/>
                    </a:cubicBezTo>
                    <a:lnTo>
                      <a:pt x="173826" y="0"/>
                    </a:lnTo>
                    <a:lnTo>
                      <a:pt x="0" y="8548"/>
                    </a:lnTo>
                    <a:lnTo>
                      <a:pt x="48443" y="324855"/>
                    </a:lnTo>
                    <a:cubicBezTo>
                      <a:pt x="51293" y="350501"/>
                      <a:pt x="74090" y="370449"/>
                      <a:pt x="102586" y="367599"/>
                    </a:cubicBezTo>
                    <a:close/>
                  </a:path>
                </a:pathLst>
              </a:custGeom>
              <a:solidFill>
                <a:srgbClr val="6383A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3C7D4C0F-541B-496F-BEAB-4BE7A47C8EAC}"/>
                  </a:ext>
                </a:extLst>
              </p:cNvPr>
              <p:cNvSpPr/>
              <p:nvPr/>
            </p:nvSpPr>
            <p:spPr>
              <a:xfrm>
                <a:off x="16681215" y="9095546"/>
                <a:ext cx="208274" cy="208274"/>
              </a:xfrm>
              <a:custGeom>
                <a:avLst/>
                <a:gdLst>
                  <a:gd name="connsiteX0" fmla="*/ 127 w 208274"/>
                  <a:gd name="connsiteY0" fmla="*/ 108411 h 208274"/>
                  <a:gd name="connsiteX1" fmla="*/ 99863 w 208274"/>
                  <a:gd name="connsiteY1" fmla="*/ 127 h 208274"/>
                  <a:gd name="connsiteX2" fmla="*/ 208147 w 208274"/>
                  <a:gd name="connsiteY2" fmla="*/ 99863 h 208274"/>
                  <a:gd name="connsiteX3" fmla="*/ 108411 w 208274"/>
                  <a:gd name="connsiteY3" fmla="*/ 208147 h 208274"/>
                  <a:gd name="connsiteX4" fmla="*/ 127 w 208274"/>
                  <a:gd name="connsiteY4" fmla="*/ 108411 h 208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8274" h="208274">
                    <a:moveTo>
                      <a:pt x="127" y="108411"/>
                    </a:moveTo>
                    <a:cubicBezTo>
                      <a:pt x="-2723" y="51419"/>
                      <a:pt x="42871" y="2976"/>
                      <a:pt x="99863" y="127"/>
                    </a:cubicBezTo>
                    <a:cubicBezTo>
                      <a:pt x="156855" y="-2723"/>
                      <a:pt x="205299" y="42871"/>
                      <a:pt x="208147" y="99863"/>
                    </a:cubicBezTo>
                    <a:cubicBezTo>
                      <a:pt x="210997" y="156855"/>
                      <a:pt x="165403" y="205298"/>
                      <a:pt x="108411" y="208147"/>
                    </a:cubicBezTo>
                    <a:cubicBezTo>
                      <a:pt x="51419" y="210997"/>
                      <a:pt x="127" y="165403"/>
                      <a:pt x="127" y="108411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9" name="图形 1">
              <a:extLst>
                <a:ext uri="{FF2B5EF4-FFF2-40B4-BE49-F238E27FC236}">
                  <a16:creationId xmlns:a16="http://schemas.microsoft.com/office/drawing/2014/main" id="{AE6AF9C4-7FE8-4947-B1EA-7EA7F93CE5C5}"/>
                </a:ext>
              </a:extLst>
            </p:cNvPr>
            <p:cNvGrpSpPr/>
            <p:nvPr/>
          </p:nvGrpSpPr>
          <p:grpSpPr>
            <a:xfrm>
              <a:off x="16763980" y="9346296"/>
              <a:ext cx="158546" cy="156869"/>
              <a:chOff x="16763980" y="9346296"/>
              <a:chExt cx="158546" cy="156869"/>
            </a:xfrm>
          </p:grpSpPr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3430C834-3273-470E-B7D6-B5C1B615F502}"/>
                  </a:ext>
                </a:extLst>
              </p:cNvPr>
              <p:cNvSpPr/>
              <p:nvPr/>
            </p:nvSpPr>
            <p:spPr>
              <a:xfrm>
                <a:off x="16785261" y="9352137"/>
                <a:ext cx="137265" cy="54142"/>
              </a:xfrm>
              <a:custGeom>
                <a:avLst/>
                <a:gdLst>
                  <a:gd name="connsiteX0" fmla="*/ 129748 w 137265"/>
                  <a:gd name="connsiteY0" fmla="*/ 8548 h 54142"/>
                  <a:gd name="connsiteX1" fmla="*/ 47109 w 137265"/>
                  <a:gd name="connsiteY1" fmla="*/ 2849 h 54142"/>
                  <a:gd name="connsiteX2" fmla="*/ 32861 w 137265"/>
                  <a:gd name="connsiteY2" fmla="*/ 0 h 54142"/>
                  <a:gd name="connsiteX3" fmla="*/ 18613 w 137265"/>
                  <a:gd name="connsiteY3" fmla="*/ 2849 h 54142"/>
                  <a:gd name="connsiteX4" fmla="*/ 1516 w 137265"/>
                  <a:gd name="connsiteY4" fmla="*/ 39894 h 54142"/>
                  <a:gd name="connsiteX5" fmla="*/ 38561 w 137265"/>
                  <a:gd name="connsiteY5" fmla="*/ 54142 h 54142"/>
                  <a:gd name="connsiteX6" fmla="*/ 92703 w 137265"/>
                  <a:gd name="connsiteY6" fmla="*/ 54142 h 54142"/>
                  <a:gd name="connsiteX7" fmla="*/ 129748 w 137265"/>
                  <a:gd name="connsiteY7" fmla="*/ 42744 h 54142"/>
                  <a:gd name="connsiteX8" fmla="*/ 129748 w 137265"/>
                  <a:gd name="connsiteY8" fmla="*/ 8548 h 54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7265" h="54142">
                    <a:moveTo>
                      <a:pt x="129748" y="8548"/>
                    </a:moveTo>
                    <a:cubicBezTo>
                      <a:pt x="109801" y="-5700"/>
                      <a:pt x="78455" y="2849"/>
                      <a:pt x="47109" y="2849"/>
                    </a:cubicBezTo>
                    <a:cubicBezTo>
                      <a:pt x="44260" y="2849"/>
                      <a:pt x="35711" y="0"/>
                      <a:pt x="32861" y="0"/>
                    </a:cubicBezTo>
                    <a:cubicBezTo>
                      <a:pt x="27162" y="0"/>
                      <a:pt x="24313" y="2849"/>
                      <a:pt x="18613" y="2849"/>
                    </a:cubicBezTo>
                    <a:cubicBezTo>
                      <a:pt x="7215" y="8548"/>
                      <a:pt x="-4183" y="25646"/>
                      <a:pt x="1516" y="39894"/>
                    </a:cubicBezTo>
                    <a:cubicBezTo>
                      <a:pt x="4365" y="54142"/>
                      <a:pt x="24313" y="54142"/>
                      <a:pt x="38561" y="54142"/>
                    </a:cubicBezTo>
                    <a:cubicBezTo>
                      <a:pt x="55658" y="54142"/>
                      <a:pt x="72756" y="54142"/>
                      <a:pt x="92703" y="54142"/>
                    </a:cubicBezTo>
                    <a:cubicBezTo>
                      <a:pt x="104101" y="54142"/>
                      <a:pt x="121199" y="54142"/>
                      <a:pt x="129748" y="42744"/>
                    </a:cubicBezTo>
                    <a:cubicBezTo>
                      <a:pt x="141146" y="28496"/>
                      <a:pt x="138297" y="14248"/>
                      <a:pt x="129748" y="8548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28941DDC-3A11-4161-8F5B-5E4C7A67692F}"/>
                  </a:ext>
                </a:extLst>
              </p:cNvPr>
              <p:cNvSpPr/>
              <p:nvPr/>
            </p:nvSpPr>
            <p:spPr>
              <a:xfrm>
                <a:off x="16765314" y="9387634"/>
                <a:ext cx="137266" cy="61389"/>
              </a:xfrm>
              <a:custGeom>
                <a:avLst/>
                <a:gdLst>
                  <a:gd name="connsiteX0" fmla="*/ 129748 w 137266"/>
                  <a:gd name="connsiteY0" fmla="*/ 12946 h 61389"/>
                  <a:gd name="connsiteX1" fmla="*/ 41410 w 137266"/>
                  <a:gd name="connsiteY1" fmla="*/ 4398 h 61389"/>
                  <a:gd name="connsiteX2" fmla="*/ 32862 w 137266"/>
                  <a:gd name="connsiteY2" fmla="*/ 7247 h 61389"/>
                  <a:gd name="connsiteX3" fmla="*/ 18614 w 137266"/>
                  <a:gd name="connsiteY3" fmla="*/ 10096 h 61389"/>
                  <a:gd name="connsiteX4" fmla="*/ 1516 w 137266"/>
                  <a:gd name="connsiteY4" fmla="*/ 47142 h 61389"/>
                  <a:gd name="connsiteX5" fmla="*/ 38561 w 137266"/>
                  <a:gd name="connsiteY5" fmla="*/ 61390 h 61389"/>
                  <a:gd name="connsiteX6" fmla="*/ 92704 w 137266"/>
                  <a:gd name="connsiteY6" fmla="*/ 61390 h 61389"/>
                  <a:gd name="connsiteX7" fmla="*/ 129748 w 137266"/>
                  <a:gd name="connsiteY7" fmla="*/ 49991 h 61389"/>
                  <a:gd name="connsiteX8" fmla="*/ 129748 w 137266"/>
                  <a:gd name="connsiteY8" fmla="*/ 12946 h 61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7266" h="61389">
                    <a:moveTo>
                      <a:pt x="129748" y="12946"/>
                    </a:moveTo>
                    <a:cubicBezTo>
                      <a:pt x="106952" y="-9850"/>
                      <a:pt x="72756" y="4398"/>
                      <a:pt x="41410" y="4398"/>
                    </a:cubicBezTo>
                    <a:cubicBezTo>
                      <a:pt x="38561" y="4398"/>
                      <a:pt x="35712" y="4398"/>
                      <a:pt x="32862" y="7247"/>
                    </a:cubicBezTo>
                    <a:cubicBezTo>
                      <a:pt x="27162" y="7247"/>
                      <a:pt x="24312" y="10096"/>
                      <a:pt x="18614" y="10096"/>
                    </a:cubicBezTo>
                    <a:cubicBezTo>
                      <a:pt x="7216" y="15796"/>
                      <a:pt x="-4184" y="32894"/>
                      <a:pt x="1516" y="47142"/>
                    </a:cubicBezTo>
                    <a:cubicBezTo>
                      <a:pt x="4366" y="61390"/>
                      <a:pt x="24312" y="61390"/>
                      <a:pt x="38561" y="61390"/>
                    </a:cubicBezTo>
                    <a:cubicBezTo>
                      <a:pt x="55658" y="61390"/>
                      <a:pt x="72756" y="61390"/>
                      <a:pt x="92704" y="61390"/>
                    </a:cubicBezTo>
                    <a:cubicBezTo>
                      <a:pt x="104102" y="61390"/>
                      <a:pt x="121200" y="61390"/>
                      <a:pt x="129748" y="49991"/>
                    </a:cubicBezTo>
                    <a:cubicBezTo>
                      <a:pt x="141146" y="32894"/>
                      <a:pt x="138297" y="18646"/>
                      <a:pt x="129748" y="12946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42CFC11B-2322-456E-AA8D-99AFCD350225}"/>
                  </a:ext>
                </a:extLst>
              </p:cNvPr>
              <p:cNvSpPr/>
              <p:nvPr/>
            </p:nvSpPr>
            <p:spPr>
              <a:xfrm>
                <a:off x="16774652" y="9427255"/>
                <a:ext cx="114406" cy="48681"/>
              </a:xfrm>
              <a:custGeom>
                <a:avLst/>
                <a:gdLst>
                  <a:gd name="connsiteX0" fmla="*/ 109011 w 114406"/>
                  <a:gd name="connsiteY0" fmla="*/ 13219 h 48681"/>
                  <a:gd name="connsiteX1" fmla="*/ 32072 w 114406"/>
                  <a:gd name="connsiteY1" fmla="*/ 1821 h 48681"/>
                  <a:gd name="connsiteX2" fmla="*/ 26373 w 114406"/>
                  <a:gd name="connsiteY2" fmla="*/ 1821 h 48681"/>
                  <a:gd name="connsiteX3" fmla="*/ 14974 w 114406"/>
                  <a:gd name="connsiteY3" fmla="*/ 4671 h 48681"/>
                  <a:gd name="connsiteX4" fmla="*/ 726 w 114406"/>
                  <a:gd name="connsiteY4" fmla="*/ 36017 h 48681"/>
                  <a:gd name="connsiteX5" fmla="*/ 32072 w 114406"/>
                  <a:gd name="connsiteY5" fmla="*/ 47415 h 48681"/>
                  <a:gd name="connsiteX6" fmla="*/ 77666 w 114406"/>
                  <a:gd name="connsiteY6" fmla="*/ 47415 h 48681"/>
                  <a:gd name="connsiteX7" fmla="*/ 109011 w 114406"/>
                  <a:gd name="connsiteY7" fmla="*/ 38866 h 48681"/>
                  <a:gd name="connsiteX8" fmla="*/ 109011 w 114406"/>
                  <a:gd name="connsiteY8" fmla="*/ 13219 h 48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4406" h="48681">
                    <a:moveTo>
                      <a:pt x="109011" y="13219"/>
                    </a:moveTo>
                    <a:cubicBezTo>
                      <a:pt x="89064" y="-6728"/>
                      <a:pt x="57718" y="1821"/>
                      <a:pt x="32072" y="1821"/>
                    </a:cubicBezTo>
                    <a:cubicBezTo>
                      <a:pt x="29222" y="1821"/>
                      <a:pt x="26373" y="1821"/>
                      <a:pt x="26373" y="1821"/>
                    </a:cubicBezTo>
                    <a:cubicBezTo>
                      <a:pt x="23523" y="1821"/>
                      <a:pt x="17824" y="1821"/>
                      <a:pt x="14974" y="4671"/>
                    </a:cubicBezTo>
                    <a:cubicBezTo>
                      <a:pt x="3576" y="10370"/>
                      <a:pt x="-2123" y="24618"/>
                      <a:pt x="726" y="36017"/>
                    </a:cubicBezTo>
                    <a:cubicBezTo>
                      <a:pt x="3576" y="47415"/>
                      <a:pt x="20673" y="47415"/>
                      <a:pt x="32072" y="47415"/>
                    </a:cubicBezTo>
                    <a:cubicBezTo>
                      <a:pt x="46320" y="47415"/>
                      <a:pt x="63418" y="50265"/>
                      <a:pt x="77666" y="47415"/>
                    </a:cubicBezTo>
                    <a:cubicBezTo>
                      <a:pt x="89064" y="47415"/>
                      <a:pt x="100462" y="47415"/>
                      <a:pt x="109011" y="38866"/>
                    </a:cubicBezTo>
                    <a:cubicBezTo>
                      <a:pt x="117560" y="30317"/>
                      <a:pt x="114710" y="18919"/>
                      <a:pt x="109011" y="13219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5C4246F6-9D7F-408B-ACCD-C37B2CB5252E}"/>
                  </a:ext>
                </a:extLst>
              </p:cNvPr>
              <p:cNvSpPr/>
              <p:nvPr/>
            </p:nvSpPr>
            <p:spPr>
              <a:xfrm>
                <a:off x="16783186" y="9467845"/>
                <a:ext cx="86229" cy="35321"/>
              </a:xfrm>
              <a:custGeom>
                <a:avLst/>
                <a:gdLst>
                  <a:gd name="connsiteX0" fmla="*/ 83380 w 86229"/>
                  <a:gd name="connsiteY0" fmla="*/ 9675 h 35321"/>
                  <a:gd name="connsiteX1" fmla="*/ 26388 w 86229"/>
                  <a:gd name="connsiteY1" fmla="*/ 1126 h 35321"/>
                  <a:gd name="connsiteX2" fmla="*/ 20688 w 86229"/>
                  <a:gd name="connsiteY2" fmla="*/ 1126 h 35321"/>
                  <a:gd name="connsiteX3" fmla="*/ 12140 w 86229"/>
                  <a:gd name="connsiteY3" fmla="*/ 3975 h 35321"/>
                  <a:gd name="connsiteX4" fmla="*/ 741 w 86229"/>
                  <a:gd name="connsiteY4" fmla="*/ 26773 h 35321"/>
                  <a:gd name="connsiteX5" fmla="*/ 23538 w 86229"/>
                  <a:gd name="connsiteY5" fmla="*/ 35321 h 35321"/>
                  <a:gd name="connsiteX6" fmla="*/ 57733 w 86229"/>
                  <a:gd name="connsiteY6" fmla="*/ 35321 h 35321"/>
                  <a:gd name="connsiteX7" fmla="*/ 80530 w 86229"/>
                  <a:gd name="connsiteY7" fmla="*/ 26773 h 35321"/>
                  <a:gd name="connsiteX8" fmla="*/ 83380 w 86229"/>
                  <a:gd name="connsiteY8" fmla="*/ 9675 h 35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229" h="35321">
                    <a:moveTo>
                      <a:pt x="83380" y="9675"/>
                    </a:moveTo>
                    <a:cubicBezTo>
                      <a:pt x="69132" y="-4573"/>
                      <a:pt x="46335" y="1126"/>
                      <a:pt x="26388" y="1126"/>
                    </a:cubicBezTo>
                    <a:cubicBezTo>
                      <a:pt x="23538" y="1126"/>
                      <a:pt x="23538" y="1126"/>
                      <a:pt x="20688" y="1126"/>
                    </a:cubicBezTo>
                    <a:cubicBezTo>
                      <a:pt x="17839" y="1126"/>
                      <a:pt x="14989" y="1126"/>
                      <a:pt x="12140" y="3975"/>
                    </a:cubicBezTo>
                    <a:cubicBezTo>
                      <a:pt x="3591" y="6825"/>
                      <a:pt x="-2108" y="18223"/>
                      <a:pt x="741" y="26773"/>
                    </a:cubicBezTo>
                    <a:cubicBezTo>
                      <a:pt x="3591" y="35321"/>
                      <a:pt x="14989" y="35321"/>
                      <a:pt x="23538" y="35321"/>
                    </a:cubicBezTo>
                    <a:cubicBezTo>
                      <a:pt x="34936" y="35321"/>
                      <a:pt x="46335" y="35321"/>
                      <a:pt x="57733" y="35321"/>
                    </a:cubicBezTo>
                    <a:cubicBezTo>
                      <a:pt x="66282" y="35321"/>
                      <a:pt x="74831" y="35321"/>
                      <a:pt x="80530" y="26773"/>
                    </a:cubicBezTo>
                    <a:cubicBezTo>
                      <a:pt x="89079" y="21073"/>
                      <a:pt x="86229" y="12525"/>
                      <a:pt x="83380" y="9675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12766AD5-46D6-474B-A57F-335403A1FC68}"/>
                  </a:ext>
                </a:extLst>
              </p:cNvPr>
              <p:cNvSpPr/>
              <p:nvPr/>
            </p:nvSpPr>
            <p:spPr>
              <a:xfrm>
                <a:off x="16763980" y="9346296"/>
                <a:ext cx="148178" cy="102727"/>
              </a:xfrm>
              <a:custGeom>
                <a:avLst/>
                <a:gdLst>
                  <a:gd name="connsiteX0" fmla="*/ 68390 w 148178"/>
                  <a:gd name="connsiteY0" fmla="*/ 102728 h 102727"/>
                  <a:gd name="connsiteX1" fmla="*/ 54142 w 148178"/>
                  <a:gd name="connsiteY1" fmla="*/ 102728 h 102727"/>
                  <a:gd name="connsiteX2" fmla="*/ 0 w 148178"/>
                  <a:gd name="connsiteY2" fmla="*/ 77081 h 102727"/>
                  <a:gd name="connsiteX3" fmla="*/ 22797 w 148178"/>
                  <a:gd name="connsiteY3" fmla="*/ 42886 h 102727"/>
                  <a:gd name="connsiteX4" fmla="*/ 22797 w 148178"/>
                  <a:gd name="connsiteY4" fmla="*/ 31487 h 102727"/>
                  <a:gd name="connsiteX5" fmla="*/ 31346 w 148178"/>
                  <a:gd name="connsiteY5" fmla="*/ 14390 h 102727"/>
                  <a:gd name="connsiteX6" fmla="*/ 122534 w 148178"/>
                  <a:gd name="connsiteY6" fmla="*/ 2991 h 102727"/>
                  <a:gd name="connsiteX7" fmla="*/ 128232 w 148178"/>
                  <a:gd name="connsiteY7" fmla="*/ 8690 h 102727"/>
                  <a:gd name="connsiteX8" fmla="*/ 122534 w 148178"/>
                  <a:gd name="connsiteY8" fmla="*/ 14390 h 102727"/>
                  <a:gd name="connsiteX9" fmla="*/ 39894 w 148178"/>
                  <a:gd name="connsiteY9" fmla="*/ 22938 h 102727"/>
                  <a:gd name="connsiteX10" fmla="*/ 37045 w 148178"/>
                  <a:gd name="connsiteY10" fmla="*/ 31487 h 102727"/>
                  <a:gd name="connsiteX11" fmla="*/ 39894 w 148178"/>
                  <a:gd name="connsiteY11" fmla="*/ 42886 h 102727"/>
                  <a:gd name="connsiteX12" fmla="*/ 133932 w 148178"/>
                  <a:gd name="connsiteY12" fmla="*/ 48585 h 102727"/>
                  <a:gd name="connsiteX13" fmla="*/ 145330 w 148178"/>
                  <a:gd name="connsiteY13" fmla="*/ 54284 h 102727"/>
                  <a:gd name="connsiteX14" fmla="*/ 148179 w 148178"/>
                  <a:gd name="connsiteY14" fmla="*/ 74231 h 102727"/>
                  <a:gd name="connsiteX15" fmla="*/ 68390 w 148178"/>
                  <a:gd name="connsiteY15" fmla="*/ 102728 h 102727"/>
                  <a:gd name="connsiteX16" fmla="*/ 28496 w 148178"/>
                  <a:gd name="connsiteY16" fmla="*/ 51434 h 102727"/>
                  <a:gd name="connsiteX17" fmla="*/ 11398 w 148178"/>
                  <a:gd name="connsiteY17" fmla="*/ 77081 h 102727"/>
                  <a:gd name="connsiteX18" fmla="*/ 54142 w 148178"/>
                  <a:gd name="connsiteY18" fmla="*/ 91329 h 102727"/>
                  <a:gd name="connsiteX19" fmla="*/ 133932 w 148178"/>
                  <a:gd name="connsiteY19" fmla="*/ 71382 h 102727"/>
                  <a:gd name="connsiteX20" fmla="*/ 133932 w 148178"/>
                  <a:gd name="connsiteY20" fmla="*/ 62833 h 102727"/>
                  <a:gd name="connsiteX21" fmla="*/ 131082 w 148178"/>
                  <a:gd name="connsiteY21" fmla="*/ 62833 h 102727"/>
                  <a:gd name="connsiteX22" fmla="*/ 131082 w 148178"/>
                  <a:gd name="connsiteY22" fmla="*/ 62833 h 102727"/>
                  <a:gd name="connsiteX23" fmla="*/ 28496 w 148178"/>
                  <a:gd name="connsiteY23" fmla="*/ 51434 h 102727"/>
                  <a:gd name="connsiteX24" fmla="*/ 28496 w 148178"/>
                  <a:gd name="connsiteY24" fmla="*/ 51434 h 102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48178" h="102727">
                    <a:moveTo>
                      <a:pt x="68390" y="102728"/>
                    </a:moveTo>
                    <a:cubicBezTo>
                      <a:pt x="62692" y="102728"/>
                      <a:pt x="59842" y="102728"/>
                      <a:pt x="54142" y="102728"/>
                    </a:cubicBezTo>
                    <a:cubicBezTo>
                      <a:pt x="25646" y="102728"/>
                      <a:pt x="0" y="99878"/>
                      <a:pt x="0" y="77081"/>
                    </a:cubicBezTo>
                    <a:cubicBezTo>
                      <a:pt x="0" y="59983"/>
                      <a:pt x="19948" y="42886"/>
                      <a:pt x="22797" y="42886"/>
                    </a:cubicBezTo>
                    <a:cubicBezTo>
                      <a:pt x="22797" y="37186"/>
                      <a:pt x="22797" y="34337"/>
                      <a:pt x="22797" y="31487"/>
                    </a:cubicBezTo>
                    <a:cubicBezTo>
                      <a:pt x="22797" y="25788"/>
                      <a:pt x="25646" y="20089"/>
                      <a:pt x="31346" y="14390"/>
                    </a:cubicBezTo>
                    <a:cubicBezTo>
                      <a:pt x="54142" y="-5558"/>
                      <a:pt x="116834" y="142"/>
                      <a:pt x="122534" y="2991"/>
                    </a:cubicBezTo>
                    <a:cubicBezTo>
                      <a:pt x="125382" y="2991"/>
                      <a:pt x="128232" y="5841"/>
                      <a:pt x="128232" y="8690"/>
                    </a:cubicBezTo>
                    <a:cubicBezTo>
                      <a:pt x="128232" y="11540"/>
                      <a:pt x="125382" y="14390"/>
                      <a:pt x="122534" y="14390"/>
                    </a:cubicBezTo>
                    <a:cubicBezTo>
                      <a:pt x="105436" y="11540"/>
                      <a:pt x="54142" y="11540"/>
                      <a:pt x="39894" y="22938"/>
                    </a:cubicBezTo>
                    <a:cubicBezTo>
                      <a:pt x="37045" y="25788"/>
                      <a:pt x="37045" y="28638"/>
                      <a:pt x="37045" y="31487"/>
                    </a:cubicBezTo>
                    <a:cubicBezTo>
                      <a:pt x="37045" y="37186"/>
                      <a:pt x="37045" y="40036"/>
                      <a:pt x="39894" y="42886"/>
                    </a:cubicBezTo>
                    <a:cubicBezTo>
                      <a:pt x="51293" y="51434"/>
                      <a:pt x="82638" y="54284"/>
                      <a:pt x="133932" y="48585"/>
                    </a:cubicBezTo>
                    <a:cubicBezTo>
                      <a:pt x="133932" y="48585"/>
                      <a:pt x="142480" y="48585"/>
                      <a:pt x="145330" y="54284"/>
                    </a:cubicBezTo>
                    <a:cubicBezTo>
                      <a:pt x="148179" y="59983"/>
                      <a:pt x="148179" y="65682"/>
                      <a:pt x="148179" y="74231"/>
                    </a:cubicBezTo>
                    <a:cubicBezTo>
                      <a:pt x="136782" y="97028"/>
                      <a:pt x="99736" y="102728"/>
                      <a:pt x="68390" y="102728"/>
                    </a:cubicBezTo>
                    <a:close/>
                    <a:moveTo>
                      <a:pt x="28496" y="51434"/>
                    </a:moveTo>
                    <a:cubicBezTo>
                      <a:pt x="22797" y="57134"/>
                      <a:pt x="11398" y="68532"/>
                      <a:pt x="11398" y="77081"/>
                    </a:cubicBezTo>
                    <a:cubicBezTo>
                      <a:pt x="11398" y="85630"/>
                      <a:pt x="19948" y="88479"/>
                      <a:pt x="54142" y="91329"/>
                    </a:cubicBezTo>
                    <a:cubicBezTo>
                      <a:pt x="99736" y="94178"/>
                      <a:pt x="128232" y="85630"/>
                      <a:pt x="133932" y="71382"/>
                    </a:cubicBezTo>
                    <a:cubicBezTo>
                      <a:pt x="136782" y="65682"/>
                      <a:pt x="133932" y="62833"/>
                      <a:pt x="133932" y="62833"/>
                    </a:cubicBezTo>
                    <a:cubicBezTo>
                      <a:pt x="133932" y="62833"/>
                      <a:pt x="131082" y="62833"/>
                      <a:pt x="131082" y="62833"/>
                    </a:cubicBezTo>
                    <a:lnTo>
                      <a:pt x="131082" y="62833"/>
                    </a:lnTo>
                    <a:cubicBezTo>
                      <a:pt x="56992" y="68532"/>
                      <a:pt x="37045" y="59983"/>
                      <a:pt x="28496" y="51434"/>
                    </a:cubicBezTo>
                    <a:lnTo>
                      <a:pt x="28496" y="51434"/>
                    </a:ln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E5C36AB5-A7E9-4EB3-98D3-DB8EEC65DF78}"/>
                  </a:ext>
                </a:extLst>
              </p:cNvPr>
              <p:cNvSpPr/>
              <p:nvPr/>
            </p:nvSpPr>
            <p:spPr>
              <a:xfrm>
                <a:off x="16768083" y="9431926"/>
                <a:ext cx="133795" cy="51292"/>
              </a:xfrm>
              <a:custGeom>
                <a:avLst/>
                <a:gdLst>
                  <a:gd name="connsiteX0" fmla="*/ 61438 w 133795"/>
                  <a:gd name="connsiteY0" fmla="*/ 51293 h 51292"/>
                  <a:gd name="connsiteX1" fmla="*/ 24392 w 133795"/>
                  <a:gd name="connsiteY1" fmla="*/ 48444 h 51292"/>
                  <a:gd name="connsiteX2" fmla="*/ 1596 w 133795"/>
                  <a:gd name="connsiteY2" fmla="*/ 34196 h 51292"/>
                  <a:gd name="connsiteX3" fmla="*/ 7295 w 133795"/>
                  <a:gd name="connsiteY3" fmla="*/ 2850 h 51292"/>
                  <a:gd name="connsiteX4" fmla="*/ 15844 w 133795"/>
                  <a:gd name="connsiteY4" fmla="*/ 0 h 51292"/>
                  <a:gd name="connsiteX5" fmla="*/ 18694 w 133795"/>
                  <a:gd name="connsiteY5" fmla="*/ 8548 h 51292"/>
                  <a:gd name="connsiteX6" fmla="*/ 15844 w 133795"/>
                  <a:gd name="connsiteY6" fmla="*/ 28496 h 51292"/>
                  <a:gd name="connsiteX7" fmla="*/ 30092 w 133795"/>
                  <a:gd name="connsiteY7" fmla="*/ 37045 h 51292"/>
                  <a:gd name="connsiteX8" fmla="*/ 115580 w 133795"/>
                  <a:gd name="connsiteY8" fmla="*/ 34196 h 51292"/>
                  <a:gd name="connsiteX9" fmla="*/ 121279 w 133795"/>
                  <a:gd name="connsiteY9" fmla="*/ 25646 h 51292"/>
                  <a:gd name="connsiteX10" fmla="*/ 118430 w 133795"/>
                  <a:gd name="connsiteY10" fmla="*/ 11398 h 51292"/>
                  <a:gd name="connsiteX11" fmla="*/ 118430 w 133795"/>
                  <a:gd name="connsiteY11" fmla="*/ 2850 h 51292"/>
                  <a:gd name="connsiteX12" fmla="*/ 126978 w 133795"/>
                  <a:gd name="connsiteY12" fmla="*/ 2850 h 51292"/>
                  <a:gd name="connsiteX13" fmla="*/ 132678 w 133795"/>
                  <a:gd name="connsiteY13" fmla="*/ 28496 h 51292"/>
                  <a:gd name="connsiteX14" fmla="*/ 121279 w 133795"/>
                  <a:gd name="connsiteY14" fmla="*/ 45594 h 51292"/>
                  <a:gd name="connsiteX15" fmla="*/ 61438 w 133795"/>
                  <a:gd name="connsiteY15" fmla="*/ 51293 h 5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3795" h="51292">
                    <a:moveTo>
                      <a:pt x="61438" y="51293"/>
                    </a:moveTo>
                    <a:cubicBezTo>
                      <a:pt x="50039" y="51293"/>
                      <a:pt x="35791" y="51293"/>
                      <a:pt x="24392" y="48444"/>
                    </a:cubicBezTo>
                    <a:cubicBezTo>
                      <a:pt x="12994" y="45594"/>
                      <a:pt x="4446" y="39894"/>
                      <a:pt x="1596" y="34196"/>
                    </a:cubicBezTo>
                    <a:cubicBezTo>
                      <a:pt x="-4104" y="19948"/>
                      <a:pt x="7295" y="5700"/>
                      <a:pt x="7295" y="2850"/>
                    </a:cubicBezTo>
                    <a:cubicBezTo>
                      <a:pt x="10144" y="0"/>
                      <a:pt x="12994" y="0"/>
                      <a:pt x="15844" y="0"/>
                    </a:cubicBezTo>
                    <a:cubicBezTo>
                      <a:pt x="18694" y="2850"/>
                      <a:pt x="18694" y="5700"/>
                      <a:pt x="18694" y="8548"/>
                    </a:cubicBezTo>
                    <a:cubicBezTo>
                      <a:pt x="15844" y="11398"/>
                      <a:pt x="12994" y="22796"/>
                      <a:pt x="15844" y="28496"/>
                    </a:cubicBezTo>
                    <a:cubicBezTo>
                      <a:pt x="18694" y="34196"/>
                      <a:pt x="21543" y="37045"/>
                      <a:pt x="30092" y="37045"/>
                    </a:cubicBezTo>
                    <a:cubicBezTo>
                      <a:pt x="61438" y="42744"/>
                      <a:pt x="104182" y="39894"/>
                      <a:pt x="115580" y="34196"/>
                    </a:cubicBezTo>
                    <a:cubicBezTo>
                      <a:pt x="118430" y="34196"/>
                      <a:pt x="121279" y="28496"/>
                      <a:pt x="121279" y="25646"/>
                    </a:cubicBezTo>
                    <a:cubicBezTo>
                      <a:pt x="121279" y="19948"/>
                      <a:pt x="121279" y="11398"/>
                      <a:pt x="118430" y="11398"/>
                    </a:cubicBezTo>
                    <a:cubicBezTo>
                      <a:pt x="115580" y="8548"/>
                      <a:pt x="115580" y="5700"/>
                      <a:pt x="118430" y="2850"/>
                    </a:cubicBezTo>
                    <a:cubicBezTo>
                      <a:pt x="121279" y="0"/>
                      <a:pt x="124129" y="0"/>
                      <a:pt x="126978" y="2850"/>
                    </a:cubicBezTo>
                    <a:cubicBezTo>
                      <a:pt x="132678" y="8548"/>
                      <a:pt x="135527" y="19948"/>
                      <a:pt x="132678" y="28496"/>
                    </a:cubicBezTo>
                    <a:cubicBezTo>
                      <a:pt x="132678" y="37045"/>
                      <a:pt x="126978" y="42744"/>
                      <a:pt x="121279" y="45594"/>
                    </a:cubicBezTo>
                    <a:cubicBezTo>
                      <a:pt x="104182" y="48444"/>
                      <a:pt x="84234" y="51293"/>
                      <a:pt x="61438" y="51293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1F375EA4-25F4-4D2F-9544-283C17DBD774}"/>
                </a:ext>
              </a:extLst>
            </p:cNvPr>
            <p:cNvSpPr/>
            <p:nvPr/>
          </p:nvSpPr>
          <p:spPr>
            <a:xfrm>
              <a:off x="16708076" y="9371236"/>
              <a:ext cx="119945" cy="97817"/>
            </a:xfrm>
            <a:custGeom>
              <a:avLst/>
              <a:gdLst>
                <a:gd name="connsiteX0" fmla="*/ 92949 w 119945"/>
                <a:gd name="connsiteY0" fmla="*/ 6548 h 97817"/>
                <a:gd name="connsiteX1" fmla="*/ 4611 w 119945"/>
                <a:gd name="connsiteY1" fmla="*/ 17946 h 97817"/>
                <a:gd name="connsiteX2" fmla="*/ 18859 w 119945"/>
                <a:gd name="connsiteY2" fmla="*/ 97735 h 97817"/>
                <a:gd name="connsiteX3" fmla="*/ 44505 w 119945"/>
                <a:gd name="connsiteY3" fmla="*/ 52142 h 97817"/>
                <a:gd name="connsiteX4" fmla="*/ 95798 w 119945"/>
                <a:gd name="connsiteY4" fmla="*/ 57840 h 97817"/>
                <a:gd name="connsiteX5" fmla="*/ 115745 w 119945"/>
                <a:gd name="connsiteY5" fmla="*/ 69239 h 97817"/>
                <a:gd name="connsiteX6" fmla="*/ 92949 w 119945"/>
                <a:gd name="connsiteY6" fmla="*/ 6548 h 9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945" h="97817">
                  <a:moveTo>
                    <a:pt x="92949" y="6548"/>
                  </a:moveTo>
                  <a:cubicBezTo>
                    <a:pt x="70152" y="-7700"/>
                    <a:pt x="24558" y="3698"/>
                    <a:pt x="4611" y="17946"/>
                  </a:cubicBezTo>
                  <a:cubicBezTo>
                    <a:pt x="-9637" y="29344"/>
                    <a:pt x="13160" y="100584"/>
                    <a:pt x="18859" y="97735"/>
                  </a:cubicBezTo>
                  <a:cubicBezTo>
                    <a:pt x="27408" y="92036"/>
                    <a:pt x="44505" y="72088"/>
                    <a:pt x="44505" y="52142"/>
                  </a:cubicBezTo>
                  <a:cubicBezTo>
                    <a:pt x="64453" y="43592"/>
                    <a:pt x="78701" y="49292"/>
                    <a:pt x="95798" y="57840"/>
                  </a:cubicBezTo>
                  <a:cubicBezTo>
                    <a:pt x="101497" y="60690"/>
                    <a:pt x="110046" y="74938"/>
                    <a:pt x="115745" y="69239"/>
                  </a:cubicBezTo>
                  <a:cubicBezTo>
                    <a:pt x="129993" y="57840"/>
                    <a:pt x="104347" y="15096"/>
                    <a:pt x="92949" y="6548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ED59BF5C-5CE1-48B9-906E-05A44EFA4622}"/>
                </a:ext>
              </a:extLst>
            </p:cNvPr>
            <p:cNvSpPr/>
            <p:nvPr/>
          </p:nvSpPr>
          <p:spPr>
            <a:xfrm>
              <a:off x="16702958" y="9362603"/>
              <a:ext cx="129842" cy="106367"/>
            </a:xfrm>
            <a:custGeom>
              <a:avLst/>
              <a:gdLst>
                <a:gd name="connsiteX0" fmla="*/ 35376 w 129842"/>
                <a:gd name="connsiteY0" fmla="*/ 106367 h 106367"/>
                <a:gd name="connsiteX1" fmla="*/ 29676 w 129842"/>
                <a:gd name="connsiteY1" fmla="*/ 103518 h 106367"/>
                <a:gd name="connsiteX2" fmla="*/ 29676 w 129842"/>
                <a:gd name="connsiteY2" fmla="*/ 94969 h 106367"/>
                <a:gd name="connsiteX3" fmla="*/ 41075 w 129842"/>
                <a:gd name="connsiteY3" fmla="*/ 60774 h 106367"/>
                <a:gd name="connsiteX4" fmla="*/ 43924 w 129842"/>
                <a:gd name="connsiteY4" fmla="*/ 55075 h 106367"/>
                <a:gd name="connsiteX5" fmla="*/ 103766 w 129842"/>
                <a:gd name="connsiteY5" fmla="*/ 63623 h 106367"/>
                <a:gd name="connsiteX6" fmla="*/ 118014 w 129842"/>
                <a:gd name="connsiteY6" fmla="*/ 69323 h 106367"/>
                <a:gd name="connsiteX7" fmla="*/ 120864 w 129842"/>
                <a:gd name="connsiteY7" fmla="*/ 66473 h 106367"/>
                <a:gd name="connsiteX8" fmla="*/ 92368 w 129842"/>
                <a:gd name="connsiteY8" fmla="*/ 18030 h 106367"/>
                <a:gd name="connsiteX9" fmla="*/ 9729 w 129842"/>
                <a:gd name="connsiteY9" fmla="*/ 32278 h 106367"/>
                <a:gd name="connsiteX10" fmla="*/ 1180 w 129842"/>
                <a:gd name="connsiteY10" fmla="*/ 29429 h 106367"/>
                <a:gd name="connsiteX11" fmla="*/ 4030 w 129842"/>
                <a:gd name="connsiteY11" fmla="*/ 20879 h 106367"/>
                <a:gd name="connsiteX12" fmla="*/ 98067 w 129842"/>
                <a:gd name="connsiteY12" fmla="*/ 9481 h 106367"/>
                <a:gd name="connsiteX13" fmla="*/ 129412 w 129842"/>
                <a:gd name="connsiteY13" fmla="*/ 69323 h 106367"/>
                <a:gd name="connsiteX14" fmla="*/ 120864 w 129842"/>
                <a:gd name="connsiteY14" fmla="*/ 80721 h 106367"/>
                <a:gd name="connsiteX15" fmla="*/ 95217 w 129842"/>
                <a:gd name="connsiteY15" fmla="*/ 72173 h 106367"/>
                <a:gd name="connsiteX16" fmla="*/ 49624 w 129842"/>
                <a:gd name="connsiteY16" fmla="*/ 60774 h 106367"/>
                <a:gd name="connsiteX17" fmla="*/ 32526 w 129842"/>
                <a:gd name="connsiteY17" fmla="*/ 97819 h 106367"/>
                <a:gd name="connsiteX18" fmla="*/ 35376 w 129842"/>
                <a:gd name="connsiteY18" fmla="*/ 106367 h 106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9842" h="106367">
                  <a:moveTo>
                    <a:pt x="35376" y="106367"/>
                  </a:moveTo>
                  <a:cubicBezTo>
                    <a:pt x="32526" y="106367"/>
                    <a:pt x="32526" y="106367"/>
                    <a:pt x="29676" y="103518"/>
                  </a:cubicBezTo>
                  <a:cubicBezTo>
                    <a:pt x="26827" y="100669"/>
                    <a:pt x="29676" y="97819"/>
                    <a:pt x="29676" y="94969"/>
                  </a:cubicBezTo>
                  <a:cubicBezTo>
                    <a:pt x="38225" y="86421"/>
                    <a:pt x="41075" y="69323"/>
                    <a:pt x="41075" y="60774"/>
                  </a:cubicBezTo>
                  <a:cubicBezTo>
                    <a:pt x="41075" y="57925"/>
                    <a:pt x="41075" y="57925"/>
                    <a:pt x="43924" y="55075"/>
                  </a:cubicBezTo>
                  <a:cubicBezTo>
                    <a:pt x="69571" y="43677"/>
                    <a:pt x="89518" y="57925"/>
                    <a:pt x="103766" y="63623"/>
                  </a:cubicBezTo>
                  <a:cubicBezTo>
                    <a:pt x="109466" y="66473"/>
                    <a:pt x="115164" y="72173"/>
                    <a:pt x="118014" y="69323"/>
                  </a:cubicBezTo>
                  <a:cubicBezTo>
                    <a:pt x="118014" y="69323"/>
                    <a:pt x="120864" y="69323"/>
                    <a:pt x="120864" y="66473"/>
                  </a:cubicBezTo>
                  <a:cubicBezTo>
                    <a:pt x="123714" y="57925"/>
                    <a:pt x="115164" y="35127"/>
                    <a:pt x="92368" y="18030"/>
                  </a:cubicBezTo>
                  <a:cubicBezTo>
                    <a:pt x="72420" y="932"/>
                    <a:pt x="26827" y="20879"/>
                    <a:pt x="9729" y="32278"/>
                  </a:cubicBezTo>
                  <a:cubicBezTo>
                    <a:pt x="6880" y="35127"/>
                    <a:pt x="4030" y="32278"/>
                    <a:pt x="1180" y="29429"/>
                  </a:cubicBezTo>
                  <a:cubicBezTo>
                    <a:pt x="-1669" y="26579"/>
                    <a:pt x="1180" y="23729"/>
                    <a:pt x="4030" y="20879"/>
                  </a:cubicBezTo>
                  <a:cubicBezTo>
                    <a:pt x="6880" y="18030"/>
                    <a:pt x="66721" y="-16165"/>
                    <a:pt x="98067" y="9481"/>
                  </a:cubicBezTo>
                  <a:cubicBezTo>
                    <a:pt x="120864" y="29429"/>
                    <a:pt x="132262" y="55075"/>
                    <a:pt x="129412" y="69323"/>
                  </a:cubicBezTo>
                  <a:cubicBezTo>
                    <a:pt x="129412" y="75022"/>
                    <a:pt x="123714" y="80721"/>
                    <a:pt x="120864" y="80721"/>
                  </a:cubicBezTo>
                  <a:cubicBezTo>
                    <a:pt x="112315" y="83571"/>
                    <a:pt x="106616" y="77871"/>
                    <a:pt x="95217" y="72173"/>
                  </a:cubicBezTo>
                  <a:cubicBezTo>
                    <a:pt x="83819" y="63623"/>
                    <a:pt x="69571" y="55075"/>
                    <a:pt x="49624" y="60774"/>
                  </a:cubicBezTo>
                  <a:cubicBezTo>
                    <a:pt x="49624" y="69323"/>
                    <a:pt x="46774" y="89270"/>
                    <a:pt x="32526" y="97819"/>
                  </a:cubicBezTo>
                  <a:cubicBezTo>
                    <a:pt x="35376" y="103518"/>
                    <a:pt x="35376" y="106367"/>
                    <a:pt x="35376" y="106367"/>
                  </a:cubicBezTo>
                  <a:close/>
                </a:path>
              </a:pathLst>
            </a:custGeom>
            <a:solidFill>
              <a:srgbClr val="E58777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091400539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706BE657-B96D-4B54-AD07-77E2C91E40ED}"/>
              </a:ext>
            </a:extLst>
          </p:cNvPr>
          <p:cNvGrpSpPr/>
          <p:nvPr/>
        </p:nvGrpSpPr>
        <p:grpSpPr>
          <a:xfrm>
            <a:off x="7162255" y="1980353"/>
            <a:ext cx="1958728" cy="4876463"/>
            <a:chOff x="22589067" y="7554912"/>
            <a:chExt cx="1958728" cy="4876463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847BF7A5-3203-4CE9-84BF-76C6E58A4E9A}"/>
                </a:ext>
              </a:extLst>
            </p:cNvPr>
            <p:cNvSpPr/>
            <p:nvPr/>
          </p:nvSpPr>
          <p:spPr>
            <a:xfrm>
              <a:off x="22973980" y="8263393"/>
              <a:ext cx="444339" cy="749366"/>
            </a:xfrm>
            <a:custGeom>
              <a:avLst/>
              <a:gdLst>
                <a:gd name="connsiteX0" fmla="*/ 7836 w 444339"/>
                <a:gd name="connsiteY0" fmla="*/ 712597 h 749366"/>
                <a:gd name="connsiteX1" fmla="*/ 218707 w 444339"/>
                <a:gd name="connsiteY1" fmla="*/ 723995 h 749366"/>
                <a:gd name="connsiteX2" fmla="*/ 298496 w 444339"/>
                <a:gd name="connsiteY2" fmla="*/ 530222 h 749366"/>
                <a:gd name="connsiteX3" fmla="*/ 378284 w 444339"/>
                <a:gd name="connsiteY3" fmla="*/ 570117 h 749366"/>
                <a:gd name="connsiteX4" fmla="*/ 332691 w 444339"/>
                <a:gd name="connsiteY4" fmla="*/ 322201 h 749366"/>
                <a:gd name="connsiteX5" fmla="*/ 378284 w 444339"/>
                <a:gd name="connsiteY5" fmla="*/ 188270 h 749366"/>
                <a:gd name="connsiteX6" fmla="*/ 403931 w 444339"/>
                <a:gd name="connsiteY6" fmla="*/ 114180 h 749366"/>
                <a:gd name="connsiteX7" fmla="*/ 438127 w 444339"/>
                <a:gd name="connsiteY7" fmla="*/ 97082 h 749366"/>
                <a:gd name="connsiteX8" fmla="*/ 432427 w 444339"/>
                <a:gd name="connsiteY8" fmla="*/ 71436 h 749366"/>
                <a:gd name="connsiteX9" fmla="*/ 298496 w 444339"/>
                <a:gd name="connsiteY9" fmla="*/ 196 h 749366"/>
                <a:gd name="connsiteX10" fmla="*/ 238655 w 444339"/>
                <a:gd name="connsiteY10" fmla="*/ 22993 h 749366"/>
                <a:gd name="connsiteX11" fmla="*/ 218707 w 444339"/>
                <a:gd name="connsiteY11" fmla="*/ 48639 h 749366"/>
                <a:gd name="connsiteX12" fmla="*/ 127519 w 444339"/>
                <a:gd name="connsiteY12" fmla="*/ 139826 h 749366"/>
                <a:gd name="connsiteX13" fmla="*/ 76227 w 444339"/>
                <a:gd name="connsiteY13" fmla="*/ 228164 h 749366"/>
                <a:gd name="connsiteX14" fmla="*/ 81926 w 444339"/>
                <a:gd name="connsiteY14" fmla="*/ 242412 h 749366"/>
                <a:gd name="connsiteX15" fmla="*/ 64828 w 444339"/>
                <a:gd name="connsiteY15" fmla="*/ 325050 h 749366"/>
                <a:gd name="connsiteX16" fmla="*/ 44882 w 444339"/>
                <a:gd name="connsiteY16" fmla="*/ 441884 h 749366"/>
                <a:gd name="connsiteX17" fmla="*/ 22084 w 444339"/>
                <a:gd name="connsiteY17" fmla="*/ 555869 h 749366"/>
                <a:gd name="connsiteX18" fmla="*/ 16386 w 444339"/>
                <a:gd name="connsiteY18" fmla="*/ 641357 h 749366"/>
                <a:gd name="connsiteX19" fmla="*/ 4987 w 444339"/>
                <a:gd name="connsiteY19" fmla="*/ 667003 h 749366"/>
                <a:gd name="connsiteX20" fmla="*/ 7836 w 444339"/>
                <a:gd name="connsiteY20" fmla="*/ 712597 h 74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4339" h="749366">
                  <a:moveTo>
                    <a:pt x="7836" y="712597"/>
                  </a:moveTo>
                  <a:cubicBezTo>
                    <a:pt x="42031" y="769589"/>
                    <a:pt x="170263" y="749641"/>
                    <a:pt x="218707" y="723995"/>
                  </a:cubicBezTo>
                  <a:cubicBezTo>
                    <a:pt x="304195" y="681251"/>
                    <a:pt x="318443" y="604312"/>
                    <a:pt x="298496" y="530222"/>
                  </a:cubicBezTo>
                  <a:cubicBezTo>
                    <a:pt x="381135" y="598613"/>
                    <a:pt x="369736" y="618560"/>
                    <a:pt x="378284" y="570117"/>
                  </a:cubicBezTo>
                  <a:cubicBezTo>
                    <a:pt x="386834" y="530222"/>
                    <a:pt x="326992" y="370644"/>
                    <a:pt x="332691" y="322201"/>
                  </a:cubicBezTo>
                  <a:cubicBezTo>
                    <a:pt x="341240" y="273758"/>
                    <a:pt x="355488" y="231014"/>
                    <a:pt x="378284" y="188270"/>
                  </a:cubicBezTo>
                  <a:cubicBezTo>
                    <a:pt x="386834" y="168322"/>
                    <a:pt x="395383" y="139826"/>
                    <a:pt x="403931" y="114180"/>
                  </a:cubicBezTo>
                  <a:cubicBezTo>
                    <a:pt x="415330" y="108481"/>
                    <a:pt x="426728" y="102782"/>
                    <a:pt x="438127" y="97082"/>
                  </a:cubicBezTo>
                  <a:cubicBezTo>
                    <a:pt x="449524" y="88534"/>
                    <a:pt x="443826" y="74286"/>
                    <a:pt x="432427" y="71436"/>
                  </a:cubicBezTo>
                  <a:cubicBezTo>
                    <a:pt x="415330" y="25842"/>
                    <a:pt x="352639" y="-2654"/>
                    <a:pt x="298496" y="196"/>
                  </a:cubicBezTo>
                  <a:cubicBezTo>
                    <a:pt x="284248" y="196"/>
                    <a:pt x="258602" y="8745"/>
                    <a:pt x="238655" y="22993"/>
                  </a:cubicBezTo>
                  <a:cubicBezTo>
                    <a:pt x="230106" y="28692"/>
                    <a:pt x="224407" y="37241"/>
                    <a:pt x="218707" y="48639"/>
                  </a:cubicBezTo>
                  <a:cubicBezTo>
                    <a:pt x="161715" y="42940"/>
                    <a:pt x="118971" y="82834"/>
                    <a:pt x="127519" y="139826"/>
                  </a:cubicBezTo>
                  <a:cubicBezTo>
                    <a:pt x="84775" y="139826"/>
                    <a:pt x="67678" y="185420"/>
                    <a:pt x="76227" y="228164"/>
                  </a:cubicBezTo>
                  <a:cubicBezTo>
                    <a:pt x="79076" y="236713"/>
                    <a:pt x="79076" y="239562"/>
                    <a:pt x="81926" y="242412"/>
                  </a:cubicBezTo>
                  <a:cubicBezTo>
                    <a:pt x="59130" y="265209"/>
                    <a:pt x="50580" y="296554"/>
                    <a:pt x="64828" y="325050"/>
                  </a:cubicBezTo>
                  <a:cubicBezTo>
                    <a:pt x="24934" y="344998"/>
                    <a:pt x="22084" y="404839"/>
                    <a:pt x="44882" y="441884"/>
                  </a:cubicBezTo>
                  <a:cubicBezTo>
                    <a:pt x="4987" y="467531"/>
                    <a:pt x="4987" y="513124"/>
                    <a:pt x="22084" y="555869"/>
                  </a:cubicBezTo>
                  <a:cubicBezTo>
                    <a:pt x="-9261" y="575816"/>
                    <a:pt x="-3562" y="612861"/>
                    <a:pt x="16386" y="641357"/>
                  </a:cubicBezTo>
                  <a:cubicBezTo>
                    <a:pt x="7836" y="649906"/>
                    <a:pt x="4987" y="658454"/>
                    <a:pt x="4987" y="667003"/>
                  </a:cubicBezTo>
                  <a:cubicBezTo>
                    <a:pt x="-713" y="678401"/>
                    <a:pt x="-713" y="692649"/>
                    <a:pt x="7836" y="712597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C3F53102-714A-4F9B-A89B-3458876983BD}"/>
                </a:ext>
              </a:extLst>
            </p:cNvPr>
            <p:cNvSpPr/>
            <p:nvPr/>
          </p:nvSpPr>
          <p:spPr>
            <a:xfrm>
              <a:off x="22589067" y="8964283"/>
              <a:ext cx="611486" cy="764038"/>
            </a:xfrm>
            <a:custGeom>
              <a:avLst/>
              <a:gdLst>
                <a:gd name="connsiteX0" fmla="*/ 575124 w 611486"/>
                <a:gd name="connsiteY0" fmla="*/ 11706 h 764038"/>
                <a:gd name="connsiteX1" fmla="*/ 213224 w 611486"/>
                <a:gd name="connsiteY1" fmla="*/ 214028 h 764038"/>
                <a:gd name="connsiteX2" fmla="*/ 2354 w 611486"/>
                <a:gd name="connsiteY2" fmla="*/ 704160 h 764038"/>
                <a:gd name="connsiteX3" fmla="*/ 73595 w 611486"/>
                <a:gd name="connsiteY3" fmla="*/ 764002 h 764038"/>
                <a:gd name="connsiteX4" fmla="*/ 341456 w 611486"/>
                <a:gd name="connsiteY4" fmla="*/ 473343 h 764038"/>
                <a:gd name="connsiteX5" fmla="*/ 575124 w 611486"/>
                <a:gd name="connsiteY5" fmla="*/ 11706 h 76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1486" h="764038">
                  <a:moveTo>
                    <a:pt x="575124" y="11706"/>
                  </a:moveTo>
                  <a:cubicBezTo>
                    <a:pt x="489636" y="-48135"/>
                    <a:pt x="275916" y="137089"/>
                    <a:pt x="213224" y="214028"/>
                  </a:cubicBezTo>
                  <a:cubicBezTo>
                    <a:pt x="127736" y="322313"/>
                    <a:pt x="-20444" y="561680"/>
                    <a:pt x="2354" y="704160"/>
                  </a:cubicBezTo>
                  <a:cubicBezTo>
                    <a:pt x="8052" y="735506"/>
                    <a:pt x="5203" y="761152"/>
                    <a:pt x="73595" y="764002"/>
                  </a:cubicBezTo>
                  <a:cubicBezTo>
                    <a:pt x="116339" y="766852"/>
                    <a:pt x="233172" y="601575"/>
                    <a:pt x="341456" y="473343"/>
                  </a:cubicBezTo>
                  <a:cubicBezTo>
                    <a:pt x="503884" y="282419"/>
                    <a:pt x="691957" y="94345"/>
                    <a:pt x="575124" y="11706"/>
                  </a:cubicBezTo>
                  <a:close/>
                </a:path>
              </a:pathLst>
            </a:custGeom>
            <a:solidFill>
              <a:srgbClr val="F1DDB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81060694-1B02-467F-9112-C6CB41C13AB8}"/>
                </a:ext>
              </a:extLst>
            </p:cNvPr>
            <p:cNvSpPr/>
            <p:nvPr/>
          </p:nvSpPr>
          <p:spPr>
            <a:xfrm>
              <a:off x="23312712" y="8265004"/>
              <a:ext cx="565886" cy="904002"/>
            </a:xfrm>
            <a:custGeom>
              <a:avLst/>
              <a:gdLst>
                <a:gd name="connsiteX0" fmla="*/ 45251 w 565886"/>
                <a:gd name="connsiteY0" fmla="*/ 246500 h 904002"/>
                <a:gd name="connsiteX1" fmla="*/ 65199 w 565886"/>
                <a:gd name="connsiteY1" fmla="*/ 84073 h 904002"/>
                <a:gd name="connsiteX2" fmla="*/ 62350 w 565886"/>
                <a:gd name="connsiteY2" fmla="*/ 69825 h 904002"/>
                <a:gd name="connsiteX3" fmla="*/ 216228 w 565886"/>
                <a:gd name="connsiteY3" fmla="*/ 49878 h 904002"/>
                <a:gd name="connsiteX4" fmla="*/ 301716 w 565886"/>
                <a:gd name="connsiteY4" fmla="*/ 92622 h 904002"/>
                <a:gd name="connsiteX5" fmla="*/ 298867 w 565886"/>
                <a:gd name="connsiteY5" fmla="*/ 152463 h 904002"/>
                <a:gd name="connsiteX6" fmla="*/ 298867 w 565886"/>
                <a:gd name="connsiteY6" fmla="*/ 152463 h 904002"/>
                <a:gd name="connsiteX7" fmla="*/ 353008 w 565886"/>
                <a:gd name="connsiteY7" fmla="*/ 280695 h 904002"/>
                <a:gd name="connsiteX8" fmla="*/ 401452 w 565886"/>
                <a:gd name="connsiteY8" fmla="*/ 317740 h 904002"/>
                <a:gd name="connsiteX9" fmla="*/ 441347 w 565886"/>
                <a:gd name="connsiteY9" fmla="*/ 380431 h 904002"/>
                <a:gd name="connsiteX10" fmla="*/ 435647 w 565886"/>
                <a:gd name="connsiteY10" fmla="*/ 420326 h 904002"/>
                <a:gd name="connsiteX11" fmla="*/ 512587 w 565886"/>
                <a:gd name="connsiteY11" fmla="*/ 491566 h 904002"/>
                <a:gd name="connsiteX12" fmla="*/ 486940 w 565886"/>
                <a:gd name="connsiteY12" fmla="*/ 557107 h 904002"/>
                <a:gd name="connsiteX13" fmla="*/ 526835 w 565886"/>
                <a:gd name="connsiteY13" fmla="*/ 716685 h 904002"/>
                <a:gd name="connsiteX14" fmla="*/ 549632 w 565886"/>
                <a:gd name="connsiteY14" fmla="*/ 833518 h 904002"/>
                <a:gd name="connsiteX15" fmla="*/ 481240 w 565886"/>
                <a:gd name="connsiteY15" fmla="*/ 836368 h 904002"/>
                <a:gd name="connsiteX16" fmla="*/ 381504 w 565886"/>
                <a:gd name="connsiteY16" fmla="*/ 901909 h 904002"/>
                <a:gd name="connsiteX17" fmla="*/ 318814 w 565886"/>
                <a:gd name="connsiteY17" fmla="*/ 779376 h 904002"/>
                <a:gd name="connsiteX18" fmla="*/ 284619 w 565886"/>
                <a:gd name="connsiteY18" fmla="*/ 748030 h 904002"/>
                <a:gd name="connsiteX19" fmla="*/ 250423 w 565886"/>
                <a:gd name="connsiteY19" fmla="*/ 733782 h 904002"/>
                <a:gd name="connsiteX20" fmla="*/ 96544 w 565886"/>
                <a:gd name="connsiteY20" fmla="*/ 673941 h 904002"/>
                <a:gd name="connsiteX21" fmla="*/ 31003 w 565886"/>
                <a:gd name="connsiteY21" fmla="*/ 622648 h 904002"/>
                <a:gd name="connsiteX22" fmla="*/ 48102 w 565886"/>
                <a:gd name="connsiteY22" fmla="*/ 460220 h 904002"/>
                <a:gd name="connsiteX23" fmla="*/ 45251 w 565886"/>
                <a:gd name="connsiteY23" fmla="*/ 246500 h 904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65886" h="904002">
                  <a:moveTo>
                    <a:pt x="45251" y="246500"/>
                  </a:moveTo>
                  <a:cubicBezTo>
                    <a:pt x="-8890" y="203756"/>
                    <a:pt x="36703" y="132516"/>
                    <a:pt x="65199" y="84073"/>
                  </a:cubicBezTo>
                  <a:cubicBezTo>
                    <a:pt x="62350" y="81223"/>
                    <a:pt x="59499" y="75524"/>
                    <a:pt x="62350" y="69825"/>
                  </a:cubicBezTo>
                  <a:cubicBezTo>
                    <a:pt x="82296" y="-7115"/>
                    <a:pt x="219078" y="-29911"/>
                    <a:pt x="216228" y="49878"/>
                  </a:cubicBezTo>
                  <a:cubicBezTo>
                    <a:pt x="250423" y="52727"/>
                    <a:pt x="284619" y="61276"/>
                    <a:pt x="301716" y="92622"/>
                  </a:cubicBezTo>
                  <a:cubicBezTo>
                    <a:pt x="313115" y="112569"/>
                    <a:pt x="310264" y="135366"/>
                    <a:pt x="298867" y="152463"/>
                  </a:cubicBezTo>
                  <a:lnTo>
                    <a:pt x="298867" y="152463"/>
                  </a:lnTo>
                  <a:cubicBezTo>
                    <a:pt x="341611" y="163862"/>
                    <a:pt x="358708" y="232252"/>
                    <a:pt x="353008" y="280695"/>
                  </a:cubicBezTo>
                  <a:cubicBezTo>
                    <a:pt x="370107" y="283545"/>
                    <a:pt x="398603" y="306342"/>
                    <a:pt x="401452" y="317740"/>
                  </a:cubicBezTo>
                  <a:cubicBezTo>
                    <a:pt x="427099" y="326289"/>
                    <a:pt x="438496" y="351935"/>
                    <a:pt x="441347" y="380431"/>
                  </a:cubicBezTo>
                  <a:cubicBezTo>
                    <a:pt x="444196" y="397529"/>
                    <a:pt x="441347" y="408927"/>
                    <a:pt x="435647" y="420326"/>
                  </a:cubicBezTo>
                  <a:cubicBezTo>
                    <a:pt x="469843" y="431724"/>
                    <a:pt x="506887" y="451671"/>
                    <a:pt x="512587" y="491566"/>
                  </a:cubicBezTo>
                  <a:cubicBezTo>
                    <a:pt x="518287" y="520062"/>
                    <a:pt x="506887" y="542859"/>
                    <a:pt x="486940" y="557107"/>
                  </a:cubicBezTo>
                  <a:cubicBezTo>
                    <a:pt x="529684" y="599851"/>
                    <a:pt x="586676" y="688189"/>
                    <a:pt x="526835" y="716685"/>
                  </a:cubicBezTo>
                  <a:cubicBezTo>
                    <a:pt x="558180" y="748030"/>
                    <a:pt x="583827" y="796474"/>
                    <a:pt x="549632" y="833518"/>
                  </a:cubicBezTo>
                  <a:cubicBezTo>
                    <a:pt x="526835" y="856316"/>
                    <a:pt x="498339" y="853466"/>
                    <a:pt x="481240" y="836368"/>
                  </a:cubicBezTo>
                  <a:cubicBezTo>
                    <a:pt x="461295" y="876262"/>
                    <a:pt x="429948" y="913308"/>
                    <a:pt x="381504" y="901909"/>
                  </a:cubicBezTo>
                  <a:cubicBezTo>
                    <a:pt x="324512" y="887661"/>
                    <a:pt x="313115" y="830669"/>
                    <a:pt x="318814" y="779376"/>
                  </a:cubicBezTo>
                  <a:cubicBezTo>
                    <a:pt x="304566" y="773677"/>
                    <a:pt x="293167" y="762278"/>
                    <a:pt x="284619" y="748030"/>
                  </a:cubicBezTo>
                  <a:cubicBezTo>
                    <a:pt x="273220" y="745181"/>
                    <a:pt x="261822" y="739482"/>
                    <a:pt x="250423" y="733782"/>
                  </a:cubicBezTo>
                  <a:cubicBezTo>
                    <a:pt x="204830" y="813572"/>
                    <a:pt x="85146" y="767978"/>
                    <a:pt x="96544" y="673941"/>
                  </a:cubicBezTo>
                  <a:cubicBezTo>
                    <a:pt x="59499" y="671091"/>
                    <a:pt x="45251" y="671091"/>
                    <a:pt x="31003" y="622648"/>
                  </a:cubicBezTo>
                  <a:cubicBezTo>
                    <a:pt x="16755" y="568505"/>
                    <a:pt x="25304" y="511513"/>
                    <a:pt x="48102" y="460220"/>
                  </a:cubicBezTo>
                  <a:cubicBezTo>
                    <a:pt x="-31688" y="406078"/>
                    <a:pt x="2507" y="323439"/>
                    <a:pt x="45251" y="246500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C749F48F-490F-47A5-9444-466958F2CFFC}"/>
                </a:ext>
              </a:extLst>
            </p:cNvPr>
            <p:cNvGrpSpPr/>
            <p:nvPr/>
          </p:nvGrpSpPr>
          <p:grpSpPr>
            <a:xfrm>
              <a:off x="22878806" y="12096306"/>
              <a:ext cx="369448" cy="335069"/>
              <a:chOff x="22878806" y="12096306"/>
              <a:chExt cx="369448" cy="335069"/>
            </a:xfrm>
          </p:grpSpPr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3DF67EE7-1F34-4973-ACD1-8FDEC2C7073B}"/>
                  </a:ext>
                </a:extLst>
              </p:cNvPr>
              <p:cNvSpPr/>
              <p:nvPr/>
            </p:nvSpPr>
            <p:spPr>
              <a:xfrm>
                <a:off x="22878806" y="12210290"/>
                <a:ext cx="369448" cy="221085"/>
              </a:xfrm>
              <a:custGeom>
                <a:avLst/>
                <a:gdLst>
                  <a:gd name="connsiteX0" fmla="*/ 268288 w 369448"/>
                  <a:gd name="connsiteY0" fmla="*/ 0 h 221085"/>
                  <a:gd name="connsiteX1" fmla="*/ 120109 w 369448"/>
                  <a:gd name="connsiteY1" fmla="*/ 116834 h 221085"/>
                  <a:gd name="connsiteX2" fmla="*/ 302482 w 369448"/>
                  <a:gd name="connsiteY2" fmla="*/ 71240 h 221085"/>
                  <a:gd name="connsiteX3" fmla="*/ 368024 w 369448"/>
                  <a:gd name="connsiteY3" fmla="*/ 48444 h 221085"/>
                  <a:gd name="connsiteX4" fmla="*/ 362325 w 369448"/>
                  <a:gd name="connsiteY4" fmla="*/ 148180 h 221085"/>
                  <a:gd name="connsiteX5" fmla="*/ 145754 w 369448"/>
                  <a:gd name="connsiteY5" fmla="*/ 216570 h 221085"/>
                  <a:gd name="connsiteX6" fmla="*/ 17522 w 369448"/>
                  <a:gd name="connsiteY6" fmla="*/ 216570 h 221085"/>
                  <a:gd name="connsiteX7" fmla="*/ 11824 w 369448"/>
                  <a:gd name="connsiteY7" fmla="*/ 165277 h 221085"/>
                  <a:gd name="connsiteX8" fmla="*/ 268288 w 369448"/>
                  <a:gd name="connsiteY8" fmla="*/ 0 h 221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9448" h="221085">
                    <a:moveTo>
                      <a:pt x="268288" y="0"/>
                    </a:moveTo>
                    <a:cubicBezTo>
                      <a:pt x="268288" y="0"/>
                      <a:pt x="105861" y="105436"/>
                      <a:pt x="120109" y="116834"/>
                    </a:cubicBezTo>
                    <a:cubicBezTo>
                      <a:pt x="131506" y="131082"/>
                      <a:pt x="302482" y="71240"/>
                      <a:pt x="302482" y="71240"/>
                    </a:cubicBezTo>
                    <a:lnTo>
                      <a:pt x="368024" y="48444"/>
                    </a:lnTo>
                    <a:cubicBezTo>
                      <a:pt x="368024" y="48444"/>
                      <a:pt x="373722" y="125382"/>
                      <a:pt x="362325" y="148180"/>
                    </a:cubicBezTo>
                    <a:cubicBezTo>
                      <a:pt x="293934" y="182375"/>
                      <a:pt x="214145" y="205172"/>
                      <a:pt x="145754" y="216570"/>
                    </a:cubicBezTo>
                    <a:cubicBezTo>
                      <a:pt x="103010" y="225119"/>
                      <a:pt x="26072" y="219420"/>
                      <a:pt x="17522" y="216570"/>
                    </a:cubicBezTo>
                    <a:cubicBezTo>
                      <a:pt x="8973" y="213720"/>
                      <a:pt x="-13823" y="190924"/>
                      <a:pt x="11824" y="165277"/>
                    </a:cubicBezTo>
                    <a:cubicBezTo>
                      <a:pt x="68816" y="105436"/>
                      <a:pt x="268288" y="0"/>
                      <a:pt x="268288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653A9AE4-A5B8-4E8D-84DD-548462EBC05C}"/>
                  </a:ext>
                </a:extLst>
              </p:cNvPr>
              <p:cNvSpPr/>
              <p:nvPr/>
            </p:nvSpPr>
            <p:spPr>
              <a:xfrm>
                <a:off x="22997673" y="12096306"/>
                <a:ext cx="249156" cy="237475"/>
              </a:xfrm>
              <a:custGeom>
                <a:avLst/>
                <a:gdLst>
                  <a:gd name="connsiteX0" fmla="*/ 135173 w 249156"/>
                  <a:gd name="connsiteY0" fmla="*/ 0 h 237475"/>
                  <a:gd name="connsiteX1" fmla="*/ 149421 w 249156"/>
                  <a:gd name="connsiteY1" fmla="*/ 116834 h 237475"/>
                  <a:gd name="connsiteX2" fmla="*/ 1241 w 249156"/>
                  <a:gd name="connsiteY2" fmla="*/ 233668 h 237475"/>
                  <a:gd name="connsiteX3" fmla="*/ 223510 w 249156"/>
                  <a:gd name="connsiteY3" fmla="*/ 193773 h 237475"/>
                  <a:gd name="connsiteX4" fmla="*/ 249157 w 249156"/>
                  <a:gd name="connsiteY4" fmla="*/ 165277 h 237475"/>
                  <a:gd name="connsiteX5" fmla="*/ 249157 w 249156"/>
                  <a:gd name="connsiteY5" fmla="*/ 39894 h 237475"/>
                  <a:gd name="connsiteX6" fmla="*/ 135173 w 249156"/>
                  <a:gd name="connsiteY6" fmla="*/ 0 h 237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9156" h="237475">
                    <a:moveTo>
                      <a:pt x="135173" y="0"/>
                    </a:moveTo>
                    <a:lnTo>
                      <a:pt x="149421" y="116834"/>
                    </a:lnTo>
                    <a:cubicBezTo>
                      <a:pt x="149421" y="116834"/>
                      <a:pt x="-15858" y="213720"/>
                      <a:pt x="1241" y="233668"/>
                    </a:cubicBezTo>
                    <a:cubicBezTo>
                      <a:pt x="12638" y="247916"/>
                      <a:pt x="157969" y="219420"/>
                      <a:pt x="223510" y="193773"/>
                    </a:cubicBezTo>
                    <a:cubicBezTo>
                      <a:pt x="246306" y="185224"/>
                      <a:pt x="249157" y="165277"/>
                      <a:pt x="249157" y="165277"/>
                    </a:cubicBezTo>
                    <a:lnTo>
                      <a:pt x="249157" y="39894"/>
                    </a:lnTo>
                    <a:lnTo>
                      <a:pt x="135173" y="0"/>
                    </a:ln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610CC5F3-6175-4784-9562-203A30697241}"/>
                </a:ext>
              </a:extLst>
            </p:cNvPr>
            <p:cNvGrpSpPr/>
            <p:nvPr/>
          </p:nvGrpSpPr>
          <p:grpSpPr>
            <a:xfrm>
              <a:off x="24078913" y="11794248"/>
              <a:ext cx="279262" cy="454399"/>
              <a:chOff x="24078913" y="11794248"/>
              <a:chExt cx="279262" cy="454399"/>
            </a:xfrm>
          </p:grpSpPr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DE04B4DA-02B6-4B91-BF25-96BBB658315B}"/>
                  </a:ext>
                </a:extLst>
              </p:cNvPr>
              <p:cNvSpPr/>
              <p:nvPr/>
            </p:nvSpPr>
            <p:spPr>
              <a:xfrm>
                <a:off x="24165792" y="11862638"/>
                <a:ext cx="192384" cy="386009"/>
              </a:xfrm>
              <a:custGeom>
                <a:avLst/>
                <a:gdLst>
                  <a:gd name="connsiteX0" fmla="*/ 15708 w 192384"/>
                  <a:gd name="connsiteY0" fmla="*/ 56992 h 386009"/>
                  <a:gd name="connsiteX1" fmla="*/ 29956 w 192384"/>
                  <a:gd name="connsiteY1" fmla="*/ 245066 h 386009"/>
                  <a:gd name="connsiteX2" fmla="*/ 95497 w 192384"/>
                  <a:gd name="connsiteY2" fmla="*/ 68391 h 386009"/>
                  <a:gd name="connsiteX3" fmla="*/ 112594 w 192384"/>
                  <a:gd name="connsiteY3" fmla="*/ 0 h 386009"/>
                  <a:gd name="connsiteX4" fmla="*/ 192384 w 192384"/>
                  <a:gd name="connsiteY4" fmla="*/ 59842 h 386009"/>
                  <a:gd name="connsiteX5" fmla="*/ 126842 w 192384"/>
                  <a:gd name="connsiteY5" fmla="*/ 276412 h 386009"/>
                  <a:gd name="connsiteX6" fmla="*/ 52753 w 192384"/>
                  <a:gd name="connsiteY6" fmla="*/ 381848 h 386009"/>
                  <a:gd name="connsiteX7" fmla="*/ 4309 w 192384"/>
                  <a:gd name="connsiteY7" fmla="*/ 356201 h 386009"/>
                  <a:gd name="connsiteX8" fmla="*/ 15708 w 192384"/>
                  <a:gd name="connsiteY8" fmla="*/ 56992 h 386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2384" h="386009">
                    <a:moveTo>
                      <a:pt x="15708" y="56992"/>
                    </a:moveTo>
                    <a:cubicBezTo>
                      <a:pt x="15708" y="56992"/>
                      <a:pt x="12858" y="250766"/>
                      <a:pt x="29956" y="245066"/>
                    </a:cubicBezTo>
                    <a:cubicBezTo>
                      <a:pt x="47053" y="242216"/>
                      <a:pt x="95497" y="68391"/>
                      <a:pt x="95497" y="68391"/>
                    </a:cubicBezTo>
                    <a:lnTo>
                      <a:pt x="112594" y="0"/>
                    </a:lnTo>
                    <a:cubicBezTo>
                      <a:pt x="112594" y="0"/>
                      <a:pt x="178136" y="39895"/>
                      <a:pt x="192384" y="59842"/>
                    </a:cubicBezTo>
                    <a:cubicBezTo>
                      <a:pt x="183834" y="133932"/>
                      <a:pt x="155338" y="213720"/>
                      <a:pt x="126842" y="276412"/>
                    </a:cubicBezTo>
                    <a:cubicBezTo>
                      <a:pt x="109745" y="316306"/>
                      <a:pt x="61301" y="378998"/>
                      <a:pt x="52753" y="381848"/>
                    </a:cubicBezTo>
                    <a:cubicBezTo>
                      <a:pt x="44204" y="387546"/>
                      <a:pt x="12858" y="393246"/>
                      <a:pt x="4309" y="356201"/>
                    </a:cubicBezTo>
                    <a:cubicBezTo>
                      <a:pt x="-9939" y="279262"/>
                      <a:pt x="15708" y="56992"/>
                      <a:pt x="15708" y="56992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0B19E08E-C40C-487F-BF8E-7F713182C819}"/>
                  </a:ext>
                </a:extLst>
              </p:cNvPr>
              <p:cNvSpPr/>
              <p:nvPr/>
            </p:nvSpPr>
            <p:spPr>
              <a:xfrm>
                <a:off x="24078913" y="11794248"/>
                <a:ext cx="212034" cy="313488"/>
              </a:xfrm>
              <a:custGeom>
                <a:avLst/>
                <a:gdLst>
                  <a:gd name="connsiteX0" fmla="*/ 0 w 212034"/>
                  <a:gd name="connsiteY0" fmla="*/ 71240 h 313488"/>
                  <a:gd name="connsiteX1" fmla="*/ 102587 w 212034"/>
                  <a:gd name="connsiteY1" fmla="*/ 125382 h 313488"/>
                  <a:gd name="connsiteX2" fmla="*/ 116835 w 212034"/>
                  <a:gd name="connsiteY2" fmla="*/ 313456 h 313488"/>
                  <a:gd name="connsiteX3" fmla="*/ 210871 w 212034"/>
                  <a:gd name="connsiteY3" fmla="*/ 108285 h 313488"/>
                  <a:gd name="connsiteX4" fmla="*/ 199472 w 212034"/>
                  <a:gd name="connsiteY4" fmla="*/ 71240 h 313488"/>
                  <a:gd name="connsiteX5" fmla="*/ 96887 w 212034"/>
                  <a:gd name="connsiteY5" fmla="*/ 0 h 313488"/>
                  <a:gd name="connsiteX6" fmla="*/ 0 w 212034"/>
                  <a:gd name="connsiteY6" fmla="*/ 71240 h 313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2034" h="313488">
                    <a:moveTo>
                      <a:pt x="0" y="71240"/>
                    </a:moveTo>
                    <a:lnTo>
                      <a:pt x="102587" y="125382"/>
                    </a:lnTo>
                    <a:cubicBezTo>
                      <a:pt x="102587" y="125382"/>
                      <a:pt x="91188" y="316306"/>
                      <a:pt x="116835" y="313456"/>
                    </a:cubicBezTo>
                    <a:cubicBezTo>
                      <a:pt x="136782" y="313456"/>
                      <a:pt x="193774" y="176676"/>
                      <a:pt x="210871" y="108285"/>
                    </a:cubicBezTo>
                    <a:cubicBezTo>
                      <a:pt x="216571" y="85488"/>
                      <a:pt x="199472" y="71240"/>
                      <a:pt x="199472" y="71240"/>
                    </a:cubicBezTo>
                    <a:lnTo>
                      <a:pt x="96887" y="0"/>
                    </a:lnTo>
                    <a:lnTo>
                      <a:pt x="0" y="71240"/>
                    </a:ln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1C2F1C45-2BCB-4245-8174-551383F05051}"/>
                </a:ext>
              </a:extLst>
            </p:cNvPr>
            <p:cNvSpPr/>
            <p:nvPr/>
          </p:nvSpPr>
          <p:spPr>
            <a:xfrm>
              <a:off x="22929408" y="9825171"/>
              <a:ext cx="1289136" cy="2339525"/>
            </a:xfrm>
            <a:custGeom>
              <a:avLst/>
              <a:gdLst>
                <a:gd name="connsiteX0" fmla="*/ 736312 w 1289136"/>
                <a:gd name="connsiteY0" fmla="*/ 0 h 2339525"/>
                <a:gd name="connsiteX1" fmla="*/ 112250 w 1289136"/>
                <a:gd name="connsiteY1" fmla="*/ 0 h 2339525"/>
                <a:gd name="connsiteX2" fmla="*/ 1115 w 1289136"/>
                <a:gd name="connsiteY2" fmla="*/ 430290 h 2339525"/>
                <a:gd name="connsiteX3" fmla="*/ 169242 w 1289136"/>
                <a:gd name="connsiteY3" fmla="*/ 2322428 h 2339525"/>
                <a:gd name="connsiteX4" fmla="*/ 354466 w 1289136"/>
                <a:gd name="connsiteY4" fmla="*/ 2339525 h 2339525"/>
                <a:gd name="connsiteX5" fmla="*/ 431406 w 1289136"/>
                <a:gd name="connsiteY5" fmla="*/ 757995 h 2339525"/>
                <a:gd name="connsiteX6" fmla="*/ 516894 w 1289136"/>
                <a:gd name="connsiteY6" fmla="*/ 1641372 h 2339525"/>
                <a:gd name="connsiteX7" fmla="*/ 1192249 w 1289136"/>
                <a:gd name="connsiteY7" fmla="*/ 2125805 h 2339525"/>
                <a:gd name="connsiteX8" fmla="*/ 1289136 w 1289136"/>
                <a:gd name="connsiteY8" fmla="*/ 1949130 h 2339525"/>
                <a:gd name="connsiteX9" fmla="*/ 827500 w 1289136"/>
                <a:gd name="connsiteY9" fmla="*/ 1547336 h 2339525"/>
                <a:gd name="connsiteX10" fmla="*/ 861696 w 1289136"/>
                <a:gd name="connsiteY10" fmla="*/ 387546 h 2339525"/>
                <a:gd name="connsiteX11" fmla="*/ 736312 w 1289136"/>
                <a:gd name="connsiteY11" fmla="*/ 0 h 233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89136" h="2339525">
                  <a:moveTo>
                    <a:pt x="736312" y="0"/>
                  </a:moveTo>
                  <a:lnTo>
                    <a:pt x="112250" y="0"/>
                  </a:lnTo>
                  <a:cubicBezTo>
                    <a:pt x="112250" y="0"/>
                    <a:pt x="21062" y="284960"/>
                    <a:pt x="1115" y="430290"/>
                  </a:cubicBezTo>
                  <a:cubicBezTo>
                    <a:pt x="-15982" y="572771"/>
                    <a:pt x="169242" y="2322428"/>
                    <a:pt x="169242" y="2322428"/>
                  </a:cubicBezTo>
                  <a:lnTo>
                    <a:pt x="354466" y="2339525"/>
                  </a:lnTo>
                  <a:lnTo>
                    <a:pt x="431406" y="757995"/>
                  </a:lnTo>
                  <a:cubicBezTo>
                    <a:pt x="431406" y="757995"/>
                    <a:pt x="511195" y="1627124"/>
                    <a:pt x="516894" y="1641372"/>
                  </a:cubicBezTo>
                  <a:lnTo>
                    <a:pt x="1192249" y="2125805"/>
                  </a:lnTo>
                  <a:lnTo>
                    <a:pt x="1289136" y="1949130"/>
                  </a:lnTo>
                  <a:lnTo>
                    <a:pt x="827500" y="1547336"/>
                  </a:lnTo>
                  <a:cubicBezTo>
                    <a:pt x="827500" y="1547336"/>
                    <a:pt x="855996" y="447388"/>
                    <a:pt x="861696" y="387546"/>
                  </a:cubicBezTo>
                  <a:cubicBezTo>
                    <a:pt x="870244" y="276412"/>
                    <a:pt x="736312" y="0"/>
                    <a:pt x="736312" y="0"/>
                  </a:cubicBezTo>
                  <a:close/>
                </a:path>
              </a:pathLst>
            </a:custGeom>
            <a:solidFill>
              <a:srgbClr val="7F95BC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01A337E4-51CE-491A-B63F-B61EDB1090E3}"/>
                </a:ext>
              </a:extLst>
            </p:cNvPr>
            <p:cNvSpPr/>
            <p:nvPr/>
          </p:nvSpPr>
          <p:spPr>
            <a:xfrm>
              <a:off x="23315220" y="10189921"/>
              <a:ext cx="811424" cy="1772453"/>
            </a:xfrm>
            <a:custGeom>
              <a:avLst/>
              <a:gdLst>
                <a:gd name="connsiteX0" fmla="*/ 806438 w 811424"/>
                <a:gd name="connsiteY0" fmla="*/ 1769604 h 1772453"/>
                <a:gd name="connsiteX1" fmla="*/ 803589 w 811424"/>
                <a:gd name="connsiteY1" fmla="*/ 1769604 h 1772453"/>
                <a:gd name="connsiteX2" fmla="*/ 128232 w 811424"/>
                <a:gd name="connsiteY2" fmla="*/ 1285172 h 1772453"/>
                <a:gd name="connsiteX3" fmla="*/ 125383 w 811424"/>
                <a:gd name="connsiteY3" fmla="*/ 1282322 h 1772453"/>
                <a:gd name="connsiteX4" fmla="*/ 39895 w 811424"/>
                <a:gd name="connsiteY4" fmla="*/ 396095 h 1772453"/>
                <a:gd name="connsiteX5" fmla="*/ 0 w 811424"/>
                <a:gd name="connsiteY5" fmla="*/ 5699 h 1772453"/>
                <a:gd name="connsiteX6" fmla="*/ 5700 w 811424"/>
                <a:gd name="connsiteY6" fmla="*/ 0 h 1772453"/>
                <a:gd name="connsiteX7" fmla="*/ 11399 w 811424"/>
                <a:gd name="connsiteY7" fmla="*/ 5699 h 1772453"/>
                <a:gd name="connsiteX8" fmla="*/ 51293 w 811424"/>
                <a:gd name="connsiteY8" fmla="*/ 396095 h 1772453"/>
                <a:gd name="connsiteX9" fmla="*/ 136781 w 811424"/>
                <a:gd name="connsiteY9" fmla="*/ 1279472 h 1772453"/>
                <a:gd name="connsiteX10" fmla="*/ 809288 w 811424"/>
                <a:gd name="connsiteY10" fmla="*/ 1763905 h 1772453"/>
                <a:gd name="connsiteX11" fmla="*/ 809288 w 811424"/>
                <a:gd name="connsiteY11" fmla="*/ 1772453 h 1772453"/>
                <a:gd name="connsiteX12" fmla="*/ 806438 w 811424"/>
                <a:gd name="connsiteY12" fmla="*/ 1769604 h 1772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11424" h="1772453">
                  <a:moveTo>
                    <a:pt x="806438" y="1769604"/>
                  </a:moveTo>
                  <a:cubicBezTo>
                    <a:pt x="806438" y="1769604"/>
                    <a:pt x="803589" y="1769604"/>
                    <a:pt x="803589" y="1769604"/>
                  </a:cubicBezTo>
                  <a:lnTo>
                    <a:pt x="128232" y="1285172"/>
                  </a:lnTo>
                  <a:cubicBezTo>
                    <a:pt x="128232" y="1285172"/>
                    <a:pt x="125383" y="1285172"/>
                    <a:pt x="125383" y="1282322"/>
                  </a:cubicBezTo>
                  <a:cubicBezTo>
                    <a:pt x="119684" y="1265224"/>
                    <a:pt x="48444" y="484433"/>
                    <a:pt x="39895" y="396095"/>
                  </a:cubicBezTo>
                  <a:lnTo>
                    <a:pt x="0" y="5699"/>
                  </a:lnTo>
                  <a:cubicBezTo>
                    <a:pt x="0" y="2850"/>
                    <a:pt x="2851" y="0"/>
                    <a:pt x="5700" y="0"/>
                  </a:cubicBezTo>
                  <a:cubicBezTo>
                    <a:pt x="8548" y="0"/>
                    <a:pt x="11399" y="2850"/>
                    <a:pt x="11399" y="5699"/>
                  </a:cubicBezTo>
                  <a:lnTo>
                    <a:pt x="51293" y="396095"/>
                  </a:lnTo>
                  <a:cubicBezTo>
                    <a:pt x="76940" y="689604"/>
                    <a:pt x="128232" y="1242428"/>
                    <a:pt x="136781" y="1279472"/>
                  </a:cubicBezTo>
                  <a:lnTo>
                    <a:pt x="809288" y="1763905"/>
                  </a:lnTo>
                  <a:cubicBezTo>
                    <a:pt x="812137" y="1766755"/>
                    <a:pt x="812137" y="1769604"/>
                    <a:pt x="809288" y="1772453"/>
                  </a:cubicBezTo>
                  <a:cubicBezTo>
                    <a:pt x="809288" y="1766755"/>
                    <a:pt x="809288" y="1769604"/>
                    <a:pt x="806438" y="1769604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E19BB50C-B645-4E81-A40C-35FD328970CC}"/>
                </a:ext>
              </a:extLst>
            </p:cNvPr>
            <p:cNvSpPr/>
            <p:nvPr/>
          </p:nvSpPr>
          <p:spPr>
            <a:xfrm>
              <a:off x="23617279" y="9970501"/>
              <a:ext cx="169306" cy="176675"/>
            </a:xfrm>
            <a:custGeom>
              <a:avLst/>
              <a:gdLst>
                <a:gd name="connsiteX0" fmla="*/ 165277 w 169306"/>
                <a:gd name="connsiteY0" fmla="*/ 176676 h 176675"/>
                <a:gd name="connsiteX1" fmla="*/ 165277 w 169306"/>
                <a:gd name="connsiteY1" fmla="*/ 176676 h 176675"/>
                <a:gd name="connsiteX2" fmla="*/ 0 w 169306"/>
                <a:gd name="connsiteY2" fmla="*/ 5700 h 176675"/>
                <a:gd name="connsiteX3" fmla="*/ 2849 w 169306"/>
                <a:gd name="connsiteY3" fmla="*/ 0 h 176675"/>
                <a:gd name="connsiteX4" fmla="*/ 8548 w 169306"/>
                <a:gd name="connsiteY4" fmla="*/ 2850 h 176675"/>
                <a:gd name="connsiteX5" fmla="*/ 165277 w 169306"/>
                <a:gd name="connsiteY5" fmla="*/ 168126 h 176675"/>
                <a:gd name="connsiteX6" fmla="*/ 168126 w 169306"/>
                <a:gd name="connsiteY6" fmla="*/ 173826 h 176675"/>
                <a:gd name="connsiteX7" fmla="*/ 165277 w 169306"/>
                <a:gd name="connsiteY7" fmla="*/ 176676 h 17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306" h="176675">
                  <a:moveTo>
                    <a:pt x="165277" y="176676"/>
                  </a:moveTo>
                  <a:cubicBezTo>
                    <a:pt x="165277" y="176676"/>
                    <a:pt x="165277" y="176676"/>
                    <a:pt x="165277" y="176676"/>
                  </a:cubicBezTo>
                  <a:cubicBezTo>
                    <a:pt x="54141" y="145330"/>
                    <a:pt x="2849" y="11398"/>
                    <a:pt x="0" y="5700"/>
                  </a:cubicBezTo>
                  <a:cubicBezTo>
                    <a:pt x="0" y="2850"/>
                    <a:pt x="0" y="0"/>
                    <a:pt x="2849" y="0"/>
                  </a:cubicBezTo>
                  <a:cubicBezTo>
                    <a:pt x="5698" y="0"/>
                    <a:pt x="8548" y="0"/>
                    <a:pt x="8548" y="2850"/>
                  </a:cubicBezTo>
                  <a:cubicBezTo>
                    <a:pt x="8548" y="2850"/>
                    <a:pt x="59841" y="139630"/>
                    <a:pt x="165277" y="168126"/>
                  </a:cubicBezTo>
                  <a:cubicBezTo>
                    <a:pt x="168126" y="168126"/>
                    <a:pt x="170976" y="170976"/>
                    <a:pt x="168126" y="173826"/>
                  </a:cubicBezTo>
                  <a:cubicBezTo>
                    <a:pt x="170976" y="173826"/>
                    <a:pt x="168126" y="176676"/>
                    <a:pt x="165277" y="176676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E37A0BEE-741C-46E3-ABB3-923496224A29}"/>
                </a:ext>
              </a:extLst>
            </p:cNvPr>
            <p:cNvSpPr/>
            <p:nvPr/>
          </p:nvSpPr>
          <p:spPr>
            <a:xfrm>
              <a:off x="22944771" y="9970501"/>
              <a:ext cx="162427" cy="179525"/>
            </a:xfrm>
            <a:custGeom>
              <a:avLst/>
              <a:gdLst>
                <a:gd name="connsiteX0" fmla="*/ 5700 w 162427"/>
                <a:gd name="connsiteY0" fmla="*/ 179526 h 179525"/>
                <a:gd name="connsiteX1" fmla="*/ 0 w 162427"/>
                <a:gd name="connsiteY1" fmla="*/ 176676 h 179525"/>
                <a:gd name="connsiteX2" fmla="*/ 2851 w 162427"/>
                <a:gd name="connsiteY2" fmla="*/ 170976 h 179525"/>
                <a:gd name="connsiteX3" fmla="*/ 151029 w 162427"/>
                <a:gd name="connsiteY3" fmla="*/ 2850 h 179525"/>
                <a:gd name="connsiteX4" fmla="*/ 159579 w 162427"/>
                <a:gd name="connsiteY4" fmla="*/ 0 h 179525"/>
                <a:gd name="connsiteX5" fmla="*/ 162428 w 162427"/>
                <a:gd name="connsiteY5" fmla="*/ 8549 h 179525"/>
                <a:gd name="connsiteX6" fmla="*/ 5700 w 162427"/>
                <a:gd name="connsiteY6" fmla="*/ 179526 h 179525"/>
                <a:gd name="connsiteX7" fmla="*/ 5700 w 162427"/>
                <a:gd name="connsiteY7" fmla="*/ 179526 h 17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427" h="179525">
                  <a:moveTo>
                    <a:pt x="5700" y="179526"/>
                  </a:moveTo>
                  <a:cubicBezTo>
                    <a:pt x="2851" y="179526"/>
                    <a:pt x="2851" y="179526"/>
                    <a:pt x="0" y="176676"/>
                  </a:cubicBezTo>
                  <a:cubicBezTo>
                    <a:pt x="0" y="173826"/>
                    <a:pt x="0" y="170976"/>
                    <a:pt x="2851" y="170976"/>
                  </a:cubicBezTo>
                  <a:cubicBezTo>
                    <a:pt x="76940" y="142480"/>
                    <a:pt x="151029" y="2850"/>
                    <a:pt x="151029" y="2850"/>
                  </a:cubicBezTo>
                  <a:cubicBezTo>
                    <a:pt x="151029" y="0"/>
                    <a:pt x="156728" y="0"/>
                    <a:pt x="159579" y="0"/>
                  </a:cubicBezTo>
                  <a:cubicBezTo>
                    <a:pt x="162428" y="0"/>
                    <a:pt x="162428" y="5700"/>
                    <a:pt x="162428" y="8549"/>
                  </a:cubicBezTo>
                  <a:cubicBezTo>
                    <a:pt x="159579" y="11398"/>
                    <a:pt x="85488" y="148180"/>
                    <a:pt x="5700" y="179526"/>
                  </a:cubicBezTo>
                  <a:cubicBezTo>
                    <a:pt x="8548" y="179526"/>
                    <a:pt x="8548" y="179526"/>
                    <a:pt x="5700" y="179526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877FBC47-4CBA-475F-A84C-0C35271B8C91}"/>
                </a:ext>
              </a:extLst>
            </p:cNvPr>
            <p:cNvSpPr/>
            <p:nvPr/>
          </p:nvSpPr>
          <p:spPr>
            <a:xfrm>
              <a:off x="22948656" y="8929072"/>
              <a:ext cx="764121" cy="921829"/>
            </a:xfrm>
            <a:custGeom>
              <a:avLst/>
              <a:gdLst>
                <a:gd name="connsiteX0" fmla="*/ 722764 w 764121"/>
                <a:gd name="connsiteY0" fmla="*/ 366073 h 921829"/>
                <a:gd name="connsiteX1" fmla="*/ 708516 w 764121"/>
                <a:gd name="connsiteY1" fmla="*/ 64015 h 921829"/>
                <a:gd name="connsiteX2" fmla="*/ 363714 w 764121"/>
                <a:gd name="connsiteY2" fmla="*/ 4173 h 921829"/>
                <a:gd name="connsiteX3" fmla="*/ 84453 w 764121"/>
                <a:gd name="connsiteY3" fmla="*/ 98210 h 921829"/>
                <a:gd name="connsiteX4" fmla="*/ 47407 w 764121"/>
                <a:gd name="connsiteY4" fmla="*/ 611138 h 921829"/>
                <a:gd name="connsiteX5" fmla="*/ 87302 w 764121"/>
                <a:gd name="connsiteY5" fmla="*/ 916046 h 921829"/>
                <a:gd name="connsiteX6" fmla="*/ 719915 w 764121"/>
                <a:gd name="connsiteY6" fmla="*/ 901798 h 921829"/>
                <a:gd name="connsiteX7" fmla="*/ 722764 w 764121"/>
                <a:gd name="connsiteY7" fmla="*/ 366073 h 921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4121" h="921829">
                  <a:moveTo>
                    <a:pt x="722764" y="366073"/>
                  </a:moveTo>
                  <a:cubicBezTo>
                    <a:pt x="731312" y="337577"/>
                    <a:pt x="819651" y="123857"/>
                    <a:pt x="708516" y="64015"/>
                  </a:cubicBezTo>
                  <a:cubicBezTo>
                    <a:pt x="611630" y="12721"/>
                    <a:pt x="474848" y="-10075"/>
                    <a:pt x="363714" y="4173"/>
                  </a:cubicBezTo>
                  <a:cubicBezTo>
                    <a:pt x="241182" y="18421"/>
                    <a:pt x="118647" y="38369"/>
                    <a:pt x="84453" y="98210"/>
                  </a:cubicBezTo>
                  <a:cubicBezTo>
                    <a:pt x="-20982" y="272036"/>
                    <a:pt x="-20982" y="425914"/>
                    <a:pt x="47407" y="611138"/>
                  </a:cubicBezTo>
                  <a:cubicBezTo>
                    <a:pt x="67355" y="665282"/>
                    <a:pt x="73054" y="790664"/>
                    <a:pt x="87302" y="916046"/>
                  </a:cubicBezTo>
                  <a:cubicBezTo>
                    <a:pt x="87302" y="916046"/>
                    <a:pt x="352315" y="935994"/>
                    <a:pt x="719915" y="901798"/>
                  </a:cubicBezTo>
                  <a:cubicBezTo>
                    <a:pt x="688568" y="696626"/>
                    <a:pt x="717064" y="388870"/>
                    <a:pt x="722764" y="366073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EF8580EC-64D6-4FDA-BC65-BE078BB8F4F7}"/>
                </a:ext>
              </a:extLst>
            </p:cNvPr>
            <p:cNvSpPr/>
            <p:nvPr/>
          </p:nvSpPr>
          <p:spPr>
            <a:xfrm>
              <a:off x="23209784" y="8765028"/>
              <a:ext cx="287811" cy="304997"/>
            </a:xfrm>
            <a:custGeom>
              <a:avLst/>
              <a:gdLst>
                <a:gd name="connsiteX0" fmla="*/ 51294 w 287811"/>
                <a:gd name="connsiteY0" fmla="*/ 57082 h 304997"/>
                <a:gd name="connsiteX1" fmla="*/ 0 w 287811"/>
                <a:gd name="connsiteY1" fmla="*/ 188164 h 304997"/>
                <a:gd name="connsiteX2" fmla="*/ 37046 w 287811"/>
                <a:gd name="connsiteY2" fmla="*/ 304998 h 304997"/>
                <a:gd name="connsiteX3" fmla="*/ 287811 w 287811"/>
                <a:gd name="connsiteY3" fmla="*/ 173916 h 304997"/>
                <a:gd name="connsiteX4" fmla="*/ 239367 w 287811"/>
                <a:gd name="connsiteY4" fmla="*/ 90 h 304997"/>
                <a:gd name="connsiteX5" fmla="*/ 51294 w 287811"/>
                <a:gd name="connsiteY5" fmla="*/ 57082 h 304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7811" h="304997">
                  <a:moveTo>
                    <a:pt x="51294" y="57082"/>
                  </a:moveTo>
                  <a:cubicBezTo>
                    <a:pt x="51294" y="57082"/>
                    <a:pt x="56992" y="159668"/>
                    <a:pt x="0" y="188164"/>
                  </a:cubicBezTo>
                  <a:lnTo>
                    <a:pt x="37046" y="304998"/>
                  </a:lnTo>
                  <a:cubicBezTo>
                    <a:pt x="37046" y="304998"/>
                    <a:pt x="239367" y="202412"/>
                    <a:pt x="287811" y="173916"/>
                  </a:cubicBezTo>
                  <a:cubicBezTo>
                    <a:pt x="236519" y="134022"/>
                    <a:pt x="239367" y="57082"/>
                    <a:pt x="239367" y="90"/>
                  </a:cubicBezTo>
                  <a:cubicBezTo>
                    <a:pt x="239367" y="-2759"/>
                    <a:pt x="99736" y="62782"/>
                    <a:pt x="51294" y="57082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4666AA4-F28B-4593-9A71-3B13A4D755C4}"/>
                </a:ext>
              </a:extLst>
            </p:cNvPr>
            <p:cNvSpPr/>
            <p:nvPr/>
          </p:nvSpPr>
          <p:spPr>
            <a:xfrm>
              <a:off x="22943998" y="9024433"/>
              <a:ext cx="94809" cy="518627"/>
            </a:xfrm>
            <a:custGeom>
              <a:avLst/>
              <a:gdLst>
                <a:gd name="connsiteX0" fmla="*/ 52066 w 94809"/>
                <a:gd name="connsiteY0" fmla="*/ 518627 h 518627"/>
                <a:gd name="connsiteX1" fmla="*/ 46368 w 94809"/>
                <a:gd name="connsiteY1" fmla="*/ 515778 h 518627"/>
                <a:gd name="connsiteX2" fmla="*/ 32120 w 94809"/>
                <a:gd name="connsiteY2" fmla="*/ 464485 h 518627"/>
                <a:gd name="connsiteX3" fmla="*/ 773 w 94809"/>
                <a:gd name="connsiteY3" fmla="*/ 324855 h 518627"/>
                <a:gd name="connsiteX4" fmla="*/ 83412 w 94809"/>
                <a:gd name="connsiteY4" fmla="*/ 2849 h 518627"/>
                <a:gd name="connsiteX5" fmla="*/ 91961 w 94809"/>
                <a:gd name="connsiteY5" fmla="*/ 0 h 518627"/>
                <a:gd name="connsiteX6" fmla="*/ 94810 w 94809"/>
                <a:gd name="connsiteY6" fmla="*/ 8548 h 518627"/>
                <a:gd name="connsiteX7" fmla="*/ 12172 w 94809"/>
                <a:gd name="connsiteY7" fmla="*/ 324855 h 518627"/>
                <a:gd name="connsiteX8" fmla="*/ 43517 w 94809"/>
                <a:gd name="connsiteY8" fmla="*/ 464485 h 518627"/>
                <a:gd name="connsiteX9" fmla="*/ 57765 w 94809"/>
                <a:gd name="connsiteY9" fmla="*/ 515778 h 518627"/>
                <a:gd name="connsiteX10" fmla="*/ 52066 w 94809"/>
                <a:gd name="connsiteY10" fmla="*/ 518627 h 518627"/>
                <a:gd name="connsiteX11" fmla="*/ 52066 w 94809"/>
                <a:gd name="connsiteY11" fmla="*/ 518627 h 518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4809" h="518627">
                  <a:moveTo>
                    <a:pt x="52066" y="518627"/>
                  </a:moveTo>
                  <a:cubicBezTo>
                    <a:pt x="49217" y="518627"/>
                    <a:pt x="46368" y="515778"/>
                    <a:pt x="46368" y="515778"/>
                  </a:cubicBezTo>
                  <a:cubicBezTo>
                    <a:pt x="40668" y="498681"/>
                    <a:pt x="37818" y="481583"/>
                    <a:pt x="32120" y="464485"/>
                  </a:cubicBezTo>
                  <a:cubicBezTo>
                    <a:pt x="17872" y="416042"/>
                    <a:pt x="3624" y="367599"/>
                    <a:pt x="773" y="324855"/>
                  </a:cubicBezTo>
                  <a:cubicBezTo>
                    <a:pt x="-4927" y="208021"/>
                    <a:pt x="20721" y="99736"/>
                    <a:pt x="83412" y="2849"/>
                  </a:cubicBezTo>
                  <a:cubicBezTo>
                    <a:pt x="86261" y="0"/>
                    <a:pt x="89112" y="0"/>
                    <a:pt x="91961" y="0"/>
                  </a:cubicBezTo>
                  <a:cubicBezTo>
                    <a:pt x="94810" y="2849"/>
                    <a:pt x="94810" y="5699"/>
                    <a:pt x="94810" y="8548"/>
                  </a:cubicBezTo>
                  <a:cubicBezTo>
                    <a:pt x="34969" y="105435"/>
                    <a:pt x="6473" y="210871"/>
                    <a:pt x="12172" y="324855"/>
                  </a:cubicBezTo>
                  <a:cubicBezTo>
                    <a:pt x="15021" y="367599"/>
                    <a:pt x="29269" y="416042"/>
                    <a:pt x="43517" y="464485"/>
                  </a:cubicBezTo>
                  <a:cubicBezTo>
                    <a:pt x="49217" y="481583"/>
                    <a:pt x="54916" y="498681"/>
                    <a:pt x="57765" y="515778"/>
                  </a:cubicBezTo>
                  <a:cubicBezTo>
                    <a:pt x="57765" y="515778"/>
                    <a:pt x="57765" y="518627"/>
                    <a:pt x="52066" y="518627"/>
                  </a:cubicBezTo>
                  <a:cubicBezTo>
                    <a:pt x="54916" y="518627"/>
                    <a:pt x="54916" y="518627"/>
                    <a:pt x="52066" y="518627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0D7C9206-02AA-4B6A-8ADB-8473F716C421}"/>
                </a:ext>
              </a:extLst>
            </p:cNvPr>
            <p:cNvSpPr/>
            <p:nvPr/>
          </p:nvSpPr>
          <p:spPr>
            <a:xfrm>
              <a:off x="23058755" y="9434957"/>
              <a:ext cx="374479" cy="34013"/>
            </a:xfrm>
            <a:custGeom>
              <a:avLst/>
              <a:gdLst>
                <a:gd name="connsiteX0" fmla="*/ 5700 w 374479"/>
                <a:gd name="connsiteY0" fmla="*/ 34014 h 34013"/>
                <a:gd name="connsiteX1" fmla="*/ 0 w 374479"/>
                <a:gd name="connsiteY1" fmla="*/ 31165 h 34013"/>
                <a:gd name="connsiteX2" fmla="*/ 2851 w 374479"/>
                <a:gd name="connsiteY2" fmla="*/ 25465 h 34013"/>
                <a:gd name="connsiteX3" fmla="*/ 370449 w 374479"/>
                <a:gd name="connsiteY3" fmla="*/ 14067 h 34013"/>
                <a:gd name="connsiteX4" fmla="*/ 373299 w 374479"/>
                <a:gd name="connsiteY4" fmla="*/ 19766 h 34013"/>
                <a:gd name="connsiteX5" fmla="*/ 367600 w 374479"/>
                <a:gd name="connsiteY5" fmla="*/ 22615 h 34013"/>
                <a:gd name="connsiteX6" fmla="*/ 5700 w 374479"/>
                <a:gd name="connsiteY6" fmla="*/ 34014 h 34013"/>
                <a:gd name="connsiteX7" fmla="*/ 5700 w 374479"/>
                <a:gd name="connsiteY7" fmla="*/ 34014 h 3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4479" h="34013">
                  <a:moveTo>
                    <a:pt x="5700" y="34014"/>
                  </a:moveTo>
                  <a:cubicBezTo>
                    <a:pt x="2851" y="34014"/>
                    <a:pt x="2851" y="34014"/>
                    <a:pt x="0" y="31165"/>
                  </a:cubicBezTo>
                  <a:cubicBezTo>
                    <a:pt x="0" y="28315"/>
                    <a:pt x="0" y="25465"/>
                    <a:pt x="2851" y="25465"/>
                  </a:cubicBezTo>
                  <a:cubicBezTo>
                    <a:pt x="82639" y="-3031"/>
                    <a:pt x="276412" y="-8730"/>
                    <a:pt x="370449" y="14067"/>
                  </a:cubicBezTo>
                  <a:cubicBezTo>
                    <a:pt x="373299" y="14067"/>
                    <a:pt x="376148" y="16917"/>
                    <a:pt x="373299" y="19766"/>
                  </a:cubicBezTo>
                  <a:cubicBezTo>
                    <a:pt x="373299" y="22615"/>
                    <a:pt x="370449" y="25465"/>
                    <a:pt x="367600" y="22615"/>
                  </a:cubicBezTo>
                  <a:cubicBezTo>
                    <a:pt x="276412" y="2669"/>
                    <a:pt x="85488" y="8367"/>
                    <a:pt x="5700" y="34014"/>
                  </a:cubicBezTo>
                  <a:cubicBezTo>
                    <a:pt x="5700" y="34014"/>
                    <a:pt x="5700" y="34014"/>
                    <a:pt x="5700" y="34014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F44B848B-3486-45D7-83F5-F11E5C3C95C6}"/>
                </a:ext>
              </a:extLst>
            </p:cNvPr>
            <p:cNvSpPr/>
            <p:nvPr/>
          </p:nvSpPr>
          <p:spPr>
            <a:xfrm>
              <a:off x="23033110" y="9819472"/>
              <a:ext cx="293508" cy="28496"/>
            </a:xfrm>
            <a:custGeom>
              <a:avLst/>
              <a:gdLst>
                <a:gd name="connsiteX0" fmla="*/ 5698 w 293508"/>
                <a:gd name="connsiteY0" fmla="*/ 28496 h 28496"/>
                <a:gd name="connsiteX1" fmla="*/ 0 w 293508"/>
                <a:gd name="connsiteY1" fmla="*/ 22796 h 28496"/>
                <a:gd name="connsiteX2" fmla="*/ 5698 w 293508"/>
                <a:gd name="connsiteY2" fmla="*/ 17098 h 28496"/>
                <a:gd name="connsiteX3" fmla="*/ 287809 w 293508"/>
                <a:gd name="connsiteY3" fmla="*/ 0 h 28496"/>
                <a:gd name="connsiteX4" fmla="*/ 293509 w 293508"/>
                <a:gd name="connsiteY4" fmla="*/ 2850 h 28496"/>
                <a:gd name="connsiteX5" fmla="*/ 290658 w 293508"/>
                <a:gd name="connsiteY5" fmla="*/ 8548 h 28496"/>
                <a:gd name="connsiteX6" fmla="*/ 5698 w 293508"/>
                <a:gd name="connsiteY6" fmla="*/ 28496 h 28496"/>
                <a:gd name="connsiteX7" fmla="*/ 5698 w 293508"/>
                <a:gd name="connsiteY7" fmla="*/ 28496 h 28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3508" h="28496">
                  <a:moveTo>
                    <a:pt x="5698" y="28496"/>
                  </a:moveTo>
                  <a:cubicBezTo>
                    <a:pt x="2849" y="28496"/>
                    <a:pt x="0" y="25646"/>
                    <a:pt x="0" y="22796"/>
                  </a:cubicBezTo>
                  <a:cubicBezTo>
                    <a:pt x="0" y="19947"/>
                    <a:pt x="2849" y="17098"/>
                    <a:pt x="5698" y="17098"/>
                  </a:cubicBezTo>
                  <a:cubicBezTo>
                    <a:pt x="8548" y="17098"/>
                    <a:pt x="202321" y="14248"/>
                    <a:pt x="287809" y="0"/>
                  </a:cubicBezTo>
                  <a:cubicBezTo>
                    <a:pt x="290658" y="0"/>
                    <a:pt x="293509" y="0"/>
                    <a:pt x="293509" y="2850"/>
                  </a:cubicBezTo>
                  <a:cubicBezTo>
                    <a:pt x="293509" y="5699"/>
                    <a:pt x="293509" y="8548"/>
                    <a:pt x="290658" y="8548"/>
                  </a:cubicBezTo>
                  <a:cubicBezTo>
                    <a:pt x="202321" y="25646"/>
                    <a:pt x="5698" y="28496"/>
                    <a:pt x="5698" y="28496"/>
                  </a:cubicBezTo>
                  <a:lnTo>
                    <a:pt x="5698" y="28496"/>
                  </a:ln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439DCC29-4A14-407E-B389-7F579A8EA141}"/>
                </a:ext>
              </a:extLst>
            </p:cNvPr>
            <p:cNvSpPr/>
            <p:nvPr/>
          </p:nvSpPr>
          <p:spPr>
            <a:xfrm>
              <a:off x="23310486" y="8924697"/>
              <a:ext cx="620248" cy="1504590"/>
            </a:xfrm>
            <a:custGeom>
              <a:avLst/>
              <a:gdLst>
                <a:gd name="connsiteX0" fmla="*/ 21832 w 620248"/>
                <a:gd name="connsiteY0" fmla="*/ 287809 h 1504590"/>
                <a:gd name="connsiteX1" fmla="*/ 70274 w 620248"/>
                <a:gd name="connsiteY1" fmla="*/ 968865 h 1504590"/>
                <a:gd name="connsiteX2" fmla="*/ 209905 w 620248"/>
                <a:gd name="connsiteY2" fmla="*/ 1504591 h 1504590"/>
                <a:gd name="connsiteX3" fmla="*/ 620249 w 620248"/>
                <a:gd name="connsiteY3" fmla="*/ 1293720 h 1504590"/>
                <a:gd name="connsiteX4" fmla="*/ 420777 w 620248"/>
                <a:gd name="connsiteY4" fmla="*/ 803588 h 1504590"/>
                <a:gd name="connsiteX5" fmla="*/ 420777 w 620248"/>
                <a:gd name="connsiteY5" fmla="*/ 364749 h 1504590"/>
                <a:gd name="connsiteX6" fmla="*/ 420777 w 620248"/>
                <a:gd name="connsiteY6" fmla="*/ 111134 h 1504590"/>
                <a:gd name="connsiteX7" fmla="*/ 175710 w 620248"/>
                <a:gd name="connsiteY7" fmla="*/ 0 h 1504590"/>
                <a:gd name="connsiteX8" fmla="*/ 21832 w 620248"/>
                <a:gd name="connsiteY8" fmla="*/ 287809 h 150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0248" h="1504590">
                  <a:moveTo>
                    <a:pt x="21832" y="287809"/>
                  </a:moveTo>
                  <a:cubicBezTo>
                    <a:pt x="-35160" y="507229"/>
                    <a:pt x="33229" y="740897"/>
                    <a:pt x="70274" y="968865"/>
                  </a:cubicBezTo>
                  <a:cubicBezTo>
                    <a:pt x="101621" y="1151240"/>
                    <a:pt x="144365" y="1330765"/>
                    <a:pt x="209905" y="1504591"/>
                  </a:cubicBezTo>
                  <a:cubicBezTo>
                    <a:pt x="392281" y="1478944"/>
                    <a:pt x="529061" y="1404855"/>
                    <a:pt x="620249" y="1293720"/>
                  </a:cubicBezTo>
                  <a:cubicBezTo>
                    <a:pt x="563257" y="1174036"/>
                    <a:pt x="446422" y="934670"/>
                    <a:pt x="420777" y="803588"/>
                  </a:cubicBezTo>
                  <a:cubicBezTo>
                    <a:pt x="392281" y="658258"/>
                    <a:pt x="383730" y="510079"/>
                    <a:pt x="420777" y="364749"/>
                  </a:cubicBezTo>
                  <a:cubicBezTo>
                    <a:pt x="443573" y="279261"/>
                    <a:pt x="477769" y="190923"/>
                    <a:pt x="420777" y="111134"/>
                  </a:cubicBezTo>
                  <a:cubicBezTo>
                    <a:pt x="372333" y="45593"/>
                    <a:pt x="249800" y="11398"/>
                    <a:pt x="175710" y="0"/>
                  </a:cubicBezTo>
                  <a:cubicBezTo>
                    <a:pt x="170010" y="2849"/>
                    <a:pt x="44629" y="193773"/>
                    <a:pt x="21832" y="287809"/>
                  </a:cubicBezTo>
                  <a:close/>
                </a:path>
              </a:pathLst>
            </a:custGeom>
            <a:solidFill>
              <a:srgbClr val="F1DDB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4A7C69F0-72B4-4AD5-ACC8-551B8E63E545}"/>
                </a:ext>
              </a:extLst>
            </p:cNvPr>
            <p:cNvSpPr/>
            <p:nvPr/>
          </p:nvSpPr>
          <p:spPr>
            <a:xfrm>
              <a:off x="22870595" y="8936095"/>
              <a:ext cx="364835" cy="1448439"/>
            </a:xfrm>
            <a:custGeom>
              <a:avLst/>
              <a:gdLst>
                <a:gd name="connsiteX0" fmla="*/ 87 w 364835"/>
                <a:gd name="connsiteY0" fmla="*/ 1421952 h 1448439"/>
                <a:gd name="connsiteX1" fmla="*/ 71327 w 364835"/>
                <a:gd name="connsiteY1" fmla="*/ 1444749 h 1448439"/>
                <a:gd name="connsiteX2" fmla="*/ 71327 w 364835"/>
                <a:gd name="connsiteY2" fmla="*/ 1347863 h 1448439"/>
                <a:gd name="connsiteX3" fmla="*/ 165363 w 364835"/>
                <a:gd name="connsiteY3" fmla="*/ 1008760 h 1448439"/>
                <a:gd name="connsiteX4" fmla="*/ 182460 w 364835"/>
                <a:gd name="connsiteY4" fmla="*/ 686755 h 1448439"/>
                <a:gd name="connsiteX5" fmla="*/ 342039 w 364835"/>
                <a:gd name="connsiteY5" fmla="*/ 17098 h 1448439"/>
                <a:gd name="connsiteX6" fmla="*/ 364836 w 364835"/>
                <a:gd name="connsiteY6" fmla="*/ 0 h 1448439"/>
                <a:gd name="connsiteX7" fmla="*/ 54228 w 364835"/>
                <a:gd name="connsiteY7" fmla="*/ 458786 h 1448439"/>
                <a:gd name="connsiteX8" fmla="*/ 82724 w 364835"/>
                <a:gd name="connsiteY8" fmla="*/ 675356 h 1448439"/>
                <a:gd name="connsiteX9" fmla="*/ 79875 w 364835"/>
                <a:gd name="connsiteY9" fmla="*/ 891926 h 1448439"/>
                <a:gd name="connsiteX10" fmla="*/ 87 w 364835"/>
                <a:gd name="connsiteY10" fmla="*/ 1421952 h 144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4835" h="1448439">
                  <a:moveTo>
                    <a:pt x="87" y="1421952"/>
                  </a:moveTo>
                  <a:cubicBezTo>
                    <a:pt x="-2764" y="1439050"/>
                    <a:pt x="65627" y="1456148"/>
                    <a:pt x="71327" y="1444749"/>
                  </a:cubicBezTo>
                  <a:cubicBezTo>
                    <a:pt x="74176" y="1441900"/>
                    <a:pt x="71327" y="1353562"/>
                    <a:pt x="71327" y="1347863"/>
                  </a:cubicBezTo>
                  <a:cubicBezTo>
                    <a:pt x="88424" y="1225330"/>
                    <a:pt x="122619" y="1122744"/>
                    <a:pt x="165363" y="1008760"/>
                  </a:cubicBezTo>
                  <a:cubicBezTo>
                    <a:pt x="202408" y="903324"/>
                    <a:pt x="193859" y="797889"/>
                    <a:pt x="182460" y="686755"/>
                  </a:cubicBezTo>
                  <a:cubicBezTo>
                    <a:pt x="156815" y="447387"/>
                    <a:pt x="193859" y="213720"/>
                    <a:pt x="342039" y="17098"/>
                  </a:cubicBezTo>
                  <a:cubicBezTo>
                    <a:pt x="344888" y="14248"/>
                    <a:pt x="353437" y="14248"/>
                    <a:pt x="364836" y="0"/>
                  </a:cubicBezTo>
                  <a:cubicBezTo>
                    <a:pt x="125468" y="5699"/>
                    <a:pt x="31432" y="262163"/>
                    <a:pt x="54228" y="458786"/>
                  </a:cubicBezTo>
                  <a:cubicBezTo>
                    <a:pt x="62778" y="532875"/>
                    <a:pt x="79875" y="601267"/>
                    <a:pt x="82724" y="675356"/>
                  </a:cubicBezTo>
                  <a:cubicBezTo>
                    <a:pt x="85575" y="746596"/>
                    <a:pt x="82724" y="820686"/>
                    <a:pt x="79875" y="891926"/>
                  </a:cubicBezTo>
                  <a:cubicBezTo>
                    <a:pt x="71327" y="1045804"/>
                    <a:pt x="17184" y="1270924"/>
                    <a:pt x="87" y="1421952"/>
                  </a:cubicBezTo>
                  <a:close/>
                </a:path>
              </a:pathLst>
            </a:custGeom>
            <a:solidFill>
              <a:srgbClr val="F1DDB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629D763F-55DA-4A6D-9F25-08886E6D3731}"/>
                </a:ext>
              </a:extLst>
            </p:cNvPr>
            <p:cNvSpPr/>
            <p:nvPr/>
          </p:nvSpPr>
          <p:spPr>
            <a:xfrm>
              <a:off x="22909134" y="9107071"/>
              <a:ext cx="64133" cy="703851"/>
            </a:xfrm>
            <a:custGeom>
              <a:avLst/>
              <a:gdLst>
                <a:gd name="connsiteX0" fmla="*/ 38488 w 64133"/>
                <a:gd name="connsiteY0" fmla="*/ 703852 h 703851"/>
                <a:gd name="connsiteX1" fmla="*/ 38488 w 64133"/>
                <a:gd name="connsiteY1" fmla="*/ 703852 h 703851"/>
                <a:gd name="connsiteX2" fmla="*/ 32788 w 64133"/>
                <a:gd name="connsiteY2" fmla="*/ 698153 h 703851"/>
                <a:gd name="connsiteX3" fmla="*/ 9992 w 64133"/>
                <a:gd name="connsiteY3" fmla="*/ 307757 h 703851"/>
                <a:gd name="connsiteX4" fmla="*/ 1442 w 64133"/>
                <a:gd name="connsiteY4" fmla="*/ 247915 h 703851"/>
                <a:gd name="connsiteX5" fmla="*/ 52736 w 64133"/>
                <a:gd name="connsiteY5" fmla="*/ 2850 h 703851"/>
                <a:gd name="connsiteX6" fmla="*/ 61284 w 64133"/>
                <a:gd name="connsiteY6" fmla="*/ 0 h 703851"/>
                <a:gd name="connsiteX7" fmla="*/ 64133 w 64133"/>
                <a:gd name="connsiteY7" fmla="*/ 8548 h 703851"/>
                <a:gd name="connsiteX8" fmla="*/ 12841 w 64133"/>
                <a:gd name="connsiteY8" fmla="*/ 247915 h 703851"/>
                <a:gd name="connsiteX9" fmla="*/ 21389 w 64133"/>
                <a:gd name="connsiteY9" fmla="*/ 307757 h 703851"/>
                <a:gd name="connsiteX10" fmla="*/ 44186 w 64133"/>
                <a:gd name="connsiteY10" fmla="*/ 701003 h 703851"/>
                <a:gd name="connsiteX11" fmla="*/ 38488 w 64133"/>
                <a:gd name="connsiteY11" fmla="*/ 703852 h 70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133" h="703851">
                  <a:moveTo>
                    <a:pt x="38488" y="703852"/>
                  </a:moveTo>
                  <a:cubicBezTo>
                    <a:pt x="38488" y="703852"/>
                    <a:pt x="38488" y="703852"/>
                    <a:pt x="38488" y="703852"/>
                  </a:cubicBezTo>
                  <a:cubicBezTo>
                    <a:pt x="35637" y="703852"/>
                    <a:pt x="32788" y="701003"/>
                    <a:pt x="32788" y="698153"/>
                  </a:cubicBezTo>
                  <a:cubicBezTo>
                    <a:pt x="44186" y="587019"/>
                    <a:pt x="24240" y="418891"/>
                    <a:pt x="9992" y="307757"/>
                  </a:cubicBezTo>
                  <a:cubicBezTo>
                    <a:pt x="7141" y="284960"/>
                    <a:pt x="4292" y="265013"/>
                    <a:pt x="1442" y="247915"/>
                  </a:cubicBezTo>
                  <a:cubicBezTo>
                    <a:pt x="-9956" y="148179"/>
                    <a:pt x="49885" y="8548"/>
                    <a:pt x="52736" y="2850"/>
                  </a:cubicBezTo>
                  <a:cubicBezTo>
                    <a:pt x="52736" y="0"/>
                    <a:pt x="58434" y="0"/>
                    <a:pt x="61284" y="0"/>
                  </a:cubicBezTo>
                  <a:cubicBezTo>
                    <a:pt x="64133" y="0"/>
                    <a:pt x="64133" y="5699"/>
                    <a:pt x="64133" y="8548"/>
                  </a:cubicBezTo>
                  <a:cubicBezTo>
                    <a:pt x="64133" y="8548"/>
                    <a:pt x="1442" y="151029"/>
                    <a:pt x="12841" y="247915"/>
                  </a:cubicBezTo>
                  <a:cubicBezTo>
                    <a:pt x="15690" y="265013"/>
                    <a:pt x="18540" y="284960"/>
                    <a:pt x="21389" y="307757"/>
                  </a:cubicBezTo>
                  <a:cubicBezTo>
                    <a:pt x="35637" y="418891"/>
                    <a:pt x="58434" y="587019"/>
                    <a:pt x="44186" y="701003"/>
                  </a:cubicBezTo>
                  <a:cubicBezTo>
                    <a:pt x="44186" y="701003"/>
                    <a:pt x="41337" y="703852"/>
                    <a:pt x="38488" y="703852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F5F6CD00-DDE3-4527-9AF5-A6800E381CE4}"/>
                </a:ext>
              </a:extLst>
            </p:cNvPr>
            <p:cNvSpPr/>
            <p:nvPr/>
          </p:nvSpPr>
          <p:spPr>
            <a:xfrm>
              <a:off x="23153897" y="8336866"/>
              <a:ext cx="394990" cy="531137"/>
            </a:xfrm>
            <a:custGeom>
              <a:avLst/>
              <a:gdLst>
                <a:gd name="connsiteX0" fmla="*/ 7445 w 394990"/>
                <a:gd name="connsiteY0" fmla="*/ 171789 h 531137"/>
                <a:gd name="connsiteX1" fmla="*/ 18842 w 394990"/>
                <a:gd name="connsiteY1" fmla="*/ 411155 h 531137"/>
                <a:gd name="connsiteX2" fmla="*/ 158473 w 394990"/>
                <a:gd name="connsiteY2" fmla="*/ 530839 h 531137"/>
                <a:gd name="connsiteX3" fmla="*/ 360795 w 394990"/>
                <a:gd name="connsiteY3" fmla="*/ 396907 h 531137"/>
                <a:gd name="connsiteX4" fmla="*/ 394990 w 394990"/>
                <a:gd name="connsiteY4" fmla="*/ 186037 h 531137"/>
                <a:gd name="connsiteX5" fmla="*/ 195518 w 394990"/>
                <a:gd name="connsiteY5" fmla="*/ 812 h 531137"/>
                <a:gd name="connsiteX6" fmla="*/ 7445 w 394990"/>
                <a:gd name="connsiteY6" fmla="*/ 171789 h 531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4990" h="531137">
                  <a:moveTo>
                    <a:pt x="7445" y="171789"/>
                  </a:moveTo>
                  <a:cubicBezTo>
                    <a:pt x="7445" y="171789"/>
                    <a:pt x="-15354" y="348464"/>
                    <a:pt x="18842" y="411155"/>
                  </a:cubicBezTo>
                  <a:cubicBezTo>
                    <a:pt x="53038" y="473846"/>
                    <a:pt x="110030" y="527989"/>
                    <a:pt x="158473" y="530839"/>
                  </a:cubicBezTo>
                  <a:cubicBezTo>
                    <a:pt x="221165" y="536538"/>
                    <a:pt x="326599" y="459598"/>
                    <a:pt x="360795" y="396907"/>
                  </a:cubicBezTo>
                  <a:cubicBezTo>
                    <a:pt x="394990" y="334216"/>
                    <a:pt x="394990" y="234480"/>
                    <a:pt x="394990" y="186037"/>
                  </a:cubicBezTo>
                  <a:cubicBezTo>
                    <a:pt x="392141" y="97699"/>
                    <a:pt x="366494" y="23609"/>
                    <a:pt x="195518" y="812"/>
                  </a:cubicBezTo>
                  <a:cubicBezTo>
                    <a:pt x="112879" y="-10586"/>
                    <a:pt x="24542" y="100549"/>
                    <a:pt x="7445" y="171789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BA1D52FC-471C-4C52-9294-2D9072FE15B0}"/>
                </a:ext>
              </a:extLst>
            </p:cNvPr>
            <p:cNvSpPr/>
            <p:nvPr/>
          </p:nvSpPr>
          <p:spPr>
            <a:xfrm>
              <a:off x="23281024" y="8590112"/>
              <a:ext cx="51294" cy="123713"/>
            </a:xfrm>
            <a:custGeom>
              <a:avLst/>
              <a:gdLst>
                <a:gd name="connsiteX0" fmla="*/ 28496 w 51294"/>
                <a:gd name="connsiteY0" fmla="*/ 123713 h 123713"/>
                <a:gd name="connsiteX1" fmla="*/ 5700 w 51294"/>
                <a:gd name="connsiteY1" fmla="*/ 118014 h 123713"/>
                <a:gd name="connsiteX2" fmla="*/ 0 w 51294"/>
                <a:gd name="connsiteY2" fmla="*/ 106616 h 123713"/>
                <a:gd name="connsiteX3" fmla="*/ 25647 w 51294"/>
                <a:gd name="connsiteY3" fmla="*/ 4030 h 123713"/>
                <a:gd name="connsiteX4" fmla="*/ 31347 w 51294"/>
                <a:gd name="connsiteY4" fmla="*/ 1180 h 123713"/>
                <a:gd name="connsiteX5" fmla="*/ 34196 w 51294"/>
                <a:gd name="connsiteY5" fmla="*/ 6880 h 123713"/>
                <a:gd name="connsiteX6" fmla="*/ 8550 w 51294"/>
                <a:gd name="connsiteY6" fmla="*/ 106616 h 123713"/>
                <a:gd name="connsiteX7" fmla="*/ 8550 w 51294"/>
                <a:gd name="connsiteY7" fmla="*/ 109465 h 123713"/>
                <a:gd name="connsiteX8" fmla="*/ 45595 w 51294"/>
                <a:gd name="connsiteY8" fmla="*/ 109465 h 123713"/>
                <a:gd name="connsiteX9" fmla="*/ 51294 w 51294"/>
                <a:gd name="connsiteY9" fmla="*/ 115165 h 123713"/>
                <a:gd name="connsiteX10" fmla="*/ 45595 w 51294"/>
                <a:gd name="connsiteY10" fmla="*/ 120864 h 123713"/>
                <a:gd name="connsiteX11" fmla="*/ 28496 w 51294"/>
                <a:gd name="connsiteY11" fmla="*/ 123713 h 12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294" h="123713">
                  <a:moveTo>
                    <a:pt x="28496" y="123713"/>
                  </a:moveTo>
                  <a:cubicBezTo>
                    <a:pt x="19948" y="123713"/>
                    <a:pt x="11399" y="123713"/>
                    <a:pt x="5700" y="118014"/>
                  </a:cubicBezTo>
                  <a:cubicBezTo>
                    <a:pt x="2851" y="115165"/>
                    <a:pt x="0" y="112315"/>
                    <a:pt x="0" y="106616"/>
                  </a:cubicBezTo>
                  <a:cubicBezTo>
                    <a:pt x="0" y="86669"/>
                    <a:pt x="25647" y="6880"/>
                    <a:pt x="25647" y="4030"/>
                  </a:cubicBezTo>
                  <a:cubicBezTo>
                    <a:pt x="25647" y="1180"/>
                    <a:pt x="28496" y="-1669"/>
                    <a:pt x="31347" y="1180"/>
                  </a:cubicBezTo>
                  <a:cubicBezTo>
                    <a:pt x="34196" y="1180"/>
                    <a:pt x="37046" y="4030"/>
                    <a:pt x="34196" y="6880"/>
                  </a:cubicBezTo>
                  <a:cubicBezTo>
                    <a:pt x="28496" y="29676"/>
                    <a:pt x="8550" y="89518"/>
                    <a:pt x="8550" y="106616"/>
                  </a:cubicBezTo>
                  <a:cubicBezTo>
                    <a:pt x="8550" y="106616"/>
                    <a:pt x="8550" y="109465"/>
                    <a:pt x="8550" y="109465"/>
                  </a:cubicBezTo>
                  <a:cubicBezTo>
                    <a:pt x="14248" y="115165"/>
                    <a:pt x="34196" y="112315"/>
                    <a:pt x="45595" y="109465"/>
                  </a:cubicBezTo>
                  <a:cubicBezTo>
                    <a:pt x="48444" y="109465"/>
                    <a:pt x="51294" y="109465"/>
                    <a:pt x="51294" y="115165"/>
                  </a:cubicBezTo>
                  <a:cubicBezTo>
                    <a:pt x="51294" y="118014"/>
                    <a:pt x="51294" y="120864"/>
                    <a:pt x="45595" y="120864"/>
                  </a:cubicBezTo>
                  <a:cubicBezTo>
                    <a:pt x="45595" y="120864"/>
                    <a:pt x="37046" y="123713"/>
                    <a:pt x="28496" y="123713"/>
                  </a:cubicBezTo>
                  <a:close/>
                </a:path>
              </a:pathLst>
            </a:custGeom>
            <a:solidFill>
              <a:srgbClr val="E58777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27A20CBF-7D39-4099-B94A-1981E26EBAF6}"/>
                </a:ext>
              </a:extLst>
            </p:cNvPr>
            <p:cNvSpPr/>
            <p:nvPr/>
          </p:nvSpPr>
          <p:spPr>
            <a:xfrm>
              <a:off x="23263927" y="8759419"/>
              <a:ext cx="99736" cy="51292"/>
            </a:xfrm>
            <a:custGeom>
              <a:avLst/>
              <a:gdLst>
                <a:gd name="connsiteX0" fmla="*/ 99736 w 99736"/>
                <a:gd name="connsiteY0" fmla="*/ 0 h 51292"/>
                <a:gd name="connsiteX1" fmla="*/ 0 w 99736"/>
                <a:gd name="connsiteY1" fmla="*/ 0 h 51292"/>
                <a:gd name="connsiteX2" fmla="*/ 48444 w 99736"/>
                <a:gd name="connsiteY2" fmla="*/ 51293 h 51292"/>
                <a:gd name="connsiteX3" fmla="*/ 99736 w 99736"/>
                <a:gd name="connsiteY3" fmla="*/ 0 h 51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736" h="51292">
                  <a:moveTo>
                    <a:pt x="99736" y="0"/>
                  </a:moveTo>
                  <a:cubicBezTo>
                    <a:pt x="48444" y="22797"/>
                    <a:pt x="0" y="0"/>
                    <a:pt x="0" y="0"/>
                  </a:cubicBezTo>
                  <a:cubicBezTo>
                    <a:pt x="0" y="0"/>
                    <a:pt x="14248" y="51293"/>
                    <a:pt x="48444" y="51293"/>
                  </a:cubicBezTo>
                  <a:cubicBezTo>
                    <a:pt x="85488" y="51293"/>
                    <a:pt x="99736" y="0"/>
                    <a:pt x="99736" y="0"/>
                  </a:cubicBezTo>
                  <a:close/>
                </a:path>
              </a:pathLst>
            </a:custGeom>
            <a:solidFill>
              <a:srgbClr val="FFFFFF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4DAF9F28-E86E-44EC-95DE-AE1D69D91C09}"/>
                </a:ext>
              </a:extLst>
            </p:cNvPr>
            <p:cNvSpPr/>
            <p:nvPr/>
          </p:nvSpPr>
          <p:spPr>
            <a:xfrm>
              <a:off x="23211908" y="8562071"/>
              <a:ext cx="38497" cy="38330"/>
            </a:xfrm>
            <a:custGeom>
              <a:avLst/>
              <a:gdLst>
                <a:gd name="connsiteX0" fmla="*/ 37771 w 38497"/>
                <a:gd name="connsiteY0" fmla="*/ 23523 h 38330"/>
                <a:gd name="connsiteX1" fmla="*/ 14975 w 38497"/>
                <a:gd name="connsiteY1" fmla="*/ 37771 h 38330"/>
                <a:gd name="connsiteX2" fmla="*/ 727 w 38497"/>
                <a:gd name="connsiteY2" fmla="*/ 14974 h 38330"/>
                <a:gd name="connsiteX3" fmla="*/ 23523 w 38497"/>
                <a:gd name="connsiteY3" fmla="*/ 726 h 38330"/>
                <a:gd name="connsiteX4" fmla="*/ 37771 w 38497"/>
                <a:gd name="connsiteY4" fmla="*/ 23523 h 38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497" h="38330">
                  <a:moveTo>
                    <a:pt x="37771" y="23523"/>
                  </a:moveTo>
                  <a:cubicBezTo>
                    <a:pt x="34922" y="32072"/>
                    <a:pt x="26372" y="40621"/>
                    <a:pt x="14975" y="37771"/>
                  </a:cubicBezTo>
                  <a:cubicBezTo>
                    <a:pt x="3576" y="34921"/>
                    <a:pt x="-2124" y="26372"/>
                    <a:pt x="727" y="14974"/>
                  </a:cubicBezTo>
                  <a:cubicBezTo>
                    <a:pt x="3576" y="3576"/>
                    <a:pt x="12124" y="-2124"/>
                    <a:pt x="23523" y="726"/>
                  </a:cubicBezTo>
                  <a:cubicBezTo>
                    <a:pt x="34922" y="3576"/>
                    <a:pt x="40620" y="14974"/>
                    <a:pt x="37771" y="23523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BE1DCEB5-50D3-474A-8691-7DD2ED2443E9}"/>
                </a:ext>
              </a:extLst>
            </p:cNvPr>
            <p:cNvSpPr/>
            <p:nvPr/>
          </p:nvSpPr>
          <p:spPr>
            <a:xfrm>
              <a:off x="23391601" y="8570619"/>
              <a:ext cx="37603" cy="38330"/>
            </a:xfrm>
            <a:custGeom>
              <a:avLst/>
              <a:gdLst>
                <a:gd name="connsiteX0" fmla="*/ 37603 w 37603"/>
                <a:gd name="connsiteY0" fmla="*/ 23523 h 38330"/>
                <a:gd name="connsiteX1" fmla="*/ 14807 w 37603"/>
                <a:gd name="connsiteY1" fmla="*/ 37771 h 38330"/>
                <a:gd name="connsiteX2" fmla="*/ 559 w 37603"/>
                <a:gd name="connsiteY2" fmla="*/ 14974 h 38330"/>
                <a:gd name="connsiteX3" fmla="*/ 23355 w 37603"/>
                <a:gd name="connsiteY3" fmla="*/ 726 h 38330"/>
                <a:gd name="connsiteX4" fmla="*/ 37603 w 37603"/>
                <a:gd name="connsiteY4" fmla="*/ 23523 h 38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03" h="38330">
                  <a:moveTo>
                    <a:pt x="37603" y="23523"/>
                  </a:moveTo>
                  <a:cubicBezTo>
                    <a:pt x="34754" y="32072"/>
                    <a:pt x="26206" y="40621"/>
                    <a:pt x="14807" y="37771"/>
                  </a:cubicBezTo>
                  <a:cubicBezTo>
                    <a:pt x="6258" y="34921"/>
                    <a:pt x="-2290" y="26373"/>
                    <a:pt x="559" y="14974"/>
                  </a:cubicBezTo>
                  <a:cubicBezTo>
                    <a:pt x="3408" y="3576"/>
                    <a:pt x="11958" y="-2124"/>
                    <a:pt x="23355" y="726"/>
                  </a:cubicBezTo>
                  <a:cubicBezTo>
                    <a:pt x="31904" y="3576"/>
                    <a:pt x="37603" y="12125"/>
                    <a:pt x="37603" y="23523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5EF87660-DCDA-4696-8CCC-5A0E15120D5F}"/>
                </a:ext>
              </a:extLst>
            </p:cNvPr>
            <p:cNvSpPr/>
            <p:nvPr/>
          </p:nvSpPr>
          <p:spPr>
            <a:xfrm>
              <a:off x="23190550" y="8515778"/>
              <a:ext cx="85955" cy="32770"/>
            </a:xfrm>
            <a:custGeom>
              <a:avLst/>
              <a:gdLst>
                <a:gd name="connsiteX0" fmla="*/ 7836 w 85955"/>
                <a:gd name="connsiteY0" fmla="*/ 32770 h 32770"/>
                <a:gd name="connsiteX1" fmla="*/ 2137 w 85955"/>
                <a:gd name="connsiteY1" fmla="*/ 29921 h 32770"/>
                <a:gd name="connsiteX2" fmla="*/ 2137 w 85955"/>
                <a:gd name="connsiteY2" fmla="*/ 18522 h 32770"/>
                <a:gd name="connsiteX3" fmla="*/ 81925 w 85955"/>
                <a:gd name="connsiteY3" fmla="*/ 7124 h 32770"/>
                <a:gd name="connsiteX4" fmla="*/ 84776 w 85955"/>
                <a:gd name="connsiteY4" fmla="*/ 15673 h 32770"/>
                <a:gd name="connsiteX5" fmla="*/ 76226 w 85955"/>
                <a:gd name="connsiteY5" fmla="*/ 18522 h 32770"/>
                <a:gd name="connsiteX6" fmla="*/ 13536 w 85955"/>
                <a:gd name="connsiteY6" fmla="*/ 24222 h 32770"/>
                <a:gd name="connsiteX7" fmla="*/ 7836 w 85955"/>
                <a:gd name="connsiteY7" fmla="*/ 32770 h 32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5" h="32770">
                  <a:moveTo>
                    <a:pt x="7836" y="32770"/>
                  </a:moveTo>
                  <a:cubicBezTo>
                    <a:pt x="4986" y="32770"/>
                    <a:pt x="4986" y="32770"/>
                    <a:pt x="2137" y="29921"/>
                  </a:cubicBezTo>
                  <a:cubicBezTo>
                    <a:pt x="-712" y="27071"/>
                    <a:pt x="-712" y="21372"/>
                    <a:pt x="2137" y="18522"/>
                  </a:cubicBezTo>
                  <a:cubicBezTo>
                    <a:pt x="27784" y="-9974"/>
                    <a:pt x="64828" y="1425"/>
                    <a:pt x="81925" y="7124"/>
                  </a:cubicBezTo>
                  <a:cubicBezTo>
                    <a:pt x="84776" y="9974"/>
                    <a:pt x="87625" y="12823"/>
                    <a:pt x="84776" y="15673"/>
                  </a:cubicBezTo>
                  <a:cubicBezTo>
                    <a:pt x="81925" y="18522"/>
                    <a:pt x="79076" y="21372"/>
                    <a:pt x="76226" y="18522"/>
                  </a:cubicBezTo>
                  <a:cubicBezTo>
                    <a:pt x="73377" y="18522"/>
                    <a:pt x="36332" y="-1425"/>
                    <a:pt x="13536" y="24222"/>
                  </a:cubicBezTo>
                  <a:cubicBezTo>
                    <a:pt x="10685" y="32770"/>
                    <a:pt x="7836" y="32770"/>
                    <a:pt x="7836" y="32770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171CB4D4-6435-4789-A751-68FDAF459E0A}"/>
                </a:ext>
              </a:extLst>
            </p:cNvPr>
            <p:cNvSpPr/>
            <p:nvPr/>
          </p:nvSpPr>
          <p:spPr>
            <a:xfrm>
              <a:off x="23365332" y="8517493"/>
              <a:ext cx="85955" cy="33905"/>
            </a:xfrm>
            <a:custGeom>
              <a:avLst/>
              <a:gdLst>
                <a:gd name="connsiteX0" fmla="*/ 80970 w 85955"/>
                <a:gd name="connsiteY0" fmla="*/ 33905 h 33905"/>
                <a:gd name="connsiteX1" fmla="*/ 75271 w 85955"/>
                <a:gd name="connsiteY1" fmla="*/ 31056 h 33905"/>
                <a:gd name="connsiteX2" fmla="*/ 12579 w 85955"/>
                <a:gd name="connsiteY2" fmla="*/ 25356 h 33905"/>
                <a:gd name="connsiteX3" fmla="*/ 1180 w 85955"/>
                <a:gd name="connsiteY3" fmla="*/ 22507 h 33905"/>
                <a:gd name="connsiteX4" fmla="*/ 4031 w 85955"/>
                <a:gd name="connsiteY4" fmla="*/ 11108 h 33905"/>
                <a:gd name="connsiteX5" fmla="*/ 83819 w 85955"/>
                <a:gd name="connsiteY5" fmla="*/ 19657 h 33905"/>
                <a:gd name="connsiteX6" fmla="*/ 83819 w 85955"/>
                <a:gd name="connsiteY6" fmla="*/ 31056 h 33905"/>
                <a:gd name="connsiteX7" fmla="*/ 80970 w 85955"/>
                <a:gd name="connsiteY7" fmla="*/ 33905 h 33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5" h="33905">
                  <a:moveTo>
                    <a:pt x="80970" y="33905"/>
                  </a:moveTo>
                  <a:cubicBezTo>
                    <a:pt x="78120" y="33905"/>
                    <a:pt x="78120" y="33905"/>
                    <a:pt x="75271" y="31056"/>
                  </a:cubicBezTo>
                  <a:cubicBezTo>
                    <a:pt x="75271" y="31056"/>
                    <a:pt x="46775" y="2560"/>
                    <a:pt x="12579" y="25356"/>
                  </a:cubicBezTo>
                  <a:cubicBezTo>
                    <a:pt x="9730" y="28206"/>
                    <a:pt x="4031" y="25356"/>
                    <a:pt x="1180" y="22507"/>
                  </a:cubicBezTo>
                  <a:cubicBezTo>
                    <a:pt x="-1669" y="19657"/>
                    <a:pt x="1180" y="13958"/>
                    <a:pt x="4031" y="11108"/>
                  </a:cubicBezTo>
                  <a:cubicBezTo>
                    <a:pt x="38226" y="-11688"/>
                    <a:pt x="72420" y="5409"/>
                    <a:pt x="83819" y="19657"/>
                  </a:cubicBezTo>
                  <a:cubicBezTo>
                    <a:pt x="86668" y="22507"/>
                    <a:pt x="86668" y="28206"/>
                    <a:pt x="83819" y="31056"/>
                  </a:cubicBezTo>
                  <a:cubicBezTo>
                    <a:pt x="83819" y="33905"/>
                    <a:pt x="83819" y="33905"/>
                    <a:pt x="80970" y="33905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20BA1843-9A58-4C0B-A769-5E8DF827D1A4}"/>
                </a:ext>
              </a:extLst>
            </p:cNvPr>
            <p:cNvSpPr/>
            <p:nvPr/>
          </p:nvSpPr>
          <p:spPr>
            <a:xfrm>
              <a:off x="23135484" y="8307060"/>
              <a:ext cx="258629" cy="241489"/>
            </a:xfrm>
            <a:custGeom>
              <a:avLst/>
              <a:gdLst>
                <a:gd name="connsiteX0" fmla="*/ 256675 w 258629"/>
                <a:gd name="connsiteY0" fmla="*/ 2122 h 241489"/>
                <a:gd name="connsiteX1" fmla="*/ 222480 w 258629"/>
                <a:gd name="connsiteY1" fmla="*/ 121806 h 241489"/>
                <a:gd name="connsiteX2" fmla="*/ 211 w 258629"/>
                <a:gd name="connsiteY2" fmla="*/ 241489 h 241489"/>
                <a:gd name="connsiteX3" fmla="*/ 256675 w 258629"/>
                <a:gd name="connsiteY3" fmla="*/ 2122 h 24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8629" h="241489">
                  <a:moveTo>
                    <a:pt x="256675" y="2122"/>
                  </a:moveTo>
                  <a:cubicBezTo>
                    <a:pt x="256675" y="2122"/>
                    <a:pt x="270923" y="84761"/>
                    <a:pt x="222480" y="121806"/>
                  </a:cubicBezTo>
                  <a:cubicBezTo>
                    <a:pt x="222480" y="121806"/>
                    <a:pt x="25858" y="161700"/>
                    <a:pt x="211" y="241489"/>
                  </a:cubicBezTo>
                  <a:cubicBezTo>
                    <a:pt x="211" y="241489"/>
                    <a:pt x="-16886" y="-26374"/>
                    <a:pt x="256675" y="2122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F0F40868-394B-4F1B-A03F-A0227C2755D7}"/>
                </a:ext>
              </a:extLst>
            </p:cNvPr>
            <p:cNvSpPr/>
            <p:nvPr/>
          </p:nvSpPr>
          <p:spPr>
            <a:xfrm>
              <a:off x="23357964" y="8309182"/>
              <a:ext cx="209604" cy="293971"/>
            </a:xfrm>
            <a:custGeom>
              <a:avLst/>
              <a:gdLst>
                <a:gd name="connsiteX0" fmla="*/ 0 w 209604"/>
                <a:gd name="connsiteY0" fmla="*/ 119683 h 293971"/>
                <a:gd name="connsiteX1" fmla="*/ 131083 w 209604"/>
                <a:gd name="connsiteY1" fmla="*/ 170976 h 293971"/>
                <a:gd name="connsiteX2" fmla="*/ 185224 w 209604"/>
                <a:gd name="connsiteY2" fmla="*/ 282111 h 293971"/>
                <a:gd name="connsiteX3" fmla="*/ 208021 w 209604"/>
                <a:gd name="connsiteY3" fmla="*/ 279261 h 293971"/>
                <a:gd name="connsiteX4" fmla="*/ 31347 w 209604"/>
                <a:gd name="connsiteY4" fmla="*/ 0 h 293971"/>
                <a:gd name="connsiteX5" fmla="*/ 0 w 209604"/>
                <a:gd name="connsiteY5" fmla="*/ 119683 h 293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604" h="293971">
                  <a:moveTo>
                    <a:pt x="0" y="119683"/>
                  </a:moveTo>
                  <a:cubicBezTo>
                    <a:pt x="0" y="119683"/>
                    <a:pt x="85488" y="165277"/>
                    <a:pt x="131083" y="170976"/>
                  </a:cubicBezTo>
                  <a:cubicBezTo>
                    <a:pt x="179525" y="176675"/>
                    <a:pt x="185224" y="282111"/>
                    <a:pt x="185224" y="282111"/>
                  </a:cubicBezTo>
                  <a:cubicBezTo>
                    <a:pt x="185224" y="282111"/>
                    <a:pt x="205172" y="310607"/>
                    <a:pt x="208021" y="279261"/>
                  </a:cubicBezTo>
                  <a:cubicBezTo>
                    <a:pt x="213720" y="205171"/>
                    <a:pt x="213720" y="19947"/>
                    <a:pt x="31347" y="0"/>
                  </a:cubicBezTo>
                  <a:cubicBezTo>
                    <a:pt x="34196" y="0"/>
                    <a:pt x="22796" y="113984"/>
                    <a:pt x="0" y="119683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7882C1DC-E496-4ACC-9491-F3C6812B46BB}"/>
                </a:ext>
              </a:extLst>
            </p:cNvPr>
            <p:cNvSpPr/>
            <p:nvPr/>
          </p:nvSpPr>
          <p:spPr>
            <a:xfrm>
              <a:off x="23355115" y="8351926"/>
              <a:ext cx="145329" cy="133931"/>
            </a:xfrm>
            <a:custGeom>
              <a:avLst/>
              <a:gdLst>
                <a:gd name="connsiteX0" fmla="*/ 136781 w 145329"/>
                <a:gd name="connsiteY0" fmla="*/ 133931 h 133931"/>
                <a:gd name="connsiteX1" fmla="*/ 136781 w 145329"/>
                <a:gd name="connsiteY1" fmla="*/ 133931 h 133931"/>
                <a:gd name="connsiteX2" fmla="*/ 45593 w 145329"/>
                <a:gd name="connsiteY2" fmla="*/ 102585 h 133931"/>
                <a:gd name="connsiteX3" fmla="*/ 2849 w 145329"/>
                <a:gd name="connsiteY3" fmla="*/ 79789 h 133931"/>
                <a:gd name="connsiteX4" fmla="*/ 0 w 145329"/>
                <a:gd name="connsiteY4" fmla="*/ 76939 h 133931"/>
                <a:gd name="connsiteX5" fmla="*/ 0 w 145329"/>
                <a:gd name="connsiteY5" fmla="*/ 71240 h 133931"/>
                <a:gd name="connsiteX6" fmla="*/ 25645 w 145329"/>
                <a:gd name="connsiteY6" fmla="*/ 5699 h 133931"/>
                <a:gd name="connsiteX7" fmla="*/ 31345 w 145329"/>
                <a:gd name="connsiteY7" fmla="*/ 0 h 133931"/>
                <a:gd name="connsiteX8" fmla="*/ 37045 w 145329"/>
                <a:gd name="connsiteY8" fmla="*/ 5699 h 133931"/>
                <a:gd name="connsiteX9" fmla="*/ 14248 w 145329"/>
                <a:gd name="connsiteY9" fmla="*/ 71240 h 133931"/>
                <a:gd name="connsiteX10" fmla="*/ 51293 w 145329"/>
                <a:gd name="connsiteY10" fmla="*/ 91187 h 133931"/>
                <a:gd name="connsiteX11" fmla="*/ 139630 w 145329"/>
                <a:gd name="connsiteY11" fmla="*/ 119683 h 133931"/>
                <a:gd name="connsiteX12" fmla="*/ 145329 w 145329"/>
                <a:gd name="connsiteY12" fmla="*/ 125382 h 133931"/>
                <a:gd name="connsiteX13" fmla="*/ 136781 w 145329"/>
                <a:gd name="connsiteY13" fmla="*/ 133931 h 13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5329" h="133931">
                  <a:moveTo>
                    <a:pt x="136781" y="133931"/>
                  </a:moveTo>
                  <a:cubicBezTo>
                    <a:pt x="136781" y="133931"/>
                    <a:pt x="136781" y="133931"/>
                    <a:pt x="136781" y="133931"/>
                  </a:cubicBezTo>
                  <a:cubicBezTo>
                    <a:pt x="108285" y="131082"/>
                    <a:pt x="76940" y="119683"/>
                    <a:pt x="45593" y="102585"/>
                  </a:cubicBezTo>
                  <a:cubicBezTo>
                    <a:pt x="19948" y="91187"/>
                    <a:pt x="2849" y="79789"/>
                    <a:pt x="2849" y="79789"/>
                  </a:cubicBezTo>
                  <a:cubicBezTo>
                    <a:pt x="2849" y="79789"/>
                    <a:pt x="0" y="76939"/>
                    <a:pt x="0" y="76939"/>
                  </a:cubicBezTo>
                  <a:cubicBezTo>
                    <a:pt x="0" y="74089"/>
                    <a:pt x="0" y="74089"/>
                    <a:pt x="0" y="71240"/>
                  </a:cubicBezTo>
                  <a:cubicBezTo>
                    <a:pt x="5700" y="65541"/>
                    <a:pt x="22796" y="28496"/>
                    <a:pt x="25645" y="5699"/>
                  </a:cubicBezTo>
                  <a:cubicBezTo>
                    <a:pt x="25645" y="2849"/>
                    <a:pt x="28496" y="0"/>
                    <a:pt x="31345" y="0"/>
                  </a:cubicBezTo>
                  <a:cubicBezTo>
                    <a:pt x="34196" y="0"/>
                    <a:pt x="37045" y="2849"/>
                    <a:pt x="37045" y="5699"/>
                  </a:cubicBezTo>
                  <a:cubicBezTo>
                    <a:pt x="34196" y="28496"/>
                    <a:pt x="22796" y="59841"/>
                    <a:pt x="14248" y="71240"/>
                  </a:cubicBezTo>
                  <a:cubicBezTo>
                    <a:pt x="19948" y="74089"/>
                    <a:pt x="34196" y="82638"/>
                    <a:pt x="51293" y="91187"/>
                  </a:cubicBezTo>
                  <a:cubicBezTo>
                    <a:pt x="82637" y="105435"/>
                    <a:pt x="113984" y="116834"/>
                    <a:pt x="139630" y="119683"/>
                  </a:cubicBezTo>
                  <a:cubicBezTo>
                    <a:pt x="142480" y="119683"/>
                    <a:pt x="145329" y="122533"/>
                    <a:pt x="145329" y="125382"/>
                  </a:cubicBezTo>
                  <a:cubicBezTo>
                    <a:pt x="142480" y="131082"/>
                    <a:pt x="139630" y="133931"/>
                    <a:pt x="136781" y="133931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009CF0ED-004D-4CD1-9D5C-D25371C7DB75}"/>
                </a:ext>
              </a:extLst>
            </p:cNvPr>
            <p:cNvSpPr/>
            <p:nvPr/>
          </p:nvSpPr>
          <p:spPr>
            <a:xfrm>
              <a:off x="23247542" y="8800983"/>
              <a:ext cx="208488" cy="75270"/>
            </a:xfrm>
            <a:custGeom>
              <a:avLst/>
              <a:gdLst>
                <a:gd name="connsiteX0" fmla="*/ 67677 w 208488"/>
                <a:gd name="connsiteY0" fmla="*/ 75270 h 75270"/>
                <a:gd name="connsiteX1" fmla="*/ 2137 w 208488"/>
                <a:gd name="connsiteY1" fmla="*/ 49624 h 75270"/>
                <a:gd name="connsiteX2" fmla="*/ 2137 w 208488"/>
                <a:gd name="connsiteY2" fmla="*/ 41075 h 75270"/>
                <a:gd name="connsiteX3" fmla="*/ 10685 w 208488"/>
                <a:gd name="connsiteY3" fmla="*/ 41075 h 75270"/>
                <a:gd name="connsiteX4" fmla="*/ 76226 w 208488"/>
                <a:gd name="connsiteY4" fmla="*/ 63872 h 75270"/>
                <a:gd name="connsiteX5" fmla="*/ 198760 w 208488"/>
                <a:gd name="connsiteY5" fmla="*/ 1180 h 75270"/>
                <a:gd name="connsiteX6" fmla="*/ 207309 w 208488"/>
                <a:gd name="connsiteY6" fmla="*/ 4030 h 75270"/>
                <a:gd name="connsiteX7" fmla="*/ 204458 w 208488"/>
                <a:gd name="connsiteY7" fmla="*/ 12579 h 75270"/>
                <a:gd name="connsiteX8" fmla="*/ 76226 w 208488"/>
                <a:gd name="connsiteY8" fmla="*/ 75270 h 75270"/>
                <a:gd name="connsiteX9" fmla="*/ 67677 w 208488"/>
                <a:gd name="connsiteY9" fmla="*/ 75270 h 75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8488" h="75270">
                  <a:moveTo>
                    <a:pt x="67677" y="75270"/>
                  </a:moveTo>
                  <a:cubicBezTo>
                    <a:pt x="30633" y="75270"/>
                    <a:pt x="4986" y="49624"/>
                    <a:pt x="2137" y="49624"/>
                  </a:cubicBezTo>
                  <a:cubicBezTo>
                    <a:pt x="-712" y="46774"/>
                    <a:pt x="-712" y="43924"/>
                    <a:pt x="2137" y="41075"/>
                  </a:cubicBezTo>
                  <a:cubicBezTo>
                    <a:pt x="4986" y="38225"/>
                    <a:pt x="7836" y="38225"/>
                    <a:pt x="10685" y="41075"/>
                  </a:cubicBezTo>
                  <a:cubicBezTo>
                    <a:pt x="10685" y="41075"/>
                    <a:pt x="42032" y="69571"/>
                    <a:pt x="76226" y="63872"/>
                  </a:cubicBezTo>
                  <a:cubicBezTo>
                    <a:pt x="113272" y="58172"/>
                    <a:pt x="198760" y="1180"/>
                    <a:pt x="198760" y="1180"/>
                  </a:cubicBezTo>
                  <a:cubicBezTo>
                    <a:pt x="201609" y="-1669"/>
                    <a:pt x="204458" y="1180"/>
                    <a:pt x="207309" y="4030"/>
                  </a:cubicBezTo>
                  <a:cubicBezTo>
                    <a:pt x="210157" y="6880"/>
                    <a:pt x="207309" y="9729"/>
                    <a:pt x="204458" y="12579"/>
                  </a:cubicBezTo>
                  <a:cubicBezTo>
                    <a:pt x="201609" y="15428"/>
                    <a:pt x="116121" y="72420"/>
                    <a:pt x="76226" y="75270"/>
                  </a:cubicBezTo>
                  <a:cubicBezTo>
                    <a:pt x="73377" y="75270"/>
                    <a:pt x="70528" y="75270"/>
                    <a:pt x="67677" y="75270"/>
                  </a:cubicBezTo>
                  <a:close/>
                </a:path>
              </a:pathLst>
            </a:custGeom>
            <a:solidFill>
              <a:srgbClr val="E58777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267BB788-A4BA-47FA-A319-45C5D914E915}"/>
                </a:ext>
              </a:extLst>
            </p:cNvPr>
            <p:cNvSpPr/>
            <p:nvPr/>
          </p:nvSpPr>
          <p:spPr>
            <a:xfrm>
              <a:off x="23510575" y="8578507"/>
              <a:ext cx="73781" cy="106598"/>
            </a:xfrm>
            <a:custGeom>
              <a:avLst/>
              <a:gdLst>
                <a:gd name="connsiteX0" fmla="*/ 12665 w 73781"/>
                <a:gd name="connsiteY0" fmla="*/ 15636 h 106598"/>
                <a:gd name="connsiteX1" fmla="*/ 66808 w 73781"/>
                <a:gd name="connsiteY1" fmla="*/ 7087 h 106598"/>
                <a:gd name="connsiteX2" fmla="*/ 12665 w 73781"/>
                <a:gd name="connsiteY2" fmla="*/ 103973 h 106598"/>
                <a:gd name="connsiteX3" fmla="*/ 12665 w 73781"/>
                <a:gd name="connsiteY3" fmla="*/ 15636 h 106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781" h="106598">
                  <a:moveTo>
                    <a:pt x="12665" y="15636"/>
                  </a:moveTo>
                  <a:cubicBezTo>
                    <a:pt x="12665" y="15636"/>
                    <a:pt x="44012" y="-12860"/>
                    <a:pt x="66808" y="7087"/>
                  </a:cubicBezTo>
                  <a:cubicBezTo>
                    <a:pt x="89605" y="24184"/>
                    <a:pt x="52560" y="123920"/>
                    <a:pt x="12665" y="103973"/>
                  </a:cubicBezTo>
                  <a:cubicBezTo>
                    <a:pt x="-15831" y="84026"/>
                    <a:pt x="12665" y="15636"/>
                    <a:pt x="12665" y="15636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3B423611-4F1E-4139-BC5C-FAADE82072C8}"/>
                </a:ext>
              </a:extLst>
            </p:cNvPr>
            <p:cNvSpPr/>
            <p:nvPr/>
          </p:nvSpPr>
          <p:spPr>
            <a:xfrm>
              <a:off x="23129995" y="8420317"/>
              <a:ext cx="236516" cy="148179"/>
            </a:xfrm>
            <a:custGeom>
              <a:avLst/>
              <a:gdLst>
                <a:gd name="connsiteX0" fmla="*/ 5700 w 236516"/>
                <a:gd name="connsiteY0" fmla="*/ 148179 h 148179"/>
                <a:gd name="connsiteX1" fmla="*/ 5700 w 236516"/>
                <a:gd name="connsiteY1" fmla="*/ 148179 h 148179"/>
                <a:gd name="connsiteX2" fmla="*/ 0 w 236516"/>
                <a:gd name="connsiteY2" fmla="*/ 142480 h 148179"/>
                <a:gd name="connsiteX3" fmla="*/ 102587 w 236516"/>
                <a:gd name="connsiteY3" fmla="*/ 42744 h 148179"/>
                <a:gd name="connsiteX4" fmla="*/ 227968 w 236516"/>
                <a:gd name="connsiteY4" fmla="*/ 0 h 148179"/>
                <a:gd name="connsiteX5" fmla="*/ 236517 w 236516"/>
                <a:gd name="connsiteY5" fmla="*/ 2850 h 148179"/>
                <a:gd name="connsiteX6" fmla="*/ 233668 w 236516"/>
                <a:gd name="connsiteY6" fmla="*/ 11398 h 148179"/>
                <a:gd name="connsiteX7" fmla="*/ 108285 w 236516"/>
                <a:gd name="connsiteY7" fmla="*/ 54142 h 148179"/>
                <a:gd name="connsiteX8" fmla="*/ 14248 w 236516"/>
                <a:gd name="connsiteY8" fmla="*/ 145330 h 148179"/>
                <a:gd name="connsiteX9" fmla="*/ 5700 w 236516"/>
                <a:gd name="connsiteY9" fmla="*/ 148179 h 148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516" h="148179">
                  <a:moveTo>
                    <a:pt x="5700" y="148179"/>
                  </a:moveTo>
                  <a:cubicBezTo>
                    <a:pt x="5700" y="148179"/>
                    <a:pt x="5700" y="148179"/>
                    <a:pt x="5700" y="148179"/>
                  </a:cubicBezTo>
                  <a:cubicBezTo>
                    <a:pt x="2851" y="148179"/>
                    <a:pt x="0" y="145330"/>
                    <a:pt x="0" y="142480"/>
                  </a:cubicBezTo>
                  <a:cubicBezTo>
                    <a:pt x="11399" y="76939"/>
                    <a:pt x="56992" y="56992"/>
                    <a:pt x="102587" y="42744"/>
                  </a:cubicBezTo>
                  <a:cubicBezTo>
                    <a:pt x="165277" y="25646"/>
                    <a:pt x="225119" y="0"/>
                    <a:pt x="227968" y="0"/>
                  </a:cubicBezTo>
                  <a:cubicBezTo>
                    <a:pt x="230819" y="0"/>
                    <a:pt x="233668" y="0"/>
                    <a:pt x="236517" y="2850"/>
                  </a:cubicBezTo>
                  <a:cubicBezTo>
                    <a:pt x="236517" y="5699"/>
                    <a:pt x="236517" y="8549"/>
                    <a:pt x="233668" y="11398"/>
                  </a:cubicBezTo>
                  <a:cubicBezTo>
                    <a:pt x="233668" y="11398"/>
                    <a:pt x="170976" y="34195"/>
                    <a:pt x="108285" y="54142"/>
                  </a:cubicBezTo>
                  <a:cubicBezTo>
                    <a:pt x="56992" y="68390"/>
                    <a:pt x="22796" y="91187"/>
                    <a:pt x="14248" y="145330"/>
                  </a:cubicBezTo>
                  <a:cubicBezTo>
                    <a:pt x="11399" y="148179"/>
                    <a:pt x="8548" y="148179"/>
                    <a:pt x="5700" y="148179"/>
                  </a:cubicBezTo>
                  <a:close/>
                </a:path>
              </a:pathLst>
            </a:custGeom>
            <a:solidFill>
              <a:srgbClr val="6C5D6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D8102984-3C69-4BDA-A6B5-21B369C05A05}"/>
                </a:ext>
              </a:extLst>
            </p:cNvPr>
            <p:cNvSpPr/>
            <p:nvPr/>
          </p:nvSpPr>
          <p:spPr>
            <a:xfrm>
              <a:off x="23993425" y="7947282"/>
              <a:ext cx="122534" cy="142480"/>
            </a:xfrm>
            <a:custGeom>
              <a:avLst/>
              <a:gdLst>
                <a:gd name="connsiteX0" fmla="*/ 111135 w 122534"/>
                <a:gd name="connsiteY0" fmla="*/ 11399 h 142480"/>
                <a:gd name="connsiteX1" fmla="*/ 122534 w 122534"/>
                <a:gd name="connsiteY1" fmla="*/ 116834 h 142480"/>
                <a:gd name="connsiteX2" fmla="*/ 8550 w 122534"/>
                <a:gd name="connsiteY2" fmla="*/ 142480 h 142480"/>
                <a:gd name="connsiteX3" fmla="*/ 0 w 122534"/>
                <a:gd name="connsiteY3" fmla="*/ 0 h 142480"/>
                <a:gd name="connsiteX4" fmla="*/ 65542 w 122534"/>
                <a:gd name="connsiteY4" fmla="*/ 22797 h 14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534" h="142480">
                  <a:moveTo>
                    <a:pt x="111135" y="11399"/>
                  </a:moveTo>
                  <a:lnTo>
                    <a:pt x="122534" y="116834"/>
                  </a:lnTo>
                  <a:lnTo>
                    <a:pt x="8550" y="142480"/>
                  </a:lnTo>
                  <a:lnTo>
                    <a:pt x="0" y="0"/>
                  </a:lnTo>
                  <a:lnTo>
                    <a:pt x="65542" y="22797"/>
                  </a:ln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3890DFEA-070D-462E-B600-49C6BEAD784C}"/>
                </a:ext>
              </a:extLst>
            </p:cNvPr>
            <p:cNvSpPr/>
            <p:nvPr/>
          </p:nvSpPr>
          <p:spPr>
            <a:xfrm>
              <a:off x="23556179" y="8018522"/>
              <a:ext cx="711717" cy="1219358"/>
            </a:xfrm>
            <a:custGeom>
              <a:avLst/>
              <a:gdLst>
                <a:gd name="connsiteX0" fmla="*/ 32604 w 711717"/>
                <a:gd name="connsiteY0" fmla="*/ 1105647 h 1219358"/>
                <a:gd name="connsiteX1" fmla="*/ 75348 w 711717"/>
                <a:gd name="connsiteY1" fmla="*/ 903325 h 1219358"/>
                <a:gd name="connsiteX2" fmla="*/ 437246 w 711717"/>
                <a:gd name="connsiteY2" fmla="*/ 609816 h 1219358"/>
                <a:gd name="connsiteX3" fmla="*/ 408750 w 711717"/>
                <a:gd name="connsiteY3" fmla="*/ 22797 h 1219358"/>
                <a:gd name="connsiteX4" fmla="*/ 579726 w 711717"/>
                <a:gd name="connsiteY4" fmla="*/ 0 h 1219358"/>
                <a:gd name="connsiteX5" fmla="*/ 696561 w 711717"/>
                <a:gd name="connsiteY5" fmla="*/ 743747 h 1219358"/>
                <a:gd name="connsiteX6" fmla="*/ 203580 w 711717"/>
                <a:gd name="connsiteY6" fmla="*/ 1205383 h 1219358"/>
                <a:gd name="connsiteX7" fmla="*/ 32604 w 711717"/>
                <a:gd name="connsiteY7" fmla="*/ 1105647 h 1219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1717" h="1219358">
                  <a:moveTo>
                    <a:pt x="32604" y="1105647"/>
                  </a:moveTo>
                  <a:cubicBezTo>
                    <a:pt x="-10141" y="1057203"/>
                    <a:pt x="-24389" y="1005911"/>
                    <a:pt x="75348" y="903325"/>
                  </a:cubicBezTo>
                  <a:cubicBezTo>
                    <a:pt x="214977" y="760845"/>
                    <a:pt x="437246" y="609816"/>
                    <a:pt x="437246" y="609816"/>
                  </a:cubicBezTo>
                  <a:lnTo>
                    <a:pt x="408750" y="22797"/>
                  </a:lnTo>
                  <a:lnTo>
                    <a:pt x="579726" y="0"/>
                  </a:lnTo>
                  <a:cubicBezTo>
                    <a:pt x="579726" y="0"/>
                    <a:pt x="764950" y="644011"/>
                    <a:pt x="696561" y="743747"/>
                  </a:cubicBezTo>
                  <a:cubicBezTo>
                    <a:pt x="645268" y="817837"/>
                    <a:pt x="442946" y="1020159"/>
                    <a:pt x="203580" y="1205383"/>
                  </a:cubicBezTo>
                  <a:cubicBezTo>
                    <a:pt x="138038" y="1253826"/>
                    <a:pt x="86745" y="1165488"/>
                    <a:pt x="32604" y="1105647"/>
                  </a:cubicBezTo>
                  <a:close/>
                </a:path>
              </a:pathLst>
            </a:custGeom>
            <a:solidFill>
              <a:srgbClr val="F1DDB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D18CA207-22E4-47CE-B01C-3293EA9F991C}"/>
                </a:ext>
              </a:extLst>
            </p:cNvPr>
            <p:cNvSpPr/>
            <p:nvPr/>
          </p:nvSpPr>
          <p:spPr>
            <a:xfrm>
              <a:off x="23576117" y="8622639"/>
              <a:ext cx="488547" cy="344802"/>
            </a:xfrm>
            <a:custGeom>
              <a:avLst/>
              <a:gdLst>
                <a:gd name="connsiteX0" fmla="*/ 6966 w 488547"/>
                <a:gd name="connsiteY0" fmla="*/ 344802 h 344802"/>
                <a:gd name="connsiteX1" fmla="*/ 1266 w 488547"/>
                <a:gd name="connsiteY1" fmla="*/ 341953 h 344802"/>
                <a:gd name="connsiteX2" fmla="*/ 1266 w 488547"/>
                <a:gd name="connsiteY2" fmla="*/ 333403 h 344802"/>
                <a:gd name="connsiteX3" fmla="*/ 81055 w 488547"/>
                <a:gd name="connsiteY3" fmla="*/ 256464 h 344802"/>
                <a:gd name="connsiteX4" fmla="*/ 408759 w 488547"/>
                <a:gd name="connsiteY4" fmla="*/ 0 h 344802"/>
                <a:gd name="connsiteX5" fmla="*/ 411610 w 488547"/>
                <a:gd name="connsiteY5" fmla="*/ 0 h 344802"/>
                <a:gd name="connsiteX6" fmla="*/ 482850 w 488547"/>
                <a:gd name="connsiteY6" fmla="*/ 5699 h 344802"/>
                <a:gd name="connsiteX7" fmla="*/ 488548 w 488547"/>
                <a:gd name="connsiteY7" fmla="*/ 11398 h 344802"/>
                <a:gd name="connsiteX8" fmla="*/ 482850 w 488547"/>
                <a:gd name="connsiteY8" fmla="*/ 17097 h 344802"/>
                <a:gd name="connsiteX9" fmla="*/ 414459 w 488547"/>
                <a:gd name="connsiteY9" fmla="*/ 11398 h 344802"/>
                <a:gd name="connsiteX10" fmla="*/ 89603 w 488547"/>
                <a:gd name="connsiteY10" fmla="*/ 265013 h 344802"/>
                <a:gd name="connsiteX11" fmla="*/ 6966 w 488547"/>
                <a:gd name="connsiteY11" fmla="*/ 344802 h 344802"/>
                <a:gd name="connsiteX12" fmla="*/ 6966 w 488547"/>
                <a:gd name="connsiteY12" fmla="*/ 344802 h 344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8547" h="344802">
                  <a:moveTo>
                    <a:pt x="6966" y="344802"/>
                  </a:moveTo>
                  <a:cubicBezTo>
                    <a:pt x="4115" y="344802"/>
                    <a:pt x="4115" y="344802"/>
                    <a:pt x="1266" y="341953"/>
                  </a:cubicBezTo>
                  <a:cubicBezTo>
                    <a:pt x="-1583" y="339103"/>
                    <a:pt x="1266" y="336253"/>
                    <a:pt x="1266" y="333403"/>
                  </a:cubicBezTo>
                  <a:cubicBezTo>
                    <a:pt x="44010" y="302058"/>
                    <a:pt x="81055" y="256464"/>
                    <a:pt x="81055" y="256464"/>
                  </a:cubicBezTo>
                  <a:cubicBezTo>
                    <a:pt x="115250" y="219419"/>
                    <a:pt x="397362" y="8548"/>
                    <a:pt x="408759" y="0"/>
                  </a:cubicBezTo>
                  <a:cubicBezTo>
                    <a:pt x="408759" y="0"/>
                    <a:pt x="411610" y="0"/>
                    <a:pt x="411610" y="0"/>
                  </a:cubicBezTo>
                  <a:lnTo>
                    <a:pt x="482850" y="5699"/>
                  </a:lnTo>
                  <a:cubicBezTo>
                    <a:pt x="485699" y="5699"/>
                    <a:pt x="488548" y="8548"/>
                    <a:pt x="488548" y="11398"/>
                  </a:cubicBezTo>
                  <a:cubicBezTo>
                    <a:pt x="488548" y="14248"/>
                    <a:pt x="485699" y="17097"/>
                    <a:pt x="482850" y="17097"/>
                  </a:cubicBezTo>
                  <a:lnTo>
                    <a:pt x="414459" y="11398"/>
                  </a:lnTo>
                  <a:cubicBezTo>
                    <a:pt x="391662" y="28496"/>
                    <a:pt x="123799" y="230818"/>
                    <a:pt x="89603" y="265013"/>
                  </a:cubicBezTo>
                  <a:cubicBezTo>
                    <a:pt x="89603" y="265013"/>
                    <a:pt x="49710" y="310607"/>
                    <a:pt x="6966" y="344802"/>
                  </a:cubicBezTo>
                  <a:cubicBezTo>
                    <a:pt x="9815" y="344802"/>
                    <a:pt x="9815" y="344802"/>
                    <a:pt x="6966" y="344802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A45958C5-41C3-4DB8-879B-AEC29CA0773A}"/>
                </a:ext>
              </a:extLst>
            </p:cNvPr>
            <p:cNvSpPr/>
            <p:nvPr/>
          </p:nvSpPr>
          <p:spPr>
            <a:xfrm>
              <a:off x="23650293" y="9199928"/>
              <a:ext cx="112315" cy="257644"/>
            </a:xfrm>
            <a:custGeom>
              <a:avLst/>
              <a:gdLst>
                <a:gd name="connsiteX0" fmla="*/ 55323 w 112315"/>
                <a:gd name="connsiteY0" fmla="*/ 257645 h 257644"/>
                <a:gd name="connsiteX1" fmla="*/ 49624 w 112315"/>
                <a:gd name="connsiteY1" fmla="*/ 251946 h 257644"/>
                <a:gd name="connsiteX2" fmla="*/ 98067 w 112315"/>
                <a:gd name="connsiteY2" fmla="*/ 26827 h 257644"/>
                <a:gd name="connsiteX3" fmla="*/ 4031 w 112315"/>
                <a:gd name="connsiteY3" fmla="*/ 9730 h 257644"/>
                <a:gd name="connsiteX4" fmla="*/ 1180 w 112315"/>
                <a:gd name="connsiteY4" fmla="*/ 4030 h 257644"/>
                <a:gd name="connsiteX5" fmla="*/ 6880 w 112315"/>
                <a:gd name="connsiteY5" fmla="*/ 1180 h 257644"/>
                <a:gd name="connsiteX6" fmla="*/ 106616 w 112315"/>
                <a:gd name="connsiteY6" fmla="*/ 18278 h 257644"/>
                <a:gd name="connsiteX7" fmla="*/ 112315 w 112315"/>
                <a:gd name="connsiteY7" fmla="*/ 21128 h 257644"/>
                <a:gd name="connsiteX8" fmla="*/ 112315 w 112315"/>
                <a:gd name="connsiteY8" fmla="*/ 26827 h 257644"/>
                <a:gd name="connsiteX9" fmla="*/ 61023 w 112315"/>
                <a:gd name="connsiteY9" fmla="*/ 254795 h 257644"/>
                <a:gd name="connsiteX10" fmla="*/ 55323 w 112315"/>
                <a:gd name="connsiteY10" fmla="*/ 257645 h 257644"/>
                <a:gd name="connsiteX11" fmla="*/ 55323 w 112315"/>
                <a:gd name="connsiteY11" fmla="*/ 257645 h 25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315" h="257644">
                  <a:moveTo>
                    <a:pt x="55323" y="257645"/>
                  </a:moveTo>
                  <a:cubicBezTo>
                    <a:pt x="52474" y="257645"/>
                    <a:pt x="49624" y="254795"/>
                    <a:pt x="49624" y="251946"/>
                  </a:cubicBezTo>
                  <a:cubicBezTo>
                    <a:pt x="49624" y="149360"/>
                    <a:pt x="86668" y="52474"/>
                    <a:pt x="98067" y="26827"/>
                  </a:cubicBezTo>
                  <a:cubicBezTo>
                    <a:pt x="63872" y="23978"/>
                    <a:pt x="6880" y="9730"/>
                    <a:pt x="4031" y="9730"/>
                  </a:cubicBezTo>
                  <a:cubicBezTo>
                    <a:pt x="1180" y="9730"/>
                    <a:pt x="-1669" y="6880"/>
                    <a:pt x="1180" y="4030"/>
                  </a:cubicBezTo>
                  <a:cubicBezTo>
                    <a:pt x="1180" y="1180"/>
                    <a:pt x="4031" y="-1669"/>
                    <a:pt x="6880" y="1180"/>
                  </a:cubicBezTo>
                  <a:cubicBezTo>
                    <a:pt x="6880" y="1180"/>
                    <a:pt x="75271" y="18278"/>
                    <a:pt x="106616" y="18278"/>
                  </a:cubicBezTo>
                  <a:cubicBezTo>
                    <a:pt x="109466" y="18278"/>
                    <a:pt x="109466" y="18278"/>
                    <a:pt x="112315" y="21128"/>
                  </a:cubicBezTo>
                  <a:cubicBezTo>
                    <a:pt x="112315" y="23978"/>
                    <a:pt x="112315" y="23978"/>
                    <a:pt x="112315" y="26827"/>
                  </a:cubicBezTo>
                  <a:cubicBezTo>
                    <a:pt x="112315" y="26827"/>
                    <a:pt x="61023" y="135112"/>
                    <a:pt x="61023" y="254795"/>
                  </a:cubicBezTo>
                  <a:cubicBezTo>
                    <a:pt x="61023" y="254795"/>
                    <a:pt x="61023" y="257645"/>
                    <a:pt x="55323" y="257645"/>
                  </a:cubicBezTo>
                  <a:lnTo>
                    <a:pt x="55323" y="257645"/>
                  </a:ln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34951B35-3847-49CC-AD3E-C8BD6E40CCA9}"/>
                </a:ext>
              </a:extLst>
            </p:cNvPr>
            <p:cNvSpPr/>
            <p:nvPr/>
          </p:nvSpPr>
          <p:spPr>
            <a:xfrm>
              <a:off x="23241131" y="9462390"/>
              <a:ext cx="175376" cy="92068"/>
            </a:xfrm>
            <a:custGeom>
              <a:avLst/>
              <a:gdLst>
                <a:gd name="connsiteX0" fmla="*/ 0 w 175376"/>
                <a:gd name="connsiteY0" fmla="*/ 92069 h 92068"/>
                <a:gd name="connsiteX1" fmla="*/ 105436 w 175376"/>
                <a:gd name="connsiteY1" fmla="*/ 6581 h 92068"/>
                <a:gd name="connsiteX2" fmla="*/ 173825 w 175376"/>
                <a:gd name="connsiteY2" fmla="*/ 6581 h 92068"/>
                <a:gd name="connsiteX3" fmla="*/ 91188 w 175376"/>
                <a:gd name="connsiteY3" fmla="*/ 63573 h 92068"/>
                <a:gd name="connsiteX4" fmla="*/ 0 w 175376"/>
                <a:gd name="connsiteY4" fmla="*/ 92069 h 92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376" h="92068">
                  <a:moveTo>
                    <a:pt x="0" y="92069"/>
                  </a:moveTo>
                  <a:cubicBezTo>
                    <a:pt x="0" y="92069"/>
                    <a:pt x="45593" y="17980"/>
                    <a:pt x="105436" y="6581"/>
                  </a:cubicBezTo>
                  <a:cubicBezTo>
                    <a:pt x="131081" y="882"/>
                    <a:pt x="168126" y="-4818"/>
                    <a:pt x="173825" y="6581"/>
                  </a:cubicBezTo>
                  <a:cubicBezTo>
                    <a:pt x="188073" y="37926"/>
                    <a:pt x="99736" y="35077"/>
                    <a:pt x="91188" y="63573"/>
                  </a:cubicBezTo>
                  <a:cubicBezTo>
                    <a:pt x="85488" y="77821"/>
                    <a:pt x="0" y="92069"/>
                    <a:pt x="0" y="92069"/>
                  </a:cubicBezTo>
                  <a:close/>
                </a:path>
              </a:pathLst>
            </a:custGeom>
            <a:solidFill>
              <a:srgbClr val="F5A39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8" name="图形 1">
              <a:extLst>
                <a:ext uri="{FF2B5EF4-FFF2-40B4-BE49-F238E27FC236}">
                  <a16:creationId xmlns:a16="http://schemas.microsoft.com/office/drawing/2014/main" id="{77AB0B55-F560-4CD2-8E10-6FE4ECCFEFC1}"/>
                </a:ext>
              </a:extLst>
            </p:cNvPr>
            <p:cNvGrpSpPr/>
            <p:nvPr/>
          </p:nvGrpSpPr>
          <p:grpSpPr>
            <a:xfrm>
              <a:off x="23172769" y="9507725"/>
              <a:ext cx="245416" cy="189590"/>
              <a:chOff x="23172769" y="9507725"/>
              <a:chExt cx="245416" cy="189590"/>
            </a:xfrm>
          </p:grpSpPr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0345115A-C0E3-4F69-AECD-38794CA66780}"/>
                  </a:ext>
                </a:extLst>
              </p:cNvPr>
              <p:cNvSpPr/>
              <p:nvPr/>
            </p:nvSpPr>
            <p:spPr>
              <a:xfrm>
                <a:off x="23172769" y="9516702"/>
                <a:ext cx="245416" cy="180613"/>
              </a:xfrm>
              <a:custGeom>
                <a:avLst/>
                <a:gdLst>
                  <a:gd name="connsiteX0" fmla="*/ 22767 w 245416"/>
                  <a:gd name="connsiteY0" fmla="*/ 157440 h 180613"/>
                  <a:gd name="connsiteX1" fmla="*/ 128202 w 245416"/>
                  <a:gd name="connsiteY1" fmla="*/ 168839 h 180613"/>
                  <a:gd name="connsiteX2" fmla="*/ 196594 w 245416"/>
                  <a:gd name="connsiteY2" fmla="*/ 180237 h 180613"/>
                  <a:gd name="connsiteX3" fmla="*/ 213691 w 245416"/>
                  <a:gd name="connsiteY3" fmla="*/ 140343 h 180613"/>
                  <a:gd name="connsiteX4" fmla="*/ 239338 w 245416"/>
                  <a:gd name="connsiteY4" fmla="*/ 120396 h 180613"/>
                  <a:gd name="connsiteX5" fmla="*/ 233638 w 245416"/>
                  <a:gd name="connsiteY5" fmla="*/ 94749 h 180613"/>
                  <a:gd name="connsiteX6" fmla="*/ 233638 w 245416"/>
                  <a:gd name="connsiteY6" fmla="*/ 49156 h 180613"/>
                  <a:gd name="connsiteX7" fmla="*/ 239338 w 245416"/>
                  <a:gd name="connsiteY7" fmla="*/ 17810 h 180613"/>
                  <a:gd name="connsiteX8" fmla="*/ 190894 w 245416"/>
                  <a:gd name="connsiteY8" fmla="*/ 3562 h 180613"/>
                  <a:gd name="connsiteX9" fmla="*/ 8519 w 245416"/>
                  <a:gd name="connsiteY9" fmla="*/ 46306 h 180613"/>
                  <a:gd name="connsiteX10" fmla="*/ 5670 w 245416"/>
                  <a:gd name="connsiteY10" fmla="*/ 148892 h 180613"/>
                  <a:gd name="connsiteX11" fmla="*/ 22767 w 245416"/>
                  <a:gd name="connsiteY11" fmla="*/ 157440 h 180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5416" h="180613">
                    <a:moveTo>
                      <a:pt x="22767" y="157440"/>
                    </a:moveTo>
                    <a:cubicBezTo>
                      <a:pt x="51263" y="157440"/>
                      <a:pt x="62662" y="168839"/>
                      <a:pt x="128202" y="168839"/>
                    </a:cubicBezTo>
                    <a:cubicBezTo>
                      <a:pt x="156698" y="168839"/>
                      <a:pt x="168098" y="183087"/>
                      <a:pt x="196594" y="180237"/>
                    </a:cubicBezTo>
                    <a:cubicBezTo>
                      <a:pt x="216541" y="177388"/>
                      <a:pt x="222239" y="157440"/>
                      <a:pt x="213691" y="140343"/>
                    </a:cubicBezTo>
                    <a:cubicBezTo>
                      <a:pt x="230789" y="140343"/>
                      <a:pt x="236487" y="134644"/>
                      <a:pt x="239338" y="120396"/>
                    </a:cubicBezTo>
                    <a:cubicBezTo>
                      <a:pt x="242187" y="114696"/>
                      <a:pt x="236487" y="97599"/>
                      <a:pt x="233638" y="94749"/>
                    </a:cubicBezTo>
                    <a:cubicBezTo>
                      <a:pt x="247886" y="91900"/>
                      <a:pt x="250735" y="57704"/>
                      <a:pt x="233638" y="49156"/>
                    </a:cubicBezTo>
                    <a:cubicBezTo>
                      <a:pt x="247886" y="40607"/>
                      <a:pt x="242187" y="26358"/>
                      <a:pt x="239338" y="17810"/>
                    </a:cubicBezTo>
                    <a:cubicBezTo>
                      <a:pt x="230789" y="-10686"/>
                      <a:pt x="202293" y="3562"/>
                      <a:pt x="190894" y="3562"/>
                    </a:cubicBezTo>
                    <a:cubicBezTo>
                      <a:pt x="113954" y="3562"/>
                      <a:pt x="82609" y="34908"/>
                      <a:pt x="8519" y="46306"/>
                    </a:cubicBezTo>
                    <a:cubicBezTo>
                      <a:pt x="8519" y="43456"/>
                      <a:pt x="-8578" y="117546"/>
                      <a:pt x="5670" y="148892"/>
                    </a:cubicBezTo>
                    <a:cubicBezTo>
                      <a:pt x="17069" y="168839"/>
                      <a:pt x="-30" y="157440"/>
                      <a:pt x="22767" y="157440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94978A81-1979-4521-871B-C30954CD0553}"/>
                  </a:ext>
                </a:extLst>
              </p:cNvPr>
              <p:cNvSpPr/>
              <p:nvPr/>
            </p:nvSpPr>
            <p:spPr>
              <a:xfrm>
                <a:off x="23283875" y="9507725"/>
                <a:ext cx="132426" cy="60981"/>
              </a:xfrm>
              <a:custGeom>
                <a:avLst/>
                <a:gdLst>
                  <a:gd name="connsiteX0" fmla="*/ 122533 w 132426"/>
                  <a:gd name="connsiteY0" fmla="*/ 60982 h 60981"/>
                  <a:gd name="connsiteX1" fmla="*/ 119684 w 132426"/>
                  <a:gd name="connsiteY1" fmla="*/ 60982 h 60981"/>
                  <a:gd name="connsiteX2" fmla="*/ 116833 w 132426"/>
                  <a:gd name="connsiteY2" fmla="*/ 52433 h 60981"/>
                  <a:gd name="connsiteX3" fmla="*/ 122533 w 132426"/>
                  <a:gd name="connsiteY3" fmla="*/ 23937 h 60981"/>
                  <a:gd name="connsiteX4" fmla="*/ 111134 w 132426"/>
                  <a:gd name="connsiteY4" fmla="*/ 15389 h 60981"/>
                  <a:gd name="connsiteX5" fmla="*/ 8548 w 132426"/>
                  <a:gd name="connsiteY5" fmla="*/ 29637 h 60981"/>
                  <a:gd name="connsiteX6" fmla="*/ 0 w 132426"/>
                  <a:gd name="connsiteY6" fmla="*/ 26787 h 60981"/>
                  <a:gd name="connsiteX7" fmla="*/ 2849 w 132426"/>
                  <a:gd name="connsiteY7" fmla="*/ 18237 h 60981"/>
                  <a:gd name="connsiteX8" fmla="*/ 113984 w 132426"/>
                  <a:gd name="connsiteY8" fmla="*/ 3989 h 60981"/>
                  <a:gd name="connsiteX9" fmla="*/ 131081 w 132426"/>
                  <a:gd name="connsiteY9" fmla="*/ 21087 h 60981"/>
                  <a:gd name="connsiteX10" fmla="*/ 122533 w 132426"/>
                  <a:gd name="connsiteY10" fmla="*/ 58133 h 60981"/>
                  <a:gd name="connsiteX11" fmla="*/ 122533 w 132426"/>
                  <a:gd name="connsiteY11" fmla="*/ 60982 h 60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2426" h="60981">
                    <a:moveTo>
                      <a:pt x="122533" y="60982"/>
                    </a:moveTo>
                    <a:cubicBezTo>
                      <a:pt x="122533" y="60982"/>
                      <a:pt x="119684" y="60982"/>
                      <a:pt x="119684" y="60982"/>
                    </a:cubicBezTo>
                    <a:cubicBezTo>
                      <a:pt x="116833" y="58133"/>
                      <a:pt x="116833" y="55283"/>
                      <a:pt x="116833" y="52433"/>
                    </a:cubicBezTo>
                    <a:cubicBezTo>
                      <a:pt x="119684" y="46734"/>
                      <a:pt x="128232" y="32485"/>
                      <a:pt x="122533" y="23937"/>
                    </a:cubicBezTo>
                    <a:cubicBezTo>
                      <a:pt x="122533" y="21087"/>
                      <a:pt x="116833" y="15389"/>
                      <a:pt x="111134" y="15389"/>
                    </a:cubicBezTo>
                    <a:cubicBezTo>
                      <a:pt x="79789" y="3989"/>
                      <a:pt x="8548" y="29637"/>
                      <a:pt x="8548" y="29637"/>
                    </a:cubicBezTo>
                    <a:cubicBezTo>
                      <a:pt x="5700" y="29637"/>
                      <a:pt x="2849" y="29637"/>
                      <a:pt x="0" y="26787"/>
                    </a:cubicBezTo>
                    <a:cubicBezTo>
                      <a:pt x="0" y="23937"/>
                      <a:pt x="0" y="21087"/>
                      <a:pt x="2849" y="18237"/>
                    </a:cubicBezTo>
                    <a:cubicBezTo>
                      <a:pt x="5700" y="18237"/>
                      <a:pt x="76940" y="-10259"/>
                      <a:pt x="113984" y="3989"/>
                    </a:cubicBezTo>
                    <a:cubicBezTo>
                      <a:pt x="122533" y="6839"/>
                      <a:pt x="128232" y="12539"/>
                      <a:pt x="131081" y="21087"/>
                    </a:cubicBezTo>
                    <a:cubicBezTo>
                      <a:pt x="136781" y="38185"/>
                      <a:pt x="122533" y="58133"/>
                      <a:pt x="122533" y="58133"/>
                    </a:cubicBezTo>
                    <a:cubicBezTo>
                      <a:pt x="125382" y="60982"/>
                      <a:pt x="125382" y="60982"/>
                      <a:pt x="122533" y="6098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F03595B2-7407-4E79-A519-1FB3EE792FA5}"/>
                  </a:ext>
                </a:extLst>
              </p:cNvPr>
              <p:cNvSpPr/>
              <p:nvPr/>
            </p:nvSpPr>
            <p:spPr>
              <a:xfrm>
                <a:off x="23352264" y="9571557"/>
                <a:ext cx="28496" cy="79789"/>
              </a:xfrm>
              <a:custGeom>
                <a:avLst/>
                <a:gdLst>
                  <a:gd name="connsiteX0" fmla="*/ 5700 w 28496"/>
                  <a:gd name="connsiteY0" fmla="*/ 79789 h 79789"/>
                  <a:gd name="connsiteX1" fmla="*/ 5700 w 28496"/>
                  <a:gd name="connsiteY1" fmla="*/ 79789 h 79789"/>
                  <a:gd name="connsiteX2" fmla="*/ 0 w 28496"/>
                  <a:gd name="connsiteY2" fmla="*/ 71240 h 79789"/>
                  <a:gd name="connsiteX3" fmla="*/ 17099 w 28496"/>
                  <a:gd name="connsiteY3" fmla="*/ 5700 h 79789"/>
                  <a:gd name="connsiteX4" fmla="*/ 22798 w 28496"/>
                  <a:gd name="connsiteY4" fmla="*/ 0 h 79789"/>
                  <a:gd name="connsiteX5" fmla="*/ 22798 w 28496"/>
                  <a:gd name="connsiteY5" fmla="*/ 0 h 79789"/>
                  <a:gd name="connsiteX6" fmla="*/ 28496 w 28496"/>
                  <a:gd name="connsiteY6" fmla="*/ 5700 h 79789"/>
                  <a:gd name="connsiteX7" fmla="*/ 11399 w 28496"/>
                  <a:gd name="connsiteY7" fmla="*/ 74090 h 79789"/>
                  <a:gd name="connsiteX8" fmla="*/ 5700 w 28496"/>
                  <a:gd name="connsiteY8" fmla="*/ 79789 h 79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496" h="79789">
                    <a:moveTo>
                      <a:pt x="5700" y="79789"/>
                    </a:moveTo>
                    <a:cubicBezTo>
                      <a:pt x="5700" y="79789"/>
                      <a:pt x="5700" y="79789"/>
                      <a:pt x="5700" y="79789"/>
                    </a:cubicBezTo>
                    <a:cubicBezTo>
                      <a:pt x="0" y="79789"/>
                      <a:pt x="0" y="74090"/>
                      <a:pt x="0" y="71240"/>
                    </a:cubicBezTo>
                    <a:cubicBezTo>
                      <a:pt x="5700" y="56992"/>
                      <a:pt x="17099" y="19948"/>
                      <a:pt x="17099" y="5700"/>
                    </a:cubicBezTo>
                    <a:cubicBezTo>
                      <a:pt x="17099" y="2850"/>
                      <a:pt x="19948" y="0"/>
                      <a:pt x="22798" y="0"/>
                    </a:cubicBezTo>
                    <a:cubicBezTo>
                      <a:pt x="22798" y="0"/>
                      <a:pt x="22798" y="0"/>
                      <a:pt x="22798" y="0"/>
                    </a:cubicBezTo>
                    <a:cubicBezTo>
                      <a:pt x="25647" y="0"/>
                      <a:pt x="28496" y="2850"/>
                      <a:pt x="28496" y="5700"/>
                    </a:cubicBezTo>
                    <a:cubicBezTo>
                      <a:pt x="28496" y="22797"/>
                      <a:pt x="11399" y="71240"/>
                      <a:pt x="11399" y="74090"/>
                    </a:cubicBezTo>
                    <a:cubicBezTo>
                      <a:pt x="11399" y="79789"/>
                      <a:pt x="8550" y="79789"/>
                      <a:pt x="5700" y="79789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D1EB3730-4B02-46F8-A2FC-6012F76341AB}"/>
                </a:ext>
              </a:extLst>
            </p:cNvPr>
            <p:cNvSpPr/>
            <p:nvPr/>
          </p:nvSpPr>
          <p:spPr>
            <a:xfrm>
              <a:off x="22591183" y="9542754"/>
              <a:ext cx="612912" cy="211195"/>
            </a:xfrm>
            <a:custGeom>
              <a:avLst/>
              <a:gdLst>
                <a:gd name="connsiteX0" fmla="*/ 238 w 612912"/>
                <a:gd name="connsiteY0" fmla="*/ 125689 h 211195"/>
                <a:gd name="connsiteX1" fmla="*/ 265251 w 612912"/>
                <a:gd name="connsiteY1" fmla="*/ 202628 h 211195"/>
                <a:gd name="connsiteX2" fmla="*/ 607204 w 612912"/>
                <a:gd name="connsiteY2" fmla="*/ 137088 h 211195"/>
                <a:gd name="connsiteX3" fmla="*/ 612903 w 612912"/>
                <a:gd name="connsiteY3" fmla="*/ 3156 h 211195"/>
                <a:gd name="connsiteX4" fmla="*/ 238 w 612912"/>
                <a:gd name="connsiteY4" fmla="*/ 125689 h 21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912" h="211195">
                  <a:moveTo>
                    <a:pt x="238" y="125689"/>
                  </a:moveTo>
                  <a:cubicBezTo>
                    <a:pt x="11636" y="231124"/>
                    <a:pt x="165515" y="214027"/>
                    <a:pt x="265251" y="202628"/>
                  </a:cubicBezTo>
                  <a:cubicBezTo>
                    <a:pt x="353588" y="194080"/>
                    <a:pt x="607204" y="137088"/>
                    <a:pt x="607204" y="137088"/>
                  </a:cubicBezTo>
                  <a:lnTo>
                    <a:pt x="612903" y="3156"/>
                  </a:lnTo>
                  <a:cubicBezTo>
                    <a:pt x="615752" y="3156"/>
                    <a:pt x="-14010" y="-31040"/>
                    <a:pt x="238" y="125689"/>
                  </a:cubicBezTo>
                  <a:close/>
                </a:path>
              </a:pathLst>
            </a:custGeom>
            <a:solidFill>
              <a:srgbClr val="F1DDB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8BBA301D-4D6F-4995-B72A-950D9D08BAF9}"/>
                </a:ext>
              </a:extLst>
            </p:cNvPr>
            <p:cNvSpPr/>
            <p:nvPr/>
          </p:nvSpPr>
          <p:spPr>
            <a:xfrm>
              <a:off x="22656962" y="9539683"/>
              <a:ext cx="555672" cy="219947"/>
            </a:xfrm>
            <a:custGeom>
              <a:avLst/>
              <a:gdLst>
                <a:gd name="connsiteX0" fmla="*/ 111134 w 555672"/>
                <a:gd name="connsiteY0" fmla="*/ 219947 h 219947"/>
                <a:gd name="connsiteX1" fmla="*/ 65541 w 555672"/>
                <a:gd name="connsiteY1" fmla="*/ 217098 h 219947"/>
                <a:gd name="connsiteX2" fmla="*/ 59841 w 555672"/>
                <a:gd name="connsiteY2" fmla="*/ 211399 h 219947"/>
                <a:gd name="connsiteX3" fmla="*/ 65541 w 555672"/>
                <a:gd name="connsiteY3" fmla="*/ 205699 h 219947"/>
                <a:gd name="connsiteX4" fmla="*/ 535725 w 555672"/>
                <a:gd name="connsiteY4" fmla="*/ 137309 h 219947"/>
                <a:gd name="connsiteX5" fmla="*/ 541425 w 555672"/>
                <a:gd name="connsiteY5" fmla="*/ 11927 h 219947"/>
                <a:gd name="connsiteX6" fmla="*/ 5700 w 555672"/>
                <a:gd name="connsiteY6" fmla="*/ 37573 h 219947"/>
                <a:gd name="connsiteX7" fmla="*/ 0 w 555672"/>
                <a:gd name="connsiteY7" fmla="*/ 34723 h 219947"/>
                <a:gd name="connsiteX8" fmla="*/ 2849 w 555672"/>
                <a:gd name="connsiteY8" fmla="*/ 29024 h 219947"/>
                <a:gd name="connsiteX9" fmla="*/ 549973 w 555672"/>
                <a:gd name="connsiteY9" fmla="*/ 3377 h 219947"/>
                <a:gd name="connsiteX10" fmla="*/ 552822 w 555672"/>
                <a:gd name="connsiteY10" fmla="*/ 6227 h 219947"/>
                <a:gd name="connsiteX11" fmla="*/ 555673 w 555672"/>
                <a:gd name="connsiteY11" fmla="*/ 9077 h 219947"/>
                <a:gd name="connsiteX12" fmla="*/ 549973 w 555672"/>
                <a:gd name="connsiteY12" fmla="*/ 143008 h 219947"/>
                <a:gd name="connsiteX13" fmla="*/ 547124 w 555672"/>
                <a:gd name="connsiteY13" fmla="*/ 148707 h 219947"/>
                <a:gd name="connsiteX14" fmla="*/ 111134 w 555672"/>
                <a:gd name="connsiteY14" fmla="*/ 219947 h 21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55672" h="219947">
                  <a:moveTo>
                    <a:pt x="111134" y="219947"/>
                  </a:moveTo>
                  <a:cubicBezTo>
                    <a:pt x="94037" y="219947"/>
                    <a:pt x="79789" y="219947"/>
                    <a:pt x="65541" y="217098"/>
                  </a:cubicBezTo>
                  <a:cubicBezTo>
                    <a:pt x="62692" y="217098"/>
                    <a:pt x="59841" y="214248"/>
                    <a:pt x="59841" y="211399"/>
                  </a:cubicBezTo>
                  <a:cubicBezTo>
                    <a:pt x="59841" y="208549"/>
                    <a:pt x="62692" y="205699"/>
                    <a:pt x="65541" y="205699"/>
                  </a:cubicBezTo>
                  <a:cubicBezTo>
                    <a:pt x="205172" y="219947"/>
                    <a:pt x="498681" y="145858"/>
                    <a:pt x="535725" y="137309"/>
                  </a:cubicBezTo>
                  <a:lnTo>
                    <a:pt x="541425" y="11927"/>
                  </a:lnTo>
                  <a:cubicBezTo>
                    <a:pt x="490132" y="9077"/>
                    <a:pt x="111134" y="-2321"/>
                    <a:pt x="5700" y="37573"/>
                  </a:cubicBezTo>
                  <a:cubicBezTo>
                    <a:pt x="2849" y="37573"/>
                    <a:pt x="0" y="37573"/>
                    <a:pt x="0" y="34723"/>
                  </a:cubicBezTo>
                  <a:cubicBezTo>
                    <a:pt x="0" y="31873"/>
                    <a:pt x="0" y="29024"/>
                    <a:pt x="2849" y="29024"/>
                  </a:cubicBezTo>
                  <a:cubicBezTo>
                    <a:pt x="116833" y="-13720"/>
                    <a:pt x="530026" y="3377"/>
                    <a:pt x="549973" y="3377"/>
                  </a:cubicBezTo>
                  <a:cubicBezTo>
                    <a:pt x="552822" y="3377"/>
                    <a:pt x="552822" y="3377"/>
                    <a:pt x="552822" y="6227"/>
                  </a:cubicBezTo>
                  <a:cubicBezTo>
                    <a:pt x="552822" y="6227"/>
                    <a:pt x="555673" y="9077"/>
                    <a:pt x="555673" y="9077"/>
                  </a:cubicBezTo>
                  <a:lnTo>
                    <a:pt x="549973" y="143008"/>
                  </a:lnTo>
                  <a:cubicBezTo>
                    <a:pt x="549973" y="145858"/>
                    <a:pt x="547124" y="148707"/>
                    <a:pt x="547124" y="148707"/>
                  </a:cubicBezTo>
                  <a:cubicBezTo>
                    <a:pt x="532876" y="151557"/>
                    <a:pt x="273561" y="219947"/>
                    <a:pt x="111134" y="219947"/>
                  </a:cubicBezTo>
                  <a:close/>
                </a:path>
              </a:pathLst>
            </a:custGeom>
            <a:solidFill>
              <a:srgbClr val="D39778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1" name="图形 1">
              <a:extLst>
                <a:ext uri="{FF2B5EF4-FFF2-40B4-BE49-F238E27FC236}">
                  <a16:creationId xmlns:a16="http://schemas.microsoft.com/office/drawing/2014/main" id="{1A9A6E1D-62E3-4A07-99D5-C864198D7BAF}"/>
                </a:ext>
              </a:extLst>
            </p:cNvPr>
            <p:cNvGrpSpPr/>
            <p:nvPr/>
          </p:nvGrpSpPr>
          <p:grpSpPr>
            <a:xfrm>
              <a:off x="23094284" y="8494406"/>
              <a:ext cx="570546" cy="205730"/>
              <a:chOff x="23094284" y="8494406"/>
              <a:chExt cx="570546" cy="205730"/>
            </a:xfrm>
          </p:grpSpPr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D3C9E1C9-23B5-418D-8536-DF6993A91FA3}"/>
                  </a:ext>
                </a:extLst>
              </p:cNvPr>
              <p:cNvSpPr/>
              <p:nvPr/>
            </p:nvSpPr>
            <p:spPr>
              <a:xfrm>
                <a:off x="23486196" y="8494406"/>
                <a:ext cx="178635" cy="125382"/>
              </a:xfrm>
              <a:custGeom>
                <a:avLst/>
                <a:gdLst>
                  <a:gd name="connsiteX0" fmla="*/ 5700 w 178635"/>
                  <a:gd name="connsiteY0" fmla="*/ 79789 h 125382"/>
                  <a:gd name="connsiteX1" fmla="*/ 173827 w 178635"/>
                  <a:gd name="connsiteY1" fmla="*/ 0 h 125382"/>
                  <a:gd name="connsiteX2" fmla="*/ 176676 w 178635"/>
                  <a:gd name="connsiteY2" fmla="*/ 48443 h 125382"/>
                  <a:gd name="connsiteX3" fmla="*/ 0 w 178635"/>
                  <a:gd name="connsiteY3" fmla="*/ 125382 h 125382"/>
                  <a:gd name="connsiteX4" fmla="*/ 5700 w 178635"/>
                  <a:gd name="connsiteY4" fmla="*/ 79789 h 125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8635" h="125382">
                    <a:moveTo>
                      <a:pt x="5700" y="79789"/>
                    </a:moveTo>
                    <a:cubicBezTo>
                      <a:pt x="5700" y="79789"/>
                      <a:pt x="151029" y="22796"/>
                      <a:pt x="173827" y="0"/>
                    </a:cubicBezTo>
                    <a:cubicBezTo>
                      <a:pt x="173827" y="0"/>
                      <a:pt x="182375" y="39894"/>
                      <a:pt x="176676" y="48443"/>
                    </a:cubicBezTo>
                    <a:cubicBezTo>
                      <a:pt x="176676" y="48443"/>
                      <a:pt x="34196" y="125382"/>
                      <a:pt x="0" y="125382"/>
                    </a:cubicBezTo>
                    <a:lnTo>
                      <a:pt x="5700" y="79789"/>
                    </a:ln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DB4763F1-FA13-45B2-BE52-9FA4E17DF075}"/>
                  </a:ext>
                </a:extLst>
              </p:cNvPr>
              <p:cNvSpPr/>
              <p:nvPr/>
            </p:nvSpPr>
            <p:spPr>
              <a:xfrm>
                <a:off x="23098650" y="8515244"/>
                <a:ext cx="407493" cy="167236"/>
              </a:xfrm>
              <a:custGeom>
                <a:avLst/>
                <a:gdLst>
                  <a:gd name="connsiteX0" fmla="*/ 0 w 407493"/>
                  <a:gd name="connsiteY0" fmla="*/ 53252 h 167236"/>
                  <a:gd name="connsiteX1" fmla="*/ 17097 w 407493"/>
                  <a:gd name="connsiteY1" fmla="*/ 61801 h 167236"/>
                  <a:gd name="connsiteX2" fmla="*/ 37045 w 407493"/>
                  <a:gd name="connsiteY2" fmla="*/ 56102 h 167236"/>
                  <a:gd name="connsiteX3" fmla="*/ 51293 w 407493"/>
                  <a:gd name="connsiteY3" fmla="*/ 141590 h 167236"/>
                  <a:gd name="connsiteX4" fmla="*/ 76940 w 407493"/>
                  <a:gd name="connsiteY4" fmla="*/ 158687 h 167236"/>
                  <a:gd name="connsiteX5" fmla="*/ 347652 w 407493"/>
                  <a:gd name="connsiteY5" fmla="*/ 147289 h 167236"/>
                  <a:gd name="connsiteX6" fmla="*/ 347652 w 407493"/>
                  <a:gd name="connsiteY6" fmla="*/ 167236 h 167236"/>
                  <a:gd name="connsiteX7" fmla="*/ 390396 w 407493"/>
                  <a:gd name="connsiteY7" fmla="*/ 147289 h 167236"/>
                  <a:gd name="connsiteX8" fmla="*/ 393245 w 407493"/>
                  <a:gd name="connsiteY8" fmla="*/ 144439 h 167236"/>
                  <a:gd name="connsiteX9" fmla="*/ 393245 w 407493"/>
                  <a:gd name="connsiteY9" fmla="*/ 144439 h 167236"/>
                  <a:gd name="connsiteX10" fmla="*/ 393245 w 407493"/>
                  <a:gd name="connsiteY10" fmla="*/ 144439 h 167236"/>
                  <a:gd name="connsiteX11" fmla="*/ 401794 w 407493"/>
                  <a:gd name="connsiteY11" fmla="*/ 130191 h 167236"/>
                  <a:gd name="connsiteX12" fmla="*/ 407493 w 407493"/>
                  <a:gd name="connsiteY12" fmla="*/ 27606 h 167236"/>
                  <a:gd name="connsiteX13" fmla="*/ 384697 w 407493"/>
                  <a:gd name="connsiteY13" fmla="*/ 4809 h 167236"/>
                  <a:gd name="connsiteX14" fmla="*/ 54141 w 407493"/>
                  <a:gd name="connsiteY14" fmla="*/ 13358 h 167236"/>
                  <a:gd name="connsiteX15" fmla="*/ 39893 w 407493"/>
                  <a:gd name="connsiteY15" fmla="*/ 19057 h 167236"/>
                  <a:gd name="connsiteX16" fmla="*/ 39893 w 407493"/>
                  <a:gd name="connsiteY16" fmla="*/ 19057 h 167236"/>
                  <a:gd name="connsiteX17" fmla="*/ 0 w 407493"/>
                  <a:gd name="connsiteY17" fmla="*/ 53252 h 167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07493" h="167236">
                    <a:moveTo>
                      <a:pt x="0" y="53252"/>
                    </a:moveTo>
                    <a:cubicBezTo>
                      <a:pt x="5700" y="56102"/>
                      <a:pt x="11397" y="58951"/>
                      <a:pt x="17097" y="61801"/>
                    </a:cubicBezTo>
                    <a:cubicBezTo>
                      <a:pt x="22796" y="58951"/>
                      <a:pt x="28496" y="58951"/>
                      <a:pt x="37045" y="56102"/>
                    </a:cubicBezTo>
                    <a:cubicBezTo>
                      <a:pt x="39893" y="84598"/>
                      <a:pt x="45593" y="113094"/>
                      <a:pt x="51293" y="141590"/>
                    </a:cubicBezTo>
                    <a:cubicBezTo>
                      <a:pt x="54141" y="152988"/>
                      <a:pt x="65541" y="158687"/>
                      <a:pt x="76940" y="158687"/>
                    </a:cubicBezTo>
                    <a:cubicBezTo>
                      <a:pt x="168126" y="147289"/>
                      <a:pt x="256464" y="144439"/>
                      <a:pt x="347652" y="147289"/>
                    </a:cubicBezTo>
                    <a:cubicBezTo>
                      <a:pt x="347652" y="152988"/>
                      <a:pt x="347652" y="161537"/>
                      <a:pt x="347652" y="167236"/>
                    </a:cubicBezTo>
                    <a:cubicBezTo>
                      <a:pt x="361900" y="161537"/>
                      <a:pt x="376148" y="152988"/>
                      <a:pt x="390396" y="147289"/>
                    </a:cubicBezTo>
                    <a:cubicBezTo>
                      <a:pt x="390396" y="147289"/>
                      <a:pt x="393245" y="147289"/>
                      <a:pt x="393245" y="144439"/>
                    </a:cubicBezTo>
                    <a:lnTo>
                      <a:pt x="393245" y="144439"/>
                    </a:lnTo>
                    <a:lnTo>
                      <a:pt x="393245" y="144439"/>
                    </a:lnTo>
                    <a:cubicBezTo>
                      <a:pt x="398945" y="141590"/>
                      <a:pt x="401794" y="135891"/>
                      <a:pt x="401794" y="130191"/>
                    </a:cubicBezTo>
                    <a:cubicBezTo>
                      <a:pt x="404644" y="95996"/>
                      <a:pt x="404644" y="61801"/>
                      <a:pt x="407493" y="27606"/>
                    </a:cubicBezTo>
                    <a:cubicBezTo>
                      <a:pt x="407493" y="16207"/>
                      <a:pt x="398945" y="7658"/>
                      <a:pt x="384697" y="4809"/>
                    </a:cubicBezTo>
                    <a:cubicBezTo>
                      <a:pt x="276412" y="-3740"/>
                      <a:pt x="165277" y="-890"/>
                      <a:pt x="54141" y="13358"/>
                    </a:cubicBezTo>
                    <a:cubicBezTo>
                      <a:pt x="48444" y="13358"/>
                      <a:pt x="42744" y="16207"/>
                      <a:pt x="39893" y="19057"/>
                    </a:cubicBezTo>
                    <a:lnTo>
                      <a:pt x="39893" y="19057"/>
                    </a:lnTo>
                    <a:cubicBezTo>
                      <a:pt x="25645" y="33305"/>
                      <a:pt x="14248" y="41854"/>
                      <a:pt x="0" y="53252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72" name="图形 1">
                <a:extLst>
                  <a:ext uri="{FF2B5EF4-FFF2-40B4-BE49-F238E27FC236}">
                    <a16:creationId xmlns:a16="http://schemas.microsoft.com/office/drawing/2014/main" id="{3532A26F-E749-4A77-8D7E-87D953CF1661}"/>
                  </a:ext>
                </a:extLst>
              </p:cNvPr>
              <p:cNvGrpSpPr/>
              <p:nvPr/>
            </p:nvGrpSpPr>
            <p:grpSpPr>
              <a:xfrm>
                <a:off x="23094284" y="8540712"/>
                <a:ext cx="369114" cy="159424"/>
                <a:chOff x="23094284" y="8540712"/>
                <a:chExt cx="369114" cy="159424"/>
              </a:xfrm>
            </p:grpSpPr>
            <p:sp>
              <p:nvSpPr>
                <p:cNvPr id="73" name="任意多边形: 形状 72">
                  <a:extLst>
                    <a:ext uri="{FF2B5EF4-FFF2-40B4-BE49-F238E27FC236}">
                      <a16:creationId xmlns:a16="http://schemas.microsoft.com/office/drawing/2014/main" id="{A69220F4-280F-4613-B72A-D1200912ED4E}"/>
                    </a:ext>
                  </a:extLst>
                </p:cNvPr>
                <p:cNvSpPr/>
                <p:nvPr/>
              </p:nvSpPr>
              <p:spPr>
                <a:xfrm>
                  <a:off x="23094284" y="8540712"/>
                  <a:ext cx="369114" cy="159424"/>
                </a:xfrm>
                <a:custGeom>
                  <a:avLst/>
                  <a:gdLst>
                    <a:gd name="connsiteX0" fmla="*/ 18614 w 369114"/>
                    <a:gd name="connsiteY0" fmla="*/ 19235 h 159424"/>
                    <a:gd name="connsiteX1" fmla="*/ 346319 w 369114"/>
                    <a:gd name="connsiteY1" fmla="*/ 2137 h 159424"/>
                    <a:gd name="connsiteX2" fmla="*/ 369115 w 369114"/>
                    <a:gd name="connsiteY2" fmla="*/ 22084 h 159424"/>
                    <a:gd name="connsiteX3" fmla="*/ 366266 w 369114"/>
                    <a:gd name="connsiteY3" fmla="*/ 124670 h 159424"/>
                    <a:gd name="connsiteX4" fmla="*/ 343468 w 369114"/>
                    <a:gd name="connsiteY4" fmla="*/ 141768 h 159424"/>
                    <a:gd name="connsiteX5" fmla="*/ 44259 w 369114"/>
                    <a:gd name="connsiteY5" fmla="*/ 158865 h 159424"/>
                    <a:gd name="connsiteX6" fmla="*/ 18614 w 369114"/>
                    <a:gd name="connsiteY6" fmla="*/ 144617 h 159424"/>
                    <a:gd name="connsiteX7" fmla="*/ 1515 w 369114"/>
                    <a:gd name="connsiteY7" fmla="*/ 44881 h 159424"/>
                    <a:gd name="connsiteX8" fmla="*/ 18614 w 369114"/>
                    <a:gd name="connsiteY8" fmla="*/ 19235 h 159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9114" h="159424">
                      <a:moveTo>
                        <a:pt x="18614" y="19235"/>
                      </a:moveTo>
                      <a:cubicBezTo>
                        <a:pt x="129748" y="2137"/>
                        <a:pt x="238034" y="-3562"/>
                        <a:pt x="346319" y="2137"/>
                      </a:cubicBezTo>
                      <a:cubicBezTo>
                        <a:pt x="357716" y="2137"/>
                        <a:pt x="369115" y="13535"/>
                        <a:pt x="369115" y="22084"/>
                      </a:cubicBezTo>
                      <a:cubicBezTo>
                        <a:pt x="366266" y="56279"/>
                        <a:pt x="366266" y="90475"/>
                        <a:pt x="366266" y="124670"/>
                      </a:cubicBezTo>
                      <a:cubicBezTo>
                        <a:pt x="366266" y="136068"/>
                        <a:pt x="354867" y="144617"/>
                        <a:pt x="343468" y="141768"/>
                      </a:cubicBezTo>
                      <a:cubicBezTo>
                        <a:pt x="243732" y="136068"/>
                        <a:pt x="143996" y="141768"/>
                        <a:pt x="44259" y="158865"/>
                      </a:cubicBezTo>
                      <a:cubicBezTo>
                        <a:pt x="32862" y="161715"/>
                        <a:pt x="21463" y="153166"/>
                        <a:pt x="18614" y="144617"/>
                      </a:cubicBezTo>
                      <a:cubicBezTo>
                        <a:pt x="12914" y="110422"/>
                        <a:pt x="4366" y="79076"/>
                        <a:pt x="1515" y="44881"/>
                      </a:cubicBezTo>
                      <a:cubicBezTo>
                        <a:pt x="-4182" y="33483"/>
                        <a:pt x="7215" y="22084"/>
                        <a:pt x="18614" y="19235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: 形状 73">
                  <a:extLst>
                    <a:ext uri="{FF2B5EF4-FFF2-40B4-BE49-F238E27FC236}">
                      <a16:creationId xmlns:a16="http://schemas.microsoft.com/office/drawing/2014/main" id="{04E29A36-A680-4964-8B30-A8D7DD6EF7FA}"/>
                    </a:ext>
                  </a:extLst>
                </p:cNvPr>
                <p:cNvSpPr/>
                <p:nvPr/>
              </p:nvSpPr>
              <p:spPr>
                <a:xfrm>
                  <a:off x="23115747" y="8549214"/>
                  <a:ext cx="324855" cy="139523"/>
                </a:xfrm>
                <a:custGeom>
                  <a:avLst/>
                  <a:gdLst>
                    <a:gd name="connsiteX0" fmla="*/ 19948 w 324855"/>
                    <a:gd name="connsiteY0" fmla="*/ 16432 h 139523"/>
                    <a:gd name="connsiteX1" fmla="*/ 304908 w 324855"/>
                    <a:gd name="connsiteY1" fmla="*/ 2184 h 139523"/>
                    <a:gd name="connsiteX2" fmla="*/ 324856 w 324855"/>
                    <a:gd name="connsiteY2" fmla="*/ 19281 h 139523"/>
                    <a:gd name="connsiteX3" fmla="*/ 322005 w 324855"/>
                    <a:gd name="connsiteY3" fmla="*/ 107619 h 139523"/>
                    <a:gd name="connsiteX4" fmla="*/ 302059 w 324855"/>
                    <a:gd name="connsiteY4" fmla="*/ 124717 h 139523"/>
                    <a:gd name="connsiteX5" fmla="*/ 37045 w 324855"/>
                    <a:gd name="connsiteY5" fmla="*/ 138965 h 139523"/>
                    <a:gd name="connsiteX6" fmla="*/ 14248 w 324855"/>
                    <a:gd name="connsiteY6" fmla="*/ 124717 h 139523"/>
                    <a:gd name="connsiteX7" fmla="*/ 0 w 324855"/>
                    <a:gd name="connsiteY7" fmla="*/ 36379 h 139523"/>
                    <a:gd name="connsiteX8" fmla="*/ 19948 w 324855"/>
                    <a:gd name="connsiteY8" fmla="*/ 16432 h 1395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4855" h="139523">
                      <a:moveTo>
                        <a:pt x="19948" y="16432"/>
                      </a:moveTo>
                      <a:cubicBezTo>
                        <a:pt x="116835" y="2184"/>
                        <a:pt x="210871" y="-3515"/>
                        <a:pt x="304908" y="2184"/>
                      </a:cubicBezTo>
                      <a:cubicBezTo>
                        <a:pt x="316307" y="2184"/>
                        <a:pt x="324856" y="10733"/>
                        <a:pt x="324856" y="19281"/>
                      </a:cubicBezTo>
                      <a:cubicBezTo>
                        <a:pt x="324856" y="47778"/>
                        <a:pt x="322005" y="79123"/>
                        <a:pt x="322005" y="107619"/>
                      </a:cubicBezTo>
                      <a:cubicBezTo>
                        <a:pt x="322005" y="116168"/>
                        <a:pt x="313456" y="124717"/>
                        <a:pt x="302059" y="124717"/>
                      </a:cubicBezTo>
                      <a:cubicBezTo>
                        <a:pt x="213720" y="121867"/>
                        <a:pt x="128232" y="124717"/>
                        <a:pt x="37045" y="138965"/>
                      </a:cubicBezTo>
                      <a:cubicBezTo>
                        <a:pt x="25647" y="141815"/>
                        <a:pt x="17099" y="133266"/>
                        <a:pt x="14248" y="124717"/>
                      </a:cubicBezTo>
                      <a:cubicBezTo>
                        <a:pt x="8548" y="96221"/>
                        <a:pt x="2851" y="64875"/>
                        <a:pt x="0" y="36379"/>
                      </a:cubicBezTo>
                      <a:cubicBezTo>
                        <a:pt x="0" y="27830"/>
                        <a:pt x="8548" y="19281"/>
                        <a:pt x="19948" y="16432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: 形状 74">
                  <a:extLst>
                    <a:ext uri="{FF2B5EF4-FFF2-40B4-BE49-F238E27FC236}">
                      <a16:creationId xmlns:a16="http://schemas.microsoft.com/office/drawing/2014/main" id="{46C161B8-71E1-4BF4-9024-7F0ADB529F95}"/>
                    </a:ext>
                  </a:extLst>
                </p:cNvPr>
                <p:cNvSpPr/>
                <p:nvPr/>
              </p:nvSpPr>
              <p:spPr>
                <a:xfrm>
                  <a:off x="23300972" y="8557098"/>
                  <a:ext cx="85488" cy="111134"/>
                </a:xfrm>
                <a:custGeom>
                  <a:avLst/>
                  <a:gdLst>
                    <a:gd name="connsiteX0" fmla="*/ 22796 w 85488"/>
                    <a:gd name="connsiteY0" fmla="*/ 111134 h 111134"/>
                    <a:gd name="connsiteX1" fmla="*/ 0 w 85488"/>
                    <a:gd name="connsiteY1" fmla="*/ 111134 h 111134"/>
                    <a:gd name="connsiteX2" fmla="*/ 56992 w 85488"/>
                    <a:gd name="connsiteY2" fmla="*/ 0 h 111134"/>
                    <a:gd name="connsiteX3" fmla="*/ 85488 w 85488"/>
                    <a:gd name="connsiteY3" fmla="*/ 0 h 111134"/>
                    <a:gd name="connsiteX4" fmla="*/ 22796 w 85488"/>
                    <a:gd name="connsiteY4" fmla="*/ 111134 h 111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5488" h="111134">
                      <a:moveTo>
                        <a:pt x="22796" y="111134"/>
                      </a:moveTo>
                      <a:cubicBezTo>
                        <a:pt x="14248" y="111134"/>
                        <a:pt x="8548" y="111134"/>
                        <a:pt x="0" y="111134"/>
                      </a:cubicBezTo>
                      <a:cubicBezTo>
                        <a:pt x="17099" y="74089"/>
                        <a:pt x="37045" y="37045"/>
                        <a:pt x="56992" y="0"/>
                      </a:cubicBezTo>
                      <a:cubicBezTo>
                        <a:pt x="65541" y="0"/>
                        <a:pt x="74091" y="0"/>
                        <a:pt x="85488" y="0"/>
                      </a:cubicBezTo>
                      <a:cubicBezTo>
                        <a:pt x="62692" y="37045"/>
                        <a:pt x="42744" y="74089"/>
                        <a:pt x="22796" y="111134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: 形状 75">
                  <a:extLst>
                    <a:ext uri="{FF2B5EF4-FFF2-40B4-BE49-F238E27FC236}">
                      <a16:creationId xmlns:a16="http://schemas.microsoft.com/office/drawing/2014/main" id="{6DD99DEA-5C25-4C47-84A2-5AECEE01DEE5}"/>
                    </a:ext>
                  </a:extLst>
                </p:cNvPr>
                <p:cNvSpPr/>
                <p:nvPr/>
              </p:nvSpPr>
              <p:spPr>
                <a:xfrm>
                  <a:off x="23235431" y="8554248"/>
                  <a:ext cx="99736" cy="116833"/>
                </a:xfrm>
                <a:custGeom>
                  <a:avLst/>
                  <a:gdLst>
                    <a:gd name="connsiteX0" fmla="*/ 42744 w 99736"/>
                    <a:gd name="connsiteY0" fmla="*/ 113984 h 116833"/>
                    <a:gd name="connsiteX1" fmla="*/ 0 w 99736"/>
                    <a:gd name="connsiteY1" fmla="*/ 116834 h 116833"/>
                    <a:gd name="connsiteX2" fmla="*/ 51293 w 99736"/>
                    <a:gd name="connsiteY2" fmla="*/ 2850 h 116833"/>
                    <a:gd name="connsiteX3" fmla="*/ 99736 w 99736"/>
                    <a:gd name="connsiteY3" fmla="*/ 0 h 116833"/>
                    <a:gd name="connsiteX4" fmla="*/ 42744 w 99736"/>
                    <a:gd name="connsiteY4" fmla="*/ 113984 h 116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9736" h="116833">
                      <a:moveTo>
                        <a:pt x="42744" y="113984"/>
                      </a:moveTo>
                      <a:cubicBezTo>
                        <a:pt x="28496" y="113984"/>
                        <a:pt x="14248" y="116834"/>
                        <a:pt x="0" y="116834"/>
                      </a:cubicBezTo>
                      <a:cubicBezTo>
                        <a:pt x="14248" y="79789"/>
                        <a:pt x="34196" y="39895"/>
                        <a:pt x="51293" y="2850"/>
                      </a:cubicBezTo>
                      <a:cubicBezTo>
                        <a:pt x="68391" y="2850"/>
                        <a:pt x="82639" y="2850"/>
                        <a:pt x="99736" y="0"/>
                      </a:cubicBezTo>
                      <a:cubicBezTo>
                        <a:pt x="79789" y="39895"/>
                        <a:pt x="59841" y="76939"/>
                        <a:pt x="42744" y="113984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42" name="图形 1">
              <a:extLst>
                <a:ext uri="{FF2B5EF4-FFF2-40B4-BE49-F238E27FC236}">
                  <a16:creationId xmlns:a16="http://schemas.microsoft.com/office/drawing/2014/main" id="{BED49F7F-CDA9-4F89-8A49-1C76EE87350E}"/>
                </a:ext>
              </a:extLst>
            </p:cNvPr>
            <p:cNvGrpSpPr/>
            <p:nvPr/>
          </p:nvGrpSpPr>
          <p:grpSpPr>
            <a:xfrm>
              <a:off x="24000543" y="7737849"/>
              <a:ext cx="204072" cy="253424"/>
              <a:chOff x="24000543" y="7737849"/>
              <a:chExt cx="204072" cy="253424"/>
            </a:xfrm>
          </p:grpSpPr>
          <p:grpSp>
            <p:nvGrpSpPr>
              <p:cNvPr id="63" name="图形 1">
                <a:extLst>
                  <a:ext uri="{FF2B5EF4-FFF2-40B4-BE49-F238E27FC236}">
                    <a16:creationId xmlns:a16="http://schemas.microsoft.com/office/drawing/2014/main" id="{E28E1239-3255-42AD-A64E-6A956E3DB01C}"/>
                  </a:ext>
                </a:extLst>
              </p:cNvPr>
              <p:cNvGrpSpPr/>
              <p:nvPr/>
            </p:nvGrpSpPr>
            <p:grpSpPr>
              <a:xfrm>
                <a:off x="24000543" y="7737849"/>
                <a:ext cx="192958" cy="253424"/>
                <a:chOff x="24000543" y="7737849"/>
                <a:chExt cx="192958" cy="253424"/>
              </a:xfrm>
            </p:grpSpPr>
            <p:sp>
              <p:nvSpPr>
                <p:cNvPr id="67" name="任意多边形: 形状 66">
                  <a:extLst>
                    <a:ext uri="{FF2B5EF4-FFF2-40B4-BE49-F238E27FC236}">
                      <a16:creationId xmlns:a16="http://schemas.microsoft.com/office/drawing/2014/main" id="{A0F075E7-C39A-4B64-BAD3-C594146EC88C}"/>
                    </a:ext>
                  </a:extLst>
                </p:cNvPr>
                <p:cNvSpPr/>
                <p:nvPr/>
              </p:nvSpPr>
              <p:spPr>
                <a:xfrm>
                  <a:off x="24000543" y="7737849"/>
                  <a:ext cx="192958" cy="253424"/>
                </a:xfrm>
                <a:custGeom>
                  <a:avLst/>
                  <a:gdLst>
                    <a:gd name="connsiteX0" fmla="*/ 178106 w 192958"/>
                    <a:gd name="connsiteY0" fmla="*/ 132494 h 253424"/>
                    <a:gd name="connsiteX1" fmla="*/ 158161 w 192958"/>
                    <a:gd name="connsiteY1" fmla="*/ 101149 h 253424"/>
                    <a:gd name="connsiteX2" fmla="*/ 135362 w 192958"/>
                    <a:gd name="connsiteY2" fmla="*/ 84051 h 253424"/>
                    <a:gd name="connsiteX3" fmla="*/ 112566 w 192958"/>
                    <a:gd name="connsiteY3" fmla="*/ 101149 h 253424"/>
                    <a:gd name="connsiteX4" fmla="*/ 135362 w 192958"/>
                    <a:gd name="connsiteY4" fmla="*/ 58405 h 253424"/>
                    <a:gd name="connsiteX5" fmla="*/ 161010 w 192958"/>
                    <a:gd name="connsiteY5" fmla="*/ 15661 h 253424"/>
                    <a:gd name="connsiteX6" fmla="*/ 95469 w 192958"/>
                    <a:gd name="connsiteY6" fmla="*/ 1413 h 253424"/>
                    <a:gd name="connsiteX7" fmla="*/ 7130 w 192958"/>
                    <a:gd name="connsiteY7" fmla="*/ 226531 h 253424"/>
                    <a:gd name="connsiteX8" fmla="*/ 7130 w 192958"/>
                    <a:gd name="connsiteY8" fmla="*/ 226531 h 253424"/>
                    <a:gd name="connsiteX9" fmla="*/ 7130 w 192958"/>
                    <a:gd name="connsiteY9" fmla="*/ 229381 h 253424"/>
                    <a:gd name="connsiteX10" fmla="*/ 78370 w 192958"/>
                    <a:gd name="connsiteY10" fmla="*/ 252178 h 253424"/>
                    <a:gd name="connsiteX11" fmla="*/ 186657 w 192958"/>
                    <a:gd name="connsiteY11" fmla="*/ 169539 h 253424"/>
                    <a:gd name="connsiteX12" fmla="*/ 178106 w 192958"/>
                    <a:gd name="connsiteY12" fmla="*/ 132494 h 253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92958" h="253424">
                      <a:moveTo>
                        <a:pt x="178106" y="132494"/>
                      </a:moveTo>
                      <a:cubicBezTo>
                        <a:pt x="186657" y="112547"/>
                        <a:pt x="163858" y="101149"/>
                        <a:pt x="158161" y="101149"/>
                      </a:cubicBezTo>
                      <a:cubicBezTo>
                        <a:pt x="161010" y="92600"/>
                        <a:pt x="146761" y="75502"/>
                        <a:pt x="135362" y="84051"/>
                      </a:cubicBezTo>
                      <a:cubicBezTo>
                        <a:pt x="123965" y="89750"/>
                        <a:pt x="123965" y="92600"/>
                        <a:pt x="112566" y="101149"/>
                      </a:cubicBezTo>
                      <a:cubicBezTo>
                        <a:pt x="121114" y="86901"/>
                        <a:pt x="129665" y="72653"/>
                        <a:pt x="135362" y="58405"/>
                      </a:cubicBezTo>
                      <a:cubicBezTo>
                        <a:pt x="141062" y="49856"/>
                        <a:pt x="161010" y="24209"/>
                        <a:pt x="161010" y="15661"/>
                      </a:cubicBezTo>
                      <a:cubicBezTo>
                        <a:pt x="161010" y="-1437"/>
                        <a:pt x="101169" y="-1437"/>
                        <a:pt x="95469" y="1413"/>
                      </a:cubicBezTo>
                      <a:cubicBezTo>
                        <a:pt x="55574" y="32758"/>
                        <a:pt x="-24215" y="172389"/>
                        <a:pt x="7130" y="226531"/>
                      </a:cubicBezTo>
                      <a:cubicBezTo>
                        <a:pt x="7130" y="226531"/>
                        <a:pt x="7130" y="226531"/>
                        <a:pt x="7130" y="226531"/>
                      </a:cubicBezTo>
                      <a:cubicBezTo>
                        <a:pt x="7130" y="226531"/>
                        <a:pt x="4281" y="229381"/>
                        <a:pt x="7130" y="229381"/>
                      </a:cubicBezTo>
                      <a:cubicBezTo>
                        <a:pt x="18529" y="255027"/>
                        <a:pt x="52725" y="255027"/>
                        <a:pt x="78370" y="252178"/>
                      </a:cubicBezTo>
                      <a:cubicBezTo>
                        <a:pt x="115417" y="249328"/>
                        <a:pt x="172409" y="186637"/>
                        <a:pt x="186657" y="169539"/>
                      </a:cubicBezTo>
                      <a:cubicBezTo>
                        <a:pt x="203754" y="143893"/>
                        <a:pt x="180957" y="132494"/>
                        <a:pt x="178106" y="132494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8" name="任意多边形: 形状 67">
                  <a:extLst>
                    <a:ext uri="{FF2B5EF4-FFF2-40B4-BE49-F238E27FC236}">
                      <a16:creationId xmlns:a16="http://schemas.microsoft.com/office/drawing/2014/main" id="{3B2C0C02-9F45-401A-BC65-FA2932627020}"/>
                    </a:ext>
                  </a:extLst>
                </p:cNvPr>
                <p:cNvSpPr/>
                <p:nvPr/>
              </p:nvSpPr>
              <p:spPr>
                <a:xfrm>
                  <a:off x="24051130" y="7896702"/>
                  <a:ext cx="24031" cy="56279"/>
                </a:xfrm>
                <a:custGeom>
                  <a:avLst/>
                  <a:gdLst>
                    <a:gd name="connsiteX0" fmla="*/ 13535 w 24031"/>
                    <a:gd name="connsiteY0" fmla="*/ 56280 h 56279"/>
                    <a:gd name="connsiteX1" fmla="*/ 13535 w 24031"/>
                    <a:gd name="connsiteY1" fmla="*/ 56280 h 56279"/>
                    <a:gd name="connsiteX2" fmla="*/ 7838 w 24031"/>
                    <a:gd name="connsiteY2" fmla="*/ 47731 h 56279"/>
                    <a:gd name="connsiteX3" fmla="*/ 2138 w 24031"/>
                    <a:gd name="connsiteY3" fmla="*/ 10686 h 56279"/>
                    <a:gd name="connsiteX4" fmla="*/ 2138 w 24031"/>
                    <a:gd name="connsiteY4" fmla="*/ 2137 h 56279"/>
                    <a:gd name="connsiteX5" fmla="*/ 10686 w 24031"/>
                    <a:gd name="connsiteY5" fmla="*/ 2137 h 56279"/>
                    <a:gd name="connsiteX6" fmla="*/ 19235 w 24031"/>
                    <a:gd name="connsiteY6" fmla="*/ 53430 h 56279"/>
                    <a:gd name="connsiteX7" fmla="*/ 13535 w 24031"/>
                    <a:gd name="connsiteY7" fmla="*/ 56280 h 562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4031" h="56279">
                      <a:moveTo>
                        <a:pt x="13535" y="56280"/>
                      </a:moveTo>
                      <a:cubicBezTo>
                        <a:pt x="13535" y="56280"/>
                        <a:pt x="10686" y="56280"/>
                        <a:pt x="13535" y="56280"/>
                      </a:cubicBezTo>
                      <a:cubicBezTo>
                        <a:pt x="7838" y="53430"/>
                        <a:pt x="7838" y="50580"/>
                        <a:pt x="7838" y="47731"/>
                      </a:cubicBezTo>
                      <a:cubicBezTo>
                        <a:pt x="19235" y="27784"/>
                        <a:pt x="2138" y="10686"/>
                        <a:pt x="2138" y="10686"/>
                      </a:cubicBezTo>
                      <a:cubicBezTo>
                        <a:pt x="-713" y="7836"/>
                        <a:pt x="-713" y="4987"/>
                        <a:pt x="2138" y="2137"/>
                      </a:cubicBezTo>
                      <a:cubicBezTo>
                        <a:pt x="4987" y="-712"/>
                        <a:pt x="7838" y="-712"/>
                        <a:pt x="10686" y="2137"/>
                      </a:cubicBezTo>
                      <a:cubicBezTo>
                        <a:pt x="19235" y="10686"/>
                        <a:pt x="30634" y="30633"/>
                        <a:pt x="19235" y="53430"/>
                      </a:cubicBezTo>
                      <a:cubicBezTo>
                        <a:pt x="16386" y="53430"/>
                        <a:pt x="16386" y="56280"/>
                        <a:pt x="13535" y="56280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9" name="任意多边形: 形状 68">
                  <a:extLst>
                    <a:ext uri="{FF2B5EF4-FFF2-40B4-BE49-F238E27FC236}">
                      <a16:creationId xmlns:a16="http://schemas.microsoft.com/office/drawing/2014/main" id="{644F0FD3-DAA7-47B5-B22A-387D9CC3D0A5}"/>
                    </a:ext>
                  </a:extLst>
                </p:cNvPr>
                <p:cNvSpPr/>
                <p:nvPr/>
              </p:nvSpPr>
              <p:spPr>
                <a:xfrm>
                  <a:off x="24091025" y="7739817"/>
                  <a:ext cx="74495" cy="104879"/>
                </a:xfrm>
                <a:custGeom>
                  <a:avLst/>
                  <a:gdLst>
                    <a:gd name="connsiteX0" fmla="*/ 22084 w 74495"/>
                    <a:gd name="connsiteY0" fmla="*/ 104880 h 104879"/>
                    <a:gd name="connsiteX1" fmla="*/ 19235 w 74495"/>
                    <a:gd name="connsiteY1" fmla="*/ 104880 h 104879"/>
                    <a:gd name="connsiteX2" fmla="*/ 16385 w 74495"/>
                    <a:gd name="connsiteY2" fmla="*/ 96331 h 104879"/>
                    <a:gd name="connsiteX3" fmla="*/ 64828 w 74495"/>
                    <a:gd name="connsiteY3" fmla="*/ 13693 h 104879"/>
                    <a:gd name="connsiteX4" fmla="*/ 64828 w 74495"/>
                    <a:gd name="connsiteY4" fmla="*/ 13693 h 104879"/>
                    <a:gd name="connsiteX5" fmla="*/ 47731 w 74495"/>
                    <a:gd name="connsiteY5" fmla="*/ 22241 h 104879"/>
                    <a:gd name="connsiteX6" fmla="*/ 10687 w 74495"/>
                    <a:gd name="connsiteY6" fmla="*/ 62136 h 104879"/>
                    <a:gd name="connsiteX7" fmla="*/ 2137 w 74495"/>
                    <a:gd name="connsiteY7" fmla="*/ 62136 h 104879"/>
                    <a:gd name="connsiteX8" fmla="*/ 2137 w 74495"/>
                    <a:gd name="connsiteY8" fmla="*/ 53587 h 104879"/>
                    <a:gd name="connsiteX9" fmla="*/ 39183 w 74495"/>
                    <a:gd name="connsiteY9" fmla="*/ 10843 h 104879"/>
                    <a:gd name="connsiteX10" fmla="*/ 67679 w 74495"/>
                    <a:gd name="connsiteY10" fmla="*/ 2294 h 104879"/>
                    <a:gd name="connsiteX11" fmla="*/ 73377 w 74495"/>
                    <a:gd name="connsiteY11" fmla="*/ 13693 h 104879"/>
                    <a:gd name="connsiteX12" fmla="*/ 73377 w 74495"/>
                    <a:gd name="connsiteY12" fmla="*/ 16542 h 104879"/>
                    <a:gd name="connsiteX13" fmla="*/ 24935 w 74495"/>
                    <a:gd name="connsiteY13" fmla="*/ 102030 h 104879"/>
                    <a:gd name="connsiteX14" fmla="*/ 22084 w 74495"/>
                    <a:gd name="connsiteY14" fmla="*/ 104880 h 104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4495" h="104879">
                      <a:moveTo>
                        <a:pt x="22084" y="104880"/>
                      </a:moveTo>
                      <a:cubicBezTo>
                        <a:pt x="22084" y="104880"/>
                        <a:pt x="19235" y="104880"/>
                        <a:pt x="19235" y="104880"/>
                      </a:cubicBezTo>
                      <a:cubicBezTo>
                        <a:pt x="16385" y="102030"/>
                        <a:pt x="16385" y="99181"/>
                        <a:pt x="16385" y="96331"/>
                      </a:cubicBezTo>
                      <a:cubicBezTo>
                        <a:pt x="30633" y="73534"/>
                        <a:pt x="59129" y="22241"/>
                        <a:pt x="64828" y="13693"/>
                      </a:cubicBezTo>
                      <a:cubicBezTo>
                        <a:pt x="64828" y="13693"/>
                        <a:pt x="64828" y="13693"/>
                        <a:pt x="64828" y="13693"/>
                      </a:cubicBezTo>
                      <a:cubicBezTo>
                        <a:pt x="61979" y="13693"/>
                        <a:pt x="56280" y="13693"/>
                        <a:pt x="47731" y="22241"/>
                      </a:cubicBezTo>
                      <a:cubicBezTo>
                        <a:pt x="33483" y="36489"/>
                        <a:pt x="10687" y="62136"/>
                        <a:pt x="10687" y="62136"/>
                      </a:cubicBezTo>
                      <a:cubicBezTo>
                        <a:pt x="7836" y="64985"/>
                        <a:pt x="4987" y="64985"/>
                        <a:pt x="2137" y="62136"/>
                      </a:cubicBezTo>
                      <a:cubicBezTo>
                        <a:pt x="-712" y="59286"/>
                        <a:pt x="-712" y="56437"/>
                        <a:pt x="2137" y="53587"/>
                      </a:cubicBezTo>
                      <a:cubicBezTo>
                        <a:pt x="2137" y="53587"/>
                        <a:pt x="24935" y="25091"/>
                        <a:pt x="39183" y="10843"/>
                      </a:cubicBezTo>
                      <a:cubicBezTo>
                        <a:pt x="50580" y="2294"/>
                        <a:pt x="59129" y="-3405"/>
                        <a:pt x="67679" y="2294"/>
                      </a:cubicBezTo>
                      <a:cubicBezTo>
                        <a:pt x="73377" y="5144"/>
                        <a:pt x="76227" y="10843"/>
                        <a:pt x="73377" y="13693"/>
                      </a:cubicBezTo>
                      <a:cubicBezTo>
                        <a:pt x="73377" y="13693"/>
                        <a:pt x="73377" y="13693"/>
                        <a:pt x="73377" y="16542"/>
                      </a:cubicBezTo>
                      <a:cubicBezTo>
                        <a:pt x="73377" y="19392"/>
                        <a:pt x="42032" y="76384"/>
                        <a:pt x="24935" y="102030"/>
                      </a:cubicBezTo>
                      <a:cubicBezTo>
                        <a:pt x="24935" y="102030"/>
                        <a:pt x="22084" y="104880"/>
                        <a:pt x="22084" y="104880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BBD54B11-394D-4A49-87A1-0D28D70261A3}"/>
                  </a:ext>
                </a:extLst>
              </p:cNvPr>
              <p:cNvSpPr/>
              <p:nvPr/>
            </p:nvSpPr>
            <p:spPr>
              <a:xfrm>
                <a:off x="24094139" y="7815319"/>
                <a:ext cx="68362" cy="74971"/>
              </a:xfrm>
              <a:custGeom>
                <a:avLst/>
                <a:gdLst>
                  <a:gd name="connsiteX0" fmla="*/ 13270 w 68362"/>
                  <a:gd name="connsiteY0" fmla="*/ 74971 h 74971"/>
                  <a:gd name="connsiteX1" fmla="*/ 13270 w 68362"/>
                  <a:gd name="connsiteY1" fmla="*/ 74971 h 74971"/>
                  <a:gd name="connsiteX2" fmla="*/ 4721 w 68362"/>
                  <a:gd name="connsiteY2" fmla="*/ 69272 h 74971"/>
                  <a:gd name="connsiteX3" fmla="*/ 1873 w 68362"/>
                  <a:gd name="connsiteY3" fmla="*/ 35077 h 74971"/>
                  <a:gd name="connsiteX4" fmla="*/ 24669 w 68362"/>
                  <a:gd name="connsiteY4" fmla="*/ 6581 h 74971"/>
                  <a:gd name="connsiteX5" fmla="*/ 24669 w 68362"/>
                  <a:gd name="connsiteY5" fmla="*/ 6581 h 74971"/>
                  <a:gd name="connsiteX6" fmla="*/ 61714 w 68362"/>
                  <a:gd name="connsiteY6" fmla="*/ 6581 h 74971"/>
                  <a:gd name="connsiteX7" fmla="*/ 53165 w 68362"/>
                  <a:gd name="connsiteY7" fmla="*/ 46475 h 74971"/>
                  <a:gd name="connsiteX8" fmla="*/ 13270 w 68362"/>
                  <a:gd name="connsiteY8" fmla="*/ 74971 h 74971"/>
                  <a:gd name="connsiteX9" fmla="*/ 16121 w 68362"/>
                  <a:gd name="connsiteY9" fmla="*/ 63573 h 74971"/>
                  <a:gd name="connsiteX10" fmla="*/ 16121 w 68362"/>
                  <a:gd name="connsiteY10" fmla="*/ 63573 h 74971"/>
                  <a:gd name="connsiteX11" fmla="*/ 16121 w 68362"/>
                  <a:gd name="connsiteY11" fmla="*/ 63573 h 74971"/>
                  <a:gd name="connsiteX12" fmla="*/ 33218 w 68362"/>
                  <a:gd name="connsiteY12" fmla="*/ 15130 h 74971"/>
                  <a:gd name="connsiteX13" fmla="*/ 13270 w 68362"/>
                  <a:gd name="connsiteY13" fmla="*/ 40776 h 74971"/>
                  <a:gd name="connsiteX14" fmla="*/ 16121 w 68362"/>
                  <a:gd name="connsiteY14" fmla="*/ 63573 h 74971"/>
                  <a:gd name="connsiteX15" fmla="*/ 47466 w 68362"/>
                  <a:gd name="connsiteY15" fmla="*/ 40776 h 74971"/>
                  <a:gd name="connsiteX16" fmla="*/ 56014 w 68362"/>
                  <a:gd name="connsiteY16" fmla="*/ 15130 h 74971"/>
                  <a:gd name="connsiteX17" fmla="*/ 33218 w 68362"/>
                  <a:gd name="connsiteY17" fmla="*/ 15130 h 74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8362" h="74971">
                    <a:moveTo>
                      <a:pt x="13270" y="74971"/>
                    </a:moveTo>
                    <a:cubicBezTo>
                      <a:pt x="13270" y="74971"/>
                      <a:pt x="13270" y="74971"/>
                      <a:pt x="13270" y="74971"/>
                    </a:cubicBezTo>
                    <a:cubicBezTo>
                      <a:pt x="10421" y="74971"/>
                      <a:pt x="7572" y="74971"/>
                      <a:pt x="4721" y="69272"/>
                    </a:cubicBezTo>
                    <a:cubicBezTo>
                      <a:pt x="-978" y="60723"/>
                      <a:pt x="-978" y="40776"/>
                      <a:pt x="1873" y="35077"/>
                    </a:cubicBezTo>
                    <a:cubicBezTo>
                      <a:pt x="4721" y="26528"/>
                      <a:pt x="21820" y="9431"/>
                      <a:pt x="24669" y="6581"/>
                    </a:cubicBezTo>
                    <a:cubicBezTo>
                      <a:pt x="24669" y="6581"/>
                      <a:pt x="24669" y="6581"/>
                      <a:pt x="24669" y="6581"/>
                    </a:cubicBezTo>
                    <a:cubicBezTo>
                      <a:pt x="33218" y="882"/>
                      <a:pt x="50316" y="-4817"/>
                      <a:pt x="61714" y="6581"/>
                    </a:cubicBezTo>
                    <a:cubicBezTo>
                      <a:pt x="75962" y="23679"/>
                      <a:pt x="64564" y="37927"/>
                      <a:pt x="53165" y="46475"/>
                    </a:cubicBezTo>
                    <a:cubicBezTo>
                      <a:pt x="27518" y="74971"/>
                      <a:pt x="18970" y="74971"/>
                      <a:pt x="13270" y="74971"/>
                    </a:cubicBezTo>
                    <a:close/>
                    <a:moveTo>
                      <a:pt x="16121" y="63573"/>
                    </a:moveTo>
                    <a:lnTo>
                      <a:pt x="16121" y="63573"/>
                    </a:lnTo>
                    <a:lnTo>
                      <a:pt x="16121" y="63573"/>
                    </a:lnTo>
                    <a:close/>
                    <a:moveTo>
                      <a:pt x="33218" y="15130"/>
                    </a:moveTo>
                    <a:cubicBezTo>
                      <a:pt x="27518" y="23679"/>
                      <a:pt x="16121" y="35077"/>
                      <a:pt x="13270" y="40776"/>
                    </a:cubicBezTo>
                    <a:cubicBezTo>
                      <a:pt x="10421" y="43626"/>
                      <a:pt x="13270" y="60723"/>
                      <a:pt x="16121" y="63573"/>
                    </a:cubicBezTo>
                    <a:cubicBezTo>
                      <a:pt x="18970" y="63573"/>
                      <a:pt x="30369" y="57874"/>
                      <a:pt x="47466" y="40776"/>
                    </a:cubicBezTo>
                    <a:cubicBezTo>
                      <a:pt x="61714" y="26528"/>
                      <a:pt x="61714" y="20829"/>
                      <a:pt x="56014" y="15130"/>
                    </a:cubicBezTo>
                    <a:cubicBezTo>
                      <a:pt x="47466" y="6581"/>
                      <a:pt x="36068" y="15130"/>
                      <a:pt x="33218" y="15130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F89B7274-D9FF-4A72-84CA-72F09AB18D4A}"/>
                  </a:ext>
                </a:extLst>
              </p:cNvPr>
              <p:cNvSpPr/>
              <p:nvPr/>
            </p:nvSpPr>
            <p:spPr>
              <a:xfrm>
                <a:off x="24110972" y="7833298"/>
                <a:ext cx="77651" cy="85488"/>
              </a:xfrm>
              <a:custGeom>
                <a:avLst/>
                <a:gdLst>
                  <a:gd name="connsiteX0" fmla="*/ 16385 w 77651"/>
                  <a:gd name="connsiteY0" fmla="*/ 85488 h 85488"/>
                  <a:gd name="connsiteX1" fmla="*/ 13536 w 77651"/>
                  <a:gd name="connsiteY1" fmla="*/ 85488 h 85488"/>
                  <a:gd name="connsiteX2" fmla="*/ 2137 w 77651"/>
                  <a:gd name="connsiteY2" fmla="*/ 71240 h 85488"/>
                  <a:gd name="connsiteX3" fmla="*/ 2137 w 77651"/>
                  <a:gd name="connsiteY3" fmla="*/ 48444 h 85488"/>
                  <a:gd name="connsiteX4" fmla="*/ 10685 w 77651"/>
                  <a:gd name="connsiteY4" fmla="*/ 45594 h 85488"/>
                  <a:gd name="connsiteX5" fmla="*/ 13536 w 77651"/>
                  <a:gd name="connsiteY5" fmla="*/ 54143 h 85488"/>
                  <a:gd name="connsiteX6" fmla="*/ 13536 w 77651"/>
                  <a:gd name="connsiteY6" fmla="*/ 65541 h 85488"/>
                  <a:gd name="connsiteX7" fmla="*/ 19235 w 77651"/>
                  <a:gd name="connsiteY7" fmla="*/ 76940 h 85488"/>
                  <a:gd name="connsiteX8" fmla="*/ 19235 w 77651"/>
                  <a:gd name="connsiteY8" fmla="*/ 76940 h 85488"/>
                  <a:gd name="connsiteX9" fmla="*/ 64828 w 77651"/>
                  <a:gd name="connsiteY9" fmla="*/ 37045 h 85488"/>
                  <a:gd name="connsiteX10" fmla="*/ 64828 w 77651"/>
                  <a:gd name="connsiteY10" fmla="*/ 19948 h 85488"/>
                  <a:gd name="connsiteX11" fmla="*/ 47731 w 77651"/>
                  <a:gd name="connsiteY11" fmla="*/ 11399 h 85488"/>
                  <a:gd name="connsiteX12" fmla="*/ 42032 w 77651"/>
                  <a:gd name="connsiteY12" fmla="*/ 5700 h 85488"/>
                  <a:gd name="connsiteX13" fmla="*/ 47731 w 77651"/>
                  <a:gd name="connsiteY13" fmla="*/ 0 h 85488"/>
                  <a:gd name="connsiteX14" fmla="*/ 73377 w 77651"/>
                  <a:gd name="connsiteY14" fmla="*/ 11399 h 85488"/>
                  <a:gd name="connsiteX15" fmla="*/ 73377 w 77651"/>
                  <a:gd name="connsiteY15" fmla="*/ 37045 h 85488"/>
                  <a:gd name="connsiteX16" fmla="*/ 16385 w 77651"/>
                  <a:gd name="connsiteY16" fmla="*/ 85488 h 85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7651" h="85488">
                    <a:moveTo>
                      <a:pt x="16385" y="85488"/>
                    </a:moveTo>
                    <a:cubicBezTo>
                      <a:pt x="16385" y="85488"/>
                      <a:pt x="13536" y="85488"/>
                      <a:pt x="13536" y="85488"/>
                    </a:cubicBezTo>
                    <a:cubicBezTo>
                      <a:pt x="7836" y="82639"/>
                      <a:pt x="2137" y="76940"/>
                      <a:pt x="2137" y="71240"/>
                    </a:cubicBezTo>
                    <a:cubicBezTo>
                      <a:pt x="-712" y="62692"/>
                      <a:pt x="-712" y="54143"/>
                      <a:pt x="2137" y="48444"/>
                    </a:cubicBezTo>
                    <a:cubicBezTo>
                      <a:pt x="2137" y="45594"/>
                      <a:pt x="7836" y="45594"/>
                      <a:pt x="10685" y="45594"/>
                    </a:cubicBezTo>
                    <a:cubicBezTo>
                      <a:pt x="13536" y="45594"/>
                      <a:pt x="13536" y="51293"/>
                      <a:pt x="13536" y="54143"/>
                    </a:cubicBezTo>
                    <a:cubicBezTo>
                      <a:pt x="10685" y="56992"/>
                      <a:pt x="13536" y="62692"/>
                      <a:pt x="13536" y="65541"/>
                    </a:cubicBezTo>
                    <a:cubicBezTo>
                      <a:pt x="16385" y="71240"/>
                      <a:pt x="19235" y="74090"/>
                      <a:pt x="19235" y="76940"/>
                    </a:cubicBezTo>
                    <a:lnTo>
                      <a:pt x="19235" y="76940"/>
                    </a:lnTo>
                    <a:cubicBezTo>
                      <a:pt x="24933" y="76940"/>
                      <a:pt x="53429" y="65541"/>
                      <a:pt x="64828" y="37045"/>
                    </a:cubicBezTo>
                    <a:cubicBezTo>
                      <a:pt x="67677" y="31346"/>
                      <a:pt x="67677" y="25647"/>
                      <a:pt x="64828" y="19948"/>
                    </a:cubicBezTo>
                    <a:cubicBezTo>
                      <a:pt x="61979" y="14248"/>
                      <a:pt x="50580" y="11399"/>
                      <a:pt x="47731" y="11399"/>
                    </a:cubicBezTo>
                    <a:cubicBezTo>
                      <a:pt x="44881" y="11399"/>
                      <a:pt x="42032" y="8549"/>
                      <a:pt x="42032" y="5700"/>
                    </a:cubicBezTo>
                    <a:cubicBezTo>
                      <a:pt x="42032" y="2850"/>
                      <a:pt x="44881" y="0"/>
                      <a:pt x="47731" y="0"/>
                    </a:cubicBezTo>
                    <a:cubicBezTo>
                      <a:pt x="47731" y="0"/>
                      <a:pt x="67677" y="0"/>
                      <a:pt x="73377" y="11399"/>
                    </a:cubicBezTo>
                    <a:cubicBezTo>
                      <a:pt x="79076" y="17098"/>
                      <a:pt x="79076" y="28496"/>
                      <a:pt x="73377" y="37045"/>
                    </a:cubicBezTo>
                    <a:cubicBezTo>
                      <a:pt x="61979" y="68391"/>
                      <a:pt x="30633" y="85488"/>
                      <a:pt x="16385" y="85488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C97621A3-B839-4CEC-9D31-710B0396BC46}"/>
                  </a:ext>
                </a:extLst>
              </p:cNvPr>
              <p:cNvSpPr/>
              <p:nvPr/>
            </p:nvSpPr>
            <p:spPr>
              <a:xfrm>
                <a:off x="24130939" y="7865356"/>
                <a:ext cx="73676" cy="76226"/>
              </a:xfrm>
              <a:custGeom>
                <a:avLst/>
                <a:gdLst>
                  <a:gd name="connsiteX0" fmla="*/ 24914 w 73676"/>
                  <a:gd name="connsiteY0" fmla="*/ 76227 h 76226"/>
                  <a:gd name="connsiteX1" fmla="*/ 7817 w 73676"/>
                  <a:gd name="connsiteY1" fmla="*/ 70528 h 76226"/>
                  <a:gd name="connsiteX2" fmla="*/ 4966 w 73676"/>
                  <a:gd name="connsiteY2" fmla="*/ 42032 h 76226"/>
                  <a:gd name="connsiteX3" fmla="*/ 13516 w 73676"/>
                  <a:gd name="connsiteY3" fmla="*/ 39182 h 76226"/>
                  <a:gd name="connsiteX4" fmla="*/ 16365 w 73676"/>
                  <a:gd name="connsiteY4" fmla="*/ 47731 h 76226"/>
                  <a:gd name="connsiteX5" fmla="*/ 16365 w 73676"/>
                  <a:gd name="connsiteY5" fmla="*/ 61979 h 76226"/>
                  <a:gd name="connsiteX6" fmla="*/ 33462 w 73676"/>
                  <a:gd name="connsiteY6" fmla="*/ 64829 h 76226"/>
                  <a:gd name="connsiteX7" fmla="*/ 59109 w 73676"/>
                  <a:gd name="connsiteY7" fmla="*/ 24934 h 76226"/>
                  <a:gd name="connsiteX8" fmla="*/ 47710 w 73676"/>
                  <a:gd name="connsiteY8" fmla="*/ 10686 h 76226"/>
                  <a:gd name="connsiteX9" fmla="*/ 47710 w 73676"/>
                  <a:gd name="connsiteY9" fmla="*/ 2137 h 76226"/>
                  <a:gd name="connsiteX10" fmla="*/ 56260 w 73676"/>
                  <a:gd name="connsiteY10" fmla="*/ 2137 h 76226"/>
                  <a:gd name="connsiteX11" fmla="*/ 73357 w 73676"/>
                  <a:gd name="connsiteY11" fmla="*/ 27784 h 76226"/>
                  <a:gd name="connsiteX12" fmla="*/ 44861 w 73676"/>
                  <a:gd name="connsiteY12" fmla="*/ 73377 h 76226"/>
                  <a:gd name="connsiteX13" fmla="*/ 24914 w 73676"/>
                  <a:gd name="connsiteY13" fmla="*/ 76227 h 76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3676" h="76226">
                    <a:moveTo>
                      <a:pt x="24914" y="76227"/>
                    </a:moveTo>
                    <a:cubicBezTo>
                      <a:pt x="19214" y="76227"/>
                      <a:pt x="10666" y="73377"/>
                      <a:pt x="7817" y="70528"/>
                    </a:cubicBezTo>
                    <a:cubicBezTo>
                      <a:pt x="4966" y="67678"/>
                      <a:pt x="-6431" y="59129"/>
                      <a:pt x="4966" y="42032"/>
                    </a:cubicBezTo>
                    <a:cubicBezTo>
                      <a:pt x="7817" y="39182"/>
                      <a:pt x="10666" y="39182"/>
                      <a:pt x="13516" y="39182"/>
                    </a:cubicBezTo>
                    <a:cubicBezTo>
                      <a:pt x="16365" y="42032"/>
                      <a:pt x="16365" y="44881"/>
                      <a:pt x="16365" y="47731"/>
                    </a:cubicBezTo>
                    <a:cubicBezTo>
                      <a:pt x="10666" y="56280"/>
                      <a:pt x="13516" y="61979"/>
                      <a:pt x="16365" y="61979"/>
                    </a:cubicBezTo>
                    <a:cubicBezTo>
                      <a:pt x="22065" y="67678"/>
                      <a:pt x="30613" y="64829"/>
                      <a:pt x="33462" y="64829"/>
                    </a:cubicBezTo>
                    <a:cubicBezTo>
                      <a:pt x="42012" y="56280"/>
                      <a:pt x="56260" y="33483"/>
                      <a:pt x="59109" y="24934"/>
                    </a:cubicBezTo>
                    <a:cubicBezTo>
                      <a:pt x="59109" y="22084"/>
                      <a:pt x="53410" y="13536"/>
                      <a:pt x="47710" y="10686"/>
                    </a:cubicBezTo>
                    <a:cubicBezTo>
                      <a:pt x="44861" y="7836"/>
                      <a:pt x="44861" y="4987"/>
                      <a:pt x="47710" y="2137"/>
                    </a:cubicBezTo>
                    <a:cubicBezTo>
                      <a:pt x="50561" y="-712"/>
                      <a:pt x="53410" y="-712"/>
                      <a:pt x="56260" y="2137"/>
                    </a:cubicBezTo>
                    <a:cubicBezTo>
                      <a:pt x="59109" y="4987"/>
                      <a:pt x="76206" y="16385"/>
                      <a:pt x="73357" y="27784"/>
                    </a:cubicBezTo>
                    <a:cubicBezTo>
                      <a:pt x="70508" y="39182"/>
                      <a:pt x="53410" y="64829"/>
                      <a:pt x="44861" y="73377"/>
                    </a:cubicBezTo>
                    <a:cubicBezTo>
                      <a:pt x="36313" y="76227"/>
                      <a:pt x="30613" y="76227"/>
                      <a:pt x="24914" y="7622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C870C7C7-C60B-41B6-8583-24424F5A5035}"/>
                </a:ext>
              </a:extLst>
            </p:cNvPr>
            <p:cNvGrpSpPr/>
            <p:nvPr/>
          </p:nvGrpSpPr>
          <p:grpSpPr>
            <a:xfrm>
              <a:off x="24018856" y="7554912"/>
              <a:ext cx="528938" cy="400919"/>
              <a:chOff x="24018856" y="7554912"/>
              <a:chExt cx="528938" cy="400919"/>
            </a:xfrm>
          </p:grpSpPr>
          <p:grpSp>
            <p:nvGrpSpPr>
              <p:cNvPr id="47" name="图形 1">
                <a:extLst>
                  <a:ext uri="{FF2B5EF4-FFF2-40B4-BE49-F238E27FC236}">
                    <a16:creationId xmlns:a16="http://schemas.microsoft.com/office/drawing/2014/main" id="{FA07D064-5923-4426-A039-01590F10871A}"/>
                  </a:ext>
                </a:extLst>
              </p:cNvPr>
              <p:cNvGrpSpPr/>
              <p:nvPr/>
            </p:nvGrpSpPr>
            <p:grpSpPr>
              <a:xfrm>
                <a:off x="24018856" y="7554912"/>
                <a:ext cx="528938" cy="400919"/>
                <a:chOff x="24018856" y="7554912"/>
                <a:chExt cx="528938" cy="400919"/>
              </a:xfrm>
              <a:solidFill>
                <a:srgbClr val="7F95BC"/>
              </a:solidFill>
            </p:grpSpPr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CCD9EA49-5314-4291-A5EA-278CCC9BF1D0}"/>
                    </a:ext>
                  </a:extLst>
                </p:cNvPr>
                <p:cNvSpPr/>
                <p:nvPr/>
              </p:nvSpPr>
              <p:spPr>
                <a:xfrm>
                  <a:off x="24246090" y="7585898"/>
                  <a:ext cx="301704" cy="291284"/>
                </a:xfrm>
                <a:custGeom>
                  <a:avLst/>
                  <a:gdLst>
                    <a:gd name="connsiteX0" fmla="*/ 20898 w 301704"/>
                    <a:gd name="connsiteY0" fmla="*/ 136266 h 291284"/>
                    <a:gd name="connsiteX1" fmla="*/ 189023 w 301704"/>
                    <a:gd name="connsiteY1" fmla="*/ 275896 h 291284"/>
                    <a:gd name="connsiteX2" fmla="*/ 263114 w 301704"/>
                    <a:gd name="connsiteY2" fmla="*/ 284445 h 291284"/>
                    <a:gd name="connsiteX3" fmla="*/ 263114 w 301704"/>
                    <a:gd name="connsiteY3" fmla="*/ 284445 h 291284"/>
                    <a:gd name="connsiteX4" fmla="*/ 294459 w 301704"/>
                    <a:gd name="connsiteY4" fmla="*/ 204656 h 291284"/>
                    <a:gd name="connsiteX5" fmla="*/ 200422 w 301704"/>
                    <a:gd name="connsiteY5" fmla="*/ 30830 h 291284"/>
                    <a:gd name="connsiteX6" fmla="*/ 112085 w 301704"/>
                    <a:gd name="connsiteY6" fmla="*/ 8033 h 291284"/>
                    <a:gd name="connsiteX7" fmla="*/ 40845 w 301704"/>
                    <a:gd name="connsiteY7" fmla="*/ 42228 h 291284"/>
                    <a:gd name="connsiteX8" fmla="*/ 20898 w 301704"/>
                    <a:gd name="connsiteY8" fmla="*/ 136266 h 291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01704" h="291284">
                      <a:moveTo>
                        <a:pt x="20898" y="136266"/>
                      </a:moveTo>
                      <a:lnTo>
                        <a:pt x="189023" y="275896"/>
                      </a:lnTo>
                      <a:cubicBezTo>
                        <a:pt x="208971" y="292994"/>
                        <a:pt x="240318" y="295844"/>
                        <a:pt x="263114" y="284445"/>
                      </a:cubicBezTo>
                      <a:lnTo>
                        <a:pt x="263114" y="284445"/>
                      </a:lnTo>
                      <a:cubicBezTo>
                        <a:pt x="297310" y="270197"/>
                        <a:pt x="311558" y="233152"/>
                        <a:pt x="294459" y="204656"/>
                      </a:cubicBezTo>
                      <a:lnTo>
                        <a:pt x="200422" y="30830"/>
                      </a:lnTo>
                      <a:cubicBezTo>
                        <a:pt x="183325" y="2334"/>
                        <a:pt x="143430" y="-9064"/>
                        <a:pt x="112085" y="8033"/>
                      </a:cubicBezTo>
                      <a:lnTo>
                        <a:pt x="40845" y="42228"/>
                      </a:lnTo>
                      <a:cubicBezTo>
                        <a:pt x="-4749" y="59326"/>
                        <a:pt x="-13298" y="107769"/>
                        <a:pt x="20898" y="136266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FD69B1F3-783C-4E6B-BB2B-9C69E2847008}"/>
                    </a:ext>
                  </a:extLst>
                </p:cNvPr>
                <p:cNvSpPr/>
                <p:nvPr/>
              </p:nvSpPr>
              <p:spPr>
                <a:xfrm>
                  <a:off x="24018856" y="7642158"/>
                  <a:ext cx="228950" cy="313672"/>
                </a:xfrm>
                <a:custGeom>
                  <a:avLst/>
                  <a:gdLst>
                    <a:gd name="connsiteX0" fmla="*/ 222485 w 228950"/>
                    <a:gd name="connsiteY0" fmla="*/ 82855 h 313672"/>
                    <a:gd name="connsiteX1" fmla="*/ 125599 w 228950"/>
                    <a:gd name="connsiteY1" fmla="*/ 276628 h 313672"/>
                    <a:gd name="connsiteX2" fmla="*/ 60057 w 228950"/>
                    <a:gd name="connsiteY2" fmla="*/ 313673 h 313672"/>
                    <a:gd name="connsiteX3" fmla="*/ 60057 w 228950"/>
                    <a:gd name="connsiteY3" fmla="*/ 313673 h 313672"/>
                    <a:gd name="connsiteX4" fmla="*/ 216 w 228950"/>
                    <a:gd name="connsiteY4" fmla="*/ 253831 h 313672"/>
                    <a:gd name="connsiteX5" fmla="*/ 17313 w 228950"/>
                    <a:gd name="connsiteY5" fmla="*/ 57208 h 313672"/>
                    <a:gd name="connsiteX6" fmla="*/ 88553 w 228950"/>
                    <a:gd name="connsiteY6" fmla="*/ 216 h 313672"/>
                    <a:gd name="connsiteX7" fmla="*/ 168343 w 228950"/>
                    <a:gd name="connsiteY7" fmla="*/ 3066 h 313672"/>
                    <a:gd name="connsiteX8" fmla="*/ 222485 w 228950"/>
                    <a:gd name="connsiteY8" fmla="*/ 82855 h 313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28950" h="313672">
                      <a:moveTo>
                        <a:pt x="222485" y="82855"/>
                      </a:moveTo>
                      <a:lnTo>
                        <a:pt x="125599" y="276628"/>
                      </a:lnTo>
                      <a:cubicBezTo>
                        <a:pt x="114200" y="299425"/>
                        <a:pt x="88553" y="313673"/>
                        <a:pt x="60057" y="313673"/>
                      </a:cubicBezTo>
                      <a:lnTo>
                        <a:pt x="60057" y="313673"/>
                      </a:lnTo>
                      <a:cubicBezTo>
                        <a:pt x="23012" y="313673"/>
                        <a:pt x="-2633" y="285177"/>
                        <a:pt x="216" y="253831"/>
                      </a:cubicBezTo>
                      <a:lnTo>
                        <a:pt x="17313" y="57208"/>
                      </a:lnTo>
                      <a:cubicBezTo>
                        <a:pt x="20163" y="23013"/>
                        <a:pt x="51508" y="-2633"/>
                        <a:pt x="88553" y="216"/>
                      </a:cubicBezTo>
                      <a:lnTo>
                        <a:pt x="168343" y="3066"/>
                      </a:lnTo>
                      <a:cubicBezTo>
                        <a:pt x="213936" y="3066"/>
                        <a:pt x="242432" y="45810"/>
                        <a:pt x="222485" y="82855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84E6C3BB-2FB0-4BB6-AC5C-8A5BE3AB32B9}"/>
                    </a:ext>
                  </a:extLst>
                </p:cNvPr>
                <p:cNvSpPr/>
                <p:nvPr/>
              </p:nvSpPr>
              <p:spPr>
                <a:xfrm>
                  <a:off x="24036026" y="7554912"/>
                  <a:ext cx="427623" cy="292672"/>
                </a:xfrm>
                <a:custGeom>
                  <a:avLst/>
                  <a:gdLst>
                    <a:gd name="connsiteX0" fmla="*/ 2994 w 427623"/>
                    <a:gd name="connsiteY0" fmla="*/ 181500 h 292672"/>
                    <a:gd name="connsiteX1" fmla="*/ 8694 w 427623"/>
                    <a:gd name="connsiteY1" fmla="*/ 201447 h 292672"/>
                    <a:gd name="connsiteX2" fmla="*/ 145474 w 427623"/>
                    <a:gd name="connsiteY2" fmla="*/ 289785 h 292672"/>
                    <a:gd name="connsiteX3" fmla="*/ 336398 w 427623"/>
                    <a:gd name="connsiteY3" fmla="*/ 249890 h 292672"/>
                    <a:gd name="connsiteX4" fmla="*/ 424735 w 427623"/>
                    <a:gd name="connsiteY4" fmla="*/ 113109 h 292672"/>
                    <a:gd name="connsiteX5" fmla="*/ 419036 w 427623"/>
                    <a:gd name="connsiteY5" fmla="*/ 93162 h 292672"/>
                    <a:gd name="connsiteX6" fmla="*/ 399088 w 427623"/>
                    <a:gd name="connsiteY6" fmla="*/ 47568 h 292672"/>
                    <a:gd name="connsiteX7" fmla="*/ 399088 w 427623"/>
                    <a:gd name="connsiteY7" fmla="*/ 47568 h 292672"/>
                    <a:gd name="connsiteX8" fmla="*/ 282255 w 427623"/>
                    <a:gd name="connsiteY8" fmla="*/ 1975 h 292672"/>
                    <a:gd name="connsiteX9" fmla="*/ 91331 w 427623"/>
                    <a:gd name="connsiteY9" fmla="*/ 41869 h 292672"/>
                    <a:gd name="connsiteX10" fmla="*/ 143 w 427623"/>
                    <a:gd name="connsiteY10" fmla="*/ 155853 h 292672"/>
                    <a:gd name="connsiteX11" fmla="*/ 2994 w 427623"/>
                    <a:gd name="connsiteY11" fmla="*/ 181500 h 292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27623" h="292672">
                      <a:moveTo>
                        <a:pt x="2994" y="181500"/>
                      </a:moveTo>
                      <a:lnTo>
                        <a:pt x="8694" y="201447"/>
                      </a:lnTo>
                      <a:cubicBezTo>
                        <a:pt x="22942" y="264138"/>
                        <a:pt x="82783" y="304033"/>
                        <a:pt x="145474" y="289785"/>
                      </a:cubicBezTo>
                      <a:lnTo>
                        <a:pt x="336398" y="249890"/>
                      </a:lnTo>
                      <a:cubicBezTo>
                        <a:pt x="399088" y="235642"/>
                        <a:pt x="438983" y="175801"/>
                        <a:pt x="424735" y="113109"/>
                      </a:cubicBezTo>
                      <a:lnTo>
                        <a:pt x="419036" y="93162"/>
                      </a:lnTo>
                      <a:cubicBezTo>
                        <a:pt x="416187" y="76064"/>
                        <a:pt x="407638" y="61816"/>
                        <a:pt x="399088" y="47568"/>
                      </a:cubicBezTo>
                      <a:lnTo>
                        <a:pt x="399088" y="47568"/>
                      </a:lnTo>
                      <a:cubicBezTo>
                        <a:pt x="373443" y="13373"/>
                        <a:pt x="327848" y="-6574"/>
                        <a:pt x="282255" y="1975"/>
                      </a:cubicBezTo>
                      <a:lnTo>
                        <a:pt x="91331" y="41869"/>
                      </a:lnTo>
                      <a:cubicBezTo>
                        <a:pt x="37190" y="53267"/>
                        <a:pt x="-2705" y="101711"/>
                        <a:pt x="143" y="155853"/>
                      </a:cubicBezTo>
                      <a:cubicBezTo>
                        <a:pt x="143" y="167252"/>
                        <a:pt x="143" y="175801"/>
                        <a:pt x="2994" y="18150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48" name="图形 1">
                <a:extLst>
                  <a:ext uri="{FF2B5EF4-FFF2-40B4-BE49-F238E27FC236}">
                    <a16:creationId xmlns:a16="http://schemas.microsoft.com/office/drawing/2014/main" id="{F693983F-EC45-4C91-9749-27BBAC6D2D4C}"/>
                  </a:ext>
                </a:extLst>
              </p:cNvPr>
              <p:cNvGrpSpPr/>
              <p:nvPr/>
            </p:nvGrpSpPr>
            <p:grpSpPr>
              <a:xfrm>
                <a:off x="24095285" y="7627568"/>
                <a:ext cx="104038" cy="104958"/>
                <a:chOff x="24095285" y="7627568"/>
                <a:chExt cx="104038" cy="104958"/>
              </a:xfrm>
              <a:solidFill>
                <a:srgbClr val="FFFFFF"/>
              </a:solidFill>
            </p:grpSpPr>
            <p:grpSp>
              <p:nvGrpSpPr>
                <p:cNvPr id="54" name="图形 1">
                  <a:extLst>
                    <a:ext uri="{FF2B5EF4-FFF2-40B4-BE49-F238E27FC236}">
                      <a16:creationId xmlns:a16="http://schemas.microsoft.com/office/drawing/2014/main" id="{27309124-EFB5-40A3-A792-DC6F6CF628A6}"/>
                    </a:ext>
                  </a:extLst>
                </p:cNvPr>
                <p:cNvGrpSpPr/>
                <p:nvPr/>
              </p:nvGrpSpPr>
              <p:grpSpPr>
                <a:xfrm>
                  <a:off x="24121099" y="7627568"/>
                  <a:ext cx="52411" cy="104958"/>
                  <a:chOff x="24121099" y="7627568"/>
                  <a:chExt cx="52411" cy="104958"/>
                </a:xfrm>
                <a:solidFill>
                  <a:srgbClr val="FFFFFF"/>
                </a:solidFill>
              </p:grpSpPr>
              <p:sp>
                <p:nvSpPr>
                  <p:cNvPr id="58" name="任意多边形: 形状 57">
                    <a:extLst>
                      <a:ext uri="{FF2B5EF4-FFF2-40B4-BE49-F238E27FC236}">
                        <a16:creationId xmlns:a16="http://schemas.microsoft.com/office/drawing/2014/main" id="{6631B94D-3B23-4059-9834-FA7676093D62}"/>
                      </a:ext>
                    </a:extLst>
                  </p:cNvPr>
                  <p:cNvSpPr/>
                  <p:nvPr/>
                </p:nvSpPr>
                <p:spPr>
                  <a:xfrm>
                    <a:off x="24121099" y="7627568"/>
                    <a:ext cx="38163" cy="38330"/>
                  </a:xfrm>
                  <a:custGeom>
                    <a:avLst/>
                    <a:gdLst>
                      <a:gd name="connsiteX0" fmla="*/ 559 w 38163"/>
                      <a:gd name="connsiteY0" fmla="*/ 23356 h 38330"/>
                      <a:gd name="connsiteX1" fmla="*/ 14807 w 38163"/>
                      <a:gd name="connsiteY1" fmla="*/ 559 h 38330"/>
                      <a:gd name="connsiteX2" fmla="*/ 37605 w 38163"/>
                      <a:gd name="connsiteY2" fmla="*/ 14807 h 38330"/>
                      <a:gd name="connsiteX3" fmla="*/ 23357 w 38163"/>
                      <a:gd name="connsiteY3" fmla="*/ 37604 h 38330"/>
                      <a:gd name="connsiteX4" fmla="*/ 559 w 38163"/>
                      <a:gd name="connsiteY4" fmla="*/ 23356 h 383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163" h="38330">
                        <a:moveTo>
                          <a:pt x="559" y="23356"/>
                        </a:moveTo>
                        <a:cubicBezTo>
                          <a:pt x="-2290" y="11958"/>
                          <a:pt x="6258" y="3409"/>
                          <a:pt x="14807" y="559"/>
                        </a:cubicBezTo>
                        <a:cubicBezTo>
                          <a:pt x="26206" y="-2290"/>
                          <a:pt x="34754" y="6258"/>
                          <a:pt x="37605" y="14807"/>
                        </a:cubicBezTo>
                        <a:cubicBezTo>
                          <a:pt x="40454" y="26206"/>
                          <a:pt x="31905" y="34754"/>
                          <a:pt x="23357" y="37604"/>
                        </a:cubicBezTo>
                        <a:cubicBezTo>
                          <a:pt x="14807" y="40454"/>
                          <a:pt x="3409" y="34754"/>
                          <a:pt x="559" y="2335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59" name="任意多边形: 形状 58">
                    <a:extLst>
                      <a:ext uri="{FF2B5EF4-FFF2-40B4-BE49-F238E27FC236}">
                        <a16:creationId xmlns:a16="http://schemas.microsoft.com/office/drawing/2014/main" id="{D72B447D-1A16-45B6-8322-86BAB979362C}"/>
                      </a:ext>
                    </a:extLst>
                  </p:cNvPr>
                  <p:cNvSpPr/>
                  <p:nvPr/>
                </p:nvSpPr>
                <p:spPr>
                  <a:xfrm>
                    <a:off x="24135347" y="7693108"/>
                    <a:ext cx="38163" cy="39417"/>
                  </a:xfrm>
                  <a:custGeom>
                    <a:avLst/>
                    <a:gdLst>
                      <a:gd name="connsiteX0" fmla="*/ 559 w 38163"/>
                      <a:gd name="connsiteY0" fmla="*/ 23356 h 39417"/>
                      <a:gd name="connsiteX1" fmla="*/ 14807 w 38163"/>
                      <a:gd name="connsiteY1" fmla="*/ 559 h 39417"/>
                      <a:gd name="connsiteX2" fmla="*/ 37605 w 38163"/>
                      <a:gd name="connsiteY2" fmla="*/ 14807 h 39417"/>
                      <a:gd name="connsiteX3" fmla="*/ 23357 w 38163"/>
                      <a:gd name="connsiteY3" fmla="*/ 37604 h 39417"/>
                      <a:gd name="connsiteX4" fmla="*/ 559 w 38163"/>
                      <a:gd name="connsiteY4" fmla="*/ 23356 h 394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163" h="39417">
                        <a:moveTo>
                          <a:pt x="559" y="23356"/>
                        </a:moveTo>
                        <a:cubicBezTo>
                          <a:pt x="-2290" y="11957"/>
                          <a:pt x="6258" y="3409"/>
                          <a:pt x="14807" y="559"/>
                        </a:cubicBezTo>
                        <a:cubicBezTo>
                          <a:pt x="26206" y="-2291"/>
                          <a:pt x="34754" y="6258"/>
                          <a:pt x="37605" y="14807"/>
                        </a:cubicBezTo>
                        <a:cubicBezTo>
                          <a:pt x="40454" y="26205"/>
                          <a:pt x="31905" y="34754"/>
                          <a:pt x="23357" y="37604"/>
                        </a:cubicBezTo>
                        <a:cubicBezTo>
                          <a:pt x="14807" y="43303"/>
                          <a:pt x="3409" y="34754"/>
                          <a:pt x="559" y="2335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55" name="图形 1">
                  <a:extLst>
                    <a:ext uri="{FF2B5EF4-FFF2-40B4-BE49-F238E27FC236}">
                      <a16:creationId xmlns:a16="http://schemas.microsoft.com/office/drawing/2014/main" id="{471D8D68-C51A-471F-8709-AA200676D735}"/>
                    </a:ext>
                  </a:extLst>
                </p:cNvPr>
                <p:cNvGrpSpPr/>
                <p:nvPr/>
              </p:nvGrpSpPr>
              <p:grpSpPr>
                <a:xfrm>
                  <a:off x="24095285" y="7655896"/>
                  <a:ext cx="104038" cy="52019"/>
                  <a:chOff x="24095285" y="7655896"/>
                  <a:chExt cx="104038" cy="52019"/>
                </a:xfrm>
                <a:solidFill>
                  <a:srgbClr val="FFFFFF"/>
                </a:solidFill>
              </p:grpSpPr>
              <p:sp>
                <p:nvSpPr>
                  <p:cNvPr id="56" name="任意多边形: 形状 55">
                    <a:extLst>
                      <a:ext uri="{FF2B5EF4-FFF2-40B4-BE49-F238E27FC236}">
                        <a16:creationId xmlns:a16="http://schemas.microsoft.com/office/drawing/2014/main" id="{E395B0F1-CB77-4660-88F8-193E6AD1BA63}"/>
                      </a:ext>
                    </a:extLst>
                  </p:cNvPr>
                  <p:cNvSpPr/>
                  <p:nvPr/>
                </p:nvSpPr>
                <p:spPr>
                  <a:xfrm>
                    <a:off x="24160826" y="7655896"/>
                    <a:ext cx="38497" cy="37771"/>
                  </a:xfrm>
                  <a:custGeom>
                    <a:avLst/>
                    <a:gdLst>
                      <a:gd name="connsiteX0" fmla="*/ 23522 w 38497"/>
                      <a:gd name="connsiteY0" fmla="*/ 37771 h 37771"/>
                      <a:gd name="connsiteX1" fmla="*/ 37770 w 38497"/>
                      <a:gd name="connsiteY1" fmla="*/ 14974 h 37771"/>
                      <a:gd name="connsiteX2" fmla="*/ 14974 w 38497"/>
                      <a:gd name="connsiteY2" fmla="*/ 726 h 37771"/>
                      <a:gd name="connsiteX3" fmla="*/ 726 w 38497"/>
                      <a:gd name="connsiteY3" fmla="*/ 23523 h 37771"/>
                      <a:gd name="connsiteX4" fmla="*/ 23522 w 38497"/>
                      <a:gd name="connsiteY4" fmla="*/ 37771 h 377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497" h="37771">
                        <a:moveTo>
                          <a:pt x="23522" y="37771"/>
                        </a:moveTo>
                        <a:cubicBezTo>
                          <a:pt x="34922" y="34921"/>
                          <a:pt x="40621" y="26373"/>
                          <a:pt x="37770" y="14974"/>
                        </a:cubicBezTo>
                        <a:cubicBezTo>
                          <a:pt x="34922" y="3576"/>
                          <a:pt x="26373" y="-2123"/>
                          <a:pt x="14974" y="726"/>
                        </a:cubicBezTo>
                        <a:cubicBezTo>
                          <a:pt x="3575" y="3576"/>
                          <a:pt x="-2123" y="12125"/>
                          <a:pt x="726" y="23523"/>
                        </a:cubicBezTo>
                        <a:cubicBezTo>
                          <a:pt x="3575" y="32072"/>
                          <a:pt x="14974" y="37771"/>
                          <a:pt x="23522" y="377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57" name="任意多边形: 形状 56">
                    <a:extLst>
                      <a:ext uri="{FF2B5EF4-FFF2-40B4-BE49-F238E27FC236}">
                        <a16:creationId xmlns:a16="http://schemas.microsoft.com/office/drawing/2014/main" id="{76F5B83D-2682-4A87-8DEE-4E67915E98EE}"/>
                      </a:ext>
                    </a:extLst>
                  </p:cNvPr>
                  <p:cNvSpPr/>
                  <p:nvPr/>
                </p:nvSpPr>
                <p:spPr>
                  <a:xfrm>
                    <a:off x="24095285" y="7670145"/>
                    <a:ext cx="38497" cy="37771"/>
                  </a:xfrm>
                  <a:custGeom>
                    <a:avLst/>
                    <a:gdLst>
                      <a:gd name="connsiteX0" fmla="*/ 23523 w 38497"/>
                      <a:gd name="connsiteY0" fmla="*/ 37771 h 37771"/>
                      <a:gd name="connsiteX1" fmla="*/ 37771 w 38497"/>
                      <a:gd name="connsiteY1" fmla="*/ 14974 h 37771"/>
                      <a:gd name="connsiteX2" fmla="*/ 14975 w 38497"/>
                      <a:gd name="connsiteY2" fmla="*/ 726 h 37771"/>
                      <a:gd name="connsiteX3" fmla="*/ 727 w 38497"/>
                      <a:gd name="connsiteY3" fmla="*/ 23523 h 37771"/>
                      <a:gd name="connsiteX4" fmla="*/ 23523 w 38497"/>
                      <a:gd name="connsiteY4" fmla="*/ 37771 h 377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497" h="37771">
                        <a:moveTo>
                          <a:pt x="23523" y="37771"/>
                        </a:moveTo>
                        <a:cubicBezTo>
                          <a:pt x="34922" y="34921"/>
                          <a:pt x="40620" y="26373"/>
                          <a:pt x="37771" y="14974"/>
                        </a:cubicBezTo>
                        <a:cubicBezTo>
                          <a:pt x="34922" y="3576"/>
                          <a:pt x="26372" y="-2123"/>
                          <a:pt x="14975" y="726"/>
                        </a:cubicBezTo>
                        <a:cubicBezTo>
                          <a:pt x="3576" y="3576"/>
                          <a:pt x="-2124" y="12125"/>
                          <a:pt x="727" y="23523"/>
                        </a:cubicBezTo>
                        <a:cubicBezTo>
                          <a:pt x="3576" y="32072"/>
                          <a:pt x="12124" y="37771"/>
                          <a:pt x="23523" y="377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2849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2B84657F-E9F7-403B-9169-6735342DCDC4}"/>
                  </a:ext>
                </a:extLst>
              </p:cNvPr>
              <p:cNvSpPr/>
              <p:nvPr/>
            </p:nvSpPr>
            <p:spPr>
              <a:xfrm>
                <a:off x="24292200" y="7712348"/>
                <a:ext cx="75790" cy="76622"/>
              </a:xfrm>
              <a:custGeom>
                <a:avLst/>
                <a:gdLst>
                  <a:gd name="connsiteX0" fmla="*/ 433 w 75790"/>
                  <a:gd name="connsiteY0" fmla="*/ 46860 h 76622"/>
                  <a:gd name="connsiteX1" fmla="*/ 28929 w 75790"/>
                  <a:gd name="connsiteY1" fmla="*/ 1266 h 76622"/>
                  <a:gd name="connsiteX2" fmla="*/ 74524 w 75790"/>
                  <a:gd name="connsiteY2" fmla="*/ 29762 h 76622"/>
                  <a:gd name="connsiteX3" fmla="*/ 46028 w 75790"/>
                  <a:gd name="connsiteY3" fmla="*/ 75356 h 76622"/>
                  <a:gd name="connsiteX4" fmla="*/ 433 w 75790"/>
                  <a:gd name="connsiteY4" fmla="*/ 46860 h 76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790" h="76622">
                    <a:moveTo>
                      <a:pt x="433" y="46860"/>
                    </a:moveTo>
                    <a:cubicBezTo>
                      <a:pt x="-2416" y="26913"/>
                      <a:pt x="8983" y="6965"/>
                      <a:pt x="28929" y="1266"/>
                    </a:cubicBezTo>
                    <a:cubicBezTo>
                      <a:pt x="48877" y="-4433"/>
                      <a:pt x="68824" y="9815"/>
                      <a:pt x="74524" y="29762"/>
                    </a:cubicBezTo>
                    <a:cubicBezTo>
                      <a:pt x="80223" y="49709"/>
                      <a:pt x="65975" y="69657"/>
                      <a:pt x="46028" y="75356"/>
                    </a:cubicBezTo>
                    <a:cubicBezTo>
                      <a:pt x="26080" y="81055"/>
                      <a:pt x="6133" y="66807"/>
                      <a:pt x="433" y="46860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0EC70DDC-971A-4148-85D1-DE7C2177756B}"/>
                  </a:ext>
                </a:extLst>
              </p:cNvPr>
              <p:cNvSpPr/>
              <p:nvPr/>
            </p:nvSpPr>
            <p:spPr>
              <a:xfrm>
                <a:off x="24157437" y="7740844"/>
                <a:ext cx="75788" cy="76622"/>
              </a:xfrm>
              <a:custGeom>
                <a:avLst/>
                <a:gdLst>
                  <a:gd name="connsiteX0" fmla="*/ 1266 w 75788"/>
                  <a:gd name="connsiteY0" fmla="*/ 46860 h 76622"/>
                  <a:gd name="connsiteX1" fmla="*/ 29763 w 75788"/>
                  <a:gd name="connsiteY1" fmla="*/ 1266 h 76622"/>
                  <a:gd name="connsiteX2" fmla="*/ 75355 w 75788"/>
                  <a:gd name="connsiteY2" fmla="*/ 29762 h 76622"/>
                  <a:gd name="connsiteX3" fmla="*/ 46859 w 75788"/>
                  <a:gd name="connsiteY3" fmla="*/ 75356 h 76622"/>
                  <a:gd name="connsiteX4" fmla="*/ 1266 w 75788"/>
                  <a:gd name="connsiteY4" fmla="*/ 46860 h 76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788" h="76622">
                    <a:moveTo>
                      <a:pt x="1266" y="46860"/>
                    </a:moveTo>
                    <a:cubicBezTo>
                      <a:pt x="-4433" y="26913"/>
                      <a:pt x="9815" y="6965"/>
                      <a:pt x="29763" y="1266"/>
                    </a:cubicBezTo>
                    <a:cubicBezTo>
                      <a:pt x="49708" y="-4433"/>
                      <a:pt x="69656" y="9815"/>
                      <a:pt x="75355" y="29762"/>
                    </a:cubicBezTo>
                    <a:cubicBezTo>
                      <a:pt x="78204" y="49709"/>
                      <a:pt x="66807" y="69657"/>
                      <a:pt x="46859" y="75356"/>
                    </a:cubicBezTo>
                    <a:cubicBezTo>
                      <a:pt x="26912" y="81055"/>
                      <a:pt x="6964" y="66807"/>
                      <a:pt x="1266" y="46860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51" name="图形 1">
                <a:extLst>
                  <a:ext uri="{FF2B5EF4-FFF2-40B4-BE49-F238E27FC236}">
                    <a16:creationId xmlns:a16="http://schemas.microsoft.com/office/drawing/2014/main" id="{D20C7D50-2DDC-4E76-9D18-7B042F81134E}"/>
                  </a:ext>
                </a:extLst>
              </p:cNvPr>
              <p:cNvGrpSpPr/>
              <p:nvPr/>
            </p:nvGrpSpPr>
            <p:grpSpPr>
              <a:xfrm>
                <a:off x="24288693" y="7587140"/>
                <a:ext cx="104769" cy="105674"/>
                <a:chOff x="24288693" y="7587140"/>
                <a:chExt cx="104769" cy="105674"/>
              </a:xfrm>
            </p:grpSpPr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DB9E4D40-98B4-4AD8-BE96-67F604CFC163}"/>
                    </a:ext>
                  </a:extLst>
                </p:cNvPr>
                <p:cNvSpPr/>
                <p:nvPr/>
              </p:nvSpPr>
              <p:spPr>
                <a:xfrm>
                  <a:off x="24288693" y="7587140"/>
                  <a:ext cx="104769" cy="105674"/>
                </a:xfrm>
                <a:custGeom>
                  <a:avLst/>
                  <a:gdLst>
                    <a:gd name="connsiteX0" fmla="*/ 1092 w 104769"/>
                    <a:gd name="connsiteY0" fmla="*/ 63783 h 105674"/>
                    <a:gd name="connsiteX1" fmla="*/ 40987 w 104769"/>
                    <a:gd name="connsiteY1" fmla="*/ 1092 h 105674"/>
                    <a:gd name="connsiteX2" fmla="*/ 103677 w 104769"/>
                    <a:gd name="connsiteY2" fmla="*/ 40986 h 105674"/>
                    <a:gd name="connsiteX3" fmla="*/ 63784 w 104769"/>
                    <a:gd name="connsiteY3" fmla="*/ 103677 h 105674"/>
                    <a:gd name="connsiteX4" fmla="*/ 1092 w 104769"/>
                    <a:gd name="connsiteY4" fmla="*/ 63783 h 105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769" h="105674">
                      <a:moveTo>
                        <a:pt x="1092" y="63783"/>
                      </a:moveTo>
                      <a:cubicBezTo>
                        <a:pt x="-4608" y="35287"/>
                        <a:pt x="12491" y="9641"/>
                        <a:pt x="40987" y="1092"/>
                      </a:cubicBezTo>
                      <a:cubicBezTo>
                        <a:pt x="69483" y="-4607"/>
                        <a:pt x="95129" y="12490"/>
                        <a:pt x="103677" y="40986"/>
                      </a:cubicBezTo>
                      <a:cubicBezTo>
                        <a:pt x="109377" y="69482"/>
                        <a:pt x="92280" y="95129"/>
                        <a:pt x="63784" y="103677"/>
                      </a:cubicBezTo>
                      <a:cubicBezTo>
                        <a:pt x="32437" y="112226"/>
                        <a:pt x="6792" y="92279"/>
                        <a:pt x="1092" y="6378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2DE9C84E-A82E-4E50-A90D-FE5A9A8B06DE}"/>
                    </a:ext>
                  </a:extLst>
                </p:cNvPr>
                <p:cNvSpPr/>
                <p:nvPr/>
              </p:nvSpPr>
              <p:spPr>
                <a:xfrm>
                  <a:off x="24302915" y="7602480"/>
                  <a:ext cx="75206" cy="74089"/>
                </a:xfrm>
                <a:custGeom>
                  <a:avLst/>
                  <a:gdLst>
                    <a:gd name="connsiteX0" fmla="*/ 6817 w 75206"/>
                    <a:gd name="connsiteY0" fmla="*/ 31345 h 74089"/>
                    <a:gd name="connsiteX1" fmla="*/ 21065 w 75206"/>
                    <a:gd name="connsiteY1" fmla="*/ 28496 h 74089"/>
                    <a:gd name="connsiteX2" fmla="*/ 18215 w 75206"/>
                    <a:gd name="connsiteY2" fmla="*/ 14248 h 74089"/>
                    <a:gd name="connsiteX3" fmla="*/ 23914 w 75206"/>
                    <a:gd name="connsiteY3" fmla="*/ 2849 h 74089"/>
                    <a:gd name="connsiteX4" fmla="*/ 32463 w 75206"/>
                    <a:gd name="connsiteY4" fmla="*/ 0 h 74089"/>
                    <a:gd name="connsiteX5" fmla="*/ 43862 w 75206"/>
                    <a:gd name="connsiteY5" fmla="*/ 5699 h 74089"/>
                    <a:gd name="connsiteX6" fmla="*/ 46711 w 75206"/>
                    <a:gd name="connsiteY6" fmla="*/ 19947 h 74089"/>
                    <a:gd name="connsiteX7" fmla="*/ 60959 w 75206"/>
                    <a:gd name="connsiteY7" fmla="*/ 17097 h 74089"/>
                    <a:gd name="connsiteX8" fmla="*/ 72358 w 75206"/>
                    <a:gd name="connsiteY8" fmla="*/ 22797 h 74089"/>
                    <a:gd name="connsiteX9" fmla="*/ 75207 w 75206"/>
                    <a:gd name="connsiteY9" fmla="*/ 31345 h 74089"/>
                    <a:gd name="connsiteX10" fmla="*/ 69509 w 75206"/>
                    <a:gd name="connsiteY10" fmla="*/ 42744 h 74089"/>
                    <a:gd name="connsiteX11" fmla="*/ 55261 w 75206"/>
                    <a:gd name="connsiteY11" fmla="*/ 45593 h 74089"/>
                    <a:gd name="connsiteX12" fmla="*/ 58110 w 75206"/>
                    <a:gd name="connsiteY12" fmla="*/ 59841 h 74089"/>
                    <a:gd name="connsiteX13" fmla="*/ 52410 w 75206"/>
                    <a:gd name="connsiteY13" fmla="*/ 71240 h 74089"/>
                    <a:gd name="connsiteX14" fmla="*/ 43862 w 75206"/>
                    <a:gd name="connsiteY14" fmla="*/ 74089 h 74089"/>
                    <a:gd name="connsiteX15" fmla="*/ 32463 w 75206"/>
                    <a:gd name="connsiteY15" fmla="*/ 68390 h 74089"/>
                    <a:gd name="connsiteX16" fmla="*/ 29614 w 75206"/>
                    <a:gd name="connsiteY16" fmla="*/ 54142 h 74089"/>
                    <a:gd name="connsiteX17" fmla="*/ 15366 w 75206"/>
                    <a:gd name="connsiteY17" fmla="*/ 56992 h 74089"/>
                    <a:gd name="connsiteX18" fmla="*/ 3967 w 75206"/>
                    <a:gd name="connsiteY18" fmla="*/ 51293 h 74089"/>
                    <a:gd name="connsiteX19" fmla="*/ 1118 w 75206"/>
                    <a:gd name="connsiteY19" fmla="*/ 42744 h 74089"/>
                    <a:gd name="connsiteX20" fmla="*/ 6817 w 75206"/>
                    <a:gd name="connsiteY20" fmla="*/ 31345 h 74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75206" h="74089">
                      <a:moveTo>
                        <a:pt x="6817" y="31345"/>
                      </a:moveTo>
                      <a:lnTo>
                        <a:pt x="21065" y="28496"/>
                      </a:lnTo>
                      <a:lnTo>
                        <a:pt x="18215" y="14248"/>
                      </a:lnTo>
                      <a:cubicBezTo>
                        <a:pt x="18215" y="8549"/>
                        <a:pt x="21065" y="5699"/>
                        <a:pt x="23914" y="2849"/>
                      </a:cubicBezTo>
                      <a:lnTo>
                        <a:pt x="32463" y="0"/>
                      </a:lnTo>
                      <a:cubicBezTo>
                        <a:pt x="38162" y="0"/>
                        <a:pt x="41013" y="2849"/>
                        <a:pt x="43862" y="5699"/>
                      </a:cubicBezTo>
                      <a:lnTo>
                        <a:pt x="46711" y="19947"/>
                      </a:lnTo>
                      <a:lnTo>
                        <a:pt x="60959" y="17097"/>
                      </a:lnTo>
                      <a:cubicBezTo>
                        <a:pt x="66658" y="17097"/>
                        <a:pt x="69509" y="19947"/>
                        <a:pt x="72358" y="22797"/>
                      </a:cubicBezTo>
                      <a:lnTo>
                        <a:pt x="75207" y="31345"/>
                      </a:lnTo>
                      <a:cubicBezTo>
                        <a:pt x="75207" y="37045"/>
                        <a:pt x="72358" y="39894"/>
                        <a:pt x="69509" y="42744"/>
                      </a:cubicBezTo>
                      <a:lnTo>
                        <a:pt x="55261" y="45593"/>
                      </a:lnTo>
                      <a:lnTo>
                        <a:pt x="58110" y="59841"/>
                      </a:lnTo>
                      <a:cubicBezTo>
                        <a:pt x="58110" y="65541"/>
                        <a:pt x="55261" y="68390"/>
                        <a:pt x="52410" y="71240"/>
                      </a:cubicBezTo>
                      <a:lnTo>
                        <a:pt x="43862" y="74089"/>
                      </a:lnTo>
                      <a:cubicBezTo>
                        <a:pt x="38162" y="74089"/>
                        <a:pt x="35313" y="71240"/>
                        <a:pt x="32463" y="68390"/>
                      </a:cubicBezTo>
                      <a:lnTo>
                        <a:pt x="29614" y="54142"/>
                      </a:lnTo>
                      <a:lnTo>
                        <a:pt x="15366" y="56992"/>
                      </a:lnTo>
                      <a:cubicBezTo>
                        <a:pt x="9666" y="56992"/>
                        <a:pt x="6817" y="54142"/>
                        <a:pt x="3967" y="51293"/>
                      </a:cubicBezTo>
                      <a:lnTo>
                        <a:pt x="1118" y="42744"/>
                      </a:lnTo>
                      <a:cubicBezTo>
                        <a:pt x="-1731" y="37045"/>
                        <a:pt x="1118" y="31345"/>
                        <a:pt x="6817" y="31345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44" name="图形 1">
              <a:extLst>
                <a:ext uri="{FF2B5EF4-FFF2-40B4-BE49-F238E27FC236}">
                  <a16:creationId xmlns:a16="http://schemas.microsoft.com/office/drawing/2014/main" id="{00EC56C3-D9B6-4328-90F2-5507AF6A57E7}"/>
                </a:ext>
              </a:extLst>
            </p:cNvPr>
            <p:cNvGrpSpPr/>
            <p:nvPr/>
          </p:nvGrpSpPr>
          <p:grpSpPr>
            <a:xfrm>
              <a:off x="23979177" y="7840033"/>
              <a:ext cx="123651" cy="140242"/>
              <a:chOff x="23979177" y="7840033"/>
              <a:chExt cx="123651" cy="140242"/>
            </a:xfrm>
          </p:grpSpPr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C3BC12BD-2004-49EB-894B-F2309C90E6BC}"/>
                  </a:ext>
                </a:extLst>
              </p:cNvPr>
              <p:cNvSpPr/>
              <p:nvPr/>
            </p:nvSpPr>
            <p:spPr>
              <a:xfrm>
                <a:off x="23987547" y="7847012"/>
                <a:ext cx="111313" cy="133263"/>
              </a:xfrm>
              <a:custGeom>
                <a:avLst/>
                <a:gdLst>
                  <a:gd name="connsiteX0" fmla="*/ 111314 w 111313"/>
                  <a:gd name="connsiteY0" fmla="*/ 26181 h 133263"/>
                  <a:gd name="connsiteX1" fmla="*/ 88517 w 111313"/>
                  <a:gd name="connsiteY1" fmla="*/ 34730 h 133263"/>
                  <a:gd name="connsiteX2" fmla="*/ 48622 w 111313"/>
                  <a:gd name="connsiteY2" fmla="*/ 71774 h 133263"/>
                  <a:gd name="connsiteX3" fmla="*/ 65721 w 111313"/>
                  <a:gd name="connsiteY3" fmla="*/ 114518 h 133263"/>
                  <a:gd name="connsiteX4" fmla="*/ 180 w 111313"/>
                  <a:gd name="connsiteY4" fmla="*/ 80323 h 133263"/>
                  <a:gd name="connsiteX5" fmla="*/ 51473 w 111313"/>
                  <a:gd name="connsiteY5" fmla="*/ 534 h 133263"/>
                  <a:gd name="connsiteX6" fmla="*/ 111314 w 111313"/>
                  <a:gd name="connsiteY6" fmla="*/ 26181 h 133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313" h="133263">
                    <a:moveTo>
                      <a:pt x="111314" y="26181"/>
                    </a:moveTo>
                    <a:cubicBezTo>
                      <a:pt x="111314" y="34730"/>
                      <a:pt x="94217" y="31880"/>
                      <a:pt x="88517" y="34730"/>
                    </a:cubicBezTo>
                    <a:cubicBezTo>
                      <a:pt x="71420" y="43278"/>
                      <a:pt x="57172" y="51827"/>
                      <a:pt x="48622" y="71774"/>
                    </a:cubicBezTo>
                    <a:cubicBezTo>
                      <a:pt x="42924" y="83173"/>
                      <a:pt x="82818" y="88872"/>
                      <a:pt x="65721" y="114518"/>
                    </a:cubicBezTo>
                    <a:cubicBezTo>
                      <a:pt x="28676" y="165811"/>
                      <a:pt x="-2670" y="97421"/>
                      <a:pt x="180" y="80323"/>
                    </a:cubicBezTo>
                    <a:cubicBezTo>
                      <a:pt x="3029" y="54677"/>
                      <a:pt x="22977" y="9083"/>
                      <a:pt x="51473" y="534"/>
                    </a:cubicBezTo>
                    <a:cubicBezTo>
                      <a:pt x="62870" y="-2315"/>
                      <a:pt x="111314" y="6234"/>
                      <a:pt x="111314" y="26181"/>
                    </a:cubicBezTo>
                    <a:close/>
                  </a:path>
                </a:pathLst>
              </a:custGeom>
              <a:solidFill>
                <a:srgbClr val="F5A39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B43A468B-320C-47BB-8BA9-3A8551BB1D1C}"/>
                  </a:ext>
                </a:extLst>
              </p:cNvPr>
              <p:cNvSpPr/>
              <p:nvPr/>
            </p:nvSpPr>
            <p:spPr>
              <a:xfrm>
                <a:off x="23979177" y="7840033"/>
                <a:ext cx="123651" cy="124347"/>
              </a:xfrm>
              <a:custGeom>
                <a:avLst/>
                <a:gdLst>
                  <a:gd name="connsiteX0" fmla="*/ 74091 w 123651"/>
                  <a:gd name="connsiteY0" fmla="*/ 124347 h 124347"/>
                  <a:gd name="connsiteX1" fmla="*/ 74091 w 123651"/>
                  <a:gd name="connsiteY1" fmla="*/ 124347 h 124347"/>
                  <a:gd name="connsiteX2" fmla="*/ 68391 w 123651"/>
                  <a:gd name="connsiteY2" fmla="*/ 118648 h 124347"/>
                  <a:gd name="connsiteX3" fmla="*/ 51294 w 123651"/>
                  <a:gd name="connsiteY3" fmla="*/ 84453 h 124347"/>
                  <a:gd name="connsiteX4" fmla="*/ 51294 w 123651"/>
                  <a:gd name="connsiteY4" fmla="*/ 78753 h 124347"/>
                  <a:gd name="connsiteX5" fmla="*/ 94038 w 123651"/>
                  <a:gd name="connsiteY5" fmla="*/ 41709 h 124347"/>
                  <a:gd name="connsiteX6" fmla="*/ 111135 w 123651"/>
                  <a:gd name="connsiteY6" fmla="*/ 30310 h 124347"/>
                  <a:gd name="connsiteX7" fmla="*/ 108286 w 123651"/>
                  <a:gd name="connsiteY7" fmla="*/ 21761 h 124347"/>
                  <a:gd name="connsiteX8" fmla="*/ 56992 w 123651"/>
                  <a:gd name="connsiteY8" fmla="*/ 10363 h 124347"/>
                  <a:gd name="connsiteX9" fmla="*/ 11399 w 123651"/>
                  <a:gd name="connsiteY9" fmla="*/ 87302 h 124347"/>
                  <a:gd name="connsiteX10" fmla="*/ 5700 w 123651"/>
                  <a:gd name="connsiteY10" fmla="*/ 93001 h 124347"/>
                  <a:gd name="connsiteX11" fmla="*/ 0 w 123651"/>
                  <a:gd name="connsiteY11" fmla="*/ 87302 h 124347"/>
                  <a:gd name="connsiteX12" fmla="*/ 54143 w 123651"/>
                  <a:gd name="connsiteY12" fmla="*/ 1814 h 124347"/>
                  <a:gd name="connsiteX13" fmla="*/ 116835 w 123651"/>
                  <a:gd name="connsiteY13" fmla="*/ 16062 h 124347"/>
                  <a:gd name="connsiteX14" fmla="*/ 122534 w 123651"/>
                  <a:gd name="connsiteY14" fmla="*/ 33160 h 124347"/>
                  <a:gd name="connsiteX15" fmla="*/ 96887 w 123651"/>
                  <a:gd name="connsiteY15" fmla="*/ 53107 h 124347"/>
                  <a:gd name="connsiteX16" fmla="*/ 62692 w 123651"/>
                  <a:gd name="connsiteY16" fmla="*/ 78753 h 124347"/>
                  <a:gd name="connsiteX17" fmla="*/ 79790 w 123651"/>
                  <a:gd name="connsiteY17" fmla="*/ 118648 h 124347"/>
                  <a:gd name="connsiteX18" fmla="*/ 74091 w 123651"/>
                  <a:gd name="connsiteY18" fmla="*/ 124347 h 124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651" h="124347">
                    <a:moveTo>
                      <a:pt x="74091" y="124347"/>
                    </a:moveTo>
                    <a:lnTo>
                      <a:pt x="74091" y="124347"/>
                    </a:lnTo>
                    <a:cubicBezTo>
                      <a:pt x="71240" y="124347"/>
                      <a:pt x="68391" y="121497"/>
                      <a:pt x="68391" y="118648"/>
                    </a:cubicBezTo>
                    <a:cubicBezTo>
                      <a:pt x="68391" y="101550"/>
                      <a:pt x="54143" y="84453"/>
                      <a:pt x="51294" y="84453"/>
                    </a:cubicBezTo>
                    <a:cubicBezTo>
                      <a:pt x="48444" y="81603"/>
                      <a:pt x="48444" y="81603"/>
                      <a:pt x="51294" y="78753"/>
                    </a:cubicBezTo>
                    <a:cubicBezTo>
                      <a:pt x="59843" y="53107"/>
                      <a:pt x="79790" y="47408"/>
                      <a:pt x="94038" y="41709"/>
                    </a:cubicBezTo>
                    <a:cubicBezTo>
                      <a:pt x="105436" y="38859"/>
                      <a:pt x="111135" y="36009"/>
                      <a:pt x="111135" y="30310"/>
                    </a:cubicBezTo>
                    <a:cubicBezTo>
                      <a:pt x="111135" y="27461"/>
                      <a:pt x="111135" y="24611"/>
                      <a:pt x="108286" y="21761"/>
                    </a:cubicBezTo>
                    <a:cubicBezTo>
                      <a:pt x="99736" y="13213"/>
                      <a:pt x="79790" y="7513"/>
                      <a:pt x="56992" y="10363"/>
                    </a:cubicBezTo>
                    <a:cubicBezTo>
                      <a:pt x="31347" y="16062"/>
                      <a:pt x="14248" y="67355"/>
                      <a:pt x="11399" y="87302"/>
                    </a:cubicBezTo>
                    <a:cubicBezTo>
                      <a:pt x="11399" y="90152"/>
                      <a:pt x="8550" y="93001"/>
                      <a:pt x="5700" y="93001"/>
                    </a:cubicBezTo>
                    <a:cubicBezTo>
                      <a:pt x="2851" y="93001"/>
                      <a:pt x="0" y="90152"/>
                      <a:pt x="0" y="87302"/>
                    </a:cubicBezTo>
                    <a:cubicBezTo>
                      <a:pt x="0" y="84453"/>
                      <a:pt x="17099" y="10363"/>
                      <a:pt x="54143" y="1814"/>
                    </a:cubicBezTo>
                    <a:cubicBezTo>
                      <a:pt x="82639" y="-3885"/>
                      <a:pt x="105436" y="4664"/>
                      <a:pt x="116835" y="16062"/>
                    </a:cubicBezTo>
                    <a:cubicBezTo>
                      <a:pt x="122534" y="21761"/>
                      <a:pt x="125383" y="27461"/>
                      <a:pt x="122534" y="33160"/>
                    </a:cubicBezTo>
                    <a:cubicBezTo>
                      <a:pt x="119684" y="44558"/>
                      <a:pt x="108286" y="47408"/>
                      <a:pt x="96887" y="53107"/>
                    </a:cubicBezTo>
                    <a:cubicBezTo>
                      <a:pt x="82639" y="55957"/>
                      <a:pt x="68391" y="61656"/>
                      <a:pt x="62692" y="78753"/>
                    </a:cubicBezTo>
                    <a:cubicBezTo>
                      <a:pt x="68391" y="84453"/>
                      <a:pt x="79790" y="101550"/>
                      <a:pt x="79790" y="118648"/>
                    </a:cubicBezTo>
                    <a:cubicBezTo>
                      <a:pt x="79790" y="121497"/>
                      <a:pt x="76940" y="124347"/>
                      <a:pt x="74091" y="12434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84" name="图形 1">
            <a:extLst>
              <a:ext uri="{FF2B5EF4-FFF2-40B4-BE49-F238E27FC236}">
                <a16:creationId xmlns:a16="http://schemas.microsoft.com/office/drawing/2014/main" id="{0E041DE3-8C3B-4749-9B15-9B1A0F69C53A}"/>
              </a:ext>
            </a:extLst>
          </p:cNvPr>
          <p:cNvGrpSpPr/>
          <p:nvPr/>
        </p:nvGrpSpPr>
        <p:grpSpPr>
          <a:xfrm>
            <a:off x="3238416" y="2379675"/>
            <a:ext cx="2270571" cy="4478325"/>
            <a:chOff x="18665228" y="7954234"/>
            <a:chExt cx="2270571" cy="4478325"/>
          </a:xfrm>
        </p:grpSpPr>
        <p:grpSp>
          <p:nvGrpSpPr>
            <p:cNvPr id="85" name="图形 1">
              <a:extLst>
                <a:ext uri="{FF2B5EF4-FFF2-40B4-BE49-F238E27FC236}">
                  <a16:creationId xmlns:a16="http://schemas.microsoft.com/office/drawing/2014/main" id="{5D7BAF0C-BFCF-4CB9-8D16-AA15083EB684}"/>
                </a:ext>
              </a:extLst>
            </p:cNvPr>
            <p:cNvGrpSpPr/>
            <p:nvPr/>
          </p:nvGrpSpPr>
          <p:grpSpPr>
            <a:xfrm>
              <a:off x="18665228" y="11856939"/>
              <a:ext cx="368665" cy="540378"/>
              <a:chOff x="18665228" y="11856939"/>
              <a:chExt cx="368665" cy="540378"/>
            </a:xfrm>
          </p:grpSpPr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B1286A3E-D075-45A0-8CF5-F3A473770E82}"/>
                  </a:ext>
                </a:extLst>
              </p:cNvPr>
              <p:cNvSpPr/>
              <p:nvPr/>
            </p:nvSpPr>
            <p:spPr>
              <a:xfrm>
                <a:off x="18761553" y="11856939"/>
                <a:ext cx="256464" cy="239366"/>
              </a:xfrm>
              <a:custGeom>
                <a:avLst/>
                <a:gdLst>
                  <a:gd name="connsiteX0" fmla="*/ 17097 w 256464"/>
                  <a:gd name="connsiteY0" fmla="*/ 128232 h 239366"/>
                  <a:gd name="connsiteX1" fmla="*/ 131081 w 256464"/>
                  <a:gd name="connsiteY1" fmla="*/ 0 h 239366"/>
                  <a:gd name="connsiteX2" fmla="*/ 256464 w 256464"/>
                  <a:gd name="connsiteY2" fmla="*/ 116834 h 239366"/>
                  <a:gd name="connsiteX3" fmla="*/ 119684 w 256464"/>
                  <a:gd name="connsiteY3" fmla="*/ 239367 h 239366"/>
                  <a:gd name="connsiteX4" fmla="*/ 0 w 256464"/>
                  <a:gd name="connsiteY4" fmla="*/ 162427 h 239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6464" h="239366">
                    <a:moveTo>
                      <a:pt x="17097" y="128232"/>
                    </a:moveTo>
                    <a:lnTo>
                      <a:pt x="131081" y="0"/>
                    </a:lnTo>
                    <a:lnTo>
                      <a:pt x="256464" y="116834"/>
                    </a:lnTo>
                    <a:lnTo>
                      <a:pt x="119684" y="239367"/>
                    </a:lnTo>
                    <a:lnTo>
                      <a:pt x="0" y="162427"/>
                    </a:ln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0500710E-409F-4AF4-A646-1FCBF4B848DF}"/>
                  </a:ext>
                </a:extLst>
              </p:cNvPr>
              <p:cNvSpPr/>
              <p:nvPr/>
            </p:nvSpPr>
            <p:spPr>
              <a:xfrm>
                <a:off x="18693161" y="11976622"/>
                <a:ext cx="340732" cy="390396"/>
              </a:xfrm>
              <a:custGeom>
                <a:avLst/>
                <a:gdLst>
                  <a:gd name="connsiteX0" fmla="*/ 74091 w 340732"/>
                  <a:gd name="connsiteY0" fmla="*/ 0 h 390396"/>
                  <a:gd name="connsiteX1" fmla="*/ 230819 w 340732"/>
                  <a:gd name="connsiteY1" fmla="*/ 88338 h 390396"/>
                  <a:gd name="connsiteX2" fmla="*/ 267864 w 340732"/>
                  <a:gd name="connsiteY2" fmla="*/ 227968 h 390396"/>
                  <a:gd name="connsiteX3" fmla="*/ 330555 w 340732"/>
                  <a:gd name="connsiteY3" fmla="*/ 390396 h 390396"/>
                  <a:gd name="connsiteX4" fmla="*/ 0 w 340732"/>
                  <a:gd name="connsiteY4" fmla="*/ 74090 h 390396"/>
                  <a:gd name="connsiteX5" fmla="*/ 74091 w 340732"/>
                  <a:gd name="connsiteY5" fmla="*/ 0 h 390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0732" h="390396">
                    <a:moveTo>
                      <a:pt x="74091" y="0"/>
                    </a:moveTo>
                    <a:cubicBezTo>
                      <a:pt x="74091" y="0"/>
                      <a:pt x="145331" y="94037"/>
                      <a:pt x="230819" y="88338"/>
                    </a:cubicBezTo>
                    <a:cubicBezTo>
                      <a:pt x="230819" y="88338"/>
                      <a:pt x="245067" y="193774"/>
                      <a:pt x="267864" y="227968"/>
                    </a:cubicBezTo>
                    <a:cubicBezTo>
                      <a:pt x="293511" y="262164"/>
                      <a:pt x="367600" y="333404"/>
                      <a:pt x="330555" y="390396"/>
                    </a:cubicBezTo>
                    <a:lnTo>
                      <a:pt x="0" y="74090"/>
                    </a:lnTo>
                    <a:cubicBezTo>
                      <a:pt x="2851" y="74090"/>
                      <a:pt x="31347" y="22797"/>
                      <a:pt x="74091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4CBEE6D5-7BFD-4727-892F-4AE3A1F032A9}"/>
                  </a:ext>
                </a:extLst>
              </p:cNvPr>
              <p:cNvSpPr/>
              <p:nvPr/>
            </p:nvSpPr>
            <p:spPr>
              <a:xfrm rot="-2778769">
                <a:off x="18823463" y="11996444"/>
                <a:ext cx="42742" cy="455923"/>
              </a:xfrm>
              <a:custGeom>
                <a:avLst/>
                <a:gdLst>
                  <a:gd name="connsiteX0" fmla="*/ 0 w 42742"/>
                  <a:gd name="connsiteY0" fmla="*/ 0 h 455923"/>
                  <a:gd name="connsiteX1" fmla="*/ 42743 w 42742"/>
                  <a:gd name="connsiteY1" fmla="*/ 0 h 455923"/>
                  <a:gd name="connsiteX2" fmla="*/ 42743 w 42742"/>
                  <a:gd name="connsiteY2" fmla="*/ 455923 h 455923"/>
                  <a:gd name="connsiteX3" fmla="*/ 0 w 42742"/>
                  <a:gd name="connsiteY3" fmla="*/ 455923 h 455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742" h="455923">
                    <a:moveTo>
                      <a:pt x="0" y="0"/>
                    </a:moveTo>
                    <a:lnTo>
                      <a:pt x="42743" y="0"/>
                    </a:lnTo>
                    <a:lnTo>
                      <a:pt x="42743" y="455923"/>
                    </a:lnTo>
                    <a:lnTo>
                      <a:pt x="0" y="455923"/>
                    </a:lnTo>
                    <a:close/>
                  </a:path>
                </a:pathLst>
              </a:custGeom>
              <a:solidFill>
                <a:srgbClr val="38333D"/>
              </a:solidFill>
              <a:ln w="284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67731567-826E-4DF6-889E-13526D24C81A}"/>
                  </a:ext>
                </a:extLst>
              </p:cNvPr>
              <p:cNvSpPr/>
              <p:nvPr/>
            </p:nvSpPr>
            <p:spPr>
              <a:xfrm>
                <a:off x="18763135" y="11969657"/>
                <a:ext cx="166544" cy="101002"/>
              </a:xfrm>
              <a:custGeom>
                <a:avLst/>
                <a:gdLst>
                  <a:gd name="connsiteX0" fmla="*/ 160845 w 166544"/>
                  <a:gd name="connsiteY0" fmla="*/ 101003 h 101002"/>
                  <a:gd name="connsiteX1" fmla="*/ 160845 w 166544"/>
                  <a:gd name="connsiteY1" fmla="*/ 101003 h 101002"/>
                  <a:gd name="connsiteX2" fmla="*/ 1266 w 166544"/>
                  <a:gd name="connsiteY2" fmla="*/ 9815 h 101002"/>
                  <a:gd name="connsiteX3" fmla="*/ 1266 w 166544"/>
                  <a:gd name="connsiteY3" fmla="*/ 1267 h 101002"/>
                  <a:gd name="connsiteX4" fmla="*/ 9816 w 166544"/>
                  <a:gd name="connsiteY4" fmla="*/ 1267 h 101002"/>
                  <a:gd name="connsiteX5" fmla="*/ 160845 w 166544"/>
                  <a:gd name="connsiteY5" fmla="*/ 86755 h 101002"/>
                  <a:gd name="connsiteX6" fmla="*/ 166545 w 166544"/>
                  <a:gd name="connsiteY6" fmla="*/ 92453 h 101002"/>
                  <a:gd name="connsiteX7" fmla="*/ 160845 w 166544"/>
                  <a:gd name="connsiteY7" fmla="*/ 101003 h 101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6544" h="101002">
                    <a:moveTo>
                      <a:pt x="160845" y="101003"/>
                    </a:moveTo>
                    <a:lnTo>
                      <a:pt x="160845" y="101003"/>
                    </a:lnTo>
                    <a:cubicBezTo>
                      <a:pt x="69657" y="98153"/>
                      <a:pt x="4117" y="12665"/>
                      <a:pt x="1266" y="9815"/>
                    </a:cubicBezTo>
                    <a:cubicBezTo>
                      <a:pt x="-1583" y="6965"/>
                      <a:pt x="1266" y="4116"/>
                      <a:pt x="1266" y="1267"/>
                    </a:cubicBezTo>
                    <a:cubicBezTo>
                      <a:pt x="4117" y="-1583"/>
                      <a:pt x="6966" y="1267"/>
                      <a:pt x="9816" y="1267"/>
                    </a:cubicBezTo>
                    <a:cubicBezTo>
                      <a:pt x="9816" y="1267"/>
                      <a:pt x="75357" y="83905"/>
                      <a:pt x="160845" y="86755"/>
                    </a:cubicBezTo>
                    <a:cubicBezTo>
                      <a:pt x="163694" y="86755"/>
                      <a:pt x="166545" y="89604"/>
                      <a:pt x="166545" y="92453"/>
                    </a:cubicBezTo>
                    <a:cubicBezTo>
                      <a:pt x="166545" y="98153"/>
                      <a:pt x="163694" y="101003"/>
                      <a:pt x="160845" y="10100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22A4D2E6-8D3B-44BA-88B4-A7075A143227}"/>
                  </a:ext>
                </a:extLst>
              </p:cNvPr>
              <p:cNvSpPr/>
              <p:nvPr/>
            </p:nvSpPr>
            <p:spPr>
              <a:xfrm>
                <a:off x="18889785" y="12102006"/>
                <a:ext cx="45592" cy="11398"/>
              </a:xfrm>
              <a:custGeom>
                <a:avLst/>
                <a:gdLst>
                  <a:gd name="connsiteX0" fmla="*/ 5700 w 45592"/>
                  <a:gd name="connsiteY0" fmla="*/ 11398 h 11398"/>
                  <a:gd name="connsiteX1" fmla="*/ 0 w 45592"/>
                  <a:gd name="connsiteY1" fmla="*/ 5699 h 11398"/>
                  <a:gd name="connsiteX2" fmla="*/ 5700 w 45592"/>
                  <a:gd name="connsiteY2" fmla="*/ 0 h 11398"/>
                  <a:gd name="connsiteX3" fmla="*/ 39895 w 45592"/>
                  <a:gd name="connsiteY3" fmla="*/ 0 h 11398"/>
                  <a:gd name="connsiteX4" fmla="*/ 39895 w 45592"/>
                  <a:gd name="connsiteY4" fmla="*/ 0 h 11398"/>
                  <a:gd name="connsiteX5" fmla="*/ 45593 w 45592"/>
                  <a:gd name="connsiteY5" fmla="*/ 5699 h 11398"/>
                  <a:gd name="connsiteX6" fmla="*/ 39895 w 45592"/>
                  <a:gd name="connsiteY6" fmla="*/ 11398 h 11398"/>
                  <a:gd name="connsiteX7" fmla="*/ 5700 w 45592"/>
                  <a:gd name="connsiteY7" fmla="*/ 11398 h 11398"/>
                  <a:gd name="connsiteX8" fmla="*/ 5700 w 45592"/>
                  <a:gd name="connsiteY8" fmla="*/ 11398 h 11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592" h="11398">
                    <a:moveTo>
                      <a:pt x="5700" y="11398"/>
                    </a:moveTo>
                    <a:cubicBezTo>
                      <a:pt x="2849" y="11398"/>
                      <a:pt x="0" y="8548"/>
                      <a:pt x="0" y="5699"/>
                    </a:cubicBezTo>
                    <a:cubicBezTo>
                      <a:pt x="0" y="2849"/>
                      <a:pt x="2849" y="0"/>
                      <a:pt x="5700" y="0"/>
                    </a:cubicBezTo>
                    <a:lnTo>
                      <a:pt x="39895" y="0"/>
                    </a:lnTo>
                    <a:lnTo>
                      <a:pt x="39895" y="0"/>
                    </a:lnTo>
                    <a:cubicBezTo>
                      <a:pt x="42744" y="0"/>
                      <a:pt x="45593" y="2849"/>
                      <a:pt x="45593" y="5699"/>
                    </a:cubicBezTo>
                    <a:cubicBezTo>
                      <a:pt x="45593" y="8548"/>
                      <a:pt x="42744" y="11398"/>
                      <a:pt x="39895" y="11398"/>
                    </a:cubicBezTo>
                    <a:lnTo>
                      <a:pt x="5700" y="11398"/>
                    </a:lnTo>
                    <a:lnTo>
                      <a:pt x="5700" y="11398"/>
                    </a:ln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ADD4949F-DCD2-4534-9D3A-0989C248E5E9}"/>
                  </a:ext>
                </a:extLst>
              </p:cNvPr>
              <p:cNvSpPr/>
              <p:nvPr/>
            </p:nvSpPr>
            <p:spPr>
              <a:xfrm>
                <a:off x="18898333" y="12144750"/>
                <a:ext cx="45594" cy="11398"/>
              </a:xfrm>
              <a:custGeom>
                <a:avLst/>
                <a:gdLst>
                  <a:gd name="connsiteX0" fmla="*/ 5700 w 45594"/>
                  <a:gd name="connsiteY0" fmla="*/ 11398 h 11398"/>
                  <a:gd name="connsiteX1" fmla="*/ 0 w 45594"/>
                  <a:gd name="connsiteY1" fmla="*/ 5699 h 11398"/>
                  <a:gd name="connsiteX2" fmla="*/ 5700 w 45594"/>
                  <a:gd name="connsiteY2" fmla="*/ 0 h 11398"/>
                  <a:gd name="connsiteX3" fmla="*/ 39895 w 45594"/>
                  <a:gd name="connsiteY3" fmla="*/ 0 h 11398"/>
                  <a:gd name="connsiteX4" fmla="*/ 39895 w 45594"/>
                  <a:gd name="connsiteY4" fmla="*/ 0 h 11398"/>
                  <a:gd name="connsiteX5" fmla="*/ 45595 w 45594"/>
                  <a:gd name="connsiteY5" fmla="*/ 5699 h 11398"/>
                  <a:gd name="connsiteX6" fmla="*/ 39895 w 45594"/>
                  <a:gd name="connsiteY6" fmla="*/ 11398 h 11398"/>
                  <a:gd name="connsiteX7" fmla="*/ 5700 w 45594"/>
                  <a:gd name="connsiteY7" fmla="*/ 11398 h 11398"/>
                  <a:gd name="connsiteX8" fmla="*/ 5700 w 45594"/>
                  <a:gd name="connsiteY8" fmla="*/ 11398 h 11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594" h="11398">
                    <a:moveTo>
                      <a:pt x="5700" y="11398"/>
                    </a:moveTo>
                    <a:cubicBezTo>
                      <a:pt x="2851" y="11398"/>
                      <a:pt x="0" y="8548"/>
                      <a:pt x="0" y="5699"/>
                    </a:cubicBezTo>
                    <a:cubicBezTo>
                      <a:pt x="0" y="2849"/>
                      <a:pt x="2851" y="0"/>
                      <a:pt x="5700" y="0"/>
                    </a:cubicBezTo>
                    <a:lnTo>
                      <a:pt x="39895" y="0"/>
                    </a:lnTo>
                    <a:cubicBezTo>
                      <a:pt x="39895" y="0"/>
                      <a:pt x="39895" y="0"/>
                      <a:pt x="39895" y="0"/>
                    </a:cubicBezTo>
                    <a:cubicBezTo>
                      <a:pt x="42744" y="0"/>
                      <a:pt x="45595" y="2849"/>
                      <a:pt x="45595" y="5699"/>
                    </a:cubicBezTo>
                    <a:cubicBezTo>
                      <a:pt x="45595" y="8548"/>
                      <a:pt x="42744" y="11398"/>
                      <a:pt x="39895" y="11398"/>
                    </a:cubicBezTo>
                    <a:lnTo>
                      <a:pt x="5700" y="11398"/>
                    </a:lnTo>
                    <a:lnTo>
                      <a:pt x="5700" y="11398"/>
                    </a:ln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6" name="图形 1">
              <a:extLst>
                <a:ext uri="{FF2B5EF4-FFF2-40B4-BE49-F238E27FC236}">
                  <a16:creationId xmlns:a16="http://schemas.microsoft.com/office/drawing/2014/main" id="{F519FC6B-2C33-43E6-824E-D5C4798608F2}"/>
                </a:ext>
              </a:extLst>
            </p:cNvPr>
            <p:cNvGrpSpPr/>
            <p:nvPr/>
          </p:nvGrpSpPr>
          <p:grpSpPr>
            <a:xfrm>
              <a:off x="19738966" y="12113404"/>
              <a:ext cx="464485" cy="319155"/>
              <a:chOff x="19738966" y="12113404"/>
              <a:chExt cx="464485" cy="319155"/>
            </a:xfrm>
          </p:grpSpPr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CA7D21E0-BFBC-452D-B0AE-6E68F606E744}"/>
                  </a:ext>
                </a:extLst>
              </p:cNvPr>
              <p:cNvSpPr/>
              <p:nvPr/>
            </p:nvSpPr>
            <p:spPr>
              <a:xfrm>
                <a:off x="19756065" y="12113404"/>
                <a:ext cx="170976" cy="208020"/>
              </a:xfrm>
              <a:custGeom>
                <a:avLst/>
                <a:gdLst>
                  <a:gd name="connsiteX0" fmla="*/ 2849 w 170976"/>
                  <a:gd name="connsiteY0" fmla="*/ 170976 h 208020"/>
                  <a:gd name="connsiteX1" fmla="*/ 0 w 170976"/>
                  <a:gd name="connsiteY1" fmla="*/ 0 h 208020"/>
                  <a:gd name="connsiteX2" fmla="*/ 170976 w 170976"/>
                  <a:gd name="connsiteY2" fmla="*/ 0 h 208020"/>
                  <a:gd name="connsiteX3" fmla="*/ 156728 w 170976"/>
                  <a:gd name="connsiteY3" fmla="*/ 182375 h 208020"/>
                  <a:gd name="connsiteX4" fmla="*/ 14248 w 170976"/>
                  <a:gd name="connsiteY4" fmla="*/ 208021 h 20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976" h="208020">
                    <a:moveTo>
                      <a:pt x="2849" y="170976"/>
                    </a:moveTo>
                    <a:lnTo>
                      <a:pt x="0" y="0"/>
                    </a:lnTo>
                    <a:lnTo>
                      <a:pt x="170976" y="0"/>
                    </a:lnTo>
                    <a:lnTo>
                      <a:pt x="156728" y="182375"/>
                    </a:lnTo>
                    <a:lnTo>
                      <a:pt x="14248" y="208021"/>
                    </a:ln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23EFA972-CB2A-46BD-876A-072C896159D3}"/>
                  </a:ext>
                </a:extLst>
              </p:cNvPr>
              <p:cNvSpPr/>
              <p:nvPr/>
            </p:nvSpPr>
            <p:spPr>
              <a:xfrm>
                <a:off x="19739916" y="12241636"/>
                <a:ext cx="463535" cy="148178"/>
              </a:xfrm>
              <a:custGeom>
                <a:avLst/>
                <a:gdLst>
                  <a:gd name="connsiteX0" fmla="*/ 7599 w 463535"/>
                  <a:gd name="connsiteY0" fmla="*/ 42744 h 148178"/>
                  <a:gd name="connsiteX1" fmla="*/ 181426 w 463535"/>
                  <a:gd name="connsiteY1" fmla="*/ 0 h 148178"/>
                  <a:gd name="connsiteX2" fmla="*/ 306807 w 463535"/>
                  <a:gd name="connsiteY2" fmla="*/ 74090 h 148178"/>
                  <a:gd name="connsiteX3" fmla="*/ 463535 w 463535"/>
                  <a:gd name="connsiteY3" fmla="*/ 148179 h 148178"/>
                  <a:gd name="connsiteX4" fmla="*/ 7599 w 463535"/>
                  <a:gd name="connsiteY4" fmla="*/ 148179 h 148178"/>
                  <a:gd name="connsiteX5" fmla="*/ 7599 w 463535"/>
                  <a:gd name="connsiteY5" fmla="*/ 42744 h 148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3535" h="148178">
                    <a:moveTo>
                      <a:pt x="7599" y="42744"/>
                    </a:moveTo>
                    <a:cubicBezTo>
                      <a:pt x="7599" y="42744"/>
                      <a:pt x="124433" y="59842"/>
                      <a:pt x="181426" y="0"/>
                    </a:cubicBezTo>
                    <a:cubicBezTo>
                      <a:pt x="181426" y="0"/>
                      <a:pt x="264063" y="65541"/>
                      <a:pt x="306807" y="74090"/>
                    </a:cubicBezTo>
                    <a:cubicBezTo>
                      <a:pt x="349551" y="82638"/>
                      <a:pt x="452138" y="79789"/>
                      <a:pt x="463535" y="148179"/>
                    </a:cubicBezTo>
                    <a:lnTo>
                      <a:pt x="7599" y="148179"/>
                    </a:lnTo>
                    <a:cubicBezTo>
                      <a:pt x="7599" y="148179"/>
                      <a:pt x="-9498" y="91187"/>
                      <a:pt x="7599" y="42744"/>
                    </a:cubicBezTo>
                    <a:close/>
                  </a:path>
                </a:pathLst>
              </a:custGeom>
              <a:solidFill>
                <a:srgbClr val="F1DDBA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4B808414-E282-436C-AEE0-B2F2D9736FB4}"/>
                  </a:ext>
                </a:extLst>
              </p:cNvPr>
              <p:cNvSpPr/>
              <p:nvPr/>
            </p:nvSpPr>
            <p:spPr>
              <a:xfrm>
                <a:off x="19747516" y="12389815"/>
                <a:ext cx="455936" cy="42744"/>
              </a:xfrm>
              <a:custGeom>
                <a:avLst/>
                <a:gdLst>
                  <a:gd name="connsiteX0" fmla="*/ -1 w 455936"/>
                  <a:gd name="connsiteY0" fmla="*/ 0 h 42744"/>
                  <a:gd name="connsiteX1" fmla="*/ 455936 w 455936"/>
                  <a:gd name="connsiteY1" fmla="*/ 0 h 42744"/>
                  <a:gd name="connsiteX2" fmla="*/ 455936 w 455936"/>
                  <a:gd name="connsiteY2" fmla="*/ 42744 h 42744"/>
                  <a:gd name="connsiteX3" fmla="*/ -1 w 455936"/>
                  <a:gd name="connsiteY3" fmla="*/ 42744 h 42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936" h="42744">
                    <a:moveTo>
                      <a:pt x="-1" y="0"/>
                    </a:moveTo>
                    <a:lnTo>
                      <a:pt x="455936" y="0"/>
                    </a:lnTo>
                    <a:lnTo>
                      <a:pt x="455936" y="42744"/>
                    </a:lnTo>
                    <a:lnTo>
                      <a:pt x="-1" y="42744"/>
                    </a:ln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93AC4F20-851D-492C-AD0B-08D78B92DEFE}"/>
                  </a:ext>
                </a:extLst>
              </p:cNvPr>
              <p:cNvSpPr/>
              <p:nvPr/>
            </p:nvSpPr>
            <p:spPr>
              <a:xfrm>
                <a:off x="19738966" y="12233799"/>
                <a:ext cx="187362" cy="59129"/>
              </a:xfrm>
              <a:custGeom>
                <a:avLst/>
                <a:gdLst>
                  <a:gd name="connsiteX0" fmla="*/ 39895 w 187362"/>
                  <a:gd name="connsiteY0" fmla="*/ 59129 h 59129"/>
                  <a:gd name="connsiteX1" fmla="*/ 5700 w 187362"/>
                  <a:gd name="connsiteY1" fmla="*/ 56280 h 59129"/>
                  <a:gd name="connsiteX2" fmla="*/ 0 w 187362"/>
                  <a:gd name="connsiteY2" fmla="*/ 50581 h 59129"/>
                  <a:gd name="connsiteX3" fmla="*/ 5700 w 187362"/>
                  <a:gd name="connsiteY3" fmla="*/ 44881 h 59129"/>
                  <a:gd name="connsiteX4" fmla="*/ 176676 w 187362"/>
                  <a:gd name="connsiteY4" fmla="*/ 2137 h 59129"/>
                  <a:gd name="connsiteX5" fmla="*/ 185224 w 187362"/>
                  <a:gd name="connsiteY5" fmla="*/ 2137 h 59129"/>
                  <a:gd name="connsiteX6" fmla="*/ 185224 w 187362"/>
                  <a:gd name="connsiteY6" fmla="*/ 10687 h 59129"/>
                  <a:gd name="connsiteX7" fmla="*/ 39895 w 187362"/>
                  <a:gd name="connsiteY7" fmla="*/ 59129 h 59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7362" h="59129">
                    <a:moveTo>
                      <a:pt x="39895" y="59129"/>
                    </a:moveTo>
                    <a:cubicBezTo>
                      <a:pt x="19948" y="59129"/>
                      <a:pt x="8548" y="56280"/>
                      <a:pt x="5700" y="56280"/>
                    </a:cubicBezTo>
                    <a:cubicBezTo>
                      <a:pt x="2851" y="56280"/>
                      <a:pt x="0" y="53431"/>
                      <a:pt x="0" y="50581"/>
                    </a:cubicBezTo>
                    <a:cubicBezTo>
                      <a:pt x="0" y="47731"/>
                      <a:pt x="2851" y="44881"/>
                      <a:pt x="5700" y="44881"/>
                    </a:cubicBezTo>
                    <a:cubicBezTo>
                      <a:pt x="5700" y="44881"/>
                      <a:pt x="111135" y="59129"/>
                      <a:pt x="176676" y="2137"/>
                    </a:cubicBezTo>
                    <a:cubicBezTo>
                      <a:pt x="179525" y="-712"/>
                      <a:pt x="182375" y="-712"/>
                      <a:pt x="185224" y="2137"/>
                    </a:cubicBezTo>
                    <a:cubicBezTo>
                      <a:pt x="188075" y="4987"/>
                      <a:pt x="188075" y="7837"/>
                      <a:pt x="185224" y="10687"/>
                    </a:cubicBezTo>
                    <a:cubicBezTo>
                      <a:pt x="139631" y="50581"/>
                      <a:pt x="79789" y="59129"/>
                      <a:pt x="39895" y="591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4A692E9E-3872-452F-8654-E80ACFE59613}"/>
                  </a:ext>
                </a:extLst>
              </p:cNvPr>
              <p:cNvSpPr/>
              <p:nvPr/>
            </p:nvSpPr>
            <p:spPr>
              <a:xfrm>
                <a:off x="19924903" y="12256596"/>
                <a:ext cx="38469" cy="39181"/>
              </a:xfrm>
              <a:custGeom>
                <a:avLst/>
                <a:gdLst>
                  <a:gd name="connsiteX0" fmla="*/ 4987 w 38469"/>
                  <a:gd name="connsiteY0" fmla="*/ 39182 h 39181"/>
                  <a:gd name="connsiteX1" fmla="*/ 2138 w 38469"/>
                  <a:gd name="connsiteY1" fmla="*/ 36332 h 39181"/>
                  <a:gd name="connsiteX2" fmla="*/ 2138 w 38469"/>
                  <a:gd name="connsiteY2" fmla="*/ 27784 h 39181"/>
                  <a:gd name="connsiteX3" fmla="*/ 27783 w 38469"/>
                  <a:gd name="connsiteY3" fmla="*/ 2137 h 39181"/>
                  <a:gd name="connsiteX4" fmla="*/ 36332 w 38469"/>
                  <a:gd name="connsiteY4" fmla="*/ 2137 h 39181"/>
                  <a:gd name="connsiteX5" fmla="*/ 36332 w 38469"/>
                  <a:gd name="connsiteY5" fmla="*/ 10686 h 39181"/>
                  <a:gd name="connsiteX6" fmla="*/ 10686 w 38469"/>
                  <a:gd name="connsiteY6" fmla="*/ 36332 h 39181"/>
                  <a:gd name="connsiteX7" fmla="*/ 4987 w 38469"/>
                  <a:gd name="connsiteY7" fmla="*/ 39182 h 39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9" h="39181">
                    <a:moveTo>
                      <a:pt x="4987" y="39182"/>
                    </a:moveTo>
                    <a:cubicBezTo>
                      <a:pt x="4987" y="39182"/>
                      <a:pt x="2138" y="39182"/>
                      <a:pt x="2138" y="36332"/>
                    </a:cubicBezTo>
                    <a:cubicBezTo>
                      <a:pt x="-713" y="33482"/>
                      <a:pt x="-713" y="30633"/>
                      <a:pt x="2138" y="27784"/>
                    </a:cubicBezTo>
                    <a:lnTo>
                      <a:pt x="27783" y="2137"/>
                    </a:lnTo>
                    <a:cubicBezTo>
                      <a:pt x="30634" y="-712"/>
                      <a:pt x="33483" y="-712"/>
                      <a:pt x="36332" y="2137"/>
                    </a:cubicBezTo>
                    <a:cubicBezTo>
                      <a:pt x="39182" y="4986"/>
                      <a:pt x="39182" y="7836"/>
                      <a:pt x="36332" y="10686"/>
                    </a:cubicBezTo>
                    <a:lnTo>
                      <a:pt x="10686" y="36332"/>
                    </a:lnTo>
                    <a:cubicBezTo>
                      <a:pt x="7836" y="39182"/>
                      <a:pt x="4987" y="39182"/>
                      <a:pt x="4987" y="391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7B8E55D3-A8B0-4A7E-B217-0938A5AD5C72}"/>
                  </a:ext>
                </a:extLst>
              </p:cNvPr>
              <p:cNvSpPr/>
              <p:nvPr/>
            </p:nvSpPr>
            <p:spPr>
              <a:xfrm>
                <a:off x="19959098" y="12282243"/>
                <a:ext cx="35620" cy="39181"/>
              </a:xfrm>
              <a:custGeom>
                <a:avLst/>
                <a:gdLst>
                  <a:gd name="connsiteX0" fmla="*/ 4987 w 35620"/>
                  <a:gd name="connsiteY0" fmla="*/ 39182 h 39181"/>
                  <a:gd name="connsiteX1" fmla="*/ 2137 w 35620"/>
                  <a:gd name="connsiteY1" fmla="*/ 36332 h 39181"/>
                  <a:gd name="connsiteX2" fmla="*/ 2137 w 35620"/>
                  <a:gd name="connsiteY2" fmla="*/ 27784 h 39181"/>
                  <a:gd name="connsiteX3" fmla="*/ 24935 w 35620"/>
                  <a:gd name="connsiteY3" fmla="*/ 2137 h 39181"/>
                  <a:gd name="connsiteX4" fmla="*/ 33483 w 35620"/>
                  <a:gd name="connsiteY4" fmla="*/ 2137 h 39181"/>
                  <a:gd name="connsiteX5" fmla="*/ 33483 w 35620"/>
                  <a:gd name="connsiteY5" fmla="*/ 10686 h 39181"/>
                  <a:gd name="connsiteX6" fmla="*/ 10687 w 35620"/>
                  <a:gd name="connsiteY6" fmla="*/ 36332 h 39181"/>
                  <a:gd name="connsiteX7" fmla="*/ 4987 w 35620"/>
                  <a:gd name="connsiteY7" fmla="*/ 39182 h 39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620" h="39181">
                    <a:moveTo>
                      <a:pt x="4987" y="39182"/>
                    </a:moveTo>
                    <a:cubicBezTo>
                      <a:pt x="4987" y="39182"/>
                      <a:pt x="2137" y="39182"/>
                      <a:pt x="2137" y="36332"/>
                    </a:cubicBezTo>
                    <a:cubicBezTo>
                      <a:pt x="-712" y="33483"/>
                      <a:pt x="-712" y="30633"/>
                      <a:pt x="2137" y="27784"/>
                    </a:cubicBezTo>
                    <a:lnTo>
                      <a:pt x="24935" y="2137"/>
                    </a:lnTo>
                    <a:cubicBezTo>
                      <a:pt x="27784" y="-712"/>
                      <a:pt x="30633" y="-712"/>
                      <a:pt x="33483" y="2137"/>
                    </a:cubicBezTo>
                    <a:cubicBezTo>
                      <a:pt x="36332" y="4987"/>
                      <a:pt x="36332" y="7836"/>
                      <a:pt x="33483" y="10686"/>
                    </a:cubicBezTo>
                    <a:lnTo>
                      <a:pt x="10687" y="36332"/>
                    </a:lnTo>
                    <a:cubicBezTo>
                      <a:pt x="7836" y="39182"/>
                      <a:pt x="7836" y="39182"/>
                      <a:pt x="4987" y="391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7BF5B560-86FD-450D-9714-83B2F1703BE8}"/>
                </a:ext>
              </a:extLst>
            </p:cNvPr>
            <p:cNvSpPr/>
            <p:nvPr/>
          </p:nvSpPr>
          <p:spPr>
            <a:xfrm>
              <a:off x="18767252" y="10041741"/>
              <a:ext cx="1295465" cy="2145752"/>
            </a:xfrm>
            <a:custGeom>
              <a:avLst/>
              <a:gdLst>
                <a:gd name="connsiteX0" fmla="*/ 1288021 w 1295465"/>
                <a:gd name="connsiteY0" fmla="*/ 19948 h 2145752"/>
                <a:gd name="connsiteX1" fmla="*/ 1276622 w 1295465"/>
                <a:gd name="connsiteY1" fmla="*/ 1313668 h 2145752"/>
                <a:gd name="connsiteX2" fmla="*/ 1211082 w 1295465"/>
                <a:gd name="connsiteY2" fmla="*/ 2145753 h 2145752"/>
                <a:gd name="connsiteX3" fmla="*/ 934670 w 1295465"/>
                <a:gd name="connsiteY3" fmla="*/ 2145753 h 2145752"/>
                <a:gd name="connsiteX4" fmla="*/ 900474 w 1295465"/>
                <a:gd name="connsiteY4" fmla="*/ 1336464 h 2145752"/>
                <a:gd name="connsiteX5" fmla="*/ 823535 w 1295465"/>
                <a:gd name="connsiteY5" fmla="*/ 470185 h 2145752"/>
                <a:gd name="connsiteX6" fmla="*/ 786490 w 1295465"/>
                <a:gd name="connsiteY6" fmla="*/ 1319367 h 2145752"/>
                <a:gd name="connsiteX7" fmla="*/ 752294 w 1295465"/>
                <a:gd name="connsiteY7" fmla="*/ 1410554 h 2145752"/>
                <a:gd name="connsiteX8" fmla="*/ 267862 w 1295465"/>
                <a:gd name="connsiteY8" fmla="*/ 2037467 h 2145752"/>
                <a:gd name="connsiteX9" fmla="*/ 0 w 1295465"/>
                <a:gd name="connsiteY9" fmla="*/ 1812349 h 2145752"/>
                <a:gd name="connsiteX10" fmla="*/ 404644 w 1295465"/>
                <a:gd name="connsiteY10" fmla="*/ 1253826 h 2145752"/>
                <a:gd name="connsiteX11" fmla="*/ 330553 w 1295465"/>
                <a:gd name="connsiteY11" fmla="*/ 0 h 2145752"/>
                <a:gd name="connsiteX12" fmla="*/ 1288021 w 1295465"/>
                <a:gd name="connsiteY12" fmla="*/ 19948 h 214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95465" h="2145752">
                  <a:moveTo>
                    <a:pt x="1288021" y="19948"/>
                  </a:moveTo>
                  <a:cubicBezTo>
                    <a:pt x="1288021" y="19948"/>
                    <a:pt x="1310818" y="1023008"/>
                    <a:pt x="1276622" y="1313668"/>
                  </a:cubicBezTo>
                  <a:cubicBezTo>
                    <a:pt x="1248126" y="1567282"/>
                    <a:pt x="1211082" y="2145753"/>
                    <a:pt x="1211082" y="2145753"/>
                  </a:cubicBezTo>
                  <a:lnTo>
                    <a:pt x="934670" y="2145753"/>
                  </a:lnTo>
                  <a:cubicBezTo>
                    <a:pt x="934670" y="2145753"/>
                    <a:pt x="903325" y="1427652"/>
                    <a:pt x="900474" y="1336464"/>
                  </a:cubicBezTo>
                  <a:cubicBezTo>
                    <a:pt x="894775" y="1205383"/>
                    <a:pt x="837783" y="498681"/>
                    <a:pt x="823535" y="470185"/>
                  </a:cubicBezTo>
                  <a:cubicBezTo>
                    <a:pt x="812137" y="447388"/>
                    <a:pt x="792190" y="1125594"/>
                    <a:pt x="786490" y="1319367"/>
                  </a:cubicBezTo>
                  <a:cubicBezTo>
                    <a:pt x="786490" y="1353562"/>
                    <a:pt x="775093" y="1384908"/>
                    <a:pt x="752294" y="1410554"/>
                  </a:cubicBezTo>
                  <a:lnTo>
                    <a:pt x="267862" y="2037467"/>
                  </a:lnTo>
                  <a:lnTo>
                    <a:pt x="0" y="1812349"/>
                  </a:lnTo>
                  <a:lnTo>
                    <a:pt x="404644" y="1253826"/>
                  </a:lnTo>
                  <a:cubicBezTo>
                    <a:pt x="404644" y="1253826"/>
                    <a:pt x="290660" y="91188"/>
                    <a:pt x="330553" y="0"/>
                  </a:cubicBezTo>
                  <a:cubicBezTo>
                    <a:pt x="983113" y="31346"/>
                    <a:pt x="1288021" y="19948"/>
                    <a:pt x="1288021" y="19948"/>
                  </a:cubicBezTo>
                  <a:close/>
                </a:path>
              </a:pathLst>
            </a:custGeom>
            <a:solidFill>
              <a:srgbClr val="708686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7EFC1267-3EEB-4C43-8126-09D1642EF608}"/>
                </a:ext>
              </a:extLst>
            </p:cNvPr>
            <p:cNvSpPr/>
            <p:nvPr/>
          </p:nvSpPr>
          <p:spPr>
            <a:xfrm>
              <a:off x="19585089" y="10178523"/>
              <a:ext cx="65540" cy="341952"/>
            </a:xfrm>
            <a:custGeom>
              <a:avLst/>
              <a:gdLst>
                <a:gd name="connsiteX0" fmla="*/ 5698 w 65540"/>
                <a:gd name="connsiteY0" fmla="*/ 341953 h 341952"/>
                <a:gd name="connsiteX1" fmla="*/ 5698 w 65540"/>
                <a:gd name="connsiteY1" fmla="*/ 341953 h 341952"/>
                <a:gd name="connsiteX2" fmla="*/ 0 w 65540"/>
                <a:gd name="connsiteY2" fmla="*/ 333403 h 341952"/>
                <a:gd name="connsiteX3" fmla="*/ 54141 w 65540"/>
                <a:gd name="connsiteY3" fmla="*/ 5699 h 341952"/>
                <a:gd name="connsiteX4" fmla="*/ 59841 w 65540"/>
                <a:gd name="connsiteY4" fmla="*/ 0 h 341952"/>
                <a:gd name="connsiteX5" fmla="*/ 65541 w 65540"/>
                <a:gd name="connsiteY5" fmla="*/ 5699 h 341952"/>
                <a:gd name="connsiteX6" fmla="*/ 11397 w 65540"/>
                <a:gd name="connsiteY6" fmla="*/ 336253 h 341952"/>
                <a:gd name="connsiteX7" fmla="*/ 5698 w 65540"/>
                <a:gd name="connsiteY7" fmla="*/ 341953 h 341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5540" h="341952">
                  <a:moveTo>
                    <a:pt x="5698" y="341953"/>
                  </a:moveTo>
                  <a:cubicBezTo>
                    <a:pt x="5698" y="341953"/>
                    <a:pt x="2849" y="341953"/>
                    <a:pt x="5698" y="341953"/>
                  </a:cubicBezTo>
                  <a:cubicBezTo>
                    <a:pt x="0" y="339103"/>
                    <a:pt x="0" y="336253"/>
                    <a:pt x="0" y="333403"/>
                  </a:cubicBezTo>
                  <a:cubicBezTo>
                    <a:pt x="45593" y="227968"/>
                    <a:pt x="54141" y="8548"/>
                    <a:pt x="54141" y="5699"/>
                  </a:cubicBezTo>
                  <a:cubicBezTo>
                    <a:pt x="54141" y="2849"/>
                    <a:pt x="56992" y="0"/>
                    <a:pt x="59841" y="0"/>
                  </a:cubicBezTo>
                  <a:cubicBezTo>
                    <a:pt x="62690" y="0"/>
                    <a:pt x="65541" y="2849"/>
                    <a:pt x="65541" y="5699"/>
                  </a:cubicBezTo>
                  <a:cubicBezTo>
                    <a:pt x="65541" y="14248"/>
                    <a:pt x="56992" y="227968"/>
                    <a:pt x="11397" y="336253"/>
                  </a:cubicBezTo>
                  <a:cubicBezTo>
                    <a:pt x="8548" y="339103"/>
                    <a:pt x="8548" y="341953"/>
                    <a:pt x="5698" y="341953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F98C0575-C241-48A8-878B-FCBB09317FCB}"/>
                </a:ext>
              </a:extLst>
            </p:cNvPr>
            <p:cNvSpPr/>
            <p:nvPr/>
          </p:nvSpPr>
          <p:spPr>
            <a:xfrm>
              <a:off x="19609554" y="10112981"/>
              <a:ext cx="146510" cy="333404"/>
            </a:xfrm>
            <a:custGeom>
              <a:avLst/>
              <a:gdLst>
                <a:gd name="connsiteX0" fmla="*/ 6880 w 146510"/>
                <a:gd name="connsiteY0" fmla="*/ 333404 h 333404"/>
                <a:gd name="connsiteX1" fmla="*/ 1180 w 146510"/>
                <a:gd name="connsiteY1" fmla="*/ 330554 h 333404"/>
                <a:gd name="connsiteX2" fmla="*/ 4031 w 146510"/>
                <a:gd name="connsiteY2" fmla="*/ 322006 h 333404"/>
                <a:gd name="connsiteX3" fmla="*/ 103767 w 146510"/>
                <a:gd name="connsiteY3" fmla="*/ 250766 h 333404"/>
                <a:gd name="connsiteX4" fmla="*/ 135112 w 146510"/>
                <a:gd name="connsiteY4" fmla="*/ 5700 h 333404"/>
                <a:gd name="connsiteX5" fmla="*/ 140811 w 146510"/>
                <a:gd name="connsiteY5" fmla="*/ 0 h 333404"/>
                <a:gd name="connsiteX6" fmla="*/ 146511 w 146510"/>
                <a:gd name="connsiteY6" fmla="*/ 5700 h 333404"/>
                <a:gd name="connsiteX7" fmla="*/ 115164 w 146510"/>
                <a:gd name="connsiteY7" fmla="*/ 256464 h 333404"/>
                <a:gd name="connsiteX8" fmla="*/ 12579 w 146510"/>
                <a:gd name="connsiteY8" fmla="*/ 330554 h 333404"/>
                <a:gd name="connsiteX9" fmla="*/ 6880 w 146510"/>
                <a:gd name="connsiteY9" fmla="*/ 333404 h 333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6510" h="333404">
                  <a:moveTo>
                    <a:pt x="6880" y="333404"/>
                  </a:moveTo>
                  <a:cubicBezTo>
                    <a:pt x="4031" y="333404"/>
                    <a:pt x="4031" y="333404"/>
                    <a:pt x="1180" y="330554"/>
                  </a:cubicBezTo>
                  <a:cubicBezTo>
                    <a:pt x="-1669" y="327705"/>
                    <a:pt x="1180" y="324855"/>
                    <a:pt x="4031" y="322006"/>
                  </a:cubicBezTo>
                  <a:cubicBezTo>
                    <a:pt x="41075" y="299208"/>
                    <a:pt x="95217" y="259314"/>
                    <a:pt x="103767" y="250766"/>
                  </a:cubicBezTo>
                  <a:cubicBezTo>
                    <a:pt x="112315" y="239367"/>
                    <a:pt x="126563" y="94037"/>
                    <a:pt x="135112" y="5700"/>
                  </a:cubicBezTo>
                  <a:cubicBezTo>
                    <a:pt x="135112" y="2850"/>
                    <a:pt x="137961" y="0"/>
                    <a:pt x="140811" y="0"/>
                  </a:cubicBezTo>
                  <a:cubicBezTo>
                    <a:pt x="143660" y="0"/>
                    <a:pt x="146511" y="2850"/>
                    <a:pt x="146511" y="5700"/>
                  </a:cubicBezTo>
                  <a:cubicBezTo>
                    <a:pt x="143660" y="45594"/>
                    <a:pt x="123713" y="242216"/>
                    <a:pt x="115164" y="256464"/>
                  </a:cubicBezTo>
                  <a:cubicBezTo>
                    <a:pt x="103767" y="270712"/>
                    <a:pt x="21128" y="324855"/>
                    <a:pt x="12579" y="330554"/>
                  </a:cubicBezTo>
                  <a:cubicBezTo>
                    <a:pt x="9728" y="333404"/>
                    <a:pt x="9728" y="333404"/>
                    <a:pt x="6880" y="333404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2699B6C3-E195-4376-96FD-FA5A12719165}"/>
                </a:ext>
              </a:extLst>
            </p:cNvPr>
            <p:cNvSpPr/>
            <p:nvPr/>
          </p:nvSpPr>
          <p:spPr>
            <a:xfrm>
              <a:off x="19937613" y="8974233"/>
              <a:ext cx="844309" cy="811936"/>
            </a:xfrm>
            <a:custGeom>
              <a:avLst/>
              <a:gdLst>
                <a:gd name="connsiteX0" fmla="*/ 20773 w 844309"/>
                <a:gd name="connsiteY0" fmla="*/ 263920 h 811936"/>
                <a:gd name="connsiteX1" fmla="*/ 92013 w 844309"/>
                <a:gd name="connsiteY1" fmla="*/ 1756 h 811936"/>
                <a:gd name="connsiteX2" fmla="*/ 325681 w 844309"/>
                <a:gd name="connsiteY2" fmla="*/ 269619 h 811936"/>
                <a:gd name="connsiteX3" fmla="*/ 465310 w 844309"/>
                <a:gd name="connsiteY3" fmla="*/ 548881 h 811936"/>
                <a:gd name="connsiteX4" fmla="*/ 801565 w 844309"/>
                <a:gd name="connsiteY4" fmla="*/ 235424 h 811936"/>
                <a:gd name="connsiteX5" fmla="*/ 844309 w 844309"/>
                <a:gd name="connsiteY5" fmla="*/ 366506 h 811936"/>
                <a:gd name="connsiteX6" fmla="*/ 382673 w 844309"/>
                <a:gd name="connsiteY6" fmla="*/ 808194 h 811936"/>
                <a:gd name="connsiteX7" fmla="*/ 20773 w 844309"/>
                <a:gd name="connsiteY7" fmla="*/ 263920 h 81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4309" h="811936">
                  <a:moveTo>
                    <a:pt x="20773" y="263920"/>
                  </a:moveTo>
                  <a:cubicBezTo>
                    <a:pt x="-30520" y="135688"/>
                    <a:pt x="20773" y="-18191"/>
                    <a:pt x="92013" y="1756"/>
                  </a:cubicBezTo>
                  <a:cubicBezTo>
                    <a:pt x="174652" y="24553"/>
                    <a:pt x="271538" y="112891"/>
                    <a:pt x="325681" y="269619"/>
                  </a:cubicBezTo>
                  <a:cubicBezTo>
                    <a:pt x="357026" y="360807"/>
                    <a:pt x="448213" y="551730"/>
                    <a:pt x="465310" y="548881"/>
                  </a:cubicBezTo>
                  <a:cubicBezTo>
                    <a:pt x="473861" y="548881"/>
                    <a:pt x="801565" y="235424"/>
                    <a:pt x="801565" y="235424"/>
                  </a:cubicBezTo>
                  <a:cubicBezTo>
                    <a:pt x="801565" y="292416"/>
                    <a:pt x="844309" y="366506"/>
                    <a:pt x="844309" y="366506"/>
                  </a:cubicBezTo>
                  <a:cubicBezTo>
                    <a:pt x="844309" y="366506"/>
                    <a:pt x="562198" y="859488"/>
                    <a:pt x="382673" y="808194"/>
                  </a:cubicBezTo>
                  <a:cubicBezTo>
                    <a:pt x="285786" y="779698"/>
                    <a:pt x="83464" y="423498"/>
                    <a:pt x="20773" y="263920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F6113832-3309-4715-B783-C92AFC2B1602}"/>
                </a:ext>
              </a:extLst>
            </p:cNvPr>
            <p:cNvSpPr/>
            <p:nvPr/>
          </p:nvSpPr>
          <p:spPr>
            <a:xfrm>
              <a:off x="19080709" y="10053139"/>
              <a:ext cx="136780" cy="225119"/>
            </a:xfrm>
            <a:custGeom>
              <a:avLst/>
              <a:gdLst>
                <a:gd name="connsiteX0" fmla="*/ 5700 w 136780"/>
                <a:gd name="connsiteY0" fmla="*/ 225119 h 225119"/>
                <a:gd name="connsiteX1" fmla="*/ 0 w 136780"/>
                <a:gd name="connsiteY1" fmla="*/ 219420 h 225119"/>
                <a:gd name="connsiteX2" fmla="*/ 5700 w 136780"/>
                <a:gd name="connsiteY2" fmla="*/ 213720 h 225119"/>
                <a:gd name="connsiteX3" fmla="*/ 113984 w 136780"/>
                <a:gd name="connsiteY3" fmla="*/ 188074 h 225119"/>
                <a:gd name="connsiteX4" fmla="*/ 125382 w 136780"/>
                <a:gd name="connsiteY4" fmla="*/ 5700 h 225119"/>
                <a:gd name="connsiteX5" fmla="*/ 131081 w 136780"/>
                <a:gd name="connsiteY5" fmla="*/ 0 h 225119"/>
                <a:gd name="connsiteX6" fmla="*/ 136781 w 136780"/>
                <a:gd name="connsiteY6" fmla="*/ 5700 h 225119"/>
                <a:gd name="connsiteX7" fmla="*/ 122533 w 136780"/>
                <a:gd name="connsiteY7" fmla="*/ 190924 h 225119"/>
                <a:gd name="connsiteX8" fmla="*/ 5700 w 136780"/>
                <a:gd name="connsiteY8" fmla="*/ 225119 h 225119"/>
                <a:gd name="connsiteX9" fmla="*/ 5700 w 136780"/>
                <a:gd name="connsiteY9" fmla="*/ 225119 h 225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6780" h="225119">
                  <a:moveTo>
                    <a:pt x="5700" y="225119"/>
                  </a:moveTo>
                  <a:cubicBezTo>
                    <a:pt x="2849" y="225119"/>
                    <a:pt x="0" y="222270"/>
                    <a:pt x="0" y="219420"/>
                  </a:cubicBezTo>
                  <a:cubicBezTo>
                    <a:pt x="0" y="216570"/>
                    <a:pt x="2849" y="213720"/>
                    <a:pt x="5700" y="213720"/>
                  </a:cubicBezTo>
                  <a:cubicBezTo>
                    <a:pt x="54141" y="208022"/>
                    <a:pt x="111134" y="196623"/>
                    <a:pt x="113984" y="188074"/>
                  </a:cubicBezTo>
                  <a:cubicBezTo>
                    <a:pt x="119684" y="176676"/>
                    <a:pt x="125382" y="71240"/>
                    <a:pt x="125382" y="5700"/>
                  </a:cubicBezTo>
                  <a:cubicBezTo>
                    <a:pt x="125382" y="2850"/>
                    <a:pt x="128232" y="0"/>
                    <a:pt x="131081" y="0"/>
                  </a:cubicBezTo>
                  <a:cubicBezTo>
                    <a:pt x="133932" y="0"/>
                    <a:pt x="136781" y="2850"/>
                    <a:pt x="136781" y="5700"/>
                  </a:cubicBezTo>
                  <a:cubicBezTo>
                    <a:pt x="136781" y="22797"/>
                    <a:pt x="133932" y="173826"/>
                    <a:pt x="122533" y="190924"/>
                  </a:cubicBezTo>
                  <a:cubicBezTo>
                    <a:pt x="111134" y="208022"/>
                    <a:pt x="31345" y="219420"/>
                    <a:pt x="5700" y="225119"/>
                  </a:cubicBezTo>
                  <a:cubicBezTo>
                    <a:pt x="5700" y="225119"/>
                    <a:pt x="5700" y="225119"/>
                    <a:pt x="5700" y="225119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CA94C944-9698-44E2-9D21-F5BFE58C2BFA}"/>
                </a:ext>
              </a:extLst>
            </p:cNvPr>
            <p:cNvSpPr/>
            <p:nvPr/>
          </p:nvSpPr>
          <p:spPr>
            <a:xfrm>
              <a:off x="19969785" y="10067387"/>
              <a:ext cx="85488" cy="193773"/>
            </a:xfrm>
            <a:custGeom>
              <a:avLst/>
              <a:gdLst>
                <a:gd name="connsiteX0" fmla="*/ 74089 w 85488"/>
                <a:gd name="connsiteY0" fmla="*/ 190924 h 193773"/>
                <a:gd name="connsiteX1" fmla="*/ 19946 w 85488"/>
                <a:gd name="connsiteY1" fmla="*/ 168127 h 193773"/>
                <a:gd name="connsiteX2" fmla="*/ 0 w 85488"/>
                <a:gd name="connsiteY2" fmla="*/ 5700 h 193773"/>
                <a:gd name="connsiteX3" fmla="*/ 5698 w 85488"/>
                <a:gd name="connsiteY3" fmla="*/ 0 h 193773"/>
                <a:gd name="connsiteX4" fmla="*/ 5698 w 85488"/>
                <a:gd name="connsiteY4" fmla="*/ 0 h 193773"/>
                <a:gd name="connsiteX5" fmla="*/ 11397 w 85488"/>
                <a:gd name="connsiteY5" fmla="*/ 5700 h 193773"/>
                <a:gd name="connsiteX6" fmla="*/ 28496 w 85488"/>
                <a:gd name="connsiteY6" fmla="*/ 165278 h 193773"/>
                <a:gd name="connsiteX7" fmla="*/ 79789 w 85488"/>
                <a:gd name="connsiteY7" fmla="*/ 182375 h 193773"/>
                <a:gd name="connsiteX8" fmla="*/ 85488 w 85488"/>
                <a:gd name="connsiteY8" fmla="*/ 188074 h 193773"/>
                <a:gd name="connsiteX9" fmla="*/ 79789 w 85488"/>
                <a:gd name="connsiteY9" fmla="*/ 193774 h 193773"/>
                <a:gd name="connsiteX10" fmla="*/ 74089 w 85488"/>
                <a:gd name="connsiteY10" fmla="*/ 190924 h 193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488" h="193773">
                  <a:moveTo>
                    <a:pt x="74089" y="190924"/>
                  </a:moveTo>
                  <a:cubicBezTo>
                    <a:pt x="59841" y="190924"/>
                    <a:pt x="31345" y="188074"/>
                    <a:pt x="19946" y="168127"/>
                  </a:cubicBezTo>
                  <a:cubicBezTo>
                    <a:pt x="5698" y="142480"/>
                    <a:pt x="0" y="19948"/>
                    <a:pt x="0" y="5700"/>
                  </a:cubicBezTo>
                  <a:cubicBezTo>
                    <a:pt x="0" y="2850"/>
                    <a:pt x="2849" y="0"/>
                    <a:pt x="5698" y="0"/>
                  </a:cubicBezTo>
                  <a:lnTo>
                    <a:pt x="5698" y="0"/>
                  </a:lnTo>
                  <a:cubicBezTo>
                    <a:pt x="8548" y="0"/>
                    <a:pt x="11397" y="2850"/>
                    <a:pt x="11397" y="5700"/>
                  </a:cubicBezTo>
                  <a:cubicBezTo>
                    <a:pt x="14248" y="42744"/>
                    <a:pt x="19946" y="145330"/>
                    <a:pt x="28496" y="165278"/>
                  </a:cubicBezTo>
                  <a:cubicBezTo>
                    <a:pt x="39893" y="185224"/>
                    <a:pt x="76938" y="182375"/>
                    <a:pt x="79789" y="182375"/>
                  </a:cubicBezTo>
                  <a:cubicBezTo>
                    <a:pt x="82637" y="182375"/>
                    <a:pt x="85488" y="185224"/>
                    <a:pt x="85488" y="188074"/>
                  </a:cubicBezTo>
                  <a:cubicBezTo>
                    <a:pt x="85488" y="190924"/>
                    <a:pt x="82637" y="193774"/>
                    <a:pt x="79789" y="193774"/>
                  </a:cubicBezTo>
                  <a:cubicBezTo>
                    <a:pt x="79789" y="188074"/>
                    <a:pt x="76938" y="190924"/>
                    <a:pt x="74089" y="190924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23674D21-20D3-4069-A26A-E4FCA7AC5B98}"/>
                </a:ext>
              </a:extLst>
            </p:cNvPr>
            <p:cNvSpPr/>
            <p:nvPr/>
          </p:nvSpPr>
          <p:spPr>
            <a:xfrm>
              <a:off x="19462554" y="8480158"/>
              <a:ext cx="233667" cy="241371"/>
            </a:xfrm>
            <a:custGeom>
              <a:avLst/>
              <a:gdLst>
                <a:gd name="connsiteX0" fmla="*/ 233668 w 233667"/>
                <a:gd name="connsiteY0" fmla="*/ 37045 h 241371"/>
                <a:gd name="connsiteX1" fmla="*/ 227968 w 233667"/>
                <a:gd name="connsiteY1" fmla="*/ 199472 h 241371"/>
                <a:gd name="connsiteX2" fmla="*/ 0 w 233667"/>
                <a:gd name="connsiteY2" fmla="*/ 190923 h 241371"/>
                <a:gd name="connsiteX3" fmla="*/ 14248 w 233667"/>
                <a:gd name="connsiteY3" fmla="*/ 0 h 241371"/>
                <a:gd name="connsiteX4" fmla="*/ 233668 w 233667"/>
                <a:gd name="connsiteY4" fmla="*/ 37045 h 241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667" h="241371">
                  <a:moveTo>
                    <a:pt x="233668" y="37045"/>
                  </a:moveTo>
                  <a:cubicBezTo>
                    <a:pt x="233668" y="37045"/>
                    <a:pt x="227968" y="131082"/>
                    <a:pt x="227968" y="199472"/>
                  </a:cubicBezTo>
                  <a:cubicBezTo>
                    <a:pt x="227968" y="199472"/>
                    <a:pt x="139631" y="299208"/>
                    <a:pt x="0" y="190923"/>
                  </a:cubicBezTo>
                  <a:cubicBezTo>
                    <a:pt x="0" y="133931"/>
                    <a:pt x="11399" y="59841"/>
                    <a:pt x="14248" y="0"/>
                  </a:cubicBezTo>
                  <a:cubicBezTo>
                    <a:pt x="11399" y="0"/>
                    <a:pt x="182375" y="48443"/>
                    <a:pt x="233668" y="37045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127FF3B6-3FB1-4B21-8057-B31BA5DD311F}"/>
                </a:ext>
              </a:extLst>
            </p:cNvPr>
            <p:cNvSpPr/>
            <p:nvPr/>
          </p:nvSpPr>
          <p:spPr>
            <a:xfrm>
              <a:off x="19374217" y="8369024"/>
              <a:ext cx="65540" cy="128232"/>
            </a:xfrm>
            <a:custGeom>
              <a:avLst/>
              <a:gdLst>
                <a:gd name="connsiteX0" fmla="*/ 0 w 65540"/>
                <a:gd name="connsiteY0" fmla="*/ 0 h 128232"/>
                <a:gd name="connsiteX1" fmla="*/ 62692 w 65540"/>
                <a:gd name="connsiteY1" fmla="*/ 128232 h 128232"/>
                <a:gd name="connsiteX2" fmla="*/ 65541 w 65540"/>
                <a:gd name="connsiteY2" fmla="*/ 48443 h 128232"/>
                <a:gd name="connsiteX3" fmla="*/ 0 w 65540"/>
                <a:gd name="connsiteY3" fmla="*/ 0 h 128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540" h="128232">
                  <a:moveTo>
                    <a:pt x="0" y="0"/>
                  </a:moveTo>
                  <a:cubicBezTo>
                    <a:pt x="0" y="0"/>
                    <a:pt x="14248" y="111135"/>
                    <a:pt x="62692" y="128232"/>
                  </a:cubicBezTo>
                  <a:lnTo>
                    <a:pt x="65541" y="484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8CF24E3D-18DD-4D2D-9A1E-3B691EF6B57A}"/>
                </a:ext>
              </a:extLst>
            </p:cNvPr>
            <p:cNvSpPr/>
            <p:nvPr/>
          </p:nvSpPr>
          <p:spPr>
            <a:xfrm>
              <a:off x="19710048" y="8172401"/>
              <a:ext cx="95930" cy="222280"/>
            </a:xfrm>
            <a:custGeom>
              <a:avLst/>
              <a:gdLst>
                <a:gd name="connsiteX0" fmla="*/ 88761 w 95930"/>
                <a:gd name="connsiteY0" fmla="*/ 0 h 222280"/>
                <a:gd name="connsiteX1" fmla="*/ 51715 w 95930"/>
                <a:gd name="connsiteY1" fmla="*/ 219419 h 222280"/>
                <a:gd name="connsiteX2" fmla="*/ 422 w 95930"/>
                <a:gd name="connsiteY2" fmla="*/ 14248 h 222280"/>
                <a:gd name="connsiteX3" fmla="*/ 88761 w 95930"/>
                <a:gd name="connsiteY3" fmla="*/ 0 h 222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930" h="222280">
                  <a:moveTo>
                    <a:pt x="88761" y="0"/>
                  </a:moveTo>
                  <a:cubicBezTo>
                    <a:pt x="88761" y="0"/>
                    <a:pt x="120106" y="182375"/>
                    <a:pt x="51715" y="219419"/>
                  </a:cubicBezTo>
                  <a:cubicBezTo>
                    <a:pt x="-8126" y="250765"/>
                    <a:pt x="422" y="14248"/>
                    <a:pt x="422" y="14248"/>
                  </a:cubicBezTo>
                  <a:lnTo>
                    <a:pt x="88761" y="0"/>
                  </a:lnTo>
                  <a:close/>
                </a:path>
              </a:pathLst>
            </a:custGeom>
            <a:solidFill>
              <a:srgbClr val="664241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0ECCEA95-FCF4-4669-A8A6-0FCDB9457152}"/>
                </a:ext>
              </a:extLst>
            </p:cNvPr>
            <p:cNvSpPr/>
            <p:nvPr/>
          </p:nvSpPr>
          <p:spPr>
            <a:xfrm>
              <a:off x="19377066" y="8045743"/>
              <a:ext cx="395729" cy="531865"/>
            </a:xfrm>
            <a:custGeom>
              <a:avLst/>
              <a:gdLst>
                <a:gd name="connsiteX0" fmla="*/ 384697 w 395729"/>
                <a:gd name="connsiteY0" fmla="*/ 169402 h 531865"/>
                <a:gd name="connsiteX1" fmla="*/ 387547 w 395729"/>
                <a:gd name="connsiteY1" fmla="*/ 403070 h 531865"/>
                <a:gd name="connsiteX2" fmla="*/ 239367 w 395729"/>
                <a:gd name="connsiteY2" fmla="*/ 531302 h 531865"/>
                <a:gd name="connsiteX3" fmla="*/ 37046 w 395729"/>
                <a:gd name="connsiteY3" fmla="*/ 400220 h 531865"/>
                <a:gd name="connsiteX4" fmla="*/ 0 w 395729"/>
                <a:gd name="connsiteY4" fmla="*/ 189349 h 531865"/>
                <a:gd name="connsiteX5" fmla="*/ 196623 w 395729"/>
                <a:gd name="connsiteY5" fmla="*/ 1275 h 531865"/>
                <a:gd name="connsiteX6" fmla="*/ 384697 w 395729"/>
                <a:gd name="connsiteY6" fmla="*/ 169402 h 531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5729" h="531865">
                  <a:moveTo>
                    <a:pt x="384697" y="169402"/>
                  </a:moveTo>
                  <a:cubicBezTo>
                    <a:pt x="384697" y="169402"/>
                    <a:pt x="407495" y="334679"/>
                    <a:pt x="387547" y="403070"/>
                  </a:cubicBezTo>
                  <a:cubicBezTo>
                    <a:pt x="370449" y="465761"/>
                    <a:pt x="287811" y="525603"/>
                    <a:pt x="239367" y="531302"/>
                  </a:cubicBezTo>
                  <a:cubicBezTo>
                    <a:pt x="176676" y="537001"/>
                    <a:pt x="65542" y="499956"/>
                    <a:pt x="37046" y="400220"/>
                  </a:cubicBezTo>
                  <a:cubicBezTo>
                    <a:pt x="17099" y="331829"/>
                    <a:pt x="0" y="237792"/>
                    <a:pt x="0" y="189349"/>
                  </a:cubicBezTo>
                  <a:cubicBezTo>
                    <a:pt x="0" y="101011"/>
                    <a:pt x="25647" y="26922"/>
                    <a:pt x="196623" y="1275"/>
                  </a:cubicBezTo>
                  <a:cubicBezTo>
                    <a:pt x="276412" y="-12973"/>
                    <a:pt x="364751" y="95312"/>
                    <a:pt x="384697" y="169402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EC5B53A8-8FC2-424D-9E22-1BBAC16F3A0C}"/>
                </a:ext>
              </a:extLst>
            </p:cNvPr>
            <p:cNvSpPr/>
            <p:nvPr/>
          </p:nvSpPr>
          <p:spPr>
            <a:xfrm>
              <a:off x="19587938" y="8289235"/>
              <a:ext cx="54143" cy="131081"/>
            </a:xfrm>
            <a:custGeom>
              <a:avLst/>
              <a:gdLst>
                <a:gd name="connsiteX0" fmla="*/ 25647 w 54143"/>
                <a:gd name="connsiteY0" fmla="*/ 131082 h 131081"/>
                <a:gd name="connsiteX1" fmla="*/ 5700 w 54143"/>
                <a:gd name="connsiteY1" fmla="*/ 128232 h 131081"/>
                <a:gd name="connsiteX2" fmla="*/ 0 w 54143"/>
                <a:gd name="connsiteY2" fmla="*/ 122533 h 131081"/>
                <a:gd name="connsiteX3" fmla="*/ 5700 w 54143"/>
                <a:gd name="connsiteY3" fmla="*/ 116834 h 131081"/>
                <a:gd name="connsiteX4" fmla="*/ 42744 w 54143"/>
                <a:gd name="connsiteY4" fmla="*/ 113984 h 131081"/>
                <a:gd name="connsiteX5" fmla="*/ 42744 w 54143"/>
                <a:gd name="connsiteY5" fmla="*/ 111135 h 131081"/>
                <a:gd name="connsiteX6" fmla="*/ 25647 w 54143"/>
                <a:gd name="connsiteY6" fmla="*/ 5700 h 131081"/>
                <a:gd name="connsiteX7" fmla="*/ 31345 w 54143"/>
                <a:gd name="connsiteY7" fmla="*/ 0 h 131081"/>
                <a:gd name="connsiteX8" fmla="*/ 37045 w 54143"/>
                <a:gd name="connsiteY8" fmla="*/ 5700 h 131081"/>
                <a:gd name="connsiteX9" fmla="*/ 54143 w 54143"/>
                <a:gd name="connsiteY9" fmla="*/ 111135 h 131081"/>
                <a:gd name="connsiteX10" fmla="*/ 48444 w 54143"/>
                <a:gd name="connsiteY10" fmla="*/ 122533 h 131081"/>
                <a:gd name="connsiteX11" fmla="*/ 25647 w 54143"/>
                <a:gd name="connsiteY11" fmla="*/ 131082 h 13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143" h="131081">
                  <a:moveTo>
                    <a:pt x="25647" y="131082"/>
                  </a:moveTo>
                  <a:cubicBezTo>
                    <a:pt x="17097" y="131082"/>
                    <a:pt x="8548" y="128232"/>
                    <a:pt x="5700" y="128232"/>
                  </a:cubicBezTo>
                  <a:cubicBezTo>
                    <a:pt x="2849" y="128232"/>
                    <a:pt x="0" y="125383"/>
                    <a:pt x="0" y="122533"/>
                  </a:cubicBezTo>
                  <a:cubicBezTo>
                    <a:pt x="0" y="119684"/>
                    <a:pt x="2849" y="116834"/>
                    <a:pt x="5700" y="116834"/>
                  </a:cubicBezTo>
                  <a:cubicBezTo>
                    <a:pt x="17097" y="119684"/>
                    <a:pt x="37045" y="119684"/>
                    <a:pt x="42744" y="113984"/>
                  </a:cubicBezTo>
                  <a:cubicBezTo>
                    <a:pt x="42744" y="113984"/>
                    <a:pt x="42744" y="111135"/>
                    <a:pt x="42744" y="111135"/>
                  </a:cubicBezTo>
                  <a:cubicBezTo>
                    <a:pt x="42744" y="94037"/>
                    <a:pt x="25647" y="8549"/>
                    <a:pt x="25647" y="5700"/>
                  </a:cubicBezTo>
                  <a:cubicBezTo>
                    <a:pt x="25647" y="2850"/>
                    <a:pt x="25647" y="0"/>
                    <a:pt x="31345" y="0"/>
                  </a:cubicBezTo>
                  <a:cubicBezTo>
                    <a:pt x="34196" y="0"/>
                    <a:pt x="37045" y="0"/>
                    <a:pt x="37045" y="5700"/>
                  </a:cubicBezTo>
                  <a:cubicBezTo>
                    <a:pt x="37045" y="8549"/>
                    <a:pt x="54143" y="94037"/>
                    <a:pt x="54143" y="111135"/>
                  </a:cubicBezTo>
                  <a:cubicBezTo>
                    <a:pt x="54143" y="116834"/>
                    <a:pt x="51293" y="119684"/>
                    <a:pt x="48444" y="122533"/>
                  </a:cubicBezTo>
                  <a:cubicBezTo>
                    <a:pt x="45593" y="128232"/>
                    <a:pt x="37045" y="131082"/>
                    <a:pt x="25647" y="131082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6065B4E6-C14C-40CB-8D1E-60316FADB891}"/>
                </a:ext>
              </a:extLst>
            </p:cNvPr>
            <p:cNvSpPr/>
            <p:nvPr/>
          </p:nvSpPr>
          <p:spPr>
            <a:xfrm>
              <a:off x="19672700" y="8268729"/>
              <a:ext cx="38329" cy="38162"/>
            </a:xfrm>
            <a:custGeom>
              <a:avLst/>
              <a:gdLst>
                <a:gd name="connsiteX0" fmla="*/ 726 w 38329"/>
                <a:gd name="connsiteY0" fmla="*/ 23356 h 38162"/>
                <a:gd name="connsiteX1" fmla="*/ 23522 w 38329"/>
                <a:gd name="connsiteY1" fmla="*/ 37604 h 38162"/>
                <a:gd name="connsiteX2" fmla="*/ 37770 w 38329"/>
                <a:gd name="connsiteY2" fmla="*/ 14807 h 38162"/>
                <a:gd name="connsiteX3" fmla="*/ 14974 w 38329"/>
                <a:gd name="connsiteY3" fmla="*/ 559 h 38162"/>
                <a:gd name="connsiteX4" fmla="*/ 726 w 38329"/>
                <a:gd name="connsiteY4" fmla="*/ 23356 h 3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29" h="38162">
                  <a:moveTo>
                    <a:pt x="726" y="23356"/>
                  </a:moveTo>
                  <a:cubicBezTo>
                    <a:pt x="3575" y="31905"/>
                    <a:pt x="12125" y="40454"/>
                    <a:pt x="23522" y="37604"/>
                  </a:cubicBezTo>
                  <a:cubicBezTo>
                    <a:pt x="32071" y="34754"/>
                    <a:pt x="40621" y="26206"/>
                    <a:pt x="37770" y="14807"/>
                  </a:cubicBezTo>
                  <a:cubicBezTo>
                    <a:pt x="34922" y="6258"/>
                    <a:pt x="26373" y="-2290"/>
                    <a:pt x="14974" y="559"/>
                  </a:cubicBezTo>
                  <a:cubicBezTo>
                    <a:pt x="3575" y="3409"/>
                    <a:pt x="-2123" y="14807"/>
                    <a:pt x="726" y="23356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B5A164B0-9938-48C9-B69F-D14CA87FF4CD}"/>
                </a:ext>
              </a:extLst>
            </p:cNvPr>
            <p:cNvSpPr/>
            <p:nvPr/>
          </p:nvSpPr>
          <p:spPr>
            <a:xfrm>
              <a:off x="19501724" y="8288676"/>
              <a:ext cx="38329" cy="38162"/>
            </a:xfrm>
            <a:custGeom>
              <a:avLst/>
              <a:gdLst>
                <a:gd name="connsiteX0" fmla="*/ 726 w 38329"/>
                <a:gd name="connsiteY0" fmla="*/ 23356 h 38162"/>
                <a:gd name="connsiteX1" fmla="*/ 23522 w 38329"/>
                <a:gd name="connsiteY1" fmla="*/ 37604 h 38162"/>
                <a:gd name="connsiteX2" fmla="*/ 37770 w 38329"/>
                <a:gd name="connsiteY2" fmla="*/ 14807 h 38162"/>
                <a:gd name="connsiteX3" fmla="*/ 14974 w 38329"/>
                <a:gd name="connsiteY3" fmla="*/ 559 h 38162"/>
                <a:gd name="connsiteX4" fmla="*/ 726 w 38329"/>
                <a:gd name="connsiteY4" fmla="*/ 23356 h 3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29" h="38162">
                  <a:moveTo>
                    <a:pt x="726" y="23356"/>
                  </a:moveTo>
                  <a:cubicBezTo>
                    <a:pt x="3575" y="31905"/>
                    <a:pt x="12125" y="40454"/>
                    <a:pt x="23522" y="37604"/>
                  </a:cubicBezTo>
                  <a:cubicBezTo>
                    <a:pt x="32071" y="34754"/>
                    <a:pt x="40621" y="26206"/>
                    <a:pt x="37770" y="14807"/>
                  </a:cubicBezTo>
                  <a:cubicBezTo>
                    <a:pt x="34922" y="6258"/>
                    <a:pt x="26373" y="-2290"/>
                    <a:pt x="14974" y="559"/>
                  </a:cubicBezTo>
                  <a:cubicBezTo>
                    <a:pt x="3575" y="3409"/>
                    <a:pt x="-2123" y="11958"/>
                    <a:pt x="726" y="23356"/>
                  </a:cubicBezTo>
                  <a:close/>
                </a:path>
              </a:pathLst>
            </a:custGeom>
            <a:solidFill>
              <a:srgbClr val="38333D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0B559D00-2E47-4EC2-8352-7FB5A1637C37}"/>
                </a:ext>
              </a:extLst>
            </p:cNvPr>
            <p:cNvSpPr/>
            <p:nvPr/>
          </p:nvSpPr>
          <p:spPr>
            <a:xfrm>
              <a:off x="19643750" y="8223694"/>
              <a:ext cx="85955" cy="31345"/>
            </a:xfrm>
            <a:custGeom>
              <a:avLst/>
              <a:gdLst>
                <a:gd name="connsiteX0" fmla="*/ 80969 w 85955"/>
                <a:gd name="connsiteY0" fmla="*/ 31345 h 31345"/>
                <a:gd name="connsiteX1" fmla="*/ 75269 w 85955"/>
                <a:gd name="connsiteY1" fmla="*/ 28496 h 31345"/>
                <a:gd name="connsiteX2" fmla="*/ 12579 w 85955"/>
                <a:gd name="connsiteY2" fmla="*/ 22797 h 31345"/>
                <a:gd name="connsiteX3" fmla="*/ 1180 w 85955"/>
                <a:gd name="connsiteY3" fmla="*/ 19947 h 31345"/>
                <a:gd name="connsiteX4" fmla="*/ 4029 w 85955"/>
                <a:gd name="connsiteY4" fmla="*/ 8549 h 31345"/>
                <a:gd name="connsiteX5" fmla="*/ 83819 w 85955"/>
                <a:gd name="connsiteY5" fmla="*/ 17097 h 31345"/>
                <a:gd name="connsiteX6" fmla="*/ 83819 w 85955"/>
                <a:gd name="connsiteY6" fmla="*/ 28496 h 31345"/>
                <a:gd name="connsiteX7" fmla="*/ 80969 w 85955"/>
                <a:gd name="connsiteY7" fmla="*/ 31345 h 3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5" h="31345">
                  <a:moveTo>
                    <a:pt x="80969" y="31345"/>
                  </a:moveTo>
                  <a:cubicBezTo>
                    <a:pt x="78120" y="31345"/>
                    <a:pt x="78120" y="31345"/>
                    <a:pt x="75269" y="28496"/>
                  </a:cubicBezTo>
                  <a:cubicBezTo>
                    <a:pt x="49624" y="2849"/>
                    <a:pt x="12579" y="22797"/>
                    <a:pt x="12579" y="22797"/>
                  </a:cubicBezTo>
                  <a:cubicBezTo>
                    <a:pt x="9729" y="25646"/>
                    <a:pt x="4029" y="22797"/>
                    <a:pt x="1180" y="19947"/>
                  </a:cubicBezTo>
                  <a:cubicBezTo>
                    <a:pt x="-1669" y="17097"/>
                    <a:pt x="1180" y="11398"/>
                    <a:pt x="4029" y="8549"/>
                  </a:cubicBezTo>
                  <a:cubicBezTo>
                    <a:pt x="21128" y="0"/>
                    <a:pt x="58172" y="-8549"/>
                    <a:pt x="83819" y="17097"/>
                  </a:cubicBezTo>
                  <a:cubicBezTo>
                    <a:pt x="86668" y="19947"/>
                    <a:pt x="86668" y="25646"/>
                    <a:pt x="83819" y="28496"/>
                  </a:cubicBezTo>
                  <a:cubicBezTo>
                    <a:pt x="83819" y="31345"/>
                    <a:pt x="83819" y="31345"/>
                    <a:pt x="80969" y="31345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307DFE36-8E9B-4939-B74B-818176BA73AC}"/>
                </a:ext>
              </a:extLst>
            </p:cNvPr>
            <p:cNvSpPr/>
            <p:nvPr/>
          </p:nvSpPr>
          <p:spPr>
            <a:xfrm>
              <a:off x="19468967" y="8226833"/>
              <a:ext cx="85956" cy="33905"/>
            </a:xfrm>
            <a:custGeom>
              <a:avLst/>
              <a:gdLst>
                <a:gd name="connsiteX0" fmla="*/ 7836 w 85956"/>
                <a:gd name="connsiteY0" fmla="*/ 33905 h 33905"/>
                <a:gd name="connsiteX1" fmla="*/ 2138 w 85956"/>
                <a:gd name="connsiteY1" fmla="*/ 31056 h 33905"/>
                <a:gd name="connsiteX2" fmla="*/ 2138 w 85956"/>
                <a:gd name="connsiteY2" fmla="*/ 19657 h 33905"/>
                <a:gd name="connsiteX3" fmla="*/ 81927 w 85956"/>
                <a:gd name="connsiteY3" fmla="*/ 11109 h 33905"/>
                <a:gd name="connsiteX4" fmla="*/ 84775 w 85956"/>
                <a:gd name="connsiteY4" fmla="*/ 22507 h 33905"/>
                <a:gd name="connsiteX5" fmla="*/ 73378 w 85956"/>
                <a:gd name="connsiteY5" fmla="*/ 25357 h 33905"/>
                <a:gd name="connsiteX6" fmla="*/ 10686 w 85956"/>
                <a:gd name="connsiteY6" fmla="*/ 31056 h 33905"/>
                <a:gd name="connsiteX7" fmla="*/ 7836 w 85956"/>
                <a:gd name="connsiteY7" fmla="*/ 33905 h 33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56" h="33905">
                  <a:moveTo>
                    <a:pt x="7836" y="33905"/>
                  </a:moveTo>
                  <a:cubicBezTo>
                    <a:pt x="4987" y="33905"/>
                    <a:pt x="4987" y="33905"/>
                    <a:pt x="2138" y="31056"/>
                  </a:cubicBezTo>
                  <a:cubicBezTo>
                    <a:pt x="-713" y="28206"/>
                    <a:pt x="-713" y="22507"/>
                    <a:pt x="2138" y="19657"/>
                  </a:cubicBezTo>
                  <a:cubicBezTo>
                    <a:pt x="13535" y="5409"/>
                    <a:pt x="47731" y="-11688"/>
                    <a:pt x="81927" y="11109"/>
                  </a:cubicBezTo>
                  <a:cubicBezTo>
                    <a:pt x="84775" y="13958"/>
                    <a:pt x="87626" y="16808"/>
                    <a:pt x="84775" y="22507"/>
                  </a:cubicBezTo>
                  <a:cubicBezTo>
                    <a:pt x="81927" y="25357"/>
                    <a:pt x="79076" y="28206"/>
                    <a:pt x="73378" y="25357"/>
                  </a:cubicBezTo>
                  <a:cubicBezTo>
                    <a:pt x="39182" y="2560"/>
                    <a:pt x="13535" y="31056"/>
                    <a:pt x="10686" y="31056"/>
                  </a:cubicBezTo>
                  <a:cubicBezTo>
                    <a:pt x="10686" y="33905"/>
                    <a:pt x="7836" y="33905"/>
                    <a:pt x="7836" y="33905"/>
                  </a:cubicBezTo>
                  <a:close/>
                </a:path>
              </a:pathLst>
            </a:custGeom>
            <a:solidFill>
              <a:srgbClr val="664540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22463613-E95F-4486-A617-1A8DD2014429}"/>
                </a:ext>
              </a:extLst>
            </p:cNvPr>
            <p:cNvSpPr/>
            <p:nvPr/>
          </p:nvSpPr>
          <p:spPr>
            <a:xfrm>
              <a:off x="19462554" y="8522902"/>
              <a:ext cx="215858" cy="59841"/>
            </a:xfrm>
            <a:custGeom>
              <a:avLst/>
              <a:gdLst>
                <a:gd name="connsiteX0" fmla="*/ 139631 w 215858"/>
                <a:gd name="connsiteY0" fmla="*/ 59841 h 59841"/>
                <a:gd name="connsiteX1" fmla="*/ 2851 w 215858"/>
                <a:gd name="connsiteY1" fmla="*/ 11398 h 59841"/>
                <a:gd name="connsiteX2" fmla="*/ 0 w 215858"/>
                <a:gd name="connsiteY2" fmla="*/ 2849 h 59841"/>
                <a:gd name="connsiteX3" fmla="*/ 8550 w 215858"/>
                <a:gd name="connsiteY3" fmla="*/ 0 h 59841"/>
                <a:gd name="connsiteX4" fmla="*/ 139631 w 215858"/>
                <a:gd name="connsiteY4" fmla="*/ 45593 h 59841"/>
                <a:gd name="connsiteX5" fmla="*/ 139631 w 215858"/>
                <a:gd name="connsiteY5" fmla="*/ 45593 h 59841"/>
                <a:gd name="connsiteX6" fmla="*/ 205172 w 215858"/>
                <a:gd name="connsiteY6" fmla="*/ 22796 h 59841"/>
                <a:gd name="connsiteX7" fmla="*/ 213720 w 215858"/>
                <a:gd name="connsiteY7" fmla="*/ 22796 h 59841"/>
                <a:gd name="connsiteX8" fmla="*/ 213720 w 215858"/>
                <a:gd name="connsiteY8" fmla="*/ 31345 h 59841"/>
                <a:gd name="connsiteX9" fmla="*/ 139631 w 215858"/>
                <a:gd name="connsiteY9" fmla="*/ 59841 h 59841"/>
                <a:gd name="connsiteX10" fmla="*/ 139631 w 215858"/>
                <a:gd name="connsiteY10" fmla="*/ 59841 h 5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5858" h="59841">
                  <a:moveTo>
                    <a:pt x="139631" y="59841"/>
                  </a:moveTo>
                  <a:cubicBezTo>
                    <a:pt x="91188" y="59841"/>
                    <a:pt x="8550" y="14248"/>
                    <a:pt x="2851" y="11398"/>
                  </a:cubicBezTo>
                  <a:cubicBezTo>
                    <a:pt x="0" y="8548"/>
                    <a:pt x="0" y="5699"/>
                    <a:pt x="0" y="2849"/>
                  </a:cubicBezTo>
                  <a:cubicBezTo>
                    <a:pt x="2851" y="0"/>
                    <a:pt x="5700" y="0"/>
                    <a:pt x="8550" y="0"/>
                  </a:cubicBezTo>
                  <a:cubicBezTo>
                    <a:pt x="8550" y="0"/>
                    <a:pt x="94038" y="45593"/>
                    <a:pt x="139631" y="45593"/>
                  </a:cubicBezTo>
                  <a:cubicBezTo>
                    <a:pt x="139631" y="45593"/>
                    <a:pt x="139631" y="45593"/>
                    <a:pt x="139631" y="45593"/>
                  </a:cubicBezTo>
                  <a:cubicBezTo>
                    <a:pt x="176676" y="45593"/>
                    <a:pt x="205172" y="22796"/>
                    <a:pt x="205172" y="22796"/>
                  </a:cubicBezTo>
                  <a:cubicBezTo>
                    <a:pt x="208023" y="19947"/>
                    <a:pt x="210871" y="19947"/>
                    <a:pt x="213720" y="22796"/>
                  </a:cubicBezTo>
                  <a:cubicBezTo>
                    <a:pt x="216571" y="25646"/>
                    <a:pt x="216571" y="28496"/>
                    <a:pt x="213720" y="31345"/>
                  </a:cubicBezTo>
                  <a:cubicBezTo>
                    <a:pt x="213720" y="34195"/>
                    <a:pt x="182375" y="59841"/>
                    <a:pt x="139631" y="59841"/>
                  </a:cubicBezTo>
                  <a:cubicBezTo>
                    <a:pt x="139631" y="59841"/>
                    <a:pt x="139631" y="59841"/>
                    <a:pt x="139631" y="59841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99707469-55E3-4A9D-9C7E-0732A11C9C8B}"/>
                </a:ext>
              </a:extLst>
            </p:cNvPr>
            <p:cNvSpPr/>
            <p:nvPr/>
          </p:nvSpPr>
          <p:spPr>
            <a:xfrm>
              <a:off x="19339727" y="8066966"/>
              <a:ext cx="105731" cy="250764"/>
            </a:xfrm>
            <a:custGeom>
              <a:avLst/>
              <a:gdLst>
                <a:gd name="connsiteX0" fmla="*/ 105731 w 105731"/>
                <a:gd name="connsiteY0" fmla="*/ 119683 h 250764"/>
                <a:gd name="connsiteX1" fmla="*/ 60138 w 105731"/>
                <a:gd name="connsiteY1" fmla="*/ 250765 h 250764"/>
                <a:gd name="connsiteX2" fmla="*/ 5995 w 105731"/>
                <a:gd name="connsiteY2" fmla="*/ 156728 h 250764"/>
                <a:gd name="connsiteX3" fmla="*/ 60138 w 105731"/>
                <a:gd name="connsiteY3" fmla="*/ 0 h 250764"/>
                <a:gd name="connsiteX4" fmla="*/ 105731 w 105731"/>
                <a:gd name="connsiteY4" fmla="*/ 119683 h 250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731" h="250764">
                  <a:moveTo>
                    <a:pt x="105731" y="119683"/>
                  </a:moveTo>
                  <a:cubicBezTo>
                    <a:pt x="105731" y="119683"/>
                    <a:pt x="54438" y="222269"/>
                    <a:pt x="60138" y="250765"/>
                  </a:cubicBezTo>
                  <a:cubicBezTo>
                    <a:pt x="60138" y="250765"/>
                    <a:pt x="20243" y="208021"/>
                    <a:pt x="5995" y="156728"/>
                  </a:cubicBezTo>
                  <a:cubicBezTo>
                    <a:pt x="-8253" y="102585"/>
                    <a:pt x="295" y="14248"/>
                    <a:pt x="60138" y="0"/>
                  </a:cubicBezTo>
                  <a:cubicBezTo>
                    <a:pt x="60138" y="2849"/>
                    <a:pt x="68687" y="102585"/>
                    <a:pt x="105731" y="119683"/>
                  </a:cubicBezTo>
                  <a:close/>
                </a:path>
              </a:pathLst>
            </a:custGeom>
            <a:solidFill>
              <a:srgbClr val="664241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9155AFCF-7A51-4BC5-91DD-40DFF163DF46}"/>
                </a:ext>
              </a:extLst>
            </p:cNvPr>
            <p:cNvSpPr/>
            <p:nvPr/>
          </p:nvSpPr>
          <p:spPr>
            <a:xfrm>
              <a:off x="19390567" y="7954234"/>
              <a:ext cx="468083" cy="240993"/>
            </a:xfrm>
            <a:custGeom>
              <a:avLst/>
              <a:gdLst>
                <a:gd name="connsiteX0" fmla="*/ 54891 w 468083"/>
                <a:gd name="connsiteY0" fmla="*/ 232415 h 240993"/>
                <a:gd name="connsiteX1" fmla="*/ 168875 w 468083"/>
                <a:gd name="connsiteY1" fmla="*/ 195370 h 240993"/>
                <a:gd name="connsiteX2" fmla="*/ 468084 w 468083"/>
                <a:gd name="connsiteY2" fmla="*/ 183972 h 240993"/>
                <a:gd name="connsiteX3" fmla="*/ 379747 w 468083"/>
                <a:gd name="connsiteY3" fmla="*/ 126980 h 240993"/>
                <a:gd name="connsiteX4" fmla="*/ 120431 w 468083"/>
                <a:gd name="connsiteY4" fmla="*/ 10146 h 240993"/>
                <a:gd name="connsiteX5" fmla="*/ 9298 w 468083"/>
                <a:gd name="connsiteY5" fmla="*/ 109882 h 240993"/>
                <a:gd name="connsiteX6" fmla="*/ 54891 w 468083"/>
                <a:gd name="connsiteY6" fmla="*/ 232415 h 240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8083" h="240993">
                  <a:moveTo>
                    <a:pt x="54891" y="232415"/>
                  </a:moveTo>
                  <a:cubicBezTo>
                    <a:pt x="54891" y="232415"/>
                    <a:pt x="143228" y="195370"/>
                    <a:pt x="168875" y="195370"/>
                  </a:cubicBezTo>
                  <a:cubicBezTo>
                    <a:pt x="262912" y="198220"/>
                    <a:pt x="382595" y="303655"/>
                    <a:pt x="468084" y="183972"/>
                  </a:cubicBezTo>
                  <a:cubicBezTo>
                    <a:pt x="419640" y="195370"/>
                    <a:pt x="396843" y="149777"/>
                    <a:pt x="379747" y="126980"/>
                  </a:cubicBezTo>
                  <a:cubicBezTo>
                    <a:pt x="339851" y="69988"/>
                    <a:pt x="274311" y="-32598"/>
                    <a:pt x="120431" y="10146"/>
                  </a:cubicBezTo>
                  <a:cubicBezTo>
                    <a:pt x="46342" y="30093"/>
                    <a:pt x="14996" y="75687"/>
                    <a:pt x="9298" y="109882"/>
                  </a:cubicBezTo>
                  <a:cubicBezTo>
                    <a:pt x="9298" y="115581"/>
                    <a:pt x="-30597" y="221017"/>
                    <a:pt x="54891" y="232415"/>
                  </a:cubicBezTo>
                  <a:close/>
                </a:path>
              </a:pathLst>
            </a:custGeom>
            <a:solidFill>
              <a:srgbClr val="664241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A50EFDDA-68EC-43CD-B197-608364C86FD8}"/>
                </a:ext>
              </a:extLst>
            </p:cNvPr>
            <p:cNvSpPr/>
            <p:nvPr/>
          </p:nvSpPr>
          <p:spPr>
            <a:xfrm>
              <a:off x="19339040" y="8289057"/>
              <a:ext cx="73489" cy="103364"/>
            </a:xfrm>
            <a:custGeom>
              <a:avLst/>
              <a:gdLst>
                <a:gd name="connsiteX0" fmla="*/ 60824 w 73489"/>
                <a:gd name="connsiteY0" fmla="*/ 14426 h 103364"/>
                <a:gd name="connsiteX1" fmla="*/ 6681 w 73489"/>
                <a:gd name="connsiteY1" fmla="*/ 5877 h 103364"/>
                <a:gd name="connsiteX2" fmla="*/ 60824 w 73489"/>
                <a:gd name="connsiteY2" fmla="*/ 99914 h 103364"/>
                <a:gd name="connsiteX3" fmla="*/ 60824 w 73489"/>
                <a:gd name="connsiteY3" fmla="*/ 14426 h 103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9" h="103364">
                  <a:moveTo>
                    <a:pt x="60824" y="14426"/>
                  </a:moveTo>
                  <a:cubicBezTo>
                    <a:pt x="60824" y="14426"/>
                    <a:pt x="29478" y="-11220"/>
                    <a:pt x="6681" y="5877"/>
                  </a:cubicBezTo>
                  <a:cubicBezTo>
                    <a:pt x="-16115" y="25825"/>
                    <a:pt x="23778" y="122711"/>
                    <a:pt x="60824" y="99914"/>
                  </a:cubicBezTo>
                  <a:cubicBezTo>
                    <a:pt x="89320" y="82817"/>
                    <a:pt x="60824" y="14426"/>
                    <a:pt x="60824" y="14426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AD71767B-A84C-4723-9643-7725683DC41A}"/>
                </a:ext>
              </a:extLst>
            </p:cNvPr>
            <p:cNvSpPr/>
            <p:nvPr/>
          </p:nvSpPr>
          <p:spPr>
            <a:xfrm>
              <a:off x="19383304" y="8082883"/>
              <a:ext cx="67853" cy="226299"/>
            </a:xfrm>
            <a:custGeom>
              <a:avLst/>
              <a:gdLst>
                <a:gd name="connsiteX0" fmla="*/ 16561 w 67853"/>
                <a:gd name="connsiteY0" fmla="*/ 226299 h 226299"/>
                <a:gd name="connsiteX1" fmla="*/ 16561 w 67853"/>
                <a:gd name="connsiteY1" fmla="*/ 226299 h 226299"/>
                <a:gd name="connsiteX2" fmla="*/ 10861 w 67853"/>
                <a:gd name="connsiteY2" fmla="*/ 220600 h 226299"/>
                <a:gd name="connsiteX3" fmla="*/ 53605 w 67853"/>
                <a:gd name="connsiteY3" fmla="*/ 106615 h 226299"/>
                <a:gd name="connsiteX4" fmla="*/ 8011 w 67853"/>
                <a:gd name="connsiteY4" fmla="*/ 66721 h 226299"/>
                <a:gd name="connsiteX5" fmla="*/ 5162 w 67853"/>
                <a:gd name="connsiteY5" fmla="*/ 4030 h 226299"/>
                <a:gd name="connsiteX6" fmla="*/ 10861 w 67853"/>
                <a:gd name="connsiteY6" fmla="*/ 1180 h 226299"/>
                <a:gd name="connsiteX7" fmla="*/ 13710 w 67853"/>
                <a:gd name="connsiteY7" fmla="*/ 6879 h 226299"/>
                <a:gd name="connsiteX8" fmla="*/ 13710 w 67853"/>
                <a:gd name="connsiteY8" fmla="*/ 61022 h 226299"/>
                <a:gd name="connsiteX9" fmla="*/ 59305 w 67853"/>
                <a:gd name="connsiteY9" fmla="*/ 98067 h 226299"/>
                <a:gd name="connsiteX10" fmla="*/ 67853 w 67853"/>
                <a:gd name="connsiteY10" fmla="*/ 100916 h 226299"/>
                <a:gd name="connsiteX11" fmla="*/ 62154 w 67853"/>
                <a:gd name="connsiteY11" fmla="*/ 106615 h 226299"/>
                <a:gd name="connsiteX12" fmla="*/ 19410 w 67853"/>
                <a:gd name="connsiteY12" fmla="*/ 220600 h 226299"/>
                <a:gd name="connsiteX13" fmla="*/ 16561 w 67853"/>
                <a:gd name="connsiteY13" fmla="*/ 226299 h 22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7853" h="226299">
                  <a:moveTo>
                    <a:pt x="16561" y="226299"/>
                  </a:moveTo>
                  <a:cubicBezTo>
                    <a:pt x="16561" y="226299"/>
                    <a:pt x="16561" y="226299"/>
                    <a:pt x="16561" y="226299"/>
                  </a:cubicBezTo>
                  <a:cubicBezTo>
                    <a:pt x="13710" y="226299"/>
                    <a:pt x="10861" y="223449"/>
                    <a:pt x="10861" y="220600"/>
                  </a:cubicBezTo>
                  <a:cubicBezTo>
                    <a:pt x="13710" y="172156"/>
                    <a:pt x="42206" y="123713"/>
                    <a:pt x="53605" y="106615"/>
                  </a:cubicBezTo>
                  <a:cubicBezTo>
                    <a:pt x="42206" y="100916"/>
                    <a:pt x="19410" y="89518"/>
                    <a:pt x="8011" y="66721"/>
                  </a:cubicBezTo>
                  <a:cubicBezTo>
                    <a:pt x="-538" y="49623"/>
                    <a:pt x="-3387" y="26827"/>
                    <a:pt x="5162" y="4030"/>
                  </a:cubicBezTo>
                  <a:cubicBezTo>
                    <a:pt x="5162" y="1180"/>
                    <a:pt x="8011" y="-1669"/>
                    <a:pt x="10861" y="1180"/>
                  </a:cubicBezTo>
                  <a:cubicBezTo>
                    <a:pt x="13710" y="1180"/>
                    <a:pt x="16561" y="4030"/>
                    <a:pt x="13710" y="6879"/>
                  </a:cubicBezTo>
                  <a:cubicBezTo>
                    <a:pt x="8011" y="26827"/>
                    <a:pt x="8011" y="43924"/>
                    <a:pt x="13710" y="61022"/>
                  </a:cubicBezTo>
                  <a:cubicBezTo>
                    <a:pt x="27958" y="86668"/>
                    <a:pt x="59305" y="98067"/>
                    <a:pt x="59305" y="98067"/>
                  </a:cubicBezTo>
                  <a:lnTo>
                    <a:pt x="67853" y="100916"/>
                  </a:lnTo>
                  <a:lnTo>
                    <a:pt x="62154" y="106615"/>
                  </a:lnTo>
                  <a:cubicBezTo>
                    <a:pt x="62154" y="106615"/>
                    <a:pt x="22259" y="163608"/>
                    <a:pt x="19410" y="220600"/>
                  </a:cubicBezTo>
                  <a:cubicBezTo>
                    <a:pt x="22259" y="223449"/>
                    <a:pt x="19410" y="226299"/>
                    <a:pt x="16561" y="226299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7C96102A-F000-426F-847D-030CDE00CBDD}"/>
                </a:ext>
              </a:extLst>
            </p:cNvPr>
            <p:cNvSpPr/>
            <p:nvPr/>
          </p:nvSpPr>
          <p:spPr>
            <a:xfrm>
              <a:off x="19553742" y="8121597"/>
              <a:ext cx="181662" cy="36556"/>
            </a:xfrm>
            <a:custGeom>
              <a:avLst/>
              <a:gdLst>
                <a:gd name="connsiteX0" fmla="*/ 5700 w 181662"/>
                <a:gd name="connsiteY0" fmla="*/ 36556 h 36556"/>
                <a:gd name="connsiteX1" fmla="*/ 0 w 181662"/>
                <a:gd name="connsiteY1" fmla="*/ 33706 h 36556"/>
                <a:gd name="connsiteX2" fmla="*/ 2851 w 181662"/>
                <a:gd name="connsiteY2" fmla="*/ 25157 h 36556"/>
                <a:gd name="connsiteX3" fmla="*/ 179525 w 181662"/>
                <a:gd name="connsiteY3" fmla="*/ 19458 h 36556"/>
                <a:gd name="connsiteX4" fmla="*/ 179525 w 181662"/>
                <a:gd name="connsiteY4" fmla="*/ 28007 h 36556"/>
                <a:gd name="connsiteX5" fmla="*/ 170976 w 181662"/>
                <a:gd name="connsiteY5" fmla="*/ 28007 h 36556"/>
                <a:gd name="connsiteX6" fmla="*/ 5700 w 181662"/>
                <a:gd name="connsiteY6" fmla="*/ 36556 h 36556"/>
                <a:gd name="connsiteX7" fmla="*/ 5700 w 181662"/>
                <a:gd name="connsiteY7" fmla="*/ 36556 h 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662" h="36556">
                  <a:moveTo>
                    <a:pt x="5700" y="36556"/>
                  </a:moveTo>
                  <a:cubicBezTo>
                    <a:pt x="2851" y="36556"/>
                    <a:pt x="2851" y="36556"/>
                    <a:pt x="0" y="33706"/>
                  </a:cubicBezTo>
                  <a:cubicBezTo>
                    <a:pt x="0" y="30857"/>
                    <a:pt x="0" y="28007"/>
                    <a:pt x="2851" y="25157"/>
                  </a:cubicBezTo>
                  <a:cubicBezTo>
                    <a:pt x="8548" y="22308"/>
                    <a:pt x="113984" y="-26135"/>
                    <a:pt x="179525" y="19458"/>
                  </a:cubicBezTo>
                  <a:cubicBezTo>
                    <a:pt x="182375" y="22308"/>
                    <a:pt x="182375" y="25157"/>
                    <a:pt x="179525" y="28007"/>
                  </a:cubicBezTo>
                  <a:cubicBezTo>
                    <a:pt x="176676" y="30857"/>
                    <a:pt x="173827" y="30857"/>
                    <a:pt x="170976" y="28007"/>
                  </a:cubicBezTo>
                  <a:cubicBezTo>
                    <a:pt x="113984" y="-11887"/>
                    <a:pt x="8548" y="33706"/>
                    <a:pt x="5700" y="36556"/>
                  </a:cubicBezTo>
                  <a:cubicBezTo>
                    <a:pt x="5700" y="36556"/>
                    <a:pt x="5700" y="36556"/>
                    <a:pt x="5700" y="36556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599B18DC-1AF9-4040-9F22-F24172D0E0F3}"/>
                </a:ext>
              </a:extLst>
            </p:cNvPr>
            <p:cNvSpPr/>
            <p:nvPr/>
          </p:nvSpPr>
          <p:spPr>
            <a:xfrm>
              <a:off x="19075009" y="8634037"/>
              <a:ext cx="1000974" cy="1464524"/>
            </a:xfrm>
            <a:custGeom>
              <a:avLst/>
              <a:gdLst>
                <a:gd name="connsiteX0" fmla="*/ 370449 w 1000974"/>
                <a:gd name="connsiteY0" fmla="*/ 0 h 1464524"/>
                <a:gd name="connsiteX1" fmla="*/ 641161 w 1000974"/>
                <a:gd name="connsiteY1" fmla="*/ 0 h 1464524"/>
                <a:gd name="connsiteX2" fmla="*/ 920422 w 1000974"/>
                <a:gd name="connsiteY2" fmla="*/ 122533 h 1464524"/>
                <a:gd name="connsiteX3" fmla="*/ 1000210 w 1000974"/>
                <a:gd name="connsiteY3" fmla="*/ 1436200 h 1464524"/>
                <a:gd name="connsiteX4" fmla="*/ 0 w 1000974"/>
                <a:gd name="connsiteY4" fmla="*/ 1413404 h 1464524"/>
                <a:gd name="connsiteX5" fmla="*/ 108285 w 1000974"/>
                <a:gd name="connsiteY5" fmla="*/ 96886 h 1464524"/>
                <a:gd name="connsiteX6" fmla="*/ 370449 w 1000974"/>
                <a:gd name="connsiteY6" fmla="*/ 0 h 146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974" h="1464524">
                  <a:moveTo>
                    <a:pt x="370449" y="0"/>
                  </a:moveTo>
                  <a:cubicBezTo>
                    <a:pt x="370449" y="0"/>
                    <a:pt x="532876" y="51293"/>
                    <a:pt x="641161" y="0"/>
                  </a:cubicBezTo>
                  <a:cubicBezTo>
                    <a:pt x="641161" y="0"/>
                    <a:pt x="897625" y="91187"/>
                    <a:pt x="920422" y="122533"/>
                  </a:cubicBezTo>
                  <a:cubicBezTo>
                    <a:pt x="943218" y="151029"/>
                    <a:pt x="1008761" y="1373510"/>
                    <a:pt x="1000210" y="1436200"/>
                  </a:cubicBezTo>
                  <a:cubicBezTo>
                    <a:pt x="1000210" y="1436200"/>
                    <a:pt x="541425" y="1513140"/>
                    <a:pt x="0" y="1413404"/>
                  </a:cubicBezTo>
                  <a:cubicBezTo>
                    <a:pt x="0" y="1080000"/>
                    <a:pt x="68391" y="125382"/>
                    <a:pt x="108285" y="96886"/>
                  </a:cubicBezTo>
                  <a:cubicBezTo>
                    <a:pt x="145329" y="65541"/>
                    <a:pt x="370449" y="0"/>
                    <a:pt x="370449" y="0"/>
                  </a:cubicBezTo>
                  <a:close/>
                </a:path>
              </a:pathLst>
            </a:custGeom>
            <a:solidFill>
              <a:srgbClr val="7F95BC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45E87433-3010-4193-97B6-18BD737EFFA6}"/>
                </a:ext>
              </a:extLst>
            </p:cNvPr>
            <p:cNvSpPr/>
            <p:nvPr/>
          </p:nvSpPr>
          <p:spPr>
            <a:xfrm>
              <a:off x="19847830" y="8715213"/>
              <a:ext cx="421163" cy="571382"/>
            </a:xfrm>
            <a:custGeom>
              <a:avLst/>
              <a:gdLst>
                <a:gd name="connsiteX0" fmla="*/ 59263 w 421163"/>
                <a:gd name="connsiteY0" fmla="*/ 571383 h 571382"/>
                <a:gd name="connsiteX1" fmla="*/ 47864 w 421163"/>
                <a:gd name="connsiteY1" fmla="*/ 10011 h 571382"/>
                <a:gd name="connsiteX2" fmla="*/ 421163 w 421163"/>
                <a:gd name="connsiteY2" fmla="*/ 414655 h 571382"/>
                <a:gd name="connsiteX3" fmla="*/ 59263 w 421163"/>
                <a:gd name="connsiteY3" fmla="*/ 571383 h 571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1163" h="571382">
                  <a:moveTo>
                    <a:pt x="59263" y="571383"/>
                  </a:moveTo>
                  <a:cubicBezTo>
                    <a:pt x="59263" y="571383"/>
                    <a:pt x="-66120" y="84101"/>
                    <a:pt x="47864" y="10011"/>
                  </a:cubicBezTo>
                  <a:cubicBezTo>
                    <a:pt x="181796" y="-75477"/>
                    <a:pt x="421163" y="414655"/>
                    <a:pt x="421163" y="414655"/>
                  </a:cubicBezTo>
                  <a:cubicBezTo>
                    <a:pt x="421163" y="414655"/>
                    <a:pt x="258736" y="554285"/>
                    <a:pt x="59263" y="571383"/>
                  </a:cubicBezTo>
                  <a:close/>
                </a:path>
              </a:pathLst>
            </a:custGeom>
            <a:solidFill>
              <a:srgbClr val="7F95BC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54C5FFF0-3047-46F1-B520-ECB1E0C31800}"/>
                </a:ext>
              </a:extLst>
            </p:cNvPr>
            <p:cNvSpPr/>
            <p:nvPr/>
          </p:nvSpPr>
          <p:spPr>
            <a:xfrm>
              <a:off x="19986882" y="8750871"/>
              <a:ext cx="50314" cy="515778"/>
            </a:xfrm>
            <a:custGeom>
              <a:avLst/>
              <a:gdLst>
                <a:gd name="connsiteX0" fmla="*/ 45593 w 50314"/>
                <a:gd name="connsiteY0" fmla="*/ 515779 h 515778"/>
                <a:gd name="connsiteX1" fmla="*/ 39895 w 50314"/>
                <a:gd name="connsiteY1" fmla="*/ 510079 h 515778"/>
                <a:gd name="connsiteX2" fmla="*/ 0 w 50314"/>
                <a:gd name="connsiteY2" fmla="*/ 5699 h 515778"/>
                <a:gd name="connsiteX3" fmla="*/ 2849 w 50314"/>
                <a:gd name="connsiteY3" fmla="*/ 0 h 515778"/>
                <a:gd name="connsiteX4" fmla="*/ 8548 w 50314"/>
                <a:gd name="connsiteY4" fmla="*/ 2849 h 515778"/>
                <a:gd name="connsiteX5" fmla="*/ 48444 w 50314"/>
                <a:gd name="connsiteY5" fmla="*/ 510079 h 515778"/>
                <a:gd name="connsiteX6" fmla="*/ 45593 w 50314"/>
                <a:gd name="connsiteY6" fmla="*/ 515779 h 515778"/>
                <a:gd name="connsiteX7" fmla="*/ 45593 w 50314"/>
                <a:gd name="connsiteY7" fmla="*/ 515779 h 515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314" h="515778">
                  <a:moveTo>
                    <a:pt x="45593" y="515779"/>
                  </a:moveTo>
                  <a:cubicBezTo>
                    <a:pt x="42744" y="515779"/>
                    <a:pt x="39895" y="512929"/>
                    <a:pt x="39895" y="510079"/>
                  </a:cubicBezTo>
                  <a:cubicBezTo>
                    <a:pt x="39895" y="504379"/>
                    <a:pt x="5700" y="42744"/>
                    <a:pt x="0" y="5699"/>
                  </a:cubicBezTo>
                  <a:cubicBezTo>
                    <a:pt x="0" y="2849"/>
                    <a:pt x="0" y="0"/>
                    <a:pt x="2849" y="0"/>
                  </a:cubicBezTo>
                  <a:cubicBezTo>
                    <a:pt x="5700" y="0"/>
                    <a:pt x="8548" y="0"/>
                    <a:pt x="8548" y="2849"/>
                  </a:cubicBezTo>
                  <a:cubicBezTo>
                    <a:pt x="17097" y="39894"/>
                    <a:pt x="48444" y="490131"/>
                    <a:pt x="48444" y="510079"/>
                  </a:cubicBezTo>
                  <a:cubicBezTo>
                    <a:pt x="51293" y="512929"/>
                    <a:pt x="51293" y="515779"/>
                    <a:pt x="45593" y="515779"/>
                  </a:cubicBezTo>
                  <a:cubicBezTo>
                    <a:pt x="48444" y="515779"/>
                    <a:pt x="48444" y="515779"/>
                    <a:pt x="45593" y="515779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69B08897-AB66-403F-8125-E1F7F6D1348B}"/>
                </a:ext>
              </a:extLst>
            </p:cNvPr>
            <p:cNvSpPr/>
            <p:nvPr/>
          </p:nvSpPr>
          <p:spPr>
            <a:xfrm>
              <a:off x="19565141" y="8472322"/>
              <a:ext cx="112400" cy="27783"/>
            </a:xfrm>
            <a:custGeom>
              <a:avLst/>
              <a:gdLst>
                <a:gd name="connsiteX0" fmla="*/ 62692 w 112400"/>
                <a:gd name="connsiteY0" fmla="*/ 27784 h 27783"/>
                <a:gd name="connsiteX1" fmla="*/ 2849 w 112400"/>
                <a:gd name="connsiteY1" fmla="*/ 13536 h 27783"/>
                <a:gd name="connsiteX2" fmla="*/ 0 w 112400"/>
                <a:gd name="connsiteY2" fmla="*/ 4987 h 27783"/>
                <a:gd name="connsiteX3" fmla="*/ 8548 w 112400"/>
                <a:gd name="connsiteY3" fmla="*/ 2137 h 27783"/>
                <a:gd name="connsiteX4" fmla="*/ 102585 w 112400"/>
                <a:gd name="connsiteY4" fmla="*/ 2137 h 27783"/>
                <a:gd name="connsiteX5" fmla="*/ 111134 w 112400"/>
                <a:gd name="connsiteY5" fmla="*/ 2137 h 27783"/>
                <a:gd name="connsiteX6" fmla="*/ 111134 w 112400"/>
                <a:gd name="connsiteY6" fmla="*/ 10686 h 27783"/>
                <a:gd name="connsiteX7" fmla="*/ 62692 w 112400"/>
                <a:gd name="connsiteY7" fmla="*/ 27784 h 27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400" h="27783">
                  <a:moveTo>
                    <a:pt x="62692" y="27784"/>
                  </a:moveTo>
                  <a:cubicBezTo>
                    <a:pt x="31345" y="27784"/>
                    <a:pt x="5700" y="13536"/>
                    <a:pt x="2849" y="13536"/>
                  </a:cubicBezTo>
                  <a:cubicBezTo>
                    <a:pt x="0" y="13536"/>
                    <a:pt x="0" y="7837"/>
                    <a:pt x="0" y="4987"/>
                  </a:cubicBezTo>
                  <a:cubicBezTo>
                    <a:pt x="0" y="2137"/>
                    <a:pt x="5700" y="2137"/>
                    <a:pt x="8548" y="2137"/>
                  </a:cubicBezTo>
                  <a:cubicBezTo>
                    <a:pt x="8548" y="2137"/>
                    <a:pt x="68389" y="30633"/>
                    <a:pt x="102585" y="2137"/>
                  </a:cubicBezTo>
                  <a:cubicBezTo>
                    <a:pt x="105436" y="-712"/>
                    <a:pt x="108285" y="-712"/>
                    <a:pt x="111134" y="2137"/>
                  </a:cubicBezTo>
                  <a:cubicBezTo>
                    <a:pt x="113984" y="4987"/>
                    <a:pt x="111134" y="7837"/>
                    <a:pt x="111134" y="10686"/>
                  </a:cubicBezTo>
                  <a:cubicBezTo>
                    <a:pt x="96886" y="22085"/>
                    <a:pt x="79789" y="27784"/>
                    <a:pt x="62692" y="27784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BF1D8503-65A0-42D9-9D31-5F7EF99D7408}"/>
                </a:ext>
              </a:extLst>
            </p:cNvPr>
            <p:cNvSpPr/>
            <p:nvPr/>
          </p:nvSpPr>
          <p:spPr>
            <a:xfrm>
              <a:off x="19441837" y="8621821"/>
              <a:ext cx="280803" cy="50686"/>
            </a:xfrm>
            <a:custGeom>
              <a:avLst/>
              <a:gdLst>
                <a:gd name="connsiteX0" fmla="*/ 17869 w 280803"/>
                <a:gd name="connsiteY0" fmla="*/ 818 h 50686"/>
                <a:gd name="connsiteX1" fmla="*/ 262934 w 280803"/>
                <a:gd name="connsiteY1" fmla="*/ 818 h 50686"/>
                <a:gd name="connsiteX2" fmla="*/ 271484 w 280803"/>
                <a:gd name="connsiteY2" fmla="*/ 29314 h 50686"/>
                <a:gd name="connsiteX3" fmla="*/ 9320 w 280803"/>
                <a:gd name="connsiteY3" fmla="*/ 29314 h 50686"/>
                <a:gd name="connsiteX4" fmla="*/ 17869 w 280803"/>
                <a:gd name="connsiteY4" fmla="*/ 818 h 5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803" h="50686">
                  <a:moveTo>
                    <a:pt x="17869" y="818"/>
                  </a:moveTo>
                  <a:cubicBezTo>
                    <a:pt x="100508" y="26464"/>
                    <a:pt x="183145" y="26464"/>
                    <a:pt x="262934" y="818"/>
                  </a:cubicBezTo>
                  <a:cubicBezTo>
                    <a:pt x="280032" y="-4881"/>
                    <a:pt x="288581" y="23615"/>
                    <a:pt x="271484" y="29314"/>
                  </a:cubicBezTo>
                  <a:cubicBezTo>
                    <a:pt x="185996" y="57810"/>
                    <a:pt x="94808" y="57810"/>
                    <a:pt x="9320" y="29314"/>
                  </a:cubicBezTo>
                  <a:cubicBezTo>
                    <a:pt x="-7779" y="20765"/>
                    <a:pt x="772" y="-4881"/>
                    <a:pt x="17869" y="818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7C8914CF-31F2-4D58-941D-EE2D6C70EF4A}"/>
                </a:ext>
              </a:extLst>
            </p:cNvPr>
            <p:cNvSpPr/>
            <p:nvPr/>
          </p:nvSpPr>
          <p:spPr>
            <a:xfrm>
              <a:off x="20019503" y="9116418"/>
              <a:ext cx="268282" cy="148202"/>
            </a:xfrm>
            <a:custGeom>
              <a:avLst/>
              <a:gdLst>
                <a:gd name="connsiteX0" fmla="*/ 10124 w 268282"/>
                <a:gd name="connsiteY0" fmla="*/ 121736 h 148202"/>
                <a:gd name="connsiteX1" fmla="*/ 243792 w 268282"/>
                <a:gd name="connsiteY1" fmla="*/ 4902 h 148202"/>
                <a:gd name="connsiteX2" fmla="*/ 263739 w 268282"/>
                <a:gd name="connsiteY2" fmla="*/ 24848 h 148202"/>
                <a:gd name="connsiteX3" fmla="*/ 18672 w 268282"/>
                <a:gd name="connsiteY3" fmla="*/ 147382 h 148202"/>
                <a:gd name="connsiteX4" fmla="*/ 10124 w 268282"/>
                <a:gd name="connsiteY4" fmla="*/ 121736 h 14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8282" h="148202">
                  <a:moveTo>
                    <a:pt x="10124" y="121736"/>
                  </a:moveTo>
                  <a:cubicBezTo>
                    <a:pt x="95612" y="96089"/>
                    <a:pt x="181100" y="70442"/>
                    <a:pt x="243792" y="4902"/>
                  </a:cubicBezTo>
                  <a:cubicBezTo>
                    <a:pt x="255189" y="-9346"/>
                    <a:pt x="277987" y="10600"/>
                    <a:pt x="263739" y="24848"/>
                  </a:cubicBezTo>
                  <a:cubicBezTo>
                    <a:pt x="198197" y="93240"/>
                    <a:pt x="107011" y="121736"/>
                    <a:pt x="18672" y="147382"/>
                  </a:cubicBezTo>
                  <a:cubicBezTo>
                    <a:pt x="-1275" y="153081"/>
                    <a:pt x="-6973" y="127434"/>
                    <a:pt x="10124" y="121736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25E3C262-464C-4691-A813-CB69D7C3FF18}"/>
                </a:ext>
              </a:extLst>
            </p:cNvPr>
            <p:cNvSpPr/>
            <p:nvPr/>
          </p:nvSpPr>
          <p:spPr>
            <a:xfrm>
              <a:off x="20354482" y="9517414"/>
              <a:ext cx="54141" cy="91187"/>
            </a:xfrm>
            <a:custGeom>
              <a:avLst/>
              <a:gdLst>
                <a:gd name="connsiteX0" fmla="*/ 5698 w 54141"/>
                <a:gd name="connsiteY0" fmla="*/ 91188 h 91187"/>
                <a:gd name="connsiteX1" fmla="*/ 5698 w 54141"/>
                <a:gd name="connsiteY1" fmla="*/ 91188 h 91187"/>
                <a:gd name="connsiteX2" fmla="*/ 0 w 54141"/>
                <a:gd name="connsiteY2" fmla="*/ 82638 h 91187"/>
                <a:gd name="connsiteX3" fmla="*/ 42744 w 54141"/>
                <a:gd name="connsiteY3" fmla="*/ 2850 h 91187"/>
                <a:gd name="connsiteX4" fmla="*/ 51293 w 54141"/>
                <a:gd name="connsiteY4" fmla="*/ 0 h 91187"/>
                <a:gd name="connsiteX5" fmla="*/ 54141 w 54141"/>
                <a:gd name="connsiteY5" fmla="*/ 8548 h 91187"/>
                <a:gd name="connsiteX6" fmla="*/ 11397 w 54141"/>
                <a:gd name="connsiteY6" fmla="*/ 88338 h 91187"/>
                <a:gd name="connsiteX7" fmla="*/ 5698 w 54141"/>
                <a:gd name="connsiteY7" fmla="*/ 91188 h 91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141" h="91187">
                  <a:moveTo>
                    <a:pt x="5698" y="91188"/>
                  </a:moveTo>
                  <a:cubicBezTo>
                    <a:pt x="2849" y="91188"/>
                    <a:pt x="2849" y="91188"/>
                    <a:pt x="5698" y="91188"/>
                  </a:cubicBezTo>
                  <a:cubicBezTo>
                    <a:pt x="0" y="88338"/>
                    <a:pt x="0" y="85488"/>
                    <a:pt x="0" y="82638"/>
                  </a:cubicBezTo>
                  <a:lnTo>
                    <a:pt x="42744" y="2850"/>
                  </a:lnTo>
                  <a:cubicBezTo>
                    <a:pt x="42744" y="0"/>
                    <a:pt x="48442" y="0"/>
                    <a:pt x="51293" y="0"/>
                  </a:cubicBezTo>
                  <a:cubicBezTo>
                    <a:pt x="54141" y="0"/>
                    <a:pt x="54141" y="5700"/>
                    <a:pt x="54141" y="8548"/>
                  </a:cubicBezTo>
                  <a:lnTo>
                    <a:pt x="11397" y="88338"/>
                  </a:lnTo>
                  <a:cubicBezTo>
                    <a:pt x="8548" y="91188"/>
                    <a:pt x="5698" y="91188"/>
                    <a:pt x="5698" y="91188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E6E617F9-64AA-4999-A036-75C8AA63DD28}"/>
                </a:ext>
              </a:extLst>
            </p:cNvPr>
            <p:cNvSpPr/>
            <p:nvPr/>
          </p:nvSpPr>
          <p:spPr>
            <a:xfrm>
              <a:off x="19167866" y="11294387"/>
              <a:ext cx="124893" cy="32526"/>
            </a:xfrm>
            <a:custGeom>
              <a:avLst/>
              <a:gdLst>
                <a:gd name="connsiteX0" fmla="*/ 120864 w 124893"/>
                <a:gd name="connsiteY0" fmla="*/ 32526 h 32526"/>
                <a:gd name="connsiteX1" fmla="*/ 120864 w 124893"/>
                <a:gd name="connsiteY1" fmla="*/ 32526 h 32526"/>
                <a:gd name="connsiteX2" fmla="*/ 4031 w 124893"/>
                <a:gd name="connsiteY2" fmla="*/ 9730 h 32526"/>
                <a:gd name="connsiteX3" fmla="*/ 1180 w 124893"/>
                <a:gd name="connsiteY3" fmla="*/ 4030 h 32526"/>
                <a:gd name="connsiteX4" fmla="*/ 6880 w 124893"/>
                <a:gd name="connsiteY4" fmla="*/ 1180 h 32526"/>
                <a:gd name="connsiteX5" fmla="*/ 120864 w 124893"/>
                <a:gd name="connsiteY5" fmla="*/ 23978 h 32526"/>
                <a:gd name="connsiteX6" fmla="*/ 123713 w 124893"/>
                <a:gd name="connsiteY6" fmla="*/ 29676 h 32526"/>
                <a:gd name="connsiteX7" fmla="*/ 120864 w 124893"/>
                <a:gd name="connsiteY7" fmla="*/ 32526 h 32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893" h="32526">
                  <a:moveTo>
                    <a:pt x="120864" y="32526"/>
                  </a:moveTo>
                  <a:cubicBezTo>
                    <a:pt x="120864" y="32526"/>
                    <a:pt x="120864" y="32526"/>
                    <a:pt x="120864" y="32526"/>
                  </a:cubicBezTo>
                  <a:lnTo>
                    <a:pt x="4031" y="9730"/>
                  </a:lnTo>
                  <a:cubicBezTo>
                    <a:pt x="1180" y="9730"/>
                    <a:pt x="-1669" y="6880"/>
                    <a:pt x="1180" y="4030"/>
                  </a:cubicBezTo>
                  <a:cubicBezTo>
                    <a:pt x="1180" y="1180"/>
                    <a:pt x="4031" y="-1669"/>
                    <a:pt x="6880" y="1180"/>
                  </a:cubicBezTo>
                  <a:lnTo>
                    <a:pt x="120864" y="23978"/>
                  </a:lnTo>
                  <a:cubicBezTo>
                    <a:pt x="123713" y="23978"/>
                    <a:pt x="126563" y="26827"/>
                    <a:pt x="123713" y="29676"/>
                  </a:cubicBezTo>
                  <a:cubicBezTo>
                    <a:pt x="123713" y="29676"/>
                    <a:pt x="123713" y="32526"/>
                    <a:pt x="120864" y="32526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CB2E92FB-9C3C-484D-97CC-9273EF4C1E72}"/>
                </a:ext>
              </a:extLst>
            </p:cNvPr>
            <p:cNvSpPr/>
            <p:nvPr/>
          </p:nvSpPr>
          <p:spPr>
            <a:xfrm>
              <a:off x="19650617" y="9138198"/>
              <a:ext cx="162574" cy="196841"/>
            </a:xfrm>
            <a:custGeom>
              <a:avLst/>
              <a:gdLst>
                <a:gd name="connsiteX0" fmla="*/ 12 w 162574"/>
                <a:gd name="connsiteY0" fmla="*/ 196842 h 196841"/>
                <a:gd name="connsiteX1" fmla="*/ 79800 w 162574"/>
                <a:gd name="connsiteY1" fmla="*/ 31564 h 196841"/>
                <a:gd name="connsiteX2" fmla="*/ 156740 w 162574"/>
                <a:gd name="connsiteY2" fmla="*/ 3068 h 196841"/>
                <a:gd name="connsiteX3" fmla="*/ 88349 w 162574"/>
                <a:gd name="connsiteY3" fmla="*/ 102804 h 196841"/>
                <a:gd name="connsiteX4" fmla="*/ 12 w 162574"/>
                <a:gd name="connsiteY4" fmla="*/ 196842 h 196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574" h="196841">
                  <a:moveTo>
                    <a:pt x="12" y="196842"/>
                  </a:moveTo>
                  <a:cubicBezTo>
                    <a:pt x="12" y="196842"/>
                    <a:pt x="-2839" y="82857"/>
                    <a:pt x="79800" y="31564"/>
                  </a:cubicBezTo>
                  <a:cubicBezTo>
                    <a:pt x="105448" y="14467"/>
                    <a:pt x="145341" y="-8330"/>
                    <a:pt x="156740" y="3068"/>
                  </a:cubicBezTo>
                  <a:cubicBezTo>
                    <a:pt x="188085" y="31564"/>
                    <a:pt x="82649" y="68609"/>
                    <a:pt x="88349" y="102804"/>
                  </a:cubicBezTo>
                  <a:cubicBezTo>
                    <a:pt x="88349" y="117052"/>
                    <a:pt x="12" y="196842"/>
                    <a:pt x="12" y="196842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C7B20A27-A048-4EC5-90EB-F50D800177BE}"/>
                </a:ext>
              </a:extLst>
            </p:cNvPr>
            <p:cNvSpPr/>
            <p:nvPr/>
          </p:nvSpPr>
          <p:spPr>
            <a:xfrm>
              <a:off x="18924555" y="9158364"/>
              <a:ext cx="275836" cy="652543"/>
            </a:xfrm>
            <a:custGeom>
              <a:avLst/>
              <a:gdLst>
                <a:gd name="connsiteX0" fmla="*/ 275837 w 275836"/>
                <a:gd name="connsiteY0" fmla="*/ 25646 h 652543"/>
                <a:gd name="connsiteX1" fmla="*/ 213145 w 275836"/>
                <a:gd name="connsiteY1" fmla="*/ 518628 h 652543"/>
                <a:gd name="connsiteX2" fmla="*/ 50717 w 275836"/>
                <a:gd name="connsiteY2" fmla="*/ 635462 h 652543"/>
                <a:gd name="connsiteX3" fmla="*/ 22221 w 275836"/>
                <a:gd name="connsiteY3" fmla="*/ 0 h 652543"/>
                <a:gd name="connsiteX4" fmla="*/ 275837 w 275836"/>
                <a:gd name="connsiteY4" fmla="*/ 25646 h 652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836" h="652543">
                  <a:moveTo>
                    <a:pt x="275837" y="25646"/>
                  </a:moveTo>
                  <a:lnTo>
                    <a:pt x="213145" y="518628"/>
                  </a:lnTo>
                  <a:cubicBezTo>
                    <a:pt x="213145" y="518628"/>
                    <a:pt x="144754" y="709551"/>
                    <a:pt x="50717" y="635462"/>
                  </a:cubicBezTo>
                  <a:cubicBezTo>
                    <a:pt x="-43319" y="561372"/>
                    <a:pt x="22221" y="0"/>
                    <a:pt x="22221" y="0"/>
                  </a:cubicBezTo>
                  <a:lnTo>
                    <a:pt x="275837" y="25646"/>
                  </a:ln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0B091D0A-5B49-4E71-89CD-8C7C9AD20224}"/>
                </a:ext>
              </a:extLst>
            </p:cNvPr>
            <p:cNvSpPr/>
            <p:nvPr/>
          </p:nvSpPr>
          <p:spPr>
            <a:xfrm>
              <a:off x="18889785" y="8728074"/>
              <a:ext cx="401387" cy="546439"/>
            </a:xfrm>
            <a:custGeom>
              <a:avLst/>
              <a:gdLst>
                <a:gd name="connsiteX0" fmla="*/ 0 w 401387"/>
                <a:gd name="connsiteY0" fmla="*/ 478734 h 546439"/>
                <a:gd name="connsiteX1" fmla="*/ 290660 w 401387"/>
                <a:gd name="connsiteY1" fmla="*/ 0 h 546439"/>
                <a:gd name="connsiteX2" fmla="*/ 390396 w 401387"/>
                <a:gd name="connsiteY2" fmla="*/ 541424 h 546439"/>
                <a:gd name="connsiteX3" fmla="*/ 0 w 401387"/>
                <a:gd name="connsiteY3" fmla="*/ 478734 h 546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1387" h="546439">
                  <a:moveTo>
                    <a:pt x="0" y="478734"/>
                  </a:moveTo>
                  <a:cubicBezTo>
                    <a:pt x="0" y="478734"/>
                    <a:pt x="153879" y="0"/>
                    <a:pt x="290660" y="0"/>
                  </a:cubicBezTo>
                  <a:cubicBezTo>
                    <a:pt x="450237" y="0"/>
                    <a:pt x="390396" y="541424"/>
                    <a:pt x="390396" y="541424"/>
                  </a:cubicBezTo>
                  <a:cubicBezTo>
                    <a:pt x="390396" y="541424"/>
                    <a:pt x="176676" y="572770"/>
                    <a:pt x="0" y="478734"/>
                  </a:cubicBezTo>
                  <a:close/>
                </a:path>
              </a:pathLst>
            </a:custGeom>
            <a:solidFill>
              <a:srgbClr val="7F95BC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DFD1B28B-A467-4C50-84E1-2427E3C82A5E}"/>
                </a:ext>
              </a:extLst>
            </p:cNvPr>
            <p:cNvSpPr/>
            <p:nvPr/>
          </p:nvSpPr>
          <p:spPr>
            <a:xfrm>
              <a:off x="18881095" y="9195189"/>
              <a:ext cx="414758" cy="85708"/>
            </a:xfrm>
            <a:custGeom>
              <a:avLst/>
              <a:gdLst>
                <a:gd name="connsiteX0" fmla="*/ 17238 w 414758"/>
                <a:gd name="connsiteY0" fmla="*/ 220 h 85708"/>
                <a:gd name="connsiteX1" fmla="*/ 401935 w 414758"/>
                <a:gd name="connsiteY1" fmla="*/ 57212 h 85708"/>
                <a:gd name="connsiteX2" fmla="*/ 401935 w 414758"/>
                <a:gd name="connsiteY2" fmla="*/ 85708 h 85708"/>
                <a:gd name="connsiteX3" fmla="*/ 11539 w 414758"/>
                <a:gd name="connsiteY3" fmla="*/ 28716 h 85708"/>
                <a:gd name="connsiteX4" fmla="*/ 17238 w 414758"/>
                <a:gd name="connsiteY4" fmla="*/ 220 h 85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4758" h="85708">
                  <a:moveTo>
                    <a:pt x="17238" y="220"/>
                  </a:moveTo>
                  <a:cubicBezTo>
                    <a:pt x="142621" y="40115"/>
                    <a:pt x="270854" y="57212"/>
                    <a:pt x="401935" y="57212"/>
                  </a:cubicBezTo>
                  <a:cubicBezTo>
                    <a:pt x="419033" y="57212"/>
                    <a:pt x="419033" y="85708"/>
                    <a:pt x="401935" y="85708"/>
                  </a:cubicBezTo>
                  <a:cubicBezTo>
                    <a:pt x="268003" y="85708"/>
                    <a:pt x="139771" y="68611"/>
                    <a:pt x="11539" y="28716"/>
                  </a:cubicBezTo>
                  <a:cubicBezTo>
                    <a:pt x="-8407" y="23017"/>
                    <a:pt x="141" y="-2630"/>
                    <a:pt x="17238" y="220"/>
                  </a:cubicBezTo>
                  <a:close/>
                </a:path>
              </a:pathLst>
            </a:custGeom>
            <a:solidFill>
              <a:srgbClr val="F6EBE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3B98098B-B6AB-4210-93CF-A38375B81A5D}"/>
                </a:ext>
              </a:extLst>
            </p:cNvPr>
            <p:cNvSpPr/>
            <p:nvPr/>
          </p:nvSpPr>
          <p:spPr>
            <a:xfrm>
              <a:off x="19174745" y="8724044"/>
              <a:ext cx="114565" cy="534056"/>
            </a:xfrm>
            <a:custGeom>
              <a:avLst/>
              <a:gdLst>
                <a:gd name="connsiteX0" fmla="*/ 105436 w 114565"/>
                <a:gd name="connsiteY0" fmla="*/ 534056 h 534056"/>
                <a:gd name="connsiteX1" fmla="*/ 105436 w 114565"/>
                <a:gd name="connsiteY1" fmla="*/ 534056 h 534056"/>
                <a:gd name="connsiteX2" fmla="*/ 99736 w 114565"/>
                <a:gd name="connsiteY2" fmla="*/ 528357 h 534056"/>
                <a:gd name="connsiteX3" fmla="*/ 105436 w 114565"/>
                <a:gd name="connsiteY3" fmla="*/ 209201 h 534056"/>
                <a:gd name="connsiteX4" fmla="*/ 2849 w 114565"/>
                <a:gd name="connsiteY4" fmla="*/ 9729 h 534056"/>
                <a:gd name="connsiteX5" fmla="*/ 0 w 114565"/>
                <a:gd name="connsiteY5" fmla="*/ 4030 h 534056"/>
                <a:gd name="connsiteX6" fmla="*/ 5700 w 114565"/>
                <a:gd name="connsiteY6" fmla="*/ 1180 h 534056"/>
                <a:gd name="connsiteX7" fmla="*/ 113984 w 114565"/>
                <a:gd name="connsiteY7" fmla="*/ 212051 h 534056"/>
                <a:gd name="connsiteX8" fmla="*/ 108285 w 114565"/>
                <a:gd name="connsiteY8" fmla="*/ 531206 h 534056"/>
                <a:gd name="connsiteX9" fmla="*/ 105436 w 114565"/>
                <a:gd name="connsiteY9" fmla="*/ 534056 h 53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4565" h="534056">
                  <a:moveTo>
                    <a:pt x="105436" y="534056"/>
                  </a:moveTo>
                  <a:cubicBezTo>
                    <a:pt x="105436" y="534056"/>
                    <a:pt x="105436" y="534056"/>
                    <a:pt x="105436" y="534056"/>
                  </a:cubicBezTo>
                  <a:cubicBezTo>
                    <a:pt x="102585" y="534056"/>
                    <a:pt x="99736" y="531206"/>
                    <a:pt x="99736" y="528357"/>
                  </a:cubicBezTo>
                  <a:cubicBezTo>
                    <a:pt x="99736" y="525508"/>
                    <a:pt x="108285" y="380178"/>
                    <a:pt x="105436" y="209201"/>
                  </a:cubicBezTo>
                  <a:cubicBezTo>
                    <a:pt x="102585" y="43924"/>
                    <a:pt x="5700" y="9729"/>
                    <a:pt x="2849" y="9729"/>
                  </a:cubicBezTo>
                  <a:cubicBezTo>
                    <a:pt x="0" y="9729"/>
                    <a:pt x="0" y="6879"/>
                    <a:pt x="0" y="4030"/>
                  </a:cubicBezTo>
                  <a:cubicBezTo>
                    <a:pt x="0" y="1180"/>
                    <a:pt x="2849" y="-1669"/>
                    <a:pt x="5700" y="1180"/>
                  </a:cubicBezTo>
                  <a:cubicBezTo>
                    <a:pt x="11399" y="1180"/>
                    <a:pt x="111135" y="38225"/>
                    <a:pt x="113984" y="212051"/>
                  </a:cubicBezTo>
                  <a:cubicBezTo>
                    <a:pt x="116833" y="383027"/>
                    <a:pt x="108285" y="531206"/>
                    <a:pt x="108285" y="531206"/>
                  </a:cubicBezTo>
                  <a:cubicBezTo>
                    <a:pt x="111135" y="534056"/>
                    <a:pt x="108285" y="534056"/>
                    <a:pt x="105436" y="534056"/>
                  </a:cubicBezTo>
                  <a:close/>
                </a:path>
              </a:pathLst>
            </a:custGeom>
            <a:solidFill>
              <a:srgbClr val="38343B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99C13ABF-4A8A-4063-85A6-67B6F597B303}"/>
                </a:ext>
              </a:extLst>
            </p:cNvPr>
            <p:cNvSpPr/>
            <p:nvPr/>
          </p:nvSpPr>
          <p:spPr>
            <a:xfrm>
              <a:off x="20680339" y="9066432"/>
              <a:ext cx="233376" cy="282856"/>
            </a:xfrm>
            <a:custGeom>
              <a:avLst/>
              <a:gdLst>
                <a:gd name="connsiteX0" fmla="*/ 226965 w 233376"/>
                <a:gd name="connsiteY0" fmla="*/ 154624 h 282856"/>
                <a:gd name="connsiteX1" fmla="*/ 232665 w 233376"/>
                <a:gd name="connsiteY1" fmla="*/ 103330 h 282856"/>
                <a:gd name="connsiteX2" fmla="*/ 229816 w 233376"/>
                <a:gd name="connsiteY2" fmla="*/ 69136 h 282856"/>
                <a:gd name="connsiteX3" fmla="*/ 189921 w 233376"/>
                <a:gd name="connsiteY3" fmla="*/ 34940 h 282856"/>
                <a:gd name="connsiteX4" fmla="*/ 158576 w 233376"/>
                <a:gd name="connsiteY4" fmla="*/ 745 h 282856"/>
                <a:gd name="connsiteX5" fmla="*/ 4696 w 233376"/>
                <a:gd name="connsiteY5" fmla="*/ 205916 h 282856"/>
                <a:gd name="connsiteX6" fmla="*/ 112981 w 233376"/>
                <a:gd name="connsiteY6" fmla="*/ 282856 h 282856"/>
                <a:gd name="connsiteX7" fmla="*/ 209868 w 233376"/>
                <a:gd name="connsiteY7" fmla="*/ 194518 h 282856"/>
                <a:gd name="connsiteX8" fmla="*/ 226965 w 233376"/>
                <a:gd name="connsiteY8" fmla="*/ 154624 h 282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3376" h="282856">
                  <a:moveTo>
                    <a:pt x="226965" y="154624"/>
                  </a:moveTo>
                  <a:cubicBezTo>
                    <a:pt x="224116" y="146074"/>
                    <a:pt x="232665" y="120428"/>
                    <a:pt x="232665" y="103330"/>
                  </a:cubicBezTo>
                  <a:cubicBezTo>
                    <a:pt x="232665" y="100482"/>
                    <a:pt x="235514" y="77684"/>
                    <a:pt x="229816" y="69136"/>
                  </a:cubicBezTo>
                  <a:cubicBezTo>
                    <a:pt x="224116" y="57737"/>
                    <a:pt x="178521" y="49188"/>
                    <a:pt x="189921" y="34940"/>
                  </a:cubicBezTo>
                  <a:cubicBezTo>
                    <a:pt x="195620" y="23542"/>
                    <a:pt x="167124" y="-4954"/>
                    <a:pt x="158576" y="745"/>
                  </a:cubicBezTo>
                  <a:cubicBezTo>
                    <a:pt x="107281" y="34940"/>
                    <a:pt x="-26649" y="131826"/>
                    <a:pt x="4696" y="205916"/>
                  </a:cubicBezTo>
                  <a:cubicBezTo>
                    <a:pt x="4696" y="205916"/>
                    <a:pt x="81636" y="280006"/>
                    <a:pt x="112981" y="282856"/>
                  </a:cubicBezTo>
                  <a:cubicBezTo>
                    <a:pt x="158576" y="282856"/>
                    <a:pt x="178521" y="223014"/>
                    <a:pt x="209868" y="194518"/>
                  </a:cubicBezTo>
                  <a:cubicBezTo>
                    <a:pt x="226965" y="174571"/>
                    <a:pt x="232665" y="171722"/>
                    <a:pt x="226965" y="154624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2" name="图形 1">
              <a:extLst>
                <a:ext uri="{FF2B5EF4-FFF2-40B4-BE49-F238E27FC236}">
                  <a16:creationId xmlns:a16="http://schemas.microsoft.com/office/drawing/2014/main" id="{6DF697E0-326E-4792-B30F-F7380F2ECCF4}"/>
                </a:ext>
              </a:extLst>
            </p:cNvPr>
            <p:cNvGrpSpPr/>
            <p:nvPr/>
          </p:nvGrpSpPr>
          <p:grpSpPr>
            <a:xfrm>
              <a:off x="19348570" y="8186115"/>
              <a:ext cx="479280" cy="180059"/>
              <a:chOff x="19348570" y="8186115"/>
              <a:chExt cx="479280" cy="180059"/>
            </a:xfrm>
          </p:grpSpPr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9A5BB2CD-516C-4C31-9305-BC659A99136F}"/>
                  </a:ext>
                </a:extLst>
              </p:cNvPr>
              <p:cNvSpPr/>
              <p:nvPr/>
            </p:nvSpPr>
            <p:spPr>
              <a:xfrm>
                <a:off x="19348570" y="8243641"/>
                <a:ext cx="82639" cy="68536"/>
              </a:xfrm>
              <a:custGeom>
                <a:avLst/>
                <a:gdLst>
                  <a:gd name="connsiteX0" fmla="*/ 76940 w 82639"/>
                  <a:gd name="connsiteY0" fmla="*/ 31345 h 68536"/>
                  <a:gd name="connsiteX1" fmla="*/ 0 w 82639"/>
                  <a:gd name="connsiteY1" fmla="*/ 0 h 68536"/>
                  <a:gd name="connsiteX2" fmla="*/ 14248 w 82639"/>
                  <a:gd name="connsiteY2" fmla="*/ 31345 h 68536"/>
                  <a:gd name="connsiteX3" fmla="*/ 82639 w 82639"/>
                  <a:gd name="connsiteY3" fmla="*/ 68390 h 68536"/>
                  <a:gd name="connsiteX4" fmla="*/ 76940 w 82639"/>
                  <a:gd name="connsiteY4" fmla="*/ 31345 h 68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639" h="68536">
                    <a:moveTo>
                      <a:pt x="76940" y="31345"/>
                    </a:moveTo>
                    <a:cubicBezTo>
                      <a:pt x="76940" y="31345"/>
                      <a:pt x="34196" y="25646"/>
                      <a:pt x="0" y="0"/>
                    </a:cubicBezTo>
                    <a:cubicBezTo>
                      <a:pt x="0" y="0"/>
                      <a:pt x="5700" y="22797"/>
                      <a:pt x="14248" y="31345"/>
                    </a:cubicBezTo>
                    <a:cubicBezTo>
                      <a:pt x="14248" y="31345"/>
                      <a:pt x="45595" y="71240"/>
                      <a:pt x="82639" y="68390"/>
                    </a:cubicBezTo>
                    <a:lnTo>
                      <a:pt x="76940" y="31345"/>
                    </a:ln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8A209B3F-7A41-421A-953E-DA4E8DD6CD8F}"/>
                  </a:ext>
                </a:extLst>
              </p:cNvPr>
              <p:cNvSpPr/>
              <p:nvPr/>
            </p:nvSpPr>
            <p:spPr>
              <a:xfrm>
                <a:off x="19413566" y="8186115"/>
                <a:ext cx="410888" cy="180059"/>
              </a:xfrm>
              <a:custGeom>
                <a:avLst/>
                <a:gdLst>
                  <a:gd name="connsiteX0" fmla="*/ 410888 w 410888"/>
                  <a:gd name="connsiteY0" fmla="*/ 31880 h 180059"/>
                  <a:gd name="connsiteX1" fmla="*/ 393791 w 410888"/>
                  <a:gd name="connsiteY1" fmla="*/ 40429 h 180059"/>
                  <a:gd name="connsiteX2" fmla="*/ 373844 w 410888"/>
                  <a:gd name="connsiteY2" fmla="*/ 37579 h 180059"/>
                  <a:gd name="connsiteX3" fmla="*/ 368144 w 410888"/>
                  <a:gd name="connsiteY3" fmla="*/ 123067 h 180059"/>
                  <a:gd name="connsiteX4" fmla="*/ 345348 w 410888"/>
                  <a:gd name="connsiteY4" fmla="*/ 143015 h 180059"/>
                  <a:gd name="connsiteX5" fmla="*/ 74635 w 410888"/>
                  <a:gd name="connsiteY5" fmla="*/ 160112 h 180059"/>
                  <a:gd name="connsiteX6" fmla="*/ 74635 w 410888"/>
                  <a:gd name="connsiteY6" fmla="*/ 180060 h 180059"/>
                  <a:gd name="connsiteX7" fmla="*/ 31891 w 410888"/>
                  <a:gd name="connsiteY7" fmla="*/ 162962 h 180059"/>
                  <a:gd name="connsiteX8" fmla="*/ 29042 w 410888"/>
                  <a:gd name="connsiteY8" fmla="*/ 162962 h 180059"/>
                  <a:gd name="connsiteX9" fmla="*/ 29042 w 410888"/>
                  <a:gd name="connsiteY9" fmla="*/ 162962 h 180059"/>
                  <a:gd name="connsiteX10" fmla="*/ 29042 w 410888"/>
                  <a:gd name="connsiteY10" fmla="*/ 162962 h 180059"/>
                  <a:gd name="connsiteX11" fmla="*/ 17643 w 410888"/>
                  <a:gd name="connsiteY11" fmla="*/ 148714 h 180059"/>
                  <a:gd name="connsiteX12" fmla="*/ 546 w 410888"/>
                  <a:gd name="connsiteY12" fmla="*/ 48978 h 180059"/>
                  <a:gd name="connsiteX13" fmla="*/ 20492 w 410888"/>
                  <a:gd name="connsiteY13" fmla="*/ 26181 h 180059"/>
                  <a:gd name="connsiteX14" fmla="*/ 348197 w 410888"/>
                  <a:gd name="connsiteY14" fmla="*/ 534 h 180059"/>
                  <a:gd name="connsiteX15" fmla="*/ 362445 w 410888"/>
                  <a:gd name="connsiteY15" fmla="*/ 6233 h 180059"/>
                  <a:gd name="connsiteX16" fmla="*/ 362445 w 410888"/>
                  <a:gd name="connsiteY16" fmla="*/ 6233 h 180059"/>
                  <a:gd name="connsiteX17" fmla="*/ 410888 w 410888"/>
                  <a:gd name="connsiteY17" fmla="*/ 31880 h 180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10888" h="180059">
                    <a:moveTo>
                      <a:pt x="410888" y="31880"/>
                    </a:moveTo>
                    <a:cubicBezTo>
                      <a:pt x="405189" y="34730"/>
                      <a:pt x="399491" y="37579"/>
                      <a:pt x="393791" y="40429"/>
                    </a:cubicBezTo>
                    <a:cubicBezTo>
                      <a:pt x="388092" y="40429"/>
                      <a:pt x="382392" y="37579"/>
                      <a:pt x="373844" y="37579"/>
                    </a:cubicBezTo>
                    <a:cubicBezTo>
                      <a:pt x="373844" y="66075"/>
                      <a:pt x="370995" y="94571"/>
                      <a:pt x="368144" y="123067"/>
                    </a:cubicBezTo>
                    <a:cubicBezTo>
                      <a:pt x="368144" y="134466"/>
                      <a:pt x="356747" y="143015"/>
                      <a:pt x="345348" y="143015"/>
                    </a:cubicBezTo>
                    <a:cubicBezTo>
                      <a:pt x="254160" y="140165"/>
                      <a:pt x="162972" y="145864"/>
                      <a:pt x="74635" y="160112"/>
                    </a:cubicBezTo>
                    <a:cubicBezTo>
                      <a:pt x="74635" y="165811"/>
                      <a:pt x="74635" y="174360"/>
                      <a:pt x="74635" y="180060"/>
                    </a:cubicBezTo>
                    <a:cubicBezTo>
                      <a:pt x="60387" y="174360"/>
                      <a:pt x="46139" y="168661"/>
                      <a:pt x="31891" y="162962"/>
                    </a:cubicBezTo>
                    <a:cubicBezTo>
                      <a:pt x="31891" y="162962"/>
                      <a:pt x="29042" y="162962"/>
                      <a:pt x="29042" y="162962"/>
                    </a:cubicBezTo>
                    <a:lnTo>
                      <a:pt x="29042" y="162962"/>
                    </a:lnTo>
                    <a:lnTo>
                      <a:pt x="29042" y="162962"/>
                    </a:lnTo>
                    <a:cubicBezTo>
                      <a:pt x="23343" y="160112"/>
                      <a:pt x="17643" y="154413"/>
                      <a:pt x="17643" y="148714"/>
                    </a:cubicBezTo>
                    <a:cubicBezTo>
                      <a:pt x="11944" y="114519"/>
                      <a:pt x="6244" y="80323"/>
                      <a:pt x="546" y="48978"/>
                    </a:cubicBezTo>
                    <a:cubicBezTo>
                      <a:pt x="-2304" y="37579"/>
                      <a:pt x="6244" y="29030"/>
                      <a:pt x="20492" y="26181"/>
                    </a:cubicBezTo>
                    <a:cubicBezTo>
                      <a:pt x="128779" y="6233"/>
                      <a:pt x="237063" y="-2315"/>
                      <a:pt x="348197" y="534"/>
                    </a:cubicBezTo>
                    <a:cubicBezTo>
                      <a:pt x="353896" y="534"/>
                      <a:pt x="359596" y="3384"/>
                      <a:pt x="362445" y="6233"/>
                    </a:cubicBezTo>
                    <a:lnTo>
                      <a:pt x="362445" y="6233"/>
                    </a:lnTo>
                    <a:cubicBezTo>
                      <a:pt x="382392" y="14782"/>
                      <a:pt x="396640" y="23331"/>
                      <a:pt x="410888" y="3188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46" name="图形 1">
                <a:extLst>
                  <a:ext uri="{FF2B5EF4-FFF2-40B4-BE49-F238E27FC236}">
                    <a16:creationId xmlns:a16="http://schemas.microsoft.com/office/drawing/2014/main" id="{468EFE83-03FC-4AB9-ACAC-A8D344979673}"/>
                  </a:ext>
                </a:extLst>
              </p:cNvPr>
              <p:cNvGrpSpPr/>
              <p:nvPr/>
            </p:nvGrpSpPr>
            <p:grpSpPr>
              <a:xfrm>
                <a:off x="19459263" y="8210111"/>
                <a:ext cx="368588" cy="156062"/>
                <a:chOff x="19459263" y="8210111"/>
                <a:chExt cx="368588" cy="156062"/>
              </a:xfrm>
            </p:grpSpPr>
            <p:sp>
              <p:nvSpPr>
                <p:cNvPr id="147" name="任意多边形: 形状 146">
                  <a:extLst>
                    <a:ext uri="{FF2B5EF4-FFF2-40B4-BE49-F238E27FC236}">
                      <a16:creationId xmlns:a16="http://schemas.microsoft.com/office/drawing/2014/main" id="{6689C0C4-AB5C-4F2D-B181-9181EB877D23}"/>
                    </a:ext>
                  </a:extLst>
                </p:cNvPr>
                <p:cNvSpPr/>
                <p:nvPr/>
              </p:nvSpPr>
              <p:spPr>
                <a:xfrm>
                  <a:off x="19459263" y="8210111"/>
                  <a:ext cx="368588" cy="156062"/>
                </a:xfrm>
                <a:custGeom>
                  <a:avLst/>
                  <a:gdLst>
                    <a:gd name="connsiteX0" fmla="*/ 348095 w 368588"/>
                    <a:gd name="connsiteY0" fmla="*/ 2184 h 156062"/>
                    <a:gd name="connsiteX1" fmla="*/ 20390 w 368588"/>
                    <a:gd name="connsiteY1" fmla="*/ 16432 h 156062"/>
                    <a:gd name="connsiteX2" fmla="*/ 443 w 368588"/>
                    <a:gd name="connsiteY2" fmla="*/ 39229 h 156062"/>
                    <a:gd name="connsiteX3" fmla="*/ 14691 w 368588"/>
                    <a:gd name="connsiteY3" fmla="*/ 138965 h 156062"/>
                    <a:gd name="connsiteX4" fmla="*/ 37487 w 368588"/>
                    <a:gd name="connsiteY4" fmla="*/ 156063 h 156062"/>
                    <a:gd name="connsiteX5" fmla="*/ 336696 w 368588"/>
                    <a:gd name="connsiteY5" fmla="*/ 141815 h 156062"/>
                    <a:gd name="connsiteX6" fmla="*/ 359492 w 368588"/>
                    <a:gd name="connsiteY6" fmla="*/ 124717 h 156062"/>
                    <a:gd name="connsiteX7" fmla="*/ 368042 w 368588"/>
                    <a:gd name="connsiteY7" fmla="*/ 22131 h 156062"/>
                    <a:gd name="connsiteX8" fmla="*/ 348095 w 368588"/>
                    <a:gd name="connsiteY8" fmla="*/ 2184 h 156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8588" h="156062">
                      <a:moveTo>
                        <a:pt x="348095" y="2184"/>
                      </a:moveTo>
                      <a:cubicBezTo>
                        <a:pt x="236960" y="-3515"/>
                        <a:pt x="128675" y="2184"/>
                        <a:pt x="20390" y="16432"/>
                      </a:cubicBezTo>
                      <a:cubicBezTo>
                        <a:pt x="8991" y="19282"/>
                        <a:pt x="-2406" y="27831"/>
                        <a:pt x="443" y="39229"/>
                      </a:cubicBezTo>
                      <a:cubicBezTo>
                        <a:pt x="6142" y="73424"/>
                        <a:pt x="8991" y="107619"/>
                        <a:pt x="14691" y="138965"/>
                      </a:cubicBezTo>
                      <a:cubicBezTo>
                        <a:pt x="17540" y="150363"/>
                        <a:pt x="26090" y="156063"/>
                        <a:pt x="37487" y="156063"/>
                      </a:cubicBezTo>
                      <a:cubicBezTo>
                        <a:pt x="134374" y="141815"/>
                        <a:pt x="234111" y="136115"/>
                        <a:pt x="336696" y="141815"/>
                      </a:cubicBezTo>
                      <a:cubicBezTo>
                        <a:pt x="348095" y="141815"/>
                        <a:pt x="359492" y="133266"/>
                        <a:pt x="359492" y="124717"/>
                      </a:cubicBezTo>
                      <a:cubicBezTo>
                        <a:pt x="362343" y="90522"/>
                        <a:pt x="365192" y="56327"/>
                        <a:pt x="368042" y="22131"/>
                      </a:cubicBezTo>
                      <a:cubicBezTo>
                        <a:pt x="370891" y="13583"/>
                        <a:pt x="362343" y="5034"/>
                        <a:pt x="348095" y="2184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CCD9E22D-98EC-4FF8-B4D7-060E1DA7BF71}"/>
                    </a:ext>
                  </a:extLst>
                </p:cNvPr>
                <p:cNvSpPr/>
                <p:nvPr/>
              </p:nvSpPr>
              <p:spPr>
                <a:xfrm>
                  <a:off x="19484800" y="8219851"/>
                  <a:ext cx="322557" cy="138333"/>
                </a:xfrm>
                <a:custGeom>
                  <a:avLst/>
                  <a:gdLst>
                    <a:gd name="connsiteX0" fmla="*/ 302610 w 322557"/>
                    <a:gd name="connsiteY0" fmla="*/ 993 h 138333"/>
                    <a:gd name="connsiteX1" fmla="*/ 17650 w 322557"/>
                    <a:gd name="connsiteY1" fmla="*/ 15241 h 138333"/>
                    <a:gd name="connsiteX2" fmla="*/ 553 w 322557"/>
                    <a:gd name="connsiteY2" fmla="*/ 35188 h 138333"/>
                    <a:gd name="connsiteX3" fmla="*/ 11950 w 322557"/>
                    <a:gd name="connsiteY3" fmla="*/ 123526 h 138333"/>
                    <a:gd name="connsiteX4" fmla="*/ 31898 w 322557"/>
                    <a:gd name="connsiteY4" fmla="*/ 137774 h 138333"/>
                    <a:gd name="connsiteX5" fmla="*/ 296910 w 322557"/>
                    <a:gd name="connsiteY5" fmla="*/ 126375 h 138333"/>
                    <a:gd name="connsiteX6" fmla="*/ 316858 w 322557"/>
                    <a:gd name="connsiteY6" fmla="*/ 109278 h 138333"/>
                    <a:gd name="connsiteX7" fmla="*/ 322558 w 322557"/>
                    <a:gd name="connsiteY7" fmla="*/ 20940 h 138333"/>
                    <a:gd name="connsiteX8" fmla="*/ 302610 w 322557"/>
                    <a:gd name="connsiteY8" fmla="*/ 993 h 1383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2557" h="138333">
                      <a:moveTo>
                        <a:pt x="302610" y="993"/>
                      </a:moveTo>
                      <a:cubicBezTo>
                        <a:pt x="205723" y="-1857"/>
                        <a:pt x="111686" y="993"/>
                        <a:pt x="17650" y="15241"/>
                      </a:cubicBezTo>
                      <a:cubicBezTo>
                        <a:pt x="6250" y="18091"/>
                        <a:pt x="-2298" y="26639"/>
                        <a:pt x="553" y="35188"/>
                      </a:cubicBezTo>
                      <a:cubicBezTo>
                        <a:pt x="3402" y="63684"/>
                        <a:pt x="9101" y="95030"/>
                        <a:pt x="11950" y="123526"/>
                      </a:cubicBezTo>
                      <a:cubicBezTo>
                        <a:pt x="11950" y="132075"/>
                        <a:pt x="23349" y="140624"/>
                        <a:pt x="31898" y="137774"/>
                      </a:cubicBezTo>
                      <a:cubicBezTo>
                        <a:pt x="117386" y="126375"/>
                        <a:pt x="205723" y="120676"/>
                        <a:pt x="296910" y="126375"/>
                      </a:cubicBezTo>
                      <a:cubicBezTo>
                        <a:pt x="308310" y="126375"/>
                        <a:pt x="316858" y="120676"/>
                        <a:pt x="316858" y="109278"/>
                      </a:cubicBezTo>
                      <a:cubicBezTo>
                        <a:pt x="319707" y="80782"/>
                        <a:pt x="322558" y="49436"/>
                        <a:pt x="322558" y="20940"/>
                      </a:cubicBezTo>
                      <a:cubicBezTo>
                        <a:pt x="322558" y="9542"/>
                        <a:pt x="314009" y="993"/>
                        <a:pt x="302610" y="993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9" name="任意多边形: 形状 148">
                  <a:extLst>
                    <a:ext uri="{FF2B5EF4-FFF2-40B4-BE49-F238E27FC236}">
                      <a16:creationId xmlns:a16="http://schemas.microsoft.com/office/drawing/2014/main" id="{0FE1DDA1-FCAC-44D0-BAFF-772589FEDF90}"/>
                    </a:ext>
                  </a:extLst>
                </p:cNvPr>
                <p:cNvSpPr/>
                <p:nvPr/>
              </p:nvSpPr>
              <p:spPr>
                <a:xfrm>
                  <a:off x="19536645" y="8232243"/>
                  <a:ext cx="94036" cy="108285"/>
                </a:xfrm>
                <a:custGeom>
                  <a:avLst/>
                  <a:gdLst>
                    <a:gd name="connsiteX0" fmla="*/ 71240 w 94036"/>
                    <a:gd name="connsiteY0" fmla="*/ 108285 h 108285"/>
                    <a:gd name="connsiteX1" fmla="*/ 94037 w 94036"/>
                    <a:gd name="connsiteY1" fmla="*/ 105436 h 108285"/>
                    <a:gd name="connsiteX2" fmla="*/ 25645 w 94036"/>
                    <a:gd name="connsiteY2" fmla="*/ 0 h 108285"/>
                    <a:gd name="connsiteX3" fmla="*/ 0 w 94036"/>
                    <a:gd name="connsiteY3" fmla="*/ 2850 h 108285"/>
                    <a:gd name="connsiteX4" fmla="*/ 71240 w 94036"/>
                    <a:gd name="connsiteY4" fmla="*/ 108285 h 108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036" h="108285">
                      <a:moveTo>
                        <a:pt x="71240" y="108285"/>
                      </a:moveTo>
                      <a:cubicBezTo>
                        <a:pt x="79789" y="108285"/>
                        <a:pt x="85488" y="108285"/>
                        <a:pt x="94037" y="105436"/>
                      </a:cubicBezTo>
                      <a:cubicBezTo>
                        <a:pt x="74089" y="71240"/>
                        <a:pt x="51293" y="34196"/>
                        <a:pt x="25645" y="0"/>
                      </a:cubicBezTo>
                      <a:cubicBezTo>
                        <a:pt x="17097" y="0"/>
                        <a:pt x="8548" y="2850"/>
                        <a:pt x="0" y="2850"/>
                      </a:cubicBezTo>
                      <a:cubicBezTo>
                        <a:pt x="25645" y="39895"/>
                        <a:pt x="48444" y="74090"/>
                        <a:pt x="71240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0" name="任意多边形: 形状 149">
                  <a:extLst>
                    <a:ext uri="{FF2B5EF4-FFF2-40B4-BE49-F238E27FC236}">
                      <a16:creationId xmlns:a16="http://schemas.microsoft.com/office/drawing/2014/main" id="{8F9E74EC-0CFB-4CDC-95A5-F40E54FC83EA}"/>
                    </a:ext>
                  </a:extLst>
                </p:cNvPr>
                <p:cNvSpPr/>
                <p:nvPr/>
              </p:nvSpPr>
              <p:spPr>
                <a:xfrm>
                  <a:off x="19585089" y="8229393"/>
                  <a:ext cx="111133" cy="108285"/>
                </a:xfrm>
                <a:custGeom>
                  <a:avLst/>
                  <a:gdLst>
                    <a:gd name="connsiteX0" fmla="*/ 68389 w 111133"/>
                    <a:gd name="connsiteY0" fmla="*/ 108285 h 108285"/>
                    <a:gd name="connsiteX1" fmla="*/ 111134 w 111133"/>
                    <a:gd name="connsiteY1" fmla="*/ 108285 h 108285"/>
                    <a:gd name="connsiteX2" fmla="*/ 48442 w 111133"/>
                    <a:gd name="connsiteY2" fmla="*/ 0 h 108285"/>
                    <a:gd name="connsiteX3" fmla="*/ 0 w 111133"/>
                    <a:gd name="connsiteY3" fmla="*/ 2849 h 108285"/>
                    <a:gd name="connsiteX4" fmla="*/ 68389 w 111133"/>
                    <a:gd name="connsiteY4" fmla="*/ 108285 h 108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1133" h="108285">
                      <a:moveTo>
                        <a:pt x="68389" y="108285"/>
                      </a:moveTo>
                      <a:cubicBezTo>
                        <a:pt x="82637" y="108285"/>
                        <a:pt x="96886" y="108285"/>
                        <a:pt x="111134" y="108285"/>
                      </a:cubicBezTo>
                      <a:cubicBezTo>
                        <a:pt x="91186" y="71240"/>
                        <a:pt x="71240" y="37045"/>
                        <a:pt x="48442" y="0"/>
                      </a:cubicBezTo>
                      <a:cubicBezTo>
                        <a:pt x="31345" y="0"/>
                        <a:pt x="17097" y="2849"/>
                        <a:pt x="0" y="2849"/>
                      </a:cubicBezTo>
                      <a:cubicBezTo>
                        <a:pt x="25645" y="37045"/>
                        <a:pt x="48442" y="71240"/>
                        <a:pt x="68389" y="108285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284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23" name="图形 1">
              <a:extLst>
                <a:ext uri="{FF2B5EF4-FFF2-40B4-BE49-F238E27FC236}">
                  <a16:creationId xmlns:a16="http://schemas.microsoft.com/office/drawing/2014/main" id="{7E326F26-0F7B-4C0A-B7EA-7E0B6ACA02D4}"/>
                </a:ext>
              </a:extLst>
            </p:cNvPr>
            <p:cNvGrpSpPr/>
            <p:nvPr/>
          </p:nvGrpSpPr>
          <p:grpSpPr>
            <a:xfrm>
              <a:off x="19630628" y="8936042"/>
              <a:ext cx="228022" cy="477034"/>
              <a:chOff x="19630628" y="8936042"/>
              <a:chExt cx="228022" cy="477034"/>
            </a:xfrm>
          </p:grpSpPr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26A86A19-4E8F-4A61-90F1-1AF17CEF81B5}"/>
                  </a:ext>
                </a:extLst>
              </p:cNvPr>
              <p:cNvSpPr/>
              <p:nvPr/>
            </p:nvSpPr>
            <p:spPr>
              <a:xfrm>
                <a:off x="19650629" y="9027282"/>
                <a:ext cx="208020" cy="385794"/>
              </a:xfrm>
              <a:custGeom>
                <a:avLst/>
                <a:gdLst>
                  <a:gd name="connsiteX0" fmla="*/ 162428 w 208020"/>
                  <a:gd name="connsiteY0" fmla="*/ 384697 h 385794"/>
                  <a:gd name="connsiteX1" fmla="*/ 162428 w 208020"/>
                  <a:gd name="connsiteY1" fmla="*/ 384697 h 385794"/>
                  <a:gd name="connsiteX2" fmla="*/ 99736 w 208020"/>
                  <a:gd name="connsiteY2" fmla="*/ 347652 h 385794"/>
                  <a:gd name="connsiteX3" fmla="*/ 0 w 208020"/>
                  <a:gd name="connsiteY3" fmla="*/ 37045 h 385794"/>
                  <a:gd name="connsiteX4" fmla="*/ 176676 w 208020"/>
                  <a:gd name="connsiteY4" fmla="*/ 0 h 385794"/>
                  <a:gd name="connsiteX5" fmla="*/ 208021 w 208020"/>
                  <a:gd name="connsiteY5" fmla="*/ 324856 h 385794"/>
                  <a:gd name="connsiteX6" fmla="*/ 162428 w 208020"/>
                  <a:gd name="connsiteY6" fmla="*/ 384697 h 385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8020" h="385794">
                    <a:moveTo>
                      <a:pt x="162428" y="384697"/>
                    </a:moveTo>
                    <a:lnTo>
                      <a:pt x="162428" y="384697"/>
                    </a:lnTo>
                    <a:cubicBezTo>
                      <a:pt x="133932" y="390396"/>
                      <a:pt x="108285" y="373298"/>
                      <a:pt x="99736" y="347652"/>
                    </a:cubicBezTo>
                    <a:lnTo>
                      <a:pt x="0" y="37045"/>
                    </a:lnTo>
                    <a:lnTo>
                      <a:pt x="176676" y="0"/>
                    </a:lnTo>
                    <a:lnTo>
                      <a:pt x="208021" y="324856"/>
                    </a:lnTo>
                    <a:cubicBezTo>
                      <a:pt x="208021" y="353352"/>
                      <a:pt x="190924" y="378998"/>
                      <a:pt x="162428" y="384697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32836610-01E5-4C7C-B642-8FAF031E2CB1}"/>
                  </a:ext>
                </a:extLst>
              </p:cNvPr>
              <p:cNvSpPr/>
              <p:nvPr/>
            </p:nvSpPr>
            <p:spPr>
              <a:xfrm>
                <a:off x="19630628" y="8936042"/>
                <a:ext cx="213974" cy="216676"/>
              </a:xfrm>
              <a:custGeom>
                <a:avLst/>
                <a:gdLst>
                  <a:gd name="connsiteX0" fmla="*/ 210925 w 213974"/>
                  <a:gd name="connsiteY0" fmla="*/ 85541 h 216676"/>
                  <a:gd name="connsiteX1" fmla="*/ 85542 w 213974"/>
                  <a:gd name="connsiteY1" fmla="*/ 2903 h 216676"/>
                  <a:gd name="connsiteX2" fmla="*/ 2903 w 213974"/>
                  <a:gd name="connsiteY2" fmla="*/ 131135 h 216676"/>
                  <a:gd name="connsiteX3" fmla="*/ 128286 w 213974"/>
                  <a:gd name="connsiteY3" fmla="*/ 213773 h 216676"/>
                  <a:gd name="connsiteX4" fmla="*/ 210925 w 213974"/>
                  <a:gd name="connsiteY4" fmla="*/ 85541 h 216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974" h="216676">
                    <a:moveTo>
                      <a:pt x="210925" y="85541"/>
                    </a:moveTo>
                    <a:cubicBezTo>
                      <a:pt x="199526" y="28549"/>
                      <a:pt x="142534" y="-11345"/>
                      <a:pt x="85542" y="2903"/>
                    </a:cubicBezTo>
                    <a:cubicBezTo>
                      <a:pt x="28550" y="14301"/>
                      <a:pt x="-11345" y="71293"/>
                      <a:pt x="2903" y="131135"/>
                    </a:cubicBezTo>
                    <a:cubicBezTo>
                      <a:pt x="14302" y="188127"/>
                      <a:pt x="71294" y="228021"/>
                      <a:pt x="128286" y="213773"/>
                    </a:cubicBezTo>
                    <a:cubicBezTo>
                      <a:pt x="188127" y="202375"/>
                      <a:pt x="225173" y="145383"/>
                      <a:pt x="210925" y="85541"/>
                    </a:cubicBezTo>
                    <a:close/>
                  </a:path>
                </a:pathLst>
              </a:custGeom>
              <a:solidFill>
                <a:srgbClr val="6C5D6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4" name="图形 1">
              <a:extLst>
                <a:ext uri="{FF2B5EF4-FFF2-40B4-BE49-F238E27FC236}">
                  <a16:creationId xmlns:a16="http://schemas.microsoft.com/office/drawing/2014/main" id="{9F0631CD-FA8B-4966-B444-97C42FBC9CC3}"/>
                </a:ext>
              </a:extLst>
            </p:cNvPr>
            <p:cNvGrpSpPr/>
            <p:nvPr/>
          </p:nvGrpSpPr>
          <p:grpSpPr>
            <a:xfrm>
              <a:off x="20670733" y="8827757"/>
              <a:ext cx="230871" cy="474185"/>
              <a:chOff x="20670733" y="8827757"/>
              <a:chExt cx="230871" cy="474185"/>
            </a:xfrm>
          </p:grpSpPr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47666B66-5BCC-47E7-8F14-B506DA23B687}"/>
                  </a:ext>
                </a:extLst>
              </p:cNvPr>
              <p:cNvSpPr/>
              <p:nvPr/>
            </p:nvSpPr>
            <p:spPr>
              <a:xfrm>
                <a:off x="20693584" y="8916148"/>
                <a:ext cx="208020" cy="385794"/>
              </a:xfrm>
              <a:custGeom>
                <a:avLst/>
                <a:gdLst>
                  <a:gd name="connsiteX0" fmla="*/ 162428 w 208020"/>
                  <a:gd name="connsiteY0" fmla="*/ 384697 h 385794"/>
                  <a:gd name="connsiteX1" fmla="*/ 162428 w 208020"/>
                  <a:gd name="connsiteY1" fmla="*/ 384697 h 385794"/>
                  <a:gd name="connsiteX2" fmla="*/ 99736 w 208020"/>
                  <a:gd name="connsiteY2" fmla="*/ 347652 h 385794"/>
                  <a:gd name="connsiteX3" fmla="*/ 0 w 208020"/>
                  <a:gd name="connsiteY3" fmla="*/ 37045 h 385794"/>
                  <a:gd name="connsiteX4" fmla="*/ 176676 w 208020"/>
                  <a:gd name="connsiteY4" fmla="*/ 0 h 385794"/>
                  <a:gd name="connsiteX5" fmla="*/ 208021 w 208020"/>
                  <a:gd name="connsiteY5" fmla="*/ 324855 h 385794"/>
                  <a:gd name="connsiteX6" fmla="*/ 162428 w 208020"/>
                  <a:gd name="connsiteY6" fmla="*/ 384697 h 385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8020" h="385794">
                    <a:moveTo>
                      <a:pt x="162428" y="384697"/>
                    </a:moveTo>
                    <a:lnTo>
                      <a:pt x="162428" y="384697"/>
                    </a:lnTo>
                    <a:cubicBezTo>
                      <a:pt x="133932" y="390396"/>
                      <a:pt x="108285" y="373298"/>
                      <a:pt x="99736" y="347652"/>
                    </a:cubicBezTo>
                    <a:lnTo>
                      <a:pt x="0" y="37045"/>
                    </a:lnTo>
                    <a:lnTo>
                      <a:pt x="176676" y="0"/>
                    </a:lnTo>
                    <a:lnTo>
                      <a:pt x="208021" y="324855"/>
                    </a:lnTo>
                    <a:cubicBezTo>
                      <a:pt x="208021" y="353351"/>
                      <a:pt x="188075" y="378998"/>
                      <a:pt x="162428" y="384697"/>
                    </a:cubicBezTo>
                    <a:close/>
                  </a:path>
                </a:pathLst>
              </a:custGeom>
              <a:solidFill>
                <a:srgbClr val="38333D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372AB70E-2D58-4106-A317-1AF04A52A08F}"/>
                  </a:ext>
                </a:extLst>
              </p:cNvPr>
              <p:cNvSpPr/>
              <p:nvPr/>
            </p:nvSpPr>
            <p:spPr>
              <a:xfrm>
                <a:off x="20670733" y="8827757"/>
                <a:ext cx="215829" cy="213827"/>
              </a:xfrm>
              <a:custGeom>
                <a:avLst/>
                <a:gdLst>
                  <a:gd name="connsiteX0" fmla="*/ 213774 w 215829"/>
                  <a:gd name="connsiteY0" fmla="*/ 85542 h 213827"/>
                  <a:gd name="connsiteX1" fmla="*/ 85542 w 215829"/>
                  <a:gd name="connsiteY1" fmla="*/ 2903 h 213827"/>
                  <a:gd name="connsiteX2" fmla="*/ 2903 w 215829"/>
                  <a:gd name="connsiteY2" fmla="*/ 128285 h 213827"/>
                  <a:gd name="connsiteX3" fmla="*/ 128286 w 215829"/>
                  <a:gd name="connsiteY3" fmla="*/ 210924 h 213827"/>
                  <a:gd name="connsiteX4" fmla="*/ 213774 w 215829"/>
                  <a:gd name="connsiteY4" fmla="*/ 85542 h 213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5829" h="213827">
                    <a:moveTo>
                      <a:pt x="213774" y="85542"/>
                    </a:moveTo>
                    <a:cubicBezTo>
                      <a:pt x="202375" y="28549"/>
                      <a:pt x="145383" y="-11345"/>
                      <a:pt x="85542" y="2903"/>
                    </a:cubicBezTo>
                    <a:cubicBezTo>
                      <a:pt x="28550" y="14301"/>
                      <a:pt x="-11345" y="71294"/>
                      <a:pt x="2903" y="128285"/>
                    </a:cubicBezTo>
                    <a:cubicBezTo>
                      <a:pt x="14302" y="185277"/>
                      <a:pt x="71294" y="225172"/>
                      <a:pt x="128286" y="210924"/>
                    </a:cubicBezTo>
                    <a:cubicBezTo>
                      <a:pt x="188127" y="199525"/>
                      <a:pt x="225173" y="142533"/>
                      <a:pt x="213774" y="85542"/>
                    </a:cubicBezTo>
                    <a:close/>
                  </a:path>
                </a:pathLst>
              </a:custGeom>
              <a:solidFill>
                <a:srgbClr val="6C5D68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5" name="图形 1">
              <a:extLst>
                <a:ext uri="{FF2B5EF4-FFF2-40B4-BE49-F238E27FC236}">
                  <a16:creationId xmlns:a16="http://schemas.microsoft.com/office/drawing/2014/main" id="{7AD5C536-63DD-41C2-8726-2A5AE221F46F}"/>
                </a:ext>
              </a:extLst>
            </p:cNvPr>
            <p:cNvGrpSpPr/>
            <p:nvPr/>
          </p:nvGrpSpPr>
          <p:grpSpPr>
            <a:xfrm>
              <a:off x="19610517" y="9189710"/>
              <a:ext cx="265929" cy="288023"/>
              <a:chOff x="19610517" y="9189710"/>
              <a:chExt cx="265929" cy="288023"/>
            </a:xfrm>
          </p:grpSpPr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F2BB7926-83CA-4B07-99FA-A5D0A7A90DBC}"/>
                  </a:ext>
                </a:extLst>
              </p:cNvPr>
              <p:cNvSpPr/>
              <p:nvPr/>
            </p:nvSpPr>
            <p:spPr>
              <a:xfrm>
                <a:off x="19610517" y="9199303"/>
                <a:ext cx="265929" cy="278429"/>
              </a:xfrm>
              <a:custGeom>
                <a:avLst/>
                <a:gdLst>
                  <a:gd name="connsiteX0" fmla="*/ 159796 w 265929"/>
                  <a:gd name="connsiteY0" fmla="*/ 232623 h 278429"/>
                  <a:gd name="connsiteX1" fmla="*/ 242433 w 265929"/>
                  <a:gd name="connsiteY1" fmla="*/ 218375 h 278429"/>
                  <a:gd name="connsiteX2" fmla="*/ 245284 w 265929"/>
                  <a:gd name="connsiteY2" fmla="*/ 164232 h 278429"/>
                  <a:gd name="connsiteX3" fmla="*/ 265230 w 265929"/>
                  <a:gd name="connsiteY3" fmla="*/ 130037 h 278429"/>
                  <a:gd name="connsiteX4" fmla="*/ 248133 w 265929"/>
                  <a:gd name="connsiteY4" fmla="*/ 101541 h 278429"/>
                  <a:gd name="connsiteX5" fmla="*/ 228185 w 265929"/>
                  <a:gd name="connsiteY5" fmla="*/ 50248 h 278429"/>
                  <a:gd name="connsiteX6" fmla="*/ 222486 w 265929"/>
                  <a:gd name="connsiteY6" fmla="*/ 13203 h 278429"/>
                  <a:gd name="connsiteX7" fmla="*/ 159796 w 265929"/>
                  <a:gd name="connsiteY7" fmla="*/ 16053 h 278429"/>
                  <a:gd name="connsiteX8" fmla="*/ 217 w 265929"/>
                  <a:gd name="connsiteY8" fmla="*/ 198427 h 278429"/>
                  <a:gd name="connsiteX9" fmla="*/ 51509 w 265929"/>
                  <a:gd name="connsiteY9" fmla="*/ 269667 h 278429"/>
                  <a:gd name="connsiteX10" fmla="*/ 159796 w 265929"/>
                  <a:gd name="connsiteY10" fmla="*/ 232623 h 27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5929" h="278429">
                    <a:moveTo>
                      <a:pt x="159796" y="232623"/>
                    </a:moveTo>
                    <a:cubicBezTo>
                      <a:pt x="191141" y="221224"/>
                      <a:pt x="211088" y="232623"/>
                      <a:pt x="242433" y="218375"/>
                    </a:cubicBezTo>
                    <a:cubicBezTo>
                      <a:pt x="265230" y="206976"/>
                      <a:pt x="262381" y="181330"/>
                      <a:pt x="245284" y="164232"/>
                    </a:cubicBezTo>
                    <a:cubicBezTo>
                      <a:pt x="262381" y="158533"/>
                      <a:pt x="268080" y="147135"/>
                      <a:pt x="265230" y="130037"/>
                    </a:cubicBezTo>
                    <a:cubicBezTo>
                      <a:pt x="265230" y="121488"/>
                      <a:pt x="253832" y="104390"/>
                      <a:pt x="248133" y="101541"/>
                    </a:cubicBezTo>
                    <a:cubicBezTo>
                      <a:pt x="262381" y="92992"/>
                      <a:pt x="250982" y="53098"/>
                      <a:pt x="228185" y="50248"/>
                    </a:cubicBezTo>
                    <a:cubicBezTo>
                      <a:pt x="239584" y="36000"/>
                      <a:pt x="228185" y="21752"/>
                      <a:pt x="222486" y="13203"/>
                    </a:cubicBezTo>
                    <a:cubicBezTo>
                      <a:pt x="202540" y="-15293"/>
                      <a:pt x="174044" y="10354"/>
                      <a:pt x="159796" y="16053"/>
                    </a:cubicBezTo>
                    <a:cubicBezTo>
                      <a:pt x="74308" y="47398"/>
                      <a:pt x="20165" y="141435"/>
                      <a:pt x="217" y="198427"/>
                    </a:cubicBezTo>
                    <a:cubicBezTo>
                      <a:pt x="-2632" y="195578"/>
                      <a:pt x="23013" y="238322"/>
                      <a:pt x="51509" y="269667"/>
                    </a:cubicBezTo>
                    <a:cubicBezTo>
                      <a:pt x="71457" y="286765"/>
                      <a:pt x="117052" y="281066"/>
                      <a:pt x="159796" y="23262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4713DE00-1450-4E31-B011-407142261829}"/>
                  </a:ext>
                </a:extLst>
              </p:cNvPr>
              <p:cNvSpPr/>
              <p:nvPr/>
            </p:nvSpPr>
            <p:spPr>
              <a:xfrm>
                <a:off x="19691235" y="9189710"/>
                <a:ext cx="151741" cy="74089"/>
              </a:xfrm>
              <a:custGeom>
                <a:avLst/>
                <a:gdLst>
                  <a:gd name="connsiteX0" fmla="*/ 4987 w 151741"/>
                  <a:gd name="connsiteY0" fmla="*/ 74090 h 74089"/>
                  <a:gd name="connsiteX1" fmla="*/ 2138 w 151741"/>
                  <a:gd name="connsiteY1" fmla="*/ 71240 h 74089"/>
                  <a:gd name="connsiteX2" fmla="*/ 2138 w 151741"/>
                  <a:gd name="connsiteY2" fmla="*/ 62692 h 74089"/>
                  <a:gd name="connsiteX3" fmla="*/ 118971 w 151741"/>
                  <a:gd name="connsiteY3" fmla="*/ 0 h 74089"/>
                  <a:gd name="connsiteX4" fmla="*/ 118971 w 151741"/>
                  <a:gd name="connsiteY4" fmla="*/ 0 h 74089"/>
                  <a:gd name="connsiteX5" fmla="*/ 144618 w 151741"/>
                  <a:gd name="connsiteY5" fmla="*/ 11398 h 74089"/>
                  <a:gd name="connsiteX6" fmla="*/ 150318 w 151741"/>
                  <a:gd name="connsiteY6" fmla="*/ 56992 h 74089"/>
                  <a:gd name="connsiteX7" fmla="*/ 144618 w 151741"/>
                  <a:gd name="connsiteY7" fmla="*/ 59842 h 74089"/>
                  <a:gd name="connsiteX8" fmla="*/ 141768 w 151741"/>
                  <a:gd name="connsiteY8" fmla="*/ 54142 h 74089"/>
                  <a:gd name="connsiteX9" fmla="*/ 138919 w 151741"/>
                  <a:gd name="connsiteY9" fmla="*/ 17098 h 74089"/>
                  <a:gd name="connsiteX10" fmla="*/ 121822 w 151741"/>
                  <a:gd name="connsiteY10" fmla="*/ 11398 h 74089"/>
                  <a:gd name="connsiteX11" fmla="*/ 121822 w 151741"/>
                  <a:gd name="connsiteY11" fmla="*/ 11398 h 74089"/>
                  <a:gd name="connsiteX12" fmla="*/ 10686 w 151741"/>
                  <a:gd name="connsiteY12" fmla="*/ 71240 h 74089"/>
                  <a:gd name="connsiteX13" fmla="*/ 4987 w 151741"/>
                  <a:gd name="connsiteY13" fmla="*/ 74090 h 74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1741" h="74089">
                    <a:moveTo>
                      <a:pt x="4987" y="74090"/>
                    </a:moveTo>
                    <a:cubicBezTo>
                      <a:pt x="2138" y="74090"/>
                      <a:pt x="2138" y="74090"/>
                      <a:pt x="2138" y="71240"/>
                    </a:cubicBezTo>
                    <a:cubicBezTo>
                      <a:pt x="-713" y="68390"/>
                      <a:pt x="-713" y="65541"/>
                      <a:pt x="2138" y="62692"/>
                    </a:cubicBezTo>
                    <a:cubicBezTo>
                      <a:pt x="4987" y="59842"/>
                      <a:pt x="73378" y="0"/>
                      <a:pt x="118971" y="0"/>
                    </a:cubicBezTo>
                    <a:cubicBezTo>
                      <a:pt x="118971" y="0"/>
                      <a:pt x="118971" y="0"/>
                      <a:pt x="118971" y="0"/>
                    </a:cubicBezTo>
                    <a:cubicBezTo>
                      <a:pt x="130370" y="0"/>
                      <a:pt x="138919" y="2850"/>
                      <a:pt x="144618" y="11398"/>
                    </a:cubicBezTo>
                    <a:cubicBezTo>
                      <a:pt x="156016" y="28496"/>
                      <a:pt x="150318" y="54142"/>
                      <a:pt x="150318" y="56992"/>
                    </a:cubicBezTo>
                    <a:cubicBezTo>
                      <a:pt x="150318" y="59842"/>
                      <a:pt x="147467" y="62692"/>
                      <a:pt x="144618" y="59842"/>
                    </a:cubicBezTo>
                    <a:cubicBezTo>
                      <a:pt x="141768" y="59842"/>
                      <a:pt x="138919" y="56992"/>
                      <a:pt x="141768" y="54142"/>
                    </a:cubicBezTo>
                    <a:cubicBezTo>
                      <a:pt x="141768" y="54142"/>
                      <a:pt x="147467" y="31346"/>
                      <a:pt x="138919" y="17098"/>
                    </a:cubicBezTo>
                    <a:cubicBezTo>
                      <a:pt x="136070" y="11398"/>
                      <a:pt x="130370" y="11398"/>
                      <a:pt x="121822" y="11398"/>
                    </a:cubicBezTo>
                    <a:cubicBezTo>
                      <a:pt x="121822" y="11398"/>
                      <a:pt x="121822" y="11398"/>
                      <a:pt x="121822" y="11398"/>
                    </a:cubicBezTo>
                    <a:cubicBezTo>
                      <a:pt x="79078" y="11398"/>
                      <a:pt x="13535" y="71240"/>
                      <a:pt x="10686" y="71240"/>
                    </a:cubicBezTo>
                    <a:cubicBezTo>
                      <a:pt x="7838" y="74090"/>
                      <a:pt x="7838" y="74090"/>
                      <a:pt x="4987" y="7409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002374D6-B6E0-4FFB-B4EC-84A4482BC15A}"/>
                  </a:ext>
                </a:extLst>
              </p:cNvPr>
              <p:cNvSpPr/>
              <p:nvPr/>
            </p:nvSpPr>
            <p:spPr>
              <a:xfrm>
                <a:off x="19804507" y="9272348"/>
                <a:ext cx="18278" cy="94037"/>
              </a:xfrm>
              <a:custGeom>
                <a:avLst/>
                <a:gdLst>
                  <a:gd name="connsiteX0" fmla="*/ 14248 w 18278"/>
                  <a:gd name="connsiteY0" fmla="*/ 94037 h 94037"/>
                  <a:gd name="connsiteX1" fmla="*/ 8550 w 18278"/>
                  <a:gd name="connsiteY1" fmla="*/ 88338 h 94037"/>
                  <a:gd name="connsiteX2" fmla="*/ 0 w 18278"/>
                  <a:gd name="connsiteY2" fmla="*/ 5700 h 94037"/>
                  <a:gd name="connsiteX3" fmla="*/ 2851 w 18278"/>
                  <a:gd name="connsiteY3" fmla="*/ 0 h 94037"/>
                  <a:gd name="connsiteX4" fmla="*/ 8550 w 18278"/>
                  <a:gd name="connsiteY4" fmla="*/ 2850 h 94037"/>
                  <a:gd name="connsiteX5" fmla="*/ 17099 w 18278"/>
                  <a:gd name="connsiteY5" fmla="*/ 88338 h 94037"/>
                  <a:gd name="connsiteX6" fmla="*/ 14248 w 18278"/>
                  <a:gd name="connsiteY6" fmla="*/ 94037 h 94037"/>
                  <a:gd name="connsiteX7" fmla="*/ 14248 w 18278"/>
                  <a:gd name="connsiteY7" fmla="*/ 94037 h 9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278" h="94037">
                    <a:moveTo>
                      <a:pt x="14248" y="94037"/>
                    </a:moveTo>
                    <a:cubicBezTo>
                      <a:pt x="11399" y="94037"/>
                      <a:pt x="8550" y="91188"/>
                      <a:pt x="8550" y="88338"/>
                    </a:cubicBezTo>
                    <a:cubicBezTo>
                      <a:pt x="8550" y="71240"/>
                      <a:pt x="5700" y="22797"/>
                      <a:pt x="0" y="5700"/>
                    </a:cubicBezTo>
                    <a:cubicBezTo>
                      <a:pt x="0" y="2850"/>
                      <a:pt x="0" y="0"/>
                      <a:pt x="2851" y="0"/>
                    </a:cubicBezTo>
                    <a:cubicBezTo>
                      <a:pt x="5700" y="0"/>
                      <a:pt x="8550" y="0"/>
                      <a:pt x="8550" y="2850"/>
                    </a:cubicBezTo>
                    <a:cubicBezTo>
                      <a:pt x="17099" y="22797"/>
                      <a:pt x="17099" y="85488"/>
                      <a:pt x="17099" y="88338"/>
                    </a:cubicBezTo>
                    <a:cubicBezTo>
                      <a:pt x="19948" y="94037"/>
                      <a:pt x="17099" y="94037"/>
                      <a:pt x="14248" y="94037"/>
                    </a:cubicBezTo>
                    <a:lnTo>
                      <a:pt x="14248" y="94037"/>
                    </a:ln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F96213BF-1BD0-4E07-9D62-B63D61F2F0D8}"/>
                </a:ext>
              </a:extLst>
            </p:cNvPr>
            <p:cNvSpPr/>
            <p:nvPr/>
          </p:nvSpPr>
          <p:spPr>
            <a:xfrm>
              <a:off x="18942254" y="9363536"/>
              <a:ext cx="756819" cy="473488"/>
            </a:xfrm>
            <a:custGeom>
              <a:avLst/>
              <a:gdLst>
                <a:gd name="connsiteX0" fmla="*/ 756819 w 756819"/>
                <a:gd name="connsiteY0" fmla="*/ 113984 h 473488"/>
                <a:gd name="connsiteX1" fmla="*/ 127056 w 756819"/>
                <a:gd name="connsiteY1" fmla="*/ 473034 h 473488"/>
                <a:gd name="connsiteX2" fmla="*/ 21620 w 756819"/>
                <a:gd name="connsiteY2" fmla="*/ 279261 h 473488"/>
                <a:gd name="connsiteX3" fmla="*/ 696976 w 756819"/>
                <a:gd name="connsiteY3" fmla="*/ 0 h 473488"/>
                <a:gd name="connsiteX4" fmla="*/ 756819 w 756819"/>
                <a:gd name="connsiteY4" fmla="*/ 113984 h 47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6819" h="473488">
                  <a:moveTo>
                    <a:pt x="756819" y="113984"/>
                  </a:moveTo>
                  <a:cubicBezTo>
                    <a:pt x="756819" y="113984"/>
                    <a:pt x="209695" y="464485"/>
                    <a:pt x="127056" y="473034"/>
                  </a:cubicBezTo>
                  <a:cubicBezTo>
                    <a:pt x="44418" y="481583"/>
                    <a:pt x="-41070" y="367599"/>
                    <a:pt x="21620" y="279261"/>
                  </a:cubicBezTo>
                  <a:cubicBezTo>
                    <a:pt x="132755" y="125382"/>
                    <a:pt x="580143" y="45594"/>
                    <a:pt x="696976" y="0"/>
                  </a:cubicBezTo>
                  <a:cubicBezTo>
                    <a:pt x="688428" y="2850"/>
                    <a:pt x="756819" y="113984"/>
                    <a:pt x="756819" y="113984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9707B103-235C-4ED4-BE80-6B3E31D24DE1}"/>
                </a:ext>
              </a:extLst>
            </p:cNvPr>
            <p:cNvSpPr/>
            <p:nvPr/>
          </p:nvSpPr>
          <p:spPr>
            <a:xfrm>
              <a:off x="19038677" y="9508866"/>
              <a:ext cx="124669" cy="68390"/>
            </a:xfrm>
            <a:custGeom>
              <a:avLst/>
              <a:gdLst>
                <a:gd name="connsiteX0" fmla="*/ 4987 w 124669"/>
                <a:gd name="connsiteY0" fmla="*/ 68390 h 68390"/>
                <a:gd name="connsiteX1" fmla="*/ 2137 w 124669"/>
                <a:gd name="connsiteY1" fmla="*/ 65541 h 68390"/>
                <a:gd name="connsiteX2" fmla="*/ 2137 w 124669"/>
                <a:gd name="connsiteY2" fmla="*/ 56992 h 68390"/>
                <a:gd name="connsiteX3" fmla="*/ 118971 w 124669"/>
                <a:gd name="connsiteY3" fmla="*/ 0 h 68390"/>
                <a:gd name="connsiteX4" fmla="*/ 124669 w 124669"/>
                <a:gd name="connsiteY4" fmla="*/ 5699 h 68390"/>
                <a:gd name="connsiteX5" fmla="*/ 118971 w 124669"/>
                <a:gd name="connsiteY5" fmla="*/ 11398 h 68390"/>
                <a:gd name="connsiteX6" fmla="*/ 7836 w 124669"/>
                <a:gd name="connsiteY6" fmla="*/ 65541 h 68390"/>
                <a:gd name="connsiteX7" fmla="*/ 4987 w 124669"/>
                <a:gd name="connsiteY7" fmla="*/ 68390 h 68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669" h="68390">
                  <a:moveTo>
                    <a:pt x="4987" y="68390"/>
                  </a:moveTo>
                  <a:cubicBezTo>
                    <a:pt x="4987" y="68390"/>
                    <a:pt x="2137" y="68390"/>
                    <a:pt x="2137" y="65541"/>
                  </a:cubicBezTo>
                  <a:cubicBezTo>
                    <a:pt x="-712" y="62691"/>
                    <a:pt x="-712" y="59841"/>
                    <a:pt x="2137" y="56992"/>
                  </a:cubicBezTo>
                  <a:cubicBezTo>
                    <a:pt x="50580" y="8548"/>
                    <a:pt x="116121" y="0"/>
                    <a:pt x="118971" y="0"/>
                  </a:cubicBezTo>
                  <a:cubicBezTo>
                    <a:pt x="121820" y="0"/>
                    <a:pt x="124669" y="2849"/>
                    <a:pt x="124669" y="5699"/>
                  </a:cubicBezTo>
                  <a:cubicBezTo>
                    <a:pt x="124669" y="8548"/>
                    <a:pt x="121820" y="11398"/>
                    <a:pt x="118971" y="11398"/>
                  </a:cubicBezTo>
                  <a:cubicBezTo>
                    <a:pt x="118971" y="11398"/>
                    <a:pt x="53429" y="19947"/>
                    <a:pt x="7836" y="65541"/>
                  </a:cubicBezTo>
                  <a:cubicBezTo>
                    <a:pt x="7836" y="65541"/>
                    <a:pt x="7836" y="68390"/>
                    <a:pt x="4987" y="68390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8" name="图形 1">
              <a:extLst>
                <a:ext uri="{FF2B5EF4-FFF2-40B4-BE49-F238E27FC236}">
                  <a16:creationId xmlns:a16="http://schemas.microsoft.com/office/drawing/2014/main" id="{25C418B7-C380-4774-B2BC-9B4844ED4573}"/>
                </a:ext>
              </a:extLst>
            </p:cNvPr>
            <p:cNvGrpSpPr/>
            <p:nvPr/>
          </p:nvGrpSpPr>
          <p:grpSpPr>
            <a:xfrm>
              <a:off x="20776935" y="9049861"/>
              <a:ext cx="158864" cy="217640"/>
              <a:chOff x="20776935" y="9049861"/>
              <a:chExt cx="158864" cy="217640"/>
            </a:xfrm>
          </p:grpSpPr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3D2494A4-560D-45BF-8ACF-3307A5623E60}"/>
                  </a:ext>
                </a:extLst>
              </p:cNvPr>
              <p:cNvSpPr/>
              <p:nvPr/>
            </p:nvSpPr>
            <p:spPr>
              <a:xfrm>
                <a:off x="20784378" y="9049861"/>
                <a:ext cx="137174" cy="107681"/>
              </a:xfrm>
              <a:custGeom>
                <a:avLst/>
                <a:gdLst>
                  <a:gd name="connsiteX0" fmla="*/ 117227 w 137174"/>
                  <a:gd name="connsiteY0" fmla="*/ 219 h 107681"/>
                  <a:gd name="connsiteX1" fmla="*/ 31739 w 137174"/>
                  <a:gd name="connsiteY1" fmla="*/ 40113 h 107681"/>
                  <a:gd name="connsiteX2" fmla="*/ 17491 w 137174"/>
                  <a:gd name="connsiteY2" fmla="*/ 45812 h 107681"/>
                  <a:gd name="connsiteX3" fmla="*/ 6094 w 137174"/>
                  <a:gd name="connsiteY3" fmla="*/ 57211 h 107681"/>
                  <a:gd name="connsiteX4" fmla="*/ 8942 w 137174"/>
                  <a:gd name="connsiteY4" fmla="*/ 102805 h 107681"/>
                  <a:gd name="connsiteX5" fmla="*/ 51686 w 137174"/>
                  <a:gd name="connsiteY5" fmla="*/ 97105 h 107681"/>
                  <a:gd name="connsiteX6" fmla="*/ 105830 w 137174"/>
                  <a:gd name="connsiteY6" fmla="*/ 65759 h 107681"/>
                  <a:gd name="connsiteX7" fmla="*/ 137175 w 137174"/>
                  <a:gd name="connsiteY7" fmla="*/ 31564 h 107681"/>
                  <a:gd name="connsiteX8" fmla="*/ 117227 w 137174"/>
                  <a:gd name="connsiteY8" fmla="*/ 219 h 107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7174" h="107681">
                    <a:moveTo>
                      <a:pt x="117227" y="219"/>
                    </a:moveTo>
                    <a:cubicBezTo>
                      <a:pt x="88731" y="-2631"/>
                      <a:pt x="60235" y="23015"/>
                      <a:pt x="31739" y="40113"/>
                    </a:cubicBezTo>
                    <a:cubicBezTo>
                      <a:pt x="28890" y="42963"/>
                      <a:pt x="20342" y="42963"/>
                      <a:pt x="17491" y="45812"/>
                    </a:cubicBezTo>
                    <a:cubicBezTo>
                      <a:pt x="14642" y="48661"/>
                      <a:pt x="8942" y="51511"/>
                      <a:pt x="6094" y="57211"/>
                    </a:cubicBezTo>
                    <a:cubicBezTo>
                      <a:pt x="-2455" y="71459"/>
                      <a:pt x="-2455" y="91405"/>
                      <a:pt x="8942" y="102805"/>
                    </a:cubicBezTo>
                    <a:cubicBezTo>
                      <a:pt x="20342" y="114203"/>
                      <a:pt x="40289" y="102805"/>
                      <a:pt x="51686" y="97105"/>
                    </a:cubicBezTo>
                    <a:cubicBezTo>
                      <a:pt x="68785" y="88557"/>
                      <a:pt x="88731" y="77157"/>
                      <a:pt x="105830" y="65759"/>
                    </a:cubicBezTo>
                    <a:cubicBezTo>
                      <a:pt x="117227" y="57211"/>
                      <a:pt x="134326" y="48661"/>
                      <a:pt x="137175" y="31564"/>
                    </a:cubicBezTo>
                    <a:cubicBezTo>
                      <a:pt x="137175" y="14467"/>
                      <a:pt x="128626" y="219"/>
                      <a:pt x="117227" y="21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AEA8D6F2-81B1-4583-B267-FBD37B5DA05D}"/>
                  </a:ext>
                </a:extLst>
              </p:cNvPr>
              <p:cNvSpPr/>
              <p:nvPr/>
            </p:nvSpPr>
            <p:spPr>
              <a:xfrm>
                <a:off x="20787227" y="9102773"/>
                <a:ext cx="137176" cy="108911"/>
              </a:xfrm>
              <a:custGeom>
                <a:avLst/>
                <a:gdLst>
                  <a:gd name="connsiteX0" fmla="*/ 117229 w 137176"/>
                  <a:gd name="connsiteY0" fmla="*/ 1449 h 108911"/>
                  <a:gd name="connsiteX1" fmla="*/ 23192 w 137176"/>
                  <a:gd name="connsiteY1" fmla="*/ 41343 h 108911"/>
                  <a:gd name="connsiteX2" fmla="*/ 17492 w 137176"/>
                  <a:gd name="connsiteY2" fmla="*/ 47043 h 108911"/>
                  <a:gd name="connsiteX3" fmla="*/ 6093 w 137176"/>
                  <a:gd name="connsiteY3" fmla="*/ 58441 h 108911"/>
                  <a:gd name="connsiteX4" fmla="*/ 8944 w 137176"/>
                  <a:gd name="connsiteY4" fmla="*/ 104035 h 108911"/>
                  <a:gd name="connsiteX5" fmla="*/ 51688 w 137176"/>
                  <a:gd name="connsiteY5" fmla="*/ 98335 h 108911"/>
                  <a:gd name="connsiteX6" fmla="*/ 105829 w 137176"/>
                  <a:gd name="connsiteY6" fmla="*/ 66990 h 108911"/>
                  <a:gd name="connsiteX7" fmla="*/ 137176 w 137176"/>
                  <a:gd name="connsiteY7" fmla="*/ 32795 h 108911"/>
                  <a:gd name="connsiteX8" fmla="*/ 117229 w 137176"/>
                  <a:gd name="connsiteY8" fmla="*/ 1449 h 108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7176" h="108911">
                    <a:moveTo>
                      <a:pt x="117229" y="1449"/>
                    </a:moveTo>
                    <a:cubicBezTo>
                      <a:pt x="83033" y="-7099"/>
                      <a:pt x="54537" y="24245"/>
                      <a:pt x="23192" y="41343"/>
                    </a:cubicBezTo>
                    <a:cubicBezTo>
                      <a:pt x="20341" y="44193"/>
                      <a:pt x="17492" y="44193"/>
                      <a:pt x="17492" y="47043"/>
                    </a:cubicBezTo>
                    <a:cubicBezTo>
                      <a:pt x="14642" y="49893"/>
                      <a:pt x="8944" y="52741"/>
                      <a:pt x="6093" y="58441"/>
                    </a:cubicBezTo>
                    <a:cubicBezTo>
                      <a:pt x="-2455" y="72689"/>
                      <a:pt x="-2455" y="92637"/>
                      <a:pt x="8944" y="104035"/>
                    </a:cubicBezTo>
                    <a:cubicBezTo>
                      <a:pt x="20341" y="115433"/>
                      <a:pt x="40289" y="104035"/>
                      <a:pt x="51688" y="98335"/>
                    </a:cubicBezTo>
                    <a:cubicBezTo>
                      <a:pt x="68785" y="89787"/>
                      <a:pt x="88733" y="78389"/>
                      <a:pt x="105829" y="66990"/>
                    </a:cubicBezTo>
                    <a:cubicBezTo>
                      <a:pt x="117229" y="58441"/>
                      <a:pt x="134326" y="49893"/>
                      <a:pt x="137176" y="32795"/>
                    </a:cubicBezTo>
                    <a:cubicBezTo>
                      <a:pt x="137176" y="15697"/>
                      <a:pt x="128626" y="4299"/>
                      <a:pt x="117229" y="144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2DF00481-A266-4B2B-8524-CB8DE84DDA5A}"/>
                  </a:ext>
                </a:extLst>
              </p:cNvPr>
              <p:cNvSpPr/>
              <p:nvPr/>
            </p:nvSpPr>
            <p:spPr>
              <a:xfrm>
                <a:off x="20810023" y="9148246"/>
                <a:ext cx="125777" cy="97634"/>
              </a:xfrm>
              <a:custGeom>
                <a:avLst/>
                <a:gdLst>
                  <a:gd name="connsiteX0" fmla="*/ 102981 w 125777"/>
                  <a:gd name="connsiteY0" fmla="*/ 1570 h 97634"/>
                  <a:gd name="connsiteX1" fmla="*/ 20341 w 125777"/>
                  <a:gd name="connsiteY1" fmla="*/ 35765 h 97634"/>
                  <a:gd name="connsiteX2" fmla="*/ 14644 w 125777"/>
                  <a:gd name="connsiteY2" fmla="*/ 41464 h 97634"/>
                  <a:gd name="connsiteX3" fmla="*/ 6093 w 125777"/>
                  <a:gd name="connsiteY3" fmla="*/ 52862 h 97634"/>
                  <a:gd name="connsiteX4" fmla="*/ 8944 w 125777"/>
                  <a:gd name="connsiteY4" fmla="*/ 92757 h 97634"/>
                  <a:gd name="connsiteX5" fmla="*/ 48837 w 125777"/>
                  <a:gd name="connsiteY5" fmla="*/ 87058 h 97634"/>
                  <a:gd name="connsiteX6" fmla="*/ 97281 w 125777"/>
                  <a:gd name="connsiteY6" fmla="*/ 61412 h 97634"/>
                  <a:gd name="connsiteX7" fmla="*/ 125777 w 125777"/>
                  <a:gd name="connsiteY7" fmla="*/ 32916 h 97634"/>
                  <a:gd name="connsiteX8" fmla="*/ 102981 w 125777"/>
                  <a:gd name="connsiteY8" fmla="*/ 1570 h 97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5777" h="97634">
                    <a:moveTo>
                      <a:pt x="102981" y="1570"/>
                    </a:moveTo>
                    <a:cubicBezTo>
                      <a:pt x="71636" y="-6979"/>
                      <a:pt x="45988" y="21517"/>
                      <a:pt x="20341" y="35765"/>
                    </a:cubicBezTo>
                    <a:cubicBezTo>
                      <a:pt x="17492" y="35765"/>
                      <a:pt x="17492" y="38614"/>
                      <a:pt x="14644" y="41464"/>
                    </a:cubicBezTo>
                    <a:cubicBezTo>
                      <a:pt x="11793" y="44314"/>
                      <a:pt x="6093" y="47164"/>
                      <a:pt x="6093" y="52862"/>
                    </a:cubicBezTo>
                    <a:cubicBezTo>
                      <a:pt x="-2455" y="64261"/>
                      <a:pt x="-2455" y="81358"/>
                      <a:pt x="8944" y="92757"/>
                    </a:cubicBezTo>
                    <a:cubicBezTo>
                      <a:pt x="20341" y="104156"/>
                      <a:pt x="37440" y="92757"/>
                      <a:pt x="48837" y="87058"/>
                    </a:cubicBezTo>
                    <a:cubicBezTo>
                      <a:pt x="65936" y="78509"/>
                      <a:pt x="80184" y="69960"/>
                      <a:pt x="97281" y="61412"/>
                    </a:cubicBezTo>
                    <a:cubicBezTo>
                      <a:pt x="108680" y="55712"/>
                      <a:pt x="122928" y="47164"/>
                      <a:pt x="125777" y="32916"/>
                    </a:cubicBezTo>
                    <a:cubicBezTo>
                      <a:pt x="122928" y="15818"/>
                      <a:pt x="114380" y="4420"/>
                      <a:pt x="102981" y="1570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1C71C0A8-356D-4C03-B54C-2AA970EC9666}"/>
                  </a:ext>
                </a:extLst>
              </p:cNvPr>
              <p:cNvSpPr/>
              <p:nvPr/>
            </p:nvSpPr>
            <p:spPr>
              <a:xfrm>
                <a:off x="20837791" y="9197255"/>
                <a:ext cx="91306" cy="70245"/>
              </a:xfrm>
              <a:custGeom>
                <a:avLst/>
                <a:gdLst>
                  <a:gd name="connsiteX0" fmla="*/ 78061 w 91306"/>
                  <a:gd name="connsiteY0" fmla="*/ 1003 h 70245"/>
                  <a:gd name="connsiteX1" fmla="*/ 15371 w 91306"/>
                  <a:gd name="connsiteY1" fmla="*/ 26650 h 70245"/>
                  <a:gd name="connsiteX2" fmla="*/ 12521 w 91306"/>
                  <a:gd name="connsiteY2" fmla="*/ 29499 h 70245"/>
                  <a:gd name="connsiteX3" fmla="*/ 3972 w 91306"/>
                  <a:gd name="connsiteY3" fmla="*/ 38048 h 70245"/>
                  <a:gd name="connsiteX4" fmla="*/ 6821 w 91306"/>
                  <a:gd name="connsiteY4" fmla="*/ 66544 h 70245"/>
                  <a:gd name="connsiteX5" fmla="*/ 35317 w 91306"/>
                  <a:gd name="connsiteY5" fmla="*/ 63694 h 70245"/>
                  <a:gd name="connsiteX6" fmla="*/ 69513 w 91306"/>
                  <a:gd name="connsiteY6" fmla="*/ 43747 h 70245"/>
                  <a:gd name="connsiteX7" fmla="*/ 89460 w 91306"/>
                  <a:gd name="connsiteY7" fmla="*/ 23800 h 70245"/>
                  <a:gd name="connsiteX8" fmla="*/ 78061 w 91306"/>
                  <a:gd name="connsiteY8" fmla="*/ 1003 h 70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1306" h="70245">
                    <a:moveTo>
                      <a:pt x="78061" y="1003"/>
                    </a:moveTo>
                    <a:cubicBezTo>
                      <a:pt x="55265" y="-4696"/>
                      <a:pt x="35317" y="15251"/>
                      <a:pt x="15371" y="26650"/>
                    </a:cubicBezTo>
                    <a:cubicBezTo>
                      <a:pt x="12521" y="26650"/>
                      <a:pt x="12521" y="29499"/>
                      <a:pt x="12521" y="29499"/>
                    </a:cubicBezTo>
                    <a:cubicBezTo>
                      <a:pt x="9672" y="32349"/>
                      <a:pt x="6821" y="35198"/>
                      <a:pt x="3972" y="38048"/>
                    </a:cubicBezTo>
                    <a:cubicBezTo>
                      <a:pt x="-1727" y="46597"/>
                      <a:pt x="-1727" y="60845"/>
                      <a:pt x="6821" y="66544"/>
                    </a:cubicBezTo>
                    <a:cubicBezTo>
                      <a:pt x="15371" y="75093"/>
                      <a:pt x="26769" y="66544"/>
                      <a:pt x="35317" y="63694"/>
                    </a:cubicBezTo>
                    <a:cubicBezTo>
                      <a:pt x="46716" y="57995"/>
                      <a:pt x="58115" y="52296"/>
                      <a:pt x="69513" y="43747"/>
                    </a:cubicBezTo>
                    <a:cubicBezTo>
                      <a:pt x="78061" y="38048"/>
                      <a:pt x="86612" y="35198"/>
                      <a:pt x="89460" y="23800"/>
                    </a:cubicBezTo>
                    <a:cubicBezTo>
                      <a:pt x="95160" y="9552"/>
                      <a:pt x="86612" y="3853"/>
                      <a:pt x="78061" y="100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4E68335E-8AA1-4BC9-BFFA-A59FC123FB0B}"/>
                  </a:ext>
                </a:extLst>
              </p:cNvPr>
              <p:cNvSpPr/>
              <p:nvPr/>
            </p:nvSpPr>
            <p:spPr>
              <a:xfrm>
                <a:off x="20776935" y="9058628"/>
                <a:ext cx="151095" cy="156728"/>
              </a:xfrm>
              <a:custGeom>
                <a:avLst/>
                <a:gdLst>
                  <a:gd name="connsiteX0" fmla="*/ 27784 w 151095"/>
                  <a:gd name="connsiteY0" fmla="*/ 156728 h 156728"/>
                  <a:gd name="connsiteX1" fmla="*/ 7836 w 151095"/>
                  <a:gd name="connsiteY1" fmla="*/ 145330 h 156728"/>
                  <a:gd name="connsiteX2" fmla="*/ 10685 w 151095"/>
                  <a:gd name="connsiteY2" fmla="*/ 96886 h 156728"/>
                  <a:gd name="connsiteX3" fmla="*/ 10685 w 151095"/>
                  <a:gd name="connsiteY3" fmla="*/ 96886 h 156728"/>
                  <a:gd name="connsiteX4" fmla="*/ 2137 w 151095"/>
                  <a:gd name="connsiteY4" fmla="*/ 85488 h 156728"/>
                  <a:gd name="connsiteX5" fmla="*/ 2137 w 151095"/>
                  <a:gd name="connsiteY5" fmla="*/ 65541 h 156728"/>
                  <a:gd name="connsiteX6" fmla="*/ 87625 w 151095"/>
                  <a:gd name="connsiteY6" fmla="*/ 0 h 156728"/>
                  <a:gd name="connsiteX7" fmla="*/ 96173 w 151095"/>
                  <a:gd name="connsiteY7" fmla="*/ 2850 h 156728"/>
                  <a:gd name="connsiteX8" fmla="*/ 93324 w 151095"/>
                  <a:gd name="connsiteY8" fmla="*/ 11398 h 156728"/>
                  <a:gd name="connsiteX9" fmla="*/ 13536 w 151095"/>
                  <a:gd name="connsiteY9" fmla="*/ 71240 h 156728"/>
                  <a:gd name="connsiteX10" fmla="*/ 13536 w 151095"/>
                  <a:gd name="connsiteY10" fmla="*/ 82638 h 156728"/>
                  <a:gd name="connsiteX11" fmla="*/ 24933 w 151095"/>
                  <a:gd name="connsiteY11" fmla="*/ 94037 h 156728"/>
                  <a:gd name="connsiteX12" fmla="*/ 124669 w 151095"/>
                  <a:gd name="connsiteY12" fmla="*/ 45594 h 156728"/>
                  <a:gd name="connsiteX13" fmla="*/ 138917 w 151095"/>
                  <a:gd name="connsiteY13" fmla="*/ 42744 h 156728"/>
                  <a:gd name="connsiteX14" fmla="*/ 150316 w 151095"/>
                  <a:gd name="connsiteY14" fmla="*/ 59842 h 156728"/>
                  <a:gd name="connsiteX15" fmla="*/ 76227 w 151095"/>
                  <a:gd name="connsiteY15" fmla="*/ 139630 h 156728"/>
                  <a:gd name="connsiteX16" fmla="*/ 27784 w 151095"/>
                  <a:gd name="connsiteY16" fmla="*/ 156728 h 156728"/>
                  <a:gd name="connsiteX17" fmla="*/ 19235 w 151095"/>
                  <a:gd name="connsiteY17" fmla="*/ 99736 h 156728"/>
                  <a:gd name="connsiteX18" fmla="*/ 16385 w 151095"/>
                  <a:gd name="connsiteY18" fmla="*/ 136782 h 156728"/>
                  <a:gd name="connsiteX19" fmla="*/ 70528 w 151095"/>
                  <a:gd name="connsiteY19" fmla="*/ 125382 h 156728"/>
                  <a:gd name="connsiteX20" fmla="*/ 138917 w 151095"/>
                  <a:gd name="connsiteY20" fmla="*/ 56992 h 156728"/>
                  <a:gd name="connsiteX21" fmla="*/ 133220 w 151095"/>
                  <a:gd name="connsiteY21" fmla="*/ 45594 h 156728"/>
                  <a:gd name="connsiteX22" fmla="*/ 130369 w 151095"/>
                  <a:gd name="connsiteY22" fmla="*/ 45594 h 156728"/>
                  <a:gd name="connsiteX23" fmla="*/ 19235 w 151095"/>
                  <a:gd name="connsiteY23" fmla="*/ 99736 h 156728"/>
                  <a:gd name="connsiteX24" fmla="*/ 19235 w 151095"/>
                  <a:gd name="connsiteY24" fmla="*/ 99736 h 156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51095" h="156728">
                    <a:moveTo>
                      <a:pt x="27784" y="156728"/>
                    </a:moveTo>
                    <a:cubicBezTo>
                      <a:pt x="19235" y="156728"/>
                      <a:pt x="13536" y="153878"/>
                      <a:pt x="7836" y="145330"/>
                    </a:cubicBezTo>
                    <a:cubicBezTo>
                      <a:pt x="-712" y="128232"/>
                      <a:pt x="10685" y="96886"/>
                      <a:pt x="10685" y="96886"/>
                    </a:cubicBezTo>
                    <a:lnTo>
                      <a:pt x="10685" y="96886"/>
                    </a:lnTo>
                    <a:cubicBezTo>
                      <a:pt x="7836" y="94037"/>
                      <a:pt x="4987" y="88338"/>
                      <a:pt x="2137" y="85488"/>
                    </a:cubicBezTo>
                    <a:cubicBezTo>
                      <a:pt x="-712" y="79789"/>
                      <a:pt x="-712" y="71240"/>
                      <a:pt x="2137" y="65541"/>
                    </a:cubicBezTo>
                    <a:cubicBezTo>
                      <a:pt x="13536" y="34196"/>
                      <a:pt x="84776" y="2850"/>
                      <a:pt x="87625" y="0"/>
                    </a:cubicBezTo>
                    <a:cubicBezTo>
                      <a:pt x="90475" y="0"/>
                      <a:pt x="93324" y="0"/>
                      <a:pt x="96173" y="2850"/>
                    </a:cubicBezTo>
                    <a:cubicBezTo>
                      <a:pt x="96173" y="5700"/>
                      <a:pt x="96173" y="8549"/>
                      <a:pt x="93324" y="11398"/>
                    </a:cubicBezTo>
                    <a:cubicBezTo>
                      <a:pt x="73377" y="19948"/>
                      <a:pt x="22084" y="48444"/>
                      <a:pt x="13536" y="71240"/>
                    </a:cubicBezTo>
                    <a:cubicBezTo>
                      <a:pt x="13536" y="74090"/>
                      <a:pt x="13536" y="79789"/>
                      <a:pt x="13536" y="82638"/>
                    </a:cubicBezTo>
                    <a:cubicBezTo>
                      <a:pt x="16385" y="88338"/>
                      <a:pt x="19235" y="91188"/>
                      <a:pt x="24933" y="94037"/>
                    </a:cubicBezTo>
                    <a:cubicBezTo>
                      <a:pt x="42032" y="96886"/>
                      <a:pt x="73377" y="79789"/>
                      <a:pt x="124669" y="45594"/>
                    </a:cubicBezTo>
                    <a:cubicBezTo>
                      <a:pt x="124669" y="45594"/>
                      <a:pt x="130369" y="42744"/>
                      <a:pt x="138917" y="42744"/>
                    </a:cubicBezTo>
                    <a:cubicBezTo>
                      <a:pt x="144617" y="45594"/>
                      <a:pt x="150316" y="51293"/>
                      <a:pt x="150316" y="59842"/>
                    </a:cubicBezTo>
                    <a:cubicBezTo>
                      <a:pt x="156016" y="85488"/>
                      <a:pt x="130369" y="111134"/>
                      <a:pt x="76227" y="139630"/>
                    </a:cubicBezTo>
                    <a:cubicBezTo>
                      <a:pt x="59129" y="145330"/>
                      <a:pt x="42032" y="156728"/>
                      <a:pt x="27784" y="156728"/>
                    </a:cubicBezTo>
                    <a:close/>
                    <a:moveTo>
                      <a:pt x="19235" y="99736"/>
                    </a:moveTo>
                    <a:cubicBezTo>
                      <a:pt x="16385" y="108285"/>
                      <a:pt x="10685" y="128232"/>
                      <a:pt x="16385" y="136782"/>
                    </a:cubicBezTo>
                    <a:cubicBezTo>
                      <a:pt x="22084" y="148180"/>
                      <a:pt x="33483" y="145330"/>
                      <a:pt x="70528" y="125382"/>
                    </a:cubicBezTo>
                    <a:cubicBezTo>
                      <a:pt x="118971" y="99736"/>
                      <a:pt x="141768" y="76940"/>
                      <a:pt x="138917" y="56992"/>
                    </a:cubicBezTo>
                    <a:cubicBezTo>
                      <a:pt x="136068" y="48444"/>
                      <a:pt x="133220" y="45594"/>
                      <a:pt x="133220" y="45594"/>
                    </a:cubicBezTo>
                    <a:cubicBezTo>
                      <a:pt x="130369" y="45594"/>
                      <a:pt x="130369" y="45594"/>
                      <a:pt x="130369" y="45594"/>
                    </a:cubicBezTo>
                    <a:cubicBezTo>
                      <a:pt x="59129" y="99736"/>
                      <a:pt x="33483" y="102586"/>
                      <a:pt x="19235" y="99736"/>
                    </a:cubicBezTo>
                    <a:cubicBezTo>
                      <a:pt x="19235" y="99736"/>
                      <a:pt x="19235" y="99736"/>
                      <a:pt x="19235" y="9973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BFB1D924-761A-4393-AA73-8090A2AEF697}"/>
                  </a:ext>
                </a:extLst>
              </p:cNvPr>
              <p:cNvSpPr/>
              <p:nvPr/>
            </p:nvSpPr>
            <p:spPr>
              <a:xfrm>
                <a:off x="20798787" y="9141266"/>
                <a:ext cx="136035" cy="105435"/>
              </a:xfrm>
              <a:custGeom>
                <a:avLst/>
                <a:gdLst>
                  <a:gd name="connsiteX0" fmla="*/ 28729 w 136035"/>
                  <a:gd name="connsiteY0" fmla="*/ 105436 h 105435"/>
                  <a:gd name="connsiteX1" fmla="*/ 11632 w 136035"/>
                  <a:gd name="connsiteY1" fmla="*/ 99736 h 105435"/>
                  <a:gd name="connsiteX2" fmla="*/ 232 w 136035"/>
                  <a:gd name="connsiteY2" fmla="*/ 65541 h 105435"/>
                  <a:gd name="connsiteX3" fmla="*/ 5932 w 136035"/>
                  <a:gd name="connsiteY3" fmla="*/ 59842 h 105435"/>
                  <a:gd name="connsiteX4" fmla="*/ 11632 w 136035"/>
                  <a:gd name="connsiteY4" fmla="*/ 65541 h 105435"/>
                  <a:gd name="connsiteX5" fmla="*/ 20180 w 136035"/>
                  <a:gd name="connsiteY5" fmla="*/ 88338 h 105435"/>
                  <a:gd name="connsiteX6" fmla="*/ 40128 w 136035"/>
                  <a:gd name="connsiteY6" fmla="*/ 88338 h 105435"/>
                  <a:gd name="connsiteX7" fmla="*/ 125616 w 136035"/>
                  <a:gd name="connsiteY7" fmla="*/ 37045 h 105435"/>
                  <a:gd name="connsiteX8" fmla="*/ 125616 w 136035"/>
                  <a:gd name="connsiteY8" fmla="*/ 25647 h 105435"/>
                  <a:gd name="connsiteX9" fmla="*/ 114217 w 136035"/>
                  <a:gd name="connsiteY9" fmla="*/ 11399 h 105435"/>
                  <a:gd name="connsiteX10" fmla="*/ 108517 w 136035"/>
                  <a:gd name="connsiteY10" fmla="*/ 5700 h 105435"/>
                  <a:gd name="connsiteX11" fmla="*/ 114217 w 136035"/>
                  <a:gd name="connsiteY11" fmla="*/ 0 h 105435"/>
                  <a:gd name="connsiteX12" fmla="*/ 134164 w 136035"/>
                  <a:gd name="connsiteY12" fmla="*/ 19948 h 105435"/>
                  <a:gd name="connsiteX13" fmla="*/ 131314 w 136035"/>
                  <a:gd name="connsiteY13" fmla="*/ 42744 h 105435"/>
                  <a:gd name="connsiteX14" fmla="*/ 42977 w 136035"/>
                  <a:gd name="connsiteY14" fmla="*/ 96887 h 105435"/>
                  <a:gd name="connsiteX15" fmla="*/ 28729 w 136035"/>
                  <a:gd name="connsiteY15" fmla="*/ 105436 h 105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6035" h="105435">
                    <a:moveTo>
                      <a:pt x="28729" y="105436"/>
                    </a:moveTo>
                    <a:cubicBezTo>
                      <a:pt x="23029" y="105436"/>
                      <a:pt x="17329" y="102586"/>
                      <a:pt x="11632" y="99736"/>
                    </a:cubicBezTo>
                    <a:cubicBezTo>
                      <a:pt x="-2616" y="88338"/>
                      <a:pt x="232" y="68391"/>
                      <a:pt x="232" y="65541"/>
                    </a:cubicBezTo>
                    <a:cubicBezTo>
                      <a:pt x="232" y="62692"/>
                      <a:pt x="3081" y="59842"/>
                      <a:pt x="5932" y="59842"/>
                    </a:cubicBezTo>
                    <a:cubicBezTo>
                      <a:pt x="8781" y="59842"/>
                      <a:pt x="11632" y="62692"/>
                      <a:pt x="11632" y="65541"/>
                    </a:cubicBezTo>
                    <a:cubicBezTo>
                      <a:pt x="11632" y="71240"/>
                      <a:pt x="11632" y="82639"/>
                      <a:pt x="20180" y="88338"/>
                    </a:cubicBezTo>
                    <a:cubicBezTo>
                      <a:pt x="25880" y="91188"/>
                      <a:pt x="31577" y="91188"/>
                      <a:pt x="40128" y="88338"/>
                    </a:cubicBezTo>
                    <a:cubicBezTo>
                      <a:pt x="77172" y="76940"/>
                      <a:pt x="114217" y="48444"/>
                      <a:pt x="125616" y="37045"/>
                    </a:cubicBezTo>
                    <a:cubicBezTo>
                      <a:pt x="128465" y="34196"/>
                      <a:pt x="128465" y="28496"/>
                      <a:pt x="125616" y="25647"/>
                    </a:cubicBezTo>
                    <a:cubicBezTo>
                      <a:pt x="122765" y="17098"/>
                      <a:pt x="117066" y="11399"/>
                      <a:pt x="114217" y="11399"/>
                    </a:cubicBezTo>
                    <a:cubicBezTo>
                      <a:pt x="111368" y="11399"/>
                      <a:pt x="108517" y="8549"/>
                      <a:pt x="108517" y="5700"/>
                    </a:cubicBezTo>
                    <a:cubicBezTo>
                      <a:pt x="108517" y="2850"/>
                      <a:pt x="111368" y="0"/>
                      <a:pt x="114217" y="0"/>
                    </a:cubicBezTo>
                    <a:cubicBezTo>
                      <a:pt x="122765" y="0"/>
                      <a:pt x="131314" y="11399"/>
                      <a:pt x="134164" y="19948"/>
                    </a:cubicBezTo>
                    <a:cubicBezTo>
                      <a:pt x="137013" y="28496"/>
                      <a:pt x="137013" y="37045"/>
                      <a:pt x="131314" y="42744"/>
                    </a:cubicBezTo>
                    <a:cubicBezTo>
                      <a:pt x="119916" y="54143"/>
                      <a:pt x="82872" y="85488"/>
                      <a:pt x="42977" y="96887"/>
                    </a:cubicBezTo>
                    <a:cubicBezTo>
                      <a:pt x="40128" y="105436"/>
                      <a:pt x="34428" y="105436"/>
                      <a:pt x="28729" y="10543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84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F01E5B1D-5E14-427B-90C1-1E3F4C5AB3CB}"/>
                </a:ext>
              </a:extLst>
            </p:cNvPr>
            <p:cNvSpPr/>
            <p:nvPr/>
          </p:nvSpPr>
          <p:spPr>
            <a:xfrm>
              <a:off x="20712401" y="9135423"/>
              <a:ext cx="144050" cy="128815"/>
            </a:xfrm>
            <a:custGeom>
              <a:avLst/>
              <a:gdLst>
                <a:gd name="connsiteX0" fmla="*/ 83770 w 144050"/>
                <a:gd name="connsiteY0" fmla="*/ 145 h 128815"/>
                <a:gd name="connsiteX1" fmla="*/ 1130 w 144050"/>
                <a:gd name="connsiteY1" fmla="*/ 62835 h 128815"/>
                <a:gd name="connsiteX2" fmla="*/ 35326 w 144050"/>
                <a:gd name="connsiteY2" fmla="*/ 128377 h 128815"/>
                <a:gd name="connsiteX3" fmla="*/ 58122 w 144050"/>
                <a:gd name="connsiteY3" fmla="*/ 74235 h 128815"/>
                <a:gd name="connsiteX4" fmla="*/ 115115 w 144050"/>
                <a:gd name="connsiteY4" fmla="*/ 48587 h 128815"/>
                <a:gd name="connsiteX5" fmla="*/ 143611 w 144050"/>
                <a:gd name="connsiteY5" fmla="*/ 48587 h 128815"/>
                <a:gd name="connsiteX6" fmla="*/ 83770 w 144050"/>
                <a:gd name="connsiteY6" fmla="*/ 145 h 128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050" h="128815">
                  <a:moveTo>
                    <a:pt x="83770" y="145"/>
                  </a:moveTo>
                  <a:cubicBezTo>
                    <a:pt x="49574" y="-2705"/>
                    <a:pt x="12529" y="37189"/>
                    <a:pt x="1130" y="62835"/>
                  </a:cubicBezTo>
                  <a:cubicBezTo>
                    <a:pt x="-7418" y="82783"/>
                    <a:pt x="35326" y="134076"/>
                    <a:pt x="35326" y="128377"/>
                  </a:cubicBezTo>
                  <a:cubicBezTo>
                    <a:pt x="41025" y="116979"/>
                    <a:pt x="49574" y="85633"/>
                    <a:pt x="58122" y="74235"/>
                  </a:cubicBezTo>
                  <a:cubicBezTo>
                    <a:pt x="72370" y="54287"/>
                    <a:pt x="89467" y="51437"/>
                    <a:pt x="115115" y="48587"/>
                  </a:cubicBezTo>
                  <a:cubicBezTo>
                    <a:pt x="123663" y="48587"/>
                    <a:pt x="140762" y="57137"/>
                    <a:pt x="143611" y="48587"/>
                  </a:cubicBezTo>
                  <a:cubicBezTo>
                    <a:pt x="149310" y="28641"/>
                    <a:pt x="98018" y="145"/>
                    <a:pt x="83770" y="145"/>
                  </a:cubicBezTo>
                  <a:close/>
                </a:path>
              </a:pathLst>
            </a:custGeom>
            <a:solidFill>
              <a:srgbClr val="F49F84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EFC3D465-CC51-40F4-89E4-B2840484365C}"/>
                </a:ext>
              </a:extLst>
            </p:cNvPr>
            <p:cNvSpPr/>
            <p:nvPr/>
          </p:nvSpPr>
          <p:spPr>
            <a:xfrm>
              <a:off x="20707832" y="9132006"/>
              <a:ext cx="155750" cy="131793"/>
            </a:xfrm>
            <a:custGeom>
              <a:avLst/>
              <a:gdLst>
                <a:gd name="connsiteX0" fmla="*/ 71240 w 155750"/>
                <a:gd name="connsiteY0" fmla="*/ 131794 h 131793"/>
                <a:gd name="connsiteX1" fmla="*/ 71240 w 155750"/>
                <a:gd name="connsiteY1" fmla="*/ 131794 h 131793"/>
                <a:gd name="connsiteX2" fmla="*/ 65541 w 155750"/>
                <a:gd name="connsiteY2" fmla="*/ 123244 h 131793"/>
                <a:gd name="connsiteX3" fmla="*/ 59843 w 155750"/>
                <a:gd name="connsiteY3" fmla="*/ 80500 h 131793"/>
                <a:gd name="connsiteX4" fmla="*/ 59843 w 155750"/>
                <a:gd name="connsiteY4" fmla="*/ 74801 h 131793"/>
                <a:gd name="connsiteX5" fmla="*/ 125383 w 155750"/>
                <a:gd name="connsiteY5" fmla="*/ 52004 h 131793"/>
                <a:gd name="connsiteX6" fmla="*/ 145331 w 155750"/>
                <a:gd name="connsiteY6" fmla="*/ 49155 h 131793"/>
                <a:gd name="connsiteX7" fmla="*/ 145331 w 155750"/>
                <a:gd name="connsiteY7" fmla="*/ 43456 h 131793"/>
                <a:gd name="connsiteX8" fmla="*/ 88339 w 155750"/>
                <a:gd name="connsiteY8" fmla="*/ 9260 h 131793"/>
                <a:gd name="connsiteX9" fmla="*/ 82639 w 155750"/>
                <a:gd name="connsiteY9" fmla="*/ 9260 h 131793"/>
                <a:gd name="connsiteX10" fmla="*/ 11399 w 155750"/>
                <a:gd name="connsiteY10" fmla="*/ 71952 h 131793"/>
                <a:gd name="connsiteX11" fmla="*/ 2851 w 155750"/>
                <a:gd name="connsiteY11" fmla="*/ 74801 h 131793"/>
                <a:gd name="connsiteX12" fmla="*/ 0 w 155750"/>
                <a:gd name="connsiteY12" fmla="*/ 66252 h 131793"/>
                <a:gd name="connsiteX13" fmla="*/ 88339 w 155750"/>
                <a:gd name="connsiteY13" fmla="*/ 712 h 131793"/>
                <a:gd name="connsiteX14" fmla="*/ 153879 w 155750"/>
                <a:gd name="connsiteY14" fmla="*/ 43456 h 131793"/>
                <a:gd name="connsiteX15" fmla="*/ 151029 w 155750"/>
                <a:gd name="connsiteY15" fmla="*/ 60553 h 131793"/>
                <a:gd name="connsiteX16" fmla="*/ 122533 w 155750"/>
                <a:gd name="connsiteY16" fmla="*/ 66252 h 131793"/>
                <a:gd name="connsiteX17" fmla="*/ 68391 w 155750"/>
                <a:gd name="connsiteY17" fmla="*/ 83350 h 131793"/>
                <a:gd name="connsiteX18" fmla="*/ 74091 w 155750"/>
                <a:gd name="connsiteY18" fmla="*/ 131794 h 131793"/>
                <a:gd name="connsiteX19" fmla="*/ 71240 w 155750"/>
                <a:gd name="connsiteY19" fmla="*/ 131794 h 131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5750" h="131793">
                  <a:moveTo>
                    <a:pt x="71240" y="131794"/>
                  </a:moveTo>
                  <a:cubicBezTo>
                    <a:pt x="71240" y="131794"/>
                    <a:pt x="68391" y="128944"/>
                    <a:pt x="71240" y="131794"/>
                  </a:cubicBezTo>
                  <a:cubicBezTo>
                    <a:pt x="65541" y="128944"/>
                    <a:pt x="65541" y="126094"/>
                    <a:pt x="65541" y="123244"/>
                  </a:cubicBezTo>
                  <a:cubicBezTo>
                    <a:pt x="71240" y="108996"/>
                    <a:pt x="62692" y="89049"/>
                    <a:pt x="59843" y="80500"/>
                  </a:cubicBezTo>
                  <a:cubicBezTo>
                    <a:pt x="59843" y="77651"/>
                    <a:pt x="59843" y="77651"/>
                    <a:pt x="59843" y="74801"/>
                  </a:cubicBezTo>
                  <a:cubicBezTo>
                    <a:pt x="79789" y="49155"/>
                    <a:pt x="105436" y="49155"/>
                    <a:pt x="125383" y="52004"/>
                  </a:cubicBezTo>
                  <a:cubicBezTo>
                    <a:pt x="133932" y="52004"/>
                    <a:pt x="142480" y="52004"/>
                    <a:pt x="145331" y="49155"/>
                  </a:cubicBezTo>
                  <a:cubicBezTo>
                    <a:pt x="145331" y="49155"/>
                    <a:pt x="148180" y="46305"/>
                    <a:pt x="145331" y="43456"/>
                  </a:cubicBezTo>
                  <a:cubicBezTo>
                    <a:pt x="139631" y="29208"/>
                    <a:pt x="116835" y="14960"/>
                    <a:pt x="88339" y="9260"/>
                  </a:cubicBezTo>
                  <a:cubicBezTo>
                    <a:pt x="85488" y="9260"/>
                    <a:pt x="85488" y="9260"/>
                    <a:pt x="82639" y="9260"/>
                  </a:cubicBezTo>
                  <a:cubicBezTo>
                    <a:pt x="45595" y="9260"/>
                    <a:pt x="11399" y="69102"/>
                    <a:pt x="11399" y="71952"/>
                  </a:cubicBezTo>
                  <a:cubicBezTo>
                    <a:pt x="8548" y="74801"/>
                    <a:pt x="5700" y="74801"/>
                    <a:pt x="2851" y="74801"/>
                  </a:cubicBezTo>
                  <a:cubicBezTo>
                    <a:pt x="0" y="71952"/>
                    <a:pt x="0" y="69102"/>
                    <a:pt x="0" y="66252"/>
                  </a:cubicBezTo>
                  <a:cubicBezTo>
                    <a:pt x="2851" y="63403"/>
                    <a:pt x="42744" y="-7837"/>
                    <a:pt x="88339" y="712"/>
                  </a:cubicBezTo>
                  <a:cubicBezTo>
                    <a:pt x="122533" y="6411"/>
                    <a:pt x="148180" y="26358"/>
                    <a:pt x="153879" y="43456"/>
                  </a:cubicBezTo>
                  <a:cubicBezTo>
                    <a:pt x="156728" y="49155"/>
                    <a:pt x="156728" y="54854"/>
                    <a:pt x="151029" y="60553"/>
                  </a:cubicBezTo>
                  <a:cubicBezTo>
                    <a:pt x="145331" y="66252"/>
                    <a:pt x="133932" y="66252"/>
                    <a:pt x="122533" y="66252"/>
                  </a:cubicBezTo>
                  <a:cubicBezTo>
                    <a:pt x="105436" y="66252"/>
                    <a:pt x="85488" y="63403"/>
                    <a:pt x="68391" y="83350"/>
                  </a:cubicBezTo>
                  <a:cubicBezTo>
                    <a:pt x="71240" y="91899"/>
                    <a:pt x="82639" y="114696"/>
                    <a:pt x="74091" y="131794"/>
                  </a:cubicBezTo>
                  <a:cubicBezTo>
                    <a:pt x="74091" y="128944"/>
                    <a:pt x="74091" y="131794"/>
                    <a:pt x="71240" y="131794"/>
                  </a:cubicBezTo>
                  <a:close/>
                </a:path>
              </a:pathLst>
            </a:custGeom>
            <a:solidFill>
              <a:srgbClr val="E87952"/>
            </a:solidFill>
            <a:ln w="284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55904150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0" name="图形 1">
            <a:extLst>
              <a:ext uri="{FF2B5EF4-FFF2-40B4-BE49-F238E27FC236}">
                <a16:creationId xmlns:a16="http://schemas.microsoft.com/office/drawing/2014/main" id="{76A1D99D-5BD3-43EC-8DFB-13E2A204913A}"/>
              </a:ext>
            </a:extLst>
          </p:cNvPr>
          <p:cNvGrpSpPr/>
          <p:nvPr/>
        </p:nvGrpSpPr>
        <p:grpSpPr>
          <a:xfrm>
            <a:off x="1149123" y="1959954"/>
            <a:ext cx="9467022" cy="4896771"/>
            <a:chOff x="205227" y="-1645206"/>
            <a:chExt cx="9467022" cy="4896771"/>
          </a:xfrm>
        </p:grpSpPr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70E5D38E-86E3-405B-B99D-57ED7A62CC85}"/>
                </a:ext>
              </a:extLst>
            </p:cNvPr>
            <p:cNvSpPr/>
            <p:nvPr/>
          </p:nvSpPr>
          <p:spPr>
            <a:xfrm>
              <a:off x="5638307" y="-1287107"/>
              <a:ext cx="479785" cy="809145"/>
            </a:xfrm>
            <a:custGeom>
              <a:avLst/>
              <a:gdLst>
                <a:gd name="connsiteX0" fmla="*/ 8461 w 479785"/>
                <a:gd name="connsiteY0" fmla="*/ 769442 h 809145"/>
                <a:gd name="connsiteX1" fmla="*/ 236154 w 479785"/>
                <a:gd name="connsiteY1" fmla="*/ 781750 h 809145"/>
                <a:gd name="connsiteX2" fmla="*/ 322308 w 479785"/>
                <a:gd name="connsiteY2" fmla="*/ 572519 h 809145"/>
                <a:gd name="connsiteX3" fmla="*/ 408462 w 479785"/>
                <a:gd name="connsiteY3" fmla="*/ 615596 h 809145"/>
                <a:gd name="connsiteX4" fmla="*/ 359231 w 479785"/>
                <a:gd name="connsiteY4" fmla="*/ 347904 h 809145"/>
                <a:gd name="connsiteX5" fmla="*/ 408462 w 479785"/>
                <a:gd name="connsiteY5" fmla="*/ 203288 h 809145"/>
                <a:gd name="connsiteX6" fmla="*/ 436154 w 479785"/>
                <a:gd name="connsiteY6" fmla="*/ 123288 h 809145"/>
                <a:gd name="connsiteX7" fmla="*/ 473077 w 479785"/>
                <a:gd name="connsiteY7" fmla="*/ 104827 h 809145"/>
                <a:gd name="connsiteX8" fmla="*/ 466923 w 479785"/>
                <a:gd name="connsiteY8" fmla="*/ 77134 h 809145"/>
                <a:gd name="connsiteX9" fmla="*/ 322308 w 479785"/>
                <a:gd name="connsiteY9" fmla="*/ 211 h 809145"/>
                <a:gd name="connsiteX10" fmla="*/ 257692 w 479785"/>
                <a:gd name="connsiteY10" fmla="*/ 24827 h 809145"/>
                <a:gd name="connsiteX11" fmla="*/ 236154 w 479785"/>
                <a:gd name="connsiteY11" fmla="*/ 52519 h 809145"/>
                <a:gd name="connsiteX12" fmla="*/ 137693 w 479785"/>
                <a:gd name="connsiteY12" fmla="*/ 150981 h 809145"/>
                <a:gd name="connsiteX13" fmla="*/ 82307 w 479785"/>
                <a:gd name="connsiteY13" fmla="*/ 246365 h 809145"/>
                <a:gd name="connsiteX14" fmla="*/ 88462 w 479785"/>
                <a:gd name="connsiteY14" fmla="*/ 261750 h 809145"/>
                <a:gd name="connsiteX15" fmla="*/ 70000 w 479785"/>
                <a:gd name="connsiteY15" fmla="*/ 350981 h 809145"/>
                <a:gd name="connsiteX16" fmla="*/ 48462 w 479785"/>
                <a:gd name="connsiteY16" fmla="*/ 477134 h 809145"/>
                <a:gd name="connsiteX17" fmla="*/ 23846 w 479785"/>
                <a:gd name="connsiteY17" fmla="*/ 600211 h 809145"/>
                <a:gd name="connsiteX18" fmla="*/ 17693 w 479785"/>
                <a:gd name="connsiteY18" fmla="*/ 692519 h 809145"/>
                <a:gd name="connsiteX19" fmla="*/ 5384 w 479785"/>
                <a:gd name="connsiteY19" fmla="*/ 720211 h 809145"/>
                <a:gd name="connsiteX20" fmla="*/ 8461 w 479785"/>
                <a:gd name="connsiteY20" fmla="*/ 769442 h 809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79785" h="809145">
                  <a:moveTo>
                    <a:pt x="8461" y="769442"/>
                  </a:moveTo>
                  <a:cubicBezTo>
                    <a:pt x="45385" y="830981"/>
                    <a:pt x="183846" y="809442"/>
                    <a:pt x="236154" y="781750"/>
                  </a:cubicBezTo>
                  <a:cubicBezTo>
                    <a:pt x="328461" y="735596"/>
                    <a:pt x="343846" y="652519"/>
                    <a:pt x="322308" y="572519"/>
                  </a:cubicBezTo>
                  <a:cubicBezTo>
                    <a:pt x="411539" y="646365"/>
                    <a:pt x="399231" y="667904"/>
                    <a:pt x="408462" y="615596"/>
                  </a:cubicBezTo>
                  <a:cubicBezTo>
                    <a:pt x="417693" y="572519"/>
                    <a:pt x="353077" y="400211"/>
                    <a:pt x="359231" y="347904"/>
                  </a:cubicBezTo>
                  <a:cubicBezTo>
                    <a:pt x="368462" y="295596"/>
                    <a:pt x="383847" y="249442"/>
                    <a:pt x="408462" y="203288"/>
                  </a:cubicBezTo>
                  <a:cubicBezTo>
                    <a:pt x="417693" y="181750"/>
                    <a:pt x="426923" y="150981"/>
                    <a:pt x="436154" y="123288"/>
                  </a:cubicBezTo>
                  <a:cubicBezTo>
                    <a:pt x="448462" y="117134"/>
                    <a:pt x="460770" y="110981"/>
                    <a:pt x="473077" y="104827"/>
                  </a:cubicBezTo>
                  <a:cubicBezTo>
                    <a:pt x="485385" y="95596"/>
                    <a:pt x="479231" y="80211"/>
                    <a:pt x="466923" y="77134"/>
                  </a:cubicBezTo>
                  <a:cubicBezTo>
                    <a:pt x="448462" y="27904"/>
                    <a:pt x="380769" y="-2866"/>
                    <a:pt x="322308" y="211"/>
                  </a:cubicBezTo>
                  <a:cubicBezTo>
                    <a:pt x="306923" y="211"/>
                    <a:pt x="279231" y="9442"/>
                    <a:pt x="257692" y="24827"/>
                  </a:cubicBezTo>
                  <a:cubicBezTo>
                    <a:pt x="248462" y="30980"/>
                    <a:pt x="242308" y="40211"/>
                    <a:pt x="236154" y="52519"/>
                  </a:cubicBezTo>
                  <a:cubicBezTo>
                    <a:pt x="174615" y="46365"/>
                    <a:pt x="128461" y="89442"/>
                    <a:pt x="137693" y="150981"/>
                  </a:cubicBezTo>
                  <a:cubicBezTo>
                    <a:pt x="91539" y="150981"/>
                    <a:pt x="73077" y="200211"/>
                    <a:pt x="82307" y="246365"/>
                  </a:cubicBezTo>
                  <a:cubicBezTo>
                    <a:pt x="85385" y="255596"/>
                    <a:pt x="85385" y="258673"/>
                    <a:pt x="88462" y="261750"/>
                  </a:cubicBezTo>
                  <a:cubicBezTo>
                    <a:pt x="63847" y="286365"/>
                    <a:pt x="54615" y="320211"/>
                    <a:pt x="70000" y="350981"/>
                  </a:cubicBezTo>
                  <a:cubicBezTo>
                    <a:pt x="26923" y="372519"/>
                    <a:pt x="23846" y="437134"/>
                    <a:pt x="48462" y="477134"/>
                  </a:cubicBezTo>
                  <a:cubicBezTo>
                    <a:pt x="5384" y="504827"/>
                    <a:pt x="5384" y="554057"/>
                    <a:pt x="23846" y="600211"/>
                  </a:cubicBezTo>
                  <a:cubicBezTo>
                    <a:pt x="-10000" y="621750"/>
                    <a:pt x="-3846" y="661750"/>
                    <a:pt x="17693" y="692519"/>
                  </a:cubicBezTo>
                  <a:cubicBezTo>
                    <a:pt x="8461" y="701750"/>
                    <a:pt x="5384" y="710981"/>
                    <a:pt x="5384" y="720211"/>
                  </a:cubicBezTo>
                  <a:cubicBezTo>
                    <a:pt x="-769" y="735596"/>
                    <a:pt x="-769" y="750980"/>
                    <a:pt x="8461" y="769442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EB64EF0F-314D-4C90-897B-C22C82CE7AEF}"/>
                </a:ext>
              </a:extLst>
            </p:cNvPr>
            <p:cNvSpPr/>
            <p:nvPr/>
          </p:nvSpPr>
          <p:spPr>
            <a:xfrm>
              <a:off x="6004479" y="-1282291"/>
              <a:ext cx="607533" cy="976115"/>
            </a:xfrm>
            <a:custGeom>
              <a:avLst/>
              <a:gdLst>
                <a:gd name="connsiteX0" fmla="*/ 48443 w 607533"/>
                <a:gd name="connsiteY0" fmla="*/ 266164 h 976115"/>
                <a:gd name="connsiteX1" fmla="*/ 69981 w 607533"/>
                <a:gd name="connsiteY1" fmla="*/ 90779 h 976115"/>
                <a:gd name="connsiteX2" fmla="*/ 66905 w 607533"/>
                <a:gd name="connsiteY2" fmla="*/ 75395 h 976115"/>
                <a:gd name="connsiteX3" fmla="*/ 233058 w 607533"/>
                <a:gd name="connsiteY3" fmla="*/ 53856 h 976115"/>
                <a:gd name="connsiteX4" fmla="*/ 325366 w 607533"/>
                <a:gd name="connsiteY4" fmla="*/ 100010 h 976115"/>
                <a:gd name="connsiteX5" fmla="*/ 322289 w 607533"/>
                <a:gd name="connsiteY5" fmla="*/ 164626 h 976115"/>
                <a:gd name="connsiteX6" fmla="*/ 322289 w 607533"/>
                <a:gd name="connsiteY6" fmla="*/ 164626 h 976115"/>
                <a:gd name="connsiteX7" fmla="*/ 402289 w 607533"/>
                <a:gd name="connsiteY7" fmla="*/ 256933 h 976115"/>
                <a:gd name="connsiteX8" fmla="*/ 439212 w 607533"/>
                <a:gd name="connsiteY8" fmla="*/ 290779 h 976115"/>
                <a:gd name="connsiteX9" fmla="*/ 429981 w 607533"/>
                <a:gd name="connsiteY9" fmla="*/ 343087 h 976115"/>
                <a:gd name="connsiteX10" fmla="*/ 473058 w 607533"/>
                <a:gd name="connsiteY10" fmla="*/ 410779 h 976115"/>
                <a:gd name="connsiteX11" fmla="*/ 466905 w 607533"/>
                <a:gd name="connsiteY11" fmla="*/ 453856 h 976115"/>
                <a:gd name="connsiteX12" fmla="*/ 549981 w 607533"/>
                <a:gd name="connsiteY12" fmla="*/ 530779 h 976115"/>
                <a:gd name="connsiteX13" fmla="*/ 522289 w 607533"/>
                <a:gd name="connsiteY13" fmla="*/ 601549 h 976115"/>
                <a:gd name="connsiteX14" fmla="*/ 565366 w 607533"/>
                <a:gd name="connsiteY14" fmla="*/ 773856 h 976115"/>
                <a:gd name="connsiteX15" fmla="*/ 589982 w 607533"/>
                <a:gd name="connsiteY15" fmla="*/ 900010 h 976115"/>
                <a:gd name="connsiteX16" fmla="*/ 516135 w 607533"/>
                <a:gd name="connsiteY16" fmla="*/ 903087 h 976115"/>
                <a:gd name="connsiteX17" fmla="*/ 408442 w 607533"/>
                <a:gd name="connsiteY17" fmla="*/ 973856 h 976115"/>
                <a:gd name="connsiteX18" fmla="*/ 340751 w 607533"/>
                <a:gd name="connsiteY18" fmla="*/ 841549 h 976115"/>
                <a:gd name="connsiteX19" fmla="*/ 303827 w 607533"/>
                <a:gd name="connsiteY19" fmla="*/ 807702 h 976115"/>
                <a:gd name="connsiteX20" fmla="*/ 266905 w 607533"/>
                <a:gd name="connsiteY20" fmla="*/ 792318 h 976115"/>
                <a:gd name="connsiteX21" fmla="*/ 100750 w 607533"/>
                <a:gd name="connsiteY21" fmla="*/ 727702 h 976115"/>
                <a:gd name="connsiteX22" fmla="*/ 29981 w 607533"/>
                <a:gd name="connsiteY22" fmla="*/ 672318 h 976115"/>
                <a:gd name="connsiteX23" fmla="*/ 48443 w 607533"/>
                <a:gd name="connsiteY23" fmla="*/ 496933 h 976115"/>
                <a:gd name="connsiteX24" fmla="*/ 48443 w 607533"/>
                <a:gd name="connsiteY24" fmla="*/ 266164 h 976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07533" h="976115">
                  <a:moveTo>
                    <a:pt x="48443" y="266164"/>
                  </a:moveTo>
                  <a:cubicBezTo>
                    <a:pt x="-10018" y="220010"/>
                    <a:pt x="39212" y="143087"/>
                    <a:pt x="69981" y="90779"/>
                  </a:cubicBezTo>
                  <a:cubicBezTo>
                    <a:pt x="66905" y="87702"/>
                    <a:pt x="63828" y="81549"/>
                    <a:pt x="66905" y="75395"/>
                  </a:cubicBezTo>
                  <a:cubicBezTo>
                    <a:pt x="88443" y="-7682"/>
                    <a:pt x="236135" y="-32298"/>
                    <a:pt x="233058" y="53856"/>
                  </a:cubicBezTo>
                  <a:cubicBezTo>
                    <a:pt x="269981" y="56933"/>
                    <a:pt x="306904" y="66164"/>
                    <a:pt x="325366" y="100010"/>
                  </a:cubicBezTo>
                  <a:cubicBezTo>
                    <a:pt x="337674" y="121549"/>
                    <a:pt x="334596" y="146164"/>
                    <a:pt x="322289" y="164626"/>
                  </a:cubicBezTo>
                  <a:lnTo>
                    <a:pt x="322289" y="164626"/>
                  </a:lnTo>
                  <a:cubicBezTo>
                    <a:pt x="368443" y="176933"/>
                    <a:pt x="408442" y="204626"/>
                    <a:pt x="402289" y="256933"/>
                  </a:cubicBezTo>
                  <a:cubicBezTo>
                    <a:pt x="420751" y="260010"/>
                    <a:pt x="433058" y="269241"/>
                    <a:pt x="439212" y="290779"/>
                  </a:cubicBezTo>
                  <a:cubicBezTo>
                    <a:pt x="445366" y="309241"/>
                    <a:pt x="426904" y="330779"/>
                    <a:pt x="429981" y="343087"/>
                  </a:cubicBezTo>
                  <a:cubicBezTo>
                    <a:pt x="457673" y="352318"/>
                    <a:pt x="469981" y="380010"/>
                    <a:pt x="473058" y="410779"/>
                  </a:cubicBezTo>
                  <a:cubicBezTo>
                    <a:pt x="476135" y="429241"/>
                    <a:pt x="473058" y="441549"/>
                    <a:pt x="466905" y="453856"/>
                  </a:cubicBezTo>
                  <a:cubicBezTo>
                    <a:pt x="503827" y="466164"/>
                    <a:pt x="543828" y="487702"/>
                    <a:pt x="549981" y="530779"/>
                  </a:cubicBezTo>
                  <a:cubicBezTo>
                    <a:pt x="556135" y="561549"/>
                    <a:pt x="543828" y="586164"/>
                    <a:pt x="522289" y="601549"/>
                  </a:cubicBezTo>
                  <a:cubicBezTo>
                    <a:pt x="568443" y="647703"/>
                    <a:pt x="629981" y="743087"/>
                    <a:pt x="565366" y="773856"/>
                  </a:cubicBezTo>
                  <a:cubicBezTo>
                    <a:pt x="599212" y="807702"/>
                    <a:pt x="626904" y="860010"/>
                    <a:pt x="589982" y="900010"/>
                  </a:cubicBezTo>
                  <a:cubicBezTo>
                    <a:pt x="565366" y="924626"/>
                    <a:pt x="534597" y="921549"/>
                    <a:pt x="516135" y="903087"/>
                  </a:cubicBezTo>
                  <a:cubicBezTo>
                    <a:pt x="494597" y="946164"/>
                    <a:pt x="460751" y="986164"/>
                    <a:pt x="408442" y="973856"/>
                  </a:cubicBezTo>
                  <a:cubicBezTo>
                    <a:pt x="346904" y="958472"/>
                    <a:pt x="334596" y="896933"/>
                    <a:pt x="340751" y="841549"/>
                  </a:cubicBezTo>
                  <a:cubicBezTo>
                    <a:pt x="325366" y="835395"/>
                    <a:pt x="313059" y="823087"/>
                    <a:pt x="303827" y="807702"/>
                  </a:cubicBezTo>
                  <a:cubicBezTo>
                    <a:pt x="291520" y="804626"/>
                    <a:pt x="279212" y="798472"/>
                    <a:pt x="266905" y="792318"/>
                  </a:cubicBezTo>
                  <a:cubicBezTo>
                    <a:pt x="217674" y="878472"/>
                    <a:pt x="88443" y="829241"/>
                    <a:pt x="100750" y="727702"/>
                  </a:cubicBezTo>
                  <a:cubicBezTo>
                    <a:pt x="60750" y="724626"/>
                    <a:pt x="45366" y="724626"/>
                    <a:pt x="29981" y="672318"/>
                  </a:cubicBezTo>
                  <a:cubicBezTo>
                    <a:pt x="14597" y="613856"/>
                    <a:pt x="23827" y="552318"/>
                    <a:pt x="48443" y="496933"/>
                  </a:cubicBezTo>
                  <a:cubicBezTo>
                    <a:pt x="-34634" y="435395"/>
                    <a:pt x="5366" y="346164"/>
                    <a:pt x="48443" y="266164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53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5535540" y="2851565"/>
              <a:ext cx="398920" cy="364875"/>
              <a:chOff x="5535540" y="2851565"/>
              <a:chExt cx="398920" cy="364875"/>
            </a:xfrm>
          </p:grpSpPr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74576F2E-9754-49F6-B8C1-E17717630061}"/>
                  </a:ext>
                </a:extLst>
              </p:cNvPr>
              <p:cNvSpPr/>
              <p:nvPr/>
            </p:nvSpPr>
            <p:spPr>
              <a:xfrm>
                <a:off x="5535540" y="2977719"/>
                <a:ext cx="398920" cy="238721"/>
              </a:xfrm>
              <a:custGeom>
                <a:avLst/>
                <a:gdLst>
                  <a:gd name="connsiteX0" fmla="*/ 289690 w 398920"/>
                  <a:gd name="connsiteY0" fmla="*/ 0 h 238721"/>
                  <a:gd name="connsiteX1" fmla="*/ 129690 w 398920"/>
                  <a:gd name="connsiteY1" fmla="*/ 126154 h 238721"/>
                  <a:gd name="connsiteX2" fmla="*/ 326613 w 398920"/>
                  <a:gd name="connsiteY2" fmla="*/ 76923 h 238721"/>
                  <a:gd name="connsiteX3" fmla="*/ 397382 w 398920"/>
                  <a:gd name="connsiteY3" fmla="*/ 52308 h 238721"/>
                  <a:gd name="connsiteX4" fmla="*/ 391228 w 398920"/>
                  <a:gd name="connsiteY4" fmla="*/ 160000 h 238721"/>
                  <a:gd name="connsiteX5" fmla="*/ 157382 w 398920"/>
                  <a:gd name="connsiteY5" fmla="*/ 233846 h 238721"/>
                  <a:gd name="connsiteX6" fmla="*/ 18920 w 398920"/>
                  <a:gd name="connsiteY6" fmla="*/ 233846 h 238721"/>
                  <a:gd name="connsiteX7" fmla="*/ 12767 w 398920"/>
                  <a:gd name="connsiteY7" fmla="*/ 178462 h 238721"/>
                  <a:gd name="connsiteX8" fmla="*/ 289690 w 398920"/>
                  <a:gd name="connsiteY8" fmla="*/ 0 h 238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8920" h="238721">
                    <a:moveTo>
                      <a:pt x="289690" y="0"/>
                    </a:moveTo>
                    <a:cubicBezTo>
                      <a:pt x="289690" y="0"/>
                      <a:pt x="114305" y="113846"/>
                      <a:pt x="129690" y="126154"/>
                    </a:cubicBezTo>
                    <a:cubicBezTo>
                      <a:pt x="141997" y="141538"/>
                      <a:pt x="326613" y="76923"/>
                      <a:pt x="326613" y="76923"/>
                    </a:cubicBezTo>
                    <a:lnTo>
                      <a:pt x="397382" y="52308"/>
                    </a:lnTo>
                    <a:cubicBezTo>
                      <a:pt x="397382" y="52308"/>
                      <a:pt x="403536" y="135384"/>
                      <a:pt x="391228" y="160000"/>
                    </a:cubicBezTo>
                    <a:cubicBezTo>
                      <a:pt x="317382" y="196923"/>
                      <a:pt x="231228" y="221538"/>
                      <a:pt x="157382" y="233846"/>
                    </a:cubicBezTo>
                    <a:cubicBezTo>
                      <a:pt x="111228" y="243077"/>
                      <a:pt x="28152" y="236923"/>
                      <a:pt x="18920" y="233846"/>
                    </a:cubicBezTo>
                    <a:cubicBezTo>
                      <a:pt x="9690" y="230769"/>
                      <a:pt x="-14926" y="206154"/>
                      <a:pt x="12767" y="178462"/>
                    </a:cubicBezTo>
                    <a:cubicBezTo>
                      <a:pt x="77382" y="110769"/>
                      <a:pt x="289690" y="0"/>
                      <a:pt x="289690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88BC7BEC-BA59-4DC1-ADA1-E213D12A9391}"/>
                  </a:ext>
                </a:extLst>
              </p:cNvPr>
              <p:cNvSpPr/>
              <p:nvPr/>
            </p:nvSpPr>
            <p:spPr>
              <a:xfrm>
                <a:off x="5663890" y="2851565"/>
                <a:ext cx="269032" cy="256418"/>
              </a:xfrm>
              <a:custGeom>
                <a:avLst/>
                <a:gdLst>
                  <a:gd name="connsiteX0" fmla="*/ 145955 w 269032"/>
                  <a:gd name="connsiteY0" fmla="*/ 0 h 256418"/>
                  <a:gd name="connsiteX1" fmla="*/ 161340 w 269032"/>
                  <a:gd name="connsiteY1" fmla="*/ 126154 h 256418"/>
                  <a:gd name="connsiteX2" fmla="*/ 1340 w 269032"/>
                  <a:gd name="connsiteY2" fmla="*/ 252308 h 256418"/>
                  <a:gd name="connsiteX3" fmla="*/ 241339 w 269032"/>
                  <a:gd name="connsiteY3" fmla="*/ 209231 h 256418"/>
                  <a:gd name="connsiteX4" fmla="*/ 269032 w 269032"/>
                  <a:gd name="connsiteY4" fmla="*/ 178462 h 256418"/>
                  <a:gd name="connsiteX5" fmla="*/ 269032 w 269032"/>
                  <a:gd name="connsiteY5" fmla="*/ 43077 h 256418"/>
                  <a:gd name="connsiteX6" fmla="*/ 145955 w 269032"/>
                  <a:gd name="connsiteY6" fmla="*/ 0 h 256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032" h="256418">
                    <a:moveTo>
                      <a:pt x="145955" y="0"/>
                    </a:moveTo>
                    <a:lnTo>
                      <a:pt x="161340" y="126154"/>
                    </a:lnTo>
                    <a:cubicBezTo>
                      <a:pt x="161340" y="126154"/>
                      <a:pt x="-17122" y="230769"/>
                      <a:pt x="1340" y="252308"/>
                    </a:cubicBezTo>
                    <a:cubicBezTo>
                      <a:pt x="13647" y="267692"/>
                      <a:pt x="170570" y="236923"/>
                      <a:pt x="241339" y="209231"/>
                    </a:cubicBezTo>
                    <a:cubicBezTo>
                      <a:pt x="265955" y="200000"/>
                      <a:pt x="269032" y="178462"/>
                      <a:pt x="269032" y="178462"/>
                    </a:cubicBezTo>
                    <a:lnTo>
                      <a:pt x="269032" y="43077"/>
                    </a:lnTo>
                    <a:lnTo>
                      <a:pt x="145955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56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6831384" y="2528488"/>
              <a:ext cx="304615" cy="487571"/>
              <a:chOff x="6831384" y="2528488"/>
              <a:chExt cx="304615" cy="487571"/>
            </a:xfrm>
          </p:grpSpPr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C2821382-C877-418C-BB45-0213EEC7A392}"/>
                  </a:ext>
                </a:extLst>
              </p:cNvPr>
              <p:cNvSpPr/>
              <p:nvPr/>
            </p:nvSpPr>
            <p:spPr>
              <a:xfrm>
                <a:off x="6928269" y="2599257"/>
                <a:ext cx="207729" cy="416801"/>
              </a:xfrm>
              <a:custGeom>
                <a:avLst/>
                <a:gdLst>
                  <a:gd name="connsiteX0" fmla="*/ 16961 w 207729"/>
                  <a:gd name="connsiteY0" fmla="*/ 61538 h 416801"/>
                  <a:gd name="connsiteX1" fmla="*/ 32345 w 207729"/>
                  <a:gd name="connsiteY1" fmla="*/ 264616 h 416801"/>
                  <a:gd name="connsiteX2" fmla="*/ 103114 w 207729"/>
                  <a:gd name="connsiteY2" fmla="*/ 73846 h 416801"/>
                  <a:gd name="connsiteX3" fmla="*/ 121576 w 207729"/>
                  <a:gd name="connsiteY3" fmla="*/ 0 h 416801"/>
                  <a:gd name="connsiteX4" fmla="*/ 207729 w 207729"/>
                  <a:gd name="connsiteY4" fmla="*/ 64616 h 416801"/>
                  <a:gd name="connsiteX5" fmla="*/ 136961 w 207729"/>
                  <a:gd name="connsiteY5" fmla="*/ 298461 h 416801"/>
                  <a:gd name="connsiteX6" fmla="*/ 56960 w 207729"/>
                  <a:gd name="connsiteY6" fmla="*/ 412308 h 416801"/>
                  <a:gd name="connsiteX7" fmla="*/ 4653 w 207729"/>
                  <a:gd name="connsiteY7" fmla="*/ 384615 h 416801"/>
                  <a:gd name="connsiteX8" fmla="*/ 16961 w 207729"/>
                  <a:gd name="connsiteY8" fmla="*/ 61538 h 416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7729" h="416801">
                    <a:moveTo>
                      <a:pt x="16961" y="61538"/>
                    </a:moveTo>
                    <a:cubicBezTo>
                      <a:pt x="16961" y="61538"/>
                      <a:pt x="13884" y="267692"/>
                      <a:pt x="32345" y="264616"/>
                    </a:cubicBezTo>
                    <a:cubicBezTo>
                      <a:pt x="50807" y="261538"/>
                      <a:pt x="103114" y="73846"/>
                      <a:pt x="103114" y="73846"/>
                    </a:cubicBezTo>
                    <a:lnTo>
                      <a:pt x="121576" y="0"/>
                    </a:lnTo>
                    <a:cubicBezTo>
                      <a:pt x="121576" y="0"/>
                      <a:pt x="192345" y="43077"/>
                      <a:pt x="207729" y="64616"/>
                    </a:cubicBezTo>
                    <a:cubicBezTo>
                      <a:pt x="198499" y="144615"/>
                      <a:pt x="167730" y="230769"/>
                      <a:pt x="136961" y="298461"/>
                    </a:cubicBezTo>
                    <a:cubicBezTo>
                      <a:pt x="118499" y="341539"/>
                      <a:pt x="66192" y="409231"/>
                      <a:pt x="56960" y="412308"/>
                    </a:cubicBezTo>
                    <a:cubicBezTo>
                      <a:pt x="47730" y="418462"/>
                      <a:pt x="13884" y="424615"/>
                      <a:pt x="4653" y="384615"/>
                    </a:cubicBezTo>
                    <a:cubicBezTo>
                      <a:pt x="-10731" y="304615"/>
                      <a:pt x="16961" y="61538"/>
                      <a:pt x="16961" y="61538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DA97C522-0BEE-41F0-A9D5-F998645CD84C}"/>
                  </a:ext>
                </a:extLst>
              </p:cNvPr>
              <p:cNvSpPr/>
              <p:nvPr/>
            </p:nvSpPr>
            <p:spPr>
              <a:xfrm>
                <a:off x="6831384" y="2528488"/>
                <a:ext cx="228948" cy="338495"/>
              </a:xfrm>
              <a:custGeom>
                <a:avLst/>
                <a:gdLst>
                  <a:gd name="connsiteX0" fmla="*/ 0 w 228948"/>
                  <a:gd name="connsiteY0" fmla="*/ 76923 h 338495"/>
                  <a:gd name="connsiteX1" fmla="*/ 110769 w 228948"/>
                  <a:gd name="connsiteY1" fmla="*/ 135385 h 338495"/>
                  <a:gd name="connsiteX2" fmla="*/ 126154 w 228948"/>
                  <a:gd name="connsiteY2" fmla="*/ 338462 h 338495"/>
                  <a:gd name="connsiteX3" fmla="*/ 227692 w 228948"/>
                  <a:gd name="connsiteY3" fmla="*/ 116923 h 338495"/>
                  <a:gd name="connsiteX4" fmla="*/ 215385 w 228948"/>
                  <a:gd name="connsiteY4" fmla="*/ 76923 h 338495"/>
                  <a:gd name="connsiteX5" fmla="*/ 104615 w 228948"/>
                  <a:gd name="connsiteY5" fmla="*/ 0 h 338495"/>
                  <a:gd name="connsiteX6" fmla="*/ 0 w 228948"/>
                  <a:gd name="connsiteY6" fmla="*/ 76923 h 338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8948" h="338495">
                    <a:moveTo>
                      <a:pt x="0" y="76923"/>
                    </a:moveTo>
                    <a:lnTo>
                      <a:pt x="110769" y="135385"/>
                    </a:lnTo>
                    <a:cubicBezTo>
                      <a:pt x="110769" y="135385"/>
                      <a:pt x="98462" y="341539"/>
                      <a:pt x="126154" y="338462"/>
                    </a:cubicBezTo>
                    <a:cubicBezTo>
                      <a:pt x="147693" y="338462"/>
                      <a:pt x="209231" y="190769"/>
                      <a:pt x="227692" y="116923"/>
                    </a:cubicBezTo>
                    <a:cubicBezTo>
                      <a:pt x="233846" y="92308"/>
                      <a:pt x="215385" y="76923"/>
                      <a:pt x="215385" y="76923"/>
                    </a:cubicBezTo>
                    <a:lnTo>
                      <a:pt x="104615" y="0"/>
                    </a:lnTo>
                    <a:lnTo>
                      <a:pt x="0" y="76923"/>
                    </a:ln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59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4735998" y="468887"/>
              <a:ext cx="347007" cy="284702"/>
              <a:chOff x="4735998" y="468887"/>
              <a:chExt cx="347007" cy="284702"/>
            </a:xfrm>
          </p:grpSpPr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3B843799-FDDD-4C78-A586-6CB197E192CE}"/>
                  </a:ext>
                </a:extLst>
              </p:cNvPr>
              <p:cNvSpPr/>
              <p:nvPr/>
            </p:nvSpPr>
            <p:spPr>
              <a:xfrm>
                <a:off x="4744018" y="468887"/>
                <a:ext cx="338988" cy="284702"/>
              </a:xfrm>
              <a:custGeom>
                <a:avLst/>
                <a:gdLst>
                  <a:gd name="connsiteX0" fmla="*/ 158135 w 338988"/>
                  <a:gd name="connsiteY0" fmla="*/ 268832 h 284702"/>
                  <a:gd name="connsiteX1" fmla="*/ 228904 w 338988"/>
                  <a:gd name="connsiteY1" fmla="*/ 228832 h 284702"/>
                  <a:gd name="connsiteX2" fmla="*/ 330442 w 338988"/>
                  <a:gd name="connsiteY2" fmla="*/ 142678 h 284702"/>
                  <a:gd name="connsiteX3" fmla="*/ 315058 w 338988"/>
                  <a:gd name="connsiteY3" fmla="*/ 47293 h 284702"/>
                  <a:gd name="connsiteX4" fmla="*/ 308904 w 338988"/>
                  <a:gd name="connsiteY4" fmla="*/ 47293 h 284702"/>
                  <a:gd name="connsiteX5" fmla="*/ 308904 w 338988"/>
                  <a:gd name="connsiteY5" fmla="*/ 47293 h 284702"/>
                  <a:gd name="connsiteX6" fmla="*/ 93520 w 338988"/>
                  <a:gd name="connsiteY6" fmla="*/ 25755 h 284702"/>
                  <a:gd name="connsiteX7" fmla="*/ 96597 w 338988"/>
                  <a:gd name="connsiteY7" fmla="*/ 47293 h 284702"/>
                  <a:gd name="connsiteX8" fmla="*/ 198135 w 338988"/>
                  <a:gd name="connsiteY8" fmla="*/ 68832 h 284702"/>
                  <a:gd name="connsiteX9" fmla="*/ 16597 w 338988"/>
                  <a:gd name="connsiteY9" fmla="*/ 145755 h 284702"/>
                  <a:gd name="connsiteX10" fmla="*/ 10442 w 338988"/>
                  <a:gd name="connsiteY10" fmla="*/ 179601 h 284702"/>
                  <a:gd name="connsiteX11" fmla="*/ 56596 w 338988"/>
                  <a:gd name="connsiteY11" fmla="*/ 167293 h 284702"/>
                  <a:gd name="connsiteX12" fmla="*/ 118135 w 338988"/>
                  <a:gd name="connsiteY12" fmla="*/ 148832 h 284702"/>
                  <a:gd name="connsiteX13" fmla="*/ 50443 w 338988"/>
                  <a:gd name="connsiteY13" fmla="*/ 194986 h 284702"/>
                  <a:gd name="connsiteX14" fmla="*/ 4289 w 338988"/>
                  <a:gd name="connsiteY14" fmla="*/ 231909 h 284702"/>
                  <a:gd name="connsiteX15" fmla="*/ 7365 w 338988"/>
                  <a:gd name="connsiteY15" fmla="*/ 262678 h 284702"/>
                  <a:gd name="connsiteX16" fmla="*/ 41212 w 338988"/>
                  <a:gd name="connsiteY16" fmla="*/ 268832 h 284702"/>
                  <a:gd name="connsiteX17" fmla="*/ 41212 w 338988"/>
                  <a:gd name="connsiteY17" fmla="*/ 271909 h 284702"/>
                  <a:gd name="connsiteX18" fmla="*/ 44289 w 338988"/>
                  <a:gd name="connsiteY18" fmla="*/ 278063 h 284702"/>
                  <a:gd name="connsiteX19" fmla="*/ 96597 w 338988"/>
                  <a:gd name="connsiteY19" fmla="*/ 271909 h 284702"/>
                  <a:gd name="connsiteX20" fmla="*/ 121212 w 338988"/>
                  <a:gd name="connsiteY20" fmla="*/ 256524 h 284702"/>
                  <a:gd name="connsiteX21" fmla="*/ 118135 w 338988"/>
                  <a:gd name="connsiteY21" fmla="*/ 262678 h 284702"/>
                  <a:gd name="connsiteX22" fmla="*/ 121212 w 338988"/>
                  <a:gd name="connsiteY22" fmla="*/ 284216 h 284702"/>
                  <a:gd name="connsiteX23" fmla="*/ 158135 w 338988"/>
                  <a:gd name="connsiteY23" fmla="*/ 268832 h 284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38988" h="284702">
                    <a:moveTo>
                      <a:pt x="158135" y="268832"/>
                    </a:moveTo>
                    <a:cubicBezTo>
                      <a:pt x="182750" y="256524"/>
                      <a:pt x="207365" y="241139"/>
                      <a:pt x="228904" y="228832"/>
                    </a:cubicBezTo>
                    <a:cubicBezTo>
                      <a:pt x="268904" y="207293"/>
                      <a:pt x="315058" y="188832"/>
                      <a:pt x="330442" y="142678"/>
                    </a:cubicBezTo>
                    <a:cubicBezTo>
                      <a:pt x="339674" y="111909"/>
                      <a:pt x="348904" y="65755"/>
                      <a:pt x="315058" y="47293"/>
                    </a:cubicBezTo>
                    <a:cubicBezTo>
                      <a:pt x="311982" y="47293"/>
                      <a:pt x="311982" y="47293"/>
                      <a:pt x="308904" y="47293"/>
                    </a:cubicBezTo>
                    <a:cubicBezTo>
                      <a:pt x="308904" y="47293"/>
                      <a:pt x="308904" y="47293"/>
                      <a:pt x="308904" y="47293"/>
                    </a:cubicBezTo>
                    <a:cubicBezTo>
                      <a:pt x="241212" y="-8091"/>
                      <a:pt x="142751" y="-14245"/>
                      <a:pt x="93520" y="25755"/>
                    </a:cubicBezTo>
                    <a:cubicBezTo>
                      <a:pt x="90443" y="28832"/>
                      <a:pt x="90443" y="44216"/>
                      <a:pt x="96597" y="47293"/>
                    </a:cubicBezTo>
                    <a:cubicBezTo>
                      <a:pt x="130442" y="56524"/>
                      <a:pt x="173520" y="41139"/>
                      <a:pt x="198135" y="68832"/>
                    </a:cubicBezTo>
                    <a:cubicBezTo>
                      <a:pt x="139674" y="99601"/>
                      <a:pt x="65828" y="102678"/>
                      <a:pt x="16597" y="145755"/>
                    </a:cubicBezTo>
                    <a:cubicBezTo>
                      <a:pt x="7365" y="151909"/>
                      <a:pt x="-11095" y="173447"/>
                      <a:pt x="10442" y="179601"/>
                    </a:cubicBezTo>
                    <a:cubicBezTo>
                      <a:pt x="22750" y="182678"/>
                      <a:pt x="44289" y="170370"/>
                      <a:pt x="56596" y="167293"/>
                    </a:cubicBezTo>
                    <a:cubicBezTo>
                      <a:pt x="78135" y="161139"/>
                      <a:pt x="96597" y="154986"/>
                      <a:pt x="118135" y="148832"/>
                    </a:cubicBezTo>
                    <a:cubicBezTo>
                      <a:pt x="96597" y="164216"/>
                      <a:pt x="75058" y="179601"/>
                      <a:pt x="50443" y="194986"/>
                    </a:cubicBezTo>
                    <a:cubicBezTo>
                      <a:pt x="35058" y="204216"/>
                      <a:pt x="13520" y="216524"/>
                      <a:pt x="4289" y="231909"/>
                    </a:cubicBezTo>
                    <a:cubicBezTo>
                      <a:pt x="-1865" y="241139"/>
                      <a:pt x="-1865" y="253447"/>
                      <a:pt x="7365" y="262678"/>
                    </a:cubicBezTo>
                    <a:cubicBezTo>
                      <a:pt x="16597" y="271909"/>
                      <a:pt x="28904" y="271909"/>
                      <a:pt x="41212" y="268832"/>
                    </a:cubicBezTo>
                    <a:cubicBezTo>
                      <a:pt x="41212" y="268832"/>
                      <a:pt x="41212" y="271909"/>
                      <a:pt x="41212" y="271909"/>
                    </a:cubicBezTo>
                    <a:cubicBezTo>
                      <a:pt x="41212" y="274986"/>
                      <a:pt x="41212" y="278063"/>
                      <a:pt x="44289" y="278063"/>
                    </a:cubicBezTo>
                    <a:cubicBezTo>
                      <a:pt x="62751" y="284216"/>
                      <a:pt x="78135" y="281140"/>
                      <a:pt x="96597" y="271909"/>
                    </a:cubicBezTo>
                    <a:cubicBezTo>
                      <a:pt x="105827" y="265755"/>
                      <a:pt x="111982" y="262678"/>
                      <a:pt x="121212" y="256524"/>
                    </a:cubicBezTo>
                    <a:cubicBezTo>
                      <a:pt x="118135" y="259601"/>
                      <a:pt x="118135" y="259601"/>
                      <a:pt x="118135" y="262678"/>
                    </a:cubicBezTo>
                    <a:cubicBezTo>
                      <a:pt x="115058" y="271909"/>
                      <a:pt x="115058" y="278063"/>
                      <a:pt x="121212" y="284216"/>
                    </a:cubicBezTo>
                    <a:cubicBezTo>
                      <a:pt x="130442" y="287293"/>
                      <a:pt x="145827" y="274986"/>
                      <a:pt x="158135" y="26883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E44B6762-FFD0-43E6-8B59-2F681FD2DCE9}"/>
                  </a:ext>
                </a:extLst>
              </p:cNvPr>
              <p:cNvSpPr/>
              <p:nvPr/>
            </p:nvSpPr>
            <p:spPr>
              <a:xfrm>
                <a:off x="4950016" y="554812"/>
                <a:ext cx="69059" cy="35213"/>
              </a:xfrm>
              <a:custGeom>
                <a:avLst/>
                <a:gdLst>
                  <a:gd name="connsiteX0" fmla="*/ 50598 w 69059"/>
                  <a:gd name="connsiteY0" fmla="*/ 35214 h 35213"/>
                  <a:gd name="connsiteX1" fmla="*/ 1367 w 69059"/>
                  <a:gd name="connsiteY1" fmla="*/ 10598 h 35213"/>
                  <a:gd name="connsiteX2" fmla="*/ 1367 w 69059"/>
                  <a:gd name="connsiteY2" fmla="*/ 1368 h 35213"/>
                  <a:gd name="connsiteX3" fmla="*/ 10599 w 69059"/>
                  <a:gd name="connsiteY3" fmla="*/ 1368 h 35213"/>
                  <a:gd name="connsiteX4" fmla="*/ 62906 w 69059"/>
                  <a:gd name="connsiteY4" fmla="*/ 19829 h 35213"/>
                  <a:gd name="connsiteX5" fmla="*/ 69060 w 69059"/>
                  <a:gd name="connsiteY5" fmla="*/ 22906 h 35213"/>
                  <a:gd name="connsiteX6" fmla="*/ 65983 w 69059"/>
                  <a:gd name="connsiteY6" fmla="*/ 29060 h 35213"/>
                  <a:gd name="connsiteX7" fmla="*/ 50598 w 69059"/>
                  <a:gd name="connsiteY7" fmla="*/ 35214 h 35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9059" h="35213">
                    <a:moveTo>
                      <a:pt x="50598" y="35214"/>
                    </a:moveTo>
                    <a:cubicBezTo>
                      <a:pt x="19829" y="35214"/>
                      <a:pt x="1367" y="10598"/>
                      <a:pt x="1367" y="10598"/>
                    </a:cubicBezTo>
                    <a:cubicBezTo>
                      <a:pt x="-1709" y="7521"/>
                      <a:pt x="1367" y="4444"/>
                      <a:pt x="1367" y="1368"/>
                    </a:cubicBezTo>
                    <a:cubicBezTo>
                      <a:pt x="4444" y="-1709"/>
                      <a:pt x="7521" y="1368"/>
                      <a:pt x="10599" y="1368"/>
                    </a:cubicBezTo>
                    <a:cubicBezTo>
                      <a:pt x="10599" y="1368"/>
                      <a:pt x="32136" y="29060"/>
                      <a:pt x="62906" y="19829"/>
                    </a:cubicBezTo>
                    <a:cubicBezTo>
                      <a:pt x="65983" y="19829"/>
                      <a:pt x="69060" y="19829"/>
                      <a:pt x="69060" y="22906"/>
                    </a:cubicBezTo>
                    <a:cubicBezTo>
                      <a:pt x="69060" y="25983"/>
                      <a:pt x="69060" y="29060"/>
                      <a:pt x="65983" y="29060"/>
                    </a:cubicBezTo>
                    <a:cubicBezTo>
                      <a:pt x="62906" y="35214"/>
                      <a:pt x="56752" y="35214"/>
                      <a:pt x="50598" y="3521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E2F1C314-5572-4AFC-ADC8-FCE59F2C57B8}"/>
                  </a:ext>
                </a:extLst>
              </p:cNvPr>
              <p:cNvSpPr/>
              <p:nvPr/>
            </p:nvSpPr>
            <p:spPr>
              <a:xfrm>
                <a:off x="4735998" y="608488"/>
                <a:ext cx="148967" cy="126153"/>
              </a:xfrm>
              <a:custGeom>
                <a:avLst/>
                <a:gdLst>
                  <a:gd name="connsiteX0" fmla="*/ 30769 w 148967"/>
                  <a:gd name="connsiteY0" fmla="*/ 126154 h 126153"/>
                  <a:gd name="connsiteX1" fmla="*/ 12308 w 148967"/>
                  <a:gd name="connsiteY1" fmla="*/ 120000 h 126153"/>
                  <a:gd name="connsiteX2" fmla="*/ 0 w 148967"/>
                  <a:gd name="connsiteY2" fmla="*/ 95385 h 126153"/>
                  <a:gd name="connsiteX3" fmla="*/ 80000 w 148967"/>
                  <a:gd name="connsiteY3" fmla="*/ 24615 h 126153"/>
                  <a:gd name="connsiteX4" fmla="*/ 15385 w 148967"/>
                  <a:gd name="connsiteY4" fmla="*/ 40000 h 126153"/>
                  <a:gd name="connsiteX5" fmla="*/ 9231 w 148967"/>
                  <a:gd name="connsiteY5" fmla="*/ 36923 h 126153"/>
                  <a:gd name="connsiteX6" fmla="*/ 12308 w 148967"/>
                  <a:gd name="connsiteY6" fmla="*/ 30769 h 126153"/>
                  <a:gd name="connsiteX7" fmla="*/ 120001 w 148967"/>
                  <a:gd name="connsiteY7" fmla="*/ 0 h 126153"/>
                  <a:gd name="connsiteX8" fmla="*/ 126154 w 148967"/>
                  <a:gd name="connsiteY8" fmla="*/ 3077 h 126153"/>
                  <a:gd name="connsiteX9" fmla="*/ 123077 w 148967"/>
                  <a:gd name="connsiteY9" fmla="*/ 12308 h 126153"/>
                  <a:gd name="connsiteX10" fmla="*/ 9231 w 148967"/>
                  <a:gd name="connsiteY10" fmla="*/ 98461 h 126153"/>
                  <a:gd name="connsiteX11" fmla="*/ 15385 w 148967"/>
                  <a:gd name="connsiteY11" fmla="*/ 113846 h 126153"/>
                  <a:gd name="connsiteX12" fmla="*/ 40001 w 148967"/>
                  <a:gd name="connsiteY12" fmla="*/ 113846 h 126153"/>
                  <a:gd name="connsiteX13" fmla="*/ 138462 w 148967"/>
                  <a:gd name="connsiteY13" fmla="*/ 58461 h 126153"/>
                  <a:gd name="connsiteX14" fmla="*/ 147693 w 148967"/>
                  <a:gd name="connsiteY14" fmla="*/ 61538 h 126153"/>
                  <a:gd name="connsiteX15" fmla="*/ 144616 w 148967"/>
                  <a:gd name="connsiteY15" fmla="*/ 70769 h 126153"/>
                  <a:gd name="connsiteX16" fmla="*/ 46154 w 148967"/>
                  <a:gd name="connsiteY16" fmla="*/ 126154 h 126153"/>
                  <a:gd name="connsiteX17" fmla="*/ 30769 w 148967"/>
                  <a:gd name="connsiteY17" fmla="*/ 126154 h 12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8967" h="126153">
                    <a:moveTo>
                      <a:pt x="30769" y="126154"/>
                    </a:moveTo>
                    <a:cubicBezTo>
                      <a:pt x="24616" y="126154"/>
                      <a:pt x="18462" y="123077"/>
                      <a:pt x="12308" y="120000"/>
                    </a:cubicBezTo>
                    <a:cubicBezTo>
                      <a:pt x="3077" y="113846"/>
                      <a:pt x="0" y="104615"/>
                      <a:pt x="0" y="95385"/>
                    </a:cubicBezTo>
                    <a:cubicBezTo>
                      <a:pt x="0" y="80000"/>
                      <a:pt x="43078" y="49231"/>
                      <a:pt x="80000" y="24615"/>
                    </a:cubicBezTo>
                    <a:cubicBezTo>
                      <a:pt x="49231" y="33846"/>
                      <a:pt x="15385" y="40000"/>
                      <a:pt x="15385" y="40000"/>
                    </a:cubicBezTo>
                    <a:cubicBezTo>
                      <a:pt x="12308" y="40000"/>
                      <a:pt x="9231" y="40000"/>
                      <a:pt x="9231" y="36923"/>
                    </a:cubicBezTo>
                    <a:cubicBezTo>
                      <a:pt x="9231" y="33846"/>
                      <a:pt x="9231" y="30769"/>
                      <a:pt x="12308" y="30769"/>
                    </a:cubicBezTo>
                    <a:cubicBezTo>
                      <a:pt x="12308" y="30769"/>
                      <a:pt x="83077" y="15385"/>
                      <a:pt x="120001" y="0"/>
                    </a:cubicBezTo>
                    <a:cubicBezTo>
                      <a:pt x="123077" y="0"/>
                      <a:pt x="126154" y="0"/>
                      <a:pt x="126154" y="3077"/>
                    </a:cubicBezTo>
                    <a:cubicBezTo>
                      <a:pt x="126154" y="6154"/>
                      <a:pt x="126154" y="9231"/>
                      <a:pt x="123077" y="12308"/>
                    </a:cubicBezTo>
                    <a:cubicBezTo>
                      <a:pt x="70770" y="46154"/>
                      <a:pt x="12308" y="89231"/>
                      <a:pt x="9231" y="98461"/>
                    </a:cubicBezTo>
                    <a:cubicBezTo>
                      <a:pt x="9231" y="104615"/>
                      <a:pt x="12308" y="110769"/>
                      <a:pt x="15385" y="113846"/>
                    </a:cubicBezTo>
                    <a:cubicBezTo>
                      <a:pt x="21539" y="116923"/>
                      <a:pt x="30769" y="116923"/>
                      <a:pt x="40001" y="113846"/>
                    </a:cubicBezTo>
                    <a:cubicBezTo>
                      <a:pt x="58462" y="107692"/>
                      <a:pt x="138462" y="58461"/>
                      <a:pt x="138462" y="58461"/>
                    </a:cubicBezTo>
                    <a:cubicBezTo>
                      <a:pt x="141539" y="55384"/>
                      <a:pt x="144616" y="58461"/>
                      <a:pt x="147693" y="61538"/>
                    </a:cubicBezTo>
                    <a:cubicBezTo>
                      <a:pt x="150770" y="64615"/>
                      <a:pt x="147693" y="67692"/>
                      <a:pt x="144616" y="70769"/>
                    </a:cubicBezTo>
                    <a:cubicBezTo>
                      <a:pt x="141539" y="73846"/>
                      <a:pt x="61538" y="120000"/>
                      <a:pt x="46154" y="126154"/>
                    </a:cubicBezTo>
                    <a:cubicBezTo>
                      <a:pt x="43078" y="126154"/>
                      <a:pt x="36923" y="126154"/>
                      <a:pt x="30769" y="12615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77646140-731A-4755-A346-D4A3E62B6BBF}"/>
                  </a:ext>
                </a:extLst>
              </p:cNvPr>
              <p:cNvSpPr/>
              <p:nvPr/>
            </p:nvSpPr>
            <p:spPr>
              <a:xfrm>
                <a:off x="4775999" y="670026"/>
                <a:ext cx="150769" cy="83076"/>
              </a:xfrm>
              <a:custGeom>
                <a:avLst/>
                <a:gdLst>
                  <a:gd name="connsiteX0" fmla="*/ 21538 w 150769"/>
                  <a:gd name="connsiteY0" fmla="*/ 83077 h 83076"/>
                  <a:gd name="connsiteX1" fmla="*/ 21538 w 150769"/>
                  <a:gd name="connsiteY1" fmla="*/ 83077 h 83076"/>
                  <a:gd name="connsiteX2" fmla="*/ 0 w 150769"/>
                  <a:gd name="connsiteY2" fmla="*/ 58461 h 83076"/>
                  <a:gd name="connsiteX3" fmla="*/ 6153 w 150769"/>
                  <a:gd name="connsiteY3" fmla="*/ 52308 h 83076"/>
                  <a:gd name="connsiteX4" fmla="*/ 12308 w 150769"/>
                  <a:gd name="connsiteY4" fmla="*/ 58461 h 83076"/>
                  <a:gd name="connsiteX5" fmla="*/ 24615 w 150769"/>
                  <a:gd name="connsiteY5" fmla="*/ 73846 h 83076"/>
                  <a:gd name="connsiteX6" fmla="*/ 24615 w 150769"/>
                  <a:gd name="connsiteY6" fmla="*/ 73846 h 83076"/>
                  <a:gd name="connsiteX7" fmla="*/ 86153 w 150769"/>
                  <a:gd name="connsiteY7" fmla="*/ 43077 h 83076"/>
                  <a:gd name="connsiteX8" fmla="*/ 144615 w 150769"/>
                  <a:gd name="connsiteY8" fmla="*/ 0 h 83076"/>
                  <a:gd name="connsiteX9" fmla="*/ 150769 w 150769"/>
                  <a:gd name="connsiteY9" fmla="*/ 9231 h 83076"/>
                  <a:gd name="connsiteX10" fmla="*/ 92308 w 150769"/>
                  <a:gd name="connsiteY10" fmla="*/ 52308 h 83076"/>
                  <a:gd name="connsiteX11" fmla="*/ 21538 w 150769"/>
                  <a:gd name="connsiteY11" fmla="*/ 83077 h 8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0769" h="83076">
                    <a:moveTo>
                      <a:pt x="21538" y="83077"/>
                    </a:moveTo>
                    <a:lnTo>
                      <a:pt x="21538" y="83077"/>
                    </a:lnTo>
                    <a:cubicBezTo>
                      <a:pt x="6153" y="83077"/>
                      <a:pt x="0" y="67692"/>
                      <a:pt x="0" y="58461"/>
                    </a:cubicBezTo>
                    <a:cubicBezTo>
                      <a:pt x="0" y="55384"/>
                      <a:pt x="3077" y="52308"/>
                      <a:pt x="6153" y="52308"/>
                    </a:cubicBezTo>
                    <a:cubicBezTo>
                      <a:pt x="9230" y="52308"/>
                      <a:pt x="12308" y="55384"/>
                      <a:pt x="12308" y="58461"/>
                    </a:cubicBezTo>
                    <a:cubicBezTo>
                      <a:pt x="12308" y="58461"/>
                      <a:pt x="15385" y="73846"/>
                      <a:pt x="24615" y="73846"/>
                    </a:cubicBezTo>
                    <a:cubicBezTo>
                      <a:pt x="24615" y="73846"/>
                      <a:pt x="24615" y="73846"/>
                      <a:pt x="24615" y="73846"/>
                    </a:cubicBezTo>
                    <a:cubicBezTo>
                      <a:pt x="36923" y="73846"/>
                      <a:pt x="76923" y="52308"/>
                      <a:pt x="86153" y="43077"/>
                    </a:cubicBezTo>
                    <a:cubicBezTo>
                      <a:pt x="95385" y="36923"/>
                      <a:pt x="144615" y="0"/>
                      <a:pt x="144615" y="0"/>
                    </a:cubicBezTo>
                    <a:lnTo>
                      <a:pt x="150769" y="9231"/>
                    </a:lnTo>
                    <a:cubicBezTo>
                      <a:pt x="150769" y="9231"/>
                      <a:pt x="101538" y="43077"/>
                      <a:pt x="92308" y="52308"/>
                    </a:cubicBezTo>
                    <a:cubicBezTo>
                      <a:pt x="86153" y="55384"/>
                      <a:pt x="40000" y="83077"/>
                      <a:pt x="21538" y="8307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279D447E-02CB-426C-825F-4B9843BDCC49}"/>
                </a:ext>
              </a:extLst>
            </p:cNvPr>
            <p:cNvSpPr/>
            <p:nvPr/>
          </p:nvSpPr>
          <p:spPr>
            <a:xfrm>
              <a:off x="5006750" y="-531215"/>
              <a:ext cx="874912" cy="1173781"/>
            </a:xfrm>
            <a:custGeom>
              <a:avLst/>
              <a:gdLst>
                <a:gd name="connsiteX0" fmla="*/ 547711 w 874912"/>
                <a:gd name="connsiteY0" fmla="*/ 342781 h 1173781"/>
                <a:gd name="connsiteX1" fmla="*/ 440018 w 874912"/>
                <a:gd name="connsiteY1" fmla="*/ 724319 h 1173781"/>
                <a:gd name="connsiteX2" fmla="*/ 19 w 874912"/>
                <a:gd name="connsiteY2" fmla="*/ 985858 h 1173781"/>
                <a:gd name="connsiteX3" fmla="*/ 95403 w 874912"/>
                <a:gd name="connsiteY3" fmla="*/ 1173550 h 1173781"/>
                <a:gd name="connsiteX4" fmla="*/ 667711 w 874912"/>
                <a:gd name="connsiteY4" fmla="*/ 896627 h 1173781"/>
                <a:gd name="connsiteX5" fmla="*/ 867711 w 874912"/>
                <a:gd name="connsiteY5" fmla="*/ 262781 h 1173781"/>
                <a:gd name="connsiteX6" fmla="*/ 796942 w 874912"/>
                <a:gd name="connsiteY6" fmla="*/ 1242 h 1173781"/>
                <a:gd name="connsiteX7" fmla="*/ 547711 w 874912"/>
                <a:gd name="connsiteY7" fmla="*/ 342781 h 117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4912" h="1173781">
                  <a:moveTo>
                    <a:pt x="547711" y="342781"/>
                  </a:moveTo>
                  <a:cubicBezTo>
                    <a:pt x="526173" y="428935"/>
                    <a:pt x="486172" y="641242"/>
                    <a:pt x="440018" y="724319"/>
                  </a:cubicBezTo>
                  <a:cubicBezTo>
                    <a:pt x="375403" y="841242"/>
                    <a:pt x="-3058" y="979704"/>
                    <a:pt x="19" y="985858"/>
                  </a:cubicBezTo>
                  <a:cubicBezTo>
                    <a:pt x="12326" y="1053550"/>
                    <a:pt x="36941" y="1133550"/>
                    <a:pt x="95403" y="1173550"/>
                  </a:cubicBezTo>
                  <a:cubicBezTo>
                    <a:pt x="104634" y="1179704"/>
                    <a:pt x="520019" y="1062781"/>
                    <a:pt x="667711" y="896627"/>
                  </a:cubicBezTo>
                  <a:cubicBezTo>
                    <a:pt x="713864" y="844319"/>
                    <a:pt x="827711" y="407396"/>
                    <a:pt x="867711" y="262781"/>
                  </a:cubicBezTo>
                  <a:cubicBezTo>
                    <a:pt x="889249" y="179704"/>
                    <a:pt x="861557" y="13550"/>
                    <a:pt x="796942" y="1242"/>
                  </a:cubicBezTo>
                  <a:cubicBezTo>
                    <a:pt x="689249" y="-17219"/>
                    <a:pt x="587711" y="173550"/>
                    <a:pt x="547711" y="342781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DA7C483C-8662-4E4B-A6C7-AD599B014E1C}"/>
                </a:ext>
              </a:extLst>
            </p:cNvPr>
            <p:cNvSpPr/>
            <p:nvPr/>
          </p:nvSpPr>
          <p:spPr>
            <a:xfrm>
              <a:off x="5590180" y="402334"/>
              <a:ext cx="1388896" cy="2526153"/>
            </a:xfrm>
            <a:custGeom>
              <a:avLst/>
              <a:gdLst>
                <a:gd name="connsiteX0" fmla="*/ 795050 w 1388896"/>
                <a:gd name="connsiteY0" fmla="*/ 0 h 2526153"/>
                <a:gd name="connsiteX1" fmla="*/ 121204 w 1388896"/>
                <a:gd name="connsiteY1" fmla="*/ 0 h 2526153"/>
                <a:gd name="connsiteX2" fmla="*/ 1204 w 1388896"/>
                <a:gd name="connsiteY2" fmla="*/ 464615 h 2526153"/>
                <a:gd name="connsiteX3" fmla="*/ 182742 w 1388896"/>
                <a:gd name="connsiteY3" fmla="*/ 2507693 h 2526153"/>
                <a:gd name="connsiteX4" fmla="*/ 382742 w 1388896"/>
                <a:gd name="connsiteY4" fmla="*/ 2526154 h 2526153"/>
                <a:gd name="connsiteX5" fmla="*/ 465819 w 1388896"/>
                <a:gd name="connsiteY5" fmla="*/ 818462 h 2526153"/>
                <a:gd name="connsiteX6" fmla="*/ 548896 w 1388896"/>
                <a:gd name="connsiteY6" fmla="*/ 1713846 h 2526153"/>
                <a:gd name="connsiteX7" fmla="*/ 604281 w 1388896"/>
                <a:gd name="connsiteY7" fmla="*/ 1809231 h 2526153"/>
                <a:gd name="connsiteX8" fmla="*/ 1284280 w 1388896"/>
                <a:gd name="connsiteY8" fmla="*/ 2298462 h 2526153"/>
                <a:gd name="connsiteX9" fmla="*/ 1388897 w 1388896"/>
                <a:gd name="connsiteY9" fmla="*/ 2107693 h 2526153"/>
                <a:gd name="connsiteX10" fmla="*/ 890435 w 1388896"/>
                <a:gd name="connsiteY10" fmla="*/ 1673846 h 2526153"/>
                <a:gd name="connsiteX11" fmla="*/ 927358 w 1388896"/>
                <a:gd name="connsiteY11" fmla="*/ 421539 h 2526153"/>
                <a:gd name="connsiteX12" fmla="*/ 795050 w 1388896"/>
                <a:gd name="connsiteY12" fmla="*/ 0 h 252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88896" h="2526153">
                  <a:moveTo>
                    <a:pt x="795050" y="0"/>
                  </a:moveTo>
                  <a:lnTo>
                    <a:pt x="121204" y="0"/>
                  </a:lnTo>
                  <a:cubicBezTo>
                    <a:pt x="121204" y="0"/>
                    <a:pt x="22742" y="307692"/>
                    <a:pt x="1204" y="464615"/>
                  </a:cubicBezTo>
                  <a:cubicBezTo>
                    <a:pt x="-17258" y="618462"/>
                    <a:pt x="182742" y="2507693"/>
                    <a:pt x="182742" y="2507693"/>
                  </a:cubicBezTo>
                  <a:lnTo>
                    <a:pt x="382742" y="2526154"/>
                  </a:lnTo>
                  <a:lnTo>
                    <a:pt x="465819" y="818462"/>
                  </a:lnTo>
                  <a:cubicBezTo>
                    <a:pt x="465819" y="818462"/>
                    <a:pt x="527358" y="1501539"/>
                    <a:pt x="548896" y="1713846"/>
                  </a:cubicBezTo>
                  <a:cubicBezTo>
                    <a:pt x="551973" y="1750769"/>
                    <a:pt x="573512" y="1787692"/>
                    <a:pt x="604281" y="1809231"/>
                  </a:cubicBezTo>
                  <a:lnTo>
                    <a:pt x="1284280" y="2298462"/>
                  </a:lnTo>
                  <a:lnTo>
                    <a:pt x="1388897" y="2107693"/>
                  </a:lnTo>
                  <a:lnTo>
                    <a:pt x="890435" y="1673846"/>
                  </a:lnTo>
                  <a:cubicBezTo>
                    <a:pt x="890435" y="1673846"/>
                    <a:pt x="921204" y="486154"/>
                    <a:pt x="927358" y="421539"/>
                  </a:cubicBezTo>
                  <a:cubicBezTo>
                    <a:pt x="939665" y="295385"/>
                    <a:pt x="795050" y="0"/>
                    <a:pt x="795050" y="0"/>
                  </a:cubicBezTo>
                  <a:close/>
                </a:path>
              </a:pathLst>
            </a:custGeom>
            <a:solidFill>
              <a:srgbClr val="7F95BC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5E12DFDC-7F1C-438B-81CF-12FB2F27DA19}"/>
                </a:ext>
              </a:extLst>
            </p:cNvPr>
            <p:cNvSpPr/>
            <p:nvPr/>
          </p:nvSpPr>
          <p:spPr>
            <a:xfrm>
              <a:off x="6009846" y="793103"/>
              <a:ext cx="873076" cy="1913846"/>
            </a:xfrm>
            <a:custGeom>
              <a:avLst/>
              <a:gdLst>
                <a:gd name="connsiteX0" fmla="*/ 867692 w 873076"/>
                <a:gd name="connsiteY0" fmla="*/ 1910769 h 1913846"/>
                <a:gd name="connsiteX1" fmla="*/ 864615 w 873076"/>
                <a:gd name="connsiteY1" fmla="*/ 1910769 h 1913846"/>
                <a:gd name="connsiteX2" fmla="*/ 184615 w 873076"/>
                <a:gd name="connsiteY2" fmla="*/ 1421538 h 1913846"/>
                <a:gd name="connsiteX3" fmla="*/ 126153 w 873076"/>
                <a:gd name="connsiteY3" fmla="*/ 1323077 h 1913846"/>
                <a:gd name="connsiteX4" fmla="*/ 43077 w 873076"/>
                <a:gd name="connsiteY4" fmla="*/ 427692 h 1913846"/>
                <a:gd name="connsiteX5" fmla="*/ 0 w 873076"/>
                <a:gd name="connsiteY5" fmla="*/ 6154 h 1913846"/>
                <a:gd name="connsiteX6" fmla="*/ 6153 w 873076"/>
                <a:gd name="connsiteY6" fmla="*/ 0 h 1913846"/>
                <a:gd name="connsiteX7" fmla="*/ 12308 w 873076"/>
                <a:gd name="connsiteY7" fmla="*/ 6154 h 1913846"/>
                <a:gd name="connsiteX8" fmla="*/ 55384 w 873076"/>
                <a:gd name="connsiteY8" fmla="*/ 427692 h 1913846"/>
                <a:gd name="connsiteX9" fmla="*/ 138462 w 873076"/>
                <a:gd name="connsiteY9" fmla="*/ 1323077 h 1913846"/>
                <a:gd name="connsiteX10" fmla="*/ 190769 w 873076"/>
                <a:gd name="connsiteY10" fmla="*/ 1415385 h 1913846"/>
                <a:gd name="connsiteX11" fmla="*/ 870769 w 873076"/>
                <a:gd name="connsiteY11" fmla="*/ 1904615 h 1913846"/>
                <a:gd name="connsiteX12" fmla="*/ 870769 w 873076"/>
                <a:gd name="connsiteY12" fmla="*/ 1913846 h 1913846"/>
                <a:gd name="connsiteX13" fmla="*/ 867692 w 873076"/>
                <a:gd name="connsiteY13" fmla="*/ 1910769 h 191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3076" h="1913846">
                  <a:moveTo>
                    <a:pt x="867692" y="1910769"/>
                  </a:moveTo>
                  <a:cubicBezTo>
                    <a:pt x="867692" y="1910769"/>
                    <a:pt x="864615" y="1910769"/>
                    <a:pt x="864615" y="1910769"/>
                  </a:cubicBezTo>
                  <a:lnTo>
                    <a:pt x="184615" y="1421538"/>
                  </a:lnTo>
                  <a:cubicBezTo>
                    <a:pt x="150769" y="1396923"/>
                    <a:pt x="132307" y="1363077"/>
                    <a:pt x="126153" y="1323077"/>
                  </a:cubicBezTo>
                  <a:cubicBezTo>
                    <a:pt x="104615" y="1113846"/>
                    <a:pt x="43077" y="436923"/>
                    <a:pt x="43077" y="427692"/>
                  </a:cubicBezTo>
                  <a:lnTo>
                    <a:pt x="0" y="6154"/>
                  </a:lnTo>
                  <a:cubicBezTo>
                    <a:pt x="0" y="3077"/>
                    <a:pt x="3076" y="0"/>
                    <a:pt x="6153" y="0"/>
                  </a:cubicBezTo>
                  <a:cubicBezTo>
                    <a:pt x="9230" y="0"/>
                    <a:pt x="12308" y="3077"/>
                    <a:pt x="12308" y="6154"/>
                  </a:cubicBezTo>
                  <a:lnTo>
                    <a:pt x="55384" y="427692"/>
                  </a:lnTo>
                  <a:cubicBezTo>
                    <a:pt x="55384" y="433846"/>
                    <a:pt x="116923" y="1113846"/>
                    <a:pt x="138462" y="1323077"/>
                  </a:cubicBezTo>
                  <a:cubicBezTo>
                    <a:pt x="141538" y="1360000"/>
                    <a:pt x="163077" y="1393846"/>
                    <a:pt x="190769" y="1415385"/>
                  </a:cubicBezTo>
                  <a:lnTo>
                    <a:pt x="870769" y="1904615"/>
                  </a:lnTo>
                  <a:cubicBezTo>
                    <a:pt x="873846" y="1907692"/>
                    <a:pt x="873846" y="1910769"/>
                    <a:pt x="870769" y="1913846"/>
                  </a:cubicBezTo>
                  <a:cubicBezTo>
                    <a:pt x="870769" y="1910769"/>
                    <a:pt x="870769" y="1910769"/>
                    <a:pt x="867692" y="1910769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D53011C7-BC28-4606-90EE-C2ACF99F26D0}"/>
                </a:ext>
              </a:extLst>
            </p:cNvPr>
            <p:cNvSpPr/>
            <p:nvPr/>
          </p:nvSpPr>
          <p:spPr>
            <a:xfrm>
              <a:off x="6335999" y="556180"/>
              <a:ext cx="182813" cy="190769"/>
            </a:xfrm>
            <a:custGeom>
              <a:avLst/>
              <a:gdLst>
                <a:gd name="connsiteX0" fmla="*/ 178462 w 182813"/>
                <a:gd name="connsiteY0" fmla="*/ 190769 h 190769"/>
                <a:gd name="connsiteX1" fmla="*/ 178462 w 182813"/>
                <a:gd name="connsiteY1" fmla="*/ 190769 h 190769"/>
                <a:gd name="connsiteX2" fmla="*/ 0 w 182813"/>
                <a:gd name="connsiteY2" fmla="*/ 6154 h 190769"/>
                <a:gd name="connsiteX3" fmla="*/ 3077 w 182813"/>
                <a:gd name="connsiteY3" fmla="*/ 0 h 190769"/>
                <a:gd name="connsiteX4" fmla="*/ 9231 w 182813"/>
                <a:gd name="connsiteY4" fmla="*/ 3077 h 190769"/>
                <a:gd name="connsiteX5" fmla="*/ 178462 w 182813"/>
                <a:gd name="connsiteY5" fmla="*/ 181539 h 190769"/>
                <a:gd name="connsiteX6" fmla="*/ 181539 w 182813"/>
                <a:gd name="connsiteY6" fmla="*/ 187692 h 190769"/>
                <a:gd name="connsiteX7" fmla="*/ 178462 w 182813"/>
                <a:gd name="connsiteY7" fmla="*/ 190769 h 19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813" h="190769">
                  <a:moveTo>
                    <a:pt x="178462" y="190769"/>
                  </a:moveTo>
                  <a:cubicBezTo>
                    <a:pt x="175385" y="190769"/>
                    <a:pt x="175385" y="190769"/>
                    <a:pt x="178462" y="190769"/>
                  </a:cubicBezTo>
                  <a:cubicBezTo>
                    <a:pt x="58462" y="156923"/>
                    <a:pt x="3077" y="12308"/>
                    <a:pt x="0" y="6154"/>
                  </a:cubicBezTo>
                  <a:cubicBezTo>
                    <a:pt x="0" y="3077"/>
                    <a:pt x="0" y="0"/>
                    <a:pt x="3077" y="0"/>
                  </a:cubicBezTo>
                  <a:cubicBezTo>
                    <a:pt x="6154" y="0"/>
                    <a:pt x="9231" y="0"/>
                    <a:pt x="9231" y="3077"/>
                  </a:cubicBezTo>
                  <a:cubicBezTo>
                    <a:pt x="9231" y="3077"/>
                    <a:pt x="64616" y="150769"/>
                    <a:pt x="178462" y="181539"/>
                  </a:cubicBezTo>
                  <a:cubicBezTo>
                    <a:pt x="181539" y="181539"/>
                    <a:pt x="184615" y="184615"/>
                    <a:pt x="181539" y="187692"/>
                  </a:cubicBezTo>
                  <a:cubicBezTo>
                    <a:pt x="181539" y="190769"/>
                    <a:pt x="178462" y="190769"/>
                    <a:pt x="178462" y="190769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60BAFC1F-DA21-4C2B-962F-20B13877FBEC}"/>
                </a:ext>
              </a:extLst>
            </p:cNvPr>
            <p:cNvSpPr/>
            <p:nvPr/>
          </p:nvSpPr>
          <p:spPr>
            <a:xfrm>
              <a:off x="5609845" y="559257"/>
              <a:ext cx="175384" cy="193846"/>
            </a:xfrm>
            <a:custGeom>
              <a:avLst/>
              <a:gdLst>
                <a:gd name="connsiteX0" fmla="*/ 6153 w 175384"/>
                <a:gd name="connsiteY0" fmla="*/ 193846 h 193846"/>
                <a:gd name="connsiteX1" fmla="*/ 0 w 175384"/>
                <a:gd name="connsiteY1" fmla="*/ 190769 h 193846"/>
                <a:gd name="connsiteX2" fmla="*/ 3076 w 175384"/>
                <a:gd name="connsiteY2" fmla="*/ 184615 h 193846"/>
                <a:gd name="connsiteX3" fmla="*/ 163077 w 175384"/>
                <a:gd name="connsiteY3" fmla="*/ 3077 h 193846"/>
                <a:gd name="connsiteX4" fmla="*/ 172307 w 175384"/>
                <a:gd name="connsiteY4" fmla="*/ 0 h 193846"/>
                <a:gd name="connsiteX5" fmla="*/ 175384 w 175384"/>
                <a:gd name="connsiteY5" fmla="*/ 9231 h 193846"/>
                <a:gd name="connsiteX6" fmla="*/ 6153 w 175384"/>
                <a:gd name="connsiteY6" fmla="*/ 193846 h 193846"/>
                <a:gd name="connsiteX7" fmla="*/ 6153 w 175384"/>
                <a:gd name="connsiteY7" fmla="*/ 193846 h 19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384" h="193846">
                  <a:moveTo>
                    <a:pt x="6153" y="193846"/>
                  </a:moveTo>
                  <a:cubicBezTo>
                    <a:pt x="3076" y="193846"/>
                    <a:pt x="3076" y="193846"/>
                    <a:pt x="0" y="190769"/>
                  </a:cubicBezTo>
                  <a:cubicBezTo>
                    <a:pt x="0" y="187693"/>
                    <a:pt x="0" y="184615"/>
                    <a:pt x="3076" y="184615"/>
                  </a:cubicBezTo>
                  <a:cubicBezTo>
                    <a:pt x="83076" y="153846"/>
                    <a:pt x="163077" y="3077"/>
                    <a:pt x="163077" y="3077"/>
                  </a:cubicBezTo>
                  <a:cubicBezTo>
                    <a:pt x="163077" y="0"/>
                    <a:pt x="169231" y="0"/>
                    <a:pt x="172307" y="0"/>
                  </a:cubicBezTo>
                  <a:cubicBezTo>
                    <a:pt x="175384" y="0"/>
                    <a:pt x="175384" y="6154"/>
                    <a:pt x="175384" y="9231"/>
                  </a:cubicBezTo>
                  <a:cubicBezTo>
                    <a:pt x="169231" y="12308"/>
                    <a:pt x="89231" y="160000"/>
                    <a:pt x="6153" y="193846"/>
                  </a:cubicBezTo>
                  <a:cubicBezTo>
                    <a:pt x="6153" y="193846"/>
                    <a:pt x="6153" y="193846"/>
                    <a:pt x="6153" y="193846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36CE5B1F-8416-457B-A53A-036F2DE096DE}"/>
                </a:ext>
              </a:extLst>
            </p:cNvPr>
            <p:cNvSpPr/>
            <p:nvPr/>
          </p:nvSpPr>
          <p:spPr>
            <a:xfrm>
              <a:off x="5610963" y="-565248"/>
              <a:ext cx="825077" cy="995366"/>
            </a:xfrm>
            <a:custGeom>
              <a:avLst/>
              <a:gdLst>
                <a:gd name="connsiteX0" fmla="*/ 780421 w 825077"/>
                <a:gd name="connsiteY0" fmla="*/ 395275 h 995366"/>
                <a:gd name="connsiteX1" fmla="*/ 765036 w 825077"/>
                <a:gd name="connsiteY1" fmla="*/ 69121 h 995366"/>
                <a:gd name="connsiteX2" fmla="*/ 392728 w 825077"/>
                <a:gd name="connsiteY2" fmla="*/ 4506 h 995366"/>
                <a:gd name="connsiteX3" fmla="*/ 91190 w 825077"/>
                <a:gd name="connsiteY3" fmla="*/ 106044 h 995366"/>
                <a:gd name="connsiteX4" fmla="*/ 51190 w 825077"/>
                <a:gd name="connsiteY4" fmla="*/ 659890 h 995366"/>
                <a:gd name="connsiteX5" fmla="*/ 94267 w 825077"/>
                <a:gd name="connsiteY5" fmla="*/ 989121 h 995366"/>
                <a:gd name="connsiteX6" fmla="*/ 777344 w 825077"/>
                <a:gd name="connsiteY6" fmla="*/ 973737 h 995366"/>
                <a:gd name="connsiteX7" fmla="*/ 780421 w 825077"/>
                <a:gd name="connsiteY7" fmla="*/ 395275 h 99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5077" h="995366">
                  <a:moveTo>
                    <a:pt x="780421" y="395275"/>
                  </a:moveTo>
                  <a:cubicBezTo>
                    <a:pt x="789651" y="364506"/>
                    <a:pt x="885036" y="133737"/>
                    <a:pt x="765036" y="69121"/>
                  </a:cubicBezTo>
                  <a:cubicBezTo>
                    <a:pt x="660421" y="13737"/>
                    <a:pt x="512728" y="-10879"/>
                    <a:pt x="392728" y="4506"/>
                  </a:cubicBezTo>
                  <a:cubicBezTo>
                    <a:pt x="260421" y="19890"/>
                    <a:pt x="128113" y="41429"/>
                    <a:pt x="91190" y="106044"/>
                  </a:cubicBezTo>
                  <a:cubicBezTo>
                    <a:pt x="-22656" y="293737"/>
                    <a:pt x="-22656" y="459890"/>
                    <a:pt x="51190" y="659890"/>
                  </a:cubicBezTo>
                  <a:cubicBezTo>
                    <a:pt x="72729" y="718352"/>
                    <a:pt x="78882" y="853737"/>
                    <a:pt x="94267" y="989121"/>
                  </a:cubicBezTo>
                  <a:cubicBezTo>
                    <a:pt x="94267" y="989121"/>
                    <a:pt x="380421" y="1010660"/>
                    <a:pt x="777344" y="973737"/>
                  </a:cubicBezTo>
                  <a:cubicBezTo>
                    <a:pt x="743498" y="752198"/>
                    <a:pt x="774267" y="419890"/>
                    <a:pt x="780421" y="395275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0FE806DD-A8BC-4594-93F0-A7D55A99240E}"/>
                </a:ext>
              </a:extLst>
            </p:cNvPr>
            <p:cNvSpPr/>
            <p:nvPr/>
          </p:nvSpPr>
          <p:spPr>
            <a:xfrm>
              <a:off x="5892922" y="-745357"/>
              <a:ext cx="310769" cy="329230"/>
            </a:xfrm>
            <a:custGeom>
              <a:avLst/>
              <a:gdLst>
                <a:gd name="connsiteX0" fmla="*/ 55385 w 310769"/>
                <a:gd name="connsiteY0" fmla="*/ 61538 h 329230"/>
                <a:gd name="connsiteX1" fmla="*/ 0 w 310769"/>
                <a:gd name="connsiteY1" fmla="*/ 203077 h 329230"/>
                <a:gd name="connsiteX2" fmla="*/ 40001 w 310769"/>
                <a:gd name="connsiteY2" fmla="*/ 329231 h 329230"/>
                <a:gd name="connsiteX3" fmla="*/ 310769 w 310769"/>
                <a:gd name="connsiteY3" fmla="*/ 187692 h 329230"/>
                <a:gd name="connsiteX4" fmla="*/ 258461 w 310769"/>
                <a:gd name="connsiteY4" fmla="*/ 0 h 329230"/>
                <a:gd name="connsiteX5" fmla="*/ 55385 w 310769"/>
                <a:gd name="connsiteY5" fmla="*/ 61538 h 32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0769" h="329230">
                  <a:moveTo>
                    <a:pt x="55385" y="61538"/>
                  </a:moveTo>
                  <a:cubicBezTo>
                    <a:pt x="55385" y="61538"/>
                    <a:pt x="61538" y="172308"/>
                    <a:pt x="0" y="203077"/>
                  </a:cubicBezTo>
                  <a:lnTo>
                    <a:pt x="40001" y="329231"/>
                  </a:lnTo>
                  <a:cubicBezTo>
                    <a:pt x="40001" y="329231"/>
                    <a:pt x="258461" y="218462"/>
                    <a:pt x="310769" y="187692"/>
                  </a:cubicBezTo>
                  <a:cubicBezTo>
                    <a:pt x="255385" y="144615"/>
                    <a:pt x="258461" y="61538"/>
                    <a:pt x="258461" y="0"/>
                  </a:cubicBezTo>
                  <a:cubicBezTo>
                    <a:pt x="261539" y="0"/>
                    <a:pt x="110769" y="67692"/>
                    <a:pt x="55385" y="61538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27DF3FF7-7F08-44B5-AC76-CECAE3A5D41A}"/>
                </a:ext>
              </a:extLst>
            </p:cNvPr>
            <p:cNvSpPr/>
            <p:nvPr/>
          </p:nvSpPr>
          <p:spPr>
            <a:xfrm>
              <a:off x="5609011" y="-462281"/>
              <a:ext cx="102372" cy="560000"/>
            </a:xfrm>
            <a:custGeom>
              <a:avLst/>
              <a:gdLst>
                <a:gd name="connsiteX0" fmla="*/ 56219 w 102372"/>
                <a:gd name="connsiteY0" fmla="*/ 560000 h 560000"/>
                <a:gd name="connsiteX1" fmla="*/ 50065 w 102372"/>
                <a:gd name="connsiteY1" fmla="*/ 556923 h 560000"/>
                <a:gd name="connsiteX2" fmla="*/ 34680 w 102372"/>
                <a:gd name="connsiteY2" fmla="*/ 501538 h 560000"/>
                <a:gd name="connsiteX3" fmla="*/ 835 w 102372"/>
                <a:gd name="connsiteY3" fmla="*/ 350769 h 560000"/>
                <a:gd name="connsiteX4" fmla="*/ 90065 w 102372"/>
                <a:gd name="connsiteY4" fmla="*/ 3077 h 560000"/>
                <a:gd name="connsiteX5" fmla="*/ 99296 w 102372"/>
                <a:gd name="connsiteY5" fmla="*/ 0 h 560000"/>
                <a:gd name="connsiteX6" fmla="*/ 102373 w 102372"/>
                <a:gd name="connsiteY6" fmla="*/ 9231 h 560000"/>
                <a:gd name="connsiteX7" fmla="*/ 13142 w 102372"/>
                <a:gd name="connsiteY7" fmla="*/ 350769 h 560000"/>
                <a:gd name="connsiteX8" fmla="*/ 46989 w 102372"/>
                <a:gd name="connsiteY8" fmla="*/ 501538 h 560000"/>
                <a:gd name="connsiteX9" fmla="*/ 62373 w 102372"/>
                <a:gd name="connsiteY9" fmla="*/ 556923 h 560000"/>
                <a:gd name="connsiteX10" fmla="*/ 56219 w 102372"/>
                <a:gd name="connsiteY10" fmla="*/ 560000 h 560000"/>
                <a:gd name="connsiteX11" fmla="*/ 56219 w 102372"/>
                <a:gd name="connsiteY11" fmla="*/ 560000 h 5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372" h="560000">
                  <a:moveTo>
                    <a:pt x="56219" y="560000"/>
                  </a:moveTo>
                  <a:cubicBezTo>
                    <a:pt x="53142" y="560000"/>
                    <a:pt x="50065" y="556923"/>
                    <a:pt x="50065" y="556923"/>
                  </a:cubicBezTo>
                  <a:cubicBezTo>
                    <a:pt x="43911" y="538462"/>
                    <a:pt x="40834" y="520000"/>
                    <a:pt x="34680" y="501538"/>
                  </a:cubicBezTo>
                  <a:cubicBezTo>
                    <a:pt x="19295" y="449231"/>
                    <a:pt x="3911" y="396923"/>
                    <a:pt x="835" y="350769"/>
                  </a:cubicBezTo>
                  <a:cubicBezTo>
                    <a:pt x="-5320" y="224615"/>
                    <a:pt x="22373" y="107692"/>
                    <a:pt x="90065" y="3077"/>
                  </a:cubicBezTo>
                  <a:cubicBezTo>
                    <a:pt x="93142" y="0"/>
                    <a:pt x="96219" y="0"/>
                    <a:pt x="99296" y="0"/>
                  </a:cubicBezTo>
                  <a:cubicBezTo>
                    <a:pt x="102373" y="3077"/>
                    <a:pt x="102373" y="6154"/>
                    <a:pt x="102373" y="9231"/>
                  </a:cubicBezTo>
                  <a:cubicBezTo>
                    <a:pt x="37757" y="113846"/>
                    <a:pt x="6988" y="227692"/>
                    <a:pt x="13142" y="350769"/>
                  </a:cubicBezTo>
                  <a:cubicBezTo>
                    <a:pt x="16219" y="396923"/>
                    <a:pt x="31604" y="449231"/>
                    <a:pt x="46989" y="501538"/>
                  </a:cubicBezTo>
                  <a:cubicBezTo>
                    <a:pt x="53142" y="520000"/>
                    <a:pt x="59296" y="538462"/>
                    <a:pt x="62373" y="556923"/>
                  </a:cubicBezTo>
                  <a:cubicBezTo>
                    <a:pt x="62373" y="556923"/>
                    <a:pt x="59296" y="560000"/>
                    <a:pt x="56219" y="560000"/>
                  </a:cubicBezTo>
                  <a:cubicBezTo>
                    <a:pt x="56219" y="560000"/>
                    <a:pt x="56219" y="560000"/>
                    <a:pt x="56219" y="560000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7EC067BB-7D28-4E22-893B-239E91A93A6D}"/>
                </a:ext>
              </a:extLst>
            </p:cNvPr>
            <p:cNvSpPr/>
            <p:nvPr/>
          </p:nvSpPr>
          <p:spPr>
            <a:xfrm>
              <a:off x="5729845" y="-19008"/>
              <a:ext cx="404351" cy="36727"/>
            </a:xfrm>
            <a:custGeom>
              <a:avLst/>
              <a:gdLst>
                <a:gd name="connsiteX0" fmla="*/ 6153 w 404351"/>
                <a:gd name="connsiteY0" fmla="*/ 36727 h 36727"/>
                <a:gd name="connsiteX1" fmla="*/ 0 w 404351"/>
                <a:gd name="connsiteY1" fmla="*/ 33650 h 36727"/>
                <a:gd name="connsiteX2" fmla="*/ 3077 w 404351"/>
                <a:gd name="connsiteY2" fmla="*/ 27496 h 36727"/>
                <a:gd name="connsiteX3" fmla="*/ 400000 w 404351"/>
                <a:gd name="connsiteY3" fmla="*/ 15189 h 36727"/>
                <a:gd name="connsiteX4" fmla="*/ 403077 w 404351"/>
                <a:gd name="connsiteY4" fmla="*/ 21343 h 36727"/>
                <a:gd name="connsiteX5" fmla="*/ 396923 w 404351"/>
                <a:gd name="connsiteY5" fmla="*/ 24420 h 36727"/>
                <a:gd name="connsiteX6" fmla="*/ 6153 w 404351"/>
                <a:gd name="connsiteY6" fmla="*/ 36727 h 36727"/>
                <a:gd name="connsiteX7" fmla="*/ 6153 w 404351"/>
                <a:gd name="connsiteY7" fmla="*/ 36727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351" h="36727">
                  <a:moveTo>
                    <a:pt x="6153" y="36727"/>
                  </a:moveTo>
                  <a:cubicBezTo>
                    <a:pt x="3077" y="36727"/>
                    <a:pt x="3077" y="36727"/>
                    <a:pt x="0" y="33650"/>
                  </a:cubicBezTo>
                  <a:cubicBezTo>
                    <a:pt x="0" y="30573"/>
                    <a:pt x="0" y="27496"/>
                    <a:pt x="3077" y="27496"/>
                  </a:cubicBezTo>
                  <a:cubicBezTo>
                    <a:pt x="89231" y="-3273"/>
                    <a:pt x="298461" y="-9427"/>
                    <a:pt x="400000" y="15189"/>
                  </a:cubicBezTo>
                  <a:cubicBezTo>
                    <a:pt x="403077" y="15189"/>
                    <a:pt x="406153" y="18266"/>
                    <a:pt x="403077" y="21343"/>
                  </a:cubicBezTo>
                  <a:cubicBezTo>
                    <a:pt x="403077" y="24420"/>
                    <a:pt x="400000" y="27496"/>
                    <a:pt x="396923" y="24420"/>
                  </a:cubicBezTo>
                  <a:cubicBezTo>
                    <a:pt x="301538" y="-196"/>
                    <a:pt x="92308" y="5958"/>
                    <a:pt x="6153" y="36727"/>
                  </a:cubicBezTo>
                  <a:cubicBezTo>
                    <a:pt x="9230" y="36727"/>
                    <a:pt x="6153" y="36727"/>
                    <a:pt x="6153" y="36727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4AAB8F74-41FE-46AC-B617-34C168BFBB25}"/>
                </a:ext>
              </a:extLst>
            </p:cNvPr>
            <p:cNvSpPr/>
            <p:nvPr/>
          </p:nvSpPr>
          <p:spPr>
            <a:xfrm>
              <a:off x="5702153" y="396180"/>
              <a:ext cx="316922" cy="30769"/>
            </a:xfrm>
            <a:custGeom>
              <a:avLst/>
              <a:gdLst>
                <a:gd name="connsiteX0" fmla="*/ 6153 w 316922"/>
                <a:gd name="connsiteY0" fmla="*/ 30769 h 30769"/>
                <a:gd name="connsiteX1" fmla="*/ 0 w 316922"/>
                <a:gd name="connsiteY1" fmla="*/ 24615 h 30769"/>
                <a:gd name="connsiteX2" fmla="*/ 6153 w 316922"/>
                <a:gd name="connsiteY2" fmla="*/ 18461 h 30769"/>
                <a:gd name="connsiteX3" fmla="*/ 310769 w 316922"/>
                <a:gd name="connsiteY3" fmla="*/ 0 h 30769"/>
                <a:gd name="connsiteX4" fmla="*/ 316923 w 316922"/>
                <a:gd name="connsiteY4" fmla="*/ 3077 h 30769"/>
                <a:gd name="connsiteX5" fmla="*/ 313846 w 316922"/>
                <a:gd name="connsiteY5" fmla="*/ 9231 h 30769"/>
                <a:gd name="connsiteX6" fmla="*/ 6153 w 316922"/>
                <a:gd name="connsiteY6" fmla="*/ 30769 h 30769"/>
                <a:gd name="connsiteX7" fmla="*/ 6153 w 316922"/>
                <a:gd name="connsiteY7" fmla="*/ 30769 h 3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922" h="30769">
                  <a:moveTo>
                    <a:pt x="6153" y="30769"/>
                  </a:moveTo>
                  <a:cubicBezTo>
                    <a:pt x="3076" y="30769"/>
                    <a:pt x="0" y="27692"/>
                    <a:pt x="0" y="24615"/>
                  </a:cubicBezTo>
                  <a:cubicBezTo>
                    <a:pt x="0" y="21538"/>
                    <a:pt x="3076" y="18461"/>
                    <a:pt x="6153" y="18461"/>
                  </a:cubicBezTo>
                  <a:cubicBezTo>
                    <a:pt x="9230" y="18461"/>
                    <a:pt x="218461" y="15385"/>
                    <a:pt x="310769" y="0"/>
                  </a:cubicBezTo>
                  <a:cubicBezTo>
                    <a:pt x="313846" y="0"/>
                    <a:pt x="316923" y="0"/>
                    <a:pt x="316923" y="3077"/>
                  </a:cubicBezTo>
                  <a:cubicBezTo>
                    <a:pt x="316923" y="6154"/>
                    <a:pt x="316923" y="9231"/>
                    <a:pt x="313846" y="9231"/>
                  </a:cubicBezTo>
                  <a:cubicBezTo>
                    <a:pt x="218461" y="27692"/>
                    <a:pt x="9230" y="30769"/>
                    <a:pt x="6153" y="30769"/>
                  </a:cubicBezTo>
                  <a:cubicBezTo>
                    <a:pt x="6153" y="30769"/>
                    <a:pt x="6153" y="30769"/>
                    <a:pt x="6153" y="30769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03A79887-F6E0-4F6B-B916-58D1C07C9D9E}"/>
                </a:ext>
              </a:extLst>
            </p:cNvPr>
            <p:cNvSpPr/>
            <p:nvPr/>
          </p:nvSpPr>
          <p:spPr>
            <a:xfrm>
              <a:off x="6001657" y="-569973"/>
              <a:ext cx="669727" cy="1624615"/>
            </a:xfrm>
            <a:custGeom>
              <a:avLst/>
              <a:gdLst>
                <a:gd name="connsiteX0" fmla="*/ 23573 w 669727"/>
                <a:gd name="connsiteY0" fmla="*/ 310769 h 1624615"/>
                <a:gd name="connsiteX1" fmla="*/ 75881 w 669727"/>
                <a:gd name="connsiteY1" fmla="*/ 1046154 h 1624615"/>
                <a:gd name="connsiteX2" fmla="*/ 226650 w 669727"/>
                <a:gd name="connsiteY2" fmla="*/ 1624616 h 1624615"/>
                <a:gd name="connsiteX3" fmla="*/ 669727 w 669727"/>
                <a:gd name="connsiteY3" fmla="*/ 1396923 h 1624615"/>
                <a:gd name="connsiteX4" fmla="*/ 454343 w 669727"/>
                <a:gd name="connsiteY4" fmla="*/ 867692 h 1624615"/>
                <a:gd name="connsiteX5" fmla="*/ 454343 w 669727"/>
                <a:gd name="connsiteY5" fmla="*/ 393846 h 1624615"/>
                <a:gd name="connsiteX6" fmla="*/ 454343 w 669727"/>
                <a:gd name="connsiteY6" fmla="*/ 120000 h 1624615"/>
                <a:gd name="connsiteX7" fmla="*/ 189727 w 669727"/>
                <a:gd name="connsiteY7" fmla="*/ 0 h 1624615"/>
                <a:gd name="connsiteX8" fmla="*/ 23573 w 669727"/>
                <a:gd name="connsiteY8" fmla="*/ 310769 h 162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9727" h="1624615">
                  <a:moveTo>
                    <a:pt x="23573" y="310769"/>
                  </a:moveTo>
                  <a:cubicBezTo>
                    <a:pt x="-37965" y="547692"/>
                    <a:pt x="35881" y="800000"/>
                    <a:pt x="75881" y="1046154"/>
                  </a:cubicBezTo>
                  <a:cubicBezTo>
                    <a:pt x="109727" y="1243077"/>
                    <a:pt x="155881" y="1440000"/>
                    <a:pt x="226650" y="1624616"/>
                  </a:cubicBezTo>
                  <a:cubicBezTo>
                    <a:pt x="423574" y="1596923"/>
                    <a:pt x="571266" y="1516923"/>
                    <a:pt x="669727" y="1396923"/>
                  </a:cubicBezTo>
                  <a:cubicBezTo>
                    <a:pt x="608189" y="1267692"/>
                    <a:pt x="482035" y="1009231"/>
                    <a:pt x="454343" y="867692"/>
                  </a:cubicBezTo>
                  <a:cubicBezTo>
                    <a:pt x="423574" y="710769"/>
                    <a:pt x="414342" y="550769"/>
                    <a:pt x="454343" y="393846"/>
                  </a:cubicBezTo>
                  <a:cubicBezTo>
                    <a:pt x="478958" y="301538"/>
                    <a:pt x="515881" y="206154"/>
                    <a:pt x="454343" y="120000"/>
                  </a:cubicBezTo>
                  <a:cubicBezTo>
                    <a:pt x="402035" y="49231"/>
                    <a:pt x="269727" y="12308"/>
                    <a:pt x="189727" y="0"/>
                  </a:cubicBezTo>
                  <a:cubicBezTo>
                    <a:pt x="183573" y="0"/>
                    <a:pt x="48189" y="206154"/>
                    <a:pt x="23573" y="310769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6F23C0A6-49B7-4C18-9BB2-5702FDD1D874}"/>
                </a:ext>
              </a:extLst>
            </p:cNvPr>
            <p:cNvSpPr/>
            <p:nvPr/>
          </p:nvSpPr>
          <p:spPr>
            <a:xfrm>
              <a:off x="5526675" y="-557665"/>
              <a:ext cx="393939" cy="1563985"/>
            </a:xfrm>
            <a:custGeom>
              <a:avLst/>
              <a:gdLst>
                <a:gd name="connsiteX0" fmla="*/ 94 w 393939"/>
                <a:gd name="connsiteY0" fmla="*/ 1535385 h 1563985"/>
                <a:gd name="connsiteX1" fmla="*/ 77017 w 393939"/>
                <a:gd name="connsiteY1" fmla="*/ 1560000 h 1563985"/>
                <a:gd name="connsiteX2" fmla="*/ 77017 w 393939"/>
                <a:gd name="connsiteY2" fmla="*/ 1455385 h 1563985"/>
                <a:gd name="connsiteX3" fmla="*/ 178555 w 393939"/>
                <a:gd name="connsiteY3" fmla="*/ 1089231 h 1563985"/>
                <a:gd name="connsiteX4" fmla="*/ 197016 w 393939"/>
                <a:gd name="connsiteY4" fmla="*/ 741538 h 1563985"/>
                <a:gd name="connsiteX5" fmla="*/ 369324 w 393939"/>
                <a:gd name="connsiteY5" fmla="*/ 18461 h 1563985"/>
                <a:gd name="connsiteX6" fmla="*/ 393939 w 393939"/>
                <a:gd name="connsiteY6" fmla="*/ 0 h 1563985"/>
                <a:gd name="connsiteX7" fmla="*/ 58555 w 393939"/>
                <a:gd name="connsiteY7" fmla="*/ 495385 h 1563985"/>
                <a:gd name="connsiteX8" fmla="*/ 89324 w 393939"/>
                <a:gd name="connsiteY8" fmla="*/ 729231 h 1563985"/>
                <a:gd name="connsiteX9" fmla="*/ 86247 w 393939"/>
                <a:gd name="connsiteY9" fmla="*/ 963077 h 1563985"/>
                <a:gd name="connsiteX10" fmla="*/ 94 w 393939"/>
                <a:gd name="connsiteY10" fmla="*/ 1535385 h 156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3939" h="1563985">
                  <a:moveTo>
                    <a:pt x="94" y="1535385"/>
                  </a:moveTo>
                  <a:cubicBezTo>
                    <a:pt x="-2984" y="1553846"/>
                    <a:pt x="70862" y="1572308"/>
                    <a:pt x="77017" y="1560000"/>
                  </a:cubicBezTo>
                  <a:cubicBezTo>
                    <a:pt x="80094" y="1556923"/>
                    <a:pt x="77017" y="1461539"/>
                    <a:pt x="77017" y="1455385"/>
                  </a:cubicBezTo>
                  <a:cubicBezTo>
                    <a:pt x="95478" y="1323077"/>
                    <a:pt x="132401" y="1212308"/>
                    <a:pt x="178555" y="1089231"/>
                  </a:cubicBezTo>
                  <a:cubicBezTo>
                    <a:pt x="218555" y="975385"/>
                    <a:pt x="209324" y="861538"/>
                    <a:pt x="197016" y="741538"/>
                  </a:cubicBezTo>
                  <a:cubicBezTo>
                    <a:pt x="169324" y="483077"/>
                    <a:pt x="209324" y="230769"/>
                    <a:pt x="369324" y="18461"/>
                  </a:cubicBezTo>
                  <a:cubicBezTo>
                    <a:pt x="372401" y="15385"/>
                    <a:pt x="381632" y="15385"/>
                    <a:pt x="393939" y="0"/>
                  </a:cubicBezTo>
                  <a:cubicBezTo>
                    <a:pt x="135478" y="6154"/>
                    <a:pt x="33940" y="283077"/>
                    <a:pt x="58555" y="495385"/>
                  </a:cubicBezTo>
                  <a:cubicBezTo>
                    <a:pt x="67786" y="575385"/>
                    <a:pt x="86247" y="649231"/>
                    <a:pt x="89324" y="729231"/>
                  </a:cubicBezTo>
                  <a:cubicBezTo>
                    <a:pt x="92401" y="806154"/>
                    <a:pt x="89324" y="886154"/>
                    <a:pt x="86247" y="963077"/>
                  </a:cubicBezTo>
                  <a:cubicBezTo>
                    <a:pt x="77017" y="1126154"/>
                    <a:pt x="18555" y="1369231"/>
                    <a:pt x="94" y="1535385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336ABFC9-58C1-45E0-B31B-DE85528A17AC}"/>
                </a:ext>
              </a:extLst>
            </p:cNvPr>
            <p:cNvSpPr/>
            <p:nvPr/>
          </p:nvSpPr>
          <p:spPr>
            <a:xfrm>
              <a:off x="5568288" y="-376127"/>
              <a:ext cx="66172" cy="760000"/>
            </a:xfrm>
            <a:custGeom>
              <a:avLst/>
              <a:gdLst>
                <a:gd name="connsiteX0" fmla="*/ 41557 w 66172"/>
                <a:gd name="connsiteY0" fmla="*/ 760000 h 760000"/>
                <a:gd name="connsiteX1" fmla="*/ 41557 w 66172"/>
                <a:gd name="connsiteY1" fmla="*/ 760000 h 760000"/>
                <a:gd name="connsiteX2" fmla="*/ 35403 w 66172"/>
                <a:gd name="connsiteY2" fmla="*/ 753846 h 760000"/>
                <a:gd name="connsiteX3" fmla="*/ 10788 w 66172"/>
                <a:gd name="connsiteY3" fmla="*/ 332308 h 760000"/>
                <a:gd name="connsiteX4" fmla="*/ 1557 w 66172"/>
                <a:gd name="connsiteY4" fmla="*/ 267692 h 760000"/>
                <a:gd name="connsiteX5" fmla="*/ 56942 w 66172"/>
                <a:gd name="connsiteY5" fmla="*/ 3077 h 760000"/>
                <a:gd name="connsiteX6" fmla="*/ 63095 w 66172"/>
                <a:gd name="connsiteY6" fmla="*/ 0 h 760000"/>
                <a:gd name="connsiteX7" fmla="*/ 66172 w 66172"/>
                <a:gd name="connsiteY7" fmla="*/ 6154 h 760000"/>
                <a:gd name="connsiteX8" fmla="*/ 10788 w 66172"/>
                <a:gd name="connsiteY8" fmla="*/ 264615 h 760000"/>
                <a:gd name="connsiteX9" fmla="*/ 20018 w 66172"/>
                <a:gd name="connsiteY9" fmla="*/ 329231 h 760000"/>
                <a:gd name="connsiteX10" fmla="*/ 44633 w 66172"/>
                <a:gd name="connsiteY10" fmla="*/ 753846 h 760000"/>
                <a:gd name="connsiteX11" fmla="*/ 41557 w 66172"/>
                <a:gd name="connsiteY11" fmla="*/ 760000 h 7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172" h="760000">
                  <a:moveTo>
                    <a:pt x="41557" y="760000"/>
                  </a:moveTo>
                  <a:cubicBezTo>
                    <a:pt x="41557" y="760000"/>
                    <a:pt x="41557" y="760000"/>
                    <a:pt x="41557" y="760000"/>
                  </a:cubicBezTo>
                  <a:cubicBezTo>
                    <a:pt x="38480" y="760000"/>
                    <a:pt x="35403" y="756923"/>
                    <a:pt x="35403" y="753846"/>
                  </a:cubicBezTo>
                  <a:cubicBezTo>
                    <a:pt x="47711" y="633846"/>
                    <a:pt x="26173" y="452308"/>
                    <a:pt x="10788" y="332308"/>
                  </a:cubicBezTo>
                  <a:cubicBezTo>
                    <a:pt x="7711" y="307692"/>
                    <a:pt x="4634" y="286154"/>
                    <a:pt x="1557" y="267692"/>
                  </a:cubicBezTo>
                  <a:cubicBezTo>
                    <a:pt x="-10751" y="160000"/>
                    <a:pt x="53865" y="9231"/>
                    <a:pt x="56942" y="3077"/>
                  </a:cubicBezTo>
                  <a:cubicBezTo>
                    <a:pt x="56942" y="0"/>
                    <a:pt x="60018" y="0"/>
                    <a:pt x="63095" y="0"/>
                  </a:cubicBezTo>
                  <a:cubicBezTo>
                    <a:pt x="66172" y="0"/>
                    <a:pt x="66172" y="3077"/>
                    <a:pt x="66172" y="6154"/>
                  </a:cubicBezTo>
                  <a:cubicBezTo>
                    <a:pt x="66172" y="6154"/>
                    <a:pt x="-1520" y="160000"/>
                    <a:pt x="10788" y="264615"/>
                  </a:cubicBezTo>
                  <a:cubicBezTo>
                    <a:pt x="13864" y="283077"/>
                    <a:pt x="16941" y="304615"/>
                    <a:pt x="20018" y="329231"/>
                  </a:cubicBezTo>
                  <a:cubicBezTo>
                    <a:pt x="35403" y="449231"/>
                    <a:pt x="60018" y="630769"/>
                    <a:pt x="44633" y="753846"/>
                  </a:cubicBezTo>
                  <a:cubicBezTo>
                    <a:pt x="47711" y="760000"/>
                    <a:pt x="44633" y="760000"/>
                    <a:pt x="41557" y="760000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DBC7738F-5352-4EDA-A416-750357C7E535}"/>
                </a:ext>
              </a:extLst>
            </p:cNvPr>
            <p:cNvSpPr/>
            <p:nvPr/>
          </p:nvSpPr>
          <p:spPr>
            <a:xfrm>
              <a:off x="5832577" y="-1204717"/>
              <a:ext cx="426498" cy="573528"/>
            </a:xfrm>
            <a:custGeom>
              <a:avLst/>
              <a:gdLst>
                <a:gd name="connsiteX0" fmla="*/ 8038 w 426498"/>
                <a:gd name="connsiteY0" fmla="*/ 185513 h 573528"/>
                <a:gd name="connsiteX1" fmla="*/ 20345 w 426498"/>
                <a:gd name="connsiteY1" fmla="*/ 443975 h 573528"/>
                <a:gd name="connsiteX2" fmla="*/ 171115 w 426498"/>
                <a:gd name="connsiteY2" fmla="*/ 573206 h 573528"/>
                <a:gd name="connsiteX3" fmla="*/ 389576 w 426498"/>
                <a:gd name="connsiteY3" fmla="*/ 428590 h 573528"/>
                <a:gd name="connsiteX4" fmla="*/ 426499 w 426498"/>
                <a:gd name="connsiteY4" fmla="*/ 200898 h 573528"/>
                <a:gd name="connsiteX5" fmla="*/ 211114 w 426498"/>
                <a:gd name="connsiteY5" fmla="*/ 898 h 573528"/>
                <a:gd name="connsiteX6" fmla="*/ 8038 w 426498"/>
                <a:gd name="connsiteY6" fmla="*/ 185513 h 57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498" h="573528">
                  <a:moveTo>
                    <a:pt x="8038" y="185513"/>
                  </a:moveTo>
                  <a:cubicBezTo>
                    <a:pt x="8038" y="185513"/>
                    <a:pt x="-16578" y="376283"/>
                    <a:pt x="20345" y="443975"/>
                  </a:cubicBezTo>
                  <a:cubicBezTo>
                    <a:pt x="57268" y="511667"/>
                    <a:pt x="118806" y="570129"/>
                    <a:pt x="171115" y="573206"/>
                  </a:cubicBezTo>
                  <a:cubicBezTo>
                    <a:pt x="238807" y="579360"/>
                    <a:pt x="352653" y="496283"/>
                    <a:pt x="389576" y="428590"/>
                  </a:cubicBezTo>
                  <a:cubicBezTo>
                    <a:pt x="426499" y="360898"/>
                    <a:pt x="426499" y="253206"/>
                    <a:pt x="426499" y="200898"/>
                  </a:cubicBezTo>
                  <a:cubicBezTo>
                    <a:pt x="423423" y="105513"/>
                    <a:pt x="395730" y="25513"/>
                    <a:pt x="211114" y="898"/>
                  </a:cubicBezTo>
                  <a:cubicBezTo>
                    <a:pt x="121884" y="-11410"/>
                    <a:pt x="26499" y="105513"/>
                    <a:pt x="8038" y="185513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E7557574-0ADB-4BB3-9E79-5BF7C8781D24}"/>
                </a:ext>
              </a:extLst>
            </p:cNvPr>
            <p:cNvSpPr/>
            <p:nvPr/>
          </p:nvSpPr>
          <p:spPr>
            <a:xfrm>
              <a:off x="5969845" y="-934324"/>
              <a:ext cx="55385" cy="133582"/>
            </a:xfrm>
            <a:custGeom>
              <a:avLst/>
              <a:gdLst>
                <a:gd name="connsiteX0" fmla="*/ 30769 w 55385"/>
                <a:gd name="connsiteY0" fmla="*/ 133582 h 133582"/>
                <a:gd name="connsiteX1" fmla="*/ 6154 w 55385"/>
                <a:gd name="connsiteY1" fmla="*/ 127428 h 133582"/>
                <a:gd name="connsiteX2" fmla="*/ 0 w 55385"/>
                <a:gd name="connsiteY2" fmla="*/ 115121 h 133582"/>
                <a:gd name="connsiteX3" fmla="*/ 27692 w 55385"/>
                <a:gd name="connsiteY3" fmla="*/ 4351 h 133582"/>
                <a:gd name="connsiteX4" fmla="*/ 33846 w 55385"/>
                <a:gd name="connsiteY4" fmla="*/ 1275 h 133582"/>
                <a:gd name="connsiteX5" fmla="*/ 36923 w 55385"/>
                <a:gd name="connsiteY5" fmla="*/ 7428 h 133582"/>
                <a:gd name="connsiteX6" fmla="*/ 9231 w 55385"/>
                <a:gd name="connsiteY6" fmla="*/ 115121 h 133582"/>
                <a:gd name="connsiteX7" fmla="*/ 9231 w 55385"/>
                <a:gd name="connsiteY7" fmla="*/ 118198 h 133582"/>
                <a:gd name="connsiteX8" fmla="*/ 49231 w 55385"/>
                <a:gd name="connsiteY8" fmla="*/ 118198 h 133582"/>
                <a:gd name="connsiteX9" fmla="*/ 55385 w 55385"/>
                <a:gd name="connsiteY9" fmla="*/ 124351 h 133582"/>
                <a:gd name="connsiteX10" fmla="*/ 49231 w 55385"/>
                <a:gd name="connsiteY10" fmla="*/ 130505 h 133582"/>
                <a:gd name="connsiteX11" fmla="*/ 30769 w 55385"/>
                <a:gd name="connsiteY11" fmla="*/ 133582 h 133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385" h="133582">
                  <a:moveTo>
                    <a:pt x="30769" y="133582"/>
                  </a:moveTo>
                  <a:cubicBezTo>
                    <a:pt x="21539" y="133582"/>
                    <a:pt x="12308" y="133582"/>
                    <a:pt x="6154" y="127428"/>
                  </a:cubicBezTo>
                  <a:cubicBezTo>
                    <a:pt x="3077" y="124351"/>
                    <a:pt x="0" y="121275"/>
                    <a:pt x="0" y="115121"/>
                  </a:cubicBezTo>
                  <a:cubicBezTo>
                    <a:pt x="0" y="93582"/>
                    <a:pt x="27692" y="7428"/>
                    <a:pt x="27692" y="4351"/>
                  </a:cubicBezTo>
                  <a:cubicBezTo>
                    <a:pt x="27692" y="1275"/>
                    <a:pt x="30769" y="-1802"/>
                    <a:pt x="33846" y="1275"/>
                  </a:cubicBezTo>
                  <a:cubicBezTo>
                    <a:pt x="36923" y="1275"/>
                    <a:pt x="40001" y="4351"/>
                    <a:pt x="36923" y="7428"/>
                  </a:cubicBezTo>
                  <a:cubicBezTo>
                    <a:pt x="30769" y="32044"/>
                    <a:pt x="9231" y="96659"/>
                    <a:pt x="9231" y="115121"/>
                  </a:cubicBezTo>
                  <a:cubicBezTo>
                    <a:pt x="9231" y="115121"/>
                    <a:pt x="9231" y="118198"/>
                    <a:pt x="9231" y="118198"/>
                  </a:cubicBezTo>
                  <a:cubicBezTo>
                    <a:pt x="15385" y="124351"/>
                    <a:pt x="36923" y="121275"/>
                    <a:pt x="49231" y="118198"/>
                  </a:cubicBezTo>
                  <a:cubicBezTo>
                    <a:pt x="52308" y="118198"/>
                    <a:pt x="55385" y="118198"/>
                    <a:pt x="55385" y="124351"/>
                  </a:cubicBezTo>
                  <a:cubicBezTo>
                    <a:pt x="55385" y="127428"/>
                    <a:pt x="55385" y="130505"/>
                    <a:pt x="49231" y="130505"/>
                  </a:cubicBezTo>
                  <a:cubicBezTo>
                    <a:pt x="52308" y="133582"/>
                    <a:pt x="40001" y="133582"/>
                    <a:pt x="30769" y="133582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EFBE748A-7817-46DD-8606-5EB6A503729C}"/>
                </a:ext>
              </a:extLst>
            </p:cNvPr>
            <p:cNvSpPr/>
            <p:nvPr/>
          </p:nvSpPr>
          <p:spPr>
            <a:xfrm>
              <a:off x="5951383" y="-748434"/>
              <a:ext cx="107692" cy="55384"/>
            </a:xfrm>
            <a:custGeom>
              <a:avLst/>
              <a:gdLst>
                <a:gd name="connsiteX0" fmla="*/ 107692 w 107692"/>
                <a:gd name="connsiteY0" fmla="*/ 0 h 55384"/>
                <a:gd name="connsiteX1" fmla="*/ 0 w 107692"/>
                <a:gd name="connsiteY1" fmla="*/ 0 h 55384"/>
                <a:gd name="connsiteX2" fmla="*/ 52308 w 107692"/>
                <a:gd name="connsiteY2" fmla="*/ 55385 h 55384"/>
                <a:gd name="connsiteX3" fmla="*/ 107692 w 107692"/>
                <a:gd name="connsiteY3" fmla="*/ 0 h 55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92" h="55384">
                  <a:moveTo>
                    <a:pt x="107692" y="0"/>
                  </a:moveTo>
                  <a:cubicBezTo>
                    <a:pt x="52308" y="24615"/>
                    <a:pt x="0" y="0"/>
                    <a:pt x="0" y="0"/>
                  </a:cubicBezTo>
                  <a:cubicBezTo>
                    <a:pt x="0" y="0"/>
                    <a:pt x="15385" y="55385"/>
                    <a:pt x="52308" y="55385"/>
                  </a:cubicBezTo>
                  <a:cubicBezTo>
                    <a:pt x="92308" y="52308"/>
                    <a:pt x="107692" y="0"/>
                    <a:pt x="107692" y="0"/>
                  </a:cubicBezTo>
                  <a:close/>
                </a:path>
              </a:pathLst>
            </a:custGeom>
            <a:solidFill>
              <a:srgbClr val="FFFFFF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3961385A-1C53-4724-9291-AA8EA2A451C0}"/>
                </a:ext>
              </a:extLst>
            </p:cNvPr>
            <p:cNvSpPr/>
            <p:nvPr/>
          </p:nvSpPr>
          <p:spPr>
            <a:xfrm>
              <a:off x="5895215" y="-961346"/>
              <a:ext cx="41568" cy="41387"/>
            </a:xfrm>
            <a:custGeom>
              <a:avLst/>
              <a:gdLst>
                <a:gd name="connsiteX0" fmla="*/ 40784 w 41568"/>
                <a:gd name="connsiteY0" fmla="*/ 25219 h 41387"/>
                <a:gd name="connsiteX1" fmla="*/ 16169 w 41568"/>
                <a:gd name="connsiteY1" fmla="*/ 40604 h 41387"/>
                <a:gd name="connsiteX2" fmla="*/ 784 w 41568"/>
                <a:gd name="connsiteY2" fmla="*/ 15988 h 41387"/>
                <a:gd name="connsiteX3" fmla="*/ 25399 w 41568"/>
                <a:gd name="connsiteY3" fmla="*/ 604 h 41387"/>
                <a:gd name="connsiteX4" fmla="*/ 40784 w 41568"/>
                <a:gd name="connsiteY4" fmla="*/ 25219 h 4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68" h="41387">
                  <a:moveTo>
                    <a:pt x="40784" y="25219"/>
                  </a:moveTo>
                  <a:cubicBezTo>
                    <a:pt x="37708" y="37527"/>
                    <a:pt x="28476" y="43681"/>
                    <a:pt x="16169" y="40604"/>
                  </a:cubicBezTo>
                  <a:cubicBezTo>
                    <a:pt x="3861" y="37527"/>
                    <a:pt x="-2293" y="28296"/>
                    <a:pt x="784" y="15988"/>
                  </a:cubicBezTo>
                  <a:cubicBezTo>
                    <a:pt x="3861" y="6757"/>
                    <a:pt x="13092" y="-2473"/>
                    <a:pt x="25399" y="604"/>
                  </a:cubicBezTo>
                  <a:cubicBezTo>
                    <a:pt x="37708" y="3680"/>
                    <a:pt x="43861" y="12911"/>
                    <a:pt x="40784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D7EB19E9-0F9E-4387-A635-688CD13CE181}"/>
                </a:ext>
              </a:extLst>
            </p:cNvPr>
            <p:cNvSpPr/>
            <p:nvPr/>
          </p:nvSpPr>
          <p:spPr>
            <a:xfrm>
              <a:off x="6089061" y="-955192"/>
              <a:ext cx="41387" cy="41387"/>
            </a:xfrm>
            <a:custGeom>
              <a:avLst/>
              <a:gdLst>
                <a:gd name="connsiteX0" fmla="*/ 40784 w 41387"/>
                <a:gd name="connsiteY0" fmla="*/ 25219 h 41387"/>
                <a:gd name="connsiteX1" fmla="*/ 16168 w 41387"/>
                <a:gd name="connsiteY1" fmla="*/ 40604 h 41387"/>
                <a:gd name="connsiteX2" fmla="*/ 784 w 41387"/>
                <a:gd name="connsiteY2" fmla="*/ 15988 h 41387"/>
                <a:gd name="connsiteX3" fmla="*/ 25400 w 41387"/>
                <a:gd name="connsiteY3" fmla="*/ 604 h 41387"/>
                <a:gd name="connsiteX4" fmla="*/ 40784 w 41387"/>
                <a:gd name="connsiteY4" fmla="*/ 25219 h 4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387">
                  <a:moveTo>
                    <a:pt x="40784" y="25219"/>
                  </a:moveTo>
                  <a:cubicBezTo>
                    <a:pt x="37707" y="37527"/>
                    <a:pt x="28477" y="43680"/>
                    <a:pt x="16168" y="40604"/>
                  </a:cubicBezTo>
                  <a:cubicBezTo>
                    <a:pt x="3861" y="37527"/>
                    <a:pt x="-2292" y="28296"/>
                    <a:pt x="784" y="15988"/>
                  </a:cubicBezTo>
                  <a:cubicBezTo>
                    <a:pt x="3861" y="6757"/>
                    <a:pt x="13092" y="-2473"/>
                    <a:pt x="25400" y="604"/>
                  </a:cubicBezTo>
                  <a:cubicBezTo>
                    <a:pt x="34630" y="3680"/>
                    <a:pt x="43862" y="15988"/>
                    <a:pt x="40784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F7375DA8-C908-4DF7-9066-A22089EDBA6D}"/>
                </a:ext>
              </a:extLst>
            </p:cNvPr>
            <p:cNvSpPr/>
            <p:nvPr/>
          </p:nvSpPr>
          <p:spPr>
            <a:xfrm>
              <a:off x="5872153" y="-1011149"/>
              <a:ext cx="92812" cy="35021"/>
            </a:xfrm>
            <a:custGeom>
              <a:avLst/>
              <a:gdLst>
                <a:gd name="connsiteX0" fmla="*/ 8461 w 92812"/>
                <a:gd name="connsiteY0" fmla="*/ 35022 h 35021"/>
                <a:gd name="connsiteX1" fmla="*/ 2307 w 92812"/>
                <a:gd name="connsiteY1" fmla="*/ 31945 h 35021"/>
                <a:gd name="connsiteX2" fmla="*/ 2307 w 92812"/>
                <a:gd name="connsiteY2" fmla="*/ 19637 h 35021"/>
                <a:gd name="connsiteX3" fmla="*/ 88462 w 92812"/>
                <a:gd name="connsiteY3" fmla="*/ 10406 h 35021"/>
                <a:gd name="connsiteX4" fmla="*/ 91539 w 92812"/>
                <a:gd name="connsiteY4" fmla="*/ 19637 h 35021"/>
                <a:gd name="connsiteX5" fmla="*/ 82307 w 92812"/>
                <a:gd name="connsiteY5" fmla="*/ 22714 h 35021"/>
                <a:gd name="connsiteX6" fmla="*/ 14616 w 92812"/>
                <a:gd name="connsiteY6" fmla="*/ 28868 h 35021"/>
                <a:gd name="connsiteX7" fmla="*/ 8461 w 92812"/>
                <a:gd name="connsiteY7" fmla="*/ 35022 h 35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5021">
                  <a:moveTo>
                    <a:pt x="8461" y="35022"/>
                  </a:moveTo>
                  <a:cubicBezTo>
                    <a:pt x="5384" y="35022"/>
                    <a:pt x="5384" y="35022"/>
                    <a:pt x="2307" y="31945"/>
                  </a:cubicBezTo>
                  <a:cubicBezTo>
                    <a:pt x="-769" y="28868"/>
                    <a:pt x="-769" y="22714"/>
                    <a:pt x="2307" y="19637"/>
                  </a:cubicBezTo>
                  <a:cubicBezTo>
                    <a:pt x="30000" y="-11132"/>
                    <a:pt x="70000" y="1176"/>
                    <a:pt x="88462" y="10406"/>
                  </a:cubicBezTo>
                  <a:cubicBezTo>
                    <a:pt x="91539" y="13483"/>
                    <a:pt x="94615" y="16560"/>
                    <a:pt x="91539" y="19637"/>
                  </a:cubicBezTo>
                  <a:cubicBezTo>
                    <a:pt x="88462" y="22714"/>
                    <a:pt x="85384" y="25791"/>
                    <a:pt x="82307" y="22714"/>
                  </a:cubicBezTo>
                  <a:cubicBezTo>
                    <a:pt x="79230" y="22714"/>
                    <a:pt x="39231" y="1176"/>
                    <a:pt x="14616" y="28868"/>
                  </a:cubicBezTo>
                  <a:cubicBezTo>
                    <a:pt x="11538" y="35022"/>
                    <a:pt x="8461" y="35022"/>
                    <a:pt x="8461" y="35022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6BC91615-F577-4FFC-BCC3-5E213D1FA9A2}"/>
                </a:ext>
              </a:extLst>
            </p:cNvPr>
            <p:cNvSpPr/>
            <p:nvPr/>
          </p:nvSpPr>
          <p:spPr>
            <a:xfrm>
              <a:off x="6060878" y="-1012737"/>
              <a:ext cx="92813" cy="36609"/>
            </a:xfrm>
            <a:custGeom>
              <a:avLst/>
              <a:gdLst>
                <a:gd name="connsiteX0" fmla="*/ 87429 w 92813"/>
                <a:gd name="connsiteY0" fmla="*/ 36610 h 36609"/>
                <a:gd name="connsiteX1" fmla="*/ 81275 w 92813"/>
                <a:gd name="connsiteY1" fmla="*/ 33533 h 36609"/>
                <a:gd name="connsiteX2" fmla="*/ 13582 w 92813"/>
                <a:gd name="connsiteY2" fmla="*/ 27379 h 36609"/>
                <a:gd name="connsiteX3" fmla="*/ 1275 w 92813"/>
                <a:gd name="connsiteY3" fmla="*/ 24302 h 36609"/>
                <a:gd name="connsiteX4" fmla="*/ 4352 w 92813"/>
                <a:gd name="connsiteY4" fmla="*/ 11995 h 36609"/>
                <a:gd name="connsiteX5" fmla="*/ 90505 w 92813"/>
                <a:gd name="connsiteY5" fmla="*/ 21225 h 36609"/>
                <a:gd name="connsiteX6" fmla="*/ 90505 w 92813"/>
                <a:gd name="connsiteY6" fmla="*/ 33533 h 36609"/>
                <a:gd name="connsiteX7" fmla="*/ 87429 w 92813"/>
                <a:gd name="connsiteY7" fmla="*/ 36610 h 3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6609">
                  <a:moveTo>
                    <a:pt x="87429" y="36610"/>
                  </a:moveTo>
                  <a:cubicBezTo>
                    <a:pt x="84352" y="36610"/>
                    <a:pt x="84352" y="36610"/>
                    <a:pt x="81275" y="33533"/>
                  </a:cubicBezTo>
                  <a:cubicBezTo>
                    <a:pt x="81275" y="33533"/>
                    <a:pt x="50506" y="2764"/>
                    <a:pt x="13582" y="27379"/>
                  </a:cubicBezTo>
                  <a:cubicBezTo>
                    <a:pt x="10506" y="30456"/>
                    <a:pt x="4352" y="27379"/>
                    <a:pt x="1275" y="24302"/>
                  </a:cubicBezTo>
                  <a:cubicBezTo>
                    <a:pt x="-1803" y="21225"/>
                    <a:pt x="1275" y="15072"/>
                    <a:pt x="4352" y="11995"/>
                  </a:cubicBezTo>
                  <a:cubicBezTo>
                    <a:pt x="41275" y="-12621"/>
                    <a:pt x="78198" y="5841"/>
                    <a:pt x="90505" y="21225"/>
                  </a:cubicBezTo>
                  <a:cubicBezTo>
                    <a:pt x="93582" y="24302"/>
                    <a:pt x="93582" y="30456"/>
                    <a:pt x="90505" y="33533"/>
                  </a:cubicBezTo>
                  <a:cubicBezTo>
                    <a:pt x="90505" y="36610"/>
                    <a:pt x="90505" y="36610"/>
                    <a:pt x="87429" y="36610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4" name="任意多边形: 形状 183">
              <a:extLst>
                <a:ext uri="{FF2B5EF4-FFF2-40B4-BE49-F238E27FC236}">
                  <a16:creationId xmlns:a16="http://schemas.microsoft.com/office/drawing/2014/main" id="{43DE75BA-7B40-4521-80F6-CB35322C5FFE}"/>
                </a:ext>
              </a:extLst>
            </p:cNvPr>
            <p:cNvSpPr/>
            <p:nvPr/>
          </p:nvSpPr>
          <p:spPr>
            <a:xfrm>
              <a:off x="5812782" y="-1237342"/>
              <a:ext cx="279173" cy="261215"/>
            </a:xfrm>
            <a:custGeom>
              <a:avLst/>
              <a:gdLst>
                <a:gd name="connsiteX0" fmla="*/ 277063 w 279173"/>
                <a:gd name="connsiteY0" fmla="*/ 2754 h 261215"/>
                <a:gd name="connsiteX1" fmla="*/ 240140 w 279173"/>
                <a:gd name="connsiteY1" fmla="*/ 131985 h 261215"/>
                <a:gd name="connsiteX2" fmla="*/ 140 w 279173"/>
                <a:gd name="connsiteY2" fmla="*/ 261216 h 261215"/>
                <a:gd name="connsiteX3" fmla="*/ 277063 w 279173"/>
                <a:gd name="connsiteY3" fmla="*/ 2754 h 26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173" h="261215">
                  <a:moveTo>
                    <a:pt x="277063" y="2754"/>
                  </a:moveTo>
                  <a:cubicBezTo>
                    <a:pt x="277063" y="2754"/>
                    <a:pt x="292447" y="91985"/>
                    <a:pt x="240140" y="131985"/>
                  </a:cubicBezTo>
                  <a:cubicBezTo>
                    <a:pt x="240140" y="131985"/>
                    <a:pt x="27833" y="175062"/>
                    <a:pt x="140" y="261216"/>
                  </a:cubicBezTo>
                  <a:cubicBezTo>
                    <a:pt x="140" y="258139"/>
                    <a:pt x="-15245" y="-31092"/>
                    <a:pt x="277063" y="2754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CBE4C573-1484-4E6C-A4D7-277B6FDB3B45}"/>
                </a:ext>
              </a:extLst>
            </p:cNvPr>
            <p:cNvSpPr/>
            <p:nvPr/>
          </p:nvSpPr>
          <p:spPr>
            <a:xfrm>
              <a:off x="6052922" y="-1234588"/>
              <a:ext cx="226325" cy="317422"/>
            </a:xfrm>
            <a:custGeom>
              <a:avLst/>
              <a:gdLst>
                <a:gd name="connsiteX0" fmla="*/ 0 w 226325"/>
                <a:gd name="connsiteY0" fmla="*/ 129231 h 317422"/>
                <a:gd name="connsiteX1" fmla="*/ 141539 w 226325"/>
                <a:gd name="connsiteY1" fmla="*/ 184615 h 317422"/>
                <a:gd name="connsiteX2" fmla="*/ 200000 w 226325"/>
                <a:gd name="connsiteY2" fmla="*/ 304615 h 317422"/>
                <a:gd name="connsiteX3" fmla="*/ 224615 w 226325"/>
                <a:gd name="connsiteY3" fmla="*/ 301539 h 317422"/>
                <a:gd name="connsiteX4" fmla="*/ 33846 w 226325"/>
                <a:gd name="connsiteY4" fmla="*/ 0 h 317422"/>
                <a:gd name="connsiteX5" fmla="*/ 0 w 226325"/>
                <a:gd name="connsiteY5" fmla="*/ 129231 h 317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6325" h="317422">
                  <a:moveTo>
                    <a:pt x="0" y="129231"/>
                  </a:moveTo>
                  <a:cubicBezTo>
                    <a:pt x="0" y="129231"/>
                    <a:pt x="92308" y="178462"/>
                    <a:pt x="141539" y="184615"/>
                  </a:cubicBezTo>
                  <a:cubicBezTo>
                    <a:pt x="193846" y="190769"/>
                    <a:pt x="200000" y="304615"/>
                    <a:pt x="200000" y="304615"/>
                  </a:cubicBezTo>
                  <a:cubicBezTo>
                    <a:pt x="200000" y="304615"/>
                    <a:pt x="221538" y="335385"/>
                    <a:pt x="224615" y="301539"/>
                  </a:cubicBezTo>
                  <a:cubicBezTo>
                    <a:pt x="230769" y="221538"/>
                    <a:pt x="230769" y="21538"/>
                    <a:pt x="33846" y="0"/>
                  </a:cubicBezTo>
                  <a:cubicBezTo>
                    <a:pt x="36923" y="0"/>
                    <a:pt x="24615" y="123077"/>
                    <a:pt x="0" y="129231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ECE16A0F-C495-4ED1-AC66-EBECB7BF3B3C}"/>
                </a:ext>
              </a:extLst>
            </p:cNvPr>
            <p:cNvSpPr/>
            <p:nvPr/>
          </p:nvSpPr>
          <p:spPr>
            <a:xfrm>
              <a:off x="6049845" y="-1191511"/>
              <a:ext cx="156923" cy="144615"/>
            </a:xfrm>
            <a:custGeom>
              <a:avLst/>
              <a:gdLst>
                <a:gd name="connsiteX0" fmla="*/ 147692 w 156923"/>
                <a:gd name="connsiteY0" fmla="*/ 144615 h 144615"/>
                <a:gd name="connsiteX1" fmla="*/ 147692 w 156923"/>
                <a:gd name="connsiteY1" fmla="*/ 144615 h 144615"/>
                <a:gd name="connsiteX2" fmla="*/ 49231 w 156923"/>
                <a:gd name="connsiteY2" fmla="*/ 110769 h 144615"/>
                <a:gd name="connsiteX3" fmla="*/ 3077 w 156923"/>
                <a:gd name="connsiteY3" fmla="*/ 86154 h 144615"/>
                <a:gd name="connsiteX4" fmla="*/ 0 w 156923"/>
                <a:gd name="connsiteY4" fmla="*/ 83077 h 144615"/>
                <a:gd name="connsiteX5" fmla="*/ 0 w 156923"/>
                <a:gd name="connsiteY5" fmla="*/ 76923 h 144615"/>
                <a:gd name="connsiteX6" fmla="*/ 27692 w 156923"/>
                <a:gd name="connsiteY6" fmla="*/ 6154 h 144615"/>
                <a:gd name="connsiteX7" fmla="*/ 33846 w 156923"/>
                <a:gd name="connsiteY7" fmla="*/ 0 h 144615"/>
                <a:gd name="connsiteX8" fmla="*/ 33846 w 156923"/>
                <a:gd name="connsiteY8" fmla="*/ 0 h 144615"/>
                <a:gd name="connsiteX9" fmla="*/ 40000 w 156923"/>
                <a:gd name="connsiteY9" fmla="*/ 6154 h 144615"/>
                <a:gd name="connsiteX10" fmla="*/ 15385 w 156923"/>
                <a:gd name="connsiteY10" fmla="*/ 76923 h 144615"/>
                <a:gd name="connsiteX11" fmla="*/ 55384 w 156923"/>
                <a:gd name="connsiteY11" fmla="*/ 98462 h 144615"/>
                <a:gd name="connsiteX12" fmla="*/ 150769 w 156923"/>
                <a:gd name="connsiteY12" fmla="*/ 129231 h 144615"/>
                <a:gd name="connsiteX13" fmla="*/ 156923 w 156923"/>
                <a:gd name="connsiteY13" fmla="*/ 135385 h 144615"/>
                <a:gd name="connsiteX14" fmla="*/ 147692 w 156923"/>
                <a:gd name="connsiteY14" fmla="*/ 144615 h 14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6923" h="144615">
                  <a:moveTo>
                    <a:pt x="147692" y="144615"/>
                  </a:moveTo>
                  <a:cubicBezTo>
                    <a:pt x="147692" y="144615"/>
                    <a:pt x="147692" y="144615"/>
                    <a:pt x="147692" y="144615"/>
                  </a:cubicBezTo>
                  <a:cubicBezTo>
                    <a:pt x="110769" y="138462"/>
                    <a:pt x="73846" y="123077"/>
                    <a:pt x="49231" y="110769"/>
                  </a:cubicBezTo>
                  <a:cubicBezTo>
                    <a:pt x="21539" y="98462"/>
                    <a:pt x="3077" y="86154"/>
                    <a:pt x="3077" y="86154"/>
                  </a:cubicBezTo>
                  <a:cubicBezTo>
                    <a:pt x="3077" y="86154"/>
                    <a:pt x="0" y="83077"/>
                    <a:pt x="0" y="83077"/>
                  </a:cubicBezTo>
                  <a:cubicBezTo>
                    <a:pt x="0" y="80000"/>
                    <a:pt x="0" y="80000"/>
                    <a:pt x="0" y="76923"/>
                  </a:cubicBezTo>
                  <a:cubicBezTo>
                    <a:pt x="6154" y="70769"/>
                    <a:pt x="24615" y="30769"/>
                    <a:pt x="27692" y="6154"/>
                  </a:cubicBezTo>
                  <a:cubicBezTo>
                    <a:pt x="27692" y="3077"/>
                    <a:pt x="30769" y="0"/>
                    <a:pt x="33846" y="0"/>
                  </a:cubicBezTo>
                  <a:lnTo>
                    <a:pt x="33846" y="0"/>
                  </a:lnTo>
                  <a:cubicBezTo>
                    <a:pt x="36923" y="0"/>
                    <a:pt x="40000" y="3077"/>
                    <a:pt x="40000" y="6154"/>
                  </a:cubicBezTo>
                  <a:cubicBezTo>
                    <a:pt x="40000" y="30769"/>
                    <a:pt x="24615" y="64615"/>
                    <a:pt x="15385" y="76923"/>
                  </a:cubicBezTo>
                  <a:cubicBezTo>
                    <a:pt x="21539" y="80000"/>
                    <a:pt x="36923" y="89231"/>
                    <a:pt x="55384" y="98462"/>
                  </a:cubicBezTo>
                  <a:cubicBezTo>
                    <a:pt x="80000" y="110769"/>
                    <a:pt x="116923" y="126154"/>
                    <a:pt x="150769" y="129231"/>
                  </a:cubicBezTo>
                  <a:cubicBezTo>
                    <a:pt x="153846" y="129231"/>
                    <a:pt x="156923" y="132308"/>
                    <a:pt x="156923" y="135385"/>
                  </a:cubicBezTo>
                  <a:cubicBezTo>
                    <a:pt x="153846" y="144615"/>
                    <a:pt x="150769" y="144615"/>
                    <a:pt x="147692" y="144615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CB74120D-F572-4B90-8851-E0F326B442F5}"/>
                </a:ext>
              </a:extLst>
            </p:cNvPr>
            <p:cNvSpPr/>
            <p:nvPr/>
          </p:nvSpPr>
          <p:spPr>
            <a:xfrm>
              <a:off x="5933691" y="-706632"/>
              <a:ext cx="225120" cy="81274"/>
            </a:xfrm>
            <a:custGeom>
              <a:avLst/>
              <a:gdLst>
                <a:gd name="connsiteX0" fmla="*/ 73077 w 225120"/>
                <a:gd name="connsiteY0" fmla="*/ 81275 h 81274"/>
                <a:gd name="connsiteX1" fmla="*/ 2307 w 225120"/>
                <a:gd name="connsiteY1" fmla="*/ 53582 h 81274"/>
                <a:gd name="connsiteX2" fmla="*/ 2307 w 225120"/>
                <a:gd name="connsiteY2" fmla="*/ 44351 h 81274"/>
                <a:gd name="connsiteX3" fmla="*/ 11538 w 225120"/>
                <a:gd name="connsiteY3" fmla="*/ 44351 h 81274"/>
                <a:gd name="connsiteX4" fmla="*/ 82307 w 225120"/>
                <a:gd name="connsiteY4" fmla="*/ 68967 h 81274"/>
                <a:gd name="connsiteX5" fmla="*/ 214616 w 225120"/>
                <a:gd name="connsiteY5" fmla="*/ 1275 h 81274"/>
                <a:gd name="connsiteX6" fmla="*/ 223846 w 225120"/>
                <a:gd name="connsiteY6" fmla="*/ 4351 h 81274"/>
                <a:gd name="connsiteX7" fmla="*/ 220769 w 225120"/>
                <a:gd name="connsiteY7" fmla="*/ 13582 h 81274"/>
                <a:gd name="connsiteX8" fmla="*/ 82307 w 225120"/>
                <a:gd name="connsiteY8" fmla="*/ 81275 h 81274"/>
                <a:gd name="connsiteX9" fmla="*/ 73077 w 225120"/>
                <a:gd name="connsiteY9" fmla="*/ 81275 h 81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120" h="81274">
                  <a:moveTo>
                    <a:pt x="73077" y="81275"/>
                  </a:moveTo>
                  <a:cubicBezTo>
                    <a:pt x="33076" y="81275"/>
                    <a:pt x="5384" y="53582"/>
                    <a:pt x="2307" y="53582"/>
                  </a:cubicBezTo>
                  <a:cubicBezTo>
                    <a:pt x="-769" y="50505"/>
                    <a:pt x="-769" y="47428"/>
                    <a:pt x="2307" y="44351"/>
                  </a:cubicBezTo>
                  <a:cubicBezTo>
                    <a:pt x="5384" y="41275"/>
                    <a:pt x="8461" y="41275"/>
                    <a:pt x="11538" y="44351"/>
                  </a:cubicBezTo>
                  <a:cubicBezTo>
                    <a:pt x="11538" y="44351"/>
                    <a:pt x="42308" y="75121"/>
                    <a:pt x="82307" y="68967"/>
                  </a:cubicBezTo>
                  <a:cubicBezTo>
                    <a:pt x="122308" y="62813"/>
                    <a:pt x="214616" y="1275"/>
                    <a:pt x="214616" y="1275"/>
                  </a:cubicBezTo>
                  <a:cubicBezTo>
                    <a:pt x="217692" y="-1802"/>
                    <a:pt x="220769" y="1275"/>
                    <a:pt x="223846" y="4351"/>
                  </a:cubicBezTo>
                  <a:cubicBezTo>
                    <a:pt x="226923" y="7428"/>
                    <a:pt x="223846" y="10505"/>
                    <a:pt x="220769" y="13582"/>
                  </a:cubicBezTo>
                  <a:cubicBezTo>
                    <a:pt x="217692" y="16659"/>
                    <a:pt x="125384" y="78198"/>
                    <a:pt x="82307" y="81275"/>
                  </a:cubicBezTo>
                  <a:cubicBezTo>
                    <a:pt x="79230" y="81275"/>
                    <a:pt x="76154" y="81275"/>
                    <a:pt x="73077" y="81275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D1DFF1D1-F0DC-42B1-8680-8542A95E9641}"/>
                </a:ext>
              </a:extLst>
            </p:cNvPr>
            <p:cNvSpPr/>
            <p:nvPr/>
          </p:nvSpPr>
          <p:spPr>
            <a:xfrm>
              <a:off x="6217708" y="-946856"/>
              <a:ext cx="79666" cy="115101"/>
            </a:xfrm>
            <a:custGeom>
              <a:avLst/>
              <a:gdLst>
                <a:gd name="connsiteX0" fmla="*/ 13675 w 79666"/>
                <a:gd name="connsiteY0" fmla="*/ 16883 h 115101"/>
                <a:gd name="connsiteX1" fmla="*/ 72137 w 79666"/>
                <a:gd name="connsiteY1" fmla="*/ 7652 h 115101"/>
                <a:gd name="connsiteX2" fmla="*/ 13675 w 79666"/>
                <a:gd name="connsiteY2" fmla="*/ 112268 h 115101"/>
                <a:gd name="connsiteX3" fmla="*/ 13675 w 79666"/>
                <a:gd name="connsiteY3" fmla="*/ 16883 h 115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666" h="115101">
                  <a:moveTo>
                    <a:pt x="13675" y="16883"/>
                  </a:moveTo>
                  <a:cubicBezTo>
                    <a:pt x="13675" y="16883"/>
                    <a:pt x="47522" y="-13886"/>
                    <a:pt x="72137" y="7652"/>
                  </a:cubicBezTo>
                  <a:cubicBezTo>
                    <a:pt x="96753" y="26114"/>
                    <a:pt x="56752" y="133806"/>
                    <a:pt x="13675" y="112268"/>
                  </a:cubicBezTo>
                  <a:cubicBezTo>
                    <a:pt x="-17094" y="93806"/>
                    <a:pt x="13675" y="16883"/>
                    <a:pt x="13675" y="16883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7D0B2800-A0EA-4281-BB87-8CA0644AA24C}"/>
                </a:ext>
              </a:extLst>
            </p:cNvPr>
            <p:cNvSpPr/>
            <p:nvPr/>
          </p:nvSpPr>
          <p:spPr>
            <a:xfrm>
              <a:off x="5806768" y="-1114588"/>
              <a:ext cx="255384" cy="160000"/>
            </a:xfrm>
            <a:custGeom>
              <a:avLst/>
              <a:gdLst>
                <a:gd name="connsiteX0" fmla="*/ 6153 w 255384"/>
                <a:gd name="connsiteY0" fmla="*/ 160000 h 160000"/>
                <a:gd name="connsiteX1" fmla="*/ 6153 w 255384"/>
                <a:gd name="connsiteY1" fmla="*/ 160000 h 160000"/>
                <a:gd name="connsiteX2" fmla="*/ 0 w 255384"/>
                <a:gd name="connsiteY2" fmla="*/ 153846 h 160000"/>
                <a:gd name="connsiteX3" fmla="*/ 110769 w 255384"/>
                <a:gd name="connsiteY3" fmla="*/ 46154 h 160000"/>
                <a:gd name="connsiteX4" fmla="*/ 246154 w 255384"/>
                <a:gd name="connsiteY4" fmla="*/ 0 h 160000"/>
                <a:gd name="connsiteX5" fmla="*/ 255384 w 255384"/>
                <a:gd name="connsiteY5" fmla="*/ 3077 h 160000"/>
                <a:gd name="connsiteX6" fmla="*/ 252307 w 255384"/>
                <a:gd name="connsiteY6" fmla="*/ 12308 h 160000"/>
                <a:gd name="connsiteX7" fmla="*/ 116923 w 255384"/>
                <a:gd name="connsiteY7" fmla="*/ 58462 h 160000"/>
                <a:gd name="connsiteX8" fmla="*/ 15385 w 255384"/>
                <a:gd name="connsiteY8" fmla="*/ 156923 h 160000"/>
                <a:gd name="connsiteX9" fmla="*/ 6153 w 255384"/>
                <a:gd name="connsiteY9" fmla="*/ 160000 h 1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5384" h="160000">
                  <a:moveTo>
                    <a:pt x="6153" y="160000"/>
                  </a:moveTo>
                  <a:cubicBezTo>
                    <a:pt x="6153" y="160000"/>
                    <a:pt x="6153" y="160000"/>
                    <a:pt x="6153" y="160000"/>
                  </a:cubicBezTo>
                  <a:cubicBezTo>
                    <a:pt x="3077" y="160000"/>
                    <a:pt x="0" y="156923"/>
                    <a:pt x="0" y="153846"/>
                  </a:cubicBezTo>
                  <a:cubicBezTo>
                    <a:pt x="12308" y="83077"/>
                    <a:pt x="61538" y="61538"/>
                    <a:pt x="110769" y="46154"/>
                  </a:cubicBezTo>
                  <a:cubicBezTo>
                    <a:pt x="178461" y="27692"/>
                    <a:pt x="243077" y="0"/>
                    <a:pt x="246154" y="0"/>
                  </a:cubicBezTo>
                  <a:cubicBezTo>
                    <a:pt x="249231" y="0"/>
                    <a:pt x="252307" y="0"/>
                    <a:pt x="255384" y="3077"/>
                  </a:cubicBezTo>
                  <a:cubicBezTo>
                    <a:pt x="255384" y="6154"/>
                    <a:pt x="255384" y="9231"/>
                    <a:pt x="252307" y="12308"/>
                  </a:cubicBezTo>
                  <a:cubicBezTo>
                    <a:pt x="252307" y="12308"/>
                    <a:pt x="184615" y="36923"/>
                    <a:pt x="116923" y="58462"/>
                  </a:cubicBezTo>
                  <a:cubicBezTo>
                    <a:pt x="61538" y="73846"/>
                    <a:pt x="24615" y="98462"/>
                    <a:pt x="15385" y="156923"/>
                  </a:cubicBezTo>
                  <a:cubicBezTo>
                    <a:pt x="12308" y="156923"/>
                    <a:pt x="9230" y="160000"/>
                    <a:pt x="6153" y="160000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1D77D45C-B210-455C-8170-9E8C9B24AA71}"/>
                </a:ext>
              </a:extLst>
            </p:cNvPr>
            <p:cNvSpPr/>
            <p:nvPr/>
          </p:nvSpPr>
          <p:spPr>
            <a:xfrm>
              <a:off x="3282545" y="956180"/>
              <a:ext cx="878069" cy="2116922"/>
            </a:xfrm>
            <a:custGeom>
              <a:avLst/>
              <a:gdLst>
                <a:gd name="connsiteX0" fmla="*/ 647300 w 878069"/>
                <a:gd name="connsiteY0" fmla="*/ 0 h 2116922"/>
                <a:gd name="connsiteX1" fmla="*/ 99607 w 878069"/>
                <a:gd name="connsiteY1" fmla="*/ 0 h 2116922"/>
                <a:gd name="connsiteX2" fmla="*/ 1146 w 878069"/>
                <a:gd name="connsiteY2" fmla="*/ 375385 h 2116922"/>
                <a:gd name="connsiteX3" fmla="*/ 130376 w 878069"/>
                <a:gd name="connsiteY3" fmla="*/ 2095385 h 2116922"/>
                <a:gd name="connsiteX4" fmla="*/ 250377 w 878069"/>
                <a:gd name="connsiteY4" fmla="*/ 2116923 h 2116922"/>
                <a:gd name="connsiteX5" fmla="*/ 379607 w 878069"/>
                <a:gd name="connsiteY5" fmla="*/ 664615 h 2116922"/>
                <a:gd name="connsiteX6" fmla="*/ 434992 w 878069"/>
                <a:gd name="connsiteY6" fmla="*/ 1329231 h 2116922"/>
                <a:gd name="connsiteX7" fmla="*/ 444223 w 878069"/>
                <a:gd name="connsiteY7" fmla="*/ 1372308 h 2116922"/>
                <a:gd name="connsiteX8" fmla="*/ 779607 w 878069"/>
                <a:gd name="connsiteY8" fmla="*/ 2067693 h 2116922"/>
                <a:gd name="connsiteX9" fmla="*/ 878069 w 878069"/>
                <a:gd name="connsiteY9" fmla="*/ 2033846 h 2116922"/>
                <a:gd name="connsiteX10" fmla="*/ 724223 w 878069"/>
                <a:gd name="connsiteY10" fmla="*/ 1360000 h 2116922"/>
                <a:gd name="connsiteX11" fmla="*/ 754992 w 878069"/>
                <a:gd name="connsiteY11" fmla="*/ 341538 h 2116922"/>
                <a:gd name="connsiteX12" fmla="*/ 647300 w 878069"/>
                <a:gd name="connsiteY12" fmla="*/ 0 h 2116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8069" h="2116922">
                  <a:moveTo>
                    <a:pt x="647300" y="0"/>
                  </a:moveTo>
                  <a:lnTo>
                    <a:pt x="99607" y="0"/>
                  </a:lnTo>
                  <a:cubicBezTo>
                    <a:pt x="99607" y="0"/>
                    <a:pt x="19608" y="249231"/>
                    <a:pt x="1146" y="375385"/>
                  </a:cubicBezTo>
                  <a:cubicBezTo>
                    <a:pt x="-14239" y="501539"/>
                    <a:pt x="130376" y="2095385"/>
                    <a:pt x="130376" y="2095385"/>
                  </a:cubicBezTo>
                  <a:lnTo>
                    <a:pt x="250377" y="2116923"/>
                  </a:lnTo>
                  <a:lnTo>
                    <a:pt x="379607" y="664615"/>
                  </a:lnTo>
                  <a:lnTo>
                    <a:pt x="434992" y="1329231"/>
                  </a:lnTo>
                  <a:cubicBezTo>
                    <a:pt x="434992" y="1344616"/>
                    <a:pt x="441146" y="1360000"/>
                    <a:pt x="444223" y="1372308"/>
                  </a:cubicBezTo>
                  <a:lnTo>
                    <a:pt x="779607" y="2067693"/>
                  </a:lnTo>
                  <a:lnTo>
                    <a:pt x="878069" y="2033846"/>
                  </a:lnTo>
                  <a:lnTo>
                    <a:pt x="724223" y="1360000"/>
                  </a:lnTo>
                  <a:cubicBezTo>
                    <a:pt x="724223" y="1360000"/>
                    <a:pt x="748838" y="396923"/>
                    <a:pt x="754992" y="341538"/>
                  </a:cubicBezTo>
                  <a:cubicBezTo>
                    <a:pt x="764223" y="240000"/>
                    <a:pt x="647300" y="0"/>
                    <a:pt x="647300" y="0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02FE7213-F80D-4A43-87B1-2BDB17FE58F7}"/>
                </a:ext>
              </a:extLst>
            </p:cNvPr>
            <p:cNvSpPr/>
            <p:nvPr/>
          </p:nvSpPr>
          <p:spPr>
            <a:xfrm>
              <a:off x="3055999" y="953103"/>
              <a:ext cx="1307725" cy="1149667"/>
            </a:xfrm>
            <a:custGeom>
              <a:avLst/>
              <a:gdLst>
                <a:gd name="connsiteX0" fmla="*/ 0 w 1307725"/>
                <a:gd name="connsiteY0" fmla="*/ 1021538 h 1149667"/>
                <a:gd name="connsiteX1" fmla="*/ 264615 w 1307725"/>
                <a:gd name="connsiteY1" fmla="*/ 166154 h 1149667"/>
                <a:gd name="connsiteX2" fmla="*/ 270769 w 1307725"/>
                <a:gd name="connsiteY2" fmla="*/ 141538 h 1149667"/>
                <a:gd name="connsiteX3" fmla="*/ 320000 w 1307725"/>
                <a:gd name="connsiteY3" fmla="*/ 15385 h 1149667"/>
                <a:gd name="connsiteX4" fmla="*/ 870769 w 1307725"/>
                <a:gd name="connsiteY4" fmla="*/ 0 h 1149667"/>
                <a:gd name="connsiteX5" fmla="*/ 929230 w 1307725"/>
                <a:gd name="connsiteY5" fmla="*/ 83077 h 1149667"/>
                <a:gd name="connsiteX6" fmla="*/ 941538 w 1307725"/>
                <a:gd name="connsiteY6" fmla="*/ 104615 h 1149667"/>
                <a:gd name="connsiteX7" fmla="*/ 941538 w 1307725"/>
                <a:gd name="connsiteY7" fmla="*/ 104615 h 1149667"/>
                <a:gd name="connsiteX8" fmla="*/ 1307693 w 1307725"/>
                <a:gd name="connsiteY8" fmla="*/ 1027692 h 1149667"/>
                <a:gd name="connsiteX9" fmla="*/ 0 w 1307725"/>
                <a:gd name="connsiteY9" fmla="*/ 1021538 h 1149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07725" h="1149667">
                  <a:moveTo>
                    <a:pt x="0" y="1021538"/>
                  </a:moveTo>
                  <a:cubicBezTo>
                    <a:pt x="49230" y="932308"/>
                    <a:pt x="249230" y="227692"/>
                    <a:pt x="264615" y="166154"/>
                  </a:cubicBezTo>
                  <a:cubicBezTo>
                    <a:pt x="267692" y="156923"/>
                    <a:pt x="270769" y="150769"/>
                    <a:pt x="270769" y="141538"/>
                  </a:cubicBezTo>
                  <a:cubicBezTo>
                    <a:pt x="295384" y="55385"/>
                    <a:pt x="320000" y="15385"/>
                    <a:pt x="320000" y="15385"/>
                  </a:cubicBezTo>
                  <a:cubicBezTo>
                    <a:pt x="320000" y="15385"/>
                    <a:pt x="556922" y="33846"/>
                    <a:pt x="870769" y="0"/>
                  </a:cubicBezTo>
                  <a:cubicBezTo>
                    <a:pt x="892308" y="27692"/>
                    <a:pt x="910769" y="55385"/>
                    <a:pt x="929230" y="83077"/>
                  </a:cubicBezTo>
                  <a:cubicBezTo>
                    <a:pt x="932307" y="89231"/>
                    <a:pt x="938462" y="98461"/>
                    <a:pt x="941538" y="104615"/>
                  </a:cubicBezTo>
                  <a:lnTo>
                    <a:pt x="941538" y="104615"/>
                  </a:lnTo>
                  <a:cubicBezTo>
                    <a:pt x="993846" y="187692"/>
                    <a:pt x="1307693" y="1027692"/>
                    <a:pt x="1307693" y="1027692"/>
                  </a:cubicBezTo>
                  <a:cubicBezTo>
                    <a:pt x="1313846" y="1030769"/>
                    <a:pt x="452307" y="1304615"/>
                    <a:pt x="0" y="1021538"/>
                  </a:cubicBezTo>
                  <a:close/>
                </a:path>
              </a:pathLst>
            </a:custGeom>
            <a:solidFill>
              <a:srgbClr val="7F95BC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2B5482A7-B4C5-402D-A310-71F2EB488571}"/>
                </a:ext>
              </a:extLst>
            </p:cNvPr>
            <p:cNvSpPr/>
            <p:nvPr/>
          </p:nvSpPr>
          <p:spPr>
            <a:xfrm>
              <a:off x="3094531" y="-466253"/>
              <a:ext cx="541846" cy="936472"/>
            </a:xfrm>
            <a:custGeom>
              <a:avLst/>
              <a:gdLst>
                <a:gd name="connsiteX0" fmla="*/ 404544 w 541846"/>
                <a:gd name="connsiteY0" fmla="*/ 74742 h 936472"/>
                <a:gd name="connsiteX1" fmla="*/ 459929 w 541846"/>
                <a:gd name="connsiteY1" fmla="*/ 47050 h 936472"/>
                <a:gd name="connsiteX2" fmla="*/ 509160 w 541846"/>
                <a:gd name="connsiteY2" fmla="*/ 896 h 936472"/>
                <a:gd name="connsiteX3" fmla="*/ 229159 w 541846"/>
                <a:gd name="connsiteY3" fmla="*/ 203973 h 936472"/>
                <a:gd name="connsiteX4" fmla="*/ 198390 w 541846"/>
                <a:gd name="connsiteY4" fmla="*/ 382434 h 936472"/>
                <a:gd name="connsiteX5" fmla="*/ 118390 w 541846"/>
                <a:gd name="connsiteY5" fmla="*/ 465511 h 936472"/>
                <a:gd name="connsiteX6" fmla="*/ 112237 w 541846"/>
                <a:gd name="connsiteY6" fmla="*/ 607050 h 936472"/>
                <a:gd name="connsiteX7" fmla="*/ 4544 w 541846"/>
                <a:gd name="connsiteY7" fmla="*/ 782434 h 936472"/>
                <a:gd name="connsiteX8" fmla="*/ 84545 w 541846"/>
                <a:gd name="connsiteY8" fmla="*/ 920896 h 936472"/>
                <a:gd name="connsiteX9" fmla="*/ 250698 w 541846"/>
                <a:gd name="connsiteY9" fmla="*/ 936280 h 936472"/>
                <a:gd name="connsiteX10" fmla="*/ 416852 w 541846"/>
                <a:gd name="connsiteY10" fmla="*/ 911665 h 936472"/>
                <a:gd name="connsiteX11" fmla="*/ 530699 w 541846"/>
                <a:gd name="connsiteY11" fmla="*/ 662434 h 936472"/>
                <a:gd name="connsiteX12" fmla="*/ 404544 w 541846"/>
                <a:gd name="connsiteY12" fmla="*/ 74742 h 936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1846" h="936472">
                  <a:moveTo>
                    <a:pt x="404544" y="74742"/>
                  </a:moveTo>
                  <a:cubicBezTo>
                    <a:pt x="423006" y="65511"/>
                    <a:pt x="441467" y="56280"/>
                    <a:pt x="459929" y="47050"/>
                  </a:cubicBezTo>
                  <a:cubicBezTo>
                    <a:pt x="478390" y="37819"/>
                    <a:pt x="527621" y="3973"/>
                    <a:pt x="509160" y="896"/>
                  </a:cubicBezTo>
                  <a:cubicBezTo>
                    <a:pt x="398390" y="-11412"/>
                    <a:pt x="263006" y="105511"/>
                    <a:pt x="229159" y="203973"/>
                  </a:cubicBezTo>
                  <a:cubicBezTo>
                    <a:pt x="207622" y="262434"/>
                    <a:pt x="235314" y="330126"/>
                    <a:pt x="198390" y="382434"/>
                  </a:cubicBezTo>
                  <a:cubicBezTo>
                    <a:pt x="176852" y="413203"/>
                    <a:pt x="139929" y="431665"/>
                    <a:pt x="118390" y="465511"/>
                  </a:cubicBezTo>
                  <a:cubicBezTo>
                    <a:pt x="90698" y="511665"/>
                    <a:pt x="118390" y="557819"/>
                    <a:pt x="112237" y="607050"/>
                  </a:cubicBezTo>
                  <a:cubicBezTo>
                    <a:pt x="103005" y="674742"/>
                    <a:pt x="19929" y="714742"/>
                    <a:pt x="4544" y="782434"/>
                  </a:cubicBezTo>
                  <a:cubicBezTo>
                    <a:pt x="-13917" y="847050"/>
                    <a:pt x="26082" y="899357"/>
                    <a:pt x="84545" y="920896"/>
                  </a:cubicBezTo>
                  <a:cubicBezTo>
                    <a:pt x="133775" y="939357"/>
                    <a:pt x="198390" y="936280"/>
                    <a:pt x="250698" y="936280"/>
                  </a:cubicBezTo>
                  <a:cubicBezTo>
                    <a:pt x="306083" y="936280"/>
                    <a:pt x="364544" y="933203"/>
                    <a:pt x="416852" y="911665"/>
                  </a:cubicBezTo>
                  <a:cubicBezTo>
                    <a:pt x="521467" y="868588"/>
                    <a:pt x="518390" y="760896"/>
                    <a:pt x="530699" y="662434"/>
                  </a:cubicBezTo>
                  <a:cubicBezTo>
                    <a:pt x="549159" y="487050"/>
                    <a:pt x="564544" y="203973"/>
                    <a:pt x="404544" y="74742"/>
                  </a:cubicBez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2EBD48D9-05C9-4660-8347-81F36BD53D86}"/>
                </a:ext>
              </a:extLst>
            </p:cNvPr>
            <p:cNvSpPr/>
            <p:nvPr/>
          </p:nvSpPr>
          <p:spPr>
            <a:xfrm>
              <a:off x="3606474" y="-468128"/>
              <a:ext cx="558704" cy="850355"/>
            </a:xfrm>
            <a:custGeom>
              <a:avLst/>
              <a:gdLst>
                <a:gd name="connsiteX0" fmla="*/ 86447 w 558704"/>
                <a:gd name="connsiteY0" fmla="*/ 593540 h 850355"/>
                <a:gd name="connsiteX1" fmla="*/ 187987 w 558704"/>
                <a:gd name="connsiteY1" fmla="*/ 750463 h 850355"/>
                <a:gd name="connsiteX2" fmla="*/ 283370 w 558704"/>
                <a:gd name="connsiteY2" fmla="*/ 756617 h 850355"/>
                <a:gd name="connsiteX3" fmla="*/ 295679 w 558704"/>
                <a:gd name="connsiteY3" fmla="*/ 848924 h 850355"/>
                <a:gd name="connsiteX4" fmla="*/ 501832 w 558704"/>
                <a:gd name="connsiteY4" fmla="*/ 812001 h 850355"/>
                <a:gd name="connsiteX5" fmla="*/ 538756 w 558704"/>
                <a:gd name="connsiteY5" fmla="*/ 618155 h 850355"/>
                <a:gd name="connsiteX6" fmla="*/ 461833 w 558704"/>
                <a:gd name="connsiteY6" fmla="*/ 519694 h 850355"/>
                <a:gd name="connsiteX7" fmla="*/ 437217 w 558704"/>
                <a:gd name="connsiteY7" fmla="*/ 445847 h 850355"/>
                <a:gd name="connsiteX8" fmla="*/ 434140 w 558704"/>
                <a:gd name="connsiteY8" fmla="*/ 356617 h 850355"/>
                <a:gd name="connsiteX9" fmla="*/ 378755 w 558704"/>
                <a:gd name="connsiteY9" fmla="*/ 292001 h 850355"/>
                <a:gd name="connsiteX10" fmla="*/ 326448 w 558704"/>
                <a:gd name="connsiteY10" fmla="*/ 236617 h 850355"/>
                <a:gd name="connsiteX11" fmla="*/ 323371 w 558704"/>
                <a:gd name="connsiteY11" fmla="*/ 178155 h 850355"/>
                <a:gd name="connsiteX12" fmla="*/ 294 w 558704"/>
                <a:gd name="connsiteY12" fmla="*/ 12001 h 850355"/>
                <a:gd name="connsiteX13" fmla="*/ 43371 w 558704"/>
                <a:gd name="connsiteY13" fmla="*/ 162770 h 850355"/>
                <a:gd name="connsiteX14" fmla="*/ 92602 w 558704"/>
                <a:gd name="connsiteY14" fmla="*/ 307386 h 850355"/>
                <a:gd name="connsiteX15" fmla="*/ 92602 w 558704"/>
                <a:gd name="connsiteY15" fmla="*/ 470463 h 850355"/>
                <a:gd name="connsiteX16" fmla="*/ 86447 w 558704"/>
                <a:gd name="connsiteY16" fmla="*/ 593540 h 850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58704" h="850355">
                  <a:moveTo>
                    <a:pt x="86447" y="593540"/>
                  </a:moveTo>
                  <a:cubicBezTo>
                    <a:pt x="98755" y="645847"/>
                    <a:pt x="132601" y="728924"/>
                    <a:pt x="187987" y="750463"/>
                  </a:cubicBezTo>
                  <a:cubicBezTo>
                    <a:pt x="215679" y="759694"/>
                    <a:pt x="255678" y="759694"/>
                    <a:pt x="283370" y="756617"/>
                  </a:cubicBezTo>
                  <a:cubicBezTo>
                    <a:pt x="314140" y="750463"/>
                    <a:pt x="271063" y="864309"/>
                    <a:pt x="295679" y="848924"/>
                  </a:cubicBezTo>
                  <a:cubicBezTo>
                    <a:pt x="357217" y="805847"/>
                    <a:pt x="446448" y="870463"/>
                    <a:pt x="501832" y="812001"/>
                  </a:cubicBezTo>
                  <a:cubicBezTo>
                    <a:pt x="541833" y="768924"/>
                    <a:pt x="584909" y="722771"/>
                    <a:pt x="538756" y="618155"/>
                  </a:cubicBezTo>
                  <a:cubicBezTo>
                    <a:pt x="529524" y="599694"/>
                    <a:pt x="480294" y="532001"/>
                    <a:pt x="461833" y="519694"/>
                  </a:cubicBezTo>
                  <a:cubicBezTo>
                    <a:pt x="434140" y="498155"/>
                    <a:pt x="431063" y="476617"/>
                    <a:pt x="437217" y="445847"/>
                  </a:cubicBezTo>
                  <a:cubicBezTo>
                    <a:pt x="440294" y="415078"/>
                    <a:pt x="446448" y="387386"/>
                    <a:pt x="434140" y="356617"/>
                  </a:cubicBezTo>
                  <a:cubicBezTo>
                    <a:pt x="421832" y="328924"/>
                    <a:pt x="403371" y="307386"/>
                    <a:pt x="378755" y="292001"/>
                  </a:cubicBezTo>
                  <a:cubicBezTo>
                    <a:pt x="354140" y="276617"/>
                    <a:pt x="335678" y="267386"/>
                    <a:pt x="326448" y="236617"/>
                  </a:cubicBezTo>
                  <a:cubicBezTo>
                    <a:pt x="320294" y="218155"/>
                    <a:pt x="323371" y="196617"/>
                    <a:pt x="323371" y="178155"/>
                  </a:cubicBezTo>
                  <a:cubicBezTo>
                    <a:pt x="320294" y="45847"/>
                    <a:pt x="114140" y="-31076"/>
                    <a:pt x="294" y="12001"/>
                  </a:cubicBezTo>
                  <a:cubicBezTo>
                    <a:pt x="-2783" y="12001"/>
                    <a:pt x="18756" y="113540"/>
                    <a:pt x="43371" y="162770"/>
                  </a:cubicBezTo>
                  <a:cubicBezTo>
                    <a:pt x="67986" y="208924"/>
                    <a:pt x="83370" y="255078"/>
                    <a:pt x="92602" y="307386"/>
                  </a:cubicBezTo>
                  <a:cubicBezTo>
                    <a:pt x="101832" y="359694"/>
                    <a:pt x="98755" y="415078"/>
                    <a:pt x="92602" y="470463"/>
                  </a:cubicBezTo>
                  <a:cubicBezTo>
                    <a:pt x="83370" y="507386"/>
                    <a:pt x="77217" y="550463"/>
                    <a:pt x="86447" y="593540"/>
                  </a:cubicBez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4" name="任意多边形: 形状 193">
              <a:extLst>
                <a:ext uri="{FF2B5EF4-FFF2-40B4-BE49-F238E27FC236}">
                  <a16:creationId xmlns:a16="http://schemas.microsoft.com/office/drawing/2014/main" id="{5642CC1E-4A94-4EC5-A4D4-8799AC2A431F}"/>
                </a:ext>
              </a:extLst>
            </p:cNvPr>
            <p:cNvSpPr/>
            <p:nvPr/>
          </p:nvSpPr>
          <p:spPr>
            <a:xfrm>
              <a:off x="2483572" y="374782"/>
              <a:ext cx="817815" cy="375675"/>
            </a:xfrm>
            <a:custGeom>
              <a:avLst/>
              <a:gdLst>
                <a:gd name="connsiteX0" fmla="*/ 658581 w 817815"/>
                <a:gd name="connsiteY0" fmla="*/ 12168 h 375675"/>
                <a:gd name="connsiteX1" fmla="*/ 357043 w 817815"/>
                <a:gd name="connsiteY1" fmla="*/ 215245 h 375675"/>
                <a:gd name="connsiteX2" fmla="*/ 18581 w 817815"/>
                <a:gd name="connsiteY2" fmla="*/ 159860 h 375675"/>
                <a:gd name="connsiteX3" fmla="*/ 12427 w 817815"/>
                <a:gd name="connsiteY3" fmla="*/ 242937 h 375675"/>
                <a:gd name="connsiteX4" fmla="*/ 366273 w 817815"/>
                <a:gd name="connsiteY4" fmla="*/ 375245 h 375675"/>
                <a:gd name="connsiteX5" fmla="*/ 793965 w 817815"/>
                <a:gd name="connsiteY5" fmla="*/ 190629 h 375675"/>
                <a:gd name="connsiteX6" fmla="*/ 658581 w 817815"/>
                <a:gd name="connsiteY6" fmla="*/ 12168 h 37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7815" h="375675">
                  <a:moveTo>
                    <a:pt x="658581" y="12168"/>
                  </a:moveTo>
                  <a:cubicBezTo>
                    <a:pt x="593965" y="46014"/>
                    <a:pt x="357043" y="215245"/>
                    <a:pt x="357043" y="215245"/>
                  </a:cubicBezTo>
                  <a:cubicBezTo>
                    <a:pt x="357043" y="215245"/>
                    <a:pt x="21657" y="156783"/>
                    <a:pt x="18581" y="159860"/>
                  </a:cubicBezTo>
                  <a:cubicBezTo>
                    <a:pt x="-15265" y="206014"/>
                    <a:pt x="6273" y="187552"/>
                    <a:pt x="12427" y="242937"/>
                  </a:cubicBezTo>
                  <a:cubicBezTo>
                    <a:pt x="12427" y="252168"/>
                    <a:pt x="160119" y="335245"/>
                    <a:pt x="366273" y="375245"/>
                  </a:cubicBezTo>
                  <a:cubicBezTo>
                    <a:pt x="421657" y="384475"/>
                    <a:pt x="683196" y="242937"/>
                    <a:pt x="793965" y="190629"/>
                  </a:cubicBezTo>
                  <a:cubicBezTo>
                    <a:pt x="858581" y="159860"/>
                    <a:pt x="784735" y="-52448"/>
                    <a:pt x="658581" y="12168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5" name="任意多边形: 形状 194">
              <a:extLst>
                <a:ext uri="{FF2B5EF4-FFF2-40B4-BE49-F238E27FC236}">
                  <a16:creationId xmlns:a16="http://schemas.microsoft.com/office/drawing/2014/main" id="{E1F54E74-352F-4939-B5A0-9FD7A52BDA74}"/>
                </a:ext>
              </a:extLst>
            </p:cNvPr>
            <p:cNvSpPr/>
            <p:nvPr/>
          </p:nvSpPr>
          <p:spPr>
            <a:xfrm>
              <a:off x="3114392" y="222142"/>
              <a:ext cx="355288" cy="404807"/>
            </a:xfrm>
            <a:custGeom>
              <a:avLst/>
              <a:gdLst>
                <a:gd name="connsiteX0" fmla="*/ 156992 w 355288"/>
                <a:gd name="connsiteY0" fmla="*/ 404808 h 404807"/>
                <a:gd name="connsiteX1" fmla="*/ 353915 w 355288"/>
                <a:gd name="connsiteY1" fmla="*/ 29423 h 404807"/>
                <a:gd name="connsiteX2" fmla="*/ 68 w 355288"/>
                <a:gd name="connsiteY2" fmla="*/ 140192 h 404807"/>
                <a:gd name="connsiteX3" fmla="*/ 156992 w 355288"/>
                <a:gd name="connsiteY3" fmla="*/ 404808 h 40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5288" h="404807">
                  <a:moveTo>
                    <a:pt x="156992" y="404808"/>
                  </a:moveTo>
                  <a:cubicBezTo>
                    <a:pt x="295453" y="343269"/>
                    <a:pt x="366222" y="94039"/>
                    <a:pt x="353915" y="29423"/>
                  </a:cubicBezTo>
                  <a:cubicBezTo>
                    <a:pt x="335453" y="-53654"/>
                    <a:pt x="147760" y="57115"/>
                    <a:pt x="68" y="140192"/>
                  </a:cubicBezTo>
                  <a:cubicBezTo>
                    <a:pt x="-3009" y="201731"/>
                    <a:pt x="98529" y="343269"/>
                    <a:pt x="156992" y="404808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6" name="任意多边形: 形状 195">
              <a:extLst>
                <a:ext uri="{FF2B5EF4-FFF2-40B4-BE49-F238E27FC236}">
                  <a16:creationId xmlns:a16="http://schemas.microsoft.com/office/drawing/2014/main" id="{2C0A91AB-648C-41E4-8F29-67A65173CA46}"/>
                </a:ext>
              </a:extLst>
            </p:cNvPr>
            <p:cNvSpPr/>
            <p:nvPr/>
          </p:nvSpPr>
          <p:spPr>
            <a:xfrm>
              <a:off x="3332975" y="170924"/>
              <a:ext cx="640324" cy="806132"/>
            </a:xfrm>
            <a:custGeom>
              <a:avLst/>
              <a:gdLst>
                <a:gd name="connsiteX0" fmla="*/ 603024 w 640324"/>
                <a:gd name="connsiteY0" fmla="*/ 320640 h 806132"/>
                <a:gd name="connsiteX1" fmla="*/ 590716 w 640324"/>
                <a:gd name="connsiteY1" fmla="*/ 56025 h 806132"/>
                <a:gd name="connsiteX2" fmla="*/ 289178 w 640324"/>
                <a:gd name="connsiteY2" fmla="*/ 3717 h 806132"/>
                <a:gd name="connsiteX3" fmla="*/ 43024 w 640324"/>
                <a:gd name="connsiteY3" fmla="*/ 86794 h 806132"/>
                <a:gd name="connsiteX4" fmla="*/ 46101 w 640324"/>
                <a:gd name="connsiteY4" fmla="*/ 800640 h 806132"/>
                <a:gd name="connsiteX5" fmla="*/ 603024 w 640324"/>
                <a:gd name="connsiteY5" fmla="*/ 788333 h 806132"/>
                <a:gd name="connsiteX6" fmla="*/ 603024 w 640324"/>
                <a:gd name="connsiteY6" fmla="*/ 320640 h 80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0324" h="806132">
                  <a:moveTo>
                    <a:pt x="603024" y="320640"/>
                  </a:moveTo>
                  <a:cubicBezTo>
                    <a:pt x="612255" y="296025"/>
                    <a:pt x="689178" y="108333"/>
                    <a:pt x="590716" y="56025"/>
                  </a:cubicBezTo>
                  <a:cubicBezTo>
                    <a:pt x="504563" y="9871"/>
                    <a:pt x="384563" y="-8590"/>
                    <a:pt x="289178" y="3717"/>
                  </a:cubicBezTo>
                  <a:cubicBezTo>
                    <a:pt x="181486" y="16025"/>
                    <a:pt x="73793" y="34487"/>
                    <a:pt x="43024" y="86794"/>
                  </a:cubicBezTo>
                  <a:cubicBezTo>
                    <a:pt x="-49284" y="240640"/>
                    <a:pt x="33793" y="692948"/>
                    <a:pt x="46101" y="800640"/>
                  </a:cubicBezTo>
                  <a:cubicBezTo>
                    <a:pt x="46101" y="800640"/>
                    <a:pt x="279947" y="819102"/>
                    <a:pt x="603024" y="788333"/>
                  </a:cubicBezTo>
                  <a:cubicBezTo>
                    <a:pt x="572254" y="609871"/>
                    <a:pt x="596870" y="339102"/>
                    <a:pt x="603024" y="320640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7" name="任意多边形: 形状 196">
              <a:extLst>
                <a:ext uri="{FF2B5EF4-FFF2-40B4-BE49-F238E27FC236}">
                  <a16:creationId xmlns:a16="http://schemas.microsoft.com/office/drawing/2014/main" id="{BAC8DF4B-6142-4A87-83C6-CF5AE6A65EFD}"/>
                </a:ext>
              </a:extLst>
            </p:cNvPr>
            <p:cNvSpPr/>
            <p:nvPr/>
          </p:nvSpPr>
          <p:spPr>
            <a:xfrm>
              <a:off x="3532922" y="23872"/>
              <a:ext cx="252307" cy="267692"/>
            </a:xfrm>
            <a:custGeom>
              <a:avLst/>
              <a:gdLst>
                <a:gd name="connsiteX0" fmla="*/ 33845 w 252307"/>
                <a:gd name="connsiteY0" fmla="*/ 36923 h 267692"/>
                <a:gd name="connsiteX1" fmla="*/ 0 w 252307"/>
                <a:gd name="connsiteY1" fmla="*/ 166154 h 267692"/>
                <a:gd name="connsiteX2" fmla="*/ 92308 w 252307"/>
                <a:gd name="connsiteY2" fmla="*/ 267692 h 267692"/>
                <a:gd name="connsiteX3" fmla="*/ 252307 w 252307"/>
                <a:gd name="connsiteY3" fmla="*/ 153846 h 267692"/>
                <a:gd name="connsiteX4" fmla="*/ 221538 w 252307"/>
                <a:gd name="connsiteY4" fmla="*/ 0 h 267692"/>
                <a:gd name="connsiteX5" fmla="*/ 33845 w 252307"/>
                <a:gd name="connsiteY5" fmla="*/ 36923 h 26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2307" h="267692">
                  <a:moveTo>
                    <a:pt x="33845" y="36923"/>
                  </a:moveTo>
                  <a:cubicBezTo>
                    <a:pt x="33845" y="36923"/>
                    <a:pt x="27692" y="141539"/>
                    <a:pt x="0" y="166154"/>
                  </a:cubicBezTo>
                  <a:lnTo>
                    <a:pt x="92308" y="267692"/>
                  </a:lnTo>
                  <a:cubicBezTo>
                    <a:pt x="92308" y="267692"/>
                    <a:pt x="206153" y="178462"/>
                    <a:pt x="252307" y="153846"/>
                  </a:cubicBezTo>
                  <a:cubicBezTo>
                    <a:pt x="224615" y="116923"/>
                    <a:pt x="221538" y="52308"/>
                    <a:pt x="221538" y="0"/>
                  </a:cubicBezTo>
                  <a:cubicBezTo>
                    <a:pt x="218461" y="0"/>
                    <a:pt x="76923" y="43077"/>
                    <a:pt x="33845" y="36923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8" name="任意多边形: 形状 197">
              <a:extLst>
                <a:ext uri="{FF2B5EF4-FFF2-40B4-BE49-F238E27FC236}">
                  <a16:creationId xmlns:a16="http://schemas.microsoft.com/office/drawing/2014/main" id="{4EA2094A-1E02-4E22-9012-24AB3BA47E48}"/>
                </a:ext>
              </a:extLst>
            </p:cNvPr>
            <p:cNvSpPr/>
            <p:nvPr/>
          </p:nvSpPr>
          <p:spPr>
            <a:xfrm>
              <a:off x="3329518" y="251565"/>
              <a:ext cx="52634" cy="458461"/>
            </a:xfrm>
            <a:custGeom>
              <a:avLst/>
              <a:gdLst>
                <a:gd name="connsiteX0" fmla="*/ 15712 w 52634"/>
                <a:gd name="connsiteY0" fmla="*/ 458461 h 458461"/>
                <a:gd name="connsiteX1" fmla="*/ 9557 w 52634"/>
                <a:gd name="connsiteY1" fmla="*/ 455385 h 458461"/>
                <a:gd name="connsiteX2" fmla="*/ 40327 w 52634"/>
                <a:gd name="connsiteY2" fmla="*/ 3077 h 458461"/>
                <a:gd name="connsiteX3" fmla="*/ 49558 w 52634"/>
                <a:gd name="connsiteY3" fmla="*/ 0 h 458461"/>
                <a:gd name="connsiteX4" fmla="*/ 52634 w 52634"/>
                <a:gd name="connsiteY4" fmla="*/ 9231 h 458461"/>
                <a:gd name="connsiteX5" fmla="*/ 21865 w 52634"/>
                <a:gd name="connsiteY5" fmla="*/ 452308 h 458461"/>
                <a:gd name="connsiteX6" fmla="*/ 15712 w 52634"/>
                <a:gd name="connsiteY6" fmla="*/ 458461 h 458461"/>
                <a:gd name="connsiteX7" fmla="*/ 15712 w 52634"/>
                <a:gd name="connsiteY7" fmla="*/ 458461 h 45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634" h="458461">
                  <a:moveTo>
                    <a:pt x="15712" y="458461"/>
                  </a:moveTo>
                  <a:cubicBezTo>
                    <a:pt x="12634" y="458461"/>
                    <a:pt x="9557" y="455385"/>
                    <a:pt x="9557" y="455385"/>
                  </a:cubicBezTo>
                  <a:cubicBezTo>
                    <a:pt x="-2750" y="406154"/>
                    <a:pt x="-11981" y="86154"/>
                    <a:pt x="40327" y="3077"/>
                  </a:cubicBezTo>
                  <a:cubicBezTo>
                    <a:pt x="43404" y="0"/>
                    <a:pt x="46481" y="0"/>
                    <a:pt x="49558" y="0"/>
                  </a:cubicBezTo>
                  <a:cubicBezTo>
                    <a:pt x="52634" y="3077"/>
                    <a:pt x="52634" y="6154"/>
                    <a:pt x="52634" y="9231"/>
                  </a:cubicBezTo>
                  <a:cubicBezTo>
                    <a:pt x="327" y="89231"/>
                    <a:pt x="9557" y="406154"/>
                    <a:pt x="21865" y="452308"/>
                  </a:cubicBezTo>
                  <a:cubicBezTo>
                    <a:pt x="21865" y="455385"/>
                    <a:pt x="18789" y="458461"/>
                    <a:pt x="15712" y="458461"/>
                  </a:cubicBezTo>
                  <a:cubicBezTo>
                    <a:pt x="15712" y="458461"/>
                    <a:pt x="15712" y="458461"/>
                    <a:pt x="15712" y="458461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9" name="任意多边形: 形状 198">
              <a:extLst>
                <a:ext uri="{FF2B5EF4-FFF2-40B4-BE49-F238E27FC236}">
                  <a16:creationId xmlns:a16="http://schemas.microsoft.com/office/drawing/2014/main" id="{AE9545E0-2D56-4BF4-8D1A-FC5E93CACB40}"/>
                </a:ext>
              </a:extLst>
            </p:cNvPr>
            <p:cNvSpPr/>
            <p:nvPr/>
          </p:nvSpPr>
          <p:spPr>
            <a:xfrm>
              <a:off x="3508306" y="174642"/>
              <a:ext cx="295384" cy="126153"/>
            </a:xfrm>
            <a:custGeom>
              <a:avLst/>
              <a:gdLst>
                <a:gd name="connsiteX0" fmla="*/ 30769 w 295384"/>
                <a:gd name="connsiteY0" fmla="*/ 9231 h 126153"/>
                <a:gd name="connsiteX1" fmla="*/ 113847 w 295384"/>
                <a:gd name="connsiteY1" fmla="*/ 101538 h 126153"/>
                <a:gd name="connsiteX2" fmla="*/ 273846 w 295384"/>
                <a:gd name="connsiteY2" fmla="*/ 0 h 126153"/>
                <a:gd name="connsiteX3" fmla="*/ 295385 w 295384"/>
                <a:gd name="connsiteY3" fmla="*/ 6154 h 126153"/>
                <a:gd name="connsiteX4" fmla="*/ 113847 w 295384"/>
                <a:gd name="connsiteY4" fmla="*/ 126154 h 126153"/>
                <a:gd name="connsiteX5" fmla="*/ 0 w 295384"/>
                <a:gd name="connsiteY5" fmla="*/ 12308 h 126153"/>
                <a:gd name="connsiteX6" fmla="*/ 30769 w 295384"/>
                <a:gd name="connsiteY6" fmla="*/ 9231 h 12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5384" h="126153">
                  <a:moveTo>
                    <a:pt x="30769" y="9231"/>
                  </a:moveTo>
                  <a:lnTo>
                    <a:pt x="113847" y="101538"/>
                  </a:lnTo>
                  <a:cubicBezTo>
                    <a:pt x="113847" y="101538"/>
                    <a:pt x="221539" y="18461"/>
                    <a:pt x="273846" y="0"/>
                  </a:cubicBezTo>
                  <a:lnTo>
                    <a:pt x="295385" y="6154"/>
                  </a:lnTo>
                  <a:lnTo>
                    <a:pt x="113847" y="126154"/>
                  </a:lnTo>
                  <a:lnTo>
                    <a:pt x="0" y="12308"/>
                  </a:lnTo>
                  <a:cubicBezTo>
                    <a:pt x="0" y="15385"/>
                    <a:pt x="12308" y="9231"/>
                    <a:pt x="30769" y="9231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0" name="任意多边形: 形状 199">
              <a:extLst>
                <a:ext uri="{FF2B5EF4-FFF2-40B4-BE49-F238E27FC236}">
                  <a16:creationId xmlns:a16="http://schemas.microsoft.com/office/drawing/2014/main" id="{DCE976DC-510B-4CFF-AADB-73F6783CFB50}"/>
                </a:ext>
              </a:extLst>
            </p:cNvPr>
            <p:cNvSpPr/>
            <p:nvPr/>
          </p:nvSpPr>
          <p:spPr>
            <a:xfrm>
              <a:off x="2307467" y="423103"/>
              <a:ext cx="260025" cy="212004"/>
            </a:xfrm>
            <a:custGeom>
              <a:avLst/>
              <a:gdLst>
                <a:gd name="connsiteX0" fmla="*/ 43915 w 260025"/>
                <a:gd name="connsiteY0" fmla="*/ 142308 h 212004"/>
                <a:gd name="connsiteX1" fmla="*/ 96223 w 260025"/>
                <a:gd name="connsiteY1" fmla="*/ 176154 h 212004"/>
                <a:gd name="connsiteX2" fmla="*/ 188531 w 260025"/>
                <a:gd name="connsiteY2" fmla="*/ 210000 h 212004"/>
                <a:gd name="connsiteX3" fmla="*/ 259300 w 260025"/>
                <a:gd name="connsiteY3" fmla="*/ 154615 h 212004"/>
                <a:gd name="connsiteX4" fmla="*/ 77762 w 260025"/>
                <a:gd name="connsiteY4" fmla="*/ 3846 h 212004"/>
                <a:gd name="connsiteX5" fmla="*/ 53147 w 260025"/>
                <a:gd name="connsiteY5" fmla="*/ 10000 h 212004"/>
                <a:gd name="connsiteX6" fmla="*/ 77762 w 260025"/>
                <a:gd name="connsiteY6" fmla="*/ 37692 h 212004"/>
                <a:gd name="connsiteX7" fmla="*/ 111608 w 260025"/>
                <a:gd name="connsiteY7" fmla="*/ 71538 h 212004"/>
                <a:gd name="connsiteX8" fmla="*/ 59300 w 260025"/>
                <a:gd name="connsiteY8" fmla="*/ 43846 h 212004"/>
                <a:gd name="connsiteX9" fmla="*/ 19300 w 260025"/>
                <a:gd name="connsiteY9" fmla="*/ 25385 h 212004"/>
                <a:gd name="connsiteX10" fmla="*/ 839 w 260025"/>
                <a:gd name="connsiteY10" fmla="*/ 37692 h 212004"/>
                <a:gd name="connsiteX11" fmla="*/ 6993 w 260025"/>
                <a:gd name="connsiteY11" fmla="*/ 62308 h 212004"/>
                <a:gd name="connsiteX12" fmla="*/ 3916 w 260025"/>
                <a:gd name="connsiteY12" fmla="*/ 62308 h 212004"/>
                <a:gd name="connsiteX13" fmla="*/ 839 w 260025"/>
                <a:gd name="connsiteY13" fmla="*/ 65385 h 212004"/>
                <a:gd name="connsiteX14" fmla="*/ 22377 w 260025"/>
                <a:gd name="connsiteY14" fmla="*/ 96154 h 212004"/>
                <a:gd name="connsiteX15" fmla="*/ 40839 w 260025"/>
                <a:gd name="connsiteY15" fmla="*/ 105385 h 212004"/>
                <a:gd name="connsiteX16" fmla="*/ 34685 w 260025"/>
                <a:gd name="connsiteY16" fmla="*/ 105385 h 212004"/>
                <a:gd name="connsiteX17" fmla="*/ 22377 w 260025"/>
                <a:gd name="connsiteY17" fmla="*/ 114615 h 212004"/>
                <a:gd name="connsiteX18" fmla="*/ 43915 w 260025"/>
                <a:gd name="connsiteY18" fmla="*/ 142308 h 212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60025" h="212004">
                  <a:moveTo>
                    <a:pt x="43915" y="142308"/>
                  </a:moveTo>
                  <a:cubicBezTo>
                    <a:pt x="62377" y="154615"/>
                    <a:pt x="77762" y="163846"/>
                    <a:pt x="96223" y="176154"/>
                  </a:cubicBezTo>
                  <a:cubicBezTo>
                    <a:pt x="123916" y="194615"/>
                    <a:pt x="151608" y="219231"/>
                    <a:pt x="188531" y="210000"/>
                  </a:cubicBezTo>
                  <a:cubicBezTo>
                    <a:pt x="213146" y="203846"/>
                    <a:pt x="259300" y="154615"/>
                    <a:pt x="259300" y="154615"/>
                  </a:cubicBezTo>
                  <a:cubicBezTo>
                    <a:pt x="271608" y="93077"/>
                    <a:pt x="123916" y="22308"/>
                    <a:pt x="77762" y="3846"/>
                  </a:cubicBezTo>
                  <a:cubicBezTo>
                    <a:pt x="71608" y="769"/>
                    <a:pt x="50070" y="-5385"/>
                    <a:pt x="53147" y="10000"/>
                  </a:cubicBezTo>
                  <a:cubicBezTo>
                    <a:pt x="56224" y="19231"/>
                    <a:pt x="71608" y="28461"/>
                    <a:pt x="77762" y="37692"/>
                  </a:cubicBezTo>
                  <a:cubicBezTo>
                    <a:pt x="90069" y="50000"/>
                    <a:pt x="99301" y="59231"/>
                    <a:pt x="111608" y="71538"/>
                  </a:cubicBezTo>
                  <a:cubicBezTo>
                    <a:pt x="93146" y="62308"/>
                    <a:pt x="74685" y="53077"/>
                    <a:pt x="59300" y="43846"/>
                  </a:cubicBezTo>
                  <a:cubicBezTo>
                    <a:pt x="46992" y="37692"/>
                    <a:pt x="34685" y="28461"/>
                    <a:pt x="19300" y="25385"/>
                  </a:cubicBezTo>
                  <a:cubicBezTo>
                    <a:pt x="10070" y="25385"/>
                    <a:pt x="3916" y="28461"/>
                    <a:pt x="839" y="37692"/>
                  </a:cubicBezTo>
                  <a:cubicBezTo>
                    <a:pt x="-2238" y="46923"/>
                    <a:pt x="3916" y="56154"/>
                    <a:pt x="6993" y="62308"/>
                  </a:cubicBezTo>
                  <a:cubicBezTo>
                    <a:pt x="6993" y="62308"/>
                    <a:pt x="6993" y="62308"/>
                    <a:pt x="3916" y="62308"/>
                  </a:cubicBezTo>
                  <a:cubicBezTo>
                    <a:pt x="3916" y="62308"/>
                    <a:pt x="839" y="65385"/>
                    <a:pt x="839" y="65385"/>
                  </a:cubicBezTo>
                  <a:cubicBezTo>
                    <a:pt x="839" y="80769"/>
                    <a:pt x="10070" y="90000"/>
                    <a:pt x="22377" y="96154"/>
                  </a:cubicBezTo>
                  <a:cubicBezTo>
                    <a:pt x="28531" y="99231"/>
                    <a:pt x="34685" y="102308"/>
                    <a:pt x="40839" y="105385"/>
                  </a:cubicBezTo>
                  <a:cubicBezTo>
                    <a:pt x="37762" y="105385"/>
                    <a:pt x="37762" y="105385"/>
                    <a:pt x="34685" y="105385"/>
                  </a:cubicBezTo>
                  <a:cubicBezTo>
                    <a:pt x="28531" y="105385"/>
                    <a:pt x="22377" y="108462"/>
                    <a:pt x="22377" y="114615"/>
                  </a:cubicBezTo>
                  <a:cubicBezTo>
                    <a:pt x="19300" y="130000"/>
                    <a:pt x="34685" y="139231"/>
                    <a:pt x="43915" y="142308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1" name="任意多边形: 形状 200">
              <a:extLst>
                <a:ext uri="{FF2B5EF4-FFF2-40B4-BE49-F238E27FC236}">
                  <a16:creationId xmlns:a16="http://schemas.microsoft.com/office/drawing/2014/main" id="{7E2BFAFF-B66D-4B67-B62C-F1C2C618A9B0}"/>
                </a:ext>
              </a:extLst>
            </p:cNvPr>
            <p:cNvSpPr/>
            <p:nvPr/>
          </p:nvSpPr>
          <p:spPr>
            <a:xfrm>
              <a:off x="3437537" y="-432888"/>
              <a:ext cx="427105" cy="574127"/>
            </a:xfrm>
            <a:custGeom>
              <a:avLst/>
              <a:gdLst>
                <a:gd name="connsiteX0" fmla="*/ 418462 w 427105"/>
                <a:gd name="connsiteY0" fmla="*/ 182915 h 574127"/>
                <a:gd name="connsiteX1" fmla="*/ 409230 w 427105"/>
                <a:gd name="connsiteY1" fmla="*/ 441377 h 574127"/>
                <a:gd name="connsiteX2" fmla="*/ 261539 w 427105"/>
                <a:gd name="connsiteY2" fmla="*/ 573685 h 574127"/>
                <a:gd name="connsiteX3" fmla="*/ 40000 w 427105"/>
                <a:gd name="connsiteY3" fmla="*/ 432146 h 574127"/>
                <a:gd name="connsiteX4" fmla="*/ 0 w 427105"/>
                <a:gd name="connsiteY4" fmla="*/ 204454 h 574127"/>
                <a:gd name="connsiteX5" fmla="*/ 212308 w 427105"/>
                <a:gd name="connsiteY5" fmla="*/ 1377 h 574127"/>
                <a:gd name="connsiteX6" fmla="*/ 418462 w 427105"/>
                <a:gd name="connsiteY6" fmla="*/ 182915 h 57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105" h="574127">
                  <a:moveTo>
                    <a:pt x="418462" y="182915"/>
                  </a:moveTo>
                  <a:cubicBezTo>
                    <a:pt x="418462" y="182915"/>
                    <a:pt x="443077" y="370608"/>
                    <a:pt x="409230" y="441377"/>
                  </a:cubicBezTo>
                  <a:cubicBezTo>
                    <a:pt x="369231" y="527531"/>
                    <a:pt x="329230" y="570608"/>
                    <a:pt x="261539" y="573685"/>
                  </a:cubicBezTo>
                  <a:cubicBezTo>
                    <a:pt x="172308" y="579838"/>
                    <a:pt x="83076" y="521377"/>
                    <a:pt x="40000" y="432146"/>
                  </a:cubicBezTo>
                  <a:cubicBezTo>
                    <a:pt x="6153" y="361377"/>
                    <a:pt x="0" y="256762"/>
                    <a:pt x="0" y="204454"/>
                  </a:cubicBezTo>
                  <a:cubicBezTo>
                    <a:pt x="0" y="109069"/>
                    <a:pt x="27692" y="29069"/>
                    <a:pt x="212308" y="1377"/>
                  </a:cubicBezTo>
                  <a:cubicBezTo>
                    <a:pt x="298461" y="-14008"/>
                    <a:pt x="396923" y="102915"/>
                    <a:pt x="418462" y="182915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2" name="任意多边形: 形状 201">
              <a:extLst>
                <a:ext uri="{FF2B5EF4-FFF2-40B4-BE49-F238E27FC236}">
                  <a16:creationId xmlns:a16="http://schemas.microsoft.com/office/drawing/2014/main" id="{D9EFFA0C-7774-4A2B-856B-8139DDC860C3}"/>
                </a:ext>
              </a:extLst>
            </p:cNvPr>
            <p:cNvSpPr/>
            <p:nvPr/>
          </p:nvSpPr>
          <p:spPr>
            <a:xfrm>
              <a:off x="3671384" y="-160742"/>
              <a:ext cx="55384" cy="132307"/>
            </a:xfrm>
            <a:custGeom>
              <a:avLst/>
              <a:gdLst>
                <a:gd name="connsiteX0" fmla="*/ 27692 w 55384"/>
                <a:gd name="connsiteY0" fmla="*/ 132308 h 132307"/>
                <a:gd name="connsiteX1" fmla="*/ 6153 w 55384"/>
                <a:gd name="connsiteY1" fmla="*/ 129231 h 132307"/>
                <a:gd name="connsiteX2" fmla="*/ 0 w 55384"/>
                <a:gd name="connsiteY2" fmla="*/ 123077 h 132307"/>
                <a:gd name="connsiteX3" fmla="*/ 6153 w 55384"/>
                <a:gd name="connsiteY3" fmla="*/ 116923 h 132307"/>
                <a:gd name="connsiteX4" fmla="*/ 46154 w 55384"/>
                <a:gd name="connsiteY4" fmla="*/ 113846 h 132307"/>
                <a:gd name="connsiteX5" fmla="*/ 46154 w 55384"/>
                <a:gd name="connsiteY5" fmla="*/ 110769 h 132307"/>
                <a:gd name="connsiteX6" fmla="*/ 15385 w 55384"/>
                <a:gd name="connsiteY6" fmla="*/ 6154 h 132307"/>
                <a:gd name="connsiteX7" fmla="*/ 18461 w 55384"/>
                <a:gd name="connsiteY7" fmla="*/ 0 h 132307"/>
                <a:gd name="connsiteX8" fmla="*/ 24615 w 55384"/>
                <a:gd name="connsiteY8" fmla="*/ 3077 h 132307"/>
                <a:gd name="connsiteX9" fmla="*/ 55384 w 55384"/>
                <a:gd name="connsiteY9" fmla="*/ 113846 h 132307"/>
                <a:gd name="connsiteX10" fmla="*/ 49230 w 55384"/>
                <a:gd name="connsiteY10" fmla="*/ 126154 h 132307"/>
                <a:gd name="connsiteX11" fmla="*/ 27692 w 55384"/>
                <a:gd name="connsiteY11" fmla="*/ 132308 h 1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384" h="132307">
                  <a:moveTo>
                    <a:pt x="27692" y="132308"/>
                  </a:moveTo>
                  <a:cubicBezTo>
                    <a:pt x="18461" y="132308"/>
                    <a:pt x="9230" y="132308"/>
                    <a:pt x="6153" y="129231"/>
                  </a:cubicBezTo>
                  <a:cubicBezTo>
                    <a:pt x="3076" y="129231"/>
                    <a:pt x="0" y="126154"/>
                    <a:pt x="0" y="123077"/>
                  </a:cubicBezTo>
                  <a:cubicBezTo>
                    <a:pt x="0" y="120000"/>
                    <a:pt x="3076" y="116923"/>
                    <a:pt x="6153" y="116923"/>
                  </a:cubicBezTo>
                  <a:cubicBezTo>
                    <a:pt x="18461" y="120000"/>
                    <a:pt x="40000" y="120000"/>
                    <a:pt x="46154" y="113846"/>
                  </a:cubicBezTo>
                  <a:cubicBezTo>
                    <a:pt x="46154" y="113846"/>
                    <a:pt x="46154" y="110769"/>
                    <a:pt x="46154" y="110769"/>
                  </a:cubicBezTo>
                  <a:cubicBezTo>
                    <a:pt x="46154" y="95385"/>
                    <a:pt x="24615" y="27692"/>
                    <a:pt x="15385" y="6154"/>
                  </a:cubicBezTo>
                  <a:cubicBezTo>
                    <a:pt x="15385" y="3077"/>
                    <a:pt x="15385" y="0"/>
                    <a:pt x="18461" y="0"/>
                  </a:cubicBezTo>
                  <a:cubicBezTo>
                    <a:pt x="21538" y="0"/>
                    <a:pt x="24615" y="0"/>
                    <a:pt x="24615" y="3077"/>
                  </a:cubicBezTo>
                  <a:cubicBezTo>
                    <a:pt x="24615" y="6154"/>
                    <a:pt x="55384" y="92308"/>
                    <a:pt x="55384" y="113846"/>
                  </a:cubicBezTo>
                  <a:cubicBezTo>
                    <a:pt x="55384" y="120000"/>
                    <a:pt x="52307" y="123077"/>
                    <a:pt x="49230" y="126154"/>
                  </a:cubicBezTo>
                  <a:cubicBezTo>
                    <a:pt x="46154" y="129231"/>
                    <a:pt x="36923" y="132308"/>
                    <a:pt x="27692" y="132308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3" name="任意多边形: 形状 202">
              <a:extLst>
                <a:ext uri="{FF2B5EF4-FFF2-40B4-BE49-F238E27FC236}">
                  <a16:creationId xmlns:a16="http://schemas.microsoft.com/office/drawing/2014/main" id="{007992B7-8568-46B7-9BCA-A05161798226}"/>
                </a:ext>
              </a:extLst>
            </p:cNvPr>
            <p:cNvSpPr/>
            <p:nvPr/>
          </p:nvSpPr>
          <p:spPr>
            <a:xfrm>
              <a:off x="3640614" y="17718"/>
              <a:ext cx="107692" cy="56328"/>
            </a:xfrm>
            <a:custGeom>
              <a:avLst/>
              <a:gdLst>
                <a:gd name="connsiteX0" fmla="*/ 0 w 107692"/>
                <a:gd name="connsiteY0" fmla="*/ 3077 h 56328"/>
                <a:gd name="connsiteX1" fmla="*/ 107692 w 107692"/>
                <a:gd name="connsiteY1" fmla="*/ 0 h 56328"/>
                <a:gd name="connsiteX2" fmla="*/ 67692 w 107692"/>
                <a:gd name="connsiteY2" fmla="*/ 55385 h 56328"/>
                <a:gd name="connsiteX3" fmla="*/ 0 w 107692"/>
                <a:gd name="connsiteY3" fmla="*/ 3077 h 56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92" h="56328">
                  <a:moveTo>
                    <a:pt x="0" y="3077"/>
                  </a:moveTo>
                  <a:cubicBezTo>
                    <a:pt x="52307" y="30769"/>
                    <a:pt x="107692" y="0"/>
                    <a:pt x="107692" y="0"/>
                  </a:cubicBezTo>
                  <a:cubicBezTo>
                    <a:pt x="107692" y="0"/>
                    <a:pt x="101538" y="52308"/>
                    <a:pt x="67692" y="55385"/>
                  </a:cubicBezTo>
                  <a:cubicBezTo>
                    <a:pt x="30769" y="64615"/>
                    <a:pt x="0" y="3077"/>
                    <a:pt x="0" y="3077"/>
                  </a:cubicBezTo>
                  <a:close/>
                </a:path>
              </a:pathLst>
            </a:custGeom>
            <a:solidFill>
              <a:srgbClr val="FFFFFF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4" name="任意多边形: 形状 203">
              <a:extLst>
                <a:ext uri="{FF2B5EF4-FFF2-40B4-BE49-F238E27FC236}">
                  <a16:creationId xmlns:a16="http://schemas.microsoft.com/office/drawing/2014/main" id="{4C36DFA6-1A3D-4067-8F1A-9E692484D8E8}"/>
                </a:ext>
              </a:extLst>
            </p:cNvPr>
            <p:cNvSpPr/>
            <p:nvPr/>
          </p:nvSpPr>
          <p:spPr>
            <a:xfrm>
              <a:off x="3759830" y="-192115"/>
              <a:ext cx="41387" cy="41207"/>
            </a:xfrm>
            <a:custGeom>
              <a:avLst/>
              <a:gdLst>
                <a:gd name="connsiteX0" fmla="*/ 784 w 41387"/>
                <a:gd name="connsiteY0" fmla="*/ 25219 h 41207"/>
                <a:gd name="connsiteX1" fmla="*/ 25399 w 41387"/>
                <a:gd name="connsiteY1" fmla="*/ 40604 h 41207"/>
                <a:gd name="connsiteX2" fmla="*/ 40784 w 41387"/>
                <a:gd name="connsiteY2" fmla="*/ 15988 h 41207"/>
                <a:gd name="connsiteX3" fmla="*/ 16169 w 41387"/>
                <a:gd name="connsiteY3" fmla="*/ 604 h 41207"/>
                <a:gd name="connsiteX4" fmla="*/ 784 w 41387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207">
                  <a:moveTo>
                    <a:pt x="784" y="25219"/>
                  </a:moveTo>
                  <a:cubicBezTo>
                    <a:pt x="3861" y="34450"/>
                    <a:pt x="13092" y="43681"/>
                    <a:pt x="25399" y="40604"/>
                  </a:cubicBezTo>
                  <a:cubicBezTo>
                    <a:pt x="34631" y="37527"/>
                    <a:pt x="43861" y="28296"/>
                    <a:pt x="40784" y="15988"/>
                  </a:cubicBezTo>
                  <a:cubicBezTo>
                    <a:pt x="37707" y="6757"/>
                    <a:pt x="28476" y="-2473"/>
                    <a:pt x="16169" y="604"/>
                  </a:cubicBezTo>
                  <a:cubicBezTo>
                    <a:pt x="3861" y="3681"/>
                    <a:pt x="-2293" y="15988"/>
                    <a:pt x="784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5" name="任意多边形: 形状 204">
              <a:extLst>
                <a:ext uri="{FF2B5EF4-FFF2-40B4-BE49-F238E27FC236}">
                  <a16:creationId xmlns:a16="http://schemas.microsoft.com/office/drawing/2014/main" id="{56A00F4B-920E-4B2B-AE58-AB0CE4CA656A}"/>
                </a:ext>
              </a:extLst>
            </p:cNvPr>
            <p:cNvSpPr/>
            <p:nvPr/>
          </p:nvSpPr>
          <p:spPr>
            <a:xfrm>
              <a:off x="3566164" y="-182884"/>
              <a:ext cx="41207" cy="41207"/>
            </a:xfrm>
            <a:custGeom>
              <a:avLst/>
              <a:gdLst>
                <a:gd name="connsiteX0" fmla="*/ 603 w 41207"/>
                <a:gd name="connsiteY0" fmla="*/ 25219 h 41207"/>
                <a:gd name="connsiteX1" fmla="*/ 25219 w 41207"/>
                <a:gd name="connsiteY1" fmla="*/ 40604 h 41207"/>
                <a:gd name="connsiteX2" fmla="*/ 40604 w 41207"/>
                <a:gd name="connsiteY2" fmla="*/ 15988 h 41207"/>
                <a:gd name="connsiteX3" fmla="*/ 15988 w 41207"/>
                <a:gd name="connsiteY3" fmla="*/ 604 h 41207"/>
                <a:gd name="connsiteX4" fmla="*/ 603 w 41207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07" h="41207">
                  <a:moveTo>
                    <a:pt x="603" y="25219"/>
                  </a:moveTo>
                  <a:cubicBezTo>
                    <a:pt x="3680" y="34450"/>
                    <a:pt x="12912" y="43681"/>
                    <a:pt x="25219" y="40604"/>
                  </a:cubicBezTo>
                  <a:cubicBezTo>
                    <a:pt x="34450" y="37527"/>
                    <a:pt x="43681" y="28296"/>
                    <a:pt x="40604" y="15988"/>
                  </a:cubicBezTo>
                  <a:cubicBezTo>
                    <a:pt x="37527" y="6757"/>
                    <a:pt x="28296" y="-2473"/>
                    <a:pt x="15988" y="604"/>
                  </a:cubicBezTo>
                  <a:cubicBezTo>
                    <a:pt x="6758" y="3681"/>
                    <a:pt x="-2473" y="15988"/>
                    <a:pt x="603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6" name="任意多边形: 形状 205">
              <a:extLst>
                <a:ext uri="{FF2B5EF4-FFF2-40B4-BE49-F238E27FC236}">
                  <a16:creationId xmlns:a16="http://schemas.microsoft.com/office/drawing/2014/main" id="{C7FAF010-1F7F-4965-80B2-3989ADE75290}"/>
                </a:ext>
              </a:extLst>
            </p:cNvPr>
            <p:cNvSpPr/>
            <p:nvPr/>
          </p:nvSpPr>
          <p:spPr>
            <a:xfrm>
              <a:off x="3728570" y="-240742"/>
              <a:ext cx="92813" cy="33846"/>
            </a:xfrm>
            <a:custGeom>
              <a:avLst/>
              <a:gdLst>
                <a:gd name="connsiteX0" fmla="*/ 87428 w 92813"/>
                <a:gd name="connsiteY0" fmla="*/ 33846 h 33846"/>
                <a:gd name="connsiteX1" fmla="*/ 81275 w 92813"/>
                <a:gd name="connsiteY1" fmla="*/ 30769 h 33846"/>
                <a:gd name="connsiteX2" fmla="*/ 13582 w 92813"/>
                <a:gd name="connsiteY2" fmla="*/ 24615 h 33846"/>
                <a:gd name="connsiteX3" fmla="*/ 1275 w 92813"/>
                <a:gd name="connsiteY3" fmla="*/ 21538 h 33846"/>
                <a:gd name="connsiteX4" fmla="*/ 4352 w 92813"/>
                <a:gd name="connsiteY4" fmla="*/ 9231 h 33846"/>
                <a:gd name="connsiteX5" fmla="*/ 90505 w 92813"/>
                <a:gd name="connsiteY5" fmla="*/ 18461 h 33846"/>
                <a:gd name="connsiteX6" fmla="*/ 90505 w 92813"/>
                <a:gd name="connsiteY6" fmla="*/ 30769 h 33846"/>
                <a:gd name="connsiteX7" fmla="*/ 87428 w 92813"/>
                <a:gd name="connsiteY7" fmla="*/ 33846 h 3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3846">
                  <a:moveTo>
                    <a:pt x="87428" y="33846"/>
                  </a:moveTo>
                  <a:cubicBezTo>
                    <a:pt x="84351" y="33846"/>
                    <a:pt x="84351" y="33846"/>
                    <a:pt x="81275" y="30769"/>
                  </a:cubicBezTo>
                  <a:cubicBezTo>
                    <a:pt x="53582" y="3077"/>
                    <a:pt x="16659" y="24615"/>
                    <a:pt x="13582" y="24615"/>
                  </a:cubicBezTo>
                  <a:cubicBezTo>
                    <a:pt x="10505" y="27692"/>
                    <a:pt x="4352" y="24615"/>
                    <a:pt x="1275" y="21538"/>
                  </a:cubicBezTo>
                  <a:cubicBezTo>
                    <a:pt x="-1803" y="18461"/>
                    <a:pt x="1275" y="12308"/>
                    <a:pt x="4352" y="9231"/>
                  </a:cubicBezTo>
                  <a:cubicBezTo>
                    <a:pt x="22812" y="0"/>
                    <a:pt x="62813" y="-9231"/>
                    <a:pt x="90505" y="18461"/>
                  </a:cubicBezTo>
                  <a:cubicBezTo>
                    <a:pt x="93582" y="21538"/>
                    <a:pt x="93582" y="27692"/>
                    <a:pt x="90505" y="30769"/>
                  </a:cubicBezTo>
                  <a:cubicBezTo>
                    <a:pt x="90505" y="30769"/>
                    <a:pt x="90505" y="33846"/>
                    <a:pt x="87428" y="33846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7" name="任意多边形: 形状 206">
              <a:extLst>
                <a:ext uri="{FF2B5EF4-FFF2-40B4-BE49-F238E27FC236}">
                  <a16:creationId xmlns:a16="http://schemas.microsoft.com/office/drawing/2014/main" id="{A6AF78BA-BE5D-4E70-9A71-D61D179541DD}"/>
                </a:ext>
              </a:extLst>
            </p:cNvPr>
            <p:cNvSpPr/>
            <p:nvPr/>
          </p:nvSpPr>
          <p:spPr>
            <a:xfrm>
              <a:off x="3539845" y="-237352"/>
              <a:ext cx="92813" cy="36609"/>
            </a:xfrm>
            <a:custGeom>
              <a:avLst/>
              <a:gdLst>
                <a:gd name="connsiteX0" fmla="*/ 8462 w 92813"/>
                <a:gd name="connsiteY0" fmla="*/ 36610 h 36609"/>
                <a:gd name="connsiteX1" fmla="*/ 2308 w 92813"/>
                <a:gd name="connsiteY1" fmla="*/ 33533 h 36609"/>
                <a:gd name="connsiteX2" fmla="*/ 2308 w 92813"/>
                <a:gd name="connsiteY2" fmla="*/ 21225 h 36609"/>
                <a:gd name="connsiteX3" fmla="*/ 88461 w 92813"/>
                <a:gd name="connsiteY3" fmla="*/ 11995 h 36609"/>
                <a:gd name="connsiteX4" fmla="*/ 91538 w 92813"/>
                <a:gd name="connsiteY4" fmla="*/ 24302 h 36609"/>
                <a:gd name="connsiteX5" fmla="*/ 79231 w 92813"/>
                <a:gd name="connsiteY5" fmla="*/ 27379 h 36609"/>
                <a:gd name="connsiteX6" fmla="*/ 11538 w 92813"/>
                <a:gd name="connsiteY6" fmla="*/ 33533 h 36609"/>
                <a:gd name="connsiteX7" fmla="*/ 8462 w 92813"/>
                <a:gd name="connsiteY7" fmla="*/ 36610 h 3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6609">
                  <a:moveTo>
                    <a:pt x="8462" y="36610"/>
                  </a:moveTo>
                  <a:cubicBezTo>
                    <a:pt x="5385" y="36610"/>
                    <a:pt x="5385" y="36610"/>
                    <a:pt x="2308" y="33533"/>
                  </a:cubicBezTo>
                  <a:cubicBezTo>
                    <a:pt x="-769" y="30456"/>
                    <a:pt x="-769" y="24302"/>
                    <a:pt x="2308" y="21225"/>
                  </a:cubicBezTo>
                  <a:cubicBezTo>
                    <a:pt x="14615" y="5841"/>
                    <a:pt x="51539" y="-12621"/>
                    <a:pt x="88461" y="11995"/>
                  </a:cubicBezTo>
                  <a:cubicBezTo>
                    <a:pt x="91538" y="15071"/>
                    <a:pt x="94616" y="18148"/>
                    <a:pt x="91538" y="24302"/>
                  </a:cubicBezTo>
                  <a:cubicBezTo>
                    <a:pt x="88461" y="27379"/>
                    <a:pt x="85385" y="30456"/>
                    <a:pt x="79231" y="27379"/>
                  </a:cubicBezTo>
                  <a:cubicBezTo>
                    <a:pt x="42307" y="2764"/>
                    <a:pt x="14615" y="33533"/>
                    <a:pt x="11538" y="33533"/>
                  </a:cubicBezTo>
                  <a:cubicBezTo>
                    <a:pt x="11538" y="33533"/>
                    <a:pt x="8462" y="36610"/>
                    <a:pt x="8462" y="36610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8" name="任意多边形: 形状 207">
              <a:extLst>
                <a:ext uri="{FF2B5EF4-FFF2-40B4-BE49-F238E27FC236}">
                  <a16:creationId xmlns:a16="http://schemas.microsoft.com/office/drawing/2014/main" id="{969619F7-DD4E-4065-AAB0-7B86A9EE566D}"/>
                </a:ext>
              </a:extLst>
            </p:cNvPr>
            <p:cNvSpPr/>
            <p:nvPr/>
          </p:nvSpPr>
          <p:spPr>
            <a:xfrm>
              <a:off x="3598504" y="-465537"/>
              <a:ext cx="283082" cy="255564"/>
            </a:xfrm>
            <a:custGeom>
              <a:avLst/>
              <a:gdLst>
                <a:gd name="connsiteX0" fmla="*/ 2110 w 283082"/>
                <a:gd name="connsiteY0" fmla="*/ 3257 h 255564"/>
                <a:gd name="connsiteX1" fmla="*/ 39034 w 283082"/>
                <a:gd name="connsiteY1" fmla="*/ 132487 h 255564"/>
                <a:gd name="connsiteX2" fmla="*/ 282111 w 283082"/>
                <a:gd name="connsiteY2" fmla="*/ 255564 h 255564"/>
                <a:gd name="connsiteX3" fmla="*/ 2110 w 283082"/>
                <a:gd name="connsiteY3" fmla="*/ 3257 h 25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082" h="255564">
                  <a:moveTo>
                    <a:pt x="2110" y="3257"/>
                  </a:moveTo>
                  <a:cubicBezTo>
                    <a:pt x="2110" y="3257"/>
                    <a:pt x="-13274" y="92487"/>
                    <a:pt x="39034" y="132487"/>
                  </a:cubicBezTo>
                  <a:cubicBezTo>
                    <a:pt x="39034" y="132487"/>
                    <a:pt x="251341" y="172487"/>
                    <a:pt x="282111" y="255564"/>
                  </a:cubicBezTo>
                  <a:cubicBezTo>
                    <a:pt x="285188" y="255564"/>
                    <a:pt x="297495" y="-33666"/>
                    <a:pt x="2110" y="3257"/>
                  </a:cubicBez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9" name="任意多边形: 形状 208">
              <a:extLst>
                <a:ext uri="{FF2B5EF4-FFF2-40B4-BE49-F238E27FC236}">
                  <a16:creationId xmlns:a16="http://schemas.microsoft.com/office/drawing/2014/main" id="{A35ABD63-821C-4E86-BE9F-0E5901120B4C}"/>
                </a:ext>
              </a:extLst>
            </p:cNvPr>
            <p:cNvSpPr/>
            <p:nvPr/>
          </p:nvSpPr>
          <p:spPr>
            <a:xfrm>
              <a:off x="3412733" y="-462281"/>
              <a:ext cx="227881" cy="320499"/>
            </a:xfrm>
            <a:custGeom>
              <a:avLst/>
              <a:gdLst>
                <a:gd name="connsiteX0" fmla="*/ 227882 w 227881"/>
                <a:gd name="connsiteY0" fmla="*/ 129231 h 320499"/>
                <a:gd name="connsiteX1" fmla="*/ 86343 w 227881"/>
                <a:gd name="connsiteY1" fmla="*/ 184615 h 320499"/>
                <a:gd name="connsiteX2" fmla="*/ 27881 w 227881"/>
                <a:gd name="connsiteY2" fmla="*/ 307692 h 320499"/>
                <a:gd name="connsiteX3" fmla="*/ 3266 w 227881"/>
                <a:gd name="connsiteY3" fmla="*/ 304615 h 320499"/>
                <a:gd name="connsiteX4" fmla="*/ 187881 w 227881"/>
                <a:gd name="connsiteY4" fmla="*/ 0 h 320499"/>
                <a:gd name="connsiteX5" fmla="*/ 227882 w 227881"/>
                <a:gd name="connsiteY5" fmla="*/ 129231 h 320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881" h="320499">
                  <a:moveTo>
                    <a:pt x="227882" y="129231"/>
                  </a:moveTo>
                  <a:cubicBezTo>
                    <a:pt x="227882" y="129231"/>
                    <a:pt x="138650" y="178462"/>
                    <a:pt x="86343" y="184615"/>
                  </a:cubicBezTo>
                  <a:cubicBezTo>
                    <a:pt x="34035" y="190769"/>
                    <a:pt x="27881" y="307692"/>
                    <a:pt x="27881" y="307692"/>
                  </a:cubicBezTo>
                  <a:cubicBezTo>
                    <a:pt x="27881" y="307692"/>
                    <a:pt x="6343" y="338462"/>
                    <a:pt x="3266" y="304615"/>
                  </a:cubicBezTo>
                  <a:cubicBezTo>
                    <a:pt x="-5965" y="224615"/>
                    <a:pt x="-9042" y="24615"/>
                    <a:pt x="187881" y="0"/>
                  </a:cubicBezTo>
                  <a:cubicBezTo>
                    <a:pt x="187881" y="0"/>
                    <a:pt x="203266" y="123077"/>
                    <a:pt x="227882" y="129231"/>
                  </a:cubicBez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0" name="任意多边形: 形状 209">
              <a:extLst>
                <a:ext uri="{FF2B5EF4-FFF2-40B4-BE49-F238E27FC236}">
                  <a16:creationId xmlns:a16="http://schemas.microsoft.com/office/drawing/2014/main" id="{B9D876ED-EDB0-4FB6-96F0-D12480202AB1}"/>
                </a:ext>
              </a:extLst>
            </p:cNvPr>
            <p:cNvSpPr/>
            <p:nvPr/>
          </p:nvSpPr>
          <p:spPr>
            <a:xfrm>
              <a:off x="3399554" y="-170165"/>
              <a:ext cx="79350" cy="111610"/>
            </a:xfrm>
            <a:custGeom>
              <a:avLst/>
              <a:gdLst>
                <a:gd name="connsiteX0" fmla="*/ 65676 w 79350"/>
                <a:gd name="connsiteY0" fmla="*/ 15577 h 111610"/>
                <a:gd name="connsiteX1" fmla="*/ 7214 w 79350"/>
                <a:gd name="connsiteY1" fmla="*/ 6346 h 111610"/>
                <a:gd name="connsiteX2" fmla="*/ 65676 w 79350"/>
                <a:gd name="connsiteY2" fmla="*/ 107885 h 111610"/>
                <a:gd name="connsiteX3" fmla="*/ 65676 w 79350"/>
                <a:gd name="connsiteY3" fmla="*/ 15577 h 111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50" h="111610">
                  <a:moveTo>
                    <a:pt x="65676" y="15577"/>
                  </a:moveTo>
                  <a:cubicBezTo>
                    <a:pt x="65676" y="15577"/>
                    <a:pt x="31829" y="-12115"/>
                    <a:pt x="7214" y="6346"/>
                  </a:cubicBezTo>
                  <a:cubicBezTo>
                    <a:pt x="-17402" y="27885"/>
                    <a:pt x="25676" y="132500"/>
                    <a:pt x="65676" y="107885"/>
                  </a:cubicBezTo>
                  <a:cubicBezTo>
                    <a:pt x="96445" y="89423"/>
                    <a:pt x="65676" y="15577"/>
                    <a:pt x="65676" y="15577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1" name="任意多边形: 形状 210">
              <a:extLst>
                <a:ext uri="{FF2B5EF4-FFF2-40B4-BE49-F238E27FC236}">
                  <a16:creationId xmlns:a16="http://schemas.microsoft.com/office/drawing/2014/main" id="{2E5972A9-4A01-4344-8197-AB24F63563FD}"/>
                </a:ext>
              </a:extLst>
            </p:cNvPr>
            <p:cNvSpPr/>
            <p:nvPr/>
          </p:nvSpPr>
          <p:spPr>
            <a:xfrm>
              <a:off x="3437537" y="-468434"/>
              <a:ext cx="209230" cy="307692"/>
            </a:xfrm>
            <a:custGeom>
              <a:avLst/>
              <a:gdLst>
                <a:gd name="connsiteX0" fmla="*/ 6153 w 209230"/>
                <a:gd name="connsiteY0" fmla="*/ 307692 h 307692"/>
                <a:gd name="connsiteX1" fmla="*/ 0 w 209230"/>
                <a:gd name="connsiteY1" fmla="*/ 301538 h 307692"/>
                <a:gd name="connsiteX2" fmla="*/ 58461 w 209230"/>
                <a:gd name="connsiteY2" fmla="*/ 184615 h 307692"/>
                <a:gd name="connsiteX3" fmla="*/ 190769 w 209230"/>
                <a:gd name="connsiteY3" fmla="*/ 129231 h 307692"/>
                <a:gd name="connsiteX4" fmla="*/ 175384 w 209230"/>
                <a:gd name="connsiteY4" fmla="*/ 107692 h 307692"/>
                <a:gd name="connsiteX5" fmla="*/ 163077 w 209230"/>
                <a:gd name="connsiteY5" fmla="*/ 64615 h 307692"/>
                <a:gd name="connsiteX6" fmla="*/ 159999 w 209230"/>
                <a:gd name="connsiteY6" fmla="*/ 33846 h 307692"/>
                <a:gd name="connsiteX7" fmla="*/ 156923 w 209230"/>
                <a:gd name="connsiteY7" fmla="*/ 6154 h 307692"/>
                <a:gd name="connsiteX8" fmla="*/ 163077 w 209230"/>
                <a:gd name="connsiteY8" fmla="*/ 0 h 307692"/>
                <a:gd name="connsiteX9" fmla="*/ 169231 w 209230"/>
                <a:gd name="connsiteY9" fmla="*/ 6154 h 307692"/>
                <a:gd name="connsiteX10" fmla="*/ 172308 w 209230"/>
                <a:gd name="connsiteY10" fmla="*/ 33846 h 307692"/>
                <a:gd name="connsiteX11" fmla="*/ 175384 w 209230"/>
                <a:gd name="connsiteY11" fmla="*/ 61538 h 307692"/>
                <a:gd name="connsiteX12" fmla="*/ 187693 w 209230"/>
                <a:gd name="connsiteY12" fmla="*/ 101538 h 307692"/>
                <a:gd name="connsiteX13" fmla="*/ 206153 w 209230"/>
                <a:gd name="connsiteY13" fmla="*/ 123077 h 307692"/>
                <a:gd name="connsiteX14" fmla="*/ 209230 w 209230"/>
                <a:gd name="connsiteY14" fmla="*/ 129231 h 307692"/>
                <a:gd name="connsiteX15" fmla="*/ 203077 w 209230"/>
                <a:gd name="connsiteY15" fmla="*/ 132308 h 307692"/>
                <a:gd name="connsiteX16" fmla="*/ 58461 w 209230"/>
                <a:gd name="connsiteY16" fmla="*/ 193846 h 307692"/>
                <a:gd name="connsiteX17" fmla="*/ 9230 w 209230"/>
                <a:gd name="connsiteY17" fmla="*/ 298462 h 307692"/>
                <a:gd name="connsiteX18" fmla="*/ 6153 w 209230"/>
                <a:gd name="connsiteY18" fmla="*/ 307692 h 307692"/>
                <a:gd name="connsiteX19" fmla="*/ 6153 w 209230"/>
                <a:gd name="connsiteY19" fmla="*/ 307692 h 30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9230" h="307692">
                  <a:moveTo>
                    <a:pt x="6153" y="307692"/>
                  </a:moveTo>
                  <a:cubicBezTo>
                    <a:pt x="3077" y="307692"/>
                    <a:pt x="0" y="304615"/>
                    <a:pt x="0" y="301538"/>
                  </a:cubicBezTo>
                  <a:cubicBezTo>
                    <a:pt x="0" y="298462"/>
                    <a:pt x="0" y="193846"/>
                    <a:pt x="58461" y="184615"/>
                  </a:cubicBezTo>
                  <a:cubicBezTo>
                    <a:pt x="113846" y="175385"/>
                    <a:pt x="175384" y="141539"/>
                    <a:pt x="190769" y="129231"/>
                  </a:cubicBezTo>
                  <a:cubicBezTo>
                    <a:pt x="184615" y="123077"/>
                    <a:pt x="178461" y="116923"/>
                    <a:pt x="175384" y="107692"/>
                  </a:cubicBezTo>
                  <a:cubicBezTo>
                    <a:pt x="166154" y="92308"/>
                    <a:pt x="166154" y="76923"/>
                    <a:pt x="163077" y="64615"/>
                  </a:cubicBezTo>
                  <a:cubicBezTo>
                    <a:pt x="163077" y="58462"/>
                    <a:pt x="159999" y="46154"/>
                    <a:pt x="159999" y="33846"/>
                  </a:cubicBezTo>
                  <a:cubicBezTo>
                    <a:pt x="159999" y="24615"/>
                    <a:pt x="156923" y="12308"/>
                    <a:pt x="156923" y="6154"/>
                  </a:cubicBezTo>
                  <a:cubicBezTo>
                    <a:pt x="156923" y="3077"/>
                    <a:pt x="159999" y="0"/>
                    <a:pt x="163077" y="0"/>
                  </a:cubicBezTo>
                  <a:cubicBezTo>
                    <a:pt x="166154" y="0"/>
                    <a:pt x="169231" y="3077"/>
                    <a:pt x="169231" y="6154"/>
                  </a:cubicBezTo>
                  <a:cubicBezTo>
                    <a:pt x="169231" y="12308"/>
                    <a:pt x="172308" y="24615"/>
                    <a:pt x="172308" y="33846"/>
                  </a:cubicBezTo>
                  <a:cubicBezTo>
                    <a:pt x="172308" y="46154"/>
                    <a:pt x="175384" y="55385"/>
                    <a:pt x="175384" y="61538"/>
                  </a:cubicBezTo>
                  <a:cubicBezTo>
                    <a:pt x="178461" y="76923"/>
                    <a:pt x="178461" y="89231"/>
                    <a:pt x="187693" y="101538"/>
                  </a:cubicBezTo>
                  <a:cubicBezTo>
                    <a:pt x="193846" y="110769"/>
                    <a:pt x="200000" y="116923"/>
                    <a:pt x="206153" y="123077"/>
                  </a:cubicBezTo>
                  <a:lnTo>
                    <a:pt x="209230" y="129231"/>
                  </a:lnTo>
                  <a:lnTo>
                    <a:pt x="203077" y="132308"/>
                  </a:lnTo>
                  <a:cubicBezTo>
                    <a:pt x="200000" y="135385"/>
                    <a:pt x="129230" y="181539"/>
                    <a:pt x="58461" y="193846"/>
                  </a:cubicBezTo>
                  <a:cubicBezTo>
                    <a:pt x="9230" y="203077"/>
                    <a:pt x="9230" y="298462"/>
                    <a:pt x="9230" y="298462"/>
                  </a:cubicBezTo>
                  <a:cubicBezTo>
                    <a:pt x="12308" y="304615"/>
                    <a:pt x="9230" y="307692"/>
                    <a:pt x="6153" y="307692"/>
                  </a:cubicBezTo>
                  <a:lnTo>
                    <a:pt x="6153" y="307692"/>
                  </a:ln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2" name="任意多边形: 形状 211">
              <a:extLst>
                <a:ext uri="{FF2B5EF4-FFF2-40B4-BE49-F238E27FC236}">
                  <a16:creationId xmlns:a16="http://schemas.microsoft.com/office/drawing/2014/main" id="{47D84BC5-20CB-47F4-B8F6-04328022CD7A}"/>
                </a:ext>
              </a:extLst>
            </p:cNvPr>
            <p:cNvSpPr/>
            <p:nvPr/>
          </p:nvSpPr>
          <p:spPr>
            <a:xfrm>
              <a:off x="3536768" y="76949"/>
              <a:ext cx="237428" cy="76153"/>
            </a:xfrm>
            <a:custGeom>
              <a:avLst/>
              <a:gdLst>
                <a:gd name="connsiteX0" fmla="*/ 143847 w 237428"/>
                <a:gd name="connsiteY0" fmla="*/ 70000 h 76153"/>
                <a:gd name="connsiteX1" fmla="*/ 2308 w 237428"/>
                <a:gd name="connsiteY1" fmla="*/ 11539 h 76153"/>
                <a:gd name="connsiteX2" fmla="*/ 2308 w 237428"/>
                <a:gd name="connsiteY2" fmla="*/ 2308 h 76153"/>
                <a:gd name="connsiteX3" fmla="*/ 11539 w 237428"/>
                <a:gd name="connsiteY3" fmla="*/ 2308 h 76153"/>
                <a:gd name="connsiteX4" fmla="*/ 150001 w 237428"/>
                <a:gd name="connsiteY4" fmla="*/ 60769 h 76153"/>
                <a:gd name="connsiteX5" fmla="*/ 226924 w 237428"/>
                <a:gd name="connsiteY5" fmla="*/ 36154 h 76153"/>
                <a:gd name="connsiteX6" fmla="*/ 236154 w 237428"/>
                <a:gd name="connsiteY6" fmla="*/ 39231 h 76153"/>
                <a:gd name="connsiteX7" fmla="*/ 233077 w 237428"/>
                <a:gd name="connsiteY7" fmla="*/ 48462 h 76153"/>
                <a:gd name="connsiteX8" fmla="*/ 150001 w 237428"/>
                <a:gd name="connsiteY8" fmla="*/ 76154 h 76153"/>
                <a:gd name="connsiteX9" fmla="*/ 143847 w 237428"/>
                <a:gd name="connsiteY9" fmla="*/ 70000 h 7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428" h="76153">
                  <a:moveTo>
                    <a:pt x="143847" y="70000"/>
                  </a:moveTo>
                  <a:cubicBezTo>
                    <a:pt x="85385" y="70000"/>
                    <a:pt x="5385" y="14615"/>
                    <a:pt x="2308" y="11539"/>
                  </a:cubicBezTo>
                  <a:cubicBezTo>
                    <a:pt x="-769" y="8462"/>
                    <a:pt x="-769" y="5385"/>
                    <a:pt x="2308" y="2308"/>
                  </a:cubicBezTo>
                  <a:cubicBezTo>
                    <a:pt x="5385" y="-769"/>
                    <a:pt x="8462" y="-769"/>
                    <a:pt x="11539" y="2308"/>
                  </a:cubicBezTo>
                  <a:cubicBezTo>
                    <a:pt x="11539" y="2308"/>
                    <a:pt x="94616" y="63846"/>
                    <a:pt x="150001" y="60769"/>
                  </a:cubicBezTo>
                  <a:cubicBezTo>
                    <a:pt x="190000" y="57692"/>
                    <a:pt x="226924" y="36154"/>
                    <a:pt x="226924" y="36154"/>
                  </a:cubicBezTo>
                  <a:cubicBezTo>
                    <a:pt x="230000" y="33077"/>
                    <a:pt x="233077" y="36154"/>
                    <a:pt x="236154" y="39231"/>
                  </a:cubicBezTo>
                  <a:cubicBezTo>
                    <a:pt x="239231" y="42308"/>
                    <a:pt x="236154" y="45385"/>
                    <a:pt x="233077" y="48462"/>
                  </a:cubicBezTo>
                  <a:cubicBezTo>
                    <a:pt x="230000" y="48462"/>
                    <a:pt x="193077" y="73077"/>
                    <a:pt x="150001" y="76154"/>
                  </a:cubicBezTo>
                  <a:cubicBezTo>
                    <a:pt x="146924" y="70000"/>
                    <a:pt x="146924" y="70000"/>
                    <a:pt x="143847" y="70000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3" name="任意多边形: 形状 212">
              <a:extLst>
                <a:ext uri="{FF2B5EF4-FFF2-40B4-BE49-F238E27FC236}">
                  <a16:creationId xmlns:a16="http://schemas.microsoft.com/office/drawing/2014/main" id="{F17FF317-E048-40D1-9009-E8CB59C254B9}"/>
                </a:ext>
              </a:extLst>
            </p:cNvPr>
            <p:cNvSpPr/>
            <p:nvPr/>
          </p:nvSpPr>
          <p:spPr>
            <a:xfrm>
              <a:off x="3250614" y="-80742"/>
              <a:ext cx="106923" cy="301538"/>
            </a:xfrm>
            <a:custGeom>
              <a:avLst/>
              <a:gdLst>
                <a:gd name="connsiteX0" fmla="*/ 5385 w 106923"/>
                <a:gd name="connsiteY0" fmla="*/ 298461 h 301538"/>
                <a:gd name="connsiteX1" fmla="*/ 2308 w 106923"/>
                <a:gd name="connsiteY1" fmla="*/ 298461 h 301538"/>
                <a:gd name="connsiteX2" fmla="*/ 2308 w 106923"/>
                <a:gd name="connsiteY2" fmla="*/ 289231 h 301538"/>
                <a:gd name="connsiteX3" fmla="*/ 17692 w 106923"/>
                <a:gd name="connsiteY3" fmla="*/ 193846 h 301538"/>
                <a:gd name="connsiteX4" fmla="*/ 63846 w 106923"/>
                <a:gd name="connsiteY4" fmla="*/ 73846 h 301538"/>
                <a:gd name="connsiteX5" fmla="*/ 94616 w 106923"/>
                <a:gd name="connsiteY5" fmla="*/ 6154 h 301538"/>
                <a:gd name="connsiteX6" fmla="*/ 100769 w 106923"/>
                <a:gd name="connsiteY6" fmla="*/ 0 h 301538"/>
                <a:gd name="connsiteX7" fmla="*/ 106923 w 106923"/>
                <a:gd name="connsiteY7" fmla="*/ 6154 h 301538"/>
                <a:gd name="connsiteX8" fmla="*/ 73077 w 106923"/>
                <a:gd name="connsiteY8" fmla="*/ 83077 h 301538"/>
                <a:gd name="connsiteX9" fmla="*/ 30000 w 106923"/>
                <a:gd name="connsiteY9" fmla="*/ 193846 h 301538"/>
                <a:gd name="connsiteX10" fmla="*/ 11538 w 106923"/>
                <a:gd name="connsiteY10" fmla="*/ 301538 h 301538"/>
                <a:gd name="connsiteX11" fmla="*/ 5385 w 106923"/>
                <a:gd name="connsiteY11" fmla="*/ 298461 h 30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6923" h="301538">
                  <a:moveTo>
                    <a:pt x="5385" y="298461"/>
                  </a:moveTo>
                  <a:cubicBezTo>
                    <a:pt x="5385" y="298461"/>
                    <a:pt x="2308" y="298461"/>
                    <a:pt x="2308" y="298461"/>
                  </a:cubicBezTo>
                  <a:cubicBezTo>
                    <a:pt x="-769" y="295385"/>
                    <a:pt x="-769" y="292308"/>
                    <a:pt x="2308" y="289231"/>
                  </a:cubicBezTo>
                  <a:cubicBezTo>
                    <a:pt x="14615" y="270769"/>
                    <a:pt x="30000" y="230769"/>
                    <a:pt x="17692" y="193846"/>
                  </a:cubicBezTo>
                  <a:cubicBezTo>
                    <a:pt x="5385" y="153846"/>
                    <a:pt x="33077" y="101538"/>
                    <a:pt x="63846" y="73846"/>
                  </a:cubicBezTo>
                  <a:cubicBezTo>
                    <a:pt x="91538" y="46154"/>
                    <a:pt x="94616" y="6154"/>
                    <a:pt x="94616" y="6154"/>
                  </a:cubicBezTo>
                  <a:cubicBezTo>
                    <a:pt x="94616" y="3077"/>
                    <a:pt x="97693" y="0"/>
                    <a:pt x="100769" y="0"/>
                  </a:cubicBezTo>
                  <a:cubicBezTo>
                    <a:pt x="103846" y="0"/>
                    <a:pt x="106923" y="3077"/>
                    <a:pt x="106923" y="6154"/>
                  </a:cubicBezTo>
                  <a:cubicBezTo>
                    <a:pt x="106923" y="9231"/>
                    <a:pt x="103846" y="52308"/>
                    <a:pt x="73077" y="83077"/>
                  </a:cubicBezTo>
                  <a:cubicBezTo>
                    <a:pt x="45385" y="110769"/>
                    <a:pt x="20770" y="156923"/>
                    <a:pt x="30000" y="193846"/>
                  </a:cubicBezTo>
                  <a:cubicBezTo>
                    <a:pt x="42307" y="230769"/>
                    <a:pt x="30000" y="276923"/>
                    <a:pt x="11538" y="301538"/>
                  </a:cubicBezTo>
                  <a:cubicBezTo>
                    <a:pt x="11538" y="298461"/>
                    <a:pt x="8461" y="298461"/>
                    <a:pt x="5385" y="298461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4" name="任意多边形: 形状 213">
              <a:extLst>
                <a:ext uri="{FF2B5EF4-FFF2-40B4-BE49-F238E27FC236}">
                  <a16:creationId xmlns:a16="http://schemas.microsoft.com/office/drawing/2014/main" id="{41C1DA95-DAD5-4C75-AFA4-D82BCA1D23A9}"/>
                </a:ext>
              </a:extLst>
            </p:cNvPr>
            <p:cNvSpPr/>
            <p:nvPr/>
          </p:nvSpPr>
          <p:spPr>
            <a:xfrm>
              <a:off x="3920614" y="-142280"/>
              <a:ext cx="76154" cy="239999"/>
            </a:xfrm>
            <a:custGeom>
              <a:avLst/>
              <a:gdLst>
                <a:gd name="connsiteX0" fmla="*/ 73847 w 76154"/>
                <a:gd name="connsiteY0" fmla="*/ 240000 h 239999"/>
                <a:gd name="connsiteX1" fmla="*/ 70770 w 76154"/>
                <a:gd name="connsiteY1" fmla="*/ 240000 h 239999"/>
                <a:gd name="connsiteX2" fmla="*/ 46154 w 76154"/>
                <a:gd name="connsiteY2" fmla="*/ 92308 h 239999"/>
                <a:gd name="connsiteX3" fmla="*/ 3077 w 76154"/>
                <a:gd name="connsiteY3" fmla="*/ 12308 h 239999"/>
                <a:gd name="connsiteX4" fmla="*/ 0 w 76154"/>
                <a:gd name="connsiteY4" fmla="*/ 3077 h 239999"/>
                <a:gd name="connsiteX5" fmla="*/ 9231 w 76154"/>
                <a:gd name="connsiteY5" fmla="*/ 0 h 239999"/>
                <a:gd name="connsiteX6" fmla="*/ 55385 w 76154"/>
                <a:gd name="connsiteY6" fmla="*/ 89231 h 239999"/>
                <a:gd name="connsiteX7" fmla="*/ 73847 w 76154"/>
                <a:gd name="connsiteY7" fmla="*/ 227692 h 239999"/>
                <a:gd name="connsiteX8" fmla="*/ 73847 w 76154"/>
                <a:gd name="connsiteY8" fmla="*/ 236923 h 239999"/>
                <a:gd name="connsiteX9" fmla="*/ 73847 w 76154"/>
                <a:gd name="connsiteY9" fmla="*/ 240000 h 23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154" h="239999">
                  <a:moveTo>
                    <a:pt x="73847" y="240000"/>
                  </a:moveTo>
                  <a:cubicBezTo>
                    <a:pt x="73847" y="240000"/>
                    <a:pt x="70770" y="240000"/>
                    <a:pt x="70770" y="240000"/>
                  </a:cubicBezTo>
                  <a:cubicBezTo>
                    <a:pt x="33846" y="212308"/>
                    <a:pt x="36923" y="153846"/>
                    <a:pt x="46154" y="92308"/>
                  </a:cubicBezTo>
                  <a:cubicBezTo>
                    <a:pt x="52308" y="46154"/>
                    <a:pt x="6154" y="12308"/>
                    <a:pt x="3077" y="12308"/>
                  </a:cubicBezTo>
                  <a:cubicBezTo>
                    <a:pt x="0" y="9231"/>
                    <a:pt x="0" y="6154"/>
                    <a:pt x="0" y="3077"/>
                  </a:cubicBezTo>
                  <a:cubicBezTo>
                    <a:pt x="3077" y="0"/>
                    <a:pt x="6154" y="0"/>
                    <a:pt x="9231" y="0"/>
                  </a:cubicBezTo>
                  <a:cubicBezTo>
                    <a:pt x="12308" y="0"/>
                    <a:pt x="64616" y="36923"/>
                    <a:pt x="55385" y="89231"/>
                  </a:cubicBezTo>
                  <a:cubicBezTo>
                    <a:pt x="46154" y="147692"/>
                    <a:pt x="43078" y="203077"/>
                    <a:pt x="73847" y="227692"/>
                  </a:cubicBezTo>
                  <a:cubicBezTo>
                    <a:pt x="76923" y="230769"/>
                    <a:pt x="76923" y="233846"/>
                    <a:pt x="73847" y="236923"/>
                  </a:cubicBezTo>
                  <a:cubicBezTo>
                    <a:pt x="76923" y="240000"/>
                    <a:pt x="76923" y="240000"/>
                    <a:pt x="73847" y="240000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5" name="任意多边形: 形状 214">
              <a:extLst>
                <a:ext uri="{FF2B5EF4-FFF2-40B4-BE49-F238E27FC236}">
                  <a16:creationId xmlns:a16="http://schemas.microsoft.com/office/drawing/2014/main" id="{137560E4-101B-43E9-9CFA-7820A5021586}"/>
                </a:ext>
              </a:extLst>
            </p:cNvPr>
            <p:cNvSpPr/>
            <p:nvPr/>
          </p:nvSpPr>
          <p:spPr>
            <a:xfrm>
              <a:off x="3886611" y="51565"/>
              <a:ext cx="67849" cy="113846"/>
            </a:xfrm>
            <a:custGeom>
              <a:avLst/>
              <a:gdLst>
                <a:gd name="connsiteX0" fmla="*/ 58619 w 67849"/>
                <a:gd name="connsiteY0" fmla="*/ 113846 h 113846"/>
                <a:gd name="connsiteX1" fmla="*/ 58619 w 67849"/>
                <a:gd name="connsiteY1" fmla="*/ 113846 h 113846"/>
                <a:gd name="connsiteX2" fmla="*/ 158 w 67849"/>
                <a:gd name="connsiteY2" fmla="*/ 6154 h 113846"/>
                <a:gd name="connsiteX3" fmla="*/ 6311 w 67849"/>
                <a:gd name="connsiteY3" fmla="*/ 0 h 113846"/>
                <a:gd name="connsiteX4" fmla="*/ 6311 w 67849"/>
                <a:gd name="connsiteY4" fmla="*/ 0 h 113846"/>
                <a:gd name="connsiteX5" fmla="*/ 12465 w 67849"/>
                <a:gd name="connsiteY5" fmla="*/ 6154 h 113846"/>
                <a:gd name="connsiteX6" fmla="*/ 64772 w 67849"/>
                <a:gd name="connsiteY6" fmla="*/ 104615 h 113846"/>
                <a:gd name="connsiteX7" fmla="*/ 67849 w 67849"/>
                <a:gd name="connsiteY7" fmla="*/ 113846 h 113846"/>
                <a:gd name="connsiteX8" fmla="*/ 58619 w 67849"/>
                <a:gd name="connsiteY8" fmla="*/ 113846 h 11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7849" h="113846">
                  <a:moveTo>
                    <a:pt x="58619" y="113846"/>
                  </a:moveTo>
                  <a:cubicBezTo>
                    <a:pt x="58619" y="113846"/>
                    <a:pt x="55542" y="110769"/>
                    <a:pt x="58619" y="113846"/>
                  </a:cubicBezTo>
                  <a:cubicBezTo>
                    <a:pt x="-5997" y="73846"/>
                    <a:pt x="158" y="6154"/>
                    <a:pt x="158" y="6154"/>
                  </a:cubicBezTo>
                  <a:cubicBezTo>
                    <a:pt x="158" y="3077"/>
                    <a:pt x="3234" y="0"/>
                    <a:pt x="6311" y="0"/>
                  </a:cubicBezTo>
                  <a:cubicBezTo>
                    <a:pt x="6311" y="0"/>
                    <a:pt x="6311" y="0"/>
                    <a:pt x="6311" y="0"/>
                  </a:cubicBezTo>
                  <a:cubicBezTo>
                    <a:pt x="9388" y="0"/>
                    <a:pt x="12465" y="3077"/>
                    <a:pt x="12465" y="6154"/>
                  </a:cubicBezTo>
                  <a:cubicBezTo>
                    <a:pt x="12465" y="6154"/>
                    <a:pt x="9388" y="67692"/>
                    <a:pt x="64772" y="104615"/>
                  </a:cubicBezTo>
                  <a:cubicBezTo>
                    <a:pt x="67849" y="107692"/>
                    <a:pt x="67849" y="110769"/>
                    <a:pt x="67849" y="113846"/>
                  </a:cubicBezTo>
                  <a:cubicBezTo>
                    <a:pt x="61696" y="110769"/>
                    <a:pt x="58619" y="113846"/>
                    <a:pt x="58619" y="113846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6" name="任意多边形: 形状 215">
              <a:extLst>
                <a:ext uri="{FF2B5EF4-FFF2-40B4-BE49-F238E27FC236}">
                  <a16:creationId xmlns:a16="http://schemas.microsoft.com/office/drawing/2014/main" id="{35884C9F-4D2B-443B-8071-50803C7D1C6A}"/>
                </a:ext>
              </a:extLst>
            </p:cNvPr>
            <p:cNvSpPr/>
            <p:nvPr/>
          </p:nvSpPr>
          <p:spPr>
            <a:xfrm>
              <a:off x="3375999" y="925411"/>
              <a:ext cx="559999" cy="52908"/>
            </a:xfrm>
            <a:custGeom>
              <a:avLst/>
              <a:gdLst>
                <a:gd name="connsiteX0" fmla="*/ 560000 w 559999"/>
                <a:gd name="connsiteY0" fmla="*/ 33846 h 52908"/>
                <a:gd name="connsiteX1" fmla="*/ 3077 w 559999"/>
                <a:gd name="connsiteY1" fmla="*/ 46154 h 52908"/>
                <a:gd name="connsiteX2" fmla="*/ 0 w 559999"/>
                <a:gd name="connsiteY2" fmla="*/ 9231 h 52908"/>
                <a:gd name="connsiteX3" fmla="*/ 553846 w 559999"/>
                <a:gd name="connsiteY3" fmla="*/ 0 h 52908"/>
                <a:gd name="connsiteX4" fmla="*/ 560000 w 559999"/>
                <a:gd name="connsiteY4" fmla="*/ 33846 h 5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9999" h="52908">
                  <a:moveTo>
                    <a:pt x="560000" y="33846"/>
                  </a:moveTo>
                  <a:cubicBezTo>
                    <a:pt x="406153" y="67692"/>
                    <a:pt x="3077" y="46154"/>
                    <a:pt x="3077" y="46154"/>
                  </a:cubicBezTo>
                  <a:lnTo>
                    <a:pt x="0" y="9231"/>
                  </a:lnTo>
                  <a:cubicBezTo>
                    <a:pt x="0" y="9231"/>
                    <a:pt x="338462" y="30769"/>
                    <a:pt x="553846" y="0"/>
                  </a:cubicBezTo>
                  <a:lnTo>
                    <a:pt x="560000" y="33846"/>
                  </a:ln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17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4740542" y="558653"/>
              <a:ext cx="198005" cy="173484"/>
              <a:chOff x="4740542" y="558653"/>
              <a:chExt cx="198005" cy="173484"/>
            </a:xfrm>
          </p:grpSpPr>
          <p:sp>
            <p:nvSpPr>
              <p:cNvPr id="218" name="任意多边形: 形状 217">
                <a:extLst>
                  <a:ext uri="{FF2B5EF4-FFF2-40B4-BE49-F238E27FC236}">
                    <a16:creationId xmlns:a16="http://schemas.microsoft.com/office/drawing/2014/main" id="{8BE28A3F-5FCF-407B-8986-D05DC001D06E}"/>
                  </a:ext>
                </a:extLst>
              </p:cNvPr>
              <p:cNvSpPr/>
              <p:nvPr/>
            </p:nvSpPr>
            <p:spPr>
              <a:xfrm>
                <a:off x="4740542" y="564015"/>
                <a:ext cx="191935" cy="168122"/>
              </a:xfrm>
              <a:custGeom>
                <a:avLst/>
                <a:gdLst>
                  <a:gd name="connsiteX0" fmla="*/ 16995 w 191935"/>
                  <a:gd name="connsiteY0" fmla="*/ 62934 h 168122"/>
                  <a:gd name="connsiteX1" fmla="*/ 63149 w 191935"/>
                  <a:gd name="connsiteY1" fmla="*/ 50626 h 168122"/>
                  <a:gd name="connsiteX2" fmla="*/ 115457 w 191935"/>
                  <a:gd name="connsiteY2" fmla="*/ 4473 h 168122"/>
                  <a:gd name="connsiteX3" fmla="*/ 124687 w 191935"/>
                  <a:gd name="connsiteY3" fmla="*/ 7549 h 168122"/>
                  <a:gd name="connsiteX4" fmla="*/ 127764 w 191935"/>
                  <a:gd name="connsiteY4" fmla="*/ 22934 h 168122"/>
                  <a:gd name="connsiteX5" fmla="*/ 170841 w 191935"/>
                  <a:gd name="connsiteY5" fmla="*/ 4473 h 168122"/>
                  <a:gd name="connsiteX6" fmla="*/ 173918 w 191935"/>
                  <a:gd name="connsiteY6" fmla="*/ 13703 h 168122"/>
                  <a:gd name="connsiteX7" fmla="*/ 173918 w 191935"/>
                  <a:gd name="connsiteY7" fmla="*/ 13703 h 168122"/>
                  <a:gd name="connsiteX8" fmla="*/ 189303 w 191935"/>
                  <a:gd name="connsiteY8" fmla="*/ 22934 h 168122"/>
                  <a:gd name="connsiteX9" fmla="*/ 186226 w 191935"/>
                  <a:gd name="connsiteY9" fmla="*/ 50626 h 168122"/>
                  <a:gd name="connsiteX10" fmla="*/ 170841 w 191935"/>
                  <a:gd name="connsiteY10" fmla="*/ 78319 h 168122"/>
                  <a:gd name="connsiteX11" fmla="*/ 183149 w 191935"/>
                  <a:gd name="connsiteY11" fmla="*/ 75242 h 168122"/>
                  <a:gd name="connsiteX12" fmla="*/ 189303 w 191935"/>
                  <a:gd name="connsiteY12" fmla="*/ 81396 h 168122"/>
                  <a:gd name="connsiteX13" fmla="*/ 180072 w 191935"/>
                  <a:gd name="connsiteY13" fmla="*/ 109088 h 168122"/>
                  <a:gd name="connsiteX14" fmla="*/ 133918 w 191935"/>
                  <a:gd name="connsiteY14" fmla="*/ 158319 h 168122"/>
                  <a:gd name="connsiteX15" fmla="*/ 26225 w 191935"/>
                  <a:gd name="connsiteY15" fmla="*/ 146011 h 168122"/>
                  <a:gd name="connsiteX16" fmla="*/ 20072 w 191935"/>
                  <a:gd name="connsiteY16" fmla="*/ 136780 h 168122"/>
                  <a:gd name="connsiteX17" fmla="*/ 16995 w 191935"/>
                  <a:gd name="connsiteY17" fmla="*/ 62934 h 168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91935" h="168122">
                    <a:moveTo>
                      <a:pt x="16995" y="62934"/>
                    </a:moveTo>
                    <a:cubicBezTo>
                      <a:pt x="29302" y="50626"/>
                      <a:pt x="47764" y="56780"/>
                      <a:pt x="63149" y="50626"/>
                    </a:cubicBezTo>
                    <a:cubicBezTo>
                      <a:pt x="84688" y="44473"/>
                      <a:pt x="93918" y="13703"/>
                      <a:pt x="115457" y="4473"/>
                    </a:cubicBezTo>
                    <a:cubicBezTo>
                      <a:pt x="118533" y="4473"/>
                      <a:pt x="121610" y="4473"/>
                      <a:pt x="124687" y="7549"/>
                    </a:cubicBezTo>
                    <a:cubicBezTo>
                      <a:pt x="127764" y="13703"/>
                      <a:pt x="127764" y="19857"/>
                      <a:pt x="127764" y="22934"/>
                    </a:cubicBezTo>
                    <a:cubicBezTo>
                      <a:pt x="143149" y="7549"/>
                      <a:pt x="158534" y="-7835"/>
                      <a:pt x="170841" y="4473"/>
                    </a:cubicBezTo>
                    <a:cubicBezTo>
                      <a:pt x="173918" y="7549"/>
                      <a:pt x="173918" y="10626"/>
                      <a:pt x="173918" y="13703"/>
                    </a:cubicBezTo>
                    <a:cubicBezTo>
                      <a:pt x="173918" y="13703"/>
                      <a:pt x="173918" y="13703"/>
                      <a:pt x="173918" y="13703"/>
                    </a:cubicBezTo>
                    <a:cubicBezTo>
                      <a:pt x="180072" y="10626"/>
                      <a:pt x="183149" y="13703"/>
                      <a:pt x="189303" y="22934"/>
                    </a:cubicBezTo>
                    <a:cubicBezTo>
                      <a:pt x="195456" y="32165"/>
                      <a:pt x="189303" y="41396"/>
                      <a:pt x="186226" y="50626"/>
                    </a:cubicBezTo>
                    <a:cubicBezTo>
                      <a:pt x="183149" y="59857"/>
                      <a:pt x="176995" y="69088"/>
                      <a:pt x="170841" y="78319"/>
                    </a:cubicBezTo>
                    <a:cubicBezTo>
                      <a:pt x="173918" y="75242"/>
                      <a:pt x="176995" y="75242"/>
                      <a:pt x="183149" y="75242"/>
                    </a:cubicBezTo>
                    <a:cubicBezTo>
                      <a:pt x="186226" y="75242"/>
                      <a:pt x="189303" y="78319"/>
                      <a:pt x="189303" y="81396"/>
                    </a:cubicBezTo>
                    <a:cubicBezTo>
                      <a:pt x="192380" y="93703"/>
                      <a:pt x="186226" y="99857"/>
                      <a:pt x="180072" y="109088"/>
                    </a:cubicBezTo>
                    <a:cubicBezTo>
                      <a:pt x="164687" y="127549"/>
                      <a:pt x="149302" y="146011"/>
                      <a:pt x="133918" y="158319"/>
                    </a:cubicBezTo>
                    <a:cubicBezTo>
                      <a:pt x="109303" y="179857"/>
                      <a:pt x="53918" y="161396"/>
                      <a:pt x="26225" y="146011"/>
                    </a:cubicBezTo>
                    <a:cubicBezTo>
                      <a:pt x="23149" y="142934"/>
                      <a:pt x="20072" y="139857"/>
                      <a:pt x="20072" y="136780"/>
                    </a:cubicBezTo>
                    <a:cubicBezTo>
                      <a:pt x="-4544" y="118319"/>
                      <a:pt x="-7620" y="84472"/>
                      <a:pt x="16995" y="6293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9" name="任意多边形: 形状 218">
                <a:extLst>
                  <a:ext uri="{FF2B5EF4-FFF2-40B4-BE49-F238E27FC236}">
                    <a16:creationId xmlns:a16="http://schemas.microsoft.com/office/drawing/2014/main" id="{1F8CC56F-D0D5-4830-8C18-51E15C3FD481}"/>
                  </a:ext>
                </a:extLst>
              </p:cNvPr>
              <p:cNvSpPr/>
              <p:nvPr/>
            </p:nvSpPr>
            <p:spPr>
              <a:xfrm>
                <a:off x="4862922" y="638488"/>
                <a:ext cx="74351" cy="93076"/>
              </a:xfrm>
              <a:custGeom>
                <a:avLst/>
                <a:gdLst>
                  <a:gd name="connsiteX0" fmla="*/ 8462 w 74351"/>
                  <a:gd name="connsiteY0" fmla="*/ 93077 h 93076"/>
                  <a:gd name="connsiteX1" fmla="*/ 2308 w 74351"/>
                  <a:gd name="connsiteY1" fmla="*/ 90000 h 93076"/>
                  <a:gd name="connsiteX2" fmla="*/ 2308 w 74351"/>
                  <a:gd name="connsiteY2" fmla="*/ 80769 h 93076"/>
                  <a:gd name="connsiteX3" fmla="*/ 63846 w 74351"/>
                  <a:gd name="connsiteY3" fmla="*/ 13077 h 93076"/>
                  <a:gd name="connsiteX4" fmla="*/ 63846 w 74351"/>
                  <a:gd name="connsiteY4" fmla="*/ 10000 h 93076"/>
                  <a:gd name="connsiteX5" fmla="*/ 51539 w 74351"/>
                  <a:gd name="connsiteY5" fmla="*/ 10000 h 93076"/>
                  <a:gd name="connsiteX6" fmla="*/ 45385 w 74351"/>
                  <a:gd name="connsiteY6" fmla="*/ 6923 h 93076"/>
                  <a:gd name="connsiteX7" fmla="*/ 48462 w 74351"/>
                  <a:gd name="connsiteY7" fmla="*/ 769 h 93076"/>
                  <a:gd name="connsiteX8" fmla="*/ 70001 w 74351"/>
                  <a:gd name="connsiteY8" fmla="*/ 3846 h 93076"/>
                  <a:gd name="connsiteX9" fmla="*/ 73077 w 74351"/>
                  <a:gd name="connsiteY9" fmla="*/ 16154 h 93076"/>
                  <a:gd name="connsiteX10" fmla="*/ 5385 w 74351"/>
                  <a:gd name="connsiteY10" fmla="*/ 93077 h 93076"/>
                  <a:gd name="connsiteX11" fmla="*/ 8462 w 74351"/>
                  <a:gd name="connsiteY11" fmla="*/ 93077 h 9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4351" h="93076">
                    <a:moveTo>
                      <a:pt x="8462" y="93077"/>
                    </a:moveTo>
                    <a:cubicBezTo>
                      <a:pt x="5385" y="93077"/>
                      <a:pt x="5385" y="93077"/>
                      <a:pt x="2308" y="90000"/>
                    </a:cubicBezTo>
                    <a:cubicBezTo>
                      <a:pt x="-769" y="86923"/>
                      <a:pt x="-769" y="83846"/>
                      <a:pt x="2308" y="80769"/>
                    </a:cubicBezTo>
                    <a:cubicBezTo>
                      <a:pt x="26923" y="62308"/>
                      <a:pt x="63846" y="25385"/>
                      <a:pt x="63846" y="13077"/>
                    </a:cubicBezTo>
                    <a:cubicBezTo>
                      <a:pt x="63846" y="13077"/>
                      <a:pt x="63846" y="10000"/>
                      <a:pt x="63846" y="10000"/>
                    </a:cubicBezTo>
                    <a:cubicBezTo>
                      <a:pt x="60769" y="6923"/>
                      <a:pt x="54616" y="6923"/>
                      <a:pt x="51539" y="10000"/>
                    </a:cubicBezTo>
                    <a:cubicBezTo>
                      <a:pt x="48462" y="10000"/>
                      <a:pt x="45385" y="10000"/>
                      <a:pt x="45385" y="6923"/>
                    </a:cubicBezTo>
                    <a:cubicBezTo>
                      <a:pt x="45385" y="3846"/>
                      <a:pt x="45385" y="769"/>
                      <a:pt x="48462" y="769"/>
                    </a:cubicBezTo>
                    <a:cubicBezTo>
                      <a:pt x="48462" y="769"/>
                      <a:pt x="63846" y="-2308"/>
                      <a:pt x="70001" y="3846"/>
                    </a:cubicBezTo>
                    <a:cubicBezTo>
                      <a:pt x="73077" y="6923"/>
                      <a:pt x="76154" y="10000"/>
                      <a:pt x="73077" y="16154"/>
                    </a:cubicBezTo>
                    <a:cubicBezTo>
                      <a:pt x="73077" y="40769"/>
                      <a:pt x="14615" y="90000"/>
                      <a:pt x="5385" y="93077"/>
                    </a:cubicBezTo>
                    <a:cubicBezTo>
                      <a:pt x="8462" y="93077"/>
                      <a:pt x="8462" y="93077"/>
                      <a:pt x="8462" y="9307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0" name="任意多边形: 形状 219">
                <a:extLst>
                  <a:ext uri="{FF2B5EF4-FFF2-40B4-BE49-F238E27FC236}">
                    <a16:creationId xmlns:a16="http://schemas.microsoft.com/office/drawing/2014/main" id="{7A2F4A78-D5D7-4082-A1D5-523BAC962C96}"/>
                  </a:ext>
                </a:extLst>
              </p:cNvPr>
              <p:cNvSpPr/>
              <p:nvPr/>
            </p:nvSpPr>
            <p:spPr>
              <a:xfrm>
                <a:off x="4857801" y="568488"/>
                <a:ext cx="80746" cy="126153"/>
              </a:xfrm>
              <a:custGeom>
                <a:avLst/>
                <a:gdLst>
                  <a:gd name="connsiteX0" fmla="*/ 16659 w 80746"/>
                  <a:gd name="connsiteY0" fmla="*/ 126154 h 126153"/>
                  <a:gd name="connsiteX1" fmla="*/ 13583 w 80746"/>
                  <a:gd name="connsiteY1" fmla="*/ 126154 h 126153"/>
                  <a:gd name="connsiteX2" fmla="*/ 13583 w 80746"/>
                  <a:gd name="connsiteY2" fmla="*/ 116923 h 126153"/>
                  <a:gd name="connsiteX3" fmla="*/ 62813 w 80746"/>
                  <a:gd name="connsiteY3" fmla="*/ 55385 h 126153"/>
                  <a:gd name="connsiteX4" fmla="*/ 62813 w 80746"/>
                  <a:gd name="connsiteY4" fmla="*/ 52308 h 126153"/>
                  <a:gd name="connsiteX5" fmla="*/ 68967 w 80746"/>
                  <a:gd name="connsiteY5" fmla="*/ 21538 h 126153"/>
                  <a:gd name="connsiteX6" fmla="*/ 62813 w 80746"/>
                  <a:gd name="connsiteY6" fmla="*/ 15385 h 126153"/>
                  <a:gd name="connsiteX7" fmla="*/ 10506 w 80746"/>
                  <a:gd name="connsiteY7" fmla="*/ 92308 h 126153"/>
                  <a:gd name="connsiteX8" fmla="*/ 1274 w 80746"/>
                  <a:gd name="connsiteY8" fmla="*/ 89231 h 126153"/>
                  <a:gd name="connsiteX9" fmla="*/ 4351 w 80746"/>
                  <a:gd name="connsiteY9" fmla="*/ 80000 h 126153"/>
                  <a:gd name="connsiteX10" fmla="*/ 53582 w 80746"/>
                  <a:gd name="connsiteY10" fmla="*/ 3077 h 126153"/>
                  <a:gd name="connsiteX11" fmla="*/ 59736 w 80746"/>
                  <a:gd name="connsiteY11" fmla="*/ 0 h 126153"/>
                  <a:gd name="connsiteX12" fmla="*/ 78197 w 80746"/>
                  <a:gd name="connsiteY12" fmla="*/ 15385 h 126153"/>
                  <a:gd name="connsiteX13" fmla="*/ 72044 w 80746"/>
                  <a:gd name="connsiteY13" fmla="*/ 58462 h 126153"/>
                  <a:gd name="connsiteX14" fmla="*/ 72044 w 80746"/>
                  <a:gd name="connsiteY14" fmla="*/ 61538 h 126153"/>
                  <a:gd name="connsiteX15" fmla="*/ 22813 w 80746"/>
                  <a:gd name="connsiteY15" fmla="*/ 126154 h 126153"/>
                  <a:gd name="connsiteX16" fmla="*/ 16659 w 80746"/>
                  <a:gd name="connsiteY16" fmla="*/ 126154 h 12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0746" h="126153">
                    <a:moveTo>
                      <a:pt x="16659" y="126154"/>
                    </a:moveTo>
                    <a:cubicBezTo>
                      <a:pt x="16659" y="126154"/>
                      <a:pt x="13583" y="126154"/>
                      <a:pt x="13583" y="126154"/>
                    </a:cubicBezTo>
                    <a:cubicBezTo>
                      <a:pt x="10506" y="123077"/>
                      <a:pt x="10506" y="120000"/>
                      <a:pt x="13583" y="116923"/>
                    </a:cubicBezTo>
                    <a:cubicBezTo>
                      <a:pt x="25890" y="104615"/>
                      <a:pt x="56659" y="67692"/>
                      <a:pt x="62813" y="55385"/>
                    </a:cubicBezTo>
                    <a:lnTo>
                      <a:pt x="62813" y="52308"/>
                    </a:lnTo>
                    <a:cubicBezTo>
                      <a:pt x="65890" y="43077"/>
                      <a:pt x="75121" y="27692"/>
                      <a:pt x="68967" y="21538"/>
                    </a:cubicBezTo>
                    <a:cubicBezTo>
                      <a:pt x="68967" y="18461"/>
                      <a:pt x="65890" y="18461"/>
                      <a:pt x="62813" y="15385"/>
                    </a:cubicBezTo>
                    <a:cubicBezTo>
                      <a:pt x="53582" y="30769"/>
                      <a:pt x="32043" y="80000"/>
                      <a:pt x="10506" y="92308"/>
                    </a:cubicBezTo>
                    <a:cubicBezTo>
                      <a:pt x="7428" y="95385"/>
                      <a:pt x="4351" y="92308"/>
                      <a:pt x="1274" y="89231"/>
                    </a:cubicBezTo>
                    <a:cubicBezTo>
                      <a:pt x="-1802" y="86154"/>
                      <a:pt x="1274" y="83077"/>
                      <a:pt x="4351" y="80000"/>
                    </a:cubicBezTo>
                    <a:cubicBezTo>
                      <a:pt x="19736" y="70769"/>
                      <a:pt x="47428" y="18461"/>
                      <a:pt x="53582" y="3077"/>
                    </a:cubicBezTo>
                    <a:cubicBezTo>
                      <a:pt x="53582" y="0"/>
                      <a:pt x="56659" y="0"/>
                      <a:pt x="59736" y="0"/>
                    </a:cubicBezTo>
                    <a:cubicBezTo>
                      <a:pt x="68967" y="3077"/>
                      <a:pt x="75121" y="6154"/>
                      <a:pt x="78197" y="15385"/>
                    </a:cubicBezTo>
                    <a:cubicBezTo>
                      <a:pt x="84351" y="27692"/>
                      <a:pt x="78197" y="46154"/>
                      <a:pt x="72044" y="58462"/>
                    </a:cubicBezTo>
                    <a:lnTo>
                      <a:pt x="72044" y="61538"/>
                    </a:lnTo>
                    <a:cubicBezTo>
                      <a:pt x="62813" y="80000"/>
                      <a:pt x="22813" y="123077"/>
                      <a:pt x="22813" y="126154"/>
                    </a:cubicBezTo>
                    <a:cubicBezTo>
                      <a:pt x="19736" y="126154"/>
                      <a:pt x="19736" y="126154"/>
                      <a:pt x="16659" y="12615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1" name="任意多边形: 形状 220">
                <a:extLst>
                  <a:ext uri="{FF2B5EF4-FFF2-40B4-BE49-F238E27FC236}">
                    <a16:creationId xmlns:a16="http://schemas.microsoft.com/office/drawing/2014/main" id="{27D6F088-B4E0-4234-9D46-B3C3070C103D}"/>
                  </a:ext>
                </a:extLst>
              </p:cNvPr>
              <p:cNvSpPr/>
              <p:nvPr/>
            </p:nvSpPr>
            <p:spPr>
              <a:xfrm>
                <a:off x="4809845" y="558653"/>
                <a:ext cx="116922" cy="92911"/>
              </a:xfrm>
              <a:custGeom>
                <a:avLst/>
                <a:gdLst>
                  <a:gd name="connsiteX0" fmla="*/ 6153 w 116922"/>
                  <a:gd name="connsiteY0" fmla="*/ 92911 h 92911"/>
                  <a:gd name="connsiteX1" fmla="*/ 0 w 116922"/>
                  <a:gd name="connsiteY1" fmla="*/ 86757 h 92911"/>
                  <a:gd name="connsiteX2" fmla="*/ 6153 w 116922"/>
                  <a:gd name="connsiteY2" fmla="*/ 80604 h 92911"/>
                  <a:gd name="connsiteX3" fmla="*/ 33845 w 116922"/>
                  <a:gd name="connsiteY3" fmla="*/ 71373 h 92911"/>
                  <a:gd name="connsiteX4" fmla="*/ 58461 w 116922"/>
                  <a:gd name="connsiteY4" fmla="*/ 25219 h 92911"/>
                  <a:gd name="connsiteX5" fmla="*/ 89231 w 116922"/>
                  <a:gd name="connsiteY5" fmla="*/ 604 h 92911"/>
                  <a:gd name="connsiteX6" fmla="*/ 116923 w 116922"/>
                  <a:gd name="connsiteY6" fmla="*/ 15988 h 92911"/>
                  <a:gd name="connsiteX7" fmla="*/ 113846 w 116922"/>
                  <a:gd name="connsiteY7" fmla="*/ 22142 h 92911"/>
                  <a:gd name="connsiteX8" fmla="*/ 107692 w 116922"/>
                  <a:gd name="connsiteY8" fmla="*/ 19065 h 92911"/>
                  <a:gd name="connsiteX9" fmla="*/ 107692 w 116922"/>
                  <a:gd name="connsiteY9" fmla="*/ 19065 h 92911"/>
                  <a:gd name="connsiteX10" fmla="*/ 95384 w 116922"/>
                  <a:gd name="connsiteY10" fmla="*/ 12911 h 92911"/>
                  <a:gd name="connsiteX11" fmla="*/ 70769 w 116922"/>
                  <a:gd name="connsiteY11" fmla="*/ 31373 h 92911"/>
                  <a:gd name="connsiteX12" fmla="*/ 43077 w 116922"/>
                  <a:gd name="connsiteY12" fmla="*/ 80604 h 92911"/>
                  <a:gd name="connsiteX13" fmla="*/ 6153 w 116922"/>
                  <a:gd name="connsiteY13" fmla="*/ 92911 h 92911"/>
                  <a:gd name="connsiteX14" fmla="*/ 6153 w 116922"/>
                  <a:gd name="connsiteY14" fmla="*/ 92911 h 92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6922" h="92911">
                    <a:moveTo>
                      <a:pt x="6153" y="92911"/>
                    </a:moveTo>
                    <a:cubicBezTo>
                      <a:pt x="3076" y="92911"/>
                      <a:pt x="0" y="89834"/>
                      <a:pt x="0" y="86757"/>
                    </a:cubicBezTo>
                    <a:cubicBezTo>
                      <a:pt x="0" y="83681"/>
                      <a:pt x="0" y="80604"/>
                      <a:pt x="6153" y="80604"/>
                    </a:cubicBezTo>
                    <a:cubicBezTo>
                      <a:pt x="15385" y="77527"/>
                      <a:pt x="27692" y="74450"/>
                      <a:pt x="33845" y="71373"/>
                    </a:cubicBezTo>
                    <a:cubicBezTo>
                      <a:pt x="36923" y="68296"/>
                      <a:pt x="49230" y="43680"/>
                      <a:pt x="58461" y="25219"/>
                    </a:cubicBezTo>
                    <a:cubicBezTo>
                      <a:pt x="58461" y="22142"/>
                      <a:pt x="70769" y="3681"/>
                      <a:pt x="89231" y="604"/>
                    </a:cubicBezTo>
                    <a:cubicBezTo>
                      <a:pt x="104615" y="-2473"/>
                      <a:pt x="113846" y="6758"/>
                      <a:pt x="116923" y="15988"/>
                    </a:cubicBezTo>
                    <a:cubicBezTo>
                      <a:pt x="116923" y="19065"/>
                      <a:pt x="116923" y="22142"/>
                      <a:pt x="113846" y="22142"/>
                    </a:cubicBezTo>
                    <a:cubicBezTo>
                      <a:pt x="110768" y="22142"/>
                      <a:pt x="107692" y="22142"/>
                      <a:pt x="107692" y="19065"/>
                    </a:cubicBezTo>
                    <a:lnTo>
                      <a:pt x="107692" y="19065"/>
                    </a:lnTo>
                    <a:cubicBezTo>
                      <a:pt x="107692" y="15988"/>
                      <a:pt x="104615" y="9834"/>
                      <a:pt x="95384" y="12911"/>
                    </a:cubicBezTo>
                    <a:cubicBezTo>
                      <a:pt x="86153" y="15988"/>
                      <a:pt x="73846" y="28296"/>
                      <a:pt x="70769" y="31373"/>
                    </a:cubicBezTo>
                    <a:cubicBezTo>
                      <a:pt x="67692" y="40604"/>
                      <a:pt x="52307" y="74450"/>
                      <a:pt x="43077" y="80604"/>
                    </a:cubicBezTo>
                    <a:cubicBezTo>
                      <a:pt x="30769" y="89834"/>
                      <a:pt x="12308" y="92911"/>
                      <a:pt x="6153" y="92911"/>
                    </a:cubicBezTo>
                    <a:cubicBezTo>
                      <a:pt x="6153" y="92911"/>
                      <a:pt x="6153" y="92911"/>
                      <a:pt x="6153" y="9291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22" name="任意多边形: 形状 221">
              <a:extLst>
                <a:ext uri="{FF2B5EF4-FFF2-40B4-BE49-F238E27FC236}">
                  <a16:creationId xmlns:a16="http://schemas.microsoft.com/office/drawing/2014/main" id="{BA07DB38-3C5E-40C5-A59A-C91D8C6923CD}"/>
                </a:ext>
              </a:extLst>
            </p:cNvPr>
            <p:cNvSpPr/>
            <p:nvPr/>
          </p:nvSpPr>
          <p:spPr>
            <a:xfrm>
              <a:off x="3920248" y="345552"/>
              <a:ext cx="859853" cy="512166"/>
            </a:xfrm>
            <a:custGeom>
              <a:avLst/>
              <a:gdLst>
                <a:gd name="connsiteX0" fmla="*/ 18828 w 859853"/>
                <a:gd name="connsiteY0" fmla="*/ 136781 h 512166"/>
                <a:gd name="connsiteX1" fmla="*/ 200366 w 859853"/>
                <a:gd name="connsiteY1" fmla="*/ 35243 h 512166"/>
                <a:gd name="connsiteX2" fmla="*/ 455751 w 859853"/>
                <a:gd name="connsiteY2" fmla="*/ 342935 h 512166"/>
                <a:gd name="connsiteX3" fmla="*/ 855751 w 859853"/>
                <a:gd name="connsiteY3" fmla="*/ 278320 h 512166"/>
                <a:gd name="connsiteX4" fmla="*/ 855751 w 859853"/>
                <a:gd name="connsiteY4" fmla="*/ 361397 h 512166"/>
                <a:gd name="connsiteX5" fmla="*/ 403443 w 859853"/>
                <a:gd name="connsiteY5" fmla="*/ 512166 h 512166"/>
                <a:gd name="connsiteX6" fmla="*/ 18828 w 859853"/>
                <a:gd name="connsiteY6" fmla="*/ 136781 h 512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9853" h="512166">
                  <a:moveTo>
                    <a:pt x="18828" y="136781"/>
                  </a:moveTo>
                  <a:cubicBezTo>
                    <a:pt x="-58095" y="7551"/>
                    <a:pt x="120367" y="-38603"/>
                    <a:pt x="200366" y="35243"/>
                  </a:cubicBezTo>
                  <a:cubicBezTo>
                    <a:pt x="280366" y="106012"/>
                    <a:pt x="409597" y="293705"/>
                    <a:pt x="455751" y="342935"/>
                  </a:cubicBezTo>
                  <a:cubicBezTo>
                    <a:pt x="532674" y="361397"/>
                    <a:pt x="855751" y="278320"/>
                    <a:pt x="855751" y="278320"/>
                  </a:cubicBezTo>
                  <a:cubicBezTo>
                    <a:pt x="864982" y="302935"/>
                    <a:pt x="855751" y="361397"/>
                    <a:pt x="855751" y="361397"/>
                  </a:cubicBezTo>
                  <a:cubicBezTo>
                    <a:pt x="855751" y="361397"/>
                    <a:pt x="514213" y="502935"/>
                    <a:pt x="403443" y="512166"/>
                  </a:cubicBezTo>
                  <a:cubicBezTo>
                    <a:pt x="348059" y="512166"/>
                    <a:pt x="98828" y="275243"/>
                    <a:pt x="18828" y="136781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3" name="任意多边形: 形状 222">
              <a:extLst>
                <a:ext uri="{FF2B5EF4-FFF2-40B4-BE49-F238E27FC236}">
                  <a16:creationId xmlns:a16="http://schemas.microsoft.com/office/drawing/2014/main" id="{642E9AE4-E859-40E2-8D81-7734F17F634C}"/>
                </a:ext>
              </a:extLst>
            </p:cNvPr>
            <p:cNvSpPr/>
            <p:nvPr/>
          </p:nvSpPr>
          <p:spPr>
            <a:xfrm>
              <a:off x="3864220" y="227764"/>
              <a:ext cx="336394" cy="365339"/>
            </a:xfrm>
            <a:custGeom>
              <a:avLst/>
              <a:gdLst>
                <a:gd name="connsiteX0" fmla="*/ 336394 w 336394"/>
                <a:gd name="connsiteY0" fmla="*/ 168416 h 365339"/>
                <a:gd name="connsiteX1" fmla="*/ 47164 w 336394"/>
                <a:gd name="connsiteY1" fmla="*/ 5339 h 365339"/>
                <a:gd name="connsiteX2" fmla="*/ 99472 w 336394"/>
                <a:gd name="connsiteY2" fmla="*/ 365339 h 365339"/>
                <a:gd name="connsiteX3" fmla="*/ 336394 w 336394"/>
                <a:gd name="connsiteY3" fmla="*/ 168416 h 365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394" h="365339">
                  <a:moveTo>
                    <a:pt x="336394" y="168416"/>
                  </a:moveTo>
                  <a:cubicBezTo>
                    <a:pt x="253318" y="42262"/>
                    <a:pt x="108702" y="-19276"/>
                    <a:pt x="47164" y="5339"/>
                  </a:cubicBezTo>
                  <a:cubicBezTo>
                    <a:pt x="-32837" y="36108"/>
                    <a:pt x="-8221" y="233032"/>
                    <a:pt x="99472" y="365339"/>
                  </a:cubicBezTo>
                  <a:cubicBezTo>
                    <a:pt x="161010" y="359185"/>
                    <a:pt x="284087" y="236108"/>
                    <a:pt x="336394" y="168416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4" name="任意多边形: 形状 223">
              <a:extLst>
                <a:ext uri="{FF2B5EF4-FFF2-40B4-BE49-F238E27FC236}">
                  <a16:creationId xmlns:a16="http://schemas.microsoft.com/office/drawing/2014/main" id="{AB0A292F-BE43-46BA-B3E9-751E55504A77}"/>
                </a:ext>
              </a:extLst>
            </p:cNvPr>
            <p:cNvSpPr/>
            <p:nvPr/>
          </p:nvSpPr>
          <p:spPr>
            <a:xfrm>
              <a:off x="3857431" y="230795"/>
              <a:ext cx="215319" cy="368461"/>
            </a:xfrm>
            <a:custGeom>
              <a:avLst/>
              <a:gdLst>
                <a:gd name="connsiteX0" fmla="*/ 103183 w 215319"/>
                <a:gd name="connsiteY0" fmla="*/ 368462 h 368461"/>
                <a:gd name="connsiteX1" fmla="*/ 103183 w 215319"/>
                <a:gd name="connsiteY1" fmla="*/ 368462 h 368461"/>
                <a:gd name="connsiteX2" fmla="*/ 1644 w 215319"/>
                <a:gd name="connsiteY2" fmla="*/ 137692 h 368461"/>
                <a:gd name="connsiteX3" fmla="*/ 1644 w 215319"/>
                <a:gd name="connsiteY3" fmla="*/ 128461 h 368461"/>
                <a:gd name="connsiteX4" fmla="*/ 35491 w 215319"/>
                <a:gd name="connsiteY4" fmla="*/ 2308 h 368461"/>
                <a:gd name="connsiteX5" fmla="*/ 44722 w 215319"/>
                <a:gd name="connsiteY5" fmla="*/ 2308 h 368461"/>
                <a:gd name="connsiteX6" fmla="*/ 44722 w 215319"/>
                <a:gd name="connsiteY6" fmla="*/ 11539 h 368461"/>
                <a:gd name="connsiteX7" fmla="*/ 13953 w 215319"/>
                <a:gd name="connsiteY7" fmla="*/ 128461 h 368461"/>
                <a:gd name="connsiteX8" fmla="*/ 13953 w 215319"/>
                <a:gd name="connsiteY8" fmla="*/ 137692 h 368461"/>
                <a:gd name="connsiteX9" fmla="*/ 106260 w 215319"/>
                <a:gd name="connsiteY9" fmla="*/ 356154 h 368461"/>
                <a:gd name="connsiteX10" fmla="*/ 204721 w 215319"/>
                <a:gd name="connsiteY10" fmla="*/ 297692 h 368461"/>
                <a:gd name="connsiteX11" fmla="*/ 213953 w 215319"/>
                <a:gd name="connsiteY11" fmla="*/ 297692 h 368461"/>
                <a:gd name="connsiteX12" fmla="*/ 213953 w 215319"/>
                <a:gd name="connsiteY12" fmla="*/ 306923 h 368461"/>
                <a:gd name="connsiteX13" fmla="*/ 103183 w 215319"/>
                <a:gd name="connsiteY13" fmla="*/ 368462 h 368461"/>
                <a:gd name="connsiteX14" fmla="*/ 103183 w 215319"/>
                <a:gd name="connsiteY14" fmla="*/ 368462 h 36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5319" h="368461">
                  <a:moveTo>
                    <a:pt x="103183" y="368462"/>
                  </a:moveTo>
                  <a:lnTo>
                    <a:pt x="103183" y="368462"/>
                  </a:lnTo>
                  <a:cubicBezTo>
                    <a:pt x="81644" y="346923"/>
                    <a:pt x="7798" y="226923"/>
                    <a:pt x="1644" y="137692"/>
                  </a:cubicBezTo>
                  <a:cubicBezTo>
                    <a:pt x="1644" y="134615"/>
                    <a:pt x="1644" y="131539"/>
                    <a:pt x="1644" y="128461"/>
                  </a:cubicBezTo>
                  <a:cubicBezTo>
                    <a:pt x="-1432" y="100769"/>
                    <a:pt x="-4509" y="39231"/>
                    <a:pt x="35491" y="2308"/>
                  </a:cubicBezTo>
                  <a:cubicBezTo>
                    <a:pt x="38568" y="-769"/>
                    <a:pt x="41645" y="-769"/>
                    <a:pt x="44722" y="2308"/>
                  </a:cubicBezTo>
                  <a:cubicBezTo>
                    <a:pt x="47798" y="5385"/>
                    <a:pt x="47798" y="8462"/>
                    <a:pt x="44722" y="11539"/>
                  </a:cubicBezTo>
                  <a:cubicBezTo>
                    <a:pt x="7798" y="42308"/>
                    <a:pt x="10876" y="100769"/>
                    <a:pt x="13953" y="128461"/>
                  </a:cubicBezTo>
                  <a:cubicBezTo>
                    <a:pt x="13953" y="131539"/>
                    <a:pt x="13953" y="134615"/>
                    <a:pt x="13953" y="137692"/>
                  </a:cubicBezTo>
                  <a:cubicBezTo>
                    <a:pt x="17029" y="220769"/>
                    <a:pt x="87799" y="334615"/>
                    <a:pt x="106260" y="356154"/>
                  </a:cubicBezTo>
                  <a:cubicBezTo>
                    <a:pt x="127798" y="353077"/>
                    <a:pt x="158568" y="331539"/>
                    <a:pt x="204721" y="297692"/>
                  </a:cubicBezTo>
                  <a:cubicBezTo>
                    <a:pt x="207799" y="294615"/>
                    <a:pt x="210876" y="297692"/>
                    <a:pt x="213953" y="297692"/>
                  </a:cubicBezTo>
                  <a:cubicBezTo>
                    <a:pt x="217029" y="300769"/>
                    <a:pt x="213953" y="303846"/>
                    <a:pt x="213953" y="306923"/>
                  </a:cubicBezTo>
                  <a:cubicBezTo>
                    <a:pt x="161645" y="343846"/>
                    <a:pt x="130875" y="365385"/>
                    <a:pt x="103183" y="368462"/>
                  </a:cubicBezTo>
                  <a:lnTo>
                    <a:pt x="103183" y="368462"/>
                  </a:ln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25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3206639" y="2943872"/>
              <a:ext cx="327821" cy="286629"/>
              <a:chOff x="3206639" y="2943872"/>
              <a:chExt cx="327821" cy="286629"/>
            </a:xfrm>
          </p:grpSpPr>
          <p:sp>
            <p:nvSpPr>
              <p:cNvPr id="226" name="任意多边形: 形状 225">
                <a:extLst>
                  <a:ext uri="{FF2B5EF4-FFF2-40B4-BE49-F238E27FC236}">
                    <a16:creationId xmlns:a16="http://schemas.microsoft.com/office/drawing/2014/main" id="{1B2F2A5C-2B16-44CC-AF25-F2DD97D5F969}"/>
                  </a:ext>
                </a:extLst>
              </p:cNvPr>
              <p:cNvSpPr/>
              <p:nvPr/>
            </p:nvSpPr>
            <p:spPr>
              <a:xfrm>
                <a:off x="3206639" y="3051565"/>
                <a:ext cx="327821" cy="178937"/>
              </a:xfrm>
              <a:custGeom>
                <a:avLst/>
                <a:gdLst>
                  <a:gd name="connsiteX0" fmla="*/ 206282 w 327821"/>
                  <a:gd name="connsiteY0" fmla="*/ 0 h 178937"/>
                  <a:gd name="connsiteX1" fmla="*/ 107821 w 327821"/>
                  <a:gd name="connsiteY1" fmla="*/ 89231 h 178937"/>
                  <a:gd name="connsiteX2" fmla="*/ 267821 w 327821"/>
                  <a:gd name="connsiteY2" fmla="*/ 49231 h 178937"/>
                  <a:gd name="connsiteX3" fmla="*/ 326283 w 327821"/>
                  <a:gd name="connsiteY3" fmla="*/ 27693 h 178937"/>
                  <a:gd name="connsiteX4" fmla="*/ 320129 w 327821"/>
                  <a:gd name="connsiteY4" fmla="*/ 116923 h 178937"/>
                  <a:gd name="connsiteX5" fmla="*/ 129359 w 327821"/>
                  <a:gd name="connsiteY5" fmla="*/ 175385 h 178937"/>
                  <a:gd name="connsiteX6" fmla="*/ 15513 w 327821"/>
                  <a:gd name="connsiteY6" fmla="*/ 175385 h 178937"/>
                  <a:gd name="connsiteX7" fmla="*/ 9359 w 327821"/>
                  <a:gd name="connsiteY7" fmla="*/ 129231 h 178937"/>
                  <a:gd name="connsiteX8" fmla="*/ 206282 w 327821"/>
                  <a:gd name="connsiteY8" fmla="*/ 0 h 178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7821" h="178937">
                    <a:moveTo>
                      <a:pt x="206282" y="0"/>
                    </a:moveTo>
                    <a:cubicBezTo>
                      <a:pt x="206282" y="0"/>
                      <a:pt x="95514" y="76923"/>
                      <a:pt x="107821" y="89231"/>
                    </a:cubicBezTo>
                    <a:cubicBezTo>
                      <a:pt x="120129" y="101539"/>
                      <a:pt x="267821" y="49231"/>
                      <a:pt x="267821" y="49231"/>
                    </a:cubicBezTo>
                    <a:lnTo>
                      <a:pt x="326283" y="27693"/>
                    </a:lnTo>
                    <a:cubicBezTo>
                      <a:pt x="326283" y="27693"/>
                      <a:pt x="332436" y="95385"/>
                      <a:pt x="320129" y="116923"/>
                    </a:cubicBezTo>
                    <a:cubicBezTo>
                      <a:pt x="261667" y="147692"/>
                      <a:pt x="190897" y="166154"/>
                      <a:pt x="129359" y="175385"/>
                    </a:cubicBezTo>
                    <a:cubicBezTo>
                      <a:pt x="92436" y="181539"/>
                      <a:pt x="24744" y="178462"/>
                      <a:pt x="15513" y="175385"/>
                    </a:cubicBezTo>
                    <a:cubicBezTo>
                      <a:pt x="9359" y="172308"/>
                      <a:pt x="-12179" y="150770"/>
                      <a:pt x="9359" y="129231"/>
                    </a:cubicBezTo>
                    <a:cubicBezTo>
                      <a:pt x="64744" y="76923"/>
                      <a:pt x="206282" y="0"/>
                      <a:pt x="206282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7" name="任意多边形: 形状 226">
                <a:extLst>
                  <a:ext uri="{FF2B5EF4-FFF2-40B4-BE49-F238E27FC236}">
                    <a16:creationId xmlns:a16="http://schemas.microsoft.com/office/drawing/2014/main" id="{49F6FB4D-50DF-46D3-B4A8-0E007793A012}"/>
                  </a:ext>
                </a:extLst>
              </p:cNvPr>
              <p:cNvSpPr/>
              <p:nvPr/>
            </p:nvSpPr>
            <p:spPr>
              <a:xfrm>
                <a:off x="3313506" y="2943872"/>
                <a:ext cx="219416" cy="200216"/>
              </a:xfrm>
              <a:custGeom>
                <a:avLst/>
                <a:gdLst>
                  <a:gd name="connsiteX0" fmla="*/ 142493 w 219416"/>
                  <a:gd name="connsiteY0" fmla="*/ 0 h 200216"/>
                  <a:gd name="connsiteX1" fmla="*/ 99416 w 219416"/>
                  <a:gd name="connsiteY1" fmla="*/ 107692 h 200216"/>
                  <a:gd name="connsiteX2" fmla="*/ 955 w 219416"/>
                  <a:gd name="connsiteY2" fmla="*/ 196923 h 200216"/>
                  <a:gd name="connsiteX3" fmla="*/ 197878 w 219416"/>
                  <a:gd name="connsiteY3" fmla="*/ 163077 h 200216"/>
                  <a:gd name="connsiteX4" fmla="*/ 219416 w 219416"/>
                  <a:gd name="connsiteY4" fmla="*/ 138462 h 200216"/>
                  <a:gd name="connsiteX5" fmla="*/ 219416 w 219416"/>
                  <a:gd name="connsiteY5" fmla="*/ 27693 h 200216"/>
                  <a:gd name="connsiteX6" fmla="*/ 142493 w 219416"/>
                  <a:gd name="connsiteY6" fmla="*/ 0 h 200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9416" h="200216">
                    <a:moveTo>
                      <a:pt x="142493" y="0"/>
                    </a:moveTo>
                    <a:lnTo>
                      <a:pt x="99416" y="107692"/>
                    </a:lnTo>
                    <a:cubicBezTo>
                      <a:pt x="99416" y="107692"/>
                      <a:pt x="-11353" y="178462"/>
                      <a:pt x="955" y="196923"/>
                    </a:cubicBezTo>
                    <a:cubicBezTo>
                      <a:pt x="10185" y="209231"/>
                      <a:pt x="139416" y="184615"/>
                      <a:pt x="197878" y="163077"/>
                    </a:cubicBezTo>
                    <a:cubicBezTo>
                      <a:pt x="216339" y="156923"/>
                      <a:pt x="219416" y="138462"/>
                      <a:pt x="219416" y="138462"/>
                    </a:cubicBezTo>
                    <a:lnTo>
                      <a:pt x="219416" y="27693"/>
                    </a:lnTo>
                    <a:lnTo>
                      <a:pt x="142493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28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3930886" y="2885411"/>
              <a:ext cx="269728" cy="366153"/>
              <a:chOff x="3930886" y="2885411"/>
              <a:chExt cx="269728" cy="366153"/>
            </a:xfrm>
          </p:grpSpPr>
          <p:sp>
            <p:nvSpPr>
              <p:cNvPr id="229" name="任意多边形: 形状 228">
                <a:extLst>
                  <a:ext uri="{FF2B5EF4-FFF2-40B4-BE49-F238E27FC236}">
                    <a16:creationId xmlns:a16="http://schemas.microsoft.com/office/drawing/2014/main" id="{6A1CA03F-2409-4D57-B889-5F5FAE636AF0}"/>
                  </a:ext>
                </a:extLst>
              </p:cNvPr>
              <p:cNvSpPr/>
              <p:nvPr/>
            </p:nvSpPr>
            <p:spPr>
              <a:xfrm>
                <a:off x="3930886" y="2983872"/>
                <a:ext cx="269728" cy="267692"/>
              </a:xfrm>
              <a:custGeom>
                <a:avLst/>
                <a:gdLst>
                  <a:gd name="connsiteX0" fmla="*/ 137421 w 269728"/>
                  <a:gd name="connsiteY0" fmla="*/ 3077 h 267692"/>
                  <a:gd name="connsiteX1" fmla="*/ 66651 w 269728"/>
                  <a:gd name="connsiteY1" fmla="*/ 153846 h 267692"/>
                  <a:gd name="connsiteX2" fmla="*/ 192805 w 269728"/>
                  <a:gd name="connsiteY2" fmla="*/ 46154 h 267692"/>
                  <a:gd name="connsiteX3" fmla="*/ 235882 w 269728"/>
                  <a:gd name="connsiteY3" fmla="*/ 0 h 267692"/>
                  <a:gd name="connsiteX4" fmla="*/ 269728 w 269728"/>
                  <a:gd name="connsiteY4" fmla="*/ 80000 h 267692"/>
                  <a:gd name="connsiteX5" fmla="*/ 128190 w 269728"/>
                  <a:gd name="connsiteY5" fmla="*/ 218462 h 267692"/>
                  <a:gd name="connsiteX6" fmla="*/ 26652 w 269728"/>
                  <a:gd name="connsiteY6" fmla="*/ 267692 h 267692"/>
                  <a:gd name="connsiteX7" fmla="*/ 2037 w 269728"/>
                  <a:gd name="connsiteY7" fmla="*/ 227692 h 267692"/>
                  <a:gd name="connsiteX8" fmla="*/ 137421 w 269728"/>
                  <a:gd name="connsiteY8" fmla="*/ 3077 h 267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9728" h="267692">
                    <a:moveTo>
                      <a:pt x="137421" y="3077"/>
                    </a:moveTo>
                    <a:cubicBezTo>
                      <a:pt x="137421" y="3077"/>
                      <a:pt x="54344" y="147692"/>
                      <a:pt x="66651" y="153846"/>
                    </a:cubicBezTo>
                    <a:cubicBezTo>
                      <a:pt x="82036" y="160000"/>
                      <a:pt x="192805" y="46154"/>
                      <a:pt x="192805" y="46154"/>
                    </a:cubicBezTo>
                    <a:lnTo>
                      <a:pt x="235882" y="0"/>
                    </a:lnTo>
                    <a:cubicBezTo>
                      <a:pt x="235882" y="0"/>
                      <a:pt x="269728" y="58461"/>
                      <a:pt x="269728" y="80000"/>
                    </a:cubicBezTo>
                    <a:cubicBezTo>
                      <a:pt x="229729" y="132308"/>
                      <a:pt x="177421" y="181538"/>
                      <a:pt x="128190" y="218462"/>
                    </a:cubicBezTo>
                    <a:cubicBezTo>
                      <a:pt x="97420" y="240000"/>
                      <a:pt x="35882" y="267692"/>
                      <a:pt x="26652" y="267692"/>
                    </a:cubicBezTo>
                    <a:cubicBezTo>
                      <a:pt x="17421" y="267692"/>
                      <a:pt x="-7195" y="258461"/>
                      <a:pt x="2037" y="227692"/>
                    </a:cubicBezTo>
                    <a:cubicBezTo>
                      <a:pt x="23574" y="160000"/>
                      <a:pt x="137421" y="3077"/>
                      <a:pt x="137421" y="3077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0" name="任意多边形: 形状 229">
                <a:extLst>
                  <a:ext uri="{FF2B5EF4-FFF2-40B4-BE49-F238E27FC236}">
                    <a16:creationId xmlns:a16="http://schemas.microsoft.com/office/drawing/2014/main" id="{25C57205-BC90-4150-BC73-D6B23CA82CA4}"/>
                  </a:ext>
                </a:extLst>
              </p:cNvPr>
              <p:cNvSpPr/>
              <p:nvPr/>
            </p:nvSpPr>
            <p:spPr>
              <a:xfrm>
                <a:off x="3994676" y="2885411"/>
                <a:ext cx="173307" cy="252642"/>
              </a:xfrm>
              <a:custGeom>
                <a:avLst/>
                <a:gdLst>
                  <a:gd name="connsiteX0" fmla="*/ 39784 w 173307"/>
                  <a:gd name="connsiteY0" fmla="*/ 12308 h 252642"/>
                  <a:gd name="connsiteX1" fmla="*/ 61323 w 173307"/>
                  <a:gd name="connsiteY1" fmla="*/ 120000 h 252642"/>
                  <a:gd name="connsiteX2" fmla="*/ 2861 w 173307"/>
                  <a:gd name="connsiteY2" fmla="*/ 252308 h 252642"/>
                  <a:gd name="connsiteX3" fmla="*/ 162861 w 173307"/>
                  <a:gd name="connsiteY3" fmla="*/ 132308 h 252642"/>
                  <a:gd name="connsiteX4" fmla="*/ 172092 w 173307"/>
                  <a:gd name="connsiteY4" fmla="*/ 98461 h 252642"/>
                  <a:gd name="connsiteX5" fmla="*/ 122862 w 173307"/>
                  <a:gd name="connsiteY5" fmla="*/ 0 h 252642"/>
                  <a:gd name="connsiteX6" fmla="*/ 39784 w 173307"/>
                  <a:gd name="connsiteY6" fmla="*/ 12308 h 252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3307" h="252642">
                    <a:moveTo>
                      <a:pt x="39784" y="12308"/>
                    </a:moveTo>
                    <a:lnTo>
                      <a:pt x="61323" y="120000"/>
                    </a:lnTo>
                    <a:cubicBezTo>
                      <a:pt x="61323" y="120000"/>
                      <a:pt x="-15600" y="240000"/>
                      <a:pt x="2861" y="252308"/>
                    </a:cubicBezTo>
                    <a:cubicBezTo>
                      <a:pt x="18245" y="258461"/>
                      <a:pt x="119785" y="178462"/>
                      <a:pt x="162861" y="132308"/>
                    </a:cubicBezTo>
                    <a:cubicBezTo>
                      <a:pt x="178246" y="116923"/>
                      <a:pt x="172092" y="98461"/>
                      <a:pt x="172092" y="98461"/>
                    </a:cubicBezTo>
                    <a:lnTo>
                      <a:pt x="122862" y="0"/>
                    </a:lnTo>
                    <a:lnTo>
                      <a:pt x="39784" y="12308"/>
                    </a:ln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31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2398245" y="20748"/>
              <a:ext cx="271266" cy="658508"/>
              <a:chOff x="2398245" y="20748"/>
              <a:chExt cx="271266" cy="658508"/>
            </a:xfrm>
          </p:grpSpPr>
          <p:sp>
            <p:nvSpPr>
              <p:cNvPr id="232" name="任意多边形: 形状 231">
                <a:extLst>
                  <a:ext uri="{FF2B5EF4-FFF2-40B4-BE49-F238E27FC236}">
                    <a16:creationId xmlns:a16="http://schemas.microsoft.com/office/drawing/2014/main" id="{A91D711A-6CE8-4601-841A-59136B522C53}"/>
                  </a:ext>
                </a:extLst>
              </p:cNvPr>
              <p:cNvSpPr/>
              <p:nvPr/>
            </p:nvSpPr>
            <p:spPr>
              <a:xfrm>
                <a:off x="2412921" y="172620"/>
                <a:ext cx="137405" cy="506636"/>
              </a:xfrm>
              <a:custGeom>
                <a:avLst/>
                <a:gdLst>
                  <a:gd name="connsiteX0" fmla="*/ 12308 w 137405"/>
                  <a:gd name="connsiteY0" fmla="*/ 506636 h 506636"/>
                  <a:gd name="connsiteX1" fmla="*/ 12308 w 137405"/>
                  <a:gd name="connsiteY1" fmla="*/ 506636 h 506636"/>
                  <a:gd name="connsiteX2" fmla="*/ 0 w 137405"/>
                  <a:gd name="connsiteY2" fmla="*/ 494329 h 506636"/>
                  <a:gd name="connsiteX3" fmla="*/ 113847 w 137405"/>
                  <a:gd name="connsiteY3" fmla="*/ 5098 h 506636"/>
                  <a:gd name="connsiteX4" fmla="*/ 132308 w 137405"/>
                  <a:gd name="connsiteY4" fmla="*/ 2021 h 506636"/>
                  <a:gd name="connsiteX5" fmla="*/ 135385 w 137405"/>
                  <a:gd name="connsiteY5" fmla="*/ 20483 h 506636"/>
                  <a:gd name="connsiteX6" fmla="*/ 27693 w 137405"/>
                  <a:gd name="connsiteY6" fmla="*/ 494329 h 506636"/>
                  <a:gd name="connsiteX7" fmla="*/ 12308 w 137405"/>
                  <a:gd name="connsiteY7" fmla="*/ 506636 h 506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7405" h="506636">
                    <a:moveTo>
                      <a:pt x="12308" y="506636"/>
                    </a:moveTo>
                    <a:lnTo>
                      <a:pt x="12308" y="506636"/>
                    </a:lnTo>
                    <a:cubicBezTo>
                      <a:pt x="6154" y="506636"/>
                      <a:pt x="0" y="500483"/>
                      <a:pt x="0" y="494329"/>
                    </a:cubicBezTo>
                    <a:cubicBezTo>
                      <a:pt x="0" y="485098"/>
                      <a:pt x="24616" y="131252"/>
                      <a:pt x="113847" y="5098"/>
                    </a:cubicBezTo>
                    <a:cubicBezTo>
                      <a:pt x="116924" y="-1056"/>
                      <a:pt x="126154" y="-1056"/>
                      <a:pt x="132308" y="2021"/>
                    </a:cubicBezTo>
                    <a:cubicBezTo>
                      <a:pt x="138462" y="5098"/>
                      <a:pt x="138462" y="14329"/>
                      <a:pt x="135385" y="20483"/>
                    </a:cubicBezTo>
                    <a:cubicBezTo>
                      <a:pt x="49231" y="140483"/>
                      <a:pt x="27693" y="491252"/>
                      <a:pt x="27693" y="494329"/>
                    </a:cubicBezTo>
                    <a:cubicBezTo>
                      <a:pt x="24616" y="503560"/>
                      <a:pt x="21539" y="506636"/>
                      <a:pt x="12308" y="506636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3" name="任意多边形: 形状 232">
                <a:extLst>
                  <a:ext uri="{FF2B5EF4-FFF2-40B4-BE49-F238E27FC236}">
                    <a16:creationId xmlns:a16="http://schemas.microsoft.com/office/drawing/2014/main" id="{711FDDF6-ED27-4D6C-A86B-3B6FD1D55086}"/>
                  </a:ext>
                </a:extLst>
              </p:cNvPr>
              <p:cNvSpPr/>
              <p:nvPr/>
            </p:nvSpPr>
            <p:spPr>
              <a:xfrm>
                <a:off x="2398245" y="41387"/>
                <a:ext cx="134676" cy="116625"/>
              </a:xfrm>
              <a:custGeom>
                <a:avLst/>
                <a:gdLst>
                  <a:gd name="connsiteX0" fmla="*/ 134677 w 134676"/>
                  <a:gd name="connsiteY0" fmla="*/ 114793 h 116625"/>
                  <a:gd name="connsiteX1" fmla="*/ 11600 w 134676"/>
                  <a:gd name="connsiteY1" fmla="*/ 31717 h 116625"/>
                  <a:gd name="connsiteX2" fmla="*/ 134677 w 134676"/>
                  <a:gd name="connsiteY2" fmla="*/ 114793 h 116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4676" h="116625">
                    <a:moveTo>
                      <a:pt x="134677" y="114793"/>
                    </a:moveTo>
                    <a:cubicBezTo>
                      <a:pt x="134677" y="114793"/>
                      <a:pt x="66984" y="-72899"/>
                      <a:pt x="11600" y="31717"/>
                    </a:cubicBezTo>
                    <a:cubicBezTo>
                      <a:pt x="-46863" y="136332"/>
                      <a:pt x="134677" y="114793"/>
                      <a:pt x="134677" y="114793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4" name="任意多边形: 形状 233">
                <a:extLst>
                  <a:ext uri="{FF2B5EF4-FFF2-40B4-BE49-F238E27FC236}">
                    <a16:creationId xmlns:a16="http://schemas.microsoft.com/office/drawing/2014/main" id="{6AE82339-283F-4098-888C-F692C4D3C06D}"/>
                  </a:ext>
                </a:extLst>
              </p:cNvPr>
              <p:cNvSpPr/>
              <p:nvPr/>
            </p:nvSpPr>
            <p:spPr>
              <a:xfrm>
                <a:off x="2530979" y="20748"/>
                <a:ext cx="73918" cy="144662"/>
              </a:xfrm>
              <a:custGeom>
                <a:avLst/>
                <a:gdLst>
                  <a:gd name="connsiteX0" fmla="*/ 5019 w 73918"/>
                  <a:gd name="connsiteY0" fmla="*/ 144663 h 144662"/>
                  <a:gd name="connsiteX1" fmla="*/ 29635 w 73918"/>
                  <a:gd name="connsiteY1" fmla="*/ 47 h 144662"/>
                  <a:gd name="connsiteX2" fmla="*/ 5019 w 73918"/>
                  <a:gd name="connsiteY2" fmla="*/ 144663 h 144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3918" h="144662">
                    <a:moveTo>
                      <a:pt x="5019" y="144663"/>
                    </a:moveTo>
                    <a:cubicBezTo>
                      <a:pt x="5019" y="144663"/>
                      <a:pt x="-16519" y="-3030"/>
                      <a:pt x="29635" y="47"/>
                    </a:cubicBezTo>
                    <a:cubicBezTo>
                      <a:pt x="75789" y="3124"/>
                      <a:pt x="109636" y="64663"/>
                      <a:pt x="5019" y="144663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5" name="任意多边形: 形状 234">
                <a:extLst>
                  <a:ext uri="{FF2B5EF4-FFF2-40B4-BE49-F238E27FC236}">
                    <a16:creationId xmlns:a16="http://schemas.microsoft.com/office/drawing/2014/main" id="{DE0F1247-5751-46FF-8DAD-5DD1857897D2}"/>
                  </a:ext>
                </a:extLst>
              </p:cNvPr>
              <p:cNvSpPr/>
              <p:nvPr/>
            </p:nvSpPr>
            <p:spPr>
              <a:xfrm>
                <a:off x="2401817" y="168488"/>
                <a:ext cx="121873" cy="103257"/>
              </a:xfrm>
              <a:custGeom>
                <a:avLst/>
                <a:gdLst>
                  <a:gd name="connsiteX0" fmla="*/ 121874 w 121873"/>
                  <a:gd name="connsiteY0" fmla="*/ 0 h 103257"/>
                  <a:gd name="connsiteX1" fmla="*/ 4951 w 121873"/>
                  <a:gd name="connsiteY1" fmla="*/ 73846 h 103257"/>
                  <a:gd name="connsiteX2" fmla="*/ 121874 w 121873"/>
                  <a:gd name="connsiteY2" fmla="*/ 0 h 103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1873" h="103257">
                    <a:moveTo>
                      <a:pt x="121874" y="0"/>
                    </a:moveTo>
                    <a:cubicBezTo>
                      <a:pt x="121874" y="0"/>
                      <a:pt x="-28895" y="12308"/>
                      <a:pt x="4951" y="73846"/>
                    </a:cubicBezTo>
                    <a:cubicBezTo>
                      <a:pt x="35720" y="135385"/>
                      <a:pt x="121874" y="95385"/>
                      <a:pt x="121874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6" name="任意多边形: 形状 235">
                <a:extLst>
                  <a:ext uri="{FF2B5EF4-FFF2-40B4-BE49-F238E27FC236}">
                    <a16:creationId xmlns:a16="http://schemas.microsoft.com/office/drawing/2014/main" id="{26BA5714-79D7-4B52-AAC5-1C08B0F1FA06}"/>
                  </a:ext>
                </a:extLst>
              </p:cNvPr>
              <p:cNvSpPr/>
              <p:nvPr/>
            </p:nvSpPr>
            <p:spPr>
              <a:xfrm>
                <a:off x="2517355" y="180795"/>
                <a:ext cx="72669" cy="111734"/>
              </a:xfrm>
              <a:custGeom>
                <a:avLst/>
                <a:gdLst>
                  <a:gd name="connsiteX0" fmla="*/ 18643 w 72669"/>
                  <a:gd name="connsiteY0" fmla="*/ 0 h 111734"/>
                  <a:gd name="connsiteX1" fmla="*/ 30952 w 72669"/>
                  <a:gd name="connsiteY1" fmla="*/ 110769 h 111734"/>
                  <a:gd name="connsiteX2" fmla="*/ 18643 w 72669"/>
                  <a:gd name="connsiteY2" fmla="*/ 0 h 111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2669" h="111734">
                    <a:moveTo>
                      <a:pt x="18643" y="0"/>
                    </a:moveTo>
                    <a:cubicBezTo>
                      <a:pt x="18643" y="0"/>
                      <a:pt x="-30587" y="101538"/>
                      <a:pt x="30952" y="110769"/>
                    </a:cubicBezTo>
                    <a:cubicBezTo>
                      <a:pt x="95566" y="120000"/>
                      <a:pt x="80182" y="61538"/>
                      <a:pt x="18643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7" name="任意多边形: 形状 236">
                <a:extLst>
                  <a:ext uri="{FF2B5EF4-FFF2-40B4-BE49-F238E27FC236}">
                    <a16:creationId xmlns:a16="http://schemas.microsoft.com/office/drawing/2014/main" id="{64893008-1335-4A9F-9244-7EF3492D1217}"/>
                  </a:ext>
                </a:extLst>
              </p:cNvPr>
              <p:cNvSpPr/>
              <p:nvPr/>
            </p:nvSpPr>
            <p:spPr>
              <a:xfrm>
                <a:off x="2551383" y="128917"/>
                <a:ext cx="118128" cy="69775"/>
              </a:xfrm>
              <a:custGeom>
                <a:avLst/>
                <a:gdLst>
                  <a:gd name="connsiteX0" fmla="*/ 0 w 118128"/>
                  <a:gd name="connsiteY0" fmla="*/ 45725 h 69775"/>
                  <a:gd name="connsiteX1" fmla="*/ 104616 w 118128"/>
                  <a:gd name="connsiteY1" fmla="*/ 11879 h 69775"/>
                  <a:gd name="connsiteX2" fmla="*/ 0 w 118128"/>
                  <a:gd name="connsiteY2" fmla="*/ 45725 h 69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8128" h="69775">
                    <a:moveTo>
                      <a:pt x="0" y="45725"/>
                    </a:moveTo>
                    <a:cubicBezTo>
                      <a:pt x="0" y="45725"/>
                      <a:pt x="67693" y="-28121"/>
                      <a:pt x="104616" y="11879"/>
                    </a:cubicBezTo>
                    <a:cubicBezTo>
                      <a:pt x="141539" y="54955"/>
                      <a:pt x="101539" y="98032"/>
                      <a:pt x="0" y="45725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8" name="任意多边形: 形状 237">
                <a:extLst>
                  <a:ext uri="{FF2B5EF4-FFF2-40B4-BE49-F238E27FC236}">
                    <a16:creationId xmlns:a16="http://schemas.microsoft.com/office/drawing/2014/main" id="{97694F25-54EA-49D5-B5E9-824D068E86AD}"/>
                  </a:ext>
                </a:extLst>
              </p:cNvPr>
              <p:cNvSpPr/>
              <p:nvPr/>
            </p:nvSpPr>
            <p:spPr>
              <a:xfrm>
                <a:off x="2502153" y="137719"/>
                <a:ext cx="67691" cy="67692"/>
              </a:xfrm>
              <a:custGeom>
                <a:avLst/>
                <a:gdLst>
                  <a:gd name="connsiteX0" fmla="*/ 67692 w 67691"/>
                  <a:gd name="connsiteY0" fmla="*/ 33846 h 67692"/>
                  <a:gd name="connsiteX1" fmla="*/ 33845 w 67691"/>
                  <a:gd name="connsiteY1" fmla="*/ 0 h 67692"/>
                  <a:gd name="connsiteX2" fmla="*/ 0 w 67691"/>
                  <a:gd name="connsiteY2" fmla="*/ 33846 h 67692"/>
                  <a:gd name="connsiteX3" fmla="*/ 33845 w 67691"/>
                  <a:gd name="connsiteY3" fmla="*/ 67692 h 67692"/>
                  <a:gd name="connsiteX4" fmla="*/ 67692 w 67691"/>
                  <a:gd name="connsiteY4" fmla="*/ 33846 h 67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691" h="67692">
                    <a:moveTo>
                      <a:pt x="67692" y="33846"/>
                    </a:moveTo>
                    <a:cubicBezTo>
                      <a:pt x="67692" y="15385"/>
                      <a:pt x="52307" y="0"/>
                      <a:pt x="33845" y="0"/>
                    </a:cubicBezTo>
                    <a:cubicBezTo>
                      <a:pt x="15385" y="0"/>
                      <a:pt x="0" y="15385"/>
                      <a:pt x="0" y="33846"/>
                    </a:cubicBezTo>
                    <a:cubicBezTo>
                      <a:pt x="0" y="52308"/>
                      <a:pt x="15385" y="67692"/>
                      <a:pt x="33845" y="67692"/>
                    </a:cubicBezTo>
                    <a:cubicBezTo>
                      <a:pt x="52307" y="67692"/>
                      <a:pt x="67692" y="52308"/>
                      <a:pt x="67692" y="33846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39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2449416" y="294564"/>
              <a:ext cx="161977" cy="393924"/>
              <a:chOff x="2449416" y="294564"/>
              <a:chExt cx="161977" cy="393924"/>
            </a:xfrm>
          </p:grpSpPr>
          <p:sp>
            <p:nvSpPr>
              <p:cNvPr id="240" name="任意多边形: 形状 239">
                <a:extLst>
                  <a:ext uri="{FF2B5EF4-FFF2-40B4-BE49-F238E27FC236}">
                    <a16:creationId xmlns:a16="http://schemas.microsoft.com/office/drawing/2014/main" id="{B4F6D182-265C-47E5-A68B-8CB39D02C6A0}"/>
                  </a:ext>
                </a:extLst>
              </p:cNvPr>
              <p:cNvSpPr/>
              <p:nvPr/>
            </p:nvSpPr>
            <p:spPr>
              <a:xfrm>
                <a:off x="2459075" y="383872"/>
                <a:ext cx="83077" cy="304615"/>
              </a:xfrm>
              <a:custGeom>
                <a:avLst/>
                <a:gdLst>
                  <a:gd name="connsiteX0" fmla="*/ 9231 w 83077"/>
                  <a:gd name="connsiteY0" fmla="*/ 304615 h 304615"/>
                  <a:gd name="connsiteX1" fmla="*/ 9231 w 83077"/>
                  <a:gd name="connsiteY1" fmla="*/ 304615 h 304615"/>
                  <a:gd name="connsiteX2" fmla="*/ 0 w 83077"/>
                  <a:gd name="connsiteY2" fmla="*/ 295385 h 304615"/>
                  <a:gd name="connsiteX3" fmla="*/ 67693 w 83077"/>
                  <a:gd name="connsiteY3" fmla="*/ 3077 h 304615"/>
                  <a:gd name="connsiteX4" fmla="*/ 80000 w 83077"/>
                  <a:gd name="connsiteY4" fmla="*/ 0 h 304615"/>
                  <a:gd name="connsiteX5" fmla="*/ 83077 w 83077"/>
                  <a:gd name="connsiteY5" fmla="*/ 12308 h 304615"/>
                  <a:gd name="connsiteX6" fmla="*/ 18462 w 83077"/>
                  <a:gd name="connsiteY6" fmla="*/ 295385 h 304615"/>
                  <a:gd name="connsiteX7" fmla="*/ 9231 w 83077"/>
                  <a:gd name="connsiteY7" fmla="*/ 304615 h 30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077" h="304615">
                    <a:moveTo>
                      <a:pt x="9231" y="304615"/>
                    </a:moveTo>
                    <a:lnTo>
                      <a:pt x="9231" y="304615"/>
                    </a:lnTo>
                    <a:cubicBezTo>
                      <a:pt x="6154" y="304615"/>
                      <a:pt x="0" y="301539"/>
                      <a:pt x="0" y="295385"/>
                    </a:cubicBezTo>
                    <a:cubicBezTo>
                      <a:pt x="0" y="289231"/>
                      <a:pt x="15385" y="80000"/>
                      <a:pt x="67693" y="3077"/>
                    </a:cubicBezTo>
                    <a:cubicBezTo>
                      <a:pt x="70770" y="0"/>
                      <a:pt x="73847" y="0"/>
                      <a:pt x="80000" y="0"/>
                    </a:cubicBezTo>
                    <a:cubicBezTo>
                      <a:pt x="83077" y="3077"/>
                      <a:pt x="83077" y="6154"/>
                      <a:pt x="83077" y="12308"/>
                    </a:cubicBezTo>
                    <a:cubicBezTo>
                      <a:pt x="30769" y="83077"/>
                      <a:pt x="18462" y="295385"/>
                      <a:pt x="18462" y="295385"/>
                    </a:cubicBezTo>
                    <a:cubicBezTo>
                      <a:pt x="15385" y="301539"/>
                      <a:pt x="12308" y="304615"/>
                      <a:pt x="9231" y="304615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1" name="任意多边形: 形状 240">
                <a:extLst>
                  <a:ext uri="{FF2B5EF4-FFF2-40B4-BE49-F238E27FC236}">
                    <a16:creationId xmlns:a16="http://schemas.microsoft.com/office/drawing/2014/main" id="{4EB9AB8F-9E32-4BFD-A0DD-B01BBF3D1FD9}"/>
                  </a:ext>
                </a:extLst>
              </p:cNvPr>
              <p:cNvSpPr/>
              <p:nvPr/>
            </p:nvSpPr>
            <p:spPr>
              <a:xfrm>
                <a:off x="2449416" y="306798"/>
                <a:ext cx="80428" cy="68848"/>
              </a:xfrm>
              <a:custGeom>
                <a:avLst/>
                <a:gdLst>
                  <a:gd name="connsiteX0" fmla="*/ 80429 w 80428"/>
                  <a:gd name="connsiteY0" fmla="*/ 67843 h 68848"/>
                  <a:gd name="connsiteX1" fmla="*/ 6583 w 80428"/>
                  <a:gd name="connsiteY1" fmla="*/ 18613 h 68848"/>
                  <a:gd name="connsiteX2" fmla="*/ 80429 w 80428"/>
                  <a:gd name="connsiteY2" fmla="*/ 67843 h 68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428" h="68848">
                    <a:moveTo>
                      <a:pt x="80429" y="67843"/>
                    </a:moveTo>
                    <a:cubicBezTo>
                      <a:pt x="80429" y="67843"/>
                      <a:pt x="40428" y="-42926"/>
                      <a:pt x="6583" y="18613"/>
                    </a:cubicBezTo>
                    <a:cubicBezTo>
                      <a:pt x="-27264" y="80151"/>
                      <a:pt x="80429" y="67843"/>
                      <a:pt x="80429" y="67843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2" name="任意多边形: 形状 241">
                <a:extLst>
                  <a:ext uri="{FF2B5EF4-FFF2-40B4-BE49-F238E27FC236}">
                    <a16:creationId xmlns:a16="http://schemas.microsoft.com/office/drawing/2014/main" id="{C2F2BA7D-9A72-4D85-8230-BD1EFF22B9D0}"/>
                  </a:ext>
                </a:extLst>
              </p:cNvPr>
              <p:cNvSpPr/>
              <p:nvPr/>
            </p:nvSpPr>
            <p:spPr>
              <a:xfrm>
                <a:off x="2530196" y="294564"/>
                <a:ext cx="43889" cy="86231"/>
              </a:xfrm>
              <a:custGeom>
                <a:avLst/>
                <a:gdLst>
                  <a:gd name="connsiteX0" fmla="*/ 2726 w 43889"/>
                  <a:gd name="connsiteY0" fmla="*/ 86232 h 86231"/>
                  <a:gd name="connsiteX1" fmla="*/ 18110 w 43889"/>
                  <a:gd name="connsiteY1" fmla="*/ 78 h 86231"/>
                  <a:gd name="connsiteX2" fmla="*/ 2726 w 43889"/>
                  <a:gd name="connsiteY2" fmla="*/ 86232 h 86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889" h="86231">
                    <a:moveTo>
                      <a:pt x="2726" y="86232"/>
                    </a:moveTo>
                    <a:cubicBezTo>
                      <a:pt x="2726" y="86232"/>
                      <a:pt x="-9583" y="-2999"/>
                      <a:pt x="18110" y="78"/>
                    </a:cubicBezTo>
                    <a:cubicBezTo>
                      <a:pt x="45803" y="3155"/>
                      <a:pt x="64264" y="40078"/>
                      <a:pt x="2726" y="86232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3" name="任意多边形: 形状 242">
                <a:extLst>
                  <a:ext uri="{FF2B5EF4-FFF2-40B4-BE49-F238E27FC236}">
                    <a16:creationId xmlns:a16="http://schemas.microsoft.com/office/drawing/2014/main" id="{F81D5912-2980-44A1-B373-B4DE2F1139B2}"/>
                  </a:ext>
                </a:extLst>
              </p:cNvPr>
              <p:cNvSpPr/>
              <p:nvPr/>
            </p:nvSpPr>
            <p:spPr>
              <a:xfrm>
                <a:off x="2453484" y="383872"/>
                <a:ext cx="73283" cy="60633"/>
              </a:xfrm>
              <a:custGeom>
                <a:avLst/>
                <a:gdLst>
                  <a:gd name="connsiteX0" fmla="*/ 73284 w 73283"/>
                  <a:gd name="connsiteY0" fmla="*/ 0 h 60633"/>
                  <a:gd name="connsiteX1" fmla="*/ 2515 w 73283"/>
                  <a:gd name="connsiteY1" fmla="*/ 43077 h 60633"/>
                  <a:gd name="connsiteX2" fmla="*/ 73284 w 73283"/>
                  <a:gd name="connsiteY2" fmla="*/ 0 h 60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3283" h="60633">
                    <a:moveTo>
                      <a:pt x="73284" y="0"/>
                    </a:moveTo>
                    <a:cubicBezTo>
                      <a:pt x="73284" y="0"/>
                      <a:pt x="-15947" y="6154"/>
                      <a:pt x="2515" y="43077"/>
                    </a:cubicBezTo>
                    <a:cubicBezTo>
                      <a:pt x="20976" y="80000"/>
                      <a:pt x="73284" y="55385"/>
                      <a:pt x="73284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4" name="任意多边形: 形状 243">
                <a:extLst>
                  <a:ext uri="{FF2B5EF4-FFF2-40B4-BE49-F238E27FC236}">
                    <a16:creationId xmlns:a16="http://schemas.microsoft.com/office/drawing/2014/main" id="{3B408039-D864-4889-A3D0-E57BB0C4A1C1}"/>
                  </a:ext>
                </a:extLst>
              </p:cNvPr>
              <p:cNvSpPr/>
              <p:nvPr/>
            </p:nvSpPr>
            <p:spPr>
              <a:xfrm>
                <a:off x="2520903" y="390026"/>
                <a:ext cx="42979" cy="65343"/>
              </a:xfrm>
              <a:custGeom>
                <a:avLst/>
                <a:gdLst>
                  <a:gd name="connsiteX0" fmla="*/ 12019 w 42979"/>
                  <a:gd name="connsiteY0" fmla="*/ 0 h 65343"/>
                  <a:gd name="connsiteX1" fmla="*/ 18173 w 42979"/>
                  <a:gd name="connsiteY1" fmla="*/ 64616 h 65343"/>
                  <a:gd name="connsiteX2" fmla="*/ 12019 w 42979"/>
                  <a:gd name="connsiteY2" fmla="*/ 0 h 65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979" h="65343">
                    <a:moveTo>
                      <a:pt x="12019" y="0"/>
                    </a:moveTo>
                    <a:cubicBezTo>
                      <a:pt x="12019" y="0"/>
                      <a:pt x="-18750" y="61538"/>
                      <a:pt x="18173" y="64616"/>
                    </a:cubicBezTo>
                    <a:cubicBezTo>
                      <a:pt x="55096" y="70769"/>
                      <a:pt x="48942" y="36923"/>
                      <a:pt x="12019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5" name="任意多边形: 形状 244">
                <a:extLst>
                  <a:ext uri="{FF2B5EF4-FFF2-40B4-BE49-F238E27FC236}">
                    <a16:creationId xmlns:a16="http://schemas.microsoft.com/office/drawing/2014/main" id="{97CF9AD7-3FF9-440A-A044-27F9F6DD6BEB}"/>
                  </a:ext>
                </a:extLst>
              </p:cNvPr>
              <p:cNvSpPr/>
              <p:nvPr/>
            </p:nvSpPr>
            <p:spPr>
              <a:xfrm>
                <a:off x="2542152" y="360890"/>
                <a:ext cx="69241" cy="40417"/>
              </a:xfrm>
              <a:custGeom>
                <a:avLst/>
                <a:gdLst>
                  <a:gd name="connsiteX0" fmla="*/ 0 w 69241"/>
                  <a:gd name="connsiteY0" fmla="*/ 26059 h 40417"/>
                  <a:gd name="connsiteX1" fmla="*/ 61538 w 69241"/>
                  <a:gd name="connsiteY1" fmla="*/ 7597 h 40417"/>
                  <a:gd name="connsiteX2" fmla="*/ 0 w 69241"/>
                  <a:gd name="connsiteY2" fmla="*/ 26059 h 40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9241" h="40417">
                    <a:moveTo>
                      <a:pt x="0" y="26059"/>
                    </a:moveTo>
                    <a:cubicBezTo>
                      <a:pt x="0" y="26059"/>
                      <a:pt x="40000" y="-17018"/>
                      <a:pt x="61538" y="7597"/>
                    </a:cubicBezTo>
                    <a:cubicBezTo>
                      <a:pt x="83077" y="32213"/>
                      <a:pt x="58461" y="56828"/>
                      <a:pt x="0" y="26059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6" name="任意多边形: 形状 245">
                <a:extLst>
                  <a:ext uri="{FF2B5EF4-FFF2-40B4-BE49-F238E27FC236}">
                    <a16:creationId xmlns:a16="http://schemas.microsoft.com/office/drawing/2014/main" id="{D356B0EC-6A03-46CD-BB1D-743752DA79CD}"/>
                  </a:ext>
                </a:extLst>
              </p:cNvPr>
              <p:cNvSpPr/>
              <p:nvPr/>
            </p:nvSpPr>
            <p:spPr>
              <a:xfrm>
                <a:off x="2511383" y="362334"/>
                <a:ext cx="43076" cy="43076"/>
              </a:xfrm>
              <a:custGeom>
                <a:avLst/>
                <a:gdLst>
                  <a:gd name="connsiteX0" fmla="*/ 43077 w 43076"/>
                  <a:gd name="connsiteY0" fmla="*/ 21538 h 43076"/>
                  <a:gd name="connsiteX1" fmla="*/ 21539 w 43076"/>
                  <a:gd name="connsiteY1" fmla="*/ 0 h 43076"/>
                  <a:gd name="connsiteX2" fmla="*/ 0 w 43076"/>
                  <a:gd name="connsiteY2" fmla="*/ 21538 h 43076"/>
                  <a:gd name="connsiteX3" fmla="*/ 21539 w 43076"/>
                  <a:gd name="connsiteY3" fmla="*/ 43077 h 43076"/>
                  <a:gd name="connsiteX4" fmla="*/ 43077 w 43076"/>
                  <a:gd name="connsiteY4" fmla="*/ 21538 h 4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076" h="43076">
                    <a:moveTo>
                      <a:pt x="43077" y="21538"/>
                    </a:moveTo>
                    <a:cubicBezTo>
                      <a:pt x="43077" y="9231"/>
                      <a:pt x="33846" y="0"/>
                      <a:pt x="21539" y="0"/>
                    </a:cubicBezTo>
                    <a:cubicBezTo>
                      <a:pt x="9230" y="0"/>
                      <a:pt x="0" y="9231"/>
                      <a:pt x="0" y="21538"/>
                    </a:cubicBezTo>
                    <a:cubicBezTo>
                      <a:pt x="0" y="33846"/>
                      <a:pt x="9230" y="43077"/>
                      <a:pt x="21539" y="43077"/>
                    </a:cubicBezTo>
                    <a:cubicBezTo>
                      <a:pt x="33846" y="43077"/>
                      <a:pt x="43077" y="33846"/>
                      <a:pt x="43077" y="21538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47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2213403" y="134424"/>
              <a:ext cx="276441" cy="541756"/>
              <a:chOff x="2213403" y="134424"/>
              <a:chExt cx="276441" cy="541756"/>
            </a:xfrm>
          </p:grpSpPr>
          <p:sp>
            <p:nvSpPr>
              <p:cNvPr id="248" name="任意多边形: 形状 247">
                <a:extLst>
                  <a:ext uri="{FF2B5EF4-FFF2-40B4-BE49-F238E27FC236}">
                    <a16:creationId xmlns:a16="http://schemas.microsoft.com/office/drawing/2014/main" id="{ECF3674C-8875-45FD-A662-489824BB88B6}"/>
                  </a:ext>
                </a:extLst>
              </p:cNvPr>
              <p:cNvSpPr/>
              <p:nvPr/>
            </p:nvSpPr>
            <p:spPr>
              <a:xfrm>
                <a:off x="2315230" y="264642"/>
                <a:ext cx="174614" cy="411538"/>
              </a:xfrm>
              <a:custGeom>
                <a:avLst/>
                <a:gdLst>
                  <a:gd name="connsiteX0" fmla="*/ 165384 w 174614"/>
                  <a:gd name="connsiteY0" fmla="*/ 411539 h 411538"/>
                  <a:gd name="connsiteX1" fmla="*/ 165384 w 174614"/>
                  <a:gd name="connsiteY1" fmla="*/ 411539 h 411538"/>
                  <a:gd name="connsiteX2" fmla="*/ 174615 w 174614"/>
                  <a:gd name="connsiteY2" fmla="*/ 399231 h 411538"/>
                  <a:gd name="connsiteX3" fmla="*/ 17692 w 174614"/>
                  <a:gd name="connsiteY3" fmla="*/ 2308 h 411538"/>
                  <a:gd name="connsiteX4" fmla="*/ 2308 w 174614"/>
                  <a:gd name="connsiteY4" fmla="*/ 2308 h 411538"/>
                  <a:gd name="connsiteX5" fmla="*/ 2308 w 174614"/>
                  <a:gd name="connsiteY5" fmla="*/ 17692 h 411538"/>
                  <a:gd name="connsiteX6" fmla="*/ 153077 w 174614"/>
                  <a:gd name="connsiteY6" fmla="*/ 405385 h 411538"/>
                  <a:gd name="connsiteX7" fmla="*/ 165384 w 174614"/>
                  <a:gd name="connsiteY7" fmla="*/ 411539 h 41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4614" h="411538">
                    <a:moveTo>
                      <a:pt x="165384" y="411539"/>
                    </a:moveTo>
                    <a:lnTo>
                      <a:pt x="165384" y="411539"/>
                    </a:lnTo>
                    <a:cubicBezTo>
                      <a:pt x="171539" y="411539"/>
                      <a:pt x="174615" y="405385"/>
                      <a:pt x="174615" y="399231"/>
                    </a:cubicBezTo>
                    <a:cubicBezTo>
                      <a:pt x="171539" y="390000"/>
                      <a:pt x="110000" y="97692"/>
                      <a:pt x="17692" y="2308"/>
                    </a:cubicBezTo>
                    <a:cubicBezTo>
                      <a:pt x="14615" y="-769"/>
                      <a:pt x="5384" y="-769"/>
                      <a:pt x="2308" y="2308"/>
                    </a:cubicBezTo>
                    <a:cubicBezTo>
                      <a:pt x="-769" y="5385"/>
                      <a:pt x="-769" y="14615"/>
                      <a:pt x="2308" y="17692"/>
                    </a:cubicBezTo>
                    <a:cubicBezTo>
                      <a:pt x="91538" y="110000"/>
                      <a:pt x="153077" y="402308"/>
                      <a:pt x="153077" y="405385"/>
                    </a:cubicBezTo>
                    <a:cubicBezTo>
                      <a:pt x="156154" y="408462"/>
                      <a:pt x="159230" y="411539"/>
                      <a:pt x="165384" y="411539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9" name="任意多边形: 形状 248">
                <a:extLst>
                  <a:ext uri="{FF2B5EF4-FFF2-40B4-BE49-F238E27FC236}">
                    <a16:creationId xmlns:a16="http://schemas.microsoft.com/office/drawing/2014/main" id="{21DEB3B8-A74A-4B5F-A09C-4AF267CF1E2A}"/>
                  </a:ext>
                </a:extLst>
              </p:cNvPr>
              <p:cNvSpPr/>
              <p:nvPr/>
            </p:nvSpPr>
            <p:spPr>
              <a:xfrm>
                <a:off x="2326768" y="137479"/>
                <a:ext cx="109690" cy="107931"/>
              </a:xfrm>
              <a:custGeom>
                <a:avLst/>
                <a:gdLst>
                  <a:gd name="connsiteX0" fmla="*/ 0 w 109690"/>
                  <a:gd name="connsiteY0" fmla="*/ 107932 h 107931"/>
                  <a:gd name="connsiteX1" fmla="*/ 95385 w 109690"/>
                  <a:gd name="connsiteY1" fmla="*/ 21778 h 107931"/>
                  <a:gd name="connsiteX2" fmla="*/ 0 w 109690"/>
                  <a:gd name="connsiteY2" fmla="*/ 107932 h 1079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690" h="107931">
                    <a:moveTo>
                      <a:pt x="0" y="107932"/>
                    </a:moveTo>
                    <a:cubicBezTo>
                      <a:pt x="0" y="107932"/>
                      <a:pt x="33846" y="-58222"/>
                      <a:pt x="95385" y="21778"/>
                    </a:cubicBezTo>
                    <a:cubicBezTo>
                      <a:pt x="156923" y="101778"/>
                      <a:pt x="0" y="107932"/>
                      <a:pt x="0" y="107932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0" name="任意多边形: 形状 249">
                <a:extLst>
                  <a:ext uri="{FF2B5EF4-FFF2-40B4-BE49-F238E27FC236}">
                    <a16:creationId xmlns:a16="http://schemas.microsoft.com/office/drawing/2014/main" id="{25AA00A1-5C1D-4F38-9C77-33F44AC0902A}"/>
                  </a:ext>
                </a:extLst>
              </p:cNvPr>
              <p:cNvSpPr/>
              <p:nvPr/>
            </p:nvSpPr>
            <p:spPr>
              <a:xfrm>
                <a:off x="2252681" y="134424"/>
                <a:ext cx="71009" cy="120217"/>
              </a:xfrm>
              <a:custGeom>
                <a:avLst/>
                <a:gdLst>
                  <a:gd name="connsiteX0" fmla="*/ 71009 w 71009"/>
                  <a:gd name="connsiteY0" fmla="*/ 120218 h 120217"/>
                  <a:gd name="connsiteX1" fmla="*/ 31010 w 71009"/>
                  <a:gd name="connsiteY1" fmla="*/ 218 h 120217"/>
                  <a:gd name="connsiteX2" fmla="*/ 71009 w 71009"/>
                  <a:gd name="connsiteY2" fmla="*/ 120218 h 120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1009" h="120217">
                    <a:moveTo>
                      <a:pt x="71009" y="120218"/>
                    </a:moveTo>
                    <a:cubicBezTo>
                      <a:pt x="71009" y="120218"/>
                      <a:pt x="71009" y="-5936"/>
                      <a:pt x="31010" y="218"/>
                    </a:cubicBezTo>
                    <a:cubicBezTo>
                      <a:pt x="-5914" y="9449"/>
                      <a:pt x="-27452" y="64833"/>
                      <a:pt x="71009" y="120218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1" name="任意多边形: 形状 250">
                <a:extLst>
                  <a:ext uri="{FF2B5EF4-FFF2-40B4-BE49-F238E27FC236}">
                    <a16:creationId xmlns:a16="http://schemas.microsoft.com/office/drawing/2014/main" id="{95FA2FA0-5B94-408E-B0F2-EE4C09DA8EAB}"/>
                  </a:ext>
                </a:extLst>
              </p:cNvPr>
              <p:cNvSpPr/>
              <p:nvPr/>
            </p:nvSpPr>
            <p:spPr>
              <a:xfrm>
                <a:off x="2335998" y="254065"/>
                <a:ext cx="112574" cy="78912"/>
              </a:xfrm>
              <a:custGeom>
                <a:avLst/>
                <a:gdLst>
                  <a:gd name="connsiteX0" fmla="*/ 0 w 112574"/>
                  <a:gd name="connsiteY0" fmla="*/ 577 h 78912"/>
                  <a:gd name="connsiteX1" fmla="*/ 110769 w 112574"/>
                  <a:gd name="connsiteY1" fmla="*/ 46731 h 78912"/>
                  <a:gd name="connsiteX2" fmla="*/ 0 w 112574"/>
                  <a:gd name="connsiteY2" fmla="*/ 577 h 78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2574" h="78912">
                    <a:moveTo>
                      <a:pt x="0" y="577"/>
                    </a:moveTo>
                    <a:cubicBezTo>
                      <a:pt x="0" y="577"/>
                      <a:pt x="129231" y="-8654"/>
                      <a:pt x="110769" y="46731"/>
                    </a:cubicBezTo>
                    <a:cubicBezTo>
                      <a:pt x="89232" y="105192"/>
                      <a:pt x="9231" y="80577"/>
                      <a:pt x="0" y="577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2" name="任意多边形: 形状 251">
                <a:extLst>
                  <a:ext uri="{FF2B5EF4-FFF2-40B4-BE49-F238E27FC236}">
                    <a16:creationId xmlns:a16="http://schemas.microsoft.com/office/drawing/2014/main" id="{74D5A903-B758-42F3-B79C-7C4CFC278956}"/>
                  </a:ext>
                </a:extLst>
              </p:cNvPr>
              <p:cNvSpPr/>
              <p:nvPr/>
            </p:nvSpPr>
            <p:spPr>
              <a:xfrm>
                <a:off x="2292528" y="266949"/>
                <a:ext cx="59792" cy="98227"/>
              </a:xfrm>
              <a:custGeom>
                <a:avLst/>
                <a:gdLst>
                  <a:gd name="connsiteX0" fmla="*/ 34240 w 59792"/>
                  <a:gd name="connsiteY0" fmla="*/ 0 h 98227"/>
                  <a:gd name="connsiteX1" fmla="*/ 37317 w 59792"/>
                  <a:gd name="connsiteY1" fmla="*/ 95385 h 98227"/>
                  <a:gd name="connsiteX2" fmla="*/ 34240 w 59792"/>
                  <a:gd name="connsiteY2" fmla="*/ 0 h 98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792" h="98227">
                    <a:moveTo>
                      <a:pt x="34240" y="0"/>
                    </a:moveTo>
                    <a:cubicBezTo>
                      <a:pt x="34240" y="0"/>
                      <a:pt x="89624" y="80000"/>
                      <a:pt x="37317" y="95385"/>
                    </a:cubicBezTo>
                    <a:cubicBezTo>
                      <a:pt x="-14991" y="110769"/>
                      <a:pt x="-8837" y="61538"/>
                      <a:pt x="34240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3" name="任意多边形: 形状 252">
                <a:extLst>
                  <a:ext uri="{FF2B5EF4-FFF2-40B4-BE49-F238E27FC236}">
                    <a16:creationId xmlns:a16="http://schemas.microsoft.com/office/drawing/2014/main" id="{5C3E8467-1D48-4DC7-A9E9-A235543FC8D9}"/>
                  </a:ext>
                </a:extLst>
              </p:cNvPr>
              <p:cNvSpPr/>
              <p:nvPr/>
            </p:nvSpPr>
            <p:spPr>
              <a:xfrm>
                <a:off x="2213403" y="233977"/>
                <a:ext cx="101057" cy="62146"/>
              </a:xfrm>
              <a:custGeom>
                <a:avLst/>
                <a:gdLst>
                  <a:gd name="connsiteX0" fmla="*/ 101057 w 101057"/>
                  <a:gd name="connsiteY0" fmla="*/ 29895 h 62146"/>
                  <a:gd name="connsiteX1" fmla="*/ 8750 w 101057"/>
                  <a:gd name="connsiteY1" fmla="*/ 14511 h 62146"/>
                  <a:gd name="connsiteX2" fmla="*/ 101057 w 101057"/>
                  <a:gd name="connsiteY2" fmla="*/ 29895 h 62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057" h="62146">
                    <a:moveTo>
                      <a:pt x="101057" y="29895"/>
                    </a:moveTo>
                    <a:cubicBezTo>
                      <a:pt x="101057" y="29895"/>
                      <a:pt x="36442" y="-25489"/>
                      <a:pt x="8750" y="14511"/>
                    </a:cubicBezTo>
                    <a:cubicBezTo>
                      <a:pt x="-18942" y="57588"/>
                      <a:pt x="21057" y="88357"/>
                      <a:pt x="101057" y="29895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4" name="任意多边形: 形状 253">
                <a:extLst>
                  <a:ext uri="{FF2B5EF4-FFF2-40B4-BE49-F238E27FC236}">
                    <a16:creationId xmlns:a16="http://schemas.microsoft.com/office/drawing/2014/main" id="{05119A8C-4C20-495F-85A9-28ED13A71218}"/>
                  </a:ext>
                </a:extLst>
              </p:cNvPr>
              <p:cNvSpPr/>
              <p:nvPr/>
            </p:nvSpPr>
            <p:spPr>
              <a:xfrm>
                <a:off x="2295524" y="229552"/>
                <a:ext cx="59410" cy="59410"/>
              </a:xfrm>
              <a:custGeom>
                <a:avLst/>
                <a:gdLst>
                  <a:gd name="connsiteX0" fmla="*/ 475 w 59410"/>
                  <a:gd name="connsiteY0" fmla="*/ 34321 h 59410"/>
                  <a:gd name="connsiteX1" fmla="*/ 25090 w 59410"/>
                  <a:gd name="connsiteY1" fmla="*/ 475 h 59410"/>
                  <a:gd name="connsiteX2" fmla="*/ 58936 w 59410"/>
                  <a:gd name="connsiteY2" fmla="*/ 25090 h 59410"/>
                  <a:gd name="connsiteX3" fmla="*/ 34321 w 59410"/>
                  <a:gd name="connsiteY3" fmla="*/ 58936 h 59410"/>
                  <a:gd name="connsiteX4" fmla="*/ 475 w 59410"/>
                  <a:gd name="connsiteY4" fmla="*/ 34321 h 59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410" h="59410">
                    <a:moveTo>
                      <a:pt x="475" y="34321"/>
                    </a:moveTo>
                    <a:cubicBezTo>
                      <a:pt x="-2602" y="18936"/>
                      <a:pt x="9705" y="3552"/>
                      <a:pt x="25090" y="475"/>
                    </a:cubicBezTo>
                    <a:cubicBezTo>
                      <a:pt x="40474" y="-2602"/>
                      <a:pt x="55859" y="9705"/>
                      <a:pt x="58936" y="25090"/>
                    </a:cubicBezTo>
                    <a:cubicBezTo>
                      <a:pt x="62013" y="40475"/>
                      <a:pt x="49706" y="55859"/>
                      <a:pt x="34321" y="58936"/>
                    </a:cubicBezTo>
                    <a:cubicBezTo>
                      <a:pt x="18936" y="62013"/>
                      <a:pt x="3552" y="49705"/>
                      <a:pt x="475" y="34321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55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2406768" y="483440"/>
              <a:ext cx="128461" cy="112851"/>
              <a:chOff x="2406768" y="483440"/>
              <a:chExt cx="128461" cy="112851"/>
            </a:xfrm>
          </p:grpSpPr>
          <p:sp>
            <p:nvSpPr>
              <p:cNvPr id="256" name="任意多边形: 形状 255">
                <a:extLst>
                  <a:ext uri="{FF2B5EF4-FFF2-40B4-BE49-F238E27FC236}">
                    <a16:creationId xmlns:a16="http://schemas.microsoft.com/office/drawing/2014/main" id="{A86CC31F-DBFE-427C-82EB-90CFAF6EF3E8}"/>
                  </a:ext>
                </a:extLst>
              </p:cNvPr>
              <p:cNvSpPr/>
              <p:nvPr/>
            </p:nvSpPr>
            <p:spPr>
              <a:xfrm>
                <a:off x="2417610" y="487524"/>
                <a:ext cx="116690" cy="108767"/>
              </a:xfrm>
              <a:custGeom>
                <a:avLst/>
                <a:gdLst>
                  <a:gd name="connsiteX0" fmla="*/ 1465 w 116690"/>
                  <a:gd name="connsiteY0" fmla="*/ 47118 h 108767"/>
                  <a:gd name="connsiteX1" fmla="*/ 23004 w 116690"/>
                  <a:gd name="connsiteY1" fmla="*/ 44041 h 108767"/>
                  <a:gd name="connsiteX2" fmla="*/ 69158 w 116690"/>
                  <a:gd name="connsiteY2" fmla="*/ 56348 h 108767"/>
                  <a:gd name="connsiteX3" fmla="*/ 81465 w 116690"/>
                  <a:gd name="connsiteY3" fmla="*/ 108656 h 108767"/>
                  <a:gd name="connsiteX4" fmla="*/ 115312 w 116690"/>
                  <a:gd name="connsiteY4" fmla="*/ 37887 h 108767"/>
                  <a:gd name="connsiteX5" fmla="*/ 41465 w 116690"/>
                  <a:gd name="connsiteY5" fmla="*/ 964 h 108767"/>
                  <a:gd name="connsiteX6" fmla="*/ 1465 w 116690"/>
                  <a:gd name="connsiteY6" fmla="*/ 47118 h 108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6690" h="108767">
                    <a:moveTo>
                      <a:pt x="1465" y="47118"/>
                    </a:moveTo>
                    <a:cubicBezTo>
                      <a:pt x="4542" y="53271"/>
                      <a:pt x="16850" y="44041"/>
                      <a:pt x="23004" y="44041"/>
                    </a:cubicBezTo>
                    <a:cubicBezTo>
                      <a:pt x="41465" y="40964"/>
                      <a:pt x="56849" y="40964"/>
                      <a:pt x="69158" y="56348"/>
                    </a:cubicBezTo>
                    <a:cubicBezTo>
                      <a:pt x="63003" y="74810"/>
                      <a:pt x="72234" y="99425"/>
                      <a:pt x="81465" y="108656"/>
                    </a:cubicBezTo>
                    <a:cubicBezTo>
                      <a:pt x="84542" y="111733"/>
                      <a:pt x="124542" y="50195"/>
                      <a:pt x="115312" y="37887"/>
                    </a:cubicBezTo>
                    <a:cubicBezTo>
                      <a:pt x="103003" y="19425"/>
                      <a:pt x="66081" y="-5190"/>
                      <a:pt x="41465" y="964"/>
                    </a:cubicBezTo>
                    <a:cubicBezTo>
                      <a:pt x="29157" y="4041"/>
                      <a:pt x="-7765" y="31733"/>
                      <a:pt x="1465" y="47118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7" name="任意多边形: 形状 256">
                <a:extLst>
                  <a:ext uri="{FF2B5EF4-FFF2-40B4-BE49-F238E27FC236}">
                    <a16:creationId xmlns:a16="http://schemas.microsoft.com/office/drawing/2014/main" id="{D6F77796-EC5A-4AA0-976C-D4FE8B32F992}"/>
                  </a:ext>
                </a:extLst>
              </p:cNvPr>
              <p:cNvSpPr/>
              <p:nvPr/>
            </p:nvSpPr>
            <p:spPr>
              <a:xfrm>
                <a:off x="2406768" y="483440"/>
                <a:ext cx="128461" cy="103509"/>
              </a:xfrm>
              <a:custGeom>
                <a:avLst/>
                <a:gdLst>
                  <a:gd name="connsiteX0" fmla="*/ 83076 w 128461"/>
                  <a:gd name="connsiteY0" fmla="*/ 103509 h 103509"/>
                  <a:gd name="connsiteX1" fmla="*/ 76923 w 128461"/>
                  <a:gd name="connsiteY1" fmla="*/ 100433 h 103509"/>
                  <a:gd name="connsiteX2" fmla="*/ 73846 w 128461"/>
                  <a:gd name="connsiteY2" fmla="*/ 63510 h 103509"/>
                  <a:gd name="connsiteX3" fmla="*/ 30769 w 128461"/>
                  <a:gd name="connsiteY3" fmla="*/ 60432 h 103509"/>
                  <a:gd name="connsiteX4" fmla="*/ 6153 w 128461"/>
                  <a:gd name="connsiteY4" fmla="*/ 60432 h 103509"/>
                  <a:gd name="connsiteX5" fmla="*/ 0 w 128461"/>
                  <a:gd name="connsiteY5" fmla="*/ 45048 h 103509"/>
                  <a:gd name="connsiteX6" fmla="*/ 46154 w 128461"/>
                  <a:gd name="connsiteY6" fmla="*/ 1971 h 103509"/>
                  <a:gd name="connsiteX7" fmla="*/ 126154 w 128461"/>
                  <a:gd name="connsiteY7" fmla="*/ 41971 h 103509"/>
                  <a:gd name="connsiteX8" fmla="*/ 126154 w 128461"/>
                  <a:gd name="connsiteY8" fmla="*/ 51202 h 103509"/>
                  <a:gd name="connsiteX9" fmla="*/ 116923 w 128461"/>
                  <a:gd name="connsiteY9" fmla="*/ 51202 h 103509"/>
                  <a:gd name="connsiteX10" fmla="*/ 49231 w 128461"/>
                  <a:gd name="connsiteY10" fmla="*/ 14279 h 103509"/>
                  <a:gd name="connsiteX11" fmla="*/ 9230 w 128461"/>
                  <a:gd name="connsiteY11" fmla="*/ 48125 h 103509"/>
                  <a:gd name="connsiteX12" fmla="*/ 9230 w 128461"/>
                  <a:gd name="connsiteY12" fmla="*/ 51202 h 103509"/>
                  <a:gd name="connsiteX13" fmla="*/ 24615 w 128461"/>
                  <a:gd name="connsiteY13" fmla="*/ 48125 h 103509"/>
                  <a:gd name="connsiteX14" fmla="*/ 80000 w 128461"/>
                  <a:gd name="connsiteY14" fmla="*/ 57356 h 103509"/>
                  <a:gd name="connsiteX15" fmla="*/ 83076 w 128461"/>
                  <a:gd name="connsiteY15" fmla="*/ 63510 h 103509"/>
                  <a:gd name="connsiteX16" fmla="*/ 83076 w 128461"/>
                  <a:gd name="connsiteY16" fmla="*/ 94279 h 103509"/>
                  <a:gd name="connsiteX17" fmla="*/ 80000 w 128461"/>
                  <a:gd name="connsiteY17" fmla="*/ 103509 h 103509"/>
                  <a:gd name="connsiteX18" fmla="*/ 83076 w 128461"/>
                  <a:gd name="connsiteY18" fmla="*/ 103509 h 103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8461" h="103509">
                    <a:moveTo>
                      <a:pt x="83076" y="103509"/>
                    </a:moveTo>
                    <a:cubicBezTo>
                      <a:pt x="80000" y="103509"/>
                      <a:pt x="80000" y="103509"/>
                      <a:pt x="76923" y="100433"/>
                    </a:cubicBezTo>
                    <a:cubicBezTo>
                      <a:pt x="67692" y="88125"/>
                      <a:pt x="70769" y="69663"/>
                      <a:pt x="73846" y="63510"/>
                    </a:cubicBezTo>
                    <a:cubicBezTo>
                      <a:pt x="58461" y="54279"/>
                      <a:pt x="46154" y="57356"/>
                      <a:pt x="30769" y="60432"/>
                    </a:cubicBezTo>
                    <a:cubicBezTo>
                      <a:pt x="21538" y="63510"/>
                      <a:pt x="12308" y="63510"/>
                      <a:pt x="6153" y="60432"/>
                    </a:cubicBezTo>
                    <a:cubicBezTo>
                      <a:pt x="3077" y="57356"/>
                      <a:pt x="0" y="51202"/>
                      <a:pt x="0" y="45048"/>
                    </a:cubicBezTo>
                    <a:cubicBezTo>
                      <a:pt x="3077" y="32740"/>
                      <a:pt x="18462" y="11202"/>
                      <a:pt x="46154" y="1971"/>
                    </a:cubicBezTo>
                    <a:cubicBezTo>
                      <a:pt x="80000" y="-10337"/>
                      <a:pt x="126154" y="38894"/>
                      <a:pt x="126154" y="41971"/>
                    </a:cubicBezTo>
                    <a:cubicBezTo>
                      <a:pt x="129230" y="45048"/>
                      <a:pt x="129230" y="48125"/>
                      <a:pt x="126154" y="51202"/>
                    </a:cubicBezTo>
                    <a:cubicBezTo>
                      <a:pt x="123077" y="54279"/>
                      <a:pt x="120000" y="54279"/>
                      <a:pt x="116923" y="51202"/>
                    </a:cubicBezTo>
                    <a:cubicBezTo>
                      <a:pt x="104615" y="38894"/>
                      <a:pt x="70769" y="8125"/>
                      <a:pt x="49231" y="14279"/>
                    </a:cubicBezTo>
                    <a:cubicBezTo>
                      <a:pt x="27692" y="23509"/>
                      <a:pt x="12308" y="38894"/>
                      <a:pt x="9230" y="48125"/>
                    </a:cubicBezTo>
                    <a:cubicBezTo>
                      <a:pt x="9230" y="51202"/>
                      <a:pt x="9230" y="51202"/>
                      <a:pt x="9230" y="51202"/>
                    </a:cubicBezTo>
                    <a:cubicBezTo>
                      <a:pt x="12308" y="51202"/>
                      <a:pt x="18462" y="51202"/>
                      <a:pt x="24615" y="48125"/>
                    </a:cubicBezTo>
                    <a:cubicBezTo>
                      <a:pt x="40000" y="45048"/>
                      <a:pt x="61538" y="38894"/>
                      <a:pt x="80000" y="57356"/>
                    </a:cubicBezTo>
                    <a:cubicBezTo>
                      <a:pt x="83076" y="60432"/>
                      <a:pt x="83076" y="60432"/>
                      <a:pt x="83076" y="63510"/>
                    </a:cubicBezTo>
                    <a:cubicBezTo>
                      <a:pt x="80000" y="69663"/>
                      <a:pt x="76923" y="85048"/>
                      <a:pt x="83076" y="94279"/>
                    </a:cubicBezTo>
                    <a:cubicBezTo>
                      <a:pt x="86153" y="97356"/>
                      <a:pt x="83076" y="100433"/>
                      <a:pt x="80000" y="103509"/>
                    </a:cubicBezTo>
                    <a:cubicBezTo>
                      <a:pt x="83076" y="103509"/>
                      <a:pt x="83076" y="103509"/>
                      <a:pt x="83076" y="10350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58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205227" y="1356646"/>
              <a:ext cx="2086602" cy="1850680"/>
              <a:chOff x="205227" y="1356646"/>
              <a:chExt cx="2086602" cy="1850680"/>
            </a:xfrm>
          </p:grpSpPr>
          <p:grpSp>
            <p:nvGrpSpPr>
              <p:cNvPr id="259" name="图形 1">
                <a:extLst>
                  <a:ext uri="{FF2B5EF4-FFF2-40B4-BE49-F238E27FC236}">
                    <a16:creationId xmlns:a16="http://schemas.microsoft.com/office/drawing/2014/main" id="{76A1D99D-5BD3-43EC-8DFB-13E2A204913A}"/>
                  </a:ext>
                </a:extLst>
              </p:cNvPr>
              <p:cNvGrpSpPr/>
              <p:nvPr/>
            </p:nvGrpSpPr>
            <p:grpSpPr>
              <a:xfrm>
                <a:off x="1167955" y="1419943"/>
                <a:ext cx="1123874" cy="1787383"/>
                <a:chOff x="1167955" y="1419943"/>
                <a:chExt cx="1123874" cy="1787383"/>
              </a:xfrm>
            </p:grpSpPr>
            <p:sp>
              <p:nvSpPr>
                <p:cNvPr id="260" name="任意多边形: 形状 259">
                  <a:extLst>
                    <a:ext uri="{FF2B5EF4-FFF2-40B4-BE49-F238E27FC236}">
                      <a16:creationId xmlns:a16="http://schemas.microsoft.com/office/drawing/2014/main" id="{BD08CE4C-7D62-42CF-A6DD-8629ABCA94CB}"/>
                    </a:ext>
                  </a:extLst>
                </p:cNvPr>
                <p:cNvSpPr/>
                <p:nvPr/>
              </p:nvSpPr>
              <p:spPr>
                <a:xfrm>
                  <a:off x="1458189" y="1768189"/>
                  <a:ext cx="540322" cy="1439137"/>
                </a:xfrm>
                <a:custGeom>
                  <a:avLst/>
                  <a:gdLst>
                    <a:gd name="connsiteX0" fmla="*/ 511655 w 540322"/>
                    <a:gd name="connsiteY0" fmla="*/ 6452 h 1439137"/>
                    <a:gd name="connsiteX1" fmla="*/ 173194 w 540322"/>
                    <a:gd name="connsiteY1" fmla="*/ 655683 h 1439137"/>
                    <a:gd name="connsiteX2" fmla="*/ 886 w 540322"/>
                    <a:gd name="connsiteY2" fmla="*/ 1421837 h 1439137"/>
                    <a:gd name="connsiteX3" fmla="*/ 28578 w 540322"/>
                    <a:gd name="connsiteY3" fmla="*/ 1427991 h 1439137"/>
                    <a:gd name="connsiteX4" fmla="*/ 194733 w 540322"/>
                    <a:gd name="connsiteY4" fmla="*/ 683375 h 1439137"/>
                    <a:gd name="connsiteX5" fmla="*/ 539347 w 540322"/>
                    <a:gd name="connsiteY5" fmla="*/ 18760 h 1439137"/>
                    <a:gd name="connsiteX6" fmla="*/ 511655 w 540322"/>
                    <a:gd name="connsiteY6" fmla="*/ 6452 h 1439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40322" h="1439137">
                      <a:moveTo>
                        <a:pt x="511655" y="6452"/>
                      </a:moveTo>
                      <a:cubicBezTo>
                        <a:pt x="367040" y="203375"/>
                        <a:pt x="250117" y="421837"/>
                        <a:pt x="173194" y="655683"/>
                      </a:cubicBezTo>
                      <a:cubicBezTo>
                        <a:pt x="87040" y="904914"/>
                        <a:pt x="80886" y="1172607"/>
                        <a:pt x="886" y="1421837"/>
                      </a:cubicBezTo>
                      <a:cubicBezTo>
                        <a:pt x="-5268" y="1440299"/>
                        <a:pt x="22425" y="1446452"/>
                        <a:pt x="28578" y="1427991"/>
                      </a:cubicBezTo>
                      <a:cubicBezTo>
                        <a:pt x="105501" y="1184914"/>
                        <a:pt x="114732" y="926453"/>
                        <a:pt x="194733" y="683375"/>
                      </a:cubicBezTo>
                      <a:cubicBezTo>
                        <a:pt x="271656" y="443376"/>
                        <a:pt x="388578" y="221837"/>
                        <a:pt x="539347" y="18760"/>
                      </a:cubicBezTo>
                      <a:cubicBezTo>
                        <a:pt x="545502" y="6452"/>
                        <a:pt x="520887" y="-8932"/>
                        <a:pt x="511655" y="6452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1" name="任意多边形: 形状 260">
                  <a:extLst>
                    <a:ext uri="{FF2B5EF4-FFF2-40B4-BE49-F238E27FC236}">
                      <a16:creationId xmlns:a16="http://schemas.microsoft.com/office/drawing/2014/main" id="{98EECD28-1093-4748-BE3D-83E1B911CD82}"/>
                    </a:ext>
                  </a:extLst>
                </p:cNvPr>
                <p:cNvSpPr/>
                <p:nvPr/>
              </p:nvSpPr>
              <p:spPr>
                <a:xfrm>
                  <a:off x="1954460" y="1438488"/>
                  <a:ext cx="313459" cy="362988"/>
                </a:xfrm>
                <a:custGeom>
                  <a:avLst/>
                  <a:gdLst>
                    <a:gd name="connsiteX0" fmla="*/ 301539 w 313459"/>
                    <a:gd name="connsiteY0" fmla="*/ 19231 h 362988"/>
                    <a:gd name="connsiteX1" fmla="*/ 267693 w 313459"/>
                    <a:gd name="connsiteY1" fmla="*/ 769 h 362988"/>
                    <a:gd name="connsiteX2" fmla="*/ 0 w 313459"/>
                    <a:gd name="connsiteY2" fmla="*/ 336154 h 362988"/>
                    <a:gd name="connsiteX3" fmla="*/ 40001 w 313459"/>
                    <a:gd name="connsiteY3" fmla="*/ 360769 h 362988"/>
                    <a:gd name="connsiteX4" fmla="*/ 61538 w 313459"/>
                    <a:gd name="connsiteY4" fmla="*/ 357692 h 362988"/>
                    <a:gd name="connsiteX5" fmla="*/ 270770 w 313459"/>
                    <a:gd name="connsiteY5" fmla="*/ 234615 h 362988"/>
                    <a:gd name="connsiteX6" fmla="*/ 301539 w 313459"/>
                    <a:gd name="connsiteY6" fmla="*/ 19231 h 362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3459" h="362988">
                      <a:moveTo>
                        <a:pt x="301539" y="19231"/>
                      </a:moveTo>
                      <a:cubicBezTo>
                        <a:pt x="295385" y="3846"/>
                        <a:pt x="283077" y="-2308"/>
                        <a:pt x="267693" y="769"/>
                      </a:cubicBezTo>
                      <a:cubicBezTo>
                        <a:pt x="107692" y="37692"/>
                        <a:pt x="3077" y="173077"/>
                        <a:pt x="0" y="336154"/>
                      </a:cubicBezTo>
                      <a:cubicBezTo>
                        <a:pt x="0" y="360769"/>
                        <a:pt x="24616" y="366923"/>
                        <a:pt x="40001" y="360769"/>
                      </a:cubicBezTo>
                      <a:cubicBezTo>
                        <a:pt x="46154" y="363846"/>
                        <a:pt x="52308" y="360769"/>
                        <a:pt x="61538" y="357692"/>
                      </a:cubicBezTo>
                      <a:cubicBezTo>
                        <a:pt x="135384" y="314615"/>
                        <a:pt x="215385" y="308462"/>
                        <a:pt x="270770" y="234615"/>
                      </a:cubicBezTo>
                      <a:cubicBezTo>
                        <a:pt x="316924" y="173077"/>
                        <a:pt x="323077" y="93077"/>
                        <a:pt x="301539" y="19231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2" name="任意多边形: 形状 261">
                  <a:extLst>
                    <a:ext uri="{FF2B5EF4-FFF2-40B4-BE49-F238E27FC236}">
                      <a16:creationId xmlns:a16="http://schemas.microsoft.com/office/drawing/2014/main" id="{441B0FFF-9BE8-4CD4-B277-FF8F2FF46D3A}"/>
                    </a:ext>
                  </a:extLst>
                </p:cNvPr>
                <p:cNvSpPr/>
                <p:nvPr/>
              </p:nvSpPr>
              <p:spPr>
                <a:xfrm>
                  <a:off x="1712316" y="1419943"/>
                  <a:ext cx="579514" cy="555526"/>
                </a:xfrm>
                <a:custGeom>
                  <a:avLst/>
                  <a:gdLst>
                    <a:gd name="connsiteX0" fmla="*/ 577529 w 579514"/>
                    <a:gd name="connsiteY0" fmla="*/ 453160 h 555526"/>
                    <a:gd name="connsiteX1" fmla="*/ 408298 w 579514"/>
                    <a:gd name="connsiteY1" fmla="*/ 416236 h 555526"/>
                    <a:gd name="connsiteX2" fmla="*/ 205222 w 579514"/>
                    <a:gd name="connsiteY2" fmla="*/ 459313 h 555526"/>
                    <a:gd name="connsiteX3" fmla="*/ 69837 w 579514"/>
                    <a:gd name="connsiteY3" fmla="*/ 13160 h 555526"/>
                    <a:gd name="connsiteX4" fmla="*/ 17529 w 579514"/>
                    <a:gd name="connsiteY4" fmla="*/ 19314 h 555526"/>
                    <a:gd name="connsiteX5" fmla="*/ 131375 w 579514"/>
                    <a:gd name="connsiteY5" fmla="*/ 493160 h 555526"/>
                    <a:gd name="connsiteX6" fmla="*/ 143683 w 579514"/>
                    <a:gd name="connsiteY6" fmla="*/ 539313 h 555526"/>
                    <a:gd name="connsiteX7" fmla="*/ 577529 w 579514"/>
                    <a:gd name="connsiteY7" fmla="*/ 453160 h 555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79514" h="555526">
                      <a:moveTo>
                        <a:pt x="577529" y="453160"/>
                      </a:moveTo>
                      <a:cubicBezTo>
                        <a:pt x="562144" y="394698"/>
                        <a:pt x="448298" y="416236"/>
                        <a:pt x="408298" y="416236"/>
                      </a:cubicBezTo>
                      <a:cubicBezTo>
                        <a:pt x="337529" y="419314"/>
                        <a:pt x="269836" y="431621"/>
                        <a:pt x="205222" y="459313"/>
                      </a:cubicBezTo>
                      <a:cubicBezTo>
                        <a:pt x="189837" y="302390"/>
                        <a:pt x="168298" y="142390"/>
                        <a:pt x="69837" y="13160"/>
                      </a:cubicBezTo>
                      <a:cubicBezTo>
                        <a:pt x="57529" y="-5302"/>
                        <a:pt x="23683" y="-5302"/>
                        <a:pt x="17529" y="19314"/>
                      </a:cubicBezTo>
                      <a:cubicBezTo>
                        <a:pt x="-22471" y="207006"/>
                        <a:pt x="2144" y="351621"/>
                        <a:pt x="131375" y="493160"/>
                      </a:cubicBezTo>
                      <a:cubicBezTo>
                        <a:pt x="119067" y="508544"/>
                        <a:pt x="119067" y="533160"/>
                        <a:pt x="143683" y="539313"/>
                      </a:cubicBezTo>
                      <a:cubicBezTo>
                        <a:pt x="202144" y="554698"/>
                        <a:pt x="611375" y="591621"/>
                        <a:pt x="577529" y="453160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3" name="任意多边形: 形状 262">
                  <a:extLst>
                    <a:ext uri="{FF2B5EF4-FFF2-40B4-BE49-F238E27FC236}">
                      <a16:creationId xmlns:a16="http://schemas.microsoft.com/office/drawing/2014/main" id="{BE93CC4D-41F3-4F00-A779-E5F417768208}"/>
                    </a:ext>
                  </a:extLst>
                </p:cNvPr>
                <p:cNvSpPr/>
                <p:nvPr/>
              </p:nvSpPr>
              <p:spPr>
                <a:xfrm>
                  <a:off x="1561755" y="1710959"/>
                  <a:ext cx="562041" cy="465586"/>
                </a:xfrm>
                <a:custGeom>
                  <a:avLst/>
                  <a:gdLst>
                    <a:gd name="connsiteX0" fmla="*/ 441936 w 562041"/>
                    <a:gd name="connsiteY0" fmla="*/ 322144 h 465586"/>
                    <a:gd name="connsiteX1" fmla="*/ 257320 w 562041"/>
                    <a:gd name="connsiteY1" fmla="*/ 343682 h 465586"/>
                    <a:gd name="connsiteX2" fmla="*/ 174243 w 562041"/>
                    <a:gd name="connsiteY2" fmla="*/ 122144 h 465586"/>
                    <a:gd name="connsiteX3" fmla="*/ 35782 w 562041"/>
                    <a:gd name="connsiteY3" fmla="*/ 5221 h 465586"/>
                    <a:gd name="connsiteX4" fmla="*/ 17320 w 562041"/>
                    <a:gd name="connsiteY4" fmla="*/ 199067 h 465586"/>
                    <a:gd name="connsiteX5" fmla="*/ 177320 w 562041"/>
                    <a:gd name="connsiteY5" fmla="*/ 408298 h 465586"/>
                    <a:gd name="connsiteX6" fmla="*/ 192705 w 562041"/>
                    <a:gd name="connsiteY6" fmla="*/ 451375 h 465586"/>
                    <a:gd name="connsiteX7" fmla="*/ 463474 w 562041"/>
                    <a:gd name="connsiteY7" fmla="*/ 451375 h 465586"/>
                    <a:gd name="connsiteX8" fmla="*/ 561935 w 562041"/>
                    <a:gd name="connsiteY8" fmla="*/ 389836 h 465586"/>
                    <a:gd name="connsiteX9" fmla="*/ 441936 w 562041"/>
                    <a:gd name="connsiteY9" fmla="*/ 322144 h 4655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62041" h="465586">
                      <a:moveTo>
                        <a:pt x="441936" y="322144"/>
                      </a:moveTo>
                      <a:cubicBezTo>
                        <a:pt x="377320" y="315990"/>
                        <a:pt x="312704" y="315990"/>
                        <a:pt x="257320" y="343682"/>
                      </a:cubicBezTo>
                      <a:cubicBezTo>
                        <a:pt x="248089" y="263682"/>
                        <a:pt x="220397" y="189836"/>
                        <a:pt x="174243" y="122144"/>
                      </a:cubicBezTo>
                      <a:cubicBezTo>
                        <a:pt x="152705" y="88298"/>
                        <a:pt x="91167" y="-25548"/>
                        <a:pt x="35782" y="5221"/>
                      </a:cubicBezTo>
                      <a:cubicBezTo>
                        <a:pt x="-19603" y="35990"/>
                        <a:pt x="1935" y="152913"/>
                        <a:pt x="17320" y="199067"/>
                      </a:cubicBezTo>
                      <a:cubicBezTo>
                        <a:pt x="45013" y="285221"/>
                        <a:pt x="109628" y="349836"/>
                        <a:pt x="177320" y="408298"/>
                      </a:cubicBezTo>
                      <a:cubicBezTo>
                        <a:pt x="168090" y="423682"/>
                        <a:pt x="171166" y="445221"/>
                        <a:pt x="192705" y="451375"/>
                      </a:cubicBezTo>
                      <a:cubicBezTo>
                        <a:pt x="278859" y="475990"/>
                        <a:pt x="377320" y="463682"/>
                        <a:pt x="463474" y="451375"/>
                      </a:cubicBezTo>
                      <a:cubicBezTo>
                        <a:pt x="500397" y="448298"/>
                        <a:pt x="565013" y="439067"/>
                        <a:pt x="561935" y="389836"/>
                      </a:cubicBezTo>
                      <a:cubicBezTo>
                        <a:pt x="558858" y="334452"/>
                        <a:pt x="485012" y="325221"/>
                        <a:pt x="441936" y="322144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4" name="任意多边形: 形状 263">
                  <a:extLst>
                    <a:ext uri="{FF2B5EF4-FFF2-40B4-BE49-F238E27FC236}">
                      <a16:creationId xmlns:a16="http://schemas.microsoft.com/office/drawing/2014/main" id="{F8A0B7B2-7DCC-4628-A9BE-0670A45FDF7E}"/>
                    </a:ext>
                  </a:extLst>
                </p:cNvPr>
                <p:cNvSpPr/>
                <p:nvPr/>
              </p:nvSpPr>
              <p:spPr>
                <a:xfrm>
                  <a:off x="1465303" y="1973841"/>
                  <a:ext cx="631454" cy="417823"/>
                </a:xfrm>
                <a:custGeom>
                  <a:avLst/>
                  <a:gdLst>
                    <a:gd name="connsiteX0" fmla="*/ 630695 w 631454"/>
                    <a:gd name="connsiteY0" fmla="*/ 280801 h 417823"/>
                    <a:gd name="connsiteX1" fmla="*/ 470695 w 631454"/>
                    <a:gd name="connsiteY1" fmla="*/ 240800 h 417823"/>
                    <a:gd name="connsiteX2" fmla="*/ 258387 w 631454"/>
                    <a:gd name="connsiteY2" fmla="*/ 311570 h 417823"/>
                    <a:gd name="connsiteX3" fmla="*/ 203003 w 631454"/>
                    <a:gd name="connsiteY3" fmla="*/ 142339 h 417823"/>
                    <a:gd name="connsiteX4" fmla="*/ 43003 w 631454"/>
                    <a:gd name="connsiteY4" fmla="*/ 800 h 417823"/>
                    <a:gd name="connsiteX5" fmla="*/ 12233 w 631454"/>
                    <a:gd name="connsiteY5" fmla="*/ 13108 h 417823"/>
                    <a:gd name="connsiteX6" fmla="*/ 33772 w 631454"/>
                    <a:gd name="connsiteY6" fmla="*/ 213108 h 417823"/>
                    <a:gd name="connsiteX7" fmla="*/ 178388 w 631454"/>
                    <a:gd name="connsiteY7" fmla="*/ 379262 h 417823"/>
                    <a:gd name="connsiteX8" fmla="*/ 203003 w 631454"/>
                    <a:gd name="connsiteY8" fmla="*/ 410031 h 417823"/>
                    <a:gd name="connsiteX9" fmla="*/ 507618 w 631454"/>
                    <a:gd name="connsiteY9" fmla="*/ 403877 h 417823"/>
                    <a:gd name="connsiteX10" fmla="*/ 630695 w 631454"/>
                    <a:gd name="connsiteY10" fmla="*/ 280801 h 417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31454" h="417823">
                      <a:moveTo>
                        <a:pt x="630695" y="280801"/>
                      </a:moveTo>
                      <a:cubicBezTo>
                        <a:pt x="621465" y="203877"/>
                        <a:pt x="519926" y="234647"/>
                        <a:pt x="470695" y="240800"/>
                      </a:cubicBezTo>
                      <a:cubicBezTo>
                        <a:pt x="396849" y="253108"/>
                        <a:pt x="319926" y="271570"/>
                        <a:pt x="258387" y="311570"/>
                      </a:cubicBezTo>
                      <a:cubicBezTo>
                        <a:pt x="261464" y="250031"/>
                        <a:pt x="239926" y="194647"/>
                        <a:pt x="203003" y="142339"/>
                      </a:cubicBezTo>
                      <a:cubicBezTo>
                        <a:pt x="166080" y="93108"/>
                        <a:pt x="104541" y="22339"/>
                        <a:pt x="43003" y="800"/>
                      </a:cubicBezTo>
                      <a:cubicBezTo>
                        <a:pt x="30695" y="-2277"/>
                        <a:pt x="15311" y="3877"/>
                        <a:pt x="12233" y="13108"/>
                      </a:cubicBezTo>
                      <a:cubicBezTo>
                        <a:pt x="-15459" y="68493"/>
                        <a:pt x="9157" y="160801"/>
                        <a:pt x="33772" y="213108"/>
                      </a:cubicBezTo>
                      <a:cubicBezTo>
                        <a:pt x="64541" y="283877"/>
                        <a:pt x="113772" y="339262"/>
                        <a:pt x="178388" y="379262"/>
                      </a:cubicBezTo>
                      <a:cubicBezTo>
                        <a:pt x="175310" y="394647"/>
                        <a:pt x="184541" y="413108"/>
                        <a:pt x="203003" y="410031"/>
                      </a:cubicBezTo>
                      <a:cubicBezTo>
                        <a:pt x="307618" y="397724"/>
                        <a:pt x="406080" y="437723"/>
                        <a:pt x="507618" y="403877"/>
                      </a:cubicBezTo>
                      <a:cubicBezTo>
                        <a:pt x="563003" y="391570"/>
                        <a:pt x="639926" y="348493"/>
                        <a:pt x="630695" y="280801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5" name="任意多边形: 形状 264">
                  <a:extLst>
                    <a:ext uri="{FF2B5EF4-FFF2-40B4-BE49-F238E27FC236}">
                      <a16:creationId xmlns:a16="http://schemas.microsoft.com/office/drawing/2014/main" id="{118CBAFF-8B1F-46FE-9ADB-38B672385C70}"/>
                    </a:ext>
                  </a:extLst>
                </p:cNvPr>
                <p:cNvSpPr/>
                <p:nvPr/>
              </p:nvSpPr>
              <p:spPr>
                <a:xfrm>
                  <a:off x="1310899" y="2376459"/>
                  <a:ext cx="592842" cy="339443"/>
                </a:xfrm>
                <a:custGeom>
                  <a:avLst/>
                  <a:gdLst>
                    <a:gd name="connsiteX0" fmla="*/ 486638 w 592842"/>
                    <a:gd name="connsiteY0" fmla="*/ 155105 h 339443"/>
                    <a:gd name="connsiteX1" fmla="*/ 283561 w 592842"/>
                    <a:gd name="connsiteY1" fmla="*/ 216644 h 339443"/>
                    <a:gd name="connsiteX2" fmla="*/ 163561 w 592842"/>
                    <a:gd name="connsiteY2" fmla="*/ 47413 h 339443"/>
                    <a:gd name="connsiteX3" fmla="*/ 15869 w 592842"/>
                    <a:gd name="connsiteY3" fmla="*/ 25875 h 339443"/>
                    <a:gd name="connsiteX4" fmla="*/ 52792 w 592842"/>
                    <a:gd name="connsiteY4" fmla="*/ 176644 h 339443"/>
                    <a:gd name="connsiteX5" fmla="*/ 249715 w 592842"/>
                    <a:gd name="connsiteY5" fmla="*/ 268951 h 339443"/>
                    <a:gd name="connsiteX6" fmla="*/ 249715 w 592842"/>
                    <a:gd name="connsiteY6" fmla="*/ 268951 h 339443"/>
                    <a:gd name="connsiteX7" fmla="*/ 265100 w 592842"/>
                    <a:gd name="connsiteY7" fmla="*/ 281259 h 339443"/>
                    <a:gd name="connsiteX8" fmla="*/ 271254 w 592842"/>
                    <a:gd name="connsiteY8" fmla="*/ 287413 h 339443"/>
                    <a:gd name="connsiteX9" fmla="*/ 474330 w 592842"/>
                    <a:gd name="connsiteY9" fmla="*/ 333567 h 339443"/>
                    <a:gd name="connsiteX10" fmla="*/ 591254 w 592842"/>
                    <a:gd name="connsiteY10" fmla="*/ 210490 h 339443"/>
                    <a:gd name="connsiteX11" fmla="*/ 486638 w 592842"/>
                    <a:gd name="connsiteY11" fmla="*/ 155105 h 3394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92842" h="339443">
                      <a:moveTo>
                        <a:pt x="486638" y="155105"/>
                      </a:moveTo>
                      <a:cubicBezTo>
                        <a:pt x="422023" y="164336"/>
                        <a:pt x="335869" y="170490"/>
                        <a:pt x="283561" y="216644"/>
                      </a:cubicBezTo>
                      <a:cubicBezTo>
                        <a:pt x="252792" y="155105"/>
                        <a:pt x="215869" y="93567"/>
                        <a:pt x="163561" y="47413"/>
                      </a:cubicBezTo>
                      <a:cubicBezTo>
                        <a:pt x="126638" y="16644"/>
                        <a:pt x="55869" y="-29510"/>
                        <a:pt x="15869" y="25875"/>
                      </a:cubicBezTo>
                      <a:cubicBezTo>
                        <a:pt x="-21054" y="75105"/>
                        <a:pt x="12792" y="142797"/>
                        <a:pt x="52792" y="176644"/>
                      </a:cubicBezTo>
                      <a:cubicBezTo>
                        <a:pt x="105099" y="222798"/>
                        <a:pt x="178946" y="250490"/>
                        <a:pt x="249715" y="268951"/>
                      </a:cubicBezTo>
                      <a:cubicBezTo>
                        <a:pt x="249715" y="268951"/>
                        <a:pt x="249715" y="268951"/>
                        <a:pt x="249715" y="268951"/>
                      </a:cubicBezTo>
                      <a:cubicBezTo>
                        <a:pt x="252792" y="278182"/>
                        <a:pt x="258946" y="281259"/>
                        <a:pt x="265100" y="281259"/>
                      </a:cubicBezTo>
                      <a:cubicBezTo>
                        <a:pt x="268176" y="284336"/>
                        <a:pt x="268176" y="287413"/>
                        <a:pt x="271254" y="287413"/>
                      </a:cubicBezTo>
                      <a:cubicBezTo>
                        <a:pt x="329715" y="324336"/>
                        <a:pt x="403561" y="352028"/>
                        <a:pt x="474330" y="333567"/>
                      </a:cubicBezTo>
                      <a:cubicBezTo>
                        <a:pt x="529715" y="318182"/>
                        <a:pt x="582023" y="268951"/>
                        <a:pt x="591254" y="210490"/>
                      </a:cubicBezTo>
                      <a:cubicBezTo>
                        <a:pt x="603561" y="139721"/>
                        <a:pt x="542023" y="145874"/>
                        <a:pt x="486638" y="155105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6" name="任意多边形: 形状 265">
                  <a:extLst>
                    <a:ext uri="{FF2B5EF4-FFF2-40B4-BE49-F238E27FC236}">
                      <a16:creationId xmlns:a16="http://schemas.microsoft.com/office/drawing/2014/main" id="{206E3388-7388-459C-AD56-E3DF6E2359C0}"/>
                    </a:ext>
                  </a:extLst>
                </p:cNvPr>
                <p:cNvSpPr/>
                <p:nvPr/>
              </p:nvSpPr>
              <p:spPr>
                <a:xfrm>
                  <a:off x="1167955" y="2727526"/>
                  <a:ext cx="753883" cy="280997"/>
                </a:xfrm>
                <a:custGeom>
                  <a:avLst/>
                  <a:gdLst>
                    <a:gd name="connsiteX0" fmla="*/ 752658 w 753883"/>
                    <a:gd name="connsiteY0" fmla="*/ 136346 h 280997"/>
                    <a:gd name="connsiteX1" fmla="*/ 595735 w 753883"/>
                    <a:gd name="connsiteY1" fmla="*/ 105577 h 280997"/>
                    <a:gd name="connsiteX2" fmla="*/ 374197 w 753883"/>
                    <a:gd name="connsiteY2" fmla="*/ 176346 h 280997"/>
                    <a:gd name="connsiteX3" fmla="*/ 14197 w 753883"/>
                    <a:gd name="connsiteY3" fmla="*/ 53269 h 280997"/>
                    <a:gd name="connsiteX4" fmla="*/ 374197 w 753883"/>
                    <a:gd name="connsiteY4" fmla="*/ 256346 h 280997"/>
                    <a:gd name="connsiteX5" fmla="*/ 383428 w 753883"/>
                    <a:gd name="connsiteY5" fmla="*/ 256346 h 280997"/>
                    <a:gd name="connsiteX6" fmla="*/ 623428 w 753883"/>
                    <a:gd name="connsiteY6" fmla="*/ 265577 h 280997"/>
                    <a:gd name="connsiteX7" fmla="*/ 752658 w 753883"/>
                    <a:gd name="connsiteY7" fmla="*/ 136346 h 280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53883" h="280997">
                      <a:moveTo>
                        <a:pt x="752658" y="136346"/>
                      </a:moveTo>
                      <a:cubicBezTo>
                        <a:pt x="743428" y="71731"/>
                        <a:pt x="638813" y="102500"/>
                        <a:pt x="595735" y="105577"/>
                      </a:cubicBezTo>
                      <a:cubicBezTo>
                        <a:pt x="512659" y="111731"/>
                        <a:pt x="438813" y="124038"/>
                        <a:pt x="374197" y="176346"/>
                      </a:cubicBezTo>
                      <a:cubicBezTo>
                        <a:pt x="312659" y="87115"/>
                        <a:pt x="84966" y="-88269"/>
                        <a:pt x="14197" y="53269"/>
                      </a:cubicBezTo>
                      <a:cubicBezTo>
                        <a:pt x="-75034" y="237884"/>
                        <a:pt x="281889" y="256346"/>
                        <a:pt x="374197" y="256346"/>
                      </a:cubicBezTo>
                      <a:cubicBezTo>
                        <a:pt x="377274" y="256346"/>
                        <a:pt x="380351" y="256346"/>
                        <a:pt x="383428" y="256346"/>
                      </a:cubicBezTo>
                      <a:cubicBezTo>
                        <a:pt x="460351" y="284038"/>
                        <a:pt x="546505" y="290192"/>
                        <a:pt x="623428" y="265577"/>
                      </a:cubicBezTo>
                      <a:cubicBezTo>
                        <a:pt x="681889" y="250192"/>
                        <a:pt x="764967" y="207115"/>
                        <a:pt x="752658" y="136346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267" name="图形 1">
                <a:extLst>
                  <a:ext uri="{FF2B5EF4-FFF2-40B4-BE49-F238E27FC236}">
                    <a16:creationId xmlns:a16="http://schemas.microsoft.com/office/drawing/2014/main" id="{76A1D99D-5BD3-43EC-8DFB-13E2A204913A}"/>
                  </a:ext>
                </a:extLst>
              </p:cNvPr>
              <p:cNvGrpSpPr/>
              <p:nvPr/>
            </p:nvGrpSpPr>
            <p:grpSpPr>
              <a:xfrm>
                <a:off x="205227" y="1356646"/>
                <a:ext cx="1187381" cy="1829792"/>
                <a:chOff x="205227" y="1356646"/>
                <a:chExt cx="1187381" cy="1829792"/>
              </a:xfrm>
            </p:grpSpPr>
            <p:sp>
              <p:nvSpPr>
                <p:cNvPr id="268" name="任意多边形: 形状 267">
                  <a:extLst>
                    <a:ext uri="{FF2B5EF4-FFF2-40B4-BE49-F238E27FC236}">
                      <a16:creationId xmlns:a16="http://schemas.microsoft.com/office/drawing/2014/main" id="{53FDCF5A-AE6B-47C4-9400-45AD0E27940C}"/>
                    </a:ext>
                  </a:extLst>
                </p:cNvPr>
                <p:cNvSpPr/>
                <p:nvPr/>
              </p:nvSpPr>
              <p:spPr>
                <a:xfrm>
                  <a:off x="543193" y="1765192"/>
                  <a:ext cx="743839" cy="1421246"/>
                </a:xfrm>
                <a:custGeom>
                  <a:avLst/>
                  <a:gdLst>
                    <a:gd name="connsiteX0" fmla="*/ 743575 w 743839"/>
                    <a:gd name="connsiteY0" fmla="*/ 1403296 h 1421246"/>
                    <a:gd name="connsiteX1" fmla="*/ 518959 w 743839"/>
                    <a:gd name="connsiteY1" fmla="*/ 618680 h 1421246"/>
                    <a:gd name="connsiteX2" fmla="*/ 26651 w 743839"/>
                    <a:gd name="connsiteY2" fmla="*/ 6373 h 1421246"/>
                    <a:gd name="connsiteX3" fmla="*/ 2036 w 743839"/>
                    <a:gd name="connsiteY3" fmla="*/ 21757 h 1421246"/>
                    <a:gd name="connsiteX4" fmla="*/ 482036 w 743839"/>
                    <a:gd name="connsiteY4" fmla="*/ 612527 h 1421246"/>
                    <a:gd name="connsiteX5" fmla="*/ 715883 w 743839"/>
                    <a:gd name="connsiteY5" fmla="*/ 1412527 h 1421246"/>
                    <a:gd name="connsiteX6" fmla="*/ 743575 w 743839"/>
                    <a:gd name="connsiteY6" fmla="*/ 1403296 h 14212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43839" h="1421246">
                      <a:moveTo>
                        <a:pt x="743575" y="1403296"/>
                      </a:moveTo>
                      <a:cubicBezTo>
                        <a:pt x="678960" y="1141757"/>
                        <a:pt x="635882" y="861757"/>
                        <a:pt x="518959" y="618680"/>
                      </a:cubicBezTo>
                      <a:cubicBezTo>
                        <a:pt x="402036" y="378680"/>
                        <a:pt x="183575" y="218680"/>
                        <a:pt x="26651" y="6373"/>
                      </a:cubicBezTo>
                      <a:cubicBezTo>
                        <a:pt x="17421" y="-9012"/>
                        <a:pt x="-7194" y="6373"/>
                        <a:pt x="2036" y="21757"/>
                      </a:cubicBezTo>
                      <a:cubicBezTo>
                        <a:pt x="152805" y="227911"/>
                        <a:pt x="365113" y="381757"/>
                        <a:pt x="482036" y="612527"/>
                      </a:cubicBezTo>
                      <a:cubicBezTo>
                        <a:pt x="608190" y="858680"/>
                        <a:pt x="651267" y="1147911"/>
                        <a:pt x="715883" y="1412527"/>
                      </a:cubicBezTo>
                      <a:cubicBezTo>
                        <a:pt x="722036" y="1427911"/>
                        <a:pt x="746652" y="1421757"/>
                        <a:pt x="743575" y="1403296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9" name="任意多边形: 形状 268">
                  <a:extLst>
                    <a:ext uri="{FF2B5EF4-FFF2-40B4-BE49-F238E27FC236}">
                      <a16:creationId xmlns:a16="http://schemas.microsoft.com/office/drawing/2014/main" id="{082D9541-F53B-4AC5-B92C-9ED76B855767}"/>
                    </a:ext>
                  </a:extLst>
                </p:cNvPr>
                <p:cNvSpPr/>
                <p:nvPr/>
              </p:nvSpPr>
              <p:spPr>
                <a:xfrm>
                  <a:off x="205227" y="1356646"/>
                  <a:ext cx="395386" cy="485087"/>
                </a:xfrm>
                <a:custGeom>
                  <a:avLst/>
                  <a:gdLst>
                    <a:gd name="connsiteX0" fmla="*/ 395386 w 395386"/>
                    <a:gd name="connsiteY0" fmla="*/ 445688 h 485087"/>
                    <a:gd name="connsiteX1" fmla="*/ 247694 w 395386"/>
                    <a:gd name="connsiteY1" fmla="*/ 137995 h 485087"/>
                    <a:gd name="connsiteX2" fmla="*/ 29233 w 395386"/>
                    <a:gd name="connsiteY2" fmla="*/ 11842 h 485087"/>
                    <a:gd name="connsiteX3" fmla="*/ 81540 w 395386"/>
                    <a:gd name="connsiteY3" fmla="*/ 248765 h 485087"/>
                    <a:gd name="connsiteX4" fmla="*/ 340002 w 395386"/>
                    <a:gd name="connsiteY4" fmla="*/ 482611 h 485087"/>
                    <a:gd name="connsiteX5" fmla="*/ 376925 w 395386"/>
                    <a:gd name="connsiteY5" fmla="*/ 473380 h 485087"/>
                    <a:gd name="connsiteX6" fmla="*/ 395386 w 395386"/>
                    <a:gd name="connsiteY6" fmla="*/ 445688 h 485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95386" h="485087">
                      <a:moveTo>
                        <a:pt x="395386" y="445688"/>
                      </a:moveTo>
                      <a:cubicBezTo>
                        <a:pt x="380002" y="325688"/>
                        <a:pt x="327694" y="227226"/>
                        <a:pt x="247694" y="137995"/>
                      </a:cubicBezTo>
                      <a:cubicBezTo>
                        <a:pt x="207694" y="94918"/>
                        <a:pt x="103079" y="-40466"/>
                        <a:pt x="29233" y="11842"/>
                      </a:cubicBezTo>
                      <a:cubicBezTo>
                        <a:pt x="-47690" y="67226"/>
                        <a:pt x="47694" y="199534"/>
                        <a:pt x="81540" y="248765"/>
                      </a:cubicBezTo>
                      <a:cubicBezTo>
                        <a:pt x="155387" y="353380"/>
                        <a:pt x="226156" y="427226"/>
                        <a:pt x="340002" y="482611"/>
                      </a:cubicBezTo>
                      <a:cubicBezTo>
                        <a:pt x="355387" y="488765"/>
                        <a:pt x="370771" y="482611"/>
                        <a:pt x="376925" y="473380"/>
                      </a:cubicBezTo>
                      <a:cubicBezTo>
                        <a:pt x="386156" y="470303"/>
                        <a:pt x="395386" y="461072"/>
                        <a:pt x="395386" y="445688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0" name="任意多边形: 形状 269">
                  <a:extLst>
                    <a:ext uri="{FF2B5EF4-FFF2-40B4-BE49-F238E27FC236}">
                      <a16:creationId xmlns:a16="http://schemas.microsoft.com/office/drawing/2014/main" id="{07499CEC-758D-4258-BD62-682F85DB72D1}"/>
                    </a:ext>
                  </a:extLst>
                </p:cNvPr>
                <p:cNvSpPr/>
                <p:nvPr/>
              </p:nvSpPr>
              <p:spPr>
                <a:xfrm>
                  <a:off x="261694" y="1465141"/>
                  <a:ext cx="637440" cy="635930"/>
                </a:xfrm>
                <a:custGeom>
                  <a:avLst/>
                  <a:gdLst>
                    <a:gd name="connsiteX0" fmla="*/ 600458 w 637440"/>
                    <a:gd name="connsiteY0" fmla="*/ 4885 h 635930"/>
                    <a:gd name="connsiteX1" fmla="*/ 431227 w 637440"/>
                    <a:gd name="connsiteY1" fmla="*/ 137192 h 635930"/>
                    <a:gd name="connsiteX2" fmla="*/ 415842 w 637440"/>
                    <a:gd name="connsiteY2" fmla="*/ 475654 h 635930"/>
                    <a:gd name="connsiteX3" fmla="*/ 415842 w 637440"/>
                    <a:gd name="connsiteY3" fmla="*/ 478731 h 635930"/>
                    <a:gd name="connsiteX4" fmla="*/ 3535 w 637440"/>
                    <a:gd name="connsiteY4" fmla="*/ 509500 h 635930"/>
                    <a:gd name="connsiteX5" fmla="*/ 218920 w 637440"/>
                    <a:gd name="connsiteY5" fmla="*/ 632577 h 635930"/>
                    <a:gd name="connsiteX6" fmla="*/ 446612 w 637440"/>
                    <a:gd name="connsiteY6" fmla="*/ 540269 h 635930"/>
                    <a:gd name="connsiteX7" fmla="*/ 455843 w 637440"/>
                    <a:gd name="connsiteY7" fmla="*/ 527962 h 635930"/>
                    <a:gd name="connsiteX8" fmla="*/ 455843 w 637440"/>
                    <a:gd name="connsiteY8" fmla="*/ 527962 h 635930"/>
                    <a:gd name="connsiteX9" fmla="*/ 628150 w 637440"/>
                    <a:gd name="connsiteY9" fmla="*/ 223346 h 635930"/>
                    <a:gd name="connsiteX10" fmla="*/ 600458 w 637440"/>
                    <a:gd name="connsiteY10" fmla="*/ 4885 h 635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37440" h="635930">
                      <a:moveTo>
                        <a:pt x="600458" y="4885"/>
                      </a:moveTo>
                      <a:cubicBezTo>
                        <a:pt x="538919" y="-25884"/>
                        <a:pt x="455843" y="97193"/>
                        <a:pt x="431227" y="137192"/>
                      </a:cubicBezTo>
                      <a:cubicBezTo>
                        <a:pt x="369689" y="241808"/>
                        <a:pt x="369689" y="364885"/>
                        <a:pt x="415842" y="475654"/>
                      </a:cubicBezTo>
                      <a:cubicBezTo>
                        <a:pt x="415842" y="475654"/>
                        <a:pt x="415842" y="475654"/>
                        <a:pt x="415842" y="478731"/>
                      </a:cubicBezTo>
                      <a:cubicBezTo>
                        <a:pt x="323535" y="444885"/>
                        <a:pt x="-39542" y="364885"/>
                        <a:pt x="3535" y="509500"/>
                      </a:cubicBezTo>
                      <a:cubicBezTo>
                        <a:pt x="25073" y="583346"/>
                        <a:pt x="154304" y="620269"/>
                        <a:pt x="218920" y="632577"/>
                      </a:cubicBezTo>
                      <a:cubicBezTo>
                        <a:pt x="320458" y="651039"/>
                        <a:pt x="369689" y="589500"/>
                        <a:pt x="446612" y="540269"/>
                      </a:cubicBezTo>
                      <a:cubicBezTo>
                        <a:pt x="452766" y="537192"/>
                        <a:pt x="455843" y="534116"/>
                        <a:pt x="455843" y="527962"/>
                      </a:cubicBezTo>
                      <a:cubicBezTo>
                        <a:pt x="455843" y="527962"/>
                        <a:pt x="455843" y="527962"/>
                        <a:pt x="455843" y="527962"/>
                      </a:cubicBezTo>
                      <a:cubicBezTo>
                        <a:pt x="548150" y="447962"/>
                        <a:pt x="609689" y="343346"/>
                        <a:pt x="628150" y="223346"/>
                      </a:cubicBezTo>
                      <a:cubicBezTo>
                        <a:pt x="634304" y="180269"/>
                        <a:pt x="655843" y="32577"/>
                        <a:pt x="600458" y="4885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1" name="任意多边形: 形状 270">
                  <a:extLst>
                    <a:ext uri="{FF2B5EF4-FFF2-40B4-BE49-F238E27FC236}">
                      <a16:creationId xmlns:a16="http://schemas.microsoft.com/office/drawing/2014/main" id="{B022A7E9-D223-430B-9E25-D9550A72B0DA}"/>
                    </a:ext>
                  </a:extLst>
                </p:cNvPr>
                <p:cNvSpPr/>
                <p:nvPr/>
              </p:nvSpPr>
              <p:spPr>
                <a:xfrm>
                  <a:off x="491046" y="1691193"/>
                  <a:ext cx="608353" cy="658990"/>
                </a:xfrm>
                <a:custGeom>
                  <a:avLst/>
                  <a:gdLst>
                    <a:gd name="connsiteX0" fmla="*/ 580337 w 608353"/>
                    <a:gd name="connsiteY0" fmla="*/ 3449 h 658990"/>
                    <a:gd name="connsiteX1" fmla="*/ 426491 w 608353"/>
                    <a:gd name="connsiteY1" fmla="*/ 132680 h 658990"/>
                    <a:gd name="connsiteX2" fmla="*/ 361876 w 608353"/>
                    <a:gd name="connsiteY2" fmla="*/ 403449 h 658990"/>
                    <a:gd name="connsiteX3" fmla="*/ 349568 w 608353"/>
                    <a:gd name="connsiteY3" fmla="*/ 412680 h 658990"/>
                    <a:gd name="connsiteX4" fmla="*/ 75722 w 608353"/>
                    <a:gd name="connsiteY4" fmla="*/ 501911 h 658990"/>
                    <a:gd name="connsiteX5" fmla="*/ 17260 w 608353"/>
                    <a:gd name="connsiteY5" fmla="*/ 637295 h 658990"/>
                    <a:gd name="connsiteX6" fmla="*/ 214183 w 608353"/>
                    <a:gd name="connsiteY6" fmla="*/ 628064 h 658990"/>
                    <a:gd name="connsiteX7" fmla="*/ 389568 w 608353"/>
                    <a:gd name="connsiteY7" fmla="*/ 458834 h 658990"/>
                    <a:gd name="connsiteX8" fmla="*/ 392645 w 608353"/>
                    <a:gd name="connsiteY8" fmla="*/ 455757 h 658990"/>
                    <a:gd name="connsiteX9" fmla="*/ 420337 w 608353"/>
                    <a:gd name="connsiteY9" fmla="*/ 437295 h 658990"/>
                    <a:gd name="connsiteX10" fmla="*/ 577260 w 608353"/>
                    <a:gd name="connsiteY10" fmla="*/ 197295 h 658990"/>
                    <a:gd name="connsiteX11" fmla="*/ 580337 w 608353"/>
                    <a:gd name="connsiteY11" fmla="*/ 3449 h 6589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608353" h="658990">
                      <a:moveTo>
                        <a:pt x="580337" y="3449"/>
                      </a:moveTo>
                      <a:cubicBezTo>
                        <a:pt x="515722" y="-21166"/>
                        <a:pt x="451106" y="92680"/>
                        <a:pt x="426491" y="132680"/>
                      </a:cubicBezTo>
                      <a:cubicBezTo>
                        <a:pt x="380337" y="215757"/>
                        <a:pt x="358799" y="311141"/>
                        <a:pt x="361876" y="403449"/>
                      </a:cubicBezTo>
                      <a:cubicBezTo>
                        <a:pt x="355721" y="403449"/>
                        <a:pt x="352645" y="406526"/>
                        <a:pt x="349568" y="412680"/>
                      </a:cubicBezTo>
                      <a:cubicBezTo>
                        <a:pt x="254183" y="424987"/>
                        <a:pt x="155721" y="449603"/>
                        <a:pt x="75722" y="501911"/>
                      </a:cubicBezTo>
                      <a:cubicBezTo>
                        <a:pt x="35722" y="526526"/>
                        <a:pt x="-31971" y="588064"/>
                        <a:pt x="17260" y="637295"/>
                      </a:cubicBezTo>
                      <a:cubicBezTo>
                        <a:pt x="63414" y="680372"/>
                        <a:pt x="164952" y="649603"/>
                        <a:pt x="214183" y="628064"/>
                      </a:cubicBezTo>
                      <a:cubicBezTo>
                        <a:pt x="291106" y="594218"/>
                        <a:pt x="352645" y="532680"/>
                        <a:pt x="389568" y="458834"/>
                      </a:cubicBezTo>
                      <a:cubicBezTo>
                        <a:pt x="389568" y="458834"/>
                        <a:pt x="392645" y="455757"/>
                        <a:pt x="392645" y="455757"/>
                      </a:cubicBezTo>
                      <a:cubicBezTo>
                        <a:pt x="404952" y="455757"/>
                        <a:pt x="417260" y="449603"/>
                        <a:pt x="420337" y="437295"/>
                      </a:cubicBezTo>
                      <a:cubicBezTo>
                        <a:pt x="491106" y="369603"/>
                        <a:pt x="543414" y="289603"/>
                        <a:pt x="577260" y="197295"/>
                      </a:cubicBezTo>
                      <a:cubicBezTo>
                        <a:pt x="589568" y="157295"/>
                        <a:pt x="638799" y="24987"/>
                        <a:pt x="580337" y="3449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2" name="任意多边形: 形状 271">
                  <a:extLst>
                    <a:ext uri="{FF2B5EF4-FFF2-40B4-BE49-F238E27FC236}">
                      <a16:creationId xmlns:a16="http://schemas.microsoft.com/office/drawing/2014/main" id="{93044364-4099-44AC-B94E-429C6677CAAD}"/>
                    </a:ext>
                  </a:extLst>
                </p:cNvPr>
                <p:cNvSpPr/>
                <p:nvPr/>
              </p:nvSpPr>
              <p:spPr>
                <a:xfrm>
                  <a:off x="591073" y="1863872"/>
                  <a:ext cx="743795" cy="731175"/>
                </a:xfrm>
                <a:custGeom>
                  <a:avLst/>
                  <a:gdLst>
                    <a:gd name="connsiteX0" fmla="*/ 735694 w 743795"/>
                    <a:gd name="connsiteY0" fmla="*/ 21539 h 731175"/>
                    <a:gd name="connsiteX1" fmla="*/ 708002 w 743795"/>
                    <a:gd name="connsiteY1" fmla="*/ 0 h 731175"/>
                    <a:gd name="connsiteX2" fmla="*/ 514156 w 743795"/>
                    <a:gd name="connsiteY2" fmla="*/ 138462 h 731175"/>
                    <a:gd name="connsiteX3" fmla="*/ 400310 w 743795"/>
                    <a:gd name="connsiteY3" fmla="*/ 443077 h 731175"/>
                    <a:gd name="connsiteX4" fmla="*/ 400310 w 743795"/>
                    <a:gd name="connsiteY4" fmla="*/ 455384 h 731175"/>
                    <a:gd name="connsiteX5" fmla="*/ 397233 w 743795"/>
                    <a:gd name="connsiteY5" fmla="*/ 458462 h 731175"/>
                    <a:gd name="connsiteX6" fmla="*/ 391079 w 743795"/>
                    <a:gd name="connsiteY6" fmla="*/ 458462 h 731175"/>
                    <a:gd name="connsiteX7" fmla="*/ 43386 w 743795"/>
                    <a:gd name="connsiteY7" fmla="*/ 560000 h 731175"/>
                    <a:gd name="connsiteX8" fmla="*/ 34156 w 743795"/>
                    <a:gd name="connsiteY8" fmla="*/ 710769 h 731175"/>
                    <a:gd name="connsiteX9" fmla="*/ 261848 w 743795"/>
                    <a:gd name="connsiteY9" fmla="*/ 689231 h 731175"/>
                    <a:gd name="connsiteX10" fmla="*/ 440309 w 743795"/>
                    <a:gd name="connsiteY10" fmla="*/ 501538 h 731175"/>
                    <a:gd name="connsiteX11" fmla="*/ 452617 w 743795"/>
                    <a:gd name="connsiteY11" fmla="*/ 495385 h 731175"/>
                    <a:gd name="connsiteX12" fmla="*/ 677233 w 743795"/>
                    <a:gd name="connsiteY12" fmla="*/ 261538 h 731175"/>
                    <a:gd name="connsiteX13" fmla="*/ 735694 w 743795"/>
                    <a:gd name="connsiteY13" fmla="*/ 21539 h 7311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743795" h="731175">
                      <a:moveTo>
                        <a:pt x="735694" y="21539"/>
                      </a:moveTo>
                      <a:cubicBezTo>
                        <a:pt x="732617" y="12308"/>
                        <a:pt x="720310" y="0"/>
                        <a:pt x="708002" y="0"/>
                      </a:cubicBezTo>
                      <a:cubicBezTo>
                        <a:pt x="634156" y="6154"/>
                        <a:pt x="557233" y="83077"/>
                        <a:pt x="514156" y="138462"/>
                      </a:cubicBezTo>
                      <a:cubicBezTo>
                        <a:pt x="449540" y="227692"/>
                        <a:pt x="428002" y="338462"/>
                        <a:pt x="400310" y="443077"/>
                      </a:cubicBezTo>
                      <a:cubicBezTo>
                        <a:pt x="400310" y="446154"/>
                        <a:pt x="400310" y="452308"/>
                        <a:pt x="400310" y="455384"/>
                      </a:cubicBezTo>
                      <a:cubicBezTo>
                        <a:pt x="400310" y="455384"/>
                        <a:pt x="400310" y="458462"/>
                        <a:pt x="397233" y="458462"/>
                      </a:cubicBezTo>
                      <a:cubicBezTo>
                        <a:pt x="394156" y="458462"/>
                        <a:pt x="394156" y="458462"/>
                        <a:pt x="391079" y="458462"/>
                      </a:cubicBezTo>
                      <a:cubicBezTo>
                        <a:pt x="283387" y="483077"/>
                        <a:pt x="129540" y="489231"/>
                        <a:pt x="43386" y="560000"/>
                      </a:cubicBezTo>
                      <a:cubicBezTo>
                        <a:pt x="-2767" y="596923"/>
                        <a:pt x="-21229" y="673846"/>
                        <a:pt x="34156" y="710769"/>
                      </a:cubicBezTo>
                      <a:cubicBezTo>
                        <a:pt x="92617" y="753846"/>
                        <a:pt x="203386" y="720000"/>
                        <a:pt x="261848" y="689231"/>
                      </a:cubicBezTo>
                      <a:cubicBezTo>
                        <a:pt x="338771" y="649231"/>
                        <a:pt x="394156" y="575385"/>
                        <a:pt x="440309" y="501538"/>
                      </a:cubicBezTo>
                      <a:cubicBezTo>
                        <a:pt x="443387" y="501538"/>
                        <a:pt x="449540" y="498462"/>
                        <a:pt x="452617" y="495385"/>
                      </a:cubicBezTo>
                      <a:cubicBezTo>
                        <a:pt x="529540" y="421539"/>
                        <a:pt x="618771" y="350769"/>
                        <a:pt x="677233" y="261538"/>
                      </a:cubicBezTo>
                      <a:cubicBezTo>
                        <a:pt x="714156" y="203077"/>
                        <a:pt x="763386" y="92308"/>
                        <a:pt x="735694" y="21539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3" name="任意多边形: 形状 272">
                  <a:extLst>
                    <a:ext uri="{FF2B5EF4-FFF2-40B4-BE49-F238E27FC236}">
                      <a16:creationId xmlns:a16="http://schemas.microsoft.com/office/drawing/2014/main" id="{FF922EEE-C775-42B4-9DD0-759876369B43}"/>
                    </a:ext>
                  </a:extLst>
                </p:cNvPr>
                <p:cNvSpPr/>
                <p:nvPr/>
              </p:nvSpPr>
              <p:spPr>
                <a:xfrm>
                  <a:off x="829216" y="2237310"/>
                  <a:ext cx="563392" cy="518033"/>
                </a:xfrm>
                <a:custGeom>
                  <a:avLst/>
                  <a:gdLst>
                    <a:gd name="connsiteX0" fmla="*/ 549859 w 563392"/>
                    <a:gd name="connsiteY0" fmla="*/ 20408 h 518033"/>
                    <a:gd name="connsiteX1" fmla="*/ 509859 w 563392"/>
                    <a:gd name="connsiteY1" fmla="*/ 5024 h 518033"/>
                    <a:gd name="connsiteX2" fmla="*/ 285244 w 563392"/>
                    <a:gd name="connsiteY2" fmla="*/ 361947 h 518033"/>
                    <a:gd name="connsiteX3" fmla="*/ 5244 w 563392"/>
                    <a:gd name="connsiteY3" fmla="*/ 466562 h 518033"/>
                    <a:gd name="connsiteX4" fmla="*/ 316013 w 563392"/>
                    <a:gd name="connsiteY4" fmla="*/ 426562 h 518033"/>
                    <a:gd name="connsiteX5" fmla="*/ 334475 w 563392"/>
                    <a:gd name="connsiteY5" fmla="*/ 423485 h 518033"/>
                    <a:gd name="connsiteX6" fmla="*/ 549859 w 563392"/>
                    <a:gd name="connsiteY6" fmla="*/ 20408 h 518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63392" h="518033">
                      <a:moveTo>
                        <a:pt x="549859" y="20408"/>
                      </a:moveTo>
                      <a:cubicBezTo>
                        <a:pt x="543706" y="5024"/>
                        <a:pt x="525244" y="-7284"/>
                        <a:pt x="509859" y="5024"/>
                      </a:cubicBezTo>
                      <a:cubicBezTo>
                        <a:pt x="383706" y="88101"/>
                        <a:pt x="331398" y="223485"/>
                        <a:pt x="285244" y="361947"/>
                      </a:cubicBezTo>
                      <a:cubicBezTo>
                        <a:pt x="196013" y="349639"/>
                        <a:pt x="-37833" y="331177"/>
                        <a:pt x="5244" y="466562"/>
                      </a:cubicBezTo>
                      <a:cubicBezTo>
                        <a:pt x="45244" y="589639"/>
                        <a:pt x="239090" y="457331"/>
                        <a:pt x="316013" y="426562"/>
                      </a:cubicBezTo>
                      <a:cubicBezTo>
                        <a:pt x="322167" y="429639"/>
                        <a:pt x="328321" y="426562"/>
                        <a:pt x="334475" y="423485"/>
                      </a:cubicBezTo>
                      <a:cubicBezTo>
                        <a:pt x="482167" y="340408"/>
                        <a:pt x="605244" y="195793"/>
                        <a:pt x="549859" y="20408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4" name="任意多边形: 形状 273">
                  <a:extLst>
                    <a:ext uri="{FF2B5EF4-FFF2-40B4-BE49-F238E27FC236}">
                      <a16:creationId xmlns:a16="http://schemas.microsoft.com/office/drawing/2014/main" id="{279AF3A5-F56F-4B73-B0FB-537C7B32F471}"/>
                    </a:ext>
                  </a:extLst>
                </p:cNvPr>
                <p:cNvSpPr/>
                <p:nvPr/>
              </p:nvSpPr>
              <p:spPr>
                <a:xfrm>
                  <a:off x="942292" y="2655736"/>
                  <a:ext cx="400633" cy="312854"/>
                </a:xfrm>
                <a:custGeom>
                  <a:avLst/>
                  <a:gdLst>
                    <a:gd name="connsiteX0" fmla="*/ 369091 w 400633"/>
                    <a:gd name="connsiteY0" fmla="*/ 5059 h 312854"/>
                    <a:gd name="connsiteX1" fmla="*/ 282937 w 400633"/>
                    <a:gd name="connsiteY1" fmla="*/ 66598 h 312854"/>
                    <a:gd name="connsiteX2" fmla="*/ 249092 w 400633"/>
                    <a:gd name="connsiteY2" fmla="*/ 217367 h 312854"/>
                    <a:gd name="connsiteX3" fmla="*/ 132168 w 400633"/>
                    <a:gd name="connsiteY3" fmla="*/ 186598 h 312854"/>
                    <a:gd name="connsiteX4" fmla="*/ 6014 w 400633"/>
                    <a:gd name="connsiteY4" fmla="*/ 223521 h 312854"/>
                    <a:gd name="connsiteX5" fmla="*/ 67553 w 400633"/>
                    <a:gd name="connsiteY5" fmla="*/ 309675 h 312854"/>
                    <a:gd name="connsiteX6" fmla="*/ 273707 w 400633"/>
                    <a:gd name="connsiteY6" fmla="*/ 291213 h 312854"/>
                    <a:gd name="connsiteX7" fmla="*/ 292168 w 400633"/>
                    <a:gd name="connsiteY7" fmla="*/ 266598 h 312854"/>
                    <a:gd name="connsiteX8" fmla="*/ 298322 w 400633"/>
                    <a:gd name="connsiteY8" fmla="*/ 260444 h 312854"/>
                    <a:gd name="connsiteX9" fmla="*/ 387553 w 400633"/>
                    <a:gd name="connsiteY9" fmla="*/ 121982 h 312854"/>
                    <a:gd name="connsiteX10" fmla="*/ 369091 w 400633"/>
                    <a:gd name="connsiteY10" fmla="*/ 5059 h 3128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00633" h="312854">
                      <a:moveTo>
                        <a:pt x="369091" y="5059"/>
                      </a:moveTo>
                      <a:cubicBezTo>
                        <a:pt x="329091" y="-16479"/>
                        <a:pt x="295245" y="35829"/>
                        <a:pt x="282937" y="66598"/>
                      </a:cubicBezTo>
                      <a:cubicBezTo>
                        <a:pt x="261399" y="112752"/>
                        <a:pt x="252168" y="165059"/>
                        <a:pt x="249092" y="217367"/>
                      </a:cubicBezTo>
                      <a:cubicBezTo>
                        <a:pt x="212168" y="198906"/>
                        <a:pt x="175245" y="189675"/>
                        <a:pt x="132168" y="186598"/>
                      </a:cubicBezTo>
                      <a:cubicBezTo>
                        <a:pt x="89091" y="183521"/>
                        <a:pt x="30630" y="177367"/>
                        <a:pt x="6014" y="223521"/>
                      </a:cubicBezTo>
                      <a:cubicBezTo>
                        <a:pt x="-15524" y="269675"/>
                        <a:pt x="24476" y="303521"/>
                        <a:pt x="67553" y="309675"/>
                      </a:cubicBezTo>
                      <a:cubicBezTo>
                        <a:pt x="135245" y="318905"/>
                        <a:pt x="209091" y="306598"/>
                        <a:pt x="273707" y="291213"/>
                      </a:cubicBezTo>
                      <a:cubicBezTo>
                        <a:pt x="286015" y="288136"/>
                        <a:pt x="292168" y="278905"/>
                        <a:pt x="292168" y="266598"/>
                      </a:cubicBezTo>
                      <a:cubicBezTo>
                        <a:pt x="295245" y="263521"/>
                        <a:pt x="298322" y="263521"/>
                        <a:pt x="298322" y="260444"/>
                      </a:cubicBezTo>
                      <a:cubicBezTo>
                        <a:pt x="329091" y="217367"/>
                        <a:pt x="366014" y="171213"/>
                        <a:pt x="387553" y="121982"/>
                      </a:cubicBezTo>
                      <a:cubicBezTo>
                        <a:pt x="406014" y="85059"/>
                        <a:pt x="409091" y="26598"/>
                        <a:pt x="369091" y="5059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275" name="任意多边形: 形状 274">
              <a:extLst>
                <a:ext uri="{FF2B5EF4-FFF2-40B4-BE49-F238E27FC236}">
                  <a16:creationId xmlns:a16="http://schemas.microsoft.com/office/drawing/2014/main" id="{3CA2879D-7D51-45FE-A186-19AEA7B7761C}"/>
                </a:ext>
              </a:extLst>
            </p:cNvPr>
            <p:cNvSpPr/>
            <p:nvPr/>
          </p:nvSpPr>
          <p:spPr>
            <a:xfrm>
              <a:off x="9243691" y="482334"/>
              <a:ext cx="218461" cy="218461"/>
            </a:xfrm>
            <a:custGeom>
              <a:avLst/>
              <a:gdLst>
                <a:gd name="connsiteX0" fmla="*/ 0 w 218461"/>
                <a:gd name="connsiteY0" fmla="*/ 153846 h 218461"/>
                <a:gd name="connsiteX1" fmla="*/ 70770 w 218461"/>
                <a:gd name="connsiteY1" fmla="*/ 0 h 218461"/>
                <a:gd name="connsiteX2" fmla="*/ 218462 w 218461"/>
                <a:gd name="connsiteY2" fmla="*/ 33846 h 218461"/>
                <a:gd name="connsiteX3" fmla="*/ 147693 w 218461"/>
                <a:gd name="connsiteY3" fmla="*/ 218462 h 21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461" h="218461">
                  <a:moveTo>
                    <a:pt x="0" y="153846"/>
                  </a:moveTo>
                  <a:lnTo>
                    <a:pt x="70770" y="0"/>
                  </a:lnTo>
                  <a:lnTo>
                    <a:pt x="218462" y="33846"/>
                  </a:lnTo>
                  <a:lnTo>
                    <a:pt x="147693" y="218462"/>
                  </a:ln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6" name="任意多边形: 形状 275">
              <a:extLst>
                <a:ext uri="{FF2B5EF4-FFF2-40B4-BE49-F238E27FC236}">
                  <a16:creationId xmlns:a16="http://schemas.microsoft.com/office/drawing/2014/main" id="{899C3246-E04B-4626-A259-6B56A02DFF62}"/>
                </a:ext>
              </a:extLst>
            </p:cNvPr>
            <p:cNvSpPr/>
            <p:nvPr/>
          </p:nvSpPr>
          <p:spPr>
            <a:xfrm>
              <a:off x="7259076" y="546949"/>
              <a:ext cx="169230" cy="227692"/>
            </a:xfrm>
            <a:custGeom>
              <a:avLst/>
              <a:gdLst>
                <a:gd name="connsiteX0" fmla="*/ 0 w 169230"/>
                <a:gd name="connsiteY0" fmla="*/ 70769 h 227692"/>
                <a:gd name="connsiteX1" fmla="*/ 95385 w 169230"/>
                <a:gd name="connsiteY1" fmla="*/ 0 h 227692"/>
                <a:gd name="connsiteX2" fmla="*/ 169231 w 169230"/>
                <a:gd name="connsiteY2" fmla="*/ 126154 h 227692"/>
                <a:gd name="connsiteX3" fmla="*/ 30769 w 169230"/>
                <a:gd name="connsiteY3" fmla="*/ 227692 h 22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230" h="227692">
                  <a:moveTo>
                    <a:pt x="0" y="70769"/>
                  </a:moveTo>
                  <a:lnTo>
                    <a:pt x="95385" y="0"/>
                  </a:lnTo>
                  <a:lnTo>
                    <a:pt x="169231" y="126154"/>
                  </a:lnTo>
                  <a:lnTo>
                    <a:pt x="30769" y="227692"/>
                  </a:ln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7" name="任意多边形: 形状 276">
              <a:extLst>
                <a:ext uri="{FF2B5EF4-FFF2-40B4-BE49-F238E27FC236}">
                  <a16:creationId xmlns:a16="http://schemas.microsoft.com/office/drawing/2014/main" id="{3BDDBF59-DAAF-47B8-BB18-F549CDB6CCAF}"/>
                </a:ext>
              </a:extLst>
            </p:cNvPr>
            <p:cNvSpPr/>
            <p:nvPr/>
          </p:nvSpPr>
          <p:spPr>
            <a:xfrm>
              <a:off x="7295999" y="-819897"/>
              <a:ext cx="1069077" cy="1554539"/>
            </a:xfrm>
            <a:custGeom>
              <a:avLst/>
              <a:gdLst>
                <a:gd name="connsiteX0" fmla="*/ 990770 w 1069077"/>
                <a:gd name="connsiteY0" fmla="*/ 6847 h 1554539"/>
                <a:gd name="connsiteX1" fmla="*/ 633846 w 1069077"/>
                <a:gd name="connsiteY1" fmla="*/ 360694 h 1554539"/>
                <a:gd name="connsiteX2" fmla="*/ 375385 w 1069077"/>
                <a:gd name="connsiteY2" fmla="*/ 871463 h 1554539"/>
                <a:gd name="connsiteX3" fmla="*/ 0 w 1069077"/>
                <a:gd name="connsiteY3" fmla="*/ 1379155 h 1554539"/>
                <a:gd name="connsiteX4" fmla="*/ 116923 w 1069077"/>
                <a:gd name="connsiteY4" fmla="*/ 1554540 h 1554539"/>
                <a:gd name="connsiteX5" fmla="*/ 587693 w 1069077"/>
                <a:gd name="connsiteY5" fmla="*/ 1080694 h 1554539"/>
                <a:gd name="connsiteX6" fmla="*/ 990770 w 1069077"/>
                <a:gd name="connsiteY6" fmla="*/ 6847 h 1554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9077" h="1554539">
                  <a:moveTo>
                    <a:pt x="990770" y="6847"/>
                  </a:moveTo>
                  <a:cubicBezTo>
                    <a:pt x="864616" y="-48537"/>
                    <a:pt x="698462" y="246848"/>
                    <a:pt x="633846" y="360694"/>
                  </a:cubicBezTo>
                  <a:cubicBezTo>
                    <a:pt x="575385" y="462232"/>
                    <a:pt x="375385" y="871463"/>
                    <a:pt x="375385" y="871463"/>
                  </a:cubicBezTo>
                  <a:lnTo>
                    <a:pt x="0" y="1379155"/>
                  </a:lnTo>
                  <a:lnTo>
                    <a:pt x="116923" y="1554540"/>
                  </a:lnTo>
                  <a:cubicBezTo>
                    <a:pt x="116923" y="1554540"/>
                    <a:pt x="520000" y="1176078"/>
                    <a:pt x="587693" y="1080694"/>
                  </a:cubicBezTo>
                  <a:cubicBezTo>
                    <a:pt x="720000" y="899155"/>
                    <a:pt x="1270769" y="133001"/>
                    <a:pt x="990770" y="6847"/>
                  </a:cubicBezTo>
                  <a:close/>
                </a:path>
              </a:pathLst>
            </a:custGeom>
            <a:solidFill>
              <a:srgbClr val="70868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78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7264323" y="2737719"/>
              <a:ext cx="570137" cy="390739"/>
              <a:chOff x="7264323" y="2737719"/>
              <a:chExt cx="570137" cy="390739"/>
            </a:xfrm>
          </p:grpSpPr>
          <p:sp>
            <p:nvSpPr>
              <p:cNvPr id="279" name="任意多边形: 形状 278">
                <a:extLst>
                  <a:ext uri="{FF2B5EF4-FFF2-40B4-BE49-F238E27FC236}">
                    <a16:creationId xmlns:a16="http://schemas.microsoft.com/office/drawing/2014/main" id="{3D2B9A97-2C70-4DBF-AAD2-FE12386B0E59}"/>
                  </a:ext>
                </a:extLst>
              </p:cNvPr>
              <p:cNvSpPr/>
              <p:nvPr/>
            </p:nvSpPr>
            <p:spPr>
              <a:xfrm>
                <a:off x="7609846" y="2737719"/>
                <a:ext cx="224615" cy="267692"/>
              </a:xfrm>
              <a:custGeom>
                <a:avLst/>
                <a:gdLst>
                  <a:gd name="connsiteX0" fmla="*/ 159999 w 224615"/>
                  <a:gd name="connsiteY0" fmla="*/ 236923 h 267692"/>
                  <a:gd name="connsiteX1" fmla="*/ 224615 w 224615"/>
                  <a:gd name="connsiteY1" fmla="*/ 61538 h 267692"/>
                  <a:gd name="connsiteX2" fmla="*/ 52307 w 224615"/>
                  <a:gd name="connsiteY2" fmla="*/ 0 h 267692"/>
                  <a:gd name="connsiteX3" fmla="*/ 0 w 224615"/>
                  <a:gd name="connsiteY3" fmla="*/ 190769 h 267692"/>
                  <a:gd name="connsiteX4" fmla="*/ 135384 w 224615"/>
                  <a:gd name="connsiteY4" fmla="*/ 267692 h 267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615" h="267692">
                    <a:moveTo>
                      <a:pt x="159999" y="236923"/>
                    </a:moveTo>
                    <a:lnTo>
                      <a:pt x="224615" y="61538"/>
                    </a:lnTo>
                    <a:lnTo>
                      <a:pt x="52307" y="0"/>
                    </a:lnTo>
                    <a:lnTo>
                      <a:pt x="0" y="190769"/>
                    </a:lnTo>
                    <a:lnTo>
                      <a:pt x="135384" y="267692"/>
                    </a:ln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0" name="任意多边形: 形状 279">
                <a:extLst>
                  <a:ext uri="{FF2B5EF4-FFF2-40B4-BE49-F238E27FC236}">
                    <a16:creationId xmlns:a16="http://schemas.microsoft.com/office/drawing/2014/main" id="{2A254AFC-E7BD-4F99-827E-03AF37FB020D}"/>
                  </a:ext>
                </a:extLst>
              </p:cNvPr>
              <p:cNvSpPr/>
              <p:nvPr/>
            </p:nvSpPr>
            <p:spPr>
              <a:xfrm>
                <a:off x="7280615" y="2870026"/>
                <a:ext cx="501538" cy="215384"/>
              </a:xfrm>
              <a:custGeom>
                <a:avLst/>
                <a:gdLst>
                  <a:gd name="connsiteX0" fmla="*/ 501538 w 501538"/>
                  <a:gd name="connsiteY0" fmla="*/ 107692 h 215384"/>
                  <a:gd name="connsiteX1" fmla="*/ 341539 w 501538"/>
                  <a:gd name="connsiteY1" fmla="*/ 0 h 215384"/>
                  <a:gd name="connsiteX2" fmla="*/ 187693 w 501538"/>
                  <a:gd name="connsiteY2" fmla="*/ 30769 h 215384"/>
                  <a:gd name="connsiteX3" fmla="*/ 0 w 501538"/>
                  <a:gd name="connsiteY3" fmla="*/ 49230 h 215384"/>
                  <a:gd name="connsiteX4" fmla="*/ 464616 w 501538"/>
                  <a:gd name="connsiteY4" fmla="*/ 215385 h 215384"/>
                  <a:gd name="connsiteX5" fmla="*/ 501538 w 501538"/>
                  <a:gd name="connsiteY5" fmla="*/ 107692 h 21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538" h="215384">
                    <a:moveTo>
                      <a:pt x="501538" y="107692"/>
                    </a:moveTo>
                    <a:cubicBezTo>
                      <a:pt x="501538" y="107692"/>
                      <a:pt x="378461" y="83077"/>
                      <a:pt x="341539" y="0"/>
                    </a:cubicBezTo>
                    <a:cubicBezTo>
                      <a:pt x="341539" y="0"/>
                      <a:pt x="233846" y="36923"/>
                      <a:pt x="187693" y="30769"/>
                    </a:cubicBezTo>
                    <a:cubicBezTo>
                      <a:pt x="141539" y="24615"/>
                      <a:pt x="36923" y="-15385"/>
                      <a:pt x="0" y="49230"/>
                    </a:cubicBezTo>
                    <a:lnTo>
                      <a:pt x="464616" y="215385"/>
                    </a:lnTo>
                    <a:cubicBezTo>
                      <a:pt x="461539" y="215385"/>
                      <a:pt x="501538" y="163077"/>
                      <a:pt x="501538" y="107692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1" name="任意多边形: 形状 280">
                <a:extLst>
                  <a:ext uri="{FF2B5EF4-FFF2-40B4-BE49-F238E27FC236}">
                    <a16:creationId xmlns:a16="http://schemas.microsoft.com/office/drawing/2014/main" id="{623CBAC4-0A70-41CB-8F5B-05E3E864850B}"/>
                  </a:ext>
                </a:extLst>
              </p:cNvPr>
              <p:cNvSpPr/>
              <p:nvPr/>
            </p:nvSpPr>
            <p:spPr>
              <a:xfrm rot="-4224216">
                <a:off x="7480887" y="2777997"/>
                <a:ext cx="46154" cy="492318"/>
              </a:xfrm>
              <a:custGeom>
                <a:avLst/>
                <a:gdLst>
                  <a:gd name="connsiteX0" fmla="*/ 0 w 46154"/>
                  <a:gd name="connsiteY0" fmla="*/ 0 h 492318"/>
                  <a:gd name="connsiteX1" fmla="*/ 46155 w 46154"/>
                  <a:gd name="connsiteY1" fmla="*/ 0 h 492318"/>
                  <a:gd name="connsiteX2" fmla="*/ 46155 w 46154"/>
                  <a:gd name="connsiteY2" fmla="*/ 492319 h 492318"/>
                  <a:gd name="connsiteX3" fmla="*/ 0 w 46154"/>
                  <a:gd name="connsiteY3" fmla="*/ 492319 h 492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154" h="492318">
                    <a:moveTo>
                      <a:pt x="0" y="0"/>
                    </a:moveTo>
                    <a:lnTo>
                      <a:pt x="46155" y="0"/>
                    </a:lnTo>
                    <a:lnTo>
                      <a:pt x="46155" y="492319"/>
                    </a:lnTo>
                    <a:lnTo>
                      <a:pt x="0" y="492319"/>
                    </a:lnTo>
                    <a:close/>
                  </a:path>
                </a:pathLst>
              </a:custGeom>
              <a:solidFill>
                <a:srgbClr val="38333D"/>
              </a:solidFill>
              <a:ln w="307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2" name="任意多边形: 形状 281">
                <a:extLst>
                  <a:ext uri="{FF2B5EF4-FFF2-40B4-BE49-F238E27FC236}">
                    <a16:creationId xmlns:a16="http://schemas.microsoft.com/office/drawing/2014/main" id="{D462F9CC-0B17-4824-9195-63A6F77F921C}"/>
                  </a:ext>
                </a:extLst>
              </p:cNvPr>
              <p:cNvSpPr/>
              <p:nvPr/>
            </p:nvSpPr>
            <p:spPr>
              <a:xfrm>
                <a:off x="7615999" y="2863873"/>
                <a:ext cx="173582" cy="119999"/>
              </a:xfrm>
              <a:custGeom>
                <a:avLst/>
                <a:gdLst>
                  <a:gd name="connsiteX0" fmla="*/ 166154 w 173582"/>
                  <a:gd name="connsiteY0" fmla="*/ 120000 h 119999"/>
                  <a:gd name="connsiteX1" fmla="*/ 166154 w 173582"/>
                  <a:gd name="connsiteY1" fmla="*/ 120000 h 119999"/>
                  <a:gd name="connsiteX2" fmla="*/ 0 w 173582"/>
                  <a:gd name="connsiteY2" fmla="*/ 9230 h 119999"/>
                  <a:gd name="connsiteX3" fmla="*/ 3077 w 173582"/>
                  <a:gd name="connsiteY3" fmla="*/ 0 h 119999"/>
                  <a:gd name="connsiteX4" fmla="*/ 12308 w 173582"/>
                  <a:gd name="connsiteY4" fmla="*/ 3077 h 119999"/>
                  <a:gd name="connsiteX5" fmla="*/ 169231 w 173582"/>
                  <a:gd name="connsiteY5" fmla="*/ 107692 h 119999"/>
                  <a:gd name="connsiteX6" fmla="*/ 172308 w 173582"/>
                  <a:gd name="connsiteY6" fmla="*/ 113846 h 119999"/>
                  <a:gd name="connsiteX7" fmla="*/ 166154 w 173582"/>
                  <a:gd name="connsiteY7" fmla="*/ 120000 h 119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3582" h="119999">
                    <a:moveTo>
                      <a:pt x="166154" y="120000"/>
                    </a:moveTo>
                    <a:cubicBezTo>
                      <a:pt x="166154" y="120000"/>
                      <a:pt x="166154" y="120000"/>
                      <a:pt x="166154" y="120000"/>
                    </a:cubicBezTo>
                    <a:cubicBezTo>
                      <a:pt x="160000" y="120000"/>
                      <a:pt x="46154" y="95384"/>
                      <a:pt x="0" y="9230"/>
                    </a:cubicBezTo>
                    <a:cubicBezTo>
                      <a:pt x="0" y="6154"/>
                      <a:pt x="0" y="3077"/>
                      <a:pt x="3077" y="0"/>
                    </a:cubicBezTo>
                    <a:cubicBezTo>
                      <a:pt x="6154" y="0"/>
                      <a:pt x="9231" y="0"/>
                      <a:pt x="12308" y="3077"/>
                    </a:cubicBezTo>
                    <a:cubicBezTo>
                      <a:pt x="55385" y="83077"/>
                      <a:pt x="169231" y="107692"/>
                      <a:pt x="169231" y="107692"/>
                    </a:cubicBezTo>
                    <a:cubicBezTo>
                      <a:pt x="172308" y="107692"/>
                      <a:pt x="175385" y="110769"/>
                      <a:pt x="172308" y="113846"/>
                    </a:cubicBezTo>
                    <a:cubicBezTo>
                      <a:pt x="169231" y="116923"/>
                      <a:pt x="169231" y="120000"/>
                      <a:pt x="166154" y="1200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3" name="任意多边形: 形状 282">
                <a:extLst>
                  <a:ext uri="{FF2B5EF4-FFF2-40B4-BE49-F238E27FC236}">
                    <a16:creationId xmlns:a16="http://schemas.microsoft.com/office/drawing/2014/main" id="{1EDACC24-DA63-4856-BF4C-F7EF11DCC176}"/>
                  </a:ext>
                </a:extLst>
              </p:cNvPr>
              <p:cNvSpPr/>
              <p:nvPr/>
            </p:nvSpPr>
            <p:spPr>
              <a:xfrm>
                <a:off x="7572922" y="2882334"/>
                <a:ext cx="25889" cy="43077"/>
              </a:xfrm>
              <a:custGeom>
                <a:avLst/>
                <a:gdLst>
                  <a:gd name="connsiteX0" fmla="*/ 21539 w 25889"/>
                  <a:gd name="connsiteY0" fmla="*/ 43077 h 43077"/>
                  <a:gd name="connsiteX1" fmla="*/ 15385 w 25889"/>
                  <a:gd name="connsiteY1" fmla="*/ 40000 h 43077"/>
                  <a:gd name="connsiteX2" fmla="*/ 0 w 25889"/>
                  <a:gd name="connsiteY2" fmla="*/ 6154 h 43077"/>
                  <a:gd name="connsiteX3" fmla="*/ 3077 w 25889"/>
                  <a:gd name="connsiteY3" fmla="*/ 0 h 43077"/>
                  <a:gd name="connsiteX4" fmla="*/ 9230 w 25889"/>
                  <a:gd name="connsiteY4" fmla="*/ 3077 h 43077"/>
                  <a:gd name="connsiteX5" fmla="*/ 24615 w 25889"/>
                  <a:gd name="connsiteY5" fmla="*/ 36923 h 43077"/>
                  <a:gd name="connsiteX6" fmla="*/ 21539 w 25889"/>
                  <a:gd name="connsiteY6" fmla="*/ 43077 h 43077"/>
                  <a:gd name="connsiteX7" fmla="*/ 21539 w 25889"/>
                  <a:gd name="connsiteY7" fmla="*/ 43077 h 4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889" h="43077">
                    <a:moveTo>
                      <a:pt x="21539" y="43077"/>
                    </a:moveTo>
                    <a:cubicBezTo>
                      <a:pt x="18462" y="43077"/>
                      <a:pt x="18462" y="43077"/>
                      <a:pt x="15385" y="40000"/>
                    </a:cubicBezTo>
                    <a:lnTo>
                      <a:pt x="0" y="6154"/>
                    </a:lnTo>
                    <a:cubicBezTo>
                      <a:pt x="0" y="3077"/>
                      <a:pt x="0" y="0"/>
                      <a:pt x="3077" y="0"/>
                    </a:cubicBezTo>
                    <a:cubicBezTo>
                      <a:pt x="6154" y="0"/>
                      <a:pt x="9230" y="0"/>
                      <a:pt x="9230" y="3077"/>
                    </a:cubicBezTo>
                    <a:lnTo>
                      <a:pt x="24615" y="36923"/>
                    </a:lnTo>
                    <a:cubicBezTo>
                      <a:pt x="27692" y="36923"/>
                      <a:pt x="24615" y="40000"/>
                      <a:pt x="21539" y="43077"/>
                    </a:cubicBezTo>
                    <a:cubicBezTo>
                      <a:pt x="21539" y="43077"/>
                      <a:pt x="21539" y="43077"/>
                      <a:pt x="21539" y="4307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4" name="任意多边形: 形状 283">
                <a:extLst>
                  <a:ext uri="{FF2B5EF4-FFF2-40B4-BE49-F238E27FC236}">
                    <a16:creationId xmlns:a16="http://schemas.microsoft.com/office/drawing/2014/main" id="{66087046-3FE1-464E-ACBC-0A33DB5E0F70}"/>
                  </a:ext>
                </a:extLst>
              </p:cNvPr>
              <p:cNvSpPr/>
              <p:nvPr/>
            </p:nvSpPr>
            <p:spPr>
              <a:xfrm>
                <a:off x="7526768" y="2894642"/>
                <a:ext cx="26636" cy="43076"/>
              </a:xfrm>
              <a:custGeom>
                <a:avLst/>
                <a:gdLst>
                  <a:gd name="connsiteX0" fmla="*/ 21539 w 26636"/>
                  <a:gd name="connsiteY0" fmla="*/ 43077 h 43076"/>
                  <a:gd name="connsiteX1" fmla="*/ 15385 w 26636"/>
                  <a:gd name="connsiteY1" fmla="*/ 40000 h 43076"/>
                  <a:gd name="connsiteX2" fmla="*/ 0 w 26636"/>
                  <a:gd name="connsiteY2" fmla="*/ 6154 h 43076"/>
                  <a:gd name="connsiteX3" fmla="*/ 3077 w 26636"/>
                  <a:gd name="connsiteY3" fmla="*/ 0 h 43076"/>
                  <a:gd name="connsiteX4" fmla="*/ 9230 w 26636"/>
                  <a:gd name="connsiteY4" fmla="*/ 3077 h 43076"/>
                  <a:gd name="connsiteX5" fmla="*/ 24615 w 26636"/>
                  <a:gd name="connsiteY5" fmla="*/ 36923 h 43076"/>
                  <a:gd name="connsiteX6" fmla="*/ 21539 w 26636"/>
                  <a:gd name="connsiteY6" fmla="*/ 43077 h 43076"/>
                  <a:gd name="connsiteX7" fmla="*/ 21539 w 26636"/>
                  <a:gd name="connsiteY7" fmla="*/ 43077 h 4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636" h="43076">
                    <a:moveTo>
                      <a:pt x="21539" y="43077"/>
                    </a:moveTo>
                    <a:cubicBezTo>
                      <a:pt x="18462" y="43077"/>
                      <a:pt x="18462" y="43077"/>
                      <a:pt x="15385" y="40000"/>
                    </a:cubicBezTo>
                    <a:lnTo>
                      <a:pt x="0" y="6154"/>
                    </a:lnTo>
                    <a:cubicBezTo>
                      <a:pt x="0" y="3077"/>
                      <a:pt x="0" y="0"/>
                      <a:pt x="3077" y="0"/>
                    </a:cubicBezTo>
                    <a:cubicBezTo>
                      <a:pt x="6154" y="0"/>
                      <a:pt x="9230" y="0"/>
                      <a:pt x="9230" y="3077"/>
                    </a:cubicBezTo>
                    <a:lnTo>
                      <a:pt x="24615" y="36923"/>
                    </a:lnTo>
                    <a:cubicBezTo>
                      <a:pt x="27692" y="36923"/>
                      <a:pt x="27692" y="40000"/>
                      <a:pt x="21539" y="43077"/>
                    </a:cubicBezTo>
                    <a:cubicBezTo>
                      <a:pt x="21539" y="43077"/>
                      <a:pt x="21539" y="43077"/>
                      <a:pt x="21539" y="4307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85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8545230" y="2842334"/>
              <a:ext cx="500513" cy="344615"/>
              <a:chOff x="8545230" y="2842334"/>
              <a:chExt cx="500513" cy="344615"/>
            </a:xfrm>
          </p:grpSpPr>
          <p:sp>
            <p:nvSpPr>
              <p:cNvPr id="286" name="任意多边形: 形状 285">
                <a:extLst>
                  <a:ext uri="{FF2B5EF4-FFF2-40B4-BE49-F238E27FC236}">
                    <a16:creationId xmlns:a16="http://schemas.microsoft.com/office/drawing/2014/main" id="{9FD726D6-0B1F-44B8-B5D7-4BFCE5F2A900}"/>
                  </a:ext>
                </a:extLst>
              </p:cNvPr>
              <p:cNvSpPr/>
              <p:nvPr/>
            </p:nvSpPr>
            <p:spPr>
              <a:xfrm>
                <a:off x="8840615" y="2842334"/>
                <a:ext cx="184615" cy="224615"/>
              </a:xfrm>
              <a:custGeom>
                <a:avLst/>
                <a:gdLst>
                  <a:gd name="connsiteX0" fmla="*/ 181538 w 184615"/>
                  <a:gd name="connsiteY0" fmla="*/ 184615 h 224615"/>
                  <a:gd name="connsiteX1" fmla="*/ 184615 w 184615"/>
                  <a:gd name="connsiteY1" fmla="*/ 0 h 224615"/>
                  <a:gd name="connsiteX2" fmla="*/ 0 w 184615"/>
                  <a:gd name="connsiteY2" fmla="*/ 0 h 224615"/>
                  <a:gd name="connsiteX3" fmla="*/ 18461 w 184615"/>
                  <a:gd name="connsiteY3" fmla="*/ 196923 h 224615"/>
                  <a:gd name="connsiteX4" fmla="*/ 169231 w 184615"/>
                  <a:gd name="connsiteY4" fmla="*/ 224615 h 22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615" h="224615">
                    <a:moveTo>
                      <a:pt x="181538" y="184615"/>
                    </a:moveTo>
                    <a:lnTo>
                      <a:pt x="184615" y="0"/>
                    </a:lnTo>
                    <a:lnTo>
                      <a:pt x="0" y="0"/>
                    </a:lnTo>
                    <a:lnTo>
                      <a:pt x="18461" y="196923"/>
                    </a:lnTo>
                    <a:lnTo>
                      <a:pt x="169231" y="224615"/>
                    </a:ln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7" name="任意多边形: 形状 286">
                <a:extLst>
                  <a:ext uri="{FF2B5EF4-FFF2-40B4-BE49-F238E27FC236}">
                    <a16:creationId xmlns:a16="http://schemas.microsoft.com/office/drawing/2014/main" id="{80F57766-7055-40F2-A89F-90D79D62314B}"/>
                  </a:ext>
                </a:extLst>
              </p:cNvPr>
              <p:cNvSpPr/>
              <p:nvPr/>
            </p:nvSpPr>
            <p:spPr>
              <a:xfrm>
                <a:off x="8545230" y="2980795"/>
                <a:ext cx="500512" cy="160000"/>
              </a:xfrm>
              <a:custGeom>
                <a:avLst/>
                <a:gdLst>
                  <a:gd name="connsiteX0" fmla="*/ 492308 w 500512"/>
                  <a:gd name="connsiteY0" fmla="*/ 46154 h 160000"/>
                  <a:gd name="connsiteX1" fmla="*/ 304615 w 500512"/>
                  <a:gd name="connsiteY1" fmla="*/ 0 h 160000"/>
                  <a:gd name="connsiteX2" fmla="*/ 169231 w 500512"/>
                  <a:gd name="connsiteY2" fmla="*/ 80000 h 160000"/>
                  <a:gd name="connsiteX3" fmla="*/ 0 w 500512"/>
                  <a:gd name="connsiteY3" fmla="*/ 160000 h 160000"/>
                  <a:gd name="connsiteX4" fmla="*/ 492308 w 500512"/>
                  <a:gd name="connsiteY4" fmla="*/ 160000 h 160000"/>
                  <a:gd name="connsiteX5" fmla="*/ 492308 w 500512"/>
                  <a:gd name="connsiteY5" fmla="*/ 46154 h 1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512" h="160000">
                    <a:moveTo>
                      <a:pt x="492308" y="46154"/>
                    </a:moveTo>
                    <a:cubicBezTo>
                      <a:pt x="492308" y="46154"/>
                      <a:pt x="366154" y="64616"/>
                      <a:pt x="304615" y="0"/>
                    </a:cubicBezTo>
                    <a:cubicBezTo>
                      <a:pt x="304615" y="0"/>
                      <a:pt x="215385" y="70769"/>
                      <a:pt x="169231" y="80000"/>
                    </a:cubicBezTo>
                    <a:cubicBezTo>
                      <a:pt x="123077" y="89231"/>
                      <a:pt x="12308" y="86154"/>
                      <a:pt x="0" y="160000"/>
                    </a:cubicBezTo>
                    <a:lnTo>
                      <a:pt x="492308" y="160000"/>
                    </a:lnTo>
                    <a:cubicBezTo>
                      <a:pt x="492308" y="160000"/>
                      <a:pt x="510770" y="98462"/>
                      <a:pt x="492308" y="46154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8" name="任意多边形: 形状 287">
                <a:extLst>
                  <a:ext uri="{FF2B5EF4-FFF2-40B4-BE49-F238E27FC236}">
                    <a16:creationId xmlns:a16="http://schemas.microsoft.com/office/drawing/2014/main" id="{424B3522-4D62-48FE-9252-491762CBD60E}"/>
                  </a:ext>
                </a:extLst>
              </p:cNvPr>
              <p:cNvSpPr/>
              <p:nvPr/>
            </p:nvSpPr>
            <p:spPr>
              <a:xfrm>
                <a:off x="8545230" y="3140795"/>
                <a:ext cx="492307" cy="46153"/>
              </a:xfrm>
              <a:custGeom>
                <a:avLst/>
                <a:gdLst>
                  <a:gd name="connsiteX0" fmla="*/ 0 w 492307"/>
                  <a:gd name="connsiteY0" fmla="*/ 0 h 46153"/>
                  <a:gd name="connsiteX1" fmla="*/ 492308 w 492307"/>
                  <a:gd name="connsiteY1" fmla="*/ 0 h 46153"/>
                  <a:gd name="connsiteX2" fmla="*/ 492308 w 492307"/>
                  <a:gd name="connsiteY2" fmla="*/ 46154 h 46153"/>
                  <a:gd name="connsiteX3" fmla="*/ 0 w 492307"/>
                  <a:gd name="connsiteY3" fmla="*/ 46154 h 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307" h="46153">
                    <a:moveTo>
                      <a:pt x="0" y="0"/>
                    </a:moveTo>
                    <a:lnTo>
                      <a:pt x="492308" y="0"/>
                    </a:lnTo>
                    <a:lnTo>
                      <a:pt x="492308" y="46154"/>
                    </a:lnTo>
                    <a:lnTo>
                      <a:pt x="0" y="46154"/>
                    </a:ln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9" name="任意多边形: 形状 288">
                <a:extLst>
                  <a:ext uri="{FF2B5EF4-FFF2-40B4-BE49-F238E27FC236}">
                    <a16:creationId xmlns:a16="http://schemas.microsoft.com/office/drawing/2014/main" id="{AA7A818F-2523-430C-94D0-06FD2C8725D5}"/>
                  </a:ext>
                </a:extLst>
              </p:cNvPr>
              <p:cNvSpPr/>
              <p:nvPr/>
            </p:nvSpPr>
            <p:spPr>
              <a:xfrm>
                <a:off x="8841384" y="2972334"/>
                <a:ext cx="202307" cy="63845"/>
              </a:xfrm>
              <a:custGeom>
                <a:avLst/>
                <a:gdLst>
                  <a:gd name="connsiteX0" fmla="*/ 159230 w 202307"/>
                  <a:gd name="connsiteY0" fmla="*/ 63846 h 63845"/>
                  <a:gd name="connsiteX1" fmla="*/ 2307 w 202307"/>
                  <a:gd name="connsiteY1" fmla="*/ 11538 h 63845"/>
                  <a:gd name="connsiteX2" fmla="*/ 2307 w 202307"/>
                  <a:gd name="connsiteY2" fmla="*/ 2307 h 63845"/>
                  <a:gd name="connsiteX3" fmla="*/ 11538 w 202307"/>
                  <a:gd name="connsiteY3" fmla="*/ 2307 h 63845"/>
                  <a:gd name="connsiteX4" fmla="*/ 196154 w 202307"/>
                  <a:gd name="connsiteY4" fmla="*/ 48461 h 63845"/>
                  <a:gd name="connsiteX5" fmla="*/ 202307 w 202307"/>
                  <a:gd name="connsiteY5" fmla="*/ 54615 h 63845"/>
                  <a:gd name="connsiteX6" fmla="*/ 196154 w 202307"/>
                  <a:gd name="connsiteY6" fmla="*/ 60769 h 63845"/>
                  <a:gd name="connsiteX7" fmla="*/ 159230 w 202307"/>
                  <a:gd name="connsiteY7" fmla="*/ 63846 h 63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307" h="63845">
                    <a:moveTo>
                      <a:pt x="159230" y="63846"/>
                    </a:moveTo>
                    <a:cubicBezTo>
                      <a:pt x="119231" y="63846"/>
                      <a:pt x="51538" y="57692"/>
                      <a:pt x="2307" y="11538"/>
                    </a:cubicBezTo>
                    <a:cubicBezTo>
                      <a:pt x="-769" y="8461"/>
                      <a:pt x="-769" y="5385"/>
                      <a:pt x="2307" y="2307"/>
                    </a:cubicBezTo>
                    <a:cubicBezTo>
                      <a:pt x="5384" y="-769"/>
                      <a:pt x="8461" y="-769"/>
                      <a:pt x="11538" y="2307"/>
                    </a:cubicBezTo>
                    <a:cubicBezTo>
                      <a:pt x="79230" y="63846"/>
                      <a:pt x="193077" y="48461"/>
                      <a:pt x="196154" y="48461"/>
                    </a:cubicBezTo>
                    <a:cubicBezTo>
                      <a:pt x="199231" y="48461"/>
                      <a:pt x="202307" y="51538"/>
                      <a:pt x="202307" y="54615"/>
                    </a:cubicBezTo>
                    <a:cubicBezTo>
                      <a:pt x="202307" y="57692"/>
                      <a:pt x="199231" y="60769"/>
                      <a:pt x="196154" y="60769"/>
                    </a:cubicBezTo>
                    <a:cubicBezTo>
                      <a:pt x="196154" y="60769"/>
                      <a:pt x="180769" y="63846"/>
                      <a:pt x="159230" y="6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0" name="任意多边形: 形状 289">
                <a:extLst>
                  <a:ext uri="{FF2B5EF4-FFF2-40B4-BE49-F238E27FC236}">
                    <a16:creationId xmlns:a16="http://schemas.microsoft.com/office/drawing/2014/main" id="{D64AAB3B-1FC5-48DC-97A2-A96CCC546258}"/>
                  </a:ext>
                </a:extLst>
              </p:cNvPr>
              <p:cNvSpPr/>
              <p:nvPr/>
            </p:nvSpPr>
            <p:spPr>
              <a:xfrm>
                <a:off x="8810615" y="2996949"/>
                <a:ext cx="38461" cy="42307"/>
              </a:xfrm>
              <a:custGeom>
                <a:avLst/>
                <a:gdLst>
                  <a:gd name="connsiteX0" fmla="*/ 30000 w 38461"/>
                  <a:gd name="connsiteY0" fmla="*/ 42308 h 42307"/>
                  <a:gd name="connsiteX1" fmla="*/ 26923 w 38461"/>
                  <a:gd name="connsiteY1" fmla="*/ 39231 h 42307"/>
                  <a:gd name="connsiteX2" fmla="*/ 2307 w 38461"/>
                  <a:gd name="connsiteY2" fmla="*/ 11539 h 42307"/>
                  <a:gd name="connsiteX3" fmla="*/ 2307 w 38461"/>
                  <a:gd name="connsiteY3" fmla="*/ 2308 h 42307"/>
                  <a:gd name="connsiteX4" fmla="*/ 11538 w 38461"/>
                  <a:gd name="connsiteY4" fmla="*/ 2308 h 42307"/>
                  <a:gd name="connsiteX5" fmla="*/ 36153 w 38461"/>
                  <a:gd name="connsiteY5" fmla="*/ 30000 h 42307"/>
                  <a:gd name="connsiteX6" fmla="*/ 36153 w 38461"/>
                  <a:gd name="connsiteY6" fmla="*/ 39231 h 42307"/>
                  <a:gd name="connsiteX7" fmla="*/ 30000 w 38461"/>
                  <a:gd name="connsiteY7" fmla="*/ 42308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1" h="42307">
                    <a:moveTo>
                      <a:pt x="30000" y="42308"/>
                    </a:moveTo>
                    <a:cubicBezTo>
                      <a:pt x="30000" y="42308"/>
                      <a:pt x="26923" y="42308"/>
                      <a:pt x="26923" y="39231"/>
                    </a:cubicBezTo>
                    <a:lnTo>
                      <a:pt x="2307" y="11539"/>
                    </a:lnTo>
                    <a:cubicBezTo>
                      <a:pt x="-769" y="8462"/>
                      <a:pt x="-769" y="5385"/>
                      <a:pt x="2307" y="2308"/>
                    </a:cubicBezTo>
                    <a:cubicBezTo>
                      <a:pt x="5384" y="-769"/>
                      <a:pt x="8461" y="-769"/>
                      <a:pt x="11538" y="2308"/>
                    </a:cubicBezTo>
                    <a:lnTo>
                      <a:pt x="36153" y="30000"/>
                    </a:lnTo>
                    <a:cubicBezTo>
                      <a:pt x="39231" y="33077"/>
                      <a:pt x="39231" y="36154"/>
                      <a:pt x="36153" y="39231"/>
                    </a:cubicBezTo>
                    <a:cubicBezTo>
                      <a:pt x="33076" y="42308"/>
                      <a:pt x="30000" y="42308"/>
                      <a:pt x="30000" y="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1" name="任意多边形: 形状 290">
                <a:extLst>
                  <a:ext uri="{FF2B5EF4-FFF2-40B4-BE49-F238E27FC236}">
                    <a16:creationId xmlns:a16="http://schemas.microsoft.com/office/drawing/2014/main" id="{AF7E0327-8B63-49A7-AC65-5AE2F6EB0B23}"/>
                  </a:ext>
                </a:extLst>
              </p:cNvPr>
              <p:cNvSpPr/>
              <p:nvPr/>
            </p:nvSpPr>
            <p:spPr>
              <a:xfrm>
                <a:off x="8767537" y="3024642"/>
                <a:ext cx="41539" cy="42307"/>
              </a:xfrm>
              <a:custGeom>
                <a:avLst/>
                <a:gdLst>
                  <a:gd name="connsiteX0" fmla="*/ 33077 w 41539"/>
                  <a:gd name="connsiteY0" fmla="*/ 42308 h 42307"/>
                  <a:gd name="connsiteX1" fmla="*/ 30000 w 41539"/>
                  <a:gd name="connsiteY1" fmla="*/ 39231 h 42307"/>
                  <a:gd name="connsiteX2" fmla="*/ 2308 w 41539"/>
                  <a:gd name="connsiteY2" fmla="*/ 11538 h 42307"/>
                  <a:gd name="connsiteX3" fmla="*/ 2308 w 41539"/>
                  <a:gd name="connsiteY3" fmla="*/ 2307 h 42307"/>
                  <a:gd name="connsiteX4" fmla="*/ 11539 w 41539"/>
                  <a:gd name="connsiteY4" fmla="*/ 2307 h 42307"/>
                  <a:gd name="connsiteX5" fmla="*/ 39231 w 41539"/>
                  <a:gd name="connsiteY5" fmla="*/ 30000 h 42307"/>
                  <a:gd name="connsiteX6" fmla="*/ 39231 w 41539"/>
                  <a:gd name="connsiteY6" fmla="*/ 39231 h 42307"/>
                  <a:gd name="connsiteX7" fmla="*/ 33077 w 41539"/>
                  <a:gd name="connsiteY7" fmla="*/ 42308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9" h="42307">
                    <a:moveTo>
                      <a:pt x="33077" y="42308"/>
                    </a:moveTo>
                    <a:cubicBezTo>
                      <a:pt x="33077" y="42308"/>
                      <a:pt x="30000" y="42308"/>
                      <a:pt x="30000" y="39231"/>
                    </a:cubicBezTo>
                    <a:lnTo>
                      <a:pt x="2308" y="11538"/>
                    </a:lnTo>
                    <a:cubicBezTo>
                      <a:pt x="-769" y="8462"/>
                      <a:pt x="-769" y="5385"/>
                      <a:pt x="2308" y="2307"/>
                    </a:cubicBezTo>
                    <a:cubicBezTo>
                      <a:pt x="5385" y="-769"/>
                      <a:pt x="8462" y="-769"/>
                      <a:pt x="11539" y="2307"/>
                    </a:cubicBezTo>
                    <a:lnTo>
                      <a:pt x="39231" y="30000"/>
                    </a:lnTo>
                    <a:cubicBezTo>
                      <a:pt x="42308" y="33077"/>
                      <a:pt x="42308" y="36154"/>
                      <a:pt x="39231" y="39231"/>
                    </a:cubicBezTo>
                    <a:cubicBezTo>
                      <a:pt x="36154" y="42308"/>
                      <a:pt x="36154" y="42308"/>
                      <a:pt x="33077" y="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92" name="任意多边形: 形状 291">
              <a:extLst>
                <a:ext uri="{FF2B5EF4-FFF2-40B4-BE49-F238E27FC236}">
                  <a16:creationId xmlns:a16="http://schemas.microsoft.com/office/drawing/2014/main" id="{77BDE7BB-C37E-4756-9AFC-25E75503F167}"/>
                </a:ext>
              </a:extLst>
            </p:cNvPr>
            <p:cNvSpPr/>
            <p:nvPr/>
          </p:nvSpPr>
          <p:spPr>
            <a:xfrm>
              <a:off x="7600614" y="608488"/>
              <a:ext cx="1539975" cy="2304615"/>
            </a:xfrm>
            <a:custGeom>
              <a:avLst/>
              <a:gdLst>
                <a:gd name="connsiteX0" fmla="*/ 495385 w 1539975"/>
                <a:gd name="connsiteY0" fmla="*/ 18461 h 2304615"/>
                <a:gd name="connsiteX1" fmla="*/ 172308 w 1539975"/>
                <a:gd name="connsiteY1" fmla="*/ 1138462 h 2304615"/>
                <a:gd name="connsiteX2" fmla="*/ 0 w 1539975"/>
                <a:gd name="connsiteY2" fmla="*/ 2147693 h 2304615"/>
                <a:gd name="connsiteX3" fmla="*/ 292308 w 1539975"/>
                <a:gd name="connsiteY3" fmla="*/ 2264615 h 2304615"/>
                <a:gd name="connsiteX4" fmla="*/ 593847 w 1539975"/>
                <a:gd name="connsiteY4" fmla="*/ 1347692 h 2304615"/>
                <a:gd name="connsiteX5" fmla="*/ 996923 w 1539975"/>
                <a:gd name="connsiteY5" fmla="*/ 507692 h 2304615"/>
                <a:gd name="connsiteX6" fmla="*/ 1043077 w 1539975"/>
                <a:gd name="connsiteY6" fmla="*/ 1489231 h 2304615"/>
                <a:gd name="connsiteX7" fmla="*/ 1190770 w 1539975"/>
                <a:gd name="connsiteY7" fmla="*/ 2295384 h 2304615"/>
                <a:gd name="connsiteX8" fmla="*/ 1480000 w 1539975"/>
                <a:gd name="connsiteY8" fmla="*/ 2304615 h 2304615"/>
                <a:gd name="connsiteX9" fmla="*/ 1449231 w 1539975"/>
                <a:gd name="connsiteY9" fmla="*/ 1470769 h 2304615"/>
                <a:gd name="connsiteX10" fmla="*/ 1529231 w 1539975"/>
                <a:gd name="connsiteY10" fmla="*/ 0 h 2304615"/>
                <a:gd name="connsiteX11" fmla="*/ 495385 w 1539975"/>
                <a:gd name="connsiteY11" fmla="*/ 18461 h 230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9975" h="2304615">
                  <a:moveTo>
                    <a:pt x="495385" y="18461"/>
                  </a:moveTo>
                  <a:lnTo>
                    <a:pt x="172308" y="1138462"/>
                  </a:lnTo>
                  <a:lnTo>
                    <a:pt x="0" y="2147693"/>
                  </a:lnTo>
                  <a:lnTo>
                    <a:pt x="292308" y="2264615"/>
                  </a:lnTo>
                  <a:lnTo>
                    <a:pt x="593847" y="1347692"/>
                  </a:lnTo>
                  <a:cubicBezTo>
                    <a:pt x="593847" y="1347692"/>
                    <a:pt x="987693" y="523077"/>
                    <a:pt x="996923" y="507692"/>
                  </a:cubicBezTo>
                  <a:cubicBezTo>
                    <a:pt x="1012308" y="476923"/>
                    <a:pt x="1043077" y="1489231"/>
                    <a:pt x="1043077" y="1489231"/>
                  </a:cubicBezTo>
                  <a:lnTo>
                    <a:pt x="1190770" y="2295384"/>
                  </a:lnTo>
                  <a:lnTo>
                    <a:pt x="1480000" y="2304615"/>
                  </a:lnTo>
                  <a:cubicBezTo>
                    <a:pt x="1480000" y="2304615"/>
                    <a:pt x="1443077" y="1572308"/>
                    <a:pt x="1449231" y="1470769"/>
                  </a:cubicBezTo>
                  <a:cubicBezTo>
                    <a:pt x="1458462" y="1316923"/>
                    <a:pt x="1575385" y="98461"/>
                    <a:pt x="1529231" y="0"/>
                  </a:cubicBezTo>
                  <a:cubicBezTo>
                    <a:pt x="821539" y="30769"/>
                    <a:pt x="495385" y="18461"/>
                    <a:pt x="495385" y="18461"/>
                  </a:cubicBez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3" name="任意多边形: 形状 292">
              <a:extLst>
                <a:ext uri="{FF2B5EF4-FFF2-40B4-BE49-F238E27FC236}">
                  <a16:creationId xmlns:a16="http://schemas.microsoft.com/office/drawing/2014/main" id="{B64BD0DF-3C3D-4B86-8235-97BE7324852F}"/>
                </a:ext>
              </a:extLst>
            </p:cNvPr>
            <p:cNvSpPr/>
            <p:nvPr/>
          </p:nvSpPr>
          <p:spPr>
            <a:xfrm>
              <a:off x="8532923" y="753103"/>
              <a:ext cx="70768" cy="366153"/>
            </a:xfrm>
            <a:custGeom>
              <a:avLst/>
              <a:gdLst>
                <a:gd name="connsiteX0" fmla="*/ 64615 w 70768"/>
                <a:gd name="connsiteY0" fmla="*/ 366154 h 366153"/>
                <a:gd name="connsiteX1" fmla="*/ 58461 w 70768"/>
                <a:gd name="connsiteY1" fmla="*/ 363077 h 366153"/>
                <a:gd name="connsiteX2" fmla="*/ 0 w 70768"/>
                <a:gd name="connsiteY2" fmla="*/ 6154 h 366153"/>
                <a:gd name="connsiteX3" fmla="*/ 6153 w 70768"/>
                <a:gd name="connsiteY3" fmla="*/ 0 h 366153"/>
                <a:gd name="connsiteX4" fmla="*/ 6153 w 70768"/>
                <a:gd name="connsiteY4" fmla="*/ 0 h 366153"/>
                <a:gd name="connsiteX5" fmla="*/ 12308 w 70768"/>
                <a:gd name="connsiteY5" fmla="*/ 6154 h 366153"/>
                <a:gd name="connsiteX6" fmla="*/ 70769 w 70768"/>
                <a:gd name="connsiteY6" fmla="*/ 360000 h 366153"/>
                <a:gd name="connsiteX7" fmla="*/ 64615 w 70768"/>
                <a:gd name="connsiteY7" fmla="*/ 366154 h 366153"/>
                <a:gd name="connsiteX8" fmla="*/ 64615 w 70768"/>
                <a:gd name="connsiteY8" fmla="*/ 366154 h 36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768" h="366153">
                  <a:moveTo>
                    <a:pt x="64615" y="366154"/>
                  </a:moveTo>
                  <a:cubicBezTo>
                    <a:pt x="61538" y="366154"/>
                    <a:pt x="61538" y="366154"/>
                    <a:pt x="58461" y="363077"/>
                  </a:cubicBezTo>
                  <a:cubicBezTo>
                    <a:pt x="9230" y="246154"/>
                    <a:pt x="0" y="15385"/>
                    <a:pt x="0" y="6154"/>
                  </a:cubicBezTo>
                  <a:cubicBezTo>
                    <a:pt x="0" y="3077"/>
                    <a:pt x="3076" y="0"/>
                    <a:pt x="6153" y="0"/>
                  </a:cubicBezTo>
                  <a:lnTo>
                    <a:pt x="6153" y="0"/>
                  </a:lnTo>
                  <a:cubicBezTo>
                    <a:pt x="9230" y="0"/>
                    <a:pt x="12308" y="3077"/>
                    <a:pt x="12308" y="6154"/>
                  </a:cubicBezTo>
                  <a:cubicBezTo>
                    <a:pt x="12308" y="9231"/>
                    <a:pt x="21538" y="246154"/>
                    <a:pt x="70769" y="360000"/>
                  </a:cubicBezTo>
                  <a:cubicBezTo>
                    <a:pt x="70769" y="363077"/>
                    <a:pt x="70769" y="366154"/>
                    <a:pt x="64615" y="366154"/>
                  </a:cubicBezTo>
                  <a:cubicBezTo>
                    <a:pt x="64615" y="366154"/>
                    <a:pt x="64615" y="366154"/>
                    <a:pt x="64615" y="366154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4" name="任意多边形: 形状 293">
              <a:extLst>
                <a:ext uri="{FF2B5EF4-FFF2-40B4-BE49-F238E27FC236}">
                  <a16:creationId xmlns:a16="http://schemas.microsoft.com/office/drawing/2014/main" id="{80137FDD-1B50-4E4F-A9C6-43BB22200C23}"/>
                </a:ext>
              </a:extLst>
            </p:cNvPr>
            <p:cNvSpPr/>
            <p:nvPr/>
          </p:nvSpPr>
          <p:spPr>
            <a:xfrm>
              <a:off x="8419076" y="685411"/>
              <a:ext cx="156923" cy="356923"/>
            </a:xfrm>
            <a:custGeom>
              <a:avLst/>
              <a:gdLst>
                <a:gd name="connsiteX0" fmla="*/ 147692 w 156923"/>
                <a:gd name="connsiteY0" fmla="*/ 356923 h 356923"/>
                <a:gd name="connsiteX1" fmla="*/ 144616 w 156923"/>
                <a:gd name="connsiteY1" fmla="*/ 356923 h 356923"/>
                <a:gd name="connsiteX2" fmla="*/ 33846 w 156923"/>
                <a:gd name="connsiteY2" fmla="*/ 276923 h 356923"/>
                <a:gd name="connsiteX3" fmla="*/ 0 w 156923"/>
                <a:gd name="connsiteY3" fmla="*/ 6154 h 356923"/>
                <a:gd name="connsiteX4" fmla="*/ 6154 w 156923"/>
                <a:gd name="connsiteY4" fmla="*/ 0 h 356923"/>
                <a:gd name="connsiteX5" fmla="*/ 12308 w 156923"/>
                <a:gd name="connsiteY5" fmla="*/ 6154 h 356923"/>
                <a:gd name="connsiteX6" fmla="*/ 46154 w 156923"/>
                <a:gd name="connsiteY6" fmla="*/ 270769 h 356923"/>
                <a:gd name="connsiteX7" fmla="*/ 153846 w 156923"/>
                <a:gd name="connsiteY7" fmla="*/ 347692 h 356923"/>
                <a:gd name="connsiteX8" fmla="*/ 156923 w 156923"/>
                <a:gd name="connsiteY8" fmla="*/ 356923 h 356923"/>
                <a:gd name="connsiteX9" fmla="*/ 147692 w 156923"/>
                <a:gd name="connsiteY9" fmla="*/ 356923 h 35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923" h="356923">
                  <a:moveTo>
                    <a:pt x="147692" y="356923"/>
                  </a:moveTo>
                  <a:cubicBezTo>
                    <a:pt x="147692" y="356923"/>
                    <a:pt x="144616" y="356923"/>
                    <a:pt x="144616" y="356923"/>
                  </a:cubicBezTo>
                  <a:cubicBezTo>
                    <a:pt x="135384" y="350769"/>
                    <a:pt x="46154" y="292308"/>
                    <a:pt x="33846" y="276923"/>
                  </a:cubicBezTo>
                  <a:cubicBezTo>
                    <a:pt x="21539" y="261538"/>
                    <a:pt x="3077" y="49231"/>
                    <a:pt x="0" y="6154"/>
                  </a:cubicBezTo>
                  <a:cubicBezTo>
                    <a:pt x="0" y="3077"/>
                    <a:pt x="3077" y="0"/>
                    <a:pt x="6154" y="0"/>
                  </a:cubicBezTo>
                  <a:cubicBezTo>
                    <a:pt x="9230" y="0"/>
                    <a:pt x="12308" y="3077"/>
                    <a:pt x="12308" y="6154"/>
                  </a:cubicBezTo>
                  <a:cubicBezTo>
                    <a:pt x="21539" y="101538"/>
                    <a:pt x="36923" y="258461"/>
                    <a:pt x="46154" y="270769"/>
                  </a:cubicBezTo>
                  <a:cubicBezTo>
                    <a:pt x="55384" y="280000"/>
                    <a:pt x="113847" y="323077"/>
                    <a:pt x="153846" y="347692"/>
                  </a:cubicBezTo>
                  <a:cubicBezTo>
                    <a:pt x="156923" y="350769"/>
                    <a:pt x="156923" y="353846"/>
                    <a:pt x="156923" y="356923"/>
                  </a:cubicBezTo>
                  <a:cubicBezTo>
                    <a:pt x="150769" y="353846"/>
                    <a:pt x="150769" y="356923"/>
                    <a:pt x="147692" y="356923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5" name="任意多边形: 形状 294">
              <a:extLst>
                <a:ext uri="{FF2B5EF4-FFF2-40B4-BE49-F238E27FC236}">
                  <a16:creationId xmlns:a16="http://schemas.microsoft.com/office/drawing/2014/main" id="{E220B9DE-2EB2-4166-B5B6-137E7883526B}"/>
                </a:ext>
              </a:extLst>
            </p:cNvPr>
            <p:cNvSpPr/>
            <p:nvPr/>
          </p:nvSpPr>
          <p:spPr>
            <a:xfrm>
              <a:off x="8076713" y="-908434"/>
              <a:ext cx="1080825" cy="1572122"/>
            </a:xfrm>
            <a:custGeom>
              <a:avLst/>
              <a:gdLst>
                <a:gd name="connsiteX0" fmla="*/ 662363 w 1080825"/>
                <a:gd name="connsiteY0" fmla="*/ 0 h 1572122"/>
                <a:gd name="connsiteX1" fmla="*/ 416209 w 1080825"/>
                <a:gd name="connsiteY1" fmla="*/ 9231 h 1572122"/>
                <a:gd name="connsiteX2" fmla="*/ 86979 w 1080825"/>
                <a:gd name="connsiteY2" fmla="*/ 123077 h 1572122"/>
                <a:gd name="connsiteX3" fmla="*/ 825 w 1080825"/>
                <a:gd name="connsiteY3" fmla="*/ 1541538 h 1572122"/>
                <a:gd name="connsiteX4" fmla="*/ 1080825 w 1080825"/>
                <a:gd name="connsiteY4" fmla="*/ 1516923 h 1572122"/>
                <a:gd name="connsiteX5" fmla="*/ 963902 w 1080825"/>
                <a:gd name="connsiteY5" fmla="*/ 95385 h 1572122"/>
                <a:gd name="connsiteX6" fmla="*/ 662363 w 1080825"/>
                <a:gd name="connsiteY6" fmla="*/ 0 h 1572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0825" h="1572122">
                  <a:moveTo>
                    <a:pt x="662363" y="0"/>
                  </a:moveTo>
                  <a:cubicBezTo>
                    <a:pt x="662363" y="0"/>
                    <a:pt x="533133" y="67692"/>
                    <a:pt x="416209" y="9231"/>
                  </a:cubicBezTo>
                  <a:cubicBezTo>
                    <a:pt x="416209" y="9231"/>
                    <a:pt x="130056" y="64615"/>
                    <a:pt x="86979" y="123077"/>
                  </a:cubicBezTo>
                  <a:cubicBezTo>
                    <a:pt x="62363" y="156923"/>
                    <a:pt x="-8406" y="1473846"/>
                    <a:pt x="825" y="1541538"/>
                  </a:cubicBezTo>
                  <a:cubicBezTo>
                    <a:pt x="825" y="1541538"/>
                    <a:pt x="496210" y="1624616"/>
                    <a:pt x="1080825" y="1516923"/>
                  </a:cubicBezTo>
                  <a:cubicBezTo>
                    <a:pt x="1080825" y="1156923"/>
                    <a:pt x="1006979" y="126154"/>
                    <a:pt x="963902" y="95385"/>
                  </a:cubicBezTo>
                  <a:cubicBezTo>
                    <a:pt x="893133" y="46154"/>
                    <a:pt x="662363" y="0"/>
                    <a:pt x="662363" y="0"/>
                  </a:cubicBezTo>
                  <a:close/>
                </a:path>
              </a:pathLst>
            </a:custGeom>
            <a:solidFill>
              <a:srgbClr val="70868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6" name="任意多边形: 形状 295">
              <a:extLst>
                <a:ext uri="{FF2B5EF4-FFF2-40B4-BE49-F238E27FC236}">
                  <a16:creationId xmlns:a16="http://schemas.microsoft.com/office/drawing/2014/main" id="{F69BBA00-D357-47D3-BB44-083E6A5736B5}"/>
                </a:ext>
              </a:extLst>
            </p:cNvPr>
            <p:cNvSpPr/>
            <p:nvPr/>
          </p:nvSpPr>
          <p:spPr>
            <a:xfrm>
              <a:off x="8111384" y="-789709"/>
              <a:ext cx="53582" cy="748966"/>
            </a:xfrm>
            <a:custGeom>
              <a:avLst/>
              <a:gdLst>
                <a:gd name="connsiteX0" fmla="*/ 6154 w 53582"/>
                <a:gd name="connsiteY0" fmla="*/ 748967 h 748966"/>
                <a:gd name="connsiteX1" fmla="*/ 6154 w 53582"/>
                <a:gd name="connsiteY1" fmla="*/ 748967 h 748966"/>
                <a:gd name="connsiteX2" fmla="*/ 0 w 53582"/>
                <a:gd name="connsiteY2" fmla="*/ 742813 h 748966"/>
                <a:gd name="connsiteX3" fmla="*/ 43077 w 53582"/>
                <a:gd name="connsiteY3" fmla="*/ 4351 h 748966"/>
                <a:gd name="connsiteX4" fmla="*/ 49231 w 53582"/>
                <a:gd name="connsiteY4" fmla="*/ 1275 h 748966"/>
                <a:gd name="connsiteX5" fmla="*/ 52308 w 53582"/>
                <a:gd name="connsiteY5" fmla="*/ 7428 h 748966"/>
                <a:gd name="connsiteX6" fmla="*/ 9230 w 53582"/>
                <a:gd name="connsiteY6" fmla="*/ 742813 h 748966"/>
                <a:gd name="connsiteX7" fmla="*/ 6154 w 53582"/>
                <a:gd name="connsiteY7" fmla="*/ 748967 h 748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582" h="748966">
                  <a:moveTo>
                    <a:pt x="6154" y="748967"/>
                  </a:moveTo>
                  <a:cubicBezTo>
                    <a:pt x="6154" y="748967"/>
                    <a:pt x="6154" y="748967"/>
                    <a:pt x="6154" y="748967"/>
                  </a:cubicBezTo>
                  <a:cubicBezTo>
                    <a:pt x="3077" y="748967"/>
                    <a:pt x="0" y="745890"/>
                    <a:pt x="0" y="742813"/>
                  </a:cubicBezTo>
                  <a:cubicBezTo>
                    <a:pt x="0" y="715121"/>
                    <a:pt x="36923" y="44351"/>
                    <a:pt x="43077" y="4351"/>
                  </a:cubicBezTo>
                  <a:cubicBezTo>
                    <a:pt x="43077" y="1275"/>
                    <a:pt x="46154" y="-1802"/>
                    <a:pt x="49231" y="1275"/>
                  </a:cubicBezTo>
                  <a:cubicBezTo>
                    <a:pt x="52308" y="1275"/>
                    <a:pt x="55384" y="4351"/>
                    <a:pt x="52308" y="7428"/>
                  </a:cubicBezTo>
                  <a:cubicBezTo>
                    <a:pt x="43077" y="47428"/>
                    <a:pt x="9230" y="736659"/>
                    <a:pt x="9230" y="742813"/>
                  </a:cubicBezTo>
                  <a:cubicBezTo>
                    <a:pt x="12308" y="745890"/>
                    <a:pt x="9230" y="748967"/>
                    <a:pt x="6154" y="748967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7" name="任意多边形: 形状 296">
              <a:extLst>
                <a:ext uri="{FF2B5EF4-FFF2-40B4-BE49-F238E27FC236}">
                  <a16:creationId xmlns:a16="http://schemas.microsoft.com/office/drawing/2014/main" id="{0CB41AAD-971B-42AD-93E9-928D49A92D74}"/>
                </a:ext>
              </a:extLst>
            </p:cNvPr>
            <p:cNvSpPr/>
            <p:nvPr/>
          </p:nvSpPr>
          <p:spPr>
            <a:xfrm>
              <a:off x="7009699" y="605487"/>
              <a:ext cx="296761" cy="220349"/>
            </a:xfrm>
            <a:custGeom>
              <a:avLst/>
              <a:gdLst>
                <a:gd name="connsiteX0" fmla="*/ 160146 w 296761"/>
                <a:gd name="connsiteY0" fmla="*/ 212231 h 220349"/>
                <a:gd name="connsiteX1" fmla="*/ 292454 w 296761"/>
                <a:gd name="connsiteY1" fmla="*/ 169154 h 220349"/>
                <a:gd name="connsiteX2" fmla="*/ 277070 w 296761"/>
                <a:gd name="connsiteY2" fmla="*/ 27616 h 220349"/>
                <a:gd name="connsiteX3" fmla="*/ 3223 w 296761"/>
                <a:gd name="connsiteY3" fmla="*/ 67616 h 220349"/>
                <a:gd name="connsiteX4" fmla="*/ 18607 w 296761"/>
                <a:gd name="connsiteY4" fmla="*/ 113770 h 220349"/>
                <a:gd name="connsiteX5" fmla="*/ 30916 w 296761"/>
                <a:gd name="connsiteY5" fmla="*/ 169154 h 220349"/>
                <a:gd name="connsiteX6" fmla="*/ 61685 w 296761"/>
                <a:gd name="connsiteY6" fmla="*/ 190693 h 220349"/>
                <a:gd name="connsiteX7" fmla="*/ 113992 w 296761"/>
                <a:gd name="connsiteY7" fmla="*/ 212231 h 220349"/>
                <a:gd name="connsiteX8" fmla="*/ 160146 w 296761"/>
                <a:gd name="connsiteY8" fmla="*/ 212231 h 220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6761" h="220349">
                  <a:moveTo>
                    <a:pt x="160146" y="212231"/>
                  </a:moveTo>
                  <a:cubicBezTo>
                    <a:pt x="203223" y="196847"/>
                    <a:pt x="270915" y="212231"/>
                    <a:pt x="292454" y="169154"/>
                  </a:cubicBezTo>
                  <a:cubicBezTo>
                    <a:pt x="307839" y="141462"/>
                    <a:pt x="277070" y="27616"/>
                    <a:pt x="277070" y="27616"/>
                  </a:cubicBezTo>
                  <a:cubicBezTo>
                    <a:pt x="221684" y="-40076"/>
                    <a:pt x="61685" y="33770"/>
                    <a:pt x="3223" y="67616"/>
                  </a:cubicBezTo>
                  <a:cubicBezTo>
                    <a:pt x="-6008" y="73770"/>
                    <a:pt x="6300" y="113770"/>
                    <a:pt x="18607" y="113770"/>
                  </a:cubicBezTo>
                  <a:cubicBezTo>
                    <a:pt x="40146" y="110693"/>
                    <a:pt x="24762" y="159924"/>
                    <a:pt x="30916" y="169154"/>
                  </a:cubicBezTo>
                  <a:cubicBezTo>
                    <a:pt x="40146" y="178385"/>
                    <a:pt x="61685" y="190693"/>
                    <a:pt x="61685" y="190693"/>
                  </a:cubicBezTo>
                  <a:cubicBezTo>
                    <a:pt x="77070" y="203001"/>
                    <a:pt x="107839" y="206078"/>
                    <a:pt x="113992" y="212231"/>
                  </a:cubicBezTo>
                  <a:cubicBezTo>
                    <a:pt x="126300" y="224539"/>
                    <a:pt x="132454" y="221462"/>
                    <a:pt x="160146" y="212231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98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8477538" y="-733446"/>
              <a:ext cx="83077" cy="1178857"/>
              <a:chOff x="8477538" y="-733446"/>
              <a:chExt cx="83077" cy="1178857"/>
            </a:xfrm>
            <a:solidFill>
              <a:srgbClr val="38333D"/>
            </a:solidFill>
          </p:grpSpPr>
          <p:sp>
            <p:nvSpPr>
              <p:cNvPr id="299" name="任意多边形: 形状 298">
                <a:extLst>
                  <a:ext uri="{FF2B5EF4-FFF2-40B4-BE49-F238E27FC236}">
                    <a16:creationId xmlns:a16="http://schemas.microsoft.com/office/drawing/2014/main" id="{9AED89D5-B295-4067-ADE9-CAEFE4C1B91D}"/>
                  </a:ext>
                </a:extLst>
              </p:cNvPr>
              <p:cNvSpPr/>
              <p:nvPr/>
            </p:nvSpPr>
            <p:spPr>
              <a:xfrm>
                <a:off x="8505230" y="-733446"/>
                <a:ext cx="55385" cy="55780"/>
              </a:xfrm>
              <a:custGeom>
                <a:avLst/>
                <a:gdLst>
                  <a:gd name="connsiteX0" fmla="*/ 55385 w 55385"/>
                  <a:gd name="connsiteY0" fmla="*/ 28088 h 55780"/>
                  <a:gd name="connsiteX1" fmla="*/ 27693 w 55385"/>
                  <a:gd name="connsiteY1" fmla="*/ 55781 h 55780"/>
                  <a:gd name="connsiteX2" fmla="*/ 0 w 55385"/>
                  <a:gd name="connsiteY2" fmla="*/ 28088 h 55780"/>
                  <a:gd name="connsiteX3" fmla="*/ 27693 w 55385"/>
                  <a:gd name="connsiteY3" fmla="*/ 396 h 55780"/>
                  <a:gd name="connsiteX4" fmla="*/ 55385 w 55385"/>
                  <a:gd name="connsiteY4" fmla="*/ 28088 h 55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385" h="55780">
                    <a:moveTo>
                      <a:pt x="55385" y="28088"/>
                    </a:moveTo>
                    <a:cubicBezTo>
                      <a:pt x="55385" y="43473"/>
                      <a:pt x="43078" y="55781"/>
                      <a:pt x="27693" y="55781"/>
                    </a:cubicBezTo>
                    <a:cubicBezTo>
                      <a:pt x="12308" y="55781"/>
                      <a:pt x="0" y="43473"/>
                      <a:pt x="0" y="28088"/>
                    </a:cubicBezTo>
                    <a:cubicBezTo>
                      <a:pt x="0" y="12704"/>
                      <a:pt x="12308" y="396"/>
                      <a:pt x="27693" y="396"/>
                    </a:cubicBezTo>
                    <a:cubicBezTo>
                      <a:pt x="43078" y="-2681"/>
                      <a:pt x="55385" y="12704"/>
                      <a:pt x="55385" y="28088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0" name="任意多边形: 形状 299">
                <a:extLst>
                  <a:ext uri="{FF2B5EF4-FFF2-40B4-BE49-F238E27FC236}">
                    <a16:creationId xmlns:a16="http://schemas.microsoft.com/office/drawing/2014/main" id="{9688AAB6-734A-4759-BA86-C0A1170D00D8}"/>
                  </a:ext>
                </a:extLst>
              </p:cNvPr>
              <p:cNvSpPr/>
              <p:nvPr/>
            </p:nvSpPr>
            <p:spPr>
              <a:xfrm>
                <a:off x="8477538" y="-293050"/>
                <a:ext cx="55385" cy="55384"/>
              </a:xfrm>
              <a:custGeom>
                <a:avLst/>
                <a:gdLst>
                  <a:gd name="connsiteX0" fmla="*/ 55385 w 55385"/>
                  <a:gd name="connsiteY0" fmla="*/ 27692 h 55384"/>
                  <a:gd name="connsiteX1" fmla="*/ 27692 w 55385"/>
                  <a:gd name="connsiteY1" fmla="*/ 55385 h 55384"/>
                  <a:gd name="connsiteX2" fmla="*/ 0 w 55385"/>
                  <a:gd name="connsiteY2" fmla="*/ 27692 h 55384"/>
                  <a:gd name="connsiteX3" fmla="*/ 27692 w 55385"/>
                  <a:gd name="connsiteY3" fmla="*/ 0 h 55384"/>
                  <a:gd name="connsiteX4" fmla="*/ 55385 w 55385"/>
                  <a:gd name="connsiteY4" fmla="*/ 27692 h 5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385" h="55384">
                    <a:moveTo>
                      <a:pt x="55385" y="27692"/>
                    </a:moveTo>
                    <a:cubicBezTo>
                      <a:pt x="55385" y="43077"/>
                      <a:pt x="43077" y="55385"/>
                      <a:pt x="27692" y="55385"/>
                    </a:cubicBezTo>
                    <a:cubicBezTo>
                      <a:pt x="12308" y="55385"/>
                      <a:pt x="0" y="43077"/>
                      <a:pt x="0" y="27692"/>
                    </a:cubicBezTo>
                    <a:cubicBezTo>
                      <a:pt x="0" y="12308"/>
                      <a:pt x="12308" y="0"/>
                      <a:pt x="27692" y="0"/>
                    </a:cubicBezTo>
                    <a:cubicBezTo>
                      <a:pt x="40001" y="0"/>
                      <a:pt x="55385" y="12308"/>
                      <a:pt x="55385" y="27692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1" name="任意多边形: 形状 300">
                <a:extLst>
                  <a:ext uri="{FF2B5EF4-FFF2-40B4-BE49-F238E27FC236}">
                    <a16:creationId xmlns:a16="http://schemas.microsoft.com/office/drawing/2014/main" id="{A93B2AEE-972E-4610-93AC-E089D073AC99}"/>
                  </a:ext>
                </a:extLst>
              </p:cNvPr>
              <p:cNvSpPr/>
              <p:nvPr/>
            </p:nvSpPr>
            <p:spPr>
              <a:xfrm>
                <a:off x="8477538" y="390026"/>
                <a:ext cx="55385" cy="55384"/>
              </a:xfrm>
              <a:custGeom>
                <a:avLst/>
                <a:gdLst>
                  <a:gd name="connsiteX0" fmla="*/ 55385 w 55385"/>
                  <a:gd name="connsiteY0" fmla="*/ 27692 h 55384"/>
                  <a:gd name="connsiteX1" fmla="*/ 27692 w 55385"/>
                  <a:gd name="connsiteY1" fmla="*/ 55385 h 55384"/>
                  <a:gd name="connsiteX2" fmla="*/ 0 w 55385"/>
                  <a:gd name="connsiteY2" fmla="*/ 27692 h 55384"/>
                  <a:gd name="connsiteX3" fmla="*/ 27692 w 55385"/>
                  <a:gd name="connsiteY3" fmla="*/ 0 h 55384"/>
                  <a:gd name="connsiteX4" fmla="*/ 55385 w 55385"/>
                  <a:gd name="connsiteY4" fmla="*/ 27692 h 5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385" h="55384">
                    <a:moveTo>
                      <a:pt x="55385" y="27692"/>
                    </a:moveTo>
                    <a:cubicBezTo>
                      <a:pt x="55385" y="43077"/>
                      <a:pt x="43077" y="55385"/>
                      <a:pt x="27692" y="55385"/>
                    </a:cubicBezTo>
                    <a:cubicBezTo>
                      <a:pt x="12308" y="55385"/>
                      <a:pt x="0" y="43077"/>
                      <a:pt x="0" y="27692"/>
                    </a:cubicBezTo>
                    <a:cubicBezTo>
                      <a:pt x="0" y="12308"/>
                      <a:pt x="12308" y="0"/>
                      <a:pt x="27692" y="0"/>
                    </a:cubicBezTo>
                    <a:cubicBezTo>
                      <a:pt x="40001" y="0"/>
                      <a:pt x="55385" y="12308"/>
                      <a:pt x="55385" y="27692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2" name="任意多边形: 形状 301">
                <a:extLst>
                  <a:ext uri="{FF2B5EF4-FFF2-40B4-BE49-F238E27FC236}">
                    <a16:creationId xmlns:a16="http://schemas.microsoft.com/office/drawing/2014/main" id="{96D7BDB9-F881-4541-92BF-6ECAC7B19AB5}"/>
                  </a:ext>
                </a:extLst>
              </p:cNvPr>
              <p:cNvSpPr/>
              <p:nvPr/>
            </p:nvSpPr>
            <p:spPr>
              <a:xfrm>
                <a:off x="8483692" y="-523819"/>
                <a:ext cx="55384" cy="55384"/>
              </a:xfrm>
              <a:custGeom>
                <a:avLst/>
                <a:gdLst>
                  <a:gd name="connsiteX0" fmla="*/ 55384 w 55384"/>
                  <a:gd name="connsiteY0" fmla="*/ 27692 h 55384"/>
                  <a:gd name="connsiteX1" fmla="*/ 27692 w 55384"/>
                  <a:gd name="connsiteY1" fmla="*/ 55385 h 55384"/>
                  <a:gd name="connsiteX2" fmla="*/ 0 w 55384"/>
                  <a:gd name="connsiteY2" fmla="*/ 27692 h 55384"/>
                  <a:gd name="connsiteX3" fmla="*/ 27692 w 55384"/>
                  <a:gd name="connsiteY3" fmla="*/ 0 h 55384"/>
                  <a:gd name="connsiteX4" fmla="*/ 55384 w 55384"/>
                  <a:gd name="connsiteY4" fmla="*/ 27692 h 5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384" h="55384">
                    <a:moveTo>
                      <a:pt x="55384" y="27692"/>
                    </a:moveTo>
                    <a:cubicBezTo>
                      <a:pt x="55384" y="43077"/>
                      <a:pt x="43077" y="55385"/>
                      <a:pt x="27692" y="55385"/>
                    </a:cubicBezTo>
                    <a:cubicBezTo>
                      <a:pt x="12308" y="55385"/>
                      <a:pt x="0" y="43077"/>
                      <a:pt x="0" y="27692"/>
                    </a:cubicBezTo>
                    <a:cubicBezTo>
                      <a:pt x="0" y="12308"/>
                      <a:pt x="12308" y="0"/>
                      <a:pt x="27692" y="0"/>
                    </a:cubicBezTo>
                    <a:cubicBezTo>
                      <a:pt x="40000" y="0"/>
                      <a:pt x="55384" y="12308"/>
                      <a:pt x="55384" y="27692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3" name="任意多边形: 形状 302">
                <a:extLst>
                  <a:ext uri="{FF2B5EF4-FFF2-40B4-BE49-F238E27FC236}">
                    <a16:creationId xmlns:a16="http://schemas.microsoft.com/office/drawing/2014/main" id="{34D000CD-6E17-40E4-95E5-BC8EC2A40EA8}"/>
                  </a:ext>
                </a:extLst>
              </p:cNvPr>
              <p:cNvSpPr/>
              <p:nvPr/>
            </p:nvSpPr>
            <p:spPr>
              <a:xfrm>
                <a:off x="8477538" y="171565"/>
                <a:ext cx="55385" cy="55384"/>
              </a:xfrm>
              <a:custGeom>
                <a:avLst/>
                <a:gdLst>
                  <a:gd name="connsiteX0" fmla="*/ 55385 w 55385"/>
                  <a:gd name="connsiteY0" fmla="*/ 27692 h 55384"/>
                  <a:gd name="connsiteX1" fmla="*/ 27692 w 55385"/>
                  <a:gd name="connsiteY1" fmla="*/ 55385 h 55384"/>
                  <a:gd name="connsiteX2" fmla="*/ 0 w 55385"/>
                  <a:gd name="connsiteY2" fmla="*/ 27692 h 55384"/>
                  <a:gd name="connsiteX3" fmla="*/ 27692 w 55385"/>
                  <a:gd name="connsiteY3" fmla="*/ 0 h 55384"/>
                  <a:gd name="connsiteX4" fmla="*/ 55385 w 55385"/>
                  <a:gd name="connsiteY4" fmla="*/ 27692 h 5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385" h="55384">
                    <a:moveTo>
                      <a:pt x="55385" y="27692"/>
                    </a:moveTo>
                    <a:cubicBezTo>
                      <a:pt x="55385" y="43077"/>
                      <a:pt x="43077" y="55385"/>
                      <a:pt x="27692" y="55385"/>
                    </a:cubicBezTo>
                    <a:cubicBezTo>
                      <a:pt x="12308" y="55385"/>
                      <a:pt x="0" y="43077"/>
                      <a:pt x="0" y="27692"/>
                    </a:cubicBezTo>
                    <a:cubicBezTo>
                      <a:pt x="0" y="12308"/>
                      <a:pt x="12308" y="0"/>
                      <a:pt x="27692" y="0"/>
                    </a:cubicBezTo>
                    <a:cubicBezTo>
                      <a:pt x="40001" y="0"/>
                      <a:pt x="55385" y="12308"/>
                      <a:pt x="55385" y="27692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4" name="任意多边形: 形状 303">
                <a:extLst>
                  <a:ext uri="{FF2B5EF4-FFF2-40B4-BE49-F238E27FC236}">
                    <a16:creationId xmlns:a16="http://schemas.microsoft.com/office/drawing/2014/main" id="{BA8DC7A7-72FE-4811-B7A6-75364B73A77F}"/>
                  </a:ext>
                </a:extLst>
              </p:cNvPr>
              <p:cNvSpPr/>
              <p:nvPr/>
            </p:nvSpPr>
            <p:spPr>
              <a:xfrm>
                <a:off x="8477538" y="-59600"/>
                <a:ext cx="55385" cy="55780"/>
              </a:xfrm>
              <a:custGeom>
                <a:avLst/>
                <a:gdLst>
                  <a:gd name="connsiteX0" fmla="*/ 55385 w 55385"/>
                  <a:gd name="connsiteY0" fmla="*/ 28088 h 55780"/>
                  <a:gd name="connsiteX1" fmla="*/ 27692 w 55385"/>
                  <a:gd name="connsiteY1" fmla="*/ 55781 h 55780"/>
                  <a:gd name="connsiteX2" fmla="*/ 0 w 55385"/>
                  <a:gd name="connsiteY2" fmla="*/ 28088 h 55780"/>
                  <a:gd name="connsiteX3" fmla="*/ 27692 w 55385"/>
                  <a:gd name="connsiteY3" fmla="*/ 396 h 55780"/>
                  <a:gd name="connsiteX4" fmla="*/ 55385 w 55385"/>
                  <a:gd name="connsiteY4" fmla="*/ 28088 h 55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385" h="55780">
                    <a:moveTo>
                      <a:pt x="55385" y="28088"/>
                    </a:moveTo>
                    <a:cubicBezTo>
                      <a:pt x="55385" y="43473"/>
                      <a:pt x="43077" y="55781"/>
                      <a:pt x="27692" y="55781"/>
                    </a:cubicBezTo>
                    <a:cubicBezTo>
                      <a:pt x="12308" y="55781"/>
                      <a:pt x="0" y="43473"/>
                      <a:pt x="0" y="28088"/>
                    </a:cubicBezTo>
                    <a:cubicBezTo>
                      <a:pt x="0" y="12704"/>
                      <a:pt x="12308" y="396"/>
                      <a:pt x="27692" y="396"/>
                    </a:cubicBezTo>
                    <a:cubicBezTo>
                      <a:pt x="40001" y="-2681"/>
                      <a:pt x="55385" y="12704"/>
                      <a:pt x="55385" y="28088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05" name="任意多边形: 形状 304">
              <a:extLst>
                <a:ext uri="{FF2B5EF4-FFF2-40B4-BE49-F238E27FC236}">
                  <a16:creationId xmlns:a16="http://schemas.microsoft.com/office/drawing/2014/main" id="{43E12C59-B284-4F1E-AB74-3774B5DF34A3}"/>
                </a:ext>
              </a:extLst>
            </p:cNvPr>
            <p:cNvSpPr/>
            <p:nvPr/>
          </p:nvSpPr>
          <p:spPr>
            <a:xfrm>
              <a:off x="8483692" y="-1080742"/>
              <a:ext cx="252307" cy="226779"/>
            </a:xfrm>
            <a:custGeom>
              <a:avLst/>
              <a:gdLst>
                <a:gd name="connsiteX0" fmla="*/ 0 w 252307"/>
                <a:gd name="connsiteY0" fmla="*/ 40000 h 226779"/>
                <a:gd name="connsiteX1" fmla="*/ 6153 w 252307"/>
                <a:gd name="connsiteY1" fmla="*/ 181538 h 226779"/>
                <a:gd name="connsiteX2" fmla="*/ 252307 w 252307"/>
                <a:gd name="connsiteY2" fmla="*/ 172308 h 226779"/>
                <a:gd name="connsiteX3" fmla="*/ 236923 w 252307"/>
                <a:gd name="connsiteY3" fmla="*/ 0 h 226779"/>
                <a:gd name="connsiteX4" fmla="*/ 0 w 252307"/>
                <a:gd name="connsiteY4" fmla="*/ 40000 h 22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307" h="226779">
                  <a:moveTo>
                    <a:pt x="0" y="40000"/>
                  </a:moveTo>
                  <a:cubicBezTo>
                    <a:pt x="0" y="40000"/>
                    <a:pt x="6153" y="107692"/>
                    <a:pt x="6153" y="181538"/>
                  </a:cubicBezTo>
                  <a:cubicBezTo>
                    <a:pt x="6153" y="181538"/>
                    <a:pt x="101538" y="289231"/>
                    <a:pt x="252307" y="172308"/>
                  </a:cubicBezTo>
                  <a:cubicBezTo>
                    <a:pt x="252307" y="110769"/>
                    <a:pt x="240000" y="64615"/>
                    <a:pt x="236923" y="0"/>
                  </a:cubicBezTo>
                  <a:cubicBezTo>
                    <a:pt x="240000" y="0"/>
                    <a:pt x="52307" y="52308"/>
                    <a:pt x="0" y="40000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6" name="任意多边形: 形状 305">
              <a:extLst>
                <a:ext uri="{FF2B5EF4-FFF2-40B4-BE49-F238E27FC236}">
                  <a16:creationId xmlns:a16="http://schemas.microsoft.com/office/drawing/2014/main" id="{FC53207A-2828-465B-9C67-C79C4AB1261B}"/>
                </a:ext>
              </a:extLst>
            </p:cNvPr>
            <p:cNvSpPr/>
            <p:nvPr/>
          </p:nvSpPr>
          <p:spPr>
            <a:xfrm>
              <a:off x="8757538" y="-1200742"/>
              <a:ext cx="70768" cy="138461"/>
            </a:xfrm>
            <a:custGeom>
              <a:avLst/>
              <a:gdLst>
                <a:gd name="connsiteX0" fmla="*/ 70769 w 70768"/>
                <a:gd name="connsiteY0" fmla="*/ 0 h 138461"/>
                <a:gd name="connsiteX1" fmla="*/ 3077 w 70768"/>
                <a:gd name="connsiteY1" fmla="*/ 138462 h 138461"/>
                <a:gd name="connsiteX2" fmla="*/ 0 w 70768"/>
                <a:gd name="connsiteY2" fmla="*/ 52308 h 138461"/>
                <a:gd name="connsiteX3" fmla="*/ 70769 w 70768"/>
                <a:gd name="connsiteY3" fmla="*/ 0 h 1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768" h="138461">
                  <a:moveTo>
                    <a:pt x="70769" y="0"/>
                  </a:moveTo>
                  <a:cubicBezTo>
                    <a:pt x="70769" y="0"/>
                    <a:pt x="55384" y="120000"/>
                    <a:pt x="3077" y="138462"/>
                  </a:cubicBezTo>
                  <a:lnTo>
                    <a:pt x="0" y="52308"/>
                  </a:lnTo>
                  <a:lnTo>
                    <a:pt x="70769" y="0"/>
                  </a:ln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7" name="任意多边形: 形状 306">
              <a:extLst>
                <a:ext uri="{FF2B5EF4-FFF2-40B4-BE49-F238E27FC236}">
                  <a16:creationId xmlns:a16="http://schemas.microsoft.com/office/drawing/2014/main" id="{FDB8894D-A577-4ACA-8AAE-C6E0EEEB4FE5}"/>
                </a:ext>
              </a:extLst>
            </p:cNvPr>
            <p:cNvSpPr/>
            <p:nvPr/>
          </p:nvSpPr>
          <p:spPr>
            <a:xfrm>
              <a:off x="8365181" y="-1413050"/>
              <a:ext cx="103582" cy="240012"/>
            </a:xfrm>
            <a:custGeom>
              <a:avLst/>
              <a:gdLst>
                <a:gd name="connsiteX0" fmla="*/ 7742 w 103582"/>
                <a:gd name="connsiteY0" fmla="*/ 0 h 240012"/>
                <a:gd name="connsiteX1" fmla="*/ 47741 w 103582"/>
                <a:gd name="connsiteY1" fmla="*/ 236923 h 240012"/>
                <a:gd name="connsiteX2" fmla="*/ 103127 w 103582"/>
                <a:gd name="connsiteY2" fmla="*/ 15385 h 240012"/>
                <a:gd name="connsiteX3" fmla="*/ 7742 w 103582"/>
                <a:gd name="connsiteY3" fmla="*/ 0 h 24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582" h="240012">
                  <a:moveTo>
                    <a:pt x="7742" y="0"/>
                  </a:moveTo>
                  <a:cubicBezTo>
                    <a:pt x="7742" y="0"/>
                    <a:pt x="-26104" y="196923"/>
                    <a:pt x="47741" y="236923"/>
                  </a:cubicBezTo>
                  <a:cubicBezTo>
                    <a:pt x="112357" y="270769"/>
                    <a:pt x="103127" y="15385"/>
                    <a:pt x="103127" y="15385"/>
                  </a:cubicBezTo>
                  <a:lnTo>
                    <a:pt x="7742" y="0"/>
                  </a:ln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8" name="任意多边形: 形状 307">
              <a:extLst>
                <a:ext uri="{FF2B5EF4-FFF2-40B4-BE49-F238E27FC236}">
                  <a16:creationId xmlns:a16="http://schemas.microsoft.com/office/drawing/2014/main" id="{AD0F8296-0FCA-4081-A90B-C65E6E33FB09}"/>
                </a:ext>
              </a:extLst>
            </p:cNvPr>
            <p:cNvSpPr/>
            <p:nvPr/>
          </p:nvSpPr>
          <p:spPr>
            <a:xfrm>
              <a:off x="8401010" y="-1549811"/>
              <a:ext cx="427296" cy="574293"/>
            </a:xfrm>
            <a:custGeom>
              <a:avLst/>
              <a:gdLst>
                <a:gd name="connsiteX0" fmla="*/ 11912 w 427296"/>
                <a:gd name="connsiteY0" fmla="*/ 182915 h 574293"/>
                <a:gd name="connsiteX1" fmla="*/ 8836 w 427296"/>
                <a:gd name="connsiteY1" fmla="*/ 435223 h 574293"/>
                <a:gd name="connsiteX2" fmla="*/ 168835 w 427296"/>
                <a:gd name="connsiteY2" fmla="*/ 573685 h 574293"/>
                <a:gd name="connsiteX3" fmla="*/ 387297 w 427296"/>
                <a:gd name="connsiteY3" fmla="*/ 432146 h 574293"/>
                <a:gd name="connsiteX4" fmla="*/ 427296 w 427296"/>
                <a:gd name="connsiteY4" fmla="*/ 204454 h 574293"/>
                <a:gd name="connsiteX5" fmla="*/ 214989 w 427296"/>
                <a:gd name="connsiteY5" fmla="*/ 1377 h 574293"/>
                <a:gd name="connsiteX6" fmla="*/ 11912 w 427296"/>
                <a:gd name="connsiteY6" fmla="*/ 182915 h 574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296" h="574293">
                  <a:moveTo>
                    <a:pt x="11912" y="182915"/>
                  </a:moveTo>
                  <a:cubicBezTo>
                    <a:pt x="11912" y="182915"/>
                    <a:pt x="-12703" y="361377"/>
                    <a:pt x="8836" y="435223"/>
                  </a:cubicBezTo>
                  <a:cubicBezTo>
                    <a:pt x="27296" y="502915"/>
                    <a:pt x="116528" y="567531"/>
                    <a:pt x="168835" y="573685"/>
                  </a:cubicBezTo>
                  <a:cubicBezTo>
                    <a:pt x="236528" y="579839"/>
                    <a:pt x="356528" y="539839"/>
                    <a:pt x="387297" y="432146"/>
                  </a:cubicBezTo>
                  <a:cubicBezTo>
                    <a:pt x="408836" y="358300"/>
                    <a:pt x="427296" y="256762"/>
                    <a:pt x="427296" y="204454"/>
                  </a:cubicBezTo>
                  <a:cubicBezTo>
                    <a:pt x="427296" y="109069"/>
                    <a:pt x="399604" y="29069"/>
                    <a:pt x="214989" y="1377"/>
                  </a:cubicBezTo>
                  <a:cubicBezTo>
                    <a:pt x="128835" y="-14008"/>
                    <a:pt x="33451" y="102915"/>
                    <a:pt x="11912" y="182915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9" name="任意多边形: 形状 308">
              <a:extLst>
                <a:ext uri="{FF2B5EF4-FFF2-40B4-BE49-F238E27FC236}">
                  <a16:creationId xmlns:a16="http://schemas.microsoft.com/office/drawing/2014/main" id="{0E4BFE7F-4385-4AD9-95D3-72631F6382B5}"/>
                </a:ext>
              </a:extLst>
            </p:cNvPr>
            <p:cNvSpPr/>
            <p:nvPr/>
          </p:nvSpPr>
          <p:spPr>
            <a:xfrm>
              <a:off x="8535999" y="-1283819"/>
              <a:ext cx="58462" cy="138461"/>
            </a:xfrm>
            <a:custGeom>
              <a:avLst/>
              <a:gdLst>
                <a:gd name="connsiteX0" fmla="*/ 33846 w 58462"/>
                <a:gd name="connsiteY0" fmla="*/ 138462 h 138461"/>
                <a:gd name="connsiteX1" fmla="*/ 6154 w 58462"/>
                <a:gd name="connsiteY1" fmla="*/ 132308 h 138461"/>
                <a:gd name="connsiteX2" fmla="*/ 0 w 58462"/>
                <a:gd name="connsiteY2" fmla="*/ 120000 h 138461"/>
                <a:gd name="connsiteX3" fmla="*/ 18462 w 58462"/>
                <a:gd name="connsiteY3" fmla="*/ 6154 h 138461"/>
                <a:gd name="connsiteX4" fmla="*/ 24616 w 58462"/>
                <a:gd name="connsiteY4" fmla="*/ 0 h 138461"/>
                <a:gd name="connsiteX5" fmla="*/ 30769 w 58462"/>
                <a:gd name="connsiteY5" fmla="*/ 6154 h 138461"/>
                <a:gd name="connsiteX6" fmla="*/ 12308 w 58462"/>
                <a:gd name="connsiteY6" fmla="*/ 120000 h 138461"/>
                <a:gd name="connsiteX7" fmla="*/ 12308 w 58462"/>
                <a:gd name="connsiteY7" fmla="*/ 123077 h 138461"/>
                <a:gd name="connsiteX8" fmla="*/ 52308 w 58462"/>
                <a:gd name="connsiteY8" fmla="*/ 126154 h 138461"/>
                <a:gd name="connsiteX9" fmla="*/ 58462 w 58462"/>
                <a:gd name="connsiteY9" fmla="*/ 132308 h 138461"/>
                <a:gd name="connsiteX10" fmla="*/ 52308 w 58462"/>
                <a:gd name="connsiteY10" fmla="*/ 138462 h 138461"/>
                <a:gd name="connsiteX11" fmla="*/ 33846 w 58462"/>
                <a:gd name="connsiteY11" fmla="*/ 138462 h 1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462" h="138461">
                  <a:moveTo>
                    <a:pt x="33846" y="138462"/>
                  </a:moveTo>
                  <a:cubicBezTo>
                    <a:pt x="24616" y="138462"/>
                    <a:pt x="12308" y="138462"/>
                    <a:pt x="6154" y="132308"/>
                  </a:cubicBezTo>
                  <a:cubicBezTo>
                    <a:pt x="3077" y="129231"/>
                    <a:pt x="0" y="126154"/>
                    <a:pt x="0" y="120000"/>
                  </a:cubicBezTo>
                  <a:cubicBezTo>
                    <a:pt x="0" y="98462"/>
                    <a:pt x="18462" y="9231"/>
                    <a:pt x="18462" y="6154"/>
                  </a:cubicBezTo>
                  <a:cubicBezTo>
                    <a:pt x="18462" y="3077"/>
                    <a:pt x="21539" y="0"/>
                    <a:pt x="24616" y="0"/>
                  </a:cubicBezTo>
                  <a:cubicBezTo>
                    <a:pt x="27693" y="0"/>
                    <a:pt x="30769" y="3077"/>
                    <a:pt x="30769" y="6154"/>
                  </a:cubicBezTo>
                  <a:cubicBezTo>
                    <a:pt x="30769" y="6154"/>
                    <a:pt x="12308" y="98462"/>
                    <a:pt x="12308" y="120000"/>
                  </a:cubicBezTo>
                  <a:cubicBezTo>
                    <a:pt x="12308" y="120000"/>
                    <a:pt x="12308" y="123077"/>
                    <a:pt x="12308" y="123077"/>
                  </a:cubicBezTo>
                  <a:cubicBezTo>
                    <a:pt x="18462" y="129231"/>
                    <a:pt x="40001" y="126154"/>
                    <a:pt x="52308" y="126154"/>
                  </a:cubicBezTo>
                  <a:cubicBezTo>
                    <a:pt x="55385" y="126154"/>
                    <a:pt x="58462" y="129231"/>
                    <a:pt x="58462" y="132308"/>
                  </a:cubicBezTo>
                  <a:cubicBezTo>
                    <a:pt x="58462" y="135385"/>
                    <a:pt x="55385" y="138462"/>
                    <a:pt x="52308" y="138462"/>
                  </a:cubicBezTo>
                  <a:cubicBezTo>
                    <a:pt x="55385" y="135385"/>
                    <a:pt x="46154" y="138462"/>
                    <a:pt x="33846" y="138462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0" name="任意多边形: 形状 309">
              <a:extLst>
                <a:ext uri="{FF2B5EF4-FFF2-40B4-BE49-F238E27FC236}">
                  <a16:creationId xmlns:a16="http://schemas.microsoft.com/office/drawing/2014/main" id="{5A7A5C66-74C5-4A9A-AC76-AE5F389DFB39}"/>
                </a:ext>
              </a:extLst>
            </p:cNvPr>
            <p:cNvSpPr/>
            <p:nvPr/>
          </p:nvSpPr>
          <p:spPr>
            <a:xfrm>
              <a:off x="8467704" y="-1309038"/>
              <a:ext cx="41387" cy="41207"/>
            </a:xfrm>
            <a:custGeom>
              <a:avLst/>
              <a:gdLst>
                <a:gd name="connsiteX0" fmla="*/ 40603 w 41387"/>
                <a:gd name="connsiteY0" fmla="*/ 25219 h 41207"/>
                <a:gd name="connsiteX1" fmla="*/ 15988 w 41387"/>
                <a:gd name="connsiteY1" fmla="*/ 40604 h 41207"/>
                <a:gd name="connsiteX2" fmla="*/ 604 w 41387"/>
                <a:gd name="connsiteY2" fmla="*/ 15988 h 41207"/>
                <a:gd name="connsiteX3" fmla="*/ 25219 w 41387"/>
                <a:gd name="connsiteY3" fmla="*/ 604 h 41207"/>
                <a:gd name="connsiteX4" fmla="*/ 40603 w 41387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207">
                  <a:moveTo>
                    <a:pt x="40603" y="25219"/>
                  </a:moveTo>
                  <a:cubicBezTo>
                    <a:pt x="37526" y="34450"/>
                    <a:pt x="28296" y="43680"/>
                    <a:pt x="15988" y="40604"/>
                  </a:cubicBezTo>
                  <a:cubicBezTo>
                    <a:pt x="6757" y="37527"/>
                    <a:pt x="-2473" y="28296"/>
                    <a:pt x="604" y="15988"/>
                  </a:cubicBezTo>
                  <a:cubicBezTo>
                    <a:pt x="3681" y="6757"/>
                    <a:pt x="12911" y="-2473"/>
                    <a:pt x="25219" y="604"/>
                  </a:cubicBezTo>
                  <a:cubicBezTo>
                    <a:pt x="37526" y="3680"/>
                    <a:pt x="43680" y="15988"/>
                    <a:pt x="40603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1" name="任意多边形: 形状 310">
              <a:extLst>
                <a:ext uri="{FF2B5EF4-FFF2-40B4-BE49-F238E27FC236}">
                  <a16:creationId xmlns:a16="http://schemas.microsoft.com/office/drawing/2014/main" id="{01581ADD-1E94-4969-A2DA-61B3DF3D84D9}"/>
                </a:ext>
              </a:extLst>
            </p:cNvPr>
            <p:cNvSpPr/>
            <p:nvPr/>
          </p:nvSpPr>
          <p:spPr>
            <a:xfrm>
              <a:off x="8652319" y="-1287499"/>
              <a:ext cx="41387" cy="41207"/>
            </a:xfrm>
            <a:custGeom>
              <a:avLst/>
              <a:gdLst>
                <a:gd name="connsiteX0" fmla="*/ 40603 w 41387"/>
                <a:gd name="connsiteY0" fmla="*/ 25219 h 41207"/>
                <a:gd name="connsiteX1" fmla="*/ 15988 w 41387"/>
                <a:gd name="connsiteY1" fmla="*/ 40604 h 41207"/>
                <a:gd name="connsiteX2" fmla="*/ 604 w 41387"/>
                <a:gd name="connsiteY2" fmla="*/ 15988 h 41207"/>
                <a:gd name="connsiteX3" fmla="*/ 25219 w 41387"/>
                <a:gd name="connsiteY3" fmla="*/ 604 h 41207"/>
                <a:gd name="connsiteX4" fmla="*/ 40603 w 41387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207">
                  <a:moveTo>
                    <a:pt x="40603" y="25219"/>
                  </a:moveTo>
                  <a:cubicBezTo>
                    <a:pt x="37526" y="34450"/>
                    <a:pt x="28296" y="43680"/>
                    <a:pt x="15988" y="40604"/>
                  </a:cubicBezTo>
                  <a:cubicBezTo>
                    <a:pt x="6757" y="37527"/>
                    <a:pt x="-2473" y="28296"/>
                    <a:pt x="604" y="15988"/>
                  </a:cubicBezTo>
                  <a:cubicBezTo>
                    <a:pt x="3681" y="6757"/>
                    <a:pt x="12911" y="-2473"/>
                    <a:pt x="25219" y="604"/>
                  </a:cubicBezTo>
                  <a:cubicBezTo>
                    <a:pt x="37526" y="3680"/>
                    <a:pt x="43680" y="12911"/>
                    <a:pt x="40603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2" name="任意多边形: 形状 311">
              <a:extLst>
                <a:ext uri="{FF2B5EF4-FFF2-40B4-BE49-F238E27FC236}">
                  <a16:creationId xmlns:a16="http://schemas.microsoft.com/office/drawing/2014/main" id="{5A229B69-48A6-42D8-BB75-A32BD6F3BF14}"/>
                </a:ext>
              </a:extLst>
            </p:cNvPr>
            <p:cNvSpPr/>
            <p:nvPr/>
          </p:nvSpPr>
          <p:spPr>
            <a:xfrm>
              <a:off x="8444461" y="-1357665"/>
              <a:ext cx="92813" cy="33846"/>
            </a:xfrm>
            <a:custGeom>
              <a:avLst/>
              <a:gdLst>
                <a:gd name="connsiteX0" fmla="*/ 8462 w 92813"/>
                <a:gd name="connsiteY0" fmla="*/ 33846 h 33846"/>
                <a:gd name="connsiteX1" fmla="*/ 2308 w 92813"/>
                <a:gd name="connsiteY1" fmla="*/ 30769 h 33846"/>
                <a:gd name="connsiteX2" fmla="*/ 2308 w 92813"/>
                <a:gd name="connsiteY2" fmla="*/ 18462 h 33846"/>
                <a:gd name="connsiteX3" fmla="*/ 88462 w 92813"/>
                <a:gd name="connsiteY3" fmla="*/ 9231 h 33846"/>
                <a:gd name="connsiteX4" fmla="*/ 91538 w 92813"/>
                <a:gd name="connsiteY4" fmla="*/ 21538 h 33846"/>
                <a:gd name="connsiteX5" fmla="*/ 79231 w 92813"/>
                <a:gd name="connsiteY5" fmla="*/ 24615 h 33846"/>
                <a:gd name="connsiteX6" fmla="*/ 11539 w 92813"/>
                <a:gd name="connsiteY6" fmla="*/ 30769 h 33846"/>
                <a:gd name="connsiteX7" fmla="*/ 8462 w 92813"/>
                <a:gd name="connsiteY7" fmla="*/ 33846 h 3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3846">
                  <a:moveTo>
                    <a:pt x="8462" y="33846"/>
                  </a:moveTo>
                  <a:cubicBezTo>
                    <a:pt x="5385" y="33846"/>
                    <a:pt x="5385" y="33846"/>
                    <a:pt x="2308" y="30769"/>
                  </a:cubicBezTo>
                  <a:cubicBezTo>
                    <a:pt x="-769" y="27692"/>
                    <a:pt x="-769" y="21538"/>
                    <a:pt x="2308" y="18462"/>
                  </a:cubicBezTo>
                  <a:cubicBezTo>
                    <a:pt x="30000" y="-9231"/>
                    <a:pt x="70001" y="0"/>
                    <a:pt x="88462" y="9231"/>
                  </a:cubicBezTo>
                  <a:cubicBezTo>
                    <a:pt x="91538" y="12308"/>
                    <a:pt x="94616" y="15385"/>
                    <a:pt x="91538" y="21538"/>
                  </a:cubicBezTo>
                  <a:cubicBezTo>
                    <a:pt x="88462" y="24615"/>
                    <a:pt x="85385" y="27692"/>
                    <a:pt x="79231" y="24615"/>
                  </a:cubicBezTo>
                  <a:cubicBezTo>
                    <a:pt x="76154" y="24615"/>
                    <a:pt x="39231" y="3077"/>
                    <a:pt x="11539" y="30769"/>
                  </a:cubicBezTo>
                  <a:cubicBezTo>
                    <a:pt x="11539" y="33846"/>
                    <a:pt x="8462" y="33846"/>
                    <a:pt x="8462" y="33846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3" name="任意多边形: 形状 312">
              <a:extLst>
                <a:ext uri="{FF2B5EF4-FFF2-40B4-BE49-F238E27FC236}">
                  <a16:creationId xmlns:a16="http://schemas.microsoft.com/office/drawing/2014/main" id="{4EB9C6AE-C1C2-400D-A141-03CC86C5D031}"/>
                </a:ext>
              </a:extLst>
            </p:cNvPr>
            <p:cNvSpPr/>
            <p:nvPr/>
          </p:nvSpPr>
          <p:spPr>
            <a:xfrm>
              <a:off x="8633186" y="-1353563"/>
              <a:ext cx="92813" cy="35897"/>
            </a:xfrm>
            <a:custGeom>
              <a:avLst/>
              <a:gdLst>
                <a:gd name="connsiteX0" fmla="*/ 87428 w 92813"/>
                <a:gd name="connsiteY0" fmla="*/ 35897 h 35897"/>
                <a:gd name="connsiteX1" fmla="*/ 81275 w 92813"/>
                <a:gd name="connsiteY1" fmla="*/ 32821 h 35897"/>
                <a:gd name="connsiteX2" fmla="*/ 13582 w 92813"/>
                <a:gd name="connsiteY2" fmla="*/ 26667 h 35897"/>
                <a:gd name="connsiteX3" fmla="*/ 1275 w 92813"/>
                <a:gd name="connsiteY3" fmla="*/ 23590 h 35897"/>
                <a:gd name="connsiteX4" fmla="*/ 4352 w 92813"/>
                <a:gd name="connsiteY4" fmla="*/ 11282 h 35897"/>
                <a:gd name="connsiteX5" fmla="*/ 90505 w 92813"/>
                <a:gd name="connsiteY5" fmla="*/ 20513 h 35897"/>
                <a:gd name="connsiteX6" fmla="*/ 90505 w 92813"/>
                <a:gd name="connsiteY6" fmla="*/ 32821 h 35897"/>
                <a:gd name="connsiteX7" fmla="*/ 87428 w 92813"/>
                <a:gd name="connsiteY7" fmla="*/ 35897 h 35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5897">
                  <a:moveTo>
                    <a:pt x="87428" y="35897"/>
                  </a:moveTo>
                  <a:cubicBezTo>
                    <a:pt x="84352" y="35897"/>
                    <a:pt x="84352" y="35897"/>
                    <a:pt x="81275" y="32821"/>
                  </a:cubicBezTo>
                  <a:cubicBezTo>
                    <a:pt x="81275" y="32821"/>
                    <a:pt x="50506" y="2051"/>
                    <a:pt x="13582" y="26667"/>
                  </a:cubicBezTo>
                  <a:cubicBezTo>
                    <a:pt x="10505" y="29744"/>
                    <a:pt x="4352" y="26667"/>
                    <a:pt x="1275" y="23590"/>
                  </a:cubicBezTo>
                  <a:cubicBezTo>
                    <a:pt x="-1803" y="20513"/>
                    <a:pt x="1275" y="14359"/>
                    <a:pt x="4352" y="11282"/>
                  </a:cubicBezTo>
                  <a:cubicBezTo>
                    <a:pt x="41274" y="-13333"/>
                    <a:pt x="78198" y="8205"/>
                    <a:pt x="90505" y="20513"/>
                  </a:cubicBezTo>
                  <a:cubicBezTo>
                    <a:pt x="93582" y="23590"/>
                    <a:pt x="93582" y="29744"/>
                    <a:pt x="90505" y="32821"/>
                  </a:cubicBezTo>
                  <a:cubicBezTo>
                    <a:pt x="90505" y="32821"/>
                    <a:pt x="90505" y="35897"/>
                    <a:pt x="87428" y="35897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4" name="任意多边形: 形状 313">
              <a:extLst>
                <a:ext uri="{FF2B5EF4-FFF2-40B4-BE49-F238E27FC236}">
                  <a16:creationId xmlns:a16="http://schemas.microsoft.com/office/drawing/2014/main" id="{7B104C7D-AB73-4B10-BE38-F871841091C2}"/>
                </a:ext>
              </a:extLst>
            </p:cNvPr>
            <p:cNvSpPr/>
            <p:nvPr/>
          </p:nvSpPr>
          <p:spPr>
            <a:xfrm>
              <a:off x="8499846" y="-1031511"/>
              <a:ext cx="234351" cy="61538"/>
            </a:xfrm>
            <a:custGeom>
              <a:avLst/>
              <a:gdLst>
                <a:gd name="connsiteX0" fmla="*/ 82307 w 234351"/>
                <a:gd name="connsiteY0" fmla="*/ 61538 h 61538"/>
                <a:gd name="connsiteX1" fmla="*/ 82307 w 234351"/>
                <a:gd name="connsiteY1" fmla="*/ 61538 h 61538"/>
                <a:gd name="connsiteX2" fmla="*/ 2308 w 234351"/>
                <a:gd name="connsiteY2" fmla="*/ 33846 h 61538"/>
                <a:gd name="connsiteX3" fmla="*/ 2308 w 234351"/>
                <a:gd name="connsiteY3" fmla="*/ 24615 h 61538"/>
                <a:gd name="connsiteX4" fmla="*/ 11538 w 234351"/>
                <a:gd name="connsiteY4" fmla="*/ 24615 h 61538"/>
                <a:gd name="connsiteX5" fmla="*/ 82307 w 234351"/>
                <a:gd name="connsiteY5" fmla="*/ 49231 h 61538"/>
                <a:gd name="connsiteX6" fmla="*/ 82307 w 234351"/>
                <a:gd name="connsiteY6" fmla="*/ 49231 h 61538"/>
                <a:gd name="connsiteX7" fmla="*/ 223846 w 234351"/>
                <a:gd name="connsiteY7" fmla="*/ 0 h 61538"/>
                <a:gd name="connsiteX8" fmla="*/ 233077 w 234351"/>
                <a:gd name="connsiteY8" fmla="*/ 3077 h 61538"/>
                <a:gd name="connsiteX9" fmla="*/ 230000 w 234351"/>
                <a:gd name="connsiteY9" fmla="*/ 12308 h 61538"/>
                <a:gd name="connsiteX10" fmla="*/ 82307 w 234351"/>
                <a:gd name="connsiteY10" fmla="*/ 61538 h 6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4351" h="61538">
                  <a:moveTo>
                    <a:pt x="82307" y="61538"/>
                  </a:moveTo>
                  <a:cubicBezTo>
                    <a:pt x="82307" y="61538"/>
                    <a:pt x="82307" y="61538"/>
                    <a:pt x="82307" y="61538"/>
                  </a:cubicBezTo>
                  <a:cubicBezTo>
                    <a:pt x="39230" y="61538"/>
                    <a:pt x="5384" y="33846"/>
                    <a:pt x="2308" y="33846"/>
                  </a:cubicBezTo>
                  <a:cubicBezTo>
                    <a:pt x="-769" y="30769"/>
                    <a:pt x="-769" y="27692"/>
                    <a:pt x="2308" y="24615"/>
                  </a:cubicBezTo>
                  <a:cubicBezTo>
                    <a:pt x="5384" y="21538"/>
                    <a:pt x="8461" y="21538"/>
                    <a:pt x="11538" y="24615"/>
                  </a:cubicBezTo>
                  <a:cubicBezTo>
                    <a:pt x="11538" y="24615"/>
                    <a:pt x="42307" y="49231"/>
                    <a:pt x="82307" y="49231"/>
                  </a:cubicBezTo>
                  <a:cubicBezTo>
                    <a:pt x="82307" y="49231"/>
                    <a:pt x="82307" y="49231"/>
                    <a:pt x="82307" y="49231"/>
                  </a:cubicBezTo>
                  <a:cubicBezTo>
                    <a:pt x="131538" y="49231"/>
                    <a:pt x="220769" y="0"/>
                    <a:pt x="223846" y="0"/>
                  </a:cubicBezTo>
                  <a:cubicBezTo>
                    <a:pt x="226923" y="0"/>
                    <a:pt x="230000" y="0"/>
                    <a:pt x="233077" y="3077"/>
                  </a:cubicBezTo>
                  <a:cubicBezTo>
                    <a:pt x="236153" y="6154"/>
                    <a:pt x="233077" y="9231"/>
                    <a:pt x="230000" y="12308"/>
                  </a:cubicBezTo>
                  <a:cubicBezTo>
                    <a:pt x="226923" y="12308"/>
                    <a:pt x="134615" y="61538"/>
                    <a:pt x="82307" y="61538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5" name="任意多边形: 形状 314">
              <a:extLst>
                <a:ext uri="{FF2B5EF4-FFF2-40B4-BE49-F238E27FC236}">
                  <a16:creationId xmlns:a16="http://schemas.microsoft.com/office/drawing/2014/main" id="{07FBA834-C43A-497B-9E9A-67D6B98BDA0C}"/>
                </a:ext>
              </a:extLst>
            </p:cNvPr>
            <p:cNvSpPr/>
            <p:nvPr/>
          </p:nvSpPr>
          <p:spPr>
            <a:xfrm>
              <a:off x="8754461" y="-1526896"/>
              <a:ext cx="114165" cy="270769"/>
            </a:xfrm>
            <a:custGeom>
              <a:avLst/>
              <a:gdLst>
                <a:gd name="connsiteX0" fmla="*/ 0 w 114165"/>
                <a:gd name="connsiteY0" fmla="*/ 129231 h 270769"/>
                <a:gd name="connsiteX1" fmla="*/ 49231 w 114165"/>
                <a:gd name="connsiteY1" fmla="*/ 270769 h 270769"/>
                <a:gd name="connsiteX2" fmla="*/ 107692 w 114165"/>
                <a:gd name="connsiteY2" fmla="*/ 169231 h 270769"/>
                <a:gd name="connsiteX3" fmla="*/ 49231 w 114165"/>
                <a:gd name="connsiteY3" fmla="*/ 0 h 270769"/>
                <a:gd name="connsiteX4" fmla="*/ 0 w 114165"/>
                <a:gd name="connsiteY4" fmla="*/ 129231 h 27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165" h="270769">
                  <a:moveTo>
                    <a:pt x="0" y="129231"/>
                  </a:moveTo>
                  <a:cubicBezTo>
                    <a:pt x="0" y="129231"/>
                    <a:pt x="55385" y="240000"/>
                    <a:pt x="49231" y="270769"/>
                  </a:cubicBezTo>
                  <a:cubicBezTo>
                    <a:pt x="49231" y="270769"/>
                    <a:pt x="92308" y="224615"/>
                    <a:pt x="107692" y="169231"/>
                  </a:cubicBezTo>
                  <a:cubicBezTo>
                    <a:pt x="123077" y="110769"/>
                    <a:pt x="113847" y="15385"/>
                    <a:pt x="49231" y="0"/>
                  </a:cubicBezTo>
                  <a:cubicBezTo>
                    <a:pt x="49231" y="3077"/>
                    <a:pt x="40001" y="110769"/>
                    <a:pt x="0" y="129231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6" name="任意多边形: 形状 315">
              <a:extLst>
                <a:ext uri="{FF2B5EF4-FFF2-40B4-BE49-F238E27FC236}">
                  <a16:creationId xmlns:a16="http://schemas.microsoft.com/office/drawing/2014/main" id="{22A8FC7A-B0FD-46EB-BA9B-19E93A4F4951}"/>
                </a:ext>
              </a:extLst>
            </p:cNvPr>
            <p:cNvSpPr/>
            <p:nvPr/>
          </p:nvSpPr>
          <p:spPr>
            <a:xfrm>
              <a:off x="8308307" y="-1645206"/>
              <a:ext cx="505424" cy="256802"/>
            </a:xfrm>
            <a:custGeom>
              <a:avLst/>
              <a:gdLst>
                <a:gd name="connsiteX0" fmla="*/ 446154 w 505424"/>
                <a:gd name="connsiteY0" fmla="*/ 247541 h 256802"/>
                <a:gd name="connsiteX1" fmla="*/ 323077 w 505424"/>
                <a:gd name="connsiteY1" fmla="*/ 207541 h 256802"/>
                <a:gd name="connsiteX2" fmla="*/ 0 w 505424"/>
                <a:gd name="connsiteY2" fmla="*/ 195233 h 256802"/>
                <a:gd name="connsiteX3" fmla="*/ 375385 w 505424"/>
                <a:gd name="connsiteY3" fmla="*/ 10618 h 256802"/>
                <a:gd name="connsiteX4" fmla="*/ 495385 w 505424"/>
                <a:gd name="connsiteY4" fmla="*/ 118310 h 256802"/>
                <a:gd name="connsiteX5" fmla="*/ 446154 w 505424"/>
                <a:gd name="connsiteY5" fmla="*/ 247541 h 256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424" h="256802">
                  <a:moveTo>
                    <a:pt x="446154" y="247541"/>
                  </a:moveTo>
                  <a:cubicBezTo>
                    <a:pt x="446154" y="247541"/>
                    <a:pt x="350769" y="207541"/>
                    <a:pt x="323077" y="207541"/>
                  </a:cubicBezTo>
                  <a:cubicBezTo>
                    <a:pt x="221539" y="210618"/>
                    <a:pt x="92308" y="324464"/>
                    <a:pt x="0" y="195233"/>
                  </a:cubicBezTo>
                  <a:cubicBezTo>
                    <a:pt x="46154" y="93694"/>
                    <a:pt x="209231" y="-38613"/>
                    <a:pt x="375385" y="10618"/>
                  </a:cubicBezTo>
                  <a:cubicBezTo>
                    <a:pt x="455385" y="32156"/>
                    <a:pt x="489231" y="81387"/>
                    <a:pt x="495385" y="118310"/>
                  </a:cubicBezTo>
                  <a:cubicBezTo>
                    <a:pt x="495385" y="121387"/>
                    <a:pt x="538462" y="235233"/>
                    <a:pt x="446154" y="247541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7" name="任意多边形: 形状 316">
              <a:extLst>
                <a:ext uri="{FF2B5EF4-FFF2-40B4-BE49-F238E27FC236}">
                  <a16:creationId xmlns:a16="http://schemas.microsoft.com/office/drawing/2014/main" id="{0BF7928E-C836-4DB0-926D-AB8D96539A1A}"/>
                </a:ext>
              </a:extLst>
            </p:cNvPr>
            <p:cNvSpPr/>
            <p:nvPr/>
          </p:nvSpPr>
          <p:spPr>
            <a:xfrm>
              <a:off x="8788307" y="-1287088"/>
              <a:ext cx="77983" cy="111522"/>
            </a:xfrm>
            <a:custGeom>
              <a:avLst/>
              <a:gdLst>
                <a:gd name="connsiteX0" fmla="*/ 12308 w 77983"/>
                <a:gd name="connsiteY0" fmla="*/ 15577 h 111522"/>
                <a:gd name="connsiteX1" fmla="*/ 70769 w 77983"/>
                <a:gd name="connsiteY1" fmla="*/ 6346 h 111522"/>
                <a:gd name="connsiteX2" fmla="*/ 12308 w 77983"/>
                <a:gd name="connsiteY2" fmla="*/ 107885 h 111522"/>
                <a:gd name="connsiteX3" fmla="*/ 12308 w 77983"/>
                <a:gd name="connsiteY3" fmla="*/ 15577 h 111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983" h="111522">
                  <a:moveTo>
                    <a:pt x="12308" y="15577"/>
                  </a:moveTo>
                  <a:cubicBezTo>
                    <a:pt x="12308" y="15577"/>
                    <a:pt x="46154" y="-12115"/>
                    <a:pt x="70769" y="6346"/>
                  </a:cubicBezTo>
                  <a:cubicBezTo>
                    <a:pt x="95385" y="24808"/>
                    <a:pt x="52308" y="132500"/>
                    <a:pt x="12308" y="107885"/>
                  </a:cubicBezTo>
                  <a:cubicBezTo>
                    <a:pt x="-15385" y="89423"/>
                    <a:pt x="12308" y="15577"/>
                    <a:pt x="12308" y="15577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8" name="任意多边形: 形状 317">
              <a:extLst>
                <a:ext uri="{FF2B5EF4-FFF2-40B4-BE49-F238E27FC236}">
                  <a16:creationId xmlns:a16="http://schemas.microsoft.com/office/drawing/2014/main" id="{5297C266-60E5-415A-94A6-7441BCCC111F}"/>
                </a:ext>
              </a:extLst>
            </p:cNvPr>
            <p:cNvSpPr/>
            <p:nvPr/>
          </p:nvSpPr>
          <p:spPr>
            <a:xfrm>
              <a:off x="8742153" y="-1508434"/>
              <a:ext cx="74272" cy="243076"/>
            </a:xfrm>
            <a:custGeom>
              <a:avLst/>
              <a:gdLst>
                <a:gd name="connsiteX0" fmla="*/ 58461 w 74272"/>
                <a:gd name="connsiteY0" fmla="*/ 243077 h 243076"/>
                <a:gd name="connsiteX1" fmla="*/ 52308 w 74272"/>
                <a:gd name="connsiteY1" fmla="*/ 236923 h 243076"/>
                <a:gd name="connsiteX2" fmla="*/ 6154 w 74272"/>
                <a:gd name="connsiteY2" fmla="*/ 113846 h 243076"/>
                <a:gd name="connsiteX3" fmla="*/ 0 w 74272"/>
                <a:gd name="connsiteY3" fmla="*/ 107692 h 243076"/>
                <a:gd name="connsiteX4" fmla="*/ 9230 w 74272"/>
                <a:gd name="connsiteY4" fmla="*/ 104615 h 243076"/>
                <a:gd name="connsiteX5" fmla="*/ 58461 w 74272"/>
                <a:gd name="connsiteY5" fmla="*/ 64615 h 243076"/>
                <a:gd name="connsiteX6" fmla="*/ 58461 w 74272"/>
                <a:gd name="connsiteY6" fmla="*/ 6154 h 243076"/>
                <a:gd name="connsiteX7" fmla="*/ 61538 w 74272"/>
                <a:gd name="connsiteY7" fmla="*/ 0 h 243076"/>
                <a:gd name="connsiteX8" fmla="*/ 67693 w 74272"/>
                <a:gd name="connsiteY8" fmla="*/ 3077 h 243076"/>
                <a:gd name="connsiteX9" fmla="*/ 64616 w 74272"/>
                <a:gd name="connsiteY9" fmla="*/ 70769 h 243076"/>
                <a:gd name="connsiteX10" fmla="*/ 15385 w 74272"/>
                <a:gd name="connsiteY10" fmla="*/ 113846 h 243076"/>
                <a:gd name="connsiteX11" fmla="*/ 61538 w 74272"/>
                <a:gd name="connsiteY11" fmla="*/ 236923 h 243076"/>
                <a:gd name="connsiteX12" fmla="*/ 58461 w 74272"/>
                <a:gd name="connsiteY12" fmla="*/ 243077 h 243076"/>
                <a:gd name="connsiteX13" fmla="*/ 58461 w 74272"/>
                <a:gd name="connsiteY13" fmla="*/ 243077 h 24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272" h="243076">
                  <a:moveTo>
                    <a:pt x="58461" y="243077"/>
                  </a:moveTo>
                  <a:cubicBezTo>
                    <a:pt x="55384" y="243077"/>
                    <a:pt x="52308" y="240000"/>
                    <a:pt x="52308" y="236923"/>
                  </a:cubicBezTo>
                  <a:cubicBezTo>
                    <a:pt x="46154" y="175385"/>
                    <a:pt x="6154" y="113846"/>
                    <a:pt x="6154" y="113846"/>
                  </a:cubicBezTo>
                  <a:lnTo>
                    <a:pt x="0" y="107692"/>
                  </a:lnTo>
                  <a:lnTo>
                    <a:pt x="9230" y="104615"/>
                  </a:lnTo>
                  <a:cubicBezTo>
                    <a:pt x="9230" y="104615"/>
                    <a:pt x="43077" y="92308"/>
                    <a:pt x="58461" y="64615"/>
                  </a:cubicBezTo>
                  <a:cubicBezTo>
                    <a:pt x="67693" y="49231"/>
                    <a:pt x="67693" y="27692"/>
                    <a:pt x="58461" y="6154"/>
                  </a:cubicBezTo>
                  <a:cubicBezTo>
                    <a:pt x="58461" y="3077"/>
                    <a:pt x="58461" y="0"/>
                    <a:pt x="61538" y="0"/>
                  </a:cubicBezTo>
                  <a:cubicBezTo>
                    <a:pt x="64616" y="0"/>
                    <a:pt x="67693" y="0"/>
                    <a:pt x="67693" y="3077"/>
                  </a:cubicBezTo>
                  <a:cubicBezTo>
                    <a:pt x="76923" y="27692"/>
                    <a:pt x="76923" y="52308"/>
                    <a:pt x="64616" y="70769"/>
                  </a:cubicBezTo>
                  <a:cubicBezTo>
                    <a:pt x="52308" y="95385"/>
                    <a:pt x="27692" y="107692"/>
                    <a:pt x="15385" y="113846"/>
                  </a:cubicBezTo>
                  <a:cubicBezTo>
                    <a:pt x="27692" y="132308"/>
                    <a:pt x="55384" y="181538"/>
                    <a:pt x="61538" y="236923"/>
                  </a:cubicBezTo>
                  <a:cubicBezTo>
                    <a:pt x="64616" y="240000"/>
                    <a:pt x="64616" y="243077"/>
                    <a:pt x="58461" y="243077"/>
                  </a:cubicBezTo>
                  <a:lnTo>
                    <a:pt x="58461" y="243077"/>
                  </a:ln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9" name="任意多边形: 形状 318">
              <a:extLst>
                <a:ext uri="{FF2B5EF4-FFF2-40B4-BE49-F238E27FC236}">
                  <a16:creationId xmlns:a16="http://schemas.microsoft.com/office/drawing/2014/main" id="{9BB5D434-E21F-4582-99BD-5C4311F4C7FD}"/>
                </a:ext>
              </a:extLst>
            </p:cNvPr>
            <p:cNvSpPr/>
            <p:nvPr/>
          </p:nvSpPr>
          <p:spPr>
            <a:xfrm>
              <a:off x="8439247" y="-1464830"/>
              <a:ext cx="195213" cy="36395"/>
            </a:xfrm>
            <a:custGeom>
              <a:avLst/>
              <a:gdLst>
                <a:gd name="connsiteX0" fmla="*/ 192136 w 195213"/>
                <a:gd name="connsiteY0" fmla="*/ 36395 h 36395"/>
                <a:gd name="connsiteX1" fmla="*/ 192136 w 195213"/>
                <a:gd name="connsiteY1" fmla="*/ 36395 h 36395"/>
                <a:gd name="connsiteX2" fmla="*/ 10598 w 195213"/>
                <a:gd name="connsiteY2" fmla="*/ 30241 h 36395"/>
                <a:gd name="connsiteX3" fmla="*/ 1368 w 195213"/>
                <a:gd name="connsiteY3" fmla="*/ 30241 h 36395"/>
                <a:gd name="connsiteX4" fmla="*/ 1368 w 195213"/>
                <a:gd name="connsiteY4" fmla="*/ 21011 h 36395"/>
                <a:gd name="connsiteX5" fmla="*/ 192136 w 195213"/>
                <a:gd name="connsiteY5" fmla="*/ 27165 h 36395"/>
                <a:gd name="connsiteX6" fmla="*/ 195213 w 195213"/>
                <a:gd name="connsiteY6" fmla="*/ 36395 h 36395"/>
                <a:gd name="connsiteX7" fmla="*/ 192136 w 195213"/>
                <a:gd name="connsiteY7" fmla="*/ 36395 h 3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213" h="36395">
                  <a:moveTo>
                    <a:pt x="192136" y="36395"/>
                  </a:moveTo>
                  <a:cubicBezTo>
                    <a:pt x="192136" y="36395"/>
                    <a:pt x="189059" y="36395"/>
                    <a:pt x="192136" y="36395"/>
                  </a:cubicBezTo>
                  <a:cubicBezTo>
                    <a:pt x="189059" y="36395"/>
                    <a:pt x="75214" y="-15912"/>
                    <a:pt x="10598" y="30241"/>
                  </a:cubicBezTo>
                  <a:cubicBezTo>
                    <a:pt x="7521" y="33318"/>
                    <a:pt x="4444" y="30241"/>
                    <a:pt x="1368" y="30241"/>
                  </a:cubicBezTo>
                  <a:cubicBezTo>
                    <a:pt x="-1710" y="27165"/>
                    <a:pt x="1368" y="24088"/>
                    <a:pt x="1368" y="21011"/>
                  </a:cubicBezTo>
                  <a:cubicBezTo>
                    <a:pt x="75214" y="-28220"/>
                    <a:pt x="189059" y="24088"/>
                    <a:pt x="192136" y="27165"/>
                  </a:cubicBezTo>
                  <a:cubicBezTo>
                    <a:pt x="195213" y="27165"/>
                    <a:pt x="195213" y="33318"/>
                    <a:pt x="195213" y="36395"/>
                  </a:cubicBezTo>
                  <a:cubicBezTo>
                    <a:pt x="195213" y="33318"/>
                    <a:pt x="195213" y="36395"/>
                    <a:pt x="192136" y="36395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0" name="任意多边形: 形状 319">
              <a:extLst>
                <a:ext uri="{FF2B5EF4-FFF2-40B4-BE49-F238E27FC236}">
                  <a16:creationId xmlns:a16="http://schemas.microsoft.com/office/drawing/2014/main" id="{2AED0903-F7E9-4FCB-A2AF-342F3CBFA766}"/>
                </a:ext>
              </a:extLst>
            </p:cNvPr>
            <p:cNvSpPr/>
            <p:nvPr/>
          </p:nvSpPr>
          <p:spPr>
            <a:xfrm>
              <a:off x="8505999" y="-1086127"/>
              <a:ext cx="122307" cy="26923"/>
            </a:xfrm>
            <a:custGeom>
              <a:avLst/>
              <a:gdLst>
                <a:gd name="connsiteX0" fmla="*/ 51539 w 122307"/>
                <a:gd name="connsiteY0" fmla="*/ 26923 h 26923"/>
                <a:gd name="connsiteX1" fmla="*/ 2308 w 122307"/>
                <a:gd name="connsiteY1" fmla="*/ 11538 h 26923"/>
                <a:gd name="connsiteX2" fmla="*/ 2308 w 122307"/>
                <a:gd name="connsiteY2" fmla="*/ 2308 h 26923"/>
                <a:gd name="connsiteX3" fmla="*/ 11539 w 122307"/>
                <a:gd name="connsiteY3" fmla="*/ 2308 h 26923"/>
                <a:gd name="connsiteX4" fmla="*/ 113077 w 122307"/>
                <a:gd name="connsiteY4" fmla="*/ 2308 h 26923"/>
                <a:gd name="connsiteX5" fmla="*/ 122308 w 122307"/>
                <a:gd name="connsiteY5" fmla="*/ 5385 h 26923"/>
                <a:gd name="connsiteX6" fmla="*/ 119231 w 122307"/>
                <a:gd name="connsiteY6" fmla="*/ 14615 h 26923"/>
                <a:gd name="connsiteX7" fmla="*/ 51539 w 122307"/>
                <a:gd name="connsiteY7" fmla="*/ 26923 h 2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307" h="26923">
                  <a:moveTo>
                    <a:pt x="51539" y="26923"/>
                  </a:moveTo>
                  <a:cubicBezTo>
                    <a:pt x="33077" y="26923"/>
                    <a:pt x="17692" y="23846"/>
                    <a:pt x="2308" y="11538"/>
                  </a:cubicBezTo>
                  <a:cubicBezTo>
                    <a:pt x="-769" y="8462"/>
                    <a:pt x="-769" y="5385"/>
                    <a:pt x="2308" y="2308"/>
                  </a:cubicBezTo>
                  <a:cubicBezTo>
                    <a:pt x="5385" y="-769"/>
                    <a:pt x="8462" y="-769"/>
                    <a:pt x="11539" y="2308"/>
                  </a:cubicBezTo>
                  <a:cubicBezTo>
                    <a:pt x="51539" y="33077"/>
                    <a:pt x="113077" y="2308"/>
                    <a:pt x="113077" y="2308"/>
                  </a:cubicBezTo>
                  <a:cubicBezTo>
                    <a:pt x="116154" y="2308"/>
                    <a:pt x="119231" y="2308"/>
                    <a:pt x="122308" y="5385"/>
                  </a:cubicBezTo>
                  <a:cubicBezTo>
                    <a:pt x="122308" y="8462"/>
                    <a:pt x="122308" y="11538"/>
                    <a:pt x="119231" y="14615"/>
                  </a:cubicBezTo>
                  <a:cubicBezTo>
                    <a:pt x="113077" y="11538"/>
                    <a:pt x="82308" y="26923"/>
                    <a:pt x="51539" y="26923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21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6982931" y="521700"/>
              <a:ext cx="266914" cy="369864"/>
              <a:chOff x="6982931" y="521700"/>
              <a:chExt cx="266914" cy="369864"/>
            </a:xfrm>
          </p:grpSpPr>
          <p:sp>
            <p:nvSpPr>
              <p:cNvPr id="322" name="任意多边形: 形状 321">
                <a:extLst>
                  <a:ext uri="{FF2B5EF4-FFF2-40B4-BE49-F238E27FC236}">
                    <a16:creationId xmlns:a16="http://schemas.microsoft.com/office/drawing/2014/main" id="{F67BB081-8D67-4B87-9816-F680878D20A6}"/>
                  </a:ext>
                </a:extLst>
              </p:cNvPr>
              <p:cNvSpPr/>
              <p:nvPr/>
            </p:nvSpPr>
            <p:spPr>
              <a:xfrm>
                <a:off x="6982931" y="521700"/>
                <a:ext cx="266914" cy="366787"/>
              </a:xfrm>
              <a:custGeom>
                <a:avLst/>
                <a:gdLst>
                  <a:gd name="connsiteX0" fmla="*/ 54607 w 266914"/>
                  <a:gd name="connsiteY0" fmla="*/ 274480 h 366787"/>
                  <a:gd name="connsiteX1" fmla="*/ 26915 w 266914"/>
                  <a:gd name="connsiteY1" fmla="*/ 194480 h 366787"/>
                  <a:gd name="connsiteX2" fmla="*/ 8453 w 266914"/>
                  <a:gd name="connsiteY2" fmla="*/ 62172 h 366787"/>
                  <a:gd name="connsiteX3" fmla="*/ 85376 w 266914"/>
                  <a:gd name="connsiteY3" fmla="*/ 634 h 366787"/>
                  <a:gd name="connsiteX4" fmla="*/ 88453 w 266914"/>
                  <a:gd name="connsiteY4" fmla="*/ 3711 h 366787"/>
                  <a:gd name="connsiteX5" fmla="*/ 91529 w 266914"/>
                  <a:gd name="connsiteY5" fmla="*/ 3711 h 366787"/>
                  <a:gd name="connsiteX6" fmla="*/ 266914 w 266914"/>
                  <a:gd name="connsiteY6" fmla="*/ 129865 h 366787"/>
                  <a:gd name="connsiteX7" fmla="*/ 251530 w 266914"/>
                  <a:gd name="connsiteY7" fmla="*/ 145249 h 366787"/>
                  <a:gd name="connsiteX8" fmla="*/ 162299 w 266914"/>
                  <a:gd name="connsiteY8" fmla="*/ 96018 h 366787"/>
                  <a:gd name="connsiteX9" fmla="*/ 248453 w 266914"/>
                  <a:gd name="connsiteY9" fmla="*/ 274480 h 366787"/>
                  <a:gd name="connsiteX10" fmla="*/ 229991 w 266914"/>
                  <a:gd name="connsiteY10" fmla="*/ 305249 h 366787"/>
                  <a:gd name="connsiteX11" fmla="*/ 202299 w 266914"/>
                  <a:gd name="connsiteY11" fmla="*/ 265249 h 366787"/>
                  <a:gd name="connsiteX12" fmla="*/ 168452 w 266914"/>
                  <a:gd name="connsiteY12" fmla="*/ 209865 h 366787"/>
                  <a:gd name="connsiteX13" fmla="*/ 186914 w 266914"/>
                  <a:gd name="connsiteY13" fmla="*/ 289865 h 366787"/>
                  <a:gd name="connsiteX14" fmla="*/ 196145 w 266914"/>
                  <a:gd name="connsiteY14" fmla="*/ 348326 h 366787"/>
                  <a:gd name="connsiteX15" fmla="*/ 171529 w 266914"/>
                  <a:gd name="connsiteY15" fmla="*/ 366788 h 366787"/>
                  <a:gd name="connsiteX16" fmla="*/ 140760 w 266914"/>
                  <a:gd name="connsiteY16" fmla="*/ 348326 h 366787"/>
                  <a:gd name="connsiteX17" fmla="*/ 140760 w 266914"/>
                  <a:gd name="connsiteY17" fmla="*/ 351403 h 366787"/>
                  <a:gd name="connsiteX18" fmla="*/ 134607 w 266914"/>
                  <a:gd name="connsiteY18" fmla="*/ 354480 h 366787"/>
                  <a:gd name="connsiteX19" fmla="*/ 100761 w 266914"/>
                  <a:gd name="connsiteY19" fmla="*/ 314480 h 366787"/>
                  <a:gd name="connsiteX20" fmla="*/ 91529 w 266914"/>
                  <a:gd name="connsiteY20" fmla="*/ 286788 h 366787"/>
                  <a:gd name="connsiteX21" fmla="*/ 91529 w 266914"/>
                  <a:gd name="connsiteY21" fmla="*/ 292942 h 366787"/>
                  <a:gd name="connsiteX22" fmla="*/ 73068 w 266914"/>
                  <a:gd name="connsiteY22" fmla="*/ 308326 h 366787"/>
                  <a:gd name="connsiteX23" fmla="*/ 54607 w 266914"/>
                  <a:gd name="connsiteY23" fmla="*/ 274480 h 36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66914" h="366787">
                    <a:moveTo>
                      <a:pt x="54607" y="274480"/>
                    </a:moveTo>
                    <a:cubicBezTo>
                      <a:pt x="45375" y="246788"/>
                      <a:pt x="36145" y="222172"/>
                      <a:pt x="26915" y="194480"/>
                    </a:cubicBezTo>
                    <a:cubicBezTo>
                      <a:pt x="11530" y="151403"/>
                      <a:pt x="-13086" y="108326"/>
                      <a:pt x="8453" y="62172"/>
                    </a:cubicBezTo>
                    <a:cubicBezTo>
                      <a:pt x="23838" y="34480"/>
                      <a:pt x="45375" y="-5520"/>
                      <a:pt x="85376" y="634"/>
                    </a:cubicBezTo>
                    <a:cubicBezTo>
                      <a:pt x="88453" y="634"/>
                      <a:pt x="88453" y="3711"/>
                      <a:pt x="88453" y="3711"/>
                    </a:cubicBezTo>
                    <a:cubicBezTo>
                      <a:pt x="88453" y="3711"/>
                      <a:pt x="88453" y="3711"/>
                      <a:pt x="91529" y="3711"/>
                    </a:cubicBezTo>
                    <a:cubicBezTo>
                      <a:pt x="177684" y="6788"/>
                      <a:pt x="257684" y="68326"/>
                      <a:pt x="266914" y="129865"/>
                    </a:cubicBezTo>
                    <a:cubicBezTo>
                      <a:pt x="266914" y="136019"/>
                      <a:pt x="257684" y="145249"/>
                      <a:pt x="251530" y="145249"/>
                    </a:cubicBezTo>
                    <a:cubicBezTo>
                      <a:pt x="220760" y="129865"/>
                      <a:pt x="199222" y="89865"/>
                      <a:pt x="162299" y="96018"/>
                    </a:cubicBezTo>
                    <a:cubicBezTo>
                      <a:pt x="186914" y="157557"/>
                      <a:pt x="239222" y="206788"/>
                      <a:pt x="248453" y="274480"/>
                    </a:cubicBezTo>
                    <a:cubicBezTo>
                      <a:pt x="251530" y="286788"/>
                      <a:pt x="251530" y="314480"/>
                      <a:pt x="229991" y="305249"/>
                    </a:cubicBezTo>
                    <a:cubicBezTo>
                      <a:pt x="217683" y="299095"/>
                      <a:pt x="208453" y="277557"/>
                      <a:pt x="202299" y="265249"/>
                    </a:cubicBezTo>
                    <a:cubicBezTo>
                      <a:pt x="189991" y="246788"/>
                      <a:pt x="180761" y="228326"/>
                      <a:pt x="168452" y="209865"/>
                    </a:cubicBezTo>
                    <a:cubicBezTo>
                      <a:pt x="174607" y="237557"/>
                      <a:pt x="180761" y="262172"/>
                      <a:pt x="186914" y="289865"/>
                    </a:cubicBezTo>
                    <a:cubicBezTo>
                      <a:pt x="189991" y="308326"/>
                      <a:pt x="199222" y="329865"/>
                      <a:pt x="196145" y="348326"/>
                    </a:cubicBezTo>
                    <a:cubicBezTo>
                      <a:pt x="193068" y="360634"/>
                      <a:pt x="183837" y="366788"/>
                      <a:pt x="171529" y="366788"/>
                    </a:cubicBezTo>
                    <a:cubicBezTo>
                      <a:pt x="159222" y="366788"/>
                      <a:pt x="149992" y="357557"/>
                      <a:pt x="140760" y="348326"/>
                    </a:cubicBezTo>
                    <a:cubicBezTo>
                      <a:pt x="140760" y="348326"/>
                      <a:pt x="140760" y="351403"/>
                      <a:pt x="140760" y="351403"/>
                    </a:cubicBezTo>
                    <a:cubicBezTo>
                      <a:pt x="140760" y="354480"/>
                      <a:pt x="137683" y="354480"/>
                      <a:pt x="134607" y="354480"/>
                    </a:cubicBezTo>
                    <a:cubicBezTo>
                      <a:pt x="116145" y="348326"/>
                      <a:pt x="106914" y="332942"/>
                      <a:pt x="100761" y="314480"/>
                    </a:cubicBezTo>
                    <a:cubicBezTo>
                      <a:pt x="97683" y="305249"/>
                      <a:pt x="94606" y="296018"/>
                      <a:pt x="91529" y="286788"/>
                    </a:cubicBezTo>
                    <a:cubicBezTo>
                      <a:pt x="91529" y="289865"/>
                      <a:pt x="91529" y="292942"/>
                      <a:pt x="91529" y="292942"/>
                    </a:cubicBezTo>
                    <a:cubicBezTo>
                      <a:pt x="88453" y="302172"/>
                      <a:pt x="85376" y="308326"/>
                      <a:pt x="73068" y="308326"/>
                    </a:cubicBezTo>
                    <a:cubicBezTo>
                      <a:pt x="63837" y="305249"/>
                      <a:pt x="60760" y="286788"/>
                      <a:pt x="54607" y="274480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3" name="任意多边形: 形状 322">
                <a:extLst>
                  <a:ext uri="{FF2B5EF4-FFF2-40B4-BE49-F238E27FC236}">
                    <a16:creationId xmlns:a16="http://schemas.microsoft.com/office/drawing/2014/main" id="{BA0DF141-B280-400E-A1D0-E95ACA67E207}"/>
                  </a:ext>
                </a:extLst>
              </p:cNvPr>
              <p:cNvSpPr/>
              <p:nvPr/>
            </p:nvSpPr>
            <p:spPr>
              <a:xfrm>
                <a:off x="7051648" y="594906"/>
                <a:ext cx="72043" cy="38197"/>
              </a:xfrm>
              <a:custGeom>
                <a:avLst/>
                <a:gdLst>
                  <a:gd name="connsiteX0" fmla="*/ 53582 w 72043"/>
                  <a:gd name="connsiteY0" fmla="*/ 38197 h 38197"/>
                  <a:gd name="connsiteX1" fmla="*/ 1275 w 72043"/>
                  <a:gd name="connsiteY1" fmla="*/ 10505 h 38197"/>
                  <a:gd name="connsiteX2" fmla="*/ 4352 w 72043"/>
                  <a:gd name="connsiteY2" fmla="*/ 1274 h 38197"/>
                  <a:gd name="connsiteX3" fmla="*/ 13582 w 72043"/>
                  <a:gd name="connsiteY3" fmla="*/ 4351 h 38197"/>
                  <a:gd name="connsiteX4" fmla="*/ 65890 w 72043"/>
                  <a:gd name="connsiteY4" fmla="*/ 22813 h 38197"/>
                  <a:gd name="connsiteX5" fmla="*/ 72043 w 72043"/>
                  <a:gd name="connsiteY5" fmla="*/ 28967 h 38197"/>
                  <a:gd name="connsiteX6" fmla="*/ 65890 w 72043"/>
                  <a:gd name="connsiteY6" fmla="*/ 35121 h 38197"/>
                  <a:gd name="connsiteX7" fmla="*/ 53582 w 72043"/>
                  <a:gd name="connsiteY7" fmla="*/ 38197 h 38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2043" h="38197">
                    <a:moveTo>
                      <a:pt x="53582" y="38197"/>
                    </a:moveTo>
                    <a:cubicBezTo>
                      <a:pt x="38197" y="38197"/>
                      <a:pt x="16659" y="35121"/>
                      <a:pt x="1275" y="10505"/>
                    </a:cubicBezTo>
                    <a:cubicBezTo>
                      <a:pt x="-1803" y="7428"/>
                      <a:pt x="1275" y="4351"/>
                      <a:pt x="4352" y="1274"/>
                    </a:cubicBezTo>
                    <a:cubicBezTo>
                      <a:pt x="7428" y="-1802"/>
                      <a:pt x="10505" y="1274"/>
                      <a:pt x="13582" y="4351"/>
                    </a:cubicBezTo>
                    <a:cubicBezTo>
                      <a:pt x="28967" y="32044"/>
                      <a:pt x="65890" y="25890"/>
                      <a:pt x="65890" y="22813"/>
                    </a:cubicBezTo>
                    <a:cubicBezTo>
                      <a:pt x="68966" y="22813"/>
                      <a:pt x="72043" y="22813"/>
                      <a:pt x="72043" y="28967"/>
                    </a:cubicBezTo>
                    <a:cubicBezTo>
                      <a:pt x="72043" y="32044"/>
                      <a:pt x="72043" y="35121"/>
                      <a:pt x="65890" y="35121"/>
                    </a:cubicBezTo>
                    <a:cubicBezTo>
                      <a:pt x="65890" y="35121"/>
                      <a:pt x="59736" y="38197"/>
                      <a:pt x="53582" y="3819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4" name="任意多边形: 形状 323">
                <a:extLst>
                  <a:ext uri="{FF2B5EF4-FFF2-40B4-BE49-F238E27FC236}">
                    <a16:creationId xmlns:a16="http://schemas.microsoft.com/office/drawing/2014/main" id="{F3BF5D53-69BC-4D9A-A4D6-EC7C85D6E9AA}"/>
                  </a:ext>
                </a:extLst>
              </p:cNvPr>
              <p:cNvSpPr/>
              <p:nvPr/>
            </p:nvSpPr>
            <p:spPr>
              <a:xfrm>
                <a:off x="7095999" y="728488"/>
                <a:ext cx="121367" cy="163077"/>
              </a:xfrm>
              <a:custGeom>
                <a:avLst/>
                <a:gdLst>
                  <a:gd name="connsiteX0" fmla="*/ 67693 w 121367"/>
                  <a:gd name="connsiteY0" fmla="*/ 163077 h 163077"/>
                  <a:gd name="connsiteX1" fmla="*/ 64616 w 121367"/>
                  <a:gd name="connsiteY1" fmla="*/ 163077 h 163077"/>
                  <a:gd name="connsiteX2" fmla="*/ 36923 w 121367"/>
                  <a:gd name="connsiteY2" fmla="*/ 141539 h 163077"/>
                  <a:gd name="connsiteX3" fmla="*/ 0 w 121367"/>
                  <a:gd name="connsiteY3" fmla="*/ 33846 h 163077"/>
                  <a:gd name="connsiteX4" fmla="*/ 3077 w 121367"/>
                  <a:gd name="connsiteY4" fmla="*/ 27692 h 163077"/>
                  <a:gd name="connsiteX5" fmla="*/ 9230 w 121367"/>
                  <a:gd name="connsiteY5" fmla="*/ 30769 h 163077"/>
                  <a:gd name="connsiteX6" fmla="*/ 46154 w 121367"/>
                  <a:gd name="connsiteY6" fmla="*/ 138462 h 163077"/>
                  <a:gd name="connsiteX7" fmla="*/ 64616 w 121367"/>
                  <a:gd name="connsiteY7" fmla="*/ 153846 h 163077"/>
                  <a:gd name="connsiteX8" fmla="*/ 80000 w 121367"/>
                  <a:gd name="connsiteY8" fmla="*/ 147692 h 163077"/>
                  <a:gd name="connsiteX9" fmla="*/ 52308 w 121367"/>
                  <a:gd name="connsiteY9" fmla="*/ 6154 h 163077"/>
                  <a:gd name="connsiteX10" fmla="*/ 55384 w 121367"/>
                  <a:gd name="connsiteY10" fmla="*/ 0 h 163077"/>
                  <a:gd name="connsiteX11" fmla="*/ 61538 w 121367"/>
                  <a:gd name="connsiteY11" fmla="*/ 3077 h 163077"/>
                  <a:gd name="connsiteX12" fmla="*/ 120000 w 121367"/>
                  <a:gd name="connsiteY12" fmla="*/ 98462 h 163077"/>
                  <a:gd name="connsiteX13" fmla="*/ 120000 w 121367"/>
                  <a:gd name="connsiteY13" fmla="*/ 107692 h 163077"/>
                  <a:gd name="connsiteX14" fmla="*/ 110769 w 121367"/>
                  <a:gd name="connsiteY14" fmla="*/ 107692 h 163077"/>
                  <a:gd name="connsiteX15" fmla="*/ 73846 w 121367"/>
                  <a:gd name="connsiteY15" fmla="*/ 52308 h 163077"/>
                  <a:gd name="connsiteX16" fmla="*/ 86153 w 121367"/>
                  <a:gd name="connsiteY16" fmla="*/ 160000 h 163077"/>
                  <a:gd name="connsiteX17" fmla="*/ 67693 w 121367"/>
                  <a:gd name="connsiteY17" fmla="*/ 163077 h 16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367" h="163077">
                    <a:moveTo>
                      <a:pt x="67693" y="163077"/>
                    </a:moveTo>
                    <a:cubicBezTo>
                      <a:pt x="67693" y="163077"/>
                      <a:pt x="64616" y="163077"/>
                      <a:pt x="64616" y="163077"/>
                    </a:cubicBezTo>
                    <a:cubicBezTo>
                      <a:pt x="52308" y="160000"/>
                      <a:pt x="43077" y="153846"/>
                      <a:pt x="36923" y="141539"/>
                    </a:cubicBezTo>
                    <a:cubicBezTo>
                      <a:pt x="27692" y="123077"/>
                      <a:pt x="0" y="36923"/>
                      <a:pt x="0" y="33846"/>
                    </a:cubicBezTo>
                    <a:cubicBezTo>
                      <a:pt x="0" y="30769"/>
                      <a:pt x="0" y="27692"/>
                      <a:pt x="3077" y="27692"/>
                    </a:cubicBezTo>
                    <a:cubicBezTo>
                      <a:pt x="6154" y="27692"/>
                      <a:pt x="9230" y="27692"/>
                      <a:pt x="9230" y="30769"/>
                    </a:cubicBezTo>
                    <a:cubicBezTo>
                      <a:pt x="9230" y="30769"/>
                      <a:pt x="36923" y="120000"/>
                      <a:pt x="46154" y="138462"/>
                    </a:cubicBezTo>
                    <a:cubicBezTo>
                      <a:pt x="49231" y="147692"/>
                      <a:pt x="58461" y="150769"/>
                      <a:pt x="64616" y="153846"/>
                    </a:cubicBezTo>
                    <a:cubicBezTo>
                      <a:pt x="70769" y="153846"/>
                      <a:pt x="76923" y="153846"/>
                      <a:pt x="80000" y="147692"/>
                    </a:cubicBezTo>
                    <a:cubicBezTo>
                      <a:pt x="86153" y="138462"/>
                      <a:pt x="70769" y="67692"/>
                      <a:pt x="52308" y="6154"/>
                    </a:cubicBezTo>
                    <a:cubicBezTo>
                      <a:pt x="52308" y="3077"/>
                      <a:pt x="52308" y="0"/>
                      <a:pt x="55384" y="0"/>
                    </a:cubicBezTo>
                    <a:cubicBezTo>
                      <a:pt x="58461" y="0"/>
                      <a:pt x="61538" y="0"/>
                      <a:pt x="61538" y="3077"/>
                    </a:cubicBezTo>
                    <a:cubicBezTo>
                      <a:pt x="80000" y="40000"/>
                      <a:pt x="120000" y="98462"/>
                      <a:pt x="120000" y="98462"/>
                    </a:cubicBezTo>
                    <a:cubicBezTo>
                      <a:pt x="123077" y="101539"/>
                      <a:pt x="120000" y="104615"/>
                      <a:pt x="120000" y="107692"/>
                    </a:cubicBezTo>
                    <a:cubicBezTo>
                      <a:pt x="116923" y="110769"/>
                      <a:pt x="113847" y="107692"/>
                      <a:pt x="110769" y="107692"/>
                    </a:cubicBezTo>
                    <a:cubicBezTo>
                      <a:pt x="110769" y="104615"/>
                      <a:pt x="92308" y="80000"/>
                      <a:pt x="73846" y="52308"/>
                    </a:cubicBezTo>
                    <a:cubicBezTo>
                      <a:pt x="86153" y="95385"/>
                      <a:pt x="95385" y="147692"/>
                      <a:pt x="86153" y="160000"/>
                    </a:cubicBezTo>
                    <a:cubicBezTo>
                      <a:pt x="83077" y="160000"/>
                      <a:pt x="73846" y="163077"/>
                      <a:pt x="67693" y="16307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5" name="任意多边形: 形状 324">
                <a:extLst>
                  <a:ext uri="{FF2B5EF4-FFF2-40B4-BE49-F238E27FC236}">
                    <a16:creationId xmlns:a16="http://schemas.microsoft.com/office/drawing/2014/main" id="{84536227-4145-44AB-BE66-14623881804B}"/>
                  </a:ext>
                </a:extLst>
              </p:cNvPr>
              <p:cNvSpPr/>
              <p:nvPr/>
            </p:nvSpPr>
            <p:spPr>
              <a:xfrm>
                <a:off x="7059076" y="728488"/>
                <a:ext cx="85385" cy="150769"/>
              </a:xfrm>
              <a:custGeom>
                <a:avLst/>
                <a:gdLst>
                  <a:gd name="connsiteX0" fmla="*/ 58462 w 85385"/>
                  <a:gd name="connsiteY0" fmla="*/ 150769 h 150769"/>
                  <a:gd name="connsiteX1" fmla="*/ 46154 w 85385"/>
                  <a:gd name="connsiteY1" fmla="*/ 144616 h 150769"/>
                  <a:gd name="connsiteX2" fmla="*/ 15385 w 85385"/>
                  <a:gd name="connsiteY2" fmla="*/ 73846 h 150769"/>
                  <a:gd name="connsiteX3" fmla="*/ 0 w 85385"/>
                  <a:gd name="connsiteY3" fmla="*/ 3077 h 150769"/>
                  <a:gd name="connsiteX4" fmla="*/ 12308 w 85385"/>
                  <a:gd name="connsiteY4" fmla="*/ 0 h 150769"/>
                  <a:gd name="connsiteX5" fmla="*/ 27693 w 85385"/>
                  <a:gd name="connsiteY5" fmla="*/ 70769 h 150769"/>
                  <a:gd name="connsiteX6" fmla="*/ 55385 w 85385"/>
                  <a:gd name="connsiteY6" fmla="*/ 135385 h 150769"/>
                  <a:gd name="connsiteX7" fmla="*/ 73847 w 85385"/>
                  <a:gd name="connsiteY7" fmla="*/ 132308 h 150769"/>
                  <a:gd name="connsiteX8" fmla="*/ 83077 w 85385"/>
                  <a:gd name="connsiteY8" fmla="*/ 132308 h 150769"/>
                  <a:gd name="connsiteX9" fmla="*/ 83077 w 85385"/>
                  <a:gd name="connsiteY9" fmla="*/ 141539 h 150769"/>
                  <a:gd name="connsiteX10" fmla="*/ 58462 w 85385"/>
                  <a:gd name="connsiteY10" fmla="*/ 150769 h 150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5385" h="150769">
                    <a:moveTo>
                      <a:pt x="58462" y="150769"/>
                    </a:moveTo>
                    <a:cubicBezTo>
                      <a:pt x="55385" y="150769"/>
                      <a:pt x="49231" y="150769"/>
                      <a:pt x="46154" y="144616"/>
                    </a:cubicBezTo>
                    <a:cubicBezTo>
                      <a:pt x="33846" y="132308"/>
                      <a:pt x="18462" y="80000"/>
                      <a:pt x="15385" y="73846"/>
                    </a:cubicBezTo>
                    <a:cubicBezTo>
                      <a:pt x="12308" y="61538"/>
                      <a:pt x="0" y="3077"/>
                      <a:pt x="0" y="3077"/>
                    </a:cubicBezTo>
                    <a:lnTo>
                      <a:pt x="12308" y="0"/>
                    </a:lnTo>
                    <a:cubicBezTo>
                      <a:pt x="12308" y="0"/>
                      <a:pt x="27693" y="58462"/>
                      <a:pt x="27693" y="70769"/>
                    </a:cubicBezTo>
                    <a:cubicBezTo>
                      <a:pt x="30769" y="86154"/>
                      <a:pt x="46154" y="129231"/>
                      <a:pt x="55385" y="135385"/>
                    </a:cubicBezTo>
                    <a:cubicBezTo>
                      <a:pt x="61538" y="141539"/>
                      <a:pt x="73847" y="132308"/>
                      <a:pt x="73847" y="132308"/>
                    </a:cubicBezTo>
                    <a:cubicBezTo>
                      <a:pt x="76923" y="129231"/>
                      <a:pt x="80000" y="129231"/>
                      <a:pt x="83077" y="132308"/>
                    </a:cubicBezTo>
                    <a:cubicBezTo>
                      <a:pt x="86154" y="135385"/>
                      <a:pt x="86154" y="138462"/>
                      <a:pt x="83077" y="141539"/>
                    </a:cubicBezTo>
                    <a:cubicBezTo>
                      <a:pt x="76923" y="147692"/>
                      <a:pt x="67693" y="150769"/>
                      <a:pt x="58462" y="15076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26" name="任意多边形: 形状 325">
              <a:extLst>
                <a:ext uri="{FF2B5EF4-FFF2-40B4-BE49-F238E27FC236}">
                  <a16:creationId xmlns:a16="http://schemas.microsoft.com/office/drawing/2014/main" id="{C509F7B8-0D92-406D-B8EB-03B0CF587EA5}"/>
                </a:ext>
              </a:extLst>
            </p:cNvPr>
            <p:cNvSpPr/>
            <p:nvPr/>
          </p:nvSpPr>
          <p:spPr>
            <a:xfrm>
              <a:off x="6241070" y="-510108"/>
              <a:ext cx="926187" cy="1123996"/>
            </a:xfrm>
            <a:custGeom>
              <a:avLst/>
              <a:gdLst>
                <a:gd name="connsiteX0" fmla="*/ 174929 w 926187"/>
                <a:gd name="connsiteY0" fmla="*/ 364751 h 1123996"/>
                <a:gd name="connsiteX1" fmla="*/ 464159 w 926187"/>
                <a:gd name="connsiteY1" fmla="*/ 577059 h 1123996"/>
                <a:gd name="connsiteX2" fmla="*/ 741082 w 926187"/>
                <a:gd name="connsiteY2" fmla="*/ 1121674 h 1123996"/>
                <a:gd name="connsiteX3" fmla="*/ 925698 w 926187"/>
                <a:gd name="connsiteY3" fmla="*/ 1069366 h 1123996"/>
                <a:gd name="connsiteX4" fmla="*/ 698006 w 926187"/>
                <a:gd name="connsiteY4" fmla="*/ 417059 h 1123996"/>
                <a:gd name="connsiteX5" fmla="*/ 282621 w 926187"/>
                <a:gd name="connsiteY5" fmla="*/ 44751 h 1123996"/>
                <a:gd name="connsiteX6" fmla="*/ 11852 w 926187"/>
                <a:gd name="connsiteY6" fmla="*/ 32443 h 1123996"/>
                <a:gd name="connsiteX7" fmla="*/ 174929 w 926187"/>
                <a:gd name="connsiteY7" fmla="*/ 364751 h 1123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6187" h="1123996">
                  <a:moveTo>
                    <a:pt x="174929" y="364751"/>
                  </a:moveTo>
                  <a:cubicBezTo>
                    <a:pt x="248775" y="417059"/>
                    <a:pt x="399545" y="512443"/>
                    <a:pt x="464159" y="577059"/>
                  </a:cubicBezTo>
                  <a:cubicBezTo>
                    <a:pt x="556467" y="672443"/>
                    <a:pt x="734929" y="1118597"/>
                    <a:pt x="741082" y="1121674"/>
                  </a:cubicBezTo>
                  <a:cubicBezTo>
                    <a:pt x="811852" y="1130905"/>
                    <a:pt x="870314" y="1112443"/>
                    <a:pt x="925698" y="1069366"/>
                  </a:cubicBezTo>
                  <a:cubicBezTo>
                    <a:pt x="934929" y="1063213"/>
                    <a:pt x="811852" y="607828"/>
                    <a:pt x="698006" y="417059"/>
                  </a:cubicBezTo>
                  <a:cubicBezTo>
                    <a:pt x="664159" y="358597"/>
                    <a:pt x="442621" y="124751"/>
                    <a:pt x="282621" y="44751"/>
                  </a:cubicBezTo>
                  <a:cubicBezTo>
                    <a:pt x="205698" y="4751"/>
                    <a:pt x="42621" y="-26018"/>
                    <a:pt x="11852" y="32443"/>
                  </a:cubicBezTo>
                  <a:cubicBezTo>
                    <a:pt x="-37379" y="124751"/>
                    <a:pt x="76468" y="290905"/>
                    <a:pt x="174929" y="364751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7" name="任意多边形: 形状 326">
              <a:extLst>
                <a:ext uri="{FF2B5EF4-FFF2-40B4-BE49-F238E27FC236}">
                  <a16:creationId xmlns:a16="http://schemas.microsoft.com/office/drawing/2014/main" id="{722FF59B-A254-4A11-B611-214BDAA7E3D5}"/>
                </a:ext>
              </a:extLst>
            </p:cNvPr>
            <p:cNvSpPr/>
            <p:nvPr/>
          </p:nvSpPr>
          <p:spPr>
            <a:xfrm>
              <a:off x="6238730" y="-483819"/>
              <a:ext cx="308807" cy="430769"/>
            </a:xfrm>
            <a:custGeom>
              <a:avLst/>
              <a:gdLst>
                <a:gd name="connsiteX0" fmla="*/ 306500 w 308807"/>
                <a:gd name="connsiteY0" fmla="*/ 430769 h 430769"/>
                <a:gd name="connsiteX1" fmla="*/ 306500 w 308807"/>
                <a:gd name="connsiteY1" fmla="*/ 430769 h 430769"/>
                <a:gd name="connsiteX2" fmla="*/ 66499 w 308807"/>
                <a:gd name="connsiteY2" fmla="*/ 230769 h 430769"/>
                <a:gd name="connsiteX3" fmla="*/ 8038 w 308807"/>
                <a:gd name="connsiteY3" fmla="*/ 3077 h 430769"/>
                <a:gd name="connsiteX4" fmla="*/ 14192 w 308807"/>
                <a:gd name="connsiteY4" fmla="*/ 0 h 430769"/>
                <a:gd name="connsiteX5" fmla="*/ 17269 w 308807"/>
                <a:gd name="connsiteY5" fmla="*/ 6154 h 430769"/>
                <a:gd name="connsiteX6" fmla="*/ 72654 w 308807"/>
                <a:gd name="connsiteY6" fmla="*/ 224615 h 430769"/>
                <a:gd name="connsiteX7" fmla="*/ 303423 w 308807"/>
                <a:gd name="connsiteY7" fmla="*/ 418462 h 430769"/>
                <a:gd name="connsiteX8" fmla="*/ 306500 w 308807"/>
                <a:gd name="connsiteY8" fmla="*/ 424615 h 430769"/>
                <a:gd name="connsiteX9" fmla="*/ 306500 w 308807"/>
                <a:gd name="connsiteY9" fmla="*/ 430769 h 43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807" h="430769">
                  <a:moveTo>
                    <a:pt x="306500" y="430769"/>
                  </a:moveTo>
                  <a:cubicBezTo>
                    <a:pt x="306500" y="430769"/>
                    <a:pt x="303423" y="430769"/>
                    <a:pt x="306500" y="430769"/>
                  </a:cubicBezTo>
                  <a:cubicBezTo>
                    <a:pt x="303423" y="430769"/>
                    <a:pt x="164961" y="366154"/>
                    <a:pt x="66499" y="230769"/>
                  </a:cubicBezTo>
                  <a:cubicBezTo>
                    <a:pt x="-31962" y="95385"/>
                    <a:pt x="8038" y="6154"/>
                    <a:pt x="8038" y="3077"/>
                  </a:cubicBezTo>
                  <a:cubicBezTo>
                    <a:pt x="8038" y="0"/>
                    <a:pt x="14192" y="0"/>
                    <a:pt x="14192" y="0"/>
                  </a:cubicBezTo>
                  <a:cubicBezTo>
                    <a:pt x="17269" y="0"/>
                    <a:pt x="17269" y="6154"/>
                    <a:pt x="17269" y="6154"/>
                  </a:cubicBezTo>
                  <a:cubicBezTo>
                    <a:pt x="17269" y="6154"/>
                    <a:pt x="-19654" y="92308"/>
                    <a:pt x="72654" y="224615"/>
                  </a:cubicBezTo>
                  <a:cubicBezTo>
                    <a:pt x="168038" y="356923"/>
                    <a:pt x="303423" y="418462"/>
                    <a:pt x="303423" y="418462"/>
                  </a:cubicBezTo>
                  <a:cubicBezTo>
                    <a:pt x="306500" y="418462"/>
                    <a:pt x="306500" y="424615"/>
                    <a:pt x="306500" y="424615"/>
                  </a:cubicBezTo>
                  <a:cubicBezTo>
                    <a:pt x="309577" y="430769"/>
                    <a:pt x="309577" y="430769"/>
                    <a:pt x="306500" y="430769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8" name="任意多边形: 形状 327">
              <a:extLst>
                <a:ext uri="{FF2B5EF4-FFF2-40B4-BE49-F238E27FC236}">
                  <a16:creationId xmlns:a16="http://schemas.microsoft.com/office/drawing/2014/main" id="{DAFED1CA-456A-4290-BC45-C4A2D9D7A63C}"/>
                </a:ext>
              </a:extLst>
            </p:cNvPr>
            <p:cNvSpPr/>
            <p:nvPr/>
          </p:nvSpPr>
          <p:spPr>
            <a:xfrm>
              <a:off x="6678307" y="-363050"/>
              <a:ext cx="377692" cy="525384"/>
            </a:xfrm>
            <a:custGeom>
              <a:avLst/>
              <a:gdLst>
                <a:gd name="connsiteX0" fmla="*/ 371539 w 377692"/>
                <a:gd name="connsiteY0" fmla="*/ 525385 h 525384"/>
                <a:gd name="connsiteX1" fmla="*/ 365384 w 377692"/>
                <a:gd name="connsiteY1" fmla="*/ 522308 h 525384"/>
                <a:gd name="connsiteX2" fmla="*/ 254616 w 377692"/>
                <a:gd name="connsiteY2" fmla="*/ 270000 h 525384"/>
                <a:gd name="connsiteX3" fmla="*/ 2308 w 377692"/>
                <a:gd name="connsiteY3" fmla="*/ 11538 h 525384"/>
                <a:gd name="connsiteX4" fmla="*/ 2308 w 377692"/>
                <a:gd name="connsiteY4" fmla="*/ 2308 h 525384"/>
                <a:gd name="connsiteX5" fmla="*/ 11538 w 377692"/>
                <a:gd name="connsiteY5" fmla="*/ 2308 h 525384"/>
                <a:gd name="connsiteX6" fmla="*/ 266923 w 377692"/>
                <a:gd name="connsiteY6" fmla="*/ 263846 h 525384"/>
                <a:gd name="connsiteX7" fmla="*/ 377693 w 377692"/>
                <a:gd name="connsiteY7" fmla="*/ 516154 h 525384"/>
                <a:gd name="connsiteX8" fmla="*/ 371539 w 377692"/>
                <a:gd name="connsiteY8" fmla="*/ 525385 h 525384"/>
                <a:gd name="connsiteX9" fmla="*/ 371539 w 377692"/>
                <a:gd name="connsiteY9" fmla="*/ 525385 h 525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7692" h="525384">
                  <a:moveTo>
                    <a:pt x="371539" y="525385"/>
                  </a:moveTo>
                  <a:cubicBezTo>
                    <a:pt x="368462" y="525385"/>
                    <a:pt x="368462" y="525385"/>
                    <a:pt x="365384" y="522308"/>
                  </a:cubicBezTo>
                  <a:cubicBezTo>
                    <a:pt x="365384" y="519231"/>
                    <a:pt x="285385" y="328462"/>
                    <a:pt x="254616" y="270000"/>
                  </a:cubicBezTo>
                  <a:cubicBezTo>
                    <a:pt x="223847" y="211538"/>
                    <a:pt x="5385" y="14615"/>
                    <a:pt x="2308" y="11538"/>
                  </a:cubicBezTo>
                  <a:cubicBezTo>
                    <a:pt x="-769" y="8462"/>
                    <a:pt x="-769" y="5385"/>
                    <a:pt x="2308" y="2308"/>
                  </a:cubicBezTo>
                  <a:cubicBezTo>
                    <a:pt x="5385" y="-769"/>
                    <a:pt x="8462" y="-769"/>
                    <a:pt x="11538" y="2308"/>
                  </a:cubicBezTo>
                  <a:cubicBezTo>
                    <a:pt x="20770" y="11538"/>
                    <a:pt x="233077" y="205385"/>
                    <a:pt x="266923" y="263846"/>
                  </a:cubicBezTo>
                  <a:cubicBezTo>
                    <a:pt x="297693" y="322308"/>
                    <a:pt x="377693" y="513077"/>
                    <a:pt x="377693" y="516154"/>
                  </a:cubicBezTo>
                  <a:cubicBezTo>
                    <a:pt x="377693" y="522308"/>
                    <a:pt x="377693" y="525385"/>
                    <a:pt x="371539" y="525385"/>
                  </a:cubicBezTo>
                  <a:cubicBezTo>
                    <a:pt x="374616" y="525385"/>
                    <a:pt x="371539" y="525385"/>
                    <a:pt x="371539" y="525385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29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6944804" y="641472"/>
              <a:ext cx="206986" cy="189046"/>
              <a:chOff x="6944804" y="641472"/>
              <a:chExt cx="206986" cy="189046"/>
            </a:xfrm>
          </p:grpSpPr>
          <p:sp>
            <p:nvSpPr>
              <p:cNvPr id="330" name="任意多边形: 形状 329">
                <a:extLst>
                  <a:ext uri="{FF2B5EF4-FFF2-40B4-BE49-F238E27FC236}">
                    <a16:creationId xmlns:a16="http://schemas.microsoft.com/office/drawing/2014/main" id="{F65BA969-83FA-4AEE-BB84-BE6C5AD2005D}"/>
                  </a:ext>
                </a:extLst>
              </p:cNvPr>
              <p:cNvSpPr/>
              <p:nvPr/>
            </p:nvSpPr>
            <p:spPr>
              <a:xfrm>
                <a:off x="6944804" y="641472"/>
                <a:ext cx="170053" cy="79000"/>
              </a:xfrm>
              <a:custGeom>
                <a:avLst/>
                <a:gdLst>
                  <a:gd name="connsiteX0" fmla="*/ 6580 w 170053"/>
                  <a:gd name="connsiteY0" fmla="*/ 28554 h 79000"/>
                  <a:gd name="connsiteX1" fmla="*/ 108119 w 170053"/>
                  <a:gd name="connsiteY1" fmla="*/ 3938 h 79000"/>
                  <a:gd name="connsiteX2" fmla="*/ 123503 w 170053"/>
                  <a:gd name="connsiteY2" fmla="*/ 862 h 79000"/>
                  <a:gd name="connsiteX3" fmla="*/ 141965 w 170053"/>
                  <a:gd name="connsiteY3" fmla="*/ 3938 h 79000"/>
                  <a:gd name="connsiteX4" fmla="*/ 169657 w 170053"/>
                  <a:gd name="connsiteY4" fmla="*/ 43938 h 79000"/>
                  <a:gd name="connsiteX5" fmla="*/ 126580 w 170053"/>
                  <a:gd name="connsiteY5" fmla="*/ 68554 h 79000"/>
                  <a:gd name="connsiteX6" fmla="*/ 58888 w 170053"/>
                  <a:gd name="connsiteY6" fmla="*/ 77785 h 79000"/>
                  <a:gd name="connsiteX7" fmla="*/ 9657 w 170053"/>
                  <a:gd name="connsiteY7" fmla="*/ 68554 h 79000"/>
                  <a:gd name="connsiteX8" fmla="*/ 6580 w 170053"/>
                  <a:gd name="connsiteY8" fmla="*/ 28554 h 79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0053" h="79000">
                    <a:moveTo>
                      <a:pt x="6580" y="28554"/>
                    </a:moveTo>
                    <a:cubicBezTo>
                      <a:pt x="28118" y="7015"/>
                      <a:pt x="68118" y="10092"/>
                      <a:pt x="108119" y="3938"/>
                    </a:cubicBezTo>
                    <a:cubicBezTo>
                      <a:pt x="111196" y="3938"/>
                      <a:pt x="120426" y="-2215"/>
                      <a:pt x="123503" y="862"/>
                    </a:cubicBezTo>
                    <a:cubicBezTo>
                      <a:pt x="129656" y="862"/>
                      <a:pt x="135811" y="862"/>
                      <a:pt x="141965" y="3938"/>
                    </a:cubicBezTo>
                    <a:cubicBezTo>
                      <a:pt x="157350" y="10092"/>
                      <a:pt x="172734" y="28554"/>
                      <a:pt x="169657" y="43938"/>
                    </a:cubicBezTo>
                    <a:cubicBezTo>
                      <a:pt x="166580" y="62400"/>
                      <a:pt x="141965" y="65477"/>
                      <a:pt x="126580" y="68554"/>
                    </a:cubicBezTo>
                    <a:cubicBezTo>
                      <a:pt x="105041" y="71631"/>
                      <a:pt x="83503" y="74708"/>
                      <a:pt x="58888" y="77785"/>
                    </a:cubicBezTo>
                    <a:cubicBezTo>
                      <a:pt x="43503" y="77785"/>
                      <a:pt x="25041" y="83938"/>
                      <a:pt x="9657" y="68554"/>
                    </a:cubicBezTo>
                    <a:cubicBezTo>
                      <a:pt x="-2651" y="56246"/>
                      <a:pt x="-2651" y="37785"/>
                      <a:pt x="6580" y="2855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1" name="任意多边形: 形状 330">
                <a:extLst>
                  <a:ext uri="{FF2B5EF4-FFF2-40B4-BE49-F238E27FC236}">
                    <a16:creationId xmlns:a16="http://schemas.microsoft.com/office/drawing/2014/main" id="{84D7393B-AEAD-47AD-AB66-2449022AE219}"/>
                  </a:ext>
                </a:extLst>
              </p:cNvPr>
              <p:cNvSpPr/>
              <p:nvPr/>
            </p:nvSpPr>
            <p:spPr>
              <a:xfrm>
                <a:off x="6976768" y="688488"/>
                <a:ext cx="168857" cy="78138"/>
              </a:xfrm>
              <a:custGeom>
                <a:avLst/>
                <a:gdLst>
                  <a:gd name="connsiteX0" fmla="*/ 5384 w 168857"/>
                  <a:gd name="connsiteY0" fmla="*/ 27692 h 78138"/>
                  <a:gd name="connsiteX1" fmla="*/ 113077 w 168857"/>
                  <a:gd name="connsiteY1" fmla="*/ 0 h 78138"/>
                  <a:gd name="connsiteX2" fmla="*/ 122308 w 168857"/>
                  <a:gd name="connsiteY2" fmla="*/ 0 h 78138"/>
                  <a:gd name="connsiteX3" fmla="*/ 140770 w 168857"/>
                  <a:gd name="connsiteY3" fmla="*/ 3077 h 78138"/>
                  <a:gd name="connsiteX4" fmla="*/ 168462 w 168857"/>
                  <a:gd name="connsiteY4" fmla="*/ 43077 h 78138"/>
                  <a:gd name="connsiteX5" fmla="*/ 125385 w 168857"/>
                  <a:gd name="connsiteY5" fmla="*/ 67692 h 78138"/>
                  <a:gd name="connsiteX6" fmla="*/ 57692 w 168857"/>
                  <a:gd name="connsiteY6" fmla="*/ 76923 h 78138"/>
                  <a:gd name="connsiteX7" fmla="*/ 8461 w 168857"/>
                  <a:gd name="connsiteY7" fmla="*/ 67692 h 78138"/>
                  <a:gd name="connsiteX8" fmla="*/ 5384 w 168857"/>
                  <a:gd name="connsiteY8" fmla="*/ 27692 h 78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8857" h="78138">
                    <a:moveTo>
                      <a:pt x="5384" y="27692"/>
                    </a:moveTo>
                    <a:cubicBezTo>
                      <a:pt x="30000" y="-3077"/>
                      <a:pt x="76154" y="3077"/>
                      <a:pt x="113077" y="0"/>
                    </a:cubicBezTo>
                    <a:cubicBezTo>
                      <a:pt x="116154" y="0"/>
                      <a:pt x="119231" y="0"/>
                      <a:pt x="122308" y="0"/>
                    </a:cubicBezTo>
                    <a:cubicBezTo>
                      <a:pt x="128461" y="0"/>
                      <a:pt x="134615" y="0"/>
                      <a:pt x="140770" y="3077"/>
                    </a:cubicBezTo>
                    <a:cubicBezTo>
                      <a:pt x="156154" y="9231"/>
                      <a:pt x="171539" y="27692"/>
                      <a:pt x="168462" y="43077"/>
                    </a:cubicBezTo>
                    <a:cubicBezTo>
                      <a:pt x="165385" y="61538"/>
                      <a:pt x="140770" y="64615"/>
                      <a:pt x="125385" y="67692"/>
                    </a:cubicBezTo>
                    <a:cubicBezTo>
                      <a:pt x="103846" y="70769"/>
                      <a:pt x="82307" y="73846"/>
                      <a:pt x="57692" y="76923"/>
                    </a:cubicBezTo>
                    <a:cubicBezTo>
                      <a:pt x="42308" y="76923"/>
                      <a:pt x="23846" y="83077"/>
                      <a:pt x="8461" y="67692"/>
                    </a:cubicBezTo>
                    <a:cubicBezTo>
                      <a:pt x="-3846" y="55384"/>
                      <a:pt x="-769" y="40000"/>
                      <a:pt x="5384" y="2769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2" name="任意多边形: 形状 331">
                <a:extLst>
                  <a:ext uri="{FF2B5EF4-FFF2-40B4-BE49-F238E27FC236}">
                    <a16:creationId xmlns:a16="http://schemas.microsoft.com/office/drawing/2014/main" id="{4A088475-A755-47A5-8C0F-B7C33F44FF4D}"/>
                  </a:ext>
                </a:extLst>
              </p:cNvPr>
              <p:cNvSpPr/>
              <p:nvPr/>
            </p:nvSpPr>
            <p:spPr>
              <a:xfrm>
                <a:off x="7001384" y="737719"/>
                <a:ext cx="146923" cy="69230"/>
              </a:xfrm>
              <a:custGeom>
                <a:avLst/>
                <a:gdLst>
                  <a:gd name="connsiteX0" fmla="*/ 5385 w 146923"/>
                  <a:gd name="connsiteY0" fmla="*/ 27692 h 69230"/>
                  <a:gd name="connsiteX1" fmla="*/ 97693 w 146923"/>
                  <a:gd name="connsiteY1" fmla="*/ 0 h 69230"/>
                  <a:gd name="connsiteX2" fmla="*/ 106923 w 146923"/>
                  <a:gd name="connsiteY2" fmla="*/ 0 h 69230"/>
                  <a:gd name="connsiteX3" fmla="*/ 122308 w 146923"/>
                  <a:gd name="connsiteY3" fmla="*/ 3077 h 69230"/>
                  <a:gd name="connsiteX4" fmla="*/ 146924 w 146923"/>
                  <a:gd name="connsiteY4" fmla="*/ 36923 h 69230"/>
                  <a:gd name="connsiteX5" fmla="*/ 110000 w 146923"/>
                  <a:gd name="connsiteY5" fmla="*/ 58462 h 69230"/>
                  <a:gd name="connsiteX6" fmla="*/ 51539 w 146923"/>
                  <a:gd name="connsiteY6" fmla="*/ 67692 h 69230"/>
                  <a:gd name="connsiteX7" fmla="*/ 8462 w 146923"/>
                  <a:gd name="connsiteY7" fmla="*/ 61538 h 69230"/>
                  <a:gd name="connsiteX8" fmla="*/ 5385 w 146923"/>
                  <a:gd name="connsiteY8" fmla="*/ 27692 h 6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6923" h="69230">
                    <a:moveTo>
                      <a:pt x="5385" y="27692"/>
                    </a:moveTo>
                    <a:cubicBezTo>
                      <a:pt x="26923" y="0"/>
                      <a:pt x="66923" y="6154"/>
                      <a:pt x="97693" y="0"/>
                    </a:cubicBezTo>
                    <a:cubicBezTo>
                      <a:pt x="100770" y="0"/>
                      <a:pt x="103846" y="0"/>
                      <a:pt x="106923" y="0"/>
                    </a:cubicBezTo>
                    <a:cubicBezTo>
                      <a:pt x="113077" y="0"/>
                      <a:pt x="116154" y="0"/>
                      <a:pt x="122308" y="3077"/>
                    </a:cubicBezTo>
                    <a:cubicBezTo>
                      <a:pt x="137692" y="9231"/>
                      <a:pt x="146924" y="24615"/>
                      <a:pt x="146924" y="36923"/>
                    </a:cubicBezTo>
                    <a:cubicBezTo>
                      <a:pt x="143847" y="52308"/>
                      <a:pt x="122308" y="55385"/>
                      <a:pt x="110000" y="58462"/>
                    </a:cubicBezTo>
                    <a:cubicBezTo>
                      <a:pt x="91538" y="61538"/>
                      <a:pt x="73077" y="67692"/>
                      <a:pt x="51539" y="67692"/>
                    </a:cubicBezTo>
                    <a:cubicBezTo>
                      <a:pt x="39231" y="67692"/>
                      <a:pt x="20770" y="73846"/>
                      <a:pt x="8462" y="61538"/>
                    </a:cubicBezTo>
                    <a:cubicBezTo>
                      <a:pt x="-3846" y="49231"/>
                      <a:pt x="-769" y="36923"/>
                      <a:pt x="5385" y="2769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3" name="任意多边形: 形状 332">
                <a:extLst>
                  <a:ext uri="{FF2B5EF4-FFF2-40B4-BE49-F238E27FC236}">
                    <a16:creationId xmlns:a16="http://schemas.microsoft.com/office/drawing/2014/main" id="{C2058590-564D-488F-85DF-546ECB3EFB89}"/>
                  </a:ext>
                </a:extLst>
              </p:cNvPr>
              <p:cNvSpPr/>
              <p:nvPr/>
            </p:nvSpPr>
            <p:spPr>
              <a:xfrm>
                <a:off x="7030172" y="783872"/>
                <a:ext cx="108904" cy="46646"/>
              </a:xfrm>
              <a:custGeom>
                <a:avLst/>
                <a:gdLst>
                  <a:gd name="connsiteX0" fmla="*/ 4289 w 108904"/>
                  <a:gd name="connsiteY0" fmla="*/ 21538 h 46646"/>
                  <a:gd name="connsiteX1" fmla="*/ 71982 w 108904"/>
                  <a:gd name="connsiteY1" fmla="*/ 0 h 46646"/>
                  <a:gd name="connsiteX2" fmla="*/ 78135 w 108904"/>
                  <a:gd name="connsiteY2" fmla="*/ 0 h 46646"/>
                  <a:gd name="connsiteX3" fmla="*/ 90443 w 108904"/>
                  <a:gd name="connsiteY3" fmla="*/ 0 h 46646"/>
                  <a:gd name="connsiteX4" fmla="*/ 108904 w 108904"/>
                  <a:gd name="connsiteY4" fmla="*/ 24615 h 46646"/>
                  <a:gd name="connsiteX5" fmla="*/ 81212 w 108904"/>
                  <a:gd name="connsiteY5" fmla="*/ 40000 h 46646"/>
                  <a:gd name="connsiteX6" fmla="*/ 38135 w 108904"/>
                  <a:gd name="connsiteY6" fmla="*/ 46154 h 46646"/>
                  <a:gd name="connsiteX7" fmla="*/ 7366 w 108904"/>
                  <a:gd name="connsiteY7" fmla="*/ 40000 h 46646"/>
                  <a:gd name="connsiteX8" fmla="*/ 4289 w 108904"/>
                  <a:gd name="connsiteY8" fmla="*/ 21538 h 46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904" h="46646">
                    <a:moveTo>
                      <a:pt x="4289" y="21538"/>
                    </a:moveTo>
                    <a:cubicBezTo>
                      <a:pt x="19674" y="0"/>
                      <a:pt x="47366" y="6154"/>
                      <a:pt x="71982" y="0"/>
                    </a:cubicBezTo>
                    <a:cubicBezTo>
                      <a:pt x="75058" y="0"/>
                      <a:pt x="75058" y="0"/>
                      <a:pt x="78135" y="0"/>
                    </a:cubicBezTo>
                    <a:cubicBezTo>
                      <a:pt x="81212" y="0"/>
                      <a:pt x="84289" y="0"/>
                      <a:pt x="90443" y="0"/>
                    </a:cubicBezTo>
                    <a:cubicBezTo>
                      <a:pt x="99674" y="3077"/>
                      <a:pt x="108904" y="15385"/>
                      <a:pt x="108904" y="24615"/>
                    </a:cubicBezTo>
                    <a:cubicBezTo>
                      <a:pt x="105827" y="36923"/>
                      <a:pt x="90443" y="36923"/>
                      <a:pt x="81212" y="40000"/>
                    </a:cubicBezTo>
                    <a:cubicBezTo>
                      <a:pt x="68905" y="43077"/>
                      <a:pt x="53520" y="46154"/>
                      <a:pt x="38135" y="46154"/>
                    </a:cubicBezTo>
                    <a:cubicBezTo>
                      <a:pt x="28904" y="46154"/>
                      <a:pt x="16597" y="49231"/>
                      <a:pt x="7366" y="40000"/>
                    </a:cubicBezTo>
                    <a:cubicBezTo>
                      <a:pt x="-1865" y="40000"/>
                      <a:pt x="-1865" y="30769"/>
                      <a:pt x="4289" y="21538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4" name="任意多边形: 形状 333">
                <a:extLst>
                  <a:ext uri="{FF2B5EF4-FFF2-40B4-BE49-F238E27FC236}">
                    <a16:creationId xmlns:a16="http://schemas.microsoft.com/office/drawing/2014/main" id="{2A400C36-AE4F-4C9B-92C3-CC61DD510F34}"/>
                  </a:ext>
                </a:extLst>
              </p:cNvPr>
              <p:cNvSpPr/>
              <p:nvPr/>
            </p:nvSpPr>
            <p:spPr>
              <a:xfrm>
                <a:off x="6966292" y="644088"/>
                <a:ext cx="182693" cy="124400"/>
              </a:xfrm>
              <a:custGeom>
                <a:avLst/>
                <a:gdLst>
                  <a:gd name="connsiteX0" fmla="*/ 65091 w 182693"/>
                  <a:gd name="connsiteY0" fmla="*/ 124400 h 124400"/>
                  <a:gd name="connsiteX1" fmla="*/ 3553 w 182693"/>
                  <a:gd name="connsiteY1" fmla="*/ 99785 h 124400"/>
                  <a:gd name="connsiteX2" fmla="*/ 3553 w 182693"/>
                  <a:gd name="connsiteY2" fmla="*/ 75169 h 124400"/>
                  <a:gd name="connsiteX3" fmla="*/ 15860 w 182693"/>
                  <a:gd name="connsiteY3" fmla="*/ 69015 h 124400"/>
                  <a:gd name="connsiteX4" fmla="*/ 132784 w 182693"/>
                  <a:gd name="connsiteY4" fmla="*/ 44400 h 124400"/>
                  <a:gd name="connsiteX5" fmla="*/ 135861 w 182693"/>
                  <a:gd name="connsiteY5" fmla="*/ 25939 h 124400"/>
                  <a:gd name="connsiteX6" fmla="*/ 129707 w 182693"/>
                  <a:gd name="connsiteY6" fmla="*/ 16708 h 124400"/>
                  <a:gd name="connsiteX7" fmla="*/ 22014 w 182693"/>
                  <a:gd name="connsiteY7" fmla="*/ 19785 h 124400"/>
                  <a:gd name="connsiteX8" fmla="*/ 15860 w 182693"/>
                  <a:gd name="connsiteY8" fmla="*/ 16708 h 124400"/>
                  <a:gd name="connsiteX9" fmla="*/ 18937 w 182693"/>
                  <a:gd name="connsiteY9" fmla="*/ 10554 h 124400"/>
                  <a:gd name="connsiteX10" fmla="*/ 135861 w 182693"/>
                  <a:gd name="connsiteY10" fmla="*/ 7477 h 124400"/>
                  <a:gd name="connsiteX11" fmla="*/ 148169 w 182693"/>
                  <a:gd name="connsiteY11" fmla="*/ 25939 h 124400"/>
                  <a:gd name="connsiteX12" fmla="*/ 148169 w 182693"/>
                  <a:gd name="connsiteY12" fmla="*/ 41323 h 124400"/>
                  <a:gd name="connsiteX13" fmla="*/ 148169 w 182693"/>
                  <a:gd name="connsiteY13" fmla="*/ 41323 h 124400"/>
                  <a:gd name="connsiteX14" fmla="*/ 182015 w 182693"/>
                  <a:gd name="connsiteY14" fmla="*/ 81323 h 124400"/>
                  <a:gd name="connsiteX15" fmla="*/ 120476 w 182693"/>
                  <a:gd name="connsiteY15" fmla="*/ 121323 h 124400"/>
                  <a:gd name="connsiteX16" fmla="*/ 65091 w 182693"/>
                  <a:gd name="connsiteY16" fmla="*/ 124400 h 124400"/>
                  <a:gd name="connsiteX17" fmla="*/ 15860 w 182693"/>
                  <a:gd name="connsiteY17" fmla="*/ 78246 h 124400"/>
                  <a:gd name="connsiteX18" fmla="*/ 15860 w 182693"/>
                  <a:gd name="connsiteY18" fmla="*/ 78246 h 124400"/>
                  <a:gd name="connsiteX19" fmla="*/ 15860 w 182693"/>
                  <a:gd name="connsiteY19" fmla="*/ 93631 h 124400"/>
                  <a:gd name="connsiteX20" fmla="*/ 120476 w 182693"/>
                  <a:gd name="connsiteY20" fmla="*/ 105939 h 124400"/>
                  <a:gd name="connsiteX21" fmla="*/ 172784 w 182693"/>
                  <a:gd name="connsiteY21" fmla="*/ 78246 h 124400"/>
                  <a:gd name="connsiteX22" fmla="*/ 145091 w 182693"/>
                  <a:gd name="connsiteY22" fmla="*/ 47477 h 124400"/>
                  <a:gd name="connsiteX23" fmla="*/ 145091 w 182693"/>
                  <a:gd name="connsiteY23" fmla="*/ 47477 h 124400"/>
                  <a:gd name="connsiteX24" fmla="*/ 15860 w 182693"/>
                  <a:gd name="connsiteY24" fmla="*/ 78246 h 12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82693" h="124400">
                    <a:moveTo>
                      <a:pt x="65091" y="124400"/>
                    </a:moveTo>
                    <a:cubicBezTo>
                      <a:pt x="37399" y="124400"/>
                      <a:pt x="12784" y="118246"/>
                      <a:pt x="3553" y="99785"/>
                    </a:cubicBezTo>
                    <a:cubicBezTo>
                      <a:pt x="476" y="90554"/>
                      <a:pt x="-2601" y="81323"/>
                      <a:pt x="3553" y="75169"/>
                    </a:cubicBezTo>
                    <a:cubicBezTo>
                      <a:pt x="6630" y="69015"/>
                      <a:pt x="15860" y="69015"/>
                      <a:pt x="15860" y="69015"/>
                    </a:cubicBezTo>
                    <a:cubicBezTo>
                      <a:pt x="83553" y="65938"/>
                      <a:pt x="123553" y="59785"/>
                      <a:pt x="132784" y="44400"/>
                    </a:cubicBezTo>
                    <a:cubicBezTo>
                      <a:pt x="135861" y="38246"/>
                      <a:pt x="135861" y="35169"/>
                      <a:pt x="135861" y="25939"/>
                    </a:cubicBezTo>
                    <a:cubicBezTo>
                      <a:pt x="135861" y="22861"/>
                      <a:pt x="132784" y="19785"/>
                      <a:pt x="129707" y="16708"/>
                    </a:cubicBezTo>
                    <a:cubicBezTo>
                      <a:pt x="108168" y="1323"/>
                      <a:pt x="43553" y="13631"/>
                      <a:pt x="22014" y="19785"/>
                    </a:cubicBezTo>
                    <a:cubicBezTo>
                      <a:pt x="18937" y="19785"/>
                      <a:pt x="15860" y="19785"/>
                      <a:pt x="15860" y="16708"/>
                    </a:cubicBezTo>
                    <a:cubicBezTo>
                      <a:pt x="15860" y="13631"/>
                      <a:pt x="15860" y="10554"/>
                      <a:pt x="18937" y="10554"/>
                    </a:cubicBezTo>
                    <a:cubicBezTo>
                      <a:pt x="22014" y="10554"/>
                      <a:pt x="105092" y="-10985"/>
                      <a:pt x="135861" y="7477"/>
                    </a:cubicBezTo>
                    <a:cubicBezTo>
                      <a:pt x="142014" y="10554"/>
                      <a:pt x="148169" y="16708"/>
                      <a:pt x="148169" y="25939"/>
                    </a:cubicBezTo>
                    <a:cubicBezTo>
                      <a:pt x="148169" y="29015"/>
                      <a:pt x="148169" y="35169"/>
                      <a:pt x="148169" y="41323"/>
                    </a:cubicBezTo>
                    <a:cubicBezTo>
                      <a:pt x="148169" y="41323"/>
                      <a:pt x="148169" y="41323"/>
                      <a:pt x="148169" y="41323"/>
                    </a:cubicBezTo>
                    <a:cubicBezTo>
                      <a:pt x="148169" y="41323"/>
                      <a:pt x="178938" y="59785"/>
                      <a:pt x="182015" y="81323"/>
                    </a:cubicBezTo>
                    <a:cubicBezTo>
                      <a:pt x="188168" y="109015"/>
                      <a:pt x="151246" y="115169"/>
                      <a:pt x="120476" y="121323"/>
                    </a:cubicBezTo>
                    <a:cubicBezTo>
                      <a:pt x="105092" y="121323"/>
                      <a:pt x="83553" y="124400"/>
                      <a:pt x="65091" y="124400"/>
                    </a:cubicBezTo>
                    <a:close/>
                    <a:moveTo>
                      <a:pt x="15860" y="78246"/>
                    </a:moveTo>
                    <a:cubicBezTo>
                      <a:pt x="15860" y="78246"/>
                      <a:pt x="15860" y="78246"/>
                      <a:pt x="15860" y="78246"/>
                    </a:cubicBezTo>
                    <a:cubicBezTo>
                      <a:pt x="12784" y="81323"/>
                      <a:pt x="12784" y="84400"/>
                      <a:pt x="15860" y="93631"/>
                    </a:cubicBezTo>
                    <a:cubicBezTo>
                      <a:pt x="25092" y="112092"/>
                      <a:pt x="62014" y="118246"/>
                      <a:pt x="120476" y="105939"/>
                    </a:cubicBezTo>
                    <a:cubicBezTo>
                      <a:pt x="163553" y="96708"/>
                      <a:pt x="175861" y="90554"/>
                      <a:pt x="172784" y="78246"/>
                    </a:cubicBezTo>
                    <a:cubicBezTo>
                      <a:pt x="169706" y="65938"/>
                      <a:pt x="151246" y="53631"/>
                      <a:pt x="145091" y="47477"/>
                    </a:cubicBezTo>
                    <a:cubicBezTo>
                      <a:pt x="145091" y="47477"/>
                      <a:pt x="145091" y="47477"/>
                      <a:pt x="145091" y="47477"/>
                    </a:cubicBezTo>
                    <a:cubicBezTo>
                      <a:pt x="135861" y="59785"/>
                      <a:pt x="111245" y="75169"/>
                      <a:pt x="15860" y="7824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5" name="任意多边形: 形状 334">
                <a:extLst>
                  <a:ext uri="{FF2B5EF4-FFF2-40B4-BE49-F238E27FC236}">
                    <a16:creationId xmlns:a16="http://schemas.microsoft.com/office/drawing/2014/main" id="{31BE3FCC-0052-49D4-8F6B-B464C1A8DAB2}"/>
                  </a:ext>
                </a:extLst>
              </p:cNvPr>
              <p:cNvSpPr/>
              <p:nvPr/>
            </p:nvSpPr>
            <p:spPr>
              <a:xfrm>
                <a:off x="6995517" y="732334"/>
                <a:ext cx="156273" cy="79230"/>
              </a:xfrm>
              <a:custGeom>
                <a:avLst/>
                <a:gdLst>
                  <a:gd name="connsiteX0" fmla="*/ 45098 w 156273"/>
                  <a:gd name="connsiteY0" fmla="*/ 79231 h 79230"/>
                  <a:gd name="connsiteX1" fmla="*/ 20482 w 156273"/>
                  <a:gd name="connsiteY1" fmla="*/ 76154 h 79230"/>
                  <a:gd name="connsiteX2" fmla="*/ 2021 w 156273"/>
                  <a:gd name="connsiteY2" fmla="*/ 57692 h 79230"/>
                  <a:gd name="connsiteX3" fmla="*/ 5098 w 156273"/>
                  <a:gd name="connsiteY3" fmla="*/ 26923 h 79230"/>
                  <a:gd name="connsiteX4" fmla="*/ 14329 w 156273"/>
                  <a:gd name="connsiteY4" fmla="*/ 26923 h 79230"/>
                  <a:gd name="connsiteX5" fmla="*/ 14329 w 156273"/>
                  <a:gd name="connsiteY5" fmla="*/ 36154 h 79230"/>
                  <a:gd name="connsiteX6" fmla="*/ 14329 w 156273"/>
                  <a:gd name="connsiteY6" fmla="*/ 54615 h 79230"/>
                  <a:gd name="connsiteX7" fmla="*/ 23559 w 156273"/>
                  <a:gd name="connsiteY7" fmla="*/ 63846 h 79230"/>
                  <a:gd name="connsiteX8" fmla="*/ 128175 w 156273"/>
                  <a:gd name="connsiteY8" fmla="*/ 51538 h 79230"/>
                  <a:gd name="connsiteX9" fmla="*/ 143559 w 156273"/>
                  <a:gd name="connsiteY9" fmla="*/ 36154 h 79230"/>
                  <a:gd name="connsiteX10" fmla="*/ 134329 w 156273"/>
                  <a:gd name="connsiteY10" fmla="*/ 11538 h 79230"/>
                  <a:gd name="connsiteX11" fmla="*/ 134329 w 156273"/>
                  <a:gd name="connsiteY11" fmla="*/ 2308 h 79230"/>
                  <a:gd name="connsiteX12" fmla="*/ 143559 w 156273"/>
                  <a:gd name="connsiteY12" fmla="*/ 2308 h 79230"/>
                  <a:gd name="connsiteX13" fmla="*/ 155867 w 156273"/>
                  <a:gd name="connsiteY13" fmla="*/ 39231 h 79230"/>
                  <a:gd name="connsiteX14" fmla="*/ 131252 w 156273"/>
                  <a:gd name="connsiteY14" fmla="*/ 60769 h 79230"/>
                  <a:gd name="connsiteX15" fmla="*/ 45098 w 156273"/>
                  <a:gd name="connsiteY15" fmla="*/ 79231 h 7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6273" h="79230">
                    <a:moveTo>
                      <a:pt x="45098" y="79231"/>
                    </a:moveTo>
                    <a:cubicBezTo>
                      <a:pt x="35867" y="79231"/>
                      <a:pt x="26636" y="79231"/>
                      <a:pt x="20482" y="76154"/>
                    </a:cubicBezTo>
                    <a:cubicBezTo>
                      <a:pt x="11252" y="73077"/>
                      <a:pt x="5098" y="66923"/>
                      <a:pt x="2021" y="57692"/>
                    </a:cubicBezTo>
                    <a:cubicBezTo>
                      <a:pt x="-1056" y="45385"/>
                      <a:pt x="-1056" y="33077"/>
                      <a:pt x="5098" y="26923"/>
                    </a:cubicBezTo>
                    <a:cubicBezTo>
                      <a:pt x="8175" y="23846"/>
                      <a:pt x="11252" y="23846"/>
                      <a:pt x="14329" y="26923"/>
                    </a:cubicBezTo>
                    <a:cubicBezTo>
                      <a:pt x="17405" y="30000"/>
                      <a:pt x="17405" y="33077"/>
                      <a:pt x="14329" y="36154"/>
                    </a:cubicBezTo>
                    <a:cubicBezTo>
                      <a:pt x="11252" y="39231"/>
                      <a:pt x="11252" y="48462"/>
                      <a:pt x="14329" y="54615"/>
                    </a:cubicBezTo>
                    <a:cubicBezTo>
                      <a:pt x="14329" y="57692"/>
                      <a:pt x="17405" y="63846"/>
                      <a:pt x="23559" y="63846"/>
                    </a:cubicBezTo>
                    <a:cubicBezTo>
                      <a:pt x="38944" y="66923"/>
                      <a:pt x="91252" y="66923"/>
                      <a:pt x="128175" y="51538"/>
                    </a:cubicBezTo>
                    <a:cubicBezTo>
                      <a:pt x="137406" y="48462"/>
                      <a:pt x="143559" y="42308"/>
                      <a:pt x="143559" y="36154"/>
                    </a:cubicBezTo>
                    <a:cubicBezTo>
                      <a:pt x="146636" y="26923"/>
                      <a:pt x="137406" y="14615"/>
                      <a:pt x="134329" y="11538"/>
                    </a:cubicBezTo>
                    <a:cubicBezTo>
                      <a:pt x="131252" y="8461"/>
                      <a:pt x="131252" y="5385"/>
                      <a:pt x="134329" y="2308"/>
                    </a:cubicBezTo>
                    <a:cubicBezTo>
                      <a:pt x="137406" y="-769"/>
                      <a:pt x="140482" y="-769"/>
                      <a:pt x="143559" y="2308"/>
                    </a:cubicBezTo>
                    <a:cubicBezTo>
                      <a:pt x="143559" y="2308"/>
                      <a:pt x="158944" y="20769"/>
                      <a:pt x="155867" y="39231"/>
                    </a:cubicBezTo>
                    <a:cubicBezTo>
                      <a:pt x="152791" y="48462"/>
                      <a:pt x="146636" y="57692"/>
                      <a:pt x="131252" y="60769"/>
                    </a:cubicBezTo>
                    <a:cubicBezTo>
                      <a:pt x="103560" y="76154"/>
                      <a:pt x="69713" y="79231"/>
                      <a:pt x="45098" y="7923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36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7061587" y="615835"/>
              <a:ext cx="165329" cy="121883"/>
              <a:chOff x="7061587" y="615835"/>
              <a:chExt cx="165329" cy="121883"/>
            </a:xfrm>
          </p:grpSpPr>
          <p:sp>
            <p:nvSpPr>
              <p:cNvPr id="337" name="任意多边形: 形状 336">
                <a:extLst>
                  <a:ext uri="{FF2B5EF4-FFF2-40B4-BE49-F238E27FC236}">
                    <a16:creationId xmlns:a16="http://schemas.microsoft.com/office/drawing/2014/main" id="{6BDF5E8A-4173-4E1D-8631-C4C5953A4AB1}"/>
                  </a:ext>
                </a:extLst>
              </p:cNvPr>
              <p:cNvSpPr/>
              <p:nvPr/>
            </p:nvSpPr>
            <p:spPr>
              <a:xfrm>
                <a:off x="7071410" y="624598"/>
                <a:ext cx="155507" cy="97829"/>
              </a:xfrm>
              <a:custGeom>
                <a:avLst/>
                <a:gdLst>
                  <a:gd name="connsiteX0" fmla="*/ 6128 w 155507"/>
                  <a:gd name="connsiteY0" fmla="*/ 91582 h 97829"/>
                  <a:gd name="connsiteX1" fmla="*/ 30744 w 155507"/>
                  <a:gd name="connsiteY1" fmla="*/ 76198 h 97829"/>
                  <a:gd name="connsiteX2" fmla="*/ 95358 w 155507"/>
                  <a:gd name="connsiteY2" fmla="*/ 63890 h 97829"/>
                  <a:gd name="connsiteX3" fmla="*/ 150743 w 155507"/>
                  <a:gd name="connsiteY3" fmla="*/ 97736 h 97829"/>
                  <a:gd name="connsiteX4" fmla="*/ 141512 w 155507"/>
                  <a:gd name="connsiteY4" fmla="*/ 17736 h 97829"/>
                  <a:gd name="connsiteX5" fmla="*/ 30744 w 155507"/>
                  <a:gd name="connsiteY5" fmla="*/ 11582 h 97829"/>
                  <a:gd name="connsiteX6" fmla="*/ 6128 w 155507"/>
                  <a:gd name="connsiteY6" fmla="*/ 91582 h 97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5507" h="97829">
                    <a:moveTo>
                      <a:pt x="6128" y="91582"/>
                    </a:moveTo>
                    <a:cubicBezTo>
                      <a:pt x="15359" y="97736"/>
                      <a:pt x="24589" y="79275"/>
                      <a:pt x="30744" y="76198"/>
                    </a:cubicBezTo>
                    <a:cubicBezTo>
                      <a:pt x="52281" y="63890"/>
                      <a:pt x="70743" y="57736"/>
                      <a:pt x="95358" y="63890"/>
                    </a:cubicBezTo>
                    <a:cubicBezTo>
                      <a:pt x="110743" y="66967"/>
                      <a:pt x="135359" y="91582"/>
                      <a:pt x="150743" y="97736"/>
                    </a:cubicBezTo>
                    <a:cubicBezTo>
                      <a:pt x="156897" y="100813"/>
                      <a:pt x="159974" y="26967"/>
                      <a:pt x="141512" y="17736"/>
                    </a:cubicBezTo>
                    <a:cubicBezTo>
                      <a:pt x="113820" y="2352"/>
                      <a:pt x="58436" y="-9956"/>
                      <a:pt x="30744" y="11582"/>
                    </a:cubicBezTo>
                    <a:cubicBezTo>
                      <a:pt x="15359" y="20813"/>
                      <a:pt x="-12334" y="76198"/>
                      <a:pt x="6128" y="9158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8" name="任意多边形: 形状 337">
                <a:extLst>
                  <a:ext uri="{FF2B5EF4-FFF2-40B4-BE49-F238E27FC236}">
                    <a16:creationId xmlns:a16="http://schemas.microsoft.com/office/drawing/2014/main" id="{20FA4F62-FDA5-46D3-ACA9-C7406231F627}"/>
                  </a:ext>
                </a:extLst>
              </p:cNvPr>
              <p:cNvSpPr/>
              <p:nvPr/>
            </p:nvSpPr>
            <p:spPr>
              <a:xfrm>
                <a:off x="7061587" y="615835"/>
                <a:ext cx="157488" cy="121883"/>
              </a:xfrm>
              <a:custGeom>
                <a:avLst/>
                <a:gdLst>
                  <a:gd name="connsiteX0" fmla="*/ 126720 w 157488"/>
                  <a:gd name="connsiteY0" fmla="*/ 121883 h 121883"/>
                  <a:gd name="connsiteX1" fmla="*/ 126720 w 157488"/>
                  <a:gd name="connsiteY1" fmla="*/ 121883 h 121883"/>
                  <a:gd name="connsiteX2" fmla="*/ 99027 w 157488"/>
                  <a:gd name="connsiteY2" fmla="*/ 75729 h 121883"/>
                  <a:gd name="connsiteX3" fmla="*/ 40566 w 157488"/>
                  <a:gd name="connsiteY3" fmla="*/ 94191 h 121883"/>
                  <a:gd name="connsiteX4" fmla="*/ 12873 w 157488"/>
                  <a:gd name="connsiteY4" fmla="*/ 106498 h 121883"/>
                  <a:gd name="connsiteX5" fmla="*/ 565 w 157488"/>
                  <a:gd name="connsiteY5" fmla="*/ 91114 h 121883"/>
                  <a:gd name="connsiteX6" fmla="*/ 34412 w 157488"/>
                  <a:gd name="connsiteY6" fmla="*/ 14191 h 121883"/>
                  <a:gd name="connsiteX7" fmla="*/ 154412 w 157488"/>
                  <a:gd name="connsiteY7" fmla="*/ 20345 h 121883"/>
                  <a:gd name="connsiteX8" fmla="*/ 157489 w 157488"/>
                  <a:gd name="connsiteY8" fmla="*/ 26498 h 121883"/>
                  <a:gd name="connsiteX9" fmla="*/ 151335 w 157488"/>
                  <a:gd name="connsiteY9" fmla="*/ 29575 h 121883"/>
                  <a:gd name="connsiteX10" fmla="*/ 46719 w 157488"/>
                  <a:gd name="connsiteY10" fmla="*/ 23422 h 121883"/>
                  <a:gd name="connsiteX11" fmla="*/ 15950 w 157488"/>
                  <a:gd name="connsiteY11" fmla="*/ 88037 h 121883"/>
                  <a:gd name="connsiteX12" fmla="*/ 19027 w 157488"/>
                  <a:gd name="connsiteY12" fmla="*/ 94191 h 121883"/>
                  <a:gd name="connsiteX13" fmla="*/ 37489 w 157488"/>
                  <a:gd name="connsiteY13" fmla="*/ 84960 h 121883"/>
                  <a:gd name="connsiteX14" fmla="*/ 108258 w 157488"/>
                  <a:gd name="connsiteY14" fmla="*/ 66498 h 121883"/>
                  <a:gd name="connsiteX15" fmla="*/ 111335 w 157488"/>
                  <a:gd name="connsiteY15" fmla="*/ 72652 h 121883"/>
                  <a:gd name="connsiteX16" fmla="*/ 129797 w 157488"/>
                  <a:gd name="connsiteY16" fmla="*/ 112652 h 121883"/>
                  <a:gd name="connsiteX17" fmla="*/ 132874 w 157488"/>
                  <a:gd name="connsiteY17" fmla="*/ 121883 h 121883"/>
                  <a:gd name="connsiteX18" fmla="*/ 126720 w 157488"/>
                  <a:gd name="connsiteY18" fmla="*/ 121883 h 121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57488" h="121883">
                    <a:moveTo>
                      <a:pt x="126720" y="121883"/>
                    </a:moveTo>
                    <a:cubicBezTo>
                      <a:pt x="126720" y="121883"/>
                      <a:pt x="126720" y="121883"/>
                      <a:pt x="126720" y="121883"/>
                    </a:cubicBezTo>
                    <a:cubicBezTo>
                      <a:pt x="105181" y="109575"/>
                      <a:pt x="102105" y="84960"/>
                      <a:pt x="99027" y="75729"/>
                    </a:cubicBezTo>
                    <a:cubicBezTo>
                      <a:pt x="74411" y="69575"/>
                      <a:pt x="55951" y="81883"/>
                      <a:pt x="40566" y="94191"/>
                    </a:cubicBezTo>
                    <a:cubicBezTo>
                      <a:pt x="31335" y="103422"/>
                      <a:pt x="22104" y="109575"/>
                      <a:pt x="12873" y="106498"/>
                    </a:cubicBezTo>
                    <a:cubicBezTo>
                      <a:pt x="6720" y="103422"/>
                      <a:pt x="3643" y="100345"/>
                      <a:pt x="565" y="91114"/>
                    </a:cubicBezTo>
                    <a:cubicBezTo>
                      <a:pt x="-2512" y="72652"/>
                      <a:pt x="6720" y="38806"/>
                      <a:pt x="34412" y="14191"/>
                    </a:cubicBezTo>
                    <a:cubicBezTo>
                      <a:pt x="68258" y="-19655"/>
                      <a:pt x="148258" y="17268"/>
                      <a:pt x="154412" y="20345"/>
                    </a:cubicBezTo>
                    <a:cubicBezTo>
                      <a:pt x="157489" y="20345"/>
                      <a:pt x="157489" y="26498"/>
                      <a:pt x="157489" y="26498"/>
                    </a:cubicBezTo>
                    <a:cubicBezTo>
                      <a:pt x="157489" y="29575"/>
                      <a:pt x="151335" y="29575"/>
                      <a:pt x="151335" y="29575"/>
                    </a:cubicBezTo>
                    <a:cubicBezTo>
                      <a:pt x="151335" y="29575"/>
                      <a:pt x="74411" y="-7348"/>
                      <a:pt x="46719" y="23422"/>
                    </a:cubicBezTo>
                    <a:cubicBezTo>
                      <a:pt x="25181" y="44960"/>
                      <a:pt x="12873" y="75729"/>
                      <a:pt x="15950" y="88037"/>
                    </a:cubicBezTo>
                    <a:cubicBezTo>
                      <a:pt x="15950" y="94191"/>
                      <a:pt x="19027" y="94191"/>
                      <a:pt x="19027" y="94191"/>
                    </a:cubicBezTo>
                    <a:cubicBezTo>
                      <a:pt x="22104" y="94191"/>
                      <a:pt x="31335" y="91114"/>
                      <a:pt x="37489" y="84960"/>
                    </a:cubicBezTo>
                    <a:cubicBezTo>
                      <a:pt x="52874" y="72652"/>
                      <a:pt x="77489" y="54191"/>
                      <a:pt x="108258" y="66498"/>
                    </a:cubicBezTo>
                    <a:cubicBezTo>
                      <a:pt x="111335" y="66498"/>
                      <a:pt x="111335" y="69575"/>
                      <a:pt x="111335" y="72652"/>
                    </a:cubicBezTo>
                    <a:cubicBezTo>
                      <a:pt x="111335" y="72652"/>
                      <a:pt x="114412" y="103422"/>
                      <a:pt x="129797" y="112652"/>
                    </a:cubicBezTo>
                    <a:cubicBezTo>
                      <a:pt x="132874" y="115729"/>
                      <a:pt x="132874" y="118806"/>
                      <a:pt x="132874" y="121883"/>
                    </a:cubicBezTo>
                    <a:cubicBezTo>
                      <a:pt x="132874" y="121883"/>
                      <a:pt x="129797" y="121883"/>
                      <a:pt x="126720" y="12188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39" name="图形 1">
              <a:extLst>
                <a:ext uri="{FF2B5EF4-FFF2-40B4-BE49-F238E27FC236}">
                  <a16:creationId xmlns:a16="http://schemas.microsoft.com/office/drawing/2014/main" id="{76A1D99D-5BD3-43EC-8DFB-13E2A204913A}"/>
                </a:ext>
              </a:extLst>
            </p:cNvPr>
            <p:cNvGrpSpPr/>
            <p:nvPr/>
          </p:nvGrpSpPr>
          <p:grpSpPr>
            <a:xfrm>
              <a:off x="9073238" y="621692"/>
              <a:ext cx="322006" cy="223718"/>
              <a:chOff x="9073238" y="621692"/>
              <a:chExt cx="322006" cy="223718"/>
            </a:xfrm>
          </p:grpSpPr>
          <p:sp>
            <p:nvSpPr>
              <p:cNvPr id="340" name="任意多边形: 形状 339">
                <a:extLst>
                  <a:ext uri="{FF2B5EF4-FFF2-40B4-BE49-F238E27FC236}">
                    <a16:creationId xmlns:a16="http://schemas.microsoft.com/office/drawing/2014/main" id="{4D117CB4-4012-47AA-B017-64BA8BFE14FC}"/>
                  </a:ext>
                </a:extLst>
              </p:cNvPr>
              <p:cNvSpPr/>
              <p:nvPr/>
            </p:nvSpPr>
            <p:spPr>
              <a:xfrm>
                <a:off x="9073238" y="621692"/>
                <a:ext cx="175045" cy="110347"/>
              </a:xfrm>
              <a:custGeom>
                <a:avLst/>
                <a:gdLst>
                  <a:gd name="connsiteX0" fmla="*/ 47376 w 175045"/>
                  <a:gd name="connsiteY0" fmla="*/ 23718 h 110347"/>
                  <a:gd name="connsiteX1" fmla="*/ 1222 w 175045"/>
                  <a:gd name="connsiteY1" fmla="*/ 85257 h 110347"/>
                  <a:gd name="connsiteX2" fmla="*/ 25838 w 175045"/>
                  <a:gd name="connsiteY2" fmla="*/ 109872 h 110347"/>
                  <a:gd name="connsiteX3" fmla="*/ 81222 w 175045"/>
                  <a:gd name="connsiteY3" fmla="*/ 72949 h 110347"/>
                  <a:gd name="connsiteX4" fmla="*/ 145838 w 175045"/>
                  <a:gd name="connsiteY4" fmla="*/ 45257 h 110347"/>
                  <a:gd name="connsiteX5" fmla="*/ 151992 w 175045"/>
                  <a:gd name="connsiteY5" fmla="*/ 32949 h 110347"/>
                  <a:gd name="connsiteX6" fmla="*/ 170453 w 175045"/>
                  <a:gd name="connsiteY6" fmla="*/ 8334 h 110347"/>
                  <a:gd name="connsiteX7" fmla="*/ 47376 w 175045"/>
                  <a:gd name="connsiteY7" fmla="*/ 23718 h 110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5045" h="110347">
                    <a:moveTo>
                      <a:pt x="47376" y="23718"/>
                    </a:moveTo>
                    <a:cubicBezTo>
                      <a:pt x="25838" y="39103"/>
                      <a:pt x="13531" y="63719"/>
                      <a:pt x="1222" y="85257"/>
                    </a:cubicBezTo>
                    <a:cubicBezTo>
                      <a:pt x="-4931" y="100642"/>
                      <a:pt x="13531" y="112949"/>
                      <a:pt x="25838" y="109872"/>
                    </a:cubicBezTo>
                    <a:cubicBezTo>
                      <a:pt x="50453" y="103718"/>
                      <a:pt x="62761" y="85257"/>
                      <a:pt x="81222" y="72949"/>
                    </a:cubicBezTo>
                    <a:cubicBezTo>
                      <a:pt x="99684" y="60641"/>
                      <a:pt x="127376" y="63719"/>
                      <a:pt x="145838" y="45257"/>
                    </a:cubicBezTo>
                    <a:cubicBezTo>
                      <a:pt x="148915" y="42180"/>
                      <a:pt x="151992" y="36026"/>
                      <a:pt x="151992" y="32949"/>
                    </a:cubicBezTo>
                    <a:cubicBezTo>
                      <a:pt x="158145" y="23718"/>
                      <a:pt x="185838" y="14488"/>
                      <a:pt x="170453" y="8334"/>
                    </a:cubicBezTo>
                    <a:cubicBezTo>
                      <a:pt x="121223" y="-10128"/>
                      <a:pt x="68915" y="5257"/>
                      <a:pt x="47376" y="23718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1" name="任意多边形: 形状 340">
                <a:extLst>
                  <a:ext uri="{FF2B5EF4-FFF2-40B4-BE49-F238E27FC236}">
                    <a16:creationId xmlns:a16="http://schemas.microsoft.com/office/drawing/2014/main" id="{855DCCFE-46E2-4212-A3AA-5C89176B9D01}"/>
                  </a:ext>
                </a:extLst>
              </p:cNvPr>
              <p:cNvSpPr/>
              <p:nvPr/>
            </p:nvSpPr>
            <p:spPr>
              <a:xfrm>
                <a:off x="9135999" y="625171"/>
                <a:ext cx="259245" cy="207440"/>
              </a:xfrm>
              <a:custGeom>
                <a:avLst/>
                <a:gdLst>
                  <a:gd name="connsiteX0" fmla="*/ 224616 w 259245"/>
                  <a:gd name="connsiteY0" fmla="*/ 149471 h 207440"/>
                  <a:gd name="connsiteX1" fmla="*/ 224616 w 259245"/>
                  <a:gd name="connsiteY1" fmla="*/ 149471 h 207440"/>
                  <a:gd name="connsiteX2" fmla="*/ 252308 w 259245"/>
                  <a:gd name="connsiteY2" fmla="*/ 51009 h 207440"/>
                  <a:gd name="connsiteX3" fmla="*/ 98462 w 259245"/>
                  <a:gd name="connsiteY3" fmla="*/ 1779 h 207440"/>
                  <a:gd name="connsiteX4" fmla="*/ 49231 w 259245"/>
                  <a:gd name="connsiteY4" fmla="*/ 41778 h 207440"/>
                  <a:gd name="connsiteX5" fmla="*/ 49231 w 259245"/>
                  <a:gd name="connsiteY5" fmla="*/ 41778 h 207440"/>
                  <a:gd name="connsiteX6" fmla="*/ 49231 w 259245"/>
                  <a:gd name="connsiteY6" fmla="*/ 41778 h 207440"/>
                  <a:gd name="connsiteX7" fmla="*/ 0 w 259245"/>
                  <a:gd name="connsiteY7" fmla="*/ 134086 h 207440"/>
                  <a:gd name="connsiteX8" fmla="*/ 3077 w 259245"/>
                  <a:gd name="connsiteY8" fmla="*/ 134086 h 207440"/>
                  <a:gd name="connsiteX9" fmla="*/ 3077 w 259245"/>
                  <a:gd name="connsiteY9" fmla="*/ 155625 h 207440"/>
                  <a:gd name="connsiteX10" fmla="*/ 46154 w 259245"/>
                  <a:gd name="connsiteY10" fmla="*/ 158702 h 207440"/>
                  <a:gd name="connsiteX11" fmla="*/ 92308 w 259245"/>
                  <a:gd name="connsiteY11" fmla="*/ 189471 h 207440"/>
                  <a:gd name="connsiteX12" fmla="*/ 144616 w 259245"/>
                  <a:gd name="connsiteY12" fmla="*/ 195625 h 207440"/>
                  <a:gd name="connsiteX13" fmla="*/ 181539 w 259245"/>
                  <a:gd name="connsiteY13" fmla="*/ 204855 h 207440"/>
                  <a:gd name="connsiteX14" fmla="*/ 224616 w 259245"/>
                  <a:gd name="connsiteY14" fmla="*/ 149471 h 207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9245" h="207440">
                    <a:moveTo>
                      <a:pt x="224616" y="149471"/>
                    </a:moveTo>
                    <a:lnTo>
                      <a:pt x="224616" y="149471"/>
                    </a:lnTo>
                    <a:cubicBezTo>
                      <a:pt x="249231" y="115625"/>
                      <a:pt x="270770" y="57163"/>
                      <a:pt x="252308" y="51009"/>
                    </a:cubicBezTo>
                    <a:cubicBezTo>
                      <a:pt x="230769" y="44855"/>
                      <a:pt x="123077" y="-10529"/>
                      <a:pt x="98462" y="1779"/>
                    </a:cubicBezTo>
                    <a:cubicBezTo>
                      <a:pt x="80000" y="11009"/>
                      <a:pt x="61538" y="26394"/>
                      <a:pt x="49231" y="41778"/>
                    </a:cubicBezTo>
                    <a:lnTo>
                      <a:pt x="49231" y="41778"/>
                    </a:lnTo>
                    <a:cubicBezTo>
                      <a:pt x="49231" y="41778"/>
                      <a:pt x="49231" y="41778"/>
                      <a:pt x="49231" y="41778"/>
                    </a:cubicBezTo>
                    <a:cubicBezTo>
                      <a:pt x="12308" y="84855"/>
                      <a:pt x="0" y="134086"/>
                      <a:pt x="0" y="134086"/>
                    </a:cubicBezTo>
                    <a:cubicBezTo>
                      <a:pt x="0" y="134086"/>
                      <a:pt x="0" y="134086"/>
                      <a:pt x="3077" y="134086"/>
                    </a:cubicBezTo>
                    <a:cubicBezTo>
                      <a:pt x="0" y="143317"/>
                      <a:pt x="0" y="149471"/>
                      <a:pt x="3077" y="155625"/>
                    </a:cubicBezTo>
                    <a:cubicBezTo>
                      <a:pt x="18462" y="186394"/>
                      <a:pt x="46154" y="158702"/>
                      <a:pt x="46154" y="158702"/>
                    </a:cubicBezTo>
                    <a:cubicBezTo>
                      <a:pt x="46154" y="158702"/>
                      <a:pt x="43078" y="204855"/>
                      <a:pt x="92308" y="189471"/>
                    </a:cubicBezTo>
                    <a:cubicBezTo>
                      <a:pt x="92308" y="189471"/>
                      <a:pt x="107692" y="220240"/>
                      <a:pt x="144616" y="195625"/>
                    </a:cubicBezTo>
                    <a:cubicBezTo>
                      <a:pt x="144616" y="195625"/>
                      <a:pt x="153846" y="214086"/>
                      <a:pt x="181539" y="204855"/>
                    </a:cubicBezTo>
                    <a:cubicBezTo>
                      <a:pt x="206154" y="192548"/>
                      <a:pt x="224616" y="149471"/>
                      <a:pt x="224616" y="14947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2" name="任意多边形: 形状 341">
                <a:extLst>
                  <a:ext uri="{FF2B5EF4-FFF2-40B4-BE49-F238E27FC236}">
                    <a16:creationId xmlns:a16="http://schemas.microsoft.com/office/drawing/2014/main" id="{1ACAAD7B-8117-4909-AF0E-2B6E8F109C51}"/>
                  </a:ext>
                </a:extLst>
              </p:cNvPr>
              <p:cNvSpPr/>
              <p:nvPr/>
            </p:nvSpPr>
            <p:spPr>
              <a:xfrm>
                <a:off x="9133316" y="664642"/>
                <a:ext cx="237804" cy="180769"/>
              </a:xfrm>
              <a:custGeom>
                <a:avLst/>
                <a:gdLst>
                  <a:gd name="connsiteX0" fmla="*/ 168838 w 237804"/>
                  <a:gd name="connsiteY0" fmla="*/ 174616 h 180769"/>
                  <a:gd name="connsiteX1" fmla="*/ 147299 w 237804"/>
                  <a:gd name="connsiteY1" fmla="*/ 165385 h 180769"/>
                  <a:gd name="connsiteX2" fmla="*/ 113453 w 237804"/>
                  <a:gd name="connsiteY2" fmla="*/ 171538 h 180769"/>
                  <a:gd name="connsiteX3" fmla="*/ 94991 w 237804"/>
                  <a:gd name="connsiteY3" fmla="*/ 159231 h 180769"/>
                  <a:gd name="connsiteX4" fmla="*/ 58069 w 237804"/>
                  <a:gd name="connsiteY4" fmla="*/ 156154 h 180769"/>
                  <a:gd name="connsiteX5" fmla="*/ 45761 w 237804"/>
                  <a:gd name="connsiteY5" fmla="*/ 131539 h 180769"/>
                  <a:gd name="connsiteX6" fmla="*/ 21145 w 237804"/>
                  <a:gd name="connsiteY6" fmla="*/ 137692 h 180769"/>
                  <a:gd name="connsiteX7" fmla="*/ 2683 w 237804"/>
                  <a:gd name="connsiteY7" fmla="*/ 122308 h 180769"/>
                  <a:gd name="connsiteX8" fmla="*/ 51914 w 237804"/>
                  <a:gd name="connsiteY8" fmla="*/ 2308 h 180769"/>
                  <a:gd name="connsiteX9" fmla="*/ 61146 w 237804"/>
                  <a:gd name="connsiteY9" fmla="*/ 2308 h 180769"/>
                  <a:gd name="connsiteX10" fmla="*/ 61146 w 237804"/>
                  <a:gd name="connsiteY10" fmla="*/ 11539 h 180769"/>
                  <a:gd name="connsiteX11" fmla="*/ 14992 w 237804"/>
                  <a:gd name="connsiteY11" fmla="*/ 119231 h 180769"/>
                  <a:gd name="connsiteX12" fmla="*/ 24222 w 237804"/>
                  <a:gd name="connsiteY12" fmla="*/ 128462 h 180769"/>
                  <a:gd name="connsiteX13" fmla="*/ 48837 w 237804"/>
                  <a:gd name="connsiteY13" fmla="*/ 119231 h 180769"/>
                  <a:gd name="connsiteX14" fmla="*/ 54991 w 237804"/>
                  <a:gd name="connsiteY14" fmla="*/ 119231 h 180769"/>
                  <a:gd name="connsiteX15" fmla="*/ 58069 w 237804"/>
                  <a:gd name="connsiteY15" fmla="*/ 125385 h 180769"/>
                  <a:gd name="connsiteX16" fmla="*/ 67299 w 237804"/>
                  <a:gd name="connsiteY16" fmla="*/ 150000 h 180769"/>
                  <a:gd name="connsiteX17" fmla="*/ 98068 w 237804"/>
                  <a:gd name="connsiteY17" fmla="*/ 150000 h 180769"/>
                  <a:gd name="connsiteX18" fmla="*/ 104222 w 237804"/>
                  <a:gd name="connsiteY18" fmla="*/ 153077 h 180769"/>
                  <a:gd name="connsiteX19" fmla="*/ 119607 w 237804"/>
                  <a:gd name="connsiteY19" fmla="*/ 165385 h 180769"/>
                  <a:gd name="connsiteX20" fmla="*/ 147299 w 237804"/>
                  <a:gd name="connsiteY20" fmla="*/ 159231 h 180769"/>
                  <a:gd name="connsiteX21" fmla="*/ 153453 w 237804"/>
                  <a:gd name="connsiteY21" fmla="*/ 159231 h 180769"/>
                  <a:gd name="connsiteX22" fmla="*/ 156530 w 237804"/>
                  <a:gd name="connsiteY22" fmla="*/ 162308 h 180769"/>
                  <a:gd name="connsiteX23" fmla="*/ 184223 w 237804"/>
                  <a:gd name="connsiteY23" fmla="*/ 168462 h 180769"/>
                  <a:gd name="connsiteX24" fmla="*/ 224222 w 237804"/>
                  <a:gd name="connsiteY24" fmla="*/ 116154 h 180769"/>
                  <a:gd name="connsiteX25" fmla="*/ 233453 w 237804"/>
                  <a:gd name="connsiteY25" fmla="*/ 113077 h 180769"/>
                  <a:gd name="connsiteX26" fmla="*/ 236530 w 237804"/>
                  <a:gd name="connsiteY26" fmla="*/ 122308 h 180769"/>
                  <a:gd name="connsiteX27" fmla="*/ 190376 w 237804"/>
                  <a:gd name="connsiteY27" fmla="*/ 180769 h 180769"/>
                  <a:gd name="connsiteX28" fmla="*/ 168838 w 237804"/>
                  <a:gd name="connsiteY28" fmla="*/ 174616 h 180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37804" h="180769">
                    <a:moveTo>
                      <a:pt x="168838" y="174616"/>
                    </a:moveTo>
                    <a:cubicBezTo>
                      <a:pt x="159607" y="174616"/>
                      <a:pt x="150376" y="168462"/>
                      <a:pt x="147299" y="165385"/>
                    </a:cubicBezTo>
                    <a:cubicBezTo>
                      <a:pt x="134992" y="171538"/>
                      <a:pt x="122684" y="174616"/>
                      <a:pt x="113453" y="171538"/>
                    </a:cubicBezTo>
                    <a:cubicBezTo>
                      <a:pt x="104222" y="168462"/>
                      <a:pt x="98068" y="162308"/>
                      <a:pt x="94991" y="159231"/>
                    </a:cubicBezTo>
                    <a:cubicBezTo>
                      <a:pt x="79606" y="162308"/>
                      <a:pt x="67299" y="162308"/>
                      <a:pt x="58069" y="156154"/>
                    </a:cubicBezTo>
                    <a:cubicBezTo>
                      <a:pt x="48837" y="150000"/>
                      <a:pt x="45761" y="140769"/>
                      <a:pt x="45761" y="131539"/>
                    </a:cubicBezTo>
                    <a:cubicBezTo>
                      <a:pt x="39607" y="134615"/>
                      <a:pt x="30376" y="140769"/>
                      <a:pt x="21145" y="137692"/>
                    </a:cubicBezTo>
                    <a:cubicBezTo>
                      <a:pt x="11915" y="134615"/>
                      <a:pt x="5760" y="131539"/>
                      <a:pt x="2683" y="122308"/>
                    </a:cubicBezTo>
                    <a:cubicBezTo>
                      <a:pt x="-12701" y="91538"/>
                      <a:pt x="42684" y="11539"/>
                      <a:pt x="51914" y="2308"/>
                    </a:cubicBezTo>
                    <a:cubicBezTo>
                      <a:pt x="54991" y="-769"/>
                      <a:pt x="58069" y="-769"/>
                      <a:pt x="61146" y="2308"/>
                    </a:cubicBezTo>
                    <a:cubicBezTo>
                      <a:pt x="64222" y="5385"/>
                      <a:pt x="64222" y="8462"/>
                      <a:pt x="61146" y="11539"/>
                    </a:cubicBezTo>
                    <a:cubicBezTo>
                      <a:pt x="39607" y="42308"/>
                      <a:pt x="5760" y="100769"/>
                      <a:pt x="14992" y="119231"/>
                    </a:cubicBezTo>
                    <a:cubicBezTo>
                      <a:pt x="18068" y="125385"/>
                      <a:pt x="21145" y="128462"/>
                      <a:pt x="24222" y="128462"/>
                    </a:cubicBezTo>
                    <a:cubicBezTo>
                      <a:pt x="33453" y="131539"/>
                      <a:pt x="45761" y="122308"/>
                      <a:pt x="48837" y="119231"/>
                    </a:cubicBezTo>
                    <a:cubicBezTo>
                      <a:pt x="51914" y="116154"/>
                      <a:pt x="51914" y="116154"/>
                      <a:pt x="54991" y="119231"/>
                    </a:cubicBezTo>
                    <a:cubicBezTo>
                      <a:pt x="58069" y="119231"/>
                      <a:pt x="58069" y="122308"/>
                      <a:pt x="58069" y="125385"/>
                    </a:cubicBezTo>
                    <a:cubicBezTo>
                      <a:pt x="58069" y="125385"/>
                      <a:pt x="58069" y="140769"/>
                      <a:pt x="67299" y="150000"/>
                    </a:cubicBezTo>
                    <a:cubicBezTo>
                      <a:pt x="73453" y="153077"/>
                      <a:pt x="82684" y="153077"/>
                      <a:pt x="98068" y="150000"/>
                    </a:cubicBezTo>
                    <a:cubicBezTo>
                      <a:pt x="101145" y="150000"/>
                      <a:pt x="104222" y="150000"/>
                      <a:pt x="104222" y="153077"/>
                    </a:cubicBezTo>
                    <a:cubicBezTo>
                      <a:pt x="104222" y="153077"/>
                      <a:pt x="110376" y="162308"/>
                      <a:pt x="119607" y="165385"/>
                    </a:cubicBezTo>
                    <a:cubicBezTo>
                      <a:pt x="128837" y="168462"/>
                      <a:pt x="138069" y="165385"/>
                      <a:pt x="147299" y="159231"/>
                    </a:cubicBezTo>
                    <a:cubicBezTo>
                      <a:pt x="147299" y="159231"/>
                      <a:pt x="150376" y="159231"/>
                      <a:pt x="153453" y="159231"/>
                    </a:cubicBezTo>
                    <a:cubicBezTo>
                      <a:pt x="156530" y="159231"/>
                      <a:pt x="156530" y="162308"/>
                      <a:pt x="156530" y="162308"/>
                    </a:cubicBezTo>
                    <a:cubicBezTo>
                      <a:pt x="156530" y="162308"/>
                      <a:pt x="165761" y="177692"/>
                      <a:pt x="184223" y="168462"/>
                    </a:cubicBezTo>
                    <a:cubicBezTo>
                      <a:pt x="208838" y="159231"/>
                      <a:pt x="224222" y="116154"/>
                      <a:pt x="224222" y="116154"/>
                    </a:cubicBezTo>
                    <a:cubicBezTo>
                      <a:pt x="224222" y="113077"/>
                      <a:pt x="227299" y="110000"/>
                      <a:pt x="233453" y="113077"/>
                    </a:cubicBezTo>
                    <a:cubicBezTo>
                      <a:pt x="236530" y="113077"/>
                      <a:pt x="239607" y="116154"/>
                      <a:pt x="236530" y="122308"/>
                    </a:cubicBezTo>
                    <a:cubicBezTo>
                      <a:pt x="236530" y="125385"/>
                      <a:pt x="218068" y="168462"/>
                      <a:pt x="190376" y="180769"/>
                    </a:cubicBezTo>
                    <a:cubicBezTo>
                      <a:pt x="178068" y="174616"/>
                      <a:pt x="171914" y="174616"/>
                      <a:pt x="168838" y="17461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43" name="任意多边形: 形状 342">
              <a:extLst>
                <a:ext uri="{FF2B5EF4-FFF2-40B4-BE49-F238E27FC236}">
                  <a16:creationId xmlns:a16="http://schemas.microsoft.com/office/drawing/2014/main" id="{AF1E4D7C-A1D9-437B-9242-80AFAADB69CD}"/>
                </a:ext>
              </a:extLst>
            </p:cNvPr>
            <p:cNvSpPr/>
            <p:nvPr/>
          </p:nvSpPr>
          <p:spPr>
            <a:xfrm>
              <a:off x="8810047" y="-815948"/>
              <a:ext cx="862203" cy="1510590"/>
            </a:xfrm>
            <a:custGeom>
              <a:avLst/>
              <a:gdLst>
                <a:gd name="connsiteX0" fmla="*/ 24414 w 862203"/>
                <a:gd name="connsiteY0" fmla="*/ 89052 h 1510590"/>
                <a:gd name="connsiteX1" fmla="*/ 122876 w 862203"/>
                <a:gd name="connsiteY1" fmla="*/ 390590 h 1510590"/>
                <a:gd name="connsiteX2" fmla="*/ 501337 w 862203"/>
                <a:gd name="connsiteY2" fmla="*/ 762898 h 1510590"/>
                <a:gd name="connsiteX3" fmla="*/ 430569 w 862203"/>
                <a:gd name="connsiteY3" fmla="*/ 1424436 h 1510590"/>
                <a:gd name="connsiteX4" fmla="*/ 596722 w 862203"/>
                <a:gd name="connsiteY4" fmla="*/ 1510590 h 1510590"/>
                <a:gd name="connsiteX5" fmla="*/ 861338 w 862203"/>
                <a:gd name="connsiteY5" fmla="*/ 670590 h 1510590"/>
                <a:gd name="connsiteX6" fmla="*/ 258261 w 862203"/>
                <a:gd name="connsiteY6" fmla="*/ 24436 h 1510590"/>
                <a:gd name="connsiteX7" fmla="*/ 24414 w 862203"/>
                <a:gd name="connsiteY7" fmla="*/ 89052 h 1510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62203" h="1510590">
                  <a:moveTo>
                    <a:pt x="24414" y="89052"/>
                  </a:moveTo>
                  <a:cubicBezTo>
                    <a:pt x="-24817" y="150590"/>
                    <a:pt x="-3278" y="270590"/>
                    <a:pt x="122876" y="390590"/>
                  </a:cubicBezTo>
                  <a:cubicBezTo>
                    <a:pt x="298260" y="553667"/>
                    <a:pt x="501337" y="762898"/>
                    <a:pt x="501337" y="762898"/>
                  </a:cubicBezTo>
                  <a:lnTo>
                    <a:pt x="430569" y="1424436"/>
                  </a:lnTo>
                  <a:lnTo>
                    <a:pt x="596722" y="1510590"/>
                  </a:lnTo>
                  <a:cubicBezTo>
                    <a:pt x="596722" y="1510590"/>
                    <a:pt x="879799" y="799821"/>
                    <a:pt x="861338" y="670590"/>
                  </a:cubicBezTo>
                  <a:cubicBezTo>
                    <a:pt x="845953" y="565975"/>
                    <a:pt x="550568" y="236744"/>
                    <a:pt x="258261" y="24436"/>
                  </a:cubicBezTo>
                  <a:cubicBezTo>
                    <a:pt x="181338" y="-30948"/>
                    <a:pt x="89030" y="15205"/>
                    <a:pt x="24414" y="89052"/>
                  </a:cubicBezTo>
                  <a:close/>
                </a:path>
              </a:pathLst>
            </a:custGeom>
            <a:solidFill>
              <a:srgbClr val="70868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4" name="任意多边形: 形状 343">
              <a:extLst>
                <a:ext uri="{FF2B5EF4-FFF2-40B4-BE49-F238E27FC236}">
                  <a16:creationId xmlns:a16="http://schemas.microsoft.com/office/drawing/2014/main" id="{609DAC6F-5C21-4AD4-B38B-4799B7420C01}"/>
                </a:ext>
              </a:extLst>
            </p:cNvPr>
            <p:cNvSpPr/>
            <p:nvPr/>
          </p:nvSpPr>
          <p:spPr>
            <a:xfrm>
              <a:off x="8872153" y="-479973"/>
              <a:ext cx="531538" cy="433076"/>
            </a:xfrm>
            <a:custGeom>
              <a:avLst/>
              <a:gdLst>
                <a:gd name="connsiteX0" fmla="*/ 439231 w 531538"/>
                <a:gd name="connsiteY0" fmla="*/ 433077 h 433076"/>
                <a:gd name="connsiteX1" fmla="*/ 439231 w 531538"/>
                <a:gd name="connsiteY1" fmla="*/ 433077 h 433076"/>
                <a:gd name="connsiteX2" fmla="*/ 103846 w 531538"/>
                <a:gd name="connsiteY2" fmla="*/ 100769 h 433076"/>
                <a:gd name="connsiteX3" fmla="*/ 2307 w 531538"/>
                <a:gd name="connsiteY3" fmla="*/ 11538 h 433076"/>
                <a:gd name="connsiteX4" fmla="*/ 2307 w 531538"/>
                <a:gd name="connsiteY4" fmla="*/ 2308 h 433076"/>
                <a:gd name="connsiteX5" fmla="*/ 11538 w 531538"/>
                <a:gd name="connsiteY5" fmla="*/ 2308 h 433076"/>
                <a:gd name="connsiteX6" fmla="*/ 113077 w 531538"/>
                <a:gd name="connsiteY6" fmla="*/ 91538 h 433076"/>
                <a:gd name="connsiteX7" fmla="*/ 445385 w 531538"/>
                <a:gd name="connsiteY7" fmla="*/ 420769 h 433076"/>
                <a:gd name="connsiteX8" fmla="*/ 525384 w 531538"/>
                <a:gd name="connsiteY8" fmla="*/ 411538 h 433076"/>
                <a:gd name="connsiteX9" fmla="*/ 531538 w 531538"/>
                <a:gd name="connsiteY9" fmla="*/ 417692 h 433076"/>
                <a:gd name="connsiteX10" fmla="*/ 525384 w 531538"/>
                <a:gd name="connsiteY10" fmla="*/ 423846 h 433076"/>
                <a:gd name="connsiteX11" fmla="*/ 439231 w 531538"/>
                <a:gd name="connsiteY11" fmla="*/ 433077 h 43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1538" h="433076">
                  <a:moveTo>
                    <a:pt x="439231" y="433077"/>
                  </a:moveTo>
                  <a:lnTo>
                    <a:pt x="439231" y="433077"/>
                  </a:lnTo>
                  <a:cubicBezTo>
                    <a:pt x="433076" y="426923"/>
                    <a:pt x="143846" y="140769"/>
                    <a:pt x="103846" y="100769"/>
                  </a:cubicBezTo>
                  <a:cubicBezTo>
                    <a:pt x="103846" y="100769"/>
                    <a:pt x="54615" y="48462"/>
                    <a:pt x="2307" y="11538"/>
                  </a:cubicBezTo>
                  <a:cubicBezTo>
                    <a:pt x="-769" y="8462"/>
                    <a:pt x="-769" y="5385"/>
                    <a:pt x="2307" y="2308"/>
                  </a:cubicBezTo>
                  <a:cubicBezTo>
                    <a:pt x="5384" y="-769"/>
                    <a:pt x="8461" y="-769"/>
                    <a:pt x="11538" y="2308"/>
                  </a:cubicBezTo>
                  <a:cubicBezTo>
                    <a:pt x="66923" y="39231"/>
                    <a:pt x="113077" y="91538"/>
                    <a:pt x="113077" y="91538"/>
                  </a:cubicBezTo>
                  <a:cubicBezTo>
                    <a:pt x="153077" y="131538"/>
                    <a:pt x="420769" y="393077"/>
                    <a:pt x="445385" y="420769"/>
                  </a:cubicBezTo>
                  <a:lnTo>
                    <a:pt x="525384" y="411538"/>
                  </a:lnTo>
                  <a:cubicBezTo>
                    <a:pt x="528461" y="411538"/>
                    <a:pt x="531538" y="414615"/>
                    <a:pt x="531538" y="417692"/>
                  </a:cubicBezTo>
                  <a:cubicBezTo>
                    <a:pt x="531538" y="420769"/>
                    <a:pt x="528461" y="423846"/>
                    <a:pt x="525384" y="423846"/>
                  </a:cubicBezTo>
                  <a:lnTo>
                    <a:pt x="439231" y="433077"/>
                  </a:ln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662058714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AF925FE7-29AB-4338-8BF4-5B73778BCD85}"/>
              </a:ext>
            </a:extLst>
          </p:cNvPr>
          <p:cNvGrpSpPr/>
          <p:nvPr/>
        </p:nvGrpSpPr>
        <p:grpSpPr>
          <a:xfrm>
            <a:off x="2909290" y="1943981"/>
            <a:ext cx="5733462" cy="4914019"/>
            <a:chOff x="-6028232" y="-1661179"/>
            <a:chExt cx="5733462" cy="4914019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78C6430F-3918-4667-86ED-DFDAFBBC0CF1}"/>
                </a:ext>
              </a:extLst>
            </p:cNvPr>
            <p:cNvSpPr/>
            <p:nvPr/>
          </p:nvSpPr>
          <p:spPr>
            <a:xfrm>
              <a:off x="-3479295" y="-788650"/>
              <a:ext cx="1002986" cy="1117139"/>
            </a:xfrm>
            <a:custGeom>
              <a:avLst/>
              <a:gdLst>
                <a:gd name="connsiteX0" fmla="*/ 104525 w 1002986"/>
                <a:gd name="connsiteY0" fmla="*/ 6370 h 1117139"/>
                <a:gd name="connsiteX1" fmla="*/ 409140 w 1002986"/>
                <a:gd name="connsiteY1" fmla="*/ 415601 h 1117139"/>
                <a:gd name="connsiteX2" fmla="*/ 544525 w 1002986"/>
                <a:gd name="connsiteY2" fmla="*/ 803293 h 1117139"/>
                <a:gd name="connsiteX3" fmla="*/ 1002986 w 1002986"/>
                <a:gd name="connsiteY3" fmla="*/ 1000216 h 1117139"/>
                <a:gd name="connsiteX4" fmla="*/ 999910 w 1002986"/>
                <a:gd name="connsiteY4" fmla="*/ 1117139 h 1117139"/>
                <a:gd name="connsiteX5" fmla="*/ 310679 w 1002986"/>
                <a:gd name="connsiteY5" fmla="*/ 1027908 h 1117139"/>
                <a:gd name="connsiteX6" fmla="*/ 104525 w 1002986"/>
                <a:gd name="connsiteY6" fmla="*/ 6370 h 1117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2986" h="1117139">
                  <a:moveTo>
                    <a:pt x="104525" y="6370"/>
                  </a:moveTo>
                  <a:cubicBezTo>
                    <a:pt x="230679" y="-49015"/>
                    <a:pt x="356833" y="270985"/>
                    <a:pt x="409140" y="415601"/>
                  </a:cubicBezTo>
                  <a:cubicBezTo>
                    <a:pt x="449140" y="526370"/>
                    <a:pt x="544525" y="803293"/>
                    <a:pt x="544525" y="803293"/>
                  </a:cubicBezTo>
                  <a:lnTo>
                    <a:pt x="1002986" y="1000216"/>
                  </a:lnTo>
                  <a:lnTo>
                    <a:pt x="999910" y="1117139"/>
                  </a:lnTo>
                  <a:cubicBezTo>
                    <a:pt x="999910" y="1117139"/>
                    <a:pt x="427602" y="1083293"/>
                    <a:pt x="310679" y="1027908"/>
                  </a:cubicBezTo>
                  <a:cubicBezTo>
                    <a:pt x="181448" y="969447"/>
                    <a:pt x="-175475" y="132524"/>
                    <a:pt x="104525" y="6370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61EF52E9-AB35-46FE-8F51-105103BBDCFE}"/>
                </a:ext>
              </a:extLst>
            </p:cNvPr>
            <p:cNvSpPr/>
            <p:nvPr/>
          </p:nvSpPr>
          <p:spPr>
            <a:xfrm>
              <a:off x="-3940924" y="-1203819"/>
              <a:ext cx="67692" cy="141538"/>
            </a:xfrm>
            <a:custGeom>
              <a:avLst/>
              <a:gdLst>
                <a:gd name="connsiteX0" fmla="*/ 0 w 67692"/>
                <a:gd name="connsiteY0" fmla="*/ 0 h 141538"/>
                <a:gd name="connsiteX1" fmla="*/ 64615 w 67692"/>
                <a:gd name="connsiteY1" fmla="*/ 141538 h 141538"/>
                <a:gd name="connsiteX2" fmla="*/ 67692 w 67692"/>
                <a:gd name="connsiteY2" fmla="*/ 55385 h 141538"/>
                <a:gd name="connsiteX3" fmla="*/ 0 w 67692"/>
                <a:gd name="connsiteY3" fmla="*/ 0 h 14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692" h="141538">
                  <a:moveTo>
                    <a:pt x="0" y="0"/>
                  </a:moveTo>
                  <a:cubicBezTo>
                    <a:pt x="0" y="0"/>
                    <a:pt x="12308" y="120000"/>
                    <a:pt x="64615" y="141538"/>
                  </a:cubicBezTo>
                  <a:lnTo>
                    <a:pt x="67692" y="553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A6D5967F-B188-4415-830D-A46526AE3037}"/>
                </a:ext>
              </a:extLst>
            </p:cNvPr>
            <p:cNvSpPr/>
            <p:nvPr/>
          </p:nvSpPr>
          <p:spPr>
            <a:xfrm>
              <a:off x="-3578784" y="-1409973"/>
              <a:ext cx="102678" cy="239979"/>
            </a:xfrm>
            <a:custGeom>
              <a:avLst/>
              <a:gdLst>
                <a:gd name="connsiteX0" fmla="*/ 96321 w 102678"/>
                <a:gd name="connsiteY0" fmla="*/ 0 h 239979"/>
                <a:gd name="connsiteX1" fmla="*/ 53244 w 102678"/>
                <a:gd name="connsiteY1" fmla="*/ 236923 h 239979"/>
                <a:gd name="connsiteX2" fmla="*/ 937 w 102678"/>
                <a:gd name="connsiteY2" fmla="*/ 12308 h 239979"/>
                <a:gd name="connsiteX3" fmla="*/ 96321 w 102678"/>
                <a:gd name="connsiteY3" fmla="*/ 0 h 239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678" h="239979">
                  <a:moveTo>
                    <a:pt x="96321" y="0"/>
                  </a:moveTo>
                  <a:cubicBezTo>
                    <a:pt x="96321" y="0"/>
                    <a:pt x="127090" y="196923"/>
                    <a:pt x="53244" y="236923"/>
                  </a:cubicBezTo>
                  <a:cubicBezTo>
                    <a:pt x="-11371" y="270769"/>
                    <a:pt x="937" y="12308"/>
                    <a:pt x="937" y="12308"/>
                  </a:cubicBezTo>
                  <a:lnTo>
                    <a:pt x="96321" y="0"/>
                  </a:ln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930587F8-9D86-4BF8-B00E-EB1DB0BB8819}"/>
                </a:ext>
              </a:extLst>
            </p:cNvPr>
            <p:cNvSpPr/>
            <p:nvPr/>
          </p:nvSpPr>
          <p:spPr>
            <a:xfrm>
              <a:off x="-3937847" y="-1549332"/>
              <a:ext cx="424957" cy="573813"/>
            </a:xfrm>
            <a:custGeom>
              <a:avLst/>
              <a:gdLst>
                <a:gd name="connsiteX0" fmla="*/ 415385 w 424957"/>
                <a:gd name="connsiteY0" fmla="*/ 185513 h 573813"/>
                <a:gd name="connsiteX1" fmla="*/ 415385 w 424957"/>
                <a:gd name="connsiteY1" fmla="*/ 437821 h 573813"/>
                <a:gd name="connsiteX2" fmla="*/ 255385 w 424957"/>
                <a:gd name="connsiteY2" fmla="*/ 573206 h 573813"/>
                <a:gd name="connsiteX3" fmla="*/ 36923 w 424957"/>
                <a:gd name="connsiteY3" fmla="*/ 428590 h 573813"/>
                <a:gd name="connsiteX4" fmla="*/ 0 w 424957"/>
                <a:gd name="connsiteY4" fmla="*/ 200898 h 573813"/>
                <a:gd name="connsiteX5" fmla="*/ 215385 w 424957"/>
                <a:gd name="connsiteY5" fmla="*/ 898 h 573813"/>
                <a:gd name="connsiteX6" fmla="*/ 415385 w 424957"/>
                <a:gd name="connsiteY6" fmla="*/ 185513 h 573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957" h="573813">
                  <a:moveTo>
                    <a:pt x="415385" y="185513"/>
                  </a:moveTo>
                  <a:cubicBezTo>
                    <a:pt x="415385" y="185513"/>
                    <a:pt x="436923" y="363975"/>
                    <a:pt x="415385" y="437821"/>
                  </a:cubicBezTo>
                  <a:cubicBezTo>
                    <a:pt x="396923" y="505513"/>
                    <a:pt x="304615" y="570129"/>
                    <a:pt x="255385" y="573206"/>
                  </a:cubicBezTo>
                  <a:cubicBezTo>
                    <a:pt x="187692" y="579360"/>
                    <a:pt x="67692" y="539360"/>
                    <a:pt x="36923" y="428590"/>
                  </a:cubicBezTo>
                  <a:cubicBezTo>
                    <a:pt x="15385" y="354744"/>
                    <a:pt x="0" y="253206"/>
                    <a:pt x="0" y="200898"/>
                  </a:cubicBezTo>
                  <a:cubicBezTo>
                    <a:pt x="3077" y="105513"/>
                    <a:pt x="27692" y="25513"/>
                    <a:pt x="215385" y="898"/>
                  </a:cubicBezTo>
                  <a:cubicBezTo>
                    <a:pt x="301538" y="-11410"/>
                    <a:pt x="396923" y="105513"/>
                    <a:pt x="415385" y="185513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A151A2FB-0751-4386-8905-FCAF2093E4A8}"/>
                </a:ext>
              </a:extLst>
            </p:cNvPr>
            <p:cNvSpPr/>
            <p:nvPr/>
          </p:nvSpPr>
          <p:spPr>
            <a:xfrm>
              <a:off x="-3713232" y="-1283819"/>
              <a:ext cx="58461" cy="138461"/>
            </a:xfrm>
            <a:custGeom>
              <a:avLst/>
              <a:gdLst>
                <a:gd name="connsiteX0" fmla="*/ 30769 w 58461"/>
                <a:gd name="connsiteY0" fmla="*/ 138462 h 138461"/>
                <a:gd name="connsiteX1" fmla="*/ 6154 w 58461"/>
                <a:gd name="connsiteY1" fmla="*/ 135385 h 138461"/>
                <a:gd name="connsiteX2" fmla="*/ 0 w 58461"/>
                <a:gd name="connsiteY2" fmla="*/ 129231 h 138461"/>
                <a:gd name="connsiteX3" fmla="*/ 6154 w 58461"/>
                <a:gd name="connsiteY3" fmla="*/ 123077 h 138461"/>
                <a:gd name="connsiteX4" fmla="*/ 46154 w 58461"/>
                <a:gd name="connsiteY4" fmla="*/ 123077 h 138461"/>
                <a:gd name="connsiteX5" fmla="*/ 46154 w 58461"/>
                <a:gd name="connsiteY5" fmla="*/ 120000 h 138461"/>
                <a:gd name="connsiteX6" fmla="*/ 30769 w 58461"/>
                <a:gd name="connsiteY6" fmla="*/ 6154 h 138461"/>
                <a:gd name="connsiteX7" fmla="*/ 36923 w 58461"/>
                <a:gd name="connsiteY7" fmla="*/ 0 h 138461"/>
                <a:gd name="connsiteX8" fmla="*/ 43077 w 58461"/>
                <a:gd name="connsiteY8" fmla="*/ 6154 h 138461"/>
                <a:gd name="connsiteX9" fmla="*/ 58462 w 58461"/>
                <a:gd name="connsiteY9" fmla="*/ 120000 h 138461"/>
                <a:gd name="connsiteX10" fmla="*/ 52308 w 58461"/>
                <a:gd name="connsiteY10" fmla="*/ 132308 h 138461"/>
                <a:gd name="connsiteX11" fmla="*/ 30769 w 58461"/>
                <a:gd name="connsiteY11" fmla="*/ 138462 h 1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461" h="138461">
                  <a:moveTo>
                    <a:pt x="30769" y="138462"/>
                  </a:moveTo>
                  <a:cubicBezTo>
                    <a:pt x="18462" y="138462"/>
                    <a:pt x="9231" y="135385"/>
                    <a:pt x="6154" y="135385"/>
                  </a:cubicBezTo>
                  <a:cubicBezTo>
                    <a:pt x="3077" y="135385"/>
                    <a:pt x="0" y="132308"/>
                    <a:pt x="0" y="129231"/>
                  </a:cubicBezTo>
                  <a:cubicBezTo>
                    <a:pt x="0" y="126154"/>
                    <a:pt x="3077" y="123077"/>
                    <a:pt x="6154" y="123077"/>
                  </a:cubicBezTo>
                  <a:cubicBezTo>
                    <a:pt x="18462" y="126154"/>
                    <a:pt x="40000" y="126154"/>
                    <a:pt x="46154" y="123077"/>
                  </a:cubicBezTo>
                  <a:cubicBezTo>
                    <a:pt x="46154" y="123077"/>
                    <a:pt x="46154" y="120000"/>
                    <a:pt x="46154" y="120000"/>
                  </a:cubicBezTo>
                  <a:cubicBezTo>
                    <a:pt x="46154" y="101538"/>
                    <a:pt x="30769" y="9231"/>
                    <a:pt x="30769" y="6154"/>
                  </a:cubicBezTo>
                  <a:cubicBezTo>
                    <a:pt x="30769" y="3077"/>
                    <a:pt x="33846" y="0"/>
                    <a:pt x="36923" y="0"/>
                  </a:cubicBezTo>
                  <a:cubicBezTo>
                    <a:pt x="40000" y="0"/>
                    <a:pt x="43077" y="3077"/>
                    <a:pt x="43077" y="6154"/>
                  </a:cubicBezTo>
                  <a:cubicBezTo>
                    <a:pt x="43077" y="9231"/>
                    <a:pt x="58462" y="101538"/>
                    <a:pt x="58462" y="120000"/>
                  </a:cubicBezTo>
                  <a:cubicBezTo>
                    <a:pt x="58462" y="126154"/>
                    <a:pt x="55385" y="129231"/>
                    <a:pt x="52308" y="132308"/>
                  </a:cubicBezTo>
                  <a:cubicBezTo>
                    <a:pt x="52308" y="135385"/>
                    <a:pt x="40000" y="138462"/>
                    <a:pt x="30769" y="138462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8075F7F5-9F53-4DEB-8534-ED5B5CDDD841}"/>
                </a:ext>
              </a:extLst>
            </p:cNvPr>
            <p:cNvSpPr/>
            <p:nvPr/>
          </p:nvSpPr>
          <p:spPr>
            <a:xfrm>
              <a:off x="-3618631" y="-1305961"/>
              <a:ext cx="41568" cy="41207"/>
            </a:xfrm>
            <a:custGeom>
              <a:avLst/>
              <a:gdLst>
                <a:gd name="connsiteX0" fmla="*/ 784 w 41568"/>
                <a:gd name="connsiteY0" fmla="*/ 25219 h 41207"/>
                <a:gd name="connsiteX1" fmla="*/ 25399 w 41568"/>
                <a:gd name="connsiteY1" fmla="*/ 40604 h 41207"/>
                <a:gd name="connsiteX2" fmla="*/ 40784 w 41568"/>
                <a:gd name="connsiteY2" fmla="*/ 15988 h 41207"/>
                <a:gd name="connsiteX3" fmla="*/ 16169 w 41568"/>
                <a:gd name="connsiteY3" fmla="*/ 604 h 41207"/>
                <a:gd name="connsiteX4" fmla="*/ 784 w 41568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68" h="41207">
                  <a:moveTo>
                    <a:pt x="784" y="25219"/>
                  </a:moveTo>
                  <a:cubicBezTo>
                    <a:pt x="3861" y="34450"/>
                    <a:pt x="13092" y="43680"/>
                    <a:pt x="25399" y="40604"/>
                  </a:cubicBezTo>
                  <a:cubicBezTo>
                    <a:pt x="37707" y="37527"/>
                    <a:pt x="43861" y="28296"/>
                    <a:pt x="40784" y="15988"/>
                  </a:cubicBezTo>
                  <a:cubicBezTo>
                    <a:pt x="37707" y="6757"/>
                    <a:pt x="28476" y="-2473"/>
                    <a:pt x="16169" y="604"/>
                  </a:cubicBezTo>
                  <a:cubicBezTo>
                    <a:pt x="3861" y="3680"/>
                    <a:pt x="-2293" y="12911"/>
                    <a:pt x="784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EFEA1F7D-2EEE-4AC3-BAFD-A74EDF36769B}"/>
                </a:ext>
              </a:extLst>
            </p:cNvPr>
            <p:cNvSpPr/>
            <p:nvPr/>
          </p:nvSpPr>
          <p:spPr>
            <a:xfrm>
              <a:off x="-3805540" y="-1290576"/>
              <a:ext cx="40784" cy="41387"/>
            </a:xfrm>
            <a:custGeom>
              <a:avLst/>
              <a:gdLst>
                <a:gd name="connsiteX0" fmla="*/ 0 w 40784"/>
                <a:gd name="connsiteY0" fmla="*/ 25219 h 41387"/>
                <a:gd name="connsiteX1" fmla="*/ 24615 w 40784"/>
                <a:gd name="connsiteY1" fmla="*/ 40604 h 41387"/>
                <a:gd name="connsiteX2" fmla="*/ 40000 w 40784"/>
                <a:gd name="connsiteY2" fmla="*/ 15988 h 41387"/>
                <a:gd name="connsiteX3" fmla="*/ 15385 w 40784"/>
                <a:gd name="connsiteY3" fmla="*/ 604 h 41387"/>
                <a:gd name="connsiteX4" fmla="*/ 0 w 40784"/>
                <a:gd name="connsiteY4" fmla="*/ 25219 h 4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4" h="41387">
                  <a:moveTo>
                    <a:pt x="0" y="25219"/>
                  </a:moveTo>
                  <a:cubicBezTo>
                    <a:pt x="3077" y="37527"/>
                    <a:pt x="12308" y="43680"/>
                    <a:pt x="24615" y="40604"/>
                  </a:cubicBezTo>
                  <a:cubicBezTo>
                    <a:pt x="36923" y="37527"/>
                    <a:pt x="43077" y="28296"/>
                    <a:pt x="40000" y="15988"/>
                  </a:cubicBezTo>
                  <a:cubicBezTo>
                    <a:pt x="36923" y="6757"/>
                    <a:pt x="27692" y="-2473"/>
                    <a:pt x="15385" y="604"/>
                  </a:cubicBezTo>
                  <a:cubicBezTo>
                    <a:pt x="6154" y="3680"/>
                    <a:pt x="0" y="15988"/>
                    <a:pt x="0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FB5EF699-3C58-45BE-BBD0-78FDA831A3BD}"/>
                </a:ext>
              </a:extLst>
            </p:cNvPr>
            <p:cNvSpPr/>
            <p:nvPr/>
          </p:nvSpPr>
          <p:spPr>
            <a:xfrm>
              <a:off x="-3646814" y="-1351511"/>
              <a:ext cx="92812" cy="30769"/>
            </a:xfrm>
            <a:custGeom>
              <a:avLst/>
              <a:gdLst>
                <a:gd name="connsiteX0" fmla="*/ 84351 w 92812"/>
                <a:gd name="connsiteY0" fmla="*/ 30769 h 30769"/>
                <a:gd name="connsiteX1" fmla="*/ 78198 w 92812"/>
                <a:gd name="connsiteY1" fmla="*/ 27692 h 30769"/>
                <a:gd name="connsiteX2" fmla="*/ 10505 w 92812"/>
                <a:gd name="connsiteY2" fmla="*/ 21538 h 30769"/>
                <a:gd name="connsiteX3" fmla="*/ 1274 w 92812"/>
                <a:gd name="connsiteY3" fmla="*/ 18462 h 30769"/>
                <a:gd name="connsiteX4" fmla="*/ 4351 w 92812"/>
                <a:gd name="connsiteY4" fmla="*/ 9231 h 30769"/>
                <a:gd name="connsiteX5" fmla="*/ 90505 w 92812"/>
                <a:gd name="connsiteY5" fmla="*/ 18462 h 30769"/>
                <a:gd name="connsiteX6" fmla="*/ 90505 w 92812"/>
                <a:gd name="connsiteY6" fmla="*/ 30769 h 30769"/>
                <a:gd name="connsiteX7" fmla="*/ 84351 w 92812"/>
                <a:gd name="connsiteY7" fmla="*/ 30769 h 3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0769">
                  <a:moveTo>
                    <a:pt x="84351" y="30769"/>
                  </a:moveTo>
                  <a:cubicBezTo>
                    <a:pt x="81274" y="30769"/>
                    <a:pt x="81274" y="30769"/>
                    <a:pt x="78198" y="27692"/>
                  </a:cubicBezTo>
                  <a:cubicBezTo>
                    <a:pt x="53582" y="0"/>
                    <a:pt x="10505" y="21538"/>
                    <a:pt x="10505" y="21538"/>
                  </a:cubicBezTo>
                  <a:cubicBezTo>
                    <a:pt x="7428" y="24615"/>
                    <a:pt x="1274" y="21538"/>
                    <a:pt x="1274" y="18462"/>
                  </a:cubicBezTo>
                  <a:cubicBezTo>
                    <a:pt x="-1802" y="15385"/>
                    <a:pt x="1274" y="9231"/>
                    <a:pt x="4351" y="9231"/>
                  </a:cubicBezTo>
                  <a:cubicBezTo>
                    <a:pt x="22813" y="0"/>
                    <a:pt x="62813" y="-9231"/>
                    <a:pt x="90505" y="18462"/>
                  </a:cubicBezTo>
                  <a:cubicBezTo>
                    <a:pt x="93582" y="21538"/>
                    <a:pt x="93582" y="27692"/>
                    <a:pt x="90505" y="30769"/>
                  </a:cubicBezTo>
                  <a:cubicBezTo>
                    <a:pt x="90505" y="27692"/>
                    <a:pt x="87428" y="30769"/>
                    <a:pt x="84351" y="30769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ECF60BEE-6F47-4371-80D3-3686FED2EC46}"/>
                </a:ext>
              </a:extLst>
            </p:cNvPr>
            <p:cNvSpPr/>
            <p:nvPr/>
          </p:nvSpPr>
          <p:spPr>
            <a:xfrm>
              <a:off x="-3838617" y="-1357352"/>
              <a:ext cx="92812" cy="36609"/>
            </a:xfrm>
            <a:custGeom>
              <a:avLst/>
              <a:gdLst>
                <a:gd name="connsiteX0" fmla="*/ 8462 w 92812"/>
                <a:gd name="connsiteY0" fmla="*/ 36610 h 36609"/>
                <a:gd name="connsiteX1" fmla="*/ 2308 w 92812"/>
                <a:gd name="connsiteY1" fmla="*/ 33533 h 36609"/>
                <a:gd name="connsiteX2" fmla="*/ 2308 w 92812"/>
                <a:gd name="connsiteY2" fmla="*/ 21225 h 36609"/>
                <a:gd name="connsiteX3" fmla="*/ 88462 w 92812"/>
                <a:gd name="connsiteY3" fmla="*/ 11995 h 36609"/>
                <a:gd name="connsiteX4" fmla="*/ 91538 w 92812"/>
                <a:gd name="connsiteY4" fmla="*/ 24302 h 36609"/>
                <a:gd name="connsiteX5" fmla="*/ 79231 w 92812"/>
                <a:gd name="connsiteY5" fmla="*/ 27379 h 36609"/>
                <a:gd name="connsiteX6" fmla="*/ 11539 w 92812"/>
                <a:gd name="connsiteY6" fmla="*/ 33533 h 36609"/>
                <a:gd name="connsiteX7" fmla="*/ 8462 w 92812"/>
                <a:gd name="connsiteY7" fmla="*/ 36610 h 3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6609">
                  <a:moveTo>
                    <a:pt x="8462" y="36610"/>
                  </a:moveTo>
                  <a:cubicBezTo>
                    <a:pt x="5385" y="36610"/>
                    <a:pt x="5385" y="36610"/>
                    <a:pt x="2308" y="33533"/>
                  </a:cubicBezTo>
                  <a:cubicBezTo>
                    <a:pt x="-769" y="30456"/>
                    <a:pt x="-769" y="24302"/>
                    <a:pt x="2308" y="21225"/>
                  </a:cubicBezTo>
                  <a:cubicBezTo>
                    <a:pt x="14615" y="5841"/>
                    <a:pt x="51539" y="-12621"/>
                    <a:pt x="88462" y="11995"/>
                  </a:cubicBezTo>
                  <a:cubicBezTo>
                    <a:pt x="91538" y="15072"/>
                    <a:pt x="94615" y="18148"/>
                    <a:pt x="91538" y="24302"/>
                  </a:cubicBezTo>
                  <a:cubicBezTo>
                    <a:pt x="88462" y="27379"/>
                    <a:pt x="85385" y="30456"/>
                    <a:pt x="79231" y="27379"/>
                  </a:cubicBezTo>
                  <a:cubicBezTo>
                    <a:pt x="42308" y="2764"/>
                    <a:pt x="14615" y="33533"/>
                    <a:pt x="11539" y="33533"/>
                  </a:cubicBezTo>
                  <a:cubicBezTo>
                    <a:pt x="11539" y="36610"/>
                    <a:pt x="11539" y="36610"/>
                    <a:pt x="8462" y="36610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FED53F40-1953-4B6B-8A0A-924A2D324C83}"/>
                </a:ext>
              </a:extLst>
            </p:cNvPr>
            <p:cNvSpPr/>
            <p:nvPr/>
          </p:nvSpPr>
          <p:spPr>
            <a:xfrm>
              <a:off x="-3979223" y="-1291471"/>
              <a:ext cx="79666" cy="115101"/>
            </a:xfrm>
            <a:custGeom>
              <a:avLst/>
              <a:gdLst>
                <a:gd name="connsiteX0" fmla="*/ 65991 w 79666"/>
                <a:gd name="connsiteY0" fmla="*/ 16883 h 115101"/>
                <a:gd name="connsiteX1" fmla="*/ 7530 w 79666"/>
                <a:gd name="connsiteY1" fmla="*/ 7652 h 115101"/>
                <a:gd name="connsiteX2" fmla="*/ 65991 w 79666"/>
                <a:gd name="connsiteY2" fmla="*/ 112268 h 115101"/>
                <a:gd name="connsiteX3" fmla="*/ 65991 w 79666"/>
                <a:gd name="connsiteY3" fmla="*/ 16883 h 115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666" h="115101">
                  <a:moveTo>
                    <a:pt x="65991" y="16883"/>
                  </a:moveTo>
                  <a:cubicBezTo>
                    <a:pt x="65991" y="16883"/>
                    <a:pt x="32145" y="-13886"/>
                    <a:pt x="7530" y="7652"/>
                  </a:cubicBezTo>
                  <a:cubicBezTo>
                    <a:pt x="-17086" y="26114"/>
                    <a:pt x="22914" y="133806"/>
                    <a:pt x="65991" y="112268"/>
                  </a:cubicBezTo>
                  <a:cubicBezTo>
                    <a:pt x="96760" y="90729"/>
                    <a:pt x="65991" y="16883"/>
                    <a:pt x="65991" y="16883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16B7C185-6763-477D-85B7-06CC6FA152A2}"/>
                </a:ext>
              </a:extLst>
            </p:cNvPr>
            <p:cNvSpPr/>
            <p:nvPr/>
          </p:nvSpPr>
          <p:spPr>
            <a:xfrm>
              <a:off x="-3978167" y="-1661179"/>
              <a:ext cx="523940" cy="405052"/>
            </a:xfrm>
            <a:custGeom>
              <a:avLst/>
              <a:gdLst>
                <a:gd name="connsiteX0" fmla="*/ 6473 w 523940"/>
                <a:gd name="connsiteY0" fmla="*/ 303514 h 405052"/>
                <a:gd name="connsiteX1" fmla="*/ 64934 w 523940"/>
                <a:gd name="connsiteY1" fmla="*/ 405052 h 405052"/>
                <a:gd name="connsiteX2" fmla="*/ 117242 w 523940"/>
                <a:gd name="connsiteY2" fmla="*/ 263514 h 405052"/>
                <a:gd name="connsiteX3" fmla="*/ 126473 w 523940"/>
                <a:gd name="connsiteY3" fmla="*/ 260437 h 405052"/>
                <a:gd name="connsiteX4" fmla="*/ 203396 w 523940"/>
                <a:gd name="connsiteY4" fmla="*/ 232745 h 405052"/>
                <a:gd name="connsiteX5" fmla="*/ 215704 w 523940"/>
                <a:gd name="connsiteY5" fmla="*/ 229668 h 405052"/>
                <a:gd name="connsiteX6" fmla="*/ 252627 w 523940"/>
                <a:gd name="connsiteY6" fmla="*/ 251206 h 405052"/>
                <a:gd name="connsiteX7" fmla="*/ 268012 w 523940"/>
                <a:gd name="connsiteY7" fmla="*/ 241975 h 405052"/>
                <a:gd name="connsiteX8" fmla="*/ 320319 w 523940"/>
                <a:gd name="connsiteY8" fmla="*/ 257360 h 405052"/>
                <a:gd name="connsiteX9" fmla="*/ 357242 w 523940"/>
                <a:gd name="connsiteY9" fmla="*/ 266591 h 405052"/>
                <a:gd name="connsiteX10" fmla="*/ 369550 w 523940"/>
                <a:gd name="connsiteY10" fmla="*/ 266591 h 405052"/>
                <a:gd name="connsiteX11" fmla="*/ 381858 w 523940"/>
                <a:gd name="connsiteY11" fmla="*/ 263514 h 405052"/>
                <a:gd name="connsiteX12" fmla="*/ 391089 w 523940"/>
                <a:gd name="connsiteY12" fmla="*/ 269668 h 405052"/>
                <a:gd name="connsiteX13" fmla="*/ 397242 w 523940"/>
                <a:gd name="connsiteY13" fmla="*/ 272745 h 405052"/>
                <a:gd name="connsiteX14" fmla="*/ 403396 w 523940"/>
                <a:gd name="connsiteY14" fmla="*/ 272745 h 405052"/>
                <a:gd name="connsiteX15" fmla="*/ 409550 w 523940"/>
                <a:gd name="connsiteY15" fmla="*/ 275821 h 405052"/>
                <a:gd name="connsiteX16" fmla="*/ 415704 w 523940"/>
                <a:gd name="connsiteY16" fmla="*/ 288129 h 405052"/>
                <a:gd name="connsiteX17" fmla="*/ 434165 w 523940"/>
                <a:gd name="connsiteY17" fmla="*/ 309668 h 405052"/>
                <a:gd name="connsiteX18" fmla="*/ 464934 w 523940"/>
                <a:gd name="connsiteY18" fmla="*/ 321975 h 405052"/>
                <a:gd name="connsiteX19" fmla="*/ 483396 w 523940"/>
                <a:gd name="connsiteY19" fmla="*/ 377360 h 405052"/>
                <a:gd name="connsiteX20" fmla="*/ 492627 w 523940"/>
                <a:gd name="connsiteY20" fmla="*/ 346591 h 405052"/>
                <a:gd name="connsiteX21" fmla="*/ 501858 w 523940"/>
                <a:gd name="connsiteY21" fmla="*/ 343514 h 405052"/>
                <a:gd name="connsiteX22" fmla="*/ 520319 w 523940"/>
                <a:gd name="connsiteY22" fmla="*/ 245052 h 405052"/>
                <a:gd name="connsiteX23" fmla="*/ 501858 w 523940"/>
                <a:gd name="connsiteY23" fmla="*/ 201975 h 405052"/>
                <a:gd name="connsiteX24" fmla="*/ 504935 w 523940"/>
                <a:gd name="connsiteY24" fmla="*/ 168129 h 405052"/>
                <a:gd name="connsiteX25" fmla="*/ 498781 w 523940"/>
                <a:gd name="connsiteY25" fmla="*/ 131206 h 405052"/>
                <a:gd name="connsiteX26" fmla="*/ 474165 w 523940"/>
                <a:gd name="connsiteY26" fmla="*/ 103514 h 405052"/>
                <a:gd name="connsiteX27" fmla="*/ 458781 w 523940"/>
                <a:gd name="connsiteY27" fmla="*/ 60437 h 405052"/>
                <a:gd name="connsiteX28" fmla="*/ 397242 w 523940"/>
                <a:gd name="connsiteY28" fmla="*/ 38898 h 405052"/>
                <a:gd name="connsiteX29" fmla="*/ 271088 w 523940"/>
                <a:gd name="connsiteY29" fmla="*/ 1975 h 405052"/>
                <a:gd name="connsiteX30" fmla="*/ 258781 w 523940"/>
                <a:gd name="connsiteY30" fmla="*/ 8129 h 405052"/>
                <a:gd name="connsiteX31" fmla="*/ 203396 w 523940"/>
                <a:gd name="connsiteY31" fmla="*/ 23514 h 405052"/>
                <a:gd name="connsiteX32" fmla="*/ 169550 w 523940"/>
                <a:gd name="connsiteY32" fmla="*/ 26591 h 405052"/>
                <a:gd name="connsiteX33" fmla="*/ 138781 w 523940"/>
                <a:gd name="connsiteY33" fmla="*/ 60437 h 405052"/>
                <a:gd name="connsiteX34" fmla="*/ 126473 w 523940"/>
                <a:gd name="connsiteY34" fmla="*/ 78898 h 405052"/>
                <a:gd name="connsiteX35" fmla="*/ 95704 w 523940"/>
                <a:gd name="connsiteY35" fmla="*/ 100437 h 405052"/>
                <a:gd name="connsiteX36" fmla="*/ 83396 w 523940"/>
                <a:gd name="connsiteY36" fmla="*/ 97360 h 405052"/>
                <a:gd name="connsiteX37" fmla="*/ 64934 w 523940"/>
                <a:gd name="connsiteY37" fmla="*/ 137360 h 405052"/>
                <a:gd name="connsiteX38" fmla="*/ 6473 w 523940"/>
                <a:gd name="connsiteY38" fmla="*/ 303514 h 405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23940" h="405052">
                  <a:moveTo>
                    <a:pt x="6473" y="303514"/>
                  </a:moveTo>
                  <a:cubicBezTo>
                    <a:pt x="21858" y="358898"/>
                    <a:pt x="64934" y="405052"/>
                    <a:pt x="64934" y="405052"/>
                  </a:cubicBezTo>
                  <a:cubicBezTo>
                    <a:pt x="58781" y="374283"/>
                    <a:pt x="117242" y="263514"/>
                    <a:pt x="117242" y="263514"/>
                  </a:cubicBezTo>
                  <a:cubicBezTo>
                    <a:pt x="117242" y="263514"/>
                    <a:pt x="120319" y="263514"/>
                    <a:pt x="126473" y="260437"/>
                  </a:cubicBezTo>
                  <a:cubicBezTo>
                    <a:pt x="154165" y="260437"/>
                    <a:pt x="181858" y="251206"/>
                    <a:pt x="203396" y="232745"/>
                  </a:cubicBezTo>
                  <a:cubicBezTo>
                    <a:pt x="206473" y="232745"/>
                    <a:pt x="212627" y="229668"/>
                    <a:pt x="215704" y="229668"/>
                  </a:cubicBezTo>
                  <a:cubicBezTo>
                    <a:pt x="224935" y="241975"/>
                    <a:pt x="234165" y="254283"/>
                    <a:pt x="252627" y="251206"/>
                  </a:cubicBezTo>
                  <a:cubicBezTo>
                    <a:pt x="261858" y="251206"/>
                    <a:pt x="264934" y="241975"/>
                    <a:pt x="268012" y="241975"/>
                  </a:cubicBezTo>
                  <a:cubicBezTo>
                    <a:pt x="289550" y="232745"/>
                    <a:pt x="301858" y="248129"/>
                    <a:pt x="320319" y="257360"/>
                  </a:cubicBezTo>
                  <a:cubicBezTo>
                    <a:pt x="332627" y="263514"/>
                    <a:pt x="344935" y="266591"/>
                    <a:pt x="357242" y="266591"/>
                  </a:cubicBezTo>
                  <a:cubicBezTo>
                    <a:pt x="360319" y="266591"/>
                    <a:pt x="366473" y="263514"/>
                    <a:pt x="369550" y="266591"/>
                  </a:cubicBezTo>
                  <a:cubicBezTo>
                    <a:pt x="375704" y="263514"/>
                    <a:pt x="378781" y="263514"/>
                    <a:pt x="381858" y="263514"/>
                  </a:cubicBezTo>
                  <a:cubicBezTo>
                    <a:pt x="384935" y="266591"/>
                    <a:pt x="388011" y="266591"/>
                    <a:pt x="391089" y="269668"/>
                  </a:cubicBezTo>
                  <a:cubicBezTo>
                    <a:pt x="394165" y="269668"/>
                    <a:pt x="394165" y="272745"/>
                    <a:pt x="397242" y="272745"/>
                  </a:cubicBezTo>
                  <a:cubicBezTo>
                    <a:pt x="400319" y="272745"/>
                    <a:pt x="400319" y="272745"/>
                    <a:pt x="403396" y="272745"/>
                  </a:cubicBezTo>
                  <a:cubicBezTo>
                    <a:pt x="406473" y="272745"/>
                    <a:pt x="409550" y="275821"/>
                    <a:pt x="409550" y="275821"/>
                  </a:cubicBezTo>
                  <a:cubicBezTo>
                    <a:pt x="412627" y="278898"/>
                    <a:pt x="412627" y="281975"/>
                    <a:pt x="415704" y="288129"/>
                  </a:cubicBezTo>
                  <a:cubicBezTo>
                    <a:pt x="421858" y="297360"/>
                    <a:pt x="424935" y="303514"/>
                    <a:pt x="434165" y="309668"/>
                  </a:cubicBezTo>
                  <a:cubicBezTo>
                    <a:pt x="440319" y="315821"/>
                    <a:pt x="452627" y="315821"/>
                    <a:pt x="464934" y="321975"/>
                  </a:cubicBezTo>
                  <a:cubicBezTo>
                    <a:pt x="480319" y="340437"/>
                    <a:pt x="486473" y="358898"/>
                    <a:pt x="483396" y="377360"/>
                  </a:cubicBezTo>
                  <a:cubicBezTo>
                    <a:pt x="483396" y="377360"/>
                    <a:pt x="486473" y="365052"/>
                    <a:pt x="492627" y="346591"/>
                  </a:cubicBezTo>
                  <a:cubicBezTo>
                    <a:pt x="495704" y="349668"/>
                    <a:pt x="498781" y="349668"/>
                    <a:pt x="501858" y="343514"/>
                  </a:cubicBezTo>
                  <a:cubicBezTo>
                    <a:pt x="520319" y="312745"/>
                    <a:pt x="529550" y="278898"/>
                    <a:pt x="520319" y="245052"/>
                  </a:cubicBezTo>
                  <a:cubicBezTo>
                    <a:pt x="517242" y="229668"/>
                    <a:pt x="508011" y="217360"/>
                    <a:pt x="501858" y="201975"/>
                  </a:cubicBezTo>
                  <a:cubicBezTo>
                    <a:pt x="492627" y="183514"/>
                    <a:pt x="501858" y="183514"/>
                    <a:pt x="504935" y="168129"/>
                  </a:cubicBezTo>
                  <a:cubicBezTo>
                    <a:pt x="508011" y="155821"/>
                    <a:pt x="501858" y="143514"/>
                    <a:pt x="498781" y="131206"/>
                  </a:cubicBezTo>
                  <a:cubicBezTo>
                    <a:pt x="486473" y="121975"/>
                    <a:pt x="480319" y="112745"/>
                    <a:pt x="474165" y="103514"/>
                  </a:cubicBezTo>
                  <a:cubicBezTo>
                    <a:pt x="461858" y="88129"/>
                    <a:pt x="464934" y="75821"/>
                    <a:pt x="458781" y="60437"/>
                  </a:cubicBezTo>
                  <a:cubicBezTo>
                    <a:pt x="446473" y="32745"/>
                    <a:pt x="421858" y="38898"/>
                    <a:pt x="397242" y="38898"/>
                  </a:cubicBezTo>
                  <a:cubicBezTo>
                    <a:pt x="354165" y="38898"/>
                    <a:pt x="317242" y="-10332"/>
                    <a:pt x="271088" y="1975"/>
                  </a:cubicBezTo>
                  <a:cubicBezTo>
                    <a:pt x="264934" y="1975"/>
                    <a:pt x="261858" y="5052"/>
                    <a:pt x="258781" y="8129"/>
                  </a:cubicBezTo>
                  <a:cubicBezTo>
                    <a:pt x="240319" y="17360"/>
                    <a:pt x="221858" y="23514"/>
                    <a:pt x="203396" y="23514"/>
                  </a:cubicBezTo>
                  <a:cubicBezTo>
                    <a:pt x="191088" y="23514"/>
                    <a:pt x="181858" y="20437"/>
                    <a:pt x="169550" y="26591"/>
                  </a:cubicBezTo>
                  <a:cubicBezTo>
                    <a:pt x="154165" y="32745"/>
                    <a:pt x="148012" y="48129"/>
                    <a:pt x="138781" y="60437"/>
                  </a:cubicBezTo>
                  <a:cubicBezTo>
                    <a:pt x="135704" y="66591"/>
                    <a:pt x="129550" y="72745"/>
                    <a:pt x="126473" y="78898"/>
                  </a:cubicBezTo>
                  <a:cubicBezTo>
                    <a:pt x="114165" y="85052"/>
                    <a:pt x="104935" y="94283"/>
                    <a:pt x="95704" y="100437"/>
                  </a:cubicBezTo>
                  <a:cubicBezTo>
                    <a:pt x="95704" y="97360"/>
                    <a:pt x="98781" y="85052"/>
                    <a:pt x="83396" y="97360"/>
                  </a:cubicBezTo>
                  <a:cubicBezTo>
                    <a:pt x="68012" y="106591"/>
                    <a:pt x="64934" y="121975"/>
                    <a:pt x="64934" y="137360"/>
                  </a:cubicBezTo>
                  <a:cubicBezTo>
                    <a:pt x="319" y="155821"/>
                    <a:pt x="-8912" y="245052"/>
                    <a:pt x="6473" y="303514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579ADAF4-3DDB-4FA5-96D4-7816C8644554}"/>
                </a:ext>
              </a:extLst>
            </p:cNvPr>
            <p:cNvSpPr/>
            <p:nvPr/>
          </p:nvSpPr>
          <p:spPr>
            <a:xfrm>
              <a:off x="-3929386" y="-1508434"/>
              <a:ext cx="68461" cy="240000"/>
            </a:xfrm>
            <a:custGeom>
              <a:avLst/>
              <a:gdLst>
                <a:gd name="connsiteX0" fmla="*/ 16154 w 68461"/>
                <a:gd name="connsiteY0" fmla="*/ 240000 h 240000"/>
                <a:gd name="connsiteX1" fmla="*/ 16154 w 68461"/>
                <a:gd name="connsiteY1" fmla="*/ 240000 h 240000"/>
                <a:gd name="connsiteX2" fmla="*/ 10000 w 68461"/>
                <a:gd name="connsiteY2" fmla="*/ 233846 h 240000"/>
                <a:gd name="connsiteX3" fmla="*/ 56154 w 68461"/>
                <a:gd name="connsiteY3" fmla="*/ 113846 h 240000"/>
                <a:gd name="connsiteX4" fmla="*/ 6923 w 68461"/>
                <a:gd name="connsiteY4" fmla="*/ 70769 h 240000"/>
                <a:gd name="connsiteX5" fmla="*/ 6923 w 68461"/>
                <a:gd name="connsiteY5" fmla="*/ 3077 h 240000"/>
                <a:gd name="connsiteX6" fmla="*/ 13077 w 68461"/>
                <a:gd name="connsiteY6" fmla="*/ 0 h 240000"/>
                <a:gd name="connsiteX7" fmla="*/ 16154 w 68461"/>
                <a:gd name="connsiteY7" fmla="*/ 6154 h 240000"/>
                <a:gd name="connsiteX8" fmla="*/ 16154 w 68461"/>
                <a:gd name="connsiteY8" fmla="*/ 64615 h 240000"/>
                <a:gd name="connsiteX9" fmla="*/ 65385 w 68461"/>
                <a:gd name="connsiteY9" fmla="*/ 104615 h 240000"/>
                <a:gd name="connsiteX10" fmla="*/ 68462 w 68461"/>
                <a:gd name="connsiteY10" fmla="*/ 107692 h 240000"/>
                <a:gd name="connsiteX11" fmla="*/ 68462 w 68461"/>
                <a:gd name="connsiteY11" fmla="*/ 113846 h 240000"/>
                <a:gd name="connsiteX12" fmla="*/ 19231 w 68461"/>
                <a:gd name="connsiteY12" fmla="*/ 236923 h 240000"/>
                <a:gd name="connsiteX13" fmla="*/ 16154 w 68461"/>
                <a:gd name="connsiteY13" fmla="*/ 240000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461" h="240000">
                  <a:moveTo>
                    <a:pt x="16154" y="240000"/>
                  </a:moveTo>
                  <a:cubicBezTo>
                    <a:pt x="16154" y="240000"/>
                    <a:pt x="16154" y="240000"/>
                    <a:pt x="16154" y="240000"/>
                  </a:cubicBezTo>
                  <a:cubicBezTo>
                    <a:pt x="13077" y="240000"/>
                    <a:pt x="10000" y="236923"/>
                    <a:pt x="10000" y="233846"/>
                  </a:cubicBezTo>
                  <a:cubicBezTo>
                    <a:pt x="16154" y="178462"/>
                    <a:pt x="43846" y="129231"/>
                    <a:pt x="56154" y="113846"/>
                  </a:cubicBezTo>
                  <a:cubicBezTo>
                    <a:pt x="43846" y="107692"/>
                    <a:pt x="19231" y="95385"/>
                    <a:pt x="6923" y="70769"/>
                  </a:cubicBezTo>
                  <a:cubicBezTo>
                    <a:pt x="-2308" y="52308"/>
                    <a:pt x="-2308" y="27692"/>
                    <a:pt x="6923" y="3077"/>
                  </a:cubicBezTo>
                  <a:cubicBezTo>
                    <a:pt x="6923" y="0"/>
                    <a:pt x="10000" y="0"/>
                    <a:pt x="13077" y="0"/>
                  </a:cubicBezTo>
                  <a:cubicBezTo>
                    <a:pt x="16154" y="0"/>
                    <a:pt x="16154" y="3077"/>
                    <a:pt x="16154" y="6154"/>
                  </a:cubicBezTo>
                  <a:cubicBezTo>
                    <a:pt x="6923" y="27692"/>
                    <a:pt x="10000" y="49231"/>
                    <a:pt x="16154" y="64615"/>
                  </a:cubicBezTo>
                  <a:cubicBezTo>
                    <a:pt x="31538" y="92308"/>
                    <a:pt x="65385" y="104615"/>
                    <a:pt x="65385" y="104615"/>
                  </a:cubicBezTo>
                  <a:cubicBezTo>
                    <a:pt x="68462" y="104615"/>
                    <a:pt x="68462" y="107692"/>
                    <a:pt x="68462" y="107692"/>
                  </a:cubicBezTo>
                  <a:cubicBezTo>
                    <a:pt x="68462" y="110769"/>
                    <a:pt x="68462" y="110769"/>
                    <a:pt x="68462" y="113846"/>
                  </a:cubicBezTo>
                  <a:cubicBezTo>
                    <a:pt x="68462" y="113846"/>
                    <a:pt x="25385" y="172308"/>
                    <a:pt x="19231" y="236923"/>
                  </a:cubicBezTo>
                  <a:cubicBezTo>
                    <a:pt x="22308" y="236923"/>
                    <a:pt x="19231" y="240000"/>
                    <a:pt x="16154" y="240000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2CB4A7A2-5DE5-4DA5-A6CA-06A71A407698}"/>
                </a:ext>
              </a:extLst>
            </p:cNvPr>
            <p:cNvSpPr/>
            <p:nvPr/>
          </p:nvSpPr>
          <p:spPr>
            <a:xfrm>
              <a:off x="-3764771" y="-1089204"/>
              <a:ext cx="116153" cy="36153"/>
            </a:xfrm>
            <a:custGeom>
              <a:avLst/>
              <a:gdLst>
                <a:gd name="connsiteX0" fmla="*/ 79231 w 116153"/>
                <a:gd name="connsiteY0" fmla="*/ 36154 h 36153"/>
                <a:gd name="connsiteX1" fmla="*/ 2308 w 116153"/>
                <a:gd name="connsiteY1" fmla="*/ 11538 h 36153"/>
                <a:gd name="connsiteX2" fmla="*/ 2308 w 116153"/>
                <a:gd name="connsiteY2" fmla="*/ 2308 h 36153"/>
                <a:gd name="connsiteX3" fmla="*/ 11539 w 116153"/>
                <a:gd name="connsiteY3" fmla="*/ 2308 h 36153"/>
                <a:gd name="connsiteX4" fmla="*/ 110000 w 116153"/>
                <a:gd name="connsiteY4" fmla="*/ 20769 h 36153"/>
                <a:gd name="connsiteX5" fmla="*/ 116154 w 116153"/>
                <a:gd name="connsiteY5" fmla="*/ 23846 h 36153"/>
                <a:gd name="connsiteX6" fmla="*/ 113077 w 116153"/>
                <a:gd name="connsiteY6" fmla="*/ 30000 h 36153"/>
                <a:gd name="connsiteX7" fmla="*/ 79231 w 116153"/>
                <a:gd name="connsiteY7" fmla="*/ 36154 h 3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153" h="36153">
                  <a:moveTo>
                    <a:pt x="79231" y="36154"/>
                  </a:moveTo>
                  <a:cubicBezTo>
                    <a:pt x="54615" y="36154"/>
                    <a:pt x="23846" y="30000"/>
                    <a:pt x="2308" y="11538"/>
                  </a:cubicBezTo>
                  <a:cubicBezTo>
                    <a:pt x="-769" y="8462"/>
                    <a:pt x="-769" y="5385"/>
                    <a:pt x="2308" y="2308"/>
                  </a:cubicBezTo>
                  <a:cubicBezTo>
                    <a:pt x="5385" y="-769"/>
                    <a:pt x="8462" y="-769"/>
                    <a:pt x="11539" y="2308"/>
                  </a:cubicBezTo>
                  <a:cubicBezTo>
                    <a:pt x="45385" y="36154"/>
                    <a:pt x="110000" y="20769"/>
                    <a:pt x="110000" y="20769"/>
                  </a:cubicBezTo>
                  <a:cubicBezTo>
                    <a:pt x="113077" y="20769"/>
                    <a:pt x="116154" y="20769"/>
                    <a:pt x="116154" y="23846"/>
                  </a:cubicBezTo>
                  <a:cubicBezTo>
                    <a:pt x="116154" y="26923"/>
                    <a:pt x="116154" y="30000"/>
                    <a:pt x="113077" y="30000"/>
                  </a:cubicBezTo>
                  <a:cubicBezTo>
                    <a:pt x="113077" y="33077"/>
                    <a:pt x="97692" y="36154"/>
                    <a:pt x="79231" y="36154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7657A60B-3AFE-42A7-8ADC-A91DCC8EEEF7}"/>
                </a:ext>
              </a:extLst>
            </p:cNvPr>
            <p:cNvSpPr/>
            <p:nvPr/>
          </p:nvSpPr>
          <p:spPr>
            <a:xfrm>
              <a:off x="-3812968" y="-1531813"/>
              <a:ext cx="262812" cy="84917"/>
            </a:xfrm>
            <a:custGeom>
              <a:avLst/>
              <a:gdLst>
                <a:gd name="connsiteX0" fmla="*/ 247428 w 262812"/>
                <a:gd name="connsiteY0" fmla="*/ 84917 h 84917"/>
                <a:gd name="connsiteX1" fmla="*/ 247428 w 262812"/>
                <a:gd name="connsiteY1" fmla="*/ 84917 h 84917"/>
                <a:gd name="connsiteX2" fmla="*/ 192044 w 262812"/>
                <a:gd name="connsiteY2" fmla="*/ 60302 h 84917"/>
                <a:gd name="connsiteX3" fmla="*/ 182813 w 262812"/>
                <a:gd name="connsiteY3" fmla="*/ 51071 h 84917"/>
                <a:gd name="connsiteX4" fmla="*/ 152044 w 262812"/>
                <a:gd name="connsiteY4" fmla="*/ 32609 h 84917"/>
                <a:gd name="connsiteX5" fmla="*/ 127428 w 262812"/>
                <a:gd name="connsiteY5" fmla="*/ 38763 h 84917"/>
                <a:gd name="connsiteX6" fmla="*/ 93582 w 262812"/>
                <a:gd name="connsiteY6" fmla="*/ 47994 h 84917"/>
                <a:gd name="connsiteX7" fmla="*/ 65890 w 262812"/>
                <a:gd name="connsiteY7" fmla="*/ 29533 h 84917"/>
                <a:gd name="connsiteX8" fmla="*/ 53582 w 262812"/>
                <a:gd name="connsiteY8" fmla="*/ 14148 h 84917"/>
                <a:gd name="connsiteX9" fmla="*/ 25890 w 262812"/>
                <a:gd name="connsiteY9" fmla="*/ 17225 h 84917"/>
                <a:gd name="connsiteX10" fmla="*/ 10505 w 262812"/>
                <a:gd name="connsiteY10" fmla="*/ 44917 h 84917"/>
                <a:gd name="connsiteX11" fmla="*/ 4351 w 262812"/>
                <a:gd name="connsiteY11" fmla="*/ 47994 h 84917"/>
                <a:gd name="connsiteX12" fmla="*/ 1274 w 262812"/>
                <a:gd name="connsiteY12" fmla="*/ 41840 h 84917"/>
                <a:gd name="connsiteX13" fmla="*/ 22813 w 262812"/>
                <a:gd name="connsiteY13" fmla="*/ 7994 h 84917"/>
                <a:gd name="connsiteX14" fmla="*/ 62813 w 262812"/>
                <a:gd name="connsiteY14" fmla="*/ 1840 h 84917"/>
                <a:gd name="connsiteX15" fmla="*/ 84351 w 262812"/>
                <a:gd name="connsiteY15" fmla="*/ 20302 h 84917"/>
                <a:gd name="connsiteX16" fmla="*/ 105890 w 262812"/>
                <a:gd name="connsiteY16" fmla="*/ 35686 h 84917"/>
                <a:gd name="connsiteX17" fmla="*/ 133582 w 262812"/>
                <a:gd name="connsiteY17" fmla="*/ 29533 h 84917"/>
                <a:gd name="connsiteX18" fmla="*/ 164352 w 262812"/>
                <a:gd name="connsiteY18" fmla="*/ 20302 h 84917"/>
                <a:gd name="connsiteX19" fmla="*/ 201275 w 262812"/>
                <a:gd name="connsiteY19" fmla="*/ 41840 h 84917"/>
                <a:gd name="connsiteX20" fmla="*/ 210505 w 262812"/>
                <a:gd name="connsiteY20" fmla="*/ 51071 h 84917"/>
                <a:gd name="connsiteX21" fmla="*/ 256659 w 262812"/>
                <a:gd name="connsiteY21" fmla="*/ 72609 h 84917"/>
                <a:gd name="connsiteX22" fmla="*/ 262813 w 262812"/>
                <a:gd name="connsiteY22" fmla="*/ 78763 h 84917"/>
                <a:gd name="connsiteX23" fmla="*/ 247428 w 262812"/>
                <a:gd name="connsiteY23" fmla="*/ 84917 h 84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2812" h="84917">
                  <a:moveTo>
                    <a:pt x="247428" y="84917"/>
                  </a:moveTo>
                  <a:cubicBezTo>
                    <a:pt x="247428" y="84917"/>
                    <a:pt x="247428" y="84917"/>
                    <a:pt x="247428" y="84917"/>
                  </a:cubicBezTo>
                  <a:cubicBezTo>
                    <a:pt x="225890" y="81840"/>
                    <a:pt x="207428" y="75686"/>
                    <a:pt x="192044" y="60302"/>
                  </a:cubicBezTo>
                  <a:cubicBezTo>
                    <a:pt x="188967" y="57225"/>
                    <a:pt x="185890" y="54148"/>
                    <a:pt x="182813" y="51071"/>
                  </a:cubicBezTo>
                  <a:cubicBezTo>
                    <a:pt x="173582" y="41840"/>
                    <a:pt x="164352" y="32609"/>
                    <a:pt x="152044" y="32609"/>
                  </a:cubicBezTo>
                  <a:cubicBezTo>
                    <a:pt x="142813" y="32609"/>
                    <a:pt x="136659" y="35686"/>
                    <a:pt x="127428" y="38763"/>
                  </a:cubicBezTo>
                  <a:cubicBezTo>
                    <a:pt x="118198" y="44917"/>
                    <a:pt x="105890" y="47994"/>
                    <a:pt x="93582" y="47994"/>
                  </a:cubicBezTo>
                  <a:cubicBezTo>
                    <a:pt x="81274" y="44917"/>
                    <a:pt x="75121" y="35686"/>
                    <a:pt x="65890" y="29533"/>
                  </a:cubicBezTo>
                  <a:cubicBezTo>
                    <a:pt x="62813" y="23379"/>
                    <a:pt x="59736" y="17225"/>
                    <a:pt x="53582" y="14148"/>
                  </a:cubicBezTo>
                  <a:cubicBezTo>
                    <a:pt x="44351" y="11071"/>
                    <a:pt x="35121" y="11071"/>
                    <a:pt x="25890" y="17225"/>
                  </a:cubicBezTo>
                  <a:cubicBezTo>
                    <a:pt x="16659" y="23379"/>
                    <a:pt x="13582" y="32609"/>
                    <a:pt x="10505" y="44917"/>
                  </a:cubicBezTo>
                  <a:cubicBezTo>
                    <a:pt x="10505" y="47994"/>
                    <a:pt x="7428" y="51071"/>
                    <a:pt x="4351" y="47994"/>
                  </a:cubicBezTo>
                  <a:cubicBezTo>
                    <a:pt x="1274" y="47994"/>
                    <a:pt x="-1802" y="44917"/>
                    <a:pt x="1274" y="41840"/>
                  </a:cubicBezTo>
                  <a:cubicBezTo>
                    <a:pt x="4351" y="29533"/>
                    <a:pt x="10505" y="17225"/>
                    <a:pt x="22813" y="7994"/>
                  </a:cubicBezTo>
                  <a:cubicBezTo>
                    <a:pt x="35121" y="-1237"/>
                    <a:pt x="50505" y="-1237"/>
                    <a:pt x="62813" y="1840"/>
                  </a:cubicBezTo>
                  <a:cubicBezTo>
                    <a:pt x="72044" y="4917"/>
                    <a:pt x="78198" y="14148"/>
                    <a:pt x="84351" y="20302"/>
                  </a:cubicBezTo>
                  <a:cubicBezTo>
                    <a:pt x="90505" y="26456"/>
                    <a:pt x="96659" y="32609"/>
                    <a:pt x="105890" y="35686"/>
                  </a:cubicBezTo>
                  <a:cubicBezTo>
                    <a:pt x="115121" y="38763"/>
                    <a:pt x="124351" y="32609"/>
                    <a:pt x="133582" y="29533"/>
                  </a:cubicBezTo>
                  <a:cubicBezTo>
                    <a:pt x="142813" y="23379"/>
                    <a:pt x="152044" y="20302"/>
                    <a:pt x="164352" y="20302"/>
                  </a:cubicBezTo>
                  <a:cubicBezTo>
                    <a:pt x="179736" y="20302"/>
                    <a:pt x="192044" y="32609"/>
                    <a:pt x="201275" y="41840"/>
                  </a:cubicBezTo>
                  <a:cubicBezTo>
                    <a:pt x="204351" y="44917"/>
                    <a:pt x="207428" y="47994"/>
                    <a:pt x="210505" y="51071"/>
                  </a:cubicBezTo>
                  <a:cubicBezTo>
                    <a:pt x="222813" y="63379"/>
                    <a:pt x="241275" y="69533"/>
                    <a:pt x="256659" y="72609"/>
                  </a:cubicBezTo>
                  <a:cubicBezTo>
                    <a:pt x="259736" y="72609"/>
                    <a:pt x="262813" y="75686"/>
                    <a:pt x="262813" y="78763"/>
                  </a:cubicBezTo>
                  <a:cubicBezTo>
                    <a:pt x="253582" y="81840"/>
                    <a:pt x="250505" y="84917"/>
                    <a:pt x="247428" y="84917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B329D738-CF13-4B90-8E72-848E2A333BC3}"/>
                </a:ext>
              </a:extLst>
            </p:cNvPr>
            <p:cNvSpPr/>
            <p:nvPr/>
          </p:nvSpPr>
          <p:spPr>
            <a:xfrm>
              <a:off x="-3826309" y="-1620881"/>
              <a:ext cx="291538" cy="87831"/>
            </a:xfrm>
            <a:custGeom>
              <a:avLst/>
              <a:gdLst>
                <a:gd name="connsiteX0" fmla="*/ 285385 w 291538"/>
                <a:gd name="connsiteY0" fmla="*/ 87831 h 87831"/>
                <a:gd name="connsiteX1" fmla="*/ 279231 w 291538"/>
                <a:gd name="connsiteY1" fmla="*/ 81677 h 87831"/>
                <a:gd name="connsiteX2" fmla="*/ 266923 w 291538"/>
                <a:gd name="connsiteY2" fmla="*/ 63216 h 87831"/>
                <a:gd name="connsiteX3" fmla="*/ 217692 w 291538"/>
                <a:gd name="connsiteY3" fmla="*/ 53985 h 87831"/>
                <a:gd name="connsiteX4" fmla="*/ 168462 w 291538"/>
                <a:gd name="connsiteY4" fmla="*/ 32446 h 87831"/>
                <a:gd name="connsiteX5" fmla="*/ 143846 w 291538"/>
                <a:gd name="connsiteY5" fmla="*/ 17062 h 87831"/>
                <a:gd name="connsiteX6" fmla="*/ 97692 w 291538"/>
                <a:gd name="connsiteY6" fmla="*/ 29369 h 87831"/>
                <a:gd name="connsiteX7" fmla="*/ 57692 w 291538"/>
                <a:gd name="connsiteY7" fmla="*/ 35523 h 87831"/>
                <a:gd name="connsiteX8" fmla="*/ 11539 w 291538"/>
                <a:gd name="connsiteY8" fmla="*/ 50908 h 87831"/>
                <a:gd name="connsiteX9" fmla="*/ 2308 w 291538"/>
                <a:gd name="connsiteY9" fmla="*/ 50908 h 87831"/>
                <a:gd name="connsiteX10" fmla="*/ 2308 w 291538"/>
                <a:gd name="connsiteY10" fmla="*/ 41677 h 87831"/>
                <a:gd name="connsiteX11" fmla="*/ 63846 w 291538"/>
                <a:gd name="connsiteY11" fmla="*/ 20139 h 87831"/>
                <a:gd name="connsiteX12" fmla="*/ 91538 w 291538"/>
                <a:gd name="connsiteY12" fmla="*/ 13985 h 87831"/>
                <a:gd name="connsiteX13" fmla="*/ 146923 w 291538"/>
                <a:gd name="connsiteY13" fmla="*/ 1677 h 87831"/>
                <a:gd name="connsiteX14" fmla="*/ 174615 w 291538"/>
                <a:gd name="connsiteY14" fmla="*/ 17062 h 87831"/>
                <a:gd name="connsiteX15" fmla="*/ 214615 w 291538"/>
                <a:gd name="connsiteY15" fmla="*/ 35523 h 87831"/>
                <a:gd name="connsiteX16" fmla="*/ 276154 w 291538"/>
                <a:gd name="connsiteY16" fmla="*/ 50908 h 87831"/>
                <a:gd name="connsiteX17" fmla="*/ 291539 w 291538"/>
                <a:gd name="connsiteY17" fmla="*/ 81677 h 87831"/>
                <a:gd name="connsiteX18" fmla="*/ 285385 w 291538"/>
                <a:gd name="connsiteY18" fmla="*/ 87831 h 87831"/>
                <a:gd name="connsiteX19" fmla="*/ 285385 w 291538"/>
                <a:gd name="connsiteY19" fmla="*/ 87831 h 87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1538" h="87831">
                  <a:moveTo>
                    <a:pt x="285385" y="87831"/>
                  </a:moveTo>
                  <a:cubicBezTo>
                    <a:pt x="282308" y="87831"/>
                    <a:pt x="279231" y="84754"/>
                    <a:pt x="279231" y="81677"/>
                  </a:cubicBezTo>
                  <a:cubicBezTo>
                    <a:pt x="279231" y="72446"/>
                    <a:pt x="276154" y="66293"/>
                    <a:pt x="266923" y="63216"/>
                  </a:cubicBezTo>
                  <a:cubicBezTo>
                    <a:pt x="254616" y="53985"/>
                    <a:pt x="230000" y="50908"/>
                    <a:pt x="217692" y="53985"/>
                  </a:cubicBezTo>
                  <a:cubicBezTo>
                    <a:pt x="202308" y="57062"/>
                    <a:pt x="183846" y="44754"/>
                    <a:pt x="168462" y="32446"/>
                  </a:cubicBezTo>
                  <a:cubicBezTo>
                    <a:pt x="159231" y="26293"/>
                    <a:pt x="150000" y="20139"/>
                    <a:pt x="143846" y="17062"/>
                  </a:cubicBezTo>
                  <a:cubicBezTo>
                    <a:pt x="122308" y="13985"/>
                    <a:pt x="110000" y="20139"/>
                    <a:pt x="97692" y="29369"/>
                  </a:cubicBezTo>
                  <a:cubicBezTo>
                    <a:pt x="85385" y="35523"/>
                    <a:pt x="73077" y="44754"/>
                    <a:pt x="57692" y="35523"/>
                  </a:cubicBezTo>
                  <a:cubicBezTo>
                    <a:pt x="36154" y="23216"/>
                    <a:pt x="11539" y="50908"/>
                    <a:pt x="11539" y="50908"/>
                  </a:cubicBezTo>
                  <a:cubicBezTo>
                    <a:pt x="8462" y="53985"/>
                    <a:pt x="5385" y="53985"/>
                    <a:pt x="2308" y="50908"/>
                  </a:cubicBezTo>
                  <a:cubicBezTo>
                    <a:pt x="-769" y="47831"/>
                    <a:pt x="-769" y="44754"/>
                    <a:pt x="2308" y="41677"/>
                  </a:cubicBezTo>
                  <a:cubicBezTo>
                    <a:pt x="2308" y="41677"/>
                    <a:pt x="33077" y="4754"/>
                    <a:pt x="63846" y="20139"/>
                  </a:cubicBezTo>
                  <a:cubicBezTo>
                    <a:pt x="73077" y="26293"/>
                    <a:pt x="79231" y="20139"/>
                    <a:pt x="91538" y="13985"/>
                  </a:cubicBezTo>
                  <a:cubicBezTo>
                    <a:pt x="103846" y="7831"/>
                    <a:pt x="119231" y="-4477"/>
                    <a:pt x="146923" y="1677"/>
                  </a:cubicBezTo>
                  <a:cubicBezTo>
                    <a:pt x="156154" y="1677"/>
                    <a:pt x="165385" y="10908"/>
                    <a:pt x="174615" y="17062"/>
                  </a:cubicBezTo>
                  <a:cubicBezTo>
                    <a:pt x="186923" y="26293"/>
                    <a:pt x="205385" y="38600"/>
                    <a:pt x="214615" y="35523"/>
                  </a:cubicBezTo>
                  <a:cubicBezTo>
                    <a:pt x="230000" y="32446"/>
                    <a:pt x="257692" y="35523"/>
                    <a:pt x="276154" y="50908"/>
                  </a:cubicBezTo>
                  <a:cubicBezTo>
                    <a:pt x="285385" y="63216"/>
                    <a:pt x="291539" y="72446"/>
                    <a:pt x="291539" y="81677"/>
                  </a:cubicBezTo>
                  <a:cubicBezTo>
                    <a:pt x="291539" y="84754"/>
                    <a:pt x="288462" y="87831"/>
                    <a:pt x="285385" y="87831"/>
                  </a:cubicBezTo>
                  <a:lnTo>
                    <a:pt x="285385" y="87831"/>
                  </a:ln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8" name="图形 1">
              <a:extLst>
                <a:ext uri="{FF2B5EF4-FFF2-40B4-BE49-F238E27FC236}">
                  <a16:creationId xmlns:a16="http://schemas.microsoft.com/office/drawing/2014/main" id="{D590B8EA-BDAC-4178-8A02-4A040C1453FA}"/>
                </a:ext>
              </a:extLst>
            </p:cNvPr>
            <p:cNvGrpSpPr/>
            <p:nvPr/>
          </p:nvGrpSpPr>
          <p:grpSpPr>
            <a:xfrm>
              <a:off x="-4802649" y="2503872"/>
              <a:ext cx="436988" cy="558162"/>
              <a:chOff x="-4802649" y="2503872"/>
              <a:chExt cx="436988" cy="558162"/>
            </a:xfrm>
          </p:grpSpPr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878B2A66-6F5C-4515-B3C8-2B4961F38A80}"/>
                  </a:ext>
                </a:extLst>
              </p:cNvPr>
              <p:cNvSpPr/>
              <p:nvPr/>
            </p:nvSpPr>
            <p:spPr>
              <a:xfrm>
                <a:off x="-4713232" y="2503872"/>
                <a:ext cx="267692" cy="258461"/>
              </a:xfrm>
              <a:custGeom>
                <a:avLst/>
                <a:gdLst>
                  <a:gd name="connsiteX0" fmla="*/ 12308 w 267692"/>
                  <a:gd name="connsiteY0" fmla="*/ 156923 h 258461"/>
                  <a:gd name="connsiteX1" fmla="*/ 113846 w 267692"/>
                  <a:gd name="connsiteY1" fmla="*/ 0 h 258461"/>
                  <a:gd name="connsiteX2" fmla="*/ 267692 w 267692"/>
                  <a:gd name="connsiteY2" fmla="*/ 104616 h 258461"/>
                  <a:gd name="connsiteX3" fmla="*/ 141538 w 267692"/>
                  <a:gd name="connsiteY3" fmla="*/ 258462 h 258461"/>
                  <a:gd name="connsiteX4" fmla="*/ 0 w 267692"/>
                  <a:gd name="connsiteY4" fmla="*/ 196923 h 25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7692" h="258461">
                    <a:moveTo>
                      <a:pt x="12308" y="156923"/>
                    </a:moveTo>
                    <a:lnTo>
                      <a:pt x="113846" y="0"/>
                    </a:lnTo>
                    <a:lnTo>
                      <a:pt x="267692" y="104616"/>
                    </a:lnTo>
                    <a:lnTo>
                      <a:pt x="141538" y="258462"/>
                    </a:lnTo>
                    <a:lnTo>
                      <a:pt x="0" y="196923"/>
                    </a:ln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036EF140-5ADD-4966-BC94-4488B3DC35DC}"/>
                  </a:ext>
                </a:extLst>
              </p:cNvPr>
              <p:cNvSpPr/>
              <p:nvPr/>
            </p:nvSpPr>
            <p:spPr>
              <a:xfrm>
                <a:off x="-4777848" y="2651565"/>
                <a:ext cx="412187" cy="375384"/>
              </a:xfrm>
              <a:custGeom>
                <a:avLst/>
                <a:gdLst>
                  <a:gd name="connsiteX0" fmla="*/ 64615 w 412187"/>
                  <a:gd name="connsiteY0" fmla="*/ 0 h 375384"/>
                  <a:gd name="connsiteX1" fmla="*/ 246154 w 412187"/>
                  <a:gd name="connsiteY1" fmla="*/ 67692 h 375384"/>
                  <a:gd name="connsiteX2" fmla="*/ 310769 w 412187"/>
                  <a:gd name="connsiteY2" fmla="*/ 212308 h 375384"/>
                  <a:gd name="connsiteX3" fmla="*/ 406154 w 412187"/>
                  <a:gd name="connsiteY3" fmla="*/ 375385 h 375384"/>
                  <a:gd name="connsiteX4" fmla="*/ 0 w 412187"/>
                  <a:gd name="connsiteY4" fmla="*/ 95385 h 375384"/>
                  <a:gd name="connsiteX5" fmla="*/ 64615 w 412187"/>
                  <a:gd name="connsiteY5" fmla="*/ 0 h 37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2187" h="375384">
                    <a:moveTo>
                      <a:pt x="64615" y="0"/>
                    </a:moveTo>
                    <a:cubicBezTo>
                      <a:pt x="64615" y="0"/>
                      <a:pt x="156923" y="86154"/>
                      <a:pt x="246154" y="67692"/>
                    </a:cubicBezTo>
                    <a:cubicBezTo>
                      <a:pt x="246154" y="67692"/>
                      <a:pt x="276923" y="178462"/>
                      <a:pt x="310769" y="212308"/>
                    </a:cubicBezTo>
                    <a:cubicBezTo>
                      <a:pt x="341539" y="246154"/>
                      <a:pt x="436923" y="307692"/>
                      <a:pt x="406154" y="375385"/>
                    </a:cubicBezTo>
                    <a:lnTo>
                      <a:pt x="0" y="95385"/>
                    </a:lnTo>
                    <a:cubicBezTo>
                      <a:pt x="0" y="95385"/>
                      <a:pt x="21538" y="33846"/>
                      <a:pt x="64615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3B013F0F-411D-4D81-834C-D015177A11BF}"/>
                  </a:ext>
                </a:extLst>
              </p:cNvPr>
              <p:cNvSpPr/>
              <p:nvPr/>
            </p:nvSpPr>
            <p:spPr>
              <a:xfrm rot="-3319291">
                <a:off x="-4610159" y="2656828"/>
                <a:ext cx="46156" cy="492332"/>
              </a:xfrm>
              <a:custGeom>
                <a:avLst/>
                <a:gdLst>
                  <a:gd name="connsiteX0" fmla="*/ 0 w 46156"/>
                  <a:gd name="connsiteY0" fmla="*/ 0 h 492332"/>
                  <a:gd name="connsiteX1" fmla="*/ 46156 w 46156"/>
                  <a:gd name="connsiteY1" fmla="*/ 0 h 492332"/>
                  <a:gd name="connsiteX2" fmla="*/ 46156 w 46156"/>
                  <a:gd name="connsiteY2" fmla="*/ 492333 h 492332"/>
                  <a:gd name="connsiteX3" fmla="*/ 0 w 46156"/>
                  <a:gd name="connsiteY3" fmla="*/ 492333 h 492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156" h="492332">
                    <a:moveTo>
                      <a:pt x="0" y="0"/>
                    </a:moveTo>
                    <a:lnTo>
                      <a:pt x="46156" y="0"/>
                    </a:lnTo>
                    <a:lnTo>
                      <a:pt x="46156" y="492333"/>
                    </a:lnTo>
                    <a:lnTo>
                      <a:pt x="0" y="492333"/>
                    </a:lnTo>
                    <a:close/>
                  </a:path>
                </a:pathLst>
              </a:custGeom>
              <a:solidFill>
                <a:srgbClr val="38333D"/>
              </a:solidFill>
              <a:ln w="307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9486E478-CB83-48D4-BA33-A82678DCAFF8}"/>
                  </a:ext>
                </a:extLst>
              </p:cNvPr>
              <p:cNvSpPr/>
              <p:nvPr/>
            </p:nvSpPr>
            <p:spPr>
              <a:xfrm>
                <a:off x="-4718617" y="2646180"/>
                <a:ext cx="193076" cy="82307"/>
              </a:xfrm>
              <a:custGeom>
                <a:avLst/>
                <a:gdLst>
                  <a:gd name="connsiteX0" fmla="*/ 168462 w 193076"/>
                  <a:gd name="connsiteY0" fmla="*/ 82308 h 82307"/>
                  <a:gd name="connsiteX1" fmla="*/ 2308 w 193076"/>
                  <a:gd name="connsiteY1" fmla="*/ 11538 h 82307"/>
                  <a:gd name="connsiteX2" fmla="*/ 2308 w 193076"/>
                  <a:gd name="connsiteY2" fmla="*/ 2308 h 82307"/>
                  <a:gd name="connsiteX3" fmla="*/ 11539 w 193076"/>
                  <a:gd name="connsiteY3" fmla="*/ 2308 h 82307"/>
                  <a:gd name="connsiteX4" fmla="*/ 186923 w 193076"/>
                  <a:gd name="connsiteY4" fmla="*/ 70000 h 82307"/>
                  <a:gd name="connsiteX5" fmla="*/ 193077 w 193076"/>
                  <a:gd name="connsiteY5" fmla="*/ 76154 h 82307"/>
                  <a:gd name="connsiteX6" fmla="*/ 186923 w 193076"/>
                  <a:gd name="connsiteY6" fmla="*/ 82308 h 82307"/>
                  <a:gd name="connsiteX7" fmla="*/ 168462 w 193076"/>
                  <a:gd name="connsiteY7" fmla="*/ 82308 h 8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3076" h="82307">
                    <a:moveTo>
                      <a:pt x="168462" y="82308"/>
                    </a:moveTo>
                    <a:cubicBezTo>
                      <a:pt x="79231" y="82308"/>
                      <a:pt x="5385" y="14615"/>
                      <a:pt x="2308" y="11538"/>
                    </a:cubicBezTo>
                    <a:cubicBezTo>
                      <a:pt x="-769" y="8462"/>
                      <a:pt x="-769" y="5384"/>
                      <a:pt x="2308" y="2308"/>
                    </a:cubicBezTo>
                    <a:cubicBezTo>
                      <a:pt x="5385" y="-769"/>
                      <a:pt x="8462" y="-769"/>
                      <a:pt x="11539" y="2308"/>
                    </a:cubicBezTo>
                    <a:cubicBezTo>
                      <a:pt x="11539" y="2308"/>
                      <a:pt x="94615" y="79231"/>
                      <a:pt x="186923" y="70000"/>
                    </a:cubicBezTo>
                    <a:cubicBezTo>
                      <a:pt x="190000" y="70000"/>
                      <a:pt x="193077" y="73077"/>
                      <a:pt x="193077" y="76154"/>
                    </a:cubicBezTo>
                    <a:cubicBezTo>
                      <a:pt x="193077" y="79231"/>
                      <a:pt x="190000" y="82308"/>
                      <a:pt x="186923" y="82308"/>
                    </a:cubicBezTo>
                    <a:cubicBezTo>
                      <a:pt x="180769" y="82308"/>
                      <a:pt x="174615" y="82308"/>
                      <a:pt x="168462" y="8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0EDC5AEA-1E7D-4A1E-9B94-6D135C518635}"/>
                  </a:ext>
                </a:extLst>
              </p:cNvPr>
              <p:cNvSpPr/>
              <p:nvPr/>
            </p:nvSpPr>
            <p:spPr>
              <a:xfrm>
                <a:off x="-4559386" y="2762334"/>
                <a:ext cx="46153" cy="15384"/>
              </a:xfrm>
              <a:custGeom>
                <a:avLst/>
                <a:gdLst>
                  <a:gd name="connsiteX0" fmla="*/ 6154 w 46153"/>
                  <a:gd name="connsiteY0" fmla="*/ 15385 h 15384"/>
                  <a:gd name="connsiteX1" fmla="*/ 0 w 46153"/>
                  <a:gd name="connsiteY1" fmla="*/ 12308 h 15384"/>
                  <a:gd name="connsiteX2" fmla="*/ 3077 w 46153"/>
                  <a:gd name="connsiteY2" fmla="*/ 6154 h 15384"/>
                  <a:gd name="connsiteX3" fmla="*/ 40000 w 46153"/>
                  <a:gd name="connsiteY3" fmla="*/ 0 h 15384"/>
                  <a:gd name="connsiteX4" fmla="*/ 46154 w 46153"/>
                  <a:gd name="connsiteY4" fmla="*/ 3077 h 15384"/>
                  <a:gd name="connsiteX5" fmla="*/ 43077 w 46153"/>
                  <a:gd name="connsiteY5" fmla="*/ 9231 h 15384"/>
                  <a:gd name="connsiteX6" fmla="*/ 6154 w 46153"/>
                  <a:gd name="connsiteY6" fmla="*/ 15385 h 15384"/>
                  <a:gd name="connsiteX7" fmla="*/ 6154 w 46153"/>
                  <a:gd name="connsiteY7" fmla="*/ 15385 h 1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153" h="15384">
                    <a:moveTo>
                      <a:pt x="6154" y="15385"/>
                    </a:moveTo>
                    <a:cubicBezTo>
                      <a:pt x="3077" y="15385"/>
                      <a:pt x="0" y="12308"/>
                      <a:pt x="0" y="12308"/>
                    </a:cubicBezTo>
                    <a:cubicBezTo>
                      <a:pt x="0" y="9231"/>
                      <a:pt x="0" y="6154"/>
                      <a:pt x="3077" y="6154"/>
                    </a:cubicBezTo>
                    <a:lnTo>
                      <a:pt x="40000" y="0"/>
                    </a:lnTo>
                    <a:cubicBezTo>
                      <a:pt x="43077" y="0"/>
                      <a:pt x="46154" y="0"/>
                      <a:pt x="46154" y="3077"/>
                    </a:cubicBezTo>
                    <a:cubicBezTo>
                      <a:pt x="46154" y="6154"/>
                      <a:pt x="46154" y="9231"/>
                      <a:pt x="43077" y="9231"/>
                    </a:cubicBezTo>
                    <a:lnTo>
                      <a:pt x="6154" y="15385"/>
                    </a:lnTo>
                    <a:cubicBezTo>
                      <a:pt x="6154" y="15385"/>
                      <a:pt x="6154" y="15385"/>
                      <a:pt x="6154" y="1538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5B976937-F698-4F80-B2B5-F0CFEA7B039E}"/>
                  </a:ext>
                </a:extLst>
              </p:cNvPr>
              <p:cNvSpPr/>
              <p:nvPr/>
            </p:nvSpPr>
            <p:spPr>
              <a:xfrm>
                <a:off x="-4544001" y="2805411"/>
                <a:ext cx="46153" cy="15384"/>
              </a:xfrm>
              <a:custGeom>
                <a:avLst/>
                <a:gdLst>
                  <a:gd name="connsiteX0" fmla="*/ 6154 w 46153"/>
                  <a:gd name="connsiteY0" fmla="*/ 15385 h 15384"/>
                  <a:gd name="connsiteX1" fmla="*/ 0 w 46153"/>
                  <a:gd name="connsiteY1" fmla="*/ 12308 h 15384"/>
                  <a:gd name="connsiteX2" fmla="*/ 3077 w 46153"/>
                  <a:gd name="connsiteY2" fmla="*/ 6154 h 15384"/>
                  <a:gd name="connsiteX3" fmla="*/ 40000 w 46153"/>
                  <a:gd name="connsiteY3" fmla="*/ 0 h 15384"/>
                  <a:gd name="connsiteX4" fmla="*/ 46154 w 46153"/>
                  <a:gd name="connsiteY4" fmla="*/ 3077 h 15384"/>
                  <a:gd name="connsiteX5" fmla="*/ 43077 w 46153"/>
                  <a:gd name="connsiteY5" fmla="*/ 9231 h 15384"/>
                  <a:gd name="connsiteX6" fmla="*/ 6154 w 46153"/>
                  <a:gd name="connsiteY6" fmla="*/ 15385 h 15384"/>
                  <a:gd name="connsiteX7" fmla="*/ 6154 w 46153"/>
                  <a:gd name="connsiteY7" fmla="*/ 15385 h 1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153" h="15384">
                    <a:moveTo>
                      <a:pt x="6154" y="15385"/>
                    </a:moveTo>
                    <a:cubicBezTo>
                      <a:pt x="3077" y="15385"/>
                      <a:pt x="0" y="12308"/>
                      <a:pt x="0" y="12308"/>
                    </a:cubicBezTo>
                    <a:cubicBezTo>
                      <a:pt x="0" y="9231"/>
                      <a:pt x="0" y="6154"/>
                      <a:pt x="3077" y="6154"/>
                    </a:cubicBezTo>
                    <a:lnTo>
                      <a:pt x="40000" y="0"/>
                    </a:lnTo>
                    <a:cubicBezTo>
                      <a:pt x="43077" y="0"/>
                      <a:pt x="46154" y="0"/>
                      <a:pt x="46154" y="3077"/>
                    </a:cubicBezTo>
                    <a:cubicBezTo>
                      <a:pt x="46154" y="6154"/>
                      <a:pt x="46154" y="9231"/>
                      <a:pt x="43077" y="9231"/>
                    </a:cubicBezTo>
                    <a:lnTo>
                      <a:pt x="6154" y="15385"/>
                    </a:lnTo>
                    <a:cubicBezTo>
                      <a:pt x="6154" y="15385"/>
                      <a:pt x="6154" y="15385"/>
                      <a:pt x="6154" y="1538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9" name="图形 1">
              <a:extLst>
                <a:ext uri="{FF2B5EF4-FFF2-40B4-BE49-F238E27FC236}">
                  <a16:creationId xmlns:a16="http://schemas.microsoft.com/office/drawing/2014/main" id="{1ECC717C-C5BD-4176-B43C-DAF7070A83D1}"/>
                </a:ext>
              </a:extLst>
            </p:cNvPr>
            <p:cNvGrpSpPr/>
            <p:nvPr/>
          </p:nvGrpSpPr>
          <p:grpSpPr>
            <a:xfrm>
              <a:off x="-3561437" y="2854642"/>
              <a:ext cx="500512" cy="347692"/>
              <a:chOff x="-3561437" y="2854642"/>
              <a:chExt cx="500512" cy="347692"/>
            </a:xfrm>
          </p:grpSpPr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7FD31393-1C5D-4DF9-AF85-0566FB244EC9}"/>
                  </a:ext>
                </a:extLst>
              </p:cNvPr>
              <p:cNvSpPr/>
              <p:nvPr/>
            </p:nvSpPr>
            <p:spPr>
              <a:xfrm>
                <a:off x="-3540924" y="2854642"/>
                <a:ext cx="181538" cy="227692"/>
              </a:xfrm>
              <a:custGeom>
                <a:avLst/>
                <a:gdLst>
                  <a:gd name="connsiteX0" fmla="*/ 3077 w 181538"/>
                  <a:gd name="connsiteY0" fmla="*/ 187692 h 227692"/>
                  <a:gd name="connsiteX1" fmla="*/ 0 w 181538"/>
                  <a:gd name="connsiteY1" fmla="*/ 0 h 227692"/>
                  <a:gd name="connsiteX2" fmla="*/ 181538 w 181538"/>
                  <a:gd name="connsiteY2" fmla="*/ 0 h 227692"/>
                  <a:gd name="connsiteX3" fmla="*/ 169231 w 181538"/>
                  <a:gd name="connsiteY3" fmla="*/ 196923 h 227692"/>
                  <a:gd name="connsiteX4" fmla="*/ 15385 w 181538"/>
                  <a:gd name="connsiteY4" fmla="*/ 227692 h 227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538" h="227692">
                    <a:moveTo>
                      <a:pt x="3077" y="187692"/>
                    </a:moveTo>
                    <a:lnTo>
                      <a:pt x="0" y="0"/>
                    </a:lnTo>
                    <a:lnTo>
                      <a:pt x="181538" y="0"/>
                    </a:lnTo>
                    <a:lnTo>
                      <a:pt x="169231" y="196923"/>
                    </a:lnTo>
                    <a:lnTo>
                      <a:pt x="15385" y="227692"/>
                    </a:ln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5BA44625-8BB6-42E3-8A03-4DF3DE55DF97}"/>
                  </a:ext>
                </a:extLst>
              </p:cNvPr>
              <p:cNvSpPr/>
              <p:nvPr/>
            </p:nvSpPr>
            <p:spPr>
              <a:xfrm>
                <a:off x="-3561437" y="2996180"/>
                <a:ext cx="500512" cy="160000"/>
              </a:xfrm>
              <a:custGeom>
                <a:avLst/>
                <a:gdLst>
                  <a:gd name="connsiteX0" fmla="*/ 8205 w 500512"/>
                  <a:gd name="connsiteY0" fmla="*/ 46154 h 160000"/>
                  <a:gd name="connsiteX1" fmla="*/ 195897 w 500512"/>
                  <a:gd name="connsiteY1" fmla="*/ 0 h 160000"/>
                  <a:gd name="connsiteX2" fmla="*/ 331282 w 500512"/>
                  <a:gd name="connsiteY2" fmla="*/ 80000 h 160000"/>
                  <a:gd name="connsiteX3" fmla="*/ 500513 w 500512"/>
                  <a:gd name="connsiteY3" fmla="*/ 160000 h 160000"/>
                  <a:gd name="connsiteX4" fmla="*/ 8205 w 500512"/>
                  <a:gd name="connsiteY4" fmla="*/ 160000 h 160000"/>
                  <a:gd name="connsiteX5" fmla="*/ 8205 w 500512"/>
                  <a:gd name="connsiteY5" fmla="*/ 46154 h 1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512" h="160000">
                    <a:moveTo>
                      <a:pt x="8205" y="46154"/>
                    </a:moveTo>
                    <a:cubicBezTo>
                      <a:pt x="8205" y="46154"/>
                      <a:pt x="134359" y="64616"/>
                      <a:pt x="195897" y="0"/>
                    </a:cubicBezTo>
                    <a:cubicBezTo>
                      <a:pt x="195897" y="0"/>
                      <a:pt x="285128" y="70769"/>
                      <a:pt x="331282" y="80000"/>
                    </a:cubicBezTo>
                    <a:cubicBezTo>
                      <a:pt x="377436" y="89231"/>
                      <a:pt x="488205" y="86154"/>
                      <a:pt x="500513" y="160000"/>
                    </a:cubicBezTo>
                    <a:lnTo>
                      <a:pt x="8205" y="160000"/>
                    </a:lnTo>
                    <a:cubicBezTo>
                      <a:pt x="8205" y="160000"/>
                      <a:pt x="-10256" y="95385"/>
                      <a:pt x="8205" y="4615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4CA08C4A-6E6C-49BD-AE0D-69B81433FA5B}"/>
                  </a:ext>
                </a:extLst>
              </p:cNvPr>
              <p:cNvSpPr/>
              <p:nvPr/>
            </p:nvSpPr>
            <p:spPr>
              <a:xfrm>
                <a:off x="-3553232" y="3156180"/>
                <a:ext cx="492307" cy="46153"/>
              </a:xfrm>
              <a:custGeom>
                <a:avLst/>
                <a:gdLst>
                  <a:gd name="connsiteX0" fmla="*/ 0 w 492307"/>
                  <a:gd name="connsiteY0" fmla="*/ 0 h 46153"/>
                  <a:gd name="connsiteX1" fmla="*/ 492308 w 492307"/>
                  <a:gd name="connsiteY1" fmla="*/ 0 h 46153"/>
                  <a:gd name="connsiteX2" fmla="*/ 492308 w 492307"/>
                  <a:gd name="connsiteY2" fmla="*/ 46154 h 46153"/>
                  <a:gd name="connsiteX3" fmla="*/ 0 w 492307"/>
                  <a:gd name="connsiteY3" fmla="*/ 46154 h 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307" h="46153">
                    <a:moveTo>
                      <a:pt x="0" y="0"/>
                    </a:moveTo>
                    <a:lnTo>
                      <a:pt x="492308" y="0"/>
                    </a:lnTo>
                    <a:lnTo>
                      <a:pt x="492308" y="46154"/>
                    </a:lnTo>
                    <a:lnTo>
                      <a:pt x="0" y="46154"/>
                    </a:ln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182851DD-3F34-40DC-BABB-4E45C3D7FA0A}"/>
                  </a:ext>
                </a:extLst>
              </p:cNvPr>
              <p:cNvSpPr/>
              <p:nvPr/>
            </p:nvSpPr>
            <p:spPr>
              <a:xfrm>
                <a:off x="-3559386" y="2984642"/>
                <a:ext cx="202307" cy="63846"/>
              </a:xfrm>
              <a:custGeom>
                <a:avLst/>
                <a:gdLst>
                  <a:gd name="connsiteX0" fmla="*/ 43077 w 202307"/>
                  <a:gd name="connsiteY0" fmla="*/ 63846 h 63846"/>
                  <a:gd name="connsiteX1" fmla="*/ 6154 w 202307"/>
                  <a:gd name="connsiteY1" fmla="*/ 60769 h 63846"/>
                  <a:gd name="connsiteX2" fmla="*/ 0 w 202307"/>
                  <a:gd name="connsiteY2" fmla="*/ 54615 h 63846"/>
                  <a:gd name="connsiteX3" fmla="*/ 6154 w 202307"/>
                  <a:gd name="connsiteY3" fmla="*/ 48462 h 63846"/>
                  <a:gd name="connsiteX4" fmla="*/ 190769 w 202307"/>
                  <a:gd name="connsiteY4" fmla="*/ 2308 h 63846"/>
                  <a:gd name="connsiteX5" fmla="*/ 200000 w 202307"/>
                  <a:gd name="connsiteY5" fmla="*/ 2308 h 63846"/>
                  <a:gd name="connsiteX6" fmla="*/ 200000 w 202307"/>
                  <a:gd name="connsiteY6" fmla="*/ 11538 h 63846"/>
                  <a:gd name="connsiteX7" fmla="*/ 43077 w 202307"/>
                  <a:gd name="connsiteY7" fmla="*/ 63846 h 6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307" h="63846">
                    <a:moveTo>
                      <a:pt x="43077" y="63846"/>
                    </a:moveTo>
                    <a:cubicBezTo>
                      <a:pt x="21539" y="63846"/>
                      <a:pt x="9231" y="60769"/>
                      <a:pt x="6154" y="60769"/>
                    </a:cubicBezTo>
                    <a:cubicBezTo>
                      <a:pt x="3077" y="60769"/>
                      <a:pt x="0" y="57692"/>
                      <a:pt x="0" y="54615"/>
                    </a:cubicBezTo>
                    <a:cubicBezTo>
                      <a:pt x="0" y="51538"/>
                      <a:pt x="3077" y="48462"/>
                      <a:pt x="6154" y="48462"/>
                    </a:cubicBezTo>
                    <a:cubicBezTo>
                      <a:pt x="6154" y="48462"/>
                      <a:pt x="120000" y="63846"/>
                      <a:pt x="190769" y="2308"/>
                    </a:cubicBezTo>
                    <a:cubicBezTo>
                      <a:pt x="193846" y="-769"/>
                      <a:pt x="196923" y="-769"/>
                      <a:pt x="200000" y="2308"/>
                    </a:cubicBezTo>
                    <a:cubicBezTo>
                      <a:pt x="203077" y="5384"/>
                      <a:pt x="203077" y="8462"/>
                      <a:pt x="200000" y="11538"/>
                    </a:cubicBezTo>
                    <a:cubicBezTo>
                      <a:pt x="150769" y="57692"/>
                      <a:pt x="83077" y="63846"/>
                      <a:pt x="43077" y="6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FA3E7541-D31A-4451-B405-2C3602B06EBC}"/>
                  </a:ext>
                </a:extLst>
              </p:cNvPr>
              <p:cNvSpPr/>
              <p:nvPr/>
            </p:nvSpPr>
            <p:spPr>
              <a:xfrm>
                <a:off x="-3358617" y="3012334"/>
                <a:ext cx="41538" cy="42307"/>
              </a:xfrm>
              <a:custGeom>
                <a:avLst/>
                <a:gdLst>
                  <a:gd name="connsiteX0" fmla="*/ 5385 w 41538"/>
                  <a:gd name="connsiteY0" fmla="*/ 42308 h 42307"/>
                  <a:gd name="connsiteX1" fmla="*/ 2308 w 41538"/>
                  <a:gd name="connsiteY1" fmla="*/ 39231 h 42307"/>
                  <a:gd name="connsiteX2" fmla="*/ 2308 w 41538"/>
                  <a:gd name="connsiteY2" fmla="*/ 30000 h 42307"/>
                  <a:gd name="connsiteX3" fmla="*/ 30000 w 41538"/>
                  <a:gd name="connsiteY3" fmla="*/ 2308 h 42307"/>
                  <a:gd name="connsiteX4" fmla="*/ 39231 w 41538"/>
                  <a:gd name="connsiteY4" fmla="*/ 2308 h 42307"/>
                  <a:gd name="connsiteX5" fmla="*/ 39231 w 41538"/>
                  <a:gd name="connsiteY5" fmla="*/ 11539 h 42307"/>
                  <a:gd name="connsiteX6" fmla="*/ 11538 w 41538"/>
                  <a:gd name="connsiteY6" fmla="*/ 39231 h 42307"/>
                  <a:gd name="connsiteX7" fmla="*/ 5385 w 41538"/>
                  <a:gd name="connsiteY7" fmla="*/ 42308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8" h="42307">
                    <a:moveTo>
                      <a:pt x="5385" y="42308"/>
                    </a:moveTo>
                    <a:cubicBezTo>
                      <a:pt x="5385" y="42308"/>
                      <a:pt x="2308" y="42308"/>
                      <a:pt x="2308" y="39231"/>
                    </a:cubicBezTo>
                    <a:cubicBezTo>
                      <a:pt x="-769" y="36154"/>
                      <a:pt x="-769" y="33077"/>
                      <a:pt x="2308" y="30000"/>
                    </a:cubicBezTo>
                    <a:lnTo>
                      <a:pt x="30000" y="2308"/>
                    </a:lnTo>
                    <a:cubicBezTo>
                      <a:pt x="33077" y="-769"/>
                      <a:pt x="36154" y="-769"/>
                      <a:pt x="39231" y="2308"/>
                    </a:cubicBezTo>
                    <a:cubicBezTo>
                      <a:pt x="42308" y="5385"/>
                      <a:pt x="42308" y="8462"/>
                      <a:pt x="39231" y="11539"/>
                    </a:cubicBezTo>
                    <a:lnTo>
                      <a:pt x="11538" y="39231"/>
                    </a:lnTo>
                    <a:cubicBezTo>
                      <a:pt x="8462" y="42308"/>
                      <a:pt x="5385" y="42308"/>
                      <a:pt x="5385" y="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2292986A-B2E1-493C-84AB-3D618650BBED}"/>
                  </a:ext>
                </a:extLst>
              </p:cNvPr>
              <p:cNvSpPr/>
              <p:nvPr/>
            </p:nvSpPr>
            <p:spPr>
              <a:xfrm>
                <a:off x="-3321693" y="3040026"/>
                <a:ext cx="38461" cy="42307"/>
              </a:xfrm>
              <a:custGeom>
                <a:avLst/>
                <a:gdLst>
                  <a:gd name="connsiteX0" fmla="*/ 5385 w 38461"/>
                  <a:gd name="connsiteY0" fmla="*/ 42308 h 42307"/>
                  <a:gd name="connsiteX1" fmla="*/ 2308 w 38461"/>
                  <a:gd name="connsiteY1" fmla="*/ 39231 h 42307"/>
                  <a:gd name="connsiteX2" fmla="*/ 2308 w 38461"/>
                  <a:gd name="connsiteY2" fmla="*/ 30000 h 42307"/>
                  <a:gd name="connsiteX3" fmla="*/ 26923 w 38461"/>
                  <a:gd name="connsiteY3" fmla="*/ 2307 h 42307"/>
                  <a:gd name="connsiteX4" fmla="*/ 36154 w 38461"/>
                  <a:gd name="connsiteY4" fmla="*/ 2307 h 42307"/>
                  <a:gd name="connsiteX5" fmla="*/ 36154 w 38461"/>
                  <a:gd name="connsiteY5" fmla="*/ 11538 h 42307"/>
                  <a:gd name="connsiteX6" fmla="*/ 11539 w 38461"/>
                  <a:gd name="connsiteY6" fmla="*/ 39231 h 42307"/>
                  <a:gd name="connsiteX7" fmla="*/ 5385 w 38461"/>
                  <a:gd name="connsiteY7" fmla="*/ 42308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1" h="42307">
                    <a:moveTo>
                      <a:pt x="5385" y="42308"/>
                    </a:moveTo>
                    <a:cubicBezTo>
                      <a:pt x="5385" y="42308"/>
                      <a:pt x="2308" y="42308"/>
                      <a:pt x="2308" y="39231"/>
                    </a:cubicBezTo>
                    <a:cubicBezTo>
                      <a:pt x="-769" y="36154"/>
                      <a:pt x="-769" y="33077"/>
                      <a:pt x="2308" y="30000"/>
                    </a:cubicBezTo>
                    <a:lnTo>
                      <a:pt x="26923" y="2307"/>
                    </a:lnTo>
                    <a:cubicBezTo>
                      <a:pt x="30000" y="-769"/>
                      <a:pt x="33077" y="-769"/>
                      <a:pt x="36154" y="2307"/>
                    </a:cubicBezTo>
                    <a:cubicBezTo>
                      <a:pt x="39231" y="5385"/>
                      <a:pt x="39231" y="8462"/>
                      <a:pt x="36154" y="11538"/>
                    </a:cubicBezTo>
                    <a:lnTo>
                      <a:pt x="11539" y="39231"/>
                    </a:lnTo>
                    <a:cubicBezTo>
                      <a:pt x="8461" y="39231"/>
                      <a:pt x="8461" y="42308"/>
                      <a:pt x="5385" y="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3BB90657-CDF3-4805-B776-0DD0C737710C}"/>
                </a:ext>
              </a:extLst>
            </p:cNvPr>
            <p:cNvSpPr/>
            <p:nvPr/>
          </p:nvSpPr>
          <p:spPr>
            <a:xfrm>
              <a:off x="-4700925" y="620795"/>
              <a:ext cx="1488037" cy="2316923"/>
            </a:xfrm>
            <a:custGeom>
              <a:avLst/>
              <a:gdLst>
                <a:gd name="connsiteX0" fmla="*/ 1480000 w 1488037"/>
                <a:gd name="connsiteY0" fmla="*/ 21539 h 2316923"/>
                <a:gd name="connsiteX1" fmla="*/ 1467693 w 1488037"/>
                <a:gd name="connsiteY1" fmla="*/ 1418462 h 2316923"/>
                <a:gd name="connsiteX2" fmla="*/ 1396923 w 1488037"/>
                <a:gd name="connsiteY2" fmla="*/ 2316923 h 2316923"/>
                <a:gd name="connsiteX3" fmla="*/ 1098462 w 1488037"/>
                <a:gd name="connsiteY3" fmla="*/ 2316923 h 2316923"/>
                <a:gd name="connsiteX4" fmla="*/ 1058462 w 1488037"/>
                <a:gd name="connsiteY4" fmla="*/ 1443077 h 2316923"/>
                <a:gd name="connsiteX5" fmla="*/ 975385 w 1488037"/>
                <a:gd name="connsiteY5" fmla="*/ 507692 h 2316923"/>
                <a:gd name="connsiteX6" fmla="*/ 753846 w 1488037"/>
                <a:gd name="connsiteY6" fmla="*/ 1316923 h 2316923"/>
                <a:gd name="connsiteX7" fmla="*/ 670769 w 1488037"/>
                <a:gd name="connsiteY7" fmla="*/ 1495385 h 2316923"/>
                <a:gd name="connsiteX8" fmla="*/ 258462 w 1488037"/>
                <a:gd name="connsiteY8" fmla="*/ 2086154 h 2316923"/>
                <a:gd name="connsiteX9" fmla="*/ 0 w 1488037"/>
                <a:gd name="connsiteY9" fmla="*/ 1907692 h 2316923"/>
                <a:gd name="connsiteX10" fmla="*/ 353846 w 1488037"/>
                <a:gd name="connsiteY10" fmla="*/ 1276923 h 2316923"/>
                <a:gd name="connsiteX11" fmla="*/ 452308 w 1488037"/>
                <a:gd name="connsiteY11" fmla="*/ 0 h 2316923"/>
                <a:gd name="connsiteX12" fmla="*/ 1480000 w 1488037"/>
                <a:gd name="connsiteY12" fmla="*/ 21539 h 231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88037" h="2316923">
                  <a:moveTo>
                    <a:pt x="1480000" y="21539"/>
                  </a:moveTo>
                  <a:cubicBezTo>
                    <a:pt x="1480000" y="21539"/>
                    <a:pt x="1504616" y="1104615"/>
                    <a:pt x="1467693" y="1418462"/>
                  </a:cubicBezTo>
                  <a:cubicBezTo>
                    <a:pt x="1436923" y="1692308"/>
                    <a:pt x="1396923" y="2316923"/>
                    <a:pt x="1396923" y="2316923"/>
                  </a:cubicBezTo>
                  <a:lnTo>
                    <a:pt x="1098462" y="2316923"/>
                  </a:lnTo>
                  <a:cubicBezTo>
                    <a:pt x="1098462" y="2316923"/>
                    <a:pt x="1064616" y="1541539"/>
                    <a:pt x="1058462" y="1443077"/>
                  </a:cubicBezTo>
                  <a:cubicBezTo>
                    <a:pt x="1052308" y="1301539"/>
                    <a:pt x="990770" y="538462"/>
                    <a:pt x="975385" y="507692"/>
                  </a:cubicBezTo>
                  <a:cubicBezTo>
                    <a:pt x="963077" y="483077"/>
                    <a:pt x="812308" y="1076923"/>
                    <a:pt x="753846" y="1316923"/>
                  </a:cubicBezTo>
                  <a:cubicBezTo>
                    <a:pt x="738462" y="1381539"/>
                    <a:pt x="710769" y="1440000"/>
                    <a:pt x="670769" y="1495385"/>
                  </a:cubicBezTo>
                  <a:lnTo>
                    <a:pt x="258462" y="2086154"/>
                  </a:lnTo>
                  <a:lnTo>
                    <a:pt x="0" y="1907692"/>
                  </a:lnTo>
                  <a:lnTo>
                    <a:pt x="353846" y="1276923"/>
                  </a:lnTo>
                  <a:cubicBezTo>
                    <a:pt x="353846" y="1276923"/>
                    <a:pt x="406154" y="98462"/>
                    <a:pt x="452308" y="0"/>
                  </a:cubicBezTo>
                  <a:cubicBezTo>
                    <a:pt x="1153846" y="33846"/>
                    <a:pt x="1480000" y="21539"/>
                    <a:pt x="1480000" y="21539"/>
                  </a:cubicBez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F1A7DBFB-9565-404B-AD57-6408DB932460}"/>
                </a:ext>
              </a:extLst>
            </p:cNvPr>
            <p:cNvSpPr/>
            <p:nvPr/>
          </p:nvSpPr>
          <p:spPr>
            <a:xfrm>
              <a:off x="-3725540" y="765411"/>
              <a:ext cx="70769" cy="369230"/>
            </a:xfrm>
            <a:custGeom>
              <a:avLst/>
              <a:gdLst>
                <a:gd name="connsiteX0" fmla="*/ 6154 w 70769"/>
                <a:gd name="connsiteY0" fmla="*/ 369231 h 369230"/>
                <a:gd name="connsiteX1" fmla="*/ 6154 w 70769"/>
                <a:gd name="connsiteY1" fmla="*/ 369231 h 369230"/>
                <a:gd name="connsiteX2" fmla="*/ 0 w 70769"/>
                <a:gd name="connsiteY2" fmla="*/ 360000 h 369230"/>
                <a:gd name="connsiteX3" fmla="*/ 58461 w 70769"/>
                <a:gd name="connsiteY3" fmla="*/ 6154 h 369230"/>
                <a:gd name="connsiteX4" fmla="*/ 64615 w 70769"/>
                <a:gd name="connsiteY4" fmla="*/ 0 h 369230"/>
                <a:gd name="connsiteX5" fmla="*/ 70769 w 70769"/>
                <a:gd name="connsiteY5" fmla="*/ 6154 h 369230"/>
                <a:gd name="connsiteX6" fmla="*/ 12308 w 70769"/>
                <a:gd name="connsiteY6" fmla="*/ 363077 h 369230"/>
                <a:gd name="connsiteX7" fmla="*/ 6154 w 70769"/>
                <a:gd name="connsiteY7" fmla="*/ 369231 h 36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69" h="369230">
                  <a:moveTo>
                    <a:pt x="6154" y="369231"/>
                  </a:moveTo>
                  <a:cubicBezTo>
                    <a:pt x="3077" y="369231"/>
                    <a:pt x="3077" y="369231"/>
                    <a:pt x="6154" y="369231"/>
                  </a:cubicBezTo>
                  <a:cubicBezTo>
                    <a:pt x="0" y="366154"/>
                    <a:pt x="0" y="363077"/>
                    <a:pt x="0" y="360000"/>
                  </a:cubicBezTo>
                  <a:cubicBezTo>
                    <a:pt x="49231" y="246154"/>
                    <a:pt x="58461" y="9231"/>
                    <a:pt x="58461" y="6154"/>
                  </a:cubicBezTo>
                  <a:cubicBezTo>
                    <a:pt x="58461" y="3077"/>
                    <a:pt x="61538" y="0"/>
                    <a:pt x="64615" y="0"/>
                  </a:cubicBezTo>
                  <a:cubicBezTo>
                    <a:pt x="67692" y="0"/>
                    <a:pt x="70769" y="3077"/>
                    <a:pt x="70769" y="6154"/>
                  </a:cubicBezTo>
                  <a:cubicBezTo>
                    <a:pt x="70769" y="15385"/>
                    <a:pt x="61538" y="246154"/>
                    <a:pt x="12308" y="363077"/>
                  </a:cubicBezTo>
                  <a:cubicBezTo>
                    <a:pt x="9231" y="369231"/>
                    <a:pt x="6154" y="369231"/>
                    <a:pt x="6154" y="369231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96C67E57-27AB-476D-9D9E-2FB9B64DD5B0}"/>
                </a:ext>
              </a:extLst>
            </p:cNvPr>
            <p:cNvSpPr/>
            <p:nvPr/>
          </p:nvSpPr>
          <p:spPr>
            <a:xfrm>
              <a:off x="-3699122" y="694642"/>
              <a:ext cx="158197" cy="360000"/>
            </a:xfrm>
            <a:custGeom>
              <a:avLst/>
              <a:gdLst>
                <a:gd name="connsiteX0" fmla="*/ 7428 w 158197"/>
                <a:gd name="connsiteY0" fmla="*/ 360000 h 360000"/>
                <a:gd name="connsiteX1" fmla="*/ 1274 w 158197"/>
                <a:gd name="connsiteY1" fmla="*/ 356923 h 360000"/>
                <a:gd name="connsiteX2" fmla="*/ 4352 w 158197"/>
                <a:gd name="connsiteY2" fmla="*/ 347692 h 360000"/>
                <a:gd name="connsiteX3" fmla="*/ 112044 w 158197"/>
                <a:gd name="connsiteY3" fmla="*/ 270769 h 360000"/>
                <a:gd name="connsiteX4" fmla="*/ 145890 w 158197"/>
                <a:gd name="connsiteY4" fmla="*/ 6154 h 360000"/>
                <a:gd name="connsiteX5" fmla="*/ 152044 w 158197"/>
                <a:gd name="connsiteY5" fmla="*/ 0 h 360000"/>
                <a:gd name="connsiteX6" fmla="*/ 158198 w 158197"/>
                <a:gd name="connsiteY6" fmla="*/ 6154 h 360000"/>
                <a:gd name="connsiteX7" fmla="*/ 124351 w 158197"/>
                <a:gd name="connsiteY7" fmla="*/ 276923 h 360000"/>
                <a:gd name="connsiteX8" fmla="*/ 13582 w 158197"/>
                <a:gd name="connsiteY8" fmla="*/ 356923 h 360000"/>
                <a:gd name="connsiteX9" fmla="*/ 7428 w 158197"/>
                <a:gd name="connsiteY9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8197" h="360000">
                  <a:moveTo>
                    <a:pt x="7428" y="360000"/>
                  </a:moveTo>
                  <a:cubicBezTo>
                    <a:pt x="4352" y="360000"/>
                    <a:pt x="4352" y="360000"/>
                    <a:pt x="1274" y="356923"/>
                  </a:cubicBezTo>
                  <a:cubicBezTo>
                    <a:pt x="-1802" y="353846"/>
                    <a:pt x="1274" y="350769"/>
                    <a:pt x="4352" y="347692"/>
                  </a:cubicBezTo>
                  <a:cubicBezTo>
                    <a:pt x="44351" y="323077"/>
                    <a:pt x="102813" y="280000"/>
                    <a:pt x="112044" y="270769"/>
                  </a:cubicBezTo>
                  <a:cubicBezTo>
                    <a:pt x="121275" y="258462"/>
                    <a:pt x="136659" y="101539"/>
                    <a:pt x="145890" y="6154"/>
                  </a:cubicBezTo>
                  <a:cubicBezTo>
                    <a:pt x="145890" y="3077"/>
                    <a:pt x="148967" y="0"/>
                    <a:pt x="152044" y="0"/>
                  </a:cubicBezTo>
                  <a:cubicBezTo>
                    <a:pt x="155121" y="0"/>
                    <a:pt x="158198" y="3077"/>
                    <a:pt x="158198" y="6154"/>
                  </a:cubicBezTo>
                  <a:cubicBezTo>
                    <a:pt x="155121" y="49231"/>
                    <a:pt x="133582" y="261538"/>
                    <a:pt x="124351" y="276923"/>
                  </a:cubicBezTo>
                  <a:cubicBezTo>
                    <a:pt x="112044" y="292308"/>
                    <a:pt x="22813" y="350769"/>
                    <a:pt x="13582" y="356923"/>
                  </a:cubicBezTo>
                  <a:cubicBezTo>
                    <a:pt x="10505" y="360000"/>
                    <a:pt x="7428" y="360000"/>
                    <a:pt x="7428" y="360000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A3ADD647-87CA-4A32-9CC4-C706D12B8BED}"/>
                </a:ext>
              </a:extLst>
            </p:cNvPr>
            <p:cNvSpPr/>
            <p:nvPr/>
          </p:nvSpPr>
          <p:spPr>
            <a:xfrm>
              <a:off x="-3860924" y="-1068434"/>
              <a:ext cx="252307" cy="260625"/>
            </a:xfrm>
            <a:custGeom>
              <a:avLst/>
              <a:gdLst>
                <a:gd name="connsiteX0" fmla="*/ 252308 w 252307"/>
                <a:gd name="connsiteY0" fmla="*/ 40000 h 260625"/>
                <a:gd name="connsiteX1" fmla="*/ 246154 w 252307"/>
                <a:gd name="connsiteY1" fmla="*/ 215385 h 260625"/>
                <a:gd name="connsiteX2" fmla="*/ 0 w 252307"/>
                <a:gd name="connsiteY2" fmla="*/ 206154 h 260625"/>
                <a:gd name="connsiteX3" fmla="*/ 15385 w 252307"/>
                <a:gd name="connsiteY3" fmla="*/ 0 h 260625"/>
                <a:gd name="connsiteX4" fmla="*/ 252308 w 252307"/>
                <a:gd name="connsiteY4" fmla="*/ 40000 h 26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307" h="260625">
                  <a:moveTo>
                    <a:pt x="252308" y="40000"/>
                  </a:moveTo>
                  <a:cubicBezTo>
                    <a:pt x="252308" y="40000"/>
                    <a:pt x="246154" y="141538"/>
                    <a:pt x="246154" y="215385"/>
                  </a:cubicBezTo>
                  <a:cubicBezTo>
                    <a:pt x="246154" y="215385"/>
                    <a:pt x="150769" y="323077"/>
                    <a:pt x="0" y="206154"/>
                  </a:cubicBezTo>
                  <a:cubicBezTo>
                    <a:pt x="0" y="144615"/>
                    <a:pt x="12308" y="64615"/>
                    <a:pt x="15385" y="0"/>
                  </a:cubicBezTo>
                  <a:cubicBezTo>
                    <a:pt x="15385" y="0"/>
                    <a:pt x="200000" y="52308"/>
                    <a:pt x="252308" y="40000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92670971-2071-493D-B226-D6F51A2AAE74}"/>
                </a:ext>
              </a:extLst>
            </p:cNvPr>
            <p:cNvSpPr/>
            <p:nvPr/>
          </p:nvSpPr>
          <p:spPr>
            <a:xfrm>
              <a:off x="-4276309" y="-902280"/>
              <a:ext cx="1080824" cy="1581352"/>
            </a:xfrm>
            <a:custGeom>
              <a:avLst/>
              <a:gdLst>
                <a:gd name="connsiteX0" fmla="*/ 400000 w 1080824"/>
                <a:gd name="connsiteY0" fmla="*/ 0 h 1581352"/>
                <a:gd name="connsiteX1" fmla="*/ 692308 w 1080824"/>
                <a:gd name="connsiteY1" fmla="*/ 0 h 1581352"/>
                <a:gd name="connsiteX2" fmla="*/ 993846 w 1080824"/>
                <a:gd name="connsiteY2" fmla="*/ 132308 h 1581352"/>
                <a:gd name="connsiteX3" fmla="*/ 1080000 w 1080824"/>
                <a:gd name="connsiteY3" fmla="*/ 1550769 h 1581352"/>
                <a:gd name="connsiteX4" fmla="*/ 0 w 1080824"/>
                <a:gd name="connsiteY4" fmla="*/ 1526154 h 1581352"/>
                <a:gd name="connsiteX5" fmla="*/ 116923 w 1080824"/>
                <a:gd name="connsiteY5" fmla="*/ 104615 h 1581352"/>
                <a:gd name="connsiteX6" fmla="*/ 400000 w 1080824"/>
                <a:gd name="connsiteY6" fmla="*/ 0 h 1581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0824" h="1581352">
                  <a:moveTo>
                    <a:pt x="400000" y="0"/>
                  </a:moveTo>
                  <a:cubicBezTo>
                    <a:pt x="400000" y="0"/>
                    <a:pt x="575385" y="55385"/>
                    <a:pt x="692308" y="0"/>
                  </a:cubicBezTo>
                  <a:cubicBezTo>
                    <a:pt x="692308" y="0"/>
                    <a:pt x="969231" y="98462"/>
                    <a:pt x="993846" y="132308"/>
                  </a:cubicBezTo>
                  <a:cubicBezTo>
                    <a:pt x="1018462" y="163077"/>
                    <a:pt x="1089231" y="1483077"/>
                    <a:pt x="1080000" y="1550769"/>
                  </a:cubicBezTo>
                  <a:cubicBezTo>
                    <a:pt x="1080000" y="1550769"/>
                    <a:pt x="584615" y="1633846"/>
                    <a:pt x="0" y="1526154"/>
                  </a:cubicBezTo>
                  <a:cubicBezTo>
                    <a:pt x="0" y="1166154"/>
                    <a:pt x="73846" y="135385"/>
                    <a:pt x="116923" y="104615"/>
                  </a:cubicBezTo>
                  <a:cubicBezTo>
                    <a:pt x="156923" y="70769"/>
                    <a:pt x="400000" y="0"/>
                    <a:pt x="400000" y="0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65AE915F-DD8B-404D-852D-6EB7E39243C3}"/>
                </a:ext>
              </a:extLst>
            </p:cNvPr>
            <p:cNvSpPr/>
            <p:nvPr/>
          </p:nvSpPr>
          <p:spPr>
            <a:xfrm>
              <a:off x="-4325540" y="-902280"/>
              <a:ext cx="523206" cy="1603076"/>
            </a:xfrm>
            <a:custGeom>
              <a:avLst/>
              <a:gdLst>
                <a:gd name="connsiteX0" fmla="*/ 449231 w 523206"/>
                <a:gd name="connsiteY0" fmla="*/ 0 h 1603076"/>
                <a:gd name="connsiteX1" fmla="*/ 129231 w 523206"/>
                <a:gd name="connsiteY1" fmla="*/ 95385 h 1603076"/>
                <a:gd name="connsiteX2" fmla="*/ 0 w 523206"/>
                <a:gd name="connsiteY2" fmla="*/ 1538461 h 1603076"/>
                <a:gd name="connsiteX3" fmla="*/ 498462 w 523206"/>
                <a:gd name="connsiteY3" fmla="*/ 1603077 h 1603076"/>
                <a:gd name="connsiteX4" fmla="*/ 449231 w 523206"/>
                <a:gd name="connsiteY4" fmla="*/ 0 h 160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206" h="1603076">
                  <a:moveTo>
                    <a:pt x="449231" y="0"/>
                  </a:moveTo>
                  <a:cubicBezTo>
                    <a:pt x="449231" y="0"/>
                    <a:pt x="193846" y="80000"/>
                    <a:pt x="129231" y="95385"/>
                  </a:cubicBezTo>
                  <a:cubicBezTo>
                    <a:pt x="64615" y="110769"/>
                    <a:pt x="0" y="1538461"/>
                    <a:pt x="0" y="1538461"/>
                  </a:cubicBezTo>
                  <a:cubicBezTo>
                    <a:pt x="0" y="1538461"/>
                    <a:pt x="369231" y="1596923"/>
                    <a:pt x="498462" y="1603077"/>
                  </a:cubicBezTo>
                  <a:cubicBezTo>
                    <a:pt x="495385" y="1603077"/>
                    <a:pt x="581538" y="461538"/>
                    <a:pt x="449231" y="0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AB468E45-FFB1-45C7-9649-59284BE7A65F}"/>
                </a:ext>
              </a:extLst>
            </p:cNvPr>
            <p:cNvSpPr/>
            <p:nvPr/>
          </p:nvSpPr>
          <p:spPr>
            <a:xfrm>
              <a:off x="-4356309" y="1888488"/>
              <a:ext cx="155120" cy="67692"/>
            </a:xfrm>
            <a:custGeom>
              <a:avLst/>
              <a:gdLst>
                <a:gd name="connsiteX0" fmla="*/ 46154 w 155120"/>
                <a:gd name="connsiteY0" fmla="*/ 64615 h 67692"/>
                <a:gd name="connsiteX1" fmla="*/ 43077 w 155120"/>
                <a:gd name="connsiteY1" fmla="*/ 61538 h 67692"/>
                <a:gd name="connsiteX2" fmla="*/ 0 w 155120"/>
                <a:gd name="connsiteY2" fmla="*/ 0 h 67692"/>
                <a:gd name="connsiteX3" fmla="*/ 150769 w 155120"/>
                <a:gd name="connsiteY3" fmla="*/ 27692 h 67692"/>
                <a:gd name="connsiteX4" fmla="*/ 153846 w 155120"/>
                <a:gd name="connsiteY4" fmla="*/ 33846 h 67692"/>
                <a:gd name="connsiteX5" fmla="*/ 147692 w 155120"/>
                <a:gd name="connsiteY5" fmla="*/ 36923 h 67692"/>
                <a:gd name="connsiteX6" fmla="*/ 21538 w 155120"/>
                <a:gd name="connsiteY6" fmla="*/ 18461 h 67692"/>
                <a:gd name="connsiteX7" fmla="*/ 49231 w 155120"/>
                <a:gd name="connsiteY7" fmla="*/ 58462 h 67692"/>
                <a:gd name="connsiteX8" fmla="*/ 49231 w 155120"/>
                <a:gd name="connsiteY8" fmla="*/ 67692 h 67692"/>
                <a:gd name="connsiteX9" fmla="*/ 46154 w 155120"/>
                <a:gd name="connsiteY9" fmla="*/ 64615 h 6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5120" h="67692">
                  <a:moveTo>
                    <a:pt x="46154" y="64615"/>
                  </a:moveTo>
                  <a:cubicBezTo>
                    <a:pt x="43077" y="64615"/>
                    <a:pt x="43077" y="64615"/>
                    <a:pt x="43077" y="61538"/>
                  </a:cubicBezTo>
                  <a:lnTo>
                    <a:pt x="0" y="0"/>
                  </a:lnTo>
                  <a:lnTo>
                    <a:pt x="150769" y="27692"/>
                  </a:lnTo>
                  <a:cubicBezTo>
                    <a:pt x="153846" y="27692"/>
                    <a:pt x="156923" y="30769"/>
                    <a:pt x="153846" y="33846"/>
                  </a:cubicBezTo>
                  <a:cubicBezTo>
                    <a:pt x="153846" y="36923"/>
                    <a:pt x="150769" y="40000"/>
                    <a:pt x="147692" y="36923"/>
                  </a:cubicBezTo>
                  <a:lnTo>
                    <a:pt x="21538" y="18461"/>
                  </a:lnTo>
                  <a:lnTo>
                    <a:pt x="49231" y="58462"/>
                  </a:lnTo>
                  <a:cubicBezTo>
                    <a:pt x="52308" y="61538"/>
                    <a:pt x="49231" y="64615"/>
                    <a:pt x="49231" y="67692"/>
                  </a:cubicBezTo>
                  <a:cubicBezTo>
                    <a:pt x="46154" y="64615"/>
                    <a:pt x="46154" y="64615"/>
                    <a:pt x="46154" y="64615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ABC4FD7F-E5BD-4C78-B272-144A9244E136}"/>
                </a:ext>
              </a:extLst>
            </p:cNvPr>
            <p:cNvSpPr/>
            <p:nvPr/>
          </p:nvSpPr>
          <p:spPr>
            <a:xfrm>
              <a:off x="-3587078" y="-902280"/>
              <a:ext cx="439999" cy="1615822"/>
            </a:xfrm>
            <a:custGeom>
              <a:avLst/>
              <a:gdLst>
                <a:gd name="connsiteX0" fmla="*/ 0 w 439999"/>
                <a:gd name="connsiteY0" fmla="*/ 0 h 1615822"/>
                <a:gd name="connsiteX1" fmla="*/ 160000 w 439999"/>
                <a:gd name="connsiteY1" fmla="*/ 1615385 h 1615822"/>
                <a:gd name="connsiteX2" fmla="*/ 440000 w 439999"/>
                <a:gd name="connsiteY2" fmla="*/ 1587692 h 1615822"/>
                <a:gd name="connsiteX3" fmla="*/ 301538 w 439999"/>
                <a:gd name="connsiteY3" fmla="*/ 132308 h 1615822"/>
                <a:gd name="connsiteX4" fmla="*/ 0 w 439999"/>
                <a:gd name="connsiteY4" fmla="*/ 0 h 1615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9999" h="1615822">
                  <a:moveTo>
                    <a:pt x="0" y="0"/>
                  </a:moveTo>
                  <a:cubicBezTo>
                    <a:pt x="0" y="0"/>
                    <a:pt x="206154" y="787692"/>
                    <a:pt x="160000" y="1615385"/>
                  </a:cubicBezTo>
                  <a:cubicBezTo>
                    <a:pt x="160000" y="1615385"/>
                    <a:pt x="360000" y="1621539"/>
                    <a:pt x="440000" y="1587692"/>
                  </a:cubicBezTo>
                  <a:cubicBezTo>
                    <a:pt x="440000" y="1587692"/>
                    <a:pt x="347692" y="184615"/>
                    <a:pt x="301538" y="132308"/>
                  </a:cubicBezTo>
                  <a:cubicBezTo>
                    <a:pt x="255385" y="7692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1A6F10CC-750C-4C2E-B8DB-654B82B6547F}"/>
                </a:ext>
              </a:extLst>
            </p:cNvPr>
            <p:cNvSpPr/>
            <p:nvPr/>
          </p:nvSpPr>
          <p:spPr>
            <a:xfrm>
              <a:off x="-3291693" y="-776127"/>
              <a:ext cx="126153" cy="1092307"/>
            </a:xfrm>
            <a:custGeom>
              <a:avLst/>
              <a:gdLst>
                <a:gd name="connsiteX0" fmla="*/ 120000 w 126153"/>
                <a:gd name="connsiteY0" fmla="*/ 1092308 h 1092307"/>
                <a:gd name="connsiteX1" fmla="*/ 113846 w 126153"/>
                <a:gd name="connsiteY1" fmla="*/ 1086154 h 1092307"/>
                <a:gd name="connsiteX2" fmla="*/ 73846 w 126153"/>
                <a:gd name="connsiteY2" fmla="*/ 600000 h 1092307"/>
                <a:gd name="connsiteX3" fmla="*/ 0 w 126153"/>
                <a:gd name="connsiteY3" fmla="*/ 6154 h 1092307"/>
                <a:gd name="connsiteX4" fmla="*/ 3077 w 126153"/>
                <a:gd name="connsiteY4" fmla="*/ 0 h 1092307"/>
                <a:gd name="connsiteX5" fmla="*/ 9231 w 126153"/>
                <a:gd name="connsiteY5" fmla="*/ 3077 h 1092307"/>
                <a:gd name="connsiteX6" fmla="*/ 83077 w 126153"/>
                <a:gd name="connsiteY6" fmla="*/ 596923 h 1092307"/>
                <a:gd name="connsiteX7" fmla="*/ 126154 w 126153"/>
                <a:gd name="connsiteY7" fmla="*/ 1086154 h 1092307"/>
                <a:gd name="connsiteX8" fmla="*/ 120000 w 126153"/>
                <a:gd name="connsiteY8" fmla="*/ 1092308 h 1092307"/>
                <a:gd name="connsiteX9" fmla="*/ 120000 w 126153"/>
                <a:gd name="connsiteY9" fmla="*/ 1092308 h 109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153" h="1092307">
                  <a:moveTo>
                    <a:pt x="120000" y="1092308"/>
                  </a:moveTo>
                  <a:cubicBezTo>
                    <a:pt x="116923" y="1092308"/>
                    <a:pt x="113846" y="1089231"/>
                    <a:pt x="113846" y="1086154"/>
                  </a:cubicBezTo>
                  <a:cubicBezTo>
                    <a:pt x="113846" y="1083077"/>
                    <a:pt x="83077" y="707692"/>
                    <a:pt x="73846" y="600000"/>
                  </a:cubicBezTo>
                  <a:cubicBezTo>
                    <a:pt x="73846" y="593846"/>
                    <a:pt x="6154" y="46154"/>
                    <a:pt x="0" y="6154"/>
                  </a:cubicBezTo>
                  <a:cubicBezTo>
                    <a:pt x="0" y="3077"/>
                    <a:pt x="0" y="0"/>
                    <a:pt x="3077" y="0"/>
                  </a:cubicBezTo>
                  <a:cubicBezTo>
                    <a:pt x="6154" y="0"/>
                    <a:pt x="9231" y="0"/>
                    <a:pt x="9231" y="3077"/>
                  </a:cubicBezTo>
                  <a:cubicBezTo>
                    <a:pt x="18461" y="43077"/>
                    <a:pt x="80000" y="575385"/>
                    <a:pt x="83077" y="596923"/>
                  </a:cubicBezTo>
                  <a:cubicBezTo>
                    <a:pt x="95385" y="707692"/>
                    <a:pt x="126154" y="1083077"/>
                    <a:pt x="126154" y="1086154"/>
                  </a:cubicBezTo>
                  <a:cubicBezTo>
                    <a:pt x="126154" y="1089231"/>
                    <a:pt x="123077" y="1092308"/>
                    <a:pt x="120000" y="1092308"/>
                  </a:cubicBezTo>
                  <a:lnTo>
                    <a:pt x="120000" y="1092308"/>
                  </a:ln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28212F8E-A13D-41D4-AFA5-3FDBB1CF1A1F}"/>
                </a:ext>
              </a:extLst>
            </p:cNvPr>
            <p:cNvSpPr/>
            <p:nvPr/>
          </p:nvSpPr>
          <p:spPr>
            <a:xfrm>
              <a:off x="-3845540" y="-1034588"/>
              <a:ext cx="244351" cy="64615"/>
            </a:xfrm>
            <a:custGeom>
              <a:avLst/>
              <a:gdLst>
                <a:gd name="connsiteX0" fmla="*/ 138462 w 244351"/>
                <a:gd name="connsiteY0" fmla="*/ 64615 h 64615"/>
                <a:gd name="connsiteX1" fmla="*/ 126154 w 244351"/>
                <a:gd name="connsiteY1" fmla="*/ 64615 h 64615"/>
                <a:gd name="connsiteX2" fmla="*/ 52308 w 244351"/>
                <a:gd name="connsiteY2" fmla="*/ 36923 h 64615"/>
                <a:gd name="connsiteX3" fmla="*/ 3077 w 244351"/>
                <a:gd name="connsiteY3" fmla="*/ 12308 h 64615"/>
                <a:gd name="connsiteX4" fmla="*/ 0 w 244351"/>
                <a:gd name="connsiteY4" fmla="*/ 3077 h 64615"/>
                <a:gd name="connsiteX5" fmla="*/ 9231 w 244351"/>
                <a:gd name="connsiteY5" fmla="*/ 0 h 64615"/>
                <a:gd name="connsiteX6" fmla="*/ 55384 w 244351"/>
                <a:gd name="connsiteY6" fmla="*/ 24615 h 64615"/>
                <a:gd name="connsiteX7" fmla="*/ 147692 w 244351"/>
                <a:gd name="connsiteY7" fmla="*/ 52308 h 64615"/>
                <a:gd name="connsiteX8" fmla="*/ 147692 w 244351"/>
                <a:gd name="connsiteY8" fmla="*/ 52308 h 64615"/>
                <a:gd name="connsiteX9" fmla="*/ 160000 w 244351"/>
                <a:gd name="connsiteY9" fmla="*/ 52308 h 64615"/>
                <a:gd name="connsiteX10" fmla="*/ 209231 w 244351"/>
                <a:gd name="connsiteY10" fmla="*/ 33846 h 64615"/>
                <a:gd name="connsiteX11" fmla="*/ 218462 w 244351"/>
                <a:gd name="connsiteY11" fmla="*/ 27692 h 64615"/>
                <a:gd name="connsiteX12" fmla="*/ 224615 w 244351"/>
                <a:gd name="connsiteY12" fmla="*/ 27692 h 64615"/>
                <a:gd name="connsiteX13" fmla="*/ 233846 w 244351"/>
                <a:gd name="connsiteY13" fmla="*/ 21538 h 64615"/>
                <a:gd name="connsiteX14" fmla="*/ 243077 w 244351"/>
                <a:gd name="connsiteY14" fmla="*/ 24615 h 64615"/>
                <a:gd name="connsiteX15" fmla="*/ 240000 w 244351"/>
                <a:gd name="connsiteY15" fmla="*/ 33846 h 64615"/>
                <a:gd name="connsiteX16" fmla="*/ 215385 w 244351"/>
                <a:gd name="connsiteY16" fmla="*/ 46154 h 64615"/>
                <a:gd name="connsiteX17" fmla="*/ 160000 w 244351"/>
                <a:gd name="connsiteY17" fmla="*/ 64615 h 64615"/>
                <a:gd name="connsiteX18" fmla="*/ 138462 w 244351"/>
                <a:gd name="connsiteY18" fmla="*/ 64615 h 6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4351" h="64615">
                  <a:moveTo>
                    <a:pt x="138462" y="64615"/>
                  </a:moveTo>
                  <a:cubicBezTo>
                    <a:pt x="132308" y="64615"/>
                    <a:pt x="129231" y="64615"/>
                    <a:pt x="126154" y="64615"/>
                  </a:cubicBezTo>
                  <a:cubicBezTo>
                    <a:pt x="107692" y="61538"/>
                    <a:pt x="76923" y="49231"/>
                    <a:pt x="52308" y="36923"/>
                  </a:cubicBezTo>
                  <a:cubicBezTo>
                    <a:pt x="24615" y="24615"/>
                    <a:pt x="3077" y="12308"/>
                    <a:pt x="3077" y="12308"/>
                  </a:cubicBezTo>
                  <a:cubicBezTo>
                    <a:pt x="0" y="9231"/>
                    <a:pt x="0" y="6154"/>
                    <a:pt x="0" y="3077"/>
                  </a:cubicBezTo>
                  <a:cubicBezTo>
                    <a:pt x="3077" y="0"/>
                    <a:pt x="6154" y="0"/>
                    <a:pt x="9231" y="0"/>
                  </a:cubicBezTo>
                  <a:cubicBezTo>
                    <a:pt x="9231" y="0"/>
                    <a:pt x="30769" y="12308"/>
                    <a:pt x="55384" y="24615"/>
                  </a:cubicBezTo>
                  <a:cubicBezTo>
                    <a:pt x="86154" y="36923"/>
                    <a:pt x="123077" y="52308"/>
                    <a:pt x="147692" y="52308"/>
                  </a:cubicBezTo>
                  <a:lnTo>
                    <a:pt x="147692" y="52308"/>
                  </a:lnTo>
                  <a:cubicBezTo>
                    <a:pt x="150769" y="52308"/>
                    <a:pt x="156923" y="52308"/>
                    <a:pt x="160000" y="52308"/>
                  </a:cubicBezTo>
                  <a:cubicBezTo>
                    <a:pt x="178461" y="49231"/>
                    <a:pt x="196923" y="40000"/>
                    <a:pt x="209231" y="33846"/>
                  </a:cubicBezTo>
                  <a:cubicBezTo>
                    <a:pt x="215385" y="30769"/>
                    <a:pt x="218462" y="27692"/>
                    <a:pt x="218462" y="27692"/>
                  </a:cubicBezTo>
                  <a:cubicBezTo>
                    <a:pt x="221538" y="27692"/>
                    <a:pt x="221538" y="24615"/>
                    <a:pt x="224615" y="27692"/>
                  </a:cubicBezTo>
                  <a:cubicBezTo>
                    <a:pt x="230769" y="24615"/>
                    <a:pt x="233846" y="21538"/>
                    <a:pt x="233846" y="21538"/>
                  </a:cubicBezTo>
                  <a:cubicBezTo>
                    <a:pt x="236923" y="18462"/>
                    <a:pt x="240000" y="21538"/>
                    <a:pt x="243077" y="24615"/>
                  </a:cubicBezTo>
                  <a:cubicBezTo>
                    <a:pt x="246154" y="27692"/>
                    <a:pt x="243077" y="30769"/>
                    <a:pt x="240000" y="33846"/>
                  </a:cubicBezTo>
                  <a:cubicBezTo>
                    <a:pt x="240000" y="33846"/>
                    <a:pt x="230769" y="40000"/>
                    <a:pt x="215385" y="46154"/>
                  </a:cubicBezTo>
                  <a:cubicBezTo>
                    <a:pt x="203077" y="52308"/>
                    <a:pt x="184615" y="61538"/>
                    <a:pt x="160000" y="64615"/>
                  </a:cubicBezTo>
                  <a:cubicBezTo>
                    <a:pt x="153846" y="64615"/>
                    <a:pt x="147692" y="64615"/>
                    <a:pt x="138462" y="64615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ECE2A6B2-044D-4792-A984-051D7D0FC235}"/>
                </a:ext>
              </a:extLst>
            </p:cNvPr>
            <p:cNvSpPr/>
            <p:nvPr/>
          </p:nvSpPr>
          <p:spPr>
            <a:xfrm>
              <a:off x="-4254771" y="328488"/>
              <a:ext cx="240000" cy="218461"/>
            </a:xfrm>
            <a:custGeom>
              <a:avLst/>
              <a:gdLst>
                <a:gd name="connsiteX0" fmla="*/ 40000 w 240000"/>
                <a:gd name="connsiteY0" fmla="*/ 218462 h 218461"/>
                <a:gd name="connsiteX1" fmla="*/ 36923 w 240000"/>
                <a:gd name="connsiteY1" fmla="*/ 215385 h 218461"/>
                <a:gd name="connsiteX2" fmla="*/ 0 w 240000"/>
                <a:gd name="connsiteY2" fmla="*/ 166154 h 218461"/>
                <a:gd name="connsiteX3" fmla="*/ 0 w 240000"/>
                <a:gd name="connsiteY3" fmla="*/ 163077 h 218461"/>
                <a:gd name="connsiteX4" fmla="*/ 3077 w 240000"/>
                <a:gd name="connsiteY4" fmla="*/ 160000 h 218461"/>
                <a:gd name="connsiteX5" fmla="*/ 166154 w 240000"/>
                <a:gd name="connsiteY5" fmla="*/ 3077 h 218461"/>
                <a:gd name="connsiteX6" fmla="*/ 169231 w 240000"/>
                <a:gd name="connsiteY6" fmla="*/ 0 h 218461"/>
                <a:gd name="connsiteX7" fmla="*/ 172308 w 240000"/>
                <a:gd name="connsiteY7" fmla="*/ 0 h 218461"/>
                <a:gd name="connsiteX8" fmla="*/ 236923 w 240000"/>
                <a:gd name="connsiteY8" fmla="*/ 30769 h 218461"/>
                <a:gd name="connsiteX9" fmla="*/ 240000 w 240000"/>
                <a:gd name="connsiteY9" fmla="*/ 33846 h 218461"/>
                <a:gd name="connsiteX10" fmla="*/ 240000 w 240000"/>
                <a:gd name="connsiteY10" fmla="*/ 36923 h 218461"/>
                <a:gd name="connsiteX11" fmla="*/ 40000 w 240000"/>
                <a:gd name="connsiteY11" fmla="*/ 218462 h 218461"/>
                <a:gd name="connsiteX12" fmla="*/ 40000 w 240000"/>
                <a:gd name="connsiteY12" fmla="*/ 218462 h 218461"/>
                <a:gd name="connsiteX13" fmla="*/ 9231 w 240000"/>
                <a:gd name="connsiteY13" fmla="*/ 163077 h 218461"/>
                <a:gd name="connsiteX14" fmla="*/ 40000 w 240000"/>
                <a:gd name="connsiteY14" fmla="*/ 203077 h 218461"/>
                <a:gd name="connsiteX15" fmla="*/ 218462 w 240000"/>
                <a:gd name="connsiteY15" fmla="*/ 33846 h 218461"/>
                <a:gd name="connsiteX16" fmla="*/ 169231 w 240000"/>
                <a:gd name="connsiteY16" fmla="*/ 9231 h 218461"/>
                <a:gd name="connsiteX17" fmla="*/ 9231 w 240000"/>
                <a:gd name="connsiteY17" fmla="*/ 163077 h 21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000" h="218461">
                  <a:moveTo>
                    <a:pt x="40000" y="218462"/>
                  </a:moveTo>
                  <a:cubicBezTo>
                    <a:pt x="36923" y="218462"/>
                    <a:pt x="36923" y="218462"/>
                    <a:pt x="36923" y="215385"/>
                  </a:cubicBezTo>
                  <a:lnTo>
                    <a:pt x="0" y="166154"/>
                  </a:lnTo>
                  <a:cubicBezTo>
                    <a:pt x="0" y="166154"/>
                    <a:pt x="0" y="163077"/>
                    <a:pt x="0" y="163077"/>
                  </a:cubicBezTo>
                  <a:cubicBezTo>
                    <a:pt x="0" y="160000"/>
                    <a:pt x="0" y="160000"/>
                    <a:pt x="3077" y="160000"/>
                  </a:cubicBezTo>
                  <a:cubicBezTo>
                    <a:pt x="3077" y="160000"/>
                    <a:pt x="132308" y="76923"/>
                    <a:pt x="166154" y="3077"/>
                  </a:cubicBezTo>
                  <a:cubicBezTo>
                    <a:pt x="166154" y="3077"/>
                    <a:pt x="169231" y="0"/>
                    <a:pt x="169231" y="0"/>
                  </a:cubicBezTo>
                  <a:cubicBezTo>
                    <a:pt x="169231" y="0"/>
                    <a:pt x="172308" y="0"/>
                    <a:pt x="172308" y="0"/>
                  </a:cubicBezTo>
                  <a:lnTo>
                    <a:pt x="236923" y="30769"/>
                  </a:lnTo>
                  <a:cubicBezTo>
                    <a:pt x="236923" y="30769"/>
                    <a:pt x="240000" y="33846"/>
                    <a:pt x="240000" y="33846"/>
                  </a:cubicBezTo>
                  <a:cubicBezTo>
                    <a:pt x="240000" y="33846"/>
                    <a:pt x="240000" y="36923"/>
                    <a:pt x="240000" y="36923"/>
                  </a:cubicBezTo>
                  <a:cubicBezTo>
                    <a:pt x="233846" y="36923"/>
                    <a:pt x="169231" y="153846"/>
                    <a:pt x="40000" y="218462"/>
                  </a:cubicBezTo>
                  <a:cubicBezTo>
                    <a:pt x="40000" y="218462"/>
                    <a:pt x="40000" y="218462"/>
                    <a:pt x="40000" y="218462"/>
                  </a:cubicBezTo>
                  <a:close/>
                  <a:moveTo>
                    <a:pt x="9231" y="163077"/>
                  </a:moveTo>
                  <a:lnTo>
                    <a:pt x="40000" y="203077"/>
                  </a:lnTo>
                  <a:cubicBezTo>
                    <a:pt x="144615" y="150769"/>
                    <a:pt x="206154" y="58462"/>
                    <a:pt x="218462" y="33846"/>
                  </a:cubicBezTo>
                  <a:lnTo>
                    <a:pt x="169231" y="9231"/>
                  </a:lnTo>
                  <a:cubicBezTo>
                    <a:pt x="135385" y="76923"/>
                    <a:pt x="33846" y="147692"/>
                    <a:pt x="9231" y="163077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52155EC4-78EE-4FB4-B89C-C40593A8494E}"/>
                </a:ext>
              </a:extLst>
            </p:cNvPr>
            <p:cNvSpPr/>
            <p:nvPr/>
          </p:nvSpPr>
          <p:spPr>
            <a:xfrm>
              <a:off x="-3304001" y="303872"/>
              <a:ext cx="148966" cy="209230"/>
            </a:xfrm>
            <a:custGeom>
              <a:avLst/>
              <a:gdLst>
                <a:gd name="connsiteX0" fmla="*/ 144615 w 148966"/>
                <a:gd name="connsiteY0" fmla="*/ 209231 h 209230"/>
                <a:gd name="connsiteX1" fmla="*/ 144615 w 148966"/>
                <a:gd name="connsiteY1" fmla="*/ 209231 h 209230"/>
                <a:gd name="connsiteX2" fmla="*/ 0 w 148966"/>
                <a:gd name="connsiteY2" fmla="*/ 80000 h 209230"/>
                <a:gd name="connsiteX3" fmla="*/ 0 w 148966"/>
                <a:gd name="connsiteY3" fmla="*/ 76923 h 209230"/>
                <a:gd name="connsiteX4" fmla="*/ 12308 w 148966"/>
                <a:gd name="connsiteY4" fmla="*/ 3077 h 209230"/>
                <a:gd name="connsiteX5" fmla="*/ 15385 w 148966"/>
                <a:gd name="connsiteY5" fmla="*/ 0 h 209230"/>
                <a:gd name="connsiteX6" fmla="*/ 21538 w 148966"/>
                <a:gd name="connsiteY6" fmla="*/ 3077 h 209230"/>
                <a:gd name="connsiteX7" fmla="*/ 132308 w 148966"/>
                <a:gd name="connsiteY7" fmla="*/ 107692 h 209230"/>
                <a:gd name="connsiteX8" fmla="*/ 135385 w 148966"/>
                <a:gd name="connsiteY8" fmla="*/ 116923 h 209230"/>
                <a:gd name="connsiteX9" fmla="*/ 126154 w 148966"/>
                <a:gd name="connsiteY9" fmla="*/ 120000 h 209230"/>
                <a:gd name="connsiteX10" fmla="*/ 18461 w 148966"/>
                <a:gd name="connsiteY10" fmla="*/ 21538 h 209230"/>
                <a:gd name="connsiteX11" fmla="*/ 9231 w 148966"/>
                <a:gd name="connsiteY11" fmla="*/ 80000 h 209230"/>
                <a:gd name="connsiteX12" fmla="*/ 141538 w 148966"/>
                <a:gd name="connsiteY12" fmla="*/ 200000 h 209230"/>
                <a:gd name="connsiteX13" fmla="*/ 147692 w 148966"/>
                <a:gd name="connsiteY13" fmla="*/ 206154 h 209230"/>
                <a:gd name="connsiteX14" fmla="*/ 144615 w 148966"/>
                <a:gd name="connsiteY14" fmla="*/ 209231 h 20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8966" h="209230">
                  <a:moveTo>
                    <a:pt x="144615" y="209231"/>
                  </a:moveTo>
                  <a:cubicBezTo>
                    <a:pt x="144615" y="209231"/>
                    <a:pt x="144615" y="209231"/>
                    <a:pt x="144615" y="209231"/>
                  </a:cubicBezTo>
                  <a:cubicBezTo>
                    <a:pt x="52308" y="200000"/>
                    <a:pt x="3077" y="86154"/>
                    <a:pt x="0" y="80000"/>
                  </a:cubicBezTo>
                  <a:cubicBezTo>
                    <a:pt x="0" y="80000"/>
                    <a:pt x="0" y="76923"/>
                    <a:pt x="0" y="76923"/>
                  </a:cubicBezTo>
                  <a:lnTo>
                    <a:pt x="12308" y="3077"/>
                  </a:lnTo>
                  <a:cubicBezTo>
                    <a:pt x="12308" y="0"/>
                    <a:pt x="15385" y="0"/>
                    <a:pt x="15385" y="0"/>
                  </a:cubicBezTo>
                  <a:cubicBezTo>
                    <a:pt x="18461" y="0"/>
                    <a:pt x="18461" y="0"/>
                    <a:pt x="21538" y="3077"/>
                  </a:cubicBezTo>
                  <a:cubicBezTo>
                    <a:pt x="64615" y="61538"/>
                    <a:pt x="132308" y="107692"/>
                    <a:pt x="132308" y="107692"/>
                  </a:cubicBezTo>
                  <a:cubicBezTo>
                    <a:pt x="135385" y="110769"/>
                    <a:pt x="135385" y="113846"/>
                    <a:pt x="135385" y="116923"/>
                  </a:cubicBezTo>
                  <a:cubicBezTo>
                    <a:pt x="132308" y="120000"/>
                    <a:pt x="129231" y="120000"/>
                    <a:pt x="126154" y="120000"/>
                  </a:cubicBezTo>
                  <a:cubicBezTo>
                    <a:pt x="123077" y="116923"/>
                    <a:pt x="61538" y="76923"/>
                    <a:pt x="18461" y="21538"/>
                  </a:cubicBezTo>
                  <a:lnTo>
                    <a:pt x="9231" y="80000"/>
                  </a:lnTo>
                  <a:cubicBezTo>
                    <a:pt x="15385" y="92308"/>
                    <a:pt x="61538" y="193846"/>
                    <a:pt x="141538" y="200000"/>
                  </a:cubicBezTo>
                  <a:cubicBezTo>
                    <a:pt x="144615" y="200000"/>
                    <a:pt x="147692" y="203077"/>
                    <a:pt x="147692" y="206154"/>
                  </a:cubicBezTo>
                  <a:cubicBezTo>
                    <a:pt x="150769" y="209231"/>
                    <a:pt x="147692" y="209231"/>
                    <a:pt x="144615" y="209231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2" name="图形 1">
              <a:extLst>
                <a:ext uri="{FF2B5EF4-FFF2-40B4-BE49-F238E27FC236}">
                  <a16:creationId xmlns:a16="http://schemas.microsoft.com/office/drawing/2014/main" id="{A5130F42-FF43-4DB4-9952-43173E43214E}"/>
                </a:ext>
              </a:extLst>
            </p:cNvPr>
            <p:cNvGrpSpPr/>
            <p:nvPr/>
          </p:nvGrpSpPr>
          <p:grpSpPr>
            <a:xfrm>
              <a:off x="-4725540" y="2860795"/>
              <a:ext cx="385384" cy="392043"/>
              <a:chOff x="-4725540" y="2860795"/>
              <a:chExt cx="385384" cy="392043"/>
            </a:xfrm>
          </p:grpSpPr>
          <p:grpSp>
            <p:nvGrpSpPr>
              <p:cNvPr id="132" name="图形 1">
                <a:extLst>
                  <a:ext uri="{FF2B5EF4-FFF2-40B4-BE49-F238E27FC236}">
                    <a16:creationId xmlns:a16="http://schemas.microsoft.com/office/drawing/2014/main" id="{3C4D5282-647F-46E6-8159-E04C1745E243}"/>
                  </a:ext>
                </a:extLst>
              </p:cNvPr>
              <p:cNvGrpSpPr/>
              <p:nvPr/>
            </p:nvGrpSpPr>
            <p:grpSpPr>
              <a:xfrm>
                <a:off x="-4725540" y="2860795"/>
                <a:ext cx="385384" cy="392043"/>
                <a:chOff x="-4725540" y="2860795"/>
                <a:chExt cx="385384" cy="392043"/>
              </a:xfrm>
            </p:grpSpPr>
            <p:sp>
              <p:nvSpPr>
                <p:cNvPr id="134" name="任意多边形: 形状 133">
                  <a:extLst>
                    <a:ext uri="{FF2B5EF4-FFF2-40B4-BE49-F238E27FC236}">
                      <a16:creationId xmlns:a16="http://schemas.microsoft.com/office/drawing/2014/main" id="{0C786909-0271-4778-8BD1-1DB23B56DCFC}"/>
                    </a:ext>
                  </a:extLst>
                </p:cNvPr>
                <p:cNvSpPr/>
                <p:nvPr/>
              </p:nvSpPr>
              <p:spPr>
                <a:xfrm>
                  <a:off x="-4708066" y="2986949"/>
                  <a:ext cx="367910" cy="265889"/>
                </a:xfrm>
                <a:custGeom>
                  <a:avLst/>
                  <a:gdLst>
                    <a:gd name="connsiteX0" fmla="*/ 139449 w 367910"/>
                    <a:gd name="connsiteY0" fmla="*/ 0 h 265889"/>
                    <a:gd name="connsiteX1" fmla="*/ 259449 w 367910"/>
                    <a:gd name="connsiteY1" fmla="*/ 166154 h 265889"/>
                    <a:gd name="connsiteX2" fmla="*/ 40988 w 367910"/>
                    <a:gd name="connsiteY2" fmla="*/ 36923 h 265889"/>
                    <a:gd name="connsiteX3" fmla="*/ 19449 w 367910"/>
                    <a:gd name="connsiteY3" fmla="*/ 21538 h 265889"/>
                    <a:gd name="connsiteX4" fmla="*/ 988 w 367910"/>
                    <a:gd name="connsiteY4" fmla="*/ 98461 h 265889"/>
                    <a:gd name="connsiteX5" fmla="*/ 13295 w 367910"/>
                    <a:gd name="connsiteY5" fmla="*/ 221538 h 265889"/>
                    <a:gd name="connsiteX6" fmla="*/ 31757 w 367910"/>
                    <a:gd name="connsiteY6" fmla="*/ 240000 h 265889"/>
                    <a:gd name="connsiteX7" fmla="*/ 200988 w 367910"/>
                    <a:gd name="connsiteY7" fmla="*/ 261538 h 265889"/>
                    <a:gd name="connsiteX8" fmla="*/ 360988 w 367910"/>
                    <a:gd name="connsiteY8" fmla="*/ 264615 h 265889"/>
                    <a:gd name="connsiteX9" fmla="*/ 360988 w 367910"/>
                    <a:gd name="connsiteY9" fmla="*/ 218461 h 265889"/>
                    <a:gd name="connsiteX10" fmla="*/ 139449 w 367910"/>
                    <a:gd name="connsiteY10" fmla="*/ 0 h 265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7910" h="265889">
                      <a:moveTo>
                        <a:pt x="139449" y="0"/>
                      </a:moveTo>
                      <a:cubicBezTo>
                        <a:pt x="139449" y="0"/>
                        <a:pt x="274834" y="156923"/>
                        <a:pt x="259449" y="166154"/>
                      </a:cubicBezTo>
                      <a:cubicBezTo>
                        <a:pt x="240988" y="175385"/>
                        <a:pt x="40988" y="36923"/>
                        <a:pt x="40988" y="36923"/>
                      </a:cubicBezTo>
                      <a:lnTo>
                        <a:pt x="19449" y="21538"/>
                      </a:lnTo>
                      <a:cubicBezTo>
                        <a:pt x="19449" y="21538"/>
                        <a:pt x="-5166" y="70769"/>
                        <a:pt x="988" y="98461"/>
                      </a:cubicBezTo>
                      <a:cubicBezTo>
                        <a:pt x="4065" y="120000"/>
                        <a:pt x="10218" y="187692"/>
                        <a:pt x="13295" y="221538"/>
                      </a:cubicBezTo>
                      <a:cubicBezTo>
                        <a:pt x="13295" y="230769"/>
                        <a:pt x="22526" y="240000"/>
                        <a:pt x="31757" y="240000"/>
                      </a:cubicBezTo>
                      <a:cubicBezTo>
                        <a:pt x="71757" y="243077"/>
                        <a:pt x="167141" y="255384"/>
                        <a:pt x="200988" y="261538"/>
                      </a:cubicBezTo>
                      <a:cubicBezTo>
                        <a:pt x="222526" y="264615"/>
                        <a:pt x="348680" y="267692"/>
                        <a:pt x="360988" y="264615"/>
                      </a:cubicBezTo>
                      <a:cubicBezTo>
                        <a:pt x="370218" y="264615"/>
                        <a:pt x="370218" y="224615"/>
                        <a:pt x="360988" y="218461"/>
                      </a:cubicBezTo>
                      <a:cubicBezTo>
                        <a:pt x="280988" y="172307"/>
                        <a:pt x="139449" y="0"/>
                        <a:pt x="139449" y="0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FD00D08D-3C38-4BC5-93BA-152A0646BBE4}"/>
                    </a:ext>
                  </a:extLst>
                </p:cNvPr>
                <p:cNvSpPr/>
                <p:nvPr/>
              </p:nvSpPr>
              <p:spPr>
                <a:xfrm>
                  <a:off x="-4725540" y="2860795"/>
                  <a:ext cx="276076" cy="297143"/>
                </a:xfrm>
                <a:custGeom>
                  <a:avLst/>
                  <a:gdLst>
                    <a:gd name="connsiteX0" fmla="*/ 104615 w 276076"/>
                    <a:gd name="connsiteY0" fmla="*/ 0 h 297143"/>
                    <a:gd name="connsiteX1" fmla="*/ 153846 w 276076"/>
                    <a:gd name="connsiteY1" fmla="*/ 129231 h 297143"/>
                    <a:gd name="connsiteX2" fmla="*/ 273846 w 276076"/>
                    <a:gd name="connsiteY2" fmla="*/ 295385 h 297143"/>
                    <a:gd name="connsiteX3" fmla="*/ 36923 w 276076"/>
                    <a:gd name="connsiteY3" fmla="*/ 150769 h 297143"/>
                    <a:gd name="connsiteX4" fmla="*/ 0 w 276076"/>
                    <a:gd name="connsiteY4" fmla="*/ 0 h 297143"/>
                    <a:gd name="connsiteX5" fmla="*/ 104615 w 276076"/>
                    <a:gd name="connsiteY5" fmla="*/ 0 h 297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6076" h="297143">
                      <a:moveTo>
                        <a:pt x="104615" y="0"/>
                      </a:moveTo>
                      <a:lnTo>
                        <a:pt x="153846" y="129231"/>
                      </a:lnTo>
                      <a:cubicBezTo>
                        <a:pt x="153846" y="129231"/>
                        <a:pt x="295385" y="280000"/>
                        <a:pt x="273846" y="295385"/>
                      </a:cubicBezTo>
                      <a:cubicBezTo>
                        <a:pt x="252308" y="313846"/>
                        <a:pt x="33846" y="181538"/>
                        <a:pt x="36923" y="150769"/>
                      </a:cubicBezTo>
                      <a:cubicBezTo>
                        <a:pt x="36923" y="101539"/>
                        <a:pt x="0" y="0"/>
                        <a:pt x="0" y="0"/>
                      </a:cubicBezTo>
                      <a:lnTo>
                        <a:pt x="104615" y="0"/>
                      </a:lnTo>
                      <a:close/>
                    </a:path>
                  </a:pathLst>
                </a:custGeom>
                <a:solidFill>
                  <a:srgbClr val="F5A398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2A18A977-917D-4D6B-AD74-36A62B6E5847}"/>
                  </a:ext>
                </a:extLst>
              </p:cNvPr>
              <p:cNvSpPr/>
              <p:nvPr/>
            </p:nvSpPr>
            <p:spPr>
              <a:xfrm>
                <a:off x="-4700155" y="3113872"/>
                <a:ext cx="159230" cy="106923"/>
              </a:xfrm>
              <a:custGeom>
                <a:avLst/>
                <a:gdLst>
                  <a:gd name="connsiteX0" fmla="*/ 150000 w 159230"/>
                  <a:gd name="connsiteY0" fmla="*/ 106923 h 106923"/>
                  <a:gd name="connsiteX1" fmla="*/ 150000 w 159230"/>
                  <a:gd name="connsiteY1" fmla="*/ 106923 h 106923"/>
                  <a:gd name="connsiteX2" fmla="*/ 2308 w 159230"/>
                  <a:gd name="connsiteY2" fmla="*/ 11539 h 106923"/>
                  <a:gd name="connsiteX3" fmla="*/ 2308 w 159230"/>
                  <a:gd name="connsiteY3" fmla="*/ 2308 h 106923"/>
                  <a:gd name="connsiteX4" fmla="*/ 11538 w 159230"/>
                  <a:gd name="connsiteY4" fmla="*/ 2308 h 106923"/>
                  <a:gd name="connsiteX5" fmla="*/ 156154 w 159230"/>
                  <a:gd name="connsiteY5" fmla="*/ 94616 h 106923"/>
                  <a:gd name="connsiteX6" fmla="*/ 159231 w 159230"/>
                  <a:gd name="connsiteY6" fmla="*/ 100769 h 106923"/>
                  <a:gd name="connsiteX7" fmla="*/ 150000 w 159230"/>
                  <a:gd name="connsiteY7" fmla="*/ 106923 h 10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9230" h="106923">
                    <a:moveTo>
                      <a:pt x="150000" y="106923"/>
                    </a:moveTo>
                    <a:cubicBezTo>
                      <a:pt x="150000" y="106923"/>
                      <a:pt x="150000" y="106923"/>
                      <a:pt x="150000" y="106923"/>
                    </a:cubicBezTo>
                    <a:cubicBezTo>
                      <a:pt x="110000" y="88462"/>
                      <a:pt x="5385" y="14615"/>
                      <a:pt x="2308" y="11539"/>
                    </a:cubicBezTo>
                    <a:cubicBezTo>
                      <a:pt x="-769" y="8462"/>
                      <a:pt x="-769" y="5384"/>
                      <a:pt x="2308" y="2308"/>
                    </a:cubicBezTo>
                    <a:cubicBezTo>
                      <a:pt x="5385" y="-769"/>
                      <a:pt x="8462" y="-769"/>
                      <a:pt x="11538" y="2308"/>
                    </a:cubicBezTo>
                    <a:cubicBezTo>
                      <a:pt x="11538" y="2308"/>
                      <a:pt x="119231" y="76154"/>
                      <a:pt x="156154" y="94616"/>
                    </a:cubicBezTo>
                    <a:cubicBezTo>
                      <a:pt x="159231" y="94616"/>
                      <a:pt x="159231" y="100769"/>
                      <a:pt x="159231" y="100769"/>
                    </a:cubicBezTo>
                    <a:cubicBezTo>
                      <a:pt x="153077" y="106923"/>
                      <a:pt x="153077" y="106923"/>
                      <a:pt x="150000" y="10692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6E6D206A-ABCD-4AAA-878B-BE5E4AB71C35}"/>
                </a:ext>
              </a:extLst>
            </p:cNvPr>
            <p:cNvSpPr/>
            <p:nvPr/>
          </p:nvSpPr>
          <p:spPr>
            <a:xfrm>
              <a:off x="-4646092" y="-402685"/>
              <a:ext cx="858113" cy="755394"/>
            </a:xfrm>
            <a:custGeom>
              <a:avLst/>
              <a:gdLst>
                <a:gd name="connsiteX0" fmla="*/ 249783 w 858113"/>
                <a:gd name="connsiteY0" fmla="*/ 78866 h 755394"/>
                <a:gd name="connsiteX1" fmla="*/ 452860 w 858113"/>
                <a:gd name="connsiteY1" fmla="*/ 534251 h 755394"/>
                <a:gd name="connsiteX2" fmla="*/ 803629 w 858113"/>
                <a:gd name="connsiteY2" fmla="*/ 565020 h 755394"/>
                <a:gd name="connsiteX3" fmla="*/ 843629 w 858113"/>
                <a:gd name="connsiteY3" fmla="*/ 700405 h 755394"/>
                <a:gd name="connsiteX4" fmla="*/ 292860 w 858113"/>
                <a:gd name="connsiteY4" fmla="*/ 718866 h 755394"/>
                <a:gd name="connsiteX5" fmla="*/ 3629 w 858113"/>
                <a:gd name="connsiteY5" fmla="*/ 118866 h 755394"/>
                <a:gd name="connsiteX6" fmla="*/ 249783 w 858113"/>
                <a:gd name="connsiteY6" fmla="*/ 78866 h 755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8113" h="755394">
                  <a:moveTo>
                    <a:pt x="249783" y="78866"/>
                  </a:moveTo>
                  <a:cubicBezTo>
                    <a:pt x="283629" y="161943"/>
                    <a:pt x="422091" y="500405"/>
                    <a:pt x="452860" y="534251"/>
                  </a:cubicBezTo>
                  <a:cubicBezTo>
                    <a:pt x="495937" y="583481"/>
                    <a:pt x="803629" y="558866"/>
                    <a:pt x="803629" y="565020"/>
                  </a:cubicBezTo>
                  <a:cubicBezTo>
                    <a:pt x="800552" y="635789"/>
                    <a:pt x="892860" y="651174"/>
                    <a:pt x="843629" y="700405"/>
                  </a:cubicBezTo>
                  <a:cubicBezTo>
                    <a:pt x="837475" y="706558"/>
                    <a:pt x="499014" y="808097"/>
                    <a:pt x="292860" y="718866"/>
                  </a:cubicBezTo>
                  <a:cubicBezTo>
                    <a:pt x="206706" y="681943"/>
                    <a:pt x="65168" y="254251"/>
                    <a:pt x="3629" y="118866"/>
                  </a:cubicBezTo>
                  <a:cubicBezTo>
                    <a:pt x="-30217" y="38866"/>
                    <a:pt x="182091" y="-81134"/>
                    <a:pt x="249783" y="78866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83CFA072-B419-4427-B9B3-279D434A7445}"/>
                </a:ext>
              </a:extLst>
            </p:cNvPr>
            <p:cNvGrpSpPr/>
            <p:nvPr/>
          </p:nvGrpSpPr>
          <p:grpSpPr>
            <a:xfrm>
              <a:off x="-6028232" y="2485411"/>
              <a:ext cx="364230" cy="504354"/>
              <a:chOff x="-6028232" y="2485411"/>
              <a:chExt cx="364230" cy="504354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F6B44A3A-B438-4563-94F0-1DA73CE58F64}"/>
                  </a:ext>
                </a:extLst>
              </p:cNvPr>
              <p:cNvSpPr/>
              <p:nvPr/>
            </p:nvSpPr>
            <p:spPr>
              <a:xfrm>
                <a:off x="-6028232" y="2580544"/>
                <a:ext cx="265769" cy="409220"/>
              </a:xfrm>
              <a:custGeom>
                <a:avLst/>
                <a:gdLst>
                  <a:gd name="connsiteX0" fmla="*/ 265769 w 265769"/>
                  <a:gd name="connsiteY0" fmla="*/ 98713 h 409220"/>
                  <a:gd name="connsiteX1" fmla="*/ 161154 w 265769"/>
                  <a:gd name="connsiteY1" fmla="*/ 274098 h 409220"/>
                  <a:gd name="connsiteX2" fmla="*/ 191923 w 265769"/>
                  <a:gd name="connsiteY2" fmla="*/ 24867 h 409220"/>
                  <a:gd name="connsiteX3" fmla="*/ 198077 w 265769"/>
                  <a:gd name="connsiteY3" fmla="*/ 251 h 409220"/>
                  <a:gd name="connsiteX4" fmla="*/ 118077 w 265769"/>
                  <a:gd name="connsiteY4" fmla="*/ 12559 h 409220"/>
                  <a:gd name="connsiteX5" fmla="*/ 10385 w 265769"/>
                  <a:gd name="connsiteY5" fmla="*/ 71020 h 409220"/>
                  <a:gd name="connsiteX6" fmla="*/ 1154 w 265769"/>
                  <a:gd name="connsiteY6" fmla="*/ 95636 h 409220"/>
                  <a:gd name="connsiteX7" fmla="*/ 50385 w 265769"/>
                  <a:gd name="connsiteY7" fmla="*/ 258713 h 409220"/>
                  <a:gd name="connsiteX8" fmla="*/ 108846 w 265769"/>
                  <a:gd name="connsiteY8" fmla="*/ 406405 h 409220"/>
                  <a:gd name="connsiteX9" fmla="*/ 151923 w 265769"/>
                  <a:gd name="connsiteY9" fmla="*/ 387944 h 409220"/>
                  <a:gd name="connsiteX10" fmla="*/ 265769 w 265769"/>
                  <a:gd name="connsiteY10" fmla="*/ 98713 h 409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5769" h="409220">
                    <a:moveTo>
                      <a:pt x="265769" y="98713"/>
                    </a:moveTo>
                    <a:cubicBezTo>
                      <a:pt x="265769" y="98713"/>
                      <a:pt x="176538" y="286405"/>
                      <a:pt x="161154" y="274098"/>
                    </a:cubicBezTo>
                    <a:cubicBezTo>
                      <a:pt x="145769" y="261790"/>
                      <a:pt x="191923" y="24867"/>
                      <a:pt x="191923" y="24867"/>
                    </a:cubicBezTo>
                    <a:lnTo>
                      <a:pt x="198077" y="251"/>
                    </a:lnTo>
                    <a:cubicBezTo>
                      <a:pt x="198077" y="251"/>
                      <a:pt x="142692" y="-2826"/>
                      <a:pt x="118077" y="12559"/>
                    </a:cubicBezTo>
                    <a:cubicBezTo>
                      <a:pt x="99615" y="24867"/>
                      <a:pt x="38077" y="55636"/>
                      <a:pt x="10385" y="71020"/>
                    </a:cubicBezTo>
                    <a:cubicBezTo>
                      <a:pt x="1154" y="77174"/>
                      <a:pt x="-1923" y="86405"/>
                      <a:pt x="1154" y="95636"/>
                    </a:cubicBezTo>
                    <a:cubicBezTo>
                      <a:pt x="13462" y="132559"/>
                      <a:pt x="41154" y="227944"/>
                      <a:pt x="50385" y="258713"/>
                    </a:cubicBezTo>
                    <a:cubicBezTo>
                      <a:pt x="56538" y="280251"/>
                      <a:pt x="105769" y="397174"/>
                      <a:pt x="108846" y="406405"/>
                    </a:cubicBezTo>
                    <a:cubicBezTo>
                      <a:pt x="115000" y="415636"/>
                      <a:pt x="148846" y="400251"/>
                      <a:pt x="151923" y="387944"/>
                    </a:cubicBezTo>
                    <a:cubicBezTo>
                      <a:pt x="164231" y="298713"/>
                      <a:pt x="265769" y="98713"/>
                      <a:pt x="265769" y="98713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617DD231-08D4-4E0F-B3E1-533CAB8BF18C}"/>
                  </a:ext>
                </a:extLst>
              </p:cNvPr>
              <p:cNvSpPr/>
              <p:nvPr/>
            </p:nvSpPr>
            <p:spPr>
              <a:xfrm>
                <a:off x="-5875550" y="2485411"/>
                <a:ext cx="211548" cy="369810"/>
              </a:xfrm>
              <a:custGeom>
                <a:avLst/>
                <a:gdLst>
                  <a:gd name="connsiteX0" fmla="*/ 211549 w 211548"/>
                  <a:gd name="connsiteY0" fmla="*/ 98461 h 369810"/>
                  <a:gd name="connsiteX1" fmla="*/ 113087 w 211548"/>
                  <a:gd name="connsiteY1" fmla="*/ 193846 h 369810"/>
                  <a:gd name="connsiteX2" fmla="*/ 8472 w 211548"/>
                  <a:gd name="connsiteY2" fmla="*/ 369231 h 369810"/>
                  <a:gd name="connsiteX3" fmla="*/ 48472 w 211548"/>
                  <a:gd name="connsiteY3" fmla="*/ 92308 h 369810"/>
                  <a:gd name="connsiteX4" fmla="*/ 171549 w 211548"/>
                  <a:gd name="connsiteY4" fmla="*/ 0 h 369810"/>
                  <a:gd name="connsiteX5" fmla="*/ 211549 w 211548"/>
                  <a:gd name="connsiteY5" fmla="*/ 98461 h 369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1548" h="369810">
                    <a:moveTo>
                      <a:pt x="211549" y="98461"/>
                    </a:moveTo>
                    <a:lnTo>
                      <a:pt x="113087" y="193846"/>
                    </a:lnTo>
                    <a:cubicBezTo>
                      <a:pt x="113087" y="193846"/>
                      <a:pt x="33087" y="381538"/>
                      <a:pt x="8472" y="369231"/>
                    </a:cubicBezTo>
                    <a:cubicBezTo>
                      <a:pt x="-16144" y="356923"/>
                      <a:pt x="17703" y="104615"/>
                      <a:pt x="48472" y="92308"/>
                    </a:cubicBezTo>
                    <a:cubicBezTo>
                      <a:pt x="94626" y="70769"/>
                      <a:pt x="171549" y="0"/>
                      <a:pt x="171549" y="0"/>
                    </a:cubicBezTo>
                    <a:lnTo>
                      <a:pt x="211549" y="98461"/>
                    </a:ln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8560C116-21B3-4BF1-872B-5F9FD9BFA654}"/>
                </a:ext>
              </a:extLst>
            </p:cNvPr>
            <p:cNvSpPr/>
            <p:nvPr/>
          </p:nvSpPr>
          <p:spPr>
            <a:xfrm>
              <a:off x="-5968617" y="2610290"/>
              <a:ext cx="38197" cy="182813"/>
            </a:xfrm>
            <a:custGeom>
              <a:avLst/>
              <a:gdLst>
                <a:gd name="connsiteX0" fmla="*/ 6154 w 38197"/>
                <a:gd name="connsiteY0" fmla="*/ 182813 h 182813"/>
                <a:gd name="connsiteX1" fmla="*/ 6154 w 38197"/>
                <a:gd name="connsiteY1" fmla="*/ 182813 h 182813"/>
                <a:gd name="connsiteX2" fmla="*/ 0 w 38197"/>
                <a:gd name="connsiteY2" fmla="*/ 176659 h 182813"/>
                <a:gd name="connsiteX3" fmla="*/ 27692 w 38197"/>
                <a:gd name="connsiteY3" fmla="*/ 4351 h 182813"/>
                <a:gd name="connsiteX4" fmla="*/ 33846 w 38197"/>
                <a:gd name="connsiteY4" fmla="*/ 1274 h 182813"/>
                <a:gd name="connsiteX5" fmla="*/ 36923 w 38197"/>
                <a:gd name="connsiteY5" fmla="*/ 7429 h 182813"/>
                <a:gd name="connsiteX6" fmla="*/ 9231 w 38197"/>
                <a:gd name="connsiteY6" fmla="*/ 176659 h 182813"/>
                <a:gd name="connsiteX7" fmla="*/ 6154 w 38197"/>
                <a:gd name="connsiteY7" fmla="*/ 182813 h 182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97" h="182813">
                  <a:moveTo>
                    <a:pt x="6154" y="182813"/>
                  </a:moveTo>
                  <a:cubicBezTo>
                    <a:pt x="6154" y="182813"/>
                    <a:pt x="6154" y="182813"/>
                    <a:pt x="6154" y="182813"/>
                  </a:cubicBezTo>
                  <a:cubicBezTo>
                    <a:pt x="3077" y="182813"/>
                    <a:pt x="0" y="179736"/>
                    <a:pt x="0" y="176659"/>
                  </a:cubicBezTo>
                  <a:cubicBezTo>
                    <a:pt x="3077" y="133582"/>
                    <a:pt x="27692" y="10505"/>
                    <a:pt x="27692" y="4351"/>
                  </a:cubicBezTo>
                  <a:cubicBezTo>
                    <a:pt x="27692" y="1274"/>
                    <a:pt x="30769" y="-1802"/>
                    <a:pt x="33846" y="1274"/>
                  </a:cubicBezTo>
                  <a:cubicBezTo>
                    <a:pt x="36923" y="1274"/>
                    <a:pt x="40000" y="4351"/>
                    <a:pt x="36923" y="7429"/>
                  </a:cubicBezTo>
                  <a:cubicBezTo>
                    <a:pt x="36923" y="7429"/>
                    <a:pt x="12308" y="136659"/>
                    <a:pt x="9231" y="176659"/>
                  </a:cubicBezTo>
                  <a:cubicBezTo>
                    <a:pt x="12308" y="179736"/>
                    <a:pt x="9231" y="182813"/>
                    <a:pt x="6154" y="182813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E58B0DE7-C5EB-44D9-9F74-9F73D0A54DF3}"/>
                </a:ext>
              </a:extLst>
            </p:cNvPr>
            <p:cNvSpPr/>
            <p:nvPr/>
          </p:nvSpPr>
          <p:spPr>
            <a:xfrm>
              <a:off x="-5827078" y="405411"/>
              <a:ext cx="1416588" cy="2544615"/>
            </a:xfrm>
            <a:custGeom>
              <a:avLst/>
              <a:gdLst>
                <a:gd name="connsiteX0" fmla="*/ 621539 w 1416588"/>
                <a:gd name="connsiteY0" fmla="*/ 0 h 2544615"/>
                <a:gd name="connsiteX1" fmla="*/ 1295385 w 1416588"/>
                <a:gd name="connsiteY1" fmla="*/ 0 h 2544615"/>
                <a:gd name="connsiteX2" fmla="*/ 1415385 w 1416588"/>
                <a:gd name="connsiteY2" fmla="*/ 464616 h 2544615"/>
                <a:gd name="connsiteX3" fmla="*/ 1233846 w 1416588"/>
                <a:gd name="connsiteY3" fmla="*/ 2507692 h 2544615"/>
                <a:gd name="connsiteX4" fmla="*/ 1058462 w 1416588"/>
                <a:gd name="connsiteY4" fmla="*/ 2544615 h 2544615"/>
                <a:gd name="connsiteX5" fmla="*/ 950769 w 1416588"/>
                <a:gd name="connsiteY5" fmla="*/ 818462 h 2544615"/>
                <a:gd name="connsiteX6" fmla="*/ 861539 w 1416588"/>
                <a:gd name="connsiteY6" fmla="*/ 1744616 h 2544615"/>
                <a:gd name="connsiteX7" fmla="*/ 833846 w 1416588"/>
                <a:gd name="connsiteY7" fmla="*/ 1787693 h 2544615"/>
                <a:gd name="connsiteX8" fmla="*/ 129231 w 1416588"/>
                <a:gd name="connsiteY8" fmla="*/ 2295385 h 2544615"/>
                <a:gd name="connsiteX9" fmla="*/ 0 w 1416588"/>
                <a:gd name="connsiteY9" fmla="*/ 2064616 h 2544615"/>
                <a:gd name="connsiteX10" fmla="*/ 523077 w 1416588"/>
                <a:gd name="connsiteY10" fmla="*/ 1670769 h 2544615"/>
                <a:gd name="connsiteX11" fmla="*/ 486154 w 1416588"/>
                <a:gd name="connsiteY11" fmla="*/ 418462 h 2544615"/>
                <a:gd name="connsiteX12" fmla="*/ 621539 w 1416588"/>
                <a:gd name="connsiteY12" fmla="*/ 0 h 254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16588" h="2544615">
                  <a:moveTo>
                    <a:pt x="621539" y="0"/>
                  </a:moveTo>
                  <a:lnTo>
                    <a:pt x="1295385" y="0"/>
                  </a:lnTo>
                  <a:cubicBezTo>
                    <a:pt x="1295385" y="0"/>
                    <a:pt x="1393846" y="307692"/>
                    <a:pt x="1415385" y="464616"/>
                  </a:cubicBezTo>
                  <a:cubicBezTo>
                    <a:pt x="1433846" y="618462"/>
                    <a:pt x="1233846" y="2507692"/>
                    <a:pt x="1233846" y="2507692"/>
                  </a:cubicBezTo>
                  <a:lnTo>
                    <a:pt x="1058462" y="2544615"/>
                  </a:lnTo>
                  <a:lnTo>
                    <a:pt x="950769" y="818462"/>
                  </a:lnTo>
                  <a:cubicBezTo>
                    <a:pt x="950769" y="818462"/>
                    <a:pt x="880000" y="1587693"/>
                    <a:pt x="861539" y="1744616"/>
                  </a:cubicBezTo>
                  <a:cubicBezTo>
                    <a:pt x="858462" y="1763077"/>
                    <a:pt x="849231" y="1778462"/>
                    <a:pt x="833846" y="1787693"/>
                  </a:cubicBezTo>
                  <a:lnTo>
                    <a:pt x="129231" y="2295385"/>
                  </a:lnTo>
                  <a:lnTo>
                    <a:pt x="0" y="2064616"/>
                  </a:lnTo>
                  <a:lnTo>
                    <a:pt x="523077" y="1670769"/>
                  </a:lnTo>
                  <a:cubicBezTo>
                    <a:pt x="523077" y="1670769"/>
                    <a:pt x="492308" y="483077"/>
                    <a:pt x="486154" y="418462"/>
                  </a:cubicBezTo>
                  <a:cubicBezTo>
                    <a:pt x="476923" y="298462"/>
                    <a:pt x="621539" y="0"/>
                    <a:pt x="621539" y="0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91A94CD4-8F27-4187-9651-A0405C221B26}"/>
                </a:ext>
              </a:extLst>
            </p:cNvPr>
            <p:cNvSpPr/>
            <p:nvPr/>
          </p:nvSpPr>
          <p:spPr>
            <a:xfrm>
              <a:off x="-4959386" y="793103"/>
              <a:ext cx="132307" cy="1230769"/>
            </a:xfrm>
            <a:custGeom>
              <a:avLst/>
              <a:gdLst>
                <a:gd name="connsiteX0" fmla="*/ 6154 w 132307"/>
                <a:gd name="connsiteY0" fmla="*/ 1230769 h 1230769"/>
                <a:gd name="connsiteX1" fmla="*/ 6154 w 132307"/>
                <a:gd name="connsiteY1" fmla="*/ 1230769 h 1230769"/>
                <a:gd name="connsiteX2" fmla="*/ 0 w 132307"/>
                <a:gd name="connsiteY2" fmla="*/ 1221538 h 1230769"/>
                <a:gd name="connsiteX3" fmla="*/ 76923 w 132307"/>
                <a:gd name="connsiteY3" fmla="*/ 427692 h 1230769"/>
                <a:gd name="connsiteX4" fmla="*/ 120000 w 132307"/>
                <a:gd name="connsiteY4" fmla="*/ 6154 h 1230769"/>
                <a:gd name="connsiteX5" fmla="*/ 126154 w 132307"/>
                <a:gd name="connsiteY5" fmla="*/ 0 h 1230769"/>
                <a:gd name="connsiteX6" fmla="*/ 132308 w 132307"/>
                <a:gd name="connsiteY6" fmla="*/ 6154 h 1230769"/>
                <a:gd name="connsiteX7" fmla="*/ 89231 w 132307"/>
                <a:gd name="connsiteY7" fmla="*/ 427692 h 1230769"/>
                <a:gd name="connsiteX8" fmla="*/ 12308 w 132307"/>
                <a:gd name="connsiteY8" fmla="*/ 1224615 h 1230769"/>
                <a:gd name="connsiteX9" fmla="*/ 6154 w 132307"/>
                <a:gd name="connsiteY9" fmla="*/ 1230769 h 123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2307" h="1230769">
                  <a:moveTo>
                    <a:pt x="6154" y="1230769"/>
                  </a:moveTo>
                  <a:cubicBezTo>
                    <a:pt x="6154" y="1230769"/>
                    <a:pt x="3077" y="1230769"/>
                    <a:pt x="6154" y="1230769"/>
                  </a:cubicBezTo>
                  <a:cubicBezTo>
                    <a:pt x="0" y="1227692"/>
                    <a:pt x="0" y="1224615"/>
                    <a:pt x="0" y="1221538"/>
                  </a:cubicBezTo>
                  <a:cubicBezTo>
                    <a:pt x="6154" y="1203077"/>
                    <a:pt x="55385" y="643077"/>
                    <a:pt x="76923" y="427692"/>
                  </a:cubicBezTo>
                  <a:lnTo>
                    <a:pt x="120000" y="6154"/>
                  </a:lnTo>
                  <a:cubicBezTo>
                    <a:pt x="120000" y="3077"/>
                    <a:pt x="123077" y="0"/>
                    <a:pt x="126154" y="0"/>
                  </a:cubicBezTo>
                  <a:cubicBezTo>
                    <a:pt x="129231" y="0"/>
                    <a:pt x="132308" y="3077"/>
                    <a:pt x="132308" y="6154"/>
                  </a:cubicBezTo>
                  <a:lnTo>
                    <a:pt x="89231" y="427692"/>
                  </a:lnTo>
                  <a:cubicBezTo>
                    <a:pt x="83077" y="507692"/>
                    <a:pt x="18461" y="1206154"/>
                    <a:pt x="12308" y="1224615"/>
                  </a:cubicBezTo>
                  <a:cubicBezTo>
                    <a:pt x="9231" y="1230769"/>
                    <a:pt x="6154" y="1230769"/>
                    <a:pt x="6154" y="1230769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D67CF4AC-E0C1-4DC7-8E9C-1067A29D227F}"/>
                </a:ext>
              </a:extLst>
            </p:cNvPr>
            <p:cNvSpPr/>
            <p:nvPr/>
          </p:nvSpPr>
          <p:spPr>
            <a:xfrm>
              <a:off x="-5187085" y="-963819"/>
              <a:ext cx="249237" cy="369230"/>
            </a:xfrm>
            <a:custGeom>
              <a:avLst/>
              <a:gdLst>
                <a:gd name="connsiteX0" fmla="*/ 7 w 249237"/>
                <a:gd name="connsiteY0" fmla="*/ 0 h 369230"/>
                <a:gd name="connsiteX1" fmla="*/ 123084 w 249237"/>
                <a:gd name="connsiteY1" fmla="*/ 363077 h 369230"/>
                <a:gd name="connsiteX2" fmla="*/ 203084 w 249237"/>
                <a:gd name="connsiteY2" fmla="*/ 369231 h 369230"/>
                <a:gd name="connsiteX3" fmla="*/ 249238 w 249237"/>
                <a:gd name="connsiteY3" fmla="*/ 252308 h 369230"/>
                <a:gd name="connsiteX4" fmla="*/ 156930 w 249237"/>
                <a:gd name="connsiteY4" fmla="*/ 113846 h 369230"/>
                <a:gd name="connsiteX5" fmla="*/ 7 w 249237"/>
                <a:gd name="connsiteY5" fmla="*/ 0 h 36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237" h="369230">
                  <a:moveTo>
                    <a:pt x="7" y="0"/>
                  </a:moveTo>
                  <a:cubicBezTo>
                    <a:pt x="7" y="0"/>
                    <a:pt x="-3070" y="184615"/>
                    <a:pt x="123084" y="363077"/>
                  </a:cubicBezTo>
                  <a:lnTo>
                    <a:pt x="203084" y="369231"/>
                  </a:lnTo>
                  <a:lnTo>
                    <a:pt x="249238" y="252308"/>
                  </a:lnTo>
                  <a:lnTo>
                    <a:pt x="156930" y="113846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3AE96583-4F2B-42C6-B460-73D6B45C04B7}"/>
                </a:ext>
              </a:extLst>
            </p:cNvPr>
            <p:cNvSpPr/>
            <p:nvPr/>
          </p:nvSpPr>
          <p:spPr>
            <a:xfrm>
              <a:off x="-4701516" y="-508431"/>
              <a:ext cx="406745" cy="424611"/>
            </a:xfrm>
            <a:custGeom>
              <a:avLst/>
              <a:gdLst>
                <a:gd name="connsiteX0" fmla="*/ 52899 w 406745"/>
                <a:gd name="connsiteY0" fmla="*/ 424612 h 424611"/>
                <a:gd name="connsiteX1" fmla="*/ 59053 w 406745"/>
                <a:gd name="connsiteY1" fmla="*/ 15381 h 424611"/>
                <a:gd name="connsiteX2" fmla="*/ 406746 w 406745"/>
                <a:gd name="connsiteY2" fmla="*/ 295381 h 424611"/>
                <a:gd name="connsiteX3" fmla="*/ 52899 w 406745"/>
                <a:gd name="connsiteY3" fmla="*/ 424612 h 424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745" h="424611">
                  <a:moveTo>
                    <a:pt x="52899" y="424612"/>
                  </a:moveTo>
                  <a:cubicBezTo>
                    <a:pt x="-30178" y="258458"/>
                    <a:pt x="-5562" y="64612"/>
                    <a:pt x="59053" y="15381"/>
                  </a:cubicBezTo>
                  <a:cubicBezTo>
                    <a:pt x="142130" y="-49234"/>
                    <a:pt x="335976" y="98458"/>
                    <a:pt x="406746" y="295381"/>
                  </a:cubicBezTo>
                  <a:cubicBezTo>
                    <a:pt x="363669" y="356919"/>
                    <a:pt x="154438" y="409227"/>
                    <a:pt x="52899" y="424612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38A11863-F4A6-412B-95BB-CB0EE616E7EF}"/>
                </a:ext>
              </a:extLst>
            </p:cNvPr>
            <p:cNvSpPr/>
            <p:nvPr/>
          </p:nvSpPr>
          <p:spPr>
            <a:xfrm>
              <a:off x="-5262505" y="-562171"/>
              <a:ext cx="828154" cy="995366"/>
            </a:xfrm>
            <a:custGeom>
              <a:avLst/>
              <a:gdLst>
                <a:gd name="connsiteX0" fmla="*/ 44657 w 828154"/>
                <a:gd name="connsiteY0" fmla="*/ 395275 h 995366"/>
                <a:gd name="connsiteX1" fmla="*/ 60042 w 828154"/>
                <a:gd name="connsiteY1" fmla="*/ 69121 h 995366"/>
                <a:gd name="connsiteX2" fmla="*/ 432349 w 828154"/>
                <a:gd name="connsiteY2" fmla="*/ 4506 h 995366"/>
                <a:gd name="connsiteX3" fmla="*/ 736965 w 828154"/>
                <a:gd name="connsiteY3" fmla="*/ 106044 h 995366"/>
                <a:gd name="connsiteX4" fmla="*/ 776965 w 828154"/>
                <a:gd name="connsiteY4" fmla="*/ 659890 h 995366"/>
                <a:gd name="connsiteX5" fmla="*/ 733888 w 828154"/>
                <a:gd name="connsiteY5" fmla="*/ 989121 h 995366"/>
                <a:gd name="connsiteX6" fmla="*/ 50811 w 828154"/>
                <a:gd name="connsiteY6" fmla="*/ 973737 h 995366"/>
                <a:gd name="connsiteX7" fmla="*/ 44657 w 828154"/>
                <a:gd name="connsiteY7" fmla="*/ 395275 h 99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8154" h="995366">
                  <a:moveTo>
                    <a:pt x="44657" y="395275"/>
                  </a:moveTo>
                  <a:cubicBezTo>
                    <a:pt x="35426" y="364506"/>
                    <a:pt x="-59958" y="133736"/>
                    <a:pt x="60042" y="69121"/>
                  </a:cubicBezTo>
                  <a:cubicBezTo>
                    <a:pt x="164657" y="13737"/>
                    <a:pt x="312349" y="-10879"/>
                    <a:pt x="432349" y="4506"/>
                  </a:cubicBezTo>
                  <a:cubicBezTo>
                    <a:pt x="564657" y="19890"/>
                    <a:pt x="696965" y="41429"/>
                    <a:pt x="736965" y="106044"/>
                  </a:cubicBezTo>
                  <a:cubicBezTo>
                    <a:pt x="850811" y="293737"/>
                    <a:pt x="850811" y="459890"/>
                    <a:pt x="776965" y="659890"/>
                  </a:cubicBezTo>
                  <a:cubicBezTo>
                    <a:pt x="755426" y="718352"/>
                    <a:pt x="749273" y="853737"/>
                    <a:pt x="733888" y="989121"/>
                  </a:cubicBezTo>
                  <a:cubicBezTo>
                    <a:pt x="733888" y="989121"/>
                    <a:pt x="447734" y="1010660"/>
                    <a:pt x="50811" y="973737"/>
                  </a:cubicBezTo>
                  <a:cubicBezTo>
                    <a:pt x="81580" y="752198"/>
                    <a:pt x="53888" y="419890"/>
                    <a:pt x="44657" y="395275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8E7C07B6-D9A9-424A-A0B9-B0B5D79775F2}"/>
                </a:ext>
              </a:extLst>
            </p:cNvPr>
            <p:cNvSpPr/>
            <p:nvPr/>
          </p:nvSpPr>
          <p:spPr>
            <a:xfrm>
              <a:off x="-4919776" y="-1261942"/>
              <a:ext cx="324245" cy="596218"/>
            </a:xfrm>
            <a:custGeom>
              <a:avLst/>
              <a:gdLst>
                <a:gd name="connsiteX0" fmla="*/ 145006 w 324245"/>
                <a:gd name="connsiteY0" fmla="*/ 581200 h 596218"/>
                <a:gd name="connsiteX1" fmla="*/ 323467 w 324245"/>
                <a:gd name="connsiteY1" fmla="*/ 233508 h 596218"/>
                <a:gd name="connsiteX2" fmla="*/ 390 w 324245"/>
                <a:gd name="connsiteY2" fmla="*/ 8893 h 596218"/>
                <a:gd name="connsiteX3" fmla="*/ 37313 w 324245"/>
                <a:gd name="connsiteY3" fmla="*/ 178123 h 596218"/>
                <a:gd name="connsiteX4" fmla="*/ 86544 w 324245"/>
                <a:gd name="connsiteY4" fmla="*/ 322739 h 596218"/>
                <a:gd name="connsiteX5" fmla="*/ 145006 w 324245"/>
                <a:gd name="connsiteY5" fmla="*/ 581200 h 596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4245" h="596218">
                  <a:moveTo>
                    <a:pt x="145006" y="581200"/>
                  </a:moveTo>
                  <a:cubicBezTo>
                    <a:pt x="301929" y="550431"/>
                    <a:pt x="329621" y="298124"/>
                    <a:pt x="323467" y="233508"/>
                  </a:cubicBezTo>
                  <a:cubicBezTo>
                    <a:pt x="301929" y="67354"/>
                    <a:pt x="117313" y="-31107"/>
                    <a:pt x="390" y="8893"/>
                  </a:cubicBezTo>
                  <a:cubicBezTo>
                    <a:pt x="-2687" y="8893"/>
                    <a:pt x="12698" y="128893"/>
                    <a:pt x="37313" y="178123"/>
                  </a:cubicBezTo>
                  <a:cubicBezTo>
                    <a:pt x="58852" y="224277"/>
                    <a:pt x="77313" y="273508"/>
                    <a:pt x="86544" y="322739"/>
                  </a:cubicBezTo>
                  <a:cubicBezTo>
                    <a:pt x="95775" y="378123"/>
                    <a:pt x="46544" y="664277"/>
                    <a:pt x="145006" y="581200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6B9C98F8-8693-43FA-9D41-9A18ADD9663D}"/>
                </a:ext>
              </a:extLst>
            </p:cNvPr>
            <p:cNvSpPr/>
            <p:nvPr/>
          </p:nvSpPr>
          <p:spPr>
            <a:xfrm>
              <a:off x="-5088617" y="-1204717"/>
              <a:ext cx="426499" cy="573528"/>
            </a:xfrm>
            <a:custGeom>
              <a:avLst/>
              <a:gdLst>
                <a:gd name="connsiteX0" fmla="*/ 418462 w 426499"/>
                <a:gd name="connsiteY0" fmla="*/ 185513 h 573528"/>
                <a:gd name="connsiteX1" fmla="*/ 406154 w 426499"/>
                <a:gd name="connsiteY1" fmla="*/ 443975 h 573528"/>
                <a:gd name="connsiteX2" fmla="*/ 255385 w 426499"/>
                <a:gd name="connsiteY2" fmla="*/ 573206 h 573528"/>
                <a:gd name="connsiteX3" fmla="*/ 36923 w 426499"/>
                <a:gd name="connsiteY3" fmla="*/ 428590 h 573528"/>
                <a:gd name="connsiteX4" fmla="*/ 0 w 426499"/>
                <a:gd name="connsiteY4" fmla="*/ 200898 h 573528"/>
                <a:gd name="connsiteX5" fmla="*/ 215385 w 426499"/>
                <a:gd name="connsiteY5" fmla="*/ 898 h 573528"/>
                <a:gd name="connsiteX6" fmla="*/ 418462 w 426499"/>
                <a:gd name="connsiteY6" fmla="*/ 185513 h 57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499" h="573528">
                  <a:moveTo>
                    <a:pt x="418462" y="185513"/>
                  </a:moveTo>
                  <a:cubicBezTo>
                    <a:pt x="418462" y="185513"/>
                    <a:pt x="443077" y="376283"/>
                    <a:pt x="406154" y="443975"/>
                  </a:cubicBezTo>
                  <a:cubicBezTo>
                    <a:pt x="369231" y="511667"/>
                    <a:pt x="307692" y="570129"/>
                    <a:pt x="255385" y="573206"/>
                  </a:cubicBezTo>
                  <a:cubicBezTo>
                    <a:pt x="187692" y="579360"/>
                    <a:pt x="73846" y="496283"/>
                    <a:pt x="36923" y="428590"/>
                  </a:cubicBezTo>
                  <a:cubicBezTo>
                    <a:pt x="0" y="360898"/>
                    <a:pt x="0" y="253206"/>
                    <a:pt x="0" y="200898"/>
                  </a:cubicBezTo>
                  <a:cubicBezTo>
                    <a:pt x="3077" y="105513"/>
                    <a:pt x="30769" y="25513"/>
                    <a:pt x="215385" y="898"/>
                  </a:cubicBezTo>
                  <a:cubicBezTo>
                    <a:pt x="301538" y="-11410"/>
                    <a:pt x="396923" y="105513"/>
                    <a:pt x="418462" y="185513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9567CE9C-9B6A-4DFE-B2DB-86912A562482}"/>
                </a:ext>
              </a:extLst>
            </p:cNvPr>
            <p:cNvSpPr/>
            <p:nvPr/>
          </p:nvSpPr>
          <p:spPr>
            <a:xfrm>
              <a:off x="-4860924" y="-933050"/>
              <a:ext cx="55384" cy="132307"/>
            </a:xfrm>
            <a:custGeom>
              <a:avLst/>
              <a:gdLst>
                <a:gd name="connsiteX0" fmla="*/ 30769 w 55384"/>
                <a:gd name="connsiteY0" fmla="*/ 132308 h 132307"/>
                <a:gd name="connsiteX1" fmla="*/ 6154 w 55384"/>
                <a:gd name="connsiteY1" fmla="*/ 129231 h 132307"/>
                <a:gd name="connsiteX2" fmla="*/ 0 w 55384"/>
                <a:gd name="connsiteY2" fmla="*/ 123077 h 132307"/>
                <a:gd name="connsiteX3" fmla="*/ 6154 w 55384"/>
                <a:gd name="connsiteY3" fmla="*/ 116923 h 132307"/>
                <a:gd name="connsiteX4" fmla="*/ 46154 w 55384"/>
                <a:gd name="connsiteY4" fmla="*/ 116923 h 132307"/>
                <a:gd name="connsiteX5" fmla="*/ 46154 w 55384"/>
                <a:gd name="connsiteY5" fmla="*/ 113846 h 132307"/>
                <a:gd name="connsiteX6" fmla="*/ 18461 w 55384"/>
                <a:gd name="connsiteY6" fmla="*/ 6154 h 132307"/>
                <a:gd name="connsiteX7" fmla="*/ 21538 w 55384"/>
                <a:gd name="connsiteY7" fmla="*/ 0 h 132307"/>
                <a:gd name="connsiteX8" fmla="*/ 27692 w 55384"/>
                <a:gd name="connsiteY8" fmla="*/ 3077 h 132307"/>
                <a:gd name="connsiteX9" fmla="*/ 55385 w 55384"/>
                <a:gd name="connsiteY9" fmla="*/ 113846 h 132307"/>
                <a:gd name="connsiteX10" fmla="*/ 49231 w 55384"/>
                <a:gd name="connsiteY10" fmla="*/ 126154 h 132307"/>
                <a:gd name="connsiteX11" fmla="*/ 30769 w 55384"/>
                <a:gd name="connsiteY11" fmla="*/ 132308 h 1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384" h="132307">
                  <a:moveTo>
                    <a:pt x="30769" y="132308"/>
                  </a:moveTo>
                  <a:cubicBezTo>
                    <a:pt x="18461" y="132308"/>
                    <a:pt x="9231" y="129231"/>
                    <a:pt x="6154" y="129231"/>
                  </a:cubicBezTo>
                  <a:cubicBezTo>
                    <a:pt x="3077" y="129231"/>
                    <a:pt x="0" y="126154"/>
                    <a:pt x="0" y="123077"/>
                  </a:cubicBezTo>
                  <a:cubicBezTo>
                    <a:pt x="0" y="120000"/>
                    <a:pt x="3077" y="116923"/>
                    <a:pt x="6154" y="116923"/>
                  </a:cubicBezTo>
                  <a:cubicBezTo>
                    <a:pt x="18461" y="120000"/>
                    <a:pt x="40000" y="120000"/>
                    <a:pt x="46154" y="116923"/>
                  </a:cubicBezTo>
                  <a:cubicBezTo>
                    <a:pt x="46154" y="116923"/>
                    <a:pt x="46154" y="113846"/>
                    <a:pt x="46154" y="113846"/>
                  </a:cubicBezTo>
                  <a:cubicBezTo>
                    <a:pt x="46154" y="98462"/>
                    <a:pt x="24615" y="30769"/>
                    <a:pt x="18461" y="6154"/>
                  </a:cubicBezTo>
                  <a:cubicBezTo>
                    <a:pt x="18461" y="3077"/>
                    <a:pt x="18461" y="0"/>
                    <a:pt x="21538" y="0"/>
                  </a:cubicBezTo>
                  <a:cubicBezTo>
                    <a:pt x="24615" y="0"/>
                    <a:pt x="27692" y="0"/>
                    <a:pt x="27692" y="3077"/>
                  </a:cubicBezTo>
                  <a:cubicBezTo>
                    <a:pt x="27692" y="6154"/>
                    <a:pt x="55385" y="92308"/>
                    <a:pt x="55385" y="113846"/>
                  </a:cubicBezTo>
                  <a:cubicBezTo>
                    <a:pt x="55385" y="120000"/>
                    <a:pt x="52308" y="123077"/>
                    <a:pt x="49231" y="126154"/>
                  </a:cubicBezTo>
                  <a:cubicBezTo>
                    <a:pt x="49231" y="132308"/>
                    <a:pt x="40000" y="132308"/>
                    <a:pt x="30769" y="132308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9732DB46-E49B-48EC-930E-FB349568FB34}"/>
                </a:ext>
              </a:extLst>
            </p:cNvPr>
            <p:cNvSpPr/>
            <p:nvPr/>
          </p:nvSpPr>
          <p:spPr>
            <a:xfrm>
              <a:off x="-4888617" y="-748434"/>
              <a:ext cx="107692" cy="55384"/>
            </a:xfrm>
            <a:custGeom>
              <a:avLst/>
              <a:gdLst>
                <a:gd name="connsiteX0" fmla="*/ 0 w 107692"/>
                <a:gd name="connsiteY0" fmla="*/ 0 h 55384"/>
                <a:gd name="connsiteX1" fmla="*/ 107692 w 107692"/>
                <a:gd name="connsiteY1" fmla="*/ 0 h 55384"/>
                <a:gd name="connsiteX2" fmla="*/ 55385 w 107692"/>
                <a:gd name="connsiteY2" fmla="*/ 55385 h 55384"/>
                <a:gd name="connsiteX3" fmla="*/ 0 w 107692"/>
                <a:gd name="connsiteY3" fmla="*/ 0 h 55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92" h="55384">
                  <a:moveTo>
                    <a:pt x="0" y="0"/>
                  </a:moveTo>
                  <a:cubicBezTo>
                    <a:pt x="55385" y="24615"/>
                    <a:pt x="107692" y="0"/>
                    <a:pt x="107692" y="0"/>
                  </a:cubicBezTo>
                  <a:cubicBezTo>
                    <a:pt x="107692" y="0"/>
                    <a:pt x="92308" y="55385"/>
                    <a:pt x="55385" y="55385"/>
                  </a:cubicBezTo>
                  <a:cubicBezTo>
                    <a:pt x="12308" y="52308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7A451D4F-CF6C-42F8-9F41-2CFA7A4D21C5}"/>
                </a:ext>
              </a:extLst>
            </p:cNvPr>
            <p:cNvSpPr/>
            <p:nvPr/>
          </p:nvSpPr>
          <p:spPr>
            <a:xfrm>
              <a:off x="-4769401" y="-961526"/>
              <a:ext cx="41387" cy="41568"/>
            </a:xfrm>
            <a:custGeom>
              <a:avLst/>
              <a:gdLst>
                <a:gd name="connsiteX0" fmla="*/ 784 w 41387"/>
                <a:gd name="connsiteY0" fmla="*/ 25400 h 41568"/>
                <a:gd name="connsiteX1" fmla="*/ 25399 w 41387"/>
                <a:gd name="connsiteY1" fmla="*/ 40784 h 41568"/>
                <a:gd name="connsiteX2" fmla="*/ 40784 w 41387"/>
                <a:gd name="connsiteY2" fmla="*/ 16169 h 41568"/>
                <a:gd name="connsiteX3" fmla="*/ 16169 w 41387"/>
                <a:gd name="connsiteY3" fmla="*/ 784 h 41568"/>
                <a:gd name="connsiteX4" fmla="*/ 784 w 41387"/>
                <a:gd name="connsiteY4" fmla="*/ 25400 h 41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568">
                  <a:moveTo>
                    <a:pt x="784" y="25400"/>
                  </a:moveTo>
                  <a:cubicBezTo>
                    <a:pt x="3861" y="37707"/>
                    <a:pt x="13092" y="43861"/>
                    <a:pt x="25399" y="40784"/>
                  </a:cubicBezTo>
                  <a:cubicBezTo>
                    <a:pt x="34630" y="37707"/>
                    <a:pt x="43861" y="28476"/>
                    <a:pt x="40784" y="16169"/>
                  </a:cubicBezTo>
                  <a:cubicBezTo>
                    <a:pt x="37707" y="3861"/>
                    <a:pt x="28476" y="-2293"/>
                    <a:pt x="16169" y="784"/>
                  </a:cubicBezTo>
                  <a:cubicBezTo>
                    <a:pt x="3861" y="3861"/>
                    <a:pt x="-2293" y="16169"/>
                    <a:pt x="784" y="25400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03148F2A-3420-4023-B200-B0B47D989114}"/>
                </a:ext>
              </a:extLst>
            </p:cNvPr>
            <p:cNvSpPr/>
            <p:nvPr/>
          </p:nvSpPr>
          <p:spPr>
            <a:xfrm>
              <a:off x="-4960170" y="-955192"/>
              <a:ext cx="41568" cy="41387"/>
            </a:xfrm>
            <a:custGeom>
              <a:avLst/>
              <a:gdLst>
                <a:gd name="connsiteX0" fmla="*/ 784 w 41568"/>
                <a:gd name="connsiteY0" fmla="*/ 25219 h 41387"/>
                <a:gd name="connsiteX1" fmla="*/ 25399 w 41568"/>
                <a:gd name="connsiteY1" fmla="*/ 40604 h 41387"/>
                <a:gd name="connsiteX2" fmla="*/ 40784 w 41568"/>
                <a:gd name="connsiteY2" fmla="*/ 15988 h 41387"/>
                <a:gd name="connsiteX3" fmla="*/ 16169 w 41568"/>
                <a:gd name="connsiteY3" fmla="*/ 604 h 41387"/>
                <a:gd name="connsiteX4" fmla="*/ 784 w 41568"/>
                <a:gd name="connsiteY4" fmla="*/ 25219 h 4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68" h="41387">
                  <a:moveTo>
                    <a:pt x="784" y="25219"/>
                  </a:moveTo>
                  <a:cubicBezTo>
                    <a:pt x="3861" y="37527"/>
                    <a:pt x="13092" y="43680"/>
                    <a:pt x="25399" y="40604"/>
                  </a:cubicBezTo>
                  <a:cubicBezTo>
                    <a:pt x="37707" y="37527"/>
                    <a:pt x="43861" y="28296"/>
                    <a:pt x="40784" y="15988"/>
                  </a:cubicBezTo>
                  <a:cubicBezTo>
                    <a:pt x="37707" y="6757"/>
                    <a:pt x="28476" y="-2473"/>
                    <a:pt x="16169" y="604"/>
                  </a:cubicBezTo>
                  <a:cubicBezTo>
                    <a:pt x="3861" y="3680"/>
                    <a:pt x="-2293" y="15988"/>
                    <a:pt x="784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57725AFD-7F92-489E-881C-CE1639ACC99A}"/>
                </a:ext>
              </a:extLst>
            </p:cNvPr>
            <p:cNvSpPr/>
            <p:nvPr/>
          </p:nvSpPr>
          <p:spPr>
            <a:xfrm>
              <a:off x="-4794507" y="-1006896"/>
              <a:ext cx="92812" cy="30769"/>
            </a:xfrm>
            <a:custGeom>
              <a:avLst/>
              <a:gdLst>
                <a:gd name="connsiteX0" fmla="*/ 84351 w 92812"/>
                <a:gd name="connsiteY0" fmla="*/ 30769 h 30769"/>
                <a:gd name="connsiteX1" fmla="*/ 78198 w 92812"/>
                <a:gd name="connsiteY1" fmla="*/ 27692 h 30769"/>
                <a:gd name="connsiteX2" fmla="*/ 10505 w 92812"/>
                <a:gd name="connsiteY2" fmla="*/ 21538 h 30769"/>
                <a:gd name="connsiteX3" fmla="*/ 1274 w 92812"/>
                <a:gd name="connsiteY3" fmla="*/ 18462 h 30769"/>
                <a:gd name="connsiteX4" fmla="*/ 4351 w 92812"/>
                <a:gd name="connsiteY4" fmla="*/ 9231 h 30769"/>
                <a:gd name="connsiteX5" fmla="*/ 90505 w 92812"/>
                <a:gd name="connsiteY5" fmla="*/ 18462 h 30769"/>
                <a:gd name="connsiteX6" fmla="*/ 90505 w 92812"/>
                <a:gd name="connsiteY6" fmla="*/ 30769 h 30769"/>
                <a:gd name="connsiteX7" fmla="*/ 84351 w 92812"/>
                <a:gd name="connsiteY7" fmla="*/ 30769 h 3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0769">
                  <a:moveTo>
                    <a:pt x="84351" y="30769"/>
                  </a:moveTo>
                  <a:cubicBezTo>
                    <a:pt x="81275" y="30769"/>
                    <a:pt x="81275" y="30769"/>
                    <a:pt x="78198" y="27692"/>
                  </a:cubicBezTo>
                  <a:cubicBezTo>
                    <a:pt x="53582" y="0"/>
                    <a:pt x="10505" y="21538"/>
                    <a:pt x="10505" y="21538"/>
                  </a:cubicBezTo>
                  <a:cubicBezTo>
                    <a:pt x="7428" y="24615"/>
                    <a:pt x="1274" y="21538"/>
                    <a:pt x="1274" y="18462"/>
                  </a:cubicBezTo>
                  <a:cubicBezTo>
                    <a:pt x="-1802" y="15385"/>
                    <a:pt x="1274" y="9231"/>
                    <a:pt x="4351" y="9231"/>
                  </a:cubicBezTo>
                  <a:cubicBezTo>
                    <a:pt x="22813" y="0"/>
                    <a:pt x="62813" y="-9231"/>
                    <a:pt x="90505" y="18462"/>
                  </a:cubicBezTo>
                  <a:cubicBezTo>
                    <a:pt x="93582" y="21538"/>
                    <a:pt x="93582" y="27692"/>
                    <a:pt x="90505" y="30769"/>
                  </a:cubicBezTo>
                  <a:cubicBezTo>
                    <a:pt x="87428" y="30769"/>
                    <a:pt x="84351" y="30769"/>
                    <a:pt x="84351" y="30769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B9633450-ABD2-4573-9765-A7C693FC0FD4}"/>
                </a:ext>
              </a:extLst>
            </p:cNvPr>
            <p:cNvSpPr/>
            <p:nvPr/>
          </p:nvSpPr>
          <p:spPr>
            <a:xfrm>
              <a:off x="-4989386" y="-1008947"/>
              <a:ext cx="92812" cy="35897"/>
            </a:xfrm>
            <a:custGeom>
              <a:avLst/>
              <a:gdLst>
                <a:gd name="connsiteX0" fmla="*/ 8462 w 92812"/>
                <a:gd name="connsiteY0" fmla="*/ 35897 h 35897"/>
                <a:gd name="connsiteX1" fmla="*/ 2308 w 92812"/>
                <a:gd name="connsiteY1" fmla="*/ 32820 h 35897"/>
                <a:gd name="connsiteX2" fmla="*/ 2308 w 92812"/>
                <a:gd name="connsiteY2" fmla="*/ 20513 h 35897"/>
                <a:gd name="connsiteX3" fmla="*/ 88461 w 92812"/>
                <a:gd name="connsiteY3" fmla="*/ 11282 h 35897"/>
                <a:gd name="connsiteX4" fmla="*/ 91538 w 92812"/>
                <a:gd name="connsiteY4" fmla="*/ 23590 h 35897"/>
                <a:gd name="connsiteX5" fmla="*/ 79231 w 92812"/>
                <a:gd name="connsiteY5" fmla="*/ 26667 h 35897"/>
                <a:gd name="connsiteX6" fmla="*/ 11538 w 92812"/>
                <a:gd name="connsiteY6" fmla="*/ 32820 h 35897"/>
                <a:gd name="connsiteX7" fmla="*/ 8462 w 92812"/>
                <a:gd name="connsiteY7" fmla="*/ 35897 h 35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5897">
                  <a:moveTo>
                    <a:pt x="8462" y="35897"/>
                  </a:moveTo>
                  <a:cubicBezTo>
                    <a:pt x="5385" y="35897"/>
                    <a:pt x="5385" y="35897"/>
                    <a:pt x="2308" y="32820"/>
                  </a:cubicBezTo>
                  <a:cubicBezTo>
                    <a:pt x="-769" y="29744"/>
                    <a:pt x="-769" y="23590"/>
                    <a:pt x="2308" y="20513"/>
                  </a:cubicBezTo>
                  <a:cubicBezTo>
                    <a:pt x="14615" y="8205"/>
                    <a:pt x="51539" y="-13333"/>
                    <a:pt x="88461" y="11282"/>
                  </a:cubicBezTo>
                  <a:cubicBezTo>
                    <a:pt x="91538" y="14359"/>
                    <a:pt x="94615" y="17436"/>
                    <a:pt x="91538" y="23590"/>
                  </a:cubicBezTo>
                  <a:cubicBezTo>
                    <a:pt x="88461" y="26667"/>
                    <a:pt x="85385" y="29744"/>
                    <a:pt x="79231" y="26667"/>
                  </a:cubicBezTo>
                  <a:cubicBezTo>
                    <a:pt x="42308" y="2051"/>
                    <a:pt x="14615" y="32820"/>
                    <a:pt x="11538" y="32820"/>
                  </a:cubicBezTo>
                  <a:cubicBezTo>
                    <a:pt x="14615" y="32820"/>
                    <a:pt x="11538" y="35897"/>
                    <a:pt x="8462" y="35897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CBEF5A15-6268-403C-AB1A-AF43C6278031}"/>
                </a:ext>
              </a:extLst>
            </p:cNvPr>
            <p:cNvSpPr/>
            <p:nvPr/>
          </p:nvSpPr>
          <p:spPr>
            <a:xfrm>
              <a:off x="-4922547" y="-1255626"/>
              <a:ext cx="277356" cy="279499"/>
            </a:xfrm>
            <a:custGeom>
              <a:avLst/>
              <a:gdLst>
                <a:gd name="connsiteX0" fmla="*/ 3161 w 277356"/>
                <a:gd name="connsiteY0" fmla="*/ 2577 h 279499"/>
                <a:gd name="connsiteX1" fmla="*/ 37007 w 277356"/>
                <a:gd name="connsiteY1" fmla="*/ 150269 h 279499"/>
                <a:gd name="connsiteX2" fmla="*/ 277007 w 277356"/>
                <a:gd name="connsiteY2" fmla="*/ 279500 h 279499"/>
                <a:gd name="connsiteX3" fmla="*/ 3161 w 277356"/>
                <a:gd name="connsiteY3" fmla="*/ 2577 h 279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7356" h="279499">
                  <a:moveTo>
                    <a:pt x="3161" y="2577"/>
                  </a:moveTo>
                  <a:cubicBezTo>
                    <a:pt x="3161" y="2577"/>
                    <a:pt x="-15300" y="110269"/>
                    <a:pt x="37007" y="150269"/>
                  </a:cubicBezTo>
                  <a:cubicBezTo>
                    <a:pt x="37007" y="150269"/>
                    <a:pt x="249315" y="193346"/>
                    <a:pt x="277007" y="279500"/>
                  </a:cubicBezTo>
                  <a:cubicBezTo>
                    <a:pt x="277007" y="279500"/>
                    <a:pt x="298546" y="-31269"/>
                    <a:pt x="3161" y="2577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0D94B28E-2860-48A3-8124-EE57615A75D4}"/>
                </a:ext>
              </a:extLst>
            </p:cNvPr>
            <p:cNvSpPr/>
            <p:nvPr/>
          </p:nvSpPr>
          <p:spPr>
            <a:xfrm>
              <a:off x="-5185406" y="-1253050"/>
              <a:ext cx="299865" cy="354310"/>
            </a:xfrm>
            <a:custGeom>
              <a:avLst/>
              <a:gdLst>
                <a:gd name="connsiteX0" fmla="*/ 299866 w 299865"/>
                <a:gd name="connsiteY0" fmla="*/ 147692 h 354310"/>
                <a:gd name="connsiteX1" fmla="*/ 158327 w 299865"/>
                <a:gd name="connsiteY1" fmla="*/ 203077 h 354310"/>
                <a:gd name="connsiteX2" fmla="*/ 99866 w 299865"/>
                <a:gd name="connsiteY2" fmla="*/ 323077 h 354310"/>
                <a:gd name="connsiteX3" fmla="*/ 10635 w 299865"/>
                <a:gd name="connsiteY3" fmla="*/ 344615 h 354310"/>
                <a:gd name="connsiteX4" fmla="*/ 269096 w 299865"/>
                <a:gd name="connsiteY4" fmla="*/ 0 h 354310"/>
                <a:gd name="connsiteX5" fmla="*/ 299866 w 299865"/>
                <a:gd name="connsiteY5" fmla="*/ 147692 h 35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865" h="354310">
                  <a:moveTo>
                    <a:pt x="299866" y="147692"/>
                  </a:moveTo>
                  <a:cubicBezTo>
                    <a:pt x="299866" y="147692"/>
                    <a:pt x="207558" y="196923"/>
                    <a:pt x="158327" y="203077"/>
                  </a:cubicBezTo>
                  <a:cubicBezTo>
                    <a:pt x="106019" y="209231"/>
                    <a:pt x="99866" y="323077"/>
                    <a:pt x="99866" y="323077"/>
                  </a:cubicBezTo>
                  <a:cubicBezTo>
                    <a:pt x="99866" y="323077"/>
                    <a:pt x="26019" y="375385"/>
                    <a:pt x="10635" y="344615"/>
                  </a:cubicBezTo>
                  <a:cubicBezTo>
                    <a:pt x="-23211" y="276923"/>
                    <a:pt x="13712" y="0"/>
                    <a:pt x="269096" y="0"/>
                  </a:cubicBezTo>
                  <a:cubicBezTo>
                    <a:pt x="266020" y="0"/>
                    <a:pt x="275250" y="141538"/>
                    <a:pt x="299866" y="147692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5FC7931A-EE5E-46C4-8A48-EFB0D6E770A8}"/>
                </a:ext>
              </a:extLst>
            </p:cNvPr>
            <p:cNvSpPr/>
            <p:nvPr/>
          </p:nvSpPr>
          <p:spPr>
            <a:xfrm>
              <a:off x="-5036309" y="-1259204"/>
              <a:ext cx="155213" cy="212307"/>
            </a:xfrm>
            <a:custGeom>
              <a:avLst/>
              <a:gdLst>
                <a:gd name="connsiteX0" fmla="*/ 6154 w 155213"/>
                <a:gd name="connsiteY0" fmla="*/ 212308 h 212307"/>
                <a:gd name="connsiteX1" fmla="*/ 0 w 155213"/>
                <a:gd name="connsiteY1" fmla="*/ 206154 h 212307"/>
                <a:gd name="connsiteX2" fmla="*/ 6154 w 155213"/>
                <a:gd name="connsiteY2" fmla="*/ 200000 h 212307"/>
                <a:gd name="connsiteX3" fmla="*/ 101538 w 155213"/>
                <a:gd name="connsiteY3" fmla="*/ 169231 h 212307"/>
                <a:gd name="connsiteX4" fmla="*/ 141538 w 155213"/>
                <a:gd name="connsiteY4" fmla="*/ 147692 h 212307"/>
                <a:gd name="connsiteX5" fmla="*/ 126154 w 155213"/>
                <a:gd name="connsiteY5" fmla="*/ 126154 h 212307"/>
                <a:gd name="connsiteX6" fmla="*/ 113846 w 155213"/>
                <a:gd name="connsiteY6" fmla="*/ 83077 h 212307"/>
                <a:gd name="connsiteX7" fmla="*/ 110769 w 155213"/>
                <a:gd name="connsiteY7" fmla="*/ 43077 h 212307"/>
                <a:gd name="connsiteX8" fmla="*/ 107692 w 155213"/>
                <a:gd name="connsiteY8" fmla="*/ 6154 h 212307"/>
                <a:gd name="connsiteX9" fmla="*/ 113846 w 155213"/>
                <a:gd name="connsiteY9" fmla="*/ 0 h 212307"/>
                <a:gd name="connsiteX10" fmla="*/ 120000 w 155213"/>
                <a:gd name="connsiteY10" fmla="*/ 6154 h 212307"/>
                <a:gd name="connsiteX11" fmla="*/ 123077 w 155213"/>
                <a:gd name="connsiteY11" fmla="*/ 46154 h 212307"/>
                <a:gd name="connsiteX12" fmla="*/ 126154 w 155213"/>
                <a:gd name="connsiteY12" fmla="*/ 83077 h 212307"/>
                <a:gd name="connsiteX13" fmla="*/ 135385 w 155213"/>
                <a:gd name="connsiteY13" fmla="*/ 123077 h 212307"/>
                <a:gd name="connsiteX14" fmla="*/ 153846 w 155213"/>
                <a:gd name="connsiteY14" fmla="*/ 147692 h 212307"/>
                <a:gd name="connsiteX15" fmla="*/ 153846 w 155213"/>
                <a:gd name="connsiteY15" fmla="*/ 150769 h 212307"/>
                <a:gd name="connsiteX16" fmla="*/ 150769 w 155213"/>
                <a:gd name="connsiteY16" fmla="*/ 153846 h 212307"/>
                <a:gd name="connsiteX17" fmla="*/ 104615 w 155213"/>
                <a:gd name="connsiteY17" fmla="*/ 178462 h 212307"/>
                <a:gd name="connsiteX18" fmla="*/ 6154 w 155213"/>
                <a:gd name="connsiteY18" fmla="*/ 212308 h 212307"/>
                <a:gd name="connsiteX19" fmla="*/ 6154 w 155213"/>
                <a:gd name="connsiteY19" fmla="*/ 212308 h 21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5213" h="212307">
                  <a:moveTo>
                    <a:pt x="6154" y="212308"/>
                  </a:moveTo>
                  <a:cubicBezTo>
                    <a:pt x="3077" y="212308"/>
                    <a:pt x="0" y="209231"/>
                    <a:pt x="0" y="206154"/>
                  </a:cubicBezTo>
                  <a:cubicBezTo>
                    <a:pt x="0" y="203077"/>
                    <a:pt x="3077" y="200000"/>
                    <a:pt x="6154" y="200000"/>
                  </a:cubicBezTo>
                  <a:cubicBezTo>
                    <a:pt x="33846" y="196923"/>
                    <a:pt x="67692" y="184615"/>
                    <a:pt x="101538" y="169231"/>
                  </a:cubicBezTo>
                  <a:cubicBezTo>
                    <a:pt x="120000" y="160000"/>
                    <a:pt x="132308" y="153846"/>
                    <a:pt x="141538" y="147692"/>
                  </a:cubicBezTo>
                  <a:cubicBezTo>
                    <a:pt x="135385" y="141538"/>
                    <a:pt x="129231" y="135385"/>
                    <a:pt x="126154" y="126154"/>
                  </a:cubicBezTo>
                  <a:cubicBezTo>
                    <a:pt x="120000" y="110769"/>
                    <a:pt x="116923" y="95385"/>
                    <a:pt x="113846" y="83077"/>
                  </a:cubicBezTo>
                  <a:cubicBezTo>
                    <a:pt x="113846" y="76923"/>
                    <a:pt x="113846" y="61538"/>
                    <a:pt x="110769" y="43077"/>
                  </a:cubicBezTo>
                  <a:cubicBezTo>
                    <a:pt x="110769" y="27692"/>
                    <a:pt x="110769" y="12308"/>
                    <a:pt x="107692" y="6154"/>
                  </a:cubicBezTo>
                  <a:cubicBezTo>
                    <a:pt x="107692" y="3077"/>
                    <a:pt x="110769" y="0"/>
                    <a:pt x="113846" y="0"/>
                  </a:cubicBezTo>
                  <a:cubicBezTo>
                    <a:pt x="116923" y="0"/>
                    <a:pt x="120000" y="3077"/>
                    <a:pt x="120000" y="6154"/>
                  </a:cubicBezTo>
                  <a:cubicBezTo>
                    <a:pt x="120000" y="12308"/>
                    <a:pt x="120000" y="27692"/>
                    <a:pt x="123077" y="46154"/>
                  </a:cubicBezTo>
                  <a:cubicBezTo>
                    <a:pt x="123077" y="61538"/>
                    <a:pt x="123077" y="76923"/>
                    <a:pt x="126154" y="83077"/>
                  </a:cubicBezTo>
                  <a:cubicBezTo>
                    <a:pt x="129231" y="98462"/>
                    <a:pt x="129231" y="110769"/>
                    <a:pt x="135385" y="123077"/>
                  </a:cubicBezTo>
                  <a:cubicBezTo>
                    <a:pt x="138462" y="132308"/>
                    <a:pt x="147692" y="138462"/>
                    <a:pt x="153846" y="147692"/>
                  </a:cubicBezTo>
                  <a:cubicBezTo>
                    <a:pt x="153846" y="147692"/>
                    <a:pt x="156923" y="150769"/>
                    <a:pt x="153846" y="150769"/>
                  </a:cubicBezTo>
                  <a:cubicBezTo>
                    <a:pt x="153846" y="153846"/>
                    <a:pt x="153846" y="153846"/>
                    <a:pt x="150769" y="153846"/>
                  </a:cubicBezTo>
                  <a:cubicBezTo>
                    <a:pt x="150769" y="153846"/>
                    <a:pt x="132308" y="166154"/>
                    <a:pt x="104615" y="178462"/>
                  </a:cubicBezTo>
                  <a:cubicBezTo>
                    <a:pt x="70769" y="196923"/>
                    <a:pt x="36923" y="209231"/>
                    <a:pt x="6154" y="212308"/>
                  </a:cubicBezTo>
                  <a:cubicBezTo>
                    <a:pt x="9231" y="212308"/>
                    <a:pt x="9231" y="212308"/>
                    <a:pt x="6154" y="212308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C32B4332-8D50-4B98-BA83-311A299F11D3}"/>
                </a:ext>
              </a:extLst>
            </p:cNvPr>
            <p:cNvSpPr/>
            <p:nvPr/>
          </p:nvSpPr>
          <p:spPr>
            <a:xfrm>
              <a:off x="-5033232" y="-742281"/>
              <a:ext cx="313846" cy="329230"/>
            </a:xfrm>
            <a:custGeom>
              <a:avLst/>
              <a:gdLst>
                <a:gd name="connsiteX0" fmla="*/ 258462 w 313846"/>
                <a:gd name="connsiteY0" fmla="*/ 61538 h 329230"/>
                <a:gd name="connsiteX1" fmla="*/ 313846 w 313846"/>
                <a:gd name="connsiteY1" fmla="*/ 203077 h 329230"/>
                <a:gd name="connsiteX2" fmla="*/ 196923 w 313846"/>
                <a:gd name="connsiteY2" fmla="*/ 329231 h 329230"/>
                <a:gd name="connsiteX3" fmla="*/ 0 w 313846"/>
                <a:gd name="connsiteY3" fmla="*/ 187692 h 329230"/>
                <a:gd name="connsiteX4" fmla="*/ 52308 w 313846"/>
                <a:gd name="connsiteY4" fmla="*/ 0 h 329230"/>
                <a:gd name="connsiteX5" fmla="*/ 258462 w 313846"/>
                <a:gd name="connsiteY5" fmla="*/ 61538 h 32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3846" h="329230">
                  <a:moveTo>
                    <a:pt x="258462" y="61538"/>
                  </a:moveTo>
                  <a:cubicBezTo>
                    <a:pt x="258462" y="61538"/>
                    <a:pt x="252308" y="172308"/>
                    <a:pt x="313846" y="203077"/>
                  </a:cubicBezTo>
                  <a:lnTo>
                    <a:pt x="196923" y="329231"/>
                  </a:lnTo>
                  <a:cubicBezTo>
                    <a:pt x="196923" y="329231"/>
                    <a:pt x="55385" y="218462"/>
                    <a:pt x="0" y="187692"/>
                  </a:cubicBezTo>
                  <a:cubicBezTo>
                    <a:pt x="55385" y="144615"/>
                    <a:pt x="52308" y="61538"/>
                    <a:pt x="52308" y="0"/>
                  </a:cubicBezTo>
                  <a:cubicBezTo>
                    <a:pt x="55385" y="0"/>
                    <a:pt x="206154" y="70769"/>
                    <a:pt x="258462" y="61538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0635DA88-7943-4682-8D45-DF8D137CE3F5}"/>
                </a:ext>
              </a:extLst>
            </p:cNvPr>
            <p:cNvSpPr/>
            <p:nvPr/>
          </p:nvSpPr>
          <p:spPr>
            <a:xfrm>
              <a:off x="-4987078" y="-705357"/>
              <a:ext cx="223846" cy="80000"/>
            </a:xfrm>
            <a:custGeom>
              <a:avLst/>
              <a:gdLst>
                <a:gd name="connsiteX0" fmla="*/ 150769 w 223846"/>
                <a:gd name="connsiteY0" fmla="*/ 80000 h 80000"/>
                <a:gd name="connsiteX1" fmla="*/ 141539 w 223846"/>
                <a:gd name="connsiteY1" fmla="*/ 80000 h 80000"/>
                <a:gd name="connsiteX2" fmla="*/ 3077 w 223846"/>
                <a:gd name="connsiteY2" fmla="*/ 12308 h 80000"/>
                <a:gd name="connsiteX3" fmla="*/ 0 w 223846"/>
                <a:gd name="connsiteY3" fmla="*/ 3077 h 80000"/>
                <a:gd name="connsiteX4" fmla="*/ 9231 w 223846"/>
                <a:gd name="connsiteY4" fmla="*/ 0 h 80000"/>
                <a:gd name="connsiteX5" fmla="*/ 141539 w 223846"/>
                <a:gd name="connsiteY5" fmla="*/ 67692 h 80000"/>
                <a:gd name="connsiteX6" fmla="*/ 212308 w 223846"/>
                <a:gd name="connsiteY6" fmla="*/ 43077 h 80000"/>
                <a:gd name="connsiteX7" fmla="*/ 221539 w 223846"/>
                <a:gd name="connsiteY7" fmla="*/ 43077 h 80000"/>
                <a:gd name="connsiteX8" fmla="*/ 221539 w 223846"/>
                <a:gd name="connsiteY8" fmla="*/ 52308 h 80000"/>
                <a:gd name="connsiteX9" fmla="*/ 150769 w 223846"/>
                <a:gd name="connsiteY9" fmla="*/ 80000 h 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846" h="80000">
                  <a:moveTo>
                    <a:pt x="150769" y="80000"/>
                  </a:moveTo>
                  <a:cubicBezTo>
                    <a:pt x="147692" y="80000"/>
                    <a:pt x="144615" y="80000"/>
                    <a:pt x="141539" y="80000"/>
                  </a:cubicBezTo>
                  <a:cubicBezTo>
                    <a:pt x="98462" y="73846"/>
                    <a:pt x="6154" y="12308"/>
                    <a:pt x="3077" y="12308"/>
                  </a:cubicBezTo>
                  <a:cubicBezTo>
                    <a:pt x="0" y="9231"/>
                    <a:pt x="0" y="6154"/>
                    <a:pt x="0" y="3077"/>
                  </a:cubicBezTo>
                  <a:cubicBezTo>
                    <a:pt x="3077" y="0"/>
                    <a:pt x="6154" y="0"/>
                    <a:pt x="9231" y="0"/>
                  </a:cubicBezTo>
                  <a:cubicBezTo>
                    <a:pt x="9231" y="0"/>
                    <a:pt x="104615" y="61538"/>
                    <a:pt x="141539" y="67692"/>
                  </a:cubicBezTo>
                  <a:cubicBezTo>
                    <a:pt x="178462" y="73846"/>
                    <a:pt x="212308" y="43077"/>
                    <a:pt x="212308" y="43077"/>
                  </a:cubicBezTo>
                  <a:cubicBezTo>
                    <a:pt x="215385" y="40000"/>
                    <a:pt x="218462" y="40000"/>
                    <a:pt x="221539" y="43077"/>
                  </a:cubicBezTo>
                  <a:cubicBezTo>
                    <a:pt x="224615" y="46154"/>
                    <a:pt x="224615" y="49231"/>
                    <a:pt x="221539" y="52308"/>
                  </a:cubicBezTo>
                  <a:cubicBezTo>
                    <a:pt x="218462" y="55385"/>
                    <a:pt x="187692" y="80000"/>
                    <a:pt x="150769" y="80000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6B1373A9-36D0-42B6-99E9-2B5C482CF4D1}"/>
                </a:ext>
              </a:extLst>
            </p:cNvPr>
            <p:cNvSpPr/>
            <p:nvPr/>
          </p:nvSpPr>
          <p:spPr>
            <a:xfrm>
              <a:off x="-4536045" y="-463555"/>
              <a:ext cx="104415" cy="564351"/>
            </a:xfrm>
            <a:custGeom>
              <a:avLst/>
              <a:gdLst>
                <a:gd name="connsiteX0" fmla="*/ 47428 w 104415"/>
                <a:gd name="connsiteY0" fmla="*/ 564351 h 564351"/>
                <a:gd name="connsiteX1" fmla="*/ 47428 w 104415"/>
                <a:gd name="connsiteY1" fmla="*/ 564351 h 564351"/>
                <a:gd name="connsiteX2" fmla="*/ 41274 w 104415"/>
                <a:gd name="connsiteY2" fmla="*/ 558198 h 564351"/>
                <a:gd name="connsiteX3" fmla="*/ 56659 w 104415"/>
                <a:gd name="connsiteY3" fmla="*/ 502813 h 564351"/>
                <a:gd name="connsiteX4" fmla="*/ 90505 w 104415"/>
                <a:gd name="connsiteY4" fmla="*/ 352044 h 564351"/>
                <a:gd name="connsiteX5" fmla="*/ 1274 w 104415"/>
                <a:gd name="connsiteY5" fmla="*/ 10505 h 564351"/>
                <a:gd name="connsiteX6" fmla="*/ 4351 w 104415"/>
                <a:gd name="connsiteY6" fmla="*/ 1274 h 564351"/>
                <a:gd name="connsiteX7" fmla="*/ 13582 w 104415"/>
                <a:gd name="connsiteY7" fmla="*/ 4351 h 564351"/>
                <a:gd name="connsiteX8" fmla="*/ 102813 w 104415"/>
                <a:gd name="connsiteY8" fmla="*/ 352044 h 564351"/>
                <a:gd name="connsiteX9" fmla="*/ 68967 w 104415"/>
                <a:gd name="connsiteY9" fmla="*/ 505890 h 564351"/>
                <a:gd name="connsiteX10" fmla="*/ 53582 w 104415"/>
                <a:gd name="connsiteY10" fmla="*/ 561275 h 564351"/>
                <a:gd name="connsiteX11" fmla="*/ 47428 w 104415"/>
                <a:gd name="connsiteY11" fmla="*/ 564351 h 564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415" h="564351">
                  <a:moveTo>
                    <a:pt x="47428" y="564351"/>
                  </a:moveTo>
                  <a:cubicBezTo>
                    <a:pt x="47428" y="564351"/>
                    <a:pt x="47428" y="564351"/>
                    <a:pt x="47428" y="564351"/>
                  </a:cubicBezTo>
                  <a:cubicBezTo>
                    <a:pt x="44351" y="564351"/>
                    <a:pt x="41274" y="561275"/>
                    <a:pt x="41274" y="558198"/>
                  </a:cubicBezTo>
                  <a:cubicBezTo>
                    <a:pt x="47428" y="539736"/>
                    <a:pt x="50505" y="521275"/>
                    <a:pt x="56659" y="502813"/>
                  </a:cubicBezTo>
                  <a:cubicBezTo>
                    <a:pt x="72044" y="450505"/>
                    <a:pt x="87428" y="398198"/>
                    <a:pt x="90505" y="352044"/>
                  </a:cubicBezTo>
                  <a:cubicBezTo>
                    <a:pt x="96659" y="228967"/>
                    <a:pt x="68967" y="115121"/>
                    <a:pt x="1274" y="10505"/>
                  </a:cubicBezTo>
                  <a:cubicBezTo>
                    <a:pt x="-1802" y="7428"/>
                    <a:pt x="1274" y="4351"/>
                    <a:pt x="4351" y="1274"/>
                  </a:cubicBezTo>
                  <a:cubicBezTo>
                    <a:pt x="7428" y="-1802"/>
                    <a:pt x="10505" y="1274"/>
                    <a:pt x="13582" y="4351"/>
                  </a:cubicBezTo>
                  <a:cubicBezTo>
                    <a:pt x="81274" y="112044"/>
                    <a:pt x="112044" y="228967"/>
                    <a:pt x="102813" y="352044"/>
                  </a:cubicBezTo>
                  <a:cubicBezTo>
                    <a:pt x="99736" y="398198"/>
                    <a:pt x="84351" y="453582"/>
                    <a:pt x="68967" y="505890"/>
                  </a:cubicBezTo>
                  <a:cubicBezTo>
                    <a:pt x="62813" y="524351"/>
                    <a:pt x="56659" y="542813"/>
                    <a:pt x="53582" y="561275"/>
                  </a:cubicBezTo>
                  <a:cubicBezTo>
                    <a:pt x="50505" y="564351"/>
                    <a:pt x="50505" y="564351"/>
                    <a:pt x="47428" y="564351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4D1E1B85-70EE-47AA-B38D-0367DA7224A9}"/>
                </a:ext>
              </a:extLst>
            </p:cNvPr>
            <p:cNvSpPr/>
            <p:nvPr/>
          </p:nvSpPr>
          <p:spPr>
            <a:xfrm>
              <a:off x="-4962463" y="-15931"/>
              <a:ext cx="404351" cy="36727"/>
            </a:xfrm>
            <a:custGeom>
              <a:avLst/>
              <a:gdLst>
                <a:gd name="connsiteX0" fmla="*/ 400000 w 404351"/>
                <a:gd name="connsiteY0" fmla="*/ 36727 h 36727"/>
                <a:gd name="connsiteX1" fmla="*/ 400000 w 404351"/>
                <a:gd name="connsiteY1" fmla="*/ 36727 h 36727"/>
                <a:gd name="connsiteX2" fmla="*/ 6154 w 404351"/>
                <a:gd name="connsiteY2" fmla="*/ 24420 h 36727"/>
                <a:gd name="connsiteX3" fmla="*/ 0 w 404351"/>
                <a:gd name="connsiteY3" fmla="*/ 21343 h 36727"/>
                <a:gd name="connsiteX4" fmla="*/ 3077 w 404351"/>
                <a:gd name="connsiteY4" fmla="*/ 15189 h 36727"/>
                <a:gd name="connsiteX5" fmla="*/ 400000 w 404351"/>
                <a:gd name="connsiteY5" fmla="*/ 27497 h 36727"/>
                <a:gd name="connsiteX6" fmla="*/ 403077 w 404351"/>
                <a:gd name="connsiteY6" fmla="*/ 33650 h 36727"/>
                <a:gd name="connsiteX7" fmla="*/ 400000 w 404351"/>
                <a:gd name="connsiteY7" fmla="*/ 36727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351" h="36727">
                  <a:moveTo>
                    <a:pt x="400000" y="36727"/>
                  </a:moveTo>
                  <a:cubicBezTo>
                    <a:pt x="400000" y="36727"/>
                    <a:pt x="400000" y="36727"/>
                    <a:pt x="400000" y="36727"/>
                  </a:cubicBezTo>
                  <a:cubicBezTo>
                    <a:pt x="313846" y="5958"/>
                    <a:pt x="107692" y="-196"/>
                    <a:pt x="6154" y="24420"/>
                  </a:cubicBezTo>
                  <a:cubicBezTo>
                    <a:pt x="3077" y="24420"/>
                    <a:pt x="0" y="24420"/>
                    <a:pt x="0" y="21343"/>
                  </a:cubicBezTo>
                  <a:cubicBezTo>
                    <a:pt x="0" y="18266"/>
                    <a:pt x="0" y="15189"/>
                    <a:pt x="3077" y="15189"/>
                  </a:cubicBezTo>
                  <a:cubicBezTo>
                    <a:pt x="104615" y="-9427"/>
                    <a:pt x="313846" y="-3273"/>
                    <a:pt x="400000" y="27497"/>
                  </a:cubicBezTo>
                  <a:cubicBezTo>
                    <a:pt x="403077" y="27497"/>
                    <a:pt x="403077" y="30573"/>
                    <a:pt x="403077" y="33650"/>
                  </a:cubicBezTo>
                  <a:cubicBezTo>
                    <a:pt x="406154" y="36727"/>
                    <a:pt x="403077" y="36727"/>
                    <a:pt x="400000" y="36727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FE209A9F-9563-472A-ADA7-DC713EB68944}"/>
                </a:ext>
              </a:extLst>
            </p:cNvPr>
            <p:cNvSpPr/>
            <p:nvPr/>
          </p:nvSpPr>
          <p:spPr>
            <a:xfrm>
              <a:off x="-5126916" y="-946856"/>
              <a:ext cx="78298" cy="115101"/>
            </a:xfrm>
            <a:custGeom>
              <a:avLst/>
              <a:gdLst>
                <a:gd name="connsiteX0" fmla="*/ 65991 w 78298"/>
                <a:gd name="connsiteY0" fmla="*/ 16883 h 115101"/>
                <a:gd name="connsiteX1" fmla="*/ 7530 w 78298"/>
                <a:gd name="connsiteY1" fmla="*/ 7652 h 115101"/>
                <a:gd name="connsiteX2" fmla="*/ 65991 w 78298"/>
                <a:gd name="connsiteY2" fmla="*/ 112268 h 115101"/>
                <a:gd name="connsiteX3" fmla="*/ 65991 w 78298"/>
                <a:gd name="connsiteY3" fmla="*/ 16883 h 115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98" h="115101">
                  <a:moveTo>
                    <a:pt x="65991" y="16883"/>
                  </a:moveTo>
                  <a:cubicBezTo>
                    <a:pt x="65991" y="16883"/>
                    <a:pt x="32145" y="-13886"/>
                    <a:pt x="7530" y="7652"/>
                  </a:cubicBezTo>
                  <a:cubicBezTo>
                    <a:pt x="-17086" y="26114"/>
                    <a:pt x="22914" y="133806"/>
                    <a:pt x="65991" y="112268"/>
                  </a:cubicBezTo>
                  <a:cubicBezTo>
                    <a:pt x="93683" y="93806"/>
                    <a:pt x="65991" y="16883"/>
                    <a:pt x="65991" y="16883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1941079A-9333-4649-81AE-A4E3ED091E9C}"/>
                </a:ext>
              </a:extLst>
            </p:cNvPr>
            <p:cNvSpPr/>
            <p:nvPr/>
          </p:nvSpPr>
          <p:spPr>
            <a:xfrm>
              <a:off x="-4760661" y="-1066632"/>
              <a:ext cx="148966" cy="164351"/>
            </a:xfrm>
            <a:custGeom>
              <a:avLst/>
              <a:gdLst>
                <a:gd name="connsiteX0" fmla="*/ 142813 w 148966"/>
                <a:gd name="connsiteY0" fmla="*/ 164351 h 164351"/>
                <a:gd name="connsiteX1" fmla="*/ 136659 w 148966"/>
                <a:gd name="connsiteY1" fmla="*/ 161275 h 164351"/>
                <a:gd name="connsiteX2" fmla="*/ 4351 w 148966"/>
                <a:gd name="connsiteY2" fmla="*/ 10505 h 164351"/>
                <a:gd name="connsiteX3" fmla="*/ 1275 w 148966"/>
                <a:gd name="connsiteY3" fmla="*/ 4351 h 164351"/>
                <a:gd name="connsiteX4" fmla="*/ 7428 w 148966"/>
                <a:gd name="connsiteY4" fmla="*/ 1275 h 164351"/>
                <a:gd name="connsiteX5" fmla="*/ 148967 w 148966"/>
                <a:gd name="connsiteY5" fmla="*/ 161275 h 164351"/>
                <a:gd name="connsiteX6" fmla="*/ 142813 w 148966"/>
                <a:gd name="connsiteY6" fmla="*/ 164351 h 164351"/>
                <a:gd name="connsiteX7" fmla="*/ 142813 w 148966"/>
                <a:gd name="connsiteY7" fmla="*/ 164351 h 164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966" h="164351">
                  <a:moveTo>
                    <a:pt x="142813" y="164351"/>
                  </a:moveTo>
                  <a:cubicBezTo>
                    <a:pt x="139736" y="164351"/>
                    <a:pt x="136659" y="161275"/>
                    <a:pt x="136659" y="161275"/>
                  </a:cubicBezTo>
                  <a:cubicBezTo>
                    <a:pt x="112044" y="38198"/>
                    <a:pt x="4351" y="10505"/>
                    <a:pt x="4351" y="10505"/>
                  </a:cubicBezTo>
                  <a:cubicBezTo>
                    <a:pt x="1275" y="10505"/>
                    <a:pt x="-1802" y="7428"/>
                    <a:pt x="1275" y="4351"/>
                  </a:cubicBezTo>
                  <a:cubicBezTo>
                    <a:pt x="1275" y="1275"/>
                    <a:pt x="4351" y="-1802"/>
                    <a:pt x="7428" y="1275"/>
                  </a:cubicBezTo>
                  <a:cubicBezTo>
                    <a:pt x="7428" y="1275"/>
                    <a:pt x="124351" y="32044"/>
                    <a:pt x="148967" y="161275"/>
                  </a:cubicBezTo>
                  <a:cubicBezTo>
                    <a:pt x="148967" y="161275"/>
                    <a:pt x="148967" y="164351"/>
                    <a:pt x="142813" y="164351"/>
                  </a:cubicBezTo>
                  <a:cubicBezTo>
                    <a:pt x="142813" y="164351"/>
                    <a:pt x="142813" y="164351"/>
                    <a:pt x="142813" y="164351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0698AD13-D597-4288-B1C7-21E8257EC0DE}"/>
                </a:ext>
              </a:extLst>
            </p:cNvPr>
            <p:cNvSpPr/>
            <p:nvPr/>
          </p:nvSpPr>
          <p:spPr>
            <a:xfrm>
              <a:off x="-5091694" y="-1123819"/>
              <a:ext cx="110769" cy="187692"/>
            </a:xfrm>
            <a:custGeom>
              <a:avLst/>
              <a:gdLst>
                <a:gd name="connsiteX0" fmla="*/ 6154 w 110769"/>
                <a:gd name="connsiteY0" fmla="*/ 187692 h 187692"/>
                <a:gd name="connsiteX1" fmla="*/ 6154 w 110769"/>
                <a:gd name="connsiteY1" fmla="*/ 187692 h 187692"/>
                <a:gd name="connsiteX2" fmla="*/ 0 w 110769"/>
                <a:gd name="connsiteY2" fmla="*/ 181538 h 187692"/>
                <a:gd name="connsiteX3" fmla="*/ 52308 w 110769"/>
                <a:gd name="connsiteY3" fmla="*/ 67692 h 187692"/>
                <a:gd name="connsiteX4" fmla="*/ 101539 w 110769"/>
                <a:gd name="connsiteY4" fmla="*/ 3077 h 187692"/>
                <a:gd name="connsiteX5" fmla="*/ 107692 w 110769"/>
                <a:gd name="connsiteY5" fmla="*/ 0 h 187692"/>
                <a:gd name="connsiteX6" fmla="*/ 110769 w 110769"/>
                <a:gd name="connsiteY6" fmla="*/ 6154 h 187692"/>
                <a:gd name="connsiteX7" fmla="*/ 55385 w 110769"/>
                <a:gd name="connsiteY7" fmla="*/ 73846 h 187692"/>
                <a:gd name="connsiteX8" fmla="*/ 9231 w 110769"/>
                <a:gd name="connsiteY8" fmla="*/ 181538 h 187692"/>
                <a:gd name="connsiteX9" fmla="*/ 6154 w 110769"/>
                <a:gd name="connsiteY9" fmla="*/ 187692 h 18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769" h="187692">
                  <a:moveTo>
                    <a:pt x="6154" y="187692"/>
                  </a:moveTo>
                  <a:cubicBezTo>
                    <a:pt x="6154" y="187692"/>
                    <a:pt x="3077" y="187692"/>
                    <a:pt x="6154" y="187692"/>
                  </a:cubicBezTo>
                  <a:cubicBezTo>
                    <a:pt x="3077" y="187692"/>
                    <a:pt x="0" y="184615"/>
                    <a:pt x="0" y="181538"/>
                  </a:cubicBezTo>
                  <a:cubicBezTo>
                    <a:pt x="0" y="166154"/>
                    <a:pt x="12308" y="95385"/>
                    <a:pt x="52308" y="67692"/>
                  </a:cubicBezTo>
                  <a:cubicBezTo>
                    <a:pt x="83077" y="46154"/>
                    <a:pt x="101539" y="3077"/>
                    <a:pt x="101539" y="3077"/>
                  </a:cubicBezTo>
                  <a:cubicBezTo>
                    <a:pt x="101539" y="0"/>
                    <a:pt x="107692" y="0"/>
                    <a:pt x="107692" y="0"/>
                  </a:cubicBezTo>
                  <a:cubicBezTo>
                    <a:pt x="110769" y="0"/>
                    <a:pt x="110769" y="6154"/>
                    <a:pt x="110769" y="6154"/>
                  </a:cubicBezTo>
                  <a:cubicBezTo>
                    <a:pt x="110769" y="9231"/>
                    <a:pt x="89231" y="49231"/>
                    <a:pt x="55385" y="73846"/>
                  </a:cubicBezTo>
                  <a:cubicBezTo>
                    <a:pt x="18462" y="98462"/>
                    <a:pt x="9231" y="166154"/>
                    <a:pt x="9231" y="181538"/>
                  </a:cubicBezTo>
                  <a:cubicBezTo>
                    <a:pt x="9231" y="187692"/>
                    <a:pt x="9231" y="187692"/>
                    <a:pt x="6154" y="187692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1EFFEB95-8098-4ECA-B7DD-9A2A1882E51A}"/>
                </a:ext>
              </a:extLst>
            </p:cNvPr>
            <p:cNvSpPr/>
            <p:nvPr/>
          </p:nvSpPr>
          <p:spPr>
            <a:xfrm>
              <a:off x="-5054771" y="-551511"/>
              <a:ext cx="363077" cy="156923"/>
            </a:xfrm>
            <a:custGeom>
              <a:avLst/>
              <a:gdLst>
                <a:gd name="connsiteX0" fmla="*/ 326154 w 363077"/>
                <a:gd name="connsiteY0" fmla="*/ 6154 h 156923"/>
                <a:gd name="connsiteX1" fmla="*/ 221538 w 363077"/>
                <a:gd name="connsiteY1" fmla="*/ 123077 h 156923"/>
                <a:gd name="connsiteX2" fmla="*/ 24615 w 363077"/>
                <a:gd name="connsiteY2" fmla="*/ 0 h 156923"/>
                <a:gd name="connsiteX3" fmla="*/ 0 w 363077"/>
                <a:gd name="connsiteY3" fmla="*/ 9231 h 156923"/>
                <a:gd name="connsiteX4" fmla="*/ 224615 w 363077"/>
                <a:gd name="connsiteY4" fmla="*/ 156923 h 156923"/>
                <a:gd name="connsiteX5" fmla="*/ 363077 w 363077"/>
                <a:gd name="connsiteY5" fmla="*/ 15385 h 156923"/>
                <a:gd name="connsiteX6" fmla="*/ 326154 w 363077"/>
                <a:gd name="connsiteY6" fmla="*/ 6154 h 15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3077" h="156923">
                  <a:moveTo>
                    <a:pt x="326154" y="6154"/>
                  </a:moveTo>
                  <a:lnTo>
                    <a:pt x="221538" y="123077"/>
                  </a:lnTo>
                  <a:cubicBezTo>
                    <a:pt x="221538" y="123077"/>
                    <a:pt x="89231" y="21538"/>
                    <a:pt x="24615" y="0"/>
                  </a:cubicBezTo>
                  <a:lnTo>
                    <a:pt x="0" y="9231"/>
                  </a:lnTo>
                  <a:lnTo>
                    <a:pt x="224615" y="156923"/>
                  </a:lnTo>
                  <a:lnTo>
                    <a:pt x="363077" y="15385"/>
                  </a:lnTo>
                  <a:cubicBezTo>
                    <a:pt x="363077" y="12308"/>
                    <a:pt x="347692" y="6154"/>
                    <a:pt x="326154" y="6154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178DDF79-585F-4FFF-A8FC-944734794348}"/>
                </a:ext>
              </a:extLst>
            </p:cNvPr>
            <p:cNvSpPr/>
            <p:nvPr/>
          </p:nvSpPr>
          <p:spPr>
            <a:xfrm>
              <a:off x="-5337848" y="380795"/>
              <a:ext cx="935384" cy="192478"/>
            </a:xfrm>
            <a:custGeom>
              <a:avLst/>
              <a:gdLst>
                <a:gd name="connsiteX0" fmla="*/ 126154 w 935384"/>
                <a:gd name="connsiteY0" fmla="*/ 0 h 192478"/>
                <a:gd name="connsiteX1" fmla="*/ 0 w 935384"/>
                <a:gd name="connsiteY1" fmla="*/ 132308 h 192478"/>
                <a:gd name="connsiteX2" fmla="*/ 935385 w 935384"/>
                <a:gd name="connsiteY2" fmla="*/ 132308 h 192478"/>
                <a:gd name="connsiteX3" fmla="*/ 806154 w 935384"/>
                <a:gd name="connsiteY3" fmla="*/ 43077 h 192478"/>
                <a:gd name="connsiteX4" fmla="*/ 126154 w 935384"/>
                <a:gd name="connsiteY4" fmla="*/ 0 h 19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5384" h="192478">
                  <a:moveTo>
                    <a:pt x="126154" y="0"/>
                  </a:moveTo>
                  <a:lnTo>
                    <a:pt x="0" y="132308"/>
                  </a:lnTo>
                  <a:cubicBezTo>
                    <a:pt x="0" y="132308"/>
                    <a:pt x="427692" y="267692"/>
                    <a:pt x="935385" y="132308"/>
                  </a:cubicBezTo>
                  <a:lnTo>
                    <a:pt x="806154" y="43077"/>
                  </a:lnTo>
                  <a:cubicBezTo>
                    <a:pt x="806154" y="43077"/>
                    <a:pt x="218462" y="24615"/>
                    <a:pt x="126154" y="0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615F11B1-EF26-411B-9BE2-91985B4CE91F}"/>
                </a:ext>
              </a:extLst>
            </p:cNvPr>
            <p:cNvSpPr/>
            <p:nvPr/>
          </p:nvSpPr>
          <p:spPr>
            <a:xfrm>
              <a:off x="-4843737" y="401059"/>
              <a:ext cx="318197" cy="28966"/>
            </a:xfrm>
            <a:custGeom>
              <a:avLst/>
              <a:gdLst>
                <a:gd name="connsiteX0" fmla="*/ 312044 w 318197"/>
                <a:gd name="connsiteY0" fmla="*/ 28967 h 28966"/>
                <a:gd name="connsiteX1" fmla="*/ 312044 w 318197"/>
                <a:gd name="connsiteY1" fmla="*/ 28967 h 28966"/>
                <a:gd name="connsiteX2" fmla="*/ 4351 w 318197"/>
                <a:gd name="connsiteY2" fmla="*/ 10505 h 28966"/>
                <a:gd name="connsiteX3" fmla="*/ 1274 w 318197"/>
                <a:gd name="connsiteY3" fmla="*/ 4351 h 28966"/>
                <a:gd name="connsiteX4" fmla="*/ 7428 w 318197"/>
                <a:gd name="connsiteY4" fmla="*/ 1274 h 28966"/>
                <a:gd name="connsiteX5" fmla="*/ 312044 w 318197"/>
                <a:gd name="connsiteY5" fmla="*/ 19736 h 28966"/>
                <a:gd name="connsiteX6" fmla="*/ 318198 w 318197"/>
                <a:gd name="connsiteY6" fmla="*/ 25890 h 28966"/>
                <a:gd name="connsiteX7" fmla="*/ 312044 w 318197"/>
                <a:gd name="connsiteY7" fmla="*/ 28967 h 28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8197" h="28966">
                  <a:moveTo>
                    <a:pt x="312044" y="28967"/>
                  </a:moveTo>
                  <a:lnTo>
                    <a:pt x="312044" y="28967"/>
                  </a:lnTo>
                  <a:cubicBezTo>
                    <a:pt x="308967" y="28967"/>
                    <a:pt x="99736" y="25890"/>
                    <a:pt x="4351" y="10505"/>
                  </a:cubicBezTo>
                  <a:cubicBezTo>
                    <a:pt x="1274" y="10505"/>
                    <a:pt x="-1802" y="7428"/>
                    <a:pt x="1274" y="4351"/>
                  </a:cubicBezTo>
                  <a:cubicBezTo>
                    <a:pt x="1274" y="1274"/>
                    <a:pt x="4351" y="-1802"/>
                    <a:pt x="7428" y="1274"/>
                  </a:cubicBezTo>
                  <a:cubicBezTo>
                    <a:pt x="102813" y="19736"/>
                    <a:pt x="312044" y="19736"/>
                    <a:pt x="312044" y="19736"/>
                  </a:cubicBezTo>
                  <a:cubicBezTo>
                    <a:pt x="315121" y="19736"/>
                    <a:pt x="318198" y="22813"/>
                    <a:pt x="318198" y="25890"/>
                  </a:cubicBezTo>
                  <a:cubicBezTo>
                    <a:pt x="315121" y="25890"/>
                    <a:pt x="315121" y="28967"/>
                    <a:pt x="312044" y="28967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5BE1B646-7123-49DD-9B2C-3EEF6C6C18B4}"/>
                </a:ext>
              </a:extLst>
            </p:cNvPr>
            <p:cNvSpPr/>
            <p:nvPr/>
          </p:nvSpPr>
          <p:spPr>
            <a:xfrm>
              <a:off x="-5064001" y="-640742"/>
              <a:ext cx="241589" cy="415384"/>
            </a:xfrm>
            <a:custGeom>
              <a:avLst/>
              <a:gdLst>
                <a:gd name="connsiteX0" fmla="*/ 33846 w 241589"/>
                <a:gd name="connsiteY0" fmla="*/ 0 h 415384"/>
                <a:gd name="connsiteX1" fmla="*/ 212308 w 241589"/>
                <a:gd name="connsiteY1" fmla="*/ 196923 h 415384"/>
                <a:gd name="connsiteX2" fmla="*/ 230769 w 241589"/>
                <a:gd name="connsiteY2" fmla="*/ 393846 h 415384"/>
                <a:gd name="connsiteX3" fmla="*/ 184615 w 241589"/>
                <a:gd name="connsiteY3" fmla="*/ 393846 h 415384"/>
                <a:gd name="connsiteX4" fmla="*/ 107692 w 241589"/>
                <a:gd name="connsiteY4" fmla="*/ 415385 h 415384"/>
                <a:gd name="connsiteX5" fmla="*/ 64615 w 241589"/>
                <a:gd name="connsiteY5" fmla="*/ 387692 h 415384"/>
                <a:gd name="connsiteX6" fmla="*/ 0 w 241589"/>
                <a:gd name="connsiteY6" fmla="*/ 36923 h 415384"/>
                <a:gd name="connsiteX7" fmla="*/ 33846 w 241589"/>
                <a:gd name="connsiteY7" fmla="*/ 0 h 415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1589" h="415384">
                  <a:moveTo>
                    <a:pt x="33846" y="0"/>
                  </a:moveTo>
                  <a:cubicBezTo>
                    <a:pt x="33846" y="0"/>
                    <a:pt x="175385" y="92308"/>
                    <a:pt x="212308" y="196923"/>
                  </a:cubicBezTo>
                  <a:cubicBezTo>
                    <a:pt x="249231" y="304615"/>
                    <a:pt x="246154" y="384615"/>
                    <a:pt x="230769" y="393846"/>
                  </a:cubicBezTo>
                  <a:cubicBezTo>
                    <a:pt x="215385" y="403077"/>
                    <a:pt x="203077" y="384615"/>
                    <a:pt x="184615" y="393846"/>
                  </a:cubicBezTo>
                  <a:cubicBezTo>
                    <a:pt x="166154" y="403077"/>
                    <a:pt x="120000" y="415385"/>
                    <a:pt x="107692" y="415385"/>
                  </a:cubicBezTo>
                  <a:cubicBezTo>
                    <a:pt x="92308" y="415385"/>
                    <a:pt x="58462" y="400000"/>
                    <a:pt x="64615" y="387692"/>
                  </a:cubicBezTo>
                  <a:cubicBezTo>
                    <a:pt x="70769" y="375385"/>
                    <a:pt x="24615" y="64615"/>
                    <a:pt x="0" y="36923"/>
                  </a:cubicBezTo>
                  <a:lnTo>
                    <a:pt x="33846" y="0"/>
                  </a:ln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C0163006-1B06-41A6-95DF-C8413DA19DEE}"/>
                </a:ext>
              </a:extLst>
            </p:cNvPr>
            <p:cNvSpPr/>
            <p:nvPr/>
          </p:nvSpPr>
          <p:spPr>
            <a:xfrm>
              <a:off x="-5017078" y="-603050"/>
              <a:ext cx="150000" cy="269999"/>
            </a:xfrm>
            <a:custGeom>
              <a:avLst/>
              <a:gdLst>
                <a:gd name="connsiteX0" fmla="*/ 143846 w 150000"/>
                <a:gd name="connsiteY0" fmla="*/ 270000 h 269999"/>
                <a:gd name="connsiteX1" fmla="*/ 137692 w 150000"/>
                <a:gd name="connsiteY1" fmla="*/ 263846 h 269999"/>
                <a:gd name="connsiteX2" fmla="*/ 2308 w 150000"/>
                <a:gd name="connsiteY2" fmla="*/ 11538 h 269999"/>
                <a:gd name="connsiteX3" fmla="*/ 2308 w 150000"/>
                <a:gd name="connsiteY3" fmla="*/ 2308 h 269999"/>
                <a:gd name="connsiteX4" fmla="*/ 11538 w 150000"/>
                <a:gd name="connsiteY4" fmla="*/ 2308 h 269999"/>
                <a:gd name="connsiteX5" fmla="*/ 150000 w 150000"/>
                <a:gd name="connsiteY5" fmla="*/ 260769 h 269999"/>
                <a:gd name="connsiteX6" fmla="*/ 143846 w 150000"/>
                <a:gd name="connsiteY6" fmla="*/ 270000 h 269999"/>
                <a:gd name="connsiteX7" fmla="*/ 143846 w 150000"/>
                <a:gd name="connsiteY7" fmla="*/ 270000 h 26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0000" h="269999">
                  <a:moveTo>
                    <a:pt x="143846" y="270000"/>
                  </a:moveTo>
                  <a:cubicBezTo>
                    <a:pt x="140769" y="270000"/>
                    <a:pt x="137692" y="266923"/>
                    <a:pt x="137692" y="263846"/>
                  </a:cubicBezTo>
                  <a:cubicBezTo>
                    <a:pt x="131538" y="146923"/>
                    <a:pt x="5385" y="11538"/>
                    <a:pt x="2308" y="11538"/>
                  </a:cubicBezTo>
                  <a:cubicBezTo>
                    <a:pt x="-769" y="8462"/>
                    <a:pt x="-769" y="5385"/>
                    <a:pt x="2308" y="2308"/>
                  </a:cubicBezTo>
                  <a:cubicBezTo>
                    <a:pt x="5385" y="-769"/>
                    <a:pt x="8461" y="-769"/>
                    <a:pt x="11538" y="2308"/>
                  </a:cubicBezTo>
                  <a:cubicBezTo>
                    <a:pt x="17692" y="8462"/>
                    <a:pt x="143846" y="140769"/>
                    <a:pt x="150000" y="260769"/>
                  </a:cubicBezTo>
                  <a:cubicBezTo>
                    <a:pt x="150000" y="266923"/>
                    <a:pt x="146923" y="270000"/>
                    <a:pt x="143846" y="270000"/>
                  </a:cubicBezTo>
                  <a:cubicBezTo>
                    <a:pt x="143846" y="270000"/>
                    <a:pt x="143846" y="270000"/>
                    <a:pt x="143846" y="270000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1A75DB88-9CEF-49ED-9948-E7D912BD4FE0}"/>
                </a:ext>
              </a:extLst>
            </p:cNvPr>
            <p:cNvSpPr/>
            <p:nvPr/>
          </p:nvSpPr>
          <p:spPr>
            <a:xfrm>
              <a:off x="-5077705" y="-653653"/>
              <a:ext cx="106010" cy="79562"/>
            </a:xfrm>
            <a:custGeom>
              <a:avLst/>
              <a:gdLst>
                <a:gd name="connsiteX0" fmla="*/ 106011 w 106010"/>
                <a:gd name="connsiteY0" fmla="*/ 15988 h 79562"/>
                <a:gd name="connsiteX1" fmla="*/ 87549 w 106010"/>
                <a:gd name="connsiteY1" fmla="*/ 604 h 79562"/>
                <a:gd name="connsiteX2" fmla="*/ 10626 w 106010"/>
                <a:gd name="connsiteY2" fmla="*/ 25219 h 79562"/>
                <a:gd name="connsiteX3" fmla="*/ 4472 w 106010"/>
                <a:gd name="connsiteY3" fmla="*/ 52911 h 79562"/>
                <a:gd name="connsiteX4" fmla="*/ 22934 w 106010"/>
                <a:gd name="connsiteY4" fmla="*/ 77527 h 79562"/>
                <a:gd name="connsiteX5" fmla="*/ 90626 w 106010"/>
                <a:gd name="connsiteY5" fmla="*/ 55988 h 79562"/>
                <a:gd name="connsiteX6" fmla="*/ 99857 w 106010"/>
                <a:gd name="connsiteY6" fmla="*/ 40604 h 79562"/>
                <a:gd name="connsiteX7" fmla="*/ 106011 w 106010"/>
                <a:gd name="connsiteY7" fmla="*/ 15988 h 7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10" h="79562">
                  <a:moveTo>
                    <a:pt x="106011" y="15988"/>
                  </a:moveTo>
                  <a:cubicBezTo>
                    <a:pt x="106011" y="6757"/>
                    <a:pt x="96780" y="-2473"/>
                    <a:pt x="87549" y="604"/>
                  </a:cubicBezTo>
                  <a:cubicBezTo>
                    <a:pt x="62934" y="9834"/>
                    <a:pt x="35242" y="15988"/>
                    <a:pt x="10626" y="25219"/>
                  </a:cubicBezTo>
                  <a:cubicBezTo>
                    <a:pt x="-1681" y="28296"/>
                    <a:pt x="-1681" y="46757"/>
                    <a:pt x="4472" y="52911"/>
                  </a:cubicBezTo>
                  <a:cubicBezTo>
                    <a:pt x="-7835" y="62142"/>
                    <a:pt x="7549" y="86757"/>
                    <a:pt x="22934" y="77527"/>
                  </a:cubicBezTo>
                  <a:cubicBezTo>
                    <a:pt x="44472" y="65219"/>
                    <a:pt x="66011" y="59065"/>
                    <a:pt x="90626" y="55988"/>
                  </a:cubicBezTo>
                  <a:cubicBezTo>
                    <a:pt x="99857" y="55988"/>
                    <a:pt x="102934" y="46757"/>
                    <a:pt x="99857" y="40604"/>
                  </a:cubicBezTo>
                  <a:cubicBezTo>
                    <a:pt x="102934" y="31373"/>
                    <a:pt x="106011" y="22142"/>
                    <a:pt x="106011" y="15988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D575FC53-6D6B-4398-9100-71BDCA9712F6}"/>
                </a:ext>
              </a:extLst>
            </p:cNvPr>
            <p:cNvSpPr/>
            <p:nvPr/>
          </p:nvSpPr>
          <p:spPr>
            <a:xfrm>
              <a:off x="-5310155" y="2073103"/>
              <a:ext cx="116153" cy="36922"/>
            </a:xfrm>
            <a:custGeom>
              <a:avLst/>
              <a:gdLst>
                <a:gd name="connsiteX0" fmla="*/ 110769 w 116153"/>
                <a:gd name="connsiteY0" fmla="*/ 36923 h 36922"/>
                <a:gd name="connsiteX1" fmla="*/ 107692 w 116153"/>
                <a:gd name="connsiteY1" fmla="*/ 36923 h 36922"/>
                <a:gd name="connsiteX2" fmla="*/ 6154 w 116153"/>
                <a:gd name="connsiteY2" fmla="*/ 12308 h 36922"/>
                <a:gd name="connsiteX3" fmla="*/ 0 w 116153"/>
                <a:gd name="connsiteY3" fmla="*/ 6154 h 36922"/>
                <a:gd name="connsiteX4" fmla="*/ 6154 w 116153"/>
                <a:gd name="connsiteY4" fmla="*/ 0 h 36922"/>
                <a:gd name="connsiteX5" fmla="*/ 113846 w 116153"/>
                <a:gd name="connsiteY5" fmla="*/ 27692 h 36922"/>
                <a:gd name="connsiteX6" fmla="*/ 113846 w 116153"/>
                <a:gd name="connsiteY6" fmla="*/ 36923 h 36922"/>
                <a:gd name="connsiteX7" fmla="*/ 110769 w 116153"/>
                <a:gd name="connsiteY7" fmla="*/ 36923 h 36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153" h="36922">
                  <a:moveTo>
                    <a:pt x="110769" y="36923"/>
                  </a:moveTo>
                  <a:cubicBezTo>
                    <a:pt x="110769" y="36923"/>
                    <a:pt x="107692" y="36923"/>
                    <a:pt x="107692" y="36923"/>
                  </a:cubicBezTo>
                  <a:cubicBezTo>
                    <a:pt x="80000" y="18461"/>
                    <a:pt x="6154" y="12308"/>
                    <a:pt x="6154" y="12308"/>
                  </a:cubicBezTo>
                  <a:cubicBezTo>
                    <a:pt x="3077" y="12308"/>
                    <a:pt x="0" y="9231"/>
                    <a:pt x="0" y="6154"/>
                  </a:cubicBezTo>
                  <a:cubicBezTo>
                    <a:pt x="0" y="3077"/>
                    <a:pt x="3077" y="0"/>
                    <a:pt x="6154" y="0"/>
                  </a:cubicBezTo>
                  <a:cubicBezTo>
                    <a:pt x="9231" y="0"/>
                    <a:pt x="83077" y="6154"/>
                    <a:pt x="113846" y="27692"/>
                  </a:cubicBezTo>
                  <a:cubicBezTo>
                    <a:pt x="116923" y="30769"/>
                    <a:pt x="116923" y="33846"/>
                    <a:pt x="113846" y="36923"/>
                  </a:cubicBezTo>
                  <a:cubicBezTo>
                    <a:pt x="113846" y="36923"/>
                    <a:pt x="113846" y="36923"/>
                    <a:pt x="110769" y="36923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57111832-D83B-45F1-A727-1B4C1B3650B0}"/>
                </a:ext>
              </a:extLst>
            </p:cNvPr>
            <p:cNvSpPr/>
            <p:nvPr/>
          </p:nvSpPr>
          <p:spPr>
            <a:xfrm>
              <a:off x="-5727539" y="-336127"/>
              <a:ext cx="608152" cy="1003076"/>
            </a:xfrm>
            <a:custGeom>
              <a:avLst/>
              <a:gdLst>
                <a:gd name="connsiteX0" fmla="*/ 552768 w 608152"/>
                <a:gd name="connsiteY0" fmla="*/ 132308 h 1003076"/>
                <a:gd name="connsiteX1" fmla="*/ 254306 w 608152"/>
                <a:gd name="connsiteY1" fmla="*/ 584615 h 1003076"/>
                <a:gd name="connsiteX2" fmla="*/ 608153 w 608152"/>
                <a:gd name="connsiteY2" fmla="*/ 920000 h 1003076"/>
                <a:gd name="connsiteX3" fmla="*/ 485076 w 608152"/>
                <a:gd name="connsiteY3" fmla="*/ 1003077 h 1003076"/>
                <a:gd name="connsiteX4" fmla="*/ 5076 w 608152"/>
                <a:gd name="connsiteY4" fmla="*/ 612308 h 1003076"/>
                <a:gd name="connsiteX5" fmla="*/ 321999 w 608152"/>
                <a:gd name="connsiteY5" fmla="*/ 0 h 1003076"/>
                <a:gd name="connsiteX6" fmla="*/ 552768 w 608152"/>
                <a:gd name="connsiteY6" fmla="*/ 132308 h 100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8152" h="1003076">
                  <a:moveTo>
                    <a:pt x="552768" y="132308"/>
                  </a:moveTo>
                  <a:lnTo>
                    <a:pt x="254306" y="584615"/>
                  </a:lnTo>
                  <a:lnTo>
                    <a:pt x="608153" y="920000"/>
                  </a:lnTo>
                  <a:lnTo>
                    <a:pt x="485076" y="1003077"/>
                  </a:lnTo>
                  <a:cubicBezTo>
                    <a:pt x="485076" y="1003077"/>
                    <a:pt x="57383" y="716923"/>
                    <a:pt x="5076" y="612308"/>
                  </a:cubicBezTo>
                  <a:cubicBezTo>
                    <a:pt x="-47232" y="507692"/>
                    <a:pt x="321999" y="0"/>
                    <a:pt x="321999" y="0"/>
                  </a:cubicBezTo>
                  <a:lnTo>
                    <a:pt x="552768" y="132308"/>
                  </a:ln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954C6D1B-DE8E-46EC-922C-C854EF4333C7}"/>
                </a:ext>
              </a:extLst>
            </p:cNvPr>
            <p:cNvSpPr/>
            <p:nvPr/>
          </p:nvSpPr>
          <p:spPr>
            <a:xfrm>
              <a:off x="-5529891" y="-231511"/>
              <a:ext cx="361274" cy="486153"/>
            </a:xfrm>
            <a:custGeom>
              <a:avLst/>
              <a:gdLst>
                <a:gd name="connsiteX0" fmla="*/ 53582 w 361274"/>
                <a:gd name="connsiteY0" fmla="*/ 486154 h 486153"/>
                <a:gd name="connsiteX1" fmla="*/ 4351 w 361274"/>
                <a:gd name="connsiteY1" fmla="*/ 480000 h 486153"/>
                <a:gd name="connsiteX2" fmla="*/ 1275 w 361274"/>
                <a:gd name="connsiteY2" fmla="*/ 473846 h 486153"/>
                <a:gd name="connsiteX3" fmla="*/ 7428 w 361274"/>
                <a:gd name="connsiteY3" fmla="*/ 470769 h 486153"/>
                <a:gd name="connsiteX4" fmla="*/ 50505 w 361274"/>
                <a:gd name="connsiteY4" fmla="*/ 476923 h 486153"/>
                <a:gd name="connsiteX5" fmla="*/ 348967 w 361274"/>
                <a:gd name="connsiteY5" fmla="*/ 3077 h 486153"/>
                <a:gd name="connsiteX6" fmla="*/ 358198 w 361274"/>
                <a:gd name="connsiteY6" fmla="*/ 0 h 486153"/>
                <a:gd name="connsiteX7" fmla="*/ 361275 w 361274"/>
                <a:gd name="connsiteY7" fmla="*/ 9231 h 486153"/>
                <a:gd name="connsiteX8" fmla="*/ 59736 w 361274"/>
                <a:gd name="connsiteY8" fmla="*/ 486154 h 486153"/>
                <a:gd name="connsiteX9" fmla="*/ 53582 w 361274"/>
                <a:gd name="connsiteY9" fmla="*/ 486154 h 486153"/>
                <a:gd name="connsiteX10" fmla="*/ 53582 w 361274"/>
                <a:gd name="connsiteY10" fmla="*/ 486154 h 48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1274" h="486153">
                  <a:moveTo>
                    <a:pt x="53582" y="486154"/>
                  </a:moveTo>
                  <a:cubicBezTo>
                    <a:pt x="50505" y="486154"/>
                    <a:pt x="22813" y="486154"/>
                    <a:pt x="4351" y="480000"/>
                  </a:cubicBezTo>
                  <a:cubicBezTo>
                    <a:pt x="1275" y="480000"/>
                    <a:pt x="-1802" y="476923"/>
                    <a:pt x="1275" y="473846"/>
                  </a:cubicBezTo>
                  <a:cubicBezTo>
                    <a:pt x="1275" y="470769"/>
                    <a:pt x="4351" y="467692"/>
                    <a:pt x="7428" y="470769"/>
                  </a:cubicBezTo>
                  <a:cubicBezTo>
                    <a:pt x="19736" y="473846"/>
                    <a:pt x="41274" y="476923"/>
                    <a:pt x="50505" y="476923"/>
                  </a:cubicBezTo>
                  <a:cubicBezTo>
                    <a:pt x="108967" y="390769"/>
                    <a:pt x="345890" y="9231"/>
                    <a:pt x="348967" y="3077"/>
                  </a:cubicBezTo>
                  <a:cubicBezTo>
                    <a:pt x="352044" y="0"/>
                    <a:pt x="355121" y="0"/>
                    <a:pt x="358198" y="0"/>
                  </a:cubicBezTo>
                  <a:cubicBezTo>
                    <a:pt x="361275" y="3077"/>
                    <a:pt x="361275" y="6154"/>
                    <a:pt x="361275" y="9231"/>
                  </a:cubicBezTo>
                  <a:cubicBezTo>
                    <a:pt x="358198" y="12308"/>
                    <a:pt x="118198" y="403077"/>
                    <a:pt x="59736" y="486154"/>
                  </a:cubicBezTo>
                  <a:cubicBezTo>
                    <a:pt x="59736" y="483077"/>
                    <a:pt x="56659" y="486154"/>
                    <a:pt x="53582" y="486154"/>
                  </a:cubicBezTo>
                  <a:cubicBezTo>
                    <a:pt x="56659" y="486154"/>
                    <a:pt x="56659" y="486154"/>
                    <a:pt x="53582" y="486154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C1EE63DD-116B-42AB-9CF5-6845F8FD824F}"/>
                </a:ext>
              </a:extLst>
            </p:cNvPr>
            <p:cNvSpPr/>
            <p:nvPr/>
          </p:nvSpPr>
          <p:spPr>
            <a:xfrm>
              <a:off x="-5507078" y="-516404"/>
              <a:ext cx="453458" cy="441816"/>
            </a:xfrm>
            <a:custGeom>
              <a:avLst/>
              <a:gdLst>
                <a:gd name="connsiteX0" fmla="*/ 0 w 453458"/>
                <a:gd name="connsiteY0" fmla="*/ 211047 h 441816"/>
                <a:gd name="connsiteX1" fmla="*/ 406154 w 453458"/>
                <a:gd name="connsiteY1" fmla="*/ 7970 h 441816"/>
                <a:gd name="connsiteX2" fmla="*/ 298462 w 453458"/>
                <a:gd name="connsiteY2" fmla="*/ 441816 h 441816"/>
                <a:gd name="connsiteX3" fmla="*/ 0 w 453458"/>
                <a:gd name="connsiteY3" fmla="*/ 211047 h 441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458" h="441816">
                  <a:moveTo>
                    <a:pt x="0" y="211047"/>
                  </a:moveTo>
                  <a:cubicBezTo>
                    <a:pt x="116923" y="66432"/>
                    <a:pt x="332308" y="-28953"/>
                    <a:pt x="406154" y="7970"/>
                  </a:cubicBezTo>
                  <a:cubicBezTo>
                    <a:pt x="501539" y="57201"/>
                    <a:pt x="446154" y="294124"/>
                    <a:pt x="298462" y="441816"/>
                  </a:cubicBezTo>
                  <a:cubicBezTo>
                    <a:pt x="224615" y="426432"/>
                    <a:pt x="58462" y="297201"/>
                    <a:pt x="0" y="211047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24868819-3AFB-4107-BCA3-5F0C5A788577}"/>
                </a:ext>
              </a:extLst>
            </p:cNvPr>
            <p:cNvSpPr/>
            <p:nvPr/>
          </p:nvSpPr>
          <p:spPr>
            <a:xfrm>
              <a:off x="-5349386" y="-507665"/>
              <a:ext cx="303915" cy="439230"/>
            </a:xfrm>
            <a:custGeom>
              <a:avLst/>
              <a:gdLst>
                <a:gd name="connsiteX0" fmla="*/ 140769 w 303915"/>
                <a:gd name="connsiteY0" fmla="*/ 439231 h 439230"/>
                <a:gd name="connsiteX1" fmla="*/ 140769 w 303915"/>
                <a:gd name="connsiteY1" fmla="*/ 439231 h 439230"/>
                <a:gd name="connsiteX2" fmla="*/ 2308 w 303915"/>
                <a:gd name="connsiteY2" fmla="*/ 365385 h 439230"/>
                <a:gd name="connsiteX3" fmla="*/ 2308 w 303915"/>
                <a:gd name="connsiteY3" fmla="*/ 356154 h 439230"/>
                <a:gd name="connsiteX4" fmla="*/ 11538 w 303915"/>
                <a:gd name="connsiteY4" fmla="*/ 356154 h 439230"/>
                <a:gd name="connsiteX5" fmla="*/ 140769 w 303915"/>
                <a:gd name="connsiteY5" fmla="*/ 426923 h 439230"/>
                <a:gd name="connsiteX6" fmla="*/ 282308 w 303915"/>
                <a:gd name="connsiteY6" fmla="*/ 168462 h 439230"/>
                <a:gd name="connsiteX7" fmla="*/ 285385 w 303915"/>
                <a:gd name="connsiteY7" fmla="*/ 159231 h 439230"/>
                <a:gd name="connsiteX8" fmla="*/ 260769 w 303915"/>
                <a:gd name="connsiteY8" fmla="*/ 11539 h 439230"/>
                <a:gd name="connsiteX9" fmla="*/ 260769 w 303915"/>
                <a:gd name="connsiteY9" fmla="*/ 2308 h 439230"/>
                <a:gd name="connsiteX10" fmla="*/ 270000 w 303915"/>
                <a:gd name="connsiteY10" fmla="*/ 2308 h 439230"/>
                <a:gd name="connsiteX11" fmla="*/ 297692 w 303915"/>
                <a:gd name="connsiteY11" fmla="*/ 159231 h 439230"/>
                <a:gd name="connsiteX12" fmla="*/ 294615 w 303915"/>
                <a:gd name="connsiteY12" fmla="*/ 168462 h 439230"/>
                <a:gd name="connsiteX13" fmla="*/ 140769 w 303915"/>
                <a:gd name="connsiteY13" fmla="*/ 439231 h 439230"/>
                <a:gd name="connsiteX14" fmla="*/ 140769 w 303915"/>
                <a:gd name="connsiteY14" fmla="*/ 439231 h 43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3915" h="439230">
                  <a:moveTo>
                    <a:pt x="140769" y="439231"/>
                  </a:moveTo>
                  <a:lnTo>
                    <a:pt x="140769" y="439231"/>
                  </a:lnTo>
                  <a:cubicBezTo>
                    <a:pt x="110000" y="433077"/>
                    <a:pt x="63846" y="414615"/>
                    <a:pt x="2308" y="365385"/>
                  </a:cubicBezTo>
                  <a:cubicBezTo>
                    <a:pt x="-769" y="362308"/>
                    <a:pt x="-769" y="359231"/>
                    <a:pt x="2308" y="356154"/>
                  </a:cubicBezTo>
                  <a:cubicBezTo>
                    <a:pt x="5385" y="353077"/>
                    <a:pt x="8462" y="353077"/>
                    <a:pt x="11538" y="356154"/>
                  </a:cubicBezTo>
                  <a:cubicBezTo>
                    <a:pt x="66923" y="402308"/>
                    <a:pt x="113077" y="420769"/>
                    <a:pt x="140769" y="426923"/>
                  </a:cubicBezTo>
                  <a:cubicBezTo>
                    <a:pt x="165385" y="405385"/>
                    <a:pt x="266923" y="276154"/>
                    <a:pt x="282308" y="168462"/>
                  </a:cubicBezTo>
                  <a:cubicBezTo>
                    <a:pt x="282308" y="165385"/>
                    <a:pt x="282308" y="162308"/>
                    <a:pt x="285385" y="159231"/>
                  </a:cubicBezTo>
                  <a:cubicBezTo>
                    <a:pt x="291539" y="125385"/>
                    <a:pt x="303846" y="57692"/>
                    <a:pt x="260769" y="11539"/>
                  </a:cubicBezTo>
                  <a:cubicBezTo>
                    <a:pt x="257692" y="8462"/>
                    <a:pt x="257692" y="5385"/>
                    <a:pt x="260769" y="2308"/>
                  </a:cubicBezTo>
                  <a:cubicBezTo>
                    <a:pt x="263846" y="-769"/>
                    <a:pt x="266923" y="-769"/>
                    <a:pt x="270000" y="2308"/>
                  </a:cubicBezTo>
                  <a:cubicBezTo>
                    <a:pt x="316154" y="51538"/>
                    <a:pt x="303846" y="125385"/>
                    <a:pt x="297692" y="159231"/>
                  </a:cubicBezTo>
                  <a:cubicBezTo>
                    <a:pt x="297692" y="162308"/>
                    <a:pt x="297692" y="165385"/>
                    <a:pt x="294615" y="168462"/>
                  </a:cubicBezTo>
                  <a:cubicBezTo>
                    <a:pt x="276154" y="279231"/>
                    <a:pt x="171539" y="417692"/>
                    <a:pt x="140769" y="439231"/>
                  </a:cubicBezTo>
                  <a:lnTo>
                    <a:pt x="140769" y="439231"/>
                  </a:ln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65C51B3A-29B6-4975-8D9E-35A6F66A411E}"/>
                </a:ext>
              </a:extLst>
            </p:cNvPr>
            <p:cNvSpPr/>
            <p:nvPr/>
          </p:nvSpPr>
          <p:spPr>
            <a:xfrm>
              <a:off x="-5179410" y="533152"/>
              <a:ext cx="152935" cy="87643"/>
            </a:xfrm>
            <a:custGeom>
              <a:avLst/>
              <a:gdLst>
                <a:gd name="connsiteX0" fmla="*/ 152332 w 152935"/>
                <a:gd name="connsiteY0" fmla="*/ 69182 h 87643"/>
                <a:gd name="connsiteX1" fmla="*/ 109255 w 152935"/>
                <a:gd name="connsiteY1" fmla="*/ 10720 h 87643"/>
                <a:gd name="connsiteX2" fmla="*/ 4640 w 152935"/>
                <a:gd name="connsiteY2" fmla="*/ 4566 h 87643"/>
                <a:gd name="connsiteX3" fmla="*/ 13871 w 152935"/>
                <a:gd name="connsiteY3" fmla="*/ 35335 h 87643"/>
                <a:gd name="connsiteX4" fmla="*/ 20024 w 152935"/>
                <a:gd name="connsiteY4" fmla="*/ 50720 h 87643"/>
                <a:gd name="connsiteX5" fmla="*/ 50794 w 152935"/>
                <a:gd name="connsiteY5" fmla="*/ 59951 h 87643"/>
                <a:gd name="connsiteX6" fmla="*/ 87717 w 152935"/>
                <a:gd name="connsiteY6" fmla="*/ 59951 h 87643"/>
                <a:gd name="connsiteX7" fmla="*/ 109255 w 152935"/>
                <a:gd name="connsiteY7" fmla="*/ 78412 h 87643"/>
                <a:gd name="connsiteX8" fmla="*/ 136947 w 152935"/>
                <a:gd name="connsiteY8" fmla="*/ 87643 h 87643"/>
                <a:gd name="connsiteX9" fmla="*/ 152332 w 152935"/>
                <a:gd name="connsiteY9" fmla="*/ 69182 h 8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935" h="87643">
                  <a:moveTo>
                    <a:pt x="152332" y="69182"/>
                  </a:moveTo>
                  <a:cubicBezTo>
                    <a:pt x="143101" y="44566"/>
                    <a:pt x="136947" y="19951"/>
                    <a:pt x="109255" y="10720"/>
                  </a:cubicBezTo>
                  <a:cubicBezTo>
                    <a:pt x="81563" y="1489"/>
                    <a:pt x="35409" y="-4665"/>
                    <a:pt x="4640" y="4566"/>
                  </a:cubicBezTo>
                  <a:cubicBezTo>
                    <a:pt x="-7668" y="7643"/>
                    <a:pt x="7717" y="29182"/>
                    <a:pt x="13871" y="35335"/>
                  </a:cubicBezTo>
                  <a:cubicBezTo>
                    <a:pt x="13871" y="41489"/>
                    <a:pt x="13871" y="47643"/>
                    <a:pt x="20024" y="50720"/>
                  </a:cubicBezTo>
                  <a:cubicBezTo>
                    <a:pt x="29255" y="56874"/>
                    <a:pt x="38486" y="59951"/>
                    <a:pt x="50794" y="59951"/>
                  </a:cubicBezTo>
                  <a:cubicBezTo>
                    <a:pt x="63101" y="63028"/>
                    <a:pt x="75409" y="56874"/>
                    <a:pt x="87717" y="59951"/>
                  </a:cubicBezTo>
                  <a:cubicBezTo>
                    <a:pt x="96948" y="63028"/>
                    <a:pt x="100024" y="72258"/>
                    <a:pt x="109255" y="78412"/>
                  </a:cubicBezTo>
                  <a:cubicBezTo>
                    <a:pt x="118486" y="84566"/>
                    <a:pt x="127717" y="87643"/>
                    <a:pt x="136947" y="87643"/>
                  </a:cubicBezTo>
                  <a:cubicBezTo>
                    <a:pt x="146178" y="87643"/>
                    <a:pt x="155409" y="78412"/>
                    <a:pt x="152332" y="69182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1" name="图形 1">
              <a:extLst>
                <a:ext uri="{FF2B5EF4-FFF2-40B4-BE49-F238E27FC236}">
                  <a16:creationId xmlns:a16="http://schemas.microsoft.com/office/drawing/2014/main" id="{BD2FB55C-40BD-4F59-824F-46FD13F70DC1}"/>
                </a:ext>
              </a:extLst>
            </p:cNvPr>
            <p:cNvGrpSpPr/>
            <p:nvPr/>
          </p:nvGrpSpPr>
          <p:grpSpPr>
            <a:xfrm>
              <a:off x="-5271130" y="570425"/>
              <a:ext cx="833424" cy="1135414"/>
              <a:chOff x="-5271130" y="570425"/>
              <a:chExt cx="833424" cy="1135414"/>
            </a:xfrm>
          </p:grpSpPr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161972D4-5D58-40C0-8386-AB3BD920F4F0}"/>
                  </a:ext>
                </a:extLst>
              </p:cNvPr>
              <p:cNvSpPr/>
              <p:nvPr/>
            </p:nvSpPr>
            <p:spPr>
              <a:xfrm>
                <a:off x="-5271130" y="570425"/>
                <a:ext cx="624528" cy="810589"/>
              </a:xfrm>
              <a:custGeom>
                <a:avLst/>
                <a:gdLst>
                  <a:gd name="connsiteX0" fmla="*/ 622514 w 624528"/>
                  <a:gd name="connsiteY0" fmla="*/ 527294 h 810589"/>
                  <a:gd name="connsiteX1" fmla="*/ 354821 w 624528"/>
                  <a:gd name="connsiteY1" fmla="*/ 102678 h 810589"/>
                  <a:gd name="connsiteX2" fmla="*/ 65591 w 624528"/>
                  <a:gd name="connsiteY2" fmla="*/ 22679 h 810589"/>
                  <a:gd name="connsiteX3" fmla="*/ 10206 w 624528"/>
                  <a:gd name="connsiteY3" fmla="*/ 351909 h 810589"/>
                  <a:gd name="connsiteX4" fmla="*/ 179437 w 624528"/>
                  <a:gd name="connsiteY4" fmla="*/ 804217 h 810589"/>
                  <a:gd name="connsiteX5" fmla="*/ 207129 w 624528"/>
                  <a:gd name="connsiteY5" fmla="*/ 788832 h 810589"/>
                  <a:gd name="connsiteX6" fmla="*/ 62514 w 624528"/>
                  <a:gd name="connsiteY6" fmla="*/ 462678 h 810589"/>
                  <a:gd name="connsiteX7" fmla="*/ 34821 w 624528"/>
                  <a:gd name="connsiteY7" fmla="*/ 271909 h 810589"/>
                  <a:gd name="connsiteX8" fmla="*/ 80975 w 624528"/>
                  <a:gd name="connsiteY8" fmla="*/ 53448 h 810589"/>
                  <a:gd name="connsiteX9" fmla="*/ 280975 w 624528"/>
                  <a:gd name="connsiteY9" fmla="*/ 81140 h 810589"/>
                  <a:gd name="connsiteX10" fmla="*/ 397898 w 624528"/>
                  <a:gd name="connsiteY10" fmla="*/ 228832 h 810589"/>
                  <a:gd name="connsiteX11" fmla="*/ 591744 w 624528"/>
                  <a:gd name="connsiteY11" fmla="*/ 545755 h 810589"/>
                  <a:gd name="connsiteX12" fmla="*/ 622514 w 624528"/>
                  <a:gd name="connsiteY12" fmla="*/ 527294 h 8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24528" h="810589">
                    <a:moveTo>
                      <a:pt x="622514" y="527294"/>
                    </a:moveTo>
                    <a:cubicBezTo>
                      <a:pt x="539437" y="385755"/>
                      <a:pt x="459437" y="228832"/>
                      <a:pt x="354821" y="102678"/>
                    </a:cubicBezTo>
                    <a:cubicBezTo>
                      <a:pt x="293283" y="28832"/>
                      <a:pt x="160975" y="-35783"/>
                      <a:pt x="65591" y="22679"/>
                    </a:cubicBezTo>
                    <a:cubicBezTo>
                      <a:pt x="-23640" y="78063"/>
                      <a:pt x="975" y="265755"/>
                      <a:pt x="10206" y="351909"/>
                    </a:cubicBezTo>
                    <a:cubicBezTo>
                      <a:pt x="31744" y="514986"/>
                      <a:pt x="96360" y="665755"/>
                      <a:pt x="179437" y="804217"/>
                    </a:cubicBezTo>
                    <a:cubicBezTo>
                      <a:pt x="188667" y="819601"/>
                      <a:pt x="216360" y="804217"/>
                      <a:pt x="207129" y="788832"/>
                    </a:cubicBezTo>
                    <a:cubicBezTo>
                      <a:pt x="145591" y="687294"/>
                      <a:pt x="93283" y="579602"/>
                      <a:pt x="62514" y="462678"/>
                    </a:cubicBezTo>
                    <a:cubicBezTo>
                      <a:pt x="47129" y="401140"/>
                      <a:pt x="34821" y="336525"/>
                      <a:pt x="34821" y="271909"/>
                    </a:cubicBezTo>
                    <a:cubicBezTo>
                      <a:pt x="31744" y="213448"/>
                      <a:pt x="25591" y="90371"/>
                      <a:pt x="80975" y="53448"/>
                    </a:cubicBezTo>
                    <a:cubicBezTo>
                      <a:pt x="139437" y="13448"/>
                      <a:pt x="228667" y="44217"/>
                      <a:pt x="280975" y="81140"/>
                    </a:cubicBezTo>
                    <a:cubicBezTo>
                      <a:pt x="333283" y="118063"/>
                      <a:pt x="364052" y="176525"/>
                      <a:pt x="397898" y="228832"/>
                    </a:cubicBezTo>
                    <a:cubicBezTo>
                      <a:pt x="465591" y="333448"/>
                      <a:pt x="530206" y="441140"/>
                      <a:pt x="591744" y="545755"/>
                    </a:cubicBezTo>
                    <a:cubicBezTo>
                      <a:pt x="607129" y="561140"/>
                      <a:pt x="631744" y="545755"/>
                      <a:pt x="622514" y="527294"/>
                    </a:cubicBezTo>
                    <a:close/>
                  </a:path>
                </a:pathLst>
              </a:custGeom>
              <a:solidFill>
                <a:srgbClr val="C1524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25" name="图形 1">
                <a:extLst>
                  <a:ext uri="{FF2B5EF4-FFF2-40B4-BE49-F238E27FC236}">
                    <a16:creationId xmlns:a16="http://schemas.microsoft.com/office/drawing/2014/main" id="{44499700-B590-4817-A490-ABCAD1B8CAEA}"/>
                  </a:ext>
                </a:extLst>
              </p:cNvPr>
              <p:cNvGrpSpPr/>
              <p:nvPr/>
            </p:nvGrpSpPr>
            <p:grpSpPr>
              <a:xfrm>
                <a:off x="-5129382" y="1082334"/>
                <a:ext cx="691675" cy="623505"/>
                <a:chOff x="-5129382" y="1082334"/>
                <a:chExt cx="691675" cy="623505"/>
              </a:xfrm>
            </p:grpSpPr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F05652AD-A214-40CF-BB89-79A2ACF1F98B}"/>
                    </a:ext>
                  </a:extLst>
                </p:cNvPr>
                <p:cNvSpPr/>
                <p:nvPr/>
              </p:nvSpPr>
              <p:spPr>
                <a:xfrm>
                  <a:off x="-5097367" y="1152633"/>
                  <a:ext cx="659660" cy="553206"/>
                </a:xfrm>
                <a:custGeom>
                  <a:avLst/>
                  <a:gdLst>
                    <a:gd name="connsiteX0" fmla="*/ 602596 w 659660"/>
                    <a:gd name="connsiteY0" fmla="*/ 142008 h 553206"/>
                    <a:gd name="connsiteX1" fmla="*/ 485673 w 659660"/>
                    <a:gd name="connsiteY1" fmla="*/ 470 h 553206"/>
                    <a:gd name="connsiteX2" fmla="*/ 101057 w 659660"/>
                    <a:gd name="connsiteY2" fmla="*/ 169701 h 553206"/>
                    <a:gd name="connsiteX3" fmla="*/ 8750 w 659660"/>
                    <a:gd name="connsiteY3" fmla="*/ 332778 h 553206"/>
                    <a:gd name="connsiteX4" fmla="*/ 150288 w 659660"/>
                    <a:gd name="connsiteY4" fmla="*/ 545085 h 553206"/>
                    <a:gd name="connsiteX5" fmla="*/ 387211 w 659660"/>
                    <a:gd name="connsiteY5" fmla="*/ 483547 h 553206"/>
                    <a:gd name="connsiteX6" fmla="*/ 550288 w 659660"/>
                    <a:gd name="connsiteY6" fmla="*/ 397393 h 553206"/>
                    <a:gd name="connsiteX7" fmla="*/ 639519 w 659660"/>
                    <a:gd name="connsiteY7" fmla="*/ 338932 h 553206"/>
                    <a:gd name="connsiteX8" fmla="*/ 602596 w 659660"/>
                    <a:gd name="connsiteY8" fmla="*/ 142008 h 553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59660" h="553206">
                      <a:moveTo>
                        <a:pt x="602596" y="142008"/>
                      </a:moveTo>
                      <a:cubicBezTo>
                        <a:pt x="577981" y="95855"/>
                        <a:pt x="537981" y="15855"/>
                        <a:pt x="485673" y="470"/>
                      </a:cubicBezTo>
                      <a:cubicBezTo>
                        <a:pt x="482596" y="-8761"/>
                        <a:pt x="190288" y="120470"/>
                        <a:pt x="101057" y="169701"/>
                      </a:cubicBezTo>
                      <a:cubicBezTo>
                        <a:pt x="21057" y="212778"/>
                        <a:pt x="-18943" y="237393"/>
                        <a:pt x="8750" y="332778"/>
                      </a:cubicBezTo>
                      <a:cubicBezTo>
                        <a:pt x="30288" y="403547"/>
                        <a:pt x="76442" y="514316"/>
                        <a:pt x="150288" y="545085"/>
                      </a:cubicBezTo>
                      <a:cubicBezTo>
                        <a:pt x="214904" y="575855"/>
                        <a:pt x="328750" y="511239"/>
                        <a:pt x="387211" y="483547"/>
                      </a:cubicBezTo>
                      <a:cubicBezTo>
                        <a:pt x="442596" y="458932"/>
                        <a:pt x="497981" y="428162"/>
                        <a:pt x="550288" y="397393"/>
                      </a:cubicBezTo>
                      <a:cubicBezTo>
                        <a:pt x="581057" y="382008"/>
                        <a:pt x="617981" y="363547"/>
                        <a:pt x="639519" y="338932"/>
                      </a:cubicBezTo>
                      <a:cubicBezTo>
                        <a:pt x="688750" y="274316"/>
                        <a:pt x="636442" y="197393"/>
                        <a:pt x="602596" y="142008"/>
                      </a:cubicBezTo>
                      <a:close/>
                    </a:path>
                  </a:pathLst>
                </a:custGeom>
                <a:solidFill>
                  <a:srgbClr val="C1524D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1ADD0589-F61C-41DD-802C-00B16AD97B4C}"/>
                    </a:ext>
                  </a:extLst>
                </p:cNvPr>
                <p:cNvSpPr/>
                <p:nvPr/>
              </p:nvSpPr>
              <p:spPr>
                <a:xfrm>
                  <a:off x="-5129382" y="1082334"/>
                  <a:ext cx="642220" cy="453551"/>
                </a:xfrm>
                <a:custGeom>
                  <a:avLst/>
                  <a:gdLst>
                    <a:gd name="connsiteX0" fmla="*/ 16150 w 642220"/>
                    <a:gd name="connsiteY0" fmla="*/ 233846 h 453551"/>
                    <a:gd name="connsiteX1" fmla="*/ 28457 w 642220"/>
                    <a:gd name="connsiteY1" fmla="*/ 452308 h 453551"/>
                    <a:gd name="connsiteX2" fmla="*/ 640765 w 642220"/>
                    <a:gd name="connsiteY2" fmla="*/ 160000 h 453551"/>
                    <a:gd name="connsiteX3" fmla="*/ 505380 w 642220"/>
                    <a:gd name="connsiteY3" fmla="*/ 0 h 453551"/>
                    <a:gd name="connsiteX4" fmla="*/ 16150 w 642220"/>
                    <a:gd name="connsiteY4" fmla="*/ 233846 h 4535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2220" h="453551">
                      <a:moveTo>
                        <a:pt x="16150" y="233846"/>
                      </a:moveTo>
                      <a:cubicBezTo>
                        <a:pt x="-8466" y="258462"/>
                        <a:pt x="-5389" y="430769"/>
                        <a:pt x="28457" y="452308"/>
                      </a:cubicBezTo>
                      <a:cubicBezTo>
                        <a:pt x="65380" y="473846"/>
                        <a:pt x="625381" y="209231"/>
                        <a:pt x="640765" y="160000"/>
                      </a:cubicBezTo>
                      <a:cubicBezTo>
                        <a:pt x="656150" y="110769"/>
                        <a:pt x="545381" y="0"/>
                        <a:pt x="505380" y="0"/>
                      </a:cubicBezTo>
                      <a:cubicBezTo>
                        <a:pt x="465380" y="0"/>
                        <a:pt x="96150" y="153846"/>
                        <a:pt x="16150" y="233846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0D4AF288-816B-4BEF-AC65-EA1B74ACDBCB}"/>
                    </a:ext>
                  </a:extLst>
                </p:cNvPr>
                <p:cNvSpPr/>
                <p:nvPr/>
              </p:nvSpPr>
              <p:spPr>
                <a:xfrm>
                  <a:off x="-5004821" y="1467668"/>
                  <a:ext cx="63177" cy="63177"/>
                </a:xfrm>
                <a:custGeom>
                  <a:avLst/>
                  <a:gdLst>
                    <a:gd name="connsiteX0" fmla="*/ 60820 w 63177"/>
                    <a:gd name="connsiteY0" fmla="*/ 17743 h 63177"/>
                    <a:gd name="connsiteX1" fmla="*/ 17743 w 63177"/>
                    <a:gd name="connsiteY1" fmla="*/ 2358 h 63177"/>
                    <a:gd name="connsiteX2" fmla="*/ 2358 w 63177"/>
                    <a:gd name="connsiteY2" fmla="*/ 45435 h 63177"/>
                    <a:gd name="connsiteX3" fmla="*/ 45435 w 63177"/>
                    <a:gd name="connsiteY3" fmla="*/ 60820 h 63177"/>
                    <a:gd name="connsiteX4" fmla="*/ 60820 w 63177"/>
                    <a:gd name="connsiteY4" fmla="*/ 17743 h 63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3177" h="63177">
                      <a:moveTo>
                        <a:pt x="60820" y="17743"/>
                      </a:moveTo>
                      <a:cubicBezTo>
                        <a:pt x="54666" y="2358"/>
                        <a:pt x="33127" y="-3796"/>
                        <a:pt x="17743" y="2358"/>
                      </a:cubicBezTo>
                      <a:cubicBezTo>
                        <a:pt x="2358" y="8512"/>
                        <a:pt x="-3796" y="30050"/>
                        <a:pt x="2358" y="45435"/>
                      </a:cubicBezTo>
                      <a:cubicBezTo>
                        <a:pt x="8512" y="60820"/>
                        <a:pt x="30051" y="66974"/>
                        <a:pt x="45435" y="60820"/>
                      </a:cubicBezTo>
                      <a:cubicBezTo>
                        <a:pt x="60820" y="51589"/>
                        <a:pt x="66974" y="33127"/>
                        <a:pt x="60820" y="17743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88646CE9-A476-41AF-A880-B94643D3F7F4}"/>
                    </a:ext>
                  </a:extLst>
                </p:cNvPr>
                <p:cNvSpPr/>
                <p:nvPr/>
              </p:nvSpPr>
              <p:spPr>
                <a:xfrm>
                  <a:off x="-4638667" y="1292283"/>
                  <a:ext cx="65060" cy="63177"/>
                </a:xfrm>
                <a:custGeom>
                  <a:avLst/>
                  <a:gdLst>
                    <a:gd name="connsiteX0" fmla="*/ 60820 w 65060"/>
                    <a:gd name="connsiteY0" fmla="*/ 17743 h 63177"/>
                    <a:gd name="connsiteX1" fmla="*/ 17743 w 65060"/>
                    <a:gd name="connsiteY1" fmla="*/ 2358 h 63177"/>
                    <a:gd name="connsiteX2" fmla="*/ 2358 w 65060"/>
                    <a:gd name="connsiteY2" fmla="*/ 45435 h 63177"/>
                    <a:gd name="connsiteX3" fmla="*/ 45435 w 65060"/>
                    <a:gd name="connsiteY3" fmla="*/ 60820 h 63177"/>
                    <a:gd name="connsiteX4" fmla="*/ 60820 w 65060"/>
                    <a:gd name="connsiteY4" fmla="*/ 17743 h 63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5060" h="63177">
                      <a:moveTo>
                        <a:pt x="60820" y="17743"/>
                      </a:moveTo>
                      <a:cubicBezTo>
                        <a:pt x="54666" y="2358"/>
                        <a:pt x="33127" y="-3796"/>
                        <a:pt x="17743" y="2358"/>
                      </a:cubicBezTo>
                      <a:cubicBezTo>
                        <a:pt x="2358" y="11589"/>
                        <a:pt x="-3796" y="30050"/>
                        <a:pt x="2358" y="45435"/>
                      </a:cubicBezTo>
                      <a:cubicBezTo>
                        <a:pt x="8512" y="60820"/>
                        <a:pt x="30050" y="66973"/>
                        <a:pt x="45435" y="60820"/>
                      </a:cubicBezTo>
                      <a:cubicBezTo>
                        <a:pt x="63897" y="51589"/>
                        <a:pt x="70051" y="33127"/>
                        <a:pt x="60820" y="17743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2" name="图形 1">
              <a:extLst>
                <a:ext uri="{FF2B5EF4-FFF2-40B4-BE49-F238E27FC236}">
                  <a16:creationId xmlns:a16="http://schemas.microsoft.com/office/drawing/2014/main" id="{C00A4B48-DEC1-4D11-A7EC-12044ECE381B}"/>
                </a:ext>
              </a:extLst>
            </p:cNvPr>
            <p:cNvGrpSpPr/>
            <p:nvPr/>
          </p:nvGrpSpPr>
          <p:grpSpPr>
            <a:xfrm>
              <a:off x="-5276309" y="543749"/>
              <a:ext cx="203076" cy="181661"/>
              <a:chOff x="-5276309" y="543749"/>
              <a:chExt cx="203076" cy="181661"/>
            </a:xfrm>
          </p:grpSpPr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3B9452CE-422A-40B8-B5C5-3F41B7BB1DAC}"/>
                  </a:ext>
                </a:extLst>
              </p:cNvPr>
              <p:cNvSpPr/>
              <p:nvPr/>
            </p:nvSpPr>
            <p:spPr>
              <a:xfrm>
                <a:off x="-5273530" y="543749"/>
                <a:ext cx="196057" cy="175508"/>
              </a:xfrm>
              <a:custGeom>
                <a:avLst/>
                <a:gdLst>
                  <a:gd name="connsiteX0" fmla="*/ 194144 w 196057"/>
                  <a:gd name="connsiteY0" fmla="*/ 95508 h 175508"/>
                  <a:gd name="connsiteX1" fmla="*/ 107991 w 196057"/>
                  <a:gd name="connsiteY1" fmla="*/ 123 h 175508"/>
                  <a:gd name="connsiteX2" fmla="*/ 298 w 196057"/>
                  <a:gd name="connsiteY2" fmla="*/ 67816 h 175508"/>
                  <a:gd name="connsiteX3" fmla="*/ 27990 w 196057"/>
                  <a:gd name="connsiteY3" fmla="*/ 160123 h 175508"/>
                  <a:gd name="connsiteX4" fmla="*/ 64914 w 196057"/>
                  <a:gd name="connsiteY4" fmla="*/ 175508 h 175508"/>
                  <a:gd name="connsiteX5" fmla="*/ 83375 w 196057"/>
                  <a:gd name="connsiteY5" fmla="*/ 166277 h 175508"/>
                  <a:gd name="connsiteX6" fmla="*/ 101837 w 196057"/>
                  <a:gd name="connsiteY6" fmla="*/ 163200 h 175508"/>
                  <a:gd name="connsiteX7" fmla="*/ 114144 w 196057"/>
                  <a:gd name="connsiteY7" fmla="*/ 150893 h 175508"/>
                  <a:gd name="connsiteX8" fmla="*/ 135683 w 196057"/>
                  <a:gd name="connsiteY8" fmla="*/ 141662 h 175508"/>
                  <a:gd name="connsiteX9" fmla="*/ 151067 w 196057"/>
                  <a:gd name="connsiteY9" fmla="*/ 135508 h 175508"/>
                  <a:gd name="connsiteX10" fmla="*/ 160298 w 196057"/>
                  <a:gd name="connsiteY10" fmla="*/ 120123 h 175508"/>
                  <a:gd name="connsiteX11" fmla="*/ 194144 w 196057"/>
                  <a:gd name="connsiteY11" fmla="*/ 95508 h 175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6057" h="175508">
                    <a:moveTo>
                      <a:pt x="194144" y="95508"/>
                    </a:moveTo>
                    <a:cubicBezTo>
                      <a:pt x="206452" y="77046"/>
                      <a:pt x="157221" y="27816"/>
                      <a:pt x="107991" y="123"/>
                    </a:cubicBezTo>
                    <a:cubicBezTo>
                      <a:pt x="101837" y="-2954"/>
                      <a:pt x="3375" y="52431"/>
                      <a:pt x="298" y="67816"/>
                    </a:cubicBezTo>
                    <a:cubicBezTo>
                      <a:pt x="-2779" y="95508"/>
                      <a:pt x="18760" y="150893"/>
                      <a:pt x="27990" y="160123"/>
                    </a:cubicBezTo>
                    <a:cubicBezTo>
                      <a:pt x="40298" y="172431"/>
                      <a:pt x="49529" y="175508"/>
                      <a:pt x="64914" y="175508"/>
                    </a:cubicBezTo>
                    <a:cubicBezTo>
                      <a:pt x="80298" y="172431"/>
                      <a:pt x="74144" y="169354"/>
                      <a:pt x="83375" y="166277"/>
                    </a:cubicBezTo>
                    <a:cubicBezTo>
                      <a:pt x="89529" y="163200"/>
                      <a:pt x="95683" y="166277"/>
                      <a:pt x="101837" y="163200"/>
                    </a:cubicBezTo>
                    <a:cubicBezTo>
                      <a:pt x="107991" y="160123"/>
                      <a:pt x="107991" y="157047"/>
                      <a:pt x="114144" y="150893"/>
                    </a:cubicBezTo>
                    <a:cubicBezTo>
                      <a:pt x="126452" y="141662"/>
                      <a:pt x="117221" y="144739"/>
                      <a:pt x="135683" y="141662"/>
                    </a:cubicBezTo>
                    <a:cubicBezTo>
                      <a:pt x="141837" y="141662"/>
                      <a:pt x="147990" y="138585"/>
                      <a:pt x="151067" y="135508"/>
                    </a:cubicBezTo>
                    <a:cubicBezTo>
                      <a:pt x="157221" y="132431"/>
                      <a:pt x="160298" y="126277"/>
                      <a:pt x="160298" y="120123"/>
                    </a:cubicBezTo>
                    <a:cubicBezTo>
                      <a:pt x="175683" y="117046"/>
                      <a:pt x="184914" y="107816"/>
                      <a:pt x="194144" y="95508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D9C40E64-C08C-4C55-AC22-04C4778557E3}"/>
                  </a:ext>
                </a:extLst>
              </p:cNvPr>
              <p:cNvSpPr/>
              <p:nvPr/>
            </p:nvSpPr>
            <p:spPr>
              <a:xfrm>
                <a:off x="-5276309" y="556949"/>
                <a:ext cx="203076" cy="168461"/>
              </a:xfrm>
              <a:custGeom>
                <a:avLst/>
                <a:gdLst>
                  <a:gd name="connsiteX0" fmla="*/ 61538 w 203076"/>
                  <a:gd name="connsiteY0" fmla="*/ 168462 h 168461"/>
                  <a:gd name="connsiteX1" fmla="*/ 27692 w 203076"/>
                  <a:gd name="connsiteY1" fmla="*/ 153077 h 168461"/>
                  <a:gd name="connsiteX2" fmla="*/ 0 w 203076"/>
                  <a:gd name="connsiteY2" fmla="*/ 76154 h 168461"/>
                  <a:gd name="connsiteX3" fmla="*/ 6154 w 203076"/>
                  <a:gd name="connsiteY3" fmla="*/ 70000 h 168461"/>
                  <a:gd name="connsiteX4" fmla="*/ 12308 w 203076"/>
                  <a:gd name="connsiteY4" fmla="*/ 76154 h 168461"/>
                  <a:gd name="connsiteX5" fmla="*/ 36923 w 203076"/>
                  <a:gd name="connsiteY5" fmla="*/ 143846 h 168461"/>
                  <a:gd name="connsiteX6" fmla="*/ 86154 w 203076"/>
                  <a:gd name="connsiteY6" fmla="*/ 146923 h 168461"/>
                  <a:gd name="connsiteX7" fmla="*/ 92308 w 203076"/>
                  <a:gd name="connsiteY7" fmla="*/ 146923 h 168461"/>
                  <a:gd name="connsiteX8" fmla="*/ 107692 w 203076"/>
                  <a:gd name="connsiteY8" fmla="*/ 146923 h 168461"/>
                  <a:gd name="connsiteX9" fmla="*/ 120000 w 203076"/>
                  <a:gd name="connsiteY9" fmla="*/ 131539 h 168461"/>
                  <a:gd name="connsiteX10" fmla="*/ 126154 w 203076"/>
                  <a:gd name="connsiteY10" fmla="*/ 128462 h 168461"/>
                  <a:gd name="connsiteX11" fmla="*/ 150769 w 203076"/>
                  <a:gd name="connsiteY11" fmla="*/ 122308 h 168461"/>
                  <a:gd name="connsiteX12" fmla="*/ 156923 w 203076"/>
                  <a:gd name="connsiteY12" fmla="*/ 106923 h 168461"/>
                  <a:gd name="connsiteX13" fmla="*/ 160000 w 203076"/>
                  <a:gd name="connsiteY13" fmla="*/ 100769 h 168461"/>
                  <a:gd name="connsiteX14" fmla="*/ 166154 w 203076"/>
                  <a:gd name="connsiteY14" fmla="*/ 100769 h 168461"/>
                  <a:gd name="connsiteX15" fmla="*/ 181538 w 203076"/>
                  <a:gd name="connsiteY15" fmla="*/ 94615 h 168461"/>
                  <a:gd name="connsiteX16" fmla="*/ 190769 w 203076"/>
                  <a:gd name="connsiteY16" fmla="*/ 73077 h 168461"/>
                  <a:gd name="connsiteX17" fmla="*/ 135385 w 203076"/>
                  <a:gd name="connsiteY17" fmla="*/ 11539 h 168461"/>
                  <a:gd name="connsiteX18" fmla="*/ 135385 w 203076"/>
                  <a:gd name="connsiteY18" fmla="*/ 2308 h 168461"/>
                  <a:gd name="connsiteX19" fmla="*/ 144615 w 203076"/>
                  <a:gd name="connsiteY19" fmla="*/ 2308 h 168461"/>
                  <a:gd name="connsiteX20" fmla="*/ 203077 w 203076"/>
                  <a:gd name="connsiteY20" fmla="*/ 70000 h 168461"/>
                  <a:gd name="connsiteX21" fmla="*/ 187692 w 203076"/>
                  <a:gd name="connsiteY21" fmla="*/ 103846 h 168461"/>
                  <a:gd name="connsiteX22" fmla="*/ 166154 w 203076"/>
                  <a:gd name="connsiteY22" fmla="*/ 113077 h 168461"/>
                  <a:gd name="connsiteX23" fmla="*/ 156923 w 203076"/>
                  <a:gd name="connsiteY23" fmla="*/ 128462 h 168461"/>
                  <a:gd name="connsiteX24" fmla="*/ 126154 w 203076"/>
                  <a:gd name="connsiteY24" fmla="*/ 137692 h 168461"/>
                  <a:gd name="connsiteX25" fmla="*/ 110769 w 203076"/>
                  <a:gd name="connsiteY25" fmla="*/ 156154 h 168461"/>
                  <a:gd name="connsiteX26" fmla="*/ 86154 w 203076"/>
                  <a:gd name="connsiteY26" fmla="*/ 156154 h 168461"/>
                  <a:gd name="connsiteX27" fmla="*/ 61538 w 203076"/>
                  <a:gd name="connsiteY27" fmla="*/ 168462 h 16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03076" h="168461">
                    <a:moveTo>
                      <a:pt x="61538" y="168462"/>
                    </a:moveTo>
                    <a:cubicBezTo>
                      <a:pt x="49231" y="168462"/>
                      <a:pt x="40000" y="165385"/>
                      <a:pt x="27692" y="153077"/>
                    </a:cubicBezTo>
                    <a:cubicBezTo>
                      <a:pt x="3077" y="125385"/>
                      <a:pt x="0" y="79231"/>
                      <a:pt x="0" y="76154"/>
                    </a:cubicBezTo>
                    <a:cubicBezTo>
                      <a:pt x="0" y="73077"/>
                      <a:pt x="3077" y="70000"/>
                      <a:pt x="6154" y="70000"/>
                    </a:cubicBezTo>
                    <a:cubicBezTo>
                      <a:pt x="9231" y="70000"/>
                      <a:pt x="12308" y="73077"/>
                      <a:pt x="12308" y="76154"/>
                    </a:cubicBezTo>
                    <a:cubicBezTo>
                      <a:pt x="12308" y="76154"/>
                      <a:pt x="15385" y="119231"/>
                      <a:pt x="36923" y="143846"/>
                    </a:cubicBezTo>
                    <a:cubicBezTo>
                      <a:pt x="58462" y="168462"/>
                      <a:pt x="83077" y="150000"/>
                      <a:pt x="86154" y="146923"/>
                    </a:cubicBezTo>
                    <a:cubicBezTo>
                      <a:pt x="89231" y="146923"/>
                      <a:pt x="89231" y="146923"/>
                      <a:pt x="92308" y="146923"/>
                    </a:cubicBezTo>
                    <a:cubicBezTo>
                      <a:pt x="98462" y="150000"/>
                      <a:pt x="104615" y="150000"/>
                      <a:pt x="107692" y="146923"/>
                    </a:cubicBezTo>
                    <a:cubicBezTo>
                      <a:pt x="116923" y="143846"/>
                      <a:pt x="120000" y="131539"/>
                      <a:pt x="120000" y="131539"/>
                    </a:cubicBezTo>
                    <a:cubicBezTo>
                      <a:pt x="120000" y="128462"/>
                      <a:pt x="123077" y="128462"/>
                      <a:pt x="126154" y="128462"/>
                    </a:cubicBezTo>
                    <a:cubicBezTo>
                      <a:pt x="138462" y="128462"/>
                      <a:pt x="147692" y="125385"/>
                      <a:pt x="150769" y="122308"/>
                    </a:cubicBezTo>
                    <a:cubicBezTo>
                      <a:pt x="156923" y="116154"/>
                      <a:pt x="156923" y="106923"/>
                      <a:pt x="156923" y="106923"/>
                    </a:cubicBezTo>
                    <a:cubicBezTo>
                      <a:pt x="156923" y="103846"/>
                      <a:pt x="156923" y="103846"/>
                      <a:pt x="160000" y="100769"/>
                    </a:cubicBezTo>
                    <a:cubicBezTo>
                      <a:pt x="163077" y="100769"/>
                      <a:pt x="163077" y="100769"/>
                      <a:pt x="166154" y="100769"/>
                    </a:cubicBezTo>
                    <a:cubicBezTo>
                      <a:pt x="169231" y="100769"/>
                      <a:pt x="178462" y="100769"/>
                      <a:pt x="181538" y="94615"/>
                    </a:cubicBezTo>
                    <a:cubicBezTo>
                      <a:pt x="187692" y="88462"/>
                      <a:pt x="193846" y="79231"/>
                      <a:pt x="190769" y="73077"/>
                    </a:cubicBezTo>
                    <a:cubicBezTo>
                      <a:pt x="190769" y="60769"/>
                      <a:pt x="160000" y="30000"/>
                      <a:pt x="135385" y="11539"/>
                    </a:cubicBezTo>
                    <a:cubicBezTo>
                      <a:pt x="132308" y="8462"/>
                      <a:pt x="132308" y="5385"/>
                      <a:pt x="135385" y="2308"/>
                    </a:cubicBezTo>
                    <a:cubicBezTo>
                      <a:pt x="138462" y="-769"/>
                      <a:pt x="141538" y="-769"/>
                      <a:pt x="144615" y="2308"/>
                    </a:cubicBezTo>
                    <a:cubicBezTo>
                      <a:pt x="153846" y="11539"/>
                      <a:pt x="200000" y="51539"/>
                      <a:pt x="203077" y="70000"/>
                    </a:cubicBezTo>
                    <a:cubicBezTo>
                      <a:pt x="203077" y="82308"/>
                      <a:pt x="200000" y="94615"/>
                      <a:pt x="187692" y="103846"/>
                    </a:cubicBezTo>
                    <a:cubicBezTo>
                      <a:pt x="181538" y="110000"/>
                      <a:pt x="172308" y="113077"/>
                      <a:pt x="166154" y="113077"/>
                    </a:cubicBezTo>
                    <a:cubicBezTo>
                      <a:pt x="166154" y="116154"/>
                      <a:pt x="163077" y="122308"/>
                      <a:pt x="156923" y="128462"/>
                    </a:cubicBezTo>
                    <a:cubicBezTo>
                      <a:pt x="150769" y="134615"/>
                      <a:pt x="138462" y="137692"/>
                      <a:pt x="126154" y="137692"/>
                    </a:cubicBezTo>
                    <a:cubicBezTo>
                      <a:pt x="123077" y="143846"/>
                      <a:pt x="120000" y="153077"/>
                      <a:pt x="110769" y="156154"/>
                    </a:cubicBezTo>
                    <a:cubicBezTo>
                      <a:pt x="104615" y="159231"/>
                      <a:pt x="95385" y="159231"/>
                      <a:pt x="86154" y="156154"/>
                    </a:cubicBezTo>
                    <a:cubicBezTo>
                      <a:pt x="83077" y="162308"/>
                      <a:pt x="70769" y="168462"/>
                      <a:pt x="61538" y="16846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14014939-8013-403A-B24D-6B8A0C411C59}"/>
                </a:ext>
              </a:extLst>
            </p:cNvPr>
            <p:cNvSpPr/>
            <p:nvPr/>
          </p:nvSpPr>
          <p:spPr>
            <a:xfrm>
              <a:off x="-3169984" y="223103"/>
              <a:ext cx="164444" cy="121258"/>
            </a:xfrm>
            <a:custGeom>
              <a:avLst/>
              <a:gdLst>
                <a:gd name="connsiteX0" fmla="*/ 164444 w 164444"/>
                <a:gd name="connsiteY0" fmla="*/ 31538 h 121258"/>
                <a:gd name="connsiteX1" fmla="*/ 158291 w 164444"/>
                <a:gd name="connsiteY1" fmla="*/ 19231 h 121258"/>
                <a:gd name="connsiteX2" fmla="*/ 142906 w 164444"/>
                <a:gd name="connsiteY2" fmla="*/ 769 h 121258"/>
                <a:gd name="connsiteX3" fmla="*/ 75214 w 164444"/>
                <a:gd name="connsiteY3" fmla="*/ 769 h 121258"/>
                <a:gd name="connsiteX4" fmla="*/ 13675 w 164444"/>
                <a:gd name="connsiteY4" fmla="*/ 3846 h 121258"/>
                <a:gd name="connsiteX5" fmla="*/ 1368 w 164444"/>
                <a:gd name="connsiteY5" fmla="*/ 16154 h 121258"/>
                <a:gd name="connsiteX6" fmla="*/ 1368 w 164444"/>
                <a:gd name="connsiteY6" fmla="*/ 68462 h 121258"/>
                <a:gd name="connsiteX7" fmla="*/ 16752 w 164444"/>
                <a:gd name="connsiteY7" fmla="*/ 93077 h 121258"/>
                <a:gd name="connsiteX8" fmla="*/ 78291 w 164444"/>
                <a:gd name="connsiteY8" fmla="*/ 108462 h 121258"/>
                <a:gd name="connsiteX9" fmla="*/ 142906 w 164444"/>
                <a:gd name="connsiteY9" fmla="*/ 120769 h 121258"/>
                <a:gd name="connsiteX10" fmla="*/ 155214 w 164444"/>
                <a:gd name="connsiteY10" fmla="*/ 111539 h 121258"/>
                <a:gd name="connsiteX11" fmla="*/ 164444 w 164444"/>
                <a:gd name="connsiteY11" fmla="*/ 31538 h 121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444" h="121258">
                  <a:moveTo>
                    <a:pt x="164444" y="31538"/>
                  </a:moveTo>
                  <a:cubicBezTo>
                    <a:pt x="164444" y="25385"/>
                    <a:pt x="161367" y="19231"/>
                    <a:pt x="158291" y="19231"/>
                  </a:cubicBezTo>
                  <a:cubicBezTo>
                    <a:pt x="158291" y="10000"/>
                    <a:pt x="152137" y="769"/>
                    <a:pt x="142906" y="769"/>
                  </a:cubicBezTo>
                  <a:cubicBezTo>
                    <a:pt x="121368" y="769"/>
                    <a:pt x="96752" y="769"/>
                    <a:pt x="75214" y="769"/>
                  </a:cubicBezTo>
                  <a:cubicBezTo>
                    <a:pt x="56752" y="769"/>
                    <a:pt x="32137" y="-2308"/>
                    <a:pt x="13675" y="3846"/>
                  </a:cubicBezTo>
                  <a:cubicBezTo>
                    <a:pt x="7521" y="6923"/>
                    <a:pt x="1368" y="10000"/>
                    <a:pt x="1368" y="16154"/>
                  </a:cubicBezTo>
                  <a:cubicBezTo>
                    <a:pt x="-1709" y="31538"/>
                    <a:pt x="1368" y="53077"/>
                    <a:pt x="1368" y="68462"/>
                  </a:cubicBezTo>
                  <a:cubicBezTo>
                    <a:pt x="4444" y="80769"/>
                    <a:pt x="4444" y="86923"/>
                    <a:pt x="16752" y="93077"/>
                  </a:cubicBezTo>
                  <a:cubicBezTo>
                    <a:pt x="35214" y="102308"/>
                    <a:pt x="59829" y="102308"/>
                    <a:pt x="78291" y="108462"/>
                  </a:cubicBezTo>
                  <a:cubicBezTo>
                    <a:pt x="96752" y="111539"/>
                    <a:pt x="124444" y="123846"/>
                    <a:pt x="142906" y="120769"/>
                  </a:cubicBezTo>
                  <a:cubicBezTo>
                    <a:pt x="149060" y="120769"/>
                    <a:pt x="152137" y="117692"/>
                    <a:pt x="155214" y="111539"/>
                  </a:cubicBezTo>
                  <a:cubicBezTo>
                    <a:pt x="161367" y="86923"/>
                    <a:pt x="161367" y="56154"/>
                    <a:pt x="164444" y="31538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9CD7F88A-B3C9-4E8F-A7E8-F476797BBA86}"/>
                </a:ext>
              </a:extLst>
            </p:cNvPr>
            <p:cNvSpPr/>
            <p:nvPr/>
          </p:nvSpPr>
          <p:spPr>
            <a:xfrm>
              <a:off x="-4264677" y="-832536"/>
              <a:ext cx="1166829" cy="1204101"/>
            </a:xfrm>
            <a:custGeom>
              <a:avLst/>
              <a:gdLst>
                <a:gd name="connsiteX0" fmla="*/ 102214 w 1166829"/>
                <a:gd name="connsiteY0" fmla="*/ 4102 h 1204101"/>
                <a:gd name="connsiteX1" fmla="*/ 459137 w 1166829"/>
                <a:gd name="connsiteY1" fmla="*/ 388717 h 1204101"/>
                <a:gd name="connsiteX2" fmla="*/ 612983 w 1166829"/>
                <a:gd name="connsiteY2" fmla="*/ 831794 h 1204101"/>
                <a:gd name="connsiteX3" fmla="*/ 1154522 w 1166829"/>
                <a:gd name="connsiteY3" fmla="*/ 1016410 h 1204101"/>
                <a:gd name="connsiteX4" fmla="*/ 1166829 w 1166829"/>
                <a:gd name="connsiteY4" fmla="*/ 1204102 h 1204101"/>
                <a:gd name="connsiteX5" fmla="*/ 345291 w 1166829"/>
                <a:gd name="connsiteY5" fmla="*/ 1102564 h 1204101"/>
                <a:gd name="connsiteX6" fmla="*/ 102214 w 1166829"/>
                <a:gd name="connsiteY6" fmla="*/ 4102 h 1204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66829" h="1204101">
                  <a:moveTo>
                    <a:pt x="102214" y="4102"/>
                  </a:moveTo>
                  <a:cubicBezTo>
                    <a:pt x="231445" y="-38975"/>
                    <a:pt x="406829" y="268717"/>
                    <a:pt x="459137" y="388717"/>
                  </a:cubicBezTo>
                  <a:cubicBezTo>
                    <a:pt x="505291" y="496410"/>
                    <a:pt x="612983" y="831794"/>
                    <a:pt x="612983" y="831794"/>
                  </a:cubicBezTo>
                  <a:lnTo>
                    <a:pt x="1154522" y="1016410"/>
                  </a:lnTo>
                  <a:lnTo>
                    <a:pt x="1166829" y="1204102"/>
                  </a:lnTo>
                  <a:cubicBezTo>
                    <a:pt x="1166829" y="1204102"/>
                    <a:pt x="483752" y="1194871"/>
                    <a:pt x="345291" y="1102564"/>
                  </a:cubicBezTo>
                  <a:cubicBezTo>
                    <a:pt x="225291" y="1022564"/>
                    <a:pt x="-190094" y="99487"/>
                    <a:pt x="102214" y="4102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0B616CA6-7746-4BE4-A6BA-3673241D1D31}"/>
                </a:ext>
              </a:extLst>
            </p:cNvPr>
            <p:cNvSpPr/>
            <p:nvPr/>
          </p:nvSpPr>
          <p:spPr>
            <a:xfrm>
              <a:off x="-4236309" y="-838691"/>
              <a:ext cx="981538" cy="976410"/>
            </a:xfrm>
            <a:custGeom>
              <a:avLst/>
              <a:gdLst>
                <a:gd name="connsiteX0" fmla="*/ 975385 w 981538"/>
                <a:gd name="connsiteY0" fmla="*/ 976410 h 976410"/>
                <a:gd name="connsiteX1" fmla="*/ 975385 w 981538"/>
                <a:gd name="connsiteY1" fmla="*/ 976410 h 976410"/>
                <a:gd name="connsiteX2" fmla="*/ 575385 w 981538"/>
                <a:gd name="connsiteY2" fmla="*/ 841026 h 976410"/>
                <a:gd name="connsiteX3" fmla="*/ 575385 w 981538"/>
                <a:gd name="connsiteY3" fmla="*/ 837949 h 976410"/>
                <a:gd name="connsiteX4" fmla="*/ 421539 w 981538"/>
                <a:gd name="connsiteY4" fmla="*/ 394872 h 976410"/>
                <a:gd name="connsiteX5" fmla="*/ 215385 w 981538"/>
                <a:gd name="connsiteY5" fmla="*/ 74872 h 976410"/>
                <a:gd name="connsiteX6" fmla="*/ 76923 w 981538"/>
                <a:gd name="connsiteY6" fmla="*/ 13333 h 976410"/>
                <a:gd name="connsiteX7" fmla="*/ 12308 w 981538"/>
                <a:gd name="connsiteY7" fmla="*/ 56410 h 976410"/>
                <a:gd name="connsiteX8" fmla="*/ 3077 w 981538"/>
                <a:gd name="connsiteY8" fmla="*/ 59487 h 976410"/>
                <a:gd name="connsiteX9" fmla="*/ 0 w 981538"/>
                <a:gd name="connsiteY9" fmla="*/ 50256 h 976410"/>
                <a:gd name="connsiteX10" fmla="*/ 70769 w 981538"/>
                <a:gd name="connsiteY10" fmla="*/ 1026 h 976410"/>
                <a:gd name="connsiteX11" fmla="*/ 218462 w 981538"/>
                <a:gd name="connsiteY11" fmla="*/ 65641 h 976410"/>
                <a:gd name="connsiteX12" fmla="*/ 427692 w 981538"/>
                <a:gd name="connsiteY12" fmla="*/ 388718 h 976410"/>
                <a:gd name="connsiteX13" fmla="*/ 578462 w 981538"/>
                <a:gd name="connsiteY13" fmla="*/ 828718 h 976410"/>
                <a:gd name="connsiteX14" fmla="*/ 978462 w 981538"/>
                <a:gd name="connsiteY14" fmla="*/ 967180 h 976410"/>
                <a:gd name="connsiteX15" fmla="*/ 981539 w 981538"/>
                <a:gd name="connsiteY15" fmla="*/ 973333 h 976410"/>
                <a:gd name="connsiteX16" fmla="*/ 975385 w 981538"/>
                <a:gd name="connsiteY16" fmla="*/ 976410 h 976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81538" h="976410">
                  <a:moveTo>
                    <a:pt x="975385" y="976410"/>
                  </a:moveTo>
                  <a:cubicBezTo>
                    <a:pt x="975385" y="976410"/>
                    <a:pt x="975385" y="976410"/>
                    <a:pt x="975385" y="976410"/>
                  </a:cubicBezTo>
                  <a:lnTo>
                    <a:pt x="575385" y="841026"/>
                  </a:lnTo>
                  <a:lnTo>
                    <a:pt x="575385" y="837949"/>
                  </a:lnTo>
                  <a:cubicBezTo>
                    <a:pt x="575385" y="834872"/>
                    <a:pt x="455385" y="484103"/>
                    <a:pt x="421539" y="394872"/>
                  </a:cubicBezTo>
                  <a:cubicBezTo>
                    <a:pt x="421539" y="391795"/>
                    <a:pt x="350769" y="197949"/>
                    <a:pt x="215385" y="74872"/>
                  </a:cubicBezTo>
                  <a:cubicBezTo>
                    <a:pt x="163077" y="28718"/>
                    <a:pt x="116923" y="7180"/>
                    <a:pt x="76923" y="13333"/>
                  </a:cubicBezTo>
                  <a:cubicBezTo>
                    <a:pt x="33846" y="19487"/>
                    <a:pt x="12308" y="56410"/>
                    <a:pt x="12308" y="56410"/>
                  </a:cubicBezTo>
                  <a:cubicBezTo>
                    <a:pt x="9231" y="59487"/>
                    <a:pt x="6154" y="59487"/>
                    <a:pt x="3077" y="59487"/>
                  </a:cubicBezTo>
                  <a:cubicBezTo>
                    <a:pt x="0" y="56410"/>
                    <a:pt x="0" y="53333"/>
                    <a:pt x="0" y="50256"/>
                  </a:cubicBezTo>
                  <a:cubicBezTo>
                    <a:pt x="0" y="47179"/>
                    <a:pt x="24615" y="10256"/>
                    <a:pt x="70769" y="1026"/>
                  </a:cubicBezTo>
                  <a:cubicBezTo>
                    <a:pt x="113846" y="-5128"/>
                    <a:pt x="166154" y="16410"/>
                    <a:pt x="218462" y="65641"/>
                  </a:cubicBezTo>
                  <a:cubicBezTo>
                    <a:pt x="356923" y="188718"/>
                    <a:pt x="427692" y="388718"/>
                    <a:pt x="427692" y="388718"/>
                  </a:cubicBezTo>
                  <a:cubicBezTo>
                    <a:pt x="461538" y="474872"/>
                    <a:pt x="569231" y="794872"/>
                    <a:pt x="578462" y="828718"/>
                  </a:cubicBezTo>
                  <a:lnTo>
                    <a:pt x="978462" y="967180"/>
                  </a:lnTo>
                  <a:cubicBezTo>
                    <a:pt x="981539" y="967180"/>
                    <a:pt x="981539" y="970256"/>
                    <a:pt x="981539" y="973333"/>
                  </a:cubicBezTo>
                  <a:cubicBezTo>
                    <a:pt x="981539" y="976410"/>
                    <a:pt x="978462" y="976410"/>
                    <a:pt x="975385" y="976410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62D3CF1E-1EF6-4C20-8E0C-41E5A5223161}"/>
                </a:ext>
              </a:extLst>
            </p:cNvPr>
            <p:cNvSpPr/>
            <p:nvPr/>
          </p:nvSpPr>
          <p:spPr>
            <a:xfrm>
              <a:off x="-4233232" y="-419204"/>
              <a:ext cx="846154" cy="787692"/>
            </a:xfrm>
            <a:custGeom>
              <a:avLst/>
              <a:gdLst>
                <a:gd name="connsiteX0" fmla="*/ 843077 w 846154"/>
                <a:gd name="connsiteY0" fmla="*/ 787692 h 787692"/>
                <a:gd name="connsiteX1" fmla="*/ 843077 w 846154"/>
                <a:gd name="connsiteY1" fmla="*/ 787692 h 787692"/>
                <a:gd name="connsiteX2" fmla="*/ 307692 w 846154"/>
                <a:gd name="connsiteY2" fmla="*/ 695385 h 787692"/>
                <a:gd name="connsiteX3" fmla="*/ 0 w 846154"/>
                <a:gd name="connsiteY3" fmla="*/ 6154 h 787692"/>
                <a:gd name="connsiteX4" fmla="*/ 3077 w 846154"/>
                <a:gd name="connsiteY4" fmla="*/ 0 h 787692"/>
                <a:gd name="connsiteX5" fmla="*/ 9231 w 846154"/>
                <a:gd name="connsiteY5" fmla="*/ 3077 h 787692"/>
                <a:gd name="connsiteX6" fmla="*/ 310769 w 846154"/>
                <a:gd name="connsiteY6" fmla="*/ 686154 h 787692"/>
                <a:gd name="connsiteX7" fmla="*/ 840000 w 846154"/>
                <a:gd name="connsiteY7" fmla="*/ 778461 h 787692"/>
                <a:gd name="connsiteX8" fmla="*/ 846154 w 846154"/>
                <a:gd name="connsiteY8" fmla="*/ 784615 h 787692"/>
                <a:gd name="connsiteX9" fmla="*/ 843077 w 846154"/>
                <a:gd name="connsiteY9" fmla="*/ 787692 h 78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6154" h="787692">
                  <a:moveTo>
                    <a:pt x="843077" y="787692"/>
                  </a:moveTo>
                  <a:lnTo>
                    <a:pt x="843077" y="787692"/>
                  </a:lnTo>
                  <a:cubicBezTo>
                    <a:pt x="827692" y="787692"/>
                    <a:pt x="452308" y="784615"/>
                    <a:pt x="307692" y="695385"/>
                  </a:cubicBezTo>
                  <a:cubicBezTo>
                    <a:pt x="163077" y="606154"/>
                    <a:pt x="6154" y="30769"/>
                    <a:pt x="0" y="6154"/>
                  </a:cubicBezTo>
                  <a:cubicBezTo>
                    <a:pt x="0" y="3077"/>
                    <a:pt x="0" y="0"/>
                    <a:pt x="3077" y="0"/>
                  </a:cubicBezTo>
                  <a:cubicBezTo>
                    <a:pt x="6154" y="0"/>
                    <a:pt x="9231" y="0"/>
                    <a:pt x="9231" y="3077"/>
                  </a:cubicBezTo>
                  <a:cubicBezTo>
                    <a:pt x="12308" y="9231"/>
                    <a:pt x="172308" y="596923"/>
                    <a:pt x="310769" y="686154"/>
                  </a:cubicBezTo>
                  <a:cubicBezTo>
                    <a:pt x="449231" y="775385"/>
                    <a:pt x="833846" y="778461"/>
                    <a:pt x="840000" y="778461"/>
                  </a:cubicBezTo>
                  <a:cubicBezTo>
                    <a:pt x="843077" y="778461"/>
                    <a:pt x="846154" y="781539"/>
                    <a:pt x="846154" y="784615"/>
                  </a:cubicBezTo>
                  <a:cubicBezTo>
                    <a:pt x="846154" y="784615"/>
                    <a:pt x="846154" y="787692"/>
                    <a:pt x="843077" y="787692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3A4DE90B-FF2C-4BBF-8669-78B7798E390D}"/>
                </a:ext>
              </a:extLst>
            </p:cNvPr>
            <p:cNvGrpSpPr/>
            <p:nvPr/>
          </p:nvGrpSpPr>
          <p:grpSpPr>
            <a:xfrm>
              <a:off x="-3190155" y="251565"/>
              <a:ext cx="2895385" cy="2926153"/>
              <a:chOff x="-3190155" y="251565"/>
              <a:chExt cx="2895385" cy="2926153"/>
            </a:xfrm>
          </p:grpSpPr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290D18AA-D83E-4389-8255-450A7315B4CA}"/>
                  </a:ext>
                </a:extLst>
              </p:cNvPr>
              <p:cNvSpPr/>
              <p:nvPr/>
            </p:nvSpPr>
            <p:spPr>
              <a:xfrm>
                <a:off x="-2020924" y="1106949"/>
                <a:ext cx="1513846" cy="126153"/>
              </a:xfrm>
              <a:custGeom>
                <a:avLst/>
                <a:gdLst>
                  <a:gd name="connsiteX0" fmla="*/ 0 w 1513846"/>
                  <a:gd name="connsiteY0" fmla="*/ 0 h 126153"/>
                  <a:gd name="connsiteX1" fmla="*/ 1513846 w 1513846"/>
                  <a:gd name="connsiteY1" fmla="*/ 0 h 126153"/>
                  <a:gd name="connsiteX2" fmla="*/ 1513846 w 1513846"/>
                  <a:gd name="connsiteY2" fmla="*/ 126154 h 126153"/>
                  <a:gd name="connsiteX3" fmla="*/ 0 w 1513846"/>
                  <a:gd name="connsiteY3" fmla="*/ 126154 h 12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3846" h="126153">
                    <a:moveTo>
                      <a:pt x="0" y="0"/>
                    </a:moveTo>
                    <a:lnTo>
                      <a:pt x="1513846" y="0"/>
                    </a:lnTo>
                    <a:lnTo>
                      <a:pt x="1513846" y="126154"/>
                    </a:lnTo>
                    <a:lnTo>
                      <a:pt x="0" y="126154"/>
                    </a:lnTo>
                    <a:close/>
                  </a:path>
                </a:pathLst>
              </a:custGeom>
              <a:solidFill>
                <a:srgbClr val="7F95BC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15CAB3F0-18D9-41A2-9FEF-DD4EB72EAC17}"/>
                  </a:ext>
                </a:extLst>
              </p:cNvPr>
              <p:cNvSpPr/>
              <p:nvPr/>
            </p:nvSpPr>
            <p:spPr>
              <a:xfrm>
                <a:off x="-2414770" y="377719"/>
                <a:ext cx="2043077" cy="2612307"/>
              </a:xfrm>
              <a:custGeom>
                <a:avLst/>
                <a:gdLst>
                  <a:gd name="connsiteX0" fmla="*/ 2043077 w 2043077"/>
                  <a:gd name="connsiteY0" fmla="*/ 2612308 h 2612307"/>
                  <a:gd name="connsiteX1" fmla="*/ 1916923 w 2043077"/>
                  <a:gd name="connsiteY1" fmla="*/ 2612308 h 2612307"/>
                  <a:gd name="connsiteX2" fmla="*/ 0 w 2043077"/>
                  <a:gd name="connsiteY2" fmla="*/ 0 h 2612307"/>
                  <a:gd name="connsiteX3" fmla="*/ 126154 w 2043077"/>
                  <a:gd name="connsiteY3" fmla="*/ 0 h 261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43077" h="2612307">
                    <a:moveTo>
                      <a:pt x="2043077" y="2612308"/>
                    </a:moveTo>
                    <a:lnTo>
                      <a:pt x="1916923" y="2612308"/>
                    </a:lnTo>
                    <a:lnTo>
                      <a:pt x="0" y="0"/>
                    </a:lnTo>
                    <a:lnTo>
                      <a:pt x="126154" y="0"/>
                    </a:lnTo>
                    <a:close/>
                  </a:path>
                </a:pathLst>
              </a:custGeom>
              <a:solidFill>
                <a:srgbClr val="EFE4E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265AAB0F-6D4C-42F7-9FAC-B70B9D883E3A}"/>
                  </a:ext>
                </a:extLst>
              </p:cNvPr>
              <p:cNvSpPr/>
              <p:nvPr/>
            </p:nvSpPr>
            <p:spPr>
              <a:xfrm>
                <a:off x="-2531693" y="1106949"/>
                <a:ext cx="1067692" cy="126153"/>
              </a:xfrm>
              <a:custGeom>
                <a:avLst/>
                <a:gdLst>
                  <a:gd name="connsiteX0" fmla="*/ 0 w 1067692"/>
                  <a:gd name="connsiteY0" fmla="*/ 0 h 126153"/>
                  <a:gd name="connsiteX1" fmla="*/ 1067693 w 1067692"/>
                  <a:gd name="connsiteY1" fmla="*/ 0 h 126153"/>
                  <a:gd name="connsiteX2" fmla="*/ 1067693 w 1067692"/>
                  <a:gd name="connsiteY2" fmla="*/ 126154 h 126153"/>
                  <a:gd name="connsiteX3" fmla="*/ 0 w 1067692"/>
                  <a:gd name="connsiteY3" fmla="*/ 126154 h 12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67692" h="126153">
                    <a:moveTo>
                      <a:pt x="0" y="0"/>
                    </a:moveTo>
                    <a:lnTo>
                      <a:pt x="1067693" y="0"/>
                    </a:lnTo>
                    <a:lnTo>
                      <a:pt x="1067693" y="126154"/>
                    </a:lnTo>
                    <a:lnTo>
                      <a:pt x="0" y="126154"/>
                    </a:lnTo>
                    <a:close/>
                  </a:path>
                </a:pathLst>
              </a:custGeom>
              <a:solidFill>
                <a:srgbClr val="91AACE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7B5921CA-DB51-4DAF-B9BB-8FD0C680EF22}"/>
                  </a:ext>
                </a:extLst>
              </p:cNvPr>
              <p:cNvSpPr/>
              <p:nvPr/>
            </p:nvSpPr>
            <p:spPr>
              <a:xfrm>
                <a:off x="-1740924" y="2131565"/>
                <a:ext cx="750769" cy="858461"/>
              </a:xfrm>
              <a:custGeom>
                <a:avLst/>
                <a:gdLst>
                  <a:gd name="connsiteX0" fmla="*/ 0 w 750769"/>
                  <a:gd name="connsiteY0" fmla="*/ 858461 h 858461"/>
                  <a:gd name="connsiteX1" fmla="*/ 126154 w 750769"/>
                  <a:gd name="connsiteY1" fmla="*/ 858461 h 858461"/>
                  <a:gd name="connsiteX2" fmla="*/ 750769 w 750769"/>
                  <a:gd name="connsiteY2" fmla="*/ 15385 h 858461"/>
                  <a:gd name="connsiteX3" fmla="*/ 633846 w 750769"/>
                  <a:gd name="connsiteY3" fmla="*/ 0 h 85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769" h="858461">
                    <a:moveTo>
                      <a:pt x="0" y="858461"/>
                    </a:moveTo>
                    <a:lnTo>
                      <a:pt x="126154" y="858461"/>
                    </a:lnTo>
                    <a:lnTo>
                      <a:pt x="750769" y="15385"/>
                    </a:lnTo>
                    <a:lnTo>
                      <a:pt x="633846" y="0"/>
                    </a:lnTo>
                    <a:close/>
                  </a:path>
                </a:pathLst>
              </a:custGeom>
              <a:solidFill>
                <a:srgbClr val="EFE4E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83348729-E06F-494B-8550-91D44352A32A}"/>
                  </a:ext>
                </a:extLst>
              </p:cNvPr>
              <p:cNvSpPr/>
              <p:nvPr/>
            </p:nvSpPr>
            <p:spPr>
              <a:xfrm>
                <a:off x="-2528617" y="1236180"/>
                <a:ext cx="1464615" cy="729230"/>
              </a:xfrm>
              <a:custGeom>
                <a:avLst/>
                <a:gdLst>
                  <a:gd name="connsiteX0" fmla="*/ 1461539 w 1464615"/>
                  <a:gd name="connsiteY0" fmla="*/ 729231 h 729230"/>
                  <a:gd name="connsiteX1" fmla="*/ 621538 w 1464615"/>
                  <a:gd name="connsiteY1" fmla="*/ 729231 h 729230"/>
                  <a:gd name="connsiteX2" fmla="*/ 0 w 1464615"/>
                  <a:gd name="connsiteY2" fmla="*/ 107692 h 729230"/>
                  <a:gd name="connsiteX3" fmla="*/ 0 w 1464615"/>
                  <a:gd name="connsiteY3" fmla="*/ 0 h 729230"/>
                  <a:gd name="connsiteX4" fmla="*/ 1464616 w 1464615"/>
                  <a:gd name="connsiteY4" fmla="*/ 0 h 729230"/>
                  <a:gd name="connsiteX5" fmla="*/ 1464616 w 1464615"/>
                  <a:gd name="connsiteY5" fmla="*/ 729231 h 72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64615" h="729230">
                    <a:moveTo>
                      <a:pt x="1461539" y="729231"/>
                    </a:moveTo>
                    <a:lnTo>
                      <a:pt x="621538" y="729231"/>
                    </a:lnTo>
                    <a:cubicBezTo>
                      <a:pt x="276923" y="729231"/>
                      <a:pt x="0" y="449231"/>
                      <a:pt x="0" y="107692"/>
                    </a:cubicBezTo>
                    <a:lnTo>
                      <a:pt x="0" y="0"/>
                    </a:lnTo>
                    <a:lnTo>
                      <a:pt x="1464616" y="0"/>
                    </a:lnTo>
                    <a:lnTo>
                      <a:pt x="1464616" y="729231"/>
                    </a:lnTo>
                    <a:close/>
                  </a:path>
                </a:pathLst>
              </a:custGeom>
              <a:solidFill>
                <a:srgbClr val="7F95BC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FAA33834-2385-4E1C-9912-2C07714197C2}"/>
                  </a:ext>
                </a:extLst>
              </p:cNvPr>
              <p:cNvSpPr/>
              <p:nvPr/>
            </p:nvSpPr>
            <p:spPr>
              <a:xfrm>
                <a:off x="-1460924" y="1236180"/>
                <a:ext cx="953846" cy="729230"/>
              </a:xfrm>
              <a:custGeom>
                <a:avLst/>
                <a:gdLst>
                  <a:gd name="connsiteX0" fmla="*/ 476923 w 953846"/>
                  <a:gd name="connsiteY0" fmla="*/ 729231 h 729230"/>
                  <a:gd name="connsiteX1" fmla="*/ 476923 w 953846"/>
                  <a:gd name="connsiteY1" fmla="*/ 729231 h 729230"/>
                  <a:gd name="connsiteX2" fmla="*/ 0 w 953846"/>
                  <a:gd name="connsiteY2" fmla="*/ 252308 h 729230"/>
                  <a:gd name="connsiteX3" fmla="*/ 0 w 953846"/>
                  <a:gd name="connsiteY3" fmla="*/ 0 h 729230"/>
                  <a:gd name="connsiteX4" fmla="*/ 953846 w 953846"/>
                  <a:gd name="connsiteY4" fmla="*/ 0 h 729230"/>
                  <a:gd name="connsiteX5" fmla="*/ 953846 w 953846"/>
                  <a:gd name="connsiteY5" fmla="*/ 252308 h 729230"/>
                  <a:gd name="connsiteX6" fmla="*/ 476923 w 953846"/>
                  <a:gd name="connsiteY6" fmla="*/ 729231 h 72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53846" h="729230">
                    <a:moveTo>
                      <a:pt x="476923" y="729231"/>
                    </a:moveTo>
                    <a:lnTo>
                      <a:pt x="476923" y="729231"/>
                    </a:lnTo>
                    <a:cubicBezTo>
                      <a:pt x="212308" y="729231"/>
                      <a:pt x="0" y="516923"/>
                      <a:pt x="0" y="252308"/>
                    </a:cubicBezTo>
                    <a:lnTo>
                      <a:pt x="0" y="0"/>
                    </a:lnTo>
                    <a:lnTo>
                      <a:pt x="953846" y="0"/>
                    </a:lnTo>
                    <a:lnTo>
                      <a:pt x="953846" y="252308"/>
                    </a:lnTo>
                    <a:cubicBezTo>
                      <a:pt x="953846" y="513846"/>
                      <a:pt x="738462" y="729231"/>
                      <a:pt x="476923" y="729231"/>
                    </a:cubicBezTo>
                    <a:close/>
                  </a:path>
                </a:pathLst>
              </a:custGeom>
              <a:solidFill>
                <a:srgbClr val="6B85AA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0E8FAE6A-0140-4578-86A8-9872267B2A65}"/>
                  </a:ext>
                </a:extLst>
              </p:cNvPr>
              <p:cNvSpPr/>
              <p:nvPr/>
            </p:nvSpPr>
            <p:spPr>
              <a:xfrm>
                <a:off x="-1925539" y="377719"/>
                <a:ext cx="1418461" cy="729230"/>
              </a:xfrm>
              <a:custGeom>
                <a:avLst/>
                <a:gdLst>
                  <a:gd name="connsiteX0" fmla="*/ 753846 w 1418461"/>
                  <a:gd name="connsiteY0" fmla="*/ 0 h 729230"/>
                  <a:gd name="connsiteX1" fmla="*/ 729231 w 1418461"/>
                  <a:gd name="connsiteY1" fmla="*/ 0 h 729230"/>
                  <a:gd name="connsiteX2" fmla="*/ 0 w 1418461"/>
                  <a:gd name="connsiteY2" fmla="*/ 729231 h 729230"/>
                  <a:gd name="connsiteX3" fmla="*/ 0 w 1418461"/>
                  <a:gd name="connsiteY3" fmla="*/ 729231 h 729230"/>
                  <a:gd name="connsiteX4" fmla="*/ 1418462 w 1418461"/>
                  <a:gd name="connsiteY4" fmla="*/ 729231 h 729230"/>
                  <a:gd name="connsiteX5" fmla="*/ 1418462 w 1418461"/>
                  <a:gd name="connsiteY5" fmla="*/ 661538 h 729230"/>
                  <a:gd name="connsiteX6" fmla="*/ 753846 w 1418461"/>
                  <a:gd name="connsiteY6" fmla="*/ 0 h 72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8461" h="729230">
                    <a:moveTo>
                      <a:pt x="753846" y="0"/>
                    </a:moveTo>
                    <a:lnTo>
                      <a:pt x="729231" y="0"/>
                    </a:lnTo>
                    <a:cubicBezTo>
                      <a:pt x="326154" y="0"/>
                      <a:pt x="0" y="326154"/>
                      <a:pt x="0" y="729231"/>
                    </a:cubicBezTo>
                    <a:lnTo>
                      <a:pt x="0" y="729231"/>
                    </a:lnTo>
                    <a:lnTo>
                      <a:pt x="1418462" y="729231"/>
                    </a:lnTo>
                    <a:lnTo>
                      <a:pt x="1418462" y="661538"/>
                    </a:lnTo>
                    <a:cubicBezTo>
                      <a:pt x="1418462" y="298461"/>
                      <a:pt x="1120000" y="0"/>
                      <a:pt x="753846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01" name="图形 1">
                <a:extLst>
                  <a:ext uri="{FF2B5EF4-FFF2-40B4-BE49-F238E27FC236}">
                    <a16:creationId xmlns:a16="http://schemas.microsoft.com/office/drawing/2014/main" id="{3B872DCE-F539-48BD-99C6-A14A0FF5D960}"/>
                  </a:ext>
                </a:extLst>
              </p:cNvPr>
              <p:cNvGrpSpPr/>
              <p:nvPr/>
            </p:nvGrpSpPr>
            <p:grpSpPr>
              <a:xfrm>
                <a:off x="-1824001" y="2833103"/>
                <a:ext cx="344615" cy="344615"/>
                <a:chOff x="-1824001" y="2833103"/>
                <a:chExt cx="344615" cy="344615"/>
              </a:xfrm>
            </p:grpSpPr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4BECB389-6A87-452F-AD46-62D3CF09356A}"/>
                    </a:ext>
                  </a:extLst>
                </p:cNvPr>
                <p:cNvSpPr/>
                <p:nvPr/>
              </p:nvSpPr>
              <p:spPr>
                <a:xfrm>
                  <a:off x="-1824001" y="2833103"/>
                  <a:ext cx="344615" cy="344615"/>
                </a:xfrm>
                <a:custGeom>
                  <a:avLst/>
                  <a:gdLst>
                    <a:gd name="connsiteX0" fmla="*/ 344615 w 344615"/>
                    <a:gd name="connsiteY0" fmla="*/ 172307 h 344615"/>
                    <a:gd name="connsiteX1" fmla="*/ 172307 w 344615"/>
                    <a:gd name="connsiteY1" fmla="*/ 0 h 344615"/>
                    <a:gd name="connsiteX2" fmla="*/ 0 w 344615"/>
                    <a:gd name="connsiteY2" fmla="*/ 172307 h 344615"/>
                    <a:gd name="connsiteX3" fmla="*/ 172307 w 344615"/>
                    <a:gd name="connsiteY3" fmla="*/ 344615 h 344615"/>
                    <a:gd name="connsiteX4" fmla="*/ 344615 w 344615"/>
                    <a:gd name="connsiteY4" fmla="*/ 172307 h 344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4615" h="344615">
                      <a:moveTo>
                        <a:pt x="344615" y="172307"/>
                      </a:moveTo>
                      <a:cubicBezTo>
                        <a:pt x="344615" y="76923"/>
                        <a:pt x="267692" y="0"/>
                        <a:pt x="172307" y="0"/>
                      </a:cubicBezTo>
                      <a:cubicBezTo>
                        <a:pt x="76923" y="0"/>
                        <a:pt x="0" y="76923"/>
                        <a:pt x="0" y="172307"/>
                      </a:cubicBezTo>
                      <a:cubicBezTo>
                        <a:pt x="0" y="267692"/>
                        <a:pt x="76923" y="344615"/>
                        <a:pt x="172307" y="344615"/>
                      </a:cubicBezTo>
                      <a:cubicBezTo>
                        <a:pt x="267692" y="344615"/>
                        <a:pt x="344615" y="267692"/>
                        <a:pt x="344615" y="172307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83E6F20D-1A02-4FC5-897B-11ACC011B56E}"/>
                    </a:ext>
                  </a:extLst>
                </p:cNvPr>
                <p:cNvSpPr/>
                <p:nvPr/>
              </p:nvSpPr>
              <p:spPr>
                <a:xfrm>
                  <a:off x="-1734770" y="2922334"/>
                  <a:ext cx="166153" cy="166153"/>
                </a:xfrm>
                <a:custGeom>
                  <a:avLst/>
                  <a:gdLst>
                    <a:gd name="connsiteX0" fmla="*/ 166154 w 166153"/>
                    <a:gd name="connsiteY0" fmla="*/ 83077 h 166153"/>
                    <a:gd name="connsiteX1" fmla="*/ 83077 w 166153"/>
                    <a:gd name="connsiteY1" fmla="*/ 0 h 166153"/>
                    <a:gd name="connsiteX2" fmla="*/ 0 w 166153"/>
                    <a:gd name="connsiteY2" fmla="*/ 83077 h 166153"/>
                    <a:gd name="connsiteX3" fmla="*/ 83077 w 166153"/>
                    <a:gd name="connsiteY3" fmla="*/ 166154 h 166153"/>
                    <a:gd name="connsiteX4" fmla="*/ 166154 w 166153"/>
                    <a:gd name="connsiteY4" fmla="*/ 83077 h 166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6153" h="166153">
                      <a:moveTo>
                        <a:pt x="166154" y="83077"/>
                      </a:moveTo>
                      <a:cubicBezTo>
                        <a:pt x="166154" y="36923"/>
                        <a:pt x="129231" y="0"/>
                        <a:pt x="83077" y="0"/>
                      </a:cubicBezTo>
                      <a:cubicBezTo>
                        <a:pt x="36923" y="0"/>
                        <a:pt x="0" y="36923"/>
                        <a:pt x="0" y="83077"/>
                      </a:cubicBezTo>
                      <a:cubicBezTo>
                        <a:pt x="0" y="129231"/>
                        <a:pt x="36923" y="166154"/>
                        <a:pt x="83077" y="166154"/>
                      </a:cubicBezTo>
                      <a:cubicBezTo>
                        <a:pt x="129231" y="166154"/>
                        <a:pt x="166154" y="129231"/>
                        <a:pt x="166154" y="83077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29744105-D671-4FAD-A5EB-AC5AC1AD8B7D}"/>
                  </a:ext>
                </a:extLst>
              </p:cNvPr>
              <p:cNvSpPr/>
              <p:nvPr/>
            </p:nvSpPr>
            <p:spPr>
              <a:xfrm>
                <a:off x="-1974770" y="1057719"/>
                <a:ext cx="98461" cy="98461"/>
              </a:xfrm>
              <a:custGeom>
                <a:avLst/>
                <a:gdLst>
                  <a:gd name="connsiteX0" fmla="*/ 98461 w 98461"/>
                  <a:gd name="connsiteY0" fmla="*/ 49231 h 98461"/>
                  <a:gd name="connsiteX1" fmla="*/ 49231 w 98461"/>
                  <a:gd name="connsiteY1" fmla="*/ 0 h 98461"/>
                  <a:gd name="connsiteX2" fmla="*/ 0 w 98461"/>
                  <a:gd name="connsiteY2" fmla="*/ 49231 h 98461"/>
                  <a:gd name="connsiteX3" fmla="*/ 49231 w 98461"/>
                  <a:gd name="connsiteY3" fmla="*/ 98461 h 98461"/>
                  <a:gd name="connsiteX4" fmla="*/ 98461 w 98461"/>
                  <a:gd name="connsiteY4" fmla="*/ 49231 h 9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461" h="98461">
                    <a:moveTo>
                      <a:pt x="98461" y="49231"/>
                    </a:moveTo>
                    <a:cubicBezTo>
                      <a:pt x="98461" y="21538"/>
                      <a:pt x="76923" y="0"/>
                      <a:pt x="49231" y="0"/>
                    </a:cubicBezTo>
                    <a:cubicBezTo>
                      <a:pt x="21538" y="0"/>
                      <a:pt x="0" y="21538"/>
                      <a:pt x="0" y="49231"/>
                    </a:cubicBezTo>
                    <a:cubicBezTo>
                      <a:pt x="0" y="76923"/>
                      <a:pt x="21538" y="98461"/>
                      <a:pt x="49231" y="98461"/>
                    </a:cubicBezTo>
                    <a:cubicBezTo>
                      <a:pt x="73846" y="98461"/>
                      <a:pt x="98461" y="76923"/>
                      <a:pt x="98461" y="49231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03" name="图形 1">
                <a:extLst>
                  <a:ext uri="{FF2B5EF4-FFF2-40B4-BE49-F238E27FC236}">
                    <a16:creationId xmlns:a16="http://schemas.microsoft.com/office/drawing/2014/main" id="{312588D4-1521-412D-9D7D-44AE22C27201}"/>
                  </a:ext>
                </a:extLst>
              </p:cNvPr>
              <p:cNvGrpSpPr/>
              <p:nvPr/>
            </p:nvGrpSpPr>
            <p:grpSpPr>
              <a:xfrm>
                <a:off x="-2242463" y="2759257"/>
                <a:ext cx="1676923" cy="304615"/>
                <a:chOff x="-2242463" y="2759257"/>
                <a:chExt cx="1676923" cy="304615"/>
              </a:xfrm>
            </p:grpSpPr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765B69E6-18B6-4B50-BB73-A7A0EA24531A}"/>
                    </a:ext>
                  </a:extLst>
                </p:cNvPr>
                <p:cNvSpPr/>
                <p:nvPr/>
              </p:nvSpPr>
              <p:spPr>
                <a:xfrm>
                  <a:off x="-2242463" y="2759257"/>
                  <a:ext cx="1107692" cy="304615"/>
                </a:xfrm>
                <a:custGeom>
                  <a:avLst/>
                  <a:gdLst>
                    <a:gd name="connsiteX0" fmla="*/ 1107693 w 1107692"/>
                    <a:gd name="connsiteY0" fmla="*/ 304616 h 304615"/>
                    <a:gd name="connsiteX1" fmla="*/ 246154 w 1107692"/>
                    <a:gd name="connsiteY1" fmla="*/ 304616 h 304615"/>
                    <a:gd name="connsiteX2" fmla="*/ 0 w 1107692"/>
                    <a:gd name="connsiteY2" fmla="*/ 58462 h 304615"/>
                    <a:gd name="connsiteX3" fmla="*/ 0 w 1107692"/>
                    <a:gd name="connsiteY3" fmla="*/ 0 h 304615"/>
                    <a:gd name="connsiteX4" fmla="*/ 1107693 w 1107692"/>
                    <a:gd name="connsiteY4" fmla="*/ 0 h 304615"/>
                    <a:gd name="connsiteX5" fmla="*/ 1107693 w 1107692"/>
                    <a:gd name="connsiteY5" fmla="*/ 304616 h 304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07692" h="304615">
                      <a:moveTo>
                        <a:pt x="1107693" y="304616"/>
                      </a:moveTo>
                      <a:lnTo>
                        <a:pt x="246154" y="304616"/>
                      </a:lnTo>
                      <a:cubicBezTo>
                        <a:pt x="110769" y="304616"/>
                        <a:pt x="0" y="193846"/>
                        <a:pt x="0" y="58462"/>
                      </a:cubicBezTo>
                      <a:lnTo>
                        <a:pt x="0" y="0"/>
                      </a:lnTo>
                      <a:lnTo>
                        <a:pt x="1107693" y="0"/>
                      </a:lnTo>
                      <a:lnTo>
                        <a:pt x="1107693" y="304616"/>
                      </a:lnTo>
                      <a:close/>
                    </a:path>
                  </a:pathLst>
                </a:custGeom>
                <a:solidFill>
                  <a:srgbClr val="7F95BC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BDD9B700-8FB5-4380-9F42-2FCAE208651D}"/>
                    </a:ext>
                  </a:extLst>
                </p:cNvPr>
                <p:cNvSpPr/>
                <p:nvPr/>
              </p:nvSpPr>
              <p:spPr>
                <a:xfrm>
                  <a:off x="-1424001" y="2759257"/>
                  <a:ext cx="858461" cy="304615"/>
                </a:xfrm>
                <a:custGeom>
                  <a:avLst/>
                  <a:gdLst>
                    <a:gd name="connsiteX0" fmla="*/ 612308 w 858461"/>
                    <a:gd name="connsiteY0" fmla="*/ 304616 h 304615"/>
                    <a:gd name="connsiteX1" fmla="*/ 246154 w 858461"/>
                    <a:gd name="connsiteY1" fmla="*/ 304616 h 304615"/>
                    <a:gd name="connsiteX2" fmla="*/ 0 w 858461"/>
                    <a:gd name="connsiteY2" fmla="*/ 58462 h 304615"/>
                    <a:gd name="connsiteX3" fmla="*/ 0 w 858461"/>
                    <a:gd name="connsiteY3" fmla="*/ 0 h 304615"/>
                    <a:gd name="connsiteX4" fmla="*/ 858461 w 858461"/>
                    <a:gd name="connsiteY4" fmla="*/ 0 h 304615"/>
                    <a:gd name="connsiteX5" fmla="*/ 858461 w 858461"/>
                    <a:gd name="connsiteY5" fmla="*/ 58462 h 304615"/>
                    <a:gd name="connsiteX6" fmla="*/ 612308 w 858461"/>
                    <a:gd name="connsiteY6" fmla="*/ 304616 h 304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58461" h="304615">
                      <a:moveTo>
                        <a:pt x="612308" y="304616"/>
                      </a:moveTo>
                      <a:lnTo>
                        <a:pt x="246154" y="304616"/>
                      </a:lnTo>
                      <a:cubicBezTo>
                        <a:pt x="110769" y="304616"/>
                        <a:pt x="0" y="193846"/>
                        <a:pt x="0" y="58462"/>
                      </a:cubicBezTo>
                      <a:lnTo>
                        <a:pt x="0" y="0"/>
                      </a:lnTo>
                      <a:lnTo>
                        <a:pt x="858461" y="0"/>
                      </a:lnTo>
                      <a:lnTo>
                        <a:pt x="858461" y="58462"/>
                      </a:lnTo>
                      <a:cubicBezTo>
                        <a:pt x="858461" y="193846"/>
                        <a:pt x="747692" y="304616"/>
                        <a:pt x="612308" y="304616"/>
                      </a:cubicBezTo>
                      <a:close/>
                    </a:path>
                  </a:pathLst>
                </a:custGeom>
                <a:solidFill>
                  <a:srgbClr val="6B85AA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7FA4147A-39C0-4363-9202-0D77DFD21CC0}"/>
                  </a:ext>
                </a:extLst>
              </p:cNvPr>
              <p:cNvSpPr/>
              <p:nvPr/>
            </p:nvSpPr>
            <p:spPr>
              <a:xfrm>
                <a:off x="-2433232" y="2131565"/>
                <a:ext cx="750769" cy="858461"/>
              </a:xfrm>
              <a:custGeom>
                <a:avLst/>
                <a:gdLst>
                  <a:gd name="connsiteX0" fmla="*/ 0 w 750769"/>
                  <a:gd name="connsiteY0" fmla="*/ 858461 h 858461"/>
                  <a:gd name="connsiteX1" fmla="*/ 126154 w 750769"/>
                  <a:gd name="connsiteY1" fmla="*/ 858461 h 858461"/>
                  <a:gd name="connsiteX2" fmla="*/ 750769 w 750769"/>
                  <a:gd name="connsiteY2" fmla="*/ 15385 h 858461"/>
                  <a:gd name="connsiteX3" fmla="*/ 633846 w 750769"/>
                  <a:gd name="connsiteY3" fmla="*/ 0 h 85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769" h="858461">
                    <a:moveTo>
                      <a:pt x="0" y="858461"/>
                    </a:moveTo>
                    <a:lnTo>
                      <a:pt x="126154" y="858461"/>
                    </a:lnTo>
                    <a:lnTo>
                      <a:pt x="750769" y="15385"/>
                    </a:lnTo>
                    <a:lnTo>
                      <a:pt x="633846" y="0"/>
                    </a:lnTo>
                    <a:close/>
                  </a:path>
                </a:pathLst>
              </a:custGeom>
              <a:solidFill>
                <a:srgbClr val="F6EBE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05" name="图形 1">
                <a:extLst>
                  <a:ext uri="{FF2B5EF4-FFF2-40B4-BE49-F238E27FC236}">
                    <a16:creationId xmlns:a16="http://schemas.microsoft.com/office/drawing/2014/main" id="{12776C85-5591-4BD3-A67A-C4CF0767AC43}"/>
                  </a:ext>
                </a:extLst>
              </p:cNvPr>
              <p:cNvGrpSpPr/>
              <p:nvPr/>
            </p:nvGrpSpPr>
            <p:grpSpPr>
              <a:xfrm>
                <a:off x="-639385" y="2833103"/>
                <a:ext cx="344615" cy="344615"/>
                <a:chOff x="-639385" y="2833103"/>
                <a:chExt cx="344615" cy="344615"/>
              </a:xfrm>
            </p:grpSpPr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3A4DCF68-784D-472E-A81A-C5043685FB03}"/>
                    </a:ext>
                  </a:extLst>
                </p:cNvPr>
                <p:cNvSpPr/>
                <p:nvPr/>
              </p:nvSpPr>
              <p:spPr>
                <a:xfrm>
                  <a:off x="-639385" y="2833103"/>
                  <a:ext cx="344615" cy="344615"/>
                </a:xfrm>
                <a:custGeom>
                  <a:avLst/>
                  <a:gdLst>
                    <a:gd name="connsiteX0" fmla="*/ 344615 w 344615"/>
                    <a:gd name="connsiteY0" fmla="*/ 172307 h 344615"/>
                    <a:gd name="connsiteX1" fmla="*/ 172307 w 344615"/>
                    <a:gd name="connsiteY1" fmla="*/ 0 h 344615"/>
                    <a:gd name="connsiteX2" fmla="*/ 0 w 344615"/>
                    <a:gd name="connsiteY2" fmla="*/ 172307 h 344615"/>
                    <a:gd name="connsiteX3" fmla="*/ 172307 w 344615"/>
                    <a:gd name="connsiteY3" fmla="*/ 344615 h 344615"/>
                    <a:gd name="connsiteX4" fmla="*/ 344615 w 344615"/>
                    <a:gd name="connsiteY4" fmla="*/ 172307 h 344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4615" h="344615">
                      <a:moveTo>
                        <a:pt x="344615" y="172307"/>
                      </a:moveTo>
                      <a:cubicBezTo>
                        <a:pt x="344615" y="76923"/>
                        <a:pt x="267692" y="0"/>
                        <a:pt x="172307" y="0"/>
                      </a:cubicBezTo>
                      <a:cubicBezTo>
                        <a:pt x="76923" y="0"/>
                        <a:pt x="0" y="76923"/>
                        <a:pt x="0" y="172307"/>
                      </a:cubicBezTo>
                      <a:cubicBezTo>
                        <a:pt x="0" y="267692"/>
                        <a:pt x="76923" y="344615"/>
                        <a:pt x="172307" y="344615"/>
                      </a:cubicBezTo>
                      <a:cubicBezTo>
                        <a:pt x="267692" y="344615"/>
                        <a:pt x="344615" y="267692"/>
                        <a:pt x="344615" y="172307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99A7F431-D80B-43B7-A9FC-0A62985774AC}"/>
                    </a:ext>
                  </a:extLst>
                </p:cNvPr>
                <p:cNvSpPr/>
                <p:nvPr/>
              </p:nvSpPr>
              <p:spPr>
                <a:xfrm>
                  <a:off x="-550155" y="2922334"/>
                  <a:ext cx="166153" cy="166153"/>
                </a:xfrm>
                <a:custGeom>
                  <a:avLst/>
                  <a:gdLst>
                    <a:gd name="connsiteX0" fmla="*/ 166154 w 166153"/>
                    <a:gd name="connsiteY0" fmla="*/ 83077 h 166153"/>
                    <a:gd name="connsiteX1" fmla="*/ 83077 w 166153"/>
                    <a:gd name="connsiteY1" fmla="*/ 0 h 166153"/>
                    <a:gd name="connsiteX2" fmla="*/ 0 w 166153"/>
                    <a:gd name="connsiteY2" fmla="*/ 83077 h 166153"/>
                    <a:gd name="connsiteX3" fmla="*/ 83077 w 166153"/>
                    <a:gd name="connsiteY3" fmla="*/ 166154 h 166153"/>
                    <a:gd name="connsiteX4" fmla="*/ 166154 w 166153"/>
                    <a:gd name="connsiteY4" fmla="*/ 83077 h 166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6153" h="166153">
                      <a:moveTo>
                        <a:pt x="166154" y="83077"/>
                      </a:moveTo>
                      <a:cubicBezTo>
                        <a:pt x="166154" y="36923"/>
                        <a:pt x="129231" y="0"/>
                        <a:pt x="83077" y="0"/>
                      </a:cubicBezTo>
                      <a:cubicBezTo>
                        <a:pt x="36923" y="0"/>
                        <a:pt x="0" y="36923"/>
                        <a:pt x="0" y="83077"/>
                      </a:cubicBezTo>
                      <a:cubicBezTo>
                        <a:pt x="0" y="129231"/>
                        <a:pt x="36923" y="166154"/>
                        <a:pt x="83077" y="166154"/>
                      </a:cubicBezTo>
                      <a:cubicBezTo>
                        <a:pt x="129231" y="166154"/>
                        <a:pt x="166154" y="129231"/>
                        <a:pt x="166154" y="83077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06" name="图形 1">
                <a:extLst>
                  <a:ext uri="{FF2B5EF4-FFF2-40B4-BE49-F238E27FC236}">
                    <a16:creationId xmlns:a16="http://schemas.microsoft.com/office/drawing/2014/main" id="{AD59C1C5-3F3D-486A-8860-5F01FFE6EA5F}"/>
                  </a:ext>
                </a:extLst>
              </p:cNvPr>
              <p:cNvGrpSpPr/>
              <p:nvPr/>
            </p:nvGrpSpPr>
            <p:grpSpPr>
              <a:xfrm>
                <a:off x="-2513232" y="2833103"/>
                <a:ext cx="344615" cy="344615"/>
                <a:chOff x="-2513232" y="2833103"/>
                <a:chExt cx="344615" cy="344615"/>
              </a:xfrm>
            </p:grpSpPr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796E57E9-CE6D-46D3-9AC1-569032C948D0}"/>
                    </a:ext>
                  </a:extLst>
                </p:cNvPr>
                <p:cNvSpPr/>
                <p:nvPr/>
              </p:nvSpPr>
              <p:spPr>
                <a:xfrm>
                  <a:off x="-2513232" y="2833103"/>
                  <a:ext cx="344615" cy="344615"/>
                </a:xfrm>
                <a:custGeom>
                  <a:avLst/>
                  <a:gdLst>
                    <a:gd name="connsiteX0" fmla="*/ 344616 w 344615"/>
                    <a:gd name="connsiteY0" fmla="*/ 172307 h 344615"/>
                    <a:gd name="connsiteX1" fmla="*/ 172308 w 344615"/>
                    <a:gd name="connsiteY1" fmla="*/ 0 h 344615"/>
                    <a:gd name="connsiteX2" fmla="*/ 0 w 344615"/>
                    <a:gd name="connsiteY2" fmla="*/ 172307 h 344615"/>
                    <a:gd name="connsiteX3" fmla="*/ 172308 w 344615"/>
                    <a:gd name="connsiteY3" fmla="*/ 344615 h 344615"/>
                    <a:gd name="connsiteX4" fmla="*/ 344616 w 344615"/>
                    <a:gd name="connsiteY4" fmla="*/ 172307 h 344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4615" h="344615">
                      <a:moveTo>
                        <a:pt x="344616" y="172307"/>
                      </a:moveTo>
                      <a:cubicBezTo>
                        <a:pt x="344616" y="76923"/>
                        <a:pt x="267692" y="0"/>
                        <a:pt x="172308" y="0"/>
                      </a:cubicBezTo>
                      <a:cubicBezTo>
                        <a:pt x="76923" y="0"/>
                        <a:pt x="0" y="76923"/>
                        <a:pt x="0" y="172307"/>
                      </a:cubicBezTo>
                      <a:cubicBezTo>
                        <a:pt x="0" y="267692"/>
                        <a:pt x="76923" y="344615"/>
                        <a:pt x="172308" y="344615"/>
                      </a:cubicBezTo>
                      <a:cubicBezTo>
                        <a:pt x="267692" y="344615"/>
                        <a:pt x="344616" y="267692"/>
                        <a:pt x="344616" y="172307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B7EA9238-80BE-4080-9F98-BBD58511480F}"/>
                    </a:ext>
                  </a:extLst>
                </p:cNvPr>
                <p:cNvSpPr/>
                <p:nvPr/>
              </p:nvSpPr>
              <p:spPr>
                <a:xfrm>
                  <a:off x="-2424001" y="2922334"/>
                  <a:ext cx="166153" cy="166153"/>
                </a:xfrm>
                <a:custGeom>
                  <a:avLst/>
                  <a:gdLst>
                    <a:gd name="connsiteX0" fmla="*/ 166154 w 166153"/>
                    <a:gd name="connsiteY0" fmla="*/ 83077 h 166153"/>
                    <a:gd name="connsiteX1" fmla="*/ 83077 w 166153"/>
                    <a:gd name="connsiteY1" fmla="*/ 0 h 166153"/>
                    <a:gd name="connsiteX2" fmla="*/ 0 w 166153"/>
                    <a:gd name="connsiteY2" fmla="*/ 83077 h 166153"/>
                    <a:gd name="connsiteX3" fmla="*/ 83077 w 166153"/>
                    <a:gd name="connsiteY3" fmla="*/ 166154 h 166153"/>
                    <a:gd name="connsiteX4" fmla="*/ 166154 w 166153"/>
                    <a:gd name="connsiteY4" fmla="*/ 83077 h 166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6153" h="166153">
                      <a:moveTo>
                        <a:pt x="166154" y="83077"/>
                      </a:moveTo>
                      <a:cubicBezTo>
                        <a:pt x="166154" y="36923"/>
                        <a:pt x="129231" y="0"/>
                        <a:pt x="83077" y="0"/>
                      </a:cubicBezTo>
                      <a:cubicBezTo>
                        <a:pt x="36923" y="0"/>
                        <a:pt x="0" y="36923"/>
                        <a:pt x="0" y="83077"/>
                      </a:cubicBezTo>
                      <a:cubicBezTo>
                        <a:pt x="0" y="129231"/>
                        <a:pt x="36923" y="166154"/>
                        <a:pt x="83077" y="166154"/>
                      </a:cubicBezTo>
                      <a:cubicBezTo>
                        <a:pt x="129231" y="166154"/>
                        <a:pt x="166154" y="129231"/>
                        <a:pt x="166154" y="83077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F0BEAD15-34D9-45B9-ABAF-CFCACE18F343}"/>
                  </a:ext>
                </a:extLst>
              </p:cNvPr>
              <p:cNvSpPr/>
              <p:nvPr/>
            </p:nvSpPr>
            <p:spPr>
              <a:xfrm>
                <a:off x="-1934770" y="371565"/>
                <a:ext cx="741538" cy="741538"/>
              </a:xfrm>
              <a:custGeom>
                <a:avLst/>
                <a:gdLst>
                  <a:gd name="connsiteX0" fmla="*/ 6154 w 741538"/>
                  <a:gd name="connsiteY0" fmla="*/ 741538 h 741538"/>
                  <a:gd name="connsiteX1" fmla="*/ 6154 w 741538"/>
                  <a:gd name="connsiteY1" fmla="*/ 741538 h 741538"/>
                  <a:gd name="connsiteX2" fmla="*/ 0 w 741538"/>
                  <a:gd name="connsiteY2" fmla="*/ 735385 h 741538"/>
                  <a:gd name="connsiteX3" fmla="*/ 735385 w 741538"/>
                  <a:gd name="connsiteY3" fmla="*/ 0 h 741538"/>
                  <a:gd name="connsiteX4" fmla="*/ 741539 w 741538"/>
                  <a:gd name="connsiteY4" fmla="*/ 3077 h 741538"/>
                  <a:gd name="connsiteX5" fmla="*/ 738462 w 741538"/>
                  <a:gd name="connsiteY5" fmla="*/ 9231 h 741538"/>
                  <a:gd name="connsiteX6" fmla="*/ 240000 w 741538"/>
                  <a:gd name="connsiteY6" fmla="*/ 735385 h 741538"/>
                  <a:gd name="connsiteX7" fmla="*/ 233846 w 741538"/>
                  <a:gd name="connsiteY7" fmla="*/ 741538 h 741538"/>
                  <a:gd name="connsiteX8" fmla="*/ 227692 w 741538"/>
                  <a:gd name="connsiteY8" fmla="*/ 735385 h 741538"/>
                  <a:gd name="connsiteX9" fmla="*/ 683077 w 741538"/>
                  <a:gd name="connsiteY9" fmla="*/ 24615 h 741538"/>
                  <a:gd name="connsiteX10" fmla="*/ 9231 w 741538"/>
                  <a:gd name="connsiteY10" fmla="*/ 735385 h 741538"/>
                  <a:gd name="connsiteX11" fmla="*/ 6154 w 741538"/>
                  <a:gd name="connsiteY11" fmla="*/ 741538 h 74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41538" h="741538">
                    <a:moveTo>
                      <a:pt x="6154" y="741538"/>
                    </a:moveTo>
                    <a:cubicBezTo>
                      <a:pt x="6154" y="741538"/>
                      <a:pt x="6154" y="741538"/>
                      <a:pt x="6154" y="741538"/>
                    </a:cubicBezTo>
                    <a:cubicBezTo>
                      <a:pt x="0" y="741538"/>
                      <a:pt x="0" y="738462"/>
                      <a:pt x="0" y="735385"/>
                    </a:cubicBezTo>
                    <a:cubicBezTo>
                      <a:pt x="3077" y="729231"/>
                      <a:pt x="184615" y="141538"/>
                      <a:pt x="735385" y="0"/>
                    </a:cubicBezTo>
                    <a:cubicBezTo>
                      <a:pt x="738462" y="0"/>
                      <a:pt x="741539" y="0"/>
                      <a:pt x="741539" y="3077"/>
                    </a:cubicBezTo>
                    <a:cubicBezTo>
                      <a:pt x="741539" y="6154"/>
                      <a:pt x="741539" y="9231"/>
                      <a:pt x="738462" y="9231"/>
                    </a:cubicBezTo>
                    <a:cubicBezTo>
                      <a:pt x="310769" y="218461"/>
                      <a:pt x="240000" y="729231"/>
                      <a:pt x="240000" y="735385"/>
                    </a:cubicBezTo>
                    <a:cubicBezTo>
                      <a:pt x="240000" y="738462"/>
                      <a:pt x="236923" y="741538"/>
                      <a:pt x="233846" y="741538"/>
                    </a:cubicBezTo>
                    <a:cubicBezTo>
                      <a:pt x="230769" y="741538"/>
                      <a:pt x="227692" y="738462"/>
                      <a:pt x="227692" y="735385"/>
                    </a:cubicBezTo>
                    <a:cubicBezTo>
                      <a:pt x="227692" y="729231"/>
                      <a:pt x="295385" y="249231"/>
                      <a:pt x="683077" y="24615"/>
                    </a:cubicBezTo>
                    <a:cubicBezTo>
                      <a:pt x="178462" y="184615"/>
                      <a:pt x="9231" y="729231"/>
                      <a:pt x="9231" y="735385"/>
                    </a:cubicBezTo>
                    <a:cubicBezTo>
                      <a:pt x="12308" y="741538"/>
                      <a:pt x="9231" y="741538"/>
                      <a:pt x="6154" y="74153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47B67149-71EC-46A9-8C24-19F91FDE7902}"/>
                  </a:ext>
                </a:extLst>
              </p:cNvPr>
              <p:cNvSpPr/>
              <p:nvPr/>
            </p:nvSpPr>
            <p:spPr>
              <a:xfrm>
                <a:off x="-1467078" y="372334"/>
                <a:ext cx="279230" cy="740769"/>
              </a:xfrm>
              <a:custGeom>
                <a:avLst/>
                <a:gdLst>
                  <a:gd name="connsiteX0" fmla="*/ 6154 w 279230"/>
                  <a:gd name="connsiteY0" fmla="*/ 740769 h 740769"/>
                  <a:gd name="connsiteX1" fmla="*/ 6154 w 279230"/>
                  <a:gd name="connsiteY1" fmla="*/ 740769 h 740769"/>
                  <a:gd name="connsiteX2" fmla="*/ 0 w 279230"/>
                  <a:gd name="connsiteY2" fmla="*/ 734615 h 740769"/>
                  <a:gd name="connsiteX3" fmla="*/ 267692 w 279230"/>
                  <a:gd name="connsiteY3" fmla="*/ 2308 h 740769"/>
                  <a:gd name="connsiteX4" fmla="*/ 276923 w 279230"/>
                  <a:gd name="connsiteY4" fmla="*/ 2308 h 740769"/>
                  <a:gd name="connsiteX5" fmla="*/ 276923 w 279230"/>
                  <a:gd name="connsiteY5" fmla="*/ 11539 h 740769"/>
                  <a:gd name="connsiteX6" fmla="*/ 12308 w 279230"/>
                  <a:gd name="connsiteY6" fmla="*/ 737692 h 740769"/>
                  <a:gd name="connsiteX7" fmla="*/ 6154 w 279230"/>
                  <a:gd name="connsiteY7" fmla="*/ 740769 h 740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230" h="740769">
                    <a:moveTo>
                      <a:pt x="6154" y="740769"/>
                    </a:moveTo>
                    <a:cubicBezTo>
                      <a:pt x="6154" y="740769"/>
                      <a:pt x="6154" y="740769"/>
                      <a:pt x="6154" y="740769"/>
                    </a:cubicBezTo>
                    <a:cubicBezTo>
                      <a:pt x="3077" y="740769"/>
                      <a:pt x="0" y="737692"/>
                      <a:pt x="0" y="734615"/>
                    </a:cubicBezTo>
                    <a:cubicBezTo>
                      <a:pt x="9231" y="303846"/>
                      <a:pt x="264616" y="2308"/>
                      <a:pt x="267692" y="2308"/>
                    </a:cubicBezTo>
                    <a:cubicBezTo>
                      <a:pt x="270769" y="-769"/>
                      <a:pt x="273846" y="-769"/>
                      <a:pt x="276923" y="2308"/>
                    </a:cubicBezTo>
                    <a:cubicBezTo>
                      <a:pt x="280000" y="5385"/>
                      <a:pt x="280000" y="8462"/>
                      <a:pt x="276923" y="11539"/>
                    </a:cubicBezTo>
                    <a:cubicBezTo>
                      <a:pt x="273846" y="14615"/>
                      <a:pt x="21538" y="313077"/>
                      <a:pt x="12308" y="737692"/>
                    </a:cubicBezTo>
                    <a:cubicBezTo>
                      <a:pt x="9231" y="737692"/>
                      <a:pt x="9231" y="740769"/>
                      <a:pt x="6154" y="74076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DF9C2F67-6B6F-4AC2-A6F2-F559C346B31F}"/>
                  </a:ext>
                </a:extLst>
              </p:cNvPr>
              <p:cNvSpPr/>
              <p:nvPr/>
            </p:nvSpPr>
            <p:spPr>
              <a:xfrm>
                <a:off x="-3107078" y="377719"/>
                <a:ext cx="2043077" cy="2612307"/>
              </a:xfrm>
              <a:custGeom>
                <a:avLst/>
                <a:gdLst>
                  <a:gd name="connsiteX0" fmla="*/ 2043077 w 2043077"/>
                  <a:gd name="connsiteY0" fmla="*/ 2612308 h 2612307"/>
                  <a:gd name="connsiteX1" fmla="*/ 1916923 w 2043077"/>
                  <a:gd name="connsiteY1" fmla="*/ 2612308 h 2612307"/>
                  <a:gd name="connsiteX2" fmla="*/ 0 w 2043077"/>
                  <a:gd name="connsiteY2" fmla="*/ 0 h 2612307"/>
                  <a:gd name="connsiteX3" fmla="*/ 126154 w 2043077"/>
                  <a:gd name="connsiteY3" fmla="*/ 0 h 261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43077" h="2612307">
                    <a:moveTo>
                      <a:pt x="2043077" y="2612308"/>
                    </a:moveTo>
                    <a:lnTo>
                      <a:pt x="1916923" y="2612308"/>
                    </a:lnTo>
                    <a:lnTo>
                      <a:pt x="0" y="0"/>
                    </a:lnTo>
                    <a:lnTo>
                      <a:pt x="126154" y="0"/>
                    </a:lnTo>
                    <a:close/>
                  </a:path>
                </a:pathLst>
              </a:custGeom>
              <a:solidFill>
                <a:srgbClr val="F6EBE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0" name="图形 1">
                <a:extLst>
                  <a:ext uri="{FF2B5EF4-FFF2-40B4-BE49-F238E27FC236}">
                    <a16:creationId xmlns:a16="http://schemas.microsoft.com/office/drawing/2014/main" id="{9A8F2F72-C68D-4C54-983F-CB91801C2C31}"/>
                  </a:ext>
                </a:extLst>
              </p:cNvPr>
              <p:cNvGrpSpPr/>
              <p:nvPr/>
            </p:nvGrpSpPr>
            <p:grpSpPr>
              <a:xfrm>
                <a:off x="-1328616" y="2833103"/>
                <a:ext cx="344615" cy="344615"/>
                <a:chOff x="-1328616" y="2833103"/>
                <a:chExt cx="344615" cy="344615"/>
              </a:xfrm>
            </p:grpSpPr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3DDF7F88-4329-4649-8B14-EE16B5ADF19F}"/>
                    </a:ext>
                  </a:extLst>
                </p:cNvPr>
                <p:cNvSpPr/>
                <p:nvPr/>
              </p:nvSpPr>
              <p:spPr>
                <a:xfrm>
                  <a:off x="-1328616" y="2833103"/>
                  <a:ext cx="344615" cy="344615"/>
                </a:xfrm>
                <a:custGeom>
                  <a:avLst/>
                  <a:gdLst>
                    <a:gd name="connsiteX0" fmla="*/ 344615 w 344615"/>
                    <a:gd name="connsiteY0" fmla="*/ 172307 h 344615"/>
                    <a:gd name="connsiteX1" fmla="*/ 172308 w 344615"/>
                    <a:gd name="connsiteY1" fmla="*/ 0 h 344615"/>
                    <a:gd name="connsiteX2" fmla="*/ 0 w 344615"/>
                    <a:gd name="connsiteY2" fmla="*/ 172307 h 344615"/>
                    <a:gd name="connsiteX3" fmla="*/ 172308 w 344615"/>
                    <a:gd name="connsiteY3" fmla="*/ 344615 h 344615"/>
                    <a:gd name="connsiteX4" fmla="*/ 344615 w 344615"/>
                    <a:gd name="connsiteY4" fmla="*/ 172307 h 344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4615" h="344615">
                      <a:moveTo>
                        <a:pt x="344615" y="172307"/>
                      </a:moveTo>
                      <a:cubicBezTo>
                        <a:pt x="344615" y="76923"/>
                        <a:pt x="267692" y="0"/>
                        <a:pt x="172308" y="0"/>
                      </a:cubicBezTo>
                      <a:cubicBezTo>
                        <a:pt x="76923" y="0"/>
                        <a:pt x="0" y="76923"/>
                        <a:pt x="0" y="172307"/>
                      </a:cubicBezTo>
                      <a:cubicBezTo>
                        <a:pt x="0" y="267692"/>
                        <a:pt x="76923" y="344615"/>
                        <a:pt x="172308" y="344615"/>
                      </a:cubicBezTo>
                      <a:cubicBezTo>
                        <a:pt x="267692" y="344615"/>
                        <a:pt x="344615" y="267692"/>
                        <a:pt x="344615" y="172307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" name="任意多边形: 形状 112">
                  <a:extLst>
                    <a:ext uri="{FF2B5EF4-FFF2-40B4-BE49-F238E27FC236}">
                      <a16:creationId xmlns:a16="http://schemas.microsoft.com/office/drawing/2014/main" id="{6044DA30-21EE-4B7A-B851-0428BA521F28}"/>
                    </a:ext>
                  </a:extLst>
                </p:cNvPr>
                <p:cNvSpPr/>
                <p:nvPr/>
              </p:nvSpPr>
              <p:spPr>
                <a:xfrm>
                  <a:off x="-1239385" y="2922334"/>
                  <a:ext cx="166153" cy="166153"/>
                </a:xfrm>
                <a:custGeom>
                  <a:avLst/>
                  <a:gdLst>
                    <a:gd name="connsiteX0" fmla="*/ 166154 w 166153"/>
                    <a:gd name="connsiteY0" fmla="*/ 83077 h 166153"/>
                    <a:gd name="connsiteX1" fmla="*/ 83077 w 166153"/>
                    <a:gd name="connsiteY1" fmla="*/ 0 h 166153"/>
                    <a:gd name="connsiteX2" fmla="*/ 0 w 166153"/>
                    <a:gd name="connsiteY2" fmla="*/ 83077 h 166153"/>
                    <a:gd name="connsiteX3" fmla="*/ 83077 w 166153"/>
                    <a:gd name="connsiteY3" fmla="*/ 166154 h 166153"/>
                    <a:gd name="connsiteX4" fmla="*/ 166154 w 166153"/>
                    <a:gd name="connsiteY4" fmla="*/ 83077 h 166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6153" h="166153">
                      <a:moveTo>
                        <a:pt x="166154" y="83077"/>
                      </a:moveTo>
                      <a:cubicBezTo>
                        <a:pt x="166154" y="36923"/>
                        <a:pt x="129231" y="0"/>
                        <a:pt x="83077" y="0"/>
                      </a:cubicBezTo>
                      <a:cubicBezTo>
                        <a:pt x="36923" y="0"/>
                        <a:pt x="0" y="36923"/>
                        <a:pt x="0" y="83077"/>
                      </a:cubicBezTo>
                      <a:cubicBezTo>
                        <a:pt x="0" y="129231"/>
                        <a:pt x="36923" y="166154"/>
                        <a:pt x="83077" y="166154"/>
                      </a:cubicBezTo>
                      <a:cubicBezTo>
                        <a:pt x="129231" y="166154"/>
                        <a:pt x="166154" y="129231"/>
                        <a:pt x="166154" y="83077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42447DF6-07FC-41B1-B78A-35F889376BF2}"/>
                  </a:ext>
                </a:extLst>
              </p:cNvPr>
              <p:cNvSpPr/>
              <p:nvPr/>
            </p:nvSpPr>
            <p:spPr>
              <a:xfrm>
                <a:off x="-3190155" y="251565"/>
                <a:ext cx="1027692" cy="166153"/>
              </a:xfrm>
              <a:custGeom>
                <a:avLst/>
                <a:gdLst>
                  <a:gd name="connsiteX0" fmla="*/ 944616 w 1027692"/>
                  <a:gd name="connsiteY0" fmla="*/ 166154 h 166153"/>
                  <a:gd name="connsiteX1" fmla="*/ 83077 w 1027692"/>
                  <a:gd name="connsiteY1" fmla="*/ 166154 h 166153"/>
                  <a:gd name="connsiteX2" fmla="*/ 0 w 1027692"/>
                  <a:gd name="connsiteY2" fmla="*/ 83077 h 166153"/>
                  <a:gd name="connsiteX3" fmla="*/ 0 w 1027692"/>
                  <a:gd name="connsiteY3" fmla="*/ 83077 h 166153"/>
                  <a:gd name="connsiteX4" fmla="*/ 83077 w 1027692"/>
                  <a:gd name="connsiteY4" fmla="*/ 0 h 166153"/>
                  <a:gd name="connsiteX5" fmla="*/ 944616 w 1027692"/>
                  <a:gd name="connsiteY5" fmla="*/ 0 h 166153"/>
                  <a:gd name="connsiteX6" fmla="*/ 1027693 w 1027692"/>
                  <a:gd name="connsiteY6" fmla="*/ 83077 h 166153"/>
                  <a:gd name="connsiteX7" fmla="*/ 1027693 w 1027692"/>
                  <a:gd name="connsiteY7" fmla="*/ 83077 h 166153"/>
                  <a:gd name="connsiteX8" fmla="*/ 944616 w 1027692"/>
                  <a:gd name="connsiteY8" fmla="*/ 166154 h 16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27692" h="166153">
                    <a:moveTo>
                      <a:pt x="944616" y="166154"/>
                    </a:moveTo>
                    <a:lnTo>
                      <a:pt x="83077" y="166154"/>
                    </a:lnTo>
                    <a:cubicBezTo>
                      <a:pt x="36923" y="166154"/>
                      <a:pt x="0" y="129231"/>
                      <a:pt x="0" y="83077"/>
                    </a:cubicBezTo>
                    <a:lnTo>
                      <a:pt x="0" y="83077"/>
                    </a:lnTo>
                    <a:cubicBezTo>
                      <a:pt x="0" y="36923"/>
                      <a:pt x="36923" y="0"/>
                      <a:pt x="83077" y="0"/>
                    </a:cubicBezTo>
                    <a:lnTo>
                      <a:pt x="944616" y="0"/>
                    </a:lnTo>
                    <a:cubicBezTo>
                      <a:pt x="990770" y="0"/>
                      <a:pt x="1027693" y="36923"/>
                      <a:pt x="1027693" y="83077"/>
                    </a:cubicBezTo>
                    <a:lnTo>
                      <a:pt x="1027693" y="83077"/>
                    </a:lnTo>
                    <a:cubicBezTo>
                      <a:pt x="1024616" y="129231"/>
                      <a:pt x="990770" y="166154"/>
                      <a:pt x="944616" y="166154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8" name="图形 1">
              <a:extLst>
                <a:ext uri="{FF2B5EF4-FFF2-40B4-BE49-F238E27FC236}">
                  <a16:creationId xmlns:a16="http://schemas.microsoft.com/office/drawing/2014/main" id="{71592A8C-DF35-4FAF-B604-3A3364F2466F}"/>
                </a:ext>
              </a:extLst>
            </p:cNvPr>
            <p:cNvGrpSpPr/>
            <p:nvPr/>
          </p:nvGrpSpPr>
          <p:grpSpPr>
            <a:xfrm>
              <a:off x="-2626309" y="202914"/>
              <a:ext cx="241403" cy="171727"/>
              <a:chOff x="-2626309" y="202914"/>
              <a:chExt cx="241403" cy="171727"/>
            </a:xfrm>
          </p:grpSpPr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3445A5C6-5F93-47E5-A383-CDE554660769}"/>
                  </a:ext>
                </a:extLst>
              </p:cNvPr>
              <p:cNvSpPr/>
              <p:nvPr/>
            </p:nvSpPr>
            <p:spPr>
              <a:xfrm>
                <a:off x="-2624001" y="202914"/>
                <a:ext cx="234110" cy="160016"/>
              </a:xfrm>
              <a:custGeom>
                <a:avLst/>
                <a:gdLst>
                  <a:gd name="connsiteX0" fmla="*/ 147692 w 234110"/>
                  <a:gd name="connsiteY0" fmla="*/ 5573 h 160016"/>
                  <a:gd name="connsiteX1" fmla="*/ 98462 w 234110"/>
                  <a:gd name="connsiteY1" fmla="*/ 8650 h 160016"/>
                  <a:gd name="connsiteX2" fmla="*/ 55385 w 234110"/>
                  <a:gd name="connsiteY2" fmla="*/ 11727 h 160016"/>
                  <a:gd name="connsiteX3" fmla="*/ 0 w 234110"/>
                  <a:gd name="connsiteY3" fmla="*/ 30189 h 160016"/>
                  <a:gd name="connsiteX4" fmla="*/ 6154 w 234110"/>
                  <a:gd name="connsiteY4" fmla="*/ 45573 h 160016"/>
                  <a:gd name="connsiteX5" fmla="*/ 46154 w 234110"/>
                  <a:gd name="connsiteY5" fmla="*/ 94804 h 160016"/>
                  <a:gd name="connsiteX6" fmla="*/ 64615 w 234110"/>
                  <a:gd name="connsiteY6" fmla="*/ 137881 h 160016"/>
                  <a:gd name="connsiteX7" fmla="*/ 67692 w 234110"/>
                  <a:gd name="connsiteY7" fmla="*/ 140958 h 160016"/>
                  <a:gd name="connsiteX8" fmla="*/ 95385 w 234110"/>
                  <a:gd name="connsiteY8" fmla="*/ 159420 h 160016"/>
                  <a:gd name="connsiteX9" fmla="*/ 107692 w 234110"/>
                  <a:gd name="connsiteY9" fmla="*/ 134804 h 160016"/>
                  <a:gd name="connsiteX10" fmla="*/ 144616 w 234110"/>
                  <a:gd name="connsiteY10" fmla="*/ 159420 h 160016"/>
                  <a:gd name="connsiteX11" fmla="*/ 156923 w 234110"/>
                  <a:gd name="connsiteY11" fmla="*/ 134804 h 160016"/>
                  <a:gd name="connsiteX12" fmla="*/ 196923 w 234110"/>
                  <a:gd name="connsiteY12" fmla="*/ 147112 h 160016"/>
                  <a:gd name="connsiteX13" fmla="*/ 203077 w 234110"/>
                  <a:gd name="connsiteY13" fmla="*/ 116343 h 160016"/>
                  <a:gd name="connsiteX14" fmla="*/ 233846 w 234110"/>
                  <a:gd name="connsiteY14" fmla="*/ 100958 h 160016"/>
                  <a:gd name="connsiteX15" fmla="*/ 147692 w 234110"/>
                  <a:gd name="connsiteY15" fmla="*/ 5573 h 160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34110" h="160016">
                    <a:moveTo>
                      <a:pt x="147692" y="5573"/>
                    </a:moveTo>
                    <a:cubicBezTo>
                      <a:pt x="138462" y="-3657"/>
                      <a:pt x="113846" y="-580"/>
                      <a:pt x="98462" y="8650"/>
                    </a:cubicBezTo>
                    <a:cubicBezTo>
                      <a:pt x="80000" y="2497"/>
                      <a:pt x="70769" y="2497"/>
                      <a:pt x="55385" y="11727"/>
                    </a:cubicBezTo>
                    <a:cubicBezTo>
                      <a:pt x="33846" y="-580"/>
                      <a:pt x="6154" y="-3657"/>
                      <a:pt x="0" y="30189"/>
                    </a:cubicBezTo>
                    <a:cubicBezTo>
                      <a:pt x="0" y="36343"/>
                      <a:pt x="0" y="42497"/>
                      <a:pt x="6154" y="45573"/>
                    </a:cubicBezTo>
                    <a:cubicBezTo>
                      <a:pt x="15385" y="64035"/>
                      <a:pt x="33846" y="79420"/>
                      <a:pt x="46154" y="94804"/>
                    </a:cubicBezTo>
                    <a:cubicBezTo>
                      <a:pt x="55385" y="110189"/>
                      <a:pt x="58462" y="122497"/>
                      <a:pt x="64615" y="137881"/>
                    </a:cubicBezTo>
                    <a:cubicBezTo>
                      <a:pt x="64615" y="137881"/>
                      <a:pt x="64615" y="140958"/>
                      <a:pt x="67692" y="140958"/>
                    </a:cubicBezTo>
                    <a:cubicBezTo>
                      <a:pt x="70769" y="153266"/>
                      <a:pt x="86154" y="162497"/>
                      <a:pt x="95385" y="159420"/>
                    </a:cubicBezTo>
                    <a:cubicBezTo>
                      <a:pt x="104615" y="156343"/>
                      <a:pt x="107692" y="144035"/>
                      <a:pt x="107692" y="134804"/>
                    </a:cubicBezTo>
                    <a:cubicBezTo>
                      <a:pt x="116923" y="150189"/>
                      <a:pt x="126154" y="162497"/>
                      <a:pt x="144616" y="159420"/>
                    </a:cubicBezTo>
                    <a:cubicBezTo>
                      <a:pt x="156923" y="156343"/>
                      <a:pt x="153846" y="147112"/>
                      <a:pt x="156923" y="134804"/>
                    </a:cubicBezTo>
                    <a:cubicBezTo>
                      <a:pt x="156923" y="137881"/>
                      <a:pt x="178462" y="153266"/>
                      <a:pt x="196923" y="147112"/>
                    </a:cubicBezTo>
                    <a:cubicBezTo>
                      <a:pt x="203077" y="144035"/>
                      <a:pt x="203077" y="122497"/>
                      <a:pt x="203077" y="116343"/>
                    </a:cubicBezTo>
                    <a:cubicBezTo>
                      <a:pt x="212308" y="128651"/>
                      <a:pt x="236923" y="119420"/>
                      <a:pt x="233846" y="100958"/>
                    </a:cubicBezTo>
                    <a:cubicBezTo>
                      <a:pt x="224616" y="67112"/>
                      <a:pt x="190769" y="-6734"/>
                      <a:pt x="147692" y="5573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8540790B-FFAC-496B-84DE-764A7F7B7608}"/>
                  </a:ext>
                </a:extLst>
              </p:cNvPr>
              <p:cNvSpPr/>
              <p:nvPr/>
            </p:nvSpPr>
            <p:spPr>
              <a:xfrm>
                <a:off x="-2626309" y="216351"/>
                <a:ext cx="109999" cy="155213"/>
              </a:xfrm>
              <a:custGeom>
                <a:avLst/>
                <a:gdLst>
                  <a:gd name="connsiteX0" fmla="*/ 85385 w 109999"/>
                  <a:gd name="connsiteY0" fmla="*/ 155214 h 155213"/>
                  <a:gd name="connsiteX1" fmla="*/ 54615 w 109999"/>
                  <a:gd name="connsiteY1" fmla="*/ 118291 h 155213"/>
                  <a:gd name="connsiteX2" fmla="*/ 51538 w 109999"/>
                  <a:gd name="connsiteY2" fmla="*/ 105983 h 155213"/>
                  <a:gd name="connsiteX3" fmla="*/ 2308 w 109999"/>
                  <a:gd name="connsiteY3" fmla="*/ 35214 h 155213"/>
                  <a:gd name="connsiteX4" fmla="*/ 2308 w 109999"/>
                  <a:gd name="connsiteY4" fmla="*/ 25983 h 155213"/>
                  <a:gd name="connsiteX5" fmla="*/ 11539 w 109999"/>
                  <a:gd name="connsiteY5" fmla="*/ 25983 h 155213"/>
                  <a:gd name="connsiteX6" fmla="*/ 60769 w 109999"/>
                  <a:gd name="connsiteY6" fmla="*/ 99829 h 155213"/>
                  <a:gd name="connsiteX7" fmla="*/ 63846 w 109999"/>
                  <a:gd name="connsiteY7" fmla="*/ 112137 h 155213"/>
                  <a:gd name="connsiteX8" fmla="*/ 85385 w 109999"/>
                  <a:gd name="connsiteY8" fmla="*/ 139829 h 155213"/>
                  <a:gd name="connsiteX9" fmla="*/ 97692 w 109999"/>
                  <a:gd name="connsiteY9" fmla="*/ 118291 h 155213"/>
                  <a:gd name="connsiteX10" fmla="*/ 54615 w 109999"/>
                  <a:gd name="connsiteY10" fmla="*/ 10598 h 155213"/>
                  <a:gd name="connsiteX11" fmla="*/ 54615 w 109999"/>
                  <a:gd name="connsiteY11" fmla="*/ 1368 h 155213"/>
                  <a:gd name="connsiteX12" fmla="*/ 63846 w 109999"/>
                  <a:gd name="connsiteY12" fmla="*/ 1368 h 155213"/>
                  <a:gd name="connsiteX13" fmla="*/ 110000 w 109999"/>
                  <a:gd name="connsiteY13" fmla="*/ 115214 h 155213"/>
                  <a:gd name="connsiteX14" fmla="*/ 88462 w 109999"/>
                  <a:gd name="connsiteY14" fmla="*/ 149060 h 155213"/>
                  <a:gd name="connsiteX15" fmla="*/ 85385 w 109999"/>
                  <a:gd name="connsiteY15" fmla="*/ 155214 h 155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9999" h="155213">
                    <a:moveTo>
                      <a:pt x="85385" y="155214"/>
                    </a:moveTo>
                    <a:cubicBezTo>
                      <a:pt x="66923" y="155214"/>
                      <a:pt x="60769" y="136752"/>
                      <a:pt x="54615" y="118291"/>
                    </a:cubicBezTo>
                    <a:cubicBezTo>
                      <a:pt x="54615" y="115214"/>
                      <a:pt x="51538" y="109060"/>
                      <a:pt x="51538" y="105983"/>
                    </a:cubicBezTo>
                    <a:cubicBezTo>
                      <a:pt x="42308" y="84444"/>
                      <a:pt x="2308" y="38291"/>
                      <a:pt x="2308" y="35214"/>
                    </a:cubicBezTo>
                    <a:cubicBezTo>
                      <a:pt x="-769" y="32137"/>
                      <a:pt x="-769" y="29060"/>
                      <a:pt x="2308" y="25983"/>
                    </a:cubicBezTo>
                    <a:cubicBezTo>
                      <a:pt x="5385" y="22906"/>
                      <a:pt x="8462" y="22906"/>
                      <a:pt x="11539" y="25983"/>
                    </a:cubicBezTo>
                    <a:cubicBezTo>
                      <a:pt x="14615" y="29060"/>
                      <a:pt x="51538" y="75214"/>
                      <a:pt x="60769" y="99829"/>
                    </a:cubicBezTo>
                    <a:cubicBezTo>
                      <a:pt x="63846" y="102906"/>
                      <a:pt x="63846" y="109060"/>
                      <a:pt x="63846" y="112137"/>
                    </a:cubicBezTo>
                    <a:cubicBezTo>
                      <a:pt x="73077" y="133675"/>
                      <a:pt x="76154" y="142906"/>
                      <a:pt x="85385" y="139829"/>
                    </a:cubicBezTo>
                    <a:cubicBezTo>
                      <a:pt x="100769" y="136752"/>
                      <a:pt x="97692" y="121368"/>
                      <a:pt x="97692" y="118291"/>
                    </a:cubicBezTo>
                    <a:cubicBezTo>
                      <a:pt x="97692" y="118291"/>
                      <a:pt x="91538" y="56752"/>
                      <a:pt x="54615" y="10598"/>
                    </a:cubicBezTo>
                    <a:cubicBezTo>
                      <a:pt x="51538" y="7521"/>
                      <a:pt x="54615" y="4444"/>
                      <a:pt x="54615" y="1368"/>
                    </a:cubicBezTo>
                    <a:cubicBezTo>
                      <a:pt x="57692" y="-1709"/>
                      <a:pt x="60769" y="1368"/>
                      <a:pt x="63846" y="1368"/>
                    </a:cubicBezTo>
                    <a:cubicBezTo>
                      <a:pt x="100769" y="50598"/>
                      <a:pt x="110000" y="115214"/>
                      <a:pt x="110000" y="115214"/>
                    </a:cubicBezTo>
                    <a:cubicBezTo>
                      <a:pt x="110000" y="124444"/>
                      <a:pt x="106923" y="145983"/>
                      <a:pt x="88462" y="149060"/>
                    </a:cubicBezTo>
                    <a:cubicBezTo>
                      <a:pt x="88462" y="155214"/>
                      <a:pt x="85385" y="155214"/>
                      <a:pt x="85385" y="15521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C936828E-0482-444D-98E0-B94AA4715E06}"/>
                  </a:ext>
                </a:extLst>
              </p:cNvPr>
              <p:cNvSpPr/>
              <p:nvPr/>
            </p:nvSpPr>
            <p:spPr>
              <a:xfrm>
                <a:off x="-2525539" y="224642"/>
                <a:ext cx="64273" cy="149999"/>
              </a:xfrm>
              <a:custGeom>
                <a:avLst/>
                <a:gdLst>
                  <a:gd name="connsiteX0" fmla="*/ 36923 w 64273"/>
                  <a:gd name="connsiteY0" fmla="*/ 146923 h 149999"/>
                  <a:gd name="connsiteX1" fmla="*/ 0 w 64273"/>
                  <a:gd name="connsiteY1" fmla="*/ 119231 h 149999"/>
                  <a:gd name="connsiteX2" fmla="*/ 3077 w 64273"/>
                  <a:gd name="connsiteY2" fmla="*/ 113077 h 149999"/>
                  <a:gd name="connsiteX3" fmla="*/ 9231 w 64273"/>
                  <a:gd name="connsiteY3" fmla="*/ 116154 h 149999"/>
                  <a:gd name="connsiteX4" fmla="*/ 40000 w 64273"/>
                  <a:gd name="connsiteY4" fmla="*/ 137692 h 149999"/>
                  <a:gd name="connsiteX5" fmla="*/ 49231 w 64273"/>
                  <a:gd name="connsiteY5" fmla="*/ 131538 h 149999"/>
                  <a:gd name="connsiteX6" fmla="*/ 49231 w 64273"/>
                  <a:gd name="connsiteY6" fmla="*/ 119231 h 149999"/>
                  <a:gd name="connsiteX7" fmla="*/ 3077 w 64273"/>
                  <a:gd name="connsiteY7" fmla="*/ 11538 h 149999"/>
                  <a:gd name="connsiteX8" fmla="*/ 3077 w 64273"/>
                  <a:gd name="connsiteY8" fmla="*/ 2308 h 149999"/>
                  <a:gd name="connsiteX9" fmla="*/ 12308 w 64273"/>
                  <a:gd name="connsiteY9" fmla="*/ 2308 h 149999"/>
                  <a:gd name="connsiteX10" fmla="*/ 61538 w 64273"/>
                  <a:gd name="connsiteY10" fmla="*/ 116154 h 149999"/>
                  <a:gd name="connsiteX11" fmla="*/ 61538 w 64273"/>
                  <a:gd name="connsiteY11" fmla="*/ 137692 h 149999"/>
                  <a:gd name="connsiteX12" fmla="*/ 46154 w 64273"/>
                  <a:gd name="connsiteY12" fmla="*/ 150000 h 149999"/>
                  <a:gd name="connsiteX13" fmla="*/ 36923 w 64273"/>
                  <a:gd name="connsiteY13" fmla="*/ 146923 h 149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4273" h="149999">
                    <a:moveTo>
                      <a:pt x="36923" y="146923"/>
                    </a:moveTo>
                    <a:cubicBezTo>
                      <a:pt x="15385" y="146923"/>
                      <a:pt x="0" y="119231"/>
                      <a:pt x="0" y="119231"/>
                    </a:cubicBezTo>
                    <a:cubicBezTo>
                      <a:pt x="0" y="116154"/>
                      <a:pt x="0" y="113077"/>
                      <a:pt x="3077" y="113077"/>
                    </a:cubicBezTo>
                    <a:cubicBezTo>
                      <a:pt x="6154" y="113077"/>
                      <a:pt x="9231" y="113077"/>
                      <a:pt x="9231" y="116154"/>
                    </a:cubicBezTo>
                    <a:cubicBezTo>
                      <a:pt x="9231" y="116154"/>
                      <a:pt x="21538" y="140769"/>
                      <a:pt x="40000" y="137692"/>
                    </a:cubicBezTo>
                    <a:cubicBezTo>
                      <a:pt x="43077" y="137692"/>
                      <a:pt x="46154" y="134615"/>
                      <a:pt x="49231" y="131538"/>
                    </a:cubicBezTo>
                    <a:cubicBezTo>
                      <a:pt x="52308" y="128462"/>
                      <a:pt x="49231" y="119231"/>
                      <a:pt x="49231" y="119231"/>
                    </a:cubicBezTo>
                    <a:cubicBezTo>
                      <a:pt x="49231" y="116154"/>
                      <a:pt x="33846" y="42308"/>
                      <a:pt x="3077" y="11538"/>
                    </a:cubicBezTo>
                    <a:cubicBezTo>
                      <a:pt x="0" y="8461"/>
                      <a:pt x="0" y="5385"/>
                      <a:pt x="3077" y="2308"/>
                    </a:cubicBezTo>
                    <a:cubicBezTo>
                      <a:pt x="6154" y="-769"/>
                      <a:pt x="9231" y="-769"/>
                      <a:pt x="12308" y="2308"/>
                    </a:cubicBezTo>
                    <a:cubicBezTo>
                      <a:pt x="46154" y="36154"/>
                      <a:pt x="61538" y="113077"/>
                      <a:pt x="61538" y="116154"/>
                    </a:cubicBezTo>
                    <a:cubicBezTo>
                      <a:pt x="61538" y="116154"/>
                      <a:pt x="67692" y="128462"/>
                      <a:pt x="61538" y="137692"/>
                    </a:cubicBezTo>
                    <a:cubicBezTo>
                      <a:pt x="58461" y="140769"/>
                      <a:pt x="55384" y="146923"/>
                      <a:pt x="46154" y="150000"/>
                    </a:cubicBezTo>
                    <a:cubicBezTo>
                      <a:pt x="40000" y="146923"/>
                      <a:pt x="40000" y="146923"/>
                      <a:pt x="36923" y="14692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0269035F-DD61-47DD-90B4-29ED555F7BA9}"/>
                  </a:ext>
                </a:extLst>
              </p:cNvPr>
              <p:cNvSpPr/>
              <p:nvPr/>
            </p:nvSpPr>
            <p:spPr>
              <a:xfrm>
                <a:off x="-2475540" y="215411"/>
                <a:ext cx="66581" cy="143846"/>
              </a:xfrm>
              <a:custGeom>
                <a:avLst/>
                <a:gdLst>
                  <a:gd name="connsiteX0" fmla="*/ 36154 w 66581"/>
                  <a:gd name="connsiteY0" fmla="*/ 143846 h 143846"/>
                  <a:gd name="connsiteX1" fmla="*/ 2308 w 66581"/>
                  <a:gd name="connsiteY1" fmla="*/ 128461 h 143846"/>
                  <a:gd name="connsiteX2" fmla="*/ 2308 w 66581"/>
                  <a:gd name="connsiteY2" fmla="*/ 119231 h 143846"/>
                  <a:gd name="connsiteX3" fmla="*/ 11539 w 66581"/>
                  <a:gd name="connsiteY3" fmla="*/ 119231 h 143846"/>
                  <a:gd name="connsiteX4" fmla="*/ 45385 w 66581"/>
                  <a:gd name="connsiteY4" fmla="*/ 128461 h 143846"/>
                  <a:gd name="connsiteX5" fmla="*/ 51538 w 66581"/>
                  <a:gd name="connsiteY5" fmla="*/ 125385 h 143846"/>
                  <a:gd name="connsiteX6" fmla="*/ 51538 w 66581"/>
                  <a:gd name="connsiteY6" fmla="*/ 106923 h 143846"/>
                  <a:gd name="connsiteX7" fmla="*/ 5385 w 66581"/>
                  <a:gd name="connsiteY7" fmla="*/ 11539 h 143846"/>
                  <a:gd name="connsiteX8" fmla="*/ 5385 w 66581"/>
                  <a:gd name="connsiteY8" fmla="*/ 2308 h 143846"/>
                  <a:gd name="connsiteX9" fmla="*/ 14615 w 66581"/>
                  <a:gd name="connsiteY9" fmla="*/ 2308 h 143846"/>
                  <a:gd name="connsiteX10" fmla="*/ 63846 w 66581"/>
                  <a:gd name="connsiteY10" fmla="*/ 103846 h 143846"/>
                  <a:gd name="connsiteX11" fmla="*/ 63846 w 66581"/>
                  <a:gd name="connsiteY11" fmla="*/ 131539 h 143846"/>
                  <a:gd name="connsiteX12" fmla="*/ 51538 w 66581"/>
                  <a:gd name="connsiteY12" fmla="*/ 140769 h 143846"/>
                  <a:gd name="connsiteX13" fmla="*/ 36154 w 66581"/>
                  <a:gd name="connsiteY13" fmla="*/ 143846 h 14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6581" h="143846">
                    <a:moveTo>
                      <a:pt x="36154" y="143846"/>
                    </a:moveTo>
                    <a:cubicBezTo>
                      <a:pt x="17692" y="143846"/>
                      <a:pt x="2308" y="128461"/>
                      <a:pt x="2308" y="128461"/>
                    </a:cubicBezTo>
                    <a:cubicBezTo>
                      <a:pt x="-769" y="125385"/>
                      <a:pt x="-769" y="122308"/>
                      <a:pt x="2308" y="119231"/>
                    </a:cubicBezTo>
                    <a:cubicBezTo>
                      <a:pt x="5385" y="116154"/>
                      <a:pt x="8461" y="116154"/>
                      <a:pt x="11539" y="119231"/>
                    </a:cubicBezTo>
                    <a:cubicBezTo>
                      <a:pt x="11539" y="119231"/>
                      <a:pt x="30000" y="134615"/>
                      <a:pt x="45385" y="128461"/>
                    </a:cubicBezTo>
                    <a:cubicBezTo>
                      <a:pt x="48462" y="128461"/>
                      <a:pt x="48462" y="125385"/>
                      <a:pt x="51538" y="125385"/>
                    </a:cubicBezTo>
                    <a:cubicBezTo>
                      <a:pt x="54615" y="119231"/>
                      <a:pt x="51538" y="110000"/>
                      <a:pt x="51538" y="106923"/>
                    </a:cubicBezTo>
                    <a:cubicBezTo>
                      <a:pt x="45385" y="85385"/>
                      <a:pt x="23846" y="26923"/>
                      <a:pt x="5385" y="11539"/>
                    </a:cubicBezTo>
                    <a:cubicBezTo>
                      <a:pt x="2308" y="8462"/>
                      <a:pt x="2308" y="5385"/>
                      <a:pt x="5385" y="2308"/>
                    </a:cubicBezTo>
                    <a:cubicBezTo>
                      <a:pt x="8461" y="-769"/>
                      <a:pt x="11539" y="-769"/>
                      <a:pt x="14615" y="2308"/>
                    </a:cubicBezTo>
                    <a:cubicBezTo>
                      <a:pt x="36154" y="23846"/>
                      <a:pt x="60769" y="100769"/>
                      <a:pt x="63846" y="103846"/>
                    </a:cubicBezTo>
                    <a:cubicBezTo>
                      <a:pt x="63846" y="103846"/>
                      <a:pt x="70000" y="119231"/>
                      <a:pt x="63846" y="131539"/>
                    </a:cubicBezTo>
                    <a:cubicBezTo>
                      <a:pt x="60769" y="137692"/>
                      <a:pt x="57692" y="140769"/>
                      <a:pt x="51538" y="140769"/>
                    </a:cubicBezTo>
                    <a:cubicBezTo>
                      <a:pt x="42308" y="140769"/>
                      <a:pt x="39231" y="143846"/>
                      <a:pt x="36154" y="14384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E3253650-BB9E-4F6F-AB2C-32B4B8B71C0A}"/>
                  </a:ext>
                </a:extLst>
              </p:cNvPr>
              <p:cNvSpPr/>
              <p:nvPr/>
            </p:nvSpPr>
            <p:spPr>
              <a:xfrm>
                <a:off x="-2428353" y="228752"/>
                <a:ext cx="43447" cy="99735"/>
              </a:xfrm>
              <a:custGeom>
                <a:avLst/>
                <a:gdLst>
                  <a:gd name="connsiteX0" fmla="*/ 19736 w 43447"/>
                  <a:gd name="connsiteY0" fmla="*/ 99736 h 99735"/>
                  <a:gd name="connsiteX1" fmla="*/ 4351 w 43447"/>
                  <a:gd name="connsiteY1" fmla="*/ 96659 h 99735"/>
                  <a:gd name="connsiteX2" fmla="*/ 1274 w 43447"/>
                  <a:gd name="connsiteY2" fmla="*/ 90505 h 99735"/>
                  <a:gd name="connsiteX3" fmla="*/ 7428 w 43447"/>
                  <a:gd name="connsiteY3" fmla="*/ 87428 h 99735"/>
                  <a:gd name="connsiteX4" fmla="*/ 25890 w 43447"/>
                  <a:gd name="connsiteY4" fmla="*/ 87428 h 99735"/>
                  <a:gd name="connsiteX5" fmla="*/ 1274 w 43447"/>
                  <a:gd name="connsiteY5" fmla="*/ 10505 h 99735"/>
                  <a:gd name="connsiteX6" fmla="*/ 4351 w 43447"/>
                  <a:gd name="connsiteY6" fmla="*/ 1274 h 99735"/>
                  <a:gd name="connsiteX7" fmla="*/ 13582 w 43447"/>
                  <a:gd name="connsiteY7" fmla="*/ 4351 h 99735"/>
                  <a:gd name="connsiteX8" fmla="*/ 38197 w 43447"/>
                  <a:gd name="connsiteY8" fmla="*/ 96659 h 99735"/>
                  <a:gd name="connsiteX9" fmla="*/ 19736 w 43447"/>
                  <a:gd name="connsiteY9" fmla="*/ 99736 h 99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447" h="99735">
                    <a:moveTo>
                      <a:pt x="19736" y="99736"/>
                    </a:moveTo>
                    <a:cubicBezTo>
                      <a:pt x="13582" y="99736"/>
                      <a:pt x="4351" y="96659"/>
                      <a:pt x="4351" y="96659"/>
                    </a:cubicBezTo>
                    <a:cubicBezTo>
                      <a:pt x="1274" y="96659"/>
                      <a:pt x="-1802" y="93582"/>
                      <a:pt x="1274" y="90505"/>
                    </a:cubicBezTo>
                    <a:cubicBezTo>
                      <a:pt x="1274" y="87428"/>
                      <a:pt x="4351" y="87428"/>
                      <a:pt x="7428" y="87428"/>
                    </a:cubicBezTo>
                    <a:cubicBezTo>
                      <a:pt x="13582" y="90505"/>
                      <a:pt x="22813" y="90505"/>
                      <a:pt x="25890" y="87428"/>
                    </a:cubicBezTo>
                    <a:cubicBezTo>
                      <a:pt x="32044" y="81274"/>
                      <a:pt x="22813" y="47428"/>
                      <a:pt x="1274" y="10505"/>
                    </a:cubicBezTo>
                    <a:cubicBezTo>
                      <a:pt x="-1802" y="7428"/>
                      <a:pt x="1274" y="4351"/>
                      <a:pt x="4351" y="1274"/>
                    </a:cubicBezTo>
                    <a:cubicBezTo>
                      <a:pt x="7428" y="-1802"/>
                      <a:pt x="10505" y="1274"/>
                      <a:pt x="13582" y="4351"/>
                    </a:cubicBezTo>
                    <a:cubicBezTo>
                      <a:pt x="32044" y="32044"/>
                      <a:pt x="53582" y="81274"/>
                      <a:pt x="38197" y="96659"/>
                    </a:cubicBezTo>
                    <a:cubicBezTo>
                      <a:pt x="28967" y="99736"/>
                      <a:pt x="25890" y="99736"/>
                      <a:pt x="19736" y="9973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9" name="图形 1">
              <a:extLst>
                <a:ext uri="{FF2B5EF4-FFF2-40B4-BE49-F238E27FC236}">
                  <a16:creationId xmlns:a16="http://schemas.microsoft.com/office/drawing/2014/main" id="{6A9FBB76-977F-4E8F-A953-6242255AB314}"/>
                </a:ext>
              </a:extLst>
            </p:cNvPr>
            <p:cNvGrpSpPr/>
            <p:nvPr/>
          </p:nvGrpSpPr>
          <p:grpSpPr>
            <a:xfrm>
              <a:off x="-3042463" y="199233"/>
              <a:ext cx="243414" cy="178485"/>
              <a:chOff x="-3042463" y="199233"/>
              <a:chExt cx="243414" cy="178485"/>
            </a:xfrm>
          </p:grpSpPr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C58AD54F-94F4-4ACD-9474-855DE693AD9B}"/>
                  </a:ext>
                </a:extLst>
              </p:cNvPr>
              <p:cNvSpPr/>
              <p:nvPr/>
            </p:nvSpPr>
            <p:spPr>
              <a:xfrm>
                <a:off x="-3042463" y="209068"/>
                <a:ext cx="234187" cy="159894"/>
              </a:xfrm>
              <a:custGeom>
                <a:avLst/>
                <a:gdLst>
                  <a:gd name="connsiteX0" fmla="*/ 147692 w 234187"/>
                  <a:gd name="connsiteY0" fmla="*/ 5574 h 159894"/>
                  <a:gd name="connsiteX1" fmla="*/ 98461 w 234187"/>
                  <a:gd name="connsiteY1" fmla="*/ 8650 h 159894"/>
                  <a:gd name="connsiteX2" fmla="*/ 55385 w 234187"/>
                  <a:gd name="connsiteY2" fmla="*/ 11727 h 159894"/>
                  <a:gd name="connsiteX3" fmla="*/ 0 w 234187"/>
                  <a:gd name="connsiteY3" fmla="*/ 30189 h 159894"/>
                  <a:gd name="connsiteX4" fmla="*/ 6154 w 234187"/>
                  <a:gd name="connsiteY4" fmla="*/ 45573 h 159894"/>
                  <a:gd name="connsiteX5" fmla="*/ 46154 w 234187"/>
                  <a:gd name="connsiteY5" fmla="*/ 94804 h 159894"/>
                  <a:gd name="connsiteX6" fmla="*/ 64615 w 234187"/>
                  <a:gd name="connsiteY6" fmla="*/ 137881 h 159894"/>
                  <a:gd name="connsiteX7" fmla="*/ 67692 w 234187"/>
                  <a:gd name="connsiteY7" fmla="*/ 140958 h 159894"/>
                  <a:gd name="connsiteX8" fmla="*/ 92308 w 234187"/>
                  <a:gd name="connsiteY8" fmla="*/ 153266 h 159894"/>
                  <a:gd name="connsiteX9" fmla="*/ 107692 w 234187"/>
                  <a:gd name="connsiteY9" fmla="*/ 134804 h 159894"/>
                  <a:gd name="connsiteX10" fmla="*/ 144615 w 234187"/>
                  <a:gd name="connsiteY10" fmla="*/ 159420 h 159894"/>
                  <a:gd name="connsiteX11" fmla="*/ 160000 w 234187"/>
                  <a:gd name="connsiteY11" fmla="*/ 140958 h 159894"/>
                  <a:gd name="connsiteX12" fmla="*/ 200000 w 234187"/>
                  <a:gd name="connsiteY12" fmla="*/ 153266 h 159894"/>
                  <a:gd name="connsiteX13" fmla="*/ 209231 w 234187"/>
                  <a:gd name="connsiteY13" fmla="*/ 134804 h 159894"/>
                  <a:gd name="connsiteX14" fmla="*/ 233846 w 234187"/>
                  <a:gd name="connsiteY14" fmla="*/ 116343 h 159894"/>
                  <a:gd name="connsiteX15" fmla="*/ 147692 w 234187"/>
                  <a:gd name="connsiteY15" fmla="*/ 5574 h 159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34187" h="159894">
                    <a:moveTo>
                      <a:pt x="147692" y="5574"/>
                    </a:moveTo>
                    <a:cubicBezTo>
                      <a:pt x="138462" y="-3657"/>
                      <a:pt x="113846" y="-580"/>
                      <a:pt x="98461" y="8650"/>
                    </a:cubicBezTo>
                    <a:cubicBezTo>
                      <a:pt x="80000" y="2497"/>
                      <a:pt x="70769" y="2497"/>
                      <a:pt x="55385" y="11727"/>
                    </a:cubicBezTo>
                    <a:cubicBezTo>
                      <a:pt x="33846" y="-580"/>
                      <a:pt x="6154" y="-3657"/>
                      <a:pt x="0" y="30189"/>
                    </a:cubicBezTo>
                    <a:cubicBezTo>
                      <a:pt x="0" y="36343"/>
                      <a:pt x="0" y="42497"/>
                      <a:pt x="6154" y="45573"/>
                    </a:cubicBezTo>
                    <a:cubicBezTo>
                      <a:pt x="15385" y="64035"/>
                      <a:pt x="33846" y="79420"/>
                      <a:pt x="46154" y="94804"/>
                    </a:cubicBezTo>
                    <a:cubicBezTo>
                      <a:pt x="55385" y="110189"/>
                      <a:pt x="58462" y="122497"/>
                      <a:pt x="64615" y="137881"/>
                    </a:cubicBezTo>
                    <a:cubicBezTo>
                      <a:pt x="64615" y="137881"/>
                      <a:pt x="64615" y="140958"/>
                      <a:pt x="67692" y="140958"/>
                    </a:cubicBezTo>
                    <a:cubicBezTo>
                      <a:pt x="70769" y="153266"/>
                      <a:pt x="83077" y="156343"/>
                      <a:pt x="92308" y="153266"/>
                    </a:cubicBezTo>
                    <a:cubicBezTo>
                      <a:pt x="101539" y="150189"/>
                      <a:pt x="107692" y="144035"/>
                      <a:pt x="107692" y="134804"/>
                    </a:cubicBezTo>
                    <a:cubicBezTo>
                      <a:pt x="116923" y="150189"/>
                      <a:pt x="126154" y="162497"/>
                      <a:pt x="144615" y="159420"/>
                    </a:cubicBezTo>
                    <a:cubicBezTo>
                      <a:pt x="156923" y="156343"/>
                      <a:pt x="156923" y="153266"/>
                      <a:pt x="160000" y="140958"/>
                    </a:cubicBezTo>
                    <a:cubicBezTo>
                      <a:pt x="160000" y="144035"/>
                      <a:pt x="181539" y="159420"/>
                      <a:pt x="200000" y="153266"/>
                    </a:cubicBezTo>
                    <a:cubicBezTo>
                      <a:pt x="206154" y="150189"/>
                      <a:pt x="209231" y="140958"/>
                      <a:pt x="209231" y="134804"/>
                    </a:cubicBezTo>
                    <a:cubicBezTo>
                      <a:pt x="218462" y="147112"/>
                      <a:pt x="236923" y="134804"/>
                      <a:pt x="233846" y="116343"/>
                    </a:cubicBezTo>
                    <a:cubicBezTo>
                      <a:pt x="224616" y="82497"/>
                      <a:pt x="190769" y="-3657"/>
                      <a:pt x="147692" y="557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D438CBF3-335C-4612-BE47-0DA4AB762077}"/>
                  </a:ext>
                </a:extLst>
              </p:cNvPr>
              <p:cNvSpPr/>
              <p:nvPr/>
            </p:nvSpPr>
            <p:spPr>
              <a:xfrm>
                <a:off x="-2908787" y="199233"/>
                <a:ext cx="109739" cy="73342"/>
              </a:xfrm>
              <a:custGeom>
                <a:avLst/>
                <a:gdLst>
                  <a:gd name="connsiteX0" fmla="*/ 75556 w 109739"/>
                  <a:gd name="connsiteY0" fmla="*/ 3101 h 73342"/>
                  <a:gd name="connsiteX1" fmla="*/ 50940 w 109739"/>
                  <a:gd name="connsiteY1" fmla="*/ 18485 h 73342"/>
                  <a:gd name="connsiteX2" fmla="*/ 10940 w 109739"/>
                  <a:gd name="connsiteY2" fmla="*/ 30793 h 73342"/>
                  <a:gd name="connsiteX3" fmla="*/ 1709 w 109739"/>
                  <a:gd name="connsiteY3" fmla="*/ 55409 h 73342"/>
                  <a:gd name="connsiteX4" fmla="*/ 10940 w 109739"/>
                  <a:gd name="connsiteY4" fmla="*/ 70793 h 73342"/>
                  <a:gd name="connsiteX5" fmla="*/ 72478 w 109739"/>
                  <a:gd name="connsiteY5" fmla="*/ 64639 h 73342"/>
                  <a:gd name="connsiteX6" fmla="*/ 109402 w 109739"/>
                  <a:gd name="connsiteY6" fmla="*/ 27716 h 73342"/>
                  <a:gd name="connsiteX7" fmla="*/ 75556 w 109739"/>
                  <a:gd name="connsiteY7" fmla="*/ 3101 h 73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9739" h="73342">
                    <a:moveTo>
                      <a:pt x="75556" y="3101"/>
                    </a:moveTo>
                    <a:cubicBezTo>
                      <a:pt x="66325" y="9255"/>
                      <a:pt x="60171" y="15409"/>
                      <a:pt x="50940" y="18485"/>
                    </a:cubicBezTo>
                    <a:cubicBezTo>
                      <a:pt x="38632" y="21562"/>
                      <a:pt x="23248" y="24639"/>
                      <a:pt x="10940" y="30793"/>
                    </a:cubicBezTo>
                    <a:cubicBezTo>
                      <a:pt x="-1368" y="33870"/>
                      <a:pt x="-1368" y="46178"/>
                      <a:pt x="1709" y="55409"/>
                    </a:cubicBezTo>
                    <a:cubicBezTo>
                      <a:pt x="1709" y="61562"/>
                      <a:pt x="4786" y="67716"/>
                      <a:pt x="10940" y="70793"/>
                    </a:cubicBezTo>
                    <a:cubicBezTo>
                      <a:pt x="29402" y="76947"/>
                      <a:pt x="54017" y="70793"/>
                      <a:pt x="72478" y="64639"/>
                    </a:cubicBezTo>
                    <a:cubicBezTo>
                      <a:pt x="90940" y="58486"/>
                      <a:pt x="106325" y="49255"/>
                      <a:pt x="109402" y="27716"/>
                    </a:cubicBezTo>
                    <a:cubicBezTo>
                      <a:pt x="112479" y="6178"/>
                      <a:pt x="94017" y="-6130"/>
                      <a:pt x="75556" y="310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972F3C0C-D964-419B-AF7F-FF5157B2E16E}"/>
                  </a:ext>
                </a:extLst>
              </p:cNvPr>
              <p:cNvSpPr/>
              <p:nvPr/>
            </p:nvSpPr>
            <p:spPr>
              <a:xfrm>
                <a:off x="-2943232" y="224642"/>
                <a:ext cx="119230" cy="146923"/>
              </a:xfrm>
              <a:custGeom>
                <a:avLst/>
                <a:gdLst>
                  <a:gd name="connsiteX0" fmla="*/ 88462 w 119230"/>
                  <a:gd name="connsiteY0" fmla="*/ 146923 h 146923"/>
                  <a:gd name="connsiteX1" fmla="*/ 51539 w 119230"/>
                  <a:gd name="connsiteY1" fmla="*/ 131538 h 146923"/>
                  <a:gd name="connsiteX2" fmla="*/ 48462 w 119230"/>
                  <a:gd name="connsiteY2" fmla="*/ 128462 h 146923"/>
                  <a:gd name="connsiteX3" fmla="*/ 2308 w 119230"/>
                  <a:gd name="connsiteY3" fmla="*/ 11538 h 146923"/>
                  <a:gd name="connsiteX4" fmla="*/ 2308 w 119230"/>
                  <a:gd name="connsiteY4" fmla="*/ 2308 h 146923"/>
                  <a:gd name="connsiteX5" fmla="*/ 11538 w 119230"/>
                  <a:gd name="connsiteY5" fmla="*/ 2308 h 146923"/>
                  <a:gd name="connsiteX6" fmla="*/ 63846 w 119230"/>
                  <a:gd name="connsiteY6" fmla="*/ 125385 h 146923"/>
                  <a:gd name="connsiteX7" fmla="*/ 91538 w 119230"/>
                  <a:gd name="connsiteY7" fmla="*/ 137692 h 146923"/>
                  <a:gd name="connsiteX8" fmla="*/ 103846 w 119230"/>
                  <a:gd name="connsiteY8" fmla="*/ 122308 h 146923"/>
                  <a:gd name="connsiteX9" fmla="*/ 57692 w 119230"/>
                  <a:gd name="connsiteY9" fmla="*/ 14615 h 146923"/>
                  <a:gd name="connsiteX10" fmla="*/ 60769 w 119230"/>
                  <a:gd name="connsiteY10" fmla="*/ 5385 h 146923"/>
                  <a:gd name="connsiteX11" fmla="*/ 70000 w 119230"/>
                  <a:gd name="connsiteY11" fmla="*/ 8461 h 146923"/>
                  <a:gd name="connsiteX12" fmla="*/ 119231 w 119230"/>
                  <a:gd name="connsiteY12" fmla="*/ 122308 h 146923"/>
                  <a:gd name="connsiteX13" fmla="*/ 119231 w 119230"/>
                  <a:gd name="connsiteY13" fmla="*/ 125385 h 146923"/>
                  <a:gd name="connsiteX14" fmla="*/ 88462 w 119230"/>
                  <a:gd name="connsiteY14" fmla="*/ 146923 h 146923"/>
                  <a:gd name="connsiteX15" fmla="*/ 88462 w 119230"/>
                  <a:gd name="connsiteY15" fmla="*/ 146923 h 14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9230" h="146923">
                    <a:moveTo>
                      <a:pt x="88462" y="146923"/>
                    </a:moveTo>
                    <a:cubicBezTo>
                      <a:pt x="73077" y="146923"/>
                      <a:pt x="54615" y="131538"/>
                      <a:pt x="51539" y="131538"/>
                    </a:cubicBezTo>
                    <a:cubicBezTo>
                      <a:pt x="51539" y="131538"/>
                      <a:pt x="48462" y="128462"/>
                      <a:pt x="48462" y="128462"/>
                    </a:cubicBezTo>
                    <a:cubicBezTo>
                      <a:pt x="48462" y="128462"/>
                      <a:pt x="39231" y="45385"/>
                      <a:pt x="2308" y="11538"/>
                    </a:cubicBezTo>
                    <a:cubicBezTo>
                      <a:pt x="-769" y="8461"/>
                      <a:pt x="-769" y="5385"/>
                      <a:pt x="2308" y="2308"/>
                    </a:cubicBezTo>
                    <a:cubicBezTo>
                      <a:pt x="5385" y="-769"/>
                      <a:pt x="8462" y="-769"/>
                      <a:pt x="11538" y="2308"/>
                    </a:cubicBezTo>
                    <a:cubicBezTo>
                      <a:pt x="48462" y="36154"/>
                      <a:pt x="60769" y="110000"/>
                      <a:pt x="63846" y="125385"/>
                    </a:cubicBezTo>
                    <a:cubicBezTo>
                      <a:pt x="70000" y="128462"/>
                      <a:pt x="82308" y="137692"/>
                      <a:pt x="91538" y="137692"/>
                    </a:cubicBezTo>
                    <a:cubicBezTo>
                      <a:pt x="100769" y="137692"/>
                      <a:pt x="103846" y="125385"/>
                      <a:pt x="103846" y="122308"/>
                    </a:cubicBezTo>
                    <a:cubicBezTo>
                      <a:pt x="94616" y="70000"/>
                      <a:pt x="57692" y="14615"/>
                      <a:pt x="57692" y="14615"/>
                    </a:cubicBezTo>
                    <a:cubicBezTo>
                      <a:pt x="54615" y="11538"/>
                      <a:pt x="57692" y="8461"/>
                      <a:pt x="60769" y="5385"/>
                    </a:cubicBezTo>
                    <a:cubicBezTo>
                      <a:pt x="63846" y="2308"/>
                      <a:pt x="66923" y="5385"/>
                      <a:pt x="70000" y="8461"/>
                    </a:cubicBezTo>
                    <a:cubicBezTo>
                      <a:pt x="73077" y="11538"/>
                      <a:pt x="106923" y="66923"/>
                      <a:pt x="119231" y="122308"/>
                    </a:cubicBezTo>
                    <a:cubicBezTo>
                      <a:pt x="119231" y="122308"/>
                      <a:pt x="119231" y="122308"/>
                      <a:pt x="119231" y="125385"/>
                    </a:cubicBezTo>
                    <a:cubicBezTo>
                      <a:pt x="113077" y="128462"/>
                      <a:pt x="106923" y="143846"/>
                      <a:pt x="88462" y="146923"/>
                    </a:cubicBezTo>
                    <a:cubicBezTo>
                      <a:pt x="91538" y="146923"/>
                      <a:pt x="91538" y="146923"/>
                      <a:pt x="88462" y="14692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61F5DBF8-4CAC-451A-AEEC-EB3DFC7CFB43}"/>
                  </a:ext>
                </a:extLst>
              </p:cNvPr>
              <p:cNvSpPr/>
              <p:nvPr/>
            </p:nvSpPr>
            <p:spPr>
              <a:xfrm>
                <a:off x="-2991523" y="219428"/>
                <a:ext cx="113504" cy="158290"/>
              </a:xfrm>
              <a:custGeom>
                <a:avLst/>
                <a:gdLst>
                  <a:gd name="connsiteX0" fmla="*/ 84445 w 113504"/>
                  <a:gd name="connsiteY0" fmla="*/ 158291 h 158290"/>
                  <a:gd name="connsiteX1" fmla="*/ 47521 w 113504"/>
                  <a:gd name="connsiteY1" fmla="*/ 130598 h 158290"/>
                  <a:gd name="connsiteX2" fmla="*/ 47521 w 113504"/>
                  <a:gd name="connsiteY2" fmla="*/ 127521 h 158290"/>
                  <a:gd name="connsiteX3" fmla="*/ 1368 w 113504"/>
                  <a:gd name="connsiteY3" fmla="*/ 10598 h 158290"/>
                  <a:gd name="connsiteX4" fmla="*/ 1368 w 113504"/>
                  <a:gd name="connsiteY4" fmla="*/ 1368 h 158290"/>
                  <a:gd name="connsiteX5" fmla="*/ 10598 w 113504"/>
                  <a:gd name="connsiteY5" fmla="*/ 1368 h 158290"/>
                  <a:gd name="connsiteX6" fmla="*/ 59829 w 113504"/>
                  <a:gd name="connsiteY6" fmla="*/ 124444 h 158290"/>
                  <a:gd name="connsiteX7" fmla="*/ 90598 w 113504"/>
                  <a:gd name="connsiteY7" fmla="*/ 145983 h 158290"/>
                  <a:gd name="connsiteX8" fmla="*/ 102906 w 113504"/>
                  <a:gd name="connsiteY8" fmla="*/ 139829 h 158290"/>
                  <a:gd name="connsiteX9" fmla="*/ 102906 w 113504"/>
                  <a:gd name="connsiteY9" fmla="*/ 133675 h 158290"/>
                  <a:gd name="connsiteX10" fmla="*/ 105983 w 113504"/>
                  <a:gd name="connsiteY10" fmla="*/ 127521 h 158290"/>
                  <a:gd name="connsiteX11" fmla="*/ 112137 w 113504"/>
                  <a:gd name="connsiteY11" fmla="*/ 130598 h 158290"/>
                  <a:gd name="connsiteX12" fmla="*/ 112137 w 113504"/>
                  <a:gd name="connsiteY12" fmla="*/ 145983 h 158290"/>
                  <a:gd name="connsiteX13" fmla="*/ 93675 w 113504"/>
                  <a:gd name="connsiteY13" fmla="*/ 158291 h 158290"/>
                  <a:gd name="connsiteX14" fmla="*/ 84445 w 113504"/>
                  <a:gd name="connsiteY14" fmla="*/ 158291 h 158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3504" h="158290">
                    <a:moveTo>
                      <a:pt x="84445" y="158291"/>
                    </a:moveTo>
                    <a:cubicBezTo>
                      <a:pt x="62906" y="158291"/>
                      <a:pt x="47521" y="130598"/>
                      <a:pt x="47521" y="130598"/>
                    </a:cubicBezTo>
                    <a:cubicBezTo>
                      <a:pt x="47521" y="130598"/>
                      <a:pt x="47521" y="127521"/>
                      <a:pt x="47521" y="127521"/>
                    </a:cubicBezTo>
                    <a:cubicBezTo>
                      <a:pt x="50598" y="75214"/>
                      <a:pt x="1368" y="10598"/>
                      <a:pt x="1368" y="10598"/>
                    </a:cubicBezTo>
                    <a:cubicBezTo>
                      <a:pt x="-1709" y="7521"/>
                      <a:pt x="1368" y="4444"/>
                      <a:pt x="1368" y="1368"/>
                    </a:cubicBezTo>
                    <a:cubicBezTo>
                      <a:pt x="4445" y="-1709"/>
                      <a:pt x="7521" y="1368"/>
                      <a:pt x="10598" y="1368"/>
                    </a:cubicBezTo>
                    <a:cubicBezTo>
                      <a:pt x="13675" y="4444"/>
                      <a:pt x="59829" y="69060"/>
                      <a:pt x="59829" y="124444"/>
                    </a:cubicBezTo>
                    <a:cubicBezTo>
                      <a:pt x="62906" y="130598"/>
                      <a:pt x="75214" y="149060"/>
                      <a:pt x="90598" y="145983"/>
                    </a:cubicBezTo>
                    <a:cubicBezTo>
                      <a:pt x="96752" y="145983"/>
                      <a:pt x="99829" y="142906"/>
                      <a:pt x="102906" y="139829"/>
                    </a:cubicBezTo>
                    <a:cubicBezTo>
                      <a:pt x="102906" y="136752"/>
                      <a:pt x="102906" y="133675"/>
                      <a:pt x="102906" y="133675"/>
                    </a:cubicBezTo>
                    <a:cubicBezTo>
                      <a:pt x="102906" y="130598"/>
                      <a:pt x="102906" y="127521"/>
                      <a:pt x="105983" y="127521"/>
                    </a:cubicBezTo>
                    <a:cubicBezTo>
                      <a:pt x="109060" y="127521"/>
                      <a:pt x="112137" y="127521"/>
                      <a:pt x="112137" y="130598"/>
                    </a:cubicBezTo>
                    <a:cubicBezTo>
                      <a:pt x="112137" y="130598"/>
                      <a:pt x="115214" y="136752"/>
                      <a:pt x="112137" y="145983"/>
                    </a:cubicBezTo>
                    <a:cubicBezTo>
                      <a:pt x="109060" y="152137"/>
                      <a:pt x="102906" y="155214"/>
                      <a:pt x="93675" y="158291"/>
                    </a:cubicBezTo>
                    <a:cubicBezTo>
                      <a:pt x="90598" y="158291"/>
                      <a:pt x="87521" y="158291"/>
                      <a:pt x="84445" y="15829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C0767B62-F0B1-45CF-BF98-6059C8316338}"/>
                  </a:ext>
                </a:extLst>
              </p:cNvPr>
              <p:cNvSpPr/>
              <p:nvPr/>
            </p:nvSpPr>
            <p:spPr>
              <a:xfrm>
                <a:off x="-3038617" y="261565"/>
                <a:ext cx="105213" cy="109999"/>
              </a:xfrm>
              <a:custGeom>
                <a:avLst/>
                <a:gdLst>
                  <a:gd name="connsiteX0" fmla="*/ 76154 w 105213"/>
                  <a:gd name="connsiteY0" fmla="*/ 110000 h 109999"/>
                  <a:gd name="connsiteX1" fmla="*/ 76154 w 105213"/>
                  <a:gd name="connsiteY1" fmla="*/ 110000 h 109999"/>
                  <a:gd name="connsiteX2" fmla="*/ 51539 w 105213"/>
                  <a:gd name="connsiteY2" fmla="*/ 82308 h 109999"/>
                  <a:gd name="connsiteX3" fmla="*/ 33077 w 105213"/>
                  <a:gd name="connsiteY3" fmla="*/ 48462 h 109999"/>
                  <a:gd name="connsiteX4" fmla="*/ 2308 w 105213"/>
                  <a:gd name="connsiteY4" fmla="*/ 11539 h 109999"/>
                  <a:gd name="connsiteX5" fmla="*/ 2308 w 105213"/>
                  <a:gd name="connsiteY5" fmla="*/ 2308 h 109999"/>
                  <a:gd name="connsiteX6" fmla="*/ 11539 w 105213"/>
                  <a:gd name="connsiteY6" fmla="*/ 2308 h 109999"/>
                  <a:gd name="connsiteX7" fmla="*/ 42308 w 105213"/>
                  <a:gd name="connsiteY7" fmla="*/ 39231 h 109999"/>
                  <a:gd name="connsiteX8" fmla="*/ 60769 w 105213"/>
                  <a:gd name="connsiteY8" fmla="*/ 73077 h 109999"/>
                  <a:gd name="connsiteX9" fmla="*/ 73077 w 105213"/>
                  <a:gd name="connsiteY9" fmla="*/ 94615 h 109999"/>
                  <a:gd name="connsiteX10" fmla="*/ 73077 w 105213"/>
                  <a:gd name="connsiteY10" fmla="*/ 94615 h 109999"/>
                  <a:gd name="connsiteX11" fmla="*/ 91538 w 105213"/>
                  <a:gd name="connsiteY11" fmla="*/ 79231 h 109999"/>
                  <a:gd name="connsiteX12" fmla="*/ 94615 w 105213"/>
                  <a:gd name="connsiteY12" fmla="*/ 76154 h 109999"/>
                  <a:gd name="connsiteX13" fmla="*/ 103846 w 105213"/>
                  <a:gd name="connsiteY13" fmla="*/ 76154 h 109999"/>
                  <a:gd name="connsiteX14" fmla="*/ 103846 w 105213"/>
                  <a:gd name="connsiteY14" fmla="*/ 88462 h 109999"/>
                  <a:gd name="connsiteX15" fmla="*/ 76154 w 105213"/>
                  <a:gd name="connsiteY15" fmla="*/ 110000 h 109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5213" h="109999">
                    <a:moveTo>
                      <a:pt x="76154" y="110000"/>
                    </a:moveTo>
                    <a:cubicBezTo>
                      <a:pt x="76154" y="110000"/>
                      <a:pt x="76154" y="110000"/>
                      <a:pt x="76154" y="110000"/>
                    </a:cubicBezTo>
                    <a:cubicBezTo>
                      <a:pt x="63846" y="110000"/>
                      <a:pt x="57692" y="97692"/>
                      <a:pt x="51539" y="82308"/>
                    </a:cubicBezTo>
                    <a:cubicBezTo>
                      <a:pt x="48462" y="73077"/>
                      <a:pt x="42308" y="60769"/>
                      <a:pt x="33077" y="48462"/>
                    </a:cubicBezTo>
                    <a:cubicBezTo>
                      <a:pt x="14615" y="26923"/>
                      <a:pt x="2308" y="11539"/>
                      <a:pt x="2308" y="11539"/>
                    </a:cubicBezTo>
                    <a:cubicBezTo>
                      <a:pt x="-769" y="8462"/>
                      <a:pt x="-769" y="5385"/>
                      <a:pt x="2308" y="2308"/>
                    </a:cubicBezTo>
                    <a:cubicBezTo>
                      <a:pt x="5385" y="-769"/>
                      <a:pt x="8462" y="-769"/>
                      <a:pt x="11539" y="2308"/>
                    </a:cubicBezTo>
                    <a:cubicBezTo>
                      <a:pt x="11539" y="2308"/>
                      <a:pt x="23846" y="17692"/>
                      <a:pt x="42308" y="39231"/>
                    </a:cubicBezTo>
                    <a:cubicBezTo>
                      <a:pt x="51539" y="48462"/>
                      <a:pt x="57692" y="63846"/>
                      <a:pt x="60769" y="73077"/>
                    </a:cubicBezTo>
                    <a:cubicBezTo>
                      <a:pt x="63846" y="82308"/>
                      <a:pt x="70000" y="94615"/>
                      <a:pt x="73077" y="94615"/>
                    </a:cubicBezTo>
                    <a:cubicBezTo>
                      <a:pt x="73077" y="94615"/>
                      <a:pt x="73077" y="94615"/>
                      <a:pt x="73077" y="94615"/>
                    </a:cubicBezTo>
                    <a:cubicBezTo>
                      <a:pt x="85385" y="94615"/>
                      <a:pt x="91538" y="82308"/>
                      <a:pt x="91538" y="79231"/>
                    </a:cubicBezTo>
                    <a:cubicBezTo>
                      <a:pt x="91538" y="76154"/>
                      <a:pt x="91538" y="76154"/>
                      <a:pt x="94615" y="76154"/>
                    </a:cubicBezTo>
                    <a:cubicBezTo>
                      <a:pt x="97692" y="73077"/>
                      <a:pt x="100769" y="76154"/>
                      <a:pt x="103846" y="76154"/>
                    </a:cubicBezTo>
                    <a:cubicBezTo>
                      <a:pt x="106923" y="79231"/>
                      <a:pt x="103846" y="82308"/>
                      <a:pt x="103846" y="88462"/>
                    </a:cubicBezTo>
                    <a:cubicBezTo>
                      <a:pt x="100769" y="97692"/>
                      <a:pt x="91538" y="110000"/>
                      <a:pt x="76154" y="1100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0" name="图形 1">
              <a:extLst>
                <a:ext uri="{FF2B5EF4-FFF2-40B4-BE49-F238E27FC236}">
                  <a16:creationId xmlns:a16="http://schemas.microsoft.com/office/drawing/2014/main" id="{09A19181-5B02-4895-8149-F36583BA372A}"/>
                </a:ext>
              </a:extLst>
            </p:cNvPr>
            <p:cNvGrpSpPr/>
            <p:nvPr/>
          </p:nvGrpSpPr>
          <p:grpSpPr>
            <a:xfrm>
              <a:off x="-3651363" y="-43491"/>
              <a:ext cx="162746" cy="138133"/>
              <a:chOff x="-3651363" y="-43491"/>
              <a:chExt cx="162746" cy="138133"/>
            </a:xfrm>
          </p:grpSpPr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D2E3323E-DD5A-4A5C-8ED1-ACAA66EBD567}"/>
                  </a:ext>
                </a:extLst>
              </p:cNvPr>
              <p:cNvSpPr/>
              <p:nvPr/>
            </p:nvSpPr>
            <p:spPr>
              <a:xfrm>
                <a:off x="-3651363" y="-43491"/>
                <a:ext cx="162746" cy="132763"/>
              </a:xfrm>
              <a:custGeom>
                <a:avLst/>
                <a:gdLst>
                  <a:gd name="connsiteX0" fmla="*/ 125823 w 162746"/>
                  <a:gd name="connsiteY0" fmla="*/ 125826 h 132763"/>
                  <a:gd name="connsiteX1" fmla="*/ 101208 w 162746"/>
                  <a:gd name="connsiteY1" fmla="*/ 122749 h 132763"/>
                  <a:gd name="connsiteX2" fmla="*/ 91977 w 162746"/>
                  <a:gd name="connsiteY2" fmla="*/ 131980 h 132763"/>
                  <a:gd name="connsiteX3" fmla="*/ 51977 w 162746"/>
                  <a:gd name="connsiteY3" fmla="*/ 116595 h 132763"/>
                  <a:gd name="connsiteX4" fmla="*/ 48900 w 162746"/>
                  <a:gd name="connsiteY4" fmla="*/ 113518 h 132763"/>
                  <a:gd name="connsiteX5" fmla="*/ 45823 w 162746"/>
                  <a:gd name="connsiteY5" fmla="*/ 113518 h 132763"/>
                  <a:gd name="connsiteX6" fmla="*/ 8900 w 162746"/>
                  <a:gd name="connsiteY6" fmla="*/ 98134 h 132763"/>
                  <a:gd name="connsiteX7" fmla="*/ 2746 w 162746"/>
                  <a:gd name="connsiteY7" fmla="*/ 85826 h 132763"/>
                  <a:gd name="connsiteX8" fmla="*/ 2746 w 162746"/>
                  <a:gd name="connsiteY8" fmla="*/ 73518 h 132763"/>
                  <a:gd name="connsiteX9" fmla="*/ 8900 w 162746"/>
                  <a:gd name="connsiteY9" fmla="*/ 5826 h 132763"/>
                  <a:gd name="connsiteX10" fmla="*/ 42746 w 162746"/>
                  <a:gd name="connsiteY10" fmla="*/ 5826 h 132763"/>
                  <a:gd name="connsiteX11" fmla="*/ 55054 w 162746"/>
                  <a:gd name="connsiteY11" fmla="*/ 21210 h 132763"/>
                  <a:gd name="connsiteX12" fmla="*/ 85823 w 162746"/>
                  <a:gd name="connsiteY12" fmla="*/ 21210 h 132763"/>
                  <a:gd name="connsiteX13" fmla="*/ 95054 w 162746"/>
                  <a:gd name="connsiteY13" fmla="*/ 33518 h 132763"/>
                  <a:gd name="connsiteX14" fmla="*/ 122746 w 162746"/>
                  <a:gd name="connsiteY14" fmla="*/ 33518 h 132763"/>
                  <a:gd name="connsiteX15" fmla="*/ 131977 w 162746"/>
                  <a:gd name="connsiteY15" fmla="*/ 48903 h 132763"/>
                  <a:gd name="connsiteX16" fmla="*/ 153515 w 162746"/>
                  <a:gd name="connsiteY16" fmla="*/ 48903 h 132763"/>
                  <a:gd name="connsiteX17" fmla="*/ 162746 w 162746"/>
                  <a:gd name="connsiteY17" fmla="*/ 70441 h 132763"/>
                  <a:gd name="connsiteX18" fmla="*/ 162746 w 162746"/>
                  <a:gd name="connsiteY18" fmla="*/ 98134 h 132763"/>
                  <a:gd name="connsiteX19" fmla="*/ 153515 w 162746"/>
                  <a:gd name="connsiteY19" fmla="*/ 116595 h 132763"/>
                  <a:gd name="connsiteX20" fmla="*/ 131977 w 162746"/>
                  <a:gd name="connsiteY20" fmla="*/ 110441 h 132763"/>
                  <a:gd name="connsiteX21" fmla="*/ 125823 w 162746"/>
                  <a:gd name="connsiteY21" fmla="*/ 125826 h 132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62746" h="132763">
                    <a:moveTo>
                      <a:pt x="125823" y="125826"/>
                    </a:moveTo>
                    <a:cubicBezTo>
                      <a:pt x="116592" y="128903"/>
                      <a:pt x="110439" y="125826"/>
                      <a:pt x="101208" y="122749"/>
                    </a:cubicBezTo>
                    <a:cubicBezTo>
                      <a:pt x="98131" y="125826"/>
                      <a:pt x="95054" y="128903"/>
                      <a:pt x="91977" y="131980"/>
                    </a:cubicBezTo>
                    <a:cubicBezTo>
                      <a:pt x="76592" y="135057"/>
                      <a:pt x="61208" y="128903"/>
                      <a:pt x="51977" y="116595"/>
                    </a:cubicBezTo>
                    <a:cubicBezTo>
                      <a:pt x="51977" y="116595"/>
                      <a:pt x="51977" y="113518"/>
                      <a:pt x="48900" y="113518"/>
                    </a:cubicBezTo>
                    <a:cubicBezTo>
                      <a:pt x="48900" y="113518"/>
                      <a:pt x="48900" y="113518"/>
                      <a:pt x="45823" y="113518"/>
                    </a:cubicBezTo>
                    <a:cubicBezTo>
                      <a:pt x="30439" y="116595"/>
                      <a:pt x="15054" y="110441"/>
                      <a:pt x="8900" y="98134"/>
                    </a:cubicBezTo>
                    <a:cubicBezTo>
                      <a:pt x="5823" y="95057"/>
                      <a:pt x="5823" y="91980"/>
                      <a:pt x="2746" y="85826"/>
                    </a:cubicBezTo>
                    <a:cubicBezTo>
                      <a:pt x="2746" y="82749"/>
                      <a:pt x="2746" y="76595"/>
                      <a:pt x="2746" y="73518"/>
                    </a:cubicBezTo>
                    <a:cubicBezTo>
                      <a:pt x="2746" y="48903"/>
                      <a:pt x="-6484" y="21210"/>
                      <a:pt x="8900" y="5826"/>
                    </a:cubicBezTo>
                    <a:cubicBezTo>
                      <a:pt x="15054" y="-328"/>
                      <a:pt x="30439" y="-3405"/>
                      <a:pt x="42746" y="5826"/>
                    </a:cubicBezTo>
                    <a:cubicBezTo>
                      <a:pt x="48900" y="8903"/>
                      <a:pt x="51977" y="15057"/>
                      <a:pt x="55054" y="21210"/>
                    </a:cubicBezTo>
                    <a:cubicBezTo>
                      <a:pt x="64285" y="15057"/>
                      <a:pt x="73516" y="15057"/>
                      <a:pt x="85823" y="21210"/>
                    </a:cubicBezTo>
                    <a:cubicBezTo>
                      <a:pt x="91977" y="24287"/>
                      <a:pt x="95054" y="27364"/>
                      <a:pt x="95054" y="33518"/>
                    </a:cubicBezTo>
                    <a:cubicBezTo>
                      <a:pt x="101208" y="27364"/>
                      <a:pt x="113516" y="27364"/>
                      <a:pt x="122746" y="33518"/>
                    </a:cubicBezTo>
                    <a:cubicBezTo>
                      <a:pt x="128900" y="36595"/>
                      <a:pt x="131977" y="42749"/>
                      <a:pt x="131977" y="48903"/>
                    </a:cubicBezTo>
                    <a:cubicBezTo>
                      <a:pt x="138131" y="45826"/>
                      <a:pt x="144285" y="42749"/>
                      <a:pt x="153515" y="48903"/>
                    </a:cubicBezTo>
                    <a:cubicBezTo>
                      <a:pt x="162746" y="55057"/>
                      <a:pt x="159669" y="61210"/>
                      <a:pt x="162746" y="70441"/>
                    </a:cubicBezTo>
                    <a:cubicBezTo>
                      <a:pt x="162746" y="79672"/>
                      <a:pt x="162746" y="88903"/>
                      <a:pt x="162746" y="98134"/>
                    </a:cubicBezTo>
                    <a:cubicBezTo>
                      <a:pt x="162746" y="104287"/>
                      <a:pt x="162746" y="116595"/>
                      <a:pt x="153515" y="116595"/>
                    </a:cubicBezTo>
                    <a:cubicBezTo>
                      <a:pt x="147362" y="119672"/>
                      <a:pt x="138131" y="116595"/>
                      <a:pt x="131977" y="110441"/>
                    </a:cubicBezTo>
                    <a:cubicBezTo>
                      <a:pt x="135054" y="119672"/>
                      <a:pt x="131977" y="125826"/>
                      <a:pt x="125823" y="12582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6E2D7056-C526-469E-8A77-59B503908671}"/>
                  </a:ext>
                </a:extLst>
              </p:cNvPr>
              <p:cNvSpPr/>
              <p:nvPr/>
            </p:nvSpPr>
            <p:spPr>
              <a:xfrm>
                <a:off x="-3649601" y="-32786"/>
                <a:ext cx="111753" cy="127428"/>
              </a:xfrm>
              <a:custGeom>
                <a:avLst/>
                <a:gdLst>
                  <a:gd name="connsiteX0" fmla="*/ 80985 w 111753"/>
                  <a:gd name="connsiteY0" fmla="*/ 127428 h 127428"/>
                  <a:gd name="connsiteX1" fmla="*/ 80985 w 111753"/>
                  <a:gd name="connsiteY1" fmla="*/ 127428 h 127428"/>
                  <a:gd name="connsiteX2" fmla="*/ 44061 w 111753"/>
                  <a:gd name="connsiteY2" fmla="*/ 108967 h 127428"/>
                  <a:gd name="connsiteX3" fmla="*/ 31754 w 111753"/>
                  <a:gd name="connsiteY3" fmla="*/ 108967 h 127428"/>
                  <a:gd name="connsiteX4" fmla="*/ 13292 w 111753"/>
                  <a:gd name="connsiteY4" fmla="*/ 99736 h 127428"/>
                  <a:gd name="connsiteX5" fmla="*/ 985 w 111753"/>
                  <a:gd name="connsiteY5" fmla="*/ 22813 h 127428"/>
                  <a:gd name="connsiteX6" fmla="*/ 7138 w 111753"/>
                  <a:gd name="connsiteY6" fmla="*/ 16659 h 127428"/>
                  <a:gd name="connsiteX7" fmla="*/ 13292 w 111753"/>
                  <a:gd name="connsiteY7" fmla="*/ 22813 h 127428"/>
                  <a:gd name="connsiteX8" fmla="*/ 22523 w 111753"/>
                  <a:gd name="connsiteY8" fmla="*/ 90505 h 127428"/>
                  <a:gd name="connsiteX9" fmla="*/ 34831 w 111753"/>
                  <a:gd name="connsiteY9" fmla="*/ 96659 h 127428"/>
                  <a:gd name="connsiteX10" fmla="*/ 50215 w 111753"/>
                  <a:gd name="connsiteY10" fmla="*/ 90505 h 127428"/>
                  <a:gd name="connsiteX11" fmla="*/ 53292 w 111753"/>
                  <a:gd name="connsiteY11" fmla="*/ 13582 h 127428"/>
                  <a:gd name="connsiteX12" fmla="*/ 56369 w 111753"/>
                  <a:gd name="connsiteY12" fmla="*/ 4351 h 127428"/>
                  <a:gd name="connsiteX13" fmla="*/ 77908 w 111753"/>
                  <a:gd name="connsiteY13" fmla="*/ 1274 h 127428"/>
                  <a:gd name="connsiteX14" fmla="*/ 111754 w 111753"/>
                  <a:gd name="connsiteY14" fmla="*/ 78198 h 127428"/>
                  <a:gd name="connsiteX15" fmla="*/ 80985 w 111753"/>
                  <a:gd name="connsiteY15" fmla="*/ 127428 h 127428"/>
                  <a:gd name="connsiteX16" fmla="*/ 53292 w 111753"/>
                  <a:gd name="connsiteY16" fmla="*/ 102813 h 127428"/>
                  <a:gd name="connsiteX17" fmla="*/ 80985 w 111753"/>
                  <a:gd name="connsiteY17" fmla="*/ 115121 h 127428"/>
                  <a:gd name="connsiteX18" fmla="*/ 80985 w 111753"/>
                  <a:gd name="connsiteY18" fmla="*/ 115121 h 127428"/>
                  <a:gd name="connsiteX19" fmla="*/ 93292 w 111753"/>
                  <a:gd name="connsiteY19" fmla="*/ 78198 h 127428"/>
                  <a:gd name="connsiteX20" fmla="*/ 68677 w 111753"/>
                  <a:gd name="connsiteY20" fmla="*/ 13582 h 127428"/>
                  <a:gd name="connsiteX21" fmla="*/ 56369 w 111753"/>
                  <a:gd name="connsiteY21" fmla="*/ 13582 h 127428"/>
                  <a:gd name="connsiteX22" fmla="*/ 53292 w 111753"/>
                  <a:gd name="connsiteY22" fmla="*/ 102813 h 127428"/>
                  <a:gd name="connsiteX23" fmla="*/ 53292 w 111753"/>
                  <a:gd name="connsiteY23" fmla="*/ 102813 h 12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11753" h="127428">
                    <a:moveTo>
                      <a:pt x="80985" y="127428"/>
                    </a:moveTo>
                    <a:cubicBezTo>
                      <a:pt x="80985" y="127428"/>
                      <a:pt x="80985" y="127428"/>
                      <a:pt x="80985" y="127428"/>
                    </a:cubicBezTo>
                    <a:cubicBezTo>
                      <a:pt x="62523" y="127428"/>
                      <a:pt x="44061" y="108967"/>
                      <a:pt x="44061" y="108967"/>
                    </a:cubicBezTo>
                    <a:cubicBezTo>
                      <a:pt x="37908" y="108967"/>
                      <a:pt x="34831" y="108967"/>
                      <a:pt x="31754" y="108967"/>
                    </a:cubicBezTo>
                    <a:cubicBezTo>
                      <a:pt x="22523" y="108967"/>
                      <a:pt x="16369" y="105890"/>
                      <a:pt x="13292" y="99736"/>
                    </a:cubicBezTo>
                    <a:cubicBezTo>
                      <a:pt x="-5169" y="78198"/>
                      <a:pt x="985" y="28967"/>
                      <a:pt x="985" y="22813"/>
                    </a:cubicBezTo>
                    <a:cubicBezTo>
                      <a:pt x="985" y="19736"/>
                      <a:pt x="4062" y="16659"/>
                      <a:pt x="7138" y="16659"/>
                    </a:cubicBezTo>
                    <a:cubicBezTo>
                      <a:pt x="10215" y="16659"/>
                      <a:pt x="13292" y="19736"/>
                      <a:pt x="13292" y="22813"/>
                    </a:cubicBezTo>
                    <a:cubicBezTo>
                      <a:pt x="10215" y="38198"/>
                      <a:pt x="10215" y="75121"/>
                      <a:pt x="22523" y="90505"/>
                    </a:cubicBezTo>
                    <a:cubicBezTo>
                      <a:pt x="25600" y="93582"/>
                      <a:pt x="28677" y="96659"/>
                      <a:pt x="34831" y="96659"/>
                    </a:cubicBezTo>
                    <a:cubicBezTo>
                      <a:pt x="40985" y="96659"/>
                      <a:pt x="47139" y="96659"/>
                      <a:pt x="50215" y="90505"/>
                    </a:cubicBezTo>
                    <a:cubicBezTo>
                      <a:pt x="56369" y="84351"/>
                      <a:pt x="59446" y="65890"/>
                      <a:pt x="53292" y="13582"/>
                    </a:cubicBezTo>
                    <a:cubicBezTo>
                      <a:pt x="53292" y="10505"/>
                      <a:pt x="53292" y="7428"/>
                      <a:pt x="56369" y="4351"/>
                    </a:cubicBezTo>
                    <a:cubicBezTo>
                      <a:pt x="59446" y="1274"/>
                      <a:pt x="68677" y="-1802"/>
                      <a:pt x="77908" y="1274"/>
                    </a:cubicBezTo>
                    <a:cubicBezTo>
                      <a:pt x="93292" y="4351"/>
                      <a:pt x="111754" y="19736"/>
                      <a:pt x="111754" y="78198"/>
                    </a:cubicBezTo>
                    <a:cubicBezTo>
                      <a:pt x="105600" y="102813"/>
                      <a:pt x="105600" y="127428"/>
                      <a:pt x="80985" y="127428"/>
                    </a:cubicBezTo>
                    <a:close/>
                    <a:moveTo>
                      <a:pt x="53292" y="102813"/>
                    </a:moveTo>
                    <a:cubicBezTo>
                      <a:pt x="59446" y="108967"/>
                      <a:pt x="71754" y="115121"/>
                      <a:pt x="80985" y="115121"/>
                    </a:cubicBezTo>
                    <a:cubicBezTo>
                      <a:pt x="80985" y="115121"/>
                      <a:pt x="80985" y="115121"/>
                      <a:pt x="80985" y="115121"/>
                    </a:cubicBezTo>
                    <a:cubicBezTo>
                      <a:pt x="90215" y="115121"/>
                      <a:pt x="93292" y="108967"/>
                      <a:pt x="93292" y="78198"/>
                    </a:cubicBezTo>
                    <a:cubicBezTo>
                      <a:pt x="93292" y="56659"/>
                      <a:pt x="93292" y="19736"/>
                      <a:pt x="68677" y="13582"/>
                    </a:cubicBezTo>
                    <a:cubicBezTo>
                      <a:pt x="59446" y="10505"/>
                      <a:pt x="56369" y="13582"/>
                      <a:pt x="56369" y="13582"/>
                    </a:cubicBezTo>
                    <a:cubicBezTo>
                      <a:pt x="65600" y="59736"/>
                      <a:pt x="65600" y="87428"/>
                      <a:pt x="53292" y="102813"/>
                    </a:cubicBezTo>
                    <a:cubicBezTo>
                      <a:pt x="53292" y="99736"/>
                      <a:pt x="53292" y="102813"/>
                      <a:pt x="53292" y="10281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84AB0E5B-370C-4730-A99E-7D516F8D800B}"/>
                  </a:ext>
                </a:extLst>
              </p:cNvPr>
              <p:cNvSpPr/>
              <p:nvPr/>
            </p:nvSpPr>
            <p:spPr>
              <a:xfrm>
                <a:off x="-3559386" y="-19204"/>
                <a:ext cx="54856" cy="110769"/>
              </a:xfrm>
              <a:custGeom>
                <a:avLst/>
                <a:gdLst>
                  <a:gd name="connsiteX0" fmla="*/ 24615 w 54856"/>
                  <a:gd name="connsiteY0" fmla="*/ 110769 h 110769"/>
                  <a:gd name="connsiteX1" fmla="*/ 3077 w 54856"/>
                  <a:gd name="connsiteY1" fmla="*/ 104615 h 110769"/>
                  <a:gd name="connsiteX2" fmla="*/ 0 w 54856"/>
                  <a:gd name="connsiteY2" fmla="*/ 95385 h 110769"/>
                  <a:gd name="connsiteX3" fmla="*/ 9231 w 54856"/>
                  <a:gd name="connsiteY3" fmla="*/ 92308 h 110769"/>
                  <a:gd name="connsiteX4" fmla="*/ 33846 w 54856"/>
                  <a:gd name="connsiteY4" fmla="*/ 95385 h 110769"/>
                  <a:gd name="connsiteX5" fmla="*/ 40000 w 54856"/>
                  <a:gd name="connsiteY5" fmla="*/ 86154 h 110769"/>
                  <a:gd name="connsiteX6" fmla="*/ 36923 w 54856"/>
                  <a:gd name="connsiteY6" fmla="*/ 15385 h 110769"/>
                  <a:gd name="connsiteX7" fmla="*/ 30769 w 54856"/>
                  <a:gd name="connsiteY7" fmla="*/ 12308 h 110769"/>
                  <a:gd name="connsiteX8" fmla="*/ 12308 w 54856"/>
                  <a:gd name="connsiteY8" fmla="*/ 15385 h 110769"/>
                  <a:gd name="connsiteX9" fmla="*/ 3077 w 54856"/>
                  <a:gd name="connsiteY9" fmla="*/ 15385 h 110769"/>
                  <a:gd name="connsiteX10" fmla="*/ 3077 w 54856"/>
                  <a:gd name="connsiteY10" fmla="*/ 6154 h 110769"/>
                  <a:gd name="connsiteX11" fmla="*/ 30769 w 54856"/>
                  <a:gd name="connsiteY11" fmla="*/ 0 h 110769"/>
                  <a:gd name="connsiteX12" fmla="*/ 46154 w 54856"/>
                  <a:gd name="connsiteY12" fmla="*/ 9231 h 110769"/>
                  <a:gd name="connsiteX13" fmla="*/ 52308 w 54856"/>
                  <a:gd name="connsiteY13" fmla="*/ 86154 h 110769"/>
                  <a:gd name="connsiteX14" fmla="*/ 36923 w 54856"/>
                  <a:gd name="connsiteY14" fmla="*/ 104615 h 110769"/>
                  <a:gd name="connsiteX15" fmla="*/ 24615 w 54856"/>
                  <a:gd name="connsiteY15" fmla="*/ 110769 h 110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4856" h="110769">
                    <a:moveTo>
                      <a:pt x="24615" y="110769"/>
                    </a:moveTo>
                    <a:cubicBezTo>
                      <a:pt x="12308" y="110769"/>
                      <a:pt x="3077" y="104615"/>
                      <a:pt x="3077" y="104615"/>
                    </a:cubicBezTo>
                    <a:cubicBezTo>
                      <a:pt x="0" y="104615"/>
                      <a:pt x="0" y="98461"/>
                      <a:pt x="0" y="95385"/>
                    </a:cubicBezTo>
                    <a:cubicBezTo>
                      <a:pt x="0" y="92308"/>
                      <a:pt x="6154" y="92308"/>
                      <a:pt x="9231" y="92308"/>
                    </a:cubicBezTo>
                    <a:cubicBezTo>
                      <a:pt x="12308" y="95385"/>
                      <a:pt x="24615" y="98461"/>
                      <a:pt x="33846" y="95385"/>
                    </a:cubicBezTo>
                    <a:cubicBezTo>
                      <a:pt x="36923" y="92308"/>
                      <a:pt x="40000" y="89231"/>
                      <a:pt x="40000" y="86154"/>
                    </a:cubicBezTo>
                    <a:cubicBezTo>
                      <a:pt x="46154" y="61538"/>
                      <a:pt x="40000" y="27692"/>
                      <a:pt x="36923" y="15385"/>
                    </a:cubicBezTo>
                    <a:cubicBezTo>
                      <a:pt x="36923" y="12308"/>
                      <a:pt x="33846" y="12308"/>
                      <a:pt x="30769" y="12308"/>
                    </a:cubicBezTo>
                    <a:cubicBezTo>
                      <a:pt x="21539" y="12308"/>
                      <a:pt x="15385" y="12308"/>
                      <a:pt x="12308" y="15385"/>
                    </a:cubicBezTo>
                    <a:cubicBezTo>
                      <a:pt x="9231" y="18461"/>
                      <a:pt x="6154" y="18461"/>
                      <a:pt x="3077" y="15385"/>
                    </a:cubicBezTo>
                    <a:cubicBezTo>
                      <a:pt x="0" y="12308"/>
                      <a:pt x="0" y="9231"/>
                      <a:pt x="3077" y="6154"/>
                    </a:cubicBezTo>
                    <a:cubicBezTo>
                      <a:pt x="9231" y="0"/>
                      <a:pt x="21539" y="0"/>
                      <a:pt x="30769" y="0"/>
                    </a:cubicBezTo>
                    <a:cubicBezTo>
                      <a:pt x="40000" y="0"/>
                      <a:pt x="46154" y="6154"/>
                      <a:pt x="46154" y="9231"/>
                    </a:cubicBezTo>
                    <a:cubicBezTo>
                      <a:pt x="52308" y="21538"/>
                      <a:pt x="58462" y="58461"/>
                      <a:pt x="52308" y="86154"/>
                    </a:cubicBezTo>
                    <a:cubicBezTo>
                      <a:pt x="49231" y="95385"/>
                      <a:pt x="46154" y="101538"/>
                      <a:pt x="36923" y="104615"/>
                    </a:cubicBezTo>
                    <a:cubicBezTo>
                      <a:pt x="33846" y="110769"/>
                      <a:pt x="27692" y="110769"/>
                      <a:pt x="24615" y="11076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77823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14">
            <a:extLst>
              <a:ext uri="{FF2B5EF4-FFF2-40B4-BE49-F238E27FC236}">
                <a16:creationId xmlns:a16="http://schemas.microsoft.com/office/drawing/2014/main" id="{787EA014-41D3-49C8-AD6C-8778796B0E78}"/>
              </a:ext>
            </a:extLst>
          </p:cNvPr>
          <p:cNvGrpSpPr/>
          <p:nvPr/>
        </p:nvGrpSpPr>
        <p:grpSpPr>
          <a:xfrm>
            <a:off x="3392420" y="1949701"/>
            <a:ext cx="2135030" cy="4908299"/>
            <a:chOff x="11507720" y="7567656"/>
            <a:chExt cx="2135030" cy="4908299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9A4AC060-01DB-45A5-96D1-355F7585B814}"/>
                </a:ext>
              </a:extLst>
            </p:cNvPr>
            <p:cNvSpPr/>
            <p:nvPr/>
          </p:nvSpPr>
          <p:spPr>
            <a:xfrm>
              <a:off x="12410232" y="8534243"/>
              <a:ext cx="933534" cy="985449"/>
            </a:xfrm>
            <a:custGeom>
              <a:avLst/>
              <a:gdLst>
                <a:gd name="connsiteX0" fmla="*/ 64043 w 933534"/>
                <a:gd name="connsiteY0" fmla="*/ 6120 h 985449"/>
                <a:gd name="connsiteX1" fmla="*/ 372179 w 933534"/>
                <a:gd name="connsiteY1" fmla="*/ 311205 h 985449"/>
                <a:gd name="connsiteX2" fmla="*/ 543027 w 933534"/>
                <a:gd name="connsiteY2" fmla="*/ 701713 h 985449"/>
                <a:gd name="connsiteX3" fmla="*/ 887772 w 933534"/>
                <a:gd name="connsiteY3" fmla="*/ 378323 h 985449"/>
                <a:gd name="connsiteX4" fmla="*/ 933535 w 933534"/>
                <a:gd name="connsiteY4" fmla="*/ 506459 h 985449"/>
                <a:gd name="connsiteX5" fmla="*/ 530824 w 933534"/>
                <a:gd name="connsiteY5" fmla="*/ 985442 h 985449"/>
                <a:gd name="connsiteX6" fmla="*/ 64043 w 933534"/>
                <a:gd name="connsiteY6" fmla="*/ 6120 h 985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3534" h="985449">
                  <a:moveTo>
                    <a:pt x="64043" y="6120"/>
                  </a:moveTo>
                  <a:cubicBezTo>
                    <a:pt x="170823" y="-42694"/>
                    <a:pt x="317264" y="213578"/>
                    <a:pt x="372179" y="311205"/>
                  </a:cubicBezTo>
                  <a:cubicBezTo>
                    <a:pt x="420993" y="399679"/>
                    <a:pt x="543027" y="701713"/>
                    <a:pt x="543027" y="701713"/>
                  </a:cubicBezTo>
                  <a:lnTo>
                    <a:pt x="887772" y="378323"/>
                  </a:lnTo>
                  <a:lnTo>
                    <a:pt x="933535" y="506459"/>
                  </a:lnTo>
                  <a:cubicBezTo>
                    <a:pt x="933535" y="506459"/>
                    <a:pt x="643704" y="982391"/>
                    <a:pt x="530824" y="985442"/>
                  </a:cubicBezTo>
                  <a:cubicBezTo>
                    <a:pt x="338620" y="988493"/>
                    <a:pt x="-180025" y="115950"/>
                    <a:pt x="64043" y="6120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14">
              <a:extLst>
                <a:ext uri="{FF2B5EF4-FFF2-40B4-BE49-F238E27FC236}">
                  <a16:creationId xmlns:a16="http://schemas.microsoft.com/office/drawing/2014/main" id="{D7B19D9F-36EA-4332-9CD3-00C1CEE33C17}"/>
                </a:ext>
              </a:extLst>
            </p:cNvPr>
            <p:cNvGrpSpPr/>
            <p:nvPr/>
          </p:nvGrpSpPr>
          <p:grpSpPr>
            <a:xfrm>
              <a:off x="12187496" y="11978668"/>
              <a:ext cx="485084" cy="341694"/>
              <a:chOff x="12187496" y="11978668"/>
              <a:chExt cx="485084" cy="341694"/>
            </a:xfrm>
          </p:grpSpPr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734F8469-4478-4291-B629-99CF91FE6A95}"/>
                  </a:ext>
                </a:extLst>
              </p:cNvPr>
              <p:cNvSpPr/>
              <p:nvPr/>
            </p:nvSpPr>
            <p:spPr>
              <a:xfrm>
                <a:off x="12196649" y="11978668"/>
                <a:ext cx="210508" cy="222711"/>
              </a:xfrm>
              <a:custGeom>
                <a:avLst/>
                <a:gdLst>
                  <a:gd name="connsiteX0" fmla="*/ 0 w 210508"/>
                  <a:gd name="connsiteY0" fmla="*/ 186102 h 222711"/>
                  <a:gd name="connsiteX1" fmla="*/ 9152 w 210508"/>
                  <a:gd name="connsiteY1" fmla="*/ 0 h 222711"/>
                  <a:gd name="connsiteX2" fmla="*/ 210508 w 210508"/>
                  <a:gd name="connsiteY2" fmla="*/ 0 h 222711"/>
                  <a:gd name="connsiteX3" fmla="*/ 161695 w 210508"/>
                  <a:gd name="connsiteY3" fmla="*/ 195254 h 222711"/>
                  <a:gd name="connsiteX4" fmla="*/ 12203 w 210508"/>
                  <a:gd name="connsiteY4" fmla="*/ 222711 h 222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0508" h="222711">
                    <a:moveTo>
                      <a:pt x="0" y="186102"/>
                    </a:moveTo>
                    <a:lnTo>
                      <a:pt x="9152" y="0"/>
                    </a:lnTo>
                    <a:lnTo>
                      <a:pt x="210508" y="0"/>
                    </a:lnTo>
                    <a:lnTo>
                      <a:pt x="161695" y="195254"/>
                    </a:lnTo>
                    <a:lnTo>
                      <a:pt x="12203" y="222711"/>
                    </a:ln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A3AE87C2-2ED0-4B88-B044-50566476F7F5}"/>
                  </a:ext>
                </a:extLst>
              </p:cNvPr>
              <p:cNvSpPr/>
              <p:nvPr/>
            </p:nvSpPr>
            <p:spPr>
              <a:xfrm>
                <a:off x="12188513" y="12119007"/>
                <a:ext cx="484067" cy="158643"/>
              </a:xfrm>
              <a:custGeom>
                <a:avLst/>
                <a:gdLst>
                  <a:gd name="connsiteX0" fmla="*/ 8136 w 484067"/>
                  <a:gd name="connsiteY0" fmla="*/ 45763 h 158643"/>
                  <a:gd name="connsiteX1" fmla="*/ 182033 w 484067"/>
                  <a:gd name="connsiteY1" fmla="*/ 0 h 158643"/>
                  <a:gd name="connsiteX2" fmla="*/ 316271 w 484067"/>
                  <a:gd name="connsiteY2" fmla="*/ 79322 h 158643"/>
                  <a:gd name="connsiteX3" fmla="*/ 484067 w 484067"/>
                  <a:gd name="connsiteY3" fmla="*/ 158644 h 158643"/>
                  <a:gd name="connsiteX4" fmla="*/ 8136 w 484067"/>
                  <a:gd name="connsiteY4" fmla="*/ 158644 h 158643"/>
                  <a:gd name="connsiteX5" fmla="*/ 8136 w 484067"/>
                  <a:gd name="connsiteY5" fmla="*/ 45763 h 158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4067" h="158643">
                    <a:moveTo>
                      <a:pt x="8136" y="45763"/>
                    </a:moveTo>
                    <a:cubicBezTo>
                      <a:pt x="8136" y="45763"/>
                      <a:pt x="117965" y="64068"/>
                      <a:pt x="182033" y="0"/>
                    </a:cubicBezTo>
                    <a:cubicBezTo>
                      <a:pt x="182033" y="0"/>
                      <a:pt x="270508" y="70169"/>
                      <a:pt x="316271" y="79322"/>
                    </a:cubicBezTo>
                    <a:cubicBezTo>
                      <a:pt x="362033" y="88474"/>
                      <a:pt x="471864" y="85423"/>
                      <a:pt x="484067" y="158644"/>
                    </a:cubicBezTo>
                    <a:lnTo>
                      <a:pt x="8136" y="158644"/>
                    </a:lnTo>
                    <a:cubicBezTo>
                      <a:pt x="8136" y="155593"/>
                      <a:pt x="-10170" y="94576"/>
                      <a:pt x="8136" y="4576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9DB6D72F-A75E-4E22-ACF2-94359D356D58}"/>
                  </a:ext>
                </a:extLst>
              </p:cNvPr>
              <p:cNvSpPr/>
              <p:nvPr/>
            </p:nvSpPr>
            <p:spPr>
              <a:xfrm>
                <a:off x="12196648" y="12274600"/>
                <a:ext cx="475932" cy="45762"/>
              </a:xfrm>
              <a:custGeom>
                <a:avLst/>
                <a:gdLst>
                  <a:gd name="connsiteX0" fmla="*/ 0 w 475932"/>
                  <a:gd name="connsiteY0" fmla="*/ 0 h 45762"/>
                  <a:gd name="connsiteX1" fmla="*/ 475933 w 475932"/>
                  <a:gd name="connsiteY1" fmla="*/ 0 h 45762"/>
                  <a:gd name="connsiteX2" fmla="*/ 475933 w 475932"/>
                  <a:gd name="connsiteY2" fmla="*/ 45763 h 45762"/>
                  <a:gd name="connsiteX3" fmla="*/ 0 w 475932"/>
                  <a:gd name="connsiteY3" fmla="*/ 45763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5932" h="45762">
                    <a:moveTo>
                      <a:pt x="0" y="0"/>
                    </a:moveTo>
                    <a:lnTo>
                      <a:pt x="475933" y="0"/>
                    </a:lnTo>
                    <a:lnTo>
                      <a:pt x="475933" y="45763"/>
                    </a:lnTo>
                    <a:lnTo>
                      <a:pt x="0" y="45763"/>
                    </a:lnTo>
                    <a:close/>
                  </a:path>
                </a:pathLst>
              </a:custGeom>
              <a:solidFill>
                <a:srgbClr val="38333D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BFE2D5CC-C7D0-42B3-A456-B35B2480020E}"/>
                  </a:ext>
                </a:extLst>
              </p:cNvPr>
              <p:cNvSpPr/>
              <p:nvPr/>
            </p:nvSpPr>
            <p:spPr>
              <a:xfrm>
                <a:off x="12187496" y="12107566"/>
                <a:ext cx="185339" cy="63304"/>
              </a:xfrm>
              <a:custGeom>
                <a:avLst/>
                <a:gdLst>
                  <a:gd name="connsiteX0" fmla="*/ 39662 w 185339"/>
                  <a:gd name="connsiteY0" fmla="*/ 63305 h 63304"/>
                  <a:gd name="connsiteX1" fmla="*/ 6102 w 185339"/>
                  <a:gd name="connsiteY1" fmla="*/ 60254 h 63304"/>
                  <a:gd name="connsiteX2" fmla="*/ 0 w 185339"/>
                  <a:gd name="connsiteY2" fmla="*/ 54152 h 63304"/>
                  <a:gd name="connsiteX3" fmla="*/ 6102 w 185339"/>
                  <a:gd name="connsiteY3" fmla="*/ 48050 h 63304"/>
                  <a:gd name="connsiteX4" fmla="*/ 173899 w 185339"/>
                  <a:gd name="connsiteY4" fmla="*/ 2288 h 63304"/>
                  <a:gd name="connsiteX5" fmla="*/ 183051 w 185339"/>
                  <a:gd name="connsiteY5" fmla="*/ 2288 h 63304"/>
                  <a:gd name="connsiteX6" fmla="*/ 183051 w 185339"/>
                  <a:gd name="connsiteY6" fmla="*/ 11441 h 63304"/>
                  <a:gd name="connsiteX7" fmla="*/ 39662 w 185339"/>
                  <a:gd name="connsiteY7" fmla="*/ 63305 h 63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5339" h="63304">
                    <a:moveTo>
                      <a:pt x="39662" y="63305"/>
                    </a:moveTo>
                    <a:cubicBezTo>
                      <a:pt x="21356" y="63305"/>
                      <a:pt x="9153" y="60254"/>
                      <a:pt x="6102" y="60254"/>
                    </a:cubicBezTo>
                    <a:cubicBezTo>
                      <a:pt x="3051" y="60254"/>
                      <a:pt x="0" y="57203"/>
                      <a:pt x="0" y="54152"/>
                    </a:cubicBezTo>
                    <a:cubicBezTo>
                      <a:pt x="0" y="51101"/>
                      <a:pt x="3051" y="48050"/>
                      <a:pt x="6102" y="48050"/>
                    </a:cubicBezTo>
                    <a:cubicBezTo>
                      <a:pt x="6102" y="48050"/>
                      <a:pt x="106780" y="63305"/>
                      <a:pt x="173899" y="2288"/>
                    </a:cubicBezTo>
                    <a:cubicBezTo>
                      <a:pt x="176950" y="-763"/>
                      <a:pt x="180000" y="-763"/>
                      <a:pt x="183051" y="2288"/>
                    </a:cubicBezTo>
                    <a:cubicBezTo>
                      <a:pt x="186102" y="5339"/>
                      <a:pt x="186102" y="8390"/>
                      <a:pt x="183051" y="11441"/>
                    </a:cubicBezTo>
                    <a:cubicBezTo>
                      <a:pt x="137288" y="57203"/>
                      <a:pt x="76271" y="63305"/>
                      <a:pt x="39662" y="6330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66C9FCE3-2B92-47BF-8344-F37850002FDE}"/>
                  </a:ext>
                </a:extLst>
              </p:cNvPr>
              <p:cNvSpPr/>
              <p:nvPr/>
            </p:nvSpPr>
            <p:spPr>
              <a:xfrm>
                <a:off x="12371309" y="12135024"/>
                <a:ext cx="38136" cy="41948"/>
              </a:xfrm>
              <a:custGeom>
                <a:avLst/>
                <a:gdLst>
                  <a:gd name="connsiteX0" fmla="*/ 5339 w 38136"/>
                  <a:gd name="connsiteY0" fmla="*/ 41949 h 41948"/>
                  <a:gd name="connsiteX1" fmla="*/ 2288 w 38136"/>
                  <a:gd name="connsiteY1" fmla="*/ 38898 h 41948"/>
                  <a:gd name="connsiteX2" fmla="*/ 2288 w 38136"/>
                  <a:gd name="connsiteY2" fmla="*/ 29746 h 41948"/>
                  <a:gd name="connsiteX3" fmla="*/ 26695 w 38136"/>
                  <a:gd name="connsiteY3" fmla="*/ 2288 h 41948"/>
                  <a:gd name="connsiteX4" fmla="*/ 35848 w 38136"/>
                  <a:gd name="connsiteY4" fmla="*/ 2288 h 41948"/>
                  <a:gd name="connsiteX5" fmla="*/ 35848 w 38136"/>
                  <a:gd name="connsiteY5" fmla="*/ 11440 h 41948"/>
                  <a:gd name="connsiteX6" fmla="*/ 11440 w 38136"/>
                  <a:gd name="connsiteY6" fmla="*/ 38898 h 41948"/>
                  <a:gd name="connsiteX7" fmla="*/ 5339 w 38136"/>
                  <a:gd name="connsiteY7" fmla="*/ 41949 h 41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136" h="41948">
                    <a:moveTo>
                      <a:pt x="5339" y="41949"/>
                    </a:moveTo>
                    <a:cubicBezTo>
                      <a:pt x="5339" y="41949"/>
                      <a:pt x="2288" y="41949"/>
                      <a:pt x="2288" y="38898"/>
                    </a:cubicBezTo>
                    <a:cubicBezTo>
                      <a:pt x="-763" y="35847"/>
                      <a:pt x="-763" y="32797"/>
                      <a:pt x="2288" y="29746"/>
                    </a:cubicBezTo>
                    <a:lnTo>
                      <a:pt x="26695" y="2288"/>
                    </a:lnTo>
                    <a:cubicBezTo>
                      <a:pt x="29746" y="-763"/>
                      <a:pt x="32797" y="-763"/>
                      <a:pt x="35848" y="2288"/>
                    </a:cubicBezTo>
                    <a:cubicBezTo>
                      <a:pt x="38899" y="5338"/>
                      <a:pt x="38899" y="8389"/>
                      <a:pt x="35848" y="11440"/>
                    </a:cubicBezTo>
                    <a:lnTo>
                      <a:pt x="11440" y="38898"/>
                    </a:lnTo>
                    <a:cubicBezTo>
                      <a:pt x="8390" y="38898"/>
                      <a:pt x="8390" y="41949"/>
                      <a:pt x="5339" y="4194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AB97B88D-85FF-4ED6-9C2A-00B06DEE9303}"/>
                  </a:ext>
                </a:extLst>
              </p:cNvPr>
              <p:cNvSpPr/>
              <p:nvPr/>
            </p:nvSpPr>
            <p:spPr>
              <a:xfrm>
                <a:off x="12410971" y="12159430"/>
                <a:ext cx="41186" cy="41948"/>
              </a:xfrm>
              <a:custGeom>
                <a:avLst/>
                <a:gdLst>
                  <a:gd name="connsiteX0" fmla="*/ 5339 w 41186"/>
                  <a:gd name="connsiteY0" fmla="*/ 41949 h 41948"/>
                  <a:gd name="connsiteX1" fmla="*/ 2288 w 41186"/>
                  <a:gd name="connsiteY1" fmla="*/ 38899 h 41948"/>
                  <a:gd name="connsiteX2" fmla="*/ 2288 w 41186"/>
                  <a:gd name="connsiteY2" fmla="*/ 29746 h 41948"/>
                  <a:gd name="connsiteX3" fmla="*/ 29746 w 41186"/>
                  <a:gd name="connsiteY3" fmla="*/ 2288 h 41948"/>
                  <a:gd name="connsiteX4" fmla="*/ 38898 w 41186"/>
                  <a:gd name="connsiteY4" fmla="*/ 2288 h 41948"/>
                  <a:gd name="connsiteX5" fmla="*/ 38898 w 41186"/>
                  <a:gd name="connsiteY5" fmla="*/ 11440 h 41948"/>
                  <a:gd name="connsiteX6" fmla="*/ 11441 w 41186"/>
                  <a:gd name="connsiteY6" fmla="*/ 38899 h 41948"/>
                  <a:gd name="connsiteX7" fmla="*/ 5339 w 41186"/>
                  <a:gd name="connsiteY7" fmla="*/ 41949 h 41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186" h="41948">
                    <a:moveTo>
                      <a:pt x="5339" y="41949"/>
                    </a:moveTo>
                    <a:cubicBezTo>
                      <a:pt x="5339" y="41949"/>
                      <a:pt x="2288" y="41949"/>
                      <a:pt x="2288" y="38899"/>
                    </a:cubicBezTo>
                    <a:cubicBezTo>
                      <a:pt x="-763" y="35848"/>
                      <a:pt x="-763" y="32797"/>
                      <a:pt x="2288" y="29746"/>
                    </a:cubicBezTo>
                    <a:lnTo>
                      <a:pt x="29746" y="2288"/>
                    </a:lnTo>
                    <a:cubicBezTo>
                      <a:pt x="32796" y="-763"/>
                      <a:pt x="35847" y="-763"/>
                      <a:pt x="38898" y="2288"/>
                    </a:cubicBezTo>
                    <a:cubicBezTo>
                      <a:pt x="41949" y="5339"/>
                      <a:pt x="41949" y="8390"/>
                      <a:pt x="38898" y="11440"/>
                    </a:cubicBezTo>
                    <a:lnTo>
                      <a:pt x="11441" y="38899"/>
                    </a:lnTo>
                    <a:cubicBezTo>
                      <a:pt x="8390" y="41949"/>
                      <a:pt x="5339" y="41949"/>
                      <a:pt x="5339" y="4194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74ADBC42-1F1B-4E64-A92D-23FA94F75212}"/>
                </a:ext>
              </a:extLst>
            </p:cNvPr>
            <p:cNvSpPr/>
            <p:nvPr/>
          </p:nvSpPr>
          <p:spPr>
            <a:xfrm>
              <a:off x="11955631" y="8113244"/>
              <a:ext cx="250169" cy="258417"/>
            </a:xfrm>
            <a:custGeom>
              <a:avLst/>
              <a:gdLst>
                <a:gd name="connsiteX0" fmla="*/ 250170 w 250169"/>
                <a:gd name="connsiteY0" fmla="*/ 39661 h 258417"/>
                <a:gd name="connsiteX1" fmla="*/ 244068 w 250169"/>
                <a:gd name="connsiteY1" fmla="*/ 213559 h 258417"/>
                <a:gd name="connsiteX2" fmla="*/ 0 w 250169"/>
                <a:gd name="connsiteY2" fmla="*/ 204407 h 258417"/>
                <a:gd name="connsiteX3" fmla="*/ 15254 w 250169"/>
                <a:gd name="connsiteY3" fmla="*/ 0 h 258417"/>
                <a:gd name="connsiteX4" fmla="*/ 250170 w 250169"/>
                <a:gd name="connsiteY4" fmla="*/ 39661 h 25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69" h="258417">
                  <a:moveTo>
                    <a:pt x="250170" y="39661"/>
                  </a:moveTo>
                  <a:cubicBezTo>
                    <a:pt x="250170" y="39661"/>
                    <a:pt x="244068" y="140339"/>
                    <a:pt x="244068" y="213559"/>
                  </a:cubicBezTo>
                  <a:cubicBezTo>
                    <a:pt x="244068" y="213559"/>
                    <a:pt x="149492" y="320339"/>
                    <a:pt x="0" y="204407"/>
                  </a:cubicBezTo>
                  <a:cubicBezTo>
                    <a:pt x="0" y="143390"/>
                    <a:pt x="12204" y="64068"/>
                    <a:pt x="15254" y="0"/>
                  </a:cubicBezTo>
                  <a:cubicBezTo>
                    <a:pt x="12204" y="0"/>
                    <a:pt x="195255" y="51864"/>
                    <a:pt x="250170" y="39661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1D886538-C424-4B8E-ACB2-15F6E94E3F97}"/>
                </a:ext>
              </a:extLst>
            </p:cNvPr>
            <p:cNvSpPr/>
            <p:nvPr/>
          </p:nvSpPr>
          <p:spPr>
            <a:xfrm>
              <a:off x="11879360" y="7991210"/>
              <a:ext cx="67119" cy="140338"/>
            </a:xfrm>
            <a:custGeom>
              <a:avLst/>
              <a:gdLst>
                <a:gd name="connsiteX0" fmla="*/ 0 w 67119"/>
                <a:gd name="connsiteY0" fmla="*/ 0 h 140338"/>
                <a:gd name="connsiteX1" fmla="*/ 61017 w 67119"/>
                <a:gd name="connsiteY1" fmla="*/ 140339 h 140338"/>
                <a:gd name="connsiteX2" fmla="*/ 67119 w 67119"/>
                <a:gd name="connsiteY2" fmla="*/ 54915 h 140338"/>
                <a:gd name="connsiteX3" fmla="*/ 0 w 67119"/>
                <a:gd name="connsiteY3" fmla="*/ 0 h 14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19" h="140338">
                  <a:moveTo>
                    <a:pt x="0" y="0"/>
                  </a:moveTo>
                  <a:cubicBezTo>
                    <a:pt x="0" y="0"/>
                    <a:pt x="9153" y="118983"/>
                    <a:pt x="61017" y="140339"/>
                  </a:cubicBezTo>
                  <a:lnTo>
                    <a:pt x="67119" y="549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BCC9CC6C-1226-4DAB-867C-4AA21BB1E782}"/>
                </a:ext>
              </a:extLst>
            </p:cNvPr>
            <p:cNvSpPr/>
            <p:nvPr/>
          </p:nvSpPr>
          <p:spPr>
            <a:xfrm>
              <a:off x="12239991" y="7805108"/>
              <a:ext cx="103764" cy="237945"/>
            </a:xfrm>
            <a:custGeom>
              <a:avLst/>
              <a:gdLst>
                <a:gd name="connsiteX0" fmla="*/ 100047 w 103764"/>
                <a:gd name="connsiteY0" fmla="*/ 0 h 237945"/>
                <a:gd name="connsiteX1" fmla="*/ 48183 w 103764"/>
                <a:gd name="connsiteY1" fmla="*/ 234915 h 237945"/>
                <a:gd name="connsiteX2" fmla="*/ 2421 w 103764"/>
                <a:gd name="connsiteY2" fmla="*/ 12204 h 237945"/>
                <a:gd name="connsiteX3" fmla="*/ 100047 w 103764"/>
                <a:gd name="connsiteY3" fmla="*/ 0 h 23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764" h="237945">
                  <a:moveTo>
                    <a:pt x="100047" y="0"/>
                  </a:moveTo>
                  <a:cubicBezTo>
                    <a:pt x="100047" y="0"/>
                    <a:pt x="124454" y="195255"/>
                    <a:pt x="48183" y="234915"/>
                  </a:cubicBezTo>
                  <a:cubicBezTo>
                    <a:pt x="-15885" y="268475"/>
                    <a:pt x="2421" y="12204"/>
                    <a:pt x="2421" y="12204"/>
                  </a:cubicBezTo>
                  <a:lnTo>
                    <a:pt x="100047" y="0"/>
                  </a:lnTo>
                  <a:close/>
                </a:path>
              </a:pathLst>
            </a:custGeom>
            <a:solidFill>
              <a:srgbClr val="664241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F3EC4DB0-B333-4560-BEDC-83493CB38CD2}"/>
                </a:ext>
              </a:extLst>
            </p:cNvPr>
            <p:cNvSpPr/>
            <p:nvPr/>
          </p:nvSpPr>
          <p:spPr>
            <a:xfrm>
              <a:off x="11882411" y="7657818"/>
              <a:ext cx="419623" cy="571509"/>
            </a:xfrm>
            <a:custGeom>
              <a:avLst/>
              <a:gdLst>
                <a:gd name="connsiteX0" fmla="*/ 414915 w 419623"/>
                <a:gd name="connsiteY0" fmla="*/ 190002 h 571509"/>
                <a:gd name="connsiteX1" fmla="*/ 405763 w 419623"/>
                <a:gd name="connsiteY1" fmla="*/ 440172 h 571509"/>
                <a:gd name="connsiteX2" fmla="*/ 241017 w 419623"/>
                <a:gd name="connsiteY2" fmla="*/ 571358 h 571509"/>
                <a:gd name="connsiteX3" fmla="*/ 30508 w 419623"/>
                <a:gd name="connsiteY3" fmla="*/ 418816 h 571509"/>
                <a:gd name="connsiteX4" fmla="*/ 0 w 419623"/>
                <a:gd name="connsiteY4" fmla="*/ 193053 h 571509"/>
                <a:gd name="connsiteX5" fmla="*/ 219661 w 419623"/>
                <a:gd name="connsiteY5" fmla="*/ 849 h 571509"/>
                <a:gd name="connsiteX6" fmla="*/ 414915 w 419623"/>
                <a:gd name="connsiteY6" fmla="*/ 190002 h 57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623" h="571509">
                  <a:moveTo>
                    <a:pt x="414915" y="190002"/>
                  </a:moveTo>
                  <a:cubicBezTo>
                    <a:pt x="414915" y="190002"/>
                    <a:pt x="430170" y="366951"/>
                    <a:pt x="405763" y="440172"/>
                  </a:cubicBezTo>
                  <a:cubicBezTo>
                    <a:pt x="384407" y="504239"/>
                    <a:pt x="292882" y="568307"/>
                    <a:pt x="241017" y="571358"/>
                  </a:cubicBezTo>
                  <a:cubicBezTo>
                    <a:pt x="173899" y="574409"/>
                    <a:pt x="57966" y="531697"/>
                    <a:pt x="30508" y="418816"/>
                  </a:cubicBezTo>
                  <a:cubicBezTo>
                    <a:pt x="12203" y="345595"/>
                    <a:pt x="0" y="244917"/>
                    <a:pt x="0" y="193053"/>
                  </a:cubicBezTo>
                  <a:cubicBezTo>
                    <a:pt x="6102" y="98477"/>
                    <a:pt x="33560" y="19155"/>
                    <a:pt x="219661" y="849"/>
                  </a:cubicBezTo>
                  <a:cubicBezTo>
                    <a:pt x="308136" y="-11354"/>
                    <a:pt x="399661" y="110680"/>
                    <a:pt x="414915" y="190002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D89C4C8B-0981-40A1-ACA5-2914F3E62C57}"/>
                </a:ext>
              </a:extLst>
            </p:cNvPr>
            <p:cNvSpPr/>
            <p:nvPr/>
          </p:nvSpPr>
          <p:spPr>
            <a:xfrm>
              <a:off x="12103860" y="7924092"/>
              <a:ext cx="59229" cy="134237"/>
            </a:xfrm>
            <a:custGeom>
              <a:avLst/>
              <a:gdLst>
                <a:gd name="connsiteX0" fmla="*/ 31772 w 59229"/>
                <a:gd name="connsiteY0" fmla="*/ 134237 h 134237"/>
                <a:gd name="connsiteX1" fmla="*/ 4314 w 59229"/>
                <a:gd name="connsiteY1" fmla="*/ 131186 h 134237"/>
                <a:gd name="connsiteX2" fmla="*/ 1264 w 59229"/>
                <a:gd name="connsiteY2" fmla="*/ 125084 h 134237"/>
                <a:gd name="connsiteX3" fmla="*/ 7365 w 59229"/>
                <a:gd name="connsiteY3" fmla="*/ 122034 h 134237"/>
                <a:gd name="connsiteX4" fmla="*/ 47027 w 59229"/>
                <a:gd name="connsiteY4" fmla="*/ 122034 h 134237"/>
                <a:gd name="connsiteX5" fmla="*/ 47027 w 59229"/>
                <a:gd name="connsiteY5" fmla="*/ 118983 h 134237"/>
                <a:gd name="connsiteX6" fmla="*/ 34822 w 59229"/>
                <a:gd name="connsiteY6" fmla="*/ 6102 h 134237"/>
                <a:gd name="connsiteX7" fmla="*/ 40924 w 59229"/>
                <a:gd name="connsiteY7" fmla="*/ 0 h 134237"/>
                <a:gd name="connsiteX8" fmla="*/ 47027 w 59229"/>
                <a:gd name="connsiteY8" fmla="*/ 6102 h 134237"/>
                <a:gd name="connsiteX9" fmla="*/ 59230 w 59229"/>
                <a:gd name="connsiteY9" fmla="*/ 118983 h 134237"/>
                <a:gd name="connsiteX10" fmla="*/ 53128 w 59229"/>
                <a:gd name="connsiteY10" fmla="*/ 131186 h 134237"/>
                <a:gd name="connsiteX11" fmla="*/ 31772 w 59229"/>
                <a:gd name="connsiteY11" fmla="*/ 134237 h 13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229" h="134237">
                  <a:moveTo>
                    <a:pt x="31772" y="134237"/>
                  </a:moveTo>
                  <a:cubicBezTo>
                    <a:pt x="19568" y="134237"/>
                    <a:pt x="7365" y="131186"/>
                    <a:pt x="4314" y="131186"/>
                  </a:cubicBezTo>
                  <a:cubicBezTo>
                    <a:pt x="1264" y="131186"/>
                    <a:pt x="-1787" y="128136"/>
                    <a:pt x="1264" y="125084"/>
                  </a:cubicBezTo>
                  <a:cubicBezTo>
                    <a:pt x="1264" y="122034"/>
                    <a:pt x="4314" y="118983"/>
                    <a:pt x="7365" y="122034"/>
                  </a:cubicBezTo>
                  <a:cubicBezTo>
                    <a:pt x="19568" y="125084"/>
                    <a:pt x="40924" y="128136"/>
                    <a:pt x="47027" y="122034"/>
                  </a:cubicBezTo>
                  <a:cubicBezTo>
                    <a:pt x="47027" y="122034"/>
                    <a:pt x="47027" y="118983"/>
                    <a:pt x="47027" y="118983"/>
                  </a:cubicBezTo>
                  <a:cubicBezTo>
                    <a:pt x="47027" y="100678"/>
                    <a:pt x="34822" y="6102"/>
                    <a:pt x="34822" y="6102"/>
                  </a:cubicBezTo>
                  <a:cubicBezTo>
                    <a:pt x="34822" y="3051"/>
                    <a:pt x="37873" y="0"/>
                    <a:pt x="40924" y="0"/>
                  </a:cubicBezTo>
                  <a:cubicBezTo>
                    <a:pt x="43975" y="0"/>
                    <a:pt x="47027" y="3051"/>
                    <a:pt x="47027" y="6102"/>
                  </a:cubicBezTo>
                  <a:cubicBezTo>
                    <a:pt x="47027" y="9152"/>
                    <a:pt x="59230" y="100678"/>
                    <a:pt x="59230" y="118983"/>
                  </a:cubicBezTo>
                  <a:cubicBezTo>
                    <a:pt x="59230" y="125084"/>
                    <a:pt x="56179" y="128136"/>
                    <a:pt x="53128" y="131186"/>
                  </a:cubicBezTo>
                  <a:cubicBezTo>
                    <a:pt x="50077" y="134237"/>
                    <a:pt x="40924" y="134237"/>
                    <a:pt x="31772" y="134237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05F15012-7D28-4666-9F2F-D7264D57C766}"/>
                </a:ext>
              </a:extLst>
            </p:cNvPr>
            <p:cNvSpPr/>
            <p:nvPr/>
          </p:nvSpPr>
          <p:spPr>
            <a:xfrm>
              <a:off x="12071564" y="8107142"/>
              <a:ext cx="106779" cy="55037"/>
            </a:xfrm>
            <a:custGeom>
              <a:avLst/>
              <a:gdLst>
                <a:gd name="connsiteX0" fmla="*/ 106780 w 106779"/>
                <a:gd name="connsiteY0" fmla="*/ 3051 h 55037"/>
                <a:gd name="connsiteX1" fmla="*/ 0 w 106779"/>
                <a:gd name="connsiteY1" fmla="*/ 0 h 55037"/>
                <a:gd name="connsiteX2" fmla="*/ 51864 w 106779"/>
                <a:gd name="connsiteY2" fmla="*/ 54915 h 55037"/>
                <a:gd name="connsiteX3" fmla="*/ 106780 w 106779"/>
                <a:gd name="connsiteY3" fmla="*/ 3051 h 55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779" h="55037">
                  <a:moveTo>
                    <a:pt x="106780" y="3051"/>
                  </a:moveTo>
                  <a:cubicBezTo>
                    <a:pt x="106780" y="3051"/>
                    <a:pt x="51864" y="15254"/>
                    <a:pt x="0" y="0"/>
                  </a:cubicBezTo>
                  <a:cubicBezTo>
                    <a:pt x="0" y="0"/>
                    <a:pt x="0" y="51864"/>
                    <a:pt x="51864" y="54915"/>
                  </a:cubicBezTo>
                  <a:cubicBezTo>
                    <a:pt x="94576" y="57966"/>
                    <a:pt x="106780" y="3051"/>
                    <a:pt x="106780" y="3051"/>
                  </a:cubicBezTo>
                  <a:close/>
                </a:path>
              </a:pathLst>
            </a:custGeom>
            <a:solidFill>
              <a:srgbClr val="FFFFFF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4155C00E-9E08-4714-B565-E669D3E9DD51}"/>
                </a:ext>
              </a:extLst>
            </p:cNvPr>
            <p:cNvSpPr/>
            <p:nvPr/>
          </p:nvSpPr>
          <p:spPr>
            <a:xfrm>
              <a:off x="12198922" y="7901958"/>
              <a:ext cx="41216" cy="41216"/>
            </a:xfrm>
            <a:custGeom>
              <a:avLst/>
              <a:gdLst>
                <a:gd name="connsiteX0" fmla="*/ 777 w 41216"/>
                <a:gd name="connsiteY0" fmla="*/ 25184 h 41216"/>
                <a:gd name="connsiteX1" fmla="*/ 25185 w 41216"/>
                <a:gd name="connsiteY1" fmla="*/ 40438 h 41216"/>
                <a:gd name="connsiteX2" fmla="*/ 40439 w 41216"/>
                <a:gd name="connsiteY2" fmla="*/ 16032 h 41216"/>
                <a:gd name="connsiteX3" fmla="*/ 16031 w 41216"/>
                <a:gd name="connsiteY3" fmla="*/ 777 h 41216"/>
                <a:gd name="connsiteX4" fmla="*/ 777 w 41216"/>
                <a:gd name="connsiteY4" fmla="*/ 25184 h 4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6" h="41216">
                  <a:moveTo>
                    <a:pt x="777" y="25184"/>
                  </a:moveTo>
                  <a:cubicBezTo>
                    <a:pt x="3828" y="37388"/>
                    <a:pt x="12981" y="43489"/>
                    <a:pt x="25185" y="40438"/>
                  </a:cubicBezTo>
                  <a:cubicBezTo>
                    <a:pt x="37388" y="37388"/>
                    <a:pt x="43490" y="28235"/>
                    <a:pt x="40439" y="16032"/>
                  </a:cubicBezTo>
                  <a:cubicBezTo>
                    <a:pt x="37388" y="3828"/>
                    <a:pt x="28236" y="-2273"/>
                    <a:pt x="16031" y="777"/>
                  </a:cubicBezTo>
                  <a:cubicBezTo>
                    <a:pt x="3828" y="3828"/>
                    <a:pt x="-2273" y="12981"/>
                    <a:pt x="777" y="25184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4E52BDC5-775D-4CEE-804B-65CC34ADDB70}"/>
                </a:ext>
              </a:extLst>
            </p:cNvPr>
            <p:cNvSpPr/>
            <p:nvPr/>
          </p:nvSpPr>
          <p:spPr>
            <a:xfrm>
              <a:off x="12015871" y="7911111"/>
              <a:ext cx="41216" cy="41215"/>
            </a:xfrm>
            <a:custGeom>
              <a:avLst/>
              <a:gdLst>
                <a:gd name="connsiteX0" fmla="*/ 777 w 41216"/>
                <a:gd name="connsiteY0" fmla="*/ 25184 h 41215"/>
                <a:gd name="connsiteX1" fmla="*/ 25185 w 41216"/>
                <a:gd name="connsiteY1" fmla="*/ 40438 h 41215"/>
                <a:gd name="connsiteX2" fmla="*/ 40439 w 41216"/>
                <a:gd name="connsiteY2" fmla="*/ 16032 h 41215"/>
                <a:gd name="connsiteX3" fmla="*/ 16031 w 41216"/>
                <a:gd name="connsiteY3" fmla="*/ 777 h 41215"/>
                <a:gd name="connsiteX4" fmla="*/ 777 w 41216"/>
                <a:gd name="connsiteY4" fmla="*/ 25184 h 4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6" h="41215">
                  <a:moveTo>
                    <a:pt x="777" y="25184"/>
                  </a:moveTo>
                  <a:cubicBezTo>
                    <a:pt x="3828" y="37387"/>
                    <a:pt x="12981" y="43489"/>
                    <a:pt x="25185" y="40438"/>
                  </a:cubicBezTo>
                  <a:cubicBezTo>
                    <a:pt x="37388" y="37387"/>
                    <a:pt x="43490" y="28235"/>
                    <a:pt x="40439" y="16032"/>
                  </a:cubicBezTo>
                  <a:cubicBezTo>
                    <a:pt x="37388" y="3828"/>
                    <a:pt x="28236" y="-2273"/>
                    <a:pt x="16031" y="777"/>
                  </a:cubicBezTo>
                  <a:cubicBezTo>
                    <a:pt x="3828" y="6879"/>
                    <a:pt x="-2273" y="16032"/>
                    <a:pt x="777" y="25184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867E4D91-2047-40AE-81AC-DE14E922D520}"/>
                </a:ext>
              </a:extLst>
            </p:cNvPr>
            <p:cNvSpPr/>
            <p:nvPr/>
          </p:nvSpPr>
          <p:spPr>
            <a:xfrm>
              <a:off x="12174029" y="7854281"/>
              <a:ext cx="92026" cy="33200"/>
            </a:xfrm>
            <a:custGeom>
              <a:avLst/>
              <a:gdLst>
                <a:gd name="connsiteX0" fmla="*/ 83637 w 92026"/>
                <a:gd name="connsiteY0" fmla="*/ 33200 h 33200"/>
                <a:gd name="connsiteX1" fmla="*/ 77535 w 92026"/>
                <a:gd name="connsiteY1" fmla="*/ 30149 h 33200"/>
                <a:gd name="connsiteX2" fmla="*/ 10416 w 92026"/>
                <a:gd name="connsiteY2" fmla="*/ 20997 h 33200"/>
                <a:gd name="connsiteX3" fmla="*/ 1264 w 92026"/>
                <a:gd name="connsiteY3" fmla="*/ 17946 h 33200"/>
                <a:gd name="connsiteX4" fmla="*/ 4315 w 92026"/>
                <a:gd name="connsiteY4" fmla="*/ 8794 h 33200"/>
                <a:gd name="connsiteX5" fmla="*/ 89738 w 92026"/>
                <a:gd name="connsiteY5" fmla="*/ 20997 h 33200"/>
                <a:gd name="connsiteX6" fmla="*/ 89738 w 92026"/>
                <a:gd name="connsiteY6" fmla="*/ 33200 h 33200"/>
                <a:gd name="connsiteX7" fmla="*/ 83637 w 92026"/>
                <a:gd name="connsiteY7" fmla="*/ 33200 h 3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3200">
                  <a:moveTo>
                    <a:pt x="83637" y="33200"/>
                  </a:moveTo>
                  <a:cubicBezTo>
                    <a:pt x="80586" y="33200"/>
                    <a:pt x="80586" y="33200"/>
                    <a:pt x="77535" y="30149"/>
                  </a:cubicBezTo>
                  <a:cubicBezTo>
                    <a:pt x="53129" y="2692"/>
                    <a:pt x="13467" y="20997"/>
                    <a:pt x="10416" y="20997"/>
                  </a:cubicBezTo>
                  <a:cubicBezTo>
                    <a:pt x="7366" y="24048"/>
                    <a:pt x="1264" y="20997"/>
                    <a:pt x="1264" y="17946"/>
                  </a:cubicBezTo>
                  <a:cubicBezTo>
                    <a:pt x="-1787" y="14895"/>
                    <a:pt x="1264" y="8794"/>
                    <a:pt x="4315" y="8794"/>
                  </a:cubicBezTo>
                  <a:cubicBezTo>
                    <a:pt x="22620" y="-359"/>
                    <a:pt x="62281" y="-9512"/>
                    <a:pt x="89738" y="20997"/>
                  </a:cubicBezTo>
                  <a:cubicBezTo>
                    <a:pt x="92789" y="24048"/>
                    <a:pt x="92789" y="30149"/>
                    <a:pt x="89738" y="33200"/>
                  </a:cubicBezTo>
                  <a:cubicBezTo>
                    <a:pt x="86687" y="33200"/>
                    <a:pt x="86687" y="33200"/>
                    <a:pt x="83637" y="33200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381F5734-7905-455B-8600-E30FE53CBA8F}"/>
                </a:ext>
              </a:extLst>
            </p:cNvPr>
            <p:cNvSpPr/>
            <p:nvPr/>
          </p:nvSpPr>
          <p:spPr>
            <a:xfrm>
              <a:off x="11983852" y="7847993"/>
              <a:ext cx="90762" cy="33386"/>
            </a:xfrm>
            <a:custGeom>
              <a:avLst/>
              <a:gdLst>
                <a:gd name="connsiteX0" fmla="*/ 8390 w 90762"/>
                <a:gd name="connsiteY0" fmla="*/ 33386 h 33386"/>
                <a:gd name="connsiteX1" fmla="*/ 2288 w 90762"/>
                <a:gd name="connsiteY1" fmla="*/ 30336 h 33386"/>
                <a:gd name="connsiteX2" fmla="*/ 2288 w 90762"/>
                <a:gd name="connsiteY2" fmla="*/ 18132 h 33386"/>
                <a:gd name="connsiteX3" fmla="*/ 87712 w 90762"/>
                <a:gd name="connsiteY3" fmla="*/ 12030 h 33386"/>
                <a:gd name="connsiteX4" fmla="*/ 90763 w 90762"/>
                <a:gd name="connsiteY4" fmla="*/ 24234 h 33386"/>
                <a:gd name="connsiteX5" fmla="*/ 78559 w 90762"/>
                <a:gd name="connsiteY5" fmla="*/ 27285 h 33386"/>
                <a:gd name="connsiteX6" fmla="*/ 11441 w 90762"/>
                <a:gd name="connsiteY6" fmla="*/ 30336 h 33386"/>
                <a:gd name="connsiteX7" fmla="*/ 8390 w 90762"/>
                <a:gd name="connsiteY7" fmla="*/ 33386 h 33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762" h="33386">
                  <a:moveTo>
                    <a:pt x="8390" y="33386"/>
                  </a:moveTo>
                  <a:cubicBezTo>
                    <a:pt x="5339" y="33386"/>
                    <a:pt x="5339" y="33386"/>
                    <a:pt x="2288" y="30336"/>
                  </a:cubicBezTo>
                  <a:cubicBezTo>
                    <a:pt x="-763" y="27285"/>
                    <a:pt x="-763" y="21183"/>
                    <a:pt x="2288" y="18132"/>
                  </a:cubicBezTo>
                  <a:cubicBezTo>
                    <a:pt x="17542" y="5929"/>
                    <a:pt x="51101" y="-12376"/>
                    <a:pt x="87712" y="12030"/>
                  </a:cubicBezTo>
                  <a:cubicBezTo>
                    <a:pt x="90763" y="15081"/>
                    <a:pt x="90763" y="18132"/>
                    <a:pt x="90763" y="24234"/>
                  </a:cubicBezTo>
                  <a:cubicBezTo>
                    <a:pt x="87712" y="27285"/>
                    <a:pt x="84661" y="27285"/>
                    <a:pt x="78559" y="27285"/>
                  </a:cubicBezTo>
                  <a:cubicBezTo>
                    <a:pt x="45000" y="2878"/>
                    <a:pt x="14492" y="30336"/>
                    <a:pt x="11441" y="30336"/>
                  </a:cubicBezTo>
                  <a:cubicBezTo>
                    <a:pt x="11441" y="33386"/>
                    <a:pt x="8390" y="33386"/>
                    <a:pt x="8390" y="33386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F1EE802D-5F40-4BA5-9651-706DF224CA20}"/>
                </a:ext>
              </a:extLst>
            </p:cNvPr>
            <p:cNvSpPr/>
            <p:nvPr/>
          </p:nvSpPr>
          <p:spPr>
            <a:xfrm>
              <a:off x="11964784" y="8162057"/>
              <a:ext cx="227118" cy="70169"/>
            </a:xfrm>
            <a:custGeom>
              <a:avLst/>
              <a:gdLst>
                <a:gd name="connsiteX0" fmla="*/ 149491 w 227118"/>
                <a:gd name="connsiteY0" fmla="*/ 70170 h 70169"/>
                <a:gd name="connsiteX1" fmla="*/ 146440 w 227118"/>
                <a:gd name="connsiteY1" fmla="*/ 70170 h 70169"/>
                <a:gd name="connsiteX2" fmla="*/ 3051 w 227118"/>
                <a:gd name="connsiteY2" fmla="*/ 12204 h 70169"/>
                <a:gd name="connsiteX3" fmla="*/ 0 w 227118"/>
                <a:gd name="connsiteY3" fmla="*/ 3051 h 70169"/>
                <a:gd name="connsiteX4" fmla="*/ 9152 w 227118"/>
                <a:gd name="connsiteY4" fmla="*/ 0 h 70169"/>
                <a:gd name="connsiteX5" fmla="*/ 146440 w 227118"/>
                <a:gd name="connsiteY5" fmla="*/ 54915 h 70169"/>
                <a:gd name="connsiteX6" fmla="*/ 149491 w 227118"/>
                <a:gd name="connsiteY6" fmla="*/ 54915 h 70169"/>
                <a:gd name="connsiteX7" fmla="*/ 216610 w 227118"/>
                <a:gd name="connsiteY7" fmla="*/ 33560 h 70169"/>
                <a:gd name="connsiteX8" fmla="*/ 225763 w 227118"/>
                <a:gd name="connsiteY8" fmla="*/ 33560 h 70169"/>
                <a:gd name="connsiteX9" fmla="*/ 225763 w 227118"/>
                <a:gd name="connsiteY9" fmla="*/ 42712 h 70169"/>
                <a:gd name="connsiteX10" fmla="*/ 149491 w 227118"/>
                <a:gd name="connsiteY10" fmla="*/ 70170 h 7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7118" h="70169">
                  <a:moveTo>
                    <a:pt x="149491" y="70170"/>
                  </a:moveTo>
                  <a:cubicBezTo>
                    <a:pt x="149491" y="70170"/>
                    <a:pt x="146440" y="70170"/>
                    <a:pt x="146440" y="70170"/>
                  </a:cubicBezTo>
                  <a:cubicBezTo>
                    <a:pt x="94576" y="67119"/>
                    <a:pt x="6101" y="15254"/>
                    <a:pt x="3051" y="12204"/>
                  </a:cubicBezTo>
                  <a:cubicBezTo>
                    <a:pt x="0" y="9153"/>
                    <a:pt x="0" y="6102"/>
                    <a:pt x="0" y="3051"/>
                  </a:cubicBezTo>
                  <a:cubicBezTo>
                    <a:pt x="3051" y="0"/>
                    <a:pt x="6101" y="0"/>
                    <a:pt x="9152" y="0"/>
                  </a:cubicBezTo>
                  <a:cubicBezTo>
                    <a:pt x="9152" y="0"/>
                    <a:pt x="97627" y="54915"/>
                    <a:pt x="146440" y="54915"/>
                  </a:cubicBezTo>
                  <a:cubicBezTo>
                    <a:pt x="146440" y="54915"/>
                    <a:pt x="149491" y="54915"/>
                    <a:pt x="149491" y="54915"/>
                  </a:cubicBezTo>
                  <a:cubicBezTo>
                    <a:pt x="186102" y="54915"/>
                    <a:pt x="216610" y="33560"/>
                    <a:pt x="216610" y="33560"/>
                  </a:cubicBezTo>
                  <a:cubicBezTo>
                    <a:pt x="219660" y="30508"/>
                    <a:pt x="222711" y="33560"/>
                    <a:pt x="225763" y="33560"/>
                  </a:cubicBezTo>
                  <a:cubicBezTo>
                    <a:pt x="228814" y="36611"/>
                    <a:pt x="225763" y="39661"/>
                    <a:pt x="225763" y="42712"/>
                  </a:cubicBezTo>
                  <a:cubicBezTo>
                    <a:pt x="225763" y="45763"/>
                    <a:pt x="192203" y="70170"/>
                    <a:pt x="149491" y="70170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BABC0559-B407-4FA1-AB63-81D31B4E80AB}"/>
                </a:ext>
              </a:extLst>
            </p:cNvPr>
            <p:cNvSpPr/>
            <p:nvPr/>
          </p:nvSpPr>
          <p:spPr>
            <a:xfrm>
              <a:off x="11850768" y="7673922"/>
              <a:ext cx="110965" cy="268474"/>
            </a:xfrm>
            <a:custGeom>
              <a:avLst/>
              <a:gdLst>
                <a:gd name="connsiteX0" fmla="*/ 110965 w 110965"/>
                <a:gd name="connsiteY0" fmla="*/ 128136 h 268474"/>
                <a:gd name="connsiteX1" fmla="*/ 56050 w 110965"/>
                <a:gd name="connsiteY1" fmla="*/ 268475 h 268474"/>
                <a:gd name="connsiteX2" fmla="*/ 4185 w 110965"/>
                <a:gd name="connsiteY2" fmla="*/ 164746 h 268474"/>
                <a:gd name="connsiteX3" fmla="*/ 71304 w 110965"/>
                <a:gd name="connsiteY3" fmla="*/ 0 h 268474"/>
                <a:gd name="connsiteX4" fmla="*/ 110965 w 110965"/>
                <a:gd name="connsiteY4" fmla="*/ 128136 h 268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965" h="268474">
                  <a:moveTo>
                    <a:pt x="110965" y="128136"/>
                  </a:moveTo>
                  <a:cubicBezTo>
                    <a:pt x="110965" y="128136"/>
                    <a:pt x="49948" y="234916"/>
                    <a:pt x="56050" y="268475"/>
                  </a:cubicBezTo>
                  <a:cubicBezTo>
                    <a:pt x="56050" y="268475"/>
                    <a:pt x="16389" y="222712"/>
                    <a:pt x="4185" y="164746"/>
                  </a:cubicBezTo>
                  <a:cubicBezTo>
                    <a:pt x="-8018" y="103729"/>
                    <a:pt x="4185" y="12204"/>
                    <a:pt x="71304" y="0"/>
                  </a:cubicBezTo>
                  <a:cubicBezTo>
                    <a:pt x="68253" y="0"/>
                    <a:pt x="71304" y="106780"/>
                    <a:pt x="110965" y="128136"/>
                  </a:cubicBezTo>
                  <a:close/>
                </a:path>
              </a:pathLst>
            </a:custGeom>
            <a:solidFill>
              <a:srgbClr val="664241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6C7E078B-78D6-4000-98D7-A8E6501E972B}"/>
                </a:ext>
              </a:extLst>
            </p:cNvPr>
            <p:cNvSpPr/>
            <p:nvPr/>
          </p:nvSpPr>
          <p:spPr>
            <a:xfrm>
              <a:off x="11906356" y="7567656"/>
              <a:ext cx="435970" cy="359486"/>
            </a:xfrm>
            <a:custGeom>
              <a:avLst/>
              <a:gdLst>
                <a:gd name="connsiteX0" fmla="*/ 55377 w 435970"/>
                <a:gd name="connsiteY0" fmla="*/ 234402 h 359486"/>
                <a:gd name="connsiteX1" fmla="*/ 180462 w 435970"/>
                <a:gd name="connsiteY1" fmla="*/ 200842 h 359486"/>
                <a:gd name="connsiteX2" fmla="*/ 415377 w 435970"/>
                <a:gd name="connsiteY2" fmla="*/ 359486 h 359486"/>
                <a:gd name="connsiteX3" fmla="*/ 427581 w 435970"/>
                <a:gd name="connsiteY3" fmla="*/ 191689 h 359486"/>
                <a:gd name="connsiteX4" fmla="*/ 342157 w 435970"/>
                <a:gd name="connsiteY4" fmla="*/ 39147 h 359486"/>
                <a:gd name="connsiteX5" fmla="*/ 140800 w 435970"/>
                <a:gd name="connsiteY5" fmla="*/ 14740 h 359486"/>
                <a:gd name="connsiteX6" fmla="*/ 15716 w 435970"/>
                <a:gd name="connsiteY6" fmla="*/ 106266 h 359486"/>
                <a:gd name="connsiteX7" fmla="*/ 55377 w 435970"/>
                <a:gd name="connsiteY7" fmla="*/ 234402 h 359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5970" h="359486">
                  <a:moveTo>
                    <a:pt x="55377" y="234402"/>
                  </a:moveTo>
                  <a:cubicBezTo>
                    <a:pt x="55377" y="234402"/>
                    <a:pt x="153005" y="200842"/>
                    <a:pt x="180462" y="200842"/>
                  </a:cubicBezTo>
                  <a:cubicBezTo>
                    <a:pt x="281140" y="209995"/>
                    <a:pt x="433682" y="286266"/>
                    <a:pt x="415377" y="359486"/>
                  </a:cubicBezTo>
                  <a:cubicBezTo>
                    <a:pt x="415377" y="359486"/>
                    <a:pt x="451987" y="258808"/>
                    <a:pt x="427581" y="191689"/>
                  </a:cubicBezTo>
                  <a:cubicBezTo>
                    <a:pt x="427581" y="191689"/>
                    <a:pt x="433682" y="66605"/>
                    <a:pt x="342157" y="39147"/>
                  </a:cubicBezTo>
                  <a:cubicBezTo>
                    <a:pt x="250631" y="11690"/>
                    <a:pt x="214022" y="-18819"/>
                    <a:pt x="140800" y="14740"/>
                  </a:cubicBezTo>
                  <a:cubicBezTo>
                    <a:pt x="67580" y="51351"/>
                    <a:pt x="21818" y="69656"/>
                    <a:pt x="15716" y="106266"/>
                  </a:cubicBezTo>
                  <a:cubicBezTo>
                    <a:pt x="12665" y="106266"/>
                    <a:pt x="-36148" y="219147"/>
                    <a:pt x="55377" y="234402"/>
                  </a:cubicBezTo>
                  <a:close/>
                </a:path>
              </a:pathLst>
            </a:custGeom>
            <a:solidFill>
              <a:srgbClr val="664241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05EE6F74-AEE5-49E9-9867-7B4523A34E4F}"/>
                </a:ext>
              </a:extLst>
            </p:cNvPr>
            <p:cNvSpPr/>
            <p:nvPr/>
          </p:nvSpPr>
          <p:spPr>
            <a:xfrm>
              <a:off x="11841017" y="7906039"/>
              <a:ext cx="77148" cy="113098"/>
            </a:xfrm>
            <a:custGeom>
              <a:avLst/>
              <a:gdLst>
                <a:gd name="connsiteX0" fmla="*/ 65801 w 77148"/>
                <a:gd name="connsiteY0" fmla="*/ 18052 h 113098"/>
                <a:gd name="connsiteX1" fmla="*/ 7834 w 77148"/>
                <a:gd name="connsiteY1" fmla="*/ 5849 h 113098"/>
                <a:gd name="connsiteX2" fmla="*/ 62750 w 77148"/>
                <a:gd name="connsiteY2" fmla="*/ 109578 h 113098"/>
                <a:gd name="connsiteX3" fmla="*/ 65801 w 77148"/>
                <a:gd name="connsiteY3" fmla="*/ 18052 h 113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48" h="113098">
                  <a:moveTo>
                    <a:pt x="65801" y="18052"/>
                  </a:moveTo>
                  <a:cubicBezTo>
                    <a:pt x="65801" y="18052"/>
                    <a:pt x="32241" y="-12456"/>
                    <a:pt x="7834" y="5849"/>
                  </a:cubicBezTo>
                  <a:cubicBezTo>
                    <a:pt x="-16572" y="24154"/>
                    <a:pt x="20038" y="133984"/>
                    <a:pt x="62750" y="109578"/>
                  </a:cubicBezTo>
                  <a:cubicBezTo>
                    <a:pt x="93258" y="94324"/>
                    <a:pt x="65801" y="18052"/>
                    <a:pt x="65801" y="18052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990C2F2B-E7A5-4155-BC66-DBF1779504C2}"/>
                </a:ext>
              </a:extLst>
            </p:cNvPr>
            <p:cNvSpPr/>
            <p:nvPr/>
          </p:nvSpPr>
          <p:spPr>
            <a:xfrm>
              <a:off x="11896902" y="7689176"/>
              <a:ext cx="73982" cy="241017"/>
            </a:xfrm>
            <a:custGeom>
              <a:avLst/>
              <a:gdLst>
                <a:gd name="connsiteX0" fmla="*/ 9916 w 73982"/>
                <a:gd name="connsiteY0" fmla="*/ 241017 h 241017"/>
                <a:gd name="connsiteX1" fmla="*/ 9916 w 73982"/>
                <a:gd name="connsiteY1" fmla="*/ 241017 h 241017"/>
                <a:gd name="connsiteX2" fmla="*/ 3814 w 73982"/>
                <a:gd name="connsiteY2" fmla="*/ 234916 h 241017"/>
                <a:gd name="connsiteX3" fmla="*/ 52628 w 73982"/>
                <a:gd name="connsiteY3" fmla="*/ 115932 h 241017"/>
                <a:gd name="connsiteX4" fmla="*/ 6865 w 73982"/>
                <a:gd name="connsiteY4" fmla="*/ 70170 h 241017"/>
                <a:gd name="connsiteX5" fmla="*/ 6865 w 73982"/>
                <a:gd name="connsiteY5" fmla="*/ 3051 h 241017"/>
                <a:gd name="connsiteX6" fmla="*/ 16017 w 73982"/>
                <a:gd name="connsiteY6" fmla="*/ 0 h 241017"/>
                <a:gd name="connsiteX7" fmla="*/ 19068 w 73982"/>
                <a:gd name="connsiteY7" fmla="*/ 9153 h 241017"/>
                <a:gd name="connsiteX8" fmla="*/ 19068 w 73982"/>
                <a:gd name="connsiteY8" fmla="*/ 67119 h 241017"/>
                <a:gd name="connsiteX9" fmla="*/ 64831 w 73982"/>
                <a:gd name="connsiteY9" fmla="*/ 109831 h 241017"/>
                <a:gd name="connsiteX10" fmla="*/ 73983 w 73982"/>
                <a:gd name="connsiteY10" fmla="*/ 112882 h 241017"/>
                <a:gd name="connsiteX11" fmla="*/ 67882 w 73982"/>
                <a:gd name="connsiteY11" fmla="*/ 118983 h 241017"/>
                <a:gd name="connsiteX12" fmla="*/ 16017 w 73982"/>
                <a:gd name="connsiteY12" fmla="*/ 237966 h 241017"/>
                <a:gd name="connsiteX13" fmla="*/ 9916 w 73982"/>
                <a:gd name="connsiteY13" fmla="*/ 241017 h 24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982" h="241017">
                  <a:moveTo>
                    <a:pt x="9916" y="241017"/>
                  </a:moveTo>
                  <a:cubicBezTo>
                    <a:pt x="9916" y="241017"/>
                    <a:pt x="9916" y="241017"/>
                    <a:pt x="9916" y="241017"/>
                  </a:cubicBezTo>
                  <a:cubicBezTo>
                    <a:pt x="6865" y="241017"/>
                    <a:pt x="3814" y="237966"/>
                    <a:pt x="3814" y="234916"/>
                  </a:cubicBezTo>
                  <a:cubicBezTo>
                    <a:pt x="9916" y="183051"/>
                    <a:pt x="40424" y="134238"/>
                    <a:pt x="52628" y="115932"/>
                  </a:cubicBezTo>
                  <a:cubicBezTo>
                    <a:pt x="40424" y="109831"/>
                    <a:pt x="16017" y="97627"/>
                    <a:pt x="6865" y="70170"/>
                  </a:cubicBezTo>
                  <a:cubicBezTo>
                    <a:pt x="-2288" y="51865"/>
                    <a:pt x="-2288" y="27458"/>
                    <a:pt x="6865" y="3051"/>
                  </a:cubicBezTo>
                  <a:cubicBezTo>
                    <a:pt x="6865" y="0"/>
                    <a:pt x="12966" y="0"/>
                    <a:pt x="16017" y="0"/>
                  </a:cubicBezTo>
                  <a:cubicBezTo>
                    <a:pt x="19068" y="0"/>
                    <a:pt x="22119" y="6102"/>
                    <a:pt x="19068" y="9153"/>
                  </a:cubicBezTo>
                  <a:cubicBezTo>
                    <a:pt x="9916" y="30508"/>
                    <a:pt x="9916" y="48814"/>
                    <a:pt x="19068" y="67119"/>
                  </a:cubicBezTo>
                  <a:cubicBezTo>
                    <a:pt x="31271" y="97627"/>
                    <a:pt x="64831" y="109831"/>
                    <a:pt x="64831" y="109831"/>
                  </a:cubicBezTo>
                  <a:lnTo>
                    <a:pt x="73983" y="112882"/>
                  </a:lnTo>
                  <a:lnTo>
                    <a:pt x="67882" y="118983"/>
                  </a:lnTo>
                  <a:cubicBezTo>
                    <a:pt x="67882" y="118983"/>
                    <a:pt x="25170" y="176949"/>
                    <a:pt x="16017" y="237966"/>
                  </a:cubicBezTo>
                  <a:cubicBezTo>
                    <a:pt x="16017" y="237966"/>
                    <a:pt x="12966" y="241017"/>
                    <a:pt x="9916" y="241017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6F07CA16-B10F-4BC5-AEEA-6430A019EFA2}"/>
                </a:ext>
              </a:extLst>
            </p:cNvPr>
            <p:cNvSpPr/>
            <p:nvPr/>
          </p:nvSpPr>
          <p:spPr>
            <a:xfrm>
              <a:off x="11647496" y="11945108"/>
              <a:ext cx="201355" cy="256271"/>
            </a:xfrm>
            <a:custGeom>
              <a:avLst/>
              <a:gdLst>
                <a:gd name="connsiteX0" fmla="*/ 0 w 201355"/>
                <a:gd name="connsiteY0" fmla="*/ 216610 h 256271"/>
                <a:gd name="connsiteX1" fmla="*/ 0 w 201355"/>
                <a:gd name="connsiteY1" fmla="*/ 0 h 256271"/>
                <a:gd name="connsiteX2" fmla="*/ 201355 w 201355"/>
                <a:gd name="connsiteY2" fmla="*/ 0 h 256271"/>
                <a:gd name="connsiteX3" fmla="*/ 161695 w 201355"/>
                <a:gd name="connsiteY3" fmla="*/ 225763 h 256271"/>
                <a:gd name="connsiteX4" fmla="*/ 12203 w 201355"/>
                <a:gd name="connsiteY4" fmla="*/ 256271 h 256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355" h="256271">
                  <a:moveTo>
                    <a:pt x="0" y="216610"/>
                  </a:moveTo>
                  <a:lnTo>
                    <a:pt x="0" y="0"/>
                  </a:lnTo>
                  <a:lnTo>
                    <a:pt x="201355" y="0"/>
                  </a:lnTo>
                  <a:lnTo>
                    <a:pt x="161695" y="225763"/>
                  </a:lnTo>
                  <a:lnTo>
                    <a:pt x="12203" y="256271"/>
                  </a:ln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16DEF909-D44F-446D-B652-DC9654E156EC}"/>
                </a:ext>
              </a:extLst>
            </p:cNvPr>
            <p:cNvSpPr/>
            <p:nvPr/>
          </p:nvSpPr>
          <p:spPr>
            <a:xfrm>
              <a:off x="11545007" y="9788160"/>
              <a:ext cx="1150020" cy="2257627"/>
            </a:xfrm>
            <a:custGeom>
              <a:avLst/>
              <a:gdLst>
                <a:gd name="connsiteX0" fmla="*/ 1045201 w 1150020"/>
                <a:gd name="connsiteY0" fmla="*/ 18304 h 2257627"/>
                <a:gd name="connsiteX1" fmla="*/ 1142828 w 1150020"/>
                <a:gd name="connsiteY1" fmla="*/ 1391186 h 2257627"/>
                <a:gd name="connsiteX2" fmla="*/ 862150 w 1150020"/>
                <a:gd name="connsiteY2" fmla="*/ 2257627 h 2257627"/>
                <a:gd name="connsiteX3" fmla="*/ 575371 w 1150020"/>
                <a:gd name="connsiteY3" fmla="*/ 2257627 h 2257627"/>
                <a:gd name="connsiteX4" fmla="*/ 727913 w 1150020"/>
                <a:gd name="connsiteY4" fmla="*/ 1256949 h 2257627"/>
                <a:gd name="connsiteX5" fmla="*/ 547913 w 1150020"/>
                <a:gd name="connsiteY5" fmla="*/ 500339 h 2257627"/>
                <a:gd name="connsiteX6" fmla="*/ 517404 w 1150020"/>
                <a:gd name="connsiteY6" fmla="*/ 1241694 h 2257627"/>
                <a:gd name="connsiteX7" fmla="*/ 352658 w 1150020"/>
                <a:gd name="connsiteY7" fmla="*/ 2251525 h 2257627"/>
                <a:gd name="connsiteX8" fmla="*/ 44523 w 1150020"/>
                <a:gd name="connsiteY8" fmla="*/ 2236271 h 2257627"/>
                <a:gd name="connsiteX9" fmla="*/ 26218 w 1150020"/>
                <a:gd name="connsiteY9" fmla="*/ 1162372 h 2257627"/>
                <a:gd name="connsiteX10" fmla="*/ 23167 w 1150020"/>
                <a:gd name="connsiteY10" fmla="*/ 0 h 2257627"/>
                <a:gd name="connsiteX11" fmla="*/ 1045201 w 1150020"/>
                <a:gd name="connsiteY11" fmla="*/ 18304 h 225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50020" h="2257627">
                  <a:moveTo>
                    <a:pt x="1045201" y="18304"/>
                  </a:moveTo>
                  <a:cubicBezTo>
                    <a:pt x="1045201" y="18304"/>
                    <a:pt x="1182489" y="1287457"/>
                    <a:pt x="1142828" y="1391186"/>
                  </a:cubicBezTo>
                  <a:cubicBezTo>
                    <a:pt x="1106218" y="1497965"/>
                    <a:pt x="862150" y="2257627"/>
                    <a:pt x="862150" y="2257627"/>
                  </a:cubicBezTo>
                  <a:lnTo>
                    <a:pt x="575371" y="2257627"/>
                  </a:lnTo>
                  <a:cubicBezTo>
                    <a:pt x="575371" y="2257627"/>
                    <a:pt x="721811" y="1354576"/>
                    <a:pt x="727913" y="1256949"/>
                  </a:cubicBezTo>
                  <a:cubicBezTo>
                    <a:pt x="734014" y="1159322"/>
                    <a:pt x="563167" y="530847"/>
                    <a:pt x="547913" y="500339"/>
                  </a:cubicBezTo>
                  <a:cubicBezTo>
                    <a:pt x="532658" y="469830"/>
                    <a:pt x="517404" y="1241694"/>
                    <a:pt x="517404" y="1241694"/>
                  </a:cubicBezTo>
                  <a:lnTo>
                    <a:pt x="352658" y="2251525"/>
                  </a:lnTo>
                  <a:lnTo>
                    <a:pt x="44523" y="2236271"/>
                  </a:lnTo>
                  <a:cubicBezTo>
                    <a:pt x="44523" y="2236271"/>
                    <a:pt x="41473" y="1260000"/>
                    <a:pt x="26218" y="1162372"/>
                  </a:cubicBezTo>
                  <a:cubicBezTo>
                    <a:pt x="10964" y="1064746"/>
                    <a:pt x="-22595" y="97627"/>
                    <a:pt x="23167" y="0"/>
                  </a:cubicBezTo>
                  <a:cubicBezTo>
                    <a:pt x="718760" y="30508"/>
                    <a:pt x="1045201" y="18304"/>
                    <a:pt x="1045201" y="18304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AB1DEABA-1373-414D-823A-843B5D1655F8}"/>
                </a:ext>
              </a:extLst>
            </p:cNvPr>
            <p:cNvSpPr/>
            <p:nvPr/>
          </p:nvSpPr>
          <p:spPr>
            <a:xfrm>
              <a:off x="12077665" y="7743894"/>
              <a:ext cx="194492" cy="33757"/>
            </a:xfrm>
            <a:custGeom>
              <a:avLst/>
              <a:gdLst>
                <a:gd name="connsiteX0" fmla="*/ 192204 w 194492"/>
                <a:gd name="connsiteY0" fmla="*/ 33757 h 33757"/>
                <a:gd name="connsiteX1" fmla="*/ 189153 w 194492"/>
                <a:gd name="connsiteY1" fmla="*/ 33757 h 33757"/>
                <a:gd name="connsiteX2" fmla="*/ 9153 w 194492"/>
                <a:gd name="connsiteY2" fmla="*/ 33757 h 33757"/>
                <a:gd name="connsiteX3" fmla="*/ 0 w 194492"/>
                <a:gd name="connsiteY3" fmla="*/ 30706 h 33757"/>
                <a:gd name="connsiteX4" fmla="*/ 3051 w 194492"/>
                <a:gd name="connsiteY4" fmla="*/ 21554 h 33757"/>
                <a:gd name="connsiteX5" fmla="*/ 192204 w 194492"/>
                <a:gd name="connsiteY5" fmla="*/ 24605 h 33757"/>
                <a:gd name="connsiteX6" fmla="*/ 192204 w 194492"/>
                <a:gd name="connsiteY6" fmla="*/ 33757 h 33757"/>
                <a:gd name="connsiteX7" fmla="*/ 192204 w 194492"/>
                <a:gd name="connsiteY7" fmla="*/ 33757 h 33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4492" h="33757">
                  <a:moveTo>
                    <a:pt x="192204" y="33757"/>
                  </a:moveTo>
                  <a:cubicBezTo>
                    <a:pt x="192204" y="33757"/>
                    <a:pt x="189153" y="33757"/>
                    <a:pt x="189153" y="33757"/>
                  </a:cubicBezTo>
                  <a:cubicBezTo>
                    <a:pt x="125085" y="-15056"/>
                    <a:pt x="12204" y="30706"/>
                    <a:pt x="9153" y="33757"/>
                  </a:cubicBezTo>
                  <a:cubicBezTo>
                    <a:pt x="6102" y="33757"/>
                    <a:pt x="3051" y="33757"/>
                    <a:pt x="0" y="30706"/>
                  </a:cubicBezTo>
                  <a:cubicBezTo>
                    <a:pt x="0" y="27656"/>
                    <a:pt x="0" y="24605"/>
                    <a:pt x="3051" y="21554"/>
                  </a:cubicBezTo>
                  <a:cubicBezTo>
                    <a:pt x="9153" y="18503"/>
                    <a:pt x="125085" y="-27260"/>
                    <a:pt x="192204" y="24605"/>
                  </a:cubicBezTo>
                  <a:cubicBezTo>
                    <a:pt x="195255" y="27656"/>
                    <a:pt x="195255" y="30706"/>
                    <a:pt x="192204" y="33757"/>
                  </a:cubicBezTo>
                  <a:cubicBezTo>
                    <a:pt x="195255" y="33757"/>
                    <a:pt x="192204" y="33757"/>
                    <a:pt x="192204" y="33757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DC029174-FFE1-4C35-A70E-BAF77BA55509}"/>
                </a:ext>
              </a:extLst>
            </p:cNvPr>
            <p:cNvSpPr/>
            <p:nvPr/>
          </p:nvSpPr>
          <p:spPr>
            <a:xfrm>
              <a:off x="11540717" y="8277990"/>
              <a:ext cx="1071664" cy="1567951"/>
            </a:xfrm>
            <a:custGeom>
              <a:avLst/>
              <a:gdLst>
                <a:gd name="connsiteX0" fmla="*/ 396610 w 1071664"/>
                <a:gd name="connsiteY0" fmla="*/ 0 h 1567951"/>
                <a:gd name="connsiteX1" fmla="*/ 686441 w 1071664"/>
                <a:gd name="connsiteY1" fmla="*/ 0 h 1567951"/>
                <a:gd name="connsiteX2" fmla="*/ 985423 w 1071664"/>
                <a:gd name="connsiteY2" fmla="*/ 131187 h 1567951"/>
                <a:gd name="connsiteX3" fmla="*/ 1070847 w 1071664"/>
                <a:gd name="connsiteY3" fmla="*/ 1537627 h 1567951"/>
                <a:gd name="connsiteX4" fmla="*/ 0 w 1071664"/>
                <a:gd name="connsiteY4" fmla="*/ 1513220 h 1567951"/>
                <a:gd name="connsiteX5" fmla="*/ 115932 w 1071664"/>
                <a:gd name="connsiteY5" fmla="*/ 103729 h 1567951"/>
                <a:gd name="connsiteX6" fmla="*/ 396610 w 1071664"/>
                <a:gd name="connsiteY6" fmla="*/ 0 h 156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1664" h="1567951">
                  <a:moveTo>
                    <a:pt x="396610" y="0"/>
                  </a:moveTo>
                  <a:cubicBezTo>
                    <a:pt x="396610" y="0"/>
                    <a:pt x="570508" y="54915"/>
                    <a:pt x="686441" y="0"/>
                  </a:cubicBezTo>
                  <a:cubicBezTo>
                    <a:pt x="686441" y="0"/>
                    <a:pt x="961017" y="97627"/>
                    <a:pt x="985423" y="131187"/>
                  </a:cubicBezTo>
                  <a:cubicBezTo>
                    <a:pt x="1009830" y="161695"/>
                    <a:pt x="1080000" y="1470508"/>
                    <a:pt x="1070847" y="1537627"/>
                  </a:cubicBezTo>
                  <a:cubicBezTo>
                    <a:pt x="1070847" y="1537627"/>
                    <a:pt x="579661" y="1620000"/>
                    <a:pt x="0" y="1513220"/>
                  </a:cubicBezTo>
                  <a:cubicBezTo>
                    <a:pt x="0" y="1156272"/>
                    <a:pt x="73220" y="134238"/>
                    <a:pt x="115932" y="103729"/>
                  </a:cubicBezTo>
                  <a:cubicBezTo>
                    <a:pt x="155592" y="70170"/>
                    <a:pt x="396610" y="0"/>
                    <a:pt x="396610" y="0"/>
                  </a:cubicBezTo>
                  <a:close/>
                </a:path>
              </a:pathLst>
            </a:custGeom>
            <a:solidFill>
              <a:srgbClr val="F6EBE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9A39D236-DCBE-47E8-9D74-94048D41E43D}"/>
                </a:ext>
              </a:extLst>
            </p:cNvPr>
            <p:cNvSpPr/>
            <p:nvPr/>
          </p:nvSpPr>
          <p:spPr>
            <a:xfrm>
              <a:off x="11934276" y="8277990"/>
              <a:ext cx="179999" cy="118983"/>
            </a:xfrm>
            <a:custGeom>
              <a:avLst/>
              <a:gdLst>
                <a:gd name="connsiteX0" fmla="*/ 180000 w 179999"/>
                <a:gd name="connsiteY0" fmla="*/ 21356 h 118983"/>
                <a:gd name="connsiteX1" fmla="*/ 152542 w 179999"/>
                <a:gd name="connsiteY1" fmla="*/ 118983 h 118983"/>
                <a:gd name="connsiteX2" fmla="*/ 0 w 179999"/>
                <a:gd name="connsiteY2" fmla="*/ 0 h 118983"/>
                <a:gd name="connsiteX3" fmla="*/ 180000 w 179999"/>
                <a:gd name="connsiteY3" fmla="*/ 21356 h 118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999" h="118983">
                  <a:moveTo>
                    <a:pt x="180000" y="21356"/>
                  </a:moveTo>
                  <a:lnTo>
                    <a:pt x="152542" y="118983"/>
                  </a:lnTo>
                  <a:lnTo>
                    <a:pt x="0" y="0"/>
                  </a:lnTo>
                  <a:cubicBezTo>
                    <a:pt x="3051" y="0"/>
                    <a:pt x="137288" y="21356"/>
                    <a:pt x="180000" y="21356"/>
                  </a:cubicBezTo>
                  <a:close/>
                </a:path>
              </a:pathLst>
            </a:custGeom>
            <a:solidFill>
              <a:srgbClr val="FFFFFF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76058B5F-6769-4DB7-85C9-F7E46DC7489C}"/>
                </a:ext>
              </a:extLst>
            </p:cNvPr>
            <p:cNvSpPr/>
            <p:nvPr/>
          </p:nvSpPr>
          <p:spPr>
            <a:xfrm>
              <a:off x="12114276" y="8277990"/>
              <a:ext cx="109830" cy="115932"/>
            </a:xfrm>
            <a:custGeom>
              <a:avLst/>
              <a:gdLst>
                <a:gd name="connsiteX0" fmla="*/ 0 w 109830"/>
                <a:gd name="connsiteY0" fmla="*/ 21356 h 115932"/>
                <a:gd name="connsiteX1" fmla="*/ 36611 w 109830"/>
                <a:gd name="connsiteY1" fmla="*/ 115932 h 115932"/>
                <a:gd name="connsiteX2" fmla="*/ 109831 w 109830"/>
                <a:gd name="connsiteY2" fmla="*/ 0 h 115932"/>
                <a:gd name="connsiteX3" fmla="*/ 0 w 109830"/>
                <a:gd name="connsiteY3" fmla="*/ 21356 h 11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830" h="115932">
                  <a:moveTo>
                    <a:pt x="0" y="21356"/>
                  </a:moveTo>
                  <a:lnTo>
                    <a:pt x="36611" y="115932"/>
                  </a:lnTo>
                  <a:lnTo>
                    <a:pt x="109831" y="0"/>
                  </a:lnTo>
                  <a:cubicBezTo>
                    <a:pt x="109831" y="0"/>
                    <a:pt x="42712" y="21356"/>
                    <a:pt x="0" y="21356"/>
                  </a:cubicBezTo>
                  <a:close/>
                </a:path>
              </a:pathLst>
            </a:custGeom>
            <a:solidFill>
              <a:srgbClr val="FFFFFF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24F36765-D029-4E46-88C9-67DB1F750D21}"/>
                </a:ext>
              </a:extLst>
            </p:cNvPr>
            <p:cNvSpPr/>
            <p:nvPr/>
          </p:nvSpPr>
          <p:spPr>
            <a:xfrm>
              <a:off x="12368116" y="8364899"/>
              <a:ext cx="450905" cy="611735"/>
            </a:xfrm>
            <a:custGeom>
              <a:avLst/>
              <a:gdLst>
                <a:gd name="connsiteX0" fmla="*/ 63448 w 450905"/>
                <a:gd name="connsiteY0" fmla="*/ 611735 h 611735"/>
                <a:gd name="connsiteX1" fmla="*/ 51245 w 450905"/>
                <a:gd name="connsiteY1" fmla="*/ 10718 h 611735"/>
                <a:gd name="connsiteX2" fmla="*/ 450906 w 450905"/>
                <a:gd name="connsiteY2" fmla="*/ 443939 h 611735"/>
                <a:gd name="connsiteX3" fmla="*/ 63448 w 450905"/>
                <a:gd name="connsiteY3" fmla="*/ 611735 h 61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0905" h="611735">
                  <a:moveTo>
                    <a:pt x="63448" y="611735"/>
                  </a:moveTo>
                  <a:cubicBezTo>
                    <a:pt x="63448" y="611735"/>
                    <a:pt x="-70789" y="90040"/>
                    <a:pt x="51245" y="10718"/>
                  </a:cubicBezTo>
                  <a:cubicBezTo>
                    <a:pt x="194635" y="-80807"/>
                    <a:pt x="450906" y="443939"/>
                    <a:pt x="450906" y="443939"/>
                  </a:cubicBezTo>
                  <a:cubicBezTo>
                    <a:pt x="450906" y="443939"/>
                    <a:pt x="277007" y="593430"/>
                    <a:pt x="63448" y="611735"/>
                  </a:cubicBezTo>
                  <a:close/>
                </a:path>
              </a:pathLst>
            </a:custGeom>
            <a:solidFill>
              <a:srgbClr val="F6EBE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B8B43408-11B4-4523-9C68-848E05B36457}"/>
                </a:ext>
              </a:extLst>
            </p:cNvPr>
            <p:cNvSpPr/>
            <p:nvPr/>
          </p:nvSpPr>
          <p:spPr>
            <a:xfrm>
              <a:off x="12520038" y="8403075"/>
              <a:ext cx="51864" cy="552203"/>
            </a:xfrm>
            <a:custGeom>
              <a:avLst/>
              <a:gdLst>
                <a:gd name="connsiteX0" fmla="*/ 48814 w 51864"/>
                <a:gd name="connsiteY0" fmla="*/ 552203 h 552203"/>
                <a:gd name="connsiteX1" fmla="*/ 42713 w 51864"/>
                <a:gd name="connsiteY1" fmla="*/ 546102 h 552203"/>
                <a:gd name="connsiteX2" fmla="*/ 0 w 51864"/>
                <a:gd name="connsiteY2" fmla="*/ 6102 h 552203"/>
                <a:gd name="connsiteX3" fmla="*/ 3051 w 51864"/>
                <a:gd name="connsiteY3" fmla="*/ 0 h 552203"/>
                <a:gd name="connsiteX4" fmla="*/ 9153 w 51864"/>
                <a:gd name="connsiteY4" fmla="*/ 3051 h 552203"/>
                <a:gd name="connsiteX5" fmla="*/ 51865 w 51864"/>
                <a:gd name="connsiteY5" fmla="*/ 546102 h 552203"/>
                <a:gd name="connsiteX6" fmla="*/ 48814 w 51864"/>
                <a:gd name="connsiteY6" fmla="*/ 552203 h 552203"/>
                <a:gd name="connsiteX7" fmla="*/ 48814 w 51864"/>
                <a:gd name="connsiteY7" fmla="*/ 552203 h 552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864" h="552203">
                  <a:moveTo>
                    <a:pt x="48814" y="552203"/>
                  </a:moveTo>
                  <a:cubicBezTo>
                    <a:pt x="45763" y="552203"/>
                    <a:pt x="42713" y="549153"/>
                    <a:pt x="42713" y="546102"/>
                  </a:cubicBezTo>
                  <a:cubicBezTo>
                    <a:pt x="42713" y="540000"/>
                    <a:pt x="6102" y="45763"/>
                    <a:pt x="0" y="6102"/>
                  </a:cubicBezTo>
                  <a:cubicBezTo>
                    <a:pt x="0" y="3051"/>
                    <a:pt x="0" y="0"/>
                    <a:pt x="3051" y="0"/>
                  </a:cubicBezTo>
                  <a:cubicBezTo>
                    <a:pt x="6102" y="0"/>
                    <a:pt x="9153" y="0"/>
                    <a:pt x="9153" y="3051"/>
                  </a:cubicBezTo>
                  <a:cubicBezTo>
                    <a:pt x="18305" y="42712"/>
                    <a:pt x="51865" y="524746"/>
                    <a:pt x="51865" y="546102"/>
                  </a:cubicBezTo>
                  <a:cubicBezTo>
                    <a:pt x="51865" y="549153"/>
                    <a:pt x="51865" y="552203"/>
                    <a:pt x="48814" y="552203"/>
                  </a:cubicBezTo>
                  <a:cubicBezTo>
                    <a:pt x="48814" y="552203"/>
                    <a:pt x="48814" y="552203"/>
                    <a:pt x="48814" y="552203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D9992A1D-5459-45B3-869A-0E34933F4A33}"/>
                </a:ext>
              </a:extLst>
            </p:cNvPr>
            <p:cNvSpPr/>
            <p:nvPr/>
          </p:nvSpPr>
          <p:spPr>
            <a:xfrm>
              <a:off x="12086818" y="9931549"/>
              <a:ext cx="70169" cy="366101"/>
            </a:xfrm>
            <a:custGeom>
              <a:avLst/>
              <a:gdLst>
                <a:gd name="connsiteX0" fmla="*/ 6101 w 70169"/>
                <a:gd name="connsiteY0" fmla="*/ 366102 h 366101"/>
                <a:gd name="connsiteX1" fmla="*/ 6101 w 70169"/>
                <a:gd name="connsiteY1" fmla="*/ 366102 h 366101"/>
                <a:gd name="connsiteX2" fmla="*/ 0 w 70169"/>
                <a:gd name="connsiteY2" fmla="*/ 356950 h 366101"/>
                <a:gd name="connsiteX3" fmla="*/ 57966 w 70169"/>
                <a:gd name="connsiteY3" fmla="*/ 6102 h 366101"/>
                <a:gd name="connsiteX4" fmla="*/ 64068 w 70169"/>
                <a:gd name="connsiteY4" fmla="*/ 0 h 366101"/>
                <a:gd name="connsiteX5" fmla="*/ 70169 w 70169"/>
                <a:gd name="connsiteY5" fmla="*/ 6102 h 366101"/>
                <a:gd name="connsiteX6" fmla="*/ 12203 w 70169"/>
                <a:gd name="connsiteY6" fmla="*/ 360001 h 366101"/>
                <a:gd name="connsiteX7" fmla="*/ 6101 w 70169"/>
                <a:gd name="connsiteY7" fmla="*/ 366102 h 36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169" h="366101">
                  <a:moveTo>
                    <a:pt x="6101" y="366102"/>
                  </a:moveTo>
                  <a:cubicBezTo>
                    <a:pt x="6101" y="366102"/>
                    <a:pt x="3051" y="366102"/>
                    <a:pt x="6101" y="366102"/>
                  </a:cubicBezTo>
                  <a:cubicBezTo>
                    <a:pt x="0" y="363051"/>
                    <a:pt x="0" y="360001"/>
                    <a:pt x="0" y="356950"/>
                  </a:cubicBezTo>
                  <a:cubicBezTo>
                    <a:pt x="48814" y="244068"/>
                    <a:pt x="57966" y="9153"/>
                    <a:pt x="57966" y="6102"/>
                  </a:cubicBezTo>
                  <a:cubicBezTo>
                    <a:pt x="57966" y="3051"/>
                    <a:pt x="61017" y="0"/>
                    <a:pt x="64068" y="0"/>
                  </a:cubicBezTo>
                  <a:cubicBezTo>
                    <a:pt x="67118" y="0"/>
                    <a:pt x="70169" y="3051"/>
                    <a:pt x="70169" y="6102"/>
                  </a:cubicBezTo>
                  <a:cubicBezTo>
                    <a:pt x="70169" y="15254"/>
                    <a:pt x="61017" y="244068"/>
                    <a:pt x="12203" y="360001"/>
                  </a:cubicBezTo>
                  <a:cubicBezTo>
                    <a:pt x="9152" y="363051"/>
                    <a:pt x="9152" y="366102"/>
                    <a:pt x="6101" y="366102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868D1E03-C66E-4AD6-984E-F67BB852EB38}"/>
                </a:ext>
              </a:extLst>
            </p:cNvPr>
            <p:cNvSpPr/>
            <p:nvPr/>
          </p:nvSpPr>
          <p:spPr>
            <a:xfrm>
              <a:off x="12113012" y="9861380"/>
              <a:ext cx="156857" cy="356948"/>
            </a:xfrm>
            <a:custGeom>
              <a:avLst/>
              <a:gdLst>
                <a:gd name="connsiteX0" fmla="*/ 7366 w 156857"/>
                <a:gd name="connsiteY0" fmla="*/ 356949 h 356948"/>
                <a:gd name="connsiteX1" fmla="*/ 1264 w 156857"/>
                <a:gd name="connsiteY1" fmla="*/ 353899 h 356948"/>
                <a:gd name="connsiteX2" fmla="*/ 4315 w 156857"/>
                <a:gd name="connsiteY2" fmla="*/ 344745 h 356948"/>
                <a:gd name="connsiteX3" fmla="*/ 111094 w 156857"/>
                <a:gd name="connsiteY3" fmla="*/ 268474 h 356948"/>
                <a:gd name="connsiteX4" fmla="*/ 144654 w 156857"/>
                <a:gd name="connsiteY4" fmla="*/ 6101 h 356948"/>
                <a:gd name="connsiteX5" fmla="*/ 150755 w 156857"/>
                <a:gd name="connsiteY5" fmla="*/ 0 h 356948"/>
                <a:gd name="connsiteX6" fmla="*/ 156857 w 156857"/>
                <a:gd name="connsiteY6" fmla="*/ 6101 h 356948"/>
                <a:gd name="connsiteX7" fmla="*/ 123298 w 156857"/>
                <a:gd name="connsiteY7" fmla="*/ 274576 h 356948"/>
                <a:gd name="connsiteX8" fmla="*/ 13467 w 156857"/>
                <a:gd name="connsiteY8" fmla="*/ 353899 h 356948"/>
                <a:gd name="connsiteX9" fmla="*/ 7366 w 156857"/>
                <a:gd name="connsiteY9" fmla="*/ 356949 h 356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857" h="356948">
                  <a:moveTo>
                    <a:pt x="7366" y="356949"/>
                  </a:moveTo>
                  <a:cubicBezTo>
                    <a:pt x="4315" y="356949"/>
                    <a:pt x="4315" y="356949"/>
                    <a:pt x="1264" y="353899"/>
                  </a:cubicBezTo>
                  <a:cubicBezTo>
                    <a:pt x="-1787" y="350847"/>
                    <a:pt x="1264" y="347796"/>
                    <a:pt x="4315" y="344745"/>
                  </a:cubicBezTo>
                  <a:cubicBezTo>
                    <a:pt x="43975" y="320339"/>
                    <a:pt x="101941" y="277627"/>
                    <a:pt x="111094" y="268474"/>
                  </a:cubicBezTo>
                  <a:cubicBezTo>
                    <a:pt x="120247" y="256271"/>
                    <a:pt x="135501" y="100678"/>
                    <a:pt x="144654" y="6101"/>
                  </a:cubicBezTo>
                  <a:cubicBezTo>
                    <a:pt x="144654" y="3051"/>
                    <a:pt x="147704" y="0"/>
                    <a:pt x="150755" y="0"/>
                  </a:cubicBezTo>
                  <a:cubicBezTo>
                    <a:pt x="153806" y="0"/>
                    <a:pt x="156857" y="3051"/>
                    <a:pt x="156857" y="6101"/>
                  </a:cubicBezTo>
                  <a:cubicBezTo>
                    <a:pt x="153806" y="48814"/>
                    <a:pt x="132450" y="259322"/>
                    <a:pt x="123298" y="274576"/>
                  </a:cubicBezTo>
                  <a:cubicBezTo>
                    <a:pt x="111094" y="289831"/>
                    <a:pt x="22620" y="347796"/>
                    <a:pt x="13467" y="353899"/>
                  </a:cubicBezTo>
                  <a:cubicBezTo>
                    <a:pt x="10416" y="356949"/>
                    <a:pt x="10416" y="356949"/>
                    <a:pt x="7366" y="356949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E6B35D9A-521C-4122-BF00-0EBDFFFDEF29}"/>
                </a:ext>
              </a:extLst>
            </p:cNvPr>
            <p:cNvSpPr/>
            <p:nvPr/>
          </p:nvSpPr>
          <p:spPr>
            <a:xfrm>
              <a:off x="11562411" y="12140362"/>
              <a:ext cx="286188" cy="335593"/>
            </a:xfrm>
            <a:custGeom>
              <a:avLst/>
              <a:gdLst>
                <a:gd name="connsiteX0" fmla="*/ 2712 w 286188"/>
                <a:gd name="connsiteY0" fmla="*/ 225763 h 335593"/>
                <a:gd name="connsiteX1" fmla="*/ 2712 w 286188"/>
                <a:gd name="connsiteY1" fmla="*/ 280678 h 335593"/>
                <a:gd name="connsiteX2" fmla="*/ 136949 w 286188"/>
                <a:gd name="connsiteY2" fmla="*/ 335593 h 335593"/>
                <a:gd name="connsiteX3" fmla="*/ 280339 w 286188"/>
                <a:gd name="connsiteY3" fmla="*/ 280678 h 335593"/>
                <a:gd name="connsiteX4" fmla="*/ 268136 w 286188"/>
                <a:gd name="connsiteY4" fmla="*/ 39662 h 335593"/>
                <a:gd name="connsiteX5" fmla="*/ 252882 w 286188"/>
                <a:gd name="connsiteY5" fmla="*/ 0 h 335593"/>
                <a:gd name="connsiteX6" fmla="*/ 234577 w 286188"/>
                <a:gd name="connsiteY6" fmla="*/ 225763 h 335593"/>
                <a:gd name="connsiteX7" fmla="*/ 2712 w 286188"/>
                <a:gd name="connsiteY7" fmla="*/ 225763 h 335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6188" h="335593">
                  <a:moveTo>
                    <a:pt x="2712" y="225763"/>
                  </a:moveTo>
                  <a:cubicBezTo>
                    <a:pt x="2712" y="225763"/>
                    <a:pt x="-3390" y="268475"/>
                    <a:pt x="2712" y="280678"/>
                  </a:cubicBezTo>
                  <a:cubicBezTo>
                    <a:pt x="11864" y="298984"/>
                    <a:pt x="72881" y="335593"/>
                    <a:pt x="136949" y="335593"/>
                  </a:cubicBezTo>
                  <a:cubicBezTo>
                    <a:pt x="213220" y="335593"/>
                    <a:pt x="265085" y="298984"/>
                    <a:pt x="280339" y="280678"/>
                  </a:cubicBezTo>
                  <a:cubicBezTo>
                    <a:pt x="298645" y="262373"/>
                    <a:pt x="268136" y="39662"/>
                    <a:pt x="268136" y="39662"/>
                  </a:cubicBezTo>
                  <a:lnTo>
                    <a:pt x="252882" y="0"/>
                  </a:lnTo>
                  <a:lnTo>
                    <a:pt x="234577" y="225763"/>
                  </a:lnTo>
                  <a:lnTo>
                    <a:pt x="2712" y="225763"/>
                  </a:ln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DB9B1E1-EE63-4371-B331-EDCFD0AD7C71}"/>
                </a:ext>
              </a:extLst>
            </p:cNvPr>
            <p:cNvSpPr/>
            <p:nvPr/>
          </p:nvSpPr>
          <p:spPr>
            <a:xfrm>
              <a:off x="11564303" y="12125108"/>
              <a:ext cx="271347" cy="311397"/>
            </a:xfrm>
            <a:custGeom>
              <a:avLst/>
              <a:gdLst>
                <a:gd name="connsiteX0" fmla="*/ 77091 w 271347"/>
                <a:gd name="connsiteY0" fmla="*/ 0 h 311397"/>
                <a:gd name="connsiteX1" fmla="*/ 254040 w 271347"/>
                <a:gd name="connsiteY1" fmla="*/ 15254 h 311397"/>
                <a:gd name="connsiteX2" fmla="*/ 269294 w 271347"/>
                <a:gd name="connsiteY2" fmla="*/ 250170 h 311397"/>
                <a:gd name="connsiteX3" fmla="*/ 128956 w 271347"/>
                <a:gd name="connsiteY3" fmla="*/ 311187 h 311397"/>
                <a:gd name="connsiteX4" fmla="*/ 820 w 271347"/>
                <a:gd name="connsiteY4" fmla="*/ 247119 h 311397"/>
                <a:gd name="connsiteX5" fmla="*/ 77091 w 271347"/>
                <a:gd name="connsiteY5" fmla="*/ 0 h 311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347" h="311397">
                  <a:moveTo>
                    <a:pt x="77091" y="0"/>
                  </a:moveTo>
                  <a:cubicBezTo>
                    <a:pt x="77091" y="0"/>
                    <a:pt x="138108" y="70170"/>
                    <a:pt x="254040" y="15254"/>
                  </a:cubicBezTo>
                  <a:cubicBezTo>
                    <a:pt x="254040" y="15254"/>
                    <a:pt x="278447" y="216610"/>
                    <a:pt x="269294" y="250170"/>
                  </a:cubicBezTo>
                  <a:cubicBezTo>
                    <a:pt x="257091" y="283729"/>
                    <a:pt x="168616" y="314238"/>
                    <a:pt x="128956" y="311187"/>
                  </a:cubicBezTo>
                  <a:cubicBezTo>
                    <a:pt x="89294" y="308136"/>
                    <a:pt x="13023" y="271526"/>
                    <a:pt x="820" y="247119"/>
                  </a:cubicBezTo>
                  <a:cubicBezTo>
                    <a:pt x="-8332" y="225763"/>
                    <a:pt x="61837" y="54916"/>
                    <a:pt x="77091" y="0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2B3F80E6-D7FF-4927-B5EC-E6FCD67EC13D}"/>
                </a:ext>
              </a:extLst>
            </p:cNvPr>
            <p:cNvSpPr/>
            <p:nvPr/>
          </p:nvSpPr>
          <p:spPr>
            <a:xfrm>
              <a:off x="11637079" y="12117743"/>
              <a:ext cx="190416" cy="50077"/>
            </a:xfrm>
            <a:custGeom>
              <a:avLst/>
              <a:gdLst>
                <a:gd name="connsiteX0" fmla="*/ 92789 w 190416"/>
                <a:gd name="connsiteY0" fmla="*/ 50078 h 50077"/>
                <a:gd name="connsiteX1" fmla="*/ 1264 w 190416"/>
                <a:gd name="connsiteY1" fmla="*/ 10416 h 50077"/>
                <a:gd name="connsiteX2" fmla="*/ 4315 w 190416"/>
                <a:gd name="connsiteY2" fmla="*/ 1264 h 50077"/>
                <a:gd name="connsiteX3" fmla="*/ 13467 w 190416"/>
                <a:gd name="connsiteY3" fmla="*/ 4315 h 50077"/>
                <a:gd name="connsiteX4" fmla="*/ 184315 w 190416"/>
                <a:gd name="connsiteY4" fmla="*/ 16518 h 50077"/>
                <a:gd name="connsiteX5" fmla="*/ 190417 w 190416"/>
                <a:gd name="connsiteY5" fmla="*/ 19569 h 50077"/>
                <a:gd name="connsiteX6" fmla="*/ 187366 w 190416"/>
                <a:gd name="connsiteY6" fmla="*/ 25670 h 50077"/>
                <a:gd name="connsiteX7" fmla="*/ 92789 w 190416"/>
                <a:gd name="connsiteY7" fmla="*/ 50078 h 5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416" h="50077">
                  <a:moveTo>
                    <a:pt x="92789" y="50078"/>
                  </a:moveTo>
                  <a:cubicBezTo>
                    <a:pt x="28721" y="50078"/>
                    <a:pt x="4315" y="13467"/>
                    <a:pt x="1264" y="10416"/>
                  </a:cubicBezTo>
                  <a:cubicBezTo>
                    <a:pt x="-1787" y="7365"/>
                    <a:pt x="1264" y="4315"/>
                    <a:pt x="4315" y="1264"/>
                  </a:cubicBezTo>
                  <a:cubicBezTo>
                    <a:pt x="7366" y="-1787"/>
                    <a:pt x="10417" y="1264"/>
                    <a:pt x="13467" y="4315"/>
                  </a:cubicBezTo>
                  <a:cubicBezTo>
                    <a:pt x="16518" y="7365"/>
                    <a:pt x="59230" y="71433"/>
                    <a:pt x="184315" y="16518"/>
                  </a:cubicBezTo>
                  <a:cubicBezTo>
                    <a:pt x="187366" y="16518"/>
                    <a:pt x="190417" y="16518"/>
                    <a:pt x="190417" y="19569"/>
                  </a:cubicBezTo>
                  <a:cubicBezTo>
                    <a:pt x="190417" y="22619"/>
                    <a:pt x="190417" y="25670"/>
                    <a:pt x="187366" y="25670"/>
                  </a:cubicBezTo>
                  <a:cubicBezTo>
                    <a:pt x="147705" y="43975"/>
                    <a:pt x="117197" y="50078"/>
                    <a:pt x="92789" y="50078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B9C1CA5D-DCDC-4F46-BC7F-83A9D9C18475}"/>
                </a:ext>
              </a:extLst>
            </p:cNvPr>
            <p:cNvSpPr/>
            <p:nvPr/>
          </p:nvSpPr>
          <p:spPr>
            <a:xfrm>
              <a:off x="11653597" y="12195278"/>
              <a:ext cx="122033" cy="27457"/>
            </a:xfrm>
            <a:custGeom>
              <a:avLst/>
              <a:gdLst>
                <a:gd name="connsiteX0" fmla="*/ 79322 w 122033"/>
                <a:gd name="connsiteY0" fmla="*/ 27457 h 27457"/>
                <a:gd name="connsiteX1" fmla="*/ 3051 w 122033"/>
                <a:gd name="connsiteY1" fmla="*/ 9152 h 27457"/>
                <a:gd name="connsiteX2" fmla="*/ 0 w 122033"/>
                <a:gd name="connsiteY2" fmla="*/ 3051 h 27457"/>
                <a:gd name="connsiteX3" fmla="*/ 6102 w 122033"/>
                <a:gd name="connsiteY3" fmla="*/ 0 h 27457"/>
                <a:gd name="connsiteX4" fmla="*/ 115933 w 122033"/>
                <a:gd name="connsiteY4" fmla="*/ 12203 h 27457"/>
                <a:gd name="connsiteX5" fmla="*/ 122034 w 122033"/>
                <a:gd name="connsiteY5" fmla="*/ 15254 h 27457"/>
                <a:gd name="connsiteX6" fmla="*/ 118983 w 122033"/>
                <a:gd name="connsiteY6" fmla="*/ 21355 h 27457"/>
                <a:gd name="connsiteX7" fmla="*/ 79322 w 122033"/>
                <a:gd name="connsiteY7" fmla="*/ 27457 h 27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033" h="27457">
                  <a:moveTo>
                    <a:pt x="79322" y="27457"/>
                  </a:moveTo>
                  <a:cubicBezTo>
                    <a:pt x="33560" y="27457"/>
                    <a:pt x="3051" y="12203"/>
                    <a:pt x="3051" y="9152"/>
                  </a:cubicBezTo>
                  <a:cubicBezTo>
                    <a:pt x="0" y="9152"/>
                    <a:pt x="0" y="3051"/>
                    <a:pt x="0" y="3051"/>
                  </a:cubicBezTo>
                  <a:cubicBezTo>
                    <a:pt x="0" y="0"/>
                    <a:pt x="6102" y="0"/>
                    <a:pt x="6102" y="0"/>
                  </a:cubicBezTo>
                  <a:cubicBezTo>
                    <a:pt x="6102" y="0"/>
                    <a:pt x="54916" y="24406"/>
                    <a:pt x="115933" y="12203"/>
                  </a:cubicBezTo>
                  <a:cubicBezTo>
                    <a:pt x="118983" y="12203"/>
                    <a:pt x="122034" y="12203"/>
                    <a:pt x="122034" y="15254"/>
                  </a:cubicBezTo>
                  <a:cubicBezTo>
                    <a:pt x="122034" y="18305"/>
                    <a:pt x="122034" y="21355"/>
                    <a:pt x="118983" y="21355"/>
                  </a:cubicBezTo>
                  <a:cubicBezTo>
                    <a:pt x="103729" y="24406"/>
                    <a:pt x="91525" y="27457"/>
                    <a:pt x="79322" y="27457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16AAE6ED-BF8F-40ED-AF94-B7C6342DF9D4}"/>
                </a:ext>
              </a:extLst>
            </p:cNvPr>
            <p:cNvSpPr/>
            <p:nvPr/>
          </p:nvSpPr>
          <p:spPr>
            <a:xfrm>
              <a:off x="11641394" y="12250193"/>
              <a:ext cx="125084" cy="27457"/>
            </a:xfrm>
            <a:custGeom>
              <a:avLst/>
              <a:gdLst>
                <a:gd name="connsiteX0" fmla="*/ 79322 w 125084"/>
                <a:gd name="connsiteY0" fmla="*/ 27457 h 27457"/>
                <a:gd name="connsiteX1" fmla="*/ 3051 w 125084"/>
                <a:gd name="connsiteY1" fmla="*/ 9153 h 27457"/>
                <a:gd name="connsiteX2" fmla="*/ 0 w 125084"/>
                <a:gd name="connsiteY2" fmla="*/ 3051 h 27457"/>
                <a:gd name="connsiteX3" fmla="*/ 9152 w 125084"/>
                <a:gd name="connsiteY3" fmla="*/ 0 h 27457"/>
                <a:gd name="connsiteX4" fmla="*/ 118983 w 125084"/>
                <a:gd name="connsiteY4" fmla="*/ 12203 h 27457"/>
                <a:gd name="connsiteX5" fmla="*/ 125085 w 125084"/>
                <a:gd name="connsiteY5" fmla="*/ 15254 h 27457"/>
                <a:gd name="connsiteX6" fmla="*/ 122034 w 125084"/>
                <a:gd name="connsiteY6" fmla="*/ 21356 h 27457"/>
                <a:gd name="connsiteX7" fmla="*/ 79322 w 125084"/>
                <a:gd name="connsiteY7" fmla="*/ 27457 h 27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084" h="27457">
                  <a:moveTo>
                    <a:pt x="79322" y="27457"/>
                  </a:moveTo>
                  <a:cubicBezTo>
                    <a:pt x="33560" y="27457"/>
                    <a:pt x="3051" y="12203"/>
                    <a:pt x="3051" y="9153"/>
                  </a:cubicBezTo>
                  <a:cubicBezTo>
                    <a:pt x="0" y="9153"/>
                    <a:pt x="0" y="3051"/>
                    <a:pt x="0" y="3051"/>
                  </a:cubicBezTo>
                  <a:cubicBezTo>
                    <a:pt x="0" y="0"/>
                    <a:pt x="6102" y="0"/>
                    <a:pt x="9152" y="0"/>
                  </a:cubicBezTo>
                  <a:cubicBezTo>
                    <a:pt x="9152" y="0"/>
                    <a:pt x="57966" y="24407"/>
                    <a:pt x="118983" y="12203"/>
                  </a:cubicBezTo>
                  <a:cubicBezTo>
                    <a:pt x="122034" y="12203"/>
                    <a:pt x="125085" y="12203"/>
                    <a:pt x="125085" y="15254"/>
                  </a:cubicBezTo>
                  <a:cubicBezTo>
                    <a:pt x="125085" y="18305"/>
                    <a:pt x="125085" y="21356"/>
                    <a:pt x="122034" y="21356"/>
                  </a:cubicBezTo>
                  <a:cubicBezTo>
                    <a:pt x="103729" y="24407"/>
                    <a:pt x="91525" y="27457"/>
                    <a:pt x="79322" y="27457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5" name="图形 114">
              <a:extLst>
                <a:ext uri="{FF2B5EF4-FFF2-40B4-BE49-F238E27FC236}">
                  <a16:creationId xmlns:a16="http://schemas.microsoft.com/office/drawing/2014/main" id="{BDF9EE85-2386-40EF-8542-CFFD91E2D90B}"/>
                </a:ext>
              </a:extLst>
            </p:cNvPr>
            <p:cNvGrpSpPr/>
            <p:nvPr/>
          </p:nvGrpSpPr>
          <p:grpSpPr>
            <a:xfrm>
              <a:off x="11851903" y="8866803"/>
              <a:ext cx="771864" cy="787118"/>
              <a:chOff x="11851903" y="8866803"/>
              <a:chExt cx="771864" cy="787118"/>
            </a:xfrm>
          </p:grpSpPr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04BD5CA5-81C4-4EEA-B5F3-4421E3482E86}"/>
                  </a:ext>
                </a:extLst>
              </p:cNvPr>
              <p:cNvSpPr/>
              <p:nvPr/>
            </p:nvSpPr>
            <p:spPr>
              <a:xfrm>
                <a:off x="11851903" y="8866803"/>
                <a:ext cx="729152" cy="695592"/>
              </a:xfrm>
              <a:custGeom>
                <a:avLst/>
                <a:gdLst>
                  <a:gd name="connsiteX0" fmla="*/ 0 w 729152"/>
                  <a:gd name="connsiteY0" fmla="*/ 628475 h 695592"/>
                  <a:gd name="connsiteX1" fmla="*/ 500339 w 729152"/>
                  <a:gd name="connsiteY1" fmla="*/ 695593 h 695592"/>
                  <a:gd name="connsiteX2" fmla="*/ 729152 w 729152"/>
                  <a:gd name="connsiteY2" fmla="*/ 67119 h 695592"/>
                  <a:gd name="connsiteX3" fmla="*/ 228814 w 729152"/>
                  <a:gd name="connsiteY3" fmla="*/ 0 h 695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9152" h="695592">
                    <a:moveTo>
                      <a:pt x="0" y="628475"/>
                    </a:moveTo>
                    <a:lnTo>
                      <a:pt x="500339" y="695593"/>
                    </a:lnTo>
                    <a:lnTo>
                      <a:pt x="729152" y="67119"/>
                    </a:lnTo>
                    <a:lnTo>
                      <a:pt x="228814" y="0"/>
                    </a:lnTo>
                    <a:close/>
                  </a:path>
                </a:pathLst>
              </a:custGeom>
              <a:solidFill>
                <a:srgbClr val="D16156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34158745-9396-4D9D-9DF6-007742691613}"/>
                  </a:ext>
                </a:extLst>
              </p:cNvPr>
              <p:cNvSpPr/>
              <p:nvPr/>
            </p:nvSpPr>
            <p:spPr>
              <a:xfrm>
                <a:off x="12443767" y="8933922"/>
                <a:ext cx="180000" cy="186101"/>
              </a:xfrm>
              <a:custGeom>
                <a:avLst/>
                <a:gdLst>
                  <a:gd name="connsiteX0" fmla="*/ 180001 w 180000"/>
                  <a:gd name="connsiteY0" fmla="*/ 91525 h 186101"/>
                  <a:gd name="connsiteX1" fmla="*/ 137288 w 180000"/>
                  <a:gd name="connsiteY1" fmla="*/ 0 h 186101"/>
                  <a:gd name="connsiteX2" fmla="*/ 0 w 180000"/>
                  <a:gd name="connsiteY2" fmla="*/ 97627 h 186101"/>
                  <a:gd name="connsiteX3" fmla="*/ 24407 w 180000"/>
                  <a:gd name="connsiteY3" fmla="*/ 186102 h 186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000" h="186101">
                    <a:moveTo>
                      <a:pt x="180001" y="91525"/>
                    </a:moveTo>
                    <a:lnTo>
                      <a:pt x="137288" y="0"/>
                    </a:lnTo>
                    <a:lnTo>
                      <a:pt x="0" y="97627"/>
                    </a:lnTo>
                    <a:lnTo>
                      <a:pt x="24407" y="186102"/>
                    </a:lnTo>
                    <a:close/>
                  </a:path>
                </a:pathLst>
              </a:custGeom>
              <a:solidFill>
                <a:srgbClr val="D16156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336EBCD9-3845-4205-94BF-E5C361A072F3}"/>
                  </a:ext>
                </a:extLst>
              </p:cNvPr>
              <p:cNvSpPr/>
              <p:nvPr/>
            </p:nvSpPr>
            <p:spPr>
              <a:xfrm>
                <a:off x="11894614" y="8897312"/>
                <a:ext cx="695593" cy="665084"/>
              </a:xfrm>
              <a:custGeom>
                <a:avLst/>
                <a:gdLst>
                  <a:gd name="connsiteX0" fmla="*/ 695594 w 695593"/>
                  <a:gd name="connsiteY0" fmla="*/ 131187 h 665084"/>
                  <a:gd name="connsiteX1" fmla="*/ 665085 w 695593"/>
                  <a:gd name="connsiteY1" fmla="*/ 61017 h 665084"/>
                  <a:gd name="connsiteX2" fmla="*/ 210509 w 695593"/>
                  <a:gd name="connsiteY2" fmla="*/ 0 h 665084"/>
                  <a:gd name="connsiteX3" fmla="*/ 0 w 695593"/>
                  <a:gd name="connsiteY3" fmla="*/ 567458 h 665084"/>
                  <a:gd name="connsiteX4" fmla="*/ 42713 w 695593"/>
                  <a:gd name="connsiteY4" fmla="*/ 665084 h 665084"/>
                  <a:gd name="connsiteX5" fmla="*/ 219661 w 695593"/>
                  <a:gd name="connsiteY5" fmla="*/ 573559 h 665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95593" h="665084">
                    <a:moveTo>
                      <a:pt x="695594" y="131187"/>
                    </a:moveTo>
                    <a:lnTo>
                      <a:pt x="665085" y="61017"/>
                    </a:lnTo>
                    <a:lnTo>
                      <a:pt x="210509" y="0"/>
                    </a:lnTo>
                    <a:lnTo>
                      <a:pt x="0" y="567458"/>
                    </a:lnTo>
                    <a:lnTo>
                      <a:pt x="42713" y="665084"/>
                    </a:lnTo>
                    <a:lnTo>
                      <a:pt x="219661" y="573559"/>
                    </a:lnTo>
                    <a:close/>
                  </a:path>
                </a:pathLst>
              </a:custGeom>
              <a:solidFill>
                <a:srgbClr val="FFFFFF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AEB6A2DF-0EDD-40C9-9FC3-B9C7212A064D}"/>
                  </a:ext>
                </a:extLst>
              </p:cNvPr>
              <p:cNvSpPr/>
              <p:nvPr/>
            </p:nvSpPr>
            <p:spPr>
              <a:xfrm>
                <a:off x="11891564" y="8958329"/>
                <a:ext cx="732203" cy="695592"/>
              </a:xfrm>
              <a:custGeom>
                <a:avLst/>
                <a:gdLst>
                  <a:gd name="connsiteX0" fmla="*/ 0 w 732203"/>
                  <a:gd name="connsiteY0" fmla="*/ 628475 h 695592"/>
                  <a:gd name="connsiteX1" fmla="*/ 503390 w 732203"/>
                  <a:gd name="connsiteY1" fmla="*/ 695593 h 695592"/>
                  <a:gd name="connsiteX2" fmla="*/ 732203 w 732203"/>
                  <a:gd name="connsiteY2" fmla="*/ 67119 h 695592"/>
                  <a:gd name="connsiteX3" fmla="*/ 228814 w 732203"/>
                  <a:gd name="connsiteY3" fmla="*/ 0 h 695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2203" h="695592">
                    <a:moveTo>
                      <a:pt x="0" y="628475"/>
                    </a:moveTo>
                    <a:lnTo>
                      <a:pt x="503390" y="695593"/>
                    </a:lnTo>
                    <a:lnTo>
                      <a:pt x="732203" y="67119"/>
                    </a:lnTo>
                    <a:lnTo>
                      <a:pt x="228814" y="0"/>
                    </a:lnTo>
                    <a:close/>
                  </a:path>
                </a:pathLst>
              </a:custGeom>
              <a:solidFill>
                <a:srgbClr val="D16156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6" name="图形 114">
              <a:extLst>
                <a:ext uri="{FF2B5EF4-FFF2-40B4-BE49-F238E27FC236}">
                  <a16:creationId xmlns:a16="http://schemas.microsoft.com/office/drawing/2014/main" id="{3D447950-B389-4679-AB50-5A7F35465368}"/>
                </a:ext>
              </a:extLst>
            </p:cNvPr>
            <p:cNvGrpSpPr/>
            <p:nvPr/>
          </p:nvGrpSpPr>
          <p:grpSpPr>
            <a:xfrm>
              <a:off x="11809191" y="8979685"/>
              <a:ext cx="771864" cy="790169"/>
              <a:chOff x="11809191" y="8979685"/>
              <a:chExt cx="771864" cy="790169"/>
            </a:xfrm>
          </p:grpSpPr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6365E704-5887-4124-8622-9CED19E51EF3}"/>
                  </a:ext>
                </a:extLst>
              </p:cNvPr>
              <p:cNvSpPr/>
              <p:nvPr/>
            </p:nvSpPr>
            <p:spPr>
              <a:xfrm>
                <a:off x="11809191" y="8979685"/>
                <a:ext cx="729152" cy="698644"/>
              </a:xfrm>
              <a:custGeom>
                <a:avLst/>
                <a:gdLst>
                  <a:gd name="connsiteX0" fmla="*/ 0 w 729152"/>
                  <a:gd name="connsiteY0" fmla="*/ 631525 h 698644"/>
                  <a:gd name="connsiteX1" fmla="*/ 500339 w 729152"/>
                  <a:gd name="connsiteY1" fmla="*/ 698644 h 698644"/>
                  <a:gd name="connsiteX2" fmla="*/ 729152 w 729152"/>
                  <a:gd name="connsiteY2" fmla="*/ 67119 h 698644"/>
                  <a:gd name="connsiteX3" fmla="*/ 228814 w 729152"/>
                  <a:gd name="connsiteY3" fmla="*/ 0 h 698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9152" h="698644">
                    <a:moveTo>
                      <a:pt x="0" y="631525"/>
                    </a:moveTo>
                    <a:lnTo>
                      <a:pt x="500339" y="698644"/>
                    </a:lnTo>
                    <a:lnTo>
                      <a:pt x="729152" y="67119"/>
                    </a:lnTo>
                    <a:lnTo>
                      <a:pt x="228814" y="0"/>
                    </a:ln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EA8BB9EA-1360-4F1D-84BF-CAEACEE67CE0}"/>
                  </a:ext>
                </a:extLst>
              </p:cNvPr>
              <p:cNvSpPr/>
              <p:nvPr/>
            </p:nvSpPr>
            <p:spPr>
              <a:xfrm>
                <a:off x="12401055" y="9046803"/>
                <a:ext cx="179999" cy="189152"/>
              </a:xfrm>
              <a:custGeom>
                <a:avLst/>
                <a:gdLst>
                  <a:gd name="connsiteX0" fmla="*/ 180000 w 179999"/>
                  <a:gd name="connsiteY0" fmla="*/ 91525 h 189152"/>
                  <a:gd name="connsiteX1" fmla="*/ 137288 w 179999"/>
                  <a:gd name="connsiteY1" fmla="*/ 0 h 189152"/>
                  <a:gd name="connsiteX2" fmla="*/ 0 w 179999"/>
                  <a:gd name="connsiteY2" fmla="*/ 100678 h 189152"/>
                  <a:gd name="connsiteX3" fmla="*/ 24407 w 179999"/>
                  <a:gd name="connsiteY3" fmla="*/ 189153 h 189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999" h="189152">
                    <a:moveTo>
                      <a:pt x="180000" y="91525"/>
                    </a:moveTo>
                    <a:lnTo>
                      <a:pt x="137288" y="0"/>
                    </a:lnTo>
                    <a:lnTo>
                      <a:pt x="0" y="100678"/>
                    </a:lnTo>
                    <a:lnTo>
                      <a:pt x="24407" y="189153"/>
                    </a:ln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78013809-1606-4CC2-8C4E-363D16959D47}"/>
                  </a:ext>
                </a:extLst>
              </p:cNvPr>
              <p:cNvSpPr/>
              <p:nvPr/>
            </p:nvSpPr>
            <p:spPr>
              <a:xfrm>
                <a:off x="11851903" y="9013244"/>
                <a:ext cx="695593" cy="665084"/>
              </a:xfrm>
              <a:custGeom>
                <a:avLst/>
                <a:gdLst>
                  <a:gd name="connsiteX0" fmla="*/ 695594 w 695593"/>
                  <a:gd name="connsiteY0" fmla="*/ 131187 h 665084"/>
                  <a:gd name="connsiteX1" fmla="*/ 665085 w 695593"/>
                  <a:gd name="connsiteY1" fmla="*/ 61017 h 665084"/>
                  <a:gd name="connsiteX2" fmla="*/ 210508 w 695593"/>
                  <a:gd name="connsiteY2" fmla="*/ 0 h 665084"/>
                  <a:gd name="connsiteX3" fmla="*/ 0 w 695593"/>
                  <a:gd name="connsiteY3" fmla="*/ 564406 h 665084"/>
                  <a:gd name="connsiteX4" fmla="*/ 42712 w 695593"/>
                  <a:gd name="connsiteY4" fmla="*/ 665085 h 665084"/>
                  <a:gd name="connsiteX5" fmla="*/ 219661 w 695593"/>
                  <a:gd name="connsiteY5" fmla="*/ 573559 h 665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95593" h="665084">
                    <a:moveTo>
                      <a:pt x="695594" y="131187"/>
                    </a:moveTo>
                    <a:lnTo>
                      <a:pt x="665085" y="61017"/>
                    </a:lnTo>
                    <a:lnTo>
                      <a:pt x="210508" y="0"/>
                    </a:lnTo>
                    <a:lnTo>
                      <a:pt x="0" y="564406"/>
                    </a:lnTo>
                    <a:lnTo>
                      <a:pt x="42712" y="665085"/>
                    </a:lnTo>
                    <a:lnTo>
                      <a:pt x="219661" y="573559"/>
                    </a:lnTo>
                    <a:close/>
                  </a:path>
                </a:pathLst>
              </a:custGeom>
              <a:solidFill>
                <a:srgbClr val="FFFFFF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A923D066-4767-4CBF-BBE0-17D0F7E05341}"/>
                  </a:ext>
                </a:extLst>
              </p:cNvPr>
              <p:cNvSpPr/>
              <p:nvPr/>
            </p:nvSpPr>
            <p:spPr>
              <a:xfrm>
                <a:off x="11848851" y="9071210"/>
                <a:ext cx="732203" cy="698644"/>
              </a:xfrm>
              <a:custGeom>
                <a:avLst/>
                <a:gdLst>
                  <a:gd name="connsiteX0" fmla="*/ 0 w 732203"/>
                  <a:gd name="connsiteY0" fmla="*/ 631525 h 698644"/>
                  <a:gd name="connsiteX1" fmla="*/ 503390 w 732203"/>
                  <a:gd name="connsiteY1" fmla="*/ 698644 h 698644"/>
                  <a:gd name="connsiteX2" fmla="*/ 732203 w 732203"/>
                  <a:gd name="connsiteY2" fmla="*/ 67119 h 698644"/>
                  <a:gd name="connsiteX3" fmla="*/ 228814 w 732203"/>
                  <a:gd name="connsiteY3" fmla="*/ 0 h 698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2203" h="698644">
                    <a:moveTo>
                      <a:pt x="0" y="631525"/>
                    </a:moveTo>
                    <a:lnTo>
                      <a:pt x="503390" y="698644"/>
                    </a:lnTo>
                    <a:lnTo>
                      <a:pt x="732203" y="67119"/>
                    </a:lnTo>
                    <a:lnTo>
                      <a:pt x="228814" y="0"/>
                    </a:ln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672788FE-824B-44FD-8878-E4996397B931}"/>
                </a:ext>
              </a:extLst>
            </p:cNvPr>
            <p:cNvSpPr/>
            <p:nvPr/>
          </p:nvSpPr>
          <p:spPr>
            <a:xfrm>
              <a:off x="11546818" y="8814939"/>
              <a:ext cx="878644" cy="808474"/>
            </a:xfrm>
            <a:custGeom>
              <a:avLst/>
              <a:gdLst>
                <a:gd name="connsiteX0" fmla="*/ 289831 w 878644"/>
                <a:gd name="connsiteY0" fmla="*/ 0 h 808474"/>
                <a:gd name="connsiteX1" fmla="*/ 347796 w 878644"/>
                <a:gd name="connsiteY1" fmla="*/ 588814 h 808474"/>
                <a:gd name="connsiteX2" fmla="*/ 878645 w 878644"/>
                <a:gd name="connsiteY2" fmla="*/ 628474 h 808474"/>
                <a:gd name="connsiteX3" fmla="*/ 832882 w 878644"/>
                <a:gd name="connsiteY3" fmla="*/ 784068 h 808474"/>
                <a:gd name="connsiteX4" fmla="*/ 155593 w 878644"/>
                <a:gd name="connsiteY4" fmla="*/ 784068 h 808474"/>
                <a:gd name="connsiteX5" fmla="*/ 0 w 878644"/>
                <a:gd name="connsiteY5" fmla="*/ 45763 h 808474"/>
                <a:gd name="connsiteX6" fmla="*/ 289831 w 878644"/>
                <a:gd name="connsiteY6" fmla="*/ 0 h 808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8644" h="808474">
                  <a:moveTo>
                    <a:pt x="289831" y="0"/>
                  </a:moveTo>
                  <a:lnTo>
                    <a:pt x="347796" y="588814"/>
                  </a:lnTo>
                  <a:lnTo>
                    <a:pt x="878645" y="628474"/>
                  </a:lnTo>
                  <a:lnTo>
                    <a:pt x="832882" y="784068"/>
                  </a:lnTo>
                  <a:cubicBezTo>
                    <a:pt x="832882" y="784068"/>
                    <a:pt x="271525" y="838983"/>
                    <a:pt x="155593" y="784068"/>
                  </a:cubicBezTo>
                  <a:cubicBezTo>
                    <a:pt x="39662" y="732203"/>
                    <a:pt x="0" y="45763"/>
                    <a:pt x="0" y="45763"/>
                  </a:cubicBezTo>
                  <a:lnTo>
                    <a:pt x="289831" y="0"/>
                  </a:ln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5A8B288E-A3E8-4089-B1E9-5D5410E727C6}"/>
                </a:ext>
              </a:extLst>
            </p:cNvPr>
            <p:cNvSpPr/>
            <p:nvPr/>
          </p:nvSpPr>
          <p:spPr>
            <a:xfrm>
              <a:off x="11812242" y="8790532"/>
              <a:ext cx="88474" cy="646779"/>
            </a:xfrm>
            <a:custGeom>
              <a:avLst/>
              <a:gdLst>
                <a:gd name="connsiteX0" fmla="*/ 39661 w 88474"/>
                <a:gd name="connsiteY0" fmla="*/ 646780 h 646779"/>
                <a:gd name="connsiteX1" fmla="*/ 33560 w 88474"/>
                <a:gd name="connsiteY1" fmla="*/ 643729 h 646779"/>
                <a:gd name="connsiteX2" fmla="*/ 36610 w 88474"/>
                <a:gd name="connsiteY2" fmla="*/ 637627 h 646779"/>
                <a:gd name="connsiteX3" fmla="*/ 76271 w 88474"/>
                <a:gd name="connsiteY3" fmla="*/ 613221 h 646779"/>
                <a:gd name="connsiteX4" fmla="*/ 0 w 88474"/>
                <a:gd name="connsiteY4" fmla="*/ 6102 h 646779"/>
                <a:gd name="connsiteX5" fmla="*/ 6101 w 88474"/>
                <a:gd name="connsiteY5" fmla="*/ 0 h 646779"/>
                <a:gd name="connsiteX6" fmla="*/ 12203 w 88474"/>
                <a:gd name="connsiteY6" fmla="*/ 6102 h 646779"/>
                <a:gd name="connsiteX7" fmla="*/ 88474 w 88474"/>
                <a:gd name="connsiteY7" fmla="*/ 616271 h 646779"/>
                <a:gd name="connsiteX8" fmla="*/ 85423 w 88474"/>
                <a:gd name="connsiteY8" fmla="*/ 622373 h 646779"/>
                <a:gd name="connsiteX9" fmla="*/ 39661 w 88474"/>
                <a:gd name="connsiteY9" fmla="*/ 646780 h 646779"/>
                <a:gd name="connsiteX10" fmla="*/ 39661 w 88474"/>
                <a:gd name="connsiteY10" fmla="*/ 646780 h 64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8474" h="646779">
                  <a:moveTo>
                    <a:pt x="39661" y="646780"/>
                  </a:moveTo>
                  <a:cubicBezTo>
                    <a:pt x="36610" y="646780"/>
                    <a:pt x="36610" y="646780"/>
                    <a:pt x="33560" y="643729"/>
                  </a:cubicBezTo>
                  <a:cubicBezTo>
                    <a:pt x="33560" y="640678"/>
                    <a:pt x="33560" y="637627"/>
                    <a:pt x="36610" y="637627"/>
                  </a:cubicBezTo>
                  <a:cubicBezTo>
                    <a:pt x="51864" y="631525"/>
                    <a:pt x="70169" y="616271"/>
                    <a:pt x="76271" y="613221"/>
                  </a:cubicBezTo>
                  <a:cubicBezTo>
                    <a:pt x="67118" y="500339"/>
                    <a:pt x="3051" y="12203"/>
                    <a:pt x="0" y="6102"/>
                  </a:cubicBezTo>
                  <a:cubicBezTo>
                    <a:pt x="0" y="3051"/>
                    <a:pt x="3051" y="0"/>
                    <a:pt x="6101" y="0"/>
                  </a:cubicBezTo>
                  <a:cubicBezTo>
                    <a:pt x="9152" y="0"/>
                    <a:pt x="12203" y="3051"/>
                    <a:pt x="12203" y="6102"/>
                  </a:cubicBezTo>
                  <a:cubicBezTo>
                    <a:pt x="12203" y="12203"/>
                    <a:pt x="79322" y="509491"/>
                    <a:pt x="88474" y="616271"/>
                  </a:cubicBezTo>
                  <a:cubicBezTo>
                    <a:pt x="88474" y="619322"/>
                    <a:pt x="88474" y="619322"/>
                    <a:pt x="85423" y="622373"/>
                  </a:cubicBezTo>
                  <a:cubicBezTo>
                    <a:pt x="85423" y="619322"/>
                    <a:pt x="61017" y="640678"/>
                    <a:pt x="39661" y="646780"/>
                  </a:cubicBezTo>
                  <a:cubicBezTo>
                    <a:pt x="39661" y="646780"/>
                    <a:pt x="39661" y="646780"/>
                    <a:pt x="39661" y="646780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8FB95053-88AA-45FB-BCF8-D744796012DD}"/>
                </a:ext>
              </a:extLst>
            </p:cNvPr>
            <p:cNvSpPr/>
            <p:nvPr/>
          </p:nvSpPr>
          <p:spPr>
            <a:xfrm>
              <a:off x="11507720" y="8374980"/>
              <a:ext cx="423504" cy="594613"/>
            </a:xfrm>
            <a:custGeom>
              <a:avLst/>
              <a:gdLst>
                <a:gd name="connsiteX0" fmla="*/ 5538 w 423504"/>
                <a:gd name="connsiteY0" fmla="*/ 586400 h 594613"/>
                <a:gd name="connsiteX1" fmla="*/ 148929 w 423504"/>
                <a:gd name="connsiteY1" fmla="*/ 3688 h 594613"/>
                <a:gd name="connsiteX2" fmla="*/ 423505 w 423504"/>
                <a:gd name="connsiteY2" fmla="*/ 525383 h 594613"/>
                <a:gd name="connsiteX3" fmla="*/ 5538 w 423504"/>
                <a:gd name="connsiteY3" fmla="*/ 586400 h 594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504" h="594613">
                  <a:moveTo>
                    <a:pt x="5538" y="586400"/>
                  </a:moveTo>
                  <a:cubicBezTo>
                    <a:pt x="5538" y="586400"/>
                    <a:pt x="-43274" y="67755"/>
                    <a:pt x="148929" y="3688"/>
                  </a:cubicBezTo>
                  <a:cubicBezTo>
                    <a:pt x="310623" y="-51228"/>
                    <a:pt x="423505" y="525383"/>
                    <a:pt x="423505" y="525383"/>
                  </a:cubicBezTo>
                  <a:cubicBezTo>
                    <a:pt x="423505" y="525383"/>
                    <a:pt x="216048" y="623010"/>
                    <a:pt x="5538" y="586400"/>
                  </a:cubicBezTo>
                  <a:close/>
                </a:path>
              </a:pathLst>
            </a:custGeom>
            <a:solidFill>
              <a:srgbClr val="F6EBE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64AD1D2E-0724-49B0-A250-962343C27C26}"/>
                </a:ext>
              </a:extLst>
            </p:cNvPr>
            <p:cNvSpPr/>
            <p:nvPr/>
          </p:nvSpPr>
          <p:spPr>
            <a:xfrm>
              <a:off x="11647496" y="8372566"/>
              <a:ext cx="283728" cy="579661"/>
            </a:xfrm>
            <a:custGeom>
              <a:avLst/>
              <a:gdLst>
                <a:gd name="connsiteX0" fmla="*/ 155592 w 283728"/>
                <a:gd name="connsiteY0" fmla="*/ 579661 h 579661"/>
                <a:gd name="connsiteX1" fmla="*/ 149491 w 283728"/>
                <a:gd name="connsiteY1" fmla="*/ 576610 h 579661"/>
                <a:gd name="connsiteX2" fmla="*/ 152542 w 283728"/>
                <a:gd name="connsiteY2" fmla="*/ 570508 h 579661"/>
                <a:gd name="connsiteX3" fmla="*/ 274576 w 283728"/>
                <a:gd name="connsiteY3" fmla="*/ 527797 h 579661"/>
                <a:gd name="connsiteX4" fmla="*/ 173898 w 283728"/>
                <a:gd name="connsiteY4" fmla="*/ 186101 h 579661"/>
                <a:gd name="connsiteX5" fmla="*/ 6101 w 283728"/>
                <a:gd name="connsiteY5" fmla="*/ 12203 h 579661"/>
                <a:gd name="connsiteX6" fmla="*/ 0 w 283728"/>
                <a:gd name="connsiteY6" fmla="*/ 6102 h 579661"/>
                <a:gd name="connsiteX7" fmla="*/ 6101 w 283728"/>
                <a:gd name="connsiteY7" fmla="*/ 0 h 579661"/>
                <a:gd name="connsiteX8" fmla="*/ 6101 w 283728"/>
                <a:gd name="connsiteY8" fmla="*/ 0 h 579661"/>
                <a:gd name="connsiteX9" fmla="*/ 183051 w 283728"/>
                <a:gd name="connsiteY9" fmla="*/ 180000 h 579661"/>
                <a:gd name="connsiteX10" fmla="*/ 283728 w 283728"/>
                <a:gd name="connsiteY10" fmla="*/ 527797 h 579661"/>
                <a:gd name="connsiteX11" fmla="*/ 283728 w 283728"/>
                <a:gd name="connsiteY11" fmla="*/ 530847 h 579661"/>
                <a:gd name="connsiteX12" fmla="*/ 280677 w 283728"/>
                <a:gd name="connsiteY12" fmla="*/ 533898 h 579661"/>
                <a:gd name="connsiteX13" fmla="*/ 155592 w 283728"/>
                <a:gd name="connsiteY13" fmla="*/ 579661 h 579661"/>
                <a:gd name="connsiteX14" fmla="*/ 155592 w 283728"/>
                <a:gd name="connsiteY14" fmla="*/ 579661 h 57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3728" h="579661">
                  <a:moveTo>
                    <a:pt x="155592" y="579661"/>
                  </a:moveTo>
                  <a:cubicBezTo>
                    <a:pt x="152542" y="579661"/>
                    <a:pt x="149491" y="576610"/>
                    <a:pt x="149491" y="576610"/>
                  </a:cubicBezTo>
                  <a:cubicBezTo>
                    <a:pt x="149491" y="573559"/>
                    <a:pt x="149491" y="570508"/>
                    <a:pt x="152542" y="570508"/>
                  </a:cubicBezTo>
                  <a:cubicBezTo>
                    <a:pt x="207457" y="561356"/>
                    <a:pt x="262372" y="533898"/>
                    <a:pt x="274576" y="527797"/>
                  </a:cubicBezTo>
                  <a:cubicBezTo>
                    <a:pt x="268474" y="500339"/>
                    <a:pt x="228814" y="344746"/>
                    <a:pt x="173898" y="186101"/>
                  </a:cubicBezTo>
                  <a:cubicBezTo>
                    <a:pt x="115932" y="18305"/>
                    <a:pt x="6101" y="12203"/>
                    <a:pt x="6101" y="12203"/>
                  </a:cubicBezTo>
                  <a:cubicBezTo>
                    <a:pt x="3050" y="12203"/>
                    <a:pt x="0" y="9153"/>
                    <a:pt x="0" y="6102"/>
                  </a:cubicBezTo>
                  <a:cubicBezTo>
                    <a:pt x="0" y="3051"/>
                    <a:pt x="3050" y="0"/>
                    <a:pt x="6101" y="0"/>
                  </a:cubicBezTo>
                  <a:cubicBezTo>
                    <a:pt x="6101" y="0"/>
                    <a:pt x="6101" y="0"/>
                    <a:pt x="6101" y="0"/>
                  </a:cubicBezTo>
                  <a:cubicBezTo>
                    <a:pt x="12203" y="0"/>
                    <a:pt x="125084" y="3051"/>
                    <a:pt x="183051" y="180000"/>
                  </a:cubicBezTo>
                  <a:cubicBezTo>
                    <a:pt x="241017" y="353898"/>
                    <a:pt x="283728" y="524746"/>
                    <a:pt x="283728" y="527797"/>
                  </a:cubicBezTo>
                  <a:lnTo>
                    <a:pt x="283728" y="530847"/>
                  </a:lnTo>
                  <a:lnTo>
                    <a:pt x="280677" y="533898"/>
                  </a:lnTo>
                  <a:cubicBezTo>
                    <a:pt x="286779" y="533898"/>
                    <a:pt x="222711" y="567457"/>
                    <a:pt x="155592" y="579661"/>
                  </a:cubicBezTo>
                  <a:cubicBezTo>
                    <a:pt x="155592" y="579661"/>
                    <a:pt x="155592" y="579661"/>
                    <a:pt x="155592" y="579661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8E8A2387-23CC-46D5-A901-2BA2A8722BB2}"/>
                </a:ext>
              </a:extLst>
            </p:cNvPr>
            <p:cNvSpPr/>
            <p:nvPr/>
          </p:nvSpPr>
          <p:spPr>
            <a:xfrm>
              <a:off x="12319678" y="9436323"/>
              <a:ext cx="183251" cy="193192"/>
            </a:xfrm>
            <a:custGeom>
              <a:avLst/>
              <a:gdLst>
                <a:gd name="connsiteX0" fmla="*/ 182055 w 183251"/>
                <a:gd name="connsiteY0" fmla="*/ 25396 h 193192"/>
                <a:gd name="connsiteX1" fmla="*/ 44767 w 183251"/>
                <a:gd name="connsiteY1" fmla="*/ 4040 h 193192"/>
                <a:gd name="connsiteX2" fmla="*/ 2054 w 183251"/>
                <a:gd name="connsiteY2" fmla="*/ 135226 h 193192"/>
                <a:gd name="connsiteX3" fmla="*/ 87479 w 183251"/>
                <a:gd name="connsiteY3" fmla="*/ 193192 h 193192"/>
                <a:gd name="connsiteX4" fmla="*/ 130190 w 183251"/>
                <a:gd name="connsiteY4" fmla="*/ 177938 h 193192"/>
                <a:gd name="connsiteX5" fmla="*/ 139343 w 183251"/>
                <a:gd name="connsiteY5" fmla="*/ 156582 h 193192"/>
                <a:gd name="connsiteX6" fmla="*/ 154597 w 183251"/>
                <a:gd name="connsiteY6" fmla="*/ 141328 h 193192"/>
                <a:gd name="connsiteX7" fmla="*/ 157648 w 183251"/>
                <a:gd name="connsiteY7" fmla="*/ 123023 h 193192"/>
                <a:gd name="connsiteX8" fmla="*/ 169851 w 183251"/>
                <a:gd name="connsiteY8" fmla="*/ 101667 h 193192"/>
                <a:gd name="connsiteX9" fmla="*/ 179004 w 183251"/>
                <a:gd name="connsiteY9" fmla="*/ 83362 h 193192"/>
                <a:gd name="connsiteX10" fmla="*/ 175953 w 183251"/>
                <a:gd name="connsiteY10" fmla="*/ 65057 h 193192"/>
                <a:gd name="connsiteX11" fmla="*/ 182055 w 183251"/>
                <a:gd name="connsiteY11" fmla="*/ 25396 h 193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3251" h="193192">
                  <a:moveTo>
                    <a:pt x="182055" y="25396"/>
                  </a:moveTo>
                  <a:cubicBezTo>
                    <a:pt x="179004" y="989"/>
                    <a:pt x="102733" y="-5113"/>
                    <a:pt x="44767" y="4040"/>
                  </a:cubicBezTo>
                  <a:cubicBezTo>
                    <a:pt x="35614" y="7090"/>
                    <a:pt x="-10149" y="119972"/>
                    <a:pt x="2054" y="135226"/>
                  </a:cubicBezTo>
                  <a:cubicBezTo>
                    <a:pt x="17309" y="162684"/>
                    <a:pt x="78326" y="193192"/>
                    <a:pt x="87479" y="193192"/>
                  </a:cubicBezTo>
                  <a:cubicBezTo>
                    <a:pt x="105784" y="193192"/>
                    <a:pt x="117987" y="193192"/>
                    <a:pt x="130190" y="177938"/>
                  </a:cubicBezTo>
                  <a:cubicBezTo>
                    <a:pt x="142394" y="165735"/>
                    <a:pt x="133241" y="165735"/>
                    <a:pt x="139343" y="156582"/>
                  </a:cubicBezTo>
                  <a:cubicBezTo>
                    <a:pt x="145445" y="150481"/>
                    <a:pt x="148496" y="150481"/>
                    <a:pt x="154597" y="141328"/>
                  </a:cubicBezTo>
                  <a:cubicBezTo>
                    <a:pt x="157648" y="135226"/>
                    <a:pt x="154597" y="129124"/>
                    <a:pt x="157648" y="123023"/>
                  </a:cubicBezTo>
                  <a:cubicBezTo>
                    <a:pt x="160699" y="104718"/>
                    <a:pt x="154597" y="116921"/>
                    <a:pt x="169851" y="101667"/>
                  </a:cubicBezTo>
                  <a:cubicBezTo>
                    <a:pt x="172902" y="95565"/>
                    <a:pt x="175953" y="89464"/>
                    <a:pt x="179004" y="83362"/>
                  </a:cubicBezTo>
                  <a:cubicBezTo>
                    <a:pt x="179004" y="77260"/>
                    <a:pt x="179004" y="71158"/>
                    <a:pt x="175953" y="65057"/>
                  </a:cubicBezTo>
                  <a:cubicBezTo>
                    <a:pt x="182055" y="58955"/>
                    <a:pt x="185105" y="43701"/>
                    <a:pt x="182055" y="25396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552EAFB4-B516-4F7D-BDE7-D4D9563C89B9}"/>
                </a:ext>
              </a:extLst>
            </p:cNvPr>
            <p:cNvSpPr/>
            <p:nvPr/>
          </p:nvSpPr>
          <p:spPr>
            <a:xfrm>
              <a:off x="12347357" y="9371860"/>
              <a:ext cx="179545" cy="97156"/>
            </a:xfrm>
            <a:custGeom>
              <a:avLst/>
              <a:gdLst>
                <a:gd name="connsiteX0" fmla="*/ 172681 w 179545"/>
                <a:gd name="connsiteY0" fmla="*/ 22740 h 97156"/>
                <a:gd name="connsiteX1" fmla="*/ 96410 w 179545"/>
                <a:gd name="connsiteY1" fmla="*/ 4434 h 97156"/>
                <a:gd name="connsiteX2" fmla="*/ 1834 w 179545"/>
                <a:gd name="connsiteY2" fmla="*/ 71553 h 97156"/>
                <a:gd name="connsiteX3" fmla="*/ 32343 w 179545"/>
                <a:gd name="connsiteY3" fmla="*/ 89858 h 97156"/>
                <a:gd name="connsiteX4" fmla="*/ 47597 w 179545"/>
                <a:gd name="connsiteY4" fmla="*/ 95960 h 97156"/>
                <a:gd name="connsiteX5" fmla="*/ 81155 w 179545"/>
                <a:gd name="connsiteY5" fmla="*/ 83757 h 97156"/>
                <a:gd name="connsiteX6" fmla="*/ 111664 w 179545"/>
                <a:gd name="connsiteY6" fmla="*/ 59350 h 97156"/>
                <a:gd name="connsiteX7" fmla="*/ 142172 w 179545"/>
                <a:gd name="connsiteY7" fmla="*/ 59350 h 97156"/>
                <a:gd name="connsiteX8" fmla="*/ 172681 w 179545"/>
                <a:gd name="connsiteY8" fmla="*/ 47147 h 97156"/>
                <a:gd name="connsiteX9" fmla="*/ 172681 w 179545"/>
                <a:gd name="connsiteY9" fmla="*/ 22740 h 97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9545" h="97156">
                  <a:moveTo>
                    <a:pt x="172681" y="22740"/>
                  </a:moveTo>
                  <a:cubicBezTo>
                    <a:pt x="148274" y="7486"/>
                    <a:pt x="126918" y="-7769"/>
                    <a:pt x="96410" y="4434"/>
                  </a:cubicBezTo>
                  <a:cubicBezTo>
                    <a:pt x="68952" y="16638"/>
                    <a:pt x="23189" y="44096"/>
                    <a:pt x="1834" y="71553"/>
                  </a:cubicBezTo>
                  <a:cubicBezTo>
                    <a:pt x="-7319" y="80706"/>
                    <a:pt x="20138" y="86807"/>
                    <a:pt x="32343" y="89858"/>
                  </a:cubicBezTo>
                  <a:cubicBezTo>
                    <a:pt x="35393" y="95960"/>
                    <a:pt x="41495" y="99011"/>
                    <a:pt x="47597" y="95960"/>
                  </a:cubicBezTo>
                  <a:cubicBezTo>
                    <a:pt x="59800" y="92909"/>
                    <a:pt x="72003" y="89858"/>
                    <a:pt x="81155" y="83757"/>
                  </a:cubicBezTo>
                  <a:cubicBezTo>
                    <a:pt x="90308" y="77655"/>
                    <a:pt x="99461" y="62401"/>
                    <a:pt x="111664" y="59350"/>
                  </a:cubicBezTo>
                  <a:cubicBezTo>
                    <a:pt x="120817" y="56299"/>
                    <a:pt x="129969" y="59350"/>
                    <a:pt x="142172" y="59350"/>
                  </a:cubicBezTo>
                  <a:cubicBezTo>
                    <a:pt x="154376" y="59350"/>
                    <a:pt x="163529" y="56299"/>
                    <a:pt x="172681" y="47147"/>
                  </a:cubicBezTo>
                  <a:cubicBezTo>
                    <a:pt x="181834" y="44096"/>
                    <a:pt x="181834" y="28841"/>
                    <a:pt x="172681" y="22740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EDFDAB34-F0AB-46E6-9552-E58A7BB31F48}"/>
                </a:ext>
              </a:extLst>
            </p:cNvPr>
            <p:cNvSpPr/>
            <p:nvPr/>
          </p:nvSpPr>
          <p:spPr>
            <a:xfrm>
              <a:off x="12325547" y="9431210"/>
              <a:ext cx="189534" cy="207457"/>
            </a:xfrm>
            <a:custGeom>
              <a:avLst/>
              <a:gdLst>
                <a:gd name="connsiteX0" fmla="*/ 87712 w 189534"/>
                <a:gd name="connsiteY0" fmla="*/ 207457 h 207457"/>
                <a:gd name="connsiteX1" fmla="*/ 78559 w 189534"/>
                <a:gd name="connsiteY1" fmla="*/ 207457 h 207457"/>
                <a:gd name="connsiteX2" fmla="*/ 2288 w 189534"/>
                <a:gd name="connsiteY2" fmla="*/ 164746 h 207457"/>
                <a:gd name="connsiteX3" fmla="*/ 2288 w 189534"/>
                <a:gd name="connsiteY3" fmla="*/ 155593 h 207457"/>
                <a:gd name="connsiteX4" fmla="*/ 11440 w 189534"/>
                <a:gd name="connsiteY4" fmla="*/ 155593 h 207457"/>
                <a:gd name="connsiteX5" fmla="*/ 81610 w 189534"/>
                <a:gd name="connsiteY5" fmla="*/ 195254 h 207457"/>
                <a:gd name="connsiteX6" fmla="*/ 124322 w 189534"/>
                <a:gd name="connsiteY6" fmla="*/ 164746 h 207457"/>
                <a:gd name="connsiteX7" fmla="*/ 127373 w 189534"/>
                <a:gd name="connsiteY7" fmla="*/ 161695 h 207457"/>
                <a:gd name="connsiteX8" fmla="*/ 142627 w 189534"/>
                <a:gd name="connsiteY8" fmla="*/ 149491 h 207457"/>
                <a:gd name="connsiteX9" fmla="*/ 142627 w 189534"/>
                <a:gd name="connsiteY9" fmla="*/ 128136 h 207457"/>
                <a:gd name="connsiteX10" fmla="*/ 145678 w 189534"/>
                <a:gd name="connsiteY10" fmla="*/ 122034 h 207457"/>
                <a:gd name="connsiteX11" fmla="*/ 163983 w 189534"/>
                <a:gd name="connsiteY11" fmla="*/ 97627 h 207457"/>
                <a:gd name="connsiteX12" fmla="*/ 160933 w 189534"/>
                <a:gd name="connsiteY12" fmla="*/ 79322 h 207457"/>
                <a:gd name="connsiteX13" fmla="*/ 160933 w 189534"/>
                <a:gd name="connsiteY13" fmla="*/ 73220 h 207457"/>
                <a:gd name="connsiteX14" fmla="*/ 163983 w 189534"/>
                <a:gd name="connsiteY14" fmla="*/ 70170 h 207457"/>
                <a:gd name="connsiteX15" fmla="*/ 176187 w 189534"/>
                <a:gd name="connsiteY15" fmla="*/ 54915 h 207457"/>
                <a:gd name="connsiteX16" fmla="*/ 170085 w 189534"/>
                <a:gd name="connsiteY16" fmla="*/ 27457 h 207457"/>
                <a:gd name="connsiteX17" fmla="*/ 81610 w 189534"/>
                <a:gd name="connsiteY17" fmla="*/ 12203 h 207457"/>
                <a:gd name="connsiteX18" fmla="*/ 75508 w 189534"/>
                <a:gd name="connsiteY18" fmla="*/ 6102 h 207457"/>
                <a:gd name="connsiteX19" fmla="*/ 81610 w 189534"/>
                <a:gd name="connsiteY19" fmla="*/ 0 h 207457"/>
                <a:gd name="connsiteX20" fmla="*/ 81610 w 189534"/>
                <a:gd name="connsiteY20" fmla="*/ 0 h 207457"/>
                <a:gd name="connsiteX21" fmla="*/ 179237 w 189534"/>
                <a:gd name="connsiteY21" fmla="*/ 18305 h 207457"/>
                <a:gd name="connsiteX22" fmla="*/ 188390 w 189534"/>
                <a:gd name="connsiteY22" fmla="*/ 54915 h 207457"/>
                <a:gd name="connsiteX23" fmla="*/ 176187 w 189534"/>
                <a:gd name="connsiteY23" fmla="*/ 76271 h 207457"/>
                <a:gd name="connsiteX24" fmla="*/ 179237 w 189534"/>
                <a:gd name="connsiteY24" fmla="*/ 97627 h 207457"/>
                <a:gd name="connsiteX25" fmla="*/ 160933 w 189534"/>
                <a:gd name="connsiteY25" fmla="*/ 128136 h 207457"/>
                <a:gd name="connsiteX26" fmla="*/ 160933 w 189534"/>
                <a:gd name="connsiteY26" fmla="*/ 155593 h 207457"/>
                <a:gd name="connsiteX27" fmla="*/ 142627 w 189534"/>
                <a:gd name="connsiteY27" fmla="*/ 170848 h 207457"/>
                <a:gd name="connsiteX28" fmla="*/ 87712 w 189534"/>
                <a:gd name="connsiteY28" fmla="*/ 207457 h 207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89534" h="207457">
                  <a:moveTo>
                    <a:pt x="87712" y="207457"/>
                  </a:moveTo>
                  <a:cubicBezTo>
                    <a:pt x="84662" y="207457"/>
                    <a:pt x="81610" y="207457"/>
                    <a:pt x="78559" y="207457"/>
                  </a:cubicBezTo>
                  <a:cubicBezTo>
                    <a:pt x="35848" y="201356"/>
                    <a:pt x="2288" y="164746"/>
                    <a:pt x="2288" y="164746"/>
                  </a:cubicBezTo>
                  <a:cubicBezTo>
                    <a:pt x="-763" y="161695"/>
                    <a:pt x="-763" y="158644"/>
                    <a:pt x="2288" y="155593"/>
                  </a:cubicBezTo>
                  <a:cubicBezTo>
                    <a:pt x="5339" y="152542"/>
                    <a:pt x="8390" y="152542"/>
                    <a:pt x="11440" y="155593"/>
                  </a:cubicBezTo>
                  <a:cubicBezTo>
                    <a:pt x="11440" y="155593"/>
                    <a:pt x="45000" y="189153"/>
                    <a:pt x="81610" y="195254"/>
                  </a:cubicBezTo>
                  <a:cubicBezTo>
                    <a:pt x="115170" y="201356"/>
                    <a:pt x="124322" y="164746"/>
                    <a:pt x="124322" y="164746"/>
                  </a:cubicBezTo>
                  <a:cubicBezTo>
                    <a:pt x="124322" y="161695"/>
                    <a:pt x="127373" y="161695"/>
                    <a:pt x="127373" y="161695"/>
                  </a:cubicBezTo>
                  <a:cubicBezTo>
                    <a:pt x="133474" y="158644"/>
                    <a:pt x="139576" y="155593"/>
                    <a:pt x="142627" y="149491"/>
                  </a:cubicBezTo>
                  <a:cubicBezTo>
                    <a:pt x="145678" y="140339"/>
                    <a:pt x="142627" y="128136"/>
                    <a:pt x="142627" y="128136"/>
                  </a:cubicBezTo>
                  <a:cubicBezTo>
                    <a:pt x="142627" y="125085"/>
                    <a:pt x="142627" y="122034"/>
                    <a:pt x="145678" y="122034"/>
                  </a:cubicBezTo>
                  <a:cubicBezTo>
                    <a:pt x="154831" y="115932"/>
                    <a:pt x="160933" y="106780"/>
                    <a:pt x="163983" y="97627"/>
                  </a:cubicBezTo>
                  <a:cubicBezTo>
                    <a:pt x="163983" y="88474"/>
                    <a:pt x="160933" y="79322"/>
                    <a:pt x="160933" y="79322"/>
                  </a:cubicBezTo>
                  <a:cubicBezTo>
                    <a:pt x="160933" y="79322"/>
                    <a:pt x="160933" y="76271"/>
                    <a:pt x="160933" y="73220"/>
                  </a:cubicBezTo>
                  <a:cubicBezTo>
                    <a:pt x="160933" y="70170"/>
                    <a:pt x="163983" y="70170"/>
                    <a:pt x="163983" y="70170"/>
                  </a:cubicBezTo>
                  <a:cubicBezTo>
                    <a:pt x="170085" y="67119"/>
                    <a:pt x="173136" y="61017"/>
                    <a:pt x="176187" y="54915"/>
                  </a:cubicBezTo>
                  <a:cubicBezTo>
                    <a:pt x="179237" y="45763"/>
                    <a:pt x="176187" y="33560"/>
                    <a:pt x="170085" y="27457"/>
                  </a:cubicBezTo>
                  <a:cubicBezTo>
                    <a:pt x="160933" y="18305"/>
                    <a:pt x="109068" y="12203"/>
                    <a:pt x="81610" y="12203"/>
                  </a:cubicBezTo>
                  <a:cubicBezTo>
                    <a:pt x="78559" y="12203"/>
                    <a:pt x="75508" y="9153"/>
                    <a:pt x="75508" y="6102"/>
                  </a:cubicBezTo>
                  <a:cubicBezTo>
                    <a:pt x="75508" y="3051"/>
                    <a:pt x="78559" y="0"/>
                    <a:pt x="81610" y="0"/>
                  </a:cubicBezTo>
                  <a:cubicBezTo>
                    <a:pt x="81610" y="0"/>
                    <a:pt x="81610" y="0"/>
                    <a:pt x="81610" y="0"/>
                  </a:cubicBezTo>
                  <a:cubicBezTo>
                    <a:pt x="90763" y="0"/>
                    <a:pt x="160933" y="3051"/>
                    <a:pt x="179237" y="18305"/>
                  </a:cubicBezTo>
                  <a:cubicBezTo>
                    <a:pt x="188390" y="27457"/>
                    <a:pt x="191441" y="42712"/>
                    <a:pt x="188390" y="54915"/>
                  </a:cubicBezTo>
                  <a:cubicBezTo>
                    <a:pt x="185339" y="64068"/>
                    <a:pt x="182288" y="73220"/>
                    <a:pt x="176187" y="76271"/>
                  </a:cubicBezTo>
                  <a:cubicBezTo>
                    <a:pt x="179237" y="79322"/>
                    <a:pt x="179237" y="88474"/>
                    <a:pt x="179237" y="97627"/>
                  </a:cubicBezTo>
                  <a:cubicBezTo>
                    <a:pt x="176187" y="109831"/>
                    <a:pt x="170085" y="118983"/>
                    <a:pt x="160933" y="128136"/>
                  </a:cubicBezTo>
                  <a:cubicBezTo>
                    <a:pt x="163983" y="134237"/>
                    <a:pt x="163983" y="146440"/>
                    <a:pt x="160933" y="155593"/>
                  </a:cubicBezTo>
                  <a:cubicBezTo>
                    <a:pt x="157882" y="164746"/>
                    <a:pt x="151780" y="167797"/>
                    <a:pt x="142627" y="170848"/>
                  </a:cubicBezTo>
                  <a:cubicBezTo>
                    <a:pt x="130424" y="186102"/>
                    <a:pt x="115170" y="207457"/>
                    <a:pt x="87712" y="207457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4" name="图形 114">
              <a:extLst>
                <a:ext uri="{FF2B5EF4-FFF2-40B4-BE49-F238E27FC236}">
                  <a16:creationId xmlns:a16="http://schemas.microsoft.com/office/drawing/2014/main" id="{A25D6212-BA6E-4902-A701-79F084317CAF}"/>
                </a:ext>
              </a:extLst>
            </p:cNvPr>
            <p:cNvGrpSpPr/>
            <p:nvPr/>
          </p:nvGrpSpPr>
          <p:grpSpPr>
            <a:xfrm>
              <a:off x="13256914" y="8842396"/>
              <a:ext cx="385836" cy="204462"/>
              <a:chOff x="13256914" y="8842396"/>
              <a:chExt cx="385836" cy="204462"/>
            </a:xfrm>
          </p:grpSpPr>
          <p:grpSp>
            <p:nvGrpSpPr>
              <p:cNvPr id="45" name="图形 114">
                <a:extLst>
                  <a:ext uri="{FF2B5EF4-FFF2-40B4-BE49-F238E27FC236}">
                    <a16:creationId xmlns:a16="http://schemas.microsoft.com/office/drawing/2014/main" id="{A7D63C54-4A52-460F-B592-7D1443487301}"/>
                  </a:ext>
                </a:extLst>
              </p:cNvPr>
              <p:cNvGrpSpPr/>
              <p:nvPr/>
            </p:nvGrpSpPr>
            <p:grpSpPr>
              <a:xfrm>
                <a:off x="13256914" y="8842396"/>
                <a:ext cx="385836" cy="204462"/>
                <a:chOff x="13256914" y="8842396"/>
                <a:chExt cx="385836" cy="204462"/>
              </a:xfrm>
            </p:grpSpPr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267A74F3-CCC6-4094-A0C5-353EA3DFA6A4}"/>
                    </a:ext>
                  </a:extLst>
                </p:cNvPr>
                <p:cNvSpPr/>
                <p:nvPr/>
              </p:nvSpPr>
              <p:spPr>
                <a:xfrm>
                  <a:off x="13256914" y="8842396"/>
                  <a:ext cx="385836" cy="204462"/>
                </a:xfrm>
                <a:custGeom>
                  <a:avLst/>
                  <a:gdLst>
                    <a:gd name="connsiteX0" fmla="*/ 315667 w 385836"/>
                    <a:gd name="connsiteY0" fmla="*/ 134238 h 204462"/>
                    <a:gd name="connsiteX1" fmla="*/ 303463 w 385836"/>
                    <a:gd name="connsiteY1" fmla="*/ 122034 h 204462"/>
                    <a:gd name="connsiteX2" fmla="*/ 297362 w 385836"/>
                    <a:gd name="connsiteY2" fmla="*/ 122034 h 204462"/>
                    <a:gd name="connsiteX3" fmla="*/ 324820 w 385836"/>
                    <a:gd name="connsiteY3" fmla="*/ 118983 h 204462"/>
                    <a:gd name="connsiteX4" fmla="*/ 373633 w 385836"/>
                    <a:gd name="connsiteY4" fmla="*/ 100678 h 204462"/>
                    <a:gd name="connsiteX5" fmla="*/ 367531 w 385836"/>
                    <a:gd name="connsiteY5" fmla="*/ 91525 h 204462"/>
                    <a:gd name="connsiteX6" fmla="*/ 364480 w 385836"/>
                    <a:gd name="connsiteY6" fmla="*/ 91525 h 204462"/>
                    <a:gd name="connsiteX7" fmla="*/ 385837 w 385836"/>
                    <a:gd name="connsiteY7" fmla="*/ 70170 h 204462"/>
                    <a:gd name="connsiteX8" fmla="*/ 367531 w 385836"/>
                    <a:gd name="connsiteY8" fmla="*/ 51864 h 204462"/>
                    <a:gd name="connsiteX9" fmla="*/ 306514 w 385836"/>
                    <a:gd name="connsiteY9" fmla="*/ 57966 h 204462"/>
                    <a:gd name="connsiteX10" fmla="*/ 224141 w 385836"/>
                    <a:gd name="connsiteY10" fmla="*/ 67119 h 204462"/>
                    <a:gd name="connsiteX11" fmla="*/ 285158 w 385836"/>
                    <a:gd name="connsiteY11" fmla="*/ 45763 h 204462"/>
                    <a:gd name="connsiteX12" fmla="*/ 327871 w 385836"/>
                    <a:gd name="connsiteY12" fmla="*/ 27458 h 204462"/>
                    <a:gd name="connsiteX13" fmla="*/ 297362 w 385836"/>
                    <a:gd name="connsiteY13" fmla="*/ 12204 h 204462"/>
                    <a:gd name="connsiteX14" fmla="*/ 105158 w 385836"/>
                    <a:gd name="connsiteY14" fmla="*/ 67119 h 204462"/>
                    <a:gd name="connsiteX15" fmla="*/ 163124 w 385836"/>
                    <a:gd name="connsiteY15" fmla="*/ 27458 h 204462"/>
                    <a:gd name="connsiteX16" fmla="*/ 160074 w 385836"/>
                    <a:gd name="connsiteY16" fmla="*/ 0 h 204462"/>
                    <a:gd name="connsiteX17" fmla="*/ 4481 w 385836"/>
                    <a:gd name="connsiteY17" fmla="*/ 115932 h 204462"/>
                    <a:gd name="connsiteX18" fmla="*/ 4481 w 385836"/>
                    <a:gd name="connsiteY18" fmla="*/ 115932 h 204462"/>
                    <a:gd name="connsiteX19" fmla="*/ 1430 w 385836"/>
                    <a:gd name="connsiteY19" fmla="*/ 118983 h 204462"/>
                    <a:gd name="connsiteX20" fmla="*/ 59396 w 385836"/>
                    <a:gd name="connsiteY20" fmla="*/ 198305 h 204462"/>
                    <a:gd name="connsiteX21" fmla="*/ 202786 w 385836"/>
                    <a:gd name="connsiteY21" fmla="*/ 180000 h 204462"/>
                    <a:gd name="connsiteX22" fmla="*/ 315667 w 385836"/>
                    <a:gd name="connsiteY22" fmla="*/ 134238 h 204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385836" h="204462">
                      <a:moveTo>
                        <a:pt x="315667" y="134238"/>
                      </a:moveTo>
                      <a:cubicBezTo>
                        <a:pt x="315667" y="128136"/>
                        <a:pt x="309565" y="122034"/>
                        <a:pt x="303463" y="122034"/>
                      </a:cubicBezTo>
                      <a:cubicBezTo>
                        <a:pt x="300412" y="122034"/>
                        <a:pt x="297362" y="122034"/>
                        <a:pt x="297362" y="122034"/>
                      </a:cubicBezTo>
                      <a:cubicBezTo>
                        <a:pt x="306514" y="122034"/>
                        <a:pt x="315667" y="118983"/>
                        <a:pt x="324820" y="118983"/>
                      </a:cubicBezTo>
                      <a:cubicBezTo>
                        <a:pt x="343125" y="115932"/>
                        <a:pt x="364480" y="115932"/>
                        <a:pt x="373633" y="100678"/>
                      </a:cubicBezTo>
                      <a:cubicBezTo>
                        <a:pt x="373633" y="100678"/>
                        <a:pt x="367531" y="91525"/>
                        <a:pt x="367531" y="91525"/>
                      </a:cubicBezTo>
                      <a:cubicBezTo>
                        <a:pt x="367531" y="91525"/>
                        <a:pt x="364480" y="91525"/>
                        <a:pt x="364480" y="91525"/>
                      </a:cubicBezTo>
                      <a:cubicBezTo>
                        <a:pt x="373633" y="85424"/>
                        <a:pt x="382786" y="79322"/>
                        <a:pt x="385837" y="70170"/>
                      </a:cubicBezTo>
                      <a:cubicBezTo>
                        <a:pt x="385837" y="61017"/>
                        <a:pt x="379735" y="54915"/>
                        <a:pt x="367531" y="51864"/>
                      </a:cubicBezTo>
                      <a:cubicBezTo>
                        <a:pt x="349226" y="48814"/>
                        <a:pt x="324820" y="54915"/>
                        <a:pt x="306514" y="57966"/>
                      </a:cubicBezTo>
                      <a:cubicBezTo>
                        <a:pt x="279057" y="61017"/>
                        <a:pt x="251600" y="64068"/>
                        <a:pt x="224141" y="67119"/>
                      </a:cubicBezTo>
                      <a:cubicBezTo>
                        <a:pt x="245497" y="61017"/>
                        <a:pt x="263803" y="51864"/>
                        <a:pt x="285158" y="45763"/>
                      </a:cubicBezTo>
                      <a:cubicBezTo>
                        <a:pt x="297362" y="42712"/>
                        <a:pt x="321769" y="36610"/>
                        <a:pt x="327871" y="27458"/>
                      </a:cubicBezTo>
                      <a:cubicBezTo>
                        <a:pt x="340074" y="12204"/>
                        <a:pt x="309565" y="12204"/>
                        <a:pt x="297362" y="12204"/>
                      </a:cubicBezTo>
                      <a:cubicBezTo>
                        <a:pt x="227192" y="15254"/>
                        <a:pt x="172277" y="54915"/>
                        <a:pt x="105158" y="67119"/>
                      </a:cubicBezTo>
                      <a:cubicBezTo>
                        <a:pt x="117361" y="48814"/>
                        <a:pt x="138718" y="39661"/>
                        <a:pt x="163124" y="27458"/>
                      </a:cubicBezTo>
                      <a:cubicBezTo>
                        <a:pt x="175328" y="21356"/>
                        <a:pt x="163124" y="0"/>
                        <a:pt x="160074" y="0"/>
                      </a:cubicBezTo>
                      <a:cubicBezTo>
                        <a:pt x="96006" y="6102"/>
                        <a:pt x="16684" y="51864"/>
                        <a:pt x="4481" y="115932"/>
                      </a:cubicBezTo>
                      <a:cubicBezTo>
                        <a:pt x="4481" y="115932"/>
                        <a:pt x="4481" y="115932"/>
                        <a:pt x="4481" y="115932"/>
                      </a:cubicBezTo>
                      <a:cubicBezTo>
                        <a:pt x="1430" y="115932"/>
                        <a:pt x="1430" y="115932"/>
                        <a:pt x="1430" y="118983"/>
                      </a:cubicBezTo>
                      <a:cubicBezTo>
                        <a:pt x="-7723" y="146441"/>
                        <a:pt x="28887" y="186102"/>
                        <a:pt x="59396" y="198305"/>
                      </a:cubicBezTo>
                      <a:cubicBezTo>
                        <a:pt x="102107" y="216610"/>
                        <a:pt x="157023" y="189152"/>
                        <a:pt x="202786" y="180000"/>
                      </a:cubicBezTo>
                      <a:cubicBezTo>
                        <a:pt x="227192" y="170848"/>
                        <a:pt x="312616" y="152542"/>
                        <a:pt x="315667" y="134238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5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9" name="任意多边形: 形状 48">
                  <a:extLst>
                    <a:ext uri="{FF2B5EF4-FFF2-40B4-BE49-F238E27FC236}">
                      <a16:creationId xmlns:a16="http://schemas.microsoft.com/office/drawing/2014/main" id="{9EDDDB0E-F86D-4CD3-9EAD-3D4940912FAA}"/>
                    </a:ext>
                  </a:extLst>
                </p:cNvPr>
                <p:cNvSpPr/>
                <p:nvPr/>
              </p:nvSpPr>
              <p:spPr>
                <a:xfrm>
                  <a:off x="13331564" y="8924769"/>
                  <a:ext cx="40365" cy="51864"/>
                </a:xfrm>
                <a:custGeom>
                  <a:avLst/>
                  <a:gdLst>
                    <a:gd name="connsiteX0" fmla="*/ 6102 w 40365"/>
                    <a:gd name="connsiteY0" fmla="*/ 51865 h 51864"/>
                    <a:gd name="connsiteX1" fmla="*/ 0 w 40365"/>
                    <a:gd name="connsiteY1" fmla="*/ 48814 h 51864"/>
                    <a:gd name="connsiteX2" fmla="*/ 3051 w 40365"/>
                    <a:gd name="connsiteY2" fmla="*/ 42712 h 51864"/>
                    <a:gd name="connsiteX3" fmla="*/ 27457 w 40365"/>
                    <a:gd name="connsiteY3" fmla="*/ 6102 h 51864"/>
                    <a:gd name="connsiteX4" fmla="*/ 33560 w 40365"/>
                    <a:gd name="connsiteY4" fmla="*/ 0 h 51864"/>
                    <a:gd name="connsiteX5" fmla="*/ 39662 w 40365"/>
                    <a:gd name="connsiteY5" fmla="*/ 6102 h 51864"/>
                    <a:gd name="connsiteX6" fmla="*/ 6102 w 40365"/>
                    <a:gd name="connsiteY6" fmla="*/ 51865 h 51864"/>
                    <a:gd name="connsiteX7" fmla="*/ 6102 w 40365"/>
                    <a:gd name="connsiteY7" fmla="*/ 51865 h 51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0365" h="51864">
                      <a:moveTo>
                        <a:pt x="6102" y="51865"/>
                      </a:moveTo>
                      <a:cubicBezTo>
                        <a:pt x="3051" y="51865"/>
                        <a:pt x="3051" y="51865"/>
                        <a:pt x="0" y="48814"/>
                      </a:cubicBezTo>
                      <a:cubicBezTo>
                        <a:pt x="0" y="45763"/>
                        <a:pt x="0" y="42712"/>
                        <a:pt x="3051" y="42712"/>
                      </a:cubicBezTo>
                      <a:cubicBezTo>
                        <a:pt x="30508" y="30508"/>
                        <a:pt x="27457" y="6102"/>
                        <a:pt x="27457" y="6102"/>
                      </a:cubicBezTo>
                      <a:cubicBezTo>
                        <a:pt x="27457" y="3051"/>
                        <a:pt x="30508" y="0"/>
                        <a:pt x="33560" y="0"/>
                      </a:cubicBezTo>
                      <a:cubicBezTo>
                        <a:pt x="36611" y="0"/>
                        <a:pt x="39662" y="3051"/>
                        <a:pt x="39662" y="6102"/>
                      </a:cubicBezTo>
                      <a:cubicBezTo>
                        <a:pt x="42712" y="15254"/>
                        <a:pt x="36611" y="39661"/>
                        <a:pt x="6102" y="51865"/>
                      </a:cubicBezTo>
                      <a:cubicBezTo>
                        <a:pt x="6102" y="51865"/>
                        <a:pt x="6102" y="51865"/>
                        <a:pt x="6102" y="51865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5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0" name="任意多边形: 形状 49">
                  <a:extLst>
                    <a:ext uri="{FF2B5EF4-FFF2-40B4-BE49-F238E27FC236}">
                      <a16:creationId xmlns:a16="http://schemas.microsoft.com/office/drawing/2014/main" id="{45D2026B-3B27-4718-AE2E-4951CED80317}"/>
                    </a:ext>
                  </a:extLst>
                </p:cNvPr>
                <p:cNvSpPr/>
                <p:nvPr/>
              </p:nvSpPr>
              <p:spPr>
                <a:xfrm>
                  <a:off x="13468852" y="8863752"/>
                  <a:ext cx="171432" cy="67119"/>
                </a:xfrm>
                <a:custGeom>
                  <a:avLst/>
                  <a:gdLst>
                    <a:gd name="connsiteX0" fmla="*/ 149491 w 171432"/>
                    <a:gd name="connsiteY0" fmla="*/ 67119 h 67119"/>
                    <a:gd name="connsiteX1" fmla="*/ 143390 w 171432"/>
                    <a:gd name="connsiteY1" fmla="*/ 64068 h 67119"/>
                    <a:gd name="connsiteX2" fmla="*/ 146441 w 171432"/>
                    <a:gd name="connsiteY2" fmla="*/ 57966 h 67119"/>
                    <a:gd name="connsiteX3" fmla="*/ 161695 w 171432"/>
                    <a:gd name="connsiteY3" fmla="*/ 45763 h 67119"/>
                    <a:gd name="connsiteX4" fmla="*/ 155593 w 171432"/>
                    <a:gd name="connsiteY4" fmla="*/ 36611 h 67119"/>
                    <a:gd name="connsiteX5" fmla="*/ 6102 w 171432"/>
                    <a:gd name="connsiteY5" fmla="*/ 48814 h 67119"/>
                    <a:gd name="connsiteX6" fmla="*/ 0 w 171432"/>
                    <a:gd name="connsiteY6" fmla="*/ 45763 h 67119"/>
                    <a:gd name="connsiteX7" fmla="*/ 3051 w 171432"/>
                    <a:gd name="connsiteY7" fmla="*/ 39661 h 67119"/>
                    <a:gd name="connsiteX8" fmla="*/ 106780 w 171432"/>
                    <a:gd name="connsiteY8" fmla="*/ 0 h 67119"/>
                    <a:gd name="connsiteX9" fmla="*/ 112882 w 171432"/>
                    <a:gd name="connsiteY9" fmla="*/ 3051 h 67119"/>
                    <a:gd name="connsiteX10" fmla="*/ 109831 w 171432"/>
                    <a:gd name="connsiteY10" fmla="*/ 9153 h 67119"/>
                    <a:gd name="connsiteX11" fmla="*/ 57966 w 171432"/>
                    <a:gd name="connsiteY11" fmla="*/ 30508 h 67119"/>
                    <a:gd name="connsiteX12" fmla="*/ 161695 w 171432"/>
                    <a:gd name="connsiteY12" fmla="*/ 27458 h 67119"/>
                    <a:gd name="connsiteX13" fmla="*/ 170848 w 171432"/>
                    <a:gd name="connsiteY13" fmla="*/ 48814 h 67119"/>
                    <a:gd name="connsiteX14" fmla="*/ 149491 w 171432"/>
                    <a:gd name="connsiteY14" fmla="*/ 67119 h 67119"/>
                    <a:gd name="connsiteX15" fmla="*/ 149491 w 171432"/>
                    <a:gd name="connsiteY15" fmla="*/ 67119 h 67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71432" h="67119">
                      <a:moveTo>
                        <a:pt x="149491" y="67119"/>
                      </a:moveTo>
                      <a:cubicBezTo>
                        <a:pt x="146441" y="67119"/>
                        <a:pt x="143390" y="64068"/>
                        <a:pt x="143390" y="64068"/>
                      </a:cubicBezTo>
                      <a:cubicBezTo>
                        <a:pt x="143390" y="61017"/>
                        <a:pt x="143390" y="57966"/>
                        <a:pt x="146441" y="57966"/>
                      </a:cubicBezTo>
                      <a:cubicBezTo>
                        <a:pt x="155593" y="54915"/>
                        <a:pt x="161695" y="51865"/>
                        <a:pt x="161695" y="45763"/>
                      </a:cubicBezTo>
                      <a:cubicBezTo>
                        <a:pt x="161695" y="42712"/>
                        <a:pt x="158644" y="39661"/>
                        <a:pt x="155593" y="36611"/>
                      </a:cubicBezTo>
                      <a:cubicBezTo>
                        <a:pt x="146441" y="30508"/>
                        <a:pt x="73220" y="39661"/>
                        <a:pt x="6102" y="48814"/>
                      </a:cubicBezTo>
                      <a:cubicBezTo>
                        <a:pt x="3051" y="48814"/>
                        <a:pt x="0" y="48814"/>
                        <a:pt x="0" y="45763"/>
                      </a:cubicBezTo>
                      <a:cubicBezTo>
                        <a:pt x="0" y="42712"/>
                        <a:pt x="0" y="39661"/>
                        <a:pt x="3051" y="39661"/>
                      </a:cubicBezTo>
                      <a:cubicBezTo>
                        <a:pt x="42712" y="27458"/>
                        <a:pt x="106780" y="0"/>
                        <a:pt x="106780" y="0"/>
                      </a:cubicBezTo>
                      <a:cubicBezTo>
                        <a:pt x="109831" y="0"/>
                        <a:pt x="112882" y="0"/>
                        <a:pt x="112882" y="3051"/>
                      </a:cubicBezTo>
                      <a:cubicBezTo>
                        <a:pt x="112882" y="6102"/>
                        <a:pt x="112882" y="9153"/>
                        <a:pt x="109831" y="9153"/>
                      </a:cubicBezTo>
                      <a:cubicBezTo>
                        <a:pt x="109831" y="9153"/>
                        <a:pt x="85424" y="21356"/>
                        <a:pt x="57966" y="30508"/>
                      </a:cubicBezTo>
                      <a:cubicBezTo>
                        <a:pt x="103729" y="24407"/>
                        <a:pt x="152542" y="21356"/>
                        <a:pt x="161695" y="27458"/>
                      </a:cubicBezTo>
                      <a:cubicBezTo>
                        <a:pt x="170848" y="36611"/>
                        <a:pt x="170848" y="42712"/>
                        <a:pt x="170848" y="48814"/>
                      </a:cubicBezTo>
                      <a:cubicBezTo>
                        <a:pt x="173899" y="54915"/>
                        <a:pt x="164746" y="64068"/>
                        <a:pt x="149491" y="67119"/>
                      </a:cubicBezTo>
                      <a:cubicBezTo>
                        <a:pt x="152542" y="67119"/>
                        <a:pt x="152542" y="67119"/>
                        <a:pt x="149491" y="67119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5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207A3DB5-632F-4544-90F0-DEFEB443820A}"/>
                  </a:ext>
                </a:extLst>
              </p:cNvPr>
              <p:cNvSpPr/>
              <p:nvPr/>
            </p:nvSpPr>
            <p:spPr>
              <a:xfrm>
                <a:off x="13444445" y="8958329"/>
                <a:ext cx="132449" cy="64067"/>
              </a:xfrm>
              <a:custGeom>
                <a:avLst/>
                <a:gdLst>
                  <a:gd name="connsiteX0" fmla="*/ 27457 w 132449"/>
                  <a:gd name="connsiteY0" fmla="*/ 64068 h 64067"/>
                  <a:gd name="connsiteX1" fmla="*/ 21355 w 132449"/>
                  <a:gd name="connsiteY1" fmla="*/ 61017 h 64067"/>
                  <a:gd name="connsiteX2" fmla="*/ 24406 w 132449"/>
                  <a:gd name="connsiteY2" fmla="*/ 54915 h 64067"/>
                  <a:gd name="connsiteX3" fmla="*/ 122034 w 132449"/>
                  <a:gd name="connsiteY3" fmla="*/ 21356 h 64067"/>
                  <a:gd name="connsiteX4" fmla="*/ 122034 w 132449"/>
                  <a:gd name="connsiteY4" fmla="*/ 15254 h 64067"/>
                  <a:gd name="connsiteX5" fmla="*/ 100678 w 132449"/>
                  <a:gd name="connsiteY5" fmla="*/ 12203 h 64067"/>
                  <a:gd name="connsiteX6" fmla="*/ 61017 w 132449"/>
                  <a:gd name="connsiteY6" fmla="*/ 21356 h 64067"/>
                  <a:gd name="connsiteX7" fmla="*/ 6101 w 132449"/>
                  <a:gd name="connsiteY7" fmla="*/ 30508 h 64067"/>
                  <a:gd name="connsiteX8" fmla="*/ 6101 w 132449"/>
                  <a:gd name="connsiteY8" fmla="*/ 30508 h 64067"/>
                  <a:gd name="connsiteX9" fmla="*/ 0 w 132449"/>
                  <a:gd name="connsiteY9" fmla="*/ 24407 h 64067"/>
                  <a:gd name="connsiteX10" fmla="*/ 6101 w 132449"/>
                  <a:gd name="connsiteY10" fmla="*/ 18305 h 64067"/>
                  <a:gd name="connsiteX11" fmla="*/ 57966 w 132449"/>
                  <a:gd name="connsiteY11" fmla="*/ 9153 h 64067"/>
                  <a:gd name="connsiteX12" fmla="*/ 97627 w 132449"/>
                  <a:gd name="connsiteY12" fmla="*/ 0 h 64067"/>
                  <a:gd name="connsiteX13" fmla="*/ 128135 w 132449"/>
                  <a:gd name="connsiteY13" fmla="*/ 6102 h 64067"/>
                  <a:gd name="connsiteX14" fmla="*/ 131186 w 132449"/>
                  <a:gd name="connsiteY14" fmla="*/ 21356 h 64067"/>
                  <a:gd name="connsiteX15" fmla="*/ 27457 w 132449"/>
                  <a:gd name="connsiteY15" fmla="*/ 64068 h 64067"/>
                  <a:gd name="connsiteX16" fmla="*/ 27457 w 132449"/>
                  <a:gd name="connsiteY16" fmla="*/ 64068 h 64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2449" h="64067">
                    <a:moveTo>
                      <a:pt x="27457" y="64068"/>
                    </a:moveTo>
                    <a:cubicBezTo>
                      <a:pt x="24406" y="64068"/>
                      <a:pt x="21355" y="61017"/>
                      <a:pt x="21355" y="61017"/>
                    </a:cubicBezTo>
                    <a:cubicBezTo>
                      <a:pt x="21355" y="57966"/>
                      <a:pt x="21355" y="54915"/>
                      <a:pt x="24406" y="54915"/>
                    </a:cubicBezTo>
                    <a:cubicBezTo>
                      <a:pt x="73220" y="45763"/>
                      <a:pt x="118983" y="27457"/>
                      <a:pt x="122034" y="21356"/>
                    </a:cubicBezTo>
                    <a:cubicBezTo>
                      <a:pt x="122034" y="18305"/>
                      <a:pt x="122034" y="15254"/>
                      <a:pt x="122034" y="15254"/>
                    </a:cubicBezTo>
                    <a:cubicBezTo>
                      <a:pt x="122034" y="15254"/>
                      <a:pt x="115932" y="12203"/>
                      <a:pt x="100678" y="12203"/>
                    </a:cubicBezTo>
                    <a:cubicBezTo>
                      <a:pt x="94576" y="12203"/>
                      <a:pt x="76271" y="15254"/>
                      <a:pt x="61017" y="21356"/>
                    </a:cubicBezTo>
                    <a:cubicBezTo>
                      <a:pt x="39661" y="27457"/>
                      <a:pt x="18305" y="30508"/>
                      <a:pt x="6101" y="30508"/>
                    </a:cubicBezTo>
                    <a:cubicBezTo>
                      <a:pt x="6101" y="30508"/>
                      <a:pt x="6101" y="30508"/>
                      <a:pt x="6101" y="30508"/>
                    </a:cubicBezTo>
                    <a:cubicBezTo>
                      <a:pt x="3051" y="30508"/>
                      <a:pt x="0" y="27457"/>
                      <a:pt x="0" y="24407"/>
                    </a:cubicBezTo>
                    <a:cubicBezTo>
                      <a:pt x="0" y="21356"/>
                      <a:pt x="3051" y="18305"/>
                      <a:pt x="6101" y="18305"/>
                    </a:cubicBezTo>
                    <a:cubicBezTo>
                      <a:pt x="15254" y="18305"/>
                      <a:pt x="36610" y="12203"/>
                      <a:pt x="57966" y="9153"/>
                    </a:cubicBezTo>
                    <a:cubicBezTo>
                      <a:pt x="76271" y="6102"/>
                      <a:pt x="91525" y="3051"/>
                      <a:pt x="97627" y="0"/>
                    </a:cubicBezTo>
                    <a:cubicBezTo>
                      <a:pt x="112881" y="0"/>
                      <a:pt x="122034" y="0"/>
                      <a:pt x="128135" y="6102"/>
                    </a:cubicBezTo>
                    <a:cubicBezTo>
                      <a:pt x="131186" y="9153"/>
                      <a:pt x="134237" y="12203"/>
                      <a:pt x="131186" y="21356"/>
                    </a:cubicBezTo>
                    <a:cubicBezTo>
                      <a:pt x="128135" y="39661"/>
                      <a:pt x="57966" y="54915"/>
                      <a:pt x="27457" y="64068"/>
                    </a:cubicBezTo>
                    <a:cubicBezTo>
                      <a:pt x="27457" y="64068"/>
                      <a:pt x="27457" y="64068"/>
                      <a:pt x="27457" y="6406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D986D829-2C23-4E8F-B7C7-FAD996962B3B}"/>
                  </a:ext>
                </a:extLst>
              </p:cNvPr>
              <p:cNvSpPr/>
              <p:nvPr/>
            </p:nvSpPr>
            <p:spPr>
              <a:xfrm>
                <a:off x="13459699" y="8915617"/>
                <a:ext cx="179237" cy="51864"/>
              </a:xfrm>
              <a:custGeom>
                <a:avLst/>
                <a:gdLst>
                  <a:gd name="connsiteX0" fmla="*/ 103729 w 179237"/>
                  <a:gd name="connsiteY0" fmla="*/ 51864 h 51864"/>
                  <a:gd name="connsiteX1" fmla="*/ 97627 w 179237"/>
                  <a:gd name="connsiteY1" fmla="*/ 45763 h 51864"/>
                  <a:gd name="connsiteX2" fmla="*/ 103729 w 179237"/>
                  <a:gd name="connsiteY2" fmla="*/ 39661 h 51864"/>
                  <a:gd name="connsiteX3" fmla="*/ 164746 w 179237"/>
                  <a:gd name="connsiteY3" fmla="*/ 21356 h 51864"/>
                  <a:gd name="connsiteX4" fmla="*/ 164746 w 179237"/>
                  <a:gd name="connsiteY4" fmla="*/ 18305 h 51864"/>
                  <a:gd name="connsiteX5" fmla="*/ 143389 w 179237"/>
                  <a:gd name="connsiteY5" fmla="*/ 9152 h 51864"/>
                  <a:gd name="connsiteX6" fmla="*/ 79322 w 179237"/>
                  <a:gd name="connsiteY6" fmla="*/ 21356 h 51864"/>
                  <a:gd name="connsiteX7" fmla="*/ 67118 w 179237"/>
                  <a:gd name="connsiteY7" fmla="*/ 24406 h 51864"/>
                  <a:gd name="connsiteX8" fmla="*/ 6101 w 179237"/>
                  <a:gd name="connsiteY8" fmla="*/ 33559 h 51864"/>
                  <a:gd name="connsiteX9" fmla="*/ 0 w 179237"/>
                  <a:gd name="connsiteY9" fmla="*/ 27457 h 51864"/>
                  <a:gd name="connsiteX10" fmla="*/ 6101 w 179237"/>
                  <a:gd name="connsiteY10" fmla="*/ 21356 h 51864"/>
                  <a:gd name="connsiteX11" fmla="*/ 67118 w 179237"/>
                  <a:gd name="connsiteY11" fmla="*/ 15254 h 51864"/>
                  <a:gd name="connsiteX12" fmla="*/ 79322 w 179237"/>
                  <a:gd name="connsiteY12" fmla="*/ 12203 h 51864"/>
                  <a:gd name="connsiteX13" fmla="*/ 146440 w 179237"/>
                  <a:gd name="connsiteY13" fmla="*/ 0 h 51864"/>
                  <a:gd name="connsiteX14" fmla="*/ 176949 w 179237"/>
                  <a:gd name="connsiteY14" fmla="*/ 15254 h 51864"/>
                  <a:gd name="connsiteX15" fmla="*/ 176949 w 179237"/>
                  <a:gd name="connsiteY15" fmla="*/ 30508 h 51864"/>
                  <a:gd name="connsiteX16" fmla="*/ 103729 w 179237"/>
                  <a:gd name="connsiteY16" fmla="*/ 51864 h 51864"/>
                  <a:gd name="connsiteX17" fmla="*/ 103729 w 179237"/>
                  <a:gd name="connsiteY17" fmla="*/ 51864 h 51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9237" h="51864">
                    <a:moveTo>
                      <a:pt x="103729" y="51864"/>
                    </a:moveTo>
                    <a:cubicBezTo>
                      <a:pt x="100678" y="51864"/>
                      <a:pt x="97627" y="48813"/>
                      <a:pt x="97627" y="45763"/>
                    </a:cubicBezTo>
                    <a:cubicBezTo>
                      <a:pt x="97627" y="42712"/>
                      <a:pt x="100678" y="39661"/>
                      <a:pt x="103729" y="39661"/>
                    </a:cubicBezTo>
                    <a:cubicBezTo>
                      <a:pt x="134237" y="33559"/>
                      <a:pt x="161695" y="27457"/>
                      <a:pt x="164746" y="21356"/>
                    </a:cubicBezTo>
                    <a:cubicBezTo>
                      <a:pt x="164746" y="21356"/>
                      <a:pt x="164746" y="18305"/>
                      <a:pt x="164746" y="18305"/>
                    </a:cubicBezTo>
                    <a:cubicBezTo>
                      <a:pt x="161695" y="15254"/>
                      <a:pt x="152542" y="9152"/>
                      <a:pt x="143389" y="9152"/>
                    </a:cubicBezTo>
                    <a:cubicBezTo>
                      <a:pt x="134237" y="9152"/>
                      <a:pt x="94576" y="18305"/>
                      <a:pt x="79322" y="21356"/>
                    </a:cubicBezTo>
                    <a:cubicBezTo>
                      <a:pt x="73220" y="21356"/>
                      <a:pt x="70169" y="24406"/>
                      <a:pt x="67118" y="24406"/>
                    </a:cubicBezTo>
                    <a:cubicBezTo>
                      <a:pt x="57966" y="27457"/>
                      <a:pt x="9152" y="30508"/>
                      <a:pt x="6101" y="33559"/>
                    </a:cubicBezTo>
                    <a:cubicBezTo>
                      <a:pt x="3051" y="33559"/>
                      <a:pt x="0" y="30508"/>
                      <a:pt x="0" y="27457"/>
                    </a:cubicBezTo>
                    <a:cubicBezTo>
                      <a:pt x="0" y="24406"/>
                      <a:pt x="3051" y="21356"/>
                      <a:pt x="6101" y="21356"/>
                    </a:cubicBezTo>
                    <a:cubicBezTo>
                      <a:pt x="24406" y="18305"/>
                      <a:pt x="57966" y="15254"/>
                      <a:pt x="67118" y="15254"/>
                    </a:cubicBezTo>
                    <a:cubicBezTo>
                      <a:pt x="70169" y="15254"/>
                      <a:pt x="73220" y="15254"/>
                      <a:pt x="79322" y="12203"/>
                    </a:cubicBezTo>
                    <a:cubicBezTo>
                      <a:pt x="106780" y="6102"/>
                      <a:pt x="137288" y="0"/>
                      <a:pt x="146440" y="0"/>
                    </a:cubicBezTo>
                    <a:cubicBezTo>
                      <a:pt x="158644" y="0"/>
                      <a:pt x="173898" y="6102"/>
                      <a:pt x="176949" y="15254"/>
                    </a:cubicBezTo>
                    <a:cubicBezTo>
                      <a:pt x="180000" y="18305"/>
                      <a:pt x="180000" y="24406"/>
                      <a:pt x="176949" y="30508"/>
                    </a:cubicBezTo>
                    <a:cubicBezTo>
                      <a:pt x="164746" y="39661"/>
                      <a:pt x="122034" y="48813"/>
                      <a:pt x="103729" y="51864"/>
                    </a:cubicBezTo>
                    <a:cubicBezTo>
                      <a:pt x="103729" y="51864"/>
                      <a:pt x="103729" y="51864"/>
                      <a:pt x="103729" y="5186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65" name="图形 114">
            <a:extLst>
              <a:ext uri="{FF2B5EF4-FFF2-40B4-BE49-F238E27FC236}">
                <a16:creationId xmlns:a16="http://schemas.microsoft.com/office/drawing/2014/main" id="{B36171FC-EE20-47B9-A895-1E23EC563419}"/>
              </a:ext>
            </a:extLst>
          </p:cNvPr>
          <p:cNvGrpSpPr/>
          <p:nvPr/>
        </p:nvGrpSpPr>
        <p:grpSpPr>
          <a:xfrm>
            <a:off x="6415247" y="2059496"/>
            <a:ext cx="2201831" cy="4659949"/>
            <a:chOff x="14530547" y="7677451"/>
            <a:chExt cx="2201831" cy="4659949"/>
          </a:xfrm>
        </p:grpSpPr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34B2C503-8A57-412E-8800-55F950789E2F}"/>
                </a:ext>
              </a:extLst>
            </p:cNvPr>
            <p:cNvSpPr/>
            <p:nvPr/>
          </p:nvSpPr>
          <p:spPr>
            <a:xfrm>
              <a:off x="16347406" y="8727354"/>
              <a:ext cx="305711" cy="1044025"/>
            </a:xfrm>
            <a:custGeom>
              <a:avLst/>
              <a:gdLst>
                <a:gd name="connsiteX0" fmla="*/ 28904 w 305711"/>
                <a:gd name="connsiteY0" fmla="*/ 8263 h 1044025"/>
                <a:gd name="connsiteX1" fmla="*/ 303480 w 305711"/>
                <a:gd name="connsiteY1" fmla="*/ 1030297 h 1044025"/>
                <a:gd name="connsiteX2" fmla="*/ 272972 w 305711"/>
                <a:gd name="connsiteY2" fmla="*/ 1030297 h 1044025"/>
                <a:gd name="connsiteX3" fmla="*/ 4497 w 305711"/>
                <a:gd name="connsiteY3" fmla="*/ 23517 h 1044025"/>
                <a:gd name="connsiteX4" fmla="*/ 28904 w 305711"/>
                <a:gd name="connsiteY4" fmla="*/ 8263 h 104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711" h="1044025">
                  <a:moveTo>
                    <a:pt x="28904" y="8263"/>
                  </a:moveTo>
                  <a:cubicBezTo>
                    <a:pt x="227209" y="313348"/>
                    <a:pt x="321785" y="670297"/>
                    <a:pt x="303480" y="1030297"/>
                  </a:cubicBezTo>
                  <a:cubicBezTo>
                    <a:pt x="303480" y="1048602"/>
                    <a:pt x="272972" y="1048602"/>
                    <a:pt x="272972" y="1030297"/>
                  </a:cubicBezTo>
                  <a:cubicBezTo>
                    <a:pt x="291276" y="673348"/>
                    <a:pt x="199751" y="322500"/>
                    <a:pt x="4497" y="23517"/>
                  </a:cubicBezTo>
                  <a:cubicBezTo>
                    <a:pt x="-10758" y="5212"/>
                    <a:pt x="16700" y="-10042"/>
                    <a:pt x="28904" y="8263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7" name="图形 114">
              <a:extLst>
                <a:ext uri="{FF2B5EF4-FFF2-40B4-BE49-F238E27FC236}">
                  <a16:creationId xmlns:a16="http://schemas.microsoft.com/office/drawing/2014/main" id="{3E22ABF4-A1D7-40FD-AFBE-8788C31AC441}"/>
                </a:ext>
              </a:extLst>
            </p:cNvPr>
            <p:cNvGrpSpPr/>
            <p:nvPr/>
          </p:nvGrpSpPr>
          <p:grpSpPr>
            <a:xfrm>
              <a:off x="15988397" y="11975617"/>
              <a:ext cx="395539" cy="361783"/>
              <a:chOff x="15988397" y="11975617"/>
              <a:chExt cx="395539" cy="361783"/>
            </a:xfrm>
          </p:grpSpPr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347B9815-17AE-4E6B-ACA1-B6588CA18AE2}"/>
                  </a:ext>
                </a:extLst>
              </p:cNvPr>
              <p:cNvSpPr/>
              <p:nvPr/>
            </p:nvSpPr>
            <p:spPr>
              <a:xfrm>
                <a:off x="15988397" y="12100702"/>
                <a:ext cx="395539" cy="236698"/>
              </a:xfrm>
              <a:custGeom>
                <a:avLst/>
                <a:gdLst>
                  <a:gd name="connsiteX0" fmla="*/ 287235 w 395539"/>
                  <a:gd name="connsiteY0" fmla="*/ 0 h 236698"/>
                  <a:gd name="connsiteX1" fmla="*/ 128591 w 395539"/>
                  <a:gd name="connsiteY1" fmla="*/ 125085 h 236698"/>
                  <a:gd name="connsiteX2" fmla="*/ 323845 w 395539"/>
                  <a:gd name="connsiteY2" fmla="*/ 76271 h 236698"/>
                  <a:gd name="connsiteX3" fmla="*/ 394014 w 395539"/>
                  <a:gd name="connsiteY3" fmla="*/ 51865 h 236698"/>
                  <a:gd name="connsiteX4" fmla="*/ 387913 w 395539"/>
                  <a:gd name="connsiteY4" fmla="*/ 158644 h 236698"/>
                  <a:gd name="connsiteX5" fmla="*/ 156048 w 395539"/>
                  <a:gd name="connsiteY5" fmla="*/ 231865 h 236698"/>
                  <a:gd name="connsiteX6" fmla="*/ 18760 w 395539"/>
                  <a:gd name="connsiteY6" fmla="*/ 231865 h 236698"/>
                  <a:gd name="connsiteX7" fmla="*/ 12658 w 395539"/>
                  <a:gd name="connsiteY7" fmla="*/ 176949 h 236698"/>
                  <a:gd name="connsiteX8" fmla="*/ 287235 w 395539"/>
                  <a:gd name="connsiteY8" fmla="*/ 0 h 236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5539" h="236698">
                    <a:moveTo>
                      <a:pt x="287235" y="0"/>
                    </a:moveTo>
                    <a:cubicBezTo>
                      <a:pt x="287235" y="0"/>
                      <a:pt x="113337" y="112882"/>
                      <a:pt x="128591" y="125085"/>
                    </a:cubicBezTo>
                    <a:cubicBezTo>
                      <a:pt x="140794" y="140339"/>
                      <a:pt x="323845" y="76271"/>
                      <a:pt x="323845" y="76271"/>
                    </a:cubicBezTo>
                    <a:lnTo>
                      <a:pt x="394014" y="51865"/>
                    </a:lnTo>
                    <a:cubicBezTo>
                      <a:pt x="394014" y="51865"/>
                      <a:pt x="400116" y="134237"/>
                      <a:pt x="387913" y="158644"/>
                    </a:cubicBezTo>
                    <a:cubicBezTo>
                      <a:pt x="314692" y="195254"/>
                      <a:pt x="229269" y="219661"/>
                      <a:pt x="156048" y="231865"/>
                    </a:cubicBezTo>
                    <a:cubicBezTo>
                      <a:pt x="110286" y="241017"/>
                      <a:pt x="27912" y="234916"/>
                      <a:pt x="18760" y="231865"/>
                    </a:cubicBezTo>
                    <a:cubicBezTo>
                      <a:pt x="9607" y="228814"/>
                      <a:pt x="-14799" y="204407"/>
                      <a:pt x="12658" y="176949"/>
                    </a:cubicBezTo>
                    <a:cubicBezTo>
                      <a:pt x="73675" y="109831"/>
                      <a:pt x="287235" y="0"/>
                      <a:pt x="287235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F3663B98-A781-431D-95A5-F7289C2FE819}"/>
                  </a:ext>
                </a:extLst>
              </p:cNvPr>
              <p:cNvSpPr/>
              <p:nvPr/>
            </p:nvSpPr>
            <p:spPr>
              <a:xfrm>
                <a:off x="16115659" y="11975617"/>
                <a:ext cx="266751" cy="254246"/>
              </a:xfrm>
              <a:custGeom>
                <a:avLst/>
                <a:gdLst>
                  <a:gd name="connsiteX0" fmla="*/ 144718 w 266751"/>
                  <a:gd name="connsiteY0" fmla="*/ 0 h 254246"/>
                  <a:gd name="connsiteX1" fmla="*/ 159972 w 266751"/>
                  <a:gd name="connsiteY1" fmla="*/ 125085 h 254246"/>
                  <a:gd name="connsiteX2" fmla="*/ 1328 w 266751"/>
                  <a:gd name="connsiteY2" fmla="*/ 250170 h 254246"/>
                  <a:gd name="connsiteX3" fmla="*/ 239294 w 266751"/>
                  <a:gd name="connsiteY3" fmla="*/ 207458 h 254246"/>
                  <a:gd name="connsiteX4" fmla="*/ 266751 w 266751"/>
                  <a:gd name="connsiteY4" fmla="*/ 176950 h 254246"/>
                  <a:gd name="connsiteX5" fmla="*/ 266751 w 266751"/>
                  <a:gd name="connsiteY5" fmla="*/ 42712 h 254246"/>
                  <a:gd name="connsiteX6" fmla="*/ 144718 w 266751"/>
                  <a:gd name="connsiteY6" fmla="*/ 0 h 254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6751" h="254246">
                    <a:moveTo>
                      <a:pt x="144718" y="0"/>
                    </a:moveTo>
                    <a:lnTo>
                      <a:pt x="159972" y="125085"/>
                    </a:lnTo>
                    <a:cubicBezTo>
                      <a:pt x="159972" y="125085"/>
                      <a:pt x="-16977" y="228814"/>
                      <a:pt x="1328" y="250170"/>
                    </a:cubicBezTo>
                    <a:cubicBezTo>
                      <a:pt x="13531" y="265424"/>
                      <a:pt x="169125" y="234916"/>
                      <a:pt x="239294" y="207458"/>
                    </a:cubicBezTo>
                    <a:cubicBezTo>
                      <a:pt x="263700" y="198305"/>
                      <a:pt x="266751" y="176950"/>
                      <a:pt x="266751" y="176950"/>
                    </a:cubicBezTo>
                    <a:lnTo>
                      <a:pt x="266751" y="42712"/>
                    </a:lnTo>
                    <a:lnTo>
                      <a:pt x="144718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8" name="图形 114">
              <a:extLst>
                <a:ext uri="{FF2B5EF4-FFF2-40B4-BE49-F238E27FC236}">
                  <a16:creationId xmlns:a16="http://schemas.microsoft.com/office/drawing/2014/main" id="{DF992243-DE44-424D-ACA1-91C0D0DF59C3}"/>
                </a:ext>
              </a:extLst>
            </p:cNvPr>
            <p:cNvGrpSpPr/>
            <p:nvPr/>
          </p:nvGrpSpPr>
          <p:grpSpPr>
            <a:xfrm>
              <a:off x="15277550" y="11975617"/>
              <a:ext cx="395539" cy="361783"/>
              <a:chOff x="15277550" y="11975617"/>
              <a:chExt cx="395539" cy="361783"/>
            </a:xfrm>
          </p:grpSpPr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E2AF8540-1E89-41C4-B12D-064F8EADB440}"/>
                  </a:ext>
                </a:extLst>
              </p:cNvPr>
              <p:cNvSpPr/>
              <p:nvPr/>
            </p:nvSpPr>
            <p:spPr>
              <a:xfrm>
                <a:off x="15277550" y="12100702"/>
                <a:ext cx="395539" cy="236698"/>
              </a:xfrm>
              <a:custGeom>
                <a:avLst/>
                <a:gdLst>
                  <a:gd name="connsiteX0" fmla="*/ 287235 w 395539"/>
                  <a:gd name="connsiteY0" fmla="*/ 0 h 236698"/>
                  <a:gd name="connsiteX1" fmla="*/ 128590 w 395539"/>
                  <a:gd name="connsiteY1" fmla="*/ 125085 h 236698"/>
                  <a:gd name="connsiteX2" fmla="*/ 323844 w 395539"/>
                  <a:gd name="connsiteY2" fmla="*/ 76271 h 236698"/>
                  <a:gd name="connsiteX3" fmla="*/ 394014 w 395539"/>
                  <a:gd name="connsiteY3" fmla="*/ 51865 h 236698"/>
                  <a:gd name="connsiteX4" fmla="*/ 387912 w 395539"/>
                  <a:gd name="connsiteY4" fmla="*/ 158644 h 236698"/>
                  <a:gd name="connsiteX5" fmla="*/ 156048 w 395539"/>
                  <a:gd name="connsiteY5" fmla="*/ 231865 h 236698"/>
                  <a:gd name="connsiteX6" fmla="*/ 18759 w 395539"/>
                  <a:gd name="connsiteY6" fmla="*/ 231865 h 236698"/>
                  <a:gd name="connsiteX7" fmla="*/ 12658 w 395539"/>
                  <a:gd name="connsiteY7" fmla="*/ 176949 h 236698"/>
                  <a:gd name="connsiteX8" fmla="*/ 287235 w 395539"/>
                  <a:gd name="connsiteY8" fmla="*/ 0 h 236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5539" h="236698">
                    <a:moveTo>
                      <a:pt x="287235" y="0"/>
                    </a:moveTo>
                    <a:cubicBezTo>
                      <a:pt x="287235" y="0"/>
                      <a:pt x="113336" y="112882"/>
                      <a:pt x="128590" y="125085"/>
                    </a:cubicBezTo>
                    <a:cubicBezTo>
                      <a:pt x="140793" y="140339"/>
                      <a:pt x="323844" y="76271"/>
                      <a:pt x="323844" y="76271"/>
                    </a:cubicBezTo>
                    <a:lnTo>
                      <a:pt x="394014" y="51865"/>
                    </a:lnTo>
                    <a:cubicBezTo>
                      <a:pt x="394014" y="51865"/>
                      <a:pt x="400115" y="134237"/>
                      <a:pt x="387912" y="158644"/>
                    </a:cubicBezTo>
                    <a:cubicBezTo>
                      <a:pt x="314692" y="195254"/>
                      <a:pt x="229269" y="219661"/>
                      <a:pt x="156048" y="231865"/>
                    </a:cubicBezTo>
                    <a:cubicBezTo>
                      <a:pt x="110285" y="241017"/>
                      <a:pt x="27913" y="234916"/>
                      <a:pt x="18759" y="231865"/>
                    </a:cubicBezTo>
                    <a:cubicBezTo>
                      <a:pt x="9607" y="228814"/>
                      <a:pt x="-14799" y="204407"/>
                      <a:pt x="12658" y="176949"/>
                    </a:cubicBezTo>
                    <a:cubicBezTo>
                      <a:pt x="73675" y="109831"/>
                      <a:pt x="287235" y="0"/>
                      <a:pt x="287235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C36865C4-78D4-43BB-94F7-7E3767D6BACA}"/>
                  </a:ext>
                </a:extLst>
              </p:cNvPr>
              <p:cNvSpPr/>
              <p:nvPr/>
            </p:nvSpPr>
            <p:spPr>
              <a:xfrm>
                <a:off x="15404811" y="11975617"/>
                <a:ext cx="266752" cy="254246"/>
              </a:xfrm>
              <a:custGeom>
                <a:avLst/>
                <a:gdLst>
                  <a:gd name="connsiteX0" fmla="*/ 144718 w 266752"/>
                  <a:gd name="connsiteY0" fmla="*/ 0 h 254246"/>
                  <a:gd name="connsiteX1" fmla="*/ 159973 w 266752"/>
                  <a:gd name="connsiteY1" fmla="*/ 125085 h 254246"/>
                  <a:gd name="connsiteX2" fmla="*/ 1328 w 266752"/>
                  <a:gd name="connsiteY2" fmla="*/ 250170 h 254246"/>
                  <a:gd name="connsiteX3" fmla="*/ 239295 w 266752"/>
                  <a:gd name="connsiteY3" fmla="*/ 207458 h 254246"/>
                  <a:gd name="connsiteX4" fmla="*/ 266752 w 266752"/>
                  <a:gd name="connsiteY4" fmla="*/ 176950 h 254246"/>
                  <a:gd name="connsiteX5" fmla="*/ 266752 w 266752"/>
                  <a:gd name="connsiteY5" fmla="*/ 42712 h 254246"/>
                  <a:gd name="connsiteX6" fmla="*/ 144718 w 266752"/>
                  <a:gd name="connsiteY6" fmla="*/ 0 h 254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6752" h="254246">
                    <a:moveTo>
                      <a:pt x="144718" y="0"/>
                    </a:moveTo>
                    <a:lnTo>
                      <a:pt x="159973" y="125085"/>
                    </a:lnTo>
                    <a:cubicBezTo>
                      <a:pt x="159973" y="125085"/>
                      <a:pt x="-16977" y="228814"/>
                      <a:pt x="1328" y="250170"/>
                    </a:cubicBezTo>
                    <a:cubicBezTo>
                      <a:pt x="13531" y="265424"/>
                      <a:pt x="169125" y="234916"/>
                      <a:pt x="239295" y="207458"/>
                    </a:cubicBezTo>
                    <a:cubicBezTo>
                      <a:pt x="263701" y="198305"/>
                      <a:pt x="266752" y="176950"/>
                      <a:pt x="266752" y="176950"/>
                    </a:cubicBezTo>
                    <a:lnTo>
                      <a:pt x="266752" y="42712"/>
                    </a:lnTo>
                    <a:lnTo>
                      <a:pt x="144718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9FB9FA22-94C8-4503-A32A-A853F3A30758}"/>
                </a:ext>
              </a:extLst>
            </p:cNvPr>
            <p:cNvSpPr/>
            <p:nvPr/>
          </p:nvSpPr>
          <p:spPr>
            <a:xfrm>
              <a:off x="15067462" y="8961358"/>
              <a:ext cx="488168" cy="500455"/>
            </a:xfrm>
            <a:custGeom>
              <a:avLst/>
              <a:gdLst>
                <a:gd name="connsiteX0" fmla="*/ 488169 w 488168"/>
                <a:gd name="connsiteY0" fmla="*/ 317310 h 500455"/>
                <a:gd name="connsiteX1" fmla="*/ 51898 w 488168"/>
                <a:gd name="connsiteY1" fmla="*/ 22 h 500455"/>
                <a:gd name="connsiteX2" fmla="*/ 33 w 488168"/>
                <a:gd name="connsiteY2" fmla="*/ 88496 h 500455"/>
                <a:gd name="connsiteX3" fmla="*/ 408848 w 488168"/>
                <a:gd name="connsiteY3" fmla="*/ 494259 h 500455"/>
                <a:gd name="connsiteX4" fmla="*/ 488169 w 488168"/>
                <a:gd name="connsiteY4" fmla="*/ 317310 h 500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8168" h="500455">
                  <a:moveTo>
                    <a:pt x="488169" y="317310"/>
                  </a:moveTo>
                  <a:cubicBezTo>
                    <a:pt x="488169" y="317310"/>
                    <a:pt x="58000" y="-3029"/>
                    <a:pt x="51898" y="22"/>
                  </a:cubicBezTo>
                  <a:cubicBezTo>
                    <a:pt x="-9119" y="30530"/>
                    <a:pt x="24441" y="24428"/>
                    <a:pt x="33" y="88496"/>
                  </a:cubicBezTo>
                  <a:cubicBezTo>
                    <a:pt x="-3017" y="97649"/>
                    <a:pt x="204440" y="344767"/>
                    <a:pt x="408848" y="494259"/>
                  </a:cubicBezTo>
                  <a:cubicBezTo>
                    <a:pt x="463762" y="540022"/>
                    <a:pt x="488169" y="317310"/>
                    <a:pt x="488169" y="317310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5CDE13F7-7B9A-4BA3-878E-1B908B2DAF0A}"/>
                </a:ext>
              </a:extLst>
            </p:cNvPr>
            <p:cNvSpPr/>
            <p:nvPr/>
          </p:nvSpPr>
          <p:spPr>
            <a:xfrm>
              <a:off x="14920815" y="8767351"/>
              <a:ext cx="251363" cy="301614"/>
            </a:xfrm>
            <a:custGeom>
              <a:avLst/>
              <a:gdLst>
                <a:gd name="connsiteX0" fmla="*/ 12443 w 251363"/>
                <a:gd name="connsiteY0" fmla="*/ 148266 h 301614"/>
                <a:gd name="connsiteX1" fmla="*/ 52105 w 251363"/>
                <a:gd name="connsiteY1" fmla="*/ 212333 h 301614"/>
                <a:gd name="connsiteX2" fmla="*/ 134477 w 251363"/>
                <a:gd name="connsiteY2" fmla="*/ 300808 h 301614"/>
                <a:gd name="connsiteX3" fmla="*/ 241257 w 251363"/>
                <a:gd name="connsiteY3" fmla="*/ 276401 h 301614"/>
                <a:gd name="connsiteX4" fmla="*/ 122274 w 251363"/>
                <a:gd name="connsiteY4" fmla="*/ 14028 h 301614"/>
                <a:gd name="connsiteX5" fmla="*/ 91766 w 251363"/>
                <a:gd name="connsiteY5" fmla="*/ 7926 h 301614"/>
                <a:gd name="connsiteX6" fmla="*/ 103969 w 251363"/>
                <a:gd name="connsiteY6" fmla="*/ 50638 h 301614"/>
                <a:gd name="connsiteX7" fmla="*/ 122274 w 251363"/>
                <a:gd name="connsiteY7" fmla="*/ 105553 h 301614"/>
                <a:gd name="connsiteX8" fmla="*/ 76511 w 251363"/>
                <a:gd name="connsiteY8" fmla="*/ 47588 h 301614"/>
                <a:gd name="connsiteX9" fmla="*/ 42952 w 251363"/>
                <a:gd name="connsiteY9" fmla="*/ 7926 h 301614"/>
                <a:gd name="connsiteX10" fmla="*/ 15495 w 251363"/>
                <a:gd name="connsiteY10" fmla="*/ 14028 h 301614"/>
                <a:gd name="connsiteX11" fmla="*/ 12443 w 251363"/>
                <a:gd name="connsiteY11" fmla="*/ 44536 h 301614"/>
                <a:gd name="connsiteX12" fmla="*/ 9392 w 251363"/>
                <a:gd name="connsiteY12" fmla="*/ 44536 h 301614"/>
                <a:gd name="connsiteX13" fmla="*/ 3291 w 251363"/>
                <a:gd name="connsiteY13" fmla="*/ 47588 h 301614"/>
                <a:gd name="connsiteX14" fmla="*/ 12443 w 251363"/>
                <a:gd name="connsiteY14" fmla="*/ 93350 h 301614"/>
                <a:gd name="connsiteX15" fmla="*/ 27698 w 251363"/>
                <a:gd name="connsiteY15" fmla="*/ 114706 h 301614"/>
                <a:gd name="connsiteX16" fmla="*/ 21597 w 251363"/>
                <a:gd name="connsiteY16" fmla="*/ 111655 h 301614"/>
                <a:gd name="connsiteX17" fmla="*/ 3291 w 251363"/>
                <a:gd name="connsiteY17" fmla="*/ 114706 h 301614"/>
                <a:gd name="connsiteX18" fmla="*/ 12443 w 251363"/>
                <a:gd name="connsiteY18" fmla="*/ 148266 h 301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51363" h="301614">
                  <a:moveTo>
                    <a:pt x="12443" y="148266"/>
                  </a:moveTo>
                  <a:cubicBezTo>
                    <a:pt x="24647" y="169621"/>
                    <a:pt x="39901" y="190977"/>
                    <a:pt x="52105" y="212333"/>
                  </a:cubicBezTo>
                  <a:cubicBezTo>
                    <a:pt x="73460" y="245893"/>
                    <a:pt x="91766" y="288604"/>
                    <a:pt x="134477" y="300808"/>
                  </a:cubicBezTo>
                  <a:cubicBezTo>
                    <a:pt x="161935" y="306910"/>
                    <a:pt x="241257" y="276401"/>
                    <a:pt x="241257" y="276401"/>
                  </a:cubicBezTo>
                  <a:cubicBezTo>
                    <a:pt x="287020" y="215384"/>
                    <a:pt x="164986" y="59791"/>
                    <a:pt x="122274" y="14028"/>
                  </a:cubicBezTo>
                  <a:cubicBezTo>
                    <a:pt x="116172" y="7926"/>
                    <a:pt x="94817" y="-10379"/>
                    <a:pt x="91766" y="7926"/>
                  </a:cubicBezTo>
                  <a:cubicBezTo>
                    <a:pt x="88715" y="20130"/>
                    <a:pt x="100918" y="38435"/>
                    <a:pt x="103969" y="50638"/>
                  </a:cubicBezTo>
                  <a:cubicBezTo>
                    <a:pt x="110071" y="68943"/>
                    <a:pt x="116172" y="87249"/>
                    <a:pt x="122274" y="105553"/>
                  </a:cubicBezTo>
                  <a:cubicBezTo>
                    <a:pt x="107020" y="87249"/>
                    <a:pt x="91766" y="65892"/>
                    <a:pt x="76511" y="47588"/>
                  </a:cubicBezTo>
                  <a:cubicBezTo>
                    <a:pt x="67359" y="35384"/>
                    <a:pt x="58206" y="17079"/>
                    <a:pt x="42952" y="7926"/>
                  </a:cubicBezTo>
                  <a:cubicBezTo>
                    <a:pt x="33800" y="1825"/>
                    <a:pt x="24647" y="4875"/>
                    <a:pt x="15495" y="14028"/>
                  </a:cubicBezTo>
                  <a:cubicBezTo>
                    <a:pt x="9392" y="23181"/>
                    <a:pt x="9392" y="35384"/>
                    <a:pt x="12443" y="44536"/>
                  </a:cubicBezTo>
                  <a:cubicBezTo>
                    <a:pt x="12443" y="44536"/>
                    <a:pt x="9392" y="44536"/>
                    <a:pt x="9392" y="44536"/>
                  </a:cubicBezTo>
                  <a:cubicBezTo>
                    <a:pt x="6342" y="44536"/>
                    <a:pt x="6342" y="44536"/>
                    <a:pt x="3291" y="47588"/>
                  </a:cubicBezTo>
                  <a:cubicBezTo>
                    <a:pt x="-2811" y="65892"/>
                    <a:pt x="3291" y="78096"/>
                    <a:pt x="12443" y="93350"/>
                  </a:cubicBezTo>
                  <a:cubicBezTo>
                    <a:pt x="18546" y="99452"/>
                    <a:pt x="21597" y="108604"/>
                    <a:pt x="27698" y="114706"/>
                  </a:cubicBezTo>
                  <a:cubicBezTo>
                    <a:pt x="24647" y="114706"/>
                    <a:pt x="24647" y="111655"/>
                    <a:pt x="21597" y="111655"/>
                  </a:cubicBezTo>
                  <a:cubicBezTo>
                    <a:pt x="15495" y="108604"/>
                    <a:pt x="6342" y="108604"/>
                    <a:pt x="3291" y="114706"/>
                  </a:cubicBezTo>
                  <a:cubicBezTo>
                    <a:pt x="-5862" y="123859"/>
                    <a:pt x="6342" y="136062"/>
                    <a:pt x="12443" y="148266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1" name="图形 114">
              <a:extLst>
                <a:ext uri="{FF2B5EF4-FFF2-40B4-BE49-F238E27FC236}">
                  <a16:creationId xmlns:a16="http://schemas.microsoft.com/office/drawing/2014/main" id="{933942D7-5C26-49E5-93D1-0C428CF833B8}"/>
                </a:ext>
              </a:extLst>
            </p:cNvPr>
            <p:cNvGrpSpPr/>
            <p:nvPr/>
          </p:nvGrpSpPr>
          <p:grpSpPr>
            <a:xfrm>
              <a:off x="14530547" y="8339007"/>
              <a:ext cx="771864" cy="811525"/>
              <a:chOff x="14530547" y="8339007"/>
              <a:chExt cx="771864" cy="811525"/>
            </a:xfrm>
          </p:grpSpPr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02AFC95A-5743-4990-A90C-4DB73255800B}"/>
                  </a:ext>
                </a:extLst>
              </p:cNvPr>
              <p:cNvSpPr/>
              <p:nvPr/>
            </p:nvSpPr>
            <p:spPr>
              <a:xfrm>
                <a:off x="14619021" y="8339007"/>
                <a:ext cx="683389" cy="811525"/>
              </a:xfrm>
              <a:custGeom>
                <a:avLst/>
                <a:gdLst>
                  <a:gd name="connsiteX0" fmla="*/ 265423 w 683389"/>
                  <a:gd name="connsiteY0" fmla="*/ 811526 h 811525"/>
                  <a:gd name="connsiteX1" fmla="*/ 0 w 683389"/>
                  <a:gd name="connsiteY1" fmla="*/ 430170 h 811525"/>
                  <a:gd name="connsiteX2" fmla="*/ 387457 w 683389"/>
                  <a:gd name="connsiteY2" fmla="*/ 0 h 811525"/>
                  <a:gd name="connsiteX3" fmla="*/ 683390 w 683389"/>
                  <a:gd name="connsiteY3" fmla="*/ 399661 h 81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3389" h="811525">
                    <a:moveTo>
                      <a:pt x="265423" y="811526"/>
                    </a:moveTo>
                    <a:lnTo>
                      <a:pt x="0" y="430170"/>
                    </a:lnTo>
                    <a:lnTo>
                      <a:pt x="387457" y="0"/>
                    </a:lnTo>
                    <a:lnTo>
                      <a:pt x="683390" y="399661"/>
                    </a:lnTo>
                    <a:close/>
                  </a:path>
                </a:pathLst>
              </a:custGeom>
              <a:solidFill>
                <a:srgbClr val="D16156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3ABBE6F4-F74D-434F-9BC8-383739EC4B3D}"/>
                  </a:ext>
                </a:extLst>
              </p:cNvPr>
              <p:cNvSpPr/>
              <p:nvPr/>
            </p:nvSpPr>
            <p:spPr>
              <a:xfrm>
                <a:off x="14908852" y="8339007"/>
                <a:ext cx="97626" cy="164746"/>
              </a:xfrm>
              <a:custGeom>
                <a:avLst/>
                <a:gdLst>
                  <a:gd name="connsiteX0" fmla="*/ 9152 w 97626"/>
                  <a:gd name="connsiteY0" fmla="*/ 3051 h 164746"/>
                  <a:gd name="connsiteX1" fmla="*/ 97627 w 97626"/>
                  <a:gd name="connsiteY1" fmla="*/ 0 h 164746"/>
                  <a:gd name="connsiteX2" fmla="*/ 79322 w 97626"/>
                  <a:gd name="connsiteY2" fmla="*/ 149492 h 164746"/>
                  <a:gd name="connsiteX3" fmla="*/ 0 w 97626"/>
                  <a:gd name="connsiteY3" fmla="*/ 164746 h 164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626" h="164746">
                    <a:moveTo>
                      <a:pt x="9152" y="3051"/>
                    </a:moveTo>
                    <a:lnTo>
                      <a:pt x="97627" y="0"/>
                    </a:lnTo>
                    <a:lnTo>
                      <a:pt x="79322" y="149492"/>
                    </a:lnTo>
                    <a:lnTo>
                      <a:pt x="0" y="164746"/>
                    </a:lnTo>
                    <a:close/>
                  </a:path>
                </a:pathLst>
              </a:custGeom>
              <a:solidFill>
                <a:srgbClr val="D16156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FD57CF83-A3F6-463A-A0F0-30EE75EA5DFD}"/>
                  </a:ext>
                </a:extLst>
              </p:cNvPr>
              <p:cNvSpPr/>
              <p:nvPr/>
            </p:nvSpPr>
            <p:spPr>
              <a:xfrm>
                <a:off x="14789869" y="8366465"/>
                <a:ext cx="475931" cy="738304"/>
              </a:xfrm>
              <a:custGeom>
                <a:avLst/>
                <a:gdLst>
                  <a:gd name="connsiteX0" fmla="*/ 140338 w 475931"/>
                  <a:gd name="connsiteY0" fmla="*/ 6102 h 738304"/>
                  <a:gd name="connsiteX1" fmla="*/ 204406 w 475931"/>
                  <a:gd name="connsiteY1" fmla="*/ 0 h 738304"/>
                  <a:gd name="connsiteX2" fmla="*/ 475931 w 475931"/>
                  <a:gd name="connsiteY2" fmla="*/ 363051 h 738304"/>
                  <a:gd name="connsiteX3" fmla="*/ 100678 w 475931"/>
                  <a:gd name="connsiteY3" fmla="*/ 735254 h 738304"/>
                  <a:gd name="connsiteX4" fmla="*/ 6101 w 475931"/>
                  <a:gd name="connsiteY4" fmla="*/ 738305 h 738304"/>
                  <a:gd name="connsiteX5" fmla="*/ 0 w 475931"/>
                  <a:gd name="connsiteY5" fmla="*/ 561356 h 738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5931" h="738304">
                    <a:moveTo>
                      <a:pt x="140338" y="6102"/>
                    </a:moveTo>
                    <a:lnTo>
                      <a:pt x="204406" y="0"/>
                    </a:lnTo>
                    <a:lnTo>
                      <a:pt x="475931" y="363051"/>
                    </a:lnTo>
                    <a:lnTo>
                      <a:pt x="100678" y="735254"/>
                    </a:lnTo>
                    <a:lnTo>
                      <a:pt x="6101" y="738305"/>
                    </a:lnTo>
                    <a:lnTo>
                      <a:pt x="0" y="561356"/>
                    </a:lnTo>
                    <a:close/>
                  </a:path>
                </a:pathLst>
              </a:custGeom>
              <a:solidFill>
                <a:srgbClr val="FFFFFF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EE540064-6D9A-46E7-B592-E65F18ADC431}"/>
                  </a:ext>
                </a:extLst>
              </p:cNvPr>
              <p:cNvSpPr/>
              <p:nvPr/>
            </p:nvSpPr>
            <p:spPr>
              <a:xfrm>
                <a:off x="14530547" y="8342058"/>
                <a:ext cx="683389" cy="808474"/>
              </a:xfrm>
              <a:custGeom>
                <a:avLst/>
                <a:gdLst>
                  <a:gd name="connsiteX0" fmla="*/ 265423 w 683389"/>
                  <a:gd name="connsiteY0" fmla="*/ 808475 h 808474"/>
                  <a:gd name="connsiteX1" fmla="*/ 0 w 683389"/>
                  <a:gd name="connsiteY1" fmla="*/ 430169 h 808474"/>
                  <a:gd name="connsiteX2" fmla="*/ 387457 w 683389"/>
                  <a:gd name="connsiteY2" fmla="*/ 0 h 808474"/>
                  <a:gd name="connsiteX3" fmla="*/ 683390 w 683389"/>
                  <a:gd name="connsiteY3" fmla="*/ 396610 h 808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3389" h="808474">
                    <a:moveTo>
                      <a:pt x="265423" y="808475"/>
                    </a:moveTo>
                    <a:lnTo>
                      <a:pt x="0" y="430169"/>
                    </a:lnTo>
                    <a:lnTo>
                      <a:pt x="387457" y="0"/>
                    </a:lnTo>
                    <a:lnTo>
                      <a:pt x="683390" y="396610"/>
                    </a:lnTo>
                    <a:close/>
                  </a:path>
                </a:pathLst>
              </a:custGeom>
              <a:solidFill>
                <a:srgbClr val="D16156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88603D10-2865-47BE-BF2F-8863FD1B4A15}"/>
                </a:ext>
              </a:extLst>
            </p:cNvPr>
            <p:cNvSpPr/>
            <p:nvPr/>
          </p:nvSpPr>
          <p:spPr>
            <a:xfrm>
              <a:off x="15024784" y="8884648"/>
              <a:ext cx="131309" cy="138379"/>
            </a:xfrm>
            <a:custGeom>
              <a:avLst/>
              <a:gdLst>
                <a:gd name="connsiteX0" fmla="*/ 0 w 131309"/>
                <a:gd name="connsiteY0" fmla="*/ 34020 h 138379"/>
                <a:gd name="connsiteX1" fmla="*/ 27457 w 131309"/>
                <a:gd name="connsiteY1" fmla="*/ 43172 h 138379"/>
                <a:gd name="connsiteX2" fmla="*/ 73220 w 131309"/>
                <a:gd name="connsiteY2" fmla="*/ 79783 h 138379"/>
                <a:gd name="connsiteX3" fmla="*/ 79322 w 131309"/>
                <a:gd name="connsiteY3" fmla="*/ 137749 h 138379"/>
                <a:gd name="connsiteX4" fmla="*/ 131187 w 131309"/>
                <a:gd name="connsiteY4" fmla="*/ 82834 h 138379"/>
                <a:gd name="connsiteX5" fmla="*/ 70170 w 131309"/>
                <a:gd name="connsiteY5" fmla="*/ 461 h 138379"/>
                <a:gd name="connsiteX6" fmla="*/ 0 w 131309"/>
                <a:gd name="connsiteY6" fmla="*/ 34020 h 138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1309" h="138379">
                  <a:moveTo>
                    <a:pt x="0" y="34020"/>
                  </a:moveTo>
                  <a:cubicBezTo>
                    <a:pt x="0" y="43172"/>
                    <a:pt x="18305" y="40121"/>
                    <a:pt x="27457" y="43172"/>
                  </a:cubicBezTo>
                  <a:cubicBezTo>
                    <a:pt x="48814" y="49274"/>
                    <a:pt x="64068" y="58427"/>
                    <a:pt x="73220" y="79783"/>
                  </a:cubicBezTo>
                  <a:cubicBezTo>
                    <a:pt x="79322" y="91986"/>
                    <a:pt x="79322" y="125545"/>
                    <a:pt x="79322" y="137749"/>
                  </a:cubicBezTo>
                  <a:cubicBezTo>
                    <a:pt x="79322" y="143851"/>
                    <a:pt x="134237" y="104189"/>
                    <a:pt x="131187" y="82834"/>
                  </a:cubicBezTo>
                  <a:cubicBezTo>
                    <a:pt x="128136" y="55376"/>
                    <a:pt x="100679" y="9613"/>
                    <a:pt x="70170" y="461"/>
                  </a:cubicBezTo>
                  <a:cubicBezTo>
                    <a:pt x="54916" y="-2590"/>
                    <a:pt x="0" y="9613"/>
                    <a:pt x="0" y="34020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7F13626E-0DFE-447C-875D-0BC7A4BACCA5}"/>
                </a:ext>
              </a:extLst>
            </p:cNvPr>
            <p:cNvSpPr/>
            <p:nvPr/>
          </p:nvSpPr>
          <p:spPr>
            <a:xfrm>
              <a:off x="15019729" y="8881583"/>
              <a:ext cx="145393" cy="128609"/>
            </a:xfrm>
            <a:custGeom>
              <a:avLst/>
              <a:gdLst>
                <a:gd name="connsiteX0" fmla="*/ 59970 w 145393"/>
                <a:gd name="connsiteY0" fmla="*/ 128610 h 128609"/>
                <a:gd name="connsiteX1" fmla="*/ 53868 w 145393"/>
                <a:gd name="connsiteY1" fmla="*/ 122508 h 128609"/>
                <a:gd name="connsiteX2" fmla="*/ 72173 w 145393"/>
                <a:gd name="connsiteY2" fmla="*/ 79796 h 128609"/>
                <a:gd name="connsiteX3" fmla="*/ 26411 w 145393"/>
                <a:gd name="connsiteY3" fmla="*/ 52339 h 128609"/>
                <a:gd name="connsiteX4" fmla="*/ 2003 w 145393"/>
                <a:gd name="connsiteY4" fmla="*/ 40135 h 128609"/>
                <a:gd name="connsiteX5" fmla="*/ 5054 w 145393"/>
                <a:gd name="connsiteY5" fmla="*/ 21830 h 128609"/>
                <a:gd name="connsiteX6" fmla="*/ 78275 w 145393"/>
                <a:gd name="connsiteY6" fmla="*/ 474 h 128609"/>
                <a:gd name="connsiteX7" fmla="*/ 145394 w 145393"/>
                <a:gd name="connsiteY7" fmla="*/ 85898 h 128609"/>
                <a:gd name="connsiteX8" fmla="*/ 142343 w 145393"/>
                <a:gd name="connsiteY8" fmla="*/ 92000 h 128609"/>
                <a:gd name="connsiteX9" fmla="*/ 136241 w 145393"/>
                <a:gd name="connsiteY9" fmla="*/ 88949 h 128609"/>
                <a:gd name="connsiteX10" fmla="*/ 81326 w 145393"/>
                <a:gd name="connsiteY10" fmla="*/ 12677 h 128609"/>
                <a:gd name="connsiteX11" fmla="*/ 20309 w 145393"/>
                <a:gd name="connsiteY11" fmla="*/ 30983 h 128609"/>
                <a:gd name="connsiteX12" fmla="*/ 20309 w 145393"/>
                <a:gd name="connsiteY12" fmla="*/ 37084 h 128609"/>
                <a:gd name="connsiteX13" fmla="*/ 38614 w 145393"/>
                <a:gd name="connsiteY13" fmla="*/ 43186 h 128609"/>
                <a:gd name="connsiteX14" fmla="*/ 93529 w 145393"/>
                <a:gd name="connsiteY14" fmla="*/ 82847 h 128609"/>
                <a:gd name="connsiteX15" fmla="*/ 93529 w 145393"/>
                <a:gd name="connsiteY15" fmla="*/ 88949 h 128609"/>
                <a:gd name="connsiteX16" fmla="*/ 78275 w 145393"/>
                <a:gd name="connsiteY16" fmla="*/ 125559 h 128609"/>
                <a:gd name="connsiteX17" fmla="*/ 59970 w 145393"/>
                <a:gd name="connsiteY17" fmla="*/ 128610 h 128609"/>
                <a:gd name="connsiteX18" fmla="*/ 59970 w 145393"/>
                <a:gd name="connsiteY18" fmla="*/ 128610 h 128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5393" h="128609">
                  <a:moveTo>
                    <a:pt x="59970" y="128610"/>
                  </a:moveTo>
                  <a:cubicBezTo>
                    <a:pt x="56919" y="128610"/>
                    <a:pt x="53868" y="125559"/>
                    <a:pt x="53868" y="122508"/>
                  </a:cubicBezTo>
                  <a:cubicBezTo>
                    <a:pt x="50817" y="104203"/>
                    <a:pt x="66071" y="85898"/>
                    <a:pt x="72173" y="79796"/>
                  </a:cubicBezTo>
                  <a:cubicBezTo>
                    <a:pt x="63020" y="58440"/>
                    <a:pt x="41665" y="55390"/>
                    <a:pt x="26411" y="52339"/>
                  </a:cubicBezTo>
                  <a:cubicBezTo>
                    <a:pt x="14208" y="49288"/>
                    <a:pt x="5054" y="46237"/>
                    <a:pt x="2003" y="40135"/>
                  </a:cubicBezTo>
                  <a:cubicBezTo>
                    <a:pt x="-1047" y="34034"/>
                    <a:pt x="-1047" y="27932"/>
                    <a:pt x="5054" y="21830"/>
                  </a:cubicBezTo>
                  <a:cubicBezTo>
                    <a:pt x="14208" y="9627"/>
                    <a:pt x="44716" y="-2577"/>
                    <a:pt x="78275" y="474"/>
                  </a:cubicBezTo>
                  <a:cubicBezTo>
                    <a:pt x="124037" y="3525"/>
                    <a:pt x="142343" y="82847"/>
                    <a:pt x="145394" y="85898"/>
                  </a:cubicBezTo>
                  <a:cubicBezTo>
                    <a:pt x="145394" y="88949"/>
                    <a:pt x="145394" y="92000"/>
                    <a:pt x="142343" y="92000"/>
                  </a:cubicBezTo>
                  <a:cubicBezTo>
                    <a:pt x="139292" y="92000"/>
                    <a:pt x="136241" y="92000"/>
                    <a:pt x="136241" y="88949"/>
                  </a:cubicBezTo>
                  <a:cubicBezTo>
                    <a:pt x="136241" y="88949"/>
                    <a:pt x="117936" y="15728"/>
                    <a:pt x="81326" y="12677"/>
                  </a:cubicBezTo>
                  <a:cubicBezTo>
                    <a:pt x="50817" y="9627"/>
                    <a:pt x="26411" y="21830"/>
                    <a:pt x="20309" y="30983"/>
                  </a:cubicBezTo>
                  <a:cubicBezTo>
                    <a:pt x="17258" y="34034"/>
                    <a:pt x="17258" y="37084"/>
                    <a:pt x="20309" y="37084"/>
                  </a:cubicBezTo>
                  <a:cubicBezTo>
                    <a:pt x="20309" y="40135"/>
                    <a:pt x="29462" y="43186"/>
                    <a:pt x="38614" y="43186"/>
                  </a:cubicBezTo>
                  <a:cubicBezTo>
                    <a:pt x="56919" y="46237"/>
                    <a:pt x="81326" y="52339"/>
                    <a:pt x="93529" y="82847"/>
                  </a:cubicBezTo>
                  <a:cubicBezTo>
                    <a:pt x="93529" y="85898"/>
                    <a:pt x="93529" y="88949"/>
                    <a:pt x="93529" y="88949"/>
                  </a:cubicBezTo>
                  <a:cubicBezTo>
                    <a:pt x="87428" y="95051"/>
                    <a:pt x="75224" y="110305"/>
                    <a:pt x="78275" y="125559"/>
                  </a:cubicBezTo>
                  <a:cubicBezTo>
                    <a:pt x="66071" y="125559"/>
                    <a:pt x="63020" y="128610"/>
                    <a:pt x="59970" y="128610"/>
                  </a:cubicBezTo>
                  <a:cubicBezTo>
                    <a:pt x="59970" y="128610"/>
                    <a:pt x="59970" y="128610"/>
                    <a:pt x="59970" y="128610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9E67407D-B47E-443E-AC36-41FA65358907}"/>
                </a:ext>
              </a:extLst>
            </p:cNvPr>
            <p:cNvSpPr/>
            <p:nvPr/>
          </p:nvSpPr>
          <p:spPr>
            <a:xfrm>
              <a:off x="15964445" y="7677451"/>
              <a:ext cx="683389" cy="801676"/>
            </a:xfrm>
            <a:custGeom>
              <a:avLst/>
              <a:gdLst>
                <a:gd name="connsiteX0" fmla="*/ 0 w 683389"/>
                <a:gd name="connsiteY0" fmla="*/ 176471 h 801676"/>
                <a:gd name="connsiteX1" fmla="*/ 335593 w 683389"/>
                <a:gd name="connsiteY1" fmla="*/ 2573 h 801676"/>
                <a:gd name="connsiteX2" fmla="*/ 582711 w 683389"/>
                <a:gd name="connsiteY2" fmla="*/ 426641 h 801676"/>
                <a:gd name="connsiteX3" fmla="*/ 683390 w 683389"/>
                <a:gd name="connsiteY3" fmla="*/ 722573 h 801676"/>
                <a:gd name="connsiteX4" fmla="*/ 353898 w 683389"/>
                <a:gd name="connsiteY4" fmla="*/ 719522 h 801676"/>
                <a:gd name="connsiteX5" fmla="*/ 152542 w 683389"/>
                <a:gd name="connsiteY5" fmla="*/ 234437 h 801676"/>
                <a:gd name="connsiteX6" fmla="*/ 0 w 683389"/>
                <a:gd name="connsiteY6" fmla="*/ 176471 h 801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3389" h="801676">
                  <a:moveTo>
                    <a:pt x="0" y="176471"/>
                  </a:moveTo>
                  <a:cubicBezTo>
                    <a:pt x="0" y="176471"/>
                    <a:pt x="33559" y="-24885"/>
                    <a:pt x="335593" y="2573"/>
                  </a:cubicBezTo>
                  <a:cubicBezTo>
                    <a:pt x="521694" y="17827"/>
                    <a:pt x="613220" y="295454"/>
                    <a:pt x="582711" y="426641"/>
                  </a:cubicBezTo>
                  <a:cubicBezTo>
                    <a:pt x="552203" y="557827"/>
                    <a:pt x="573559" y="670708"/>
                    <a:pt x="683390" y="722573"/>
                  </a:cubicBezTo>
                  <a:cubicBezTo>
                    <a:pt x="683390" y="722573"/>
                    <a:pt x="466779" y="902573"/>
                    <a:pt x="353898" y="719522"/>
                  </a:cubicBezTo>
                  <a:cubicBezTo>
                    <a:pt x="308135" y="643251"/>
                    <a:pt x="292881" y="274098"/>
                    <a:pt x="152542" y="234437"/>
                  </a:cubicBezTo>
                  <a:cubicBezTo>
                    <a:pt x="88474" y="216132"/>
                    <a:pt x="0" y="176471"/>
                    <a:pt x="0" y="176471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B2CDE65C-1B87-480B-8608-1988C6E79708}"/>
                </a:ext>
              </a:extLst>
            </p:cNvPr>
            <p:cNvSpPr/>
            <p:nvPr/>
          </p:nvSpPr>
          <p:spPr>
            <a:xfrm>
              <a:off x="16449530" y="8235278"/>
              <a:ext cx="198305" cy="167796"/>
            </a:xfrm>
            <a:custGeom>
              <a:avLst/>
              <a:gdLst>
                <a:gd name="connsiteX0" fmla="*/ 189152 w 198305"/>
                <a:gd name="connsiteY0" fmla="*/ 167797 h 167796"/>
                <a:gd name="connsiteX1" fmla="*/ 0 w 198305"/>
                <a:gd name="connsiteY1" fmla="*/ 6102 h 167796"/>
                <a:gd name="connsiteX2" fmla="*/ 3051 w 198305"/>
                <a:gd name="connsiteY2" fmla="*/ 0 h 167796"/>
                <a:gd name="connsiteX3" fmla="*/ 9152 w 198305"/>
                <a:gd name="connsiteY3" fmla="*/ 3051 h 167796"/>
                <a:gd name="connsiteX4" fmla="*/ 192203 w 198305"/>
                <a:gd name="connsiteY4" fmla="*/ 155593 h 167796"/>
                <a:gd name="connsiteX5" fmla="*/ 198305 w 198305"/>
                <a:gd name="connsiteY5" fmla="*/ 161695 h 167796"/>
                <a:gd name="connsiteX6" fmla="*/ 192203 w 198305"/>
                <a:gd name="connsiteY6" fmla="*/ 167797 h 167796"/>
                <a:gd name="connsiteX7" fmla="*/ 189152 w 198305"/>
                <a:gd name="connsiteY7" fmla="*/ 167797 h 167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305" h="167796">
                  <a:moveTo>
                    <a:pt x="189152" y="167797"/>
                  </a:moveTo>
                  <a:cubicBezTo>
                    <a:pt x="158644" y="167797"/>
                    <a:pt x="45763" y="155593"/>
                    <a:pt x="0" y="6102"/>
                  </a:cubicBezTo>
                  <a:cubicBezTo>
                    <a:pt x="0" y="3051"/>
                    <a:pt x="0" y="0"/>
                    <a:pt x="3051" y="0"/>
                  </a:cubicBezTo>
                  <a:cubicBezTo>
                    <a:pt x="6101" y="0"/>
                    <a:pt x="9152" y="0"/>
                    <a:pt x="9152" y="3051"/>
                  </a:cubicBezTo>
                  <a:cubicBezTo>
                    <a:pt x="57966" y="170847"/>
                    <a:pt x="192203" y="155593"/>
                    <a:pt x="192203" y="155593"/>
                  </a:cubicBezTo>
                  <a:cubicBezTo>
                    <a:pt x="195254" y="155593"/>
                    <a:pt x="198305" y="158644"/>
                    <a:pt x="198305" y="161695"/>
                  </a:cubicBezTo>
                  <a:cubicBezTo>
                    <a:pt x="198305" y="164746"/>
                    <a:pt x="195254" y="167797"/>
                    <a:pt x="192203" y="167797"/>
                  </a:cubicBezTo>
                  <a:cubicBezTo>
                    <a:pt x="198305" y="167797"/>
                    <a:pt x="195254" y="167797"/>
                    <a:pt x="189152" y="167797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2480ACE1-B9A8-4511-BE64-34AAB5653108}"/>
                </a:ext>
              </a:extLst>
            </p:cNvPr>
            <p:cNvSpPr/>
            <p:nvPr/>
          </p:nvSpPr>
          <p:spPr>
            <a:xfrm>
              <a:off x="15891190" y="7837391"/>
              <a:ext cx="231739" cy="148766"/>
            </a:xfrm>
            <a:custGeom>
              <a:avLst/>
              <a:gdLst>
                <a:gd name="connsiteX0" fmla="*/ 34 w 231739"/>
                <a:gd name="connsiteY0" fmla="*/ 68395 h 148766"/>
                <a:gd name="connsiteX1" fmla="*/ 119018 w 231739"/>
                <a:gd name="connsiteY1" fmla="*/ 1276 h 148766"/>
                <a:gd name="connsiteX2" fmla="*/ 225798 w 231739"/>
                <a:gd name="connsiteY2" fmla="*/ 123310 h 148766"/>
                <a:gd name="connsiteX3" fmla="*/ 34 w 231739"/>
                <a:gd name="connsiteY3" fmla="*/ 68395 h 148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739" h="148766">
                  <a:moveTo>
                    <a:pt x="34" y="68395"/>
                  </a:moveTo>
                  <a:cubicBezTo>
                    <a:pt x="34" y="68395"/>
                    <a:pt x="24442" y="-10927"/>
                    <a:pt x="119018" y="1276"/>
                  </a:cubicBezTo>
                  <a:cubicBezTo>
                    <a:pt x="180035" y="10429"/>
                    <a:pt x="253255" y="56192"/>
                    <a:pt x="225798" y="123310"/>
                  </a:cubicBezTo>
                  <a:cubicBezTo>
                    <a:pt x="198339" y="190429"/>
                    <a:pt x="-3016" y="108056"/>
                    <a:pt x="34" y="68395"/>
                  </a:cubicBezTo>
                  <a:close/>
                </a:path>
              </a:pathLst>
            </a:custGeom>
            <a:solidFill>
              <a:srgbClr val="F1DDBA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BD54BA78-D5A3-4C21-B5F2-E693045CA274}"/>
                </a:ext>
              </a:extLst>
            </p:cNvPr>
            <p:cNvSpPr/>
            <p:nvPr/>
          </p:nvSpPr>
          <p:spPr>
            <a:xfrm>
              <a:off x="15445722" y="8742504"/>
              <a:ext cx="240019" cy="737206"/>
            </a:xfrm>
            <a:custGeom>
              <a:avLst/>
              <a:gdLst>
                <a:gd name="connsiteX0" fmla="*/ 204486 w 240019"/>
                <a:gd name="connsiteY0" fmla="*/ 298197 h 737206"/>
                <a:gd name="connsiteX1" fmla="*/ 207537 w 240019"/>
                <a:gd name="connsiteY1" fmla="*/ 5316 h 737206"/>
                <a:gd name="connsiteX2" fmla="*/ 18384 w 240019"/>
                <a:gd name="connsiteY2" fmla="*/ 234130 h 737206"/>
                <a:gd name="connsiteX3" fmla="*/ 79 w 240019"/>
                <a:gd name="connsiteY3" fmla="*/ 612435 h 737206"/>
                <a:gd name="connsiteX4" fmla="*/ 164825 w 240019"/>
                <a:gd name="connsiteY4" fmla="*/ 694807 h 737206"/>
                <a:gd name="connsiteX5" fmla="*/ 204486 w 240019"/>
                <a:gd name="connsiteY5" fmla="*/ 298197 h 73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0019" h="737206">
                  <a:moveTo>
                    <a:pt x="204486" y="298197"/>
                  </a:moveTo>
                  <a:cubicBezTo>
                    <a:pt x="201435" y="115146"/>
                    <a:pt x="283808" y="32774"/>
                    <a:pt x="207537" y="5316"/>
                  </a:cubicBezTo>
                  <a:cubicBezTo>
                    <a:pt x="122113" y="-28243"/>
                    <a:pt x="39740" y="102943"/>
                    <a:pt x="18384" y="234130"/>
                  </a:cubicBezTo>
                  <a:cubicBezTo>
                    <a:pt x="3129" y="334807"/>
                    <a:pt x="79" y="612435"/>
                    <a:pt x="79" y="612435"/>
                  </a:cubicBezTo>
                  <a:cubicBezTo>
                    <a:pt x="-2972" y="716163"/>
                    <a:pt x="82452" y="786333"/>
                    <a:pt x="164825" y="694807"/>
                  </a:cubicBezTo>
                  <a:cubicBezTo>
                    <a:pt x="244147" y="606333"/>
                    <a:pt x="207537" y="484299"/>
                    <a:pt x="204486" y="298197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6FA654BF-1C84-4124-8804-A6EB6186541E}"/>
                </a:ext>
              </a:extLst>
            </p:cNvPr>
            <p:cNvSpPr/>
            <p:nvPr/>
          </p:nvSpPr>
          <p:spPr>
            <a:xfrm>
              <a:off x="15390886" y="8627942"/>
              <a:ext cx="385695" cy="434280"/>
            </a:xfrm>
            <a:custGeom>
              <a:avLst/>
              <a:gdLst>
                <a:gd name="connsiteX0" fmla="*/ 356950 w 385695"/>
                <a:gd name="connsiteY0" fmla="*/ 434115 h 434280"/>
                <a:gd name="connsiteX1" fmla="*/ 317288 w 385695"/>
                <a:gd name="connsiteY1" fmla="*/ 6997 h 434280"/>
                <a:gd name="connsiteX2" fmla="*/ 0 w 385695"/>
                <a:gd name="connsiteY2" fmla="*/ 345641 h 434280"/>
                <a:gd name="connsiteX3" fmla="*/ 356950 w 385695"/>
                <a:gd name="connsiteY3" fmla="*/ 434115 h 434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695" h="434280">
                  <a:moveTo>
                    <a:pt x="356950" y="434115"/>
                  </a:moveTo>
                  <a:cubicBezTo>
                    <a:pt x="408813" y="257167"/>
                    <a:pt x="387458" y="43607"/>
                    <a:pt x="317288" y="6997"/>
                  </a:cubicBezTo>
                  <a:cubicBezTo>
                    <a:pt x="225763" y="-41817"/>
                    <a:pt x="45763" y="174793"/>
                    <a:pt x="0" y="345641"/>
                  </a:cubicBezTo>
                  <a:cubicBezTo>
                    <a:pt x="54916" y="397505"/>
                    <a:pt x="253221" y="437166"/>
                    <a:pt x="356950" y="434115"/>
                  </a:cubicBezTo>
                  <a:close/>
                </a:path>
              </a:pathLst>
            </a:custGeom>
            <a:solidFill>
              <a:srgbClr val="7F95BC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93ADF5C3-A5FE-41ED-A3CE-9653B5CC576B}"/>
                </a:ext>
              </a:extLst>
            </p:cNvPr>
            <p:cNvSpPr/>
            <p:nvPr/>
          </p:nvSpPr>
          <p:spPr>
            <a:xfrm>
              <a:off x="15495890" y="9519684"/>
              <a:ext cx="923868" cy="2526102"/>
            </a:xfrm>
            <a:custGeom>
              <a:avLst/>
              <a:gdLst>
                <a:gd name="connsiteX0" fmla="*/ 791945 w 923868"/>
                <a:gd name="connsiteY0" fmla="*/ 0 h 2526102"/>
                <a:gd name="connsiteX1" fmla="*/ 123809 w 923868"/>
                <a:gd name="connsiteY1" fmla="*/ 0 h 2526102"/>
                <a:gd name="connsiteX2" fmla="*/ 4827 w 923868"/>
                <a:gd name="connsiteY2" fmla="*/ 460678 h 2526102"/>
                <a:gd name="connsiteX3" fmla="*/ 26183 w 923868"/>
                <a:gd name="connsiteY3" fmla="*/ 2526102 h 2526102"/>
                <a:gd name="connsiteX4" fmla="*/ 206183 w 923868"/>
                <a:gd name="connsiteY4" fmla="*/ 2526102 h 2526102"/>
                <a:gd name="connsiteX5" fmla="*/ 422793 w 923868"/>
                <a:gd name="connsiteY5" fmla="*/ 866441 h 2526102"/>
                <a:gd name="connsiteX6" fmla="*/ 724827 w 923868"/>
                <a:gd name="connsiteY6" fmla="*/ 2516949 h 2526102"/>
                <a:gd name="connsiteX7" fmla="*/ 920081 w 923868"/>
                <a:gd name="connsiteY7" fmla="*/ 2516949 h 2526102"/>
                <a:gd name="connsiteX8" fmla="*/ 923132 w 923868"/>
                <a:gd name="connsiteY8" fmla="*/ 421018 h 2526102"/>
                <a:gd name="connsiteX9" fmla="*/ 791945 w 923868"/>
                <a:gd name="connsiteY9" fmla="*/ 0 h 2526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3868" h="2526102">
                  <a:moveTo>
                    <a:pt x="791945" y="0"/>
                  </a:moveTo>
                  <a:lnTo>
                    <a:pt x="123809" y="0"/>
                  </a:lnTo>
                  <a:cubicBezTo>
                    <a:pt x="123809" y="0"/>
                    <a:pt x="26183" y="305085"/>
                    <a:pt x="4827" y="460678"/>
                  </a:cubicBezTo>
                  <a:cubicBezTo>
                    <a:pt x="-13479" y="613221"/>
                    <a:pt x="26183" y="2526102"/>
                    <a:pt x="26183" y="2526102"/>
                  </a:cubicBezTo>
                  <a:lnTo>
                    <a:pt x="206183" y="2526102"/>
                  </a:lnTo>
                  <a:lnTo>
                    <a:pt x="422793" y="866441"/>
                  </a:lnTo>
                  <a:lnTo>
                    <a:pt x="724827" y="2516949"/>
                  </a:lnTo>
                  <a:lnTo>
                    <a:pt x="920081" y="2516949"/>
                  </a:lnTo>
                  <a:cubicBezTo>
                    <a:pt x="920081" y="2516949"/>
                    <a:pt x="913979" y="540000"/>
                    <a:pt x="923132" y="421018"/>
                  </a:cubicBezTo>
                  <a:cubicBezTo>
                    <a:pt x="935335" y="295933"/>
                    <a:pt x="791945" y="0"/>
                    <a:pt x="791945" y="0"/>
                  </a:cubicBezTo>
                  <a:close/>
                </a:path>
              </a:pathLst>
            </a:custGeom>
            <a:solidFill>
              <a:srgbClr val="F6EBE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000150B0-30B8-49DB-884B-C04A9CF6CCA6}"/>
                </a:ext>
              </a:extLst>
            </p:cNvPr>
            <p:cNvSpPr/>
            <p:nvPr/>
          </p:nvSpPr>
          <p:spPr>
            <a:xfrm>
              <a:off x="15598344" y="9562396"/>
              <a:ext cx="719999" cy="12204"/>
            </a:xfrm>
            <a:custGeom>
              <a:avLst/>
              <a:gdLst>
                <a:gd name="connsiteX0" fmla="*/ 713898 w 719999"/>
                <a:gd name="connsiteY0" fmla="*/ 12204 h 12204"/>
                <a:gd name="connsiteX1" fmla="*/ 6101 w 719999"/>
                <a:gd name="connsiteY1" fmla="*/ 12204 h 12204"/>
                <a:gd name="connsiteX2" fmla="*/ 0 w 719999"/>
                <a:gd name="connsiteY2" fmla="*/ 6102 h 12204"/>
                <a:gd name="connsiteX3" fmla="*/ 6101 w 719999"/>
                <a:gd name="connsiteY3" fmla="*/ 0 h 12204"/>
                <a:gd name="connsiteX4" fmla="*/ 713898 w 719999"/>
                <a:gd name="connsiteY4" fmla="*/ 0 h 12204"/>
                <a:gd name="connsiteX5" fmla="*/ 719999 w 719999"/>
                <a:gd name="connsiteY5" fmla="*/ 6102 h 12204"/>
                <a:gd name="connsiteX6" fmla="*/ 713898 w 719999"/>
                <a:gd name="connsiteY6" fmla="*/ 12204 h 12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9999" h="12204">
                  <a:moveTo>
                    <a:pt x="713898" y="12204"/>
                  </a:moveTo>
                  <a:lnTo>
                    <a:pt x="6101" y="12204"/>
                  </a:lnTo>
                  <a:cubicBezTo>
                    <a:pt x="3050" y="12204"/>
                    <a:pt x="0" y="9153"/>
                    <a:pt x="0" y="6102"/>
                  </a:cubicBezTo>
                  <a:cubicBezTo>
                    <a:pt x="0" y="3051"/>
                    <a:pt x="3050" y="0"/>
                    <a:pt x="6101" y="0"/>
                  </a:cubicBezTo>
                  <a:lnTo>
                    <a:pt x="713898" y="0"/>
                  </a:lnTo>
                  <a:cubicBezTo>
                    <a:pt x="716949" y="0"/>
                    <a:pt x="719999" y="3051"/>
                    <a:pt x="719999" y="6102"/>
                  </a:cubicBezTo>
                  <a:cubicBezTo>
                    <a:pt x="719999" y="9153"/>
                    <a:pt x="716949" y="12204"/>
                    <a:pt x="713898" y="12204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4D5F12C9-ABD2-41E0-A515-B844E1921638}"/>
                </a:ext>
              </a:extLst>
            </p:cNvPr>
            <p:cNvSpPr/>
            <p:nvPr/>
          </p:nvSpPr>
          <p:spPr>
            <a:xfrm>
              <a:off x="15912581" y="9910194"/>
              <a:ext cx="314236" cy="2129491"/>
            </a:xfrm>
            <a:custGeom>
              <a:avLst/>
              <a:gdLst>
                <a:gd name="connsiteX0" fmla="*/ 308136 w 314236"/>
                <a:gd name="connsiteY0" fmla="*/ 2129491 h 2129491"/>
                <a:gd name="connsiteX1" fmla="*/ 302034 w 314236"/>
                <a:gd name="connsiteY1" fmla="*/ 2126440 h 2129491"/>
                <a:gd name="connsiteX2" fmla="*/ 0 w 314236"/>
                <a:gd name="connsiteY2" fmla="*/ 475931 h 2129491"/>
                <a:gd name="connsiteX3" fmla="*/ 0 w 314236"/>
                <a:gd name="connsiteY3" fmla="*/ 6101 h 2129491"/>
                <a:gd name="connsiteX4" fmla="*/ 6102 w 314236"/>
                <a:gd name="connsiteY4" fmla="*/ 0 h 2129491"/>
                <a:gd name="connsiteX5" fmla="*/ 12203 w 314236"/>
                <a:gd name="connsiteY5" fmla="*/ 6101 h 2129491"/>
                <a:gd name="connsiteX6" fmla="*/ 12203 w 314236"/>
                <a:gd name="connsiteY6" fmla="*/ 475931 h 2129491"/>
                <a:gd name="connsiteX7" fmla="*/ 314237 w 314236"/>
                <a:gd name="connsiteY7" fmla="*/ 2126440 h 2129491"/>
                <a:gd name="connsiteX8" fmla="*/ 308136 w 314236"/>
                <a:gd name="connsiteY8" fmla="*/ 2129491 h 2129491"/>
                <a:gd name="connsiteX9" fmla="*/ 308136 w 314236"/>
                <a:gd name="connsiteY9" fmla="*/ 2129491 h 2129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4236" h="2129491">
                  <a:moveTo>
                    <a:pt x="308136" y="2129491"/>
                  </a:moveTo>
                  <a:cubicBezTo>
                    <a:pt x="305085" y="2129491"/>
                    <a:pt x="302034" y="2126440"/>
                    <a:pt x="302034" y="2126440"/>
                  </a:cubicBezTo>
                  <a:lnTo>
                    <a:pt x="0" y="475931"/>
                  </a:lnTo>
                  <a:lnTo>
                    <a:pt x="0" y="6101"/>
                  </a:lnTo>
                  <a:cubicBezTo>
                    <a:pt x="0" y="3050"/>
                    <a:pt x="3051" y="0"/>
                    <a:pt x="6102" y="0"/>
                  </a:cubicBezTo>
                  <a:cubicBezTo>
                    <a:pt x="9152" y="0"/>
                    <a:pt x="12203" y="3050"/>
                    <a:pt x="12203" y="6101"/>
                  </a:cubicBezTo>
                  <a:lnTo>
                    <a:pt x="12203" y="475931"/>
                  </a:lnTo>
                  <a:lnTo>
                    <a:pt x="314237" y="2126440"/>
                  </a:lnTo>
                  <a:cubicBezTo>
                    <a:pt x="314237" y="2123389"/>
                    <a:pt x="314237" y="2126440"/>
                    <a:pt x="308136" y="2129491"/>
                  </a:cubicBezTo>
                  <a:cubicBezTo>
                    <a:pt x="311187" y="2129491"/>
                    <a:pt x="311187" y="2129491"/>
                    <a:pt x="308136" y="2129491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291108CD-0CB9-4EA8-8C5E-105D6644ABAD}"/>
                </a:ext>
              </a:extLst>
            </p:cNvPr>
            <p:cNvSpPr/>
            <p:nvPr/>
          </p:nvSpPr>
          <p:spPr>
            <a:xfrm>
              <a:off x="15526231" y="8563353"/>
              <a:ext cx="821136" cy="986930"/>
            </a:xfrm>
            <a:custGeom>
              <a:avLst/>
              <a:gdLst>
                <a:gd name="connsiteX0" fmla="*/ 776857 w 821136"/>
                <a:gd name="connsiteY0" fmla="*/ 391925 h 986930"/>
                <a:gd name="connsiteX1" fmla="*/ 761603 w 821136"/>
                <a:gd name="connsiteY1" fmla="*/ 68536 h 986930"/>
                <a:gd name="connsiteX2" fmla="*/ 392451 w 821136"/>
                <a:gd name="connsiteY2" fmla="*/ 4468 h 986930"/>
                <a:gd name="connsiteX3" fmla="*/ 90417 w 821136"/>
                <a:gd name="connsiteY3" fmla="*/ 105146 h 986930"/>
                <a:gd name="connsiteX4" fmla="*/ 50756 w 821136"/>
                <a:gd name="connsiteY4" fmla="*/ 654298 h 986930"/>
                <a:gd name="connsiteX5" fmla="*/ 93468 w 821136"/>
                <a:gd name="connsiteY5" fmla="*/ 980739 h 986930"/>
                <a:gd name="connsiteX6" fmla="*/ 770756 w 821136"/>
                <a:gd name="connsiteY6" fmla="*/ 965485 h 986930"/>
                <a:gd name="connsiteX7" fmla="*/ 776857 w 821136"/>
                <a:gd name="connsiteY7" fmla="*/ 391925 h 986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1136" h="986930">
                  <a:moveTo>
                    <a:pt x="776857" y="391925"/>
                  </a:moveTo>
                  <a:cubicBezTo>
                    <a:pt x="786010" y="361417"/>
                    <a:pt x="880587" y="132603"/>
                    <a:pt x="761603" y="68536"/>
                  </a:cubicBezTo>
                  <a:cubicBezTo>
                    <a:pt x="657875" y="13620"/>
                    <a:pt x="511434" y="-10787"/>
                    <a:pt x="392451" y="4468"/>
                  </a:cubicBezTo>
                  <a:cubicBezTo>
                    <a:pt x="261264" y="19722"/>
                    <a:pt x="130078" y="41078"/>
                    <a:pt x="90417" y="105146"/>
                  </a:cubicBezTo>
                  <a:cubicBezTo>
                    <a:pt x="-22464" y="291248"/>
                    <a:pt x="-22464" y="455993"/>
                    <a:pt x="50756" y="654298"/>
                  </a:cubicBezTo>
                  <a:cubicBezTo>
                    <a:pt x="72112" y="712264"/>
                    <a:pt x="78213" y="846502"/>
                    <a:pt x="93468" y="980739"/>
                  </a:cubicBezTo>
                  <a:cubicBezTo>
                    <a:pt x="93468" y="980739"/>
                    <a:pt x="377197" y="1002095"/>
                    <a:pt x="770756" y="965485"/>
                  </a:cubicBezTo>
                  <a:cubicBezTo>
                    <a:pt x="743299" y="745824"/>
                    <a:pt x="770756" y="416332"/>
                    <a:pt x="776857" y="391925"/>
                  </a:cubicBezTo>
                  <a:close/>
                </a:path>
              </a:pathLst>
            </a:custGeom>
            <a:solidFill>
              <a:srgbClr val="7F95BC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40D9B677-B78C-4A11-B327-48C6FFAA5986}"/>
                </a:ext>
              </a:extLst>
            </p:cNvPr>
            <p:cNvSpPr/>
            <p:nvPr/>
          </p:nvSpPr>
          <p:spPr>
            <a:xfrm>
              <a:off x="15688422" y="7889896"/>
              <a:ext cx="325168" cy="599264"/>
            </a:xfrm>
            <a:custGeom>
              <a:avLst/>
              <a:gdLst>
                <a:gd name="connsiteX0" fmla="*/ 236362 w 325168"/>
                <a:gd name="connsiteY0" fmla="*/ 302670 h 599264"/>
                <a:gd name="connsiteX1" fmla="*/ 285176 w 325168"/>
                <a:gd name="connsiteY1" fmla="*/ 159280 h 599264"/>
                <a:gd name="connsiteX2" fmla="*/ 324836 w 325168"/>
                <a:gd name="connsiteY2" fmla="*/ 9789 h 599264"/>
                <a:gd name="connsiteX3" fmla="*/ 10599 w 325168"/>
                <a:gd name="connsiteY3" fmla="*/ 183687 h 599264"/>
                <a:gd name="connsiteX4" fmla="*/ 187548 w 325168"/>
                <a:gd name="connsiteY4" fmla="*/ 519280 h 599264"/>
                <a:gd name="connsiteX5" fmla="*/ 285176 w 325168"/>
                <a:gd name="connsiteY5" fmla="*/ 571144 h 599264"/>
                <a:gd name="connsiteX6" fmla="*/ 236362 w 325168"/>
                <a:gd name="connsiteY6" fmla="*/ 302670 h 59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5168" h="599264">
                  <a:moveTo>
                    <a:pt x="236362" y="302670"/>
                  </a:moveTo>
                  <a:cubicBezTo>
                    <a:pt x="245515" y="250805"/>
                    <a:pt x="260769" y="205043"/>
                    <a:pt x="285176" y="159280"/>
                  </a:cubicBezTo>
                  <a:cubicBezTo>
                    <a:pt x="309582" y="110467"/>
                    <a:pt x="327887" y="9789"/>
                    <a:pt x="324836" y="9789"/>
                  </a:cubicBezTo>
                  <a:cubicBezTo>
                    <a:pt x="211955" y="-29873"/>
                    <a:pt x="44159" y="55551"/>
                    <a:pt x="10599" y="183687"/>
                  </a:cubicBezTo>
                  <a:cubicBezTo>
                    <a:pt x="-4655" y="247755"/>
                    <a:pt x="-35163" y="436907"/>
                    <a:pt x="187548" y="519280"/>
                  </a:cubicBezTo>
                  <a:cubicBezTo>
                    <a:pt x="285176" y="601653"/>
                    <a:pt x="272972" y="623009"/>
                    <a:pt x="285176" y="571144"/>
                  </a:cubicBezTo>
                  <a:cubicBezTo>
                    <a:pt x="291278" y="525382"/>
                    <a:pt x="227210" y="354534"/>
                    <a:pt x="236362" y="302670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BB5FAA35-E92C-4413-A1C3-B52801546FFC}"/>
                </a:ext>
              </a:extLst>
            </p:cNvPr>
            <p:cNvSpPr/>
            <p:nvPr/>
          </p:nvSpPr>
          <p:spPr>
            <a:xfrm>
              <a:off x="15755119" y="7926252"/>
              <a:ext cx="422885" cy="568668"/>
            </a:xfrm>
            <a:custGeom>
              <a:avLst/>
              <a:gdLst>
                <a:gd name="connsiteX0" fmla="*/ 7970 w 422885"/>
                <a:gd name="connsiteY0" fmla="*/ 183941 h 568668"/>
                <a:gd name="connsiteX1" fmla="*/ 20173 w 422885"/>
                <a:gd name="connsiteY1" fmla="*/ 440213 h 568668"/>
                <a:gd name="connsiteX2" fmla="*/ 169664 w 422885"/>
                <a:gd name="connsiteY2" fmla="*/ 568348 h 568668"/>
                <a:gd name="connsiteX3" fmla="*/ 386275 w 422885"/>
                <a:gd name="connsiteY3" fmla="*/ 424958 h 568668"/>
                <a:gd name="connsiteX4" fmla="*/ 422885 w 422885"/>
                <a:gd name="connsiteY4" fmla="*/ 199195 h 568668"/>
                <a:gd name="connsiteX5" fmla="*/ 209326 w 422885"/>
                <a:gd name="connsiteY5" fmla="*/ 890 h 568668"/>
                <a:gd name="connsiteX6" fmla="*/ 7970 w 422885"/>
                <a:gd name="connsiteY6" fmla="*/ 183941 h 56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2885" h="568668">
                  <a:moveTo>
                    <a:pt x="7970" y="183941"/>
                  </a:moveTo>
                  <a:cubicBezTo>
                    <a:pt x="7970" y="183941"/>
                    <a:pt x="-16438" y="373094"/>
                    <a:pt x="20173" y="440213"/>
                  </a:cubicBezTo>
                  <a:cubicBezTo>
                    <a:pt x="56784" y="507331"/>
                    <a:pt x="117801" y="565297"/>
                    <a:pt x="169664" y="568348"/>
                  </a:cubicBezTo>
                  <a:cubicBezTo>
                    <a:pt x="236783" y="574450"/>
                    <a:pt x="349664" y="492077"/>
                    <a:pt x="386275" y="424958"/>
                  </a:cubicBezTo>
                  <a:cubicBezTo>
                    <a:pt x="422885" y="357839"/>
                    <a:pt x="422885" y="251060"/>
                    <a:pt x="422885" y="199195"/>
                  </a:cubicBezTo>
                  <a:cubicBezTo>
                    <a:pt x="419834" y="104619"/>
                    <a:pt x="392377" y="25297"/>
                    <a:pt x="209326" y="890"/>
                  </a:cubicBezTo>
                  <a:cubicBezTo>
                    <a:pt x="120851" y="-11313"/>
                    <a:pt x="26275" y="104619"/>
                    <a:pt x="7970" y="183941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27932515-0372-431F-8C57-FFF6CD46E3C2}"/>
                </a:ext>
              </a:extLst>
            </p:cNvPr>
            <p:cNvSpPr/>
            <p:nvPr/>
          </p:nvSpPr>
          <p:spPr>
            <a:xfrm>
              <a:off x="15891224" y="8194353"/>
              <a:ext cx="54915" cy="132450"/>
            </a:xfrm>
            <a:custGeom>
              <a:avLst/>
              <a:gdLst>
                <a:gd name="connsiteX0" fmla="*/ 30508 w 54915"/>
                <a:gd name="connsiteY0" fmla="*/ 132450 h 132450"/>
                <a:gd name="connsiteX1" fmla="*/ 6102 w 54915"/>
                <a:gd name="connsiteY1" fmla="*/ 126349 h 132450"/>
                <a:gd name="connsiteX2" fmla="*/ 0 w 54915"/>
                <a:gd name="connsiteY2" fmla="*/ 114145 h 132450"/>
                <a:gd name="connsiteX3" fmla="*/ 27458 w 54915"/>
                <a:gd name="connsiteY3" fmla="*/ 4315 h 132450"/>
                <a:gd name="connsiteX4" fmla="*/ 33560 w 54915"/>
                <a:gd name="connsiteY4" fmla="*/ 1264 h 132450"/>
                <a:gd name="connsiteX5" fmla="*/ 36611 w 54915"/>
                <a:gd name="connsiteY5" fmla="*/ 7365 h 132450"/>
                <a:gd name="connsiteX6" fmla="*/ 9153 w 54915"/>
                <a:gd name="connsiteY6" fmla="*/ 114145 h 132450"/>
                <a:gd name="connsiteX7" fmla="*/ 9153 w 54915"/>
                <a:gd name="connsiteY7" fmla="*/ 117196 h 132450"/>
                <a:gd name="connsiteX8" fmla="*/ 48814 w 54915"/>
                <a:gd name="connsiteY8" fmla="*/ 117196 h 132450"/>
                <a:gd name="connsiteX9" fmla="*/ 54916 w 54915"/>
                <a:gd name="connsiteY9" fmla="*/ 123298 h 132450"/>
                <a:gd name="connsiteX10" fmla="*/ 48814 w 54915"/>
                <a:gd name="connsiteY10" fmla="*/ 129399 h 132450"/>
                <a:gd name="connsiteX11" fmla="*/ 30508 w 54915"/>
                <a:gd name="connsiteY11" fmla="*/ 132450 h 13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915" h="132450">
                  <a:moveTo>
                    <a:pt x="30508" y="132450"/>
                  </a:moveTo>
                  <a:cubicBezTo>
                    <a:pt x="21356" y="132450"/>
                    <a:pt x="12204" y="132450"/>
                    <a:pt x="6102" y="126349"/>
                  </a:cubicBezTo>
                  <a:cubicBezTo>
                    <a:pt x="3051" y="123298"/>
                    <a:pt x="0" y="120247"/>
                    <a:pt x="0" y="114145"/>
                  </a:cubicBezTo>
                  <a:cubicBezTo>
                    <a:pt x="0" y="92789"/>
                    <a:pt x="27458" y="7365"/>
                    <a:pt x="27458" y="4315"/>
                  </a:cubicBezTo>
                  <a:cubicBezTo>
                    <a:pt x="27458" y="1264"/>
                    <a:pt x="30508" y="-1787"/>
                    <a:pt x="33560" y="1264"/>
                  </a:cubicBezTo>
                  <a:cubicBezTo>
                    <a:pt x="36611" y="1264"/>
                    <a:pt x="39662" y="4315"/>
                    <a:pt x="36611" y="7365"/>
                  </a:cubicBezTo>
                  <a:cubicBezTo>
                    <a:pt x="30508" y="31772"/>
                    <a:pt x="9153" y="95840"/>
                    <a:pt x="9153" y="114145"/>
                  </a:cubicBezTo>
                  <a:cubicBezTo>
                    <a:pt x="9153" y="114145"/>
                    <a:pt x="9153" y="117196"/>
                    <a:pt x="9153" y="117196"/>
                  </a:cubicBezTo>
                  <a:cubicBezTo>
                    <a:pt x="15254" y="123298"/>
                    <a:pt x="36611" y="120247"/>
                    <a:pt x="48814" y="117196"/>
                  </a:cubicBezTo>
                  <a:cubicBezTo>
                    <a:pt x="51865" y="117196"/>
                    <a:pt x="54916" y="117196"/>
                    <a:pt x="54916" y="123298"/>
                  </a:cubicBezTo>
                  <a:cubicBezTo>
                    <a:pt x="54916" y="126349"/>
                    <a:pt x="54916" y="129399"/>
                    <a:pt x="48814" y="129399"/>
                  </a:cubicBezTo>
                  <a:cubicBezTo>
                    <a:pt x="51865" y="132450"/>
                    <a:pt x="39662" y="132450"/>
                    <a:pt x="30508" y="132450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6FE7924A-AD01-4057-B609-6612FF93682F}"/>
                </a:ext>
              </a:extLst>
            </p:cNvPr>
            <p:cNvSpPr/>
            <p:nvPr/>
          </p:nvSpPr>
          <p:spPr>
            <a:xfrm>
              <a:off x="15872920" y="8378668"/>
              <a:ext cx="106779" cy="54915"/>
            </a:xfrm>
            <a:custGeom>
              <a:avLst/>
              <a:gdLst>
                <a:gd name="connsiteX0" fmla="*/ 106780 w 106779"/>
                <a:gd name="connsiteY0" fmla="*/ 0 h 54915"/>
                <a:gd name="connsiteX1" fmla="*/ 0 w 106779"/>
                <a:gd name="connsiteY1" fmla="*/ 0 h 54915"/>
                <a:gd name="connsiteX2" fmla="*/ 51864 w 106779"/>
                <a:gd name="connsiteY2" fmla="*/ 54915 h 54915"/>
                <a:gd name="connsiteX3" fmla="*/ 106780 w 106779"/>
                <a:gd name="connsiteY3" fmla="*/ 0 h 54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779" h="54915">
                  <a:moveTo>
                    <a:pt x="106780" y="0"/>
                  </a:moveTo>
                  <a:cubicBezTo>
                    <a:pt x="51864" y="24407"/>
                    <a:pt x="0" y="0"/>
                    <a:pt x="0" y="0"/>
                  </a:cubicBezTo>
                  <a:cubicBezTo>
                    <a:pt x="0" y="0"/>
                    <a:pt x="15254" y="54915"/>
                    <a:pt x="51864" y="54915"/>
                  </a:cubicBezTo>
                  <a:cubicBezTo>
                    <a:pt x="94576" y="51864"/>
                    <a:pt x="106780" y="0"/>
                    <a:pt x="106780" y="0"/>
                  </a:cubicBezTo>
                  <a:close/>
                </a:path>
              </a:pathLst>
            </a:custGeom>
            <a:solidFill>
              <a:srgbClr val="FFFFFF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0E248CF3-AB9B-4394-A1AC-ACF62AA3E330}"/>
                </a:ext>
              </a:extLst>
            </p:cNvPr>
            <p:cNvSpPr/>
            <p:nvPr/>
          </p:nvSpPr>
          <p:spPr>
            <a:xfrm>
              <a:off x="15820457" y="8167382"/>
              <a:ext cx="40259" cy="41215"/>
            </a:xfrm>
            <a:custGeom>
              <a:avLst/>
              <a:gdLst>
                <a:gd name="connsiteX0" fmla="*/ 40259 w 40259"/>
                <a:gd name="connsiteY0" fmla="*/ 25184 h 41215"/>
                <a:gd name="connsiteX1" fmla="*/ 15853 w 40259"/>
                <a:gd name="connsiteY1" fmla="*/ 40438 h 41215"/>
                <a:gd name="connsiteX2" fmla="*/ 598 w 40259"/>
                <a:gd name="connsiteY2" fmla="*/ 16032 h 41215"/>
                <a:gd name="connsiteX3" fmla="*/ 25005 w 40259"/>
                <a:gd name="connsiteY3" fmla="*/ 778 h 41215"/>
                <a:gd name="connsiteX4" fmla="*/ 40259 w 40259"/>
                <a:gd name="connsiteY4" fmla="*/ 25184 h 4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259" h="41215">
                  <a:moveTo>
                    <a:pt x="40259" y="25184"/>
                  </a:moveTo>
                  <a:cubicBezTo>
                    <a:pt x="37209" y="37388"/>
                    <a:pt x="28056" y="43489"/>
                    <a:pt x="15853" y="40438"/>
                  </a:cubicBezTo>
                  <a:cubicBezTo>
                    <a:pt x="6701" y="37388"/>
                    <a:pt x="-2453" y="28235"/>
                    <a:pt x="598" y="16032"/>
                  </a:cubicBezTo>
                  <a:cubicBezTo>
                    <a:pt x="3650" y="3828"/>
                    <a:pt x="12802" y="-2273"/>
                    <a:pt x="25005" y="778"/>
                  </a:cubicBezTo>
                  <a:cubicBezTo>
                    <a:pt x="34158" y="3828"/>
                    <a:pt x="40259" y="16032"/>
                    <a:pt x="40259" y="25184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71266A64-BC22-401C-958E-628489594494}"/>
                </a:ext>
              </a:extLst>
            </p:cNvPr>
            <p:cNvSpPr/>
            <p:nvPr/>
          </p:nvSpPr>
          <p:spPr>
            <a:xfrm>
              <a:off x="16009610" y="8173663"/>
              <a:ext cx="41036" cy="40857"/>
            </a:xfrm>
            <a:custGeom>
              <a:avLst/>
              <a:gdLst>
                <a:gd name="connsiteX0" fmla="*/ 40259 w 41036"/>
                <a:gd name="connsiteY0" fmla="*/ 25005 h 40857"/>
                <a:gd name="connsiteX1" fmla="*/ 15853 w 41036"/>
                <a:gd name="connsiteY1" fmla="*/ 40260 h 40857"/>
                <a:gd name="connsiteX2" fmla="*/ 599 w 41036"/>
                <a:gd name="connsiteY2" fmla="*/ 15853 h 40857"/>
                <a:gd name="connsiteX3" fmla="*/ 25005 w 41036"/>
                <a:gd name="connsiteY3" fmla="*/ 598 h 40857"/>
                <a:gd name="connsiteX4" fmla="*/ 40259 w 41036"/>
                <a:gd name="connsiteY4" fmla="*/ 25005 h 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6" h="40857">
                  <a:moveTo>
                    <a:pt x="40259" y="25005"/>
                  </a:moveTo>
                  <a:cubicBezTo>
                    <a:pt x="37208" y="34158"/>
                    <a:pt x="28056" y="43310"/>
                    <a:pt x="15853" y="40260"/>
                  </a:cubicBezTo>
                  <a:cubicBezTo>
                    <a:pt x="6700" y="37209"/>
                    <a:pt x="-2453" y="28056"/>
                    <a:pt x="599" y="15853"/>
                  </a:cubicBezTo>
                  <a:cubicBezTo>
                    <a:pt x="3649" y="6700"/>
                    <a:pt x="12802" y="-2453"/>
                    <a:pt x="25005" y="598"/>
                  </a:cubicBezTo>
                  <a:cubicBezTo>
                    <a:pt x="37208" y="3649"/>
                    <a:pt x="43310" y="15853"/>
                    <a:pt x="40259" y="25005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503AE54D-8F56-45F6-9D75-42D9FCB0EF7D}"/>
                </a:ext>
              </a:extLst>
            </p:cNvPr>
            <p:cNvSpPr/>
            <p:nvPr/>
          </p:nvSpPr>
          <p:spPr>
            <a:xfrm>
              <a:off x="15794360" y="8117820"/>
              <a:ext cx="92026" cy="35084"/>
            </a:xfrm>
            <a:custGeom>
              <a:avLst/>
              <a:gdLst>
                <a:gd name="connsiteX0" fmla="*/ 8389 w 92026"/>
                <a:gd name="connsiteY0" fmla="*/ 35085 h 35084"/>
                <a:gd name="connsiteX1" fmla="*/ 2288 w 92026"/>
                <a:gd name="connsiteY1" fmla="*/ 32034 h 35084"/>
                <a:gd name="connsiteX2" fmla="*/ 2288 w 92026"/>
                <a:gd name="connsiteY2" fmla="*/ 19831 h 35084"/>
                <a:gd name="connsiteX3" fmla="*/ 87712 w 92026"/>
                <a:gd name="connsiteY3" fmla="*/ 7627 h 35084"/>
                <a:gd name="connsiteX4" fmla="*/ 90763 w 92026"/>
                <a:gd name="connsiteY4" fmla="*/ 16780 h 35084"/>
                <a:gd name="connsiteX5" fmla="*/ 81610 w 92026"/>
                <a:gd name="connsiteY5" fmla="*/ 19831 h 35084"/>
                <a:gd name="connsiteX6" fmla="*/ 14491 w 92026"/>
                <a:gd name="connsiteY6" fmla="*/ 25932 h 35084"/>
                <a:gd name="connsiteX7" fmla="*/ 8389 w 92026"/>
                <a:gd name="connsiteY7" fmla="*/ 35085 h 35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5084">
                  <a:moveTo>
                    <a:pt x="8389" y="35085"/>
                  </a:moveTo>
                  <a:cubicBezTo>
                    <a:pt x="5338" y="35085"/>
                    <a:pt x="5338" y="35085"/>
                    <a:pt x="2288" y="32034"/>
                  </a:cubicBezTo>
                  <a:cubicBezTo>
                    <a:pt x="-763" y="28983"/>
                    <a:pt x="-763" y="22881"/>
                    <a:pt x="2288" y="19831"/>
                  </a:cubicBezTo>
                  <a:cubicBezTo>
                    <a:pt x="29746" y="-10678"/>
                    <a:pt x="69406" y="1525"/>
                    <a:pt x="87712" y="7627"/>
                  </a:cubicBezTo>
                  <a:cubicBezTo>
                    <a:pt x="90763" y="10678"/>
                    <a:pt x="93814" y="13729"/>
                    <a:pt x="90763" y="16780"/>
                  </a:cubicBezTo>
                  <a:cubicBezTo>
                    <a:pt x="87712" y="19831"/>
                    <a:pt x="84661" y="22881"/>
                    <a:pt x="81610" y="19831"/>
                  </a:cubicBezTo>
                  <a:cubicBezTo>
                    <a:pt x="78559" y="19831"/>
                    <a:pt x="38898" y="-1526"/>
                    <a:pt x="14491" y="25932"/>
                  </a:cubicBezTo>
                  <a:cubicBezTo>
                    <a:pt x="11440" y="35085"/>
                    <a:pt x="11440" y="35085"/>
                    <a:pt x="8389" y="35085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B4B00C0F-D19C-4441-8FDB-B1BE10654F14}"/>
                </a:ext>
              </a:extLst>
            </p:cNvPr>
            <p:cNvSpPr/>
            <p:nvPr/>
          </p:nvSpPr>
          <p:spPr>
            <a:xfrm>
              <a:off x="15981486" y="8119656"/>
              <a:ext cx="92026" cy="36299"/>
            </a:xfrm>
            <a:custGeom>
              <a:avLst/>
              <a:gdLst>
                <a:gd name="connsiteX0" fmla="*/ 86688 w 92026"/>
                <a:gd name="connsiteY0" fmla="*/ 36300 h 36299"/>
                <a:gd name="connsiteX1" fmla="*/ 80586 w 92026"/>
                <a:gd name="connsiteY1" fmla="*/ 33249 h 36299"/>
                <a:gd name="connsiteX2" fmla="*/ 13468 w 92026"/>
                <a:gd name="connsiteY2" fmla="*/ 27147 h 36299"/>
                <a:gd name="connsiteX3" fmla="*/ 1263 w 92026"/>
                <a:gd name="connsiteY3" fmla="*/ 24096 h 36299"/>
                <a:gd name="connsiteX4" fmla="*/ 4314 w 92026"/>
                <a:gd name="connsiteY4" fmla="*/ 11893 h 36299"/>
                <a:gd name="connsiteX5" fmla="*/ 89739 w 92026"/>
                <a:gd name="connsiteY5" fmla="*/ 21045 h 36299"/>
                <a:gd name="connsiteX6" fmla="*/ 89739 w 92026"/>
                <a:gd name="connsiteY6" fmla="*/ 33249 h 36299"/>
                <a:gd name="connsiteX7" fmla="*/ 86688 w 92026"/>
                <a:gd name="connsiteY7" fmla="*/ 36300 h 3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6299">
                  <a:moveTo>
                    <a:pt x="86688" y="36300"/>
                  </a:moveTo>
                  <a:cubicBezTo>
                    <a:pt x="83637" y="36300"/>
                    <a:pt x="83637" y="36300"/>
                    <a:pt x="80586" y="33249"/>
                  </a:cubicBezTo>
                  <a:cubicBezTo>
                    <a:pt x="80586" y="33249"/>
                    <a:pt x="50077" y="2741"/>
                    <a:pt x="13468" y="27147"/>
                  </a:cubicBezTo>
                  <a:cubicBezTo>
                    <a:pt x="10416" y="30198"/>
                    <a:pt x="4314" y="27147"/>
                    <a:pt x="1263" y="24096"/>
                  </a:cubicBezTo>
                  <a:cubicBezTo>
                    <a:pt x="-1787" y="21045"/>
                    <a:pt x="1263" y="14944"/>
                    <a:pt x="4314" y="11893"/>
                  </a:cubicBezTo>
                  <a:cubicBezTo>
                    <a:pt x="40925" y="-12514"/>
                    <a:pt x="77535" y="5791"/>
                    <a:pt x="89739" y="21045"/>
                  </a:cubicBezTo>
                  <a:cubicBezTo>
                    <a:pt x="92789" y="24096"/>
                    <a:pt x="92789" y="30198"/>
                    <a:pt x="89739" y="33249"/>
                  </a:cubicBezTo>
                  <a:cubicBezTo>
                    <a:pt x="92789" y="33249"/>
                    <a:pt x="89739" y="36300"/>
                    <a:pt x="86688" y="36300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7191CE6F-ABEC-4A93-B994-5EE9C619D4EF}"/>
                </a:ext>
              </a:extLst>
            </p:cNvPr>
            <p:cNvSpPr/>
            <p:nvPr/>
          </p:nvSpPr>
          <p:spPr>
            <a:xfrm>
              <a:off x="15735493" y="7894361"/>
              <a:ext cx="276807" cy="258543"/>
            </a:xfrm>
            <a:custGeom>
              <a:avLst/>
              <a:gdLst>
                <a:gd name="connsiteX0" fmla="*/ 274715 w 276807"/>
                <a:gd name="connsiteY0" fmla="*/ 2272 h 258543"/>
                <a:gd name="connsiteX1" fmla="*/ 238104 w 276807"/>
                <a:gd name="connsiteY1" fmla="*/ 130408 h 258543"/>
                <a:gd name="connsiteX2" fmla="*/ 138 w 276807"/>
                <a:gd name="connsiteY2" fmla="*/ 258544 h 258543"/>
                <a:gd name="connsiteX3" fmla="*/ 274715 w 276807"/>
                <a:gd name="connsiteY3" fmla="*/ 2272 h 258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807" h="258543">
                  <a:moveTo>
                    <a:pt x="274715" y="2272"/>
                  </a:moveTo>
                  <a:cubicBezTo>
                    <a:pt x="274715" y="2272"/>
                    <a:pt x="289969" y="90747"/>
                    <a:pt x="238104" y="130408"/>
                  </a:cubicBezTo>
                  <a:cubicBezTo>
                    <a:pt x="238104" y="130408"/>
                    <a:pt x="27596" y="173120"/>
                    <a:pt x="138" y="258544"/>
                  </a:cubicBezTo>
                  <a:cubicBezTo>
                    <a:pt x="138" y="258544"/>
                    <a:pt x="-15116" y="-28236"/>
                    <a:pt x="274715" y="2272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D8DD373D-47AF-4A78-9DBC-8A1C3B4A199F}"/>
                </a:ext>
              </a:extLst>
            </p:cNvPr>
            <p:cNvSpPr/>
            <p:nvPr/>
          </p:nvSpPr>
          <p:spPr>
            <a:xfrm>
              <a:off x="15976649" y="7896634"/>
              <a:ext cx="224407" cy="314732"/>
            </a:xfrm>
            <a:custGeom>
              <a:avLst/>
              <a:gdLst>
                <a:gd name="connsiteX0" fmla="*/ 0 w 224407"/>
                <a:gd name="connsiteY0" fmla="*/ 128136 h 314732"/>
                <a:gd name="connsiteX1" fmla="*/ 140339 w 224407"/>
                <a:gd name="connsiteY1" fmla="*/ 183051 h 314732"/>
                <a:gd name="connsiteX2" fmla="*/ 198305 w 224407"/>
                <a:gd name="connsiteY2" fmla="*/ 302034 h 314732"/>
                <a:gd name="connsiteX3" fmla="*/ 222711 w 224407"/>
                <a:gd name="connsiteY3" fmla="*/ 298983 h 314732"/>
                <a:gd name="connsiteX4" fmla="*/ 33560 w 224407"/>
                <a:gd name="connsiteY4" fmla="*/ 0 h 314732"/>
                <a:gd name="connsiteX5" fmla="*/ 0 w 224407"/>
                <a:gd name="connsiteY5" fmla="*/ 128136 h 31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407" h="314732">
                  <a:moveTo>
                    <a:pt x="0" y="128136"/>
                  </a:moveTo>
                  <a:cubicBezTo>
                    <a:pt x="0" y="128136"/>
                    <a:pt x="91525" y="176949"/>
                    <a:pt x="140339" y="183051"/>
                  </a:cubicBezTo>
                  <a:cubicBezTo>
                    <a:pt x="192203" y="189152"/>
                    <a:pt x="198305" y="302034"/>
                    <a:pt x="198305" y="302034"/>
                  </a:cubicBezTo>
                  <a:cubicBezTo>
                    <a:pt x="198305" y="302034"/>
                    <a:pt x="219660" y="332543"/>
                    <a:pt x="222711" y="298983"/>
                  </a:cubicBezTo>
                  <a:cubicBezTo>
                    <a:pt x="228814" y="219661"/>
                    <a:pt x="228814" y="21356"/>
                    <a:pt x="33560" y="0"/>
                  </a:cubicBezTo>
                  <a:cubicBezTo>
                    <a:pt x="33560" y="0"/>
                    <a:pt x="21355" y="122034"/>
                    <a:pt x="0" y="128136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F88119ED-42C4-4E33-93AA-332CA5CC1CE4}"/>
                </a:ext>
              </a:extLst>
            </p:cNvPr>
            <p:cNvSpPr/>
            <p:nvPr/>
          </p:nvSpPr>
          <p:spPr>
            <a:xfrm>
              <a:off x="15970547" y="7942396"/>
              <a:ext cx="155593" cy="143389"/>
            </a:xfrm>
            <a:custGeom>
              <a:avLst/>
              <a:gdLst>
                <a:gd name="connsiteX0" fmla="*/ 146441 w 155593"/>
                <a:gd name="connsiteY0" fmla="*/ 143390 h 143389"/>
                <a:gd name="connsiteX1" fmla="*/ 146441 w 155593"/>
                <a:gd name="connsiteY1" fmla="*/ 143390 h 143389"/>
                <a:gd name="connsiteX2" fmla="*/ 48814 w 155593"/>
                <a:gd name="connsiteY2" fmla="*/ 109831 h 143389"/>
                <a:gd name="connsiteX3" fmla="*/ 3051 w 155593"/>
                <a:gd name="connsiteY3" fmla="*/ 85424 h 143389"/>
                <a:gd name="connsiteX4" fmla="*/ 0 w 155593"/>
                <a:gd name="connsiteY4" fmla="*/ 82373 h 143389"/>
                <a:gd name="connsiteX5" fmla="*/ 0 w 155593"/>
                <a:gd name="connsiteY5" fmla="*/ 76271 h 143389"/>
                <a:gd name="connsiteX6" fmla="*/ 27457 w 155593"/>
                <a:gd name="connsiteY6" fmla="*/ 6102 h 143389"/>
                <a:gd name="connsiteX7" fmla="*/ 33560 w 155593"/>
                <a:gd name="connsiteY7" fmla="*/ 0 h 143389"/>
                <a:gd name="connsiteX8" fmla="*/ 33560 w 155593"/>
                <a:gd name="connsiteY8" fmla="*/ 0 h 143389"/>
                <a:gd name="connsiteX9" fmla="*/ 39662 w 155593"/>
                <a:gd name="connsiteY9" fmla="*/ 6102 h 143389"/>
                <a:gd name="connsiteX10" fmla="*/ 15254 w 155593"/>
                <a:gd name="connsiteY10" fmla="*/ 76271 h 143389"/>
                <a:gd name="connsiteX11" fmla="*/ 54916 w 155593"/>
                <a:gd name="connsiteY11" fmla="*/ 97627 h 143389"/>
                <a:gd name="connsiteX12" fmla="*/ 149491 w 155593"/>
                <a:gd name="connsiteY12" fmla="*/ 128136 h 143389"/>
                <a:gd name="connsiteX13" fmla="*/ 155593 w 155593"/>
                <a:gd name="connsiteY13" fmla="*/ 134238 h 143389"/>
                <a:gd name="connsiteX14" fmla="*/ 146441 w 155593"/>
                <a:gd name="connsiteY14" fmla="*/ 143390 h 143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5593" h="143389">
                  <a:moveTo>
                    <a:pt x="146441" y="143390"/>
                  </a:moveTo>
                  <a:cubicBezTo>
                    <a:pt x="146441" y="143390"/>
                    <a:pt x="146441" y="143390"/>
                    <a:pt x="146441" y="143390"/>
                  </a:cubicBezTo>
                  <a:cubicBezTo>
                    <a:pt x="115933" y="140339"/>
                    <a:pt x="82373" y="128136"/>
                    <a:pt x="48814" y="109831"/>
                  </a:cubicBezTo>
                  <a:cubicBezTo>
                    <a:pt x="21356" y="97627"/>
                    <a:pt x="3051" y="85424"/>
                    <a:pt x="3051" y="85424"/>
                  </a:cubicBezTo>
                  <a:cubicBezTo>
                    <a:pt x="3051" y="85424"/>
                    <a:pt x="0" y="82373"/>
                    <a:pt x="0" y="82373"/>
                  </a:cubicBezTo>
                  <a:cubicBezTo>
                    <a:pt x="0" y="79322"/>
                    <a:pt x="0" y="79322"/>
                    <a:pt x="0" y="76271"/>
                  </a:cubicBezTo>
                  <a:cubicBezTo>
                    <a:pt x="6102" y="70170"/>
                    <a:pt x="24407" y="30508"/>
                    <a:pt x="27457" y="6102"/>
                  </a:cubicBezTo>
                  <a:cubicBezTo>
                    <a:pt x="27457" y="3051"/>
                    <a:pt x="30508" y="0"/>
                    <a:pt x="33560" y="0"/>
                  </a:cubicBezTo>
                  <a:cubicBezTo>
                    <a:pt x="33560" y="0"/>
                    <a:pt x="33560" y="0"/>
                    <a:pt x="33560" y="0"/>
                  </a:cubicBezTo>
                  <a:cubicBezTo>
                    <a:pt x="36611" y="0"/>
                    <a:pt x="39662" y="3051"/>
                    <a:pt x="39662" y="6102"/>
                  </a:cubicBezTo>
                  <a:cubicBezTo>
                    <a:pt x="39662" y="30508"/>
                    <a:pt x="24407" y="64068"/>
                    <a:pt x="15254" y="76271"/>
                  </a:cubicBezTo>
                  <a:cubicBezTo>
                    <a:pt x="21356" y="79322"/>
                    <a:pt x="36611" y="88475"/>
                    <a:pt x="54916" y="97627"/>
                  </a:cubicBezTo>
                  <a:cubicBezTo>
                    <a:pt x="88474" y="112881"/>
                    <a:pt x="122034" y="125085"/>
                    <a:pt x="149491" y="128136"/>
                  </a:cubicBezTo>
                  <a:cubicBezTo>
                    <a:pt x="152542" y="128136"/>
                    <a:pt x="155593" y="131187"/>
                    <a:pt x="155593" y="134238"/>
                  </a:cubicBezTo>
                  <a:cubicBezTo>
                    <a:pt x="152542" y="140339"/>
                    <a:pt x="149491" y="143390"/>
                    <a:pt x="146441" y="143390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56DABF32-B4AC-4811-84AA-FD2766D70CAE}"/>
                </a:ext>
              </a:extLst>
            </p:cNvPr>
            <p:cNvSpPr/>
            <p:nvPr/>
          </p:nvSpPr>
          <p:spPr>
            <a:xfrm>
              <a:off x="15808852" y="8384769"/>
              <a:ext cx="308135" cy="224463"/>
            </a:xfrm>
            <a:custGeom>
              <a:avLst/>
              <a:gdLst>
                <a:gd name="connsiteX0" fmla="*/ 54915 w 308135"/>
                <a:gd name="connsiteY0" fmla="*/ 61017 h 224463"/>
                <a:gd name="connsiteX1" fmla="*/ 0 w 308135"/>
                <a:gd name="connsiteY1" fmla="*/ 201356 h 224463"/>
                <a:gd name="connsiteX2" fmla="*/ 308136 w 308135"/>
                <a:gd name="connsiteY2" fmla="*/ 186102 h 224463"/>
                <a:gd name="connsiteX3" fmla="*/ 256271 w 308135"/>
                <a:gd name="connsiteY3" fmla="*/ 0 h 224463"/>
                <a:gd name="connsiteX4" fmla="*/ 54915 w 308135"/>
                <a:gd name="connsiteY4" fmla="*/ 61017 h 224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135" h="224463">
                  <a:moveTo>
                    <a:pt x="54915" y="61017"/>
                  </a:moveTo>
                  <a:cubicBezTo>
                    <a:pt x="54915" y="61017"/>
                    <a:pt x="61017" y="170848"/>
                    <a:pt x="0" y="201356"/>
                  </a:cubicBezTo>
                  <a:cubicBezTo>
                    <a:pt x="0" y="201356"/>
                    <a:pt x="180000" y="262373"/>
                    <a:pt x="308136" y="186102"/>
                  </a:cubicBezTo>
                  <a:cubicBezTo>
                    <a:pt x="253220" y="143390"/>
                    <a:pt x="256271" y="61017"/>
                    <a:pt x="256271" y="0"/>
                  </a:cubicBezTo>
                  <a:cubicBezTo>
                    <a:pt x="259322" y="0"/>
                    <a:pt x="109831" y="70170"/>
                    <a:pt x="54915" y="61017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C39EDDDF-D368-42F6-B4C0-713024F281E4}"/>
                </a:ext>
              </a:extLst>
            </p:cNvPr>
            <p:cNvSpPr/>
            <p:nvPr/>
          </p:nvSpPr>
          <p:spPr>
            <a:xfrm>
              <a:off x="15855377" y="8423167"/>
              <a:ext cx="223212" cy="80585"/>
            </a:xfrm>
            <a:custGeom>
              <a:avLst/>
              <a:gdLst>
                <a:gd name="connsiteX0" fmla="*/ 72457 w 223212"/>
                <a:gd name="connsiteY0" fmla="*/ 80586 h 80585"/>
                <a:gd name="connsiteX1" fmla="*/ 2288 w 223212"/>
                <a:gd name="connsiteY1" fmla="*/ 53128 h 80585"/>
                <a:gd name="connsiteX2" fmla="*/ 2288 w 223212"/>
                <a:gd name="connsiteY2" fmla="*/ 43975 h 80585"/>
                <a:gd name="connsiteX3" fmla="*/ 11440 w 223212"/>
                <a:gd name="connsiteY3" fmla="*/ 43975 h 80585"/>
                <a:gd name="connsiteX4" fmla="*/ 81610 w 223212"/>
                <a:gd name="connsiteY4" fmla="*/ 68382 h 80585"/>
                <a:gd name="connsiteX5" fmla="*/ 212797 w 223212"/>
                <a:gd name="connsiteY5" fmla="*/ 1264 h 80585"/>
                <a:gd name="connsiteX6" fmla="*/ 221949 w 223212"/>
                <a:gd name="connsiteY6" fmla="*/ 4315 h 80585"/>
                <a:gd name="connsiteX7" fmla="*/ 218898 w 223212"/>
                <a:gd name="connsiteY7" fmla="*/ 13467 h 80585"/>
                <a:gd name="connsiteX8" fmla="*/ 81610 w 223212"/>
                <a:gd name="connsiteY8" fmla="*/ 80586 h 80585"/>
                <a:gd name="connsiteX9" fmla="*/ 72457 w 223212"/>
                <a:gd name="connsiteY9" fmla="*/ 80586 h 80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212" h="80585">
                  <a:moveTo>
                    <a:pt x="72457" y="80586"/>
                  </a:moveTo>
                  <a:cubicBezTo>
                    <a:pt x="32797" y="80586"/>
                    <a:pt x="5338" y="53128"/>
                    <a:pt x="2288" y="53128"/>
                  </a:cubicBezTo>
                  <a:cubicBezTo>
                    <a:pt x="-763" y="50078"/>
                    <a:pt x="-763" y="47026"/>
                    <a:pt x="2288" y="43975"/>
                  </a:cubicBezTo>
                  <a:cubicBezTo>
                    <a:pt x="5338" y="40925"/>
                    <a:pt x="8389" y="40925"/>
                    <a:pt x="11440" y="43975"/>
                  </a:cubicBezTo>
                  <a:cubicBezTo>
                    <a:pt x="11440" y="43975"/>
                    <a:pt x="45000" y="74484"/>
                    <a:pt x="81610" y="68382"/>
                  </a:cubicBezTo>
                  <a:cubicBezTo>
                    <a:pt x="121271" y="62281"/>
                    <a:pt x="212797" y="1264"/>
                    <a:pt x="212797" y="1264"/>
                  </a:cubicBezTo>
                  <a:cubicBezTo>
                    <a:pt x="215848" y="-1787"/>
                    <a:pt x="218898" y="1264"/>
                    <a:pt x="221949" y="4315"/>
                  </a:cubicBezTo>
                  <a:cubicBezTo>
                    <a:pt x="225000" y="7365"/>
                    <a:pt x="221949" y="10416"/>
                    <a:pt x="218898" y="13467"/>
                  </a:cubicBezTo>
                  <a:cubicBezTo>
                    <a:pt x="215848" y="16518"/>
                    <a:pt x="124322" y="77535"/>
                    <a:pt x="81610" y="80586"/>
                  </a:cubicBezTo>
                  <a:cubicBezTo>
                    <a:pt x="78559" y="77535"/>
                    <a:pt x="75508" y="80586"/>
                    <a:pt x="72457" y="80586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2542E547-46B3-4CBD-B292-D0A126DCCA62}"/>
                </a:ext>
              </a:extLst>
            </p:cNvPr>
            <p:cNvSpPr/>
            <p:nvPr/>
          </p:nvSpPr>
          <p:spPr>
            <a:xfrm>
              <a:off x="15527346" y="8662397"/>
              <a:ext cx="101505" cy="558305"/>
            </a:xfrm>
            <a:custGeom>
              <a:avLst/>
              <a:gdLst>
                <a:gd name="connsiteX0" fmla="*/ 55743 w 101505"/>
                <a:gd name="connsiteY0" fmla="*/ 558305 h 558305"/>
                <a:gd name="connsiteX1" fmla="*/ 49641 w 101505"/>
                <a:gd name="connsiteY1" fmla="*/ 555254 h 558305"/>
                <a:gd name="connsiteX2" fmla="*/ 34387 w 101505"/>
                <a:gd name="connsiteY2" fmla="*/ 500339 h 558305"/>
                <a:gd name="connsiteX3" fmla="*/ 827 w 101505"/>
                <a:gd name="connsiteY3" fmla="*/ 347796 h 558305"/>
                <a:gd name="connsiteX4" fmla="*/ 89302 w 101505"/>
                <a:gd name="connsiteY4" fmla="*/ 3051 h 558305"/>
                <a:gd name="connsiteX5" fmla="*/ 98455 w 101505"/>
                <a:gd name="connsiteY5" fmla="*/ 0 h 558305"/>
                <a:gd name="connsiteX6" fmla="*/ 101506 w 101505"/>
                <a:gd name="connsiteY6" fmla="*/ 9153 h 558305"/>
                <a:gd name="connsiteX7" fmla="*/ 13031 w 101505"/>
                <a:gd name="connsiteY7" fmla="*/ 347796 h 558305"/>
                <a:gd name="connsiteX8" fmla="*/ 46590 w 101505"/>
                <a:gd name="connsiteY8" fmla="*/ 497288 h 558305"/>
                <a:gd name="connsiteX9" fmla="*/ 61844 w 101505"/>
                <a:gd name="connsiteY9" fmla="*/ 552203 h 558305"/>
                <a:gd name="connsiteX10" fmla="*/ 55743 w 101505"/>
                <a:gd name="connsiteY10" fmla="*/ 558305 h 558305"/>
                <a:gd name="connsiteX11" fmla="*/ 55743 w 101505"/>
                <a:gd name="connsiteY11" fmla="*/ 558305 h 55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505" h="558305">
                  <a:moveTo>
                    <a:pt x="55743" y="558305"/>
                  </a:moveTo>
                  <a:cubicBezTo>
                    <a:pt x="52692" y="558305"/>
                    <a:pt x="49641" y="555254"/>
                    <a:pt x="49641" y="555254"/>
                  </a:cubicBezTo>
                  <a:cubicBezTo>
                    <a:pt x="43539" y="536949"/>
                    <a:pt x="40489" y="518644"/>
                    <a:pt x="34387" y="500339"/>
                  </a:cubicBezTo>
                  <a:cubicBezTo>
                    <a:pt x="19133" y="448474"/>
                    <a:pt x="3878" y="396610"/>
                    <a:pt x="827" y="347796"/>
                  </a:cubicBezTo>
                  <a:cubicBezTo>
                    <a:pt x="-5274" y="222712"/>
                    <a:pt x="22184" y="106780"/>
                    <a:pt x="89302" y="3051"/>
                  </a:cubicBezTo>
                  <a:cubicBezTo>
                    <a:pt x="92353" y="0"/>
                    <a:pt x="95404" y="0"/>
                    <a:pt x="98455" y="0"/>
                  </a:cubicBezTo>
                  <a:cubicBezTo>
                    <a:pt x="101506" y="3051"/>
                    <a:pt x="101506" y="6102"/>
                    <a:pt x="101506" y="9153"/>
                  </a:cubicBezTo>
                  <a:cubicBezTo>
                    <a:pt x="37438" y="112881"/>
                    <a:pt x="6929" y="225763"/>
                    <a:pt x="13031" y="347796"/>
                  </a:cubicBezTo>
                  <a:cubicBezTo>
                    <a:pt x="16082" y="393559"/>
                    <a:pt x="31336" y="445423"/>
                    <a:pt x="46590" y="497288"/>
                  </a:cubicBezTo>
                  <a:cubicBezTo>
                    <a:pt x="52692" y="515593"/>
                    <a:pt x="58793" y="533898"/>
                    <a:pt x="61844" y="552203"/>
                  </a:cubicBezTo>
                  <a:cubicBezTo>
                    <a:pt x="61844" y="555254"/>
                    <a:pt x="58793" y="558305"/>
                    <a:pt x="55743" y="558305"/>
                  </a:cubicBezTo>
                  <a:cubicBezTo>
                    <a:pt x="55743" y="558305"/>
                    <a:pt x="55743" y="558305"/>
                    <a:pt x="55743" y="558305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49E3387C-550A-45C3-A335-C728A355699E}"/>
                </a:ext>
              </a:extLst>
            </p:cNvPr>
            <p:cNvSpPr/>
            <p:nvPr/>
          </p:nvSpPr>
          <p:spPr>
            <a:xfrm>
              <a:off x="15647157" y="9104964"/>
              <a:ext cx="400924" cy="36416"/>
            </a:xfrm>
            <a:custGeom>
              <a:avLst/>
              <a:gdLst>
                <a:gd name="connsiteX0" fmla="*/ 6102 w 400924"/>
                <a:gd name="connsiteY0" fmla="*/ 36416 h 36416"/>
                <a:gd name="connsiteX1" fmla="*/ 0 w 400924"/>
                <a:gd name="connsiteY1" fmla="*/ 33365 h 36416"/>
                <a:gd name="connsiteX2" fmla="*/ 3051 w 400924"/>
                <a:gd name="connsiteY2" fmla="*/ 27263 h 36416"/>
                <a:gd name="connsiteX3" fmla="*/ 396610 w 400924"/>
                <a:gd name="connsiteY3" fmla="*/ 15060 h 36416"/>
                <a:gd name="connsiteX4" fmla="*/ 399661 w 400924"/>
                <a:gd name="connsiteY4" fmla="*/ 21162 h 36416"/>
                <a:gd name="connsiteX5" fmla="*/ 393560 w 400924"/>
                <a:gd name="connsiteY5" fmla="*/ 24213 h 36416"/>
                <a:gd name="connsiteX6" fmla="*/ 6102 w 400924"/>
                <a:gd name="connsiteY6" fmla="*/ 36416 h 36416"/>
                <a:gd name="connsiteX7" fmla="*/ 6102 w 400924"/>
                <a:gd name="connsiteY7" fmla="*/ 36416 h 36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924" h="36416">
                  <a:moveTo>
                    <a:pt x="6102" y="36416"/>
                  </a:moveTo>
                  <a:cubicBezTo>
                    <a:pt x="3051" y="36416"/>
                    <a:pt x="3051" y="36416"/>
                    <a:pt x="0" y="33365"/>
                  </a:cubicBezTo>
                  <a:cubicBezTo>
                    <a:pt x="0" y="30314"/>
                    <a:pt x="0" y="27263"/>
                    <a:pt x="3051" y="27263"/>
                  </a:cubicBezTo>
                  <a:cubicBezTo>
                    <a:pt x="88475" y="-3245"/>
                    <a:pt x="295933" y="-9347"/>
                    <a:pt x="396610" y="15060"/>
                  </a:cubicBezTo>
                  <a:cubicBezTo>
                    <a:pt x="399661" y="15060"/>
                    <a:pt x="402712" y="18111"/>
                    <a:pt x="399661" y="21162"/>
                  </a:cubicBezTo>
                  <a:cubicBezTo>
                    <a:pt x="399661" y="24213"/>
                    <a:pt x="396610" y="27263"/>
                    <a:pt x="393560" y="24213"/>
                  </a:cubicBezTo>
                  <a:cubicBezTo>
                    <a:pt x="298984" y="2857"/>
                    <a:pt x="91525" y="5908"/>
                    <a:pt x="6102" y="36416"/>
                  </a:cubicBezTo>
                  <a:cubicBezTo>
                    <a:pt x="9153" y="36416"/>
                    <a:pt x="6102" y="36416"/>
                    <a:pt x="6102" y="36416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6EE81205-F019-4FA5-8AF7-37499E3928C7}"/>
                </a:ext>
              </a:extLst>
            </p:cNvPr>
            <p:cNvSpPr/>
            <p:nvPr/>
          </p:nvSpPr>
          <p:spPr>
            <a:xfrm>
              <a:off x="15784445" y="8570871"/>
              <a:ext cx="360000" cy="64067"/>
            </a:xfrm>
            <a:custGeom>
              <a:avLst/>
              <a:gdLst>
                <a:gd name="connsiteX0" fmla="*/ 36611 w 360000"/>
                <a:gd name="connsiteY0" fmla="*/ 9153 h 64067"/>
                <a:gd name="connsiteX1" fmla="*/ 335593 w 360000"/>
                <a:gd name="connsiteY1" fmla="*/ 0 h 64067"/>
                <a:gd name="connsiteX2" fmla="*/ 360001 w 360000"/>
                <a:gd name="connsiteY2" fmla="*/ 9153 h 64067"/>
                <a:gd name="connsiteX3" fmla="*/ 170848 w 360000"/>
                <a:gd name="connsiteY3" fmla="*/ 64068 h 64067"/>
                <a:gd name="connsiteX4" fmla="*/ 0 w 360000"/>
                <a:gd name="connsiteY4" fmla="*/ 15254 h 64067"/>
                <a:gd name="connsiteX5" fmla="*/ 36611 w 360000"/>
                <a:gd name="connsiteY5" fmla="*/ 9153 h 64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0000" h="64067">
                  <a:moveTo>
                    <a:pt x="36611" y="9153"/>
                  </a:moveTo>
                  <a:cubicBezTo>
                    <a:pt x="36611" y="9153"/>
                    <a:pt x="149492" y="67119"/>
                    <a:pt x="335593" y="0"/>
                  </a:cubicBezTo>
                  <a:lnTo>
                    <a:pt x="360001" y="9153"/>
                  </a:lnTo>
                  <a:cubicBezTo>
                    <a:pt x="360001" y="9153"/>
                    <a:pt x="280678" y="64068"/>
                    <a:pt x="170848" y="64068"/>
                  </a:cubicBezTo>
                  <a:cubicBezTo>
                    <a:pt x="67119" y="64068"/>
                    <a:pt x="0" y="15254"/>
                    <a:pt x="0" y="15254"/>
                  </a:cubicBezTo>
                  <a:cubicBezTo>
                    <a:pt x="0" y="15254"/>
                    <a:pt x="15254" y="9153"/>
                    <a:pt x="36611" y="9153"/>
                  </a:cubicBezTo>
                  <a:close/>
                </a:path>
              </a:pathLst>
            </a:custGeom>
            <a:solidFill>
              <a:srgbClr val="F6EBE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B3F8A862-446F-4FDB-9B34-64FDDD5C73C5}"/>
                </a:ext>
              </a:extLst>
            </p:cNvPr>
            <p:cNvSpPr/>
            <p:nvPr/>
          </p:nvSpPr>
          <p:spPr>
            <a:xfrm>
              <a:off x="16235971" y="9672227"/>
              <a:ext cx="181263" cy="189152"/>
            </a:xfrm>
            <a:custGeom>
              <a:avLst/>
              <a:gdLst>
                <a:gd name="connsiteX0" fmla="*/ 176949 w 181263"/>
                <a:gd name="connsiteY0" fmla="*/ 189153 h 189152"/>
                <a:gd name="connsiteX1" fmla="*/ 176949 w 181263"/>
                <a:gd name="connsiteY1" fmla="*/ 189153 h 189152"/>
                <a:gd name="connsiteX2" fmla="*/ 0 w 181263"/>
                <a:gd name="connsiteY2" fmla="*/ 6102 h 189152"/>
                <a:gd name="connsiteX3" fmla="*/ 3051 w 181263"/>
                <a:gd name="connsiteY3" fmla="*/ 0 h 189152"/>
                <a:gd name="connsiteX4" fmla="*/ 9152 w 181263"/>
                <a:gd name="connsiteY4" fmla="*/ 3051 h 189152"/>
                <a:gd name="connsiteX5" fmla="*/ 176949 w 181263"/>
                <a:gd name="connsiteY5" fmla="*/ 180000 h 189152"/>
                <a:gd name="connsiteX6" fmla="*/ 180000 w 181263"/>
                <a:gd name="connsiteY6" fmla="*/ 186102 h 189152"/>
                <a:gd name="connsiteX7" fmla="*/ 176949 w 181263"/>
                <a:gd name="connsiteY7" fmla="*/ 189153 h 189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263" h="189152">
                  <a:moveTo>
                    <a:pt x="176949" y="189153"/>
                  </a:moveTo>
                  <a:cubicBezTo>
                    <a:pt x="176949" y="189153"/>
                    <a:pt x="176949" y="189153"/>
                    <a:pt x="176949" y="189153"/>
                  </a:cubicBezTo>
                  <a:cubicBezTo>
                    <a:pt x="57966" y="155593"/>
                    <a:pt x="3051" y="12203"/>
                    <a:pt x="0" y="6102"/>
                  </a:cubicBezTo>
                  <a:cubicBezTo>
                    <a:pt x="0" y="3051"/>
                    <a:pt x="0" y="0"/>
                    <a:pt x="3051" y="0"/>
                  </a:cubicBezTo>
                  <a:cubicBezTo>
                    <a:pt x="6101" y="0"/>
                    <a:pt x="9152" y="0"/>
                    <a:pt x="9152" y="3051"/>
                  </a:cubicBezTo>
                  <a:cubicBezTo>
                    <a:pt x="9152" y="3051"/>
                    <a:pt x="64068" y="149491"/>
                    <a:pt x="176949" y="180000"/>
                  </a:cubicBezTo>
                  <a:cubicBezTo>
                    <a:pt x="180000" y="180000"/>
                    <a:pt x="183051" y="183051"/>
                    <a:pt x="180000" y="186102"/>
                  </a:cubicBezTo>
                  <a:cubicBezTo>
                    <a:pt x="183051" y="189153"/>
                    <a:pt x="180000" y="189153"/>
                    <a:pt x="176949" y="189153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A29CCF86-4C3F-4B13-A1BE-A02974C4A9F0}"/>
                </a:ext>
              </a:extLst>
            </p:cNvPr>
            <p:cNvSpPr/>
            <p:nvPr/>
          </p:nvSpPr>
          <p:spPr>
            <a:xfrm>
              <a:off x="15515970" y="9675278"/>
              <a:ext cx="170847" cy="192203"/>
            </a:xfrm>
            <a:custGeom>
              <a:avLst/>
              <a:gdLst>
                <a:gd name="connsiteX0" fmla="*/ 6102 w 170847"/>
                <a:gd name="connsiteY0" fmla="*/ 192203 h 192203"/>
                <a:gd name="connsiteX1" fmla="*/ 0 w 170847"/>
                <a:gd name="connsiteY1" fmla="*/ 189153 h 192203"/>
                <a:gd name="connsiteX2" fmla="*/ 3051 w 170847"/>
                <a:gd name="connsiteY2" fmla="*/ 183051 h 192203"/>
                <a:gd name="connsiteX3" fmla="*/ 161695 w 170847"/>
                <a:gd name="connsiteY3" fmla="*/ 3051 h 192203"/>
                <a:gd name="connsiteX4" fmla="*/ 167797 w 170847"/>
                <a:gd name="connsiteY4" fmla="*/ 0 h 192203"/>
                <a:gd name="connsiteX5" fmla="*/ 170848 w 170847"/>
                <a:gd name="connsiteY5" fmla="*/ 6102 h 192203"/>
                <a:gd name="connsiteX6" fmla="*/ 6102 w 170847"/>
                <a:gd name="connsiteY6" fmla="*/ 192203 h 192203"/>
                <a:gd name="connsiteX7" fmla="*/ 6102 w 170847"/>
                <a:gd name="connsiteY7" fmla="*/ 192203 h 192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847" h="192203">
                  <a:moveTo>
                    <a:pt x="6102" y="192203"/>
                  </a:moveTo>
                  <a:cubicBezTo>
                    <a:pt x="3051" y="192203"/>
                    <a:pt x="3051" y="192203"/>
                    <a:pt x="0" y="189153"/>
                  </a:cubicBezTo>
                  <a:cubicBezTo>
                    <a:pt x="0" y="186102"/>
                    <a:pt x="0" y="183051"/>
                    <a:pt x="3051" y="183051"/>
                  </a:cubicBezTo>
                  <a:cubicBezTo>
                    <a:pt x="82373" y="152542"/>
                    <a:pt x="161695" y="3051"/>
                    <a:pt x="161695" y="3051"/>
                  </a:cubicBezTo>
                  <a:cubicBezTo>
                    <a:pt x="161695" y="0"/>
                    <a:pt x="167797" y="0"/>
                    <a:pt x="167797" y="0"/>
                  </a:cubicBezTo>
                  <a:cubicBezTo>
                    <a:pt x="170848" y="0"/>
                    <a:pt x="170848" y="6102"/>
                    <a:pt x="170848" y="6102"/>
                  </a:cubicBezTo>
                  <a:cubicBezTo>
                    <a:pt x="170848" y="12203"/>
                    <a:pt x="91525" y="158644"/>
                    <a:pt x="6102" y="192203"/>
                  </a:cubicBezTo>
                  <a:cubicBezTo>
                    <a:pt x="9152" y="192203"/>
                    <a:pt x="9152" y="192203"/>
                    <a:pt x="6102" y="192203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7BB1A77D-14CE-4F88-B37B-33BE02DEC0A5}"/>
                </a:ext>
              </a:extLst>
            </p:cNvPr>
            <p:cNvSpPr/>
            <p:nvPr/>
          </p:nvSpPr>
          <p:spPr>
            <a:xfrm>
              <a:off x="16138343" y="8184979"/>
              <a:ext cx="77635" cy="114126"/>
            </a:xfrm>
            <a:custGeom>
              <a:avLst/>
              <a:gdLst>
                <a:gd name="connsiteX0" fmla="*/ 12203 w 77635"/>
                <a:gd name="connsiteY0" fmla="*/ 16740 h 114126"/>
                <a:gd name="connsiteX1" fmla="*/ 70170 w 77635"/>
                <a:gd name="connsiteY1" fmla="*/ 7587 h 114126"/>
                <a:gd name="connsiteX2" fmla="*/ 12203 w 77635"/>
                <a:gd name="connsiteY2" fmla="*/ 111316 h 114126"/>
                <a:gd name="connsiteX3" fmla="*/ 12203 w 77635"/>
                <a:gd name="connsiteY3" fmla="*/ 16740 h 11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635" h="114126">
                  <a:moveTo>
                    <a:pt x="12203" y="16740"/>
                  </a:moveTo>
                  <a:cubicBezTo>
                    <a:pt x="12203" y="16740"/>
                    <a:pt x="45763" y="-13769"/>
                    <a:pt x="70170" y="7587"/>
                  </a:cubicBezTo>
                  <a:cubicBezTo>
                    <a:pt x="94577" y="25893"/>
                    <a:pt x="54916" y="132672"/>
                    <a:pt x="12203" y="111316"/>
                  </a:cubicBezTo>
                  <a:cubicBezTo>
                    <a:pt x="-15254" y="89961"/>
                    <a:pt x="12203" y="16740"/>
                    <a:pt x="12203" y="16740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7AEF189A-85E1-4C0F-A6B7-B280F53F9A99}"/>
                </a:ext>
              </a:extLst>
            </p:cNvPr>
            <p:cNvSpPr/>
            <p:nvPr/>
          </p:nvSpPr>
          <p:spPr>
            <a:xfrm>
              <a:off x="15729530" y="8015617"/>
              <a:ext cx="253219" cy="158643"/>
            </a:xfrm>
            <a:custGeom>
              <a:avLst/>
              <a:gdLst>
                <a:gd name="connsiteX0" fmla="*/ 6102 w 253219"/>
                <a:gd name="connsiteY0" fmla="*/ 158644 h 158643"/>
                <a:gd name="connsiteX1" fmla="*/ 6102 w 253219"/>
                <a:gd name="connsiteY1" fmla="*/ 158644 h 158643"/>
                <a:gd name="connsiteX2" fmla="*/ 0 w 253219"/>
                <a:gd name="connsiteY2" fmla="*/ 152542 h 158643"/>
                <a:gd name="connsiteX3" fmla="*/ 109831 w 253219"/>
                <a:gd name="connsiteY3" fmla="*/ 45763 h 158643"/>
                <a:gd name="connsiteX4" fmla="*/ 244068 w 253219"/>
                <a:gd name="connsiteY4" fmla="*/ 0 h 158643"/>
                <a:gd name="connsiteX5" fmla="*/ 253220 w 253219"/>
                <a:gd name="connsiteY5" fmla="*/ 3051 h 158643"/>
                <a:gd name="connsiteX6" fmla="*/ 250170 w 253219"/>
                <a:gd name="connsiteY6" fmla="*/ 12203 h 158643"/>
                <a:gd name="connsiteX7" fmla="*/ 115932 w 253219"/>
                <a:gd name="connsiteY7" fmla="*/ 57966 h 158643"/>
                <a:gd name="connsiteX8" fmla="*/ 15254 w 253219"/>
                <a:gd name="connsiteY8" fmla="*/ 155593 h 158643"/>
                <a:gd name="connsiteX9" fmla="*/ 6102 w 253219"/>
                <a:gd name="connsiteY9" fmla="*/ 158644 h 15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3219" h="158643">
                  <a:moveTo>
                    <a:pt x="6102" y="158644"/>
                  </a:moveTo>
                  <a:cubicBezTo>
                    <a:pt x="6102" y="158644"/>
                    <a:pt x="6102" y="158644"/>
                    <a:pt x="6102" y="158644"/>
                  </a:cubicBezTo>
                  <a:cubicBezTo>
                    <a:pt x="3051" y="158644"/>
                    <a:pt x="0" y="155593"/>
                    <a:pt x="0" y="152542"/>
                  </a:cubicBezTo>
                  <a:cubicBezTo>
                    <a:pt x="12203" y="82373"/>
                    <a:pt x="61017" y="61017"/>
                    <a:pt x="109831" y="45763"/>
                  </a:cubicBezTo>
                  <a:cubicBezTo>
                    <a:pt x="176949" y="27457"/>
                    <a:pt x="241017" y="0"/>
                    <a:pt x="244068" y="0"/>
                  </a:cubicBezTo>
                  <a:cubicBezTo>
                    <a:pt x="247119" y="0"/>
                    <a:pt x="250170" y="0"/>
                    <a:pt x="253220" y="3051"/>
                  </a:cubicBezTo>
                  <a:cubicBezTo>
                    <a:pt x="253220" y="6102"/>
                    <a:pt x="253220" y="9152"/>
                    <a:pt x="250170" y="12203"/>
                  </a:cubicBezTo>
                  <a:cubicBezTo>
                    <a:pt x="250170" y="12203"/>
                    <a:pt x="183051" y="36610"/>
                    <a:pt x="115932" y="57966"/>
                  </a:cubicBezTo>
                  <a:cubicBezTo>
                    <a:pt x="61017" y="73220"/>
                    <a:pt x="24406" y="97627"/>
                    <a:pt x="15254" y="155593"/>
                  </a:cubicBezTo>
                  <a:cubicBezTo>
                    <a:pt x="12203" y="158644"/>
                    <a:pt x="9152" y="158644"/>
                    <a:pt x="6102" y="158644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1D6016DF-13DC-4AA6-9732-DE03D93EC1B8}"/>
                </a:ext>
              </a:extLst>
            </p:cNvPr>
            <p:cNvSpPr/>
            <p:nvPr/>
          </p:nvSpPr>
          <p:spPr>
            <a:xfrm>
              <a:off x="16033458" y="8593684"/>
              <a:ext cx="187258" cy="1186148"/>
            </a:xfrm>
            <a:custGeom>
              <a:avLst/>
              <a:gdLst>
                <a:gd name="connsiteX0" fmla="*/ 156750 w 187258"/>
                <a:gd name="connsiteY0" fmla="*/ 1594 h 1186148"/>
                <a:gd name="connsiteX1" fmla="*/ 187258 w 187258"/>
                <a:gd name="connsiteY1" fmla="*/ 13798 h 1186148"/>
                <a:gd name="connsiteX2" fmla="*/ 107936 w 187258"/>
                <a:gd name="connsiteY2" fmla="*/ 1167018 h 1186148"/>
                <a:gd name="connsiteX3" fmla="*/ 77427 w 187258"/>
                <a:gd name="connsiteY3" fmla="*/ 1176171 h 1186148"/>
                <a:gd name="connsiteX4" fmla="*/ 156750 w 187258"/>
                <a:gd name="connsiteY4" fmla="*/ 1594 h 1186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258" h="1186148">
                  <a:moveTo>
                    <a:pt x="156750" y="1594"/>
                  </a:moveTo>
                  <a:cubicBezTo>
                    <a:pt x="165902" y="-1457"/>
                    <a:pt x="184207" y="-1457"/>
                    <a:pt x="187258" y="13798"/>
                  </a:cubicBezTo>
                  <a:cubicBezTo>
                    <a:pt x="-62912" y="349391"/>
                    <a:pt x="53021" y="788713"/>
                    <a:pt x="107936" y="1167018"/>
                  </a:cubicBezTo>
                  <a:cubicBezTo>
                    <a:pt x="110987" y="1185323"/>
                    <a:pt x="80479" y="1194476"/>
                    <a:pt x="77427" y="1176171"/>
                  </a:cubicBezTo>
                  <a:cubicBezTo>
                    <a:pt x="19462" y="785662"/>
                    <a:pt x="-96471" y="340238"/>
                    <a:pt x="156750" y="1594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4" name="图形 114">
              <a:extLst>
                <a:ext uri="{FF2B5EF4-FFF2-40B4-BE49-F238E27FC236}">
                  <a16:creationId xmlns:a16="http://schemas.microsoft.com/office/drawing/2014/main" id="{66304025-309D-437E-981A-A5C91834B16B}"/>
                </a:ext>
              </a:extLst>
            </p:cNvPr>
            <p:cNvGrpSpPr/>
            <p:nvPr/>
          </p:nvGrpSpPr>
          <p:grpSpPr>
            <a:xfrm>
              <a:off x="16031576" y="9688824"/>
              <a:ext cx="700803" cy="496879"/>
              <a:chOff x="16031576" y="9688824"/>
              <a:chExt cx="700803" cy="496879"/>
            </a:xfrm>
          </p:grpSpPr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AF4B5035-B2B0-4F8A-BB1E-E9067704BFA2}"/>
                  </a:ext>
                </a:extLst>
              </p:cNvPr>
              <p:cNvSpPr/>
              <p:nvPr/>
            </p:nvSpPr>
            <p:spPr>
              <a:xfrm>
                <a:off x="16044305" y="9754681"/>
                <a:ext cx="688074" cy="431022"/>
              </a:xfrm>
              <a:custGeom>
                <a:avLst/>
                <a:gdLst>
                  <a:gd name="connsiteX0" fmla="*/ 69632 w 688074"/>
                  <a:gd name="connsiteY0" fmla="*/ 427038 h 431022"/>
                  <a:gd name="connsiteX1" fmla="*/ 673699 w 688074"/>
                  <a:gd name="connsiteY1" fmla="*/ 362970 h 431022"/>
                  <a:gd name="connsiteX2" fmla="*/ 649293 w 688074"/>
                  <a:gd name="connsiteY2" fmla="*/ 70088 h 431022"/>
                  <a:gd name="connsiteX3" fmla="*/ 475394 w 688074"/>
                  <a:gd name="connsiteY3" fmla="*/ 6020 h 431022"/>
                  <a:gd name="connsiteX4" fmla="*/ 17767 w 688074"/>
                  <a:gd name="connsiteY4" fmla="*/ 70088 h 431022"/>
                  <a:gd name="connsiteX5" fmla="*/ 69632 w 688074"/>
                  <a:gd name="connsiteY5" fmla="*/ 427038 h 431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88074" h="431022">
                    <a:moveTo>
                      <a:pt x="69632" y="427038"/>
                    </a:moveTo>
                    <a:cubicBezTo>
                      <a:pt x="121496" y="445343"/>
                      <a:pt x="646242" y="396529"/>
                      <a:pt x="673699" y="362970"/>
                    </a:cubicBezTo>
                    <a:cubicBezTo>
                      <a:pt x="710310" y="320258"/>
                      <a:pt x="667598" y="140258"/>
                      <a:pt x="649293" y="70088"/>
                    </a:cubicBezTo>
                    <a:cubicBezTo>
                      <a:pt x="624886" y="-24488"/>
                      <a:pt x="563869" y="2970"/>
                      <a:pt x="475394" y="6020"/>
                    </a:cubicBezTo>
                    <a:cubicBezTo>
                      <a:pt x="371666" y="9071"/>
                      <a:pt x="17767" y="63987"/>
                      <a:pt x="17767" y="70088"/>
                    </a:cubicBezTo>
                    <a:cubicBezTo>
                      <a:pt x="-15792" y="109750"/>
                      <a:pt x="-3588" y="399580"/>
                      <a:pt x="69632" y="427038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766ABDB4-2A5C-4DC2-9F90-8BEECDC54F3C}"/>
                  </a:ext>
                </a:extLst>
              </p:cNvPr>
              <p:cNvSpPr/>
              <p:nvPr/>
            </p:nvSpPr>
            <p:spPr>
              <a:xfrm>
                <a:off x="16031576" y="9688824"/>
                <a:ext cx="686760" cy="272699"/>
              </a:xfrm>
              <a:custGeom>
                <a:avLst/>
                <a:gdLst>
                  <a:gd name="connsiteX0" fmla="*/ 585751 w 686760"/>
                  <a:gd name="connsiteY0" fmla="*/ 7810 h 272699"/>
                  <a:gd name="connsiteX1" fmla="*/ 683377 w 686760"/>
                  <a:gd name="connsiteY1" fmla="*/ 203065 h 272699"/>
                  <a:gd name="connsiteX2" fmla="*/ 15242 w 686760"/>
                  <a:gd name="connsiteY2" fmla="*/ 261030 h 272699"/>
                  <a:gd name="connsiteX3" fmla="*/ 48801 w 686760"/>
                  <a:gd name="connsiteY3" fmla="*/ 56623 h 272699"/>
                  <a:gd name="connsiteX4" fmla="*/ 585751 w 686760"/>
                  <a:gd name="connsiteY4" fmla="*/ 7810 h 272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6760" h="272699">
                    <a:moveTo>
                      <a:pt x="585751" y="7810"/>
                    </a:moveTo>
                    <a:cubicBezTo>
                      <a:pt x="619310" y="16963"/>
                      <a:pt x="704734" y="163403"/>
                      <a:pt x="683377" y="203065"/>
                    </a:cubicBezTo>
                    <a:cubicBezTo>
                      <a:pt x="665073" y="239674"/>
                      <a:pt x="51852" y="297641"/>
                      <a:pt x="15242" y="261030"/>
                    </a:cubicBezTo>
                    <a:cubicBezTo>
                      <a:pt x="-21368" y="227471"/>
                      <a:pt x="15242" y="74929"/>
                      <a:pt x="48801" y="56623"/>
                    </a:cubicBezTo>
                    <a:cubicBezTo>
                      <a:pt x="85412" y="32217"/>
                      <a:pt x="478971" y="-19648"/>
                      <a:pt x="585751" y="781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D1593A14-76CA-460E-A3C8-FDD49AEF86DB}"/>
                  </a:ext>
                </a:extLst>
              </p:cNvPr>
              <p:cNvSpPr/>
              <p:nvPr/>
            </p:nvSpPr>
            <p:spPr>
              <a:xfrm>
                <a:off x="16342419" y="9903760"/>
                <a:ext cx="92188" cy="91856"/>
              </a:xfrm>
              <a:custGeom>
                <a:avLst/>
                <a:gdLst>
                  <a:gd name="connsiteX0" fmla="*/ 332 w 92188"/>
                  <a:gd name="connsiteY0" fmla="*/ 49145 h 91856"/>
                  <a:gd name="connsiteX1" fmla="*/ 43043 w 92188"/>
                  <a:gd name="connsiteY1" fmla="*/ 332 h 91856"/>
                  <a:gd name="connsiteX2" fmla="*/ 91857 w 92188"/>
                  <a:gd name="connsiteY2" fmla="*/ 43043 h 91856"/>
                  <a:gd name="connsiteX3" fmla="*/ 49145 w 92188"/>
                  <a:gd name="connsiteY3" fmla="*/ 91857 h 91856"/>
                  <a:gd name="connsiteX4" fmla="*/ 332 w 92188"/>
                  <a:gd name="connsiteY4" fmla="*/ 49145 h 91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188" h="91856">
                    <a:moveTo>
                      <a:pt x="332" y="49145"/>
                    </a:moveTo>
                    <a:cubicBezTo>
                      <a:pt x="-2720" y="24738"/>
                      <a:pt x="15586" y="332"/>
                      <a:pt x="43043" y="332"/>
                    </a:cubicBezTo>
                    <a:cubicBezTo>
                      <a:pt x="67450" y="-2720"/>
                      <a:pt x="91857" y="15586"/>
                      <a:pt x="91857" y="43043"/>
                    </a:cubicBezTo>
                    <a:cubicBezTo>
                      <a:pt x="94908" y="67451"/>
                      <a:pt x="76603" y="91857"/>
                      <a:pt x="49145" y="91857"/>
                    </a:cubicBezTo>
                    <a:cubicBezTo>
                      <a:pt x="24738" y="91857"/>
                      <a:pt x="3383" y="73552"/>
                      <a:pt x="332" y="49145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0E62486A-9DD7-41E8-97DA-C2371A995020}"/>
                </a:ext>
              </a:extLst>
            </p:cNvPr>
            <p:cNvSpPr/>
            <p:nvPr/>
          </p:nvSpPr>
          <p:spPr>
            <a:xfrm>
              <a:off x="15446564" y="9197058"/>
              <a:ext cx="80847" cy="63304"/>
            </a:xfrm>
            <a:custGeom>
              <a:avLst/>
              <a:gdLst>
                <a:gd name="connsiteX0" fmla="*/ 72458 w 80847"/>
                <a:gd name="connsiteY0" fmla="*/ 63305 h 63304"/>
                <a:gd name="connsiteX1" fmla="*/ 69407 w 80847"/>
                <a:gd name="connsiteY1" fmla="*/ 63305 h 63304"/>
                <a:gd name="connsiteX2" fmla="*/ 2288 w 80847"/>
                <a:gd name="connsiteY2" fmla="*/ 11441 h 63304"/>
                <a:gd name="connsiteX3" fmla="*/ 2288 w 80847"/>
                <a:gd name="connsiteY3" fmla="*/ 2288 h 63304"/>
                <a:gd name="connsiteX4" fmla="*/ 11441 w 80847"/>
                <a:gd name="connsiteY4" fmla="*/ 2288 h 63304"/>
                <a:gd name="connsiteX5" fmla="*/ 78559 w 80847"/>
                <a:gd name="connsiteY5" fmla="*/ 54153 h 63304"/>
                <a:gd name="connsiteX6" fmla="*/ 78559 w 80847"/>
                <a:gd name="connsiteY6" fmla="*/ 63305 h 63304"/>
                <a:gd name="connsiteX7" fmla="*/ 72458 w 80847"/>
                <a:gd name="connsiteY7" fmla="*/ 63305 h 63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847" h="63304">
                  <a:moveTo>
                    <a:pt x="72458" y="63305"/>
                  </a:moveTo>
                  <a:cubicBezTo>
                    <a:pt x="72458" y="63305"/>
                    <a:pt x="69407" y="63305"/>
                    <a:pt x="69407" y="63305"/>
                  </a:cubicBezTo>
                  <a:cubicBezTo>
                    <a:pt x="32796" y="35847"/>
                    <a:pt x="2288" y="11441"/>
                    <a:pt x="2288" y="11441"/>
                  </a:cubicBezTo>
                  <a:cubicBezTo>
                    <a:pt x="-763" y="8390"/>
                    <a:pt x="-763" y="5339"/>
                    <a:pt x="2288" y="2288"/>
                  </a:cubicBezTo>
                  <a:cubicBezTo>
                    <a:pt x="5339" y="-763"/>
                    <a:pt x="8390" y="-763"/>
                    <a:pt x="11441" y="2288"/>
                  </a:cubicBezTo>
                  <a:cubicBezTo>
                    <a:pt x="11441" y="2288"/>
                    <a:pt x="45000" y="26695"/>
                    <a:pt x="78559" y="54153"/>
                  </a:cubicBezTo>
                  <a:cubicBezTo>
                    <a:pt x="81610" y="57203"/>
                    <a:pt x="81610" y="60254"/>
                    <a:pt x="78559" y="63305"/>
                  </a:cubicBezTo>
                  <a:cubicBezTo>
                    <a:pt x="75509" y="60254"/>
                    <a:pt x="75509" y="63305"/>
                    <a:pt x="72458" y="63305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BA743DA7-6C4C-40FC-A911-A7FD2BA1D641}"/>
                </a:ext>
              </a:extLst>
            </p:cNvPr>
            <p:cNvSpPr/>
            <p:nvPr/>
          </p:nvSpPr>
          <p:spPr>
            <a:xfrm>
              <a:off x="15653259" y="8738786"/>
              <a:ext cx="767522" cy="779677"/>
            </a:xfrm>
            <a:custGeom>
              <a:avLst/>
              <a:gdLst>
                <a:gd name="connsiteX0" fmla="*/ 732203 w 767522"/>
                <a:gd name="connsiteY0" fmla="*/ 73102 h 779677"/>
                <a:gd name="connsiteX1" fmla="*/ 491187 w 767522"/>
                <a:gd name="connsiteY1" fmla="*/ 155475 h 779677"/>
                <a:gd name="connsiteX2" fmla="*/ 445424 w 767522"/>
                <a:gd name="connsiteY2" fmla="*/ 579543 h 779677"/>
                <a:gd name="connsiteX3" fmla="*/ 0 w 767522"/>
                <a:gd name="connsiteY3" fmla="*/ 649712 h 779677"/>
                <a:gd name="connsiteX4" fmla="*/ 0 w 767522"/>
                <a:gd name="connsiteY4" fmla="*/ 774797 h 779677"/>
                <a:gd name="connsiteX5" fmla="*/ 616272 w 767522"/>
                <a:gd name="connsiteY5" fmla="*/ 713780 h 779677"/>
                <a:gd name="connsiteX6" fmla="*/ 732203 w 767522"/>
                <a:gd name="connsiteY6" fmla="*/ 73102 h 779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7522" h="779677">
                  <a:moveTo>
                    <a:pt x="732203" y="73102"/>
                  </a:moveTo>
                  <a:cubicBezTo>
                    <a:pt x="622373" y="-73339"/>
                    <a:pt x="491187" y="24288"/>
                    <a:pt x="491187" y="155475"/>
                  </a:cubicBezTo>
                  <a:cubicBezTo>
                    <a:pt x="494238" y="283610"/>
                    <a:pt x="466779" y="552085"/>
                    <a:pt x="445424" y="579543"/>
                  </a:cubicBezTo>
                  <a:cubicBezTo>
                    <a:pt x="387458" y="597847"/>
                    <a:pt x="0" y="649712"/>
                    <a:pt x="0" y="649712"/>
                  </a:cubicBezTo>
                  <a:cubicBezTo>
                    <a:pt x="15254" y="677170"/>
                    <a:pt x="0" y="774797"/>
                    <a:pt x="0" y="774797"/>
                  </a:cubicBezTo>
                  <a:cubicBezTo>
                    <a:pt x="0" y="774797"/>
                    <a:pt x="521695" y="805305"/>
                    <a:pt x="616272" y="713780"/>
                  </a:cubicBezTo>
                  <a:cubicBezTo>
                    <a:pt x="665084" y="664966"/>
                    <a:pt x="842034" y="219543"/>
                    <a:pt x="732203" y="73102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EA78D63F-F4CA-472C-97FC-7D21B4F210D3}"/>
                </a:ext>
              </a:extLst>
            </p:cNvPr>
            <p:cNvSpPr/>
            <p:nvPr/>
          </p:nvSpPr>
          <p:spPr>
            <a:xfrm>
              <a:off x="16071225" y="8629704"/>
              <a:ext cx="383636" cy="400470"/>
            </a:xfrm>
            <a:custGeom>
              <a:avLst/>
              <a:gdLst>
                <a:gd name="connsiteX0" fmla="*/ 375254 w 383636"/>
                <a:gd name="connsiteY0" fmla="*/ 392693 h 400470"/>
                <a:gd name="connsiteX1" fmla="*/ 262372 w 383636"/>
                <a:gd name="connsiteY1" fmla="*/ 5235 h 400470"/>
                <a:gd name="connsiteX2" fmla="*/ 0 w 383636"/>
                <a:gd name="connsiteY2" fmla="*/ 362184 h 400470"/>
                <a:gd name="connsiteX3" fmla="*/ 375254 w 383636"/>
                <a:gd name="connsiteY3" fmla="*/ 392693 h 40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636" h="400470">
                  <a:moveTo>
                    <a:pt x="375254" y="392693"/>
                  </a:moveTo>
                  <a:cubicBezTo>
                    <a:pt x="408813" y="212692"/>
                    <a:pt x="335593" y="35743"/>
                    <a:pt x="262372" y="5235"/>
                  </a:cubicBezTo>
                  <a:cubicBezTo>
                    <a:pt x="164746" y="-34426"/>
                    <a:pt x="18304" y="157777"/>
                    <a:pt x="0" y="362184"/>
                  </a:cubicBezTo>
                  <a:cubicBezTo>
                    <a:pt x="61017" y="407947"/>
                    <a:pt x="274576" y="404896"/>
                    <a:pt x="375254" y="392693"/>
                  </a:cubicBezTo>
                  <a:close/>
                </a:path>
              </a:pathLst>
            </a:custGeom>
            <a:solidFill>
              <a:srgbClr val="7F95BC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BBBBCDA8-C862-46BC-8AC9-EA51A20AD60B}"/>
                </a:ext>
              </a:extLst>
            </p:cNvPr>
            <p:cNvSpPr/>
            <p:nvPr/>
          </p:nvSpPr>
          <p:spPr>
            <a:xfrm>
              <a:off x="16068174" y="8619106"/>
              <a:ext cx="241016" cy="409391"/>
            </a:xfrm>
            <a:custGeom>
              <a:avLst/>
              <a:gdLst>
                <a:gd name="connsiteX0" fmla="*/ 149491 w 241016"/>
                <a:gd name="connsiteY0" fmla="*/ 409392 h 409391"/>
                <a:gd name="connsiteX1" fmla="*/ 149491 w 241016"/>
                <a:gd name="connsiteY1" fmla="*/ 409392 h 409391"/>
                <a:gd name="connsiteX2" fmla="*/ 0 w 241016"/>
                <a:gd name="connsiteY2" fmla="*/ 375832 h 409391"/>
                <a:gd name="connsiteX3" fmla="*/ 0 w 241016"/>
                <a:gd name="connsiteY3" fmla="*/ 375832 h 409391"/>
                <a:gd name="connsiteX4" fmla="*/ 0 w 241016"/>
                <a:gd name="connsiteY4" fmla="*/ 372782 h 409391"/>
                <a:gd name="connsiteX5" fmla="*/ 167797 w 241016"/>
                <a:gd name="connsiteY5" fmla="*/ 24985 h 409391"/>
                <a:gd name="connsiteX6" fmla="*/ 234915 w 241016"/>
                <a:gd name="connsiteY6" fmla="*/ 578 h 409391"/>
                <a:gd name="connsiteX7" fmla="*/ 241017 w 241016"/>
                <a:gd name="connsiteY7" fmla="*/ 6680 h 409391"/>
                <a:gd name="connsiteX8" fmla="*/ 234915 w 241016"/>
                <a:gd name="connsiteY8" fmla="*/ 12782 h 409391"/>
                <a:gd name="connsiteX9" fmla="*/ 173898 w 241016"/>
                <a:gd name="connsiteY9" fmla="*/ 34138 h 409391"/>
                <a:gd name="connsiteX10" fmla="*/ 9152 w 241016"/>
                <a:gd name="connsiteY10" fmla="*/ 369731 h 409391"/>
                <a:gd name="connsiteX11" fmla="*/ 146440 w 241016"/>
                <a:gd name="connsiteY11" fmla="*/ 397188 h 409391"/>
                <a:gd name="connsiteX12" fmla="*/ 152542 w 241016"/>
                <a:gd name="connsiteY12" fmla="*/ 403290 h 409391"/>
                <a:gd name="connsiteX13" fmla="*/ 149491 w 241016"/>
                <a:gd name="connsiteY13" fmla="*/ 409392 h 40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16" h="409391">
                  <a:moveTo>
                    <a:pt x="149491" y="409392"/>
                  </a:moveTo>
                  <a:cubicBezTo>
                    <a:pt x="149491" y="409392"/>
                    <a:pt x="149491" y="409392"/>
                    <a:pt x="149491" y="409392"/>
                  </a:cubicBezTo>
                  <a:cubicBezTo>
                    <a:pt x="21355" y="403290"/>
                    <a:pt x="3051" y="378883"/>
                    <a:pt x="0" y="375832"/>
                  </a:cubicBezTo>
                  <a:lnTo>
                    <a:pt x="0" y="375832"/>
                  </a:lnTo>
                  <a:lnTo>
                    <a:pt x="0" y="372782"/>
                  </a:lnTo>
                  <a:cubicBezTo>
                    <a:pt x="9152" y="272104"/>
                    <a:pt x="88474" y="92103"/>
                    <a:pt x="167797" y="24985"/>
                  </a:cubicBezTo>
                  <a:cubicBezTo>
                    <a:pt x="192203" y="6680"/>
                    <a:pt x="213559" y="-2473"/>
                    <a:pt x="234915" y="578"/>
                  </a:cubicBezTo>
                  <a:cubicBezTo>
                    <a:pt x="237966" y="578"/>
                    <a:pt x="241017" y="3629"/>
                    <a:pt x="241017" y="6680"/>
                  </a:cubicBezTo>
                  <a:cubicBezTo>
                    <a:pt x="241017" y="9731"/>
                    <a:pt x="237966" y="12782"/>
                    <a:pt x="234915" y="12782"/>
                  </a:cubicBezTo>
                  <a:cubicBezTo>
                    <a:pt x="216610" y="9731"/>
                    <a:pt x="198305" y="15832"/>
                    <a:pt x="173898" y="34138"/>
                  </a:cubicBezTo>
                  <a:cubicBezTo>
                    <a:pt x="94576" y="95155"/>
                    <a:pt x="18305" y="269053"/>
                    <a:pt x="9152" y="369731"/>
                  </a:cubicBezTo>
                  <a:cubicBezTo>
                    <a:pt x="12203" y="372782"/>
                    <a:pt x="39661" y="391087"/>
                    <a:pt x="146440" y="397188"/>
                  </a:cubicBezTo>
                  <a:cubicBezTo>
                    <a:pt x="149491" y="397188"/>
                    <a:pt x="152542" y="400239"/>
                    <a:pt x="152542" y="403290"/>
                  </a:cubicBezTo>
                  <a:cubicBezTo>
                    <a:pt x="155593" y="406341"/>
                    <a:pt x="152542" y="409392"/>
                    <a:pt x="149491" y="409392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9" name="图形 114">
              <a:extLst>
                <a:ext uri="{FF2B5EF4-FFF2-40B4-BE49-F238E27FC236}">
                  <a16:creationId xmlns:a16="http://schemas.microsoft.com/office/drawing/2014/main" id="{77A3B3F8-CA61-47B6-B4E7-ED33E5D2D4F6}"/>
                </a:ext>
              </a:extLst>
            </p:cNvPr>
            <p:cNvGrpSpPr/>
            <p:nvPr/>
          </p:nvGrpSpPr>
          <p:grpSpPr>
            <a:xfrm>
              <a:off x="15421394" y="9345786"/>
              <a:ext cx="288498" cy="177857"/>
              <a:chOff x="15421394" y="9345786"/>
              <a:chExt cx="288498" cy="177857"/>
            </a:xfrm>
          </p:grpSpPr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4C8D91BC-7E91-444B-A272-879DAD0649AD}"/>
                  </a:ext>
                </a:extLst>
              </p:cNvPr>
              <p:cNvSpPr/>
              <p:nvPr/>
            </p:nvSpPr>
            <p:spPr>
              <a:xfrm>
                <a:off x="15421394" y="9345786"/>
                <a:ext cx="288498" cy="177857"/>
              </a:xfrm>
              <a:custGeom>
                <a:avLst/>
                <a:gdLst>
                  <a:gd name="connsiteX0" fmla="*/ 253221 w 288498"/>
                  <a:gd name="connsiteY0" fmla="*/ 45763 h 177857"/>
                  <a:gd name="connsiteX1" fmla="*/ 186102 w 288498"/>
                  <a:gd name="connsiteY1" fmla="*/ 12204 h 177857"/>
                  <a:gd name="connsiteX2" fmla="*/ 131187 w 288498"/>
                  <a:gd name="connsiteY2" fmla="*/ 0 h 177857"/>
                  <a:gd name="connsiteX3" fmla="*/ 100679 w 288498"/>
                  <a:gd name="connsiteY3" fmla="*/ 18305 h 177857"/>
                  <a:gd name="connsiteX4" fmla="*/ 149491 w 288498"/>
                  <a:gd name="connsiteY4" fmla="*/ 39661 h 177857"/>
                  <a:gd name="connsiteX5" fmla="*/ 27457 w 288498"/>
                  <a:gd name="connsiteY5" fmla="*/ 36610 h 177857"/>
                  <a:gd name="connsiteX6" fmla="*/ 9153 w 288498"/>
                  <a:gd name="connsiteY6" fmla="*/ 45763 h 177857"/>
                  <a:gd name="connsiteX7" fmla="*/ 12203 w 288498"/>
                  <a:gd name="connsiteY7" fmla="*/ 48814 h 177857"/>
                  <a:gd name="connsiteX8" fmla="*/ 0 w 288498"/>
                  <a:gd name="connsiteY8" fmla="*/ 57966 h 177857"/>
                  <a:gd name="connsiteX9" fmla="*/ 18305 w 288498"/>
                  <a:gd name="connsiteY9" fmla="*/ 82373 h 177857"/>
                  <a:gd name="connsiteX10" fmla="*/ 54916 w 288498"/>
                  <a:gd name="connsiteY10" fmla="*/ 106780 h 177857"/>
                  <a:gd name="connsiteX11" fmla="*/ 21356 w 288498"/>
                  <a:gd name="connsiteY11" fmla="*/ 94576 h 177857"/>
                  <a:gd name="connsiteX12" fmla="*/ 9153 w 288498"/>
                  <a:gd name="connsiteY12" fmla="*/ 103729 h 177857"/>
                  <a:gd name="connsiteX13" fmla="*/ 115933 w 288498"/>
                  <a:gd name="connsiteY13" fmla="*/ 170848 h 177857"/>
                  <a:gd name="connsiteX14" fmla="*/ 262373 w 288498"/>
                  <a:gd name="connsiteY14" fmla="*/ 158644 h 177857"/>
                  <a:gd name="connsiteX15" fmla="*/ 268475 w 288498"/>
                  <a:gd name="connsiteY15" fmla="*/ 149492 h 177857"/>
                  <a:gd name="connsiteX16" fmla="*/ 253221 w 288498"/>
                  <a:gd name="connsiteY16" fmla="*/ 45763 h 177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8498" h="177857">
                    <a:moveTo>
                      <a:pt x="253221" y="45763"/>
                    </a:moveTo>
                    <a:cubicBezTo>
                      <a:pt x="228814" y="36610"/>
                      <a:pt x="207458" y="24407"/>
                      <a:pt x="186102" y="12204"/>
                    </a:cubicBezTo>
                    <a:cubicBezTo>
                      <a:pt x="158644" y="0"/>
                      <a:pt x="164746" y="3051"/>
                      <a:pt x="131187" y="0"/>
                    </a:cubicBezTo>
                    <a:cubicBezTo>
                      <a:pt x="128136" y="0"/>
                      <a:pt x="103729" y="12204"/>
                      <a:pt x="100679" y="18305"/>
                    </a:cubicBezTo>
                    <a:cubicBezTo>
                      <a:pt x="100679" y="27458"/>
                      <a:pt x="149491" y="33560"/>
                      <a:pt x="149491" y="39661"/>
                    </a:cubicBezTo>
                    <a:cubicBezTo>
                      <a:pt x="122034" y="67119"/>
                      <a:pt x="39662" y="18305"/>
                      <a:pt x="27457" y="36610"/>
                    </a:cubicBezTo>
                    <a:cubicBezTo>
                      <a:pt x="24407" y="39661"/>
                      <a:pt x="9153" y="42712"/>
                      <a:pt x="9153" y="45763"/>
                    </a:cubicBezTo>
                    <a:cubicBezTo>
                      <a:pt x="9153" y="45763"/>
                      <a:pt x="12203" y="48814"/>
                      <a:pt x="12203" y="48814"/>
                    </a:cubicBezTo>
                    <a:cubicBezTo>
                      <a:pt x="3051" y="48814"/>
                      <a:pt x="0" y="45763"/>
                      <a:pt x="0" y="57966"/>
                    </a:cubicBezTo>
                    <a:cubicBezTo>
                      <a:pt x="0" y="67119"/>
                      <a:pt x="9153" y="76271"/>
                      <a:pt x="18305" y="82373"/>
                    </a:cubicBezTo>
                    <a:cubicBezTo>
                      <a:pt x="27457" y="91525"/>
                      <a:pt x="42712" y="97627"/>
                      <a:pt x="54916" y="106780"/>
                    </a:cubicBezTo>
                    <a:cubicBezTo>
                      <a:pt x="48814" y="106780"/>
                      <a:pt x="24407" y="91525"/>
                      <a:pt x="21356" y="94576"/>
                    </a:cubicBezTo>
                    <a:cubicBezTo>
                      <a:pt x="18305" y="94576"/>
                      <a:pt x="9153" y="100678"/>
                      <a:pt x="9153" y="103729"/>
                    </a:cubicBezTo>
                    <a:cubicBezTo>
                      <a:pt x="9153" y="118983"/>
                      <a:pt x="88474" y="161695"/>
                      <a:pt x="115933" y="170848"/>
                    </a:cubicBezTo>
                    <a:cubicBezTo>
                      <a:pt x="161695" y="186102"/>
                      <a:pt x="222712" y="173898"/>
                      <a:pt x="262373" y="158644"/>
                    </a:cubicBezTo>
                    <a:cubicBezTo>
                      <a:pt x="265424" y="155593"/>
                      <a:pt x="268475" y="152542"/>
                      <a:pt x="268475" y="149492"/>
                    </a:cubicBezTo>
                    <a:cubicBezTo>
                      <a:pt x="295933" y="115932"/>
                      <a:pt x="298984" y="64068"/>
                      <a:pt x="253221" y="45763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F627427C-D8A6-4B88-9AB5-9D56931BEC1D}"/>
                  </a:ext>
                </a:extLst>
              </p:cNvPr>
              <p:cNvSpPr/>
              <p:nvPr/>
            </p:nvSpPr>
            <p:spPr>
              <a:xfrm>
                <a:off x="15421394" y="9383592"/>
                <a:ext cx="123297" cy="99482"/>
              </a:xfrm>
              <a:custGeom>
                <a:avLst/>
                <a:gdLst>
                  <a:gd name="connsiteX0" fmla="*/ 91525 w 123297"/>
                  <a:gd name="connsiteY0" fmla="*/ 99483 h 99482"/>
                  <a:gd name="connsiteX1" fmla="*/ 88474 w 123297"/>
                  <a:gd name="connsiteY1" fmla="*/ 99483 h 99482"/>
                  <a:gd name="connsiteX2" fmla="*/ 21356 w 123297"/>
                  <a:gd name="connsiteY2" fmla="*/ 50669 h 99482"/>
                  <a:gd name="connsiteX3" fmla="*/ 0 w 123297"/>
                  <a:gd name="connsiteY3" fmla="*/ 17110 h 99482"/>
                  <a:gd name="connsiteX4" fmla="*/ 9153 w 123297"/>
                  <a:gd name="connsiteY4" fmla="*/ 1856 h 99482"/>
                  <a:gd name="connsiteX5" fmla="*/ 48814 w 123297"/>
                  <a:gd name="connsiteY5" fmla="*/ 26262 h 99482"/>
                  <a:gd name="connsiteX6" fmla="*/ 118983 w 123297"/>
                  <a:gd name="connsiteY6" fmla="*/ 78127 h 99482"/>
                  <a:gd name="connsiteX7" fmla="*/ 122034 w 123297"/>
                  <a:gd name="connsiteY7" fmla="*/ 84228 h 99482"/>
                  <a:gd name="connsiteX8" fmla="*/ 115933 w 123297"/>
                  <a:gd name="connsiteY8" fmla="*/ 87279 h 99482"/>
                  <a:gd name="connsiteX9" fmla="*/ 39662 w 123297"/>
                  <a:gd name="connsiteY9" fmla="*/ 35415 h 99482"/>
                  <a:gd name="connsiteX10" fmla="*/ 12203 w 123297"/>
                  <a:gd name="connsiteY10" fmla="*/ 14059 h 99482"/>
                  <a:gd name="connsiteX11" fmla="*/ 9153 w 123297"/>
                  <a:gd name="connsiteY11" fmla="*/ 20161 h 99482"/>
                  <a:gd name="connsiteX12" fmla="*/ 27457 w 123297"/>
                  <a:gd name="connsiteY12" fmla="*/ 44567 h 99482"/>
                  <a:gd name="connsiteX13" fmla="*/ 94576 w 123297"/>
                  <a:gd name="connsiteY13" fmla="*/ 90330 h 99482"/>
                  <a:gd name="connsiteX14" fmla="*/ 97627 w 123297"/>
                  <a:gd name="connsiteY14" fmla="*/ 99483 h 99482"/>
                  <a:gd name="connsiteX15" fmla="*/ 91525 w 123297"/>
                  <a:gd name="connsiteY15" fmla="*/ 99483 h 99482"/>
                  <a:gd name="connsiteX16" fmla="*/ 15254 w 123297"/>
                  <a:gd name="connsiteY16" fmla="*/ 11008 h 99482"/>
                  <a:gd name="connsiteX17" fmla="*/ 15254 w 123297"/>
                  <a:gd name="connsiteY17" fmla="*/ 11008 h 99482"/>
                  <a:gd name="connsiteX18" fmla="*/ 15254 w 123297"/>
                  <a:gd name="connsiteY18" fmla="*/ 11008 h 99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297" h="99482">
                    <a:moveTo>
                      <a:pt x="91525" y="99483"/>
                    </a:moveTo>
                    <a:cubicBezTo>
                      <a:pt x="91525" y="99483"/>
                      <a:pt x="88474" y="99483"/>
                      <a:pt x="88474" y="99483"/>
                    </a:cubicBezTo>
                    <a:cubicBezTo>
                      <a:pt x="85424" y="99483"/>
                      <a:pt x="36611" y="68974"/>
                      <a:pt x="21356" y="50669"/>
                    </a:cubicBezTo>
                    <a:cubicBezTo>
                      <a:pt x="6102" y="35415"/>
                      <a:pt x="0" y="26262"/>
                      <a:pt x="0" y="17110"/>
                    </a:cubicBezTo>
                    <a:cubicBezTo>
                      <a:pt x="0" y="11008"/>
                      <a:pt x="3051" y="4907"/>
                      <a:pt x="9153" y="1856"/>
                    </a:cubicBezTo>
                    <a:cubicBezTo>
                      <a:pt x="15254" y="-4246"/>
                      <a:pt x="24407" y="4907"/>
                      <a:pt x="48814" y="26262"/>
                    </a:cubicBezTo>
                    <a:cubicBezTo>
                      <a:pt x="70170" y="44567"/>
                      <a:pt x="100679" y="72025"/>
                      <a:pt x="118983" y="78127"/>
                    </a:cubicBezTo>
                    <a:cubicBezTo>
                      <a:pt x="122034" y="78127"/>
                      <a:pt x="125085" y="81178"/>
                      <a:pt x="122034" y="84228"/>
                    </a:cubicBezTo>
                    <a:cubicBezTo>
                      <a:pt x="122034" y="87279"/>
                      <a:pt x="118983" y="90330"/>
                      <a:pt x="115933" y="87279"/>
                    </a:cubicBezTo>
                    <a:cubicBezTo>
                      <a:pt x="94576" y="81178"/>
                      <a:pt x="64068" y="56771"/>
                      <a:pt x="39662" y="35415"/>
                    </a:cubicBezTo>
                    <a:cubicBezTo>
                      <a:pt x="30508" y="26262"/>
                      <a:pt x="18305" y="17110"/>
                      <a:pt x="12203" y="14059"/>
                    </a:cubicBezTo>
                    <a:cubicBezTo>
                      <a:pt x="9153" y="17110"/>
                      <a:pt x="9153" y="17110"/>
                      <a:pt x="9153" y="20161"/>
                    </a:cubicBezTo>
                    <a:cubicBezTo>
                      <a:pt x="9153" y="26262"/>
                      <a:pt x="21356" y="38466"/>
                      <a:pt x="27457" y="44567"/>
                    </a:cubicBezTo>
                    <a:cubicBezTo>
                      <a:pt x="42712" y="59822"/>
                      <a:pt x="94576" y="90330"/>
                      <a:pt x="94576" y="90330"/>
                    </a:cubicBezTo>
                    <a:cubicBezTo>
                      <a:pt x="97627" y="93381"/>
                      <a:pt x="97627" y="96432"/>
                      <a:pt x="97627" y="99483"/>
                    </a:cubicBezTo>
                    <a:cubicBezTo>
                      <a:pt x="97627" y="99483"/>
                      <a:pt x="94576" y="99483"/>
                      <a:pt x="91525" y="99483"/>
                    </a:cubicBezTo>
                    <a:close/>
                    <a:moveTo>
                      <a:pt x="15254" y="11008"/>
                    </a:moveTo>
                    <a:cubicBezTo>
                      <a:pt x="15254" y="11008"/>
                      <a:pt x="15254" y="11008"/>
                      <a:pt x="15254" y="11008"/>
                    </a:cubicBezTo>
                    <a:cubicBezTo>
                      <a:pt x="15254" y="11008"/>
                      <a:pt x="15254" y="11008"/>
                      <a:pt x="15254" y="1100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CFCDEFE9-7CC5-44F6-B239-ADE466FE2770}"/>
                  </a:ext>
                </a:extLst>
              </p:cNvPr>
              <p:cNvSpPr/>
              <p:nvPr/>
            </p:nvSpPr>
            <p:spPr>
              <a:xfrm>
                <a:off x="15441988" y="9370193"/>
                <a:ext cx="159406" cy="61016"/>
              </a:xfrm>
              <a:custGeom>
                <a:avLst/>
                <a:gdLst>
                  <a:gd name="connsiteX0" fmla="*/ 125848 w 159406"/>
                  <a:gd name="connsiteY0" fmla="*/ 61017 h 61016"/>
                  <a:gd name="connsiteX1" fmla="*/ 116695 w 159406"/>
                  <a:gd name="connsiteY1" fmla="*/ 61017 h 61016"/>
                  <a:gd name="connsiteX2" fmla="*/ 52627 w 159406"/>
                  <a:gd name="connsiteY2" fmla="*/ 27457 h 61016"/>
                  <a:gd name="connsiteX3" fmla="*/ 22118 w 159406"/>
                  <a:gd name="connsiteY3" fmla="*/ 12203 h 61016"/>
                  <a:gd name="connsiteX4" fmla="*/ 22118 w 159406"/>
                  <a:gd name="connsiteY4" fmla="*/ 12203 h 61016"/>
                  <a:gd name="connsiteX5" fmla="*/ 9915 w 159406"/>
                  <a:gd name="connsiteY5" fmla="*/ 15254 h 61016"/>
                  <a:gd name="connsiteX6" fmla="*/ 9915 w 159406"/>
                  <a:gd name="connsiteY6" fmla="*/ 21356 h 61016"/>
                  <a:gd name="connsiteX7" fmla="*/ 6864 w 159406"/>
                  <a:gd name="connsiteY7" fmla="*/ 27457 h 61016"/>
                  <a:gd name="connsiteX8" fmla="*/ 763 w 159406"/>
                  <a:gd name="connsiteY8" fmla="*/ 24407 h 61016"/>
                  <a:gd name="connsiteX9" fmla="*/ 3814 w 159406"/>
                  <a:gd name="connsiteY9" fmla="*/ 9153 h 61016"/>
                  <a:gd name="connsiteX10" fmla="*/ 25169 w 159406"/>
                  <a:gd name="connsiteY10" fmla="*/ 0 h 61016"/>
                  <a:gd name="connsiteX11" fmla="*/ 25169 w 159406"/>
                  <a:gd name="connsiteY11" fmla="*/ 0 h 61016"/>
                  <a:gd name="connsiteX12" fmla="*/ 64831 w 159406"/>
                  <a:gd name="connsiteY12" fmla="*/ 18305 h 61016"/>
                  <a:gd name="connsiteX13" fmla="*/ 122797 w 159406"/>
                  <a:gd name="connsiteY13" fmla="*/ 48814 h 61016"/>
                  <a:gd name="connsiteX14" fmla="*/ 153305 w 159406"/>
                  <a:gd name="connsiteY14" fmla="*/ 45763 h 61016"/>
                  <a:gd name="connsiteX15" fmla="*/ 159406 w 159406"/>
                  <a:gd name="connsiteY15" fmla="*/ 48814 h 61016"/>
                  <a:gd name="connsiteX16" fmla="*/ 156356 w 159406"/>
                  <a:gd name="connsiteY16" fmla="*/ 54915 h 61016"/>
                  <a:gd name="connsiteX17" fmla="*/ 125848 w 159406"/>
                  <a:gd name="connsiteY17" fmla="*/ 61017 h 61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9406" h="61016">
                    <a:moveTo>
                      <a:pt x="125848" y="61017"/>
                    </a:moveTo>
                    <a:cubicBezTo>
                      <a:pt x="122797" y="61017"/>
                      <a:pt x="119746" y="61017"/>
                      <a:pt x="116695" y="61017"/>
                    </a:cubicBezTo>
                    <a:cubicBezTo>
                      <a:pt x="89237" y="54915"/>
                      <a:pt x="70932" y="39661"/>
                      <a:pt x="52627" y="27457"/>
                    </a:cubicBezTo>
                    <a:cubicBezTo>
                      <a:pt x="40423" y="18305"/>
                      <a:pt x="28220" y="12203"/>
                      <a:pt x="22118" y="12203"/>
                    </a:cubicBezTo>
                    <a:cubicBezTo>
                      <a:pt x="22118" y="12203"/>
                      <a:pt x="22118" y="12203"/>
                      <a:pt x="22118" y="12203"/>
                    </a:cubicBezTo>
                    <a:cubicBezTo>
                      <a:pt x="16017" y="12203"/>
                      <a:pt x="12966" y="12203"/>
                      <a:pt x="9915" y="15254"/>
                    </a:cubicBezTo>
                    <a:cubicBezTo>
                      <a:pt x="6864" y="18305"/>
                      <a:pt x="9915" y="21356"/>
                      <a:pt x="9915" y="21356"/>
                    </a:cubicBezTo>
                    <a:cubicBezTo>
                      <a:pt x="9915" y="24407"/>
                      <a:pt x="9915" y="27457"/>
                      <a:pt x="6864" y="27457"/>
                    </a:cubicBezTo>
                    <a:cubicBezTo>
                      <a:pt x="3814" y="27457"/>
                      <a:pt x="763" y="27457"/>
                      <a:pt x="763" y="24407"/>
                    </a:cubicBezTo>
                    <a:cubicBezTo>
                      <a:pt x="763" y="24407"/>
                      <a:pt x="-2288" y="15254"/>
                      <a:pt x="3814" y="9153"/>
                    </a:cubicBezTo>
                    <a:cubicBezTo>
                      <a:pt x="6864" y="3051"/>
                      <a:pt x="16017" y="0"/>
                      <a:pt x="25169" y="0"/>
                    </a:cubicBezTo>
                    <a:cubicBezTo>
                      <a:pt x="25169" y="0"/>
                      <a:pt x="25169" y="0"/>
                      <a:pt x="25169" y="0"/>
                    </a:cubicBezTo>
                    <a:cubicBezTo>
                      <a:pt x="37372" y="0"/>
                      <a:pt x="49577" y="9153"/>
                      <a:pt x="64831" y="18305"/>
                    </a:cubicBezTo>
                    <a:cubicBezTo>
                      <a:pt x="80085" y="30508"/>
                      <a:pt x="98389" y="42712"/>
                      <a:pt x="122797" y="48814"/>
                    </a:cubicBezTo>
                    <a:cubicBezTo>
                      <a:pt x="131949" y="51864"/>
                      <a:pt x="147203" y="45763"/>
                      <a:pt x="153305" y="45763"/>
                    </a:cubicBezTo>
                    <a:cubicBezTo>
                      <a:pt x="156356" y="45763"/>
                      <a:pt x="159406" y="45763"/>
                      <a:pt x="159406" y="48814"/>
                    </a:cubicBezTo>
                    <a:cubicBezTo>
                      <a:pt x="159406" y="51864"/>
                      <a:pt x="159406" y="54915"/>
                      <a:pt x="156356" y="54915"/>
                    </a:cubicBezTo>
                    <a:cubicBezTo>
                      <a:pt x="153305" y="57966"/>
                      <a:pt x="138051" y="61017"/>
                      <a:pt x="125848" y="6101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CF9B9309-16F2-41BB-8286-2D0B69B5F11B}"/>
                </a:ext>
              </a:extLst>
            </p:cNvPr>
            <p:cNvSpPr/>
            <p:nvPr/>
          </p:nvSpPr>
          <p:spPr>
            <a:xfrm>
              <a:off x="15515970" y="9336634"/>
              <a:ext cx="152542" cy="91525"/>
            </a:xfrm>
            <a:custGeom>
              <a:avLst/>
              <a:gdLst>
                <a:gd name="connsiteX0" fmla="*/ 76271 w 152542"/>
                <a:gd name="connsiteY0" fmla="*/ 91525 h 91525"/>
                <a:gd name="connsiteX1" fmla="*/ 70169 w 152542"/>
                <a:gd name="connsiteY1" fmla="*/ 88475 h 91525"/>
                <a:gd name="connsiteX2" fmla="*/ 61017 w 152542"/>
                <a:gd name="connsiteY2" fmla="*/ 73221 h 91525"/>
                <a:gd name="connsiteX3" fmla="*/ 45763 w 152542"/>
                <a:gd name="connsiteY3" fmla="*/ 51865 h 91525"/>
                <a:gd name="connsiteX4" fmla="*/ 30508 w 152542"/>
                <a:gd name="connsiteY4" fmla="*/ 48814 h 91525"/>
                <a:gd name="connsiteX5" fmla="*/ 0 w 152542"/>
                <a:gd name="connsiteY5" fmla="*/ 33560 h 91525"/>
                <a:gd name="connsiteX6" fmla="*/ 3051 w 152542"/>
                <a:gd name="connsiteY6" fmla="*/ 15254 h 91525"/>
                <a:gd name="connsiteX7" fmla="*/ 61017 w 152542"/>
                <a:gd name="connsiteY7" fmla="*/ 0 h 91525"/>
                <a:gd name="connsiteX8" fmla="*/ 149491 w 152542"/>
                <a:gd name="connsiteY8" fmla="*/ 45763 h 91525"/>
                <a:gd name="connsiteX9" fmla="*/ 152542 w 152542"/>
                <a:gd name="connsiteY9" fmla="*/ 54915 h 91525"/>
                <a:gd name="connsiteX10" fmla="*/ 143390 w 152542"/>
                <a:gd name="connsiteY10" fmla="*/ 57966 h 91525"/>
                <a:gd name="connsiteX11" fmla="*/ 57966 w 152542"/>
                <a:gd name="connsiteY11" fmla="*/ 15254 h 91525"/>
                <a:gd name="connsiteX12" fmla="*/ 9152 w 152542"/>
                <a:gd name="connsiteY12" fmla="*/ 24407 h 91525"/>
                <a:gd name="connsiteX13" fmla="*/ 6102 w 152542"/>
                <a:gd name="connsiteY13" fmla="*/ 30508 h 91525"/>
                <a:gd name="connsiteX14" fmla="*/ 27457 w 152542"/>
                <a:gd name="connsiteY14" fmla="*/ 36611 h 91525"/>
                <a:gd name="connsiteX15" fmla="*/ 45763 w 152542"/>
                <a:gd name="connsiteY15" fmla="*/ 39661 h 91525"/>
                <a:gd name="connsiteX16" fmla="*/ 67119 w 152542"/>
                <a:gd name="connsiteY16" fmla="*/ 67119 h 91525"/>
                <a:gd name="connsiteX17" fmla="*/ 73220 w 152542"/>
                <a:gd name="connsiteY17" fmla="*/ 82373 h 91525"/>
                <a:gd name="connsiteX18" fmla="*/ 73220 w 152542"/>
                <a:gd name="connsiteY18" fmla="*/ 91525 h 91525"/>
                <a:gd name="connsiteX19" fmla="*/ 76271 w 152542"/>
                <a:gd name="connsiteY19" fmla="*/ 91525 h 9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2542" h="91525">
                  <a:moveTo>
                    <a:pt x="76271" y="91525"/>
                  </a:moveTo>
                  <a:cubicBezTo>
                    <a:pt x="73220" y="91525"/>
                    <a:pt x="73220" y="91525"/>
                    <a:pt x="70169" y="88475"/>
                  </a:cubicBezTo>
                  <a:cubicBezTo>
                    <a:pt x="67119" y="82373"/>
                    <a:pt x="64068" y="79322"/>
                    <a:pt x="61017" y="73221"/>
                  </a:cubicBezTo>
                  <a:cubicBezTo>
                    <a:pt x="57966" y="64068"/>
                    <a:pt x="51865" y="54915"/>
                    <a:pt x="45763" y="51865"/>
                  </a:cubicBezTo>
                  <a:cubicBezTo>
                    <a:pt x="42712" y="48814"/>
                    <a:pt x="36611" y="48814"/>
                    <a:pt x="30508" y="48814"/>
                  </a:cubicBezTo>
                  <a:cubicBezTo>
                    <a:pt x="15254" y="45763"/>
                    <a:pt x="3051" y="45763"/>
                    <a:pt x="0" y="33560"/>
                  </a:cubicBezTo>
                  <a:cubicBezTo>
                    <a:pt x="0" y="27458"/>
                    <a:pt x="0" y="21356"/>
                    <a:pt x="3051" y="15254"/>
                  </a:cubicBezTo>
                  <a:cubicBezTo>
                    <a:pt x="15254" y="3051"/>
                    <a:pt x="45763" y="0"/>
                    <a:pt x="61017" y="0"/>
                  </a:cubicBezTo>
                  <a:cubicBezTo>
                    <a:pt x="82373" y="3051"/>
                    <a:pt x="143390" y="39661"/>
                    <a:pt x="149491" y="45763"/>
                  </a:cubicBezTo>
                  <a:cubicBezTo>
                    <a:pt x="152542" y="48814"/>
                    <a:pt x="152542" y="51865"/>
                    <a:pt x="152542" y="54915"/>
                  </a:cubicBezTo>
                  <a:cubicBezTo>
                    <a:pt x="149491" y="57966"/>
                    <a:pt x="146440" y="57966"/>
                    <a:pt x="143390" y="57966"/>
                  </a:cubicBezTo>
                  <a:cubicBezTo>
                    <a:pt x="125085" y="45763"/>
                    <a:pt x="76271" y="15254"/>
                    <a:pt x="57966" y="15254"/>
                  </a:cubicBezTo>
                  <a:cubicBezTo>
                    <a:pt x="39661" y="12204"/>
                    <a:pt x="15254" y="18305"/>
                    <a:pt x="9152" y="24407"/>
                  </a:cubicBezTo>
                  <a:cubicBezTo>
                    <a:pt x="6102" y="27458"/>
                    <a:pt x="6102" y="27458"/>
                    <a:pt x="6102" y="30508"/>
                  </a:cubicBezTo>
                  <a:cubicBezTo>
                    <a:pt x="6102" y="33560"/>
                    <a:pt x="21356" y="36611"/>
                    <a:pt x="27457" y="36611"/>
                  </a:cubicBezTo>
                  <a:cubicBezTo>
                    <a:pt x="33560" y="36611"/>
                    <a:pt x="42712" y="39661"/>
                    <a:pt x="45763" y="39661"/>
                  </a:cubicBezTo>
                  <a:cubicBezTo>
                    <a:pt x="54915" y="42712"/>
                    <a:pt x="61017" y="54915"/>
                    <a:pt x="67119" y="67119"/>
                  </a:cubicBezTo>
                  <a:cubicBezTo>
                    <a:pt x="70169" y="73221"/>
                    <a:pt x="73220" y="76271"/>
                    <a:pt x="73220" y="82373"/>
                  </a:cubicBezTo>
                  <a:cubicBezTo>
                    <a:pt x="76271" y="85424"/>
                    <a:pt x="73220" y="88475"/>
                    <a:pt x="73220" y="91525"/>
                  </a:cubicBezTo>
                  <a:cubicBezTo>
                    <a:pt x="79322" y="91525"/>
                    <a:pt x="79322" y="91525"/>
                    <a:pt x="76271" y="91525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331079463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8667964D-4B55-4589-BEB6-56BEF27445CE}"/>
              </a:ext>
            </a:extLst>
          </p:cNvPr>
          <p:cNvGrpSpPr/>
          <p:nvPr/>
        </p:nvGrpSpPr>
        <p:grpSpPr>
          <a:xfrm>
            <a:off x="2191530" y="2027058"/>
            <a:ext cx="7808939" cy="4832309"/>
            <a:chOff x="10403692" y="-1578102"/>
            <a:chExt cx="7808939" cy="4832309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40194F40-01D1-4A2E-9406-0E63039B12CE}"/>
                </a:ext>
              </a:extLst>
            </p:cNvPr>
            <p:cNvGrpSpPr/>
            <p:nvPr/>
          </p:nvGrpSpPr>
          <p:grpSpPr>
            <a:xfrm>
              <a:off x="12414937" y="2673103"/>
              <a:ext cx="431871" cy="581103"/>
              <a:chOff x="12414937" y="2673103"/>
              <a:chExt cx="431871" cy="581103"/>
            </a:xfrm>
          </p:grpSpPr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864323BB-C35C-4CF9-BD24-725AE8A58B22}"/>
                  </a:ext>
                </a:extLst>
              </p:cNvPr>
              <p:cNvSpPr/>
              <p:nvPr/>
            </p:nvSpPr>
            <p:spPr>
              <a:xfrm>
                <a:off x="12505230" y="2673103"/>
                <a:ext cx="230769" cy="276923"/>
              </a:xfrm>
              <a:custGeom>
                <a:avLst/>
                <a:gdLst>
                  <a:gd name="connsiteX0" fmla="*/ 12308 w 230769"/>
                  <a:gd name="connsiteY0" fmla="*/ 172308 h 276923"/>
                  <a:gd name="connsiteX1" fmla="*/ 80001 w 230769"/>
                  <a:gd name="connsiteY1" fmla="*/ 0 h 276923"/>
                  <a:gd name="connsiteX2" fmla="*/ 230769 w 230769"/>
                  <a:gd name="connsiteY2" fmla="*/ 107692 h 276923"/>
                  <a:gd name="connsiteX3" fmla="*/ 141540 w 230769"/>
                  <a:gd name="connsiteY3" fmla="*/ 276923 h 276923"/>
                  <a:gd name="connsiteX4" fmla="*/ 0 w 230769"/>
                  <a:gd name="connsiteY4" fmla="*/ 209231 h 27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0769" h="276923">
                    <a:moveTo>
                      <a:pt x="12308" y="172308"/>
                    </a:moveTo>
                    <a:lnTo>
                      <a:pt x="80001" y="0"/>
                    </a:lnTo>
                    <a:lnTo>
                      <a:pt x="230769" y="107692"/>
                    </a:lnTo>
                    <a:lnTo>
                      <a:pt x="141540" y="276923"/>
                    </a:lnTo>
                    <a:lnTo>
                      <a:pt x="0" y="209231"/>
                    </a:ln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D93B0318-1AB0-4825-B30F-5A8537CFAE97}"/>
                  </a:ext>
                </a:extLst>
              </p:cNvPr>
              <p:cNvSpPr/>
              <p:nvPr/>
            </p:nvSpPr>
            <p:spPr>
              <a:xfrm>
                <a:off x="12440616" y="2836180"/>
                <a:ext cx="406192" cy="378461"/>
              </a:xfrm>
              <a:custGeom>
                <a:avLst/>
                <a:gdLst>
                  <a:gd name="connsiteX0" fmla="*/ 64615 w 406192"/>
                  <a:gd name="connsiteY0" fmla="*/ 0 h 378461"/>
                  <a:gd name="connsiteX1" fmla="*/ 246154 w 406192"/>
                  <a:gd name="connsiteY1" fmla="*/ 70769 h 378461"/>
                  <a:gd name="connsiteX2" fmla="*/ 307692 w 406192"/>
                  <a:gd name="connsiteY2" fmla="*/ 215385 h 378461"/>
                  <a:gd name="connsiteX3" fmla="*/ 400000 w 406192"/>
                  <a:gd name="connsiteY3" fmla="*/ 378462 h 378461"/>
                  <a:gd name="connsiteX4" fmla="*/ 0 w 406192"/>
                  <a:gd name="connsiteY4" fmla="*/ 92308 h 378461"/>
                  <a:gd name="connsiteX5" fmla="*/ 64615 w 406192"/>
                  <a:gd name="connsiteY5" fmla="*/ 0 h 37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6192" h="378461">
                    <a:moveTo>
                      <a:pt x="64615" y="0"/>
                    </a:moveTo>
                    <a:cubicBezTo>
                      <a:pt x="64615" y="0"/>
                      <a:pt x="156922" y="89231"/>
                      <a:pt x="246154" y="70769"/>
                    </a:cubicBezTo>
                    <a:cubicBezTo>
                      <a:pt x="246154" y="70769"/>
                      <a:pt x="276923" y="181539"/>
                      <a:pt x="307692" y="215385"/>
                    </a:cubicBezTo>
                    <a:cubicBezTo>
                      <a:pt x="338462" y="249231"/>
                      <a:pt x="430769" y="313846"/>
                      <a:pt x="400000" y="378462"/>
                    </a:cubicBezTo>
                    <a:lnTo>
                      <a:pt x="0" y="92308"/>
                    </a:lnTo>
                    <a:cubicBezTo>
                      <a:pt x="0" y="92308"/>
                      <a:pt x="21539" y="30769"/>
                      <a:pt x="64615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F5C95E3E-0CE4-4676-BB1B-4722A2F60F4D}"/>
                  </a:ext>
                </a:extLst>
              </p:cNvPr>
              <p:cNvSpPr/>
              <p:nvPr/>
            </p:nvSpPr>
            <p:spPr>
              <a:xfrm rot="-3268738">
                <a:off x="12605612" y="2846255"/>
                <a:ext cx="46153" cy="492306"/>
              </a:xfrm>
              <a:custGeom>
                <a:avLst/>
                <a:gdLst>
                  <a:gd name="connsiteX0" fmla="*/ 0 w 46153"/>
                  <a:gd name="connsiteY0" fmla="*/ 0 h 492306"/>
                  <a:gd name="connsiteX1" fmla="*/ 46154 w 46153"/>
                  <a:gd name="connsiteY1" fmla="*/ 0 h 492306"/>
                  <a:gd name="connsiteX2" fmla="*/ 46154 w 46153"/>
                  <a:gd name="connsiteY2" fmla="*/ 492306 h 492306"/>
                  <a:gd name="connsiteX3" fmla="*/ 0 w 46153"/>
                  <a:gd name="connsiteY3" fmla="*/ 492306 h 492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153" h="492306">
                    <a:moveTo>
                      <a:pt x="0" y="0"/>
                    </a:moveTo>
                    <a:lnTo>
                      <a:pt x="46154" y="0"/>
                    </a:lnTo>
                    <a:lnTo>
                      <a:pt x="46154" y="492306"/>
                    </a:lnTo>
                    <a:lnTo>
                      <a:pt x="0" y="492306"/>
                    </a:ln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C6DDDA3F-0CD6-4CE9-872D-2BE736879375}"/>
                  </a:ext>
                </a:extLst>
              </p:cNvPr>
              <p:cNvSpPr/>
              <p:nvPr/>
            </p:nvSpPr>
            <p:spPr>
              <a:xfrm>
                <a:off x="12499846" y="2827718"/>
                <a:ext cx="193078" cy="85384"/>
              </a:xfrm>
              <a:custGeom>
                <a:avLst/>
                <a:gdLst>
                  <a:gd name="connsiteX0" fmla="*/ 168461 w 193078"/>
                  <a:gd name="connsiteY0" fmla="*/ 85385 h 85384"/>
                  <a:gd name="connsiteX1" fmla="*/ 2309 w 193078"/>
                  <a:gd name="connsiteY1" fmla="*/ 11539 h 85384"/>
                  <a:gd name="connsiteX2" fmla="*/ 2309 w 193078"/>
                  <a:gd name="connsiteY2" fmla="*/ 2308 h 85384"/>
                  <a:gd name="connsiteX3" fmla="*/ 11539 w 193078"/>
                  <a:gd name="connsiteY3" fmla="*/ 2308 h 85384"/>
                  <a:gd name="connsiteX4" fmla="*/ 186924 w 193078"/>
                  <a:gd name="connsiteY4" fmla="*/ 70000 h 85384"/>
                  <a:gd name="connsiteX5" fmla="*/ 193078 w 193078"/>
                  <a:gd name="connsiteY5" fmla="*/ 76154 h 85384"/>
                  <a:gd name="connsiteX6" fmla="*/ 186924 w 193078"/>
                  <a:gd name="connsiteY6" fmla="*/ 82308 h 85384"/>
                  <a:gd name="connsiteX7" fmla="*/ 168461 w 193078"/>
                  <a:gd name="connsiteY7" fmla="*/ 85385 h 8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3078" h="85384">
                    <a:moveTo>
                      <a:pt x="168461" y="85385"/>
                    </a:moveTo>
                    <a:cubicBezTo>
                      <a:pt x="79232" y="85385"/>
                      <a:pt x="5385" y="14615"/>
                      <a:pt x="2309" y="11539"/>
                    </a:cubicBezTo>
                    <a:cubicBezTo>
                      <a:pt x="-770" y="8462"/>
                      <a:pt x="-770" y="5385"/>
                      <a:pt x="2309" y="2308"/>
                    </a:cubicBezTo>
                    <a:cubicBezTo>
                      <a:pt x="5385" y="-769"/>
                      <a:pt x="8463" y="-769"/>
                      <a:pt x="11539" y="2308"/>
                    </a:cubicBezTo>
                    <a:cubicBezTo>
                      <a:pt x="11539" y="2308"/>
                      <a:pt x="94616" y="82308"/>
                      <a:pt x="186924" y="70000"/>
                    </a:cubicBezTo>
                    <a:cubicBezTo>
                      <a:pt x="190000" y="70000"/>
                      <a:pt x="193078" y="73077"/>
                      <a:pt x="193078" y="76154"/>
                    </a:cubicBezTo>
                    <a:cubicBezTo>
                      <a:pt x="193078" y="79231"/>
                      <a:pt x="190000" y="82308"/>
                      <a:pt x="186924" y="82308"/>
                    </a:cubicBezTo>
                    <a:cubicBezTo>
                      <a:pt x="180770" y="85385"/>
                      <a:pt x="174616" y="85385"/>
                      <a:pt x="168461" y="8538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42DF14D2-DB5F-4B39-817C-07A49C249CC7}"/>
                  </a:ext>
                </a:extLst>
              </p:cNvPr>
              <p:cNvSpPr/>
              <p:nvPr/>
            </p:nvSpPr>
            <p:spPr>
              <a:xfrm>
                <a:off x="12656000" y="2943872"/>
                <a:ext cx="46153" cy="18461"/>
              </a:xfrm>
              <a:custGeom>
                <a:avLst/>
                <a:gdLst>
                  <a:gd name="connsiteX0" fmla="*/ 6154 w 46153"/>
                  <a:gd name="connsiteY0" fmla="*/ 18462 h 18461"/>
                  <a:gd name="connsiteX1" fmla="*/ 0 w 46153"/>
                  <a:gd name="connsiteY1" fmla="*/ 12308 h 18461"/>
                  <a:gd name="connsiteX2" fmla="*/ 3076 w 46153"/>
                  <a:gd name="connsiteY2" fmla="*/ 6154 h 18461"/>
                  <a:gd name="connsiteX3" fmla="*/ 40000 w 46153"/>
                  <a:gd name="connsiteY3" fmla="*/ 0 h 18461"/>
                  <a:gd name="connsiteX4" fmla="*/ 46154 w 46153"/>
                  <a:gd name="connsiteY4" fmla="*/ 3077 h 18461"/>
                  <a:gd name="connsiteX5" fmla="*/ 43076 w 46153"/>
                  <a:gd name="connsiteY5" fmla="*/ 9231 h 18461"/>
                  <a:gd name="connsiteX6" fmla="*/ 6154 w 46153"/>
                  <a:gd name="connsiteY6" fmla="*/ 18462 h 18461"/>
                  <a:gd name="connsiteX7" fmla="*/ 6154 w 46153"/>
                  <a:gd name="connsiteY7" fmla="*/ 18462 h 1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153" h="18461">
                    <a:moveTo>
                      <a:pt x="6154" y="18462"/>
                    </a:moveTo>
                    <a:cubicBezTo>
                      <a:pt x="3076" y="18462"/>
                      <a:pt x="0" y="15385"/>
                      <a:pt x="0" y="12308"/>
                    </a:cubicBezTo>
                    <a:cubicBezTo>
                      <a:pt x="0" y="9231"/>
                      <a:pt x="0" y="6154"/>
                      <a:pt x="3076" y="6154"/>
                    </a:cubicBezTo>
                    <a:lnTo>
                      <a:pt x="40000" y="0"/>
                    </a:lnTo>
                    <a:cubicBezTo>
                      <a:pt x="43076" y="0"/>
                      <a:pt x="46154" y="0"/>
                      <a:pt x="46154" y="3077"/>
                    </a:cubicBezTo>
                    <a:cubicBezTo>
                      <a:pt x="46154" y="6154"/>
                      <a:pt x="46154" y="9231"/>
                      <a:pt x="43076" y="9231"/>
                    </a:cubicBezTo>
                    <a:lnTo>
                      <a:pt x="6154" y="18462"/>
                    </a:lnTo>
                    <a:cubicBezTo>
                      <a:pt x="6154" y="18462"/>
                      <a:pt x="6154" y="18462"/>
                      <a:pt x="6154" y="1846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1B1BCED9-3CA4-4138-82F4-8A24FCD6385F}"/>
                  </a:ext>
                </a:extLst>
              </p:cNvPr>
              <p:cNvSpPr/>
              <p:nvPr/>
            </p:nvSpPr>
            <p:spPr>
              <a:xfrm>
                <a:off x="12671385" y="2986949"/>
                <a:ext cx="46153" cy="18461"/>
              </a:xfrm>
              <a:custGeom>
                <a:avLst/>
                <a:gdLst>
                  <a:gd name="connsiteX0" fmla="*/ 6154 w 46153"/>
                  <a:gd name="connsiteY0" fmla="*/ 18461 h 18461"/>
                  <a:gd name="connsiteX1" fmla="*/ 0 w 46153"/>
                  <a:gd name="connsiteY1" fmla="*/ 12308 h 18461"/>
                  <a:gd name="connsiteX2" fmla="*/ 3076 w 46153"/>
                  <a:gd name="connsiteY2" fmla="*/ 6154 h 18461"/>
                  <a:gd name="connsiteX3" fmla="*/ 40000 w 46153"/>
                  <a:gd name="connsiteY3" fmla="*/ 0 h 18461"/>
                  <a:gd name="connsiteX4" fmla="*/ 46154 w 46153"/>
                  <a:gd name="connsiteY4" fmla="*/ 3077 h 18461"/>
                  <a:gd name="connsiteX5" fmla="*/ 43076 w 46153"/>
                  <a:gd name="connsiteY5" fmla="*/ 9230 h 18461"/>
                  <a:gd name="connsiteX6" fmla="*/ 6154 w 46153"/>
                  <a:gd name="connsiteY6" fmla="*/ 18461 h 18461"/>
                  <a:gd name="connsiteX7" fmla="*/ 6154 w 46153"/>
                  <a:gd name="connsiteY7" fmla="*/ 18461 h 1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153" h="18461">
                    <a:moveTo>
                      <a:pt x="6154" y="18461"/>
                    </a:moveTo>
                    <a:cubicBezTo>
                      <a:pt x="3076" y="18461"/>
                      <a:pt x="0" y="15385"/>
                      <a:pt x="0" y="12308"/>
                    </a:cubicBezTo>
                    <a:cubicBezTo>
                      <a:pt x="0" y="9230"/>
                      <a:pt x="0" y="6154"/>
                      <a:pt x="3076" y="6154"/>
                    </a:cubicBezTo>
                    <a:lnTo>
                      <a:pt x="40000" y="0"/>
                    </a:lnTo>
                    <a:cubicBezTo>
                      <a:pt x="43076" y="0"/>
                      <a:pt x="46154" y="0"/>
                      <a:pt x="46154" y="3077"/>
                    </a:cubicBezTo>
                    <a:cubicBezTo>
                      <a:pt x="46154" y="6154"/>
                      <a:pt x="46154" y="9230"/>
                      <a:pt x="43076" y="9230"/>
                    </a:cubicBezTo>
                    <a:lnTo>
                      <a:pt x="6154" y="18461"/>
                    </a:lnTo>
                    <a:cubicBezTo>
                      <a:pt x="6154" y="18461"/>
                      <a:pt x="6154" y="18461"/>
                      <a:pt x="6154" y="1846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972C7712-A017-482F-8B8F-A1335AD81ECA}"/>
                </a:ext>
              </a:extLst>
            </p:cNvPr>
            <p:cNvGrpSpPr/>
            <p:nvPr/>
          </p:nvGrpSpPr>
          <p:grpSpPr>
            <a:xfrm>
              <a:off x="11884718" y="2894642"/>
              <a:ext cx="500513" cy="344615"/>
              <a:chOff x="11884718" y="2894642"/>
              <a:chExt cx="500513" cy="344615"/>
            </a:xfrm>
          </p:grpSpPr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E984951C-DFAC-4281-8A47-E34DED699437}"/>
                  </a:ext>
                </a:extLst>
              </p:cNvPr>
              <p:cNvSpPr/>
              <p:nvPr/>
            </p:nvSpPr>
            <p:spPr>
              <a:xfrm>
                <a:off x="11905230" y="2894642"/>
                <a:ext cx="184615" cy="224615"/>
              </a:xfrm>
              <a:custGeom>
                <a:avLst/>
                <a:gdLst>
                  <a:gd name="connsiteX0" fmla="*/ 3078 w 184615"/>
                  <a:gd name="connsiteY0" fmla="*/ 184615 h 224615"/>
                  <a:gd name="connsiteX1" fmla="*/ 0 w 184615"/>
                  <a:gd name="connsiteY1" fmla="*/ 0 h 224615"/>
                  <a:gd name="connsiteX2" fmla="*/ 184615 w 184615"/>
                  <a:gd name="connsiteY2" fmla="*/ 0 h 224615"/>
                  <a:gd name="connsiteX3" fmla="*/ 166155 w 184615"/>
                  <a:gd name="connsiteY3" fmla="*/ 196923 h 224615"/>
                  <a:gd name="connsiteX4" fmla="*/ 15385 w 184615"/>
                  <a:gd name="connsiteY4" fmla="*/ 224615 h 22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615" h="224615">
                    <a:moveTo>
                      <a:pt x="3078" y="184615"/>
                    </a:moveTo>
                    <a:lnTo>
                      <a:pt x="0" y="0"/>
                    </a:lnTo>
                    <a:lnTo>
                      <a:pt x="184615" y="0"/>
                    </a:lnTo>
                    <a:lnTo>
                      <a:pt x="166155" y="196923"/>
                    </a:lnTo>
                    <a:lnTo>
                      <a:pt x="15385" y="224615"/>
                    </a:ln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692570B6-2FB4-4A58-9626-B13E22098411}"/>
                  </a:ext>
                </a:extLst>
              </p:cNvPr>
              <p:cNvSpPr/>
              <p:nvPr/>
            </p:nvSpPr>
            <p:spPr>
              <a:xfrm>
                <a:off x="11884718" y="3033103"/>
                <a:ext cx="500513" cy="159999"/>
              </a:xfrm>
              <a:custGeom>
                <a:avLst/>
                <a:gdLst>
                  <a:gd name="connsiteX0" fmla="*/ 8206 w 500513"/>
                  <a:gd name="connsiteY0" fmla="*/ 46154 h 159999"/>
                  <a:gd name="connsiteX1" fmla="*/ 195897 w 500513"/>
                  <a:gd name="connsiteY1" fmla="*/ 0 h 159999"/>
                  <a:gd name="connsiteX2" fmla="*/ 331283 w 500513"/>
                  <a:gd name="connsiteY2" fmla="*/ 80000 h 159999"/>
                  <a:gd name="connsiteX3" fmla="*/ 500513 w 500513"/>
                  <a:gd name="connsiteY3" fmla="*/ 160000 h 159999"/>
                  <a:gd name="connsiteX4" fmla="*/ 8206 w 500513"/>
                  <a:gd name="connsiteY4" fmla="*/ 160000 h 159999"/>
                  <a:gd name="connsiteX5" fmla="*/ 8206 w 500513"/>
                  <a:gd name="connsiteY5" fmla="*/ 46154 h 159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513" h="159999">
                    <a:moveTo>
                      <a:pt x="8206" y="46154"/>
                    </a:moveTo>
                    <a:cubicBezTo>
                      <a:pt x="8206" y="46154"/>
                      <a:pt x="134359" y="64615"/>
                      <a:pt x="195897" y="0"/>
                    </a:cubicBezTo>
                    <a:cubicBezTo>
                      <a:pt x="195897" y="0"/>
                      <a:pt x="285129" y="70769"/>
                      <a:pt x="331283" y="80000"/>
                    </a:cubicBezTo>
                    <a:cubicBezTo>
                      <a:pt x="377436" y="89231"/>
                      <a:pt x="488205" y="86153"/>
                      <a:pt x="500513" y="160000"/>
                    </a:cubicBezTo>
                    <a:lnTo>
                      <a:pt x="8206" y="160000"/>
                    </a:lnTo>
                    <a:cubicBezTo>
                      <a:pt x="8206" y="160000"/>
                      <a:pt x="-10257" y="98461"/>
                      <a:pt x="8206" y="4615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2D5F8ADB-5E7F-448C-9CA8-B5C6516A3078}"/>
                  </a:ext>
                </a:extLst>
              </p:cNvPr>
              <p:cNvSpPr/>
              <p:nvPr/>
            </p:nvSpPr>
            <p:spPr>
              <a:xfrm>
                <a:off x="11892923" y="3193103"/>
                <a:ext cx="492307" cy="46153"/>
              </a:xfrm>
              <a:custGeom>
                <a:avLst/>
                <a:gdLst>
                  <a:gd name="connsiteX0" fmla="*/ 1 w 492307"/>
                  <a:gd name="connsiteY0" fmla="*/ 0 h 46153"/>
                  <a:gd name="connsiteX1" fmla="*/ 492309 w 492307"/>
                  <a:gd name="connsiteY1" fmla="*/ 0 h 46153"/>
                  <a:gd name="connsiteX2" fmla="*/ 492309 w 492307"/>
                  <a:gd name="connsiteY2" fmla="*/ 46154 h 46153"/>
                  <a:gd name="connsiteX3" fmla="*/ 1 w 492307"/>
                  <a:gd name="connsiteY3" fmla="*/ 46154 h 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307" h="46153">
                    <a:moveTo>
                      <a:pt x="1" y="0"/>
                    </a:moveTo>
                    <a:lnTo>
                      <a:pt x="492309" y="0"/>
                    </a:lnTo>
                    <a:lnTo>
                      <a:pt x="492309" y="46154"/>
                    </a:lnTo>
                    <a:lnTo>
                      <a:pt x="1" y="46154"/>
                    </a:ln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6D63F97B-3EEE-4600-AC05-D5CAA383DF2B}"/>
                  </a:ext>
                </a:extLst>
              </p:cNvPr>
              <p:cNvSpPr/>
              <p:nvPr/>
            </p:nvSpPr>
            <p:spPr>
              <a:xfrm>
                <a:off x="11886769" y="3024642"/>
                <a:ext cx="202307" cy="63845"/>
              </a:xfrm>
              <a:custGeom>
                <a:avLst/>
                <a:gdLst>
                  <a:gd name="connsiteX0" fmla="*/ 43076 w 202307"/>
                  <a:gd name="connsiteY0" fmla="*/ 63846 h 63845"/>
                  <a:gd name="connsiteX1" fmla="*/ 6154 w 202307"/>
                  <a:gd name="connsiteY1" fmla="*/ 60769 h 63845"/>
                  <a:gd name="connsiteX2" fmla="*/ 0 w 202307"/>
                  <a:gd name="connsiteY2" fmla="*/ 54616 h 63845"/>
                  <a:gd name="connsiteX3" fmla="*/ 6154 w 202307"/>
                  <a:gd name="connsiteY3" fmla="*/ 48461 h 63845"/>
                  <a:gd name="connsiteX4" fmla="*/ 190770 w 202307"/>
                  <a:gd name="connsiteY4" fmla="*/ 2307 h 63845"/>
                  <a:gd name="connsiteX5" fmla="*/ 200000 w 202307"/>
                  <a:gd name="connsiteY5" fmla="*/ 2307 h 63845"/>
                  <a:gd name="connsiteX6" fmla="*/ 200000 w 202307"/>
                  <a:gd name="connsiteY6" fmla="*/ 11538 h 63845"/>
                  <a:gd name="connsiteX7" fmla="*/ 43076 w 202307"/>
                  <a:gd name="connsiteY7" fmla="*/ 63846 h 63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307" h="63845">
                    <a:moveTo>
                      <a:pt x="43076" y="63846"/>
                    </a:moveTo>
                    <a:cubicBezTo>
                      <a:pt x="21539" y="63846"/>
                      <a:pt x="9230" y="60769"/>
                      <a:pt x="6154" y="60769"/>
                    </a:cubicBezTo>
                    <a:cubicBezTo>
                      <a:pt x="3076" y="60769"/>
                      <a:pt x="0" y="57692"/>
                      <a:pt x="0" y="54616"/>
                    </a:cubicBezTo>
                    <a:cubicBezTo>
                      <a:pt x="0" y="51538"/>
                      <a:pt x="3076" y="48461"/>
                      <a:pt x="6154" y="48461"/>
                    </a:cubicBezTo>
                    <a:cubicBezTo>
                      <a:pt x="6154" y="48461"/>
                      <a:pt x="119999" y="63846"/>
                      <a:pt x="190770" y="2307"/>
                    </a:cubicBezTo>
                    <a:cubicBezTo>
                      <a:pt x="193846" y="-769"/>
                      <a:pt x="196922" y="-769"/>
                      <a:pt x="200000" y="2307"/>
                    </a:cubicBezTo>
                    <a:cubicBezTo>
                      <a:pt x="203076" y="5385"/>
                      <a:pt x="203076" y="8462"/>
                      <a:pt x="200000" y="11538"/>
                    </a:cubicBezTo>
                    <a:cubicBezTo>
                      <a:pt x="150768" y="54616"/>
                      <a:pt x="83077" y="63846"/>
                      <a:pt x="43076" y="6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B6F27F11-FB16-4C3B-A599-8AEA085F6251}"/>
                  </a:ext>
                </a:extLst>
              </p:cNvPr>
              <p:cNvSpPr/>
              <p:nvPr/>
            </p:nvSpPr>
            <p:spPr>
              <a:xfrm>
                <a:off x="12084461" y="3049257"/>
                <a:ext cx="38462" cy="42307"/>
              </a:xfrm>
              <a:custGeom>
                <a:avLst/>
                <a:gdLst>
                  <a:gd name="connsiteX0" fmla="*/ 5385 w 38462"/>
                  <a:gd name="connsiteY0" fmla="*/ 42308 h 42307"/>
                  <a:gd name="connsiteX1" fmla="*/ 2309 w 38462"/>
                  <a:gd name="connsiteY1" fmla="*/ 39230 h 42307"/>
                  <a:gd name="connsiteX2" fmla="*/ 2309 w 38462"/>
                  <a:gd name="connsiteY2" fmla="*/ 30000 h 42307"/>
                  <a:gd name="connsiteX3" fmla="*/ 26924 w 38462"/>
                  <a:gd name="connsiteY3" fmla="*/ 2307 h 42307"/>
                  <a:gd name="connsiteX4" fmla="*/ 36154 w 38462"/>
                  <a:gd name="connsiteY4" fmla="*/ 2307 h 42307"/>
                  <a:gd name="connsiteX5" fmla="*/ 36154 w 38462"/>
                  <a:gd name="connsiteY5" fmla="*/ 11538 h 42307"/>
                  <a:gd name="connsiteX6" fmla="*/ 11539 w 38462"/>
                  <a:gd name="connsiteY6" fmla="*/ 39230 h 42307"/>
                  <a:gd name="connsiteX7" fmla="*/ 5385 w 38462"/>
                  <a:gd name="connsiteY7" fmla="*/ 42308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2" h="42307">
                    <a:moveTo>
                      <a:pt x="5385" y="42308"/>
                    </a:moveTo>
                    <a:cubicBezTo>
                      <a:pt x="5385" y="42308"/>
                      <a:pt x="2309" y="42308"/>
                      <a:pt x="2309" y="39230"/>
                    </a:cubicBezTo>
                    <a:cubicBezTo>
                      <a:pt x="-770" y="36154"/>
                      <a:pt x="-770" y="33077"/>
                      <a:pt x="2309" y="30000"/>
                    </a:cubicBezTo>
                    <a:lnTo>
                      <a:pt x="26924" y="2307"/>
                    </a:lnTo>
                    <a:cubicBezTo>
                      <a:pt x="30000" y="-769"/>
                      <a:pt x="33078" y="-769"/>
                      <a:pt x="36154" y="2307"/>
                    </a:cubicBezTo>
                    <a:cubicBezTo>
                      <a:pt x="39232" y="5385"/>
                      <a:pt x="39232" y="8461"/>
                      <a:pt x="36154" y="11538"/>
                    </a:cubicBezTo>
                    <a:lnTo>
                      <a:pt x="11539" y="39230"/>
                    </a:lnTo>
                    <a:cubicBezTo>
                      <a:pt x="8463" y="42308"/>
                      <a:pt x="8463" y="42308"/>
                      <a:pt x="5385" y="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AD89B890-F940-4926-9001-4020A4EDA031}"/>
                  </a:ext>
                </a:extLst>
              </p:cNvPr>
              <p:cNvSpPr/>
              <p:nvPr/>
            </p:nvSpPr>
            <p:spPr>
              <a:xfrm>
                <a:off x="12124462" y="3076949"/>
                <a:ext cx="41537" cy="42307"/>
              </a:xfrm>
              <a:custGeom>
                <a:avLst/>
                <a:gdLst>
                  <a:gd name="connsiteX0" fmla="*/ 5383 w 41537"/>
                  <a:gd name="connsiteY0" fmla="*/ 42307 h 42307"/>
                  <a:gd name="connsiteX1" fmla="*/ 2307 w 41537"/>
                  <a:gd name="connsiteY1" fmla="*/ 39231 h 42307"/>
                  <a:gd name="connsiteX2" fmla="*/ 2307 w 41537"/>
                  <a:gd name="connsiteY2" fmla="*/ 30000 h 42307"/>
                  <a:gd name="connsiteX3" fmla="*/ 30000 w 41537"/>
                  <a:gd name="connsiteY3" fmla="*/ 2308 h 42307"/>
                  <a:gd name="connsiteX4" fmla="*/ 39231 w 41537"/>
                  <a:gd name="connsiteY4" fmla="*/ 2308 h 42307"/>
                  <a:gd name="connsiteX5" fmla="*/ 39231 w 41537"/>
                  <a:gd name="connsiteY5" fmla="*/ 11538 h 42307"/>
                  <a:gd name="connsiteX6" fmla="*/ 11538 w 41537"/>
                  <a:gd name="connsiteY6" fmla="*/ 39231 h 42307"/>
                  <a:gd name="connsiteX7" fmla="*/ 5383 w 41537"/>
                  <a:gd name="connsiteY7" fmla="*/ 42307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7" h="42307">
                    <a:moveTo>
                      <a:pt x="5383" y="42307"/>
                    </a:moveTo>
                    <a:cubicBezTo>
                      <a:pt x="5383" y="42307"/>
                      <a:pt x="2307" y="42307"/>
                      <a:pt x="2307" y="39231"/>
                    </a:cubicBezTo>
                    <a:cubicBezTo>
                      <a:pt x="-769" y="36154"/>
                      <a:pt x="-769" y="33077"/>
                      <a:pt x="2307" y="30000"/>
                    </a:cubicBezTo>
                    <a:lnTo>
                      <a:pt x="30000" y="2308"/>
                    </a:lnTo>
                    <a:cubicBezTo>
                      <a:pt x="33076" y="-769"/>
                      <a:pt x="36153" y="-769"/>
                      <a:pt x="39231" y="2308"/>
                    </a:cubicBezTo>
                    <a:cubicBezTo>
                      <a:pt x="42307" y="5384"/>
                      <a:pt x="42307" y="8462"/>
                      <a:pt x="39231" y="11538"/>
                    </a:cubicBezTo>
                    <a:lnTo>
                      <a:pt x="11538" y="39231"/>
                    </a:lnTo>
                    <a:cubicBezTo>
                      <a:pt x="8461" y="42307"/>
                      <a:pt x="5383" y="42307"/>
                      <a:pt x="5383" y="423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D6EC8525-409D-43AC-9EB9-A1739A81DD42}"/>
                </a:ext>
              </a:extLst>
            </p:cNvPr>
            <p:cNvSpPr/>
            <p:nvPr/>
          </p:nvSpPr>
          <p:spPr>
            <a:xfrm>
              <a:off x="11789872" y="657719"/>
              <a:ext cx="1358435" cy="2304615"/>
            </a:xfrm>
            <a:custGeom>
              <a:avLst/>
              <a:gdLst>
                <a:gd name="connsiteX0" fmla="*/ 1044589 w 1358435"/>
                <a:gd name="connsiteY0" fmla="*/ 21538 h 2304615"/>
                <a:gd name="connsiteX1" fmla="*/ 1358436 w 1358435"/>
                <a:gd name="connsiteY1" fmla="*/ 1292308 h 2304615"/>
                <a:gd name="connsiteX2" fmla="*/ 995359 w 1358435"/>
                <a:gd name="connsiteY2" fmla="*/ 2215385 h 2304615"/>
                <a:gd name="connsiteX3" fmla="*/ 681513 w 1358435"/>
                <a:gd name="connsiteY3" fmla="*/ 2058462 h 2304615"/>
                <a:gd name="connsiteX4" fmla="*/ 949205 w 1358435"/>
                <a:gd name="connsiteY4" fmla="*/ 1273846 h 2304615"/>
                <a:gd name="connsiteX5" fmla="*/ 543051 w 1358435"/>
                <a:gd name="connsiteY5" fmla="*/ 507692 h 2304615"/>
                <a:gd name="connsiteX6" fmla="*/ 496897 w 1358435"/>
                <a:gd name="connsiteY6" fmla="*/ 1489231 h 2304615"/>
                <a:gd name="connsiteX7" fmla="*/ 349205 w 1358435"/>
                <a:gd name="connsiteY7" fmla="*/ 2295385 h 2304615"/>
                <a:gd name="connsiteX8" fmla="*/ 59974 w 1358435"/>
                <a:gd name="connsiteY8" fmla="*/ 2304616 h 2304615"/>
                <a:gd name="connsiteX9" fmla="*/ 90743 w 1358435"/>
                <a:gd name="connsiteY9" fmla="*/ 1470769 h 2304615"/>
                <a:gd name="connsiteX10" fmla="*/ 10744 w 1358435"/>
                <a:gd name="connsiteY10" fmla="*/ 0 h 2304615"/>
                <a:gd name="connsiteX11" fmla="*/ 1044589 w 1358435"/>
                <a:gd name="connsiteY11" fmla="*/ 21538 h 230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58435" h="2304615">
                  <a:moveTo>
                    <a:pt x="1044589" y="21538"/>
                  </a:moveTo>
                  <a:lnTo>
                    <a:pt x="1358436" y="1292308"/>
                  </a:lnTo>
                  <a:lnTo>
                    <a:pt x="995359" y="2215385"/>
                  </a:lnTo>
                  <a:lnTo>
                    <a:pt x="681513" y="2058462"/>
                  </a:lnTo>
                  <a:lnTo>
                    <a:pt x="949205" y="1273846"/>
                  </a:lnTo>
                  <a:cubicBezTo>
                    <a:pt x="949205" y="1273846"/>
                    <a:pt x="552282" y="523077"/>
                    <a:pt x="543051" y="507692"/>
                  </a:cubicBezTo>
                  <a:cubicBezTo>
                    <a:pt x="527667" y="476923"/>
                    <a:pt x="496897" y="1489231"/>
                    <a:pt x="496897" y="1489231"/>
                  </a:cubicBezTo>
                  <a:lnTo>
                    <a:pt x="349205" y="2295385"/>
                  </a:lnTo>
                  <a:lnTo>
                    <a:pt x="59974" y="2304616"/>
                  </a:lnTo>
                  <a:cubicBezTo>
                    <a:pt x="59974" y="2304616"/>
                    <a:pt x="96897" y="1572308"/>
                    <a:pt x="90743" y="1470769"/>
                  </a:cubicBezTo>
                  <a:cubicBezTo>
                    <a:pt x="81513" y="1316923"/>
                    <a:pt x="-35410" y="98461"/>
                    <a:pt x="10744" y="0"/>
                  </a:cubicBezTo>
                  <a:cubicBezTo>
                    <a:pt x="718436" y="33846"/>
                    <a:pt x="1044589" y="21538"/>
                    <a:pt x="1044589" y="21538"/>
                  </a:cubicBezTo>
                  <a:close/>
                </a:path>
              </a:pathLst>
            </a:custGeom>
            <a:solidFill>
              <a:srgbClr val="7F95BC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76B723C3-35D7-468F-9E88-C289CAFB3B0C}"/>
                </a:ext>
              </a:extLst>
            </p:cNvPr>
            <p:cNvSpPr/>
            <p:nvPr/>
          </p:nvSpPr>
          <p:spPr>
            <a:xfrm>
              <a:off x="12326769" y="802334"/>
              <a:ext cx="70768" cy="369230"/>
            </a:xfrm>
            <a:custGeom>
              <a:avLst/>
              <a:gdLst>
                <a:gd name="connsiteX0" fmla="*/ 6154 w 70768"/>
                <a:gd name="connsiteY0" fmla="*/ 369231 h 369230"/>
                <a:gd name="connsiteX1" fmla="*/ 6154 w 70768"/>
                <a:gd name="connsiteY1" fmla="*/ 369231 h 369230"/>
                <a:gd name="connsiteX2" fmla="*/ 0 w 70768"/>
                <a:gd name="connsiteY2" fmla="*/ 360000 h 369230"/>
                <a:gd name="connsiteX3" fmla="*/ 58462 w 70768"/>
                <a:gd name="connsiteY3" fmla="*/ 6154 h 369230"/>
                <a:gd name="connsiteX4" fmla="*/ 64615 w 70768"/>
                <a:gd name="connsiteY4" fmla="*/ 0 h 369230"/>
                <a:gd name="connsiteX5" fmla="*/ 64615 w 70768"/>
                <a:gd name="connsiteY5" fmla="*/ 0 h 369230"/>
                <a:gd name="connsiteX6" fmla="*/ 70769 w 70768"/>
                <a:gd name="connsiteY6" fmla="*/ 6154 h 369230"/>
                <a:gd name="connsiteX7" fmla="*/ 12308 w 70768"/>
                <a:gd name="connsiteY7" fmla="*/ 363077 h 369230"/>
                <a:gd name="connsiteX8" fmla="*/ 6154 w 70768"/>
                <a:gd name="connsiteY8" fmla="*/ 369231 h 36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768" h="369230">
                  <a:moveTo>
                    <a:pt x="6154" y="369231"/>
                  </a:moveTo>
                  <a:cubicBezTo>
                    <a:pt x="6154" y="369231"/>
                    <a:pt x="6154" y="369231"/>
                    <a:pt x="6154" y="369231"/>
                  </a:cubicBezTo>
                  <a:cubicBezTo>
                    <a:pt x="0" y="366154"/>
                    <a:pt x="0" y="363077"/>
                    <a:pt x="0" y="360000"/>
                  </a:cubicBezTo>
                  <a:cubicBezTo>
                    <a:pt x="49230" y="246154"/>
                    <a:pt x="58462" y="9231"/>
                    <a:pt x="58462" y="6154"/>
                  </a:cubicBezTo>
                  <a:cubicBezTo>
                    <a:pt x="58462" y="3077"/>
                    <a:pt x="61538" y="0"/>
                    <a:pt x="64615" y="0"/>
                  </a:cubicBezTo>
                  <a:cubicBezTo>
                    <a:pt x="64615" y="0"/>
                    <a:pt x="64615" y="0"/>
                    <a:pt x="64615" y="0"/>
                  </a:cubicBezTo>
                  <a:cubicBezTo>
                    <a:pt x="67693" y="0"/>
                    <a:pt x="70769" y="3077"/>
                    <a:pt x="70769" y="6154"/>
                  </a:cubicBezTo>
                  <a:cubicBezTo>
                    <a:pt x="70769" y="15385"/>
                    <a:pt x="61538" y="246154"/>
                    <a:pt x="12308" y="363077"/>
                  </a:cubicBezTo>
                  <a:cubicBezTo>
                    <a:pt x="12308" y="369231"/>
                    <a:pt x="9230" y="369231"/>
                    <a:pt x="6154" y="369231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364AE00E-0267-433C-AE7F-36E520742C5D}"/>
                </a:ext>
              </a:extLst>
            </p:cNvPr>
            <p:cNvSpPr/>
            <p:nvPr/>
          </p:nvSpPr>
          <p:spPr>
            <a:xfrm>
              <a:off x="12356264" y="734642"/>
              <a:ext cx="158196" cy="359999"/>
            </a:xfrm>
            <a:custGeom>
              <a:avLst/>
              <a:gdLst>
                <a:gd name="connsiteX0" fmla="*/ 7428 w 158196"/>
                <a:gd name="connsiteY0" fmla="*/ 360000 h 359999"/>
                <a:gd name="connsiteX1" fmla="*/ 1274 w 158196"/>
                <a:gd name="connsiteY1" fmla="*/ 356923 h 359999"/>
                <a:gd name="connsiteX2" fmla="*/ 4350 w 158196"/>
                <a:gd name="connsiteY2" fmla="*/ 347692 h 359999"/>
                <a:gd name="connsiteX3" fmla="*/ 112043 w 158196"/>
                <a:gd name="connsiteY3" fmla="*/ 270769 h 359999"/>
                <a:gd name="connsiteX4" fmla="*/ 145890 w 158196"/>
                <a:gd name="connsiteY4" fmla="*/ 6154 h 359999"/>
                <a:gd name="connsiteX5" fmla="*/ 152044 w 158196"/>
                <a:gd name="connsiteY5" fmla="*/ 0 h 359999"/>
                <a:gd name="connsiteX6" fmla="*/ 158197 w 158196"/>
                <a:gd name="connsiteY6" fmla="*/ 6154 h 359999"/>
                <a:gd name="connsiteX7" fmla="*/ 124351 w 158196"/>
                <a:gd name="connsiteY7" fmla="*/ 276923 h 359999"/>
                <a:gd name="connsiteX8" fmla="*/ 13583 w 158196"/>
                <a:gd name="connsiteY8" fmla="*/ 356923 h 359999"/>
                <a:gd name="connsiteX9" fmla="*/ 7428 w 158196"/>
                <a:gd name="connsiteY9" fmla="*/ 360000 h 35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8196" h="359999">
                  <a:moveTo>
                    <a:pt x="7428" y="360000"/>
                  </a:moveTo>
                  <a:cubicBezTo>
                    <a:pt x="4350" y="360000"/>
                    <a:pt x="4350" y="360000"/>
                    <a:pt x="1274" y="356923"/>
                  </a:cubicBezTo>
                  <a:cubicBezTo>
                    <a:pt x="-1802" y="353846"/>
                    <a:pt x="1274" y="350769"/>
                    <a:pt x="4350" y="347692"/>
                  </a:cubicBezTo>
                  <a:cubicBezTo>
                    <a:pt x="44352" y="323077"/>
                    <a:pt x="102812" y="280000"/>
                    <a:pt x="112043" y="270769"/>
                  </a:cubicBezTo>
                  <a:cubicBezTo>
                    <a:pt x="121275" y="258462"/>
                    <a:pt x="136660" y="101538"/>
                    <a:pt x="145890" y="6154"/>
                  </a:cubicBezTo>
                  <a:cubicBezTo>
                    <a:pt x="145890" y="3077"/>
                    <a:pt x="148966" y="0"/>
                    <a:pt x="152044" y="0"/>
                  </a:cubicBezTo>
                  <a:cubicBezTo>
                    <a:pt x="155120" y="0"/>
                    <a:pt x="158197" y="3077"/>
                    <a:pt x="158197" y="6154"/>
                  </a:cubicBezTo>
                  <a:cubicBezTo>
                    <a:pt x="155120" y="49231"/>
                    <a:pt x="133582" y="261538"/>
                    <a:pt x="124351" y="276923"/>
                  </a:cubicBezTo>
                  <a:cubicBezTo>
                    <a:pt x="112043" y="292308"/>
                    <a:pt x="22813" y="350769"/>
                    <a:pt x="13583" y="356923"/>
                  </a:cubicBezTo>
                  <a:cubicBezTo>
                    <a:pt x="7428" y="356923"/>
                    <a:pt x="7428" y="360000"/>
                    <a:pt x="7428" y="360000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89861A96-F38E-492A-B255-FA93DFD5CA23}"/>
                </a:ext>
              </a:extLst>
            </p:cNvPr>
            <p:cNvGrpSpPr/>
            <p:nvPr/>
          </p:nvGrpSpPr>
          <p:grpSpPr>
            <a:xfrm>
              <a:off x="13525327" y="-320742"/>
              <a:ext cx="389133" cy="206210"/>
              <a:chOff x="13525327" y="-320742"/>
              <a:chExt cx="389133" cy="206210"/>
            </a:xfrm>
          </p:grpSpPr>
          <p:grpSp>
            <p:nvGrpSpPr>
              <p:cNvPr id="123" name="图形 1">
                <a:extLst>
                  <a:ext uri="{FF2B5EF4-FFF2-40B4-BE49-F238E27FC236}">
                    <a16:creationId xmlns:a16="http://schemas.microsoft.com/office/drawing/2014/main" id="{C6ED0E55-CC84-4E68-B344-EAD78705343E}"/>
                  </a:ext>
                </a:extLst>
              </p:cNvPr>
              <p:cNvGrpSpPr/>
              <p:nvPr/>
            </p:nvGrpSpPr>
            <p:grpSpPr>
              <a:xfrm>
                <a:off x="13525327" y="-320742"/>
                <a:ext cx="389133" cy="206210"/>
                <a:chOff x="13525327" y="-320742"/>
                <a:chExt cx="389133" cy="206210"/>
              </a:xfrm>
            </p:grpSpPr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AFCC665B-C956-41A5-AF3D-5D811B831056}"/>
                    </a:ext>
                  </a:extLst>
                </p:cNvPr>
                <p:cNvSpPr/>
                <p:nvPr/>
              </p:nvSpPr>
              <p:spPr>
                <a:xfrm>
                  <a:off x="13525327" y="-320742"/>
                  <a:ext cx="389133" cy="206210"/>
                </a:xfrm>
                <a:custGeom>
                  <a:avLst/>
                  <a:gdLst>
                    <a:gd name="connsiteX0" fmla="*/ 318365 w 389133"/>
                    <a:gd name="connsiteY0" fmla="*/ 135385 h 206210"/>
                    <a:gd name="connsiteX1" fmla="*/ 306058 w 389133"/>
                    <a:gd name="connsiteY1" fmla="*/ 123077 h 206210"/>
                    <a:gd name="connsiteX2" fmla="*/ 299904 w 389133"/>
                    <a:gd name="connsiteY2" fmla="*/ 123077 h 206210"/>
                    <a:gd name="connsiteX3" fmla="*/ 327595 w 389133"/>
                    <a:gd name="connsiteY3" fmla="*/ 120000 h 206210"/>
                    <a:gd name="connsiteX4" fmla="*/ 376827 w 389133"/>
                    <a:gd name="connsiteY4" fmla="*/ 101539 h 206210"/>
                    <a:gd name="connsiteX5" fmla="*/ 370673 w 389133"/>
                    <a:gd name="connsiteY5" fmla="*/ 92308 h 206210"/>
                    <a:gd name="connsiteX6" fmla="*/ 367596 w 389133"/>
                    <a:gd name="connsiteY6" fmla="*/ 92308 h 206210"/>
                    <a:gd name="connsiteX7" fmla="*/ 389133 w 389133"/>
                    <a:gd name="connsiteY7" fmla="*/ 70769 h 206210"/>
                    <a:gd name="connsiteX8" fmla="*/ 370673 w 389133"/>
                    <a:gd name="connsiteY8" fmla="*/ 52308 h 206210"/>
                    <a:gd name="connsiteX9" fmla="*/ 309134 w 389133"/>
                    <a:gd name="connsiteY9" fmla="*/ 58462 h 206210"/>
                    <a:gd name="connsiteX10" fmla="*/ 226057 w 389133"/>
                    <a:gd name="connsiteY10" fmla="*/ 67692 h 206210"/>
                    <a:gd name="connsiteX11" fmla="*/ 287595 w 389133"/>
                    <a:gd name="connsiteY11" fmla="*/ 46154 h 206210"/>
                    <a:gd name="connsiteX12" fmla="*/ 330673 w 389133"/>
                    <a:gd name="connsiteY12" fmla="*/ 27692 h 206210"/>
                    <a:gd name="connsiteX13" fmla="*/ 299904 w 389133"/>
                    <a:gd name="connsiteY13" fmla="*/ 12308 h 206210"/>
                    <a:gd name="connsiteX14" fmla="*/ 106058 w 389133"/>
                    <a:gd name="connsiteY14" fmla="*/ 67692 h 206210"/>
                    <a:gd name="connsiteX15" fmla="*/ 164518 w 389133"/>
                    <a:gd name="connsiteY15" fmla="*/ 27692 h 206210"/>
                    <a:gd name="connsiteX16" fmla="*/ 161442 w 389133"/>
                    <a:gd name="connsiteY16" fmla="*/ 0 h 206210"/>
                    <a:gd name="connsiteX17" fmla="*/ 4518 w 389133"/>
                    <a:gd name="connsiteY17" fmla="*/ 116923 h 206210"/>
                    <a:gd name="connsiteX18" fmla="*/ 4518 w 389133"/>
                    <a:gd name="connsiteY18" fmla="*/ 116923 h 206210"/>
                    <a:gd name="connsiteX19" fmla="*/ 1442 w 389133"/>
                    <a:gd name="connsiteY19" fmla="*/ 120000 h 206210"/>
                    <a:gd name="connsiteX20" fmla="*/ 59904 w 389133"/>
                    <a:gd name="connsiteY20" fmla="*/ 200000 h 206210"/>
                    <a:gd name="connsiteX21" fmla="*/ 204518 w 389133"/>
                    <a:gd name="connsiteY21" fmla="*/ 181539 h 206210"/>
                    <a:gd name="connsiteX22" fmla="*/ 318365 w 389133"/>
                    <a:gd name="connsiteY22" fmla="*/ 135385 h 2062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389133" h="206210">
                      <a:moveTo>
                        <a:pt x="318365" y="135385"/>
                      </a:moveTo>
                      <a:cubicBezTo>
                        <a:pt x="318365" y="129231"/>
                        <a:pt x="312210" y="123077"/>
                        <a:pt x="306058" y="123077"/>
                      </a:cubicBezTo>
                      <a:cubicBezTo>
                        <a:pt x="302980" y="123077"/>
                        <a:pt x="299904" y="123077"/>
                        <a:pt x="299904" y="123077"/>
                      </a:cubicBezTo>
                      <a:cubicBezTo>
                        <a:pt x="309134" y="123077"/>
                        <a:pt x="318365" y="120000"/>
                        <a:pt x="327595" y="120000"/>
                      </a:cubicBezTo>
                      <a:cubicBezTo>
                        <a:pt x="346058" y="116923"/>
                        <a:pt x="367596" y="116923"/>
                        <a:pt x="376827" y="101539"/>
                      </a:cubicBezTo>
                      <a:cubicBezTo>
                        <a:pt x="376827" y="101539"/>
                        <a:pt x="370673" y="92308"/>
                        <a:pt x="370673" y="92308"/>
                      </a:cubicBezTo>
                      <a:cubicBezTo>
                        <a:pt x="370673" y="92308"/>
                        <a:pt x="367596" y="92308"/>
                        <a:pt x="367596" y="92308"/>
                      </a:cubicBezTo>
                      <a:cubicBezTo>
                        <a:pt x="376827" y="86154"/>
                        <a:pt x="386057" y="80000"/>
                        <a:pt x="389133" y="70769"/>
                      </a:cubicBezTo>
                      <a:cubicBezTo>
                        <a:pt x="389133" y="61538"/>
                        <a:pt x="382981" y="55385"/>
                        <a:pt x="370673" y="52308"/>
                      </a:cubicBezTo>
                      <a:cubicBezTo>
                        <a:pt x="352212" y="49231"/>
                        <a:pt x="327595" y="55385"/>
                        <a:pt x="309134" y="58462"/>
                      </a:cubicBezTo>
                      <a:cubicBezTo>
                        <a:pt x="281441" y="61538"/>
                        <a:pt x="253750" y="64615"/>
                        <a:pt x="226057" y="67692"/>
                      </a:cubicBezTo>
                      <a:cubicBezTo>
                        <a:pt x="247596" y="61538"/>
                        <a:pt x="266057" y="52308"/>
                        <a:pt x="287595" y="46154"/>
                      </a:cubicBezTo>
                      <a:cubicBezTo>
                        <a:pt x="299904" y="43077"/>
                        <a:pt x="324519" y="36923"/>
                        <a:pt x="330673" y="27692"/>
                      </a:cubicBezTo>
                      <a:cubicBezTo>
                        <a:pt x="342980" y="12308"/>
                        <a:pt x="312210" y="12308"/>
                        <a:pt x="299904" y="12308"/>
                      </a:cubicBezTo>
                      <a:cubicBezTo>
                        <a:pt x="229135" y="15385"/>
                        <a:pt x="173749" y="55385"/>
                        <a:pt x="106058" y="67692"/>
                      </a:cubicBezTo>
                      <a:cubicBezTo>
                        <a:pt x="118365" y="49231"/>
                        <a:pt x="139903" y="40000"/>
                        <a:pt x="164518" y="27692"/>
                      </a:cubicBezTo>
                      <a:cubicBezTo>
                        <a:pt x="176827" y="21538"/>
                        <a:pt x="164518" y="0"/>
                        <a:pt x="161442" y="0"/>
                      </a:cubicBezTo>
                      <a:cubicBezTo>
                        <a:pt x="96826" y="6154"/>
                        <a:pt x="16826" y="52308"/>
                        <a:pt x="4518" y="116923"/>
                      </a:cubicBezTo>
                      <a:cubicBezTo>
                        <a:pt x="4518" y="116923"/>
                        <a:pt x="4518" y="116923"/>
                        <a:pt x="4518" y="116923"/>
                      </a:cubicBezTo>
                      <a:cubicBezTo>
                        <a:pt x="1442" y="116923"/>
                        <a:pt x="1442" y="116923"/>
                        <a:pt x="1442" y="120000"/>
                      </a:cubicBezTo>
                      <a:cubicBezTo>
                        <a:pt x="-7789" y="147692"/>
                        <a:pt x="29135" y="187692"/>
                        <a:pt x="59904" y="200000"/>
                      </a:cubicBezTo>
                      <a:cubicBezTo>
                        <a:pt x="102980" y="218462"/>
                        <a:pt x="158364" y="190769"/>
                        <a:pt x="204518" y="181539"/>
                      </a:cubicBezTo>
                      <a:cubicBezTo>
                        <a:pt x="229135" y="172308"/>
                        <a:pt x="318365" y="153846"/>
                        <a:pt x="318365" y="135385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2B0060E3-6378-4B90-8569-C4F79A8EE1FD}"/>
                    </a:ext>
                  </a:extLst>
                </p:cNvPr>
                <p:cNvSpPr/>
                <p:nvPr/>
              </p:nvSpPr>
              <p:spPr>
                <a:xfrm>
                  <a:off x="13600616" y="-237665"/>
                  <a:ext cx="40919" cy="52307"/>
                </a:xfrm>
                <a:custGeom>
                  <a:avLst/>
                  <a:gdLst>
                    <a:gd name="connsiteX0" fmla="*/ 6152 w 40919"/>
                    <a:gd name="connsiteY0" fmla="*/ 52308 h 52307"/>
                    <a:gd name="connsiteX1" fmla="*/ 0 w 40919"/>
                    <a:gd name="connsiteY1" fmla="*/ 49231 h 52307"/>
                    <a:gd name="connsiteX2" fmla="*/ 3076 w 40919"/>
                    <a:gd name="connsiteY2" fmla="*/ 43077 h 52307"/>
                    <a:gd name="connsiteX3" fmla="*/ 27691 w 40919"/>
                    <a:gd name="connsiteY3" fmla="*/ 6154 h 52307"/>
                    <a:gd name="connsiteX4" fmla="*/ 33845 w 40919"/>
                    <a:gd name="connsiteY4" fmla="*/ 0 h 52307"/>
                    <a:gd name="connsiteX5" fmla="*/ 40000 w 40919"/>
                    <a:gd name="connsiteY5" fmla="*/ 6154 h 52307"/>
                    <a:gd name="connsiteX6" fmla="*/ 6152 w 40919"/>
                    <a:gd name="connsiteY6" fmla="*/ 52308 h 52307"/>
                    <a:gd name="connsiteX7" fmla="*/ 6152 w 40919"/>
                    <a:gd name="connsiteY7" fmla="*/ 52308 h 5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0919" h="52307">
                      <a:moveTo>
                        <a:pt x="6152" y="52308"/>
                      </a:moveTo>
                      <a:cubicBezTo>
                        <a:pt x="3076" y="52308"/>
                        <a:pt x="3076" y="52308"/>
                        <a:pt x="0" y="49231"/>
                      </a:cubicBezTo>
                      <a:cubicBezTo>
                        <a:pt x="0" y="46154"/>
                        <a:pt x="0" y="43077"/>
                        <a:pt x="3076" y="43077"/>
                      </a:cubicBezTo>
                      <a:cubicBezTo>
                        <a:pt x="30769" y="30769"/>
                        <a:pt x="27691" y="6154"/>
                        <a:pt x="27691" y="6154"/>
                      </a:cubicBezTo>
                      <a:cubicBezTo>
                        <a:pt x="27691" y="3077"/>
                        <a:pt x="30769" y="0"/>
                        <a:pt x="33845" y="0"/>
                      </a:cubicBezTo>
                      <a:cubicBezTo>
                        <a:pt x="36922" y="0"/>
                        <a:pt x="40000" y="3077"/>
                        <a:pt x="40000" y="6154"/>
                      </a:cubicBezTo>
                      <a:cubicBezTo>
                        <a:pt x="43076" y="15385"/>
                        <a:pt x="40000" y="40000"/>
                        <a:pt x="6152" y="52308"/>
                      </a:cubicBezTo>
                      <a:cubicBezTo>
                        <a:pt x="9230" y="52308"/>
                        <a:pt x="6152" y="52308"/>
                        <a:pt x="6152" y="52308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A59BAEEF-EAEE-44F8-8B93-9AA34020E993}"/>
                    </a:ext>
                  </a:extLst>
                </p:cNvPr>
                <p:cNvSpPr/>
                <p:nvPr/>
              </p:nvSpPr>
              <p:spPr>
                <a:xfrm>
                  <a:off x="13742154" y="-299204"/>
                  <a:ext cx="172306" cy="67692"/>
                </a:xfrm>
                <a:custGeom>
                  <a:avLst/>
                  <a:gdLst>
                    <a:gd name="connsiteX0" fmla="*/ 150770 w 172306"/>
                    <a:gd name="connsiteY0" fmla="*/ 67692 h 67692"/>
                    <a:gd name="connsiteX1" fmla="*/ 144616 w 172306"/>
                    <a:gd name="connsiteY1" fmla="*/ 64615 h 67692"/>
                    <a:gd name="connsiteX2" fmla="*/ 147692 w 172306"/>
                    <a:gd name="connsiteY2" fmla="*/ 58462 h 67692"/>
                    <a:gd name="connsiteX3" fmla="*/ 163077 w 172306"/>
                    <a:gd name="connsiteY3" fmla="*/ 46154 h 67692"/>
                    <a:gd name="connsiteX4" fmla="*/ 156922 w 172306"/>
                    <a:gd name="connsiteY4" fmla="*/ 36923 h 67692"/>
                    <a:gd name="connsiteX5" fmla="*/ 6154 w 172306"/>
                    <a:gd name="connsiteY5" fmla="*/ 49231 h 67692"/>
                    <a:gd name="connsiteX6" fmla="*/ 0 w 172306"/>
                    <a:gd name="connsiteY6" fmla="*/ 46154 h 67692"/>
                    <a:gd name="connsiteX7" fmla="*/ 3076 w 172306"/>
                    <a:gd name="connsiteY7" fmla="*/ 40000 h 67692"/>
                    <a:gd name="connsiteX8" fmla="*/ 107692 w 172306"/>
                    <a:gd name="connsiteY8" fmla="*/ 0 h 67692"/>
                    <a:gd name="connsiteX9" fmla="*/ 113847 w 172306"/>
                    <a:gd name="connsiteY9" fmla="*/ 3077 h 67692"/>
                    <a:gd name="connsiteX10" fmla="*/ 110768 w 172306"/>
                    <a:gd name="connsiteY10" fmla="*/ 9231 h 67692"/>
                    <a:gd name="connsiteX11" fmla="*/ 58462 w 172306"/>
                    <a:gd name="connsiteY11" fmla="*/ 30769 h 67692"/>
                    <a:gd name="connsiteX12" fmla="*/ 163077 w 172306"/>
                    <a:gd name="connsiteY12" fmla="*/ 27692 h 67692"/>
                    <a:gd name="connsiteX13" fmla="*/ 172307 w 172306"/>
                    <a:gd name="connsiteY13" fmla="*/ 49231 h 67692"/>
                    <a:gd name="connsiteX14" fmla="*/ 150770 w 172306"/>
                    <a:gd name="connsiteY14" fmla="*/ 67692 h 67692"/>
                    <a:gd name="connsiteX15" fmla="*/ 150770 w 172306"/>
                    <a:gd name="connsiteY15" fmla="*/ 67692 h 676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72306" h="67692">
                      <a:moveTo>
                        <a:pt x="150770" y="67692"/>
                      </a:moveTo>
                      <a:cubicBezTo>
                        <a:pt x="147692" y="67692"/>
                        <a:pt x="144616" y="64615"/>
                        <a:pt x="144616" y="64615"/>
                      </a:cubicBezTo>
                      <a:cubicBezTo>
                        <a:pt x="144616" y="61538"/>
                        <a:pt x="144616" y="58462"/>
                        <a:pt x="147692" y="58462"/>
                      </a:cubicBezTo>
                      <a:cubicBezTo>
                        <a:pt x="156922" y="55385"/>
                        <a:pt x="163077" y="52308"/>
                        <a:pt x="163077" y="46154"/>
                      </a:cubicBezTo>
                      <a:cubicBezTo>
                        <a:pt x="163077" y="43077"/>
                        <a:pt x="160000" y="40000"/>
                        <a:pt x="156922" y="36923"/>
                      </a:cubicBezTo>
                      <a:cubicBezTo>
                        <a:pt x="147692" y="30769"/>
                        <a:pt x="73847" y="40000"/>
                        <a:pt x="6154" y="49231"/>
                      </a:cubicBezTo>
                      <a:cubicBezTo>
                        <a:pt x="3076" y="49231"/>
                        <a:pt x="0" y="49231"/>
                        <a:pt x="0" y="46154"/>
                      </a:cubicBezTo>
                      <a:cubicBezTo>
                        <a:pt x="0" y="43077"/>
                        <a:pt x="0" y="40000"/>
                        <a:pt x="3076" y="40000"/>
                      </a:cubicBezTo>
                      <a:cubicBezTo>
                        <a:pt x="43078" y="27692"/>
                        <a:pt x="107692" y="0"/>
                        <a:pt x="107692" y="0"/>
                      </a:cubicBezTo>
                      <a:cubicBezTo>
                        <a:pt x="110768" y="0"/>
                        <a:pt x="113847" y="0"/>
                        <a:pt x="113847" y="3077"/>
                      </a:cubicBezTo>
                      <a:cubicBezTo>
                        <a:pt x="113847" y="6154"/>
                        <a:pt x="113847" y="9231"/>
                        <a:pt x="110768" y="9231"/>
                      </a:cubicBezTo>
                      <a:cubicBezTo>
                        <a:pt x="110768" y="9231"/>
                        <a:pt x="86153" y="21538"/>
                        <a:pt x="58462" y="30769"/>
                      </a:cubicBezTo>
                      <a:cubicBezTo>
                        <a:pt x="101538" y="24615"/>
                        <a:pt x="153846" y="21538"/>
                        <a:pt x="163077" y="27692"/>
                      </a:cubicBezTo>
                      <a:cubicBezTo>
                        <a:pt x="172307" y="36923"/>
                        <a:pt x="172307" y="43077"/>
                        <a:pt x="172307" y="49231"/>
                      </a:cubicBezTo>
                      <a:cubicBezTo>
                        <a:pt x="172307" y="55385"/>
                        <a:pt x="163077" y="64615"/>
                        <a:pt x="150770" y="67692"/>
                      </a:cubicBezTo>
                      <a:cubicBezTo>
                        <a:pt x="150770" y="67692"/>
                        <a:pt x="150770" y="67692"/>
                        <a:pt x="150770" y="67692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ECAF0D35-B635-4F11-9EF8-5244A7BEDC83}"/>
                  </a:ext>
                </a:extLst>
              </p:cNvPr>
              <p:cNvSpPr/>
              <p:nvPr/>
            </p:nvSpPr>
            <p:spPr>
              <a:xfrm>
                <a:off x="13714461" y="-205026"/>
                <a:ext cx="133583" cy="65822"/>
              </a:xfrm>
              <a:custGeom>
                <a:avLst/>
                <a:gdLst>
                  <a:gd name="connsiteX0" fmla="*/ 27693 w 133583"/>
                  <a:gd name="connsiteY0" fmla="*/ 65822 h 65822"/>
                  <a:gd name="connsiteX1" fmla="*/ 21539 w 133583"/>
                  <a:gd name="connsiteY1" fmla="*/ 62746 h 65822"/>
                  <a:gd name="connsiteX2" fmla="*/ 24617 w 133583"/>
                  <a:gd name="connsiteY2" fmla="*/ 56592 h 65822"/>
                  <a:gd name="connsiteX3" fmla="*/ 123077 w 133583"/>
                  <a:gd name="connsiteY3" fmla="*/ 22745 h 65822"/>
                  <a:gd name="connsiteX4" fmla="*/ 123077 w 133583"/>
                  <a:gd name="connsiteY4" fmla="*/ 16592 h 65822"/>
                  <a:gd name="connsiteX5" fmla="*/ 101540 w 133583"/>
                  <a:gd name="connsiteY5" fmla="*/ 13515 h 65822"/>
                  <a:gd name="connsiteX6" fmla="*/ 61538 w 133583"/>
                  <a:gd name="connsiteY6" fmla="*/ 22745 h 65822"/>
                  <a:gd name="connsiteX7" fmla="*/ 6154 w 133583"/>
                  <a:gd name="connsiteY7" fmla="*/ 31976 h 65822"/>
                  <a:gd name="connsiteX8" fmla="*/ 0 w 133583"/>
                  <a:gd name="connsiteY8" fmla="*/ 25822 h 65822"/>
                  <a:gd name="connsiteX9" fmla="*/ 6154 w 133583"/>
                  <a:gd name="connsiteY9" fmla="*/ 19669 h 65822"/>
                  <a:gd name="connsiteX10" fmla="*/ 58462 w 133583"/>
                  <a:gd name="connsiteY10" fmla="*/ 10438 h 65822"/>
                  <a:gd name="connsiteX11" fmla="*/ 98462 w 133583"/>
                  <a:gd name="connsiteY11" fmla="*/ 1207 h 65822"/>
                  <a:gd name="connsiteX12" fmla="*/ 129231 w 133583"/>
                  <a:gd name="connsiteY12" fmla="*/ 7361 h 65822"/>
                  <a:gd name="connsiteX13" fmla="*/ 132309 w 133583"/>
                  <a:gd name="connsiteY13" fmla="*/ 22745 h 65822"/>
                  <a:gd name="connsiteX14" fmla="*/ 27693 w 133583"/>
                  <a:gd name="connsiteY14" fmla="*/ 65822 h 65822"/>
                  <a:gd name="connsiteX15" fmla="*/ 27693 w 133583"/>
                  <a:gd name="connsiteY15" fmla="*/ 65822 h 65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3583" h="65822">
                    <a:moveTo>
                      <a:pt x="27693" y="65822"/>
                    </a:moveTo>
                    <a:cubicBezTo>
                      <a:pt x="24617" y="65822"/>
                      <a:pt x="21539" y="62746"/>
                      <a:pt x="21539" y="62746"/>
                    </a:cubicBezTo>
                    <a:cubicBezTo>
                      <a:pt x="21539" y="59669"/>
                      <a:pt x="21539" y="56592"/>
                      <a:pt x="24617" y="56592"/>
                    </a:cubicBezTo>
                    <a:cubicBezTo>
                      <a:pt x="73847" y="47361"/>
                      <a:pt x="120001" y="28899"/>
                      <a:pt x="123077" y="22745"/>
                    </a:cubicBezTo>
                    <a:cubicBezTo>
                      <a:pt x="123077" y="19669"/>
                      <a:pt x="123077" y="16592"/>
                      <a:pt x="123077" y="16592"/>
                    </a:cubicBezTo>
                    <a:cubicBezTo>
                      <a:pt x="123077" y="16592"/>
                      <a:pt x="116925" y="13515"/>
                      <a:pt x="101540" y="13515"/>
                    </a:cubicBezTo>
                    <a:cubicBezTo>
                      <a:pt x="95386" y="13515"/>
                      <a:pt x="76923" y="16592"/>
                      <a:pt x="61538" y="22745"/>
                    </a:cubicBezTo>
                    <a:cubicBezTo>
                      <a:pt x="40002" y="28899"/>
                      <a:pt x="18463" y="31976"/>
                      <a:pt x="6154" y="31976"/>
                    </a:cubicBezTo>
                    <a:cubicBezTo>
                      <a:pt x="3078" y="31976"/>
                      <a:pt x="0" y="28899"/>
                      <a:pt x="0" y="25822"/>
                    </a:cubicBezTo>
                    <a:cubicBezTo>
                      <a:pt x="0" y="22745"/>
                      <a:pt x="3078" y="19669"/>
                      <a:pt x="6154" y="19669"/>
                    </a:cubicBezTo>
                    <a:cubicBezTo>
                      <a:pt x="15385" y="19669"/>
                      <a:pt x="36923" y="13515"/>
                      <a:pt x="58462" y="10438"/>
                    </a:cubicBezTo>
                    <a:cubicBezTo>
                      <a:pt x="76923" y="7361"/>
                      <a:pt x="92308" y="4284"/>
                      <a:pt x="98462" y="1207"/>
                    </a:cubicBezTo>
                    <a:cubicBezTo>
                      <a:pt x="113847" y="-1870"/>
                      <a:pt x="123077" y="1207"/>
                      <a:pt x="129231" y="7361"/>
                    </a:cubicBezTo>
                    <a:cubicBezTo>
                      <a:pt x="132309" y="10438"/>
                      <a:pt x="135385" y="13515"/>
                      <a:pt x="132309" y="22745"/>
                    </a:cubicBezTo>
                    <a:cubicBezTo>
                      <a:pt x="132309" y="41207"/>
                      <a:pt x="58462" y="56592"/>
                      <a:pt x="27693" y="65822"/>
                    </a:cubicBezTo>
                    <a:cubicBezTo>
                      <a:pt x="27693" y="65822"/>
                      <a:pt x="27693" y="65822"/>
                      <a:pt x="27693" y="6582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4A154291-8A05-4431-9DE5-01E2DC747929}"/>
                  </a:ext>
                </a:extLst>
              </p:cNvPr>
              <p:cNvSpPr/>
              <p:nvPr/>
            </p:nvSpPr>
            <p:spPr>
              <a:xfrm>
                <a:off x="13726769" y="-246896"/>
                <a:ext cx="180769" cy="52307"/>
              </a:xfrm>
              <a:custGeom>
                <a:avLst/>
                <a:gdLst>
                  <a:gd name="connsiteX0" fmla="*/ 107692 w 180769"/>
                  <a:gd name="connsiteY0" fmla="*/ 52308 h 52307"/>
                  <a:gd name="connsiteX1" fmla="*/ 101538 w 180769"/>
                  <a:gd name="connsiteY1" fmla="*/ 46154 h 52307"/>
                  <a:gd name="connsiteX2" fmla="*/ 107692 w 180769"/>
                  <a:gd name="connsiteY2" fmla="*/ 40000 h 52307"/>
                  <a:gd name="connsiteX3" fmla="*/ 169231 w 180769"/>
                  <a:gd name="connsiteY3" fmla="*/ 21538 h 52307"/>
                  <a:gd name="connsiteX4" fmla="*/ 169231 w 180769"/>
                  <a:gd name="connsiteY4" fmla="*/ 18461 h 52307"/>
                  <a:gd name="connsiteX5" fmla="*/ 147692 w 180769"/>
                  <a:gd name="connsiteY5" fmla="*/ 9231 h 52307"/>
                  <a:gd name="connsiteX6" fmla="*/ 79999 w 180769"/>
                  <a:gd name="connsiteY6" fmla="*/ 21538 h 52307"/>
                  <a:gd name="connsiteX7" fmla="*/ 67693 w 180769"/>
                  <a:gd name="connsiteY7" fmla="*/ 24615 h 52307"/>
                  <a:gd name="connsiteX8" fmla="*/ 6154 w 180769"/>
                  <a:gd name="connsiteY8" fmla="*/ 33846 h 52307"/>
                  <a:gd name="connsiteX9" fmla="*/ 0 w 180769"/>
                  <a:gd name="connsiteY9" fmla="*/ 27692 h 52307"/>
                  <a:gd name="connsiteX10" fmla="*/ 6154 w 180769"/>
                  <a:gd name="connsiteY10" fmla="*/ 21538 h 52307"/>
                  <a:gd name="connsiteX11" fmla="*/ 67693 w 180769"/>
                  <a:gd name="connsiteY11" fmla="*/ 15385 h 52307"/>
                  <a:gd name="connsiteX12" fmla="*/ 79999 w 180769"/>
                  <a:gd name="connsiteY12" fmla="*/ 12308 h 52307"/>
                  <a:gd name="connsiteX13" fmla="*/ 147692 w 180769"/>
                  <a:gd name="connsiteY13" fmla="*/ 0 h 52307"/>
                  <a:gd name="connsiteX14" fmla="*/ 147692 w 180769"/>
                  <a:gd name="connsiteY14" fmla="*/ 0 h 52307"/>
                  <a:gd name="connsiteX15" fmla="*/ 178461 w 180769"/>
                  <a:gd name="connsiteY15" fmla="*/ 15385 h 52307"/>
                  <a:gd name="connsiteX16" fmla="*/ 178461 w 180769"/>
                  <a:gd name="connsiteY16" fmla="*/ 30769 h 52307"/>
                  <a:gd name="connsiteX17" fmla="*/ 107692 w 180769"/>
                  <a:gd name="connsiteY17" fmla="*/ 52308 h 52307"/>
                  <a:gd name="connsiteX18" fmla="*/ 107692 w 180769"/>
                  <a:gd name="connsiteY18" fmla="*/ 52308 h 5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80769" h="52307">
                    <a:moveTo>
                      <a:pt x="107692" y="52308"/>
                    </a:moveTo>
                    <a:cubicBezTo>
                      <a:pt x="104616" y="52308"/>
                      <a:pt x="101538" y="49231"/>
                      <a:pt x="101538" y="46154"/>
                    </a:cubicBezTo>
                    <a:cubicBezTo>
                      <a:pt x="101538" y="43077"/>
                      <a:pt x="104616" y="40000"/>
                      <a:pt x="107692" y="40000"/>
                    </a:cubicBezTo>
                    <a:cubicBezTo>
                      <a:pt x="138462" y="33846"/>
                      <a:pt x="166155" y="27692"/>
                      <a:pt x="169231" y="21538"/>
                    </a:cubicBezTo>
                    <a:cubicBezTo>
                      <a:pt x="169231" y="21538"/>
                      <a:pt x="169231" y="18461"/>
                      <a:pt x="169231" y="18461"/>
                    </a:cubicBezTo>
                    <a:cubicBezTo>
                      <a:pt x="166155" y="15385"/>
                      <a:pt x="156922" y="9231"/>
                      <a:pt x="147692" y="9231"/>
                    </a:cubicBezTo>
                    <a:cubicBezTo>
                      <a:pt x="135385" y="9231"/>
                      <a:pt x="98462" y="18461"/>
                      <a:pt x="79999" y="21538"/>
                    </a:cubicBezTo>
                    <a:cubicBezTo>
                      <a:pt x="73847" y="21538"/>
                      <a:pt x="70769" y="24615"/>
                      <a:pt x="67693" y="24615"/>
                    </a:cubicBezTo>
                    <a:cubicBezTo>
                      <a:pt x="58462" y="27692"/>
                      <a:pt x="9230" y="30769"/>
                      <a:pt x="6154" y="33846"/>
                    </a:cubicBezTo>
                    <a:cubicBezTo>
                      <a:pt x="3076" y="33846"/>
                      <a:pt x="0" y="30769"/>
                      <a:pt x="0" y="27692"/>
                    </a:cubicBezTo>
                    <a:cubicBezTo>
                      <a:pt x="0" y="24615"/>
                      <a:pt x="3076" y="21538"/>
                      <a:pt x="6154" y="21538"/>
                    </a:cubicBezTo>
                    <a:cubicBezTo>
                      <a:pt x="24615" y="18461"/>
                      <a:pt x="58462" y="15385"/>
                      <a:pt x="67693" y="15385"/>
                    </a:cubicBezTo>
                    <a:cubicBezTo>
                      <a:pt x="70769" y="15385"/>
                      <a:pt x="73847" y="15385"/>
                      <a:pt x="79999" y="12308"/>
                    </a:cubicBezTo>
                    <a:cubicBezTo>
                      <a:pt x="107692" y="6154"/>
                      <a:pt x="135385" y="0"/>
                      <a:pt x="147692" y="0"/>
                    </a:cubicBezTo>
                    <a:cubicBezTo>
                      <a:pt x="147692" y="0"/>
                      <a:pt x="147692" y="0"/>
                      <a:pt x="147692" y="0"/>
                    </a:cubicBezTo>
                    <a:cubicBezTo>
                      <a:pt x="160000" y="0"/>
                      <a:pt x="175385" y="6154"/>
                      <a:pt x="178461" y="15385"/>
                    </a:cubicBezTo>
                    <a:cubicBezTo>
                      <a:pt x="181539" y="18461"/>
                      <a:pt x="181539" y="24615"/>
                      <a:pt x="178461" y="30769"/>
                    </a:cubicBezTo>
                    <a:cubicBezTo>
                      <a:pt x="172307" y="40000"/>
                      <a:pt x="126153" y="49231"/>
                      <a:pt x="107692" y="52308"/>
                    </a:cubicBezTo>
                    <a:cubicBezTo>
                      <a:pt x="107692" y="52308"/>
                      <a:pt x="107692" y="52308"/>
                      <a:pt x="107692" y="5230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492E6200-3EE6-411B-9927-A7A46F0DBD59}"/>
                </a:ext>
              </a:extLst>
            </p:cNvPr>
            <p:cNvSpPr/>
            <p:nvPr/>
          </p:nvSpPr>
          <p:spPr>
            <a:xfrm>
              <a:off x="12219077" y="119257"/>
              <a:ext cx="101538" cy="147692"/>
            </a:xfrm>
            <a:custGeom>
              <a:avLst/>
              <a:gdLst>
                <a:gd name="connsiteX0" fmla="*/ 101538 w 101538"/>
                <a:gd name="connsiteY0" fmla="*/ 0 h 147692"/>
                <a:gd name="connsiteX1" fmla="*/ 0 w 101538"/>
                <a:gd name="connsiteY1" fmla="*/ 0 h 147692"/>
                <a:gd name="connsiteX2" fmla="*/ 6154 w 101538"/>
                <a:gd name="connsiteY2" fmla="*/ 147692 h 147692"/>
                <a:gd name="connsiteX3" fmla="*/ 101538 w 101538"/>
                <a:gd name="connsiteY3" fmla="*/ 129231 h 14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538" h="147692">
                  <a:moveTo>
                    <a:pt x="101538" y="0"/>
                  </a:moveTo>
                  <a:lnTo>
                    <a:pt x="0" y="0"/>
                  </a:lnTo>
                  <a:lnTo>
                    <a:pt x="6154" y="147692"/>
                  </a:lnTo>
                  <a:lnTo>
                    <a:pt x="101538" y="129231"/>
                  </a:ln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" name="图形 1">
              <a:extLst>
                <a:ext uri="{FF2B5EF4-FFF2-40B4-BE49-F238E27FC236}">
                  <a16:creationId xmlns:a16="http://schemas.microsoft.com/office/drawing/2014/main" id="{77CFCC27-E195-453E-A5B7-5FF89244E5F5}"/>
                </a:ext>
              </a:extLst>
            </p:cNvPr>
            <p:cNvGrpSpPr/>
            <p:nvPr/>
          </p:nvGrpSpPr>
          <p:grpSpPr>
            <a:xfrm>
              <a:off x="16640282" y="1347736"/>
              <a:ext cx="1572349" cy="1842290"/>
              <a:chOff x="16640282" y="1347736"/>
              <a:chExt cx="1572349" cy="1842290"/>
            </a:xfrm>
          </p:grpSpPr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44F354D2-E759-44F0-92D9-663D5880F092}"/>
                  </a:ext>
                </a:extLst>
              </p:cNvPr>
              <p:cNvSpPr/>
              <p:nvPr/>
            </p:nvSpPr>
            <p:spPr>
              <a:xfrm>
                <a:off x="16640282" y="1488573"/>
                <a:ext cx="592292" cy="581592"/>
              </a:xfrm>
              <a:custGeom>
                <a:avLst/>
                <a:gdLst>
                  <a:gd name="connsiteX0" fmla="*/ 511103 w 592292"/>
                  <a:gd name="connsiteY0" fmla="*/ 332223 h 581592"/>
                  <a:gd name="connsiteX1" fmla="*/ 541872 w 592292"/>
                  <a:gd name="connsiteY1" fmla="*/ 138377 h 581592"/>
                  <a:gd name="connsiteX2" fmla="*/ 381872 w 592292"/>
                  <a:gd name="connsiteY2" fmla="*/ 76838 h 581592"/>
                  <a:gd name="connsiteX3" fmla="*/ 203411 w 592292"/>
                  <a:gd name="connsiteY3" fmla="*/ 12223 h 581592"/>
                  <a:gd name="connsiteX4" fmla="*/ 111103 w 592292"/>
                  <a:gd name="connsiteY4" fmla="*/ 199915 h 581592"/>
                  <a:gd name="connsiteX5" fmla="*/ 335 w 592292"/>
                  <a:gd name="connsiteY5" fmla="*/ 301454 h 581592"/>
                  <a:gd name="connsiteX6" fmla="*/ 43410 w 592292"/>
                  <a:gd name="connsiteY6" fmla="*/ 409146 h 581592"/>
                  <a:gd name="connsiteX7" fmla="*/ 240334 w 592292"/>
                  <a:gd name="connsiteY7" fmla="*/ 544531 h 581592"/>
                  <a:gd name="connsiteX8" fmla="*/ 504949 w 592292"/>
                  <a:gd name="connsiteY8" fmla="*/ 547607 h 581592"/>
                  <a:gd name="connsiteX9" fmla="*/ 511103 w 592292"/>
                  <a:gd name="connsiteY9" fmla="*/ 332223 h 581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2292" h="581592">
                    <a:moveTo>
                      <a:pt x="511103" y="332223"/>
                    </a:moveTo>
                    <a:cubicBezTo>
                      <a:pt x="554181" y="276838"/>
                      <a:pt x="578796" y="206069"/>
                      <a:pt x="541872" y="138377"/>
                    </a:cubicBezTo>
                    <a:cubicBezTo>
                      <a:pt x="508027" y="73761"/>
                      <a:pt x="443410" y="58377"/>
                      <a:pt x="381872" y="76838"/>
                    </a:cubicBezTo>
                    <a:cubicBezTo>
                      <a:pt x="360335" y="2992"/>
                      <a:pt x="274180" y="-15469"/>
                      <a:pt x="203411" y="12223"/>
                    </a:cubicBezTo>
                    <a:cubicBezTo>
                      <a:pt x="114181" y="42992"/>
                      <a:pt x="95718" y="116838"/>
                      <a:pt x="111103" y="199915"/>
                    </a:cubicBezTo>
                    <a:cubicBezTo>
                      <a:pt x="52643" y="196838"/>
                      <a:pt x="3411" y="239915"/>
                      <a:pt x="335" y="301454"/>
                    </a:cubicBezTo>
                    <a:cubicBezTo>
                      <a:pt x="-2744" y="344530"/>
                      <a:pt x="15719" y="381454"/>
                      <a:pt x="43410" y="409146"/>
                    </a:cubicBezTo>
                    <a:cubicBezTo>
                      <a:pt x="40334" y="513761"/>
                      <a:pt x="175720" y="596838"/>
                      <a:pt x="240334" y="544531"/>
                    </a:cubicBezTo>
                    <a:cubicBezTo>
                      <a:pt x="283412" y="609146"/>
                      <a:pt x="449565" y="575300"/>
                      <a:pt x="504949" y="547607"/>
                    </a:cubicBezTo>
                    <a:cubicBezTo>
                      <a:pt x="618795" y="495300"/>
                      <a:pt x="621873" y="356838"/>
                      <a:pt x="511103" y="332223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2A819221-2266-4B60-9F23-A677F57A0494}"/>
                  </a:ext>
                </a:extLst>
              </p:cNvPr>
              <p:cNvSpPr/>
              <p:nvPr/>
            </p:nvSpPr>
            <p:spPr>
              <a:xfrm>
                <a:off x="16935666" y="1368573"/>
                <a:ext cx="592293" cy="581592"/>
              </a:xfrm>
              <a:custGeom>
                <a:avLst/>
                <a:gdLst>
                  <a:gd name="connsiteX0" fmla="*/ 511105 w 592293"/>
                  <a:gd name="connsiteY0" fmla="*/ 332223 h 581592"/>
                  <a:gd name="connsiteX1" fmla="*/ 541874 w 592293"/>
                  <a:gd name="connsiteY1" fmla="*/ 138377 h 581592"/>
                  <a:gd name="connsiteX2" fmla="*/ 381873 w 592293"/>
                  <a:gd name="connsiteY2" fmla="*/ 76838 h 581592"/>
                  <a:gd name="connsiteX3" fmla="*/ 203412 w 592293"/>
                  <a:gd name="connsiteY3" fmla="*/ 12223 h 581592"/>
                  <a:gd name="connsiteX4" fmla="*/ 111105 w 592293"/>
                  <a:gd name="connsiteY4" fmla="*/ 199915 h 581592"/>
                  <a:gd name="connsiteX5" fmla="*/ 334 w 592293"/>
                  <a:gd name="connsiteY5" fmla="*/ 301454 h 581592"/>
                  <a:gd name="connsiteX6" fmla="*/ 43412 w 592293"/>
                  <a:gd name="connsiteY6" fmla="*/ 409146 h 581592"/>
                  <a:gd name="connsiteX7" fmla="*/ 240334 w 592293"/>
                  <a:gd name="connsiteY7" fmla="*/ 544531 h 581592"/>
                  <a:gd name="connsiteX8" fmla="*/ 504950 w 592293"/>
                  <a:gd name="connsiteY8" fmla="*/ 547608 h 581592"/>
                  <a:gd name="connsiteX9" fmla="*/ 511105 w 592293"/>
                  <a:gd name="connsiteY9" fmla="*/ 332223 h 581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2293" h="581592">
                    <a:moveTo>
                      <a:pt x="511105" y="332223"/>
                    </a:moveTo>
                    <a:cubicBezTo>
                      <a:pt x="554180" y="276838"/>
                      <a:pt x="578795" y="206069"/>
                      <a:pt x="541874" y="138377"/>
                    </a:cubicBezTo>
                    <a:cubicBezTo>
                      <a:pt x="508027" y="73761"/>
                      <a:pt x="443412" y="58377"/>
                      <a:pt x="381873" y="76838"/>
                    </a:cubicBezTo>
                    <a:cubicBezTo>
                      <a:pt x="360335" y="2992"/>
                      <a:pt x="274181" y="-15469"/>
                      <a:pt x="203412" y="12223"/>
                    </a:cubicBezTo>
                    <a:cubicBezTo>
                      <a:pt x="114181" y="42992"/>
                      <a:pt x="95720" y="116838"/>
                      <a:pt x="111105" y="199915"/>
                    </a:cubicBezTo>
                    <a:cubicBezTo>
                      <a:pt x="52642" y="196838"/>
                      <a:pt x="3412" y="239915"/>
                      <a:pt x="334" y="301454"/>
                    </a:cubicBezTo>
                    <a:cubicBezTo>
                      <a:pt x="-2742" y="344530"/>
                      <a:pt x="15719" y="381454"/>
                      <a:pt x="43412" y="409146"/>
                    </a:cubicBezTo>
                    <a:cubicBezTo>
                      <a:pt x="40334" y="513761"/>
                      <a:pt x="175719" y="596838"/>
                      <a:pt x="240334" y="544531"/>
                    </a:cubicBezTo>
                    <a:cubicBezTo>
                      <a:pt x="283412" y="609146"/>
                      <a:pt x="449566" y="575300"/>
                      <a:pt x="504950" y="547608"/>
                    </a:cubicBezTo>
                    <a:cubicBezTo>
                      <a:pt x="618797" y="498377"/>
                      <a:pt x="621873" y="356838"/>
                      <a:pt x="511105" y="332223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8CF2985A-3361-4CC0-B7E2-4B849415566B}"/>
                  </a:ext>
                </a:extLst>
              </p:cNvPr>
              <p:cNvSpPr/>
              <p:nvPr/>
            </p:nvSpPr>
            <p:spPr>
              <a:xfrm>
                <a:off x="17583669" y="1347736"/>
                <a:ext cx="605415" cy="614050"/>
              </a:xfrm>
              <a:custGeom>
                <a:avLst/>
                <a:gdLst>
                  <a:gd name="connsiteX0" fmla="*/ 604639 w 605415"/>
                  <a:gd name="connsiteY0" fmla="*/ 229983 h 614050"/>
                  <a:gd name="connsiteX1" fmla="*/ 487716 w 605415"/>
                  <a:gd name="connsiteY1" fmla="*/ 119213 h 614050"/>
                  <a:gd name="connsiteX2" fmla="*/ 416947 w 605415"/>
                  <a:gd name="connsiteY2" fmla="*/ 5367 h 614050"/>
                  <a:gd name="connsiteX3" fmla="*/ 333870 w 605415"/>
                  <a:gd name="connsiteY3" fmla="*/ 11521 h 614050"/>
                  <a:gd name="connsiteX4" fmla="*/ 235408 w 605415"/>
                  <a:gd name="connsiteY4" fmla="*/ 42290 h 614050"/>
                  <a:gd name="connsiteX5" fmla="*/ 23100 w 605415"/>
                  <a:gd name="connsiteY5" fmla="*/ 79213 h 614050"/>
                  <a:gd name="connsiteX6" fmla="*/ 47717 w 605415"/>
                  <a:gd name="connsiteY6" fmla="*/ 239213 h 614050"/>
                  <a:gd name="connsiteX7" fmla="*/ 44638 w 605415"/>
                  <a:gd name="connsiteY7" fmla="*/ 242290 h 614050"/>
                  <a:gd name="connsiteX8" fmla="*/ 121562 w 605415"/>
                  <a:gd name="connsiteY8" fmla="*/ 433060 h 614050"/>
                  <a:gd name="connsiteX9" fmla="*/ 355409 w 605415"/>
                  <a:gd name="connsiteY9" fmla="*/ 562290 h 614050"/>
                  <a:gd name="connsiteX10" fmla="*/ 524640 w 605415"/>
                  <a:gd name="connsiteY10" fmla="*/ 371521 h 614050"/>
                  <a:gd name="connsiteX11" fmla="*/ 604639 w 605415"/>
                  <a:gd name="connsiteY11" fmla="*/ 229983 h 614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5415" h="614050">
                    <a:moveTo>
                      <a:pt x="604639" y="229983"/>
                    </a:moveTo>
                    <a:cubicBezTo>
                      <a:pt x="595409" y="165367"/>
                      <a:pt x="549255" y="119213"/>
                      <a:pt x="487716" y="119213"/>
                    </a:cubicBezTo>
                    <a:cubicBezTo>
                      <a:pt x="487716" y="69983"/>
                      <a:pt x="466177" y="23829"/>
                      <a:pt x="416947" y="5367"/>
                    </a:cubicBezTo>
                    <a:cubicBezTo>
                      <a:pt x="389254" y="-3864"/>
                      <a:pt x="358485" y="-787"/>
                      <a:pt x="333870" y="11521"/>
                    </a:cubicBezTo>
                    <a:cubicBezTo>
                      <a:pt x="287716" y="33060"/>
                      <a:pt x="293870" y="51521"/>
                      <a:pt x="235408" y="42290"/>
                    </a:cubicBezTo>
                    <a:cubicBezTo>
                      <a:pt x="170793" y="36136"/>
                      <a:pt x="75408" y="23829"/>
                      <a:pt x="23100" y="79213"/>
                    </a:cubicBezTo>
                    <a:cubicBezTo>
                      <a:pt x="-23054" y="131521"/>
                      <a:pt x="7715" y="193059"/>
                      <a:pt x="47717" y="239213"/>
                    </a:cubicBezTo>
                    <a:cubicBezTo>
                      <a:pt x="47717" y="239213"/>
                      <a:pt x="47717" y="242290"/>
                      <a:pt x="44638" y="242290"/>
                    </a:cubicBezTo>
                    <a:cubicBezTo>
                      <a:pt x="10793" y="322290"/>
                      <a:pt x="29254" y="429983"/>
                      <a:pt x="121562" y="433060"/>
                    </a:cubicBezTo>
                    <a:cubicBezTo>
                      <a:pt x="72332" y="574598"/>
                      <a:pt x="256947" y="682290"/>
                      <a:pt x="355409" y="562290"/>
                    </a:cubicBezTo>
                    <a:cubicBezTo>
                      <a:pt x="478486" y="648444"/>
                      <a:pt x="595409" y="491521"/>
                      <a:pt x="524640" y="371521"/>
                    </a:cubicBezTo>
                    <a:cubicBezTo>
                      <a:pt x="580024" y="340752"/>
                      <a:pt x="610793" y="294598"/>
                      <a:pt x="604639" y="229983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32F0B6D4-9811-417B-A981-83FF00A09557}"/>
                  </a:ext>
                </a:extLst>
              </p:cNvPr>
              <p:cNvSpPr/>
              <p:nvPr/>
            </p:nvSpPr>
            <p:spPr>
              <a:xfrm>
                <a:off x="16643107" y="2093318"/>
                <a:ext cx="588848" cy="590174"/>
              </a:xfrm>
              <a:custGeom>
                <a:avLst/>
                <a:gdLst>
                  <a:gd name="connsiteX0" fmla="*/ 492893 w 588848"/>
                  <a:gd name="connsiteY0" fmla="*/ 130555 h 590174"/>
                  <a:gd name="connsiteX1" fmla="*/ 197509 w 588848"/>
                  <a:gd name="connsiteY1" fmla="*/ 112093 h 590174"/>
                  <a:gd name="connsiteX2" fmla="*/ 585 w 588848"/>
                  <a:gd name="connsiteY2" fmla="*/ 324401 h 590174"/>
                  <a:gd name="connsiteX3" fmla="*/ 139046 w 588848"/>
                  <a:gd name="connsiteY3" fmla="*/ 453632 h 590174"/>
                  <a:gd name="connsiteX4" fmla="*/ 172894 w 588848"/>
                  <a:gd name="connsiteY4" fmla="*/ 582862 h 590174"/>
                  <a:gd name="connsiteX5" fmla="*/ 437508 w 588848"/>
                  <a:gd name="connsiteY5" fmla="*/ 499786 h 590174"/>
                  <a:gd name="connsiteX6" fmla="*/ 499047 w 588848"/>
                  <a:gd name="connsiteY6" fmla="*/ 509016 h 590174"/>
                  <a:gd name="connsiteX7" fmla="*/ 560585 w 588848"/>
                  <a:gd name="connsiteY7" fmla="*/ 315170 h 590174"/>
                  <a:gd name="connsiteX8" fmla="*/ 560585 w 588848"/>
                  <a:gd name="connsiteY8" fmla="*/ 312093 h 590174"/>
                  <a:gd name="connsiteX9" fmla="*/ 492893 w 588848"/>
                  <a:gd name="connsiteY9" fmla="*/ 130555 h 590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88848" h="590174">
                    <a:moveTo>
                      <a:pt x="492893" y="130555"/>
                    </a:moveTo>
                    <a:cubicBezTo>
                      <a:pt x="495971" y="-14061"/>
                      <a:pt x="194431" y="-63291"/>
                      <a:pt x="197509" y="112093"/>
                    </a:cubicBezTo>
                    <a:cubicBezTo>
                      <a:pt x="92893" y="133632"/>
                      <a:pt x="-8645" y="204401"/>
                      <a:pt x="585" y="324401"/>
                    </a:cubicBezTo>
                    <a:cubicBezTo>
                      <a:pt x="6739" y="401324"/>
                      <a:pt x="68278" y="453632"/>
                      <a:pt x="139046" y="453632"/>
                    </a:cubicBezTo>
                    <a:cubicBezTo>
                      <a:pt x="95971" y="505939"/>
                      <a:pt x="74432" y="558247"/>
                      <a:pt x="172894" y="582862"/>
                    </a:cubicBezTo>
                    <a:cubicBezTo>
                      <a:pt x="271354" y="607478"/>
                      <a:pt x="369816" y="567478"/>
                      <a:pt x="437508" y="499786"/>
                    </a:cubicBezTo>
                    <a:cubicBezTo>
                      <a:pt x="452893" y="515170"/>
                      <a:pt x="477508" y="521324"/>
                      <a:pt x="499047" y="509016"/>
                    </a:cubicBezTo>
                    <a:cubicBezTo>
                      <a:pt x="554431" y="484401"/>
                      <a:pt x="554431" y="364401"/>
                      <a:pt x="560585" y="315170"/>
                    </a:cubicBezTo>
                    <a:cubicBezTo>
                      <a:pt x="560585" y="315170"/>
                      <a:pt x="560585" y="312093"/>
                      <a:pt x="560585" y="312093"/>
                    </a:cubicBezTo>
                    <a:cubicBezTo>
                      <a:pt x="619048" y="241324"/>
                      <a:pt x="582124" y="142862"/>
                      <a:pt x="492893" y="130555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F868F7C5-1B60-4E73-9EF4-7C6016AD6F25}"/>
                  </a:ext>
                </a:extLst>
              </p:cNvPr>
              <p:cNvSpPr/>
              <p:nvPr/>
            </p:nvSpPr>
            <p:spPr>
              <a:xfrm>
                <a:off x="17648195" y="2270120"/>
                <a:ext cx="564436" cy="547662"/>
              </a:xfrm>
              <a:custGeom>
                <a:avLst/>
                <a:gdLst>
                  <a:gd name="connsiteX0" fmla="*/ 44729 w 564436"/>
                  <a:gd name="connsiteY0" fmla="*/ 209137 h 547662"/>
                  <a:gd name="connsiteX1" fmla="*/ 281651 w 564436"/>
                  <a:gd name="connsiteY1" fmla="*/ 61444 h 547662"/>
                  <a:gd name="connsiteX2" fmla="*/ 546267 w 564436"/>
                  <a:gd name="connsiteY2" fmla="*/ 159906 h 547662"/>
                  <a:gd name="connsiteX3" fmla="*/ 493959 w 564436"/>
                  <a:gd name="connsiteY3" fmla="*/ 335290 h 547662"/>
                  <a:gd name="connsiteX4" fmla="*/ 527805 w 564436"/>
                  <a:gd name="connsiteY4" fmla="*/ 464521 h 547662"/>
                  <a:gd name="connsiteX5" fmla="*/ 266266 w 564436"/>
                  <a:gd name="connsiteY5" fmla="*/ 510675 h 547662"/>
                  <a:gd name="connsiteX6" fmla="*/ 220112 w 564436"/>
                  <a:gd name="connsiteY6" fmla="*/ 547598 h 547662"/>
                  <a:gd name="connsiteX7" fmla="*/ 78575 w 564436"/>
                  <a:gd name="connsiteY7" fmla="*/ 402983 h 547662"/>
                  <a:gd name="connsiteX8" fmla="*/ 75498 w 564436"/>
                  <a:gd name="connsiteY8" fmla="*/ 399906 h 547662"/>
                  <a:gd name="connsiteX9" fmla="*/ 44729 w 564436"/>
                  <a:gd name="connsiteY9" fmla="*/ 209137 h 547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64436" h="547662">
                    <a:moveTo>
                      <a:pt x="44729" y="209137"/>
                    </a:moveTo>
                    <a:cubicBezTo>
                      <a:pt x="-26042" y="82983"/>
                      <a:pt x="201652" y="-95479"/>
                      <a:pt x="281651" y="61444"/>
                    </a:cubicBezTo>
                    <a:cubicBezTo>
                      <a:pt x="377037" y="33752"/>
                      <a:pt x="497035" y="52214"/>
                      <a:pt x="546267" y="159906"/>
                    </a:cubicBezTo>
                    <a:cubicBezTo>
                      <a:pt x="577037" y="230675"/>
                      <a:pt x="552422" y="304521"/>
                      <a:pt x="493959" y="335290"/>
                    </a:cubicBezTo>
                    <a:cubicBezTo>
                      <a:pt x="555498" y="362983"/>
                      <a:pt x="598575" y="399906"/>
                      <a:pt x="527805" y="464521"/>
                    </a:cubicBezTo>
                    <a:cubicBezTo>
                      <a:pt x="457036" y="529137"/>
                      <a:pt x="355498" y="541444"/>
                      <a:pt x="266266" y="510675"/>
                    </a:cubicBezTo>
                    <a:cubicBezTo>
                      <a:pt x="263190" y="532214"/>
                      <a:pt x="244729" y="547598"/>
                      <a:pt x="220112" y="547598"/>
                    </a:cubicBezTo>
                    <a:cubicBezTo>
                      <a:pt x="161652" y="550675"/>
                      <a:pt x="106268" y="442983"/>
                      <a:pt x="78575" y="402983"/>
                    </a:cubicBezTo>
                    <a:cubicBezTo>
                      <a:pt x="78575" y="402983"/>
                      <a:pt x="78575" y="399906"/>
                      <a:pt x="75498" y="399906"/>
                    </a:cubicBezTo>
                    <a:cubicBezTo>
                      <a:pt x="-10657" y="366060"/>
                      <a:pt x="-26042" y="261444"/>
                      <a:pt x="44729" y="209137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8F5230E2-E1C8-4EB6-B9B7-61C72FEB516F}"/>
                  </a:ext>
                </a:extLst>
              </p:cNvPr>
              <p:cNvSpPr/>
              <p:nvPr/>
            </p:nvSpPr>
            <p:spPr>
              <a:xfrm>
                <a:off x="16839185" y="1660425"/>
                <a:ext cx="1090636" cy="1529600"/>
              </a:xfrm>
              <a:custGeom>
                <a:avLst/>
                <a:gdLst>
                  <a:gd name="connsiteX0" fmla="*/ 1059892 w 1090636"/>
                  <a:gd name="connsiteY0" fmla="*/ 908062 h 1529600"/>
                  <a:gd name="connsiteX1" fmla="*/ 721431 w 1090636"/>
                  <a:gd name="connsiteY1" fmla="*/ 1154216 h 1529600"/>
                  <a:gd name="connsiteX2" fmla="*/ 675277 w 1090636"/>
                  <a:gd name="connsiteY2" fmla="*/ 926524 h 1529600"/>
                  <a:gd name="connsiteX3" fmla="*/ 681431 w 1090636"/>
                  <a:gd name="connsiteY3" fmla="*/ 917293 h 1529600"/>
                  <a:gd name="connsiteX4" fmla="*/ 767584 w 1090636"/>
                  <a:gd name="connsiteY4" fmla="*/ 468062 h 1529600"/>
                  <a:gd name="connsiteX5" fmla="*/ 976817 w 1090636"/>
                  <a:gd name="connsiteY5" fmla="*/ 28063 h 1529600"/>
                  <a:gd name="connsiteX6" fmla="*/ 946047 w 1090636"/>
                  <a:gd name="connsiteY6" fmla="*/ 9601 h 1529600"/>
                  <a:gd name="connsiteX7" fmla="*/ 807586 w 1090636"/>
                  <a:gd name="connsiteY7" fmla="*/ 255755 h 1529600"/>
                  <a:gd name="connsiteX8" fmla="*/ 715278 w 1090636"/>
                  <a:gd name="connsiteY8" fmla="*/ 98832 h 1529600"/>
                  <a:gd name="connsiteX9" fmla="*/ 684509 w 1090636"/>
                  <a:gd name="connsiteY9" fmla="*/ 117293 h 1529600"/>
                  <a:gd name="connsiteX10" fmla="*/ 782969 w 1090636"/>
                  <a:gd name="connsiteY10" fmla="*/ 286524 h 1529600"/>
                  <a:gd name="connsiteX11" fmla="*/ 789123 w 1090636"/>
                  <a:gd name="connsiteY11" fmla="*/ 292678 h 1529600"/>
                  <a:gd name="connsiteX12" fmla="*/ 739893 w 1090636"/>
                  <a:gd name="connsiteY12" fmla="*/ 424986 h 1529600"/>
                  <a:gd name="connsiteX13" fmla="*/ 659892 w 1090636"/>
                  <a:gd name="connsiteY13" fmla="*/ 858832 h 1529600"/>
                  <a:gd name="connsiteX14" fmla="*/ 656816 w 1090636"/>
                  <a:gd name="connsiteY14" fmla="*/ 846524 h 1529600"/>
                  <a:gd name="connsiteX15" fmla="*/ 484509 w 1090636"/>
                  <a:gd name="connsiteY15" fmla="*/ 120370 h 1529600"/>
                  <a:gd name="connsiteX16" fmla="*/ 447585 w 1090636"/>
                  <a:gd name="connsiteY16" fmla="*/ 129601 h 1529600"/>
                  <a:gd name="connsiteX17" fmla="*/ 515278 w 1090636"/>
                  <a:gd name="connsiteY17" fmla="*/ 415755 h 1529600"/>
                  <a:gd name="connsiteX18" fmla="*/ 32201 w 1090636"/>
                  <a:gd name="connsiteY18" fmla="*/ 169601 h 1529600"/>
                  <a:gd name="connsiteX19" fmla="*/ 4508 w 1090636"/>
                  <a:gd name="connsiteY19" fmla="*/ 197293 h 1529600"/>
                  <a:gd name="connsiteX20" fmla="*/ 521431 w 1090636"/>
                  <a:gd name="connsiteY20" fmla="*/ 455755 h 1529600"/>
                  <a:gd name="connsiteX21" fmla="*/ 524509 w 1090636"/>
                  <a:gd name="connsiteY21" fmla="*/ 455755 h 1529600"/>
                  <a:gd name="connsiteX22" fmla="*/ 610662 w 1090636"/>
                  <a:gd name="connsiteY22" fmla="*/ 821909 h 1529600"/>
                  <a:gd name="connsiteX23" fmla="*/ 641431 w 1090636"/>
                  <a:gd name="connsiteY23" fmla="*/ 948063 h 1529600"/>
                  <a:gd name="connsiteX24" fmla="*/ 167584 w 1090636"/>
                  <a:gd name="connsiteY24" fmla="*/ 741909 h 1529600"/>
                  <a:gd name="connsiteX25" fmla="*/ 149124 w 1090636"/>
                  <a:gd name="connsiteY25" fmla="*/ 772678 h 1529600"/>
                  <a:gd name="connsiteX26" fmla="*/ 638355 w 1090636"/>
                  <a:gd name="connsiteY26" fmla="*/ 981908 h 1529600"/>
                  <a:gd name="connsiteX27" fmla="*/ 650662 w 1090636"/>
                  <a:gd name="connsiteY27" fmla="*/ 978832 h 1529600"/>
                  <a:gd name="connsiteX28" fmla="*/ 712200 w 1090636"/>
                  <a:gd name="connsiteY28" fmla="*/ 1511140 h 1529600"/>
                  <a:gd name="connsiteX29" fmla="*/ 749124 w 1090636"/>
                  <a:gd name="connsiteY29" fmla="*/ 1511140 h 1529600"/>
                  <a:gd name="connsiteX30" fmla="*/ 727585 w 1090636"/>
                  <a:gd name="connsiteY30" fmla="*/ 1178832 h 1529600"/>
                  <a:gd name="connsiteX31" fmla="*/ 739893 w 1090636"/>
                  <a:gd name="connsiteY31" fmla="*/ 1178832 h 1529600"/>
                  <a:gd name="connsiteX32" fmla="*/ 1084509 w 1090636"/>
                  <a:gd name="connsiteY32" fmla="*/ 926524 h 1529600"/>
                  <a:gd name="connsiteX33" fmla="*/ 1059892 w 1090636"/>
                  <a:gd name="connsiteY33" fmla="*/ 908062 h 152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090636" h="1529600">
                    <a:moveTo>
                      <a:pt x="1059892" y="908062"/>
                    </a:moveTo>
                    <a:cubicBezTo>
                      <a:pt x="967584" y="1015755"/>
                      <a:pt x="853740" y="1098832"/>
                      <a:pt x="721431" y="1154216"/>
                    </a:cubicBezTo>
                    <a:cubicBezTo>
                      <a:pt x="709124" y="1077293"/>
                      <a:pt x="693739" y="1003447"/>
                      <a:pt x="675277" y="926524"/>
                    </a:cubicBezTo>
                    <a:cubicBezTo>
                      <a:pt x="678355" y="923447"/>
                      <a:pt x="681431" y="923447"/>
                      <a:pt x="681431" y="917293"/>
                    </a:cubicBezTo>
                    <a:cubicBezTo>
                      <a:pt x="736815" y="772678"/>
                      <a:pt x="727585" y="615755"/>
                      <a:pt x="767584" y="468062"/>
                    </a:cubicBezTo>
                    <a:cubicBezTo>
                      <a:pt x="810662" y="311139"/>
                      <a:pt x="893739" y="169601"/>
                      <a:pt x="976817" y="28063"/>
                    </a:cubicBezTo>
                    <a:cubicBezTo>
                      <a:pt x="989123" y="6524"/>
                      <a:pt x="958354" y="-11938"/>
                      <a:pt x="946047" y="9601"/>
                    </a:cubicBezTo>
                    <a:cubicBezTo>
                      <a:pt x="896816" y="89601"/>
                      <a:pt x="850662" y="169601"/>
                      <a:pt x="807586" y="255755"/>
                    </a:cubicBezTo>
                    <a:cubicBezTo>
                      <a:pt x="779893" y="200370"/>
                      <a:pt x="752200" y="148063"/>
                      <a:pt x="715278" y="98832"/>
                    </a:cubicBezTo>
                    <a:cubicBezTo>
                      <a:pt x="699894" y="80370"/>
                      <a:pt x="669124" y="98832"/>
                      <a:pt x="684509" y="117293"/>
                    </a:cubicBezTo>
                    <a:cubicBezTo>
                      <a:pt x="724509" y="169601"/>
                      <a:pt x="755278" y="228063"/>
                      <a:pt x="782969" y="286524"/>
                    </a:cubicBezTo>
                    <a:cubicBezTo>
                      <a:pt x="786047" y="289601"/>
                      <a:pt x="786047" y="292678"/>
                      <a:pt x="789123" y="292678"/>
                    </a:cubicBezTo>
                    <a:cubicBezTo>
                      <a:pt x="770662" y="335755"/>
                      <a:pt x="752200" y="378832"/>
                      <a:pt x="739893" y="424986"/>
                    </a:cubicBezTo>
                    <a:cubicBezTo>
                      <a:pt x="696816" y="566524"/>
                      <a:pt x="699894" y="717293"/>
                      <a:pt x="659892" y="858832"/>
                    </a:cubicBezTo>
                    <a:cubicBezTo>
                      <a:pt x="659892" y="855755"/>
                      <a:pt x="656816" y="849601"/>
                      <a:pt x="656816" y="846524"/>
                    </a:cubicBezTo>
                    <a:cubicBezTo>
                      <a:pt x="598354" y="603447"/>
                      <a:pt x="542969" y="363447"/>
                      <a:pt x="484509" y="120370"/>
                    </a:cubicBezTo>
                    <a:cubicBezTo>
                      <a:pt x="478355" y="95755"/>
                      <a:pt x="444507" y="108062"/>
                      <a:pt x="447585" y="129601"/>
                    </a:cubicBezTo>
                    <a:cubicBezTo>
                      <a:pt x="469124" y="224986"/>
                      <a:pt x="493739" y="320370"/>
                      <a:pt x="515278" y="415755"/>
                    </a:cubicBezTo>
                    <a:cubicBezTo>
                      <a:pt x="327585" y="391139"/>
                      <a:pt x="161432" y="304986"/>
                      <a:pt x="32201" y="169601"/>
                    </a:cubicBezTo>
                    <a:cubicBezTo>
                      <a:pt x="16816" y="151139"/>
                      <a:pt x="-10877" y="178832"/>
                      <a:pt x="4508" y="197293"/>
                    </a:cubicBezTo>
                    <a:cubicBezTo>
                      <a:pt x="142969" y="344985"/>
                      <a:pt x="321430" y="431139"/>
                      <a:pt x="521431" y="455755"/>
                    </a:cubicBezTo>
                    <a:cubicBezTo>
                      <a:pt x="521431" y="455755"/>
                      <a:pt x="524509" y="455755"/>
                      <a:pt x="524509" y="455755"/>
                    </a:cubicBezTo>
                    <a:cubicBezTo>
                      <a:pt x="552200" y="578832"/>
                      <a:pt x="582969" y="701909"/>
                      <a:pt x="610662" y="821909"/>
                    </a:cubicBezTo>
                    <a:cubicBezTo>
                      <a:pt x="619892" y="864986"/>
                      <a:pt x="629123" y="904985"/>
                      <a:pt x="641431" y="948063"/>
                    </a:cubicBezTo>
                    <a:cubicBezTo>
                      <a:pt x="466046" y="920370"/>
                      <a:pt x="309124" y="849601"/>
                      <a:pt x="167584" y="741909"/>
                    </a:cubicBezTo>
                    <a:cubicBezTo>
                      <a:pt x="149124" y="726524"/>
                      <a:pt x="130663" y="760370"/>
                      <a:pt x="149124" y="772678"/>
                    </a:cubicBezTo>
                    <a:cubicBezTo>
                      <a:pt x="293739" y="883447"/>
                      <a:pt x="456816" y="954216"/>
                      <a:pt x="638355" y="981908"/>
                    </a:cubicBezTo>
                    <a:cubicBezTo>
                      <a:pt x="641431" y="981908"/>
                      <a:pt x="647586" y="981908"/>
                      <a:pt x="650662" y="978832"/>
                    </a:cubicBezTo>
                    <a:cubicBezTo>
                      <a:pt x="690661" y="1154216"/>
                      <a:pt x="718354" y="1329601"/>
                      <a:pt x="712200" y="1511140"/>
                    </a:cubicBezTo>
                    <a:cubicBezTo>
                      <a:pt x="712200" y="1535755"/>
                      <a:pt x="749124" y="1535755"/>
                      <a:pt x="749124" y="1511140"/>
                    </a:cubicBezTo>
                    <a:cubicBezTo>
                      <a:pt x="752200" y="1397293"/>
                      <a:pt x="742969" y="1289601"/>
                      <a:pt x="727585" y="1178832"/>
                    </a:cubicBezTo>
                    <a:cubicBezTo>
                      <a:pt x="730663" y="1178832"/>
                      <a:pt x="736815" y="1178832"/>
                      <a:pt x="739893" y="1178832"/>
                    </a:cubicBezTo>
                    <a:cubicBezTo>
                      <a:pt x="875277" y="1123447"/>
                      <a:pt x="989123" y="1037293"/>
                      <a:pt x="1084509" y="926524"/>
                    </a:cubicBezTo>
                    <a:cubicBezTo>
                      <a:pt x="1102970" y="914216"/>
                      <a:pt x="1075277" y="889601"/>
                      <a:pt x="1059892" y="908062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7220F282-F16D-48D1-96A9-1EB172B8A08C}"/>
                </a:ext>
              </a:extLst>
            </p:cNvPr>
            <p:cNvSpPr/>
            <p:nvPr/>
          </p:nvSpPr>
          <p:spPr>
            <a:xfrm>
              <a:off x="12588398" y="-714804"/>
              <a:ext cx="1018369" cy="1035627"/>
            </a:xfrm>
            <a:custGeom>
              <a:avLst/>
              <a:gdLst>
                <a:gd name="connsiteX0" fmla="*/ 104525 w 1018369"/>
                <a:gd name="connsiteY0" fmla="*/ 6370 h 1035627"/>
                <a:gd name="connsiteX1" fmla="*/ 409140 w 1018369"/>
                <a:gd name="connsiteY1" fmla="*/ 415601 h 1035627"/>
                <a:gd name="connsiteX2" fmla="*/ 495293 w 1018369"/>
                <a:gd name="connsiteY2" fmla="*/ 750985 h 1035627"/>
                <a:gd name="connsiteX3" fmla="*/ 916832 w 1018369"/>
                <a:gd name="connsiteY3" fmla="*/ 474062 h 1035627"/>
                <a:gd name="connsiteX4" fmla="*/ 1018370 w 1018369"/>
                <a:gd name="connsiteY4" fmla="*/ 627908 h 1035627"/>
                <a:gd name="connsiteX5" fmla="*/ 310678 w 1018369"/>
                <a:gd name="connsiteY5" fmla="*/ 1030985 h 1035627"/>
                <a:gd name="connsiteX6" fmla="*/ 104525 w 1018369"/>
                <a:gd name="connsiteY6" fmla="*/ 6370 h 103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369" h="1035627">
                  <a:moveTo>
                    <a:pt x="104525" y="6370"/>
                  </a:moveTo>
                  <a:cubicBezTo>
                    <a:pt x="230678" y="-49015"/>
                    <a:pt x="356831" y="270985"/>
                    <a:pt x="409140" y="415601"/>
                  </a:cubicBezTo>
                  <a:cubicBezTo>
                    <a:pt x="449139" y="526370"/>
                    <a:pt x="495293" y="750985"/>
                    <a:pt x="495293" y="750985"/>
                  </a:cubicBezTo>
                  <a:lnTo>
                    <a:pt x="916832" y="474062"/>
                  </a:lnTo>
                  <a:lnTo>
                    <a:pt x="1018370" y="627908"/>
                  </a:lnTo>
                  <a:cubicBezTo>
                    <a:pt x="1018370" y="627908"/>
                    <a:pt x="427602" y="1086370"/>
                    <a:pt x="310678" y="1030985"/>
                  </a:cubicBezTo>
                  <a:cubicBezTo>
                    <a:pt x="181448" y="969447"/>
                    <a:pt x="-175476" y="132524"/>
                    <a:pt x="104525" y="6370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9A1328F6-1EBE-4B44-9833-75C65E8B7CC5}"/>
                </a:ext>
              </a:extLst>
            </p:cNvPr>
            <p:cNvSpPr/>
            <p:nvPr/>
          </p:nvSpPr>
          <p:spPr>
            <a:xfrm>
              <a:off x="12209846" y="-994588"/>
              <a:ext cx="252308" cy="260625"/>
            </a:xfrm>
            <a:custGeom>
              <a:avLst/>
              <a:gdLst>
                <a:gd name="connsiteX0" fmla="*/ 252308 w 252308"/>
                <a:gd name="connsiteY0" fmla="*/ 40000 h 260625"/>
                <a:gd name="connsiteX1" fmla="*/ 246154 w 252308"/>
                <a:gd name="connsiteY1" fmla="*/ 215385 h 260625"/>
                <a:gd name="connsiteX2" fmla="*/ 0 w 252308"/>
                <a:gd name="connsiteY2" fmla="*/ 206154 h 260625"/>
                <a:gd name="connsiteX3" fmla="*/ 15385 w 252308"/>
                <a:gd name="connsiteY3" fmla="*/ 0 h 260625"/>
                <a:gd name="connsiteX4" fmla="*/ 252308 w 252308"/>
                <a:gd name="connsiteY4" fmla="*/ 40000 h 26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308" h="260625">
                  <a:moveTo>
                    <a:pt x="252308" y="40000"/>
                  </a:moveTo>
                  <a:cubicBezTo>
                    <a:pt x="252308" y="40000"/>
                    <a:pt x="246154" y="141538"/>
                    <a:pt x="246154" y="215385"/>
                  </a:cubicBezTo>
                  <a:cubicBezTo>
                    <a:pt x="246154" y="215385"/>
                    <a:pt x="150768" y="323077"/>
                    <a:pt x="0" y="206154"/>
                  </a:cubicBezTo>
                  <a:cubicBezTo>
                    <a:pt x="0" y="144615"/>
                    <a:pt x="12307" y="64615"/>
                    <a:pt x="15385" y="0"/>
                  </a:cubicBezTo>
                  <a:cubicBezTo>
                    <a:pt x="12307" y="0"/>
                    <a:pt x="200000" y="52308"/>
                    <a:pt x="252308" y="40000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400700AF-915D-491E-AF63-9DCA9E14CF1E}"/>
                </a:ext>
              </a:extLst>
            </p:cNvPr>
            <p:cNvSpPr/>
            <p:nvPr/>
          </p:nvSpPr>
          <p:spPr>
            <a:xfrm>
              <a:off x="11791384" y="-828434"/>
              <a:ext cx="1080826" cy="1581352"/>
            </a:xfrm>
            <a:custGeom>
              <a:avLst/>
              <a:gdLst>
                <a:gd name="connsiteX0" fmla="*/ 400000 w 1080826"/>
                <a:gd name="connsiteY0" fmla="*/ 0 h 1581352"/>
                <a:gd name="connsiteX1" fmla="*/ 692308 w 1080826"/>
                <a:gd name="connsiteY1" fmla="*/ 0 h 1581352"/>
                <a:gd name="connsiteX2" fmla="*/ 993848 w 1080826"/>
                <a:gd name="connsiteY2" fmla="*/ 132308 h 1581352"/>
                <a:gd name="connsiteX3" fmla="*/ 1080001 w 1080826"/>
                <a:gd name="connsiteY3" fmla="*/ 1550769 h 1581352"/>
                <a:gd name="connsiteX4" fmla="*/ 0 w 1080826"/>
                <a:gd name="connsiteY4" fmla="*/ 1526154 h 1581352"/>
                <a:gd name="connsiteX5" fmla="*/ 116925 w 1080826"/>
                <a:gd name="connsiteY5" fmla="*/ 104615 h 1581352"/>
                <a:gd name="connsiteX6" fmla="*/ 400000 w 1080826"/>
                <a:gd name="connsiteY6" fmla="*/ 0 h 1581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0826" h="1581352">
                  <a:moveTo>
                    <a:pt x="400000" y="0"/>
                  </a:moveTo>
                  <a:cubicBezTo>
                    <a:pt x="400000" y="0"/>
                    <a:pt x="575385" y="55385"/>
                    <a:pt x="692308" y="0"/>
                  </a:cubicBezTo>
                  <a:cubicBezTo>
                    <a:pt x="692308" y="0"/>
                    <a:pt x="969231" y="98462"/>
                    <a:pt x="993848" y="132308"/>
                  </a:cubicBezTo>
                  <a:cubicBezTo>
                    <a:pt x="1018463" y="163077"/>
                    <a:pt x="1089232" y="1483077"/>
                    <a:pt x="1080001" y="1550769"/>
                  </a:cubicBezTo>
                  <a:cubicBezTo>
                    <a:pt x="1080001" y="1550769"/>
                    <a:pt x="584615" y="1633846"/>
                    <a:pt x="0" y="1526154"/>
                  </a:cubicBezTo>
                  <a:cubicBezTo>
                    <a:pt x="0" y="1166154"/>
                    <a:pt x="73847" y="135385"/>
                    <a:pt x="116925" y="104615"/>
                  </a:cubicBezTo>
                  <a:cubicBezTo>
                    <a:pt x="160000" y="70769"/>
                    <a:pt x="400000" y="0"/>
                    <a:pt x="400000" y="0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C27376C8-2A4F-4504-B19D-2B4DC65D370B}"/>
                </a:ext>
              </a:extLst>
            </p:cNvPr>
            <p:cNvSpPr/>
            <p:nvPr/>
          </p:nvSpPr>
          <p:spPr>
            <a:xfrm>
              <a:off x="12775999" y="-702280"/>
              <a:ext cx="125098" cy="1092307"/>
            </a:xfrm>
            <a:custGeom>
              <a:avLst/>
              <a:gdLst>
                <a:gd name="connsiteX0" fmla="*/ 120001 w 125098"/>
                <a:gd name="connsiteY0" fmla="*/ 1092308 h 1092307"/>
                <a:gd name="connsiteX1" fmla="*/ 113847 w 125098"/>
                <a:gd name="connsiteY1" fmla="*/ 1086154 h 1092307"/>
                <a:gd name="connsiteX2" fmla="*/ 73847 w 125098"/>
                <a:gd name="connsiteY2" fmla="*/ 600000 h 1092307"/>
                <a:gd name="connsiteX3" fmla="*/ 0 w 125098"/>
                <a:gd name="connsiteY3" fmla="*/ 6154 h 1092307"/>
                <a:gd name="connsiteX4" fmla="*/ 3078 w 125098"/>
                <a:gd name="connsiteY4" fmla="*/ 0 h 1092307"/>
                <a:gd name="connsiteX5" fmla="*/ 9232 w 125098"/>
                <a:gd name="connsiteY5" fmla="*/ 3077 h 1092307"/>
                <a:gd name="connsiteX6" fmla="*/ 83077 w 125098"/>
                <a:gd name="connsiteY6" fmla="*/ 596923 h 1092307"/>
                <a:gd name="connsiteX7" fmla="*/ 123077 w 125098"/>
                <a:gd name="connsiteY7" fmla="*/ 1083077 h 1092307"/>
                <a:gd name="connsiteX8" fmla="*/ 120001 w 125098"/>
                <a:gd name="connsiteY8" fmla="*/ 1092308 h 1092307"/>
                <a:gd name="connsiteX9" fmla="*/ 120001 w 125098"/>
                <a:gd name="connsiteY9" fmla="*/ 1092308 h 109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5098" h="1092307">
                  <a:moveTo>
                    <a:pt x="120001" y="1092308"/>
                  </a:moveTo>
                  <a:cubicBezTo>
                    <a:pt x="116925" y="1092308"/>
                    <a:pt x="113847" y="1089231"/>
                    <a:pt x="113847" y="1086154"/>
                  </a:cubicBezTo>
                  <a:cubicBezTo>
                    <a:pt x="113847" y="1083077"/>
                    <a:pt x="83077" y="707692"/>
                    <a:pt x="73847" y="600000"/>
                  </a:cubicBezTo>
                  <a:cubicBezTo>
                    <a:pt x="73847" y="593846"/>
                    <a:pt x="6154" y="46154"/>
                    <a:pt x="0" y="6154"/>
                  </a:cubicBezTo>
                  <a:cubicBezTo>
                    <a:pt x="0" y="3077"/>
                    <a:pt x="0" y="0"/>
                    <a:pt x="3078" y="0"/>
                  </a:cubicBezTo>
                  <a:cubicBezTo>
                    <a:pt x="6154" y="0"/>
                    <a:pt x="9232" y="0"/>
                    <a:pt x="9232" y="3077"/>
                  </a:cubicBezTo>
                  <a:cubicBezTo>
                    <a:pt x="18463" y="43077"/>
                    <a:pt x="80001" y="575385"/>
                    <a:pt x="83077" y="596923"/>
                  </a:cubicBezTo>
                  <a:cubicBezTo>
                    <a:pt x="92308" y="704615"/>
                    <a:pt x="123077" y="1080000"/>
                    <a:pt x="123077" y="1083077"/>
                  </a:cubicBezTo>
                  <a:cubicBezTo>
                    <a:pt x="126155" y="1089231"/>
                    <a:pt x="126155" y="1092308"/>
                    <a:pt x="120001" y="1092308"/>
                  </a:cubicBezTo>
                  <a:cubicBezTo>
                    <a:pt x="123077" y="1092308"/>
                    <a:pt x="123077" y="1092308"/>
                    <a:pt x="120001" y="1092308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B006D0B9-A6BC-4A8A-9C9D-1777C9BCB9B2}"/>
                </a:ext>
              </a:extLst>
            </p:cNvPr>
            <p:cNvSpPr/>
            <p:nvPr/>
          </p:nvSpPr>
          <p:spPr>
            <a:xfrm>
              <a:off x="12129845" y="-1117665"/>
              <a:ext cx="67692" cy="141538"/>
            </a:xfrm>
            <a:custGeom>
              <a:avLst/>
              <a:gdLst>
                <a:gd name="connsiteX0" fmla="*/ 0 w 67692"/>
                <a:gd name="connsiteY0" fmla="*/ 0 h 141538"/>
                <a:gd name="connsiteX1" fmla="*/ 64617 w 67692"/>
                <a:gd name="connsiteY1" fmla="*/ 141538 h 141538"/>
                <a:gd name="connsiteX2" fmla="*/ 67693 w 67692"/>
                <a:gd name="connsiteY2" fmla="*/ 55385 h 141538"/>
                <a:gd name="connsiteX3" fmla="*/ 0 w 67692"/>
                <a:gd name="connsiteY3" fmla="*/ 0 h 14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692" h="141538">
                  <a:moveTo>
                    <a:pt x="0" y="0"/>
                  </a:moveTo>
                  <a:cubicBezTo>
                    <a:pt x="0" y="0"/>
                    <a:pt x="12308" y="120000"/>
                    <a:pt x="64617" y="141538"/>
                  </a:cubicBezTo>
                  <a:lnTo>
                    <a:pt x="67693" y="553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35EA68BE-0C47-4AA1-9E09-E1EEB3CC3592}"/>
                </a:ext>
              </a:extLst>
            </p:cNvPr>
            <p:cNvSpPr/>
            <p:nvPr/>
          </p:nvSpPr>
          <p:spPr>
            <a:xfrm>
              <a:off x="12491987" y="-1323819"/>
              <a:ext cx="102677" cy="239979"/>
            </a:xfrm>
            <a:custGeom>
              <a:avLst/>
              <a:gdLst>
                <a:gd name="connsiteX0" fmla="*/ 96321 w 102677"/>
                <a:gd name="connsiteY0" fmla="*/ 0 h 239979"/>
                <a:gd name="connsiteX1" fmla="*/ 53243 w 102677"/>
                <a:gd name="connsiteY1" fmla="*/ 236923 h 239979"/>
                <a:gd name="connsiteX2" fmla="*/ 937 w 102677"/>
                <a:gd name="connsiteY2" fmla="*/ 12308 h 239979"/>
                <a:gd name="connsiteX3" fmla="*/ 96321 w 102677"/>
                <a:gd name="connsiteY3" fmla="*/ 0 h 239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677" h="239979">
                  <a:moveTo>
                    <a:pt x="96321" y="0"/>
                  </a:moveTo>
                  <a:cubicBezTo>
                    <a:pt x="96321" y="0"/>
                    <a:pt x="127090" y="196923"/>
                    <a:pt x="53243" y="236923"/>
                  </a:cubicBezTo>
                  <a:cubicBezTo>
                    <a:pt x="-11372" y="270769"/>
                    <a:pt x="937" y="12308"/>
                    <a:pt x="937" y="12308"/>
                  </a:cubicBezTo>
                  <a:lnTo>
                    <a:pt x="96321" y="0"/>
                  </a:ln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7AB5A55E-C79B-4273-B5EF-205083CC7B56}"/>
                </a:ext>
              </a:extLst>
            </p:cNvPr>
            <p:cNvSpPr/>
            <p:nvPr/>
          </p:nvSpPr>
          <p:spPr>
            <a:xfrm>
              <a:off x="12132923" y="-1463178"/>
              <a:ext cx="424957" cy="573813"/>
            </a:xfrm>
            <a:custGeom>
              <a:avLst/>
              <a:gdLst>
                <a:gd name="connsiteX0" fmla="*/ 415385 w 424957"/>
                <a:gd name="connsiteY0" fmla="*/ 185513 h 573813"/>
                <a:gd name="connsiteX1" fmla="*/ 415385 w 424957"/>
                <a:gd name="connsiteY1" fmla="*/ 437821 h 573813"/>
                <a:gd name="connsiteX2" fmla="*/ 255384 w 424957"/>
                <a:gd name="connsiteY2" fmla="*/ 573206 h 573813"/>
                <a:gd name="connsiteX3" fmla="*/ 36923 w 424957"/>
                <a:gd name="connsiteY3" fmla="*/ 428590 h 573813"/>
                <a:gd name="connsiteX4" fmla="*/ 0 w 424957"/>
                <a:gd name="connsiteY4" fmla="*/ 200898 h 573813"/>
                <a:gd name="connsiteX5" fmla="*/ 215385 w 424957"/>
                <a:gd name="connsiteY5" fmla="*/ 898 h 573813"/>
                <a:gd name="connsiteX6" fmla="*/ 415385 w 424957"/>
                <a:gd name="connsiteY6" fmla="*/ 185513 h 573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957" h="573813">
                  <a:moveTo>
                    <a:pt x="415385" y="185513"/>
                  </a:moveTo>
                  <a:cubicBezTo>
                    <a:pt x="415385" y="185513"/>
                    <a:pt x="436924" y="363975"/>
                    <a:pt x="415385" y="437821"/>
                  </a:cubicBezTo>
                  <a:cubicBezTo>
                    <a:pt x="396922" y="505513"/>
                    <a:pt x="304614" y="570129"/>
                    <a:pt x="255384" y="573206"/>
                  </a:cubicBezTo>
                  <a:cubicBezTo>
                    <a:pt x="187692" y="579359"/>
                    <a:pt x="67693" y="539360"/>
                    <a:pt x="36923" y="428590"/>
                  </a:cubicBezTo>
                  <a:cubicBezTo>
                    <a:pt x="15385" y="354744"/>
                    <a:pt x="0" y="253206"/>
                    <a:pt x="0" y="200898"/>
                  </a:cubicBezTo>
                  <a:cubicBezTo>
                    <a:pt x="3076" y="105513"/>
                    <a:pt x="27691" y="25513"/>
                    <a:pt x="215385" y="898"/>
                  </a:cubicBezTo>
                  <a:cubicBezTo>
                    <a:pt x="298462" y="-11410"/>
                    <a:pt x="393846" y="105513"/>
                    <a:pt x="415385" y="185513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72CD6256-7F4C-42D5-B653-46D267DBBE46}"/>
                </a:ext>
              </a:extLst>
            </p:cNvPr>
            <p:cNvSpPr/>
            <p:nvPr/>
          </p:nvSpPr>
          <p:spPr>
            <a:xfrm>
              <a:off x="12357538" y="-1197665"/>
              <a:ext cx="58462" cy="138461"/>
            </a:xfrm>
            <a:custGeom>
              <a:avLst/>
              <a:gdLst>
                <a:gd name="connsiteX0" fmla="*/ 30769 w 58462"/>
                <a:gd name="connsiteY0" fmla="*/ 138462 h 138461"/>
                <a:gd name="connsiteX1" fmla="*/ 6154 w 58462"/>
                <a:gd name="connsiteY1" fmla="*/ 135385 h 138461"/>
                <a:gd name="connsiteX2" fmla="*/ 0 w 58462"/>
                <a:gd name="connsiteY2" fmla="*/ 129231 h 138461"/>
                <a:gd name="connsiteX3" fmla="*/ 6154 w 58462"/>
                <a:gd name="connsiteY3" fmla="*/ 123077 h 138461"/>
                <a:gd name="connsiteX4" fmla="*/ 46154 w 58462"/>
                <a:gd name="connsiteY4" fmla="*/ 123077 h 138461"/>
                <a:gd name="connsiteX5" fmla="*/ 46154 w 58462"/>
                <a:gd name="connsiteY5" fmla="*/ 120000 h 138461"/>
                <a:gd name="connsiteX6" fmla="*/ 30769 w 58462"/>
                <a:gd name="connsiteY6" fmla="*/ 6154 h 138461"/>
                <a:gd name="connsiteX7" fmla="*/ 36923 w 58462"/>
                <a:gd name="connsiteY7" fmla="*/ 0 h 138461"/>
                <a:gd name="connsiteX8" fmla="*/ 43078 w 58462"/>
                <a:gd name="connsiteY8" fmla="*/ 6154 h 138461"/>
                <a:gd name="connsiteX9" fmla="*/ 58462 w 58462"/>
                <a:gd name="connsiteY9" fmla="*/ 120000 h 138461"/>
                <a:gd name="connsiteX10" fmla="*/ 52308 w 58462"/>
                <a:gd name="connsiteY10" fmla="*/ 132308 h 138461"/>
                <a:gd name="connsiteX11" fmla="*/ 30769 w 58462"/>
                <a:gd name="connsiteY11" fmla="*/ 138462 h 1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462" h="138461">
                  <a:moveTo>
                    <a:pt x="30769" y="138462"/>
                  </a:moveTo>
                  <a:cubicBezTo>
                    <a:pt x="18461" y="138462"/>
                    <a:pt x="9230" y="135385"/>
                    <a:pt x="6154" y="135385"/>
                  </a:cubicBezTo>
                  <a:cubicBezTo>
                    <a:pt x="3076" y="135385"/>
                    <a:pt x="0" y="132308"/>
                    <a:pt x="0" y="129231"/>
                  </a:cubicBezTo>
                  <a:cubicBezTo>
                    <a:pt x="0" y="126154"/>
                    <a:pt x="3076" y="123077"/>
                    <a:pt x="6154" y="123077"/>
                  </a:cubicBezTo>
                  <a:cubicBezTo>
                    <a:pt x="18461" y="126154"/>
                    <a:pt x="40000" y="126154"/>
                    <a:pt x="46154" y="123077"/>
                  </a:cubicBezTo>
                  <a:cubicBezTo>
                    <a:pt x="46154" y="123077"/>
                    <a:pt x="46154" y="120000"/>
                    <a:pt x="46154" y="120000"/>
                  </a:cubicBezTo>
                  <a:cubicBezTo>
                    <a:pt x="46154" y="101538"/>
                    <a:pt x="30769" y="9231"/>
                    <a:pt x="30769" y="6154"/>
                  </a:cubicBezTo>
                  <a:cubicBezTo>
                    <a:pt x="30769" y="3077"/>
                    <a:pt x="33845" y="0"/>
                    <a:pt x="36923" y="0"/>
                  </a:cubicBezTo>
                  <a:cubicBezTo>
                    <a:pt x="40000" y="0"/>
                    <a:pt x="43078" y="3077"/>
                    <a:pt x="43078" y="6154"/>
                  </a:cubicBezTo>
                  <a:cubicBezTo>
                    <a:pt x="43078" y="9231"/>
                    <a:pt x="58462" y="101538"/>
                    <a:pt x="58462" y="120000"/>
                  </a:cubicBezTo>
                  <a:cubicBezTo>
                    <a:pt x="58462" y="126154"/>
                    <a:pt x="55384" y="129231"/>
                    <a:pt x="52308" y="132308"/>
                  </a:cubicBezTo>
                  <a:cubicBezTo>
                    <a:pt x="49230" y="138462"/>
                    <a:pt x="40000" y="138462"/>
                    <a:pt x="30769" y="138462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1655265F-314E-4E35-A53C-4576604462B7}"/>
                </a:ext>
              </a:extLst>
            </p:cNvPr>
            <p:cNvSpPr/>
            <p:nvPr/>
          </p:nvSpPr>
          <p:spPr>
            <a:xfrm>
              <a:off x="12449243" y="-1219988"/>
              <a:ext cx="41387" cy="41387"/>
            </a:xfrm>
            <a:custGeom>
              <a:avLst/>
              <a:gdLst>
                <a:gd name="connsiteX0" fmla="*/ 603 w 41387"/>
                <a:gd name="connsiteY0" fmla="*/ 25399 h 41387"/>
                <a:gd name="connsiteX1" fmla="*/ 25218 w 41387"/>
                <a:gd name="connsiteY1" fmla="*/ 40784 h 41387"/>
                <a:gd name="connsiteX2" fmla="*/ 40603 w 41387"/>
                <a:gd name="connsiteY2" fmla="*/ 16169 h 41387"/>
                <a:gd name="connsiteX3" fmla="*/ 15988 w 41387"/>
                <a:gd name="connsiteY3" fmla="*/ 784 h 41387"/>
                <a:gd name="connsiteX4" fmla="*/ 603 w 41387"/>
                <a:gd name="connsiteY4" fmla="*/ 25399 h 4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387">
                  <a:moveTo>
                    <a:pt x="603" y="25399"/>
                  </a:moveTo>
                  <a:cubicBezTo>
                    <a:pt x="3679" y="34630"/>
                    <a:pt x="12912" y="43861"/>
                    <a:pt x="25218" y="40784"/>
                  </a:cubicBezTo>
                  <a:cubicBezTo>
                    <a:pt x="37527" y="37707"/>
                    <a:pt x="43681" y="28476"/>
                    <a:pt x="40603" y="16169"/>
                  </a:cubicBezTo>
                  <a:cubicBezTo>
                    <a:pt x="37527" y="3861"/>
                    <a:pt x="28296" y="-2293"/>
                    <a:pt x="15988" y="784"/>
                  </a:cubicBezTo>
                  <a:cubicBezTo>
                    <a:pt x="6758" y="3861"/>
                    <a:pt x="-2473" y="13092"/>
                    <a:pt x="603" y="2539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C2E9E1FA-6798-48CC-8121-1BEA88E18158}"/>
                </a:ext>
              </a:extLst>
            </p:cNvPr>
            <p:cNvSpPr/>
            <p:nvPr/>
          </p:nvSpPr>
          <p:spPr>
            <a:xfrm>
              <a:off x="12264627" y="-1201346"/>
              <a:ext cx="41387" cy="41207"/>
            </a:xfrm>
            <a:custGeom>
              <a:avLst/>
              <a:gdLst>
                <a:gd name="connsiteX0" fmla="*/ 603 w 41387"/>
                <a:gd name="connsiteY0" fmla="*/ 25219 h 41207"/>
                <a:gd name="connsiteX1" fmla="*/ 25218 w 41387"/>
                <a:gd name="connsiteY1" fmla="*/ 40604 h 41207"/>
                <a:gd name="connsiteX2" fmla="*/ 40603 w 41387"/>
                <a:gd name="connsiteY2" fmla="*/ 15988 h 41207"/>
                <a:gd name="connsiteX3" fmla="*/ 15988 w 41387"/>
                <a:gd name="connsiteY3" fmla="*/ 604 h 41207"/>
                <a:gd name="connsiteX4" fmla="*/ 603 w 41387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207">
                  <a:moveTo>
                    <a:pt x="603" y="25219"/>
                  </a:moveTo>
                  <a:cubicBezTo>
                    <a:pt x="3679" y="34450"/>
                    <a:pt x="12912" y="43680"/>
                    <a:pt x="25218" y="40604"/>
                  </a:cubicBezTo>
                  <a:cubicBezTo>
                    <a:pt x="37527" y="37527"/>
                    <a:pt x="43681" y="28296"/>
                    <a:pt x="40603" y="15988"/>
                  </a:cubicBezTo>
                  <a:cubicBezTo>
                    <a:pt x="37527" y="6757"/>
                    <a:pt x="28296" y="-2473"/>
                    <a:pt x="15988" y="604"/>
                  </a:cubicBezTo>
                  <a:cubicBezTo>
                    <a:pt x="6758" y="3680"/>
                    <a:pt x="-2473" y="12911"/>
                    <a:pt x="603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50AC6770-91B2-4CEE-A38C-A0E81662642B}"/>
                </a:ext>
              </a:extLst>
            </p:cNvPr>
            <p:cNvSpPr/>
            <p:nvPr/>
          </p:nvSpPr>
          <p:spPr>
            <a:xfrm>
              <a:off x="12423956" y="-1265357"/>
              <a:ext cx="92813" cy="30769"/>
            </a:xfrm>
            <a:custGeom>
              <a:avLst/>
              <a:gdLst>
                <a:gd name="connsiteX0" fmla="*/ 84352 w 92813"/>
                <a:gd name="connsiteY0" fmla="*/ 30769 h 30769"/>
                <a:gd name="connsiteX1" fmla="*/ 78198 w 92813"/>
                <a:gd name="connsiteY1" fmla="*/ 27692 h 30769"/>
                <a:gd name="connsiteX2" fmla="*/ 10505 w 92813"/>
                <a:gd name="connsiteY2" fmla="*/ 21538 h 30769"/>
                <a:gd name="connsiteX3" fmla="*/ 1275 w 92813"/>
                <a:gd name="connsiteY3" fmla="*/ 18462 h 30769"/>
                <a:gd name="connsiteX4" fmla="*/ 4351 w 92813"/>
                <a:gd name="connsiteY4" fmla="*/ 9231 h 30769"/>
                <a:gd name="connsiteX5" fmla="*/ 90505 w 92813"/>
                <a:gd name="connsiteY5" fmla="*/ 18462 h 30769"/>
                <a:gd name="connsiteX6" fmla="*/ 90505 w 92813"/>
                <a:gd name="connsiteY6" fmla="*/ 30769 h 30769"/>
                <a:gd name="connsiteX7" fmla="*/ 84352 w 92813"/>
                <a:gd name="connsiteY7" fmla="*/ 30769 h 3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0769">
                  <a:moveTo>
                    <a:pt x="84352" y="30769"/>
                  </a:moveTo>
                  <a:cubicBezTo>
                    <a:pt x="81274" y="30769"/>
                    <a:pt x="81274" y="30769"/>
                    <a:pt x="78198" y="27692"/>
                  </a:cubicBezTo>
                  <a:cubicBezTo>
                    <a:pt x="53583" y="0"/>
                    <a:pt x="10505" y="21538"/>
                    <a:pt x="10505" y="21538"/>
                  </a:cubicBezTo>
                  <a:cubicBezTo>
                    <a:pt x="7429" y="24615"/>
                    <a:pt x="1275" y="21538"/>
                    <a:pt x="1275" y="18462"/>
                  </a:cubicBezTo>
                  <a:cubicBezTo>
                    <a:pt x="-1803" y="15385"/>
                    <a:pt x="1275" y="9231"/>
                    <a:pt x="4351" y="9231"/>
                  </a:cubicBezTo>
                  <a:cubicBezTo>
                    <a:pt x="22814" y="0"/>
                    <a:pt x="62813" y="-9231"/>
                    <a:pt x="90505" y="18462"/>
                  </a:cubicBezTo>
                  <a:cubicBezTo>
                    <a:pt x="93583" y="21538"/>
                    <a:pt x="93583" y="27692"/>
                    <a:pt x="90505" y="30769"/>
                  </a:cubicBezTo>
                  <a:cubicBezTo>
                    <a:pt x="87429" y="30769"/>
                    <a:pt x="87429" y="30769"/>
                    <a:pt x="84352" y="30769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9F825581-4177-4078-B421-D8107EE86F8B}"/>
                </a:ext>
              </a:extLst>
            </p:cNvPr>
            <p:cNvSpPr/>
            <p:nvPr/>
          </p:nvSpPr>
          <p:spPr>
            <a:xfrm>
              <a:off x="12232154" y="-1271198"/>
              <a:ext cx="92812" cy="36609"/>
            </a:xfrm>
            <a:custGeom>
              <a:avLst/>
              <a:gdLst>
                <a:gd name="connsiteX0" fmla="*/ 8461 w 92812"/>
                <a:gd name="connsiteY0" fmla="*/ 36610 h 36609"/>
                <a:gd name="connsiteX1" fmla="*/ 2307 w 92812"/>
                <a:gd name="connsiteY1" fmla="*/ 33533 h 36609"/>
                <a:gd name="connsiteX2" fmla="*/ 2307 w 92812"/>
                <a:gd name="connsiteY2" fmla="*/ 21225 h 36609"/>
                <a:gd name="connsiteX3" fmla="*/ 88461 w 92812"/>
                <a:gd name="connsiteY3" fmla="*/ 11995 h 36609"/>
                <a:gd name="connsiteX4" fmla="*/ 91539 w 92812"/>
                <a:gd name="connsiteY4" fmla="*/ 24302 h 36609"/>
                <a:gd name="connsiteX5" fmla="*/ 79230 w 92812"/>
                <a:gd name="connsiteY5" fmla="*/ 27379 h 36609"/>
                <a:gd name="connsiteX6" fmla="*/ 11538 w 92812"/>
                <a:gd name="connsiteY6" fmla="*/ 33533 h 36609"/>
                <a:gd name="connsiteX7" fmla="*/ 8461 w 92812"/>
                <a:gd name="connsiteY7" fmla="*/ 36610 h 3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6609">
                  <a:moveTo>
                    <a:pt x="8461" y="36610"/>
                  </a:moveTo>
                  <a:cubicBezTo>
                    <a:pt x="5383" y="36610"/>
                    <a:pt x="5383" y="36610"/>
                    <a:pt x="2307" y="33533"/>
                  </a:cubicBezTo>
                  <a:cubicBezTo>
                    <a:pt x="-769" y="30456"/>
                    <a:pt x="-769" y="24302"/>
                    <a:pt x="2307" y="21225"/>
                  </a:cubicBezTo>
                  <a:cubicBezTo>
                    <a:pt x="14616" y="5841"/>
                    <a:pt x="51537" y="-12621"/>
                    <a:pt x="88461" y="11995"/>
                  </a:cubicBezTo>
                  <a:cubicBezTo>
                    <a:pt x="91539" y="15072"/>
                    <a:pt x="94615" y="18148"/>
                    <a:pt x="91539" y="24302"/>
                  </a:cubicBezTo>
                  <a:cubicBezTo>
                    <a:pt x="88461" y="27379"/>
                    <a:pt x="85384" y="30456"/>
                    <a:pt x="79230" y="27379"/>
                  </a:cubicBezTo>
                  <a:cubicBezTo>
                    <a:pt x="42307" y="2764"/>
                    <a:pt x="14616" y="33533"/>
                    <a:pt x="11538" y="33533"/>
                  </a:cubicBezTo>
                  <a:cubicBezTo>
                    <a:pt x="11538" y="36610"/>
                    <a:pt x="8461" y="36610"/>
                    <a:pt x="8461" y="36610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9ACD8036-E019-42A0-B60E-5749EC20243A}"/>
                </a:ext>
              </a:extLst>
            </p:cNvPr>
            <p:cNvSpPr/>
            <p:nvPr/>
          </p:nvSpPr>
          <p:spPr>
            <a:xfrm>
              <a:off x="12091547" y="-1205317"/>
              <a:ext cx="78299" cy="115101"/>
            </a:xfrm>
            <a:custGeom>
              <a:avLst/>
              <a:gdLst>
                <a:gd name="connsiteX0" fmla="*/ 65992 w 78299"/>
                <a:gd name="connsiteY0" fmla="*/ 16883 h 115101"/>
                <a:gd name="connsiteX1" fmla="*/ 7529 w 78299"/>
                <a:gd name="connsiteY1" fmla="*/ 7652 h 115101"/>
                <a:gd name="connsiteX2" fmla="*/ 65992 w 78299"/>
                <a:gd name="connsiteY2" fmla="*/ 112268 h 115101"/>
                <a:gd name="connsiteX3" fmla="*/ 65992 w 78299"/>
                <a:gd name="connsiteY3" fmla="*/ 16883 h 115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99" h="115101">
                  <a:moveTo>
                    <a:pt x="65992" y="16883"/>
                  </a:moveTo>
                  <a:cubicBezTo>
                    <a:pt x="65992" y="16883"/>
                    <a:pt x="32146" y="-13886"/>
                    <a:pt x="7529" y="7652"/>
                  </a:cubicBezTo>
                  <a:cubicBezTo>
                    <a:pt x="-17086" y="26114"/>
                    <a:pt x="22914" y="133806"/>
                    <a:pt x="65992" y="112268"/>
                  </a:cubicBezTo>
                  <a:cubicBezTo>
                    <a:pt x="93685" y="93806"/>
                    <a:pt x="65992" y="16883"/>
                    <a:pt x="65992" y="16883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B28DD4B2-40D4-4944-8F11-D439A3072013}"/>
                </a:ext>
              </a:extLst>
            </p:cNvPr>
            <p:cNvSpPr/>
            <p:nvPr/>
          </p:nvSpPr>
          <p:spPr>
            <a:xfrm>
              <a:off x="12092717" y="-1578102"/>
              <a:ext cx="523826" cy="408129"/>
            </a:xfrm>
            <a:custGeom>
              <a:avLst/>
              <a:gdLst>
                <a:gd name="connsiteX0" fmla="*/ 6359 w 523826"/>
                <a:gd name="connsiteY0" fmla="*/ 306591 h 408129"/>
                <a:gd name="connsiteX1" fmla="*/ 64821 w 523826"/>
                <a:gd name="connsiteY1" fmla="*/ 408129 h 408129"/>
                <a:gd name="connsiteX2" fmla="*/ 117129 w 523826"/>
                <a:gd name="connsiteY2" fmla="*/ 266591 h 408129"/>
                <a:gd name="connsiteX3" fmla="*/ 126360 w 523826"/>
                <a:gd name="connsiteY3" fmla="*/ 263514 h 408129"/>
                <a:gd name="connsiteX4" fmla="*/ 203283 w 523826"/>
                <a:gd name="connsiteY4" fmla="*/ 235821 h 408129"/>
                <a:gd name="connsiteX5" fmla="*/ 215591 w 523826"/>
                <a:gd name="connsiteY5" fmla="*/ 232745 h 408129"/>
                <a:gd name="connsiteX6" fmla="*/ 252513 w 523826"/>
                <a:gd name="connsiteY6" fmla="*/ 254283 h 408129"/>
                <a:gd name="connsiteX7" fmla="*/ 267897 w 523826"/>
                <a:gd name="connsiteY7" fmla="*/ 245052 h 408129"/>
                <a:gd name="connsiteX8" fmla="*/ 320206 w 523826"/>
                <a:gd name="connsiteY8" fmla="*/ 260437 h 408129"/>
                <a:gd name="connsiteX9" fmla="*/ 357129 w 523826"/>
                <a:gd name="connsiteY9" fmla="*/ 269668 h 408129"/>
                <a:gd name="connsiteX10" fmla="*/ 369437 w 523826"/>
                <a:gd name="connsiteY10" fmla="*/ 269668 h 408129"/>
                <a:gd name="connsiteX11" fmla="*/ 381744 w 523826"/>
                <a:gd name="connsiteY11" fmla="*/ 266591 h 408129"/>
                <a:gd name="connsiteX12" fmla="*/ 390974 w 523826"/>
                <a:gd name="connsiteY12" fmla="*/ 272745 h 408129"/>
                <a:gd name="connsiteX13" fmla="*/ 397129 w 523826"/>
                <a:gd name="connsiteY13" fmla="*/ 275821 h 408129"/>
                <a:gd name="connsiteX14" fmla="*/ 403283 w 523826"/>
                <a:gd name="connsiteY14" fmla="*/ 275821 h 408129"/>
                <a:gd name="connsiteX15" fmla="*/ 409437 w 523826"/>
                <a:gd name="connsiteY15" fmla="*/ 278898 h 408129"/>
                <a:gd name="connsiteX16" fmla="*/ 415591 w 523826"/>
                <a:gd name="connsiteY16" fmla="*/ 288129 h 408129"/>
                <a:gd name="connsiteX17" fmla="*/ 434052 w 523826"/>
                <a:gd name="connsiteY17" fmla="*/ 309668 h 408129"/>
                <a:gd name="connsiteX18" fmla="*/ 464821 w 523826"/>
                <a:gd name="connsiteY18" fmla="*/ 321975 h 408129"/>
                <a:gd name="connsiteX19" fmla="*/ 483282 w 523826"/>
                <a:gd name="connsiteY19" fmla="*/ 377360 h 408129"/>
                <a:gd name="connsiteX20" fmla="*/ 492514 w 523826"/>
                <a:gd name="connsiteY20" fmla="*/ 346591 h 408129"/>
                <a:gd name="connsiteX21" fmla="*/ 501745 w 523826"/>
                <a:gd name="connsiteY21" fmla="*/ 343514 h 408129"/>
                <a:gd name="connsiteX22" fmla="*/ 520206 w 523826"/>
                <a:gd name="connsiteY22" fmla="*/ 245052 h 408129"/>
                <a:gd name="connsiteX23" fmla="*/ 501745 w 523826"/>
                <a:gd name="connsiteY23" fmla="*/ 201975 h 408129"/>
                <a:gd name="connsiteX24" fmla="*/ 504821 w 523826"/>
                <a:gd name="connsiteY24" fmla="*/ 168129 h 408129"/>
                <a:gd name="connsiteX25" fmla="*/ 498667 w 523826"/>
                <a:gd name="connsiteY25" fmla="*/ 131206 h 408129"/>
                <a:gd name="connsiteX26" fmla="*/ 480206 w 523826"/>
                <a:gd name="connsiteY26" fmla="*/ 103514 h 408129"/>
                <a:gd name="connsiteX27" fmla="*/ 464821 w 523826"/>
                <a:gd name="connsiteY27" fmla="*/ 60437 h 408129"/>
                <a:gd name="connsiteX28" fmla="*/ 403283 w 523826"/>
                <a:gd name="connsiteY28" fmla="*/ 38898 h 408129"/>
                <a:gd name="connsiteX29" fmla="*/ 277130 w 523826"/>
                <a:gd name="connsiteY29" fmla="*/ 1975 h 408129"/>
                <a:gd name="connsiteX30" fmla="*/ 264821 w 523826"/>
                <a:gd name="connsiteY30" fmla="*/ 8129 h 408129"/>
                <a:gd name="connsiteX31" fmla="*/ 209437 w 523826"/>
                <a:gd name="connsiteY31" fmla="*/ 23514 h 408129"/>
                <a:gd name="connsiteX32" fmla="*/ 175590 w 523826"/>
                <a:gd name="connsiteY32" fmla="*/ 26591 h 408129"/>
                <a:gd name="connsiteX33" fmla="*/ 144821 w 523826"/>
                <a:gd name="connsiteY33" fmla="*/ 60437 h 408129"/>
                <a:gd name="connsiteX34" fmla="*/ 132514 w 523826"/>
                <a:gd name="connsiteY34" fmla="*/ 78898 h 408129"/>
                <a:gd name="connsiteX35" fmla="*/ 101745 w 523826"/>
                <a:gd name="connsiteY35" fmla="*/ 100437 h 408129"/>
                <a:gd name="connsiteX36" fmla="*/ 89436 w 523826"/>
                <a:gd name="connsiteY36" fmla="*/ 97360 h 408129"/>
                <a:gd name="connsiteX37" fmla="*/ 70975 w 523826"/>
                <a:gd name="connsiteY37" fmla="*/ 137360 h 408129"/>
                <a:gd name="connsiteX38" fmla="*/ 6359 w 523826"/>
                <a:gd name="connsiteY38" fmla="*/ 306591 h 408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23826" h="408129">
                  <a:moveTo>
                    <a:pt x="6359" y="306591"/>
                  </a:moveTo>
                  <a:cubicBezTo>
                    <a:pt x="21744" y="361975"/>
                    <a:pt x="64821" y="408129"/>
                    <a:pt x="64821" y="408129"/>
                  </a:cubicBezTo>
                  <a:cubicBezTo>
                    <a:pt x="58667" y="377360"/>
                    <a:pt x="117129" y="266591"/>
                    <a:pt x="117129" y="266591"/>
                  </a:cubicBezTo>
                  <a:cubicBezTo>
                    <a:pt x="117129" y="266591"/>
                    <a:pt x="120206" y="266591"/>
                    <a:pt x="126360" y="263514"/>
                  </a:cubicBezTo>
                  <a:cubicBezTo>
                    <a:pt x="154053" y="263514"/>
                    <a:pt x="181744" y="254283"/>
                    <a:pt x="203283" y="235821"/>
                  </a:cubicBezTo>
                  <a:cubicBezTo>
                    <a:pt x="206359" y="235821"/>
                    <a:pt x="212513" y="232745"/>
                    <a:pt x="215591" y="232745"/>
                  </a:cubicBezTo>
                  <a:cubicBezTo>
                    <a:pt x="224822" y="245052"/>
                    <a:pt x="234052" y="257360"/>
                    <a:pt x="252513" y="254283"/>
                  </a:cubicBezTo>
                  <a:cubicBezTo>
                    <a:pt x="261745" y="254283"/>
                    <a:pt x="264821" y="245052"/>
                    <a:pt x="267897" y="245052"/>
                  </a:cubicBezTo>
                  <a:cubicBezTo>
                    <a:pt x="289436" y="235821"/>
                    <a:pt x="301745" y="251206"/>
                    <a:pt x="320206" y="260437"/>
                  </a:cubicBezTo>
                  <a:cubicBezTo>
                    <a:pt x="332514" y="266591"/>
                    <a:pt x="344821" y="269668"/>
                    <a:pt x="357129" y="269668"/>
                  </a:cubicBezTo>
                  <a:cubicBezTo>
                    <a:pt x="360205" y="269668"/>
                    <a:pt x="366359" y="266591"/>
                    <a:pt x="369437" y="269668"/>
                  </a:cubicBezTo>
                  <a:cubicBezTo>
                    <a:pt x="375590" y="266591"/>
                    <a:pt x="378668" y="266591"/>
                    <a:pt x="381744" y="266591"/>
                  </a:cubicBezTo>
                  <a:cubicBezTo>
                    <a:pt x="384822" y="269668"/>
                    <a:pt x="387898" y="269668"/>
                    <a:pt x="390974" y="272745"/>
                  </a:cubicBezTo>
                  <a:cubicBezTo>
                    <a:pt x="394052" y="272745"/>
                    <a:pt x="394052" y="275821"/>
                    <a:pt x="397129" y="275821"/>
                  </a:cubicBezTo>
                  <a:cubicBezTo>
                    <a:pt x="400207" y="275821"/>
                    <a:pt x="400207" y="275821"/>
                    <a:pt x="403283" y="275821"/>
                  </a:cubicBezTo>
                  <a:cubicBezTo>
                    <a:pt x="406359" y="275821"/>
                    <a:pt x="409437" y="278898"/>
                    <a:pt x="409437" y="278898"/>
                  </a:cubicBezTo>
                  <a:cubicBezTo>
                    <a:pt x="412513" y="281975"/>
                    <a:pt x="415591" y="285052"/>
                    <a:pt x="415591" y="288129"/>
                  </a:cubicBezTo>
                  <a:cubicBezTo>
                    <a:pt x="421744" y="297360"/>
                    <a:pt x="424822" y="303514"/>
                    <a:pt x="434052" y="309668"/>
                  </a:cubicBezTo>
                  <a:cubicBezTo>
                    <a:pt x="440206" y="315821"/>
                    <a:pt x="452513" y="315821"/>
                    <a:pt x="464821" y="321975"/>
                  </a:cubicBezTo>
                  <a:cubicBezTo>
                    <a:pt x="480206" y="340437"/>
                    <a:pt x="486360" y="358898"/>
                    <a:pt x="483282" y="377360"/>
                  </a:cubicBezTo>
                  <a:cubicBezTo>
                    <a:pt x="483282" y="377360"/>
                    <a:pt x="486360" y="365052"/>
                    <a:pt x="492514" y="346591"/>
                  </a:cubicBezTo>
                  <a:cubicBezTo>
                    <a:pt x="495591" y="349668"/>
                    <a:pt x="498667" y="349668"/>
                    <a:pt x="501745" y="343514"/>
                  </a:cubicBezTo>
                  <a:cubicBezTo>
                    <a:pt x="520206" y="312745"/>
                    <a:pt x="529436" y="278898"/>
                    <a:pt x="520206" y="245052"/>
                  </a:cubicBezTo>
                  <a:cubicBezTo>
                    <a:pt x="517129" y="229668"/>
                    <a:pt x="507899" y="217360"/>
                    <a:pt x="501745" y="201975"/>
                  </a:cubicBezTo>
                  <a:cubicBezTo>
                    <a:pt x="492514" y="183514"/>
                    <a:pt x="501745" y="183514"/>
                    <a:pt x="504821" y="168129"/>
                  </a:cubicBezTo>
                  <a:cubicBezTo>
                    <a:pt x="507899" y="155821"/>
                    <a:pt x="501745" y="143514"/>
                    <a:pt x="498667" y="131206"/>
                  </a:cubicBezTo>
                  <a:cubicBezTo>
                    <a:pt x="492514" y="121975"/>
                    <a:pt x="486360" y="112745"/>
                    <a:pt x="480206" y="103514"/>
                  </a:cubicBezTo>
                  <a:cubicBezTo>
                    <a:pt x="467898" y="88129"/>
                    <a:pt x="470976" y="75821"/>
                    <a:pt x="464821" y="60437"/>
                  </a:cubicBezTo>
                  <a:cubicBezTo>
                    <a:pt x="452513" y="32745"/>
                    <a:pt x="427898" y="38898"/>
                    <a:pt x="403283" y="38898"/>
                  </a:cubicBezTo>
                  <a:cubicBezTo>
                    <a:pt x="360205" y="38898"/>
                    <a:pt x="323284" y="-10332"/>
                    <a:pt x="277130" y="1975"/>
                  </a:cubicBezTo>
                  <a:cubicBezTo>
                    <a:pt x="270976" y="1975"/>
                    <a:pt x="267897" y="5052"/>
                    <a:pt x="264821" y="8129"/>
                  </a:cubicBezTo>
                  <a:cubicBezTo>
                    <a:pt x="246361" y="17360"/>
                    <a:pt x="227898" y="23514"/>
                    <a:pt x="209437" y="23514"/>
                  </a:cubicBezTo>
                  <a:cubicBezTo>
                    <a:pt x="197129" y="23514"/>
                    <a:pt x="187898" y="20437"/>
                    <a:pt x="175590" y="26591"/>
                  </a:cubicBezTo>
                  <a:cubicBezTo>
                    <a:pt x="160205" y="32745"/>
                    <a:pt x="154053" y="48129"/>
                    <a:pt x="144821" y="60437"/>
                  </a:cubicBezTo>
                  <a:cubicBezTo>
                    <a:pt x="141744" y="66591"/>
                    <a:pt x="135590" y="72745"/>
                    <a:pt x="132514" y="78898"/>
                  </a:cubicBezTo>
                  <a:cubicBezTo>
                    <a:pt x="120206" y="85052"/>
                    <a:pt x="110975" y="94283"/>
                    <a:pt x="101745" y="100437"/>
                  </a:cubicBezTo>
                  <a:cubicBezTo>
                    <a:pt x="101745" y="97360"/>
                    <a:pt x="104821" y="85052"/>
                    <a:pt x="89436" y="97360"/>
                  </a:cubicBezTo>
                  <a:cubicBezTo>
                    <a:pt x="74052" y="106591"/>
                    <a:pt x="70975" y="121975"/>
                    <a:pt x="70975" y="137360"/>
                  </a:cubicBezTo>
                  <a:cubicBezTo>
                    <a:pt x="207" y="161975"/>
                    <a:pt x="-9026" y="248129"/>
                    <a:pt x="6359" y="306591"/>
                  </a:cubicBez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B84AFF05-4ECB-47B9-8ADE-66B94D2BA5E3}"/>
                </a:ext>
              </a:extLst>
            </p:cNvPr>
            <p:cNvSpPr/>
            <p:nvPr/>
          </p:nvSpPr>
          <p:spPr>
            <a:xfrm>
              <a:off x="12141385" y="-1423555"/>
              <a:ext cx="68461" cy="241274"/>
            </a:xfrm>
            <a:custGeom>
              <a:avLst/>
              <a:gdLst>
                <a:gd name="connsiteX0" fmla="*/ 16153 w 68461"/>
                <a:gd name="connsiteY0" fmla="*/ 241275 h 241274"/>
                <a:gd name="connsiteX1" fmla="*/ 16153 w 68461"/>
                <a:gd name="connsiteY1" fmla="*/ 241275 h 241274"/>
                <a:gd name="connsiteX2" fmla="*/ 9999 w 68461"/>
                <a:gd name="connsiteY2" fmla="*/ 235121 h 241274"/>
                <a:gd name="connsiteX3" fmla="*/ 56153 w 68461"/>
                <a:gd name="connsiteY3" fmla="*/ 115121 h 241274"/>
                <a:gd name="connsiteX4" fmla="*/ 6923 w 68461"/>
                <a:gd name="connsiteY4" fmla="*/ 72044 h 241274"/>
                <a:gd name="connsiteX5" fmla="*/ 6923 w 68461"/>
                <a:gd name="connsiteY5" fmla="*/ 4351 h 241274"/>
                <a:gd name="connsiteX6" fmla="*/ 13077 w 68461"/>
                <a:gd name="connsiteY6" fmla="*/ 1275 h 241274"/>
                <a:gd name="connsiteX7" fmla="*/ 16153 w 68461"/>
                <a:gd name="connsiteY7" fmla="*/ 7428 h 241274"/>
                <a:gd name="connsiteX8" fmla="*/ 16153 w 68461"/>
                <a:gd name="connsiteY8" fmla="*/ 65890 h 241274"/>
                <a:gd name="connsiteX9" fmla="*/ 65383 w 68461"/>
                <a:gd name="connsiteY9" fmla="*/ 105890 h 241274"/>
                <a:gd name="connsiteX10" fmla="*/ 68461 w 68461"/>
                <a:gd name="connsiteY10" fmla="*/ 108967 h 241274"/>
                <a:gd name="connsiteX11" fmla="*/ 68461 w 68461"/>
                <a:gd name="connsiteY11" fmla="*/ 115121 h 241274"/>
                <a:gd name="connsiteX12" fmla="*/ 19229 w 68461"/>
                <a:gd name="connsiteY12" fmla="*/ 238198 h 241274"/>
                <a:gd name="connsiteX13" fmla="*/ 16153 w 68461"/>
                <a:gd name="connsiteY13" fmla="*/ 241275 h 241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461" h="241274">
                  <a:moveTo>
                    <a:pt x="16153" y="241275"/>
                  </a:moveTo>
                  <a:lnTo>
                    <a:pt x="16153" y="241275"/>
                  </a:lnTo>
                  <a:cubicBezTo>
                    <a:pt x="13077" y="241275"/>
                    <a:pt x="9999" y="238198"/>
                    <a:pt x="9999" y="235121"/>
                  </a:cubicBezTo>
                  <a:cubicBezTo>
                    <a:pt x="16153" y="182813"/>
                    <a:pt x="43846" y="130505"/>
                    <a:pt x="56153" y="115121"/>
                  </a:cubicBezTo>
                  <a:cubicBezTo>
                    <a:pt x="43846" y="108967"/>
                    <a:pt x="19229" y="96659"/>
                    <a:pt x="6923" y="72044"/>
                  </a:cubicBezTo>
                  <a:cubicBezTo>
                    <a:pt x="-2308" y="53582"/>
                    <a:pt x="-2308" y="28967"/>
                    <a:pt x="6923" y="4351"/>
                  </a:cubicBezTo>
                  <a:cubicBezTo>
                    <a:pt x="6923" y="1275"/>
                    <a:pt x="9999" y="-1802"/>
                    <a:pt x="13077" y="1275"/>
                  </a:cubicBezTo>
                  <a:cubicBezTo>
                    <a:pt x="16153" y="1275"/>
                    <a:pt x="19229" y="4351"/>
                    <a:pt x="16153" y="7428"/>
                  </a:cubicBezTo>
                  <a:cubicBezTo>
                    <a:pt x="6923" y="28967"/>
                    <a:pt x="9999" y="47428"/>
                    <a:pt x="16153" y="65890"/>
                  </a:cubicBezTo>
                  <a:cubicBezTo>
                    <a:pt x="31538" y="93582"/>
                    <a:pt x="65383" y="105890"/>
                    <a:pt x="65383" y="105890"/>
                  </a:cubicBezTo>
                  <a:cubicBezTo>
                    <a:pt x="68461" y="105890"/>
                    <a:pt x="68461" y="108967"/>
                    <a:pt x="68461" y="108967"/>
                  </a:cubicBezTo>
                  <a:cubicBezTo>
                    <a:pt x="68461" y="112044"/>
                    <a:pt x="68461" y="112044"/>
                    <a:pt x="68461" y="115121"/>
                  </a:cubicBezTo>
                  <a:cubicBezTo>
                    <a:pt x="68461" y="115121"/>
                    <a:pt x="25384" y="173582"/>
                    <a:pt x="19229" y="238198"/>
                  </a:cubicBezTo>
                  <a:cubicBezTo>
                    <a:pt x="22307" y="238198"/>
                    <a:pt x="19229" y="241275"/>
                    <a:pt x="16153" y="241275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4AA31B41-CACD-40F0-A7EA-91A2E767821D}"/>
                </a:ext>
              </a:extLst>
            </p:cNvPr>
            <p:cNvSpPr/>
            <p:nvPr/>
          </p:nvSpPr>
          <p:spPr>
            <a:xfrm>
              <a:off x="12306000" y="-999973"/>
              <a:ext cx="116153" cy="36153"/>
            </a:xfrm>
            <a:custGeom>
              <a:avLst/>
              <a:gdLst>
                <a:gd name="connsiteX0" fmla="*/ 79232 w 116153"/>
                <a:gd name="connsiteY0" fmla="*/ 36154 h 36153"/>
                <a:gd name="connsiteX1" fmla="*/ 2309 w 116153"/>
                <a:gd name="connsiteY1" fmla="*/ 11538 h 36153"/>
                <a:gd name="connsiteX2" fmla="*/ 2309 w 116153"/>
                <a:gd name="connsiteY2" fmla="*/ 2308 h 36153"/>
                <a:gd name="connsiteX3" fmla="*/ 11539 w 116153"/>
                <a:gd name="connsiteY3" fmla="*/ 2308 h 36153"/>
                <a:gd name="connsiteX4" fmla="*/ 110001 w 116153"/>
                <a:gd name="connsiteY4" fmla="*/ 20769 h 36153"/>
                <a:gd name="connsiteX5" fmla="*/ 116153 w 116153"/>
                <a:gd name="connsiteY5" fmla="*/ 23846 h 36153"/>
                <a:gd name="connsiteX6" fmla="*/ 113077 w 116153"/>
                <a:gd name="connsiteY6" fmla="*/ 30000 h 36153"/>
                <a:gd name="connsiteX7" fmla="*/ 79232 w 116153"/>
                <a:gd name="connsiteY7" fmla="*/ 36154 h 3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153" h="36153">
                  <a:moveTo>
                    <a:pt x="79232" y="36154"/>
                  </a:moveTo>
                  <a:cubicBezTo>
                    <a:pt x="54615" y="36154"/>
                    <a:pt x="23846" y="30000"/>
                    <a:pt x="2309" y="11538"/>
                  </a:cubicBezTo>
                  <a:cubicBezTo>
                    <a:pt x="-770" y="8462"/>
                    <a:pt x="-770" y="5385"/>
                    <a:pt x="2309" y="2308"/>
                  </a:cubicBezTo>
                  <a:cubicBezTo>
                    <a:pt x="5385" y="-769"/>
                    <a:pt x="8461" y="-769"/>
                    <a:pt x="11539" y="2308"/>
                  </a:cubicBezTo>
                  <a:cubicBezTo>
                    <a:pt x="45384" y="36154"/>
                    <a:pt x="110001" y="20769"/>
                    <a:pt x="110001" y="20769"/>
                  </a:cubicBezTo>
                  <a:cubicBezTo>
                    <a:pt x="113077" y="20769"/>
                    <a:pt x="116153" y="20769"/>
                    <a:pt x="116153" y="23846"/>
                  </a:cubicBezTo>
                  <a:cubicBezTo>
                    <a:pt x="116153" y="26923"/>
                    <a:pt x="116153" y="30000"/>
                    <a:pt x="113077" y="30000"/>
                  </a:cubicBezTo>
                  <a:cubicBezTo>
                    <a:pt x="113077" y="33077"/>
                    <a:pt x="97692" y="36154"/>
                    <a:pt x="79232" y="36154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4C2E9EF5-90E1-4F5E-93AC-8CF6AF189C45}"/>
                </a:ext>
              </a:extLst>
            </p:cNvPr>
            <p:cNvSpPr/>
            <p:nvPr/>
          </p:nvSpPr>
          <p:spPr>
            <a:xfrm>
              <a:off x="12254725" y="-1448736"/>
              <a:ext cx="262813" cy="87994"/>
            </a:xfrm>
            <a:custGeom>
              <a:avLst/>
              <a:gdLst>
                <a:gd name="connsiteX0" fmla="*/ 250505 w 262813"/>
                <a:gd name="connsiteY0" fmla="*/ 87994 h 87994"/>
                <a:gd name="connsiteX1" fmla="*/ 250505 w 262813"/>
                <a:gd name="connsiteY1" fmla="*/ 87994 h 87994"/>
                <a:gd name="connsiteX2" fmla="*/ 195121 w 262813"/>
                <a:gd name="connsiteY2" fmla="*/ 63379 h 87994"/>
                <a:gd name="connsiteX3" fmla="*/ 185890 w 262813"/>
                <a:gd name="connsiteY3" fmla="*/ 54148 h 87994"/>
                <a:gd name="connsiteX4" fmla="*/ 158197 w 262813"/>
                <a:gd name="connsiteY4" fmla="*/ 35686 h 87994"/>
                <a:gd name="connsiteX5" fmla="*/ 133582 w 262813"/>
                <a:gd name="connsiteY5" fmla="*/ 41840 h 87994"/>
                <a:gd name="connsiteX6" fmla="*/ 99737 w 262813"/>
                <a:gd name="connsiteY6" fmla="*/ 51071 h 87994"/>
                <a:gd name="connsiteX7" fmla="*/ 72044 w 262813"/>
                <a:gd name="connsiteY7" fmla="*/ 32609 h 87994"/>
                <a:gd name="connsiteX8" fmla="*/ 53583 w 262813"/>
                <a:gd name="connsiteY8" fmla="*/ 17225 h 87994"/>
                <a:gd name="connsiteX9" fmla="*/ 25890 w 262813"/>
                <a:gd name="connsiteY9" fmla="*/ 20302 h 87994"/>
                <a:gd name="connsiteX10" fmla="*/ 10505 w 262813"/>
                <a:gd name="connsiteY10" fmla="*/ 44917 h 87994"/>
                <a:gd name="connsiteX11" fmla="*/ 4351 w 262813"/>
                <a:gd name="connsiteY11" fmla="*/ 47994 h 87994"/>
                <a:gd name="connsiteX12" fmla="*/ 1275 w 262813"/>
                <a:gd name="connsiteY12" fmla="*/ 41840 h 87994"/>
                <a:gd name="connsiteX13" fmla="*/ 22814 w 262813"/>
                <a:gd name="connsiteY13" fmla="*/ 7994 h 87994"/>
                <a:gd name="connsiteX14" fmla="*/ 62813 w 262813"/>
                <a:gd name="connsiteY14" fmla="*/ 1840 h 87994"/>
                <a:gd name="connsiteX15" fmla="*/ 84352 w 262813"/>
                <a:gd name="connsiteY15" fmla="*/ 20302 h 87994"/>
                <a:gd name="connsiteX16" fmla="*/ 105889 w 262813"/>
                <a:gd name="connsiteY16" fmla="*/ 35686 h 87994"/>
                <a:gd name="connsiteX17" fmla="*/ 133582 w 262813"/>
                <a:gd name="connsiteY17" fmla="*/ 29533 h 87994"/>
                <a:gd name="connsiteX18" fmla="*/ 164352 w 262813"/>
                <a:gd name="connsiteY18" fmla="*/ 20302 h 87994"/>
                <a:gd name="connsiteX19" fmla="*/ 201275 w 262813"/>
                <a:gd name="connsiteY19" fmla="*/ 41840 h 87994"/>
                <a:gd name="connsiteX20" fmla="*/ 210505 w 262813"/>
                <a:gd name="connsiteY20" fmla="*/ 51071 h 87994"/>
                <a:gd name="connsiteX21" fmla="*/ 256659 w 262813"/>
                <a:gd name="connsiteY21" fmla="*/ 72609 h 87994"/>
                <a:gd name="connsiteX22" fmla="*/ 262814 w 262813"/>
                <a:gd name="connsiteY22" fmla="*/ 78763 h 87994"/>
                <a:gd name="connsiteX23" fmla="*/ 250505 w 262813"/>
                <a:gd name="connsiteY23" fmla="*/ 87994 h 8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2813" h="87994">
                  <a:moveTo>
                    <a:pt x="250505" y="87994"/>
                  </a:moveTo>
                  <a:cubicBezTo>
                    <a:pt x="250505" y="87994"/>
                    <a:pt x="250505" y="87994"/>
                    <a:pt x="250505" y="87994"/>
                  </a:cubicBezTo>
                  <a:cubicBezTo>
                    <a:pt x="228966" y="84917"/>
                    <a:pt x="210505" y="78763"/>
                    <a:pt x="195121" y="63379"/>
                  </a:cubicBezTo>
                  <a:cubicBezTo>
                    <a:pt x="192045" y="60302"/>
                    <a:pt x="188967" y="57225"/>
                    <a:pt x="185890" y="54148"/>
                  </a:cubicBezTo>
                  <a:cubicBezTo>
                    <a:pt x="176660" y="44917"/>
                    <a:pt x="167428" y="35686"/>
                    <a:pt x="158197" y="35686"/>
                  </a:cubicBezTo>
                  <a:cubicBezTo>
                    <a:pt x="148967" y="35686"/>
                    <a:pt x="142813" y="38763"/>
                    <a:pt x="133582" y="41840"/>
                  </a:cubicBezTo>
                  <a:cubicBezTo>
                    <a:pt x="124352" y="47994"/>
                    <a:pt x="112044" y="51071"/>
                    <a:pt x="99737" y="51071"/>
                  </a:cubicBezTo>
                  <a:cubicBezTo>
                    <a:pt x="87429" y="47994"/>
                    <a:pt x="81274" y="38763"/>
                    <a:pt x="72044" y="32609"/>
                  </a:cubicBezTo>
                  <a:cubicBezTo>
                    <a:pt x="65890" y="26456"/>
                    <a:pt x="62813" y="20302"/>
                    <a:pt x="53583" y="17225"/>
                  </a:cubicBezTo>
                  <a:cubicBezTo>
                    <a:pt x="44351" y="14148"/>
                    <a:pt x="35120" y="14148"/>
                    <a:pt x="25890" y="20302"/>
                  </a:cubicBezTo>
                  <a:cubicBezTo>
                    <a:pt x="16660" y="26456"/>
                    <a:pt x="13582" y="35686"/>
                    <a:pt x="10505" y="44917"/>
                  </a:cubicBezTo>
                  <a:cubicBezTo>
                    <a:pt x="10505" y="47994"/>
                    <a:pt x="7429" y="51071"/>
                    <a:pt x="4351" y="47994"/>
                  </a:cubicBezTo>
                  <a:cubicBezTo>
                    <a:pt x="1275" y="47994"/>
                    <a:pt x="-1803" y="44917"/>
                    <a:pt x="1275" y="41840"/>
                  </a:cubicBezTo>
                  <a:cubicBezTo>
                    <a:pt x="4351" y="26456"/>
                    <a:pt x="10505" y="17225"/>
                    <a:pt x="22814" y="7994"/>
                  </a:cubicBezTo>
                  <a:cubicBezTo>
                    <a:pt x="35120" y="-1237"/>
                    <a:pt x="50505" y="-1237"/>
                    <a:pt x="62813" y="1840"/>
                  </a:cubicBezTo>
                  <a:cubicBezTo>
                    <a:pt x="72044" y="4917"/>
                    <a:pt x="78198" y="14148"/>
                    <a:pt x="84352" y="20302"/>
                  </a:cubicBezTo>
                  <a:cubicBezTo>
                    <a:pt x="90505" y="26456"/>
                    <a:pt x="96659" y="32609"/>
                    <a:pt x="105889" y="35686"/>
                  </a:cubicBezTo>
                  <a:cubicBezTo>
                    <a:pt x="115122" y="38763"/>
                    <a:pt x="124352" y="32609"/>
                    <a:pt x="133582" y="29533"/>
                  </a:cubicBezTo>
                  <a:cubicBezTo>
                    <a:pt x="142813" y="23379"/>
                    <a:pt x="152043" y="20302"/>
                    <a:pt x="164352" y="20302"/>
                  </a:cubicBezTo>
                  <a:cubicBezTo>
                    <a:pt x="179736" y="20302"/>
                    <a:pt x="192045" y="32609"/>
                    <a:pt x="201275" y="41840"/>
                  </a:cubicBezTo>
                  <a:cubicBezTo>
                    <a:pt x="204351" y="44917"/>
                    <a:pt x="207429" y="47994"/>
                    <a:pt x="210505" y="51071"/>
                  </a:cubicBezTo>
                  <a:cubicBezTo>
                    <a:pt x="222814" y="63379"/>
                    <a:pt x="241275" y="69533"/>
                    <a:pt x="256659" y="72609"/>
                  </a:cubicBezTo>
                  <a:cubicBezTo>
                    <a:pt x="259735" y="72609"/>
                    <a:pt x="262814" y="75686"/>
                    <a:pt x="262814" y="78763"/>
                  </a:cubicBezTo>
                  <a:cubicBezTo>
                    <a:pt x="253583" y="84917"/>
                    <a:pt x="253583" y="87994"/>
                    <a:pt x="250505" y="87994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175B6527-1736-42D4-B3C3-21659642FCA5}"/>
                </a:ext>
              </a:extLst>
            </p:cNvPr>
            <p:cNvSpPr/>
            <p:nvPr/>
          </p:nvSpPr>
          <p:spPr>
            <a:xfrm>
              <a:off x="12241385" y="-1531650"/>
              <a:ext cx="292812" cy="87831"/>
            </a:xfrm>
            <a:custGeom>
              <a:avLst/>
              <a:gdLst>
                <a:gd name="connsiteX0" fmla="*/ 288461 w 292812"/>
                <a:gd name="connsiteY0" fmla="*/ 87831 h 87831"/>
                <a:gd name="connsiteX1" fmla="*/ 282308 w 292812"/>
                <a:gd name="connsiteY1" fmla="*/ 81677 h 87831"/>
                <a:gd name="connsiteX2" fmla="*/ 270000 w 292812"/>
                <a:gd name="connsiteY2" fmla="*/ 63216 h 87831"/>
                <a:gd name="connsiteX3" fmla="*/ 217692 w 292812"/>
                <a:gd name="connsiteY3" fmla="*/ 50908 h 87831"/>
                <a:gd name="connsiteX4" fmla="*/ 168462 w 292812"/>
                <a:gd name="connsiteY4" fmla="*/ 29369 h 87831"/>
                <a:gd name="connsiteX5" fmla="*/ 143847 w 292812"/>
                <a:gd name="connsiteY5" fmla="*/ 13985 h 87831"/>
                <a:gd name="connsiteX6" fmla="*/ 97693 w 292812"/>
                <a:gd name="connsiteY6" fmla="*/ 26293 h 87831"/>
                <a:gd name="connsiteX7" fmla="*/ 57691 w 292812"/>
                <a:gd name="connsiteY7" fmla="*/ 32446 h 87831"/>
                <a:gd name="connsiteX8" fmla="*/ 11538 w 292812"/>
                <a:gd name="connsiteY8" fmla="*/ 50908 h 87831"/>
                <a:gd name="connsiteX9" fmla="*/ 2307 w 292812"/>
                <a:gd name="connsiteY9" fmla="*/ 50908 h 87831"/>
                <a:gd name="connsiteX10" fmla="*/ 2307 w 292812"/>
                <a:gd name="connsiteY10" fmla="*/ 41677 h 87831"/>
                <a:gd name="connsiteX11" fmla="*/ 63846 w 292812"/>
                <a:gd name="connsiteY11" fmla="*/ 20139 h 87831"/>
                <a:gd name="connsiteX12" fmla="*/ 91539 w 292812"/>
                <a:gd name="connsiteY12" fmla="*/ 13985 h 87831"/>
                <a:gd name="connsiteX13" fmla="*/ 146923 w 292812"/>
                <a:gd name="connsiteY13" fmla="*/ 1677 h 87831"/>
                <a:gd name="connsiteX14" fmla="*/ 174616 w 292812"/>
                <a:gd name="connsiteY14" fmla="*/ 17062 h 87831"/>
                <a:gd name="connsiteX15" fmla="*/ 214616 w 292812"/>
                <a:gd name="connsiteY15" fmla="*/ 35523 h 87831"/>
                <a:gd name="connsiteX16" fmla="*/ 276154 w 292812"/>
                <a:gd name="connsiteY16" fmla="*/ 50908 h 87831"/>
                <a:gd name="connsiteX17" fmla="*/ 291539 w 292812"/>
                <a:gd name="connsiteY17" fmla="*/ 78600 h 87831"/>
                <a:gd name="connsiteX18" fmla="*/ 288461 w 292812"/>
                <a:gd name="connsiteY18" fmla="*/ 87831 h 87831"/>
                <a:gd name="connsiteX19" fmla="*/ 288461 w 292812"/>
                <a:gd name="connsiteY19" fmla="*/ 87831 h 87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2812" h="87831">
                  <a:moveTo>
                    <a:pt x="288461" y="87831"/>
                  </a:moveTo>
                  <a:cubicBezTo>
                    <a:pt x="285384" y="87831"/>
                    <a:pt x="282308" y="84754"/>
                    <a:pt x="282308" y="81677"/>
                  </a:cubicBezTo>
                  <a:cubicBezTo>
                    <a:pt x="282308" y="72446"/>
                    <a:pt x="279230" y="66293"/>
                    <a:pt x="270000" y="63216"/>
                  </a:cubicBezTo>
                  <a:cubicBezTo>
                    <a:pt x="254615" y="50908"/>
                    <a:pt x="230000" y="50908"/>
                    <a:pt x="217692" y="50908"/>
                  </a:cubicBezTo>
                  <a:cubicBezTo>
                    <a:pt x="202307" y="53985"/>
                    <a:pt x="183846" y="41677"/>
                    <a:pt x="168462" y="29369"/>
                  </a:cubicBezTo>
                  <a:cubicBezTo>
                    <a:pt x="159231" y="23216"/>
                    <a:pt x="149999" y="17062"/>
                    <a:pt x="143847" y="13985"/>
                  </a:cubicBezTo>
                  <a:cubicBezTo>
                    <a:pt x="122308" y="10908"/>
                    <a:pt x="109999" y="17062"/>
                    <a:pt x="97693" y="26293"/>
                  </a:cubicBezTo>
                  <a:cubicBezTo>
                    <a:pt x="85384" y="32446"/>
                    <a:pt x="73076" y="41677"/>
                    <a:pt x="57691" y="32446"/>
                  </a:cubicBezTo>
                  <a:cubicBezTo>
                    <a:pt x="36154" y="20139"/>
                    <a:pt x="11538" y="50908"/>
                    <a:pt x="11538" y="50908"/>
                  </a:cubicBezTo>
                  <a:cubicBezTo>
                    <a:pt x="8461" y="53985"/>
                    <a:pt x="5385" y="53985"/>
                    <a:pt x="2307" y="50908"/>
                  </a:cubicBezTo>
                  <a:cubicBezTo>
                    <a:pt x="-769" y="47831"/>
                    <a:pt x="-769" y="44754"/>
                    <a:pt x="2307" y="41677"/>
                  </a:cubicBezTo>
                  <a:cubicBezTo>
                    <a:pt x="2307" y="41677"/>
                    <a:pt x="33076" y="4754"/>
                    <a:pt x="63846" y="20139"/>
                  </a:cubicBezTo>
                  <a:cubicBezTo>
                    <a:pt x="73076" y="23216"/>
                    <a:pt x="79230" y="20139"/>
                    <a:pt x="91539" y="13985"/>
                  </a:cubicBezTo>
                  <a:cubicBezTo>
                    <a:pt x="103845" y="7831"/>
                    <a:pt x="119230" y="-4477"/>
                    <a:pt x="146923" y="1677"/>
                  </a:cubicBezTo>
                  <a:cubicBezTo>
                    <a:pt x="156153" y="1677"/>
                    <a:pt x="165384" y="10908"/>
                    <a:pt x="174616" y="17062"/>
                  </a:cubicBezTo>
                  <a:cubicBezTo>
                    <a:pt x="186923" y="26293"/>
                    <a:pt x="205385" y="38600"/>
                    <a:pt x="214616" y="35523"/>
                  </a:cubicBezTo>
                  <a:cubicBezTo>
                    <a:pt x="230000" y="32446"/>
                    <a:pt x="257691" y="35523"/>
                    <a:pt x="276154" y="50908"/>
                  </a:cubicBezTo>
                  <a:cubicBezTo>
                    <a:pt x="285384" y="57062"/>
                    <a:pt x="291539" y="66293"/>
                    <a:pt x="291539" y="78600"/>
                  </a:cubicBezTo>
                  <a:cubicBezTo>
                    <a:pt x="294615" y="84754"/>
                    <a:pt x="291539" y="87831"/>
                    <a:pt x="288461" y="87831"/>
                  </a:cubicBezTo>
                  <a:cubicBezTo>
                    <a:pt x="288461" y="87831"/>
                    <a:pt x="288461" y="87831"/>
                    <a:pt x="288461" y="87831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9F3F5125-C8A7-4AE5-8708-7D5C4B38CD37}"/>
                </a:ext>
              </a:extLst>
            </p:cNvPr>
            <p:cNvSpPr/>
            <p:nvPr/>
          </p:nvSpPr>
          <p:spPr>
            <a:xfrm>
              <a:off x="12225231" y="-945357"/>
              <a:ext cx="247428" cy="64615"/>
            </a:xfrm>
            <a:custGeom>
              <a:avLst/>
              <a:gdLst>
                <a:gd name="connsiteX0" fmla="*/ 138462 w 247428"/>
                <a:gd name="connsiteY0" fmla="*/ 64615 h 64615"/>
                <a:gd name="connsiteX1" fmla="*/ 126153 w 247428"/>
                <a:gd name="connsiteY1" fmla="*/ 64615 h 64615"/>
                <a:gd name="connsiteX2" fmla="*/ 52308 w 247428"/>
                <a:gd name="connsiteY2" fmla="*/ 36923 h 64615"/>
                <a:gd name="connsiteX3" fmla="*/ 3076 w 247428"/>
                <a:gd name="connsiteY3" fmla="*/ 12308 h 64615"/>
                <a:gd name="connsiteX4" fmla="*/ 0 w 247428"/>
                <a:gd name="connsiteY4" fmla="*/ 3077 h 64615"/>
                <a:gd name="connsiteX5" fmla="*/ 9230 w 247428"/>
                <a:gd name="connsiteY5" fmla="*/ 0 h 64615"/>
                <a:gd name="connsiteX6" fmla="*/ 58460 w 247428"/>
                <a:gd name="connsiteY6" fmla="*/ 24615 h 64615"/>
                <a:gd name="connsiteX7" fmla="*/ 150768 w 247428"/>
                <a:gd name="connsiteY7" fmla="*/ 52308 h 64615"/>
                <a:gd name="connsiteX8" fmla="*/ 163077 w 247428"/>
                <a:gd name="connsiteY8" fmla="*/ 52308 h 64615"/>
                <a:gd name="connsiteX9" fmla="*/ 212307 w 247428"/>
                <a:gd name="connsiteY9" fmla="*/ 33846 h 64615"/>
                <a:gd name="connsiteX10" fmla="*/ 221539 w 247428"/>
                <a:gd name="connsiteY10" fmla="*/ 27692 h 64615"/>
                <a:gd name="connsiteX11" fmla="*/ 227691 w 247428"/>
                <a:gd name="connsiteY11" fmla="*/ 27692 h 64615"/>
                <a:gd name="connsiteX12" fmla="*/ 236923 w 247428"/>
                <a:gd name="connsiteY12" fmla="*/ 21538 h 64615"/>
                <a:gd name="connsiteX13" fmla="*/ 246154 w 247428"/>
                <a:gd name="connsiteY13" fmla="*/ 24615 h 64615"/>
                <a:gd name="connsiteX14" fmla="*/ 243076 w 247428"/>
                <a:gd name="connsiteY14" fmla="*/ 33846 h 64615"/>
                <a:gd name="connsiteX15" fmla="*/ 218461 w 247428"/>
                <a:gd name="connsiteY15" fmla="*/ 46154 h 64615"/>
                <a:gd name="connsiteX16" fmla="*/ 163077 w 247428"/>
                <a:gd name="connsiteY16" fmla="*/ 64615 h 64615"/>
                <a:gd name="connsiteX17" fmla="*/ 138462 w 247428"/>
                <a:gd name="connsiteY17" fmla="*/ 64615 h 6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7428" h="64615">
                  <a:moveTo>
                    <a:pt x="138462" y="64615"/>
                  </a:moveTo>
                  <a:cubicBezTo>
                    <a:pt x="132307" y="64615"/>
                    <a:pt x="129231" y="64615"/>
                    <a:pt x="126153" y="64615"/>
                  </a:cubicBezTo>
                  <a:cubicBezTo>
                    <a:pt x="107692" y="61538"/>
                    <a:pt x="76923" y="49231"/>
                    <a:pt x="52308" y="36923"/>
                  </a:cubicBezTo>
                  <a:cubicBezTo>
                    <a:pt x="24615" y="24615"/>
                    <a:pt x="3076" y="12308"/>
                    <a:pt x="3076" y="12308"/>
                  </a:cubicBezTo>
                  <a:cubicBezTo>
                    <a:pt x="0" y="9231"/>
                    <a:pt x="0" y="6154"/>
                    <a:pt x="0" y="3077"/>
                  </a:cubicBezTo>
                  <a:cubicBezTo>
                    <a:pt x="3076" y="0"/>
                    <a:pt x="6154" y="0"/>
                    <a:pt x="9230" y="0"/>
                  </a:cubicBezTo>
                  <a:cubicBezTo>
                    <a:pt x="9230" y="0"/>
                    <a:pt x="30769" y="12308"/>
                    <a:pt x="58460" y="24615"/>
                  </a:cubicBezTo>
                  <a:cubicBezTo>
                    <a:pt x="89230" y="36923"/>
                    <a:pt x="126153" y="52308"/>
                    <a:pt x="150768" y="52308"/>
                  </a:cubicBezTo>
                  <a:cubicBezTo>
                    <a:pt x="153846" y="52308"/>
                    <a:pt x="160000" y="52308"/>
                    <a:pt x="163077" y="52308"/>
                  </a:cubicBezTo>
                  <a:cubicBezTo>
                    <a:pt x="181537" y="49231"/>
                    <a:pt x="200000" y="40000"/>
                    <a:pt x="212307" y="33846"/>
                  </a:cubicBezTo>
                  <a:cubicBezTo>
                    <a:pt x="218461" y="30769"/>
                    <a:pt x="221539" y="27692"/>
                    <a:pt x="221539" y="27692"/>
                  </a:cubicBezTo>
                  <a:cubicBezTo>
                    <a:pt x="224615" y="27692"/>
                    <a:pt x="224615" y="24615"/>
                    <a:pt x="227691" y="27692"/>
                  </a:cubicBezTo>
                  <a:cubicBezTo>
                    <a:pt x="233845" y="24615"/>
                    <a:pt x="236923" y="21538"/>
                    <a:pt x="236923" y="21538"/>
                  </a:cubicBezTo>
                  <a:cubicBezTo>
                    <a:pt x="240000" y="18462"/>
                    <a:pt x="243076" y="21538"/>
                    <a:pt x="246154" y="24615"/>
                  </a:cubicBezTo>
                  <a:cubicBezTo>
                    <a:pt x="249230" y="27692"/>
                    <a:pt x="246154" y="30769"/>
                    <a:pt x="243076" y="33846"/>
                  </a:cubicBezTo>
                  <a:cubicBezTo>
                    <a:pt x="243076" y="33846"/>
                    <a:pt x="233845" y="40000"/>
                    <a:pt x="218461" y="46154"/>
                  </a:cubicBezTo>
                  <a:cubicBezTo>
                    <a:pt x="206154" y="52308"/>
                    <a:pt x="187692" y="61538"/>
                    <a:pt x="163077" y="64615"/>
                  </a:cubicBezTo>
                  <a:cubicBezTo>
                    <a:pt x="153846" y="61538"/>
                    <a:pt x="144616" y="64615"/>
                    <a:pt x="138462" y="64615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0" name="图形 1">
              <a:extLst>
                <a:ext uri="{FF2B5EF4-FFF2-40B4-BE49-F238E27FC236}">
                  <a16:creationId xmlns:a16="http://schemas.microsoft.com/office/drawing/2014/main" id="{78F34FAF-F8DA-4351-AA80-3F9F3299DA13}"/>
                </a:ext>
              </a:extLst>
            </p:cNvPr>
            <p:cNvGrpSpPr/>
            <p:nvPr/>
          </p:nvGrpSpPr>
          <p:grpSpPr>
            <a:xfrm>
              <a:off x="11295012" y="2857718"/>
              <a:ext cx="367910" cy="392790"/>
              <a:chOff x="11295012" y="2857718"/>
              <a:chExt cx="367910" cy="392790"/>
            </a:xfrm>
          </p:grpSpPr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FE9FE57D-1E5E-4387-BACF-D7664DD6FD3A}"/>
                  </a:ext>
                </a:extLst>
              </p:cNvPr>
              <p:cNvSpPr/>
              <p:nvPr/>
            </p:nvSpPr>
            <p:spPr>
              <a:xfrm>
                <a:off x="11295012" y="2986949"/>
                <a:ext cx="367910" cy="263559"/>
              </a:xfrm>
              <a:custGeom>
                <a:avLst/>
                <a:gdLst>
                  <a:gd name="connsiteX0" fmla="*/ 139449 w 367910"/>
                  <a:gd name="connsiteY0" fmla="*/ 0 h 263559"/>
                  <a:gd name="connsiteX1" fmla="*/ 259450 w 367910"/>
                  <a:gd name="connsiteY1" fmla="*/ 166154 h 263559"/>
                  <a:gd name="connsiteX2" fmla="*/ 40987 w 367910"/>
                  <a:gd name="connsiteY2" fmla="*/ 36923 h 263559"/>
                  <a:gd name="connsiteX3" fmla="*/ 19449 w 367910"/>
                  <a:gd name="connsiteY3" fmla="*/ 21538 h 263559"/>
                  <a:gd name="connsiteX4" fmla="*/ 988 w 367910"/>
                  <a:gd name="connsiteY4" fmla="*/ 98461 h 263559"/>
                  <a:gd name="connsiteX5" fmla="*/ 13296 w 367910"/>
                  <a:gd name="connsiteY5" fmla="*/ 236923 h 263559"/>
                  <a:gd name="connsiteX6" fmla="*/ 40987 w 367910"/>
                  <a:gd name="connsiteY6" fmla="*/ 236923 h 263559"/>
                  <a:gd name="connsiteX7" fmla="*/ 56372 w 367910"/>
                  <a:gd name="connsiteY7" fmla="*/ 126154 h 263559"/>
                  <a:gd name="connsiteX8" fmla="*/ 200988 w 367910"/>
                  <a:gd name="connsiteY8" fmla="*/ 258461 h 263559"/>
                  <a:gd name="connsiteX9" fmla="*/ 360988 w 367910"/>
                  <a:gd name="connsiteY9" fmla="*/ 261538 h 263559"/>
                  <a:gd name="connsiteX10" fmla="*/ 360988 w 367910"/>
                  <a:gd name="connsiteY10" fmla="*/ 215385 h 263559"/>
                  <a:gd name="connsiteX11" fmla="*/ 139449 w 367910"/>
                  <a:gd name="connsiteY11" fmla="*/ 0 h 263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7910" h="263559">
                    <a:moveTo>
                      <a:pt x="139449" y="0"/>
                    </a:moveTo>
                    <a:cubicBezTo>
                      <a:pt x="139449" y="0"/>
                      <a:pt x="274835" y="156923"/>
                      <a:pt x="259450" y="166154"/>
                    </a:cubicBezTo>
                    <a:cubicBezTo>
                      <a:pt x="240987" y="175385"/>
                      <a:pt x="40987" y="36923"/>
                      <a:pt x="40987" y="36923"/>
                    </a:cubicBezTo>
                    <a:lnTo>
                      <a:pt x="19449" y="21538"/>
                    </a:lnTo>
                    <a:cubicBezTo>
                      <a:pt x="19449" y="21538"/>
                      <a:pt x="-5166" y="70769"/>
                      <a:pt x="988" y="98461"/>
                    </a:cubicBezTo>
                    <a:cubicBezTo>
                      <a:pt x="7142" y="126154"/>
                      <a:pt x="13296" y="236923"/>
                      <a:pt x="13296" y="236923"/>
                    </a:cubicBezTo>
                    <a:lnTo>
                      <a:pt x="40987" y="236923"/>
                    </a:lnTo>
                    <a:lnTo>
                      <a:pt x="56372" y="126154"/>
                    </a:lnTo>
                    <a:cubicBezTo>
                      <a:pt x="56372" y="126154"/>
                      <a:pt x="179449" y="255384"/>
                      <a:pt x="200988" y="258461"/>
                    </a:cubicBezTo>
                    <a:cubicBezTo>
                      <a:pt x="222527" y="264615"/>
                      <a:pt x="348680" y="264615"/>
                      <a:pt x="360988" y="261538"/>
                    </a:cubicBezTo>
                    <a:cubicBezTo>
                      <a:pt x="370219" y="261538"/>
                      <a:pt x="370219" y="221538"/>
                      <a:pt x="360988" y="215385"/>
                    </a:cubicBezTo>
                    <a:cubicBezTo>
                      <a:pt x="280987" y="172307"/>
                      <a:pt x="139449" y="0"/>
                      <a:pt x="139449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C90D9AA9-F48F-4A19-ABB5-2E3E987218C6}"/>
                  </a:ext>
                </a:extLst>
              </p:cNvPr>
              <p:cNvSpPr/>
              <p:nvPr/>
            </p:nvSpPr>
            <p:spPr>
              <a:xfrm>
                <a:off x="11314428" y="2857718"/>
                <a:ext cx="239186" cy="297143"/>
              </a:xfrm>
              <a:custGeom>
                <a:avLst/>
                <a:gdLst>
                  <a:gd name="connsiteX0" fmla="*/ 120033 w 239186"/>
                  <a:gd name="connsiteY0" fmla="*/ 36923 h 297143"/>
                  <a:gd name="connsiteX1" fmla="*/ 116957 w 239186"/>
                  <a:gd name="connsiteY1" fmla="*/ 129231 h 297143"/>
                  <a:gd name="connsiteX2" fmla="*/ 236956 w 239186"/>
                  <a:gd name="connsiteY2" fmla="*/ 295385 h 297143"/>
                  <a:gd name="connsiteX3" fmla="*/ 32 w 239186"/>
                  <a:gd name="connsiteY3" fmla="*/ 150770 h 297143"/>
                  <a:gd name="connsiteX4" fmla="*/ 3110 w 239186"/>
                  <a:gd name="connsiteY4" fmla="*/ 0 h 297143"/>
                  <a:gd name="connsiteX5" fmla="*/ 120033 w 239186"/>
                  <a:gd name="connsiteY5" fmla="*/ 36923 h 29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9186" h="297143">
                    <a:moveTo>
                      <a:pt x="120033" y="36923"/>
                    </a:moveTo>
                    <a:lnTo>
                      <a:pt x="116957" y="129231"/>
                    </a:lnTo>
                    <a:cubicBezTo>
                      <a:pt x="116957" y="129231"/>
                      <a:pt x="258495" y="280000"/>
                      <a:pt x="236956" y="295385"/>
                    </a:cubicBezTo>
                    <a:cubicBezTo>
                      <a:pt x="215417" y="313847"/>
                      <a:pt x="-3044" y="181539"/>
                      <a:pt x="32" y="150770"/>
                    </a:cubicBezTo>
                    <a:cubicBezTo>
                      <a:pt x="32" y="101539"/>
                      <a:pt x="3110" y="0"/>
                      <a:pt x="3110" y="0"/>
                    </a:cubicBezTo>
                    <a:lnTo>
                      <a:pt x="120033" y="36923"/>
                    </a:ln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28C3FE83-C957-4806-8206-6EF58EB93E88}"/>
                </a:ext>
              </a:extLst>
            </p:cNvPr>
            <p:cNvGrpSpPr/>
            <p:nvPr/>
          </p:nvGrpSpPr>
          <p:grpSpPr>
            <a:xfrm>
              <a:off x="10403692" y="2688488"/>
              <a:ext cx="302626" cy="510984"/>
              <a:chOff x="10403692" y="2688488"/>
              <a:chExt cx="302626" cy="510984"/>
            </a:xfrm>
          </p:grpSpPr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32101B4F-CA5D-4B5C-B1C7-7378D189CD16}"/>
                  </a:ext>
                </a:extLst>
              </p:cNvPr>
              <p:cNvSpPr/>
              <p:nvPr/>
            </p:nvSpPr>
            <p:spPr>
              <a:xfrm>
                <a:off x="10403692" y="2814642"/>
                <a:ext cx="302626" cy="384830"/>
              </a:xfrm>
              <a:custGeom>
                <a:avLst/>
                <a:gdLst>
                  <a:gd name="connsiteX0" fmla="*/ 233845 w 302626"/>
                  <a:gd name="connsiteY0" fmla="*/ 46154 h 384830"/>
                  <a:gd name="connsiteX1" fmla="*/ 246154 w 302626"/>
                  <a:gd name="connsiteY1" fmla="*/ 249231 h 384830"/>
                  <a:gd name="connsiteX2" fmla="*/ 129231 w 302626"/>
                  <a:gd name="connsiteY2" fmla="*/ 24615 h 384830"/>
                  <a:gd name="connsiteX3" fmla="*/ 120001 w 302626"/>
                  <a:gd name="connsiteY3" fmla="*/ 0 h 384830"/>
                  <a:gd name="connsiteX4" fmla="*/ 61538 w 302626"/>
                  <a:gd name="connsiteY4" fmla="*/ 55385 h 384830"/>
                  <a:gd name="connsiteX5" fmla="*/ 0 w 302626"/>
                  <a:gd name="connsiteY5" fmla="*/ 181538 h 384830"/>
                  <a:gd name="connsiteX6" fmla="*/ 21539 w 302626"/>
                  <a:gd name="connsiteY6" fmla="*/ 193846 h 384830"/>
                  <a:gd name="connsiteX7" fmla="*/ 92308 w 302626"/>
                  <a:gd name="connsiteY7" fmla="*/ 107692 h 384830"/>
                  <a:gd name="connsiteX8" fmla="*/ 144616 w 302626"/>
                  <a:gd name="connsiteY8" fmla="*/ 298461 h 384830"/>
                  <a:gd name="connsiteX9" fmla="*/ 276923 w 302626"/>
                  <a:gd name="connsiteY9" fmla="*/ 384615 h 384830"/>
                  <a:gd name="connsiteX10" fmla="*/ 301538 w 302626"/>
                  <a:gd name="connsiteY10" fmla="*/ 344615 h 384830"/>
                  <a:gd name="connsiteX11" fmla="*/ 233845 w 302626"/>
                  <a:gd name="connsiteY11" fmla="*/ 46154 h 384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2626" h="384830">
                    <a:moveTo>
                      <a:pt x="233845" y="46154"/>
                    </a:moveTo>
                    <a:cubicBezTo>
                      <a:pt x="233845" y="46154"/>
                      <a:pt x="267693" y="252308"/>
                      <a:pt x="246154" y="249231"/>
                    </a:cubicBezTo>
                    <a:cubicBezTo>
                      <a:pt x="227693" y="249231"/>
                      <a:pt x="129231" y="24615"/>
                      <a:pt x="129231" y="24615"/>
                    </a:cubicBezTo>
                    <a:lnTo>
                      <a:pt x="120001" y="0"/>
                    </a:lnTo>
                    <a:cubicBezTo>
                      <a:pt x="120001" y="0"/>
                      <a:pt x="73847" y="30769"/>
                      <a:pt x="61538" y="55385"/>
                    </a:cubicBezTo>
                    <a:cubicBezTo>
                      <a:pt x="52308" y="80000"/>
                      <a:pt x="0" y="181538"/>
                      <a:pt x="0" y="181538"/>
                    </a:cubicBezTo>
                    <a:lnTo>
                      <a:pt x="21539" y="193846"/>
                    </a:lnTo>
                    <a:lnTo>
                      <a:pt x="92308" y="107692"/>
                    </a:lnTo>
                    <a:cubicBezTo>
                      <a:pt x="92308" y="107692"/>
                      <a:pt x="129231" y="280000"/>
                      <a:pt x="144616" y="298461"/>
                    </a:cubicBezTo>
                    <a:cubicBezTo>
                      <a:pt x="160000" y="313846"/>
                      <a:pt x="267693" y="381538"/>
                      <a:pt x="276923" y="384615"/>
                    </a:cubicBezTo>
                    <a:cubicBezTo>
                      <a:pt x="286154" y="387693"/>
                      <a:pt x="307692" y="356923"/>
                      <a:pt x="301538" y="344615"/>
                    </a:cubicBezTo>
                    <a:cubicBezTo>
                      <a:pt x="264615" y="267692"/>
                      <a:pt x="233845" y="46154"/>
                      <a:pt x="233845" y="46154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F1545C36-C21F-4611-8B64-25B33E23094B}"/>
                  </a:ext>
                </a:extLst>
              </p:cNvPr>
              <p:cNvSpPr/>
              <p:nvPr/>
            </p:nvSpPr>
            <p:spPr>
              <a:xfrm>
                <a:off x="10521726" y="2688488"/>
                <a:ext cx="168119" cy="375416"/>
              </a:xfrm>
              <a:custGeom>
                <a:avLst/>
                <a:gdLst>
                  <a:gd name="connsiteX0" fmla="*/ 168119 w 168119"/>
                  <a:gd name="connsiteY0" fmla="*/ 95385 h 375416"/>
                  <a:gd name="connsiteX1" fmla="*/ 115811 w 168119"/>
                  <a:gd name="connsiteY1" fmla="*/ 172308 h 375416"/>
                  <a:gd name="connsiteX2" fmla="*/ 128119 w 168119"/>
                  <a:gd name="connsiteY2" fmla="*/ 375385 h 375416"/>
                  <a:gd name="connsiteX3" fmla="*/ 1966 w 168119"/>
                  <a:gd name="connsiteY3" fmla="*/ 126154 h 375416"/>
                  <a:gd name="connsiteX4" fmla="*/ 85042 w 168119"/>
                  <a:gd name="connsiteY4" fmla="*/ 0 h 375416"/>
                  <a:gd name="connsiteX5" fmla="*/ 168119 w 168119"/>
                  <a:gd name="connsiteY5" fmla="*/ 95385 h 375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8119" h="375416">
                    <a:moveTo>
                      <a:pt x="168119" y="95385"/>
                    </a:moveTo>
                    <a:lnTo>
                      <a:pt x="115811" y="172308"/>
                    </a:lnTo>
                    <a:cubicBezTo>
                      <a:pt x="115811" y="172308"/>
                      <a:pt x="155813" y="375385"/>
                      <a:pt x="128119" y="375385"/>
                    </a:cubicBezTo>
                    <a:cubicBezTo>
                      <a:pt x="100426" y="378462"/>
                      <a:pt x="-16496" y="153846"/>
                      <a:pt x="1966" y="126154"/>
                    </a:cubicBezTo>
                    <a:cubicBezTo>
                      <a:pt x="26581" y="83077"/>
                      <a:pt x="85042" y="0"/>
                      <a:pt x="85042" y="0"/>
                    </a:cubicBezTo>
                    <a:lnTo>
                      <a:pt x="168119" y="95385"/>
                    </a:ln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0216FD06-0BB7-4545-A92D-E844C92A8BDD}"/>
                </a:ext>
              </a:extLst>
            </p:cNvPr>
            <p:cNvSpPr/>
            <p:nvPr/>
          </p:nvSpPr>
          <p:spPr>
            <a:xfrm>
              <a:off x="10514460" y="377719"/>
              <a:ext cx="1124025" cy="2532307"/>
            </a:xfrm>
            <a:custGeom>
              <a:avLst/>
              <a:gdLst>
                <a:gd name="connsiteX0" fmla="*/ 1000000 w 1124025"/>
                <a:gd name="connsiteY0" fmla="*/ 49231 h 2532307"/>
                <a:gd name="connsiteX1" fmla="*/ 332309 w 1124025"/>
                <a:gd name="connsiteY1" fmla="*/ 0 h 2532307"/>
                <a:gd name="connsiteX2" fmla="*/ 196924 w 1124025"/>
                <a:gd name="connsiteY2" fmla="*/ 326154 h 2532307"/>
                <a:gd name="connsiteX3" fmla="*/ 203078 w 1124025"/>
                <a:gd name="connsiteY3" fmla="*/ 1636923 h 2532307"/>
                <a:gd name="connsiteX4" fmla="*/ 0 w 1124025"/>
                <a:gd name="connsiteY4" fmla="*/ 2360000 h 2532307"/>
                <a:gd name="connsiteX5" fmla="*/ 209232 w 1124025"/>
                <a:gd name="connsiteY5" fmla="*/ 2449231 h 2532307"/>
                <a:gd name="connsiteX6" fmla="*/ 553846 w 1124025"/>
                <a:gd name="connsiteY6" fmla="*/ 1667692 h 2532307"/>
                <a:gd name="connsiteX7" fmla="*/ 633847 w 1124025"/>
                <a:gd name="connsiteY7" fmla="*/ 707692 h 2532307"/>
                <a:gd name="connsiteX8" fmla="*/ 747694 w 1124025"/>
                <a:gd name="connsiteY8" fmla="*/ 2526154 h 2532307"/>
                <a:gd name="connsiteX9" fmla="*/ 963079 w 1124025"/>
                <a:gd name="connsiteY9" fmla="*/ 2532308 h 2532307"/>
                <a:gd name="connsiteX10" fmla="*/ 1120001 w 1124025"/>
                <a:gd name="connsiteY10" fmla="*/ 443077 h 2532307"/>
                <a:gd name="connsiteX11" fmla="*/ 1000000 w 1124025"/>
                <a:gd name="connsiteY11" fmla="*/ 49231 h 25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025" h="2532307">
                  <a:moveTo>
                    <a:pt x="1000000" y="49231"/>
                  </a:moveTo>
                  <a:cubicBezTo>
                    <a:pt x="1000000" y="49231"/>
                    <a:pt x="658462" y="21538"/>
                    <a:pt x="332309" y="0"/>
                  </a:cubicBezTo>
                  <a:cubicBezTo>
                    <a:pt x="295386" y="86154"/>
                    <a:pt x="221539" y="218461"/>
                    <a:pt x="196924" y="326154"/>
                  </a:cubicBezTo>
                  <a:cubicBezTo>
                    <a:pt x="147694" y="556923"/>
                    <a:pt x="203078" y="1636923"/>
                    <a:pt x="203078" y="1636923"/>
                  </a:cubicBezTo>
                  <a:lnTo>
                    <a:pt x="0" y="2360000"/>
                  </a:lnTo>
                  <a:cubicBezTo>
                    <a:pt x="0" y="2360000"/>
                    <a:pt x="135385" y="2455385"/>
                    <a:pt x="209232" y="2449231"/>
                  </a:cubicBezTo>
                  <a:lnTo>
                    <a:pt x="553846" y="1667692"/>
                  </a:lnTo>
                  <a:lnTo>
                    <a:pt x="633847" y="707692"/>
                  </a:lnTo>
                  <a:lnTo>
                    <a:pt x="747694" y="2526154"/>
                  </a:lnTo>
                  <a:lnTo>
                    <a:pt x="963079" y="2532308"/>
                  </a:lnTo>
                  <a:cubicBezTo>
                    <a:pt x="963079" y="2532308"/>
                    <a:pt x="1153846" y="710769"/>
                    <a:pt x="1120001" y="443077"/>
                  </a:cubicBezTo>
                  <a:cubicBezTo>
                    <a:pt x="1089232" y="181538"/>
                    <a:pt x="1000000" y="49231"/>
                    <a:pt x="1000000" y="49231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633A9B3A-1627-441F-B38B-1465E866CC04}"/>
                </a:ext>
              </a:extLst>
            </p:cNvPr>
            <p:cNvSpPr/>
            <p:nvPr/>
          </p:nvSpPr>
          <p:spPr>
            <a:xfrm>
              <a:off x="11338184" y="-498023"/>
              <a:ext cx="933200" cy="848009"/>
            </a:xfrm>
            <a:custGeom>
              <a:avLst/>
              <a:gdLst>
                <a:gd name="connsiteX0" fmla="*/ 22430 w 933200"/>
                <a:gd name="connsiteY0" fmla="*/ 284973 h 848009"/>
                <a:gd name="connsiteX1" fmla="*/ 99353 w 933200"/>
                <a:gd name="connsiteY1" fmla="*/ 1897 h 848009"/>
                <a:gd name="connsiteX2" fmla="*/ 351661 w 933200"/>
                <a:gd name="connsiteY2" fmla="*/ 291127 h 848009"/>
                <a:gd name="connsiteX3" fmla="*/ 502431 w 933200"/>
                <a:gd name="connsiteY3" fmla="*/ 592666 h 848009"/>
                <a:gd name="connsiteX4" fmla="*/ 927046 w 933200"/>
                <a:gd name="connsiteY4" fmla="*/ 580358 h 848009"/>
                <a:gd name="connsiteX5" fmla="*/ 933200 w 933200"/>
                <a:gd name="connsiteY5" fmla="*/ 777281 h 848009"/>
                <a:gd name="connsiteX6" fmla="*/ 370124 w 933200"/>
                <a:gd name="connsiteY6" fmla="*/ 841896 h 848009"/>
                <a:gd name="connsiteX7" fmla="*/ 22430 w 933200"/>
                <a:gd name="connsiteY7" fmla="*/ 284973 h 848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3200" h="848009">
                  <a:moveTo>
                    <a:pt x="22430" y="284973"/>
                  </a:moveTo>
                  <a:cubicBezTo>
                    <a:pt x="-32954" y="146512"/>
                    <a:pt x="22430" y="-19642"/>
                    <a:pt x="99353" y="1897"/>
                  </a:cubicBezTo>
                  <a:cubicBezTo>
                    <a:pt x="188584" y="26512"/>
                    <a:pt x="293201" y="121896"/>
                    <a:pt x="351661" y="291127"/>
                  </a:cubicBezTo>
                  <a:cubicBezTo>
                    <a:pt x="385508" y="389589"/>
                    <a:pt x="483968" y="595743"/>
                    <a:pt x="502431" y="592666"/>
                  </a:cubicBezTo>
                  <a:cubicBezTo>
                    <a:pt x="508585" y="592666"/>
                    <a:pt x="927046" y="580358"/>
                    <a:pt x="927046" y="580358"/>
                  </a:cubicBezTo>
                  <a:cubicBezTo>
                    <a:pt x="927046" y="641897"/>
                    <a:pt x="933200" y="777281"/>
                    <a:pt x="933200" y="777281"/>
                  </a:cubicBezTo>
                  <a:cubicBezTo>
                    <a:pt x="933200" y="777281"/>
                    <a:pt x="450123" y="872666"/>
                    <a:pt x="370124" y="841896"/>
                  </a:cubicBezTo>
                  <a:cubicBezTo>
                    <a:pt x="271662" y="801897"/>
                    <a:pt x="90123" y="457281"/>
                    <a:pt x="22430" y="284973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DCE7C337-C9D3-4FA8-99F5-15360193C8D3}"/>
                </a:ext>
              </a:extLst>
            </p:cNvPr>
            <p:cNvSpPr/>
            <p:nvPr/>
          </p:nvSpPr>
          <p:spPr>
            <a:xfrm>
              <a:off x="10786727" y="-559094"/>
              <a:ext cx="825077" cy="995366"/>
            </a:xfrm>
            <a:custGeom>
              <a:avLst/>
              <a:gdLst>
                <a:gd name="connsiteX0" fmla="*/ 44658 w 825077"/>
                <a:gd name="connsiteY0" fmla="*/ 395275 h 995366"/>
                <a:gd name="connsiteX1" fmla="*/ 60042 w 825077"/>
                <a:gd name="connsiteY1" fmla="*/ 69121 h 995366"/>
                <a:gd name="connsiteX2" fmla="*/ 432349 w 825077"/>
                <a:gd name="connsiteY2" fmla="*/ 4506 h 995366"/>
                <a:gd name="connsiteX3" fmla="*/ 733887 w 825077"/>
                <a:gd name="connsiteY3" fmla="*/ 106044 h 995366"/>
                <a:gd name="connsiteX4" fmla="*/ 773887 w 825077"/>
                <a:gd name="connsiteY4" fmla="*/ 659890 h 995366"/>
                <a:gd name="connsiteX5" fmla="*/ 730811 w 825077"/>
                <a:gd name="connsiteY5" fmla="*/ 989121 h 995366"/>
                <a:gd name="connsiteX6" fmla="*/ 47734 w 825077"/>
                <a:gd name="connsiteY6" fmla="*/ 973737 h 995366"/>
                <a:gd name="connsiteX7" fmla="*/ 44658 w 825077"/>
                <a:gd name="connsiteY7" fmla="*/ 395275 h 99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5077" h="995366">
                  <a:moveTo>
                    <a:pt x="44658" y="395275"/>
                  </a:moveTo>
                  <a:cubicBezTo>
                    <a:pt x="35425" y="364506"/>
                    <a:pt x="-59958" y="133737"/>
                    <a:pt x="60042" y="69121"/>
                  </a:cubicBezTo>
                  <a:cubicBezTo>
                    <a:pt x="164657" y="13737"/>
                    <a:pt x="312349" y="-10879"/>
                    <a:pt x="432349" y="4506"/>
                  </a:cubicBezTo>
                  <a:cubicBezTo>
                    <a:pt x="564657" y="19890"/>
                    <a:pt x="696964" y="41429"/>
                    <a:pt x="733887" y="106044"/>
                  </a:cubicBezTo>
                  <a:cubicBezTo>
                    <a:pt x="847734" y="293737"/>
                    <a:pt x="847734" y="459890"/>
                    <a:pt x="773887" y="659890"/>
                  </a:cubicBezTo>
                  <a:cubicBezTo>
                    <a:pt x="752350" y="718352"/>
                    <a:pt x="746196" y="853737"/>
                    <a:pt x="730811" y="989121"/>
                  </a:cubicBezTo>
                  <a:cubicBezTo>
                    <a:pt x="730811" y="989121"/>
                    <a:pt x="444658" y="1010660"/>
                    <a:pt x="47734" y="973737"/>
                  </a:cubicBezTo>
                  <a:cubicBezTo>
                    <a:pt x="81579" y="752198"/>
                    <a:pt x="50810" y="419890"/>
                    <a:pt x="44658" y="395275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CF88F9F8-3B8F-4508-A5C6-287FB037C5EF}"/>
                </a:ext>
              </a:extLst>
            </p:cNvPr>
            <p:cNvSpPr/>
            <p:nvPr/>
          </p:nvSpPr>
          <p:spPr>
            <a:xfrm>
              <a:off x="10966768" y="-871511"/>
              <a:ext cx="298461" cy="276923"/>
            </a:xfrm>
            <a:custGeom>
              <a:avLst/>
              <a:gdLst>
                <a:gd name="connsiteX0" fmla="*/ 298462 w 298461"/>
                <a:gd name="connsiteY0" fmla="*/ 267692 h 276923"/>
                <a:gd name="connsiteX1" fmla="*/ 15385 w 298461"/>
                <a:gd name="connsiteY1" fmla="*/ 276923 h 276923"/>
                <a:gd name="connsiteX2" fmla="*/ 0 w 298461"/>
                <a:gd name="connsiteY2" fmla="*/ 132308 h 276923"/>
                <a:gd name="connsiteX3" fmla="*/ 3078 w 298461"/>
                <a:gd name="connsiteY3" fmla="*/ 21538 h 276923"/>
                <a:gd name="connsiteX4" fmla="*/ 76923 w 298461"/>
                <a:gd name="connsiteY4" fmla="*/ 0 h 276923"/>
                <a:gd name="connsiteX5" fmla="*/ 240000 w 298461"/>
                <a:gd name="connsiteY5" fmla="*/ 83077 h 27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8461" h="276923">
                  <a:moveTo>
                    <a:pt x="298462" y="267692"/>
                  </a:moveTo>
                  <a:lnTo>
                    <a:pt x="15385" y="276923"/>
                  </a:lnTo>
                  <a:lnTo>
                    <a:pt x="0" y="132308"/>
                  </a:lnTo>
                  <a:lnTo>
                    <a:pt x="3078" y="21538"/>
                  </a:lnTo>
                  <a:lnTo>
                    <a:pt x="76923" y="0"/>
                  </a:lnTo>
                  <a:lnTo>
                    <a:pt x="240000" y="83077"/>
                  </a:ln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1E0E51C0-06F2-44E7-AA4B-F478183C941D}"/>
                </a:ext>
              </a:extLst>
            </p:cNvPr>
            <p:cNvSpPr/>
            <p:nvPr/>
          </p:nvSpPr>
          <p:spPr>
            <a:xfrm>
              <a:off x="11126434" y="-1246046"/>
              <a:ext cx="495719" cy="668122"/>
            </a:xfrm>
            <a:custGeom>
              <a:avLst/>
              <a:gdLst>
                <a:gd name="connsiteX0" fmla="*/ 71104 w 495719"/>
                <a:gd name="connsiteY0" fmla="*/ 645304 h 668122"/>
                <a:gd name="connsiteX1" fmla="*/ 495719 w 495719"/>
                <a:gd name="connsiteY1" fmla="*/ 571458 h 668122"/>
                <a:gd name="connsiteX2" fmla="*/ 335721 w 495719"/>
                <a:gd name="connsiteY2" fmla="*/ 168381 h 668122"/>
                <a:gd name="connsiteX3" fmla="*/ 335 w 495719"/>
                <a:gd name="connsiteY3" fmla="*/ 11458 h 668122"/>
                <a:gd name="connsiteX4" fmla="*/ 40335 w 495719"/>
                <a:gd name="connsiteY4" fmla="*/ 162227 h 668122"/>
                <a:gd name="connsiteX5" fmla="*/ 89567 w 495719"/>
                <a:gd name="connsiteY5" fmla="*/ 306842 h 668122"/>
                <a:gd name="connsiteX6" fmla="*/ 86489 w 495719"/>
                <a:gd name="connsiteY6" fmla="*/ 469919 h 668122"/>
                <a:gd name="connsiteX7" fmla="*/ 71104 w 495719"/>
                <a:gd name="connsiteY7" fmla="*/ 645304 h 66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19" h="668122">
                  <a:moveTo>
                    <a:pt x="71104" y="645304"/>
                  </a:moveTo>
                  <a:cubicBezTo>
                    <a:pt x="80335" y="697612"/>
                    <a:pt x="394181" y="654535"/>
                    <a:pt x="495719" y="571458"/>
                  </a:cubicBezTo>
                  <a:cubicBezTo>
                    <a:pt x="369566" y="408381"/>
                    <a:pt x="351105" y="232996"/>
                    <a:pt x="335721" y="168381"/>
                  </a:cubicBezTo>
                  <a:cubicBezTo>
                    <a:pt x="304952" y="39150"/>
                    <a:pt x="117258" y="-28542"/>
                    <a:pt x="335" y="11458"/>
                  </a:cubicBezTo>
                  <a:cubicBezTo>
                    <a:pt x="-2741" y="11458"/>
                    <a:pt x="15720" y="112996"/>
                    <a:pt x="40335" y="162227"/>
                  </a:cubicBezTo>
                  <a:cubicBezTo>
                    <a:pt x="61874" y="208381"/>
                    <a:pt x="80335" y="257612"/>
                    <a:pt x="89567" y="306842"/>
                  </a:cubicBezTo>
                  <a:cubicBezTo>
                    <a:pt x="98797" y="359150"/>
                    <a:pt x="95719" y="414535"/>
                    <a:pt x="86489" y="469919"/>
                  </a:cubicBezTo>
                  <a:cubicBezTo>
                    <a:pt x="80335" y="516073"/>
                    <a:pt x="61874" y="602227"/>
                    <a:pt x="71104" y="645304"/>
                  </a:cubicBez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BABCD424-A61C-4CC6-A8A4-6A27A9BC351E}"/>
                </a:ext>
              </a:extLst>
            </p:cNvPr>
            <p:cNvSpPr/>
            <p:nvPr/>
          </p:nvSpPr>
          <p:spPr>
            <a:xfrm>
              <a:off x="10957538" y="-1201640"/>
              <a:ext cx="426499" cy="573528"/>
            </a:xfrm>
            <a:custGeom>
              <a:avLst/>
              <a:gdLst>
                <a:gd name="connsiteX0" fmla="*/ 418461 w 426499"/>
                <a:gd name="connsiteY0" fmla="*/ 185513 h 573528"/>
                <a:gd name="connsiteX1" fmla="*/ 406154 w 426499"/>
                <a:gd name="connsiteY1" fmla="*/ 443975 h 573528"/>
                <a:gd name="connsiteX2" fmla="*/ 255384 w 426499"/>
                <a:gd name="connsiteY2" fmla="*/ 573206 h 573528"/>
                <a:gd name="connsiteX3" fmla="*/ 36923 w 426499"/>
                <a:gd name="connsiteY3" fmla="*/ 428590 h 573528"/>
                <a:gd name="connsiteX4" fmla="*/ 0 w 426499"/>
                <a:gd name="connsiteY4" fmla="*/ 200898 h 573528"/>
                <a:gd name="connsiteX5" fmla="*/ 215385 w 426499"/>
                <a:gd name="connsiteY5" fmla="*/ 898 h 573528"/>
                <a:gd name="connsiteX6" fmla="*/ 418461 w 426499"/>
                <a:gd name="connsiteY6" fmla="*/ 185513 h 57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499" h="573528">
                  <a:moveTo>
                    <a:pt x="418461" y="185513"/>
                  </a:moveTo>
                  <a:cubicBezTo>
                    <a:pt x="418461" y="185513"/>
                    <a:pt x="443078" y="376283"/>
                    <a:pt x="406154" y="443975"/>
                  </a:cubicBezTo>
                  <a:cubicBezTo>
                    <a:pt x="369231" y="511667"/>
                    <a:pt x="307692" y="570129"/>
                    <a:pt x="255384" y="573206"/>
                  </a:cubicBezTo>
                  <a:cubicBezTo>
                    <a:pt x="187692" y="579359"/>
                    <a:pt x="73847" y="496283"/>
                    <a:pt x="36923" y="428590"/>
                  </a:cubicBezTo>
                  <a:cubicBezTo>
                    <a:pt x="0" y="360898"/>
                    <a:pt x="0" y="253206"/>
                    <a:pt x="0" y="200898"/>
                  </a:cubicBezTo>
                  <a:cubicBezTo>
                    <a:pt x="3076" y="105513"/>
                    <a:pt x="30769" y="25513"/>
                    <a:pt x="215385" y="898"/>
                  </a:cubicBezTo>
                  <a:cubicBezTo>
                    <a:pt x="304616" y="-11410"/>
                    <a:pt x="400000" y="105513"/>
                    <a:pt x="418461" y="185513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02E451AD-1327-41EF-8684-12851BAC731C}"/>
                </a:ext>
              </a:extLst>
            </p:cNvPr>
            <p:cNvSpPr/>
            <p:nvPr/>
          </p:nvSpPr>
          <p:spPr>
            <a:xfrm>
              <a:off x="11185231" y="-929973"/>
              <a:ext cx="55384" cy="132307"/>
            </a:xfrm>
            <a:custGeom>
              <a:avLst/>
              <a:gdLst>
                <a:gd name="connsiteX0" fmla="*/ 30769 w 55384"/>
                <a:gd name="connsiteY0" fmla="*/ 132308 h 132307"/>
                <a:gd name="connsiteX1" fmla="*/ 6152 w 55384"/>
                <a:gd name="connsiteY1" fmla="*/ 129231 h 132307"/>
                <a:gd name="connsiteX2" fmla="*/ 0 w 55384"/>
                <a:gd name="connsiteY2" fmla="*/ 123077 h 132307"/>
                <a:gd name="connsiteX3" fmla="*/ 6152 w 55384"/>
                <a:gd name="connsiteY3" fmla="*/ 116923 h 132307"/>
                <a:gd name="connsiteX4" fmla="*/ 46154 w 55384"/>
                <a:gd name="connsiteY4" fmla="*/ 116923 h 132307"/>
                <a:gd name="connsiteX5" fmla="*/ 46154 w 55384"/>
                <a:gd name="connsiteY5" fmla="*/ 113846 h 132307"/>
                <a:gd name="connsiteX6" fmla="*/ 18461 w 55384"/>
                <a:gd name="connsiteY6" fmla="*/ 6154 h 132307"/>
                <a:gd name="connsiteX7" fmla="*/ 21537 w 55384"/>
                <a:gd name="connsiteY7" fmla="*/ 0 h 132307"/>
                <a:gd name="connsiteX8" fmla="*/ 27691 w 55384"/>
                <a:gd name="connsiteY8" fmla="*/ 3077 h 132307"/>
                <a:gd name="connsiteX9" fmla="*/ 55384 w 55384"/>
                <a:gd name="connsiteY9" fmla="*/ 113846 h 132307"/>
                <a:gd name="connsiteX10" fmla="*/ 49230 w 55384"/>
                <a:gd name="connsiteY10" fmla="*/ 126154 h 132307"/>
                <a:gd name="connsiteX11" fmla="*/ 30769 w 55384"/>
                <a:gd name="connsiteY11" fmla="*/ 132308 h 1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384" h="132307">
                  <a:moveTo>
                    <a:pt x="30769" y="132308"/>
                  </a:moveTo>
                  <a:cubicBezTo>
                    <a:pt x="18461" y="132308"/>
                    <a:pt x="9230" y="129231"/>
                    <a:pt x="6152" y="129231"/>
                  </a:cubicBezTo>
                  <a:cubicBezTo>
                    <a:pt x="3076" y="129231"/>
                    <a:pt x="0" y="126154"/>
                    <a:pt x="0" y="123077"/>
                  </a:cubicBezTo>
                  <a:cubicBezTo>
                    <a:pt x="0" y="120000"/>
                    <a:pt x="3076" y="116923"/>
                    <a:pt x="6152" y="116923"/>
                  </a:cubicBezTo>
                  <a:cubicBezTo>
                    <a:pt x="18461" y="120000"/>
                    <a:pt x="40000" y="120000"/>
                    <a:pt x="46154" y="116923"/>
                  </a:cubicBezTo>
                  <a:cubicBezTo>
                    <a:pt x="46154" y="116923"/>
                    <a:pt x="46154" y="113846"/>
                    <a:pt x="46154" y="113846"/>
                  </a:cubicBezTo>
                  <a:cubicBezTo>
                    <a:pt x="46154" y="98462"/>
                    <a:pt x="24615" y="30769"/>
                    <a:pt x="18461" y="6154"/>
                  </a:cubicBezTo>
                  <a:cubicBezTo>
                    <a:pt x="18461" y="3077"/>
                    <a:pt x="18461" y="0"/>
                    <a:pt x="21537" y="0"/>
                  </a:cubicBezTo>
                  <a:cubicBezTo>
                    <a:pt x="24615" y="0"/>
                    <a:pt x="27691" y="0"/>
                    <a:pt x="27691" y="3077"/>
                  </a:cubicBezTo>
                  <a:cubicBezTo>
                    <a:pt x="27691" y="6154"/>
                    <a:pt x="55384" y="92308"/>
                    <a:pt x="55384" y="113846"/>
                  </a:cubicBezTo>
                  <a:cubicBezTo>
                    <a:pt x="55384" y="120000"/>
                    <a:pt x="52306" y="123077"/>
                    <a:pt x="49230" y="126154"/>
                  </a:cubicBezTo>
                  <a:cubicBezTo>
                    <a:pt x="52306" y="132308"/>
                    <a:pt x="40000" y="132308"/>
                    <a:pt x="30769" y="132308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42FF14C1-EB1C-4AE8-BD13-1A8450893820}"/>
                </a:ext>
              </a:extLst>
            </p:cNvPr>
            <p:cNvSpPr/>
            <p:nvPr/>
          </p:nvSpPr>
          <p:spPr>
            <a:xfrm>
              <a:off x="11157538" y="-745357"/>
              <a:ext cx="107692" cy="55384"/>
            </a:xfrm>
            <a:custGeom>
              <a:avLst/>
              <a:gdLst>
                <a:gd name="connsiteX0" fmla="*/ 0 w 107692"/>
                <a:gd name="connsiteY0" fmla="*/ 0 h 55384"/>
                <a:gd name="connsiteX1" fmla="*/ 107692 w 107692"/>
                <a:gd name="connsiteY1" fmla="*/ 0 h 55384"/>
                <a:gd name="connsiteX2" fmla="*/ 55384 w 107692"/>
                <a:gd name="connsiteY2" fmla="*/ 55385 h 55384"/>
                <a:gd name="connsiteX3" fmla="*/ 0 w 107692"/>
                <a:gd name="connsiteY3" fmla="*/ 0 h 55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92" h="55384">
                  <a:moveTo>
                    <a:pt x="0" y="0"/>
                  </a:moveTo>
                  <a:cubicBezTo>
                    <a:pt x="55384" y="24615"/>
                    <a:pt x="107692" y="0"/>
                    <a:pt x="107692" y="0"/>
                  </a:cubicBezTo>
                  <a:cubicBezTo>
                    <a:pt x="107692" y="0"/>
                    <a:pt x="92308" y="55385"/>
                    <a:pt x="55384" y="55385"/>
                  </a:cubicBezTo>
                  <a:cubicBezTo>
                    <a:pt x="15385" y="52308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EE55B8B9-21CE-4AA2-87A1-D06402AD05F1}"/>
                </a:ext>
              </a:extLst>
            </p:cNvPr>
            <p:cNvSpPr/>
            <p:nvPr/>
          </p:nvSpPr>
          <p:spPr>
            <a:xfrm>
              <a:off x="11277539" y="-958269"/>
              <a:ext cx="40783" cy="41387"/>
            </a:xfrm>
            <a:custGeom>
              <a:avLst/>
              <a:gdLst>
                <a:gd name="connsiteX0" fmla="*/ 0 w 40783"/>
                <a:gd name="connsiteY0" fmla="*/ 25219 h 41387"/>
                <a:gd name="connsiteX1" fmla="*/ 24615 w 40783"/>
                <a:gd name="connsiteY1" fmla="*/ 40604 h 41387"/>
                <a:gd name="connsiteX2" fmla="*/ 40000 w 40783"/>
                <a:gd name="connsiteY2" fmla="*/ 15988 h 41387"/>
                <a:gd name="connsiteX3" fmla="*/ 15385 w 40783"/>
                <a:gd name="connsiteY3" fmla="*/ 604 h 41387"/>
                <a:gd name="connsiteX4" fmla="*/ 0 w 40783"/>
                <a:gd name="connsiteY4" fmla="*/ 25219 h 4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3" h="41387">
                  <a:moveTo>
                    <a:pt x="0" y="25219"/>
                  </a:moveTo>
                  <a:cubicBezTo>
                    <a:pt x="3076" y="37527"/>
                    <a:pt x="12307" y="43680"/>
                    <a:pt x="24615" y="40604"/>
                  </a:cubicBezTo>
                  <a:cubicBezTo>
                    <a:pt x="36922" y="37527"/>
                    <a:pt x="43076" y="28296"/>
                    <a:pt x="40000" y="15988"/>
                  </a:cubicBezTo>
                  <a:cubicBezTo>
                    <a:pt x="36922" y="6757"/>
                    <a:pt x="27691" y="-2473"/>
                    <a:pt x="15385" y="604"/>
                  </a:cubicBezTo>
                  <a:cubicBezTo>
                    <a:pt x="6152" y="3680"/>
                    <a:pt x="0" y="15988"/>
                    <a:pt x="0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8739E79C-A6CD-4C04-9020-2479CD0E9B6E}"/>
                </a:ext>
              </a:extLst>
            </p:cNvPr>
            <p:cNvSpPr/>
            <p:nvPr/>
          </p:nvSpPr>
          <p:spPr>
            <a:xfrm>
              <a:off x="11086165" y="-952295"/>
              <a:ext cx="41206" cy="41387"/>
            </a:xfrm>
            <a:custGeom>
              <a:avLst/>
              <a:gdLst>
                <a:gd name="connsiteX0" fmla="*/ 604 w 41206"/>
                <a:gd name="connsiteY0" fmla="*/ 25399 h 41387"/>
                <a:gd name="connsiteX1" fmla="*/ 25219 w 41206"/>
                <a:gd name="connsiteY1" fmla="*/ 40784 h 41387"/>
                <a:gd name="connsiteX2" fmla="*/ 40603 w 41206"/>
                <a:gd name="connsiteY2" fmla="*/ 16169 h 41387"/>
                <a:gd name="connsiteX3" fmla="*/ 15988 w 41206"/>
                <a:gd name="connsiteY3" fmla="*/ 784 h 41387"/>
                <a:gd name="connsiteX4" fmla="*/ 604 w 41206"/>
                <a:gd name="connsiteY4" fmla="*/ 25399 h 4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06" h="41387">
                  <a:moveTo>
                    <a:pt x="604" y="25399"/>
                  </a:moveTo>
                  <a:cubicBezTo>
                    <a:pt x="3680" y="34630"/>
                    <a:pt x="12910" y="43861"/>
                    <a:pt x="25219" y="40784"/>
                  </a:cubicBezTo>
                  <a:cubicBezTo>
                    <a:pt x="34449" y="37707"/>
                    <a:pt x="43680" y="28476"/>
                    <a:pt x="40603" y="16169"/>
                  </a:cubicBezTo>
                  <a:cubicBezTo>
                    <a:pt x="37527" y="3861"/>
                    <a:pt x="28295" y="-2293"/>
                    <a:pt x="15988" y="784"/>
                  </a:cubicBezTo>
                  <a:cubicBezTo>
                    <a:pt x="6758" y="3861"/>
                    <a:pt x="-2474" y="16169"/>
                    <a:pt x="604" y="2539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5F61748F-DE45-4B7E-9995-A810886D13A3}"/>
                </a:ext>
              </a:extLst>
            </p:cNvPr>
            <p:cNvSpPr/>
            <p:nvPr/>
          </p:nvSpPr>
          <p:spPr>
            <a:xfrm>
              <a:off x="11251648" y="-1003819"/>
              <a:ext cx="92812" cy="30769"/>
            </a:xfrm>
            <a:custGeom>
              <a:avLst/>
              <a:gdLst>
                <a:gd name="connsiteX0" fmla="*/ 84351 w 92812"/>
                <a:gd name="connsiteY0" fmla="*/ 30769 h 30769"/>
                <a:gd name="connsiteX1" fmla="*/ 78197 w 92812"/>
                <a:gd name="connsiteY1" fmla="*/ 27692 h 30769"/>
                <a:gd name="connsiteX2" fmla="*/ 10506 w 92812"/>
                <a:gd name="connsiteY2" fmla="*/ 21538 h 30769"/>
                <a:gd name="connsiteX3" fmla="*/ 1274 w 92812"/>
                <a:gd name="connsiteY3" fmla="*/ 18462 h 30769"/>
                <a:gd name="connsiteX4" fmla="*/ 4352 w 92812"/>
                <a:gd name="connsiteY4" fmla="*/ 9231 h 30769"/>
                <a:gd name="connsiteX5" fmla="*/ 90506 w 92812"/>
                <a:gd name="connsiteY5" fmla="*/ 18462 h 30769"/>
                <a:gd name="connsiteX6" fmla="*/ 90506 w 92812"/>
                <a:gd name="connsiteY6" fmla="*/ 30769 h 30769"/>
                <a:gd name="connsiteX7" fmla="*/ 84351 w 92812"/>
                <a:gd name="connsiteY7" fmla="*/ 30769 h 3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0769">
                  <a:moveTo>
                    <a:pt x="84351" y="30769"/>
                  </a:moveTo>
                  <a:cubicBezTo>
                    <a:pt x="81275" y="30769"/>
                    <a:pt x="81275" y="30769"/>
                    <a:pt x="78197" y="27692"/>
                  </a:cubicBezTo>
                  <a:cubicBezTo>
                    <a:pt x="53582" y="0"/>
                    <a:pt x="13583" y="18462"/>
                    <a:pt x="10506" y="21538"/>
                  </a:cubicBezTo>
                  <a:cubicBezTo>
                    <a:pt x="7428" y="24615"/>
                    <a:pt x="1274" y="21538"/>
                    <a:pt x="1274" y="18462"/>
                  </a:cubicBezTo>
                  <a:cubicBezTo>
                    <a:pt x="-1802" y="15385"/>
                    <a:pt x="1274" y="9231"/>
                    <a:pt x="4352" y="9231"/>
                  </a:cubicBezTo>
                  <a:cubicBezTo>
                    <a:pt x="22813" y="0"/>
                    <a:pt x="62813" y="-9231"/>
                    <a:pt x="90506" y="18462"/>
                  </a:cubicBezTo>
                  <a:cubicBezTo>
                    <a:pt x="93582" y="21538"/>
                    <a:pt x="93582" y="27692"/>
                    <a:pt x="90506" y="30769"/>
                  </a:cubicBezTo>
                  <a:cubicBezTo>
                    <a:pt x="87430" y="30769"/>
                    <a:pt x="87430" y="30769"/>
                    <a:pt x="84351" y="30769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29E157AC-BA96-4E36-909B-0F16BACBA712}"/>
                </a:ext>
              </a:extLst>
            </p:cNvPr>
            <p:cNvSpPr/>
            <p:nvPr/>
          </p:nvSpPr>
          <p:spPr>
            <a:xfrm>
              <a:off x="11059846" y="-1008947"/>
              <a:ext cx="92813" cy="35897"/>
            </a:xfrm>
            <a:custGeom>
              <a:avLst/>
              <a:gdLst>
                <a:gd name="connsiteX0" fmla="*/ 8461 w 92813"/>
                <a:gd name="connsiteY0" fmla="*/ 35897 h 35897"/>
                <a:gd name="connsiteX1" fmla="*/ 2309 w 92813"/>
                <a:gd name="connsiteY1" fmla="*/ 32820 h 35897"/>
                <a:gd name="connsiteX2" fmla="*/ 2309 w 92813"/>
                <a:gd name="connsiteY2" fmla="*/ 20513 h 35897"/>
                <a:gd name="connsiteX3" fmla="*/ 88462 w 92813"/>
                <a:gd name="connsiteY3" fmla="*/ 11282 h 35897"/>
                <a:gd name="connsiteX4" fmla="*/ 91538 w 92813"/>
                <a:gd name="connsiteY4" fmla="*/ 23590 h 35897"/>
                <a:gd name="connsiteX5" fmla="*/ 79232 w 92813"/>
                <a:gd name="connsiteY5" fmla="*/ 26667 h 35897"/>
                <a:gd name="connsiteX6" fmla="*/ 11539 w 92813"/>
                <a:gd name="connsiteY6" fmla="*/ 32820 h 35897"/>
                <a:gd name="connsiteX7" fmla="*/ 8461 w 92813"/>
                <a:gd name="connsiteY7" fmla="*/ 35897 h 35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5897">
                  <a:moveTo>
                    <a:pt x="8461" y="35897"/>
                  </a:moveTo>
                  <a:cubicBezTo>
                    <a:pt x="5385" y="35897"/>
                    <a:pt x="5385" y="35897"/>
                    <a:pt x="2309" y="32820"/>
                  </a:cubicBezTo>
                  <a:cubicBezTo>
                    <a:pt x="-770" y="29744"/>
                    <a:pt x="-770" y="23590"/>
                    <a:pt x="2309" y="20513"/>
                  </a:cubicBezTo>
                  <a:cubicBezTo>
                    <a:pt x="14615" y="8205"/>
                    <a:pt x="51539" y="-13333"/>
                    <a:pt x="88462" y="11282"/>
                  </a:cubicBezTo>
                  <a:cubicBezTo>
                    <a:pt x="91538" y="14359"/>
                    <a:pt x="94616" y="17436"/>
                    <a:pt x="91538" y="23590"/>
                  </a:cubicBezTo>
                  <a:cubicBezTo>
                    <a:pt x="88462" y="26667"/>
                    <a:pt x="85384" y="29744"/>
                    <a:pt x="79232" y="26667"/>
                  </a:cubicBezTo>
                  <a:cubicBezTo>
                    <a:pt x="42308" y="2051"/>
                    <a:pt x="14615" y="32820"/>
                    <a:pt x="11539" y="32820"/>
                  </a:cubicBezTo>
                  <a:cubicBezTo>
                    <a:pt x="11539" y="35897"/>
                    <a:pt x="11539" y="35897"/>
                    <a:pt x="8461" y="35897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C5EA734C-87F2-45C6-8E22-D7FFFED0D892}"/>
                </a:ext>
              </a:extLst>
            </p:cNvPr>
            <p:cNvSpPr/>
            <p:nvPr/>
          </p:nvSpPr>
          <p:spPr>
            <a:xfrm>
              <a:off x="11124659" y="-1233803"/>
              <a:ext cx="279173" cy="260753"/>
            </a:xfrm>
            <a:custGeom>
              <a:avLst/>
              <a:gdLst>
                <a:gd name="connsiteX0" fmla="*/ 2110 w 279173"/>
                <a:gd name="connsiteY0" fmla="*/ 2292 h 260753"/>
                <a:gd name="connsiteX1" fmla="*/ 39034 w 279173"/>
                <a:gd name="connsiteY1" fmla="*/ 131523 h 260753"/>
                <a:gd name="connsiteX2" fmla="*/ 279033 w 279173"/>
                <a:gd name="connsiteY2" fmla="*/ 260753 h 260753"/>
                <a:gd name="connsiteX3" fmla="*/ 2110 w 279173"/>
                <a:gd name="connsiteY3" fmla="*/ 2292 h 260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173" h="260753">
                  <a:moveTo>
                    <a:pt x="2110" y="2292"/>
                  </a:moveTo>
                  <a:cubicBezTo>
                    <a:pt x="2110" y="2292"/>
                    <a:pt x="-13274" y="91523"/>
                    <a:pt x="39034" y="131523"/>
                  </a:cubicBezTo>
                  <a:cubicBezTo>
                    <a:pt x="39034" y="131523"/>
                    <a:pt x="251340" y="174599"/>
                    <a:pt x="279033" y="260753"/>
                  </a:cubicBezTo>
                  <a:cubicBezTo>
                    <a:pt x="279033" y="260753"/>
                    <a:pt x="294418" y="-28477"/>
                    <a:pt x="2110" y="2292"/>
                  </a:cubicBez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ADBE7A83-7C1C-4027-B0AA-5B92F579DC36}"/>
                </a:ext>
              </a:extLst>
            </p:cNvPr>
            <p:cNvSpPr/>
            <p:nvPr/>
          </p:nvSpPr>
          <p:spPr>
            <a:xfrm>
              <a:off x="10934289" y="-1231511"/>
              <a:ext cx="226325" cy="317422"/>
            </a:xfrm>
            <a:custGeom>
              <a:avLst/>
              <a:gdLst>
                <a:gd name="connsiteX0" fmla="*/ 226325 w 226325"/>
                <a:gd name="connsiteY0" fmla="*/ 129231 h 317422"/>
                <a:gd name="connsiteX1" fmla="*/ 84787 w 226325"/>
                <a:gd name="connsiteY1" fmla="*/ 184615 h 317422"/>
                <a:gd name="connsiteX2" fmla="*/ 26325 w 226325"/>
                <a:gd name="connsiteY2" fmla="*/ 304615 h 317422"/>
                <a:gd name="connsiteX3" fmla="*/ 1710 w 226325"/>
                <a:gd name="connsiteY3" fmla="*/ 301538 h 317422"/>
                <a:gd name="connsiteX4" fmla="*/ 192480 w 226325"/>
                <a:gd name="connsiteY4" fmla="*/ 0 h 317422"/>
                <a:gd name="connsiteX5" fmla="*/ 226325 w 226325"/>
                <a:gd name="connsiteY5" fmla="*/ 129231 h 317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6325" h="317422">
                  <a:moveTo>
                    <a:pt x="226325" y="129231"/>
                  </a:moveTo>
                  <a:cubicBezTo>
                    <a:pt x="226325" y="129231"/>
                    <a:pt x="134017" y="178462"/>
                    <a:pt x="84787" y="184615"/>
                  </a:cubicBezTo>
                  <a:cubicBezTo>
                    <a:pt x="32479" y="190769"/>
                    <a:pt x="26325" y="304615"/>
                    <a:pt x="26325" y="304615"/>
                  </a:cubicBezTo>
                  <a:cubicBezTo>
                    <a:pt x="26325" y="304615"/>
                    <a:pt x="4788" y="335385"/>
                    <a:pt x="1710" y="301538"/>
                  </a:cubicBezTo>
                  <a:cubicBezTo>
                    <a:pt x="-4444" y="221538"/>
                    <a:pt x="-4444" y="21538"/>
                    <a:pt x="192480" y="0"/>
                  </a:cubicBezTo>
                  <a:cubicBezTo>
                    <a:pt x="192480" y="0"/>
                    <a:pt x="204788" y="123077"/>
                    <a:pt x="226325" y="129231"/>
                  </a:cubicBez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773BD5C8-3FBA-44CB-ACDD-3662D609DE9F}"/>
                </a:ext>
              </a:extLst>
            </p:cNvPr>
            <p:cNvSpPr/>
            <p:nvPr/>
          </p:nvSpPr>
          <p:spPr>
            <a:xfrm>
              <a:off x="11012922" y="-1234588"/>
              <a:ext cx="155214" cy="190769"/>
            </a:xfrm>
            <a:custGeom>
              <a:avLst/>
              <a:gdLst>
                <a:gd name="connsiteX0" fmla="*/ 6154 w 155214"/>
                <a:gd name="connsiteY0" fmla="*/ 190769 h 190769"/>
                <a:gd name="connsiteX1" fmla="*/ 0 w 155214"/>
                <a:gd name="connsiteY1" fmla="*/ 184615 h 190769"/>
                <a:gd name="connsiteX2" fmla="*/ 6154 w 155214"/>
                <a:gd name="connsiteY2" fmla="*/ 178462 h 190769"/>
                <a:gd name="connsiteX3" fmla="*/ 101538 w 155214"/>
                <a:gd name="connsiteY3" fmla="*/ 147692 h 190769"/>
                <a:gd name="connsiteX4" fmla="*/ 141540 w 155214"/>
                <a:gd name="connsiteY4" fmla="*/ 126154 h 190769"/>
                <a:gd name="connsiteX5" fmla="*/ 126155 w 155214"/>
                <a:gd name="connsiteY5" fmla="*/ 104615 h 190769"/>
                <a:gd name="connsiteX6" fmla="*/ 113847 w 155214"/>
                <a:gd name="connsiteY6" fmla="*/ 61538 h 190769"/>
                <a:gd name="connsiteX7" fmla="*/ 110770 w 155214"/>
                <a:gd name="connsiteY7" fmla="*/ 33846 h 190769"/>
                <a:gd name="connsiteX8" fmla="*/ 107692 w 155214"/>
                <a:gd name="connsiteY8" fmla="*/ 6154 h 190769"/>
                <a:gd name="connsiteX9" fmla="*/ 113847 w 155214"/>
                <a:gd name="connsiteY9" fmla="*/ 0 h 190769"/>
                <a:gd name="connsiteX10" fmla="*/ 120001 w 155214"/>
                <a:gd name="connsiteY10" fmla="*/ 6154 h 190769"/>
                <a:gd name="connsiteX11" fmla="*/ 123077 w 155214"/>
                <a:gd name="connsiteY11" fmla="*/ 33846 h 190769"/>
                <a:gd name="connsiteX12" fmla="*/ 126155 w 155214"/>
                <a:gd name="connsiteY12" fmla="*/ 61538 h 190769"/>
                <a:gd name="connsiteX13" fmla="*/ 135385 w 155214"/>
                <a:gd name="connsiteY13" fmla="*/ 101539 h 190769"/>
                <a:gd name="connsiteX14" fmla="*/ 153846 w 155214"/>
                <a:gd name="connsiteY14" fmla="*/ 126154 h 190769"/>
                <a:gd name="connsiteX15" fmla="*/ 153846 w 155214"/>
                <a:gd name="connsiteY15" fmla="*/ 132308 h 190769"/>
                <a:gd name="connsiteX16" fmla="*/ 150770 w 155214"/>
                <a:gd name="connsiteY16" fmla="*/ 135385 h 190769"/>
                <a:gd name="connsiteX17" fmla="*/ 104616 w 155214"/>
                <a:gd name="connsiteY17" fmla="*/ 160000 h 190769"/>
                <a:gd name="connsiteX18" fmla="*/ 6154 w 155214"/>
                <a:gd name="connsiteY18" fmla="*/ 190769 h 190769"/>
                <a:gd name="connsiteX19" fmla="*/ 6154 w 155214"/>
                <a:gd name="connsiteY19" fmla="*/ 190769 h 19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5214" h="190769">
                  <a:moveTo>
                    <a:pt x="6154" y="190769"/>
                  </a:moveTo>
                  <a:cubicBezTo>
                    <a:pt x="3078" y="190769"/>
                    <a:pt x="0" y="187692"/>
                    <a:pt x="0" y="184615"/>
                  </a:cubicBezTo>
                  <a:cubicBezTo>
                    <a:pt x="0" y="181538"/>
                    <a:pt x="3078" y="178462"/>
                    <a:pt x="6154" y="178462"/>
                  </a:cubicBezTo>
                  <a:cubicBezTo>
                    <a:pt x="40000" y="172308"/>
                    <a:pt x="76923" y="156923"/>
                    <a:pt x="101538" y="147692"/>
                  </a:cubicBezTo>
                  <a:cubicBezTo>
                    <a:pt x="120001" y="138462"/>
                    <a:pt x="132307" y="132308"/>
                    <a:pt x="141540" y="126154"/>
                  </a:cubicBezTo>
                  <a:cubicBezTo>
                    <a:pt x="135385" y="120000"/>
                    <a:pt x="132307" y="113846"/>
                    <a:pt x="126155" y="104615"/>
                  </a:cubicBezTo>
                  <a:cubicBezTo>
                    <a:pt x="120001" y="89231"/>
                    <a:pt x="116923" y="73846"/>
                    <a:pt x="113847" y="61538"/>
                  </a:cubicBezTo>
                  <a:cubicBezTo>
                    <a:pt x="113847" y="55385"/>
                    <a:pt x="110770" y="43077"/>
                    <a:pt x="110770" y="33846"/>
                  </a:cubicBezTo>
                  <a:cubicBezTo>
                    <a:pt x="110770" y="21538"/>
                    <a:pt x="107692" y="12308"/>
                    <a:pt x="107692" y="6154"/>
                  </a:cubicBezTo>
                  <a:cubicBezTo>
                    <a:pt x="107692" y="3077"/>
                    <a:pt x="110770" y="0"/>
                    <a:pt x="113847" y="0"/>
                  </a:cubicBezTo>
                  <a:cubicBezTo>
                    <a:pt x="116923" y="0"/>
                    <a:pt x="120001" y="3077"/>
                    <a:pt x="120001" y="6154"/>
                  </a:cubicBezTo>
                  <a:cubicBezTo>
                    <a:pt x="120001" y="12308"/>
                    <a:pt x="123077" y="24615"/>
                    <a:pt x="123077" y="33846"/>
                  </a:cubicBezTo>
                  <a:cubicBezTo>
                    <a:pt x="123077" y="46154"/>
                    <a:pt x="126155" y="55385"/>
                    <a:pt x="126155" y="61538"/>
                  </a:cubicBezTo>
                  <a:cubicBezTo>
                    <a:pt x="129231" y="76923"/>
                    <a:pt x="129231" y="89231"/>
                    <a:pt x="135385" y="101539"/>
                  </a:cubicBezTo>
                  <a:cubicBezTo>
                    <a:pt x="138462" y="110769"/>
                    <a:pt x="147692" y="116923"/>
                    <a:pt x="153846" y="126154"/>
                  </a:cubicBezTo>
                  <a:cubicBezTo>
                    <a:pt x="153846" y="126154"/>
                    <a:pt x="156924" y="129231"/>
                    <a:pt x="153846" y="132308"/>
                  </a:cubicBezTo>
                  <a:cubicBezTo>
                    <a:pt x="153846" y="135385"/>
                    <a:pt x="153846" y="135385"/>
                    <a:pt x="150770" y="135385"/>
                  </a:cubicBezTo>
                  <a:cubicBezTo>
                    <a:pt x="150770" y="135385"/>
                    <a:pt x="132307" y="147692"/>
                    <a:pt x="104616" y="160000"/>
                  </a:cubicBezTo>
                  <a:cubicBezTo>
                    <a:pt x="80001" y="172308"/>
                    <a:pt x="43078" y="187692"/>
                    <a:pt x="6154" y="190769"/>
                  </a:cubicBezTo>
                  <a:cubicBezTo>
                    <a:pt x="6154" y="190769"/>
                    <a:pt x="6154" y="190769"/>
                    <a:pt x="6154" y="190769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9709220C-B1C5-4698-9873-D0FB0BD5BE00}"/>
                </a:ext>
              </a:extLst>
            </p:cNvPr>
            <p:cNvSpPr/>
            <p:nvPr/>
          </p:nvSpPr>
          <p:spPr>
            <a:xfrm>
              <a:off x="11019077" y="-739204"/>
              <a:ext cx="310768" cy="226381"/>
            </a:xfrm>
            <a:custGeom>
              <a:avLst/>
              <a:gdLst>
                <a:gd name="connsiteX0" fmla="*/ 255384 w 310768"/>
                <a:gd name="connsiteY0" fmla="*/ 61538 h 226381"/>
                <a:gd name="connsiteX1" fmla="*/ 310769 w 310768"/>
                <a:gd name="connsiteY1" fmla="*/ 203077 h 226381"/>
                <a:gd name="connsiteX2" fmla="*/ 0 w 310768"/>
                <a:gd name="connsiteY2" fmla="*/ 187692 h 226381"/>
                <a:gd name="connsiteX3" fmla="*/ 52308 w 310768"/>
                <a:gd name="connsiteY3" fmla="*/ 0 h 226381"/>
                <a:gd name="connsiteX4" fmla="*/ 255384 w 310768"/>
                <a:gd name="connsiteY4" fmla="*/ 61538 h 226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768" h="226381">
                  <a:moveTo>
                    <a:pt x="255384" y="61538"/>
                  </a:moveTo>
                  <a:cubicBezTo>
                    <a:pt x="255384" y="61538"/>
                    <a:pt x="249230" y="172308"/>
                    <a:pt x="310769" y="203077"/>
                  </a:cubicBezTo>
                  <a:cubicBezTo>
                    <a:pt x="310769" y="203077"/>
                    <a:pt x="129231" y="264615"/>
                    <a:pt x="0" y="187692"/>
                  </a:cubicBezTo>
                  <a:cubicBezTo>
                    <a:pt x="55384" y="144615"/>
                    <a:pt x="52308" y="61538"/>
                    <a:pt x="52308" y="0"/>
                  </a:cubicBezTo>
                  <a:cubicBezTo>
                    <a:pt x="49230" y="0"/>
                    <a:pt x="200000" y="70769"/>
                    <a:pt x="255384" y="61538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F43D4755-E285-48E1-8E79-2315D97FAFBF}"/>
                </a:ext>
              </a:extLst>
            </p:cNvPr>
            <p:cNvSpPr/>
            <p:nvPr/>
          </p:nvSpPr>
          <p:spPr>
            <a:xfrm>
              <a:off x="11059076" y="-702280"/>
              <a:ext cx="223845" cy="79999"/>
            </a:xfrm>
            <a:custGeom>
              <a:avLst/>
              <a:gdLst>
                <a:gd name="connsiteX0" fmla="*/ 150770 w 223845"/>
                <a:gd name="connsiteY0" fmla="*/ 80000 h 79999"/>
                <a:gd name="connsiteX1" fmla="*/ 141540 w 223845"/>
                <a:gd name="connsiteY1" fmla="*/ 80000 h 79999"/>
                <a:gd name="connsiteX2" fmla="*/ 3078 w 223845"/>
                <a:gd name="connsiteY2" fmla="*/ 12308 h 79999"/>
                <a:gd name="connsiteX3" fmla="*/ 0 w 223845"/>
                <a:gd name="connsiteY3" fmla="*/ 3077 h 79999"/>
                <a:gd name="connsiteX4" fmla="*/ 9230 w 223845"/>
                <a:gd name="connsiteY4" fmla="*/ 0 h 79999"/>
                <a:gd name="connsiteX5" fmla="*/ 141540 w 223845"/>
                <a:gd name="connsiteY5" fmla="*/ 67692 h 79999"/>
                <a:gd name="connsiteX6" fmla="*/ 212308 w 223845"/>
                <a:gd name="connsiteY6" fmla="*/ 43077 h 79999"/>
                <a:gd name="connsiteX7" fmla="*/ 221539 w 223845"/>
                <a:gd name="connsiteY7" fmla="*/ 43077 h 79999"/>
                <a:gd name="connsiteX8" fmla="*/ 221539 w 223845"/>
                <a:gd name="connsiteY8" fmla="*/ 52308 h 79999"/>
                <a:gd name="connsiteX9" fmla="*/ 150770 w 223845"/>
                <a:gd name="connsiteY9" fmla="*/ 80000 h 7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845" h="79999">
                  <a:moveTo>
                    <a:pt x="150770" y="80000"/>
                  </a:moveTo>
                  <a:cubicBezTo>
                    <a:pt x="147692" y="80000"/>
                    <a:pt x="144616" y="80000"/>
                    <a:pt x="141540" y="80000"/>
                  </a:cubicBezTo>
                  <a:cubicBezTo>
                    <a:pt x="98462" y="73846"/>
                    <a:pt x="6154" y="12308"/>
                    <a:pt x="3078" y="12308"/>
                  </a:cubicBezTo>
                  <a:cubicBezTo>
                    <a:pt x="0" y="9231"/>
                    <a:pt x="0" y="6154"/>
                    <a:pt x="0" y="3077"/>
                  </a:cubicBezTo>
                  <a:cubicBezTo>
                    <a:pt x="3078" y="0"/>
                    <a:pt x="6154" y="0"/>
                    <a:pt x="9230" y="0"/>
                  </a:cubicBezTo>
                  <a:cubicBezTo>
                    <a:pt x="9230" y="0"/>
                    <a:pt x="104616" y="61538"/>
                    <a:pt x="141540" y="67692"/>
                  </a:cubicBezTo>
                  <a:cubicBezTo>
                    <a:pt x="178461" y="73846"/>
                    <a:pt x="212308" y="43077"/>
                    <a:pt x="212308" y="43077"/>
                  </a:cubicBezTo>
                  <a:cubicBezTo>
                    <a:pt x="215385" y="40000"/>
                    <a:pt x="218463" y="40000"/>
                    <a:pt x="221539" y="43077"/>
                  </a:cubicBezTo>
                  <a:cubicBezTo>
                    <a:pt x="224615" y="46154"/>
                    <a:pt x="224615" y="49231"/>
                    <a:pt x="221539" y="52308"/>
                  </a:cubicBezTo>
                  <a:cubicBezTo>
                    <a:pt x="218463" y="55385"/>
                    <a:pt x="190770" y="80000"/>
                    <a:pt x="150770" y="80000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3DA2461E-6170-433F-B948-586D51429459}"/>
                </a:ext>
              </a:extLst>
            </p:cNvPr>
            <p:cNvSpPr/>
            <p:nvPr/>
          </p:nvSpPr>
          <p:spPr>
            <a:xfrm>
              <a:off x="11510110" y="-460478"/>
              <a:ext cx="104414" cy="564351"/>
            </a:xfrm>
            <a:custGeom>
              <a:avLst/>
              <a:gdLst>
                <a:gd name="connsiteX0" fmla="*/ 47428 w 104414"/>
                <a:gd name="connsiteY0" fmla="*/ 564352 h 564351"/>
                <a:gd name="connsiteX1" fmla="*/ 47428 w 104414"/>
                <a:gd name="connsiteY1" fmla="*/ 564352 h 564351"/>
                <a:gd name="connsiteX2" fmla="*/ 41274 w 104414"/>
                <a:gd name="connsiteY2" fmla="*/ 558198 h 564351"/>
                <a:gd name="connsiteX3" fmla="*/ 56658 w 104414"/>
                <a:gd name="connsiteY3" fmla="*/ 502813 h 564351"/>
                <a:gd name="connsiteX4" fmla="*/ 90506 w 104414"/>
                <a:gd name="connsiteY4" fmla="*/ 352044 h 564351"/>
                <a:gd name="connsiteX5" fmla="*/ 1274 w 104414"/>
                <a:gd name="connsiteY5" fmla="*/ 10505 h 564351"/>
                <a:gd name="connsiteX6" fmla="*/ 4350 w 104414"/>
                <a:gd name="connsiteY6" fmla="*/ 1274 h 564351"/>
                <a:gd name="connsiteX7" fmla="*/ 13583 w 104414"/>
                <a:gd name="connsiteY7" fmla="*/ 4351 h 564351"/>
                <a:gd name="connsiteX8" fmla="*/ 102812 w 104414"/>
                <a:gd name="connsiteY8" fmla="*/ 352044 h 564351"/>
                <a:gd name="connsiteX9" fmla="*/ 68967 w 104414"/>
                <a:gd name="connsiteY9" fmla="*/ 502813 h 564351"/>
                <a:gd name="connsiteX10" fmla="*/ 53582 w 104414"/>
                <a:gd name="connsiteY10" fmla="*/ 558198 h 564351"/>
                <a:gd name="connsiteX11" fmla="*/ 47428 w 104414"/>
                <a:gd name="connsiteY11" fmla="*/ 564352 h 564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414" h="564351">
                  <a:moveTo>
                    <a:pt x="47428" y="564352"/>
                  </a:moveTo>
                  <a:cubicBezTo>
                    <a:pt x="47428" y="564352"/>
                    <a:pt x="47428" y="564352"/>
                    <a:pt x="47428" y="564352"/>
                  </a:cubicBezTo>
                  <a:cubicBezTo>
                    <a:pt x="44352" y="564352"/>
                    <a:pt x="41274" y="561275"/>
                    <a:pt x="41274" y="558198"/>
                  </a:cubicBezTo>
                  <a:cubicBezTo>
                    <a:pt x="47428" y="539736"/>
                    <a:pt x="50504" y="521275"/>
                    <a:pt x="56658" y="502813"/>
                  </a:cubicBezTo>
                  <a:cubicBezTo>
                    <a:pt x="72043" y="450505"/>
                    <a:pt x="87428" y="398198"/>
                    <a:pt x="90506" y="352044"/>
                  </a:cubicBezTo>
                  <a:cubicBezTo>
                    <a:pt x="96658" y="228967"/>
                    <a:pt x="68967" y="115121"/>
                    <a:pt x="1274" y="10505"/>
                  </a:cubicBezTo>
                  <a:cubicBezTo>
                    <a:pt x="-1802" y="7428"/>
                    <a:pt x="1274" y="4351"/>
                    <a:pt x="4350" y="1274"/>
                  </a:cubicBezTo>
                  <a:cubicBezTo>
                    <a:pt x="7428" y="-1802"/>
                    <a:pt x="10505" y="1274"/>
                    <a:pt x="13583" y="4351"/>
                  </a:cubicBezTo>
                  <a:cubicBezTo>
                    <a:pt x="81273" y="112044"/>
                    <a:pt x="112043" y="228967"/>
                    <a:pt x="102812" y="352044"/>
                  </a:cubicBezTo>
                  <a:cubicBezTo>
                    <a:pt x="99736" y="398198"/>
                    <a:pt x="84352" y="453582"/>
                    <a:pt x="68967" y="502813"/>
                  </a:cubicBezTo>
                  <a:cubicBezTo>
                    <a:pt x="62813" y="521275"/>
                    <a:pt x="56658" y="539736"/>
                    <a:pt x="53582" y="558198"/>
                  </a:cubicBezTo>
                  <a:cubicBezTo>
                    <a:pt x="53582" y="564352"/>
                    <a:pt x="50504" y="564352"/>
                    <a:pt x="47428" y="564352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B57AF6DD-B879-42D6-A024-ACE019C1217F}"/>
                </a:ext>
              </a:extLst>
            </p:cNvPr>
            <p:cNvSpPr/>
            <p:nvPr/>
          </p:nvSpPr>
          <p:spPr>
            <a:xfrm>
              <a:off x="11086769" y="-12854"/>
              <a:ext cx="403076" cy="36727"/>
            </a:xfrm>
            <a:custGeom>
              <a:avLst/>
              <a:gdLst>
                <a:gd name="connsiteX0" fmla="*/ 400000 w 403076"/>
                <a:gd name="connsiteY0" fmla="*/ 36727 h 36727"/>
                <a:gd name="connsiteX1" fmla="*/ 400000 w 403076"/>
                <a:gd name="connsiteY1" fmla="*/ 36727 h 36727"/>
                <a:gd name="connsiteX2" fmla="*/ 6154 w 403076"/>
                <a:gd name="connsiteY2" fmla="*/ 24420 h 36727"/>
                <a:gd name="connsiteX3" fmla="*/ 0 w 403076"/>
                <a:gd name="connsiteY3" fmla="*/ 21343 h 36727"/>
                <a:gd name="connsiteX4" fmla="*/ 3076 w 403076"/>
                <a:gd name="connsiteY4" fmla="*/ 15189 h 36727"/>
                <a:gd name="connsiteX5" fmla="*/ 400000 w 403076"/>
                <a:gd name="connsiteY5" fmla="*/ 27497 h 36727"/>
                <a:gd name="connsiteX6" fmla="*/ 403076 w 403076"/>
                <a:gd name="connsiteY6" fmla="*/ 33650 h 36727"/>
                <a:gd name="connsiteX7" fmla="*/ 400000 w 403076"/>
                <a:gd name="connsiteY7" fmla="*/ 36727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076" h="36727">
                  <a:moveTo>
                    <a:pt x="400000" y="36727"/>
                  </a:moveTo>
                  <a:cubicBezTo>
                    <a:pt x="400000" y="36727"/>
                    <a:pt x="396922" y="36727"/>
                    <a:pt x="400000" y="36727"/>
                  </a:cubicBezTo>
                  <a:cubicBezTo>
                    <a:pt x="313847" y="5958"/>
                    <a:pt x="107692" y="-196"/>
                    <a:pt x="6154" y="24420"/>
                  </a:cubicBezTo>
                  <a:cubicBezTo>
                    <a:pt x="3076" y="24420"/>
                    <a:pt x="0" y="24420"/>
                    <a:pt x="0" y="21343"/>
                  </a:cubicBezTo>
                  <a:cubicBezTo>
                    <a:pt x="0" y="18266"/>
                    <a:pt x="0" y="15189"/>
                    <a:pt x="3076" y="15189"/>
                  </a:cubicBezTo>
                  <a:cubicBezTo>
                    <a:pt x="104614" y="-9427"/>
                    <a:pt x="313847" y="-3273"/>
                    <a:pt x="400000" y="27497"/>
                  </a:cubicBezTo>
                  <a:cubicBezTo>
                    <a:pt x="403076" y="27497"/>
                    <a:pt x="403076" y="30573"/>
                    <a:pt x="403076" y="33650"/>
                  </a:cubicBezTo>
                  <a:cubicBezTo>
                    <a:pt x="403076" y="36727"/>
                    <a:pt x="403076" y="36727"/>
                    <a:pt x="400000" y="36727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53498790-CBED-4617-9F2A-2D7ADAF2577A}"/>
                </a:ext>
              </a:extLst>
            </p:cNvPr>
            <p:cNvSpPr/>
            <p:nvPr/>
          </p:nvSpPr>
          <p:spPr>
            <a:xfrm>
              <a:off x="10926769" y="-859204"/>
              <a:ext cx="166154" cy="282246"/>
            </a:xfrm>
            <a:custGeom>
              <a:avLst/>
              <a:gdLst>
                <a:gd name="connsiteX0" fmla="*/ 49230 w 166154"/>
                <a:gd name="connsiteY0" fmla="*/ 30769 h 282246"/>
                <a:gd name="connsiteX1" fmla="*/ 166155 w 166154"/>
                <a:gd name="connsiteY1" fmla="*/ 276923 h 282246"/>
                <a:gd name="connsiteX2" fmla="*/ 0 w 166154"/>
                <a:gd name="connsiteY2" fmla="*/ 270769 h 282246"/>
                <a:gd name="connsiteX3" fmla="*/ 6154 w 166154"/>
                <a:gd name="connsiteY3" fmla="*/ 0 h 282246"/>
                <a:gd name="connsiteX4" fmla="*/ 49230 w 166154"/>
                <a:gd name="connsiteY4" fmla="*/ 30769 h 282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154" h="282246">
                  <a:moveTo>
                    <a:pt x="49230" y="30769"/>
                  </a:moveTo>
                  <a:cubicBezTo>
                    <a:pt x="49230" y="30769"/>
                    <a:pt x="83077" y="224615"/>
                    <a:pt x="166155" y="276923"/>
                  </a:cubicBezTo>
                  <a:cubicBezTo>
                    <a:pt x="166155" y="276923"/>
                    <a:pt x="58462" y="292308"/>
                    <a:pt x="0" y="270769"/>
                  </a:cubicBezTo>
                  <a:lnTo>
                    <a:pt x="6154" y="0"/>
                  </a:lnTo>
                  <a:lnTo>
                    <a:pt x="49230" y="30769"/>
                  </a:ln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2088BE93-75A9-4DC4-A761-E612985E2373}"/>
                </a:ext>
              </a:extLst>
            </p:cNvPr>
            <p:cNvSpPr/>
            <p:nvPr/>
          </p:nvSpPr>
          <p:spPr>
            <a:xfrm>
              <a:off x="10919240" y="-943779"/>
              <a:ext cx="79666" cy="115101"/>
            </a:xfrm>
            <a:custGeom>
              <a:avLst/>
              <a:gdLst>
                <a:gd name="connsiteX0" fmla="*/ 65992 w 79666"/>
                <a:gd name="connsiteY0" fmla="*/ 16883 h 115101"/>
                <a:gd name="connsiteX1" fmla="*/ 7529 w 79666"/>
                <a:gd name="connsiteY1" fmla="*/ 7652 h 115101"/>
                <a:gd name="connsiteX2" fmla="*/ 65992 w 79666"/>
                <a:gd name="connsiteY2" fmla="*/ 112268 h 115101"/>
                <a:gd name="connsiteX3" fmla="*/ 65992 w 79666"/>
                <a:gd name="connsiteY3" fmla="*/ 16883 h 115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666" h="115101">
                  <a:moveTo>
                    <a:pt x="65992" y="16883"/>
                  </a:moveTo>
                  <a:cubicBezTo>
                    <a:pt x="65992" y="16883"/>
                    <a:pt x="32144" y="-13886"/>
                    <a:pt x="7529" y="7652"/>
                  </a:cubicBezTo>
                  <a:cubicBezTo>
                    <a:pt x="-17086" y="26114"/>
                    <a:pt x="22914" y="133806"/>
                    <a:pt x="65992" y="112268"/>
                  </a:cubicBezTo>
                  <a:cubicBezTo>
                    <a:pt x="96761" y="93806"/>
                    <a:pt x="65992" y="16883"/>
                    <a:pt x="65992" y="16883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D63BD809-4C79-4641-B7D8-52AFDB612BD1}"/>
                </a:ext>
              </a:extLst>
            </p:cNvPr>
            <p:cNvSpPr/>
            <p:nvPr/>
          </p:nvSpPr>
          <p:spPr>
            <a:xfrm>
              <a:off x="11288571" y="-1066632"/>
              <a:ext cx="148966" cy="167428"/>
            </a:xfrm>
            <a:custGeom>
              <a:avLst/>
              <a:gdLst>
                <a:gd name="connsiteX0" fmla="*/ 142814 w 148966"/>
                <a:gd name="connsiteY0" fmla="*/ 167428 h 167428"/>
                <a:gd name="connsiteX1" fmla="*/ 136660 w 148966"/>
                <a:gd name="connsiteY1" fmla="*/ 161275 h 167428"/>
                <a:gd name="connsiteX2" fmla="*/ 4352 w 148966"/>
                <a:gd name="connsiteY2" fmla="*/ 10505 h 167428"/>
                <a:gd name="connsiteX3" fmla="*/ 1274 w 148966"/>
                <a:gd name="connsiteY3" fmla="*/ 4351 h 167428"/>
                <a:gd name="connsiteX4" fmla="*/ 7428 w 148966"/>
                <a:gd name="connsiteY4" fmla="*/ 1275 h 167428"/>
                <a:gd name="connsiteX5" fmla="*/ 148966 w 148966"/>
                <a:gd name="connsiteY5" fmla="*/ 161275 h 167428"/>
                <a:gd name="connsiteX6" fmla="*/ 142814 w 148966"/>
                <a:gd name="connsiteY6" fmla="*/ 167428 h 167428"/>
                <a:gd name="connsiteX7" fmla="*/ 142814 w 148966"/>
                <a:gd name="connsiteY7" fmla="*/ 167428 h 167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966" h="167428">
                  <a:moveTo>
                    <a:pt x="142814" y="167428"/>
                  </a:moveTo>
                  <a:cubicBezTo>
                    <a:pt x="139736" y="167428"/>
                    <a:pt x="136660" y="164351"/>
                    <a:pt x="136660" y="161275"/>
                  </a:cubicBezTo>
                  <a:cubicBezTo>
                    <a:pt x="112045" y="38198"/>
                    <a:pt x="4352" y="10505"/>
                    <a:pt x="4352" y="10505"/>
                  </a:cubicBezTo>
                  <a:cubicBezTo>
                    <a:pt x="1274" y="10505"/>
                    <a:pt x="-1802" y="7428"/>
                    <a:pt x="1274" y="4351"/>
                  </a:cubicBezTo>
                  <a:cubicBezTo>
                    <a:pt x="1274" y="1275"/>
                    <a:pt x="4352" y="-1802"/>
                    <a:pt x="7428" y="1275"/>
                  </a:cubicBezTo>
                  <a:cubicBezTo>
                    <a:pt x="7428" y="1275"/>
                    <a:pt x="124351" y="32044"/>
                    <a:pt x="148966" y="161275"/>
                  </a:cubicBezTo>
                  <a:cubicBezTo>
                    <a:pt x="148966" y="164351"/>
                    <a:pt x="145890" y="167428"/>
                    <a:pt x="142814" y="167428"/>
                  </a:cubicBezTo>
                  <a:cubicBezTo>
                    <a:pt x="142814" y="167428"/>
                    <a:pt x="142814" y="167428"/>
                    <a:pt x="142814" y="167428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8F1BE8FC-2E8D-4184-93EC-1A33536A07FD}"/>
                </a:ext>
              </a:extLst>
            </p:cNvPr>
            <p:cNvSpPr/>
            <p:nvPr/>
          </p:nvSpPr>
          <p:spPr>
            <a:xfrm>
              <a:off x="11462154" y="-853050"/>
              <a:ext cx="91538" cy="181538"/>
            </a:xfrm>
            <a:custGeom>
              <a:avLst/>
              <a:gdLst>
                <a:gd name="connsiteX0" fmla="*/ 86153 w 91538"/>
                <a:gd name="connsiteY0" fmla="*/ 181539 h 181538"/>
                <a:gd name="connsiteX1" fmla="*/ 83075 w 91538"/>
                <a:gd name="connsiteY1" fmla="*/ 178462 h 181538"/>
                <a:gd name="connsiteX2" fmla="*/ 0 w 91538"/>
                <a:gd name="connsiteY2" fmla="*/ 6154 h 181538"/>
                <a:gd name="connsiteX3" fmla="*/ 3076 w 91538"/>
                <a:gd name="connsiteY3" fmla="*/ 0 h 181538"/>
                <a:gd name="connsiteX4" fmla="*/ 9230 w 91538"/>
                <a:gd name="connsiteY4" fmla="*/ 3077 h 181538"/>
                <a:gd name="connsiteX5" fmla="*/ 89230 w 91538"/>
                <a:gd name="connsiteY5" fmla="*/ 169231 h 181538"/>
                <a:gd name="connsiteX6" fmla="*/ 89230 w 91538"/>
                <a:gd name="connsiteY6" fmla="*/ 178462 h 181538"/>
                <a:gd name="connsiteX7" fmla="*/ 86153 w 91538"/>
                <a:gd name="connsiteY7" fmla="*/ 181539 h 18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38" h="181538">
                  <a:moveTo>
                    <a:pt x="86153" y="181539"/>
                  </a:moveTo>
                  <a:cubicBezTo>
                    <a:pt x="86153" y="181539"/>
                    <a:pt x="83075" y="181539"/>
                    <a:pt x="83075" y="178462"/>
                  </a:cubicBezTo>
                  <a:cubicBezTo>
                    <a:pt x="27691" y="123077"/>
                    <a:pt x="0" y="9231"/>
                    <a:pt x="0" y="6154"/>
                  </a:cubicBezTo>
                  <a:cubicBezTo>
                    <a:pt x="0" y="3077"/>
                    <a:pt x="0" y="0"/>
                    <a:pt x="3076" y="0"/>
                  </a:cubicBezTo>
                  <a:cubicBezTo>
                    <a:pt x="6152" y="0"/>
                    <a:pt x="9230" y="0"/>
                    <a:pt x="9230" y="3077"/>
                  </a:cubicBezTo>
                  <a:cubicBezTo>
                    <a:pt x="9230" y="3077"/>
                    <a:pt x="33845" y="116923"/>
                    <a:pt x="89230" y="169231"/>
                  </a:cubicBezTo>
                  <a:cubicBezTo>
                    <a:pt x="92308" y="172308"/>
                    <a:pt x="92308" y="175385"/>
                    <a:pt x="89230" y="178462"/>
                  </a:cubicBezTo>
                  <a:cubicBezTo>
                    <a:pt x="89230" y="181539"/>
                    <a:pt x="86153" y="181539"/>
                    <a:pt x="86153" y="181539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3CC29C4C-455C-4154-BD9C-3F06F040E89C}"/>
                </a:ext>
              </a:extLst>
            </p:cNvPr>
            <p:cNvSpPr/>
            <p:nvPr/>
          </p:nvSpPr>
          <p:spPr>
            <a:xfrm>
              <a:off x="11431385" y="-773050"/>
              <a:ext cx="76153" cy="126153"/>
            </a:xfrm>
            <a:custGeom>
              <a:avLst/>
              <a:gdLst>
                <a:gd name="connsiteX0" fmla="*/ 70769 w 76153"/>
                <a:gd name="connsiteY0" fmla="*/ 123077 h 126153"/>
                <a:gd name="connsiteX1" fmla="*/ 67691 w 76153"/>
                <a:gd name="connsiteY1" fmla="*/ 123077 h 126153"/>
                <a:gd name="connsiteX2" fmla="*/ 0 w 76153"/>
                <a:gd name="connsiteY2" fmla="*/ 6154 h 126153"/>
                <a:gd name="connsiteX3" fmla="*/ 3076 w 76153"/>
                <a:gd name="connsiteY3" fmla="*/ 0 h 126153"/>
                <a:gd name="connsiteX4" fmla="*/ 9230 w 76153"/>
                <a:gd name="connsiteY4" fmla="*/ 3077 h 126153"/>
                <a:gd name="connsiteX5" fmla="*/ 73845 w 76153"/>
                <a:gd name="connsiteY5" fmla="*/ 116923 h 126153"/>
                <a:gd name="connsiteX6" fmla="*/ 73845 w 76153"/>
                <a:gd name="connsiteY6" fmla="*/ 126154 h 126153"/>
                <a:gd name="connsiteX7" fmla="*/ 70769 w 76153"/>
                <a:gd name="connsiteY7" fmla="*/ 123077 h 12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153" h="126153">
                  <a:moveTo>
                    <a:pt x="70769" y="123077"/>
                  </a:moveTo>
                  <a:cubicBezTo>
                    <a:pt x="70769" y="123077"/>
                    <a:pt x="67691" y="123077"/>
                    <a:pt x="67691" y="123077"/>
                  </a:cubicBezTo>
                  <a:cubicBezTo>
                    <a:pt x="30769" y="95385"/>
                    <a:pt x="0" y="9231"/>
                    <a:pt x="0" y="6154"/>
                  </a:cubicBezTo>
                  <a:cubicBezTo>
                    <a:pt x="0" y="3077"/>
                    <a:pt x="0" y="0"/>
                    <a:pt x="3076" y="0"/>
                  </a:cubicBezTo>
                  <a:cubicBezTo>
                    <a:pt x="6152" y="0"/>
                    <a:pt x="9230" y="0"/>
                    <a:pt x="9230" y="3077"/>
                  </a:cubicBezTo>
                  <a:cubicBezTo>
                    <a:pt x="9230" y="3077"/>
                    <a:pt x="40000" y="89231"/>
                    <a:pt x="73845" y="116923"/>
                  </a:cubicBezTo>
                  <a:cubicBezTo>
                    <a:pt x="76923" y="120000"/>
                    <a:pt x="76923" y="123077"/>
                    <a:pt x="73845" y="126154"/>
                  </a:cubicBezTo>
                  <a:cubicBezTo>
                    <a:pt x="73845" y="123077"/>
                    <a:pt x="73845" y="123077"/>
                    <a:pt x="70769" y="123077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70E25C62-B577-46C9-825F-62F752BF6E69}"/>
                </a:ext>
              </a:extLst>
            </p:cNvPr>
            <p:cNvSpPr/>
            <p:nvPr/>
          </p:nvSpPr>
          <p:spPr>
            <a:xfrm>
              <a:off x="10979077" y="-837665"/>
              <a:ext cx="122307" cy="261538"/>
            </a:xfrm>
            <a:custGeom>
              <a:avLst/>
              <a:gdLst>
                <a:gd name="connsiteX0" fmla="*/ 113847 w 122307"/>
                <a:gd name="connsiteY0" fmla="*/ 261538 h 261538"/>
                <a:gd name="connsiteX1" fmla="*/ 110768 w 122307"/>
                <a:gd name="connsiteY1" fmla="*/ 258462 h 261538"/>
                <a:gd name="connsiteX2" fmla="*/ 0 w 122307"/>
                <a:gd name="connsiteY2" fmla="*/ 6154 h 261538"/>
                <a:gd name="connsiteX3" fmla="*/ 6154 w 122307"/>
                <a:gd name="connsiteY3" fmla="*/ 0 h 261538"/>
                <a:gd name="connsiteX4" fmla="*/ 12307 w 122307"/>
                <a:gd name="connsiteY4" fmla="*/ 6154 h 261538"/>
                <a:gd name="connsiteX5" fmla="*/ 119999 w 122307"/>
                <a:gd name="connsiteY5" fmla="*/ 252308 h 261538"/>
                <a:gd name="connsiteX6" fmla="*/ 119999 w 122307"/>
                <a:gd name="connsiteY6" fmla="*/ 261538 h 261538"/>
                <a:gd name="connsiteX7" fmla="*/ 113847 w 122307"/>
                <a:gd name="connsiteY7" fmla="*/ 261538 h 26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307" h="261538">
                  <a:moveTo>
                    <a:pt x="113847" y="261538"/>
                  </a:moveTo>
                  <a:cubicBezTo>
                    <a:pt x="110768" y="261538"/>
                    <a:pt x="110768" y="261538"/>
                    <a:pt x="110768" y="258462"/>
                  </a:cubicBezTo>
                  <a:cubicBezTo>
                    <a:pt x="21539" y="163077"/>
                    <a:pt x="0" y="12308"/>
                    <a:pt x="0" y="6154"/>
                  </a:cubicBezTo>
                  <a:cubicBezTo>
                    <a:pt x="0" y="3077"/>
                    <a:pt x="3076" y="0"/>
                    <a:pt x="6154" y="0"/>
                  </a:cubicBezTo>
                  <a:cubicBezTo>
                    <a:pt x="9230" y="0"/>
                    <a:pt x="12307" y="3077"/>
                    <a:pt x="12307" y="6154"/>
                  </a:cubicBezTo>
                  <a:cubicBezTo>
                    <a:pt x="12307" y="6154"/>
                    <a:pt x="33845" y="160000"/>
                    <a:pt x="119999" y="252308"/>
                  </a:cubicBezTo>
                  <a:cubicBezTo>
                    <a:pt x="123077" y="255385"/>
                    <a:pt x="123077" y="258462"/>
                    <a:pt x="119999" y="261538"/>
                  </a:cubicBezTo>
                  <a:cubicBezTo>
                    <a:pt x="116923" y="261538"/>
                    <a:pt x="113847" y="261538"/>
                    <a:pt x="113847" y="261538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B4FAF792-7A75-4CFA-B085-DAFA22FDCC29}"/>
                </a:ext>
              </a:extLst>
            </p:cNvPr>
            <p:cNvSpPr/>
            <p:nvPr/>
          </p:nvSpPr>
          <p:spPr>
            <a:xfrm>
              <a:off x="10954462" y="-1120742"/>
              <a:ext cx="113844" cy="187692"/>
            </a:xfrm>
            <a:custGeom>
              <a:avLst/>
              <a:gdLst>
                <a:gd name="connsiteX0" fmla="*/ 6152 w 113844"/>
                <a:gd name="connsiteY0" fmla="*/ 187692 h 187692"/>
                <a:gd name="connsiteX1" fmla="*/ 6152 w 113844"/>
                <a:gd name="connsiteY1" fmla="*/ 187692 h 187692"/>
                <a:gd name="connsiteX2" fmla="*/ 0 w 113844"/>
                <a:gd name="connsiteY2" fmla="*/ 181538 h 187692"/>
                <a:gd name="connsiteX3" fmla="*/ 52306 w 113844"/>
                <a:gd name="connsiteY3" fmla="*/ 67692 h 187692"/>
                <a:gd name="connsiteX4" fmla="*/ 101538 w 113844"/>
                <a:gd name="connsiteY4" fmla="*/ 3077 h 187692"/>
                <a:gd name="connsiteX5" fmla="*/ 110768 w 113844"/>
                <a:gd name="connsiteY5" fmla="*/ 0 h 187692"/>
                <a:gd name="connsiteX6" fmla="*/ 113845 w 113844"/>
                <a:gd name="connsiteY6" fmla="*/ 9231 h 187692"/>
                <a:gd name="connsiteX7" fmla="*/ 58460 w 113844"/>
                <a:gd name="connsiteY7" fmla="*/ 76923 h 187692"/>
                <a:gd name="connsiteX8" fmla="*/ 12307 w 113844"/>
                <a:gd name="connsiteY8" fmla="*/ 184615 h 187692"/>
                <a:gd name="connsiteX9" fmla="*/ 6152 w 113844"/>
                <a:gd name="connsiteY9" fmla="*/ 187692 h 18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3844" h="187692">
                  <a:moveTo>
                    <a:pt x="6152" y="187692"/>
                  </a:moveTo>
                  <a:cubicBezTo>
                    <a:pt x="6152" y="187692"/>
                    <a:pt x="6152" y="187692"/>
                    <a:pt x="6152" y="187692"/>
                  </a:cubicBezTo>
                  <a:cubicBezTo>
                    <a:pt x="3076" y="187692"/>
                    <a:pt x="0" y="184615"/>
                    <a:pt x="0" y="181538"/>
                  </a:cubicBezTo>
                  <a:cubicBezTo>
                    <a:pt x="0" y="166154"/>
                    <a:pt x="12307" y="95385"/>
                    <a:pt x="52306" y="67692"/>
                  </a:cubicBezTo>
                  <a:cubicBezTo>
                    <a:pt x="83075" y="46154"/>
                    <a:pt x="101538" y="6154"/>
                    <a:pt x="101538" y="3077"/>
                  </a:cubicBezTo>
                  <a:cubicBezTo>
                    <a:pt x="101538" y="0"/>
                    <a:pt x="107692" y="0"/>
                    <a:pt x="110768" y="0"/>
                  </a:cubicBezTo>
                  <a:cubicBezTo>
                    <a:pt x="113845" y="0"/>
                    <a:pt x="113845" y="6154"/>
                    <a:pt x="113845" y="9231"/>
                  </a:cubicBezTo>
                  <a:cubicBezTo>
                    <a:pt x="113845" y="12308"/>
                    <a:pt x="92308" y="52308"/>
                    <a:pt x="58460" y="76923"/>
                  </a:cubicBezTo>
                  <a:cubicBezTo>
                    <a:pt x="30769" y="98462"/>
                    <a:pt x="15385" y="147692"/>
                    <a:pt x="12307" y="184615"/>
                  </a:cubicBezTo>
                  <a:cubicBezTo>
                    <a:pt x="12307" y="187692"/>
                    <a:pt x="9230" y="187692"/>
                    <a:pt x="6152" y="187692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9C1E488D-69F9-441C-B373-8DDE9CB63ACF}"/>
                </a:ext>
              </a:extLst>
            </p:cNvPr>
            <p:cNvSpPr/>
            <p:nvPr/>
          </p:nvSpPr>
          <p:spPr>
            <a:xfrm>
              <a:off x="11123693" y="-1214373"/>
              <a:ext cx="121273" cy="21059"/>
            </a:xfrm>
            <a:custGeom>
              <a:avLst/>
              <a:gdLst>
                <a:gd name="connsiteX0" fmla="*/ 6152 w 121273"/>
                <a:gd name="connsiteY0" fmla="*/ 19785 h 21059"/>
                <a:gd name="connsiteX1" fmla="*/ 0 w 121273"/>
                <a:gd name="connsiteY1" fmla="*/ 16708 h 21059"/>
                <a:gd name="connsiteX2" fmla="*/ 3076 w 121273"/>
                <a:gd name="connsiteY2" fmla="*/ 10554 h 21059"/>
                <a:gd name="connsiteX3" fmla="*/ 116923 w 121273"/>
                <a:gd name="connsiteY3" fmla="*/ 7477 h 21059"/>
                <a:gd name="connsiteX4" fmla="*/ 119999 w 121273"/>
                <a:gd name="connsiteY4" fmla="*/ 16708 h 21059"/>
                <a:gd name="connsiteX5" fmla="*/ 110768 w 121273"/>
                <a:gd name="connsiteY5" fmla="*/ 19785 h 21059"/>
                <a:gd name="connsiteX6" fmla="*/ 6152 w 121273"/>
                <a:gd name="connsiteY6" fmla="*/ 19785 h 21059"/>
                <a:gd name="connsiteX7" fmla="*/ 6152 w 121273"/>
                <a:gd name="connsiteY7" fmla="*/ 19785 h 2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273" h="21059">
                  <a:moveTo>
                    <a:pt x="6152" y="19785"/>
                  </a:moveTo>
                  <a:cubicBezTo>
                    <a:pt x="3076" y="19785"/>
                    <a:pt x="0" y="19785"/>
                    <a:pt x="0" y="16708"/>
                  </a:cubicBezTo>
                  <a:cubicBezTo>
                    <a:pt x="0" y="13631"/>
                    <a:pt x="0" y="10554"/>
                    <a:pt x="3076" y="10554"/>
                  </a:cubicBezTo>
                  <a:cubicBezTo>
                    <a:pt x="6152" y="10554"/>
                    <a:pt x="67691" y="-10985"/>
                    <a:pt x="116923" y="7477"/>
                  </a:cubicBezTo>
                  <a:cubicBezTo>
                    <a:pt x="119999" y="7477"/>
                    <a:pt x="123077" y="10554"/>
                    <a:pt x="119999" y="16708"/>
                  </a:cubicBezTo>
                  <a:cubicBezTo>
                    <a:pt x="119999" y="19785"/>
                    <a:pt x="116923" y="22862"/>
                    <a:pt x="110768" y="19785"/>
                  </a:cubicBezTo>
                  <a:cubicBezTo>
                    <a:pt x="67691" y="-1754"/>
                    <a:pt x="6152" y="19785"/>
                    <a:pt x="6152" y="19785"/>
                  </a:cubicBezTo>
                  <a:cubicBezTo>
                    <a:pt x="6152" y="19785"/>
                    <a:pt x="6152" y="19785"/>
                    <a:pt x="6152" y="19785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0C614FCC-2070-4AD9-8344-1B200227818F}"/>
                </a:ext>
              </a:extLst>
            </p:cNvPr>
            <p:cNvSpPr/>
            <p:nvPr/>
          </p:nvSpPr>
          <p:spPr>
            <a:xfrm>
              <a:off x="11145230" y="854642"/>
              <a:ext cx="101539" cy="236922"/>
            </a:xfrm>
            <a:custGeom>
              <a:avLst/>
              <a:gdLst>
                <a:gd name="connsiteX0" fmla="*/ 6154 w 101539"/>
                <a:gd name="connsiteY0" fmla="*/ 236923 h 236922"/>
                <a:gd name="connsiteX1" fmla="*/ 6154 w 101539"/>
                <a:gd name="connsiteY1" fmla="*/ 236923 h 236922"/>
                <a:gd name="connsiteX2" fmla="*/ 0 w 101539"/>
                <a:gd name="connsiteY2" fmla="*/ 227692 h 236922"/>
                <a:gd name="connsiteX3" fmla="*/ 92308 w 101539"/>
                <a:gd name="connsiteY3" fmla="*/ 3077 h 236922"/>
                <a:gd name="connsiteX4" fmla="*/ 98462 w 101539"/>
                <a:gd name="connsiteY4" fmla="*/ 0 h 236922"/>
                <a:gd name="connsiteX5" fmla="*/ 101540 w 101539"/>
                <a:gd name="connsiteY5" fmla="*/ 6154 h 236922"/>
                <a:gd name="connsiteX6" fmla="*/ 9232 w 101539"/>
                <a:gd name="connsiteY6" fmla="*/ 230769 h 236922"/>
                <a:gd name="connsiteX7" fmla="*/ 6154 w 101539"/>
                <a:gd name="connsiteY7" fmla="*/ 236923 h 236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539" h="236922">
                  <a:moveTo>
                    <a:pt x="6154" y="236923"/>
                  </a:moveTo>
                  <a:cubicBezTo>
                    <a:pt x="3078" y="236923"/>
                    <a:pt x="3078" y="236923"/>
                    <a:pt x="6154" y="236923"/>
                  </a:cubicBezTo>
                  <a:cubicBezTo>
                    <a:pt x="0" y="233846"/>
                    <a:pt x="0" y="230769"/>
                    <a:pt x="0" y="227692"/>
                  </a:cubicBezTo>
                  <a:lnTo>
                    <a:pt x="92308" y="3077"/>
                  </a:lnTo>
                  <a:cubicBezTo>
                    <a:pt x="92308" y="0"/>
                    <a:pt x="95386" y="0"/>
                    <a:pt x="98462" y="0"/>
                  </a:cubicBezTo>
                  <a:cubicBezTo>
                    <a:pt x="101540" y="0"/>
                    <a:pt x="101540" y="3077"/>
                    <a:pt x="101540" y="6154"/>
                  </a:cubicBezTo>
                  <a:lnTo>
                    <a:pt x="9232" y="230769"/>
                  </a:lnTo>
                  <a:cubicBezTo>
                    <a:pt x="9232" y="236923"/>
                    <a:pt x="6154" y="236923"/>
                    <a:pt x="6154" y="236923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FC989AD3-E0EC-4D14-9293-1686322A8BCB}"/>
                </a:ext>
              </a:extLst>
            </p:cNvPr>
            <p:cNvSpPr/>
            <p:nvPr/>
          </p:nvSpPr>
          <p:spPr>
            <a:xfrm>
              <a:off x="10825231" y="399257"/>
              <a:ext cx="692307" cy="40000"/>
            </a:xfrm>
            <a:custGeom>
              <a:avLst/>
              <a:gdLst>
                <a:gd name="connsiteX0" fmla="*/ 458460 w 692307"/>
                <a:gd name="connsiteY0" fmla="*/ 40000 h 40000"/>
                <a:gd name="connsiteX1" fmla="*/ 6154 w 692307"/>
                <a:gd name="connsiteY1" fmla="*/ 12308 h 40000"/>
                <a:gd name="connsiteX2" fmla="*/ 0 w 692307"/>
                <a:gd name="connsiteY2" fmla="*/ 6154 h 40000"/>
                <a:gd name="connsiteX3" fmla="*/ 6154 w 692307"/>
                <a:gd name="connsiteY3" fmla="*/ 0 h 40000"/>
                <a:gd name="connsiteX4" fmla="*/ 686154 w 692307"/>
                <a:gd name="connsiteY4" fmla="*/ 18461 h 40000"/>
                <a:gd name="connsiteX5" fmla="*/ 692308 w 692307"/>
                <a:gd name="connsiteY5" fmla="*/ 24615 h 40000"/>
                <a:gd name="connsiteX6" fmla="*/ 686154 w 692307"/>
                <a:gd name="connsiteY6" fmla="*/ 30769 h 40000"/>
                <a:gd name="connsiteX7" fmla="*/ 458460 w 692307"/>
                <a:gd name="connsiteY7" fmla="*/ 40000 h 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2307" h="40000">
                  <a:moveTo>
                    <a:pt x="458460" y="40000"/>
                  </a:moveTo>
                  <a:cubicBezTo>
                    <a:pt x="338462" y="40000"/>
                    <a:pt x="178461" y="33846"/>
                    <a:pt x="6154" y="12308"/>
                  </a:cubicBezTo>
                  <a:cubicBezTo>
                    <a:pt x="3076" y="12308"/>
                    <a:pt x="0" y="9231"/>
                    <a:pt x="0" y="6154"/>
                  </a:cubicBezTo>
                  <a:cubicBezTo>
                    <a:pt x="0" y="3077"/>
                    <a:pt x="3076" y="0"/>
                    <a:pt x="6154" y="0"/>
                  </a:cubicBezTo>
                  <a:cubicBezTo>
                    <a:pt x="378461" y="46154"/>
                    <a:pt x="683077" y="18461"/>
                    <a:pt x="686154" y="18461"/>
                  </a:cubicBezTo>
                  <a:cubicBezTo>
                    <a:pt x="689230" y="18461"/>
                    <a:pt x="692308" y="21538"/>
                    <a:pt x="692308" y="24615"/>
                  </a:cubicBezTo>
                  <a:cubicBezTo>
                    <a:pt x="692308" y="27692"/>
                    <a:pt x="689230" y="30769"/>
                    <a:pt x="686154" y="30769"/>
                  </a:cubicBezTo>
                  <a:cubicBezTo>
                    <a:pt x="689230" y="33846"/>
                    <a:pt x="600000" y="40000"/>
                    <a:pt x="458460" y="40000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CD48311E-49C0-44F6-ABC6-36C693B199CD}"/>
                </a:ext>
              </a:extLst>
            </p:cNvPr>
            <p:cNvSpPr/>
            <p:nvPr/>
          </p:nvSpPr>
          <p:spPr>
            <a:xfrm>
              <a:off x="10991384" y="-551511"/>
              <a:ext cx="363078" cy="64615"/>
            </a:xfrm>
            <a:custGeom>
              <a:avLst/>
              <a:gdLst>
                <a:gd name="connsiteX0" fmla="*/ 326155 w 363078"/>
                <a:gd name="connsiteY0" fmla="*/ 9231 h 64615"/>
                <a:gd name="connsiteX1" fmla="*/ 24617 w 363078"/>
                <a:gd name="connsiteY1" fmla="*/ 0 h 64615"/>
                <a:gd name="connsiteX2" fmla="*/ 0 w 363078"/>
                <a:gd name="connsiteY2" fmla="*/ 9231 h 64615"/>
                <a:gd name="connsiteX3" fmla="*/ 190770 w 363078"/>
                <a:gd name="connsiteY3" fmla="*/ 64615 h 64615"/>
                <a:gd name="connsiteX4" fmla="*/ 363078 w 363078"/>
                <a:gd name="connsiteY4" fmla="*/ 15385 h 64615"/>
                <a:gd name="connsiteX5" fmla="*/ 326155 w 363078"/>
                <a:gd name="connsiteY5" fmla="*/ 9231 h 6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078" h="64615">
                  <a:moveTo>
                    <a:pt x="326155" y="9231"/>
                  </a:moveTo>
                  <a:cubicBezTo>
                    <a:pt x="326155" y="9231"/>
                    <a:pt x="212308" y="67692"/>
                    <a:pt x="24617" y="0"/>
                  </a:cubicBezTo>
                  <a:lnTo>
                    <a:pt x="0" y="9231"/>
                  </a:lnTo>
                  <a:cubicBezTo>
                    <a:pt x="0" y="9231"/>
                    <a:pt x="80001" y="64615"/>
                    <a:pt x="190770" y="64615"/>
                  </a:cubicBezTo>
                  <a:cubicBezTo>
                    <a:pt x="295386" y="64615"/>
                    <a:pt x="363078" y="15385"/>
                    <a:pt x="363078" y="15385"/>
                  </a:cubicBezTo>
                  <a:cubicBezTo>
                    <a:pt x="363078" y="15385"/>
                    <a:pt x="347694" y="9231"/>
                    <a:pt x="326155" y="9231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3ED86DC8-BF7E-4BE7-AC9A-036EBBFC9F78}"/>
                </a:ext>
              </a:extLst>
            </p:cNvPr>
            <p:cNvSpPr/>
            <p:nvPr/>
          </p:nvSpPr>
          <p:spPr>
            <a:xfrm>
              <a:off x="11391384" y="1790026"/>
              <a:ext cx="76923" cy="1126154"/>
            </a:xfrm>
            <a:custGeom>
              <a:avLst/>
              <a:gdLst>
                <a:gd name="connsiteX0" fmla="*/ 6154 w 76923"/>
                <a:gd name="connsiteY0" fmla="*/ 1126154 h 1126154"/>
                <a:gd name="connsiteX1" fmla="*/ 6154 w 76923"/>
                <a:gd name="connsiteY1" fmla="*/ 1126154 h 1126154"/>
                <a:gd name="connsiteX2" fmla="*/ 0 w 76923"/>
                <a:gd name="connsiteY2" fmla="*/ 1120000 h 1126154"/>
                <a:gd name="connsiteX3" fmla="*/ 64617 w 76923"/>
                <a:gd name="connsiteY3" fmla="*/ 6154 h 1126154"/>
                <a:gd name="connsiteX4" fmla="*/ 70771 w 76923"/>
                <a:gd name="connsiteY4" fmla="*/ 0 h 1126154"/>
                <a:gd name="connsiteX5" fmla="*/ 76923 w 76923"/>
                <a:gd name="connsiteY5" fmla="*/ 6154 h 1126154"/>
                <a:gd name="connsiteX6" fmla="*/ 12308 w 76923"/>
                <a:gd name="connsiteY6" fmla="*/ 1120000 h 1126154"/>
                <a:gd name="connsiteX7" fmla="*/ 6154 w 76923"/>
                <a:gd name="connsiteY7" fmla="*/ 1126154 h 1126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923" h="1126154">
                  <a:moveTo>
                    <a:pt x="6154" y="1126154"/>
                  </a:moveTo>
                  <a:cubicBezTo>
                    <a:pt x="6154" y="1126154"/>
                    <a:pt x="6154" y="1126154"/>
                    <a:pt x="6154" y="1126154"/>
                  </a:cubicBezTo>
                  <a:cubicBezTo>
                    <a:pt x="3078" y="1126154"/>
                    <a:pt x="0" y="1123077"/>
                    <a:pt x="0" y="1120000"/>
                  </a:cubicBezTo>
                  <a:lnTo>
                    <a:pt x="64617" y="6154"/>
                  </a:lnTo>
                  <a:cubicBezTo>
                    <a:pt x="64617" y="3077"/>
                    <a:pt x="67693" y="0"/>
                    <a:pt x="70771" y="0"/>
                  </a:cubicBezTo>
                  <a:cubicBezTo>
                    <a:pt x="73847" y="0"/>
                    <a:pt x="76923" y="3077"/>
                    <a:pt x="76923" y="6154"/>
                  </a:cubicBezTo>
                  <a:lnTo>
                    <a:pt x="12308" y="1120000"/>
                  </a:lnTo>
                  <a:cubicBezTo>
                    <a:pt x="9232" y="1123077"/>
                    <a:pt x="9232" y="1126154"/>
                    <a:pt x="6154" y="1126154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6532D174-048B-425E-ACD6-8D5F34E70772}"/>
                </a:ext>
              </a:extLst>
            </p:cNvPr>
            <p:cNvSpPr/>
            <p:nvPr/>
          </p:nvSpPr>
          <p:spPr>
            <a:xfrm>
              <a:off x="10511384" y="2150026"/>
              <a:ext cx="430769" cy="667692"/>
            </a:xfrm>
            <a:custGeom>
              <a:avLst/>
              <a:gdLst>
                <a:gd name="connsiteX0" fmla="*/ 144616 w 430769"/>
                <a:gd name="connsiteY0" fmla="*/ 667692 h 667692"/>
                <a:gd name="connsiteX1" fmla="*/ 0 w 430769"/>
                <a:gd name="connsiteY1" fmla="*/ 593846 h 667692"/>
                <a:gd name="connsiteX2" fmla="*/ 67693 w 430769"/>
                <a:gd name="connsiteY2" fmla="*/ 350769 h 667692"/>
                <a:gd name="connsiteX3" fmla="*/ 73847 w 430769"/>
                <a:gd name="connsiteY3" fmla="*/ 347692 h 667692"/>
                <a:gd name="connsiteX4" fmla="*/ 76923 w 430769"/>
                <a:gd name="connsiteY4" fmla="*/ 353846 h 667692"/>
                <a:gd name="connsiteX5" fmla="*/ 12308 w 430769"/>
                <a:gd name="connsiteY5" fmla="*/ 587692 h 667692"/>
                <a:gd name="connsiteX6" fmla="*/ 138462 w 430769"/>
                <a:gd name="connsiteY6" fmla="*/ 652308 h 667692"/>
                <a:gd name="connsiteX7" fmla="*/ 421539 w 430769"/>
                <a:gd name="connsiteY7" fmla="*/ 3077 h 667692"/>
                <a:gd name="connsiteX8" fmla="*/ 427693 w 430769"/>
                <a:gd name="connsiteY8" fmla="*/ 0 h 667692"/>
                <a:gd name="connsiteX9" fmla="*/ 430769 w 430769"/>
                <a:gd name="connsiteY9" fmla="*/ 6154 h 667692"/>
                <a:gd name="connsiteX10" fmla="*/ 144616 w 430769"/>
                <a:gd name="connsiteY10" fmla="*/ 667692 h 66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0769" h="667692">
                  <a:moveTo>
                    <a:pt x="144616" y="667692"/>
                  </a:moveTo>
                  <a:lnTo>
                    <a:pt x="0" y="593846"/>
                  </a:lnTo>
                  <a:lnTo>
                    <a:pt x="67693" y="350769"/>
                  </a:lnTo>
                  <a:cubicBezTo>
                    <a:pt x="67693" y="347692"/>
                    <a:pt x="70769" y="344616"/>
                    <a:pt x="73847" y="347692"/>
                  </a:cubicBezTo>
                  <a:cubicBezTo>
                    <a:pt x="76923" y="347692"/>
                    <a:pt x="79999" y="350769"/>
                    <a:pt x="76923" y="353846"/>
                  </a:cubicBezTo>
                  <a:lnTo>
                    <a:pt x="12308" y="587692"/>
                  </a:lnTo>
                  <a:lnTo>
                    <a:pt x="138462" y="652308"/>
                  </a:lnTo>
                  <a:lnTo>
                    <a:pt x="421539" y="3077"/>
                  </a:lnTo>
                  <a:cubicBezTo>
                    <a:pt x="421539" y="0"/>
                    <a:pt x="427693" y="0"/>
                    <a:pt x="427693" y="0"/>
                  </a:cubicBezTo>
                  <a:cubicBezTo>
                    <a:pt x="430769" y="0"/>
                    <a:pt x="430769" y="3077"/>
                    <a:pt x="430769" y="6154"/>
                  </a:cubicBezTo>
                  <a:lnTo>
                    <a:pt x="144616" y="667692"/>
                  </a:ln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4" name="图形 1">
              <a:extLst>
                <a:ext uri="{FF2B5EF4-FFF2-40B4-BE49-F238E27FC236}">
                  <a16:creationId xmlns:a16="http://schemas.microsoft.com/office/drawing/2014/main" id="{4E6A657B-3880-4CF3-9757-89E5F620D7FD}"/>
                </a:ext>
              </a:extLst>
            </p:cNvPr>
            <p:cNvGrpSpPr/>
            <p:nvPr/>
          </p:nvGrpSpPr>
          <p:grpSpPr>
            <a:xfrm>
              <a:off x="10857111" y="491409"/>
              <a:ext cx="284272" cy="238956"/>
              <a:chOff x="10857111" y="491409"/>
              <a:chExt cx="284272" cy="238956"/>
            </a:xfrm>
          </p:grpSpPr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2C224261-080C-4941-B40C-E6EB80C05C5C}"/>
                  </a:ext>
                </a:extLst>
              </p:cNvPr>
              <p:cNvSpPr/>
              <p:nvPr/>
            </p:nvSpPr>
            <p:spPr>
              <a:xfrm>
                <a:off x="10857111" y="491409"/>
                <a:ext cx="278675" cy="238956"/>
              </a:xfrm>
              <a:custGeom>
                <a:avLst/>
                <a:gdLst>
                  <a:gd name="connsiteX0" fmla="*/ 11195 w 278675"/>
                  <a:gd name="connsiteY0" fmla="*/ 95540 h 238956"/>
                  <a:gd name="connsiteX1" fmla="*/ 81966 w 278675"/>
                  <a:gd name="connsiteY1" fmla="*/ 178617 h 238956"/>
                  <a:gd name="connsiteX2" fmla="*/ 125042 w 278675"/>
                  <a:gd name="connsiteY2" fmla="*/ 234002 h 238956"/>
                  <a:gd name="connsiteX3" fmla="*/ 168119 w 278675"/>
                  <a:gd name="connsiteY3" fmla="*/ 215540 h 238956"/>
                  <a:gd name="connsiteX4" fmla="*/ 201965 w 278675"/>
                  <a:gd name="connsiteY4" fmla="*/ 218617 h 238956"/>
                  <a:gd name="connsiteX5" fmla="*/ 217349 w 278675"/>
                  <a:gd name="connsiteY5" fmla="*/ 194002 h 238956"/>
                  <a:gd name="connsiteX6" fmla="*/ 248119 w 278675"/>
                  <a:gd name="connsiteY6" fmla="*/ 160156 h 238956"/>
                  <a:gd name="connsiteX7" fmla="*/ 275812 w 278675"/>
                  <a:gd name="connsiteY7" fmla="*/ 141694 h 238956"/>
                  <a:gd name="connsiteX8" fmla="*/ 248119 w 278675"/>
                  <a:gd name="connsiteY8" fmla="*/ 95540 h 238956"/>
                  <a:gd name="connsiteX9" fmla="*/ 78888 w 278675"/>
                  <a:gd name="connsiteY9" fmla="*/ 156 h 238956"/>
                  <a:gd name="connsiteX10" fmla="*/ 5043 w 278675"/>
                  <a:gd name="connsiteY10" fmla="*/ 77079 h 238956"/>
                  <a:gd name="connsiteX11" fmla="*/ 11195 w 278675"/>
                  <a:gd name="connsiteY11" fmla="*/ 95540 h 23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8675" h="238956">
                    <a:moveTo>
                      <a:pt x="11195" y="95540"/>
                    </a:moveTo>
                    <a:cubicBezTo>
                      <a:pt x="32734" y="117079"/>
                      <a:pt x="32734" y="132464"/>
                      <a:pt x="81966" y="178617"/>
                    </a:cubicBezTo>
                    <a:cubicBezTo>
                      <a:pt x="103503" y="200156"/>
                      <a:pt x="100427" y="218617"/>
                      <a:pt x="125042" y="234002"/>
                    </a:cubicBezTo>
                    <a:cubicBezTo>
                      <a:pt x="143504" y="246310"/>
                      <a:pt x="161965" y="234002"/>
                      <a:pt x="168119" y="215540"/>
                    </a:cubicBezTo>
                    <a:cubicBezTo>
                      <a:pt x="180426" y="227848"/>
                      <a:pt x="189658" y="227848"/>
                      <a:pt x="201965" y="218617"/>
                    </a:cubicBezTo>
                    <a:cubicBezTo>
                      <a:pt x="208119" y="215540"/>
                      <a:pt x="217349" y="200156"/>
                      <a:pt x="217349" y="194002"/>
                    </a:cubicBezTo>
                    <a:cubicBezTo>
                      <a:pt x="229658" y="203233"/>
                      <a:pt x="257349" y="178617"/>
                      <a:pt x="248119" y="160156"/>
                    </a:cubicBezTo>
                    <a:cubicBezTo>
                      <a:pt x="263503" y="163233"/>
                      <a:pt x="269657" y="150925"/>
                      <a:pt x="275812" y="141694"/>
                    </a:cubicBezTo>
                    <a:cubicBezTo>
                      <a:pt x="288118" y="117079"/>
                      <a:pt x="257349" y="104771"/>
                      <a:pt x="248119" y="95540"/>
                    </a:cubicBezTo>
                    <a:cubicBezTo>
                      <a:pt x="189658" y="43233"/>
                      <a:pt x="143504" y="43233"/>
                      <a:pt x="78888" y="156"/>
                    </a:cubicBezTo>
                    <a:cubicBezTo>
                      <a:pt x="78888" y="-2921"/>
                      <a:pt x="17349" y="40156"/>
                      <a:pt x="5043" y="77079"/>
                    </a:cubicBezTo>
                    <a:cubicBezTo>
                      <a:pt x="-1111" y="98617"/>
                      <a:pt x="-4190" y="80156"/>
                      <a:pt x="11195" y="95540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F8E7AE0B-BF4F-452C-87CB-DA74B1DD8772}"/>
                  </a:ext>
                </a:extLst>
              </p:cNvPr>
              <p:cNvSpPr/>
              <p:nvPr/>
            </p:nvSpPr>
            <p:spPr>
              <a:xfrm>
                <a:off x="11037537" y="543872"/>
                <a:ext cx="103847" cy="113846"/>
              </a:xfrm>
              <a:custGeom>
                <a:avLst/>
                <a:gdLst>
                  <a:gd name="connsiteX0" fmla="*/ 67693 w 103847"/>
                  <a:gd name="connsiteY0" fmla="*/ 113846 h 113846"/>
                  <a:gd name="connsiteX1" fmla="*/ 61538 w 103847"/>
                  <a:gd name="connsiteY1" fmla="*/ 110769 h 113846"/>
                  <a:gd name="connsiteX2" fmla="*/ 64617 w 103847"/>
                  <a:gd name="connsiteY2" fmla="*/ 104615 h 113846"/>
                  <a:gd name="connsiteX3" fmla="*/ 89232 w 103847"/>
                  <a:gd name="connsiteY3" fmla="*/ 89231 h 113846"/>
                  <a:gd name="connsiteX4" fmla="*/ 89232 w 103847"/>
                  <a:gd name="connsiteY4" fmla="*/ 73846 h 113846"/>
                  <a:gd name="connsiteX5" fmla="*/ 3078 w 103847"/>
                  <a:gd name="connsiteY5" fmla="*/ 12308 h 113846"/>
                  <a:gd name="connsiteX6" fmla="*/ 0 w 103847"/>
                  <a:gd name="connsiteY6" fmla="*/ 3077 h 113846"/>
                  <a:gd name="connsiteX7" fmla="*/ 9232 w 103847"/>
                  <a:gd name="connsiteY7" fmla="*/ 0 h 113846"/>
                  <a:gd name="connsiteX8" fmla="*/ 101540 w 103847"/>
                  <a:gd name="connsiteY8" fmla="*/ 67692 h 113846"/>
                  <a:gd name="connsiteX9" fmla="*/ 101540 w 103847"/>
                  <a:gd name="connsiteY9" fmla="*/ 92308 h 113846"/>
                  <a:gd name="connsiteX10" fmla="*/ 67693 w 103847"/>
                  <a:gd name="connsiteY10" fmla="*/ 113846 h 113846"/>
                  <a:gd name="connsiteX11" fmla="*/ 67693 w 103847"/>
                  <a:gd name="connsiteY11" fmla="*/ 113846 h 11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3847" h="113846">
                    <a:moveTo>
                      <a:pt x="67693" y="113846"/>
                    </a:moveTo>
                    <a:cubicBezTo>
                      <a:pt x="64617" y="113846"/>
                      <a:pt x="61538" y="110769"/>
                      <a:pt x="61538" y="110769"/>
                    </a:cubicBezTo>
                    <a:cubicBezTo>
                      <a:pt x="61538" y="107692"/>
                      <a:pt x="61538" y="104615"/>
                      <a:pt x="64617" y="104615"/>
                    </a:cubicBezTo>
                    <a:cubicBezTo>
                      <a:pt x="70771" y="104615"/>
                      <a:pt x="86155" y="98462"/>
                      <a:pt x="89232" y="89231"/>
                    </a:cubicBezTo>
                    <a:cubicBezTo>
                      <a:pt x="92308" y="86154"/>
                      <a:pt x="92308" y="80000"/>
                      <a:pt x="89232" y="73846"/>
                    </a:cubicBezTo>
                    <a:cubicBezTo>
                      <a:pt x="73847" y="43077"/>
                      <a:pt x="3078" y="12308"/>
                      <a:pt x="3078" y="12308"/>
                    </a:cubicBezTo>
                    <a:cubicBezTo>
                      <a:pt x="0" y="12308"/>
                      <a:pt x="0" y="6154"/>
                      <a:pt x="0" y="3077"/>
                    </a:cubicBezTo>
                    <a:cubicBezTo>
                      <a:pt x="0" y="0"/>
                      <a:pt x="6154" y="0"/>
                      <a:pt x="9232" y="0"/>
                    </a:cubicBezTo>
                    <a:cubicBezTo>
                      <a:pt x="12308" y="0"/>
                      <a:pt x="86155" y="30769"/>
                      <a:pt x="101540" y="67692"/>
                    </a:cubicBezTo>
                    <a:cubicBezTo>
                      <a:pt x="104616" y="76923"/>
                      <a:pt x="104616" y="83077"/>
                      <a:pt x="101540" y="92308"/>
                    </a:cubicBezTo>
                    <a:cubicBezTo>
                      <a:pt x="95386" y="107692"/>
                      <a:pt x="70771" y="113846"/>
                      <a:pt x="67693" y="113846"/>
                    </a:cubicBezTo>
                    <a:cubicBezTo>
                      <a:pt x="70771" y="113846"/>
                      <a:pt x="67693" y="113846"/>
                      <a:pt x="67693" y="11384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789741B2-B840-47D0-8F5F-4FF1AEE57664}"/>
                  </a:ext>
                </a:extLst>
              </p:cNvPr>
              <p:cNvSpPr/>
              <p:nvPr/>
            </p:nvSpPr>
            <p:spPr>
              <a:xfrm>
                <a:off x="11003692" y="636949"/>
                <a:ext cx="73077" cy="51538"/>
              </a:xfrm>
              <a:custGeom>
                <a:avLst/>
                <a:gdLst>
                  <a:gd name="connsiteX0" fmla="*/ 6154 w 73077"/>
                  <a:gd name="connsiteY0" fmla="*/ 51539 h 51538"/>
                  <a:gd name="connsiteX1" fmla="*/ 0 w 73077"/>
                  <a:gd name="connsiteY1" fmla="*/ 48462 h 51538"/>
                  <a:gd name="connsiteX2" fmla="*/ 3076 w 73077"/>
                  <a:gd name="connsiteY2" fmla="*/ 39231 h 51538"/>
                  <a:gd name="connsiteX3" fmla="*/ 61538 w 73077"/>
                  <a:gd name="connsiteY3" fmla="*/ 2308 h 51538"/>
                  <a:gd name="connsiteX4" fmla="*/ 70769 w 73077"/>
                  <a:gd name="connsiteY4" fmla="*/ 2308 h 51538"/>
                  <a:gd name="connsiteX5" fmla="*/ 70769 w 73077"/>
                  <a:gd name="connsiteY5" fmla="*/ 11538 h 51538"/>
                  <a:gd name="connsiteX6" fmla="*/ 6154 w 73077"/>
                  <a:gd name="connsiteY6" fmla="*/ 51539 h 51538"/>
                  <a:gd name="connsiteX7" fmla="*/ 6154 w 73077"/>
                  <a:gd name="connsiteY7" fmla="*/ 51539 h 5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077" h="51538">
                    <a:moveTo>
                      <a:pt x="6154" y="51539"/>
                    </a:moveTo>
                    <a:cubicBezTo>
                      <a:pt x="3076" y="51539"/>
                      <a:pt x="3076" y="51539"/>
                      <a:pt x="0" y="48462"/>
                    </a:cubicBezTo>
                    <a:cubicBezTo>
                      <a:pt x="0" y="45385"/>
                      <a:pt x="0" y="42308"/>
                      <a:pt x="3076" y="39231"/>
                    </a:cubicBezTo>
                    <a:cubicBezTo>
                      <a:pt x="15385" y="33077"/>
                      <a:pt x="52308" y="11538"/>
                      <a:pt x="61538" y="2308"/>
                    </a:cubicBezTo>
                    <a:cubicBezTo>
                      <a:pt x="64615" y="-769"/>
                      <a:pt x="67693" y="-769"/>
                      <a:pt x="70769" y="2308"/>
                    </a:cubicBezTo>
                    <a:cubicBezTo>
                      <a:pt x="73847" y="5385"/>
                      <a:pt x="73847" y="8462"/>
                      <a:pt x="70769" y="11538"/>
                    </a:cubicBezTo>
                    <a:cubicBezTo>
                      <a:pt x="61538" y="23846"/>
                      <a:pt x="15385" y="45385"/>
                      <a:pt x="6154" y="51539"/>
                    </a:cubicBezTo>
                    <a:cubicBezTo>
                      <a:pt x="9230" y="51539"/>
                      <a:pt x="9230" y="51539"/>
                      <a:pt x="6154" y="5153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2B568058-4019-47DD-93F2-9697B6D98B38}"/>
                </a:ext>
              </a:extLst>
            </p:cNvPr>
            <p:cNvSpPr/>
            <p:nvPr/>
          </p:nvSpPr>
          <p:spPr>
            <a:xfrm>
              <a:off x="10484196" y="-495185"/>
              <a:ext cx="516420" cy="1109827"/>
            </a:xfrm>
            <a:custGeom>
              <a:avLst/>
              <a:gdLst>
                <a:gd name="connsiteX0" fmla="*/ 181035 w 516420"/>
                <a:gd name="connsiteY0" fmla="*/ 174443 h 1109827"/>
                <a:gd name="connsiteX1" fmla="*/ 405650 w 516420"/>
                <a:gd name="connsiteY1" fmla="*/ 5212 h 1109827"/>
                <a:gd name="connsiteX2" fmla="*/ 414880 w 516420"/>
                <a:gd name="connsiteY2" fmla="*/ 285212 h 1109827"/>
                <a:gd name="connsiteX3" fmla="*/ 239497 w 516420"/>
                <a:gd name="connsiteY3" fmla="*/ 663674 h 1109827"/>
                <a:gd name="connsiteX4" fmla="*/ 516420 w 516420"/>
                <a:gd name="connsiteY4" fmla="*/ 989828 h 1109827"/>
                <a:gd name="connsiteX5" fmla="*/ 393343 w 516420"/>
                <a:gd name="connsiteY5" fmla="*/ 1109828 h 1109827"/>
                <a:gd name="connsiteX6" fmla="*/ 2574 w 516420"/>
                <a:gd name="connsiteY6" fmla="*/ 703674 h 1109827"/>
                <a:gd name="connsiteX7" fmla="*/ 181035 w 516420"/>
                <a:gd name="connsiteY7" fmla="*/ 174443 h 1109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420" h="1109827">
                  <a:moveTo>
                    <a:pt x="181035" y="174443"/>
                  </a:moveTo>
                  <a:cubicBezTo>
                    <a:pt x="291803" y="26751"/>
                    <a:pt x="325651" y="-16326"/>
                    <a:pt x="405650" y="5212"/>
                  </a:cubicBezTo>
                  <a:cubicBezTo>
                    <a:pt x="494881" y="29828"/>
                    <a:pt x="476419" y="168289"/>
                    <a:pt x="414880" y="285212"/>
                  </a:cubicBezTo>
                  <a:cubicBezTo>
                    <a:pt x="368726" y="377520"/>
                    <a:pt x="221034" y="639059"/>
                    <a:pt x="239497" y="663674"/>
                  </a:cubicBezTo>
                  <a:cubicBezTo>
                    <a:pt x="257958" y="725212"/>
                    <a:pt x="516420" y="989828"/>
                    <a:pt x="516420" y="989828"/>
                  </a:cubicBezTo>
                  <a:cubicBezTo>
                    <a:pt x="501036" y="1017520"/>
                    <a:pt x="393343" y="1109828"/>
                    <a:pt x="393343" y="1109828"/>
                  </a:cubicBezTo>
                  <a:cubicBezTo>
                    <a:pt x="393343" y="1109828"/>
                    <a:pt x="24112" y="780597"/>
                    <a:pt x="2574" y="703674"/>
                  </a:cubicBezTo>
                  <a:cubicBezTo>
                    <a:pt x="-15889" y="635982"/>
                    <a:pt x="67188" y="322136"/>
                    <a:pt x="181035" y="174443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3EDC71BD-9261-4E42-9BC3-1EF60FC36865}"/>
                </a:ext>
              </a:extLst>
            </p:cNvPr>
            <p:cNvSpPr/>
            <p:nvPr/>
          </p:nvSpPr>
          <p:spPr>
            <a:xfrm>
              <a:off x="10822922" y="-505357"/>
              <a:ext cx="143319" cy="427692"/>
            </a:xfrm>
            <a:custGeom>
              <a:avLst/>
              <a:gdLst>
                <a:gd name="connsiteX0" fmla="*/ 5385 w 143319"/>
                <a:gd name="connsiteY0" fmla="*/ 427692 h 427692"/>
                <a:gd name="connsiteX1" fmla="*/ 2309 w 143319"/>
                <a:gd name="connsiteY1" fmla="*/ 427692 h 427692"/>
                <a:gd name="connsiteX2" fmla="*/ 2309 w 143319"/>
                <a:gd name="connsiteY2" fmla="*/ 418462 h 427692"/>
                <a:gd name="connsiteX3" fmla="*/ 125385 w 143319"/>
                <a:gd name="connsiteY3" fmla="*/ 193846 h 427692"/>
                <a:gd name="connsiteX4" fmla="*/ 131540 w 143319"/>
                <a:gd name="connsiteY4" fmla="*/ 107692 h 427692"/>
                <a:gd name="connsiteX5" fmla="*/ 33078 w 143319"/>
                <a:gd name="connsiteY5" fmla="*/ 12308 h 427692"/>
                <a:gd name="connsiteX6" fmla="*/ 26924 w 143319"/>
                <a:gd name="connsiteY6" fmla="*/ 6154 h 427692"/>
                <a:gd name="connsiteX7" fmla="*/ 33078 w 143319"/>
                <a:gd name="connsiteY7" fmla="*/ 0 h 427692"/>
                <a:gd name="connsiteX8" fmla="*/ 140770 w 143319"/>
                <a:gd name="connsiteY8" fmla="*/ 104615 h 427692"/>
                <a:gd name="connsiteX9" fmla="*/ 134616 w 143319"/>
                <a:gd name="connsiteY9" fmla="*/ 193846 h 427692"/>
                <a:gd name="connsiteX10" fmla="*/ 8463 w 143319"/>
                <a:gd name="connsiteY10" fmla="*/ 421539 h 427692"/>
                <a:gd name="connsiteX11" fmla="*/ 5385 w 143319"/>
                <a:gd name="connsiteY11" fmla="*/ 427692 h 42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3319" h="427692">
                  <a:moveTo>
                    <a:pt x="5385" y="427692"/>
                  </a:moveTo>
                  <a:cubicBezTo>
                    <a:pt x="5385" y="427692"/>
                    <a:pt x="2309" y="427692"/>
                    <a:pt x="2309" y="427692"/>
                  </a:cubicBezTo>
                  <a:cubicBezTo>
                    <a:pt x="-770" y="424615"/>
                    <a:pt x="-770" y="421539"/>
                    <a:pt x="2309" y="418462"/>
                  </a:cubicBezTo>
                  <a:cubicBezTo>
                    <a:pt x="66923" y="344615"/>
                    <a:pt x="110001" y="267692"/>
                    <a:pt x="125385" y="193846"/>
                  </a:cubicBezTo>
                  <a:cubicBezTo>
                    <a:pt x="131540" y="169231"/>
                    <a:pt x="137692" y="138462"/>
                    <a:pt x="131540" y="107692"/>
                  </a:cubicBezTo>
                  <a:cubicBezTo>
                    <a:pt x="128462" y="83077"/>
                    <a:pt x="103847" y="21538"/>
                    <a:pt x="33078" y="12308"/>
                  </a:cubicBezTo>
                  <a:cubicBezTo>
                    <a:pt x="30000" y="12308"/>
                    <a:pt x="26924" y="9231"/>
                    <a:pt x="26924" y="6154"/>
                  </a:cubicBezTo>
                  <a:cubicBezTo>
                    <a:pt x="26924" y="3077"/>
                    <a:pt x="30000" y="0"/>
                    <a:pt x="33078" y="0"/>
                  </a:cubicBezTo>
                  <a:cubicBezTo>
                    <a:pt x="100770" y="9231"/>
                    <a:pt x="134616" y="67692"/>
                    <a:pt x="140770" y="104615"/>
                  </a:cubicBezTo>
                  <a:cubicBezTo>
                    <a:pt x="146924" y="135385"/>
                    <a:pt x="140770" y="169231"/>
                    <a:pt x="134616" y="193846"/>
                  </a:cubicBezTo>
                  <a:cubicBezTo>
                    <a:pt x="119231" y="270769"/>
                    <a:pt x="76154" y="347692"/>
                    <a:pt x="8463" y="421539"/>
                  </a:cubicBezTo>
                  <a:cubicBezTo>
                    <a:pt x="8463" y="427692"/>
                    <a:pt x="8463" y="427692"/>
                    <a:pt x="5385" y="427692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E84E2267-897F-4F71-A8EA-8ABA3E1A76ED}"/>
                </a:ext>
              </a:extLst>
            </p:cNvPr>
            <p:cNvSpPr/>
            <p:nvPr/>
          </p:nvSpPr>
          <p:spPr>
            <a:xfrm>
              <a:off x="12897709" y="296949"/>
              <a:ext cx="164445" cy="121258"/>
            </a:xfrm>
            <a:custGeom>
              <a:avLst/>
              <a:gdLst>
                <a:gd name="connsiteX0" fmla="*/ 164446 w 164445"/>
                <a:gd name="connsiteY0" fmla="*/ 31538 h 121258"/>
                <a:gd name="connsiteX1" fmla="*/ 158291 w 164445"/>
                <a:gd name="connsiteY1" fmla="*/ 19231 h 121258"/>
                <a:gd name="connsiteX2" fmla="*/ 142907 w 164445"/>
                <a:gd name="connsiteY2" fmla="*/ 769 h 121258"/>
                <a:gd name="connsiteX3" fmla="*/ 75214 w 164445"/>
                <a:gd name="connsiteY3" fmla="*/ 769 h 121258"/>
                <a:gd name="connsiteX4" fmla="*/ 13676 w 164445"/>
                <a:gd name="connsiteY4" fmla="*/ 3846 h 121258"/>
                <a:gd name="connsiteX5" fmla="*/ 1367 w 164445"/>
                <a:gd name="connsiteY5" fmla="*/ 16154 h 121258"/>
                <a:gd name="connsiteX6" fmla="*/ 1367 w 164445"/>
                <a:gd name="connsiteY6" fmla="*/ 68462 h 121258"/>
                <a:gd name="connsiteX7" fmla="*/ 16752 w 164445"/>
                <a:gd name="connsiteY7" fmla="*/ 93077 h 121258"/>
                <a:gd name="connsiteX8" fmla="*/ 78290 w 164445"/>
                <a:gd name="connsiteY8" fmla="*/ 108461 h 121258"/>
                <a:gd name="connsiteX9" fmla="*/ 142907 w 164445"/>
                <a:gd name="connsiteY9" fmla="*/ 120769 h 121258"/>
                <a:gd name="connsiteX10" fmla="*/ 155213 w 164445"/>
                <a:gd name="connsiteY10" fmla="*/ 111539 h 121258"/>
                <a:gd name="connsiteX11" fmla="*/ 164446 w 164445"/>
                <a:gd name="connsiteY11" fmla="*/ 31538 h 121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445" h="121258">
                  <a:moveTo>
                    <a:pt x="164446" y="31538"/>
                  </a:moveTo>
                  <a:cubicBezTo>
                    <a:pt x="164446" y="25385"/>
                    <a:pt x="161368" y="19231"/>
                    <a:pt x="158291" y="19231"/>
                  </a:cubicBezTo>
                  <a:cubicBezTo>
                    <a:pt x="158291" y="10000"/>
                    <a:pt x="152137" y="769"/>
                    <a:pt x="142907" y="769"/>
                  </a:cubicBezTo>
                  <a:cubicBezTo>
                    <a:pt x="121368" y="769"/>
                    <a:pt x="96753" y="769"/>
                    <a:pt x="75214" y="769"/>
                  </a:cubicBezTo>
                  <a:cubicBezTo>
                    <a:pt x="56753" y="769"/>
                    <a:pt x="32136" y="-2308"/>
                    <a:pt x="13676" y="3846"/>
                  </a:cubicBezTo>
                  <a:cubicBezTo>
                    <a:pt x="7521" y="6923"/>
                    <a:pt x="1367" y="10000"/>
                    <a:pt x="1367" y="16154"/>
                  </a:cubicBezTo>
                  <a:cubicBezTo>
                    <a:pt x="-1709" y="31538"/>
                    <a:pt x="1367" y="53077"/>
                    <a:pt x="1367" y="68462"/>
                  </a:cubicBezTo>
                  <a:cubicBezTo>
                    <a:pt x="4445" y="80769"/>
                    <a:pt x="4445" y="86923"/>
                    <a:pt x="16752" y="93077"/>
                  </a:cubicBezTo>
                  <a:cubicBezTo>
                    <a:pt x="35214" y="102308"/>
                    <a:pt x="59829" y="102308"/>
                    <a:pt x="78290" y="108461"/>
                  </a:cubicBezTo>
                  <a:cubicBezTo>
                    <a:pt x="96753" y="111539"/>
                    <a:pt x="124444" y="123846"/>
                    <a:pt x="142907" y="120769"/>
                  </a:cubicBezTo>
                  <a:cubicBezTo>
                    <a:pt x="149061" y="120769"/>
                    <a:pt x="152137" y="117692"/>
                    <a:pt x="155213" y="111539"/>
                  </a:cubicBezTo>
                  <a:cubicBezTo>
                    <a:pt x="164446" y="86923"/>
                    <a:pt x="164446" y="56154"/>
                    <a:pt x="164446" y="31538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52688A20-9531-43C5-8935-A3ECC677964D}"/>
                </a:ext>
              </a:extLst>
            </p:cNvPr>
            <p:cNvSpPr/>
            <p:nvPr/>
          </p:nvSpPr>
          <p:spPr>
            <a:xfrm>
              <a:off x="11840032" y="-734392"/>
              <a:ext cx="1129814" cy="1179804"/>
            </a:xfrm>
            <a:custGeom>
              <a:avLst/>
              <a:gdLst>
                <a:gd name="connsiteX0" fmla="*/ 111352 w 1129814"/>
                <a:gd name="connsiteY0" fmla="*/ 4420 h 1179804"/>
                <a:gd name="connsiteX1" fmla="*/ 422122 w 1129814"/>
                <a:gd name="connsiteY1" fmla="*/ 364420 h 1179804"/>
                <a:gd name="connsiteX2" fmla="*/ 575968 w 1129814"/>
                <a:gd name="connsiteY2" fmla="*/ 807497 h 1179804"/>
                <a:gd name="connsiteX3" fmla="*/ 1117506 w 1129814"/>
                <a:gd name="connsiteY3" fmla="*/ 992112 h 1179804"/>
                <a:gd name="connsiteX4" fmla="*/ 1129815 w 1129814"/>
                <a:gd name="connsiteY4" fmla="*/ 1179804 h 1179804"/>
                <a:gd name="connsiteX5" fmla="*/ 308276 w 1129814"/>
                <a:gd name="connsiteY5" fmla="*/ 1078266 h 1179804"/>
                <a:gd name="connsiteX6" fmla="*/ 111352 w 1129814"/>
                <a:gd name="connsiteY6" fmla="*/ 4420 h 1179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9814" h="1179804">
                  <a:moveTo>
                    <a:pt x="111352" y="4420"/>
                  </a:moveTo>
                  <a:cubicBezTo>
                    <a:pt x="240583" y="-38657"/>
                    <a:pt x="369814" y="244420"/>
                    <a:pt x="422122" y="364420"/>
                  </a:cubicBezTo>
                  <a:cubicBezTo>
                    <a:pt x="468276" y="472112"/>
                    <a:pt x="575968" y="807497"/>
                    <a:pt x="575968" y="807497"/>
                  </a:cubicBezTo>
                  <a:lnTo>
                    <a:pt x="1117506" y="992112"/>
                  </a:lnTo>
                  <a:lnTo>
                    <a:pt x="1129815" y="1179804"/>
                  </a:lnTo>
                  <a:cubicBezTo>
                    <a:pt x="1129815" y="1179804"/>
                    <a:pt x="446737" y="1170573"/>
                    <a:pt x="308276" y="1078266"/>
                  </a:cubicBezTo>
                  <a:cubicBezTo>
                    <a:pt x="188275" y="998266"/>
                    <a:pt x="-184032" y="96727"/>
                    <a:pt x="111352" y="4420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1B81E50A-8D66-44FB-9720-EC3D1536D8DA}"/>
                </a:ext>
              </a:extLst>
            </p:cNvPr>
            <p:cNvSpPr/>
            <p:nvPr/>
          </p:nvSpPr>
          <p:spPr>
            <a:xfrm>
              <a:off x="11848572" y="-745190"/>
              <a:ext cx="967428" cy="956755"/>
            </a:xfrm>
            <a:custGeom>
              <a:avLst/>
              <a:gdLst>
                <a:gd name="connsiteX0" fmla="*/ 961275 w 967428"/>
                <a:gd name="connsiteY0" fmla="*/ 956755 h 956755"/>
                <a:gd name="connsiteX1" fmla="*/ 961275 w 967428"/>
                <a:gd name="connsiteY1" fmla="*/ 956755 h 956755"/>
                <a:gd name="connsiteX2" fmla="*/ 561275 w 967428"/>
                <a:gd name="connsiteY2" fmla="*/ 821371 h 956755"/>
                <a:gd name="connsiteX3" fmla="*/ 561275 w 967428"/>
                <a:gd name="connsiteY3" fmla="*/ 818294 h 956755"/>
                <a:gd name="connsiteX4" fmla="*/ 407428 w 967428"/>
                <a:gd name="connsiteY4" fmla="*/ 375217 h 956755"/>
                <a:gd name="connsiteX5" fmla="*/ 201274 w 967428"/>
                <a:gd name="connsiteY5" fmla="*/ 55217 h 956755"/>
                <a:gd name="connsiteX6" fmla="*/ 93582 w 967428"/>
                <a:gd name="connsiteY6" fmla="*/ 15217 h 956755"/>
                <a:gd name="connsiteX7" fmla="*/ 10505 w 967428"/>
                <a:gd name="connsiteY7" fmla="*/ 122909 h 956755"/>
                <a:gd name="connsiteX8" fmla="*/ 4350 w 967428"/>
                <a:gd name="connsiteY8" fmla="*/ 125986 h 956755"/>
                <a:gd name="connsiteX9" fmla="*/ 1274 w 967428"/>
                <a:gd name="connsiteY9" fmla="*/ 119832 h 956755"/>
                <a:gd name="connsiteX10" fmla="*/ 93582 w 967428"/>
                <a:gd name="connsiteY10" fmla="*/ 2909 h 956755"/>
                <a:gd name="connsiteX11" fmla="*/ 213583 w 967428"/>
                <a:gd name="connsiteY11" fmla="*/ 45986 h 956755"/>
                <a:gd name="connsiteX12" fmla="*/ 422813 w 967428"/>
                <a:gd name="connsiteY12" fmla="*/ 369063 h 956755"/>
                <a:gd name="connsiteX13" fmla="*/ 573581 w 967428"/>
                <a:gd name="connsiteY13" fmla="*/ 809063 h 956755"/>
                <a:gd name="connsiteX14" fmla="*/ 964351 w 967428"/>
                <a:gd name="connsiteY14" fmla="*/ 941371 h 956755"/>
                <a:gd name="connsiteX15" fmla="*/ 967429 w 967428"/>
                <a:gd name="connsiteY15" fmla="*/ 947524 h 956755"/>
                <a:gd name="connsiteX16" fmla="*/ 961275 w 967428"/>
                <a:gd name="connsiteY16" fmla="*/ 956755 h 956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7428" h="956755">
                  <a:moveTo>
                    <a:pt x="961275" y="956755"/>
                  </a:moveTo>
                  <a:cubicBezTo>
                    <a:pt x="961275" y="956755"/>
                    <a:pt x="958197" y="956755"/>
                    <a:pt x="961275" y="956755"/>
                  </a:cubicBezTo>
                  <a:lnTo>
                    <a:pt x="561275" y="821371"/>
                  </a:lnTo>
                  <a:lnTo>
                    <a:pt x="561275" y="818294"/>
                  </a:lnTo>
                  <a:cubicBezTo>
                    <a:pt x="561275" y="815217"/>
                    <a:pt x="441274" y="464448"/>
                    <a:pt x="407428" y="375217"/>
                  </a:cubicBezTo>
                  <a:cubicBezTo>
                    <a:pt x="407428" y="372140"/>
                    <a:pt x="336660" y="178294"/>
                    <a:pt x="201274" y="55217"/>
                  </a:cubicBezTo>
                  <a:cubicBezTo>
                    <a:pt x="161275" y="18294"/>
                    <a:pt x="124351" y="5986"/>
                    <a:pt x="93582" y="15217"/>
                  </a:cubicBezTo>
                  <a:cubicBezTo>
                    <a:pt x="35120" y="33678"/>
                    <a:pt x="10505" y="122909"/>
                    <a:pt x="10505" y="122909"/>
                  </a:cubicBezTo>
                  <a:cubicBezTo>
                    <a:pt x="10505" y="125986"/>
                    <a:pt x="7428" y="129063"/>
                    <a:pt x="4350" y="125986"/>
                  </a:cubicBezTo>
                  <a:cubicBezTo>
                    <a:pt x="1274" y="125986"/>
                    <a:pt x="-1802" y="122909"/>
                    <a:pt x="1274" y="119832"/>
                  </a:cubicBezTo>
                  <a:cubicBezTo>
                    <a:pt x="1274" y="116755"/>
                    <a:pt x="28967" y="24448"/>
                    <a:pt x="93582" y="2909"/>
                  </a:cubicBezTo>
                  <a:cubicBezTo>
                    <a:pt x="130505" y="-6322"/>
                    <a:pt x="170505" y="5986"/>
                    <a:pt x="213583" y="45986"/>
                  </a:cubicBezTo>
                  <a:cubicBezTo>
                    <a:pt x="352044" y="169063"/>
                    <a:pt x="422813" y="369063"/>
                    <a:pt x="422813" y="369063"/>
                  </a:cubicBezTo>
                  <a:cubicBezTo>
                    <a:pt x="456659" y="455217"/>
                    <a:pt x="564351" y="775217"/>
                    <a:pt x="573581" y="809063"/>
                  </a:cubicBezTo>
                  <a:lnTo>
                    <a:pt x="964351" y="941371"/>
                  </a:lnTo>
                  <a:cubicBezTo>
                    <a:pt x="967429" y="941371"/>
                    <a:pt x="967429" y="944448"/>
                    <a:pt x="967429" y="947524"/>
                  </a:cubicBezTo>
                  <a:cubicBezTo>
                    <a:pt x="964351" y="956755"/>
                    <a:pt x="961275" y="956755"/>
                    <a:pt x="961275" y="956755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2083F137-D948-413C-82C6-3D54BCA1D64E}"/>
                </a:ext>
              </a:extLst>
            </p:cNvPr>
            <p:cNvSpPr/>
            <p:nvPr/>
          </p:nvSpPr>
          <p:spPr>
            <a:xfrm>
              <a:off x="11846770" y="-357665"/>
              <a:ext cx="835119" cy="800000"/>
            </a:xfrm>
            <a:custGeom>
              <a:avLst/>
              <a:gdLst>
                <a:gd name="connsiteX0" fmla="*/ 830769 w 835119"/>
                <a:gd name="connsiteY0" fmla="*/ 800000 h 800000"/>
                <a:gd name="connsiteX1" fmla="*/ 830769 w 835119"/>
                <a:gd name="connsiteY1" fmla="*/ 800000 h 800000"/>
                <a:gd name="connsiteX2" fmla="*/ 295384 w 835119"/>
                <a:gd name="connsiteY2" fmla="*/ 707692 h 800000"/>
                <a:gd name="connsiteX3" fmla="*/ 0 w 835119"/>
                <a:gd name="connsiteY3" fmla="*/ 6154 h 800000"/>
                <a:gd name="connsiteX4" fmla="*/ 3076 w 835119"/>
                <a:gd name="connsiteY4" fmla="*/ 0 h 800000"/>
                <a:gd name="connsiteX5" fmla="*/ 9230 w 835119"/>
                <a:gd name="connsiteY5" fmla="*/ 3077 h 800000"/>
                <a:gd name="connsiteX6" fmla="*/ 298460 w 835119"/>
                <a:gd name="connsiteY6" fmla="*/ 698461 h 800000"/>
                <a:gd name="connsiteX7" fmla="*/ 827691 w 835119"/>
                <a:gd name="connsiteY7" fmla="*/ 790769 h 800000"/>
                <a:gd name="connsiteX8" fmla="*/ 833846 w 835119"/>
                <a:gd name="connsiteY8" fmla="*/ 796923 h 800000"/>
                <a:gd name="connsiteX9" fmla="*/ 830769 w 835119"/>
                <a:gd name="connsiteY9" fmla="*/ 800000 h 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5119" h="800000">
                  <a:moveTo>
                    <a:pt x="830769" y="800000"/>
                  </a:moveTo>
                  <a:lnTo>
                    <a:pt x="830769" y="800000"/>
                  </a:lnTo>
                  <a:cubicBezTo>
                    <a:pt x="815385" y="800000"/>
                    <a:pt x="440000" y="796923"/>
                    <a:pt x="295384" y="707692"/>
                  </a:cubicBezTo>
                  <a:cubicBezTo>
                    <a:pt x="150768" y="618462"/>
                    <a:pt x="6152" y="30769"/>
                    <a:pt x="0" y="6154"/>
                  </a:cubicBezTo>
                  <a:cubicBezTo>
                    <a:pt x="0" y="3077"/>
                    <a:pt x="0" y="0"/>
                    <a:pt x="3076" y="0"/>
                  </a:cubicBezTo>
                  <a:cubicBezTo>
                    <a:pt x="6152" y="0"/>
                    <a:pt x="9230" y="0"/>
                    <a:pt x="9230" y="3077"/>
                  </a:cubicBezTo>
                  <a:cubicBezTo>
                    <a:pt x="9230" y="9231"/>
                    <a:pt x="159999" y="609231"/>
                    <a:pt x="298460" y="698461"/>
                  </a:cubicBezTo>
                  <a:cubicBezTo>
                    <a:pt x="436922" y="787692"/>
                    <a:pt x="821537" y="790769"/>
                    <a:pt x="827691" y="790769"/>
                  </a:cubicBezTo>
                  <a:cubicBezTo>
                    <a:pt x="830769" y="790769"/>
                    <a:pt x="833846" y="793846"/>
                    <a:pt x="833846" y="796923"/>
                  </a:cubicBezTo>
                  <a:cubicBezTo>
                    <a:pt x="836922" y="796923"/>
                    <a:pt x="833846" y="800000"/>
                    <a:pt x="830769" y="800000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1" name="图形 1">
              <a:extLst>
                <a:ext uri="{FF2B5EF4-FFF2-40B4-BE49-F238E27FC236}">
                  <a16:creationId xmlns:a16="http://schemas.microsoft.com/office/drawing/2014/main" id="{87991798-82F6-448C-A7AE-990D0A98C29C}"/>
                </a:ext>
              </a:extLst>
            </p:cNvPr>
            <p:cNvGrpSpPr/>
            <p:nvPr/>
          </p:nvGrpSpPr>
          <p:grpSpPr>
            <a:xfrm>
              <a:off x="12877539" y="325411"/>
              <a:ext cx="2895384" cy="2926153"/>
              <a:chOff x="12877539" y="325411"/>
              <a:chExt cx="2895384" cy="2926153"/>
            </a:xfrm>
          </p:grpSpPr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A815B897-9742-4EF4-A6F8-B84E96DE0A0E}"/>
                  </a:ext>
                </a:extLst>
              </p:cNvPr>
              <p:cNvSpPr/>
              <p:nvPr/>
            </p:nvSpPr>
            <p:spPr>
              <a:xfrm>
                <a:off x="14046769" y="1180795"/>
                <a:ext cx="1513846" cy="126153"/>
              </a:xfrm>
              <a:custGeom>
                <a:avLst/>
                <a:gdLst>
                  <a:gd name="connsiteX0" fmla="*/ 1 w 1513846"/>
                  <a:gd name="connsiteY0" fmla="*/ 0 h 126153"/>
                  <a:gd name="connsiteX1" fmla="*/ 1513848 w 1513846"/>
                  <a:gd name="connsiteY1" fmla="*/ 0 h 126153"/>
                  <a:gd name="connsiteX2" fmla="*/ 1513848 w 1513846"/>
                  <a:gd name="connsiteY2" fmla="*/ 126154 h 126153"/>
                  <a:gd name="connsiteX3" fmla="*/ 1 w 1513846"/>
                  <a:gd name="connsiteY3" fmla="*/ 126154 h 12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3846" h="126153">
                    <a:moveTo>
                      <a:pt x="1" y="0"/>
                    </a:moveTo>
                    <a:lnTo>
                      <a:pt x="1513848" y="0"/>
                    </a:lnTo>
                    <a:lnTo>
                      <a:pt x="1513848" y="126154"/>
                    </a:lnTo>
                    <a:lnTo>
                      <a:pt x="1" y="126154"/>
                    </a:lnTo>
                    <a:close/>
                  </a:path>
                </a:pathLst>
              </a:custGeom>
              <a:solidFill>
                <a:srgbClr val="E26A6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EEBF0EA7-CEAD-4EC3-BCAC-06492A872019}"/>
                  </a:ext>
                </a:extLst>
              </p:cNvPr>
              <p:cNvSpPr/>
              <p:nvPr/>
            </p:nvSpPr>
            <p:spPr>
              <a:xfrm>
                <a:off x="13656000" y="451565"/>
                <a:ext cx="2039999" cy="2612307"/>
              </a:xfrm>
              <a:custGeom>
                <a:avLst/>
                <a:gdLst>
                  <a:gd name="connsiteX0" fmla="*/ 2040000 w 2039999"/>
                  <a:gd name="connsiteY0" fmla="*/ 2612308 h 2612307"/>
                  <a:gd name="connsiteX1" fmla="*/ 1916923 w 2039999"/>
                  <a:gd name="connsiteY1" fmla="*/ 2612308 h 2612307"/>
                  <a:gd name="connsiteX2" fmla="*/ 0 w 2039999"/>
                  <a:gd name="connsiteY2" fmla="*/ 0 h 2612307"/>
                  <a:gd name="connsiteX3" fmla="*/ 123077 w 2039999"/>
                  <a:gd name="connsiteY3" fmla="*/ 0 h 261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39999" h="2612307">
                    <a:moveTo>
                      <a:pt x="2040000" y="2612308"/>
                    </a:moveTo>
                    <a:lnTo>
                      <a:pt x="1916923" y="2612308"/>
                    </a:lnTo>
                    <a:lnTo>
                      <a:pt x="0" y="0"/>
                    </a:lnTo>
                    <a:lnTo>
                      <a:pt x="123077" y="0"/>
                    </a:lnTo>
                    <a:close/>
                  </a:path>
                </a:pathLst>
              </a:custGeom>
              <a:solidFill>
                <a:srgbClr val="EFE4E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526CA7AD-6E16-4728-A8C4-5BD311F916F8}"/>
                  </a:ext>
                </a:extLst>
              </p:cNvPr>
              <p:cNvSpPr/>
              <p:nvPr/>
            </p:nvSpPr>
            <p:spPr>
              <a:xfrm>
                <a:off x="13539077" y="1180795"/>
                <a:ext cx="1067692" cy="126153"/>
              </a:xfrm>
              <a:custGeom>
                <a:avLst/>
                <a:gdLst>
                  <a:gd name="connsiteX0" fmla="*/ 1 w 1067692"/>
                  <a:gd name="connsiteY0" fmla="*/ 0 h 126153"/>
                  <a:gd name="connsiteX1" fmla="*/ 1067694 w 1067692"/>
                  <a:gd name="connsiteY1" fmla="*/ 0 h 126153"/>
                  <a:gd name="connsiteX2" fmla="*/ 1067694 w 1067692"/>
                  <a:gd name="connsiteY2" fmla="*/ 126154 h 126153"/>
                  <a:gd name="connsiteX3" fmla="*/ 1 w 1067692"/>
                  <a:gd name="connsiteY3" fmla="*/ 126154 h 12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67692" h="126153">
                    <a:moveTo>
                      <a:pt x="1" y="0"/>
                    </a:moveTo>
                    <a:lnTo>
                      <a:pt x="1067694" y="0"/>
                    </a:lnTo>
                    <a:lnTo>
                      <a:pt x="1067694" y="126154"/>
                    </a:lnTo>
                    <a:lnTo>
                      <a:pt x="1" y="126154"/>
                    </a:lnTo>
                    <a:close/>
                  </a:path>
                </a:pathLst>
              </a:custGeom>
              <a:solidFill>
                <a:srgbClr val="C4544E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403735B3-1F44-4ACF-AE99-758E527C4DF9}"/>
                  </a:ext>
                </a:extLst>
              </p:cNvPr>
              <p:cNvSpPr/>
              <p:nvPr/>
            </p:nvSpPr>
            <p:spPr>
              <a:xfrm>
                <a:off x="14329845" y="2205411"/>
                <a:ext cx="750770" cy="858461"/>
              </a:xfrm>
              <a:custGeom>
                <a:avLst/>
                <a:gdLst>
                  <a:gd name="connsiteX0" fmla="*/ 0 w 750770"/>
                  <a:gd name="connsiteY0" fmla="*/ 858462 h 858461"/>
                  <a:gd name="connsiteX1" fmla="*/ 126155 w 750770"/>
                  <a:gd name="connsiteY1" fmla="*/ 858462 h 858461"/>
                  <a:gd name="connsiteX2" fmla="*/ 750770 w 750770"/>
                  <a:gd name="connsiteY2" fmla="*/ 15385 h 858461"/>
                  <a:gd name="connsiteX3" fmla="*/ 633847 w 750770"/>
                  <a:gd name="connsiteY3" fmla="*/ 0 h 85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770" h="858461">
                    <a:moveTo>
                      <a:pt x="0" y="858462"/>
                    </a:moveTo>
                    <a:lnTo>
                      <a:pt x="126155" y="858462"/>
                    </a:lnTo>
                    <a:lnTo>
                      <a:pt x="750770" y="15385"/>
                    </a:lnTo>
                    <a:lnTo>
                      <a:pt x="633847" y="0"/>
                    </a:lnTo>
                    <a:close/>
                  </a:path>
                </a:pathLst>
              </a:custGeom>
              <a:solidFill>
                <a:srgbClr val="EFE4E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76A6F649-3FB2-49B5-A74C-2E21D31E3D84}"/>
                  </a:ext>
                </a:extLst>
              </p:cNvPr>
              <p:cNvSpPr/>
              <p:nvPr/>
            </p:nvSpPr>
            <p:spPr>
              <a:xfrm>
                <a:off x="13539078" y="1310026"/>
                <a:ext cx="1464614" cy="729230"/>
              </a:xfrm>
              <a:custGeom>
                <a:avLst/>
                <a:gdLst>
                  <a:gd name="connsiteX0" fmla="*/ 1461539 w 1464614"/>
                  <a:gd name="connsiteY0" fmla="*/ 729231 h 729230"/>
                  <a:gd name="connsiteX1" fmla="*/ 621537 w 1464614"/>
                  <a:gd name="connsiteY1" fmla="*/ 729231 h 729230"/>
                  <a:gd name="connsiteX2" fmla="*/ 0 w 1464614"/>
                  <a:gd name="connsiteY2" fmla="*/ 107692 h 729230"/>
                  <a:gd name="connsiteX3" fmla="*/ 0 w 1464614"/>
                  <a:gd name="connsiteY3" fmla="*/ 0 h 729230"/>
                  <a:gd name="connsiteX4" fmla="*/ 1464615 w 1464614"/>
                  <a:gd name="connsiteY4" fmla="*/ 0 h 729230"/>
                  <a:gd name="connsiteX5" fmla="*/ 1464615 w 1464614"/>
                  <a:gd name="connsiteY5" fmla="*/ 729231 h 72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64614" h="729230">
                    <a:moveTo>
                      <a:pt x="1461539" y="729231"/>
                    </a:moveTo>
                    <a:lnTo>
                      <a:pt x="621537" y="729231"/>
                    </a:lnTo>
                    <a:cubicBezTo>
                      <a:pt x="276923" y="729231"/>
                      <a:pt x="0" y="449231"/>
                      <a:pt x="0" y="107692"/>
                    </a:cubicBezTo>
                    <a:lnTo>
                      <a:pt x="0" y="0"/>
                    </a:lnTo>
                    <a:lnTo>
                      <a:pt x="1464615" y="0"/>
                    </a:lnTo>
                    <a:lnTo>
                      <a:pt x="1464615" y="729231"/>
                    </a:ln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C7A76000-EB21-4F83-80A3-FAD68B4CF4DD}"/>
                  </a:ext>
                </a:extLst>
              </p:cNvPr>
              <p:cNvSpPr/>
              <p:nvPr/>
            </p:nvSpPr>
            <p:spPr>
              <a:xfrm>
                <a:off x="14606769" y="1310026"/>
                <a:ext cx="953846" cy="729230"/>
              </a:xfrm>
              <a:custGeom>
                <a:avLst/>
                <a:gdLst>
                  <a:gd name="connsiteX0" fmla="*/ 476923 w 953846"/>
                  <a:gd name="connsiteY0" fmla="*/ 729231 h 729230"/>
                  <a:gd name="connsiteX1" fmla="*/ 476923 w 953846"/>
                  <a:gd name="connsiteY1" fmla="*/ 729231 h 729230"/>
                  <a:gd name="connsiteX2" fmla="*/ 0 w 953846"/>
                  <a:gd name="connsiteY2" fmla="*/ 252308 h 729230"/>
                  <a:gd name="connsiteX3" fmla="*/ 0 w 953846"/>
                  <a:gd name="connsiteY3" fmla="*/ 0 h 729230"/>
                  <a:gd name="connsiteX4" fmla="*/ 953846 w 953846"/>
                  <a:gd name="connsiteY4" fmla="*/ 0 h 729230"/>
                  <a:gd name="connsiteX5" fmla="*/ 953846 w 953846"/>
                  <a:gd name="connsiteY5" fmla="*/ 252308 h 729230"/>
                  <a:gd name="connsiteX6" fmla="*/ 476923 w 953846"/>
                  <a:gd name="connsiteY6" fmla="*/ 729231 h 72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53846" h="729230">
                    <a:moveTo>
                      <a:pt x="476923" y="729231"/>
                    </a:moveTo>
                    <a:lnTo>
                      <a:pt x="476923" y="729231"/>
                    </a:lnTo>
                    <a:cubicBezTo>
                      <a:pt x="212308" y="729231"/>
                      <a:pt x="0" y="516923"/>
                      <a:pt x="0" y="252308"/>
                    </a:cubicBezTo>
                    <a:lnTo>
                      <a:pt x="0" y="0"/>
                    </a:lnTo>
                    <a:lnTo>
                      <a:pt x="953846" y="0"/>
                    </a:lnTo>
                    <a:lnTo>
                      <a:pt x="953846" y="252308"/>
                    </a:lnTo>
                    <a:cubicBezTo>
                      <a:pt x="953846" y="513846"/>
                      <a:pt x="741540" y="729231"/>
                      <a:pt x="476923" y="729231"/>
                    </a:cubicBezTo>
                    <a:close/>
                  </a:path>
                </a:pathLst>
              </a:custGeom>
              <a:solidFill>
                <a:srgbClr val="C4544E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E6DDEFA3-F02D-46A6-AC37-51E11E27B321}"/>
                  </a:ext>
                </a:extLst>
              </p:cNvPr>
              <p:cNvSpPr/>
              <p:nvPr/>
            </p:nvSpPr>
            <p:spPr>
              <a:xfrm>
                <a:off x="14142154" y="451565"/>
                <a:ext cx="1418460" cy="729230"/>
              </a:xfrm>
              <a:custGeom>
                <a:avLst/>
                <a:gdLst>
                  <a:gd name="connsiteX0" fmla="*/ 753846 w 1418460"/>
                  <a:gd name="connsiteY0" fmla="*/ 0 h 729230"/>
                  <a:gd name="connsiteX1" fmla="*/ 729231 w 1418460"/>
                  <a:gd name="connsiteY1" fmla="*/ 0 h 729230"/>
                  <a:gd name="connsiteX2" fmla="*/ 0 w 1418460"/>
                  <a:gd name="connsiteY2" fmla="*/ 729231 h 729230"/>
                  <a:gd name="connsiteX3" fmla="*/ 0 w 1418460"/>
                  <a:gd name="connsiteY3" fmla="*/ 729231 h 729230"/>
                  <a:gd name="connsiteX4" fmla="*/ 1418461 w 1418460"/>
                  <a:gd name="connsiteY4" fmla="*/ 729231 h 729230"/>
                  <a:gd name="connsiteX5" fmla="*/ 1418461 w 1418460"/>
                  <a:gd name="connsiteY5" fmla="*/ 661538 h 729230"/>
                  <a:gd name="connsiteX6" fmla="*/ 753846 w 1418460"/>
                  <a:gd name="connsiteY6" fmla="*/ 0 h 72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18460" h="729230">
                    <a:moveTo>
                      <a:pt x="753846" y="0"/>
                    </a:moveTo>
                    <a:lnTo>
                      <a:pt x="729231" y="0"/>
                    </a:lnTo>
                    <a:cubicBezTo>
                      <a:pt x="326153" y="0"/>
                      <a:pt x="0" y="326154"/>
                      <a:pt x="0" y="729231"/>
                    </a:cubicBezTo>
                    <a:lnTo>
                      <a:pt x="0" y="729231"/>
                    </a:lnTo>
                    <a:lnTo>
                      <a:pt x="1418461" y="729231"/>
                    </a:lnTo>
                    <a:lnTo>
                      <a:pt x="1418461" y="661538"/>
                    </a:lnTo>
                    <a:cubicBezTo>
                      <a:pt x="1418461" y="298462"/>
                      <a:pt x="1123077" y="0"/>
                      <a:pt x="753846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9" name="图形 1">
                <a:extLst>
                  <a:ext uri="{FF2B5EF4-FFF2-40B4-BE49-F238E27FC236}">
                    <a16:creationId xmlns:a16="http://schemas.microsoft.com/office/drawing/2014/main" id="{141886C7-60E1-47B2-BEE6-03F39EA8392F}"/>
                  </a:ext>
                </a:extLst>
              </p:cNvPr>
              <p:cNvGrpSpPr/>
              <p:nvPr/>
            </p:nvGrpSpPr>
            <p:grpSpPr>
              <a:xfrm>
                <a:off x="14243692" y="2906949"/>
                <a:ext cx="344615" cy="344615"/>
                <a:chOff x="14243692" y="2906949"/>
                <a:chExt cx="344615" cy="344615"/>
              </a:xfrm>
            </p:grpSpPr>
            <p:sp>
              <p:nvSpPr>
                <p:cNvPr id="108" name="任意多边形: 形状 107">
                  <a:extLst>
                    <a:ext uri="{FF2B5EF4-FFF2-40B4-BE49-F238E27FC236}">
                      <a16:creationId xmlns:a16="http://schemas.microsoft.com/office/drawing/2014/main" id="{AD9C51AF-BE19-46B0-8BD6-E88BA1E40C61}"/>
                    </a:ext>
                  </a:extLst>
                </p:cNvPr>
                <p:cNvSpPr/>
                <p:nvPr/>
              </p:nvSpPr>
              <p:spPr>
                <a:xfrm>
                  <a:off x="14243692" y="2906949"/>
                  <a:ext cx="344615" cy="344615"/>
                </a:xfrm>
                <a:custGeom>
                  <a:avLst/>
                  <a:gdLst>
                    <a:gd name="connsiteX0" fmla="*/ 344615 w 344615"/>
                    <a:gd name="connsiteY0" fmla="*/ 172308 h 344615"/>
                    <a:gd name="connsiteX1" fmla="*/ 172308 w 344615"/>
                    <a:gd name="connsiteY1" fmla="*/ 344616 h 344615"/>
                    <a:gd name="connsiteX2" fmla="*/ 2 w 344615"/>
                    <a:gd name="connsiteY2" fmla="*/ 172308 h 344615"/>
                    <a:gd name="connsiteX3" fmla="*/ 172308 w 344615"/>
                    <a:gd name="connsiteY3" fmla="*/ 0 h 344615"/>
                    <a:gd name="connsiteX4" fmla="*/ 344615 w 344615"/>
                    <a:gd name="connsiteY4" fmla="*/ 172308 h 344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4615" h="344615">
                      <a:moveTo>
                        <a:pt x="344615" y="172308"/>
                      </a:moveTo>
                      <a:cubicBezTo>
                        <a:pt x="344615" y="267471"/>
                        <a:pt x="267471" y="344616"/>
                        <a:pt x="172308" y="344616"/>
                      </a:cubicBezTo>
                      <a:cubicBezTo>
                        <a:pt x="77146" y="344616"/>
                        <a:pt x="2" y="267471"/>
                        <a:pt x="2" y="172308"/>
                      </a:cubicBezTo>
                      <a:cubicBezTo>
                        <a:pt x="2" y="77145"/>
                        <a:pt x="77146" y="0"/>
                        <a:pt x="172308" y="0"/>
                      </a:cubicBezTo>
                      <a:cubicBezTo>
                        <a:pt x="267471" y="0"/>
                        <a:pt x="344615" y="77145"/>
                        <a:pt x="344615" y="172308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9" name="任意多边形: 形状 108">
                  <a:extLst>
                    <a:ext uri="{FF2B5EF4-FFF2-40B4-BE49-F238E27FC236}">
                      <a16:creationId xmlns:a16="http://schemas.microsoft.com/office/drawing/2014/main" id="{F8E0C574-2901-44E2-90A6-E9AB08457661}"/>
                    </a:ext>
                  </a:extLst>
                </p:cNvPr>
                <p:cNvSpPr/>
                <p:nvPr/>
              </p:nvSpPr>
              <p:spPr>
                <a:xfrm>
                  <a:off x="14336000" y="2996180"/>
                  <a:ext cx="166154" cy="166154"/>
                </a:xfrm>
                <a:custGeom>
                  <a:avLst/>
                  <a:gdLst>
                    <a:gd name="connsiteX0" fmla="*/ 166155 w 166154"/>
                    <a:gd name="connsiteY0" fmla="*/ 83077 h 166154"/>
                    <a:gd name="connsiteX1" fmla="*/ 83077 w 166154"/>
                    <a:gd name="connsiteY1" fmla="*/ 0 h 166154"/>
                    <a:gd name="connsiteX2" fmla="*/ 0 w 166154"/>
                    <a:gd name="connsiteY2" fmla="*/ 83077 h 166154"/>
                    <a:gd name="connsiteX3" fmla="*/ 83077 w 166154"/>
                    <a:gd name="connsiteY3" fmla="*/ 166154 h 166154"/>
                    <a:gd name="connsiteX4" fmla="*/ 166155 w 166154"/>
                    <a:gd name="connsiteY4" fmla="*/ 83077 h 166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6154" h="166154">
                      <a:moveTo>
                        <a:pt x="166155" y="83077"/>
                      </a:moveTo>
                      <a:cubicBezTo>
                        <a:pt x="166155" y="36923"/>
                        <a:pt x="129231" y="0"/>
                        <a:pt x="83077" y="0"/>
                      </a:cubicBezTo>
                      <a:cubicBezTo>
                        <a:pt x="36923" y="0"/>
                        <a:pt x="0" y="36923"/>
                        <a:pt x="0" y="83077"/>
                      </a:cubicBezTo>
                      <a:cubicBezTo>
                        <a:pt x="0" y="129231"/>
                        <a:pt x="36923" y="166154"/>
                        <a:pt x="83077" y="166154"/>
                      </a:cubicBezTo>
                      <a:cubicBezTo>
                        <a:pt x="126155" y="166154"/>
                        <a:pt x="166155" y="129231"/>
                        <a:pt x="166155" y="83077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DFBEC150-9003-455C-8CEF-068E3E482F1A}"/>
                  </a:ext>
                </a:extLst>
              </p:cNvPr>
              <p:cNvSpPr/>
              <p:nvPr/>
            </p:nvSpPr>
            <p:spPr>
              <a:xfrm>
                <a:off x="14092924" y="1131565"/>
                <a:ext cx="98460" cy="98461"/>
              </a:xfrm>
              <a:custGeom>
                <a:avLst/>
                <a:gdLst>
                  <a:gd name="connsiteX0" fmla="*/ 98460 w 98460"/>
                  <a:gd name="connsiteY0" fmla="*/ 49231 h 98461"/>
                  <a:gd name="connsiteX1" fmla="*/ 49230 w 98460"/>
                  <a:gd name="connsiteY1" fmla="*/ 0 h 98461"/>
                  <a:gd name="connsiteX2" fmla="*/ 0 w 98460"/>
                  <a:gd name="connsiteY2" fmla="*/ 49231 h 98461"/>
                  <a:gd name="connsiteX3" fmla="*/ 49230 w 98460"/>
                  <a:gd name="connsiteY3" fmla="*/ 98461 h 98461"/>
                  <a:gd name="connsiteX4" fmla="*/ 98460 w 98460"/>
                  <a:gd name="connsiteY4" fmla="*/ 49231 h 9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460" h="98461">
                    <a:moveTo>
                      <a:pt x="98460" y="49231"/>
                    </a:moveTo>
                    <a:cubicBezTo>
                      <a:pt x="98460" y="21538"/>
                      <a:pt x="76923" y="0"/>
                      <a:pt x="49230" y="0"/>
                    </a:cubicBezTo>
                    <a:cubicBezTo>
                      <a:pt x="21537" y="0"/>
                      <a:pt x="0" y="21538"/>
                      <a:pt x="0" y="49231"/>
                    </a:cubicBezTo>
                    <a:cubicBezTo>
                      <a:pt x="0" y="76923"/>
                      <a:pt x="21537" y="98461"/>
                      <a:pt x="49230" y="98461"/>
                    </a:cubicBezTo>
                    <a:cubicBezTo>
                      <a:pt x="76923" y="98461"/>
                      <a:pt x="98460" y="76923"/>
                      <a:pt x="98460" y="49231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91" name="图形 1">
                <a:extLst>
                  <a:ext uri="{FF2B5EF4-FFF2-40B4-BE49-F238E27FC236}">
                    <a16:creationId xmlns:a16="http://schemas.microsoft.com/office/drawing/2014/main" id="{425F72AC-5986-4C95-A5A5-AAA066B82105}"/>
                  </a:ext>
                </a:extLst>
              </p:cNvPr>
              <p:cNvGrpSpPr/>
              <p:nvPr/>
            </p:nvGrpSpPr>
            <p:grpSpPr>
              <a:xfrm>
                <a:off x="13828307" y="2833103"/>
                <a:ext cx="1673847" cy="304615"/>
                <a:chOff x="13828307" y="2833103"/>
                <a:chExt cx="1673847" cy="304615"/>
              </a:xfrm>
            </p:grpSpPr>
            <p:sp>
              <p:nvSpPr>
                <p:cNvPr id="106" name="任意多边形: 形状 105">
                  <a:extLst>
                    <a:ext uri="{FF2B5EF4-FFF2-40B4-BE49-F238E27FC236}">
                      <a16:creationId xmlns:a16="http://schemas.microsoft.com/office/drawing/2014/main" id="{9C2ACEC2-ECF2-4470-86A4-42C0F9EAB1BA}"/>
                    </a:ext>
                  </a:extLst>
                </p:cNvPr>
                <p:cNvSpPr/>
                <p:nvPr/>
              </p:nvSpPr>
              <p:spPr>
                <a:xfrm>
                  <a:off x="13828307" y="2833103"/>
                  <a:ext cx="1104616" cy="304615"/>
                </a:xfrm>
                <a:custGeom>
                  <a:avLst/>
                  <a:gdLst>
                    <a:gd name="connsiteX0" fmla="*/ 1104616 w 1104616"/>
                    <a:gd name="connsiteY0" fmla="*/ 304615 h 304615"/>
                    <a:gd name="connsiteX1" fmla="*/ 246154 w 1104616"/>
                    <a:gd name="connsiteY1" fmla="*/ 304615 h 304615"/>
                    <a:gd name="connsiteX2" fmla="*/ 0 w 1104616"/>
                    <a:gd name="connsiteY2" fmla="*/ 58461 h 304615"/>
                    <a:gd name="connsiteX3" fmla="*/ 0 w 1104616"/>
                    <a:gd name="connsiteY3" fmla="*/ 0 h 304615"/>
                    <a:gd name="connsiteX4" fmla="*/ 1104616 w 1104616"/>
                    <a:gd name="connsiteY4" fmla="*/ 0 h 304615"/>
                    <a:gd name="connsiteX5" fmla="*/ 1104616 w 1104616"/>
                    <a:gd name="connsiteY5" fmla="*/ 304615 h 304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04616" h="304615">
                      <a:moveTo>
                        <a:pt x="1104616" y="304615"/>
                      </a:moveTo>
                      <a:lnTo>
                        <a:pt x="246154" y="304615"/>
                      </a:lnTo>
                      <a:cubicBezTo>
                        <a:pt x="110770" y="304615"/>
                        <a:pt x="0" y="193846"/>
                        <a:pt x="0" y="58461"/>
                      </a:cubicBezTo>
                      <a:lnTo>
                        <a:pt x="0" y="0"/>
                      </a:lnTo>
                      <a:lnTo>
                        <a:pt x="1104616" y="0"/>
                      </a:lnTo>
                      <a:lnTo>
                        <a:pt x="1104616" y="304615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7" name="任意多边形: 形状 106">
                  <a:extLst>
                    <a:ext uri="{FF2B5EF4-FFF2-40B4-BE49-F238E27FC236}">
                      <a16:creationId xmlns:a16="http://schemas.microsoft.com/office/drawing/2014/main" id="{3ABEA803-6A46-49DB-B253-9A0408462F91}"/>
                    </a:ext>
                  </a:extLst>
                </p:cNvPr>
                <p:cNvSpPr/>
                <p:nvPr/>
              </p:nvSpPr>
              <p:spPr>
                <a:xfrm>
                  <a:off x="14643692" y="2833103"/>
                  <a:ext cx="858462" cy="304615"/>
                </a:xfrm>
                <a:custGeom>
                  <a:avLst/>
                  <a:gdLst>
                    <a:gd name="connsiteX0" fmla="*/ 612309 w 858462"/>
                    <a:gd name="connsiteY0" fmla="*/ 304615 h 304615"/>
                    <a:gd name="connsiteX1" fmla="*/ 246154 w 858462"/>
                    <a:gd name="connsiteY1" fmla="*/ 304615 h 304615"/>
                    <a:gd name="connsiteX2" fmla="*/ 0 w 858462"/>
                    <a:gd name="connsiteY2" fmla="*/ 58461 h 304615"/>
                    <a:gd name="connsiteX3" fmla="*/ 0 w 858462"/>
                    <a:gd name="connsiteY3" fmla="*/ 0 h 304615"/>
                    <a:gd name="connsiteX4" fmla="*/ 858462 w 858462"/>
                    <a:gd name="connsiteY4" fmla="*/ 0 h 304615"/>
                    <a:gd name="connsiteX5" fmla="*/ 858462 w 858462"/>
                    <a:gd name="connsiteY5" fmla="*/ 58461 h 304615"/>
                    <a:gd name="connsiteX6" fmla="*/ 612309 w 858462"/>
                    <a:gd name="connsiteY6" fmla="*/ 304615 h 304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58462" h="304615">
                      <a:moveTo>
                        <a:pt x="612309" y="304615"/>
                      </a:moveTo>
                      <a:lnTo>
                        <a:pt x="246154" y="304615"/>
                      </a:lnTo>
                      <a:cubicBezTo>
                        <a:pt x="110770" y="304615"/>
                        <a:pt x="0" y="193846"/>
                        <a:pt x="0" y="58461"/>
                      </a:cubicBezTo>
                      <a:lnTo>
                        <a:pt x="0" y="0"/>
                      </a:lnTo>
                      <a:lnTo>
                        <a:pt x="858462" y="0"/>
                      </a:lnTo>
                      <a:lnTo>
                        <a:pt x="858462" y="58461"/>
                      </a:lnTo>
                      <a:cubicBezTo>
                        <a:pt x="858462" y="193846"/>
                        <a:pt x="747692" y="304615"/>
                        <a:pt x="612309" y="304615"/>
                      </a:cubicBezTo>
                      <a:close/>
                    </a:path>
                  </a:pathLst>
                </a:custGeom>
                <a:solidFill>
                  <a:srgbClr val="C4544E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224CE5C4-B827-4BA7-B2DD-BD9E32A122AF}"/>
                  </a:ext>
                </a:extLst>
              </p:cNvPr>
              <p:cNvSpPr/>
              <p:nvPr/>
            </p:nvSpPr>
            <p:spPr>
              <a:xfrm>
                <a:off x="13637538" y="2205411"/>
                <a:ext cx="747693" cy="858461"/>
              </a:xfrm>
              <a:custGeom>
                <a:avLst/>
                <a:gdLst>
                  <a:gd name="connsiteX0" fmla="*/ 0 w 747693"/>
                  <a:gd name="connsiteY0" fmla="*/ 858462 h 858461"/>
                  <a:gd name="connsiteX1" fmla="*/ 123077 w 747693"/>
                  <a:gd name="connsiteY1" fmla="*/ 858462 h 858461"/>
                  <a:gd name="connsiteX2" fmla="*/ 747694 w 747693"/>
                  <a:gd name="connsiteY2" fmla="*/ 15385 h 858461"/>
                  <a:gd name="connsiteX3" fmla="*/ 633847 w 747693"/>
                  <a:gd name="connsiteY3" fmla="*/ 0 h 85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7693" h="858461">
                    <a:moveTo>
                      <a:pt x="0" y="858462"/>
                    </a:moveTo>
                    <a:lnTo>
                      <a:pt x="123077" y="858462"/>
                    </a:lnTo>
                    <a:lnTo>
                      <a:pt x="747694" y="15385"/>
                    </a:lnTo>
                    <a:lnTo>
                      <a:pt x="633847" y="0"/>
                    </a:lnTo>
                    <a:close/>
                  </a:path>
                </a:pathLst>
              </a:custGeom>
              <a:solidFill>
                <a:srgbClr val="F6EBE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93" name="图形 1">
                <a:extLst>
                  <a:ext uri="{FF2B5EF4-FFF2-40B4-BE49-F238E27FC236}">
                    <a16:creationId xmlns:a16="http://schemas.microsoft.com/office/drawing/2014/main" id="{3B1213F7-6499-463C-A7FD-9E87712A1EB0}"/>
                  </a:ext>
                </a:extLst>
              </p:cNvPr>
              <p:cNvGrpSpPr/>
              <p:nvPr/>
            </p:nvGrpSpPr>
            <p:grpSpPr>
              <a:xfrm>
                <a:off x="15428308" y="2906949"/>
                <a:ext cx="344615" cy="344615"/>
                <a:chOff x="15428308" y="2906949"/>
                <a:chExt cx="344615" cy="344615"/>
              </a:xfrm>
            </p:grpSpPr>
            <p:sp>
              <p:nvSpPr>
                <p:cNvPr id="104" name="任意多边形: 形状 103">
                  <a:extLst>
                    <a:ext uri="{FF2B5EF4-FFF2-40B4-BE49-F238E27FC236}">
                      <a16:creationId xmlns:a16="http://schemas.microsoft.com/office/drawing/2014/main" id="{DED23306-1564-4B2E-9259-72D28E2BE0D9}"/>
                    </a:ext>
                  </a:extLst>
                </p:cNvPr>
                <p:cNvSpPr/>
                <p:nvPr/>
              </p:nvSpPr>
              <p:spPr>
                <a:xfrm>
                  <a:off x="15428308" y="2906949"/>
                  <a:ext cx="344615" cy="344615"/>
                </a:xfrm>
                <a:custGeom>
                  <a:avLst/>
                  <a:gdLst>
                    <a:gd name="connsiteX0" fmla="*/ 344616 w 344615"/>
                    <a:gd name="connsiteY0" fmla="*/ 172308 h 344615"/>
                    <a:gd name="connsiteX1" fmla="*/ 172309 w 344615"/>
                    <a:gd name="connsiteY1" fmla="*/ 0 h 344615"/>
                    <a:gd name="connsiteX2" fmla="*/ 0 w 344615"/>
                    <a:gd name="connsiteY2" fmla="*/ 172308 h 344615"/>
                    <a:gd name="connsiteX3" fmla="*/ 172309 w 344615"/>
                    <a:gd name="connsiteY3" fmla="*/ 344615 h 344615"/>
                    <a:gd name="connsiteX4" fmla="*/ 344616 w 344615"/>
                    <a:gd name="connsiteY4" fmla="*/ 172308 h 344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4615" h="344615">
                      <a:moveTo>
                        <a:pt x="344616" y="172308"/>
                      </a:moveTo>
                      <a:cubicBezTo>
                        <a:pt x="344616" y="76923"/>
                        <a:pt x="267693" y="0"/>
                        <a:pt x="172309" y="0"/>
                      </a:cubicBezTo>
                      <a:cubicBezTo>
                        <a:pt x="76923" y="0"/>
                        <a:pt x="0" y="76923"/>
                        <a:pt x="0" y="172308"/>
                      </a:cubicBezTo>
                      <a:cubicBezTo>
                        <a:pt x="0" y="267692"/>
                        <a:pt x="76923" y="344615"/>
                        <a:pt x="172309" y="344615"/>
                      </a:cubicBezTo>
                      <a:cubicBezTo>
                        <a:pt x="267693" y="344615"/>
                        <a:pt x="344616" y="267692"/>
                        <a:pt x="344616" y="172308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5" name="任意多边形: 形状 104">
                  <a:extLst>
                    <a:ext uri="{FF2B5EF4-FFF2-40B4-BE49-F238E27FC236}">
                      <a16:creationId xmlns:a16="http://schemas.microsoft.com/office/drawing/2014/main" id="{0940B1EB-164E-4C8F-839D-26720C593B68}"/>
                    </a:ext>
                  </a:extLst>
                </p:cNvPr>
                <p:cNvSpPr/>
                <p:nvPr/>
              </p:nvSpPr>
              <p:spPr>
                <a:xfrm>
                  <a:off x="15517539" y="2996180"/>
                  <a:ext cx="166152" cy="166154"/>
                </a:xfrm>
                <a:custGeom>
                  <a:avLst/>
                  <a:gdLst>
                    <a:gd name="connsiteX0" fmla="*/ 166153 w 166152"/>
                    <a:gd name="connsiteY0" fmla="*/ 83077 h 166154"/>
                    <a:gd name="connsiteX1" fmla="*/ 83077 w 166152"/>
                    <a:gd name="connsiteY1" fmla="*/ 0 h 166154"/>
                    <a:gd name="connsiteX2" fmla="*/ 0 w 166152"/>
                    <a:gd name="connsiteY2" fmla="*/ 83077 h 166154"/>
                    <a:gd name="connsiteX3" fmla="*/ 83077 w 166152"/>
                    <a:gd name="connsiteY3" fmla="*/ 166154 h 166154"/>
                    <a:gd name="connsiteX4" fmla="*/ 166153 w 166152"/>
                    <a:gd name="connsiteY4" fmla="*/ 83077 h 166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6152" h="166154">
                      <a:moveTo>
                        <a:pt x="166153" y="83077"/>
                      </a:moveTo>
                      <a:cubicBezTo>
                        <a:pt x="166153" y="36923"/>
                        <a:pt x="129231" y="0"/>
                        <a:pt x="83077" y="0"/>
                      </a:cubicBezTo>
                      <a:cubicBezTo>
                        <a:pt x="36923" y="0"/>
                        <a:pt x="0" y="36923"/>
                        <a:pt x="0" y="83077"/>
                      </a:cubicBezTo>
                      <a:cubicBezTo>
                        <a:pt x="0" y="129231"/>
                        <a:pt x="36923" y="166154"/>
                        <a:pt x="83077" y="166154"/>
                      </a:cubicBezTo>
                      <a:cubicBezTo>
                        <a:pt x="129231" y="166154"/>
                        <a:pt x="166153" y="129231"/>
                        <a:pt x="166153" y="83077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4" name="图形 1">
                <a:extLst>
                  <a:ext uri="{FF2B5EF4-FFF2-40B4-BE49-F238E27FC236}">
                    <a16:creationId xmlns:a16="http://schemas.microsoft.com/office/drawing/2014/main" id="{9A0C5057-9CD1-4215-9D50-E072247FD008}"/>
                  </a:ext>
                </a:extLst>
              </p:cNvPr>
              <p:cNvGrpSpPr/>
              <p:nvPr/>
            </p:nvGrpSpPr>
            <p:grpSpPr>
              <a:xfrm>
                <a:off x="13554462" y="2906949"/>
                <a:ext cx="344613" cy="344615"/>
                <a:chOff x="13554462" y="2906949"/>
                <a:chExt cx="344613" cy="344615"/>
              </a:xfrm>
            </p:grpSpPr>
            <p:sp>
              <p:nvSpPr>
                <p:cNvPr id="102" name="任意多边形: 形状 101">
                  <a:extLst>
                    <a:ext uri="{FF2B5EF4-FFF2-40B4-BE49-F238E27FC236}">
                      <a16:creationId xmlns:a16="http://schemas.microsoft.com/office/drawing/2014/main" id="{5FD03740-FBBB-4D14-A1E5-7A68D5458E1C}"/>
                    </a:ext>
                  </a:extLst>
                </p:cNvPr>
                <p:cNvSpPr/>
                <p:nvPr/>
              </p:nvSpPr>
              <p:spPr>
                <a:xfrm>
                  <a:off x="13554462" y="2906949"/>
                  <a:ext cx="344613" cy="344615"/>
                </a:xfrm>
                <a:custGeom>
                  <a:avLst/>
                  <a:gdLst>
                    <a:gd name="connsiteX0" fmla="*/ 344614 w 344613"/>
                    <a:gd name="connsiteY0" fmla="*/ 172308 h 344615"/>
                    <a:gd name="connsiteX1" fmla="*/ 172307 w 344613"/>
                    <a:gd name="connsiteY1" fmla="*/ 0 h 344615"/>
                    <a:gd name="connsiteX2" fmla="*/ 0 w 344613"/>
                    <a:gd name="connsiteY2" fmla="*/ 172308 h 344615"/>
                    <a:gd name="connsiteX3" fmla="*/ 172307 w 344613"/>
                    <a:gd name="connsiteY3" fmla="*/ 344615 h 344615"/>
                    <a:gd name="connsiteX4" fmla="*/ 344614 w 344613"/>
                    <a:gd name="connsiteY4" fmla="*/ 172308 h 344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4613" h="344615">
                      <a:moveTo>
                        <a:pt x="344614" y="172308"/>
                      </a:moveTo>
                      <a:cubicBezTo>
                        <a:pt x="344614" y="76923"/>
                        <a:pt x="267691" y="0"/>
                        <a:pt x="172307" y="0"/>
                      </a:cubicBezTo>
                      <a:cubicBezTo>
                        <a:pt x="76923" y="0"/>
                        <a:pt x="0" y="76923"/>
                        <a:pt x="0" y="172308"/>
                      </a:cubicBezTo>
                      <a:cubicBezTo>
                        <a:pt x="0" y="267692"/>
                        <a:pt x="76923" y="344615"/>
                        <a:pt x="172307" y="344615"/>
                      </a:cubicBezTo>
                      <a:cubicBezTo>
                        <a:pt x="267691" y="344615"/>
                        <a:pt x="344614" y="267692"/>
                        <a:pt x="344614" y="172308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3" name="任意多边形: 形状 102">
                  <a:extLst>
                    <a:ext uri="{FF2B5EF4-FFF2-40B4-BE49-F238E27FC236}">
                      <a16:creationId xmlns:a16="http://schemas.microsoft.com/office/drawing/2014/main" id="{7035502B-859E-4157-A473-D397A58D5868}"/>
                    </a:ext>
                  </a:extLst>
                </p:cNvPr>
                <p:cNvSpPr/>
                <p:nvPr/>
              </p:nvSpPr>
              <p:spPr>
                <a:xfrm>
                  <a:off x="13646770" y="2996180"/>
                  <a:ext cx="166152" cy="166154"/>
                </a:xfrm>
                <a:custGeom>
                  <a:avLst/>
                  <a:gdLst>
                    <a:gd name="connsiteX0" fmla="*/ 166153 w 166152"/>
                    <a:gd name="connsiteY0" fmla="*/ 83077 h 166154"/>
                    <a:gd name="connsiteX1" fmla="*/ 83075 w 166152"/>
                    <a:gd name="connsiteY1" fmla="*/ 0 h 166154"/>
                    <a:gd name="connsiteX2" fmla="*/ 0 w 166152"/>
                    <a:gd name="connsiteY2" fmla="*/ 83077 h 166154"/>
                    <a:gd name="connsiteX3" fmla="*/ 83075 w 166152"/>
                    <a:gd name="connsiteY3" fmla="*/ 166154 h 166154"/>
                    <a:gd name="connsiteX4" fmla="*/ 166153 w 166152"/>
                    <a:gd name="connsiteY4" fmla="*/ 83077 h 166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6152" h="166154">
                      <a:moveTo>
                        <a:pt x="166153" y="83077"/>
                      </a:moveTo>
                      <a:cubicBezTo>
                        <a:pt x="166153" y="36923"/>
                        <a:pt x="129229" y="0"/>
                        <a:pt x="83075" y="0"/>
                      </a:cubicBezTo>
                      <a:cubicBezTo>
                        <a:pt x="36922" y="0"/>
                        <a:pt x="0" y="36923"/>
                        <a:pt x="0" y="83077"/>
                      </a:cubicBezTo>
                      <a:cubicBezTo>
                        <a:pt x="0" y="129231"/>
                        <a:pt x="36922" y="166154"/>
                        <a:pt x="83075" y="166154"/>
                      </a:cubicBezTo>
                      <a:cubicBezTo>
                        <a:pt x="126153" y="166154"/>
                        <a:pt x="166153" y="129231"/>
                        <a:pt x="166153" y="83077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2492D0E9-DDCC-4E1B-A860-54F8C9C999E7}"/>
                  </a:ext>
                </a:extLst>
              </p:cNvPr>
              <p:cNvSpPr/>
              <p:nvPr/>
            </p:nvSpPr>
            <p:spPr>
              <a:xfrm>
                <a:off x="14136000" y="445411"/>
                <a:ext cx="741539" cy="741538"/>
              </a:xfrm>
              <a:custGeom>
                <a:avLst/>
                <a:gdLst>
                  <a:gd name="connsiteX0" fmla="*/ 6154 w 741539"/>
                  <a:gd name="connsiteY0" fmla="*/ 741538 h 741538"/>
                  <a:gd name="connsiteX1" fmla="*/ 6154 w 741539"/>
                  <a:gd name="connsiteY1" fmla="*/ 741538 h 741538"/>
                  <a:gd name="connsiteX2" fmla="*/ 0 w 741539"/>
                  <a:gd name="connsiteY2" fmla="*/ 735385 h 741538"/>
                  <a:gd name="connsiteX3" fmla="*/ 735385 w 741539"/>
                  <a:gd name="connsiteY3" fmla="*/ 0 h 741538"/>
                  <a:gd name="connsiteX4" fmla="*/ 741540 w 741539"/>
                  <a:gd name="connsiteY4" fmla="*/ 3077 h 741538"/>
                  <a:gd name="connsiteX5" fmla="*/ 738462 w 741539"/>
                  <a:gd name="connsiteY5" fmla="*/ 9231 h 741538"/>
                  <a:gd name="connsiteX6" fmla="*/ 240000 w 741539"/>
                  <a:gd name="connsiteY6" fmla="*/ 735385 h 741538"/>
                  <a:gd name="connsiteX7" fmla="*/ 233847 w 741539"/>
                  <a:gd name="connsiteY7" fmla="*/ 741538 h 741538"/>
                  <a:gd name="connsiteX8" fmla="*/ 227693 w 741539"/>
                  <a:gd name="connsiteY8" fmla="*/ 735385 h 741538"/>
                  <a:gd name="connsiteX9" fmla="*/ 683077 w 741539"/>
                  <a:gd name="connsiteY9" fmla="*/ 24615 h 741538"/>
                  <a:gd name="connsiteX10" fmla="*/ 9230 w 741539"/>
                  <a:gd name="connsiteY10" fmla="*/ 735385 h 741538"/>
                  <a:gd name="connsiteX11" fmla="*/ 6154 w 741539"/>
                  <a:gd name="connsiteY11" fmla="*/ 741538 h 74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41539" h="741538">
                    <a:moveTo>
                      <a:pt x="6154" y="741538"/>
                    </a:moveTo>
                    <a:cubicBezTo>
                      <a:pt x="6154" y="741538"/>
                      <a:pt x="6154" y="741538"/>
                      <a:pt x="6154" y="741538"/>
                    </a:cubicBezTo>
                    <a:cubicBezTo>
                      <a:pt x="0" y="741538"/>
                      <a:pt x="0" y="738462"/>
                      <a:pt x="0" y="735385"/>
                    </a:cubicBezTo>
                    <a:cubicBezTo>
                      <a:pt x="3078" y="729231"/>
                      <a:pt x="184615" y="141538"/>
                      <a:pt x="735385" y="0"/>
                    </a:cubicBezTo>
                    <a:cubicBezTo>
                      <a:pt x="738462" y="0"/>
                      <a:pt x="741540" y="0"/>
                      <a:pt x="741540" y="3077"/>
                    </a:cubicBezTo>
                    <a:cubicBezTo>
                      <a:pt x="741540" y="6154"/>
                      <a:pt x="741540" y="9231"/>
                      <a:pt x="738462" y="9231"/>
                    </a:cubicBezTo>
                    <a:cubicBezTo>
                      <a:pt x="310770" y="218461"/>
                      <a:pt x="240000" y="729231"/>
                      <a:pt x="240000" y="735385"/>
                    </a:cubicBezTo>
                    <a:cubicBezTo>
                      <a:pt x="240000" y="738462"/>
                      <a:pt x="236923" y="741538"/>
                      <a:pt x="233847" y="741538"/>
                    </a:cubicBezTo>
                    <a:cubicBezTo>
                      <a:pt x="230769" y="741538"/>
                      <a:pt x="227693" y="738462"/>
                      <a:pt x="227693" y="735385"/>
                    </a:cubicBezTo>
                    <a:cubicBezTo>
                      <a:pt x="227693" y="729231"/>
                      <a:pt x="295386" y="249231"/>
                      <a:pt x="683077" y="24615"/>
                    </a:cubicBezTo>
                    <a:cubicBezTo>
                      <a:pt x="178461" y="184615"/>
                      <a:pt x="9230" y="729231"/>
                      <a:pt x="9230" y="735385"/>
                    </a:cubicBezTo>
                    <a:cubicBezTo>
                      <a:pt x="12308" y="741538"/>
                      <a:pt x="9230" y="741538"/>
                      <a:pt x="6154" y="74153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36DC7465-3905-4FC7-BFF1-C5424E40FAE2}"/>
                  </a:ext>
                </a:extLst>
              </p:cNvPr>
              <p:cNvSpPr/>
              <p:nvPr/>
            </p:nvSpPr>
            <p:spPr>
              <a:xfrm>
                <a:off x="14600616" y="446180"/>
                <a:ext cx="279230" cy="740769"/>
              </a:xfrm>
              <a:custGeom>
                <a:avLst/>
                <a:gdLst>
                  <a:gd name="connsiteX0" fmla="*/ 6152 w 279230"/>
                  <a:gd name="connsiteY0" fmla="*/ 740769 h 740769"/>
                  <a:gd name="connsiteX1" fmla="*/ 6152 w 279230"/>
                  <a:gd name="connsiteY1" fmla="*/ 740769 h 740769"/>
                  <a:gd name="connsiteX2" fmla="*/ 0 w 279230"/>
                  <a:gd name="connsiteY2" fmla="*/ 734615 h 740769"/>
                  <a:gd name="connsiteX3" fmla="*/ 267691 w 279230"/>
                  <a:gd name="connsiteY3" fmla="*/ 2308 h 740769"/>
                  <a:gd name="connsiteX4" fmla="*/ 276923 w 279230"/>
                  <a:gd name="connsiteY4" fmla="*/ 2308 h 740769"/>
                  <a:gd name="connsiteX5" fmla="*/ 276923 w 279230"/>
                  <a:gd name="connsiteY5" fmla="*/ 11539 h 740769"/>
                  <a:gd name="connsiteX6" fmla="*/ 12307 w 279230"/>
                  <a:gd name="connsiteY6" fmla="*/ 737692 h 740769"/>
                  <a:gd name="connsiteX7" fmla="*/ 6152 w 279230"/>
                  <a:gd name="connsiteY7" fmla="*/ 740769 h 740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230" h="740769">
                    <a:moveTo>
                      <a:pt x="6152" y="740769"/>
                    </a:moveTo>
                    <a:lnTo>
                      <a:pt x="6152" y="740769"/>
                    </a:lnTo>
                    <a:cubicBezTo>
                      <a:pt x="3076" y="740769"/>
                      <a:pt x="0" y="737692"/>
                      <a:pt x="0" y="734615"/>
                    </a:cubicBezTo>
                    <a:cubicBezTo>
                      <a:pt x="9230" y="303846"/>
                      <a:pt x="264615" y="2308"/>
                      <a:pt x="267691" y="2308"/>
                    </a:cubicBezTo>
                    <a:cubicBezTo>
                      <a:pt x="270769" y="-769"/>
                      <a:pt x="273845" y="-769"/>
                      <a:pt x="276923" y="2308"/>
                    </a:cubicBezTo>
                    <a:cubicBezTo>
                      <a:pt x="279999" y="5385"/>
                      <a:pt x="279999" y="8462"/>
                      <a:pt x="276923" y="11539"/>
                    </a:cubicBezTo>
                    <a:cubicBezTo>
                      <a:pt x="273845" y="14615"/>
                      <a:pt x="21537" y="313077"/>
                      <a:pt x="12307" y="737692"/>
                    </a:cubicBezTo>
                    <a:cubicBezTo>
                      <a:pt x="12307" y="737692"/>
                      <a:pt x="9230" y="740769"/>
                      <a:pt x="6152" y="74076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2B023E28-10AB-4994-B4F8-9118B229E944}"/>
                  </a:ext>
                </a:extLst>
              </p:cNvPr>
              <p:cNvSpPr/>
              <p:nvPr/>
            </p:nvSpPr>
            <p:spPr>
              <a:xfrm>
                <a:off x="12960615" y="451565"/>
                <a:ext cx="2043077" cy="2612307"/>
              </a:xfrm>
              <a:custGeom>
                <a:avLst/>
                <a:gdLst>
                  <a:gd name="connsiteX0" fmla="*/ 2043078 w 2043077"/>
                  <a:gd name="connsiteY0" fmla="*/ 2612308 h 2612307"/>
                  <a:gd name="connsiteX1" fmla="*/ 1916925 w 2043077"/>
                  <a:gd name="connsiteY1" fmla="*/ 2612308 h 2612307"/>
                  <a:gd name="connsiteX2" fmla="*/ 0 w 2043077"/>
                  <a:gd name="connsiteY2" fmla="*/ 0 h 2612307"/>
                  <a:gd name="connsiteX3" fmla="*/ 126155 w 2043077"/>
                  <a:gd name="connsiteY3" fmla="*/ 0 h 261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43077" h="2612307">
                    <a:moveTo>
                      <a:pt x="2043078" y="2612308"/>
                    </a:moveTo>
                    <a:lnTo>
                      <a:pt x="1916925" y="2612308"/>
                    </a:lnTo>
                    <a:lnTo>
                      <a:pt x="0" y="0"/>
                    </a:lnTo>
                    <a:lnTo>
                      <a:pt x="126155" y="0"/>
                    </a:lnTo>
                    <a:close/>
                  </a:path>
                </a:pathLst>
              </a:custGeom>
              <a:solidFill>
                <a:srgbClr val="F6EBE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98" name="图形 1">
                <a:extLst>
                  <a:ext uri="{FF2B5EF4-FFF2-40B4-BE49-F238E27FC236}">
                    <a16:creationId xmlns:a16="http://schemas.microsoft.com/office/drawing/2014/main" id="{4314EE7F-7337-44EC-ADB4-E1F0ACB08E7F}"/>
                  </a:ext>
                </a:extLst>
              </p:cNvPr>
              <p:cNvGrpSpPr/>
              <p:nvPr/>
            </p:nvGrpSpPr>
            <p:grpSpPr>
              <a:xfrm>
                <a:off x="14739078" y="2906949"/>
                <a:ext cx="344613" cy="344615"/>
                <a:chOff x="14739078" y="2906949"/>
                <a:chExt cx="344613" cy="344615"/>
              </a:xfrm>
            </p:grpSpPr>
            <p:sp>
              <p:nvSpPr>
                <p:cNvPr id="100" name="任意多边形: 形状 99">
                  <a:extLst>
                    <a:ext uri="{FF2B5EF4-FFF2-40B4-BE49-F238E27FC236}">
                      <a16:creationId xmlns:a16="http://schemas.microsoft.com/office/drawing/2014/main" id="{7146A931-DD36-41CF-A357-7E84A7685363}"/>
                    </a:ext>
                  </a:extLst>
                </p:cNvPr>
                <p:cNvSpPr/>
                <p:nvPr/>
              </p:nvSpPr>
              <p:spPr>
                <a:xfrm>
                  <a:off x="14739078" y="2906949"/>
                  <a:ext cx="344613" cy="344615"/>
                </a:xfrm>
                <a:custGeom>
                  <a:avLst/>
                  <a:gdLst>
                    <a:gd name="connsiteX0" fmla="*/ 344614 w 344613"/>
                    <a:gd name="connsiteY0" fmla="*/ 172308 h 344615"/>
                    <a:gd name="connsiteX1" fmla="*/ 172307 w 344613"/>
                    <a:gd name="connsiteY1" fmla="*/ 0 h 344615"/>
                    <a:gd name="connsiteX2" fmla="*/ 0 w 344613"/>
                    <a:gd name="connsiteY2" fmla="*/ 172308 h 344615"/>
                    <a:gd name="connsiteX3" fmla="*/ 172307 w 344613"/>
                    <a:gd name="connsiteY3" fmla="*/ 344615 h 344615"/>
                    <a:gd name="connsiteX4" fmla="*/ 344614 w 344613"/>
                    <a:gd name="connsiteY4" fmla="*/ 172308 h 344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4613" h="344615">
                      <a:moveTo>
                        <a:pt x="344614" y="172308"/>
                      </a:moveTo>
                      <a:cubicBezTo>
                        <a:pt x="344614" y="76923"/>
                        <a:pt x="267691" y="0"/>
                        <a:pt x="172307" y="0"/>
                      </a:cubicBezTo>
                      <a:cubicBezTo>
                        <a:pt x="76923" y="0"/>
                        <a:pt x="0" y="76923"/>
                        <a:pt x="0" y="172308"/>
                      </a:cubicBezTo>
                      <a:cubicBezTo>
                        <a:pt x="0" y="267692"/>
                        <a:pt x="76923" y="344615"/>
                        <a:pt x="172307" y="344615"/>
                      </a:cubicBezTo>
                      <a:cubicBezTo>
                        <a:pt x="267691" y="344615"/>
                        <a:pt x="344614" y="267692"/>
                        <a:pt x="344614" y="172308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1" name="任意多边形: 形状 100">
                  <a:extLst>
                    <a:ext uri="{FF2B5EF4-FFF2-40B4-BE49-F238E27FC236}">
                      <a16:creationId xmlns:a16="http://schemas.microsoft.com/office/drawing/2014/main" id="{97E026F4-A335-409D-81FE-EDF2F457983C}"/>
                    </a:ext>
                  </a:extLst>
                </p:cNvPr>
                <p:cNvSpPr/>
                <p:nvPr/>
              </p:nvSpPr>
              <p:spPr>
                <a:xfrm>
                  <a:off x="14828307" y="2996180"/>
                  <a:ext cx="166154" cy="166154"/>
                </a:xfrm>
                <a:custGeom>
                  <a:avLst/>
                  <a:gdLst>
                    <a:gd name="connsiteX0" fmla="*/ 166155 w 166154"/>
                    <a:gd name="connsiteY0" fmla="*/ 83077 h 166154"/>
                    <a:gd name="connsiteX1" fmla="*/ 83077 w 166154"/>
                    <a:gd name="connsiteY1" fmla="*/ 0 h 166154"/>
                    <a:gd name="connsiteX2" fmla="*/ 0 w 166154"/>
                    <a:gd name="connsiteY2" fmla="*/ 83077 h 166154"/>
                    <a:gd name="connsiteX3" fmla="*/ 83077 w 166154"/>
                    <a:gd name="connsiteY3" fmla="*/ 166154 h 166154"/>
                    <a:gd name="connsiteX4" fmla="*/ 166155 w 166154"/>
                    <a:gd name="connsiteY4" fmla="*/ 83077 h 166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6154" h="166154">
                      <a:moveTo>
                        <a:pt x="166155" y="83077"/>
                      </a:moveTo>
                      <a:cubicBezTo>
                        <a:pt x="166155" y="36923"/>
                        <a:pt x="129231" y="0"/>
                        <a:pt x="83077" y="0"/>
                      </a:cubicBezTo>
                      <a:cubicBezTo>
                        <a:pt x="36923" y="0"/>
                        <a:pt x="0" y="36923"/>
                        <a:pt x="0" y="83077"/>
                      </a:cubicBezTo>
                      <a:cubicBezTo>
                        <a:pt x="0" y="129231"/>
                        <a:pt x="36923" y="166154"/>
                        <a:pt x="83077" y="166154"/>
                      </a:cubicBezTo>
                      <a:cubicBezTo>
                        <a:pt x="129231" y="166154"/>
                        <a:pt x="166155" y="129231"/>
                        <a:pt x="166155" y="83077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AF23A47E-BC50-4FFA-B951-3867454E58AF}"/>
                  </a:ext>
                </a:extLst>
              </p:cNvPr>
              <p:cNvSpPr/>
              <p:nvPr/>
            </p:nvSpPr>
            <p:spPr>
              <a:xfrm>
                <a:off x="12877539" y="325411"/>
                <a:ext cx="1027691" cy="166153"/>
              </a:xfrm>
              <a:custGeom>
                <a:avLst/>
                <a:gdLst>
                  <a:gd name="connsiteX0" fmla="*/ 944614 w 1027691"/>
                  <a:gd name="connsiteY0" fmla="*/ 166154 h 166153"/>
                  <a:gd name="connsiteX1" fmla="*/ 83075 w 1027691"/>
                  <a:gd name="connsiteY1" fmla="*/ 166154 h 166153"/>
                  <a:gd name="connsiteX2" fmla="*/ 0 w 1027691"/>
                  <a:gd name="connsiteY2" fmla="*/ 83077 h 166153"/>
                  <a:gd name="connsiteX3" fmla="*/ 0 w 1027691"/>
                  <a:gd name="connsiteY3" fmla="*/ 83077 h 166153"/>
                  <a:gd name="connsiteX4" fmla="*/ 83075 w 1027691"/>
                  <a:gd name="connsiteY4" fmla="*/ 0 h 166153"/>
                  <a:gd name="connsiteX5" fmla="*/ 944614 w 1027691"/>
                  <a:gd name="connsiteY5" fmla="*/ 0 h 166153"/>
                  <a:gd name="connsiteX6" fmla="*/ 1027691 w 1027691"/>
                  <a:gd name="connsiteY6" fmla="*/ 83077 h 166153"/>
                  <a:gd name="connsiteX7" fmla="*/ 1027691 w 1027691"/>
                  <a:gd name="connsiteY7" fmla="*/ 83077 h 166153"/>
                  <a:gd name="connsiteX8" fmla="*/ 944614 w 1027691"/>
                  <a:gd name="connsiteY8" fmla="*/ 166154 h 16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27691" h="166153">
                    <a:moveTo>
                      <a:pt x="944614" y="166154"/>
                    </a:moveTo>
                    <a:lnTo>
                      <a:pt x="83075" y="166154"/>
                    </a:lnTo>
                    <a:cubicBezTo>
                      <a:pt x="36922" y="166154"/>
                      <a:pt x="0" y="129231"/>
                      <a:pt x="0" y="83077"/>
                    </a:cubicBezTo>
                    <a:lnTo>
                      <a:pt x="0" y="83077"/>
                    </a:lnTo>
                    <a:cubicBezTo>
                      <a:pt x="0" y="36923"/>
                      <a:pt x="36922" y="0"/>
                      <a:pt x="83075" y="0"/>
                    </a:cubicBezTo>
                    <a:lnTo>
                      <a:pt x="944614" y="0"/>
                    </a:lnTo>
                    <a:cubicBezTo>
                      <a:pt x="990768" y="0"/>
                      <a:pt x="1027691" y="36923"/>
                      <a:pt x="1027691" y="83077"/>
                    </a:cubicBezTo>
                    <a:lnTo>
                      <a:pt x="1027691" y="83077"/>
                    </a:lnTo>
                    <a:cubicBezTo>
                      <a:pt x="1027691" y="129231"/>
                      <a:pt x="990768" y="166154"/>
                      <a:pt x="944614" y="166154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2" name="图形 1">
              <a:extLst>
                <a:ext uri="{FF2B5EF4-FFF2-40B4-BE49-F238E27FC236}">
                  <a16:creationId xmlns:a16="http://schemas.microsoft.com/office/drawing/2014/main" id="{F62CD489-6A11-4EFD-8C40-AC6C5F9E98A4}"/>
                </a:ext>
              </a:extLst>
            </p:cNvPr>
            <p:cNvGrpSpPr/>
            <p:nvPr/>
          </p:nvGrpSpPr>
          <p:grpSpPr>
            <a:xfrm>
              <a:off x="13025231" y="273079"/>
              <a:ext cx="246153" cy="178485"/>
              <a:chOff x="13025231" y="273079"/>
              <a:chExt cx="246153" cy="178485"/>
            </a:xfrm>
          </p:grpSpPr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B67BFE8C-BCDF-4523-8688-98C783CC41ED}"/>
                  </a:ext>
                </a:extLst>
              </p:cNvPr>
              <p:cNvSpPr/>
              <p:nvPr/>
            </p:nvSpPr>
            <p:spPr>
              <a:xfrm>
                <a:off x="13025231" y="282914"/>
                <a:ext cx="234187" cy="159894"/>
              </a:xfrm>
              <a:custGeom>
                <a:avLst/>
                <a:gdLst>
                  <a:gd name="connsiteX0" fmla="*/ 147692 w 234187"/>
                  <a:gd name="connsiteY0" fmla="*/ 5574 h 159894"/>
                  <a:gd name="connsiteX1" fmla="*/ 98462 w 234187"/>
                  <a:gd name="connsiteY1" fmla="*/ 8650 h 159894"/>
                  <a:gd name="connsiteX2" fmla="*/ 55384 w 234187"/>
                  <a:gd name="connsiteY2" fmla="*/ 11727 h 159894"/>
                  <a:gd name="connsiteX3" fmla="*/ 0 w 234187"/>
                  <a:gd name="connsiteY3" fmla="*/ 30189 h 159894"/>
                  <a:gd name="connsiteX4" fmla="*/ 6154 w 234187"/>
                  <a:gd name="connsiteY4" fmla="*/ 45573 h 159894"/>
                  <a:gd name="connsiteX5" fmla="*/ 46154 w 234187"/>
                  <a:gd name="connsiteY5" fmla="*/ 94804 h 159894"/>
                  <a:gd name="connsiteX6" fmla="*/ 64615 w 234187"/>
                  <a:gd name="connsiteY6" fmla="*/ 137881 h 159894"/>
                  <a:gd name="connsiteX7" fmla="*/ 67693 w 234187"/>
                  <a:gd name="connsiteY7" fmla="*/ 140958 h 159894"/>
                  <a:gd name="connsiteX8" fmla="*/ 92308 w 234187"/>
                  <a:gd name="connsiteY8" fmla="*/ 153266 h 159894"/>
                  <a:gd name="connsiteX9" fmla="*/ 107692 w 234187"/>
                  <a:gd name="connsiteY9" fmla="*/ 134804 h 159894"/>
                  <a:gd name="connsiteX10" fmla="*/ 144616 w 234187"/>
                  <a:gd name="connsiteY10" fmla="*/ 159420 h 159894"/>
                  <a:gd name="connsiteX11" fmla="*/ 160000 w 234187"/>
                  <a:gd name="connsiteY11" fmla="*/ 140958 h 159894"/>
                  <a:gd name="connsiteX12" fmla="*/ 200000 w 234187"/>
                  <a:gd name="connsiteY12" fmla="*/ 153266 h 159894"/>
                  <a:gd name="connsiteX13" fmla="*/ 209230 w 234187"/>
                  <a:gd name="connsiteY13" fmla="*/ 134804 h 159894"/>
                  <a:gd name="connsiteX14" fmla="*/ 233845 w 234187"/>
                  <a:gd name="connsiteY14" fmla="*/ 116343 h 159894"/>
                  <a:gd name="connsiteX15" fmla="*/ 147692 w 234187"/>
                  <a:gd name="connsiteY15" fmla="*/ 5574 h 159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34187" h="159894">
                    <a:moveTo>
                      <a:pt x="147692" y="5574"/>
                    </a:moveTo>
                    <a:cubicBezTo>
                      <a:pt x="138462" y="-3657"/>
                      <a:pt x="113847" y="-580"/>
                      <a:pt x="98462" y="8650"/>
                    </a:cubicBezTo>
                    <a:cubicBezTo>
                      <a:pt x="79999" y="2497"/>
                      <a:pt x="70769" y="2497"/>
                      <a:pt x="55384" y="11727"/>
                    </a:cubicBezTo>
                    <a:cubicBezTo>
                      <a:pt x="33845" y="-580"/>
                      <a:pt x="6154" y="-3657"/>
                      <a:pt x="0" y="30189"/>
                    </a:cubicBezTo>
                    <a:cubicBezTo>
                      <a:pt x="0" y="36343"/>
                      <a:pt x="0" y="42497"/>
                      <a:pt x="6154" y="45573"/>
                    </a:cubicBezTo>
                    <a:cubicBezTo>
                      <a:pt x="15385" y="64035"/>
                      <a:pt x="33845" y="79420"/>
                      <a:pt x="46154" y="94804"/>
                    </a:cubicBezTo>
                    <a:cubicBezTo>
                      <a:pt x="55384" y="110189"/>
                      <a:pt x="58460" y="122496"/>
                      <a:pt x="64615" y="137881"/>
                    </a:cubicBezTo>
                    <a:cubicBezTo>
                      <a:pt x="64615" y="137881"/>
                      <a:pt x="64615" y="140958"/>
                      <a:pt x="67693" y="140958"/>
                    </a:cubicBezTo>
                    <a:cubicBezTo>
                      <a:pt x="70769" y="153266"/>
                      <a:pt x="83077" y="156343"/>
                      <a:pt x="92308" y="153266"/>
                    </a:cubicBezTo>
                    <a:cubicBezTo>
                      <a:pt x="101538" y="150189"/>
                      <a:pt x="107692" y="144035"/>
                      <a:pt x="107692" y="134804"/>
                    </a:cubicBezTo>
                    <a:cubicBezTo>
                      <a:pt x="116923" y="150189"/>
                      <a:pt x="126153" y="162497"/>
                      <a:pt x="144616" y="159420"/>
                    </a:cubicBezTo>
                    <a:cubicBezTo>
                      <a:pt x="156922" y="156343"/>
                      <a:pt x="156922" y="153266"/>
                      <a:pt x="160000" y="140958"/>
                    </a:cubicBezTo>
                    <a:cubicBezTo>
                      <a:pt x="160000" y="144035"/>
                      <a:pt x="181537" y="159420"/>
                      <a:pt x="200000" y="153266"/>
                    </a:cubicBezTo>
                    <a:cubicBezTo>
                      <a:pt x="206154" y="150189"/>
                      <a:pt x="209230" y="140958"/>
                      <a:pt x="209230" y="134804"/>
                    </a:cubicBezTo>
                    <a:cubicBezTo>
                      <a:pt x="218461" y="147112"/>
                      <a:pt x="236923" y="134804"/>
                      <a:pt x="233845" y="116343"/>
                    </a:cubicBezTo>
                    <a:cubicBezTo>
                      <a:pt x="224615" y="82497"/>
                      <a:pt x="193846" y="-3657"/>
                      <a:pt x="147692" y="557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7AB6328D-2715-4297-AAB4-68A7C3C0CB90}"/>
                  </a:ext>
                </a:extLst>
              </p:cNvPr>
              <p:cNvSpPr/>
              <p:nvPr/>
            </p:nvSpPr>
            <p:spPr>
              <a:xfrm>
                <a:off x="13161982" y="273079"/>
                <a:ext cx="109402" cy="73342"/>
              </a:xfrm>
              <a:custGeom>
                <a:avLst/>
                <a:gdLst>
                  <a:gd name="connsiteX0" fmla="*/ 75555 w 109402"/>
                  <a:gd name="connsiteY0" fmla="*/ 3101 h 73342"/>
                  <a:gd name="connsiteX1" fmla="*/ 50940 w 109402"/>
                  <a:gd name="connsiteY1" fmla="*/ 18485 h 73342"/>
                  <a:gd name="connsiteX2" fmla="*/ 10941 w 109402"/>
                  <a:gd name="connsiteY2" fmla="*/ 30793 h 73342"/>
                  <a:gd name="connsiteX3" fmla="*/ 1710 w 109402"/>
                  <a:gd name="connsiteY3" fmla="*/ 55408 h 73342"/>
                  <a:gd name="connsiteX4" fmla="*/ 10941 w 109402"/>
                  <a:gd name="connsiteY4" fmla="*/ 70793 h 73342"/>
                  <a:gd name="connsiteX5" fmla="*/ 72479 w 109402"/>
                  <a:gd name="connsiteY5" fmla="*/ 64639 h 73342"/>
                  <a:gd name="connsiteX6" fmla="*/ 109402 w 109402"/>
                  <a:gd name="connsiteY6" fmla="*/ 27716 h 73342"/>
                  <a:gd name="connsiteX7" fmla="*/ 75555 w 109402"/>
                  <a:gd name="connsiteY7" fmla="*/ 3101 h 73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9402" h="73342">
                    <a:moveTo>
                      <a:pt x="75555" y="3101"/>
                    </a:moveTo>
                    <a:cubicBezTo>
                      <a:pt x="66325" y="9255"/>
                      <a:pt x="60171" y="15409"/>
                      <a:pt x="50940" y="18485"/>
                    </a:cubicBezTo>
                    <a:cubicBezTo>
                      <a:pt x="38634" y="21562"/>
                      <a:pt x="23249" y="24639"/>
                      <a:pt x="10941" y="30793"/>
                    </a:cubicBezTo>
                    <a:cubicBezTo>
                      <a:pt x="-1368" y="33870"/>
                      <a:pt x="-1368" y="46178"/>
                      <a:pt x="1710" y="55408"/>
                    </a:cubicBezTo>
                    <a:cubicBezTo>
                      <a:pt x="1710" y="61562"/>
                      <a:pt x="4786" y="67716"/>
                      <a:pt x="10941" y="70793"/>
                    </a:cubicBezTo>
                    <a:cubicBezTo>
                      <a:pt x="29401" y="76947"/>
                      <a:pt x="54018" y="70793"/>
                      <a:pt x="72479" y="64639"/>
                    </a:cubicBezTo>
                    <a:cubicBezTo>
                      <a:pt x="90940" y="58486"/>
                      <a:pt x="106324" y="49255"/>
                      <a:pt x="109402" y="27716"/>
                    </a:cubicBezTo>
                    <a:cubicBezTo>
                      <a:pt x="109402" y="6178"/>
                      <a:pt x="90940" y="-6130"/>
                      <a:pt x="75555" y="310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BB21EF1A-02DC-4563-A699-3CFA84B920CA}"/>
                  </a:ext>
                </a:extLst>
              </p:cNvPr>
              <p:cNvSpPr/>
              <p:nvPr/>
            </p:nvSpPr>
            <p:spPr>
              <a:xfrm>
                <a:off x="13127538" y="298488"/>
                <a:ext cx="119231" cy="146923"/>
              </a:xfrm>
              <a:custGeom>
                <a:avLst/>
                <a:gdLst>
                  <a:gd name="connsiteX0" fmla="*/ 88462 w 119231"/>
                  <a:gd name="connsiteY0" fmla="*/ 146923 h 146923"/>
                  <a:gd name="connsiteX1" fmla="*/ 51539 w 119231"/>
                  <a:gd name="connsiteY1" fmla="*/ 131538 h 146923"/>
                  <a:gd name="connsiteX2" fmla="*/ 48461 w 119231"/>
                  <a:gd name="connsiteY2" fmla="*/ 128462 h 146923"/>
                  <a:gd name="connsiteX3" fmla="*/ 2307 w 119231"/>
                  <a:gd name="connsiteY3" fmla="*/ 11538 h 146923"/>
                  <a:gd name="connsiteX4" fmla="*/ 2307 w 119231"/>
                  <a:gd name="connsiteY4" fmla="*/ 2308 h 146923"/>
                  <a:gd name="connsiteX5" fmla="*/ 11539 w 119231"/>
                  <a:gd name="connsiteY5" fmla="*/ 2308 h 146923"/>
                  <a:gd name="connsiteX6" fmla="*/ 63846 w 119231"/>
                  <a:gd name="connsiteY6" fmla="*/ 125385 h 146923"/>
                  <a:gd name="connsiteX7" fmla="*/ 91539 w 119231"/>
                  <a:gd name="connsiteY7" fmla="*/ 137692 h 146923"/>
                  <a:gd name="connsiteX8" fmla="*/ 91539 w 119231"/>
                  <a:gd name="connsiteY8" fmla="*/ 137692 h 146923"/>
                  <a:gd name="connsiteX9" fmla="*/ 103847 w 119231"/>
                  <a:gd name="connsiteY9" fmla="*/ 122308 h 146923"/>
                  <a:gd name="connsiteX10" fmla="*/ 57693 w 119231"/>
                  <a:gd name="connsiteY10" fmla="*/ 14615 h 146923"/>
                  <a:gd name="connsiteX11" fmla="*/ 60769 w 119231"/>
                  <a:gd name="connsiteY11" fmla="*/ 5385 h 146923"/>
                  <a:gd name="connsiteX12" fmla="*/ 70000 w 119231"/>
                  <a:gd name="connsiteY12" fmla="*/ 8462 h 146923"/>
                  <a:gd name="connsiteX13" fmla="*/ 119232 w 119231"/>
                  <a:gd name="connsiteY13" fmla="*/ 122308 h 146923"/>
                  <a:gd name="connsiteX14" fmla="*/ 119232 w 119231"/>
                  <a:gd name="connsiteY14" fmla="*/ 125385 h 146923"/>
                  <a:gd name="connsiteX15" fmla="*/ 88462 w 119231"/>
                  <a:gd name="connsiteY15" fmla="*/ 146923 h 146923"/>
                  <a:gd name="connsiteX16" fmla="*/ 88462 w 119231"/>
                  <a:gd name="connsiteY16" fmla="*/ 146923 h 14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9231" h="146923">
                    <a:moveTo>
                      <a:pt x="88462" y="146923"/>
                    </a:moveTo>
                    <a:cubicBezTo>
                      <a:pt x="73078" y="146923"/>
                      <a:pt x="54615" y="131538"/>
                      <a:pt x="51539" y="131538"/>
                    </a:cubicBezTo>
                    <a:cubicBezTo>
                      <a:pt x="51539" y="131538"/>
                      <a:pt x="48461" y="128462"/>
                      <a:pt x="48461" y="128462"/>
                    </a:cubicBezTo>
                    <a:cubicBezTo>
                      <a:pt x="48461" y="128462"/>
                      <a:pt x="39231" y="45385"/>
                      <a:pt x="2307" y="11538"/>
                    </a:cubicBezTo>
                    <a:cubicBezTo>
                      <a:pt x="-769" y="8462"/>
                      <a:pt x="-769" y="5385"/>
                      <a:pt x="2307" y="2308"/>
                    </a:cubicBezTo>
                    <a:cubicBezTo>
                      <a:pt x="5385" y="-769"/>
                      <a:pt x="8461" y="-769"/>
                      <a:pt x="11539" y="2308"/>
                    </a:cubicBezTo>
                    <a:cubicBezTo>
                      <a:pt x="48461" y="36154"/>
                      <a:pt x="60769" y="110000"/>
                      <a:pt x="63846" y="125385"/>
                    </a:cubicBezTo>
                    <a:cubicBezTo>
                      <a:pt x="70000" y="128462"/>
                      <a:pt x="82308" y="137692"/>
                      <a:pt x="91539" y="137692"/>
                    </a:cubicBezTo>
                    <a:cubicBezTo>
                      <a:pt x="91539" y="137692"/>
                      <a:pt x="91539" y="137692"/>
                      <a:pt x="91539" y="137692"/>
                    </a:cubicBezTo>
                    <a:cubicBezTo>
                      <a:pt x="100769" y="137692"/>
                      <a:pt x="103847" y="125385"/>
                      <a:pt x="103847" y="122308"/>
                    </a:cubicBezTo>
                    <a:cubicBezTo>
                      <a:pt x="94615" y="70000"/>
                      <a:pt x="57693" y="14615"/>
                      <a:pt x="57693" y="14615"/>
                    </a:cubicBezTo>
                    <a:cubicBezTo>
                      <a:pt x="54615" y="11538"/>
                      <a:pt x="57693" y="8462"/>
                      <a:pt x="60769" y="5385"/>
                    </a:cubicBezTo>
                    <a:cubicBezTo>
                      <a:pt x="63846" y="2308"/>
                      <a:pt x="66924" y="5385"/>
                      <a:pt x="70000" y="8462"/>
                    </a:cubicBezTo>
                    <a:cubicBezTo>
                      <a:pt x="73078" y="11538"/>
                      <a:pt x="106923" y="66923"/>
                      <a:pt x="119232" y="122308"/>
                    </a:cubicBezTo>
                    <a:cubicBezTo>
                      <a:pt x="119232" y="122308"/>
                      <a:pt x="119232" y="122308"/>
                      <a:pt x="119232" y="125385"/>
                    </a:cubicBezTo>
                    <a:cubicBezTo>
                      <a:pt x="109999" y="128462"/>
                      <a:pt x="103847" y="143846"/>
                      <a:pt x="88462" y="146923"/>
                    </a:cubicBezTo>
                    <a:cubicBezTo>
                      <a:pt x="88462" y="146923"/>
                      <a:pt x="88462" y="146923"/>
                      <a:pt x="88462" y="14692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1762EDAB-783D-477A-A17F-DFD637ED694A}"/>
                  </a:ext>
                </a:extLst>
              </p:cNvPr>
              <p:cNvSpPr/>
              <p:nvPr/>
            </p:nvSpPr>
            <p:spPr>
              <a:xfrm>
                <a:off x="13079248" y="293274"/>
                <a:ext cx="113503" cy="158290"/>
              </a:xfrm>
              <a:custGeom>
                <a:avLst/>
                <a:gdLst>
                  <a:gd name="connsiteX0" fmla="*/ 84445 w 113503"/>
                  <a:gd name="connsiteY0" fmla="*/ 158291 h 158290"/>
                  <a:gd name="connsiteX1" fmla="*/ 47521 w 113503"/>
                  <a:gd name="connsiteY1" fmla="*/ 130598 h 158290"/>
                  <a:gd name="connsiteX2" fmla="*/ 47521 w 113503"/>
                  <a:gd name="connsiteY2" fmla="*/ 127521 h 158290"/>
                  <a:gd name="connsiteX3" fmla="*/ 1367 w 113503"/>
                  <a:gd name="connsiteY3" fmla="*/ 10598 h 158290"/>
                  <a:gd name="connsiteX4" fmla="*/ 1367 w 113503"/>
                  <a:gd name="connsiteY4" fmla="*/ 1368 h 158290"/>
                  <a:gd name="connsiteX5" fmla="*/ 10598 w 113503"/>
                  <a:gd name="connsiteY5" fmla="*/ 1368 h 158290"/>
                  <a:gd name="connsiteX6" fmla="*/ 59829 w 113503"/>
                  <a:gd name="connsiteY6" fmla="*/ 124444 h 158290"/>
                  <a:gd name="connsiteX7" fmla="*/ 90599 w 113503"/>
                  <a:gd name="connsiteY7" fmla="*/ 145983 h 158290"/>
                  <a:gd name="connsiteX8" fmla="*/ 102905 w 113503"/>
                  <a:gd name="connsiteY8" fmla="*/ 139829 h 158290"/>
                  <a:gd name="connsiteX9" fmla="*/ 102905 w 113503"/>
                  <a:gd name="connsiteY9" fmla="*/ 133675 h 158290"/>
                  <a:gd name="connsiteX10" fmla="*/ 105983 w 113503"/>
                  <a:gd name="connsiteY10" fmla="*/ 127521 h 158290"/>
                  <a:gd name="connsiteX11" fmla="*/ 112136 w 113503"/>
                  <a:gd name="connsiteY11" fmla="*/ 130598 h 158290"/>
                  <a:gd name="connsiteX12" fmla="*/ 112136 w 113503"/>
                  <a:gd name="connsiteY12" fmla="*/ 145983 h 158290"/>
                  <a:gd name="connsiteX13" fmla="*/ 93675 w 113503"/>
                  <a:gd name="connsiteY13" fmla="*/ 158291 h 158290"/>
                  <a:gd name="connsiteX14" fmla="*/ 84445 w 113503"/>
                  <a:gd name="connsiteY14" fmla="*/ 158291 h 158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3503" h="158290">
                    <a:moveTo>
                      <a:pt x="84445" y="158291"/>
                    </a:moveTo>
                    <a:cubicBezTo>
                      <a:pt x="62906" y="158291"/>
                      <a:pt x="47521" y="130598"/>
                      <a:pt x="47521" y="130598"/>
                    </a:cubicBezTo>
                    <a:cubicBezTo>
                      <a:pt x="47521" y="130598"/>
                      <a:pt x="47521" y="127521"/>
                      <a:pt x="47521" y="127521"/>
                    </a:cubicBezTo>
                    <a:cubicBezTo>
                      <a:pt x="50597" y="75214"/>
                      <a:pt x="1367" y="10598"/>
                      <a:pt x="1367" y="10598"/>
                    </a:cubicBezTo>
                    <a:cubicBezTo>
                      <a:pt x="-1709" y="7521"/>
                      <a:pt x="1367" y="4444"/>
                      <a:pt x="1367" y="1368"/>
                    </a:cubicBezTo>
                    <a:cubicBezTo>
                      <a:pt x="4443" y="-1709"/>
                      <a:pt x="7521" y="1368"/>
                      <a:pt x="10598" y="1368"/>
                    </a:cubicBezTo>
                    <a:cubicBezTo>
                      <a:pt x="13676" y="4444"/>
                      <a:pt x="59829" y="69060"/>
                      <a:pt x="59829" y="124444"/>
                    </a:cubicBezTo>
                    <a:cubicBezTo>
                      <a:pt x="62906" y="130598"/>
                      <a:pt x="75214" y="149060"/>
                      <a:pt x="90599" y="145983"/>
                    </a:cubicBezTo>
                    <a:cubicBezTo>
                      <a:pt x="96751" y="145983"/>
                      <a:pt x="99829" y="142906"/>
                      <a:pt x="102905" y="139829"/>
                    </a:cubicBezTo>
                    <a:cubicBezTo>
                      <a:pt x="102905" y="136752"/>
                      <a:pt x="102905" y="133675"/>
                      <a:pt x="102905" y="133675"/>
                    </a:cubicBezTo>
                    <a:cubicBezTo>
                      <a:pt x="102905" y="130598"/>
                      <a:pt x="102905" y="127521"/>
                      <a:pt x="105983" y="127521"/>
                    </a:cubicBezTo>
                    <a:cubicBezTo>
                      <a:pt x="109060" y="127521"/>
                      <a:pt x="112136" y="127521"/>
                      <a:pt x="112136" y="130598"/>
                    </a:cubicBezTo>
                    <a:cubicBezTo>
                      <a:pt x="112136" y="130598"/>
                      <a:pt x="115214" y="136752"/>
                      <a:pt x="112136" y="145983"/>
                    </a:cubicBezTo>
                    <a:cubicBezTo>
                      <a:pt x="109060" y="152137"/>
                      <a:pt x="102905" y="155214"/>
                      <a:pt x="93675" y="158291"/>
                    </a:cubicBezTo>
                    <a:cubicBezTo>
                      <a:pt x="87521" y="158291"/>
                      <a:pt x="84445" y="158291"/>
                      <a:pt x="84445" y="15829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2A1894B9-C9D7-48D7-B4EE-91359416E929}"/>
                  </a:ext>
                </a:extLst>
              </p:cNvPr>
              <p:cNvSpPr/>
              <p:nvPr/>
            </p:nvSpPr>
            <p:spPr>
              <a:xfrm>
                <a:off x="13032154" y="335411"/>
                <a:ext cx="104614" cy="109999"/>
              </a:xfrm>
              <a:custGeom>
                <a:avLst/>
                <a:gdLst>
                  <a:gd name="connsiteX0" fmla="*/ 76154 w 104614"/>
                  <a:gd name="connsiteY0" fmla="*/ 110000 h 109999"/>
                  <a:gd name="connsiteX1" fmla="*/ 76154 w 104614"/>
                  <a:gd name="connsiteY1" fmla="*/ 110000 h 109999"/>
                  <a:gd name="connsiteX2" fmla="*/ 51537 w 104614"/>
                  <a:gd name="connsiteY2" fmla="*/ 82308 h 109999"/>
                  <a:gd name="connsiteX3" fmla="*/ 33076 w 104614"/>
                  <a:gd name="connsiteY3" fmla="*/ 48462 h 109999"/>
                  <a:gd name="connsiteX4" fmla="*/ 2307 w 104614"/>
                  <a:gd name="connsiteY4" fmla="*/ 11539 h 109999"/>
                  <a:gd name="connsiteX5" fmla="*/ 2307 w 104614"/>
                  <a:gd name="connsiteY5" fmla="*/ 2308 h 109999"/>
                  <a:gd name="connsiteX6" fmla="*/ 11538 w 104614"/>
                  <a:gd name="connsiteY6" fmla="*/ 2308 h 109999"/>
                  <a:gd name="connsiteX7" fmla="*/ 42307 w 104614"/>
                  <a:gd name="connsiteY7" fmla="*/ 39231 h 109999"/>
                  <a:gd name="connsiteX8" fmla="*/ 60769 w 104614"/>
                  <a:gd name="connsiteY8" fmla="*/ 73077 h 109999"/>
                  <a:gd name="connsiteX9" fmla="*/ 73076 w 104614"/>
                  <a:gd name="connsiteY9" fmla="*/ 94615 h 109999"/>
                  <a:gd name="connsiteX10" fmla="*/ 91539 w 104614"/>
                  <a:gd name="connsiteY10" fmla="*/ 79231 h 109999"/>
                  <a:gd name="connsiteX11" fmla="*/ 94615 w 104614"/>
                  <a:gd name="connsiteY11" fmla="*/ 76154 h 109999"/>
                  <a:gd name="connsiteX12" fmla="*/ 103845 w 104614"/>
                  <a:gd name="connsiteY12" fmla="*/ 79231 h 109999"/>
                  <a:gd name="connsiteX13" fmla="*/ 100769 w 104614"/>
                  <a:gd name="connsiteY13" fmla="*/ 91538 h 109999"/>
                  <a:gd name="connsiteX14" fmla="*/ 76154 w 104614"/>
                  <a:gd name="connsiteY14" fmla="*/ 110000 h 109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4614" h="109999">
                    <a:moveTo>
                      <a:pt x="76154" y="110000"/>
                    </a:moveTo>
                    <a:cubicBezTo>
                      <a:pt x="76154" y="110000"/>
                      <a:pt x="76154" y="110000"/>
                      <a:pt x="76154" y="110000"/>
                    </a:cubicBezTo>
                    <a:cubicBezTo>
                      <a:pt x="63846" y="110000"/>
                      <a:pt x="57691" y="97692"/>
                      <a:pt x="51537" y="82308"/>
                    </a:cubicBezTo>
                    <a:cubicBezTo>
                      <a:pt x="48461" y="73077"/>
                      <a:pt x="42307" y="60769"/>
                      <a:pt x="33076" y="48462"/>
                    </a:cubicBezTo>
                    <a:cubicBezTo>
                      <a:pt x="14616" y="26923"/>
                      <a:pt x="2307" y="11539"/>
                      <a:pt x="2307" y="11539"/>
                    </a:cubicBezTo>
                    <a:cubicBezTo>
                      <a:pt x="-769" y="8461"/>
                      <a:pt x="-769" y="5385"/>
                      <a:pt x="2307" y="2308"/>
                    </a:cubicBezTo>
                    <a:cubicBezTo>
                      <a:pt x="5383" y="-769"/>
                      <a:pt x="8461" y="-769"/>
                      <a:pt x="11538" y="2308"/>
                    </a:cubicBezTo>
                    <a:cubicBezTo>
                      <a:pt x="11538" y="2308"/>
                      <a:pt x="23846" y="17692"/>
                      <a:pt x="42307" y="39231"/>
                    </a:cubicBezTo>
                    <a:cubicBezTo>
                      <a:pt x="51537" y="48462"/>
                      <a:pt x="57691" y="63846"/>
                      <a:pt x="60769" y="73077"/>
                    </a:cubicBezTo>
                    <a:cubicBezTo>
                      <a:pt x="63846" y="82308"/>
                      <a:pt x="70000" y="94615"/>
                      <a:pt x="73076" y="94615"/>
                    </a:cubicBezTo>
                    <a:cubicBezTo>
                      <a:pt x="85384" y="94615"/>
                      <a:pt x="91539" y="82308"/>
                      <a:pt x="91539" y="79231"/>
                    </a:cubicBezTo>
                    <a:cubicBezTo>
                      <a:pt x="91539" y="76154"/>
                      <a:pt x="91539" y="76154"/>
                      <a:pt x="94615" y="76154"/>
                    </a:cubicBezTo>
                    <a:cubicBezTo>
                      <a:pt x="97691" y="73077"/>
                      <a:pt x="100769" y="76154"/>
                      <a:pt x="103845" y="79231"/>
                    </a:cubicBezTo>
                    <a:cubicBezTo>
                      <a:pt x="103845" y="82308"/>
                      <a:pt x="106923" y="82308"/>
                      <a:pt x="100769" y="91538"/>
                    </a:cubicBezTo>
                    <a:cubicBezTo>
                      <a:pt x="100769" y="97692"/>
                      <a:pt x="91539" y="110000"/>
                      <a:pt x="76154" y="1100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CEFC50B4-C01D-4306-808F-9E72C4179E2D}"/>
                </a:ext>
              </a:extLst>
            </p:cNvPr>
            <p:cNvGrpSpPr/>
            <p:nvPr/>
          </p:nvGrpSpPr>
          <p:grpSpPr>
            <a:xfrm>
              <a:off x="12413253" y="30354"/>
              <a:ext cx="162745" cy="138133"/>
              <a:chOff x="12413253" y="30354"/>
              <a:chExt cx="162745" cy="138133"/>
            </a:xfrm>
          </p:grpSpPr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B66DA925-56B4-4FDF-A4BB-7839989AC176}"/>
                  </a:ext>
                </a:extLst>
              </p:cNvPr>
              <p:cNvSpPr/>
              <p:nvPr/>
            </p:nvSpPr>
            <p:spPr>
              <a:xfrm>
                <a:off x="12413253" y="30354"/>
                <a:ext cx="162745" cy="132763"/>
              </a:xfrm>
              <a:custGeom>
                <a:avLst/>
                <a:gdLst>
                  <a:gd name="connsiteX0" fmla="*/ 128900 w 162745"/>
                  <a:gd name="connsiteY0" fmla="*/ 125826 h 132763"/>
                  <a:gd name="connsiteX1" fmla="*/ 104285 w 162745"/>
                  <a:gd name="connsiteY1" fmla="*/ 122749 h 132763"/>
                  <a:gd name="connsiteX2" fmla="*/ 95055 w 162745"/>
                  <a:gd name="connsiteY2" fmla="*/ 131980 h 132763"/>
                  <a:gd name="connsiteX3" fmla="*/ 55053 w 162745"/>
                  <a:gd name="connsiteY3" fmla="*/ 116595 h 132763"/>
                  <a:gd name="connsiteX4" fmla="*/ 51977 w 162745"/>
                  <a:gd name="connsiteY4" fmla="*/ 113518 h 132763"/>
                  <a:gd name="connsiteX5" fmla="*/ 48901 w 162745"/>
                  <a:gd name="connsiteY5" fmla="*/ 113518 h 132763"/>
                  <a:gd name="connsiteX6" fmla="*/ 8900 w 162745"/>
                  <a:gd name="connsiteY6" fmla="*/ 98134 h 132763"/>
                  <a:gd name="connsiteX7" fmla="*/ 2747 w 162745"/>
                  <a:gd name="connsiteY7" fmla="*/ 85826 h 132763"/>
                  <a:gd name="connsiteX8" fmla="*/ 2747 w 162745"/>
                  <a:gd name="connsiteY8" fmla="*/ 73518 h 132763"/>
                  <a:gd name="connsiteX9" fmla="*/ 8900 w 162745"/>
                  <a:gd name="connsiteY9" fmla="*/ 5826 h 132763"/>
                  <a:gd name="connsiteX10" fmla="*/ 42747 w 162745"/>
                  <a:gd name="connsiteY10" fmla="*/ 5826 h 132763"/>
                  <a:gd name="connsiteX11" fmla="*/ 55053 w 162745"/>
                  <a:gd name="connsiteY11" fmla="*/ 21210 h 132763"/>
                  <a:gd name="connsiteX12" fmla="*/ 85823 w 162745"/>
                  <a:gd name="connsiteY12" fmla="*/ 21210 h 132763"/>
                  <a:gd name="connsiteX13" fmla="*/ 95055 w 162745"/>
                  <a:gd name="connsiteY13" fmla="*/ 33518 h 132763"/>
                  <a:gd name="connsiteX14" fmla="*/ 122746 w 162745"/>
                  <a:gd name="connsiteY14" fmla="*/ 33518 h 132763"/>
                  <a:gd name="connsiteX15" fmla="*/ 131976 w 162745"/>
                  <a:gd name="connsiteY15" fmla="*/ 48903 h 132763"/>
                  <a:gd name="connsiteX16" fmla="*/ 153515 w 162745"/>
                  <a:gd name="connsiteY16" fmla="*/ 48903 h 132763"/>
                  <a:gd name="connsiteX17" fmla="*/ 162746 w 162745"/>
                  <a:gd name="connsiteY17" fmla="*/ 70441 h 132763"/>
                  <a:gd name="connsiteX18" fmla="*/ 162746 w 162745"/>
                  <a:gd name="connsiteY18" fmla="*/ 98134 h 132763"/>
                  <a:gd name="connsiteX19" fmla="*/ 153515 w 162745"/>
                  <a:gd name="connsiteY19" fmla="*/ 116595 h 132763"/>
                  <a:gd name="connsiteX20" fmla="*/ 131976 w 162745"/>
                  <a:gd name="connsiteY20" fmla="*/ 110441 h 132763"/>
                  <a:gd name="connsiteX21" fmla="*/ 128900 w 162745"/>
                  <a:gd name="connsiteY21" fmla="*/ 125826 h 132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62745" h="132763">
                    <a:moveTo>
                      <a:pt x="128900" y="125826"/>
                    </a:moveTo>
                    <a:cubicBezTo>
                      <a:pt x="119670" y="128903"/>
                      <a:pt x="113516" y="125826"/>
                      <a:pt x="104285" y="122749"/>
                    </a:cubicBezTo>
                    <a:cubicBezTo>
                      <a:pt x="101207" y="125826"/>
                      <a:pt x="98131" y="128903"/>
                      <a:pt x="95055" y="131980"/>
                    </a:cubicBezTo>
                    <a:cubicBezTo>
                      <a:pt x="79670" y="135057"/>
                      <a:pt x="64286" y="128903"/>
                      <a:pt x="55053" y="116595"/>
                    </a:cubicBezTo>
                    <a:cubicBezTo>
                      <a:pt x="55053" y="116595"/>
                      <a:pt x="55053" y="113518"/>
                      <a:pt x="51977" y="113518"/>
                    </a:cubicBezTo>
                    <a:cubicBezTo>
                      <a:pt x="51977" y="113518"/>
                      <a:pt x="51977" y="113518"/>
                      <a:pt x="48901" y="113518"/>
                    </a:cubicBezTo>
                    <a:cubicBezTo>
                      <a:pt x="33516" y="116595"/>
                      <a:pt x="18132" y="110441"/>
                      <a:pt x="8900" y="98134"/>
                    </a:cubicBezTo>
                    <a:cubicBezTo>
                      <a:pt x="5823" y="95057"/>
                      <a:pt x="5823" y="91980"/>
                      <a:pt x="2747" y="85826"/>
                    </a:cubicBezTo>
                    <a:cubicBezTo>
                      <a:pt x="2747" y="82749"/>
                      <a:pt x="2747" y="76595"/>
                      <a:pt x="2747" y="73518"/>
                    </a:cubicBezTo>
                    <a:cubicBezTo>
                      <a:pt x="2747" y="48903"/>
                      <a:pt x="-6485" y="21210"/>
                      <a:pt x="8900" y="5826"/>
                    </a:cubicBezTo>
                    <a:cubicBezTo>
                      <a:pt x="15054" y="-328"/>
                      <a:pt x="30438" y="-3405"/>
                      <a:pt x="42747" y="5826"/>
                    </a:cubicBezTo>
                    <a:cubicBezTo>
                      <a:pt x="48901" y="8903"/>
                      <a:pt x="51977" y="15057"/>
                      <a:pt x="55053" y="21210"/>
                    </a:cubicBezTo>
                    <a:cubicBezTo>
                      <a:pt x="64286" y="15057"/>
                      <a:pt x="73516" y="15057"/>
                      <a:pt x="85823" y="21210"/>
                    </a:cubicBezTo>
                    <a:cubicBezTo>
                      <a:pt x="91977" y="24287"/>
                      <a:pt x="95055" y="27364"/>
                      <a:pt x="95055" y="33518"/>
                    </a:cubicBezTo>
                    <a:cubicBezTo>
                      <a:pt x="101207" y="27364"/>
                      <a:pt x="113516" y="27364"/>
                      <a:pt x="122746" y="33518"/>
                    </a:cubicBezTo>
                    <a:cubicBezTo>
                      <a:pt x="128900" y="36595"/>
                      <a:pt x="131976" y="42749"/>
                      <a:pt x="131976" y="48903"/>
                    </a:cubicBezTo>
                    <a:cubicBezTo>
                      <a:pt x="138131" y="45826"/>
                      <a:pt x="144285" y="42749"/>
                      <a:pt x="153515" y="48903"/>
                    </a:cubicBezTo>
                    <a:cubicBezTo>
                      <a:pt x="162746" y="55057"/>
                      <a:pt x="159670" y="61210"/>
                      <a:pt x="162746" y="70441"/>
                    </a:cubicBezTo>
                    <a:cubicBezTo>
                      <a:pt x="162746" y="79672"/>
                      <a:pt x="162746" y="88903"/>
                      <a:pt x="162746" y="98134"/>
                    </a:cubicBezTo>
                    <a:cubicBezTo>
                      <a:pt x="162746" y="104287"/>
                      <a:pt x="162746" y="116595"/>
                      <a:pt x="153515" y="116595"/>
                    </a:cubicBezTo>
                    <a:cubicBezTo>
                      <a:pt x="147361" y="119672"/>
                      <a:pt x="138131" y="116595"/>
                      <a:pt x="131976" y="110441"/>
                    </a:cubicBezTo>
                    <a:cubicBezTo>
                      <a:pt x="141209" y="119672"/>
                      <a:pt x="138131" y="125826"/>
                      <a:pt x="128900" y="12582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E6052557-953E-4EE6-AB42-2B20B2F284E7}"/>
                  </a:ext>
                </a:extLst>
              </p:cNvPr>
              <p:cNvSpPr/>
              <p:nvPr/>
            </p:nvSpPr>
            <p:spPr>
              <a:xfrm>
                <a:off x="12418092" y="41059"/>
                <a:ext cx="111753" cy="127428"/>
              </a:xfrm>
              <a:custGeom>
                <a:avLst/>
                <a:gdLst>
                  <a:gd name="connsiteX0" fmla="*/ 80984 w 111753"/>
                  <a:gd name="connsiteY0" fmla="*/ 127428 h 127428"/>
                  <a:gd name="connsiteX1" fmla="*/ 80984 w 111753"/>
                  <a:gd name="connsiteY1" fmla="*/ 127428 h 127428"/>
                  <a:gd name="connsiteX2" fmla="*/ 44062 w 111753"/>
                  <a:gd name="connsiteY2" fmla="*/ 108967 h 127428"/>
                  <a:gd name="connsiteX3" fmla="*/ 31754 w 111753"/>
                  <a:gd name="connsiteY3" fmla="*/ 108967 h 127428"/>
                  <a:gd name="connsiteX4" fmla="*/ 13293 w 111753"/>
                  <a:gd name="connsiteY4" fmla="*/ 99736 h 127428"/>
                  <a:gd name="connsiteX5" fmla="*/ 985 w 111753"/>
                  <a:gd name="connsiteY5" fmla="*/ 22813 h 127428"/>
                  <a:gd name="connsiteX6" fmla="*/ 7139 w 111753"/>
                  <a:gd name="connsiteY6" fmla="*/ 16659 h 127428"/>
                  <a:gd name="connsiteX7" fmla="*/ 13293 w 111753"/>
                  <a:gd name="connsiteY7" fmla="*/ 22813 h 127428"/>
                  <a:gd name="connsiteX8" fmla="*/ 22524 w 111753"/>
                  <a:gd name="connsiteY8" fmla="*/ 90505 h 127428"/>
                  <a:gd name="connsiteX9" fmla="*/ 34830 w 111753"/>
                  <a:gd name="connsiteY9" fmla="*/ 96659 h 127428"/>
                  <a:gd name="connsiteX10" fmla="*/ 50215 w 111753"/>
                  <a:gd name="connsiteY10" fmla="*/ 90505 h 127428"/>
                  <a:gd name="connsiteX11" fmla="*/ 53293 w 111753"/>
                  <a:gd name="connsiteY11" fmla="*/ 13582 h 127428"/>
                  <a:gd name="connsiteX12" fmla="*/ 56369 w 111753"/>
                  <a:gd name="connsiteY12" fmla="*/ 4351 h 127428"/>
                  <a:gd name="connsiteX13" fmla="*/ 77908 w 111753"/>
                  <a:gd name="connsiteY13" fmla="*/ 1275 h 127428"/>
                  <a:gd name="connsiteX14" fmla="*/ 111753 w 111753"/>
                  <a:gd name="connsiteY14" fmla="*/ 78198 h 127428"/>
                  <a:gd name="connsiteX15" fmla="*/ 80984 w 111753"/>
                  <a:gd name="connsiteY15" fmla="*/ 127428 h 127428"/>
                  <a:gd name="connsiteX16" fmla="*/ 53293 w 111753"/>
                  <a:gd name="connsiteY16" fmla="*/ 102813 h 127428"/>
                  <a:gd name="connsiteX17" fmla="*/ 80984 w 111753"/>
                  <a:gd name="connsiteY17" fmla="*/ 115121 h 127428"/>
                  <a:gd name="connsiteX18" fmla="*/ 96369 w 111753"/>
                  <a:gd name="connsiteY18" fmla="*/ 78198 h 127428"/>
                  <a:gd name="connsiteX19" fmla="*/ 71754 w 111753"/>
                  <a:gd name="connsiteY19" fmla="*/ 13582 h 127428"/>
                  <a:gd name="connsiteX20" fmla="*/ 59447 w 111753"/>
                  <a:gd name="connsiteY20" fmla="*/ 13582 h 127428"/>
                  <a:gd name="connsiteX21" fmla="*/ 53293 w 111753"/>
                  <a:gd name="connsiteY21" fmla="*/ 102813 h 127428"/>
                  <a:gd name="connsiteX22" fmla="*/ 53293 w 111753"/>
                  <a:gd name="connsiteY22" fmla="*/ 102813 h 12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11753" h="127428">
                    <a:moveTo>
                      <a:pt x="80984" y="127428"/>
                    </a:moveTo>
                    <a:cubicBezTo>
                      <a:pt x="80984" y="127428"/>
                      <a:pt x="80984" y="127428"/>
                      <a:pt x="80984" y="127428"/>
                    </a:cubicBezTo>
                    <a:cubicBezTo>
                      <a:pt x="62523" y="127428"/>
                      <a:pt x="44062" y="108967"/>
                      <a:pt x="44062" y="108967"/>
                    </a:cubicBezTo>
                    <a:cubicBezTo>
                      <a:pt x="40984" y="108967"/>
                      <a:pt x="34830" y="108967"/>
                      <a:pt x="31754" y="108967"/>
                    </a:cubicBezTo>
                    <a:cubicBezTo>
                      <a:pt x="22524" y="108967"/>
                      <a:pt x="16369" y="105890"/>
                      <a:pt x="13293" y="99736"/>
                    </a:cubicBezTo>
                    <a:cubicBezTo>
                      <a:pt x="-5170" y="78198"/>
                      <a:pt x="985" y="28967"/>
                      <a:pt x="985" y="22813"/>
                    </a:cubicBezTo>
                    <a:cubicBezTo>
                      <a:pt x="985" y="19736"/>
                      <a:pt x="4061" y="16659"/>
                      <a:pt x="7139" y="16659"/>
                    </a:cubicBezTo>
                    <a:cubicBezTo>
                      <a:pt x="10215" y="16659"/>
                      <a:pt x="13293" y="19736"/>
                      <a:pt x="13293" y="22813"/>
                    </a:cubicBezTo>
                    <a:cubicBezTo>
                      <a:pt x="10215" y="38198"/>
                      <a:pt x="10215" y="75121"/>
                      <a:pt x="22524" y="90505"/>
                    </a:cubicBezTo>
                    <a:cubicBezTo>
                      <a:pt x="25600" y="93582"/>
                      <a:pt x="28678" y="96659"/>
                      <a:pt x="34830" y="96659"/>
                    </a:cubicBezTo>
                    <a:cubicBezTo>
                      <a:pt x="40984" y="96659"/>
                      <a:pt x="47139" y="96659"/>
                      <a:pt x="50215" y="90505"/>
                    </a:cubicBezTo>
                    <a:cubicBezTo>
                      <a:pt x="56369" y="84351"/>
                      <a:pt x="59447" y="65890"/>
                      <a:pt x="53293" y="13582"/>
                    </a:cubicBezTo>
                    <a:cubicBezTo>
                      <a:pt x="53293" y="10505"/>
                      <a:pt x="53293" y="7428"/>
                      <a:pt x="56369" y="4351"/>
                    </a:cubicBezTo>
                    <a:cubicBezTo>
                      <a:pt x="59447" y="1275"/>
                      <a:pt x="68677" y="-1802"/>
                      <a:pt x="77908" y="1275"/>
                    </a:cubicBezTo>
                    <a:cubicBezTo>
                      <a:pt x="99447" y="7428"/>
                      <a:pt x="111753" y="32044"/>
                      <a:pt x="111753" y="78198"/>
                    </a:cubicBezTo>
                    <a:cubicBezTo>
                      <a:pt x="105601" y="102813"/>
                      <a:pt x="105601" y="127428"/>
                      <a:pt x="80984" y="127428"/>
                    </a:cubicBezTo>
                    <a:close/>
                    <a:moveTo>
                      <a:pt x="53293" y="102813"/>
                    </a:moveTo>
                    <a:cubicBezTo>
                      <a:pt x="59447" y="108967"/>
                      <a:pt x="71754" y="115121"/>
                      <a:pt x="80984" y="115121"/>
                    </a:cubicBezTo>
                    <a:cubicBezTo>
                      <a:pt x="90216" y="115121"/>
                      <a:pt x="93292" y="108967"/>
                      <a:pt x="96369" y="78198"/>
                    </a:cubicBezTo>
                    <a:cubicBezTo>
                      <a:pt x="96369" y="59736"/>
                      <a:pt x="96369" y="19736"/>
                      <a:pt x="71754" y="13582"/>
                    </a:cubicBezTo>
                    <a:cubicBezTo>
                      <a:pt x="62523" y="10505"/>
                      <a:pt x="59447" y="13582"/>
                      <a:pt x="59447" y="13582"/>
                    </a:cubicBezTo>
                    <a:cubicBezTo>
                      <a:pt x="68677" y="59736"/>
                      <a:pt x="65599" y="87428"/>
                      <a:pt x="53293" y="102813"/>
                    </a:cubicBezTo>
                    <a:cubicBezTo>
                      <a:pt x="56369" y="99736"/>
                      <a:pt x="56369" y="99736"/>
                      <a:pt x="53293" y="10281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B5E584EA-617D-4532-90AC-B5FB2B966BF9}"/>
                  </a:ext>
                </a:extLst>
              </p:cNvPr>
              <p:cNvSpPr/>
              <p:nvPr/>
            </p:nvSpPr>
            <p:spPr>
              <a:xfrm>
                <a:off x="12508308" y="54642"/>
                <a:ext cx="54855" cy="110769"/>
              </a:xfrm>
              <a:custGeom>
                <a:avLst/>
                <a:gdLst>
                  <a:gd name="connsiteX0" fmla="*/ 24615 w 54855"/>
                  <a:gd name="connsiteY0" fmla="*/ 110769 h 110769"/>
                  <a:gd name="connsiteX1" fmla="*/ 3076 w 54855"/>
                  <a:gd name="connsiteY1" fmla="*/ 104615 h 110769"/>
                  <a:gd name="connsiteX2" fmla="*/ 0 w 54855"/>
                  <a:gd name="connsiteY2" fmla="*/ 95385 h 110769"/>
                  <a:gd name="connsiteX3" fmla="*/ 9230 w 54855"/>
                  <a:gd name="connsiteY3" fmla="*/ 92308 h 110769"/>
                  <a:gd name="connsiteX4" fmla="*/ 33845 w 54855"/>
                  <a:gd name="connsiteY4" fmla="*/ 95385 h 110769"/>
                  <a:gd name="connsiteX5" fmla="*/ 40000 w 54855"/>
                  <a:gd name="connsiteY5" fmla="*/ 86154 h 110769"/>
                  <a:gd name="connsiteX6" fmla="*/ 36922 w 54855"/>
                  <a:gd name="connsiteY6" fmla="*/ 15385 h 110769"/>
                  <a:gd name="connsiteX7" fmla="*/ 30769 w 54855"/>
                  <a:gd name="connsiteY7" fmla="*/ 12308 h 110769"/>
                  <a:gd name="connsiteX8" fmla="*/ 12307 w 54855"/>
                  <a:gd name="connsiteY8" fmla="*/ 15385 h 110769"/>
                  <a:gd name="connsiteX9" fmla="*/ 3076 w 54855"/>
                  <a:gd name="connsiteY9" fmla="*/ 15385 h 110769"/>
                  <a:gd name="connsiteX10" fmla="*/ 3076 w 54855"/>
                  <a:gd name="connsiteY10" fmla="*/ 6154 h 110769"/>
                  <a:gd name="connsiteX11" fmla="*/ 30769 w 54855"/>
                  <a:gd name="connsiteY11" fmla="*/ 0 h 110769"/>
                  <a:gd name="connsiteX12" fmla="*/ 46154 w 54855"/>
                  <a:gd name="connsiteY12" fmla="*/ 9231 h 110769"/>
                  <a:gd name="connsiteX13" fmla="*/ 52306 w 54855"/>
                  <a:gd name="connsiteY13" fmla="*/ 86154 h 110769"/>
                  <a:gd name="connsiteX14" fmla="*/ 36922 w 54855"/>
                  <a:gd name="connsiteY14" fmla="*/ 104615 h 110769"/>
                  <a:gd name="connsiteX15" fmla="*/ 24615 w 54855"/>
                  <a:gd name="connsiteY15" fmla="*/ 110769 h 110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4855" h="110769">
                    <a:moveTo>
                      <a:pt x="24615" y="110769"/>
                    </a:moveTo>
                    <a:cubicBezTo>
                      <a:pt x="12307" y="110769"/>
                      <a:pt x="3076" y="104615"/>
                      <a:pt x="3076" y="104615"/>
                    </a:cubicBezTo>
                    <a:cubicBezTo>
                      <a:pt x="0" y="104615"/>
                      <a:pt x="0" y="98462"/>
                      <a:pt x="0" y="95385"/>
                    </a:cubicBezTo>
                    <a:cubicBezTo>
                      <a:pt x="0" y="92308"/>
                      <a:pt x="6152" y="92308"/>
                      <a:pt x="9230" y="92308"/>
                    </a:cubicBezTo>
                    <a:cubicBezTo>
                      <a:pt x="12307" y="95385"/>
                      <a:pt x="24615" y="98462"/>
                      <a:pt x="33845" y="95385"/>
                    </a:cubicBezTo>
                    <a:cubicBezTo>
                      <a:pt x="36922" y="92308"/>
                      <a:pt x="40000" y="89231"/>
                      <a:pt x="40000" y="86154"/>
                    </a:cubicBezTo>
                    <a:cubicBezTo>
                      <a:pt x="46154" y="58462"/>
                      <a:pt x="40000" y="27692"/>
                      <a:pt x="36922" y="15385"/>
                    </a:cubicBezTo>
                    <a:cubicBezTo>
                      <a:pt x="36922" y="12308"/>
                      <a:pt x="33845" y="12308"/>
                      <a:pt x="30769" y="12308"/>
                    </a:cubicBezTo>
                    <a:cubicBezTo>
                      <a:pt x="21537" y="12308"/>
                      <a:pt x="15385" y="12308"/>
                      <a:pt x="12307" y="15385"/>
                    </a:cubicBezTo>
                    <a:cubicBezTo>
                      <a:pt x="9230" y="18462"/>
                      <a:pt x="6152" y="18462"/>
                      <a:pt x="3076" y="15385"/>
                    </a:cubicBezTo>
                    <a:cubicBezTo>
                      <a:pt x="0" y="12308"/>
                      <a:pt x="0" y="9231"/>
                      <a:pt x="3076" y="6154"/>
                    </a:cubicBezTo>
                    <a:cubicBezTo>
                      <a:pt x="9230" y="0"/>
                      <a:pt x="21537" y="0"/>
                      <a:pt x="30769" y="0"/>
                    </a:cubicBezTo>
                    <a:cubicBezTo>
                      <a:pt x="40000" y="0"/>
                      <a:pt x="43076" y="6154"/>
                      <a:pt x="46154" y="9231"/>
                    </a:cubicBezTo>
                    <a:cubicBezTo>
                      <a:pt x="52306" y="21538"/>
                      <a:pt x="58460" y="58462"/>
                      <a:pt x="52306" y="86154"/>
                    </a:cubicBezTo>
                    <a:cubicBezTo>
                      <a:pt x="49230" y="95385"/>
                      <a:pt x="46154" y="101538"/>
                      <a:pt x="36922" y="104615"/>
                    </a:cubicBezTo>
                    <a:cubicBezTo>
                      <a:pt x="33845" y="110769"/>
                      <a:pt x="30769" y="110769"/>
                      <a:pt x="24615" y="11076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21873722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059B7096-38D5-41C0-9C34-E8F50146B99A}"/>
              </a:ext>
            </a:extLst>
          </p:cNvPr>
          <p:cNvGrpSpPr/>
          <p:nvPr/>
        </p:nvGrpSpPr>
        <p:grpSpPr>
          <a:xfrm>
            <a:off x="3174454" y="1976614"/>
            <a:ext cx="5843091" cy="4881386"/>
            <a:chOff x="4074460" y="4253255"/>
            <a:chExt cx="5843091" cy="4881386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D7A4CB8E-26EE-4D2C-BD94-C334C8DFD06D}"/>
                </a:ext>
              </a:extLst>
            </p:cNvPr>
            <p:cNvSpPr/>
            <p:nvPr/>
          </p:nvSpPr>
          <p:spPr>
            <a:xfrm>
              <a:off x="7214298" y="5281429"/>
              <a:ext cx="370931" cy="428597"/>
            </a:xfrm>
            <a:custGeom>
              <a:avLst/>
              <a:gdLst>
                <a:gd name="connsiteX0" fmla="*/ 370932 w 370931"/>
                <a:gd name="connsiteY0" fmla="*/ 314750 h 428597"/>
                <a:gd name="connsiteX1" fmla="*/ 275547 w 370931"/>
                <a:gd name="connsiteY1" fmla="*/ 197828 h 428597"/>
                <a:gd name="connsiteX2" fmla="*/ 177086 w 370931"/>
                <a:gd name="connsiteY2" fmla="*/ 904 h 428597"/>
                <a:gd name="connsiteX3" fmla="*/ 35547 w 370931"/>
                <a:gd name="connsiteY3" fmla="*/ 50135 h 428597"/>
                <a:gd name="connsiteX4" fmla="*/ 1701 w 370931"/>
                <a:gd name="connsiteY4" fmla="*/ 148597 h 428597"/>
                <a:gd name="connsiteX5" fmla="*/ 60162 w 370931"/>
                <a:gd name="connsiteY5" fmla="*/ 207058 h 428597"/>
                <a:gd name="connsiteX6" fmla="*/ 158624 w 370931"/>
                <a:gd name="connsiteY6" fmla="*/ 305520 h 428597"/>
                <a:gd name="connsiteX7" fmla="*/ 158624 w 370931"/>
                <a:gd name="connsiteY7" fmla="*/ 305520 h 428597"/>
                <a:gd name="connsiteX8" fmla="*/ 269394 w 370931"/>
                <a:gd name="connsiteY8" fmla="*/ 428597 h 428597"/>
                <a:gd name="connsiteX9" fmla="*/ 370932 w 370931"/>
                <a:gd name="connsiteY9" fmla="*/ 314750 h 428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0931" h="428597">
                  <a:moveTo>
                    <a:pt x="370932" y="314750"/>
                  </a:moveTo>
                  <a:lnTo>
                    <a:pt x="275547" y="197828"/>
                  </a:lnTo>
                  <a:cubicBezTo>
                    <a:pt x="269394" y="130135"/>
                    <a:pt x="220163" y="50135"/>
                    <a:pt x="177086" y="904"/>
                  </a:cubicBezTo>
                  <a:cubicBezTo>
                    <a:pt x="170932" y="-8326"/>
                    <a:pt x="54009" y="56289"/>
                    <a:pt x="35547" y="50135"/>
                  </a:cubicBezTo>
                  <a:cubicBezTo>
                    <a:pt x="23240" y="47058"/>
                    <a:pt x="-7529" y="136289"/>
                    <a:pt x="1701" y="148597"/>
                  </a:cubicBezTo>
                  <a:cubicBezTo>
                    <a:pt x="20163" y="167059"/>
                    <a:pt x="41702" y="188597"/>
                    <a:pt x="60162" y="207058"/>
                  </a:cubicBezTo>
                  <a:cubicBezTo>
                    <a:pt x="90932" y="237827"/>
                    <a:pt x="109393" y="305520"/>
                    <a:pt x="158624" y="305520"/>
                  </a:cubicBezTo>
                  <a:lnTo>
                    <a:pt x="158624" y="305520"/>
                  </a:lnTo>
                  <a:lnTo>
                    <a:pt x="269394" y="428597"/>
                  </a:lnTo>
                  <a:lnTo>
                    <a:pt x="370932" y="314750"/>
                  </a:ln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DDF98DB7-908E-421D-814A-06548FEB7E48}"/>
                </a:ext>
              </a:extLst>
            </p:cNvPr>
            <p:cNvSpPr/>
            <p:nvPr/>
          </p:nvSpPr>
          <p:spPr>
            <a:xfrm>
              <a:off x="7394461" y="5089145"/>
              <a:ext cx="1192657" cy="1116443"/>
            </a:xfrm>
            <a:custGeom>
              <a:avLst/>
              <a:gdLst>
                <a:gd name="connsiteX0" fmla="*/ 1126153 w 1192657"/>
                <a:gd name="connsiteY0" fmla="*/ 8573 h 1116443"/>
                <a:gd name="connsiteX1" fmla="*/ 750769 w 1192657"/>
                <a:gd name="connsiteY1" fmla="*/ 343958 h 1116443"/>
                <a:gd name="connsiteX2" fmla="*/ 532307 w 1192657"/>
                <a:gd name="connsiteY2" fmla="*/ 787035 h 1116443"/>
                <a:gd name="connsiteX3" fmla="*/ 150769 w 1192657"/>
                <a:gd name="connsiteY3" fmla="*/ 393189 h 1116443"/>
                <a:gd name="connsiteX4" fmla="*/ 0 w 1192657"/>
                <a:gd name="connsiteY4" fmla="*/ 550112 h 1116443"/>
                <a:gd name="connsiteX5" fmla="*/ 532307 w 1192657"/>
                <a:gd name="connsiteY5" fmla="*/ 1116266 h 1116443"/>
                <a:gd name="connsiteX6" fmla="*/ 1126153 w 1192657"/>
                <a:gd name="connsiteY6" fmla="*/ 8573 h 1116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2657" h="1116443">
                  <a:moveTo>
                    <a:pt x="1126153" y="8573"/>
                  </a:moveTo>
                  <a:cubicBezTo>
                    <a:pt x="1003076" y="-52965"/>
                    <a:pt x="821538" y="233189"/>
                    <a:pt x="750769" y="343958"/>
                  </a:cubicBezTo>
                  <a:cubicBezTo>
                    <a:pt x="689231" y="442420"/>
                    <a:pt x="532307" y="787035"/>
                    <a:pt x="532307" y="787035"/>
                  </a:cubicBezTo>
                  <a:lnTo>
                    <a:pt x="150769" y="393189"/>
                  </a:lnTo>
                  <a:lnTo>
                    <a:pt x="0" y="550112"/>
                  </a:lnTo>
                  <a:cubicBezTo>
                    <a:pt x="0" y="550112"/>
                    <a:pt x="403076" y="1110112"/>
                    <a:pt x="532307" y="1116266"/>
                  </a:cubicBezTo>
                  <a:cubicBezTo>
                    <a:pt x="753846" y="1131651"/>
                    <a:pt x="1400000" y="147035"/>
                    <a:pt x="1126153" y="8573"/>
                  </a:cubicBezTo>
                  <a:close/>
                </a:path>
              </a:pathLst>
            </a:custGeom>
            <a:solidFill>
              <a:srgbClr val="7F95BC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FADBFEDB-1E8E-4854-AA6A-F5915D783C1C}"/>
                </a:ext>
              </a:extLst>
            </p:cNvPr>
            <p:cNvGrpSpPr/>
            <p:nvPr/>
          </p:nvGrpSpPr>
          <p:grpSpPr>
            <a:xfrm>
              <a:off x="6519845" y="8700795"/>
              <a:ext cx="367910" cy="392790"/>
              <a:chOff x="6519845" y="8700795"/>
              <a:chExt cx="367910" cy="392790"/>
            </a:xfrm>
          </p:grpSpPr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7EEB4CD5-14E1-4DD9-BC17-2898B1530A3F}"/>
                  </a:ext>
                </a:extLst>
              </p:cNvPr>
              <p:cNvSpPr/>
              <p:nvPr/>
            </p:nvSpPr>
            <p:spPr>
              <a:xfrm>
                <a:off x="6519845" y="8830026"/>
                <a:ext cx="367910" cy="263559"/>
              </a:xfrm>
              <a:custGeom>
                <a:avLst/>
                <a:gdLst>
                  <a:gd name="connsiteX0" fmla="*/ 228462 w 367910"/>
                  <a:gd name="connsiteY0" fmla="*/ 0 h 263559"/>
                  <a:gd name="connsiteX1" fmla="*/ 108461 w 367910"/>
                  <a:gd name="connsiteY1" fmla="*/ 166154 h 263559"/>
                  <a:gd name="connsiteX2" fmla="*/ 326923 w 367910"/>
                  <a:gd name="connsiteY2" fmla="*/ 36923 h 263559"/>
                  <a:gd name="connsiteX3" fmla="*/ 348462 w 367910"/>
                  <a:gd name="connsiteY3" fmla="*/ 21539 h 263559"/>
                  <a:gd name="connsiteX4" fmla="*/ 366923 w 367910"/>
                  <a:gd name="connsiteY4" fmla="*/ 98462 h 263559"/>
                  <a:gd name="connsiteX5" fmla="*/ 354615 w 367910"/>
                  <a:gd name="connsiteY5" fmla="*/ 236923 h 263559"/>
                  <a:gd name="connsiteX6" fmla="*/ 326923 w 367910"/>
                  <a:gd name="connsiteY6" fmla="*/ 236923 h 263559"/>
                  <a:gd name="connsiteX7" fmla="*/ 311538 w 367910"/>
                  <a:gd name="connsiteY7" fmla="*/ 126154 h 263559"/>
                  <a:gd name="connsiteX8" fmla="*/ 166923 w 367910"/>
                  <a:gd name="connsiteY8" fmla="*/ 258461 h 263559"/>
                  <a:gd name="connsiteX9" fmla="*/ 6923 w 367910"/>
                  <a:gd name="connsiteY9" fmla="*/ 261538 h 263559"/>
                  <a:gd name="connsiteX10" fmla="*/ 6923 w 367910"/>
                  <a:gd name="connsiteY10" fmla="*/ 215385 h 263559"/>
                  <a:gd name="connsiteX11" fmla="*/ 228462 w 367910"/>
                  <a:gd name="connsiteY11" fmla="*/ 0 h 263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7910" h="263559">
                    <a:moveTo>
                      <a:pt x="228462" y="0"/>
                    </a:moveTo>
                    <a:cubicBezTo>
                      <a:pt x="228462" y="0"/>
                      <a:pt x="93076" y="156923"/>
                      <a:pt x="108461" y="166154"/>
                    </a:cubicBezTo>
                    <a:cubicBezTo>
                      <a:pt x="126923" y="175385"/>
                      <a:pt x="326923" y="36923"/>
                      <a:pt x="326923" y="36923"/>
                    </a:cubicBezTo>
                    <a:lnTo>
                      <a:pt x="348462" y="21539"/>
                    </a:lnTo>
                    <a:cubicBezTo>
                      <a:pt x="348462" y="21539"/>
                      <a:pt x="373077" y="70769"/>
                      <a:pt x="366923" y="98462"/>
                    </a:cubicBezTo>
                    <a:cubicBezTo>
                      <a:pt x="360769" y="126154"/>
                      <a:pt x="354615" y="236923"/>
                      <a:pt x="354615" y="236923"/>
                    </a:cubicBezTo>
                    <a:lnTo>
                      <a:pt x="326923" y="236923"/>
                    </a:lnTo>
                    <a:lnTo>
                      <a:pt x="311538" y="126154"/>
                    </a:lnTo>
                    <a:cubicBezTo>
                      <a:pt x="311538" y="126154"/>
                      <a:pt x="188461" y="255384"/>
                      <a:pt x="166923" y="258461"/>
                    </a:cubicBezTo>
                    <a:cubicBezTo>
                      <a:pt x="145384" y="264616"/>
                      <a:pt x="19230" y="264616"/>
                      <a:pt x="6923" y="261538"/>
                    </a:cubicBezTo>
                    <a:cubicBezTo>
                      <a:pt x="-2308" y="261538"/>
                      <a:pt x="-2308" y="221539"/>
                      <a:pt x="6923" y="215385"/>
                    </a:cubicBezTo>
                    <a:cubicBezTo>
                      <a:pt x="83846" y="172308"/>
                      <a:pt x="228462" y="0"/>
                      <a:pt x="228462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5697AF63-90D0-4437-BFB7-EA652DE6E9AA}"/>
                  </a:ext>
                </a:extLst>
              </p:cNvPr>
              <p:cNvSpPr/>
              <p:nvPr/>
            </p:nvSpPr>
            <p:spPr>
              <a:xfrm>
                <a:off x="6626076" y="8700795"/>
                <a:ext cx="239186" cy="297143"/>
              </a:xfrm>
              <a:custGeom>
                <a:avLst/>
                <a:gdLst>
                  <a:gd name="connsiteX0" fmla="*/ 171461 w 239186"/>
                  <a:gd name="connsiteY0" fmla="*/ 0 h 297143"/>
                  <a:gd name="connsiteX1" fmla="*/ 122231 w 239186"/>
                  <a:gd name="connsiteY1" fmla="*/ 129231 h 297143"/>
                  <a:gd name="connsiteX2" fmla="*/ 2230 w 239186"/>
                  <a:gd name="connsiteY2" fmla="*/ 295385 h 297143"/>
                  <a:gd name="connsiteX3" fmla="*/ 239154 w 239186"/>
                  <a:gd name="connsiteY3" fmla="*/ 150770 h 297143"/>
                  <a:gd name="connsiteX4" fmla="*/ 229924 w 239186"/>
                  <a:gd name="connsiteY4" fmla="*/ 0 h 297143"/>
                  <a:gd name="connsiteX5" fmla="*/ 171461 w 239186"/>
                  <a:gd name="connsiteY5" fmla="*/ 0 h 29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9186" h="297143">
                    <a:moveTo>
                      <a:pt x="171461" y="0"/>
                    </a:moveTo>
                    <a:lnTo>
                      <a:pt x="122231" y="129231"/>
                    </a:lnTo>
                    <a:cubicBezTo>
                      <a:pt x="122231" y="129231"/>
                      <a:pt x="-19307" y="280000"/>
                      <a:pt x="2230" y="295385"/>
                    </a:cubicBezTo>
                    <a:cubicBezTo>
                      <a:pt x="23769" y="313847"/>
                      <a:pt x="242231" y="181539"/>
                      <a:pt x="239154" y="150770"/>
                    </a:cubicBezTo>
                    <a:cubicBezTo>
                      <a:pt x="239154" y="101539"/>
                      <a:pt x="229924" y="0"/>
                      <a:pt x="229924" y="0"/>
                    </a:cubicBezTo>
                    <a:lnTo>
                      <a:pt x="171461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677E47F5-A27A-402F-9382-F382AE45A14E}"/>
                </a:ext>
              </a:extLst>
            </p:cNvPr>
            <p:cNvGrpSpPr/>
            <p:nvPr/>
          </p:nvGrpSpPr>
          <p:grpSpPr>
            <a:xfrm>
              <a:off x="7416230" y="8642334"/>
              <a:ext cx="332077" cy="455566"/>
              <a:chOff x="7416230" y="8642334"/>
              <a:chExt cx="332077" cy="455566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9A9EDBAF-F84A-4DA6-BD67-4F62278BF967}"/>
                  </a:ext>
                </a:extLst>
              </p:cNvPr>
              <p:cNvSpPr/>
              <p:nvPr/>
            </p:nvSpPr>
            <p:spPr>
              <a:xfrm>
                <a:off x="7416230" y="8750026"/>
                <a:ext cx="332077" cy="347874"/>
              </a:xfrm>
              <a:custGeom>
                <a:avLst/>
                <a:gdLst>
                  <a:gd name="connsiteX0" fmla="*/ 135153 w 332077"/>
                  <a:gd name="connsiteY0" fmla="*/ 18462 h 347874"/>
                  <a:gd name="connsiteX1" fmla="*/ 79769 w 332077"/>
                  <a:gd name="connsiteY1" fmla="*/ 215385 h 347874"/>
                  <a:gd name="connsiteX2" fmla="*/ 239770 w 332077"/>
                  <a:gd name="connsiteY2" fmla="*/ 21539 h 347874"/>
                  <a:gd name="connsiteX3" fmla="*/ 252077 w 332077"/>
                  <a:gd name="connsiteY3" fmla="*/ 0 h 347874"/>
                  <a:gd name="connsiteX4" fmla="*/ 295154 w 332077"/>
                  <a:gd name="connsiteY4" fmla="*/ 67693 h 347874"/>
                  <a:gd name="connsiteX5" fmla="*/ 332077 w 332077"/>
                  <a:gd name="connsiteY5" fmla="*/ 203077 h 347874"/>
                  <a:gd name="connsiteX6" fmla="*/ 307461 w 332077"/>
                  <a:gd name="connsiteY6" fmla="*/ 212308 h 347874"/>
                  <a:gd name="connsiteX7" fmla="*/ 255154 w 332077"/>
                  <a:gd name="connsiteY7" fmla="*/ 113847 h 347874"/>
                  <a:gd name="connsiteX8" fmla="*/ 165923 w 332077"/>
                  <a:gd name="connsiteY8" fmla="*/ 289231 h 347874"/>
                  <a:gd name="connsiteX9" fmla="*/ 18231 w 332077"/>
                  <a:gd name="connsiteY9" fmla="*/ 347693 h 347874"/>
                  <a:gd name="connsiteX10" fmla="*/ 2846 w 332077"/>
                  <a:gd name="connsiteY10" fmla="*/ 301539 h 347874"/>
                  <a:gd name="connsiteX11" fmla="*/ 135153 w 332077"/>
                  <a:gd name="connsiteY11" fmla="*/ 18462 h 347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2077" h="347874">
                    <a:moveTo>
                      <a:pt x="135153" y="18462"/>
                    </a:moveTo>
                    <a:cubicBezTo>
                      <a:pt x="135153" y="18462"/>
                      <a:pt x="61307" y="212308"/>
                      <a:pt x="79769" y="215385"/>
                    </a:cubicBezTo>
                    <a:cubicBezTo>
                      <a:pt x="98231" y="218462"/>
                      <a:pt x="239770" y="21539"/>
                      <a:pt x="239770" y="21539"/>
                    </a:cubicBezTo>
                    <a:lnTo>
                      <a:pt x="252077" y="0"/>
                    </a:lnTo>
                    <a:cubicBezTo>
                      <a:pt x="252077" y="0"/>
                      <a:pt x="292077" y="40001"/>
                      <a:pt x="295154" y="67693"/>
                    </a:cubicBezTo>
                    <a:cubicBezTo>
                      <a:pt x="301308" y="95385"/>
                      <a:pt x="332077" y="203077"/>
                      <a:pt x="332077" y="203077"/>
                    </a:cubicBezTo>
                    <a:lnTo>
                      <a:pt x="307461" y="212308"/>
                    </a:lnTo>
                    <a:lnTo>
                      <a:pt x="255154" y="113847"/>
                    </a:lnTo>
                    <a:cubicBezTo>
                      <a:pt x="255154" y="113847"/>
                      <a:pt x="184384" y="276923"/>
                      <a:pt x="165923" y="289231"/>
                    </a:cubicBezTo>
                    <a:cubicBezTo>
                      <a:pt x="147462" y="301539"/>
                      <a:pt x="27461" y="344616"/>
                      <a:pt x="18231" y="347693"/>
                    </a:cubicBezTo>
                    <a:cubicBezTo>
                      <a:pt x="9000" y="350769"/>
                      <a:pt x="-6384" y="313847"/>
                      <a:pt x="2846" y="301539"/>
                    </a:cubicBezTo>
                    <a:cubicBezTo>
                      <a:pt x="61307" y="230769"/>
                      <a:pt x="135153" y="18462"/>
                      <a:pt x="135153" y="18462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10F25660-7F5E-4468-B71D-14129EEC2991}"/>
                  </a:ext>
                </a:extLst>
              </p:cNvPr>
              <p:cNvSpPr/>
              <p:nvPr/>
            </p:nvSpPr>
            <p:spPr>
              <a:xfrm>
                <a:off x="7490348" y="8642334"/>
                <a:ext cx="181427" cy="323391"/>
              </a:xfrm>
              <a:custGeom>
                <a:avLst/>
                <a:gdLst>
                  <a:gd name="connsiteX0" fmla="*/ 17959 w 181427"/>
                  <a:gd name="connsiteY0" fmla="*/ 6154 h 323391"/>
                  <a:gd name="connsiteX1" fmla="*/ 61036 w 181427"/>
                  <a:gd name="connsiteY1" fmla="*/ 126154 h 323391"/>
                  <a:gd name="connsiteX2" fmla="*/ 5651 w 181427"/>
                  <a:gd name="connsiteY2" fmla="*/ 323077 h 323391"/>
                  <a:gd name="connsiteX3" fmla="*/ 181036 w 181427"/>
                  <a:gd name="connsiteY3" fmla="*/ 104615 h 323391"/>
                  <a:gd name="connsiteX4" fmla="*/ 67190 w 181427"/>
                  <a:gd name="connsiteY4" fmla="*/ 0 h 323391"/>
                  <a:gd name="connsiteX5" fmla="*/ 17959 w 181427"/>
                  <a:gd name="connsiteY5" fmla="*/ 6154 h 323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427" h="323391">
                    <a:moveTo>
                      <a:pt x="17959" y="6154"/>
                    </a:moveTo>
                    <a:lnTo>
                      <a:pt x="61036" y="126154"/>
                    </a:lnTo>
                    <a:cubicBezTo>
                      <a:pt x="61036" y="126154"/>
                      <a:pt x="-22041" y="313847"/>
                      <a:pt x="5651" y="323077"/>
                    </a:cubicBezTo>
                    <a:cubicBezTo>
                      <a:pt x="33344" y="332308"/>
                      <a:pt x="190267" y="135384"/>
                      <a:pt x="181036" y="104615"/>
                    </a:cubicBezTo>
                    <a:cubicBezTo>
                      <a:pt x="128728" y="67693"/>
                      <a:pt x="67190" y="0"/>
                      <a:pt x="67190" y="0"/>
                    </a:cubicBezTo>
                    <a:lnTo>
                      <a:pt x="17959" y="6154"/>
                    </a:ln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7AC51C6C-B33C-4EC2-85A2-012BE178290A}"/>
                </a:ext>
              </a:extLst>
            </p:cNvPr>
            <p:cNvSpPr/>
            <p:nvPr/>
          </p:nvSpPr>
          <p:spPr>
            <a:xfrm>
              <a:off x="6586945" y="6245411"/>
              <a:ext cx="1084439" cy="2606154"/>
            </a:xfrm>
            <a:custGeom>
              <a:avLst/>
              <a:gdLst>
                <a:gd name="connsiteX0" fmla="*/ 795207 w 1084439"/>
                <a:gd name="connsiteY0" fmla="*/ 0 h 2606154"/>
                <a:gd name="connsiteX1" fmla="*/ 121361 w 1084439"/>
                <a:gd name="connsiteY1" fmla="*/ 0 h 2606154"/>
                <a:gd name="connsiteX2" fmla="*/ 1362 w 1084439"/>
                <a:gd name="connsiteY2" fmla="*/ 464616 h 2606154"/>
                <a:gd name="connsiteX3" fmla="*/ 158285 w 1084439"/>
                <a:gd name="connsiteY3" fmla="*/ 2584616 h 2606154"/>
                <a:gd name="connsiteX4" fmla="*/ 278285 w 1084439"/>
                <a:gd name="connsiteY4" fmla="*/ 2606154 h 2606154"/>
                <a:gd name="connsiteX5" fmla="*/ 465977 w 1084439"/>
                <a:gd name="connsiteY5" fmla="*/ 821539 h 2606154"/>
                <a:gd name="connsiteX6" fmla="*/ 536746 w 1084439"/>
                <a:gd name="connsiteY6" fmla="*/ 1640000 h 2606154"/>
                <a:gd name="connsiteX7" fmla="*/ 549054 w 1084439"/>
                <a:gd name="connsiteY7" fmla="*/ 1692308 h 2606154"/>
                <a:gd name="connsiteX8" fmla="*/ 964438 w 1084439"/>
                <a:gd name="connsiteY8" fmla="*/ 2523077 h 2606154"/>
                <a:gd name="connsiteX9" fmla="*/ 1084439 w 1084439"/>
                <a:gd name="connsiteY9" fmla="*/ 2501538 h 2606154"/>
                <a:gd name="connsiteX10" fmla="*/ 893669 w 1084439"/>
                <a:gd name="connsiteY10" fmla="*/ 1670769 h 2606154"/>
                <a:gd name="connsiteX11" fmla="*/ 930593 w 1084439"/>
                <a:gd name="connsiteY11" fmla="*/ 418462 h 2606154"/>
                <a:gd name="connsiteX12" fmla="*/ 795207 w 1084439"/>
                <a:gd name="connsiteY12" fmla="*/ 0 h 2606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84439" h="2606154">
                  <a:moveTo>
                    <a:pt x="795207" y="0"/>
                  </a:moveTo>
                  <a:lnTo>
                    <a:pt x="121361" y="0"/>
                  </a:lnTo>
                  <a:cubicBezTo>
                    <a:pt x="121361" y="0"/>
                    <a:pt x="22900" y="307692"/>
                    <a:pt x="1362" y="464616"/>
                  </a:cubicBezTo>
                  <a:cubicBezTo>
                    <a:pt x="-17100" y="618462"/>
                    <a:pt x="158285" y="2584616"/>
                    <a:pt x="158285" y="2584616"/>
                  </a:cubicBezTo>
                  <a:lnTo>
                    <a:pt x="278285" y="2606154"/>
                  </a:lnTo>
                  <a:lnTo>
                    <a:pt x="465977" y="821539"/>
                  </a:lnTo>
                  <a:lnTo>
                    <a:pt x="536746" y="1640000"/>
                  </a:lnTo>
                  <a:cubicBezTo>
                    <a:pt x="539823" y="1658461"/>
                    <a:pt x="542900" y="1676923"/>
                    <a:pt x="549054" y="1692308"/>
                  </a:cubicBezTo>
                  <a:lnTo>
                    <a:pt x="964438" y="2523077"/>
                  </a:lnTo>
                  <a:lnTo>
                    <a:pt x="1084439" y="2501538"/>
                  </a:lnTo>
                  <a:lnTo>
                    <a:pt x="893669" y="1670769"/>
                  </a:lnTo>
                  <a:cubicBezTo>
                    <a:pt x="893669" y="1670769"/>
                    <a:pt x="924439" y="483077"/>
                    <a:pt x="930593" y="418462"/>
                  </a:cubicBezTo>
                  <a:cubicBezTo>
                    <a:pt x="939823" y="298462"/>
                    <a:pt x="795207" y="0"/>
                    <a:pt x="795207" y="0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D2AD9F2A-0437-4B4E-B33E-57F58E54D22C}"/>
                </a:ext>
              </a:extLst>
            </p:cNvPr>
            <p:cNvSpPr/>
            <p:nvPr/>
          </p:nvSpPr>
          <p:spPr>
            <a:xfrm>
              <a:off x="6289845" y="6245411"/>
              <a:ext cx="1686154" cy="1667786"/>
            </a:xfrm>
            <a:custGeom>
              <a:avLst/>
              <a:gdLst>
                <a:gd name="connsiteX0" fmla="*/ 1686155 w 1686154"/>
                <a:gd name="connsiteY0" fmla="*/ 1400000 h 1667786"/>
                <a:gd name="connsiteX1" fmla="*/ 1649231 w 1686154"/>
                <a:gd name="connsiteY1" fmla="*/ 1427692 h 1667786"/>
                <a:gd name="connsiteX2" fmla="*/ 0 w 1686154"/>
                <a:gd name="connsiteY2" fmla="*/ 1584615 h 1667786"/>
                <a:gd name="connsiteX3" fmla="*/ 144616 w 1686154"/>
                <a:gd name="connsiteY3" fmla="*/ 1280000 h 1667786"/>
                <a:gd name="connsiteX4" fmla="*/ 153846 w 1686154"/>
                <a:gd name="connsiteY4" fmla="*/ 1252308 h 1667786"/>
                <a:gd name="connsiteX5" fmla="*/ 240001 w 1686154"/>
                <a:gd name="connsiteY5" fmla="*/ 960000 h 1667786"/>
                <a:gd name="connsiteX6" fmla="*/ 246154 w 1686154"/>
                <a:gd name="connsiteY6" fmla="*/ 929231 h 1667786"/>
                <a:gd name="connsiteX7" fmla="*/ 289232 w 1686154"/>
                <a:gd name="connsiteY7" fmla="*/ 563077 h 1667786"/>
                <a:gd name="connsiteX8" fmla="*/ 292308 w 1686154"/>
                <a:gd name="connsiteY8" fmla="*/ 532307 h 1667786"/>
                <a:gd name="connsiteX9" fmla="*/ 295385 w 1686154"/>
                <a:gd name="connsiteY9" fmla="*/ 464616 h 1667786"/>
                <a:gd name="connsiteX10" fmla="*/ 341539 w 1686154"/>
                <a:gd name="connsiteY10" fmla="*/ 206154 h 1667786"/>
                <a:gd name="connsiteX11" fmla="*/ 350770 w 1686154"/>
                <a:gd name="connsiteY11" fmla="*/ 175385 h 1667786"/>
                <a:gd name="connsiteX12" fmla="*/ 412309 w 1686154"/>
                <a:gd name="connsiteY12" fmla="*/ 18462 h 1667786"/>
                <a:gd name="connsiteX13" fmla="*/ 1089232 w 1686154"/>
                <a:gd name="connsiteY13" fmla="*/ 0 h 1667786"/>
                <a:gd name="connsiteX14" fmla="*/ 1163078 w 1686154"/>
                <a:gd name="connsiteY14" fmla="*/ 101538 h 1667786"/>
                <a:gd name="connsiteX15" fmla="*/ 1178462 w 1686154"/>
                <a:gd name="connsiteY15" fmla="*/ 126154 h 1667786"/>
                <a:gd name="connsiteX16" fmla="*/ 1178462 w 1686154"/>
                <a:gd name="connsiteY16" fmla="*/ 126154 h 1667786"/>
                <a:gd name="connsiteX17" fmla="*/ 1341539 w 1686154"/>
                <a:gd name="connsiteY17" fmla="*/ 464616 h 1667786"/>
                <a:gd name="connsiteX18" fmla="*/ 1353846 w 1686154"/>
                <a:gd name="connsiteY18" fmla="*/ 492308 h 1667786"/>
                <a:gd name="connsiteX19" fmla="*/ 1495385 w 1686154"/>
                <a:gd name="connsiteY19" fmla="*/ 895385 h 1667786"/>
                <a:gd name="connsiteX20" fmla="*/ 1504616 w 1686154"/>
                <a:gd name="connsiteY20" fmla="*/ 926154 h 1667786"/>
                <a:gd name="connsiteX21" fmla="*/ 1676923 w 1686154"/>
                <a:gd name="connsiteY21" fmla="*/ 1387693 h 1667786"/>
                <a:gd name="connsiteX22" fmla="*/ 1676923 w 1686154"/>
                <a:gd name="connsiteY22" fmla="*/ 1387693 h 1667786"/>
                <a:gd name="connsiteX23" fmla="*/ 1686155 w 1686154"/>
                <a:gd name="connsiteY23" fmla="*/ 1400000 h 1667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686154" h="1667786">
                  <a:moveTo>
                    <a:pt x="1686155" y="1400000"/>
                  </a:moveTo>
                  <a:cubicBezTo>
                    <a:pt x="1673847" y="1409230"/>
                    <a:pt x="1661539" y="1418462"/>
                    <a:pt x="1649231" y="1427692"/>
                  </a:cubicBezTo>
                  <a:cubicBezTo>
                    <a:pt x="1273847" y="1695385"/>
                    <a:pt x="590770" y="1726154"/>
                    <a:pt x="0" y="1584615"/>
                  </a:cubicBezTo>
                  <a:cubicBezTo>
                    <a:pt x="61538" y="1476923"/>
                    <a:pt x="107692" y="1375385"/>
                    <a:pt x="144616" y="1280000"/>
                  </a:cubicBezTo>
                  <a:cubicBezTo>
                    <a:pt x="147693" y="1270769"/>
                    <a:pt x="150770" y="1261539"/>
                    <a:pt x="153846" y="1252308"/>
                  </a:cubicBezTo>
                  <a:cubicBezTo>
                    <a:pt x="193847" y="1147692"/>
                    <a:pt x="221539" y="1049231"/>
                    <a:pt x="240001" y="960000"/>
                  </a:cubicBezTo>
                  <a:cubicBezTo>
                    <a:pt x="243078" y="950769"/>
                    <a:pt x="246154" y="938462"/>
                    <a:pt x="246154" y="929231"/>
                  </a:cubicBezTo>
                  <a:cubicBezTo>
                    <a:pt x="276923" y="781538"/>
                    <a:pt x="286154" y="661538"/>
                    <a:pt x="289232" y="563077"/>
                  </a:cubicBezTo>
                  <a:cubicBezTo>
                    <a:pt x="289232" y="550769"/>
                    <a:pt x="289232" y="541539"/>
                    <a:pt x="292308" y="532307"/>
                  </a:cubicBezTo>
                  <a:cubicBezTo>
                    <a:pt x="292308" y="507692"/>
                    <a:pt x="295385" y="486153"/>
                    <a:pt x="295385" y="464616"/>
                  </a:cubicBezTo>
                  <a:cubicBezTo>
                    <a:pt x="301539" y="372308"/>
                    <a:pt x="320001" y="280000"/>
                    <a:pt x="341539" y="206154"/>
                  </a:cubicBezTo>
                  <a:cubicBezTo>
                    <a:pt x="344616" y="196923"/>
                    <a:pt x="347693" y="184615"/>
                    <a:pt x="350770" y="175385"/>
                  </a:cubicBezTo>
                  <a:cubicBezTo>
                    <a:pt x="381539" y="70769"/>
                    <a:pt x="412309" y="18462"/>
                    <a:pt x="412309" y="18462"/>
                  </a:cubicBezTo>
                  <a:cubicBezTo>
                    <a:pt x="412309" y="18462"/>
                    <a:pt x="704616" y="40000"/>
                    <a:pt x="1089232" y="0"/>
                  </a:cubicBezTo>
                  <a:cubicBezTo>
                    <a:pt x="1113847" y="30769"/>
                    <a:pt x="1138462" y="67693"/>
                    <a:pt x="1163078" y="101538"/>
                  </a:cubicBezTo>
                  <a:cubicBezTo>
                    <a:pt x="1169231" y="110769"/>
                    <a:pt x="1175385" y="120000"/>
                    <a:pt x="1178462" y="126154"/>
                  </a:cubicBezTo>
                  <a:lnTo>
                    <a:pt x="1178462" y="126154"/>
                  </a:lnTo>
                  <a:cubicBezTo>
                    <a:pt x="1240001" y="227692"/>
                    <a:pt x="1295385" y="344616"/>
                    <a:pt x="1341539" y="464616"/>
                  </a:cubicBezTo>
                  <a:cubicBezTo>
                    <a:pt x="1344616" y="473846"/>
                    <a:pt x="1347693" y="483077"/>
                    <a:pt x="1353846" y="492308"/>
                  </a:cubicBezTo>
                  <a:cubicBezTo>
                    <a:pt x="1406154" y="624615"/>
                    <a:pt x="1449231" y="760000"/>
                    <a:pt x="1495385" y="895385"/>
                  </a:cubicBezTo>
                  <a:cubicBezTo>
                    <a:pt x="1498462" y="904615"/>
                    <a:pt x="1501539" y="913847"/>
                    <a:pt x="1504616" y="926154"/>
                  </a:cubicBezTo>
                  <a:cubicBezTo>
                    <a:pt x="1560001" y="1089231"/>
                    <a:pt x="1612309" y="1249231"/>
                    <a:pt x="1676923" y="1387693"/>
                  </a:cubicBezTo>
                  <a:lnTo>
                    <a:pt x="1676923" y="1387693"/>
                  </a:lnTo>
                  <a:cubicBezTo>
                    <a:pt x="1683078" y="1393846"/>
                    <a:pt x="1683078" y="1396923"/>
                    <a:pt x="1686155" y="1400000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81564B9C-CC56-455F-8522-3EDC1A458EE4}"/>
                </a:ext>
              </a:extLst>
            </p:cNvPr>
            <p:cNvSpPr/>
            <p:nvPr/>
          </p:nvSpPr>
          <p:spPr>
            <a:xfrm>
              <a:off x="6267474" y="6228487"/>
              <a:ext cx="1722232" cy="1695174"/>
            </a:xfrm>
            <a:custGeom>
              <a:avLst/>
              <a:gdLst>
                <a:gd name="connsiteX0" fmla="*/ 1702371 w 1722232"/>
                <a:gd name="connsiteY0" fmla="*/ 1398462 h 1695174"/>
                <a:gd name="connsiteX1" fmla="*/ 1570064 w 1722232"/>
                <a:gd name="connsiteY1" fmla="*/ 1484616 h 1695174"/>
                <a:gd name="connsiteX2" fmla="*/ 1025448 w 1722232"/>
                <a:gd name="connsiteY2" fmla="*/ 29231 h 1695174"/>
                <a:gd name="connsiteX3" fmla="*/ 997756 w 1722232"/>
                <a:gd name="connsiteY3" fmla="*/ 44616 h 1695174"/>
                <a:gd name="connsiteX4" fmla="*/ 1539294 w 1722232"/>
                <a:gd name="connsiteY4" fmla="*/ 1500001 h 1695174"/>
                <a:gd name="connsiteX5" fmla="*/ 1342372 w 1722232"/>
                <a:gd name="connsiteY5" fmla="*/ 1598462 h 1695174"/>
                <a:gd name="connsiteX6" fmla="*/ 1222371 w 1722232"/>
                <a:gd name="connsiteY6" fmla="*/ 1632308 h 1695174"/>
                <a:gd name="connsiteX7" fmla="*/ 1197756 w 1722232"/>
                <a:gd name="connsiteY7" fmla="*/ 832308 h 1695174"/>
                <a:gd name="connsiteX8" fmla="*/ 930063 w 1722232"/>
                <a:gd name="connsiteY8" fmla="*/ 41538 h 1695174"/>
                <a:gd name="connsiteX9" fmla="*/ 899294 w 1722232"/>
                <a:gd name="connsiteY9" fmla="*/ 50770 h 1695174"/>
                <a:gd name="connsiteX10" fmla="*/ 1160832 w 1722232"/>
                <a:gd name="connsiteY10" fmla="*/ 813846 h 1695174"/>
                <a:gd name="connsiteX11" fmla="*/ 1188525 w 1722232"/>
                <a:gd name="connsiteY11" fmla="*/ 1635385 h 1695174"/>
                <a:gd name="connsiteX12" fmla="*/ 1188525 w 1722232"/>
                <a:gd name="connsiteY12" fmla="*/ 1635385 h 1695174"/>
                <a:gd name="connsiteX13" fmla="*/ 899294 w 1722232"/>
                <a:gd name="connsiteY13" fmla="*/ 1656923 h 1695174"/>
                <a:gd name="connsiteX14" fmla="*/ 791601 w 1722232"/>
                <a:gd name="connsiteY14" fmla="*/ 1660000 h 1695174"/>
                <a:gd name="connsiteX15" fmla="*/ 850064 w 1722232"/>
                <a:gd name="connsiteY15" fmla="*/ 13846 h 1695174"/>
                <a:gd name="connsiteX16" fmla="*/ 819295 w 1722232"/>
                <a:gd name="connsiteY16" fmla="*/ 13846 h 1695174"/>
                <a:gd name="connsiteX17" fmla="*/ 760832 w 1722232"/>
                <a:gd name="connsiteY17" fmla="*/ 1660000 h 1695174"/>
                <a:gd name="connsiteX18" fmla="*/ 385448 w 1722232"/>
                <a:gd name="connsiteY18" fmla="*/ 1647693 h 1695174"/>
                <a:gd name="connsiteX19" fmla="*/ 640832 w 1722232"/>
                <a:gd name="connsiteY19" fmla="*/ 32308 h 1695174"/>
                <a:gd name="connsiteX20" fmla="*/ 613140 w 1722232"/>
                <a:gd name="connsiteY20" fmla="*/ 16923 h 1695174"/>
                <a:gd name="connsiteX21" fmla="*/ 348525 w 1722232"/>
                <a:gd name="connsiteY21" fmla="*/ 1644616 h 1695174"/>
                <a:gd name="connsiteX22" fmla="*/ 19294 w 1722232"/>
                <a:gd name="connsiteY22" fmla="*/ 1573847 h 1695174"/>
                <a:gd name="connsiteX23" fmla="*/ 10063 w 1722232"/>
                <a:gd name="connsiteY23" fmla="*/ 1604616 h 1695174"/>
                <a:gd name="connsiteX24" fmla="*/ 926987 w 1722232"/>
                <a:gd name="connsiteY24" fmla="*/ 1687692 h 1695174"/>
                <a:gd name="connsiteX25" fmla="*/ 1345448 w 1722232"/>
                <a:gd name="connsiteY25" fmla="*/ 1626154 h 1695174"/>
                <a:gd name="connsiteX26" fmla="*/ 1711602 w 1722232"/>
                <a:gd name="connsiteY26" fmla="*/ 1423078 h 1695174"/>
                <a:gd name="connsiteX27" fmla="*/ 1702371 w 1722232"/>
                <a:gd name="connsiteY27" fmla="*/ 1398462 h 1695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722232" h="1695174">
                  <a:moveTo>
                    <a:pt x="1702371" y="1398462"/>
                  </a:moveTo>
                  <a:cubicBezTo>
                    <a:pt x="1659294" y="1426154"/>
                    <a:pt x="1613140" y="1456923"/>
                    <a:pt x="1570064" y="1484616"/>
                  </a:cubicBezTo>
                  <a:cubicBezTo>
                    <a:pt x="1483909" y="970770"/>
                    <a:pt x="1299294" y="475385"/>
                    <a:pt x="1025448" y="29231"/>
                  </a:cubicBezTo>
                  <a:cubicBezTo>
                    <a:pt x="1016217" y="13846"/>
                    <a:pt x="988525" y="29231"/>
                    <a:pt x="997756" y="44616"/>
                  </a:cubicBezTo>
                  <a:cubicBezTo>
                    <a:pt x="1271602" y="490769"/>
                    <a:pt x="1456217" y="986154"/>
                    <a:pt x="1539294" y="1500001"/>
                  </a:cubicBezTo>
                  <a:cubicBezTo>
                    <a:pt x="1474679" y="1536923"/>
                    <a:pt x="1410063" y="1570770"/>
                    <a:pt x="1342372" y="1598462"/>
                  </a:cubicBezTo>
                  <a:cubicBezTo>
                    <a:pt x="1302371" y="1613846"/>
                    <a:pt x="1262371" y="1623078"/>
                    <a:pt x="1222371" y="1632308"/>
                  </a:cubicBezTo>
                  <a:cubicBezTo>
                    <a:pt x="1237755" y="1367693"/>
                    <a:pt x="1256217" y="1093847"/>
                    <a:pt x="1197756" y="832308"/>
                  </a:cubicBezTo>
                  <a:cubicBezTo>
                    <a:pt x="1139294" y="564615"/>
                    <a:pt x="1034679" y="293846"/>
                    <a:pt x="930063" y="41538"/>
                  </a:cubicBezTo>
                  <a:cubicBezTo>
                    <a:pt x="923910" y="23078"/>
                    <a:pt x="893141" y="32308"/>
                    <a:pt x="899294" y="50770"/>
                  </a:cubicBezTo>
                  <a:cubicBezTo>
                    <a:pt x="1000833" y="296924"/>
                    <a:pt x="1099294" y="555385"/>
                    <a:pt x="1160832" y="813846"/>
                  </a:cubicBezTo>
                  <a:cubicBezTo>
                    <a:pt x="1225448" y="1081539"/>
                    <a:pt x="1206986" y="1364615"/>
                    <a:pt x="1188525" y="1635385"/>
                  </a:cubicBezTo>
                  <a:cubicBezTo>
                    <a:pt x="1188525" y="1635385"/>
                    <a:pt x="1188525" y="1635385"/>
                    <a:pt x="1188525" y="1635385"/>
                  </a:cubicBezTo>
                  <a:cubicBezTo>
                    <a:pt x="1093141" y="1650770"/>
                    <a:pt x="997756" y="1653847"/>
                    <a:pt x="899294" y="1656923"/>
                  </a:cubicBezTo>
                  <a:cubicBezTo>
                    <a:pt x="862371" y="1660000"/>
                    <a:pt x="825448" y="1660000"/>
                    <a:pt x="791601" y="1660000"/>
                  </a:cubicBezTo>
                  <a:cubicBezTo>
                    <a:pt x="850064" y="1112308"/>
                    <a:pt x="868525" y="561539"/>
                    <a:pt x="850064" y="13846"/>
                  </a:cubicBezTo>
                  <a:cubicBezTo>
                    <a:pt x="850064" y="-4615"/>
                    <a:pt x="819295" y="-4615"/>
                    <a:pt x="819295" y="13846"/>
                  </a:cubicBezTo>
                  <a:cubicBezTo>
                    <a:pt x="837755" y="564615"/>
                    <a:pt x="816217" y="1115385"/>
                    <a:pt x="760832" y="1660000"/>
                  </a:cubicBezTo>
                  <a:cubicBezTo>
                    <a:pt x="634679" y="1663077"/>
                    <a:pt x="508525" y="1660000"/>
                    <a:pt x="385448" y="1647693"/>
                  </a:cubicBezTo>
                  <a:cubicBezTo>
                    <a:pt x="686986" y="1155385"/>
                    <a:pt x="403910" y="543077"/>
                    <a:pt x="640832" y="32308"/>
                  </a:cubicBezTo>
                  <a:cubicBezTo>
                    <a:pt x="650064" y="13846"/>
                    <a:pt x="622371" y="-1538"/>
                    <a:pt x="613140" y="16923"/>
                  </a:cubicBezTo>
                  <a:cubicBezTo>
                    <a:pt x="373141" y="533846"/>
                    <a:pt x="659294" y="1152308"/>
                    <a:pt x="348525" y="1644616"/>
                  </a:cubicBezTo>
                  <a:cubicBezTo>
                    <a:pt x="237755" y="1632308"/>
                    <a:pt x="126987" y="1607693"/>
                    <a:pt x="19294" y="1573847"/>
                  </a:cubicBezTo>
                  <a:cubicBezTo>
                    <a:pt x="833" y="1567693"/>
                    <a:pt x="-8399" y="1598462"/>
                    <a:pt x="10063" y="1604616"/>
                  </a:cubicBezTo>
                  <a:cubicBezTo>
                    <a:pt x="305448" y="1703077"/>
                    <a:pt x="619295" y="1703077"/>
                    <a:pt x="926987" y="1687692"/>
                  </a:cubicBezTo>
                  <a:cubicBezTo>
                    <a:pt x="1068525" y="1681539"/>
                    <a:pt x="1210063" y="1678462"/>
                    <a:pt x="1345448" y="1626154"/>
                  </a:cubicBezTo>
                  <a:cubicBezTo>
                    <a:pt x="1477756" y="1576924"/>
                    <a:pt x="1594679" y="1500001"/>
                    <a:pt x="1711602" y="1423078"/>
                  </a:cubicBezTo>
                  <a:cubicBezTo>
                    <a:pt x="1733140" y="1413846"/>
                    <a:pt x="1717756" y="1386154"/>
                    <a:pt x="1702371" y="1398462"/>
                  </a:cubicBez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4BF0644E-6635-4599-BB92-04731881D613}"/>
                </a:ext>
              </a:extLst>
            </p:cNvPr>
            <p:cNvSpPr/>
            <p:nvPr/>
          </p:nvSpPr>
          <p:spPr>
            <a:xfrm>
              <a:off x="6157093" y="5648510"/>
              <a:ext cx="672701" cy="801071"/>
            </a:xfrm>
            <a:custGeom>
              <a:avLst/>
              <a:gdLst>
                <a:gd name="connsiteX0" fmla="*/ 431214 w 672701"/>
                <a:gd name="connsiteY0" fmla="*/ 58440 h 801071"/>
                <a:gd name="connsiteX1" fmla="*/ 292752 w 672701"/>
                <a:gd name="connsiteY1" fmla="*/ 495363 h 801071"/>
                <a:gd name="connsiteX2" fmla="*/ 445 w 672701"/>
                <a:gd name="connsiteY2" fmla="*/ 710748 h 801071"/>
                <a:gd name="connsiteX3" fmla="*/ 55829 w 672701"/>
                <a:gd name="connsiteY3" fmla="*/ 799978 h 801071"/>
                <a:gd name="connsiteX4" fmla="*/ 418906 w 672701"/>
                <a:gd name="connsiteY4" fmla="*/ 652285 h 801071"/>
                <a:gd name="connsiteX5" fmla="*/ 668137 w 672701"/>
                <a:gd name="connsiteY5" fmla="*/ 181517 h 801071"/>
                <a:gd name="connsiteX6" fmla="*/ 431214 w 672701"/>
                <a:gd name="connsiteY6" fmla="*/ 58440 h 80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2701" h="801071">
                  <a:moveTo>
                    <a:pt x="431214" y="58440"/>
                  </a:moveTo>
                  <a:cubicBezTo>
                    <a:pt x="391214" y="138440"/>
                    <a:pt x="292752" y="495363"/>
                    <a:pt x="292752" y="495363"/>
                  </a:cubicBezTo>
                  <a:cubicBezTo>
                    <a:pt x="292752" y="495363"/>
                    <a:pt x="445" y="704593"/>
                    <a:pt x="445" y="710748"/>
                  </a:cubicBezTo>
                  <a:cubicBezTo>
                    <a:pt x="-2632" y="781517"/>
                    <a:pt x="9675" y="747670"/>
                    <a:pt x="55829" y="799978"/>
                  </a:cubicBezTo>
                  <a:cubicBezTo>
                    <a:pt x="61983" y="809209"/>
                    <a:pt x="185060" y="759978"/>
                    <a:pt x="418906" y="652285"/>
                  </a:cubicBezTo>
                  <a:cubicBezTo>
                    <a:pt x="480445" y="624593"/>
                    <a:pt x="597368" y="313824"/>
                    <a:pt x="668137" y="181517"/>
                  </a:cubicBezTo>
                  <a:cubicBezTo>
                    <a:pt x="705060" y="101516"/>
                    <a:pt x="508137" y="-98484"/>
                    <a:pt x="431214" y="58440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3B91BE7A-0CF8-42E4-86C6-196DA42730F1}"/>
                </a:ext>
              </a:extLst>
            </p:cNvPr>
            <p:cNvSpPr/>
            <p:nvPr/>
          </p:nvSpPr>
          <p:spPr>
            <a:xfrm>
              <a:off x="6508307" y="5365289"/>
              <a:ext cx="384187" cy="529352"/>
            </a:xfrm>
            <a:custGeom>
              <a:avLst/>
              <a:gdLst>
                <a:gd name="connsiteX0" fmla="*/ 347693 w 384187"/>
                <a:gd name="connsiteY0" fmla="*/ 529352 h 529352"/>
                <a:gd name="connsiteX1" fmla="*/ 273846 w 384187"/>
                <a:gd name="connsiteY1" fmla="*/ 12429 h 529352"/>
                <a:gd name="connsiteX2" fmla="*/ 0 w 384187"/>
                <a:gd name="connsiteY2" fmla="*/ 378583 h 529352"/>
                <a:gd name="connsiteX3" fmla="*/ 347693 w 384187"/>
                <a:gd name="connsiteY3" fmla="*/ 529352 h 52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187" h="529352">
                  <a:moveTo>
                    <a:pt x="347693" y="529352"/>
                  </a:moveTo>
                  <a:cubicBezTo>
                    <a:pt x="440001" y="369352"/>
                    <a:pt x="335384" y="67814"/>
                    <a:pt x="273846" y="12429"/>
                  </a:cubicBezTo>
                  <a:cubicBezTo>
                    <a:pt x="193847" y="-58340"/>
                    <a:pt x="86154" y="187814"/>
                    <a:pt x="0" y="378583"/>
                  </a:cubicBezTo>
                  <a:cubicBezTo>
                    <a:pt x="43077" y="440121"/>
                    <a:pt x="246154" y="507814"/>
                    <a:pt x="347693" y="529352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B5B25750-0F2F-4D16-90D7-4C1F032ADBAC}"/>
                </a:ext>
              </a:extLst>
            </p:cNvPr>
            <p:cNvSpPr/>
            <p:nvPr/>
          </p:nvSpPr>
          <p:spPr>
            <a:xfrm>
              <a:off x="6607886" y="5277828"/>
              <a:ext cx="825077" cy="995366"/>
            </a:xfrm>
            <a:custGeom>
              <a:avLst/>
              <a:gdLst>
                <a:gd name="connsiteX0" fmla="*/ 780421 w 825077"/>
                <a:gd name="connsiteY0" fmla="*/ 395275 h 995366"/>
                <a:gd name="connsiteX1" fmla="*/ 765036 w 825077"/>
                <a:gd name="connsiteY1" fmla="*/ 69121 h 995366"/>
                <a:gd name="connsiteX2" fmla="*/ 392728 w 825077"/>
                <a:gd name="connsiteY2" fmla="*/ 4506 h 995366"/>
                <a:gd name="connsiteX3" fmla="*/ 91190 w 825077"/>
                <a:gd name="connsiteY3" fmla="*/ 106044 h 995366"/>
                <a:gd name="connsiteX4" fmla="*/ 51190 w 825077"/>
                <a:gd name="connsiteY4" fmla="*/ 659891 h 995366"/>
                <a:gd name="connsiteX5" fmla="*/ 94267 w 825077"/>
                <a:gd name="connsiteY5" fmla="*/ 989122 h 995366"/>
                <a:gd name="connsiteX6" fmla="*/ 777344 w 825077"/>
                <a:gd name="connsiteY6" fmla="*/ 973737 h 995366"/>
                <a:gd name="connsiteX7" fmla="*/ 780421 w 825077"/>
                <a:gd name="connsiteY7" fmla="*/ 395275 h 99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5077" h="995366">
                  <a:moveTo>
                    <a:pt x="780421" y="395275"/>
                  </a:moveTo>
                  <a:cubicBezTo>
                    <a:pt x="789651" y="364506"/>
                    <a:pt x="885036" y="133736"/>
                    <a:pt x="765036" y="69121"/>
                  </a:cubicBezTo>
                  <a:cubicBezTo>
                    <a:pt x="660421" y="13737"/>
                    <a:pt x="512728" y="-10879"/>
                    <a:pt x="392728" y="4506"/>
                  </a:cubicBezTo>
                  <a:cubicBezTo>
                    <a:pt x="260421" y="19890"/>
                    <a:pt x="128113" y="41429"/>
                    <a:pt x="91190" y="106044"/>
                  </a:cubicBezTo>
                  <a:cubicBezTo>
                    <a:pt x="-22656" y="293737"/>
                    <a:pt x="-22656" y="459891"/>
                    <a:pt x="51190" y="659891"/>
                  </a:cubicBezTo>
                  <a:cubicBezTo>
                    <a:pt x="72729" y="718352"/>
                    <a:pt x="78883" y="853737"/>
                    <a:pt x="94267" y="989122"/>
                  </a:cubicBezTo>
                  <a:cubicBezTo>
                    <a:pt x="94267" y="989122"/>
                    <a:pt x="380421" y="1010660"/>
                    <a:pt x="777344" y="973737"/>
                  </a:cubicBezTo>
                  <a:cubicBezTo>
                    <a:pt x="746575" y="752198"/>
                    <a:pt x="774267" y="419890"/>
                    <a:pt x="780421" y="395275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074D2FA3-BA4D-4DC5-B845-DB4A42E6A045}"/>
                </a:ext>
              </a:extLst>
            </p:cNvPr>
            <p:cNvSpPr/>
            <p:nvPr/>
          </p:nvSpPr>
          <p:spPr>
            <a:xfrm>
              <a:off x="6889845" y="5097718"/>
              <a:ext cx="313846" cy="329230"/>
            </a:xfrm>
            <a:custGeom>
              <a:avLst/>
              <a:gdLst>
                <a:gd name="connsiteX0" fmla="*/ 55385 w 313846"/>
                <a:gd name="connsiteY0" fmla="*/ 61538 h 329230"/>
                <a:gd name="connsiteX1" fmla="*/ 0 w 313846"/>
                <a:gd name="connsiteY1" fmla="*/ 203077 h 329230"/>
                <a:gd name="connsiteX2" fmla="*/ 116924 w 313846"/>
                <a:gd name="connsiteY2" fmla="*/ 329231 h 329230"/>
                <a:gd name="connsiteX3" fmla="*/ 313847 w 313846"/>
                <a:gd name="connsiteY3" fmla="*/ 187693 h 329230"/>
                <a:gd name="connsiteX4" fmla="*/ 261539 w 313846"/>
                <a:gd name="connsiteY4" fmla="*/ 0 h 329230"/>
                <a:gd name="connsiteX5" fmla="*/ 55385 w 313846"/>
                <a:gd name="connsiteY5" fmla="*/ 61538 h 32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3846" h="329230">
                  <a:moveTo>
                    <a:pt x="55385" y="61538"/>
                  </a:moveTo>
                  <a:cubicBezTo>
                    <a:pt x="55385" y="61538"/>
                    <a:pt x="61538" y="172308"/>
                    <a:pt x="0" y="203077"/>
                  </a:cubicBezTo>
                  <a:lnTo>
                    <a:pt x="116924" y="329231"/>
                  </a:lnTo>
                  <a:cubicBezTo>
                    <a:pt x="116924" y="329231"/>
                    <a:pt x="258462" y="218462"/>
                    <a:pt x="313847" y="187693"/>
                  </a:cubicBezTo>
                  <a:cubicBezTo>
                    <a:pt x="258462" y="144615"/>
                    <a:pt x="261539" y="61538"/>
                    <a:pt x="261539" y="0"/>
                  </a:cubicBezTo>
                  <a:cubicBezTo>
                    <a:pt x="261539" y="0"/>
                    <a:pt x="110769" y="70769"/>
                    <a:pt x="55385" y="61538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927AC80C-F64C-41F8-BE10-487610C1191D}"/>
                </a:ext>
              </a:extLst>
            </p:cNvPr>
            <p:cNvSpPr/>
            <p:nvPr/>
          </p:nvSpPr>
          <p:spPr>
            <a:xfrm>
              <a:off x="6605934" y="5380795"/>
              <a:ext cx="102372" cy="560000"/>
            </a:xfrm>
            <a:custGeom>
              <a:avLst/>
              <a:gdLst>
                <a:gd name="connsiteX0" fmla="*/ 56219 w 102372"/>
                <a:gd name="connsiteY0" fmla="*/ 560000 h 560000"/>
                <a:gd name="connsiteX1" fmla="*/ 50066 w 102372"/>
                <a:gd name="connsiteY1" fmla="*/ 556923 h 560000"/>
                <a:gd name="connsiteX2" fmla="*/ 34681 w 102372"/>
                <a:gd name="connsiteY2" fmla="*/ 501539 h 560000"/>
                <a:gd name="connsiteX3" fmla="*/ 835 w 102372"/>
                <a:gd name="connsiteY3" fmla="*/ 350770 h 560000"/>
                <a:gd name="connsiteX4" fmla="*/ 90065 w 102372"/>
                <a:gd name="connsiteY4" fmla="*/ 3077 h 560000"/>
                <a:gd name="connsiteX5" fmla="*/ 99296 w 102372"/>
                <a:gd name="connsiteY5" fmla="*/ 0 h 560000"/>
                <a:gd name="connsiteX6" fmla="*/ 102373 w 102372"/>
                <a:gd name="connsiteY6" fmla="*/ 9231 h 560000"/>
                <a:gd name="connsiteX7" fmla="*/ 13142 w 102372"/>
                <a:gd name="connsiteY7" fmla="*/ 350770 h 560000"/>
                <a:gd name="connsiteX8" fmla="*/ 46989 w 102372"/>
                <a:gd name="connsiteY8" fmla="*/ 501539 h 560000"/>
                <a:gd name="connsiteX9" fmla="*/ 62373 w 102372"/>
                <a:gd name="connsiteY9" fmla="*/ 556923 h 560000"/>
                <a:gd name="connsiteX10" fmla="*/ 56219 w 102372"/>
                <a:gd name="connsiteY10" fmla="*/ 560000 h 560000"/>
                <a:gd name="connsiteX11" fmla="*/ 56219 w 102372"/>
                <a:gd name="connsiteY11" fmla="*/ 560000 h 5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372" h="560000">
                  <a:moveTo>
                    <a:pt x="56219" y="560000"/>
                  </a:moveTo>
                  <a:cubicBezTo>
                    <a:pt x="53142" y="560000"/>
                    <a:pt x="50066" y="556923"/>
                    <a:pt x="50066" y="556923"/>
                  </a:cubicBezTo>
                  <a:cubicBezTo>
                    <a:pt x="43911" y="538462"/>
                    <a:pt x="40834" y="520000"/>
                    <a:pt x="34681" y="501539"/>
                  </a:cubicBezTo>
                  <a:cubicBezTo>
                    <a:pt x="19296" y="449231"/>
                    <a:pt x="3912" y="396923"/>
                    <a:pt x="835" y="350770"/>
                  </a:cubicBezTo>
                  <a:cubicBezTo>
                    <a:pt x="-5320" y="224615"/>
                    <a:pt x="22373" y="107692"/>
                    <a:pt x="90065" y="3077"/>
                  </a:cubicBezTo>
                  <a:cubicBezTo>
                    <a:pt x="93142" y="0"/>
                    <a:pt x="96220" y="0"/>
                    <a:pt x="99296" y="0"/>
                  </a:cubicBezTo>
                  <a:cubicBezTo>
                    <a:pt x="102373" y="3077"/>
                    <a:pt x="102373" y="6154"/>
                    <a:pt x="102373" y="9231"/>
                  </a:cubicBezTo>
                  <a:cubicBezTo>
                    <a:pt x="37757" y="113847"/>
                    <a:pt x="6988" y="227693"/>
                    <a:pt x="13142" y="350770"/>
                  </a:cubicBezTo>
                  <a:cubicBezTo>
                    <a:pt x="16219" y="396923"/>
                    <a:pt x="31604" y="449231"/>
                    <a:pt x="46989" y="501539"/>
                  </a:cubicBezTo>
                  <a:cubicBezTo>
                    <a:pt x="53142" y="520000"/>
                    <a:pt x="59296" y="538462"/>
                    <a:pt x="62373" y="556923"/>
                  </a:cubicBezTo>
                  <a:cubicBezTo>
                    <a:pt x="62373" y="556923"/>
                    <a:pt x="59296" y="560000"/>
                    <a:pt x="56219" y="560000"/>
                  </a:cubicBezTo>
                  <a:cubicBezTo>
                    <a:pt x="56219" y="560000"/>
                    <a:pt x="56219" y="560000"/>
                    <a:pt x="56219" y="560000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E08E0F65-41B5-4A33-9C10-7A10514C13C0}"/>
                </a:ext>
              </a:extLst>
            </p:cNvPr>
            <p:cNvSpPr/>
            <p:nvPr/>
          </p:nvSpPr>
          <p:spPr>
            <a:xfrm>
              <a:off x="6726768" y="5824068"/>
              <a:ext cx="404351" cy="36727"/>
            </a:xfrm>
            <a:custGeom>
              <a:avLst/>
              <a:gdLst>
                <a:gd name="connsiteX0" fmla="*/ 6154 w 404351"/>
                <a:gd name="connsiteY0" fmla="*/ 36727 h 36727"/>
                <a:gd name="connsiteX1" fmla="*/ 0 w 404351"/>
                <a:gd name="connsiteY1" fmla="*/ 33650 h 36727"/>
                <a:gd name="connsiteX2" fmla="*/ 3077 w 404351"/>
                <a:gd name="connsiteY2" fmla="*/ 27496 h 36727"/>
                <a:gd name="connsiteX3" fmla="*/ 400000 w 404351"/>
                <a:gd name="connsiteY3" fmla="*/ 15189 h 36727"/>
                <a:gd name="connsiteX4" fmla="*/ 403077 w 404351"/>
                <a:gd name="connsiteY4" fmla="*/ 21343 h 36727"/>
                <a:gd name="connsiteX5" fmla="*/ 396923 w 404351"/>
                <a:gd name="connsiteY5" fmla="*/ 24420 h 36727"/>
                <a:gd name="connsiteX6" fmla="*/ 6154 w 404351"/>
                <a:gd name="connsiteY6" fmla="*/ 36727 h 36727"/>
                <a:gd name="connsiteX7" fmla="*/ 6154 w 404351"/>
                <a:gd name="connsiteY7" fmla="*/ 36727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351" h="36727">
                  <a:moveTo>
                    <a:pt x="6154" y="36727"/>
                  </a:moveTo>
                  <a:cubicBezTo>
                    <a:pt x="3077" y="36727"/>
                    <a:pt x="3077" y="36727"/>
                    <a:pt x="0" y="33650"/>
                  </a:cubicBezTo>
                  <a:cubicBezTo>
                    <a:pt x="0" y="30574"/>
                    <a:pt x="0" y="27496"/>
                    <a:pt x="3077" y="27496"/>
                  </a:cubicBezTo>
                  <a:cubicBezTo>
                    <a:pt x="89231" y="-3273"/>
                    <a:pt x="298462" y="-9427"/>
                    <a:pt x="400000" y="15189"/>
                  </a:cubicBezTo>
                  <a:cubicBezTo>
                    <a:pt x="403077" y="15189"/>
                    <a:pt x="406154" y="18266"/>
                    <a:pt x="403077" y="21343"/>
                  </a:cubicBezTo>
                  <a:cubicBezTo>
                    <a:pt x="403077" y="24420"/>
                    <a:pt x="400000" y="27496"/>
                    <a:pt x="396923" y="24420"/>
                  </a:cubicBezTo>
                  <a:cubicBezTo>
                    <a:pt x="301538" y="2881"/>
                    <a:pt x="92308" y="5958"/>
                    <a:pt x="6154" y="36727"/>
                  </a:cubicBezTo>
                  <a:cubicBezTo>
                    <a:pt x="9230" y="36727"/>
                    <a:pt x="9230" y="36727"/>
                    <a:pt x="6154" y="36727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92581FEA-1D24-4607-B1B9-239B1565E7F1}"/>
                </a:ext>
              </a:extLst>
            </p:cNvPr>
            <p:cNvSpPr/>
            <p:nvPr/>
          </p:nvSpPr>
          <p:spPr>
            <a:xfrm>
              <a:off x="6865230" y="5288488"/>
              <a:ext cx="363076" cy="156923"/>
            </a:xfrm>
            <a:custGeom>
              <a:avLst/>
              <a:gdLst>
                <a:gd name="connsiteX0" fmla="*/ 36923 w 363076"/>
                <a:gd name="connsiteY0" fmla="*/ 6154 h 156923"/>
                <a:gd name="connsiteX1" fmla="*/ 141539 w 363076"/>
                <a:gd name="connsiteY1" fmla="*/ 123077 h 156923"/>
                <a:gd name="connsiteX2" fmla="*/ 338462 w 363076"/>
                <a:gd name="connsiteY2" fmla="*/ 0 h 156923"/>
                <a:gd name="connsiteX3" fmla="*/ 363077 w 363076"/>
                <a:gd name="connsiteY3" fmla="*/ 9231 h 156923"/>
                <a:gd name="connsiteX4" fmla="*/ 138462 w 363076"/>
                <a:gd name="connsiteY4" fmla="*/ 156923 h 156923"/>
                <a:gd name="connsiteX5" fmla="*/ 0 w 363076"/>
                <a:gd name="connsiteY5" fmla="*/ 15385 h 156923"/>
                <a:gd name="connsiteX6" fmla="*/ 36923 w 363076"/>
                <a:gd name="connsiteY6" fmla="*/ 6154 h 15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3076" h="156923">
                  <a:moveTo>
                    <a:pt x="36923" y="6154"/>
                  </a:moveTo>
                  <a:lnTo>
                    <a:pt x="141539" y="123077"/>
                  </a:lnTo>
                  <a:cubicBezTo>
                    <a:pt x="141539" y="123077"/>
                    <a:pt x="273846" y="21539"/>
                    <a:pt x="338462" y="0"/>
                  </a:cubicBezTo>
                  <a:lnTo>
                    <a:pt x="363077" y="9231"/>
                  </a:lnTo>
                  <a:lnTo>
                    <a:pt x="138462" y="156923"/>
                  </a:lnTo>
                  <a:lnTo>
                    <a:pt x="0" y="15385"/>
                  </a:lnTo>
                  <a:cubicBezTo>
                    <a:pt x="0" y="12308"/>
                    <a:pt x="15385" y="9231"/>
                    <a:pt x="36923" y="6154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13280FE8-AAFC-48C4-A99F-7E17163C8CB8}"/>
                </a:ext>
              </a:extLst>
            </p:cNvPr>
            <p:cNvSpPr/>
            <p:nvPr/>
          </p:nvSpPr>
          <p:spPr>
            <a:xfrm>
              <a:off x="6699076" y="6205411"/>
              <a:ext cx="689230" cy="65954"/>
            </a:xfrm>
            <a:custGeom>
              <a:avLst/>
              <a:gdLst>
                <a:gd name="connsiteX0" fmla="*/ 689231 w 689230"/>
                <a:gd name="connsiteY0" fmla="*/ 43077 h 65954"/>
                <a:gd name="connsiteX1" fmla="*/ 6153 w 689230"/>
                <a:gd name="connsiteY1" fmla="*/ 58462 h 65954"/>
                <a:gd name="connsiteX2" fmla="*/ 0 w 689230"/>
                <a:gd name="connsiteY2" fmla="*/ 12308 h 65954"/>
                <a:gd name="connsiteX3" fmla="*/ 683076 w 689230"/>
                <a:gd name="connsiteY3" fmla="*/ 0 h 65954"/>
                <a:gd name="connsiteX4" fmla="*/ 689231 w 689230"/>
                <a:gd name="connsiteY4" fmla="*/ 43077 h 65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9230" h="65954">
                  <a:moveTo>
                    <a:pt x="689231" y="43077"/>
                  </a:moveTo>
                  <a:cubicBezTo>
                    <a:pt x="501538" y="83077"/>
                    <a:pt x="6153" y="58462"/>
                    <a:pt x="6153" y="58462"/>
                  </a:cubicBezTo>
                  <a:lnTo>
                    <a:pt x="0" y="12308"/>
                  </a:lnTo>
                  <a:cubicBezTo>
                    <a:pt x="0" y="12308"/>
                    <a:pt x="415385" y="40000"/>
                    <a:pt x="683076" y="0"/>
                  </a:cubicBezTo>
                  <a:lnTo>
                    <a:pt x="689231" y="43077"/>
                  </a:ln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9116783-F57B-423D-842D-96155A0A2F53}"/>
                </a:ext>
              </a:extLst>
            </p:cNvPr>
            <p:cNvSpPr/>
            <p:nvPr/>
          </p:nvSpPr>
          <p:spPr>
            <a:xfrm>
              <a:off x="6600614" y="5438971"/>
              <a:ext cx="803841" cy="1021824"/>
            </a:xfrm>
            <a:custGeom>
              <a:avLst/>
              <a:gdLst>
                <a:gd name="connsiteX0" fmla="*/ 803077 w 803841"/>
                <a:gd name="connsiteY0" fmla="*/ 123363 h 1021824"/>
                <a:gd name="connsiteX1" fmla="*/ 547693 w 803841"/>
                <a:gd name="connsiteY1" fmla="*/ 107978 h 1021824"/>
                <a:gd name="connsiteX2" fmla="*/ 409231 w 803841"/>
                <a:gd name="connsiteY2" fmla="*/ 600286 h 1021824"/>
                <a:gd name="connsiteX3" fmla="*/ 0 w 803841"/>
                <a:gd name="connsiteY3" fmla="*/ 929517 h 1021824"/>
                <a:gd name="connsiteX4" fmla="*/ 43077 w 803841"/>
                <a:gd name="connsiteY4" fmla="*/ 1021825 h 1021824"/>
                <a:gd name="connsiteX5" fmla="*/ 572308 w 803841"/>
                <a:gd name="connsiteY5" fmla="*/ 741824 h 1021824"/>
                <a:gd name="connsiteX6" fmla="*/ 803077 w 803841"/>
                <a:gd name="connsiteY6" fmla="*/ 123363 h 1021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3841" h="1021824">
                  <a:moveTo>
                    <a:pt x="803077" y="123363"/>
                  </a:moveTo>
                  <a:cubicBezTo>
                    <a:pt x="818462" y="-61252"/>
                    <a:pt x="596923" y="-15099"/>
                    <a:pt x="547693" y="107978"/>
                  </a:cubicBezTo>
                  <a:cubicBezTo>
                    <a:pt x="498462" y="227978"/>
                    <a:pt x="433846" y="523363"/>
                    <a:pt x="409231" y="600286"/>
                  </a:cubicBezTo>
                  <a:cubicBezTo>
                    <a:pt x="335384" y="661825"/>
                    <a:pt x="0" y="929517"/>
                    <a:pt x="0" y="929517"/>
                  </a:cubicBezTo>
                  <a:cubicBezTo>
                    <a:pt x="6154" y="963363"/>
                    <a:pt x="43077" y="1021825"/>
                    <a:pt x="43077" y="1021825"/>
                  </a:cubicBezTo>
                  <a:cubicBezTo>
                    <a:pt x="43077" y="1021825"/>
                    <a:pt x="470770" y="806440"/>
                    <a:pt x="572308" y="741824"/>
                  </a:cubicBezTo>
                  <a:cubicBezTo>
                    <a:pt x="633846" y="704901"/>
                    <a:pt x="787693" y="317209"/>
                    <a:pt x="803077" y="123363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A64FDA0D-95D3-431A-AAB2-72559444E841}"/>
                </a:ext>
              </a:extLst>
            </p:cNvPr>
            <p:cNvSpPr/>
            <p:nvPr/>
          </p:nvSpPr>
          <p:spPr>
            <a:xfrm>
              <a:off x="7049845" y="5340894"/>
              <a:ext cx="402338" cy="418362"/>
            </a:xfrm>
            <a:custGeom>
              <a:avLst/>
              <a:gdLst>
                <a:gd name="connsiteX0" fmla="*/ 363077 w 402338"/>
                <a:gd name="connsiteY0" fmla="*/ 418363 h 418362"/>
                <a:gd name="connsiteX1" fmla="*/ 332307 w 402338"/>
                <a:gd name="connsiteY1" fmla="*/ 12209 h 418362"/>
                <a:gd name="connsiteX2" fmla="*/ 0 w 402338"/>
                <a:gd name="connsiteY2" fmla="*/ 310671 h 418362"/>
                <a:gd name="connsiteX3" fmla="*/ 363077 w 402338"/>
                <a:gd name="connsiteY3" fmla="*/ 418363 h 418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338" h="418362">
                  <a:moveTo>
                    <a:pt x="363077" y="418363"/>
                  </a:moveTo>
                  <a:cubicBezTo>
                    <a:pt x="433846" y="246056"/>
                    <a:pt x="400000" y="58363"/>
                    <a:pt x="332307" y="12209"/>
                  </a:cubicBezTo>
                  <a:cubicBezTo>
                    <a:pt x="246154" y="-46252"/>
                    <a:pt x="61538" y="113748"/>
                    <a:pt x="0" y="310671"/>
                  </a:cubicBezTo>
                  <a:cubicBezTo>
                    <a:pt x="49231" y="369132"/>
                    <a:pt x="261539" y="412209"/>
                    <a:pt x="363077" y="418363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73DFFE2A-8FC7-49A6-8305-532854FF40B0}"/>
                </a:ext>
              </a:extLst>
            </p:cNvPr>
            <p:cNvSpPr/>
            <p:nvPr/>
          </p:nvSpPr>
          <p:spPr>
            <a:xfrm>
              <a:off x="7043691" y="5333454"/>
              <a:ext cx="327428" cy="388880"/>
            </a:xfrm>
            <a:custGeom>
              <a:avLst/>
              <a:gdLst>
                <a:gd name="connsiteX0" fmla="*/ 138462 w 327428"/>
                <a:gd name="connsiteY0" fmla="*/ 388880 h 388880"/>
                <a:gd name="connsiteX1" fmla="*/ 138462 w 327428"/>
                <a:gd name="connsiteY1" fmla="*/ 388880 h 388880"/>
                <a:gd name="connsiteX2" fmla="*/ 3077 w 327428"/>
                <a:gd name="connsiteY2" fmla="*/ 321188 h 388880"/>
                <a:gd name="connsiteX3" fmla="*/ 0 w 327428"/>
                <a:gd name="connsiteY3" fmla="*/ 318111 h 388880"/>
                <a:gd name="connsiteX4" fmla="*/ 0 w 327428"/>
                <a:gd name="connsiteY4" fmla="*/ 315034 h 388880"/>
                <a:gd name="connsiteX5" fmla="*/ 166155 w 327428"/>
                <a:gd name="connsiteY5" fmla="*/ 59649 h 388880"/>
                <a:gd name="connsiteX6" fmla="*/ 172308 w 327428"/>
                <a:gd name="connsiteY6" fmla="*/ 53496 h 388880"/>
                <a:gd name="connsiteX7" fmla="*/ 323077 w 327428"/>
                <a:gd name="connsiteY7" fmla="*/ 4265 h 388880"/>
                <a:gd name="connsiteX8" fmla="*/ 326154 w 327428"/>
                <a:gd name="connsiteY8" fmla="*/ 10418 h 388880"/>
                <a:gd name="connsiteX9" fmla="*/ 320001 w 327428"/>
                <a:gd name="connsiteY9" fmla="*/ 13496 h 388880"/>
                <a:gd name="connsiteX10" fmla="*/ 178462 w 327428"/>
                <a:gd name="connsiteY10" fmla="*/ 59649 h 388880"/>
                <a:gd name="connsiteX11" fmla="*/ 169231 w 327428"/>
                <a:gd name="connsiteY11" fmla="*/ 65803 h 388880"/>
                <a:gd name="connsiteX12" fmla="*/ 9231 w 327428"/>
                <a:gd name="connsiteY12" fmla="*/ 311957 h 388880"/>
                <a:gd name="connsiteX13" fmla="*/ 135385 w 327428"/>
                <a:gd name="connsiteY13" fmla="*/ 373495 h 388880"/>
                <a:gd name="connsiteX14" fmla="*/ 138462 w 327428"/>
                <a:gd name="connsiteY14" fmla="*/ 379649 h 388880"/>
                <a:gd name="connsiteX15" fmla="*/ 138462 w 327428"/>
                <a:gd name="connsiteY15" fmla="*/ 388880 h 388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7428" h="388880">
                  <a:moveTo>
                    <a:pt x="138462" y="388880"/>
                  </a:moveTo>
                  <a:cubicBezTo>
                    <a:pt x="138462" y="388880"/>
                    <a:pt x="138462" y="388880"/>
                    <a:pt x="138462" y="388880"/>
                  </a:cubicBezTo>
                  <a:cubicBezTo>
                    <a:pt x="64616" y="364265"/>
                    <a:pt x="21539" y="345803"/>
                    <a:pt x="3077" y="321188"/>
                  </a:cubicBezTo>
                  <a:lnTo>
                    <a:pt x="0" y="318111"/>
                  </a:lnTo>
                  <a:lnTo>
                    <a:pt x="0" y="315034"/>
                  </a:lnTo>
                  <a:cubicBezTo>
                    <a:pt x="6154" y="281188"/>
                    <a:pt x="76923" y="124265"/>
                    <a:pt x="166155" y="59649"/>
                  </a:cubicBezTo>
                  <a:cubicBezTo>
                    <a:pt x="169231" y="56572"/>
                    <a:pt x="172308" y="56572"/>
                    <a:pt x="172308" y="53496"/>
                  </a:cubicBezTo>
                  <a:cubicBezTo>
                    <a:pt x="200000" y="31957"/>
                    <a:pt x="258462" y="-14197"/>
                    <a:pt x="323077" y="4265"/>
                  </a:cubicBezTo>
                  <a:cubicBezTo>
                    <a:pt x="326154" y="4265"/>
                    <a:pt x="329231" y="7342"/>
                    <a:pt x="326154" y="10418"/>
                  </a:cubicBezTo>
                  <a:cubicBezTo>
                    <a:pt x="326154" y="13496"/>
                    <a:pt x="323077" y="16572"/>
                    <a:pt x="320001" y="13496"/>
                  </a:cubicBezTo>
                  <a:cubicBezTo>
                    <a:pt x="261539" y="-1889"/>
                    <a:pt x="206154" y="41188"/>
                    <a:pt x="178462" y="59649"/>
                  </a:cubicBezTo>
                  <a:cubicBezTo>
                    <a:pt x="175385" y="62726"/>
                    <a:pt x="172308" y="62726"/>
                    <a:pt x="169231" y="65803"/>
                  </a:cubicBezTo>
                  <a:cubicBezTo>
                    <a:pt x="89232" y="127342"/>
                    <a:pt x="18462" y="278111"/>
                    <a:pt x="9231" y="311957"/>
                  </a:cubicBezTo>
                  <a:cubicBezTo>
                    <a:pt x="27693" y="330419"/>
                    <a:pt x="70770" y="348880"/>
                    <a:pt x="135385" y="373495"/>
                  </a:cubicBezTo>
                  <a:cubicBezTo>
                    <a:pt x="138462" y="373495"/>
                    <a:pt x="138462" y="376573"/>
                    <a:pt x="138462" y="379649"/>
                  </a:cubicBezTo>
                  <a:cubicBezTo>
                    <a:pt x="144616" y="388880"/>
                    <a:pt x="141539" y="388880"/>
                    <a:pt x="138462" y="388880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1" name="图形 1">
              <a:extLst>
                <a:ext uri="{FF2B5EF4-FFF2-40B4-BE49-F238E27FC236}">
                  <a16:creationId xmlns:a16="http://schemas.microsoft.com/office/drawing/2014/main" id="{DA7B4BE5-FD73-4122-9FDF-76ABEB92FE64}"/>
                </a:ext>
              </a:extLst>
            </p:cNvPr>
            <p:cNvGrpSpPr/>
            <p:nvPr/>
          </p:nvGrpSpPr>
          <p:grpSpPr>
            <a:xfrm>
              <a:off x="4074460" y="6383872"/>
              <a:ext cx="2723077" cy="2750769"/>
              <a:chOff x="4074460" y="6383872"/>
              <a:chExt cx="2723077" cy="2750769"/>
            </a:xfrm>
          </p:grpSpPr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1F1FE9C3-5EB8-4D4F-B26A-3163D068CCF7}"/>
                  </a:ext>
                </a:extLst>
              </p:cNvPr>
              <p:cNvSpPr/>
              <p:nvPr/>
            </p:nvSpPr>
            <p:spPr>
              <a:xfrm rot="-10800000">
                <a:off x="4272691" y="7189408"/>
                <a:ext cx="1424615" cy="116923"/>
              </a:xfrm>
              <a:custGeom>
                <a:avLst/>
                <a:gdLst>
                  <a:gd name="connsiteX0" fmla="*/ 0 w 1424615"/>
                  <a:gd name="connsiteY0" fmla="*/ 0 h 116923"/>
                  <a:gd name="connsiteX1" fmla="*/ 1424615 w 1424615"/>
                  <a:gd name="connsiteY1" fmla="*/ 0 h 116923"/>
                  <a:gd name="connsiteX2" fmla="*/ 1424615 w 1424615"/>
                  <a:gd name="connsiteY2" fmla="*/ 116923 h 116923"/>
                  <a:gd name="connsiteX3" fmla="*/ 0 w 1424615"/>
                  <a:gd name="connsiteY3" fmla="*/ 116923 h 11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4615" h="116923">
                    <a:moveTo>
                      <a:pt x="0" y="0"/>
                    </a:moveTo>
                    <a:lnTo>
                      <a:pt x="1424615" y="0"/>
                    </a:lnTo>
                    <a:lnTo>
                      <a:pt x="1424615" y="116923"/>
                    </a:lnTo>
                    <a:lnTo>
                      <a:pt x="0" y="116923"/>
                    </a:lnTo>
                    <a:close/>
                  </a:path>
                </a:pathLst>
              </a:custGeom>
              <a:solidFill>
                <a:srgbClr val="EFE4E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C2C7BC70-1B35-4239-866B-7535D7F31AE4}"/>
                  </a:ext>
                </a:extLst>
              </p:cNvPr>
              <p:cNvSpPr/>
              <p:nvPr/>
            </p:nvSpPr>
            <p:spPr>
              <a:xfrm>
                <a:off x="4145230" y="6500795"/>
                <a:ext cx="1920000" cy="2455385"/>
              </a:xfrm>
              <a:custGeom>
                <a:avLst/>
                <a:gdLst>
                  <a:gd name="connsiteX0" fmla="*/ 0 w 1920000"/>
                  <a:gd name="connsiteY0" fmla="*/ 2455385 h 2455385"/>
                  <a:gd name="connsiteX1" fmla="*/ 120000 w 1920000"/>
                  <a:gd name="connsiteY1" fmla="*/ 2455385 h 2455385"/>
                  <a:gd name="connsiteX2" fmla="*/ 1920000 w 1920000"/>
                  <a:gd name="connsiteY2" fmla="*/ 0 h 2455385"/>
                  <a:gd name="connsiteX3" fmla="*/ 1803077 w 1920000"/>
                  <a:gd name="connsiteY3" fmla="*/ 0 h 2455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20000" h="2455385">
                    <a:moveTo>
                      <a:pt x="0" y="2455385"/>
                    </a:moveTo>
                    <a:lnTo>
                      <a:pt x="120000" y="2455385"/>
                    </a:lnTo>
                    <a:lnTo>
                      <a:pt x="1920000" y="0"/>
                    </a:lnTo>
                    <a:lnTo>
                      <a:pt x="1803077" y="0"/>
                    </a:lnTo>
                    <a:close/>
                  </a:path>
                </a:pathLst>
              </a:custGeom>
              <a:solidFill>
                <a:srgbClr val="C6896F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02702063-C635-4B95-A067-F2D52ECA6B35}"/>
                  </a:ext>
                </a:extLst>
              </p:cNvPr>
              <p:cNvSpPr/>
              <p:nvPr/>
            </p:nvSpPr>
            <p:spPr>
              <a:xfrm rot="-10800000">
                <a:off x="5168867" y="7189408"/>
                <a:ext cx="1006153" cy="116923"/>
              </a:xfrm>
              <a:custGeom>
                <a:avLst/>
                <a:gdLst>
                  <a:gd name="connsiteX0" fmla="*/ 0 w 1006153"/>
                  <a:gd name="connsiteY0" fmla="*/ 0 h 116923"/>
                  <a:gd name="connsiteX1" fmla="*/ 1006154 w 1006153"/>
                  <a:gd name="connsiteY1" fmla="*/ 0 h 116923"/>
                  <a:gd name="connsiteX2" fmla="*/ 1006154 w 1006153"/>
                  <a:gd name="connsiteY2" fmla="*/ 116923 h 116923"/>
                  <a:gd name="connsiteX3" fmla="*/ 0 w 1006153"/>
                  <a:gd name="connsiteY3" fmla="*/ 116923 h 11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6153" h="116923">
                    <a:moveTo>
                      <a:pt x="0" y="0"/>
                    </a:moveTo>
                    <a:lnTo>
                      <a:pt x="1006154" y="0"/>
                    </a:lnTo>
                    <a:lnTo>
                      <a:pt x="1006154" y="116923"/>
                    </a:lnTo>
                    <a:lnTo>
                      <a:pt x="0" y="116923"/>
                    </a:lnTo>
                    <a:close/>
                  </a:path>
                </a:pathLst>
              </a:custGeom>
              <a:solidFill>
                <a:srgbClr val="F6EBE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D5D67A3A-4F05-4DFD-8A02-76110CFBABCD}"/>
                  </a:ext>
                </a:extLst>
              </p:cNvPr>
              <p:cNvSpPr/>
              <p:nvPr/>
            </p:nvSpPr>
            <p:spPr>
              <a:xfrm>
                <a:off x="4726768" y="8150026"/>
                <a:ext cx="704615" cy="806154"/>
              </a:xfrm>
              <a:custGeom>
                <a:avLst/>
                <a:gdLst>
                  <a:gd name="connsiteX0" fmla="*/ 704615 w 704615"/>
                  <a:gd name="connsiteY0" fmla="*/ 806154 h 806154"/>
                  <a:gd name="connsiteX1" fmla="*/ 587693 w 704615"/>
                  <a:gd name="connsiteY1" fmla="*/ 806154 h 806154"/>
                  <a:gd name="connsiteX2" fmla="*/ 0 w 704615"/>
                  <a:gd name="connsiteY2" fmla="*/ 15385 h 806154"/>
                  <a:gd name="connsiteX3" fmla="*/ 110769 w 704615"/>
                  <a:gd name="connsiteY3" fmla="*/ 0 h 806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4615" h="806154">
                    <a:moveTo>
                      <a:pt x="704615" y="806154"/>
                    </a:moveTo>
                    <a:lnTo>
                      <a:pt x="587693" y="806154"/>
                    </a:lnTo>
                    <a:lnTo>
                      <a:pt x="0" y="15385"/>
                    </a:lnTo>
                    <a:lnTo>
                      <a:pt x="110769" y="0"/>
                    </a:lnTo>
                    <a:close/>
                  </a:path>
                </a:pathLst>
              </a:custGeom>
              <a:solidFill>
                <a:srgbClr val="C6896F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28457855-2863-4800-A7F5-85233706E1BA}"/>
                  </a:ext>
                </a:extLst>
              </p:cNvPr>
              <p:cNvSpPr/>
              <p:nvPr/>
            </p:nvSpPr>
            <p:spPr>
              <a:xfrm>
                <a:off x="4800614" y="7306949"/>
                <a:ext cx="1375385" cy="686153"/>
              </a:xfrm>
              <a:custGeom>
                <a:avLst/>
                <a:gdLst>
                  <a:gd name="connsiteX0" fmla="*/ 0 w 1375385"/>
                  <a:gd name="connsiteY0" fmla="*/ 686154 h 686153"/>
                  <a:gd name="connsiteX1" fmla="*/ 790770 w 1375385"/>
                  <a:gd name="connsiteY1" fmla="*/ 686154 h 686153"/>
                  <a:gd name="connsiteX2" fmla="*/ 1375385 w 1375385"/>
                  <a:gd name="connsiteY2" fmla="*/ 101538 h 686153"/>
                  <a:gd name="connsiteX3" fmla="*/ 1375385 w 1375385"/>
                  <a:gd name="connsiteY3" fmla="*/ 0 h 686153"/>
                  <a:gd name="connsiteX4" fmla="*/ 0 w 1375385"/>
                  <a:gd name="connsiteY4" fmla="*/ 0 h 686153"/>
                  <a:gd name="connsiteX5" fmla="*/ 0 w 1375385"/>
                  <a:gd name="connsiteY5" fmla="*/ 686154 h 68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75385" h="686153">
                    <a:moveTo>
                      <a:pt x="0" y="686154"/>
                    </a:moveTo>
                    <a:lnTo>
                      <a:pt x="790770" y="686154"/>
                    </a:lnTo>
                    <a:cubicBezTo>
                      <a:pt x="1113847" y="686154"/>
                      <a:pt x="1375385" y="424615"/>
                      <a:pt x="1375385" y="101538"/>
                    </a:cubicBezTo>
                    <a:lnTo>
                      <a:pt x="1375385" y="0"/>
                    </a:lnTo>
                    <a:lnTo>
                      <a:pt x="0" y="0"/>
                    </a:lnTo>
                    <a:lnTo>
                      <a:pt x="0" y="686154"/>
                    </a:lnTo>
                    <a:close/>
                  </a:path>
                </a:pathLst>
              </a:custGeom>
              <a:solidFill>
                <a:srgbClr val="F1DDBA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B7752150-62C3-4B79-BF4C-1F04466D5F45}"/>
                  </a:ext>
                </a:extLst>
              </p:cNvPr>
              <p:cNvSpPr/>
              <p:nvPr/>
            </p:nvSpPr>
            <p:spPr>
              <a:xfrm>
                <a:off x="4274460" y="7306949"/>
                <a:ext cx="898462" cy="686153"/>
              </a:xfrm>
              <a:custGeom>
                <a:avLst/>
                <a:gdLst>
                  <a:gd name="connsiteX0" fmla="*/ 449231 w 898462"/>
                  <a:gd name="connsiteY0" fmla="*/ 686154 h 686153"/>
                  <a:gd name="connsiteX1" fmla="*/ 449231 w 898462"/>
                  <a:gd name="connsiteY1" fmla="*/ 686154 h 686153"/>
                  <a:gd name="connsiteX2" fmla="*/ 898462 w 898462"/>
                  <a:gd name="connsiteY2" fmla="*/ 236923 h 686153"/>
                  <a:gd name="connsiteX3" fmla="*/ 898462 w 898462"/>
                  <a:gd name="connsiteY3" fmla="*/ 0 h 686153"/>
                  <a:gd name="connsiteX4" fmla="*/ 0 w 898462"/>
                  <a:gd name="connsiteY4" fmla="*/ 0 h 686153"/>
                  <a:gd name="connsiteX5" fmla="*/ 0 w 898462"/>
                  <a:gd name="connsiteY5" fmla="*/ 236923 h 686153"/>
                  <a:gd name="connsiteX6" fmla="*/ 449231 w 898462"/>
                  <a:gd name="connsiteY6" fmla="*/ 686154 h 68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98462" h="686153">
                    <a:moveTo>
                      <a:pt x="449231" y="686154"/>
                    </a:moveTo>
                    <a:lnTo>
                      <a:pt x="449231" y="686154"/>
                    </a:lnTo>
                    <a:cubicBezTo>
                      <a:pt x="698462" y="686154"/>
                      <a:pt x="898462" y="486153"/>
                      <a:pt x="898462" y="236923"/>
                    </a:cubicBezTo>
                    <a:lnTo>
                      <a:pt x="898462" y="0"/>
                    </a:lnTo>
                    <a:lnTo>
                      <a:pt x="0" y="0"/>
                    </a:lnTo>
                    <a:lnTo>
                      <a:pt x="0" y="236923"/>
                    </a:lnTo>
                    <a:cubicBezTo>
                      <a:pt x="0" y="483077"/>
                      <a:pt x="200000" y="686154"/>
                      <a:pt x="449231" y="686154"/>
                    </a:cubicBezTo>
                    <a:close/>
                  </a:path>
                </a:pathLst>
              </a:custGeom>
              <a:solidFill>
                <a:srgbClr val="E8D2AF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BB581BE9-8EBB-42A9-8870-BD0B343073E5}"/>
                  </a:ext>
                </a:extLst>
              </p:cNvPr>
              <p:cNvSpPr/>
              <p:nvPr/>
            </p:nvSpPr>
            <p:spPr>
              <a:xfrm>
                <a:off x="4274460" y="6500795"/>
                <a:ext cx="1335385" cy="686154"/>
              </a:xfrm>
              <a:custGeom>
                <a:avLst/>
                <a:gdLst>
                  <a:gd name="connsiteX0" fmla="*/ 624616 w 1335385"/>
                  <a:gd name="connsiteY0" fmla="*/ 0 h 686154"/>
                  <a:gd name="connsiteX1" fmla="*/ 649231 w 1335385"/>
                  <a:gd name="connsiteY1" fmla="*/ 0 h 686154"/>
                  <a:gd name="connsiteX2" fmla="*/ 1335386 w 1335385"/>
                  <a:gd name="connsiteY2" fmla="*/ 686154 h 686154"/>
                  <a:gd name="connsiteX3" fmla="*/ 1335386 w 1335385"/>
                  <a:gd name="connsiteY3" fmla="*/ 686154 h 686154"/>
                  <a:gd name="connsiteX4" fmla="*/ 0 w 1335385"/>
                  <a:gd name="connsiteY4" fmla="*/ 686154 h 686154"/>
                  <a:gd name="connsiteX5" fmla="*/ 0 w 1335385"/>
                  <a:gd name="connsiteY5" fmla="*/ 624616 h 686154"/>
                  <a:gd name="connsiteX6" fmla="*/ 624616 w 1335385"/>
                  <a:gd name="connsiteY6" fmla="*/ 0 h 686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5385" h="686154">
                    <a:moveTo>
                      <a:pt x="624616" y="0"/>
                    </a:moveTo>
                    <a:lnTo>
                      <a:pt x="649231" y="0"/>
                    </a:lnTo>
                    <a:cubicBezTo>
                      <a:pt x="1027693" y="0"/>
                      <a:pt x="1335386" y="307692"/>
                      <a:pt x="1335386" y="686154"/>
                    </a:cubicBezTo>
                    <a:lnTo>
                      <a:pt x="1335386" y="686154"/>
                    </a:lnTo>
                    <a:lnTo>
                      <a:pt x="0" y="686154"/>
                    </a:lnTo>
                    <a:lnTo>
                      <a:pt x="0" y="624616"/>
                    </a:lnTo>
                    <a:cubicBezTo>
                      <a:pt x="0" y="280000"/>
                      <a:pt x="280000" y="0"/>
                      <a:pt x="624616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09" name="图形 1">
                <a:extLst>
                  <a:ext uri="{FF2B5EF4-FFF2-40B4-BE49-F238E27FC236}">
                    <a16:creationId xmlns:a16="http://schemas.microsoft.com/office/drawing/2014/main" id="{DB358B89-E7D9-46D4-8747-C4B3B1675743}"/>
                  </a:ext>
                </a:extLst>
              </p:cNvPr>
              <p:cNvGrpSpPr/>
              <p:nvPr/>
            </p:nvGrpSpPr>
            <p:grpSpPr>
              <a:xfrm>
                <a:off x="5188307" y="8808487"/>
                <a:ext cx="326154" cy="326154"/>
                <a:chOff x="5188307" y="8808487"/>
                <a:chExt cx="326154" cy="326154"/>
              </a:xfrm>
            </p:grpSpPr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3B6ED707-9842-4272-9BC3-8F608FFB5B99}"/>
                    </a:ext>
                  </a:extLst>
                </p:cNvPr>
                <p:cNvSpPr/>
                <p:nvPr/>
              </p:nvSpPr>
              <p:spPr>
                <a:xfrm>
                  <a:off x="5188307" y="8808487"/>
                  <a:ext cx="326154" cy="326154"/>
                </a:xfrm>
                <a:custGeom>
                  <a:avLst/>
                  <a:gdLst>
                    <a:gd name="connsiteX0" fmla="*/ 0 w 326154"/>
                    <a:gd name="connsiteY0" fmla="*/ 163077 h 326154"/>
                    <a:gd name="connsiteX1" fmla="*/ 163077 w 326154"/>
                    <a:gd name="connsiteY1" fmla="*/ 0 h 326154"/>
                    <a:gd name="connsiteX2" fmla="*/ 326154 w 326154"/>
                    <a:gd name="connsiteY2" fmla="*/ 163077 h 326154"/>
                    <a:gd name="connsiteX3" fmla="*/ 163077 w 326154"/>
                    <a:gd name="connsiteY3" fmla="*/ 326154 h 326154"/>
                    <a:gd name="connsiteX4" fmla="*/ 0 w 326154"/>
                    <a:gd name="connsiteY4" fmla="*/ 163077 h 326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6154" h="326154">
                      <a:moveTo>
                        <a:pt x="0" y="163077"/>
                      </a:moveTo>
                      <a:cubicBezTo>
                        <a:pt x="0" y="73847"/>
                        <a:pt x="73846" y="0"/>
                        <a:pt x="163077" y="0"/>
                      </a:cubicBezTo>
                      <a:cubicBezTo>
                        <a:pt x="252308" y="0"/>
                        <a:pt x="326154" y="73847"/>
                        <a:pt x="326154" y="163077"/>
                      </a:cubicBezTo>
                      <a:cubicBezTo>
                        <a:pt x="326154" y="252308"/>
                        <a:pt x="252308" y="326154"/>
                        <a:pt x="163077" y="326154"/>
                      </a:cubicBezTo>
                      <a:cubicBezTo>
                        <a:pt x="73846" y="326154"/>
                        <a:pt x="0" y="252308"/>
                        <a:pt x="0" y="163077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76EA96A6-8159-4992-8188-BB6E02CD6134}"/>
                    </a:ext>
                  </a:extLst>
                </p:cNvPr>
                <p:cNvSpPr/>
                <p:nvPr/>
              </p:nvSpPr>
              <p:spPr>
                <a:xfrm>
                  <a:off x="5271384" y="8894642"/>
                  <a:ext cx="153846" cy="154025"/>
                </a:xfrm>
                <a:custGeom>
                  <a:avLst/>
                  <a:gdLst>
                    <a:gd name="connsiteX0" fmla="*/ 0 w 153846"/>
                    <a:gd name="connsiteY0" fmla="*/ 76923 h 154025"/>
                    <a:gd name="connsiteX1" fmla="*/ 76923 w 153846"/>
                    <a:gd name="connsiteY1" fmla="*/ 0 h 154025"/>
                    <a:gd name="connsiteX2" fmla="*/ 153846 w 153846"/>
                    <a:gd name="connsiteY2" fmla="*/ 76923 h 154025"/>
                    <a:gd name="connsiteX3" fmla="*/ 76923 w 153846"/>
                    <a:gd name="connsiteY3" fmla="*/ 153846 h 154025"/>
                    <a:gd name="connsiteX4" fmla="*/ 0 w 153846"/>
                    <a:gd name="connsiteY4" fmla="*/ 76923 h 154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3846" h="154025">
                      <a:moveTo>
                        <a:pt x="0" y="76923"/>
                      </a:moveTo>
                      <a:cubicBezTo>
                        <a:pt x="0" y="33846"/>
                        <a:pt x="33845" y="0"/>
                        <a:pt x="76923" y="0"/>
                      </a:cubicBezTo>
                      <a:cubicBezTo>
                        <a:pt x="120000" y="0"/>
                        <a:pt x="153846" y="33846"/>
                        <a:pt x="153846" y="76923"/>
                      </a:cubicBezTo>
                      <a:cubicBezTo>
                        <a:pt x="153846" y="120000"/>
                        <a:pt x="120000" y="153846"/>
                        <a:pt x="76923" y="153846"/>
                      </a:cubicBezTo>
                      <a:cubicBezTo>
                        <a:pt x="33845" y="156923"/>
                        <a:pt x="0" y="120000"/>
                        <a:pt x="0" y="76923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4F45D072-0A2F-4A5D-9CC0-9F75FDF753AB}"/>
                  </a:ext>
                </a:extLst>
              </p:cNvPr>
              <p:cNvSpPr/>
              <p:nvPr/>
            </p:nvSpPr>
            <p:spPr>
              <a:xfrm>
                <a:off x="5563692" y="7140796"/>
                <a:ext cx="92307" cy="92307"/>
              </a:xfrm>
              <a:custGeom>
                <a:avLst/>
                <a:gdLst>
                  <a:gd name="connsiteX0" fmla="*/ 0 w 92307"/>
                  <a:gd name="connsiteY0" fmla="*/ 46154 h 92307"/>
                  <a:gd name="connsiteX1" fmla="*/ 46154 w 92307"/>
                  <a:gd name="connsiteY1" fmla="*/ 0 h 92307"/>
                  <a:gd name="connsiteX2" fmla="*/ 92308 w 92307"/>
                  <a:gd name="connsiteY2" fmla="*/ 46154 h 92307"/>
                  <a:gd name="connsiteX3" fmla="*/ 46154 w 92307"/>
                  <a:gd name="connsiteY3" fmla="*/ 92308 h 92307"/>
                  <a:gd name="connsiteX4" fmla="*/ 0 w 92307"/>
                  <a:gd name="connsiteY4" fmla="*/ 46154 h 9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307" h="92307">
                    <a:moveTo>
                      <a:pt x="0" y="46154"/>
                    </a:moveTo>
                    <a:cubicBezTo>
                      <a:pt x="0" y="21538"/>
                      <a:pt x="21538" y="0"/>
                      <a:pt x="46154" y="0"/>
                    </a:cubicBezTo>
                    <a:cubicBezTo>
                      <a:pt x="70769" y="0"/>
                      <a:pt x="92308" y="21538"/>
                      <a:pt x="92308" y="46154"/>
                    </a:cubicBezTo>
                    <a:cubicBezTo>
                      <a:pt x="92308" y="70769"/>
                      <a:pt x="70769" y="92308"/>
                      <a:pt x="46154" y="92308"/>
                    </a:cubicBezTo>
                    <a:cubicBezTo>
                      <a:pt x="18461" y="92308"/>
                      <a:pt x="0" y="73846"/>
                      <a:pt x="0" y="46154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1" name="图形 1">
                <a:extLst>
                  <a:ext uri="{FF2B5EF4-FFF2-40B4-BE49-F238E27FC236}">
                    <a16:creationId xmlns:a16="http://schemas.microsoft.com/office/drawing/2014/main" id="{8F31D7FD-B819-4A21-A9BF-2775862A74CB}"/>
                  </a:ext>
                </a:extLst>
              </p:cNvPr>
              <p:cNvGrpSpPr/>
              <p:nvPr/>
            </p:nvGrpSpPr>
            <p:grpSpPr>
              <a:xfrm>
                <a:off x="4329845" y="8740796"/>
                <a:ext cx="1575384" cy="286153"/>
                <a:chOff x="4329845" y="8740796"/>
                <a:chExt cx="1575384" cy="286153"/>
              </a:xfrm>
            </p:grpSpPr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810BE97E-6DA5-4322-8E92-45CFB338D19E}"/>
                    </a:ext>
                  </a:extLst>
                </p:cNvPr>
                <p:cNvSpPr/>
                <p:nvPr/>
              </p:nvSpPr>
              <p:spPr>
                <a:xfrm>
                  <a:off x="4865230" y="8740796"/>
                  <a:ext cx="1039999" cy="286153"/>
                </a:xfrm>
                <a:custGeom>
                  <a:avLst/>
                  <a:gdLst>
                    <a:gd name="connsiteX0" fmla="*/ 0 w 1039999"/>
                    <a:gd name="connsiteY0" fmla="*/ 286153 h 286153"/>
                    <a:gd name="connsiteX1" fmla="*/ 809231 w 1039999"/>
                    <a:gd name="connsiteY1" fmla="*/ 286153 h 286153"/>
                    <a:gd name="connsiteX2" fmla="*/ 1040000 w 1039999"/>
                    <a:gd name="connsiteY2" fmla="*/ 55384 h 286153"/>
                    <a:gd name="connsiteX3" fmla="*/ 1040000 w 1039999"/>
                    <a:gd name="connsiteY3" fmla="*/ 0 h 286153"/>
                    <a:gd name="connsiteX4" fmla="*/ 0 w 1039999"/>
                    <a:gd name="connsiteY4" fmla="*/ 0 h 286153"/>
                    <a:gd name="connsiteX5" fmla="*/ 0 w 1039999"/>
                    <a:gd name="connsiteY5" fmla="*/ 286153 h 286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39999" h="286153">
                      <a:moveTo>
                        <a:pt x="0" y="286153"/>
                      </a:moveTo>
                      <a:lnTo>
                        <a:pt x="809231" y="286153"/>
                      </a:lnTo>
                      <a:cubicBezTo>
                        <a:pt x="938462" y="286153"/>
                        <a:pt x="1040000" y="181538"/>
                        <a:pt x="1040000" y="55384"/>
                      </a:cubicBezTo>
                      <a:lnTo>
                        <a:pt x="1040000" y="0"/>
                      </a:lnTo>
                      <a:lnTo>
                        <a:pt x="0" y="0"/>
                      </a:lnTo>
                      <a:lnTo>
                        <a:pt x="0" y="286153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BAAFE0BA-F7A7-48D9-912D-A1CDCF39090A}"/>
                    </a:ext>
                  </a:extLst>
                </p:cNvPr>
                <p:cNvSpPr/>
                <p:nvPr/>
              </p:nvSpPr>
              <p:spPr>
                <a:xfrm>
                  <a:off x="4329845" y="8740796"/>
                  <a:ext cx="806153" cy="286153"/>
                </a:xfrm>
                <a:custGeom>
                  <a:avLst/>
                  <a:gdLst>
                    <a:gd name="connsiteX0" fmla="*/ 230769 w 806153"/>
                    <a:gd name="connsiteY0" fmla="*/ 286153 h 286153"/>
                    <a:gd name="connsiteX1" fmla="*/ 575384 w 806153"/>
                    <a:gd name="connsiteY1" fmla="*/ 286153 h 286153"/>
                    <a:gd name="connsiteX2" fmla="*/ 806153 w 806153"/>
                    <a:gd name="connsiteY2" fmla="*/ 55384 h 286153"/>
                    <a:gd name="connsiteX3" fmla="*/ 806153 w 806153"/>
                    <a:gd name="connsiteY3" fmla="*/ 0 h 286153"/>
                    <a:gd name="connsiteX4" fmla="*/ 0 w 806153"/>
                    <a:gd name="connsiteY4" fmla="*/ 0 h 286153"/>
                    <a:gd name="connsiteX5" fmla="*/ 0 w 806153"/>
                    <a:gd name="connsiteY5" fmla="*/ 55384 h 286153"/>
                    <a:gd name="connsiteX6" fmla="*/ 230769 w 806153"/>
                    <a:gd name="connsiteY6" fmla="*/ 286153 h 286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06153" h="286153">
                      <a:moveTo>
                        <a:pt x="230769" y="286153"/>
                      </a:moveTo>
                      <a:lnTo>
                        <a:pt x="575384" y="286153"/>
                      </a:lnTo>
                      <a:cubicBezTo>
                        <a:pt x="704615" y="286153"/>
                        <a:pt x="806153" y="181538"/>
                        <a:pt x="806153" y="55384"/>
                      </a:cubicBezTo>
                      <a:lnTo>
                        <a:pt x="806153" y="0"/>
                      </a:lnTo>
                      <a:lnTo>
                        <a:pt x="0" y="0"/>
                      </a:lnTo>
                      <a:lnTo>
                        <a:pt x="0" y="55384"/>
                      </a:lnTo>
                      <a:cubicBezTo>
                        <a:pt x="0" y="181538"/>
                        <a:pt x="101538" y="286153"/>
                        <a:pt x="230769" y="286153"/>
                      </a:cubicBezTo>
                      <a:close/>
                    </a:path>
                  </a:pathLst>
                </a:custGeom>
                <a:solidFill>
                  <a:srgbClr val="E8D2AF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C12895AB-1FAA-4946-A9D8-7D6656B913E8}"/>
                  </a:ext>
                </a:extLst>
              </p:cNvPr>
              <p:cNvSpPr/>
              <p:nvPr/>
            </p:nvSpPr>
            <p:spPr>
              <a:xfrm>
                <a:off x="5379076" y="8150026"/>
                <a:ext cx="704615" cy="806154"/>
              </a:xfrm>
              <a:custGeom>
                <a:avLst/>
                <a:gdLst>
                  <a:gd name="connsiteX0" fmla="*/ 704615 w 704615"/>
                  <a:gd name="connsiteY0" fmla="*/ 806154 h 806154"/>
                  <a:gd name="connsiteX1" fmla="*/ 587692 w 704615"/>
                  <a:gd name="connsiteY1" fmla="*/ 806154 h 806154"/>
                  <a:gd name="connsiteX2" fmla="*/ 0 w 704615"/>
                  <a:gd name="connsiteY2" fmla="*/ 15385 h 806154"/>
                  <a:gd name="connsiteX3" fmla="*/ 107692 w 704615"/>
                  <a:gd name="connsiteY3" fmla="*/ 0 h 806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4615" h="806154">
                    <a:moveTo>
                      <a:pt x="704615" y="806154"/>
                    </a:moveTo>
                    <a:lnTo>
                      <a:pt x="587692" y="806154"/>
                    </a:lnTo>
                    <a:lnTo>
                      <a:pt x="0" y="15385"/>
                    </a:lnTo>
                    <a:lnTo>
                      <a:pt x="107692" y="0"/>
                    </a:lnTo>
                    <a:close/>
                  </a:path>
                </a:pathLst>
              </a:custGeom>
              <a:solidFill>
                <a:srgbClr val="D3977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3" name="图形 1">
                <a:extLst>
                  <a:ext uri="{FF2B5EF4-FFF2-40B4-BE49-F238E27FC236}">
                    <a16:creationId xmlns:a16="http://schemas.microsoft.com/office/drawing/2014/main" id="{11457FAF-6639-4049-B2CC-6097A3B064CD}"/>
                  </a:ext>
                </a:extLst>
              </p:cNvPr>
              <p:cNvGrpSpPr/>
              <p:nvPr/>
            </p:nvGrpSpPr>
            <p:grpSpPr>
              <a:xfrm>
                <a:off x="4074460" y="8808487"/>
                <a:ext cx="326154" cy="326154"/>
                <a:chOff x="4074460" y="8808487"/>
                <a:chExt cx="326154" cy="326154"/>
              </a:xfrm>
            </p:grpSpPr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A8B774E7-4770-4F1A-92B7-AEAB0380F35E}"/>
                    </a:ext>
                  </a:extLst>
                </p:cNvPr>
                <p:cNvSpPr/>
                <p:nvPr/>
              </p:nvSpPr>
              <p:spPr>
                <a:xfrm>
                  <a:off x="4074460" y="8808487"/>
                  <a:ext cx="326154" cy="326154"/>
                </a:xfrm>
                <a:custGeom>
                  <a:avLst/>
                  <a:gdLst>
                    <a:gd name="connsiteX0" fmla="*/ 0 w 326154"/>
                    <a:gd name="connsiteY0" fmla="*/ 163077 h 326154"/>
                    <a:gd name="connsiteX1" fmla="*/ 163078 w 326154"/>
                    <a:gd name="connsiteY1" fmla="*/ 0 h 326154"/>
                    <a:gd name="connsiteX2" fmla="*/ 326154 w 326154"/>
                    <a:gd name="connsiteY2" fmla="*/ 163077 h 326154"/>
                    <a:gd name="connsiteX3" fmla="*/ 163078 w 326154"/>
                    <a:gd name="connsiteY3" fmla="*/ 326154 h 326154"/>
                    <a:gd name="connsiteX4" fmla="*/ 0 w 326154"/>
                    <a:gd name="connsiteY4" fmla="*/ 163077 h 326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6154" h="326154">
                      <a:moveTo>
                        <a:pt x="0" y="163077"/>
                      </a:moveTo>
                      <a:cubicBezTo>
                        <a:pt x="0" y="73847"/>
                        <a:pt x="73847" y="0"/>
                        <a:pt x="163078" y="0"/>
                      </a:cubicBezTo>
                      <a:cubicBezTo>
                        <a:pt x="252308" y="0"/>
                        <a:pt x="326154" y="73847"/>
                        <a:pt x="326154" y="163077"/>
                      </a:cubicBezTo>
                      <a:cubicBezTo>
                        <a:pt x="326154" y="252308"/>
                        <a:pt x="252308" y="326154"/>
                        <a:pt x="163078" y="326154"/>
                      </a:cubicBezTo>
                      <a:cubicBezTo>
                        <a:pt x="73847" y="326154"/>
                        <a:pt x="0" y="252308"/>
                        <a:pt x="0" y="163077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75A47635-1C01-4E4F-B29C-83E9C2FF6C2D}"/>
                    </a:ext>
                  </a:extLst>
                </p:cNvPr>
                <p:cNvSpPr/>
                <p:nvPr/>
              </p:nvSpPr>
              <p:spPr>
                <a:xfrm>
                  <a:off x="4157537" y="8894642"/>
                  <a:ext cx="153846" cy="154025"/>
                </a:xfrm>
                <a:custGeom>
                  <a:avLst/>
                  <a:gdLst>
                    <a:gd name="connsiteX0" fmla="*/ 0 w 153846"/>
                    <a:gd name="connsiteY0" fmla="*/ 76923 h 154025"/>
                    <a:gd name="connsiteX1" fmla="*/ 76923 w 153846"/>
                    <a:gd name="connsiteY1" fmla="*/ 0 h 154025"/>
                    <a:gd name="connsiteX2" fmla="*/ 153846 w 153846"/>
                    <a:gd name="connsiteY2" fmla="*/ 76923 h 154025"/>
                    <a:gd name="connsiteX3" fmla="*/ 76923 w 153846"/>
                    <a:gd name="connsiteY3" fmla="*/ 153846 h 154025"/>
                    <a:gd name="connsiteX4" fmla="*/ 0 w 153846"/>
                    <a:gd name="connsiteY4" fmla="*/ 76923 h 154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3846" h="154025">
                      <a:moveTo>
                        <a:pt x="0" y="76923"/>
                      </a:moveTo>
                      <a:cubicBezTo>
                        <a:pt x="0" y="33846"/>
                        <a:pt x="33846" y="0"/>
                        <a:pt x="76923" y="0"/>
                      </a:cubicBezTo>
                      <a:cubicBezTo>
                        <a:pt x="120000" y="0"/>
                        <a:pt x="153846" y="33846"/>
                        <a:pt x="153846" y="76923"/>
                      </a:cubicBezTo>
                      <a:cubicBezTo>
                        <a:pt x="153846" y="120000"/>
                        <a:pt x="120000" y="153846"/>
                        <a:pt x="76923" y="153846"/>
                      </a:cubicBezTo>
                      <a:cubicBezTo>
                        <a:pt x="36923" y="156923"/>
                        <a:pt x="0" y="120000"/>
                        <a:pt x="0" y="76923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14" name="图形 1">
                <a:extLst>
                  <a:ext uri="{FF2B5EF4-FFF2-40B4-BE49-F238E27FC236}">
                    <a16:creationId xmlns:a16="http://schemas.microsoft.com/office/drawing/2014/main" id="{73E1BCB9-6145-44E4-89E3-9954BABA998E}"/>
                  </a:ext>
                </a:extLst>
              </p:cNvPr>
              <p:cNvGrpSpPr/>
              <p:nvPr/>
            </p:nvGrpSpPr>
            <p:grpSpPr>
              <a:xfrm>
                <a:off x="5837538" y="8808487"/>
                <a:ext cx="326154" cy="326154"/>
                <a:chOff x="5837538" y="8808487"/>
                <a:chExt cx="326154" cy="326154"/>
              </a:xfrm>
            </p:grpSpPr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D78066A4-87B0-45C1-939A-40736BBF8C37}"/>
                    </a:ext>
                  </a:extLst>
                </p:cNvPr>
                <p:cNvSpPr/>
                <p:nvPr/>
              </p:nvSpPr>
              <p:spPr>
                <a:xfrm>
                  <a:off x="5837538" y="8808487"/>
                  <a:ext cx="326154" cy="326154"/>
                </a:xfrm>
                <a:custGeom>
                  <a:avLst/>
                  <a:gdLst>
                    <a:gd name="connsiteX0" fmla="*/ 0 w 326154"/>
                    <a:gd name="connsiteY0" fmla="*/ 163077 h 326154"/>
                    <a:gd name="connsiteX1" fmla="*/ 163077 w 326154"/>
                    <a:gd name="connsiteY1" fmla="*/ 0 h 326154"/>
                    <a:gd name="connsiteX2" fmla="*/ 326154 w 326154"/>
                    <a:gd name="connsiteY2" fmla="*/ 163077 h 326154"/>
                    <a:gd name="connsiteX3" fmla="*/ 163077 w 326154"/>
                    <a:gd name="connsiteY3" fmla="*/ 326154 h 326154"/>
                    <a:gd name="connsiteX4" fmla="*/ 0 w 326154"/>
                    <a:gd name="connsiteY4" fmla="*/ 163077 h 326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6154" h="326154">
                      <a:moveTo>
                        <a:pt x="0" y="163077"/>
                      </a:moveTo>
                      <a:cubicBezTo>
                        <a:pt x="0" y="73847"/>
                        <a:pt x="73846" y="0"/>
                        <a:pt x="163077" y="0"/>
                      </a:cubicBezTo>
                      <a:cubicBezTo>
                        <a:pt x="252307" y="0"/>
                        <a:pt x="326154" y="73847"/>
                        <a:pt x="326154" y="163077"/>
                      </a:cubicBezTo>
                      <a:cubicBezTo>
                        <a:pt x="326154" y="252308"/>
                        <a:pt x="252307" y="326154"/>
                        <a:pt x="163077" y="326154"/>
                      </a:cubicBezTo>
                      <a:cubicBezTo>
                        <a:pt x="73846" y="326154"/>
                        <a:pt x="0" y="252308"/>
                        <a:pt x="0" y="163077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1855B982-3856-4EDB-AED7-85242E2A013B}"/>
                    </a:ext>
                  </a:extLst>
                </p:cNvPr>
                <p:cNvSpPr/>
                <p:nvPr/>
              </p:nvSpPr>
              <p:spPr>
                <a:xfrm>
                  <a:off x="5920614" y="8894642"/>
                  <a:ext cx="153846" cy="154025"/>
                </a:xfrm>
                <a:custGeom>
                  <a:avLst/>
                  <a:gdLst>
                    <a:gd name="connsiteX0" fmla="*/ 0 w 153846"/>
                    <a:gd name="connsiteY0" fmla="*/ 76923 h 154025"/>
                    <a:gd name="connsiteX1" fmla="*/ 76923 w 153846"/>
                    <a:gd name="connsiteY1" fmla="*/ 0 h 154025"/>
                    <a:gd name="connsiteX2" fmla="*/ 153846 w 153846"/>
                    <a:gd name="connsiteY2" fmla="*/ 76923 h 154025"/>
                    <a:gd name="connsiteX3" fmla="*/ 76923 w 153846"/>
                    <a:gd name="connsiteY3" fmla="*/ 153846 h 154025"/>
                    <a:gd name="connsiteX4" fmla="*/ 0 w 153846"/>
                    <a:gd name="connsiteY4" fmla="*/ 76923 h 154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3846" h="154025">
                      <a:moveTo>
                        <a:pt x="0" y="76923"/>
                      </a:moveTo>
                      <a:cubicBezTo>
                        <a:pt x="0" y="33846"/>
                        <a:pt x="33846" y="0"/>
                        <a:pt x="76923" y="0"/>
                      </a:cubicBezTo>
                      <a:cubicBezTo>
                        <a:pt x="120001" y="0"/>
                        <a:pt x="153846" y="33846"/>
                        <a:pt x="153846" y="76923"/>
                      </a:cubicBezTo>
                      <a:cubicBezTo>
                        <a:pt x="153846" y="120000"/>
                        <a:pt x="120001" y="153846"/>
                        <a:pt x="76923" y="153846"/>
                      </a:cubicBezTo>
                      <a:cubicBezTo>
                        <a:pt x="33846" y="156923"/>
                        <a:pt x="0" y="120000"/>
                        <a:pt x="0" y="76923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EC14C3D6-24E2-41A3-85AE-AFDE3FC1DF57}"/>
                  </a:ext>
                </a:extLst>
              </p:cNvPr>
              <p:cNvSpPr/>
              <p:nvPr/>
            </p:nvSpPr>
            <p:spPr>
              <a:xfrm>
                <a:off x="4917538" y="6494642"/>
                <a:ext cx="698461" cy="698460"/>
              </a:xfrm>
              <a:custGeom>
                <a:avLst/>
                <a:gdLst>
                  <a:gd name="connsiteX0" fmla="*/ 692308 w 698461"/>
                  <a:gd name="connsiteY0" fmla="*/ 698461 h 698460"/>
                  <a:gd name="connsiteX1" fmla="*/ 686154 w 698461"/>
                  <a:gd name="connsiteY1" fmla="*/ 695385 h 698460"/>
                  <a:gd name="connsiteX2" fmla="*/ 55384 w 698461"/>
                  <a:gd name="connsiteY2" fmla="*/ 27692 h 698460"/>
                  <a:gd name="connsiteX3" fmla="*/ 483076 w 698461"/>
                  <a:gd name="connsiteY3" fmla="*/ 692308 h 698460"/>
                  <a:gd name="connsiteX4" fmla="*/ 476923 w 698461"/>
                  <a:gd name="connsiteY4" fmla="*/ 698461 h 698460"/>
                  <a:gd name="connsiteX5" fmla="*/ 470769 w 698461"/>
                  <a:gd name="connsiteY5" fmla="*/ 692308 h 698460"/>
                  <a:gd name="connsiteX6" fmla="*/ 3076 w 698461"/>
                  <a:gd name="connsiteY6" fmla="*/ 9230 h 698460"/>
                  <a:gd name="connsiteX7" fmla="*/ 0 w 698461"/>
                  <a:gd name="connsiteY7" fmla="*/ 3077 h 698460"/>
                  <a:gd name="connsiteX8" fmla="*/ 6153 w 698461"/>
                  <a:gd name="connsiteY8" fmla="*/ 0 h 698460"/>
                  <a:gd name="connsiteX9" fmla="*/ 698461 w 698461"/>
                  <a:gd name="connsiteY9" fmla="*/ 689231 h 698460"/>
                  <a:gd name="connsiteX10" fmla="*/ 692308 w 698461"/>
                  <a:gd name="connsiteY10" fmla="*/ 698461 h 698460"/>
                  <a:gd name="connsiteX11" fmla="*/ 692308 w 698461"/>
                  <a:gd name="connsiteY11" fmla="*/ 698461 h 698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98461" h="698460">
                    <a:moveTo>
                      <a:pt x="692308" y="698461"/>
                    </a:moveTo>
                    <a:cubicBezTo>
                      <a:pt x="689231" y="698461"/>
                      <a:pt x="686154" y="695385"/>
                      <a:pt x="686154" y="695385"/>
                    </a:cubicBezTo>
                    <a:cubicBezTo>
                      <a:pt x="683076" y="689231"/>
                      <a:pt x="526153" y="178461"/>
                      <a:pt x="55384" y="27692"/>
                    </a:cubicBezTo>
                    <a:cubicBezTo>
                      <a:pt x="421538" y="240000"/>
                      <a:pt x="479999" y="689231"/>
                      <a:pt x="483076" y="692308"/>
                    </a:cubicBezTo>
                    <a:cubicBezTo>
                      <a:pt x="483076" y="695385"/>
                      <a:pt x="479999" y="698461"/>
                      <a:pt x="476923" y="698461"/>
                    </a:cubicBezTo>
                    <a:cubicBezTo>
                      <a:pt x="473846" y="698461"/>
                      <a:pt x="470769" y="695385"/>
                      <a:pt x="470769" y="692308"/>
                    </a:cubicBezTo>
                    <a:cubicBezTo>
                      <a:pt x="470769" y="686154"/>
                      <a:pt x="403076" y="206153"/>
                      <a:pt x="3076" y="9230"/>
                    </a:cubicBezTo>
                    <a:cubicBezTo>
                      <a:pt x="0" y="9230"/>
                      <a:pt x="0" y="6153"/>
                      <a:pt x="0" y="3077"/>
                    </a:cubicBezTo>
                    <a:cubicBezTo>
                      <a:pt x="0" y="0"/>
                      <a:pt x="3076" y="0"/>
                      <a:pt x="6153" y="0"/>
                    </a:cubicBezTo>
                    <a:cubicBezTo>
                      <a:pt x="523077" y="132307"/>
                      <a:pt x="695384" y="686154"/>
                      <a:pt x="698461" y="689231"/>
                    </a:cubicBezTo>
                    <a:cubicBezTo>
                      <a:pt x="698461" y="695385"/>
                      <a:pt x="695384" y="698461"/>
                      <a:pt x="692308" y="698461"/>
                    </a:cubicBezTo>
                    <a:cubicBezTo>
                      <a:pt x="692308" y="698461"/>
                      <a:pt x="692308" y="698461"/>
                      <a:pt x="692308" y="69846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22C63A4B-F49E-4224-9A1E-FF201C36963D}"/>
                  </a:ext>
                </a:extLst>
              </p:cNvPr>
              <p:cNvSpPr/>
              <p:nvPr/>
            </p:nvSpPr>
            <p:spPr>
              <a:xfrm>
                <a:off x="4915230" y="6492334"/>
                <a:ext cx="263846" cy="700768"/>
              </a:xfrm>
              <a:custGeom>
                <a:avLst/>
                <a:gdLst>
                  <a:gd name="connsiteX0" fmla="*/ 257692 w 263846"/>
                  <a:gd name="connsiteY0" fmla="*/ 700769 h 700768"/>
                  <a:gd name="connsiteX1" fmla="*/ 251538 w 263846"/>
                  <a:gd name="connsiteY1" fmla="*/ 694616 h 700768"/>
                  <a:gd name="connsiteX2" fmla="*/ 2308 w 263846"/>
                  <a:gd name="connsiteY2" fmla="*/ 11538 h 700768"/>
                  <a:gd name="connsiteX3" fmla="*/ 2308 w 263846"/>
                  <a:gd name="connsiteY3" fmla="*/ 2308 h 700768"/>
                  <a:gd name="connsiteX4" fmla="*/ 11538 w 263846"/>
                  <a:gd name="connsiteY4" fmla="*/ 2308 h 700768"/>
                  <a:gd name="connsiteX5" fmla="*/ 263846 w 263846"/>
                  <a:gd name="connsiteY5" fmla="*/ 691538 h 700768"/>
                  <a:gd name="connsiteX6" fmla="*/ 257692 w 263846"/>
                  <a:gd name="connsiteY6" fmla="*/ 700769 h 700768"/>
                  <a:gd name="connsiteX7" fmla="*/ 257692 w 263846"/>
                  <a:gd name="connsiteY7" fmla="*/ 700769 h 700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3846" h="700768">
                    <a:moveTo>
                      <a:pt x="257692" y="700769"/>
                    </a:moveTo>
                    <a:cubicBezTo>
                      <a:pt x="254615" y="700769"/>
                      <a:pt x="251538" y="697693"/>
                      <a:pt x="251538" y="694616"/>
                    </a:cubicBezTo>
                    <a:cubicBezTo>
                      <a:pt x="242307" y="294616"/>
                      <a:pt x="5384" y="14615"/>
                      <a:pt x="2308" y="11538"/>
                    </a:cubicBezTo>
                    <a:cubicBezTo>
                      <a:pt x="-769" y="8461"/>
                      <a:pt x="-769" y="5385"/>
                      <a:pt x="2308" y="2308"/>
                    </a:cubicBezTo>
                    <a:cubicBezTo>
                      <a:pt x="5384" y="-769"/>
                      <a:pt x="8461" y="-769"/>
                      <a:pt x="11538" y="2308"/>
                    </a:cubicBezTo>
                    <a:cubicBezTo>
                      <a:pt x="14615" y="5385"/>
                      <a:pt x="254615" y="288461"/>
                      <a:pt x="263846" y="691538"/>
                    </a:cubicBezTo>
                    <a:cubicBezTo>
                      <a:pt x="260769" y="697693"/>
                      <a:pt x="260769" y="700769"/>
                      <a:pt x="257692" y="700769"/>
                    </a:cubicBezTo>
                    <a:lnTo>
                      <a:pt x="257692" y="700769"/>
                    </a:ln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3BA6A8A3-C7EF-44D2-B5EB-6A61ECFA4FB2}"/>
                  </a:ext>
                </a:extLst>
              </p:cNvPr>
              <p:cNvSpPr/>
              <p:nvPr/>
            </p:nvSpPr>
            <p:spPr>
              <a:xfrm>
                <a:off x="4797537" y="6500795"/>
                <a:ext cx="1920001" cy="2455385"/>
              </a:xfrm>
              <a:custGeom>
                <a:avLst/>
                <a:gdLst>
                  <a:gd name="connsiteX0" fmla="*/ 0 w 1920001"/>
                  <a:gd name="connsiteY0" fmla="*/ 2455385 h 2455385"/>
                  <a:gd name="connsiteX1" fmla="*/ 120001 w 1920001"/>
                  <a:gd name="connsiteY1" fmla="*/ 2455385 h 2455385"/>
                  <a:gd name="connsiteX2" fmla="*/ 1920001 w 1920001"/>
                  <a:gd name="connsiteY2" fmla="*/ 0 h 2455385"/>
                  <a:gd name="connsiteX3" fmla="*/ 1803077 w 1920001"/>
                  <a:gd name="connsiteY3" fmla="*/ 0 h 2455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20001" h="2455385">
                    <a:moveTo>
                      <a:pt x="0" y="2455385"/>
                    </a:moveTo>
                    <a:lnTo>
                      <a:pt x="120001" y="2455385"/>
                    </a:lnTo>
                    <a:lnTo>
                      <a:pt x="1920001" y="0"/>
                    </a:lnTo>
                    <a:lnTo>
                      <a:pt x="1803077" y="0"/>
                    </a:lnTo>
                    <a:close/>
                  </a:path>
                </a:pathLst>
              </a:custGeom>
              <a:solidFill>
                <a:srgbClr val="D3977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8" name="图形 1">
                <a:extLst>
                  <a:ext uri="{FF2B5EF4-FFF2-40B4-BE49-F238E27FC236}">
                    <a16:creationId xmlns:a16="http://schemas.microsoft.com/office/drawing/2014/main" id="{FEB51B66-632F-4BF9-81B5-FC2C9C5CE785}"/>
                  </a:ext>
                </a:extLst>
              </p:cNvPr>
              <p:cNvGrpSpPr/>
              <p:nvPr/>
            </p:nvGrpSpPr>
            <p:grpSpPr>
              <a:xfrm>
                <a:off x="4723691" y="8808487"/>
                <a:ext cx="326154" cy="326154"/>
                <a:chOff x="4723691" y="8808487"/>
                <a:chExt cx="326154" cy="326154"/>
              </a:xfrm>
            </p:grpSpPr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FADAA38C-45C0-4A7A-B97F-5464C8A73679}"/>
                    </a:ext>
                  </a:extLst>
                </p:cNvPr>
                <p:cNvSpPr/>
                <p:nvPr/>
              </p:nvSpPr>
              <p:spPr>
                <a:xfrm>
                  <a:off x="4723691" y="8808487"/>
                  <a:ext cx="326154" cy="326154"/>
                </a:xfrm>
                <a:custGeom>
                  <a:avLst/>
                  <a:gdLst>
                    <a:gd name="connsiteX0" fmla="*/ 0 w 326154"/>
                    <a:gd name="connsiteY0" fmla="*/ 163077 h 326154"/>
                    <a:gd name="connsiteX1" fmla="*/ 163078 w 326154"/>
                    <a:gd name="connsiteY1" fmla="*/ 0 h 326154"/>
                    <a:gd name="connsiteX2" fmla="*/ 326154 w 326154"/>
                    <a:gd name="connsiteY2" fmla="*/ 163077 h 326154"/>
                    <a:gd name="connsiteX3" fmla="*/ 163078 w 326154"/>
                    <a:gd name="connsiteY3" fmla="*/ 326154 h 326154"/>
                    <a:gd name="connsiteX4" fmla="*/ 0 w 326154"/>
                    <a:gd name="connsiteY4" fmla="*/ 163077 h 326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6154" h="326154">
                      <a:moveTo>
                        <a:pt x="0" y="163077"/>
                      </a:moveTo>
                      <a:cubicBezTo>
                        <a:pt x="0" y="73847"/>
                        <a:pt x="73846" y="0"/>
                        <a:pt x="163078" y="0"/>
                      </a:cubicBezTo>
                      <a:cubicBezTo>
                        <a:pt x="252308" y="0"/>
                        <a:pt x="326154" y="73847"/>
                        <a:pt x="326154" y="163077"/>
                      </a:cubicBezTo>
                      <a:cubicBezTo>
                        <a:pt x="326154" y="252308"/>
                        <a:pt x="252308" y="326154"/>
                        <a:pt x="163078" y="326154"/>
                      </a:cubicBezTo>
                      <a:cubicBezTo>
                        <a:pt x="70770" y="326154"/>
                        <a:pt x="0" y="252308"/>
                        <a:pt x="0" y="163077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AB97337F-BD73-4DC7-ADB3-050C54C7F044}"/>
                    </a:ext>
                  </a:extLst>
                </p:cNvPr>
                <p:cNvSpPr/>
                <p:nvPr/>
              </p:nvSpPr>
              <p:spPr>
                <a:xfrm>
                  <a:off x="4806768" y="8894642"/>
                  <a:ext cx="153846" cy="154025"/>
                </a:xfrm>
                <a:custGeom>
                  <a:avLst/>
                  <a:gdLst>
                    <a:gd name="connsiteX0" fmla="*/ 0 w 153846"/>
                    <a:gd name="connsiteY0" fmla="*/ 76923 h 154025"/>
                    <a:gd name="connsiteX1" fmla="*/ 76923 w 153846"/>
                    <a:gd name="connsiteY1" fmla="*/ 0 h 154025"/>
                    <a:gd name="connsiteX2" fmla="*/ 153846 w 153846"/>
                    <a:gd name="connsiteY2" fmla="*/ 76923 h 154025"/>
                    <a:gd name="connsiteX3" fmla="*/ 76923 w 153846"/>
                    <a:gd name="connsiteY3" fmla="*/ 153846 h 154025"/>
                    <a:gd name="connsiteX4" fmla="*/ 0 w 153846"/>
                    <a:gd name="connsiteY4" fmla="*/ 76923 h 154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3846" h="154025">
                      <a:moveTo>
                        <a:pt x="0" y="76923"/>
                      </a:moveTo>
                      <a:cubicBezTo>
                        <a:pt x="0" y="33846"/>
                        <a:pt x="33846" y="0"/>
                        <a:pt x="76923" y="0"/>
                      </a:cubicBezTo>
                      <a:cubicBezTo>
                        <a:pt x="120000" y="0"/>
                        <a:pt x="153846" y="33846"/>
                        <a:pt x="153846" y="76923"/>
                      </a:cubicBezTo>
                      <a:cubicBezTo>
                        <a:pt x="153846" y="120000"/>
                        <a:pt x="120000" y="153846"/>
                        <a:pt x="76923" y="153846"/>
                      </a:cubicBezTo>
                      <a:cubicBezTo>
                        <a:pt x="33846" y="156923"/>
                        <a:pt x="0" y="120000"/>
                        <a:pt x="0" y="76923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6A59C074-DCDF-4E49-9748-5CF812804937}"/>
                  </a:ext>
                </a:extLst>
              </p:cNvPr>
              <p:cNvSpPr/>
              <p:nvPr/>
            </p:nvSpPr>
            <p:spPr>
              <a:xfrm>
                <a:off x="5831383" y="6383872"/>
                <a:ext cx="966153" cy="153846"/>
              </a:xfrm>
              <a:custGeom>
                <a:avLst/>
                <a:gdLst>
                  <a:gd name="connsiteX0" fmla="*/ 76923 w 966153"/>
                  <a:gd name="connsiteY0" fmla="*/ 153846 h 153846"/>
                  <a:gd name="connsiteX1" fmla="*/ 889231 w 966153"/>
                  <a:gd name="connsiteY1" fmla="*/ 153846 h 153846"/>
                  <a:gd name="connsiteX2" fmla="*/ 966154 w 966153"/>
                  <a:gd name="connsiteY2" fmla="*/ 76923 h 153846"/>
                  <a:gd name="connsiteX3" fmla="*/ 966154 w 966153"/>
                  <a:gd name="connsiteY3" fmla="*/ 76923 h 153846"/>
                  <a:gd name="connsiteX4" fmla="*/ 889231 w 966153"/>
                  <a:gd name="connsiteY4" fmla="*/ 0 h 153846"/>
                  <a:gd name="connsiteX5" fmla="*/ 76923 w 966153"/>
                  <a:gd name="connsiteY5" fmla="*/ 0 h 153846"/>
                  <a:gd name="connsiteX6" fmla="*/ 0 w 966153"/>
                  <a:gd name="connsiteY6" fmla="*/ 76923 h 153846"/>
                  <a:gd name="connsiteX7" fmla="*/ 0 w 966153"/>
                  <a:gd name="connsiteY7" fmla="*/ 76923 h 153846"/>
                  <a:gd name="connsiteX8" fmla="*/ 76923 w 966153"/>
                  <a:gd name="connsiteY8" fmla="*/ 153846 h 15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66153" h="153846">
                    <a:moveTo>
                      <a:pt x="76923" y="153846"/>
                    </a:moveTo>
                    <a:lnTo>
                      <a:pt x="889231" y="153846"/>
                    </a:lnTo>
                    <a:cubicBezTo>
                      <a:pt x="932308" y="153846"/>
                      <a:pt x="966154" y="120000"/>
                      <a:pt x="966154" y="76923"/>
                    </a:cubicBezTo>
                    <a:lnTo>
                      <a:pt x="966154" y="76923"/>
                    </a:lnTo>
                    <a:cubicBezTo>
                      <a:pt x="966154" y="33846"/>
                      <a:pt x="932308" y="0"/>
                      <a:pt x="889231" y="0"/>
                    </a:cubicBezTo>
                    <a:lnTo>
                      <a:pt x="76923" y="0"/>
                    </a:lnTo>
                    <a:cubicBezTo>
                      <a:pt x="33846" y="0"/>
                      <a:pt x="0" y="33846"/>
                      <a:pt x="0" y="76923"/>
                    </a:cubicBezTo>
                    <a:lnTo>
                      <a:pt x="0" y="76923"/>
                    </a:lnTo>
                    <a:cubicBezTo>
                      <a:pt x="0" y="120000"/>
                      <a:pt x="33846" y="153846"/>
                      <a:pt x="76923" y="153846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2" name="图形 1">
              <a:extLst>
                <a:ext uri="{FF2B5EF4-FFF2-40B4-BE49-F238E27FC236}">
                  <a16:creationId xmlns:a16="http://schemas.microsoft.com/office/drawing/2014/main" id="{6405A590-C599-43C9-943E-F6CF59E3ED1C}"/>
                </a:ext>
              </a:extLst>
            </p:cNvPr>
            <p:cNvGrpSpPr/>
            <p:nvPr/>
          </p:nvGrpSpPr>
          <p:grpSpPr>
            <a:xfrm>
              <a:off x="6090268" y="6345738"/>
              <a:ext cx="208808" cy="124288"/>
              <a:chOff x="6090268" y="6345738"/>
              <a:chExt cx="208808" cy="124288"/>
            </a:xfrm>
          </p:grpSpPr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6BA0C792-9FEE-4223-A959-3E888171AD72}"/>
                  </a:ext>
                </a:extLst>
              </p:cNvPr>
              <p:cNvSpPr/>
              <p:nvPr/>
            </p:nvSpPr>
            <p:spPr>
              <a:xfrm>
                <a:off x="6101811" y="6345738"/>
                <a:ext cx="197264" cy="118935"/>
              </a:xfrm>
              <a:custGeom>
                <a:avLst/>
                <a:gdLst>
                  <a:gd name="connsiteX0" fmla="*/ 64957 w 197264"/>
                  <a:gd name="connsiteY0" fmla="*/ 4288 h 118935"/>
                  <a:gd name="connsiteX1" fmla="*/ 108034 w 197264"/>
                  <a:gd name="connsiteY1" fmla="*/ 7366 h 118935"/>
                  <a:gd name="connsiteX2" fmla="*/ 148034 w 197264"/>
                  <a:gd name="connsiteY2" fmla="*/ 10443 h 118935"/>
                  <a:gd name="connsiteX3" fmla="*/ 197265 w 197264"/>
                  <a:gd name="connsiteY3" fmla="*/ 22750 h 118935"/>
                  <a:gd name="connsiteX4" fmla="*/ 191111 w 197264"/>
                  <a:gd name="connsiteY4" fmla="*/ 35058 h 118935"/>
                  <a:gd name="connsiteX5" fmla="*/ 157264 w 197264"/>
                  <a:gd name="connsiteY5" fmla="*/ 71981 h 118935"/>
                  <a:gd name="connsiteX6" fmla="*/ 141880 w 197264"/>
                  <a:gd name="connsiteY6" fmla="*/ 102750 h 118935"/>
                  <a:gd name="connsiteX7" fmla="*/ 141880 w 197264"/>
                  <a:gd name="connsiteY7" fmla="*/ 105827 h 118935"/>
                  <a:gd name="connsiteX8" fmla="*/ 117265 w 197264"/>
                  <a:gd name="connsiteY8" fmla="*/ 118135 h 118935"/>
                  <a:gd name="connsiteX9" fmla="*/ 108034 w 197264"/>
                  <a:gd name="connsiteY9" fmla="*/ 99673 h 118935"/>
                  <a:gd name="connsiteX10" fmla="*/ 77265 w 197264"/>
                  <a:gd name="connsiteY10" fmla="*/ 118135 h 118935"/>
                  <a:gd name="connsiteX11" fmla="*/ 68034 w 197264"/>
                  <a:gd name="connsiteY11" fmla="*/ 99673 h 118935"/>
                  <a:gd name="connsiteX12" fmla="*/ 31111 w 197264"/>
                  <a:gd name="connsiteY12" fmla="*/ 108904 h 118935"/>
                  <a:gd name="connsiteX13" fmla="*/ 24957 w 197264"/>
                  <a:gd name="connsiteY13" fmla="*/ 87366 h 118935"/>
                  <a:gd name="connsiteX14" fmla="*/ 342 w 197264"/>
                  <a:gd name="connsiteY14" fmla="*/ 75058 h 118935"/>
                  <a:gd name="connsiteX15" fmla="*/ 64957 w 197264"/>
                  <a:gd name="connsiteY15" fmla="*/ 4288 h 118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7264" h="118935">
                    <a:moveTo>
                      <a:pt x="64957" y="4288"/>
                    </a:moveTo>
                    <a:cubicBezTo>
                      <a:pt x="74188" y="-1865"/>
                      <a:pt x="92650" y="-1865"/>
                      <a:pt x="108034" y="7366"/>
                    </a:cubicBezTo>
                    <a:cubicBezTo>
                      <a:pt x="123419" y="4288"/>
                      <a:pt x="132649" y="4288"/>
                      <a:pt x="148034" y="10443"/>
                    </a:cubicBezTo>
                    <a:cubicBezTo>
                      <a:pt x="166496" y="1211"/>
                      <a:pt x="191111" y="1211"/>
                      <a:pt x="197265" y="22750"/>
                    </a:cubicBezTo>
                    <a:cubicBezTo>
                      <a:pt x="197265" y="28904"/>
                      <a:pt x="197265" y="31981"/>
                      <a:pt x="191111" y="35058"/>
                    </a:cubicBezTo>
                    <a:cubicBezTo>
                      <a:pt x="184957" y="47365"/>
                      <a:pt x="166496" y="59674"/>
                      <a:pt x="157264" y="71981"/>
                    </a:cubicBezTo>
                    <a:cubicBezTo>
                      <a:pt x="151111" y="81211"/>
                      <a:pt x="144957" y="93519"/>
                      <a:pt x="141880" y="102750"/>
                    </a:cubicBezTo>
                    <a:cubicBezTo>
                      <a:pt x="141880" y="102750"/>
                      <a:pt x="141880" y="102750"/>
                      <a:pt x="141880" y="105827"/>
                    </a:cubicBezTo>
                    <a:cubicBezTo>
                      <a:pt x="138803" y="115058"/>
                      <a:pt x="123419" y="121212"/>
                      <a:pt x="117265" y="118135"/>
                    </a:cubicBezTo>
                    <a:cubicBezTo>
                      <a:pt x="108034" y="115058"/>
                      <a:pt x="108034" y="105827"/>
                      <a:pt x="108034" y="99673"/>
                    </a:cubicBezTo>
                    <a:cubicBezTo>
                      <a:pt x="98803" y="111981"/>
                      <a:pt x="92650" y="121212"/>
                      <a:pt x="77265" y="118135"/>
                    </a:cubicBezTo>
                    <a:cubicBezTo>
                      <a:pt x="64957" y="115058"/>
                      <a:pt x="68034" y="108904"/>
                      <a:pt x="68034" y="99673"/>
                    </a:cubicBezTo>
                    <a:cubicBezTo>
                      <a:pt x="68034" y="102750"/>
                      <a:pt x="49572" y="111981"/>
                      <a:pt x="31111" y="108904"/>
                    </a:cubicBezTo>
                    <a:cubicBezTo>
                      <a:pt x="24957" y="105827"/>
                      <a:pt x="24957" y="90443"/>
                      <a:pt x="24957" y="87366"/>
                    </a:cubicBezTo>
                    <a:cubicBezTo>
                      <a:pt x="15726" y="96596"/>
                      <a:pt x="-2735" y="90443"/>
                      <a:pt x="342" y="75058"/>
                    </a:cubicBezTo>
                    <a:cubicBezTo>
                      <a:pt x="-2735" y="47365"/>
                      <a:pt x="24957" y="-4942"/>
                      <a:pt x="64957" y="4288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CF77474E-E9AA-44C2-9C87-C765ED8A8E09}"/>
                  </a:ext>
                </a:extLst>
              </p:cNvPr>
              <p:cNvSpPr/>
              <p:nvPr/>
            </p:nvSpPr>
            <p:spPr>
              <a:xfrm>
                <a:off x="6197537" y="6356950"/>
                <a:ext cx="97692" cy="113076"/>
              </a:xfrm>
              <a:custGeom>
                <a:avLst/>
                <a:gdLst>
                  <a:gd name="connsiteX0" fmla="*/ 24616 w 97692"/>
                  <a:gd name="connsiteY0" fmla="*/ 113076 h 113076"/>
                  <a:gd name="connsiteX1" fmla="*/ 24616 w 97692"/>
                  <a:gd name="connsiteY1" fmla="*/ 113076 h 113076"/>
                  <a:gd name="connsiteX2" fmla="*/ 0 w 97692"/>
                  <a:gd name="connsiteY2" fmla="*/ 88461 h 113076"/>
                  <a:gd name="connsiteX3" fmla="*/ 40001 w 97692"/>
                  <a:gd name="connsiteY3" fmla="*/ 2308 h 113076"/>
                  <a:gd name="connsiteX4" fmla="*/ 49231 w 97692"/>
                  <a:gd name="connsiteY4" fmla="*/ 2308 h 113076"/>
                  <a:gd name="connsiteX5" fmla="*/ 49231 w 97692"/>
                  <a:gd name="connsiteY5" fmla="*/ 11538 h 113076"/>
                  <a:gd name="connsiteX6" fmla="*/ 12308 w 97692"/>
                  <a:gd name="connsiteY6" fmla="*/ 88461 h 113076"/>
                  <a:gd name="connsiteX7" fmla="*/ 21539 w 97692"/>
                  <a:gd name="connsiteY7" fmla="*/ 100769 h 113076"/>
                  <a:gd name="connsiteX8" fmla="*/ 40001 w 97692"/>
                  <a:gd name="connsiteY8" fmla="*/ 79231 h 113076"/>
                  <a:gd name="connsiteX9" fmla="*/ 43078 w 97692"/>
                  <a:gd name="connsiteY9" fmla="*/ 70000 h 113076"/>
                  <a:gd name="connsiteX10" fmla="*/ 86154 w 97692"/>
                  <a:gd name="connsiteY10" fmla="*/ 17692 h 113076"/>
                  <a:gd name="connsiteX11" fmla="*/ 95385 w 97692"/>
                  <a:gd name="connsiteY11" fmla="*/ 17692 h 113076"/>
                  <a:gd name="connsiteX12" fmla="*/ 95385 w 97692"/>
                  <a:gd name="connsiteY12" fmla="*/ 26923 h 113076"/>
                  <a:gd name="connsiteX13" fmla="*/ 52308 w 97692"/>
                  <a:gd name="connsiteY13" fmla="*/ 76154 h 113076"/>
                  <a:gd name="connsiteX14" fmla="*/ 49231 w 97692"/>
                  <a:gd name="connsiteY14" fmla="*/ 85384 h 113076"/>
                  <a:gd name="connsiteX15" fmla="*/ 24616 w 97692"/>
                  <a:gd name="connsiteY15" fmla="*/ 113076 h 11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7692" h="113076">
                    <a:moveTo>
                      <a:pt x="24616" y="113076"/>
                    </a:moveTo>
                    <a:cubicBezTo>
                      <a:pt x="24616" y="113076"/>
                      <a:pt x="24616" y="113076"/>
                      <a:pt x="24616" y="113076"/>
                    </a:cubicBezTo>
                    <a:cubicBezTo>
                      <a:pt x="3077" y="110000"/>
                      <a:pt x="0" y="94616"/>
                      <a:pt x="0" y="88461"/>
                    </a:cubicBezTo>
                    <a:cubicBezTo>
                      <a:pt x="0" y="85384"/>
                      <a:pt x="6154" y="39230"/>
                      <a:pt x="40001" y="2308"/>
                    </a:cubicBezTo>
                    <a:cubicBezTo>
                      <a:pt x="43078" y="-769"/>
                      <a:pt x="46154" y="-769"/>
                      <a:pt x="49231" y="2308"/>
                    </a:cubicBezTo>
                    <a:cubicBezTo>
                      <a:pt x="52308" y="5384"/>
                      <a:pt x="52308" y="8461"/>
                      <a:pt x="49231" y="11538"/>
                    </a:cubicBezTo>
                    <a:cubicBezTo>
                      <a:pt x="18462" y="45385"/>
                      <a:pt x="12308" y="88461"/>
                      <a:pt x="12308" y="88461"/>
                    </a:cubicBezTo>
                    <a:cubicBezTo>
                      <a:pt x="12308" y="88461"/>
                      <a:pt x="12308" y="100769"/>
                      <a:pt x="21539" y="100769"/>
                    </a:cubicBezTo>
                    <a:cubicBezTo>
                      <a:pt x="30769" y="100769"/>
                      <a:pt x="33846" y="94616"/>
                      <a:pt x="40001" y="79231"/>
                    </a:cubicBezTo>
                    <a:cubicBezTo>
                      <a:pt x="40001" y="76154"/>
                      <a:pt x="43078" y="73077"/>
                      <a:pt x="43078" y="70000"/>
                    </a:cubicBezTo>
                    <a:cubicBezTo>
                      <a:pt x="52308" y="51538"/>
                      <a:pt x="86154" y="17692"/>
                      <a:pt x="86154" y="17692"/>
                    </a:cubicBezTo>
                    <a:cubicBezTo>
                      <a:pt x="89232" y="14615"/>
                      <a:pt x="92308" y="14615"/>
                      <a:pt x="95385" y="17692"/>
                    </a:cubicBezTo>
                    <a:cubicBezTo>
                      <a:pt x="98462" y="20769"/>
                      <a:pt x="98462" y="23846"/>
                      <a:pt x="95385" y="26923"/>
                    </a:cubicBezTo>
                    <a:cubicBezTo>
                      <a:pt x="86154" y="36153"/>
                      <a:pt x="58462" y="63846"/>
                      <a:pt x="52308" y="76154"/>
                    </a:cubicBezTo>
                    <a:cubicBezTo>
                      <a:pt x="52308" y="79231"/>
                      <a:pt x="49231" y="82307"/>
                      <a:pt x="49231" y="85384"/>
                    </a:cubicBezTo>
                    <a:cubicBezTo>
                      <a:pt x="46154" y="97692"/>
                      <a:pt x="40001" y="113076"/>
                      <a:pt x="24616" y="11307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D4EBD6F6-4738-44D1-80D6-5BFE0D77E58A}"/>
                  </a:ext>
                </a:extLst>
              </p:cNvPr>
              <p:cNvSpPr/>
              <p:nvPr/>
            </p:nvSpPr>
            <p:spPr>
              <a:xfrm>
                <a:off x="6153093" y="6353872"/>
                <a:ext cx="56752" cy="113077"/>
              </a:xfrm>
              <a:custGeom>
                <a:avLst/>
                <a:gdLst>
                  <a:gd name="connsiteX0" fmla="*/ 22906 w 56752"/>
                  <a:gd name="connsiteY0" fmla="*/ 113077 h 113077"/>
                  <a:gd name="connsiteX1" fmla="*/ 16752 w 56752"/>
                  <a:gd name="connsiteY1" fmla="*/ 113077 h 113077"/>
                  <a:gd name="connsiteX2" fmla="*/ 1368 w 56752"/>
                  <a:gd name="connsiteY2" fmla="*/ 103846 h 113077"/>
                  <a:gd name="connsiteX3" fmla="*/ 1368 w 56752"/>
                  <a:gd name="connsiteY3" fmla="*/ 85384 h 113077"/>
                  <a:gd name="connsiteX4" fmla="*/ 44444 w 56752"/>
                  <a:gd name="connsiteY4" fmla="*/ 2308 h 113077"/>
                  <a:gd name="connsiteX5" fmla="*/ 53676 w 56752"/>
                  <a:gd name="connsiteY5" fmla="*/ 2308 h 113077"/>
                  <a:gd name="connsiteX6" fmla="*/ 53676 w 56752"/>
                  <a:gd name="connsiteY6" fmla="*/ 11538 h 113077"/>
                  <a:gd name="connsiteX7" fmla="*/ 13675 w 56752"/>
                  <a:gd name="connsiteY7" fmla="*/ 88461 h 113077"/>
                  <a:gd name="connsiteX8" fmla="*/ 13675 w 56752"/>
                  <a:gd name="connsiteY8" fmla="*/ 97693 h 113077"/>
                  <a:gd name="connsiteX9" fmla="*/ 19829 w 56752"/>
                  <a:gd name="connsiteY9" fmla="*/ 100769 h 113077"/>
                  <a:gd name="connsiteX10" fmla="*/ 44444 w 56752"/>
                  <a:gd name="connsiteY10" fmla="*/ 85384 h 113077"/>
                  <a:gd name="connsiteX11" fmla="*/ 53676 w 56752"/>
                  <a:gd name="connsiteY11" fmla="*/ 82308 h 113077"/>
                  <a:gd name="connsiteX12" fmla="*/ 56753 w 56752"/>
                  <a:gd name="connsiteY12" fmla="*/ 91538 h 113077"/>
                  <a:gd name="connsiteX13" fmla="*/ 22906 w 56752"/>
                  <a:gd name="connsiteY13" fmla="*/ 113077 h 11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6752" h="113077">
                    <a:moveTo>
                      <a:pt x="22906" y="113077"/>
                    </a:moveTo>
                    <a:cubicBezTo>
                      <a:pt x="22906" y="113077"/>
                      <a:pt x="19829" y="113077"/>
                      <a:pt x="16752" y="113077"/>
                    </a:cubicBezTo>
                    <a:cubicBezTo>
                      <a:pt x="7522" y="113077"/>
                      <a:pt x="4445" y="110000"/>
                      <a:pt x="1368" y="103846"/>
                    </a:cubicBezTo>
                    <a:cubicBezTo>
                      <a:pt x="-1710" y="94616"/>
                      <a:pt x="1368" y="88461"/>
                      <a:pt x="1368" y="85384"/>
                    </a:cubicBezTo>
                    <a:cubicBezTo>
                      <a:pt x="1368" y="85384"/>
                      <a:pt x="13675" y="30000"/>
                      <a:pt x="44444" y="2308"/>
                    </a:cubicBezTo>
                    <a:cubicBezTo>
                      <a:pt x="47521" y="-769"/>
                      <a:pt x="50599" y="-769"/>
                      <a:pt x="53676" y="2308"/>
                    </a:cubicBezTo>
                    <a:cubicBezTo>
                      <a:pt x="56753" y="5385"/>
                      <a:pt x="56753" y="8461"/>
                      <a:pt x="53676" y="11538"/>
                    </a:cubicBezTo>
                    <a:cubicBezTo>
                      <a:pt x="25984" y="36154"/>
                      <a:pt x="13675" y="88461"/>
                      <a:pt x="13675" y="88461"/>
                    </a:cubicBezTo>
                    <a:cubicBezTo>
                      <a:pt x="13675" y="91538"/>
                      <a:pt x="10599" y="94616"/>
                      <a:pt x="13675" y="97693"/>
                    </a:cubicBezTo>
                    <a:cubicBezTo>
                      <a:pt x="13675" y="100769"/>
                      <a:pt x="19829" y="100769"/>
                      <a:pt x="19829" y="100769"/>
                    </a:cubicBezTo>
                    <a:cubicBezTo>
                      <a:pt x="35214" y="103846"/>
                      <a:pt x="44444" y="85384"/>
                      <a:pt x="44444" y="85384"/>
                    </a:cubicBezTo>
                    <a:cubicBezTo>
                      <a:pt x="47521" y="82308"/>
                      <a:pt x="50599" y="82308"/>
                      <a:pt x="53676" y="82308"/>
                    </a:cubicBezTo>
                    <a:cubicBezTo>
                      <a:pt x="56753" y="85384"/>
                      <a:pt x="56753" y="88461"/>
                      <a:pt x="56753" y="91538"/>
                    </a:cubicBezTo>
                    <a:cubicBezTo>
                      <a:pt x="56753" y="94616"/>
                      <a:pt x="44444" y="113077"/>
                      <a:pt x="22906" y="11307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8AAAC101-6A06-4269-88A3-F47F62008BF5}"/>
                  </a:ext>
                </a:extLst>
              </p:cNvPr>
              <p:cNvSpPr/>
              <p:nvPr/>
            </p:nvSpPr>
            <p:spPr>
              <a:xfrm>
                <a:off x="6113093" y="6350795"/>
                <a:ext cx="62136" cy="106923"/>
              </a:xfrm>
              <a:custGeom>
                <a:avLst/>
                <a:gdLst>
                  <a:gd name="connsiteX0" fmla="*/ 22906 w 62136"/>
                  <a:gd name="connsiteY0" fmla="*/ 106923 h 106923"/>
                  <a:gd name="connsiteX1" fmla="*/ 13675 w 62136"/>
                  <a:gd name="connsiteY1" fmla="*/ 106923 h 106923"/>
                  <a:gd name="connsiteX2" fmla="*/ 1368 w 62136"/>
                  <a:gd name="connsiteY2" fmla="*/ 97693 h 106923"/>
                  <a:gd name="connsiteX3" fmla="*/ 1368 w 62136"/>
                  <a:gd name="connsiteY3" fmla="*/ 76154 h 106923"/>
                  <a:gd name="connsiteX4" fmla="*/ 44444 w 62136"/>
                  <a:gd name="connsiteY4" fmla="*/ 2308 h 106923"/>
                  <a:gd name="connsiteX5" fmla="*/ 53675 w 62136"/>
                  <a:gd name="connsiteY5" fmla="*/ 2308 h 106923"/>
                  <a:gd name="connsiteX6" fmla="*/ 53675 w 62136"/>
                  <a:gd name="connsiteY6" fmla="*/ 11538 h 106923"/>
                  <a:gd name="connsiteX7" fmla="*/ 16752 w 62136"/>
                  <a:gd name="connsiteY7" fmla="*/ 79231 h 106923"/>
                  <a:gd name="connsiteX8" fmla="*/ 16752 w 62136"/>
                  <a:gd name="connsiteY8" fmla="*/ 91538 h 106923"/>
                  <a:gd name="connsiteX9" fmla="*/ 19829 w 62136"/>
                  <a:gd name="connsiteY9" fmla="*/ 94616 h 106923"/>
                  <a:gd name="connsiteX10" fmla="*/ 50599 w 62136"/>
                  <a:gd name="connsiteY10" fmla="*/ 88461 h 106923"/>
                  <a:gd name="connsiteX11" fmla="*/ 59829 w 62136"/>
                  <a:gd name="connsiteY11" fmla="*/ 88461 h 106923"/>
                  <a:gd name="connsiteX12" fmla="*/ 59829 w 62136"/>
                  <a:gd name="connsiteY12" fmla="*/ 97693 h 106923"/>
                  <a:gd name="connsiteX13" fmla="*/ 22906 w 62136"/>
                  <a:gd name="connsiteY13" fmla="*/ 106923 h 10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136" h="106923">
                    <a:moveTo>
                      <a:pt x="22906" y="106923"/>
                    </a:moveTo>
                    <a:cubicBezTo>
                      <a:pt x="19829" y="106923"/>
                      <a:pt x="16752" y="106923"/>
                      <a:pt x="13675" y="106923"/>
                    </a:cubicBezTo>
                    <a:cubicBezTo>
                      <a:pt x="7521" y="103846"/>
                      <a:pt x="4445" y="100770"/>
                      <a:pt x="1368" y="97693"/>
                    </a:cubicBezTo>
                    <a:cubicBezTo>
                      <a:pt x="-1710" y="88461"/>
                      <a:pt x="1368" y="79231"/>
                      <a:pt x="1368" y="76154"/>
                    </a:cubicBezTo>
                    <a:cubicBezTo>
                      <a:pt x="4445" y="70001"/>
                      <a:pt x="25983" y="17692"/>
                      <a:pt x="44444" y="2308"/>
                    </a:cubicBezTo>
                    <a:cubicBezTo>
                      <a:pt x="47521" y="-769"/>
                      <a:pt x="50599" y="-769"/>
                      <a:pt x="53675" y="2308"/>
                    </a:cubicBezTo>
                    <a:cubicBezTo>
                      <a:pt x="56752" y="5385"/>
                      <a:pt x="56752" y="8462"/>
                      <a:pt x="53675" y="11538"/>
                    </a:cubicBezTo>
                    <a:cubicBezTo>
                      <a:pt x="41367" y="20770"/>
                      <a:pt x="19829" y="63846"/>
                      <a:pt x="16752" y="79231"/>
                    </a:cubicBezTo>
                    <a:cubicBezTo>
                      <a:pt x="16752" y="82308"/>
                      <a:pt x="13675" y="88461"/>
                      <a:pt x="16752" y="91538"/>
                    </a:cubicBezTo>
                    <a:cubicBezTo>
                      <a:pt x="16752" y="91538"/>
                      <a:pt x="16752" y="94616"/>
                      <a:pt x="19829" y="94616"/>
                    </a:cubicBezTo>
                    <a:cubicBezTo>
                      <a:pt x="35214" y="97693"/>
                      <a:pt x="50599" y="88461"/>
                      <a:pt x="50599" y="88461"/>
                    </a:cubicBezTo>
                    <a:cubicBezTo>
                      <a:pt x="53675" y="85385"/>
                      <a:pt x="56752" y="85385"/>
                      <a:pt x="59829" y="88461"/>
                    </a:cubicBezTo>
                    <a:cubicBezTo>
                      <a:pt x="62906" y="91538"/>
                      <a:pt x="62906" y="94616"/>
                      <a:pt x="59829" y="97693"/>
                    </a:cubicBezTo>
                    <a:cubicBezTo>
                      <a:pt x="50599" y="97693"/>
                      <a:pt x="38290" y="106923"/>
                      <a:pt x="22906" y="10692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7E151DB5-CE36-46F2-8443-3110C9684B07}"/>
                  </a:ext>
                </a:extLst>
              </p:cNvPr>
              <p:cNvSpPr/>
              <p:nvPr/>
            </p:nvSpPr>
            <p:spPr>
              <a:xfrm>
                <a:off x="6090268" y="6363103"/>
                <a:ext cx="38808" cy="76153"/>
              </a:xfrm>
              <a:custGeom>
                <a:avLst/>
                <a:gdLst>
                  <a:gd name="connsiteX0" fmla="*/ 18039 w 38808"/>
                  <a:gd name="connsiteY0" fmla="*/ 76154 h 76153"/>
                  <a:gd name="connsiteX1" fmla="*/ 5731 w 38808"/>
                  <a:gd name="connsiteY1" fmla="*/ 73078 h 76153"/>
                  <a:gd name="connsiteX2" fmla="*/ 27270 w 38808"/>
                  <a:gd name="connsiteY2" fmla="*/ 2308 h 76153"/>
                  <a:gd name="connsiteX3" fmla="*/ 36500 w 38808"/>
                  <a:gd name="connsiteY3" fmla="*/ 2308 h 76153"/>
                  <a:gd name="connsiteX4" fmla="*/ 36500 w 38808"/>
                  <a:gd name="connsiteY4" fmla="*/ 11539 h 76153"/>
                  <a:gd name="connsiteX5" fmla="*/ 14961 w 38808"/>
                  <a:gd name="connsiteY5" fmla="*/ 63846 h 76153"/>
                  <a:gd name="connsiteX6" fmla="*/ 30346 w 38808"/>
                  <a:gd name="connsiteY6" fmla="*/ 63846 h 76153"/>
                  <a:gd name="connsiteX7" fmla="*/ 36500 w 38808"/>
                  <a:gd name="connsiteY7" fmla="*/ 66923 h 76153"/>
                  <a:gd name="connsiteX8" fmla="*/ 33423 w 38808"/>
                  <a:gd name="connsiteY8" fmla="*/ 73078 h 76153"/>
                  <a:gd name="connsiteX9" fmla="*/ 18039 w 38808"/>
                  <a:gd name="connsiteY9" fmla="*/ 76154 h 7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808" h="76153">
                    <a:moveTo>
                      <a:pt x="18039" y="76154"/>
                    </a:moveTo>
                    <a:cubicBezTo>
                      <a:pt x="14961" y="76154"/>
                      <a:pt x="8808" y="76154"/>
                      <a:pt x="5731" y="73078"/>
                    </a:cubicBezTo>
                    <a:cubicBezTo>
                      <a:pt x="-9654" y="60769"/>
                      <a:pt x="8808" y="23847"/>
                      <a:pt x="27270" y="2308"/>
                    </a:cubicBezTo>
                    <a:cubicBezTo>
                      <a:pt x="30346" y="-769"/>
                      <a:pt x="33423" y="-769"/>
                      <a:pt x="36500" y="2308"/>
                    </a:cubicBezTo>
                    <a:cubicBezTo>
                      <a:pt x="39577" y="5385"/>
                      <a:pt x="39577" y="8462"/>
                      <a:pt x="36500" y="11539"/>
                    </a:cubicBezTo>
                    <a:cubicBezTo>
                      <a:pt x="14961" y="39231"/>
                      <a:pt x="11885" y="60769"/>
                      <a:pt x="14961" y="63846"/>
                    </a:cubicBezTo>
                    <a:cubicBezTo>
                      <a:pt x="18039" y="63846"/>
                      <a:pt x="24193" y="63846"/>
                      <a:pt x="30346" y="63846"/>
                    </a:cubicBezTo>
                    <a:cubicBezTo>
                      <a:pt x="33423" y="63846"/>
                      <a:pt x="36500" y="63846"/>
                      <a:pt x="36500" y="66923"/>
                    </a:cubicBezTo>
                    <a:cubicBezTo>
                      <a:pt x="36500" y="70001"/>
                      <a:pt x="36500" y="73078"/>
                      <a:pt x="33423" y="73078"/>
                    </a:cubicBezTo>
                    <a:cubicBezTo>
                      <a:pt x="27270" y="73078"/>
                      <a:pt x="21116" y="76154"/>
                      <a:pt x="18039" y="7615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3" name="图形 1">
              <a:extLst>
                <a:ext uri="{FF2B5EF4-FFF2-40B4-BE49-F238E27FC236}">
                  <a16:creationId xmlns:a16="http://schemas.microsoft.com/office/drawing/2014/main" id="{820B634B-FE6C-4BF5-9A66-123086914558}"/>
                </a:ext>
              </a:extLst>
            </p:cNvPr>
            <p:cNvGrpSpPr/>
            <p:nvPr/>
          </p:nvGrpSpPr>
          <p:grpSpPr>
            <a:xfrm>
              <a:off x="6446768" y="6341914"/>
              <a:ext cx="218461" cy="131189"/>
              <a:chOff x="6446768" y="6341914"/>
              <a:chExt cx="218461" cy="131189"/>
            </a:xfrm>
          </p:grpSpPr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DD6AAD6A-87C2-41F5-BCEE-F87C92008829}"/>
                  </a:ext>
                </a:extLst>
              </p:cNvPr>
              <p:cNvSpPr/>
              <p:nvPr/>
            </p:nvSpPr>
            <p:spPr>
              <a:xfrm>
                <a:off x="6464830" y="6348814"/>
                <a:ext cx="200400" cy="121808"/>
              </a:xfrm>
              <a:custGeom>
                <a:avLst/>
                <a:gdLst>
                  <a:gd name="connsiteX0" fmla="*/ 68093 w 200400"/>
                  <a:gd name="connsiteY0" fmla="*/ 4289 h 121808"/>
                  <a:gd name="connsiteX1" fmla="*/ 111170 w 200400"/>
                  <a:gd name="connsiteY1" fmla="*/ 7366 h 121808"/>
                  <a:gd name="connsiteX2" fmla="*/ 151169 w 200400"/>
                  <a:gd name="connsiteY2" fmla="*/ 10443 h 121808"/>
                  <a:gd name="connsiteX3" fmla="*/ 200400 w 200400"/>
                  <a:gd name="connsiteY3" fmla="*/ 22751 h 121808"/>
                  <a:gd name="connsiteX4" fmla="*/ 194246 w 200400"/>
                  <a:gd name="connsiteY4" fmla="*/ 35058 h 121808"/>
                  <a:gd name="connsiteX5" fmla="*/ 160401 w 200400"/>
                  <a:gd name="connsiteY5" fmla="*/ 71982 h 121808"/>
                  <a:gd name="connsiteX6" fmla="*/ 145016 w 200400"/>
                  <a:gd name="connsiteY6" fmla="*/ 102751 h 121808"/>
                  <a:gd name="connsiteX7" fmla="*/ 145016 w 200400"/>
                  <a:gd name="connsiteY7" fmla="*/ 105827 h 121808"/>
                  <a:gd name="connsiteX8" fmla="*/ 123477 w 200400"/>
                  <a:gd name="connsiteY8" fmla="*/ 115059 h 121808"/>
                  <a:gd name="connsiteX9" fmla="*/ 111170 w 200400"/>
                  <a:gd name="connsiteY9" fmla="*/ 102751 h 121808"/>
                  <a:gd name="connsiteX10" fmla="*/ 80400 w 200400"/>
                  <a:gd name="connsiteY10" fmla="*/ 121212 h 121808"/>
                  <a:gd name="connsiteX11" fmla="*/ 68093 w 200400"/>
                  <a:gd name="connsiteY11" fmla="*/ 105827 h 121808"/>
                  <a:gd name="connsiteX12" fmla="*/ 31169 w 200400"/>
                  <a:gd name="connsiteY12" fmla="*/ 115059 h 121808"/>
                  <a:gd name="connsiteX13" fmla="*/ 21939 w 200400"/>
                  <a:gd name="connsiteY13" fmla="*/ 102751 h 121808"/>
                  <a:gd name="connsiteX14" fmla="*/ 400 w 200400"/>
                  <a:gd name="connsiteY14" fmla="*/ 90443 h 121808"/>
                  <a:gd name="connsiteX15" fmla="*/ 68093 w 200400"/>
                  <a:gd name="connsiteY15" fmla="*/ 4289 h 121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400" h="121808">
                    <a:moveTo>
                      <a:pt x="68093" y="4289"/>
                    </a:moveTo>
                    <a:cubicBezTo>
                      <a:pt x="77323" y="-1865"/>
                      <a:pt x="95785" y="-1865"/>
                      <a:pt x="111170" y="7366"/>
                    </a:cubicBezTo>
                    <a:cubicBezTo>
                      <a:pt x="126554" y="4289"/>
                      <a:pt x="135785" y="4289"/>
                      <a:pt x="151169" y="10443"/>
                    </a:cubicBezTo>
                    <a:cubicBezTo>
                      <a:pt x="169631" y="1212"/>
                      <a:pt x="194246" y="1212"/>
                      <a:pt x="200400" y="22751"/>
                    </a:cubicBezTo>
                    <a:cubicBezTo>
                      <a:pt x="200400" y="28904"/>
                      <a:pt x="200400" y="31981"/>
                      <a:pt x="194246" y="35058"/>
                    </a:cubicBezTo>
                    <a:cubicBezTo>
                      <a:pt x="188093" y="47366"/>
                      <a:pt x="169631" y="59673"/>
                      <a:pt x="160401" y="71982"/>
                    </a:cubicBezTo>
                    <a:cubicBezTo>
                      <a:pt x="154246" y="81212"/>
                      <a:pt x="148092" y="93520"/>
                      <a:pt x="145016" y="102751"/>
                    </a:cubicBezTo>
                    <a:cubicBezTo>
                      <a:pt x="145016" y="102751"/>
                      <a:pt x="145016" y="102751"/>
                      <a:pt x="145016" y="105827"/>
                    </a:cubicBezTo>
                    <a:cubicBezTo>
                      <a:pt x="141939" y="115059"/>
                      <a:pt x="129631" y="118136"/>
                      <a:pt x="123477" y="115059"/>
                    </a:cubicBezTo>
                    <a:cubicBezTo>
                      <a:pt x="114247" y="111981"/>
                      <a:pt x="111170" y="108904"/>
                      <a:pt x="111170" y="102751"/>
                    </a:cubicBezTo>
                    <a:cubicBezTo>
                      <a:pt x="101938" y="115059"/>
                      <a:pt x="95785" y="124289"/>
                      <a:pt x="80400" y="121212"/>
                    </a:cubicBezTo>
                    <a:cubicBezTo>
                      <a:pt x="68093" y="118136"/>
                      <a:pt x="68093" y="115059"/>
                      <a:pt x="68093" y="105827"/>
                    </a:cubicBezTo>
                    <a:cubicBezTo>
                      <a:pt x="68093" y="108904"/>
                      <a:pt x="49631" y="118136"/>
                      <a:pt x="31169" y="115059"/>
                    </a:cubicBezTo>
                    <a:cubicBezTo>
                      <a:pt x="25015" y="111981"/>
                      <a:pt x="25015" y="105827"/>
                      <a:pt x="21939" y="102751"/>
                    </a:cubicBezTo>
                    <a:cubicBezTo>
                      <a:pt x="12708" y="111981"/>
                      <a:pt x="-2677" y="102751"/>
                      <a:pt x="400" y="90443"/>
                    </a:cubicBezTo>
                    <a:cubicBezTo>
                      <a:pt x="400" y="59673"/>
                      <a:pt x="28092" y="-4941"/>
                      <a:pt x="68093" y="428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66570C0E-487D-4AB5-A096-1854361BF691}"/>
                  </a:ext>
                </a:extLst>
              </p:cNvPr>
              <p:cNvSpPr/>
              <p:nvPr/>
            </p:nvSpPr>
            <p:spPr>
              <a:xfrm>
                <a:off x="6446768" y="6341914"/>
                <a:ext cx="95509" cy="50745"/>
              </a:xfrm>
              <a:custGeom>
                <a:avLst/>
                <a:gdLst>
                  <a:gd name="connsiteX0" fmla="*/ 30769 w 95509"/>
                  <a:gd name="connsiteY0" fmla="*/ 1959 h 50745"/>
                  <a:gd name="connsiteX1" fmla="*/ 52308 w 95509"/>
                  <a:gd name="connsiteY1" fmla="*/ 11189 h 50745"/>
                  <a:gd name="connsiteX2" fmla="*/ 86154 w 95509"/>
                  <a:gd name="connsiteY2" fmla="*/ 20420 h 50745"/>
                  <a:gd name="connsiteX3" fmla="*/ 92308 w 95509"/>
                  <a:gd name="connsiteY3" fmla="*/ 38882 h 50745"/>
                  <a:gd name="connsiteX4" fmla="*/ 83077 w 95509"/>
                  <a:gd name="connsiteY4" fmla="*/ 48113 h 50745"/>
                  <a:gd name="connsiteX5" fmla="*/ 30769 w 95509"/>
                  <a:gd name="connsiteY5" fmla="*/ 45036 h 50745"/>
                  <a:gd name="connsiteX6" fmla="*/ 0 w 95509"/>
                  <a:gd name="connsiteY6" fmla="*/ 17344 h 50745"/>
                  <a:gd name="connsiteX7" fmla="*/ 30769 w 95509"/>
                  <a:gd name="connsiteY7" fmla="*/ 1959 h 50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509" h="50745">
                    <a:moveTo>
                      <a:pt x="30769" y="1959"/>
                    </a:moveTo>
                    <a:cubicBezTo>
                      <a:pt x="36923" y="5035"/>
                      <a:pt x="43077" y="11189"/>
                      <a:pt x="52308" y="11189"/>
                    </a:cubicBezTo>
                    <a:cubicBezTo>
                      <a:pt x="64616" y="14267"/>
                      <a:pt x="76923" y="17344"/>
                      <a:pt x="86154" y="20420"/>
                    </a:cubicBezTo>
                    <a:cubicBezTo>
                      <a:pt x="95385" y="23497"/>
                      <a:pt x="98462" y="32728"/>
                      <a:pt x="92308" y="38882"/>
                    </a:cubicBezTo>
                    <a:cubicBezTo>
                      <a:pt x="92308" y="41959"/>
                      <a:pt x="89231" y="48113"/>
                      <a:pt x="83077" y="48113"/>
                    </a:cubicBezTo>
                    <a:cubicBezTo>
                      <a:pt x="67693" y="54266"/>
                      <a:pt x="46154" y="48113"/>
                      <a:pt x="30769" y="45036"/>
                    </a:cubicBezTo>
                    <a:cubicBezTo>
                      <a:pt x="15385" y="41959"/>
                      <a:pt x="0" y="32728"/>
                      <a:pt x="0" y="17344"/>
                    </a:cubicBezTo>
                    <a:cubicBezTo>
                      <a:pt x="0" y="5035"/>
                      <a:pt x="15385" y="-4195"/>
                      <a:pt x="30769" y="195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F38A80DB-B3DF-4A39-8F56-9D01CED64B8C}"/>
                  </a:ext>
                </a:extLst>
              </p:cNvPr>
              <p:cNvSpPr/>
              <p:nvPr/>
            </p:nvSpPr>
            <p:spPr>
              <a:xfrm>
                <a:off x="6474460" y="6360026"/>
                <a:ext cx="99829" cy="106923"/>
              </a:xfrm>
              <a:custGeom>
                <a:avLst/>
                <a:gdLst>
                  <a:gd name="connsiteX0" fmla="*/ 21539 w 99829"/>
                  <a:gd name="connsiteY0" fmla="*/ 106923 h 106923"/>
                  <a:gd name="connsiteX1" fmla="*/ 21539 w 99829"/>
                  <a:gd name="connsiteY1" fmla="*/ 106923 h 106923"/>
                  <a:gd name="connsiteX2" fmla="*/ 0 w 99829"/>
                  <a:gd name="connsiteY2" fmla="*/ 88462 h 106923"/>
                  <a:gd name="connsiteX3" fmla="*/ 0 w 99829"/>
                  <a:gd name="connsiteY3" fmla="*/ 85384 h 106923"/>
                  <a:gd name="connsiteX4" fmla="*/ 43078 w 99829"/>
                  <a:gd name="connsiteY4" fmla="*/ 2307 h 106923"/>
                  <a:gd name="connsiteX5" fmla="*/ 52308 w 99829"/>
                  <a:gd name="connsiteY5" fmla="*/ 2307 h 106923"/>
                  <a:gd name="connsiteX6" fmla="*/ 52308 w 99829"/>
                  <a:gd name="connsiteY6" fmla="*/ 11538 h 106923"/>
                  <a:gd name="connsiteX7" fmla="*/ 12308 w 99829"/>
                  <a:gd name="connsiteY7" fmla="*/ 88462 h 106923"/>
                  <a:gd name="connsiteX8" fmla="*/ 21539 w 99829"/>
                  <a:gd name="connsiteY8" fmla="*/ 97692 h 106923"/>
                  <a:gd name="connsiteX9" fmla="*/ 21539 w 99829"/>
                  <a:gd name="connsiteY9" fmla="*/ 97692 h 106923"/>
                  <a:gd name="connsiteX10" fmla="*/ 43078 w 99829"/>
                  <a:gd name="connsiteY10" fmla="*/ 91539 h 106923"/>
                  <a:gd name="connsiteX11" fmla="*/ 89232 w 99829"/>
                  <a:gd name="connsiteY11" fmla="*/ 2307 h 106923"/>
                  <a:gd name="connsiteX12" fmla="*/ 98462 w 99829"/>
                  <a:gd name="connsiteY12" fmla="*/ 2307 h 106923"/>
                  <a:gd name="connsiteX13" fmla="*/ 98462 w 99829"/>
                  <a:gd name="connsiteY13" fmla="*/ 11538 h 106923"/>
                  <a:gd name="connsiteX14" fmla="*/ 58462 w 99829"/>
                  <a:gd name="connsiteY14" fmla="*/ 94615 h 106923"/>
                  <a:gd name="connsiteX15" fmla="*/ 55385 w 99829"/>
                  <a:gd name="connsiteY15" fmla="*/ 97692 h 106923"/>
                  <a:gd name="connsiteX16" fmla="*/ 21539 w 99829"/>
                  <a:gd name="connsiteY16" fmla="*/ 106923 h 10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9829" h="106923">
                    <a:moveTo>
                      <a:pt x="21539" y="106923"/>
                    </a:moveTo>
                    <a:cubicBezTo>
                      <a:pt x="21539" y="106923"/>
                      <a:pt x="18462" y="106923"/>
                      <a:pt x="21539" y="106923"/>
                    </a:cubicBezTo>
                    <a:cubicBezTo>
                      <a:pt x="6154" y="106923"/>
                      <a:pt x="0" y="94615"/>
                      <a:pt x="0" y="88462"/>
                    </a:cubicBezTo>
                    <a:cubicBezTo>
                      <a:pt x="0" y="88462"/>
                      <a:pt x="0" y="88462"/>
                      <a:pt x="0" y="85384"/>
                    </a:cubicBezTo>
                    <a:cubicBezTo>
                      <a:pt x="9231" y="45385"/>
                      <a:pt x="43078" y="5384"/>
                      <a:pt x="43078" y="2307"/>
                    </a:cubicBezTo>
                    <a:cubicBezTo>
                      <a:pt x="46154" y="-769"/>
                      <a:pt x="49231" y="-769"/>
                      <a:pt x="52308" y="2307"/>
                    </a:cubicBezTo>
                    <a:cubicBezTo>
                      <a:pt x="55385" y="5384"/>
                      <a:pt x="55385" y="8461"/>
                      <a:pt x="52308" y="11538"/>
                    </a:cubicBezTo>
                    <a:cubicBezTo>
                      <a:pt x="52308" y="11538"/>
                      <a:pt x="21539" y="51538"/>
                      <a:pt x="12308" y="88462"/>
                    </a:cubicBezTo>
                    <a:cubicBezTo>
                      <a:pt x="12308" y="91539"/>
                      <a:pt x="15385" y="97692"/>
                      <a:pt x="21539" y="97692"/>
                    </a:cubicBezTo>
                    <a:cubicBezTo>
                      <a:pt x="21539" y="97692"/>
                      <a:pt x="21539" y="97692"/>
                      <a:pt x="21539" y="97692"/>
                    </a:cubicBezTo>
                    <a:cubicBezTo>
                      <a:pt x="27693" y="97692"/>
                      <a:pt x="40001" y="94615"/>
                      <a:pt x="43078" y="91539"/>
                    </a:cubicBezTo>
                    <a:cubicBezTo>
                      <a:pt x="46154" y="79230"/>
                      <a:pt x="55385" y="26923"/>
                      <a:pt x="89232" y="2307"/>
                    </a:cubicBezTo>
                    <a:cubicBezTo>
                      <a:pt x="92308" y="-769"/>
                      <a:pt x="95385" y="2307"/>
                      <a:pt x="98462" y="2307"/>
                    </a:cubicBezTo>
                    <a:cubicBezTo>
                      <a:pt x="101539" y="5384"/>
                      <a:pt x="98462" y="8461"/>
                      <a:pt x="98462" y="11538"/>
                    </a:cubicBezTo>
                    <a:cubicBezTo>
                      <a:pt x="64616" y="36153"/>
                      <a:pt x="58462" y="94615"/>
                      <a:pt x="58462" y="94615"/>
                    </a:cubicBezTo>
                    <a:cubicBezTo>
                      <a:pt x="58462" y="97692"/>
                      <a:pt x="58462" y="97692"/>
                      <a:pt x="55385" y="97692"/>
                    </a:cubicBezTo>
                    <a:cubicBezTo>
                      <a:pt x="52308" y="97692"/>
                      <a:pt x="33846" y="106923"/>
                      <a:pt x="21539" y="10692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150F6F82-A982-4CC8-A993-8FB335072F5E}"/>
                  </a:ext>
                </a:extLst>
              </p:cNvPr>
              <p:cNvSpPr/>
              <p:nvPr/>
            </p:nvSpPr>
            <p:spPr>
              <a:xfrm>
                <a:off x="6516170" y="6356950"/>
                <a:ext cx="102136" cy="116153"/>
              </a:xfrm>
              <a:custGeom>
                <a:avLst/>
                <a:gdLst>
                  <a:gd name="connsiteX0" fmla="*/ 25983 w 102136"/>
                  <a:gd name="connsiteY0" fmla="*/ 116153 h 116153"/>
                  <a:gd name="connsiteX1" fmla="*/ 19828 w 102136"/>
                  <a:gd name="connsiteY1" fmla="*/ 116153 h 116153"/>
                  <a:gd name="connsiteX2" fmla="*/ 1368 w 102136"/>
                  <a:gd name="connsiteY2" fmla="*/ 103846 h 116153"/>
                  <a:gd name="connsiteX3" fmla="*/ 1368 w 102136"/>
                  <a:gd name="connsiteY3" fmla="*/ 91538 h 116153"/>
                  <a:gd name="connsiteX4" fmla="*/ 10598 w 102136"/>
                  <a:gd name="connsiteY4" fmla="*/ 88461 h 116153"/>
                  <a:gd name="connsiteX5" fmla="*/ 13675 w 102136"/>
                  <a:gd name="connsiteY5" fmla="*/ 97692 h 116153"/>
                  <a:gd name="connsiteX6" fmla="*/ 22906 w 102136"/>
                  <a:gd name="connsiteY6" fmla="*/ 103846 h 116153"/>
                  <a:gd name="connsiteX7" fmla="*/ 47521 w 102136"/>
                  <a:gd name="connsiteY7" fmla="*/ 91538 h 116153"/>
                  <a:gd name="connsiteX8" fmla="*/ 90598 w 102136"/>
                  <a:gd name="connsiteY8" fmla="*/ 2308 h 116153"/>
                  <a:gd name="connsiteX9" fmla="*/ 99829 w 102136"/>
                  <a:gd name="connsiteY9" fmla="*/ 2308 h 116153"/>
                  <a:gd name="connsiteX10" fmla="*/ 99829 w 102136"/>
                  <a:gd name="connsiteY10" fmla="*/ 11538 h 116153"/>
                  <a:gd name="connsiteX11" fmla="*/ 59829 w 102136"/>
                  <a:gd name="connsiteY11" fmla="*/ 94616 h 116153"/>
                  <a:gd name="connsiteX12" fmla="*/ 59829 w 102136"/>
                  <a:gd name="connsiteY12" fmla="*/ 97692 h 116153"/>
                  <a:gd name="connsiteX13" fmla="*/ 25983 w 102136"/>
                  <a:gd name="connsiteY13" fmla="*/ 116153 h 11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2136" h="116153">
                    <a:moveTo>
                      <a:pt x="25983" y="116153"/>
                    </a:moveTo>
                    <a:cubicBezTo>
                      <a:pt x="22906" y="116153"/>
                      <a:pt x="22906" y="116153"/>
                      <a:pt x="19828" y="116153"/>
                    </a:cubicBezTo>
                    <a:cubicBezTo>
                      <a:pt x="10598" y="113076"/>
                      <a:pt x="4444" y="110000"/>
                      <a:pt x="1368" y="103846"/>
                    </a:cubicBezTo>
                    <a:cubicBezTo>
                      <a:pt x="-1710" y="100769"/>
                      <a:pt x="1368" y="94616"/>
                      <a:pt x="1368" y="91538"/>
                    </a:cubicBezTo>
                    <a:cubicBezTo>
                      <a:pt x="4444" y="88461"/>
                      <a:pt x="7521" y="88461"/>
                      <a:pt x="10598" y="88461"/>
                    </a:cubicBezTo>
                    <a:cubicBezTo>
                      <a:pt x="13675" y="91538"/>
                      <a:pt x="13675" y="94616"/>
                      <a:pt x="13675" y="97692"/>
                    </a:cubicBezTo>
                    <a:cubicBezTo>
                      <a:pt x="13675" y="97692"/>
                      <a:pt x="16752" y="100769"/>
                      <a:pt x="22906" y="103846"/>
                    </a:cubicBezTo>
                    <a:cubicBezTo>
                      <a:pt x="35213" y="106923"/>
                      <a:pt x="44444" y="94616"/>
                      <a:pt x="47521" y="91538"/>
                    </a:cubicBezTo>
                    <a:cubicBezTo>
                      <a:pt x="47521" y="51538"/>
                      <a:pt x="87521" y="2308"/>
                      <a:pt x="90598" y="2308"/>
                    </a:cubicBezTo>
                    <a:cubicBezTo>
                      <a:pt x="93675" y="-769"/>
                      <a:pt x="96751" y="-769"/>
                      <a:pt x="99829" y="2308"/>
                    </a:cubicBezTo>
                    <a:cubicBezTo>
                      <a:pt x="102906" y="5384"/>
                      <a:pt x="102906" y="8461"/>
                      <a:pt x="99829" y="11538"/>
                    </a:cubicBezTo>
                    <a:cubicBezTo>
                      <a:pt x="99829" y="11538"/>
                      <a:pt x="56752" y="57692"/>
                      <a:pt x="59829" y="94616"/>
                    </a:cubicBezTo>
                    <a:cubicBezTo>
                      <a:pt x="59829" y="94616"/>
                      <a:pt x="59829" y="97692"/>
                      <a:pt x="59829" y="97692"/>
                    </a:cubicBezTo>
                    <a:cubicBezTo>
                      <a:pt x="56752" y="94616"/>
                      <a:pt x="44444" y="116153"/>
                      <a:pt x="25983" y="11615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F9BA6C13-A84C-42B4-9E44-4495F7541EF1}"/>
                  </a:ext>
                </a:extLst>
              </p:cNvPr>
              <p:cNvSpPr/>
              <p:nvPr/>
            </p:nvSpPr>
            <p:spPr>
              <a:xfrm>
                <a:off x="6562324" y="6387719"/>
                <a:ext cx="92906" cy="82307"/>
              </a:xfrm>
              <a:custGeom>
                <a:avLst/>
                <a:gdLst>
                  <a:gd name="connsiteX0" fmla="*/ 25983 w 92906"/>
                  <a:gd name="connsiteY0" fmla="*/ 82307 h 82307"/>
                  <a:gd name="connsiteX1" fmla="*/ 1368 w 92906"/>
                  <a:gd name="connsiteY1" fmla="*/ 66922 h 82307"/>
                  <a:gd name="connsiteX2" fmla="*/ 1368 w 92906"/>
                  <a:gd name="connsiteY2" fmla="*/ 57692 h 82307"/>
                  <a:gd name="connsiteX3" fmla="*/ 10598 w 92906"/>
                  <a:gd name="connsiteY3" fmla="*/ 57692 h 82307"/>
                  <a:gd name="connsiteX4" fmla="*/ 13675 w 92906"/>
                  <a:gd name="connsiteY4" fmla="*/ 60769 h 82307"/>
                  <a:gd name="connsiteX5" fmla="*/ 29060 w 92906"/>
                  <a:gd name="connsiteY5" fmla="*/ 70000 h 82307"/>
                  <a:gd name="connsiteX6" fmla="*/ 38290 w 92906"/>
                  <a:gd name="connsiteY6" fmla="*/ 54615 h 82307"/>
                  <a:gd name="connsiteX7" fmla="*/ 53675 w 92906"/>
                  <a:gd name="connsiteY7" fmla="*/ 30000 h 82307"/>
                  <a:gd name="connsiteX8" fmla="*/ 81367 w 92906"/>
                  <a:gd name="connsiteY8" fmla="*/ 2308 h 82307"/>
                  <a:gd name="connsiteX9" fmla="*/ 90598 w 92906"/>
                  <a:gd name="connsiteY9" fmla="*/ 2308 h 82307"/>
                  <a:gd name="connsiteX10" fmla="*/ 90598 w 92906"/>
                  <a:gd name="connsiteY10" fmla="*/ 11538 h 82307"/>
                  <a:gd name="connsiteX11" fmla="*/ 62906 w 92906"/>
                  <a:gd name="connsiteY11" fmla="*/ 39230 h 82307"/>
                  <a:gd name="connsiteX12" fmla="*/ 47521 w 92906"/>
                  <a:gd name="connsiteY12" fmla="*/ 60769 h 82307"/>
                  <a:gd name="connsiteX13" fmla="*/ 25983 w 92906"/>
                  <a:gd name="connsiteY13" fmla="*/ 82307 h 82307"/>
                  <a:gd name="connsiteX14" fmla="*/ 25983 w 92906"/>
                  <a:gd name="connsiteY14" fmla="*/ 82307 h 8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2906" h="82307">
                    <a:moveTo>
                      <a:pt x="25983" y="82307"/>
                    </a:moveTo>
                    <a:cubicBezTo>
                      <a:pt x="10598" y="82307"/>
                      <a:pt x="4444" y="73077"/>
                      <a:pt x="1368" y="66922"/>
                    </a:cubicBezTo>
                    <a:cubicBezTo>
                      <a:pt x="1368" y="66922"/>
                      <a:pt x="-1710" y="60769"/>
                      <a:pt x="1368" y="57692"/>
                    </a:cubicBezTo>
                    <a:cubicBezTo>
                      <a:pt x="4444" y="54615"/>
                      <a:pt x="7521" y="54615"/>
                      <a:pt x="10598" y="57692"/>
                    </a:cubicBezTo>
                    <a:cubicBezTo>
                      <a:pt x="10598" y="57692"/>
                      <a:pt x="13675" y="60769"/>
                      <a:pt x="13675" y="60769"/>
                    </a:cubicBezTo>
                    <a:cubicBezTo>
                      <a:pt x="13675" y="63846"/>
                      <a:pt x="19828" y="70000"/>
                      <a:pt x="29060" y="70000"/>
                    </a:cubicBezTo>
                    <a:cubicBezTo>
                      <a:pt x="32137" y="70000"/>
                      <a:pt x="35213" y="63846"/>
                      <a:pt x="38290" y="54615"/>
                    </a:cubicBezTo>
                    <a:cubicBezTo>
                      <a:pt x="41367" y="45385"/>
                      <a:pt x="47521" y="36153"/>
                      <a:pt x="53675" y="30000"/>
                    </a:cubicBezTo>
                    <a:cubicBezTo>
                      <a:pt x="69059" y="14615"/>
                      <a:pt x="81367" y="2308"/>
                      <a:pt x="81367" y="2308"/>
                    </a:cubicBezTo>
                    <a:cubicBezTo>
                      <a:pt x="84444" y="-769"/>
                      <a:pt x="87521" y="-769"/>
                      <a:pt x="90598" y="2308"/>
                    </a:cubicBezTo>
                    <a:cubicBezTo>
                      <a:pt x="93675" y="5384"/>
                      <a:pt x="93675" y="8461"/>
                      <a:pt x="90598" y="11538"/>
                    </a:cubicBezTo>
                    <a:cubicBezTo>
                      <a:pt x="90598" y="11538"/>
                      <a:pt x="78291" y="23846"/>
                      <a:pt x="62906" y="39230"/>
                    </a:cubicBezTo>
                    <a:cubicBezTo>
                      <a:pt x="56752" y="45385"/>
                      <a:pt x="50598" y="54615"/>
                      <a:pt x="47521" y="60769"/>
                    </a:cubicBezTo>
                    <a:cubicBezTo>
                      <a:pt x="44444" y="70000"/>
                      <a:pt x="38290" y="82307"/>
                      <a:pt x="25983" y="82307"/>
                    </a:cubicBezTo>
                    <a:cubicBezTo>
                      <a:pt x="29060" y="82307"/>
                      <a:pt x="25983" y="82307"/>
                      <a:pt x="25983" y="8230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83FD6004-35D8-44E4-B9F7-D8848991FB2F}"/>
                </a:ext>
              </a:extLst>
            </p:cNvPr>
            <p:cNvSpPr/>
            <p:nvPr/>
          </p:nvSpPr>
          <p:spPr>
            <a:xfrm>
              <a:off x="7040615" y="4418200"/>
              <a:ext cx="689230" cy="808528"/>
            </a:xfrm>
            <a:custGeom>
              <a:avLst/>
              <a:gdLst>
                <a:gd name="connsiteX0" fmla="*/ 0 w 689230"/>
                <a:gd name="connsiteY0" fmla="*/ 177979 h 808528"/>
                <a:gd name="connsiteX1" fmla="*/ 338462 w 689230"/>
                <a:gd name="connsiteY1" fmla="*/ 2595 h 808528"/>
                <a:gd name="connsiteX2" fmla="*/ 587692 w 689230"/>
                <a:gd name="connsiteY2" fmla="*/ 430288 h 808528"/>
                <a:gd name="connsiteX3" fmla="*/ 689231 w 689230"/>
                <a:gd name="connsiteY3" fmla="*/ 728749 h 808528"/>
                <a:gd name="connsiteX4" fmla="*/ 356922 w 689230"/>
                <a:gd name="connsiteY4" fmla="*/ 725672 h 808528"/>
                <a:gd name="connsiteX5" fmla="*/ 153846 w 689230"/>
                <a:gd name="connsiteY5" fmla="*/ 236441 h 808528"/>
                <a:gd name="connsiteX6" fmla="*/ 0 w 689230"/>
                <a:gd name="connsiteY6" fmla="*/ 177979 h 80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9230" h="808528">
                  <a:moveTo>
                    <a:pt x="0" y="177979"/>
                  </a:moveTo>
                  <a:cubicBezTo>
                    <a:pt x="0" y="177979"/>
                    <a:pt x="33845" y="-25097"/>
                    <a:pt x="338462" y="2595"/>
                  </a:cubicBezTo>
                  <a:cubicBezTo>
                    <a:pt x="526153" y="17980"/>
                    <a:pt x="618461" y="297980"/>
                    <a:pt x="587692" y="430288"/>
                  </a:cubicBezTo>
                  <a:cubicBezTo>
                    <a:pt x="556922" y="562595"/>
                    <a:pt x="578461" y="676441"/>
                    <a:pt x="689231" y="728749"/>
                  </a:cubicBezTo>
                  <a:cubicBezTo>
                    <a:pt x="689231" y="728749"/>
                    <a:pt x="470769" y="910287"/>
                    <a:pt x="356922" y="725672"/>
                  </a:cubicBezTo>
                  <a:cubicBezTo>
                    <a:pt x="310769" y="648749"/>
                    <a:pt x="295384" y="276441"/>
                    <a:pt x="153846" y="236441"/>
                  </a:cubicBezTo>
                  <a:cubicBezTo>
                    <a:pt x="89231" y="217980"/>
                    <a:pt x="0" y="177979"/>
                    <a:pt x="0" y="17797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1FD37936-FC5C-41D0-AC2D-906EEC88D2A5}"/>
                </a:ext>
              </a:extLst>
            </p:cNvPr>
            <p:cNvSpPr/>
            <p:nvPr/>
          </p:nvSpPr>
          <p:spPr>
            <a:xfrm>
              <a:off x="7529846" y="4980795"/>
              <a:ext cx="200000" cy="169230"/>
            </a:xfrm>
            <a:custGeom>
              <a:avLst/>
              <a:gdLst>
                <a:gd name="connsiteX0" fmla="*/ 190769 w 200000"/>
                <a:gd name="connsiteY0" fmla="*/ 169231 h 169230"/>
                <a:gd name="connsiteX1" fmla="*/ 0 w 200000"/>
                <a:gd name="connsiteY1" fmla="*/ 6154 h 169230"/>
                <a:gd name="connsiteX2" fmla="*/ 3077 w 200000"/>
                <a:gd name="connsiteY2" fmla="*/ 0 h 169230"/>
                <a:gd name="connsiteX3" fmla="*/ 9230 w 200000"/>
                <a:gd name="connsiteY3" fmla="*/ 3077 h 169230"/>
                <a:gd name="connsiteX4" fmla="*/ 193846 w 200000"/>
                <a:gd name="connsiteY4" fmla="*/ 156923 h 169230"/>
                <a:gd name="connsiteX5" fmla="*/ 200000 w 200000"/>
                <a:gd name="connsiteY5" fmla="*/ 163077 h 169230"/>
                <a:gd name="connsiteX6" fmla="*/ 193846 w 200000"/>
                <a:gd name="connsiteY6" fmla="*/ 169231 h 169230"/>
                <a:gd name="connsiteX7" fmla="*/ 190769 w 200000"/>
                <a:gd name="connsiteY7" fmla="*/ 169231 h 16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000" h="169230">
                  <a:moveTo>
                    <a:pt x="190769" y="169231"/>
                  </a:moveTo>
                  <a:cubicBezTo>
                    <a:pt x="159999" y="169231"/>
                    <a:pt x="46154" y="156923"/>
                    <a:pt x="0" y="6154"/>
                  </a:cubicBezTo>
                  <a:cubicBezTo>
                    <a:pt x="0" y="3077"/>
                    <a:pt x="0" y="0"/>
                    <a:pt x="3077" y="0"/>
                  </a:cubicBezTo>
                  <a:cubicBezTo>
                    <a:pt x="6153" y="0"/>
                    <a:pt x="9230" y="0"/>
                    <a:pt x="9230" y="3077"/>
                  </a:cubicBezTo>
                  <a:cubicBezTo>
                    <a:pt x="58461" y="172308"/>
                    <a:pt x="193846" y="156923"/>
                    <a:pt x="193846" y="156923"/>
                  </a:cubicBezTo>
                  <a:cubicBezTo>
                    <a:pt x="196923" y="156923"/>
                    <a:pt x="200000" y="160000"/>
                    <a:pt x="200000" y="163077"/>
                  </a:cubicBezTo>
                  <a:cubicBezTo>
                    <a:pt x="200000" y="166154"/>
                    <a:pt x="196923" y="169231"/>
                    <a:pt x="193846" y="169231"/>
                  </a:cubicBezTo>
                  <a:cubicBezTo>
                    <a:pt x="200000" y="169231"/>
                    <a:pt x="196923" y="169231"/>
                    <a:pt x="190769" y="169231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822725A7-2289-4AE8-90FA-43BF876270A4}"/>
                </a:ext>
              </a:extLst>
            </p:cNvPr>
            <p:cNvSpPr/>
            <p:nvPr/>
          </p:nvSpPr>
          <p:spPr>
            <a:xfrm>
              <a:off x="6963658" y="4576431"/>
              <a:ext cx="233718" cy="151881"/>
            </a:xfrm>
            <a:custGeom>
              <a:avLst/>
              <a:gdLst>
                <a:gd name="connsiteX0" fmla="*/ 34 w 233718"/>
                <a:gd name="connsiteY0" fmla="*/ 68980 h 151881"/>
                <a:gd name="connsiteX1" fmla="*/ 120034 w 233718"/>
                <a:gd name="connsiteY1" fmla="*/ 1287 h 151881"/>
                <a:gd name="connsiteX2" fmla="*/ 227726 w 233718"/>
                <a:gd name="connsiteY2" fmla="*/ 124364 h 151881"/>
                <a:gd name="connsiteX3" fmla="*/ 34 w 233718"/>
                <a:gd name="connsiteY3" fmla="*/ 68980 h 151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3718" h="151881">
                  <a:moveTo>
                    <a:pt x="34" y="68980"/>
                  </a:moveTo>
                  <a:cubicBezTo>
                    <a:pt x="34" y="68980"/>
                    <a:pt x="24649" y="-11021"/>
                    <a:pt x="120034" y="1287"/>
                  </a:cubicBezTo>
                  <a:cubicBezTo>
                    <a:pt x="181572" y="10518"/>
                    <a:pt x="255418" y="56672"/>
                    <a:pt x="227726" y="124364"/>
                  </a:cubicBezTo>
                  <a:cubicBezTo>
                    <a:pt x="203110" y="195134"/>
                    <a:pt x="-3043" y="112056"/>
                    <a:pt x="34" y="68980"/>
                  </a:cubicBezTo>
                  <a:close/>
                </a:path>
              </a:pathLst>
            </a:custGeom>
            <a:solidFill>
              <a:srgbClr val="7E94B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0096F60-1D57-4A2C-A42A-AA69964C2AB7}"/>
                </a:ext>
              </a:extLst>
            </p:cNvPr>
            <p:cNvSpPr/>
            <p:nvPr/>
          </p:nvSpPr>
          <p:spPr>
            <a:xfrm>
              <a:off x="6759155" y="4629385"/>
              <a:ext cx="327948" cy="604386"/>
            </a:xfrm>
            <a:custGeom>
              <a:avLst/>
              <a:gdLst>
                <a:gd name="connsiteX0" fmla="*/ 238382 w 327948"/>
                <a:gd name="connsiteY0" fmla="*/ 305257 h 604386"/>
                <a:gd name="connsiteX1" fmla="*/ 287613 w 327948"/>
                <a:gd name="connsiteY1" fmla="*/ 160641 h 604386"/>
                <a:gd name="connsiteX2" fmla="*/ 327614 w 327948"/>
                <a:gd name="connsiteY2" fmla="*/ 9872 h 604386"/>
                <a:gd name="connsiteX3" fmla="*/ 10690 w 327948"/>
                <a:gd name="connsiteY3" fmla="*/ 185257 h 604386"/>
                <a:gd name="connsiteX4" fmla="*/ 189152 w 327948"/>
                <a:gd name="connsiteY4" fmla="*/ 523718 h 604386"/>
                <a:gd name="connsiteX5" fmla="*/ 287613 w 327948"/>
                <a:gd name="connsiteY5" fmla="*/ 576026 h 604386"/>
                <a:gd name="connsiteX6" fmla="*/ 238382 w 327948"/>
                <a:gd name="connsiteY6" fmla="*/ 305257 h 60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48" h="604386">
                  <a:moveTo>
                    <a:pt x="238382" y="305257"/>
                  </a:moveTo>
                  <a:cubicBezTo>
                    <a:pt x="247613" y="252949"/>
                    <a:pt x="262998" y="206795"/>
                    <a:pt x="287613" y="160641"/>
                  </a:cubicBezTo>
                  <a:cubicBezTo>
                    <a:pt x="312229" y="111411"/>
                    <a:pt x="330690" y="9872"/>
                    <a:pt x="327614" y="9872"/>
                  </a:cubicBezTo>
                  <a:cubicBezTo>
                    <a:pt x="213767" y="-30128"/>
                    <a:pt x="44536" y="56026"/>
                    <a:pt x="10690" y="185257"/>
                  </a:cubicBezTo>
                  <a:cubicBezTo>
                    <a:pt x="-4695" y="249872"/>
                    <a:pt x="-35464" y="440642"/>
                    <a:pt x="189152" y="523718"/>
                  </a:cubicBezTo>
                  <a:cubicBezTo>
                    <a:pt x="287613" y="606795"/>
                    <a:pt x="275306" y="628334"/>
                    <a:pt x="287613" y="576026"/>
                  </a:cubicBezTo>
                  <a:cubicBezTo>
                    <a:pt x="296844" y="532949"/>
                    <a:pt x="229152" y="360641"/>
                    <a:pt x="238382" y="305257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D6B5CAC1-B3F8-4E77-8A57-7C40FE17D19E}"/>
                </a:ext>
              </a:extLst>
            </p:cNvPr>
            <p:cNvSpPr/>
            <p:nvPr/>
          </p:nvSpPr>
          <p:spPr>
            <a:xfrm>
              <a:off x="6829500" y="4669128"/>
              <a:ext cx="426499" cy="573528"/>
            </a:xfrm>
            <a:custGeom>
              <a:avLst/>
              <a:gdLst>
                <a:gd name="connsiteX0" fmla="*/ 8038 w 426499"/>
                <a:gd name="connsiteY0" fmla="*/ 185513 h 573528"/>
                <a:gd name="connsiteX1" fmla="*/ 20345 w 426499"/>
                <a:gd name="connsiteY1" fmla="*/ 443975 h 573528"/>
                <a:gd name="connsiteX2" fmla="*/ 171115 w 426499"/>
                <a:gd name="connsiteY2" fmla="*/ 573205 h 573528"/>
                <a:gd name="connsiteX3" fmla="*/ 389576 w 426499"/>
                <a:gd name="connsiteY3" fmla="*/ 428590 h 573528"/>
                <a:gd name="connsiteX4" fmla="*/ 426500 w 426499"/>
                <a:gd name="connsiteY4" fmla="*/ 200898 h 573528"/>
                <a:gd name="connsiteX5" fmla="*/ 211115 w 426499"/>
                <a:gd name="connsiteY5" fmla="*/ 898 h 573528"/>
                <a:gd name="connsiteX6" fmla="*/ 8038 w 426499"/>
                <a:gd name="connsiteY6" fmla="*/ 185513 h 57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499" h="573528">
                  <a:moveTo>
                    <a:pt x="8038" y="185513"/>
                  </a:moveTo>
                  <a:cubicBezTo>
                    <a:pt x="8038" y="185513"/>
                    <a:pt x="-16578" y="376283"/>
                    <a:pt x="20345" y="443975"/>
                  </a:cubicBezTo>
                  <a:cubicBezTo>
                    <a:pt x="57269" y="511667"/>
                    <a:pt x="118807" y="570129"/>
                    <a:pt x="171115" y="573205"/>
                  </a:cubicBezTo>
                  <a:cubicBezTo>
                    <a:pt x="238807" y="579360"/>
                    <a:pt x="352653" y="496282"/>
                    <a:pt x="389576" y="428590"/>
                  </a:cubicBezTo>
                  <a:cubicBezTo>
                    <a:pt x="426500" y="360898"/>
                    <a:pt x="426500" y="253206"/>
                    <a:pt x="426500" y="200898"/>
                  </a:cubicBezTo>
                  <a:cubicBezTo>
                    <a:pt x="423423" y="105513"/>
                    <a:pt x="395731" y="25513"/>
                    <a:pt x="211115" y="898"/>
                  </a:cubicBezTo>
                  <a:cubicBezTo>
                    <a:pt x="121884" y="-11410"/>
                    <a:pt x="26500" y="105513"/>
                    <a:pt x="8038" y="185513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21976642-A9C8-437D-9708-2771F94601F0}"/>
                </a:ext>
              </a:extLst>
            </p:cNvPr>
            <p:cNvSpPr/>
            <p:nvPr/>
          </p:nvSpPr>
          <p:spPr>
            <a:xfrm>
              <a:off x="6966768" y="4939521"/>
              <a:ext cx="55385" cy="133581"/>
            </a:xfrm>
            <a:custGeom>
              <a:avLst/>
              <a:gdLst>
                <a:gd name="connsiteX0" fmla="*/ 30769 w 55385"/>
                <a:gd name="connsiteY0" fmla="*/ 133582 h 133581"/>
                <a:gd name="connsiteX1" fmla="*/ 6154 w 55385"/>
                <a:gd name="connsiteY1" fmla="*/ 127428 h 133581"/>
                <a:gd name="connsiteX2" fmla="*/ 0 w 55385"/>
                <a:gd name="connsiteY2" fmla="*/ 115121 h 133581"/>
                <a:gd name="connsiteX3" fmla="*/ 27693 w 55385"/>
                <a:gd name="connsiteY3" fmla="*/ 4351 h 133581"/>
                <a:gd name="connsiteX4" fmla="*/ 33846 w 55385"/>
                <a:gd name="connsiteY4" fmla="*/ 1275 h 133581"/>
                <a:gd name="connsiteX5" fmla="*/ 36923 w 55385"/>
                <a:gd name="connsiteY5" fmla="*/ 7428 h 133581"/>
                <a:gd name="connsiteX6" fmla="*/ 9231 w 55385"/>
                <a:gd name="connsiteY6" fmla="*/ 115121 h 133581"/>
                <a:gd name="connsiteX7" fmla="*/ 9231 w 55385"/>
                <a:gd name="connsiteY7" fmla="*/ 118197 h 133581"/>
                <a:gd name="connsiteX8" fmla="*/ 49231 w 55385"/>
                <a:gd name="connsiteY8" fmla="*/ 118197 h 133581"/>
                <a:gd name="connsiteX9" fmla="*/ 55385 w 55385"/>
                <a:gd name="connsiteY9" fmla="*/ 124352 h 133581"/>
                <a:gd name="connsiteX10" fmla="*/ 49231 w 55385"/>
                <a:gd name="connsiteY10" fmla="*/ 130505 h 133581"/>
                <a:gd name="connsiteX11" fmla="*/ 30769 w 55385"/>
                <a:gd name="connsiteY11" fmla="*/ 133582 h 133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385" h="133581">
                  <a:moveTo>
                    <a:pt x="30769" y="133582"/>
                  </a:moveTo>
                  <a:cubicBezTo>
                    <a:pt x="21539" y="133582"/>
                    <a:pt x="12308" y="133582"/>
                    <a:pt x="6154" y="127428"/>
                  </a:cubicBezTo>
                  <a:cubicBezTo>
                    <a:pt x="3077" y="124352"/>
                    <a:pt x="0" y="121274"/>
                    <a:pt x="0" y="115121"/>
                  </a:cubicBezTo>
                  <a:cubicBezTo>
                    <a:pt x="0" y="93582"/>
                    <a:pt x="27693" y="7428"/>
                    <a:pt x="27693" y="4351"/>
                  </a:cubicBezTo>
                  <a:cubicBezTo>
                    <a:pt x="27693" y="1275"/>
                    <a:pt x="30769" y="-1803"/>
                    <a:pt x="33846" y="1275"/>
                  </a:cubicBezTo>
                  <a:cubicBezTo>
                    <a:pt x="36923" y="1275"/>
                    <a:pt x="40001" y="4351"/>
                    <a:pt x="36923" y="7428"/>
                  </a:cubicBezTo>
                  <a:cubicBezTo>
                    <a:pt x="30769" y="32044"/>
                    <a:pt x="9231" y="96659"/>
                    <a:pt x="9231" y="115121"/>
                  </a:cubicBezTo>
                  <a:cubicBezTo>
                    <a:pt x="9231" y="115121"/>
                    <a:pt x="9231" y="118197"/>
                    <a:pt x="9231" y="118197"/>
                  </a:cubicBezTo>
                  <a:cubicBezTo>
                    <a:pt x="15385" y="124352"/>
                    <a:pt x="36923" y="121274"/>
                    <a:pt x="49231" y="118197"/>
                  </a:cubicBezTo>
                  <a:cubicBezTo>
                    <a:pt x="52308" y="118197"/>
                    <a:pt x="55385" y="118197"/>
                    <a:pt x="55385" y="124352"/>
                  </a:cubicBezTo>
                  <a:cubicBezTo>
                    <a:pt x="55385" y="127428"/>
                    <a:pt x="55385" y="130505"/>
                    <a:pt x="49231" y="130505"/>
                  </a:cubicBezTo>
                  <a:cubicBezTo>
                    <a:pt x="49231" y="133582"/>
                    <a:pt x="40001" y="133582"/>
                    <a:pt x="30769" y="133582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0245B9B5-884E-42C4-9418-3FB24E90446E}"/>
                </a:ext>
              </a:extLst>
            </p:cNvPr>
            <p:cNvSpPr/>
            <p:nvPr/>
          </p:nvSpPr>
          <p:spPr>
            <a:xfrm>
              <a:off x="6948307" y="5125411"/>
              <a:ext cx="107692" cy="55384"/>
            </a:xfrm>
            <a:custGeom>
              <a:avLst/>
              <a:gdLst>
                <a:gd name="connsiteX0" fmla="*/ 107692 w 107692"/>
                <a:gd name="connsiteY0" fmla="*/ 0 h 55384"/>
                <a:gd name="connsiteX1" fmla="*/ 0 w 107692"/>
                <a:gd name="connsiteY1" fmla="*/ 0 h 55384"/>
                <a:gd name="connsiteX2" fmla="*/ 52307 w 107692"/>
                <a:gd name="connsiteY2" fmla="*/ 55384 h 55384"/>
                <a:gd name="connsiteX3" fmla="*/ 107692 w 107692"/>
                <a:gd name="connsiteY3" fmla="*/ 0 h 55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92" h="55384">
                  <a:moveTo>
                    <a:pt x="107692" y="0"/>
                  </a:moveTo>
                  <a:cubicBezTo>
                    <a:pt x="52307" y="24615"/>
                    <a:pt x="0" y="0"/>
                    <a:pt x="0" y="0"/>
                  </a:cubicBezTo>
                  <a:cubicBezTo>
                    <a:pt x="0" y="0"/>
                    <a:pt x="15385" y="55384"/>
                    <a:pt x="52307" y="55384"/>
                  </a:cubicBezTo>
                  <a:cubicBezTo>
                    <a:pt x="92308" y="52308"/>
                    <a:pt x="107692" y="0"/>
                    <a:pt x="107692" y="0"/>
                  </a:cubicBezTo>
                  <a:close/>
                </a:path>
              </a:pathLst>
            </a:custGeom>
            <a:solidFill>
              <a:srgbClr val="FFFFFF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9AA0F2AB-ED4D-411E-82BF-D57813AA3E2C}"/>
                </a:ext>
              </a:extLst>
            </p:cNvPr>
            <p:cNvSpPr/>
            <p:nvPr/>
          </p:nvSpPr>
          <p:spPr>
            <a:xfrm>
              <a:off x="6892318" y="4912319"/>
              <a:ext cx="41387" cy="41387"/>
            </a:xfrm>
            <a:custGeom>
              <a:avLst/>
              <a:gdLst>
                <a:gd name="connsiteX0" fmla="*/ 40604 w 41387"/>
                <a:gd name="connsiteY0" fmla="*/ 25399 h 41387"/>
                <a:gd name="connsiteX1" fmla="*/ 15988 w 41387"/>
                <a:gd name="connsiteY1" fmla="*/ 40784 h 41387"/>
                <a:gd name="connsiteX2" fmla="*/ 604 w 41387"/>
                <a:gd name="connsiteY2" fmla="*/ 16169 h 41387"/>
                <a:gd name="connsiteX3" fmla="*/ 25220 w 41387"/>
                <a:gd name="connsiteY3" fmla="*/ 784 h 41387"/>
                <a:gd name="connsiteX4" fmla="*/ 40604 w 41387"/>
                <a:gd name="connsiteY4" fmla="*/ 25399 h 4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387">
                  <a:moveTo>
                    <a:pt x="40604" y="25399"/>
                  </a:moveTo>
                  <a:cubicBezTo>
                    <a:pt x="37527" y="34630"/>
                    <a:pt x="28296" y="43861"/>
                    <a:pt x="15988" y="40784"/>
                  </a:cubicBezTo>
                  <a:cubicBezTo>
                    <a:pt x="6758" y="37707"/>
                    <a:pt x="-2474" y="28477"/>
                    <a:pt x="604" y="16169"/>
                  </a:cubicBezTo>
                  <a:cubicBezTo>
                    <a:pt x="3681" y="3861"/>
                    <a:pt x="12911" y="-2293"/>
                    <a:pt x="25220" y="784"/>
                  </a:cubicBezTo>
                  <a:cubicBezTo>
                    <a:pt x="37527" y="3861"/>
                    <a:pt x="43680" y="13092"/>
                    <a:pt x="40604" y="2539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7E2A6423-B035-4C02-8EAC-5138ECB1768F}"/>
                </a:ext>
              </a:extLst>
            </p:cNvPr>
            <p:cNvSpPr/>
            <p:nvPr/>
          </p:nvSpPr>
          <p:spPr>
            <a:xfrm>
              <a:off x="7085985" y="4918653"/>
              <a:ext cx="40783" cy="41207"/>
            </a:xfrm>
            <a:custGeom>
              <a:avLst/>
              <a:gdLst>
                <a:gd name="connsiteX0" fmla="*/ 40784 w 40783"/>
                <a:gd name="connsiteY0" fmla="*/ 25219 h 41207"/>
                <a:gd name="connsiteX1" fmla="*/ 16169 w 40783"/>
                <a:gd name="connsiteY1" fmla="*/ 40604 h 41207"/>
                <a:gd name="connsiteX2" fmla="*/ 784 w 40783"/>
                <a:gd name="connsiteY2" fmla="*/ 15988 h 41207"/>
                <a:gd name="connsiteX3" fmla="*/ 25399 w 40783"/>
                <a:gd name="connsiteY3" fmla="*/ 603 h 41207"/>
                <a:gd name="connsiteX4" fmla="*/ 40784 w 40783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3" h="41207">
                  <a:moveTo>
                    <a:pt x="40784" y="25219"/>
                  </a:moveTo>
                  <a:cubicBezTo>
                    <a:pt x="37707" y="34450"/>
                    <a:pt x="28476" y="43681"/>
                    <a:pt x="16169" y="40604"/>
                  </a:cubicBezTo>
                  <a:cubicBezTo>
                    <a:pt x="3860" y="37527"/>
                    <a:pt x="-2293" y="28296"/>
                    <a:pt x="784" y="15988"/>
                  </a:cubicBezTo>
                  <a:cubicBezTo>
                    <a:pt x="3860" y="6758"/>
                    <a:pt x="13092" y="-2473"/>
                    <a:pt x="25399" y="603"/>
                  </a:cubicBezTo>
                  <a:cubicBezTo>
                    <a:pt x="34630" y="3681"/>
                    <a:pt x="40784" y="15988"/>
                    <a:pt x="40784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E7E9FDA3-97A3-4ED7-BDD5-38949AC69D99}"/>
                </a:ext>
              </a:extLst>
            </p:cNvPr>
            <p:cNvSpPr/>
            <p:nvPr/>
          </p:nvSpPr>
          <p:spPr>
            <a:xfrm>
              <a:off x="6869076" y="4862697"/>
              <a:ext cx="92813" cy="35021"/>
            </a:xfrm>
            <a:custGeom>
              <a:avLst/>
              <a:gdLst>
                <a:gd name="connsiteX0" fmla="*/ 8461 w 92813"/>
                <a:gd name="connsiteY0" fmla="*/ 35022 h 35021"/>
                <a:gd name="connsiteX1" fmla="*/ 2308 w 92813"/>
                <a:gd name="connsiteY1" fmla="*/ 31945 h 35021"/>
                <a:gd name="connsiteX2" fmla="*/ 2308 w 92813"/>
                <a:gd name="connsiteY2" fmla="*/ 19637 h 35021"/>
                <a:gd name="connsiteX3" fmla="*/ 88461 w 92813"/>
                <a:gd name="connsiteY3" fmla="*/ 10406 h 35021"/>
                <a:gd name="connsiteX4" fmla="*/ 91538 w 92813"/>
                <a:gd name="connsiteY4" fmla="*/ 19637 h 35021"/>
                <a:gd name="connsiteX5" fmla="*/ 82307 w 92813"/>
                <a:gd name="connsiteY5" fmla="*/ 22714 h 35021"/>
                <a:gd name="connsiteX6" fmla="*/ 14615 w 92813"/>
                <a:gd name="connsiteY6" fmla="*/ 28868 h 35021"/>
                <a:gd name="connsiteX7" fmla="*/ 8461 w 92813"/>
                <a:gd name="connsiteY7" fmla="*/ 35022 h 35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5021">
                  <a:moveTo>
                    <a:pt x="8461" y="35022"/>
                  </a:moveTo>
                  <a:cubicBezTo>
                    <a:pt x="5384" y="35022"/>
                    <a:pt x="5384" y="35022"/>
                    <a:pt x="2308" y="31945"/>
                  </a:cubicBezTo>
                  <a:cubicBezTo>
                    <a:pt x="-769" y="28868"/>
                    <a:pt x="-769" y="22714"/>
                    <a:pt x="2308" y="19637"/>
                  </a:cubicBezTo>
                  <a:cubicBezTo>
                    <a:pt x="30000" y="-11132"/>
                    <a:pt x="70000" y="1176"/>
                    <a:pt x="88461" y="10406"/>
                  </a:cubicBezTo>
                  <a:cubicBezTo>
                    <a:pt x="91538" y="13483"/>
                    <a:pt x="94616" y="16561"/>
                    <a:pt x="91538" y="19637"/>
                  </a:cubicBezTo>
                  <a:cubicBezTo>
                    <a:pt x="88461" y="22714"/>
                    <a:pt x="85384" y="25791"/>
                    <a:pt x="82307" y="22714"/>
                  </a:cubicBezTo>
                  <a:cubicBezTo>
                    <a:pt x="79231" y="22714"/>
                    <a:pt x="39230" y="1176"/>
                    <a:pt x="14615" y="28868"/>
                  </a:cubicBezTo>
                  <a:cubicBezTo>
                    <a:pt x="11538" y="35022"/>
                    <a:pt x="8461" y="35022"/>
                    <a:pt x="8461" y="35022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11D56F1F-B45F-4D68-804E-2FAA83385C92}"/>
                </a:ext>
              </a:extLst>
            </p:cNvPr>
            <p:cNvSpPr/>
            <p:nvPr/>
          </p:nvSpPr>
          <p:spPr>
            <a:xfrm>
              <a:off x="7057802" y="4861109"/>
              <a:ext cx="92812" cy="36609"/>
            </a:xfrm>
            <a:custGeom>
              <a:avLst/>
              <a:gdLst>
                <a:gd name="connsiteX0" fmla="*/ 87429 w 92812"/>
                <a:gd name="connsiteY0" fmla="*/ 36610 h 36609"/>
                <a:gd name="connsiteX1" fmla="*/ 81274 w 92812"/>
                <a:gd name="connsiteY1" fmla="*/ 33533 h 36609"/>
                <a:gd name="connsiteX2" fmla="*/ 13583 w 92812"/>
                <a:gd name="connsiteY2" fmla="*/ 27379 h 36609"/>
                <a:gd name="connsiteX3" fmla="*/ 1274 w 92812"/>
                <a:gd name="connsiteY3" fmla="*/ 24302 h 36609"/>
                <a:gd name="connsiteX4" fmla="*/ 4351 w 92812"/>
                <a:gd name="connsiteY4" fmla="*/ 11994 h 36609"/>
                <a:gd name="connsiteX5" fmla="*/ 90506 w 92812"/>
                <a:gd name="connsiteY5" fmla="*/ 21225 h 36609"/>
                <a:gd name="connsiteX6" fmla="*/ 90506 w 92812"/>
                <a:gd name="connsiteY6" fmla="*/ 33533 h 36609"/>
                <a:gd name="connsiteX7" fmla="*/ 87429 w 92812"/>
                <a:gd name="connsiteY7" fmla="*/ 36610 h 3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6609">
                  <a:moveTo>
                    <a:pt x="87429" y="36610"/>
                  </a:moveTo>
                  <a:cubicBezTo>
                    <a:pt x="84351" y="36610"/>
                    <a:pt x="84351" y="36610"/>
                    <a:pt x="81274" y="33533"/>
                  </a:cubicBezTo>
                  <a:cubicBezTo>
                    <a:pt x="81274" y="33533"/>
                    <a:pt x="50505" y="2764"/>
                    <a:pt x="13583" y="27379"/>
                  </a:cubicBezTo>
                  <a:cubicBezTo>
                    <a:pt x="10506" y="30456"/>
                    <a:pt x="4351" y="27379"/>
                    <a:pt x="1274" y="24302"/>
                  </a:cubicBezTo>
                  <a:cubicBezTo>
                    <a:pt x="-1802" y="21225"/>
                    <a:pt x="1274" y="15072"/>
                    <a:pt x="4351" y="11994"/>
                  </a:cubicBezTo>
                  <a:cubicBezTo>
                    <a:pt x="41275" y="-12621"/>
                    <a:pt x="78197" y="5841"/>
                    <a:pt x="90506" y="21225"/>
                  </a:cubicBezTo>
                  <a:cubicBezTo>
                    <a:pt x="93582" y="24302"/>
                    <a:pt x="93582" y="30456"/>
                    <a:pt x="90506" y="33533"/>
                  </a:cubicBezTo>
                  <a:cubicBezTo>
                    <a:pt x="90506" y="36610"/>
                    <a:pt x="90506" y="36610"/>
                    <a:pt x="87429" y="36610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76715BEA-12F4-4C37-9E28-8CA68FCFB6BA}"/>
                </a:ext>
              </a:extLst>
            </p:cNvPr>
            <p:cNvSpPr/>
            <p:nvPr/>
          </p:nvSpPr>
          <p:spPr>
            <a:xfrm>
              <a:off x="6809706" y="4636503"/>
              <a:ext cx="279173" cy="261215"/>
            </a:xfrm>
            <a:custGeom>
              <a:avLst/>
              <a:gdLst>
                <a:gd name="connsiteX0" fmla="*/ 277063 w 279173"/>
                <a:gd name="connsiteY0" fmla="*/ 2754 h 261215"/>
                <a:gd name="connsiteX1" fmla="*/ 240139 w 279173"/>
                <a:gd name="connsiteY1" fmla="*/ 131985 h 261215"/>
                <a:gd name="connsiteX2" fmla="*/ 140 w 279173"/>
                <a:gd name="connsiteY2" fmla="*/ 261215 h 261215"/>
                <a:gd name="connsiteX3" fmla="*/ 277063 w 279173"/>
                <a:gd name="connsiteY3" fmla="*/ 2754 h 26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173" h="261215">
                  <a:moveTo>
                    <a:pt x="277063" y="2754"/>
                  </a:moveTo>
                  <a:cubicBezTo>
                    <a:pt x="277063" y="2754"/>
                    <a:pt x="292447" y="91985"/>
                    <a:pt x="240139" y="131985"/>
                  </a:cubicBezTo>
                  <a:cubicBezTo>
                    <a:pt x="240139" y="131985"/>
                    <a:pt x="27832" y="175062"/>
                    <a:pt x="140" y="261215"/>
                  </a:cubicBezTo>
                  <a:cubicBezTo>
                    <a:pt x="140" y="258139"/>
                    <a:pt x="-15245" y="-31092"/>
                    <a:pt x="277063" y="2754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14EE13EA-3CA8-4C5D-8941-64C2BEBD149C}"/>
                </a:ext>
              </a:extLst>
            </p:cNvPr>
            <p:cNvSpPr/>
            <p:nvPr/>
          </p:nvSpPr>
          <p:spPr>
            <a:xfrm>
              <a:off x="7049845" y="4639257"/>
              <a:ext cx="226325" cy="317422"/>
            </a:xfrm>
            <a:custGeom>
              <a:avLst/>
              <a:gdLst>
                <a:gd name="connsiteX0" fmla="*/ 0 w 226325"/>
                <a:gd name="connsiteY0" fmla="*/ 129231 h 317422"/>
                <a:gd name="connsiteX1" fmla="*/ 141539 w 226325"/>
                <a:gd name="connsiteY1" fmla="*/ 184615 h 317422"/>
                <a:gd name="connsiteX2" fmla="*/ 200000 w 226325"/>
                <a:gd name="connsiteY2" fmla="*/ 304615 h 317422"/>
                <a:gd name="connsiteX3" fmla="*/ 224615 w 226325"/>
                <a:gd name="connsiteY3" fmla="*/ 301539 h 317422"/>
                <a:gd name="connsiteX4" fmla="*/ 33846 w 226325"/>
                <a:gd name="connsiteY4" fmla="*/ 0 h 317422"/>
                <a:gd name="connsiteX5" fmla="*/ 0 w 226325"/>
                <a:gd name="connsiteY5" fmla="*/ 129231 h 317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6325" h="317422">
                  <a:moveTo>
                    <a:pt x="0" y="129231"/>
                  </a:moveTo>
                  <a:cubicBezTo>
                    <a:pt x="0" y="129231"/>
                    <a:pt x="92308" y="178462"/>
                    <a:pt x="141539" y="184615"/>
                  </a:cubicBezTo>
                  <a:cubicBezTo>
                    <a:pt x="193846" y="190769"/>
                    <a:pt x="200000" y="304615"/>
                    <a:pt x="200000" y="304615"/>
                  </a:cubicBezTo>
                  <a:cubicBezTo>
                    <a:pt x="200000" y="304615"/>
                    <a:pt x="221539" y="335384"/>
                    <a:pt x="224615" y="301539"/>
                  </a:cubicBezTo>
                  <a:cubicBezTo>
                    <a:pt x="230769" y="221538"/>
                    <a:pt x="230769" y="21538"/>
                    <a:pt x="33846" y="0"/>
                  </a:cubicBezTo>
                  <a:cubicBezTo>
                    <a:pt x="36923" y="0"/>
                    <a:pt x="24615" y="123077"/>
                    <a:pt x="0" y="129231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E5DCD6E2-749B-4414-BFA2-B6E20D4EC8A2}"/>
                </a:ext>
              </a:extLst>
            </p:cNvPr>
            <p:cNvSpPr/>
            <p:nvPr/>
          </p:nvSpPr>
          <p:spPr>
            <a:xfrm>
              <a:off x="7046768" y="4682334"/>
              <a:ext cx="156923" cy="144615"/>
            </a:xfrm>
            <a:custGeom>
              <a:avLst/>
              <a:gdLst>
                <a:gd name="connsiteX0" fmla="*/ 147693 w 156923"/>
                <a:gd name="connsiteY0" fmla="*/ 144615 h 144615"/>
                <a:gd name="connsiteX1" fmla="*/ 147693 w 156923"/>
                <a:gd name="connsiteY1" fmla="*/ 144615 h 144615"/>
                <a:gd name="connsiteX2" fmla="*/ 49231 w 156923"/>
                <a:gd name="connsiteY2" fmla="*/ 110769 h 144615"/>
                <a:gd name="connsiteX3" fmla="*/ 3077 w 156923"/>
                <a:gd name="connsiteY3" fmla="*/ 86154 h 144615"/>
                <a:gd name="connsiteX4" fmla="*/ 0 w 156923"/>
                <a:gd name="connsiteY4" fmla="*/ 83077 h 144615"/>
                <a:gd name="connsiteX5" fmla="*/ 0 w 156923"/>
                <a:gd name="connsiteY5" fmla="*/ 76923 h 144615"/>
                <a:gd name="connsiteX6" fmla="*/ 27692 w 156923"/>
                <a:gd name="connsiteY6" fmla="*/ 6154 h 144615"/>
                <a:gd name="connsiteX7" fmla="*/ 33846 w 156923"/>
                <a:gd name="connsiteY7" fmla="*/ 0 h 144615"/>
                <a:gd name="connsiteX8" fmla="*/ 33846 w 156923"/>
                <a:gd name="connsiteY8" fmla="*/ 0 h 144615"/>
                <a:gd name="connsiteX9" fmla="*/ 40001 w 156923"/>
                <a:gd name="connsiteY9" fmla="*/ 6154 h 144615"/>
                <a:gd name="connsiteX10" fmla="*/ 15385 w 156923"/>
                <a:gd name="connsiteY10" fmla="*/ 76923 h 144615"/>
                <a:gd name="connsiteX11" fmla="*/ 55385 w 156923"/>
                <a:gd name="connsiteY11" fmla="*/ 98461 h 144615"/>
                <a:gd name="connsiteX12" fmla="*/ 150769 w 156923"/>
                <a:gd name="connsiteY12" fmla="*/ 129231 h 144615"/>
                <a:gd name="connsiteX13" fmla="*/ 156923 w 156923"/>
                <a:gd name="connsiteY13" fmla="*/ 135385 h 144615"/>
                <a:gd name="connsiteX14" fmla="*/ 147693 w 156923"/>
                <a:gd name="connsiteY14" fmla="*/ 144615 h 14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6923" h="144615">
                  <a:moveTo>
                    <a:pt x="147693" y="144615"/>
                  </a:moveTo>
                  <a:cubicBezTo>
                    <a:pt x="147693" y="144615"/>
                    <a:pt x="147693" y="144615"/>
                    <a:pt x="147693" y="144615"/>
                  </a:cubicBezTo>
                  <a:cubicBezTo>
                    <a:pt x="116924" y="141539"/>
                    <a:pt x="83077" y="129231"/>
                    <a:pt x="49231" y="110769"/>
                  </a:cubicBezTo>
                  <a:cubicBezTo>
                    <a:pt x="21539" y="98461"/>
                    <a:pt x="3077" y="86154"/>
                    <a:pt x="3077" y="86154"/>
                  </a:cubicBezTo>
                  <a:cubicBezTo>
                    <a:pt x="3077" y="86154"/>
                    <a:pt x="0" y="83077"/>
                    <a:pt x="0" y="83077"/>
                  </a:cubicBezTo>
                  <a:cubicBezTo>
                    <a:pt x="0" y="80000"/>
                    <a:pt x="0" y="80000"/>
                    <a:pt x="0" y="76923"/>
                  </a:cubicBezTo>
                  <a:cubicBezTo>
                    <a:pt x="6154" y="70769"/>
                    <a:pt x="24616" y="30769"/>
                    <a:pt x="27692" y="6154"/>
                  </a:cubicBezTo>
                  <a:cubicBezTo>
                    <a:pt x="27692" y="3077"/>
                    <a:pt x="30769" y="0"/>
                    <a:pt x="33846" y="0"/>
                  </a:cubicBezTo>
                  <a:cubicBezTo>
                    <a:pt x="33846" y="0"/>
                    <a:pt x="33846" y="0"/>
                    <a:pt x="33846" y="0"/>
                  </a:cubicBezTo>
                  <a:cubicBezTo>
                    <a:pt x="36923" y="0"/>
                    <a:pt x="40001" y="3077"/>
                    <a:pt x="40001" y="6154"/>
                  </a:cubicBezTo>
                  <a:cubicBezTo>
                    <a:pt x="40001" y="30769"/>
                    <a:pt x="24616" y="64616"/>
                    <a:pt x="15385" y="76923"/>
                  </a:cubicBezTo>
                  <a:cubicBezTo>
                    <a:pt x="21539" y="80000"/>
                    <a:pt x="36923" y="89231"/>
                    <a:pt x="55385" y="98461"/>
                  </a:cubicBezTo>
                  <a:cubicBezTo>
                    <a:pt x="89231" y="113846"/>
                    <a:pt x="123077" y="126154"/>
                    <a:pt x="150769" y="129231"/>
                  </a:cubicBezTo>
                  <a:cubicBezTo>
                    <a:pt x="153846" y="129231"/>
                    <a:pt x="156923" y="132308"/>
                    <a:pt x="156923" y="135385"/>
                  </a:cubicBezTo>
                  <a:cubicBezTo>
                    <a:pt x="153846" y="144615"/>
                    <a:pt x="150769" y="144615"/>
                    <a:pt x="147693" y="144615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A4BB0008-5434-4BF1-9E2A-F9A4DC283F40}"/>
                </a:ext>
              </a:extLst>
            </p:cNvPr>
            <p:cNvSpPr/>
            <p:nvPr/>
          </p:nvSpPr>
          <p:spPr>
            <a:xfrm>
              <a:off x="6930615" y="5167213"/>
              <a:ext cx="225120" cy="81274"/>
            </a:xfrm>
            <a:custGeom>
              <a:avLst/>
              <a:gdLst>
                <a:gd name="connsiteX0" fmla="*/ 73077 w 225120"/>
                <a:gd name="connsiteY0" fmla="*/ 81275 h 81274"/>
                <a:gd name="connsiteX1" fmla="*/ 2308 w 225120"/>
                <a:gd name="connsiteY1" fmla="*/ 53582 h 81274"/>
                <a:gd name="connsiteX2" fmla="*/ 2308 w 225120"/>
                <a:gd name="connsiteY2" fmla="*/ 44351 h 81274"/>
                <a:gd name="connsiteX3" fmla="*/ 11538 w 225120"/>
                <a:gd name="connsiteY3" fmla="*/ 44351 h 81274"/>
                <a:gd name="connsiteX4" fmla="*/ 82307 w 225120"/>
                <a:gd name="connsiteY4" fmla="*/ 68967 h 81274"/>
                <a:gd name="connsiteX5" fmla="*/ 214615 w 225120"/>
                <a:gd name="connsiteY5" fmla="*/ 1275 h 81274"/>
                <a:gd name="connsiteX6" fmla="*/ 223846 w 225120"/>
                <a:gd name="connsiteY6" fmla="*/ 4352 h 81274"/>
                <a:gd name="connsiteX7" fmla="*/ 220769 w 225120"/>
                <a:gd name="connsiteY7" fmla="*/ 13582 h 81274"/>
                <a:gd name="connsiteX8" fmla="*/ 82307 w 225120"/>
                <a:gd name="connsiteY8" fmla="*/ 81275 h 81274"/>
                <a:gd name="connsiteX9" fmla="*/ 73077 w 225120"/>
                <a:gd name="connsiteY9" fmla="*/ 81275 h 81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120" h="81274">
                  <a:moveTo>
                    <a:pt x="73077" y="81275"/>
                  </a:moveTo>
                  <a:cubicBezTo>
                    <a:pt x="33077" y="81275"/>
                    <a:pt x="5384" y="53582"/>
                    <a:pt x="2308" y="53582"/>
                  </a:cubicBezTo>
                  <a:cubicBezTo>
                    <a:pt x="-769" y="50506"/>
                    <a:pt x="-769" y="47428"/>
                    <a:pt x="2308" y="44351"/>
                  </a:cubicBezTo>
                  <a:cubicBezTo>
                    <a:pt x="5384" y="41275"/>
                    <a:pt x="8461" y="41275"/>
                    <a:pt x="11538" y="44351"/>
                  </a:cubicBezTo>
                  <a:cubicBezTo>
                    <a:pt x="11538" y="44351"/>
                    <a:pt x="45385" y="72044"/>
                    <a:pt x="82307" y="68967"/>
                  </a:cubicBezTo>
                  <a:cubicBezTo>
                    <a:pt x="122308" y="62813"/>
                    <a:pt x="214615" y="1275"/>
                    <a:pt x="214615" y="1275"/>
                  </a:cubicBezTo>
                  <a:cubicBezTo>
                    <a:pt x="217692" y="-1803"/>
                    <a:pt x="220769" y="1275"/>
                    <a:pt x="223846" y="4352"/>
                  </a:cubicBezTo>
                  <a:cubicBezTo>
                    <a:pt x="226923" y="7428"/>
                    <a:pt x="223846" y="10505"/>
                    <a:pt x="220769" y="13582"/>
                  </a:cubicBezTo>
                  <a:cubicBezTo>
                    <a:pt x="217692" y="16659"/>
                    <a:pt x="125385" y="78198"/>
                    <a:pt x="82307" y="81275"/>
                  </a:cubicBezTo>
                  <a:cubicBezTo>
                    <a:pt x="79231" y="81275"/>
                    <a:pt x="76154" y="81275"/>
                    <a:pt x="73077" y="81275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877D3F99-DDC2-46AC-9057-25140541D560}"/>
                </a:ext>
              </a:extLst>
            </p:cNvPr>
            <p:cNvSpPr/>
            <p:nvPr/>
          </p:nvSpPr>
          <p:spPr>
            <a:xfrm>
              <a:off x="7214631" y="4926989"/>
              <a:ext cx="79666" cy="115102"/>
            </a:xfrm>
            <a:custGeom>
              <a:avLst/>
              <a:gdLst>
                <a:gd name="connsiteX0" fmla="*/ 13675 w 79666"/>
                <a:gd name="connsiteY0" fmla="*/ 16883 h 115102"/>
                <a:gd name="connsiteX1" fmla="*/ 72138 w 79666"/>
                <a:gd name="connsiteY1" fmla="*/ 7652 h 115102"/>
                <a:gd name="connsiteX2" fmla="*/ 13675 w 79666"/>
                <a:gd name="connsiteY2" fmla="*/ 112268 h 115102"/>
                <a:gd name="connsiteX3" fmla="*/ 13675 w 79666"/>
                <a:gd name="connsiteY3" fmla="*/ 16883 h 115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666" h="115102">
                  <a:moveTo>
                    <a:pt x="13675" y="16883"/>
                  </a:moveTo>
                  <a:cubicBezTo>
                    <a:pt x="13675" y="16883"/>
                    <a:pt x="47522" y="-13886"/>
                    <a:pt x="72138" y="7652"/>
                  </a:cubicBezTo>
                  <a:cubicBezTo>
                    <a:pt x="96753" y="26114"/>
                    <a:pt x="56753" y="133806"/>
                    <a:pt x="13675" y="112268"/>
                  </a:cubicBezTo>
                  <a:cubicBezTo>
                    <a:pt x="-17094" y="93806"/>
                    <a:pt x="13675" y="16883"/>
                    <a:pt x="13675" y="16883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C589EB99-54B0-403C-8A3F-3376DC64BB4D}"/>
                </a:ext>
              </a:extLst>
            </p:cNvPr>
            <p:cNvSpPr/>
            <p:nvPr/>
          </p:nvSpPr>
          <p:spPr>
            <a:xfrm>
              <a:off x="6803691" y="4759257"/>
              <a:ext cx="255384" cy="159999"/>
            </a:xfrm>
            <a:custGeom>
              <a:avLst/>
              <a:gdLst>
                <a:gd name="connsiteX0" fmla="*/ 6154 w 255384"/>
                <a:gd name="connsiteY0" fmla="*/ 160000 h 159999"/>
                <a:gd name="connsiteX1" fmla="*/ 6154 w 255384"/>
                <a:gd name="connsiteY1" fmla="*/ 160000 h 159999"/>
                <a:gd name="connsiteX2" fmla="*/ 0 w 255384"/>
                <a:gd name="connsiteY2" fmla="*/ 153846 h 159999"/>
                <a:gd name="connsiteX3" fmla="*/ 110769 w 255384"/>
                <a:gd name="connsiteY3" fmla="*/ 46154 h 159999"/>
                <a:gd name="connsiteX4" fmla="*/ 246154 w 255384"/>
                <a:gd name="connsiteY4" fmla="*/ 0 h 159999"/>
                <a:gd name="connsiteX5" fmla="*/ 255384 w 255384"/>
                <a:gd name="connsiteY5" fmla="*/ 3077 h 159999"/>
                <a:gd name="connsiteX6" fmla="*/ 252308 w 255384"/>
                <a:gd name="connsiteY6" fmla="*/ 12308 h 159999"/>
                <a:gd name="connsiteX7" fmla="*/ 116923 w 255384"/>
                <a:gd name="connsiteY7" fmla="*/ 58462 h 159999"/>
                <a:gd name="connsiteX8" fmla="*/ 15385 w 255384"/>
                <a:gd name="connsiteY8" fmla="*/ 156923 h 159999"/>
                <a:gd name="connsiteX9" fmla="*/ 6154 w 255384"/>
                <a:gd name="connsiteY9" fmla="*/ 160000 h 15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5384" h="159999">
                  <a:moveTo>
                    <a:pt x="6154" y="160000"/>
                  </a:moveTo>
                  <a:cubicBezTo>
                    <a:pt x="6154" y="160000"/>
                    <a:pt x="6154" y="160000"/>
                    <a:pt x="6154" y="160000"/>
                  </a:cubicBezTo>
                  <a:cubicBezTo>
                    <a:pt x="3077" y="160000"/>
                    <a:pt x="0" y="156923"/>
                    <a:pt x="0" y="153846"/>
                  </a:cubicBezTo>
                  <a:cubicBezTo>
                    <a:pt x="12308" y="83077"/>
                    <a:pt x="61538" y="61538"/>
                    <a:pt x="110769" y="46154"/>
                  </a:cubicBezTo>
                  <a:cubicBezTo>
                    <a:pt x="178461" y="27693"/>
                    <a:pt x="243077" y="0"/>
                    <a:pt x="246154" y="0"/>
                  </a:cubicBezTo>
                  <a:cubicBezTo>
                    <a:pt x="249231" y="0"/>
                    <a:pt x="252308" y="0"/>
                    <a:pt x="255384" y="3077"/>
                  </a:cubicBezTo>
                  <a:cubicBezTo>
                    <a:pt x="255384" y="6154"/>
                    <a:pt x="255384" y="9231"/>
                    <a:pt x="252308" y="12308"/>
                  </a:cubicBezTo>
                  <a:cubicBezTo>
                    <a:pt x="252308" y="12308"/>
                    <a:pt x="184615" y="36923"/>
                    <a:pt x="116923" y="58462"/>
                  </a:cubicBezTo>
                  <a:cubicBezTo>
                    <a:pt x="61538" y="73846"/>
                    <a:pt x="24615" y="98461"/>
                    <a:pt x="15385" y="156923"/>
                  </a:cubicBezTo>
                  <a:cubicBezTo>
                    <a:pt x="12308" y="156923"/>
                    <a:pt x="9230" y="160000"/>
                    <a:pt x="6154" y="160000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1" name="图形 1">
              <a:extLst>
                <a:ext uri="{FF2B5EF4-FFF2-40B4-BE49-F238E27FC236}">
                  <a16:creationId xmlns:a16="http://schemas.microsoft.com/office/drawing/2014/main" id="{647B975A-2010-4262-B88F-E23A1AD09FF9}"/>
                </a:ext>
              </a:extLst>
            </p:cNvPr>
            <p:cNvGrpSpPr/>
            <p:nvPr/>
          </p:nvGrpSpPr>
          <p:grpSpPr>
            <a:xfrm>
              <a:off x="8311345" y="8534641"/>
              <a:ext cx="432596" cy="580292"/>
              <a:chOff x="8311345" y="8534641"/>
              <a:chExt cx="432596" cy="580292"/>
            </a:xfrm>
          </p:grpSpPr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FA4D6783-C150-44FF-B544-C429D9FB30E6}"/>
                  </a:ext>
                </a:extLst>
              </p:cNvPr>
              <p:cNvSpPr/>
              <p:nvPr/>
            </p:nvSpPr>
            <p:spPr>
              <a:xfrm>
                <a:off x="8422153" y="8534641"/>
                <a:ext cx="230769" cy="276923"/>
              </a:xfrm>
              <a:custGeom>
                <a:avLst/>
                <a:gdLst>
                  <a:gd name="connsiteX0" fmla="*/ 218462 w 230769"/>
                  <a:gd name="connsiteY0" fmla="*/ 172308 h 276923"/>
                  <a:gd name="connsiteX1" fmla="*/ 150769 w 230769"/>
                  <a:gd name="connsiteY1" fmla="*/ 0 h 276923"/>
                  <a:gd name="connsiteX2" fmla="*/ 0 w 230769"/>
                  <a:gd name="connsiteY2" fmla="*/ 107692 h 276923"/>
                  <a:gd name="connsiteX3" fmla="*/ 92308 w 230769"/>
                  <a:gd name="connsiteY3" fmla="*/ 276923 h 276923"/>
                  <a:gd name="connsiteX4" fmla="*/ 230769 w 230769"/>
                  <a:gd name="connsiteY4" fmla="*/ 212308 h 27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0769" h="276923">
                    <a:moveTo>
                      <a:pt x="218462" y="172308"/>
                    </a:moveTo>
                    <a:lnTo>
                      <a:pt x="150769" y="0"/>
                    </a:lnTo>
                    <a:lnTo>
                      <a:pt x="0" y="107692"/>
                    </a:lnTo>
                    <a:lnTo>
                      <a:pt x="92308" y="276923"/>
                    </a:lnTo>
                    <a:lnTo>
                      <a:pt x="230769" y="212308"/>
                    </a:ln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2D576F1D-B1B0-4443-A7F8-1F8F1E83701A}"/>
                  </a:ext>
                </a:extLst>
              </p:cNvPr>
              <p:cNvSpPr/>
              <p:nvPr/>
            </p:nvSpPr>
            <p:spPr>
              <a:xfrm>
                <a:off x="8311345" y="8697719"/>
                <a:ext cx="406192" cy="378461"/>
              </a:xfrm>
              <a:custGeom>
                <a:avLst/>
                <a:gdLst>
                  <a:gd name="connsiteX0" fmla="*/ 341577 w 406192"/>
                  <a:gd name="connsiteY0" fmla="*/ 0 h 378461"/>
                  <a:gd name="connsiteX1" fmla="*/ 160039 w 406192"/>
                  <a:gd name="connsiteY1" fmla="*/ 70769 h 378461"/>
                  <a:gd name="connsiteX2" fmla="*/ 98500 w 406192"/>
                  <a:gd name="connsiteY2" fmla="*/ 215385 h 378461"/>
                  <a:gd name="connsiteX3" fmla="*/ 6193 w 406192"/>
                  <a:gd name="connsiteY3" fmla="*/ 378461 h 378461"/>
                  <a:gd name="connsiteX4" fmla="*/ 406193 w 406192"/>
                  <a:gd name="connsiteY4" fmla="*/ 92308 h 378461"/>
                  <a:gd name="connsiteX5" fmla="*/ 341577 w 406192"/>
                  <a:gd name="connsiteY5" fmla="*/ 0 h 37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6192" h="378461">
                    <a:moveTo>
                      <a:pt x="341577" y="0"/>
                    </a:moveTo>
                    <a:cubicBezTo>
                      <a:pt x="341577" y="0"/>
                      <a:pt x="249270" y="89231"/>
                      <a:pt x="160039" y="70769"/>
                    </a:cubicBezTo>
                    <a:cubicBezTo>
                      <a:pt x="160039" y="70769"/>
                      <a:pt x="129270" y="181538"/>
                      <a:pt x="98500" y="215385"/>
                    </a:cubicBezTo>
                    <a:cubicBezTo>
                      <a:pt x="67731" y="249230"/>
                      <a:pt x="-24576" y="313846"/>
                      <a:pt x="6193" y="378461"/>
                    </a:cubicBezTo>
                    <a:lnTo>
                      <a:pt x="406193" y="92308"/>
                    </a:lnTo>
                    <a:cubicBezTo>
                      <a:pt x="406193" y="92308"/>
                      <a:pt x="387731" y="30769"/>
                      <a:pt x="341577" y="0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CE67294E-808B-40AE-9C31-36F161571D1D}"/>
                  </a:ext>
                </a:extLst>
              </p:cNvPr>
              <p:cNvSpPr/>
              <p:nvPr/>
            </p:nvSpPr>
            <p:spPr>
              <a:xfrm rot="-2130782">
                <a:off x="8284008" y="8930081"/>
                <a:ext cx="492317" cy="46154"/>
              </a:xfrm>
              <a:custGeom>
                <a:avLst/>
                <a:gdLst>
                  <a:gd name="connsiteX0" fmla="*/ 0 w 492317"/>
                  <a:gd name="connsiteY0" fmla="*/ 0 h 46154"/>
                  <a:gd name="connsiteX1" fmla="*/ 492318 w 492317"/>
                  <a:gd name="connsiteY1" fmla="*/ 0 h 46154"/>
                  <a:gd name="connsiteX2" fmla="*/ 492318 w 492317"/>
                  <a:gd name="connsiteY2" fmla="*/ 46155 h 46154"/>
                  <a:gd name="connsiteX3" fmla="*/ 0 w 492317"/>
                  <a:gd name="connsiteY3" fmla="*/ 46155 h 46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317" h="46154">
                    <a:moveTo>
                      <a:pt x="0" y="0"/>
                    </a:moveTo>
                    <a:lnTo>
                      <a:pt x="492318" y="0"/>
                    </a:lnTo>
                    <a:lnTo>
                      <a:pt x="492318" y="46155"/>
                    </a:lnTo>
                    <a:lnTo>
                      <a:pt x="0" y="46155"/>
                    </a:lnTo>
                    <a:close/>
                  </a:path>
                </a:pathLst>
              </a:custGeom>
              <a:solidFill>
                <a:srgbClr val="38333D"/>
              </a:solidFill>
              <a:ln w="307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10EE3FDD-531A-41B5-9502-5E8E9BB74067}"/>
                  </a:ext>
                </a:extLst>
              </p:cNvPr>
              <p:cNvSpPr/>
              <p:nvPr/>
            </p:nvSpPr>
            <p:spPr>
              <a:xfrm>
                <a:off x="8465230" y="8692334"/>
                <a:ext cx="193076" cy="82308"/>
              </a:xfrm>
              <a:custGeom>
                <a:avLst/>
                <a:gdLst>
                  <a:gd name="connsiteX0" fmla="*/ 24615 w 193076"/>
                  <a:gd name="connsiteY0" fmla="*/ 82308 h 82308"/>
                  <a:gd name="connsiteX1" fmla="*/ 6154 w 193076"/>
                  <a:gd name="connsiteY1" fmla="*/ 82308 h 82308"/>
                  <a:gd name="connsiteX2" fmla="*/ 0 w 193076"/>
                  <a:gd name="connsiteY2" fmla="*/ 76154 h 82308"/>
                  <a:gd name="connsiteX3" fmla="*/ 6154 w 193076"/>
                  <a:gd name="connsiteY3" fmla="*/ 70000 h 82308"/>
                  <a:gd name="connsiteX4" fmla="*/ 181538 w 193076"/>
                  <a:gd name="connsiteY4" fmla="*/ 2308 h 82308"/>
                  <a:gd name="connsiteX5" fmla="*/ 190770 w 193076"/>
                  <a:gd name="connsiteY5" fmla="*/ 2308 h 82308"/>
                  <a:gd name="connsiteX6" fmla="*/ 190770 w 193076"/>
                  <a:gd name="connsiteY6" fmla="*/ 11538 h 82308"/>
                  <a:gd name="connsiteX7" fmla="*/ 24615 w 193076"/>
                  <a:gd name="connsiteY7" fmla="*/ 82308 h 82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3076" h="82308">
                    <a:moveTo>
                      <a:pt x="24615" y="82308"/>
                    </a:moveTo>
                    <a:cubicBezTo>
                      <a:pt x="18462" y="82308"/>
                      <a:pt x="12308" y="82308"/>
                      <a:pt x="6154" y="82308"/>
                    </a:cubicBezTo>
                    <a:cubicBezTo>
                      <a:pt x="3077" y="82308"/>
                      <a:pt x="0" y="79231"/>
                      <a:pt x="0" y="76154"/>
                    </a:cubicBezTo>
                    <a:cubicBezTo>
                      <a:pt x="0" y="73077"/>
                      <a:pt x="3077" y="70000"/>
                      <a:pt x="6154" y="70000"/>
                    </a:cubicBezTo>
                    <a:cubicBezTo>
                      <a:pt x="98462" y="79231"/>
                      <a:pt x="181538" y="2308"/>
                      <a:pt x="181538" y="2308"/>
                    </a:cubicBezTo>
                    <a:cubicBezTo>
                      <a:pt x="184615" y="-769"/>
                      <a:pt x="187693" y="-769"/>
                      <a:pt x="190770" y="2308"/>
                    </a:cubicBezTo>
                    <a:cubicBezTo>
                      <a:pt x="193846" y="5385"/>
                      <a:pt x="193846" y="8461"/>
                      <a:pt x="190770" y="11538"/>
                    </a:cubicBezTo>
                    <a:cubicBezTo>
                      <a:pt x="187693" y="14615"/>
                      <a:pt x="113847" y="82308"/>
                      <a:pt x="24615" y="8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7FA867D4-5C54-4BD0-B401-2FF2D1FB508C}"/>
                  </a:ext>
                </a:extLst>
              </p:cNvPr>
              <p:cNvSpPr/>
              <p:nvPr/>
            </p:nvSpPr>
            <p:spPr>
              <a:xfrm>
                <a:off x="8454725" y="8807213"/>
                <a:ext cx="48702" cy="16658"/>
              </a:xfrm>
              <a:custGeom>
                <a:avLst/>
                <a:gdLst>
                  <a:gd name="connsiteX0" fmla="*/ 41274 w 48702"/>
                  <a:gd name="connsiteY0" fmla="*/ 16659 h 16658"/>
                  <a:gd name="connsiteX1" fmla="*/ 41274 w 48702"/>
                  <a:gd name="connsiteY1" fmla="*/ 16659 h 16658"/>
                  <a:gd name="connsiteX2" fmla="*/ 4351 w 48702"/>
                  <a:gd name="connsiteY2" fmla="*/ 10506 h 16658"/>
                  <a:gd name="connsiteX3" fmla="*/ 1275 w 48702"/>
                  <a:gd name="connsiteY3" fmla="*/ 4351 h 16658"/>
                  <a:gd name="connsiteX4" fmla="*/ 7428 w 48702"/>
                  <a:gd name="connsiteY4" fmla="*/ 1274 h 16658"/>
                  <a:gd name="connsiteX5" fmla="*/ 44351 w 48702"/>
                  <a:gd name="connsiteY5" fmla="*/ 7428 h 16658"/>
                  <a:gd name="connsiteX6" fmla="*/ 47428 w 48702"/>
                  <a:gd name="connsiteY6" fmla="*/ 13583 h 16658"/>
                  <a:gd name="connsiteX7" fmla="*/ 41274 w 48702"/>
                  <a:gd name="connsiteY7" fmla="*/ 16659 h 16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702" h="16658">
                    <a:moveTo>
                      <a:pt x="41274" y="16659"/>
                    </a:moveTo>
                    <a:cubicBezTo>
                      <a:pt x="41274" y="16659"/>
                      <a:pt x="41274" y="16659"/>
                      <a:pt x="41274" y="16659"/>
                    </a:cubicBezTo>
                    <a:lnTo>
                      <a:pt x="4351" y="10506"/>
                    </a:lnTo>
                    <a:cubicBezTo>
                      <a:pt x="1275" y="10506"/>
                      <a:pt x="-1803" y="7428"/>
                      <a:pt x="1275" y="4351"/>
                    </a:cubicBezTo>
                    <a:cubicBezTo>
                      <a:pt x="1275" y="1274"/>
                      <a:pt x="4351" y="-1802"/>
                      <a:pt x="7428" y="1274"/>
                    </a:cubicBezTo>
                    <a:lnTo>
                      <a:pt x="44351" y="7428"/>
                    </a:lnTo>
                    <a:cubicBezTo>
                      <a:pt x="47428" y="7428"/>
                      <a:pt x="50505" y="10506"/>
                      <a:pt x="47428" y="13583"/>
                    </a:cubicBezTo>
                    <a:cubicBezTo>
                      <a:pt x="47428" y="13583"/>
                      <a:pt x="44351" y="16659"/>
                      <a:pt x="41274" y="1665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029393DD-8562-4591-9D02-F2951291A92D}"/>
                  </a:ext>
                </a:extLst>
              </p:cNvPr>
              <p:cNvSpPr/>
              <p:nvPr/>
            </p:nvSpPr>
            <p:spPr>
              <a:xfrm>
                <a:off x="8439340" y="8850290"/>
                <a:ext cx="48702" cy="16659"/>
              </a:xfrm>
              <a:custGeom>
                <a:avLst/>
                <a:gdLst>
                  <a:gd name="connsiteX0" fmla="*/ 41274 w 48702"/>
                  <a:gd name="connsiteY0" fmla="*/ 16659 h 16659"/>
                  <a:gd name="connsiteX1" fmla="*/ 41274 w 48702"/>
                  <a:gd name="connsiteY1" fmla="*/ 16659 h 16659"/>
                  <a:gd name="connsiteX2" fmla="*/ 4351 w 48702"/>
                  <a:gd name="connsiteY2" fmla="*/ 10505 h 16659"/>
                  <a:gd name="connsiteX3" fmla="*/ 1275 w 48702"/>
                  <a:gd name="connsiteY3" fmla="*/ 4351 h 16659"/>
                  <a:gd name="connsiteX4" fmla="*/ 7428 w 48702"/>
                  <a:gd name="connsiteY4" fmla="*/ 1275 h 16659"/>
                  <a:gd name="connsiteX5" fmla="*/ 44351 w 48702"/>
                  <a:gd name="connsiteY5" fmla="*/ 7428 h 16659"/>
                  <a:gd name="connsiteX6" fmla="*/ 47428 w 48702"/>
                  <a:gd name="connsiteY6" fmla="*/ 13582 h 16659"/>
                  <a:gd name="connsiteX7" fmla="*/ 41274 w 48702"/>
                  <a:gd name="connsiteY7" fmla="*/ 16659 h 16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702" h="16659">
                    <a:moveTo>
                      <a:pt x="41274" y="16659"/>
                    </a:moveTo>
                    <a:cubicBezTo>
                      <a:pt x="41274" y="16659"/>
                      <a:pt x="41274" y="16659"/>
                      <a:pt x="41274" y="16659"/>
                    </a:cubicBezTo>
                    <a:lnTo>
                      <a:pt x="4351" y="10505"/>
                    </a:lnTo>
                    <a:cubicBezTo>
                      <a:pt x="1275" y="10505"/>
                      <a:pt x="-1803" y="7428"/>
                      <a:pt x="1275" y="4351"/>
                    </a:cubicBezTo>
                    <a:cubicBezTo>
                      <a:pt x="1275" y="1275"/>
                      <a:pt x="4351" y="-1803"/>
                      <a:pt x="7428" y="1275"/>
                    </a:cubicBezTo>
                    <a:lnTo>
                      <a:pt x="44351" y="7428"/>
                    </a:lnTo>
                    <a:cubicBezTo>
                      <a:pt x="47428" y="7428"/>
                      <a:pt x="50505" y="10505"/>
                      <a:pt x="47428" y="13582"/>
                    </a:cubicBezTo>
                    <a:cubicBezTo>
                      <a:pt x="47428" y="16659"/>
                      <a:pt x="44351" y="16659"/>
                      <a:pt x="41274" y="1665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2" name="图形 1">
              <a:extLst>
                <a:ext uri="{FF2B5EF4-FFF2-40B4-BE49-F238E27FC236}">
                  <a16:creationId xmlns:a16="http://schemas.microsoft.com/office/drawing/2014/main" id="{85D5A9AB-3E29-4661-9498-D098B31BFCD4}"/>
                </a:ext>
              </a:extLst>
            </p:cNvPr>
            <p:cNvGrpSpPr/>
            <p:nvPr/>
          </p:nvGrpSpPr>
          <p:grpSpPr>
            <a:xfrm>
              <a:off x="8772922" y="8756180"/>
              <a:ext cx="500512" cy="344615"/>
              <a:chOff x="8772922" y="8756180"/>
              <a:chExt cx="500512" cy="344615"/>
            </a:xfrm>
          </p:grpSpPr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0CD02204-A9BA-4759-84AB-F57F44165372}"/>
                  </a:ext>
                </a:extLst>
              </p:cNvPr>
              <p:cNvSpPr/>
              <p:nvPr/>
            </p:nvSpPr>
            <p:spPr>
              <a:xfrm>
                <a:off x="9068307" y="8756180"/>
                <a:ext cx="184615" cy="224615"/>
              </a:xfrm>
              <a:custGeom>
                <a:avLst/>
                <a:gdLst>
                  <a:gd name="connsiteX0" fmla="*/ 181538 w 184615"/>
                  <a:gd name="connsiteY0" fmla="*/ 184615 h 224615"/>
                  <a:gd name="connsiteX1" fmla="*/ 184615 w 184615"/>
                  <a:gd name="connsiteY1" fmla="*/ 0 h 224615"/>
                  <a:gd name="connsiteX2" fmla="*/ 0 w 184615"/>
                  <a:gd name="connsiteY2" fmla="*/ 0 h 224615"/>
                  <a:gd name="connsiteX3" fmla="*/ 18462 w 184615"/>
                  <a:gd name="connsiteY3" fmla="*/ 196923 h 224615"/>
                  <a:gd name="connsiteX4" fmla="*/ 169231 w 184615"/>
                  <a:gd name="connsiteY4" fmla="*/ 224615 h 22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615" h="224615">
                    <a:moveTo>
                      <a:pt x="181538" y="184615"/>
                    </a:moveTo>
                    <a:lnTo>
                      <a:pt x="184615" y="0"/>
                    </a:lnTo>
                    <a:lnTo>
                      <a:pt x="0" y="0"/>
                    </a:lnTo>
                    <a:lnTo>
                      <a:pt x="18462" y="196923"/>
                    </a:lnTo>
                    <a:lnTo>
                      <a:pt x="169231" y="224615"/>
                    </a:ln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ECFB54ED-50AE-4DF1-A93B-8EC334282C0C}"/>
                  </a:ext>
                </a:extLst>
              </p:cNvPr>
              <p:cNvSpPr/>
              <p:nvPr/>
            </p:nvSpPr>
            <p:spPr>
              <a:xfrm>
                <a:off x="8772922" y="8894642"/>
                <a:ext cx="500512" cy="159999"/>
              </a:xfrm>
              <a:custGeom>
                <a:avLst/>
                <a:gdLst>
                  <a:gd name="connsiteX0" fmla="*/ 492308 w 500512"/>
                  <a:gd name="connsiteY0" fmla="*/ 46154 h 159999"/>
                  <a:gd name="connsiteX1" fmla="*/ 304615 w 500512"/>
                  <a:gd name="connsiteY1" fmla="*/ 0 h 159999"/>
                  <a:gd name="connsiteX2" fmla="*/ 169231 w 500512"/>
                  <a:gd name="connsiteY2" fmla="*/ 80000 h 159999"/>
                  <a:gd name="connsiteX3" fmla="*/ 0 w 500512"/>
                  <a:gd name="connsiteY3" fmla="*/ 159999 h 159999"/>
                  <a:gd name="connsiteX4" fmla="*/ 492308 w 500512"/>
                  <a:gd name="connsiteY4" fmla="*/ 159999 h 159999"/>
                  <a:gd name="connsiteX5" fmla="*/ 492308 w 500512"/>
                  <a:gd name="connsiteY5" fmla="*/ 46154 h 159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512" h="159999">
                    <a:moveTo>
                      <a:pt x="492308" y="46154"/>
                    </a:moveTo>
                    <a:cubicBezTo>
                      <a:pt x="492308" y="46154"/>
                      <a:pt x="366154" y="64616"/>
                      <a:pt x="304615" y="0"/>
                    </a:cubicBezTo>
                    <a:cubicBezTo>
                      <a:pt x="304615" y="0"/>
                      <a:pt x="215385" y="70769"/>
                      <a:pt x="169231" y="80000"/>
                    </a:cubicBezTo>
                    <a:cubicBezTo>
                      <a:pt x="123077" y="89231"/>
                      <a:pt x="12308" y="86153"/>
                      <a:pt x="0" y="159999"/>
                    </a:cubicBezTo>
                    <a:lnTo>
                      <a:pt x="492308" y="159999"/>
                    </a:lnTo>
                    <a:cubicBezTo>
                      <a:pt x="492308" y="159999"/>
                      <a:pt x="510770" y="98461"/>
                      <a:pt x="492308" y="46154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0109C400-FE3F-43E7-84CE-C8021B147193}"/>
                  </a:ext>
                </a:extLst>
              </p:cNvPr>
              <p:cNvSpPr/>
              <p:nvPr/>
            </p:nvSpPr>
            <p:spPr>
              <a:xfrm>
                <a:off x="8772922" y="9054642"/>
                <a:ext cx="492307" cy="46153"/>
              </a:xfrm>
              <a:custGeom>
                <a:avLst/>
                <a:gdLst>
                  <a:gd name="connsiteX0" fmla="*/ 0 w 492307"/>
                  <a:gd name="connsiteY0" fmla="*/ 0 h 46153"/>
                  <a:gd name="connsiteX1" fmla="*/ 492308 w 492307"/>
                  <a:gd name="connsiteY1" fmla="*/ 0 h 46153"/>
                  <a:gd name="connsiteX2" fmla="*/ 492308 w 492307"/>
                  <a:gd name="connsiteY2" fmla="*/ 46153 h 46153"/>
                  <a:gd name="connsiteX3" fmla="*/ 0 w 492307"/>
                  <a:gd name="connsiteY3" fmla="*/ 46153 h 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307" h="46153">
                    <a:moveTo>
                      <a:pt x="0" y="0"/>
                    </a:moveTo>
                    <a:lnTo>
                      <a:pt x="492308" y="0"/>
                    </a:lnTo>
                    <a:lnTo>
                      <a:pt x="492308" y="46153"/>
                    </a:lnTo>
                    <a:lnTo>
                      <a:pt x="0" y="46153"/>
                    </a:ln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D8CE134A-7EC4-4D13-A8C0-3518AA2F987F}"/>
                  </a:ext>
                </a:extLst>
              </p:cNvPr>
              <p:cNvSpPr/>
              <p:nvPr/>
            </p:nvSpPr>
            <p:spPr>
              <a:xfrm>
                <a:off x="9069077" y="8886180"/>
                <a:ext cx="202307" cy="63846"/>
              </a:xfrm>
              <a:custGeom>
                <a:avLst/>
                <a:gdLst>
                  <a:gd name="connsiteX0" fmla="*/ 159230 w 202307"/>
                  <a:gd name="connsiteY0" fmla="*/ 63846 h 63846"/>
                  <a:gd name="connsiteX1" fmla="*/ 2308 w 202307"/>
                  <a:gd name="connsiteY1" fmla="*/ 11539 h 63846"/>
                  <a:gd name="connsiteX2" fmla="*/ 2308 w 202307"/>
                  <a:gd name="connsiteY2" fmla="*/ 2308 h 63846"/>
                  <a:gd name="connsiteX3" fmla="*/ 11538 w 202307"/>
                  <a:gd name="connsiteY3" fmla="*/ 2308 h 63846"/>
                  <a:gd name="connsiteX4" fmla="*/ 196154 w 202307"/>
                  <a:gd name="connsiteY4" fmla="*/ 48462 h 63846"/>
                  <a:gd name="connsiteX5" fmla="*/ 202308 w 202307"/>
                  <a:gd name="connsiteY5" fmla="*/ 54616 h 63846"/>
                  <a:gd name="connsiteX6" fmla="*/ 196154 w 202307"/>
                  <a:gd name="connsiteY6" fmla="*/ 60769 h 63846"/>
                  <a:gd name="connsiteX7" fmla="*/ 159230 w 202307"/>
                  <a:gd name="connsiteY7" fmla="*/ 63846 h 6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307" h="63846">
                    <a:moveTo>
                      <a:pt x="159230" y="63846"/>
                    </a:moveTo>
                    <a:cubicBezTo>
                      <a:pt x="119231" y="63846"/>
                      <a:pt x="51538" y="57693"/>
                      <a:pt x="2308" y="11539"/>
                    </a:cubicBezTo>
                    <a:cubicBezTo>
                      <a:pt x="-769" y="8462"/>
                      <a:pt x="-769" y="5385"/>
                      <a:pt x="2308" y="2308"/>
                    </a:cubicBezTo>
                    <a:cubicBezTo>
                      <a:pt x="5384" y="-769"/>
                      <a:pt x="8461" y="-769"/>
                      <a:pt x="11538" y="2308"/>
                    </a:cubicBezTo>
                    <a:cubicBezTo>
                      <a:pt x="79231" y="63846"/>
                      <a:pt x="193077" y="48462"/>
                      <a:pt x="196154" y="48462"/>
                    </a:cubicBezTo>
                    <a:cubicBezTo>
                      <a:pt x="199231" y="48462"/>
                      <a:pt x="202308" y="51539"/>
                      <a:pt x="202308" y="54616"/>
                    </a:cubicBezTo>
                    <a:cubicBezTo>
                      <a:pt x="202308" y="57693"/>
                      <a:pt x="199231" y="60769"/>
                      <a:pt x="196154" y="60769"/>
                    </a:cubicBezTo>
                    <a:cubicBezTo>
                      <a:pt x="196154" y="60769"/>
                      <a:pt x="180769" y="63846"/>
                      <a:pt x="159230" y="6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5F894BCF-AD39-41D9-AAE7-52BF8458F0B0}"/>
                  </a:ext>
                </a:extLst>
              </p:cNvPr>
              <p:cNvSpPr/>
              <p:nvPr/>
            </p:nvSpPr>
            <p:spPr>
              <a:xfrm>
                <a:off x="9038307" y="8910796"/>
                <a:ext cx="38461" cy="42307"/>
              </a:xfrm>
              <a:custGeom>
                <a:avLst/>
                <a:gdLst>
                  <a:gd name="connsiteX0" fmla="*/ 30000 w 38461"/>
                  <a:gd name="connsiteY0" fmla="*/ 42307 h 42307"/>
                  <a:gd name="connsiteX1" fmla="*/ 26923 w 38461"/>
                  <a:gd name="connsiteY1" fmla="*/ 39230 h 42307"/>
                  <a:gd name="connsiteX2" fmla="*/ 2308 w 38461"/>
                  <a:gd name="connsiteY2" fmla="*/ 11538 h 42307"/>
                  <a:gd name="connsiteX3" fmla="*/ 2308 w 38461"/>
                  <a:gd name="connsiteY3" fmla="*/ 2308 h 42307"/>
                  <a:gd name="connsiteX4" fmla="*/ 11538 w 38461"/>
                  <a:gd name="connsiteY4" fmla="*/ 2308 h 42307"/>
                  <a:gd name="connsiteX5" fmla="*/ 36153 w 38461"/>
                  <a:gd name="connsiteY5" fmla="*/ 30000 h 42307"/>
                  <a:gd name="connsiteX6" fmla="*/ 36153 w 38461"/>
                  <a:gd name="connsiteY6" fmla="*/ 39230 h 42307"/>
                  <a:gd name="connsiteX7" fmla="*/ 30000 w 38461"/>
                  <a:gd name="connsiteY7" fmla="*/ 42307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1" h="42307">
                    <a:moveTo>
                      <a:pt x="30000" y="42307"/>
                    </a:moveTo>
                    <a:cubicBezTo>
                      <a:pt x="30000" y="42307"/>
                      <a:pt x="26923" y="42307"/>
                      <a:pt x="26923" y="39230"/>
                    </a:cubicBezTo>
                    <a:lnTo>
                      <a:pt x="2308" y="11538"/>
                    </a:lnTo>
                    <a:cubicBezTo>
                      <a:pt x="-769" y="8461"/>
                      <a:pt x="-769" y="5384"/>
                      <a:pt x="2308" y="2308"/>
                    </a:cubicBezTo>
                    <a:cubicBezTo>
                      <a:pt x="5384" y="-769"/>
                      <a:pt x="8461" y="-769"/>
                      <a:pt x="11538" y="2308"/>
                    </a:cubicBezTo>
                    <a:lnTo>
                      <a:pt x="36153" y="30000"/>
                    </a:lnTo>
                    <a:cubicBezTo>
                      <a:pt x="39230" y="33077"/>
                      <a:pt x="39230" y="36153"/>
                      <a:pt x="36153" y="39230"/>
                    </a:cubicBezTo>
                    <a:cubicBezTo>
                      <a:pt x="33077" y="42307"/>
                      <a:pt x="30000" y="42307"/>
                      <a:pt x="30000" y="423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CC3B795B-C6FA-4253-9AAF-43A6D3DF8332}"/>
                  </a:ext>
                </a:extLst>
              </p:cNvPr>
              <p:cNvSpPr/>
              <p:nvPr/>
            </p:nvSpPr>
            <p:spPr>
              <a:xfrm>
                <a:off x="8995230" y="8938488"/>
                <a:ext cx="41538" cy="42307"/>
              </a:xfrm>
              <a:custGeom>
                <a:avLst/>
                <a:gdLst>
                  <a:gd name="connsiteX0" fmla="*/ 33076 w 41538"/>
                  <a:gd name="connsiteY0" fmla="*/ 42307 h 42307"/>
                  <a:gd name="connsiteX1" fmla="*/ 30000 w 41538"/>
                  <a:gd name="connsiteY1" fmla="*/ 39230 h 42307"/>
                  <a:gd name="connsiteX2" fmla="*/ 2307 w 41538"/>
                  <a:gd name="connsiteY2" fmla="*/ 11538 h 42307"/>
                  <a:gd name="connsiteX3" fmla="*/ 2307 w 41538"/>
                  <a:gd name="connsiteY3" fmla="*/ 2308 h 42307"/>
                  <a:gd name="connsiteX4" fmla="*/ 11538 w 41538"/>
                  <a:gd name="connsiteY4" fmla="*/ 2308 h 42307"/>
                  <a:gd name="connsiteX5" fmla="*/ 39231 w 41538"/>
                  <a:gd name="connsiteY5" fmla="*/ 30000 h 42307"/>
                  <a:gd name="connsiteX6" fmla="*/ 39231 w 41538"/>
                  <a:gd name="connsiteY6" fmla="*/ 39230 h 42307"/>
                  <a:gd name="connsiteX7" fmla="*/ 33076 w 41538"/>
                  <a:gd name="connsiteY7" fmla="*/ 42307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8" h="42307">
                    <a:moveTo>
                      <a:pt x="33076" y="42307"/>
                    </a:moveTo>
                    <a:cubicBezTo>
                      <a:pt x="33076" y="42307"/>
                      <a:pt x="30000" y="42307"/>
                      <a:pt x="30000" y="39230"/>
                    </a:cubicBezTo>
                    <a:lnTo>
                      <a:pt x="2307" y="11538"/>
                    </a:lnTo>
                    <a:cubicBezTo>
                      <a:pt x="-769" y="8461"/>
                      <a:pt x="-769" y="5385"/>
                      <a:pt x="2307" y="2308"/>
                    </a:cubicBezTo>
                    <a:cubicBezTo>
                      <a:pt x="5384" y="-769"/>
                      <a:pt x="8461" y="-769"/>
                      <a:pt x="11538" y="2308"/>
                    </a:cubicBezTo>
                    <a:lnTo>
                      <a:pt x="39231" y="30000"/>
                    </a:lnTo>
                    <a:cubicBezTo>
                      <a:pt x="42308" y="33077"/>
                      <a:pt x="42308" y="36154"/>
                      <a:pt x="39231" y="39230"/>
                    </a:cubicBezTo>
                    <a:cubicBezTo>
                      <a:pt x="36153" y="42307"/>
                      <a:pt x="36153" y="42307"/>
                      <a:pt x="33076" y="423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E9EAE97B-E80A-406C-8BFD-BC728B16938B}"/>
                </a:ext>
              </a:extLst>
            </p:cNvPr>
            <p:cNvSpPr/>
            <p:nvPr/>
          </p:nvSpPr>
          <p:spPr>
            <a:xfrm>
              <a:off x="8009846" y="6519257"/>
              <a:ext cx="1358435" cy="2304615"/>
            </a:xfrm>
            <a:custGeom>
              <a:avLst/>
              <a:gdLst>
                <a:gd name="connsiteX0" fmla="*/ 313846 w 1358435"/>
                <a:gd name="connsiteY0" fmla="*/ 21539 h 2304615"/>
                <a:gd name="connsiteX1" fmla="*/ 0 w 1358435"/>
                <a:gd name="connsiteY1" fmla="*/ 1292308 h 2304615"/>
                <a:gd name="connsiteX2" fmla="*/ 363077 w 1358435"/>
                <a:gd name="connsiteY2" fmla="*/ 2215385 h 2304615"/>
                <a:gd name="connsiteX3" fmla="*/ 676923 w 1358435"/>
                <a:gd name="connsiteY3" fmla="*/ 2058461 h 2304615"/>
                <a:gd name="connsiteX4" fmla="*/ 409230 w 1358435"/>
                <a:gd name="connsiteY4" fmla="*/ 1273846 h 2304615"/>
                <a:gd name="connsiteX5" fmla="*/ 815385 w 1358435"/>
                <a:gd name="connsiteY5" fmla="*/ 507692 h 2304615"/>
                <a:gd name="connsiteX6" fmla="*/ 861539 w 1358435"/>
                <a:gd name="connsiteY6" fmla="*/ 1489231 h 2304615"/>
                <a:gd name="connsiteX7" fmla="*/ 1009231 w 1358435"/>
                <a:gd name="connsiteY7" fmla="*/ 2295385 h 2304615"/>
                <a:gd name="connsiteX8" fmla="*/ 1298461 w 1358435"/>
                <a:gd name="connsiteY8" fmla="*/ 2304615 h 2304615"/>
                <a:gd name="connsiteX9" fmla="*/ 1267692 w 1358435"/>
                <a:gd name="connsiteY9" fmla="*/ 1470770 h 2304615"/>
                <a:gd name="connsiteX10" fmla="*/ 1347692 w 1358435"/>
                <a:gd name="connsiteY10" fmla="*/ 0 h 2304615"/>
                <a:gd name="connsiteX11" fmla="*/ 313846 w 1358435"/>
                <a:gd name="connsiteY11" fmla="*/ 21539 h 230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58435" h="2304615">
                  <a:moveTo>
                    <a:pt x="313846" y="21539"/>
                  </a:moveTo>
                  <a:lnTo>
                    <a:pt x="0" y="1292308"/>
                  </a:lnTo>
                  <a:lnTo>
                    <a:pt x="363077" y="2215385"/>
                  </a:lnTo>
                  <a:lnTo>
                    <a:pt x="676923" y="2058461"/>
                  </a:lnTo>
                  <a:lnTo>
                    <a:pt x="409230" y="1273846"/>
                  </a:lnTo>
                  <a:cubicBezTo>
                    <a:pt x="409230" y="1273846"/>
                    <a:pt x="806153" y="523077"/>
                    <a:pt x="815385" y="507692"/>
                  </a:cubicBezTo>
                  <a:cubicBezTo>
                    <a:pt x="830769" y="476923"/>
                    <a:pt x="861539" y="1489231"/>
                    <a:pt x="861539" y="1489231"/>
                  </a:cubicBezTo>
                  <a:lnTo>
                    <a:pt x="1009231" y="2295385"/>
                  </a:lnTo>
                  <a:lnTo>
                    <a:pt x="1298461" y="2304615"/>
                  </a:lnTo>
                  <a:cubicBezTo>
                    <a:pt x="1298461" y="2304615"/>
                    <a:pt x="1261539" y="1572308"/>
                    <a:pt x="1267692" y="1470770"/>
                  </a:cubicBezTo>
                  <a:cubicBezTo>
                    <a:pt x="1276923" y="1316924"/>
                    <a:pt x="1393846" y="98462"/>
                    <a:pt x="1347692" y="0"/>
                  </a:cubicBezTo>
                  <a:cubicBezTo>
                    <a:pt x="640000" y="33846"/>
                    <a:pt x="313846" y="21539"/>
                    <a:pt x="313846" y="21539"/>
                  </a:cubicBez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50309AF6-897D-496D-B31E-AB08E2180E19}"/>
                </a:ext>
              </a:extLst>
            </p:cNvPr>
            <p:cNvSpPr/>
            <p:nvPr/>
          </p:nvSpPr>
          <p:spPr>
            <a:xfrm>
              <a:off x="8760615" y="6666950"/>
              <a:ext cx="70768" cy="366153"/>
            </a:xfrm>
            <a:custGeom>
              <a:avLst/>
              <a:gdLst>
                <a:gd name="connsiteX0" fmla="*/ 64616 w 70768"/>
                <a:gd name="connsiteY0" fmla="*/ 366154 h 366153"/>
                <a:gd name="connsiteX1" fmla="*/ 58461 w 70768"/>
                <a:gd name="connsiteY1" fmla="*/ 363077 h 366153"/>
                <a:gd name="connsiteX2" fmla="*/ 0 w 70768"/>
                <a:gd name="connsiteY2" fmla="*/ 6153 h 366153"/>
                <a:gd name="connsiteX3" fmla="*/ 6153 w 70768"/>
                <a:gd name="connsiteY3" fmla="*/ 0 h 366153"/>
                <a:gd name="connsiteX4" fmla="*/ 12308 w 70768"/>
                <a:gd name="connsiteY4" fmla="*/ 6153 h 366153"/>
                <a:gd name="connsiteX5" fmla="*/ 70769 w 70768"/>
                <a:gd name="connsiteY5" fmla="*/ 359999 h 366153"/>
                <a:gd name="connsiteX6" fmla="*/ 64616 w 70768"/>
                <a:gd name="connsiteY6" fmla="*/ 366154 h 366153"/>
                <a:gd name="connsiteX7" fmla="*/ 64616 w 70768"/>
                <a:gd name="connsiteY7" fmla="*/ 366154 h 36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68" h="366153">
                  <a:moveTo>
                    <a:pt x="64616" y="366154"/>
                  </a:moveTo>
                  <a:cubicBezTo>
                    <a:pt x="61538" y="366154"/>
                    <a:pt x="61538" y="366154"/>
                    <a:pt x="58461" y="363077"/>
                  </a:cubicBezTo>
                  <a:cubicBezTo>
                    <a:pt x="9230" y="246154"/>
                    <a:pt x="0" y="15385"/>
                    <a:pt x="0" y="6153"/>
                  </a:cubicBezTo>
                  <a:cubicBezTo>
                    <a:pt x="0" y="3076"/>
                    <a:pt x="3077" y="0"/>
                    <a:pt x="6153" y="0"/>
                  </a:cubicBezTo>
                  <a:cubicBezTo>
                    <a:pt x="9230" y="0"/>
                    <a:pt x="12308" y="3076"/>
                    <a:pt x="12308" y="6153"/>
                  </a:cubicBezTo>
                  <a:cubicBezTo>
                    <a:pt x="12308" y="9230"/>
                    <a:pt x="21538" y="246154"/>
                    <a:pt x="70769" y="359999"/>
                  </a:cubicBezTo>
                  <a:cubicBezTo>
                    <a:pt x="70769" y="363077"/>
                    <a:pt x="70769" y="366154"/>
                    <a:pt x="64616" y="366154"/>
                  </a:cubicBezTo>
                  <a:cubicBezTo>
                    <a:pt x="64616" y="366154"/>
                    <a:pt x="64616" y="366154"/>
                    <a:pt x="64616" y="366154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EC8FE1A2-5DE2-4844-BD4F-2069C23E9C4D}"/>
                </a:ext>
              </a:extLst>
            </p:cNvPr>
            <p:cNvSpPr/>
            <p:nvPr/>
          </p:nvSpPr>
          <p:spPr>
            <a:xfrm>
              <a:off x="8646768" y="6599257"/>
              <a:ext cx="156923" cy="356923"/>
            </a:xfrm>
            <a:custGeom>
              <a:avLst/>
              <a:gdLst>
                <a:gd name="connsiteX0" fmla="*/ 147693 w 156923"/>
                <a:gd name="connsiteY0" fmla="*/ 356923 h 356923"/>
                <a:gd name="connsiteX1" fmla="*/ 144616 w 156923"/>
                <a:gd name="connsiteY1" fmla="*/ 356923 h 356923"/>
                <a:gd name="connsiteX2" fmla="*/ 33846 w 156923"/>
                <a:gd name="connsiteY2" fmla="*/ 276923 h 356923"/>
                <a:gd name="connsiteX3" fmla="*/ 0 w 156923"/>
                <a:gd name="connsiteY3" fmla="*/ 6154 h 356923"/>
                <a:gd name="connsiteX4" fmla="*/ 6154 w 156923"/>
                <a:gd name="connsiteY4" fmla="*/ 0 h 356923"/>
                <a:gd name="connsiteX5" fmla="*/ 6154 w 156923"/>
                <a:gd name="connsiteY5" fmla="*/ 0 h 356923"/>
                <a:gd name="connsiteX6" fmla="*/ 12308 w 156923"/>
                <a:gd name="connsiteY6" fmla="*/ 6154 h 356923"/>
                <a:gd name="connsiteX7" fmla="*/ 46154 w 156923"/>
                <a:gd name="connsiteY7" fmla="*/ 270769 h 356923"/>
                <a:gd name="connsiteX8" fmla="*/ 153846 w 156923"/>
                <a:gd name="connsiteY8" fmla="*/ 347692 h 356923"/>
                <a:gd name="connsiteX9" fmla="*/ 156923 w 156923"/>
                <a:gd name="connsiteY9" fmla="*/ 356923 h 356923"/>
                <a:gd name="connsiteX10" fmla="*/ 147693 w 156923"/>
                <a:gd name="connsiteY10" fmla="*/ 356923 h 35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6923" h="356923">
                  <a:moveTo>
                    <a:pt x="147693" y="356923"/>
                  </a:moveTo>
                  <a:cubicBezTo>
                    <a:pt x="147693" y="356923"/>
                    <a:pt x="144616" y="356923"/>
                    <a:pt x="144616" y="356923"/>
                  </a:cubicBezTo>
                  <a:cubicBezTo>
                    <a:pt x="135384" y="350769"/>
                    <a:pt x="46154" y="292308"/>
                    <a:pt x="33846" y="276923"/>
                  </a:cubicBezTo>
                  <a:cubicBezTo>
                    <a:pt x="21539" y="261538"/>
                    <a:pt x="3077" y="49231"/>
                    <a:pt x="0" y="6154"/>
                  </a:cubicBezTo>
                  <a:cubicBezTo>
                    <a:pt x="0" y="3077"/>
                    <a:pt x="3077" y="0"/>
                    <a:pt x="6154" y="0"/>
                  </a:cubicBezTo>
                  <a:lnTo>
                    <a:pt x="6154" y="0"/>
                  </a:lnTo>
                  <a:cubicBezTo>
                    <a:pt x="9231" y="0"/>
                    <a:pt x="12308" y="3077"/>
                    <a:pt x="12308" y="6154"/>
                  </a:cubicBezTo>
                  <a:cubicBezTo>
                    <a:pt x="21539" y="101538"/>
                    <a:pt x="36923" y="258461"/>
                    <a:pt x="46154" y="270769"/>
                  </a:cubicBezTo>
                  <a:cubicBezTo>
                    <a:pt x="55385" y="280000"/>
                    <a:pt x="113847" y="323077"/>
                    <a:pt x="153846" y="347692"/>
                  </a:cubicBezTo>
                  <a:cubicBezTo>
                    <a:pt x="156923" y="350769"/>
                    <a:pt x="156923" y="353846"/>
                    <a:pt x="156923" y="356923"/>
                  </a:cubicBezTo>
                  <a:cubicBezTo>
                    <a:pt x="153846" y="353846"/>
                    <a:pt x="150769" y="356923"/>
                    <a:pt x="147693" y="356923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619C1EFE-EB65-43F6-A259-DDDBCEF5FE6F}"/>
                </a:ext>
              </a:extLst>
            </p:cNvPr>
            <p:cNvSpPr/>
            <p:nvPr/>
          </p:nvSpPr>
          <p:spPr>
            <a:xfrm>
              <a:off x="8711384" y="4833103"/>
              <a:ext cx="252308" cy="260625"/>
            </a:xfrm>
            <a:custGeom>
              <a:avLst/>
              <a:gdLst>
                <a:gd name="connsiteX0" fmla="*/ 0 w 252308"/>
                <a:gd name="connsiteY0" fmla="*/ 40000 h 260625"/>
                <a:gd name="connsiteX1" fmla="*/ 6154 w 252308"/>
                <a:gd name="connsiteY1" fmla="*/ 215385 h 260625"/>
                <a:gd name="connsiteX2" fmla="*/ 252308 w 252308"/>
                <a:gd name="connsiteY2" fmla="*/ 206154 h 260625"/>
                <a:gd name="connsiteX3" fmla="*/ 236923 w 252308"/>
                <a:gd name="connsiteY3" fmla="*/ 0 h 260625"/>
                <a:gd name="connsiteX4" fmla="*/ 0 w 252308"/>
                <a:gd name="connsiteY4" fmla="*/ 40000 h 26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308" h="260625">
                  <a:moveTo>
                    <a:pt x="0" y="40000"/>
                  </a:moveTo>
                  <a:cubicBezTo>
                    <a:pt x="0" y="40000"/>
                    <a:pt x="6154" y="141538"/>
                    <a:pt x="6154" y="215385"/>
                  </a:cubicBezTo>
                  <a:cubicBezTo>
                    <a:pt x="6154" y="215385"/>
                    <a:pt x="101538" y="323077"/>
                    <a:pt x="252308" y="206154"/>
                  </a:cubicBezTo>
                  <a:cubicBezTo>
                    <a:pt x="252308" y="144615"/>
                    <a:pt x="240000" y="64615"/>
                    <a:pt x="236923" y="0"/>
                  </a:cubicBezTo>
                  <a:cubicBezTo>
                    <a:pt x="240000" y="0"/>
                    <a:pt x="52308" y="52308"/>
                    <a:pt x="0" y="40000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47BB4D41-F214-4797-9E49-FE20063DF45E}"/>
                </a:ext>
              </a:extLst>
            </p:cNvPr>
            <p:cNvSpPr/>
            <p:nvPr/>
          </p:nvSpPr>
          <p:spPr>
            <a:xfrm>
              <a:off x="8301329" y="4999257"/>
              <a:ext cx="1080824" cy="1581352"/>
            </a:xfrm>
            <a:custGeom>
              <a:avLst/>
              <a:gdLst>
                <a:gd name="connsiteX0" fmla="*/ 680824 w 1080824"/>
                <a:gd name="connsiteY0" fmla="*/ 0 h 1581352"/>
                <a:gd name="connsiteX1" fmla="*/ 388517 w 1080824"/>
                <a:gd name="connsiteY1" fmla="*/ 0 h 1581352"/>
                <a:gd name="connsiteX2" fmla="*/ 86978 w 1080824"/>
                <a:gd name="connsiteY2" fmla="*/ 132308 h 1581352"/>
                <a:gd name="connsiteX3" fmla="*/ 825 w 1080824"/>
                <a:gd name="connsiteY3" fmla="*/ 1550769 h 1581352"/>
                <a:gd name="connsiteX4" fmla="*/ 1080824 w 1080824"/>
                <a:gd name="connsiteY4" fmla="*/ 1526154 h 1581352"/>
                <a:gd name="connsiteX5" fmla="*/ 963902 w 1080824"/>
                <a:gd name="connsiteY5" fmla="*/ 104615 h 1581352"/>
                <a:gd name="connsiteX6" fmla="*/ 680824 w 1080824"/>
                <a:gd name="connsiteY6" fmla="*/ 0 h 1581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0824" h="1581352">
                  <a:moveTo>
                    <a:pt x="680824" y="0"/>
                  </a:moveTo>
                  <a:cubicBezTo>
                    <a:pt x="680824" y="0"/>
                    <a:pt x="505440" y="55385"/>
                    <a:pt x="388517" y="0"/>
                  </a:cubicBezTo>
                  <a:cubicBezTo>
                    <a:pt x="388517" y="0"/>
                    <a:pt x="111593" y="98461"/>
                    <a:pt x="86978" y="132308"/>
                  </a:cubicBezTo>
                  <a:cubicBezTo>
                    <a:pt x="62363" y="163077"/>
                    <a:pt x="-8406" y="1483077"/>
                    <a:pt x="825" y="1550769"/>
                  </a:cubicBezTo>
                  <a:cubicBezTo>
                    <a:pt x="825" y="1550769"/>
                    <a:pt x="496209" y="1633846"/>
                    <a:pt x="1080824" y="1526154"/>
                  </a:cubicBezTo>
                  <a:cubicBezTo>
                    <a:pt x="1080824" y="1166154"/>
                    <a:pt x="1006978" y="135384"/>
                    <a:pt x="963902" y="104615"/>
                  </a:cubicBezTo>
                  <a:cubicBezTo>
                    <a:pt x="920825" y="70769"/>
                    <a:pt x="680824" y="0"/>
                    <a:pt x="680824" y="0"/>
                  </a:cubicBezTo>
                  <a:close/>
                </a:path>
              </a:pathLst>
            </a:custGeom>
            <a:solidFill>
              <a:srgbClr val="7F95BC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0D11796D-5B0D-48FE-ACA4-875362662907}"/>
                </a:ext>
              </a:extLst>
            </p:cNvPr>
            <p:cNvSpPr/>
            <p:nvPr/>
          </p:nvSpPr>
          <p:spPr>
            <a:xfrm>
              <a:off x="8339076" y="5124136"/>
              <a:ext cx="53582" cy="748966"/>
            </a:xfrm>
            <a:custGeom>
              <a:avLst/>
              <a:gdLst>
                <a:gd name="connsiteX0" fmla="*/ 6154 w 53582"/>
                <a:gd name="connsiteY0" fmla="*/ 748967 h 748966"/>
                <a:gd name="connsiteX1" fmla="*/ 6154 w 53582"/>
                <a:gd name="connsiteY1" fmla="*/ 748967 h 748966"/>
                <a:gd name="connsiteX2" fmla="*/ 0 w 53582"/>
                <a:gd name="connsiteY2" fmla="*/ 742813 h 748966"/>
                <a:gd name="connsiteX3" fmla="*/ 43077 w 53582"/>
                <a:gd name="connsiteY3" fmla="*/ 4351 h 748966"/>
                <a:gd name="connsiteX4" fmla="*/ 49231 w 53582"/>
                <a:gd name="connsiteY4" fmla="*/ 1275 h 748966"/>
                <a:gd name="connsiteX5" fmla="*/ 52308 w 53582"/>
                <a:gd name="connsiteY5" fmla="*/ 7428 h 748966"/>
                <a:gd name="connsiteX6" fmla="*/ 9231 w 53582"/>
                <a:gd name="connsiteY6" fmla="*/ 742813 h 748966"/>
                <a:gd name="connsiteX7" fmla="*/ 6154 w 53582"/>
                <a:gd name="connsiteY7" fmla="*/ 748967 h 748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582" h="748966">
                  <a:moveTo>
                    <a:pt x="6154" y="748967"/>
                  </a:moveTo>
                  <a:cubicBezTo>
                    <a:pt x="6154" y="748967"/>
                    <a:pt x="6154" y="748967"/>
                    <a:pt x="6154" y="748967"/>
                  </a:cubicBezTo>
                  <a:cubicBezTo>
                    <a:pt x="3077" y="748967"/>
                    <a:pt x="0" y="745890"/>
                    <a:pt x="0" y="742813"/>
                  </a:cubicBezTo>
                  <a:cubicBezTo>
                    <a:pt x="0" y="715121"/>
                    <a:pt x="36923" y="44351"/>
                    <a:pt x="43077" y="4351"/>
                  </a:cubicBezTo>
                  <a:cubicBezTo>
                    <a:pt x="43077" y="1275"/>
                    <a:pt x="46154" y="-1803"/>
                    <a:pt x="49231" y="1275"/>
                  </a:cubicBezTo>
                  <a:cubicBezTo>
                    <a:pt x="52308" y="1275"/>
                    <a:pt x="55385" y="4351"/>
                    <a:pt x="52308" y="7428"/>
                  </a:cubicBezTo>
                  <a:cubicBezTo>
                    <a:pt x="43077" y="47428"/>
                    <a:pt x="9231" y="736659"/>
                    <a:pt x="9231" y="742813"/>
                  </a:cubicBezTo>
                  <a:cubicBezTo>
                    <a:pt x="12308" y="745890"/>
                    <a:pt x="9231" y="748967"/>
                    <a:pt x="6154" y="748967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9" name="图形 1">
              <a:extLst>
                <a:ext uri="{FF2B5EF4-FFF2-40B4-BE49-F238E27FC236}">
                  <a16:creationId xmlns:a16="http://schemas.microsoft.com/office/drawing/2014/main" id="{4EFE2D2D-93BB-4E04-A834-DCA027924C71}"/>
                </a:ext>
              </a:extLst>
            </p:cNvPr>
            <p:cNvGrpSpPr/>
            <p:nvPr/>
          </p:nvGrpSpPr>
          <p:grpSpPr>
            <a:xfrm>
              <a:off x="9355224" y="6365411"/>
              <a:ext cx="294767" cy="389620"/>
              <a:chOff x="9355224" y="6365411"/>
              <a:chExt cx="294767" cy="389620"/>
            </a:xfrm>
          </p:grpSpPr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4DC43539-677C-40D3-9EB6-629A3CB522BC}"/>
                  </a:ext>
                </a:extLst>
              </p:cNvPr>
              <p:cNvSpPr/>
              <p:nvPr/>
            </p:nvSpPr>
            <p:spPr>
              <a:xfrm>
                <a:off x="9365603" y="6396180"/>
                <a:ext cx="139627" cy="208003"/>
              </a:xfrm>
              <a:custGeom>
                <a:avLst/>
                <a:gdLst>
                  <a:gd name="connsiteX0" fmla="*/ 139627 w 139627"/>
                  <a:gd name="connsiteY0" fmla="*/ 0 h 208003"/>
                  <a:gd name="connsiteX1" fmla="*/ 38089 w 139627"/>
                  <a:gd name="connsiteY1" fmla="*/ 61538 h 208003"/>
                  <a:gd name="connsiteX2" fmla="*/ 7320 w 139627"/>
                  <a:gd name="connsiteY2" fmla="*/ 196923 h 208003"/>
                  <a:gd name="connsiteX3" fmla="*/ 44243 w 139627"/>
                  <a:gd name="connsiteY3" fmla="*/ 184615 h 208003"/>
                  <a:gd name="connsiteX4" fmla="*/ 139627 w 139627"/>
                  <a:gd name="connsiteY4" fmla="*/ 0 h 20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627" h="208003">
                    <a:moveTo>
                      <a:pt x="139627" y="0"/>
                    </a:moveTo>
                    <a:cubicBezTo>
                      <a:pt x="139627" y="0"/>
                      <a:pt x="62704" y="24616"/>
                      <a:pt x="38089" y="61538"/>
                    </a:cubicBezTo>
                    <a:cubicBezTo>
                      <a:pt x="16550" y="98462"/>
                      <a:pt x="-14219" y="166154"/>
                      <a:pt x="7320" y="196923"/>
                    </a:cubicBezTo>
                    <a:cubicBezTo>
                      <a:pt x="28859" y="227692"/>
                      <a:pt x="44243" y="184615"/>
                      <a:pt x="44243" y="184615"/>
                    </a:cubicBezTo>
                    <a:lnTo>
                      <a:pt x="139627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040BBDE6-0E3E-4467-A341-EA6C9C1777DE}"/>
                  </a:ext>
                </a:extLst>
              </p:cNvPr>
              <p:cNvSpPr/>
              <p:nvPr/>
            </p:nvSpPr>
            <p:spPr>
              <a:xfrm>
                <a:off x="9357754" y="6365411"/>
                <a:ext cx="292237" cy="389620"/>
              </a:xfrm>
              <a:custGeom>
                <a:avLst/>
                <a:gdLst>
                  <a:gd name="connsiteX0" fmla="*/ 279784 w 292237"/>
                  <a:gd name="connsiteY0" fmla="*/ 46154 h 389620"/>
                  <a:gd name="connsiteX1" fmla="*/ 156707 w 292237"/>
                  <a:gd name="connsiteY1" fmla="*/ 0 h 389620"/>
                  <a:gd name="connsiteX2" fmla="*/ 18246 w 292237"/>
                  <a:gd name="connsiteY2" fmla="*/ 227692 h 389620"/>
                  <a:gd name="connsiteX3" fmla="*/ 12091 w 292237"/>
                  <a:gd name="connsiteY3" fmla="*/ 304615 h 389620"/>
                  <a:gd name="connsiteX4" fmla="*/ 30553 w 292237"/>
                  <a:gd name="connsiteY4" fmla="*/ 295385 h 389620"/>
                  <a:gd name="connsiteX5" fmla="*/ 58245 w 292237"/>
                  <a:gd name="connsiteY5" fmla="*/ 258461 h 389620"/>
                  <a:gd name="connsiteX6" fmla="*/ 45938 w 292237"/>
                  <a:gd name="connsiteY6" fmla="*/ 320000 h 389620"/>
                  <a:gd name="connsiteX7" fmla="*/ 61322 w 292237"/>
                  <a:gd name="connsiteY7" fmla="*/ 387693 h 389620"/>
                  <a:gd name="connsiteX8" fmla="*/ 89014 w 292237"/>
                  <a:gd name="connsiteY8" fmla="*/ 369231 h 389620"/>
                  <a:gd name="connsiteX9" fmla="*/ 104399 w 292237"/>
                  <a:gd name="connsiteY9" fmla="*/ 378462 h 389620"/>
                  <a:gd name="connsiteX10" fmla="*/ 153630 w 292237"/>
                  <a:gd name="connsiteY10" fmla="*/ 316924 h 389620"/>
                  <a:gd name="connsiteX11" fmla="*/ 175169 w 292237"/>
                  <a:gd name="connsiteY11" fmla="*/ 264616 h 389620"/>
                  <a:gd name="connsiteX12" fmla="*/ 187476 w 292237"/>
                  <a:gd name="connsiteY12" fmla="*/ 332308 h 389620"/>
                  <a:gd name="connsiteX13" fmla="*/ 215168 w 292237"/>
                  <a:gd name="connsiteY13" fmla="*/ 283077 h 389620"/>
                  <a:gd name="connsiteX14" fmla="*/ 245938 w 292237"/>
                  <a:gd name="connsiteY14" fmla="*/ 187693 h 389620"/>
                  <a:gd name="connsiteX15" fmla="*/ 285937 w 292237"/>
                  <a:gd name="connsiteY15" fmla="*/ 98462 h 389620"/>
                  <a:gd name="connsiteX16" fmla="*/ 279784 w 292237"/>
                  <a:gd name="connsiteY16" fmla="*/ 46154 h 389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2237" h="389620">
                    <a:moveTo>
                      <a:pt x="279784" y="46154"/>
                    </a:moveTo>
                    <a:cubicBezTo>
                      <a:pt x="252092" y="15385"/>
                      <a:pt x="156707" y="0"/>
                      <a:pt x="156707" y="0"/>
                    </a:cubicBezTo>
                    <a:cubicBezTo>
                      <a:pt x="110553" y="76923"/>
                      <a:pt x="52092" y="144616"/>
                      <a:pt x="18246" y="227692"/>
                    </a:cubicBezTo>
                    <a:cubicBezTo>
                      <a:pt x="12091" y="240001"/>
                      <a:pt x="-15601" y="298462"/>
                      <a:pt x="12091" y="304615"/>
                    </a:cubicBezTo>
                    <a:cubicBezTo>
                      <a:pt x="21323" y="307692"/>
                      <a:pt x="27476" y="301539"/>
                      <a:pt x="30553" y="295385"/>
                    </a:cubicBezTo>
                    <a:cubicBezTo>
                      <a:pt x="39783" y="283077"/>
                      <a:pt x="49015" y="270770"/>
                      <a:pt x="58245" y="258461"/>
                    </a:cubicBezTo>
                    <a:cubicBezTo>
                      <a:pt x="52092" y="280000"/>
                      <a:pt x="49015" y="298462"/>
                      <a:pt x="45938" y="320000"/>
                    </a:cubicBezTo>
                    <a:cubicBezTo>
                      <a:pt x="42861" y="335384"/>
                      <a:pt x="42861" y="375385"/>
                      <a:pt x="61322" y="387693"/>
                    </a:cubicBezTo>
                    <a:cubicBezTo>
                      <a:pt x="70553" y="393847"/>
                      <a:pt x="79784" y="384615"/>
                      <a:pt x="89014" y="369231"/>
                    </a:cubicBezTo>
                    <a:cubicBezTo>
                      <a:pt x="92092" y="375385"/>
                      <a:pt x="95169" y="378462"/>
                      <a:pt x="104399" y="378462"/>
                    </a:cubicBezTo>
                    <a:cubicBezTo>
                      <a:pt x="125938" y="375385"/>
                      <a:pt x="144400" y="335384"/>
                      <a:pt x="153630" y="316924"/>
                    </a:cubicBezTo>
                    <a:cubicBezTo>
                      <a:pt x="162860" y="298462"/>
                      <a:pt x="169015" y="283077"/>
                      <a:pt x="175169" y="264616"/>
                    </a:cubicBezTo>
                    <a:cubicBezTo>
                      <a:pt x="169015" y="298462"/>
                      <a:pt x="165938" y="335384"/>
                      <a:pt x="187476" y="332308"/>
                    </a:cubicBezTo>
                    <a:cubicBezTo>
                      <a:pt x="202861" y="329231"/>
                      <a:pt x="212091" y="295385"/>
                      <a:pt x="215168" y="283077"/>
                    </a:cubicBezTo>
                    <a:cubicBezTo>
                      <a:pt x="227476" y="252308"/>
                      <a:pt x="233630" y="218462"/>
                      <a:pt x="245938" y="187693"/>
                    </a:cubicBezTo>
                    <a:cubicBezTo>
                      <a:pt x="258245" y="156923"/>
                      <a:pt x="273630" y="129231"/>
                      <a:pt x="285937" y="98462"/>
                    </a:cubicBezTo>
                    <a:cubicBezTo>
                      <a:pt x="295169" y="70770"/>
                      <a:pt x="295169" y="64616"/>
                      <a:pt x="279784" y="4615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1DF4492E-7C41-4467-A54E-B327F3D8907D}"/>
                  </a:ext>
                </a:extLst>
              </p:cNvPr>
              <p:cNvSpPr/>
              <p:nvPr/>
            </p:nvSpPr>
            <p:spPr>
              <a:xfrm>
                <a:off x="9440615" y="6569257"/>
                <a:ext cx="57692" cy="171538"/>
              </a:xfrm>
              <a:custGeom>
                <a:avLst/>
                <a:gdLst>
                  <a:gd name="connsiteX0" fmla="*/ 6153 w 57692"/>
                  <a:gd name="connsiteY0" fmla="*/ 171539 h 171538"/>
                  <a:gd name="connsiteX1" fmla="*/ 6153 w 57692"/>
                  <a:gd name="connsiteY1" fmla="*/ 171539 h 171538"/>
                  <a:gd name="connsiteX2" fmla="*/ 0 w 57692"/>
                  <a:gd name="connsiteY2" fmla="*/ 165384 h 171538"/>
                  <a:gd name="connsiteX3" fmla="*/ 46154 w 57692"/>
                  <a:gd name="connsiteY3" fmla="*/ 2308 h 171538"/>
                  <a:gd name="connsiteX4" fmla="*/ 55384 w 57692"/>
                  <a:gd name="connsiteY4" fmla="*/ 2308 h 171538"/>
                  <a:gd name="connsiteX5" fmla="*/ 55384 w 57692"/>
                  <a:gd name="connsiteY5" fmla="*/ 11538 h 171538"/>
                  <a:gd name="connsiteX6" fmla="*/ 12308 w 57692"/>
                  <a:gd name="connsiteY6" fmla="*/ 168461 h 171538"/>
                  <a:gd name="connsiteX7" fmla="*/ 6153 w 57692"/>
                  <a:gd name="connsiteY7" fmla="*/ 171539 h 17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692" h="171538">
                    <a:moveTo>
                      <a:pt x="6153" y="171539"/>
                    </a:moveTo>
                    <a:cubicBezTo>
                      <a:pt x="6153" y="171539"/>
                      <a:pt x="6153" y="171539"/>
                      <a:pt x="6153" y="171539"/>
                    </a:cubicBezTo>
                    <a:cubicBezTo>
                      <a:pt x="3076" y="171539"/>
                      <a:pt x="0" y="168461"/>
                      <a:pt x="0" y="165384"/>
                    </a:cubicBezTo>
                    <a:cubicBezTo>
                      <a:pt x="0" y="159231"/>
                      <a:pt x="24615" y="33077"/>
                      <a:pt x="46154" y="2308"/>
                    </a:cubicBezTo>
                    <a:cubicBezTo>
                      <a:pt x="49230" y="-769"/>
                      <a:pt x="52307" y="-769"/>
                      <a:pt x="55384" y="2308"/>
                    </a:cubicBezTo>
                    <a:cubicBezTo>
                      <a:pt x="58461" y="5385"/>
                      <a:pt x="58461" y="8461"/>
                      <a:pt x="55384" y="11538"/>
                    </a:cubicBezTo>
                    <a:cubicBezTo>
                      <a:pt x="33845" y="39230"/>
                      <a:pt x="12308" y="168461"/>
                      <a:pt x="12308" y="168461"/>
                    </a:cubicBezTo>
                    <a:cubicBezTo>
                      <a:pt x="12308" y="168461"/>
                      <a:pt x="9230" y="171539"/>
                      <a:pt x="6153" y="17153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84FA0D4D-94EB-46B3-A939-14F4397DAC73}"/>
                  </a:ext>
                </a:extLst>
              </p:cNvPr>
              <p:cNvSpPr/>
              <p:nvPr/>
            </p:nvSpPr>
            <p:spPr>
              <a:xfrm>
                <a:off x="9526769" y="6574642"/>
                <a:ext cx="30769" cy="61538"/>
              </a:xfrm>
              <a:custGeom>
                <a:avLst/>
                <a:gdLst>
                  <a:gd name="connsiteX0" fmla="*/ 6154 w 30769"/>
                  <a:gd name="connsiteY0" fmla="*/ 61538 h 61538"/>
                  <a:gd name="connsiteX1" fmla="*/ 6154 w 30769"/>
                  <a:gd name="connsiteY1" fmla="*/ 61538 h 61538"/>
                  <a:gd name="connsiteX2" fmla="*/ 0 w 30769"/>
                  <a:gd name="connsiteY2" fmla="*/ 52307 h 61538"/>
                  <a:gd name="connsiteX3" fmla="*/ 21539 w 30769"/>
                  <a:gd name="connsiteY3" fmla="*/ 3076 h 61538"/>
                  <a:gd name="connsiteX4" fmla="*/ 27692 w 30769"/>
                  <a:gd name="connsiteY4" fmla="*/ 0 h 61538"/>
                  <a:gd name="connsiteX5" fmla="*/ 30769 w 30769"/>
                  <a:gd name="connsiteY5" fmla="*/ 6153 h 61538"/>
                  <a:gd name="connsiteX6" fmla="*/ 9230 w 30769"/>
                  <a:gd name="connsiteY6" fmla="*/ 55384 h 61538"/>
                  <a:gd name="connsiteX7" fmla="*/ 6154 w 30769"/>
                  <a:gd name="connsiteY7" fmla="*/ 61538 h 6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769" h="61538">
                    <a:moveTo>
                      <a:pt x="6154" y="61538"/>
                    </a:moveTo>
                    <a:cubicBezTo>
                      <a:pt x="6154" y="61538"/>
                      <a:pt x="6154" y="61538"/>
                      <a:pt x="6154" y="61538"/>
                    </a:cubicBezTo>
                    <a:cubicBezTo>
                      <a:pt x="0" y="58461"/>
                      <a:pt x="0" y="55384"/>
                      <a:pt x="0" y="52307"/>
                    </a:cubicBezTo>
                    <a:lnTo>
                      <a:pt x="21539" y="3076"/>
                    </a:lnTo>
                    <a:cubicBezTo>
                      <a:pt x="21539" y="0"/>
                      <a:pt x="24615" y="0"/>
                      <a:pt x="27692" y="0"/>
                    </a:cubicBezTo>
                    <a:cubicBezTo>
                      <a:pt x="30769" y="0"/>
                      <a:pt x="30769" y="3076"/>
                      <a:pt x="30769" y="6153"/>
                    </a:cubicBezTo>
                    <a:lnTo>
                      <a:pt x="9230" y="55384"/>
                    </a:lnTo>
                    <a:cubicBezTo>
                      <a:pt x="12308" y="61538"/>
                      <a:pt x="9230" y="61538"/>
                      <a:pt x="6154" y="6153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31727183-6103-4D92-AD50-A27A9B8DC620}"/>
                  </a:ext>
                </a:extLst>
              </p:cNvPr>
              <p:cNvSpPr/>
              <p:nvPr/>
            </p:nvSpPr>
            <p:spPr>
              <a:xfrm>
                <a:off x="9475230" y="6483103"/>
                <a:ext cx="103846" cy="57692"/>
              </a:xfrm>
              <a:custGeom>
                <a:avLst/>
                <a:gdLst>
                  <a:gd name="connsiteX0" fmla="*/ 97693 w 103846"/>
                  <a:gd name="connsiteY0" fmla="*/ 57692 h 57692"/>
                  <a:gd name="connsiteX1" fmla="*/ 97693 w 103846"/>
                  <a:gd name="connsiteY1" fmla="*/ 57692 h 57692"/>
                  <a:gd name="connsiteX2" fmla="*/ 2308 w 103846"/>
                  <a:gd name="connsiteY2" fmla="*/ 11538 h 57692"/>
                  <a:gd name="connsiteX3" fmla="*/ 2308 w 103846"/>
                  <a:gd name="connsiteY3" fmla="*/ 2307 h 57692"/>
                  <a:gd name="connsiteX4" fmla="*/ 11539 w 103846"/>
                  <a:gd name="connsiteY4" fmla="*/ 2307 h 57692"/>
                  <a:gd name="connsiteX5" fmla="*/ 97693 w 103846"/>
                  <a:gd name="connsiteY5" fmla="*/ 45385 h 57692"/>
                  <a:gd name="connsiteX6" fmla="*/ 103847 w 103846"/>
                  <a:gd name="connsiteY6" fmla="*/ 51538 h 57692"/>
                  <a:gd name="connsiteX7" fmla="*/ 97693 w 103846"/>
                  <a:gd name="connsiteY7" fmla="*/ 57692 h 57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846" h="57692">
                    <a:moveTo>
                      <a:pt x="97693" y="57692"/>
                    </a:moveTo>
                    <a:lnTo>
                      <a:pt x="97693" y="57692"/>
                    </a:lnTo>
                    <a:cubicBezTo>
                      <a:pt x="39231" y="54615"/>
                      <a:pt x="2308" y="14616"/>
                      <a:pt x="2308" y="11538"/>
                    </a:cubicBezTo>
                    <a:cubicBezTo>
                      <a:pt x="-769" y="8461"/>
                      <a:pt x="-769" y="5384"/>
                      <a:pt x="2308" y="2307"/>
                    </a:cubicBezTo>
                    <a:cubicBezTo>
                      <a:pt x="5385" y="-769"/>
                      <a:pt x="8462" y="-769"/>
                      <a:pt x="11539" y="2307"/>
                    </a:cubicBezTo>
                    <a:cubicBezTo>
                      <a:pt x="11539" y="2307"/>
                      <a:pt x="45385" y="42308"/>
                      <a:pt x="97693" y="45385"/>
                    </a:cubicBezTo>
                    <a:cubicBezTo>
                      <a:pt x="100770" y="45385"/>
                      <a:pt x="103847" y="48461"/>
                      <a:pt x="103847" y="51538"/>
                    </a:cubicBezTo>
                    <a:cubicBezTo>
                      <a:pt x="103847" y="54615"/>
                      <a:pt x="100770" y="57692"/>
                      <a:pt x="97693" y="5769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5FC8A51C-9698-442F-8A4F-889A33442C0E}"/>
                  </a:ext>
                </a:extLst>
              </p:cNvPr>
              <p:cNvSpPr/>
              <p:nvPr/>
            </p:nvSpPr>
            <p:spPr>
              <a:xfrm>
                <a:off x="9355224" y="6427718"/>
                <a:ext cx="121544" cy="248461"/>
              </a:xfrm>
              <a:custGeom>
                <a:avLst/>
                <a:gdLst>
                  <a:gd name="connsiteX0" fmla="*/ 14621 w 121544"/>
                  <a:gd name="connsiteY0" fmla="*/ 248462 h 248461"/>
                  <a:gd name="connsiteX1" fmla="*/ 14621 w 121544"/>
                  <a:gd name="connsiteY1" fmla="*/ 248462 h 248461"/>
                  <a:gd name="connsiteX2" fmla="*/ 2314 w 121544"/>
                  <a:gd name="connsiteY2" fmla="*/ 239231 h 248461"/>
                  <a:gd name="connsiteX3" fmla="*/ 110006 w 121544"/>
                  <a:gd name="connsiteY3" fmla="*/ 2308 h 248461"/>
                  <a:gd name="connsiteX4" fmla="*/ 119236 w 121544"/>
                  <a:gd name="connsiteY4" fmla="*/ 2308 h 248461"/>
                  <a:gd name="connsiteX5" fmla="*/ 119236 w 121544"/>
                  <a:gd name="connsiteY5" fmla="*/ 11538 h 248461"/>
                  <a:gd name="connsiteX6" fmla="*/ 14621 w 121544"/>
                  <a:gd name="connsiteY6" fmla="*/ 236154 h 248461"/>
                  <a:gd name="connsiteX7" fmla="*/ 17698 w 121544"/>
                  <a:gd name="connsiteY7" fmla="*/ 239231 h 248461"/>
                  <a:gd name="connsiteX8" fmla="*/ 57698 w 121544"/>
                  <a:gd name="connsiteY8" fmla="*/ 196154 h 248461"/>
                  <a:gd name="connsiteX9" fmla="*/ 94621 w 121544"/>
                  <a:gd name="connsiteY9" fmla="*/ 113077 h 248461"/>
                  <a:gd name="connsiteX10" fmla="*/ 103852 w 121544"/>
                  <a:gd name="connsiteY10" fmla="*/ 110000 h 248461"/>
                  <a:gd name="connsiteX11" fmla="*/ 106929 w 121544"/>
                  <a:gd name="connsiteY11" fmla="*/ 119231 h 248461"/>
                  <a:gd name="connsiteX12" fmla="*/ 73083 w 121544"/>
                  <a:gd name="connsiteY12" fmla="*/ 199231 h 248461"/>
                  <a:gd name="connsiteX13" fmla="*/ 73083 w 121544"/>
                  <a:gd name="connsiteY13" fmla="*/ 202308 h 248461"/>
                  <a:gd name="connsiteX14" fmla="*/ 14621 w 121544"/>
                  <a:gd name="connsiteY14" fmla="*/ 248462 h 24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1544" h="248461">
                    <a:moveTo>
                      <a:pt x="14621" y="248462"/>
                    </a:moveTo>
                    <a:cubicBezTo>
                      <a:pt x="14621" y="248462"/>
                      <a:pt x="14621" y="248462"/>
                      <a:pt x="14621" y="248462"/>
                    </a:cubicBezTo>
                    <a:cubicBezTo>
                      <a:pt x="8468" y="248462"/>
                      <a:pt x="5391" y="245385"/>
                      <a:pt x="2314" y="239231"/>
                    </a:cubicBezTo>
                    <a:cubicBezTo>
                      <a:pt x="-9994" y="211538"/>
                      <a:pt x="26929" y="116154"/>
                      <a:pt x="110006" y="2308"/>
                    </a:cubicBezTo>
                    <a:cubicBezTo>
                      <a:pt x="113083" y="-769"/>
                      <a:pt x="116160" y="-769"/>
                      <a:pt x="119236" y="2308"/>
                    </a:cubicBezTo>
                    <a:cubicBezTo>
                      <a:pt x="122314" y="5385"/>
                      <a:pt x="122314" y="8462"/>
                      <a:pt x="119236" y="11538"/>
                    </a:cubicBezTo>
                    <a:cubicBezTo>
                      <a:pt x="26929" y="137692"/>
                      <a:pt x="5391" y="220770"/>
                      <a:pt x="14621" y="236154"/>
                    </a:cubicBezTo>
                    <a:cubicBezTo>
                      <a:pt x="14621" y="239231"/>
                      <a:pt x="17698" y="239231"/>
                      <a:pt x="17698" y="239231"/>
                    </a:cubicBezTo>
                    <a:cubicBezTo>
                      <a:pt x="33083" y="239231"/>
                      <a:pt x="51545" y="208462"/>
                      <a:pt x="57698" y="196154"/>
                    </a:cubicBezTo>
                    <a:cubicBezTo>
                      <a:pt x="60775" y="177693"/>
                      <a:pt x="85391" y="122308"/>
                      <a:pt x="94621" y="113077"/>
                    </a:cubicBezTo>
                    <a:cubicBezTo>
                      <a:pt x="97699" y="110000"/>
                      <a:pt x="100776" y="110000"/>
                      <a:pt x="103852" y="110000"/>
                    </a:cubicBezTo>
                    <a:cubicBezTo>
                      <a:pt x="106929" y="113077"/>
                      <a:pt x="106929" y="116154"/>
                      <a:pt x="106929" y="119231"/>
                    </a:cubicBezTo>
                    <a:cubicBezTo>
                      <a:pt x="91544" y="143846"/>
                      <a:pt x="73083" y="190000"/>
                      <a:pt x="73083" y="199231"/>
                    </a:cubicBezTo>
                    <a:cubicBezTo>
                      <a:pt x="73083" y="199231"/>
                      <a:pt x="73083" y="202308"/>
                      <a:pt x="73083" y="202308"/>
                    </a:cubicBezTo>
                    <a:cubicBezTo>
                      <a:pt x="63852" y="202308"/>
                      <a:pt x="42313" y="248462"/>
                      <a:pt x="14621" y="24846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21D69088-4D50-4027-94F8-63FA53294CC2}"/>
                </a:ext>
              </a:extLst>
            </p:cNvPr>
            <p:cNvSpPr/>
            <p:nvPr/>
          </p:nvSpPr>
          <p:spPr>
            <a:xfrm>
              <a:off x="9151185" y="5106603"/>
              <a:ext cx="766366" cy="1391115"/>
            </a:xfrm>
            <a:custGeom>
              <a:avLst/>
              <a:gdLst>
                <a:gd name="connsiteX0" fmla="*/ 34045 w 766366"/>
                <a:gd name="connsiteY0" fmla="*/ 24962 h 1391115"/>
                <a:gd name="connsiteX1" fmla="*/ 166353 w 766366"/>
                <a:gd name="connsiteY1" fmla="*/ 532654 h 1391115"/>
                <a:gd name="connsiteX2" fmla="*/ 477122 w 766366"/>
                <a:gd name="connsiteY2" fmla="*/ 815731 h 1391115"/>
                <a:gd name="connsiteX3" fmla="*/ 314045 w 766366"/>
                <a:gd name="connsiteY3" fmla="*/ 1274192 h 1391115"/>
                <a:gd name="connsiteX4" fmla="*/ 483276 w 766366"/>
                <a:gd name="connsiteY4" fmla="*/ 1391116 h 1391115"/>
                <a:gd name="connsiteX5" fmla="*/ 766353 w 766366"/>
                <a:gd name="connsiteY5" fmla="*/ 738808 h 1391115"/>
                <a:gd name="connsiteX6" fmla="*/ 34045 w 766366"/>
                <a:gd name="connsiteY6" fmla="*/ 24962 h 1391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6366" h="1391115">
                  <a:moveTo>
                    <a:pt x="34045" y="24962"/>
                  </a:moveTo>
                  <a:cubicBezTo>
                    <a:pt x="-70570" y="114192"/>
                    <a:pt x="92506" y="421885"/>
                    <a:pt x="166353" y="532654"/>
                  </a:cubicBezTo>
                  <a:cubicBezTo>
                    <a:pt x="230968" y="631115"/>
                    <a:pt x="477122" y="815731"/>
                    <a:pt x="477122" y="815731"/>
                  </a:cubicBezTo>
                  <a:lnTo>
                    <a:pt x="314045" y="1274192"/>
                  </a:lnTo>
                  <a:lnTo>
                    <a:pt x="483276" y="1391116"/>
                  </a:lnTo>
                  <a:cubicBezTo>
                    <a:pt x="483276" y="1391116"/>
                    <a:pt x="763275" y="868038"/>
                    <a:pt x="766353" y="738808"/>
                  </a:cubicBezTo>
                  <a:cubicBezTo>
                    <a:pt x="769430" y="597269"/>
                    <a:pt x="234045" y="-144269"/>
                    <a:pt x="34045" y="24962"/>
                  </a:cubicBezTo>
                  <a:close/>
                </a:path>
              </a:pathLst>
            </a:custGeom>
            <a:solidFill>
              <a:srgbClr val="7F95BC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E0DD10DF-E174-4181-B00E-791870A898F0}"/>
                </a:ext>
              </a:extLst>
            </p:cNvPr>
            <p:cNvSpPr/>
            <p:nvPr/>
          </p:nvSpPr>
          <p:spPr>
            <a:xfrm>
              <a:off x="9145194" y="5097617"/>
              <a:ext cx="208497" cy="587794"/>
            </a:xfrm>
            <a:custGeom>
              <a:avLst/>
              <a:gdLst>
                <a:gd name="connsiteX0" fmla="*/ 200037 w 208497"/>
                <a:gd name="connsiteY0" fmla="*/ 584717 h 587794"/>
                <a:gd name="connsiteX1" fmla="*/ 196960 w 208497"/>
                <a:gd name="connsiteY1" fmla="*/ 581640 h 587794"/>
                <a:gd name="connsiteX2" fmla="*/ 37 w 208497"/>
                <a:gd name="connsiteY2" fmla="*/ 178563 h 587794"/>
                <a:gd name="connsiteX3" fmla="*/ 52344 w 208497"/>
                <a:gd name="connsiteY3" fmla="*/ 24717 h 587794"/>
                <a:gd name="connsiteX4" fmla="*/ 120037 w 208497"/>
                <a:gd name="connsiteY4" fmla="*/ 102 h 587794"/>
                <a:gd name="connsiteX5" fmla="*/ 126191 w 208497"/>
                <a:gd name="connsiteY5" fmla="*/ 6255 h 587794"/>
                <a:gd name="connsiteX6" fmla="*/ 120037 w 208497"/>
                <a:gd name="connsiteY6" fmla="*/ 12410 h 587794"/>
                <a:gd name="connsiteX7" fmla="*/ 61575 w 208497"/>
                <a:gd name="connsiteY7" fmla="*/ 33948 h 587794"/>
                <a:gd name="connsiteX8" fmla="*/ 12344 w 208497"/>
                <a:gd name="connsiteY8" fmla="*/ 181640 h 587794"/>
                <a:gd name="connsiteX9" fmla="*/ 206190 w 208497"/>
                <a:gd name="connsiteY9" fmla="*/ 578563 h 587794"/>
                <a:gd name="connsiteX10" fmla="*/ 206190 w 208497"/>
                <a:gd name="connsiteY10" fmla="*/ 587794 h 587794"/>
                <a:gd name="connsiteX11" fmla="*/ 200037 w 208497"/>
                <a:gd name="connsiteY11" fmla="*/ 584717 h 58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8497" h="587794">
                  <a:moveTo>
                    <a:pt x="200037" y="584717"/>
                  </a:moveTo>
                  <a:cubicBezTo>
                    <a:pt x="200037" y="584717"/>
                    <a:pt x="196960" y="584717"/>
                    <a:pt x="196960" y="581640"/>
                  </a:cubicBezTo>
                  <a:cubicBezTo>
                    <a:pt x="187729" y="572410"/>
                    <a:pt x="-3040" y="363179"/>
                    <a:pt x="37" y="178563"/>
                  </a:cubicBezTo>
                  <a:cubicBezTo>
                    <a:pt x="3114" y="104717"/>
                    <a:pt x="18499" y="52409"/>
                    <a:pt x="52344" y="24717"/>
                  </a:cubicBezTo>
                  <a:cubicBezTo>
                    <a:pt x="83113" y="-2975"/>
                    <a:pt x="116960" y="102"/>
                    <a:pt x="120037" y="102"/>
                  </a:cubicBezTo>
                  <a:cubicBezTo>
                    <a:pt x="123114" y="102"/>
                    <a:pt x="126191" y="3179"/>
                    <a:pt x="126191" y="6255"/>
                  </a:cubicBezTo>
                  <a:cubicBezTo>
                    <a:pt x="126191" y="9333"/>
                    <a:pt x="123114" y="12410"/>
                    <a:pt x="120037" y="12410"/>
                  </a:cubicBezTo>
                  <a:cubicBezTo>
                    <a:pt x="120037" y="12410"/>
                    <a:pt x="89267" y="9333"/>
                    <a:pt x="61575" y="33948"/>
                  </a:cubicBezTo>
                  <a:cubicBezTo>
                    <a:pt x="30806" y="61640"/>
                    <a:pt x="12344" y="110871"/>
                    <a:pt x="12344" y="181640"/>
                  </a:cubicBezTo>
                  <a:cubicBezTo>
                    <a:pt x="9267" y="363179"/>
                    <a:pt x="203114" y="575486"/>
                    <a:pt x="206190" y="578563"/>
                  </a:cubicBezTo>
                  <a:cubicBezTo>
                    <a:pt x="209267" y="581640"/>
                    <a:pt x="209267" y="584717"/>
                    <a:pt x="206190" y="587794"/>
                  </a:cubicBezTo>
                  <a:cubicBezTo>
                    <a:pt x="203114" y="584717"/>
                    <a:pt x="200037" y="584717"/>
                    <a:pt x="200037" y="584717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8E1EDFD9-A588-4B83-A016-1C0026F46BA9}"/>
                </a:ext>
              </a:extLst>
            </p:cNvPr>
            <p:cNvSpPr/>
            <p:nvPr/>
          </p:nvSpPr>
          <p:spPr>
            <a:xfrm>
              <a:off x="8969845" y="4694642"/>
              <a:ext cx="70769" cy="138461"/>
            </a:xfrm>
            <a:custGeom>
              <a:avLst/>
              <a:gdLst>
                <a:gd name="connsiteX0" fmla="*/ 70770 w 70769"/>
                <a:gd name="connsiteY0" fmla="*/ 0 h 138461"/>
                <a:gd name="connsiteX1" fmla="*/ 3077 w 70769"/>
                <a:gd name="connsiteY1" fmla="*/ 138462 h 138461"/>
                <a:gd name="connsiteX2" fmla="*/ 0 w 70769"/>
                <a:gd name="connsiteY2" fmla="*/ 52308 h 138461"/>
                <a:gd name="connsiteX3" fmla="*/ 70770 w 70769"/>
                <a:gd name="connsiteY3" fmla="*/ 0 h 1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769" h="138461">
                  <a:moveTo>
                    <a:pt x="70770" y="0"/>
                  </a:moveTo>
                  <a:cubicBezTo>
                    <a:pt x="70770" y="0"/>
                    <a:pt x="55385" y="120000"/>
                    <a:pt x="3077" y="138462"/>
                  </a:cubicBezTo>
                  <a:lnTo>
                    <a:pt x="0" y="52308"/>
                  </a:lnTo>
                  <a:lnTo>
                    <a:pt x="70770" y="0"/>
                  </a:ln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66BE19BD-0FE5-49B9-8448-CE3AAFBB2C53}"/>
                </a:ext>
              </a:extLst>
            </p:cNvPr>
            <p:cNvSpPr/>
            <p:nvPr/>
          </p:nvSpPr>
          <p:spPr>
            <a:xfrm>
              <a:off x="8577488" y="4482334"/>
              <a:ext cx="103582" cy="240012"/>
            </a:xfrm>
            <a:custGeom>
              <a:avLst/>
              <a:gdLst>
                <a:gd name="connsiteX0" fmla="*/ 7742 w 103582"/>
                <a:gd name="connsiteY0" fmla="*/ 0 h 240012"/>
                <a:gd name="connsiteX1" fmla="*/ 47742 w 103582"/>
                <a:gd name="connsiteY1" fmla="*/ 236923 h 240012"/>
                <a:gd name="connsiteX2" fmla="*/ 103127 w 103582"/>
                <a:gd name="connsiteY2" fmla="*/ 15385 h 240012"/>
                <a:gd name="connsiteX3" fmla="*/ 7742 w 103582"/>
                <a:gd name="connsiteY3" fmla="*/ 0 h 24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582" h="240012">
                  <a:moveTo>
                    <a:pt x="7742" y="0"/>
                  </a:moveTo>
                  <a:cubicBezTo>
                    <a:pt x="7742" y="0"/>
                    <a:pt x="-26105" y="196923"/>
                    <a:pt x="47742" y="236923"/>
                  </a:cubicBezTo>
                  <a:cubicBezTo>
                    <a:pt x="112357" y="270769"/>
                    <a:pt x="103127" y="15385"/>
                    <a:pt x="103127" y="15385"/>
                  </a:cubicBezTo>
                  <a:lnTo>
                    <a:pt x="7742" y="0"/>
                  </a:ln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F9502B75-94D7-433A-8821-A53D3F560B8F}"/>
                </a:ext>
              </a:extLst>
            </p:cNvPr>
            <p:cNvSpPr/>
            <p:nvPr/>
          </p:nvSpPr>
          <p:spPr>
            <a:xfrm>
              <a:off x="8613318" y="4346029"/>
              <a:ext cx="427297" cy="573836"/>
            </a:xfrm>
            <a:custGeom>
              <a:avLst/>
              <a:gdLst>
                <a:gd name="connsiteX0" fmla="*/ 11912 w 427297"/>
                <a:gd name="connsiteY0" fmla="*/ 182458 h 573836"/>
                <a:gd name="connsiteX1" fmla="*/ 8835 w 427297"/>
                <a:gd name="connsiteY1" fmla="*/ 434766 h 573836"/>
                <a:gd name="connsiteX2" fmla="*/ 168835 w 427297"/>
                <a:gd name="connsiteY2" fmla="*/ 573228 h 573836"/>
                <a:gd name="connsiteX3" fmla="*/ 387297 w 427297"/>
                <a:gd name="connsiteY3" fmla="*/ 431689 h 573836"/>
                <a:gd name="connsiteX4" fmla="*/ 427297 w 427297"/>
                <a:gd name="connsiteY4" fmla="*/ 203997 h 573836"/>
                <a:gd name="connsiteX5" fmla="*/ 214989 w 427297"/>
                <a:gd name="connsiteY5" fmla="*/ 920 h 573836"/>
                <a:gd name="connsiteX6" fmla="*/ 11912 w 427297"/>
                <a:gd name="connsiteY6" fmla="*/ 182458 h 573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297" h="573836">
                  <a:moveTo>
                    <a:pt x="11912" y="182458"/>
                  </a:moveTo>
                  <a:cubicBezTo>
                    <a:pt x="11912" y="182458"/>
                    <a:pt x="-12703" y="360920"/>
                    <a:pt x="8835" y="434766"/>
                  </a:cubicBezTo>
                  <a:cubicBezTo>
                    <a:pt x="27297" y="502459"/>
                    <a:pt x="116528" y="567074"/>
                    <a:pt x="168835" y="573228"/>
                  </a:cubicBezTo>
                  <a:cubicBezTo>
                    <a:pt x="236528" y="579382"/>
                    <a:pt x="356527" y="539382"/>
                    <a:pt x="387297" y="431689"/>
                  </a:cubicBezTo>
                  <a:cubicBezTo>
                    <a:pt x="408835" y="357843"/>
                    <a:pt x="427297" y="256305"/>
                    <a:pt x="427297" y="203997"/>
                  </a:cubicBezTo>
                  <a:cubicBezTo>
                    <a:pt x="427297" y="108612"/>
                    <a:pt x="399604" y="28612"/>
                    <a:pt x="214989" y="920"/>
                  </a:cubicBezTo>
                  <a:cubicBezTo>
                    <a:pt x="128835" y="-11388"/>
                    <a:pt x="30373" y="102459"/>
                    <a:pt x="11912" y="182458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A27AACA9-FCE9-4B7F-AFA2-DCB37A509007}"/>
                </a:ext>
              </a:extLst>
            </p:cNvPr>
            <p:cNvSpPr/>
            <p:nvPr/>
          </p:nvSpPr>
          <p:spPr>
            <a:xfrm>
              <a:off x="8748307" y="4611564"/>
              <a:ext cx="58461" cy="138461"/>
            </a:xfrm>
            <a:custGeom>
              <a:avLst/>
              <a:gdLst>
                <a:gd name="connsiteX0" fmla="*/ 33845 w 58461"/>
                <a:gd name="connsiteY0" fmla="*/ 138462 h 138461"/>
                <a:gd name="connsiteX1" fmla="*/ 6153 w 58461"/>
                <a:gd name="connsiteY1" fmla="*/ 132308 h 138461"/>
                <a:gd name="connsiteX2" fmla="*/ 0 w 58461"/>
                <a:gd name="connsiteY2" fmla="*/ 120000 h 138461"/>
                <a:gd name="connsiteX3" fmla="*/ 18461 w 58461"/>
                <a:gd name="connsiteY3" fmla="*/ 6154 h 138461"/>
                <a:gd name="connsiteX4" fmla="*/ 24615 w 58461"/>
                <a:gd name="connsiteY4" fmla="*/ 0 h 138461"/>
                <a:gd name="connsiteX5" fmla="*/ 30769 w 58461"/>
                <a:gd name="connsiteY5" fmla="*/ 6154 h 138461"/>
                <a:gd name="connsiteX6" fmla="*/ 12308 w 58461"/>
                <a:gd name="connsiteY6" fmla="*/ 120000 h 138461"/>
                <a:gd name="connsiteX7" fmla="*/ 12308 w 58461"/>
                <a:gd name="connsiteY7" fmla="*/ 123077 h 138461"/>
                <a:gd name="connsiteX8" fmla="*/ 52307 w 58461"/>
                <a:gd name="connsiteY8" fmla="*/ 126154 h 138461"/>
                <a:gd name="connsiteX9" fmla="*/ 58461 w 58461"/>
                <a:gd name="connsiteY9" fmla="*/ 132308 h 138461"/>
                <a:gd name="connsiteX10" fmla="*/ 52307 w 58461"/>
                <a:gd name="connsiteY10" fmla="*/ 138462 h 138461"/>
                <a:gd name="connsiteX11" fmla="*/ 33845 w 58461"/>
                <a:gd name="connsiteY11" fmla="*/ 138462 h 1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461" h="138461">
                  <a:moveTo>
                    <a:pt x="33845" y="138462"/>
                  </a:moveTo>
                  <a:cubicBezTo>
                    <a:pt x="24615" y="138462"/>
                    <a:pt x="12308" y="138462"/>
                    <a:pt x="6153" y="132308"/>
                  </a:cubicBezTo>
                  <a:cubicBezTo>
                    <a:pt x="3076" y="129231"/>
                    <a:pt x="0" y="123077"/>
                    <a:pt x="0" y="120000"/>
                  </a:cubicBezTo>
                  <a:cubicBezTo>
                    <a:pt x="0" y="98462"/>
                    <a:pt x="18461" y="9231"/>
                    <a:pt x="18461" y="6154"/>
                  </a:cubicBezTo>
                  <a:cubicBezTo>
                    <a:pt x="18461" y="3077"/>
                    <a:pt x="21538" y="0"/>
                    <a:pt x="24615" y="0"/>
                  </a:cubicBezTo>
                  <a:cubicBezTo>
                    <a:pt x="27692" y="0"/>
                    <a:pt x="30769" y="3077"/>
                    <a:pt x="30769" y="6154"/>
                  </a:cubicBezTo>
                  <a:cubicBezTo>
                    <a:pt x="30769" y="6154"/>
                    <a:pt x="12308" y="98462"/>
                    <a:pt x="12308" y="120000"/>
                  </a:cubicBezTo>
                  <a:cubicBezTo>
                    <a:pt x="12308" y="120000"/>
                    <a:pt x="12308" y="123077"/>
                    <a:pt x="12308" y="123077"/>
                  </a:cubicBezTo>
                  <a:cubicBezTo>
                    <a:pt x="18461" y="129231"/>
                    <a:pt x="40000" y="126154"/>
                    <a:pt x="52307" y="126154"/>
                  </a:cubicBezTo>
                  <a:cubicBezTo>
                    <a:pt x="55384" y="126154"/>
                    <a:pt x="58461" y="129231"/>
                    <a:pt x="58461" y="132308"/>
                  </a:cubicBezTo>
                  <a:cubicBezTo>
                    <a:pt x="58461" y="135385"/>
                    <a:pt x="55384" y="138462"/>
                    <a:pt x="52307" y="138462"/>
                  </a:cubicBezTo>
                  <a:cubicBezTo>
                    <a:pt x="52307" y="138462"/>
                    <a:pt x="43077" y="138462"/>
                    <a:pt x="33845" y="138462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0A5D8976-0F43-4C94-A477-2A2CC2D97BD1}"/>
                </a:ext>
              </a:extLst>
            </p:cNvPr>
            <p:cNvSpPr/>
            <p:nvPr/>
          </p:nvSpPr>
          <p:spPr>
            <a:xfrm>
              <a:off x="8680011" y="4586346"/>
              <a:ext cx="41206" cy="41206"/>
            </a:xfrm>
            <a:custGeom>
              <a:avLst/>
              <a:gdLst>
                <a:gd name="connsiteX0" fmla="*/ 40603 w 41206"/>
                <a:gd name="connsiteY0" fmla="*/ 25219 h 41206"/>
                <a:gd name="connsiteX1" fmla="*/ 15988 w 41206"/>
                <a:gd name="connsiteY1" fmla="*/ 40603 h 41206"/>
                <a:gd name="connsiteX2" fmla="*/ 604 w 41206"/>
                <a:gd name="connsiteY2" fmla="*/ 15988 h 41206"/>
                <a:gd name="connsiteX3" fmla="*/ 25219 w 41206"/>
                <a:gd name="connsiteY3" fmla="*/ 604 h 41206"/>
                <a:gd name="connsiteX4" fmla="*/ 40603 w 41206"/>
                <a:gd name="connsiteY4" fmla="*/ 25219 h 41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06" h="41206">
                  <a:moveTo>
                    <a:pt x="40603" y="25219"/>
                  </a:moveTo>
                  <a:cubicBezTo>
                    <a:pt x="37527" y="34449"/>
                    <a:pt x="28296" y="43680"/>
                    <a:pt x="15988" y="40603"/>
                  </a:cubicBezTo>
                  <a:cubicBezTo>
                    <a:pt x="6758" y="37527"/>
                    <a:pt x="-2474" y="28296"/>
                    <a:pt x="604" y="15988"/>
                  </a:cubicBezTo>
                  <a:cubicBezTo>
                    <a:pt x="3681" y="6757"/>
                    <a:pt x="12911" y="-2474"/>
                    <a:pt x="25219" y="604"/>
                  </a:cubicBezTo>
                  <a:cubicBezTo>
                    <a:pt x="34450" y="3680"/>
                    <a:pt x="43680" y="15988"/>
                    <a:pt x="40603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80620057-4E5F-449E-96B6-75B262547A94}"/>
                </a:ext>
              </a:extLst>
            </p:cNvPr>
            <p:cNvSpPr/>
            <p:nvPr/>
          </p:nvSpPr>
          <p:spPr>
            <a:xfrm>
              <a:off x="8864627" y="4607884"/>
              <a:ext cx="41206" cy="41207"/>
            </a:xfrm>
            <a:custGeom>
              <a:avLst/>
              <a:gdLst>
                <a:gd name="connsiteX0" fmla="*/ 40603 w 41206"/>
                <a:gd name="connsiteY0" fmla="*/ 25219 h 41207"/>
                <a:gd name="connsiteX1" fmla="*/ 15988 w 41206"/>
                <a:gd name="connsiteY1" fmla="*/ 40604 h 41207"/>
                <a:gd name="connsiteX2" fmla="*/ 604 w 41206"/>
                <a:gd name="connsiteY2" fmla="*/ 15988 h 41207"/>
                <a:gd name="connsiteX3" fmla="*/ 25219 w 41206"/>
                <a:gd name="connsiteY3" fmla="*/ 604 h 41207"/>
                <a:gd name="connsiteX4" fmla="*/ 40603 w 41206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06" h="41207">
                  <a:moveTo>
                    <a:pt x="40603" y="25219"/>
                  </a:moveTo>
                  <a:cubicBezTo>
                    <a:pt x="37527" y="34449"/>
                    <a:pt x="28296" y="43680"/>
                    <a:pt x="15988" y="40604"/>
                  </a:cubicBezTo>
                  <a:cubicBezTo>
                    <a:pt x="6758" y="37527"/>
                    <a:pt x="-2474" y="28296"/>
                    <a:pt x="604" y="15988"/>
                  </a:cubicBezTo>
                  <a:cubicBezTo>
                    <a:pt x="3681" y="6757"/>
                    <a:pt x="12911" y="-2474"/>
                    <a:pt x="25219" y="604"/>
                  </a:cubicBezTo>
                  <a:cubicBezTo>
                    <a:pt x="34450" y="3680"/>
                    <a:pt x="43680" y="12911"/>
                    <a:pt x="40603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DBE6B219-EAE5-46A4-A934-06C78F662D8B}"/>
                </a:ext>
              </a:extLst>
            </p:cNvPr>
            <p:cNvSpPr/>
            <p:nvPr/>
          </p:nvSpPr>
          <p:spPr>
            <a:xfrm>
              <a:off x="8653692" y="4537719"/>
              <a:ext cx="92813" cy="33846"/>
            </a:xfrm>
            <a:custGeom>
              <a:avLst/>
              <a:gdLst>
                <a:gd name="connsiteX0" fmla="*/ 8461 w 92813"/>
                <a:gd name="connsiteY0" fmla="*/ 33846 h 33846"/>
                <a:gd name="connsiteX1" fmla="*/ 2308 w 92813"/>
                <a:gd name="connsiteY1" fmla="*/ 30769 h 33846"/>
                <a:gd name="connsiteX2" fmla="*/ 2308 w 92813"/>
                <a:gd name="connsiteY2" fmla="*/ 18462 h 33846"/>
                <a:gd name="connsiteX3" fmla="*/ 88461 w 92813"/>
                <a:gd name="connsiteY3" fmla="*/ 9231 h 33846"/>
                <a:gd name="connsiteX4" fmla="*/ 91538 w 92813"/>
                <a:gd name="connsiteY4" fmla="*/ 18462 h 33846"/>
                <a:gd name="connsiteX5" fmla="*/ 79231 w 92813"/>
                <a:gd name="connsiteY5" fmla="*/ 21538 h 33846"/>
                <a:gd name="connsiteX6" fmla="*/ 11538 w 92813"/>
                <a:gd name="connsiteY6" fmla="*/ 27692 h 33846"/>
                <a:gd name="connsiteX7" fmla="*/ 8461 w 92813"/>
                <a:gd name="connsiteY7" fmla="*/ 33846 h 3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3846">
                  <a:moveTo>
                    <a:pt x="8461" y="33846"/>
                  </a:moveTo>
                  <a:cubicBezTo>
                    <a:pt x="5384" y="33846"/>
                    <a:pt x="5384" y="33846"/>
                    <a:pt x="2308" y="30769"/>
                  </a:cubicBezTo>
                  <a:cubicBezTo>
                    <a:pt x="-769" y="27692"/>
                    <a:pt x="-769" y="21538"/>
                    <a:pt x="2308" y="18462"/>
                  </a:cubicBezTo>
                  <a:cubicBezTo>
                    <a:pt x="30000" y="-9231"/>
                    <a:pt x="70000" y="0"/>
                    <a:pt x="88461" y="9231"/>
                  </a:cubicBezTo>
                  <a:cubicBezTo>
                    <a:pt x="91538" y="12308"/>
                    <a:pt x="94616" y="15385"/>
                    <a:pt x="91538" y="18462"/>
                  </a:cubicBezTo>
                  <a:cubicBezTo>
                    <a:pt x="88461" y="21538"/>
                    <a:pt x="85384" y="24615"/>
                    <a:pt x="79231" y="21538"/>
                  </a:cubicBezTo>
                  <a:cubicBezTo>
                    <a:pt x="76154" y="21538"/>
                    <a:pt x="39230" y="0"/>
                    <a:pt x="11538" y="27692"/>
                  </a:cubicBezTo>
                  <a:cubicBezTo>
                    <a:pt x="14615" y="33846"/>
                    <a:pt x="11538" y="33846"/>
                    <a:pt x="8461" y="33846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75837C19-C42A-496A-9C3E-8ADC6AECB470}"/>
                </a:ext>
              </a:extLst>
            </p:cNvPr>
            <p:cNvSpPr/>
            <p:nvPr/>
          </p:nvSpPr>
          <p:spPr>
            <a:xfrm>
              <a:off x="8845494" y="4541821"/>
              <a:ext cx="92813" cy="35897"/>
            </a:xfrm>
            <a:custGeom>
              <a:avLst/>
              <a:gdLst>
                <a:gd name="connsiteX0" fmla="*/ 87429 w 92813"/>
                <a:gd name="connsiteY0" fmla="*/ 35898 h 35897"/>
                <a:gd name="connsiteX1" fmla="*/ 81275 w 92813"/>
                <a:gd name="connsiteY1" fmla="*/ 32821 h 35897"/>
                <a:gd name="connsiteX2" fmla="*/ 13582 w 92813"/>
                <a:gd name="connsiteY2" fmla="*/ 26667 h 35897"/>
                <a:gd name="connsiteX3" fmla="*/ 1275 w 92813"/>
                <a:gd name="connsiteY3" fmla="*/ 23590 h 35897"/>
                <a:gd name="connsiteX4" fmla="*/ 4352 w 92813"/>
                <a:gd name="connsiteY4" fmla="*/ 11282 h 35897"/>
                <a:gd name="connsiteX5" fmla="*/ 90505 w 92813"/>
                <a:gd name="connsiteY5" fmla="*/ 20513 h 35897"/>
                <a:gd name="connsiteX6" fmla="*/ 90505 w 92813"/>
                <a:gd name="connsiteY6" fmla="*/ 32821 h 35897"/>
                <a:gd name="connsiteX7" fmla="*/ 87429 w 92813"/>
                <a:gd name="connsiteY7" fmla="*/ 35898 h 35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5897">
                  <a:moveTo>
                    <a:pt x="87429" y="35898"/>
                  </a:moveTo>
                  <a:cubicBezTo>
                    <a:pt x="84352" y="35898"/>
                    <a:pt x="84352" y="35898"/>
                    <a:pt x="81275" y="32821"/>
                  </a:cubicBezTo>
                  <a:cubicBezTo>
                    <a:pt x="81275" y="32821"/>
                    <a:pt x="50506" y="2051"/>
                    <a:pt x="13582" y="26667"/>
                  </a:cubicBezTo>
                  <a:cubicBezTo>
                    <a:pt x="10506" y="29744"/>
                    <a:pt x="4352" y="26667"/>
                    <a:pt x="1275" y="23590"/>
                  </a:cubicBezTo>
                  <a:cubicBezTo>
                    <a:pt x="-1803" y="20513"/>
                    <a:pt x="1275" y="14359"/>
                    <a:pt x="4352" y="11282"/>
                  </a:cubicBezTo>
                  <a:cubicBezTo>
                    <a:pt x="41275" y="-13333"/>
                    <a:pt x="78198" y="8205"/>
                    <a:pt x="90505" y="20513"/>
                  </a:cubicBezTo>
                  <a:cubicBezTo>
                    <a:pt x="93582" y="23590"/>
                    <a:pt x="93582" y="29744"/>
                    <a:pt x="90505" y="32821"/>
                  </a:cubicBezTo>
                  <a:cubicBezTo>
                    <a:pt x="90505" y="35898"/>
                    <a:pt x="87429" y="35898"/>
                    <a:pt x="87429" y="35898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7F065E08-AC57-4493-98A1-557A1F893BBD}"/>
                </a:ext>
              </a:extLst>
            </p:cNvPr>
            <p:cNvSpPr/>
            <p:nvPr/>
          </p:nvSpPr>
          <p:spPr>
            <a:xfrm>
              <a:off x="8712153" y="4863873"/>
              <a:ext cx="234351" cy="61538"/>
            </a:xfrm>
            <a:custGeom>
              <a:avLst/>
              <a:gdLst>
                <a:gd name="connsiteX0" fmla="*/ 82308 w 234351"/>
                <a:gd name="connsiteY0" fmla="*/ 61538 h 61538"/>
                <a:gd name="connsiteX1" fmla="*/ 82308 w 234351"/>
                <a:gd name="connsiteY1" fmla="*/ 61538 h 61538"/>
                <a:gd name="connsiteX2" fmla="*/ 2308 w 234351"/>
                <a:gd name="connsiteY2" fmla="*/ 33846 h 61538"/>
                <a:gd name="connsiteX3" fmla="*/ 2308 w 234351"/>
                <a:gd name="connsiteY3" fmla="*/ 24615 h 61538"/>
                <a:gd name="connsiteX4" fmla="*/ 11538 w 234351"/>
                <a:gd name="connsiteY4" fmla="*/ 24615 h 61538"/>
                <a:gd name="connsiteX5" fmla="*/ 82308 w 234351"/>
                <a:gd name="connsiteY5" fmla="*/ 49230 h 61538"/>
                <a:gd name="connsiteX6" fmla="*/ 82308 w 234351"/>
                <a:gd name="connsiteY6" fmla="*/ 49230 h 61538"/>
                <a:gd name="connsiteX7" fmla="*/ 223846 w 234351"/>
                <a:gd name="connsiteY7" fmla="*/ 0 h 61538"/>
                <a:gd name="connsiteX8" fmla="*/ 233077 w 234351"/>
                <a:gd name="connsiteY8" fmla="*/ 3077 h 61538"/>
                <a:gd name="connsiteX9" fmla="*/ 230000 w 234351"/>
                <a:gd name="connsiteY9" fmla="*/ 12308 h 61538"/>
                <a:gd name="connsiteX10" fmla="*/ 82308 w 234351"/>
                <a:gd name="connsiteY10" fmla="*/ 61538 h 6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4351" h="61538">
                  <a:moveTo>
                    <a:pt x="82308" y="61538"/>
                  </a:moveTo>
                  <a:cubicBezTo>
                    <a:pt x="82308" y="61538"/>
                    <a:pt x="82308" y="61538"/>
                    <a:pt x="82308" y="61538"/>
                  </a:cubicBezTo>
                  <a:cubicBezTo>
                    <a:pt x="39230" y="61538"/>
                    <a:pt x="5385" y="33846"/>
                    <a:pt x="2308" y="33846"/>
                  </a:cubicBezTo>
                  <a:cubicBezTo>
                    <a:pt x="-769" y="30769"/>
                    <a:pt x="-769" y="27692"/>
                    <a:pt x="2308" y="24615"/>
                  </a:cubicBezTo>
                  <a:cubicBezTo>
                    <a:pt x="5385" y="21538"/>
                    <a:pt x="8461" y="21538"/>
                    <a:pt x="11538" y="24615"/>
                  </a:cubicBezTo>
                  <a:cubicBezTo>
                    <a:pt x="11538" y="24615"/>
                    <a:pt x="42307" y="49230"/>
                    <a:pt x="82308" y="49230"/>
                  </a:cubicBezTo>
                  <a:cubicBezTo>
                    <a:pt x="82308" y="49230"/>
                    <a:pt x="82308" y="49230"/>
                    <a:pt x="82308" y="49230"/>
                  </a:cubicBezTo>
                  <a:cubicBezTo>
                    <a:pt x="131538" y="49230"/>
                    <a:pt x="220770" y="0"/>
                    <a:pt x="223846" y="0"/>
                  </a:cubicBezTo>
                  <a:cubicBezTo>
                    <a:pt x="226923" y="0"/>
                    <a:pt x="230000" y="0"/>
                    <a:pt x="233077" y="3077"/>
                  </a:cubicBezTo>
                  <a:cubicBezTo>
                    <a:pt x="236154" y="6154"/>
                    <a:pt x="233077" y="9230"/>
                    <a:pt x="230000" y="12308"/>
                  </a:cubicBezTo>
                  <a:cubicBezTo>
                    <a:pt x="223846" y="12308"/>
                    <a:pt x="134615" y="61538"/>
                    <a:pt x="82308" y="61538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D87288FB-7708-41CE-9EDF-BE486FCEF77B}"/>
                </a:ext>
              </a:extLst>
            </p:cNvPr>
            <p:cNvSpPr/>
            <p:nvPr/>
          </p:nvSpPr>
          <p:spPr>
            <a:xfrm>
              <a:off x="8963692" y="4371565"/>
              <a:ext cx="101911" cy="270768"/>
            </a:xfrm>
            <a:custGeom>
              <a:avLst/>
              <a:gdLst>
                <a:gd name="connsiteX0" fmla="*/ 0 w 101911"/>
                <a:gd name="connsiteY0" fmla="*/ 129231 h 270768"/>
                <a:gd name="connsiteX1" fmla="*/ 49230 w 101911"/>
                <a:gd name="connsiteY1" fmla="*/ 270769 h 270768"/>
                <a:gd name="connsiteX2" fmla="*/ 95384 w 101911"/>
                <a:gd name="connsiteY2" fmla="*/ 163077 h 270768"/>
                <a:gd name="connsiteX3" fmla="*/ 49230 w 101911"/>
                <a:gd name="connsiteY3" fmla="*/ 0 h 270768"/>
                <a:gd name="connsiteX4" fmla="*/ 0 w 101911"/>
                <a:gd name="connsiteY4" fmla="*/ 129231 h 27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11" h="270768">
                  <a:moveTo>
                    <a:pt x="0" y="129231"/>
                  </a:moveTo>
                  <a:cubicBezTo>
                    <a:pt x="0" y="129231"/>
                    <a:pt x="55384" y="240000"/>
                    <a:pt x="49230" y="270769"/>
                  </a:cubicBezTo>
                  <a:cubicBezTo>
                    <a:pt x="49230" y="270769"/>
                    <a:pt x="79999" y="252308"/>
                    <a:pt x="95384" y="163077"/>
                  </a:cubicBezTo>
                  <a:cubicBezTo>
                    <a:pt x="104615" y="101538"/>
                    <a:pt x="113846" y="15385"/>
                    <a:pt x="49230" y="0"/>
                  </a:cubicBezTo>
                  <a:cubicBezTo>
                    <a:pt x="49230" y="0"/>
                    <a:pt x="43077" y="107692"/>
                    <a:pt x="0" y="129231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DC2E3EB9-E037-4B99-88A4-DF7640564CFF}"/>
                </a:ext>
              </a:extLst>
            </p:cNvPr>
            <p:cNvSpPr/>
            <p:nvPr/>
          </p:nvSpPr>
          <p:spPr>
            <a:xfrm>
              <a:off x="8517538" y="4253255"/>
              <a:ext cx="506547" cy="256802"/>
            </a:xfrm>
            <a:custGeom>
              <a:avLst/>
              <a:gdLst>
                <a:gd name="connsiteX0" fmla="*/ 446154 w 506547"/>
                <a:gd name="connsiteY0" fmla="*/ 247541 h 256802"/>
                <a:gd name="connsiteX1" fmla="*/ 323077 w 506547"/>
                <a:gd name="connsiteY1" fmla="*/ 207541 h 256802"/>
                <a:gd name="connsiteX2" fmla="*/ 0 w 506547"/>
                <a:gd name="connsiteY2" fmla="*/ 195233 h 256802"/>
                <a:gd name="connsiteX3" fmla="*/ 375384 w 506547"/>
                <a:gd name="connsiteY3" fmla="*/ 10618 h 256802"/>
                <a:gd name="connsiteX4" fmla="*/ 495384 w 506547"/>
                <a:gd name="connsiteY4" fmla="*/ 118310 h 256802"/>
                <a:gd name="connsiteX5" fmla="*/ 446154 w 506547"/>
                <a:gd name="connsiteY5" fmla="*/ 247541 h 256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6547" h="256802">
                  <a:moveTo>
                    <a:pt x="446154" y="247541"/>
                  </a:moveTo>
                  <a:cubicBezTo>
                    <a:pt x="446154" y="247541"/>
                    <a:pt x="350769" y="207541"/>
                    <a:pt x="323077" y="207541"/>
                  </a:cubicBezTo>
                  <a:cubicBezTo>
                    <a:pt x="221538" y="210618"/>
                    <a:pt x="92308" y="324464"/>
                    <a:pt x="0" y="195233"/>
                  </a:cubicBezTo>
                  <a:cubicBezTo>
                    <a:pt x="46154" y="93694"/>
                    <a:pt x="209230" y="-38613"/>
                    <a:pt x="375384" y="10618"/>
                  </a:cubicBezTo>
                  <a:cubicBezTo>
                    <a:pt x="455384" y="32156"/>
                    <a:pt x="489231" y="81386"/>
                    <a:pt x="495384" y="118310"/>
                  </a:cubicBezTo>
                  <a:cubicBezTo>
                    <a:pt x="495384" y="118310"/>
                    <a:pt x="541538" y="235233"/>
                    <a:pt x="446154" y="247541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22CC5030-234E-4317-9E4E-A85C33CFC774}"/>
                </a:ext>
              </a:extLst>
            </p:cNvPr>
            <p:cNvSpPr/>
            <p:nvPr/>
          </p:nvSpPr>
          <p:spPr>
            <a:xfrm>
              <a:off x="8999247" y="4608295"/>
              <a:ext cx="79351" cy="111522"/>
            </a:xfrm>
            <a:custGeom>
              <a:avLst/>
              <a:gdLst>
                <a:gd name="connsiteX0" fmla="*/ 13675 w 79351"/>
                <a:gd name="connsiteY0" fmla="*/ 15577 h 111522"/>
                <a:gd name="connsiteX1" fmla="*/ 72138 w 79351"/>
                <a:gd name="connsiteY1" fmla="*/ 6346 h 111522"/>
                <a:gd name="connsiteX2" fmla="*/ 13675 w 79351"/>
                <a:gd name="connsiteY2" fmla="*/ 107885 h 111522"/>
                <a:gd name="connsiteX3" fmla="*/ 13675 w 79351"/>
                <a:gd name="connsiteY3" fmla="*/ 15577 h 111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51" h="111522">
                  <a:moveTo>
                    <a:pt x="13675" y="15577"/>
                  </a:moveTo>
                  <a:cubicBezTo>
                    <a:pt x="13675" y="15577"/>
                    <a:pt x="47522" y="-12116"/>
                    <a:pt x="72138" y="6346"/>
                  </a:cubicBezTo>
                  <a:cubicBezTo>
                    <a:pt x="96753" y="24808"/>
                    <a:pt x="53676" y="132500"/>
                    <a:pt x="13675" y="107885"/>
                  </a:cubicBezTo>
                  <a:cubicBezTo>
                    <a:pt x="-17094" y="89423"/>
                    <a:pt x="13675" y="15577"/>
                    <a:pt x="13675" y="15577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FEE7BE23-A547-4408-B85F-6CD991453156}"/>
                </a:ext>
              </a:extLst>
            </p:cNvPr>
            <p:cNvSpPr/>
            <p:nvPr/>
          </p:nvSpPr>
          <p:spPr>
            <a:xfrm>
              <a:off x="8720614" y="4799257"/>
              <a:ext cx="107692" cy="52307"/>
            </a:xfrm>
            <a:custGeom>
              <a:avLst/>
              <a:gdLst>
                <a:gd name="connsiteX0" fmla="*/ 0 w 107692"/>
                <a:gd name="connsiteY0" fmla="*/ 0 h 52307"/>
                <a:gd name="connsiteX1" fmla="*/ 107692 w 107692"/>
                <a:gd name="connsiteY1" fmla="*/ 0 h 52307"/>
                <a:gd name="connsiteX2" fmla="*/ 46154 w 107692"/>
                <a:gd name="connsiteY2" fmla="*/ 52308 h 52307"/>
                <a:gd name="connsiteX3" fmla="*/ 0 w 107692"/>
                <a:gd name="connsiteY3" fmla="*/ 0 h 5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92" h="52307">
                  <a:moveTo>
                    <a:pt x="0" y="0"/>
                  </a:moveTo>
                  <a:cubicBezTo>
                    <a:pt x="46154" y="15385"/>
                    <a:pt x="107692" y="0"/>
                    <a:pt x="107692" y="0"/>
                  </a:cubicBezTo>
                  <a:cubicBezTo>
                    <a:pt x="107692" y="0"/>
                    <a:pt x="86154" y="52308"/>
                    <a:pt x="46154" y="52308"/>
                  </a:cubicBezTo>
                  <a:cubicBezTo>
                    <a:pt x="18462" y="52308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2ADE7F4D-1C00-48B2-8555-F15E0E4C7C7C}"/>
                </a:ext>
              </a:extLst>
            </p:cNvPr>
            <p:cNvSpPr/>
            <p:nvPr/>
          </p:nvSpPr>
          <p:spPr>
            <a:xfrm>
              <a:off x="8499076" y="5433103"/>
              <a:ext cx="178461" cy="203076"/>
            </a:xfrm>
            <a:custGeom>
              <a:avLst/>
              <a:gdLst>
                <a:gd name="connsiteX0" fmla="*/ 73846 w 178461"/>
                <a:gd name="connsiteY0" fmla="*/ 200000 h 203076"/>
                <a:gd name="connsiteX1" fmla="*/ 70769 w 178461"/>
                <a:gd name="connsiteY1" fmla="*/ 196923 h 203076"/>
                <a:gd name="connsiteX2" fmla="*/ 3077 w 178461"/>
                <a:gd name="connsiteY2" fmla="*/ 129231 h 203076"/>
                <a:gd name="connsiteX3" fmla="*/ 0 w 178461"/>
                <a:gd name="connsiteY3" fmla="*/ 126154 h 203076"/>
                <a:gd name="connsiteX4" fmla="*/ 0 w 178461"/>
                <a:gd name="connsiteY4" fmla="*/ 9230 h 203076"/>
                <a:gd name="connsiteX5" fmla="*/ 6153 w 178461"/>
                <a:gd name="connsiteY5" fmla="*/ 3077 h 203076"/>
                <a:gd name="connsiteX6" fmla="*/ 172308 w 178461"/>
                <a:gd name="connsiteY6" fmla="*/ 0 h 203076"/>
                <a:gd name="connsiteX7" fmla="*/ 178461 w 178461"/>
                <a:gd name="connsiteY7" fmla="*/ 3077 h 203076"/>
                <a:gd name="connsiteX8" fmla="*/ 178461 w 178461"/>
                <a:gd name="connsiteY8" fmla="*/ 9230 h 203076"/>
                <a:gd name="connsiteX9" fmla="*/ 166154 w 178461"/>
                <a:gd name="connsiteY9" fmla="*/ 129231 h 203076"/>
                <a:gd name="connsiteX10" fmla="*/ 163077 w 178461"/>
                <a:gd name="connsiteY10" fmla="*/ 135384 h 203076"/>
                <a:gd name="connsiteX11" fmla="*/ 73846 w 178461"/>
                <a:gd name="connsiteY11" fmla="*/ 203077 h 203076"/>
                <a:gd name="connsiteX12" fmla="*/ 73846 w 178461"/>
                <a:gd name="connsiteY12" fmla="*/ 200000 h 203076"/>
                <a:gd name="connsiteX13" fmla="*/ 12308 w 178461"/>
                <a:gd name="connsiteY13" fmla="*/ 126154 h 203076"/>
                <a:gd name="connsiteX14" fmla="*/ 73846 w 178461"/>
                <a:gd name="connsiteY14" fmla="*/ 187692 h 203076"/>
                <a:gd name="connsiteX15" fmla="*/ 156923 w 178461"/>
                <a:gd name="connsiteY15" fmla="*/ 126154 h 203076"/>
                <a:gd name="connsiteX16" fmla="*/ 166154 w 178461"/>
                <a:gd name="connsiteY16" fmla="*/ 15385 h 203076"/>
                <a:gd name="connsiteX17" fmla="*/ 12308 w 178461"/>
                <a:gd name="connsiteY17" fmla="*/ 18461 h 203076"/>
                <a:gd name="connsiteX18" fmla="*/ 12308 w 178461"/>
                <a:gd name="connsiteY18" fmla="*/ 126154 h 20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8461" h="203076">
                  <a:moveTo>
                    <a:pt x="73846" y="200000"/>
                  </a:moveTo>
                  <a:cubicBezTo>
                    <a:pt x="73846" y="200000"/>
                    <a:pt x="70769" y="200000"/>
                    <a:pt x="70769" y="196923"/>
                  </a:cubicBezTo>
                  <a:lnTo>
                    <a:pt x="3077" y="129231"/>
                  </a:lnTo>
                  <a:cubicBezTo>
                    <a:pt x="3077" y="129231"/>
                    <a:pt x="0" y="126154"/>
                    <a:pt x="0" y="126154"/>
                  </a:cubicBezTo>
                  <a:lnTo>
                    <a:pt x="0" y="9230"/>
                  </a:lnTo>
                  <a:cubicBezTo>
                    <a:pt x="0" y="6154"/>
                    <a:pt x="3077" y="3077"/>
                    <a:pt x="6153" y="3077"/>
                  </a:cubicBezTo>
                  <a:lnTo>
                    <a:pt x="172308" y="0"/>
                  </a:lnTo>
                  <a:cubicBezTo>
                    <a:pt x="175384" y="0"/>
                    <a:pt x="175384" y="0"/>
                    <a:pt x="178461" y="3077"/>
                  </a:cubicBezTo>
                  <a:cubicBezTo>
                    <a:pt x="178461" y="3077"/>
                    <a:pt x="178461" y="6154"/>
                    <a:pt x="178461" y="9230"/>
                  </a:cubicBezTo>
                  <a:cubicBezTo>
                    <a:pt x="166154" y="46154"/>
                    <a:pt x="166154" y="126154"/>
                    <a:pt x="166154" y="129231"/>
                  </a:cubicBezTo>
                  <a:cubicBezTo>
                    <a:pt x="166154" y="132307"/>
                    <a:pt x="166154" y="132307"/>
                    <a:pt x="163077" y="135384"/>
                  </a:cubicBezTo>
                  <a:lnTo>
                    <a:pt x="73846" y="203077"/>
                  </a:lnTo>
                  <a:cubicBezTo>
                    <a:pt x="73846" y="200000"/>
                    <a:pt x="73846" y="200000"/>
                    <a:pt x="73846" y="200000"/>
                  </a:cubicBezTo>
                  <a:close/>
                  <a:moveTo>
                    <a:pt x="12308" y="126154"/>
                  </a:moveTo>
                  <a:lnTo>
                    <a:pt x="73846" y="187692"/>
                  </a:lnTo>
                  <a:lnTo>
                    <a:pt x="156923" y="126154"/>
                  </a:lnTo>
                  <a:cubicBezTo>
                    <a:pt x="156923" y="110769"/>
                    <a:pt x="156923" y="52308"/>
                    <a:pt x="166154" y="15385"/>
                  </a:cubicBezTo>
                  <a:lnTo>
                    <a:pt x="12308" y="18461"/>
                  </a:lnTo>
                  <a:lnTo>
                    <a:pt x="12308" y="126154"/>
                  </a:ln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811CED34-A9B8-4200-8CE8-90F592122E33}"/>
                </a:ext>
              </a:extLst>
            </p:cNvPr>
            <p:cNvSpPr/>
            <p:nvPr/>
          </p:nvSpPr>
          <p:spPr>
            <a:xfrm>
              <a:off x="8834461" y="4417719"/>
              <a:ext cx="167428" cy="86153"/>
            </a:xfrm>
            <a:custGeom>
              <a:avLst/>
              <a:gdLst>
                <a:gd name="connsiteX0" fmla="*/ 129231 w 167428"/>
                <a:gd name="connsiteY0" fmla="*/ 86153 h 86153"/>
                <a:gd name="connsiteX1" fmla="*/ 129231 w 167428"/>
                <a:gd name="connsiteY1" fmla="*/ 86153 h 86153"/>
                <a:gd name="connsiteX2" fmla="*/ 6154 w 167428"/>
                <a:gd name="connsiteY2" fmla="*/ 46154 h 86153"/>
                <a:gd name="connsiteX3" fmla="*/ 0 w 167428"/>
                <a:gd name="connsiteY3" fmla="*/ 40000 h 86153"/>
                <a:gd name="connsiteX4" fmla="*/ 6154 w 167428"/>
                <a:gd name="connsiteY4" fmla="*/ 33846 h 86153"/>
                <a:gd name="connsiteX5" fmla="*/ 6154 w 167428"/>
                <a:gd name="connsiteY5" fmla="*/ 33846 h 86153"/>
                <a:gd name="connsiteX6" fmla="*/ 126154 w 167428"/>
                <a:gd name="connsiteY6" fmla="*/ 70769 h 86153"/>
                <a:gd name="connsiteX7" fmla="*/ 156923 w 167428"/>
                <a:gd name="connsiteY7" fmla="*/ 3077 h 86153"/>
                <a:gd name="connsiteX8" fmla="*/ 163077 w 167428"/>
                <a:gd name="connsiteY8" fmla="*/ 0 h 86153"/>
                <a:gd name="connsiteX9" fmla="*/ 166154 w 167428"/>
                <a:gd name="connsiteY9" fmla="*/ 6154 h 86153"/>
                <a:gd name="connsiteX10" fmla="*/ 129231 w 167428"/>
                <a:gd name="connsiteY10" fmla="*/ 80000 h 86153"/>
                <a:gd name="connsiteX11" fmla="*/ 129231 w 167428"/>
                <a:gd name="connsiteY11" fmla="*/ 86153 h 8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7428" h="86153">
                  <a:moveTo>
                    <a:pt x="129231" y="86153"/>
                  </a:moveTo>
                  <a:cubicBezTo>
                    <a:pt x="129231" y="86153"/>
                    <a:pt x="129231" y="86153"/>
                    <a:pt x="129231" y="86153"/>
                  </a:cubicBezTo>
                  <a:cubicBezTo>
                    <a:pt x="126154" y="86153"/>
                    <a:pt x="52308" y="49230"/>
                    <a:pt x="6154" y="46154"/>
                  </a:cubicBezTo>
                  <a:cubicBezTo>
                    <a:pt x="3077" y="46154"/>
                    <a:pt x="0" y="43077"/>
                    <a:pt x="0" y="40000"/>
                  </a:cubicBezTo>
                  <a:cubicBezTo>
                    <a:pt x="0" y="36923"/>
                    <a:pt x="3077" y="33846"/>
                    <a:pt x="6154" y="33846"/>
                  </a:cubicBezTo>
                  <a:lnTo>
                    <a:pt x="6154" y="33846"/>
                  </a:lnTo>
                  <a:cubicBezTo>
                    <a:pt x="49231" y="33846"/>
                    <a:pt x="110769" y="61538"/>
                    <a:pt x="126154" y="70769"/>
                  </a:cubicBezTo>
                  <a:cubicBezTo>
                    <a:pt x="144616" y="46154"/>
                    <a:pt x="156923" y="6154"/>
                    <a:pt x="156923" y="3077"/>
                  </a:cubicBezTo>
                  <a:cubicBezTo>
                    <a:pt x="156923" y="0"/>
                    <a:pt x="160000" y="0"/>
                    <a:pt x="163077" y="0"/>
                  </a:cubicBezTo>
                  <a:cubicBezTo>
                    <a:pt x="166154" y="0"/>
                    <a:pt x="169231" y="3077"/>
                    <a:pt x="166154" y="6154"/>
                  </a:cubicBezTo>
                  <a:cubicBezTo>
                    <a:pt x="166154" y="9230"/>
                    <a:pt x="150769" y="55384"/>
                    <a:pt x="129231" y="80000"/>
                  </a:cubicBezTo>
                  <a:cubicBezTo>
                    <a:pt x="135384" y="86153"/>
                    <a:pt x="132307" y="86153"/>
                    <a:pt x="129231" y="86153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7" name="图形 1">
              <a:extLst>
                <a:ext uri="{FF2B5EF4-FFF2-40B4-BE49-F238E27FC236}">
                  <a16:creationId xmlns:a16="http://schemas.microsoft.com/office/drawing/2014/main" id="{3C303662-329C-4EA1-AF82-F1B7063346CD}"/>
                </a:ext>
              </a:extLst>
            </p:cNvPr>
            <p:cNvGrpSpPr/>
            <p:nvPr/>
          </p:nvGrpSpPr>
          <p:grpSpPr>
            <a:xfrm>
              <a:off x="7194119" y="5266949"/>
              <a:ext cx="209695" cy="150769"/>
              <a:chOff x="7194119" y="5266949"/>
              <a:chExt cx="209695" cy="150769"/>
            </a:xfrm>
          </p:grpSpPr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AE24E644-0DD3-480E-A602-262A63BA4BAF}"/>
                  </a:ext>
                </a:extLst>
              </p:cNvPr>
              <p:cNvSpPr/>
              <p:nvPr/>
            </p:nvSpPr>
            <p:spPr>
              <a:xfrm>
                <a:off x="7323499" y="5269242"/>
                <a:ext cx="76523" cy="138665"/>
              </a:xfrm>
              <a:custGeom>
                <a:avLst/>
                <a:gdLst>
                  <a:gd name="connsiteX0" fmla="*/ 67885 w 76523"/>
                  <a:gd name="connsiteY0" fmla="*/ 16169 h 138665"/>
                  <a:gd name="connsiteX1" fmla="*/ 70962 w 76523"/>
                  <a:gd name="connsiteY1" fmla="*/ 102323 h 138665"/>
                  <a:gd name="connsiteX2" fmla="*/ 70962 w 76523"/>
                  <a:gd name="connsiteY2" fmla="*/ 117707 h 138665"/>
                  <a:gd name="connsiteX3" fmla="*/ 64808 w 76523"/>
                  <a:gd name="connsiteY3" fmla="*/ 130015 h 138665"/>
                  <a:gd name="connsiteX4" fmla="*/ 15577 w 76523"/>
                  <a:gd name="connsiteY4" fmla="*/ 133092 h 138665"/>
                  <a:gd name="connsiteX5" fmla="*/ 192 w 76523"/>
                  <a:gd name="connsiteY5" fmla="*/ 90015 h 138665"/>
                  <a:gd name="connsiteX6" fmla="*/ 6347 w 76523"/>
                  <a:gd name="connsiteY6" fmla="*/ 34630 h 138665"/>
                  <a:gd name="connsiteX7" fmla="*/ 24808 w 76523"/>
                  <a:gd name="connsiteY7" fmla="*/ 784 h 138665"/>
                  <a:gd name="connsiteX8" fmla="*/ 67885 w 76523"/>
                  <a:gd name="connsiteY8" fmla="*/ 16169 h 138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6523" h="138665">
                    <a:moveTo>
                      <a:pt x="67885" y="16169"/>
                    </a:moveTo>
                    <a:cubicBezTo>
                      <a:pt x="83270" y="40784"/>
                      <a:pt x="74038" y="71554"/>
                      <a:pt x="70962" y="102323"/>
                    </a:cubicBezTo>
                    <a:cubicBezTo>
                      <a:pt x="70962" y="105399"/>
                      <a:pt x="74038" y="114630"/>
                      <a:pt x="70962" y="117707"/>
                    </a:cubicBezTo>
                    <a:cubicBezTo>
                      <a:pt x="70962" y="120784"/>
                      <a:pt x="67885" y="126938"/>
                      <a:pt x="64808" y="130015"/>
                    </a:cubicBezTo>
                    <a:cubicBezTo>
                      <a:pt x="55578" y="139246"/>
                      <a:pt x="34039" y="142322"/>
                      <a:pt x="15577" y="133092"/>
                    </a:cubicBezTo>
                    <a:cubicBezTo>
                      <a:pt x="-2885" y="123861"/>
                      <a:pt x="192" y="102323"/>
                      <a:pt x="192" y="90015"/>
                    </a:cubicBezTo>
                    <a:cubicBezTo>
                      <a:pt x="192" y="71554"/>
                      <a:pt x="3269" y="53092"/>
                      <a:pt x="6347" y="34630"/>
                    </a:cubicBezTo>
                    <a:cubicBezTo>
                      <a:pt x="9424" y="22323"/>
                      <a:pt x="9424" y="6938"/>
                      <a:pt x="24808" y="784"/>
                    </a:cubicBezTo>
                    <a:cubicBezTo>
                      <a:pt x="43269" y="-2293"/>
                      <a:pt x="61731" y="3861"/>
                      <a:pt x="67885" y="16169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2CB01085-B80B-4453-A25E-3464E517CA3C}"/>
                  </a:ext>
                </a:extLst>
              </p:cNvPr>
              <p:cNvSpPr/>
              <p:nvPr/>
            </p:nvSpPr>
            <p:spPr>
              <a:xfrm>
                <a:off x="7268115" y="5272499"/>
                <a:ext cx="82913" cy="138484"/>
              </a:xfrm>
              <a:custGeom>
                <a:avLst/>
                <a:gdLst>
                  <a:gd name="connsiteX0" fmla="*/ 67884 w 82913"/>
                  <a:gd name="connsiteY0" fmla="*/ 15988 h 138484"/>
                  <a:gd name="connsiteX1" fmla="*/ 74038 w 82913"/>
                  <a:gd name="connsiteY1" fmla="*/ 111373 h 138484"/>
                  <a:gd name="connsiteX2" fmla="*/ 70961 w 82913"/>
                  <a:gd name="connsiteY2" fmla="*/ 117527 h 138484"/>
                  <a:gd name="connsiteX3" fmla="*/ 64808 w 82913"/>
                  <a:gd name="connsiteY3" fmla="*/ 129835 h 138484"/>
                  <a:gd name="connsiteX4" fmla="*/ 15577 w 82913"/>
                  <a:gd name="connsiteY4" fmla="*/ 132911 h 138484"/>
                  <a:gd name="connsiteX5" fmla="*/ 192 w 82913"/>
                  <a:gd name="connsiteY5" fmla="*/ 89834 h 138484"/>
                  <a:gd name="connsiteX6" fmla="*/ 6346 w 82913"/>
                  <a:gd name="connsiteY6" fmla="*/ 34450 h 138484"/>
                  <a:gd name="connsiteX7" fmla="*/ 24807 w 82913"/>
                  <a:gd name="connsiteY7" fmla="*/ 603 h 138484"/>
                  <a:gd name="connsiteX8" fmla="*/ 67884 w 82913"/>
                  <a:gd name="connsiteY8" fmla="*/ 15988 h 13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2913" h="138484">
                    <a:moveTo>
                      <a:pt x="67884" y="15988"/>
                    </a:moveTo>
                    <a:cubicBezTo>
                      <a:pt x="95577" y="46757"/>
                      <a:pt x="77115" y="80604"/>
                      <a:pt x="74038" y="111373"/>
                    </a:cubicBezTo>
                    <a:cubicBezTo>
                      <a:pt x="74038" y="114450"/>
                      <a:pt x="74038" y="117527"/>
                      <a:pt x="70961" y="117527"/>
                    </a:cubicBezTo>
                    <a:cubicBezTo>
                      <a:pt x="70961" y="120604"/>
                      <a:pt x="67884" y="126757"/>
                      <a:pt x="64808" y="129835"/>
                    </a:cubicBezTo>
                    <a:cubicBezTo>
                      <a:pt x="55577" y="139065"/>
                      <a:pt x="34039" y="142142"/>
                      <a:pt x="15577" y="132911"/>
                    </a:cubicBezTo>
                    <a:cubicBezTo>
                      <a:pt x="-2885" y="123680"/>
                      <a:pt x="192" y="102142"/>
                      <a:pt x="192" y="89834"/>
                    </a:cubicBezTo>
                    <a:cubicBezTo>
                      <a:pt x="192" y="71373"/>
                      <a:pt x="3269" y="52912"/>
                      <a:pt x="6346" y="34450"/>
                    </a:cubicBezTo>
                    <a:cubicBezTo>
                      <a:pt x="9423" y="22142"/>
                      <a:pt x="9423" y="6758"/>
                      <a:pt x="24807" y="603"/>
                    </a:cubicBezTo>
                    <a:cubicBezTo>
                      <a:pt x="43269" y="-2473"/>
                      <a:pt x="61731" y="6758"/>
                      <a:pt x="67884" y="15988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5809E965-B021-4BDA-873D-61F1A54D69F2}"/>
                  </a:ext>
                </a:extLst>
              </p:cNvPr>
              <p:cNvSpPr/>
              <p:nvPr/>
            </p:nvSpPr>
            <p:spPr>
              <a:xfrm>
                <a:off x="7228306" y="5270026"/>
                <a:ext cx="69363" cy="122496"/>
              </a:xfrm>
              <a:custGeom>
                <a:avLst/>
                <a:gdLst>
                  <a:gd name="connsiteX0" fmla="*/ 55385 w 69363"/>
                  <a:gd name="connsiteY0" fmla="*/ 15385 h 122496"/>
                  <a:gd name="connsiteX1" fmla="*/ 64616 w 69363"/>
                  <a:gd name="connsiteY1" fmla="*/ 98461 h 122496"/>
                  <a:gd name="connsiteX2" fmla="*/ 61538 w 69363"/>
                  <a:gd name="connsiteY2" fmla="*/ 104615 h 122496"/>
                  <a:gd name="connsiteX3" fmla="*/ 55385 w 69363"/>
                  <a:gd name="connsiteY3" fmla="*/ 113846 h 122496"/>
                  <a:gd name="connsiteX4" fmla="*/ 15385 w 69363"/>
                  <a:gd name="connsiteY4" fmla="*/ 116923 h 122496"/>
                  <a:gd name="connsiteX5" fmla="*/ 0 w 69363"/>
                  <a:gd name="connsiteY5" fmla="*/ 80000 h 122496"/>
                  <a:gd name="connsiteX6" fmla="*/ 3077 w 69363"/>
                  <a:gd name="connsiteY6" fmla="*/ 30769 h 122496"/>
                  <a:gd name="connsiteX7" fmla="*/ 18462 w 69363"/>
                  <a:gd name="connsiteY7" fmla="*/ 0 h 122496"/>
                  <a:gd name="connsiteX8" fmla="*/ 55385 w 69363"/>
                  <a:gd name="connsiteY8" fmla="*/ 15385 h 122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9363" h="122496">
                    <a:moveTo>
                      <a:pt x="55385" y="15385"/>
                    </a:moveTo>
                    <a:cubicBezTo>
                      <a:pt x="80000" y="43077"/>
                      <a:pt x="64616" y="70769"/>
                      <a:pt x="64616" y="98461"/>
                    </a:cubicBezTo>
                    <a:cubicBezTo>
                      <a:pt x="64616" y="101539"/>
                      <a:pt x="64616" y="101539"/>
                      <a:pt x="61538" y="104615"/>
                    </a:cubicBezTo>
                    <a:cubicBezTo>
                      <a:pt x="61538" y="107692"/>
                      <a:pt x="58462" y="110769"/>
                      <a:pt x="55385" y="113846"/>
                    </a:cubicBezTo>
                    <a:cubicBezTo>
                      <a:pt x="46154" y="123077"/>
                      <a:pt x="30769" y="126154"/>
                      <a:pt x="15385" y="116923"/>
                    </a:cubicBezTo>
                    <a:cubicBezTo>
                      <a:pt x="0" y="107692"/>
                      <a:pt x="3077" y="89231"/>
                      <a:pt x="0" y="80000"/>
                    </a:cubicBezTo>
                    <a:cubicBezTo>
                      <a:pt x="0" y="64615"/>
                      <a:pt x="0" y="46154"/>
                      <a:pt x="3077" y="30769"/>
                    </a:cubicBezTo>
                    <a:cubicBezTo>
                      <a:pt x="3077" y="21538"/>
                      <a:pt x="3077" y="6154"/>
                      <a:pt x="18462" y="0"/>
                    </a:cubicBezTo>
                    <a:cubicBezTo>
                      <a:pt x="33846" y="0"/>
                      <a:pt x="49231" y="6154"/>
                      <a:pt x="55385" y="15385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1BC0A433-5AA6-43CA-879E-5D7C869354AF}"/>
                  </a:ext>
                </a:extLst>
              </p:cNvPr>
              <p:cNvSpPr/>
              <p:nvPr/>
            </p:nvSpPr>
            <p:spPr>
              <a:xfrm>
                <a:off x="7194119" y="5278439"/>
                <a:ext cx="50514" cy="90326"/>
              </a:xfrm>
              <a:custGeom>
                <a:avLst/>
                <a:gdLst>
                  <a:gd name="connsiteX0" fmla="*/ 40342 w 50514"/>
                  <a:gd name="connsiteY0" fmla="*/ 10049 h 90326"/>
                  <a:gd name="connsiteX1" fmla="*/ 46496 w 50514"/>
                  <a:gd name="connsiteY1" fmla="*/ 71587 h 90326"/>
                  <a:gd name="connsiteX2" fmla="*/ 43419 w 50514"/>
                  <a:gd name="connsiteY2" fmla="*/ 74664 h 90326"/>
                  <a:gd name="connsiteX3" fmla="*/ 40342 w 50514"/>
                  <a:gd name="connsiteY3" fmla="*/ 83895 h 90326"/>
                  <a:gd name="connsiteX4" fmla="*/ 9572 w 50514"/>
                  <a:gd name="connsiteY4" fmla="*/ 86972 h 90326"/>
                  <a:gd name="connsiteX5" fmla="*/ 342 w 50514"/>
                  <a:gd name="connsiteY5" fmla="*/ 59280 h 90326"/>
                  <a:gd name="connsiteX6" fmla="*/ 3418 w 50514"/>
                  <a:gd name="connsiteY6" fmla="*/ 22357 h 90326"/>
                  <a:gd name="connsiteX7" fmla="*/ 15727 w 50514"/>
                  <a:gd name="connsiteY7" fmla="*/ 819 h 90326"/>
                  <a:gd name="connsiteX8" fmla="*/ 40342 w 50514"/>
                  <a:gd name="connsiteY8" fmla="*/ 10049 h 90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14" h="90326">
                    <a:moveTo>
                      <a:pt x="40342" y="10049"/>
                    </a:moveTo>
                    <a:cubicBezTo>
                      <a:pt x="58803" y="31588"/>
                      <a:pt x="46496" y="50049"/>
                      <a:pt x="46496" y="71587"/>
                    </a:cubicBezTo>
                    <a:cubicBezTo>
                      <a:pt x="46496" y="74664"/>
                      <a:pt x="46496" y="74664"/>
                      <a:pt x="43419" y="74664"/>
                    </a:cubicBezTo>
                    <a:cubicBezTo>
                      <a:pt x="43419" y="77742"/>
                      <a:pt x="40342" y="80818"/>
                      <a:pt x="40342" y="83895"/>
                    </a:cubicBezTo>
                    <a:cubicBezTo>
                      <a:pt x="34187" y="90049"/>
                      <a:pt x="21880" y="93126"/>
                      <a:pt x="9572" y="86972"/>
                    </a:cubicBezTo>
                    <a:cubicBezTo>
                      <a:pt x="-2735" y="80818"/>
                      <a:pt x="342" y="68511"/>
                      <a:pt x="342" y="59280"/>
                    </a:cubicBezTo>
                    <a:cubicBezTo>
                      <a:pt x="342" y="46972"/>
                      <a:pt x="342" y="34664"/>
                      <a:pt x="3418" y="22357"/>
                    </a:cubicBezTo>
                    <a:cubicBezTo>
                      <a:pt x="3418" y="16203"/>
                      <a:pt x="3418" y="3895"/>
                      <a:pt x="15727" y="819"/>
                    </a:cubicBezTo>
                    <a:cubicBezTo>
                      <a:pt x="24957" y="-2259"/>
                      <a:pt x="34187" y="3895"/>
                      <a:pt x="40342" y="10049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F1C1E9B2-2B77-40EF-B1E6-2FE112A9AD2D}"/>
                  </a:ext>
                </a:extLst>
              </p:cNvPr>
              <p:cNvSpPr/>
              <p:nvPr/>
            </p:nvSpPr>
            <p:spPr>
              <a:xfrm>
                <a:off x="7270399" y="5266949"/>
                <a:ext cx="133415" cy="150769"/>
              </a:xfrm>
              <a:custGeom>
                <a:avLst/>
                <a:gdLst>
                  <a:gd name="connsiteX0" fmla="*/ 37907 w 133415"/>
                  <a:gd name="connsiteY0" fmla="*/ 150770 h 150769"/>
                  <a:gd name="connsiteX1" fmla="*/ 25600 w 133415"/>
                  <a:gd name="connsiteY1" fmla="*/ 147692 h 150769"/>
                  <a:gd name="connsiteX2" fmla="*/ 985 w 133415"/>
                  <a:gd name="connsiteY2" fmla="*/ 83077 h 150769"/>
                  <a:gd name="connsiteX3" fmla="*/ 22523 w 133415"/>
                  <a:gd name="connsiteY3" fmla="*/ 9231 h 150769"/>
                  <a:gd name="connsiteX4" fmla="*/ 47139 w 133415"/>
                  <a:gd name="connsiteY4" fmla="*/ 0 h 150769"/>
                  <a:gd name="connsiteX5" fmla="*/ 71754 w 133415"/>
                  <a:gd name="connsiteY5" fmla="*/ 9231 h 150769"/>
                  <a:gd name="connsiteX6" fmla="*/ 74831 w 133415"/>
                  <a:gd name="connsiteY6" fmla="*/ 21538 h 150769"/>
                  <a:gd name="connsiteX7" fmla="*/ 93292 w 133415"/>
                  <a:gd name="connsiteY7" fmla="*/ 132308 h 150769"/>
                  <a:gd name="connsiteX8" fmla="*/ 105600 w 133415"/>
                  <a:gd name="connsiteY8" fmla="*/ 129231 h 150769"/>
                  <a:gd name="connsiteX9" fmla="*/ 120985 w 133415"/>
                  <a:gd name="connsiteY9" fmla="*/ 49231 h 150769"/>
                  <a:gd name="connsiteX10" fmla="*/ 127138 w 133415"/>
                  <a:gd name="connsiteY10" fmla="*/ 43077 h 150769"/>
                  <a:gd name="connsiteX11" fmla="*/ 133292 w 133415"/>
                  <a:gd name="connsiteY11" fmla="*/ 49231 h 150769"/>
                  <a:gd name="connsiteX12" fmla="*/ 111753 w 133415"/>
                  <a:gd name="connsiteY12" fmla="*/ 138462 h 150769"/>
                  <a:gd name="connsiteX13" fmla="*/ 87138 w 133415"/>
                  <a:gd name="connsiteY13" fmla="*/ 141539 h 150769"/>
                  <a:gd name="connsiteX14" fmla="*/ 71754 w 133415"/>
                  <a:gd name="connsiteY14" fmla="*/ 135385 h 150769"/>
                  <a:gd name="connsiteX15" fmla="*/ 71754 w 133415"/>
                  <a:gd name="connsiteY15" fmla="*/ 135385 h 150769"/>
                  <a:gd name="connsiteX16" fmla="*/ 37907 w 133415"/>
                  <a:gd name="connsiteY16" fmla="*/ 150770 h 150769"/>
                  <a:gd name="connsiteX17" fmla="*/ 40984 w 133415"/>
                  <a:gd name="connsiteY17" fmla="*/ 12308 h 150769"/>
                  <a:gd name="connsiteX18" fmla="*/ 28677 w 133415"/>
                  <a:gd name="connsiteY18" fmla="*/ 18462 h 150769"/>
                  <a:gd name="connsiteX19" fmla="*/ 10215 w 133415"/>
                  <a:gd name="connsiteY19" fmla="*/ 83077 h 150769"/>
                  <a:gd name="connsiteX20" fmla="*/ 28677 w 133415"/>
                  <a:gd name="connsiteY20" fmla="*/ 135385 h 150769"/>
                  <a:gd name="connsiteX21" fmla="*/ 62523 w 133415"/>
                  <a:gd name="connsiteY21" fmla="*/ 129231 h 150769"/>
                  <a:gd name="connsiteX22" fmla="*/ 59446 w 133415"/>
                  <a:gd name="connsiteY22" fmla="*/ 18462 h 150769"/>
                  <a:gd name="connsiteX23" fmla="*/ 40984 w 133415"/>
                  <a:gd name="connsiteY23" fmla="*/ 12308 h 150769"/>
                  <a:gd name="connsiteX24" fmla="*/ 40984 w 133415"/>
                  <a:gd name="connsiteY24" fmla="*/ 12308 h 150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33415" h="150769">
                    <a:moveTo>
                      <a:pt x="37907" y="150770"/>
                    </a:moveTo>
                    <a:cubicBezTo>
                      <a:pt x="34830" y="150770"/>
                      <a:pt x="28677" y="150770"/>
                      <a:pt x="25600" y="147692"/>
                    </a:cubicBezTo>
                    <a:cubicBezTo>
                      <a:pt x="985" y="141539"/>
                      <a:pt x="-2092" y="116923"/>
                      <a:pt x="985" y="83077"/>
                    </a:cubicBezTo>
                    <a:cubicBezTo>
                      <a:pt x="985" y="46154"/>
                      <a:pt x="10215" y="21538"/>
                      <a:pt x="22523" y="9231"/>
                    </a:cubicBezTo>
                    <a:cubicBezTo>
                      <a:pt x="28677" y="3077"/>
                      <a:pt x="37907" y="0"/>
                      <a:pt x="47139" y="0"/>
                    </a:cubicBezTo>
                    <a:cubicBezTo>
                      <a:pt x="59446" y="0"/>
                      <a:pt x="65599" y="3077"/>
                      <a:pt x="71754" y="9231"/>
                    </a:cubicBezTo>
                    <a:cubicBezTo>
                      <a:pt x="74831" y="15385"/>
                      <a:pt x="74831" y="18462"/>
                      <a:pt x="74831" y="21538"/>
                    </a:cubicBezTo>
                    <a:cubicBezTo>
                      <a:pt x="53292" y="120000"/>
                      <a:pt x="77908" y="129231"/>
                      <a:pt x="93292" y="132308"/>
                    </a:cubicBezTo>
                    <a:cubicBezTo>
                      <a:pt x="99446" y="135385"/>
                      <a:pt x="102523" y="132308"/>
                      <a:pt x="105600" y="129231"/>
                    </a:cubicBezTo>
                    <a:cubicBezTo>
                      <a:pt x="120985" y="116923"/>
                      <a:pt x="124062" y="67692"/>
                      <a:pt x="120985" y="49231"/>
                    </a:cubicBezTo>
                    <a:cubicBezTo>
                      <a:pt x="120985" y="46154"/>
                      <a:pt x="124062" y="43077"/>
                      <a:pt x="127138" y="43077"/>
                    </a:cubicBezTo>
                    <a:cubicBezTo>
                      <a:pt x="130215" y="43077"/>
                      <a:pt x="133292" y="46154"/>
                      <a:pt x="133292" y="49231"/>
                    </a:cubicBezTo>
                    <a:cubicBezTo>
                      <a:pt x="133292" y="55385"/>
                      <a:pt x="136369" y="120000"/>
                      <a:pt x="111753" y="138462"/>
                    </a:cubicBezTo>
                    <a:cubicBezTo>
                      <a:pt x="105600" y="144615"/>
                      <a:pt x="96369" y="144615"/>
                      <a:pt x="87138" y="141539"/>
                    </a:cubicBezTo>
                    <a:cubicBezTo>
                      <a:pt x="80984" y="141539"/>
                      <a:pt x="77908" y="138462"/>
                      <a:pt x="71754" y="135385"/>
                    </a:cubicBezTo>
                    <a:lnTo>
                      <a:pt x="71754" y="135385"/>
                    </a:lnTo>
                    <a:cubicBezTo>
                      <a:pt x="71754" y="138462"/>
                      <a:pt x="56369" y="150770"/>
                      <a:pt x="37907" y="150770"/>
                    </a:cubicBezTo>
                    <a:close/>
                    <a:moveTo>
                      <a:pt x="40984" y="12308"/>
                    </a:moveTo>
                    <a:cubicBezTo>
                      <a:pt x="34830" y="12308"/>
                      <a:pt x="31754" y="15385"/>
                      <a:pt x="28677" y="18462"/>
                    </a:cubicBezTo>
                    <a:cubicBezTo>
                      <a:pt x="22523" y="24615"/>
                      <a:pt x="13292" y="43077"/>
                      <a:pt x="10215" y="83077"/>
                    </a:cubicBezTo>
                    <a:cubicBezTo>
                      <a:pt x="10215" y="120000"/>
                      <a:pt x="13292" y="132308"/>
                      <a:pt x="28677" y="135385"/>
                    </a:cubicBezTo>
                    <a:cubicBezTo>
                      <a:pt x="40984" y="138462"/>
                      <a:pt x="56369" y="132308"/>
                      <a:pt x="62523" y="129231"/>
                    </a:cubicBezTo>
                    <a:cubicBezTo>
                      <a:pt x="50215" y="113846"/>
                      <a:pt x="47139" y="83077"/>
                      <a:pt x="59446" y="18462"/>
                    </a:cubicBezTo>
                    <a:cubicBezTo>
                      <a:pt x="62523" y="18462"/>
                      <a:pt x="56369" y="15385"/>
                      <a:pt x="40984" y="12308"/>
                    </a:cubicBezTo>
                    <a:cubicBezTo>
                      <a:pt x="44061" y="12308"/>
                      <a:pt x="44061" y="12308"/>
                      <a:pt x="40984" y="1230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283B26BA-D508-4BE0-B253-027374B78CB8}"/>
                  </a:ext>
                </a:extLst>
              </p:cNvPr>
              <p:cNvSpPr/>
              <p:nvPr/>
            </p:nvSpPr>
            <p:spPr>
              <a:xfrm>
                <a:off x="7223237" y="5266949"/>
                <a:ext cx="67975" cy="138461"/>
              </a:xfrm>
              <a:custGeom>
                <a:avLst/>
                <a:gdLst>
                  <a:gd name="connsiteX0" fmla="*/ 45070 w 67975"/>
                  <a:gd name="connsiteY0" fmla="*/ 135385 h 138461"/>
                  <a:gd name="connsiteX1" fmla="*/ 17377 w 67975"/>
                  <a:gd name="connsiteY1" fmla="*/ 126154 h 138461"/>
                  <a:gd name="connsiteX2" fmla="*/ 1993 w 67975"/>
                  <a:gd name="connsiteY2" fmla="*/ 98461 h 138461"/>
                  <a:gd name="connsiteX3" fmla="*/ 14300 w 67975"/>
                  <a:gd name="connsiteY3" fmla="*/ 6154 h 138461"/>
                  <a:gd name="connsiteX4" fmla="*/ 29685 w 67975"/>
                  <a:gd name="connsiteY4" fmla="*/ 0 h 138461"/>
                  <a:gd name="connsiteX5" fmla="*/ 29685 w 67975"/>
                  <a:gd name="connsiteY5" fmla="*/ 0 h 138461"/>
                  <a:gd name="connsiteX6" fmla="*/ 66607 w 67975"/>
                  <a:gd name="connsiteY6" fmla="*/ 15385 h 138461"/>
                  <a:gd name="connsiteX7" fmla="*/ 66607 w 67975"/>
                  <a:gd name="connsiteY7" fmla="*/ 24615 h 138461"/>
                  <a:gd name="connsiteX8" fmla="*/ 57377 w 67975"/>
                  <a:gd name="connsiteY8" fmla="*/ 24615 h 138461"/>
                  <a:gd name="connsiteX9" fmla="*/ 29685 w 67975"/>
                  <a:gd name="connsiteY9" fmla="*/ 12308 h 138461"/>
                  <a:gd name="connsiteX10" fmla="*/ 23531 w 67975"/>
                  <a:gd name="connsiteY10" fmla="*/ 15385 h 138461"/>
                  <a:gd name="connsiteX11" fmla="*/ 14300 w 67975"/>
                  <a:gd name="connsiteY11" fmla="*/ 101539 h 138461"/>
                  <a:gd name="connsiteX12" fmla="*/ 26608 w 67975"/>
                  <a:gd name="connsiteY12" fmla="*/ 120000 h 138461"/>
                  <a:gd name="connsiteX13" fmla="*/ 57377 w 67975"/>
                  <a:gd name="connsiteY13" fmla="*/ 126154 h 138461"/>
                  <a:gd name="connsiteX14" fmla="*/ 63531 w 67975"/>
                  <a:gd name="connsiteY14" fmla="*/ 132308 h 138461"/>
                  <a:gd name="connsiteX15" fmla="*/ 57377 w 67975"/>
                  <a:gd name="connsiteY15" fmla="*/ 138462 h 138461"/>
                  <a:gd name="connsiteX16" fmla="*/ 45070 w 67975"/>
                  <a:gd name="connsiteY16" fmla="*/ 135385 h 13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7975" h="138461">
                    <a:moveTo>
                      <a:pt x="45070" y="135385"/>
                    </a:moveTo>
                    <a:cubicBezTo>
                      <a:pt x="35838" y="135385"/>
                      <a:pt x="26608" y="135385"/>
                      <a:pt x="17377" y="126154"/>
                    </a:cubicBezTo>
                    <a:cubicBezTo>
                      <a:pt x="8146" y="120000"/>
                      <a:pt x="1993" y="110769"/>
                      <a:pt x="1993" y="98461"/>
                    </a:cubicBezTo>
                    <a:cubicBezTo>
                      <a:pt x="-4161" y="61538"/>
                      <a:pt x="5069" y="18462"/>
                      <a:pt x="14300" y="6154"/>
                    </a:cubicBezTo>
                    <a:cubicBezTo>
                      <a:pt x="17377" y="3077"/>
                      <a:pt x="20454" y="0"/>
                      <a:pt x="29685" y="0"/>
                    </a:cubicBezTo>
                    <a:cubicBezTo>
                      <a:pt x="29685" y="0"/>
                      <a:pt x="29685" y="0"/>
                      <a:pt x="29685" y="0"/>
                    </a:cubicBezTo>
                    <a:cubicBezTo>
                      <a:pt x="41992" y="0"/>
                      <a:pt x="60454" y="9231"/>
                      <a:pt x="66607" y="15385"/>
                    </a:cubicBezTo>
                    <a:cubicBezTo>
                      <a:pt x="69685" y="18462"/>
                      <a:pt x="66607" y="21538"/>
                      <a:pt x="66607" y="24615"/>
                    </a:cubicBezTo>
                    <a:cubicBezTo>
                      <a:pt x="63531" y="27693"/>
                      <a:pt x="60454" y="24615"/>
                      <a:pt x="57377" y="24615"/>
                    </a:cubicBezTo>
                    <a:cubicBezTo>
                      <a:pt x="54300" y="21538"/>
                      <a:pt x="38915" y="12308"/>
                      <a:pt x="29685" y="12308"/>
                    </a:cubicBezTo>
                    <a:cubicBezTo>
                      <a:pt x="26608" y="12308"/>
                      <a:pt x="23531" y="12308"/>
                      <a:pt x="23531" y="15385"/>
                    </a:cubicBezTo>
                    <a:cubicBezTo>
                      <a:pt x="17377" y="24615"/>
                      <a:pt x="8146" y="64616"/>
                      <a:pt x="14300" y="101539"/>
                    </a:cubicBezTo>
                    <a:cubicBezTo>
                      <a:pt x="14300" y="110769"/>
                      <a:pt x="20454" y="116923"/>
                      <a:pt x="26608" y="120000"/>
                    </a:cubicBezTo>
                    <a:cubicBezTo>
                      <a:pt x="38915" y="129231"/>
                      <a:pt x="57377" y="126154"/>
                      <a:pt x="57377" y="126154"/>
                    </a:cubicBezTo>
                    <a:cubicBezTo>
                      <a:pt x="60454" y="126154"/>
                      <a:pt x="63531" y="126154"/>
                      <a:pt x="63531" y="132308"/>
                    </a:cubicBezTo>
                    <a:cubicBezTo>
                      <a:pt x="63531" y="135385"/>
                      <a:pt x="63531" y="138462"/>
                      <a:pt x="57377" y="138462"/>
                    </a:cubicBezTo>
                    <a:cubicBezTo>
                      <a:pt x="57377" y="135385"/>
                      <a:pt x="51223" y="135385"/>
                      <a:pt x="45070" y="13538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89261924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09FB4634-4487-4CA4-96F8-329B4C2E9086}"/>
              </a:ext>
            </a:extLst>
          </p:cNvPr>
          <p:cNvGrpSpPr/>
          <p:nvPr/>
        </p:nvGrpSpPr>
        <p:grpSpPr>
          <a:xfrm>
            <a:off x="1878020" y="1987816"/>
            <a:ext cx="9064796" cy="4870184"/>
            <a:chOff x="-5909128" y="4264408"/>
            <a:chExt cx="9064796" cy="4870184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B2F5E306-F92F-4EE0-BF3C-B106D48A0B22}"/>
                </a:ext>
              </a:extLst>
            </p:cNvPr>
            <p:cNvSpPr/>
            <p:nvPr/>
          </p:nvSpPr>
          <p:spPr>
            <a:xfrm>
              <a:off x="-1612512" y="5493103"/>
              <a:ext cx="343573" cy="289247"/>
            </a:xfrm>
            <a:custGeom>
              <a:avLst/>
              <a:gdLst>
                <a:gd name="connsiteX0" fmla="*/ 53126 w 343573"/>
                <a:gd name="connsiteY0" fmla="*/ 192308 h 289247"/>
                <a:gd name="connsiteX1" fmla="*/ 123895 w 343573"/>
                <a:gd name="connsiteY1" fmla="*/ 238462 h 289247"/>
                <a:gd name="connsiteX2" fmla="*/ 246972 w 343573"/>
                <a:gd name="connsiteY2" fmla="*/ 287692 h 289247"/>
                <a:gd name="connsiteX3" fmla="*/ 342357 w 343573"/>
                <a:gd name="connsiteY3" fmla="*/ 213846 h 289247"/>
                <a:gd name="connsiteX4" fmla="*/ 102357 w 343573"/>
                <a:gd name="connsiteY4" fmla="*/ 4615 h 289247"/>
                <a:gd name="connsiteX5" fmla="*/ 68511 w 343573"/>
                <a:gd name="connsiteY5" fmla="*/ 13846 h 289247"/>
                <a:gd name="connsiteX6" fmla="*/ 102357 w 343573"/>
                <a:gd name="connsiteY6" fmla="*/ 50769 h 289247"/>
                <a:gd name="connsiteX7" fmla="*/ 148511 w 343573"/>
                <a:gd name="connsiteY7" fmla="*/ 96923 h 289247"/>
                <a:gd name="connsiteX8" fmla="*/ 77742 w 343573"/>
                <a:gd name="connsiteY8" fmla="*/ 60000 h 289247"/>
                <a:gd name="connsiteX9" fmla="*/ 25434 w 343573"/>
                <a:gd name="connsiteY9" fmla="*/ 35384 h 289247"/>
                <a:gd name="connsiteX10" fmla="*/ 818 w 343573"/>
                <a:gd name="connsiteY10" fmla="*/ 53846 h 289247"/>
                <a:gd name="connsiteX11" fmla="*/ 10049 w 343573"/>
                <a:gd name="connsiteY11" fmla="*/ 87692 h 289247"/>
                <a:gd name="connsiteX12" fmla="*/ 6972 w 343573"/>
                <a:gd name="connsiteY12" fmla="*/ 87692 h 289247"/>
                <a:gd name="connsiteX13" fmla="*/ 3896 w 343573"/>
                <a:gd name="connsiteY13" fmla="*/ 93846 h 289247"/>
                <a:gd name="connsiteX14" fmla="*/ 34665 w 343573"/>
                <a:gd name="connsiteY14" fmla="*/ 136923 h 289247"/>
                <a:gd name="connsiteX15" fmla="*/ 59280 w 343573"/>
                <a:gd name="connsiteY15" fmla="*/ 152308 h 289247"/>
                <a:gd name="connsiteX16" fmla="*/ 53126 w 343573"/>
                <a:gd name="connsiteY16" fmla="*/ 152308 h 289247"/>
                <a:gd name="connsiteX17" fmla="*/ 34665 w 343573"/>
                <a:gd name="connsiteY17" fmla="*/ 164615 h 289247"/>
                <a:gd name="connsiteX18" fmla="*/ 53126 w 343573"/>
                <a:gd name="connsiteY18" fmla="*/ 192308 h 289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43573" h="289247">
                  <a:moveTo>
                    <a:pt x="53126" y="192308"/>
                  </a:moveTo>
                  <a:cubicBezTo>
                    <a:pt x="77742" y="207692"/>
                    <a:pt x="99280" y="223077"/>
                    <a:pt x="123895" y="238462"/>
                  </a:cubicBezTo>
                  <a:cubicBezTo>
                    <a:pt x="160818" y="263077"/>
                    <a:pt x="197741" y="296923"/>
                    <a:pt x="246972" y="287692"/>
                  </a:cubicBezTo>
                  <a:cubicBezTo>
                    <a:pt x="277742" y="281538"/>
                    <a:pt x="342357" y="213846"/>
                    <a:pt x="342357" y="213846"/>
                  </a:cubicBezTo>
                  <a:cubicBezTo>
                    <a:pt x="360818" y="130769"/>
                    <a:pt x="163896" y="32308"/>
                    <a:pt x="102357" y="4615"/>
                  </a:cubicBezTo>
                  <a:cubicBezTo>
                    <a:pt x="93126" y="1539"/>
                    <a:pt x="62357" y="-7692"/>
                    <a:pt x="68511" y="13846"/>
                  </a:cubicBezTo>
                  <a:cubicBezTo>
                    <a:pt x="71588" y="26154"/>
                    <a:pt x="93126" y="41538"/>
                    <a:pt x="102357" y="50769"/>
                  </a:cubicBezTo>
                  <a:cubicBezTo>
                    <a:pt x="117742" y="66154"/>
                    <a:pt x="133126" y="81538"/>
                    <a:pt x="148511" y="96923"/>
                  </a:cubicBezTo>
                  <a:cubicBezTo>
                    <a:pt x="123895" y="84615"/>
                    <a:pt x="99280" y="72307"/>
                    <a:pt x="77742" y="60000"/>
                  </a:cubicBezTo>
                  <a:cubicBezTo>
                    <a:pt x="62357" y="50769"/>
                    <a:pt x="43895" y="38462"/>
                    <a:pt x="25434" y="35384"/>
                  </a:cubicBezTo>
                  <a:cubicBezTo>
                    <a:pt x="13126" y="35384"/>
                    <a:pt x="3896" y="41538"/>
                    <a:pt x="818" y="53846"/>
                  </a:cubicBezTo>
                  <a:cubicBezTo>
                    <a:pt x="-2259" y="66154"/>
                    <a:pt x="3896" y="78462"/>
                    <a:pt x="10049" y="87692"/>
                  </a:cubicBezTo>
                  <a:cubicBezTo>
                    <a:pt x="10049" y="87692"/>
                    <a:pt x="6972" y="87692"/>
                    <a:pt x="6972" y="87692"/>
                  </a:cubicBezTo>
                  <a:cubicBezTo>
                    <a:pt x="3896" y="87692"/>
                    <a:pt x="3896" y="90769"/>
                    <a:pt x="3896" y="93846"/>
                  </a:cubicBezTo>
                  <a:cubicBezTo>
                    <a:pt x="6972" y="112308"/>
                    <a:pt x="16203" y="124615"/>
                    <a:pt x="34665" y="136923"/>
                  </a:cubicBezTo>
                  <a:cubicBezTo>
                    <a:pt x="43895" y="143077"/>
                    <a:pt x="50049" y="146154"/>
                    <a:pt x="59280" y="152308"/>
                  </a:cubicBezTo>
                  <a:cubicBezTo>
                    <a:pt x="56203" y="152308"/>
                    <a:pt x="53126" y="152308"/>
                    <a:pt x="53126" y="152308"/>
                  </a:cubicBezTo>
                  <a:cubicBezTo>
                    <a:pt x="43895" y="152308"/>
                    <a:pt x="37741" y="155385"/>
                    <a:pt x="34665" y="164615"/>
                  </a:cubicBezTo>
                  <a:cubicBezTo>
                    <a:pt x="22357" y="173846"/>
                    <a:pt x="40819" y="183077"/>
                    <a:pt x="53126" y="192308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CF72E568-8AC9-45BB-B925-C6CA7EA8F8D5}"/>
                </a:ext>
              </a:extLst>
            </p:cNvPr>
            <p:cNvSpPr/>
            <p:nvPr/>
          </p:nvSpPr>
          <p:spPr>
            <a:xfrm>
              <a:off x="-1465212" y="5582322"/>
              <a:ext cx="151587" cy="131192"/>
            </a:xfrm>
            <a:custGeom>
              <a:avLst/>
              <a:gdLst>
                <a:gd name="connsiteX0" fmla="*/ 1212 w 151587"/>
                <a:gd name="connsiteY0" fmla="*/ 53858 h 131192"/>
                <a:gd name="connsiteX1" fmla="*/ 25827 w 151587"/>
                <a:gd name="connsiteY1" fmla="*/ 60012 h 131192"/>
                <a:gd name="connsiteX2" fmla="*/ 90442 w 151587"/>
                <a:gd name="connsiteY2" fmla="*/ 75396 h 131192"/>
                <a:gd name="connsiteX3" fmla="*/ 124288 w 151587"/>
                <a:gd name="connsiteY3" fmla="*/ 130781 h 131192"/>
                <a:gd name="connsiteX4" fmla="*/ 148904 w 151587"/>
                <a:gd name="connsiteY4" fmla="*/ 53858 h 131192"/>
                <a:gd name="connsiteX5" fmla="*/ 50442 w 151587"/>
                <a:gd name="connsiteY5" fmla="*/ 1550 h 131192"/>
                <a:gd name="connsiteX6" fmla="*/ 1212 w 151587"/>
                <a:gd name="connsiteY6" fmla="*/ 53858 h 13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587" h="131192">
                  <a:moveTo>
                    <a:pt x="1212" y="53858"/>
                  </a:moveTo>
                  <a:cubicBezTo>
                    <a:pt x="7365" y="63089"/>
                    <a:pt x="16596" y="60012"/>
                    <a:pt x="25827" y="60012"/>
                  </a:cubicBezTo>
                  <a:cubicBezTo>
                    <a:pt x="50442" y="56935"/>
                    <a:pt x="68904" y="60012"/>
                    <a:pt x="90442" y="75396"/>
                  </a:cubicBezTo>
                  <a:cubicBezTo>
                    <a:pt x="102750" y="84627"/>
                    <a:pt x="115058" y="118474"/>
                    <a:pt x="124288" y="130781"/>
                  </a:cubicBezTo>
                  <a:cubicBezTo>
                    <a:pt x="127365" y="136935"/>
                    <a:pt x="161211" y="72320"/>
                    <a:pt x="148904" y="53858"/>
                  </a:cubicBezTo>
                  <a:cubicBezTo>
                    <a:pt x="130442" y="26166"/>
                    <a:pt x="84288" y="-7680"/>
                    <a:pt x="50442" y="1550"/>
                  </a:cubicBezTo>
                  <a:cubicBezTo>
                    <a:pt x="38135" y="1550"/>
                    <a:pt x="-8019" y="29243"/>
                    <a:pt x="1212" y="53858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3F72298C-1317-451B-8724-D1AA70A99BCA}"/>
                </a:ext>
              </a:extLst>
            </p:cNvPr>
            <p:cNvSpPr/>
            <p:nvPr/>
          </p:nvSpPr>
          <p:spPr>
            <a:xfrm>
              <a:off x="-1479386" y="5572370"/>
              <a:ext cx="168461" cy="140732"/>
            </a:xfrm>
            <a:custGeom>
              <a:avLst/>
              <a:gdLst>
                <a:gd name="connsiteX0" fmla="*/ 107692 w 168461"/>
                <a:gd name="connsiteY0" fmla="*/ 140733 h 140732"/>
                <a:gd name="connsiteX1" fmla="*/ 101539 w 168461"/>
                <a:gd name="connsiteY1" fmla="*/ 137656 h 140732"/>
                <a:gd name="connsiteX2" fmla="*/ 98461 w 168461"/>
                <a:gd name="connsiteY2" fmla="*/ 85348 h 140732"/>
                <a:gd name="connsiteX3" fmla="*/ 36923 w 168461"/>
                <a:gd name="connsiteY3" fmla="*/ 76118 h 140732"/>
                <a:gd name="connsiteX4" fmla="*/ 6154 w 168461"/>
                <a:gd name="connsiteY4" fmla="*/ 76118 h 140732"/>
                <a:gd name="connsiteX5" fmla="*/ 0 w 168461"/>
                <a:gd name="connsiteY5" fmla="*/ 57656 h 140732"/>
                <a:gd name="connsiteX6" fmla="*/ 61538 w 168461"/>
                <a:gd name="connsiteY6" fmla="*/ 2271 h 140732"/>
                <a:gd name="connsiteX7" fmla="*/ 166154 w 168461"/>
                <a:gd name="connsiteY7" fmla="*/ 57656 h 140732"/>
                <a:gd name="connsiteX8" fmla="*/ 166154 w 168461"/>
                <a:gd name="connsiteY8" fmla="*/ 66887 h 140732"/>
                <a:gd name="connsiteX9" fmla="*/ 156923 w 168461"/>
                <a:gd name="connsiteY9" fmla="*/ 66887 h 140732"/>
                <a:gd name="connsiteX10" fmla="*/ 64615 w 168461"/>
                <a:gd name="connsiteY10" fmla="*/ 14579 h 140732"/>
                <a:gd name="connsiteX11" fmla="*/ 9231 w 168461"/>
                <a:gd name="connsiteY11" fmla="*/ 60733 h 140732"/>
                <a:gd name="connsiteX12" fmla="*/ 12308 w 168461"/>
                <a:gd name="connsiteY12" fmla="*/ 66887 h 140732"/>
                <a:gd name="connsiteX13" fmla="*/ 33846 w 168461"/>
                <a:gd name="connsiteY13" fmla="*/ 66887 h 140732"/>
                <a:gd name="connsiteX14" fmla="*/ 107692 w 168461"/>
                <a:gd name="connsiteY14" fmla="*/ 79195 h 140732"/>
                <a:gd name="connsiteX15" fmla="*/ 107692 w 168461"/>
                <a:gd name="connsiteY15" fmla="*/ 85348 h 140732"/>
                <a:gd name="connsiteX16" fmla="*/ 107692 w 168461"/>
                <a:gd name="connsiteY16" fmla="*/ 131502 h 140732"/>
                <a:gd name="connsiteX17" fmla="*/ 107692 w 168461"/>
                <a:gd name="connsiteY17" fmla="*/ 140733 h 140732"/>
                <a:gd name="connsiteX18" fmla="*/ 107692 w 168461"/>
                <a:gd name="connsiteY18" fmla="*/ 140733 h 140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8461" h="140732">
                  <a:moveTo>
                    <a:pt x="107692" y="140733"/>
                  </a:moveTo>
                  <a:cubicBezTo>
                    <a:pt x="104615" y="140733"/>
                    <a:pt x="104615" y="140733"/>
                    <a:pt x="101539" y="137656"/>
                  </a:cubicBezTo>
                  <a:cubicBezTo>
                    <a:pt x="89231" y="119195"/>
                    <a:pt x="95384" y="94579"/>
                    <a:pt x="98461" y="85348"/>
                  </a:cubicBezTo>
                  <a:cubicBezTo>
                    <a:pt x="80000" y="69964"/>
                    <a:pt x="55385" y="73041"/>
                    <a:pt x="36923" y="76118"/>
                  </a:cubicBezTo>
                  <a:cubicBezTo>
                    <a:pt x="24615" y="79195"/>
                    <a:pt x="12308" y="82272"/>
                    <a:pt x="6154" y="76118"/>
                  </a:cubicBezTo>
                  <a:cubicBezTo>
                    <a:pt x="0" y="73041"/>
                    <a:pt x="0" y="66887"/>
                    <a:pt x="0" y="57656"/>
                  </a:cubicBezTo>
                  <a:cubicBezTo>
                    <a:pt x="3077" y="39194"/>
                    <a:pt x="27692" y="14579"/>
                    <a:pt x="61538" y="2271"/>
                  </a:cubicBezTo>
                  <a:cubicBezTo>
                    <a:pt x="107692" y="-13113"/>
                    <a:pt x="163077" y="54579"/>
                    <a:pt x="166154" y="57656"/>
                  </a:cubicBezTo>
                  <a:cubicBezTo>
                    <a:pt x="169231" y="60733"/>
                    <a:pt x="169231" y="63810"/>
                    <a:pt x="166154" y="66887"/>
                  </a:cubicBezTo>
                  <a:cubicBezTo>
                    <a:pt x="163077" y="69964"/>
                    <a:pt x="160000" y="69964"/>
                    <a:pt x="156923" y="66887"/>
                  </a:cubicBezTo>
                  <a:cubicBezTo>
                    <a:pt x="156923" y="66887"/>
                    <a:pt x="101539" y="2271"/>
                    <a:pt x="64615" y="14579"/>
                  </a:cubicBezTo>
                  <a:cubicBezTo>
                    <a:pt x="33846" y="23810"/>
                    <a:pt x="12308" y="48425"/>
                    <a:pt x="9231" y="60733"/>
                  </a:cubicBezTo>
                  <a:cubicBezTo>
                    <a:pt x="9231" y="66887"/>
                    <a:pt x="9231" y="66887"/>
                    <a:pt x="12308" y="66887"/>
                  </a:cubicBezTo>
                  <a:cubicBezTo>
                    <a:pt x="15385" y="69964"/>
                    <a:pt x="24615" y="66887"/>
                    <a:pt x="33846" y="66887"/>
                  </a:cubicBezTo>
                  <a:cubicBezTo>
                    <a:pt x="55385" y="63810"/>
                    <a:pt x="83077" y="57656"/>
                    <a:pt x="107692" y="79195"/>
                  </a:cubicBezTo>
                  <a:cubicBezTo>
                    <a:pt x="110769" y="79195"/>
                    <a:pt x="110769" y="82272"/>
                    <a:pt x="107692" y="85348"/>
                  </a:cubicBezTo>
                  <a:cubicBezTo>
                    <a:pt x="107692" y="85348"/>
                    <a:pt x="98461" y="113041"/>
                    <a:pt x="107692" y="131502"/>
                  </a:cubicBezTo>
                  <a:cubicBezTo>
                    <a:pt x="113846" y="134579"/>
                    <a:pt x="113846" y="137656"/>
                    <a:pt x="107692" y="140733"/>
                  </a:cubicBezTo>
                  <a:cubicBezTo>
                    <a:pt x="107692" y="140733"/>
                    <a:pt x="107692" y="140733"/>
                    <a:pt x="107692" y="140733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EF63B61A-AB42-414C-AAFE-397E3BC7E5C1}"/>
                </a:ext>
              </a:extLst>
            </p:cNvPr>
            <p:cNvGrpSpPr/>
            <p:nvPr/>
          </p:nvGrpSpPr>
          <p:grpSpPr>
            <a:xfrm>
              <a:off x="-1321244" y="8602334"/>
              <a:ext cx="558781" cy="385630"/>
              <a:chOff x="-1321244" y="8602334"/>
              <a:chExt cx="558781" cy="385630"/>
            </a:xfrm>
          </p:grpSpPr>
          <p:sp>
            <p:nvSpPr>
              <p:cNvPr id="181" name="任意多边形: 形状 180">
                <a:extLst>
                  <a:ext uri="{FF2B5EF4-FFF2-40B4-BE49-F238E27FC236}">
                    <a16:creationId xmlns:a16="http://schemas.microsoft.com/office/drawing/2014/main" id="{2B3AA3AD-81E8-4AB5-B6ED-6476BE7CCCEA}"/>
                  </a:ext>
                </a:extLst>
              </p:cNvPr>
              <p:cNvSpPr/>
              <p:nvPr/>
            </p:nvSpPr>
            <p:spPr>
              <a:xfrm>
                <a:off x="-977847" y="8602334"/>
                <a:ext cx="215384" cy="264615"/>
              </a:xfrm>
              <a:custGeom>
                <a:avLst/>
                <a:gdLst>
                  <a:gd name="connsiteX0" fmla="*/ 160000 w 215384"/>
                  <a:gd name="connsiteY0" fmla="*/ 230769 h 264615"/>
                  <a:gd name="connsiteX1" fmla="*/ 215385 w 215384"/>
                  <a:gd name="connsiteY1" fmla="*/ 52307 h 264615"/>
                  <a:gd name="connsiteX2" fmla="*/ 40000 w 215384"/>
                  <a:gd name="connsiteY2" fmla="*/ 0 h 264615"/>
                  <a:gd name="connsiteX3" fmla="*/ 0 w 215384"/>
                  <a:gd name="connsiteY3" fmla="*/ 193846 h 264615"/>
                  <a:gd name="connsiteX4" fmla="*/ 138462 w 215384"/>
                  <a:gd name="connsiteY4" fmla="*/ 264616 h 26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5384" h="264615">
                    <a:moveTo>
                      <a:pt x="160000" y="230769"/>
                    </a:moveTo>
                    <a:lnTo>
                      <a:pt x="215385" y="52307"/>
                    </a:lnTo>
                    <a:lnTo>
                      <a:pt x="40000" y="0"/>
                    </a:lnTo>
                    <a:lnTo>
                      <a:pt x="0" y="193846"/>
                    </a:lnTo>
                    <a:lnTo>
                      <a:pt x="138462" y="264616"/>
                    </a:ln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2" name="任意多边形: 形状 181">
                <a:extLst>
                  <a:ext uri="{FF2B5EF4-FFF2-40B4-BE49-F238E27FC236}">
                    <a16:creationId xmlns:a16="http://schemas.microsoft.com/office/drawing/2014/main" id="{9E0C10C1-2256-4328-9B8E-E66573832D98}"/>
                  </a:ext>
                </a:extLst>
              </p:cNvPr>
              <p:cNvSpPr/>
              <p:nvPr/>
            </p:nvSpPr>
            <p:spPr>
              <a:xfrm>
                <a:off x="-1304001" y="8737719"/>
                <a:ext cx="501721" cy="203206"/>
              </a:xfrm>
              <a:custGeom>
                <a:avLst/>
                <a:gdLst>
                  <a:gd name="connsiteX0" fmla="*/ 501539 w 501721"/>
                  <a:gd name="connsiteY0" fmla="*/ 98462 h 203206"/>
                  <a:gd name="connsiteX1" fmla="*/ 335384 w 501721"/>
                  <a:gd name="connsiteY1" fmla="*/ 0 h 203206"/>
                  <a:gd name="connsiteX2" fmla="*/ 184615 w 501721"/>
                  <a:gd name="connsiteY2" fmla="*/ 40000 h 203206"/>
                  <a:gd name="connsiteX3" fmla="*/ 0 w 501721"/>
                  <a:gd name="connsiteY3" fmla="*/ 67693 h 203206"/>
                  <a:gd name="connsiteX4" fmla="*/ 473846 w 501721"/>
                  <a:gd name="connsiteY4" fmla="*/ 203077 h 203206"/>
                  <a:gd name="connsiteX5" fmla="*/ 501539 w 501721"/>
                  <a:gd name="connsiteY5" fmla="*/ 98462 h 203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721" h="203206">
                    <a:moveTo>
                      <a:pt x="501539" y="98462"/>
                    </a:moveTo>
                    <a:cubicBezTo>
                      <a:pt x="501539" y="98462"/>
                      <a:pt x="375385" y="83077"/>
                      <a:pt x="335384" y="0"/>
                    </a:cubicBezTo>
                    <a:cubicBezTo>
                      <a:pt x="335384" y="0"/>
                      <a:pt x="230769" y="43077"/>
                      <a:pt x="184615" y="40000"/>
                    </a:cubicBezTo>
                    <a:cubicBezTo>
                      <a:pt x="138462" y="36923"/>
                      <a:pt x="30769" y="3077"/>
                      <a:pt x="0" y="67693"/>
                    </a:cubicBezTo>
                    <a:lnTo>
                      <a:pt x="473846" y="203077"/>
                    </a:lnTo>
                    <a:cubicBezTo>
                      <a:pt x="467692" y="206154"/>
                      <a:pt x="504615" y="153846"/>
                      <a:pt x="501539" y="98462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3" name="任意多边形: 形状 182">
                <a:extLst>
                  <a:ext uri="{FF2B5EF4-FFF2-40B4-BE49-F238E27FC236}">
                    <a16:creationId xmlns:a16="http://schemas.microsoft.com/office/drawing/2014/main" id="{27508EC8-F376-43D9-AD55-1D2937411073}"/>
                  </a:ext>
                </a:extLst>
              </p:cNvPr>
              <p:cNvSpPr/>
              <p:nvPr/>
            </p:nvSpPr>
            <p:spPr>
              <a:xfrm rot="-4433738">
                <a:off x="-1101416" y="8651345"/>
                <a:ext cx="46155" cy="492329"/>
              </a:xfrm>
              <a:custGeom>
                <a:avLst/>
                <a:gdLst>
                  <a:gd name="connsiteX0" fmla="*/ 0 w 46155"/>
                  <a:gd name="connsiteY0" fmla="*/ 0 h 492329"/>
                  <a:gd name="connsiteX1" fmla="*/ 46156 w 46155"/>
                  <a:gd name="connsiteY1" fmla="*/ 0 h 492329"/>
                  <a:gd name="connsiteX2" fmla="*/ 46156 w 46155"/>
                  <a:gd name="connsiteY2" fmla="*/ 492330 h 492329"/>
                  <a:gd name="connsiteX3" fmla="*/ 0 w 46155"/>
                  <a:gd name="connsiteY3" fmla="*/ 492330 h 492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155" h="492329">
                    <a:moveTo>
                      <a:pt x="0" y="0"/>
                    </a:moveTo>
                    <a:lnTo>
                      <a:pt x="46156" y="0"/>
                    </a:lnTo>
                    <a:lnTo>
                      <a:pt x="46156" y="492330"/>
                    </a:lnTo>
                    <a:lnTo>
                      <a:pt x="0" y="492330"/>
                    </a:lnTo>
                    <a:close/>
                  </a:path>
                </a:pathLst>
              </a:custGeom>
              <a:solidFill>
                <a:srgbClr val="38333D"/>
              </a:solidFill>
              <a:ln w="307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4" name="任意多边形: 形状 183">
                <a:extLst>
                  <a:ext uri="{FF2B5EF4-FFF2-40B4-BE49-F238E27FC236}">
                    <a16:creationId xmlns:a16="http://schemas.microsoft.com/office/drawing/2014/main" id="{96E3490B-8D0B-45AE-B92C-5E13FB6C1259}"/>
                  </a:ext>
                </a:extLst>
              </p:cNvPr>
              <p:cNvSpPr/>
              <p:nvPr/>
            </p:nvSpPr>
            <p:spPr>
              <a:xfrm>
                <a:off x="-976045" y="8730290"/>
                <a:ext cx="182813" cy="112043"/>
              </a:xfrm>
              <a:custGeom>
                <a:avLst/>
                <a:gdLst>
                  <a:gd name="connsiteX0" fmla="*/ 173582 w 182813"/>
                  <a:gd name="connsiteY0" fmla="*/ 112044 h 112043"/>
                  <a:gd name="connsiteX1" fmla="*/ 173582 w 182813"/>
                  <a:gd name="connsiteY1" fmla="*/ 112044 h 112043"/>
                  <a:gd name="connsiteX2" fmla="*/ 1274 w 182813"/>
                  <a:gd name="connsiteY2" fmla="*/ 10506 h 112043"/>
                  <a:gd name="connsiteX3" fmla="*/ 4351 w 182813"/>
                  <a:gd name="connsiteY3" fmla="*/ 1274 h 112043"/>
                  <a:gd name="connsiteX4" fmla="*/ 13582 w 182813"/>
                  <a:gd name="connsiteY4" fmla="*/ 4351 h 112043"/>
                  <a:gd name="connsiteX5" fmla="*/ 176659 w 182813"/>
                  <a:gd name="connsiteY5" fmla="*/ 99736 h 112043"/>
                  <a:gd name="connsiteX6" fmla="*/ 182813 w 182813"/>
                  <a:gd name="connsiteY6" fmla="*/ 105890 h 112043"/>
                  <a:gd name="connsiteX7" fmla="*/ 173582 w 182813"/>
                  <a:gd name="connsiteY7" fmla="*/ 112044 h 112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2813" h="112043">
                    <a:moveTo>
                      <a:pt x="173582" y="112044"/>
                    </a:moveTo>
                    <a:cubicBezTo>
                      <a:pt x="170505" y="112044"/>
                      <a:pt x="170505" y="112044"/>
                      <a:pt x="173582" y="112044"/>
                    </a:cubicBezTo>
                    <a:cubicBezTo>
                      <a:pt x="167429" y="112044"/>
                      <a:pt x="53582" y="93582"/>
                      <a:pt x="1274" y="10506"/>
                    </a:cubicBezTo>
                    <a:cubicBezTo>
                      <a:pt x="-1802" y="7428"/>
                      <a:pt x="1274" y="4351"/>
                      <a:pt x="4351" y="1274"/>
                    </a:cubicBezTo>
                    <a:cubicBezTo>
                      <a:pt x="7428" y="-1802"/>
                      <a:pt x="10505" y="1274"/>
                      <a:pt x="13582" y="4351"/>
                    </a:cubicBezTo>
                    <a:cubicBezTo>
                      <a:pt x="62813" y="84351"/>
                      <a:pt x="176659" y="99736"/>
                      <a:pt x="176659" y="99736"/>
                    </a:cubicBezTo>
                    <a:cubicBezTo>
                      <a:pt x="179736" y="99736"/>
                      <a:pt x="182813" y="102813"/>
                      <a:pt x="182813" y="105890"/>
                    </a:cubicBezTo>
                    <a:cubicBezTo>
                      <a:pt x="176659" y="108966"/>
                      <a:pt x="173582" y="112044"/>
                      <a:pt x="173582" y="11204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5" name="任意多边形: 形状 184">
                <a:extLst>
                  <a:ext uri="{FF2B5EF4-FFF2-40B4-BE49-F238E27FC236}">
                    <a16:creationId xmlns:a16="http://schemas.microsoft.com/office/drawing/2014/main" id="{3C120426-CCA3-44F6-BFBA-70C0E1589D73}"/>
                  </a:ext>
                </a:extLst>
              </p:cNvPr>
              <p:cNvSpPr/>
              <p:nvPr/>
            </p:nvSpPr>
            <p:spPr>
              <a:xfrm>
                <a:off x="-1020924" y="8746949"/>
                <a:ext cx="30769" cy="46153"/>
              </a:xfrm>
              <a:custGeom>
                <a:avLst/>
                <a:gdLst>
                  <a:gd name="connsiteX0" fmla="*/ 24615 w 30769"/>
                  <a:gd name="connsiteY0" fmla="*/ 46154 h 46153"/>
                  <a:gd name="connsiteX1" fmla="*/ 18462 w 30769"/>
                  <a:gd name="connsiteY1" fmla="*/ 43078 h 46153"/>
                  <a:gd name="connsiteX2" fmla="*/ 0 w 30769"/>
                  <a:gd name="connsiteY2" fmla="*/ 9231 h 46153"/>
                  <a:gd name="connsiteX3" fmla="*/ 3077 w 30769"/>
                  <a:gd name="connsiteY3" fmla="*/ 0 h 46153"/>
                  <a:gd name="connsiteX4" fmla="*/ 12308 w 30769"/>
                  <a:gd name="connsiteY4" fmla="*/ 3077 h 46153"/>
                  <a:gd name="connsiteX5" fmla="*/ 30769 w 30769"/>
                  <a:gd name="connsiteY5" fmla="*/ 36923 h 46153"/>
                  <a:gd name="connsiteX6" fmla="*/ 24615 w 30769"/>
                  <a:gd name="connsiteY6" fmla="*/ 46154 h 46153"/>
                  <a:gd name="connsiteX7" fmla="*/ 24615 w 30769"/>
                  <a:gd name="connsiteY7" fmla="*/ 46154 h 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769" h="46153">
                    <a:moveTo>
                      <a:pt x="24615" y="46154"/>
                    </a:moveTo>
                    <a:cubicBezTo>
                      <a:pt x="21538" y="46154"/>
                      <a:pt x="21538" y="46154"/>
                      <a:pt x="18462" y="43078"/>
                    </a:cubicBezTo>
                    <a:lnTo>
                      <a:pt x="0" y="9231"/>
                    </a:lnTo>
                    <a:cubicBezTo>
                      <a:pt x="0" y="6154"/>
                      <a:pt x="0" y="3077"/>
                      <a:pt x="3077" y="0"/>
                    </a:cubicBezTo>
                    <a:cubicBezTo>
                      <a:pt x="6154" y="0"/>
                      <a:pt x="9231" y="0"/>
                      <a:pt x="12308" y="3077"/>
                    </a:cubicBezTo>
                    <a:lnTo>
                      <a:pt x="30769" y="36923"/>
                    </a:lnTo>
                    <a:cubicBezTo>
                      <a:pt x="30769" y="40001"/>
                      <a:pt x="30769" y="43078"/>
                      <a:pt x="24615" y="46154"/>
                    </a:cubicBezTo>
                    <a:cubicBezTo>
                      <a:pt x="27693" y="46154"/>
                      <a:pt x="27693" y="46154"/>
                      <a:pt x="24615" y="4615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6" name="任意多边形: 形状 185">
                <a:extLst>
                  <a:ext uri="{FF2B5EF4-FFF2-40B4-BE49-F238E27FC236}">
                    <a16:creationId xmlns:a16="http://schemas.microsoft.com/office/drawing/2014/main" id="{0F37C9E8-9FBC-4ABD-81B6-D8D55B683AA8}"/>
                  </a:ext>
                </a:extLst>
              </p:cNvPr>
              <p:cNvSpPr/>
              <p:nvPr/>
            </p:nvSpPr>
            <p:spPr>
              <a:xfrm>
                <a:off x="-1064001" y="8762334"/>
                <a:ext cx="30769" cy="46153"/>
              </a:xfrm>
              <a:custGeom>
                <a:avLst/>
                <a:gdLst>
                  <a:gd name="connsiteX0" fmla="*/ 24615 w 30769"/>
                  <a:gd name="connsiteY0" fmla="*/ 46154 h 46153"/>
                  <a:gd name="connsiteX1" fmla="*/ 18461 w 30769"/>
                  <a:gd name="connsiteY1" fmla="*/ 43078 h 46153"/>
                  <a:gd name="connsiteX2" fmla="*/ 0 w 30769"/>
                  <a:gd name="connsiteY2" fmla="*/ 9231 h 46153"/>
                  <a:gd name="connsiteX3" fmla="*/ 3077 w 30769"/>
                  <a:gd name="connsiteY3" fmla="*/ 0 h 46153"/>
                  <a:gd name="connsiteX4" fmla="*/ 12308 w 30769"/>
                  <a:gd name="connsiteY4" fmla="*/ 3077 h 46153"/>
                  <a:gd name="connsiteX5" fmla="*/ 30769 w 30769"/>
                  <a:gd name="connsiteY5" fmla="*/ 36923 h 46153"/>
                  <a:gd name="connsiteX6" fmla="*/ 24615 w 30769"/>
                  <a:gd name="connsiteY6" fmla="*/ 46154 h 46153"/>
                  <a:gd name="connsiteX7" fmla="*/ 24615 w 30769"/>
                  <a:gd name="connsiteY7" fmla="*/ 46154 h 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769" h="46153">
                    <a:moveTo>
                      <a:pt x="24615" y="46154"/>
                    </a:moveTo>
                    <a:cubicBezTo>
                      <a:pt x="21538" y="46154"/>
                      <a:pt x="21538" y="46154"/>
                      <a:pt x="18461" y="43078"/>
                    </a:cubicBezTo>
                    <a:lnTo>
                      <a:pt x="0" y="9231"/>
                    </a:lnTo>
                    <a:cubicBezTo>
                      <a:pt x="0" y="6154"/>
                      <a:pt x="0" y="3077"/>
                      <a:pt x="3077" y="0"/>
                    </a:cubicBezTo>
                    <a:cubicBezTo>
                      <a:pt x="6154" y="0"/>
                      <a:pt x="9231" y="0"/>
                      <a:pt x="12308" y="3077"/>
                    </a:cubicBezTo>
                    <a:lnTo>
                      <a:pt x="30769" y="36923"/>
                    </a:lnTo>
                    <a:cubicBezTo>
                      <a:pt x="30769" y="40001"/>
                      <a:pt x="30769" y="43078"/>
                      <a:pt x="24615" y="46154"/>
                    </a:cubicBezTo>
                    <a:cubicBezTo>
                      <a:pt x="24615" y="46154"/>
                      <a:pt x="24615" y="46154"/>
                      <a:pt x="24615" y="4615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1BB1752A-F332-4CDD-8F48-397C756F4CF2}"/>
                </a:ext>
              </a:extLst>
            </p:cNvPr>
            <p:cNvGrpSpPr/>
            <p:nvPr/>
          </p:nvGrpSpPr>
          <p:grpSpPr>
            <a:xfrm>
              <a:off x="-54770" y="8743873"/>
              <a:ext cx="500512" cy="347691"/>
              <a:chOff x="-54770" y="8743873"/>
              <a:chExt cx="500512" cy="347691"/>
            </a:xfrm>
          </p:grpSpPr>
          <p:sp>
            <p:nvSpPr>
              <p:cNvPr id="175" name="任意多边形: 形状 174">
                <a:extLst>
                  <a:ext uri="{FF2B5EF4-FFF2-40B4-BE49-F238E27FC236}">
                    <a16:creationId xmlns:a16="http://schemas.microsoft.com/office/drawing/2014/main" id="{C7AEE560-0D40-4BEB-B52E-30C253FC9F0D}"/>
                  </a:ext>
                </a:extLst>
              </p:cNvPr>
              <p:cNvSpPr/>
              <p:nvPr/>
            </p:nvSpPr>
            <p:spPr>
              <a:xfrm>
                <a:off x="240614" y="8743873"/>
                <a:ext cx="184615" cy="227692"/>
              </a:xfrm>
              <a:custGeom>
                <a:avLst/>
                <a:gdLst>
                  <a:gd name="connsiteX0" fmla="*/ 184615 w 184615"/>
                  <a:gd name="connsiteY0" fmla="*/ 187692 h 227692"/>
                  <a:gd name="connsiteX1" fmla="*/ 184615 w 184615"/>
                  <a:gd name="connsiteY1" fmla="*/ 0 h 227692"/>
                  <a:gd name="connsiteX2" fmla="*/ 0 w 184615"/>
                  <a:gd name="connsiteY2" fmla="*/ 0 h 227692"/>
                  <a:gd name="connsiteX3" fmla="*/ 18462 w 184615"/>
                  <a:gd name="connsiteY3" fmla="*/ 200000 h 227692"/>
                  <a:gd name="connsiteX4" fmla="*/ 169231 w 184615"/>
                  <a:gd name="connsiteY4" fmla="*/ 227692 h 227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615" h="227692">
                    <a:moveTo>
                      <a:pt x="184615" y="187692"/>
                    </a:moveTo>
                    <a:lnTo>
                      <a:pt x="184615" y="0"/>
                    </a:lnTo>
                    <a:lnTo>
                      <a:pt x="0" y="0"/>
                    </a:lnTo>
                    <a:lnTo>
                      <a:pt x="18462" y="200000"/>
                    </a:lnTo>
                    <a:lnTo>
                      <a:pt x="169231" y="227692"/>
                    </a:ln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6" name="任意多边形: 形状 175">
                <a:extLst>
                  <a:ext uri="{FF2B5EF4-FFF2-40B4-BE49-F238E27FC236}">
                    <a16:creationId xmlns:a16="http://schemas.microsoft.com/office/drawing/2014/main" id="{446F91B8-0489-4A68-B03A-71751E314A90}"/>
                  </a:ext>
                </a:extLst>
              </p:cNvPr>
              <p:cNvSpPr/>
              <p:nvPr/>
            </p:nvSpPr>
            <p:spPr>
              <a:xfrm>
                <a:off x="-54770" y="8885410"/>
                <a:ext cx="500512" cy="160000"/>
              </a:xfrm>
              <a:custGeom>
                <a:avLst/>
                <a:gdLst>
                  <a:gd name="connsiteX0" fmla="*/ 492308 w 500512"/>
                  <a:gd name="connsiteY0" fmla="*/ 46154 h 160000"/>
                  <a:gd name="connsiteX1" fmla="*/ 304615 w 500512"/>
                  <a:gd name="connsiteY1" fmla="*/ 0 h 160000"/>
                  <a:gd name="connsiteX2" fmla="*/ 169231 w 500512"/>
                  <a:gd name="connsiteY2" fmla="*/ 80000 h 160000"/>
                  <a:gd name="connsiteX3" fmla="*/ 0 w 500512"/>
                  <a:gd name="connsiteY3" fmla="*/ 160000 h 160000"/>
                  <a:gd name="connsiteX4" fmla="*/ 492308 w 500512"/>
                  <a:gd name="connsiteY4" fmla="*/ 160000 h 160000"/>
                  <a:gd name="connsiteX5" fmla="*/ 492308 w 500512"/>
                  <a:gd name="connsiteY5" fmla="*/ 46154 h 1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512" h="160000">
                    <a:moveTo>
                      <a:pt x="492308" y="46154"/>
                    </a:moveTo>
                    <a:cubicBezTo>
                      <a:pt x="492308" y="46154"/>
                      <a:pt x="366154" y="64616"/>
                      <a:pt x="304615" y="0"/>
                    </a:cubicBezTo>
                    <a:cubicBezTo>
                      <a:pt x="304615" y="0"/>
                      <a:pt x="215385" y="70770"/>
                      <a:pt x="169231" y="80000"/>
                    </a:cubicBezTo>
                    <a:cubicBezTo>
                      <a:pt x="123077" y="89232"/>
                      <a:pt x="12308" y="86154"/>
                      <a:pt x="0" y="160000"/>
                    </a:cubicBezTo>
                    <a:lnTo>
                      <a:pt x="492308" y="160000"/>
                    </a:lnTo>
                    <a:cubicBezTo>
                      <a:pt x="492308" y="160000"/>
                      <a:pt x="510769" y="98462"/>
                      <a:pt x="492308" y="46154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7" name="任意多边形: 形状 176">
                <a:extLst>
                  <a:ext uri="{FF2B5EF4-FFF2-40B4-BE49-F238E27FC236}">
                    <a16:creationId xmlns:a16="http://schemas.microsoft.com/office/drawing/2014/main" id="{7088FACE-426B-401E-8770-158629DA0DB6}"/>
                  </a:ext>
                </a:extLst>
              </p:cNvPr>
              <p:cNvSpPr/>
              <p:nvPr/>
            </p:nvSpPr>
            <p:spPr>
              <a:xfrm>
                <a:off x="-54770" y="9045411"/>
                <a:ext cx="492307" cy="46153"/>
              </a:xfrm>
              <a:custGeom>
                <a:avLst/>
                <a:gdLst>
                  <a:gd name="connsiteX0" fmla="*/ 0 w 492307"/>
                  <a:gd name="connsiteY0" fmla="*/ 0 h 46153"/>
                  <a:gd name="connsiteX1" fmla="*/ 492308 w 492307"/>
                  <a:gd name="connsiteY1" fmla="*/ 0 h 46153"/>
                  <a:gd name="connsiteX2" fmla="*/ 492308 w 492307"/>
                  <a:gd name="connsiteY2" fmla="*/ 46154 h 46153"/>
                  <a:gd name="connsiteX3" fmla="*/ 0 w 492307"/>
                  <a:gd name="connsiteY3" fmla="*/ 46154 h 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307" h="46153">
                    <a:moveTo>
                      <a:pt x="0" y="0"/>
                    </a:moveTo>
                    <a:lnTo>
                      <a:pt x="492308" y="0"/>
                    </a:lnTo>
                    <a:lnTo>
                      <a:pt x="492308" y="46154"/>
                    </a:lnTo>
                    <a:lnTo>
                      <a:pt x="0" y="46154"/>
                    </a:ln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8" name="任意多边形: 形状 177">
                <a:extLst>
                  <a:ext uri="{FF2B5EF4-FFF2-40B4-BE49-F238E27FC236}">
                    <a16:creationId xmlns:a16="http://schemas.microsoft.com/office/drawing/2014/main" id="{373AFCD6-177A-4731-BA66-83490F5B0FFB}"/>
                  </a:ext>
                </a:extLst>
              </p:cNvPr>
              <p:cNvSpPr/>
              <p:nvPr/>
            </p:nvSpPr>
            <p:spPr>
              <a:xfrm>
                <a:off x="241383" y="8876949"/>
                <a:ext cx="202307" cy="63846"/>
              </a:xfrm>
              <a:custGeom>
                <a:avLst/>
                <a:gdLst>
                  <a:gd name="connsiteX0" fmla="*/ 159231 w 202307"/>
                  <a:gd name="connsiteY0" fmla="*/ 63846 h 63846"/>
                  <a:gd name="connsiteX1" fmla="*/ 2308 w 202307"/>
                  <a:gd name="connsiteY1" fmla="*/ 11538 h 63846"/>
                  <a:gd name="connsiteX2" fmla="*/ 2308 w 202307"/>
                  <a:gd name="connsiteY2" fmla="*/ 2308 h 63846"/>
                  <a:gd name="connsiteX3" fmla="*/ 11539 w 202307"/>
                  <a:gd name="connsiteY3" fmla="*/ 2308 h 63846"/>
                  <a:gd name="connsiteX4" fmla="*/ 196154 w 202307"/>
                  <a:gd name="connsiteY4" fmla="*/ 48462 h 63846"/>
                  <a:gd name="connsiteX5" fmla="*/ 202308 w 202307"/>
                  <a:gd name="connsiteY5" fmla="*/ 54615 h 63846"/>
                  <a:gd name="connsiteX6" fmla="*/ 196154 w 202307"/>
                  <a:gd name="connsiteY6" fmla="*/ 60769 h 63846"/>
                  <a:gd name="connsiteX7" fmla="*/ 159231 w 202307"/>
                  <a:gd name="connsiteY7" fmla="*/ 63846 h 6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307" h="63846">
                    <a:moveTo>
                      <a:pt x="159231" y="63846"/>
                    </a:moveTo>
                    <a:cubicBezTo>
                      <a:pt x="119231" y="63846"/>
                      <a:pt x="51538" y="57692"/>
                      <a:pt x="2308" y="11538"/>
                    </a:cubicBezTo>
                    <a:cubicBezTo>
                      <a:pt x="-769" y="8461"/>
                      <a:pt x="-769" y="5385"/>
                      <a:pt x="2308" y="2308"/>
                    </a:cubicBezTo>
                    <a:cubicBezTo>
                      <a:pt x="5384" y="-769"/>
                      <a:pt x="8462" y="-769"/>
                      <a:pt x="11539" y="2308"/>
                    </a:cubicBezTo>
                    <a:cubicBezTo>
                      <a:pt x="79231" y="63846"/>
                      <a:pt x="193077" y="48462"/>
                      <a:pt x="196154" y="48462"/>
                    </a:cubicBezTo>
                    <a:cubicBezTo>
                      <a:pt x="199231" y="48462"/>
                      <a:pt x="202308" y="51539"/>
                      <a:pt x="202308" y="54615"/>
                    </a:cubicBezTo>
                    <a:cubicBezTo>
                      <a:pt x="202308" y="57692"/>
                      <a:pt x="199231" y="60769"/>
                      <a:pt x="196154" y="60769"/>
                    </a:cubicBezTo>
                    <a:cubicBezTo>
                      <a:pt x="196154" y="60769"/>
                      <a:pt x="180769" y="63846"/>
                      <a:pt x="159231" y="6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9" name="任意多边形: 形状 178">
                <a:extLst>
                  <a:ext uri="{FF2B5EF4-FFF2-40B4-BE49-F238E27FC236}">
                    <a16:creationId xmlns:a16="http://schemas.microsoft.com/office/drawing/2014/main" id="{C8315AE6-080F-478C-80D4-C4860435F30D}"/>
                  </a:ext>
                </a:extLst>
              </p:cNvPr>
              <p:cNvSpPr/>
              <p:nvPr/>
            </p:nvSpPr>
            <p:spPr>
              <a:xfrm>
                <a:off x="207537" y="8901564"/>
                <a:ext cx="41538" cy="42308"/>
              </a:xfrm>
              <a:custGeom>
                <a:avLst/>
                <a:gdLst>
                  <a:gd name="connsiteX0" fmla="*/ 33077 w 41538"/>
                  <a:gd name="connsiteY0" fmla="*/ 42308 h 42308"/>
                  <a:gd name="connsiteX1" fmla="*/ 30000 w 41538"/>
                  <a:gd name="connsiteY1" fmla="*/ 39231 h 42308"/>
                  <a:gd name="connsiteX2" fmla="*/ 2307 w 41538"/>
                  <a:gd name="connsiteY2" fmla="*/ 11539 h 42308"/>
                  <a:gd name="connsiteX3" fmla="*/ 2307 w 41538"/>
                  <a:gd name="connsiteY3" fmla="*/ 2308 h 42308"/>
                  <a:gd name="connsiteX4" fmla="*/ 11538 w 41538"/>
                  <a:gd name="connsiteY4" fmla="*/ 2308 h 42308"/>
                  <a:gd name="connsiteX5" fmla="*/ 39230 w 41538"/>
                  <a:gd name="connsiteY5" fmla="*/ 30000 h 42308"/>
                  <a:gd name="connsiteX6" fmla="*/ 39230 w 41538"/>
                  <a:gd name="connsiteY6" fmla="*/ 39231 h 42308"/>
                  <a:gd name="connsiteX7" fmla="*/ 33077 w 41538"/>
                  <a:gd name="connsiteY7" fmla="*/ 42308 h 42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8" h="42308">
                    <a:moveTo>
                      <a:pt x="33077" y="42308"/>
                    </a:moveTo>
                    <a:cubicBezTo>
                      <a:pt x="33077" y="42308"/>
                      <a:pt x="30000" y="42308"/>
                      <a:pt x="30000" y="39231"/>
                    </a:cubicBezTo>
                    <a:lnTo>
                      <a:pt x="2307" y="11539"/>
                    </a:lnTo>
                    <a:cubicBezTo>
                      <a:pt x="-769" y="8462"/>
                      <a:pt x="-769" y="5385"/>
                      <a:pt x="2307" y="2308"/>
                    </a:cubicBezTo>
                    <a:cubicBezTo>
                      <a:pt x="5385" y="-769"/>
                      <a:pt x="8461" y="-769"/>
                      <a:pt x="11538" y="2308"/>
                    </a:cubicBezTo>
                    <a:lnTo>
                      <a:pt x="39230" y="30000"/>
                    </a:lnTo>
                    <a:cubicBezTo>
                      <a:pt x="42308" y="33077"/>
                      <a:pt x="42308" y="36154"/>
                      <a:pt x="39230" y="39231"/>
                    </a:cubicBezTo>
                    <a:cubicBezTo>
                      <a:pt x="36154" y="42308"/>
                      <a:pt x="33077" y="42308"/>
                      <a:pt x="33077" y="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0" name="任意多边形: 形状 179">
                <a:extLst>
                  <a:ext uri="{FF2B5EF4-FFF2-40B4-BE49-F238E27FC236}">
                    <a16:creationId xmlns:a16="http://schemas.microsoft.com/office/drawing/2014/main" id="{59A44AA5-36E1-4C89-AF18-25070341F0F5}"/>
                  </a:ext>
                </a:extLst>
              </p:cNvPr>
              <p:cNvSpPr/>
              <p:nvPr/>
            </p:nvSpPr>
            <p:spPr>
              <a:xfrm>
                <a:off x="167537" y="8929257"/>
                <a:ext cx="41538" cy="42307"/>
              </a:xfrm>
              <a:custGeom>
                <a:avLst/>
                <a:gdLst>
                  <a:gd name="connsiteX0" fmla="*/ 33077 w 41538"/>
                  <a:gd name="connsiteY0" fmla="*/ 42308 h 42307"/>
                  <a:gd name="connsiteX1" fmla="*/ 30000 w 41538"/>
                  <a:gd name="connsiteY1" fmla="*/ 39231 h 42307"/>
                  <a:gd name="connsiteX2" fmla="*/ 2307 w 41538"/>
                  <a:gd name="connsiteY2" fmla="*/ 11538 h 42307"/>
                  <a:gd name="connsiteX3" fmla="*/ 2307 w 41538"/>
                  <a:gd name="connsiteY3" fmla="*/ 2307 h 42307"/>
                  <a:gd name="connsiteX4" fmla="*/ 11538 w 41538"/>
                  <a:gd name="connsiteY4" fmla="*/ 2307 h 42307"/>
                  <a:gd name="connsiteX5" fmla="*/ 39231 w 41538"/>
                  <a:gd name="connsiteY5" fmla="*/ 30000 h 42307"/>
                  <a:gd name="connsiteX6" fmla="*/ 39231 w 41538"/>
                  <a:gd name="connsiteY6" fmla="*/ 39231 h 42307"/>
                  <a:gd name="connsiteX7" fmla="*/ 33077 w 41538"/>
                  <a:gd name="connsiteY7" fmla="*/ 42308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8" h="42307">
                    <a:moveTo>
                      <a:pt x="33077" y="42308"/>
                    </a:moveTo>
                    <a:cubicBezTo>
                      <a:pt x="33077" y="42308"/>
                      <a:pt x="30000" y="42308"/>
                      <a:pt x="30000" y="39231"/>
                    </a:cubicBezTo>
                    <a:lnTo>
                      <a:pt x="2307" y="11538"/>
                    </a:lnTo>
                    <a:cubicBezTo>
                      <a:pt x="-769" y="8461"/>
                      <a:pt x="-769" y="5384"/>
                      <a:pt x="2307" y="2307"/>
                    </a:cubicBezTo>
                    <a:cubicBezTo>
                      <a:pt x="5385" y="-769"/>
                      <a:pt x="8462" y="-769"/>
                      <a:pt x="11538" y="2307"/>
                    </a:cubicBezTo>
                    <a:lnTo>
                      <a:pt x="39231" y="30000"/>
                    </a:lnTo>
                    <a:cubicBezTo>
                      <a:pt x="42308" y="33076"/>
                      <a:pt x="42308" y="36153"/>
                      <a:pt x="39231" y="39231"/>
                    </a:cubicBezTo>
                    <a:cubicBezTo>
                      <a:pt x="36154" y="42308"/>
                      <a:pt x="36154" y="42308"/>
                      <a:pt x="33077" y="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25243F1D-A93A-491F-843A-574ABB3662FD}"/>
                </a:ext>
              </a:extLst>
            </p:cNvPr>
            <p:cNvSpPr/>
            <p:nvPr/>
          </p:nvSpPr>
          <p:spPr>
            <a:xfrm>
              <a:off x="-999386" y="6510026"/>
              <a:ext cx="1539975" cy="2304615"/>
            </a:xfrm>
            <a:custGeom>
              <a:avLst/>
              <a:gdLst>
                <a:gd name="connsiteX0" fmla="*/ 495385 w 1539975"/>
                <a:gd name="connsiteY0" fmla="*/ 21538 h 2304615"/>
                <a:gd name="connsiteX1" fmla="*/ 24615 w 1539975"/>
                <a:gd name="connsiteY1" fmla="*/ 1126154 h 2304615"/>
                <a:gd name="connsiteX2" fmla="*/ 0 w 1539975"/>
                <a:gd name="connsiteY2" fmla="*/ 2150769 h 2304615"/>
                <a:gd name="connsiteX3" fmla="*/ 292308 w 1539975"/>
                <a:gd name="connsiteY3" fmla="*/ 2267692 h 2304615"/>
                <a:gd name="connsiteX4" fmla="*/ 446154 w 1539975"/>
                <a:gd name="connsiteY4" fmla="*/ 1332307 h 2304615"/>
                <a:gd name="connsiteX5" fmla="*/ 996924 w 1539975"/>
                <a:gd name="connsiteY5" fmla="*/ 507692 h 2304615"/>
                <a:gd name="connsiteX6" fmla="*/ 1043077 w 1539975"/>
                <a:gd name="connsiteY6" fmla="*/ 1489231 h 2304615"/>
                <a:gd name="connsiteX7" fmla="*/ 1190770 w 1539975"/>
                <a:gd name="connsiteY7" fmla="*/ 2295385 h 2304615"/>
                <a:gd name="connsiteX8" fmla="*/ 1480000 w 1539975"/>
                <a:gd name="connsiteY8" fmla="*/ 2304615 h 2304615"/>
                <a:gd name="connsiteX9" fmla="*/ 1449231 w 1539975"/>
                <a:gd name="connsiteY9" fmla="*/ 1470769 h 2304615"/>
                <a:gd name="connsiteX10" fmla="*/ 1529231 w 1539975"/>
                <a:gd name="connsiteY10" fmla="*/ 0 h 2304615"/>
                <a:gd name="connsiteX11" fmla="*/ 495385 w 1539975"/>
                <a:gd name="connsiteY11" fmla="*/ 21538 h 230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9975" h="2304615">
                  <a:moveTo>
                    <a:pt x="495385" y="21538"/>
                  </a:moveTo>
                  <a:lnTo>
                    <a:pt x="24615" y="1126154"/>
                  </a:lnTo>
                  <a:lnTo>
                    <a:pt x="0" y="2150769"/>
                  </a:lnTo>
                  <a:lnTo>
                    <a:pt x="292308" y="2267692"/>
                  </a:lnTo>
                  <a:lnTo>
                    <a:pt x="446154" y="1332307"/>
                  </a:lnTo>
                  <a:cubicBezTo>
                    <a:pt x="446154" y="1332307"/>
                    <a:pt x="987693" y="523077"/>
                    <a:pt x="996924" y="507692"/>
                  </a:cubicBezTo>
                  <a:cubicBezTo>
                    <a:pt x="1012308" y="476923"/>
                    <a:pt x="1043077" y="1489231"/>
                    <a:pt x="1043077" y="1489231"/>
                  </a:cubicBezTo>
                  <a:lnTo>
                    <a:pt x="1190770" y="2295385"/>
                  </a:lnTo>
                  <a:lnTo>
                    <a:pt x="1480000" y="2304615"/>
                  </a:lnTo>
                  <a:cubicBezTo>
                    <a:pt x="1480000" y="2304615"/>
                    <a:pt x="1443077" y="1572308"/>
                    <a:pt x="1449231" y="1470769"/>
                  </a:cubicBezTo>
                  <a:cubicBezTo>
                    <a:pt x="1458462" y="1316923"/>
                    <a:pt x="1575385" y="98461"/>
                    <a:pt x="1529231" y="0"/>
                  </a:cubicBezTo>
                  <a:cubicBezTo>
                    <a:pt x="824616" y="33846"/>
                    <a:pt x="495385" y="21538"/>
                    <a:pt x="495385" y="21538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F7B61B47-E7B9-475A-AED1-D99AEE275DBC}"/>
                </a:ext>
              </a:extLst>
            </p:cNvPr>
            <p:cNvSpPr/>
            <p:nvPr/>
          </p:nvSpPr>
          <p:spPr>
            <a:xfrm>
              <a:off x="-67078" y="6657718"/>
              <a:ext cx="70769" cy="366153"/>
            </a:xfrm>
            <a:custGeom>
              <a:avLst/>
              <a:gdLst>
                <a:gd name="connsiteX0" fmla="*/ 64616 w 70769"/>
                <a:gd name="connsiteY0" fmla="*/ 366154 h 366153"/>
                <a:gd name="connsiteX1" fmla="*/ 58462 w 70769"/>
                <a:gd name="connsiteY1" fmla="*/ 363078 h 366153"/>
                <a:gd name="connsiteX2" fmla="*/ 0 w 70769"/>
                <a:gd name="connsiteY2" fmla="*/ 6154 h 366153"/>
                <a:gd name="connsiteX3" fmla="*/ 6154 w 70769"/>
                <a:gd name="connsiteY3" fmla="*/ 0 h 366153"/>
                <a:gd name="connsiteX4" fmla="*/ 12308 w 70769"/>
                <a:gd name="connsiteY4" fmla="*/ 6154 h 366153"/>
                <a:gd name="connsiteX5" fmla="*/ 70769 w 70769"/>
                <a:gd name="connsiteY5" fmla="*/ 360000 h 366153"/>
                <a:gd name="connsiteX6" fmla="*/ 64616 w 70769"/>
                <a:gd name="connsiteY6" fmla="*/ 366154 h 366153"/>
                <a:gd name="connsiteX7" fmla="*/ 64616 w 70769"/>
                <a:gd name="connsiteY7" fmla="*/ 366154 h 36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69" h="366153">
                  <a:moveTo>
                    <a:pt x="64616" y="366154"/>
                  </a:moveTo>
                  <a:cubicBezTo>
                    <a:pt x="61538" y="366154"/>
                    <a:pt x="61538" y="366154"/>
                    <a:pt x="58462" y="363078"/>
                  </a:cubicBezTo>
                  <a:cubicBezTo>
                    <a:pt x="9231" y="246154"/>
                    <a:pt x="0" y="15385"/>
                    <a:pt x="0" y="6154"/>
                  </a:cubicBezTo>
                  <a:cubicBezTo>
                    <a:pt x="0" y="3077"/>
                    <a:pt x="3077" y="0"/>
                    <a:pt x="6154" y="0"/>
                  </a:cubicBezTo>
                  <a:cubicBezTo>
                    <a:pt x="9231" y="0"/>
                    <a:pt x="12308" y="3077"/>
                    <a:pt x="12308" y="6154"/>
                  </a:cubicBezTo>
                  <a:cubicBezTo>
                    <a:pt x="12308" y="9231"/>
                    <a:pt x="21538" y="246154"/>
                    <a:pt x="70769" y="360000"/>
                  </a:cubicBezTo>
                  <a:cubicBezTo>
                    <a:pt x="70769" y="363078"/>
                    <a:pt x="70769" y="366154"/>
                    <a:pt x="64616" y="366154"/>
                  </a:cubicBezTo>
                  <a:cubicBezTo>
                    <a:pt x="67692" y="366154"/>
                    <a:pt x="64616" y="366154"/>
                    <a:pt x="64616" y="366154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1160C4FD-C23D-448E-B542-9E58DA6A8128}"/>
                </a:ext>
              </a:extLst>
            </p:cNvPr>
            <p:cNvSpPr/>
            <p:nvPr/>
          </p:nvSpPr>
          <p:spPr>
            <a:xfrm>
              <a:off x="-180924" y="6586949"/>
              <a:ext cx="156923" cy="356923"/>
            </a:xfrm>
            <a:custGeom>
              <a:avLst/>
              <a:gdLst>
                <a:gd name="connsiteX0" fmla="*/ 147692 w 156923"/>
                <a:gd name="connsiteY0" fmla="*/ 356923 h 356923"/>
                <a:gd name="connsiteX1" fmla="*/ 144615 w 156923"/>
                <a:gd name="connsiteY1" fmla="*/ 356923 h 356923"/>
                <a:gd name="connsiteX2" fmla="*/ 33846 w 156923"/>
                <a:gd name="connsiteY2" fmla="*/ 276923 h 356923"/>
                <a:gd name="connsiteX3" fmla="*/ 0 w 156923"/>
                <a:gd name="connsiteY3" fmla="*/ 6153 h 356923"/>
                <a:gd name="connsiteX4" fmla="*/ 6154 w 156923"/>
                <a:gd name="connsiteY4" fmla="*/ 0 h 356923"/>
                <a:gd name="connsiteX5" fmla="*/ 12308 w 156923"/>
                <a:gd name="connsiteY5" fmla="*/ 6153 h 356923"/>
                <a:gd name="connsiteX6" fmla="*/ 46154 w 156923"/>
                <a:gd name="connsiteY6" fmla="*/ 270769 h 356923"/>
                <a:gd name="connsiteX7" fmla="*/ 153846 w 156923"/>
                <a:gd name="connsiteY7" fmla="*/ 347692 h 356923"/>
                <a:gd name="connsiteX8" fmla="*/ 156923 w 156923"/>
                <a:gd name="connsiteY8" fmla="*/ 356923 h 356923"/>
                <a:gd name="connsiteX9" fmla="*/ 147692 w 156923"/>
                <a:gd name="connsiteY9" fmla="*/ 356923 h 35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923" h="356923">
                  <a:moveTo>
                    <a:pt x="147692" y="356923"/>
                  </a:moveTo>
                  <a:cubicBezTo>
                    <a:pt x="147692" y="356923"/>
                    <a:pt x="144615" y="356923"/>
                    <a:pt x="144615" y="356923"/>
                  </a:cubicBezTo>
                  <a:cubicBezTo>
                    <a:pt x="135384" y="350769"/>
                    <a:pt x="46154" y="292308"/>
                    <a:pt x="33846" y="276923"/>
                  </a:cubicBezTo>
                  <a:cubicBezTo>
                    <a:pt x="21538" y="261538"/>
                    <a:pt x="3077" y="49231"/>
                    <a:pt x="0" y="6153"/>
                  </a:cubicBezTo>
                  <a:cubicBezTo>
                    <a:pt x="0" y="3077"/>
                    <a:pt x="3077" y="0"/>
                    <a:pt x="6154" y="0"/>
                  </a:cubicBezTo>
                  <a:cubicBezTo>
                    <a:pt x="9231" y="0"/>
                    <a:pt x="12308" y="3077"/>
                    <a:pt x="12308" y="6153"/>
                  </a:cubicBezTo>
                  <a:cubicBezTo>
                    <a:pt x="21538" y="101538"/>
                    <a:pt x="36923" y="258461"/>
                    <a:pt x="46154" y="270769"/>
                  </a:cubicBezTo>
                  <a:cubicBezTo>
                    <a:pt x="55385" y="280000"/>
                    <a:pt x="113846" y="323077"/>
                    <a:pt x="153846" y="347692"/>
                  </a:cubicBezTo>
                  <a:cubicBezTo>
                    <a:pt x="156923" y="350769"/>
                    <a:pt x="156923" y="353846"/>
                    <a:pt x="156923" y="356923"/>
                  </a:cubicBezTo>
                  <a:cubicBezTo>
                    <a:pt x="153846" y="356923"/>
                    <a:pt x="150769" y="356923"/>
                    <a:pt x="147692" y="356923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BA60D070-E2F0-42E2-887A-2089F8C73095}"/>
                </a:ext>
              </a:extLst>
            </p:cNvPr>
            <p:cNvSpPr/>
            <p:nvPr/>
          </p:nvSpPr>
          <p:spPr>
            <a:xfrm>
              <a:off x="283691" y="6590027"/>
              <a:ext cx="206153" cy="224615"/>
            </a:xfrm>
            <a:custGeom>
              <a:avLst/>
              <a:gdLst>
                <a:gd name="connsiteX0" fmla="*/ 169231 w 206153"/>
                <a:gd name="connsiteY0" fmla="*/ 224615 h 224615"/>
                <a:gd name="connsiteX1" fmla="*/ 166154 w 206153"/>
                <a:gd name="connsiteY1" fmla="*/ 224615 h 224615"/>
                <a:gd name="connsiteX2" fmla="*/ 0 w 206153"/>
                <a:gd name="connsiteY2" fmla="*/ 21538 h 224615"/>
                <a:gd name="connsiteX3" fmla="*/ 0 w 206153"/>
                <a:gd name="connsiteY3" fmla="*/ 18461 h 224615"/>
                <a:gd name="connsiteX4" fmla="*/ 3077 w 206153"/>
                <a:gd name="connsiteY4" fmla="*/ 15385 h 224615"/>
                <a:gd name="connsiteX5" fmla="*/ 49230 w 206153"/>
                <a:gd name="connsiteY5" fmla="*/ 0 h 224615"/>
                <a:gd name="connsiteX6" fmla="*/ 55384 w 206153"/>
                <a:gd name="connsiteY6" fmla="*/ 3076 h 224615"/>
                <a:gd name="connsiteX7" fmla="*/ 203077 w 206153"/>
                <a:gd name="connsiteY7" fmla="*/ 184615 h 224615"/>
                <a:gd name="connsiteX8" fmla="*/ 206154 w 206153"/>
                <a:gd name="connsiteY8" fmla="*/ 187692 h 224615"/>
                <a:gd name="connsiteX9" fmla="*/ 206154 w 206153"/>
                <a:gd name="connsiteY9" fmla="*/ 190769 h 224615"/>
                <a:gd name="connsiteX10" fmla="*/ 175385 w 206153"/>
                <a:gd name="connsiteY10" fmla="*/ 224615 h 224615"/>
                <a:gd name="connsiteX11" fmla="*/ 169231 w 206153"/>
                <a:gd name="connsiteY11" fmla="*/ 224615 h 224615"/>
                <a:gd name="connsiteX12" fmla="*/ 12308 w 206153"/>
                <a:gd name="connsiteY12" fmla="*/ 21538 h 224615"/>
                <a:gd name="connsiteX13" fmla="*/ 169231 w 206153"/>
                <a:gd name="connsiteY13" fmla="*/ 212308 h 224615"/>
                <a:gd name="connsiteX14" fmla="*/ 193846 w 206153"/>
                <a:gd name="connsiteY14" fmla="*/ 187692 h 224615"/>
                <a:gd name="connsiteX15" fmla="*/ 49230 w 206153"/>
                <a:gd name="connsiteY15" fmla="*/ 9230 h 224615"/>
                <a:gd name="connsiteX16" fmla="*/ 12308 w 206153"/>
                <a:gd name="connsiteY16" fmla="*/ 21538 h 22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6153" h="224615">
                  <a:moveTo>
                    <a:pt x="169231" y="224615"/>
                  </a:moveTo>
                  <a:cubicBezTo>
                    <a:pt x="169231" y="224615"/>
                    <a:pt x="166154" y="224615"/>
                    <a:pt x="166154" y="224615"/>
                  </a:cubicBezTo>
                  <a:cubicBezTo>
                    <a:pt x="160000" y="221538"/>
                    <a:pt x="33846" y="113846"/>
                    <a:pt x="0" y="21538"/>
                  </a:cubicBezTo>
                  <a:cubicBezTo>
                    <a:pt x="0" y="21538"/>
                    <a:pt x="0" y="18461"/>
                    <a:pt x="0" y="18461"/>
                  </a:cubicBezTo>
                  <a:cubicBezTo>
                    <a:pt x="0" y="18461"/>
                    <a:pt x="3077" y="15385"/>
                    <a:pt x="3077" y="15385"/>
                  </a:cubicBezTo>
                  <a:lnTo>
                    <a:pt x="49230" y="0"/>
                  </a:lnTo>
                  <a:cubicBezTo>
                    <a:pt x="52308" y="0"/>
                    <a:pt x="55384" y="0"/>
                    <a:pt x="55384" y="3076"/>
                  </a:cubicBezTo>
                  <a:cubicBezTo>
                    <a:pt x="55384" y="3076"/>
                    <a:pt x="116923" y="113846"/>
                    <a:pt x="203077" y="184615"/>
                  </a:cubicBezTo>
                  <a:cubicBezTo>
                    <a:pt x="203077" y="184615"/>
                    <a:pt x="206154" y="187692"/>
                    <a:pt x="206154" y="187692"/>
                  </a:cubicBezTo>
                  <a:cubicBezTo>
                    <a:pt x="206154" y="187692"/>
                    <a:pt x="206154" y="190769"/>
                    <a:pt x="206154" y="190769"/>
                  </a:cubicBezTo>
                  <a:lnTo>
                    <a:pt x="175385" y="224615"/>
                  </a:lnTo>
                  <a:cubicBezTo>
                    <a:pt x="172307" y="224615"/>
                    <a:pt x="169231" y="224615"/>
                    <a:pt x="169231" y="224615"/>
                  </a:cubicBezTo>
                  <a:close/>
                  <a:moveTo>
                    <a:pt x="12308" y="21538"/>
                  </a:moveTo>
                  <a:cubicBezTo>
                    <a:pt x="46154" y="101538"/>
                    <a:pt x="147692" y="193846"/>
                    <a:pt x="169231" y="212308"/>
                  </a:cubicBezTo>
                  <a:lnTo>
                    <a:pt x="193846" y="187692"/>
                  </a:lnTo>
                  <a:cubicBezTo>
                    <a:pt x="116923" y="123077"/>
                    <a:pt x="61538" y="30769"/>
                    <a:pt x="49230" y="9230"/>
                  </a:cubicBezTo>
                  <a:lnTo>
                    <a:pt x="12308" y="21538"/>
                  </a:ln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7BDF6229-DEEB-45EF-A90E-C3FDB88DAA23}"/>
                </a:ext>
              </a:extLst>
            </p:cNvPr>
            <p:cNvSpPr/>
            <p:nvPr/>
          </p:nvSpPr>
          <p:spPr>
            <a:xfrm>
              <a:off x="-553232" y="6593103"/>
              <a:ext cx="98461" cy="104616"/>
            </a:xfrm>
            <a:custGeom>
              <a:avLst/>
              <a:gdLst>
                <a:gd name="connsiteX0" fmla="*/ 6154 w 98461"/>
                <a:gd name="connsiteY0" fmla="*/ 104616 h 104616"/>
                <a:gd name="connsiteX1" fmla="*/ 0 w 98461"/>
                <a:gd name="connsiteY1" fmla="*/ 101539 h 104616"/>
                <a:gd name="connsiteX2" fmla="*/ 3077 w 98461"/>
                <a:gd name="connsiteY2" fmla="*/ 92308 h 104616"/>
                <a:gd name="connsiteX3" fmla="*/ 86154 w 98461"/>
                <a:gd name="connsiteY3" fmla="*/ 46154 h 104616"/>
                <a:gd name="connsiteX4" fmla="*/ 86154 w 98461"/>
                <a:gd name="connsiteY4" fmla="*/ 15385 h 104616"/>
                <a:gd name="connsiteX5" fmla="*/ 21539 w 98461"/>
                <a:gd name="connsiteY5" fmla="*/ 43078 h 104616"/>
                <a:gd name="connsiteX6" fmla="*/ 15385 w 98461"/>
                <a:gd name="connsiteY6" fmla="*/ 40001 h 104616"/>
                <a:gd name="connsiteX7" fmla="*/ 18462 w 98461"/>
                <a:gd name="connsiteY7" fmla="*/ 33846 h 104616"/>
                <a:gd name="connsiteX8" fmla="*/ 89231 w 98461"/>
                <a:gd name="connsiteY8" fmla="*/ 0 h 104616"/>
                <a:gd name="connsiteX9" fmla="*/ 95385 w 98461"/>
                <a:gd name="connsiteY9" fmla="*/ 0 h 104616"/>
                <a:gd name="connsiteX10" fmla="*/ 98462 w 98461"/>
                <a:gd name="connsiteY10" fmla="*/ 6154 h 104616"/>
                <a:gd name="connsiteX11" fmla="*/ 98462 w 98461"/>
                <a:gd name="connsiteY11" fmla="*/ 49231 h 104616"/>
                <a:gd name="connsiteX12" fmla="*/ 95385 w 98461"/>
                <a:gd name="connsiteY12" fmla="*/ 55385 h 104616"/>
                <a:gd name="connsiteX13" fmla="*/ 6154 w 98461"/>
                <a:gd name="connsiteY13" fmla="*/ 104616 h 104616"/>
                <a:gd name="connsiteX14" fmla="*/ 6154 w 98461"/>
                <a:gd name="connsiteY14" fmla="*/ 104616 h 104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8461" h="104616">
                  <a:moveTo>
                    <a:pt x="6154" y="104616"/>
                  </a:moveTo>
                  <a:cubicBezTo>
                    <a:pt x="3077" y="104616"/>
                    <a:pt x="3077" y="104616"/>
                    <a:pt x="0" y="101539"/>
                  </a:cubicBezTo>
                  <a:cubicBezTo>
                    <a:pt x="0" y="98462"/>
                    <a:pt x="0" y="95385"/>
                    <a:pt x="3077" y="92308"/>
                  </a:cubicBezTo>
                  <a:lnTo>
                    <a:pt x="86154" y="46154"/>
                  </a:lnTo>
                  <a:lnTo>
                    <a:pt x="86154" y="15385"/>
                  </a:lnTo>
                  <a:cubicBezTo>
                    <a:pt x="64616" y="27693"/>
                    <a:pt x="24615" y="43078"/>
                    <a:pt x="21539" y="43078"/>
                  </a:cubicBezTo>
                  <a:cubicBezTo>
                    <a:pt x="18462" y="43078"/>
                    <a:pt x="15385" y="43078"/>
                    <a:pt x="15385" y="40001"/>
                  </a:cubicBezTo>
                  <a:cubicBezTo>
                    <a:pt x="15385" y="36923"/>
                    <a:pt x="15385" y="33846"/>
                    <a:pt x="18462" y="33846"/>
                  </a:cubicBezTo>
                  <a:cubicBezTo>
                    <a:pt x="18462" y="33846"/>
                    <a:pt x="73846" y="9231"/>
                    <a:pt x="89231" y="0"/>
                  </a:cubicBezTo>
                  <a:cubicBezTo>
                    <a:pt x="92308" y="0"/>
                    <a:pt x="92308" y="0"/>
                    <a:pt x="95385" y="0"/>
                  </a:cubicBezTo>
                  <a:cubicBezTo>
                    <a:pt x="98462" y="0"/>
                    <a:pt x="98462" y="3077"/>
                    <a:pt x="98462" y="6154"/>
                  </a:cubicBezTo>
                  <a:lnTo>
                    <a:pt x="98462" y="49231"/>
                  </a:lnTo>
                  <a:cubicBezTo>
                    <a:pt x="98462" y="52308"/>
                    <a:pt x="98462" y="52308"/>
                    <a:pt x="95385" y="55385"/>
                  </a:cubicBezTo>
                  <a:lnTo>
                    <a:pt x="6154" y="104616"/>
                  </a:lnTo>
                  <a:cubicBezTo>
                    <a:pt x="9231" y="104616"/>
                    <a:pt x="9231" y="104616"/>
                    <a:pt x="6154" y="104616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FBAFD458-ECA1-43C4-9B02-39A12FC0CF9A}"/>
                </a:ext>
              </a:extLst>
            </p:cNvPr>
            <p:cNvSpPr/>
            <p:nvPr/>
          </p:nvSpPr>
          <p:spPr>
            <a:xfrm>
              <a:off x="-1384001" y="5250170"/>
              <a:ext cx="1046274" cy="970921"/>
            </a:xfrm>
            <a:custGeom>
              <a:avLst/>
              <a:gdLst>
                <a:gd name="connsiteX0" fmla="*/ 987693 w 1046274"/>
                <a:gd name="connsiteY0" fmla="*/ 10625 h 970921"/>
                <a:gd name="connsiteX1" fmla="*/ 695385 w 1046274"/>
                <a:gd name="connsiteY1" fmla="*/ 256779 h 970921"/>
                <a:gd name="connsiteX2" fmla="*/ 513847 w 1046274"/>
                <a:gd name="connsiteY2" fmla="*/ 684471 h 970921"/>
                <a:gd name="connsiteX3" fmla="*/ 95385 w 1046274"/>
                <a:gd name="connsiteY3" fmla="*/ 432163 h 970921"/>
                <a:gd name="connsiteX4" fmla="*/ 0 w 1046274"/>
                <a:gd name="connsiteY4" fmla="*/ 515240 h 970921"/>
                <a:gd name="connsiteX5" fmla="*/ 504616 w 1046274"/>
                <a:gd name="connsiteY5" fmla="*/ 970625 h 970921"/>
                <a:gd name="connsiteX6" fmla="*/ 987693 w 1046274"/>
                <a:gd name="connsiteY6" fmla="*/ 10625 h 970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6274" h="970921">
                  <a:moveTo>
                    <a:pt x="987693" y="10625"/>
                  </a:moveTo>
                  <a:cubicBezTo>
                    <a:pt x="883077" y="-47836"/>
                    <a:pt x="729231" y="149086"/>
                    <a:pt x="695385" y="256779"/>
                  </a:cubicBezTo>
                  <a:cubicBezTo>
                    <a:pt x="649231" y="395240"/>
                    <a:pt x="513847" y="684471"/>
                    <a:pt x="513847" y="684471"/>
                  </a:cubicBezTo>
                  <a:lnTo>
                    <a:pt x="95385" y="432163"/>
                  </a:lnTo>
                  <a:lnTo>
                    <a:pt x="0" y="515240"/>
                  </a:lnTo>
                  <a:cubicBezTo>
                    <a:pt x="0" y="515240"/>
                    <a:pt x="393846" y="961394"/>
                    <a:pt x="504616" y="970625"/>
                  </a:cubicBezTo>
                  <a:cubicBezTo>
                    <a:pt x="692308" y="989086"/>
                    <a:pt x="1221539" y="139856"/>
                    <a:pt x="987693" y="10625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50A68C57-43A6-4882-AC6A-F66960445BB5}"/>
                </a:ext>
              </a:extLst>
            </p:cNvPr>
            <p:cNvSpPr/>
            <p:nvPr/>
          </p:nvSpPr>
          <p:spPr>
            <a:xfrm>
              <a:off x="-765539" y="5086594"/>
              <a:ext cx="477934" cy="617277"/>
            </a:xfrm>
            <a:custGeom>
              <a:avLst/>
              <a:gdLst>
                <a:gd name="connsiteX0" fmla="*/ 375385 w 477934"/>
                <a:gd name="connsiteY0" fmla="*/ 617278 h 617277"/>
                <a:gd name="connsiteX1" fmla="*/ 436923 w 477934"/>
                <a:gd name="connsiteY1" fmla="*/ 14201 h 617277"/>
                <a:gd name="connsiteX2" fmla="*/ 0 w 477934"/>
                <a:gd name="connsiteY2" fmla="*/ 417278 h 617277"/>
                <a:gd name="connsiteX3" fmla="*/ 375385 w 477934"/>
                <a:gd name="connsiteY3" fmla="*/ 617278 h 617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7934" h="617277">
                  <a:moveTo>
                    <a:pt x="375385" y="617278"/>
                  </a:moveTo>
                  <a:cubicBezTo>
                    <a:pt x="375385" y="617278"/>
                    <a:pt x="556923" y="103432"/>
                    <a:pt x="436923" y="14201"/>
                  </a:cubicBezTo>
                  <a:cubicBezTo>
                    <a:pt x="298461" y="-90414"/>
                    <a:pt x="0" y="417278"/>
                    <a:pt x="0" y="417278"/>
                  </a:cubicBezTo>
                  <a:cubicBezTo>
                    <a:pt x="0" y="417278"/>
                    <a:pt x="163077" y="580355"/>
                    <a:pt x="375385" y="617278"/>
                  </a:cubicBezTo>
                  <a:close/>
                </a:path>
              </a:pathLst>
            </a:custGeom>
            <a:solidFill>
              <a:srgbClr val="70868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16C570E6-A2B6-4C37-ABE0-8DA963975A04}"/>
                </a:ext>
              </a:extLst>
            </p:cNvPr>
            <p:cNvSpPr/>
            <p:nvPr/>
          </p:nvSpPr>
          <p:spPr>
            <a:xfrm>
              <a:off x="-140924" y="4826825"/>
              <a:ext cx="252307" cy="260749"/>
            </a:xfrm>
            <a:custGeom>
              <a:avLst/>
              <a:gdLst>
                <a:gd name="connsiteX0" fmla="*/ 0 w 252307"/>
                <a:gd name="connsiteY0" fmla="*/ 40124 h 260749"/>
                <a:gd name="connsiteX1" fmla="*/ 6154 w 252307"/>
                <a:gd name="connsiteY1" fmla="*/ 215508 h 260749"/>
                <a:gd name="connsiteX2" fmla="*/ 252308 w 252307"/>
                <a:gd name="connsiteY2" fmla="*/ 206278 h 260749"/>
                <a:gd name="connsiteX3" fmla="*/ 236923 w 252307"/>
                <a:gd name="connsiteY3" fmla="*/ 124 h 260749"/>
                <a:gd name="connsiteX4" fmla="*/ 0 w 252307"/>
                <a:gd name="connsiteY4" fmla="*/ 40124 h 260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307" h="260749">
                  <a:moveTo>
                    <a:pt x="0" y="40124"/>
                  </a:moveTo>
                  <a:cubicBezTo>
                    <a:pt x="0" y="40124"/>
                    <a:pt x="6154" y="141662"/>
                    <a:pt x="6154" y="215508"/>
                  </a:cubicBezTo>
                  <a:cubicBezTo>
                    <a:pt x="6154" y="215508"/>
                    <a:pt x="101539" y="323201"/>
                    <a:pt x="252308" y="206278"/>
                  </a:cubicBezTo>
                  <a:cubicBezTo>
                    <a:pt x="252308" y="144740"/>
                    <a:pt x="240000" y="64739"/>
                    <a:pt x="236923" y="124"/>
                  </a:cubicBezTo>
                  <a:cubicBezTo>
                    <a:pt x="240000" y="-2953"/>
                    <a:pt x="52308" y="52432"/>
                    <a:pt x="0" y="40124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5CEA907B-1885-47DF-8D55-15D865FDB201}"/>
                </a:ext>
              </a:extLst>
            </p:cNvPr>
            <p:cNvSpPr/>
            <p:nvPr/>
          </p:nvSpPr>
          <p:spPr>
            <a:xfrm>
              <a:off x="132921" y="4703872"/>
              <a:ext cx="70769" cy="138461"/>
            </a:xfrm>
            <a:custGeom>
              <a:avLst/>
              <a:gdLst>
                <a:gd name="connsiteX0" fmla="*/ 70769 w 70769"/>
                <a:gd name="connsiteY0" fmla="*/ 0 h 138461"/>
                <a:gd name="connsiteX1" fmla="*/ 3077 w 70769"/>
                <a:gd name="connsiteY1" fmla="*/ 138462 h 138461"/>
                <a:gd name="connsiteX2" fmla="*/ 0 w 70769"/>
                <a:gd name="connsiteY2" fmla="*/ 52308 h 138461"/>
                <a:gd name="connsiteX3" fmla="*/ 70769 w 70769"/>
                <a:gd name="connsiteY3" fmla="*/ 0 h 1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769" h="138461">
                  <a:moveTo>
                    <a:pt x="70769" y="0"/>
                  </a:moveTo>
                  <a:cubicBezTo>
                    <a:pt x="70769" y="0"/>
                    <a:pt x="55385" y="120000"/>
                    <a:pt x="3077" y="138462"/>
                  </a:cubicBezTo>
                  <a:lnTo>
                    <a:pt x="0" y="52308"/>
                  </a:lnTo>
                  <a:lnTo>
                    <a:pt x="70769" y="0"/>
                  </a:ln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D11C2B02-2195-462E-8AA1-C8F373924863}"/>
                </a:ext>
              </a:extLst>
            </p:cNvPr>
            <p:cNvSpPr/>
            <p:nvPr/>
          </p:nvSpPr>
          <p:spPr>
            <a:xfrm>
              <a:off x="-259435" y="4494642"/>
              <a:ext cx="103582" cy="240012"/>
            </a:xfrm>
            <a:custGeom>
              <a:avLst/>
              <a:gdLst>
                <a:gd name="connsiteX0" fmla="*/ 7742 w 103582"/>
                <a:gd name="connsiteY0" fmla="*/ 0 h 240012"/>
                <a:gd name="connsiteX1" fmla="*/ 47742 w 103582"/>
                <a:gd name="connsiteY1" fmla="*/ 236923 h 240012"/>
                <a:gd name="connsiteX2" fmla="*/ 103126 w 103582"/>
                <a:gd name="connsiteY2" fmla="*/ 15385 h 240012"/>
                <a:gd name="connsiteX3" fmla="*/ 7742 w 103582"/>
                <a:gd name="connsiteY3" fmla="*/ 0 h 24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582" h="240012">
                  <a:moveTo>
                    <a:pt x="7742" y="0"/>
                  </a:moveTo>
                  <a:cubicBezTo>
                    <a:pt x="7742" y="0"/>
                    <a:pt x="-26104" y="196923"/>
                    <a:pt x="47742" y="236923"/>
                  </a:cubicBezTo>
                  <a:cubicBezTo>
                    <a:pt x="112357" y="270769"/>
                    <a:pt x="103126" y="15385"/>
                    <a:pt x="103126" y="15385"/>
                  </a:cubicBezTo>
                  <a:lnTo>
                    <a:pt x="7742" y="0"/>
                  </a:ln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74842776-F741-42CC-9405-8AAEF7F1082E}"/>
                </a:ext>
              </a:extLst>
            </p:cNvPr>
            <p:cNvSpPr/>
            <p:nvPr/>
          </p:nvSpPr>
          <p:spPr>
            <a:xfrm>
              <a:off x="-223605" y="4355282"/>
              <a:ext cx="427296" cy="573814"/>
            </a:xfrm>
            <a:custGeom>
              <a:avLst/>
              <a:gdLst>
                <a:gd name="connsiteX0" fmla="*/ 11912 w 427296"/>
                <a:gd name="connsiteY0" fmla="*/ 182437 h 573814"/>
                <a:gd name="connsiteX1" fmla="*/ 8835 w 427296"/>
                <a:gd name="connsiteY1" fmla="*/ 434744 h 573814"/>
                <a:gd name="connsiteX2" fmla="*/ 168836 w 427296"/>
                <a:gd name="connsiteY2" fmla="*/ 573206 h 573814"/>
                <a:gd name="connsiteX3" fmla="*/ 387297 w 427296"/>
                <a:gd name="connsiteY3" fmla="*/ 431668 h 573814"/>
                <a:gd name="connsiteX4" fmla="*/ 427297 w 427296"/>
                <a:gd name="connsiteY4" fmla="*/ 203975 h 573814"/>
                <a:gd name="connsiteX5" fmla="*/ 214989 w 427296"/>
                <a:gd name="connsiteY5" fmla="*/ 898 h 573814"/>
                <a:gd name="connsiteX6" fmla="*/ 11912 w 427296"/>
                <a:gd name="connsiteY6" fmla="*/ 182437 h 573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296" h="573814">
                  <a:moveTo>
                    <a:pt x="11912" y="182437"/>
                  </a:moveTo>
                  <a:cubicBezTo>
                    <a:pt x="11912" y="182437"/>
                    <a:pt x="-12703" y="360898"/>
                    <a:pt x="8835" y="434744"/>
                  </a:cubicBezTo>
                  <a:cubicBezTo>
                    <a:pt x="27297" y="502436"/>
                    <a:pt x="116527" y="567052"/>
                    <a:pt x="168836" y="573206"/>
                  </a:cubicBezTo>
                  <a:cubicBezTo>
                    <a:pt x="236528" y="579360"/>
                    <a:pt x="356528" y="539360"/>
                    <a:pt x="387297" y="431668"/>
                  </a:cubicBezTo>
                  <a:cubicBezTo>
                    <a:pt x="408835" y="357821"/>
                    <a:pt x="427297" y="256283"/>
                    <a:pt x="427297" y="203975"/>
                  </a:cubicBezTo>
                  <a:cubicBezTo>
                    <a:pt x="427297" y="108591"/>
                    <a:pt x="399605" y="28590"/>
                    <a:pt x="214989" y="898"/>
                  </a:cubicBezTo>
                  <a:cubicBezTo>
                    <a:pt x="128835" y="-11410"/>
                    <a:pt x="33451" y="105514"/>
                    <a:pt x="11912" y="182437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811E751F-0DC7-402E-B41D-D25B5E2BF26A}"/>
                </a:ext>
              </a:extLst>
            </p:cNvPr>
            <p:cNvSpPr/>
            <p:nvPr/>
          </p:nvSpPr>
          <p:spPr>
            <a:xfrm>
              <a:off x="-88616" y="4620795"/>
              <a:ext cx="58461" cy="138461"/>
            </a:xfrm>
            <a:custGeom>
              <a:avLst/>
              <a:gdLst>
                <a:gd name="connsiteX0" fmla="*/ 33846 w 58461"/>
                <a:gd name="connsiteY0" fmla="*/ 138462 h 138461"/>
                <a:gd name="connsiteX1" fmla="*/ 6154 w 58461"/>
                <a:gd name="connsiteY1" fmla="*/ 132308 h 138461"/>
                <a:gd name="connsiteX2" fmla="*/ 0 w 58461"/>
                <a:gd name="connsiteY2" fmla="*/ 120000 h 138461"/>
                <a:gd name="connsiteX3" fmla="*/ 18462 w 58461"/>
                <a:gd name="connsiteY3" fmla="*/ 6154 h 138461"/>
                <a:gd name="connsiteX4" fmla="*/ 24615 w 58461"/>
                <a:gd name="connsiteY4" fmla="*/ 0 h 138461"/>
                <a:gd name="connsiteX5" fmla="*/ 30769 w 58461"/>
                <a:gd name="connsiteY5" fmla="*/ 6154 h 138461"/>
                <a:gd name="connsiteX6" fmla="*/ 12308 w 58461"/>
                <a:gd name="connsiteY6" fmla="*/ 120000 h 138461"/>
                <a:gd name="connsiteX7" fmla="*/ 12308 w 58461"/>
                <a:gd name="connsiteY7" fmla="*/ 123077 h 138461"/>
                <a:gd name="connsiteX8" fmla="*/ 52308 w 58461"/>
                <a:gd name="connsiteY8" fmla="*/ 126154 h 138461"/>
                <a:gd name="connsiteX9" fmla="*/ 58461 w 58461"/>
                <a:gd name="connsiteY9" fmla="*/ 132308 h 138461"/>
                <a:gd name="connsiteX10" fmla="*/ 52308 w 58461"/>
                <a:gd name="connsiteY10" fmla="*/ 138462 h 138461"/>
                <a:gd name="connsiteX11" fmla="*/ 33846 w 58461"/>
                <a:gd name="connsiteY11" fmla="*/ 138462 h 1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461" h="138461">
                  <a:moveTo>
                    <a:pt x="33846" y="138462"/>
                  </a:moveTo>
                  <a:cubicBezTo>
                    <a:pt x="24615" y="138462"/>
                    <a:pt x="12308" y="138462"/>
                    <a:pt x="6154" y="132308"/>
                  </a:cubicBezTo>
                  <a:cubicBezTo>
                    <a:pt x="3077" y="129231"/>
                    <a:pt x="0" y="126154"/>
                    <a:pt x="0" y="120000"/>
                  </a:cubicBezTo>
                  <a:cubicBezTo>
                    <a:pt x="0" y="98461"/>
                    <a:pt x="18462" y="9231"/>
                    <a:pt x="18462" y="6154"/>
                  </a:cubicBezTo>
                  <a:cubicBezTo>
                    <a:pt x="18462" y="3077"/>
                    <a:pt x="21538" y="0"/>
                    <a:pt x="24615" y="0"/>
                  </a:cubicBezTo>
                  <a:cubicBezTo>
                    <a:pt x="27692" y="0"/>
                    <a:pt x="30769" y="3077"/>
                    <a:pt x="30769" y="6154"/>
                  </a:cubicBezTo>
                  <a:cubicBezTo>
                    <a:pt x="30769" y="6154"/>
                    <a:pt x="12308" y="98461"/>
                    <a:pt x="12308" y="120000"/>
                  </a:cubicBezTo>
                  <a:cubicBezTo>
                    <a:pt x="12308" y="120000"/>
                    <a:pt x="12308" y="123077"/>
                    <a:pt x="12308" y="123077"/>
                  </a:cubicBezTo>
                  <a:cubicBezTo>
                    <a:pt x="18462" y="129231"/>
                    <a:pt x="40000" y="126154"/>
                    <a:pt x="52308" y="126154"/>
                  </a:cubicBezTo>
                  <a:cubicBezTo>
                    <a:pt x="55385" y="126154"/>
                    <a:pt x="58461" y="126154"/>
                    <a:pt x="58461" y="132308"/>
                  </a:cubicBezTo>
                  <a:cubicBezTo>
                    <a:pt x="58461" y="135385"/>
                    <a:pt x="55385" y="138462"/>
                    <a:pt x="52308" y="138462"/>
                  </a:cubicBezTo>
                  <a:cubicBezTo>
                    <a:pt x="55385" y="138462"/>
                    <a:pt x="46154" y="138462"/>
                    <a:pt x="33846" y="138462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DB6A9314-3D28-4B67-B467-D02F83159BDF}"/>
                </a:ext>
              </a:extLst>
            </p:cNvPr>
            <p:cNvSpPr/>
            <p:nvPr/>
          </p:nvSpPr>
          <p:spPr>
            <a:xfrm>
              <a:off x="-156912" y="4598653"/>
              <a:ext cx="41387" cy="41207"/>
            </a:xfrm>
            <a:custGeom>
              <a:avLst/>
              <a:gdLst>
                <a:gd name="connsiteX0" fmla="*/ 40604 w 41387"/>
                <a:gd name="connsiteY0" fmla="*/ 25219 h 41207"/>
                <a:gd name="connsiteX1" fmla="*/ 15988 w 41387"/>
                <a:gd name="connsiteY1" fmla="*/ 40604 h 41207"/>
                <a:gd name="connsiteX2" fmla="*/ 604 w 41387"/>
                <a:gd name="connsiteY2" fmla="*/ 15988 h 41207"/>
                <a:gd name="connsiteX3" fmla="*/ 25219 w 41387"/>
                <a:gd name="connsiteY3" fmla="*/ 604 h 41207"/>
                <a:gd name="connsiteX4" fmla="*/ 40604 w 41387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207">
                  <a:moveTo>
                    <a:pt x="40604" y="25219"/>
                  </a:moveTo>
                  <a:cubicBezTo>
                    <a:pt x="37527" y="34450"/>
                    <a:pt x="28296" y="43680"/>
                    <a:pt x="15988" y="40604"/>
                  </a:cubicBezTo>
                  <a:cubicBezTo>
                    <a:pt x="6757" y="37527"/>
                    <a:pt x="-2474" y="28296"/>
                    <a:pt x="604" y="15988"/>
                  </a:cubicBezTo>
                  <a:cubicBezTo>
                    <a:pt x="3680" y="6757"/>
                    <a:pt x="12911" y="-2474"/>
                    <a:pt x="25219" y="604"/>
                  </a:cubicBezTo>
                  <a:cubicBezTo>
                    <a:pt x="37527" y="3681"/>
                    <a:pt x="43680" y="12911"/>
                    <a:pt x="40604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5A4AAA1A-BBD7-4F02-94B4-ABE5F80B555F}"/>
                </a:ext>
              </a:extLst>
            </p:cNvPr>
            <p:cNvSpPr/>
            <p:nvPr/>
          </p:nvSpPr>
          <p:spPr>
            <a:xfrm>
              <a:off x="27702" y="4617115"/>
              <a:ext cx="41387" cy="41206"/>
            </a:xfrm>
            <a:custGeom>
              <a:avLst/>
              <a:gdLst>
                <a:gd name="connsiteX0" fmla="*/ 40604 w 41387"/>
                <a:gd name="connsiteY0" fmla="*/ 25219 h 41206"/>
                <a:gd name="connsiteX1" fmla="*/ 15988 w 41387"/>
                <a:gd name="connsiteY1" fmla="*/ 40603 h 41206"/>
                <a:gd name="connsiteX2" fmla="*/ 604 w 41387"/>
                <a:gd name="connsiteY2" fmla="*/ 15988 h 41206"/>
                <a:gd name="connsiteX3" fmla="*/ 25219 w 41387"/>
                <a:gd name="connsiteY3" fmla="*/ 604 h 41206"/>
                <a:gd name="connsiteX4" fmla="*/ 40604 w 41387"/>
                <a:gd name="connsiteY4" fmla="*/ 25219 h 41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206">
                  <a:moveTo>
                    <a:pt x="40604" y="25219"/>
                  </a:moveTo>
                  <a:cubicBezTo>
                    <a:pt x="37527" y="34449"/>
                    <a:pt x="28296" y="43680"/>
                    <a:pt x="15988" y="40603"/>
                  </a:cubicBezTo>
                  <a:cubicBezTo>
                    <a:pt x="6757" y="37527"/>
                    <a:pt x="-2474" y="28296"/>
                    <a:pt x="604" y="15988"/>
                  </a:cubicBezTo>
                  <a:cubicBezTo>
                    <a:pt x="3680" y="6757"/>
                    <a:pt x="12911" y="-2474"/>
                    <a:pt x="25219" y="604"/>
                  </a:cubicBezTo>
                  <a:cubicBezTo>
                    <a:pt x="37527" y="3680"/>
                    <a:pt x="43680" y="15988"/>
                    <a:pt x="40604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F8461D25-21A3-44D6-8598-CC8CEDE25A80}"/>
                </a:ext>
              </a:extLst>
            </p:cNvPr>
            <p:cNvSpPr/>
            <p:nvPr/>
          </p:nvSpPr>
          <p:spPr>
            <a:xfrm>
              <a:off x="-180155" y="4550026"/>
              <a:ext cx="92813" cy="33846"/>
            </a:xfrm>
            <a:custGeom>
              <a:avLst/>
              <a:gdLst>
                <a:gd name="connsiteX0" fmla="*/ 8462 w 92813"/>
                <a:gd name="connsiteY0" fmla="*/ 33846 h 33846"/>
                <a:gd name="connsiteX1" fmla="*/ 2308 w 92813"/>
                <a:gd name="connsiteY1" fmla="*/ 30769 h 33846"/>
                <a:gd name="connsiteX2" fmla="*/ 2308 w 92813"/>
                <a:gd name="connsiteY2" fmla="*/ 18462 h 33846"/>
                <a:gd name="connsiteX3" fmla="*/ 88461 w 92813"/>
                <a:gd name="connsiteY3" fmla="*/ 9231 h 33846"/>
                <a:gd name="connsiteX4" fmla="*/ 91538 w 92813"/>
                <a:gd name="connsiteY4" fmla="*/ 21539 h 33846"/>
                <a:gd name="connsiteX5" fmla="*/ 79231 w 92813"/>
                <a:gd name="connsiteY5" fmla="*/ 24615 h 33846"/>
                <a:gd name="connsiteX6" fmla="*/ 11538 w 92813"/>
                <a:gd name="connsiteY6" fmla="*/ 30769 h 33846"/>
                <a:gd name="connsiteX7" fmla="*/ 8462 w 92813"/>
                <a:gd name="connsiteY7" fmla="*/ 33846 h 3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3846">
                  <a:moveTo>
                    <a:pt x="8462" y="33846"/>
                  </a:moveTo>
                  <a:cubicBezTo>
                    <a:pt x="5384" y="33846"/>
                    <a:pt x="5384" y="33846"/>
                    <a:pt x="2308" y="30769"/>
                  </a:cubicBezTo>
                  <a:cubicBezTo>
                    <a:pt x="-769" y="27692"/>
                    <a:pt x="-769" y="21539"/>
                    <a:pt x="2308" y="18462"/>
                  </a:cubicBezTo>
                  <a:cubicBezTo>
                    <a:pt x="30000" y="-9231"/>
                    <a:pt x="70000" y="0"/>
                    <a:pt x="88461" y="9231"/>
                  </a:cubicBezTo>
                  <a:cubicBezTo>
                    <a:pt x="91538" y="12308"/>
                    <a:pt x="94616" y="15384"/>
                    <a:pt x="91538" y="21539"/>
                  </a:cubicBezTo>
                  <a:cubicBezTo>
                    <a:pt x="88461" y="24615"/>
                    <a:pt x="85385" y="27692"/>
                    <a:pt x="79231" y="24615"/>
                  </a:cubicBezTo>
                  <a:cubicBezTo>
                    <a:pt x="76154" y="24615"/>
                    <a:pt x="39231" y="3077"/>
                    <a:pt x="11538" y="30769"/>
                  </a:cubicBezTo>
                  <a:cubicBezTo>
                    <a:pt x="11538" y="30769"/>
                    <a:pt x="8462" y="33846"/>
                    <a:pt x="8462" y="33846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340220BF-0AAC-4DA2-8983-E521E8A58EBA}"/>
                </a:ext>
              </a:extLst>
            </p:cNvPr>
            <p:cNvSpPr/>
            <p:nvPr/>
          </p:nvSpPr>
          <p:spPr>
            <a:xfrm>
              <a:off x="8570" y="4551052"/>
              <a:ext cx="92812" cy="35897"/>
            </a:xfrm>
            <a:custGeom>
              <a:avLst/>
              <a:gdLst>
                <a:gd name="connsiteX0" fmla="*/ 87428 w 92812"/>
                <a:gd name="connsiteY0" fmla="*/ 35898 h 35897"/>
                <a:gd name="connsiteX1" fmla="*/ 81275 w 92812"/>
                <a:gd name="connsiteY1" fmla="*/ 32821 h 35897"/>
                <a:gd name="connsiteX2" fmla="*/ 13582 w 92812"/>
                <a:gd name="connsiteY2" fmla="*/ 26667 h 35897"/>
                <a:gd name="connsiteX3" fmla="*/ 1274 w 92812"/>
                <a:gd name="connsiteY3" fmla="*/ 23590 h 35897"/>
                <a:gd name="connsiteX4" fmla="*/ 4351 w 92812"/>
                <a:gd name="connsiteY4" fmla="*/ 11282 h 35897"/>
                <a:gd name="connsiteX5" fmla="*/ 90505 w 92812"/>
                <a:gd name="connsiteY5" fmla="*/ 20513 h 35897"/>
                <a:gd name="connsiteX6" fmla="*/ 90505 w 92812"/>
                <a:gd name="connsiteY6" fmla="*/ 32821 h 35897"/>
                <a:gd name="connsiteX7" fmla="*/ 87428 w 92812"/>
                <a:gd name="connsiteY7" fmla="*/ 35898 h 35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5897">
                  <a:moveTo>
                    <a:pt x="87428" y="35898"/>
                  </a:moveTo>
                  <a:cubicBezTo>
                    <a:pt x="84351" y="35898"/>
                    <a:pt x="84351" y="35898"/>
                    <a:pt x="81275" y="32821"/>
                  </a:cubicBezTo>
                  <a:cubicBezTo>
                    <a:pt x="81275" y="32821"/>
                    <a:pt x="50505" y="2051"/>
                    <a:pt x="13582" y="26667"/>
                  </a:cubicBezTo>
                  <a:cubicBezTo>
                    <a:pt x="10505" y="29743"/>
                    <a:pt x="4351" y="26667"/>
                    <a:pt x="1274" y="23590"/>
                  </a:cubicBezTo>
                  <a:cubicBezTo>
                    <a:pt x="-1802" y="20513"/>
                    <a:pt x="1274" y="14359"/>
                    <a:pt x="4351" y="11282"/>
                  </a:cubicBezTo>
                  <a:cubicBezTo>
                    <a:pt x="41274" y="-13333"/>
                    <a:pt x="78197" y="8205"/>
                    <a:pt x="90505" y="20513"/>
                  </a:cubicBezTo>
                  <a:cubicBezTo>
                    <a:pt x="93582" y="23590"/>
                    <a:pt x="93582" y="29743"/>
                    <a:pt x="90505" y="32821"/>
                  </a:cubicBezTo>
                  <a:cubicBezTo>
                    <a:pt x="90505" y="35898"/>
                    <a:pt x="90505" y="35898"/>
                    <a:pt x="87428" y="35898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6299DFAC-9539-4384-9B41-ADE7A3F2EBF8}"/>
                </a:ext>
              </a:extLst>
            </p:cNvPr>
            <p:cNvSpPr/>
            <p:nvPr/>
          </p:nvSpPr>
          <p:spPr>
            <a:xfrm>
              <a:off x="-124770" y="4873103"/>
              <a:ext cx="234351" cy="61538"/>
            </a:xfrm>
            <a:custGeom>
              <a:avLst/>
              <a:gdLst>
                <a:gd name="connsiteX0" fmla="*/ 82308 w 234351"/>
                <a:gd name="connsiteY0" fmla="*/ 61538 h 61538"/>
                <a:gd name="connsiteX1" fmla="*/ 82308 w 234351"/>
                <a:gd name="connsiteY1" fmla="*/ 61538 h 61538"/>
                <a:gd name="connsiteX2" fmla="*/ 2307 w 234351"/>
                <a:gd name="connsiteY2" fmla="*/ 33846 h 61538"/>
                <a:gd name="connsiteX3" fmla="*/ 2307 w 234351"/>
                <a:gd name="connsiteY3" fmla="*/ 24615 h 61538"/>
                <a:gd name="connsiteX4" fmla="*/ 11538 w 234351"/>
                <a:gd name="connsiteY4" fmla="*/ 24615 h 61538"/>
                <a:gd name="connsiteX5" fmla="*/ 82308 w 234351"/>
                <a:gd name="connsiteY5" fmla="*/ 49231 h 61538"/>
                <a:gd name="connsiteX6" fmla="*/ 82308 w 234351"/>
                <a:gd name="connsiteY6" fmla="*/ 49231 h 61538"/>
                <a:gd name="connsiteX7" fmla="*/ 223846 w 234351"/>
                <a:gd name="connsiteY7" fmla="*/ 0 h 61538"/>
                <a:gd name="connsiteX8" fmla="*/ 233077 w 234351"/>
                <a:gd name="connsiteY8" fmla="*/ 3077 h 61538"/>
                <a:gd name="connsiteX9" fmla="*/ 230000 w 234351"/>
                <a:gd name="connsiteY9" fmla="*/ 12308 h 61538"/>
                <a:gd name="connsiteX10" fmla="*/ 82308 w 234351"/>
                <a:gd name="connsiteY10" fmla="*/ 61538 h 6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4351" h="61538">
                  <a:moveTo>
                    <a:pt x="82308" y="61538"/>
                  </a:moveTo>
                  <a:cubicBezTo>
                    <a:pt x="82308" y="61538"/>
                    <a:pt x="82308" y="61538"/>
                    <a:pt x="82308" y="61538"/>
                  </a:cubicBezTo>
                  <a:cubicBezTo>
                    <a:pt x="39231" y="61538"/>
                    <a:pt x="5385" y="33846"/>
                    <a:pt x="2307" y="33846"/>
                  </a:cubicBezTo>
                  <a:cubicBezTo>
                    <a:pt x="-769" y="30769"/>
                    <a:pt x="-769" y="27693"/>
                    <a:pt x="2307" y="24615"/>
                  </a:cubicBezTo>
                  <a:cubicBezTo>
                    <a:pt x="5385" y="21539"/>
                    <a:pt x="8462" y="21539"/>
                    <a:pt x="11538" y="24615"/>
                  </a:cubicBezTo>
                  <a:cubicBezTo>
                    <a:pt x="11538" y="24615"/>
                    <a:pt x="42308" y="49231"/>
                    <a:pt x="82308" y="49231"/>
                  </a:cubicBezTo>
                  <a:cubicBezTo>
                    <a:pt x="82308" y="49231"/>
                    <a:pt x="82308" y="49231"/>
                    <a:pt x="82308" y="49231"/>
                  </a:cubicBezTo>
                  <a:cubicBezTo>
                    <a:pt x="131539" y="49231"/>
                    <a:pt x="220769" y="0"/>
                    <a:pt x="223846" y="0"/>
                  </a:cubicBezTo>
                  <a:cubicBezTo>
                    <a:pt x="226923" y="0"/>
                    <a:pt x="230000" y="0"/>
                    <a:pt x="233077" y="3077"/>
                  </a:cubicBezTo>
                  <a:cubicBezTo>
                    <a:pt x="236154" y="6154"/>
                    <a:pt x="233077" y="9231"/>
                    <a:pt x="230000" y="12308"/>
                  </a:cubicBezTo>
                  <a:cubicBezTo>
                    <a:pt x="226923" y="12308"/>
                    <a:pt x="134615" y="61538"/>
                    <a:pt x="82308" y="61538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66C2AF83-D762-4696-894B-4E6B232791B0}"/>
                </a:ext>
              </a:extLst>
            </p:cNvPr>
            <p:cNvSpPr/>
            <p:nvPr/>
          </p:nvSpPr>
          <p:spPr>
            <a:xfrm>
              <a:off x="129845" y="4380795"/>
              <a:ext cx="114165" cy="270769"/>
            </a:xfrm>
            <a:custGeom>
              <a:avLst/>
              <a:gdLst>
                <a:gd name="connsiteX0" fmla="*/ 0 w 114165"/>
                <a:gd name="connsiteY0" fmla="*/ 129231 h 270769"/>
                <a:gd name="connsiteX1" fmla="*/ 49230 w 114165"/>
                <a:gd name="connsiteY1" fmla="*/ 270769 h 270769"/>
                <a:gd name="connsiteX2" fmla="*/ 107692 w 114165"/>
                <a:gd name="connsiteY2" fmla="*/ 169231 h 270769"/>
                <a:gd name="connsiteX3" fmla="*/ 49230 w 114165"/>
                <a:gd name="connsiteY3" fmla="*/ 0 h 270769"/>
                <a:gd name="connsiteX4" fmla="*/ 0 w 114165"/>
                <a:gd name="connsiteY4" fmla="*/ 129231 h 27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165" h="270769">
                  <a:moveTo>
                    <a:pt x="0" y="129231"/>
                  </a:moveTo>
                  <a:cubicBezTo>
                    <a:pt x="0" y="129231"/>
                    <a:pt x="55384" y="240000"/>
                    <a:pt x="49230" y="270769"/>
                  </a:cubicBezTo>
                  <a:cubicBezTo>
                    <a:pt x="49230" y="270769"/>
                    <a:pt x="92308" y="224615"/>
                    <a:pt x="107692" y="169231"/>
                  </a:cubicBezTo>
                  <a:cubicBezTo>
                    <a:pt x="123077" y="110769"/>
                    <a:pt x="113846" y="15385"/>
                    <a:pt x="49230" y="0"/>
                  </a:cubicBezTo>
                  <a:cubicBezTo>
                    <a:pt x="49230" y="0"/>
                    <a:pt x="40000" y="110769"/>
                    <a:pt x="0" y="129231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B47D4768-01BD-40EF-A19B-C60536A4CB36}"/>
                </a:ext>
              </a:extLst>
            </p:cNvPr>
            <p:cNvSpPr/>
            <p:nvPr/>
          </p:nvSpPr>
          <p:spPr>
            <a:xfrm>
              <a:off x="-252306" y="4264408"/>
              <a:ext cx="441421" cy="353310"/>
            </a:xfrm>
            <a:custGeom>
              <a:avLst/>
              <a:gdLst>
                <a:gd name="connsiteX0" fmla="*/ 382152 w 441421"/>
                <a:gd name="connsiteY0" fmla="*/ 245618 h 353310"/>
                <a:gd name="connsiteX1" fmla="*/ 259075 w 441421"/>
                <a:gd name="connsiteY1" fmla="*/ 205618 h 353310"/>
                <a:gd name="connsiteX2" fmla="*/ 15997 w 441421"/>
                <a:gd name="connsiteY2" fmla="*/ 353310 h 353310"/>
                <a:gd name="connsiteX3" fmla="*/ 12921 w 441421"/>
                <a:gd name="connsiteY3" fmla="*/ 184080 h 353310"/>
                <a:gd name="connsiteX4" fmla="*/ 105228 w 441421"/>
                <a:gd name="connsiteY4" fmla="*/ 33310 h 353310"/>
                <a:gd name="connsiteX5" fmla="*/ 308305 w 441421"/>
                <a:gd name="connsiteY5" fmla="*/ 17925 h 353310"/>
                <a:gd name="connsiteX6" fmla="*/ 431382 w 441421"/>
                <a:gd name="connsiteY6" fmla="*/ 113310 h 353310"/>
                <a:gd name="connsiteX7" fmla="*/ 382152 w 441421"/>
                <a:gd name="connsiteY7" fmla="*/ 245618 h 35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1421" h="353310">
                  <a:moveTo>
                    <a:pt x="382152" y="245618"/>
                  </a:moveTo>
                  <a:cubicBezTo>
                    <a:pt x="382152" y="245618"/>
                    <a:pt x="286767" y="205618"/>
                    <a:pt x="259075" y="205618"/>
                  </a:cubicBezTo>
                  <a:cubicBezTo>
                    <a:pt x="157536" y="208695"/>
                    <a:pt x="613" y="279464"/>
                    <a:pt x="15997" y="353310"/>
                  </a:cubicBezTo>
                  <a:cubicBezTo>
                    <a:pt x="15997" y="353310"/>
                    <a:pt x="-17848" y="248695"/>
                    <a:pt x="12921" y="184080"/>
                  </a:cubicBezTo>
                  <a:cubicBezTo>
                    <a:pt x="12921" y="184080"/>
                    <a:pt x="12921" y="57925"/>
                    <a:pt x="105228" y="33310"/>
                  </a:cubicBezTo>
                  <a:cubicBezTo>
                    <a:pt x="197536" y="8695"/>
                    <a:pt x="237536" y="-18998"/>
                    <a:pt x="308305" y="17925"/>
                  </a:cubicBezTo>
                  <a:cubicBezTo>
                    <a:pt x="379074" y="57925"/>
                    <a:pt x="425228" y="76387"/>
                    <a:pt x="431382" y="113310"/>
                  </a:cubicBezTo>
                  <a:cubicBezTo>
                    <a:pt x="431382" y="116387"/>
                    <a:pt x="474459" y="233310"/>
                    <a:pt x="382152" y="245618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E4F7E04C-2280-437A-B0E1-852FB654D8A2}"/>
                </a:ext>
              </a:extLst>
            </p:cNvPr>
            <p:cNvSpPr/>
            <p:nvPr/>
          </p:nvSpPr>
          <p:spPr>
            <a:xfrm>
              <a:off x="-514787" y="4990026"/>
              <a:ext cx="1044632" cy="1551945"/>
            </a:xfrm>
            <a:custGeom>
              <a:avLst/>
              <a:gdLst>
                <a:gd name="connsiteX0" fmla="*/ 644632 w 1044632"/>
                <a:gd name="connsiteY0" fmla="*/ 0 h 1551945"/>
                <a:gd name="connsiteX1" fmla="*/ 352325 w 1044632"/>
                <a:gd name="connsiteY1" fmla="*/ 0 h 1551945"/>
                <a:gd name="connsiteX2" fmla="*/ 50786 w 1044632"/>
                <a:gd name="connsiteY2" fmla="*/ 132308 h 1551945"/>
                <a:gd name="connsiteX3" fmla="*/ 1555 w 1044632"/>
                <a:gd name="connsiteY3" fmla="*/ 1547692 h 1551945"/>
                <a:gd name="connsiteX4" fmla="*/ 1044632 w 1044632"/>
                <a:gd name="connsiteY4" fmla="*/ 1526154 h 1551945"/>
                <a:gd name="connsiteX5" fmla="*/ 927709 w 1044632"/>
                <a:gd name="connsiteY5" fmla="*/ 104616 h 1551945"/>
                <a:gd name="connsiteX6" fmla="*/ 644632 w 1044632"/>
                <a:gd name="connsiteY6" fmla="*/ 0 h 155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4632" h="1551945">
                  <a:moveTo>
                    <a:pt x="644632" y="0"/>
                  </a:moveTo>
                  <a:cubicBezTo>
                    <a:pt x="644632" y="0"/>
                    <a:pt x="469247" y="55385"/>
                    <a:pt x="352325" y="0"/>
                  </a:cubicBezTo>
                  <a:cubicBezTo>
                    <a:pt x="352325" y="0"/>
                    <a:pt x="75402" y="98461"/>
                    <a:pt x="50786" y="132308"/>
                  </a:cubicBezTo>
                  <a:cubicBezTo>
                    <a:pt x="26171" y="163077"/>
                    <a:pt x="-7676" y="1480000"/>
                    <a:pt x="1555" y="1547692"/>
                  </a:cubicBezTo>
                  <a:cubicBezTo>
                    <a:pt x="1555" y="1547692"/>
                    <a:pt x="444632" y="1566154"/>
                    <a:pt x="1044632" y="1526154"/>
                  </a:cubicBezTo>
                  <a:cubicBezTo>
                    <a:pt x="1044632" y="1166154"/>
                    <a:pt x="970786" y="135385"/>
                    <a:pt x="927709" y="104616"/>
                  </a:cubicBezTo>
                  <a:cubicBezTo>
                    <a:pt x="884632" y="70769"/>
                    <a:pt x="644632" y="0"/>
                    <a:pt x="644632" y="0"/>
                  </a:cubicBezTo>
                  <a:close/>
                </a:path>
              </a:pathLst>
            </a:custGeom>
            <a:solidFill>
              <a:srgbClr val="70868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13793989-43F9-4D05-B4A6-CE90A20B049F}"/>
                </a:ext>
              </a:extLst>
            </p:cNvPr>
            <p:cNvSpPr/>
            <p:nvPr/>
          </p:nvSpPr>
          <p:spPr>
            <a:xfrm>
              <a:off x="-504001" y="5117982"/>
              <a:ext cx="44351" cy="579736"/>
            </a:xfrm>
            <a:custGeom>
              <a:avLst/>
              <a:gdLst>
                <a:gd name="connsiteX0" fmla="*/ 6154 w 44351"/>
                <a:gd name="connsiteY0" fmla="*/ 579736 h 579736"/>
                <a:gd name="connsiteX1" fmla="*/ 6154 w 44351"/>
                <a:gd name="connsiteY1" fmla="*/ 579736 h 579736"/>
                <a:gd name="connsiteX2" fmla="*/ 0 w 44351"/>
                <a:gd name="connsiteY2" fmla="*/ 573582 h 579736"/>
                <a:gd name="connsiteX3" fmla="*/ 33846 w 44351"/>
                <a:gd name="connsiteY3" fmla="*/ 4351 h 579736"/>
                <a:gd name="connsiteX4" fmla="*/ 40000 w 44351"/>
                <a:gd name="connsiteY4" fmla="*/ 1274 h 579736"/>
                <a:gd name="connsiteX5" fmla="*/ 43077 w 44351"/>
                <a:gd name="connsiteY5" fmla="*/ 7429 h 579736"/>
                <a:gd name="connsiteX6" fmla="*/ 9231 w 44351"/>
                <a:gd name="connsiteY6" fmla="*/ 576659 h 579736"/>
                <a:gd name="connsiteX7" fmla="*/ 6154 w 44351"/>
                <a:gd name="connsiteY7" fmla="*/ 579736 h 579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351" h="579736">
                  <a:moveTo>
                    <a:pt x="6154" y="579736"/>
                  </a:moveTo>
                  <a:cubicBezTo>
                    <a:pt x="6154" y="579736"/>
                    <a:pt x="6154" y="579736"/>
                    <a:pt x="6154" y="579736"/>
                  </a:cubicBezTo>
                  <a:cubicBezTo>
                    <a:pt x="3077" y="579736"/>
                    <a:pt x="0" y="576659"/>
                    <a:pt x="0" y="573582"/>
                  </a:cubicBezTo>
                  <a:cubicBezTo>
                    <a:pt x="0" y="552044"/>
                    <a:pt x="24615" y="44352"/>
                    <a:pt x="33846" y="4351"/>
                  </a:cubicBezTo>
                  <a:cubicBezTo>
                    <a:pt x="33846" y="1274"/>
                    <a:pt x="36923" y="-1802"/>
                    <a:pt x="40000" y="1274"/>
                  </a:cubicBezTo>
                  <a:cubicBezTo>
                    <a:pt x="43077" y="1274"/>
                    <a:pt x="46154" y="4351"/>
                    <a:pt x="43077" y="7429"/>
                  </a:cubicBezTo>
                  <a:cubicBezTo>
                    <a:pt x="33846" y="47428"/>
                    <a:pt x="9231" y="570505"/>
                    <a:pt x="9231" y="576659"/>
                  </a:cubicBezTo>
                  <a:cubicBezTo>
                    <a:pt x="12308" y="576659"/>
                    <a:pt x="9231" y="579736"/>
                    <a:pt x="6154" y="579736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9FF5A8EA-D7B4-49A1-852A-2162E2AD7A17}"/>
                </a:ext>
              </a:extLst>
            </p:cNvPr>
            <p:cNvSpPr/>
            <p:nvPr/>
          </p:nvSpPr>
          <p:spPr>
            <a:xfrm>
              <a:off x="163691" y="4620603"/>
              <a:ext cx="77983" cy="111522"/>
            </a:xfrm>
            <a:custGeom>
              <a:avLst/>
              <a:gdLst>
                <a:gd name="connsiteX0" fmla="*/ 12308 w 77983"/>
                <a:gd name="connsiteY0" fmla="*/ 15577 h 111522"/>
                <a:gd name="connsiteX1" fmla="*/ 70769 w 77983"/>
                <a:gd name="connsiteY1" fmla="*/ 6346 h 111522"/>
                <a:gd name="connsiteX2" fmla="*/ 12308 w 77983"/>
                <a:gd name="connsiteY2" fmla="*/ 107885 h 111522"/>
                <a:gd name="connsiteX3" fmla="*/ 12308 w 77983"/>
                <a:gd name="connsiteY3" fmla="*/ 15577 h 111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983" h="111522">
                  <a:moveTo>
                    <a:pt x="12308" y="15577"/>
                  </a:moveTo>
                  <a:cubicBezTo>
                    <a:pt x="12308" y="15577"/>
                    <a:pt x="46154" y="-12115"/>
                    <a:pt x="70769" y="6346"/>
                  </a:cubicBezTo>
                  <a:cubicBezTo>
                    <a:pt x="95385" y="24808"/>
                    <a:pt x="52307" y="132500"/>
                    <a:pt x="12308" y="107885"/>
                  </a:cubicBezTo>
                  <a:cubicBezTo>
                    <a:pt x="-15385" y="89423"/>
                    <a:pt x="12308" y="15577"/>
                    <a:pt x="12308" y="15577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E1649546-772D-411B-BEB2-B4217C842900}"/>
                </a:ext>
              </a:extLst>
            </p:cNvPr>
            <p:cNvSpPr/>
            <p:nvPr/>
          </p:nvSpPr>
          <p:spPr>
            <a:xfrm>
              <a:off x="-1051693" y="8580795"/>
              <a:ext cx="372307" cy="240000"/>
            </a:xfrm>
            <a:custGeom>
              <a:avLst/>
              <a:gdLst>
                <a:gd name="connsiteX0" fmla="*/ 372308 w 372307"/>
                <a:gd name="connsiteY0" fmla="*/ 138462 h 240000"/>
                <a:gd name="connsiteX1" fmla="*/ 323077 w 372307"/>
                <a:gd name="connsiteY1" fmla="*/ 240001 h 240000"/>
                <a:gd name="connsiteX2" fmla="*/ 0 w 372307"/>
                <a:gd name="connsiteY2" fmla="*/ 92308 h 240000"/>
                <a:gd name="connsiteX3" fmla="*/ 43077 w 372307"/>
                <a:gd name="connsiteY3" fmla="*/ 0 h 240000"/>
                <a:gd name="connsiteX4" fmla="*/ 372308 w 372307"/>
                <a:gd name="connsiteY4" fmla="*/ 138462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2307" h="240000">
                  <a:moveTo>
                    <a:pt x="372308" y="138462"/>
                  </a:moveTo>
                  <a:cubicBezTo>
                    <a:pt x="372308" y="138462"/>
                    <a:pt x="353846" y="203077"/>
                    <a:pt x="323077" y="240001"/>
                  </a:cubicBezTo>
                  <a:cubicBezTo>
                    <a:pt x="323077" y="240001"/>
                    <a:pt x="135385" y="193847"/>
                    <a:pt x="0" y="92308"/>
                  </a:cubicBezTo>
                  <a:cubicBezTo>
                    <a:pt x="0" y="92308"/>
                    <a:pt x="18462" y="36923"/>
                    <a:pt x="43077" y="0"/>
                  </a:cubicBezTo>
                  <a:cubicBezTo>
                    <a:pt x="46154" y="0"/>
                    <a:pt x="273846" y="123077"/>
                    <a:pt x="372308" y="138462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60C33A8F-DC6F-491E-B8BA-2A8B4C0F565B}"/>
                </a:ext>
              </a:extLst>
            </p:cNvPr>
            <p:cNvSpPr/>
            <p:nvPr/>
          </p:nvSpPr>
          <p:spPr>
            <a:xfrm>
              <a:off x="151725" y="8743873"/>
              <a:ext cx="362051" cy="128130"/>
            </a:xfrm>
            <a:custGeom>
              <a:avLst/>
              <a:gdLst>
                <a:gd name="connsiteX0" fmla="*/ 356581 w 362051"/>
                <a:gd name="connsiteY0" fmla="*/ 0 h 128130"/>
                <a:gd name="connsiteX1" fmla="*/ 356581 w 362051"/>
                <a:gd name="connsiteY1" fmla="*/ 110768 h 128130"/>
                <a:gd name="connsiteX2" fmla="*/ 2735 w 362051"/>
                <a:gd name="connsiteY2" fmla="*/ 113846 h 128130"/>
                <a:gd name="connsiteX3" fmla="*/ 2735 w 362051"/>
                <a:gd name="connsiteY3" fmla="*/ 12308 h 128130"/>
                <a:gd name="connsiteX4" fmla="*/ 356581 w 362051"/>
                <a:gd name="connsiteY4" fmla="*/ 0 h 128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2051" h="128130">
                  <a:moveTo>
                    <a:pt x="356581" y="0"/>
                  </a:moveTo>
                  <a:cubicBezTo>
                    <a:pt x="356581" y="0"/>
                    <a:pt x="368889" y="64615"/>
                    <a:pt x="356581" y="110768"/>
                  </a:cubicBezTo>
                  <a:cubicBezTo>
                    <a:pt x="356581" y="110768"/>
                    <a:pt x="165812" y="147692"/>
                    <a:pt x="2735" y="113846"/>
                  </a:cubicBezTo>
                  <a:cubicBezTo>
                    <a:pt x="2735" y="113846"/>
                    <a:pt x="-3419" y="55384"/>
                    <a:pt x="2735" y="12308"/>
                  </a:cubicBezTo>
                  <a:cubicBezTo>
                    <a:pt x="2735" y="12308"/>
                    <a:pt x="258120" y="27692"/>
                    <a:pt x="356581" y="0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BD4C5957-701F-4252-9AFB-4CBAF0B98B80}"/>
                </a:ext>
              </a:extLst>
            </p:cNvPr>
            <p:cNvSpPr/>
            <p:nvPr/>
          </p:nvSpPr>
          <p:spPr>
            <a:xfrm>
              <a:off x="-118616" y="4806180"/>
              <a:ext cx="122307" cy="33077"/>
            </a:xfrm>
            <a:custGeom>
              <a:avLst/>
              <a:gdLst>
                <a:gd name="connsiteX0" fmla="*/ 66923 w 122307"/>
                <a:gd name="connsiteY0" fmla="*/ 33077 h 33077"/>
                <a:gd name="connsiteX1" fmla="*/ 2308 w 122307"/>
                <a:gd name="connsiteY1" fmla="*/ 11539 h 33077"/>
                <a:gd name="connsiteX2" fmla="*/ 2308 w 122307"/>
                <a:gd name="connsiteY2" fmla="*/ 2308 h 33077"/>
                <a:gd name="connsiteX3" fmla="*/ 11538 w 122307"/>
                <a:gd name="connsiteY3" fmla="*/ 2308 h 33077"/>
                <a:gd name="connsiteX4" fmla="*/ 116154 w 122307"/>
                <a:gd name="connsiteY4" fmla="*/ 11539 h 33077"/>
                <a:gd name="connsiteX5" fmla="*/ 122308 w 122307"/>
                <a:gd name="connsiteY5" fmla="*/ 14615 h 33077"/>
                <a:gd name="connsiteX6" fmla="*/ 119231 w 122307"/>
                <a:gd name="connsiteY6" fmla="*/ 20769 h 33077"/>
                <a:gd name="connsiteX7" fmla="*/ 66923 w 122307"/>
                <a:gd name="connsiteY7" fmla="*/ 33077 h 3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307" h="33077">
                  <a:moveTo>
                    <a:pt x="66923" y="33077"/>
                  </a:moveTo>
                  <a:cubicBezTo>
                    <a:pt x="45385" y="33077"/>
                    <a:pt x="20769" y="30000"/>
                    <a:pt x="2308" y="11539"/>
                  </a:cubicBezTo>
                  <a:cubicBezTo>
                    <a:pt x="-769" y="8462"/>
                    <a:pt x="-769" y="5384"/>
                    <a:pt x="2308" y="2308"/>
                  </a:cubicBezTo>
                  <a:cubicBezTo>
                    <a:pt x="5384" y="-769"/>
                    <a:pt x="8462" y="-769"/>
                    <a:pt x="11538" y="2308"/>
                  </a:cubicBezTo>
                  <a:cubicBezTo>
                    <a:pt x="51538" y="33077"/>
                    <a:pt x="116154" y="11539"/>
                    <a:pt x="116154" y="11539"/>
                  </a:cubicBezTo>
                  <a:cubicBezTo>
                    <a:pt x="119231" y="11539"/>
                    <a:pt x="122308" y="11539"/>
                    <a:pt x="122308" y="14615"/>
                  </a:cubicBezTo>
                  <a:cubicBezTo>
                    <a:pt x="122308" y="17692"/>
                    <a:pt x="122308" y="20769"/>
                    <a:pt x="119231" y="20769"/>
                  </a:cubicBezTo>
                  <a:cubicBezTo>
                    <a:pt x="119231" y="23846"/>
                    <a:pt x="94616" y="33077"/>
                    <a:pt x="66923" y="33077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3" name="图形 1">
              <a:extLst>
                <a:ext uri="{FF2B5EF4-FFF2-40B4-BE49-F238E27FC236}">
                  <a16:creationId xmlns:a16="http://schemas.microsoft.com/office/drawing/2014/main" id="{B49676F3-6C2D-487C-9F3D-02F5D4AD66BF}"/>
                </a:ext>
              </a:extLst>
            </p:cNvPr>
            <p:cNvGrpSpPr/>
            <p:nvPr/>
          </p:nvGrpSpPr>
          <p:grpSpPr>
            <a:xfrm>
              <a:off x="-2164489" y="8626949"/>
              <a:ext cx="301722" cy="444965"/>
              <a:chOff x="-2164489" y="8626949"/>
              <a:chExt cx="301722" cy="444965"/>
            </a:xfrm>
          </p:grpSpPr>
          <p:sp>
            <p:nvSpPr>
              <p:cNvPr id="169" name="任意多边形: 形状 168">
                <a:extLst>
                  <a:ext uri="{FF2B5EF4-FFF2-40B4-BE49-F238E27FC236}">
                    <a16:creationId xmlns:a16="http://schemas.microsoft.com/office/drawing/2014/main" id="{378BF00D-C365-43AD-93ED-AB6E7F2C9840}"/>
                  </a:ext>
                </a:extLst>
              </p:cNvPr>
              <p:cNvSpPr/>
              <p:nvPr/>
            </p:nvSpPr>
            <p:spPr>
              <a:xfrm>
                <a:off x="-2150155" y="8626949"/>
                <a:ext cx="212307" cy="200000"/>
              </a:xfrm>
              <a:custGeom>
                <a:avLst/>
                <a:gdLst>
                  <a:gd name="connsiteX0" fmla="*/ 196923 w 212307"/>
                  <a:gd name="connsiteY0" fmla="*/ 107692 h 200000"/>
                  <a:gd name="connsiteX1" fmla="*/ 101539 w 212307"/>
                  <a:gd name="connsiteY1" fmla="*/ 0 h 200000"/>
                  <a:gd name="connsiteX2" fmla="*/ 0 w 212307"/>
                  <a:gd name="connsiteY2" fmla="*/ 98462 h 200000"/>
                  <a:gd name="connsiteX3" fmla="*/ 113846 w 212307"/>
                  <a:gd name="connsiteY3" fmla="*/ 200000 h 200000"/>
                  <a:gd name="connsiteX4" fmla="*/ 212308 w 212307"/>
                  <a:gd name="connsiteY4" fmla="*/ 135384 h 20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2307" h="200000">
                    <a:moveTo>
                      <a:pt x="196923" y="107692"/>
                    </a:moveTo>
                    <a:lnTo>
                      <a:pt x="101539" y="0"/>
                    </a:lnTo>
                    <a:lnTo>
                      <a:pt x="0" y="98462"/>
                    </a:lnTo>
                    <a:lnTo>
                      <a:pt x="113846" y="200000"/>
                    </a:lnTo>
                    <a:lnTo>
                      <a:pt x="212308" y="135384"/>
                    </a:ln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0" name="任意多边形: 形状 169">
                <a:extLst>
                  <a:ext uri="{FF2B5EF4-FFF2-40B4-BE49-F238E27FC236}">
                    <a16:creationId xmlns:a16="http://schemas.microsoft.com/office/drawing/2014/main" id="{4123F7AB-FFB2-4F2C-9B70-44CA69B54B10}"/>
                  </a:ext>
                </a:extLst>
              </p:cNvPr>
              <p:cNvSpPr/>
              <p:nvPr/>
            </p:nvSpPr>
            <p:spPr>
              <a:xfrm>
                <a:off x="-2164489" y="8725411"/>
                <a:ext cx="278949" cy="319999"/>
              </a:xfrm>
              <a:custGeom>
                <a:avLst/>
                <a:gdLst>
                  <a:gd name="connsiteX0" fmla="*/ 220488 w 278949"/>
                  <a:gd name="connsiteY0" fmla="*/ 0 h 319999"/>
                  <a:gd name="connsiteX1" fmla="*/ 91257 w 278949"/>
                  <a:gd name="connsiteY1" fmla="*/ 73846 h 319999"/>
                  <a:gd name="connsiteX2" fmla="*/ 60488 w 278949"/>
                  <a:gd name="connsiteY2" fmla="*/ 187693 h 319999"/>
                  <a:gd name="connsiteX3" fmla="*/ 8181 w 278949"/>
                  <a:gd name="connsiteY3" fmla="*/ 320000 h 319999"/>
                  <a:gd name="connsiteX4" fmla="*/ 278950 w 278949"/>
                  <a:gd name="connsiteY4" fmla="*/ 61538 h 319999"/>
                  <a:gd name="connsiteX5" fmla="*/ 220488 w 278949"/>
                  <a:gd name="connsiteY5" fmla="*/ 0 h 319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8949" h="319999">
                    <a:moveTo>
                      <a:pt x="220488" y="0"/>
                    </a:moveTo>
                    <a:cubicBezTo>
                      <a:pt x="220488" y="0"/>
                      <a:pt x="162027" y="76923"/>
                      <a:pt x="91257" y="73846"/>
                    </a:cubicBezTo>
                    <a:cubicBezTo>
                      <a:pt x="91257" y="73846"/>
                      <a:pt x="78950" y="159999"/>
                      <a:pt x="60488" y="187693"/>
                    </a:cubicBezTo>
                    <a:cubicBezTo>
                      <a:pt x="42027" y="215385"/>
                      <a:pt x="-22589" y="273846"/>
                      <a:pt x="8181" y="320000"/>
                    </a:cubicBezTo>
                    <a:lnTo>
                      <a:pt x="278950" y="61538"/>
                    </a:lnTo>
                    <a:cubicBezTo>
                      <a:pt x="278950" y="61538"/>
                      <a:pt x="257411" y="18462"/>
                      <a:pt x="220488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1" name="任意多边形: 形状 170">
                <a:extLst>
                  <a:ext uri="{FF2B5EF4-FFF2-40B4-BE49-F238E27FC236}">
                    <a16:creationId xmlns:a16="http://schemas.microsoft.com/office/drawing/2014/main" id="{65372E7E-D0D4-484F-94CA-8A342B7239C6}"/>
                  </a:ext>
                </a:extLst>
              </p:cNvPr>
              <p:cNvSpPr/>
              <p:nvPr/>
            </p:nvSpPr>
            <p:spPr>
              <a:xfrm rot="-2621480">
                <a:off x="-2195227" y="8914159"/>
                <a:ext cx="372322" cy="33847"/>
              </a:xfrm>
              <a:custGeom>
                <a:avLst/>
                <a:gdLst>
                  <a:gd name="connsiteX0" fmla="*/ 0 w 372322"/>
                  <a:gd name="connsiteY0" fmla="*/ 0 h 33847"/>
                  <a:gd name="connsiteX1" fmla="*/ 372323 w 372322"/>
                  <a:gd name="connsiteY1" fmla="*/ 0 h 33847"/>
                  <a:gd name="connsiteX2" fmla="*/ 372323 w 372322"/>
                  <a:gd name="connsiteY2" fmla="*/ 33848 h 33847"/>
                  <a:gd name="connsiteX3" fmla="*/ 0 w 372322"/>
                  <a:gd name="connsiteY3" fmla="*/ 33848 h 33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2322" h="33847">
                    <a:moveTo>
                      <a:pt x="0" y="0"/>
                    </a:moveTo>
                    <a:lnTo>
                      <a:pt x="372323" y="0"/>
                    </a:lnTo>
                    <a:lnTo>
                      <a:pt x="372323" y="33848"/>
                    </a:lnTo>
                    <a:lnTo>
                      <a:pt x="0" y="33848"/>
                    </a:lnTo>
                    <a:close/>
                  </a:path>
                </a:pathLst>
              </a:custGeom>
              <a:solidFill>
                <a:srgbClr val="38333D"/>
              </a:solidFill>
              <a:ln w="307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2" name="任意多边形: 形状 171">
                <a:extLst>
                  <a:ext uri="{FF2B5EF4-FFF2-40B4-BE49-F238E27FC236}">
                    <a16:creationId xmlns:a16="http://schemas.microsoft.com/office/drawing/2014/main" id="{6FED312F-8917-4CA1-A238-FF03B5BD2F86}"/>
                  </a:ext>
                </a:extLst>
              </p:cNvPr>
              <p:cNvSpPr/>
              <p:nvPr/>
            </p:nvSpPr>
            <p:spPr>
              <a:xfrm>
                <a:off x="-2079386" y="8720026"/>
                <a:ext cx="140769" cy="85385"/>
              </a:xfrm>
              <a:custGeom>
                <a:avLst/>
                <a:gdLst>
                  <a:gd name="connsiteX0" fmla="*/ 6154 w 140769"/>
                  <a:gd name="connsiteY0" fmla="*/ 85385 h 85385"/>
                  <a:gd name="connsiteX1" fmla="*/ 0 w 140769"/>
                  <a:gd name="connsiteY1" fmla="*/ 79231 h 85385"/>
                  <a:gd name="connsiteX2" fmla="*/ 6154 w 140769"/>
                  <a:gd name="connsiteY2" fmla="*/ 73077 h 85385"/>
                  <a:gd name="connsiteX3" fmla="*/ 129231 w 140769"/>
                  <a:gd name="connsiteY3" fmla="*/ 2308 h 85385"/>
                  <a:gd name="connsiteX4" fmla="*/ 138462 w 140769"/>
                  <a:gd name="connsiteY4" fmla="*/ 2308 h 85385"/>
                  <a:gd name="connsiteX5" fmla="*/ 138462 w 140769"/>
                  <a:gd name="connsiteY5" fmla="*/ 11538 h 85385"/>
                  <a:gd name="connsiteX6" fmla="*/ 6154 w 140769"/>
                  <a:gd name="connsiteY6" fmla="*/ 85385 h 85385"/>
                  <a:gd name="connsiteX7" fmla="*/ 6154 w 140769"/>
                  <a:gd name="connsiteY7" fmla="*/ 85385 h 85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769" h="85385">
                    <a:moveTo>
                      <a:pt x="6154" y="85385"/>
                    </a:moveTo>
                    <a:cubicBezTo>
                      <a:pt x="3077" y="85385"/>
                      <a:pt x="0" y="82308"/>
                      <a:pt x="0" y="79231"/>
                    </a:cubicBezTo>
                    <a:cubicBezTo>
                      <a:pt x="0" y="76154"/>
                      <a:pt x="3077" y="73077"/>
                      <a:pt x="6154" y="73077"/>
                    </a:cubicBezTo>
                    <a:cubicBezTo>
                      <a:pt x="76923" y="70001"/>
                      <a:pt x="129231" y="2308"/>
                      <a:pt x="129231" y="2308"/>
                    </a:cubicBezTo>
                    <a:cubicBezTo>
                      <a:pt x="132308" y="-769"/>
                      <a:pt x="135384" y="-769"/>
                      <a:pt x="138462" y="2308"/>
                    </a:cubicBezTo>
                    <a:cubicBezTo>
                      <a:pt x="141538" y="5385"/>
                      <a:pt x="141538" y="8462"/>
                      <a:pt x="138462" y="11538"/>
                    </a:cubicBezTo>
                    <a:cubicBezTo>
                      <a:pt x="135384" y="11538"/>
                      <a:pt x="83077" y="82308"/>
                      <a:pt x="6154" y="85385"/>
                    </a:cubicBezTo>
                    <a:lnTo>
                      <a:pt x="6154" y="85385"/>
                    </a:ln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3" name="任意多边形: 形状 172">
                <a:extLst>
                  <a:ext uri="{FF2B5EF4-FFF2-40B4-BE49-F238E27FC236}">
                    <a16:creationId xmlns:a16="http://schemas.microsoft.com/office/drawing/2014/main" id="{A76784AF-5EBE-45FE-AA0E-C92487F2130B}"/>
                  </a:ext>
                </a:extLst>
              </p:cNvPr>
              <p:cNvSpPr/>
              <p:nvPr/>
            </p:nvSpPr>
            <p:spPr>
              <a:xfrm>
                <a:off x="-2082463" y="8826949"/>
                <a:ext cx="40000" cy="12307"/>
              </a:xfrm>
              <a:custGeom>
                <a:avLst/>
                <a:gdLst>
                  <a:gd name="connsiteX0" fmla="*/ 33846 w 40000"/>
                  <a:gd name="connsiteY0" fmla="*/ 12308 h 12307"/>
                  <a:gd name="connsiteX1" fmla="*/ 33846 w 40000"/>
                  <a:gd name="connsiteY1" fmla="*/ 12308 h 12307"/>
                  <a:gd name="connsiteX2" fmla="*/ 6154 w 40000"/>
                  <a:gd name="connsiteY2" fmla="*/ 12308 h 12307"/>
                  <a:gd name="connsiteX3" fmla="*/ 0 w 40000"/>
                  <a:gd name="connsiteY3" fmla="*/ 6154 h 12307"/>
                  <a:gd name="connsiteX4" fmla="*/ 6154 w 40000"/>
                  <a:gd name="connsiteY4" fmla="*/ 0 h 12307"/>
                  <a:gd name="connsiteX5" fmla="*/ 33846 w 40000"/>
                  <a:gd name="connsiteY5" fmla="*/ 0 h 12307"/>
                  <a:gd name="connsiteX6" fmla="*/ 40000 w 40000"/>
                  <a:gd name="connsiteY6" fmla="*/ 6154 h 12307"/>
                  <a:gd name="connsiteX7" fmla="*/ 33846 w 40000"/>
                  <a:gd name="connsiteY7" fmla="*/ 12308 h 1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00" h="12307">
                    <a:moveTo>
                      <a:pt x="33846" y="12308"/>
                    </a:moveTo>
                    <a:lnTo>
                      <a:pt x="33846" y="12308"/>
                    </a:lnTo>
                    <a:lnTo>
                      <a:pt x="6154" y="12308"/>
                    </a:lnTo>
                    <a:cubicBezTo>
                      <a:pt x="3077" y="12308"/>
                      <a:pt x="0" y="9231"/>
                      <a:pt x="0" y="6154"/>
                    </a:cubicBezTo>
                    <a:cubicBezTo>
                      <a:pt x="0" y="3077"/>
                      <a:pt x="3077" y="0"/>
                      <a:pt x="6154" y="0"/>
                    </a:cubicBezTo>
                    <a:lnTo>
                      <a:pt x="33846" y="0"/>
                    </a:lnTo>
                    <a:cubicBezTo>
                      <a:pt x="36923" y="0"/>
                      <a:pt x="40000" y="3077"/>
                      <a:pt x="40000" y="6154"/>
                    </a:cubicBezTo>
                    <a:cubicBezTo>
                      <a:pt x="36923" y="9231"/>
                      <a:pt x="36923" y="12308"/>
                      <a:pt x="33846" y="1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4" name="任意多边形: 形状 173">
                <a:extLst>
                  <a:ext uri="{FF2B5EF4-FFF2-40B4-BE49-F238E27FC236}">
                    <a16:creationId xmlns:a16="http://schemas.microsoft.com/office/drawing/2014/main" id="{D3C94737-8DFC-4C23-AED4-CD4B6F1CADA6}"/>
                  </a:ext>
                </a:extLst>
              </p:cNvPr>
              <p:cNvSpPr/>
              <p:nvPr/>
            </p:nvSpPr>
            <p:spPr>
              <a:xfrm>
                <a:off x="-2091693" y="8860795"/>
                <a:ext cx="39999" cy="12307"/>
              </a:xfrm>
              <a:custGeom>
                <a:avLst/>
                <a:gdLst>
                  <a:gd name="connsiteX0" fmla="*/ 33846 w 39999"/>
                  <a:gd name="connsiteY0" fmla="*/ 12308 h 12307"/>
                  <a:gd name="connsiteX1" fmla="*/ 33846 w 39999"/>
                  <a:gd name="connsiteY1" fmla="*/ 12308 h 12307"/>
                  <a:gd name="connsiteX2" fmla="*/ 6154 w 39999"/>
                  <a:gd name="connsiteY2" fmla="*/ 12308 h 12307"/>
                  <a:gd name="connsiteX3" fmla="*/ 0 w 39999"/>
                  <a:gd name="connsiteY3" fmla="*/ 6154 h 12307"/>
                  <a:gd name="connsiteX4" fmla="*/ 6154 w 39999"/>
                  <a:gd name="connsiteY4" fmla="*/ 0 h 12307"/>
                  <a:gd name="connsiteX5" fmla="*/ 33846 w 39999"/>
                  <a:gd name="connsiteY5" fmla="*/ 0 h 12307"/>
                  <a:gd name="connsiteX6" fmla="*/ 40000 w 39999"/>
                  <a:gd name="connsiteY6" fmla="*/ 6154 h 12307"/>
                  <a:gd name="connsiteX7" fmla="*/ 33846 w 39999"/>
                  <a:gd name="connsiteY7" fmla="*/ 12308 h 1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999" h="12307">
                    <a:moveTo>
                      <a:pt x="33846" y="12308"/>
                    </a:moveTo>
                    <a:cubicBezTo>
                      <a:pt x="33846" y="12308"/>
                      <a:pt x="33846" y="12308"/>
                      <a:pt x="33846" y="12308"/>
                    </a:cubicBezTo>
                    <a:lnTo>
                      <a:pt x="6154" y="12308"/>
                    </a:lnTo>
                    <a:cubicBezTo>
                      <a:pt x="3077" y="12308"/>
                      <a:pt x="0" y="9230"/>
                      <a:pt x="0" y="6154"/>
                    </a:cubicBezTo>
                    <a:cubicBezTo>
                      <a:pt x="0" y="3077"/>
                      <a:pt x="3077" y="0"/>
                      <a:pt x="6154" y="0"/>
                    </a:cubicBezTo>
                    <a:lnTo>
                      <a:pt x="33846" y="0"/>
                    </a:lnTo>
                    <a:cubicBezTo>
                      <a:pt x="36923" y="0"/>
                      <a:pt x="40000" y="3077"/>
                      <a:pt x="40000" y="6154"/>
                    </a:cubicBezTo>
                    <a:cubicBezTo>
                      <a:pt x="40000" y="9230"/>
                      <a:pt x="36923" y="12308"/>
                      <a:pt x="33846" y="1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505EE012-5BB6-44F0-93FB-F11097A15E84}"/>
                </a:ext>
              </a:extLst>
            </p:cNvPr>
            <p:cNvGrpSpPr/>
            <p:nvPr/>
          </p:nvGrpSpPr>
          <p:grpSpPr>
            <a:xfrm>
              <a:off x="-3119386" y="8839257"/>
              <a:ext cx="379145" cy="261538"/>
              <a:chOff x="-3119386" y="8839257"/>
              <a:chExt cx="379145" cy="261538"/>
            </a:xfrm>
          </p:grpSpPr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DD214186-C2E9-44BD-BE87-FCEC8A401706}"/>
                  </a:ext>
                </a:extLst>
              </p:cNvPr>
              <p:cNvSpPr/>
              <p:nvPr/>
            </p:nvSpPr>
            <p:spPr>
              <a:xfrm>
                <a:off x="-2894770" y="8839257"/>
                <a:ext cx="141538" cy="169230"/>
              </a:xfrm>
              <a:custGeom>
                <a:avLst/>
                <a:gdLst>
                  <a:gd name="connsiteX0" fmla="*/ 138462 w 141538"/>
                  <a:gd name="connsiteY0" fmla="*/ 141539 h 169230"/>
                  <a:gd name="connsiteX1" fmla="*/ 141538 w 141538"/>
                  <a:gd name="connsiteY1" fmla="*/ 0 h 169230"/>
                  <a:gd name="connsiteX2" fmla="*/ 0 w 141538"/>
                  <a:gd name="connsiteY2" fmla="*/ 0 h 169230"/>
                  <a:gd name="connsiteX3" fmla="*/ 12308 w 141538"/>
                  <a:gd name="connsiteY3" fmla="*/ 147693 h 169230"/>
                  <a:gd name="connsiteX4" fmla="*/ 129231 w 141538"/>
                  <a:gd name="connsiteY4" fmla="*/ 169231 h 16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538" h="169230">
                    <a:moveTo>
                      <a:pt x="138462" y="141539"/>
                    </a:moveTo>
                    <a:lnTo>
                      <a:pt x="141538" y="0"/>
                    </a:lnTo>
                    <a:lnTo>
                      <a:pt x="0" y="0"/>
                    </a:lnTo>
                    <a:lnTo>
                      <a:pt x="12308" y="147693"/>
                    </a:lnTo>
                    <a:lnTo>
                      <a:pt x="129231" y="169231"/>
                    </a:ln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4" name="任意多边形: 形状 163">
                <a:extLst>
                  <a:ext uri="{FF2B5EF4-FFF2-40B4-BE49-F238E27FC236}">
                    <a16:creationId xmlns:a16="http://schemas.microsoft.com/office/drawing/2014/main" id="{82E740B6-BB40-47B1-B6A8-372A02FE7F89}"/>
                  </a:ext>
                </a:extLst>
              </p:cNvPr>
              <p:cNvSpPr/>
              <p:nvPr/>
            </p:nvSpPr>
            <p:spPr>
              <a:xfrm>
                <a:off x="-3119386" y="8943873"/>
                <a:ext cx="379145" cy="123076"/>
              </a:xfrm>
              <a:custGeom>
                <a:avLst/>
                <a:gdLst>
                  <a:gd name="connsiteX0" fmla="*/ 372308 w 379145"/>
                  <a:gd name="connsiteY0" fmla="*/ 36923 h 123076"/>
                  <a:gd name="connsiteX1" fmla="*/ 230769 w 379145"/>
                  <a:gd name="connsiteY1" fmla="*/ 0 h 123076"/>
                  <a:gd name="connsiteX2" fmla="*/ 129231 w 379145"/>
                  <a:gd name="connsiteY2" fmla="*/ 61538 h 123076"/>
                  <a:gd name="connsiteX3" fmla="*/ 0 w 379145"/>
                  <a:gd name="connsiteY3" fmla="*/ 123077 h 123076"/>
                  <a:gd name="connsiteX4" fmla="*/ 372308 w 379145"/>
                  <a:gd name="connsiteY4" fmla="*/ 123077 h 123076"/>
                  <a:gd name="connsiteX5" fmla="*/ 372308 w 379145"/>
                  <a:gd name="connsiteY5" fmla="*/ 36923 h 12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9145" h="123076">
                    <a:moveTo>
                      <a:pt x="372308" y="36923"/>
                    </a:moveTo>
                    <a:cubicBezTo>
                      <a:pt x="372308" y="36923"/>
                      <a:pt x="276923" y="52307"/>
                      <a:pt x="230769" y="0"/>
                    </a:cubicBezTo>
                    <a:cubicBezTo>
                      <a:pt x="230769" y="0"/>
                      <a:pt x="163077" y="55384"/>
                      <a:pt x="129231" y="61538"/>
                    </a:cubicBezTo>
                    <a:cubicBezTo>
                      <a:pt x="95385" y="67692"/>
                      <a:pt x="9231" y="67692"/>
                      <a:pt x="0" y="123077"/>
                    </a:cubicBezTo>
                    <a:lnTo>
                      <a:pt x="372308" y="123077"/>
                    </a:lnTo>
                    <a:cubicBezTo>
                      <a:pt x="372308" y="123077"/>
                      <a:pt x="387692" y="73846"/>
                      <a:pt x="372308" y="36923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2438EDD8-2DD6-4370-985C-E72B4CC38274}"/>
                  </a:ext>
                </a:extLst>
              </p:cNvPr>
              <p:cNvSpPr/>
              <p:nvPr/>
            </p:nvSpPr>
            <p:spPr>
              <a:xfrm>
                <a:off x="-3119386" y="9066949"/>
                <a:ext cx="372307" cy="33846"/>
              </a:xfrm>
              <a:custGeom>
                <a:avLst/>
                <a:gdLst>
                  <a:gd name="connsiteX0" fmla="*/ 0 w 372307"/>
                  <a:gd name="connsiteY0" fmla="*/ 0 h 33846"/>
                  <a:gd name="connsiteX1" fmla="*/ 372308 w 372307"/>
                  <a:gd name="connsiteY1" fmla="*/ 0 h 33846"/>
                  <a:gd name="connsiteX2" fmla="*/ 372308 w 372307"/>
                  <a:gd name="connsiteY2" fmla="*/ 33847 h 33846"/>
                  <a:gd name="connsiteX3" fmla="*/ 0 w 372307"/>
                  <a:gd name="connsiteY3" fmla="*/ 33847 h 3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2307" h="33846">
                    <a:moveTo>
                      <a:pt x="0" y="0"/>
                    </a:moveTo>
                    <a:lnTo>
                      <a:pt x="372308" y="0"/>
                    </a:lnTo>
                    <a:lnTo>
                      <a:pt x="372308" y="33847"/>
                    </a:lnTo>
                    <a:lnTo>
                      <a:pt x="0" y="33847"/>
                    </a:ln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55BF020B-99E2-4BCD-9FF0-0A1C97DFF3FF}"/>
                  </a:ext>
                </a:extLst>
              </p:cNvPr>
              <p:cNvSpPr/>
              <p:nvPr/>
            </p:nvSpPr>
            <p:spPr>
              <a:xfrm>
                <a:off x="-2897078" y="8935411"/>
                <a:ext cx="156154" cy="51538"/>
              </a:xfrm>
              <a:custGeom>
                <a:avLst/>
                <a:gdLst>
                  <a:gd name="connsiteX0" fmla="*/ 122308 w 156154"/>
                  <a:gd name="connsiteY0" fmla="*/ 51539 h 51538"/>
                  <a:gd name="connsiteX1" fmla="*/ 2308 w 156154"/>
                  <a:gd name="connsiteY1" fmla="*/ 11538 h 51538"/>
                  <a:gd name="connsiteX2" fmla="*/ 2308 w 156154"/>
                  <a:gd name="connsiteY2" fmla="*/ 2308 h 51538"/>
                  <a:gd name="connsiteX3" fmla="*/ 11538 w 156154"/>
                  <a:gd name="connsiteY3" fmla="*/ 2308 h 51538"/>
                  <a:gd name="connsiteX4" fmla="*/ 150000 w 156154"/>
                  <a:gd name="connsiteY4" fmla="*/ 36154 h 51538"/>
                  <a:gd name="connsiteX5" fmla="*/ 156154 w 156154"/>
                  <a:gd name="connsiteY5" fmla="*/ 42307 h 51538"/>
                  <a:gd name="connsiteX6" fmla="*/ 150000 w 156154"/>
                  <a:gd name="connsiteY6" fmla="*/ 48462 h 51538"/>
                  <a:gd name="connsiteX7" fmla="*/ 122308 w 156154"/>
                  <a:gd name="connsiteY7" fmla="*/ 51539 h 5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6154" h="51538">
                    <a:moveTo>
                      <a:pt x="122308" y="51539"/>
                    </a:moveTo>
                    <a:cubicBezTo>
                      <a:pt x="91538" y="51539"/>
                      <a:pt x="39231" y="45385"/>
                      <a:pt x="2308" y="11538"/>
                    </a:cubicBezTo>
                    <a:cubicBezTo>
                      <a:pt x="-769" y="8462"/>
                      <a:pt x="-769" y="5385"/>
                      <a:pt x="2308" y="2308"/>
                    </a:cubicBezTo>
                    <a:cubicBezTo>
                      <a:pt x="5385" y="-769"/>
                      <a:pt x="8462" y="-769"/>
                      <a:pt x="11538" y="2308"/>
                    </a:cubicBezTo>
                    <a:cubicBezTo>
                      <a:pt x="63846" y="48462"/>
                      <a:pt x="150000" y="36154"/>
                      <a:pt x="150000" y="36154"/>
                    </a:cubicBezTo>
                    <a:cubicBezTo>
                      <a:pt x="153077" y="36154"/>
                      <a:pt x="156154" y="39231"/>
                      <a:pt x="156154" y="42307"/>
                    </a:cubicBezTo>
                    <a:cubicBezTo>
                      <a:pt x="156154" y="45385"/>
                      <a:pt x="153077" y="48462"/>
                      <a:pt x="150000" y="48462"/>
                    </a:cubicBezTo>
                    <a:cubicBezTo>
                      <a:pt x="150000" y="48462"/>
                      <a:pt x="140769" y="51539"/>
                      <a:pt x="122308" y="5153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EAA37333-FB07-4FF0-B0EC-4D5571A28BE0}"/>
                  </a:ext>
                </a:extLst>
              </p:cNvPr>
              <p:cNvSpPr/>
              <p:nvPr/>
            </p:nvSpPr>
            <p:spPr>
              <a:xfrm>
                <a:off x="-2921693" y="8953872"/>
                <a:ext cx="32307" cy="36154"/>
              </a:xfrm>
              <a:custGeom>
                <a:avLst/>
                <a:gdLst>
                  <a:gd name="connsiteX0" fmla="*/ 23846 w 32307"/>
                  <a:gd name="connsiteY0" fmla="*/ 36154 h 36154"/>
                  <a:gd name="connsiteX1" fmla="*/ 20769 w 32307"/>
                  <a:gd name="connsiteY1" fmla="*/ 33077 h 36154"/>
                  <a:gd name="connsiteX2" fmla="*/ 2308 w 32307"/>
                  <a:gd name="connsiteY2" fmla="*/ 11538 h 36154"/>
                  <a:gd name="connsiteX3" fmla="*/ 2308 w 32307"/>
                  <a:gd name="connsiteY3" fmla="*/ 2308 h 36154"/>
                  <a:gd name="connsiteX4" fmla="*/ 11539 w 32307"/>
                  <a:gd name="connsiteY4" fmla="*/ 2308 h 36154"/>
                  <a:gd name="connsiteX5" fmla="*/ 30000 w 32307"/>
                  <a:gd name="connsiteY5" fmla="*/ 23846 h 36154"/>
                  <a:gd name="connsiteX6" fmla="*/ 30000 w 32307"/>
                  <a:gd name="connsiteY6" fmla="*/ 33077 h 36154"/>
                  <a:gd name="connsiteX7" fmla="*/ 23846 w 32307"/>
                  <a:gd name="connsiteY7" fmla="*/ 36154 h 36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307" h="36154">
                    <a:moveTo>
                      <a:pt x="23846" y="36154"/>
                    </a:moveTo>
                    <a:cubicBezTo>
                      <a:pt x="23846" y="36154"/>
                      <a:pt x="20769" y="36154"/>
                      <a:pt x="20769" y="33077"/>
                    </a:cubicBezTo>
                    <a:lnTo>
                      <a:pt x="2308" y="11538"/>
                    </a:lnTo>
                    <a:cubicBezTo>
                      <a:pt x="-769" y="8461"/>
                      <a:pt x="-769" y="5385"/>
                      <a:pt x="2308" y="2308"/>
                    </a:cubicBezTo>
                    <a:cubicBezTo>
                      <a:pt x="5385" y="-769"/>
                      <a:pt x="8461" y="-769"/>
                      <a:pt x="11539" y="2308"/>
                    </a:cubicBezTo>
                    <a:lnTo>
                      <a:pt x="30000" y="23846"/>
                    </a:lnTo>
                    <a:cubicBezTo>
                      <a:pt x="33077" y="26923"/>
                      <a:pt x="33077" y="30000"/>
                      <a:pt x="30000" y="33077"/>
                    </a:cubicBezTo>
                    <a:cubicBezTo>
                      <a:pt x="26923" y="36154"/>
                      <a:pt x="26923" y="36154"/>
                      <a:pt x="23846" y="3615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8" name="任意多边形: 形状 167">
                <a:extLst>
                  <a:ext uri="{FF2B5EF4-FFF2-40B4-BE49-F238E27FC236}">
                    <a16:creationId xmlns:a16="http://schemas.microsoft.com/office/drawing/2014/main" id="{5A2501B4-508E-41FF-A5BE-B4E8093C01FD}"/>
                  </a:ext>
                </a:extLst>
              </p:cNvPr>
              <p:cNvSpPr/>
              <p:nvPr/>
            </p:nvSpPr>
            <p:spPr>
              <a:xfrm>
                <a:off x="-2949386" y="8975411"/>
                <a:ext cx="32307" cy="36153"/>
              </a:xfrm>
              <a:custGeom>
                <a:avLst/>
                <a:gdLst>
                  <a:gd name="connsiteX0" fmla="*/ 23846 w 32307"/>
                  <a:gd name="connsiteY0" fmla="*/ 36153 h 36153"/>
                  <a:gd name="connsiteX1" fmla="*/ 20769 w 32307"/>
                  <a:gd name="connsiteY1" fmla="*/ 33076 h 36153"/>
                  <a:gd name="connsiteX2" fmla="*/ 2308 w 32307"/>
                  <a:gd name="connsiteY2" fmla="*/ 11538 h 36153"/>
                  <a:gd name="connsiteX3" fmla="*/ 2308 w 32307"/>
                  <a:gd name="connsiteY3" fmla="*/ 2307 h 36153"/>
                  <a:gd name="connsiteX4" fmla="*/ 11539 w 32307"/>
                  <a:gd name="connsiteY4" fmla="*/ 2307 h 36153"/>
                  <a:gd name="connsiteX5" fmla="*/ 30000 w 32307"/>
                  <a:gd name="connsiteY5" fmla="*/ 23846 h 36153"/>
                  <a:gd name="connsiteX6" fmla="*/ 30000 w 32307"/>
                  <a:gd name="connsiteY6" fmla="*/ 33076 h 36153"/>
                  <a:gd name="connsiteX7" fmla="*/ 23846 w 32307"/>
                  <a:gd name="connsiteY7" fmla="*/ 36153 h 3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307" h="36153">
                    <a:moveTo>
                      <a:pt x="23846" y="36153"/>
                    </a:moveTo>
                    <a:cubicBezTo>
                      <a:pt x="23846" y="36153"/>
                      <a:pt x="20769" y="36153"/>
                      <a:pt x="20769" y="33076"/>
                    </a:cubicBezTo>
                    <a:lnTo>
                      <a:pt x="2308" y="11538"/>
                    </a:lnTo>
                    <a:cubicBezTo>
                      <a:pt x="-769" y="8461"/>
                      <a:pt x="-769" y="5384"/>
                      <a:pt x="2308" y="2307"/>
                    </a:cubicBezTo>
                    <a:cubicBezTo>
                      <a:pt x="5385" y="-769"/>
                      <a:pt x="8462" y="-769"/>
                      <a:pt x="11539" y="2307"/>
                    </a:cubicBezTo>
                    <a:lnTo>
                      <a:pt x="30000" y="23846"/>
                    </a:lnTo>
                    <a:cubicBezTo>
                      <a:pt x="33077" y="26923"/>
                      <a:pt x="33077" y="30000"/>
                      <a:pt x="30000" y="33076"/>
                    </a:cubicBezTo>
                    <a:cubicBezTo>
                      <a:pt x="26923" y="36153"/>
                      <a:pt x="23846" y="36153"/>
                      <a:pt x="23846" y="361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038BB01C-8479-4BD1-BF69-96DE2B909ED4}"/>
                </a:ext>
              </a:extLst>
            </p:cNvPr>
            <p:cNvSpPr/>
            <p:nvPr/>
          </p:nvSpPr>
          <p:spPr>
            <a:xfrm>
              <a:off x="-3005414" y="7140796"/>
              <a:ext cx="1058336" cy="1759999"/>
            </a:xfrm>
            <a:custGeom>
              <a:avLst/>
              <a:gdLst>
                <a:gd name="connsiteX0" fmla="*/ 6028 w 1058336"/>
                <a:gd name="connsiteY0" fmla="*/ 15385 h 1759999"/>
                <a:gd name="connsiteX1" fmla="*/ 15259 w 1058336"/>
                <a:gd name="connsiteY1" fmla="*/ 1076923 h 1759999"/>
                <a:gd name="connsiteX2" fmla="*/ 67567 w 1058336"/>
                <a:gd name="connsiteY2" fmla="*/ 1759999 h 1759999"/>
                <a:gd name="connsiteX3" fmla="*/ 295259 w 1058336"/>
                <a:gd name="connsiteY3" fmla="*/ 1759999 h 1759999"/>
                <a:gd name="connsiteX4" fmla="*/ 322951 w 1058336"/>
                <a:gd name="connsiteY4" fmla="*/ 1095385 h 1759999"/>
                <a:gd name="connsiteX5" fmla="*/ 384490 w 1058336"/>
                <a:gd name="connsiteY5" fmla="*/ 384615 h 1759999"/>
                <a:gd name="connsiteX6" fmla="*/ 415259 w 1058336"/>
                <a:gd name="connsiteY6" fmla="*/ 1080000 h 1759999"/>
                <a:gd name="connsiteX7" fmla="*/ 442951 w 1058336"/>
                <a:gd name="connsiteY7" fmla="*/ 1156923 h 1759999"/>
                <a:gd name="connsiteX8" fmla="*/ 839875 w 1058336"/>
                <a:gd name="connsiteY8" fmla="*/ 1670769 h 1759999"/>
                <a:gd name="connsiteX9" fmla="*/ 1058336 w 1058336"/>
                <a:gd name="connsiteY9" fmla="*/ 1486154 h 1759999"/>
                <a:gd name="connsiteX10" fmla="*/ 726028 w 1058336"/>
                <a:gd name="connsiteY10" fmla="*/ 1027692 h 1759999"/>
                <a:gd name="connsiteX11" fmla="*/ 784490 w 1058336"/>
                <a:gd name="connsiteY11" fmla="*/ 0 h 1759999"/>
                <a:gd name="connsiteX12" fmla="*/ 6028 w 1058336"/>
                <a:gd name="connsiteY12" fmla="*/ 15385 h 175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58336" h="1759999">
                  <a:moveTo>
                    <a:pt x="6028" y="15385"/>
                  </a:moveTo>
                  <a:cubicBezTo>
                    <a:pt x="6028" y="15385"/>
                    <a:pt x="-12433" y="836923"/>
                    <a:pt x="15259" y="1076923"/>
                  </a:cubicBezTo>
                  <a:cubicBezTo>
                    <a:pt x="39874" y="1283076"/>
                    <a:pt x="67567" y="1759999"/>
                    <a:pt x="67567" y="1759999"/>
                  </a:cubicBezTo>
                  <a:lnTo>
                    <a:pt x="295259" y="1759999"/>
                  </a:lnTo>
                  <a:cubicBezTo>
                    <a:pt x="295259" y="1759999"/>
                    <a:pt x="319874" y="1172308"/>
                    <a:pt x="322951" y="1095385"/>
                  </a:cubicBezTo>
                  <a:cubicBezTo>
                    <a:pt x="329105" y="987693"/>
                    <a:pt x="375259" y="409230"/>
                    <a:pt x="384490" y="384615"/>
                  </a:cubicBezTo>
                  <a:cubicBezTo>
                    <a:pt x="393721" y="366154"/>
                    <a:pt x="412182" y="920000"/>
                    <a:pt x="415259" y="1080000"/>
                  </a:cubicBezTo>
                  <a:cubicBezTo>
                    <a:pt x="415259" y="1107692"/>
                    <a:pt x="424490" y="1135384"/>
                    <a:pt x="442951" y="1156923"/>
                  </a:cubicBezTo>
                  <a:lnTo>
                    <a:pt x="839875" y="1670769"/>
                  </a:lnTo>
                  <a:lnTo>
                    <a:pt x="1058336" y="1486154"/>
                  </a:lnTo>
                  <a:lnTo>
                    <a:pt x="726028" y="1027692"/>
                  </a:lnTo>
                  <a:cubicBezTo>
                    <a:pt x="726028" y="1027692"/>
                    <a:pt x="821413" y="73846"/>
                    <a:pt x="784490" y="0"/>
                  </a:cubicBezTo>
                  <a:cubicBezTo>
                    <a:pt x="255259" y="27692"/>
                    <a:pt x="6028" y="15385"/>
                    <a:pt x="6028" y="15385"/>
                  </a:cubicBez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62E02A3D-3B41-404A-A12E-B9DDA288F9FE}"/>
                </a:ext>
              </a:extLst>
            </p:cNvPr>
            <p:cNvSpPr/>
            <p:nvPr/>
          </p:nvSpPr>
          <p:spPr>
            <a:xfrm>
              <a:off x="-2670155" y="7254641"/>
              <a:ext cx="57405" cy="280000"/>
            </a:xfrm>
            <a:custGeom>
              <a:avLst/>
              <a:gdLst>
                <a:gd name="connsiteX0" fmla="*/ 52308 w 57405"/>
                <a:gd name="connsiteY0" fmla="*/ 280000 h 280000"/>
                <a:gd name="connsiteX1" fmla="*/ 46154 w 57405"/>
                <a:gd name="connsiteY1" fmla="*/ 276923 h 280000"/>
                <a:gd name="connsiteX2" fmla="*/ 0 w 57405"/>
                <a:gd name="connsiteY2" fmla="*/ 6154 h 280000"/>
                <a:gd name="connsiteX3" fmla="*/ 6154 w 57405"/>
                <a:gd name="connsiteY3" fmla="*/ 0 h 280000"/>
                <a:gd name="connsiteX4" fmla="*/ 12308 w 57405"/>
                <a:gd name="connsiteY4" fmla="*/ 6154 h 280000"/>
                <a:gd name="connsiteX5" fmla="*/ 55385 w 57405"/>
                <a:gd name="connsiteY5" fmla="*/ 273847 h 280000"/>
                <a:gd name="connsiteX6" fmla="*/ 52308 w 57405"/>
                <a:gd name="connsiteY6" fmla="*/ 280000 h 280000"/>
                <a:gd name="connsiteX7" fmla="*/ 52308 w 57405"/>
                <a:gd name="connsiteY7" fmla="*/ 280000 h 2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405" h="280000">
                  <a:moveTo>
                    <a:pt x="52308" y="280000"/>
                  </a:moveTo>
                  <a:cubicBezTo>
                    <a:pt x="49231" y="280000"/>
                    <a:pt x="49231" y="280000"/>
                    <a:pt x="46154" y="276923"/>
                  </a:cubicBezTo>
                  <a:cubicBezTo>
                    <a:pt x="9231" y="187693"/>
                    <a:pt x="0" y="12308"/>
                    <a:pt x="0" y="6154"/>
                  </a:cubicBezTo>
                  <a:cubicBezTo>
                    <a:pt x="0" y="3077"/>
                    <a:pt x="3077" y="0"/>
                    <a:pt x="6154" y="0"/>
                  </a:cubicBezTo>
                  <a:cubicBezTo>
                    <a:pt x="9231" y="0"/>
                    <a:pt x="12308" y="3077"/>
                    <a:pt x="12308" y="6154"/>
                  </a:cubicBezTo>
                  <a:cubicBezTo>
                    <a:pt x="12308" y="9231"/>
                    <a:pt x="18461" y="187693"/>
                    <a:pt x="55385" y="273847"/>
                  </a:cubicBezTo>
                  <a:cubicBezTo>
                    <a:pt x="58462" y="273847"/>
                    <a:pt x="58462" y="276923"/>
                    <a:pt x="52308" y="280000"/>
                  </a:cubicBezTo>
                  <a:cubicBezTo>
                    <a:pt x="52308" y="280000"/>
                    <a:pt x="52308" y="280000"/>
                    <a:pt x="52308" y="280000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374D3878-1BB5-4411-AC7A-BCBB7445E877}"/>
                </a:ext>
              </a:extLst>
            </p:cNvPr>
            <p:cNvSpPr/>
            <p:nvPr/>
          </p:nvSpPr>
          <p:spPr>
            <a:xfrm>
              <a:off x="-2753232" y="7199257"/>
              <a:ext cx="120000" cy="273845"/>
            </a:xfrm>
            <a:custGeom>
              <a:avLst/>
              <a:gdLst>
                <a:gd name="connsiteX0" fmla="*/ 113846 w 120000"/>
                <a:gd name="connsiteY0" fmla="*/ 273846 h 273845"/>
                <a:gd name="connsiteX1" fmla="*/ 110769 w 120000"/>
                <a:gd name="connsiteY1" fmla="*/ 273846 h 273845"/>
                <a:gd name="connsiteX2" fmla="*/ 27692 w 120000"/>
                <a:gd name="connsiteY2" fmla="*/ 212308 h 273845"/>
                <a:gd name="connsiteX3" fmla="*/ 0 w 120000"/>
                <a:gd name="connsiteY3" fmla="*/ 6154 h 273845"/>
                <a:gd name="connsiteX4" fmla="*/ 6154 w 120000"/>
                <a:gd name="connsiteY4" fmla="*/ 0 h 273845"/>
                <a:gd name="connsiteX5" fmla="*/ 12308 w 120000"/>
                <a:gd name="connsiteY5" fmla="*/ 6154 h 273845"/>
                <a:gd name="connsiteX6" fmla="*/ 36923 w 120000"/>
                <a:gd name="connsiteY6" fmla="*/ 206154 h 273845"/>
                <a:gd name="connsiteX7" fmla="*/ 116923 w 120000"/>
                <a:gd name="connsiteY7" fmla="*/ 264616 h 273845"/>
                <a:gd name="connsiteX8" fmla="*/ 120000 w 120000"/>
                <a:gd name="connsiteY8" fmla="*/ 273846 h 273845"/>
                <a:gd name="connsiteX9" fmla="*/ 113846 w 120000"/>
                <a:gd name="connsiteY9" fmla="*/ 273846 h 273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273845">
                  <a:moveTo>
                    <a:pt x="113846" y="273846"/>
                  </a:moveTo>
                  <a:cubicBezTo>
                    <a:pt x="113846" y="273846"/>
                    <a:pt x="110769" y="273846"/>
                    <a:pt x="110769" y="273846"/>
                  </a:cubicBezTo>
                  <a:cubicBezTo>
                    <a:pt x="104615" y="267693"/>
                    <a:pt x="36923" y="224615"/>
                    <a:pt x="27692" y="212308"/>
                  </a:cubicBezTo>
                  <a:cubicBezTo>
                    <a:pt x="18461" y="200000"/>
                    <a:pt x="6154" y="52308"/>
                    <a:pt x="0" y="6154"/>
                  </a:cubicBezTo>
                  <a:cubicBezTo>
                    <a:pt x="0" y="3077"/>
                    <a:pt x="3077" y="0"/>
                    <a:pt x="6154" y="0"/>
                  </a:cubicBezTo>
                  <a:cubicBezTo>
                    <a:pt x="9231" y="0"/>
                    <a:pt x="12308" y="3077"/>
                    <a:pt x="12308" y="6154"/>
                  </a:cubicBezTo>
                  <a:cubicBezTo>
                    <a:pt x="18461" y="80000"/>
                    <a:pt x="30769" y="196923"/>
                    <a:pt x="36923" y="206154"/>
                  </a:cubicBezTo>
                  <a:cubicBezTo>
                    <a:pt x="43077" y="212308"/>
                    <a:pt x="89231" y="246154"/>
                    <a:pt x="116923" y="264616"/>
                  </a:cubicBezTo>
                  <a:cubicBezTo>
                    <a:pt x="120000" y="267693"/>
                    <a:pt x="120000" y="270769"/>
                    <a:pt x="120000" y="273846"/>
                  </a:cubicBezTo>
                  <a:cubicBezTo>
                    <a:pt x="116923" y="273846"/>
                    <a:pt x="113846" y="273846"/>
                    <a:pt x="113846" y="273846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4E9A6A37-35EF-4174-9E11-56CD37A1BE34}"/>
                </a:ext>
              </a:extLst>
            </p:cNvPr>
            <p:cNvSpPr/>
            <p:nvPr/>
          </p:nvSpPr>
          <p:spPr>
            <a:xfrm>
              <a:off x="-2316309" y="7146949"/>
              <a:ext cx="116923" cy="187692"/>
            </a:xfrm>
            <a:custGeom>
              <a:avLst/>
              <a:gdLst>
                <a:gd name="connsiteX0" fmla="*/ 110769 w 116923"/>
                <a:gd name="connsiteY0" fmla="*/ 187693 h 187692"/>
                <a:gd name="connsiteX1" fmla="*/ 110769 w 116923"/>
                <a:gd name="connsiteY1" fmla="*/ 187693 h 187692"/>
                <a:gd name="connsiteX2" fmla="*/ 12308 w 116923"/>
                <a:gd name="connsiteY2" fmla="*/ 160000 h 187692"/>
                <a:gd name="connsiteX3" fmla="*/ 0 w 116923"/>
                <a:gd name="connsiteY3" fmla="*/ 6154 h 187692"/>
                <a:gd name="connsiteX4" fmla="*/ 6154 w 116923"/>
                <a:gd name="connsiteY4" fmla="*/ 0 h 187692"/>
                <a:gd name="connsiteX5" fmla="*/ 6154 w 116923"/>
                <a:gd name="connsiteY5" fmla="*/ 0 h 187692"/>
                <a:gd name="connsiteX6" fmla="*/ 12308 w 116923"/>
                <a:gd name="connsiteY6" fmla="*/ 6154 h 187692"/>
                <a:gd name="connsiteX7" fmla="*/ 21539 w 116923"/>
                <a:gd name="connsiteY7" fmla="*/ 153846 h 187692"/>
                <a:gd name="connsiteX8" fmla="*/ 110769 w 116923"/>
                <a:gd name="connsiteY8" fmla="*/ 175385 h 187692"/>
                <a:gd name="connsiteX9" fmla="*/ 116923 w 116923"/>
                <a:gd name="connsiteY9" fmla="*/ 181539 h 187692"/>
                <a:gd name="connsiteX10" fmla="*/ 110769 w 116923"/>
                <a:gd name="connsiteY10" fmla="*/ 187693 h 18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6923" h="187692">
                  <a:moveTo>
                    <a:pt x="110769" y="187693"/>
                  </a:moveTo>
                  <a:cubicBezTo>
                    <a:pt x="110769" y="187693"/>
                    <a:pt x="110769" y="187693"/>
                    <a:pt x="110769" y="187693"/>
                  </a:cubicBezTo>
                  <a:cubicBezTo>
                    <a:pt x="83077" y="184615"/>
                    <a:pt x="21539" y="175385"/>
                    <a:pt x="12308" y="160000"/>
                  </a:cubicBezTo>
                  <a:cubicBezTo>
                    <a:pt x="3077" y="144616"/>
                    <a:pt x="3077" y="30769"/>
                    <a:pt x="0" y="6154"/>
                  </a:cubicBezTo>
                  <a:cubicBezTo>
                    <a:pt x="0" y="3077"/>
                    <a:pt x="3077" y="0"/>
                    <a:pt x="6154" y="0"/>
                  </a:cubicBezTo>
                  <a:lnTo>
                    <a:pt x="6154" y="0"/>
                  </a:lnTo>
                  <a:cubicBezTo>
                    <a:pt x="9231" y="0"/>
                    <a:pt x="12308" y="3077"/>
                    <a:pt x="12308" y="6154"/>
                  </a:cubicBezTo>
                  <a:cubicBezTo>
                    <a:pt x="12308" y="73847"/>
                    <a:pt x="18461" y="147693"/>
                    <a:pt x="21539" y="153846"/>
                  </a:cubicBezTo>
                  <a:cubicBezTo>
                    <a:pt x="24615" y="160000"/>
                    <a:pt x="70769" y="169231"/>
                    <a:pt x="110769" y="175385"/>
                  </a:cubicBezTo>
                  <a:cubicBezTo>
                    <a:pt x="113846" y="175385"/>
                    <a:pt x="116923" y="178462"/>
                    <a:pt x="116923" y="181539"/>
                  </a:cubicBezTo>
                  <a:cubicBezTo>
                    <a:pt x="116923" y="184615"/>
                    <a:pt x="113846" y="187693"/>
                    <a:pt x="110769" y="187693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5D2C2D12-3060-4917-9FB7-4D5B10D92179}"/>
                </a:ext>
              </a:extLst>
            </p:cNvPr>
            <p:cNvSpPr/>
            <p:nvPr/>
          </p:nvSpPr>
          <p:spPr>
            <a:xfrm>
              <a:off x="-3002463" y="7159257"/>
              <a:ext cx="73845" cy="159999"/>
            </a:xfrm>
            <a:custGeom>
              <a:avLst/>
              <a:gdLst>
                <a:gd name="connsiteX0" fmla="*/ 12308 w 73845"/>
                <a:gd name="connsiteY0" fmla="*/ 159999 h 159999"/>
                <a:gd name="connsiteX1" fmla="*/ 6154 w 73845"/>
                <a:gd name="connsiteY1" fmla="*/ 159999 h 159999"/>
                <a:gd name="connsiteX2" fmla="*/ 0 w 73845"/>
                <a:gd name="connsiteY2" fmla="*/ 153846 h 159999"/>
                <a:gd name="connsiteX3" fmla="*/ 6154 w 73845"/>
                <a:gd name="connsiteY3" fmla="*/ 147692 h 159999"/>
                <a:gd name="connsiteX4" fmla="*/ 46154 w 73845"/>
                <a:gd name="connsiteY4" fmla="*/ 135384 h 159999"/>
                <a:gd name="connsiteX5" fmla="*/ 61538 w 73845"/>
                <a:gd name="connsiteY5" fmla="*/ 6153 h 159999"/>
                <a:gd name="connsiteX6" fmla="*/ 67692 w 73845"/>
                <a:gd name="connsiteY6" fmla="*/ 0 h 159999"/>
                <a:gd name="connsiteX7" fmla="*/ 67692 w 73845"/>
                <a:gd name="connsiteY7" fmla="*/ 0 h 159999"/>
                <a:gd name="connsiteX8" fmla="*/ 73846 w 73845"/>
                <a:gd name="connsiteY8" fmla="*/ 6153 h 159999"/>
                <a:gd name="connsiteX9" fmla="*/ 58461 w 73845"/>
                <a:gd name="connsiteY9" fmla="*/ 141538 h 159999"/>
                <a:gd name="connsiteX10" fmla="*/ 12308 w 73845"/>
                <a:gd name="connsiteY10" fmla="*/ 159999 h 15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845" h="159999">
                  <a:moveTo>
                    <a:pt x="12308" y="159999"/>
                  </a:moveTo>
                  <a:cubicBezTo>
                    <a:pt x="9231" y="159999"/>
                    <a:pt x="6154" y="159999"/>
                    <a:pt x="6154" y="159999"/>
                  </a:cubicBezTo>
                  <a:cubicBezTo>
                    <a:pt x="3077" y="159999"/>
                    <a:pt x="0" y="156922"/>
                    <a:pt x="0" y="153846"/>
                  </a:cubicBezTo>
                  <a:cubicBezTo>
                    <a:pt x="0" y="150769"/>
                    <a:pt x="3077" y="147692"/>
                    <a:pt x="6154" y="147692"/>
                  </a:cubicBezTo>
                  <a:cubicBezTo>
                    <a:pt x="6154" y="147692"/>
                    <a:pt x="36923" y="150769"/>
                    <a:pt x="46154" y="135384"/>
                  </a:cubicBezTo>
                  <a:cubicBezTo>
                    <a:pt x="52308" y="123077"/>
                    <a:pt x="58461" y="49230"/>
                    <a:pt x="61538" y="6153"/>
                  </a:cubicBezTo>
                  <a:cubicBezTo>
                    <a:pt x="61538" y="3076"/>
                    <a:pt x="64615" y="0"/>
                    <a:pt x="67692" y="0"/>
                  </a:cubicBezTo>
                  <a:cubicBezTo>
                    <a:pt x="67692" y="0"/>
                    <a:pt x="67692" y="0"/>
                    <a:pt x="67692" y="0"/>
                  </a:cubicBezTo>
                  <a:cubicBezTo>
                    <a:pt x="70769" y="0"/>
                    <a:pt x="73846" y="3076"/>
                    <a:pt x="73846" y="6153"/>
                  </a:cubicBezTo>
                  <a:cubicBezTo>
                    <a:pt x="73846" y="18461"/>
                    <a:pt x="67692" y="120000"/>
                    <a:pt x="58461" y="141538"/>
                  </a:cubicBezTo>
                  <a:cubicBezTo>
                    <a:pt x="49231" y="156922"/>
                    <a:pt x="24615" y="159999"/>
                    <a:pt x="12308" y="159999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8280236F-CB12-4B7B-9F3C-91961F753A9B}"/>
                </a:ext>
              </a:extLst>
            </p:cNvPr>
            <p:cNvSpPr/>
            <p:nvPr/>
          </p:nvSpPr>
          <p:spPr>
            <a:xfrm>
              <a:off x="-2377847" y="8168488"/>
              <a:ext cx="104615" cy="27692"/>
            </a:xfrm>
            <a:custGeom>
              <a:avLst/>
              <a:gdLst>
                <a:gd name="connsiteX0" fmla="*/ 6154 w 104615"/>
                <a:gd name="connsiteY0" fmla="*/ 27692 h 27692"/>
                <a:gd name="connsiteX1" fmla="*/ 0 w 104615"/>
                <a:gd name="connsiteY1" fmla="*/ 24615 h 27692"/>
                <a:gd name="connsiteX2" fmla="*/ 3077 w 104615"/>
                <a:gd name="connsiteY2" fmla="*/ 18462 h 27692"/>
                <a:gd name="connsiteX3" fmla="*/ 98462 w 104615"/>
                <a:gd name="connsiteY3" fmla="*/ 0 h 27692"/>
                <a:gd name="connsiteX4" fmla="*/ 104615 w 104615"/>
                <a:gd name="connsiteY4" fmla="*/ 3077 h 27692"/>
                <a:gd name="connsiteX5" fmla="*/ 101539 w 104615"/>
                <a:gd name="connsiteY5" fmla="*/ 9230 h 27692"/>
                <a:gd name="connsiteX6" fmla="*/ 6154 w 104615"/>
                <a:gd name="connsiteY6" fmla="*/ 27692 h 27692"/>
                <a:gd name="connsiteX7" fmla="*/ 6154 w 104615"/>
                <a:gd name="connsiteY7" fmla="*/ 27692 h 2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615" h="27692">
                  <a:moveTo>
                    <a:pt x="6154" y="27692"/>
                  </a:moveTo>
                  <a:cubicBezTo>
                    <a:pt x="3077" y="27692"/>
                    <a:pt x="0" y="24615"/>
                    <a:pt x="0" y="24615"/>
                  </a:cubicBezTo>
                  <a:cubicBezTo>
                    <a:pt x="0" y="21539"/>
                    <a:pt x="0" y="18462"/>
                    <a:pt x="3077" y="18462"/>
                  </a:cubicBezTo>
                  <a:lnTo>
                    <a:pt x="98462" y="0"/>
                  </a:lnTo>
                  <a:cubicBezTo>
                    <a:pt x="101539" y="0"/>
                    <a:pt x="104615" y="0"/>
                    <a:pt x="104615" y="3077"/>
                  </a:cubicBezTo>
                  <a:cubicBezTo>
                    <a:pt x="104615" y="6154"/>
                    <a:pt x="104615" y="9230"/>
                    <a:pt x="101539" y="9230"/>
                  </a:cubicBezTo>
                  <a:lnTo>
                    <a:pt x="6154" y="27692"/>
                  </a:lnTo>
                  <a:cubicBezTo>
                    <a:pt x="9231" y="27692"/>
                    <a:pt x="6154" y="27692"/>
                    <a:pt x="6154" y="27692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774EE4C3-A04F-4098-AD5B-1003A3D4A744}"/>
                </a:ext>
              </a:extLst>
            </p:cNvPr>
            <p:cNvSpPr/>
            <p:nvPr/>
          </p:nvSpPr>
          <p:spPr>
            <a:xfrm>
              <a:off x="-3648752" y="6079257"/>
              <a:ext cx="775168" cy="550065"/>
            </a:xfrm>
            <a:custGeom>
              <a:avLst/>
              <a:gdLst>
                <a:gd name="connsiteX0" fmla="*/ 763212 w 775168"/>
                <a:gd name="connsiteY0" fmla="*/ 95384 h 550065"/>
                <a:gd name="connsiteX1" fmla="*/ 440135 w 775168"/>
                <a:gd name="connsiteY1" fmla="*/ 166154 h 550065"/>
                <a:gd name="connsiteX2" fmla="*/ 169366 w 775168"/>
                <a:gd name="connsiteY2" fmla="*/ 350769 h 550065"/>
                <a:gd name="connsiteX3" fmla="*/ 80135 w 775168"/>
                <a:gd name="connsiteY3" fmla="*/ 0 h 550065"/>
                <a:gd name="connsiteX4" fmla="*/ 135 w 775168"/>
                <a:gd name="connsiteY4" fmla="*/ 64615 h 550065"/>
                <a:gd name="connsiteX5" fmla="*/ 64750 w 775168"/>
                <a:gd name="connsiteY5" fmla="*/ 538462 h 550065"/>
                <a:gd name="connsiteX6" fmla="*/ 763212 w 775168"/>
                <a:gd name="connsiteY6" fmla="*/ 95384 h 550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5168" h="550065">
                  <a:moveTo>
                    <a:pt x="763212" y="95384"/>
                  </a:moveTo>
                  <a:cubicBezTo>
                    <a:pt x="713981" y="21538"/>
                    <a:pt x="513981" y="126154"/>
                    <a:pt x="440135" y="166154"/>
                  </a:cubicBezTo>
                  <a:cubicBezTo>
                    <a:pt x="372443" y="203077"/>
                    <a:pt x="169366" y="350769"/>
                    <a:pt x="169366" y="350769"/>
                  </a:cubicBezTo>
                  <a:lnTo>
                    <a:pt x="80135" y="0"/>
                  </a:lnTo>
                  <a:lnTo>
                    <a:pt x="135" y="64615"/>
                  </a:lnTo>
                  <a:cubicBezTo>
                    <a:pt x="135" y="64615"/>
                    <a:pt x="-6019" y="492308"/>
                    <a:pt x="64750" y="538462"/>
                  </a:cubicBezTo>
                  <a:cubicBezTo>
                    <a:pt x="181673" y="618462"/>
                    <a:pt x="873981" y="264616"/>
                    <a:pt x="763212" y="95384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DFC02A95-AF12-47B3-B353-A0F9A8A7108C}"/>
                </a:ext>
              </a:extLst>
            </p:cNvPr>
            <p:cNvSpPr/>
            <p:nvPr/>
          </p:nvSpPr>
          <p:spPr>
            <a:xfrm>
              <a:off x="-3224001" y="6055749"/>
              <a:ext cx="442356" cy="417353"/>
            </a:xfrm>
            <a:custGeom>
              <a:avLst/>
              <a:gdLst>
                <a:gd name="connsiteX0" fmla="*/ 184615 w 442356"/>
                <a:gd name="connsiteY0" fmla="*/ 417354 h 417353"/>
                <a:gd name="connsiteX1" fmla="*/ 436923 w 442356"/>
                <a:gd name="connsiteY1" fmla="*/ 32738 h 417353"/>
                <a:gd name="connsiteX2" fmla="*/ 0 w 442356"/>
                <a:gd name="connsiteY2" fmla="*/ 149661 h 417353"/>
                <a:gd name="connsiteX3" fmla="*/ 184615 w 442356"/>
                <a:gd name="connsiteY3" fmla="*/ 417354 h 417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2356" h="417353">
                  <a:moveTo>
                    <a:pt x="184615" y="417354"/>
                  </a:moveTo>
                  <a:cubicBezTo>
                    <a:pt x="184615" y="417354"/>
                    <a:pt x="486154" y="134277"/>
                    <a:pt x="436923" y="32738"/>
                  </a:cubicBezTo>
                  <a:cubicBezTo>
                    <a:pt x="381539" y="-84184"/>
                    <a:pt x="0" y="149661"/>
                    <a:pt x="0" y="149661"/>
                  </a:cubicBezTo>
                  <a:cubicBezTo>
                    <a:pt x="0" y="149661"/>
                    <a:pt x="55385" y="318893"/>
                    <a:pt x="184615" y="417354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95D69888-9D7E-4EC4-A4B5-EC517DA11EC6}"/>
                </a:ext>
              </a:extLst>
            </p:cNvPr>
            <p:cNvGrpSpPr/>
            <p:nvPr/>
          </p:nvGrpSpPr>
          <p:grpSpPr>
            <a:xfrm>
              <a:off x="-3785232" y="5879257"/>
              <a:ext cx="229910" cy="269521"/>
              <a:chOff x="-3785232" y="5879257"/>
              <a:chExt cx="229910" cy="269521"/>
            </a:xfrm>
          </p:grpSpPr>
          <p:grpSp>
            <p:nvGrpSpPr>
              <p:cNvPr id="157" name="图形 1">
                <a:extLst>
                  <a:ext uri="{FF2B5EF4-FFF2-40B4-BE49-F238E27FC236}">
                    <a16:creationId xmlns:a16="http://schemas.microsoft.com/office/drawing/2014/main" id="{97049DC8-E5CD-4286-8A02-CE837873ED19}"/>
                  </a:ext>
                </a:extLst>
              </p:cNvPr>
              <p:cNvGrpSpPr/>
              <p:nvPr/>
            </p:nvGrpSpPr>
            <p:grpSpPr>
              <a:xfrm>
                <a:off x="-3778451" y="5879257"/>
                <a:ext cx="223129" cy="269521"/>
                <a:chOff x="-3778451" y="5879257"/>
                <a:chExt cx="223129" cy="269521"/>
              </a:xfrm>
            </p:grpSpPr>
            <p:sp>
              <p:nvSpPr>
                <p:cNvPr id="160" name="任意多边形: 形状 159">
                  <a:extLst>
                    <a:ext uri="{FF2B5EF4-FFF2-40B4-BE49-F238E27FC236}">
                      <a16:creationId xmlns:a16="http://schemas.microsoft.com/office/drawing/2014/main" id="{8228AAAB-3BA4-4EAB-A2C8-2A9C19FC82C6}"/>
                    </a:ext>
                  </a:extLst>
                </p:cNvPr>
                <p:cNvSpPr/>
                <p:nvPr/>
              </p:nvSpPr>
              <p:spPr>
                <a:xfrm>
                  <a:off x="-3778451" y="5890026"/>
                  <a:ext cx="223129" cy="258752"/>
                </a:xfrm>
                <a:custGeom>
                  <a:avLst/>
                  <a:gdLst>
                    <a:gd name="connsiteX0" fmla="*/ 46757 w 223129"/>
                    <a:gd name="connsiteY0" fmla="*/ 164616 h 258752"/>
                    <a:gd name="connsiteX1" fmla="*/ 114450 w 223129"/>
                    <a:gd name="connsiteY1" fmla="*/ 253846 h 258752"/>
                    <a:gd name="connsiteX2" fmla="*/ 200604 w 223129"/>
                    <a:gd name="connsiteY2" fmla="*/ 238462 h 258752"/>
                    <a:gd name="connsiteX3" fmla="*/ 200604 w 223129"/>
                    <a:gd name="connsiteY3" fmla="*/ 235385 h 258752"/>
                    <a:gd name="connsiteX4" fmla="*/ 200604 w 223129"/>
                    <a:gd name="connsiteY4" fmla="*/ 235385 h 258752"/>
                    <a:gd name="connsiteX5" fmla="*/ 191373 w 223129"/>
                    <a:gd name="connsiteY5" fmla="*/ 84615 h 258752"/>
                    <a:gd name="connsiteX6" fmla="*/ 169834 w 223129"/>
                    <a:gd name="connsiteY6" fmla="*/ 96923 h 258752"/>
                    <a:gd name="connsiteX7" fmla="*/ 175988 w 223129"/>
                    <a:gd name="connsiteY7" fmla="*/ 152308 h 258752"/>
                    <a:gd name="connsiteX8" fmla="*/ 105219 w 223129"/>
                    <a:gd name="connsiteY8" fmla="*/ 16923 h 258752"/>
                    <a:gd name="connsiteX9" fmla="*/ 77527 w 223129"/>
                    <a:gd name="connsiteY9" fmla="*/ 7692 h 258752"/>
                    <a:gd name="connsiteX10" fmla="*/ 89834 w 223129"/>
                    <a:gd name="connsiteY10" fmla="*/ 41539 h 258752"/>
                    <a:gd name="connsiteX11" fmla="*/ 108296 w 223129"/>
                    <a:gd name="connsiteY11" fmla="*/ 87692 h 258752"/>
                    <a:gd name="connsiteX12" fmla="*/ 68296 w 223129"/>
                    <a:gd name="connsiteY12" fmla="*/ 38462 h 258752"/>
                    <a:gd name="connsiteX13" fmla="*/ 37527 w 223129"/>
                    <a:gd name="connsiteY13" fmla="*/ 4616 h 258752"/>
                    <a:gd name="connsiteX14" fmla="*/ 15988 w 223129"/>
                    <a:gd name="connsiteY14" fmla="*/ 4616 h 258752"/>
                    <a:gd name="connsiteX15" fmla="*/ 12911 w 223129"/>
                    <a:gd name="connsiteY15" fmla="*/ 29231 h 258752"/>
                    <a:gd name="connsiteX16" fmla="*/ 9834 w 223129"/>
                    <a:gd name="connsiteY16" fmla="*/ 29231 h 258752"/>
                    <a:gd name="connsiteX17" fmla="*/ 604 w 223129"/>
                    <a:gd name="connsiteY17" fmla="*/ 32308 h 258752"/>
                    <a:gd name="connsiteX18" fmla="*/ 15988 w 223129"/>
                    <a:gd name="connsiteY18" fmla="*/ 69231 h 258752"/>
                    <a:gd name="connsiteX19" fmla="*/ 28296 w 223129"/>
                    <a:gd name="connsiteY19" fmla="*/ 87692 h 258752"/>
                    <a:gd name="connsiteX20" fmla="*/ 22142 w 223129"/>
                    <a:gd name="connsiteY20" fmla="*/ 84615 h 258752"/>
                    <a:gd name="connsiteX21" fmla="*/ 6758 w 223129"/>
                    <a:gd name="connsiteY21" fmla="*/ 84615 h 258752"/>
                    <a:gd name="connsiteX22" fmla="*/ 46757 w 223129"/>
                    <a:gd name="connsiteY22" fmla="*/ 164616 h 2587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23129" h="258752">
                      <a:moveTo>
                        <a:pt x="46757" y="164616"/>
                      </a:moveTo>
                      <a:cubicBezTo>
                        <a:pt x="65219" y="195385"/>
                        <a:pt x="77527" y="238462"/>
                        <a:pt x="114450" y="253846"/>
                      </a:cubicBezTo>
                      <a:cubicBezTo>
                        <a:pt x="139065" y="263077"/>
                        <a:pt x="185219" y="260000"/>
                        <a:pt x="200604" y="238462"/>
                      </a:cubicBezTo>
                      <a:cubicBezTo>
                        <a:pt x="200604" y="238462"/>
                        <a:pt x="200604" y="235385"/>
                        <a:pt x="200604" y="235385"/>
                      </a:cubicBezTo>
                      <a:cubicBezTo>
                        <a:pt x="200604" y="235385"/>
                        <a:pt x="200604" y="235385"/>
                        <a:pt x="200604" y="235385"/>
                      </a:cubicBezTo>
                      <a:cubicBezTo>
                        <a:pt x="237527" y="192308"/>
                        <a:pt x="225219" y="124615"/>
                        <a:pt x="191373" y="84615"/>
                      </a:cubicBezTo>
                      <a:cubicBezTo>
                        <a:pt x="188296" y="81539"/>
                        <a:pt x="166757" y="87692"/>
                        <a:pt x="169834" y="96923"/>
                      </a:cubicBezTo>
                      <a:cubicBezTo>
                        <a:pt x="175988" y="118462"/>
                        <a:pt x="179065" y="136923"/>
                        <a:pt x="175988" y="152308"/>
                      </a:cubicBezTo>
                      <a:cubicBezTo>
                        <a:pt x="148296" y="109231"/>
                        <a:pt x="142142" y="56923"/>
                        <a:pt x="105219" y="16923"/>
                      </a:cubicBezTo>
                      <a:cubicBezTo>
                        <a:pt x="99065" y="10769"/>
                        <a:pt x="80603" y="-4615"/>
                        <a:pt x="77527" y="7692"/>
                      </a:cubicBezTo>
                      <a:cubicBezTo>
                        <a:pt x="77527" y="16923"/>
                        <a:pt x="86757" y="32308"/>
                        <a:pt x="89834" y="41539"/>
                      </a:cubicBezTo>
                      <a:cubicBezTo>
                        <a:pt x="95988" y="56923"/>
                        <a:pt x="102142" y="72308"/>
                        <a:pt x="108296" y="87692"/>
                      </a:cubicBezTo>
                      <a:cubicBezTo>
                        <a:pt x="95988" y="72308"/>
                        <a:pt x="80603" y="53846"/>
                        <a:pt x="68296" y="38462"/>
                      </a:cubicBezTo>
                      <a:cubicBezTo>
                        <a:pt x="59065" y="26154"/>
                        <a:pt x="49834" y="10769"/>
                        <a:pt x="37527" y="4616"/>
                      </a:cubicBezTo>
                      <a:cubicBezTo>
                        <a:pt x="28296" y="-1539"/>
                        <a:pt x="22142" y="-1539"/>
                        <a:pt x="15988" y="4616"/>
                      </a:cubicBezTo>
                      <a:cubicBezTo>
                        <a:pt x="9834" y="10769"/>
                        <a:pt x="9834" y="20000"/>
                        <a:pt x="12911" y="29231"/>
                      </a:cubicBezTo>
                      <a:cubicBezTo>
                        <a:pt x="12911" y="29231"/>
                        <a:pt x="12911" y="29231"/>
                        <a:pt x="9834" y="29231"/>
                      </a:cubicBezTo>
                      <a:cubicBezTo>
                        <a:pt x="6758" y="29231"/>
                        <a:pt x="604" y="29231"/>
                        <a:pt x="604" y="32308"/>
                      </a:cubicBezTo>
                      <a:cubicBezTo>
                        <a:pt x="-2473" y="44615"/>
                        <a:pt x="6758" y="56923"/>
                        <a:pt x="15988" y="69231"/>
                      </a:cubicBezTo>
                      <a:cubicBezTo>
                        <a:pt x="19065" y="75385"/>
                        <a:pt x="25219" y="81539"/>
                        <a:pt x="28296" y="87692"/>
                      </a:cubicBezTo>
                      <a:cubicBezTo>
                        <a:pt x="25219" y="87692"/>
                        <a:pt x="25219" y="84615"/>
                        <a:pt x="22142" y="84615"/>
                      </a:cubicBezTo>
                      <a:cubicBezTo>
                        <a:pt x="15988" y="81539"/>
                        <a:pt x="9834" y="81539"/>
                        <a:pt x="6758" y="84615"/>
                      </a:cubicBezTo>
                      <a:cubicBezTo>
                        <a:pt x="-2473" y="90769"/>
                        <a:pt x="34450" y="149231"/>
                        <a:pt x="46757" y="164616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1" name="任意多边形: 形状 160">
                  <a:extLst>
                    <a:ext uri="{FF2B5EF4-FFF2-40B4-BE49-F238E27FC236}">
                      <a16:creationId xmlns:a16="http://schemas.microsoft.com/office/drawing/2014/main" id="{80B65A81-A3F6-4CCF-B789-26C4BD875B40}"/>
                    </a:ext>
                  </a:extLst>
                </p:cNvPr>
                <p:cNvSpPr/>
                <p:nvPr/>
              </p:nvSpPr>
              <p:spPr>
                <a:xfrm>
                  <a:off x="-3642232" y="6047213"/>
                  <a:ext cx="28736" cy="50505"/>
                </a:xfrm>
                <a:custGeom>
                  <a:avLst/>
                  <a:gdLst>
                    <a:gd name="connsiteX0" fmla="*/ 9000 w 28736"/>
                    <a:gd name="connsiteY0" fmla="*/ 50505 h 50505"/>
                    <a:gd name="connsiteX1" fmla="*/ 2846 w 28736"/>
                    <a:gd name="connsiteY1" fmla="*/ 47428 h 50505"/>
                    <a:gd name="connsiteX2" fmla="*/ 18231 w 28736"/>
                    <a:gd name="connsiteY2" fmla="*/ 1275 h 50505"/>
                    <a:gd name="connsiteX3" fmla="*/ 27462 w 28736"/>
                    <a:gd name="connsiteY3" fmla="*/ 4351 h 50505"/>
                    <a:gd name="connsiteX4" fmla="*/ 24385 w 28736"/>
                    <a:gd name="connsiteY4" fmla="*/ 13582 h 50505"/>
                    <a:gd name="connsiteX5" fmla="*/ 15154 w 28736"/>
                    <a:gd name="connsiteY5" fmla="*/ 47428 h 50505"/>
                    <a:gd name="connsiteX6" fmla="*/ 9000 w 28736"/>
                    <a:gd name="connsiteY6" fmla="*/ 50505 h 50505"/>
                    <a:gd name="connsiteX7" fmla="*/ 9000 w 28736"/>
                    <a:gd name="connsiteY7" fmla="*/ 50505 h 50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8736" h="50505">
                      <a:moveTo>
                        <a:pt x="9000" y="50505"/>
                      </a:moveTo>
                      <a:cubicBezTo>
                        <a:pt x="5923" y="50505"/>
                        <a:pt x="5923" y="50505"/>
                        <a:pt x="2846" y="47428"/>
                      </a:cubicBezTo>
                      <a:cubicBezTo>
                        <a:pt x="-6384" y="22813"/>
                        <a:pt x="9000" y="7428"/>
                        <a:pt x="18231" y="1275"/>
                      </a:cubicBezTo>
                      <a:cubicBezTo>
                        <a:pt x="21308" y="-1803"/>
                        <a:pt x="24385" y="1275"/>
                        <a:pt x="27462" y="4351"/>
                      </a:cubicBezTo>
                      <a:cubicBezTo>
                        <a:pt x="30539" y="7428"/>
                        <a:pt x="27462" y="10505"/>
                        <a:pt x="24385" y="13582"/>
                      </a:cubicBezTo>
                      <a:cubicBezTo>
                        <a:pt x="24385" y="13582"/>
                        <a:pt x="5923" y="25890"/>
                        <a:pt x="15154" y="47428"/>
                      </a:cubicBezTo>
                      <a:cubicBezTo>
                        <a:pt x="18231" y="47428"/>
                        <a:pt x="15154" y="50505"/>
                        <a:pt x="9000" y="50505"/>
                      </a:cubicBezTo>
                      <a:cubicBezTo>
                        <a:pt x="12077" y="50505"/>
                        <a:pt x="12077" y="50505"/>
                        <a:pt x="9000" y="50505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2" name="任意多边形: 形状 161">
                  <a:extLst>
                    <a:ext uri="{FF2B5EF4-FFF2-40B4-BE49-F238E27FC236}">
                      <a16:creationId xmlns:a16="http://schemas.microsoft.com/office/drawing/2014/main" id="{A705B829-B652-471E-A525-82423CC2155D}"/>
                    </a:ext>
                  </a:extLst>
                </p:cNvPr>
                <p:cNvSpPr/>
                <p:nvPr/>
              </p:nvSpPr>
              <p:spPr>
                <a:xfrm>
                  <a:off x="-3764771" y="5879257"/>
                  <a:ext cx="106923" cy="104615"/>
                </a:xfrm>
                <a:custGeom>
                  <a:avLst/>
                  <a:gdLst>
                    <a:gd name="connsiteX0" fmla="*/ 97692 w 106923"/>
                    <a:gd name="connsiteY0" fmla="*/ 104615 h 104615"/>
                    <a:gd name="connsiteX1" fmla="*/ 94615 w 106923"/>
                    <a:gd name="connsiteY1" fmla="*/ 101538 h 104615"/>
                    <a:gd name="connsiteX2" fmla="*/ 20769 w 106923"/>
                    <a:gd name="connsiteY2" fmla="*/ 15385 h 104615"/>
                    <a:gd name="connsiteX3" fmla="*/ 11539 w 106923"/>
                    <a:gd name="connsiteY3" fmla="*/ 18461 h 104615"/>
                    <a:gd name="connsiteX4" fmla="*/ 11539 w 106923"/>
                    <a:gd name="connsiteY4" fmla="*/ 30769 h 104615"/>
                    <a:gd name="connsiteX5" fmla="*/ 8462 w 106923"/>
                    <a:gd name="connsiteY5" fmla="*/ 36923 h 104615"/>
                    <a:gd name="connsiteX6" fmla="*/ 2308 w 106923"/>
                    <a:gd name="connsiteY6" fmla="*/ 33846 h 104615"/>
                    <a:gd name="connsiteX7" fmla="*/ 2308 w 106923"/>
                    <a:gd name="connsiteY7" fmla="*/ 9230 h 104615"/>
                    <a:gd name="connsiteX8" fmla="*/ 23846 w 106923"/>
                    <a:gd name="connsiteY8" fmla="*/ 0 h 104615"/>
                    <a:gd name="connsiteX9" fmla="*/ 79231 w 106923"/>
                    <a:gd name="connsiteY9" fmla="*/ 55384 h 104615"/>
                    <a:gd name="connsiteX10" fmla="*/ 66923 w 106923"/>
                    <a:gd name="connsiteY10" fmla="*/ 18461 h 104615"/>
                    <a:gd name="connsiteX11" fmla="*/ 70000 w 106923"/>
                    <a:gd name="connsiteY11" fmla="*/ 12308 h 104615"/>
                    <a:gd name="connsiteX12" fmla="*/ 76154 w 106923"/>
                    <a:gd name="connsiteY12" fmla="*/ 15385 h 104615"/>
                    <a:gd name="connsiteX13" fmla="*/ 106923 w 106923"/>
                    <a:gd name="connsiteY13" fmla="*/ 92308 h 104615"/>
                    <a:gd name="connsiteX14" fmla="*/ 97692 w 106923"/>
                    <a:gd name="connsiteY14" fmla="*/ 104615 h 104615"/>
                    <a:gd name="connsiteX15" fmla="*/ 97692 w 106923"/>
                    <a:gd name="connsiteY15" fmla="*/ 104615 h 104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06923" h="104615">
                      <a:moveTo>
                        <a:pt x="97692" y="104615"/>
                      </a:moveTo>
                      <a:cubicBezTo>
                        <a:pt x="94615" y="104615"/>
                        <a:pt x="94615" y="104615"/>
                        <a:pt x="94615" y="101538"/>
                      </a:cubicBezTo>
                      <a:cubicBezTo>
                        <a:pt x="66923" y="61538"/>
                        <a:pt x="30000" y="15385"/>
                        <a:pt x="20769" y="15385"/>
                      </a:cubicBezTo>
                      <a:cubicBezTo>
                        <a:pt x="17692" y="15385"/>
                        <a:pt x="14615" y="15385"/>
                        <a:pt x="11539" y="18461"/>
                      </a:cubicBezTo>
                      <a:cubicBezTo>
                        <a:pt x="8462" y="21538"/>
                        <a:pt x="8462" y="27692"/>
                        <a:pt x="11539" y="30769"/>
                      </a:cubicBezTo>
                      <a:cubicBezTo>
                        <a:pt x="11539" y="33846"/>
                        <a:pt x="11539" y="36923"/>
                        <a:pt x="8462" y="36923"/>
                      </a:cubicBezTo>
                      <a:cubicBezTo>
                        <a:pt x="5385" y="36923"/>
                        <a:pt x="2308" y="36923"/>
                        <a:pt x="2308" y="33846"/>
                      </a:cubicBezTo>
                      <a:cubicBezTo>
                        <a:pt x="-769" y="24615"/>
                        <a:pt x="-769" y="15385"/>
                        <a:pt x="2308" y="9230"/>
                      </a:cubicBezTo>
                      <a:cubicBezTo>
                        <a:pt x="5385" y="3077"/>
                        <a:pt x="14615" y="0"/>
                        <a:pt x="23846" y="0"/>
                      </a:cubicBezTo>
                      <a:cubicBezTo>
                        <a:pt x="33077" y="0"/>
                        <a:pt x="57692" y="27692"/>
                        <a:pt x="79231" y="55384"/>
                      </a:cubicBezTo>
                      <a:cubicBezTo>
                        <a:pt x="73077" y="36923"/>
                        <a:pt x="66923" y="18461"/>
                        <a:pt x="66923" y="18461"/>
                      </a:cubicBezTo>
                      <a:cubicBezTo>
                        <a:pt x="66923" y="15385"/>
                        <a:pt x="66923" y="12308"/>
                        <a:pt x="70000" y="12308"/>
                      </a:cubicBezTo>
                      <a:cubicBezTo>
                        <a:pt x="73077" y="12308"/>
                        <a:pt x="76154" y="12308"/>
                        <a:pt x="76154" y="15385"/>
                      </a:cubicBezTo>
                      <a:cubicBezTo>
                        <a:pt x="76154" y="15385"/>
                        <a:pt x="94615" y="64615"/>
                        <a:pt x="106923" y="92308"/>
                      </a:cubicBezTo>
                      <a:cubicBezTo>
                        <a:pt x="103846" y="98461"/>
                        <a:pt x="103846" y="101538"/>
                        <a:pt x="97692" y="104615"/>
                      </a:cubicBezTo>
                      <a:cubicBezTo>
                        <a:pt x="100769" y="104615"/>
                        <a:pt x="97692" y="104615"/>
                        <a:pt x="97692" y="104615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A46501A8-C019-4FA8-A870-F2EF48760B11}"/>
                  </a:ext>
                </a:extLst>
              </p:cNvPr>
              <p:cNvSpPr/>
              <p:nvPr/>
            </p:nvSpPr>
            <p:spPr>
              <a:xfrm>
                <a:off x="-3777838" y="5959257"/>
                <a:ext cx="79220" cy="92307"/>
              </a:xfrm>
              <a:custGeom>
                <a:avLst/>
                <a:gdLst>
                  <a:gd name="connsiteX0" fmla="*/ 39990 w 79220"/>
                  <a:gd name="connsiteY0" fmla="*/ 92308 h 92307"/>
                  <a:gd name="connsiteX1" fmla="*/ 33836 w 79220"/>
                  <a:gd name="connsiteY1" fmla="*/ 89231 h 92307"/>
                  <a:gd name="connsiteX2" fmla="*/ 3067 w 79220"/>
                  <a:gd name="connsiteY2" fmla="*/ 6154 h 92307"/>
                  <a:gd name="connsiteX3" fmla="*/ 15375 w 79220"/>
                  <a:gd name="connsiteY3" fmla="*/ 0 h 92307"/>
                  <a:gd name="connsiteX4" fmla="*/ 36913 w 79220"/>
                  <a:gd name="connsiteY4" fmla="*/ 12308 h 92307"/>
                  <a:gd name="connsiteX5" fmla="*/ 55375 w 79220"/>
                  <a:gd name="connsiteY5" fmla="*/ 40000 h 92307"/>
                  <a:gd name="connsiteX6" fmla="*/ 76913 w 79220"/>
                  <a:gd name="connsiteY6" fmla="*/ 73846 h 92307"/>
                  <a:gd name="connsiteX7" fmla="*/ 76913 w 79220"/>
                  <a:gd name="connsiteY7" fmla="*/ 83077 h 92307"/>
                  <a:gd name="connsiteX8" fmla="*/ 67683 w 79220"/>
                  <a:gd name="connsiteY8" fmla="*/ 83077 h 92307"/>
                  <a:gd name="connsiteX9" fmla="*/ 43067 w 79220"/>
                  <a:gd name="connsiteY9" fmla="*/ 49231 h 92307"/>
                  <a:gd name="connsiteX10" fmla="*/ 27682 w 79220"/>
                  <a:gd name="connsiteY10" fmla="*/ 24615 h 92307"/>
                  <a:gd name="connsiteX11" fmla="*/ 15375 w 79220"/>
                  <a:gd name="connsiteY11" fmla="*/ 15385 h 92307"/>
                  <a:gd name="connsiteX12" fmla="*/ 9221 w 79220"/>
                  <a:gd name="connsiteY12" fmla="*/ 18462 h 92307"/>
                  <a:gd name="connsiteX13" fmla="*/ 39990 w 79220"/>
                  <a:gd name="connsiteY13" fmla="*/ 89231 h 92307"/>
                  <a:gd name="connsiteX14" fmla="*/ 39990 w 79220"/>
                  <a:gd name="connsiteY14" fmla="*/ 92308 h 92307"/>
                  <a:gd name="connsiteX15" fmla="*/ 39990 w 79220"/>
                  <a:gd name="connsiteY15" fmla="*/ 92308 h 9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79220" h="92307">
                    <a:moveTo>
                      <a:pt x="39990" y="92308"/>
                    </a:moveTo>
                    <a:cubicBezTo>
                      <a:pt x="36913" y="92308"/>
                      <a:pt x="36913" y="92308"/>
                      <a:pt x="33836" y="89231"/>
                    </a:cubicBezTo>
                    <a:cubicBezTo>
                      <a:pt x="18452" y="64616"/>
                      <a:pt x="-9240" y="18462"/>
                      <a:pt x="3067" y="6154"/>
                    </a:cubicBezTo>
                    <a:cubicBezTo>
                      <a:pt x="9221" y="0"/>
                      <a:pt x="12298" y="0"/>
                      <a:pt x="15375" y="0"/>
                    </a:cubicBezTo>
                    <a:cubicBezTo>
                      <a:pt x="21529" y="0"/>
                      <a:pt x="27682" y="3077"/>
                      <a:pt x="36913" y="12308"/>
                    </a:cubicBezTo>
                    <a:cubicBezTo>
                      <a:pt x="39990" y="18462"/>
                      <a:pt x="46144" y="27693"/>
                      <a:pt x="55375" y="40000"/>
                    </a:cubicBezTo>
                    <a:cubicBezTo>
                      <a:pt x="64605" y="52308"/>
                      <a:pt x="73836" y="67692"/>
                      <a:pt x="76913" y="73846"/>
                    </a:cubicBezTo>
                    <a:cubicBezTo>
                      <a:pt x="79990" y="76923"/>
                      <a:pt x="79990" y="80000"/>
                      <a:pt x="76913" y="83077"/>
                    </a:cubicBezTo>
                    <a:cubicBezTo>
                      <a:pt x="73836" y="86154"/>
                      <a:pt x="70759" y="86154"/>
                      <a:pt x="67683" y="83077"/>
                    </a:cubicBezTo>
                    <a:cubicBezTo>
                      <a:pt x="61529" y="76923"/>
                      <a:pt x="52298" y="64616"/>
                      <a:pt x="43067" y="49231"/>
                    </a:cubicBezTo>
                    <a:cubicBezTo>
                      <a:pt x="36913" y="40000"/>
                      <a:pt x="30759" y="27693"/>
                      <a:pt x="27682" y="24615"/>
                    </a:cubicBezTo>
                    <a:cubicBezTo>
                      <a:pt x="24606" y="18462"/>
                      <a:pt x="18452" y="15385"/>
                      <a:pt x="15375" y="15385"/>
                    </a:cubicBezTo>
                    <a:cubicBezTo>
                      <a:pt x="15375" y="15385"/>
                      <a:pt x="12298" y="15385"/>
                      <a:pt x="9221" y="18462"/>
                    </a:cubicBezTo>
                    <a:cubicBezTo>
                      <a:pt x="6144" y="24615"/>
                      <a:pt x="21529" y="55385"/>
                      <a:pt x="39990" y="89231"/>
                    </a:cubicBezTo>
                    <a:cubicBezTo>
                      <a:pt x="46144" y="86154"/>
                      <a:pt x="46144" y="89231"/>
                      <a:pt x="39990" y="92308"/>
                    </a:cubicBezTo>
                    <a:cubicBezTo>
                      <a:pt x="43067" y="92308"/>
                      <a:pt x="43067" y="92308"/>
                      <a:pt x="39990" y="9230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FE717D23-FF9C-498E-A9AC-0D4AC793DA9B}"/>
                  </a:ext>
                </a:extLst>
              </p:cNvPr>
              <p:cNvSpPr/>
              <p:nvPr/>
            </p:nvSpPr>
            <p:spPr>
              <a:xfrm>
                <a:off x="-3785232" y="5903054"/>
                <a:ext cx="101999" cy="111587"/>
              </a:xfrm>
              <a:custGeom>
                <a:avLst/>
                <a:gdLst>
                  <a:gd name="connsiteX0" fmla="*/ 99692 w 101999"/>
                  <a:gd name="connsiteY0" fmla="*/ 111588 h 111587"/>
                  <a:gd name="connsiteX1" fmla="*/ 96615 w 101999"/>
                  <a:gd name="connsiteY1" fmla="*/ 108511 h 111587"/>
                  <a:gd name="connsiteX2" fmla="*/ 65846 w 101999"/>
                  <a:gd name="connsiteY2" fmla="*/ 71588 h 111587"/>
                  <a:gd name="connsiteX3" fmla="*/ 59692 w 101999"/>
                  <a:gd name="connsiteY3" fmla="*/ 62357 h 111587"/>
                  <a:gd name="connsiteX4" fmla="*/ 32000 w 101999"/>
                  <a:gd name="connsiteY4" fmla="*/ 19280 h 111587"/>
                  <a:gd name="connsiteX5" fmla="*/ 13538 w 101999"/>
                  <a:gd name="connsiteY5" fmla="*/ 13126 h 111587"/>
                  <a:gd name="connsiteX6" fmla="*/ 10461 w 101999"/>
                  <a:gd name="connsiteY6" fmla="*/ 13126 h 111587"/>
                  <a:gd name="connsiteX7" fmla="*/ 32000 w 101999"/>
                  <a:gd name="connsiteY7" fmla="*/ 53126 h 111587"/>
                  <a:gd name="connsiteX8" fmla="*/ 32000 w 101999"/>
                  <a:gd name="connsiteY8" fmla="*/ 62357 h 111587"/>
                  <a:gd name="connsiteX9" fmla="*/ 22769 w 101999"/>
                  <a:gd name="connsiteY9" fmla="*/ 62357 h 111587"/>
                  <a:gd name="connsiteX10" fmla="*/ 1230 w 101999"/>
                  <a:gd name="connsiteY10" fmla="*/ 10049 h 111587"/>
                  <a:gd name="connsiteX11" fmla="*/ 10461 w 101999"/>
                  <a:gd name="connsiteY11" fmla="*/ 818 h 111587"/>
                  <a:gd name="connsiteX12" fmla="*/ 38153 w 101999"/>
                  <a:gd name="connsiteY12" fmla="*/ 10049 h 111587"/>
                  <a:gd name="connsiteX13" fmla="*/ 68923 w 101999"/>
                  <a:gd name="connsiteY13" fmla="*/ 56203 h 111587"/>
                  <a:gd name="connsiteX14" fmla="*/ 71999 w 101999"/>
                  <a:gd name="connsiteY14" fmla="*/ 62357 h 111587"/>
                  <a:gd name="connsiteX15" fmla="*/ 99692 w 101999"/>
                  <a:gd name="connsiteY15" fmla="*/ 99280 h 111587"/>
                  <a:gd name="connsiteX16" fmla="*/ 99692 w 101999"/>
                  <a:gd name="connsiteY16" fmla="*/ 108511 h 111587"/>
                  <a:gd name="connsiteX17" fmla="*/ 99692 w 101999"/>
                  <a:gd name="connsiteY17" fmla="*/ 111588 h 111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1999" h="111587">
                    <a:moveTo>
                      <a:pt x="99692" y="111588"/>
                    </a:moveTo>
                    <a:cubicBezTo>
                      <a:pt x="96615" y="111588"/>
                      <a:pt x="96615" y="111588"/>
                      <a:pt x="96615" y="108511"/>
                    </a:cubicBezTo>
                    <a:cubicBezTo>
                      <a:pt x="93538" y="105434"/>
                      <a:pt x="71999" y="77741"/>
                      <a:pt x="65846" y="71588"/>
                    </a:cubicBezTo>
                    <a:cubicBezTo>
                      <a:pt x="65846" y="71588"/>
                      <a:pt x="62769" y="68511"/>
                      <a:pt x="59692" y="62357"/>
                    </a:cubicBezTo>
                    <a:cubicBezTo>
                      <a:pt x="53538" y="50049"/>
                      <a:pt x="38153" y="25434"/>
                      <a:pt x="32000" y="19280"/>
                    </a:cubicBezTo>
                    <a:cubicBezTo>
                      <a:pt x="25846" y="16203"/>
                      <a:pt x="19692" y="13126"/>
                      <a:pt x="13538" y="13126"/>
                    </a:cubicBezTo>
                    <a:cubicBezTo>
                      <a:pt x="13538" y="13126"/>
                      <a:pt x="10461" y="13126"/>
                      <a:pt x="10461" y="13126"/>
                    </a:cubicBezTo>
                    <a:cubicBezTo>
                      <a:pt x="10461" y="16203"/>
                      <a:pt x="19692" y="37742"/>
                      <a:pt x="32000" y="53126"/>
                    </a:cubicBezTo>
                    <a:cubicBezTo>
                      <a:pt x="35076" y="56203"/>
                      <a:pt x="32000" y="59280"/>
                      <a:pt x="32000" y="62357"/>
                    </a:cubicBezTo>
                    <a:cubicBezTo>
                      <a:pt x="28923" y="65434"/>
                      <a:pt x="25846" y="62357"/>
                      <a:pt x="22769" y="62357"/>
                    </a:cubicBezTo>
                    <a:cubicBezTo>
                      <a:pt x="13538" y="46972"/>
                      <a:pt x="-4924" y="22357"/>
                      <a:pt x="1230" y="10049"/>
                    </a:cubicBezTo>
                    <a:cubicBezTo>
                      <a:pt x="4307" y="6973"/>
                      <a:pt x="7384" y="3895"/>
                      <a:pt x="10461" y="818"/>
                    </a:cubicBezTo>
                    <a:cubicBezTo>
                      <a:pt x="19692" y="-2258"/>
                      <a:pt x="32000" y="3895"/>
                      <a:pt x="38153" y="10049"/>
                    </a:cubicBezTo>
                    <a:cubicBezTo>
                      <a:pt x="44307" y="16203"/>
                      <a:pt x="56615" y="37742"/>
                      <a:pt x="68923" y="56203"/>
                    </a:cubicBezTo>
                    <a:cubicBezTo>
                      <a:pt x="71999" y="59280"/>
                      <a:pt x="71999" y="62357"/>
                      <a:pt x="71999" y="62357"/>
                    </a:cubicBezTo>
                    <a:cubicBezTo>
                      <a:pt x="75077" y="68511"/>
                      <a:pt x="93538" y="90049"/>
                      <a:pt x="99692" y="99280"/>
                    </a:cubicBezTo>
                    <a:cubicBezTo>
                      <a:pt x="102769" y="102357"/>
                      <a:pt x="102769" y="105434"/>
                      <a:pt x="99692" y="108511"/>
                    </a:cubicBezTo>
                    <a:cubicBezTo>
                      <a:pt x="102769" y="111588"/>
                      <a:pt x="102769" y="111588"/>
                      <a:pt x="99692" y="1115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4DF636F4-9BA2-455F-9E7B-90E9B1391076}"/>
                </a:ext>
              </a:extLst>
            </p:cNvPr>
            <p:cNvSpPr/>
            <p:nvPr/>
          </p:nvSpPr>
          <p:spPr>
            <a:xfrm>
              <a:off x="-2734770" y="5839257"/>
              <a:ext cx="218461" cy="263790"/>
            </a:xfrm>
            <a:custGeom>
              <a:avLst/>
              <a:gdLst>
                <a:gd name="connsiteX0" fmla="*/ 0 w 218461"/>
                <a:gd name="connsiteY0" fmla="*/ 46154 h 263790"/>
                <a:gd name="connsiteX1" fmla="*/ 3077 w 218461"/>
                <a:gd name="connsiteY1" fmla="*/ 221538 h 263790"/>
                <a:gd name="connsiteX2" fmla="*/ 218462 w 218461"/>
                <a:gd name="connsiteY2" fmla="*/ 206154 h 263790"/>
                <a:gd name="connsiteX3" fmla="*/ 209231 w 218461"/>
                <a:gd name="connsiteY3" fmla="*/ 0 h 263790"/>
                <a:gd name="connsiteX4" fmla="*/ 0 w 218461"/>
                <a:gd name="connsiteY4" fmla="*/ 46154 h 26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461" h="263790">
                  <a:moveTo>
                    <a:pt x="0" y="46154"/>
                  </a:moveTo>
                  <a:cubicBezTo>
                    <a:pt x="0" y="46154"/>
                    <a:pt x="3077" y="147692"/>
                    <a:pt x="3077" y="221538"/>
                  </a:cubicBezTo>
                  <a:cubicBezTo>
                    <a:pt x="3077" y="221538"/>
                    <a:pt x="83077" y="326154"/>
                    <a:pt x="218462" y="206154"/>
                  </a:cubicBezTo>
                  <a:cubicBezTo>
                    <a:pt x="218462" y="144615"/>
                    <a:pt x="209231" y="64615"/>
                    <a:pt x="209231" y="0"/>
                  </a:cubicBezTo>
                  <a:cubicBezTo>
                    <a:pt x="206154" y="0"/>
                    <a:pt x="46154" y="55385"/>
                    <a:pt x="0" y="46154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3C6FC33E-158D-4F03-A0FE-EB595AE6F597}"/>
                </a:ext>
              </a:extLst>
            </p:cNvPr>
            <p:cNvSpPr/>
            <p:nvPr/>
          </p:nvSpPr>
          <p:spPr>
            <a:xfrm>
              <a:off x="-2851694" y="5713103"/>
              <a:ext cx="70769" cy="138461"/>
            </a:xfrm>
            <a:custGeom>
              <a:avLst/>
              <a:gdLst>
                <a:gd name="connsiteX0" fmla="*/ 0 w 70769"/>
                <a:gd name="connsiteY0" fmla="*/ 0 h 138461"/>
                <a:gd name="connsiteX1" fmla="*/ 67692 w 70769"/>
                <a:gd name="connsiteY1" fmla="*/ 138462 h 138461"/>
                <a:gd name="connsiteX2" fmla="*/ 70769 w 70769"/>
                <a:gd name="connsiteY2" fmla="*/ 52308 h 138461"/>
                <a:gd name="connsiteX3" fmla="*/ 0 w 70769"/>
                <a:gd name="connsiteY3" fmla="*/ 0 h 1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769" h="138461">
                  <a:moveTo>
                    <a:pt x="0" y="0"/>
                  </a:moveTo>
                  <a:cubicBezTo>
                    <a:pt x="0" y="0"/>
                    <a:pt x="15385" y="120000"/>
                    <a:pt x="67692" y="138462"/>
                  </a:cubicBezTo>
                  <a:lnTo>
                    <a:pt x="70769" y="523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94D86005-F5D3-4320-90A4-7D7C47F41D80}"/>
                </a:ext>
              </a:extLst>
            </p:cNvPr>
            <p:cNvSpPr/>
            <p:nvPr/>
          </p:nvSpPr>
          <p:spPr>
            <a:xfrm>
              <a:off x="-2492149" y="5503872"/>
              <a:ext cx="103582" cy="240013"/>
            </a:xfrm>
            <a:custGeom>
              <a:avLst/>
              <a:gdLst>
                <a:gd name="connsiteX0" fmla="*/ 95840 w 103582"/>
                <a:gd name="connsiteY0" fmla="*/ 0 h 240013"/>
                <a:gd name="connsiteX1" fmla="*/ 55840 w 103582"/>
                <a:gd name="connsiteY1" fmla="*/ 236923 h 240013"/>
                <a:gd name="connsiteX2" fmla="*/ 456 w 103582"/>
                <a:gd name="connsiteY2" fmla="*/ 15385 h 240013"/>
                <a:gd name="connsiteX3" fmla="*/ 95840 w 103582"/>
                <a:gd name="connsiteY3" fmla="*/ 0 h 240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582" h="240013">
                  <a:moveTo>
                    <a:pt x="95840" y="0"/>
                  </a:moveTo>
                  <a:cubicBezTo>
                    <a:pt x="95840" y="0"/>
                    <a:pt x="129687" y="196923"/>
                    <a:pt x="55840" y="236923"/>
                  </a:cubicBezTo>
                  <a:cubicBezTo>
                    <a:pt x="-8775" y="270769"/>
                    <a:pt x="456" y="15385"/>
                    <a:pt x="456" y="15385"/>
                  </a:cubicBezTo>
                  <a:lnTo>
                    <a:pt x="95840" y="0"/>
                  </a:ln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DE8A44A0-E0F9-4340-B32B-8B9919AC5129}"/>
                </a:ext>
              </a:extLst>
            </p:cNvPr>
            <p:cNvSpPr/>
            <p:nvPr/>
          </p:nvSpPr>
          <p:spPr>
            <a:xfrm>
              <a:off x="-2851694" y="5364491"/>
              <a:ext cx="428657" cy="574092"/>
            </a:xfrm>
            <a:custGeom>
              <a:avLst/>
              <a:gdLst>
                <a:gd name="connsiteX0" fmla="*/ 415385 w 428657"/>
                <a:gd name="connsiteY0" fmla="*/ 182459 h 574092"/>
                <a:gd name="connsiteX1" fmla="*/ 418462 w 428657"/>
                <a:gd name="connsiteY1" fmla="*/ 434766 h 574092"/>
                <a:gd name="connsiteX2" fmla="*/ 258462 w 428657"/>
                <a:gd name="connsiteY2" fmla="*/ 573228 h 574092"/>
                <a:gd name="connsiteX3" fmla="*/ 40000 w 428657"/>
                <a:gd name="connsiteY3" fmla="*/ 431689 h 574092"/>
                <a:gd name="connsiteX4" fmla="*/ 0 w 428657"/>
                <a:gd name="connsiteY4" fmla="*/ 203997 h 574092"/>
                <a:gd name="connsiteX5" fmla="*/ 212308 w 428657"/>
                <a:gd name="connsiteY5" fmla="*/ 920 h 574092"/>
                <a:gd name="connsiteX6" fmla="*/ 415385 w 428657"/>
                <a:gd name="connsiteY6" fmla="*/ 182459 h 574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8657" h="574092">
                  <a:moveTo>
                    <a:pt x="415385" y="182459"/>
                  </a:moveTo>
                  <a:cubicBezTo>
                    <a:pt x="415385" y="182459"/>
                    <a:pt x="443077" y="336305"/>
                    <a:pt x="418462" y="434766"/>
                  </a:cubicBezTo>
                  <a:cubicBezTo>
                    <a:pt x="400000" y="514767"/>
                    <a:pt x="310769" y="567074"/>
                    <a:pt x="258462" y="573228"/>
                  </a:cubicBezTo>
                  <a:cubicBezTo>
                    <a:pt x="190769" y="579382"/>
                    <a:pt x="67692" y="554766"/>
                    <a:pt x="40000" y="431689"/>
                  </a:cubicBezTo>
                  <a:cubicBezTo>
                    <a:pt x="21539" y="357843"/>
                    <a:pt x="0" y="256305"/>
                    <a:pt x="0" y="203997"/>
                  </a:cubicBezTo>
                  <a:cubicBezTo>
                    <a:pt x="0" y="108612"/>
                    <a:pt x="27692" y="28613"/>
                    <a:pt x="212308" y="920"/>
                  </a:cubicBezTo>
                  <a:cubicBezTo>
                    <a:pt x="298462" y="-11387"/>
                    <a:pt x="393846" y="102459"/>
                    <a:pt x="415385" y="182459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4E187116-6C7E-4400-AF8E-1E3477B15C5D}"/>
                </a:ext>
              </a:extLst>
            </p:cNvPr>
            <p:cNvSpPr/>
            <p:nvPr/>
          </p:nvSpPr>
          <p:spPr>
            <a:xfrm>
              <a:off x="-2620924" y="5626949"/>
              <a:ext cx="58461" cy="141538"/>
            </a:xfrm>
            <a:custGeom>
              <a:avLst/>
              <a:gdLst>
                <a:gd name="connsiteX0" fmla="*/ 27692 w 58461"/>
                <a:gd name="connsiteY0" fmla="*/ 141539 h 141538"/>
                <a:gd name="connsiteX1" fmla="*/ 6154 w 58461"/>
                <a:gd name="connsiteY1" fmla="*/ 138462 h 141538"/>
                <a:gd name="connsiteX2" fmla="*/ 0 w 58461"/>
                <a:gd name="connsiteY2" fmla="*/ 132308 h 141538"/>
                <a:gd name="connsiteX3" fmla="*/ 6154 w 58461"/>
                <a:gd name="connsiteY3" fmla="*/ 126154 h 141538"/>
                <a:gd name="connsiteX4" fmla="*/ 46154 w 58461"/>
                <a:gd name="connsiteY4" fmla="*/ 123077 h 141538"/>
                <a:gd name="connsiteX5" fmla="*/ 46154 w 58461"/>
                <a:gd name="connsiteY5" fmla="*/ 120000 h 141538"/>
                <a:gd name="connsiteX6" fmla="*/ 27692 w 58461"/>
                <a:gd name="connsiteY6" fmla="*/ 6154 h 141538"/>
                <a:gd name="connsiteX7" fmla="*/ 33846 w 58461"/>
                <a:gd name="connsiteY7" fmla="*/ 0 h 141538"/>
                <a:gd name="connsiteX8" fmla="*/ 40000 w 58461"/>
                <a:gd name="connsiteY8" fmla="*/ 6154 h 141538"/>
                <a:gd name="connsiteX9" fmla="*/ 58462 w 58461"/>
                <a:gd name="connsiteY9" fmla="*/ 120000 h 141538"/>
                <a:gd name="connsiteX10" fmla="*/ 52308 w 58461"/>
                <a:gd name="connsiteY10" fmla="*/ 132308 h 141538"/>
                <a:gd name="connsiteX11" fmla="*/ 27692 w 58461"/>
                <a:gd name="connsiteY11" fmla="*/ 141539 h 14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461" h="141538">
                  <a:moveTo>
                    <a:pt x="27692" y="141539"/>
                  </a:moveTo>
                  <a:cubicBezTo>
                    <a:pt x="18462" y="141539"/>
                    <a:pt x="9231" y="138462"/>
                    <a:pt x="6154" y="138462"/>
                  </a:cubicBezTo>
                  <a:cubicBezTo>
                    <a:pt x="3077" y="138462"/>
                    <a:pt x="0" y="135385"/>
                    <a:pt x="0" y="132308"/>
                  </a:cubicBezTo>
                  <a:cubicBezTo>
                    <a:pt x="0" y="129231"/>
                    <a:pt x="3077" y="126154"/>
                    <a:pt x="6154" y="126154"/>
                  </a:cubicBezTo>
                  <a:cubicBezTo>
                    <a:pt x="18462" y="129231"/>
                    <a:pt x="40000" y="129231"/>
                    <a:pt x="46154" y="123077"/>
                  </a:cubicBezTo>
                  <a:cubicBezTo>
                    <a:pt x="46154" y="123077"/>
                    <a:pt x="46154" y="120000"/>
                    <a:pt x="46154" y="120000"/>
                  </a:cubicBezTo>
                  <a:cubicBezTo>
                    <a:pt x="46154" y="101539"/>
                    <a:pt x="27692" y="9231"/>
                    <a:pt x="27692" y="6154"/>
                  </a:cubicBezTo>
                  <a:cubicBezTo>
                    <a:pt x="27692" y="3077"/>
                    <a:pt x="27692" y="0"/>
                    <a:pt x="33846" y="0"/>
                  </a:cubicBezTo>
                  <a:cubicBezTo>
                    <a:pt x="36923" y="0"/>
                    <a:pt x="40000" y="0"/>
                    <a:pt x="40000" y="6154"/>
                  </a:cubicBezTo>
                  <a:cubicBezTo>
                    <a:pt x="40000" y="9231"/>
                    <a:pt x="58462" y="101539"/>
                    <a:pt x="58462" y="120000"/>
                  </a:cubicBezTo>
                  <a:cubicBezTo>
                    <a:pt x="58462" y="126154"/>
                    <a:pt x="55385" y="129231"/>
                    <a:pt x="52308" y="132308"/>
                  </a:cubicBezTo>
                  <a:cubicBezTo>
                    <a:pt x="46154" y="141539"/>
                    <a:pt x="36923" y="141539"/>
                    <a:pt x="27692" y="141539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363C5DA4-FB18-4184-8669-7A46AB82B186}"/>
                </a:ext>
              </a:extLst>
            </p:cNvPr>
            <p:cNvSpPr/>
            <p:nvPr/>
          </p:nvSpPr>
          <p:spPr>
            <a:xfrm>
              <a:off x="-2651694" y="5820795"/>
              <a:ext cx="107692" cy="52307"/>
            </a:xfrm>
            <a:custGeom>
              <a:avLst/>
              <a:gdLst>
                <a:gd name="connsiteX0" fmla="*/ 107692 w 107692"/>
                <a:gd name="connsiteY0" fmla="*/ 0 h 52307"/>
                <a:gd name="connsiteX1" fmla="*/ 0 w 107692"/>
                <a:gd name="connsiteY1" fmla="*/ 0 h 52307"/>
                <a:gd name="connsiteX2" fmla="*/ 52308 w 107692"/>
                <a:gd name="connsiteY2" fmla="*/ 52308 h 52307"/>
                <a:gd name="connsiteX3" fmla="*/ 107692 w 107692"/>
                <a:gd name="connsiteY3" fmla="*/ 0 h 5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92" h="52307">
                  <a:moveTo>
                    <a:pt x="107692" y="0"/>
                  </a:moveTo>
                  <a:cubicBezTo>
                    <a:pt x="107692" y="0"/>
                    <a:pt x="52308" y="15385"/>
                    <a:pt x="0" y="0"/>
                  </a:cubicBezTo>
                  <a:cubicBezTo>
                    <a:pt x="0" y="0"/>
                    <a:pt x="3077" y="52308"/>
                    <a:pt x="52308" y="52308"/>
                  </a:cubicBezTo>
                  <a:cubicBezTo>
                    <a:pt x="95385" y="52308"/>
                    <a:pt x="107692" y="0"/>
                    <a:pt x="107692" y="0"/>
                  </a:cubicBezTo>
                  <a:close/>
                </a:path>
              </a:pathLst>
            </a:custGeom>
            <a:solidFill>
              <a:srgbClr val="FFFFFF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4FAA226B-B9CF-4838-B699-A9FB1A37D4E4}"/>
                </a:ext>
              </a:extLst>
            </p:cNvPr>
            <p:cNvSpPr/>
            <p:nvPr/>
          </p:nvSpPr>
          <p:spPr>
            <a:xfrm>
              <a:off x="-2532478" y="5607884"/>
              <a:ext cx="41387" cy="41207"/>
            </a:xfrm>
            <a:custGeom>
              <a:avLst/>
              <a:gdLst>
                <a:gd name="connsiteX0" fmla="*/ 784 w 41387"/>
                <a:gd name="connsiteY0" fmla="*/ 25219 h 41207"/>
                <a:gd name="connsiteX1" fmla="*/ 25400 w 41387"/>
                <a:gd name="connsiteY1" fmla="*/ 40604 h 41207"/>
                <a:gd name="connsiteX2" fmla="*/ 40784 w 41387"/>
                <a:gd name="connsiteY2" fmla="*/ 15988 h 41207"/>
                <a:gd name="connsiteX3" fmla="*/ 16169 w 41387"/>
                <a:gd name="connsiteY3" fmla="*/ 604 h 41207"/>
                <a:gd name="connsiteX4" fmla="*/ 784 w 41387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207">
                  <a:moveTo>
                    <a:pt x="784" y="25219"/>
                  </a:moveTo>
                  <a:cubicBezTo>
                    <a:pt x="3861" y="34449"/>
                    <a:pt x="13092" y="43680"/>
                    <a:pt x="25400" y="40604"/>
                  </a:cubicBezTo>
                  <a:cubicBezTo>
                    <a:pt x="34630" y="37527"/>
                    <a:pt x="43861" y="28296"/>
                    <a:pt x="40784" y="15988"/>
                  </a:cubicBezTo>
                  <a:cubicBezTo>
                    <a:pt x="37707" y="6757"/>
                    <a:pt x="28476" y="-2474"/>
                    <a:pt x="16169" y="604"/>
                  </a:cubicBezTo>
                  <a:cubicBezTo>
                    <a:pt x="3861" y="3680"/>
                    <a:pt x="-2293" y="12911"/>
                    <a:pt x="784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159FD483-48B3-4049-AF0F-1C9E477CFD56}"/>
                </a:ext>
              </a:extLst>
            </p:cNvPr>
            <p:cNvSpPr/>
            <p:nvPr/>
          </p:nvSpPr>
          <p:spPr>
            <a:xfrm>
              <a:off x="-2717093" y="5626346"/>
              <a:ext cx="41387" cy="41207"/>
            </a:xfrm>
            <a:custGeom>
              <a:avLst/>
              <a:gdLst>
                <a:gd name="connsiteX0" fmla="*/ 784 w 41387"/>
                <a:gd name="connsiteY0" fmla="*/ 25219 h 41207"/>
                <a:gd name="connsiteX1" fmla="*/ 25400 w 41387"/>
                <a:gd name="connsiteY1" fmla="*/ 40604 h 41207"/>
                <a:gd name="connsiteX2" fmla="*/ 40784 w 41387"/>
                <a:gd name="connsiteY2" fmla="*/ 15988 h 41207"/>
                <a:gd name="connsiteX3" fmla="*/ 16169 w 41387"/>
                <a:gd name="connsiteY3" fmla="*/ 603 h 41207"/>
                <a:gd name="connsiteX4" fmla="*/ 784 w 41387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207">
                  <a:moveTo>
                    <a:pt x="784" y="25219"/>
                  </a:moveTo>
                  <a:cubicBezTo>
                    <a:pt x="3861" y="34450"/>
                    <a:pt x="13092" y="43681"/>
                    <a:pt x="25400" y="40604"/>
                  </a:cubicBezTo>
                  <a:cubicBezTo>
                    <a:pt x="34630" y="37527"/>
                    <a:pt x="43861" y="28296"/>
                    <a:pt x="40784" y="15988"/>
                  </a:cubicBezTo>
                  <a:cubicBezTo>
                    <a:pt x="37707" y="6758"/>
                    <a:pt x="28476" y="-2473"/>
                    <a:pt x="16169" y="603"/>
                  </a:cubicBezTo>
                  <a:cubicBezTo>
                    <a:pt x="3861" y="3681"/>
                    <a:pt x="-2293" y="15988"/>
                    <a:pt x="784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14C41053-0885-474A-8267-89EFDBC0BA50}"/>
                </a:ext>
              </a:extLst>
            </p:cNvPr>
            <p:cNvSpPr/>
            <p:nvPr/>
          </p:nvSpPr>
          <p:spPr>
            <a:xfrm>
              <a:off x="-2563737" y="5556180"/>
              <a:ext cx="92812" cy="33845"/>
            </a:xfrm>
            <a:custGeom>
              <a:avLst/>
              <a:gdLst>
                <a:gd name="connsiteX0" fmla="*/ 87428 w 92812"/>
                <a:gd name="connsiteY0" fmla="*/ 33846 h 33845"/>
                <a:gd name="connsiteX1" fmla="*/ 81274 w 92812"/>
                <a:gd name="connsiteY1" fmla="*/ 30769 h 33845"/>
                <a:gd name="connsiteX2" fmla="*/ 13582 w 92812"/>
                <a:gd name="connsiteY2" fmla="*/ 24615 h 33845"/>
                <a:gd name="connsiteX3" fmla="*/ 1274 w 92812"/>
                <a:gd name="connsiteY3" fmla="*/ 21538 h 33845"/>
                <a:gd name="connsiteX4" fmla="*/ 4351 w 92812"/>
                <a:gd name="connsiteY4" fmla="*/ 9231 h 33845"/>
                <a:gd name="connsiteX5" fmla="*/ 90505 w 92812"/>
                <a:gd name="connsiteY5" fmla="*/ 18461 h 33845"/>
                <a:gd name="connsiteX6" fmla="*/ 90505 w 92812"/>
                <a:gd name="connsiteY6" fmla="*/ 30769 h 33845"/>
                <a:gd name="connsiteX7" fmla="*/ 87428 w 92812"/>
                <a:gd name="connsiteY7" fmla="*/ 33846 h 33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3845">
                  <a:moveTo>
                    <a:pt x="87428" y="33846"/>
                  </a:moveTo>
                  <a:cubicBezTo>
                    <a:pt x="84352" y="33846"/>
                    <a:pt x="84352" y="33846"/>
                    <a:pt x="81274" y="30769"/>
                  </a:cubicBezTo>
                  <a:cubicBezTo>
                    <a:pt x="53582" y="3077"/>
                    <a:pt x="13582" y="24615"/>
                    <a:pt x="13582" y="24615"/>
                  </a:cubicBezTo>
                  <a:cubicBezTo>
                    <a:pt x="10505" y="27692"/>
                    <a:pt x="4351" y="24615"/>
                    <a:pt x="1274" y="21538"/>
                  </a:cubicBezTo>
                  <a:cubicBezTo>
                    <a:pt x="-1802" y="18461"/>
                    <a:pt x="1274" y="12308"/>
                    <a:pt x="4351" y="9231"/>
                  </a:cubicBezTo>
                  <a:cubicBezTo>
                    <a:pt x="22813" y="0"/>
                    <a:pt x="62813" y="-9231"/>
                    <a:pt x="90505" y="18461"/>
                  </a:cubicBezTo>
                  <a:cubicBezTo>
                    <a:pt x="93582" y="21538"/>
                    <a:pt x="93582" y="27692"/>
                    <a:pt x="90505" y="30769"/>
                  </a:cubicBezTo>
                  <a:cubicBezTo>
                    <a:pt x="90505" y="33846"/>
                    <a:pt x="90505" y="33846"/>
                    <a:pt x="87428" y="33846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58BD29A9-048F-4BED-9BAB-288B3F1C0A07}"/>
                </a:ext>
              </a:extLst>
            </p:cNvPr>
            <p:cNvSpPr/>
            <p:nvPr/>
          </p:nvSpPr>
          <p:spPr>
            <a:xfrm>
              <a:off x="-2752463" y="5559570"/>
              <a:ext cx="92812" cy="36609"/>
            </a:xfrm>
            <a:custGeom>
              <a:avLst/>
              <a:gdLst>
                <a:gd name="connsiteX0" fmla="*/ 8461 w 92812"/>
                <a:gd name="connsiteY0" fmla="*/ 36610 h 36609"/>
                <a:gd name="connsiteX1" fmla="*/ 2308 w 92812"/>
                <a:gd name="connsiteY1" fmla="*/ 33533 h 36609"/>
                <a:gd name="connsiteX2" fmla="*/ 2308 w 92812"/>
                <a:gd name="connsiteY2" fmla="*/ 21225 h 36609"/>
                <a:gd name="connsiteX3" fmla="*/ 88462 w 92812"/>
                <a:gd name="connsiteY3" fmla="*/ 11995 h 36609"/>
                <a:gd name="connsiteX4" fmla="*/ 91538 w 92812"/>
                <a:gd name="connsiteY4" fmla="*/ 24302 h 36609"/>
                <a:gd name="connsiteX5" fmla="*/ 79231 w 92812"/>
                <a:gd name="connsiteY5" fmla="*/ 27379 h 36609"/>
                <a:gd name="connsiteX6" fmla="*/ 11539 w 92812"/>
                <a:gd name="connsiteY6" fmla="*/ 33533 h 36609"/>
                <a:gd name="connsiteX7" fmla="*/ 8461 w 92812"/>
                <a:gd name="connsiteY7" fmla="*/ 36610 h 3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6609">
                  <a:moveTo>
                    <a:pt x="8461" y="36610"/>
                  </a:moveTo>
                  <a:cubicBezTo>
                    <a:pt x="5385" y="36610"/>
                    <a:pt x="5385" y="36610"/>
                    <a:pt x="2308" y="33533"/>
                  </a:cubicBezTo>
                  <a:cubicBezTo>
                    <a:pt x="-769" y="30456"/>
                    <a:pt x="-769" y="24302"/>
                    <a:pt x="2308" y="21225"/>
                  </a:cubicBezTo>
                  <a:cubicBezTo>
                    <a:pt x="14615" y="5841"/>
                    <a:pt x="51538" y="-12621"/>
                    <a:pt x="88462" y="11995"/>
                  </a:cubicBezTo>
                  <a:cubicBezTo>
                    <a:pt x="91538" y="15071"/>
                    <a:pt x="94615" y="18149"/>
                    <a:pt x="91538" y="24302"/>
                  </a:cubicBezTo>
                  <a:cubicBezTo>
                    <a:pt x="88462" y="27379"/>
                    <a:pt x="85385" y="30456"/>
                    <a:pt x="79231" y="27379"/>
                  </a:cubicBezTo>
                  <a:cubicBezTo>
                    <a:pt x="42308" y="5841"/>
                    <a:pt x="14615" y="33533"/>
                    <a:pt x="11539" y="33533"/>
                  </a:cubicBezTo>
                  <a:cubicBezTo>
                    <a:pt x="11539" y="36610"/>
                    <a:pt x="11539" y="36610"/>
                    <a:pt x="8461" y="36610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815A88BE-581E-4779-A23B-EFC9946FC826}"/>
                </a:ext>
              </a:extLst>
            </p:cNvPr>
            <p:cNvSpPr/>
            <p:nvPr/>
          </p:nvSpPr>
          <p:spPr>
            <a:xfrm>
              <a:off x="-2740924" y="5897718"/>
              <a:ext cx="228966" cy="46153"/>
            </a:xfrm>
            <a:custGeom>
              <a:avLst/>
              <a:gdLst>
                <a:gd name="connsiteX0" fmla="*/ 120000 w 228966"/>
                <a:gd name="connsiteY0" fmla="*/ 46154 h 46153"/>
                <a:gd name="connsiteX1" fmla="*/ 3077 w 228966"/>
                <a:gd name="connsiteY1" fmla="*/ 12308 h 46153"/>
                <a:gd name="connsiteX2" fmla="*/ 0 w 228966"/>
                <a:gd name="connsiteY2" fmla="*/ 3077 h 46153"/>
                <a:gd name="connsiteX3" fmla="*/ 9231 w 228966"/>
                <a:gd name="connsiteY3" fmla="*/ 0 h 46153"/>
                <a:gd name="connsiteX4" fmla="*/ 135384 w 228966"/>
                <a:gd name="connsiteY4" fmla="*/ 30769 h 46153"/>
                <a:gd name="connsiteX5" fmla="*/ 218462 w 228966"/>
                <a:gd name="connsiteY5" fmla="*/ 3077 h 46153"/>
                <a:gd name="connsiteX6" fmla="*/ 227692 w 228966"/>
                <a:gd name="connsiteY6" fmla="*/ 6154 h 46153"/>
                <a:gd name="connsiteX7" fmla="*/ 224615 w 228966"/>
                <a:gd name="connsiteY7" fmla="*/ 15385 h 46153"/>
                <a:gd name="connsiteX8" fmla="*/ 135384 w 228966"/>
                <a:gd name="connsiteY8" fmla="*/ 43077 h 46153"/>
                <a:gd name="connsiteX9" fmla="*/ 120000 w 228966"/>
                <a:gd name="connsiteY9" fmla="*/ 46154 h 4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966" h="46153">
                  <a:moveTo>
                    <a:pt x="120000" y="46154"/>
                  </a:moveTo>
                  <a:cubicBezTo>
                    <a:pt x="55384" y="46154"/>
                    <a:pt x="3077" y="12308"/>
                    <a:pt x="3077" y="12308"/>
                  </a:cubicBezTo>
                  <a:cubicBezTo>
                    <a:pt x="0" y="9231"/>
                    <a:pt x="0" y="6154"/>
                    <a:pt x="0" y="3077"/>
                  </a:cubicBezTo>
                  <a:cubicBezTo>
                    <a:pt x="3077" y="0"/>
                    <a:pt x="6154" y="0"/>
                    <a:pt x="9231" y="0"/>
                  </a:cubicBezTo>
                  <a:cubicBezTo>
                    <a:pt x="9231" y="0"/>
                    <a:pt x="67692" y="36923"/>
                    <a:pt x="135384" y="30769"/>
                  </a:cubicBezTo>
                  <a:cubicBezTo>
                    <a:pt x="175385" y="27693"/>
                    <a:pt x="218462" y="3077"/>
                    <a:pt x="218462" y="3077"/>
                  </a:cubicBezTo>
                  <a:cubicBezTo>
                    <a:pt x="221538" y="3077"/>
                    <a:pt x="224615" y="3077"/>
                    <a:pt x="227692" y="6154"/>
                  </a:cubicBezTo>
                  <a:cubicBezTo>
                    <a:pt x="230769" y="9231"/>
                    <a:pt x="227692" y="12308"/>
                    <a:pt x="224615" y="15385"/>
                  </a:cubicBezTo>
                  <a:cubicBezTo>
                    <a:pt x="221538" y="15385"/>
                    <a:pt x="178461" y="40000"/>
                    <a:pt x="135384" y="43077"/>
                  </a:cubicBezTo>
                  <a:cubicBezTo>
                    <a:pt x="129231" y="46154"/>
                    <a:pt x="123077" y="46154"/>
                    <a:pt x="120000" y="46154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3D29D135-44AA-4971-8933-4E110DE01076}"/>
                </a:ext>
              </a:extLst>
            </p:cNvPr>
            <p:cNvSpPr/>
            <p:nvPr/>
          </p:nvSpPr>
          <p:spPr>
            <a:xfrm>
              <a:off x="-2892013" y="5390026"/>
              <a:ext cx="114165" cy="270769"/>
            </a:xfrm>
            <a:custGeom>
              <a:avLst/>
              <a:gdLst>
                <a:gd name="connsiteX0" fmla="*/ 114165 w 114165"/>
                <a:gd name="connsiteY0" fmla="*/ 129231 h 270769"/>
                <a:gd name="connsiteX1" fmla="*/ 64935 w 114165"/>
                <a:gd name="connsiteY1" fmla="*/ 270769 h 270769"/>
                <a:gd name="connsiteX2" fmla="*/ 6473 w 114165"/>
                <a:gd name="connsiteY2" fmla="*/ 169231 h 270769"/>
                <a:gd name="connsiteX3" fmla="*/ 64935 w 114165"/>
                <a:gd name="connsiteY3" fmla="*/ 0 h 270769"/>
                <a:gd name="connsiteX4" fmla="*/ 114165 w 114165"/>
                <a:gd name="connsiteY4" fmla="*/ 129231 h 27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165" h="270769">
                  <a:moveTo>
                    <a:pt x="114165" y="129231"/>
                  </a:moveTo>
                  <a:cubicBezTo>
                    <a:pt x="114165" y="129231"/>
                    <a:pt x="58781" y="240000"/>
                    <a:pt x="64935" y="270769"/>
                  </a:cubicBezTo>
                  <a:cubicBezTo>
                    <a:pt x="64935" y="270769"/>
                    <a:pt x="21858" y="224615"/>
                    <a:pt x="6473" y="169231"/>
                  </a:cubicBezTo>
                  <a:cubicBezTo>
                    <a:pt x="-8912" y="110769"/>
                    <a:pt x="319" y="15385"/>
                    <a:pt x="64935" y="0"/>
                  </a:cubicBezTo>
                  <a:cubicBezTo>
                    <a:pt x="64935" y="0"/>
                    <a:pt x="74165" y="107692"/>
                    <a:pt x="114165" y="129231"/>
                  </a:cubicBez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B4560125-76B8-436E-97F4-EAB52B7CE8A4}"/>
                </a:ext>
              </a:extLst>
            </p:cNvPr>
            <p:cNvSpPr/>
            <p:nvPr/>
          </p:nvSpPr>
          <p:spPr>
            <a:xfrm>
              <a:off x="-2837117" y="5273639"/>
              <a:ext cx="441421" cy="353309"/>
            </a:xfrm>
            <a:custGeom>
              <a:avLst/>
              <a:gdLst>
                <a:gd name="connsiteX0" fmla="*/ 59270 w 441421"/>
                <a:gd name="connsiteY0" fmla="*/ 245617 h 353309"/>
                <a:gd name="connsiteX1" fmla="*/ 182347 w 441421"/>
                <a:gd name="connsiteY1" fmla="*/ 205618 h 353309"/>
                <a:gd name="connsiteX2" fmla="*/ 425424 w 441421"/>
                <a:gd name="connsiteY2" fmla="*/ 353310 h 353309"/>
                <a:gd name="connsiteX3" fmla="*/ 428501 w 441421"/>
                <a:gd name="connsiteY3" fmla="*/ 184079 h 353309"/>
                <a:gd name="connsiteX4" fmla="*/ 336193 w 441421"/>
                <a:gd name="connsiteY4" fmla="*/ 33310 h 353309"/>
                <a:gd name="connsiteX5" fmla="*/ 133116 w 441421"/>
                <a:gd name="connsiteY5" fmla="*/ 17925 h 353309"/>
                <a:gd name="connsiteX6" fmla="*/ 10039 w 441421"/>
                <a:gd name="connsiteY6" fmla="*/ 113310 h 353309"/>
                <a:gd name="connsiteX7" fmla="*/ 59270 w 441421"/>
                <a:gd name="connsiteY7" fmla="*/ 245617 h 353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1421" h="353309">
                  <a:moveTo>
                    <a:pt x="59270" y="245617"/>
                  </a:moveTo>
                  <a:cubicBezTo>
                    <a:pt x="59270" y="245617"/>
                    <a:pt x="154655" y="205618"/>
                    <a:pt x="182347" y="205618"/>
                  </a:cubicBezTo>
                  <a:cubicBezTo>
                    <a:pt x="283886" y="208695"/>
                    <a:pt x="440809" y="279464"/>
                    <a:pt x="425424" y="353310"/>
                  </a:cubicBezTo>
                  <a:cubicBezTo>
                    <a:pt x="425424" y="353310"/>
                    <a:pt x="459270" y="248695"/>
                    <a:pt x="428501" y="184079"/>
                  </a:cubicBezTo>
                  <a:cubicBezTo>
                    <a:pt x="428501" y="184079"/>
                    <a:pt x="428501" y="57925"/>
                    <a:pt x="336193" y="33310"/>
                  </a:cubicBezTo>
                  <a:cubicBezTo>
                    <a:pt x="243885" y="8695"/>
                    <a:pt x="203886" y="-18998"/>
                    <a:pt x="133116" y="17925"/>
                  </a:cubicBezTo>
                  <a:cubicBezTo>
                    <a:pt x="62347" y="57925"/>
                    <a:pt x="16193" y="76387"/>
                    <a:pt x="10039" y="113310"/>
                  </a:cubicBezTo>
                  <a:cubicBezTo>
                    <a:pt x="10039" y="116387"/>
                    <a:pt x="-33038" y="233310"/>
                    <a:pt x="59270" y="245617"/>
                  </a:cubicBez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ED5A0E5D-6AFD-467D-AE4F-F79613DFAF6B}"/>
                </a:ext>
              </a:extLst>
            </p:cNvPr>
            <p:cNvSpPr/>
            <p:nvPr/>
          </p:nvSpPr>
          <p:spPr>
            <a:xfrm>
              <a:off x="-3028108" y="5983872"/>
              <a:ext cx="819491" cy="1197988"/>
            </a:xfrm>
            <a:custGeom>
              <a:avLst/>
              <a:gdLst>
                <a:gd name="connsiteX0" fmla="*/ 514876 w 819491"/>
                <a:gd name="connsiteY0" fmla="*/ 0 h 1197988"/>
                <a:gd name="connsiteX1" fmla="*/ 293337 w 819491"/>
                <a:gd name="connsiteY1" fmla="*/ 0 h 1197988"/>
                <a:gd name="connsiteX2" fmla="*/ 65645 w 819491"/>
                <a:gd name="connsiteY2" fmla="*/ 98461 h 1197988"/>
                <a:gd name="connsiteX3" fmla="*/ 1030 w 819491"/>
                <a:gd name="connsiteY3" fmla="*/ 1175385 h 1197988"/>
                <a:gd name="connsiteX4" fmla="*/ 819491 w 819491"/>
                <a:gd name="connsiteY4" fmla="*/ 1156923 h 1197988"/>
                <a:gd name="connsiteX5" fmla="*/ 730260 w 819491"/>
                <a:gd name="connsiteY5" fmla="*/ 76923 h 1197988"/>
                <a:gd name="connsiteX6" fmla="*/ 514876 w 819491"/>
                <a:gd name="connsiteY6" fmla="*/ 0 h 1197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9491" h="1197988">
                  <a:moveTo>
                    <a:pt x="514876" y="0"/>
                  </a:moveTo>
                  <a:cubicBezTo>
                    <a:pt x="514876" y="0"/>
                    <a:pt x="382568" y="43077"/>
                    <a:pt x="293337" y="0"/>
                  </a:cubicBezTo>
                  <a:cubicBezTo>
                    <a:pt x="293337" y="0"/>
                    <a:pt x="84106" y="76923"/>
                    <a:pt x="65645" y="98461"/>
                  </a:cubicBezTo>
                  <a:cubicBezTo>
                    <a:pt x="47183" y="123077"/>
                    <a:pt x="-8201" y="1123077"/>
                    <a:pt x="1030" y="1175385"/>
                  </a:cubicBezTo>
                  <a:cubicBezTo>
                    <a:pt x="1030" y="1175385"/>
                    <a:pt x="376414" y="1236924"/>
                    <a:pt x="819491" y="1156923"/>
                  </a:cubicBezTo>
                  <a:cubicBezTo>
                    <a:pt x="819491" y="883077"/>
                    <a:pt x="761030" y="101539"/>
                    <a:pt x="730260" y="76923"/>
                  </a:cubicBezTo>
                  <a:cubicBezTo>
                    <a:pt x="699491" y="55385"/>
                    <a:pt x="514876" y="0"/>
                    <a:pt x="514876" y="0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2FECB274-51A4-4056-8127-DEE61AF73783}"/>
                </a:ext>
              </a:extLst>
            </p:cNvPr>
            <p:cNvSpPr/>
            <p:nvPr/>
          </p:nvSpPr>
          <p:spPr>
            <a:xfrm>
              <a:off x="-3002463" y="6077983"/>
              <a:ext cx="44351" cy="425889"/>
            </a:xfrm>
            <a:custGeom>
              <a:avLst/>
              <a:gdLst>
                <a:gd name="connsiteX0" fmla="*/ 6154 w 44351"/>
                <a:gd name="connsiteY0" fmla="*/ 425890 h 425889"/>
                <a:gd name="connsiteX1" fmla="*/ 6154 w 44351"/>
                <a:gd name="connsiteY1" fmla="*/ 425890 h 425889"/>
                <a:gd name="connsiteX2" fmla="*/ 0 w 44351"/>
                <a:gd name="connsiteY2" fmla="*/ 419736 h 425889"/>
                <a:gd name="connsiteX3" fmla="*/ 33846 w 44351"/>
                <a:gd name="connsiteY3" fmla="*/ 4351 h 425889"/>
                <a:gd name="connsiteX4" fmla="*/ 40000 w 44351"/>
                <a:gd name="connsiteY4" fmla="*/ 1275 h 425889"/>
                <a:gd name="connsiteX5" fmla="*/ 43077 w 44351"/>
                <a:gd name="connsiteY5" fmla="*/ 7428 h 425889"/>
                <a:gd name="connsiteX6" fmla="*/ 9231 w 44351"/>
                <a:gd name="connsiteY6" fmla="*/ 419736 h 425889"/>
                <a:gd name="connsiteX7" fmla="*/ 6154 w 44351"/>
                <a:gd name="connsiteY7" fmla="*/ 425890 h 425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351" h="425889">
                  <a:moveTo>
                    <a:pt x="6154" y="425890"/>
                  </a:moveTo>
                  <a:cubicBezTo>
                    <a:pt x="6154" y="425890"/>
                    <a:pt x="6154" y="425890"/>
                    <a:pt x="6154" y="425890"/>
                  </a:cubicBezTo>
                  <a:cubicBezTo>
                    <a:pt x="3077" y="425890"/>
                    <a:pt x="0" y="422813"/>
                    <a:pt x="0" y="419736"/>
                  </a:cubicBezTo>
                  <a:cubicBezTo>
                    <a:pt x="0" y="404352"/>
                    <a:pt x="27692" y="35120"/>
                    <a:pt x="33846" y="4351"/>
                  </a:cubicBezTo>
                  <a:cubicBezTo>
                    <a:pt x="33846" y="1275"/>
                    <a:pt x="36923" y="-1803"/>
                    <a:pt x="40000" y="1275"/>
                  </a:cubicBezTo>
                  <a:cubicBezTo>
                    <a:pt x="43077" y="1275"/>
                    <a:pt x="46154" y="4351"/>
                    <a:pt x="43077" y="7428"/>
                  </a:cubicBezTo>
                  <a:cubicBezTo>
                    <a:pt x="36923" y="38198"/>
                    <a:pt x="9231" y="416659"/>
                    <a:pt x="9231" y="419736"/>
                  </a:cubicBezTo>
                  <a:cubicBezTo>
                    <a:pt x="12308" y="422813"/>
                    <a:pt x="9231" y="425890"/>
                    <a:pt x="6154" y="425890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9" name="图形 1">
              <a:extLst>
                <a:ext uri="{FF2B5EF4-FFF2-40B4-BE49-F238E27FC236}">
                  <a16:creationId xmlns:a16="http://schemas.microsoft.com/office/drawing/2014/main" id="{B26AB9C8-E030-463B-8252-3C9EF24596D1}"/>
                </a:ext>
              </a:extLst>
            </p:cNvPr>
            <p:cNvGrpSpPr/>
            <p:nvPr/>
          </p:nvGrpSpPr>
          <p:grpSpPr>
            <a:xfrm>
              <a:off x="-1750278" y="5418918"/>
              <a:ext cx="296292" cy="197587"/>
              <a:chOff x="-1750278" y="5418918"/>
              <a:chExt cx="296292" cy="197587"/>
            </a:xfrm>
          </p:grpSpPr>
          <p:grpSp>
            <p:nvGrpSpPr>
              <p:cNvPr id="151" name="图形 1">
                <a:extLst>
                  <a:ext uri="{FF2B5EF4-FFF2-40B4-BE49-F238E27FC236}">
                    <a16:creationId xmlns:a16="http://schemas.microsoft.com/office/drawing/2014/main" id="{A366D4BC-194D-4050-ADF8-BA867200CAB5}"/>
                  </a:ext>
                </a:extLst>
              </p:cNvPr>
              <p:cNvGrpSpPr/>
              <p:nvPr/>
            </p:nvGrpSpPr>
            <p:grpSpPr>
              <a:xfrm>
                <a:off x="-1750278" y="5418918"/>
                <a:ext cx="296292" cy="197587"/>
                <a:chOff x="-1750278" y="5418918"/>
                <a:chExt cx="296292" cy="197587"/>
              </a:xfrm>
            </p:grpSpPr>
            <p:sp>
              <p:nvSpPr>
                <p:cNvPr id="154" name="任意多边形: 形状 153">
                  <a:extLst>
                    <a:ext uri="{FF2B5EF4-FFF2-40B4-BE49-F238E27FC236}">
                      <a16:creationId xmlns:a16="http://schemas.microsoft.com/office/drawing/2014/main" id="{59436035-0811-4251-B604-4CFF7DFAF476}"/>
                    </a:ext>
                  </a:extLst>
                </p:cNvPr>
                <p:cNvSpPr/>
                <p:nvPr/>
              </p:nvSpPr>
              <p:spPr>
                <a:xfrm>
                  <a:off x="-1750278" y="5418918"/>
                  <a:ext cx="295508" cy="197587"/>
                </a:xfrm>
                <a:custGeom>
                  <a:avLst/>
                  <a:gdLst>
                    <a:gd name="connsiteX0" fmla="*/ 249354 w 295508"/>
                    <a:gd name="connsiteY0" fmla="*/ 137262 h 197587"/>
                    <a:gd name="connsiteX1" fmla="*/ 237046 w 295508"/>
                    <a:gd name="connsiteY1" fmla="*/ 124954 h 197587"/>
                    <a:gd name="connsiteX2" fmla="*/ 230893 w 295508"/>
                    <a:gd name="connsiteY2" fmla="*/ 124954 h 197587"/>
                    <a:gd name="connsiteX3" fmla="*/ 252431 w 295508"/>
                    <a:gd name="connsiteY3" fmla="*/ 121878 h 197587"/>
                    <a:gd name="connsiteX4" fmla="*/ 289354 w 295508"/>
                    <a:gd name="connsiteY4" fmla="*/ 106493 h 197587"/>
                    <a:gd name="connsiteX5" fmla="*/ 283200 w 295508"/>
                    <a:gd name="connsiteY5" fmla="*/ 97262 h 197587"/>
                    <a:gd name="connsiteX6" fmla="*/ 280124 w 295508"/>
                    <a:gd name="connsiteY6" fmla="*/ 97262 h 197587"/>
                    <a:gd name="connsiteX7" fmla="*/ 295508 w 295508"/>
                    <a:gd name="connsiteY7" fmla="*/ 78800 h 197587"/>
                    <a:gd name="connsiteX8" fmla="*/ 280124 w 295508"/>
                    <a:gd name="connsiteY8" fmla="*/ 63416 h 197587"/>
                    <a:gd name="connsiteX9" fmla="*/ 233970 w 295508"/>
                    <a:gd name="connsiteY9" fmla="*/ 69569 h 197587"/>
                    <a:gd name="connsiteX10" fmla="*/ 169354 w 295508"/>
                    <a:gd name="connsiteY10" fmla="*/ 78800 h 197587"/>
                    <a:gd name="connsiteX11" fmla="*/ 212431 w 295508"/>
                    <a:gd name="connsiteY11" fmla="*/ 57262 h 197587"/>
                    <a:gd name="connsiteX12" fmla="*/ 246277 w 295508"/>
                    <a:gd name="connsiteY12" fmla="*/ 41877 h 197587"/>
                    <a:gd name="connsiteX13" fmla="*/ 221662 w 295508"/>
                    <a:gd name="connsiteY13" fmla="*/ 29570 h 197587"/>
                    <a:gd name="connsiteX14" fmla="*/ 77046 w 295508"/>
                    <a:gd name="connsiteY14" fmla="*/ 81877 h 197587"/>
                    <a:gd name="connsiteX15" fmla="*/ 92431 w 295508"/>
                    <a:gd name="connsiteY15" fmla="*/ 23416 h 197587"/>
                    <a:gd name="connsiteX16" fmla="*/ 67816 w 295508"/>
                    <a:gd name="connsiteY16" fmla="*/ 4954 h 197587"/>
                    <a:gd name="connsiteX17" fmla="*/ 123 w 295508"/>
                    <a:gd name="connsiteY17" fmla="*/ 128031 h 197587"/>
                    <a:gd name="connsiteX18" fmla="*/ 52431 w 295508"/>
                    <a:gd name="connsiteY18" fmla="*/ 192646 h 197587"/>
                    <a:gd name="connsiteX19" fmla="*/ 163200 w 295508"/>
                    <a:gd name="connsiteY19" fmla="*/ 174185 h 197587"/>
                    <a:gd name="connsiteX20" fmla="*/ 249354 w 295508"/>
                    <a:gd name="connsiteY20" fmla="*/ 137262 h 197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95508" h="197587">
                      <a:moveTo>
                        <a:pt x="249354" y="137262"/>
                      </a:moveTo>
                      <a:cubicBezTo>
                        <a:pt x="249354" y="131108"/>
                        <a:pt x="243200" y="128031"/>
                        <a:pt x="237046" y="124954"/>
                      </a:cubicBezTo>
                      <a:cubicBezTo>
                        <a:pt x="233970" y="124954"/>
                        <a:pt x="233970" y="124954"/>
                        <a:pt x="230893" y="124954"/>
                      </a:cubicBezTo>
                      <a:cubicBezTo>
                        <a:pt x="237046" y="124954"/>
                        <a:pt x="246277" y="121878"/>
                        <a:pt x="252431" y="121878"/>
                      </a:cubicBezTo>
                      <a:cubicBezTo>
                        <a:pt x="267816" y="118800"/>
                        <a:pt x="283200" y="118800"/>
                        <a:pt x="289354" y="106493"/>
                      </a:cubicBezTo>
                      <a:cubicBezTo>
                        <a:pt x="289354" y="106493"/>
                        <a:pt x="286277" y="100339"/>
                        <a:pt x="283200" y="97262"/>
                      </a:cubicBezTo>
                      <a:cubicBezTo>
                        <a:pt x="283200" y="97262"/>
                        <a:pt x="283200" y="97262"/>
                        <a:pt x="280124" y="97262"/>
                      </a:cubicBezTo>
                      <a:cubicBezTo>
                        <a:pt x="286277" y="91108"/>
                        <a:pt x="295508" y="88031"/>
                        <a:pt x="295508" y="78800"/>
                      </a:cubicBezTo>
                      <a:cubicBezTo>
                        <a:pt x="295508" y="69569"/>
                        <a:pt x="289354" y="66493"/>
                        <a:pt x="280124" y="63416"/>
                      </a:cubicBezTo>
                      <a:cubicBezTo>
                        <a:pt x="264739" y="60339"/>
                        <a:pt x="249354" y="66493"/>
                        <a:pt x="233970" y="69569"/>
                      </a:cubicBezTo>
                      <a:cubicBezTo>
                        <a:pt x="212431" y="72647"/>
                        <a:pt x="190892" y="75724"/>
                        <a:pt x="169354" y="78800"/>
                      </a:cubicBezTo>
                      <a:cubicBezTo>
                        <a:pt x="184739" y="72647"/>
                        <a:pt x="200123" y="66493"/>
                        <a:pt x="212431" y="57262"/>
                      </a:cubicBezTo>
                      <a:cubicBezTo>
                        <a:pt x="221662" y="54185"/>
                        <a:pt x="240123" y="48031"/>
                        <a:pt x="246277" y="41877"/>
                      </a:cubicBezTo>
                      <a:cubicBezTo>
                        <a:pt x="255508" y="29570"/>
                        <a:pt x="230893" y="29570"/>
                        <a:pt x="221662" y="29570"/>
                      </a:cubicBezTo>
                      <a:cubicBezTo>
                        <a:pt x="169354" y="35724"/>
                        <a:pt x="126277" y="66493"/>
                        <a:pt x="77046" y="81877"/>
                      </a:cubicBezTo>
                      <a:cubicBezTo>
                        <a:pt x="86277" y="66493"/>
                        <a:pt x="92431" y="44954"/>
                        <a:pt x="92431" y="23416"/>
                      </a:cubicBezTo>
                      <a:cubicBezTo>
                        <a:pt x="95508" y="4954"/>
                        <a:pt x="70893" y="-7354"/>
                        <a:pt x="67816" y="4954"/>
                      </a:cubicBezTo>
                      <a:cubicBezTo>
                        <a:pt x="52431" y="60339"/>
                        <a:pt x="-2954" y="91108"/>
                        <a:pt x="123" y="128031"/>
                      </a:cubicBezTo>
                      <a:cubicBezTo>
                        <a:pt x="123" y="152647"/>
                        <a:pt x="27815" y="183416"/>
                        <a:pt x="52431" y="192646"/>
                      </a:cubicBezTo>
                      <a:cubicBezTo>
                        <a:pt x="86277" y="208031"/>
                        <a:pt x="126277" y="183416"/>
                        <a:pt x="163200" y="174185"/>
                      </a:cubicBezTo>
                      <a:cubicBezTo>
                        <a:pt x="184739" y="168031"/>
                        <a:pt x="249354" y="152647"/>
                        <a:pt x="249354" y="137262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5" name="任意多边形: 形状 154">
                  <a:extLst>
                    <a:ext uri="{FF2B5EF4-FFF2-40B4-BE49-F238E27FC236}">
                      <a16:creationId xmlns:a16="http://schemas.microsoft.com/office/drawing/2014/main" id="{93307CDF-E232-4024-B21D-807F97DD9E62}"/>
                    </a:ext>
                  </a:extLst>
                </p:cNvPr>
                <p:cNvSpPr/>
                <p:nvPr/>
              </p:nvSpPr>
              <p:spPr>
                <a:xfrm>
                  <a:off x="-1688616" y="5513103"/>
                  <a:ext cx="29089" cy="46153"/>
                </a:xfrm>
                <a:custGeom>
                  <a:avLst/>
                  <a:gdLst>
                    <a:gd name="connsiteX0" fmla="*/ 6154 w 29089"/>
                    <a:gd name="connsiteY0" fmla="*/ 46154 h 46153"/>
                    <a:gd name="connsiteX1" fmla="*/ 0 w 29089"/>
                    <a:gd name="connsiteY1" fmla="*/ 43077 h 46153"/>
                    <a:gd name="connsiteX2" fmla="*/ 3077 w 29089"/>
                    <a:gd name="connsiteY2" fmla="*/ 36923 h 46153"/>
                    <a:gd name="connsiteX3" fmla="*/ 18462 w 29089"/>
                    <a:gd name="connsiteY3" fmla="*/ 6154 h 46153"/>
                    <a:gd name="connsiteX4" fmla="*/ 21538 w 29089"/>
                    <a:gd name="connsiteY4" fmla="*/ 0 h 46153"/>
                    <a:gd name="connsiteX5" fmla="*/ 27692 w 29089"/>
                    <a:gd name="connsiteY5" fmla="*/ 3077 h 46153"/>
                    <a:gd name="connsiteX6" fmla="*/ 6154 w 29089"/>
                    <a:gd name="connsiteY6" fmla="*/ 46154 h 46153"/>
                    <a:gd name="connsiteX7" fmla="*/ 6154 w 29089"/>
                    <a:gd name="connsiteY7" fmla="*/ 46154 h 46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89" h="46153">
                      <a:moveTo>
                        <a:pt x="6154" y="46154"/>
                      </a:moveTo>
                      <a:cubicBezTo>
                        <a:pt x="3077" y="46154"/>
                        <a:pt x="3077" y="46154"/>
                        <a:pt x="0" y="43077"/>
                      </a:cubicBezTo>
                      <a:cubicBezTo>
                        <a:pt x="0" y="40000"/>
                        <a:pt x="0" y="36923"/>
                        <a:pt x="3077" y="36923"/>
                      </a:cubicBezTo>
                      <a:cubicBezTo>
                        <a:pt x="24615" y="27693"/>
                        <a:pt x="18462" y="6154"/>
                        <a:pt x="18462" y="6154"/>
                      </a:cubicBezTo>
                      <a:cubicBezTo>
                        <a:pt x="18462" y="3077"/>
                        <a:pt x="18462" y="0"/>
                        <a:pt x="21538" y="0"/>
                      </a:cubicBezTo>
                      <a:cubicBezTo>
                        <a:pt x="24615" y="0"/>
                        <a:pt x="27692" y="0"/>
                        <a:pt x="27692" y="3077"/>
                      </a:cubicBezTo>
                      <a:cubicBezTo>
                        <a:pt x="30769" y="12308"/>
                        <a:pt x="30769" y="33846"/>
                        <a:pt x="6154" y="46154"/>
                      </a:cubicBezTo>
                      <a:cubicBezTo>
                        <a:pt x="6154" y="46154"/>
                        <a:pt x="6154" y="46154"/>
                        <a:pt x="6154" y="46154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6" name="任意多边形: 形状 155">
                  <a:extLst>
                    <a:ext uri="{FF2B5EF4-FFF2-40B4-BE49-F238E27FC236}">
                      <a16:creationId xmlns:a16="http://schemas.microsoft.com/office/drawing/2014/main" id="{6DE76BDF-2F65-4715-BA4E-0833132FCEED}"/>
                    </a:ext>
                  </a:extLst>
                </p:cNvPr>
                <p:cNvSpPr/>
                <p:nvPr/>
              </p:nvSpPr>
              <p:spPr>
                <a:xfrm>
                  <a:off x="-1590155" y="5454642"/>
                  <a:ext cx="136168" cy="58461"/>
                </a:xfrm>
                <a:custGeom>
                  <a:avLst/>
                  <a:gdLst>
                    <a:gd name="connsiteX0" fmla="*/ 120000 w 136168"/>
                    <a:gd name="connsiteY0" fmla="*/ 58461 h 58461"/>
                    <a:gd name="connsiteX1" fmla="*/ 113846 w 136168"/>
                    <a:gd name="connsiteY1" fmla="*/ 55385 h 58461"/>
                    <a:gd name="connsiteX2" fmla="*/ 116923 w 136168"/>
                    <a:gd name="connsiteY2" fmla="*/ 49230 h 58461"/>
                    <a:gd name="connsiteX3" fmla="*/ 126154 w 136168"/>
                    <a:gd name="connsiteY3" fmla="*/ 40000 h 58461"/>
                    <a:gd name="connsiteX4" fmla="*/ 120000 w 136168"/>
                    <a:gd name="connsiteY4" fmla="*/ 30769 h 58461"/>
                    <a:gd name="connsiteX5" fmla="*/ 6154 w 136168"/>
                    <a:gd name="connsiteY5" fmla="*/ 46154 h 58461"/>
                    <a:gd name="connsiteX6" fmla="*/ 0 w 136168"/>
                    <a:gd name="connsiteY6" fmla="*/ 43077 h 58461"/>
                    <a:gd name="connsiteX7" fmla="*/ 3077 w 136168"/>
                    <a:gd name="connsiteY7" fmla="*/ 36923 h 58461"/>
                    <a:gd name="connsiteX8" fmla="*/ 80000 w 136168"/>
                    <a:gd name="connsiteY8" fmla="*/ 0 h 58461"/>
                    <a:gd name="connsiteX9" fmla="*/ 89231 w 136168"/>
                    <a:gd name="connsiteY9" fmla="*/ 3077 h 58461"/>
                    <a:gd name="connsiteX10" fmla="*/ 86154 w 136168"/>
                    <a:gd name="connsiteY10" fmla="*/ 12308 h 58461"/>
                    <a:gd name="connsiteX11" fmla="*/ 52308 w 136168"/>
                    <a:gd name="connsiteY11" fmla="*/ 30769 h 58461"/>
                    <a:gd name="connsiteX12" fmla="*/ 126154 w 136168"/>
                    <a:gd name="connsiteY12" fmla="*/ 27692 h 58461"/>
                    <a:gd name="connsiteX13" fmla="*/ 135385 w 136168"/>
                    <a:gd name="connsiteY13" fmla="*/ 46154 h 58461"/>
                    <a:gd name="connsiteX14" fmla="*/ 120000 w 136168"/>
                    <a:gd name="connsiteY14" fmla="*/ 58461 h 58461"/>
                    <a:gd name="connsiteX15" fmla="*/ 120000 w 136168"/>
                    <a:gd name="connsiteY15" fmla="*/ 58461 h 584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36168" h="58461">
                      <a:moveTo>
                        <a:pt x="120000" y="58461"/>
                      </a:moveTo>
                      <a:cubicBezTo>
                        <a:pt x="116923" y="58461"/>
                        <a:pt x="116923" y="58461"/>
                        <a:pt x="113846" y="55385"/>
                      </a:cubicBezTo>
                      <a:cubicBezTo>
                        <a:pt x="113846" y="52308"/>
                        <a:pt x="113846" y="49230"/>
                        <a:pt x="116923" y="49230"/>
                      </a:cubicBezTo>
                      <a:cubicBezTo>
                        <a:pt x="123077" y="46154"/>
                        <a:pt x="126154" y="43077"/>
                        <a:pt x="126154" y="40000"/>
                      </a:cubicBezTo>
                      <a:cubicBezTo>
                        <a:pt x="126154" y="36923"/>
                        <a:pt x="123077" y="33846"/>
                        <a:pt x="120000" y="30769"/>
                      </a:cubicBezTo>
                      <a:cubicBezTo>
                        <a:pt x="113846" y="27692"/>
                        <a:pt x="55385" y="33846"/>
                        <a:pt x="6154" y="46154"/>
                      </a:cubicBezTo>
                      <a:cubicBezTo>
                        <a:pt x="3077" y="46154"/>
                        <a:pt x="0" y="46154"/>
                        <a:pt x="0" y="43077"/>
                      </a:cubicBezTo>
                      <a:cubicBezTo>
                        <a:pt x="0" y="40000"/>
                        <a:pt x="0" y="36923"/>
                        <a:pt x="3077" y="36923"/>
                      </a:cubicBezTo>
                      <a:cubicBezTo>
                        <a:pt x="30769" y="24615"/>
                        <a:pt x="80000" y="0"/>
                        <a:pt x="80000" y="0"/>
                      </a:cubicBezTo>
                      <a:cubicBezTo>
                        <a:pt x="83077" y="0"/>
                        <a:pt x="86154" y="0"/>
                        <a:pt x="89231" y="3077"/>
                      </a:cubicBezTo>
                      <a:cubicBezTo>
                        <a:pt x="89231" y="6154"/>
                        <a:pt x="89231" y="9231"/>
                        <a:pt x="86154" y="12308"/>
                      </a:cubicBezTo>
                      <a:cubicBezTo>
                        <a:pt x="86154" y="12308"/>
                        <a:pt x="70769" y="21538"/>
                        <a:pt x="52308" y="30769"/>
                      </a:cubicBezTo>
                      <a:cubicBezTo>
                        <a:pt x="86154" y="24615"/>
                        <a:pt x="120000" y="21538"/>
                        <a:pt x="126154" y="27692"/>
                      </a:cubicBezTo>
                      <a:cubicBezTo>
                        <a:pt x="135385" y="33846"/>
                        <a:pt x="135385" y="43077"/>
                        <a:pt x="135385" y="46154"/>
                      </a:cubicBezTo>
                      <a:cubicBezTo>
                        <a:pt x="138462" y="49230"/>
                        <a:pt x="132308" y="55385"/>
                        <a:pt x="120000" y="58461"/>
                      </a:cubicBezTo>
                      <a:cubicBezTo>
                        <a:pt x="123077" y="58461"/>
                        <a:pt x="120000" y="58461"/>
                        <a:pt x="120000" y="58461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B66E6334-40EB-4D50-A3D9-2A0DAC53922B}"/>
                  </a:ext>
                </a:extLst>
              </p:cNvPr>
              <p:cNvSpPr/>
              <p:nvPr/>
            </p:nvSpPr>
            <p:spPr>
              <a:xfrm>
                <a:off x="-1602462" y="5533367"/>
                <a:ext cx="107692" cy="62812"/>
              </a:xfrm>
              <a:custGeom>
                <a:avLst/>
                <a:gdLst>
                  <a:gd name="connsiteX0" fmla="*/ 24615 w 107692"/>
                  <a:gd name="connsiteY0" fmla="*/ 62813 h 62812"/>
                  <a:gd name="connsiteX1" fmla="*/ 18461 w 107692"/>
                  <a:gd name="connsiteY1" fmla="*/ 59736 h 62812"/>
                  <a:gd name="connsiteX2" fmla="*/ 21538 w 107692"/>
                  <a:gd name="connsiteY2" fmla="*/ 53582 h 62812"/>
                  <a:gd name="connsiteX3" fmla="*/ 92308 w 107692"/>
                  <a:gd name="connsiteY3" fmla="*/ 22813 h 62812"/>
                  <a:gd name="connsiteX4" fmla="*/ 92308 w 107692"/>
                  <a:gd name="connsiteY4" fmla="*/ 16659 h 62812"/>
                  <a:gd name="connsiteX5" fmla="*/ 76923 w 107692"/>
                  <a:gd name="connsiteY5" fmla="*/ 16659 h 62812"/>
                  <a:gd name="connsiteX6" fmla="*/ 46154 w 107692"/>
                  <a:gd name="connsiteY6" fmla="*/ 22813 h 62812"/>
                  <a:gd name="connsiteX7" fmla="*/ 6154 w 107692"/>
                  <a:gd name="connsiteY7" fmla="*/ 32044 h 62812"/>
                  <a:gd name="connsiteX8" fmla="*/ 0 w 107692"/>
                  <a:gd name="connsiteY8" fmla="*/ 25890 h 62812"/>
                  <a:gd name="connsiteX9" fmla="*/ 6154 w 107692"/>
                  <a:gd name="connsiteY9" fmla="*/ 19736 h 62812"/>
                  <a:gd name="connsiteX10" fmla="*/ 46154 w 107692"/>
                  <a:gd name="connsiteY10" fmla="*/ 10505 h 62812"/>
                  <a:gd name="connsiteX11" fmla="*/ 76923 w 107692"/>
                  <a:gd name="connsiteY11" fmla="*/ 1274 h 62812"/>
                  <a:gd name="connsiteX12" fmla="*/ 101539 w 107692"/>
                  <a:gd name="connsiteY12" fmla="*/ 4351 h 62812"/>
                  <a:gd name="connsiteX13" fmla="*/ 107692 w 107692"/>
                  <a:gd name="connsiteY13" fmla="*/ 19736 h 62812"/>
                  <a:gd name="connsiteX14" fmla="*/ 24615 w 107692"/>
                  <a:gd name="connsiteY14" fmla="*/ 62813 h 62812"/>
                  <a:gd name="connsiteX15" fmla="*/ 24615 w 107692"/>
                  <a:gd name="connsiteY15" fmla="*/ 62813 h 62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7692" h="62812">
                    <a:moveTo>
                      <a:pt x="24615" y="62813"/>
                    </a:moveTo>
                    <a:cubicBezTo>
                      <a:pt x="21538" y="62813"/>
                      <a:pt x="18461" y="59736"/>
                      <a:pt x="18461" y="59736"/>
                    </a:cubicBezTo>
                    <a:cubicBezTo>
                      <a:pt x="18461" y="56659"/>
                      <a:pt x="18461" y="53582"/>
                      <a:pt x="21538" y="53582"/>
                    </a:cubicBezTo>
                    <a:cubicBezTo>
                      <a:pt x="58461" y="44352"/>
                      <a:pt x="89231" y="28967"/>
                      <a:pt x="92308" y="22813"/>
                    </a:cubicBezTo>
                    <a:cubicBezTo>
                      <a:pt x="92308" y="19736"/>
                      <a:pt x="92308" y="19736"/>
                      <a:pt x="92308" y="16659"/>
                    </a:cubicBezTo>
                    <a:cubicBezTo>
                      <a:pt x="92308" y="16659"/>
                      <a:pt x="86154" y="13582"/>
                      <a:pt x="76923" y="16659"/>
                    </a:cubicBezTo>
                    <a:cubicBezTo>
                      <a:pt x="70769" y="16659"/>
                      <a:pt x="58461" y="19736"/>
                      <a:pt x="46154" y="22813"/>
                    </a:cubicBezTo>
                    <a:cubicBezTo>
                      <a:pt x="30769" y="25890"/>
                      <a:pt x="12308" y="32044"/>
                      <a:pt x="6154" y="32044"/>
                    </a:cubicBezTo>
                    <a:cubicBezTo>
                      <a:pt x="3077" y="32044"/>
                      <a:pt x="0" y="28967"/>
                      <a:pt x="0" y="25890"/>
                    </a:cubicBezTo>
                    <a:cubicBezTo>
                      <a:pt x="0" y="22813"/>
                      <a:pt x="3077" y="19736"/>
                      <a:pt x="6154" y="19736"/>
                    </a:cubicBezTo>
                    <a:cubicBezTo>
                      <a:pt x="12308" y="19736"/>
                      <a:pt x="30769" y="13582"/>
                      <a:pt x="46154" y="10505"/>
                    </a:cubicBezTo>
                    <a:cubicBezTo>
                      <a:pt x="58461" y="7429"/>
                      <a:pt x="70769" y="4351"/>
                      <a:pt x="76923" y="1274"/>
                    </a:cubicBezTo>
                    <a:cubicBezTo>
                      <a:pt x="89231" y="-1802"/>
                      <a:pt x="95384" y="1274"/>
                      <a:pt x="101539" y="4351"/>
                    </a:cubicBezTo>
                    <a:cubicBezTo>
                      <a:pt x="104615" y="7429"/>
                      <a:pt x="107692" y="10505"/>
                      <a:pt x="107692" y="19736"/>
                    </a:cubicBezTo>
                    <a:cubicBezTo>
                      <a:pt x="104615" y="38198"/>
                      <a:pt x="55385" y="53582"/>
                      <a:pt x="24615" y="62813"/>
                    </a:cubicBezTo>
                    <a:cubicBezTo>
                      <a:pt x="27692" y="62813"/>
                      <a:pt x="27692" y="62813"/>
                      <a:pt x="24615" y="6281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F1DABB79-1D0C-4134-9596-BDEB4BFE33B8}"/>
                  </a:ext>
                </a:extLst>
              </p:cNvPr>
              <p:cNvSpPr/>
              <p:nvPr/>
            </p:nvSpPr>
            <p:spPr>
              <a:xfrm>
                <a:off x="-1596309" y="5503872"/>
                <a:ext cx="140769" cy="43077"/>
              </a:xfrm>
              <a:custGeom>
                <a:avLst/>
                <a:gdLst>
                  <a:gd name="connsiteX0" fmla="*/ 86154 w 140769"/>
                  <a:gd name="connsiteY0" fmla="*/ 43077 h 43077"/>
                  <a:gd name="connsiteX1" fmla="*/ 80000 w 140769"/>
                  <a:gd name="connsiteY1" fmla="*/ 40000 h 43077"/>
                  <a:gd name="connsiteX2" fmla="*/ 83077 w 140769"/>
                  <a:gd name="connsiteY2" fmla="*/ 33846 h 43077"/>
                  <a:gd name="connsiteX3" fmla="*/ 126154 w 140769"/>
                  <a:gd name="connsiteY3" fmla="*/ 18462 h 43077"/>
                  <a:gd name="connsiteX4" fmla="*/ 126154 w 140769"/>
                  <a:gd name="connsiteY4" fmla="*/ 15385 h 43077"/>
                  <a:gd name="connsiteX5" fmla="*/ 110769 w 140769"/>
                  <a:gd name="connsiteY5" fmla="*/ 9231 h 43077"/>
                  <a:gd name="connsiteX6" fmla="*/ 110769 w 140769"/>
                  <a:gd name="connsiteY6" fmla="*/ 9231 h 43077"/>
                  <a:gd name="connsiteX7" fmla="*/ 61538 w 140769"/>
                  <a:gd name="connsiteY7" fmla="*/ 21539 h 43077"/>
                  <a:gd name="connsiteX8" fmla="*/ 52308 w 140769"/>
                  <a:gd name="connsiteY8" fmla="*/ 24615 h 43077"/>
                  <a:gd name="connsiteX9" fmla="*/ 6154 w 140769"/>
                  <a:gd name="connsiteY9" fmla="*/ 33846 h 43077"/>
                  <a:gd name="connsiteX10" fmla="*/ 0 w 140769"/>
                  <a:gd name="connsiteY10" fmla="*/ 27693 h 43077"/>
                  <a:gd name="connsiteX11" fmla="*/ 6154 w 140769"/>
                  <a:gd name="connsiteY11" fmla="*/ 21539 h 43077"/>
                  <a:gd name="connsiteX12" fmla="*/ 52308 w 140769"/>
                  <a:gd name="connsiteY12" fmla="*/ 15385 h 43077"/>
                  <a:gd name="connsiteX13" fmla="*/ 61538 w 140769"/>
                  <a:gd name="connsiteY13" fmla="*/ 12308 h 43077"/>
                  <a:gd name="connsiteX14" fmla="*/ 113846 w 140769"/>
                  <a:gd name="connsiteY14" fmla="*/ 0 h 43077"/>
                  <a:gd name="connsiteX15" fmla="*/ 113846 w 140769"/>
                  <a:gd name="connsiteY15" fmla="*/ 0 h 43077"/>
                  <a:gd name="connsiteX16" fmla="*/ 138462 w 140769"/>
                  <a:gd name="connsiteY16" fmla="*/ 12308 h 43077"/>
                  <a:gd name="connsiteX17" fmla="*/ 138462 w 140769"/>
                  <a:gd name="connsiteY17" fmla="*/ 24615 h 43077"/>
                  <a:gd name="connsiteX18" fmla="*/ 86154 w 140769"/>
                  <a:gd name="connsiteY18" fmla="*/ 43077 h 43077"/>
                  <a:gd name="connsiteX19" fmla="*/ 86154 w 140769"/>
                  <a:gd name="connsiteY19" fmla="*/ 43077 h 4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40769" h="43077">
                    <a:moveTo>
                      <a:pt x="86154" y="43077"/>
                    </a:moveTo>
                    <a:cubicBezTo>
                      <a:pt x="83077" y="43077"/>
                      <a:pt x="80000" y="40000"/>
                      <a:pt x="80000" y="40000"/>
                    </a:cubicBezTo>
                    <a:cubicBezTo>
                      <a:pt x="80000" y="36923"/>
                      <a:pt x="80000" y="33846"/>
                      <a:pt x="83077" y="33846"/>
                    </a:cubicBezTo>
                    <a:cubicBezTo>
                      <a:pt x="104615" y="30769"/>
                      <a:pt x="126154" y="21539"/>
                      <a:pt x="126154" y="18462"/>
                    </a:cubicBezTo>
                    <a:cubicBezTo>
                      <a:pt x="126154" y="18462"/>
                      <a:pt x="126154" y="18462"/>
                      <a:pt x="126154" y="15385"/>
                    </a:cubicBezTo>
                    <a:cubicBezTo>
                      <a:pt x="123077" y="12308"/>
                      <a:pt x="116923" y="9231"/>
                      <a:pt x="110769" y="9231"/>
                    </a:cubicBezTo>
                    <a:lnTo>
                      <a:pt x="110769" y="9231"/>
                    </a:lnTo>
                    <a:cubicBezTo>
                      <a:pt x="101539" y="9231"/>
                      <a:pt x="73846" y="18462"/>
                      <a:pt x="61538" y="21539"/>
                    </a:cubicBezTo>
                    <a:cubicBezTo>
                      <a:pt x="58461" y="21539"/>
                      <a:pt x="55385" y="24615"/>
                      <a:pt x="52308" y="24615"/>
                    </a:cubicBezTo>
                    <a:cubicBezTo>
                      <a:pt x="46154" y="27693"/>
                      <a:pt x="6154" y="33846"/>
                      <a:pt x="6154" y="33846"/>
                    </a:cubicBezTo>
                    <a:cubicBezTo>
                      <a:pt x="3077" y="33846"/>
                      <a:pt x="0" y="30769"/>
                      <a:pt x="0" y="27693"/>
                    </a:cubicBezTo>
                    <a:cubicBezTo>
                      <a:pt x="0" y="24615"/>
                      <a:pt x="3077" y="21539"/>
                      <a:pt x="6154" y="21539"/>
                    </a:cubicBezTo>
                    <a:cubicBezTo>
                      <a:pt x="18462" y="18462"/>
                      <a:pt x="46154" y="15385"/>
                      <a:pt x="52308" y="15385"/>
                    </a:cubicBezTo>
                    <a:cubicBezTo>
                      <a:pt x="52308" y="15385"/>
                      <a:pt x="55385" y="15385"/>
                      <a:pt x="61538" y="12308"/>
                    </a:cubicBezTo>
                    <a:cubicBezTo>
                      <a:pt x="83077" y="6154"/>
                      <a:pt x="104615" y="0"/>
                      <a:pt x="113846" y="0"/>
                    </a:cubicBezTo>
                    <a:lnTo>
                      <a:pt x="113846" y="0"/>
                    </a:lnTo>
                    <a:cubicBezTo>
                      <a:pt x="123077" y="0"/>
                      <a:pt x="135384" y="3077"/>
                      <a:pt x="138462" y="12308"/>
                    </a:cubicBezTo>
                    <a:cubicBezTo>
                      <a:pt x="141539" y="15385"/>
                      <a:pt x="141539" y="21539"/>
                      <a:pt x="138462" y="24615"/>
                    </a:cubicBezTo>
                    <a:cubicBezTo>
                      <a:pt x="135384" y="30769"/>
                      <a:pt x="104615" y="40000"/>
                      <a:pt x="86154" y="43077"/>
                    </a:cubicBezTo>
                    <a:cubicBezTo>
                      <a:pt x="86154" y="43077"/>
                      <a:pt x="86154" y="43077"/>
                      <a:pt x="86154" y="4307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79510CB3-EA95-494E-8B7B-70F3C2643788}"/>
                </a:ext>
              </a:extLst>
            </p:cNvPr>
            <p:cNvSpPr/>
            <p:nvPr/>
          </p:nvSpPr>
          <p:spPr>
            <a:xfrm>
              <a:off x="-2375019" y="5553103"/>
              <a:ext cx="796962" cy="682773"/>
            </a:xfrm>
            <a:custGeom>
              <a:avLst/>
              <a:gdLst>
                <a:gd name="connsiteX0" fmla="*/ 12557 w 796962"/>
                <a:gd name="connsiteY0" fmla="*/ 606154 h 682773"/>
                <a:gd name="connsiteX1" fmla="*/ 178710 w 796962"/>
                <a:gd name="connsiteY1" fmla="*/ 433846 h 682773"/>
                <a:gd name="connsiteX2" fmla="*/ 606403 w 796962"/>
                <a:gd name="connsiteY2" fmla="*/ 476923 h 682773"/>
                <a:gd name="connsiteX3" fmla="*/ 627942 w 796962"/>
                <a:gd name="connsiteY3" fmla="*/ 0 h 682773"/>
                <a:gd name="connsiteX4" fmla="*/ 754095 w 796962"/>
                <a:gd name="connsiteY4" fmla="*/ 40000 h 682773"/>
                <a:gd name="connsiteX5" fmla="*/ 781788 w 796962"/>
                <a:gd name="connsiteY5" fmla="*/ 624616 h 682773"/>
                <a:gd name="connsiteX6" fmla="*/ 172557 w 796962"/>
                <a:gd name="connsiteY6" fmla="*/ 680000 h 682773"/>
                <a:gd name="connsiteX7" fmla="*/ 12557 w 796962"/>
                <a:gd name="connsiteY7" fmla="*/ 606154 h 682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6962" h="682773">
                  <a:moveTo>
                    <a:pt x="12557" y="606154"/>
                  </a:moveTo>
                  <a:cubicBezTo>
                    <a:pt x="-30520" y="566154"/>
                    <a:pt x="40249" y="421538"/>
                    <a:pt x="178710" y="433846"/>
                  </a:cubicBezTo>
                  <a:cubicBezTo>
                    <a:pt x="378711" y="449231"/>
                    <a:pt x="606403" y="476923"/>
                    <a:pt x="606403" y="476923"/>
                  </a:cubicBezTo>
                  <a:lnTo>
                    <a:pt x="627942" y="0"/>
                  </a:lnTo>
                  <a:lnTo>
                    <a:pt x="754095" y="40000"/>
                  </a:lnTo>
                  <a:cubicBezTo>
                    <a:pt x="754095" y="40000"/>
                    <a:pt x="827942" y="544615"/>
                    <a:pt x="781788" y="624616"/>
                  </a:cubicBezTo>
                  <a:cubicBezTo>
                    <a:pt x="741788" y="695385"/>
                    <a:pt x="452557" y="683077"/>
                    <a:pt x="172557" y="680000"/>
                  </a:cubicBezTo>
                  <a:cubicBezTo>
                    <a:pt x="98711" y="680000"/>
                    <a:pt x="64864" y="658461"/>
                    <a:pt x="12557" y="606154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2BCBC562-41E7-43A0-9375-F72DA4EECE7E}"/>
                </a:ext>
              </a:extLst>
            </p:cNvPr>
            <p:cNvSpPr/>
            <p:nvPr/>
          </p:nvSpPr>
          <p:spPr>
            <a:xfrm>
              <a:off x="-2470155" y="5943864"/>
              <a:ext cx="439936" cy="325403"/>
            </a:xfrm>
            <a:custGeom>
              <a:avLst/>
              <a:gdLst>
                <a:gd name="connsiteX0" fmla="*/ 427692 w 439936"/>
                <a:gd name="connsiteY0" fmla="*/ 8 h 325403"/>
                <a:gd name="connsiteX1" fmla="*/ 0 w 439936"/>
                <a:gd name="connsiteY1" fmla="*/ 110778 h 325403"/>
                <a:gd name="connsiteX2" fmla="*/ 421539 w 439936"/>
                <a:gd name="connsiteY2" fmla="*/ 323085 h 325403"/>
                <a:gd name="connsiteX3" fmla="*/ 427692 w 439936"/>
                <a:gd name="connsiteY3" fmla="*/ 8 h 325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9936" h="325403">
                  <a:moveTo>
                    <a:pt x="427692" y="8"/>
                  </a:moveTo>
                  <a:cubicBezTo>
                    <a:pt x="427692" y="8"/>
                    <a:pt x="0" y="-3069"/>
                    <a:pt x="0" y="110778"/>
                  </a:cubicBezTo>
                  <a:cubicBezTo>
                    <a:pt x="0" y="363085"/>
                    <a:pt x="421539" y="323085"/>
                    <a:pt x="421539" y="323085"/>
                  </a:cubicBezTo>
                  <a:cubicBezTo>
                    <a:pt x="421539" y="323085"/>
                    <a:pt x="458462" y="166162"/>
                    <a:pt x="427692" y="8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CB3530D0-2F6C-4847-95D2-3A8BD09C272D}"/>
                </a:ext>
              </a:extLst>
            </p:cNvPr>
            <p:cNvSpPr/>
            <p:nvPr/>
          </p:nvSpPr>
          <p:spPr>
            <a:xfrm>
              <a:off x="-2282463" y="6202334"/>
              <a:ext cx="40000" cy="264615"/>
            </a:xfrm>
            <a:custGeom>
              <a:avLst/>
              <a:gdLst>
                <a:gd name="connsiteX0" fmla="*/ 33846 w 40000"/>
                <a:gd name="connsiteY0" fmla="*/ 264616 h 264615"/>
                <a:gd name="connsiteX1" fmla="*/ 27692 w 40000"/>
                <a:gd name="connsiteY1" fmla="*/ 258461 h 264615"/>
                <a:gd name="connsiteX2" fmla="*/ 0 w 40000"/>
                <a:gd name="connsiteY2" fmla="*/ 6154 h 264615"/>
                <a:gd name="connsiteX3" fmla="*/ 6154 w 40000"/>
                <a:gd name="connsiteY3" fmla="*/ 0 h 264615"/>
                <a:gd name="connsiteX4" fmla="*/ 12308 w 40000"/>
                <a:gd name="connsiteY4" fmla="*/ 6154 h 264615"/>
                <a:gd name="connsiteX5" fmla="*/ 40000 w 40000"/>
                <a:gd name="connsiteY5" fmla="*/ 261538 h 264615"/>
                <a:gd name="connsiteX6" fmla="*/ 33846 w 40000"/>
                <a:gd name="connsiteY6" fmla="*/ 264616 h 264615"/>
                <a:gd name="connsiteX7" fmla="*/ 33846 w 40000"/>
                <a:gd name="connsiteY7" fmla="*/ 264616 h 26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00" h="264615">
                  <a:moveTo>
                    <a:pt x="33846" y="264616"/>
                  </a:moveTo>
                  <a:cubicBezTo>
                    <a:pt x="30769" y="264616"/>
                    <a:pt x="27692" y="261538"/>
                    <a:pt x="27692" y="258461"/>
                  </a:cubicBezTo>
                  <a:cubicBezTo>
                    <a:pt x="21539" y="184615"/>
                    <a:pt x="0" y="6154"/>
                    <a:pt x="0" y="6154"/>
                  </a:cubicBezTo>
                  <a:cubicBezTo>
                    <a:pt x="0" y="3077"/>
                    <a:pt x="3077" y="0"/>
                    <a:pt x="6154" y="0"/>
                  </a:cubicBezTo>
                  <a:cubicBezTo>
                    <a:pt x="9231" y="0"/>
                    <a:pt x="12308" y="3077"/>
                    <a:pt x="12308" y="6154"/>
                  </a:cubicBezTo>
                  <a:cubicBezTo>
                    <a:pt x="12308" y="9230"/>
                    <a:pt x="33846" y="184615"/>
                    <a:pt x="40000" y="261538"/>
                  </a:cubicBezTo>
                  <a:cubicBezTo>
                    <a:pt x="36923" y="261538"/>
                    <a:pt x="36923" y="264616"/>
                    <a:pt x="33846" y="264616"/>
                  </a:cubicBezTo>
                  <a:lnTo>
                    <a:pt x="33846" y="264616"/>
                  </a:ln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AE614B92-AF63-4A89-B21F-95731A340B48}"/>
                </a:ext>
              </a:extLst>
            </p:cNvPr>
            <p:cNvSpPr/>
            <p:nvPr/>
          </p:nvSpPr>
          <p:spPr>
            <a:xfrm>
              <a:off x="-2402463" y="5940796"/>
              <a:ext cx="363077" cy="52307"/>
            </a:xfrm>
            <a:custGeom>
              <a:avLst/>
              <a:gdLst>
                <a:gd name="connsiteX0" fmla="*/ 6154 w 363077"/>
                <a:gd name="connsiteY0" fmla="*/ 52308 h 52307"/>
                <a:gd name="connsiteX1" fmla="*/ 0 w 363077"/>
                <a:gd name="connsiteY1" fmla="*/ 49230 h 52307"/>
                <a:gd name="connsiteX2" fmla="*/ 3077 w 363077"/>
                <a:gd name="connsiteY2" fmla="*/ 43077 h 52307"/>
                <a:gd name="connsiteX3" fmla="*/ 356923 w 363077"/>
                <a:gd name="connsiteY3" fmla="*/ 0 h 52307"/>
                <a:gd name="connsiteX4" fmla="*/ 356923 w 363077"/>
                <a:gd name="connsiteY4" fmla="*/ 0 h 52307"/>
                <a:gd name="connsiteX5" fmla="*/ 363077 w 363077"/>
                <a:gd name="connsiteY5" fmla="*/ 6154 h 52307"/>
                <a:gd name="connsiteX6" fmla="*/ 356923 w 363077"/>
                <a:gd name="connsiteY6" fmla="*/ 12308 h 52307"/>
                <a:gd name="connsiteX7" fmla="*/ 6154 w 363077"/>
                <a:gd name="connsiteY7" fmla="*/ 52308 h 52307"/>
                <a:gd name="connsiteX8" fmla="*/ 6154 w 363077"/>
                <a:gd name="connsiteY8" fmla="*/ 52308 h 5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3077" h="52307">
                  <a:moveTo>
                    <a:pt x="6154" y="52308"/>
                  </a:moveTo>
                  <a:cubicBezTo>
                    <a:pt x="3077" y="52308"/>
                    <a:pt x="3077" y="52308"/>
                    <a:pt x="0" y="49230"/>
                  </a:cubicBezTo>
                  <a:cubicBezTo>
                    <a:pt x="0" y="46154"/>
                    <a:pt x="0" y="43077"/>
                    <a:pt x="3077" y="43077"/>
                  </a:cubicBezTo>
                  <a:cubicBezTo>
                    <a:pt x="95385" y="3077"/>
                    <a:pt x="347692" y="0"/>
                    <a:pt x="356923" y="0"/>
                  </a:cubicBezTo>
                  <a:lnTo>
                    <a:pt x="356923" y="0"/>
                  </a:lnTo>
                  <a:cubicBezTo>
                    <a:pt x="360000" y="0"/>
                    <a:pt x="363077" y="3077"/>
                    <a:pt x="363077" y="6154"/>
                  </a:cubicBezTo>
                  <a:cubicBezTo>
                    <a:pt x="363077" y="9230"/>
                    <a:pt x="360000" y="12308"/>
                    <a:pt x="356923" y="12308"/>
                  </a:cubicBezTo>
                  <a:cubicBezTo>
                    <a:pt x="356923" y="9230"/>
                    <a:pt x="101538" y="12308"/>
                    <a:pt x="6154" y="52308"/>
                  </a:cubicBezTo>
                  <a:cubicBezTo>
                    <a:pt x="9231" y="52308"/>
                    <a:pt x="6154" y="52308"/>
                    <a:pt x="6154" y="52308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4" name="图形 1">
              <a:extLst>
                <a:ext uri="{FF2B5EF4-FFF2-40B4-BE49-F238E27FC236}">
                  <a16:creationId xmlns:a16="http://schemas.microsoft.com/office/drawing/2014/main" id="{D3D541F8-D07A-4E45-8091-B062603DCFD1}"/>
                </a:ext>
              </a:extLst>
            </p:cNvPr>
            <p:cNvGrpSpPr/>
            <p:nvPr/>
          </p:nvGrpSpPr>
          <p:grpSpPr>
            <a:xfrm>
              <a:off x="-2905611" y="5251565"/>
              <a:ext cx="617483" cy="384615"/>
              <a:chOff x="-2905611" y="5251565"/>
              <a:chExt cx="617483" cy="384615"/>
            </a:xfrm>
          </p:grpSpPr>
          <p:grpSp>
            <p:nvGrpSpPr>
              <p:cNvPr id="146" name="图形 1">
                <a:extLst>
                  <a:ext uri="{FF2B5EF4-FFF2-40B4-BE49-F238E27FC236}">
                    <a16:creationId xmlns:a16="http://schemas.microsoft.com/office/drawing/2014/main" id="{ABC0847E-BC69-4DD9-8813-43A88D29DEBA}"/>
                  </a:ext>
                </a:extLst>
              </p:cNvPr>
              <p:cNvGrpSpPr/>
              <p:nvPr/>
            </p:nvGrpSpPr>
            <p:grpSpPr>
              <a:xfrm>
                <a:off x="-2905611" y="5251565"/>
                <a:ext cx="615083" cy="384615"/>
                <a:chOff x="-2905611" y="5251565"/>
                <a:chExt cx="615083" cy="384615"/>
              </a:xfrm>
            </p:grpSpPr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BBC19F2A-5D63-4281-9295-D30AE03D6FBB}"/>
                    </a:ext>
                  </a:extLst>
                </p:cNvPr>
                <p:cNvSpPr/>
                <p:nvPr/>
              </p:nvSpPr>
              <p:spPr>
                <a:xfrm>
                  <a:off x="-2905611" y="5254276"/>
                  <a:ext cx="497022" cy="381904"/>
                </a:xfrm>
                <a:custGeom>
                  <a:avLst/>
                  <a:gdLst>
                    <a:gd name="connsiteX0" fmla="*/ 100071 w 497022"/>
                    <a:gd name="connsiteY0" fmla="*/ 218827 h 381904"/>
                    <a:gd name="connsiteX1" fmla="*/ 63148 w 497022"/>
                    <a:gd name="connsiteY1" fmla="*/ 381904 h 381904"/>
                    <a:gd name="connsiteX2" fmla="*/ 35456 w 497022"/>
                    <a:gd name="connsiteY2" fmla="*/ 372673 h 381904"/>
                    <a:gd name="connsiteX3" fmla="*/ 127764 w 497022"/>
                    <a:gd name="connsiteY3" fmla="*/ 37289 h 381904"/>
                    <a:gd name="connsiteX4" fmla="*/ 496994 w 497022"/>
                    <a:gd name="connsiteY4" fmla="*/ 135750 h 381904"/>
                    <a:gd name="connsiteX5" fmla="*/ 100071 w 497022"/>
                    <a:gd name="connsiteY5" fmla="*/ 218827 h 3819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7022" h="381904">
                      <a:moveTo>
                        <a:pt x="100071" y="218827"/>
                      </a:moveTo>
                      <a:cubicBezTo>
                        <a:pt x="84687" y="234212"/>
                        <a:pt x="66225" y="314212"/>
                        <a:pt x="63148" y="381904"/>
                      </a:cubicBezTo>
                      <a:cubicBezTo>
                        <a:pt x="63148" y="381904"/>
                        <a:pt x="47764" y="378827"/>
                        <a:pt x="35456" y="372673"/>
                      </a:cubicBezTo>
                      <a:cubicBezTo>
                        <a:pt x="-1467" y="308058"/>
                        <a:pt x="-50698" y="141904"/>
                        <a:pt x="127764" y="37289"/>
                      </a:cubicBezTo>
                      <a:cubicBezTo>
                        <a:pt x="281610" y="-51942"/>
                        <a:pt x="432379" y="34212"/>
                        <a:pt x="496994" y="135750"/>
                      </a:cubicBezTo>
                      <a:cubicBezTo>
                        <a:pt x="500071" y="135750"/>
                        <a:pt x="250840" y="64981"/>
                        <a:pt x="100071" y="218827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9" name="任意多边形: 形状 148">
                  <a:extLst>
                    <a:ext uri="{FF2B5EF4-FFF2-40B4-BE49-F238E27FC236}">
                      <a16:creationId xmlns:a16="http://schemas.microsoft.com/office/drawing/2014/main" id="{9A301431-E442-4CDC-BC6E-11801DCFC8DC}"/>
                    </a:ext>
                  </a:extLst>
                </p:cNvPr>
                <p:cNvSpPr/>
                <p:nvPr/>
              </p:nvSpPr>
              <p:spPr>
                <a:xfrm>
                  <a:off x="-2817847" y="5290154"/>
                  <a:ext cx="527319" cy="256795"/>
                </a:xfrm>
                <a:custGeom>
                  <a:avLst/>
                  <a:gdLst>
                    <a:gd name="connsiteX0" fmla="*/ 0 w 527319"/>
                    <a:gd name="connsiteY0" fmla="*/ 195257 h 256795"/>
                    <a:gd name="connsiteX1" fmla="*/ 203077 w 527319"/>
                    <a:gd name="connsiteY1" fmla="*/ 44488 h 256795"/>
                    <a:gd name="connsiteX2" fmla="*/ 523077 w 527319"/>
                    <a:gd name="connsiteY2" fmla="*/ 66026 h 256795"/>
                    <a:gd name="connsiteX3" fmla="*/ 433846 w 527319"/>
                    <a:gd name="connsiteY3" fmla="*/ 256796 h 256795"/>
                    <a:gd name="connsiteX4" fmla="*/ 0 w 527319"/>
                    <a:gd name="connsiteY4" fmla="*/ 195257 h 2567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7319" h="256795">
                      <a:moveTo>
                        <a:pt x="0" y="195257"/>
                      </a:moveTo>
                      <a:cubicBezTo>
                        <a:pt x="0" y="195257"/>
                        <a:pt x="58461" y="112180"/>
                        <a:pt x="203077" y="44488"/>
                      </a:cubicBezTo>
                      <a:cubicBezTo>
                        <a:pt x="353846" y="-26281"/>
                        <a:pt x="495385" y="-7820"/>
                        <a:pt x="523077" y="66026"/>
                      </a:cubicBezTo>
                      <a:cubicBezTo>
                        <a:pt x="550769" y="139872"/>
                        <a:pt x="433846" y="256796"/>
                        <a:pt x="433846" y="256796"/>
                      </a:cubicBezTo>
                      <a:cubicBezTo>
                        <a:pt x="433846" y="256796"/>
                        <a:pt x="264615" y="84488"/>
                        <a:pt x="0" y="195257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0" name="任意多边形: 形状 149">
                  <a:extLst>
                    <a:ext uri="{FF2B5EF4-FFF2-40B4-BE49-F238E27FC236}">
                      <a16:creationId xmlns:a16="http://schemas.microsoft.com/office/drawing/2014/main" id="{F6CED094-7AF0-4111-8A8E-B2AE5B9072E8}"/>
                    </a:ext>
                  </a:extLst>
                </p:cNvPr>
                <p:cNvSpPr/>
                <p:nvPr/>
              </p:nvSpPr>
              <p:spPr>
                <a:xfrm>
                  <a:off x="-2808617" y="5251565"/>
                  <a:ext cx="58461" cy="55384"/>
                </a:xfrm>
                <a:custGeom>
                  <a:avLst/>
                  <a:gdLst>
                    <a:gd name="connsiteX0" fmla="*/ 0 w 58461"/>
                    <a:gd name="connsiteY0" fmla="*/ 27693 h 55384"/>
                    <a:gd name="connsiteX1" fmla="*/ 30769 w 58461"/>
                    <a:gd name="connsiteY1" fmla="*/ 0 h 55384"/>
                    <a:gd name="connsiteX2" fmla="*/ 58462 w 58461"/>
                    <a:gd name="connsiteY2" fmla="*/ 27693 h 55384"/>
                    <a:gd name="connsiteX3" fmla="*/ 27692 w 58461"/>
                    <a:gd name="connsiteY3" fmla="*/ 55385 h 55384"/>
                    <a:gd name="connsiteX4" fmla="*/ 0 w 58461"/>
                    <a:gd name="connsiteY4" fmla="*/ 27693 h 553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8461" h="55384">
                      <a:moveTo>
                        <a:pt x="0" y="27693"/>
                      </a:moveTo>
                      <a:cubicBezTo>
                        <a:pt x="0" y="12308"/>
                        <a:pt x="12308" y="0"/>
                        <a:pt x="30769" y="0"/>
                      </a:cubicBezTo>
                      <a:cubicBezTo>
                        <a:pt x="46154" y="0"/>
                        <a:pt x="58462" y="12308"/>
                        <a:pt x="58462" y="27693"/>
                      </a:cubicBezTo>
                      <a:cubicBezTo>
                        <a:pt x="58462" y="43077"/>
                        <a:pt x="46154" y="55385"/>
                        <a:pt x="27692" y="55385"/>
                      </a:cubicBezTo>
                      <a:cubicBezTo>
                        <a:pt x="12308" y="55385"/>
                        <a:pt x="0" y="43077"/>
                        <a:pt x="0" y="27693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4398666E-CB87-4C78-A497-8166D6298F73}"/>
                  </a:ext>
                </a:extLst>
              </p:cNvPr>
              <p:cNvSpPr/>
              <p:nvPr/>
            </p:nvSpPr>
            <p:spPr>
              <a:xfrm>
                <a:off x="-2823232" y="5282550"/>
                <a:ext cx="535104" cy="270553"/>
              </a:xfrm>
              <a:custGeom>
                <a:avLst/>
                <a:gdLst>
                  <a:gd name="connsiteX0" fmla="*/ 436154 w 535104"/>
                  <a:gd name="connsiteY0" fmla="*/ 270553 h 270553"/>
                  <a:gd name="connsiteX1" fmla="*/ 433077 w 535104"/>
                  <a:gd name="connsiteY1" fmla="*/ 270553 h 270553"/>
                  <a:gd name="connsiteX2" fmla="*/ 433077 w 535104"/>
                  <a:gd name="connsiteY2" fmla="*/ 261322 h 270553"/>
                  <a:gd name="connsiteX3" fmla="*/ 522308 w 535104"/>
                  <a:gd name="connsiteY3" fmla="*/ 76707 h 270553"/>
                  <a:gd name="connsiteX4" fmla="*/ 343846 w 535104"/>
                  <a:gd name="connsiteY4" fmla="*/ 21322 h 270553"/>
                  <a:gd name="connsiteX5" fmla="*/ 11539 w 535104"/>
                  <a:gd name="connsiteY5" fmla="*/ 205938 h 270553"/>
                  <a:gd name="connsiteX6" fmla="*/ 2308 w 535104"/>
                  <a:gd name="connsiteY6" fmla="*/ 205938 h 270553"/>
                  <a:gd name="connsiteX7" fmla="*/ 2308 w 535104"/>
                  <a:gd name="connsiteY7" fmla="*/ 196707 h 270553"/>
                  <a:gd name="connsiteX8" fmla="*/ 340769 w 535104"/>
                  <a:gd name="connsiteY8" fmla="*/ 5938 h 270553"/>
                  <a:gd name="connsiteX9" fmla="*/ 531539 w 535104"/>
                  <a:gd name="connsiteY9" fmla="*/ 67476 h 270553"/>
                  <a:gd name="connsiteX10" fmla="*/ 442308 w 535104"/>
                  <a:gd name="connsiteY10" fmla="*/ 264399 h 270553"/>
                  <a:gd name="connsiteX11" fmla="*/ 436154 w 535104"/>
                  <a:gd name="connsiteY11" fmla="*/ 270553 h 270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5104" h="270553">
                    <a:moveTo>
                      <a:pt x="436154" y="270553"/>
                    </a:moveTo>
                    <a:cubicBezTo>
                      <a:pt x="436154" y="270553"/>
                      <a:pt x="433077" y="270553"/>
                      <a:pt x="433077" y="270553"/>
                    </a:cubicBezTo>
                    <a:cubicBezTo>
                      <a:pt x="430000" y="267476"/>
                      <a:pt x="430000" y="264399"/>
                      <a:pt x="433077" y="261322"/>
                    </a:cubicBezTo>
                    <a:cubicBezTo>
                      <a:pt x="433077" y="261322"/>
                      <a:pt x="543846" y="135169"/>
                      <a:pt x="522308" y="76707"/>
                    </a:cubicBezTo>
                    <a:cubicBezTo>
                      <a:pt x="494615" y="5938"/>
                      <a:pt x="390000" y="15168"/>
                      <a:pt x="343846" y="21322"/>
                    </a:cubicBezTo>
                    <a:cubicBezTo>
                      <a:pt x="251539" y="36707"/>
                      <a:pt x="119231" y="70553"/>
                      <a:pt x="11539" y="205938"/>
                    </a:cubicBezTo>
                    <a:cubicBezTo>
                      <a:pt x="8462" y="209015"/>
                      <a:pt x="5385" y="209015"/>
                      <a:pt x="2308" y="205938"/>
                    </a:cubicBezTo>
                    <a:cubicBezTo>
                      <a:pt x="-769" y="202861"/>
                      <a:pt x="-769" y="199784"/>
                      <a:pt x="2308" y="196707"/>
                    </a:cubicBezTo>
                    <a:cubicBezTo>
                      <a:pt x="113077" y="58246"/>
                      <a:pt x="248462" y="21322"/>
                      <a:pt x="340769" y="5938"/>
                    </a:cubicBezTo>
                    <a:cubicBezTo>
                      <a:pt x="386923" y="-3293"/>
                      <a:pt x="500769" y="-12524"/>
                      <a:pt x="531539" y="67476"/>
                    </a:cubicBezTo>
                    <a:cubicBezTo>
                      <a:pt x="556154" y="132092"/>
                      <a:pt x="445385" y="258246"/>
                      <a:pt x="442308" y="264399"/>
                    </a:cubicBezTo>
                    <a:cubicBezTo>
                      <a:pt x="439231" y="270553"/>
                      <a:pt x="436154" y="270553"/>
                      <a:pt x="436154" y="2705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D30B094C-E713-4104-9959-60AEA8ACEA53}"/>
                </a:ext>
              </a:extLst>
            </p:cNvPr>
            <p:cNvSpPr/>
            <p:nvPr/>
          </p:nvSpPr>
          <p:spPr>
            <a:xfrm>
              <a:off x="-2892754" y="5626757"/>
              <a:ext cx="79350" cy="111609"/>
            </a:xfrm>
            <a:custGeom>
              <a:avLst/>
              <a:gdLst>
                <a:gd name="connsiteX0" fmla="*/ 65676 w 79350"/>
                <a:gd name="connsiteY0" fmla="*/ 15577 h 111609"/>
                <a:gd name="connsiteX1" fmla="*/ 7214 w 79350"/>
                <a:gd name="connsiteY1" fmla="*/ 6346 h 111609"/>
                <a:gd name="connsiteX2" fmla="*/ 65676 w 79350"/>
                <a:gd name="connsiteY2" fmla="*/ 107884 h 111609"/>
                <a:gd name="connsiteX3" fmla="*/ 65676 w 79350"/>
                <a:gd name="connsiteY3" fmla="*/ 15577 h 111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50" h="111609">
                  <a:moveTo>
                    <a:pt x="65676" y="15577"/>
                  </a:moveTo>
                  <a:cubicBezTo>
                    <a:pt x="65676" y="15577"/>
                    <a:pt x="31830" y="-12115"/>
                    <a:pt x="7214" y="6346"/>
                  </a:cubicBezTo>
                  <a:cubicBezTo>
                    <a:pt x="-17401" y="27885"/>
                    <a:pt x="25676" y="132500"/>
                    <a:pt x="65676" y="107884"/>
                  </a:cubicBezTo>
                  <a:cubicBezTo>
                    <a:pt x="96445" y="92500"/>
                    <a:pt x="65676" y="15577"/>
                    <a:pt x="65676" y="15577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6" name="图形 1">
              <a:extLst>
                <a:ext uri="{FF2B5EF4-FFF2-40B4-BE49-F238E27FC236}">
                  <a16:creationId xmlns:a16="http://schemas.microsoft.com/office/drawing/2014/main" id="{B57722C0-83EC-4564-BB6B-2DC54642F3C6}"/>
                </a:ext>
              </a:extLst>
            </p:cNvPr>
            <p:cNvGrpSpPr/>
            <p:nvPr/>
          </p:nvGrpSpPr>
          <p:grpSpPr>
            <a:xfrm>
              <a:off x="-4036953" y="5528488"/>
              <a:ext cx="528623" cy="621538"/>
              <a:chOff x="-4036953" y="5528488"/>
              <a:chExt cx="528623" cy="621538"/>
            </a:xfrm>
          </p:grpSpPr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DD8BC991-2FB2-4C6A-BDAE-0485A66C94C3}"/>
                  </a:ext>
                </a:extLst>
              </p:cNvPr>
              <p:cNvSpPr/>
              <p:nvPr/>
            </p:nvSpPr>
            <p:spPr>
              <a:xfrm>
                <a:off x="-4030155" y="5528488"/>
                <a:ext cx="521825" cy="621538"/>
              </a:xfrm>
              <a:custGeom>
                <a:avLst/>
                <a:gdLst>
                  <a:gd name="connsiteX0" fmla="*/ 446154 w 521825"/>
                  <a:gd name="connsiteY0" fmla="*/ 6154 h 621538"/>
                  <a:gd name="connsiteX1" fmla="*/ 436923 w 521825"/>
                  <a:gd name="connsiteY1" fmla="*/ 0 h 621538"/>
                  <a:gd name="connsiteX2" fmla="*/ 0 w 521825"/>
                  <a:gd name="connsiteY2" fmla="*/ 563077 h 621538"/>
                  <a:gd name="connsiteX3" fmla="*/ 46154 w 521825"/>
                  <a:gd name="connsiteY3" fmla="*/ 596923 h 621538"/>
                  <a:gd name="connsiteX4" fmla="*/ 61538 w 521825"/>
                  <a:gd name="connsiteY4" fmla="*/ 606154 h 621538"/>
                  <a:gd name="connsiteX5" fmla="*/ 123077 w 521825"/>
                  <a:gd name="connsiteY5" fmla="*/ 621538 h 621538"/>
                  <a:gd name="connsiteX6" fmla="*/ 218462 w 521825"/>
                  <a:gd name="connsiteY6" fmla="*/ 575385 h 621538"/>
                  <a:gd name="connsiteX7" fmla="*/ 221538 w 521825"/>
                  <a:gd name="connsiteY7" fmla="*/ 569231 h 621538"/>
                  <a:gd name="connsiteX8" fmla="*/ 246154 w 521825"/>
                  <a:gd name="connsiteY8" fmla="*/ 587693 h 621538"/>
                  <a:gd name="connsiteX9" fmla="*/ 363077 w 521825"/>
                  <a:gd name="connsiteY9" fmla="*/ 572308 h 621538"/>
                  <a:gd name="connsiteX10" fmla="*/ 504616 w 521825"/>
                  <a:gd name="connsiteY10" fmla="*/ 390769 h 621538"/>
                  <a:gd name="connsiteX11" fmla="*/ 489231 w 521825"/>
                  <a:gd name="connsiteY11" fmla="*/ 273846 h 621538"/>
                  <a:gd name="connsiteX12" fmla="*/ 464615 w 521825"/>
                  <a:gd name="connsiteY12" fmla="*/ 255385 h 621538"/>
                  <a:gd name="connsiteX13" fmla="*/ 480000 w 521825"/>
                  <a:gd name="connsiteY13" fmla="*/ 236923 h 621538"/>
                  <a:gd name="connsiteX14" fmla="*/ 516923 w 521825"/>
                  <a:gd name="connsiteY14" fmla="*/ 138462 h 621538"/>
                  <a:gd name="connsiteX15" fmla="*/ 495385 w 521825"/>
                  <a:gd name="connsiteY15" fmla="*/ 49231 h 621538"/>
                  <a:gd name="connsiteX16" fmla="*/ 446154 w 521825"/>
                  <a:gd name="connsiteY16" fmla="*/ 6154 h 62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21825" h="621538">
                    <a:moveTo>
                      <a:pt x="446154" y="6154"/>
                    </a:moveTo>
                    <a:lnTo>
                      <a:pt x="436923" y="0"/>
                    </a:lnTo>
                    <a:lnTo>
                      <a:pt x="0" y="563077"/>
                    </a:lnTo>
                    <a:lnTo>
                      <a:pt x="46154" y="596923"/>
                    </a:lnTo>
                    <a:cubicBezTo>
                      <a:pt x="49231" y="600000"/>
                      <a:pt x="55384" y="603077"/>
                      <a:pt x="61538" y="606154"/>
                    </a:cubicBezTo>
                    <a:cubicBezTo>
                      <a:pt x="80000" y="618462"/>
                      <a:pt x="101538" y="621538"/>
                      <a:pt x="123077" y="621538"/>
                    </a:cubicBezTo>
                    <a:cubicBezTo>
                      <a:pt x="160000" y="621538"/>
                      <a:pt x="193846" y="606154"/>
                      <a:pt x="218462" y="575385"/>
                    </a:cubicBezTo>
                    <a:lnTo>
                      <a:pt x="221538" y="569231"/>
                    </a:lnTo>
                    <a:lnTo>
                      <a:pt x="246154" y="587693"/>
                    </a:lnTo>
                    <a:cubicBezTo>
                      <a:pt x="283077" y="615385"/>
                      <a:pt x="335385" y="609231"/>
                      <a:pt x="363077" y="572308"/>
                    </a:cubicBezTo>
                    <a:lnTo>
                      <a:pt x="504616" y="390769"/>
                    </a:lnTo>
                    <a:cubicBezTo>
                      <a:pt x="532308" y="353846"/>
                      <a:pt x="526154" y="301539"/>
                      <a:pt x="489231" y="273846"/>
                    </a:cubicBezTo>
                    <a:lnTo>
                      <a:pt x="464615" y="255385"/>
                    </a:lnTo>
                    <a:lnTo>
                      <a:pt x="480000" y="236923"/>
                    </a:lnTo>
                    <a:cubicBezTo>
                      <a:pt x="504616" y="206154"/>
                      <a:pt x="513846" y="172308"/>
                      <a:pt x="516923" y="138462"/>
                    </a:cubicBezTo>
                    <a:cubicBezTo>
                      <a:pt x="516923" y="107692"/>
                      <a:pt x="510769" y="76923"/>
                      <a:pt x="495385" y="49231"/>
                    </a:cubicBezTo>
                    <a:cubicBezTo>
                      <a:pt x="480000" y="36923"/>
                      <a:pt x="464615" y="18462"/>
                      <a:pt x="446154" y="6154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299E4FF9-54CC-4E0E-ADCC-3B55FE0AB520}"/>
                  </a:ext>
                </a:extLst>
              </p:cNvPr>
              <p:cNvSpPr/>
              <p:nvPr/>
            </p:nvSpPr>
            <p:spPr>
              <a:xfrm>
                <a:off x="-3802463" y="5808488"/>
                <a:ext cx="240860" cy="274706"/>
              </a:xfrm>
              <a:custGeom>
                <a:avLst/>
                <a:gdLst>
                  <a:gd name="connsiteX0" fmla="*/ 181538 w 240860"/>
                  <a:gd name="connsiteY0" fmla="*/ 0 h 274706"/>
                  <a:gd name="connsiteX1" fmla="*/ 0 w 240860"/>
                  <a:gd name="connsiteY1" fmla="*/ 233846 h 274706"/>
                  <a:gd name="connsiteX2" fmla="*/ 36923 w 240860"/>
                  <a:gd name="connsiteY2" fmla="*/ 261538 h 274706"/>
                  <a:gd name="connsiteX3" fmla="*/ 120000 w 240860"/>
                  <a:gd name="connsiteY3" fmla="*/ 252308 h 274706"/>
                  <a:gd name="connsiteX4" fmla="*/ 227692 w 240860"/>
                  <a:gd name="connsiteY4" fmla="*/ 113846 h 274706"/>
                  <a:gd name="connsiteX5" fmla="*/ 218462 w 240860"/>
                  <a:gd name="connsiteY5" fmla="*/ 30769 h 274706"/>
                  <a:gd name="connsiteX6" fmla="*/ 181538 w 240860"/>
                  <a:gd name="connsiteY6" fmla="*/ 0 h 274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0860" h="274706">
                    <a:moveTo>
                      <a:pt x="181538" y="0"/>
                    </a:moveTo>
                    <a:lnTo>
                      <a:pt x="0" y="233846"/>
                    </a:lnTo>
                    <a:lnTo>
                      <a:pt x="36923" y="261538"/>
                    </a:lnTo>
                    <a:cubicBezTo>
                      <a:pt x="61538" y="283077"/>
                      <a:pt x="101538" y="276923"/>
                      <a:pt x="120000" y="252308"/>
                    </a:cubicBezTo>
                    <a:lnTo>
                      <a:pt x="227692" y="113846"/>
                    </a:lnTo>
                    <a:cubicBezTo>
                      <a:pt x="249231" y="89231"/>
                      <a:pt x="243077" y="49230"/>
                      <a:pt x="218462" y="30769"/>
                    </a:cubicBezTo>
                    <a:lnTo>
                      <a:pt x="181538" y="0"/>
                    </a:ln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73CA27E3-C703-42A4-A2EA-71AF0A2ED124}"/>
                  </a:ext>
                </a:extLst>
              </p:cNvPr>
              <p:cNvSpPr/>
              <p:nvPr/>
            </p:nvSpPr>
            <p:spPr>
              <a:xfrm>
                <a:off x="-4036953" y="5924767"/>
                <a:ext cx="130518" cy="130518"/>
              </a:xfrm>
              <a:custGeom>
                <a:avLst/>
                <a:gdLst>
                  <a:gd name="connsiteX0" fmla="*/ 105259 w 130518"/>
                  <a:gd name="connsiteY0" fmla="*/ 12952 h 130518"/>
                  <a:gd name="connsiteX1" fmla="*/ 117567 w 130518"/>
                  <a:gd name="connsiteY1" fmla="*/ 105259 h 130518"/>
                  <a:gd name="connsiteX2" fmla="*/ 25259 w 130518"/>
                  <a:gd name="connsiteY2" fmla="*/ 117567 h 130518"/>
                  <a:gd name="connsiteX3" fmla="*/ 12952 w 130518"/>
                  <a:gd name="connsiteY3" fmla="*/ 25259 h 130518"/>
                  <a:gd name="connsiteX4" fmla="*/ 105259 w 130518"/>
                  <a:gd name="connsiteY4" fmla="*/ 12952 h 130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18" h="130518">
                    <a:moveTo>
                      <a:pt x="105259" y="12952"/>
                    </a:moveTo>
                    <a:cubicBezTo>
                      <a:pt x="132952" y="34490"/>
                      <a:pt x="139106" y="77567"/>
                      <a:pt x="117567" y="105259"/>
                    </a:cubicBezTo>
                    <a:cubicBezTo>
                      <a:pt x="96029" y="132952"/>
                      <a:pt x="52952" y="139106"/>
                      <a:pt x="25259" y="117567"/>
                    </a:cubicBezTo>
                    <a:cubicBezTo>
                      <a:pt x="-2433" y="96029"/>
                      <a:pt x="-8587" y="52952"/>
                      <a:pt x="12952" y="25259"/>
                    </a:cubicBezTo>
                    <a:cubicBezTo>
                      <a:pt x="34490" y="-2433"/>
                      <a:pt x="74490" y="-8587"/>
                      <a:pt x="105259" y="12952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6B71F4E8-64F5-4B82-BDA4-6DA7B04A8CB5}"/>
                  </a:ext>
                </a:extLst>
              </p:cNvPr>
              <p:cNvSpPr/>
              <p:nvPr/>
            </p:nvSpPr>
            <p:spPr>
              <a:xfrm>
                <a:off x="-4018467" y="5946330"/>
                <a:ext cx="87393" cy="87393"/>
              </a:xfrm>
              <a:custGeom>
                <a:avLst/>
                <a:gdLst>
                  <a:gd name="connsiteX0" fmla="*/ 71389 w 87393"/>
                  <a:gd name="connsiteY0" fmla="*/ 9851 h 87393"/>
                  <a:gd name="connsiteX1" fmla="*/ 77543 w 87393"/>
                  <a:gd name="connsiteY1" fmla="*/ 71389 h 87393"/>
                  <a:gd name="connsiteX2" fmla="*/ 16004 w 87393"/>
                  <a:gd name="connsiteY2" fmla="*/ 77543 h 87393"/>
                  <a:gd name="connsiteX3" fmla="*/ 9850 w 87393"/>
                  <a:gd name="connsiteY3" fmla="*/ 16004 h 87393"/>
                  <a:gd name="connsiteX4" fmla="*/ 71389 w 87393"/>
                  <a:gd name="connsiteY4" fmla="*/ 9851 h 87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393" h="87393">
                    <a:moveTo>
                      <a:pt x="71389" y="9851"/>
                    </a:moveTo>
                    <a:cubicBezTo>
                      <a:pt x="89850" y="25235"/>
                      <a:pt x="92928" y="52927"/>
                      <a:pt x="77543" y="71389"/>
                    </a:cubicBezTo>
                    <a:cubicBezTo>
                      <a:pt x="62158" y="89850"/>
                      <a:pt x="34466" y="92927"/>
                      <a:pt x="16004" y="77543"/>
                    </a:cubicBezTo>
                    <a:cubicBezTo>
                      <a:pt x="-2457" y="62158"/>
                      <a:pt x="-5534" y="34466"/>
                      <a:pt x="9850" y="16004"/>
                    </a:cubicBezTo>
                    <a:cubicBezTo>
                      <a:pt x="25235" y="-2457"/>
                      <a:pt x="52927" y="-5534"/>
                      <a:pt x="71389" y="9851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E62B8A17-9F08-4AD1-A626-9B04DBF7682E}"/>
                  </a:ext>
                </a:extLst>
              </p:cNvPr>
              <p:cNvSpPr/>
              <p:nvPr/>
            </p:nvSpPr>
            <p:spPr>
              <a:xfrm>
                <a:off x="-3775415" y="5587145"/>
                <a:ext cx="130518" cy="132755"/>
              </a:xfrm>
              <a:custGeom>
                <a:avLst/>
                <a:gdLst>
                  <a:gd name="connsiteX0" fmla="*/ 105259 w 130518"/>
                  <a:gd name="connsiteY0" fmla="*/ 15189 h 132755"/>
                  <a:gd name="connsiteX1" fmla="*/ 117567 w 130518"/>
                  <a:gd name="connsiteY1" fmla="*/ 107497 h 132755"/>
                  <a:gd name="connsiteX2" fmla="*/ 25259 w 130518"/>
                  <a:gd name="connsiteY2" fmla="*/ 119804 h 132755"/>
                  <a:gd name="connsiteX3" fmla="*/ 12952 w 130518"/>
                  <a:gd name="connsiteY3" fmla="*/ 27496 h 132755"/>
                  <a:gd name="connsiteX4" fmla="*/ 105259 w 130518"/>
                  <a:gd name="connsiteY4" fmla="*/ 15189 h 132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518" h="132755">
                    <a:moveTo>
                      <a:pt x="105259" y="15189"/>
                    </a:moveTo>
                    <a:cubicBezTo>
                      <a:pt x="132952" y="36727"/>
                      <a:pt x="139106" y="79804"/>
                      <a:pt x="117567" y="107497"/>
                    </a:cubicBezTo>
                    <a:cubicBezTo>
                      <a:pt x="96029" y="135189"/>
                      <a:pt x="52952" y="141342"/>
                      <a:pt x="25259" y="119804"/>
                    </a:cubicBezTo>
                    <a:cubicBezTo>
                      <a:pt x="-2433" y="98266"/>
                      <a:pt x="-8587" y="55189"/>
                      <a:pt x="12952" y="27496"/>
                    </a:cubicBezTo>
                    <a:cubicBezTo>
                      <a:pt x="34490" y="-3273"/>
                      <a:pt x="74490" y="-9427"/>
                      <a:pt x="105259" y="15189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807C8F0B-4C6F-40B8-B937-2401EFB3DCA8}"/>
                  </a:ext>
                </a:extLst>
              </p:cNvPr>
              <p:cNvSpPr/>
              <p:nvPr/>
            </p:nvSpPr>
            <p:spPr>
              <a:xfrm>
                <a:off x="-3756929" y="5610124"/>
                <a:ext cx="87393" cy="85137"/>
              </a:xfrm>
              <a:custGeom>
                <a:avLst/>
                <a:gdLst>
                  <a:gd name="connsiteX0" fmla="*/ 71389 w 87393"/>
                  <a:gd name="connsiteY0" fmla="*/ 7595 h 85137"/>
                  <a:gd name="connsiteX1" fmla="*/ 77543 w 87393"/>
                  <a:gd name="connsiteY1" fmla="*/ 69133 h 85137"/>
                  <a:gd name="connsiteX2" fmla="*/ 16004 w 87393"/>
                  <a:gd name="connsiteY2" fmla="*/ 75287 h 85137"/>
                  <a:gd name="connsiteX3" fmla="*/ 9850 w 87393"/>
                  <a:gd name="connsiteY3" fmla="*/ 13748 h 85137"/>
                  <a:gd name="connsiteX4" fmla="*/ 71389 w 87393"/>
                  <a:gd name="connsiteY4" fmla="*/ 7595 h 85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393" h="85137">
                    <a:moveTo>
                      <a:pt x="71389" y="7595"/>
                    </a:moveTo>
                    <a:cubicBezTo>
                      <a:pt x="89850" y="22979"/>
                      <a:pt x="92928" y="50671"/>
                      <a:pt x="77543" y="69133"/>
                    </a:cubicBezTo>
                    <a:cubicBezTo>
                      <a:pt x="62158" y="87594"/>
                      <a:pt x="34466" y="90671"/>
                      <a:pt x="16004" y="75287"/>
                    </a:cubicBezTo>
                    <a:cubicBezTo>
                      <a:pt x="-2457" y="59902"/>
                      <a:pt x="-5534" y="32210"/>
                      <a:pt x="9850" y="13748"/>
                    </a:cubicBezTo>
                    <a:cubicBezTo>
                      <a:pt x="25235" y="-1636"/>
                      <a:pt x="52927" y="-4713"/>
                      <a:pt x="71389" y="7595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0E17F981-F0DA-4DC7-AEFE-349428DA2DEB}"/>
                  </a:ext>
                </a:extLst>
              </p:cNvPr>
              <p:cNvSpPr/>
              <p:nvPr/>
            </p:nvSpPr>
            <p:spPr>
              <a:xfrm rot="-3125029">
                <a:off x="-3811312" y="5842651"/>
                <a:ext cx="21538" cy="150767"/>
              </a:xfrm>
              <a:custGeom>
                <a:avLst/>
                <a:gdLst>
                  <a:gd name="connsiteX0" fmla="*/ 0 w 21538"/>
                  <a:gd name="connsiteY0" fmla="*/ 0 h 150767"/>
                  <a:gd name="connsiteX1" fmla="*/ 21538 w 21538"/>
                  <a:gd name="connsiteY1" fmla="*/ 0 h 150767"/>
                  <a:gd name="connsiteX2" fmla="*/ 21538 w 21538"/>
                  <a:gd name="connsiteY2" fmla="*/ 150767 h 150767"/>
                  <a:gd name="connsiteX3" fmla="*/ 0 w 21538"/>
                  <a:gd name="connsiteY3" fmla="*/ 150767 h 150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38" h="150767">
                    <a:moveTo>
                      <a:pt x="0" y="0"/>
                    </a:moveTo>
                    <a:lnTo>
                      <a:pt x="21538" y="0"/>
                    </a:lnTo>
                    <a:lnTo>
                      <a:pt x="21538" y="150767"/>
                    </a:lnTo>
                    <a:lnTo>
                      <a:pt x="0" y="150767"/>
                    </a:ln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47E1B160-0003-46E4-B134-EE0F9B28A53B}"/>
                </a:ext>
              </a:extLst>
            </p:cNvPr>
            <p:cNvSpPr/>
            <p:nvPr/>
          </p:nvSpPr>
          <p:spPr>
            <a:xfrm>
              <a:off x="-3601395" y="5971112"/>
              <a:ext cx="43704" cy="135837"/>
            </a:xfrm>
            <a:custGeom>
              <a:avLst/>
              <a:gdLst>
                <a:gd name="connsiteX0" fmla="*/ 35856 w 43704"/>
                <a:gd name="connsiteY0" fmla="*/ 135837 h 135837"/>
                <a:gd name="connsiteX1" fmla="*/ 38932 w 43704"/>
                <a:gd name="connsiteY1" fmla="*/ 46607 h 135837"/>
                <a:gd name="connsiteX2" fmla="*/ 5086 w 43704"/>
                <a:gd name="connsiteY2" fmla="*/ 453 h 135837"/>
                <a:gd name="connsiteX3" fmla="*/ 2009 w 43704"/>
                <a:gd name="connsiteY3" fmla="*/ 71222 h 135837"/>
                <a:gd name="connsiteX4" fmla="*/ 8163 w 43704"/>
                <a:gd name="connsiteY4" fmla="*/ 105068 h 135837"/>
                <a:gd name="connsiteX5" fmla="*/ 35856 w 43704"/>
                <a:gd name="connsiteY5" fmla="*/ 135837 h 135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704" h="135837">
                  <a:moveTo>
                    <a:pt x="35856" y="135837"/>
                  </a:moveTo>
                  <a:cubicBezTo>
                    <a:pt x="35856" y="135837"/>
                    <a:pt x="51240" y="83530"/>
                    <a:pt x="38932" y="46607"/>
                  </a:cubicBezTo>
                  <a:cubicBezTo>
                    <a:pt x="26625" y="9683"/>
                    <a:pt x="14317" y="-2624"/>
                    <a:pt x="5086" y="453"/>
                  </a:cubicBezTo>
                  <a:cubicBezTo>
                    <a:pt x="-4145" y="3529"/>
                    <a:pt x="2009" y="58914"/>
                    <a:pt x="2009" y="71222"/>
                  </a:cubicBezTo>
                  <a:cubicBezTo>
                    <a:pt x="2009" y="83530"/>
                    <a:pt x="8163" y="105068"/>
                    <a:pt x="8163" y="105068"/>
                  </a:cubicBezTo>
                  <a:lnTo>
                    <a:pt x="35856" y="135837"/>
                  </a:ln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8" name="图形 1">
              <a:extLst>
                <a:ext uri="{FF2B5EF4-FFF2-40B4-BE49-F238E27FC236}">
                  <a16:creationId xmlns:a16="http://schemas.microsoft.com/office/drawing/2014/main" id="{FF91D26E-8BC6-4525-81D6-F85353101DC6}"/>
                </a:ext>
              </a:extLst>
            </p:cNvPr>
            <p:cNvGrpSpPr/>
            <p:nvPr/>
          </p:nvGrpSpPr>
          <p:grpSpPr>
            <a:xfrm>
              <a:off x="-5909128" y="6828764"/>
              <a:ext cx="2190176" cy="2305828"/>
              <a:chOff x="-5909128" y="6828764"/>
              <a:chExt cx="2190176" cy="2305828"/>
            </a:xfrm>
          </p:grpSpPr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83E655B2-8A0F-4BE9-A82B-28A444064B1D}"/>
                  </a:ext>
                </a:extLst>
              </p:cNvPr>
              <p:cNvSpPr/>
              <p:nvPr/>
            </p:nvSpPr>
            <p:spPr>
              <a:xfrm>
                <a:off x="-5909128" y="7440007"/>
                <a:ext cx="526807" cy="1168758"/>
              </a:xfrm>
              <a:custGeom>
                <a:avLst/>
                <a:gdLst>
                  <a:gd name="connsiteX0" fmla="*/ 515896 w 526807"/>
                  <a:gd name="connsiteY0" fmla="*/ 491558 h 1168758"/>
                  <a:gd name="connsiteX1" fmla="*/ 429742 w 526807"/>
                  <a:gd name="connsiteY1" fmla="*/ 146943 h 1168758"/>
                  <a:gd name="connsiteX2" fmla="*/ 229742 w 526807"/>
                  <a:gd name="connsiteY2" fmla="*/ 2327 h 1168758"/>
                  <a:gd name="connsiteX3" fmla="*/ 26665 w 526807"/>
                  <a:gd name="connsiteY3" fmla="*/ 205404 h 1168758"/>
                  <a:gd name="connsiteX4" fmla="*/ 32819 w 526807"/>
                  <a:gd name="connsiteY4" fmla="*/ 553096 h 1168758"/>
                  <a:gd name="connsiteX5" fmla="*/ 377434 w 526807"/>
                  <a:gd name="connsiteY5" fmla="*/ 1159250 h 1168758"/>
                  <a:gd name="connsiteX6" fmla="*/ 386665 w 526807"/>
                  <a:gd name="connsiteY6" fmla="*/ 1162328 h 1168758"/>
                  <a:gd name="connsiteX7" fmla="*/ 408204 w 526807"/>
                  <a:gd name="connsiteY7" fmla="*/ 1165405 h 1168758"/>
                  <a:gd name="connsiteX8" fmla="*/ 518973 w 526807"/>
                  <a:gd name="connsiteY8" fmla="*/ 940789 h 1168758"/>
                  <a:gd name="connsiteX9" fmla="*/ 515896 w 526807"/>
                  <a:gd name="connsiteY9" fmla="*/ 491558 h 1168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26807" h="1168758">
                    <a:moveTo>
                      <a:pt x="515896" y="491558"/>
                    </a:moveTo>
                    <a:cubicBezTo>
                      <a:pt x="503588" y="374635"/>
                      <a:pt x="488204" y="251558"/>
                      <a:pt x="429742" y="146943"/>
                    </a:cubicBezTo>
                    <a:cubicBezTo>
                      <a:pt x="392819" y="79250"/>
                      <a:pt x="318973" y="-16135"/>
                      <a:pt x="229742" y="2327"/>
                    </a:cubicBezTo>
                    <a:cubicBezTo>
                      <a:pt x="140511" y="20789"/>
                      <a:pt x="60511" y="122327"/>
                      <a:pt x="26665" y="205404"/>
                    </a:cubicBezTo>
                    <a:cubicBezTo>
                      <a:pt x="-19489" y="319251"/>
                      <a:pt x="2050" y="439251"/>
                      <a:pt x="32819" y="553096"/>
                    </a:cubicBezTo>
                    <a:cubicBezTo>
                      <a:pt x="91280" y="762328"/>
                      <a:pt x="165127" y="1057712"/>
                      <a:pt x="377434" y="1159250"/>
                    </a:cubicBezTo>
                    <a:cubicBezTo>
                      <a:pt x="380511" y="1159250"/>
                      <a:pt x="383588" y="1162328"/>
                      <a:pt x="386665" y="1162328"/>
                    </a:cubicBezTo>
                    <a:cubicBezTo>
                      <a:pt x="392819" y="1168481"/>
                      <a:pt x="398973" y="1171558"/>
                      <a:pt x="408204" y="1165405"/>
                    </a:cubicBezTo>
                    <a:cubicBezTo>
                      <a:pt x="491281" y="1119251"/>
                      <a:pt x="512819" y="1030019"/>
                      <a:pt x="518973" y="940789"/>
                    </a:cubicBezTo>
                    <a:cubicBezTo>
                      <a:pt x="531281" y="793097"/>
                      <a:pt x="528204" y="639251"/>
                      <a:pt x="515896" y="491558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0E49D9F3-41BB-4E5D-BEEB-5B6FC99A7106}"/>
                  </a:ext>
                </a:extLst>
              </p:cNvPr>
              <p:cNvSpPr/>
              <p:nvPr/>
            </p:nvSpPr>
            <p:spPr>
              <a:xfrm>
                <a:off x="-5401423" y="6828764"/>
                <a:ext cx="583196" cy="1400206"/>
              </a:xfrm>
              <a:custGeom>
                <a:avLst/>
                <a:gdLst>
                  <a:gd name="connsiteX0" fmla="*/ 515883 w 583196"/>
                  <a:gd name="connsiteY0" fmla="*/ 235108 h 1400206"/>
                  <a:gd name="connsiteX1" fmla="*/ 78960 w 583196"/>
                  <a:gd name="connsiteY1" fmla="*/ 35108 h 1400206"/>
                  <a:gd name="connsiteX2" fmla="*/ 2037 w 583196"/>
                  <a:gd name="connsiteY2" fmla="*/ 216647 h 1400206"/>
                  <a:gd name="connsiteX3" fmla="*/ 72806 w 583196"/>
                  <a:gd name="connsiteY3" fmla="*/ 650493 h 1400206"/>
                  <a:gd name="connsiteX4" fmla="*/ 235883 w 583196"/>
                  <a:gd name="connsiteY4" fmla="*/ 1382800 h 1400206"/>
                  <a:gd name="connsiteX5" fmla="*/ 242037 w 583196"/>
                  <a:gd name="connsiteY5" fmla="*/ 1392032 h 1400206"/>
                  <a:gd name="connsiteX6" fmla="*/ 245114 w 583196"/>
                  <a:gd name="connsiteY6" fmla="*/ 1395108 h 1400206"/>
                  <a:gd name="connsiteX7" fmla="*/ 263576 w 583196"/>
                  <a:gd name="connsiteY7" fmla="*/ 1398185 h 1400206"/>
                  <a:gd name="connsiteX8" fmla="*/ 414345 w 583196"/>
                  <a:gd name="connsiteY8" fmla="*/ 1281262 h 1400206"/>
                  <a:gd name="connsiteX9" fmla="*/ 537422 w 583196"/>
                  <a:gd name="connsiteY9" fmla="*/ 930493 h 1400206"/>
                  <a:gd name="connsiteX10" fmla="*/ 515883 w 583196"/>
                  <a:gd name="connsiteY10" fmla="*/ 235108 h 1400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196" h="1400206">
                    <a:moveTo>
                      <a:pt x="515883" y="235108"/>
                    </a:moveTo>
                    <a:cubicBezTo>
                      <a:pt x="445114" y="78185"/>
                      <a:pt x="251268" y="-69507"/>
                      <a:pt x="78960" y="35108"/>
                    </a:cubicBezTo>
                    <a:cubicBezTo>
                      <a:pt x="14345" y="75108"/>
                      <a:pt x="-7194" y="142801"/>
                      <a:pt x="2037" y="216647"/>
                    </a:cubicBezTo>
                    <a:cubicBezTo>
                      <a:pt x="20499" y="364339"/>
                      <a:pt x="66653" y="502800"/>
                      <a:pt x="72806" y="650493"/>
                    </a:cubicBezTo>
                    <a:cubicBezTo>
                      <a:pt x="85114" y="902800"/>
                      <a:pt x="42037" y="1188955"/>
                      <a:pt x="235883" y="1382800"/>
                    </a:cubicBezTo>
                    <a:cubicBezTo>
                      <a:pt x="235883" y="1385878"/>
                      <a:pt x="238960" y="1388955"/>
                      <a:pt x="242037" y="1392032"/>
                    </a:cubicBezTo>
                    <a:cubicBezTo>
                      <a:pt x="242037" y="1392032"/>
                      <a:pt x="245114" y="1395108"/>
                      <a:pt x="245114" y="1395108"/>
                    </a:cubicBezTo>
                    <a:cubicBezTo>
                      <a:pt x="251268" y="1401262"/>
                      <a:pt x="257422" y="1401262"/>
                      <a:pt x="263576" y="1398185"/>
                    </a:cubicBezTo>
                    <a:cubicBezTo>
                      <a:pt x="340499" y="1410493"/>
                      <a:pt x="383576" y="1348954"/>
                      <a:pt x="414345" y="1281262"/>
                    </a:cubicBezTo>
                    <a:cubicBezTo>
                      <a:pt x="466653" y="1167416"/>
                      <a:pt x="506653" y="1050493"/>
                      <a:pt x="537422" y="930493"/>
                    </a:cubicBezTo>
                    <a:cubicBezTo>
                      <a:pt x="592806" y="708954"/>
                      <a:pt x="611268" y="450493"/>
                      <a:pt x="515883" y="235108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2C9C62B8-75A5-4E99-A77F-5962FD4FC233}"/>
                  </a:ext>
                </a:extLst>
              </p:cNvPr>
              <p:cNvSpPr/>
              <p:nvPr/>
            </p:nvSpPr>
            <p:spPr>
              <a:xfrm>
                <a:off x="-4661370" y="7000299"/>
                <a:ext cx="942418" cy="1484428"/>
              </a:xfrm>
              <a:custGeom>
                <a:avLst/>
                <a:gdLst>
                  <a:gd name="connsiteX0" fmla="*/ 935830 w 942418"/>
                  <a:gd name="connsiteY0" fmla="*/ 349727 h 1484428"/>
                  <a:gd name="connsiteX1" fmla="*/ 794292 w 942418"/>
                  <a:gd name="connsiteY1" fmla="*/ 60496 h 1484428"/>
                  <a:gd name="connsiteX2" fmla="*/ 492753 w 942418"/>
                  <a:gd name="connsiteY2" fmla="*/ 26650 h 1484428"/>
                  <a:gd name="connsiteX3" fmla="*/ 237369 w 942418"/>
                  <a:gd name="connsiteY3" fmla="*/ 688189 h 1484428"/>
                  <a:gd name="connsiteX4" fmla="*/ 31215 w 942418"/>
                  <a:gd name="connsiteY4" fmla="*/ 1140497 h 1484428"/>
                  <a:gd name="connsiteX5" fmla="*/ 68138 w 942418"/>
                  <a:gd name="connsiteY5" fmla="*/ 1463574 h 1484428"/>
                  <a:gd name="connsiteX6" fmla="*/ 80446 w 942418"/>
                  <a:gd name="connsiteY6" fmla="*/ 1466651 h 1484428"/>
                  <a:gd name="connsiteX7" fmla="*/ 686600 w 942418"/>
                  <a:gd name="connsiteY7" fmla="*/ 1106650 h 1484428"/>
                  <a:gd name="connsiteX8" fmla="*/ 935830 w 942418"/>
                  <a:gd name="connsiteY8" fmla="*/ 349727 h 1484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2418" h="1484428">
                    <a:moveTo>
                      <a:pt x="935830" y="349727"/>
                    </a:moveTo>
                    <a:cubicBezTo>
                      <a:pt x="920446" y="242035"/>
                      <a:pt x="883523" y="128189"/>
                      <a:pt x="794292" y="60496"/>
                    </a:cubicBezTo>
                    <a:cubicBezTo>
                      <a:pt x="708138" y="-4119"/>
                      <a:pt x="591215" y="-19504"/>
                      <a:pt x="492753" y="26650"/>
                    </a:cubicBezTo>
                    <a:cubicBezTo>
                      <a:pt x="252753" y="134342"/>
                      <a:pt x="286600" y="472804"/>
                      <a:pt x="237369" y="688189"/>
                    </a:cubicBezTo>
                    <a:cubicBezTo>
                      <a:pt x="197369" y="857419"/>
                      <a:pt x="83523" y="980496"/>
                      <a:pt x="31215" y="1140497"/>
                    </a:cubicBezTo>
                    <a:cubicBezTo>
                      <a:pt x="-2631" y="1242035"/>
                      <a:pt x="-30324" y="1386651"/>
                      <a:pt x="68138" y="1463574"/>
                    </a:cubicBezTo>
                    <a:cubicBezTo>
                      <a:pt x="71215" y="1466651"/>
                      <a:pt x="77369" y="1466651"/>
                      <a:pt x="80446" y="1466651"/>
                    </a:cubicBezTo>
                    <a:cubicBezTo>
                      <a:pt x="323523" y="1558958"/>
                      <a:pt x="554292" y="1269727"/>
                      <a:pt x="686600" y="1106650"/>
                    </a:cubicBezTo>
                    <a:cubicBezTo>
                      <a:pt x="849677" y="891266"/>
                      <a:pt x="972753" y="623573"/>
                      <a:pt x="935830" y="349727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6B3E74E2-3090-4D4D-B818-6D94A5951EA6}"/>
                  </a:ext>
                </a:extLst>
              </p:cNvPr>
              <p:cNvSpPr/>
              <p:nvPr/>
            </p:nvSpPr>
            <p:spPr>
              <a:xfrm>
                <a:off x="-5168732" y="7276229"/>
                <a:ext cx="104928" cy="1810751"/>
              </a:xfrm>
              <a:custGeom>
                <a:avLst/>
                <a:gdLst>
                  <a:gd name="connsiteX0" fmla="*/ 104731 w 104928"/>
                  <a:gd name="connsiteY0" fmla="*/ 1787644 h 1810751"/>
                  <a:gd name="connsiteX1" fmla="*/ 67808 w 104928"/>
                  <a:gd name="connsiteY1" fmla="*/ 839951 h 1810751"/>
                  <a:gd name="connsiteX2" fmla="*/ 61654 w 104928"/>
                  <a:gd name="connsiteY2" fmla="*/ 12259 h 1810751"/>
                  <a:gd name="connsiteX3" fmla="*/ 27808 w 104928"/>
                  <a:gd name="connsiteY3" fmla="*/ 21490 h 1810751"/>
                  <a:gd name="connsiteX4" fmla="*/ 18577 w 104928"/>
                  <a:gd name="connsiteY4" fmla="*/ 932258 h 1810751"/>
                  <a:gd name="connsiteX5" fmla="*/ 70885 w 104928"/>
                  <a:gd name="connsiteY5" fmla="*/ 1793797 h 1810751"/>
                  <a:gd name="connsiteX6" fmla="*/ 104731 w 104928"/>
                  <a:gd name="connsiteY6" fmla="*/ 1787644 h 1810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928" h="1810751">
                    <a:moveTo>
                      <a:pt x="104731" y="1787644"/>
                    </a:moveTo>
                    <a:cubicBezTo>
                      <a:pt x="24731" y="1473797"/>
                      <a:pt x="18577" y="1159952"/>
                      <a:pt x="67808" y="839951"/>
                    </a:cubicBezTo>
                    <a:cubicBezTo>
                      <a:pt x="110885" y="563028"/>
                      <a:pt x="117039" y="289182"/>
                      <a:pt x="61654" y="12259"/>
                    </a:cubicBezTo>
                    <a:cubicBezTo>
                      <a:pt x="58577" y="-9279"/>
                      <a:pt x="24731" y="-49"/>
                      <a:pt x="27808" y="21490"/>
                    </a:cubicBezTo>
                    <a:cubicBezTo>
                      <a:pt x="89346" y="332258"/>
                      <a:pt x="58577" y="621490"/>
                      <a:pt x="18577" y="932258"/>
                    </a:cubicBezTo>
                    <a:cubicBezTo>
                      <a:pt x="-18346" y="1221490"/>
                      <a:pt x="116" y="1513798"/>
                      <a:pt x="70885" y="1793797"/>
                    </a:cubicBezTo>
                    <a:cubicBezTo>
                      <a:pt x="73962" y="1821490"/>
                      <a:pt x="107808" y="1812259"/>
                      <a:pt x="104731" y="178764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0B0002C6-AF4D-42B0-BF0A-FE5DAA3397D0}"/>
                  </a:ext>
                </a:extLst>
              </p:cNvPr>
              <p:cNvSpPr/>
              <p:nvPr/>
            </p:nvSpPr>
            <p:spPr>
              <a:xfrm>
                <a:off x="-4993977" y="7437970"/>
                <a:ext cx="933796" cy="1696623"/>
              </a:xfrm>
              <a:custGeom>
                <a:avLst/>
                <a:gdLst>
                  <a:gd name="connsiteX0" fmla="*/ 899206 w 933796"/>
                  <a:gd name="connsiteY0" fmla="*/ 13595 h 1696623"/>
                  <a:gd name="connsiteX1" fmla="*/ 714591 w 933796"/>
                  <a:gd name="connsiteY1" fmla="*/ 558210 h 1696623"/>
                  <a:gd name="connsiteX2" fmla="*/ 443821 w 933796"/>
                  <a:gd name="connsiteY2" fmla="*/ 948980 h 1696623"/>
                  <a:gd name="connsiteX3" fmla="*/ 744 w 933796"/>
                  <a:gd name="connsiteY3" fmla="*/ 1675134 h 1696623"/>
                  <a:gd name="connsiteX4" fmla="*/ 34591 w 933796"/>
                  <a:gd name="connsiteY4" fmla="*/ 1684364 h 1696623"/>
                  <a:gd name="connsiteX5" fmla="*/ 533052 w 933796"/>
                  <a:gd name="connsiteY5" fmla="*/ 890518 h 1696623"/>
                  <a:gd name="connsiteX6" fmla="*/ 760744 w 933796"/>
                  <a:gd name="connsiteY6" fmla="*/ 539748 h 1696623"/>
                  <a:gd name="connsiteX7" fmla="*/ 933052 w 933796"/>
                  <a:gd name="connsiteY7" fmla="*/ 22826 h 1696623"/>
                  <a:gd name="connsiteX8" fmla="*/ 899206 w 933796"/>
                  <a:gd name="connsiteY8" fmla="*/ 13595 h 169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3796" h="1696623">
                    <a:moveTo>
                      <a:pt x="899206" y="13595"/>
                    </a:moveTo>
                    <a:cubicBezTo>
                      <a:pt x="853052" y="198211"/>
                      <a:pt x="803821" y="385902"/>
                      <a:pt x="714591" y="558210"/>
                    </a:cubicBezTo>
                    <a:cubicBezTo>
                      <a:pt x="640745" y="699749"/>
                      <a:pt x="542283" y="825903"/>
                      <a:pt x="443821" y="948980"/>
                    </a:cubicBezTo>
                    <a:cubicBezTo>
                      <a:pt x="265360" y="1173595"/>
                      <a:pt x="80744" y="1395134"/>
                      <a:pt x="744" y="1675134"/>
                    </a:cubicBezTo>
                    <a:cubicBezTo>
                      <a:pt x="-5409" y="1696672"/>
                      <a:pt x="28437" y="1705903"/>
                      <a:pt x="34591" y="1684364"/>
                    </a:cubicBezTo>
                    <a:cubicBezTo>
                      <a:pt x="120744" y="1373595"/>
                      <a:pt x="342283" y="1136672"/>
                      <a:pt x="533052" y="890518"/>
                    </a:cubicBezTo>
                    <a:cubicBezTo>
                      <a:pt x="619206" y="779749"/>
                      <a:pt x="699206" y="665902"/>
                      <a:pt x="760744" y="539748"/>
                    </a:cubicBezTo>
                    <a:cubicBezTo>
                      <a:pt x="840745" y="376672"/>
                      <a:pt x="886898" y="198211"/>
                      <a:pt x="933052" y="22826"/>
                    </a:cubicBezTo>
                    <a:cubicBezTo>
                      <a:pt x="939206" y="1287"/>
                      <a:pt x="905360" y="-11021"/>
                      <a:pt x="899206" y="13595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FD21B571-785D-4C6F-9CE3-A31A625E8804}"/>
                  </a:ext>
                </a:extLst>
              </p:cNvPr>
              <p:cNvSpPr/>
              <p:nvPr/>
            </p:nvSpPr>
            <p:spPr>
              <a:xfrm>
                <a:off x="-5611891" y="7912334"/>
                <a:ext cx="274241" cy="1148412"/>
              </a:xfrm>
              <a:custGeom>
                <a:avLst/>
                <a:gdLst>
                  <a:gd name="connsiteX0" fmla="*/ 197121 w 274241"/>
                  <a:gd name="connsiteY0" fmla="*/ 933077 h 1148412"/>
                  <a:gd name="connsiteX1" fmla="*/ 129428 w 274241"/>
                  <a:gd name="connsiteY1" fmla="*/ 622307 h 1148412"/>
                  <a:gd name="connsiteX2" fmla="*/ 34044 w 274241"/>
                  <a:gd name="connsiteY2" fmla="*/ 16154 h 1148412"/>
                  <a:gd name="connsiteX3" fmla="*/ 198 w 274241"/>
                  <a:gd name="connsiteY3" fmla="*/ 16154 h 1148412"/>
                  <a:gd name="connsiteX4" fmla="*/ 64813 w 274241"/>
                  <a:gd name="connsiteY4" fmla="*/ 308462 h 1148412"/>
                  <a:gd name="connsiteX5" fmla="*/ 92505 w 274241"/>
                  <a:gd name="connsiteY5" fmla="*/ 653077 h 1148412"/>
                  <a:gd name="connsiteX6" fmla="*/ 132505 w 274241"/>
                  <a:gd name="connsiteY6" fmla="*/ 877693 h 1148412"/>
                  <a:gd name="connsiteX7" fmla="*/ 240198 w 274241"/>
                  <a:gd name="connsiteY7" fmla="*/ 1136154 h 1148412"/>
                  <a:gd name="connsiteX8" fmla="*/ 274044 w 274241"/>
                  <a:gd name="connsiteY8" fmla="*/ 1126923 h 1148412"/>
                  <a:gd name="connsiteX9" fmla="*/ 197121 w 274241"/>
                  <a:gd name="connsiteY9" fmla="*/ 933077 h 1148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4241" h="1148412">
                    <a:moveTo>
                      <a:pt x="197121" y="933077"/>
                    </a:moveTo>
                    <a:cubicBezTo>
                      <a:pt x="141736" y="828462"/>
                      <a:pt x="123274" y="739231"/>
                      <a:pt x="129428" y="622307"/>
                    </a:cubicBezTo>
                    <a:cubicBezTo>
                      <a:pt x="138659" y="410000"/>
                      <a:pt x="55582" y="225385"/>
                      <a:pt x="34044" y="16154"/>
                    </a:cubicBezTo>
                    <a:cubicBezTo>
                      <a:pt x="30967" y="-5385"/>
                      <a:pt x="-2879" y="-5385"/>
                      <a:pt x="198" y="16154"/>
                    </a:cubicBezTo>
                    <a:cubicBezTo>
                      <a:pt x="12505" y="114615"/>
                      <a:pt x="43274" y="210000"/>
                      <a:pt x="64813" y="308462"/>
                    </a:cubicBezTo>
                    <a:cubicBezTo>
                      <a:pt x="92505" y="425385"/>
                      <a:pt x="98659" y="536154"/>
                      <a:pt x="92505" y="653077"/>
                    </a:cubicBezTo>
                    <a:cubicBezTo>
                      <a:pt x="89428" y="733077"/>
                      <a:pt x="98659" y="803846"/>
                      <a:pt x="132505" y="877693"/>
                    </a:cubicBezTo>
                    <a:cubicBezTo>
                      <a:pt x="172505" y="963846"/>
                      <a:pt x="224813" y="1040769"/>
                      <a:pt x="240198" y="1136154"/>
                    </a:cubicBezTo>
                    <a:cubicBezTo>
                      <a:pt x="243274" y="1157692"/>
                      <a:pt x="277121" y="1148462"/>
                      <a:pt x="274044" y="1126923"/>
                    </a:cubicBezTo>
                    <a:cubicBezTo>
                      <a:pt x="261736" y="1059231"/>
                      <a:pt x="230967" y="997692"/>
                      <a:pt x="197121" y="93307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9" name="图形 1">
              <a:extLst>
                <a:ext uri="{FF2B5EF4-FFF2-40B4-BE49-F238E27FC236}">
                  <a16:creationId xmlns:a16="http://schemas.microsoft.com/office/drawing/2014/main" id="{726A6120-5769-44E1-A0F5-04282F3861DF}"/>
                </a:ext>
              </a:extLst>
            </p:cNvPr>
            <p:cNvGrpSpPr/>
            <p:nvPr/>
          </p:nvGrpSpPr>
          <p:grpSpPr>
            <a:xfrm>
              <a:off x="1147537" y="8706949"/>
              <a:ext cx="367910" cy="374329"/>
              <a:chOff x="1147537" y="8706949"/>
              <a:chExt cx="367910" cy="374329"/>
            </a:xfrm>
          </p:grpSpPr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FD43A56C-0CE0-4664-B950-9B33976C6D2D}"/>
                  </a:ext>
                </a:extLst>
              </p:cNvPr>
              <p:cNvSpPr/>
              <p:nvPr/>
            </p:nvSpPr>
            <p:spPr>
              <a:xfrm>
                <a:off x="1147537" y="8817719"/>
                <a:ext cx="367910" cy="263559"/>
              </a:xfrm>
              <a:custGeom>
                <a:avLst/>
                <a:gdLst>
                  <a:gd name="connsiteX0" fmla="*/ 228462 w 367910"/>
                  <a:gd name="connsiteY0" fmla="*/ 0 h 263559"/>
                  <a:gd name="connsiteX1" fmla="*/ 108461 w 367910"/>
                  <a:gd name="connsiteY1" fmla="*/ 166154 h 263559"/>
                  <a:gd name="connsiteX2" fmla="*/ 326923 w 367910"/>
                  <a:gd name="connsiteY2" fmla="*/ 36923 h 263559"/>
                  <a:gd name="connsiteX3" fmla="*/ 348462 w 367910"/>
                  <a:gd name="connsiteY3" fmla="*/ 21538 h 263559"/>
                  <a:gd name="connsiteX4" fmla="*/ 366923 w 367910"/>
                  <a:gd name="connsiteY4" fmla="*/ 98461 h 263559"/>
                  <a:gd name="connsiteX5" fmla="*/ 354615 w 367910"/>
                  <a:gd name="connsiteY5" fmla="*/ 236923 h 263559"/>
                  <a:gd name="connsiteX6" fmla="*/ 326923 w 367910"/>
                  <a:gd name="connsiteY6" fmla="*/ 236923 h 263559"/>
                  <a:gd name="connsiteX7" fmla="*/ 311539 w 367910"/>
                  <a:gd name="connsiteY7" fmla="*/ 126154 h 263559"/>
                  <a:gd name="connsiteX8" fmla="*/ 166923 w 367910"/>
                  <a:gd name="connsiteY8" fmla="*/ 258461 h 263559"/>
                  <a:gd name="connsiteX9" fmla="*/ 6923 w 367910"/>
                  <a:gd name="connsiteY9" fmla="*/ 261538 h 263559"/>
                  <a:gd name="connsiteX10" fmla="*/ 6923 w 367910"/>
                  <a:gd name="connsiteY10" fmla="*/ 215385 h 263559"/>
                  <a:gd name="connsiteX11" fmla="*/ 228462 w 367910"/>
                  <a:gd name="connsiteY11" fmla="*/ 0 h 263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7910" h="263559">
                    <a:moveTo>
                      <a:pt x="228462" y="0"/>
                    </a:moveTo>
                    <a:cubicBezTo>
                      <a:pt x="228462" y="0"/>
                      <a:pt x="93077" y="156923"/>
                      <a:pt x="108461" y="166154"/>
                    </a:cubicBezTo>
                    <a:cubicBezTo>
                      <a:pt x="126923" y="175384"/>
                      <a:pt x="326923" y="36923"/>
                      <a:pt x="326923" y="36923"/>
                    </a:cubicBezTo>
                    <a:lnTo>
                      <a:pt x="348462" y="21538"/>
                    </a:lnTo>
                    <a:cubicBezTo>
                      <a:pt x="348462" y="21538"/>
                      <a:pt x="373077" y="70769"/>
                      <a:pt x="366923" y="98461"/>
                    </a:cubicBezTo>
                    <a:cubicBezTo>
                      <a:pt x="360769" y="126154"/>
                      <a:pt x="354615" y="236923"/>
                      <a:pt x="354615" y="236923"/>
                    </a:cubicBezTo>
                    <a:lnTo>
                      <a:pt x="326923" y="236923"/>
                    </a:lnTo>
                    <a:lnTo>
                      <a:pt x="311539" y="126154"/>
                    </a:lnTo>
                    <a:cubicBezTo>
                      <a:pt x="311539" y="126154"/>
                      <a:pt x="188462" y="255384"/>
                      <a:pt x="166923" y="258461"/>
                    </a:cubicBezTo>
                    <a:cubicBezTo>
                      <a:pt x="145384" y="264616"/>
                      <a:pt x="19231" y="264616"/>
                      <a:pt x="6923" y="261538"/>
                    </a:cubicBezTo>
                    <a:cubicBezTo>
                      <a:pt x="-2308" y="261538"/>
                      <a:pt x="-2308" y="221538"/>
                      <a:pt x="6923" y="215385"/>
                    </a:cubicBezTo>
                    <a:cubicBezTo>
                      <a:pt x="86923" y="172308"/>
                      <a:pt x="228462" y="0"/>
                      <a:pt x="228462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16600274-CAC5-44FA-8938-B61B1633CE81}"/>
                  </a:ext>
                </a:extLst>
              </p:cNvPr>
              <p:cNvSpPr/>
              <p:nvPr/>
            </p:nvSpPr>
            <p:spPr>
              <a:xfrm>
                <a:off x="1253768" y="8706949"/>
                <a:ext cx="248384" cy="278681"/>
              </a:xfrm>
              <a:custGeom>
                <a:avLst/>
                <a:gdLst>
                  <a:gd name="connsiteX0" fmla="*/ 137615 w 248384"/>
                  <a:gd name="connsiteY0" fmla="*/ 0 h 278681"/>
                  <a:gd name="connsiteX1" fmla="*/ 122231 w 248384"/>
                  <a:gd name="connsiteY1" fmla="*/ 110769 h 278681"/>
                  <a:gd name="connsiteX2" fmla="*/ 2231 w 248384"/>
                  <a:gd name="connsiteY2" fmla="*/ 276923 h 278681"/>
                  <a:gd name="connsiteX3" fmla="*/ 239154 w 248384"/>
                  <a:gd name="connsiteY3" fmla="*/ 132307 h 278681"/>
                  <a:gd name="connsiteX4" fmla="*/ 248384 w 248384"/>
                  <a:gd name="connsiteY4" fmla="*/ 0 h 278681"/>
                  <a:gd name="connsiteX5" fmla="*/ 137615 w 248384"/>
                  <a:gd name="connsiteY5" fmla="*/ 0 h 278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8384" h="278681">
                    <a:moveTo>
                      <a:pt x="137615" y="0"/>
                    </a:moveTo>
                    <a:lnTo>
                      <a:pt x="122231" y="110769"/>
                    </a:lnTo>
                    <a:cubicBezTo>
                      <a:pt x="122231" y="110769"/>
                      <a:pt x="-19308" y="261538"/>
                      <a:pt x="2231" y="276923"/>
                    </a:cubicBezTo>
                    <a:cubicBezTo>
                      <a:pt x="23769" y="295385"/>
                      <a:pt x="242231" y="163077"/>
                      <a:pt x="239154" y="132307"/>
                    </a:cubicBezTo>
                    <a:cubicBezTo>
                      <a:pt x="239154" y="83077"/>
                      <a:pt x="248384" y="0"/>
                      <a:pt x="248384" y="0"/>
                    </a:cubicBezTo>
                    <a:lnTo>
                      <a:pt x="137615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0" name="图形 1">
              <a:extLst>
                <a:ext uri="{FF2B5EF4-FFF2-40B4-BE49-F238E27FC236}">
                  <a16:creationId xmlns:a16="http://schemas.microsoft.com/office/drawing/2014/main" id="{C28EEC03-503A-4930-A0D3-1791EB332768}"/>
                </a:ext>
              </a:extLst>
            </p:cNvPr>
            <p:cNvGrpSpPr/>
            <p:nvPr/>
          </p:nvGrpSpPr>
          <p:grpSpPr>
            <a:xfrm>
              <a:off x="2422153" y="8350026"/>
              <a:ext cx="363076" cy="485571"/>
              <a:chOff x="2422153" y="8350026"/>
              <a:chExt cx="363076" cy="485571"/>
            </a:xfrm>
          </p:grpSpPr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DF120C13-5BFA-4CE5-879E-422CA1674E40}"/>
                  </a:ext>
                </a:extLst>
              </p:cNvPr>
              <p:cNvSpPr/>
              <p:nvPr/>
            </p:nvSpPr>
            <p:spPr>
              <a:xfrm>
                <a:off x="2514460" y="8417719"/>
                <a:ext cx="270768" cy="417879"/>
              </a:xfrm>
              <a:custGeom>
                <a:avLst/>
                <a:gdLst>
                  <a:gd name="connsiteX0" fmla="*/ 0 w 270768"/>
                  <a:gd name="connsiteY0" fmla="*/ 95385 h 417879"/>
                  <a:gd name="connsiteX1" fmla="*/ 95385 w 270768"/>
                  <a:gd name="connsiteY1" fmla="*/ 276923 h 417879"/>
                  <a:gd name="connsiteX2" fmla="*/ 76923 w 270768"/>
                  <a:gd name="connsiteY2" fmla="*/ 24615 h 417879"/>
                  <a:gd name="connsiteX3" fmla="*/ 70769 w 270768"/>
                  <a:gd name="connsiteY3" fmla="*/ 0 h 417879"/>
                  <a:gd name="connsiteX4" fmla="*/ 150769 w 270768"/>
                  <a:gd name="connsiteY4" fmla="*/ 18462 h 417879"/>
                  <a:gd name="connsiteX5" fmla="*/ 270769 w 270768"/>
                  <a:gd name="connsiteY5" fmla="*/ 92308 h 417879"/>
                  <a:gd name="connsiteX6" fmla="*/ 258461 w 270768"/>
                  <a:gd name="connsiteY6" fmla="*/ 116923 h 417879"/>
                  <a:gd name="connsiteX7" fmla="*/ 150769 w 270768"/>
                  <a:gd name="connsiteY7" fmla="*/ 83076 h 417879"/>
                  <a:gd name="connsiteX8" fmla="*/ 206153 w 270768"/>
                  <a:gd name="connsiteY8" fmla="*/ 270769 h 417879"/>
                  <a:gd name="connsiteX9" fmla="*/ 138462 w 270768"/>
                  <a:gd name="connsiteY9" fmla="*/ 415385 h 417879"/>
                  <a:gd name="connsiteX10" fmla="*/ 95385 w 270768"/>
                  <a:gd name="connsiteY10" fmla="*/ 393846 h 417879"/>
                  <a:gd name="connsiteX11" fmla="*/ 0 w 270768"/>
                  <a:gd name="connsiteY11" fmla="*/ 95385 h 417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0768" h="417879">
                    <a:moveTo>
                      <a:pt x="0" y="95385"/>
                    </a:moveTo>
                    <a:cubicBezTo>
                      <a:pt x="0" y="95385"/>
                      <a:pt x="80000" y="286153"/>
                      <a:pt x="95385" y="276923"/>
                    </a:cubicBezTo>
                    <a:cubicBezTo>
                      <a:pt x="110769" y="264616"/>
                      <a:pt x="76923" y="24615"/>
                      <a:pt x="76923" y="24615"/>
                    </a:cubicBezTo>
                    <a:lnTo>
                      <a:pt x="70769" y="0"/>
                    </a:lnTo>
                    <a:cubicBezTo>
                      <a:pt x="70769" y="0"/>
                      <a:pt x="126154" y="0"/>
                      <a:pt x="150769" y="18462"/>
                    </a:cubicBezTo>
                    <a:cubicBezTo>
                      <a:pt x="172308" y="33846"/>
                      <a:pt x="270769" y="92308"/>
                      <a:pt x="270769" y="92308"/>
                    </a:cubicBezTo>
                    <a:lnTo>
                      <a:pt x="258461" y="116923"/>
                    </a:lnTo>
                    <a:lnTo>
                      <a:pt x="150769" y="83076"/>
                    </a:lnTo>
                    <a:cubicBezTo>
                      <a:pt x="150769" y="83076"/>
                      <a:pt x="212308" y="249231"/>
                      <a:pt x="206153" y="270769"/>
                    </a:cubicBezTo>
                    <a:cubicBezTo>
                      <a:pt x="200000" y="292308"/>
                      <a:pt x="144615" y="406153"/>
                      <a:pt x="138462" y="415385"/>
                    </a:cubicBezTo>
                    <a:cubicBezTo>
                      <a:pt x="132307" y="424615"/>
                      <a:pt x="98461" y="406153"/>
                      <a:pt x="95385" y="393846"/>
                    </a:cubicBezTo>
                    <a:cubicBezTo>
                      <a:pt x="92308" y="301538"/>
                      <a:pt x="0" y="95385"/>
                      <a:pt x="0" y="95385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7A336662-C474-4637-832C-9B11D603334C}"/>
                  </a:ext>
                </a:extLst>
              </p:cNvPr>
              <p:cNvSpPr/>
              <p:nvPr/>
            </p:nvSpPr>
            <p:spPr>
              <a:xfrm>
                <a:off x="2422153" y="8350026"/>
                <a:ext cx="198470" cy="345177"/>
              </a:xfrm>
              <a:custGeom>
                <a:avLst/>
                <a:gdLst>
                  <a:gd name="connsiteX0" fmla="*/ 0 w 198470"/>
                  <a:gd name="connsiteY0" fmla="*/ 98462 h 345177"/>
                  <a:gd name="connsiteX1" fmla="*/ 92308 w 198470"/>
                  <a:gd name="connsiteY1" fmla="*/ 163077 h 345177"/>
                  <a:gd name="connsiteX2" fmla="*/ 187693 w 198470"/>
                  <a:gd name="connsiteY2" fmla="*/ 344616 h 345177"/>
                  <a:gd name="connsiteX3" fmla="*/ 163077 w 198470"/>
                  <a:gd name="connsiteY3" fmla="*/ 67693 h 345177"/>
                  <a:gd name="connsiteX4" fmla="*/ 49231 w 198470"/>
                  <a:gd name="connsiteY4" fmla="*/ 0 h 345177"/>
                  <a:gd name="connsiteX5" fmla="*/ 0 w 198470"/>
                  <a:gd name="connsiteY5" fmla="*/ 98462 h 345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8470" h="345177">
                    <a:moveTo>
                      <a:pt x="0" y="98462"/>
                    </a:moveTo>
                    <a:lnTo>
                      <a:pt x="92308" y="163077"/>
                    </a:lnTo>
                    <a:cubicBezTo>
                      <a:pt x="92308" y="163077"/>
                      <a:pt x="163077" y="356923"/>
                      <a:pt x="187693" y="344616"/>
                    </a:cubicBezTo>
                    <a:cubicBezTo>
                      <a:pt x="212308" y="332308"/>
                      <a:pt x="190769" y="80000"/>
                      <a:pt x="163077" y="67693"/>
                    </a:cubicBezTo>
                    <a:cubicBezTo>
                      <a:pt x="116923" y="43077"/>
                      <a:pt x="49231" y="0"/>
                      <a:pt x="49231" y="0"/>
                    </a:cubicBezTo>
                    <a:lnTo>
                      <a:pt x="0" y="98462"/>
                    </a:ln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DA8CFF2C-6DD7-453A-91C7-242B0D61975B}"/>
                </a:ext>
              </a:extLst>
            </p:cNvPr>
            <p:cNvSpPr/>
            <p:nvPr/>
          </p:nvSpPr>
          <p:spPr>
            <a:xfrm>
              <a:off x="1165564" y="6260795"/>
              <a:ext cx="1407357" cy="2510769"/>
            </a:xfrm>
            <a:custGeom>
              <a:avLst/>
              <a:gdLst>
                <a:gd name="connsiteX0" fmla="*/ 795050 w 1407357"/>
                <a:gd name="connsiteY0" fmla="*/ 0 h 2510769"/>
                <a:gd name="connsiteX1" fmla="*/ 121204 w 1407357"/>
                <a:gd name="connsiteY1" fmla="*/ 0 h 2510769"/>
                <a:gd name="connsiteX2" fmla="*/ 1204 w 1407357"/>
                <a:gd name="connsiteY2" fmla="*/ 464616 h 2510769"/>
                <a:gd name="connsiteX3" fmla="*/ 182742 w 1407357"/>
                <a:gd name="connsiteY3" fmla="*/ 2507692 h 2510769"/>
                <a:gd name="connsiteX4" fmla="*/ 358127 w 1407357"/>
                <a:gd name="connsiteY4" fmla="*/ 2510770 h 2510769"/>
                <a:gd name="connsiteX5" fmla="*/ 465819 w 1407357"/>
                <a:gd name="connsiteY5" fmla="*/ 818462 h 2510769"/>
                <a:gd name="connsiteX6" fmla="*/ 555050 w 1407357"/>
                <a:gd name="connsiteY6" fmla="*/ 1744616 h 2510769"/>
                <a:gd name="connsiteX7" fmla="*/ 579666 w 1407357"/>
                <a:gd name="connsiteY7" fmla="*/ 1787693 h 2510769"/>
                <a:gd name="connsiteX8" fmla="*/ 1299665 w 1407357"/>
                <a:gd name="connsiteY8" fmla="*/ 2270769 h 2510769"/>
                <a:gd name="connsiteX9" fmla="*/ 1407358 w 1407357"/>
                <a:gd name="connsiteY9" fmla="*/ 2080000 h 2510769"/>
                <a:gd name="connsiteX10" fmla="*/ 893511 w 1407357"/>
                <a:gd name="connsiteY10" fmla="*/ 1670769 h 2510769"/>
                <a:gd name="connsiteX11" fmla="*/ 930435 w 1407357"/>
                <a:gd name="connsiteY11" fmla="*/ 418462 h 2510769"/>
                <a:gd name="connsiteX12" fmla="*/ 795050 w 1407357"/>
                <a:gd name="connsiteY12" fmla="*/ 0 h 251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07357" h="2510769">
                  <a:moveTo>
                    <a:pt x="795050" y="0"/>
                  </a:moveTo>
                  <a:lnTo>
                    <a:pt x="121204" y="0"/>
                  </a:lnTo>
                  <a:cubicBezTo>
                    <a:pt x="121204" y="0"/>
                    <a:pt x="22742" y="307692"/>
                    <a:pt x="1204" y="464616"/>
                  </a:cubicBezTo>
                  <a:cubicBezTo>
                    <a:pt x="-17258" y="618462"/>
                    <a:pt x="182742" y="2507692"/>
                    <a:pt x="182742" y="2507692"/>
                  </a:cubicBezTo>
                  <a:lnTo>
                    <a:pt x="358127" y="2510770"/>
                  </a:lnTo>
                  <a:lnTo>
                    <a:pt x="465819" y="818462"/>
                  </a:lnTo>
                  <a:cubicBezTo>
                    <a:pt x="465819" y="818462"/>
                    <a:pt x="536588" y="1587693"/>
                    <a:pt x="555050" y="1744616"/>
                  </a:cubicBezTo>
                  <a:cubicBezTo>
                    <a:pt x="558127" y="1763077"/>
                    <a:pt x="567358" y="1778461"/>
                    <a:pt x="579666" y="1787693"/>
                  </a:cubicBezTo>
                  <a:lnTo>
                    <a:pt x="1299665" y="2270769"/>
                  </a:lnTo>
                  <a:lnTo>
                    <a:pt x="1407358" y="2080000"/>
                  </a:lnTo>
                  <a:lnTo>
                    <a:pt x="893511" y="1670769"/>
                  </a:lnTo>
                  <a:cubicBezTo>
                    <a:pt x="893511" y="1670769"/>
                    <a:pt x="924280" y="483077"/>
                    <a:pt x="930435" y="418462"/>
                  </a:cubicBezTo>
                  <a:cubicBezTo>
                    <a:pt x="939665" y="298462"/>
                    <a:pt x="795050" y="0"/>
                    <a:pt x="795050" y="0"/>
                  </a:cubicBezTo>
                  <a:close/>
                </a:path>
              </a:pathLst>
            </a:custGeom>
            <a:solidFill>
              <a:srgbClr val="7F95BC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57CE2B68-091A-465B-9626-9B807B56D5D6}"/>
                </a:ext>
              </a:extLst>
            </p:cNvPr>
            <p:cNvSpPr/>
            <p:nvPr/>
          </p:nvSpPr>
          <p:spPr>
            <a:xfrm>
              <a:off x="1582152" y="6651565"/>
              <a:ext cx="132307" cy="1227692"/>
            </a:xfrm>
            <a:custGeom>
              <a:avLst/>
              <a:gdLst>
                <a:gd name="connsiteX0" fmla="*/ 126154 w 132307"/>
                <a:gd name="connsiteY0" fmla="*/ 1227692 h 1227692"/>
                <a:gd name="connsiteX1" fmla="*/ 120000 w 132307"/>
                <a:gd name="connsiteY1" fmla="*/ 1224615 h 1227692"/>
                <a:gd name="connsiteX2" fmla="*/ 43077 w 132307"/>
                <a:gd name="connsiteY2" fmla="*/ 427692 h 1227692"/>
                <a:gd name="connsiteX3" fmla="*/ 0 w 132307"/>
                <a:gd name="connsiteY3" fmla="*/ 6153 h 1227692"/>
                <a:gd name="connsiteX4" fmla="*/ 6154 w 132307"/>
                <a:gd name="connsiteY4" fmla="*/ 0 h 1227692"/>
                <a:gd name="connsiteX5" fmla="*/ 12308 w 132307"/>
                <a:gd name="connsiteY5" fmla="*/ 6153 h 1227692"/>
                <a:gd name="connsiteX6" fmla="*/ 55385 w 132307"/>
                <a:gd name="connsiteY6" fmla="*/ 427692 h 1227692"/>
                <a:gd name="connsiteX7" fmla="*/ 132308 w 132307"/>
                <a:gd name="connsiteY7" fmla="*/ 1221538 h 1227692"/>
                <a:gd name="connsiteX8" fmla="*/ 126154 w 132307"/>
                <a:gd name="connsiteY8" fmla="*/ 1227692 h 1227692"/>
                <a:gd name="connsiteX9" fmla="*/ 126154 w 132307"/>
                <a:gd name="connsiteY9" fmla="*/ 1227692 h 122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2307" h="1227692">
                  <a:moveTo>
                    <a:pt x="126154" y="1227692"/>
                  </a:moveTo>
                  <a:cubicBezTo>
                    <a:pt x="123077" y="1227692"/>
                    <a:pt x="123077" y="1227692"/>
                    <a:pt x="120000" y="1224615"/>
                  </a:cubicBezTo>
                  <a:cubicBezTo>
                    <a:pt x="113846" y="1206153"/>
                    <a:pt x="49230" y="507692"/>
                    <a:pt x="43077" y="427692"/>
                  </a:cubicBezTo>
                  <a:lnTo>
                    <a:pt x="0" y="6153"/>
                  </a:lnTo>
                  <a:cubicBezTo>
                    <a:pt x="0" y="3076"/>
                    <a:pt x="3077" y="0"/>
                    <a:pt x="6154" y="0"/>
                  </a:cubicBezTo>
                  <a:cubicBezTo>
                    <a:pt x="9231" y="0"/>
                    <a:pt x="12308" y="3076"/>
                    <a:pt x="12308" y="6153"/>
                  </a:cubicBezTo>
                  <a:lnTo>
                    <a:pt x="55385" y="427692"/>
                  </a:lnTo>
                  <a:cubicBezTo>
                    <a:pt x="73846" y="643077"/>
                    <a:pt x="126154" y="1203076"/>
                    <a:pt x="132308" y="1221538"/>
                  </a:cubicBezTo>
                  <a:cubicBezTo>
                    <a:pt x="132308" y="1224615"/>
                    <a:pt x="132308" y="1227692"/>
                    <a:pt x="126154" y="1227692"/>
                  </a:cubicBezTo>
                  <a:cubicBezTo>
                    <a:pt x="129231" y="1227692"/>
                    <a:pt x="126154" y="1227692"/>
                    <a:pt x="126154" y="1227692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1201F838-E3E6-4FEB-A864-87EE2232A084}"/>
                </a:ext>
              </a:extLst>
            </p:cNvPr>
            <p:cNvSpPr/>
            <p:nvPr/>
          </p:nvSpPr>
          <p:spPr>
            <a:xfrm>
              <a:off x="1950016" y="7925411"/>
              <a:ext cx="115213" cy="39999"/>
            </a:xfrm>
            <a:custGeom>
              <a:avLst/>
              <a:gdLst>
                <a:gd name="connsiteX0" fmla="*/ 4444 w 115213"/>
                <a:gd name="connsiteY0" fmla="*/ 40000 h 39999"/>
                <a:gd name="connsiteX1" fmla="*/ 1367 w 115213"/>
                <a:gd name="connsiteY1" fmla="*/ 36923 h 39999"/>
                <a:gd name="connsiteX2" fmla="*/ 1367 w 115213"/>
                <a:gd name="connsiteY2" fmla="*/ 27692 h 39999"/>
                <a:gd name="connsiteX3" fmla="*/ 109060 w 115213"/>
                <a:gd name="connsiteY3" fmla="*/ 0 h 39999"/>
                <a:gd name="connsiteX4" fmla="*/ 115214 w 115213"/>
                <a:gd name="connsiteY4" fmla="*/ 6153 h 39999"/>
                <a:gd name="connsiteX5" fmla="*/ 109060 w 115213"/>
                <a:gd name="connsiteY5" fmla="*/ 12308 h 39999"/>
                <a:gd name="connsiteX6" fmla="*/ 7521 w 115213"/>
                <a:gd name="connsiteY6" fmla="*/ 36923 h 39999"/>
                <a:gd name="connsiteX7" fmla="*/ 4444 w 115213"/>
                <a:gd name="connsiteY7" fmla="*/ 40000 h 3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213" h="39999">
                  <a:moveTo>
                    <a:pt x="4444" y="40000"/>
                  </a:moveTo>
                  <a:cubicBezTo>
                    <a:pt x="1367" y="40000"/>
                    <a:pt x="1367" y="40000"/>
                    <a:pt x="1367" y="36923"/>
                  </a:cubicBezTo>
                  <a:cubicBezTo>
                    <a:pt x="-1709" y="33846"/>
                    <a:pt x="1367" y="30769"/>
                    <a:pt x="1367" y="27692"/>
                  </a:cubicBezTo>
                  <a:cubicBezTo>
                    <a:pt x="32136" y="6153"/>
                    <a:pt x="105983" y="0"/>
                    <a:pt x="109060" y="0"/>
                  </a:cubicBezTo>
                  <a:cubicBezTo>
                    <a:pt x="112137" y="0"/>
                    <a:pt x="115214" y="3077"/>
                    <a:pt x="115214" y="6153"/>
                  </a:cubicBezTo>
                  <a:cubicBezTo>
                    <a:pt x="115214" y="9230"/>
                    <a:pt x="112137" y="12308"/>
                    <a:pt x="109060" y="12308"/>
                  </a:cubicBezTo>
                  <a:cubicBezTo>
                    <a:pt x="109060" y="12308"/>
                    <a:pt x="35214" y="18462"/>
                    <a:pt x="7521" y="36923"/>
                  </a:cubicBezTo>
                  <a:cubicBezTo>
                    <a:pt x="7521" y="40000"/>
                    <a:pt x="4444" y="40000"/>
                    <a:pt x="4444" y="40000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BB01C2BC-D256-4559-83D6-30C76B03B1CF}"/>
                </a:ext>
              </a:extLst>
            </p:cNvPr>
            <p:cNvSpPr/>
            <p:nvPr/>
          </p:nvSpPr>
          <p:spPr>
            <a:xfrm>
              <a:off x="1087308" y="4619432"/>
              <a:ext cx="569026" cy="761487"/>
            </a:xfrm>
            <a:custGeom>
              <a:avLst/>
              <a:gdLst>
                <a:gd name="connsiteX0" fmla="*/ 479460 w 569026"/>
                <a:gd name="connsiteY0" fmla="*/ 469055 h 761487"/>
                <a:gd name="connsiteX1" fmla="*/ 479460 w 569026"/>
                <a:gd name="connsiteY1" fmla="*/ 305979 h 761487"/>
                <a:gd name="connsiteX2" fmla="*/ 528690 w 569026"/>
                <a:gd name="connsiteY2" fmla="*/ 161363 h 761487"/>
                <a:gd name="connsiteX3" fmla="*/ 568690 w 569026"/>
                <a:gd name="connsiteY3" fmla="*/ 10594 h 761487"/>
                <a:gd name="connsiteX4" fmla="*/ 248691 w 569026"/>
                <a:gd name="connsiteY4" fmla="*/ 179825 h 761487"/>
                <a:gd name="connsiteX5" fmla="*/ 245614 w 569026"/>
                <a:gd name="connsiteY5" fmla="*/ 238286 h 761487"/>
                <a:gd name="connsiteX6" fmla="*/ 196383 w 569026"/>
                <a:gd name="connsiteY6" fmla="*/ 293671 h 761487"/>
                <a:gd name="connsiteX7" fmla="*/ 140998 w 569026"/>
                <a:gd name="connsiteY7" fmla="*/ 361363 h 761487"/>
                <a:gd name="connsiteX8" fmla="*/ 137921 w 569026"/>
                <a:gd name="connsiteY8" fmla="*/ 450594 h 761487"/>
                <a:gd name="connsiteX9" fmla="*/ 113306 w 569026"/>
                <a:gd name="connsiteY9" fmla="*/ 524440 h 761487"/>
                <a:gd name="connsiteX10" fmla="*/ 57921 w 569026"/>
                <a:gd name="connsiteY10" fmla="*/ 558287 h 761487"/>
                <a:gd name="connsiteX11" fmla="*/ 17921 w 569026"/>
                <a:gd name="connsiteY11" fmla="*/ 681363 h 761487"/>
                <a:gd name="connsiteX12" fmla="*/ 224075 w 569026"/>
                <a:gd name="connsiteY12" fmla="*/ 715209 h 761487"/>
                <a:gd name="connsiteX13" fmla="*/ 297921 w 569026"/>
                <a:gd name="connsiteY13" fmla="*/ 758287 h 761487"/>
                <a:gd name="connsiteX14" fmla="*/ 393306 w 569026"/>
                <a:gd name="connsiteY14" fmla="*/ 752133 h 761487"/>
                <a:gd name="connsiteX15" fmla="*/ 491767 w 569026"/>
                <a:gd name="connsiteY15" fmla="*/ 595209 h 761487"/>
                <a:gd name="connsiteX16" fmla="*/ 479460 w 569026"/>
                <a:gd name="connsiteY16" fmla="*/ 469055 h 76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69026" h="761487">
                  <a:moveTo>
                    <a:pt x="479460" y="469055"/>
                  </a:moveTo>
                  <a:cubicBezTo>
                    <a:pt x="473306" y="416748"/>
                    <a:pt x="470229" y="361363"/>
                    <a:pt x="479460" y="305979"/>
                  </a:cubicBezTo>
                  <a:cubicBezTo>
                    <a:pt x="488691" y="253671"/>
                    <a:pt x="504075" y="207517"/>
                    <a:pt x="528690" y="161363"/>
                  </a:cubicBezTo>
                  <a:cubicBezTo>
                    <a:pt x="553306" y="112133"/>
                    <a:pt x="571768" y="10594"/>
                    <a:pt x="568690" y="10594"/>
                  </a:cubicBezTo>
                  <a:cubicBezTo>
                    <a:pt x="454844" y="-29406"/>
                    <a:pt x="248691" y="47517"/>
                    <a:pt x="248691" y="179825"/>
                  </a:cubicBezTo>
                  <a:cubicBezTo>
                    <a:pt x="248691" y="198287"/>
                    <a:pt x="251767" y="219825"/>
                    <a:pt x="245614" y="238286"/>
                  </a:cubicBezTo>
                  <a:cubicBezTo>
                    <a:pt x="239460" y="269055"/>
                    <a:pt x="217921" y="278286"/>
                    <a:pt x="196383" y="293671"/>
                  </a:cubicBezTo>
                  <a:cubicBezTo>
                    <a:pt x="171768" y="309056"/>
                    <a:pt x="150229" y="330594"/>
                    <a:pt x="140998" y="361363"/>
                  </a:cubicBezTo>
                  <a:cubicBezTo>
                    <a:pt x="128690" y="392132"/>
                    <a:pt x="134845" y="419825"/>
                    <a:pt x="137921" y="450594"/>
                  </a:cubicBezTo>
                  <a:cubicBezTo>
                    <a:pt x="144075" y="484440"/>
                    <a:pt x="140998" y="505979"/>
                    <a:pt x="113306" y="524440"/>
                  </a:cubicBezTo>
                  <a:cubicBezTo>
                    <a:pt x="94844" y="536748"/>
                    <a:pt x="76383" y="545979"/>
                    <a:pt x="57921" y="558287"/>
                  </a:cubicBezTo>
                  <a:cubicBezTo>
                    <a:pt x="17921" y="582902"/>
                    <a:pt x="-25156" y="638286"/>
                    <a:pt x="17921" y="681363"/>
                  </a:cubicBezTo>
                  <a:cubicBezTo>
                    <a:pt x="73306" y="739825"/>
                    <a:pt x="162537" y="675210"/>
                    <a:pt x="224075" y="715209"/>
                  </a:cubicBezTo>
                  <a:cubicBezTo>
                    <a:pt x="248691" y="730594"/>
                    <a:pt x="267152" y="752133"/>
                    <a:pt x="297921" y="758287"/>
                  </a:cubicBezTo>
                  <a:cubicBezTo>
                    <a:pt x="325614" y="764440"/>
                    <a:pt x="365614" y="761363"/>
                    <a:pt x="393306" y="752133"/>
                  </a:cubicBezTo>
                  <a:cubicBezTo>
                    <a:pt x="448691" y="733671"/>
                    <a:pt x="482537" y="647517"/>
                    <a:pt x="491767" y="595209"/>
                  </a:cubicBezTo>
                  <a:cubicBezTo>
                    <a:pt x="494845" y="555209"/>
                    <a:pt x="485614" y="512133"/>
                    <a:pt x="479460" y="469055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B00BB5D6-BCB7-46B1-AEE3-49DF5D15EC14}"/>
                </a:ext>
              </a:extLst>
            </p:cNvPr>
            <p:cNvSpPr/>
            <p:nvPr/>
          </p:nvSpPr>
          <p:spPr>
            <a:xfrm>
              <a:off x="1631860" y="4940671"/>
              <a:ext cx="280142" cy="448332"/>
            </a:xfrm>
            <a:custGeom>
              <a:avLst/>
              <a:gdLst>
                <a:gd name="connsiteX0" fmla="*/ 270292 w 280142"/>
                <a:gd name="connsiteY0" fmla="*/ 350894 h 448332"/>
                <a:gd name="connsiteX1" fmla="*/ 217984 w 280142"/>
                <a:gd name="connsiteY1" fmla="*/ 292433 h 448332"/>
                <a:gd name="connsiteX2" fmla="*/ 227215 w 280142"/>
                <a:gd name="connsiteY2" fmla="*/ 197048 h 448332"/>
                <a:gd name="connsiteX3" fmla="*/ 193369 w 280142"/>
                <a:gd name="connsiteY3" fmla="*/ 21663 h 448332"/>
                <a:gd name="connsiteX4" fmla="*/ 196446 w 280142"/>
                <a:gd name="connsiteY4" fmla="*/ 9355 h 448332"/>
                <a:gd name="connsiteX5" fmla="*/ 184138 w 280142"/>
                <a:gd name="connsiteY5" fmla="*/ 3201 h 448332"/>
                <a:gd name="connsiteX6" fmla="*/ 174908 w 280142"/>
                <a:gd name="connsiteY6" fmla="*/ 12432 h 448332"/>
                <a:gd name="connsiteX7" fmla="*/ 177984 w 280142"/>
                <a:gd name="connsiteY7" fmla="*/ 24740 h 448332"/>
                <a:gd name="connsiteX8" fmla="*/ 125677 w 280142"/>
                <a:gd name="connsiteY8" fmla="*/ 92433 h 448332"/>
                <a:gd name="connsiteX9" fmla="*/ 85677 w 280142"/>
                <a:gd name="connsiteY9" fmla="*/ 163201 h 448332"/>
                <a:gd name="connsiteX10" fmla="*/ 5677 w 280142"/>
                <a:gd name="connsiteY10" fmla="*/ 320125 h 448332"/>
                <a:gd name="connsiteX11" fmla="*/ 122600 w 280142"/>
                <a:gd name="connsiteY11" fmla="*/ 443202 h 448332"/>
                <a:gd name="connsiteX12" fmla="*/ 221062 w 280142"/>
                <a:gd name="connsiteY12" fmla="*/ 446279 h 448332"/>
                <a:gd name="connsiteX13" fmla="*/ 264138 w 280142"/>
                <a:gd name="connsiteY13" fmla="*/ 427817 h 448332"/>
                <a:gd name="connsiteX14" fmla="*/ 270292 w 280142"/>
                <a:gd name="connsiteY14" fmla="*/ 350894 h 448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0142" h="448332">
                  <a:moveTo>
                    <a:pt x="270292" y="350894"/>
                  </a:moveTo>
                  <a:cubicBezTo>
                    <a:pt x="257984" y="329356"/>
                    <a:pt x="230292" y="317048"/>
                    <a:pt x="217984" y="292433"/>
                  </a:cubicBezTo>
                  <a:cubicBezTo>
                    <a:pt x="205677" y="261663"/>
                    <a:pt x="227215" y="227817"/>
                    <a:pt x="227215" y="197048"/>
                  </a:cubicBezTo>
                  <a:cubicBezTo>
                    <a:pt x="233369" y="141663"/>
                    <a:pt x="208754" y="77048"/>
                    <a:pt x="193369" y="21663"/>
                  </a:cubicBezTo>
                  <a:cubicBezTo>
                    <a:pt x="193369" y="18586"/>
                    <a:pt x="196446" y="12432"/>
                    <a:pt x="196446" y="9355"/>
                  </a:cubicBezTo>
                  <a:cubicBezTo>
                    <a:pt x="196446" y="125"/>
                    <a:pt x="187215" y="-2952"/>
                    <a:pt x="184138" y="3201"/>
                  </a:cubicBezTo>
                  <a:cubicBezTo>
                    <a:pt x="177984" y="3201"/>
                    <a:pt x="171831" y="6279"/>
                    <a:pt x="174908" y="12432"/>
                  </a:cubicBezTo>
                  <a:cubicBezTo>
                    <a:pt x="174908" y="15509"/>
                    <a:pt x="177984" y="18586"/>
                    <a:pt x="177984" y="24740"/>
                  </a:cubicBezTo>
                  <a:cubicBezTo>
                    <a:pt x="168753" y="52432"/>
                    <a:pt x="144138" y="70894"/>
                    <a:pt x="125677" y="92433"/>
                  </a:cubicBezTo>
                  <a:cubicBezTo>
                    <a:pt x="107215" y="113971"/>
                    <a:pt x="97985" y="138586"/>
                    <a:pt x="85677" y="163201"/>
                  </a:cubicBezTo>
                  <a:cubicBezTo>
                    <a:pt x="61061" y="215509"/>
                    <a:pt x="21061" y="264740"/>
                    <a:pt x="5677" y="320125"/>
                  </a:cubicBezTo>
                  <a:cubicBezTo>
                    <a:pt x="-18939" y="400125"/>
                    <a:pt x="39523" y="467817"/>
                    <a:pt x="122600" y="443202"/>
                  </a:cubicBezTo>
                  <a:cubicBezTo>
                    <a:pt x="162600" y="430894"/>
                    <a:pt x="184138" y="446279"/>
                    <a:pt x="221062" y="446279"/>
                  </a:cubicBezTo>
                  <a:cubicBezTo>
                    <a:pt x="236446" y="446279"/>
                    <a:pt x="251831" y="440124"/>
                    <a:pt x="264138" y="427817"/>
                  </a:cubicBezTo>
                  <a:cubicBezTo>
                    <a:pt x="282600" y="406279"/>
                    <a:pt x="285677" y="375509"/>
                    <a:pt x="270292" y="350894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C68EA9A4-42F4-4BF7-8BDF-126229C72740}"/>
                </a:ext>
              </a:extLst>
            </p:cNvPr>
            <p:cNvSpPr/>
            <p:nvPr/>
          </p:nvSpPr>
          <p:spPr>
            <a:xfrm>
              <a:off x="496908" y="5578224"/>
              <a:ext cx="837683" cy="682065"/>
            </a:xfrm>
            <a:custGeom>
              <a:avLst/>
              <a:gdLst>
                <a:gd name="connsiteX0" fmla="*/ 657552 w 837683"/>
                <a:gd name="connsiteY0" fmla="*/ 36418 h 682065"/>
                <a:gd name="connsiteX1" fmla="*/ 436014 w 837683"/>
                <a:gd name="connsiteY1" fmla="*/ 501033 h 682065"/>
                <a:gd name="connsiteX2" fmla="*/ 14475 w 837683"/>
                <a:gd name="connsiteY2" fmla="*/ 519495 h 682065"/>
                <a:gd name="connsiteX3" fmla="*/ 29860 w 837683"/>
                <a:gd name="connsiteY3" fmla="*/ 621033 h 682065"/>
                <a:gd name="connsiteX4" fmla="*/ 562168 w 837683"/>
                <a:gd name="connsiteY4" fmla="*/ 657957 h 682065"/>
                <a:gd name="connsiteX5" fmla="*/ 836014 w 837683"/>
                <a:gd name="connsiteY5" fmla="*/ 181033 h 682065"/>
                <a:gd name="connsiteX6" fmla="*/ 657552 w 837683"/>
                <a:gd name="connsiteY6" fmla="*/ 36418 h 682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7683" h="682065">
                  <a:moveTo>
                    <a:pt x="657552" y="36418"/>
                  </a:moveTo>
                  <a:cubicBezTo>
                    <a:pt x="586783" y="94879"/>
                    <a:pt x="436014" y="501033"/>
                    <a:pt x="436014" y="501033"/>
                  </a:cubicBezTo>
                  <a:cubicBezTo>
                    <a:pt x="436014" y="501033"/>
                    <a:pt x="17552" y="513341"/>
                    <a:pt x="14475" y="519495"/>
                  </a:cubicBezTo>
                  <a:cubicBezTo>
                    <a:pt x="-16294" y="584110"/>
                    <a:pt x="8322" y="556418"/>
                    <a:pt x="29860" y="621033"/>
                  </a:cubicBezTo>
                  <a:cubicBezTo>
                    <a:pt x="32937" y="630264"/>
                    <a:pt x="346783" y="725648"/>
                    <a:pt x="562168" y="657957"/>
                  </a:cubicBezTo>
                  <a:cubicBezTo>
                    <a:pt x="626783" y="636418"/>
                    <a:pt x="817553" y="350264"/>
                    <a:pt x="836014" y="181033"/>
                  </a:cubicBezTo>
                  <a:cubicBezTo>
                    <a:pt x="848322" y="94879"/>
                    <a:pt x="792937" y="-74352"/>
                    <a:pt x="657552" y="36418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ED6506AC-2AB8-4CEE-9FEF-69FF37331A2E}"/>
                </a:ext>
              </a:extLst>
            </p:cNvPr>
            <p:cNvSpPr/>
            <p:nvPr/>
          </p:nvSpPr>
          <p:spPr>
            <a:xfrm>
              <a:off x="303265" y="6042697"/>
              <a:ext cx="239700" cy="173129"/>
            </a:xfrm>
            <a:custGeom>
              <a:avLst/>
              <a:gdLst>
                <a:gd name="connsiteX0" fmla="*/ 91195 w 239700"/>
                <a:gd name="connsiteY0" fmla="*/ 168867 h 173129"/>
                <a:gd name="connsiteX1" fmla="*/ 223502 w 239700"/>
                <a:gd name="connsiteY1" fmla="*/ 156560 h 173129"/>
                <a:gd name="connsiteX2" fmla="*/ 238887 w 239700"/>
                <a:gd name="connsiteY2" fmla="*/ 55021 h 173129"/>
                <a:gd name="connsiteX3" fmla="*/ 8118 w 239700"/>
                <a:gd name="connsiteY3" fmla="*/ 5791 h 173129"/>
                <a:gd name="connsiteX4" fmla="*/ 8118 w 239700"/>
                <a:gd name="connsiteY4" fmla="*/ 48867 h 173129"/>
                <a:gd name="connsiteX5" fmla="*/ 1964 w 239700"/>
                <a:gd name="connsiteY5" fmla="*/ 98098 h 173129"/>
                <a:gd name="connsiteX6" fmla="*/ 20425 w 239700"/>
                <a:gd name="connsiteY6" fmla="*/ 125791 h 173129"/>
                <a:gd name="connsiteX7" fmla="*/ 54272 w 239700"/>
                <a:gd name="connsiteY7" fmla="*/ 159637 h 173129"/>
                <a:gd name="connsiteX8" fmla="*/ 91195 w 239700"/>
                <a:gd name="connsiteY8" fmla="*/ 168867 h 173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9700" h="173129">
                  <a:moveTo>
                    <a:pt x="91195" y="168867"/>
                  </a:moveTo>
                  <a:cubicBezTo>
                    <a:pt x="128118" y="168867"/>
                    <a:pt x="192733" y="184252"/>
                    <a:pt x="223502" y="156560"/>
                  </a:cubicBezTo>
                  <a:cubicBezTo>
                    <a:pt x="245041" y="138098"/>
                    <a:pt x="238887" y="55021"/>
                    <a:pt x="238887" y="55021"/>
                  </a:cubicBezTo>
                  <a:cubicBezTo>
                    <a:pt x="214271" y="-15748"/>
                    <a:pt x="63502" y="-363"/>
                    <a:pt x="8118" y="5791"/>
                  </a:cubicBezTo>
                  <a:cubicBezTo>
                    <a:pt x="-1113" y="5791"/>
                    <a:pt x="-4190" y="45790"/>
                    <a:pt x="8118" y="48867"/>
                  </a:cubicBezTo>
                  <a:cubicBezTo>
                    <a:pt x="26579" y="51945"/>
                    <a:pt x="-1113" y="85790"/>
                    <a:pt x="1964" y="98098"/>
                  </a:cubicBezTo>
                  <a:cubicBezTo>
                    <a:pt x="5041" y="107329"/>
                    <a:pt x="20425" y="122713"/>
                    <a:pt x="20425" y="125791"/>
                  </a:cubicBezTo>
                  <a:cubicBezTo>
                    <a:pt x="29656" y="138098"/>
                    <a:pt x="51194" y="150406"/>
                    <a:pt x="54272" y="159637"/>
                  </a:cubicBezTo>
                  <a:cubicBezTo>
                    <a:pt x="60425" y="168867"/>
                    <a:pt x="66579" y="168867"/>
                    <a:pt x="91195" y="168867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31A7B888-65A6-4D0A-AFE5-9DFFAE48417D}"/>
                </a:ext>
              </a:extLst>
            </p:cNvPr>
            <p:cNvSpPr/>
            <p:nvPr/>
          </p:nvSpPr>
          <p:spPr>
            <a:xfrm>
              <a:off x="365111" y="6057307"/>
              <a:ext cx="132412" cy="84735"/>
            </a:xfrm>
            <a:custGeom>
              <a:avLst/>
              <a:gdLst>
                <a:gd name="connsiteX0" fmla="*/ 7810 w 132412"/>
                <a:gd name="connsiteY0" fmla="*/ 83488 h 84735"/>
                <a:gd name="connsiteX1" fmla="*/ 29349 w 132412"/>
                <a:gd name="connsiteY1" fmla="*/ 68104 h 84735"/>
                <a:gd name="connsiteX2" fmla="*/ 81656 w 132412"/>
                <a:gd name="connsiteY2" fmla="*/ 52719 h 84735"/>
                <a:gd name="connsiteX3" fmla="*/ 130887 w 132412"/>
                <a:gd name="connsiteY3" fmla="*/ 77334 h 84735"/>
                <a:gd name="connsiteX4" fmla="*/ 115503 w 132412"/>
                <a:gd name="connsiteY4" fmla="*/ 9642 h 84735"/>
                <a:gd name="connsiteX5" fmla="*/ 20118 w 132412"/>
                <a:gd name="connsiteY5" fmla="*/ 15795 h 84735"/>
                <a:gd name="connsiteX6" fmla="*/ 7810 w 132412"/>
                <a:gd name="connsiteY6" fmla="*/ 83488 h 8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412" h="84735">
                  <a:moveTo>
                    <a:pt x="7810" y="83488"/>
                  </a:moveTo>
                  <a:cubicBezTo>
                    <a:pt x="17041" y="89642"/>
                    <a:pt x="23195" y="71180"/>
                    <a:pt x="29349" y="68104"/>
                  </a:cubicBezTo>
                  <a:cubicBezTo>
                    <a:pt x="44733" y="55796"/>
                    <a:pt x="60118" y="46565"/>
                    <a:pt x="81656" y="52719"/>
                  </a:cubicBezTo>
                  <a:cubicBezTo>
                    <a:pt x="93964" y="55796"/>
                    <a:pt x="118580" y="71180"/>
                    <a:pt x="130887" y="77334"/>
                  </a:cubicBezTo>
                  <a:cubicBezTo>
                    <a:pt x="133964" y="80411"/>
                    <a:pt x="133964" y="18873"/>
                    <a:pt x="115503" y="9642"/>
                  </a:cubicBezTo>
                  <a:cubicBezTo>
                    <a:pt x="90887" y="-2666"/>
                    <a:pt x="41657" y="-5743"/>
                    <a:pt x="20118" y="15795"/>
                  </a:cubicBezTo>
                  <a:cubicBezTo>
                    <a:pt x="7810" y="21950"/>
                    <a:pt x="-10651" y="71180"/>
                    <a:pt x="7810" y="83488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F5B97CDE-4AB7-4F8E-8335-EB87C8690CF4}"/>
                </a:ext>
              </a:extLst>
            </p:cNvPr>
            <p:cNvSpPr/>
            <p:nvPr/>
          </p:nvSpPr>
          <p:spPr>
            <a:xfrm>
              <a:off x="355275" y="6046198"/>
              <a:ext cx="129690" cy="103827"/>
            </a:xfrm>
            <a:custGeom>
              <a:avLst/>
              <a:gdLst>
                <a:gd name="connsiteX0" fmla="*/ 113031 w 129690"/>
                <a:gd name="connsiteY0" fmla="*/ 103828 h 103827"/>
                <a:gd name="connsiteX1" fmla="*/ 113031 w 129690"/>
                <a:gd name="connsiteY1" fmla="*/ 103828 h 103827"/>
                <a:gd name="connsiteX2" fmla="*/ 85339 w 129690"/>
                <a:gd name="connsiteY2" fmla="*/ 66905 h 103827"/>
                <a:gd name="connsiteX3" fmla="*/ 39185 w 129690"/>
                <a:gd name="connsiteY3" fmla="*/ 88443 h 103827"/>
                <a:gd name="connsiteX4" fmla="*/ 14569 w 129690"/>
                <a:gd name="connsiteY4" fmla="*/ 100751 h 103827"/>
                <a:gd name="connsiteX5" fmla="*/ 2262 w 129690"/>
                <a:gd name="connsiteY5" fmla="*/ 88443 h 103827"/>
                <a:gd name="connsiteX6" fmla="*/ 23800 w 129690"/>
                <a:gd name="connsiteY6" fmla="*/ 17674 h 103827"/>
                <a:gd name="connsiteX7" fmla="*/ 125339 w 129690"/>
                <a:gd name="connsiteY7" fmla="*/ 11520 h 103827"/>
                <a:gd name="connsiteX8" fmla="*/ 128416 w 129690"/>
                <a:gd name="connsiteY8" fmla="*/ 17674 h 103827"/>
                <a:gd name="connsiteX9" fmla="*/ 122262 w 129690"/>
                <a:gd name="connsiteY9" fmla="*/ 20751 h 103827"/>
                <a:gd name="connsiteX10" fmla="*/ 33031 w 129690"/>
                <a:gd name="connsiteY10" fmla="*/ 23828 h 103827"/>
                <a:gd name="connsiteX11" fmla="*/ 14569 w 129690"/>
                <a:gd name="connsiteY11" fmla="*/ 82290 h 103827"/>
                <a:gd name="connsiteX12" fmla="*/ 17646 w 129690"/>
                <a:gd name="connsiteY12" fmla="*/ 85367 h 103827"/>
                <a:gd name="connsiteX13" fmla="*/ 33031 w 129690"/>
                <a:gd name="connsiteY13" fmla="*/ 76136 h 103827"/>
                <a:gd name="connsiteX14" fmla="*/ 94569 w 129690"/>
                <a:gd name="connsiteY14" fmla="*/ 54597 h 103827"/>
                <a:gd name="connsiteX15" fmla="*/ 97647 w 129690"/>
                <a:gd name="connsiteY15" fmla="*/ 57674 h 103827"/>
                <a:gd name="connsiteX16" fmla="*/ 116108 w 129690"/>
                <a:gd name="connsiteY16" fmla="*/ 88443 h 103827"/>
                <a:gd name="connsiteX17" fmla="*/ 119185 w 129690"/>
                <a:gd name="connsiteY17" fmla="*/ 97674 h 103827"/>
                <a:gd name="connsiteX18" fmla="*/ 113031 w 129690"/>
                <a:gd name="connsiteY18" fmla="*/ 103828 h 103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9690" h="103827">
                  <a:moveTo>
                    <a:pt x="113031" y="103828"/>
                  </a:moveTo>
                  <a:cubicBezTo>
                    <a:pt x="113031" y="103828"/>
                    <a:pt x="113031" y="103828"/>
                    <a:pt x="113031" y="103828"/>
                  </a:cubicBezTo>
                  <a:cubicBezTo>
                    <a:pt x="94569" y="94597"/>
                    <a:pt x="88416" y="76136"/>
                    <a:pt x="85339" y="66905"/>
                  </a:cubicBezTo>
                  <a:cubicBezTo>
                    <a:pt x="63800" y="63828"/>
                    <a:pt x="51493" y="76136"/>
                    <a:pt x="39185" y="88443"/>
                  </a:cubicBezTo>
                  <a:cubicBezTo>
                    <a:pt x="29954" y="97674"/>
                    <a:pt x="23800" y="103828"/>
                    <a:pt x="14569" y="100751"/>
                  </a:cubicBezTo>
                  <a:cubicBezTo>
                    <a:pt x="8415" y="100751"/>
                    <a:pt x="5339" y="94597"/>
                    <a:pt x="2262" y="88443"/>
                  </a:cubicBezTo>
                  <a:cubicBezTo>
                    <a:pt x="-3892" y="73059"/>
                    <a:pt x="2262" y="42289"/>
                    <a:pt x="23800" y="17674"/>
                  </a:cubicBezTo>
                  <a:cubicBezTo>
                    <a:pt x="51493" y="-16172"/>
                    <a:pt x="122262" y="8444"/>
                    <a:pt x="125339" y="11520"/>
                  </a:cubicBezTo>
                  <a:cubicBezTo>
                    <a:pt x="128416" y="11520"/>
                    <a:pt x="131492" y="14597"/>
                    <a:pt x="128416" y="17674"/>
                  </a:cubicBezTo>
                  <a:cubicBezTo>
                    <a:pt x="128416" y="20751"/>
                    <a:pt x="125339" y="23828"/>
                    <a:pt x="122262" y="20751"/>
                  </a:cubicBezTo>
                  <a:cubicBezTo>
                    <a:pt x="103800" y="14597"/>
                    <a:pt x="51493" y="2290"/>
                    <a:pt x="33031" y="23828"/>
                  </a:cubicBezTo>
                  <a:cubicBezTo>
                    <a:pt x="14569" y="45367"/>
                    <a:pt x="11493" y="73059"/>
                    <a:pt x="14569" y="82290"/>
                  </a:cubicBezTo>
                  <a:cubicBezTo>
                    <a:pt x="14569" y="85367"/>
                    <a:pt x="17646" y="85367"/>
                    <a:pt x="17646" y="85367"/>
                  </a:cubicBezTo>
                  <a:cubicBezTo>
                    <a:pt x="20723" y="85367"/>
                    <a:pt x="26877" y="79213"/>
                    <a:pt x="33031" y="76136"/>
                  </a:cubicBezTo>
                  <a:cubicBezTo>
                    <a:pt x="45338" y="63828"/>
                    <a:pt x="63800" y="48444"/>
                    <a:pt x="94569" y="54597"/>
                  </a:cubicBezTo>
                  <a:cubicBezTo>
                    <a:pt x="97647" y="54597"/>
                    <a:pt x="97647" y="57674"/>
                    <a:pt x="97647" y="57674"/>
                  </a:cubicBezTo>
                  <a:cubicBezTo>
                    <a:pt x="97647" y="63828"/>
                    <a:pt x="106877" y="85367"/>
                    <a:pt x="116108" y="88443"/>
                  </a:cubicBezTo>
                  <a:cubicBezTo>
                    <a:pt x="119185" y="88443"/>
                    <a:pt x="119185" y="94597"/>
                    <a:pt x="119185" y="97674"/>
                  </a:cubicBezTo>
                  <a:cubicBezTo>
                    <a:pt x="119185" y="103828"/>
                    <a:pt x="116108" y="103828"/>
                    <a:pt x="113031" y="103828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997EFC2F-E301-4AA9-9862-513E55B65CEE}"/>
                </a:ext>
              </a:extLst>
            </p:cNvPr>
            <p:cNvSpPr/>
            <p:nvPr/>
          </p:nvSpPr>
          <p:spPr>
            <a:xfrm>
              <a:off x="1025229" y="5369855"/>
              <a:ext cx="371286" cy="507855"/>
            </a:xfrm>
            <a:custGeom>
              <a:avLst/>
              <a:gdLst>
                <a:gd name="connsiteX0" fmla="*/ 353846 w 371286"/>
                <a:gd name="connsiteY0" fmla="*/ 506325 h 507855"/>
                <a:gd name="connsiteX1" fmla="*/ 304616 w 371286"/>
                <a:gd name="connsiteY1" fmla="*/ 4786 h 507855"/>
                <a:gd name="connsiteX2" fmla="*/ 0 w 371286"/>
                <a:gd name="connsiteY2" fmla="*/ 370941 h 507855"/>
                <a:gd name="connsiteX3" fmla="*/ 353846 w 371286"/>
                <a:gd name="connsiteY3" fmla="*/ 506325 h 50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286" h="507855">
                  <a:moveTo>
                    <a:pt x="353846" y="506325"/>
                  </a:moveTo>
                  <a:cubicBezTo>
                    <a:pt x="384615" y="321710"/>
                    <a:pt x="378462" y="35556"/>
                    <a:pt x="304616" y="4786"/>
                  </a:cubicBezTo>
                  <a:cubicBezTo>
                    <a:pt x="206154" y="-35214"/>
                    <a:pt x="70769" y="183248"/>
                    <a:pt x="0" y="370941"/>
                  </a:cubicBezTo>
                  <a:cubicBezTo>
                    <a:pt x="58462" y="417094"/>
                    <a:pt x="252308" y="521710"/>
                    <a:pt x="353846" y="506325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8DFAC786-CB99-41A8-A3B6-0663F013F145}"/>
                </a:ext>
              </a:extLst>
            </p:cNvPr>
            <p:cNvSpPr/>
            <p:nvPr/>
          </p:nvSpPr>
          <p:spPr>
            <a:xfrm>
              <a:off x="1183270" y="5299366"/>
              <a:ext cx="828154" cy="995366"/>
            </a:xfrm>
            <a:custGeom>
              <a:avLst/>
              <a:gdLst>
                <a:gd name="connsiteX0" fmla="*/ 783497 w 828154"/>
                <a:gd name="connsiteY0" fmla="*/ 395275 h 995366"/>
                <a:gd name="connsiteX1" fmla="*/ 768113 w 828154"/>
                <a:gd name="connsiteY1" fmla="*/ 69121 h 995366"/>
                <a:gd name="connsiteX2" fmla="*/ 395805 w 828154"/>
                <a:gd name="connsiteY2" fmla="*/ 4506 h 995366"/>
                <a:gd name="connsiteX3" fmla="*/ 91190 w 828154"/>
                <a:gd name="connsiteY3" fmla="*/ 106044 h 995366"/>
                <a:gd name="connsiteX4" fmla="*/ 51190 w 828154"/>
                <a:gd name="connsiteY4" fmla="*/ 659891 h 995366"/>
                <a:gd name="connsiteX5" fmla="*/ 94267 w 828154"/>
                <a:gd name="connsiteY5" fmla="*/ 989121 h 995366"/>
                <a:gd name="connsiteX6" fmla="*/ 777344 w 828154"/>
                <a:gd name="connsiteY6" fmla="*/ 973737 h 995366"/>
                <a:gd name="connsiteX7" fmla="*/ 783497 w 828154"/>
                <a:gd name="connsiteY7" fmla="*/ 395275 h 99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8154" h="995366">
                  <a:moveTo>
                    <a:pt x="783497" y="395275"/>
                  </a:moveTo>
                  <a:cubicBezTo>
                    <a:pt x="792729" y="364506"/>
                    <a:pt x="888113" y="133737"/>
                    <a:pt x="768113" y="69121"/>
                  </a:cubicBezTo>
                  <a:cubicBezTo>
                    <a:pt x="663497" y="13737"/>
                    <a:pt x="515805" y="-10879"/>
                    <a:pt x="395805" y="4506"/>
                  </a:cubicBezTo>
                  <a:cubicBezTo>
                    <a:pt x="263497" y="19890"/>
                    <a:pt x="131190" y="41429"/>
                    <a:pt x="91190" y="106044"/>
                  </a:cubicBezTo>
                  <a:cubicBezTo>
                    <a:pt x="-22656" y="293737"/>
                    <a:pt x="-22656" y="459891"/>
                    <a:pt x="51190" y="659891"/>
                  </a:cubicBezTo>
                  <a:cubicBezTo>
                    <a:pt x="72728" y="718352"/>
                    <a:pt x="78882" y="853737"/>
                    <a:pt x="94267" y="989121"/>
                  </a:cubicBezTo>
                  <a:cubicBezTo>
                    <a:pt x="94267" y="989121"/>
                    <a:pt x="380421" y="1010660"/>
                    <a:pt x="777344" y="973737"/>
                  </a:cubicBezTo>
                  <a:cubicBezTo>
                    <a:pt x="746575" y="752198"/>
                    <a:pt x="774267" y="419890"/>
                    <a:pt x="783497" y="395275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93267D30-04ED-4D53-98C0-BB7609FD6EE9}"/>
                </a:ext>
              </a:extLst>
            </p:cNvPr>
            <p:cNvSpPr/>
            <p:nvPr/>
          </p:nvSpPr>
          <p:spPr>
            <a:xfrm>
              <a:off x="1465229" y="5119257"/>
              <a:ext cx="310769" cy="226381"/>
            </a:xfrm>
            <a:custGeom>
              <a:avLst/>
              <a:gdLst>
                <a:gd name="connsiteX0" fmla="*/ 55385 w 310769"/>
                <a:gd name="connsiteY0" fmla="*/ 61538 h 226381"/>
                <a:gd name="connsiteX1" fmla="*/ 0 w 310769"/>
                <a:gd name="connsiteY1" fmla="*/ 203077 h 226381"/>
                <a:gd name="connsiteX2" fmla="*/ 310769 w 310769"/>
                <a:gd name="connsiteY2" fmla="*/ 187693 h 226381"/>
                <a:gd name="connsiteX3" fmla="*/ 258461 w 310769"/>
                <a:gd name="connsiteY3" fmla="*/ 0 h 226381"/>
                <a:gd name="connsiteX4" fmla="*/ 55385 w 310769"/>
                <a:gd name="connsiteY4" fmla="*/ 61538 h 226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769" h="226381">
                  <a:moveTo>
                    <a:pt x="55385" y="61538"/>
                  </a:moveTo>
                  <a:cubicBezTo>
                    <a:pt x="55385" y="61538"/>
                    <a:pt x="61538" y="172308"/>
                    <a:pt x="0" y="203077"/>
                  </a:cubicBezTo>
                  <a:cubicBezTo>
                    <a:pt x="0" y="203077"/>
                    <a:pt x="181538" y="264616"/>
                    <a:pt x="310769" y="187693"/>
                  </a:cubicBezTo>
                  <a:cubicBezTo>
                    <a:pt x="255385" y="144616"/>
                    <a:pt x="258461" y="61538"/>
                    <a:pt x="258461" y="0"/>
                  </a:cubicBezTo>
                  <a:cubicBezTo>
                    <a:pt x="261539" y="0"/>
                    <a:pt x="110769" y="70769"/>
                    <a:pt x="55385" y="61538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9DD550A7-8C85-4A76-8AF4-1D32E9254ED0}"/>
                </a:ext>
              </a:extLst>
            </p:cNvPr>
            <p:cNvSpPr/>
            <p:nvPr/>
          </p:nvSpPr>
          <p:spPr>
            <a:xfrm>
              <a:off x="1181318" y="5402334"/>
              <a:ext cx="102373" cy="559999"/>
            </a:xfrm>
            <a:custGeom>
              <a:avLst/>
              <a:gdLst>
                <a:gd name="connsiteX0" fmla="*/ 56219 w 102373"/>
                <a:gd name="connsiteY0" fmla="*/ 560000 h 559999"/>
                <a:gd name="connsiteX1" fmla="*/ 50065 w 102373"/>
                <a:gd name="connsiteY1" fmla="*/ 556923 h 559999"/>
                <a:gd name="connsiteX2" fmla="*/ 34680 w 102373"/>
                <a:gd name="connsiteY2" fmla="*/ 501538 h 559999"/>
                <a:gd name="connsiteX3" fmla="*/ 835 w 102373"/>
                <a:gd name="connsiteY3" fmla="*/ 350769 h 559999"/>
                <a:gd name="connsiteX4" fmla="*/ 90065 w 102373"/>
                <a:gd name="connsiteY4" fmla="*/ 3077 h 559999"/>
                <a:gd name="connsiteX5" fmla="*/ 99296 w 102373"/>
                <a:gd name="connsiteY5" fmla="*/ 0 h 559999"/>
                <a:gd name="connsiteX6" fmla="*/ 102373 w 102373"/>
                <a:gd name="connsiteY6" fmla="*/ 9230 h 559999"/>
                <a:gd name="connsiteX7" fmla="*/ 13142 w 102373"/>
                <a:gd name="connsiteY7" fmla="*/ 350769 h 559999"/>
                <a:gd name="connsiteX8" fmla="*/ 46988 w 102373"/>
                <a:gd name="connsiteY8" fmla="*/ 501538 h 559999"/>
                <a:gd name="connsiteX9" fmla="*/ 62373 w 102373"/>
                <a:gd name="connsiteY9" fmla="*/ 556923 h 559999"/>
                <a:gd name="connsiteX10" fmla="*/ 56219 w 102373"/>
                <a:gd name="connsiteY10" fmla="*/ 560000 h 559999"/>
                <a:gd name="connsiteX11" fmla="*/ 56219 w 102373"/>
                <a:gd name="connsiteY11" fmla="*/ 560000 h 55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373" h="559999">
                  <a:moveTo>
                    <a:pt x="56219" y="560000"/>
                  </a:moveTo>
                  <a:cubicBezTo>
                    <a:pt x="53142" y="560000"/>
                    <a:pt x="50065" y="556923"/>
                    <a:pt x="50065" y="556923"/>
                  </a:cubicBezTo>
                  <a:cubicBezTo>
                    <a:pt x="43911" y="538462"/>
                    <a:pt x="40835" y="520000"/>
                    <a:pt x="34680" y="501538"/>
                  </a:cubicBezTo>
                  <a:cubicBezTo>
                    <a:pt x="19296" y="449231"/>
                    <a:pt x="3911" y="396923"/>
                    <a:pt x="835" y="350769"/>
                  </a:cubicBezTo>
                  <a:cubicBezTo>
                    <a:pt x="-5319" y="224615"/>
                    <a:pt x="22373" y="107692"/>
                    <a:pt x="90065" y="3077"/>
                  </a:cubicBezTo>
                  <a:cubicBezTo>
                    <a:pt x="93142" y="0"/>
                    <a:pt x="96219" y="0"/>
                    <a:pt x="99296" y="0"/>
                  </a:cubicBezTo>
                  <a:cubicBezTo>
                    <a:pt x="102373" y="3077"/>
                    <a:pt x="102373" y="6154"/>
                    <a:pt x="102373" y="9230"/>
                  </a:cubicBezTo>
                  <a:cubicBezTo>
                    <a:pt x="37758" y="113846"/>
                    <a:pt x="6988" y="227692"/>
                    <a:pt x="13142" y="350769"/>
                  </a:cubicBezTo>
                  <a:cubicBezTo>
                    <a:pt x="16219" y="396923"/>
                    <a:pt x="31604" y="449231"/>
                    <a:pt x="46988" y="501538"/>
                  </a:cubicBezTo>
                  <a:cubicBezTo>
                    <a:pt x="53142" y="520000"/>
                    <a:pt x="59296" y="538462"/>
                    <a:pt x="62373" y="556923"/>
                  </a:cubicBezTo>
                  <a:cubicBezTo>
                    <a:pt x="62373" y="556923"/>
                    <a:pt x="59296" y="560000"/>
                    <a:pt x="56219" y="560000"/>
                  </a:cubicBezTo>
                  <a:cubicBezTo>
                    <a:pt x="56219" y="560000"/>
                    <a:pt x="56219" y="560000"/>
                    <a:pt x="56219" y="560000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AE4B1DC2-C0B4-4866-BD0D-22443619C3D6}"/>
                </a:ext>
              </a:extLst>
            </p:cNvPr>
            <p:cNvSpPr/>
            <p:nvPr/>
          </p:nvSpPr>
          <p:spPr>
            <a:xfrm>
              <a:off x="1302152" y="5845607"/>
              <a:ext cx="404351" cy="36727"/>
            </a:xfrm>
            <a:custGeom>
              <a:avLst/>
              <a:gdLst>
                <a:gd name="connsiteX0" fmla="*/ 6154 w 404351"/>
                <a:gd name="connsiteY0" fmla="*/ 36727 h 36727"/>
                <a:gd name="connsiteX1" fmla="*/ 0 w 404351"/>
                <a:gd name="connsiteY1" fmla="*/ 33651 h 36727"/>
                <a:gd name="connsiteX2" fmla="*/ 3077 w 404351"/>
                <a:gd name="connsiteY2" fmla="*/ 27496 h 36727"/>
                <a:gd name="connsiteX3" fmla="*/ 400000 w 404351"/>
                <a:gd name="connsiteY3" fmla="*/ 15189 h 36727"/>
                <a:gd name="connsiteX4" fmla="*/ 403077 w 404351"/>
                <a:gd name="connsiteY4" fmla="*/ 21343 h 36727"/>
                <a:gd name="connsiteX5" fmla="*/ 396923 w 404351"/>
                <a:gd name="connsiteY5" fmla="*/ 24420 h 36727"/>
                <a:gd name="connsiteX6" fmla="*/ 6154 w 404351"/>
                <a:gd name="connsiteY6" fmla="*/ 36727 h 36727"/>
                <a:gd name="connsiteX7" fmla="*/ 6154 w 404351"/>
                <a:gd name="connsiteY7" fmla="*/ 36727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351" h="36727">
                  <a:moveTo>
                    <a:pt x="6154" y="36727"/>
                  </a:moveTo>
                  <a:cubicBezTo>
                    <a:pt x="3077" y="36727"/>
                    <a:pt x="3077" y="36727"/>
                    <a:pt x="0" y="33651"/>
                  </a:cubicBezTo>
                  <a:cubicBezTo>
                    <a:pt x="0" y="30574"/>
                    <a:pt x="0" y="27496"/>
                    <a:pt x="3077" y="27496"/>
                  </a:cubicBezTo>
                  <a:cubicBezTo>
                    <a:pt x="89231" y="-3273"/>
                    <a:pt x="298461" y="-9427"/>
                    <a:pt x="400000" y="15189"/>
                  </a:cubicBezTo>
                  <a:cubicBezTo>
                    <a:pt x="403077" y="15189"/>
                    <a:pt x="406154" y="18266"/>
                    <a:pt x="403077" y="21343"/>
                  </a:cubicBezTo>
                  <a:cubicBezTo>
                    <a:pt x="403077" y="24420"/>
                    <a:pt x="400000" y="27496"/>
                    <a:pt x="396923" y="24420"/>
                  </a:cubicBezTo>
                  <a:cubicBezTo>
                    <a:pt x="301539" y="2881"/>
                    <a:pt x="92308" y="5958"/>
                    <a:pt x="6154" y="36727"/>
                  </a:cubicBezTo>
                  <a:cubicBezTo>
                    <a:pt x="9231" y="36727"/>
                    <a:pt x="9231" y="36727"/>
                    <a:pt x="6154" y="36727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5C3FB502-F014-41BA-93CF-1C4AD8F3D968}"/>
                </a:ext>
              </a:extLst>
            </p:cNvPr>
            <p:cNvSpPr/>
            <p:nvPr/>
          </p:nvSpPr>
          <p:spPr>
            <a:xfrm>
              <a:off x="1440614" y="5306949"/>
              <a:ext cx="363077" cy="64615"/>
            </a:xfrm>
            <a:custGeom>
              <a:avLst/>
              <a:gdLst>
                <a:gd name="connsiteX0" fmla="*/ 36923 w 363077"/>
                <a:gd name="connsiteY0" fmla="*/ 9231 h 64615"/>
                <a:gd name="connsiteX1" fmla="*/ 338462 w 363077"/>
                <a:gd name="connsiteY1" fmla="*/ 0 h 64615"/>
                <a:gd name="connsiteX2" fmla="*/ 363077 w 363077"/>
                <a:gd name="connsiteY2" fmla="*/ 9231 h 64615"/>
                <a:gd name="connsiteX3" fmla="*/ 172308 w 363077"/>
                <a:gd name="connsiteY3" fmla="*/ 64616 h 64615"/>
                <a:gd name="connsiteX4" fmla="*/ 0 w 363077"/>
                <a:gd name="connsiteY4" fmla="*/ 15385 h 64615"/>
                <a:gd name="connsiteX5" fmla="*/ 36923 w 363077"/>
                <a:gd name="connsiteY5" fmla="*/ 9231 h 6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077" h="64615">
                  <a:moveTo>
                    <a:pt x="36923" y="9231"/>
                  </a:moveTo>
                  <a:cubicBezTo>
                    <a:pt x="36923" y="9231"/>
                    <a:pt x="150770" y="67692"/>
                    <a:pt x="338462" y="0"/>
                  </a:cubicBezTo>
                  <a:lnTo>
                    <a:pt x="363077" y="9231"/>
                  </a:lnTo>
                  <a:cubicBezTo>
                    <a:pt x="363077" y="9231"/>
                    <a:pt x="283077" y="64616"/>
                    <a:pt x="172308" y="64616"/>
                  </a:cubicBezTo>
                  <a:cubicBezTo>
                    <a:pt x="67692" y="64616"/>
                    <a:pt x="0" y="15385"/>
                    <a:pt x="0" y="15385"/>
                  </a:cubicBezTo>
                  <a:cubicBezTo>
                    <a:pt x="0" y="15385"/>
                    <a:pt x="15385" y="9231"/>
                    <a:pt x="36923" y="9231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471EDD3C-CAC0-43B5-9663-E2FAFDADE164}"/>
                </a:ext>
              </a:extLst>
            </p:cNvPr>
            <p:cNvSpPr/>
            <p:nvPr/>
          </p:nvSpPr>
          <p:spPr>
            <a:xfrm>
              <a:off x="1893794" y="5437717"/>
              <a:ext cx="971435" cy="636769"/>
            </a:xfrm>
            <a:custGeom>
              <a:avLst/>
              <a:gdLst>
                <a:gd name="connsiteX0" fmla="*/ 5282 w 971435"/>
                <a:gd name="connsiteY0" fmla="*/ 115386 h 636769"/>
                <a:gd name="connsiteX1" fmla="*/ 208359 w 971435"/>
                <a:gd name="connsiteY1" fmla="*/ 90771 h 636769"/>
                <a:gd name="connsiteX2" fmla="*/ 531436 w 971435"/>
                <a:gd name="connsiteY2" fmla="*/ 441540 h 636769"/>
                <a:gd name="connsiteX3" fmla="*/ 928359 w 971435"/>
                <a:gd name="connsiteY3" fmla="*/ 416925 h 636769"/>
                <a:gd name="connsiteX4" fmla="*/ 971435 w 971435"/>
                <a:gd name="connsiteY4" fmla="*/ 533848 h 636769"/>
                <a:gd name="connsiteX5" fmla="*/ 414512 w 971435"/>
                <a:gd name="connsiteY5" fmla="*/ 623079 h 636769"/>
                <a:gd name="connsiteX6" fmla="*/ 5282 w 971435"/>
                <a:gd name="connsiteY6" fmla="*/ 115386 h 636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1435" h="636769">
                  <a:moveTo>
                    <a:pt x="5282" y="115386"/>
                  </a:moveTo>
                  <a:cubicBezTo>
                    <a:pt x="60666" y="-63075"/>
                    <a:pt x="119127" y="-4613"/>
                    <a:pt x="208359" y="90771"/>
                  </a:cubicBezTo>
                  <a:cubicBezTo>
                    <a:pt x="300667" y="192310"/>
                    <a:pt x="503743" y="426156"/>
                    <a:pt x="531436" y="441540"/>
                  </a:cubicBezTo>
                  <a:cubicBezTo>
                    <a:pt x="592974" y="438463"/>
                    <a:pt x="928359" y="416925"/>
                    <a:pt x="928359" y="416925"/>
                  </a:cubicBezTo>
                  <a:cubicBezTo>
                    <a:pt x="922205" y="447694"/>
                    <a:pt x="971435" y="533848"/>
                    <a:pt x="971435" y="533848"/>
                  </a:cubicBezTo>
                  <a:cubicBezTo>
                    <a:pt x="971435" y="533848"/>
                    <a:pt x="537589" y="681540"/>
                    <a:pt x="414512" y="623079"/>
                  </a:cubicBezTo>
                  <a:cubicBezTo>
                    <a:pt x="346820" y="601540"/>
                    <a:pt x="-50103" y="293848"/>
                    <a:pt x="5282" y="115386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2E329927-0425-4C48-B76B-0152DD69BD5C}"/>
                </a:ext>
              </a:extLst>
            </p:cNvPr>
            <p:cNvSpPr/>
            <p:nvPr/>
          </p:nvSpPr>
          <p:spPr>
            <a:xfrm>
              <a:off x="1796467" y="5349059"/>
              <a:ext cx="407224" cy="450197"/>
            </a:xfrm>
            <a:custGeom>
              <a:avLst/>
              <a:gdLst>
                <a:gd name="connsiteX0" fmla="*/ 407224 w 407224"/>
                <a:gd name="connsiteY0" fmla="*/ 231736 h 450197"/>
                <a:gd name="connsiteX1" fmla="*/ 68763 w 407224"/>
                <a:gd name="connsiteY1" fmla="*/ 4044 h 450197"/>
                <a:gd name="connsiteX2" fmla="*/ 96455 w 407224"/>
                <a:gd name="connsiteY2" fmla="*/ 450198 h 450197"/>
                <a:gd name="connsiteX3" fmla="*/ 407224 w 407224"/>
                <a:gd name="connsiteY3" fmla="*/ 231736 h 450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7224" h="450197">
                  <a:moveTo>
                    <a:pt x="407224" y="231736"/>
                  </a:moveTo>
                  <a:cubicBezTo>
                    <a:pt x="317994" y="68659"/>
                    <a:pt x="145686" y="-20572"/>
                    <a:pt x="68763" y="4044"/>
                  </a:cubicBezTo>
                  <a:cubicBezTo>
                    <a:pt x="-32776" y="34813"/>
                    <a:pt x="-20468" y="277890"/>
                    <a:pt x="96455" y="450198"/>
                  </a:cubicBezTo>
                  <a:cubicBezTo>
                    <a:pt x="176455" y="447120"/>
                    <a:pt x="336455" y="305582"/>
                    <a:pt x="407224" y="231736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F3D13BF5-EA8D-439C-BB1E-F72E13ACDCDA}"/>
                </a:ext>
              </a:extLst>
            </p:cNvPr>
            <p:cNvSpPr/>
            <p:nvPr/>
          </p:nvSpPr>
          <p:spPr>
            <a:xfrm>
              <a:off x="1795864" y="5361059"/>
              <a:ext cx="236886" cy="441274"/>
            </a:xfrm>
            <a:custGeom>
              <a:avLst/>
              <a:gdLst>
                <a:gd name="connsiteX0" fmla="*/ 103211 w 236886"/>
                <a:gd name="connsiteY0" fmla="*/ 441275 h 441274"/>
                <a:gd name="connsiteX1" fmla="*/ 97057 w 236886"/>
                <a:gd name="connsiteY1" fmla="*/ 441275 h 441274"/>
                <a:gd name="connsiteX2" fmla="*/ 97057 w 236886"/>
                <a:gd name="connsiteY2" fmla="*/ 441275 h 441274"/>
                <a:gd name="connsiteX3" fmla="*/ 97057 w 236886"/>
                <a:gd name="connsiteY3" fmla="*/ 441275 h 441274"/>
                <a:gd name="connsiteX4" fmla="*/ 4749 w 236886"/>
                <a:gd name="connsiteY4" fmla="*/ 62813 h 441274"/>
                <a:gd name="connsiteX5" fmla="*/ 41673 w 236886"/>
                <a:gd name="connsiteY5" fmla="*/ 1275 h 441274"/>
                <a:gd name="connsiteX6" fmla="*/ 50903 w 236886"/>
                <a:gd name="connsiteY6" fmla="*/ 4351 h 441274"/>
                <a:gd name="connsiteX7" fmla="*/ 47827 w 236886"/>
                <a:gd name="connsiteY7" fmla="*/ 13582 h 441274"/>
                <a:gd name="connsiteX8" fmla="*/ 13980 w 236886"/>
                <a:gd name="connsiteY8" fmla="*/ 68967 h 441274"/>
                <a:gd name="connsiteX9" fmla="*/ 103211 w 236886"/>
                <a:gd name="connsiteY9" fmla="*/ 435120 h 441274"/>
                <a:gd name="connsiteX10" fmla="*/ 226288 w 236886"/>
                <a:gd name="connsiteY10" fmla="*/ 367428 h 441274"/>
                <a:gd name="connsiteX11" fmla="*/ 235519 w 236886"/>
                <a:gd name="connsiteY11" fmla="*/ 367428 h 441274"/>
                <a:gd name="connsiteX12" fmla="*/ 235519 w 236886"/>
                <a:gd name="connsiteY12" fmla="*/ 376659 h 441274"/>
                <a:gd name="connsiteX13" fmla="*/ 103211 w 236886"/>
                <a:gd name="connsiteY13" fmla="*/ 441275 h 441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6886" h="441274">
                  <a:moveTo>
                    <a:pt x="103211" y="441275"/>
                  </a:moveTo>
                  <a:cubicBezTo>
                    <a:pt x="100134" y="441275"/>
                    <a:pt x="97057" y="441275"/>
                    <a:pt x="97057" y="441275"/>
                  </a:cubicBezTo>
                  <a:lnTo>
                    <a:pt x="97057" y="441275"/>
                  </a:lnTo>
                  <a:lnTo>
                    <a:pt x="97057" y="441275"/>
                  </a:lnTo>
                  <a:cubicBezTo>
                    <a:pt x="38596" y="358197"/>
                    <a:pt x="-16789" y="167428"/>
                    <a:pt x="4749" y="62813"/>
                  </a:cubicBezTo>
                  <a:cubicBezTo>
                    <a:pt x="10904" y="32044"/>
                    <a:pt x="23211" y="10505"/>
                    <a:pt x="41673" y="1275"/>
                  </a:cubicBezTo>
                  <a:cubicBezTo>
                    <a:pt x="44749" y="-1803"/>
                    <a:pt x="47827" y="1275"/>
                    <a:pt x="50903" y="4351"/>
                  </a:cubicBezTo>
                  <a:cubicBezTo>
                    <a:pt x="53980" y="7428"/>
                    <a:pt x="50903" y="10505"/>
                    <a:pt x="47827" y="13582"/>
                  </a:cubicBezTo>
                  <a:cubicBezTo>
                    <a:pt x="32442" y="22813"/>
                    <a:pt x="20134" y="41275"/>
                    <a:pt x="13980" y="68967"/>
                  </a:cubicBezTo>
                  <a:cubicBezTo>
                    <a:pt x="-7558" y="167428"/>
                    <a:pt x="44749" y="352044"/>
                    <a:pt x="103211" y="435120"/>
                  </a:cubicBezTo>
                  <a:cubicBezTo>
                    <a:pt x="109365" y="435120"/>
                    <a:pt x="140134" y="432044"/>
                    <a:pt x="226288" y="367428"/>
                  </a:cubicBezTo>
                  <a:cubicBezTo>
                    <a:pt x="229365" y="364352"/>
                    <a:pt x="232442" y="367428"/>
                    <a:pt x="235519" y="367428"/>
                  </a:cubicBezTo>
                  <a:cubicBezTo>
                    <a:pt x="238596" y="370505"/>
                    <a:pt x="235519" y="373582"/>
                    <a:pt x="235519" y="376659"/>
                  </a:cubicBezTo>
                  <a:cubicBezTo>
                    <a:pt x="152442" y="435120"/>
                    <a:pt x="118596" y="441275"/>
                    <a:pt x="103211" y="441275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9" name="图形 1">
              <a:extLst>
                <a:ext uri="{FF2B5EF4-FFF2-40B4-BE49-F238E27FC236}">
                  <a16:creationId xmlns:a16="http://schemas.microsoft.com/office/drawing/2014/main" id="{0DF523A5-AEB8-449F-ADE3-92784EE3A7D1}"/>
                </a:ext>
              </a:extLst>
            </p:cNvPr>
            <p:cNvGrpSpPr/>
            <p:nvPr/>
          </p:nvGrpSpPr>
          <p:grpSpPr>
            <a:xfrm>
              <a:off x="2796580" y="5747895"/>
              <a:ext cx="359086" cy="239054"/>
              <a:chOff x="2796580" y="5747895"/>
              <a:chExt cx="359086" cy="239054"/>
            </a:xfrm>
          </p:grpSpPr>
          <p:grpSp>
            <p:nvGrpSpPr>
              <p:cNvPr id="123" name="图形 1">
                <a:extLst>
                  <a:ext uri="{FF2B5EF4-FFF2-40B4-BE49-F238E27FC236}">
                    <a16:creationId xmlns:a16="http://schemas.microsoft.com/office/drawing/2014/main" id="{F88F0808-45FA-4595-A61C-E7203DAD1FFE}"/>
                  </a:ext>
                </a:extLst>
              </p:cNvPr>
              <p:cNvGrpSpPr/>
              <p:nvPr/>
            </p:nvGrpSpPr>
            <p:grpSpPr>
              <a:xfrm>
                <a:off x="2796580" y="5747895"/>
                <a:ext cx="359086" cy="238545"/>
                <a:chOff x="2796580" y="5747895"/>
                <a:chExt cx="359086" cy="238545"/>
              </a:xfrm>
            </p:grpSpPr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9ED19999-8501-4B67-BE2C-BE4E686654EA}"/>
                    </a:ext>
                  </a:extLst>
                </p:cNvPr>
                <p:cNvSpPr/>
                <p:nvPr/>
              </p:nvSpPr>
              <p:spPr>
                <a:xfrm>
                  <a:off x="2796580" y="5747895"/>
                  <a:ext cx="352526" cy="238545"/>
                </a:xfrm>
                <a:custGeom>
                  <a:avLst/>
                  <a:gdLst>
                    <a:gd name="connsiteX0" fmla="*/ 280957 w 352526"/>
                    <a:gd name="connsiteY0" fmla="*/ 208285 h 238545"/>
                    <a:gd name="connsiteX1" fmla="*/ 271726 w 352526"/>
                    <a:gd name="connsiteY1" fmla="*/ 192901 h 238545"/>
                    <a:gd name="connsiteX2" fmla="*/ 265572 w 352526"/>
                    <a:gd name="connsiteY2" fmla="*/ 189824 h 238545"/>
                    <a:gd name="connsiteX3" fmla="*/ 293264 w 352526"/>
                    <a:gd name="connsiteY3" fmla="*/ 189824 h 238545"/>
                    <a:gd name="connsiteX4" fmla="*/ 339418 w 352526"/>
                    <a:gd name="connsiteY4" fmla="*/ 177516 h 238545"/>
                    <a:gd name="connsiteX5" fmla="*/ 333265 w 352526"/>
                    <a:gd name="connsiteY5" fmla="*/ 165208 h 238545"/>
                    <a:gd name="connsiteX6" fmla="*/ 330187 w 352526"/>
                    <a:gd name="connsiteY6" fmla="*/ 165208 h 238545"/>
                    <a:gd name="connsiteX7" fmla="*/ 351726 w 352526"/>
                    <a:gd name="connsiteY7" fmla="*/ 146747 h 238545"/>
                    <a:gd name="connsiteX8" fmla="*/ 339418 w 352526"/>
                    <a:gd name="connsiteY8" fmla="*/ 125208 h 238545"/>
                    <a:gd name="connsiteX9" fmla="*/ 284034 w 352526"/>
                    <a:gd name="connsiteY9" fmla="*/ 122131 h 238545"/>
                    <a:gd name="connsiteX10" fmla="*/ 207111 w 352526"/>
                    <a:gd name="connsiteY10" fmla="*/ 119054 h 238545"/>
                    <a:gd name="connsiteX11" fmla="*/ 262495 w 352526"/>
                    <a:gd name="connsiteY11" fmla="*/ 103670 h 238545"/>
                    <a:gd name="connsiteX12" fmla="*/ 305572 w 352526"/>
                    <a:gd name="connsiteY12" fmla="*/ 91362 h 238545"/>
                    <a:gd name="connsiteX13" fmla="*/ 280957 w 352526"/>
                    <a:gd name="connsiteY13" fmla="*/ 72900 h 238545"/>
                    <a:gd name="connsiteX14" fmla="*/ 99418 w 352526"/>
                    <a:gd name="connsiteY14" fmla="*/ 100593 h 238545"/>
                    <a:gd name="connsiteX15" fmla="*/ 136342 w 352526"/>
                    <a:gd name="connsiteY15" fmla="*/ 32900 h 238545"/>
                    <a:gd name="connsiteX16" fmla="*/ 111726 w 352526"/>
                    <a:gd name="connsiteY16" fmla="*/ 5208 h 238545"/>
                    <a:gd name="connsiteX17" fmla="*/ 956 w 352526"/>
                    <a:gd name="connsiteY17" fmla="*/ 137516 h 238545"/>
                    <a:gd name="connsiteX18" fmla="*/ 44034 w 352526"/>
                    <a:gd name="connsiteY18" fmla="*/ 226747 h 238545"/>
                    <a:gd name="connsiteX19" fmla="*/ 176341 w 352526"/>
                    <a:gd name="connsiteY19" fmla="*/ 229824 h 238545"/>
                    <a:gd name="connsiteX20" fmla="*/ 280957 w 352526"/>
                    <a:gd name="connsiteY20" fmla="*/ 208285 h 238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52526" h="238545">
                      <a:moveTo>
                        <a:pt x="280957" y="208285"/>
                      </a:moveTo>
                      <a:cubicBezTo>
                        <a:pt x="280957" y="202131"/>
                        <a:pt x="277879" y="195977"/>
                        <a:pt x="271726" y="192901"/>
                      </a:cubicBezTo>
                      <a:cubicBezTo>
                        <a:pt x="268649" y="192901"/>
                        <a:pt x="268649" y="189824"/>
                        <a:pt x="265572" y="189824"/>
                      </a:cubicBezTo>
                      <a:cubicBezTo>
                        <a:pt x="274803" y="189824"/>
                        <a:pt x="284034" y="189824"/>
                        <a:pt x="293264" y="189824"/>
                      </a:cubicBezTo>
                      <a:cubicBezTo>
                        <a:pt x="311726" y="189824"/>
                        <a:pt x="330187" y="189824"/>
                        <a:pt x="339418" y="177516"/>
                      </a:cubicBezTo>
                      <a:cubicBezTo>
                        <a:pt x="339418" y="177516"/>
                        <a:pt x="336342" y="168285"/>
                        <a:pt x="333265" y="165208"/>
                      </a:cubicBezTo>
                      <a:cubicBezTo>
                        <a:pt x="333265" y="165208"/>
                        <a:pt x="333265" y="165208"/>
                        <a:pt x="330187" y="165208"/>
                      </a:cubicBezTo>
                      <a:cubicBezTo>
                        <a:pt x="339418" y="162132"/>
                        <a:pt x="348649" y="155977"/>
                        <a:pt x="351726" y="146747"/>
                      </a:cubicBezTo>
                      <a:cubicBezTo>
                        <a:pt x="354802" y="137516"/>
                        <a:pt x="348649" y="128285"/>
                        <a:pt x="339418" y="125208"/>
                      </a:cubicBezTo>
                      <a:cubicBezTo>
                        <a:pt x="324033" y="119054"/>
                        <a:pt x="302495" y="122131"/>
                        <a:pt x="284034" y="122131"/>
                      </a:cubicBezTo>
                      <a:cubicBezTo>
                        <a:pt x="259419" y="122131"/>
                        <a:pt x="231726" y="119054"/>
                        <a:pt x="207111" y="119054"/>
                      </a:cubicBezTo>
                      <a:cubicBezTo>
                        <a:pt x="225572" y="112901"/>
                        <a:pt x="244034" y="109823"/>
                        <a:pt x="262495" y="103670"/>
                      </a:cubicBezTo>
                      <a:cubicBezTo>
                        <a:pt x="274803" y="100593"/>
                        <a:pt x="296341" y="100593"/>
                        <a:pt x="305572" y="91362"/>
                      </a:cubicBezTo>
                      <a:cubicBezTo>
                        <a:pt x="317880" y="79054"/>
                        <a:pt x="290188" y="72900"/>
                        <a:pt x="280957" y="72900"/>
                      </a:cubicBezTo>
                      <a:cubicBezTo>
                        <a:pt x="216341" y="66747"/>
                        <a:pt x="160957" y="97516"/>
                        <a:pt x="99418" y="100593"/>
                      </a:cubicBezTo>
                      <a:cubicBezTo>
                        <a:pt x="111726" y="85208"/>
                        <a:pt x="127110" y="60593"/>
                        <a:pt x="136342" y="32900"/>
                      </a:cubicBezTo>
                      <a:cubicBezTo>
                        <a:pt x="142495" y="11362"/>
                        <a:pt x="117880" y="-10176"/>
                        <a:pt x="111726" y="5208"/>
                      </a:cubicBezTo>
                      <a:cubicBezTo>
                        <a:pt x="80956" y="66747"/>
                        <a:pt x="7110" y="94439"/>
                        <a:pt x="956" y="137516"/>
                      </a:cubicBezTo>
                      <a:cubicBezTo>
                        <a:pt x="-5197" y="168285"/>
                        <a:pt x="19418" y="211362"/>
                        <a:pt x="44034" y="226747"/>
                      </a:cubicBezTo>
                      <a:cubicBezTo>
                        <a:pt x="80956" y="251362"/>
                        <a:pt x="133265" y="229824"/>
                        <a:pt x="176341" y="229824"/>
                      </a:cubicBezTo>
                      <a:cubicBezTo>
                        <a:pt x="194803" y="232900"/>
                        <a:pt x="277879" y="226747"/>
                        <a:pt x="280957" y="208285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78E2C089-E816-4D50-9B10-E89E6E2DEC10}"/>
                    </a:ext>
                  </a:extLst>
                </p:cNvPr>
                <p:cNvSpPr/>
                <p:nvPr/>
              </p:nvSpPr>
              <p:spPr>
                <a:xfrm>
                  <a:off x="2859075" y="5870026"/>
                  <a:ext cx="43077" cy="49230"/>
                </a:xfrm>
                <a:custGeom>
                  <a:avLst/>
                  <a:gdLst>
                    <a:gd name="connsiteX0" fmla="*/ 6154 w 43077"/>
                    <a:gd name="connsiteY0" fmla="*/ 49230 h 49230"/>
                    <a:gd name="connsiteX1" fmla="*/ 0 w 43077"/>
                    <a:gd name="connsiteY1" fmla="*/ 46154 h 49230"/>
                    <a:gd name="connsiteX2" fmla="*/ 3077 w 43077"/>
                    <a:gd name="connsiteY2" fmla="*/ 40000 h 49230"/>
                    <a:gd name="connsiteX3" fmla="*/ 30769 w 43077"/>
                    <a:gd name="connsiteY3" fmla="*/ 6154 h 49230"/>
                    <a:gd name="connsiteX4" fmla="*/ 36923 w 43077"/>
                    <a:gd name="connsiteY4" fmla="*/ 0 h 49230"/>
                    <a:gd name="connsiteX5" fmla="*/ 36923 w 43077"/>
                    <a:gd name="connsiteY5" fmla="*/ 0 h 49230"/>
                    <a:gd name="connsiteX6" fmla="*/ 43078 w 43077"/>
                    <a:gd name="connsiteY6" fmla="*/ 6154 h 49230"/>
                    <a:gd name="connsiteX7" fmla="*/ 6154 w 43077"/>
                    <a:gd name="connsiteY7" fmla="*/ 49230 h 49230"/>
                    <a:gd name="connsiteX8" fmla="*/ 6154 w 43077"/>
                    <a:gd name="connsiteY8" fmla="*/ 49230 h 49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3077" h="49230">
                      <a:moveTo>
                        <a:pt x="6154" y="49230"/>
                      </a:moveTo>
                      <a:cubicBezTo>
                        <a:pt x="3077" y="49230"/>
                        <a:pt x="0" y="46154"/>
                        <a:pt x="0" y="46154"/>
                      </a:cubicBezTo>
                      <a:cubicBezTo>
                        <a:pt x="0" y="43077"/>
                        <a:pt x="0" y="40000"/>
                        <a:pt x="3077" y="40000"/>
                      </a:cubicBezTo>
                      <a:cubicBezTo>
                        <a:pt x="30769" y="33846"/>
                        <a:pt x="30769" y="6154"/>
                        <a:pt x="30769" y="6154"/>
                      </a:cubicBezTo>
                      <a:cubicBezTo>
                        <a:pt x="30769" y="3077"/>
                        <a:pt x="33846" y="0"/>
                        <a:pt x="36923" y="0"/>
                      </a:cubicBezTo>
                      <a:lnTo>
                        <a:pt x="36923" y="0"/>
                      </a:lnTo>
                      <a:cubicBezTo>
                        <a:pt x="40001" y="0"/>
                        <a:pt x="43078" y="3077"/>
                        <a:pt x="43078" y="6154"/>
                      </a:cubicBezTo>
                      <a:cubicBezTo>
                        <a:pt x="43078" y="15385"/>
                        <a:pt x="36923" y="43077"/>
                        <a:pt x="6154" y="49230"/>
                      </a:cubicBezTo>
                      <a:cubicBezTo>
                        <a:pt x="9231" y="49230"/>
                        <a:pt x="6154" y="49230"/>
                        <a:pt x="6154" y="49230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01F81958-F1D4-4522-8BAF-8AB64E010B3F}"/>
                    </a:ext>
                  </a:extLst>
                </p:cNvPr>
                <p:cNvSpPr/>
                <p:nvPr/>
              </p:nvSpPr>
              <p:spPr>
                <a:xfrm>
                  <a:off x="2997537" y="5830026"/>
                  <a:ext cx="158130" cy="83076"/>
                </a:xfrm>
                <a:custGeom>
                  <a:avLst/>
                  <a:gdLst>
                    <a:gd name="connsiteX0" fmla="*/ 129231 w 158130"/>
                    <a:gd name="connsiteY0" fmla="*/ 83077 h 83076"/>
                    <a:gd name="connsiteX1" fmla="*/ 123077 w 158130"/>
                    <a:gd name="connsiteY1" fmla="*/ 76923 h 83076"/>
                    <a:gd name="connsiteX2" fmla="*/ 129231 w 158130"/>
                    <a:gd name="connsiteY2" fmla="*/ 70769 h 83076"/>
                    <a:gd name="connsiteX3" fmla="*/ 144616 w 158130"/>
                    <a:gd name="connsiteY3" fmla="*/ 61538 h 83076"/>
                    <a:gd name="connsiteX4" fmla="*/ 141539 w 158130"/>
                    <a:gd name="connsiteY4" fmla="*/ 49231 h 83076"/>
                    <a:gd name="connsiteX5" fmla="*/ 6154 w 158130"/>
                    <a:gd name="connsiteY5" fmla="*/ 40000 h 83076"/>
                    <a:gd name="connsiteX6" fmla="*/ 6154 w 158130"/>
                    <a:gd name="connsiteY6" fmla="*/ 40000 h 83076"/>
                    <a:gd name="connsiteX7" fmla="*/ 0 w 158130"/>
                    <a:gd name="connsiteY7" fmla="*/ 33846 h 83076"/>
                    <a:gd name="connsiteX8" fmla="*/ 6154 w 158130"/>
                    <a:gd name="connsiteY8" fmla="*/ 27692 h 83076"/>
                    <a:gd name="connsiteX9" fmla="*/ 104616 w 158130"/>
                    <a:gd name="connsiteY9" fmla="*/ 0 h 83076"/>
                    <a:gd name="connsiteX10" fmla="*/ 110769 w 158130"/>
                    <a:gd name="connsiteY10" fmla="*/ 3077 h 83076"/>
                    <a:gd name="connsiteX11" fmla="*/ 107692 w 158130"/>
                    <a:gd name="connsiteY11" fmla="*/ 9231 h 83076"/>
                    <a:gd name="connsiteX12" fmla="*/ 58462 w 158130"/>
                    <a:gd name="connsiteY12" fmla="*/ 24615 h 83076"/>
                    <a:gd name="connsiteX13" fmla="*/ 150770 w 158130"/>
                    <a:gd name="connsiteY13" fmla="*/ 36923 h 83076"/>
                    <a:gd name="connsiteX14" fmla="*/ 156923 w 158130"/>
                    <a:gd name="connsiteY14" fmla="*/ 61538 h 83076"/>
                    <a:gd name="connsiteX15" fmla="*/ 129231 w 158130"/>
                    <a:gd name="connsiteY15" fmla="*/ 83077 h 83076"/>
                    <a:gd name="connsiteX16" fmla="*/ 129231 w 158130"/>
                    <a:gd name="connsiteY16" fmla="*/ 83077 h 83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8130" h="83076">
                      <a:moveTo>
                        <a:pt x="129231" y="83077"/>
                      </a:moveTo>
                      <a:cubicBezTo>
                        <a:pt x="126154" y="83077"/>
                        <a:pt x="123077" y="80000"/>
                        <a:pt x="123077" y="76923"/>
                      </a:cubicBezTo>
                      <a:cubicBezTo>
                        <a:pt x="123077" y="73846"/>
                        <a:pt x="126154" y="70769"/>
                        <a:pt x="129231" y="70769"/>
                      </a:cubicBezTo>
                      <a:cubicBezTo>
                        <a:pt x="135385" y="70769"/>
                        <a:pt x="141539" y="64616"/>
                        <a:pt x="144616" y="61538"/>
                      </a:cubicBezTo>
                      <a:cubicBezTo>
                        <a:pt x="147693" y="58461"/>
                        <a:pt x="144616" y="52308"/>
                        <a:pt x="141539" y="49231"/>
                      </a:cubicBezTo>
                      <a:cubicBezTo>
                        <a:pt x="135385" y="43077"/>
                        <a:pt x="64616" y="40000"/>
                        <a:pt x="6154" y="40000"/>
                      </a:cubicBezTo>
                      <a:cubicBezTo>
                        <a:pt x="6154" y="40000"/>
                        <a:pt x="6154" y="40000"/>
                        <a:pt x="6154" y="40000"/>
                      </a:cubicBezTo>
                      <a:cubicBezTo>
                        <a:pt x="3077" y="40000"/>
                        <a:pt x="0" y="36923"/>
                        <a:pt x="0" y="33846"/>
                      </a:cubicBezTo>
                      <a:cubicBezTo>
                        <a:pt x="0" y="30769"/>
                        <a:pt x="3077" y="27692"/>
                        <a:pt x="6154" y="27692"/>
                      </a:cubicBezTo>
                      <a:cubicBezTo>
                        <a:pt x="43078" y="21538"/>
                        <a:pt x="104616" y="3077"/>
                        <a:pt x="104616" y="0"/>
                      </a:cubicBezTo>
                      <a:cubicBezTo>
                        <a:pt x="107692" y="0"/>
                        <a:pt x="110769" y="0"/>
                        <a:pt x="110769" y="3077"/>
                      </a:cubicBezTo>
                      <a:cubicBezTo>
                        <a:pt x="110769" y="6154"/>
                        <a:pt x="110769" y="9231"/>
                        <a:pt x="107692" y="9231"/>
                      </a:cubicBezTo>
                      <a:cubicBezTo>
                        <a:pt x="107692" y="9231"/>
                        <a:pt x="83077" y="18462"/>
                        <a:pt x="58462" y="24615"/>
                      </a:cubicBezTo>
                      <a:cubicBezTo>
                        <a:pt x="98462" y="24615"/>
                        <a:pt x="144616" y="27692"/>
                        <a:pt x="150770" y="36923"/>
                      </a:cubicBezTo>
                      <a:cubicBezTo>
                        <a:pt x="156923" y="43077"/>
                        <a:pt x="160000" y="52308"/>
                        <a:pt x="156923" y="61538"/>
                      </a:cubicBezTo>
                      <a:cubicBezTo>
                        <a:pt x="150770" y="76923"/>
                        <a:pt x="141539" y="83077"/>
                        <a:pt x="129231" y="83077"/>
                      </a:cubicBezTo>
                      <a:cubicBezTo>
                        <a:pt x="129231" y="83077"/>
                        <a:pt x="129231" y="83077"/>
                        <a:pt x="129231" y="83077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98A7FAE2-62CD-4E71-9BB0-E429CDE559E1}"/>
                  </a:ext>
                </a:extLst>
              </p:cNvPr>
              <p:cNvSpPr/>
              <p:nvPr/>
            </p:nvSpPr>
            <p:spPr>
              <a:xfrm>
                <a:off x="2960614" y="5928488"/>
                <a:ext cx="118197" cy="58461"/>
              </a:xfrm>
              <a:custGeom>
                <a:avLst/>
                <a:gdLst>
                  <a:gd name="connsiteX0" fmla="*/ 18462 w 118197"/>
                  <a:gd name="connsiteY0" fmla="*/ 58462 h 58461"/>
                  <a:gd name="connsiteX1" fmla="*/ 12308 w 118197"/>
                  <a:gd name="connsiteY1" fmla="*/ 52308 h 58461"/>
                  <a:gd name="connsiteX2" fmla="*/ 18462 w 118197"/>
                  <a:gd name="connsiteY2" fmla="*/ 46154 h 58461"/>
                  <a:gd name="connsiteX3" fmla="*/ 107692 w 118197"/>
                  <a:gd name="connsiteY3" fmla="*/ 24615 h 58461"/>
                  <a:gd name="connsiteX4" fmla="*/ 107692 w 118197"/>
                  <a:gd name="connsiteY4" fmla="*/ 18462 h 58461"/>
                  <a:gd name="connsiteX5" fmla="*/ 92308 w 118197"/>
                  <a:gd name="connsiteY5" fmla="*/ 12308 h 58461"/>
                  <a:gd name="connsiteX6" fmla="*/ 55384 w 118197"/>
                  <a:gd name="connsiteY6" fmla="*/ 15385 h 58461"/>
                  <a:gd name="connsiteX7" fmla="*/ 6153 w 118197"/>
                  <a:gd name="connsiteY7" fmla="*/ 18462 h 58461"/>
                  <a:gd name="connsiteX8" fmla="*/ 0 w 118197"/>
                  <a:gd name="connsiteY8" fmla="*/ 12308 h 58461"/>
                  <a:gd name="connsiteX9" fmla="*/ 6153 w 118197"/>
                  <a:gd name="connsiteY9" fmla="*/ 6154 h 58461"/>
                  <a:gd name="connsiteX10" fmla="*/ 52307 w 118197"/>
                  <a:gd name="connsiteY10" fmla="*/ 3077 h 58461"/>
                  <a:gd name="connsiteX11" fmla="*/ 89231 w 118197"/>
                  <a:gd name="connsiteY11" fmla="*/ 0 h 58461"/>
                  <a:gd name="connsiteX12" fmla="*/ 113846 w 118197"/>
                  <a:gd name="connsiteY12" fmla="*/ 9231 h 58461"/>
                  <a:gd name="connsiteX13" fmla="*/ 116923 w 118197"/>
                  <a:gd name="connsiteY13" fmla="*/ 27693 h 58461"/>
                  <a:gd name="connsiteX14" fmla="*/ 18462 w 118197"/>
                  <a:gd name="connsiteY14" fmla="*/ 58462 h 58461"/>
                  <a:gd name="connsiteX15" fmla="*/ 18462 w 118197"/>
                  <a:gd name="connsiteY15" fmla="*/ 58462 h 5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8197" h="58461">
                    <a:moveTo>
                      <a:pt x="18462" y="58462"/>
                    </a:moveTo>
                    <a:cubicBezTo>
                      <a:pt x="15385" y="58462"/>
                      <a:pt x="12308" y="55385"/>
                      <a:pt x="12308" y="52308"/>
                    </a:cubicBezTo>
                    <a:cubicBezTo>
                      <a:pt x="12308" y="49231"/>
                      <a:pt x="15385" y="46154"/>
                      <a:pt x="18462" y="46154"/>
                    </a:cubicBezTo>
                    <a:cubicBezTo>
                      <a:pt x="64616" y="43077"/>
                      <a:pt x="107692" y="33846"/>
                      <a:pt x="107692" y="24615"/>
                    </a:cubicBezTo>
                    <a:cubicBezTo>
                      <a:pt x="107692" y="18462"/>
                      <a:pt x="107692" y="18462"/>
                      <a:pt x="107692" y="18462"/>
                    </a:cubicBezTo>
                    <a:cubicBezTo>
                      <a:pt x="104615" y="15385"/>
                      <a:pt x="98461" y="12308"/>
                      <a:pt x="92308" y="12308"/>
                    </a:cubicBezTo>
                    <a:cubicBezTo>
                      <a:pt x="86153" y="12308"/>
                      <a:pt x="70769" y="12308"/>
                      <a:pt x="55384" y="15385"/>
                    </a:cubicBezTo>
                    <a:cubicBezTo>
                      <a:pt x="33846" y="18462"/>
                      <a:pt x="15385" y="18462"/>
                      <a:pt x="6153" y="18462"/>
                    </a:cubicBezTo>
                    <a:cubicBezTo>
                      <a:pt x="3077" y="18462"/>
                      <a:pt x="0" y="15385"/>
                      <a:pt x="0" y="12308"/>
                    </a:cubicBezTo>
                    <a:cubicBezTo>
                      <a:pt x="0" y="9231"/>
                      <a:pt x="3077" y="6154"/>
                      <a:pt x="6153" y="6154"/>
                    </a:cubicBezTo>
                    <a:cubicBezTo>
                      <a:pt x="12308" y="6154"/>
                      <a:pt x="33846" y="6154"/>
                      <a:pt x="52307" y="3077"/>
                    </a:cubicBezTo>
                    <a:cubicBezTo>
                      <a:pt x="67692" y="3077"/>
                      <a:pt x="83076" y="0"/>
                      <a:pt x="89231" y="0"/>
                    </a:cubicBezTo>
                    <a:cubicBezTo>
                      <a:pt x="101538" y="0"/>
                      <a:pt x="110769" y="3077"/>
                      <a:pt x="113846" y="9231"/>
                    </a:cubicBezTo>
                    <a:cubicBezTo>
                      <a:pt x="116923" y="12308"/>
                      <a:pt x="120000" y="18462"/>
                      <a:pt x="116923" y="27693"/>
                    </a:cubicBezTo>
                    <a:cubicBezTo>
                      <a:pt x="116923" y="49231"/>
                      <a:pt x="49231" y="55385"/>
                      <a:pt x="18462" y="58462"/>
                    </a:cubicBezTo>
                    <a:cubicBezTo>
                      <a:pt x="21538" y="58462"/>
                      <a:pt x="21538" y="58462"/>
                      <a:pt x="18462" y="5846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F62B707E-4999-4F23-9263-96F070BE4460}"/>
                  </a:ext>
                </a:extLst>
              </p:cNvPr>
              <p:cNvSpPr/>
              <p:nvPr/>
            </p:nvSpPr>
            <p:spPr>
              <a:xfrm>
                <a:off x="2975999" y="5893367"/>
                <a:ext cx="165384" cy="50505"/>
              </a:xfrm>
              <a:custGeom>
                <a:avLst/>
                <a:gdLst>
                  <a:gd name="connsiteX0" fmla="*/ 95385 w 165384"/>
                  <a:gd name="connsiteY0" fmla="*/ 50505 h 50505"/>
                  <a:gd name="connsiteX1" fmla="*/ 89231 w 165384"/>
                  <a:gd name="connsiteY1" fmla="*/ 44351 h 50505"/>
                  <a:gd name="connsiteX2" fmla="*/ 95385 w 165384"/>
                  <a:gd name="connsiteY2" fmla="*/ 38198 h 50505"/>
                  <a:gd name="connsiteX3" fmla="*/ 150769 w 165384"/>
                  <a:gd name="connsiteY3" fmla="*/ 28967 h 50505"/>
                  <a:gd name="connsiteX4" fmla="*/ 150769 w 165384"/>
                  <a:gd name="connsiteY4" fmla="*/ 25890 h 50505"/>
                  <a:gd name="connsiteX5" fmla="*/ 132307 w 165384"/>
                  <a:gd name="connsiteY5" fmla="*/ 13582 h 50505"/>
                  <a:gd name="connsiteX6" fmla="*/ 70769 w 165384"/>
                  <a:gd name="connsiteY6" fmla="*/ 16659 h 50505"/>
                  <a:gd name="connsiteX7" fmla="*/ 61538 w 165384"/>
                  <a:gd name="connsiteY7" fmla="*/ 16659 h 50505"/>
                  <a:gd name="connsiteX8" fmla="*/ 6153 w 165384"/>
                  <a:gd name="connsiteY8" fmla="*/ 16659 h 50505"/>
                  <a:gd name="connsiteX9" fmla="*/ 0 w 165384"/>
                  <a:gd name="connsiteY9" fmla="*/ 10505 h 50505"/>
                  <a:gd name="connsiteX10" fmla="*/ 6153 w 165384"/>
                  <a:gd name="connsiteY10" fmla="*/ 4351 h 50505"/>
                  <a:gd name="connsiteX11" fmla="*/ 61538 w 165384"/>
                  <a:gd name="connsiteY11" fmla="*/ 4351 h 50505"/>
                  <a:gd name="connsiteX12" fmla="*/ 70769 w 165384"/>
                  <a:gd name="connsiteY12" fmla="*/ 4351 h 50505"/>
                  <a:gd name="connsiteX13" fmla="*/ 135384 w 165384"/>
                  <a:gd name="connsiteY13" fmla="*/ 1275 h 50505"/>
                  <a:gd name="connsiteX14" fmla="*/ 163077 w 165384"/>
                  <a:gd name="connsiteY14" fmla="*/ 19736 h 50505"/>
                  <a:gd name="connsiteX15" fmla="*/ 163077 w 165384"/>
                  <a:gd name="connsiteY15" fmla="*/ 35120 h 50505"/>
                  <a:gd name="connsiteX16" fmla="*/ 95385 w 165384"/>
                  <a:gd name="connsiteY16" fmla="*/ 50505 h 50505"/>
                  <a:gd name="connsiteX17" fmla="*/ 95385 w 165384"/>
                  <a:gd name="connsiteY17" fmla="*/ 50505 h 50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5384" h="50505">
                    <a:moveTo>
                      <a:pt x="95385" y="50505"/>
                    </a:moveTo>
                    <a:cubicBezTo>
                      <a:pt x="92308" y="50505"/>
                      <a:pt x="89231" y="47428"/>
                      <a:pt x="89231" y="44351"/>
                    </a:cubicBezTo>
                    <a:cubicBezTo>
                      <a:pt x="89231" y="41274"/>
                      <a:pt x="92308" y="38198"/>
                      <a:pt x="95385" y="38198"/>
                    </a:cubicBezTo>
                    <a:cubicBezTo>
                      <a:pt x="123077" y="38198"/>
                      <a:pt x="147692" y="32044"/>
                      <a:pt x="150769" y="28967"/>
                    </a:cubicBezTo>
                    <a:cubicBezTo>
                      <a:pt x="150769" y="28967"/>
                      <a:pt x="150769" y="25890"/>
                      <a:pt x="150769" y="25890"/>
                    </a:cubicBezTo>
                    <a:cubicBezTo>
                      <a:pt x="147692" y="19736"/>
                      <a:pt x="141539" y="16659"/>
                      <a:pt x="132307" y="13582"/>
                    </a:cubicBezTo>
                    <a:cubicBezTo>
                      <a:pt x="123077" y="10505"/>
                      <a:pt x="86153" y="16659"/>
                      <a:pt x="70769" y="16659"/>
                    </a:cubicBezTo>
                    <a:cubicBezTo>
                      <a:pt x="64616" y="16659"/>
                      <a:pt x="61538" y="16659"/>
                      <a:pt x="61538" y="16659"/>
                    </a:cubicBezTo>
                    <a:cubicBezTo>
                      <a:pt x="52307" y="16659"/>
                      <a:pt x="6153" y="16659"/>
                      <a:pt x="6153" y="16659"/>
                    </a:cubicBezTo>
                    <a:cubicBezTo>
                      <a:pt x="3077" y="16659"/>
                      <a:pt x="0" y="13582"/>
                      <a:pt x="0" y="10505"/>
                    </a:cubicBezTo>
                    <a:cubicBezTo>
                      <a:pt x="0" y="7428"/>
                      <a:pt x="3077" y="4351"/>
                      <a:pt x="6153" y="4351"/>
                    </a:cubicBezTo>
                    <a:cubicBezTo>
                      <a:pt x="18462" y="4351"/>
                      <a:pt x="55384" y="7428"/>
                      <a:pt x="61538" y="4351"/>
                    </a:cubicBezTo>
                    <a:cubicBezTo>
                      <a:pt x="64616" y="4351"/>
                      <a:pt x="67692" y="4351"/>
                      <a:pt x="70769" y="4351"/>
                    </a:cubicBezTo>
                    <a:cubicBezTo>
                      <a:pt x="95385" y="1275"/>
                      <a:pt x="126154" y="-1803"/>
                      <a:pt x="135384" y="1275"/>
                    </a:cubicBezTo>
                    <a:cubicBezTo>
                      <a:pt x="144615" y="4351"/>
                      <a:pt x="156923" y="10505"/>
                      <a:pt x="163077" y="19736"/>
                    </a:cubicBezTo>
                    <a:cubicBezTo>
                      <a:pt x="166154" y="25890"/>
                      <a:pt x="166154" y="28967"/>
                      <a:pt x="163077" y="35120"/>
                    </a:cubicBezTo>
                    <a:cubicBezTo>
                      <a:pt x="153846" y="47428"/>
                      <a:pt x="110769" y="50505"/>
                      <a:pt x="95385" y="50505"/>
                    </a:cubicBezTo>
                    <a:lnTo>
                      <a:pt x="95385" y="50505"/>
                    </a:ln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F2BF68C8-0F6C-4EE2-BF97-5F141CA58A07}"/>
                </a:ext>
              </a:extLst>
            </p:cNvPr>
            <p:cNvSpPr/>
            <p:nvPr/>
          </p:nvSpPr>
          <p:spPr>
            <a:xfrm>
              <a:off x="1274460" y="6263873"/>
              <a:ext cx="695384" cy="33846"/>
            </a:xfrm>
            <a:custGeom>
              <a:avLst/>
              <a:gdLst>
                <a:gd name="connsiteX0" fmla="*/ 246154 w 695384"/>
                <a:gd name="connsiteY0" fmla="*/ 33846 h 33846"/>
                <a:gd name="connsiteX1" fmla="*/ 6154 w 695384"/>
                <a:gd name="connsiteY1" fmla="*/ 27692 h 33846"/>
                <a:gd name="connsiteX2" fmla="*/ 0 w 695384"/>
                <a:gd name="connsiteY2" fmla="*/ 21538 h 33846"/>
                <a:gd name="connsiteX3" fmla="*/ 6154 w 695384"/>
                <a:gd name="connsiteY3" fmla="*/ 15385 h 33846"/>
                <a:gd name="connsiteX4" fmla="*/ 689231 w 695384"/>
                <a:gd name="connsiteY4" fmla="*/ 0 h 33846"/>
                <a:gd name="connsiteX5" fmla="*/ 695384 w 695384"/>
                <a:gd name="connsiteY5" fmla="*/ 6153 h 33846"/>
                <a:gd name="connsiteX6" fmla="*/ 689231 w 695384"/>
                <a:gd name="connsiteY6" fmla="*/ 12308 h 33846"/>
                <a:gd name="connsiteX7" fmla="*/ 246154 w 695384"/>
                <a:gd name="connsiteY7" fmla="*/ 33846 h 3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5384" h="33846">
                  <a:moveTo>
                    <a:pt x="246154" y="33846"/>
                  </a:moveTo>
                  <a:cubicBezTo>
                    <a:pt x="101539" y="33846"/>
                    <a:pt x="9231" y="27692"/>
                    <a:pt x="6154" y="27692"/>
                  </a:cubicBezTo>
                  <a:cubicBezTo>
                    <a:pt x="3077" y="27692"/>
                    <a:pt x="0" y="24615"/>
                    <a:pt x="0" y="21538"/>
                  </a:cubicBezTo>
                  <a:cubicBezTo>
                    <a:pt x="0" y="18462"/>
                    <a:pt x="3077" y="15385"/>
                    <a:pt x="6154" y="15385"/>
                  </a:cubicBezTo>
                  <a:cubicBezTo>
                    <a:pt x="9231" y="15385"/>
                    <a:pt x="316923" y="40000"/>
                    <a:pt x="689231" y="0"/>
                  </a:cubicBezTo>
                  <a:cubicBezTo>
                    <a:pt x="692307" y="0"/>
                    <a:pt x="695384" y="3077"/>
                    <a:pt x="695384" y="6153"/>
                  </a:cubicBezTo>
                  <a:cubicBezTo>
                    <a:pt x="695384" y="9230"/>
                    <a:pt x="692307" y="12308"/>
                    <a:pt x="689231" y="12308"/>
                  </a:cubicBezTo>
                  <a:cubicBezTo>
                    <a:pt x="523077" y="30769"/>
                    <a:pt x="366154" y="33846"/>
                    <a:pt x="246154" y="33846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92309AFA-85D6-4A0B-8179-EAC21D5EB8CD}"/>
                </a:ext>
              </a:extLst>
            </p:cNvPr>
            <p:cNvSpPr/>
            <p:nvPr/>
          </p:nvSpPr>
          <p:spPr>
            <a:xfrm>
              <a:off x="1395653" y="4662496"/>
              <a:ext cx="426499" cy="574007"/>
            </a:xfrm>
            <a:custGeom>
              <a:avLst/>
              <a:gdLst>
                <a:gd name="connsiteX0" fmla="*/ 8038 w 426499"/>
                <a:gd name="connsiteY0" fmla="*/ 182915 h 574007"/>
                <a:gd name="connsiteX1" fmla="*/ 20345 w 426499"/>
                <a:gd name="connsiteY1" fmla="*/ 441377 h 574007"/>
                <a:gd name="connsiteX2" fmla="*/ 171115 w 426499"/>
                <a:gd name="connsiteY2" fmla="*/ 573684 h 574007"/>
                <a:gd name="connsiteX3" fmla="*/ 389576 w 426499"/>
                <a:gd name="connsiteY3" fmla="*/ 429069 h 574007"/>
                <a:gd name="connsiteX4" fmla="*/ 426500 w 426499"/>
                <a:gd name="connsiteY4" fmla="*/ 201377 h 574007"/>
                <a:gd name="connsiteX5" fmla="*/ 211115 w 426499"/>
                <a:gd name="connsiteY5" fmla="*/ 1377 h 574007"/>
                <a:gd name="connsiteX6" fmla="*/ 8038 w 426499"/>
                <a:gd name="connsiteY6" fmla="*/ 182915 h 574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499" h="574007">
                  <a:moveTo>
                    <a:pt x="8038" y="182915"/>
                  </a:moveTo>
                  <a:cubicBezTo>
                    <a:pt x="8038" y="182915"/>
                    <a:pt x="-16578" y="373684"/>
                    <a:pt x="20345" y="441377"/>
                  </a:cubicBezTo>
                  <a:cubicBezTo>
                    <a:pt x="57269" y="509069"/>
                    <a:pt x="118807" y="567531"/>
                    <a:pt x="171115" y="573684"/>
                  </a:cubicBezTo>
                  <a:cubicBezTo>
                    <a:pt x="238807" y="579838"/>
                    <a:pt x="352653" y="496761"/>
                    <a:pt x="389576" y="429069"/>
                  </a:cubicBezTo>
                  <a:cubicBezTo>
                    <a:pt x="426500" y="361377"/>
                    <a:pt x="426500" y="253685"/>
                    <a:pt x="426500" y="201377"/>
                  </a:cubicBezTo>
                  <a:cubicBezTo>
                    <a:pt x="423422" y="105992"/>
                    <a:pt x="398807" y="25992"/>
                    <a:pt x="211115" y="1377"/>
                  </a:cubicBezTo>
                  <a:cubicBezTo>
                    <a:pt x="124961" y="-14008"/>
                    <a:pt x="29576" y="102915"/>
                    <a:pt x="8038" y="182915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CC97F792-88C3-49CB-9A56-CC9CA5052C12}"/>
                </a:ext>
              </a:extLst>
            </p:cNvPr>
            <p:cNvSpPr/>
            <p:nvPr/>
          </p:nvSpPr>
          <p:spPr>
            <a:xfrm>
              <a:off x="1532921" y="4930290"/>
              <a:ext cx="55384" cy="133582"/>
            </a:xfrm>
            <a:custGeom>
              <a:avLst/>
              <a:gdLst>
                <a:gd name="connsiteX0" fmla="*/ 30769 w 55384"/>
                <a:gd name="connsiteY0" fmla="*/ 133582 h 133582"/>
                <a:gd name="connsiteX1" fmla="*/ 6154 w 55384"/>
                <a:gd name="connsiteY1" fmla="*/ 127428 h 133582"/>
                <a:gd name="connsiteX2" fmla="*/ 0 w 55384"/>
                <a:gd name="connsiteY2" fmla="*/ 115121 h 133582"/>
                <a:gd name="connsiteX3" fmla="*/ 27693 w 55384"/>
                <a:gd name="connsiteY3" fmla="*/ 4351 h 133582"/>
                <a:gd name="connsiteX4" fmla="*/ 33846 w 55384"/>
                <a:gd name="connsiteY4" fmla="*/ 1275 h 133582"/>
                <a:gd name="connsiteX5" fmla="*/ 36923 w 55384"/>
                <a:gd name="connsiteY5" fmla="*/ 7428 h 133582"/>
                <a:gd name="connsiteX6" fmla="*/ 9231 w 55384"/>
                <a:gd name="connsiteY6" fmla="*/ 115121 h 133582"/>
                <a:gd name="connsiteX7" fmla="*/ 9231 w 55384"/>
                <a:gd name="connsiteY7" fmla="*/ 118198 h 133582"/>
                <a:gd name="connsiteX8" fmla="*/ 49231 w 55384"/>
                <a:gd name="connsiteY8" fmla="*/ 118198 h 133582"/>
                <a:gd name="connsiteX9" fmla="*/ 55385 w 55384"/>
                <a:gd name="connsiteY9" fmla="*/ 124352 h 133582"/>
                <a:gd name="connsiteX10" fmla="*/ 49231 w 55384"/>
                <a:gd name="connsiteY10" fmla="*/ 130505 h 133582"/>
                <a:gd name="connsiteX11" fmla="*/ 30769 w 55384"/>
                <a:gd name="connsiteY11" fmla="*/ 133582 h 133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384" h="133582">
                  <a:moveTo>
                    <a:pt x="30769" y="133582"/>
                  </a:moveTo>
                  <a:cubicBezTo>
                    <a:pt x="21538" y="133582"/>
                    <a:pt x="12308" y="133582"/>
                    <a:pt x="6154" y="127428"/>
                  </a:cubicBezTo>
                  <a:cubicBezTo>
                    <a:pt x="3077" y="124352"/>
                    <a:pt x="0" y="121274"/>
                    <a:pt x="0" y="115121"/>
                  </a:cubicBezTo>
                  <a:cubicBezTo>
                    <a:pt x="0" y="93582"/>
                    <a:pt x="27693" y="7428"/>
                    <a:pt x="27693" y="4351"/>
                  </a:cubicBezTo>
                  <a:cubicBezTo>
                    <a:pt x="27693" y="1275"/>
                    <a:pt x="30769" y="-1803"/>
                    <a:pt x="33846" y="1275"/>
                  </a:cubicBezTo>
                  <a:cubicBezTo>
                    <a:pt x="36923" y="1275"/>
                    <a:pt x="40000" y="4351"/>
                    <a:pt x="36923" y="7428"/>
                  </a:cubicBezTo>
                  <a:cubicBezTo>
                    <a:pt x="30769" y="32044"/>
                    <a:pt x="9231" y="96659"/>
                    <a:pt x="9231" y="115121"/>
                  </a:cubicBezTo>
                  <a:cubicBezTo>
                    <a:pt x="9231" y="115121"/>
                    <a:pt x="9231" y="118198"/>
                    <a:pt x="9231" y="118198"/>
                  </a:cubicBezTo>
                  <a:cubicBezTo>
                    <a:pt x="15385" y="124352"/>
                    <a:pt x="36923" y="121274"/>
                    <a:pt x="49231" y="118198"/>
                  </a:cubicBezTo>
                  <a:cubicBezTo>
                    <a:pt x="52308" y="118198"/>
                    <a:pt x="55385" y="118198"/>
                    <a:pt x="55385" y="124352"/>
                  </a:cubicBezTo>
                  <a:cubicBezTo>
                    <a:pt x="55385" y="127428"/>
                    <a:pt x="55385" y="130505"/>
                    <a:pt x="49231" y="130505"/>
                  </a:cubicBezTo>
                  <a:cubicBezTo>
                    <a:pt x="52308" y="133582"/>
                    <a:pt x="43077" y="133582"/>
                    <a:pt x="30769" y="133582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23D0EB08-A58C-4FA9-8A08-0DAC3BE92396}"/>
                </a:ext>
              </a:extLst>
            </p:cNvPr>
            <p:cNvSpPr/>
            <p:nvPr/>
          </p:nvSpPr>
          <p:spPr>
            <a:xfrm>
              <a:off x="1511383" y="5106949"/>
              <a:ext cx="121274" cy="27692"/>
            </a:xfrm>
            <a:custGeom>
              <a:avLst/>
              <a:gdLst>
                <a:gd name="connsiteX0" fmla="*/ 61538 w 121274"/>
                <a:gd name="connsiteY0" fmla="*/ 27692 h 27692"/>
                <a:gd name="connsiteX1" fmla="*/ 3077 w 121274"/>
                <a:gd name="connsiteY1" fmla="*/ 12308 h 27692"/>
                <a:gd name="connsiteX2" fmla="*/ 0 w 121274"/>
                <a:gd name="connsiteY2" fmla="*/ 3077 h 27692"/>
                <a:gd name="connsiteX3" fmla="*/ 9231 w 121274"/>
                <a:gd name="connsiteY3" fmla="*/ 0 h 27692"/>
                <a:gd name="connsiteX4" fmla="*/ 110769 w 121274"/>
                <a:gd name="connsiteY4" fmla="*/ 0 h 27692"/>
                <a:gd name="connsiteX5" fmla="*/ 120000 w 121274"/>
                <a:gd name="connsiteY5" fmla="*/ 3077 h 27692"/>
                <a:gd name="connsiteX6" fmla="*/ 116923 w 121274"/>
                <a:gd name="connsiteY6" fmla="*/ 12308 h 27692"/>
                <a:gd name="connsiteX7" fmla="*/ 61538 w 121274"/>
                <a:gd name="connsiteY7" fmla="*/ 27692 h 2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274" h="27692">
                  <a:moveTo>
                    <a:pt x="61538" y="27692"/>
                  </a:moveTo>
                  <a:cubicBezTo>
                    <a:pt x="27692" y="27692"/>
                    <a:pt x="6154" y="15385"/>
                    <a:pt x="3077" y="12308"/>
                  </a:cubicBezTo>
                  <a:cubicBezTo>
                    <a:pt x="0" y="9231"/>
                    <a:pt x="0" y="6154"/>
                    <a:pt x="0" y="3077"/>
                  </a:cubicBezTo>
                  <a:cubicBezTo>
                    <a:pt x="3077" y="0"/>
                    <a:pt x="6154" y="0"/>
                    <a:pt x="9231" y="0"/>
                  </a:cubicBezTo>
                  <a:cubicBezTo>
                    <a:pt x="9231" y="0"/>
                    <a:pt x="61538" y="27692"/>
                    <a:pt x="110769" y="0"/>
                  </a:cubicBezTo>
                  <a:cubicBezTo>
                    <a:pt x="113846" y="0"/>
                    <a:pt x="116923" y="0"/>
                    <a:pt x="120000" y="3077"/>
                  </a:cubicBezTo>
                  <a:cubicBezTo>
                    <a:pt x="123077" y="6154"/>
                    <a:pt x="120000" y="9231"/>
                    <a:pt x="116923" y="12308"/>
                  </a:cubicBezTo>
                  <a:cubicBezTo>
                    <a:pt x="95385" y="24615"/>
                    <a:pt x="76923" y="27692"/>
                    <a:pt x="61538" y="27692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9C493F63-9DB3-4FC7-92CC-0D788EEEB3E0}"/>
                </a:ext>
              </a:extLst>
            </p:cNvPr>
            <p:cNvSpPr/>
            <p:nvPr/>
          </p:nvSpPr>
          <p:spPr>
            <a:xfrm>
              <a:off x="1461549" y="4903088"/>
              <a:ext cx="41207" cy="41568"/>
            </a:xfrm>
            <a:custGeom>
              <a:avLst/>
              <a:gdLst>
                <a:gd name="connsiteX0" fmla="*/ 40604 w 41207"/>
                <a:gd name="connsiteY0" fmla="*/ 25399 h 41568"/>
                <a:gd name="connsiteX1" fmla="*/ 15988 w 41207"/>
                <a:gd name="connsiteY1" fmla="*/ 40784 h 41568"/>
                <a:gd name="connsiteX2" fmla="*/ 603 w 41207"/>
                <a:gd name="connsiteY2" fmla="*/ 16169 h 41568"/>
                <a:gd name="connsiteX3" fmla="*/ 25219 w 41207"/>
                <a:gd name="connsiteY3" fmla="*/ 784 h 41568"/>
                <a:gd name="connsiteX4" fmla="*/ 40604 w 41207"/>
                <a:gd name="connsiteY4" fmla="*/ 25399 h 41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07" h="41568">
                  <a:moveTo>
                    <a:pt x="40604" y="25399"/>
                  </a:moveTo>
                  <a:cubicBezTo>
                    <a:pt x="37527" y="37707"/>
                    <a:pt x="28296" y="43861"/>
                    <a:pt x="15988" y="40784"/>
                  </a:cubicBezTo>
                  <a:cubicBezTo>
                    <a:pt x="6758" y="37707"/>
                    <a:pt x="-2473" y="28477"/>
                    <a:pt x="603" y="16169"/>
                  </a:cubicBezTo>
                  <a:cubicBezTo>
                    <a:pt x="3681" y="3861"/>
                    <a:pt x="12911" y="-2293"/>
                    <a:pt x="25219" y="784"/>
                  </a:cubicBezTo>
                  <a:cubicBezTo>
                    <a:pt x="34450" y="3861"/>
                    <a:pt x="43681" y="13092"/>
                    <a:pt x="40604" y="2539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1D1AF9F1-F199-4DAC-8A6C-B4F23D2C3DD9}"/>
                </a:ext>
              </a:extLst>
            </p:cNvPr>
            <p:cNvSpPr/>
            <p:nvPr/>
          </p:nvSpPr>
          <p:spPr>
            <a:xfrm>
              <a:off x="1652137" y="4909423"/>
              <a:ext cx="41568" cy="41206"/>
            </a:xfrm>
            <a:custGeom>
              <a:avLst/>
              <a:gdLst>
                <a:gd name="connsiteX0" fmla="*/ 40784 w 41568"/>
                <a:gd name="connsiteY0" fmla="*/ 25219 h 41206"/>
                <a:gd name="connsiteX1" fmla="*/ 16169 w 41568"/>
                <a:gd name="connsiteY1" fmla="*/ 40603 h 41206"/>
                <a:gd name="connsiteX2" fmla="*/ 784 w 41568"/>
                <a:gd name="connsiteY2" fmla="*/ 15988 h 41206"/>
                <a:gd name="connsiteX3" fmla="*/ 25399 w 41568"/>
                <a:gd name="connsiteY3" fmla="*/ 604 h 41206"/>
                <a:gd name="connsiteX4" fmla="*/ 40784 w 41568"/>
                <a:gd name="connsiteY4" fmla="*/ 25219 h 41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68" h="41206">
                  <a:moveTo>
                    <a:pt x="40784" y="25219"/>
                  </a:moveTo>
                  <a:cubicBezTo>
                    <a:pt x="37707" y="34449"/>
                    <a:pt x="28476" y="43680"/>
                    <a:pt x="16169" y="40603"/>
                  </a:cubicBezTo>
                  <a:cubicBezTo>
                    <a:pt x="3861" y="37527"/>
                    <a:pt x="-2293" y="28296"/>
                    <a:pt x="784" y="15988"/>
                  </a:cubicBezTo>
                  <a:cubicBezTo>
                    <a:pt x="3861" y="6757"/>
                    <a:pt x="13092" y="-2474"/>
                    <a:pt x="25399" y="604"/>
                  </a:cubicBezTo>
                  <a:cubicBezTo>
                    <a:pt x="37707" y="3680"/>
                    <a:pt x="43861" y="15988"/>
                    <a:pt x="40784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B2353832-193B-4713-A178-FCCD1383B8CC}"/>
                </a:ext>
              </a:extLst>
            </p:cNvPr>
            <p:cNvSpPr/>
            <p:nvPr/>
          </p:nvSpPr>
          <p:spPr>
            <a:xfrm>
              <a:off x="1435229" y="4853466"/>
              <a:ext cx="92813" cy="35021"/>
            </a:xfrm>
            <a:custGeom>
              <a:avLst/>
              <a:gdLst>
                <a:gd name="connsiteX0" fmla="*/ 8462 w 92813"/>
                <a:gd name="connsiteY0" fmla="*/ 35022 h 35021"/>
                <a:gd name="connsiteX1" fmla="*/ 2308 w 92813"/>
                <a:gd name="connsiteY1" fmla="*/ 31945 h 35021"/>
                <a:gd name="connsiteX2" fmla="*/ 2308 w 92813"/>
                <a:gd name="connsiteY2" fmla="*/ 19637 h 35021"/>
                <a:gd name="connsiteX3" fmla="*/ 88461 w 92813"/>
                <a:gd name="connsiteY3" fmla="*/ 10407 h 35021"/>
                <a:gd name="connsiteX4" fmla="*/ 91538 w 92813"/>
                <a:gd name="connsiteY4" fmla="*/ 19637 h 35021"/>
                <a:gd name="connsiteX5" fmla="*/ 82308 w 92813"/>
                <a:gd name="connsiteY5" fmla="*/ 22714 h 35021"/>
                <a:gd name="connsiteX6" fmla="*/ 14615 w 92813"/>
                <a:gd name="connsiteY6" fmla="*/ 28868 h 35021"/>
                <a:gd name="connsiteX7" fmla="*/ 8462 w 92813"/>
                <a:gd name="connsiteY7" fmla="*/ 35022 h 35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5021">
                  <a:moveTo>
                    <a:pt x="8462" y="35022"/>
                  </a:moveTo>
                  <a:cubicBezTo>
                    <a:pt x="5384" y="35022"/>
                    <a:pt x="5384" y="35022"/>
                    <a:pt x="2308" y="31945"/>
                  </a:cubicBezTo>
                  <a:cubicBezTo>
                    <a:pt x="-769" y="28868"/>
                    <a:pt x="-769" y="22714"/>
                    <a:pt x="2308" y="19637"/>
                  </a:cubicBezTo>
                  <a:cubicBezTo>
                    <a:pt x="30000" y="-11132"/>
                    <a:pt x="70000" y="1176"/>
                    <a:pt x="88461" y="10407"/>
                  </a:cubicBezTo>
                  <a:cubicBezTo>
                    <a:pt x="91538" y="13483"/>
                    <a:pt x="94616" y="16560"/>
                    <a:pt x="91538" y="19637"/>
                  </a:cubicBezTo>
                  <a:cubicBezTo>
                    <a:pt x="88461" y="22714"/>
                    <a:pt x="85385" y="25791"/>
                    <a:pt x="82308" y="22714"/>
                  </a:cubicBezTo>
                  <a:cubicBezTo>
                    <a:pt x="79231" y="22714"/>
                    <a:pt x="39231" y="1176"/>
                    <a:pt x="14615" y="28868"/>
                  </a:cubicBezTo>
                  <a:cubicBezTo>
                    <a:pt x="14615" y="35022"/>
                    <a:pt x="11538" y="35022"/>
                    <a:pt x="8462" y="35022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50464067-6B39-46CD-A3E6-96CF1FC78F85}"/>
                </a:ext>
              </a:extLst>
            </p:cNvPr>
            <p:cNvSpPr/>
            <p:nvPr/>
          </p:nvSpPr>
          <p:spPr>
            <a:xfrm>
              <a:off x="1627032" y="4851878"/>
              <a:ext cx="92813" cy="36609"/>
            </a:xfrm>
            <a:custGeom>
              <a:avLst/>
              <a:gdLst>
                <a:gd name="connsiteX0" fmla="*/ 87429 w 92813"/>
                <a:gd name="connsiteY0" fmla="*/ 36610 h 36609"/>
                <a:gd name="connsiteX1" fmla="*/ 81274 w 92813"/>
                <a:gd name="connsiteY1" fmla="*/ 33533 h 36609"/>
                <a:gd name="connsiteX2" fmla="*/ 13582 w 92813"/>
                <a:gd name="connsiteY2" fmla="*/ 27379 h 36609"/>
                <a:gd name="connsiteX3" fmla="*/ 1275 w 92813"/>
                <a:gd name="connsiteY3" fmla="*/ 24302 h 36609"/>
                <a:gd name="connsiteX4" fmla="*/ 4351 w 92813"/>
                <a:gd name="connsiteY4" fmla="*/ 11995 h 36609"/>
                <a:gd name="connsiteX5" fmla="*/ 90505 w 92813"/>
                <a:gd name="connsiteY5" fmla="*/ 21225 h 36609"/>
                <a:gd name="connsiteX6" fmla="*/ 90505 w 92813"/>
                <a:gd name="connsiteY6" fmla="*/ 33533 h 36609"/>
                <a:gd name="connsiteX7" fmla="*/ 87429 w 92813"/>
                <a:gd name="connsiteY7" fmla="*/ 36610 h 3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6609">
                  <a:moveTo>
                    <a:pt x="87429" y="36610"/>
                  </a:moveTo>
                  <a:cubicBezTo>
                    <a:pt x="84351" y="36610"/>
                    <a:pt x="84351" y="36610"/>
                    <a:pt x="81274" y="33533"/>
                  </a:cubicBezTo>
                  <a:cubicBezTo>
                    <a:pt x="81274" y="33533"/>
                    <a:pt x="50505" y="2764"/>
                    <a:pt x="13582" y="27379"/>
                  </a:cubicBezTo>
                  <a:cubicBezTo>
                    <a:pt x="10505" y="30456"/>
                    <a:pt x="4351" y="27379"/>
                    <a:pt x="1275" y="24302"/>
                  </a:cubicBezTo>
                  <a:cubicBezTo>
                    <a:pt x="-1803" y="21225"/>
                    <a:pt x="1275" y="15071"/>
                    <a:pt x="4351" y="11995"/>
                  </a:cubicBezTo>
                  <a:cubicBezTo>
                    <a:pt x="41275" y="-12621"/>
                    <a:pt x="78198" y="5841"/>
                    <a:pt x="90505" y="21225"/>
                  </a:cubicBezTo>
                  <a:cubicBezTo>
                    <a:pt x="93582" y="24302"/>
                    <a:pt x="93582" y="30456"/>
                    <a:pt x="90505" y="33533"/>
                  </a:cubicBezTo>
                  <a:cubicBezTo>
                    <a:pt x="90505" y="36610"/>
                    <a:pt x="87429" y="36610"/>
                    <a:pt x="87429" y="36610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B7171E98-1D57-4CDD-BD31-FF2A095827B8}"/>
                </a:ext>
              </a:extLst>
            </p:cNvPr>
            <p:cNvSpPr/>
            <p:nvPr/>
          </p:nvSpPr>
          <p:spPr>
            <a:xfrm>
              <a:off x="1378847" y="4627272"/>
              <a:ext cx="279261" cy="258139"/>
            </a:xfrm>
            <a:custGeom>
              <a:avLst/>
              <a:gdLst>
                <a:gd name="connsiteX0" fmla="*/ 277151 w 279261"/>
                <a:gd name="connsiteY0" fmla="*/ 2755 h 258139"/>
                <a:gd name="connsiteX1" fmla="*/ 240228 w 279261"/>
                <a:gd name="connsiteY1" fmla="*/ 131985 h 258139"/>
                <a:gd name="connsiteX2" fmla="*/ 228 w 279261"/>
                <a:gd name="connsiteY2" fmla="*/ 258139 h 258139"/>
                <a:gd name="connsiteX3" fmla="*/ 277151 w 279261"/>
                <a:gd name="connsiteY3" fmla="*/ 2755 h 258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261" h="258139">
                  <a:moveTo>
                    <a:pt x="277151" y="2755"/>
                  </a:moveTo>
                  <a:cubicBezTo>
                    <a:pt x="277151" y="2755"/>
                    <a:pt x="292536" y="91985"/>
                    <a:pt x="240228" y="131985"/>
                  </a:cubicBezTo>
                  <a:cubicBezTo>
                    <a:pt x="240228" y="131985"/>
                    <a:pt x="27921" y="175063"/>
                    <a:pt x="228" y="258139"/>
                  </a:cubicBezTo>
                  <a:cubicBezTo>
                    <a:pt x="228" y="258139"/>
                    <a:pt x="-18233" y="-31092"/>
                    <a:pt x="277151" y="2755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77C2E15A-BF11-4E02-B38D-DFCE4316B6C5}"/>
                </a:ext>
              </a:extLst>
            </p:cNvPr>
            <p:cNvSpPr/>
            <p:nvPr/>
          </p:nvSpPr>
          <p:spPr>
            <a:xfrm>
              <a:off x="1619075" y="4630026"/>
              <a:ext cx="227364" cy="317422"/>
            </a:xfrm>
            <a:custGeom>
              <a:avLst/>
              <a:gdLst>
                <a:gd name="connsiteX0" fmla="*/ 0 w 227364"/>
                <a:gd name="connsiteY0" fmla="*/ 129231 h 317422"/>
                <a:gd name="connsiteX1" fmla="*/ 141539 w 227364"/>
                <a:gd name="connsiteY1" fmla="*/ 184615 h 317422"/>
                <a:gd name="connsiteX2" fmla="*/ 200000 w 227364"/>
                <a:gd name="connsiteY2" fmla="*/ 304615 h 317422"/>
                <a:gd name="connsiteX3" fmla="*/ 224616 w 227364"/>
                <a:gd name="connsiteY3" fmla="*/ 301539 h 317422"/>
                <a:gd name="connsiteX4" fmla="*/ 33846 w 227364"/>
                <a:gd name="connsiteY4" fmla="*/ 0 h 317422"/>
                <a:gd name="connsiteX5" fmla="*/ 0 w 227364"/>
                <a:gd name="connsiteY5" fmla="*/ 129231 h 317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364" h="317422">
                  <a:moveTo>
                    <a:pt x="0" y="129231"/>
                  </a:moveTo>
                  <a:cubicBezTo>
                    <a:pt x="0" y="129231"/>
                    <a:pt x="89231" y="178462"/>
                    <a:pt x="141539" y="184615"/>
                  </a:cubicBezTo>
                  <a:cubicBezTo>
                    <a:pt x="193846" y="190769"/>
                    <a:pt x="200000" y="304615"/>
                    <a:pt x="200000" y="304615"/>
                  </a:cubicBezTo>
                  <a:cubicBezTo>
                    <a:pt x="200000" y="304615"/>
                    <a:pt x="221538" y="335384"/>
                    <a:pt x="224616" y="301539"/>
                  </a:cubicBezTo>
                  <a:cubicBezTo>
                    <a:pt x="233846" y="221538"/>
                    <a:pt x="230769" y="21538"/>
                    <a:pt x="33846" y="0"/>
                  </a:cubicBezTo>
                  <a:cubicBezTo>
                    <a:pt x="36923" y="0"/>
                    <a:pt x="24615" y="123077"/>
                    <a:pt x="0" y="129231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8FD5329E-DB66-405E-9D7B-1A77A25B41CF}"/>
                </a:ext>
              </a:extLst>
            </p:cNvPr>
            <p:cNvSpPr/>
            <p:nvPr/>
          </p:nvSpPr>
          <p:spPr>
            <a:xfrm>
              <a:off x="1782152" y="4920835"/>
              <a:ext cx="78298" cy="115102"/>
            </a:xfrm>
            <a:custGeom>
              <a:avLst/>
              <a:gdLst>
                <a:gd name="connsiteX0" fmla="*/ 12308 w 78298"/>
                <a:gd name="connsiteY0" fmla="*/ 16883 h 115102"/>
                <a:gd name="connsiteX1" fmla="*/ 70769 w 78298"/>
                <a:gd name="connsiteY1" fmla="*/ 7652 h 115102"/>
                <a:gd name="connsiteX2" fmla="*/ 12308 w 78298"/>
                <a:gd name="connsiteY2" fmla="*/ 112268 h 115102"/>
                <a:gd name="connsiteX3" fmla="*/ 12308 w 78298"/>
                <a:gd name="connsiteY3" fmla="*/ 16883 h 115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98" h="115102">
                  <a:moveTo>
                    <a:pt x="12308" y="16883"/>
                  </a:moveTo>
                  <a:cubicBezTo>
                    <a:pt x="12308" y="16883"/>
                    <a:pt x="46154" y="-13886"/>
                    <a:pt x="70769" y="7652"/>
                  </a:cubicBezTo>
                  <a:cubicBezTo>
                    <a:pt x="95384" y="26114"/>
                    <a:pt x="55385" y="133806"/>
                    <a:pt x="12308" y="112268"/>
                  </a:cubicBezTo>
                  <a:cubicBezTo>
                    <a:pt x="-15385" y="90729"/>
                    <a:pt x="12308" y="16883"/>
                    <a:pt x="12308" y="16883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BC7BE825-E5DB-4F0A-9205-47E4FF5DD374}"/>
                </a:ext>
              </a:extLst>
            </p:cNvPr>
            <p:cNvSpPr/>
            <p:nvPr/>
          </p:nvSpPr>
          <p:spPr>
            <a:xfrm>
              <a:off x="1612922" y="4623872"/>
              <a:ext cx="210505" cy="304615"/>
            </a:xfrm>
            <a:custGeom>
              <a:avLst/>
              <a:gdLst>
                <a:gd name="connsiteX0" fmla="*/ 206154 w 210505"/>
                <a:gd name="connsiteY0" fmla="*/ 304615 h 304615"/>
                <a:gd name="connsiteX1" fmla="*/ 200000 w 210505"/>
                <a:gd name="connsiteY1" fmla="*/ 298461 h 304615"/>
                <a:gd name="connsiteX2" fmla="*/ 147692 w 210505"/>
                <a:gd name="connsiteY2" fmla="*/ 193846 h 304615"/>
                <a:gd name="connsiteX3" fmla="*/ 3077 w 210505"/>
                <a:gd name="connsiteY3" fmla="*/ 135384 h 304615"/>
                <a:gd name="connsiteX4" fmla="*/ 0 w 210505"/>
                <a:gd name="connsiteY4" fmla="*/ 132308 h 304615"/>
                <a:gd name="connsiteX5" fmla="*/ 0 w 210505"/>
                <a:gd name="connsiteY5" fmla="*/ 126154 h 304615"/>
                <a:gd name="connsiteX6" fmla="*/ 18461 w 210505"/>
                <a:gd name="connsiteY6" fmla="*/ 101539 h 304615"/>
                <a:gd name="connsiteX7" fmla="*/ 27692 w 210505"/>
                <a:gd name="connsiteY7" fmla="*/ 61538 h 304615"/>
                <a:gd name="connsiteX8" fmla="*/ 30769 w 210505"/>
                <a:gd name="connsiteY8" fmla="*/ 33846 h 304615"/>
                <a:gd name="connsiteX9" fmla="*/ 33846 w 210505"/>
                <a:gd name="connsiteY9" fmla="*/ 6154 h 304615"/>
                <a:gd name="connsiteX10" fmla="*/ 40000 w 210505"/>
                <a:gd name="connsiteY10" fmla="*/ 0 h 304615"/>
                <a:gd name="connsiteX11" fmla="*/ 46154 w 210505"/>
                <a:gd name="connsiteY11" fmla="*/ 6154 h 304615"/>
                <a:gd name="connsiteX12" fmla="*/ 43077 w 210505"/>
                <a:gd name="connsiteY12" fmla="*/ 33846 h 304615"/>
                <a:gd name="connsiteX13" fmla="*/ 40000 w 210505"/>
                <a:gd name="connsiteY13" fmla="*/ 61538 h 304615"/>
                <a:gd name="connsiteX14" fmla="*/ 27692 w 210505"/>
                <a:gd name="connsiteY14" fmla="*/ 104615 h 304615"/>
                <a:gd name="connsiteX15" fmla="*/ 12308 w 210505"/>
                <a:gd name="connsiteY15" fmla="*/ 126154 h 304615"/>
                <a:gd name="connsiteX16" fmla="*/ 147692 w 210505"/>
                <a:gd name="connsiteY16" fmla="*/ 178462 h 304615"/>
                <a:gd name="connsiteX17" fmla="*/ 209231 w 210505"/>
                <a:gd name="connsiteY17" fmla="*/ 295384 h 304615"/>
                <a:gd name="connsiteX18" fmla="*/ 206154 w 210505"/>
                <a:gd name="connsiteY18" fmla="*/ 304615 h 304615"/>
                <a:gd name="connsiteX19" fmla="*/ 206154 w 210505"/>
                <a:gd name="connsiteY19" fmla="*/ 304615 h 30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0505" h="304615">
                  <a:moveTo>
                    <a:pt x="206154" y="304615"/>
                  </a:moveTo>
                  <a:cubicBezTo>
                    <a:pt x="203077" y="304615"/>
                    <a:pt x="200000" y="301539"/>
                    <a:pt x="200000" y="298461"/>
                  </a:cubicBezTo>
                  <a:cubicBezTo>
                    <a:pt x="200000" y="298461"/>
                    <a:pt x="200000" y="203077"/>
                    <a:pt x="147692" y="193846"/>
                  </a:cubicBezTo>
                  <a:cubicBezTo>
                    <a:pt x="76923" y="184615"/>
                    <a:pt x="6154" y="138462"/>
                    <a:pt x="3077" y="135384"/>
                  </a:cubicBezTo>
                  <a:cubicBezTo>
                    <a:pt x="3077" y="135384"/>
                    <a:pt x="0" y="132308"/>
                    <a:pt x="0" y="132308"/>
                  </a:cubicBezTo>
                  <a:cubicBezTo>
                    <a:pt x="0" y="129231"/>
                    <a:pt x="0" y="129231"/>
                    <a:pt x="0" y="126154"/>
                  </a:cubicBezTo>
                  <a:cubicBezTo>
                    <a:pt x="6154" y="120000"/>
                    <a:pt x="12308" y="110769"/>
                    <a:pt x="18461" y="101539"/>
                  </a:cubicBezTo>
                  <a:cubicBezTo>
                    <a:pt x="24615" y="89231"/>
                    <a:pt x="27692" y="73846"/>
                    <a:pt x="27692" y="61538"/>
                  </a:cubicBezTo>
                  <a:cubicBezTo>
                    <a:pt x="27692" y="55385"/>
                    <a:pt x="30769" y="43077"/>
                    <a:pt x="30769" y="33846"/>
                  </a:cubicBezTo>
                  <a:cubicBezTo>
                    <a:pt x="30769" y="21538"/>
                    <a:pt x="33846" y="12308"/>
                    <a:pt x="33846" y="6154"/>
                  </a:cubicBezTo>
                  <a:cubicBezTo>
                    <a:pt x="33846" y="3077"/>
                    <a:pt x="36923" y="0"/>
                    <a:pt x="40000" y="0"/>
                  </a:cubicBezTo>
                  <a:cubicBezTo>
                    <a:pt x="43077" y="0"/>
                    <a:pt x="46154" y="3077"/>
                    <a:pt x="46154" y="6154"/>
                  </a:cubicBezTo>
                  <a:cubicBezTo>
                    <a:pt x="46154" y="12308"/>
                    <a:pt x="43077" y="24615"/>
                    <a:pt x="43077" y="33846"/>
                  </a:cubicBezTo>
                  <a:cubicBezTo>
                    <a:pt x="43077" y="46154"/>
                    <a:pt x="40000" y="55385"/>
                    <a:pt x="40000" y="61538"/>
                  </a:cubicBezTo>
                  <a:cubicBezTo>
                    <a:pt x="36923" y="76923"/>
                    <a:pt x="36923" y="92308"/>
                    <a:pt x="27692" y="104615"/>
                  </a:cubicBezTo>
                  <a:cubicBezTo>
                    <a:pt x="24615" y="110769"/>
                    <a:pt x="18461" y="120000"/>
                    <a:pt x="12308" y="126154"/>
                  </a:cubicBezTo>
                  <a:cubicBezTo>
                    <a:pt x="30769" y="138462"/>
                    <a:pt x="89231" y="169231"/>
                    <a:pt x="147692" y="178462"/>
                  </a:cubicBezTo>
                  <a:cubicBezTo>
                    <a:pt x="206154" y="187692"/>
                    <a:pt x="209231" y="289231"/>
                    <a:pt x="209231" y="295384"/>
                  </a:cubicBezTo>
                  <a:cubicBezTo>
                    <a:pt x="212308" y="301539"/>
                    <a:pt x="209231" y="304615"/>
                    <a:pt x="206154" y="304615"/>
                  </a:cubicBezTo>
                  <a:lnTo>
                    <a:pt x="206154" y="304615"/>
                  </a:ln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22135583-DE5B-43E8-B532-7D7F2A055C89}"/>
                </a:ext>
              </a:extLst>
            </p:cNvPr>
            <p:cNvSpPr/>
            <p:nvPr/>
          </p:nvSpPr>
          <p:spPr>
            <a:xfrm>
              <a:off x="1283354" y="4771565"/>
              <a:ext cx="280336" cy="289230"/>
            </a:xfrm>
            <a:custGeom>
              <a:avLst/>
              <a:gdLst>
                <a:gd name="connsiteX0" fmla="*/ 6491 w 280336"/>
                <a:gd name="connsiteY0" fmla="*/ 289231 h 289230"/>
                <a:gd name="connsiteX1" fmla="*/ 337 w 280336"/>
                <a:gd name="connsiteY1" fmla="*/ 283077 h 289230"/>
                <a:gd name="connsiteX2" fmla="*/ 37260 w 280336"/>
                <a:gd name="connsiteY2" fmla="*/ 218461 h 289230"/>
                <a:gd name="connsiteX3" fmla="*/ 89567 w 280336"/>
                <a:gd name="connsiteY3" fmla="*/ 132307 h 289230"/>
                <a:gd name="connsiteX4" fmla="*/ 274183 w 280336"/>
                <a:gd name="connsiteY4" fmla="*/ 0 h 289230"/>
                <a:gd name="connsiteX5" fmla="*/ 280337 w 280336"/>
                <a:gd name="connsiteY5" fmla="*/ 6154 h 289230"/>
                <a:gd name="connsiteX6" fmla="*/ 274183 w 280336"/>
                <a:gd name="connsiteY6" fmla="*/ 12308 h 289230"/>
                <a:gd name="connsiteX7" fmla="*/ 98798 w 280336"/>
                <a:gd name="connsiteY7" fmla="*/ 135384 h 289230"/>
                <a:gd name="connsiteX8" fmla="*/ 43414 w 280336"/>
                <a:gd name="connsiteY8" fmla="*/ 230769 h 289230"/>
                <a:gd name="connsiteX9" fmla="*/ 12644 w 280336"/>
                <a:gd name="connsiteY9" fmla="*/ 286153 h 289230"/>
                <a:gd name="connsiteX10" fmla="*/ 6491 w 280336"/>
                <a:gd name="connsiteY10" fmla="*/ 289231 h 289230"/>
                <a:gd name="connsiteX11" fmla="*/ 6491 w 280336"/>
                <a:gd name="connsiteY11" fmla="*/ 289231 h 28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336" h="289230">
                  <a:moveTo>
                    <a:pt x="6491" y="289231"/>
                  </a:moveTo>
                  <a:cubicBezTo>
                    <a:pt x="3413" y="289231"/>
                    <a:pt x="337" y="286153"/>
                    <a:pt x="337" y="283077"/>
                  </a:cubicBezTo>
                  <a:cubicBezTo>
                    <a:pt x="-2740" y="246154"/>
                    <a:pt x="15721" y="233846"/>
                    <a:pt x="37260" y="218461"/>
                  </a:cubicBezTo>
                  <a:cubicBezTo>
                    <a:pt x="58798" y="203077"/>
                    <a:pt x="83414" y="184615"/>
                    <a:pt x="89567" y="132307"/>
                  </a:cubicBezTo>
                  <a:cubicBezTo>
                    <a:pt x="98798" y="24615"/>
                    <a:pt x="268029" y="0"/>
                    <a:pt x="274183" y="0"/>
                  </a:cubicBezTo>
                  <a:cubicBezTo>
                    <a:pt x="277260" y="0"/>
                    <a:pt x="280337" y="3077"/>
                    <a:pt x="280337" y="6154"/>
                  </a:cubicBezTo>
                  <a:cubicBezTo>
                    <a:pt x="280337" y="9230"/>
                    <a:pt x="277260" y="12308"/>
                    <a:pt x="274183" y="12308"/>
                  </a:cubicBezTo>
                  <a:cubicBezTo>
                    <a:pt x="271106" y="12308"/>
                    <a:pt x="108029" y="36923"/>
                    <a:pt x="98798" y="135384"/>
                  </a:cubicBezTo>
                  <a:cubicBezTo>
                    <a:pt x="95721" y="193846"/>
                    <a:pt x="64952" y="215385"/>
                    <a:pt x="43414" y="230769"/>
                  </a:cubicBezTo>
                  <a:cubicBezTo>
                    <a:pt x="24952" y="246154"/>
                    <a:pt x="9567" y="255384"/>
                    <a:pt x="12644" y="286153"/>
                  </a:cubicBezTo>
                  <a:cubicBezTo>
                    <a:pt x="12644" y="286153"/>
                    <a:pt x="9567" y="289231"/>
                    <a:pt x="6491" y="289231"/>
                  </a:cubicBezTo>
                  <a:cubicBezTo>
                    <a:pt x="6491" y="289231"/>
                    <a:pt x="6491" y="289231"/>
                    <a:pt x="6491" y="289231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33BD0C88-C896-4770-9F18-ACDE82074B3F}"/>
                </a:ext>
              </a:extLst>
            </p:cNvPr>
            <p:cNvSpPr/>
            <p:nvPr/>
          </p:nvSpPr>
          <p:spPr>
            <a:xfrm>
              <a:off x="1148922" y="5160026"/>
              <a:ext cx="121692" cy="119231"/>
            </a:xfrm>
            <a:custGeom>
              <a:avLst/>
              <a:gdLst>
                <a:gd name="connsiteX0" fmla="*/ 8615 w 121692"/>
                <a:gd name="connsiteY0" fmla="*/ 119231 h 119231"/>
                <a:gd name="connsiteX1" fmla="*/ 2462 w 121692"/>
                <a:gd name="connsiteY1" fmla="*/ 116154 h 119231"/>
                <a:gd name="connsiteX2" fmla="*/ 33231 w 121692"/>
                <a:gd name="connsiteY2" fmla="*/ 54615 h 119231"/>
                <a:gd name="connsiteX3" fmla="*/ 110154 w 121692"/>
                <a:gd name="connsiteY3" fmla="*/ 2308 h 119231"/>
                <a:gd name="connsiteX4" fmla="*/ 119385 w 121692"/>
                <a:gd name="connsiteY4" fmla="*/ 2308 h 119231"/>
                <a:gd name="connsiteX5" fmla="*/ 119385 w 121692"/>
                <a:gd name="connsiteY5" fmla="*/ 11539 h 119231"/>
                <a:gd name="connsiteX6" fmla="*/ 39385 w 121692"/>
                <a:gd name="connsiteY6" fmla="*/ 66923 h 119231"/>
                <a:gd name="connsiteX7" fmla="*/ 14769 w 121692"/>
                <a:gd name="connsiteY7" fmla="*/ 113077 h 119231"/>
                <a:gd name="connsiteX8" fmla="*/ 8615 w 121692"/>
                <a:gd name="connsiteY8" fmla="*/ 119231 h 119231"/>
                <a:gd name="connsiteX9" fmla="*/ 8615 w 121692"/>
                <a:gd name="connsiteY9" fmla="*/ 119231 h 119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692" h="119231">
                  <a:moveTo>
                    <a:pt x="8615" y="119231"/>
                  </a:moveTo>
                  <a:cubicBezTo>
                    <a:pt x="5538" y="119231"/>
                    <a:pt x="2462" y="119231"/>
                    <a:pt x="2462" y="116154"/>
                  </a:cubicBezTo>
                  <a:cubicBezTo>
                    <a:pt x="2462" y="116154"/>
                    <a:pt x="-12923" y="73077"/>
                    <a:pt x="33231" y="54615"/>
                  </a:cubicBezTo>
                  <a:cubicBezTo>
                    <a:pt x="73231" y="36154"/>
                    <a:pt x="110154" y="2308"/>
                    <a:pt x="110154" y="2308"/>
                  </a:cubicBezTo>
                  <a:cubicBezTo>
                    <a:pt x="113231" y="-769"/>
                    <a:pt x="116308" y="-769"/>
                    <a:pt x="119385" y="2308"/>
                  </a:cubicBezTo>
                  <a:cubicBezTo>
                    <a:pt x="122461" y="5384"/>
                    <a:pt x="122461" y="8462"/>
                    <a:pt x="119385" y="11539"/>
                  </a:cubicBezTo>
                  <a:cubicBezTo>
                    <a:pt x="116308" y="11539"/>
                    <a:pt x="79385" y="48462"/>
                    <a:pt x="39385" y="66923"/>
                  </a:cubicBezTo>
                  <a:cubicBezTo>
                    <a:pt x="2462" y="82308"/>
                    <a:pt x="14769" y="113077"/>
                    <a:pt x="14769" y="113077"/>
                  </a:cubicBezTo>
                  <a:cubicBezTo>
                    <a:pt x="14769" y="116154"/>
                    <a:pt x="14769" y="119231"/>
                    <a:pt x="8615" y="119231"/>
                  </a:cubicBezTo>
                  <a:cubicBezTo>
                    <a:pt x="8615" y="119231"/>
                    <a:pt x="8615" y="119231"/>
                    <a:pt x="8615" y="119231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47A95D61-F606-4D5B-AEBE-8034C00F3FCD}"/>
                </a:ext>
              </a:extLst>
            </p:cNvPr>
            <p:cNvSpPr/>
            <p:nvPr/>
          </p:nvSpPr>
          <p:spPr>
            <a:xfrm>
              <a:off x="1496768" y="5157982"/>
              <a:ext cx="225120" cy="81274"/>
            </a:xfrm>
            <a:custGeom>
              <a:avLst/>
              <a:gdLst>
                <a:gd name="connsiteX0" fmla="*/ 73077 w 225120"/>
                <a:gd name="connsiteY0" fmla="*/ 81275 h 81274"/>
                <a:gd name="connsiteX1" fmla="*/ 2308 w 225120"/>
                <a:gd name="connsiteY1" fmla="*/ 53582 h 81274"/>
                <a:gd name="connsiteX2" fmla="*/ 2308 w 225120"/>
                <a:gd name="connsiteY2" fmla="*/ 44352 h 81274"/>
                <a:gd name="connsiteX3" fmla="*/ 11538 w 225120"/>
                <a:gd name="connsiteY3" fmla="*/ 44352 h 81274"/>
                <a:gd name="connsiteX4" fmla="*/ 82308 w 225120"/>
                <a:gd name="connsiteY4" fmla="*/ 68967 h 81274"/>
                <a:gd name="connsiteX5" fmla="*/ 214615 w 225120"/>
                <a:gd name="connsiteY5" fmla="*/ 1274 h 81274"/>
                <a:gd name="connsiteX6" fmla="*/ 223846 w 225120"/>
                <a:gd name="connsiteY6" fmla="*/ 4351 h 81274"/>
                <a:gd name="connsiteX7" fmla="*/ 220769 w 225120"/>
                <a:gd name="connsiteY7" fmla="*/ 13582 h 81274"/>
                <a:gd name="connsiteX8" fmla="*/ 82308 w 225120"/>
                <a:gd name="connsiteY8" fmla="*/ 81275 h 81274"/>
                <a:gd name="connsiteX9" fmla="*/ 73077 w 225120"/>
                <a:gd name="connsiteY9" fmla="*/ 81275 h 81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120" h="81274">
                  <a:moveTo>
                    <a:pt x="73077" y="81275"/>
                  </a:moveTo>
                  <a:cubicBezTo>
                    <a:pt x="33077" y="81275"/>
                    <a:pt x="5384" y="53582"/>
                    <a:pt x="2308" y="53582"/>
                  </a:cubicBezTo>
                  <a:cubicBezTo>
                    <a:pt x="-769" y="50505"/>
                    <a:pt x="-769" y="47428"/>
                    <a:pt x="2308" y="44352"/>
                  </a:cubicBezTo>
                  <a:cubicBezTo>
                    <a:pt x="5384" y="41274"/>
                    <a:pt x="8462" y="41274"/>
                    <a:pt x="11538" y="44352"/>
                  </a:cubicBezTo>
                  <a:cubicBezTo>
                    <a:pt x="11538" y="44352"/>
                    <a:pt x="42307" y="75121"/>
                    <a:pt x="82308" y="68967"/>
                  </a:cubicBezTo>
                  <a:cubicBezTo>
                    <a:pt x="122308" y="62813"/>
                    <a:pt x="214615" y="1274"/>
                    <a:pt x="214615" y="1274"/>
                  </a:cubicBezTo>
                  <a:cubicBezTo>
                    <a:pt x="217692" y="-1802"/>
                    <a:pt x="220769" y="1274"/>
                    <a:pt x="223846" y="4351"/>
                  </a:cubicBezTo>
                  <a:cubicBezTo>
                    <a:pt x="226923" y="7428"/>
                    <a:pt x="223846" y="10505"/>
                    <a:pt x="220769" y="13582"/>
                  </a:cubicBezTo>
                  <a:cubicBezTo>
                    <a:pt x="217692" y="16659"/>
                    <a:pt x="125385" y="78197"/>
                    <a:pt x="82308" y="81275"/>
                  </a:cubicBezTo>
                  <a:cubicBezTo>
                    <a:pt x="79231" y="81275"/>
                    <a:pt x="76154" y="81275"/>
                    <a:pt x="73077" y="81275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9D5E914F-FDB7-4087-8B1B-16C40E544283}"/>
                </a:ext>
              </a:extLst>
            </p:cNvPr>
            <p:cNvSpPr/>
            <p:nvPr/>
          </p:nvSpPr>
          <p:spPr>
            <a:xfrm>
              <a:off x="-107078" y="5531565"/>
              <a:ext cx="777986" cy="923076"/>
            </a:xfrm>
            <a:custGeom>
              <a:avLst/>
              <a:gdLst>
                <a:gd name="connsiteX0" fmla="*/ 415385 w 777986"/>
                <a:gd name="connsiteY0" fmla="*/ 27692 h 923076"/>
                <a:gd name="connsiteX1" fmla="*/ 501539 w 777986"/>
                <a:gd name="connsiteY1" fmla="*/ 618461 h 923076"/>
                <a:gd name="connsiteX2" fmla="*/ 0 w 777986"/>
                <a:gd name="connsiteY2" fmla="*/ 793846 h 923076"/>
                <a:gd name="connsiteX3" fmla="*/ 73846 w 777986"/>
                <a:gd name="connsiteY3" fmla="*/ 923076 h 923076"/>
                <a:gd name="connsiteX4" fmla="*/ 738462 w 777986"/>
                <a:gd name="connsiteY4" fmla="*/ 760000 h 923076"/>
                <a:gd name="connsiteX5" fmla="*/ 713847 w 777986"/>
                <a:gd name="connsiteY5" fmla="*/ 0 h 923076"/>
                <a:gd name="connsiteX6" fmla="*/ 415385 w 777986"/>
                <a:gd name="connsiteY6" fmla="*/ 27692 h 92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7986" h="923076">
                  <a:moveTo>
                    <a:pt x="415385" y="27692"/>
                  </a:moveTo>
                  <a:lnTo>
                    <a:pt x="501539" y="618461"/>
                  </a:lnTo>
                  <a:lnTo>
                    <a:pt x="0" y="793846"/>
                  </a:lnTo>
                  <a:lnTo>
                    <a:pt x="73846" y="923076"/>
                  </a:lnTo>
                  <a:cubicBezTo>
                    <a:pt x="73846" y="923076"/>
                    <a:pt x="636924" y="840000"/>
                    <a:pt x="738462" y="760000"/>
                  </a:cubicBezTo>
                  <a:cubicBezTo>
                    <a:pt x="840000" y="680000"/>
                    <a:pt x="713847" y="0"/>
                    <a:pt x="713847" y="0"/>
                  </a:cubicBezTo>
                  <a:lnTo>
                    <a:pt x="415385" y="27692"/>
                  </a:ln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30FEF45C-7875-4909-A319-5B9D4A0A8B7D}"/>
                </a:ext>
              </a:extLst>
            </p:cNvPr>
            <p:cNvSpPr/>
            <p:nvPr/>
          </p:nvSpPr>
          <p:spPr>
            <a:xfrm>
              <a:off x="314460" y="5528488"/>
              <a:ext cx="138461" cy="643077"/>
            </a:xfrm>
            <a:custGeom>
              <a:avLst/>
              <a:gdLst>
                <a:gd name="connsiteX0" fmla="*/ 129231 w 138461"/>
                <a:gd name="connsiteY0" fmla="*/ 643077 h 643077"/>
                <a:gd name="connsiteX1" fmla="*/ 129231 w 138461"/>
                <a:gd name="connsiteY1" fmla="*/ 643077 h 643077"/>
                <a:gd name="connsiteX2" fmla="*/ 76923 w 138461"/>
                <a:gd name="connsiteY2" fmla="*/ 624616 h 643077"/>
                <a:gd name="connsiteX3" fmla="*/ 73846 w 138461"/>
                <a:gd name="connsiteY3" fmla="*/ 621538 h 643077"/>
                <a:gd name="connsiteX4" fmla="*/ 0 w 138461"/>
                <a:gd name="connsiteY4" fmla="*/ 6154 h 643077"/>
                <a:gd name="connsiteX5" fmla="*/ 6154 w 138461"/>
                <a:gd name="connsiteY5" fmla="*/ 0 h 643077"/>
                <a:gd name="connsiteX6" fmla="*/ 12308 w 138461"/>
                <a:gd name="connsiteY6" fmla="*/ 6154 h 643077"/>
                <a:gd name="connsiteX7" fmla="*/ 86153 w 138461"/>
                <a:gd name="connsiteY7" fmla="*/ 618462 h 643077"/>
                <a:gd name="connsiteX8" fmla="*/ 132307 w 138461"/>
                <a:gd name="connsiteY8" fmla="*/ 633846 h 643077"/>
                <a:gd name="connsiteX9" fmla="*/ 138462 w 138461"/>
                <a:gd name="connsiteY9" fmla="*/ 640000 h 643077"/>
                <a:gd name="connsiteX10" fmla="*/ 129231 w 138461"/>
                <a:gd name="connsiteY10" fmla="*/ 643077 h 64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8461" h="643077">
                  <a:moveTo>
                    <a:pt x="129231" y="643077"/>
                  </a:moveTo>
                  <a:cubicBezTo>
                    <a:pt x="129231" y="643077"/>
                    <a:pt x="129231" y="643077"/>
                    <a:pt x="129231" y="643077"/>
                  </a:cubicBezTo>
                  <a:cubicBezTo>
                    <a:pt x="107692" y="640000"/>
                    <a:pt x="76923" y="624616"/>
                    <a:pt x="76923" y="624616"/>
                  </a:cubicBezTo>
                  <a:cubicBezTo>
                    <a:pt x="73846" y="624616"/>
                    <a:pt x="73846" y="621538"/>
                    <a:pt x="73846" y="621538"/>
                  </a:cubicBezTo>
                  <a:cubicBezTo>
                    <a:pt x="55384" y="513846"/>
                    <a:pt x="0" y="9231"/>
                    <a:pt x="0" y="6154"/>
                  </a:cubicBezTo>
                  <a:cubicBezTo>
                    <a:pt x="0" y="3077"/>
                    <a:pt x="3077" y="0"/>
                    <a:pt x="6154" y="0"/>
                  </a:cubicBezTo>
                  <a:cubicBezTo>
                    <a:pt x="9230" y="0"/>
                    <a:pt x="12308" y="3077"/>
                    <a:pt x="12308" y="6154"/>
                  </a:cubicBezTo>
                  <a:cubicBezTo>
                    <a:pt x="12308" y="12308"/>
                    <a:pt x="67692" y="504616"/>
                    <a:pt x="86153" y="618462"/>
                  </a:cubicBezTo>
                  <a:cubicBezTo>
                    <a:pt x="92308" y="621538"/>
                    <a:pt x="116923" y="630769"/>
                    <a:pt x="132307" y="633846"/>
                  </a:cubicBezTo>
                  <a:cubicBezTo>
                    <a:pt x="135384" y="633846"/>
                    <a:pt x="138462" y="636923"/>
                    <a:pt x="138462" y="640000"/>
                  </a:cubicBezTo>
                  <a:cubicBezTo>
                    <a:pt x="135384" y="640000"/>
                    <a:pt x="132307" y="643077"/>
                    <a:pt x="129231" y="643077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D60A809E-4FC5-4ACC-AE94-3974A3CA808C}"/>
                </a:ext>
              </a:extLst>
            </p:cNvPr>
            <p:cNvSpPr/>
            <p:nvPr/>
          </p:nvSpPr>
          <p:spPr>
            <a:xfrm>
              <a:off x="235406" y="5088194"/>
              <a:ext cx="426745" cy="589524"/>
            </a:xfrm>
            <a:custGeom>
              <a:avLst/>
              <a:gdLst>
                <a:gd name="connsiteX0" fmla="*/ 426746 w 426745"/>
                <a:gd name="connsiteY0" fmla="*/ 535679 h 589524"/>
                <a:gd name="connsiteX1" fmla="*/ 143669 w 426745"/>
                <a:gd name="connsiteY1" fmla="*/ 294 h 589524"/>
                <a:gd name="connsiteX2" fmla="*/ 2131 w 426745"/>
                <a:gd name="connsiteY2" fmla="*/ 578756 h 589524"/>
                <a:gd name="connsiteX3" fmla="*/ 426746 w 426745"/>
                <a:gd name="connsiteY3" fmla="*/ 535679 h 589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745" h="589524">
                  <a:moveTo>
                    <a:pt x="426746" y="535679"/>
                  </a:moveTo>
                  <a:cubicBezTo>
                    <a:pt x="426746" y="535679"/>
                    <a:pt x="349823" y="15678"/>
                    <a:pt x="143669" y="294"/>
                  </a:cubicBezTo>
                  <a:cubicBezTo>
                    <a:pt x="-28638" y="-15091"/>
                    <a:pt x="2131" y="578756"/>
                    <a:pt x="2131" y="578756"/>
                  </a:cubicBezTo>
                  <a:cubicBezTo>
                    <a:pt x="2131" y="578756"/>
                    <a:pt x="229823" y="621833"/>
                    <a:pt x="426746" y="535679"/>
                  </a:cubicBezTo>
                  <a:close/>
                </a:path>
              </a:pathLst>
            </a:custGeom>
            <a:solidFill>
              <a:srgbClr val="70868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2385368B-5965-4632-A006-05855447B769}"/>
                </a:ext>
              </a:extLst>
            </p:cNvPr>
            <p:cNvSpPr/>
            <p:nvPr/>
          </p:nvSpPr>
          <p:spPr>
            <a:xfrm>
              <a:off x="234460" y="5082334"/>
              <a:ext cx="153846" cy="600000"/>
            </a:xfrm>
            <a:custGeom>
              <a:avLst/>
              <a:gdLst>
                <a:gd name="connsiteX0" fmla="*/ 123077 w 153846"/>
                <a:gd name="connsiteY0" fmla="*/ 600000 h 600000"/>
                <a:gd name="connsiteX1" fmla="*/ 3077 w 153846"/>
                <a:gd name="connsiteY1" fmla="*/ 584615 h 600000"/>
                <a:gd name="connsiteX2" fmla="*/ 0 w 153846"/>
                <a:gd name="connsiteY2" fmla="*/ 584615 h 600000"/>
                <a:gd name="connsiteX3" fmla="*/ 0 w 153846"/>
                <a:gd name="connsiteY3" fmla="*/ 581539 h 600000"/>
                <a:gd name="connsiteX4" fmla="*/ 15385 w 153846"/>
                <a:gd name="connsiteY4" fmla="*/ 218462 h 600000"/>
                <a:gd name="connsiteX5" fmla="*/ 147692 w 153846"/>
                <a:gd name="connsiteY5" fmla="*/ 0 h 600000"/>
                <a:gd name="connsiteX6" fmla="*/ 153846 w 153846"/>
                <a:gd name="connsiteY6" fmla="*/ 3077 h 600000"/>
                <a:gd name="connsiteX7" fmla="*/ 150769 w 153846"/>
                <a:gd name="connsiteY7" fmla="*/ 9231 h 600000"/>
                <a:gd name="connsiteX8" fmla="*/ 27692 w 153846"/>
                <a:gd name="connsiteY8" fmla="*/ 218462 h 600000"/>
                <a:gd name="connsiteX9" fmla="*/ 12308 w 153846"/>
                <a:gd name="connsiteY9" fmla="*/ 575385 h 600000"/>
                <a:gd name="connsiteX10" fmla="*/ 144615 w 153846"/>
                <a:gd name="connsiteY10" fmla="*/ 587693 h 600000"/>
                <a:gd name="connsiteX11" fmla="*/ 150769 w 153846"/>
                <a:gd name="connsiteY11" fmla="*/ 593846 h 600000"/>
                <a:gd name="connsiteX12" fmla="*/ 144615 w 153846"/>
                <a:gd name="connsiteY12" fmla="*/ 600000 h 600000"/>
                <a:gd name="connsiteX13" fmla="*/ 123077 w 153846"/>
                <a:gd name="connsiteY13" fmla="*/ 600000 h 6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3846" h="600000">
                  <a:moveTo>
                    <a:pt x="123077" y="600000"/>
                  </a:moveTo>
                  <a:cubicBezTo>
                    <a:pt x="61538" y="600000"/>
                    <a:pt x="3077" y="587693"/>
                    <a:pt x="3077" y="584615"/>
                  </a:cubicBezTo>
                  <a:lnTo>
                    <a:pt x="0" y="584615"/>
                  </a:lnTo>
                  <a:lnTo>
                    <a:pt x="0" y="581539"/>
                  </a:lnTo>
                  <a:cubicBezTo>
                    <a:pt x="0" y="578462"/>
                    <a:pt x="0" y="400000"/>
                    <a:pt x="15385" y="218462"/>
                  </a:cubicBezTo>
                  <a:cubicBezTo>
                    <a:pt x="30769" y="30769"/>
                    <a:pt x="141539" y="0"/>
                    <a:pt x="147692" y="0"/>
                  </a:cubicBezTo>
                  <a:cubicBezTo>
                    <a:pt x="150769" y="0"/>
                    <a:pt x="153846" y="0"/>
                    <a:pt x="153846" y="3077"/>
                  </a:cubicBezTo>
                  <a:cubicBezTo>
                    <a:pt x="153846" y="6154"/>
                    <a:pt x="153846" y="9231"/>
                    <a:pt x="150769" y="9231"/>
                  </a:cubicBezTo>
                  <a:cubicBezTo>
                    <a:pt x="150769" y="9231"/>
                    <a:pt x="43077" y="40000"/>
                    <a:pt x="27692" y="218462"/>
                  </a:cubicBezTo>
                  <a:cubicBezTo>
                    <a:pt x="12308" y="384615"/>
                    <a:pt x="12308" y="547692"/>
                    <a:pt x="12308" y="575385"/>
                  </a:cubicBezTo>
                  <a:cubicBezTo>
                    <a:pt x="27692" y="578462"/>
                    <a:pt x="86154" y="590769"/>
                    <a:pt x="144615" y="587693"/>
                  </a:cubicBezTo>
                  <a:cubicBezTo>
                    <a:pt x="147692" y="587693"/>
                    <a:pt x="150769" y="590769"/>
                    <a:pt x="150769" y="593846"/>
                  </a:cubicBezTo>
                  <a:cubicBezTo>
                    <a:pt x="150769" y="596923"/>
                    <a:pt x="147692" y="600000"/>
                    <a:pt x="144615" y="600000"/>
                  </a:cubicBezTo>
                  <a:cubicBezTo>
                    <a:pt x="135384" y="600000"/>
                    <a:pt x="129231" y="600000"/>
                    <a:pt x="123077" y="600000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9" name="图形 1">
              <a:extLst>
                <a:ext uri="{FF2B5EF4-FFF2-40B4-BE49-F238E27FC236}">
                  <a16:creationId xmlns:a16="http://schemas.microsoft.com/office/drawing/2014/main" id="{2DF9806E-9A8F-4CA0-81BF-BB5C170168BB}"/>
                </a:ext>
              </a:extLst>
            </p:cNvPr>
            <p:cNvGrpSpPr/>
            <p:nvPr/>
          </p:nvGrpSpPr>
          <p:grpSpPr>
            <a:xfrm>
              <a:off x="-403267" y="6304438"/>
              <a:ext cx="394651" cy="272741"/>
              <a:chOff x="-403267" y="6304438"/>
              <a:chExt cx="394651" cy="272741"/>
            </a:xfrm>
          </p:grpSpPr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1BA52935-6DA7-4D14-86F2-D31F599713E2}"/>
                  </a:ext>
                </a:extLst>
              </p:cNvPr>
              <p:cNvSpPr/>
              <p:nvPr/>
            </p:nvSpPr>
            <p:spPr>
              <a:xfrm>
                <a:off x="-323106" y="6304438"/>
                <a:ext cx="231412" cy="101064"/>
              </a:xfrm>
              <a:custGeom>
                <a:avLst/>
                <a:gdLst>
                  <a:gd name="connsiteX0" fmla="*/ 231413 w 231412"/>
                  <a:gd name="connsiteY0" fmla="*/ 27127 h 101064"/>
                  <a:gd name="connsiteX1" fmla="*/ 117567 w 231412"/>
                  <a:gd name="connsiteY1" fmla="*/ 2512 h 101064"/>
                  <a:gd name="connsiteX2" fmla="*/ 644 w 231412"/>
                  <a:gd name="connsiteY2" fmla="*/ 79435 h 101064"/>
                  <a:gd name="connsiteX3" fmla="*/ 34490 w 231412"/>
                  <a:gd name="connsiteY3" fmla="*/ 94819 h 101064"/>
                  <a:gd name="connsiteX4" fmla="*/ 231413 w 231412"/>
                  <a:gd name="connsiteY4" fmla="*/ 27127 h 101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1412" h="101064">
                    <a:moveTo>
                      <a:pt x="231413" y="27127"/>
                    </a:moveTo>
                    <a:cubicBezTo>
                      <a:pt x="231413" y="27127"/>
                      <a:pt x="157567" y="-9796"/>
                      <a:pt x="117567" y="2512"/>
                    </a:cubicBezTo>
                    <a:cubicBezTo>
                      <a:pt x="77567" y="11742"/>
                      <a:pt x="6798" y="39435"/>
                      <a:pt x="644" y="79435"/>
                    </a:cubicBezTo>
                    <a:cubicBezTo>
                      <a:pt x="-5510" y="116358"/>
                      <a:pt x="34490" y="94819"/>
                      <a:pt x="34490" y="94819"/>
                    </a:cubicBezTo>
                    <a:lnTo>
                      <a:pt x="231413" y="27127"/>
                    </a:ln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2286E26C-5EB4-45FF-B421-2933D7FA2EFB}"/>
                  </a:ext>
                </a:extLst>
              </p:cNvPr>
              <p:cNvSpPr/>
              <p:nvPr/>
            </p:nvSpPr>
            <p:spPr>
              <a:xfrm>
                <a:off x="-403267" y="6316090"/>
                <a:ext cx="394651" cy="261089"/>
              </a:xfrm>
              <a:custGeom>
                <a:avLst/>
                <a:gdLst>
                  <a:gd name="connsiteX0" fmla="*/ 394651 w 394651"/>
                  <a:gd name="connsiteY0" fmla="*/ 117013 h 261089"/>
                  <a:gd name="connsiteX1" fmla="*/ 339266 w 394651"/>
                  <a:gd name="connsiteY1" fmla="*/ 90 h 261089"/>
                  <a:gd name="connsiteX2" fmla="*/ 80804 w 394651"/>
                  <a:gd name="connsiteY2" fmla="*/ 64705 h 261089"/>
                  <a:gd name="connsiteX3" fmla="*/ 22343 w 394651"/>
                  <a:gd name="connsiteY3" fmla="*/ 117013 h 261089"/>
                  <a:gd name="connsiteX4" fmla="*/ 43881 w 394651"/>
                  <a:gd name="connsiteY4" fmla="*/ 123166 h 261089"/>
                  <a:gd name="connsiteX5" fmla="*/ 90035 w 394651"/>
                  <a:gd name="connsiteY5" fmla="*/ 117013 h 261089"/>
                  <a:gd name="connsiteX6" fmla="*/ 37728 w 394651"/>
                  <a:gd name="connsiteY6" fmla="*/ 153936 h 261089"/>
                  <a:gd name="connsiteX7" fmla="*/ 805 w 394651"/>
                  <a:gd name="connsiteY7" fmla="*/ 212398 h 261089"/>
                  <a:gd name="connsiteX8" fmla="*/ 31574 w 394651"/>
                  <a:gd name="connsiteY8" fmla="*/ 218551 h 261089"/>
                  <a:gd name="connsiteX9" fmla="*/ 34651 w 394651"/>
                  <a:gd name="connsiteY9" fmla="*/ 233936 h 261089"/>
                  <a:gd name="connsiteX10" fmla="*/ 111574 w 394651"/>
                  <a:gd name="connsiteY10" fmla="*/ 224705 h 261089"/>
                  <a:gd name="connsiteX11" fmla="*/ 163882 w 394651"/>
                  <a:gd name="connsiteY11" fmla="*/ 203167 h 261089"/>
                  <a:gd name="connsiteX12" fmla="*/ 126958 w 394651"/>
                  <a:gd name="connsiteY12" fmla="*/ 258552 h 261089"/>
                  <a:gd name="connsiteX13" fmla="*/ 182343 w 394651"/>
                  <a:gd name="connsiteY13" fmla="*/ 243167 h 261089"/>
                  <a:gd name="connsiteX14" fmla="*/ 271574 w 394651"/>
                  <a:gd name="connsiteY14" fmla="*/ 193936 h 261089"/>
                  <a:gd name="connsiteX15" fmla="*/ 363882 w 394651"/>
                  <a:gd name="connsiteY15" fmla="*/ 157013 h 261089"/>
                  <a:gd name="connsiteX16" fmla="*/ 394651 w 394651"/>
                  <a:gd name="connsiteY16" fmla="*/ 117013 h 261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94651" h="261089">
                    <a:moveTo>
                      <a:pt x="394651" y="117013"/>
                    </a:moveTo>
                    <a:cubicBezTo>
                      <a:pt x="394651" y="73936"/>
                      <a:pt x="339266" y="-2987"/>
                      <a:pt x="339266" y="90"/>
                    </a:cubicBezTo>
                    <a:cubicBezTo>
                      <a:pt x="253112" y="21628"/>
                      <a:pt x="163882" y="30859"/>
                      <a:pt x="80804" y="64705"/>
                    </a:cubicBezTo>
                    <a:cubicBezTo>
                      <a:pt x="68497" y="70859"/>
                      <a:pt x="6958" y="92397"/>
                      <a:pt x="22343" y="117013"/>
                    </a:cubicBezTo>
                    <a:cubicBezTo>
                      <a:pt x="28497" y="126244"/>
                      <a:pt x="34651" y="123166"/>
                      <a:pt x="43881" y="123166"/>
                    </a:cubicBezTo>
                    <a:cubicBezTo>
                      <a:pt x="59266" y="123166"/>
                      <a:pt x="74651" y="120090"/>
                      <a:pt x="90035" y="117013"/>
                    </a:cubicBezTo>
                    <a:cubicBezTo>
                      <a:pt x="71574" y="126244"/>
                      <a:pt x="53112" y="138551"/>
                      <a:pt x="37728" y="153936"/>
                    </a:cubicBezTo>
                    <a:cubicBezTo>
                      <a:pt x="25420" y="163167"/>
                      <a:pt x="-5349" y="190859"/>
                      <a:pt x="805" y="212398"/>
                    </a:cubicBezTo>
                    <a:cubicBezTo>
                      <a:pt x="3881" y="221628"/>
                      <a:pt x="16189" y="224705"/>
                      <a:pt x="31574" y="218551"/>
                    </a:cubicBezTo>
                    <a:cubicBezTo>
                      <a:pt x="28497" y="224705"/>
                      <a:pt x="28497" y="230859"/>
                      <a:pt x="34651" y="233936"/>
                    </a:cubicBezTo>
                    <a:cubicBezTo>
                      <a:pt x="53112" y="246243"/>
                      <a:pt x="93112" y="230859"/>
                      <a:pt x="111574" y="224705"/>
                    </a:cubicBezTo>
                    <a:cubicBezTo>
                      <a:pt x="130035" y="218551"/>
                      <a:pt x="145420" y="209321"/>
                      <a:pt x="163882" y="203167"/>
                    </a:cubicBezTo>
                    <a:cubicBezTo>
                      <a:pt x="136189" y="221628"/>
                      <a:pt x="108497" y="246243"/>
                      <a:pt x="126958" y="258552"/>
                    </a:cubicBezTo>
                    <a:cubicBezTo>
                      <a:pt x="139266" y="267782"/>
                      <a:pt x="170036" y="249321"/>
                      <a:pt x="182343" y="243167"/>
                    </a:cubicBezTo>
                    <a:cubicBezTo>
                      <a:pt x="213112" y="227783"/>
                      <a:pt x="240805" y="209321"/>
                      <a:pt x="271574" y="193936"/>
                    </a:cubicBezTo>
                    <a:cubicBezTo>
                      <a:pt x="302343" y="178552"/>
                      <a:pt x="333113" y="169320"/>
                      <a:pt x="363882" y="157013"/>
                    </a:cubicBezTo>
                    <a:cubicBezTo>
                      <a:pt x="385420" y="147782"/>
                      <a:pt x="391574" y="141628"/>
                      <a:pt x="394651" y="117013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DA069642-1267-49D8-8BAF-94C550D21489}"/>
                  </a:ext>
                </a:extLst>
              </p:cNvPr>
              <p:cNvSpPr/>
              <p:nvPr/>
            </p:nvSpPr>
            <p:spPr>
              <a:xfrm>
                <a:off x="-376138" y="6442334"/>
                <a:ext cx="152136" cy="95384"/>
              </a:xfrm>
              <a:custGeom>
                <a:avLst/>
                <a:gdLst>
                  <a:gd name="connsiteX0" fmla="*/ 4445 w 152136"/>
                  <a:gd name="connsiteY0" fmla="*/ 95385 h 95384"/>
                  <a:gd name="connsiteX1" fmla="*/ 1367 w 152136"/>
                  <a:gd name="connsiteY1" fmla="*/ 92308 h 95384"/>
                  <a:gd name="connsiteX2" fmla="*/ 1367 w 152136"/>
                  <a:gd name="connsiteY2" fmla="*/ 83077 h 95384"/>
                  <a:gd name="connsiteX3" fmla="*/ 145983 w 152136"/>
                  <a:gd name="connsiteY3" fmla="*/ 0 h 95384"/>
                  <a:gd name="connsiteX4" fmla="*/ 152137 w 152136"/>
                  <a:gd name="connsiteY4" fmla="*/ 6154 h 95384"/>
                  <a:gd name="connsiteX5" fmla="*/ 145983 w 152136"/>
                  <a:gd name="connsiteY5" fmla="*/ 12308 h 95384"/>
                  <a:gd name="connsiteX6" fmla="*/ 4445 w 152136"/>
                  <a:gd name="connsiteY6" fmla="*/ 95385 h 95384"/>
                  <a:gd name="connsiteX7" fmla="*/ 4445 w 152136"/>
                  <a:gd name="connsiteY7" fmla="*/ 95385 h 9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2136" h="95384">
                    <a:moveTo>
                      <a:pt x="4445" y="95385"/>
                    </a:moveTo>
                    <a:cubicBezTo>
                      <a:pt x="1367" y="95385"/>
                      <a:pt x="1367" y="95385"/>
                      <a:pt x="1367" y="92308"/>
                    </a:cubicBezTo>
                    <a:cubicBezTo>
                      <a:pt x="-1709" y="89231"/>
                      <a:pt x="1367" y="86154"/>
                      <a:pt x="1367" y="83077"/>
                    </a:cubicBezTo>
                    <a:cubicBezTo>
                      <a:pt x="4445" y="80000"/>
                      <a:pt x="109060" y="6154"/>
                      <a:pt x="145983" y="0"/>
                    </a:cubicBezTo>
                    <a:cubicBezTo>
                      <a:pt x="149060" y="0"/>
                      <a:pt x="152137" y="3077"/>
                      <a:pt x="152137" y="6154"/>
                    </a:cubicBezTo>
                    <a:cubicBezTo>
                      <a:pt x="152137" y="9231"/>
                      <a:pt x="149060" y="12308"/>
                      <a:pt x="145983" y="12308"/>
                    </a:cubicBezTo>
                    <a:cubicBezTo>
                      <a:pt x="112137" y="18462"/>
                      <a:pt x="7521" y="92308"/>
                      <a:pt x="4445" y="95385"/>
                    </a:cubicBezTo>
                    <a:cubicBezTo>
                      <a:pt x="7521" y="95385"/>
                      <a:pt x="4445" y="95385"/>
                      <a:pt x="4445" y="9538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5F77CA11-CDFE-4C34-81CB-59DDC05AD586}"/>
                  </a:ext>
                </a:extLst>
              </p:cNvPr>
              <p:cNvSpPr/>
              <p:nvPr/>
            </p:nvSpPr>
            <p:spPr>
              <a:xfrm>
                <a:off x="-242462" y="6491565"/>
                <a:ext cx="58461" cy="30769"/>
              </a:xfrm>
              <a:custGeom>
                <a:avLst/>
                <a:gdLst>
                  <a:gd name="connsiteX0" fmla="*/ 6154 w 58461"/>
                  <a:gd name="connsiteY0" fmla="*/ 30769 h 30769"/>
                  <a:gd name="connsiteX1" fmla="*/ 0 w 58461"/>
                  <a:gd name="connsiteY1" fmla="*/ 27692 h 30769"/>
                  <a:gd name="connsiteX2" fmla="*/ 3077 w 58461"/>
                  <a:gd name="connsiteY2" fmla="*/ 21539 h 30769"/>
                  <a:gd name="connsiteX3" fmla="*/ 52308 w 58461"/>
                  <a:gd name="connsiteY3" fmla="*/ 0 h 30769"/>
                  <a:gd name="connsiteX4" fmla="*/ 58461 w 58461"/>
                  <a:gd name="connsiteY4" fmla="*/ 3077 h 30769"/>
                  <a:gd name="connsiteX5" fmla="*/ 55385 w 58461"/>
                  <a:gd name="connsiteY5" fmla="*/ 9230 h 30769"/>
                  <a:gd name="connsiteX6" fmla="*/ 6154 w 58461"/>
                  <a:gd name="connsiteY6" fmla="*/ 30769 h 30769"/>
                  <a:gd name="connsiteX7" fmla="*/ 6154 w 58461"/>
                  <a:gd name="connsiteY7" fmla="*/ 30769 h 30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8461" h="30769">
                    <a:moveTo>
                      <a:pt x="6154" y="30769"/>
                    </a:moveTo>
                    <a:cubicBezTo>
                      <a:pt x="3077" y="30769"/>
                      <a:pt x="3077" y="30769"/>
                      <a:pt x="0" y="27692"/>
                    </a:cubicBezTo>
                    <a:cubicBezTo>
                      <a:pt x="0" y="24615"/>
                      <a:pt x="0" y="21539"/>
                      <a:pt x="3077" y="21539"/>
                    </a:cubicBezTo>
                    <a:lnTo>
                      <a:pt x="52308" y="0"/>
                    </a:lnTo>
                    <a:cubicBezTo>
                      <a:pt x="55385" y="0"/>
                      <a:pt x="58461" y="0"/>
                      <a:pt x="58461" y="3077"/>
                    </a:cubicBezTo>
                    <a:cubicBezTo>
                      <a:pt x="58461" y="6154"/>
                      <a:pt x="58461" y="9230"/>
                      <a:pt x="55385" y="9230"/>
                    </a:cubicBezTo>
                    <a:lnTo>
                      <a:pt x="6154" y="30769"/>
                    </a:lnTo>
                    <a:cubicBezTo>
                      <a:pt x="6154" y="30769"/>
                      <a:pt x="6154" y="30769"/>
                      <a:pt x="6154" y="3076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F77DE610-7E3F-4A6C-8032-6FF33D3CBECA}"/>
                  </a:ext>
                </a:extLst>
              </p:cNvPr>
              <p:cNvSpPr/>
              <p:nvPr/>
            </p:nvSpPr>
            <p:spPr>
              <a:xfrm>
                <a:off x="-180979" y="6374642"/>
                <a:ext cx="48516" cy="107692"/>
              </a:xfrm>
              <a:custGeom>
                <a:avLst/>
                <a:gdLst>
                  <a:gd name="connsiteX0" fmla="*/ 40055 w 48516"/>
                  <a:gd name="connsiteY0" fmla="*/ 107692 h 107692"/>
                  <a:gd name="connsiteX1" fmla="*/ 36978 w 48516"/>
                  <a:gd name="connsiteY1" fmla="*/ 104615 h 107692"/>
                  <a:gd name="connsiteX2" fmla="*/ 55 w 48516"/>
                  <a:gd name="connsiteY2" fmla="*/ 6153 h 107692"/>
                  <a:gd name="connsiteX3" fmla="*/ 6208 w 48516"/>
                  <a:gd name="connsiteY3" fmla="*/ 0 h 107692"/>
                  <a:gd name="connsiteX4" fmla="*/ 12362 w 48516"/>
                  <a:gd name="connsiteY4" fmla="*/ 6153 h 107692"/>
                  <a:gd name="connsiteX5" fmla="*/ 46209 w 48516"/>
                  <a:gd name="connsiteY5" fmla="*/ 95384 h 107692"/>
                  <a:gd name="connsiteX6" fmla="*/ 46209 w 48516"/>
                  <a:gd name="connsiteY6" fmla="*/ 104615 h 107692"/>
                  <a:gd name="connsiteX7" fmla="*/ 40055 w 48516"/>
                  <a:gd name="connsiteY7" fmla="*/ 107692 h 107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516" h="107692">
                    <a:moveTo>
                      <a:pt x="40055" y="107692"/>
                    </a:moveTo>
                    <a:cubicBezTo>
                      <a:pt x="40055" y="107692"/>
                      <a:pt x="36978" y="107692"/>
                      <a:pt x="36978" y="104615"/>
                    </a:cubicBezTo>
                    <a:cubicBezTo>
                      <a:pt x="-3022" y="61538"/>
                      <a:pt x="55" y="6153"/>
                      <a:pt x="55" y="6153"/>
                    </a:cubicBezTo>
                    <a:cubicBezTo>
                      <a:pt x="55" y="3076"/>
                      <a:pt x="3132" y="0"/>
                      <a:pt x="6208" y="0"/>
                    </a:cubicBezTo>
                    <a:cubicBezTo>
                      <a:pt x="9286" y="0"/>
                      <a:pt x="12362" y="3076"/>
                      <a:pt x="12362" y="6153"/>
                    </a:cubicBezTo>
                    <a:cubicBezTo>
                      <a:pt x="12362" y="6153"/>
                      <a:pt x="9286" y="58461"/>
                      <a:pt x="46209" y="95384"/>
                    </a:cubicBezTo>
                    <a:cubicBezTo>
                      <a:pt x="49286" y="98461"/>
                      <a:pt x="49286" y="101538"/>
                      <a:pt x="46209" y="104615"/>
                    </a:cubicBezTo>
                    <a:cubicBezTo>
                      <a:pt x="43131" y="107692"/>
                      <a:pt x="40055" y="107692"/>
                      <a:pt x="40055" y="10769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37F72DF4-5AE2-49D1-B285-42FE0AE56BCB}"/>
                  </a:ext>
                </a:extLst>
              </p:cNvPr>
              <p:cNvSpPr/>
              <p:nvPr/>
            </p:nvSpPr>
            <p:spPr>
              <a:xfrm>
                <a:off x="-391429" y="6325411"/>
                <a:ext cx="247428" cy="119999"/>
              </a:xfrm>
              <a:custGeom>
                <a:avLst/>
                <a:gdLst>
                  <a:gd name="connsiteX0" fmla="*/ 32044 w 247428"/>
                  <a:gd name="connsiteY0" fmla="*/ 120000 h 119999"/>
                  <a:gd name="connsiteX1" fmla="*/ 4351 w 247428"/>
                  <a:gd name="connsiteY1" fmla="*/ 110769 h 119999"/>
                  <a:gd name="connsiteX2" fmla="*/ 1274 w 247428"/>
                  <a:gd name="connsiteY2" fmla="*/ 95385 h 119999"/>
                  <a:gd name="connsiteX3" fmla="*/ 241275 w 247428"/>
                  <a:gd name="connsiteY3" fmla="*/ 0 h 119999"/>
                  <a:gd name="connsiteX4" fmla="*/ 247428 w 247428"/>
                  <a:gd name="connsiteY4" fmla="*/ 6153 h 119999"/>
                  <a:gd name="connsiteX5" fmla="*/ 241275 w 247428"/>
                  <a:gd name="connsiteY5" fmla="*/ 12308 h 119999"/>
                  <a:gd name="connsiteX6" fmla="*/ 7428 w 247428"/>
                  <a:gd name="connsiteY6" fmla="*/ 98461 h 119999"/>
                  <a:gd name="connsiteX7" fmla="*/ 7428 w 247428"/>
                  <a:gd name="connsiteY7" fmla="*/ 101538 h 119999"/>
                  <a:gd name="connsiteX8" fmla="*/ 68967 w 247428"/>
                  <a:gd name="connsiteY8" fmla="*/ 98461 h 119999"/>
                  <a:gd name="connsiteX9" fmla="*/ 155121 w 247428"/>
                  <a:gd name="connsiteY9" fmla="*/ 61538 h 119999"/>
                  <a:gd name="connsiteX10" fmla="*/ 161274 w 247428"/>
                  <a:gd name="connsiteY10" fmla="*/ 64616 h 119999"/>
                  <a:gd name="connsiteX11" fmla="*/ 158198 w 247428"/>
                  <a:gd name="connsiteY11" fmla="*/ 70769 h 119999"/>
                  <a:gd name="connsiteX12" fmla="*/ 78197 w 247428"/>
                  <a:gd name="connsiteY12" fmla="*/ 104615 h 119999"/>
                  <a:gd name="connsiteX13" fmla="*/ 75121 w 247428"/>
                  <a:gd name="connsiteY13" fmla="*/ 107692 h 119999"/>
                  <a:gd name="connsiteX14" fmla="*/ 32044 w 247428"/>
                  <a:gd name="connsiteY14" fmla="*/ 120000 h 119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7428" h="119999">
                    <a:moveTo>
                      <a:pt x="32044" y="120000"/>
                    </a:moveTo>
                    <a:cubicBezTo>
                      <a:pt x="22813" y="120000"/>
                      <a:pt x="10505" y="116923"/>
                      <a:pt x="4351" y="110769"/>
                    </a:cubicBezTo>
                    <a:cubicBezTo>
                      <a:pt x="1274" y="107692"/>
                      <a:pt x="-1802" y="101538"/>
                      <a:pt x="1274" y="95385"/>
                    </a:cubicBezTo>
                    <a:cubicBezTo>
                      <a:pt x="10505" y="67692"/>
                      <a:pt x="102813" y="24615"/>
                      <a:pt x="241275" y="0"/>
                    </a:cubicBezTo>
                    <a:cubicBezTo>
                      <a:pt x="244352" y="0"/>
                      <a:pt x="247428" y="3077"/>
                      <a:pt x="247428" y="6153"/>
                    </a:cubicBezTo>
                    <a:cubicBezTo>
                      <a:pt x="247428" y="9230"/>
                      <a:pt x="244352" y="12308"/>
                      <a:pt x="241275" y="12308"/>
                    </a:cubicBezTo>
                    <a:cubicBezTo>
                      <a:pt x="87428" y="36923"/>
                      <a:pt x="13582" y="83076"/>
                      <a:pt x="7428" y="98461"/>
                    </a:cubicBezTo>
                    <a:cubicBezTo>
                      <a:pt x="7428" y="101538"/>
                      <a:pt x="7428" y="101538"/>
                      <a:pt x="7428" y="101538"/>
                    </a:cubicBezTo>
                    <a:cubicBezTo>
                      <a:pt x="19736" y="113846"/>
                      <a:pt x="56659" y="104615"/>
                      <a:pt x="68967" y="98461"/>
                    </a:cubicBezTo>
                    <a:cubicBezTo>
                      <a:pt x="84351" y="86153"/>
                      <a:pt x="139736" y="67692"/>
                      <a:pt x="155121" y="61538"/>
                    </a:cubicBezTo>
                    <a:cubicBezTo>
                      <a:pt x="158198" y="61538"/>
                      <a:pt x="161274" y="61538"/>
                      <a:pt x="161274" y="64616"/>
                    </a:cubicBezTo>
                    <a:cubicBezTo>
                      <a:pt x="161274" y="67692"/>
                      <a:pt x="161274" y="70769"/>
                      <a:pt x="158198" y="70769"/>
                    </a:cubicBezTo>
                    <a:cubicBezTo>
                      <a:pt x="130505" y="76923"/>
                      <a:pt x="87428" y="98461"/>
                      <a:pt x="78197" y="104615"/>
                    </a:cubicBezTo>
                    <a:cubicBezTo>
                      <a:pt x="78197" y="104615"/>
                      <a:pt x="75121" y="107692"/>
                      <a:pt x="75121" y="107692"/>
                    </a:cubicBezTo>
                    <a:cubicBezTo>
                      <a:pt x="75121" y="113846"/>
                      <a:pt x="53582" y="120000"/>
                      <a:pt x="32044" y="1200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0" name="图形 1">
              <a:extLst>
                <a:ext uri="{FF2B5EF4-FFF2-40B4-BE49-F238E27FC236}">
                  <a16:creationId xmlns:a16="http://schemas.microsoft.com/office/drawing/2014/main" id="{FC48E514-C160-4EA4-A5AB-BB0F6D63C214}"/>
                </a:ext>
              </a:extLst>
            </p:cNvPr>
            <p:cNvGrpSpPr/>
            <p:nvPr/>
          </p:nvGrpSpPr>
          <p:grpSpPr>
            <a:xfrm>
              <a:off x="255231" y="6044549"/>
              <a:ext cx="182713" cy="167784"/>
              <a:chOff x="255231" y="6044549"/>
              <a:chExt cx="182713" cy="167784"/>
            </a:xfrm>
          </p:grpSpPr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CAD924E7-8E0A-4DA4-ABD9-84FD57A43582}"/>
                  </a:ext>
                </a:extLst>
              </p:cNvPr>
              <p:cNvSpPr/>
              <p:nvPr/>
            </p:nvSpPr>
            <p:spPr>
              <a:xfrm>
                <a:off x="255231" y="6044549"/>
                <a:ext cx="145382" cy="70092"/>
              </a:xfrm>
              <a:custGeom>
                <a:avLst/>
                <a:gdLst>
                  <a:gd name="connsiteX0" fmla="*/ 3845 w 145382"/>
                  <a:gd name="connsiteY0" fmla="*/ 28554 h 70092"/>
                  <a:gd name="connsiteX1" fmla="*/ 89999 w 145382"/>
                  <a:gd name="connsiteY1" fmla="*/ 3939 h 70092"/>
                  <a:gd name="connsiteX2" fmla="*/ 102306 w 145382"/>
                  <a:gd name="connsiteY2" fmla="*/ 862 h 70092"/>
                  <a:gd name="connsiteX3" fmla="*/ 117691 w 145382"/>
                  <a:gd name="connsiteY3" fmla="*/ 3939 h 70092"/>
                  <a:gd name="connsiteX4" fmla="*/ 145383 w 145382"/>
                  <a:gd name="connsiteY4" fmla="*/ 37785 h 70092"/>
                  <a:gd name="connsiteX5" fmla="*/ 111537 w 145382"/>
                  <a:gd name="connsiteY5" fmla="*/ 59323 h 70092"/>
                  <a:gd name="connsiteX6" fmla="*/ 56152 w 145382"/>
                  <a:gd name="connsiteY6" fmla="*/ 68554 h 70092"/>
                  <a:gd name="connsiteX7" fmla="*/ 13075 w 145382"/>
                  <a:gd name="connsiteY7" fmla="*/ 62400 h 70092"/>
                  <a:gd name="connsiteX8" fmla="*/ 3845 w 145382"/>
                  <a:gd name="connsiteY8" fmla="*/ 28554 h 70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5382" h="70092">
                    <a:moveTo>
                      <a:pt x="3845" y="28554"/>
                    </a:moveTo>
                    <a:cubicBezTo>
                      <a:pt x="22306" y="10092"/>
                      <a:pt x="56152" y="10092"/>
                      <a:pt x="89999" y="3939"/>
                    </a:cubicBezTo>
                    <a:cubicBezTo>
                      <a:pt x="93075" y="3939"/>
                      <a:pt x="99229" y="-2216"/>
                      <a:pt x="102306" y="862"/>
                    </a:cubicBezTo>
                    <a:cubicBezTo>
                      <a:pt x="108460" y="862"/>
                      <a:pt x="111537" y="862"/>
                      <a:pt x="117691" y="3939"/>
                    </a:cubicBezTo>
                    <a:cubicBezTo>
                      <a:pt x="133075" y="10092"/>
                      <a:pt x="145383" y="22400"/>
                      <a:pt x="145383" y="37785"/>
                    </a:cubicBezTo>
                    <a:cubicBezTo>
                      <a:pt x="145383" y="53169"/>
                      <a:pt x="123844" y="56246"/>
                      <a:pt x="111537" y="59323"/>
                    </a:cubicBezTo>
                    <a:cubicBezTo>
                      <a:pt x="93075" y="65477"/>
                      <a:pt x="74614" y="68554"/>
                      <a:pt x="56152" y="68554"/>
                    </a:cubicBezTo>
                    <a:cubicBezTo>
                      <a:pt x="43845" y="68554"/>
                      <a:pt x="25383" y="74708"/>
                      <a:pt x="13075" y="62400"/>
                    </a:cubicBezTo>
                    <a:cubicBezTo>
                      <a:pt x="-2309" y="53169"/>
                      <a:pt x="-2309" y="37785"/>
                      <a:pt x="3845" y="2855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15547355-0184-4392-98CF-503534B45D2D}"/>
                  </a:ext>
                </a:extLst>
              </p:cNvPr>
              <p:cNvSpPr/>
              <p:nvPr/>
            </p:nvSpPr>
            <p:spPr>
              <a:xfrm>
                <a:off x="286000" y="6085411"/>
                <a:ext cx="145382" cy="69230"/>
              </a:xfrm>
              <a:custGeom>
                <a:avLst/>
                <a:gdLst>
                  <a:gd name="connsiteX0" fmla="*/ 3845 w 145382"/>
                  <a:gd name="connsiteY0" fmla="*/ 27692 h 69230"/>
                  <a:gd name="connsiteX1" fmla="*/ 93075 w 145382"/>
                  <a:gd name="connsiteY1" fmla="*/ 0 h 69230"/>
                  <a:gd name="connsiteX2" fmla="*/ 102306 w 145382"/>
                  <a:gd name="connsiteY2" fmla="*/ 0 h 69230"/>
                  <a:gd name="connsiteX3" fmla="*/ 117691 w 145382"/>
                  <a:gd name="connsiteY3" fmla="*/ 3077 h 69230"/>
                  <a:gd name="connsiteX4" fmla="*/ 145383 w 145382"/>
                  <a:gd name="connsiteY4" fmla="*/ 36923 h 69230"/>
                  <a:gd name="connsiteX5" fmla="*/ 111537 w 145382"/>
                  <a:gd name="connsiteY5" fmla="*/ 58461 h 69230"/>
                  <a:gd name="connsiteX6" fmla="*/ 56152 w 145382"/>
                  <a:gd name="connsiteY6" fmla="*/ 67692 h 69230"/>
                  <a:gd name="connsiteX7" fmla="*/ 13075 w 145382"/>
                  <a:gd name="connsiteY7" fmla="*/ 61538 h 69230"/>
                  <a:gd name="connsiteX8" fmla="*/ 3845 w 145382"/>
                  <a:gd name="connsiteY8" fmla="*/ 27692 h 6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5382" h="69230">
                    <a:moveTo>
                      <a:pt x="3845" y="27692"/>
                    </a:moveTo>
                    <a:cubicBezTo>
                      <a:pt x="22306" y="0"/>
                      <a:pt x="62306" y="6154"/>
                      <a:pt x="93075" y="0"/>
                    </a:cubicBezTo>
                    <a:cubicBezTo>
                      <a:pt x="96152" y="0"/>
                      <a:pt x="99229" y="0"/>
                      <a:pt x="102306" y="0"/>
                    </a:cubicBezTo>
                    <a:cubicBezTo>
                      <a:pt x="108460" y="0"/>
                      <a:pt x="111537" y="0"/>
                      <a:pt x="117691" y="3077"/>
                    </a:cubicBezTo>
                    <a:cubicBezTo>
                      <a:pt x="133075" y="9231"/>
                      <a:pt x="145383" y="21538"/>
                      <a:pt x="145383" y="36923"/>
                    </a:cubicBezTo>
                    <a:cubicBezTo>
                      <a:pt x="145383" y="52308"/>
                      <a:pt x="123844" y="55385"/>
                      <a:pt x="111537" y="58461"/>
                    </a:cubicBezTo>
                    <a:cubicBezTo>
                      <a:pt x="93075" y="64615"/>
                      <a:pt x="74614" y="67692"/>
                      <a:pt x="56152" y="67692"/>
                    </a:cubicBezTo>
                    <a:cubicBezTo>
                      <a:pt x="43845" y="67692"/>
                      <a:pt x="25383" y="73846"/>
                      <a:pt x="13075" y="61538"/>
                    </a:cubicBezTo>
                    <a:cubicBezTo>
                      <a:pt x="-2309" y="49230"/>
                      <a:pt x="-2309" y="36923"/>
                      <a:pt x="3845" y="2769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5AEEAE85-6A26-4FF6-9248-FA9CAB40A585}"/>
                  </a:ext>
                </a:extLst>
              </p:cNvPr>
              <p:cNvSpPr/>
              <p:nvPr/>
            </p:nvSpPr>
            <p:spPr>
              <a:xfrm>
                <a:off x="306768" y="6122334"/>
                <a:ext cx="122016" cy="61538"/>
              </a:xfrm>
              <a:custGeom>
                <a:avLst/>
                <a:gdLst>
                  <a:gd name="connsiteX0" fmla="*/ 4615 w 122016"/>
                  <a:gd name="connsiteY0" fmla="*/ 27692 h 61538"/>
                  <a:gd name="connsiteX1" fmla="*/ 81538 w 122016"/>
                  <a:gd name="connsiteY1" fmla="*/ 0 h 61538"/>
                  <a:gd name="connsiteX2" fmla="*/ 87692 w 122016"/>
                  <a:gd name="connsiteY2" fmla="*/ 0 h 61538"/>
                  <a:gd name="connsiteX3" fmla="*/ 100000 w 122016"/>
                  <a:gd name="connsiteY3" fmla="*/ 0 h 61538"/>
                  <a:gd name="connsiteX4" fmla="*/ 121539 w 122016"/>
                  <a:gd name="connsiteY4" fmla="*/ 27692 h 61538"/>
                  <a:gd name="connsiteX5" fmla="*/ 90769 w 122016"/>
                  <a:gd name="connsiteY5" fmla="*/ 49231 h 61538"/>
                  <a:gd name="connsiteX6" fmla="*/ 41538 w 122016"/>
                  <a:gd name="connsiteY6" fmla="*/ 58461 h 61538"/>
                  <a:gd name="connsiteX7" fmla="*/ 4615 w 122016"/>
                  <a:gd name="connsiteY7" fmla="*/ 55385 h 61538"/>
                  <a:gd name="connsiteX8" fmla="*/ 4615 w 122016"/>
                  <a:gd name="connsiteY8" fmla="*/ 27692 h 6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2016" h="61538">
                    <a:moveTo>
                      <a:pt x="4615" y="27692"/>
                    </a:moveTo>
                    <a:cubicBezTo>
                      <a:pt x="23077" y="3077"/>
                      <a:pt x="53846" y="6154"/>
                      <a:pt x="81538" y="0"/>
                    </a:cubicBezTo>
                    <a:cubicBezTo>
                      <a:pt x="84616" y="0"/>
                      <a:pt x="84616" y="0"/>
                      <a:pt x="87692" y="0"/>
                    </a:cubicBezTo>
                    <a:cubicBezTo>
                      <a:pt x="90769" y="0"/>
                      <a:pt x="96923" y="0"/>
                      <a:pt x="100000" y="0"/>
                    </a:cubicBezTo>
                    <a:cubicBezTo>
                      <a:pt x="112308" y="3077"/>
                      <a:pt x="124615" y="15385"/>
                      <a:pt x="121539" y="27692"/>
                    </a:cubicBezTo>
                    <a:cubicBezTo>
                      <a:pt x="121539" y="43077"/>
                      <a:pt x="103077" y="43077"/>
                      <a:pt x="90769" y="49231"/>
                    </a:cubicBezTo>
                    <a:cubicBezTo>
                      <a:pt x="75385" y="55385"/>
                      <a:pt x="60000" y="58461"/>
                      <a:pt x="41538" y="58461"/>
                    </a:cubicBezTo>
                    <a:cubicBezTo>
                      <a:pt x="29231" y="61538"/>
                      <a:pt x="16923" y="64616"/>
                      <a:pt x="4615" y="55385"/>
                    </a:cubicBezTo>
                    <a:cubicBezTo>
                      <a:pt x="-1538" y="49231"/>
                      <a:pt x="-1538" y="36923"/>
                      <a:pt x="4615" y="2769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4C74CE09-41F1-4DCF-BCD3-740047FAAB19}"/>
                  </a:ext>
                </a:extLst>
              </p:cNvPr>
              <p:cNvSpPr/>
              <p:nvPr/>
            </p:nvSpPr>
            <p:spPr>
              <a:xfrm>
                <a:off x="334786" y="6165411"/>
                <a:ext cx="94123" cy="46923"/>
              </a:xfrm>
              <a:custGeom>
                <a:avLst/>
                <a:gdLst>
                  <a:gd name="connsiteX0" fmla="*/ 4289 w 94123"/>
                  <a:gd name="connsiteY0" fmla="*/ 21539 h 46923"/>
                  <a:gd name="connsiteX1" fmla="*/ 62751 w 94123"/>
                  <a:gd name="connsiteY1" fmla="*/ 0 h 46923"/>
                  <a:gd name="connsiteX2" fmla="*/ 68904 w 94123"/>
                  <a:gd name="connsiteY2" fmla="*/ 0 h 46923"/>
                  <a:gd name="connsiteX3" fmla="*/ 78135 w 94123"/>
                  <a:gd name="connsiteY3" fmla="*/ 0 h 46923"/>
                  <a:gd name="connsiteX4" fmla="*/ 93520 w 94123"/>
                  <a:gd name="connsiteY4" fmla="*/ 21539 h 46923"/>
                  <a:gd name="connsiteX5" fmla="*/ 71981 w 94123"/>
                  <a:gd name="connsiteY5" fmla="*/ 36923 h 46923"/>
                  <a:gd name="connsiteX6" fmla="*/ 35058 w 94123"/>
                  <a:gd name="connsiteY6" fmla="*/ 46154 h 46923"/>
                  <a:gd name="connsiteX7" fmla="*/ 7366 w 94123"/>
                  <a:gd name="connsiteY7" fmla="*/ 43077 h 46923"/>
                  <a:gd name="connsiteX8" fmla="*/ 4289 w 94123"/>
                  <a:gd name="connsiteY8" fmla="*/ 21539 h 4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123" h="46923">
                    <a:moveTo>
                      <a:pt x="4289" y="21539"/>
                    </a:moveTo>
                    <a:cubicBezTo>
                      <a:pt x="16597" y="3077"/>
                      <a:pt x="41212" y="6154"/>
                      <a:pt x="62751" y="0"/>
                    </a:cubicBezTo>
                    <a:cubicBezTo>
                      <a:pt x="65827" y="0"/>
                      <a:pt x="65827" y="0"/>
                      <a:pt x="68904" y="0"/>
                    </a:cubicBezTo>
                    <a:cubicBezTo>
                      <a:pt x="71981" y="0"/>
                      <a:pt x="75058" y="0"/>
                      <a:pt x="78135" y="0"/>
                    </a:cubicBezTo>
                    <a:cubicBezTo>
                      <a:pt x="87366" y="3077"/>
                      <a:pt x="96596" y="12308"/>
                      <a:pt x="93520" y="21539"/>
                    </a:cubicBezTo>
                    <a:cubicBezTo>
                      <a:pt x="93520" y="30769"/>
                      <a:pt x="78135" y="33846"/>
                      <a:pt x="71981" y="36923"/>
                    </a:cubicBezTo>
                    <a:cubicBezTo>
                      <a:pt x="59673" y="40000"/>
                      <a:pt x="47366" y="43077"/>
                      <a:pt x="35058" y="46154"/>
                    </a:cubicBezTo>
                    <a:cubicBezTo>
                      <a:pt x="25828" y="46154"/>
                      <a:pt x="16597" y="49231"/>
                      <a:pt x="7366" y="43077"/>
                    </a:cubicBezTo>
                    <a:cubicBezTo>
                      <a:pt x="-1865" y="36923"/>
                      <a:pt x="-1865" y="27693"/>
                      <a:pt x="4289" y="2153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1765D30F-AF34-49BB-959C-27CE999E89AB}"/>
                  </a:ext>
                </a:extLst>
              </p:cNvPr>
              <p:cNvSpPr/>
              <p:nvPr/>
            </p:nvSpPr>
            <p:spPr>
              <a:xfrm>
                <a:off x="276262" y="6048595"/>
                <a:ext cx="158991" cy="104507"/>
              </a:xfrm>
              <a:custGeom>
                <a:avLst/>
                <a:gdLst>
                  <a:gd name="connsiteX0" fmla="*/ 50505 w 158991"/>
                  <a:gd name="connsiteY0" fmla="*/ 104508 h 104507"/>
                  <a:gd name="connsiteX1" fmla="*/ 4351 w 158991"/>
                  <a:gd name="connsiteY1" fmla="*/ 86046 h 104507"/>
                  <a:gd name="connsiteX2" fmla="*/ 1274 w 158991"/>
                  <a:gd name="connsiteY2" fmla="*/ 64508 h 104507"/>
                  <a:gd name="connsiteX3" fmla="*/ 13582 w 158991"/>
                  <a:gd name="connsiteY3" fmla="*/ 58354 h 104507"/>
                  <a:gd name="connsiteX4" fmla="*/ 112044 w 158991"/>
                  <a:gd name="connsiteY4" fmla="*/ 33739 h 104507"/>
                  <a:gd name="connsiteX5" fmla="*/ 112044 w 158991"/>
                  <a:gd name="connsiteY5" fmla="*/ 18354 h 104507"/>
                  <a:gd name="connsiteX6" fmla="*/ 105890 w 158991"/>
                  <a:gd name="connsiteY6" fmla="*/ 12200 h 104507"/>
                  <a:gd name="connsiteX7" fmla="*/ 16659 w 158991"/>
                  <a:gd name="connsiteY7" fmla="*/ 21431 h 104507"/>
                  <a:gd name="connsiteX8" fmla="*/ 10505 w 158991"/>
                  <a:gd name="connsiteY8" fmla="*/ 18354 h 104507"/>
                  <a:gd name="connsiteX9" fmla="*/ 13582 w 158991"/>
                  <a:gd name="connsiteY9" fmla="*/ 12200 h 104507"/>
                  <a:gd name="connsiteX10" fmla="*/ 115121 w 158991"/>
                  <a:gd name="connsiteY10" fmla="*/ 6046 h 104507"/>
                  <a:gd name="connsiteX11" fmla="*/ 127428 w 158991"/>
                  <a:gd name="connsiteY11" fmla="*/ 21431 h 104507"/>
                  <a:gd name="connsiteX12" fmla="*/ 127428 w 158991"/>
                  <a:gd name="connsiteY12" fmla="*/ 33739 h 104507"/>
                  <a:gd name="connsiteX13" fmla="*/ 158198 w 158991"/>
                  <a:gd name="connsiteY13" fmla="*/ 67585 h 104507"/>
                  <a:gd name="connsiteX14" fmla="*/ 105890 w 158991"/>
                  <a:gd name="connsiteY14" fmla="*/ 104508 h 104507"/>
                  <a:gd name="connsiteX15" fmla="*/ 50505 w 158991"/>
                  <a:gd name="connsiteY15" fmla="*/ 104508 h 104507"/>
                  <a:gd name="connsiteX16" fmla="*/ 13582 w 158991"/>
                  <a:gd name="connsiteY16" fmla="*/ 70662 h 104507"/>
                  <a:gd name="connsiteX17" fmla="*/ 13582 w 158991"/>
                  <a:gd name="connsiteY17" fmla="*/ 70662 h 104507"/>
                  <a:gd name="connsiteX18" fmla="*/ 13582 w 158991"/>
                  <a:gd name="connsiteY18" fmla="*/ 82969 h 104507"/>
                  <a:gd name="connsiteX19" fmla="*/ 99736 w 158991"/>
                  <a:gd name="connsiteY19" fmla="*/ 89123 h 104507"/>
                  <a:gd name="connsiteX20" fmla="*/ 142813 w 158991"/>
                  <a:gd name="connsiteY20" fmla="*/ 64508 h 104507"/>
                  <a:gd name="connsiteX21" fmla="*/ 118198 w 158991"/>
                  <a:gd name="connsiteY21" fmla="*/ 39892 h 104507"/>
                  <a:gd name="connsiteX22" fmla="*/ 118198 w 158991"/>
                  <a:gd name="connsiteY22" fmla="*/ 39892 h 104507"/>
                  <a:gd name="connsiteX23" fmla="*/ 13582 w 158991"/>
                  <a:gd name="connsiteY23" fmla="*/ 70662 h 104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58991" h="104507">
                    <a:moveTo>
                      <a:pt x="50505" y="104508"/>
                    </a:moveTo>
                    <a:cubicBezTo>
                      <a:pt x="25890" y="104508"/>
                      <a:pt x="10505" y="98354"/>
                      <a:pt x="4351" y="86046"/>
                    </a:cubicBezTo>
                    <a:cubicBezTo>
                      <a:pt x="1274" y="76816"/>
                      <a:pt x="-1802" y="70662"/>
                      <a:pt x="1274" y="64508"/>
                    </a:cubicBezTo>
                    <a:cubicBezTo>
                      <a:pt x="4351" y="58354"/>
                      <a:pt x="10505" y="58354"/>
                      <a:pt x="13582" y="58354"/>
                    </a:cubicBezTo>
                    <a:cubicBezTo>
                      <a:pt x="72044" y="52200"/>
                      <a:pt x="102813" y="46046"/>
                      <a:pt x="112044" y="33739"/>
                    </a:cubicBezTo>
                    <a:cubicBezTo>
                      <a:pt x="115121" y="30662"/>
                      <a:pt x="115121" y="24508"/>
                      <a:pt x="112044" y="18354"/>
                    </a:cubicBezTo>
                    <a:cubicBezTo>
                      <a:pt x="112044" y="15277"/>
                      <a:pt x="108967" y="12200"/>
                      <a:pt x="105890" y="12200"/>
                    </a:cubicBezTo>
                    <a:cubicBezTo>
                      <a:pt x="87428" y="-107"/>
                      <a:pt x="35121" y="15277"/>
                      <a:pt x="16659" y="21431"/>
                    </a:cubicBezTo>
                    <a:cubicBezTo>
                      <a:pt x="13582" y="21431"/>
                      <a:pt x="10505" y="21431"/>
                      <a:pt x="10505" y="18354"/>
                    </a:cubicBezTo>
                    <a:cubicBezTo>
                      <a:pt x="10505" y="15277"/>
                      <a:pt x="10505" y="12200"/>
                      <a:pt x="13582" y="12200"/>
                    </a:cubicBezTo>
                    <a:cubicBezTo>
                      <a:pt x="19736" y="9123"/>
                      <a:pt x="87428" y="-9338"/>
                      <a:pt x="115121" y="6046"/>
                    </a:cubicBezTo>
                    <a:cubicBezTo>
                      <a:pt x="121275" y="9123"/>
                      <a:pt x="124351" y="15277"/>
                      <a:pt x="127428" y="21431"/>
                    </a:cubicBezTo>
                    <a:cubicBezTo>
                      <a:pt x="127428" y="24508"/>
                      <a:pt x="130506" y="27585"/>
                      <a:pt x="127428" y="33739"/>
                    </a:cubicBezTo>
                    <a:cubicBezTo>
                      <a:pt x="130506" y="36816"/>
                      <a:pt x="155121" y="49123"/>
                      <a:pt x="158198" y="67585"/>
                    </a:cubicBezTo>
                    <a:cubicBezTo>
                      <a:pt x="164351" y="92200"/>
                      <a:pt x="133582" y="98354"/>
                      <a:pt x="105890" y="104508"/>
                    </a:cubicBezTo>
                    <a:cubicBezTo>
                      <a:pt x="84352" y="104508"/>
                      <a:pt x="65890" y="104508"/>
                      <a:pt x="50505" y="104508"/>
                    </a:cubicBezTo>
                    <a:close/>
                    <a:moveTo>
                      <a:pt x="13582" y="70662"/>
                    </a:moveTo>
                    <a:cubicBezTo>
                      <a:pt x="13582" y="70662"/>
                      <a:pt x="13582" y="70662"/>
                      <a:pt x="13582" y="70662"/>
                    </a:cubicBezTo>
                    <a:cubicBezTo>
                      <a:pt x="10505" y="73739"/>
                      <a:pt x="10505" y="76816"/>
                      <a:pt x="13582" y="82969"/>
                    </a:cubicBezTo>
                    <a:cubicBezTo>
                      <a:pt x="22813" y="98354"/>
                      <a:pt x="53582" y="101431"/>
                      <a:pt x="99736" y="89123"/>
                    </a:cubicBezTo>
                    <a:cubicBezTo>
                      <a:pt x="136659" y="79892"/>
                      <a:pt x="145890" y="73739"/>
                      <a:pt x="142813" y="64508"/>
                    </a:cubicBezTo>
                    <a:cubicBezTo>
                      <a:pt x="139736" y="55277"/>
                      <a:pt x="127428" y="42969"/>
                      <a:pt x="118198" y="39892"/>
                    </a:cubicBezTo>
                    <a:cubicBezTo>
                      <a:pt x="118198" y="39892"/>
                      <a:pt x="118198" y="39892"/>
                      <a:pt x="118198" y="39892"/>
                    </a:cubicBezTo>
                    <a:cubicBezTo>
                      <a:pt x="115121" y="49123"/>
                      <a:pt x="96659" y="61431"/>
                      <a:pt x="13582" y="7066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DF01C633-BCDF-4E8B-AAF8-846635F9F8AA}"/>
                  </a:ext>
                </a:extLst>
              </p:cNvPr>
              <p:cNvSpPr/>
              <p:nvPr/>
            </p:nvSpPr>
            <p:spPr>
              <a:xfrm>
                <a:off x="303208" y="6116949"/>
                <a:ext cx="134735" cy="73076"/>
              </a:xfrm>
              <a:custGeom>
                <a:avLst/>
                <a:gdLst>
                  <a:gd name="connsiteX0" fmla="*/ 29713 w 134735"/>
                  <a:gd name="connsiteY0" fmla="*/ 73077 h 73076"/>
                  <a:gd name="connsiteX1" fmla="*/ 17406 w 134735"/>
                  <a:gd name="connsiteY1" fmla="*/ 73077 h 73076"/>
                  <a:gd name="connsiteX2" fmla="*/ 2021 w 134735"/>
                  <a:gd name="connsiteY2" fmla="*/ 57692 h 73076"/>
                  <a:gd name="connsiteX3" fmla="*/ 5098 w 134735"/>
                  <a:gd name="connsiteY3" fmla="*/ 30000 h 73076"/>
                  <a:gd name="connsiteX4" fmla="*/ 14329 w 134735"/>
                  <a:gd name="connsiteY4" fmla="*/ 30000 h 73076"/>
                  <a:gd name="connsiteX5" fmla="*/ 14329 w 134735"/>
                  <a:gd name="connsiteY5" fmla="*/ 39231 h 73076"/>
                  <a:gd name="connsiteX6" fmla="*/ 14329 w 134735"/>
                  <a:gd name="connsiteY6" fmla="*/ 54616 h 73076"/>
                  <a:gd name="connsiteX7" fmla="*/ 20483 w 134735"/>
                  <a:gd name="connsiteY7" fmla="*/ 60769 h 73076"/>
                  <a:gd name="connsiteX8" fmla="*/ 109714 w 134735"/>
                  <a:gd name="connsiteY8" fmla="*/ 45385 h 73076"/>
                  <a:gd name="connsiteX9" fmla="*/ 122021 w 134735"/>
                  <a:gd name="connsiteY9" fmla="*/ 33077 h 73076"/>
                  <a:gd name="connsiteX10" fmla="*/ 112790 w 134735"/>
                  <a:gd name="connsiteY10" fmla="*/ 11538 h 73076"/>
                  <a:gd name="connsiteX11" fmla="*/ 112790 w 134735"/>
                  <a:gd name="connsiteY11" fmla="*/ 2307 h 73076"/>
                  <a:gd name="connsiteX12" fmla="*/ 122021 w 134735"/>
                  <a:gd name="connsiteY12" fmla="*/ 2307 h 73076"/>
                  <a:gd name="connsiteX13" fmla="*/ 134329 w 134735"/>
                  <a:gd name="connsiteY13" fmla="*/ 33077 h 73076"/>
                  <a:gd name="connsiteX14" fmla="*/ 112790 w 134735"/>
                  <a:gd name="connsiteY14" fmla="*/ 54616 h 73076"/>
                  <a:gd name="connsiteX15" fmla="*/ 29713 w 134735"/>
                  <a:gd name="connsiteY15" fmla="*/ 73077 h 7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4735" h="73076">
                    <a:moveTo>
                      <a:pt x="29713" y="73077"/>
                    </a:moveTo>
                    <a:cubicBezTo>
                      <a:pt x="23560" y="73077"/>
                      <a:pt x="20483" y="73077"/>
                      <a:pt x="17406" y="73077"/>
                    </a:cubicBezTo>
                    <a:cubicBezTo>
                      <a:pt x="11252" y="73077"/>
                      <a:pt x="5098" y="66923"/>
                      <a:pt x="2021" y="57692"/>
                    </a:cubicBezTo>
                    <a:cubicBezTo>
                      <a:pt x="-1056" y="48461"/>
                      <a:pt x="-1056" y="36154"/>
                      <a:pt x="5098" y="30000"/>
                    </a:cubicBezTo>
                    <a:cubicBezTo>
                      <a:pt x="8175" y="26923"/>
                      <a:pt x="11252" y="26923"/>
                      <a:pt x="14329" y="30000"/>
                    </a:cubicBezTo>
                    <a:cubicBezTo>
                      <a:pt x="17406" y="33077"/>
                      <a:pt x="17406" y="36154"/>
                      <a:pt x="14329" y="39231"/>
                    </a:cubicBezTo>
                    <a:cubicBezTo>
                      <a:pt x="14329" y="42308"/>
                      <a:pt x="11252" y="48461"/>
                      <a:pt x="14329" y="54616"/>
                    </a:cubicBezTo>
                    <a:cubicBezTo>
                      <a:pt x="14329" y="57692"/>
                      <a:pt x="17406" y="60769"/>
                      <a:pt x="20483" y="60769"/>
                    </a:cubicBezTo>
                    <a:cubicBezTo>
                      <a:pt x="32790" y="63846"/>
                      <a:pt x="75867" y="60769"/>
                      <a:pt x="109714" y="45385"/>
                    </a:cubicBezTo>
                    <a:cubicBezTo>
                      <a:pt x="118944" y="42308"/>
                      <a:pt x="122021" y="39231"/>
                      <a:pt x="122021" y="33077"/>
                    </a:cubicBezTo>
                    <a:cubicBezTo>
                      <a:pt x="125098" y="23846"/>
                      <a:pt x="112790" y="11538"/>
                      <a:pt x="112790" y="11538"/>
                    </a:cubicBezTo>
                    <a:cubicBezTo>
                      <a:pt x="109714" y="8462"/>
                      <a:pt x="109714" y="5385"/>
                      <a:pt x="112790" y="2307"/>
                    </a:cubicBezTo>
                    <a:cubicBezTo>
                      <a:pt x="115867" y="-769"/>
                      <a:pt x="118944" y="-769"/>
                      <a:pt x="122021" y="2307"/>
                    </a:cubicBezTo>
                    <a:cubicBezTo>
                      <a:pt x="122021" y="2307"/>
                      <a:pt x="137406" y="17692"/>
                      <a:pt x="134329" y="33077"/>
                    </a:cubicBezTo>
                    <a:cubicBezTo>
                      <a:pt x="131252" y="42308"/>
                      <a:pt x="125098" y="48461"/>
                      <a:pt x="112790" y="54616"/>
                    </a:cubicBezTo>
                    <a:cubicBezTo>
                      <a:pt x="85098" y="70000"/>
                      <a:pt x="51252" y="73077"/>
                      <a:pt x="29713" y="7307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63213688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48AE1BDB-106E-4472-88C7-1FE9FCF3DCCA}"/>
              </a:ext>
            </a:extLst>
          </p:cNvPr>
          <p:cNvGrpSpPr/>
          <p:nvPr/>
        </p:nvGrpSpPr>
        <p:grpSpPr>
          <a:xfrm>
            <a:off x="2727595" y="2008439"/>
            <a:ext cx="6593935" cy="4849561"/>
            <a:chOff x="11171778" y="4280947"/>
            <a:chExt cx="6593935" cy="4849561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E6703F21-A317-4CEE-BF3F-EBBC6E5E346D}"/>
                </a:ext>
              </a:extLst>
            </p:cNvPr>
            <p:cNvSpPr/>
            <p:nvPr/>
          </p:nvSpPr>
          <p:spPr>
            <a:xfrm>
              <a:off x="13602874" y="6469749"/>
              <a:ext cx="291880" cy="175875"/>
            </a:xfrm>
            <a:custGeom>
              <a:avLst/>
              <a:gdLst>
                <a:gd name="connsiteX0" fmla="*/ 240818 w 291880"/>
                <a:gd name="connsiteY0" fmla="*/ 18739 h 175875"/>
                <a:gd name="connsiteX1" fmla="*/ 166973 w 291880"/>
                <a:gd name="connsiteY1" fmla="*/ 3354 h 175875"/>
                <a:gd name="connsiteX2" fmla="*/ 111587 w 291880"/>
                <a:gd name="connsiteY2" fmla="*/ 6431 h 175875"/>
                <a:gd name="connsiteX3" fmla="*/ 86972 w 291880"/>
                <a:gd name="connsiteY3" fmla="*/ 31046 h 175875"/>
                <a:gd name="connsiteX4" fmla="*/ 136204 w 291880"/>
                <a:gd name="connsiteY4" fmla="*/ 37201 h 175875"/>
                <a:gd name="connsiteX5" fmla="*/ 170049 w 291880"/>
                <a:gd name="connsiteY5" fmla="*/ 67970 h 175875"/>
                <a:gd name="connsiteX6" fmla="*/ 19279 w 291880"/>
                <a:gd name="connsiteY6" fmla="*/ 64893 h 175875"/>
                <a:gd name="connsiteX7" fmla="*/ 3894 w 291880"/>
                <a:gd name="connsiteY7" fmla="*/ 80277 h 175875"/>
                <a:gd name="connsiteX8" fmla="*/ 10049 w 291880"/>
                <a:gd name="connsiteY8" fmla="*/ 83354 h 175875"/>
                <a:gd name="connsiteX9" fmla="*/ 818 w 291880"/>
                <a:gd name="connsiteY9" fmla="*/ 95662 h 175875"/>
                <a:gd name="connsiteX10" fmla="*/ 22357 w 291880"/>
                <a:gd name="connsiteY10" fmla="*/ 138739 h 175875"/>
                <a:gd name="connsiteX11" fmla="*/ 145434 w 291880"/>
                <a:gd name="connsiteY11" fmla="*/ 175662 h 175875"/>
                <a:gd name="connsiteX12" fmla="*/ 283896 w 291880"/>
                <a:gd name="connsiteY12" fmla="*/ 123354 h 175875"/>
                <a:gd name="connsiteX13" fmla="*/ 286972 w 291880"/>
                <a:gd name="connsiteY13" fmla="*/ 114124 h 175875"/>
                <a:gd name="connsiteX14" fmla="*/ 240818 w 291880"/>
                <a:gd name="connsiteY14" fmla="*/ 18739 h 17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1880" h="175875">
                  <a:moveTo>
                    <a:pt x="240818" y="18739"/>
                  </a:moveTo>
                  <a:cubicBezTo>
                    <a:pt x="213127" y="15662"/>
                    <a:pt x="191588" y="9508"/>
                    <a:pt x="166973" y="3354"/>
                  </a:cubicBezTo>
                  <a:cubicBezTo>
                    <a:pt x="136204" y="-2799"/>
                    <a:pt x="145434" y="277"/>
                    <a:pt x="111587" y="6431"/>
                  </a:cubicBezTo>
                  <a:cubicBezTo>
                    <a:pt x="108511" y="6431"/>
                    <a:pt x="86972" y="27970"/>
                    <a:pt x="86972" y="31046"/>
                  </a:cubicBezTo>
                  <a:cubicBezTo>
                    <a:pt x="86972" y="37201"/>
                    <a:pt x="99280" y="46431"/>
                    <a:pt x="136204" y="37201"/>
                  </a:cubicBezTo>
                  <a:cubicBezTo>
                    <a:pt x="151588" y="43355"/>
                    <a:pt x="166973" y="61816"/>
                    <a:pt x="170049" y="67970"/>
                  </a:cubicBezTo>
                  <a:cubicBezTo>
                    <a:pt x="151588" y="101816"/>
                    <a:pt x="28511" y="43355"/>
                    <a:pt x="19279" y="64893"/>
                  </a:cubicBezTo>
                  <a:cubicBezTo>
                    <a:pt x="19279" y="67970"/>
                    <a:pt x="818" y="77200"/>
                    <a:pt x="3894" y="80277"/>
                  </a:cubicBezTo>
                  <a:cubicBezTo>
                    <a:pt x="3894" y="80277"/>
                    <a:pt x="10049" y="83354"/>
                    <a:pt x="10049" y="83354"/>
                  </a:cubicBezTo>
                  <a:cubicBezTo>
                    <a:pt x="3894" y="86431"/>
                    <a:pt x="-2258" y="83354"/>
                    <a:pt x="818" y="95662"/>
                  </a:cubicBezTo>
                  <a:cubicBezTo>
                    <a:pt x="3894" y="104893"/>
                    <a:pt x="10049" y="129508"/>
                    <a:pt x="22357" y="138739"/>
                  </a:cubicBezTo>
                  <a:cubicBezTo>
                    <a:pt x="50048" y="157200"/>
                    <a:pt x="114665" y="175662"/>
                    <a:pt x="145434" y="175662"/>
                  </a:cubicBezTo>
                  <a:cubicBezTo>
                    <a:pt x="191588" y="178739"/>
                    <a:pt x="250048" y="147970"/>
                    <a:pt x="283896" y="123354"/>
                  </a:cubicBezTo>
                  <a:cubicBezTo>
                    <a:pt x="286972" y="120278"/>
                    <a:pt x="286972" y="117201"/>
                    <a:pt x="286972" y="114124"/>
                  </a:cubicBezTo>
                  <a:cubicBezTo>
                    <a:pt x="299280" y="74124"/>
                    <a:pt x="290050" y="24893"/>
                    <a:pt x="240818" y="18739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D2A06DB1-D0D0-46BA-8E20-FB8B39262C35}"/>
                </a:ext>
              </a:extLst>
            </p:cNvPr>
            <p:cNvSpPr/>
            <p:nvPr/>
          </p:nvSpPr>
          <p:spPr>
            <a:xfrm>
              <a:off x="13806768" y="5411970"/>
              <a:ext cx="926196" cy="1211902"/>
            </a:xfrm>
            <a:custGeom>
              <a:avLst/>
              <a:gdLst>
                <a:gd name="connsiteX0" fmla="*/ 926155 w 926196"/>
                <a:gd name="connsiteY0" fmla="*/ 273441 h 1211902"/>
                <a:gd name="connsiteX1" fmla="*/ 689232 w 926196"/>
                <a:gd name="connsiteY1" fmla="*/ 8826 h 1211902"/>
                <a:gd name="connsiteX2" fmla="*/ 467693 w 926196"/>
                <a:gd name="connsiteY2" fmla="*/ 784210 h 1211902"/>
                <a:gd name="connsiteX3" fmla="*/ 0 w 926196"/>
                <a:gd name="connsiteY3" fmla="*/ 1070365 h 1211902"/>
                <a:gd name="connsiteX4" fmla="*/ 18463 w 926196"/>
                <a:gd name="connsiteY4" fmla="*/ 1211902 h 1211902"/>
                <a:gd name="connsiteX5" fmla="*/ 686155 w 926196"/>
                <a:gd name="connsiteY5" fmla="*/ 962672 h 1211902"/>
                <a:gd name="connsiteX6" fmla="*/ 926155 w 926196"/>
                <a:gd name="connsiteY6" fmla="*/ 273441 h 1211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6196" h="1211902">
                  <a:moveTo>
                    <a:pt x="926155" y="273441"/>
                  </a:moveTo>
                  <a:cubicBezTo>
                    <a:pt x="923077" y="125749"/>
                    <a:pt x="753846" y="-40405"/>
                    <a:pt x="689232" y="8826"/>
                  </a:cubicBezTo>
                  <a:cubicBezTo>
                    <a:pt x="615385" y="67288"/>
                    <a:pt x="486155" y="781134"/>
                    <a:pt x="467693" y="784210"/>
                  </a:cubicBezTo>
                  <a:cubicBezTo>
                    <a:pt x="461539" y="787287"/>
                    <a:pt x="0" y="1070365"/>
                    <a:pt x="0" y="1070365"/>
                  </a:cubicBezTo>
                  <a:cubicBezTo>
                    <a:pt x="24617" y="1125749"/>
                    <a:pt x="18463" y="1211902"/>
                    <a:pt x="18463" y="1211902"/>
                  </a:cubicBezTo>
                  <a:cubicBezTo>
                    <a:pt x="18463" y="1211902"/>
                    <a:pt x="624617" y="1024211"/>
                    <a:pt x="686155" y="962672"/>
                  </a:cubicBezTo>
                  <a:cubicBezTo>
                    <a:pt x="760001" y="888826"/>
                    <a:pt x="929231" y="458057"/>
                    <a:pt x="926155" y="273441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35A5600F-0FF2-4768-AA8E-19F82CFA13E5}"/>
                </a:ext>
              </a:extLst>
            </p:cNvPr>
            <p:cNvSpPr/>
            <p:nvPr/>
          </p:nvSpPr>
          <p:spPr>
            <a:xfrm>
              <a:off x="14363693" y="5108447"/>
              <a:ext cx="454759" cy="616963"/>
            </a:xfrm>
            <a:custGeom>
              <a:avLst/>
              <a:gdLst>
                <a:gd name="connsiteX0" fmla="*/ 390770 w 454759"/>
                <a:gd name="connsiteY0" fmla="*/ 616964 h 616963"/>
                <a:gd name="connsiteX1" fmla="*/ 403076 w 454759"/>
                <a:gd name="connsiteY1" fmla="*/ 10810 h 616963"/>
                <a:gd name="connsiteX2" fmla="*/ 0 w 454759"/>
                <a:gd name="connsiteY2" fmla="*/ 447733 h 616963"/>
                <a:gd name="connsiteX3" fmla="*/ 390770 w 454759"/>
                <a:gd name="connsiteY3" fmla="*/ 616964 h 616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4759" h="616963">
                  <a:moveTo>
                    <a:pt x="390770" y="616964"/>
                  </a:moveTo>
                  <a:cubicBezTo>
                    <a:pt x="390770" y="616964"/>
                    <a:pt x="526153" y="90810"/>
                    <a:pt x="403076" y="10810"/>
                  </a:cubicBezTo>
                  <a:cubicBezTo>
                    <a:pt x="258460" y="-81498"/>
                    <a:pt x="0" y="447733"/>
                    <a:pt x="0" y="447733"/>
                  </a:cubicBezTo>
                  <a:cubicBezTo>
                    <a:pt x="0" y="447733"/>
                    <a:pt x="175385" y="598502"/>
                    <a:pt x="390770" y="616964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81445A4A-11BE-4364-8F96-A4FE2853A6EF}"/>
                </a:ext>
              </a:extLst>
            </p:cNvPr>
            <p:cNvSpPr/>
            <p:nvPr/>
          </p:nvSpPr>
          <p:spPr>
            <a:xfrm>
              <a:off x="14259077" y="6836180"/>
              <a:ext cx="735385" cy="2166153"/>
            </a:xfrm>
            <a:custGeom>
              <a:avLst/>
              <a:gdLst>
                <a:gd name="connsiteX0" fmla="*/ 0 w 735385"/>
                <a:gd name="connsiteY0" fmla="*/ 2018461 h 2166153"/>
                <a:gd name="connsiteX1" fmla="*/ 184615 w 735385"/>
                <a:gd name="connsiteY1" fmla="*/ 913846 h 2166153"/>
                <a:gd name="connsiteX2" fmla="*/ 378461 w 735385"/>
                <a:gd name="connsiteY2" fmla="*/ 0 h 2166153"/>
                <a:gd name="connsiteX3" fmla="*/ 735385 w 735385"/>
                <a:gd name="connsiteY3" fmla="*/ 230769 h 2166153"/>
                <a:gd name="connsiteX4" fmla="*/ 501538 w 735385"/>
                <a:gd name="connsiteY4" fmla="*/ 1058461 h 2166153"/>
                <a:gd name="connsiteX5" fmla="*/ 120001 w 735385"/>
                <a:gd name="connsiteY5" fmla="*/ 2166154 h 2166153"/>
                <a:gd name="connsiteX6" fmla="*/ 0 w 735385"/>
                <a:gd name="connsiteY6" fmla="*/ 2018461 h 216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5385" h="2166153">
                  <a:moveTo>
                    <a:pt x="0" y="2018461"/>
                  </a:moveTo>
                  <a:cubicBezTo>
                    <a:pt x="0" y="2018461"/>
                    <a:pt x="172309" y="953846"/>
                    <a:pt x="184615" y="913846"/>
                  </a:cubicBezTo>
                  <a:cubicBezTo>
                    <a:pt x="196924" y="873846"/>
                    <a:pt x="378461" y="0"/>
                    <a:pt x="378461" y="0"/>
                  </a:cubicBezTo>
                  <a:lnTo>
                    <a:pt x="735385" y="230769"/>
                  </a:lnTo>
                  <a:cubicBezTo>
                    <a:pt x="735385" y="230769"/>
                    <a:pt x="547692" y="953846"/>
                    <a:pt x="501538" y="1058461"/>
                  </a:cubicBezTo>
                  <a:cubicBezTo>
                    <a:pt x="483077" y="1098461"/>
                    <a:pt x="120001" y="2166154"/>
                    <a:pt x="120001" y="2166154"/>
                  </a:cubicBezTo>
                  <a:lnTo>
                    <a:pt x="0" y="2018461"/>
                  </a:ln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17201013-66A9-47B5-BC61-CE5501653516}"/>
                </a:ext>
              </a:extLst>
            </p:cNvPr>
            <p:cNvSpPr/>
            <p:nvPr/>
          </p:nvSpPr>
          <p:spPr>
            <a:xfrm>
              <a:off x="15182154" y="7002334"/>
              <a:ext cx="409230" cy="1990768"/>
            </a:xfrm>
            <a:custGeom>
              <a:avLst/>
              <a:gdLst>
                <a:gd name="connsiteX0" fmla="*/ 356924 w 409230"/>
                <a:gd name="connsiteY0" fmla="*/ 1990769 h 1990768"/>
                <a:gd name="connsiteX1" fmla="*/ 310770 w 409230"/>
                <a:gd name="connsiteY1" fmla="*/ 1021538 h 1990768"/>
                <a:gd name="connsiteX2" fmla="*/ 409230 w 409230"/>
                <a:gd name="connsiteY2" fmla="*/ 24615 h 1990768"/>
                <a:gd name="connsiteX3" fmla="*/ 0 w 409230"/>
                <a:gd name="connsiteY3" fmla="*/ 0 h 1990768"/>
                <a:gd name="connsiteX4" fmla="*/ 15385 w 409230"/>
                <a:gd name="connsiteY4" fmla="*/ 1009230 h 1990768"/>
                <a:gd name="connsiteX5" fmla="*/ 209230 w 409230"/>
                <a:gd name="connsiteY5" fmla="*/ 1959999 h 1990768"/>
                <a:gd name="connsiteX6" fmla="*/ 356924 w 409230"/>
                <a:gd name="connsiteY6" fmla="*/ 1990769 h 199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9230" h="1990768">
                  <a:moveTo>
                    <a:pt x="356924" y="1990769"/>
                  </a:moveTo>
                  <a:cubicBezTo>
                    <a:pt x="356924" y="1990769"/>
                    <a:pt x="307692" y="1052307"/>
                    <a:pt x="310770" y="1021538"/>
                  </a:cubicBezTo>
                  <a:cubicBezTo>
                    <a:pt x="313847" y="990769"/>
                    <a:pt x="409230" y="24615"/>
                    <a:pt x="409230" y="24615"/>
                  </a:cubicBezTo>
                  <a:lnTo>
                    <a:pt x="0" y="0"/>
                  </a:lnTo>
                  <a:cubicBezTo>
                    <a:pt x="0" y="0"/>
                    <a:pt x="9230" y="935384"/>
                    <a:pt x="15385" y="1009230"/>
                  </a:cubicBezTo>
                  <a:cubicBezTo>
                    <a:pt x="24615" y="1083076"/>
                    <a:pt x="209230" y="1959999"/>
                    <a:pt x="209230" y="1959999"/>
                  </a:cubicBezTo>
                  <a:lnTo>
                    <a:pt x="356924" y="1990769"/>
                  </a:ln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3156B0DE-8445-4DF8-80E8-556C6E40F790}"/>
                </a:ext>
              </a:extLst>
            </p:cNvPr>
            <p:cNvGrpSpPr/>
            <p:nvPr/>
          </p:nvGrpSpPr>
          <p:grpSpPr>
            <a:xfrm>
              <a:off x="13900304" y="8817719"/>
              <a:ext cx="526201" cy="265340"/>
              <a:chOff x="13900304" y="8817719"/>
              <a:chExt cx="526201" cy="265340"/>
            </a:xfrm>
          </p:grpSpPr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1E2E6C85-BEC8-425A-8026-F85946057A3D}"/>
                  </a:ext>
                </a:extLst>
              </p:cNvPr>
              <p:cNvSpPr/>
              <p:nvPr/>
            </p:nvSpPr>
            <p:spPr>
              <a:xfrm>
                <a:off x="13917539" y="8823872"/>
                <a:ext cx="501538" cy="215384"/>
              </a:xfrm>
              <a:custGeom>
                <a:avLst/>
                <a:gdLst>
                  <a:gd name="connsiteX0" fmla="*/ 501538 w 501538"/>
                  <a:gd name="connsiteY0" fmla="*/ 107692 h 215384"/>
                  <a:gd name="connsiteX1" fmla="*/ 341538 w 501538"/>
                  <a:gd name="connsiteY1" fmla="*/ 0 h 215384"/>
                  <a:gd name="connsiteX2" fmla="*/ 187692 w 501538"/>
                  <a:gd name="connsiteY2" fmla="*/ 30769 h 215384"/>
                  <a:gd name="connsiteX3" fmla="*/ 0 w 501538"/>
                  <a:gd name="connsiteY3" fmla="*/ 49231 h 215384"/>
                  <a:gd name="connsiteX4" fmla="*/ 464615 w 501538"/>
                  <a:gd name="connsiteY4" fmla="*/ 215385 h 215384"/>
                  <a:gd name="connsiteX5" fmla="*/ 501538 w 501538"/>
                  <a:gd name="connsiteY5" fmla="*/ 107692 h 21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538" h="215384">
                    <a:moveTo>
                      <a:pt x="501538" y="107692"/>
                    </a:moveTo>
                    <a:cubicBezTo>
                      <a:pt x="501538" y="107692"/>
                      <a:pt x="378461" y="83077"/>
                      <a:pt x="341538" y="0"/>
                    </a:cubicBezTo>
                    <a:cubicBezTo>
                      <a:pt x="341538" y="0"/>
                      <a:pt x="233845" y="36923"/>
                      <a:pt x="187692" y="30769"/>
                    </a:cubicBezTo>
                    <a:cubicBezTo>
                      <a:pt x="141538" y="24616"/>
                      <a:pt x="36923" y="-15385"/>
                      <a:pt x="0" y="49231"/>
                    </a:cubicBezTo>
                    <a:lnTo>
                      <a:pt x="464615" y="215385"/>
                    </a:lnTo>
                    <a:cubicBezTo>
                      <a:pt x="464615" y="215385"/>
                      <a:pt x="501538" y="163077"/>
                      <a:pt x="501538" y="107692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4" name="任意多边形: 形状 163">
                <a:extLst>
                  <a:ext uri="{FF2B5EF4-FFF2-40B4-BE49-F238E27FC236}">
                    <a16:creationId xmlns:a16="http://schemas.microsoft.com/office/drawing/2014/main" id="{E58031A4-F509-4DF5-A1FF-7118CAB0794C}"/>
                  </a:ext>
                </a:extLst>
              </p:cNvPr>
              <p:cNvSpPr/>
              <p:nvPr/>
            </p:nvSpPr>
            <p:spPr>
              <a:xfrm rot="-4224540">
                <a:off x="14116867" y="8732632"/>
                <a:ext cx="46153" cy="492302"/>
              </a:xfrm>
              <a:custGeom>
                <a:avLst/>
                <a:gdLst>
                  <a:gd name="connsiteX0" fmla="*/ 0 w 46153"/>
                  <a:gd name="connsiteY0" fmla="*/ 0 h 492302"/>
                  <a:gd name="connsiteX1" fmla="*/ 46154 w 46153"/>
                  <a:gd name="connsiteY1" fmla="*/ 0 h 492302"/>
                  <a:gd name="connsiteX2" fmla="*/ 46154 w 46153"/>
                  <a:gd name="connsiteY2" fmla="*/ 492302 h 492302"/>
                  <a:gd name="connsiteX3" fmla="*/ 0 w 46153"/>
                  <a:gd name="connsiteY3" fmla="*/ 492302 h 492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153" h="492302">
                    <a:moveTo>
                      <a:pt x="0" y="0"/>
                    </a:moveTo>
                    <a:lnTo>
                      <a:pt x="46154" y="0"/>
                    </a:lnTo>
                    <a:lnTo>
                      <a:pt x="46154" y="492302"/>
                    </a:lnTo>
                    <a:lnTo>
                      <a:pt x="0" y="492302"/>
                    </a:ln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D3EEE662-08FB-4E17-868C-DD3A04DF9DA0}"/>
                  </a:ext>
                </a:extLst>
              </p:cNvPr>
              <p:cNvSpPr/>
              <p:nvPr/>
            </p:nvSpPr>
            <p:spPr>
              <a:xfrm>
                <a:off x="14252922" y="8817719"/>
                <a:ext cx="173582" cy="119999"/>
              </a:xfrm>
              <a:custGeom>
                <a:avLst/>
                <a:gdLst>
                  <a:gd name="connsiteX0" fmla="*/ 166155 w 173582"/>
                  <a:gd name="connsiteY0" fmla="*/ 120000 h 119999"/>
                  <a:gd name="connsiteX1" fmla="*/ 166155 w 173582"/>
                  <a:gd name="connsiteY1" fmla="*/ 120000 h 119999"/>
                  <a:gd name="connsiteX2" fmla="*/ 0 w 173582"/>
                  <a:gd name="connsiteY2" fmla="*/ 9230 h 119999"/>
                  <a:gd name="connsiteX3" fmla="*/ 3078 w 173582"/>
                  <a:gd name="connsiteY3" fmla="*/ 0 h 119999"/>
                  <a:gd name="connsiteX4" fmla="*/ 12308 w 173582"/>
                  <a:gd name="connsiteY4" fmla="*/ 3077 h 119999"/>
                  <a:gd name="connsiteX5" fmla="*/ 169231 w 173582"/>
                  <a:gd name="connsiteY5" fmla="*/ 107692 h 119999"/>
                  <a:gd name="connsiteX6" fmla="*/ 172309 w 173582"/>
                  <a:gd name="connsiteY6" fmla="*/ 113846 h 119999"/>
                  <a:gd name="connsiteX7" fmla="*/ 166155 w 173582"/>
                  <a:gd name="connsiteY7" fmla="*/ 120000 h 119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3582" h="119999">
                    <a:moveTo>
                      <a:pt x="166155" y="120000"/>
                    </a:moveTo>
                    <a:cubicBezTo>
                      <a:pt x="166155" y="120000"/>
                      <a:pt x="166155" y="120000"/>
                      <a:pt x="166155" y="120000"/>
                    </a:cubicBezTo>
                    <a:cubicBezTo>
                      <a:pt x="160000" y="120000"/>
                      <a:pt x="46154" y="95385"/>
                      <a:pt x="0" y="9230"/>
                    </a:cubicBezTo>
                    <a:cubicBezTo>
                      <a:pt x="0" y="6153"/>
                      <a:pt x="0" y="3077"/>
                      <a:pt x="3078" y="0"/>
                    </a:cubicBezTo>
                    <a:cubicBezTo>
                      <a:pt x="6154" y="0"/>
                      <a:pt x="9232" y="0"/>
                      <a:pt x="12308" y="3077"/>
                    </a:cubicBezTo>
                    <a:cubicBezTo>
                      <a:pt x="55386" y="83076"/>
                      <a:pt x="169231" y="107692"/>
                      <a:pt x="169231" y="107692"/>
                    </a:cubicBezTo>
                    <a:cubicBezTo>
                      <a:pt x="172309" y="107692"/>
                      <a:pt x="175385" y="110769"/>
                      <a:pt x="172309" y="113846"/>
                    </a:cubicBezTo>
                    <a:cubicBezTo>
                      <a:pt x="172309" y="120000"/>
                      <a:pt x="169231" y="120000"/>
                      <a:pt x="166155" y="1200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B88D8C8F-EC67-4CA6-9BC3-2E69DBCD0792}"/>
                  </a:ext>
                </a:extLst>
              </p:cNvPr>
              <p:cNvSpPr/>
              <p:nvPr/>
            </p:nvSpPr>
            <p:spPr>
              <a:xfrm>
                <a:off x="14209847" y="8836180"/>
                <a:ext cx="25889" cy="43076"/>
              </a:xfrm>
              <a:custGeom>
                <a:avLst/>
                <a:gdLst>
                  <a:gd name="connsiteX0" fmla="*/ 21539 w 25889"/>
                  <a:gd name="connsiteY0" fmla="*/ 43077 h 43076"/>
                  <a:gd name="connsiteX1" fmla="*/ 15385 w 25889"/>
                  <a:gd name="connsiteY1" fmla="*/ 40000 h 43076"/>
                  <a:gd name="connsiteX2" fmla="*/ 0 w 25889"/>
                  <a:gd name="connsiteY2" fmla="*/ 6153 h 43076"/>
                  <a:gd name="connsiteX3" fmla="*/ 3076 w 25889"/>
                  <a:gd name="connsiteY3" fmla="*/ 0 h 43076"/>
                  <a:gd name="connsiteX4" fmla="*/ 9230 w 25889"/>
                  <a:gd name="connsiteY4" fmla="*/ 3076 h 43076"/>
                  <a:gd name="connsiteX5" fmla="*/ 24615 w 25889"/>
                  <a:gd name="connsiteY5" fmla="*/ 36923 h 43076"/>
                  <a:gd name="connsiteX6" fmla="*/ 21539 w 25889"/>
                  <a:gd name="connsiteY6" fmla="*/ 43077 h 43076"/>
                  <a:gd name="connsiteX7" fmla="*/ 21539 w 25889"/>
                  <a:gd name="connsiteY7" fmla="*/ 43077 h 4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889" h="43076">
                    <a:moveTo>
                      <a:pt x="21539" y="43077"/>
                    </a:moveTo>
                    <a:cubicBezTo>
                      <a:pt x="18461" y="43077"/>
                      <a:pt x="18461" y="43077"/>
                      <a:pt x="15385" y="40000"/>
                    </a:cubicBezTo>
                    <a:lnTo>
                      <a:pt x="0" y="6153"/>
                    </a:lnTo>
                    <a:cubicBezTo>
                      <a:pt x="0" y="3076"/>
                      <a:pt x="0" y="0"/>
                      <a:pt x="3076" y="0"/>
                    </a:cubicBezTo>
                    <a:cubicBezTo>
                      <a:pt x="6154" y="0"/>
                      <a:pt x="9230" y="0"/>
                      <a:pt x="9230" y="3076"/>
                    </a:cubicBezTo>
                    <a:lnTo>
                      <a:pt x="24615" y="36923"/>
                    </a:lnTo>
                    <a:cubicBezTo>
                      <a:pt x="27691" y="36923"/>
                      <a:pt x="24615" y="40000"/>
                      <a:pt x="21539" y="43077"/>
                    </a:cubicBezTo>
                    <a:cubicBezTo>
                      <a:pt x="21539" y="43077"/>
                      <a:pt x="21539" y="43077"/>
                      <a:pt x="21539" y="4307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9815C18C-1A5E-4D1D-B01D-C97EB80FD7AB}"/>
                  </a:ext>
                </a:extLst>
              </p:cNvPr>
              <p:cNvSpPr/>
              <p:nvPr/>
            </p:nvSpPr>
            <p:spPr>
              <a:xfrm>
                <a:off x="14163693" y="8848488"/>
                <a:ext cx="26635" cy="43076"/>
              </a:xfrm>
              <a:custGeom>
                <a:avLst/>
                <a:gdLst>
                  <a:gd name="connsiteX0" fmla="*/ 21539 w 26635"/>
                  <a:gd name="connsiteY0" fmla="*/ 43077 h 43076"/>
                  <a:gd name="connsiteX1" fmla="*/ 15385 w 26635"/>
                  <a:gd name="connsiteY1" fmla="*/ 40000 h 43076"/>
                  <a:gd name="connsiteX2" fmla="*/ 0 w 26635"/>
                  <a:gd name="connsiteY2" fmla="*/ 6153 h 43076"/>
                  <a:gd name="connsiteX3" fmla="*/ 3076 w 26635"/>
                  <a:gd name="connsiteY3" fmla="*/ 0 h 43076"/>
                  <a:gd name="connsiteX4" fmla="*/ 9230 w 26635"/>
                  <a:gd name="connsiteY4" fmla="*/ 3077 h 43076"/>
                  <a:gd name="connsiteX5" fmla="*/ 24615 w 26635"/>
                  <a:gd name="connsiteY5" fmla="*/ 36923 h 43076"/>
                  <a:gd name="connsiteX6" fmla="*/ 21539 w 26635"/>
                  <a:gd name="connsiteY6" fmla="*/ 43077 h 43076"/>
                  <a:gd name="connsiteX7" fmla="*/ 21539 w 26635"/>
                  <a:gd name="connsiteY7" fmla="*/ 43077 h 4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635" h="43076">
                    <a:moveTo>
                      <a:pt x="21539" y="43077"/>
                    </a:moveTo>
                    <a:cubicBezTo>
                      <a:pt x="18461" y="43077"/>
                      <a:pt x="18461" y="43077"/>
                      <a:pt x="15385" y="40000"/>
                    </a:cubicBezTo>
                    <a:lnTo>
                      <a:pt x="0" y="6153"/>
                    </a:lnTo>
                    <a:cubicBezTo>
                      <a:pt x="0" y="3077"/>
                      <a:pt x="0" y="0"/>
                      <a:pt x="3076" y="0"/>
                    </a:cubicBezTo>
                    <a:cubicBezTo>
                      <a:pt x="6154" y="0"/>
                      <a:pt x="9230" y="0"/>
                      <a:pt x="9230" y="3077"/>
                    </a:cubicBezTo>
                    <a:lnTo>
                      <a:pt x="24615" y="36923"/>
                    </a:lnTo>
                    <a:cubicBezTo>
                      <a:pt x="27691" y="36923"/>
                      <a:pt x="27691" y="40000"/>
                      <a:pt x="21539" y="43077"/>
                    </a:cubicBezTo>
                    <a:cubicBezTo>
                      <a:pt x="24615" y="43077"/>
                      <a:pt x="21539" y="43077"/>
                      <a:pt x="21539" y="4307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图形 1">
              <a:extLst>
                <a:ext uri="{FF2B5EF4-FFF2-40B4-BE49-F238E27FC236}">
                  <a16:creationId xmlns:a16="http://schemas.microsoft.com/office/drawing/2014/main" id="{89FFBBDA-9E3C-4953-AC5B-69B2C2561B45}"/>
                </a:ext>
              </a:extLst>
            </p:cNvPr>
            <p:cNvGrpSpPr/>
            <p:nvPr/>
          </p:nvGrpSpPr>
          <p:grpSpPr>
            <a:xfrm>
              <a:off x="15059077" y="8895411"/>
              <a:ext cx="500513" cy="217692"/>
              <a:chOff x="15059077" y="8895411"/>
              <a:chExt cx="500513" cy="217692"/>
            </a:xfrm>
          </p:grpSpPr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B09544CC-28F1-4296-ABFA-D1B0FAD318D6}"/>
                  </a:ext>
                </a:extLst>
              </p:cNvPr>
              <p:cNvSpPr/>
              <p:nvPr/>
            </p:nvSpPr>
            <p:spPr>
              <a:xfrm>
                <a:off x="15059077" y="8906949"/>
                <a:ext cx="500513" cy="160000"/>
              </a:xfrm>
              <a:custGeom>
                <a:avLst/>
                <a:gdLst>
                  <a:gd name="connsiteX0" fmla="*/ 492308 w 500513"/>
                  <a:gd name="connsiteY0" fmla="*/ 46154 h 160000"/>
                  <a:gd name="connsiteX1" fmla="*/ 304616 w 500513"/>
                  <a:gd name="connsiteY1" fmla="*/ 0 h 160000"/>
                  <a:gd name="connsiteX2" fmla="*/ 169231 w 500513"/>
                  <a:gd name="connsiteY2" fmla="*/ 80000 h 160000"/>
                  <a:gd name="connsiteX3" fmla="*/ 0 w 500513"/>
                  <a:gd name="connsiteY3" fmla="*/ 160000 h 160000"/>
                  <a:gd name="connsiteX4" fmla="*/ 492308 w 500513"/>
                  <a:gd name="connsiteY4" fmla="*/ 160000 h 160000"/>
                  <a:gd name="connsiteX5" fmla="*/ 492308 w 500513"/>
                  <a:gd name="connsiteY5" fmla="*/ 46154 h 1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513" h="160000">
                    <a:moveTo>
                      <a:pt x="492308" y="46154"/>
                    </a:moveTo>
                    <a:cubicBezTo>
                      <a:pt x="492308" y="46154"/>
                      <a:pt x="366155" y="64616"/>
                      <a:pt x="304616" y="0"/>
                    </a:cubicBezTo>
                    <a:cubicBezTo>
                      <a:pt x="304616" y="0"/>
                      <a:pt x="215385" y="70769"/>
                      <a:pt x="169231" y="80000"/>
                    </a:cubicBezTo>
                    <a:cubicBezTo>
                      <a:pt x="123077" y="89231"/>
                      <a:pt x="12308" y="86153"/>
                      <a:pt x="0" y="160000"/>
                    </a:cubicBezTo>
                    <a:lnTo>
                      <a:pt x="492308" y="160000"/>
                    </a:lnTo>
                    <a:cubicBezTo>
                      <a:pt x="492308" y="160000"/>
                      <a:pt x="510770" y="98462"/>
                      <a:pt x="492308" y="46154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56581286-199E-4197-A7C3-F19E73F425FF}"/>
                  </a:ext>
                </a:extLst>
              </p:cNvPr>
              <p:cNvSpPr/>
              <p:nvPr/>
            </p:nvSpPr>
            <p:spPr>
              <a:xfrm>
                <a:off x="15059077" y="9066949"/>
                <a:ext cx="492307" cy="46153"/>
              </a:xfrm>
              <a:custGeom>
                <a:avLst/>
                <a:gdLst>
                  <a:gd name="connsiteX0" fmla="*/ 0 w 492307"/>
                  <a:gd name="connsiteY0" fmla="*/ 0 h 46153"/>
                  <a:gd name="connsiteX1" fmla="*/ 492307 w 492307"/>
                  <a:gd name="connsiteY1" fmla="*/ 0 h 46153"/>
                  <a:gd name="connsiteX2" fmla="*/ 492307 w 492307"/>
                  <a:gd name="connsiteY2" fmla="*/ 46154 h 46153"/>
                  <a:gd name="connsiteX3" fmla="*/ 0 w 492307"/>
                  <a:gd name="connsiteY3" fmla="*/ 46154 h 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307" h="46153">
                    <a:moveTo>
                      <a:pt x="0" y="0"/>
                    </a:moveTo>
                    <a:lnTo>
                      <a:pt x="492307" y="0"/>
                    </a:lnTo>
                    <a:lnTo>
                      <a:pt x="492307" y="46154"/>
                    </a:lnTo>
                    <a:lnTo>
                      <a:pt x="0" y="46154"/>
                    </a:ln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8A6167CC-97F4-4410-861D-B29C92732F52}"/>
                  </a:ext>
                </a:extLst>
              </p:cNvPr>
              <p:cNvSpPr/>
              <p:nvPr/>
            </p:nvSpPr>
            <p:spPr>
              <a:xfrm>
                <a:off x="15355232" y="8895411"/>
                <a:ext cx="202307" cy="63846"/>
              </a:xfrm>
              <a:custGeom>
                <a:avLst/>
                <a:gdLst>
                  <a:gd name="connsiteX0" fmla="*/ 159229 w 202307"/>
                  <a:gd name="connsiteY0" fmla="*/ 63846 h 63846"/>
                  <a:gd name="connsiteX1" fmla="*/ 2307 w 202307"/>
                  <a:gd name="connsiteY1" fmla="*/ 11538 h 63846"/>
                  <a:gd name="connsiteX2" fmla="*/ 2307 w 202307"/>
                  <a:gd name="connsiteY2" fmla="*/ 2308 h 63846"/>
                  <a:gd name="connsiteX3" fmla="*/ 11538 w 202307"/>
                  <a:gd name="connsiteY3" fmla="*/ 2308 h 63846"/>
                  <a:gd name="connsiteX4" fmla="*/ 196153 w 202307"/>
                  <a:gd name="connsiteY4" fmla="*/ 48462 h 63846"/>
                  <a:gd name="connsiteX5" fmla="*/ 202307 w 202307"/>
                  <a:gd name="connsiteY5" fmla="*/ 54615 h 63846"/>
                  <a:gd name="connsiteX6" fmla="*/ 196153 w 202307"/>
                  <a:gd name="connsiteY6" fmla="*/ 60769 h 63846"/>
                  <a:gd name="connsiteX7" fmla="*/ 159229 w 202307"/>
                  <a:gd name="connsiteY7" fmla="*/ 63846 h 6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307" h="63846">
                    <a:moveTo>
                      <a:pt x="159229" y="63846"/>
                    </a:moveTo>
                    <a:cubicBezTo>
                      <a:pt x="119230" y="63846"/>
                      <a:pt x="51537" y="57692"/>
                      <a:pt x="2307" y="11538"/>
                    </a:cubicBezTo>
                    <a:cubicBezTo>
                      <a:pt x="-769" y="8461"/>
                      <a:pt x="-769" y="5384"/>
                      <a:pt x="2307" y="2308"/>
                    </a:cubicBezTo>
                    <a:cubicBezTo>
                      <a:pt x="5383" y="-769"/>
                      <a:pt x="8461" y="-769"/>
                      <a:pt x="11538" y="2308"/>
                    </a:cubicBezTo>
                    <a:cubicBezTo>
                      <a:pt x="79230" y="63846"/>
                      <a:pt x="193077" y="48462"/>
                      <a:pt x="196153" y="48462"/>
                    </a:cubicBezTo>
                    <a:cubicBezTo>
                      <a:pt x="199231" y="48462"/>
                      <a:pt x="202307" y="51538"/>
                      <a:pt x="202307" y="54615"/>
                    </a:cubicBezTo>
                    <a:cubicBezTo>
                      <a:pt x="202307" y="57692"/>
                      <a:pt x="199231" y="60769"/>
                      <a:pt x="196153" y="60769"/>
                    </a:cubicBezTo>
                    <a:cubicBezTo>
                      <a:pt x="193077" y="63846"/>
                      <a:pt x="180768" y="63846"/>
                      <a:pt x="159229" y="6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A3525034-74FA-4924-BBA2-DABECE3AEA9F}"/>
                  </a:ext>
                </a:extLst>
              </p:cNvPr>
              <p:cNvSpPr/>
              <p:nvPr/>
            </p:nvSpPr>
            <p:spPr>
              <a:xfrm>
                <a:off x="15321385" y="8923103"/>
                <a:ext cx="41538" cy="42307"/>
              </a:xfrm>
              <a:custGeom>
                <a:avLst/>
                <a:gdLst>
                  <a:gd name="connsiteX0" fmla="*/ 33078 w 41538"/>
                  <a:gd name="connsiteY0" fmla="*/ 42307 h 42307"/>
                  <a:gd name="connsiteX1" fmla="*/ 30000 w 41538"/>
                  <a:gd name="connsiteY1" fmla="*/ 39230 h 42307"/>
                  <a:gd name="connsiteX2" fmla="*/ 2309 w 41538"/>
                  <a:gd name="connsiteY2" fmla="*/ 11538 h 42307"/>
                  <a:gd name="connsiteX3" fmla="*/ 2309 w 41538"/>
                  <a:gd name="connsiteY3" fmla="*/ 2308 h 42307"/>
                  <a:gd name="connsiteX4" fmla="*/ 11539 w 41538"/>
                  <a:gd name="connsiteY4" fmla="*/ 2308 h 42307"/>
                  <a:gd name="connsiteX5" fmla="*/ 39230 w 41538"/>
                  <a:gd name="connsiteY5" fmla="*/ 30000 h 42307"/>
                  <a:gd name="connsiteX6" fmla="*/ 39230 w 41538"/>
                  <a:gd name="connsiteY6" fmla="*/ 39230 h 42307"/>
                  <a:gd name="connsiteX7" fmla="*/ 33078 w 41538"/>
                  <a:gd name="connsiteY7" fmla="*/ 42307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8" h="42307">
                    <a:moveTo>
                      <a:pt x="33078" y="42307"/>
                    </a:moveTo>
                    <a:cubicBezTo>
                      <a:pt x="33078" y="42307"/>
                      <a:pt x="30000" y="42307"/>
                      <a:pt x="30000" y="39230"/>
                    </a:cubicBezTo>
                    <a:lnTo>
                      <a:pt x="2309" y="11538"/>
                    </a:lnTo>
                    <a:cubicBezTo>
                      <a:pt x="-770" y="8461"/>
                      <a:pt x="-770" y="5385"/>
                      <a:pt x="2309" y="2308"/>
                    </a:cubicBezTo>
                    <a:cubicBezTo>
                      <a:pt x="5385" y="-769"/>
                      <a:pt x="8461" y="-769"/>
                      <a:pt x="11539" y="2308"/>
                    </a:cubicBezTo>
                    <a:lnTo>
                      <a:pt x="39230" y="30000"/>
                    </a:lnTo>
                    <a:cubicBezTo>
                      <a:pt x="42308" y="33077"/>
                      <a:pt x="42308" y="36154"/>
                      <a:pt x="39230" y="39230"/>
                    </a:cubicBezTo>
                    <a:cubicBezTo>
                      <a:pt x="33078" y="42307"/>
                      <a:pt x="33078" y="42307"/>
                      <a:pt x="33078" y="423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45007DE8-F411-4B3C-96DD-03F666D9FECD}"/>
                  </a:ext>
                </a:extLst>
              </p:cNvPr>
              <p:cNvSpPr/>
              <p:nvPr/>
            </p:nvSpPr>
            <p:spPr>
              <a:xfrm>
                <a:off x="15284461" y="8950795"/>
                <a:ext cx="38462" cy="42307"/>
              </a:xfrm>
              <a:custGeom>
                <a:avLst/>
                <a:gdLst>
                  <a:gd name="connsiteX0" fmla="*/ 30000 w 38462"/>
                  <a:gd name="connsiteY0" fmla="*/ 42307 h 42307"/>
                  <a:gd name="connsiteX1" fmla="*/ 26924 w 38462"/>
                  <a:gd name="connsiteY1" fmla="*/ 39231 h 42307"/>
                  <a:gd name="connsiteX2" fmla="*/ 2309 w 38462"/>
                  <a:gd name="connsiteY2" fmla="*/ 11538 h 42307"/>
                  <a:gd name="connsiteX3" fmla="*/ 2309 w 38462"/>
                  <a:gd name="connsiteY3" fmla="*/ 2308 h 42307"/>
                  <a:gd name="connsiteX4" fmla="*/ 11539 w 38462"/>
                  <a:gd name="connsiteY4" fmla="*/ 2308 h 42307"/>
                  <a:gd name="connsiteX5" fmla="*/ 36154 w 38462"/>
                  <a:gd name="connsiteY5" fmla="*/ 30000 h 42307"/>
                  <a:gd name="connsiteX6" fmla="*/ 36154 w 38462"/>
                  <a:gd name="connsiteY6" fmla="*/ 39231 h 42307"/>
                  <a:gd name="connsiteX7" fmla="*/ 30000 w 38462"/>
                  <a:gd name="connsiteY7" fmla="*/ 42307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2" h="42307">
                    <a:moveTo>
                      <a:pt x="30000" y="42307"/>
                    </a:moveTo>
                    <a:cubicBezTo>
                      <a:pt x="30000" y="42307"/>
                      <a:pt x="26924" y="42307"/>
                      <a:pt x="26924" y="39231"/>
                    </a:cubicBezTo>
                    <a:lnTo>
                      <a:pt x="2309" y="11538"/>
                    </a:lnTo>
                    <a:cubicBezTo>
                      <a:pt x="-770" y="8462"/>
                      <a:pt x="-770" y="5385"/>
                      <a:pt x="2309" y="2308"/>
                    </a:cubicBezTo>
                    <a:cubicBezTo>
                      <a:pt x="5385" y="-769"/>
                      <a:pt x="8463" y="-769"/>
                      <a:pt x="11539" y="2308"/>
                    </a:cubicBezTo>
                    <a:lnTo>
                      <a:pt x="36154" y="30000"/>
                    </a:lnTo>
                    <a:cubicBezTo>
                      <a:pt x="39232" y="33077"/>
                      <a:pt x="39232" y="36154"/>
                      <a:pt x="36154" y="39231"/>
                    </a:cubicBezTo>
                    <a:cubicBezTo>
                      <a:pt x="33078" y="42307"/>
                      <a:pt x="30000" y="42307"/>
                      <a:pt x="30000" y="423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7F0BFBDA-59EB-4705-9D63-1D91BA65F26D}"/>
                </a:ext>
              </a:extLst>
            </p:cNvPr>
            <p:cNvSpPr/>
            <p:nvPr/>
          </p:nvSpPr>
          <p:spPr>
            <a:xfrm>
              <a:off x="14409847" y="6531564"/>
              <a:ext cx="1246263" cy="1394188"/>
            </a:xfrm>
            <a:custGeom>
              <a:avLst/>
              <a:gdLst>
                <a:gd name="connsiteX0" fmla="*/ 200000 w 1246263"/>
                <a:gd name="connsiteY0" fmla="*/ 21539 h 1394188"/>
                <a:gd name="connsiteX1" fmla="*/ 0 w 1246263"/>
                <a:gd name="connsiteY1" fmla="*/ 1172308 h 1394188"/>
                <a:gd name="connsiteX2" fmla="*/ 446154 w 1246263"/>
                <a:gd name="connsiteY2" fmla="*/ 1344616 h 1394188"/>
                <a:gd name="connsiteX3" fmla="*/ 701538 w 1246263"/>
                <a:gd name="connsiteY3" fmla="*/ 507692 h 1394188"/>
                <a:gd name="connsiteX4" fmla="*/ 701538 w 1246263"/>
                <a:gd name="connsiteY4" fmla="*/ 1372308 h 1394188"/>
                <a:gd name="connsiteX5" fmla="*/ 1196922 w 1246263"/>
                <a:gd name="connsiteY5" fmla="*/ 1372308 h 1394188"/>
                <a:gd name="connsiteX6" fmla="*/ 1230769 w 1246263"/>
                <a:gd name="connsiteY6" fmla="*/ 0 h 1394188"/>
                <a:gd name="connsiteX7" fmla="*/ 200000 w 1246263"/>
                <a:gd name="connsiteY7" fmla="*/ 21539 h 1394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6263" h="1394188">
                  <a:moveTo>
                    <a:pt x="200000" y="21539"/>
                  </a:moveTo>
                  <a:lnTo>
                    <a:pt x="0" y="1172308"/>
                  </a:lnTo>
                  <a:cubicBezTo>
                    <a:pt x="0" y="1172308"/>
                    <a:pt x="283077" y="1353846"/>
                    <a:pt x="446154" y="1344616"/>
                  </a:cubicBezTo>
                  <a:cubicBezTo>
                    <a:pt x="603076" y="923077"/>
                    <a:pt x="695384" y="523077"/>
                    <a:pt x="701538" y="507692"/>
                  </a:cubicBezTo>
                  <a:cubicBezTo>
                    <a:pt x="716923" y="476923"/>
                    <a:pt x="701538" y="1372308"/>
                    <a:pt x="701538" y="1372308"/>
                  </a:cubicBezTo>
                  <a:cubicBezTo>
                    <a:pt x="701538" y="1372308"/>
                    <a:pt x="963077" y="1421539"/>
                    <a:pt x="1196922" y="1372308"/>
                  </a:cubicBezTo>
                  <a:cubicBezTo>
                    <a:pt x="1206154" y="1218462"/>
                    <a:pt x="1276923" y="98462"/>
                    <a:pt x="1230769" y="0"/>
                  </a:cubicBezTo>
                  <a:cubicBezTo>
                    <a:pt x="526153" y="33846"/>
                    <a:pt x="200000" y="21539"/>
                    <a:pt x="200000" y="21539"/>
                  </a:cubicBezTo>
                  <a:close/>
                </a:path>
              </a:pathLst>
            </a:custGeom>
            <a:solidFill>
              <a:srgbClr val="F1DDBA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19020C0D-F4E6-45F9-8211-57761D6A613F}"/>
                </a:ext>
              </a:extLst>
            </p:cNvPr>
            <p:cNvSpPr/>
            <p:nvPr/>
          </p:nvSpPr>
          <p:spPr>
            <a:xfrm>
              <a:off x="15046770" y="6679257"/>
              <a:ext cx="70768" cy="366153"/>
            </a:xfrm>
            <a:custGeom>
              <a:avLst/>
              <a:gdLst>
                <a:gd name="connsiteX0" fmla="*/ 64615 w 70768"/>
                <a:gd name="connsiteY0" fmla="*/ 366154 h 366153"/>
                <a:gd name="connsiteX1" fmla="*/ 58460 w 70768"/>
                <a:gd name="connsiteY1" fmla="*/ 363077 h 366153"/>
                <a:gd name="connsiteX2" fmla="*/ 0 w 70768"/>
                <a:gd name="connsiteY2" fmla="*/ 6153 h 366153"/>
                <a:gd name="connsiteX3" fmla="*/ 6152 w 70768"/>
                <a:gd name="connsiteY3" fmla="*/ 0 h 366153"/>
                <a:gd name="connsiteX4" fmla="*/ 12307 w 70768"/>
                <a:gd name="connsiteY4" fmla="*/ 6153 h 366153"/>
                <a:gd name="connsiteX5" fmla="*/ 70769 w 70768"/>
                <a:gd name="connsiteY5" fmla="*/ 359999 h 366153"/>
                <a:gd name="connsiteX6" fmla="*/ 64615 w 70768"/>
                <a:gd name="connsiteY6" fmla="*/ 366154 h 366153"/>
                <a:gd name="connsiteX7" fmla="*/ 64615 w 70768"/>
                <a:gd name="connsiteY7" fmla="*/ 366154 h 36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68" h="366153">
                  <a:moveTo>
                    <a:pt x="64615" y="366154"/>
                  </a:moveTo>
                  <a:cubicBezTo>
                    <a:pt x="61538" y="366154"/>
                    <a:pt x="61538" y="366154"/>
                    <a:pt x="58460" y="363077"/>
                  </a:cubicBezTo>
                  <a:cubicBezTo>
                    <a:pt x="9230" y="246154"/>
                    <a:pt x="0" y="15385"/>
                    <a:pt x="0" y="6153"/>
                  </a:cubicBezTo>
                  <a:cubicBezTo>
                    <a:pt x="0" y="3077"/>
                    <a:pt x="3076" y="0"/>
                    <a:pt x="6152" y="0"/>
                  </a:cubicBezTo>
                  <a:cubicBezTo>
                    <a:pt x="9230" y="0"/>
                    <a:pt x="12307" y="3077"/>
                    <a:pt x="12307" y="6153"/>
                  </a:cubicBezTo>
                  <a:cubicBezTo>
                    <a:pt x="12307" y="9230"/>
                    <a:pt x="21537" y="246154"/>
                    <a:pt x="70769" y="359999"/>
                  </a:cubicBezTo>
                  <a:cubicBezTo>
                    <a:pt x="70769" y="359999"/>
                    <a:pt x="67691" y="366154"/>
                    <a:pt x="64615" y="366154"/>
                  </a:cubicBezTo>
                  <a:cubicBezTo>
                    <a:pt x="64615" y="366154"/>
                    <a:pt x="64615" y="366154"/>
                    <a:pt x="64615" y="366154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4E457912-7066-4E24-9E0D-12DBD1BAC76C}"/>
                </a:ext>
              </a:extLst>
            </p:cNvPr>
            <p:cNvSpPr/>
            <p:nvPr/>
          </p:nvSpPr>
          <p:spPr>
            <a:xfrm>
              <a:off x="14932924" y="6608487"/>
              <a:ext cx="156922" cy="356923"/>
            </a:xfrm>
            <a:custGeom>
              <a:avLst/>
              <a:gdLst>
                <a:gd name="connsiteX0" fmla="*/ 147692 w 156922"/>
                <a:gd name="connsiteY0" fmla="*/ 356923 h 356923"/>
                <a:gd name="connsiteX1" fmla="*/ 144616 w 156922"/>
                <a:gd name="connsiteY1" fmla="*/ 356923 h 356923"/>
                <a:gd name="connsiteX2" fmla="*/ 33845 w 156922"/>
                <a:gd name="connsiteY2" fmla="*/ 276923 h 356923"/>
                <a:gd name="connsiteX3" fmla="*/ 0 w 156922"/>
                <a:gd name="connsiteY3" fmla="*/ 6154 h 356923"/>
                <a:gd name="connsiteX4" fmla="*/ 6154 w 156922"/>
                <a:gd name="connsiteY4" fmla="*/ 0 h 356923"/>
                <a:gd name="connsiteX5" fmla="*/ 6154 w 156922"/>
                <a:gd name="connsiteY5" fmla="*/ 0 h 356923"/>
                <a:gd name="connsiteX6" fmla="*/ 12307 w 156922"/>
                <a:gd name="connsiteY6" fmla="*/ 6154 h 356923"/>
                <a:gd name="connsiteX7" fmla="*/ 46154 w 156922"/>
                <a:gd name="connsiteY7" fmla="*/ 270770 h 356923"/>
                <a:gd name="connsiteX8" fmla="*/ 153846 w 156922"/>
                <a:gd name="connsiteY8" fmla="*/ 347693 h 356923"/>
                <a:gd name="connsiteX9" fmla="*/ 156922 w 156922"/>
                <a:gd name="connsiteY9" fmla="*/ 356923 h 356923"/>
                <a:gd name="connsiteX10" fmla="*/ 147692 w 156922"/>
                <a:gd name="connsiteY10" fmla="*/ 356923 h 35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6922" h="356923">
                  <a:moveTo>
                    <a:pt x="147692" y="356923"/>
                  </a:moveTo>
                  <a:cubicBezTo>
                    <a:pt x="147692" y="356923"/>
                    <a:pt x="144616" y="356923"/>
                    <a:pt x="144616" y="356923"/>
                  </a:cubicBezTo>
                  <a:cubicBezTo>
                    <a:pt x="135384" y="350770"/>
                    <a:pt x="46154" y="292308"/>
                    <a:pt x="33845" y="276923"/>
                  </a:cubicBezTo>
                  <a:cubicBezTo>
                    <a:pt x="21539" y="261538"/>
                    <a:pt x="3076" y="49231"/>
                    <a:pt x="0" y="6154"/>
                  </a:cubicBezTo>
                  <a:cubicBezTo>
                    <a:pt x="0" y="3077"/>
                    <a:pt x="3076" y="0"/>
                    <a:pt x="6154" y="0"/>
                  </a:cubicBezTo>
                  <a:cubicBezTo>
                    <a:pt x="6154" y="0"/>
                    <a:pt x="6154" y="0"/>
                    <a:pt x="6154" y="0"/>
                  </a:cubicBezTo>
                  <a:cubicBezTo>
                    <a:pt x="9230" y="0"/>
                    <a:pt x="12307" y="3077"/>
                    <a:pt x="12307" y="6154"/>
                  </a:cubicBezTo>
                  <a:cubicBezTo>
                    <a:pt x="21539" y="101539"/>
                    <a:pt x="36923" y="258462"/>
                    <a:pt x="46154" y="270770"/>
                  </a:cubicBezTo>
                  <a:cubicBezTo>
                    <a:pt x="55384" y="280000"/>
                    <a:pt x="113847" y="323077"/>
                    <a:pt x="153846" y="347693"/>
                  </a:cubicBezTo>
                  <a:cubicBezTo>
                    <a:pt x="156922" y="350770"/>
                    <a:pt x="156922" y="353846"/>
                    <a:pt x="156922" y="356923"/>
                  </a:cubicBezTo>
                  <a:cubicBezTo>
                    <a:pt x="150768" y="356923"/>
                    <a:pt x="150768" y="356923"/>
                    <a:pt x="147692" y="356923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F634F6C4-84CD-4341-9EBB-6CB1E0F41E3F}"/>
                </a:ext>
              </a:extLst>
            </p:cNvPr>
            <p:cNvSpPr/>
            <p:nvPr/>
          </p:nvSpPr>
          <p:spPr>
            <a:xfrm>
              <a:off x="14997538" y="4845411"/>
              <a:ext cx="252308" cy="260625"/>
            </a:xfrm>
            <a:custGeom>
              <a:avLst/>
              <a:gdLst>
                <a:gd name="connsiteX0" fmla="*/ 0 w 252308"/>
                <a:gd name="connsiteY0" fmla="*/ 40000 h 260625"/>
                <a:gd name="connsiteX1" fmla="*/ 6154 w 252308"/>
                <a:gd name="connsiteY1" fmla="*/ 215385 h 260625"/>
                <a:gd name="connsiteX2" fmla="*/ 252308 w 252308"/>
                <a:gd name="connsiteY2" fmla="*/ 206154 h 260625"/>
                <a:gd name="connsiteX3" fmla="*/ 236923 w 252308"/>
                <a:gd name="connsiteY3" fmla="*/ 0 h 260625"/>
                <a:gd name="connsiteX4" fmla="*/ 0 w 252308"/>
                <a:gd name="connsiteY4" fmla="*/ 40000 h 26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308" h="260625">
                  <a:moveTo>
                    <a:pt x="0" y="40000"/>
                  </a:moveTo>
                  <a:cubicBezTo>
                    <a:pt x="0" y="40000"/>
                    <a:pt x="6154" y="141539"/>
                    <a:pt x="6154" y="215385"/>
                  </a:cubicBezTo>
                  <a:cubicBezTo>
                    <a:pt x="6154" y="215385"/>
                    <a:pt x="101538" y="323077"/>
                    <a:pt x="252308" y="206154"/>
                  </a:cubicBezTo>
                  <a:cubicBezTo>
                    <a:pt x="252308" y="144615"/>
                    <a:pt x="240000" y="64616"/>
                    <a:pt x="236923" y="0"/>
                  </a:cubicBezTo>
                  <a:cubicBezTo>
                    <a:pt x="236923" y="0"/>
                    <a:pt x="52308" y="52308"/>
                    <a:pt x="0" y="40000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34EFEA8E-31F8-4ADC-A600-E53938EE2010}"/>
                </a:ext>
              </a:extLst>
            </p:cNvPr>
            <p:cNvSpPr/>
            <p:nvPr/>
          </p:nvSpPr>
          <p:spPr>
            <a:xfrm>
              <a:off x="15271385" y="4722334"/>
              <a:ext cx="70768" cy="138461"/>
            </a:xfrm>
            <a:custGeom>
              <a:avLst/>
              <a:gdLst>
                <a:gd name="connsiteX0" fmla="*/ 70769 w 70768"/>
                <a:gd name="connsiteY0" fmla="*/ 0 h 138461"/>
                <a:gd name="connsiteX1" fmla="*/ 3076 w 70768"/>
                <a:gd name="connsiteY1" fmla="*/ 138462 h 138461"/>
                <a:gd name="connsiteX2" fmla="*/ 0 w 70768"/>
                <a:gd name="connsiteY2" fmla="*/ 52308 h 138461"/>
                <a:gd name="connsiteX3" fmla="*/ 70769 w 70768"/>
                <a:gd name="connsiteY3" fmla="*/ 0 h 1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768" h="138461">
                  <a:moveTo>
                    <a:pt x="70769" y="0"/>
                  </a:moveTo>
                  <a:cubicBezTo>
                    <a:pt x="70769" y="0"/>
                    <a:pt x="55384" y="120000"/>
                    <a:pt x="3076" y="138462"/>
                  </a:cubicBezTo>
                  <a:lnTo>
                    <a:pt x="0" y="52308"/>
                  </a:lnTo>
                  <a:lnTo>
                    <a:pt x="70769" y="0"/>
                  </a:ln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177F400F-7086-47CF-B4BF-02F4CF5DFCC2}"/>
                </a:ext>
              </a:extLst>
            </p:cNvPr>
            <p:cNvSpPr/>
            <p:nvPr/>
          </p:nvSpPr>
          <p:spPr>
            <a:xfrm>
              <a:off x="14879028" y="4513103"/>
              <a:ext cx="103581" cy="240012"/>
            </a:xfrm>
            <a:custGeom>
              <a:avLst/>
              <a:gdLst>
                <a:gd name="connsiteX0" fmla="*/ 7742 w 103581"/>
                <a:gd name="connsiteY0" fmla="*/ 0 h 240012"/>
                <a:gd name="connsiteX1" fmla="*/ 47742 w 103581"/>
                <a:gd name="connsiteY1" fmla="*/ 236923 h 240012"/>
                <a:gd name="connsiteX2" fmla="*/ 103126 w 103581"/>
                <a:gd name="connsiteY2" fmla="*/ 15385 h 240012"/>
                <a:gd name="connsiteX3" fmla="*/ 7742 w 103581"/>
                <a:gd name="connsiteY3" fmla="*/ 0 h 24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581" h="240012">
                  <a:moveTo>
                    <a:pt x="7742" y="0"/>
                  </a:moveTo>
                  <a:cubicBezTo>
                    <a:pt x="7742" y="0"/>
                    <a:pt x="-26105" y="196923"/>
                    <a:pt x="47742" y="236923"/>
                  </a:cubicBezTo>
                  <a:cubicBezTo>
                    <a:pt x="112356" y="270769"/>
                    <a:pt x="103126" y="15385"/>
                    <a:pt x="103126" y="15385"/>
                  </a:cubicBezTo>
                  <a:lnTo>
                    <a:pt x="7742" y="0"/>
                  </a:ln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3B0A780C-E9FD-40A3-86DC-CEA37B2B2261}"/>
                </a:ext>
              </a:extLst>
            </p:cNvPr>
            <p:cNvSpPr/>
            <p:nvPr/>
          </p:nvSpPr>
          <p:spPr>
            <a:xfrm>
              <a:off x="14914858" y="4373743"/>
              <a:ext cx="427296" cy="573815"/>
            </a:xfrm>
            <a:custGeom>
              <a:avLst/>
              <a:gdLst>
                <a:gd name="connsiteX0" fmla="*/ 11912 w 427296"/>
                <a:gd name="connsiteY0" fmla="*/ 182437 h 573815"/>
                <a:gd name="connsiteX1" fmla="*/ 8836 w 427296"/>
                <a:gd name="connsiteY1" fmla="*/ 434745 h 573815"/>
                <a:gd name="connsiteX2" fmla="*/ 168834 w 427296"/>
                <a:gd name="connsiteY2" fmla="*/ 573206 h 573815"/>
                <a:gd name="connsiteX3" fmla="*/ 387297 w 427296"/>
                <a:gd name="connsiteY3" fmla="*/ 431668 h 573815"/>
                <a:gd name="connsiteX4" fmla="*/ 427296 w 427296"/>
                <a:gd name="connsiteY4" fmla="*/ 203975 h 573815"/>
                <a:gd name="connsiteX5" fmla="*/ 214988 w 427296"/>
                <a:gd name="connsiteY5" fmla="*/ 898 h 573815"/>
                <a:gd name="connsiteX6" fmla="*/ 11912 w 427296"/>
                <a:gd name="connsiteY6" fmla="*/ 182437 h 573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296" h="573815">
                  <a:moveTo>
                    <a:pt x="11912" y="182437"/>
                  </a:moveTo>
                  <a:cubicBezTo>
                    <a:pt x="11912" y="182437"/>
                    <a:pt x="-12703" y="360898"/>
                    <a:pt x="8836" y="434745"/>
                  </a:cubicBezTo>
                  <a:cubicBezTo>
                    <a:pt x="27296" y="502437"/>
                    <a:pt x="116528" y="567052"/>
                    <a:pt x="168834" y="573206"/>
                  </a:cubicBezTo>
                  <a:cubicBezTo>
                    <a:pt x="236527" y="579360"/>
                    <a:pt x="356528" y="539360"/>
                    <a:pt x="387297" y="431668"/>
                  </a:cubicBezTo>
                  <a:cubicBezTo>
                    <a:pt x="408836" y="357822"/>
                    <a:pt x="427296" y="256283"/>
                    <a:pt x="427296" y="203975"/>
                  </a:cubicBezTo>
                  <a:cubicBezTo>
                    <a:pt x="427296" y="108591"/>
                    <a:pt x="399603" y="28591"/>
                    <a:pt x="214988" y="898"/>
                  </a:cubicBezTo>
                  <a:cubicBezTo>
                    <a:pt x="128834" y="-11409"/>
                    <a:pt x="30373" y="105514"/>
                    <a:pt x="11912" y="182437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BE90477C-13E5-4264-A87D-83E8F2B809E4}"/>
                </a:ext>
              </a:extLst>
            </p:cNvPr>
            <p:cNvSpPr/>
            <p:nvPr/>
          </p:nvSpPr>
          <p:spPr>
            <a:xfrm>
              <a:off x="15049846" y="4642334"/>
              <a:ext cx="58462" cy="138461"/>
            </a:xfrm>
            <a:custGeom>
              <a:avLst/>
              <a:gdLst>
                <a:gd name="connsiteX0" fmla="*/ 33845 w 58462"/>
                <a:gd name="connsiteY0" fmla="*/ 138462 h 138461"/>
                <a:gd name="connsiteX1" fmla="*/ 6154 w 58462"/>
                <a:gd name="connsiteY1" fmla="*/ 132308 h 138461"/>
                <a:gd name="connsiteX2" fmla="*/ 0 w 58462"/>
                <a:gd name="connsiteY2" fmla="*/ 120000 h 138461"/>
                <a:gd name="connsiteX3" fmla="*/ 18461 w 58462"/>
                <a:gd name="connsiteY3" fmla="*/ 6154 h 138461"/>
                <a:gd name="connsiteX4" fmla="*/ 24615 w 58462"/>
                <a:gd name="connsiteY4" fmla="*/ 0 h 138461"/>
                <a:gd name="connsiteX5" fmla="*/ 30769 w 58462"/>
                <a:gd name="connsiteY5" fmla="*/ 6154 h 138461"/>
                <a:gd name="connsiteX6" fmla="*/ 12308 w 58462"/>
                <a:gd name="connsiteY6" fmla="*/ 120000 h 138461"/>
                <a:gd name="connsiteX7" fmla="*/ 12308 w 58462"/>
                <a:gd name="connsiteY7" fmla="*/ 123077 h 138461"/>
                <a:gd name="connsiteX8" fmla="*/ 52308 w 58462"/>
                <a:gd name="connsiteY8" fmla="*/ 126154 h 138461"/>
                <a:gd name="connsiteX9" fmla="*/ 58462 w 58462"/>
                <a:gd name="connsiteY9" fmla="*/ 132308 h 138461"/>
                <a:gd name="connsiteX10" fmla="*/ 52308 w 58462"/>
                <a:gd name="connsiteY10" fmla="*/ 138462 h 138461"/>
                <a:gd name="connsiteX11" fmla="*/ 33845 w 58462"/>
                <a:gd name="connsiteY11" fmla="*/ 138462 h 1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462" h="138461">
                  <a:moveTo>
                    <a:pt x="33845" y="138462"/>
                  </a:moveTo>
                  <a:cubicBezTo>
                    <a:pt x="24615" y="138462"/>
                    <a:pt x="12308" y="138462"/>
                    <a:pt x="6154" y="132308"/>
                  </a:cubicBezTo>
                  <a:cubicBezTo>
                    <a:pt x="3076" y="129231"/>
                    <a:pt x="0" y="126154"/>
                    <a:pt x="0" y="120000"/>
                  </a:cubicBezTo>
                  <a:cubicBezTo>
                    <a:pt x="0" y="98462"/>
                    <a:pt x="18461" y="9231"/>
                    <a:pt x="18461" y="6154"/>
                  </a:cubicBezTo>
                  <a:cubicBezTo>
                    <a:pt x="18461" y="3077"/>
                    <a:pt x="21539" y="0"/>
                    <a:pt x="24615" y="0"/>
                  </a:cubicBezTo>
                  <a:cubicBezTo>
                    <a:pt x="27693" y="0"/>
                    <a:pt x="30769" y="3077"/>
                    <a:pt x="30769" y="6154"/>
                  </a:cubicBezTo>
                  <a:cubicBezTo>
                    <a:pt x="30769" y="6154"/>
                    <a:pt x="12308" y="98462"/>
                    <a:pt x="12308" y="120000"/>
                  </a:cubicBezTo>
                  <a:cubicBezTo>
                    <a:pt x="12308" y="120000"/>
                    <a:pt x="12308" y="123077"/>
                    <a:pt x="12308" y="123077"/>
                  </a:cubicBezTo>
                  <a:cubicBezTo>
                    <a:pt x="18461" y="129231"/>
                    <a:pt x="40000" y="126154"/>
                    <a:pt x="52308" y="126154"/>
                  </a:cubicBezTo>
                  <a:cubicBezTo>
                    <a:pt x="55384" y="126154"/>
                    <a:pt x="58462" y="126154"/>
                    <a:pt x="58462" y="132308"/>
                  </a:cubicBezTo>
                  <a:cubicBezTo>
                    <a:pt x="58462" y="135385"/>
                    <a:pt x="55384" y="138462"/>
                    <a:pt x="52308" y="138462"/>
                  </a:cubicBezTo>
                  <a:cubicBezTo>
                    <a:pt x="52308" y="135385"/>
                    <a:pt x="43078" y="138462"/>
                    <a:pt x="33845" y="138462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F848C0F2-9714-4F16-9526-C5A7242D4794}"/>
                </a:ext>
              </a:extLst>
            </p:cNvPr>
            <p:cNvSpPr/>
            <p:nvPr/>
          </p:nvSpPr>
          <p:spPr>
            <a:xfrm>
              <a:off x="14981550" y="4617115"/>
              <a:ext cx="41387" cy="41206"/>
            </a:xfrm>
            <a:custGeom>
              <a:avLst/>
              <a:gdLst>
                <a:gd name="connsiteX0" fmla="*/ 40603 w 41387"/>
                <a:gd name="connsiteY0" fmla="*/ 25219 h 41206"/>
                <a:gd name="connsiteX1" fmla="*/ 15988 w 41387"/>
                <a:gd name="connsiteY1" fmla="*/ 40603 h 41206"/>
                <a:gd name="connsiteX2" fmla="*/ 603 w 41387"/>
                <a:gd name="connsiteY2" fmla="*/ 15988 h 41206"/>
                <a:gd name="connsiteX3" fmla="*/ 25218 w 41387"/>
                <a:gd name="connsiteY3" fmla="*/ 604 h 41206"/>
                <a:gd name="connsiteX4" fmla="*/ 40603 w 41387"/>
                <a:gd name="connsiteY4" fmla="*/ 25219 h 41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206">
                  <a:moveTo>
                    <a:pt x="40603" y="25219"/>
                  </a:moveTo>
                  <a:cubicBezTo>
                    <a:pt x="37527" y="34449"/>
                    <a:pt x="28296" y="43680"/>
                    <a:pt x="15988" y="40603"/>
                  </a:cubicBezTo>
                  <a:cubicBezTo>
                    <a:pt x="6758" y="37527"/>
                    <a:pt x="-2473" y="28296"/>
                    <a:pt x="603" y="15988"/>
                  </a:cubicBezTo>
                  <a:cubicBezTo>
                    <a:pt x="3681" y="6757"/>
                    <a:pt x="12912" y="-2474"/>
                    <a:pt x="25218" y="604"/>
                  </a:cubicBezTo>
                  <a:cubicBezTo>
                    <a:pt x="37527" y="3680"/>
                    <a:pt x="43681" y="12911"/>
                    <a:pt x="40603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D0476A98-5B87-4528-8160-1B72FCBFC81C}"/>
                </a:ext>
              </a:extLst>
            </p:cNvPr>
            <p:cNvSpPr/>
            <p:nvPr/>
          </p:nvSpPr>
          <p:spPr>
            <a:xfrm>
              <a:off x="15166166" y="4635576"/>
              <a:ext cx="41387" cy="41207"/>
            </a:xfrm>
            <a:custGeom>
              <a:avLst/>
              <a:gdLst>
                <a:gd name="connsiteX0" fmla="*/ 40603 w 41387"/>
                <a:gd name="connsiteY0" fmla="*/ 25219 h 41207"/>
                <a:gd name="connsiteX1" fmla="*/ 15988 w 41387"/>
                <a:gd name="connsiteY1" fmla="*/ 40604 h 41207"/>
                <a:gd name="connsiteX2" fmla="*/ 603 w 41387"/>
                <a:gd name="connsiteY2" fmla="*/ 15988 h 41207"/>
                <a:gd name="connsiteX3" fmla="*/ 25218 w 41387"/>
                <a:gd name="connsiteY3" fmla="*/ 603 h 41207"/>
                <a:gd name="connsiteX4" fmla="*/ 40603 w 41387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207">
                  <a:moveTo>
                    <a:pt x="40603" y="25219"/>
                  </a:moveTo>
                  <a:cubicBezTo>
                    <a:pt x="37527" y="34450"/>
                    <a:pt x="28296" y="43681"/>
                    <a:pt x="15988" y="40604"/>
                  </a:cubicBezTo>
                  <a:cubicBezTo>
                    <a:pt x="6758" y="37526"/>
                    <a:pt x="-2473" y="28296"/>
                    <a:pt x="603" y="15988"/>
                  </a:cubicBezTo>
                  <a:cubicBezTo>
                    <a:pt x="3681" y="6757"/>
                    <a:pt x="12912" y="-2473"/>
                    <a:pt x="25218" y="603"/>
                  </a:cubicBezTo>
                  <a:cubicBezTo>
                    <a:pt x="37527" y="3681"/>
                    <a:pt x="43681" y="15988"/>
                    <a:pt x="40603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7E5676BC-D125-45DD-BE7F-38625171F483}"/>
                </a:ext>
              </a:extLst>
            </p:cNvPr>
            <p:cNvSpPr/>
            <p:nvPr/>
          </p:nvSpPr>
          <p:spPr>
            <a:xfrm>
              <a:off x="14955231" y="4568488"/>
              <a:ext cx="92812" cy="33846"/>
            </a:xfrm>
            <a:custGeom>
              <a:avLst/>
              <a:gdLst>
                <a:gd name="connsiteX0" fmla="*/ 8461 w 92812"/>
                <a:gd name="connsiteY0" fmla="*/ 33846 h 33846"/>
                <a:gd name="connsiteX1" fmla="*/ 2307 w 92812"/>
                <a:gd name="connsiteY1" fmla="*/ 30769 h 33846"/>
                <a:gd name="connsiteX2" fmla="*/ 2307 w 92812"/>
                <a:gd name="connsiteY2" fmla="*/ 18462 h 33846"/>
                <a:gd name="connsiteX3" fmla="*/ 88461 w 92812"/>
                <a:gd name="connsiteY3" fmla="*/ 9231 h 33846"/>
                <a:gd name="connsiteX4" fmla="*/ 91539 w 92812"/>
                <a:gd name="connsiteY4" fmla="*/ 21538 h 33846"/>
                <a:gd name="connsiteX5" fmla="*/ 79230 w 92812"/>
                <a:gd name="connsiteY5" fmla="*/ 24615 h 33846"/>
                <a:gd name="connsiteX6" fmla="*/ 11538 w 92812"/>
                <a:gd name="connsiteY6" fmla="*/ 30769 h 33846"/>
                <a:gd name="connsiteX7" fmla="*/ 8461 w 92812"/>
                <a:gd name="connsiteY7" fmla="*/ 33846 h 3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3846">
                  <a:moveTo>
                    <a:pt x="8461" y="33846"/>
                  </a:moveTo>
                  <a:cubicBezTo>
                    <a:pt x="5383" y="33846"/>
                    <a:pt x="5383" y="33846"/>
                    <a:pt x="2307" y="30769"/>
                  </a:cubicBezTo>
                  <a:cubicBezTo>
                    <a:pt x="-769" y="27692"/>
                    <a:pt x="-769" y="21538"/>
                    <a:pt x="2307" y="18462"/>
                  </a:cubicBezTo>
                  <a:cubicBezTo>
                    <a:pt x="30000" y="-9231"/>
                    <a:pt x="70000" y="0"/>
                    <a:pt x="88461" y="9231"/>
                  </a:cubicBezTo>
                  <a:cubicBezTo>
                    <a:pt x="91539" y="12308"/>
                    <a:pt x="94615" y="15385"/>
                    <a:pt x="91539" y="21538"/>
                  </a:cubicBezTo>
                  <a:cubicBezTo>
                    <a:pt x="88461" y="24615"/>
                    <a:pt x="85384" y="27692"/>
                    <a:pt x="79230" y="24615"/>
                  </a:cubicBezTo>
                  <a:cubicBezTo>
                    <a:pt x="76154" y="24615"/>
                    <a:pt x="39231" y="3077"/>
                    <a:pt x="11538" y="30769"/>
                  </a:cubicBezTo>
                  <a:cubicBezTo>
                    <a:pt x="14616" y="30769"/>
                    <a:pt x="11538" y="33846"/>
                    <a:pt x="8461" y="33846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29C3C998-26E7-4039-A440-7DF9D3A1CC92}"/>
                </a:ext>
              </a:extLst>
            </p:cNvPr>
            <p:cNvSpPr/>
            <p:nvPr/>
          </p:nvSpPr>
          <p:spPr>
            <a:xfrm>
              <a:off x="15147033" y="4569513"/>
              <a:ext cx="92813" cy="35897"/>
            </a:xfrm>
            <a:custGeom>
              <a:avLst/>
              <a:gdLst>
                <a:gd name="connsiteX0" fmla="*/ 87429 w 92813"/>
                <a:gd name="connsiteY0" fmla="*/ 35897 h 35897"/>
                <a:gd name="connsiteX1" fmla="*/ 81274 w 92813"/>
                <a:gd name="connsiteY1" fmla="*/ 32821 h 35897"/>
                <a:gd name="connsiteX2" fmla="*/ 13582 w 92813"/>
                <a:gd name="connsiteY2" fmla="*/ 26666 h 35897"/>
                <a:gd name="connsiteX3" fmla="*/ 1275 w 92813"/>
                <a:gd name="connsiteY3" fmla="*/ 23590 h 35897"/>
                <a:gd name="connsiteX4" fmla="*/ 4351 w 92813"/>
                <a:gd name="connsiteY4" fmla="*/ 11282 h 35897"/>
                <a:gd name="connsiteX5" fmla="*/ 90505 w 92813"/>
                <a:gd name="connsiteY5" fmla="*/ 20513 h 35897"/>
                <a:gd name="connsiteX6" fmla="*/ 90505 w 92813"/>
                <a:gd name="connsiteY6" fmla="*/ 32821 h 35897"/>
                <a:gd name="connsiteX7" fmla="*/ 87429 w 92813"/>
                <a:gd name="connsiteY7" fmla="*/ 35897 h 35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5897">
                  <a:moveTo>
                    <a:pt x="87429" y="35897"/>
                  </a:moveTo>
                  <a:cubicBezTo>
                    <a:pt x="84352" y="35897"/>
                    <a:pt x="84352" y="35897"/>
                    <a:pt x="81274" y="32821"/>
                  </a:cubicBezTo>
                  <a:cubicBezTo>
                    <a:pt x="81274" y="32821"/>
                    <a:pt x="50505" y="2051"/>
                    <a:pt x="13582" y="26666"/>
                  </a:cubicBezTo>
                  <a:cubicBezTo>
                    <a:pt x="10505" y="29744"/>
                    <a:pt x="4351" y="26666"/>
                    <a:pt x="1275" y="23590"/>
                  </a:cubicBezTo>
                  <a:cubicBezTo>
                    <a:pt x="-1803" y="20513"/>
                    <a:pt x="1275" y="14359"/>
                    <a:pt x="4351" y="11282"/>
                  </a:cubicBezTo>
                  <a:cubicBezTo>
                    <a:pt x="41275" y="-13333"/>
                    <a:pt x="78198" y="8205"/>
                    <a:pt x="90505" y="20513"/>
                  </a:cubicBezTo>
                  <a:cubicBezTo>
                    <a:pt x="93583" y="23590"/>
                    <a:pt x="93583" y="29744"/>
                    <a:pt x="90505" y="32821"/>
                  </a:cubicBezTo>
                  <a:cubicBezTo>
                    <a:pt x="90505" y="35897"/>
                    <a:pt x="87429" y="35897"/>
                    <a:pt x="87429" y="35897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7F305D2C-2755-4105-B067-F1672599A016}"/>
                </a:ext>
              </a:extLst>
            </p:cNvPr>
            <p:cNvSpPr/>
            <p:nvPr/>
          </p:nvSpPr>
          <p:spPr>
            <a:xfrm>
              <a:off x="15013692" y="4891565"/>
              <a:ext cx="234351" cy="61538"/>
            </a:xfrm>
            <a:custGeom>
              <a:avLst/>
              <a:gdLst>
                <a:gd name="connsiteX0" fmla="*/ 82308 w 234351"/>
                <a:gd name="connsiteY0" fmla="*/ 61538 h 61538"/>
                <a:gd name="connsiteX1" fmla="*/ 82308 w 234351"/>
                <a:gd name="connsiteY1" fmla="*/ 61538 h 61538"/>
                <a:gd name="connsiteX2" fmla="*/ 2309 w 234351"/>
                <a:gd name="connsiteY2" fmla="*/ 33846 h 61538"/>
                <a:gd name="connsiteX3" fmla="*/ 2309 w 234351"/>
                <a:gd name="connsiteY3" fmla="*/ 24615 h 61538"/>
                <a:gd name="connsiteX4" fmla="*/ 11539 w 234351"/>
                <a:gd name="connsiteY4" fmla="*/ 24615 h 61538"/>
                <a:gd name="connsiteX5" fmla="*/ 82308 w 234351"/>
                <a:gd name="connsiteY5" fmla="*/ 49231 h 61538"/>
                <a:gd name="connsiteX6" fmla="*/ 82308 w 234351"/>
                <a:gd name="connsiteY6" fmla="*/ 49231 h 61538"/>
                <a:gd name="connsiteX7" fmla="*/ 223846 w 234351"/>
                <a:gd name="connsiteY7" fmla="*/ 0 h 61538"/>
                <a:gd name="connsiteX8" fmla="*/ 233078 w 234351"/>
                <a:gd name="connsiteY8" fmla="*/ 3077 h 61538"/>
                <a:gd name="connsiteX9" fmla="*/ 230000 w 234351"/>
                <a:gd name="connsiteY9" fmla="*/ 12308 h 61538"/>
                <a:gd name="connsiteX10" fmla="*/ 82308 w 234351"/>
                <a:gd name="connsiteY10" fmla="*/ 61538 h 6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4351" h="61538">
                  <a:moveTo>
                    <a:pt x="82308" y="61538"/>
                  </a:moveTo>
                  <a:cubicBezTo>
                    <a:pt x="82308" y="61538"/>
                    <a:pt x="82308" y="61538"/>
                    <a:pt x="82308" y="61538"/>
                  </a:cubicBezTo>
                  <a:cubicBezTo>
                    <a:pt x="39230" y="61538"/>
                    <a:pt x="5385" y="33846"/>
                    <a:pt x="2309" y="33846"/>
                  </a:cubicBezTo>
                  <a:cubicBezTo>
                    <a:pt x="-770" y="30769"/>
                    <a:pt x="-770" y="27692"/>
                    <a:pt x="2309" y="24615"/>
                  </a:cubicBezTo>
                  <a:cubicBezTo>
                    <a:pt x="5385" y="21538"/>
                    <a:pt x="8461" y="21538"/>
                    <a:pt x="11539" y="24615"/>
                  </a:cubicBezTo>
                  <a:cubicBezTo>
                    <a:pt x="11539" y="24615"/>
                    <a:pt x="42308" y="49231"/>
                    <a:pt x="82308" y="49231"/>
                  </a:cubicBezTo>
                  <a:cubicBezTo>
                    <a:pt x="82308" y="49231"/>
                    <a:pt x="82308" y="49231"/>
                    <a:pt x="82308" y="49231"/>
                  </a:cubicBezTo>
                  <a:cubicBezTo>
                    <a:pt x="131538" y="49231"/>
                    <a:pt x="220769" y="0"/>
                    <a:pt x="223846" y="0"/>
                  </a:cubicBezTo>
                  <a:cubicBezTo>
                    <a:pt x="226924" y="0"/>
                    <a:pt x="230000" y="0"/>
                    <a:pt x="233078" y="3077"/>
                  </a:cubicBezTo>
                  <a:cubicBezTo>
                    <a:pt x="236154" y="6154"/>
                    <a:pt x="233078" y="9231"/>
                    <a:pt x="230000" y="12308"/>
                  </a:cubicBezTo>
                  <a:cubicBezTo>
                    <a:pt x="226924" y="12308"/>
                    <a:pt x="134616" y="61538"/>
                    <a:pt x="82308" y="61538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27621FDC-CF6E-41E4-8C2C-3E435DD8513F}"/>
                </a:ext>
              </a:extLst>
            </p:cNvPr>
            <p:cNvSpPr/>
            <p:nvPr/>
          </p:nvSpPr>
          <p:spPr>
            <a:xfrm>
              <a:off x="15268307" y="4399257"/>
              <a:ext cx="114165" cy="270769"/>
            </a:xfrm>
            <a:custGeom>
              <a:avLst/>
              <a:gdLst>
                <a:gd name="connsiteX0" fmla="*/ 0 w 114165"/>
                <a:gd name="connsiteY0" fmla="*/ 129231 h 270769"/>
                <a:gd name="connsiteX1" fmla="*/ 49232 w 114165"/>
                <a:gd name="connsiteY1" fmla="*/ 270769 h 270769"/>
                <a:gd name="connsiteX2" fmla="*/ 107692 w 114165"/>
                <a:gd name="connsiteY2" fmla="*/ 169231 h 270769"/>
                <a:gd name="connsiteX3" fmla="*/ 49232 w 114165"/>
                <a:gd name="connsiteY3" fmla="*/ 0 h 270769"/>
                <a:gd name="connsiteX4" fmla="*/ 0 w 114165"/>
                <a:gd name="connsiteY4" fmla="*/ 129231 h 27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165" h="270769">
                  <a:moveTo>
                    <a:pt x="0" y="129231"/>
                  </a:moveTo>
                  <a:cubicBezTo>
                    <a:pt x="0" y="129231"/>
                    <a:pt x="55386" y="240000"/>
                    <a:pt x="49232" y="270769"/>
                  </a:cubicBezTo>
                  <a:cubicBezTo>
                    <a:pt x="49232" y="270769"/>
                    <a:pt x="92308" y="224615"/>
                    <a:pt x="107692" y="169231"/>
                  </a:cubicBezTo>
                  <a:cubicBezTo>
                    <a:pt x="123077" y="110769"/>
                    <a:pt x="113847" y="15385"/>
                    <a:pt x="49232" y="0"/>
                  </a:cubicBezTo>
                  <a:cubicBezTo>
                    <a:pt x="46154" y="0"/>
                    <a:pt x="40002" y="110769"/>
                    <a:pt x="0" y="129231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DD4978D8-677E-4712-A012-340BCCF88297}"/>
                </a:ext>
              </a:extLst>
            </p:cNvPr>
            <p:cNvSpPr/>
            <p:nvPr/>
          </p:nvSpPr>
          <p:spPr>
            <a:xfrm>
              <a:off x="14822153" y="4280947"/>
              <a:ext cx="504241" cy="256802"/>
            </a:xfrm>
            <a:custGeom>
              <a:avLst/>
              <a:gdLst>
                <a:gd name="connsiteX0" fmla="*/ 446154 w 504241"/>
                <a:gd name="connsiteY0" fmla="*/ 247541 h 256802"/>
                <a:gd name="connsiteX1" fmla="*/ 323077 w 504241"/>
                <a:gd name="connsiteY1" fmla="*/ 207541 h 256802"/>
                <a:gd name="connsiteX2" fmla="*/ 0 w 504241"/>
                <a:gd name="connsiteY2" fmla="*/ 195233 h 256802"/>
                <a:gd name="connsiteX3" fmla="*/ 375385 w 504241"/>
                <a:gd name="connsiteY3" fmla="*/ 10618 h 256802"/>
                <a:gd name="connsiteX4" fmla="*/ 495386 w 504241"/>
                <a:gd name="connsiteY4" fmla="*/ 118310 h 256802"/>
                <a:gd name="connsiteX5" fmla="*/ 446154 w 504241"/>
                <a:gd name="connsiteY5" fmla="*/ 247541 h 256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4241" h="256802">
                  <a:moveTo>
                    <a:pt x="446154" y="247541"/>
                  </a:moveTo>
                  <a:cubicBezTo>
                    <a:pt x="446154" y="247541"/>
                    <a:pt x="350770" y="207541"/>
                    <a:pt x="323077" y="207541"/>
                  </a:cubicBezTo>
                  <a:cubicBezTo>
                    <a:pt x="221539" y="210618"/>
                    <a:pt x="92308" y="324464"/>
                    <a:pt x="0" y="195233"/>
                  </a:cubicBezTo>
                  <a:cubicBezTo>
                    <a:pt x="46154" y="93694"/>
                    <a:pt x="209232" y="-38613"/>
                    <a:pt x="375385" y="10618"/>
                  </a:cubicBezTo>
                  <a:cubicBezTo>
                    <a:pt x="455386" y="32156"/>
                    <a:pt x="489232" y="81387"/>
                    <a:pt x="495386" y="118310"/>
                  </a:cubicBezTo>
                  <a:cubicBezTo>
                    <a:pt x="492308" y="118310"/>
                    <a:pt x="538462" y="235233"/>
                    <a:pt x="446154" y="247541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262EB3F6-AB05-4F90-8ECD-8E4E51156888}"/>
                </a:ext>
              </a:extLst>
            </p:cNvPr>
            <p:cNvSpPr/>
            <p:nvPr/>
          </p:nvSpPr>
          <p:spPr>
            <a:xfrm>
              <a:off x="15300786" y="4639065"/>
              <a:ext cx="79351" cy="111522"/>
            </a:xfrm>
            <a:custGeom>
              <a:avLst/>
              <a:gdLst>
                <a:gd name="connsiteX0" fmla="*/ 13675 w 79351"/>
                <a:gd name="connsiteY0" fmla="*/ 15577 h 111522"/>
                <a:gd name="connsiteX1" fmla="*/ 72138 w 79351"/>
                <a:gd name="connsiteY1" fmla="*/ 6346 h 111522"/>
                <a:gd name="connsiteX2" fmla="*/ 13675 w 79351"/>
                <a:gd name="connsiteY2" fmla="*/ 107885 h 111522"/>
                <a:gd name="connsiteX3" fmla="*/ 13675 w 79351"/>
                <a:gd name="connsiteY3" fmla="*/ 15577 h 111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51" h="111522">
                  <a:moveTo>
                    <a:pt x="13675" y="15577"/>
                  </a:moveTo>
                  <a:cubicBezTo>
                    <a:pt x="13675" y="15577"/>
                    <a:pt x="47523" y="-12116"/>
                    <a:pt x="72138" y="6346"/>
                  </a:cubicBezTo>
                  <a:cubicBezTo>
                    <a:pt x="96753" y="24808"/>
                    <a:pt x="53677" y="132500"/>
                    <a:pt x="13675" y="107885"/>
                  </a:cubicBezTo>
                  <a:cubicBezTo>
                    <a:pt x="-17094" y="89423"/>
                    <a:pt x="13675" y="15577"/>
                    <a:pt x="13675" y="15577"/>
                  </a:cubicBez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4F8C477C-BD1F-4001-9E99-ED149356FA17}"/>
                </a:ext>
              </a:extLst>
            </p:cNvPr>
            <p:cNvSpPr/>
            <p:nvPr/>
          </p:nvSpPr>
          <p:spPr>
            <a:xfrm>
              <a:off x="15262155" y="4417719"/>
              <a:ext cx="68117" cy="243076"/>
            </a:xfrm>
            <a:custGeom>
              <a:avLst/>
              <a:gdLst>
                <a:gd name="connsiteX0" fmla="*/ 52306 w 68117"/>
                <a:gd name="connsiteY0" fmla="*/ 243077 h 243076"/>
                <a:gd name="connsiteX1" fmla="*/ 46154 w 68117"/>
                <a:gd name="connsiteY1" fmla="*/ 236923 h 243076"/>
                <a:gd name="connsiteX2" fmla="*/ 0 w 68117"/>
                <a:gd name="connsiteY2" fmla="*/ 113846 h 243076"/>
                <a:gd name="connsiteX3" fmla="*/ 0 w 68117"/>
                <a:gd name="connsiteY3" fmla="*/ 107692 h 243076"/>
                <a:gd name="connsiteX4" fmla="*/ 3076 w 68117"/>
                <a:gd name="connsiteY4" fmla="*/ 104615 h 243076"/>
                <a:gd name="connsiteX5" fmla="*/ 52306 w 68117"/>
                <a:gd name="connsiteY5" fmla="*/ 64615 h 243076"/>
                <a:gd name="connsiteX6" fmla="*/ 52306 w 68117"/>
                <a:gd name="connsiteY6" fmla="*/ 6154 h 243076"/>
                <a:gd name="connsiteX7" fmla="*/ 55384 w 68117"/>
                <a:gd name="connsiteY7" fmla="*/ 0 h 243076"/>
                <a:gd name="connsiteX8" fmla="*/ 61538 w 68117"/>
                <a:gd name="connsiteY8" fmla="*/ 3077 h 243076"/>
                <a:gd name="connsiteX9" fmla="*/ 58460 w 68117"/>
                <a:gd name="connsiteY9" fmla="*/ 70769 h 243076"/>
                <a:gd name="connsiteX10" fmla="*/ 9230 w 68117"/>
                <a:gd name="connsiteY10" fmla="*/ 113846 h 243076"/>
                <a:gd name="connsiteX11" fmla="*/ 55384 w 68117"/>
                <a:gd name="connsiteY11" fmla="*/ 236923 h 243076"/>
                <a:gd name="connsiteX12" fmla="*/ 52306 w 68117"/>
                <a:gd name="connsiteY12" fmla="*/ 243077 h 243076"/>
                <a:gd name="connsiteX13" fmla="*/ 52306 w 68117"/>
                <a:gd name="connsiteY13" fmla="*/ 243077 h 24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117" h="243076">
                  <a:moveTo>
                    <a:pt x="52306" y="243077"/>
                  </a:moveTo>
                  <a:cubicBezTo>
                    <a:pt x="49230" y="243077"/>
                    <a:pt x="46154" y="240000"/>
                    <a:pt x="46154" y="236923"/>
                  </a:cubicBezTo>
                  <a:cubicBezTo>
                    <a:pt x="40000" y="175385"/>
                    <a:pt x="0" y="113846"/>
                    <a:pt x="0" y="113846"/>
                  </a:cubicBezTo>
                  <a:cubicBezTo>
                    <a:pt x="0" y="110769"/>
                    <a:pt x="0" y="110769"/>
                    <a:pt x="0" y="107692"/>
                  </a:cubicBezTo>
                  <a:cubicBezTo>
                    <a:pt x="0" y="104615"/>
                    <a:pt x="3076" y="104615"/>
                    <a:pt x="3076" y="104615"/>
                  </a:cubicBezTo>
                  <a:cubicBezTo>
                    <a:pt x="3076" y="104615"/>
                    <a:pt x="36922" y="92308"/>
                    <a:pt x="52306" y="64615"/>
                  </a:cubicBezTo>
                  <a:cubicBezTo>
                    <a:pt x="61538" y="49230"/>
                    <a:pt x="61538" y="27692"/>
                    <a:pt x="52306" y="6154"/>
                  </a:cubicBezTo>
                  <a:cubicBezTo>
                    <a:pt x="52306" y="3077"/>
                    <a:pt x="52306" y="0"/>
                    <a:pt x="55384" y="0"/>
                  </a:cubicBezTo>
                  <a:cubicBezTo>
                    <a:pt x="58460" y="0"/>
                    <a:pt x="61538" y="0"/>
                    <a:pt x="61538" y="3077"/>
                  </a:cubicBezTo>
                  <a:cubicBezTo>
                    <a:pt x="70769" y="27692"/>
                    <a:pt x="70769" y="52308"/>
                    <a:pt x="58460" y="70769"/>
                  </a:cubicBezTo>
                  <a:cubicBezTo>
                    <a:pt x="46154" y="95384"/>
                    <a:pt x="21537" y="107692"/>
                    <a:pt x="9230" y="113846"/>
                  </a:cubicBezTo>
                  <a:cubicBezTo>
                    <a:pt x="21537" y="132307"/>
                    <a:pt x="49230" y="181538"/>
                    <a:pt x="55384" y="236923"/>
                  </a:cubicBezTo>
                  <a:cubicBezTo>
                    <a:pt x="58460" y="240000"/>
                    <a:pt x="55384" y="243077"/>
                    <a:pt x="52306" y="243077"/>
                  </a:cubicBezTo>
                  <a:lnTo>
                    <a:pt x="52306" y="243077"/>
                  </a:ln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F9B6BE6B-0B20-4651-838F-0960C778814B}"/>
                </a:ext>
              </a:extLst>
            </p:cNvPr>
            <p:cNvSpPr/>
            <p:nvPr/>
          </p:nvSpPr>
          <p:spPr>
            <a:xfrm>
              <a:off x="14953094" y="4458246"/>
              <a:ext cx="195213" cy="36395"/>
            </a:xfrm>
            <a:custGeom>
              <a:avLst/>
              <a:gdLst>
                <a:gd name="connsiteX0" fmla="*/ 192136 w 195213"/>
                <a:gd name="connsiteY0" fmla="*/ 36395 h 36395"/>
                <a:gd name="connsiteX1" fmla="*/ 192136 w 195213"/>
                <a:gd name="connsiteY1" fmla="*/ 36395 h 36395"/>
                <a:gd name="connsiteX2" fmla="*/ 10598 w 195213"/>
                <a:gd name="connsiteY2" fmla="*/ 30241 h 36395"/>
                <a:gd name="connsiteX3" fmla="*/ 1368 w 195213"/>
                <a:gd name="connsiteY3" fmla="*/ 30241 h 36395"/>
                <a:gd name="connsiteX4" fmla="*/ 1368 w 195213"/>
                <a:gd name="connsiteY4" fmla="*/ 21011 h 36395"/>
                <a:gd name="connsiteX5" fmla="*/ 192136 w 195213"/>
                <a:gd name="connsiteY5" fmla="*/ 27165 h 36395"/>
                <a:gd name="connsiteX6" fmla="*/ 195214 w 195213"/>
                <a:gd name="connsiteY6" fmla="*/ 36395 h 36395"/>
                <a:gd name="connsiteX7" fmla="*/ 192136 w 195213"/>
                <a:gd name="connsiteY7" fmla="*/ 36395 h 3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213" h="36395">
                  <a:moveTo>
                    <a:pt x="192136" y="36395"/>
                  </a:moveTo>
                  <a:cubicBezTo>
                    <a:pt x="189060" y="36395"/>
                    <a:pt x="189060" y="36395"/>
                    <a:pt x="192136" y="36395"/>
                  </a:cubicBezTo>
                  <a:cubicBezTo>
                    <a:pt x="189060" y="36395"/>
                    <a:pt x="75213" y="-15913"/>
                    <a:pt x="10598" y="30241"/>
                  </a:cubicBezTo>
                  <a:cubicBezTo>
                    <a:pt x="7520" y="33318"/>
                    <a:pt x="4444" y="30241"/>
                    <a:pt x="1368" y="30241"/>
                  </a:cubicBezTo>
                  <a:cubicBezTo>
                    <a:pt x="-1710" y="27165"/>
                    <a:pt x="1368" y="24088"/>
                    <a:pt x="1368" y="21011"/>
                  </a:cubicBezTo>
                  <a:cubicBezTo>
                    <a:pt x="72137" y="-28220"/>
                    <a:pt x="189060" y="24088"/>
                    <a:pt x="192136" y="27165"/>
                  </a:cubicBezTo>
                  <a:cubicBezTo>
                    <a:pt x="195214" y="27165"/>
                    <a:pt x="195214" y="33318"/>
                    <a:pt x="195214" y="36395"/>
                  </a:cubicBezTo>
                  <a:cubicBezTo>
                    <a:pt x="195214" y="36395"/>
                    <a:pt x="192136" y="36395"/>
                    <a:pt x="192136" y="36395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69294D0F-DFF1-4885-93A1-1686AB5A089C}"/>
                </a:ext>
              </a:extLst>
            </p:cNvPr>
            <p:cNvSpPr/>
            <p:nvPr/>
          </p:nvSpPr>
          <p:spPr>
            <a:xfrm>
              <a:off x="14587483" y="5008488"/>
              <a:ext cx="1080824" cy="1581352"/>
            </a:xfrm>
            <a:custGeom>
              <a:avLst/>
              <a:gdLst>
                <a:gd name="connsiteX0" fmla="*/ 680824 w 1080824"/>
                <a:gd name="connsiteY0" fmla="*/ 0 h 1581352"/>
                <a:gd name="connsiteX1" fmla="*/ 388516 w 1080824"/>
                <a:gd name="connsiteY1" fmla="*/ 0 h 1581352"/>
                <a:gd name="connsiteX2" fmla="*/ 86978 w 1080824"/>
                <a:gd name="connsiteY2" fmla="*/ 132308 h 1581352"/>
                <a:gd name="connsiteX3" fmla="*/ 825 w 1080824"/>
                <a:gd name="connsiteY3" fmla="*/ 1550770 h 1581352"/>
                <a:gd name="connsiteX4" fmla="*/ 1080824 w 1080824"/>
                <a:gd name="connsiteY4" fmla="*/ 1526154 h 1581352"/>
                <a:gd name="connsiteX5" fmla="*/ 963902 w 1080824"/>
                <a:gd name="connsiteY5" fmla="*/ 104615 h 1581352"/>
                <a:gd name="connsiteX6" fmla="*/ 680824 w 1080824"/>
                <a:gd name="connsiteY6" fmla="*/ 0 h 1581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0824" h="1581352">
                  <a:moveTo>
                    <a:pt x="680824" y="0"/>
                  </a:moveTo>
                  <a:cubicBezTo>
                    <a:pt x="680824" y="0"/>
                    <a:pt x="505441" y="55385"/>
                    <a:pt x="388516" y="0"/>
                  </a:cubicBezTo>
                  <a:cubicBezTo>
                    <a:pt x="388516" y="0"/>
                    <a:pt x="111593" y="98461"/>
                    <a:pt x="86978" y="132308"/>
                  </a:cubicBezTo>
                  <a:cubicBezTo>
                    <a:pt x="62363" y="163077"/>
                    <a:pt x="-8406" y="1483077"/>
                    <a:pt x="825" y="1550770"/>
                  </a:cubicBezTo>
                  <a:cubicBezTo>
                    <a:pt x="825" y="1550770"/>
                    <a:pt x="496209" y="1633846"/>
                    <a:pt x="1080824" y="1526154"/>
                  </a:cubicBezTo>
                  <a:cubicBezTo>
                    <a:pt x="1080824" y="1166154"/>
                    <a:pt x="1006979" y="135384"/>
                    <a:pt x="963902" y="104615"/>
                  </a:cubicBezTo>
                  <a:cubicBezTo>
                    <a:pt x="920826" y="70769"/>
                    <a:pt x="680824" y="0"/>
                    <a:pt x="680824" y="0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B89F907A-728E-493F-986D-E00F58A4F8F2}"/>
                </a:ext>
              </a:extLst>
            </p:cNvPr>
            <p:cNvSpPr/>
            <p:nvPr/>
          </p:nvSpPr>
          <p:spPr>
            <a:xfrm>
              <a:off x="14625231" y="5136444"/>
              <a:ext cx="53582" cy="748966"/>
            </a:xfrm>
            <a:custGeom>
              <a:avLst/>
              <a:gdLst>
                <a:gd name="connsiteX0" fmla="*/ 6154 w 53582"/>
                <a:gd name="connsiteY0" fmla="*/ 748967 h 748966"/>
                <a:gd name="connsiteX1" fmla="*/ 6154 w 53582"/>
                <a:gd name="connsiteY1" fmla="*/ 748967 h 748966"/>
                <a:gd name="connsiteX2" fmla="*/ 0 w 53582"/>
                <a:gd name="connsiteY2" fmla="*/ 742813 h 748966"/>
                <a:gd name="connsiteX3" fmla="*/ 43076 w 53582"/>
                <a:gd name="connsiteY3" fmla="*/ 4352 h 748966"/>
                <a:gd name="connsiteX4" fmla="*/ 49230 w 53582"/>
                <a:gd name="connsiteY4" fmla="*/ 1275 h 748966"/>
                <a:gd name="connsiteX5" fmla="*/ 52308 w 53582"/>
                <a:gd name="connsiteY5" fmla="*/ 7428 h 748966"/>
                <a:gd name="connsiteX6" fmla="*/ 9230 w 53582"/>
                <a:gd name="connsiteY6" fmla="*/ 742813 h 748966"/>
                <a:gd name="connsiteX7" fmla="*/ 6154 w 53582"/>
                <a:gd name="connsiteY7" fmla="*/ 748967 h 748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582" h="748966">
                  <a:moveTo>
                    <a:pt x="6154" y="748967"/>
                  </a:moveTo>
                  <a:cubicBezTo>
                    <a:pt x="6154" y="748967"/>
                    <a:pt x="6154" y="748967"/>
                    <a:pt x="6154" y="748967"/>
                  </a:cubicBezTo>
                  <a:cubicBezTo>
                    <a:pt x="3076" y="748967"/>
                    <a:pt x="0" y="745890"/>
                    <a:pt x="0" y="742813"/>
                  </a:cubicBezTo>
                  <a:cubicBezTo>
                    <a:pt x="0" y="715121"/>
                    <a:pt x="36923" y="44351"/>
                    <a:pt x="43076" y="4352"/>
                  </a:cubicBezTo>
                  <a:cubicBezTo>
                    <a:pt x="43076" y="1275"/>
                    <a:pt x="46154" y="-1803"/>
                    <a:pt x="49230" y="1275"/>
                  </a:cubicBezTo>
                  <a:cubicBezTo>
                    <a:pt x="52308" y="1275"/>
                    <a:pt x="55384" y="4352"/>
                    <a:pt x="52308" y="7428"/>
                  </a:cubicBezTo>
                  <a:cubicBezTo>
                    <a:pt x="43076" y="47428"/>
                    <a:pt x="9230" y="736659"/>
                    <a:pt x="9230" y="742813"/>
                  </a:cubicBezTo>
                  <a:cubicBezTo>
                    <a:pt x="12307" y="745890"/>
                    <a:pt x="9230" y="748967"/>
                    <a:pt x="6154" y="748967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D27418E2-E2DE-40BC-975A-E1826D00DD32}"/>
                </a:ext>
              </a:extLst>
            </p:cNvPr>
            <p:cNvSpPr/>
            <p:nvPr/>
          </p:nvSpPr>
          <p:spPr>
            <a:xfrm>
              <a:off x="15016770" y="4836949"/>
              <a:ext cx="122307" cy="26923"/>
            </a:xfrm>
            <a:custGeom>
              <a:avLst/>
              <a:gdLst>
                <a:gd name="connsiteX0" fmla="*/ 51537 w 122307"/>
                <a:gd name="connsiteY0" fmla="*/ 26923 h 26923"/>
                <a:gd name="connsiteX1" fmla="*/ 2307 w 122307"/>
                <a:gd name="connsiteY1" fmla="*/ 11539 h 26923"/>
                <a:gd name="connsiteX2" fmla="*/ 2307 w 122307"/>
                <a:gd name="connsiteY2" fmla="*/ 2308 h 26923"/>
                <a:gd name="connsiteX3" fmla="*/ 11538 w 122307"/>
                <a:gd name="connsiteY3" fmla="*/ 2308 h 26923"/>
                <a:gd name="connsiteX4" fmla="*/ 113076 w 122307"/>
                <a:gd name="connsiteY4" fmla="*/ 2308 h 26923"/>
                <a:gd name="connsiteX5" fmla="*/ 122308 w 122307"/>
                <a:gd name="connsiteY5" fmla="*/ 5384 h 26923"/>
                <a:gd name="connsiteX6" fmla="*/ 119230 w 122307"/>
                <a:gd name="connsiteY6" fmla="*/ 14615 h 26923"/>
                <a:gd name="connsiteX7" fmla="*/ 51537 w 122307"/>
                <a:gd name="connsiteY7" fmla="*/ 26923 h 2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307" h="26923">
                  <a:moveTo>
                    <a:pt x="51537" y="26923"/>
                  </a:moveTo>
                  <a:cubicBezTo>
                    <a:pt x="33076" y="26923"/>
                    <a:pt x="17692" y="23846"/>
                    <a:pt x="2307" y="11539"/>
                  </a:cubicBezTo>
                  <a:cubicBezTo>
                    <a:pt x="-769" y="8462"/>
                    <a:pt x="-769" y="5384"/>
                    <a:pt x="2307" y="2308"/>
                  </a:cubicBezTo>
                  <a:cubicBezTo>
                    <a:pt x="5383" y="-769"/>
                    <a:pt x="8461" y="-769"/>
                    <a:pt x="11538" y="2308"/>
                  </a:cubicBezTo>
                  <a:cubicBezTo>
                    <a:pt x="51537" y="33077"/>
                    <a:pt x="113076" y="2308"/>
                    <a:pt x="113076" y="2308"/>
                  </a:cubicBezTo>
                  <a:cubicBezTo>
                    <a:pt x="116154" y="2308"/>
                    <a:pt x="119230" y="2308"/>
                    <a:pt x="122308" y="5384"/>
                  </a:cubicBezTo>
                  <a:cubicBezTo>
                    <a:pt x="122308" y="8462"/>
                    <a:pt x="122308" y="11539"/>
                    <a:pt x="119230" y="14615"/>
                  </a:cubicBezTo>
                  <a:cubicBezTo>
                    <a:pt x="116154" y="14615"/>
                    <a:pt x="85384" y="26923"/>
                    <a:pt x="51537" y="26923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31378806-5063-48BF-A8F1-7FDD6D430EDF}"/>
                </a:ext>
              </a:extLst>
            </p:cNvPr>
            <p:cNvGrpSpPr/>
            <p:nvPr/>
          </p:nvGrpSpPr>
          <p:grpSpPr>
            <a:xfrm>
              <a:off x="12110498" y="8436180"/>
              <a:ext cx="262424" cy="359999"/>
              <a:chOff x="12110498" y="8436180"/>
              <a:chExt cx="262424" cy="359999"/>
            </a:xfrm>
          </p:grpSpPr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FB5542F3-4180-4C23-A491-81D11120796D}"/>
                  </a:ext>
                </a:extLst>
              </p:cNvPr>
              <p:cNvSpPr/>
              <p:nvPr/>
            </p:nvSpPr>
            <p:spPr>
              <a:xfrm>
                <a:off x="12110498" y="8528488"/>
                <a:ext cx="262424" cy="267691"/>
              </a:xfrm>
              <a:custGeom>
                <a:avLst/>
                <a:gdLst>
                  <a:gd name="connsiteX0" fmla="*/ 130117 w 262424"/>
                  <a:gd name="connsiteY0" fmla="*/ 3076 h 267691"/>
                  <a:gd name="connsiteX1" fmla="*/ 65501 w 262424"/>
                  <a:gd name="connsiteY1" fmla="*/ 153846 h 267691"/>
                  <a:gd name="connsiteX2" fmla="*/ 185502 w 262424"/>
                  <a:gd name="connsiteY2" fmla="*/ 46154 h 267691"/>
                  <a:gd name="connsiteX3" fmla="*/ 225501 w 262424"/>
                  <a:gd name="connsiteY3" fmla="*/ 0 h 267691"/>
                  <a:gd name="connsiteX4" fmla="*/ 262425 w 262424"/>
                  <a:gd name="connsiteY4" fmla="*/ 76923 h 267691"/>
                  <a:gd name="connsiteX5" fmla="*/ 127039 w 262424"/>
                  <a:gd name="connsiteY5" fmla="*/ 215385 h 267691"/>
                  <a:gd name="connsiteX6" fmla="*/ 28579 w 262424"/>
                  <a:gd name="connsiteY6" fmla="*/ 267692 h 267691"/>
                  <a:gd name="connsiteX7" fmla="*/ 886 w 262424"/>
                  <a:gd name="connsiteY7" fmla="*/ 230769 h 267691"/>
                  <a:gd name="connsiteX8" fmla="*/ 130117 w 262424"/>
                  <a:gd name="connsiteY8" fmla="*/ 3076 h 267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2424" h="267691">
                    <a:moveTo>
                      <a:pt x="130117" y="3076"/>
                    </a:moveTo>
                    <a:cubicBezTo>
                      <a:pt x="130117" y="3076"/>
                      <a:pt x="50116" y="147692"/>
                      <a:pt x="65501" y="153846"/>
                    </a:cubicBezTo>
                    <a:cubicBezTo>
                      <a:pt x="80886" y="159999"/>
                      <a:pt x="185502" y="46154"/>
                      <a:pt x="185502" y="46154"/>
                    </a:cubicBezTo>
                    <a:lnTo>
                      <a:pt x="225501" y="0"/>
                    </a:lnTo>
                    <a:cubicBezTo>
                      <a:pt x="225501" y="0"/>
                      <a:pt x="262425" y="55384"/>
                      <a:pt x="262425" y="76923"/>
                    </a:cubicBezTo>
                    <a:cubicBezTo>
                      <a:pt x="225501" y="129230"/>
                      <a:pt x="173193" y="178461"/>
                      <a:pt x="127039" y="215385"/>
                    </a:cubicBezTo>
                    <a:cubicBezTo>
                      <a:pt x="96270" y="240000"/>
                      <a:pt x="37810" y="267692"/>
                      <a:pt x="28579" y="267692"/>
                    </a:cubicBezTo>
                    <a:cubicBezTo>
                      <a:pt x="22425" y="267692"/>
                      <a:pt x="-5268" y="261538"/>
                      <a:pt x="886" y="230769"/>
                    </a:cubicBezTo>
                    <a:cubicBezTo>
                      <a:pt x="22425" y="163077"/>
                      <a:pt x="130117" y="3076"/>
                      <a:pt x="130117" y="307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9B1F6876-3EB9-47C9-8FC4-AA17F4A2BD91}"/>
                  </a:ext>
                </a:extLst>
              </p:cNvPr>
              <p:cNvSpPr/>
              <p:nvPr/>
            </p:nvSpPr>
            <p:spPr>
              <a:xfrm>
                <a:off x="12175620" y="8436180"/>
                <a:ext cx="164995" cy="249565"/>
              </a:xfrm>
              <a:custGeom>
                <a:avLst/>
                <a:gdLst>
                  <a:gd name="connsiteX0" fmla="*/ 9611 w 164995"/>
                  <a:gd name="connsiteY0" fmla="*/ 15385 h 249565"/>
                  <a:gd name="connsiteX1" fmla="*/ 68072 w 164995"/>
                  <a:gd name="connsiteY1" fmla="*/ 98461 h 249565"/>
                  <a:gd name="connsiteX2" fmla="*/ 3457 w 164995"/>
                  <a:gd name="connsiteY2" fmla="*/ 249230 h 249565"/>
                  <a:gd name="connsiteX3" fmla="*/ 157303 w 164995"/>
                  <a:gd name="connsiteY3" fmla="*/ 129230 h 249565"/>
                  <a:gd name="connsiteX4" fmla="*/ 163457 w 164995"/>
                  <a:gd name="connsiteY4" fmla="*/ 95384 h 249565"/>
                  <a:gd name="connsiteX5" fmla="*/ 114225 w 164995"/>
                  <a:gd name="connsiteY5" fmla="*/ 0 h 249565"/>
                  <a:gd name="connsiteX6" fmla="*/ 9611 w 164995"/>
                  <a:gd name="connsiteY6" fmla="*/ 15385 h 249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4995" h="249565">
                    <a:moveTo>
                      <a:pt x="9611" y="15385"/>
                    </a:moveTo>
                    <a:lnTo>
                      <a:pt x="68072" y="98461"/>
                    </a:lnTo>
                    <a:cubicBezTo>
                      <a:pt x="68072" y="98461"/>
                      <a:pt x="-18082" y="240000"/>
                      <a:pt x="3457" y="249230"/>
                    </a:cubicBezTo>
                    <a:cubicBezTo>
                      <a:pt x="18842" y="255384"/>
                      <a:pt x="117303" y="175384"/>
                      <a:pt x="157303" y="129230"/>
                    </a:cubicBezTo>
                    <a:cubicBezTo>
                      <a:pt x="169610" y="113846"/>
                      <a:pt x="163457" y="95384"/>
                      <a:pt x="163457" y="95384"/>
                    </a:cubicBezTo>
                    <a:lnTo>
                      <a:pt x="114225" y="0"/>
                    </a:lnTo>
                    <a:lnTo>
                      <a:pt x="9611" y="15385"/>
                    </a:ln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2" name="图形 1">
              <a:extLst>
                <a:ext uri="{FF2B5EF4-FFF2-40B4-BE49-F238E27FC236}">
                  <a16:creationId xmlns:a16="http://schemas.microsoft.com/office/drawing/2014/main" id="{B1BD1EF4-291C-4923-9781-D9D6AF5CEE6D}"/>
                </a:ext>
              </a:extLst>
            </p:cNvPr>
            <p:cNvGrpSpPr/>
            <p:nvPr/>
          </p:nvGrpSpPr>
          <p:grpSpPr>
            <a:xfrm>
              <a:off x="12508179" y="8839257"/>
              <a:ext cx="318590" cy="289707"/>
              <a:chOff x="12508179" y="8839257"/>
              <a:chExt cx="318590" cy="289707"/>
            </a:xfrm>
          </p:grpSpPr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E0C7C2E3-F28B-49F9-8AB9-1B125BB00D12}"/>
                  </a:ext>
                </a:extLst>
              </p:cNvPr>
              <p:cNvSpPr/>
              <p:nvPr/>
            </p:nvSpPr>
            <p:spPr>
              <a:xfrm>
                <a:off x="12508179" y="8937719"/>
                <a:ext cx="318590" cy="191245"/>
              </a:xfrm>
              <a:custGeom>
                <a:avLst/>
                <a:gdLst>
                  <a:gd name="connsiteX0" fmla="*/ 230898 w 318590"/>
                  <a:gd name="connsiteY0" fmla="*/ 0 h 191245"/>
                  <a:gd name="connsiteX1" fmla="*/ 101667 w 318590"/>
                  <a:gd name="connsiteY1" fmla="*/ 101538 h 191245"/>
                  <a:gd name="connsiteX2" fmla="*/ 258590 w 318590"/>
                  <a:gd name="connsiteY2" fmla="*/ 64616 h 191245"/>
                  <a:gd name="connsiteX3" fmla="*/ 317052 w 318590"/>
                  <a:gd name="connsiteY3" fmla="*/ 43077 h 191245"/>
                  <a:gd name="connsiteX4" fmla="*/ 310898 w 318590"/>
                  <a:gd name="connsiteY4" fmla="*/ 129231 h 191245"/>
                  <a:gd name="connsiteX5" fmla="*/ 126282 w 318590"/>
                  <a:gd name="connsiteY5" fmla="*/ 187693 h 191245"/>
                  <a:gd name="connsiteX6" fmla="*/ 15514 w 318590"/>
                  <a:gd name="connsiteY6" fmla="*/ 187693 h 191245"/>
                  <a:gd name="connsiteX7" fmla="*/ 9360 w 318590"/>
                  <a:gd name="connsiteY7" fmla="*/ 141539 h 191245"/>
                  <a:gd name="connsiteX8" fmla="*/ 230898 w 318590"/>
                  <a:gd name="connsiteY8" fmla="*/ 0 h 191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8590" h="191245">
                    <a:moveTo>
                      <a:pt x="230898" y="0"/>
                    </a:moveTo>
                    <a:cubicBezTo>
                      <a:pt x="230898" y="0"/>
                      <a:pt x="92437" y="89231"/>
                      <a:pt x="101667" y="101538"/>
                    </a:cubicBezTo>
                    <a:cubicBezTo>
                      <a:pt x="113974" y="113847"/>
                      <a:pt x="258590" y="64616"/>
                      <a:pt x="258590" y="64616"/>
                    </a:cubicBezTo>
                    <a:lnTo>
                      <a:pt x="317052" y="43077"/>
                    </a:lnTo>
                    <a:cubicBezTo>
                      <a:pt x="317052" y="43077"/>
                      <a:pt x="323206" y="107692"/>
                      <a:pt x="310898" y="129231"/>
                    </a:cubicBezTo>
                    <a:cubicBezTo>
                      <a:pt x="252435" y="160000"/>
                      <a:pt x="184745" y="178461"/>
                      <a:pt x="126282" y="187693"/>
                    </a:cubicBezTo>
                    <a:cubicBezTo>
                      <a:pt x="89359" y="193846"/>
                      <a:pt x="21666" y="190770"/>
                      <a:pt x="15514" y="187693"/>
                    </a:cubicBezTo>
                    <a:cubicBezTo>
                      <a:pt x="9360" y="184615"/>
                      <a:pt x="-12179" y="166154"/>
                      <a:pt x="9360" y="141539"/>
                    </a:cubicBezTo>
                    <a:cubicBezTo>
                      <a:pt x="61668" y="92308"/>
                      <a:pt x="230898" y="0"/>
                      <a:pt x="230898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2BB1C2E8-5F1A-4B30-8E8C-794CFBB09A70}"/>
                  </a:ext>
                </a:extLst>
              </p:cNvPr>
              <p:cNvSpPr/>
              <p:nvPr/>
            </p:nvSpPr>
            <p:spPr>
              <a:xfrm>
                <a:off x="12609088" y="8839257"/>
                <a:ext cx="216143" cy="203293"/>
              </a:xfrm>
              <a:custGeom>
                <a:avLst/>
                <a:gdLst>
                  <a:gd name="connsiteX0" fmla="*/ 117681 w 216143"/>
                  <a:gd name="connsiteY0" fmla="*/ 0 h 203293"/>
                  <a:gd name="connsiteX1" fmla="*/ 129990 w 216143"/>
                  <a:gd name="connsiteY1" fmla="*/ 98462 h 203293"/>
                  <a:gd name="connsiteX2" fmla="*/ 759 w 216143"/>
                  <a:gd name="connsiteY2" fmla="*/ 200000 h 203293"/>
                  <a:gd name="connsiteX3" fmla="*/ 194604 w 216143"/>
                  <a:gd name="connsiteY3" fmla="*/ 166155 h 203293"/>
                  <a:gd name="connsiteX4" fmla="*/ 216143 w 216143"/>
                  <a:gd name="connsiteY4" fmla="*/ 141539 h 203293"/>
                  <a:gd name="connsiteX5" fmla="*/ 216143 w 216143"/>
                  <a:gd name="connsiteY5" fmla="*/ 33846 h 203293"/>
                  <a:gd name="connsiteX6" fmla="*/ 117681 w 216143"/>
                  <a:gd name="connsiteY6" fmla="*/ 0 h 203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143" h="203293">
                    <a:moveTo>
                      <a:pt x="117681" y="0"/>
                    </a:moveTo>
                    <a:lnTo>
                      <a:pt x="129990" y="98462"/>
                    </a:lnTo>
                    <a:cubicBezTo>
                      <a:pt x="129990" y="98462"/>
                      <a:pt x="-11550" y="181539"/>
                      <a:pt x="759" y="200000"/>
                    </a:cubicBezTo>
                    <a:cubicBezTo>
                      <a:pt x="9989" y="212308"/>
                      <a:pt x="136142" y="187693"/>
                      <a:pt x="194604" y="166155"/>
                    </a:cubicBezTo>
                    <a:cubicBezTo>
                      <a:pt x="213065" y="160000"/>
                      <a:pt x="216143" y="141539"/>
                      <a:pt x="216143" y="141539"/>
                    </a:cubicBezTo>
                    <a:lnTo>
                      <a:pt x="216143" y="33846"/>
                    </a:lnTo>
                    <a:lnTo>
                      <a:pt x="117681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E50F5889-894D-4D6F-9553-A34A61261138}"/>
                </a:ext>
              </a:extLst>
            </p:cNvPr>
            <p:cNvSpPr/>
            <p:nvPr/>
          </p:nvSpPr>
          <p:spPr>
            <a:xfrm>
              <a:off x="11582112" y="6299935"/>
              <a:ext cx="757877" cy="335067"/>
            </a:xfrm>
            <a:custGeom>
              <a:avLst/>
              <a:gdLst>
                <a:gd name="connsiteX0" fmla="*/ 627734 w 757877"/>
                <a:gd name="connsiteY0" fmla="*/ 860 h 335067"/>
                <a:gd name="connsiteX1" fmla="*/ 326196 w 757877"/>
                <a:gd name="connsiteY1" fmla="*/ 173167 h 335067"/>
                <a:gd name="connsiteX2" fmla="*/ 36965 w 757877"/>
                <a:gd name="connsiteY2" fmla="*/ 860 h 335067"/>
                <a:gd name="connsiteX3" fmla="*/ 41 w 757877"/>
                <a:gd name="connsiteY3" fmla="*/ 74706 h 335067"/>
                <a:gd name="connsiteX4" fmla="*/ 338503 w 757877"/>
                <a:gd name="connsiteY4" fmla="*/ 333168 h 335067"/>
                <a:gd name="connsiteX5" fmla="*/ 732349 w 757877"/>
                <a:gd name="connsiteY5" fmla="*/ 163937 h 335067"/>
                <a:gd name="connsiteX6" fmla="*/ 627734 w 757877"/>
                <a:gd name="connsiteY6" fmla="*/ 860 h 335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7877" h="335067">
                  <a:moveTo>
                    <a:pt x="627734" y="860"/>
                  </a:moveTo>
                  <a:cubicBezTo>
                    <a:pt x="556966" y="10091"/>
                    <a:pt x="326196" y="173167"/>
                    <a:pt x="326196" y="173167"/>
                  </a:cubicBezTo>
                  <a:cubicBezTo>
                    <a:pt x="326196" y="173167"/>
                    <a:pt x="40041" y="-2217"/>
                    <a:pt x="36965" y="860"/>
                  </a:cubicBezTo>
                  <a:cubicBezTo>
                    <a:pt x="-12265" y="28553"/>
                    <a:pt x="15426" y="22398"/>
                    <a:pt x="41" y="74706"/>
                  </a:cubicBezTo>
                  <a:cubicBezTo>
                    <a:pt x="-3035" y="83937"/>
                    <a:pt x="166196" y="280860"/>
                    <a:pt x="338503" y="333168"/>
                  </a:cubicBezTo>
                  <a:cubicBezTo>
                    <a:pt x="390811" y="348552"/>
                    <a:pt x="646195" y="268552"/>
                    <a:pt x="732349" y="163937"/>
                  </a:cubicBezTo>
                  <a:cubicBezTo>
                    <a:pt x="781581" y="111629"/>
                    <a:pt x="766196" y="-11448"/>
                    <a:pt x="627734" y="860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D211B080-DE4A-4C10-AD86-E3DC6072E27C}"/>
                </a:ext>
              </a:extLst>
            </p:cNvPr>
            <p:cNvSpPr/>
            <p:nvPr/>
          </p:nvSpPr>
          <p:spPr>
            <a:xfrm>
              <a:off x="11463863" y="6180530"/>
              <a:ext cx="178244" cy="197871"/>
            </a:xfrm>
            <a:custGeom>
              <a:avLst/>
              <a:gdLst>
                <a:gd name="connsiteX0" fmla="*/ 25982 w 178244"/>
                <a:gd name="connsiteY0" fmla="*/ 147958 h 197871"/>
                <a:gd name="connsiteX1" fmla="*/ 121368 w 178244"/>
                <a:gd name="connsiteY1" fmla="*/ 197188 h 197871"/>
                <a:gd name="connsiteX2" fmla="*/ 176752 w 178244"/>
                <a:gd name="connsiteY2" fmla="*/ 135649 h 197871"/>
                <a:gd name="connsiteX3" fmla="*/ 44445 w 178244"/>
                <a:gd name="connsiteY3" fmla="*/ 265 h 197871"/>
                <a:gd name="connsiteX4" fmla="*/ 25982 w 178244"/>
                <a:gd name="connsiteY4" fmla="*/ 27957 h 197871"/>
                <a:gd name="connsiteX5" fmla="*/ 1367 w 178244"/>
                <a:gd name="connsiteY5" fmla="*/ 58726 h 197871"/>
                <a:gd name="connsiteX6" fmla="*/ 1367 w 178244"/>
                <a:gd name="connsiteY6" fmla="*/ 83342 h 197871"/>
                <a:gd name="connsiteX7" fmla="*/ 10598 w 178244"/>
                <a:gd name="connsiteY7" fmla="*/ 120265 h 197871"/>
                <a:gd name="connsiteX8" fmla="*/ 25982 w 178244"/>
                <a:gd name="connsiteY8" fmla="*/ 147958 h 19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8244" h="197871">
                  <a:moveTo>
                    <a:pt x="25982" y="147958"/>
                  </a:moveTo>
                  <a:cubicBezTo>
                    <a:pt x="50597" y="166419"/>
                    <a:pt x="87521" y="203342"/>
                    <a:pt x="121368" y="197188"/>
                  </a:cubicBezTo>
                  <a:cubicBezTo>
                    <a:pt x="142905" y="194112"/>
                    <a:pt x="176752" y="135649"/>
                    <a:pt x="176752" y="135649"/>
                  </a:cubicBezTo>
                  <a:cubicBezTo>
                    <a:pt x="192137" y="77188"/>
                    <a:pt x="84445" y="21804"/>
                    <a:pt x="44445" y="265"/>
                  </a:cubicBezTo>
                  <a:cubicBezTo>
                    <a:pt x="38291" y="-2812"/>
                    <a:pt x="19828" y="21804"/>
                    <a:pt x="25982" y="27957"/>
                  </a:cubicBezTo>
                  <a:cubicBezTo>
                    <a:pt x="35213" y="40265"/>
                    <a:pt x="4443" y="49496"/>
                    <a:pt x="1367" y="58726"/>
                  </a:cubicBezTo>
                  <a:cubicBezTo>
                    <a:pt x="-1709" y="67958"/>
                    <a:pt x="1367" y="83342"/>
                    <a:pt x="1367" y="83342"/>
                  </a:cubicBezTo>
                  <a:cubicBezTo>
                    <a:pt x="1367" y="95650"/>
                    <a:pt x="10598" y="114111"/>
                    <a:pt x="10598" y="120265"/>
                  </a:cubicBezTo>
                  <a:cubicBezTo>
                    <a:pt x="7521" y="132573"/>
                    <a:pt x="10598" y="135649"/>
                    <a:pt x="25982" y="147958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261527BF-0F55-4C55-A61D-089C55607FA2}"/>
                </a:ext>
              </a:extLst>
            </p:cNvPr>
            <p:cNvSpPr/>
            <p:nvPr/>
          </p:nvSpPr>
          <p:spPr>
            <a:xfrm>
              <a:off x="12129845" y="6154625"/>
              <a:ext cx="354527" cy="380015"/>
            </a:xfrm>
            <a:custGeom>
              <a:avLst/>
              <a:gdLst>
                <a:gd name="connsiteX0" fmla="*/ 163078 w 354527"/>
                <a:gd name="connsiteY0" fmla="*/ 380016 h 380015"/>
                <a:gd name="connsiteX1" fmla="*/ 347694 w 354527"/>
                <a:gd name="connsiteY1" fmla="*/ 23093 h 380015"/>
                <a:gd name="connsiteX2" fmla="*/ 0 w 354527"/>
                <a:gd name="connsiteY2" fmla="*/ 155401 h 380015"/>
                <a:gd name="connsiteX3" fmla="*/ 163078 w 354527"/>
                <a:gd name="connsiteY3" fmla="*/ 380016 h 38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4527" h="380015">
                  <a:moveTo>
                    <a:pt x="163078" y="380016"/>
                  </a:moveTo>
                  <a:cubicBezTo>
                    <a:pt x="264617" y="272324"/>
                    <a:pt x="384615" y="78478"/>
                    <a:pt x="347694" y="23093"/>
                  </a:cubicBezTo>
                  <a:cubicBezTo>
                    <a:pt x="298462" y="-44599"/>
                    <a:pt x="92308" y="47709"/>
                    <a:pt x="0" y="155401"/>
                  </a:cubicBezTo>
                  <a:cubicBezTo>
                    <a:pt x="21539" y="213862"/>
                    <a:pt x="89232" y="346170"/>
                    <a:pt x="163078" y="380016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67CB401F-29FA-42BD-BEC0-49F4EF24474B}"/>
                </a:ext>
              </a:extLst>
            </p:cNvPr>
            <p:cNvSpPr/>
            <p:nvPr/>
          </p:nvSpPr>
          <p:spPr>
            <a:xfrm>
              <a:off x="11890807" y="6879257"/>
              <a:ext cx="1091864" cy="2021537"/>
            </a:xfrm>
            <a:custGeom>
              <a:avLst/>
              <a:gdLst>
                <a:gd name="connsiteX0" fmla="*/ 983654 w 1091864"/>
                <a:gd name="connsiteY0" fmla="*/ 0 h 2021537"/>
                <a:gd name="connsiteX1" fmla="*/ 454422 w 1091864"/>
                <a:gd name="connsiteY1" fmla="*/ 9230 h 2021537"/>
                <a:gd name="connsiteX2" fmla="*/ 14423 w 1091864"/>
                <a:gd name="connsiteY2" fmla="*/ 747692 h 2021537"/>
                <a:gd name="connsiteX3" fmla="*/ 5192 w 1091864"/>
                <a:gd name="connsiteY3" fmla="*/ 836923 h 2021537"/>
                <a:gd name="connsiteX4" fmla="*/ 297500 w 1091864"/>
                <a:gd name="connsiteY4" fmla="*/ 1652307 h 2021537"/>
                <a:gd name="connsiteX5" fmla="*/ 445192 w 1091864"/>
                <a:gd name="connsiteY5" fmla="*/ 1575384 h 2021537"/>
                <a:gd name="connsiteX6" fmla="*/ 300576 w 1091864"/>
                <a:gd name="connsiteY6" fmla="*/ 861538 h 2021537"/>
                <a:gd name="connsiteX7" fmla="*/ 629807 w 1091864"/>
                <a:gd name="connsiteY7" fmla="*/ 556923 h 2021537"/>
                <a:gd name="connsiteX8" fmla="*/ 808269 w 1091864"/>
                <a:gd name="connsiteY8" fmla="*/ 2021538 h 2021537"/>
                <a:gd name="connsiteX9" fmla="*/ 965193 w 1091864"/>
                <a:gd name="connsiteY9" fmla="*/ 2021538 h 2021537"/>
                <a:gd name="connsiteX10" fmla="*/ 1091346 w 1091864"/>
                <a:gd name="connsiteY10" fmla="*/ 335384 h 2021537"/>
                <a:gd name="connsiteX11" fmla="*/ 983654 w 1091864"/>
                <a:gd name="connsiteY11" fmla="*/ 0 h 202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91864" h="2021537">
                  <a:moveTo>
                    <a:pt x="983654" y="0"/>
                  </a:moveTo>
                  <a:lnTo>
                    <a:pt x="454422" y="9230"/>
                  </a:lnTo>
                  <a:lnTo>
                    <a:pt x="14423" y="747692"/>
                  </a:lnTo>
                  <a:cubicBezTo>
                    <a:pt x="-962" y="775384"/>
                    <a:pt x="-4038" y="806153"/>
                    <a:pt x="5192" y="836923"/>
                  </a:cubicBezTo>
                  <a:lnTo>
                    <a:pt x="297500" y="1652307"/>
                  </a:lnTo>
                  <a:lnTo>
                    <a:pt x="445192" y="1575384"/>
                  </a:lnTo>
                  <a:lnTo>
                    <a:pt x="300576" y="861538"/>
                  </a:lnTo>
                  <a:lnTo>
                    <a:pt x="629807" y="556923"/>
                  </a:lnTo>
                  <a:lnTo>
                    <a:pt x="808269" y="2021538"/>
                  </a:lnTo>
                  <a:lnTo>
                    <a:pt x="965193" y="2021538"/>
                  </a:lnTo>
                  <a:cubicBezTo>
                    <a:pt x="965193" y="2021538"/>
                    <a:pt x="1082116" y="430769"/>
                    <a:pt x="1091346" y="335384"/>
                  </a:cubicBezTo>
                  <a:cubicBezTo>
                    <a:pt x="1100576" y="236923"/>
                    <a:pt x="983654" y="0"/>
                    <a:pt x="983654" y="0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AF59B24D-3285-41A0-8BB6-0C31F2CF0CF3}"/>
                </a:ext>
              </a:extLst>
            </p:cNvPr>
            <p:cNvSpPr/>
            <p:nvPr/>
          </p:nvSpPr>
          <p:spPr>
            <a:xfrm>
              <a:off x="12514461" y="7266950"/>
              <a:ext cx="190769" cy="1639999"/>
            </a:xfrm>
            <a:custGeom>
              <a:avLst/>
              <a:gdLst>
                <a:gd name="connsiteX0" fmla="*/ 184615 w 190769"/>
                <a:gd name="connsiteY0" fmla="*/ 1640000 h 1639999"/>
                <a:gd name="connsiteX1" fmla="*/ 178463 w 190769"/>
                <a:gd name="connsiteY1" fmla="*/ 1633845 h 1639999"/>
                <a:gd name="connsiteX2" fmla="*/ 0 w 190769"/>
                <a:gd name="connsiteY2" fmla="*/ 169231 h 1639999"/>
                <a:gd name="connsiteX3" fmla="*/ 9232 w 190769"/>
                <a:gd name="connsiteY3" fmla="*/ 6153 h 1639999"/>
                <a:gd name="connsiteX4" fmla="*/ 15385 w 190769"/>
                <a:gd name="connsiteY4" fmla="*/ 0 h 1639999"/>
                <a:gd name="connsiteX5" fmla="*/ 21539 w 190769"/>
                <a:gd name="connsiteY5" fmla="*/ 6153 h 1639999"/>
                <a:gd name="connsiteX6" fmla="*/ 12308 w 190769"/>
                <a:gd name="connsiteY6" fmla="*/ 169231 h 1639999"/>
                <a:gd name="connsiteX7" fmla="*/ 190770 w 190769"/>
                <a:gd name="connsiteY7" fmla="*/ 1630769 h 1639999"/>
                <a:gd name="connsiteX8" fmla="*/ 184615 w 190769"/>
                <a:gd name="connsiteY8" fmla="*/ 1640000 h 1639999"/>
                <a:gd name="connsiteX9" fmla="*/ 184615 w 190769"/>
                <a:gd name="connsiteY9" fmla="*/ 1640000 h 163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769" h="1639999">
                  <a:moveTo>
                    <a:pt x="184615" y="1640000"/>
                  </a:moveTo>
                  <a:cubicBezTo>
                    <a:pt x="181539" y="1640000"/>
                    <a:pt x="178463" y="1636923"/>
                    <a:pt x="178463" y="1633845"/>
                  </a:cubicBezTo>
                  <a:lnTo>
                    <a:pt x="0" y="169231"/>
                  </a:lnTo>
                  <a:lnTo>
                    <a:pt x="9232" y="6153"/>
                  </a:lnTo>
                  <a:cubicBezTo>
                    <a:pt x="9232" y="3076"/>
                    <a:pt x="12308" y="0"/>
                    <a:pt x="15385" y="0"/>
                  </a:cubicBezTo>
                  <a:cubicBezTo>
                    <a:pt x="18463" y="0"/>
                    <a:pt x="21539" y="3076"/>
                    <a:pt x="21539" y="6153"/>
                  </a:cubicBezTo>
                  <a:lnTo>
                    <a:pt x="12308" y="169231"/>
                  </a:lnTo>
                  <a:lnTo>
                    <a:pt x="190770" y="1630769"/>
                  </a:lnTo>
                  <a:cubicBezTo>
                    <a:pt x="190770" y="1636923"/>
                    <a:pt x="187693" y="1640000"/>
                    <a:pt x="184615" y="1640000"/>
                  </a:cubicBezTo>
                  <a:cubicBezTo>
                    <a:pt x="184615" y="1640000"/>
                    <a:pt x="184615" y="1640000"/>
                    <a:pt x="184615" y="1640000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A2BABB29-314C-4C2F-A5BE-E1439A00657E}"/>
                </a:ext>
              </a:extLst>
            </p:cNvPr>
            <p:cNvSpPr/>
            <p:nvPr/>
          </p:nvSpPr>
          <p:spPr>
            <a:xfrm>
              <a:off x="12283414" y="6109386"/>
              <a:ext cx="639309" cy="793825"/>
            </a:xfrm>
            <a:custGeom>
              <a:avLst/>
              <a:gdLst>
                <a:gd name="connsiteX0" fmla="*/ 603355 w 639309"/>
                <a:gd name="connsiteY0" fmla="*/ 317563 h 793825"/>
                <a:gd name="connsiteX1" fmla="*/ 591047 w 639309"/>
                <a:gd name="connsiteY1" fmla="*/ 56025 h 793825"/>
                <a:gd name="connsiteX2" fmla="*/ 295663 w 639309"/>
                <a:gd name="connsiteY2" fmla="*/ 3717 h 793825"/>
                <a:gd name="connsiteX3" fmla="*/ 52585 w 639309"/>
                <a:gd name="connsiteY3" fmla="*/ 86794 h 793825"/>
                <a:gd name="connsiteX4" fmla="*/ 55663 w 639309"/>
                <a:gd name="connsiteY4" fmla="*/ 788333 h 793825"/>
                <a:gd name="connsiteX5" fmla="*/ 600277 w 639309"/>
                <a:gd name="connsiteY5" fmla="*/ 776025 h 793825"/>
                <a:gd name="connsiteX6" fmla="*/ 603355 w 639309"/>
                <a:gd name="connsiteY6" fmla="*/ 317563 h 79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9309" h="793825">
                  <a:moveTo>
                    <a:pt x="603355" y="317563"/>
                  </a:moveTo>
                  <a:cubicBezTo>
                    <a:pt x="612586" y="292948"/>
                    <a:pt x="686432" y="108333"/>
                    <a:pt x="591047" y="56025"/>
                  </a:cubicBezTo>
                  <a:cubicBezTo>
                    <a:pt x="507969" y="9871"/>
                    <a:pt x="387970" y="-8590"/>
                    <a:pt x="295663" y="3717"/>
                  </a:cubicBezTo>
                  <a:cubicBezTo>
                    <a:pt x="191047" y="16025"/>
                    <a:pt x="86432" y="34486"/>
                    <a:pt x="52585" y="86794"/>
                  </a:cubicBezTo>
                  <a:cubicBezTo>
                    <a:pt x="-61262" y="256025"/>
                    <a:pt x="43355" y="683717"/>
                    <a:pt x="55663" y="788333"/>
                  </a:cubicBezTo>
                  <a:cubicBezTo>
                    <a:pt x="55663" y="788333"/>
                    <a:pt x="286432" y="806794"/>
                    <a:pt x="600277" y="776025"/>
                  </a:cubicBezTo>
                  <a:cubicBezTo>
                    <a:pt x="615662" y="588333"/>
                    <a:pt x="597201" y="336025"/>
                    <a:pt x="603355" y="317563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A7185A81-743B-4152-BE0F-05E6EB9C30EB}"/>
                </a:ext>
              </a:extLst>
            </p:cNvPr>
            <p:cNvSpPr/>
            <p:nvPr/>
          </p:nvSpPr>
          <p:spPr>
            <a:xfrm>
              <a:off x="12489846" y="5968488"/>
              <a:ext cx="249231" cy="181720"/>
            </a:xfrm>
            <a:custGeom>
              <a:avLst/>
              <a:gdLst>
                <a:gd name="connsiteX0" fmla="*/ 43078 w 249231"/>
                <a:gd name="connsiteY0" fmla="*/ 49231 h 181720"/>
                <a:gd name="connsiteX1" fmla="*/ 0 w 249231"/>
                <a:gd name="connsiteY1" fmla="*/ 163077 h 181720"/>
                <a:gd name="connsiteX2" fmla="*/ 249232 w 249231"/>
                <a:gd name="connsiteY2" fmla="*/ 150769 h 181720"/>
                <a:gd name="connsiteX3" fmla="*/ 206154 w 249231"/>
                <a:gd name="connsiteY3" fmla="*/ 0 h 181720"/>
                <a:gd name="connsiteX4" fmla="*/ 43078 w 249231"/>
                <a:gd name="connsiteY4" fmla="*/ 49231 h 18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231" h="181720">
                  <a:moveTo>
                    <a:pt x="43078" y="49231"/>
                  </a:moveTo>
                  <a:cubicBezTo>
                    <a:pt x="43078" y="49231"/>
                    <a:pt x="46154" y="138462"/>
                    <a:pt x="0" y="163077"/>
                  </a:cubicBezTo>
                  <a:cubicBezTo>
                    <a:pt x="0" y="163077"/>
                    <a:pt x="144616" y="212308"/>
                    <a:pt x="249232" y="150769"/>
                  </a:cubicBezTo>
                  <a:cubicBezTo>
                    <a:pt x="206154" y="116923"/>
                    <a:pt x="206154" y="49231"/>
                    <a:pt x="206154" y="0"/>
                  </a:cubicBezTo>
                  <a:cubicBezTo>
                    <a:pt x="206154" y="0"/>
                    <a:pt x="86153" y="55385"/>
                    <a:pt x="43078" y="49231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F3F14EB3-2B49-450E-BD09-846A184E7F4B}"/>
                </a:ext>
              </a:extLst>
            </p:cNvPr>
            <p:cNvSpPr/>
            <p:nvPr/>
          </p:nvSpPr>
          <p:spPr>
            <a:xfrm>
              <a:off x="12281093" y="6171565"/>
              <a:ext cx="70291" cy="470768"/>
            </a:xfrm>
            <a:custGeom>
              <a:avLst/>
              <a:gdLst>
                <a:gd name="connsiteX0" fmla="*/ 11831 w 70291"/>
                <a:gd name="connsiteY0" fmla="*/ 470769 h 470768"/>
                <a:gd name="connsiteX1" fmla="*/ 5677 w 70291"/>
                <a:gd name="connsiteY1" fmla="*/ 467692 h 470768"/>
                <a:gd name="connsiteX2" fmla="*/ 57985 w 70291"/>
                <a:gd name="connsiteY2" fmla="*/ 3077 h 470768"/>
                <a:gd name="connsiteX3" fmla="*/ 67215 w 70291"/>
                <a:gd name="connsiteY3" fmla="*/ 0 h 470768"/>
                <a:gd name="connsiteX4" fmla="*/ 70291 w 70291"/>
                <a:gd name="connsiteY4" fmla="*/ 9230 h 470768"/>
                <a:gd name="connsiteX5" fmla="*/ 17983 w 70291"/>
                <a:gd name="connsiteY5" fmla="*/ 464616 h 470768"/>
                <a:gd name="connsiteX6" fmla="*/ 11831 w 70291"/>
                <a:gd name="connsiteY6" fmla="*/ 470769 h 470768"/>
                <a:gd name="connsiteX7" fmla="*/ 11831 w 70291"/>
                <a:gd name="connsiteY7" fmla="*/ 470769 h 47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291" h="470768">
                  <a:moveTo>
                    <a:pt x="11831" y="470769"/>
                  </a:moveTo>
                  <a:cubicBezTo>
                    <a:pt x="8753" y="470769"/>
                    <a:pt x="5677" y="467692"/>
                    <a:pt x="5677" y="467692"/>
                  </a:cubicBezTo>
                  <a:cubicBezTo>
                    <a:pt x="-9708" y="412308"/>
                    <a:pt x="5677" y="83076"/>
                    <a:pt x="57985" y="3077"/>
                  </a:cubicBezTo>
                  <a:cubicBezTo>
                    <a:pt x="61061" y="0"/>
                    <a:pt x="64137" y="0"/>
                    <a:pt x="67215" y="0"/>
                  </a:cubicBezTo>
                  <a:cubicBezTo>
                    <a:pt x="70291" y="3077"/>
                    <a:pt x="70291" y="6154"/>
                    <a:pt x="70291" y="9230"/>
                  </a:cubicBezTo>
                  <a:cubicBezTo>
                    <a:pt x="21061" y="86153"/>
                    <a:pt x="5677" y="412308"/>
                    <a:pt x="17983" y="464616"/>
                  </a:cubicBezTo>
                  <a:cubicBezTo>
                    <a:pt x="17983" y="467692"/>
                    <a:pt x="17983" y="470769"/>
                    <a:pt x="11831" y="470769"/>
                  </a:cubicBezTo>
                  <a:cubicBezTo>
                    <a:pt x="14907" y="470769"/>
                    <a:pt x="14907" y="470769"/>
                    <a:pt x="11831" y="470769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C2A54370-A69D-4819-BAD1-FB46744A5930}"/>
                </a:ext>
              </a:extLst>
            </p:cNvPr>
            <p:cNvSpPr/>
            <p:nvPr/>
          </p:nvSpPr>
          <p:spPr>
            <a:xfrm>
              <a:off x="12468307" y="6119257"/>
              <a:ext cx="292307" cy="49378"/>
            </a:xfrm>
            <a:custGeom>
              <a:avLst/>
              <a:gdLst>
                <a:gd name="connsiteX0" fmla="*/ 30769 w 292307"/>
                <a:gd name="connsiteY0" fmla="*/ 6154 h 49378"/>
                <a:gd name="connsiteX1" fmla="*/ 270771 w 292307"/>
                <a:gd name="connsiteY1" fmla="*/ 0 h 49378"/>
                <a:gd name="connsiteX2" fmla="*/ 292308 w 292307"/>
                <a:gd name="connsiteY2" fmla="*/ 6154 h 49378"/>
                <a:gd name="connsiteX3" fmla="*/ 138462 w 292307"/>
                <a:gd name="connsiteY3" fmla="*/ 49231 h 49378"/>
                <a:gd name="connsiteX4" fmla="*/ 0 w 292307"/>
                <a:gd name="connsiteY4" fmla="*/ 12308 h 49378"/>
                <a:gd name="connsiteX5" fmla="*/ 30769 w 292307"/>
                <a:gd name="connsiteY5" fmla="*/ 6154 h 49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2307" h="49378">
                  <a:moveTo>
                    <a:pt x="30769" y="6154"/>
                  </a:moveTo>
                  <a:cubicBezTo>
                    <a:pt x="30769" y="6154"/>
                    <a:pt x="123077" y="52308"/>
                    <a:pt x="270771" y="0"/>
                  </a:cubicBezTo>
                  <a:lnTo>
                    <a:pt x="292308" y="6154"/>
                  </a:lnTo>
                  <a:cubicBezTo>
                    <a:pt x="292308" y="6154"/>
                    <a:pt x="227693" y="52308"/>
                    <a:pt x="138462" y="49231"/>
                  </a:cubicBezTo>
                  <a:cubicBezTo>
                    <a:pt x="55386" y="49231"/>
                    <a:pt x="0" y="12308"/>
                    <a:pt x="0" y="12308"/>
                  </a:cubicBezTo>
                  <a:cubicBezTo>
                    <a:pt x="0" y="12308"/>
                    <a:pt x="15385" y="6154"/>
                    <a:pt x="30769" y="6154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8D7555CE-D2B2-4430-BAC2-B044F5E3C35C}"/>
                </a:ext>
              </a:extLst>
            </p:cNvPr>
            <p:cNvSpPr/>
            <p:nvPr/>
          </p:nvSpPr>
          <p:spPr>
            <a:xfrm>
              <a:off x="12830450" y="6221625"/>
              <a:ext cx="773242" cy="511493"/>
            </a:xfrm>
            <a:custGeom>
              <a:avLst/>
              <a:gdLst>
                <a:gd name="connsiteX0" fmla="*/ 4011 w 773242"/>
                <a:gd name="connsiteY0" fmla="*/ 91478 h 511493"/>
                <a:gd name="connsiteX1" fmla="*/ 164012 w 773242"/>
                <a:gd name="connsiteY1" fmla="*/ 73017 h 511493"/>
                <a:gd name="connsiteX2" fmla="*/ 422472 w 773242"/>
                <a:gd name="connsiteY2" fmla="*/ 353017 h 511493"/>
                <a:gd name="connsiteX3" fmla="*/ 739397 w 773242"/>
                <a:gd name="connsiteY3" fmla="*/ 334555 h 511493"/>
                <a:gd name="connsiteX4" fmla="*/ 773242 w 773242"/>
                <a:gd name="connsiteY4" fmla="*/ 429940 h 511493"/>
                <a:gd name="connsiteX5" fmla="*/ 330165 w 773242"/>
                <a:gd name="connsiteY5" fmla="*/ 500709 h 511493"/>
                <a:gd name="connsiteX6" fmla="*/ 4011 w 773242"/>
                <a:gd name="connsiteY6" fmla="*/ 91478 h 51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3242" h="511493">
                  <a:moveTo>
                    <a:pt x="4011" y="91478"/>
                  </a:moveTo>
                  <a:cubicBezTo>
                    <a:pt x="47089" y="-50060"/>
                    <a:pt x="93243" y="-3907"/>
                    <a:pt x="164012" y="73017"/>
                  </a:cubicBezTo>
                  <a:cubicBezTo>
                    <a:pt x="237857" y="156093"/>
                    <a:pt x="397857" y="340708"/>
                    <a:pt x="422472" y="353017"/>
                  </a:cubicBezTo>
                  <a:cubicBezTo>
                    <a:pt x="471704" y="349940"/>
                    <a:pt x="739397" y="334555"/>
                    <a:pt x="739397" y="334555"/>
                  </a:cubicBezTo>
                  <a:cubicBezTo>
                    <a:pt x="733243" y="359170"/>
                    <a:pt x="773242" y="429940"/>
                    <a:pt x="773242" y="429940"/>
                  </a:cubicBezTo>
                  <a:cubicBezTo>
                    <a:pt x="773242" y="429940"/>
                    <a:pt x="428626" y="546863"/>
                    <a:pt x="330165" y="500709"/>
                  </a:cubicBezTo>
                  <a:cubicBezTo>
                    <a:pt x="277858" y="479170"/>
                    <a:pt x="-39066" y="236093"/>
                    <a:pt x="4011" y="91478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D1DFE5D5-CC79-4787-8A61-7905171679BB}"/>
                </a:ext>
              </a:extLst>
            </p:cNvPr>
            <p:cNvSpPr/>
            <p:nvPr/>
          </p:nvSpPr>
          <p:spPr>
            <a:xfrm>
              <a:off x="12755485" y="6150203"/>
              <a:ext cx="325129" cy="359823"/>
            </a:xfrm>
            <a:custGeom>
              <a:avLst/>
              <a:gdLst>
                <a:gd name="connsiteX0" fmla="*/ 325130 w 325129"/>
                <a:gd name="connsiteY0" fmla="*/ 184438 h 359823"/>
                <a:gd name="connsiteX1" fmla="*/ 54361 w 325129"/>
                <a:gd name="connsiteY1" fmla="*/ 2900 h 359823"/>
                <a:gd name="connsiteX2" fmla="*/ 75900 w 325129"/>
                <a:gd name="connsiteY2" fmla="*/ 359823 h 359823"/>
                <a:gd name="connsiteX3" fmla="*/ 325130 w 325129"/>
                <a:gd name="connsiteY3" fmla="*/ 184438 h 35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5129" h="359823">
                  <a:moveTo>
                    <a:pt x="325130" y="184438"/>
                  </a:moveTo>
                  <a:cubicBezTo>
                    <a:pt x="254361" y="55207"/>
                    <a:pt x="115899" y="-15562"/>
                    <a:pt x="54361" y="2900"/>
                  </a:cubicBezTo>
                  <a:cubicBezTo>
                    <a:pt x="-25640" y="27515"/>
                    <a:pt x="-16408" y="221362"/>
                    <a:pt x="75900" y="359823"/>
                  </a:cubicBezTo>
                  <a:cubicBezTo>
                    <a:pt x="137438" y="356746"/>
                    <a:pt x="266668" y="245977"/>
                    <a:pt x="325130" y="184438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6CF730F4-DD88-49D4-8FDF-43679D7F0821}"/>
                </a:ext>
              </a:extLst>
            </p:cNvPr>
            <p:cNvSpPr/>
            <p:nvPr/>
          </p:nvSpPr>
          <p:spPr>
            <a:xfrm>
              <a:off x="12750099" y="6161059"/>
              <a:ext cx="196498" cy="352044"/>
            </a:xfrm>
            <a:custGeom>
              <a:avLst/>
              <a:gdLst>
                <a:gd name="connsiteX0" fmla="*/ 84362 w 196498"/>
                <a:gd name="connsiteY0" fmla="*/ 352044 h 352044"/>
                <a:gd name="connsiteX1" fmla="*/ 78208 w 196498"/>
                <a:gd name="connsiteY1" fmla="*/ 352044 h 352044"/>
                <a:gd name="connsiteX2" fmla="*/ 78208 w 196498"/>
                <a:gd name="connsiteY2" fmla="*/ 352044 h 352044"/>
                <a:gd name="connsiteX3" fmla="*/ 78208 w 196498"/>
                <a:gd name="connsiteY3" fmla="*/ 352044 h 352044"/>
                <a:gd name="connsiteX4" fmla="*/ 4363 w 196498"/>
                <a:gd name="connsiteY4" fmla="*/ 50505 h 352044"/>
                <a:gd name="connsiteX5" fmla="*/ 35132 w 196498"/>
                <a:gd name="connsiteY5" fmla="*/ 1275 h 352044"/>
                <a:gd name="connsiteX6" fmla="*/ 44363 w 196498"/>
                <a:gd name="connsiteY6" fmla="*/ 4351 h 352044"/>
                <a:gd name="connsiteX7" fmla="*/ 41285 w 196498"/>
                <a:gd name="connsiteY7" fmla="*/ 13582 h 352044"/>
                <a:gd name="connsiteX8" fmla="*/ 16670 w 196498"/>
                <a:gd name="connsiteY8" fmla="*/ 56659 h 352044"/>
                <a:gd name="connsiteX9" fmla="*/ 87439 w 196498"/>
                <a:gd name="connsiteY9" fmla="*/ 348967 h 352044"/>
                <a:gd name="connsiteX10" fmla="*/ 185901 w 196498"/>
                <a:gd name="connsiteY10" fmla="*/ 293582 h 352044"/>
                <a:gd name="connsiteX11" fmla="*/ 195131 w 196498"/>
                <a:gd name="connsiteY11" fmla="*/ 293582 h 352044"/>
                <a:gd name="connsiteX12" fmla="*/ 195131 w 196498"/>
                <a:gd name="connsiteY12" fmla="*/ 302813 h 352044"/>
                <a:gd name="connsiteX13" fmla="*/ 84362 w 196498"/>
                <a:gd name="connsiteY13" fmla="*/ 352044 h 352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6498" h="352044">
                  <a:moveTo>
                    <a:pt x="84362" y="352044"/>
                  </a:moveTo>
                  <a:cubicBezTo>
                    <a:pt x="81286" y="352044"/>
                    <a:pt x="78208" y="352044"/>
                    <a:pt x="78208" y="352044"/>
                  </a:cubicBezTo>
                  <a:lnTo>
                    <a:pt x="78208" y="352044"/>
                  </a:lnTo>
                  <a:lnTo>
                    <a:pt x="78208" y="352044"/>
                  </a:lnTo>
                  <a:cubicBezTo>
                    <a:pt x="28978" y="284351"/>
                    <a:pt x="-14100" y="133582"/>
                    <a:pt x="4363" y="50505"/>
                  </a:cubicBezTo>
                  <a:cubicBezTo>
                    <a:pt x="10515" y="25890"/>
                    <a:pt x="19748" y="7428"/>
                    <a:pt x="35132" y="1275"/>
                  </a:cubicBezTo>
                  <a:cubicBezTo>
                    <a:pt x="38209" y="-1803"/>
                    <a:pt x="41285" y="1275"/>
                    <a:pt x="44363" y="4351"/>
                  </a:cubicBezTo>
                  <a:cubicBezTo>
                    <a:pt x="47439" y="7428"/>
                    <a:pt x="44363" y="10505"/>
                    <a:pt x="41285" y="13582"/>
                  </a:cubicBezTo>
                  <a:cubicBezTo>
                    <a:pt x="28978" y="19736"/>
                    <a:pt x="19748" y="35120"/>
                    <a:pt x="16670" y="56659"/>
                  </a:cubicBezTo>
                  <a:cubicBezTo>
                    <a:pt x="1285" y="136659"/>
                    <a:pt x="41285" y="281274"/>
                    <a:pt x="87439" y="348967"/>
                  </a:cubicBezTo>
                  <a:cubicBezTo>
                    <a:pt x="93593" y="348967"/>
                    <a:pt x="118208" y="345890"/>
                    <a:pt x="185901" y="293582"/>
                  </a:cubicBezTo>
                  <a:cubicBezTo>
                    <a:pt x="188979" y="290506"/>
                    <a:pt x="192055" y="293582"/>
                    <a:pt x="195131" y="293582"/>
                  </a:cubicBezTo>
                  <a:cubicBezTo>
                    <a:pt x="198209" y="296659"/>
                    <a:pt x="195131" y="299736"/>
                    <a:pt x="195131" y="302813"/>
                  </a:cubicBezTo>
                  <a:cubicBezTo>
                    <a:pt x="124362" y="345890"/>
                    <a:pt x="96671" y="352044"/>
                    <a:pt x="84362" y="352044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7EB74F3D-E1B2-41A7-A9D1-A470B45F138E}"/>
                </a:ext>
              </a:extLst>
            </p:cNvPr>
            <p:cNvSpPr/>
            <p:nvPr/>
          </p:nvSpPr>
          <p:spPr>
            <a:xfrm>
              <a:off x="12834461" y="7002334"/>
              <a:ext cx="145889" cy="153846"/>
            </a:xfrm>
            <a:custGeom>
              <a:avLst/>
              <a:gdLst>
                <a:gd name="connsiteX0" fmla="*/ 141538 w 145889"/>
                <a:gd name="connsiteY0" fmla="*/ 153846 h 153846"/>
                <a:gd name="connsiteX1" fmla="*/ 141538 w 145889"/>
                <a:gd name="connsiteY1" fmla="*/ 153846 h 153846"/>
                <a:gd name="connsiteX2" fmla="*/ 0 w 145889"/>
                <a:gd name="connsiteY2" fmla="*/ 6153 h 153846"/>
                <a:gd name="connsiteX3" fmla="*/ 3076 w 145889"/>
                <a:gd name="connsiteY3" fmla="*/ 0 h 153846"/>
                <a:gd name="connsiteX4" fmla="*/ 9230 w 145889"/>
                <a:gd name="connsiteY4" fmla="*/ 3077 h 153846"/>
                <a:gd name="connsiteX5" fmla="*/ 141538 w 145889"/>
                <a:gd name="connsiteY5" fmla="*/ 144615 h 153846"/>
                <a:gd name="connsiteX6" fmla="*/ 144616 w 145889"/>
                <a:gd name="connsiteY6" fmla="*/ 150769 h 153846"/>
                <a:gd name="connsiteX7" fmla="*/ 141538 w 145889"/>
                <a:gd name="connsiteY7" fmla="*/ 153846 h 15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889" h="153846">
                  <a:moveTo>
                    <a:pt x="141538" y="153846"/>
                  </a:moveTo>
                  <a:cubicBezTo>
                    <a:pt x="141538" y="153846"/>
                    <a:pt x="141538" y="153846"/>
                    <a:pt x="141538" y="153846"/>
                  </a:cubicBezTo>
                  <a:cubicBezTo>
                    <a:pt x="46154" y="129230"/>
                    <a:pt x="0" y="9230"/>
                    <a:pt x="0" y="6153"/>
                  </a:cubicBezTo>
                  <a:cubicBezTo>
                    <a:pt x="0" y="3077"/>
                    <a:pt x="0" y="0"/>
                    <a:pt x="3076" y="0"/>
                  </a:cubicBezTo>
                  <a:cubicBezTo>
                    <a:pt x="6154" y="0"/>
                    <a:pt x="9230" y="0"/>
                    <a:pt x="9230" y="3077"/>
                  </a:cubicBezTo>
                  <a:cubicBezTo>
                    <a:pt x="9230" y="3077"/>
                    <a:pt x="52308" y="120000"/>
                    <a:pt x="141538" y="144615"/>
                  </a:cubicBezTo>
                  <a:cubicBezTo>
                    <a:pt x="144616" y="144615"/>
                    <a:pt x="147692" y="147692"/>
                    <a:pt x="144616" y="150769"/>
                  </a:cubicBezTo>
                  <a:cubicBezTo>
                    <a:pt x="147692" y="153846"/>
                    <a:pt x="144616" y="153846"/>
                    <a:pt x="141538" y="153846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BF19BDDD-64FF-4516-B1B9-F0516A9F3B5C}"/>
                </a:ext>
              </a:extLst>
            </p:cNvPr>
            <p:cNvSpPr/>
            <p:nvPr/>
          </p:nvSpPr>
          <p:spPr>
            <a:xfrm>
              <a:off x="12217803" y="6986949"/>
              <a:ext cx="152044" cy="104615"/>
            </a:xfrm>
            <a:custGeom>
              <a:avLst/>
              <a:gdLst>
                <a:gd name="connsiteX0" fmla="*/ 32043 w 152044"/>
                <a:gd name="connsiteY0" fmla="*/ 104615 h 104615"/>
                <a:gd name="connsiteX1" fmla="*/ 4350 w 152044"/>
                <a:gd name="connsiteY1" fmla="*/ 101538 h 104615"/>
                <a:gd name="connsiteX2" fmla="*/ 1274 w 152044"/>
                <a:gd name="connsiteY2" fmla="*/ 95385 h 104615"/>
                <a:gd name="connsiteX3" fmla="*/ 7428 w 152044"/>
                <a:gd name="connsiteY3" fmla="*/ 92308 h 104615"/>
                <a:gd name="connsiteX4" fmla="*/ 142812 w 152044"/>
                <a:gd name="connsiteY4" fmla="*/ 3077 h 104615"/>
                <a:gd name="connsiteX5" fmla="*/ 148966 w 152044"/>
                <a:gd name="connsiteY5" fmla="*/ 0 h 104615"/>
                <a:gd name="connsiteX6" fmla="*/ 152044 w 152044"/>
                <a:gd name="connsiteY6" fmla="*/ 6153 h 104615"/>
                <a:gd name="connsiteX7" fmla="*/ 32043 w 152044"/>
                <a:gd name="connsiteY7" fmla="*/ 104615 h 10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044" h="104615">
                  <a:moveTo>
                    <a:pt x="32043" y="104615"/>
                  </a:moveTo>
                  <a:cubicBezTo>
                    <a:pt x="22813" y="104615"/>
                    <a:pt x="13583" y="104615"/>
                    <a:pt x="4350" y="101538"/>
                  </a:cubicBezTo>
                  <a:cubicBezTo>
                    <a:pt x="1274" y="101538"/>
                    <a:pt x="-1802" y="98461"/>
                    <a:pt x="1274" y="95385"/>
                  </a:cubicBezTo>
                  <a:cubicBezTo>
                    <a:pt x="1274" y="92308"/>
                    <a:pt x="4350" y="92308"/>
                    <a:pt x="7428" y="92308"/>
                  </a:cubicBezTo>
                  <a:cubicBezTo>
                    <a:pt x="96658" y="116923"/>
                    <a:pt x="142812" y="6153"/>
                    <a:pt x="142812" y="3077"/>
                  </a:cubicBezTo>
                  <a:cubicBezTo>
                    <a:pt x="142812" y="0"/>
                    <a:pt x="145890" y="0"/>
                    <a:pt x="148966" y="0"/>
                  </a:cubicBezTo>
                  <a:cubicBezTo>
                    <a:pt x="152044" y="0"/>
                    <a:pt x="152044" y="3077"/>
                    <a:pt x="152044" y="6153"/>
                  </a:cubicBezTo>
                  <a:cubicBezTo>
                    <a:pt x="152044" y="9230"/>
                    <a:pt x="112043" y="104615"/>
                    <a:pt x="32043" y="104615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7" name="图形 1">
              <a:extLst>
                <a:ext uri="{FF2B5EF4-FFF2-40B4-BE49-F238E27FC236}">
                  <a16:creationId xmlns:a16="http://schemas.microsoft.com/office/drawing/2014/main" id="{F1E47C22-7CF9-46C0-A0A3-345345DFD78F}"/>
                </a:ext>
              </a:extLst>
            </p:cNvPr>
            <p:cNvGrpSpPr/>
            <p:nvPr/>
          </p:nvGrpSpPr>
          <p:grpSpPr>
            <a:xfrm>
              <a:off x="13542154" y="6455841"/>
              <a:ext cx="286153" cy="194548"/>
              <a:chOff x="13542154" y="6455841"/>
              <a:chExt cx="286153" cy="194548"/>
            </a:xfrm>
          </p:grpSpPr>
          <p:grpSp>
            <p:nvGrpSpPr>
              <p:cNvPr id="148" name="图形 1">
                <a:extLst>
                  <a:ext uri="{FF2B5EF4-FFF2-40B4-BE49-F238E27FC236}">
                    <a16:creationId xmlns:a16="http://schemas.microsoft.com/office/drawing/2014/main" id="{39C9427D-8C31-409A-A078-EAC101535FDF}"/>
                  </a:ext>
                </a:extLst>
              </p:cNvPr>
              <p:cNvGrpSpPr/>
              <p:nvPr/>
            </p:nvGrpSpPr>
            <p:grpSpPr>
              <a:xfrm>
                <a:off x="13542154" y="6455841"/>
                <a:ext cx="286153" cy="194548"/>
                <a:chOff x="13542154" y="6455841"/>
                <a:chExt cx="286153" cy="194548"/>
              </a:xfrm>
            </p:grpSpPr>
            <p:sp>
              <p:nvSpPr>
                <p:cNvPr id="151" name="任意多边形: 形状 150">
                  <a:extLst>
                    <a:ext uri="{FF2B5EF4-FFF2-40B4-BE49-F238E27FC236}">
                      <a16:creationId xmlns:a16="http://schemas.microsoft.com/office/drawing/2014/main" id="{801F2347-1424-4C7E-BFA9-B2D8221827E4}"/>
                    </a:ext>
                  </a:extLst>
                </p:cNvPr>
                <p:cNvSpPr/>
                <p:nvPr/>
              </p:nvSpPr>
              <p:spPr>
                <a:xfrm>
                  <a:off x="13542154" y="6455841"/>
                  <a:ext cx="276923" cy="194548"/>
                </a:xfrm>
                <a:custGeom>
                  <a:avLst/>
                  <a:gdLst>
                    <a:gd name="connsiteX0" fmla="*/ 230769 w 276923"/>
                    <a:gd name="connsiteY0" fmla="*/ 143416 h 194548"/>
                    <a:gd name="connsiteX1" fmla="*/ 221539 w 276923"/>
                    <a:gd name="connsiteY1" fmla="*/ 131108 h 194548"/>
                    <a:gd name="connsiteX2" fmla="*/ 215385 w 276923"/>
                    <a:gd name="connsiteY2" fmla="*/ 131108 h 194548"/>
                    <a:gd name="connsiteX3" fmla="*/ 236923 w 276923"/>
                    <a:gd name="connsiteY3" fmla="*/ 128031 h 194548"/>
                    <a:gd name="connsiteX4" fmla="*/ 270769 w 276923"/>
                    <a:gd name="connsiteY4" fmla="*/ 112646 h 194548"/>
                    <a:gd name="connsiteX5" fmla="*/ 264615 w 276923"/>
                    <a:gd name="connsiteY5" fmla="*/ 103416 h 194548"/>
                    <a:gd name="connsiteX6" fmla="*/ 261539 w 276923"/>
                    <a:gd name="connsiteY6" fmla="*/ 103416 h 194548"/>
                    <a:gd name="connsiteX7" fmla="*/ 276923 w 276923"/>
                    <a:gd name="connsiteY7" fmla="*/ 84954 h 194548"/>
                    <a:gd name="connsiteX8" fmla="*/ 264615 w 276923"/>
                    <a:gd name="connsiteY8" fmla="*/ 69570 h 194548"/>
                    <a:gd name="connsiteX9" fmla="*/ 221539 w 276923"/>
                    <a:gd name="connsiteY9" fmla="*/ 72647 h 194548"/>
                    <a:gd name="connsiteX10" fmla="*/ 160000 w 276923"/>
                    <a:gd name="connsiteY10" fmla="*/ 81877 h 194548"/>
                    <a:gd name="connsiteX11" fmla="*/ 203076 w 276923"/>
                    <a:gd name="connsiteY11" fmla="*/ 63415 h 194548"/>
                    <a:gd name="connsiteX12" fmla="*/ 233845 w 276923"/>
                    <a:gd name="connsiteY12" fmla="*/ 48031 h 194548"/>
                    <a:gd name="connsiteX13" fmla="*/ 212308 w 276923"/>
                    <a:gd name="connsiteY13" fmla="*/ 35723 h 194548"/>
                    <a:gd name="connsiteX14" fmla="*/ 73847 w 276923"/>
                    <a:gd name="connsiteY14" fmla="*/ 81877 h 194548"/>
                    <a:gd name="connsiteX15" fmla="*/ 92308 w 276923"/>
                    <a:gd name="connsiteY15" fmla="*/ 23416 h 194548"/>
                    <a:gd name="connsiteX16" fmla="*/ 70769 w 276923"/>
                    <a:gd name="connsiteY16" fmla="*/ 4954 h 194548"/>
                    <a:gd name="connsiteX17" fmla="*/ 0 w 276923"/>
                    <a:gd name="connsiteY17" fmla="*/ 124954 h 194548"/>
                    <a:gd name="connsiteX18" fmla="*/ 46154 w 276923"/>
                    <a:gd name="connsiteY18" fmla="*/ 189570 h 194548"/>
                    <a:gd name="connsiteX19" fmla="*/ 150770 w 276923"/>
                    <a:gd name="connsiteY19" fmla="*/ 174185 h 194548"/>
                    <a:gd name="connsiteX20" fmla="*/ 230769 w 276923"/>
                    <a:gd name="connsiteY20" fmla="*/ 143416 h 194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76923" h="194548">
                      <a:moveTo>
                        <a:pt x="230769" y="143416"/>
                      </a:moveTo>
                      <a:cubicBezTo>
                        <a:pt x="230769" y="137261"/>
                        <a:pt x="227693" y="134185"/>
                        <a:pt x="221539" y="131108"/>
                      </a:cubicBezTo>
                      <a:cubicBezTo>
                        <a:pt x="218461" y="131108"/>
                        <a:pt x="218461" y="131108"/>
                        <a:pt x="215385" y="131108"/>
                      </a:cubicBezTo>
                      <a:cubicBezTo>
                        <a:pt x="221539" y="131108"/>
                        <a:pt x="230769" y="128031"/>
                        <a:pt x="236923" y="128031"/>
                      </a:cubicBezTo>
                      <a:cubicBezTo>
                        <a:pt x="252308" y="124954"/>
                        <a:pt x="264615" y="124954"/>
                        <a:pt x="270769" y="112646"/>
                      </a:cubicBezTo>
                      <a:cubicBezTo>
                        <a:pt x="270769" y="112646"/>
                        <a:pt x="267693" y="106492"/>
                        <a:pt x="264615" y="103416"/>
                      </a:cubicBezTo>
                      <a:cubicBezTo>
                        <a:pt x="264615" y="103416"/>
                        <a:pt x="264615" y="103416"/>
                        <a:pt x="261539" y="103416"/>
                      </a:cubicBezTo>
                      <a:cubicBezTo>
                        <a:pt x="267693" y="100339"/>
                        <a:pt x="276923" y="94185"/>
                        <a:pt x="276923" y="84954"/>
                      </a:cubicBezTo>
                      <a:cubicBezTo>
                        <a:pt x="276923" y="75723"/>
                        <a:pt x="273847" y="72647"/>
                        <a:pt x="264615" y="69570"/>
                      </a:cubicBezTo>
                      <a:cubicBezTo>
                        <a:pt x="252308" y="66493"/>
                        <a:pt x="233845" y="72647"/>
                        <a:pt x="221539" y="72647"/>
                      </a:cubicBezTo>
                      <a:cubicBezTo>
                        <a:pt x="200000" y="75723"/>
                        <a:pt x="181539" y="78800"/>
                        <a:pt x="160000" y="81877"/>
                      </a:cubicBezTo>
                      <a:cubicBezTo>
                        <a:pt x="175385" y="75723"/>
                        <a:pt x="187692" y="69570"/>
                        <a:pt x="203076" y="63415"/>
                      </a:cubicBezTo>
                      <a:cubicBezTo>
                        <a:pt x="212308" y="60338"/>
                        <a:pt x="227693" y="54185"/>
                        <a:pt x="233845" y="48031"/>
                      </a:cubicBezTo>
                      <a:cubicBezTo>
                        <a:pt x="243078" y="35723"/>
                        <a:pt x="218461" y="35723"/>
                        <a:pt x="212308" y="35723"/>
                      </a:cubicBezTo>
                      <a:cubicBezTo>
                        <a:pt x="160000" y="38800"/>
                        <a:pt x="123077" y="69570"/>
                        <a:pt x="73847" y="81877"/>
                      </a:cubicBezTo>
                      <a:cubicBezTo>
                        <a:pt x="83077" y="66493"/>
                        <a:pt x="89232" y="44954"/>
                        <a:pt x="92308" y="23416"/>
                      </a:cubicBezTo>
                      <a:cubicBezTo>
                        <a:pt x="95384" y="4954"/>
                        <a:pt x="73847" y="-7353"/>
                        <a:pt x="70769" y="4954"/>
                      </a:cubicBezTo>
                      <a:cubicBezTo>
                        <a:pt x="55384" y="57262"/>
                        <a:pt x="0" y="88031"/>
                        <a:pt x="0" y="124954"/>
                      </a:cubicBezTo>
                      <a:cubicBezTo>
                        <a:pt x="0" y="149570"/>
                        <a:pt x="24615" y="180339"/>
                        <a:pt x="46154" y="189570"/>
                      </a:cubicBezTo>
                      <a:cubicBezTo>
                        <a:pt x="79999" y="204954"/>
                        <a:pt x="116923" y="180339"/>
                        <a:pt x="150770" y="174185"/>
                      </a:cubicBezTo>
                      <a:cubicBezTo>
                        <a:pt x="169231" y="174185"/>
                        <a:pt x="230769" y="158800"/>
                        <a:pt x="230769" y="143416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2" name="任意多边形: 形状 151">
                  <a:extLst>
                    <a:ext uri="{FF2B5EF4-FFF2-40B4-BE49-F238E27FC236}">
                      <a16:creationId xmlns:a16="http://schemas.microsoft.com/office/drawing/2014/main" id="{BC96B7B5-120D-4E18-A9A2-7E4449B19A3A}"/>
                    </a:ext>
                  </a:extLst>
                </p:cNvPr>
                <p:cNvSpPr/>
                <p:nvPr/>
              </p:nvSpPr>
              <p:spPr>
                <a:xfrm>
                  <a:off x="13597538" y="6556180"/>
                  <a:ext cx="31754" cy="46153"/>
                </a:xfrm>
                <a:custGeom>
                  <a:avLst/>
                  <a:gdLst>
                    <a:gd name="connsiteX0" fmla="*/ 6154 w 31754"/>
                    <a:gd name="connsiteY0" fmla="*/ 46154 h 46153"/>
                    <a:gd name="connsiteX1" fmla="*/ 0 w 31754"/>
                    <a:gd name="connsiteY1" fmla="*/ 43077 h 46153"/>
                    <a:gd name="connsiteX2" fmla="*/ 3078 w 31754"/>
                    <a:gd name="connsiteY2" fmla="*/ 33846 h 46153"/>
                    <a:gd name="connsiteX3" fmla="*/ 18463 w 31754"/>
                    <a:gd name="connsiteY3" fmla="*/ 6153 h 46153"/>
                    <a:gd name="connsiteX4" fmla="*/ 24615 w 31754"/>
                    <a:gd name="connsiteY4" fmla="*/ 0 h 46153"/>
                    <a:gd name="connsiteX5" fmla="*/ 30769 w 31754"/>
                    <a:gd name="connsiteY5" fmla="*/ 6153 h 46153"/>
                    <a:gd name="connsiteX6" fmla="*/ 6154 w 31754"/>
                    <a:gd name="connsiteY6" fmla="*/ 46154 h 46153"/>
                    <a:gd name="connsiteX7" fmla="*/ 6154 w 31754"/>
                    <a:gd name="connsiteY7" fmla="*/ 46154 h 46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754" h="46153">
                      <a:moveTo>
                        <a:pt x="6154" y="46154"/>
                      </a:moveTo>
                      <a:cubicBezTo>
                        <a:pt x="3078" y="46154"/>
                        <a:pt x="3078" y="46154"/>
                        <a:pt x="0" y="43077"/>
                      </a:cubicBezTo>
                      <a:cubicBezTo>
                        <a:pt x="0" y="40000"/>
                        <a:pt x="0" y="36923"/>
                        <a:pt x="3078" y="33846"/>
                      </a:cubicBezTo>
                      <a:cubicBezTo>
                        <a:pt x="21539" y="24615"/>
                        <a:pt x="18463" y="6153"/>
                        <a:pt x="18463" y="6153"/>
                      </a:cubicBezTo>
                      <a:cubicBezTo>
                        <a:pt x="18463" y="3077"/>
                        <a:pt x="18463" y="0"/>
                        <a:pt x="24615" y="0"/>
                      </a:cubicBezTo>
                      <a:cubicBezTo>
                        <a:pt x="27693" y="0"/>
                        <a:pt x="30769" y="0"/>
                        <a:pt x="30769" y="6153"/>
                      </a:cubicBezTo>
                      <a:cubicBezTo>
                        <a:pt x="33847" y="12308"/>
                        <a:pt x="30769" y="33846"/>
                        <a:pt x="6154" y="46154"/>
                      </a:cubicBezTo>
                      <a:cubicBezTo>
                        <a:pt x="6154" y="43077"/>
                        <a:pt x="6154" y="46154"/>
                        <a:pt x="6154" y="46154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3" name="任意多边形: 形状 152">
                  <a:extLst>
                    <a:ext uri="{FF2B5EF4-FFF2-40B4-BE49-F238E27FC236}">
                      <a16:creationId xmlns:a16="http://schemas.microsoft.com/office/drawing/2014/main" id="{6E310ED6-D40F-4A43-B341-D02AF0073CBD}"/>
                    </a:ext>
                  </a:extLst>
                </p:cNvPr>
                <p:cNvSpPr/>
                <p:nvPr/>
              </p:nvSpPr>
              <p:spPr>
                <a:xfrm>
                  <a:off x="13699076" y="6503872"/>
                  <a:ext cx="129231" cy="58461"/>
                </a:xfrm>
                <a:custGeom>
                  <a:avLst/>
                  <a:gdLst>
                    <a:gd name="connsiteX0" fmla="*/ 107692 w 129231"/>
                    <a:gd name="connsiteY0" fmla="*/ 58461 h 58461"/>
                    <a:gd name="connsiteX1" fmla="*/ 101540 w 129231"/>
                    <a:gd name="connsiteY1" fmla="*/ 55385 h 58461"/>
                    <a:gd name="connsiteX2" fmla="*/ 104616 w 129231"/>
                    <a:gd name="connsiteY2" fmla="*/ 49231 h 58461"/>
                    <a:gd name="connsiteX3" fmla="*/ 113847 w 129231"/>
                    <a:gd name="connsiteY3" fmla="*/ 40001 h 58461"/>
                    <a:gd name="connsiteX4" fmla="*/ 110770 w 129231"/>
                    <a:gd name="connsiteY4" fmla="*/ 30769 h 58461"/>
                    <a:gd name="connsiteX5" fmla="*/ 6154 w 129231"/>
                    <a:gd name="connsiteY5" fmla="*/ 43077 h 58461"/>
                    <a:gd name="connsiteX6" fmla="*/ 0 w 129231"/>
                    <a:gd name="connsiteY6" fmla="*/ 40001 h 58461"/>
                    <a:gd name="connsiteX7" fmla="*/ 3078 w 129231"/>
                    <a:gd name="connsiteY7" fmla="*/ 33846 h 58461"/>
                    <a:gd name="connsiteX8" fmla="*/ 76923 w 129231"/>
                    <a:gd name="connsiteY8" fmla="*/ 0 h 58461"/>
                    <a:gd name="connsiteX9" fmla="*/ 86155 w 129231"/>
                    <a:gd name="connsiteY9" fmla="*/ 3077 h 58461"/>
                    <a:gd name="connsiteX10" fmla="*/ 83077 w 129231"/>
                    <a:gd name="connsiteY10" fmla="*/ 12308 h 58461"/>
                    <a:gd name="connsiteX11" fmla="*/ 52308 w 129231"/>
                    <a:gd name="connsiteY11" fmla="*/ 27692 h 58461"/>
                    <a:gd name="connsiteX12" fmla="*/ 120001 w 129231"/>
                    <a:gd name="connsiteY12" fmla="*/ 27692 h 58461"/>
                    <a:gd name="connsiteX13" fmla="*/ 129231 w 129231"/>
                    <a:gd name="connsiteY13" fmla="*/ 46154 h 58461"/>
                    <a:gd name="connsiteX14" fmla="*/ 107692 w 129231"/>
                    <a:gd name="connsiteY14" fmla="*/ 58461 h 58461"/>
                    <a:gd name="connsiteX15" fmla="*/ 107692 w 129231"/>
                    <a:gd name="connsiteY15" fmla="*/ 58461 h 584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29231" h="58461">
                      <a:moveTo>
                        <a:pt x="107692" y="58461"/>
                      </a:moveTo>
                      <a:cubicBezTo>
                        <a:pt x="104616" y="58461"/>
                        <a:pt x="101540" y="58461"/>
                        <a:pt x="101540" y="55385"/>
                      </a:cubicBezTo>
                      <a:cubicBezTo>
                        <a:pt x="101540" y="52308"/>
                        <a:pt x="101540" y="49231"/>
                        <a:pt x="104616" y="49231"/>
                      </a:cubicBezTo>
                      <a:cubicBezTo>
                        <a:pt x="110770" y="46154"/>
                        <a:pt x="113847" y="43077"/>
                        <a:pt x="113847" y="40001"/>
                      </a:cubicBezTo>
                      <a:cubicBezTo>
                        <a:pt x="113847" y="36923"/>
                        <a:pt x="110770" y="33846"/>
                        <a:pt x="110770" y="30769"/>
                      </a:cubicBezTo>
                      <a:cubicBezTo>
                        <a:pt x="104616" y="27692"/>
                        <a:pt x="49232" y="33846"/>
                        <a:pt x="6154" y="43077"/>
                      </a:cubicBezTo>
                      <a:cubicBezTo>
                        <a:pt x="3078" y="43077"/>
                        <a:pt x="0" y="43077"/>
                        <a:pt x="0" y="40001"/>
                      </a:cubicBezTo>
                      <a:cubicBezTo>
                        <a:pt x="0" y="36923"/>
                        <a:pt x="0" y="33846"/>
                        <a:pt x="3078" y="33846"/>
                      </a:cubicBezTo>
                      <a:cubicBezTo>
                        <a:pt x="30769" y="24616"/>
                        <a:pt x="76923" y="0"/>
                        <a:pt x="76923" y="0"/>
                      </a:cubicBezTo>
                      <a:cubicBezTo>
                        <a:pt x="80001" y="0"/>
                        <a:pt x="83077" y="0"/>
                        <a:pt x="86155" y="3077"/>
                      </a:cubicBezTo>
                      <a:cubicBezTo>
                        <a:pt x="89232" y="6154"/>
                        <a:pt x="86155" y="9231"/>
                        <a:pt x="83077" y="12308"/>
                      </a:cubicBezTo>
                      <a:cubicBezTo>
                        <a:pt x="83077" y="12308"/>
                        <a:pt x="70771" y="18462"/>
                        <a:pt x="52308" y="27692"/>
                      </a:cubicBezTo>
                      <a:cubicBezTo>
                        <a:pt x="83077" y="24616"/>
                        <a:pt x="113847" y="21539"/>
                        <a:pt x="120001" y="27692"/>
                      </a:cubicBezTo>
                      <a:cubicBezTo>
                        <a:pt x="126155" y="33846"/>
                        <a:pt x="129231" y="40001"/>
                        <a:pt x="129231" y="46154"/>
                      </a:cubicBezTo>
                      <a:cubicBezTo>
                        <a:pt x="126155" y="46154"/>
                        <a:pt x="120001" y="55385"/>
                        <a:pt x="107692" y="58461"/>
                      </a:cubicBezTo>
                      <a:cubicBezTo>
                        <a:pt x="107692" y="58461"/>
                        <a:pt x="107692" y="58461"/>
                        <a:pt x="107692" y="58461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7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58FD0EB0-90D2-4A1F-8AFC-10DB033A0421}"/>
                  </a:ext>
                </a:extLst>
              </p:cNvPr>
              <p:cNvSpPr/>
              <p:nvPr/>
            </p:nvSpPr>
            <p:spPr>
              <a:xfrm>
                <a:off x="13680615" y="6586949"/>
                <a:ext cx="99736" cy="52307"/>
              </a:xfrm>
              <a:custGeom>
                <a:avLst/>
                <a:gdLst>
                  <a:gd name="connsiteX0" fmla="*/ 21539 w 99736"/>
                  <a:gd name="connsiteY0" fmla="*/ 52307 h 52307"/>
                  <a:gd name="connsiteX1" fmla="*/ 15385 w 99736"/>
                  <a:gd name="connsiteY1" fmla="*/ 49231 h 52307"/>
                  <a:gd name="connsiteX2" fmla="*/ 18461 w 99736"/>
                  <a:gd name="connsiteY2" fmla="*/ 43077 h 52307"/>
                  <a:gd name="connsiteX3" fmla="*/ 86153 w 99736"/>
                  <a:gd name="connsiteY3" fmla="*/ 15385 h 52307"/>
                  <a:gd name="connsiteX4" fmla="*/ 86153 w 99736"/>
                  <a:gd name="connsiteY4" fmla="*/ 12308 h 52307"/>
                  <a:gd name="connsiteX5" fmla="*/ 73847 w 99736"/>
                  <a:gd name="connsiteY5" fmla="*/ 12308 h 52307"/>
                  <a:gd name="connsiteX6" fmla="*/ 46154 w 99736"/>
                  <a:gd name="connsiteY6" fmla="*/ 18462 h 52307"/>
                  <a:gd name="connsiteX7" fmla="*/ 6154 w 99736"/>
                  <a:gd name="connsiteY7" fmla="*/ 27692 h 52307"/>
                  <a:gd name="connsiteX8" fmla="*/ 6154 w 99736"/>
                  <a:gd name="connsiteY8" fmla="*/ 27692 h 52307"/>
                  <a:gd name="connsiteX9" fmla="*/ 0 w 99736"/>
                  <a:gd name="connsiteY9" fmla="*/ 21538 h 52307"/>
                  <a:gd name="connsiteX10" fmla="*/ 6154 w 99736"/>
                  <a:gd name="connsiteY10" fmla="*/ 15385 h 52307"/>
                  <a:gd name="connsiteX11" fmla="*/ 43078 w 99736"/>
                  <a:gd name="connsiteY11" fmla="*/ 6153 h 52307"/>
                  <a:gd name="connsiteX12" fmla="*/ 73847 w 99736"/>
                  <a:gd name="connsiteY12" fmla="*/ 0 h 52307"/>
                  <a:gd name="connsiteX13" fmla="*/ 95384 w 99736"/>
                  <a:gd name="connsiteY13" fmla="*/ 6153 h 52307"/>
                  <a:gd name="connsiteX14" fmla="*/ 98462 w 99736"/>
                  <a:gd name="connsiteY14" fmla="*/ 21538 h 52307"/>
                  <a:gd name="connsiteX15" fmla="*/ 21539 w 99736"/>
                  <a:gd name="connsiteY15" fmla="*/ 52307 h 52307"/>
                  <a:gd name="connsiteX16" fmla="*/ 21539 w 99736"/>
                  <a:gd name="connsiteY16" fmla="*/ 52307 h 5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9736" h="52307">
                    <a:moveTo>
                      <a:pt x="21539" y="52307"/>
                    </a:moveTo>
                    <a:cubicBezTo>
                      <a:pt x="18461" y="52307"/>
                      <a:pt x="15385" y="49231"/>
                      <a:pt x="15385" y="49231"/>
                    </a:cubicBezTo>
                    <a:cubicBezTo>
                      <a:pt x="15385" y="46154"/>
                      <a:pt x="15385" y="43077"/>
                      <a:pt x="18461" y="43077"/>
                    </a:cubicBezTo>
                    <a:cubicBezTo>
                      <a:pt x="52308" y="33846"/>
                      <a:pt x="83077" y="21538"/>
                      <a:pt x="86153" y="15385"/>
                    </a:cubicBezTo>
                    <a:cubicBezTo>
                      <a:pt x="86153" y="12308"/>
                      <a:pt x="86153" y="12308"/>
                      <a:pt x="86153" y="12308"/>
                    </a:cubicBezTo>
                    <a:cubicBezTo>
                      <a:pt x="86153" y="12308"/>
                      <a:pt x="83077" y="9230"/>
                      <a:pt x="73847" y="12308"/>
                    </a:cubicBezTo>
                    <a:cubicBezTo>
                      <a:pt x="67693" y="12308"/>
                      <a:pt x="58462" y="15385"/>
                      <a:pt x="46154" y="18462"/>
                    </a:cubicBezTo>
                    <a:cubicBezTo>
                      <a:pt x="30769" y="21538"/>
                      <a:pt x="15385" y="27692"/>
                      <a:pt x="6154" y="27692"/>
                    </a:cubicBezTo>
                    <a:lnTo>
                      <a:pt x="6154" y="27692"/>
                    </a:lnTo>
                    <a:cubicBezTo>
                      <a:pt x="3076" y="27692"/>
                      <a:pt x="0" y="24615"/>
                      <a:pt x="0" y="21538"/>
                    </a:cubicBezTo>
                    <a:cubicBezTo>
                      <a:pt x="0" y="18462"/>
                      <a:pt x="3076" y="15385"/>
                      <a:pt x="6154" y="15385"/>
                    </a:cubicBezTo>
                    <a:cubicBezTo>
                      <a:pt x="12308" y="15385"/>
                      <a:pt x="27693" y="9230"/>
                      <a:pt x="43078" y="6153"/>
                    </a:cubicBezTo>
                    <a:cubicBezTo>
                      <a:pt x="55384" y="3077"/>
                      <a:pt x="67693" y="0"/>
                      <a:pt x="73847" y="0"/>
                    </a:cubicBezTo>
                    <a:cubicBezTo>
                      <a:pt x="83077" y="0"/>
                      <a:pt x="92308" y="0"/>
                      <a:pt x="95384" y="6153"/>
                    </a:cubicBezTo>
                    <a:cubicBezTo>
                      <a:pt x="98462" y="9230"/>
                      <a:pt x="101538" y="12308"/>
                      <a:pt x="98462" y="21538"/>
                    </a:cubicBezTo>
                    <a:cubicBezTo>
                      <a:pt x="98462" y="30769"/>
                      <a:pt x="52308" y="43077"/>
                      <a:pt x="21539" y="52307"/>
                    </a:cubicBezTo>
                    <a:cubicBezTo>
                      <a:pt x="21539" y="52307"/>
                      <a:pt x="21539" y="52307"/>
                      <a:pt x="21539" y="5230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20708A6C-9A15-4B15-9E7E-335C451C5A3C}"/>
                  </a:ext>
                </a:extLst>
              </p:cNvPr>
              <p:cNvSpPr/>
              <p:nvPr/>
            </p:nvSpPr>
            <p:spPr>
              <a:xfrm>
                <a:off x="13686770" y="6543873"/>
                <a:ext cx="134614" cy="49230"/>
              </a:xfrm>
              <a:custGeom>
                <a:avLst/>
                <a:gdLst>
                  <a:gd name="connsiteX0" fmla="*/ 79999 w 134614"/>
                  <a:gd name="connsiteY0" fmla="*/ 49230 h 49230"/>
                  <a:gd name="connsiteX1" fmla="*/ 73845 w 134614"/>
                  <a:gd name="connsiteY1" fmla="*/ 43077 h 49230"/>
                  <a:gd name="connsiteX2" fmla="*/ 79999 w 134614"/>
                  <a:gd name="connsiteY2" fmla="*/ 36923 h 49230"/>
                  <a:gd name="connsiteX3" fmla="*/ 123077 w 134614"/>
                  <a:gd name="connsiteY3" fmla="*/ 21538 h 49230"/>
                  <a:gd name="connsiteX4" fmla="*/ 123077 w 134614"/>
                  <a:gd name="connsiteY4" fmla="*/ 18461 h 49230"/>
                  <a:gd name="connsiteX5" fmla="*/ 107692 w 134614"/>
                  <a:gd name="connsiteY5" fmla="*/ 12308 h 49230"/>
                  <a:gd name="connsiteX6" fmla="*/ 107692 w 134614"/>
                  <a:gd name="connsiteY6" fmla="*/ 12308 h 49230"/>
                  <a:gd name="connsiteX7" fmla="*/ 61538 w 134614"/>
                  <a:gd name="connsiteY7" fmla="*/ 24615 h 49230"/>
                  <a:gd name="connsiteX8" fmla="*/ 52308 w 134614"/>
                  <a:gd name="connsiteY8" fmla="*/ 27692 h 49230"/>
                  <a:gd name="connsiteX9" fmla="*/ 6154 w 134614"/>
                  <a:gd name="connsiteY9" fmla="*/ 33845 h 49230"/>
                  <a:gd name="connsiteX10" fmla="*/ 0 w 134614"/>
                  <a:gd name="connsiteY10" fmla="*/ 27692 h 49230"/>
                  <a:gd name="connsiteX11" fmla="*/ 6154 w 134614"/>
                  <a:gd name="connsiteY11" fmla="*/ 21538 h 49230"/>
                  <a:gd name="connsiteX12" fmla="*/ 49230 w 134614"/>
                  <a:gd name="connsiteY12" fmla="*/ 15385 h 49230"/>
                  <a:gd name="connsiteX13" fmla="*/ 58460 w 134614"/>
                  <a:gd name="connsiteY13" fmla="*/ 12308 h 49230"/>
                  <a:gd name="connsiteX14" fmla="*/ 107692 w 134614"/>
                  <a:gd name="connsiteY14" fmla="*/ 0 h 49230"/>
                  <a:gd name="connsiteX15" fmla="*/ 107692 w 134614"/>
                  <a:gd name="connsiteY15" fmla="*/ 0 h 49230"/>
                  <a:gd name="connsiteX16" fmla="*/ 132307 w 134614"/>
                  <a:gd name="connsiteY16" fmla="*/ 12308 h 49230"/>
                  <a:gd name="connsiteX17" fmla="*/ 132307 w 134614"/>
                  <a:gd name="connsiteY17" fmla="*/ 24615 h 49230"/>
                  <a:gd name="connsiteX18" fmla="*/ 79999 w 134614"/>
                  <a:gd name="connsiteY18" fmla="*/ 49230 h 49230"/>
                  <a:gd name="connsiteX19" fmla="*/ 79999 w 134614"/>
                  <a:gd name="connsiteY19" fmla="*/ 49230 h 4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34614" h="49230">
                    <a:moveTo>
                      <a:pt x="79999" y="49230"/>
                    </a:moveTo>
                    <a:cubicBezTo>
                      <a:pt x="76923" y="49230"/>
                      <a:pt x="73845" y="46154"/>
                      <a:pt x="73845" y="43077"/>
                    </a:cubicBezTo>
                    <a:cubicBezTo>
                      <a:pt x="73845" y="40000"/>
                      <a:pt x="73845" y="36923"/>
                      <a:pt x="79999" y="36923"/>
                    </a:cubicBezTo>
                    <a:cubicBezTo>
                      <a:pt x="98462" y="33845"/>
                      <a:pt x="119999" y="27692"/>
                      <a:pt x="123077" y="21538"/>
                    </a:cubicBezTo>
                    <a:cubicBezTo>
                      <a:pt x="123077" y="21538"/>
                      <a:pt x="123077" y="21538"/>
                      <a:pt x="123077" y="18461"/>
                    </a:cubicBezTo>
                    <a:cubicBezTo>
                      <a:pt x="119999" y="15385"/>
                      <a:pt x="113847" y="12308"/>
                      <a:pt x="107692" y="12308"/>
                    </a:cubicBezTo>
                    <a:lnTo>
                      <a:pt x="107692" y="12308"/>
                    </a:lnTo>
                    <a:cubicBezTo>
                      <a:pt x="98462" y="12308"/>
                      <a:pt x="73845" y="21538"/>
                      <a:pt x="61538" y="24615"/>
                    </a:cubicBezTo>
                    <a:cubicBezTo>
                      <a:pt x="58460" y="24615"/>
                      <a:pt x="55384" y="27692"/>
                      <a:pt x="52308" y="27692"/>
                    </a:cubicBezTo>
                    <a:cubicBezTo>
                      <a:pt x="46154" y="30769"/>
                      <a:pt x="12307" y="33845"/>
                      <a:pt x="6154" y="33845"/>
                    </a:cubicBezTo>
                    <a:cubicBezTo>
                      <a:pt x="3076" y="33845"/>
                      <a:pt x="0" y="30769"/>
                      <a:pt x="0" y="27692"/>
                    </a:cubicBezTo>
                    <a:cubicBezTo>
                      <a:pt x="0" y="24615"/>
                      <a:pt x="3076" y="21538"/>
                      <a:pt x="6154" y="21538"/>
                    </a:cubicBezTo>
                    <a:cubicBezTo>
                      <a:pt x="15385" y="21538"/>
                      <a:pt x="43076" y="15385"/>
                      <a:pt x="49230" y="15385"/>
                    </a:cubicBezTo>
                    <a:cubicBezTo>
                      <a:pt x="49230" y="15385"/>
                      <a:pt x="52308" y="15385"/>
                      <a:pt x="58460" y="12308"/>
                    </a:cubicBezTo>
                    <a:cubicBezTo>
                      <a:pt x="79999" y="6153"/>
                      <a:pt x="98462" y="0"/>
                      <a:pt x="107692" y="0"/>
                    </a:cubicBezTo>
                    <a:cubicBezTo>
                      <a:pt x="107692" y="0"/>
                      <a:pt x="107692" y="0"/>
                      <a:pt x="107692" y="0"/>
                    </a:cubicBezTo>
                    <a:cubicBezTo>
                      <a:pt x="116923" y="0"/>
                      <a:pt x="126153" y="3076"/>
                      <a:pt x="132307" y="12308"/>
                    </a:cubicBezTo>
                    <a:cubicBezTo>
                      <a:pt x="135384" y="15385"/>
                      <a:pt x="135384" y="21538"/>
                      <a:pt x="132307" y="24615"/>
                    </a:cubicBezTo>
                    <a:cubicBezTo>
                      <a:pt x="126153" y="36923"/>
                      <a:pt x="98462" y="43077"/>
                      <a:pt x="79999" y="49230"/>
                    </a:cubicBezTo>
                    <a:cubicBezTo>
                      <a:pt x="79999" y="49230"/>
                      <a:pt x="79999" y="49230"/>
                      <a:pt x="79999" y="4923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3A30154B-16A7-4BBF-8B4E-06338DFDC011}"/>
                </a:ext>
              </a:extLst>
            </p:cNvPr>
            <p:cNvSpPr/>
            <p:nvPr/>
          </p:nvSpPr>
          <p:spPr>
            <a:xfrm>
              <a:off x="12335999" y="6879257"/>
              <a:ext cx="556924" cy="30769"/>
            </a:xfrm>
            <a:custGeom>
              <a:avLst/>
              <a:gdLst>
                <a:gd name="connsiteX0" fmla="*/ 196924 w 556924"/>
                <a:gd name="connsiteY0" fmla="*/ 30769 h 30769"/>
                <a:gd name="connsiteX1" fmla="*/ 6154 w 556924"/>
                <a:gd name="connsiteY1" fmla="*/ 24615 h 30769"/>
                <a:gd name="connsiteX2" fmla="*/ 0 w 556924"/>
                <a:gd name="connsiteY2" fmla="*/ 18462 h 30769"/>
                <a:gd name="connsiteX3" fmla="*/ 6154 w 556924"/>
                <a:gd name="connsiteY3" fmla="*/ 12308 h 30769"/>
                <a:gd name="connsiteX4" fmla="*/ 550770 w 556924"/>
                <a:gd name="connsiteY4" fmla="*/ 0 h 30769"/>
                <a:gd name="connsiteX5" fmla="*/ 556924 w 556924"/>
                <a:gd name="connsiteY5" fmla="*/ 6153 h 30769"/>
                <a:gd name="connsiteX6" fmla="*/ 550770 w 556924"/>
                <a:gd name="connsiteY6" fmla="*/ 12308 h 30769"/>
                <a:gd name="connsiteX7" fmla="*/ 196924 w 556924"/>
                <a:gd name="connsiteY7" fmla="*/ 30769 h 3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6924" h="30769">
                  <a:moveTo>
                    <a:pt x="196924" y="30769"/>
                  </a:moveTo>
                  <a:cubicBezTo>
                    <a:pt x="80001" y="30769"/>
                    <a:pt x="6154" y="24615"/>
                    <a:pt x="6154" y="24615"/>
                  </a:cubicBezTo>
                  <a:cubicBezTo>
                    <a:pt x="3078" y="24615"/>
                    <a:pt x="0" y="21538"/>
                    <a:pt x="0" y="18462"/>
                  </a:cubicBezTo>
                  <a:cubicBezTo>
                    <a:pt x="0" y="15385"/>
                    <a:pt x="3078" y="12308"/>
                    <a:pt x="6154" y="12308"/>
                  </a:cubicBezTo>
                  <a:cubicBezTo>
                    <a:pt x="9230" y="12308"/>
                    <a:pt x="255384" y="30769"/>
                    <a:pt x="550770" y="0"/>
                  </a:cubicBezTo>
                  <a:cubicBezTo>
                    <a:pt x="553846" y="0"/>
                    <a:pt x="556924" y="3077"/>
                    <a:pt x="556924" y="6153"/>
                  </a:cubicBezTo>
                  <a:cubicBezTo>
                    <a:pt x="556924" y="9230"/>
                    <a:pt x="553846" y="12308"/>
                    <a:pt x="550770" y="12308"/>
                  </a:cubicBezTo>
                  <a:cubicBezTo>
                    <a:pt x="418463" y="27692"/>
                    <a:pt x="292308" y="30769"/>
                    <a:pt x="196924" y="30769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69D5E09F-87F1-44D8-A7A4-D4CF37FCB7D8}"/>
                </a:ext>
              </a:extLst>
            </p:cNvPr>
            <p:cNvSpPr/>
            <p:nvPr/>
          </p:nvSpPr>
          <p:spPr>
            <a:xfrm>
              <a:off x="12132923" y="7719257"/>
              <a:ext cx="61538" cy="30769"/>
            </a:xfrm>
            <a:custGeom>
              <a:avLst/>
              <a:gdLst>
                <a:gd name="connsiteX0" fmla="*/ 58460 w 61538"/>
                <a:gd name="connsiteY0" fmla="*/ 30769 h 30769"/>
                <a:gd name="connsiteX1" fmla="*/ 58460 w 61538"/>
                <a:gd name="connsiteY1" fmla="*/ 30769 h 30769"/>
                <a:gd name="connsiteX2" fmla="*/ 3076 w 61538"/>
                <a:gd name="connsiteY2" fmla="*/ 9231 h 30769"/>
                <a:gd name="connsiteX3" fmla="*/ 0 w 61538"/>
                <a:gd name="connsiteY3" fmla="*/ 3077 h 30769"/>
                <a:gd name="connsiteX4" fmla="*/ 6154 w 61538"/>
                <a:gd name="connsiteY4" fmla="*/ 0 h 30769"/>
                <a:gd name="connsiteX5" fmla="*/ 58460 w 61538"/>
                <a:gd name="connsiteY5" fmla="*/ 21539 h 30769"/>
                <a:gd name="connsiteX6" fmla="*/ 61538 w 61538"/>
                <a:gd name="connsiteY6" fmla="*/ 27692 h 30769"/>
                <a:gd name="connsiteX7" fmla="*/ 58460 w 61538"/>
                <a:gd name="connsiteY7" fmla="*/ 30769 h 3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538" h="30769">
                  <a:moveTo>
                    <a:pt x="58460" y="30769"/>
                  </a:moveTo>
                  <a:cubicBezTo>
                    <a:pt x="58460" y="30769"/>
                    <a:pt x="58460" y="30769"/>
                    <a:pt x="58460" y="30769"/>
                  </a:cubicBezTo>
                  <a:lnTo>
                    <a:pt x="3076" y="9231"/>
                  </a:lnTo>
                  <a:cubicBezTo>
                    <a:pt x="0" y="9231"/>
                    <a:pt x="0" y="6154"/>
                    <a:pt x="0" y="3077"/>
                  </a:cubicBezTo>
                  <a:cubicBezTo>
                    <a:pt x="0" y="0"/>
                    <a:pt x="3076" y="0"/>
                    <a:pt x="6154" y="0"/>
                  </a:cubicBezTo>
                  <a:lnTo>
                    <a:pt x="58460" y="21539"/>
                  </a:lnTo>
                  <a:cubicBezTo>
                    <a:pt x="61538" y="21539"/>
                    <a:pt x="61538" y="24616"/>
                    <a:pt x="61538" y="27692"/>
                  </a:cubicBezTo>
                  <a:cubicBezTo>
                    <a:pt x="61538" y="27692"/>
                    <a:pt x="61538" y="30769"/>
                    <a:pt x="58460" y="30769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0" name="图形 1">
              <a:extLst>
                <a:ext uri="{FF2B5EF4-FFF2-40B4-BE49-F238E27FC236}">
                  <a16:creationId xmlns:a16="http://schemas.microsoft.com/office/drawing/2014/main" id="{2661F9BC-94D2-4CF5-9F93-AE316929A497}"/>
                </a:ext>
              </a:extLst>
            </p:cNvPr>
            <p:cNvGrpSpPr/>
            <p:nvPr/>
          </p:nvGrpSpPr>
          <p:grpSpPr>
            <a:xfrm>
              <a:off x="11171778" y="4619650"/>
              <a:ext cx="672491" cy="2004221"/>
              <a:chOff x="11171778" y="4619650"/>
              <a:chExt cx="672491" cy="2004221"/>
            </a:xfrm>
          </p:grpSpPr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0277D210-A352-4482-81D8-FB102952B9B3}"/>
                  </a:ext>
                </a:extLst>
              </p:cNvPr>
              <p:cNvSpPr/>
              <p:nvPr/>
            </p:nvSpPr>
            <p:spPr>
              <a:xfrm>
                <a:off x="11515626" y="5450796"/>
                <a:ext cx="223450" cy="1173076"/>
              </a:xfrm>
              <a:custGeom>
                <a:avLst/>
                <a:gdLst>
                  <a:gd name="connsiteX0" fmla="*/ 1912 w 223450"/>
                  <a:gd name="connsiteY0" fmla="*/ 662308 h 1173076"/>
                  <a:gd name="connsiteX1" fmla="*/ 57296 w 223450"/>
                  <a:gd name="connsiteY1" fmla="*/ 339231 h 1173076"/>
                  <a:gd name="connsiteX2" fmla="*/ 48066 w 223450"/>
                  <a:gd name="connsiteY2" fmla="*/ 6923 h 1173076"/>
                  <a:gd name="connsiteX3" fmla="*/ 60373 w 223450"/>
                  <a:gd name="connsiteY3" fmla="*/ 6923 h 1173076"/>
                  <a:gd name="connsiteX4" fmla="*/ 63451 w 223450"/>
                  <a:gd name="connsiteY4" fmla="*/ 376154 h 1173076"/>
                  <a:gd name="connsiteX5" fmla="*/ 11142 w 223450"/>
                  <a:gd name="connsiteY5" fmla="*/ 714615 h 1173076"/>
                  <a:gd name="connsiteX6" fmla="*/ 128065 w 223450"/>
                  <a:gd name="connsiteY6" fmla="*/ 1028462 h 1173076"/>
                  <a:gd name="connsiteX7" fmla="*/ 217297 w 223450"/>
                  <a:gd name="connsiteY7" fmla="*/ 1160769 h 1173076"/>
                  <a:gd name="connsiteX8" fmla="*/ 223451 w 223450"/>
                  <a:gd name="connsiteY8" fmla="*/ 1166923 h 1173076"/>
                  <a:gd name="connsiteX9" fmla="*/ 214219 w 223450"/>
                  <a:gd name="connsiteY9" fmla="*/ 1173077 h 1173076"/>
                  <a:gd name="connsiteX10" fmla="*/ 66527 w 223450"/>
                  <a:gd name="connsiteY10" fmla="*/ 948461 h 1173076"/>
                  <a:gd name="connsiteX11" fmla="*/ 1912 w 223450"/>
                  <a:gd name="connsiteY11" fmla="*/ 662308 h 117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3450" h="1173076">
                    <a:moveTo>
                      <a:pt x="1912" y="662308"/>
                    </a:moveTo>
                    <a:cubicBezTo>
                      <a:pt x="11142" y="554615"/>
                      <a:pt x="44988" y="446923"/>
                      <a:pt x="57296" y="339231"/>
                    </a:cubicBezTo>
                    <a:cubicBezTo>
                      <a:pt x="69605" y="228462"/>
                      <a:pt x="63451" y="117692"/>
                      <a:pt x="48066" y="6923"/>
                    </a:cubicBezTo>
                    <a:cubicBezTo>
                      <a:pt x="48066" y="-2308"/>
                      <a:pt x="60373" y="-2308"/>
                      <a:pt x="60373" y="6923"/>
                    </a:cubicBezTo>
                    <a:cubicBezTo>
                      <a:pt x="75757" y="130000"/>
                      <a:pt x="81911" y="253077"/>
                      <a:pt x="63451" y="376154"/>
                    </a:cubicBezTo>
                    <a:cubicBezTo>
                      <a:pt x="48066" y="490000"/>
                      <a:pt x="11142" y="600769"/>
                      <a:pt x="11142" y="714615"/>
                    </a:cubicBezTo>
                    <a:cubicBezTo>
                      <a:pt x="14219" y="831539"/>
                      <a:pt x="66527" y="930000"/>
                      <a:pt x="128065" y="1028462"/>
                    </a:cubicBezTo>
                    <a:cubicBezTo>
                      <a:pt x="155758" y="1074616"/>
                      <a:pt x="183449" y="1117692"/>
                      <a:pt x="217297" y="1160769"/>
                    </a:cubicBezTo>
                    <a:cubicBezTo>
                      <a:pt x="220373" y="1163846"/>
                      <a:pt x="220373" y="1163846"/>
                      <a:pt x="223451" y="1166923"/>
                    </a:cubicBezTo>
                    <a:cubicBezTo>
                      <a:pt x="220373" y="1170000"/>
                      <a:pt x="217297" y="1173077"/>
                      <a:pt x="214219" y="1173077"/>
                    </a:cubicBezTo>
                    <a:cubicBezTo>
                      <a:pt x="155758" y="1105385"/>
                      <a:pt x="109604" y="1025385"/>
                      <a:pt x="66527" y="948461"/>
                    </a:cubicBezTo>
                    <a:cubicBezTo>
                      <a:pt x="17297" y="859231"/>
                      <a:pt x="-7318" y="766923"/>
                      <a:pt x="1912" y="662308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CC7F0252-4043-418D-BB7C-19F0D6D6ACD1}"/>
                  </a:ext>
                </a:extLst>
              </p:cNvPr>
              <p:cNvSpPr/>
              <p:nvPr/>
            </p:nvSpPr>
            <p:spPr>
              <a:xfrm>
                <a:off x="11171778" y="4619650"/>
                <a:ext cx="672491" cy="939045"/>
              </a:xfrm>
              <a:custGeom>
                <a:avLst/>
                <a:gdLst>
                  <a:gd name="connsiteX0" fmla="*/ 413454 w 672491"/>
                  <a:gd name="connsiteY0" fmla="*/ 841145 h 939045"/>
                  <a:gd name="connsiteX1" fmla="*/ 444223 w 672491"/>
                  <a:gd name="connsiteY1" fmla="*/ 853453 h 939045"/>
                  <a:gd name="connsiteX2" fmla="*/ 450375 w 672491"/>
                  <a:gd name="connsiteY2" fmla="*/ 844222 h 939045"/>
                  <a:gd name="connsiteX3" fmla="*/ 413454 w 672491"/>
                  <a:gd name="connsiteY3" fmla="*/ 813453 h 939045"/>
                  <a:gd name="connsiteX4" fmla="*/ 671914 w 672491"/>
                  <a:gd name="connsiteY4" fmla="*/ 311914 h 939045"/>
                  <a:gd name="connsiteX5" fmla="*/ 311914 w 672491"/>
                  <a:gd name="connsiteY5" fmla="*/ 1145 h 939045"/>
                  <a:gd name="connsiteX6" fmla="*/ 1145 w 672491"/>
                  <a:gd name="connsiteY6" fmla="*/ 361145 h 939045"/>
                  <a:gd name="connsiteX7" fmla="*/ 339607 w 672491"/>
                  <a:gd name="connsiteY7" fmla="*/ 831914 h 939045"/>
                  <a:gd name="connsiteX8" fmla="*/ 339607 w 672491"/>
                  <a:gd name="connsiteY8" fmla="*/ 838068 h 939045"/>
                  <a:gd name="connsiteX9" fmla="*/ 290377 w 672491"/>
                  <a:gd name="connsiteY9" fmla="*/ 930376 h 939045"/>
                  <a:gd name="connsiteX10" fmla="*/ 293453 w 672491"/>
                  <a:gd name="connsiteY10" fmla="*/ 936530 h 939045"/>
                  <a:gd name="connsiteX11" fmla="*/ 342683 w 672491"/>
                  <a:gd name="connsiteY11" fmla="*/ 918068 h 939045"/>
                  <a:gd name="connsiteX12" fmla="*/ 364222 w 672491"/>
                  <a:gd name="connsiteY12" fmla="*/ 890376 h 939045"/>
                  <a:gd name="connsiteX13" fmla="*/ 404221 w 672491"/>
                  <a:gd name="connsiteY13" fmla="*/ 930376 h 939045"/>
                  <a:gd name="connsiteX14" fmla="*/ 413454 w 672491"/>
                  <a:gd name="connsiteY14" fmla="*/ 918068 h 939045"/>
                  <a:gd name="connsiteX15" fmla="*/ 404221 w 672491"/>
                  <a:gd name="connsiteY15" fmla="*/ 890376 h 939045"/>
                  <a:gd name="connsiteX16" fmla="*/ 398069 w 672491"/>
                  <a:gd name="connsiteY16" fmla="*/ 868837 h 939045"/>
                  <a:gd name="connsiteX17" fmla="*/ 465760 w 672491"/>
                  <a:gd name="connsiteY17" fmla="*/ 921145 h 939045"/>
                  <a:gd name="connsiteX18" fmla="*/ 413454 w 672491"/>
                  <a:gd name="connsiteY18" fmla="*/ 841145 h 939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72491" h="939045">
                    <a:moveTo>
                      <a:pt x="413454" y="841145"/>
                    </a:moveTo>
                    <a:cubicBezTo>
                      <a:pt x="422684" y="844222"/>
                      <a:pt x="434990" y="847299"/>
                      <a:pt x="444223" y="853453"/>
                    </a:cubicBezTo>
                    <a:cubicBezTo>
                      <a:pt x="450375" y="856530"/>
                      <a:pt x="456529" y="847299"/>
                      <a:pt x="450375" y="844222"/>
                    </a:cubicBezTo>
                    <a:cubicBezTo>
                      <a:pt x="438069" y="831914"/>
                      <a:pt x="425760" y="822683"/>
                      <a:pt x="413454" y="813453"/>
                    </a:cubicBezTo>
                    <a:cubicBezTo>
                      <a:pt x="496529" y="708837"/>
                      <a:pt x="684222" y="456530"/>
                      <a:pt x="671914" y="311914"/>
                    </a:cubicBezTo>
                    <a:cubicBezTo>
                      <a:pt x="659607" y="127299"/>
                      <a:pt x="499607" y="-14240"/>
                      <a:pt x="311914" y="1145"/>
                    </a:cubicBezTo>
                    <a:cubicBezTo>
                      <a:pt x="127298" y="13453"/>
                      <a:pt x="-14240" y="173453"/>
                      <a:pt x="1145" y="361145"/>
                    </a:cubicBezTo>
                    <a:cubicBezTo>
                      <a:pt x="10375" y="511914"/>
                      <a:pt x="247299" y="745760"/>
                      <a:pt x="339607" y="831914"/>
                    </a:cubicBezTo>
                    <a:cubicBezTo>
                      <a:pt x="339607" y="834991"/>
                      <a:pt x="339607" y="834991"/>
                      <a:pt x="339607" y="838068"/>
                    </a:cubicBezTo>
                    <a:cubicBezTo>
                      <a:pt x="321146" y="865761"/>
                      <a:pt x="293453" y="896530"/>
                      <a:pt x="290377" y="930376"/>
                    </a:cubicBezTo>
                    <a:cubicBezTo>
                      <a:pt x="290377" y="933453"/>
                      <a:pt x="293453" y="933453"/>
                      <a:pt x="293453" y="936530"/>
                    </a:cubicBezTo>
                    <a:cubicBezTo>
                      <a:pt x="308837" y="945760"/>
                      <a:pt x="330376" y="927299"/>
                      <a:pt x="342683" y="918068"/>
                    </a:cubicBezTo>
                    <a:cubicBezTo>
                      <a:pt x="351915" y="911914"/>
                      <a:pt x="361145" y="902684"/>
                      <a:pt x="364222" y="890376"/>
                    </a:cubicBezTo>
                    <a:cubicBezTo>
                      <a:pt x="370376" y="911914"/>
                      <a:pt x="382684" y="936530"/>
                      <a:pt x="404221" y="930376"/>
                    </a:cubicBezTo>
                    <a:cubicBezTo>
                      <a:pt x="410375" y="927299"/>
                      <a:pt x="413454" y="927299"/>
                      <a:pt x="413454" y="918068"/>
                    </a:cubicBezTo>
                    <a:cubicBezTo>
                      <a:pt x="413454" y="911914"/>
                      <a:pt x="407299" y="896530"/>
                      <a:pt x="404221" y="890376"/>
                    </a:cubicBezTo>
                    <a:cubicBezTo>
                      <a:pt x="401145" y="884222"/>
                      <a:pt x="401145" y="874991"/>
                      <a:pt x="398069" y="868837"/>
                    </a:cubicBezTo>
                    <a:cubicBezTo>
                      <a:pt x="416530" y="899606"/>
                      <a:pt x="447299" y="939607"/>
                      <a:pt x="465760" y="921145"/>
                    </a:cubicBezTo>
                    <a:cubicBezTo>
                      <a:pt x="484222" y="902684"/>
                      <a:pt x="441145" y="862683"/>
                      <a:pt x="413454" y="841145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29E974C5-E8A0-4A89-B6C5-5E7259BFC694}"/>
                  </a:ext>
                </a:extLst>
              </p:cNvPr>
              <p:cNvSpPr/>
              <p:nvPr/>
            </p:nvSpPr>
            <p:spPr>
              <a:xfrm>
                <a:off x="11507538" y="5421843"/>
                <a:ext cx="98184" cy="39529"/>
              </a:xfrm>
              <a:custGeom>
                <a:avLst/>
                <a:gdLst>
                  <a:gd name="connsiteX0" fmla="*/ 86924 w 98184"/>
                  <a:gd name="connsiteY0" fmla="*/ 2029 h 39529"/>
                  <a:gd name="connsiteX1" fmla="*/ 6923 w 98184"/>
                  <a:gd name="connsiteY1" fmla="*/ 26645 h 39529"/>
                  <a:gd name="connsiteX2" fmla="*/ 6923 w 98184"/>
                  <a:gd name="connsiteY2" fmla="*/ 38952 h 39529"/>
                  <a:gd name="connsiteX3" fmla="*/ 96154 w 98184"/>
                  <a:gd name="connsiteY3" fmla="*/ 11260 h 39529"/>
                  <a:gd name="connsiteX4" fmla="*/ 86924 w 98184"/>
                  <a:gd name="connsiteY4" fmla="*/ 2029 h 39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184" h="39529">
                    <a:moveTo>
                      <a:pt x="86924" y="2029"/>
                    </a:moveTo>
                    <a:cubicBezTo>
                      <a:pt x="65385" y="20491"/>
                      <a:pt x="37692" y="29722"/>
                      <a:pt x="6923" y="26645"/>
                    </a:cubicBezTo>
                    <a:cubicBezTo>
                      <a:pt x="-2308" y="26645"/>
                      <a:pt x="-2308" y="38952"/>
                      <a:pt x="6923" y="38952"/>
                    </a:cubicBezTo>
                    <a:cubicBezTo>
                      <a:pt x="40770" y="42030"/>
                      <a:pt x="71539" y="32799"/>
                      <a:pt x="96154" y="11260"/>
                    </a:cubicBezTo>
                    <a:cubicBezTo>
                      <a:pt x="102309" y="5106"/>
                      <a:pt x="93078" y="-4124"/>
                      <a:pt x="86924" y="2029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5262064C-38E3-4A7A-B336-6AFC24292A29}"/>
                  </a:ext>
                </a:extLst>
              </p:cNvPr>
              <p:cNvSpPr/>
              <p:nvPr/>
            </p:nvSpPr>
            <p:spPr>
              <a:xfrm>
                <a:off x="11529156" y="4700264"/>
                <a:ext cx="210360" cy="315146"/>
              </a:xfrm>
              <a:custGeom>
                <a:avLst/>
                <a:gdLst>
                  <a:gd name="connsiteX0" fmla="*/ 31459 w 210360"/>
                  <a:gd name="connsiteY0" fmla="*/ 531 h 315146"/>
                  <a:gd name="connsiteX1" fmla="*/ 19152 w 210360"/>
                  <a:gd name="connsiteY1" fmla="*/ 49762 h 315146"/>
                  <a:gd name="connsiteX2" fmla="*/ 160690 w 210360"/>
                  <a:gd name="connsiteY2" fmla="*/ 289762 h 315146"/>
                  <a:gd name="connsiteX3" fmla="*/ 209922 w 210360"/>
                  <a:gd name="connsiteY3" fmla="*/ 289762 h 315146"/>
                  <a:gd name="connsiteX4" fmla="*/ 31459 w 210360"/>
                  <a:gd name="connsiteY4" fmla="*/ 531 h 315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0360" h="315146">
                    <a:moveTo>
                      <a:pt x="31459" y="531"/>
                    </a:moveTo>
                    <a:cubicBezTo>
                      <a:pt x="689" y="-5623"/>
                      <a:pt x="-14695" y="43608"/>
                      <a:pt x="19152" y="49762"/>
                    </a:cubicBezTo>
                    <a:cubicBezTo>
                      <a:pt x="123766" y="68223"/>
                      <a:pt x="163768" y="197454"/>
                      <a:pt x="160690" y="289762"/>
                    </a:cubicBezTo>
                    <a:cubicBezTo>
                      <a:pt x="160690" y="323608"/>
                      <a:pt x="209922" y="323608"/>
                      <a:pt x="209922" y="289762"/>
                    </a:cubicBezTo>
                    <a:cubicBezTo>
                      <a:pt x="216074" y="172838"/>
                      <a:pt x="157614" y="22069"/>
                      <a:pt x="31459" y="531"/>
                    </a:cubicBezTo>
                    <a:close/>
                  </a:path>
                </a:pathLst>
              </a:custGeom>
              <a:solidFill>
                <a:srgbClr val="FFFFFF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4A99CE35-7531-4348-B11E-9E076C5CAFA6}"/>
                  </a:ext>
                </a:extLst>
              </p:cNvPr>
              <p:cNvSpPr/>
              <p:nvPr/>
            </p:nvSpPr>
            <p:spPr>
              <a:xfrm>
                <a:off x="11654632" y="5063103"/>
                <a:ext cx="69829" cy="89999"/>
              </a:xfrm>
              <a:custGeom>
                <a:avLst/>
                <a:gdLst>
                  <a:gd name="connsiteX0" fmla="*/ 50598 w 69829"/>
                  <a:gd name="connsiteY0" fmla="*/ 769 h 89999"/>
                  <a:gd name="connsiteX1" fmla="*/ 19829 w 69829"/>
                  <a:gd name="connsiteY1" fmla="*/ 19231 h 89999"/>
                  <a:gd name="connsiteX2" fmla="*/ 4444 w 69829"/>
                  <a:gd name="connsiteY2" fmla="*/ 53077 h 89999"/>
                  <a:gd name="connsiteX3" fmla="*/ 13675 w 69829"/>
                  <a:gd name="connsiteY3" fmla="*/ 86923 h 89999"/>
                  <a:gd name="connsiteX4" fmla="*/ 47522 w 69829"/>
                  <a:gd name="connsiteY4" fmla="*/ 77692 h 89999"/>
                  <a:gd name="connsiteX5" fmla="*/ 69061 w 69829"/>
                  <a:gd name="connsiteY5" fmla="*/ 31539 h 89999"/>
                  <a:gd name="connsiteX6" fmla="*/ 50598 w 69829"/>
                  <a:gd name="connsiteY6" fmla="*/ 769 h 89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9829" h="89999">
                    <a:moveTo>
                      <a:pt x="50598" y="769"/>
                    </a:moveTo>
                    <a:cubicBezTo>
                      <a:pt x="38291" y="-2308"/>
                      <a:pt x="22907" y="3846"/>
                      <a:pt x="19829" y="19231"/>
                    </a:cubicBezTo>
                    <a:cubicBezTo>
                      <a:pt x="16753" y="34615"/>
                      <a:pt x="13675" y="40769"/>
                      <a:pt x="4444" y="53077"/>
                    </a:cubicBezTo>
                    <a:cubicBezTo>
                      <a:pt x="-4786" y="62308"/>
                      <a:pt x="1368" y="80769"/>
                      <a:pt x="13675" y="86923"/>
                    </a:cubicBezTo>
                    <a:cubicBezTo>
                      <a:pt x="25983" y="93077"/>
                      <a:pt x="41368" y="90000"/>
                      <a:pt x="47522" y="77692"/>
                    </a:cubicBezTo>
                    <a:cubicBezTo>
                      <a:pt x="56752" y="62308"/>
                      <a:pt x="65983" y="46923"/>
                      <a:pt x="69061" y="31539"/>
                    </a:cubicBezTo>
                    <a:cubicBezTo>
                      <a:pt x="72137" y="19231"/>
                      <a:pt x="65983" y="3846"/>
                      <a:pt x="50598" y="769"/>
                    </a:cubicBezTo>
                    <a:close/>
                  </a:path>
                </a:pathLst>
              </a:custGeom>
              <a:solidFill>
                <a:srgbClr val="FFFFFF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1" name="图形 1">
              <a:extLst>
                <a:ext uri="{FF2B5EF4-FFF2-40B4-BE49-F238E27FC236}">
                  <a16:creationId xmlns:a16="http://schemas.microsoft.com/office/drawing/2014/main" id="{5AA8F012-F43C-46E4-94F0-8D2622EEA575}"/>
                </a:ext>
              </a:extLst>
            </p:cNvPr>
            <p:cNvGrpSpPr/>
            <p:nvPr/>
          </p:nvGrpSpPr>
          <p:grpSpPr>
            <a:xfrm>
              <a:off x="11447825" y="6177318"/>
              <a:ext cx="124090" cy="154722"/>
              <a:chOff x="11447825" y="6177318"/>
              <a:chExt cx="124090" cy="154722"/>
            </a:xfrm>
          </p:grpSpPr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3BE0D6C2-A4E7-4E40-96B9-3541A1366358}"/>
                  </a:ext>
                </a:extLst>
              </p:cNvPr>
              <p:cNvSpPr/>
              <p:nvPr/>
            </p:nvSpPr>
            <p:spPr>
              <a:xfrm>
                <a:off x="11449046" y="6177318"/>
                <a:ext cx="105693" cy="72967"/>
              </a:xfrm>
              <a:custGeom>
                <a:avLst/>
                <a:gdLst>
                  <a:gd name="connsiteX0" fmla="*/ 13109 w 105693"/>
                  <a:gd name="connsiteY0" fmla="*/ 400 h 72967"/>
                  <a:gd name="connsiteX1" fmla="*/ 80799 w 105693"/>
                  <a:gd name="connsiteY1" fmla="*/ 21939 h 72967"/>
                  <a:gd name="connsiteX2" fmla="*/ 90032 w 105693"/>
                  <a:gd name="connsiteY2" fmla="*/ 25016 h 72967"/>
                  <a:gd name="connsiteX3" fmla="*/ 99262 w 105693"/>
                  <a:gd name="connsiteY3" fmla="*/ 34246 h 72967"/>
                  <a:gd name="connsiteX4" fmla="*/ 102338 w 105693"/>
                  <a:gd name="connsiteY4" fmla="*/ 68092 h 72967"/>
                  <a:gd name="connsiteX5" fmla="*/ 68493 w 105693"/>
                  <a:gd name="connsiteY5" fmla="*/ 68092 h 72967"/>
                  <a:gd name="connsiteX6" fmla="*/ 25415 w 105693"/>
                  <a:gd name="connsiteY6" fmla="*/ 49631 h 72967"/>
                  <a:gd name="connsiteX7" fmla="*/ 800 w 105693"/>
                  <a:gd name="connsiteY7" fmla="*/ 28092 h 72967"/>
                  <a:gd name="connsiteX8" fmla="*/ 13109 w 105693"/>
                  <a:gd name="connsiteY8" fmla="*/ 400 h 72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693" h="72967">
                    <a:moveTo>
                      <a:pt x="13109" y="400"/>
                    </a:moveTo>
                    <a:cubicBezTo>
                      <a:pt x="34646" y="-2677"/>
                      <a:pt x="56184" y="12708"/>
                      <a:pt x="80799" y="21939"/>
                    </a:cubicBezTo>
                    <a:cubicBezTo>
                      <a:pt x="83877" y="21939"/>
                      <a:pt x="90032" y="21939"/>
                      <a:pt x="90032" y="25016"/>
                    </a:cubicBezTo>
                    <a:cubicBezTo>
                      <a:pt x="93108" y="28092"/>
                      <a:pt x="96184" y="28092"/>
                      <a:pt x="99262" y="34246"/>
                    </a:cubicBezTo>
                    <a:cubicBezTo>
                      <a:pt x="105416" y="43477"/>
                      <a:pt x="108493" y="58862"/>
                      <a:pt x="102338" y="68092"/>
                    </a:cubicBezTo>
                    <a:cubicBezTo>
                      <a:pt x="93108" y="77323"/>
                      <a:pt x="80799" y="71170"/>
                      <a:pt x="68493" y="68092"/>
                    </a:cubicBezTo>
                    <a:cubicBezTo>
                      <a:pt x="53108" y="61938"/>
                      <a:pt x="40800" y="58862"/>
                      <a:pt x="25415" y="49631"/>
                    </a:cubicBezTo>
                    <a:cubicBezTo>
                      <a:pt x="16185" y="46554"/>
                      <a:pt x="3876" y="40400"/>
                      <a:pt x="800" y="28092"/>
                    </a:cubicBezTo>
                    <a:cubicBezTo>
                      <a:pt x="-2276" y="12708"/>
                      <a:pt x="3876" y="400"/>
                      <a:pt x="13109" y="400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B0681281-1938-46A4-AC25-E22E62EA4B30}"/>
                  </a:ext>
                </a:extLst>
              </p:cNvPr>
              <p:cNvSpPr/>
              <p:nvPr/>
            </p:nvSpPr>
            <p:spPr>
              <a:xfrm>
                <a:off x="11453523" y="6212147"/>
                <a:ext cx="107369" cy="75062"/>
              </a:xfrm>
              <a:custGeom>
                <a:avLst/>
                <a:gdLst>
                  <a:gd name="connsiteX0" fmla="*/ 11708 w 107369"/>
                  <a:gd name="connsiteY0" fmla="*/ 2495 h 75062"/>
                  <a:gd name="connsiteX1" fmla="*/ 85555 w 107369"/>
                  <a:gd name="connsiteY1" fmla="*/ 24034 h 75062"/>
                  <a:gd name="connsiteX2" fmla="*/ 91707 w 107369"/>
                  <a:gd name="connsiteY2" fmla="*/ 27110 h 75062"/>
                  <a:gd name="connsiteX3" fmla="*/ 100939 w 107369"/>
                  <a:gd name="connsiteY3" fmla="*/ 36341 h 75062"/>
                  <a:gd name="connsiteX4" fmla="*/ 104015 w 107369"/>
                  <a:gd name="connsiteY4" fmla="*/ 70188 h 75062"/>
                  <a:gd name="connsiteX5" fmla="*/ 70170 w 107369"/>
                  <a:gd name="connsiteY5" fmla="*/ 70188 h 75062"/>
                  <a:gd name="connsiteX6" fmla="*/ 27092 w 107369"/>
                  <a:gd name="connsiteY6" fmla="*/ 51726 h 75062"/>
                  <a:gd name="connsiteX7" fmla="*/ 2477 w 107369"/>
                  <a:gd name="connsiteY7" fmla="*/ 30187 h 75062"/>
                  <a:gd name="connsiteX8" fmla="*/ 11708 w 107369"/>
                  <a:gd name="connsiteY8" fmla="*/ 2495 h 75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369" h="75062">
                    <a:moveTo>
                      <a:pt x="11708" y="2495"/>
                    </a:moveTo>
                    <a:cubicBezTo>
                      <a:pt x="36323" y="-6736"/>
                      <a:pt x="60938" y="11725"/>
                      <a:pt x="85555" y="24034"/>
                    </a:cubicBezTo>
                    <a:cubicBezTo>
                      <a:pt x="88631" y="24034"/>
                      <a:pt x="88631" y="27110"/>
                      <a:pt x="91707" y="27110"/>
                    </a:cubicBezTo>
                    <a:cubicBezTo>
                      <a:pt x="94785" y="30187"/>
                      <a:pt x="97861" y="30187"/>
                      <a:pt x="100939" y="36341"/>
                    </a:cubicBezTo>
                    <a:cubicBezTo>
                      <a:pt x="107092" y="45572"/>
                      <a:pt x="110170" y="60956"/>
                      <a:pt x="104015" y="70188"/>
                    </a:cubicBezTo>
                    <a:cubicBezTo>
                      <a:pt x="94785" y="79418"/>
                      <a:pt x="82477" y="73264"/>
                      <a:pt x="70170" y="70188"/>
                    </a:cubicBezTo>
                    <a:cubicBezTo>
                      <a:pt x="54785" y="64033"/>
                      <a:pt x="42477" y="60956"/>
                      <a:pt x="27092" y="51726"/>
                    </a:cubicBezTo>
                    <a:cubicBezTo>
                      <a:pt x="17862" y="48649"/>
                      <a:pt x="5553" y="42494"/>
                      <a:pt x="2477" y="30187"/>
                    </a:cubicBezTo>
                    <a:cubicBezTo>
                      <a:pt x="-3677" y="14802"/>
                      <a:pt x="2477" y="5572"/>
                      <a:pt x="11708" y="2495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6070CC4B-DF60-4B49-BAF5-1BB2669F1A51}"/>
                  </a:ext>
                </a:extLst>
              </p:cNvPr>
              <p:cNvSpPr/>
              <p:nvPr/>
            </p:nvSpPr>
            <p:spPr>
              <a:xfrm>
                <a:off x="11453451" y="6249027"/>
                <a:ext cx="92057" cy="59720"/>
              </a:xfrm>
              <a:custGeom>
                <a:avLst/>
                <a:gdLst>
                  <a:gd name="connsiteX0" fmla="*/ 8703 w 92057"/>
                  <a:gd name="connsiteY0" fmla="*/ 2538 h 59720"/>
                  <a:gd name="connsiteX1" fmla="*/ 73318 w 92057"/>
                  <a:gd name="connsiteY1" fmla="*/ 17923 h 59720"/>
                  <a:gd name="connsiteX2" fmla="*/ 76394 w 92057"/>
                  <a:gd name="connsiteY2" fmla="*/ 20999 h 59720"/>
                  <a:gd name="connsiteX3" fmla="*/ 85626 w 92057"/>
                  <a:gd name="connsiteY3" fmla="*/ 27153 h 59720"/>
                  <a:gd name="connsiteX4" fmla="*/ 88703 w 92057"/>
                  <a:gd name="connsiteY4" fmla="*/ 54845 h 59720"/>
                  <a:gd name="connsiteX5" fmla="*/ 61010 w 92057"/>
                  <a:gd name="connsiteY5" fmla="*/ 54845 h 59720"/>
                  <a:gd name="connsiteX6" fmla="*/ 24088 w 92057"/>
                  <a:gd name="connsiteY6" fmla="*/ 39460 h 59720"/>
                  <a:gd name="connsiteX7" fmla="*/ 2549 w 92057"/>
                  <a:gd name="connsiteY7" fmla="*/ 20999 h 59720"/>
                  <a:gd name="connsiteX8" fmla="*/ 8703 w 92057"/>
                  <a:gd name="connsiteY8" fmla="*/ 2538 h 59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2057" h="59720">
                    <a:moveTo>
                      <a:pt x="8703" y="2538"/>
                    </a:moveTo>
                    <a:cubicBezTo>
                      <a:pt x="30240" y="-6693"/>
                      <a:pt x="51779" y="11768"/>
                      <a:pt x="73318" y="17923"/>
                    </a:cubicBezTo>
                    <a:cubicBezTo>
                      <a:pt x="76394" y="17923"/>
                      <a:pt x="76394" y="20999"/>
                      <a:pt x="76394" y="20999"/>
                    </a:cubicBezTo>
                    <a:cubicBezTo>
                      <a:pt x="79472" y="24076"/>
                      <a:pt x="82548" y="24076"/>
                      <a:pt x="85626" y="27153"/>
                    </a:cubicBezTo>
                    <a:cubicBezTo>
                      <a:pt x="91779" y="36383"/>
                      <a:pt x="94857" y="48692"/>
                      <a:pt x="88703" y="54845"/>
                    </a:cubicBezTo>
                    <a:cubicBezTo>
                      <a:pt x="82548" y="64076"/>
                      <a:pt x="67164" y="57922"/>
                      <a:pt x="61010" y="54845"/>
                    </a:cubicBezTo>
                    <a:cubicBezTo>
                      <a:pt x="48703" y="51768"/>
                      <a:pt x="36395" y="45615"/>
                      <a:pt x="24088" y="39460"/>
                    </a:cubicBezTo>
                    <a:cubicBezTo>
                      <a:pt x="14856" y="36383"/>
                      <a:pt x="5625" y="33307"/>
                      <a:pt x="2549" y="20999"/>
                    </a:cubicBezTo>
                    <a:cubicBezTo>
                      <a:pt x="-3605" y="11768"/>
                      <a:pt x="2549" y="5614"/>
                      <a:pt x="8703" y="2538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77BF61CA-1CC4-4784-A7A8-0F6360062984}"/>
                  </a:ext>
                </a:extLst>
              </p:cNvPr>
              <p:cNvSpPr/>
              <p:nvPr/>
            </p:nvSpPr>
            <p:spPr>
              <a:xfrm>
                <a:off x="11456000" y="6283733"/>
                <a:ext cx="69230" cy="48307"/>
              </a:xfrm>
              <a:custGeom>
                <a:avLst/>
                <a:gdLst>
                  <a:gd name="connsiteX0" fmla="*/ 9230 w 69230"/>
                  <a:gd name="connsiteY0" fmla="*/ 1677 h 48307"/>
                  <a:gd name="connsiteX1" fmla="*/ 55384 w 69230"/>
                  <a:gd name="connsiteY1" fmla="*/ 13985 h 48307"/>
                  <a:gd name="connsiteX2" fmla="*/ 58460 w 69230"/>
                  <a:gd name="connsiteY2" fmla="*/ 17062 h 48307"/>
                  <a:gd name="connsiteX3" fmla="*/ 64615 w 69230"/>
                  <a:gd name="connsiteY3" fmla="*/ 23216 h 48307"/>
                  <a:gd name="connsiteX4" fmla="*/ 64615 w 69230"/>
                  <a:gd name="connsiteY4" fmla="*/ 44755 h 48307"/>
                  <a:gd name="connsiteX5" fmla="*/ 43076 w 69230"/>
                  <a:gd name="connsiteY5" fmla="*/ 44755 h 48307"/>
                  <a:gd name="connsiteX6" fmla="*/ 15385 w 69230"/>
                  <a:gd name="connsiteY6" fmla="*/ 35523 h 48307"/>
                  <a:gd name="connsiteX7" fmla="*/ 0 w 69230"/>
                  <a:gd name="connsiteY7" fmla="*/ 23216 h 48307"/>
                  <a:gd name="connsiteX8" fmla="*/ 9230 w 69230"/>
                  <a:gd name="connsiteY8" fmla="*/ 1677 h 48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9230" h="48307">
                    <a:moveTo>
                      <a:pt x="9230" y="1677"/>
                    </a:moveTo>
                    <a:cubicBezTo>
                      <a:pt x="24615" y="-4476"/>
                      <a:pt x="40000" y="7831"/>
                      <a:pt x="55384" y="13985"/>
                    </a:cubicBezTo>
                    <a:cubicBezTo>
                      <a:pt x="55384" y="13985"/>
                      <a:pt x="58460" y="13985"/>
                      <a:pt x="58460" y="17062"/>
                    </a:cubicBezTo>
                    <a:cubicBezTo>
                      <a:pt x="61538" y="17062"/>
                      <a:pt x="61538" y="20139"/>
                      <a:pt x="64615" y="23216"/>
                    </a:cubicBezTo>
                    <a:cubicBezTo>
                      <a:pt x="70769" y="29370"/>
                      <a:pt x="70769" y="38600"/>
                      <a:pt x="64615" y="44755"/>
                    </a:cubicBezTo>
                    <a:cubicBezTo>
                      <a:pt x="58460" y="50908"/>
                      <a:pt x="49230" y="47831"/>
                      <a:pt x="43076" y="44755"/>
                    </a:cubicBezTo>
                    <a:cubicBezTo>
                      <a:pt x="33845" y="41678"/>
                      <a:pt x="24615" y="38600"/>
                      <a:pt x="15385" y="35523"/>
                    </a:cubicBezTo>
                    <a:cubicBezTo>
                      <a:pt x="9230" y="32446"/>
                      <a:pt x="0" y="29370"/>
                      <a:pt x="0" y="23216"/>
                    </a:cubicBezTo>
                    <a:cubicBezTo>
                      <a:pt x="0" y="10908"/>
                      <a:pt x="3076" y="4754"/>
                      <a:pt x="9230" y="167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1B231E61-1E97-4C1A-8C27-A27BB32EC411}"/>
                  </a:ext>
                </a:extLst>
              </p:cNvPr>
              <p:cNvSpPr/>
              <p:nvPr/>
            </p:nvSpPr>
            <p:spPr>
              <a:xfrm>
                <a:off x="11449651" y="6179521"/>
                <a:ext cx="122265" cy="108966"/>
              </a:xfrm>
              <a:custGeom>
                <a:avLst/>
                <a:gdLst>
                  <a:gd name="connsiteX0" fmla="*/ 95579 w 122265"/>
                  <a:gd name="connsiteY0" fmla="*/ 108967 h 108966"/>
                  <a:gd name="connsiteX1" fmla="*/ 61734 w 122265"/>
                  <a:gd name="connsiteY1" fmla="*/ 99736 h 108966"/>
                  <a:gd name="connsiteX2" fmla="*/ 195 w 122265"/>
                  <a:gd name="connsiteY2" fmla="*/ 47428 h 108966"/>
                  <a:gd name="connsiteX3" fmla="*/ 9426 w 122265"/>
                  <a:gd name="connsiteY3" fmla="*/ 32044 h 108966"/>
                  <a:gd name="connsiteX4" fmla="*/ 21734 w 122265"/>
                  <a:gd name="connsiteY4" fmla="*/ 32044 h 108966"/>
                  <a:gd name="connsiteX5" fmla="*/ 98657 w 122265"/>
                  <a:gd name="connsiteY5" fmla="*/ 59736 h 108966"/>
                  <a:gd name="connsiteX6" fmla="*/ 104811 w 122265"/>
                  <a:gd name="connsiteY6" fmla="*/ 50505 h 108966"/>
                  <a:gd name="connsiteX7" fmla="*/ 104811 w 122265"/>
                  <a:gd name="connsiteY7" fmla="*/ 44351 h 108966"/>
                  <a:gd name="connsiteX8" fmla="*/ 43273 w 122265"/>
                  <a:gd name="connsiteY8" fmla="*/ 10505 h 108966"/>
                  <a:gd name="connsiteX9" fmla="*/ 40195 w 122265"/>
                  <a:gd name="connsiteY9" fmla="*/ 4351 h 108966"/>
                  <a:gd name="connsiteX10" fmla="*/ 46349 w 122265"/>
                  <a:gd name="connsiteY10" fmla="*/ 1274 h 108966"/>
                  <a:gd name="connsiteX11" fmla="*/ 117118 w 122265"/>
                  <a:gd name="connsiteY11" fmla="*/ 41275 h 108966"/>
                  <a:gd name="connsiteX12" fmla="*/ 117118 w 122265"/>
                  <a:gd name="connsiteY12" fmla="*/ 56660 h 108966"/>
                  <a:gd name="connsiteX13" fmla="*/ 114042 w 122265"/>
                  <a:gd name="connsiteY13" fmla="*/ 65890 h 108966"/>
                  <a:gd name="connsiteX14" fmla="*/ 120196 w 122265"/>
                  <a:gd name="connsiteY14" fmla="*/ 102813 h 108966"/>
                  <a:gd name="connsiteX15" fmla="*/ 95579 w 122265"/>
                  <a:gd name="connsiteY15" fmla="*/ 108967 h 108966"/>
                  <a:gd name="connsiteX16" fmla="*/ 12504 w 122265"/>
                  <a:gd name="connsiteY16" fmla="*/ 41275 h 108966"/>
                  <a:gd name="connsiteX17" fmla="*/ 9426 w 122265"/>
                  <a:gd name="connsiteY17" fmla="*/ 47428 h 108966"/>
                  <a:gd name="connsiteX18" fmla="*/ 64810 w 122265"/>
                  <a:gd name="connsiteY18" fmla="*/ 87429 h 108966"/>
                  <a:gd name="connsiteX19" fmla="*/ 101733 w 122265"/>
                  <a:gd name="connsiteY19" fmla="*/ 90505 h 108966"/>
                  <a:gd name="connsiteX20" fmla="*/ 95579 w 122265"/>
                  <a:gd name="connsiteY20" fmla="*/ 65890 h 108966"/>
                  <a:gd name="connsiteX21" fmla="*/ 12504 w 122265"/>
                  <a:gd name="connsiteY21" fmla="*/ 41275 h 108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2265" h="108966">
                    <a:moveTo>
                      <a:pt x="95579" y="108967"/>
                    </a:moveTo>
                    <a:cubicBezTo>
                      <a:pt x="86349" y="108967"/>
                      <a:pt x="74042" y="105890"/>
                      <a:pt x="61734" y="99736"/>
                    </a:cubicBezTo>
                    <a:cubicBezTo>
                      <a:pt x="30964" y="90505"/>
                      <a:pt x="-2881" y="72044"/>
                      <a:pt x="195" y="47428"/>
                    </a:cubicBezTo>
                    <a:cubicBezTo>
                      <a:pt x="195" y="38198"/>
                      <a:pt x="3271" y="35121"/>
                      <a:pt x="9426" y="32044"/>
                    </a:cubicBezTo>
                    <a:cubicBezTo>
                      <a:pt x="12504" y="28967"/>
                      <a:pt x="18656" y="28967"/>
                      <a:pt x="21734" y="32044"/>
                    </a:cubicBezTo>
                    <a:cubicBezTo>
                      <a:pt x="70964" y="59736"/>
                      <a:pt x="89427" y="59736"/>
                      <a:pt x="98657" y="59736"/>
                    </a:cubicBezTo>
                    <a:cubicBezTo>
                      <a:pt x="101733" y="59736"/>
                      <a:pt x="104811" y="56660"/>
                      <a:pt x="104811" y="50505"/>
                    </a:cubicBezTo>
                    <a:cubicBezTo>
                      <a:pt x="104811" y="47428"/>
                      <a:pt x="104811" y="47428"/>
                      <a:pt x="104811" y="44351"/>
                    </a:cubicBezTo>
                    <a:cubicBezTo>
                      <a:pt x="95579" y="28967"/>
                      <a:pt x="55579" y="13582"/>
                      <a:pt x="43273" y="10505"/>
                    </a:cubicBezTo>
                    <a:cubicBezTo>
                      <a:pt x="40195" y="10505"/>
                      <a:pt x="37119" y="7429"/>
                      <a:pt x="40195" y="4351"/>
                    </a:cubicBezTo>
                    <a:cubicBezTo>
                      <a:pt x="40195" y="1274"/>
                      <a:pt x="43273" y="-1802"/>
                      <a:pt x="46349" y="1274"/>
                    </a:cubicBezTo>
                    <a:cubicBezTo>
                      <a:pt x="52503" y="4351"/>
                      <a:pt x="104811" y="19736"/>
                      <a:pt x="117118" y="41275"/>
                    </a:cubicBezTo>
                    <a:cubicBezTo>
                      <a:pt x="120196" y="47428"/>
                      <a:pt x="120196" y="53582"/>
                      <a:pt x="117118" y="56660"/>
                    </a:cubicBezTo>
                    <a:cubicBezTo>
                      <a:pt x="117118" y="59736"/>
                      <a:pt x="114042" y="62813"/>
                      <a:pt x="114042" y="65890"/>
                    </a:cubicBezTo>
                    <a:cubicBezTo>
                      <a:pt x="117118" y="72044"/>
                      <a:pt x="126348" y="87429"/>
                      <a:pt x="120196" y="102813"/>
                    </a:cubicBezTo>
                    <a:cubicBezTo>
                      <a:pt x="110964" y="105890"/>
                      <a:pt x="104811" y="108967"/>
                      <a:pt x="95579" y="108967"/>
                    </a:cubicBezTo>
                    <a:close/>
                    <a:moveTo>
                      <a:pt x="12504" y="41275"/>
                    </a:moveTo>
                    <a:cubicBezTo>
                      <a:pt x="12504" y="41275"/>
                      <a:pt x="9426" y="41275"/>
                      <a:pt x="9426" y="47428"/>
                    </a:cubicBezTo>
                    <a:cubicBezTo>
                      <a:pt x="9426" y="59736"/>
                      <a:pt x="27888" y="75120"/>
                      <a:pt x="64810" y="87429"/>
                    </a:cubicBezTo>
                    <a:cubicBezTo>
                      <a:pt x="95579" y="96659"/>
                      <a:pt x="101733" y="96659"/>
                      <a:pt x="101733" y="90505"/>
                    </a:cubicBezTo>
                    <a:cubicBezTo>
                      <a:pt x="104811" y="84352"/>
                      <a:pt x="98657" y="72044"/>
                      <a:pt x="95579" y="65890"/>
                    </a:cubicBezTo>
                    <a:cubicBezTo>
                      <a:pt x="86349" y="72044"/>
                      <a:pt x="67888" y="72044"/>
                      <a:pt x="12504" y="4127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B3EB575D-556C-4D01-8A46-94FA200303D5}"/>
                  </a:ext>
                </a:extLst>
              </p:cNvPr>
              <p:cNvSpPr/>
              <p:nvPr/>
            </p:nvSpPr>
            <p:spPr>
              <a:xfrm>
                <a:off x="11447825" y="6248488"/>
                <a:ext cx="107128" cy="67691"/>
              </a:xfrm>
              <a:custGeom>
                <a:avLst/>
                <a:gdLst>
                  <a:gd name="connsiteX0" fmla="*/ 82020 w 107128"/>
                  <a:gd name="connsiteY0" fmla="*/ 67692 h 67691"/>
                  <a:gd name="connsiteX1" fmla="*/ 75868 w 107128"/>
                  <a:gd name="connsiteY1" fmla="*/ 67692 h 67691"/>
                  <a:gd name="connsiteX2" fmla="*/ 5097 w 107128"/>
                  <a:gd name="connsiteY2" fmla="*/ 36923 h 67691"/>
                  <a:gd name="connsiteX3" fmla="*/ 2021 w 107128"/>
                  <a:gd name="connsiteY3" fmla="*/ 18462 h 67691"/>
                  <a:gd name="connsiteX4" fmla="*/ 17405 w 107128"/>
                  <a:gd name="connsiteY4" fmla="*/ 0 h 67691"/>
                  <a:gd name="connsiteX5" fmla="*/ 23559 w 107128"/>
                  <a:gd name="connsiteY5" fmla="*/ 3077 h 67691"/>
                  <a:gd name="connsiteX6" fmla="*/ 20481 w 107128"/>
                  <a:gd name="connsiteY6" fmla="*/ 9230 h 67691"/>
                  <a:gd name="connsiteX7" fmla="*/ 14329 w 107128"/>
                  <a:gd name="connsiteY7" fmla="*/ 18462 h 67691"/>
                  <a:gd name="connsiteX8" fmla="*/ 14329 w 107128"/>
                  <a:gd name="connsiteY8" fmla="*/ 24615 h 67691"/>
                  <a:gd name="connsiteX9" fmla="*/ 78944 w 107128"/>
                  <a:gd name="connsiteY9" fmla="*/ 52307 h 67691"/>
                  <a:gd name="connsiteX10" fmla="*/ 91252 w 107128"/>
                  <a:gd name="connsiteY10" fmla="*/ 49231 h 67691"/>
                  <a:gd name="connsiteX11" fmla="*/ 94328 w 107128"/>
                  <a:gd name="connsiteY11" fmla="*/ 33846 h 67691"/>
                  <a:gd name="connsiteX12" fmla="*/ 100483 w 107128"/>
                  <a:gd name="connsiteY12" fmla="*/ 27692 h 67691"/>
                  <a:gd name="connsiteX13" fmla="*/ 106637 w 107128"/>
                  <a:gd name="connsiteY13" fmla="*/ 33846 h 67691"/>
                  <a:gd name="connsiteX14" fmla="*/ 100483 w 107128"/>
                  <a:gd name="connsiteY14" fmla="*/ 61538 h 67691"/>
                  <a:gd name="connsiteX15" fmla="*/ 82020 w 107128"/>
                  <a:gd name="connsiteY15" fmla="*/ 67692 h 67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7128" h="67691">
                    <a:moveTo>
                      <a:pt x="82020" y="67692"/>
                    </a:moveTo>
                    <a:cubicBezTo>
                      <a:pt x="78944" y="67692"/>
                      <a:pt x="78944" y="67692"/>
                      <a:pt x="75868" y="67692"/>
                    </a:cubicBezTo>
                    <a:cubicBezTo>
                      <a:pt x="45098" y="61538"/>
                      <a:pt x="11251" y="43077"/>
                      <a:pt x="5097" y="36923"/>
                    </a:cubicBezTo>
                    <a:cubicBezTo>
                      <a:pt x="-1056" y="33846"/>
                      <a:pt x="-1056" y="24615"/>
                      <a:pt x="2021" y="18462"/>
                    </a:cubicBezTo>
                    <a:cubicBezTo>
                      <a:pt x="5097" y="12308"/>
                      <a:pt x="8175" y="3077"/>
                      <a:pt x="17405" y="0"/>
                    </a:cubicBezTo>
                    <a:cubicBezTo>
                      <a:pt x="20481" y="0"/>
                      <a:pt x="23559" y="0"/>
                      <a:pt x="23559" y="3077"/>
                    </a:cubicBezTo>
                    <a:cubicBezTo>
                      <a:pt x="23559" y="6153"/>
                      <a:pt x="23559" y="9230"/>
                      <a:pt x="20481" y="9230"/>
                    </a:cubicBezTo>
                    <a:cubicBezTo>
                      <a:pt x="20481" y="9230"/>
                      <a:pt x="14329" y="15385"/>
                      <a:pt x="14329" y="18462"/>
                    </a:cubicBezTo>
                    <a:cubicBezTo>
                      <a:pt x="14329" y="21538"/>
                      <a:pt x="14329" y="24615"/>
                      <a:pt x="14329" y="24615"/>
                    </a:cubicBezTo>
                    <a:cubicBezTo>
                      <a:pt x="20481" y="30769"/>
                      <a:pt x="51251" y="49231"/>
                      <a:pt x="78944" y="52307"/>
                    </a:cubicBezTo>
                    <a:cubicBezTo>
                      <a:pt x="85098" y="52307"/>
                      <a:pt x="88174" y="52307"/>
                      <a:pt x="91252" y="49231"/>
                    </a:cubicBezTo>
                    <a:cubicBezTo>
                      <a:pt x="94328" y="46154"/>
                      <a:pt x="94328" y="36923"/>
                      <a:pt x="94328" y="33846"/>
                    </a:cubicBezTo>
                    <a:cubicBezTo>
                      <a:pt x="94328" y="30769"/>
                      <a:pt x="94328" y="27692"/>
                      <a:pt x="100483" y="27692"/>
                    </a:cubicBezTo>
                    <a:cubicBezTo>
                      <a:pt x="103559" y="27692"/>
                      <a:pt x="106637" y="27692"/>
                      <a:pt x="106637" y="33846"/>
                    </a:cubicBezTo>
                    <a:cubicBezTo>
                      <a:pt x="106637" y="36923"/>
                      <a:pt x="109713" y="52307"/>
                      <a:pt x="100483" y="61538"/>
                    </a:cubicBezTo>
                    <a:cubicBezTo>
                      <a:pt x="94328" y="64616"/>
                      <a:pt x="88174" y="67692"/>
                      <a:pt x="82020" y="6769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842615F7-AA9C-4FDF-9EF5-FED577299A2E}"/>
                </a:ext>
              </a:extLst>
            </p:cNvPr>
            <p:cNvSpPr/>
            <p:nvPr/>
          </p:nvSpPr>
          <p:spPr>
            <a:xfrm>
              <a:off x="11507565" y="6223610"/>
              <a:ext cx="107416" cy="92726"/>
            </a:xfrm>
            <a:custGeom>
              <a:avLst/>
              <a:gdLst>
                <a:gd name="connsiteX0" fmla="*/ 743 w 107416"/>
                <a:gd name="connsiteY0" fmla="*/ 46416 h 92726"/>
                <a:gd name="connsiteX1" fmla="*/ 22280 w 107416"/>
                <a:gd name="connsiteY1" fmla="*/ 43340 h 92726"/>
                <a:gd name="connsiteX2" fmla="*/ 65357 w 107416"/>
                <a:gd name="connsiteY2" fmla="*/ 55648 h 92726"/>
                <a:gd name="connsiteX3" fmla="*/ 86896 w 107416"/>
                <a:gd name="connsiteY3" fmla="*/ 92570 h 92726"/>
                <a:gd name="connsiteX4" fmla="*/ 105357 w 107416"/>
                <a:gd name="connsiteY4" fmla="*/ 40263 h 92726"/>
                <a:gd name="connsiteX5" fmla="*/ 37664 w 107416"/>
                <a:gd name="connsiteY5" fmla="*/ 262 h 92726"/>
                <a:gd name="connsiteX6" fmla="*/ 743 w 107416"/>
                <a:gd name="connsiteY6" fmla="*/ 46416 h 92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416" h="92726">
                  <a:moveTo>
                    <a:pt x="743" y="46416"/>
                  </a:moveTo>
                  <a:cubicBezTo>
                    <a:pt x="3819" y="52570"/>
                    <a:pt x="16127" y="46416"/>
                    <a:pt x="22280" y="43340"/>
                  </a:cubicBezTo>
                  <a:cubicBezTo>
                    <a:pt x="40742" y="43340"/>
                    <a:pt x="53049" y="43340"/>
                    <a:pt x="65357" y="55648"/>
                  </a:cubicBezTo>
                  <a:cubicBezTo>
                    <a:pt x="71512" y="61801"/>
                    <a:pt x="80742" y="86417"/>
                    <a:pt x="86896" y="92570"/>
                  </a:cubicBezTo>
                  <a:cubicBezTo>
                    <a:pt x="89972" y="95647"/>
                    <a:pt x="114587" y="52570"/>
                    <a:pt x="105357" y="40263"/>
                  </a:cubicBezTo>
                  <a:cubicBezTo>
                    <a:pt x="93050" y="21801"/>
                    <a:pt x="62281" y="-2814"/>
                    <a:pt x="37664" y="262"/>
                  </a:cubicBezTo>
                  <a:cubicBezTo>
                    <a:pt x="28434" y="6417"/>
                    <a:pt x="-5412" y="31032"/>
                    <a:pt x="743" y="46416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02F2491E-FF0C-4C69-93D1-FA8D63CD1948}"/>
                </a:ext>
              </a:extLst>
            </p:cNvPr>
            <p:cNvSpPr/>
            <p:nvPr/>
          </p:nvSpPr>
          <p:spPr>
            <a:xfrm>
              <a:off x="11500879" y="6219643"/>
              <a:ext cx="122641" cy="102691"/>
            </a:xfrm>
            <a:custGeom>
              <a:avLst/>
              <a:gdLst>
                <a:gd name="connsiteX0" fmla="*/ 68968 w 122641"/>
                <a:gd name="connsiteY0" fmla="*/ 102691 h 102691"/>
                <a:gd name="connsiteX1" fmla="*/ 62813 w 122641"/>
                <a:gd name="connsiteY1" fmla="*/ 99614 h 102691"/>
                <a:gd name="connsiteX2" fmla="*/ 62813 w 122641"/>
                <a:gd name="connsiteY2" fmla="*/ 62691 h 102691"/>
                <a:gd name="connsiteX3" fmla="*/ 25890 w 122641"/>
                <a:gd name="connsiteY3" fmla="*/ 56537 h 102691"/>
                <a:gd name="connsiteX4" fmla="*/ 4351 w 122641"/>
                <a:gd name="connsiteY4" fmla="*/ 53460 h 102691"/>
                <a:gd name="connsiteX5" fmla="*/ 1275 w 122641"/>
                <a:gd name="connsiteY5" fmla="*/ 38076 h 102691"/>
                <a:gd name="connsiteX6" fmla="*/ 47429 w 122641"/>
                <a:gd name="connsiteY6" fmla="*/ 1153 h 102691"/>
                <a:gd name="connsiteX7" fmla="*/ 121274 w 122641"/>
                <a:gd name="connsiteY7" fmla="*/ 41153 h 102691"/>
                <a:gd name="connsiteX8" fmla="*/ 121274 w 122641"/>
                <a:gd name="connsiteY8" fmla="*/ 50383 h 102691"/>
                <a:gd name="connsiteX9" fmla="*/ 112044 w 122641"/>
                <a:gd name="connsiteY9" fmla="*/ 50383 h 102691"/>
                <a:gd name="connsiteX10" fmla="*/ 53583 w 122641"/>
                <a:gd name="connsiteY10" fmla="*/ 13461 h 102691"/>
                <a:gd name="connsiteX11" fmla="*/ 16660 w 122641"/>
                <a:gd name="connsiteY11" fmla="*/ 44230 h 102691"/>
                <a:gd name="connsiteX12" fmla="*/ 16660 w 122641"/>
                <a:gd name="connsiteY12" fmla="*/ 47307 h 102691"/>
                <a:gd name="connsiteX13" fmla="*/ 28966 w 122641"/>
                <a:gd name="connsiteY13" fmla="*/ 47307 h 102691"/>
                <a:gd name="connsiteX14" fmla="*/ 81274 w 122641"/>
                <a:gd name="connsiteY14" fmla="*/ 59614 h 102691"/>
                <a:gd name="connsiteX15" fmla="*/ 81274 w 122641"/>
                <a:gd name="connsiteY15" fmla="*/ 65768 h 102691"/>
                <a:gd name="connsiteX16" fmla="*/ 81274 w 122641"/>
                <a:gd name="connsiteY16" fmla="*/ 93461 h 102691"/>
                <a:gd name="connsiteX17" fmla="*/ 68968 w 122641"/>
                <a:gd name="connsiteY17" fmla="*/ 102691 h 102691"/>
                <a:gd name="connsiteX18" fmla="*/ 68968 w 122641"/>
                <a:gd name="connsiteY18" fmla="*/ 102691 h 102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2641" h="102691">
                  <a:moveTo>
                    <a:pt x="68968" y="102691"/>
                  </a:moveTo>
                  <a:cubicBezTo>
                    <a:pt x="65890" y="102691"/>
                    <a:pt x="65890" y="102691"/>
                    <a:pt x="62813" y="99614"/>
                  </a:cubicBezTo>
                  <a:cubicBezTo>
                    <a:pt x="56659" y="87307"/>
                    <a:pt x="59735" y="71922"/>
                    <a:pt x="62813" y="62691"/>
                  </a:cubicBezTo>
                  <a:cubicBezTo>
                    <a:pt x="50505" y="53460"/>
                    <a:pt x="38198" y="53460"/>
                    <a:pt x="25890" y="56537"/>
                  </a:cubicBezTo>
                  <a:cubicBezTo>
                    <a:pt x="16660" y="59614"/>
                    <a:pt x="7429" y="59614"/>
                    <a:pt x="4351" y="53460"/>
                  </a:cubicBezTo>
                  <a:cubicBezTo>
                    <a:pt x="1275" y="50383"/>
                    <a:pt x="-1803" y="44230"/>
                    <a:pt x="1275" y="38076"/>
                  </a:cubicBezTo>
                  <a:cubicBezTo>
                    <a:pt x="4351" y="25768"/>
                    <a:pt x="19736" y="7306"/>
                    <a:pt x="47429" y="1153"/>
                  </a:cubicBezTo>
                  <a:cubicBezTo>
                    <a:pt x="81274" y="-8078"/>
                    <a:pt x="118198" y="41153"/>
                    <a:pt x="121274" y="41153"/>
                  </a:cubicBezTo>
                  <a:cubicBezTo>
                    <a:pt x="124352" y="44230"/>
                    <a:pt x="121274" y="47307"/>
                    <a:pt x="121274" y="50383"/>
                  </a:cubicBezTo>
                  <a:cubicBezTo>
                    <a:pt x="118198" y="53460"/>
                    <a:pt x="115122" y="50383"/>
                    <a:pt x="112044" y="50383"/>
                  </a:cubicBezTo>
                  <a:cubicBezTo>
                    <a:pt x="102813" y="38076"/>
                    <a:pt x="72044" y="7306"/>
                    <a:pt x="53583" y="13461"/>
                  </a:cubicBezTo>
                  <a:cubicBezTo>
                    <a:pt x="32044" y="19614"/>
                    <a:pt x="19736" y="34998"/>
                    <a:pt x="16660" y="44230"/>
                  </a:cubicBezTo>
                  <a:cubicBezTo>
                    <a:pt x="16660" y="44230"/>
                    <a:pt x="16660" y="47307"/>
                    <a:pt x="16660" y="47307"/>
                  </a:cubicBezTo>
                  <a:cubicBezTo>
                    <a:pt x="16660" y="47307"/>
                    <a:pt x="25890" y="47307"/>
                    <a:pt x="28966" y="47307"/>
                  </a:cubicBezTo>
                  <a:cubicBezTo>
                    <a:pt x="41275" y="44230"/>
                    <a:pt x="62813" y="41153"/>
                    <a:pt x="81274" y="59614"/>
                  </a:cubicBezTo>
                  <a:cubicBezTo>
                    <a:pt x="84352" y="62691"/>
                    <a:pt x="84352" y="62691"/>
                    <a:pt x="81274" y="65768"/>
                  </a:cubicBezTo>
                  <a:cubicBezTo>
                    <a:pt x="78198" y="71922"/>
                    <a:pt x="75120" y="87307"/>
                    <a:pt x="81274" y="93461"/>
                  </a:cubicBezTo>
                  <a:cubicBezTo>
                    <a:pt x="78198" y="96537"/>
                    <a:pt x="75120" y="99614"/>
                    <a:pt x="68968" y="102691"/>
                  </a:cubicBezTo>
                  <a:cubicBezTo>
                    <a:pt x="72044" y="102691"/>
                    <a:pt x="72044" y="102691"/>
                    <a:pt x="68968" y="102691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B3D91FAF-EDFC-4C1B-AAAA-D9A12D1B3D92}"/>
                </a:ext>
              </a:extLst>
            </p:cNvPr>
            <p:cNvSpPr/>
            <p:nvPr/>
          </p:nvSpPr>
          <p:spPr>
            <a:xfrm>
              <a:off x="12724157" y="5384528"/>
              <a:ext cx="267227" cy="302841"/>
            </a:xfrm>
            <a:custGeom>
              <a:avLst/>
              <a:gdLst>
                <a:gd name="connsiteX0" fmla="*/ 94920 w 267227"/>
                <a:gd name="connsiteY0" fmla="*/ 285498 h 302841"/>
                <a:gd name="connsiteX1" fmla="*/ 94920 w 267227"/>
                <a:gd name="connsiteY1" fmla="*/ 285498 h 302841"/>
                <a:gd name="connsiteX2" fmla="*/ 131844 w 267227"/>
                <a:gd name="connsiteY2" fmla="*/ 300883 h 302841"/>
                <a:gd name="connsiteX3" fmla="*/ 267227 w 267227"/>
                <a:gd name="connsiteY3" fmla="*/ 171652 h 302841"/>
                <a:gd name="connsiteX4" fmla="*/ 153382 w 267227"/>
                <a:gd name="connsiteY4" fmla="*/ 11651 h 302841"/>
                <a:gd name="connsiteX5" fmla="*/ 54920 w 267227"/>
                <a:gd name="connsiteY5" fmla="*/ 11651 h 302841"/>
                <a:gd name="connsiteX6" fmla="*/ 2612 w 267227"/>
                <a:gd name="connsiteY6" fmla="*/ 94729 h 302841"/>
                <a:gd name="connsiteX7" fmla="*/ 94920 w 267227"/>
                <a:gd name="connsiteY7" fmla="*/ 285498 h 302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7227" h="302841">
                  <a:moveTo>
                    <a:pt x="94920" y="285498"/>
                  </a:moveTo>
                  <a:cubicBezTo>
                    <a:pt x="94920" y="285498"/>
                    <a:pt x="94920" y="285498"/>
                    <a:pt x="94920" y="285498"/>
                  </a:cubicBezTo>
                  <a:cubicBezTo>
                    <a:pt x="104150" y="297805"/>
                    <a:pt x="116459" y="307036"/>
                    <a:pt x="131844" y="300883"/>
                  </a:cubicBezTo>
                  <a:cubicBezTo>
                    <a:pt x="193382" y="282421"/>
                    <a:pt x="267227" y="248575"/>
                    <a:pt x="267227" y="171652"/>
                  </a:cubicBezTo>
                  <a:cubicBezTo>
                    <a:pt x="267227" y="107036"/>
                    <a:pt x="211843" y="33190"/>
                    <a:pt x="153382" y="11651"/>
                  </a:cubicBezTo>
                  <a:cubicBezTo>
                    <a:pt x="122613" y="-656"/>
                    <a:pt x="82612" y="-6810"/>
                    <a:pt x="54920" y="11651"/>
                  </a:cubicBezTo>
                  <a:cubicBezTo>
                    <a:pt x="30305" y="30113"/>
                    <a:pt x="8767" y="63960"/>
                    <a:pt x="2612" y="94729"/>
                  </a:cubicBezTo>
                  <a:cubicBezTo>
                    <a:pt x="-12772" y="168575"/>
                    <a:pt x="42612" y="239344"/>
                    <a:pt x="94920" y="285498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2D71B326-B488-4657-BB54-13E966243DA6}"/>
                </a:ext>
              </a:extLst>
            </p:cNvPr>
            <p:cNvSpPr/>
            <p:nvPr/>
          </p:nvSpPr>
          <p:spPr>
            <a:xfrm>
              <a:off x="12697026" y="5458117"/>
              <a:ext cx="225281" cy="233383"/>
            </a:xfrm>
            <a:custGeom>
              <a:avLst/>
              <a:gdLst>
                <a:gd name="connsiteX0" fmla="*/ 45128 w 225281"/>
                <a:gd name="connsiteY0" fmla="*/ 2678 h 233383"/>
                <a:gd name="connsiteX1" fmla="*/ 158975 w 225281"/>
                <a:gd name="connsiteY1" fmla="*/ 73447 h 233383"/>
                <a:gd name="connsiteX2" fmla="*/ 223589 w 225281"/>
                <a:gd name="connsiteY2" fmla="*/ 193447 h 233383"/>
                <a:gd name="connsiteX3" fmla="*/ 165129 w 225281"/>
                <a:gd name="connsiteY3" fmla="*/ 211909 h 233383"/>
                <a:gd name="connsiteX4" fmla="*/ 109743 w 225281"/>
                <a:gd name="connsiteY4" fmla="*/ 110370 h 233383"/>
                <a:gd name="connsiteX5" fmla="*/ 17435 w 225281"/>
                <a:gd name="connsiteY5" fmla="*/ 54986 h 233383"/>
                <a:gd name="connsiteX6" fmla="*/ 45128 w 225281"/>
                <a:gd name="connsiteY6" fmla="*/ 2678 h 233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5281" h="233383">
                  <a:moveTo>
                    <a:pt x="45128" y="2678"/>
                  </a:moveTo>
                  <a:cubicBezTo>
                    <a:pt x="85128" y="21140"/>
                    <a:pt x="128205" y="42678"/>
                    <a:pt x="158975" y="73447"/>
                  </a:cubicBezTo>
                  <a:cubicBezTo>
                    <a:pt x="192820" y="107293"/>
                    <a:pt x="211283" y="147293"/>
                    <a:pt x="223589" y="193447"/>
                  </a:cubicBezTo>
                  <a:cubicBezTo>
                    <a:pt x="235898" y="230370"/>
                    <a:pt x="177436" y="251909"/>
                    <a:pt x="165129" y="211909"/>
                  </a:cubicBezTo>
                  <a:cubicBezTo>
                    <a:pt x="152821" y="174986"/>
                    <a:pt x="140512" y="138062"/>
                    <a:pt x="109743" y="110370"/>
                  </a:cubicBezTo>
                  <a:cubicBezTo>
                    <a:pt x="82052" y="85755"/>
                    <a:pt x="48204" y="70370"/>
                    <a:pt x="17435" y="54986"/>
                  </a:cubicBezTo>
                  <a:cubicBezTo>
                    <a:pt x="-19486" y="42678"/>
                    <a:pt x="8205" y="-12707"/>
                    <a:pt x="45128" y="2678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A03BD8D9-15C6-47A6-B402-EAD4F82E13B7}"/>
                </a:ext>
              </a:extLst>
            </p:cNvPr>
            <p:cNvSpPr/>
            <p:nvPr/>
          </p:nvSpPr>
          <p:spPr>
            <a:xfrm>
              <a:off x="12208593" y="5405374"/>
              <a:ext cx="243821" cy="305130"/>
            </a:xfrm>
            <a:custGeom>
              <a:avLst/>
              <a:gdLst>
                <a:gd name="connsiteX0" fmla="*/ 173560 w 243821"/>
                <a:gd name="connsiteY0" fmla="*/ 283114 h 305130"/>
                <a:gd name="connsiteX1" fmla="*/ 173560 w 243821"/>
                <a:gd name="connsiteY1" fmla="*/ 283114 h 305130"/>
                <a:gd name="connsiteX2" fmla="*/ 139715 w 243821"/>
                <a:gd name="connsiteY2" fmla="*/ 304653 h 305130"/>
                <a:gd name="connsiteX3" fmla="*/ 1253 w 243821"/>
                <a:gd name="connsiteY3" fmla="*/ 190806 h 305130"/>
                <a:gd name="connsiteX4" fmla="*/ 87406 w 243821"/>
                <a:gd name="connsiteY4" fmla="*/ 18499 h 305130"/>
                <a:gd name="connsiteX5" fmla="*/ 176638 w 243821"/>
                <a:gd name="connsiteY5" fmla="*/ 9268 h 305130"/>
                <a:gd name="connsiteX6" fmla="*/ 235098 w 243821"/>
                <a:gd name="connsiteY6" fmla="*/ 86191 h 305130"/>
                <a:gd name="connsiteX7" fmla="*/ 173560 w 243821"/>
                <a:gd name="connsiteY7" fmla="*/ 283114 h 305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821" h="305130">
                  <a:moveTo>
                    <a:pt x="173560" y="283114"/>
                  </a:moveTo>
                  <a:cubicBezTo>
                    <a:pt x="173560" y="283114"/>
                    <a:pt x="173560" y="286191"/>
                    <a:pt x="173560" y="283114"/>
                  </a:cubicBezTo>
                  <a:cubicBezTo>
                    <a:pt x="167406" y="295422"/>
                    <a:pt x="155099" y="307729"/>
                    <a:pt x="139715" y="304653"/>
                  </a:cubicBezTo>
                  <a:cubicBezTo>
                    <a:pt x="81252" y="292345"/>
                    <a:pt x="10483" y="267729"/>
                    <a:pt x="1253" y="190806"/>
                  </a:cubicBezTo>
                  <a:cubicBezTo>
                    <a:pt x="-7977" y="129268"/>
                    <a:pt x="35098" y="46191"/>
                    <a:pt x="87406" y="18499"/>
                  </a:cubicBezTo>
                  <a:cubicBezTo>
                    <a:pt x="115100" y="3114"/>
                    <a:pt x="148945" y="-9194"/>
                    <a:pt x="176638" y="9268"/>
                  </a:cubicBezTo>
                  <a:cubicBezTo>
                    <a:pt x="201253" y="24652"/>
                    <a:pt x="225868" y="55422"/>
                    <a:pt x="235098" y="86191"/>
                  </a:cubicBezTo>
                  <a:cubicBezTo>
                    <a:pt x="262791" y="156960"/>
                    <a:pt x="219714" y="233883"/>
                    <a:pt x="173560" y="283114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A13A1408-BD10-40D3-94C0-8F53EE90BA6F}"/>
                </a:ext>
              </a:extLst>
            </p:cNvPr>
            <p:cNvSpPr/>
            <p:nvPr/>
          </p:nvSpPr>
          <p:spPr>
            <a:xfrm>
              <a:off x="12286293" y="5471066"/>
              <a:ext cx="188606" cy="251197"/>
            </a:xfrm>
            <a:custGeom>
              <a:avLst/>
              <a:gdLst>
                <a:gd name="connsiteX0" fmla="*/ 145092 w 188606"/>
                <a:gd name="connsiteY0" fmla="*/ 5114 h 251197"/>
                <a:gd name="connsiteX1" fmla="*/ 46630 w 188606"/>
                <a:gd name="connsiteY1" fmla="*/ 88191 h 251197"/>
                <a:gd name="connsiteX2" fmla="*/ 476 w 188606"/>
                <a:gd name="connsiteY2" fmla="*/ 214345 h 251197"/>
                <a:gd name="connsiteX3" fmla="*/ 55861 w 188606"/>
                <a:gd name="connsiteY3" fmla="*/ 226652 h 251197"/>
                <a:gd name="connsiteX4" fmla="*/ 95860 w 188606"/>
                <a:gd name="connsiteY4" fmla="*/ 118960 h 251197"/>
                <a:gd name="connsiteX5" fmla="*/ 175861 w 188606"/>
                <a:gd name="connsiteY5" fmla="*/ 54345 h 251197"/>
                <a:gd name="connsiteX6" fmla="*/ 145092 w 188606"/>
                <a:gd name="connsiteY6" fmla="*/ 5114 h 25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606" h="251197">
                  <a:moveTo>
                    <a:pt x="145092" y="5114"/>
                  </a:moveTo>
                  <a:cubicBezTo>
                    <a:pt x="111245" y="29730"/>
                    <a:pt x="74322" y="54345"/>
                    <a:pt x="46630" y="88191"/>
                  </a:cubicBezTo>
                  <a:cubicBezTo>
                    <a:pt x="18937" y="125114"/>
                    <a:pt x="6631" y="168191"/>
                    <a:pt x="476" y="214345"/>
                  </a:cubicBezTo>
                  <a:cubicBezTo>
                    <a:pt x="-5678" y="254345"/>
                    <a:pt x="49706" y="266653"/>
                    <a:pt x="55861" y="226652"/>
                  </a:cubicBezTo>
                  <a:cubicBezTo>
                    <a:pt x="62015" y="186652"/>
                    <a:pt x="71245" y="149729"/>
                    <a:pt x="95860" y="118960"/>
                  </a:cubicBezTo>
                  <a:cubicBezTo>
                    <a:pt x="117399" y="91268"/>
                    <a:pt x="148168" y="72806"/>
                    <a:pt x="175861" y="54345"/>
                  </a:cubicBezTo>
                  <a:cubicBezTo>
                    <a:pt x="206631" y="35883"/>
                    <a:pt x="175861" y="-16424"/>
                    <a:pt x="145092" y="5114"/>
                  </a:cubicBezTo>
                  <a:close/>
                </a:path>
              </a:pathLst>
            </a:custGeom>
            <a:solidFill>
              <a:srgbClr val="D16156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6B1333D3-C278-4656-82FE-D2DF779DCD26}"/>
                </a:ext>
              </a:extLst>
            </p:cNvPr>
            <p:cNvSpPr/>
            <p:nvPr/>
          </p:nvSpPr>
          <p:spPr>
            <a:xfrm>
              <a:off x="12328997" y="5471727"/>
              <a:ext cx="567052" cy="550753"/>
            </a:xfrm>
            <a:custGeom>
              <a:avLst/>
              <a:gdLst>
                <a:gd name="connsiteX0" fmla="*/ 71619 w 567052"/>
                <a:gd name="connsiteY0" fmla="*/ 496760 h 550753"/>
                <a:gd name="connsiteX1" fmla="*/ 268541 w 567052"/>
                <a:gd name="connsiteY1" fmla="*/ 549068 h 550753"/>
                <a:gd name="connsiteX2" fmla="*/ 567003 w 567052"/>
                <a:gd name="connsiteY2" fmla="*/ 278299 h 550753"/>
                <a:gd name="connsiteX3" fmla="*/ 219311 w 567052"/>
                <a:gd name="connsiteY3" fmla="*/ 7530 h 550753"/>
                <a:gd name="connsiteX4" fmla="*/ 848 w 567052"/>
                <a:gd name="connsiteY4" fmla="*/ 318299 h 550753"/>
                <a:gd name="connsiteX5" fmla="*/ 71619 w 567052"/>
                <a:gd name="connsiteY5" fmla="*/ 496760 h 550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052" h="550753">
                  <a:moveTo>
                    <a:pt x="71619" y="496760"/>
                  </a:moveTo>
                  <a:cubicBezTo>
                    <a:pt x="130079" y="545991"/>
                    <a:pt x="197772" y="555222"/>
                    <a:pt x="268541" y="549068"/>
                  </a:cubicBezTo>
                  <a:cubicBezTo>
                    <a:pt x="428541" y="530607"/>
                    <a:pt x="570079" y="456760"/>
                    <a:pt x="567003" y="278299"/>
                  </a:cubicBezTo>
                  <a:cubicBezTo>
                    <a:pt x="563927" y="136761"/>
                    <a:pt x="447002" y="-38624"/>
                    <a:pt x="219311" y="7530"/>
                  </a:cubicBezTo>
                  <a:cubicBezTo>
                    <a:pt x="43926" y="44453"/>
                    <a:pt x="13157" y="145991"/>
                    <a:pt x="848" y="318299"/>
                  </a:cubicBezTo>
                  <a:cubicBezTo>
                    <a:pt x="-5304" y="376761"/>
                    <a:pt x="22387" y="450607"/>
                    <a:pt x="71619" y="496760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5D9D2D98-CC6C-4318-B39B-68AF790FA5BA}"/>
                </a:ext>
              </a:extLst>
            </p:cNvPr>
            <p:cNvSpPr/>
            <p:nvPr/>
          </p:nvSpPr>
          <p:spPr>
            <a:xfrm>
              <a:off x="12394200" y="5501878"/>
              <a:ext cx="428918" cy="572182"/>
            </a:xfrm>
            <a:custGeom>
              <a:avLst/>
              <a:gdLst>
                <a:gd name="connsiteX0" fmla="*/ 415646 w 428918"/>
                <a:gd name="connsiteY0" fmla="*/ 174302 h 572182"/>
                <a:gd name="connsiteX1" fmla="*/ 418722 w 428918"/>
                <a:gd name="connsiteY1" fmla="*/ 432763 h 572182"/>
                <a:gd name="connsiteX2" fmla="*/ 277185 w 428918"/>
                <a:gd name="connsiteY2" fmla="*/ 571224 h 572182"/>
                <a:gd name="connsiteX3" fmla="*/ 37185 w 428918"/>
                <a:gd name="connsiteY3" fmla="*/ 438917 h 572182"/>
                <a:gd name="connsiteX4" fmla="*/ 261 w 428918"/>
                <a:gd name="connsiteY4" fmla="*/ 214302 h 572182"/>
                <a:gd name="connsiteX5" fmla="*/ 203338 w 428918"/>
                <a:gd name="connsiteY5" fmla="*/ 1994 h 572182"/>
                <a:gd name="connsiteX6" fmla="*/ 415646 w 428918"/>
                <a:gd name="connsiteY6" fmla="*/ 174302 h 572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8918" h="572182">
                  <a:moveTo>
                    <a:pt x="415646" y="174302"/>
                  </a:moveTo>
                  <a:cubicBezTo>
                    <a:pt x="415646" y="174302"/>
                    <a:pt x="443337" y="358917"/>
                    <a:pt x="418722" y="432763"/>
                  </a:cubicBezTo>
                  <a:cubicBezTo>
                    <a:pt x="387953" y="518917"/>
                    <a:pt x="326415" y="565071"/>
                    <a:pt x="277185" y="571224"/>
                  </a:cubicBezTo>
                  <a:cubicBezTo>
                    <a:pt x="209492" y="580455"/>
                    <a:pt x="71030" y="521994"/>
                    <a:pt x="37185" y="438917"/>
                  </a:cubicBezTo>
                  <a:cubicBezTo>
                    <a:pt x="9492" y="368148"/>
                    <a:pt x="3338" y="266609"/>
                    <a:pt x="261" y="214302"/>
                  </a:cubicBezTo>
                  <a:cubicBezTo>
                    <a:pt x="-2817" y="118917"/>
                    <a:pt x="18722" y="38917"/>
                    <a:pt x="203338" y="1994"/>
                  </a:cubicBezTo>
                  <a:cubicBezTo>
                    <a:pt x="289491" y="-16468"/>
                    <a:pt x="391031" y="97378"/>
                    <a:pt x="415646" y="174302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74F72E31-34B7-4AF9-BDAE-6F88BA55AFC2}"/>
                </a:ext>
              </a:extLst>
            </p:cNvPr>
            <p:cNvSpPr/>
            <p:nvPr/>
          </p:nvSpPr>
          <p:spPr>
            <a:xfrm>
              <a:off x="12631385" y="5771565"/>
              <a:ext cx="58460" cy="132307"/>
            </a:xfrm>
            <a:custGeom>
              <a:avLst/>
              <a:gdLst>
                <a:gd name="connsiteX0" fmla="*/ 24615 w 58460"/>
                <a:gd name="connsiteY0" fmla="*/ 132307 h 132307"/>
                <a:gd name="connsiteX1" fmla="*/ 6152 w 58460"/>
                <a:gd name="connsiteY1" fmla="*/ 132307 h 132307"/>
                <a:gd name="connsiteX2" fmla="*/ 0 w 58460"/>
                <a:gd name="connsiteY2" fmla="*/ 126154 h 132307"/>
                <a:gd name="connsiteX3" fmla="*/ 6152 w 58460"/>
                <a:gd name="connsiteY3" fmla="*/ 120000 h 132307"/>
                <a:gd name="connsiteX4" fmla="*/ 46154 w 58460"/>
                <a:gd name="connsiteY4" fmla="*/ 116923 h 132307"/>
                <a:gd name="connsiteX5" fmla="*/ 46154 w 58460"/>
                <a:gd name="connsiteY5" fmla="*/ 113846 h 132307"/>
                <a:gd name="connsiteX6" fmla="*/ 12307 w 58460"/>
                <a:gd name="connsiteY6" fmla="*/ 9230 h 132307"/>
                <a:gd name="connsiteX7" fmla="*/ 15385 w 58460"/>
                <a:gd name="connsiteY7" fmla="*/ 0 h 132307"/>
                <a:gd name="connsiteX8" fmla="*/ 24615 w 58460"/>
                <a:gd name="connsiteY8" fmla="*/ 3077 h 132307"/>
                <a:gd name="connsiteX9" fmla="*/ 58460 w 58460"/>
                <a:gd name="connsiteY9" fmla="*/ 110769 h 132307"/>
                <a:gd name="connsiteX10" fmla="*/ 52306 w 58460"/>
                <a:gd name="connsiteY10" fmla="*/ 123077 h 132307"/>
                <a:gd name="connsiteX11" fmla="*/ 24615 w 58460"/>
                <a:gd name="connsiteY11" fmla="*/ 132307 h 1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460" h="132307">
                  <a:moveTo>
                    <a:pt x="24615" y="132307"/>
                  </a:moveTo>
                  <a:cubicBezTo>
                    <a:pt x="15385" y="132307"/>
                    <a:pt x="9230" y="132307"/>
                    <a:pt x="6152" y="132307"/>
                  </a:cubicBezTo>
                  <a:cubicBezTo>
                    <a:pt x="3076" y="132307"/>
                    <a:pt x="0" y="129231"/>
                    <a:pt x="0" y="126154"/>
                  </a:cubicBezTo>
                  <a:cubicBezTo>
                    <a:pt x="0" y="123077"/>
                    <a:pt x="3076" y="120000"/>
                    <a:pt x="6152" y="120000"/>
                  </a:cubicBezTo>
                  <a:cubicBezTo>
                    <a:pt x="18461" y="123077"/>
                    <a:pt x="40000" y="123077"/>
                    <a:pt x="46154" y="116923"/>
                  </a:cubicBezTo>
                  <a:cubicBezTo>
                    <a:pt x="46154" y="116923"/>
                    <a:pt x="46154" y="113846"/>
                    <a:pt x="46154" y="113846"/>
                  </a:cubicBezTo>
                  <a:cubicBezTo>
                    <a:pt x="46154" y="98461"/>
                    <a:pt x="21537" y="33846"/>
                    <a:pt x="12307" y="9230"/>
                  </a:cubicBezTo>
                  <a:cubicBezTo>
                    <a:pt x="12307" y="6154"/>
                    <a:pt x="12307" y="3077"/>
                    <a:pt x="15385" y="0"/>
                  </a:cubicBezTo>
                  <a:cubicBezTo>
                    <a:pt x="18461" y="0"/>
                    <a:pt x="21537" y="0"/>
                    <a:pt x="24615" y="3077"/>
                  </a:cubicBezTo>
                  <a:cubicBezTo>
                    <a:pt x="24615" y="6154"/>
                    <a:pt x="58460" y="89231"/>
                    <a:pt x="58460" y="110769"/>
                  </a:cubicBezTo>
                  <a:cubicBezTo>
                    <a:pt x="58460" y="116923"/>
                    <a:pt x="58460" y="120000"/>
                    <a:pt x="52306" y="123077"/>
                  </a:cubicBezTo>
                  <a:cubicBezTo>
                    <a:pt x="49230" y="132307"/>
                    <a:pt x="36922" y="132307"/>
                    <a:pt x="24615" y="132307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B28B3F1D-6471-46D5-8A3D-EE041F5A4D53}"/>
                </a:ext>
              </a:extLst>
            </p:cNvPr>
            <p:cNvSpPr/>
            <p:nvPr/>
          </p:nvSpPr>
          <p:spPr>
            <a:xfrm>
              <a:off x="12606768" y="5953103"/>
              <a:ext cx="107692" cy="55862"/>
            </a:xfrm>
            <a:custGeom>
              <a:avLst/>
              <a:gdLst>
                <a:gd name="connsiteX0" fmla="*/ 0 w 107692"/>
                <a:gd name="connsiteY0" fmla="*/ 6154 h 55862"/>
                <a:gd name="connsiteX1" fmla="*/ 107692 w 107692"/>
                <a:gd name="connsiteY1" fmla="*/ 0 h 55862"/>
                <a:gd name="connsiteX2" fmla="*/ 58462 w 107692"/>
                <a:gd name="connsiteY2" fmla="*/ 55385 h 55862"/>
                <a:gd name="connsiteX3" fmla="*/ 0 w 107692"/>
                <a:gd name="connsiteY3" fmla="*/ 6154 h 55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92" h="55862">
                  <a:moveTo>
                    <a:pt x="0" y="6154"/>
                  </a:moveTo>
                  <a:cubicBezTo>
                    <a:pt x="55386" y="30769"/>
                    <a:pt x="107692" y="0"/>
                    <a:pt x="107692" y="0"/>
                  </a:cubicBezTo>
                  <a:cubicBezTo>
                    <a:pt x="107692" y="0"/>
                    <a:pt x="92308" y="49231"/>
                    <a:pt x="58462" y="55385"/>
                  </a:cubicBezTo>
                  <a:cubicBezTo>
                    <a:pt x="24617" y="61538"/>
                    <a:pt x="0" y="6154"/>
                    <a:pt x="0" y="6154"/>
                  </a:cubicBezTo>
                  <a:close/>
                </a:path>
              </a:pathLst>
            </a:custGeom>
            <a:solidFill>
              <a:srgbClr val="FFFFFF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DD272C71-0273-4041-ADFE-7A96DBB5EDA4}"/>
                </a:ext>
              </a:extLst>
            </p:cNvPr>
            <p:cNvSpPr/>
            <p:nvPr/>
          </p:nvSpPr>
          <p:spPr>
            <a:xfrm>
              <a:off x="12716738" y="5739995"/>
              <a:ext cx="38524" cy="38523"/>
            </a:xfrm>
            <a:custGeom>
              <a:avLst/>
              <a:gdLst>
                <a:gd name="connsiteX0" fmla="*/ 801 w 38524"/>
                <a:gd name="connsiteY0" fmla="*/ 25415 h 38523"/>
                <a:gd name="connsiteX1" fmla="*/ 25416 w 38524"/>
                <a:gd name="connsiteY1" fmla="*/ 37723 h 38523"/>
                <a:gd name="connsiteX2" fmla="*/ 37724 w 38524"/>
                <a:gd name="connsiteY2" fmla="*/ 13108 h 38523"/>
                <a:gd name="connsiteX3" fmla="*/ 13107 w 38524"/>
                <a:gd name="connsiteY3" fmla="*/ 800 h 38523"/>
                <a:gd name="connsiteX4" fmla="*/ 801 w 38524"/>
                <a:gd name="connsiteY4" fmla="*/ 25415 h 3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24" h="38523">
                  <a:moveTo>
                    <a:pt x="801" y="25415"/>
                  </a:moveTo>
                  <a:cubicBezTo>
                    <a:pt x="3877" y="34646"/>
                    <a:pt x="16185" y="40800"/>
                    <a:pt x="25416" y="37723"/>
                  </a:cubicBezTo>
                  <a:cubicBezTo>
                    <a:pt x="34646" y="34646"/>
                    <a:pt x="40801" y="22339"/>
                    <a:pt x="37724" y="13108"/>
                  </a:cubicBezTo>
                  <a:cubicBezTo>
                    <a:pt x="34646" y="3877"/>
                    <a:pt x="22340" y="-2277"/>
                    <a:pt x="13107" y="800"/>
                  </a:cubicBezTo>
                  <a:cubicBezTo>
                    <a:pt x="3877" y="3877"/>
                    <a:pt x="-2277" y="13108"/>
                    <a:pt x="801" y="25415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02E89216-B00F-4CE7-81A0-4B071C59E23F}"/>
                </a:ext>
              </a:extLst>
            </p:cNvPr>
            <p:cNvSpPr/>
            <p:nvPr/>
          </p:nvSpPr>
          <p:spPr>
            <a:xfrm>
              <a:off x="12525969" y="5758457"/>
              <a:ext cx="38523" cy="38523"/>
            </a:xfrm>
            <a:custGeom>
              <a:avLst/>
              <a:gdLst>
                <a:gd name="connsiteX0" fmla="*/ 800 w 38523"/>
                <a:gd name="connsiteY0" fmla="*/ 25416 h 38523"/>
                <a:gd name="connsiteX1" fmla="*/ 25415 w 38523"/>
                <a:gd name="connsiteY1" fmla="*/ 37723 h 38523"/>
                <a:gd name="connsiteX2" fmla="*/ 37724 w 38523"/>
                <a:gd name="connsiteY2" fmla="*/ 13108 h 38523"/>
                <a:gd name="connsiteX3" fmla="*/ 13109 w 38523"/>
                <a:gd name="connsiteY3" fmla="*/ 800 h 38523"/>
                <a:gd name="connsiteX4" fmla="*/ 800 w 38523"/>
                <a:gd name="connsiteY4" fmla="*/ 25416 h 3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23" h="38523">
                  <a:moveTo>
                    <a:pt x="800" y="25416"/>
                  </a:moveTo>
                  <a:cubicBezTo>
                    <a:pt x="3876" y="34647"/>
                    <a:pt x="16185" y="40800"/>
                    <a:pt x="25415" y="37723"/>
                  </a:cubicBezTo>
                  <a:cubicBezTo>
                    <a:pt x="34646" y="34647"/>
                    <a:pt x="40800" y="22339"/>
                    <a:pt x="37724" y="13108"/>
                  </a:cubicBezTo>
                  <a:cubicBezTo>
                    <a:pt x="34646" y="3877"/>
                    <a:pt x="22339" y="-2276"/>
                    <a:pt x="13109" y="800"/>
                  </a:cubicBezTo>
                  <a:cubicBezTo>
                    <a:pt x="3876" y="3877"/>
                    <a:pt x="-2276" y="13108"/>
                    <a:pt x="800" y="25416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1F4D38C6-109F-43C9-B152-DABF8954E231}"/>
                </a:ext>
              </a:extLst>
            </p:cNvPr>
            <p:cNvSpPr/>
            <p:nvPr/>
          </p:nvSpPr>
          <p:spPr>
            <a:xfrm>
              <a:off x="12685494" y="5689933"/>
              <a:ext cx="92813" cy="32400"/>
            </a:xfrm>
            <a:custGeom>
              <a:avLst/>
              <a:gdLst>
                <a:gd name="connsiteX0" fmla="*/ 87429 w 92813"/>
                <a:gd name="connsiteY0" fmla="*/ 32401 h 32400"/>
                <a:gd name="connsiteX1" fmla="*/ 81274 w 92813"/>
                <a:gd name="connsiteY1" fmla="*/ 29324 h 32400"/>
                <a:gd name="connsiteX2" fmla="*/ 13582 w 92813"/>
                <a:gd name="connsiteY2" fmla="*/ 26247 h 32400"/>
                <a:gd name="connsiteX3" fmla="*/ 1275 w 92813"/>
                <a:gd name="connsiteY3" fmla="*/ 23170 h 32400"/>
                <a:gd name="connsiteX4" fmla="*/ 4351 w 92813"/>
                <a:gd name="connsiteY4" fmla="*/ 10862 h 32400"/>
                <a:gd name="connsiteX5" fmla="*/ 90505 w 92813"/>
                <a:gd name="connsiteY5" fmla="*/ 17016 h 32400"/>
                <a:gd name="connsiteX6" fmla="*/ 90505 w 92813"/>
                <a:gd name="connsiteY6" fmla="*/ 29324 h 32400"/>
                <a:gd name="connsiteX7" fmla="*/ 87429 w 92813"/>
                <a:gd name="connsiteY7" fmla="*/ 32401 h 3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2400">
                  <a:moveTo>
                    <a:pt x="87429" y="32401"/>
                  </a:moveTo>
                  <a:cubicBezTo>
                    <a:pt x="84352" y="32401"/>
                    <a:pt x="84352" y="32401"/>
                    <a:pt x="81274" y="29324"/>
                  </a:cubicBezTo>
                  <a:cubicBezTo>
                    <a:pt x="53583" y="1632"/>
                    <a:pt x="13582" y="26247"/>
                    <a:pt x="13582" y="26247"/>
                  </a:cubicBezTo>
                  <a:cubicBezTo>
                    <a:pt x="10505" y="29324"/>
                    <a:pt x="4351" y="26247"/>
                    <a:pt x="1275" y="23170"/>
                  </a:cubicBezTo>
                  <a:cubicBezTo>
                    <a:pt x="-1803" y="20093"/>
                    <a:pt x="1275" y="13939"/>
                    <a:pt x="4351" y="10862"/>
                  </a:cubicBezTo>
                  <a:cubicBezTo>
                    <a:pt x="22814" y="1632"/>
                    <a:pt x="62813" y="-10676"/>
                    <a:pt x="90505" y="17016"/>
                  </a:cubicBezTo>
                  <a:cubicBezTo>
                    <a:pt x="93583" y="20093"/>
                    <a:pt x="93583" y="26247"/>
                    <a:pt x="90505" y="29324"/>
                  </a:cubicBezTo>
                  <a:cubicBezTo>
                    <a:pt x="90505" y="29324"/>
                    <a:pt x="87429" y="32401"/>
                    <a:pt x="87429" y="32401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93BE9B09-67C7-40E4-B92A-53B683B96D7F}"/>
                </a:ext>
              </a:extLst>
            </p:cNvPr>
            <p:cNvSpPr/>
            <p:nvPr/>
          </p:nvSpPr>
          <p:spPr>
            <a:xfrm>
              <a:off x="12496769" y="5697866"/>
              <a:ext cx="92812" cy="39852"/>
            </a:xfrm>
            <a:custGeom>
              <a:avLst/>
              <a:gdLst>
                <a:gd name="connsiteX0" fmla="*/ 8461 w 92812"/>
                <a:gd name="connsiteY0" fmla="*/ 39853 h 39852"/>
                <a:gd name="connsiteX1" fmla="*/ 2307 w 92812"/>
                <a:gd name="connsiteY1" fmla="*/ 36776 h 39852"/>
                <a:gd name="connsiteX2" fmla="*/ 2307 w 92812"/>
                <a:gd name="connsiteY2" fmla="*/ 24468 h 39852"/>
                <a:gd name="connsiteX3" fmla="*/ 88462 w 92812"/>
                <a:gd name="connsiteY3" fmla="*/ 9083 h 39852"/>
                <a:gd name="connsiteX4" fmla="*/ 91539 w 92812"/>
                <a:gd name="connsiteY4" fmla="*/ 21391 h 39852"/>
                <a:gd name="connsiteX5" fmla="*/ 79230 w 92812"/>
                <a:gd name="connsiteY5" fmla="*/ 24468 h 39852"/>
                <a:gd name="connsiteX6" fmla="*/ 11539 w 92812"/>
                <a:gd name="connsiteY6" fmla="*/ 33699 h 39852"/>
                <a:gd name="connsiteX7" fmla="*/ 8461 w 92812"/>
                <a:gd name="connsiteY7" fmla="*/ 39853 h 39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9852">
                  <a:moveTo>
                    <a:pt x="8461" y="39853"/>
                  </a:moveTo>
                  <a:cubicBezTo>
                    <a:pt x="5385" y="39853"/>
                    <a:pt x="5385" y="39853"/>
                    <a:pt x="2307" y="36776"/>
                  </a:cubicBezTo>
                  <a:cubicBezTo>
                    <a:pt x="-769" y="33699"/>
                    <a:pt x="-769" y="27545"/>
                    <a:pt x="2307" y="24468"/>
                  </a:cubicBezTo>
                  <a:cubicBezTo>
                    <a:pt x="14616" y="9083"/>
                    <a:pt x="48461" y="-12455"/>
                    <a:pt x="88462" y="9083"/>
                  </a:cubicBezTo>
                  <a:cubicBezTo>
                    <a:pt x="91539" y="12161"/>
                    <a:pt x="94615" y="15237"/>
                    <a:pt x="91539" y="21391"/>
                  </a:cubicBezTo>
                  <a:cubicBezTo>
                    <a:pt x="88462" y="24468"/>
                    <a:pt x="85384" y="27545"/>
                    <a:pt x="79230" y="24468"/>
                  </a:cubicBezTo>
                  <a:cubicBezTo>
                    <a:pt x="42309" y="2930"/>
                    <a:pt x="14616" y="33699"/>
                    <a:pt x="11539" y="33699"/>
                  </a:cubicBezTo>
                  <a:cubicBezTo>
                    <a:pt x="11539" y="39853"/>
                    <a:pt x="8461" y="39853"/>
                    <a:pt x="8461" y="39853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823C45C9-091C-4672-A632-B017658E5389}"/>
                </a:ext>
              </a:extLst>
            </p:cNvPr>
            <p:cNvSpPr/>
            <p:nvPr/>
          </p:nvSpPr>
          <p:spPr>
            <a:xfrm>
              <a:off x="12544065" y="5470540"/>
              <a:ext cx="293472" cy="245640"/>
            </a:xfrm>
            <a:custGeom>
              <a:avLst/>
              <a:gdLst>
                <a:gd name="connsiteX0" fmla="*/ 1165 w 293472"/>
                <a:gd name="connsiteY0" fmla="*/ 5640 h 245640"/>
                <a:gd name="connsiteX1" fmla="*/ 44243 w 293472"/>
                <a:gd name="connsiteY1" fmla="*/ 131795 h 245640"/>
                <a:gd name="connsiteX2" fmla="*/ 293473 w 293472"/>
                <a:gd name="connsiteY2" fmla="*/ 245641 h 245640"/>
                <a:gd name="connsiteX3" fmla="*/ 1165 w 293472"/>
                <a:gd name="connsiteY3" fmla="*/ 5640 h 245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472" h="245640">
                  <a:moveTo>
                    <a:pt x="1165" y="5640"/>
                  </a:moveTo>
                  <a:cubicBezTo>
                    <a:pt x="1165" y="5640"/>
                    <a:pt x="-11142" y="94871"/>
                    <a:pt x="44243" y="131795"/>
                  </a:cubicBezTo>
                  <a:cubicBezTo>
                    <a:pt x="44243" y="131795"/>
                    <a:pt x="259627" y="162564"/>
                    <a:pt x="293473" y="245641"/>
                  </a:cubicBezTo>
                  <a:cubicBezTo>
                    <a:pt x="293473" y="245641"/>
                    <a:pt x="293473" y="-43590"/>
                    <a:pt x="1165" y="5640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81AC7DA6-E2CF-48F8-8B73-49A73CCDBCA6}"/>
                </a:ext>
              </a:extLst>
            </p:cNvPr>
            <p:cNvSpPr/>
            <p:nvPr/>
          </p:nvSpPr>
          <p:spPr>
            <a:xfrm>
              <a:off x="12370029" y="5476180"/>
              <a:ext cx="221354" cy="326653"/>
            </a:xfrm>
            <a:custGeom>
              <a:avLst/>
              <a:gdLst>
                <a:gd name="connsiteX0" fmla="*/ 221354 w 221354"/>
                <a:gd name="connsiteY0" fmla="*/ 126154 h 326653"/>
                <a:gd name="connsiteX1" fmla="*/ 82893 w 221354"/>
                <a:gd name="connsiteY1" fmla="*/ 187693 h 326653"/>
                <a:gd name="connsiteX2" fmla="*/ 30586 w 221354"/>
                <a:gd name="connsiteY2" fmla="*/ 313846 h 326653"/>
                <a:gd name="connsiteX3" fmla="*/ 5970 w 221354"/>
                <a:gd name="connsiteY3" fmla="*/ 310769 h 326653"/>
                <a:gd name="connsiteX4" fmla="*/ 178278 w 221354"/>
                <a:gd name="connsiteY4" fmla="*/ 0 h 326653"/>
                <a:gd name="connsiteX5" fmla="*/ 221354 w 221354"/>
                <a:gd name="connsiteY5" fmla="*/ 126154 h 326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354" h="326653">
                  <a:moveTo>
                    <a:pt x="221354" y="126154"/>
                  </a:moveTo>
                  <a:cubicBezTo>
                    <a:pt x="221354" y="126154"/>
                    <a:pt x="132125" y="178462"/>
                    <a:pt x="82893" y="187693"/>
                  </a:cubicBezTo>
                  <a:cubicBezTo>
                    <a:pt x="30586" y="196923"/>
                    <a:pt x="30586" y="313846"/>
                    <a:pt x="30586" y="313846"/>
                  </a:cubicBezTo>
                  <a:cubicBezTo>
                    <a:pt x="30586" y="313846"/>
                    <a:pt x="12124" y="344615"/>
                    <a:pt x="5970" y="310769"/>
                  </a:cubicBezTo>
                  <a:cubicBezTo>
                    <a:pt x="-6337" y="230769"/>
                    <a:pt x="-18645" y="30769"/>
                    <a:pt x="178278" y="0"/>
                  </a:cubicBezTo>
                  <a:cubicBezTo>
                    <a:pt x="175200" y="0"/>
                    <a:pt x="196739" y="123077"/>
                    <a:pt x="221354" y="126154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6F5D045E-8E82-4BC4-A4B2-10187B9E1822}"/>
                </a:ext>
              </a:extLst>
            </p:cNvPr>
            <p:cNvSpPr/>
            <p:nvPr/>
          </p:nvSpPr>
          <p:spPr>
            <a:xfrm>
              <a:off x="12357087" y="5775671"/>
              <a:ext cx="84141" cy="111295"/>
            </a:xfrm>
            <a:custGeom>
              <a:avLst/>
              <a:gdLst>
                <a:gd name="connsiteX0" fmla="*/ 68144 w 84141"/>
                <a:gd name="connsiteY0" fmla="*/ 14356 h 111295"/>
                <a:gd name="connsiteX1" fmla="*/ 6606 w 84141"/>
                <a:gd name="connsiteY1" fmla="*/ 8202 h 111295"/>
                <a:gd name="connsiteX2" fmla="*/ 71220 w 84141"/>
                <a:gd name="connsiteY2" fmla="*/ 106663 h 111295"/>
                <a:gd name="connsiteX3" fmla="*/ 68144 w 84141"/>
                <a:gd name="connsiteY3" fmla="*/ 14356 h 111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141" h="111295">
                  <a:moveTo>
                    <a:pt x="68144" y="14356"/>
                  </a:moveTo>
                  <a:cubicBezTo>
                    <a:pt x="68144" y="14356"/>
                    <a:pt x="31221" y="-13337"/>
                    <a:pt x="6606" y="8202"/>
                  </a:cubicBezTo>
                  <a:cubicBezTo>
                    <a:pt x="-18009" y="29740"/>
                    <a:pt x="31221" y="134356"/>
                    <a:pt x="71220" y="106663"/>
                  </a:cubicBezTo>
                  <a:cubicBezTo>
                    <a:pt x="101989" y="88202"/>
                    <a:pt x="68144" y="14356"/>
                    <a:pt x="68144" y="14356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5F184846-1D8F-4CEA-B300-1B91065003D9}"/>
                </a:ext>
              </a:extLst>
            </p:cNvPr>
            <p:cNvSpPr/>
            <p:nvPr/>
          </p:nvSpPr>
          <p:spPr>
            <a:xfrm>
              <a:off x="12394291" y="5473103"/>
              <a:ext cx="200170" cy="310769"/>
            </a:xfrm>
            <a:custGeom>
              <a:avLst/>
              <a:gdLst>
                <a:gd name="connsiteX0" fmla="*/ 6325 w 200170"/>
                <a:gd name="connsiteY0" fmla="*/ 310769 h 310769"/>
                <a:gd name="connsiteX1" fmla="*/ 171 w 200170"/>
                <a:gd name="connsiteY1" fmla="*/ 304616 h 310769"/>
                <a:gd name="connsiteX2" fmla="*/ 55555 w 200170"/>
                <a:gd name="connsiteY2" fmla="*/ 184615 h 310769"/>
                <a:gd name="connsiteX3" fmla="*/ 184786 w 200170"/>
                <a:gd name="connsiteY3" fmla="*/ 123077 h 310769"/>
                <a:gd name="connsiteX4" fmla="*/ 169402 w 200170"/>
                <a:gd name="connsiteY4" fmla="*/ 104616 h 310769"/>
                <a:gd name="connsiteX5" fmla="*/ 154017 w 200170"/>
                <a:gd name="connsiteY5" fmla="*/ 61538 h 310769"/>
                <a:gd name="connsiteX6" fmla="*/ 147863 w 200170"/>
                <a:gd name="connsiteY6" fmla="*/ 33846 h 310769"/>
                <a:gd name="connsiteX7" fmla="*/ 141709 w 200170"/>
                <a:gd name="connsiteY7" fmla="*/ 6154 h 310769"/>
                <a:gd name="connsiteX8" fmla="*/ 147863 w 200170"/>
                <a:gd name="connsiteY8" fmla="*/ 0 h 310769"/>
                <a:gd name="connsiteX9" fmla="*/ 154017 w 200170"/>
                <a:gd name="connsiteY9" fmla="*/ 6154 h 310769"/>
                <a:gd name="connsiteX10" fmla="*/ 160171 w 200170"/>
                <a:gd name="connsiteY10" fmla="*/ 33846 h 310769"/>
                <a:gd name="connsiteX11" fmla="*/ 166324 w 200170"/>
                <a:gd name="connsiteY11" fmla="*/ 61538 h 310769"/>
                <a:gd name="connsiteX12" fmla="*/ 178632 w 200170"/>
                <a:gd name="connsiteY12" fmla="*/ 101539 h 310769"/>
                <a:gd name="connsiteX13" fmla="*/ 197093 w 200170"/>
                <a:gd name="connsiteY13" fmla="*/ 123077 h 310769"/>
                <a:gd name="connsiteX14" fmla="*/ 200171 w 200170"/>
                <a:gd name="connsiteY14" fmla="*/ 129231 h 310769"/>
                <a:gd name="connsiteX15" fmla="*/ 197093 w 200170"/>
                <a:gd name="connsiteY15" fmla="*/ 132308 h 310769"/>
                <a:gd name="connsiteX16" fmla="*/ 55555 w 200170"/>
                <a:gd name="connsiteY16" fmla="*/ 200000 h 310769"/>
                <a:gd name="connsiteX17" fmla="*/ 9401 w 200170"/>
                <a:gd name="connsiteY17" fmla="*/ 307692 h 310769"/>
                <a:gd name="connsiteX18" fmla="*/ 6325 w 200170"/>
                <a:gd name="connsiteY18" fmla="*/ 310769 h 310769"/>
                <a:gd name="connsiteX19" fmla="*/ 6325 w 200170"/>
                <a:gd name="connsiteY19" fmla="*/ 310769 h 31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0170" h="310769">
                  <a:moveTo>
                    <a:pt x="6325" y="310769"/>
                  </a:moveTo>
                  <a:cubicBezTo>
                    <a:pt x="3247" y="310769"/>
                    <a:pt x="171" y="307692"/>
                    <a:pt x="171" y="304616"/>
                  </a:cubicBezTo>
                  <a:cubicBezTo>
                    <a:pt x="171" y="301539"/>
                    <a:pt x="-5983" y="196923"/>
                    <a:pt x="55555" y="184615"/>
                  </a:cubicBezTo>
                  <a:cubicBezTo>
                    <a:pt x="110939" y="172308"/>
                    <a:pt x="169402" y="135385"/>
                    <a:pt x="184786" y="123077"/>
                  </a:cubicBezTo>
                  <a:cubicBezTo>
                    <a:pt x="178632" y="116923"/>
                    <a:pt x="172478" y="110769"/>
                    <a:pt x="169402" y="104616"/>
                  </a:cubicBezTo>
                  <a:cubicBezTo>
                    <a:pt x="160171" y="92308"/>
                    <a:pt x="157093" y="73846"/>
                    <a:pt x="154017" y="61538"/>
                  </a:cubicBezTo>
                  <a:cubicBezTo>
                    <a:pt x="154017" y="55385"/>
                    <a:pt x="150939" y="43077"/>
                    <a:pt x="147863" y="33846"/>
                  </a:cubicBezTo>
                  <a:cubicBezTo>
                    <a:pt x="144787" y="21539"/>
                    <a:pt x="144787" y="12308"/>
                    <a:pt x="141709" y="6154"/>
                  </a:cubicBezTo>
                  <a:cubicBezTo>
                    <a:pt x="141709" y="3077"/>
                    <a:pt x="141709" y="0"/>
                    <a:pt x="147863" y="0"/>
                  </a:cubicBezTo>
                  <a:cubicBezTo>
                    <a:pt x="150939" y="0"/>
                    <a:pt x="154017" y="0"/>
                    <a:pt x="154017" y="6154"/>
                  </a:cubicBezTo>
                  <a:cubicBezTo>
                    <a:pt x="154017" y="12308"/>
                    <a:pt x="157093" y="24615"/>
                    <a:pt x="160171" y="33846"/>
                  </a:cubicBezTo>
                  <a:cubicBezTo>
                    <a:pt x="163248" y="46154"/>
                    <a:pt x="163248" y="55385"/>
                    <a:pt x="166324" y="61538"/>
                  </a:cubicBezTo>
                  <a:cubicBezTo>
                    <a:pt x="169402" y="73846"/>
                    <a:pt x="172478" y="89231"/>
                    <a:pt x="178632" y="101539"/>
                  </a:cubicBezTo>
                  <a:cubicBezTo>
                    <a:pt x="184786" y="110769"/>
                    <a:pt x="190941" y="116923"/>
                    <a:pt x="197093" y="123077"/>
                  </a:cubicBezTo>
                  <a:cubicBezTo>
                    <a:pt x="197093" y="123077"/>
                    <a:pt x="200171" y="126154"/>
                    <a:pt x="200171" y="129231"/>
                  </a:cubicBezTo>
                  <a:cubicBezTo>
                    <a:pt x="200171" y="132308"/>
                    <a:pt x="200171" y="132308"/>
                    <a:pt x="197093" y="132308"/>
                  </a:cubicBezTo>
                  <a:cubicBezTo>
                    <a:pt x="194017" y="135385"/>
                    <a:pt x="126324" y="184615"/>
                    <a:pt x="55555" y="200000"/>
                  </a:cubicBezTo>
                  <a:cubicBezTo>
                    <a:pt x="6325" y="209231"/>
                    <a:pt x="9401" y="304616"/>
                    <a:pt x="9401" y="307692"/>
                  </a:cubicBezTo>
                  <a:cubicBezTo>
                    <a:pt x="12478" y="307692"/>
                    <a:pt x="9401" y="310769"/>
                    <a:pt x="6325" y="310769"/>
                  </a:cubicBezTo>
                  <a:cubicBezTo>
                    <a:pt x="6325" y="310769"/>
                    <a:pt x="6325" y="310769"/>
                    <a:pt x="6325" y="310769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188C4B7C-BC93-43A6-B675-01C753ECBA64}"/>
                </a:ext>
              </a:extLst>
            </p:cNvPr>
            <p:cNvSpPr/>
            <p:nvPr/>
          </p:nvSpPr>
          <p:spPr>
            <a:xfrm>
              <a:off x="12496000" y="6017719"/>
              <a:ext cx="247521" cy="61538"/>
            </a:xfrm>
            <a:custGeom>
              <a:avLst/>
              <a:gdLst>
                <a:gd name="connsiteX0" fmla="*/ 156922 w 247521"/>
                <a:gd name="connsiteY0" fmla="*/ 61538 h 61538"/>
                <a:gd name="connsiteX1" fmla="*/ 3076 w 247521"/>
                <a:gd name="connsiteY1" fmla="*/ 12308 h 61538"/>
                <a:gd name="connsiteX2" fmla="*/ 0 w 247521"/>
                <a:gd name="connsiteY2" fmla="*/ 3077 h 61538"/>
                <a:gd name="connsiteX3" fmla="*/ 9230 w 247521"/>
                <a:gd name="connsiteY3" fmla="*/ 0 h 61538"/>
                <a:gd name="connsiteX4" fmla="*/ 163077 w 247521"/>
                <a:gd name="connsiteY4" fmla="*/ 49230 h 61538"/>
                <a:gd name="connsiteX5" fmla="*/ 236923 w 247521"/>
                <a:gd name="connsiteY5" fmla="*/ 24615 h 61538"/>
                <a:gd name="connsiteX6" fmla="*/ 246154 w 247521"/>
                <a:gd name="connsiteY6" fmla="*/ 24615 h 61538"/>
                <a:gd name="connsiteX7" fmla="*/ 246154 w 247521"/>
                <a:gd name="connsiteY7" fmla="*/ 33846 h 61538"/>
                <a:gd name="connsiteX8" fmla="*/ 166155 w 247521"/>
                <a:gd name="connsiteY8" fmla="*/ 61538 h 61538"/>
                <a:gd name="connsiteX9" fmla="*/ 156922 w 247521"/>
                <a:gd name="connsiteY9" fmla="*/ 61538 h 6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7521" h="61538">
                  <a:moveTo>
                    <a:pt x="156922" y="61538"/>
                  </a:moveTo>
                  <a:cubicBezTo>
                    <a:pt x="104616" y="61538"/>
                    <a:pt x="6154" y="12308"/>
                    <a:pt x="3076" y="12308"/>
                  </a:cubicBezTo>
                  <a:cubicBezTo>
                    <a:pt x="0" y="12308"/>
                    <a:pt x="0" y="6154"/>
                    <a:pt x="0" y="3077"/>
                  </a:cubicBezTo>
                  <a:cubicBezTo>
                    <a:pt x="0" y="0"/>
                    <a:pt x="6154" y="0"/>
                    <a:pt x="9230" y="0"/>
                  </a:cubicBezTo>
                  <a:cubicBezTo>
                    <a:pt x="9230" y="0"/>
                    <a:pt x="116923" y="52308"/>
                    <a:pt x="163077" y="49230"/>
                  </a:cubicBezTo>
                  <a:cubicBezTo>
                    <a:pt x="203076" y="46154"/>
                    <a:pt x="233845" y="24615"/>
                    <a:pt x="236923" y="24615"/>
                  </a:cubicBezTo>
                  <a:cubicBezTo>
                    <a:pt x="240000" y="21538"/>
                    <a:pt x="243078" y="24615"/>
                    <a:pt x="246154" y="24615"/>
                  </a:cubicBezTo>
                  <a:cubicBezTo>
                    <a:pt x="249230" y="27692"/>
                    <a:pt x="246154" y="30769"/>
                    <a:pt x="246154" y="33846"/>
                  </a:cubicBezTo>
                  <a:cubicBezTo>
                    <a:pt x="246154" y="33846"/>
                    <a:pt x="209230" y="58461"/>
                    <a:pt x="166155" y="61538"/>
                  </a:cubicBezTo>
                  <a:cubicBezTo>
                    <a:pt x="160000" y="61538"/>
                    <a:pt x="160000" y="61538"/>
                    <a:pt x="156922" y="61538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1" name="图形 1">
              <a:extLst>
                <a:ext uri="{FF2B5EF4-FFF2-40B4-BE49-F238E27FC236}">
                  <a16:creationId xmlns:a16="http://schemas.microsoft.com/office/drawing/2014/main" id="{0D5C1D9A-591F-4606-8334-9CEC160D753B}"/>
                </a:ext>
              </a:extLst>
            </p:cNvPr>
            <p:cNvGrpSpPr/>
            <p:nvPr/>
          </p:nvGrpSpPr>
          <p:grpSpPr>
            <a:xfrm>
              <a:off x="14646573" y="6223872"/>
              <a:ext cx="405156" cy="254593"/>
              <a:chOff x="14646573" y="6223872"/>
              <a:chExt cx="405156" cy="254593"/>
            </a:xfrm>
          </p:grpSpPr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88435C05-D033-4628-85DA-9C14C6AFB784}"/>
                  </a:ext>
                </a:extLst>
              </p:cNvPr>
              <p:cNvSpPr/>
              <p:nvPr/>
            </p:nvSpPr>
            <p:spPr>
              <a:xfrm>
                <a:off x="14748245" y="6223872"/>
                <a:ext cx="240063" cy="75816"/>
              </a:xfrm>
              <a:custGeom>
                <a:avLst/>
                <a:gdLst>
                  <a:gd name="connsiteX0" fmla="*/ 240063 w 240063"/>
                  <a:gd name="connsiteY0" fmla="*/ 49231 h 75816"/>
                  <a:gd name="connsiteX1" fmla="*/ 132371 w 240063"/>
                  <a:gd name="connsiteY1" fmla="*/ 0 h 75816"/>
                  <a:gd name="connsiteX2" fmla="*/ 3140 w 240063"/>
                  <a:gd name="connsiteY2" fmla="*/ 49231 h 75816"/>
                  <a:gd name="connsiteX3" fmla="*/ 33909 w 240063"/>
                  <a:gd name="connsiteY3" fmla="*/ 73847 h 75816"/>
                  <a:gd name="connsiteX4" fmla="*/ 240063 w 240063"/>
                  <a:gd name="connsiteY4" fmla="*/ 49231 h 75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0063" h="75816">
                    <a:moveTo>
                      <a:pt x="240063" y="49231"/>
                    </a:moveTo>
                    <a:cubicBezTo>
                      <a:pt x="240063" y="49231"/>
                      <a:pt x="175449" y="0"/>
                      <a:pt x="132371" y="0"/>
                    </a:cubicBezTo>
                    <a:cubicBezTo>
                      <a:pt x="89293" y="0"/>
                      <a:pt x="15448" y="15385"/>
                      <a:pt x="3140" y="49231"/>
                    </a:cubicBezTo>
                    <a:cubicBezTo>
                      <a:pt x="-12245" y="86154"/>
                      <a:pt x="33909" y="73847"/>
                      <a:pt x="33909" y="73847"/>
                    </a:cubicBezTo>
                    <a:lnTo>
                      <a:pt x="240063" y="49231"/>
                    </a:ln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AAF1F831-415E-4185-AA2B-F35D956DF288}"/>
                  </a:ext>
                </a:extLst>
              </p:cNvPr>
              <p:cNvSpPr/>
              <p:nvPr/>
            </p:nvSpPr>
            <p:spPr>
              <a:xfrm>
                <a:off x="14646573" y="6265176"/>
                <a:ext cx="405156" cy="213289"/>
              </a:xfrm>
              <a:custGeom>
                <a:avLst/>
                <a:gdLst>
                  <a:gd name="connsiteX0" fmla="*/ 403273 w 405156"/>
                  <a:gd name="connsiteY0" fmla="*/ 124851 h 213289"/>
                  <a:gd name="connsiteX1" fmla="*/ 384812 w 405156"/>
                  <a:gd name="connsiteY1" fmla="*/ 1774 h 213289"/>
                  <a:gd name="connsiteX2" fmla="*/ 107889 w 405156"/>
                  <a:gd name="connsiteY2" fmla="*/ 7927 h 213289"/>
                  <a:gd name="connsiteX3" fmla="*/ 40196 w 405156"/>
                  <a:gd name="connsiteY3" fmla="*/ 47928 h 213289"/>
                  <a:gd name="connsiteX4" fmla="*/ 58657 w 405156"/>
                  <a:gd name="connsiteY4" fmla="*/ 57158 h 213289"/>
                  <a:gd name="connsiteX5" fmla="*/ 104811 w 405156"/>
                  <a:gd name="connsiteY5" fmla="*/ 60235 h 213289"/>
                  <a:gd name="connsiteX6" fmla="*/ 46351 w 405156"/>
                  <a:gd name="connsiteY6" fmla="*/ 84850 h 213289"/>
                  <a:gd name="connsiteX7" fmla="*/ 197 w 405156"/>
                  <a:gd name="connsiteY7" fmla="*/ 134081 h 213289"/>
                  <a:gd name="connsiteX8" fmla="*/ 30966 w 405156"/>
                  <a:gd name="connsiteY8" fmla="*/ 149466 h 213289"/>
                  <a:gd name="connsiteX9" fmla="*/ 30966 w 405156"/>
                  <a:gd name="connsiteY9" fmla="*/ 164851 h 213289"/>
                  <a:gd name="connsiteX10" fmla="*/ 107889 w 405156"/>
                  <a:gd name="connsiteY10" fmla="*/ 171005 h 213289"/>
                  <a:gd name="connsiteX11" fmla="*/ 163273 w 405156"/>
                  <a:gd name="connsiteY11" fmla="*/ 161773 h 213289"/>
                  <a:gd name="connsiteX12" fmla="*/ 114041 w 405156"/>
                  <a:gd name="connsiteY12" fmla="*/ 207927 h 213289"/>
                  <a:gd name="connsiteX13" fmla="*/ 169427 w 405156"/>
                  <a:gd name="connsiteY13" fmla="*/ 204850 h 213289"/>
                  <a:gd name="connsiteX14" fmla="*/ 267888 w 405156"/>
                  <a:gd name="connsiteY14" fmla="*/ 177158 h 213289"/>
                  <a:gd name="connsiteX15" fmla="*/ 366349 w 405156"/>
                  <a:gd name="connsiteY15" fmla="*/ 158696 h 213289"/>
                  <a:gd name="connsiteX16" fmla="*/ 403273 w 405156"/>
                  <a:gd name="connsiteY16" fmla="*/ 124851 h 21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05156" h="213289">
                    <a:moveTo>
                      <a:pt x="403273" y="124851"/>
                    </a:moveTo>
                    <a:cubicBezTo>
                      <a:pt x="412503" y="84850"/>
                      <a:pt x="384812" y="-1303"/>
                      <a:pt x="384812" y="1774"/>
                    </a:cubicBezTo>
                    <a:cubicBezTo>
                      <a:pt x="295581" y="4850"/>
                      <a:pt x="194042" y="-7457"/>
                      <a:pt x="107889" y="7927"/>
                    </a:cubicBezTo>
                    <a:cubicBezTo>
                      <a:pt x="92504" y="11004"/>
                      <a:pt x="30966" y="20235"/>
                      <a:pt x="40196" y="47928"/>
                    </a:cubicBezTo>
                    <a:cubicBezTo>
                      <a:pt x="43272" y="57158"/>
                      <a:pt x="52503" y="57158"/>
                      <a:pt x="58657" y="57158"/>
                    </a:cubicBezTo>
                    <a:cubicBezTo>
                      <a:pt x="74042" y="60235"/>
                      <a:pt x="89426" y="60235"/>
                      <a:pt x="104811" y="60235"/>
                    </a:cubicBezTo>
                    <a:cubicBezTo>
                      <a:pt x="83272" y="66389"/>
                      <a:pt x="64811" y="75620"/>
                      <a:pt x="46351" y="84850"/>
                    </a:cubicBezTo>
                    <a:cubicBezTo>
                      <a:pt x="30966" y="94082"/>
                      <a:pt x="-2881" y="112542"/>
                      <a:pt x="197" y="134081"/>
                    </a:cubicBezTo>
                    <a:cubicBezTo>
                      <a:pt x="197" y="146389"/>
                      <a:pt x="12503" y="149466"/>
                      <a:pt x="30966" y="149466"/>
                    </a:cubicBezTo>
                    <a:cubicBezTo>
                      <a:pt x="27888" y="155620"/>
                      <a:pt x="24812" y="161773"/>
                      <a:pt x="30966" y="164851"/>
                    </a:cubicBezTo>
                    <a:cubicBezTo>
                      <a:pt x="46351" y="180235"/>
                      <a:pt x="89426" y="174081"/>
                      <a:pt x="107889" y="171005"/>
                    </a:cubicBezTo>
                    <a:cubicBezTo>
                      <a:pt x="126350" y="167928"/>
                      <a:pt x="144811" y="164851"/>
                      <a:pt x="163273" y="161773"/>
                    </a:cubicBezTo>
                    <a:cubicBezTo>
                      <a:pt x="132504" y="174081"/>
                      <a:pt x="98657" y="192543"/>
                      <a:pt x="114041" y="207927"/>
                    </a:cubicBezTo>
                    <a:cubicBezTo>
                      <a:pt x="126350" y="220235"/>
                      <a:pt x="157119" y="207927"/>
                      <a:pt x="169427" y="204850"/>
                    </a:cubicBezTo>
                    <a:cubicBezTo>
                      <a:pt x="203273" y="195620"/>
                      <a:pt x="234042" y="183312"/>
                      <a:pt x="267888" y="177158"/>
                    </a:cubicBezTo>
                    <a:cubicBezTo>
                      <a:pt x="298657" y="167928"/>
                      <a:pt x="332504" y="167928"/>
                      <a:pt x="366349" y="158696"/>
                    </a:cubicBezTo>
                    <a:cubicBezTo>
                      <a:pt x="387888" y="152543"/>
                      <a:pt x="397119" y="149466"/>
                      <a:pt x="403273" y="12485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317DFEEE-32BF-4F73-A7A7-ADCD1457121A}"/>
                  </a:ext>
                </a:extLst>
              </p:cNvPr>
              <p:cNvSpPr/>
              <p:nvPr/>
            </p:nvSpPr>
            <p:spPr>
              <a:xfrm>
                <a:off x="14668307" y="6356180"/>
                <a:ext cx="169230" cy="61538"/>
              </a:xfrm>
              <a:custGeom>
                <a:avLst/>
                <a:gdLst>
                  <a:gd name="connsiteX0" fmla="*/ 6154 w 169230"/>
                  <a:gd name="connsiteY0" fmla="*/ 61538 h 61538"/>
                  <a:gd name="connsiteX1" fmla="*/ 0 w 169230"/>
                  <a:gd name="connsiteY1" fmla="*/ 58461 h 61538"/>
                  <a:gd name="connsiteX2" fmla="*/ 3078 w 169230"/>
                  <a:gd name="connsiteY2" fmla="*/ 52307 h 61538"/>
                  <a:gd name="connsiteX3" fmla="*/ 160000 w 169230"/>
                  <a:gd name="connsiteY3" fmla="*/ 0 h 61538"/>
                  <a:gd name="connsiteX4" fmla="*/ 163078 w 169230"/>
                  <a:gd name="connsiteY4" fmla="*/ 0 h 61538"/>
                  <a:gd name="connsiteX5" fmla="*/ 169231 w 169230"/>
                  <a:gd name="connsiteY5" fmla="*/ 6153 h 61538"/>
                  <a:gd name="connsiteX6" fmla="*/ 163078 w 169230"/>
                  <a:gd name="connsiteY6" fmla="*/ 12308 h 61538"/>
                  <a:gd name="connsiteX7" fmla="*/ 160000 w 169230"/>
                  <a:gd name="connsiteY7" fmla="*/ 12308 h 61538"/>
                  <a:gd name="connsiteX8" fmla="*/ 6154 w 169230"/>
                  <a:gd name="connsiteY8" fmla="*/ 61538 h 61538"/>
                  <a:gd name="connsiteX9" fmla="*/ 6154 w 169230"/>
                  <a:gd name="connsiteY9" fmla="*/ 61538 h 6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9230" h="61538">
                    <a:moveTo>
                      <a:pt x="6154" y="61538"/>
                    </a:moveTo>
                    <a:cubicBezTo>
                      <a:pt x="3078" y="61538"/>
                      <a:pt x="3078" y="61538"/>
                      <a:pt x="0" y="58461"/>
                    </a:cubicBezTo>
                    <a:cubicBezTo>
                      <a:pt x="0" y="55384"/>
                      <a:pt x="0" y="52307"/>
                      <a:pt x="3078" y="52307"/>
                    </a:cubicBezTo>
                    <a:cubicBezTo>
                      <a:pt x="9232" y="49231"/>
                      <a:pt x="123077" y="0"/>
                      <a:pt x="160000" y="0"/>
                    </a:cubicBezTo>
                    <a:cubicBezTo>
                      <a:pt x="160000" y="0"/>
                      <a:pt x="160000" y="0"/>
                      <a:pt x="163078" y="0"/>
                    </a:cubicBezTo>
                    <a:cubicBezTo>
                      <a:pt x="166155" y="0"/>
                      <a:pt x="169231" y="3077"/>
                      <a:pt x="169231" y="6153"/>
                    </a:cubicBezTo>
                    <a:cubicBezTo>
                      <a:pt x="169231" y="9230"/>
                      <a:pt x="166155" y="12308"/>
                      <a:pt x="163078" y="12308"/>
                    </a:cubicBezTo>
                    <a:cubicBezTo>
                      <a:pt x="163078" y="12308"/>
                      <a:pt x="163078" y="12308"/>
                      <a:pt x="160000" y="12308"/>
                    </a:cubicBezTo>
                    <a:cubicBezTo>
                      <a:pt x="123077" y="9230"/>
                      <a:pt x="9232" y="61538"/>
                      <a:pt x="6154" y="61538"/>
                    </a:cubicBezTo>
                    <a:cubicBezTo>
                      <a:pt x="6154" y="61538"/>
                      <a:pt x="6154" y="61538"/>
                      <a:pt x="6154" y="6153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76729A36-8958-40E2-912E-B6DBC3154D28}"/>
                  </a:ext>
                </a:extLst>
              </p:cNvPr>
              <p:cNvSpPr/>
              <p:nvPr/>
            </p:nvSpPr>
            <p:spPr>
              <a:xfrm>
                <a:off x="14800616" y="6411564"/>
                <a:ext cx="64614" cy="21538"/>
              </a:xfrm>
              <a:custGeom>
                <a:avLst/>
                <a:gdLst>
                  <a:gd name="connsiteX0" fmla="*/ 6152 w 64614"/>
                  <a:gd name="connsiteY0" fmla="*/ 21539 h 21538"/>
                  <a:gd name="connsiteX1" fmla="*/ 0 w 64614"/>
                  <a:gd name="connsiteY1" fmla="*/ 15385 h 21538"/>
                  <a:gd name="connsiteX2" fmla="*/ 3076 w 64614"/>
                  <a:gd name="connsiteY2" fmla="*/ 9231 h 21538"/>
                  <a:gd name="connsiteX3" fmla="*/ 58460 w 64614"/>
                  <a:gd name="connsiteY3" fmla="*/ 0 h 21538"/>
                  <a:gd name="connsiteX4" fmla="*/ 64615 w 64614"/>
                  <a:gd name="connsiteY4" fmla="*/ 3077 h 21538"/>
                  <a:gd name="connsiteX5" fmla="*/ 61538 w 64614"/>
                  <a:gd name="connsiteY5" fmla="*/ 9231 h 21538"/>
                  <a:gd name="connsiteX6" fmla="*/ 6152 w 64614"/>
                  <a:gd name="connsiteY6" fmla="*/ 21539 h 21538"/>
                  <a:gd name="connsiteX7" fmla="*/ 6152 w 64614"/>
                  <a:gd name="connsiteY7" fmla="*/ 21539 h 2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4614" h="21538">
                    <a:moveTo>
                      <a:pt x="6152" y="21539"/>
                    </a:moveTo>
                    <a:cubicBezTo>
                      <a:pt x="3076" y="21539"/>
                      <a:pt x="0" y="18462"/>
                      <a:pt x="0" y="15385"/>
                    </a:cubicBezTo>
                    <a:cubicBezTo>
                      <a:pt x="0" y="12308"/>
                      <a:pt x="0" y="9231"/>
                      <a:pt x="3076" y="9231"/>
                    </a:cubicBezTo>
                    <a:lnTo>
                      <a:pt x="58460" y="0"/>
                    </a:lnTo>
                    <a:cubicBezTo>
                      <a:pt x="61538" y="0"/>
                      <a:pt x="64615" y="0"/>
                      <a:pt x="64615" y="3077"/>
                    </a:cubicBezTo>
                    <a:cubicBezTo>
                      <a:pt x="64615" y="6154"/>
                      <a:pt x="64615" y="9231"/>
                      <a:pt x="61538" y="9231"/>
                    </a:cubicBezTo>
                    <a:lnTo>
                      <a:pt x="6152" y="21539"/>
                    </a:lnTo>
                    <a:cubicBezTo>
                      <a:pt x="9230" y="21539"/>
                      <a:pt x="9230" y="21539"/>
                      <a:pt x="6152" y="2153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701D867C-4241-414B-80E0-9A15810ECC3D}"/>
                  </a:ext>
                </a:extLst>
              </p:cNvPr>
              <p:cNvSpPr/>
              <p:nvPr/>
            </p:nvSpPr>
            <p:spPr>
              <a:xfrm>
                <a:off x="14882924" y="6300795"/>
                <a:ext cx="31210" cy="110769"/>
              </a:xfrm>
              <a:custGeom>
                <a:avLst/>
                <a:gdLst>
                  <a:gd name="connsiteX0" fmla="*/ 25385 w 31210"/>
                  <a:gd name="connsiteY0" fmla="*/ 110769 h 110769"/>
                  <a:gd name="connsiteX1" fmla="*/ 19231 w 31210"/>
                  <a:gd name="connsiteY1" fmla="*/ 107692 h 110769"/>
                  <a:gd name="connsiteX2" fmla="*/ 3846 w 31210"/>
                  <a:gd name="connsiteY2" fmla="*/ 3077 h 110769"/>
                  <a:gd name="connsiteX3" fmla="*/ 10000 w 31210"/>
                  <a:gd name="connsiteY3" fmla="*/ 0 h 110769"/>
                  <a:gd name="connsiteX4" fmla="*/ 13077 w 31210"/>
                  <a:gd name="connsiteY4" fmla="*/ 6154 h 110769"/>
                  <a:gd name="connsiteX5" fmla="*/ 25385 w 31210"/>
                  <a:gd name="connsiteY5" fmla="*/ 101539 h 110769"/>
                  <a:gd name="connsiteX6" fmla="*/ 25385 w 31210"/>
                  <a:gd name="connsiteY6" fmla="*/ 110769 h 110769"/>
                  <a:gd name="connsiteX7" fmla="*/ 25385 w 31210"/>
                  <a:gd name="connsiteY7" fmla="*/ 110769 h 110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210" h="110769">
                    <a:moveTo>
                      <a:pt x="25385" y="110769"/>
                    </a:moveTo>
                    <a:cubicBezTo>
                      <a:pt x="22307" y="110769"/>
                      <a:pt x="22307" y="110769"/>
                      <a:pt x="19231" y="107692"/>
                    </a:cubicBezTo>
                    <a:cubicBezTo>
                      <a:pt x="-11538" y="58462"/>
                      <a:pt x="3846" y="6154"/>
                      <a:pt x="3846" y="3077"/>
                    </a:cubicBezTo>
                    <a:cubicBezTo>
                      <a:pt x="3846" y="0"/>
                      <a:pt x="6922" y="0"/>
                      <a:pt x="10000" y="0"/>
                    </a:cubicBezTo>
                    <a:cubicBezTo>
                      <a:pt x="13077" y="0"/>
                      <a:pt x="16153" y="3077"/>
                      <a:pt x="13077" y="6154"/>
                    </a:cubicBezTo>
                    <a:cubicBezTo>
                      <a:pt x="13077" y="6154"/>
                      <a:pt x="-2308" y="55385"/>
                      <a:pt x="25385" y="101539"/>
                    </a:cubicBezTo>
                    <a:cubicBezTo>
                      <a:pt x="34615" y="107692"/>
                      <a:pt x="31537" y="110769"/>
                      <a:pt x="25385" y="110769"/>
                    </a:cubicBezTo>
                    <a:cubicBezTo>
                      <a:pt x="28461" y="110769"/>
                      <a:pt x="28461" y="110769"/>
                      <a:pt x="25385" y="11076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58B1CA40-5DF4-4996-89B1-B51337DCCF37}"/>
                  </a:ext>
                </a:extLst>
              </p:cNvPr>
              <p:cNvSpPr/>
              <p:nvPr/>
            </p:nvSpPr>
            <p:spPr>
              <a:xfrm>
                <a:off x="14675231" y="6253685"/>
                <a:ext cx="263847" cy="77879"/>
              </a:xfrm>
              <a:custGeom>
                <a:avLst/>
                <a:gdLst>
                  <a:gd name="connsiteX0" fmla="*/ 51539 w 263847"/>
                  <a:gd name="connsiteY0" fmla="*/ 77879 h 77879"/>
                  <a:gd name="connsiteX1" fmla="*/ 2309 w 263847"/>
                  <a:gd name="connsiteY1" fmla="*/ 59419 h 77879"/>
                  <a:gd name="connsiteX2" fmla="*/ 2309 w 263847"/>
                  <a:gd name="connsiteY2" fmla="*/ 44034 h 77879"/>
                  <a:gd name="connsiteX3" fmla="*/ 257693 w 263847"/>
                  <a:gd name="connsiteY3" fmla="*/ 956 h 77879"/>
                  <a:gd name="connsiteX4" fmla="*/ 263847 w 263847"/>
                  <a:gd name="connsiteY4" fmla="*/ 7110 h 77879"/>
                  <a:gd name="connsiteX5" fmla="*/ 257693 w 263847"/>
                  <a:gd name="connsiteY5" fmla="*/ 13265 h 77879"/>
                  <a:gd name="connsiteX6" fmla="*/ 11539 w 263847"/>
                  <a:gd name="connsiteY6" fmla="*/ 50187 h 77879"/>
                  <a:gd name="connsiteX7" fmla="*/ 11539 w 263847"/>
                  <a:gd name="connsiteY7" fmla="*/ 53264 h 77879"/>
                  <a:gd name="connsiteX8" fmla="*/ 69999 w 263847"/>
                  <a:gd name="connsiteY8" fmla="*/ 62495 h 77879"/>
                  <a:gd name="connsiteX9" fmla="*/ 159231 w 263847"/>
                  <a:gd name="connsiteY9" fmla="*/ 47110 h 77879"/>
                  <a:gd name="connsiteX10" fmla="*/ 165385 w 263847"/>
                  <a:gd name="connsiteY10" fmla="*/ 53264 h 77879"/>
                  <a:gd name="connsiteX11" fmla="*/ 159231 w 263847"/>
                  <a:gd name="connsiteY11" fmla="*/ 59419 h 77879"/>
                  <a:gd name="connsiteX12" fmla="*/ 73077 w 263847"/>
                  <a:gd name="connsiteY12" fmla="*/ 74803 h 77879"/>
                  <a:gd name="connsiteX13" fmla="*/ 69999 w 263847"/>
                  <a:gd name="connsiteY13" fmla="*/ 77879 h 77879"/>
                  <a:gd name="connsiteX14" fmla="*/ 51539 w 263847"/>
                  <a:gd name="connsiteY14" fmla="*/ 77879 h 77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3847" h="77879">
                    <a:moveTo>
                      <a:pt x="51539" y="77879"/>
                    </a:moveTo>
                    <a:cubicBezTo>
                      <a:pt x="33078" y="77879"/>
                      <a:pt x="11539" y="74803"/>
                      <a:pt x="2309" y="59419"/>
                    </a:cubicBezTo>
                    <a:cubicBezTo>
                      <a:pt x="-770" y="56341"/>
                      <a:pt x="-770" y="50187"/>
                      <a:pt x="2309" y="44034"/>
                    </a:cubicBezTo>
                    <a:cubicBezTo>
                      <a:pt x="17693" y="19418"/>
                      <a:pt x="116153" y="-5197"/>
                      <a:pt x="257693" y="956"/>
                    </a:cubicBezTo>
                    <a:cubicBezTo>
                      <a:pt x="260769" y="956"/>
                      <a:pt x="263847" y="4033"/>
                      <a:pt x="263847" y="7110"/>
                    </a:cubicBezTo>
                    <a:cubicBezTo>
                      <a:pt x="263847" y="10188"/>
                      <a:pt x="260769" y="13265"/>
                      <a:pt x="257693" y="13265"/>
                    </a:cubicBezTo>
                    <a:cubicBezTo>
                      <a:pt x="103847" y="7110"/>
                      <a:pt x="20769" y="31725"/>
                      <a:pt x="11539" y="50187"/>
                    </a:cubicBezTo>
                    <a:cubicBezTo>
                      <a:pt x="11539" y="53264"/>
                      <a:pt x="11539" y="53264"/>
                      <a:pt x="11539" y="53264"/>
                    </a:cubicBezTo>
                    <a:cubicBezTo>
                      <a:pt x="20769" y="68649"/>
                      <a:pt x="57693" y="65572"/>
                      <a:pt x="69999" y="62495"/>
                    </a:cubicBezTo>
                    <a:cubicBezTo>
                      <a:pt x="88462" y="53264"/>
                      <a:pt x="146922" y="47110"/>
                      <a:pt x="159231" y="47110"/>
                    </a:cubicBezTo>
                    <a:cubicBezTo>
                      <a:pt x="162307" y="47110"/>
                      <a:pt x="165385" y="50187"/>
                      <a:pt x="165385" y="53264"/>
                    </a:cubicBezTo>
                    <a:cubicBezTo>
                      <a:pt x="165385" y="56341"/>
                      <a:pt x="162307" y="59419"/>
                      <a:pt x="159231" y="59419"/>
                    </a:cubicBezTo>
                    <a:cubicBezTo>
                      <a:pt x="128462" y="59419"/>
                      <a:pt x="82308" y="71726"/>
                      <a:pt x="73077" y="74803"/>
                    </a:cubicBezTo>
                    <a:cubicBezTo>
                      <a:pt x="73077" y="74803"/>
                      <a:pt x="69999" y="77879"/>
                      <a:pt x="69999" y="77879"/>
                    </a:cubicBezTo>
                    <a:cubicBezTo>
                      <a:pt x="73077" y="77879"/>
                      <a:pt x="63847" y="77879"/>
                      <a:pt x="51539" y="7787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498B0DD8-17B2-4EDC-BC36-81CB8F6E8084}"/>
                </a:ext>
              </a:extLst>
            </p:cNvPr>
            <p:cNvSpPr/>
            <p:nvPr/>
          </p:nvSpPr>
          <p:spPr>
            <a:xfrm>
              <a:off x="15465231" y="5350286"/>
              <a:ext cx="935538" cy="1000907"/>
            </a:xfrm>
            <a:custGeom>
              <a:avLst/>
              <a:gdLst>
                <a:gd name="connsiteX0" fmla="*/ 603076 w 935538"/>
                <a:gd name="connsiteY0" fmla="*/ 325894 h 1000907"/>
                <a:gd name="connsiteX1" fmla="*/ 470769 w 935538"/>
                <a:gd name="connsiteY1" fmla="*/ 698202 h 1000907"/>
                <a:gd name="connsiteX2" fmla="*/ 0 w 935538"/>
                <a:gd name="connsiteY2" fmla="*/ 808970 h 1000907"/>
                <a:gd name="connsiteX3" fmla="*/ 36923 w 935538"/>
                <a:gd name="connsiteY3" fmla="*/ 999740 h 1000907"/>
                <a:gd name="connsiteX4" fmla="*/ 683077 w 935538"/>
                <a:gd name="connsiteY4" fmla="*/ 885894 h 1000907"/>
                <a:gd name="connsiteX5" fmla="*/ 923077 w 935538"/>
                <a:gd name="connsiteY5" fmla="*/ 267432 h 1000907"/>
                <a:gd name="connsiteX6" fmla="*/ 867693 w 935538"/>
                <a:gd name="connsiteY6" fmla="*/ 2817 h 1000907"/>
                <a:gd name="connsiteX7" fmla="*/ 603076 w 935538"/>
                <a:gd name="connsiteY7" fmla="*/ 325894 h 1000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5538" h="1000907">
                  <a:moveTo>
                    <a:pt x="603076" y="325894"/>
                  </a:moveTo>
                  <a:cubicBezTo>
                    <a:pt x="575385" y="412048"/>
                    <a:pt x="520001" y="621278"/>
                    <a:pt x="470769" y="698202"/>
                  </a:cubicBezTo>
                  <a:cubicBezTo>
                    <a:pt x="427693" y="765894"/>
                    <a:pt x="0" y="802817"/>
                    <a:pt x="0" y="808970"/>
                  </a:cubicBezTo>
                  <a:cubicBezTo>
                    <a:pt x="9230" y="879740"/>
                    <a:pt x="-18461" y="956663"/>
                    <a:pt x="36923" y="999740"/>
                  </a:cubicBezTo>
                  <a:cubicBezTo>
                    <a:pt x="46154" y="1005894"/>
                    <a:pt x="541538" y="990509"/>
                    <a:pt x="683077" y="885894"/>
                  </a:cubicBezTo>
                  <a:cubicBezTo>
                    <a:pt x="738462" y="845893"/>
                    <a:pt x="873847" y="408970"/>
                    <a:pt x="923077" y="267432"/>
                  </a:cubicBezTo>
                  <a:cubicBezTo>
                    <a:pt x="950770" y="184355"/>
                    <a:pt x="932307" y="18201"/>
                    <a:pt x="867693" y="2817"/>
                  </a:cubicBezTo>
                  <a:cubicBezTo>
                    <a:pt x="769231" y="-24875"/>
                    <a:pt x="655384" y="156663"/>
                    <a:pt x="603076" y="325894"/>
                  </a:cubicBezTo>
                  <a:close/>
                </a:path>
              </a:pathLst>
            </a:custGeom>
            <a:solidFill>
              <a:srgbClr val="F1DDB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C29B94E2-4E49-4050-AEDC-706FE2B2B79E}"/>
                </a:ext>
              </a:extLst>
            </p:cNvPr>
            <p:cNvSpPr/>
            <p:nvPr/>
          </p:nvSpPr>
          <p:spPr>
            <a:xfrm>
              <a:off x="16023239" y="6740396"/>
              <a:ext cx="1281991" cy="1228695"/>
            </a:xfrm>
            <a:custGeom>
              <a:avLst/>
              <a:gdLst>
                <a:gd name="connsiteX0" fmla="*/ 29683 w 1281991"/>
                <a:gd name="connsiteY0" fmla="*/ 1212707 h 1228695"/>
                <a:gd name="connsiteX1" fmla="*/ 48146 w 1281991"/>
                <a:gd name="connsiteY1" fmla="*/ 1228092 h 1228695"/>
                <a:gd name="connsiteX2" fmla="*/ 497376 w 1281991"/>
                <a:gd name="connsiteY2" fmla="*/ 1145014 h 1228695"/>
                <a:gd name="connsiteX3" fmla="*/ 995838 w 1281991"/>
                <a:gd name="connsiteY3" fmla="*/ 1095784 h 1228695"/>
                <a:gd name="connsiteX4" fmla="*/ 1281991 w 1281991"/>
                <a:gd name="connsiteY4" fmla="*/ 1025014 h 1228695"/>
                <a:gd name="connsiteX5" fmla="*/ 1112761 w 1281991"/>
                <a:gd name="connsiteY5" fmla="*/ 646553 h 1228695"/>
                <a:gd name="connsiteX6" fmla="*/ 1112761 w 1281991"/>
                <a:gd name="connsiteY6" fmla="*/ 351168 h 1228695"/>
                <a:gd name="connsiteX7" fmla="*/ 632761 w 1281991"/>
                <a:gd name="connsiteY7" fmla="*/ 289630 h 1228695"/>
                <a:gd name="connsiteX8" fmla="*/ 383529 w 1281991"/>
                <a:gd name="connsiteY8" fmla="*/ 21937 h 1228695"/>
                <a:gd name="connsiteX9" fmla="*/ 100454 w 1281991"/>
                <a:gd name="connsiteY9" fmla="*/ 58861 h 1228695"/>
                <a:gd name="connsiteX10" fmla="*/ 75837 w 1281991"/>
                <a:gd name="connsiteY10" fmla="*/ 71168 h 1228695"/>
                <a:gd name="connsiteX11" fmla="*/ 51222 w 1281991"/>
                <a:gd name="connsiteY11" fmla="*/ 388092 h 1228695"/>
                <a:gd name="connsiteX12" fmla="*/ 8146 w 1281991"/>
                <a:gd name="connsiteY12" fmla="*/ 640399 h 1228695"/>
                <a:gd name="connsiteX13" fmla="*/ 29683 w 1281991"/>
                <a:gd name="connsiteY13" fmla="*/ 1212707 h 1228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1991" h="1228695">
                  <a:moveTo>
                    <a:pt x="29683" y="1212707"/>
                  </a:moveTo>
                  <a:cubicBezTo>
                    <a:pt x="29683" y="1221937"/>
                    <a:pt x="38915" y="1231169"/>
                    <a:pt x="48146" y="1228092"/>
                  </a:cubicBezTo>
                  <a:cubicBezTo>
                    <a:pt x="192762" y="1181938"/>
                    <a:pt x="346608" y="1166553"/>
                    <a:pt x="497376" y="1145014"/>
                  </a:cubicBezTo>
                  <a:lnTo>
                    <a:pt x="995838" y="1095784"/>
                  </a:lnTo>
                  <a:cubicBezTo>
                    <a:pt x="1005068" y="1095784"/>
                    <a:pt x="1281991" y="1034246"/>
                    <a:pt x="1281991" y="1025014"/>
                  </a:cubicBezTo>
                  <a:cubicBezTo>
                    <a:pt x="1263531" y="960399"/>
                    <a:pt x="1140454" y="708092"/>
                    <a:pt x="1112761" y="646553"/>
                  </a:cubicBezTo>
                  <a:cubicBezTo>
                    <a:pt x="1081991" y="575783"/>
                    <a:pt x="1143530" y="421937"/>
                    <a:pt x="1112761" y="351168"/>
                  </a:cubicBezTo>
                  <a:cubicBezTo>
                    <a:pt x="1060453" y="225014"/>
                    <a:pt x="703530" y="406553"/>
                    <a:pt x="632761" y="289630"/>
                  </a:cubicBezTo>
                  <a:cubicBezTo>
                    <a:pt x="571223" y="191168"/>
                    <a:pt x="494300" y="71168"/>
                    <a:pt x="383529" y="21937"/>
                  </a:cubicBezTo>
                  <a:cubicBezTo>
                    <a:pt x="288145" y="-21139"/>
                    <a:pt x="183529" y="3476"/>
                    <a:pt x="100454" y="58861"/>
                  </a:cubicBezTo>
                  <a:cubicBezTo>
                    <a:pt x="91222" y="52707"/>
                    <a:pt x="75837" y="58861"/>
                    <a:pt x="75837" y="71168"/>
                  </a:cubicBezTo>
                  <a:cubicBezTo>
                    <a:pt x="72761" y="178861"/>
                    <a:pt x="69685" y="283476"/>
                    <a:pt x="51222" y="388092"/>
                  </a:cubicBezTo>
                  <a:cubicBezTo>
                    <a:pt x="35837" y="471168"/>
                    <a:pt x="17377" y="554246"/>
                    <a:pt x="8146" y="640399"/>
                  </a:cubicBezTo>
                  <a:cubicBezTo>
                    <a:pt x="-10316" y="831169"/>
                    <a:pt x="5068" y="1025014"/>
                    <a:pt x="29683" y="1212707"/>
                  </a:cubicBezTo>
                  <a:close/>
                </a:path>
              </a:pathLst>
            </a:custGeom>
            <a:solidFill>
              <a:srgbClr val="F1DDB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5EAA6088-8AF9-43B3-A48C-C20CDAA07FD0}"/>
                </a:ext>
              </a:extLst>
            </p:cNvPr>
            <p:cNvSpPr/>
            <p:nvPr/>
          </p:nvSpPr>
          <p:spPr>
            <a:xfrm>
              <a:off x="16516059" y="4491321"/>
              <a:ext cx="427576" cy="392641"/>
            </a:xfrm>
            <a:custGeom>
              <a:avLst/>
              <a:gdLst>
                <a:gd name="connsiteX0" fmla="*/ 10711 w 427576"/>
                <a:gd name="connsiteY0" fmla="*/ 123320 h 392641"/>
                <a:gd name="connsiteX1" fmla="*/ 149173 w 427576"/>
                <a:gd name="connsiteY1" fmla="*/ 378705 h 392641"/>
                <a:gd name="connsiteX2" fmla="*/ 416865 w 427576"/>
                <a:gd name="connsiteY2" fmla="*/ 271013 h 392641"/>
                <a:gd name="connsiteX3" fmla="*/ 278404 w 427576"/>
                <a:gd name="connsiteY3" fmla="*/ 15628 h 392641"/>
                <a:gd name="connsiteX4" fmla="*/ 10711 w 427576"/>
                <a:gd name="connsiteY4" fmla="*/ 123320 h 39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576" h="392641">
                  <a:moveTo>
                    <a:pt x="10711" y="123320"/>
                  </a:moveTo>
                  <a:cubicBezTo>
                    <a:pt x="-26212" y="224859"/>
                    <a:pt x="35326" y="338705"/>
                    <a:pt x="149173" y="378705"/>
                  </a:cubicBezTo>
                  <a:cubicBezTo>
                    <a:pt x="259941" y="418705"/>
                    <a:pt x="383018" y="369474"/>
                    <a:pt x="416865" y="271013"/>
                  </a:cubicBezTo>
                  <a:cubicBezTo>
                    <a:pt x="453789" y="169474"/>
                    <a:pt x="392250" y="55628"/>
                    <a:pt x="278404" y="15628"/>
                  </a:cubicBezTo>
                  <a:cubicBezTo>
                    <a:pt x="167633" y="-27449"/>
                    <a:pt x="47635" y="21782"/>
                    <a:pt x="10711" y="123320"/>
                  </a:cubicBezTo>
                  <a:close/>
                </a:path>
              </a:pathLst>
            </a:custGeom>
            <a:solidFill>
              <a:srgbClr val="664241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E2439646-9076-48BE-999B-FF1DCB1419B7}"/>
                </a:ext>
              </a:extLst>
            </p:cNvPr>
            <p:cNvSpPr/>
            <p:nvPr/>
          </p:nvSpPr>
          <p:spPr>
            <a:xfrm>
              <a:off x="16469333" y="4900614"/>
              <a:ext cx="405128" cy="305644"/>
            </a:xfrm>
            <a:custGeom>
              <a:avLst/>
              <a:gdLst>
                <a:gd name="connsiteX0" fmla="*/ 405128 w 405128"/>
                <a:gd name="connsiteY0" fmla="*/ 34028 h 305644"/>
                <a:gd name="connsiteX1" fmla="*/ 106667 w 405128"/>
                <a:gd name="connsiteY1" fmla="*/ 304797 h 305644"/>
                <a:gd name="connsiteX2" fmla="*/ 106667 w 405128"/>
                <a:gd name="connsiteY2" fmla="*/ 52489 h 305644"/>
                <a:gd name="connsiteX3" fmla="*/ 405128 w 405128"/>
                <a:gd name="connsiteY3" fmla="*/ 34028 h 30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5128" h="305644">
                  <a:moveTo>
                    <a:pt x="405128" y="34028"/>
                  </a:moveTo>
                  <a:cubicBezTo>
                    <a:pt x="405128" y="34028"/>
                    <a:pt x="343590" y="323259"/>
                    <a:pt x="106667" y="304797"/>
                  </a:cubicBezTo>
                  <a:cubicBezTo>
                    <a:pt x="-133333" y="286336"/>
                    <a:pt x="106667" y="52489"/>
                    <a:pt x="106667" y="52489"/>
                  </a:cubicBezTo>
                  <a:cubicBezTo>
                    <a:pt x="106667" y="52489"/>
                    <a:pt x="371283" y="-52126"/>
                    <a:pt x="405128" y="34028"/>
                  </a:cubicBezTo>
                  <a:close/>
                </a:path>
              </a:pathLst>
            </a:custGeom>
            <a:solidFill>
              <a:srgbClr val="664241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3DD47B1C-882B-4979-885B-2BA8735E0213}"/>
                </a:ext>
              </a:extLst>
            </p:cNvPr>
            <p:cNvGrpSpPr/>
            <p:nvPr/>
          </p:nvGrpSpPr>
          <p:grpSpPr>
            <a:xfrm>
              <a:off x="16030615" y="8740796"/>
              <a:ext cx="382307" cy="389713"/>
              <a:chOff x="16030615" y="8740796"/>
              <a:chExt cx="382307" cy="389713"/>
            </a:xfrm>
          </p:grpSpPr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A85DF305-EF8E-4889-A3B4-E36714C704B4}"/>
                  </a:ext>
                </a:extLst>
              </p:cNvPr>
              <p:cNvSpPr/>
              <p:nvPr/>
            </p:nvSpPr>
            <p:spPr>
              <a:xfrm>
                <a:off x="16030615" y="8866950"/>
                <a:ext cx="367910" cy="263558"/>
              </a:xfrm>
              <a:custGeom>
                <a:avLst/>
                <a:gdLst>
                  <a:gd name="connsiteX0" fmla="*/ 228462 w 367910"/>
                  <a:gd name="connsiteY0" fmla="*/ 0 h 263558"/>
                  <a:gd name="connsiteX1" fmla="*/ 108463 w 367910"/>
                  <a:gd name="connsiteY1" fmla="*/ 166154 h 263558"/>
                  <a:gd name="connsiteX2" fmla="*/ 326924 w 367910"/>
                  <a:gd name="connsiteY2" fmla="*/ 36923 h 263558"/>
                  <a:gd name="connsiteX3" fmla="*/ 348462 w 367910"/>
                  <a:gd name="connsiteY3" fmla="*/ 21538 h 263558"/>
                  <a:gd name="connsiteX4" fmla="*/ 366923 w 367910"/>
                  <a:gd name="connsiteY4" fmla="*/ 98461 h 263558"/>
                  <a:gd name="connsiteX5" fmla="*/ 354617 w 367910"/>
                  <a:gd name="connsiteY5" fmla="*/ 236923 h 263558"/>
                  <a:gd name="connsiteX6" fmla="*/ 326924 w 367910"/>
                  <a:gd name="connsiteY6" fmla="*/ 236923 h 263558"/>
                  <a:gd name="connsiteX7" fmla="*/ 311539 w 367910"/>
                  <a:gd name="connsiteY7" fmla="*/ 126153 h 263558"/>
                  <a:gd name="connsiteX8" fmla="*/ 166923 w 367910"/>
                  <a:gd name="connsiteY8" fmla="*/ 258461 h 263558"/>
                  <a:gd name="connsiteX9" fmla="*/ 6923 w 367910"/>
                  <a:gd name="connsiteY9" fmla="*/ 261538 h 263558"/>
                  <a:gd name="connsiteX10" fmla="*/ 6923 w 367910"/>
                  <a:gd name="connsiteY10" fmla="*/ 215385 h 263558"/>
                  <a:gd name="connsiteX11" fmla="*/ 228462 w 367910"/>
                  <a:gd name="connsiteY11" fmla="*/ 0 h 263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7910" h="263558">
                    <a:moveTo>
                      <a:pt x="228462" y="0"/>
                    </a:moveTo>
                    <a:cubicBezTo>
                      <a:pt x="228462" y="0"/>
                      <a:pt x="93078" y="156922"/>
                      <a:pt x="108463" y="166154"/>
                    </a:cubicBezTo>
                    <a:cubicBezTo>
                      <a:pt x="126924" y="175384"/>
                      <a:pt x="326924" y="36923"/>
                      <a:pt x="326924" y="36923"/>
                    </a:cubicBezTo>
                    <a:lnTo>
                      <a:pt x="348462" y="21538"/>
                    </a:lnTo>
                    <a:cubicBezTo>
                      <a:pt x="348462" y="21538"/>
                      <a:pt x="373077" y="70769"/>
                      <a:pt x="366923" y="98461"/>
                    </a:cubicBezTo>
                    <a:cubicBezTo>
                      <a:pt x="360769" y="126153"/>
                      <a:pt x="354617" y="236923"/>
                      <a:pt x="354617" y="236923"/>
                    </a:cubicBezTo>
                    <a:lnTo>
                      <a:pt x="326924" y="236923"/>
                    </a:lnTo>
                    <a:lnTo>
                      <a:pt x="311539" y="126153"/>
                    </a:lnTo>
                    <a:cubicBezTo>
                      <a:pt x="311539" y="126153"/>
                      <a:pt x="188462" y="255384"/>
                      <a:pt x="166923" y="258461"/>
                    </a:cubicBezTo>
                    <a:cubicBezTo>
                      <a:pt x="145384" y="264615"/>
                      <a:pt x="19231" y="264615"/>
                      <a:pt x="6923" y="261538"/>
                    </a:cubicBezTo>
                    <a:cubicBezTo>
                      <a:pt x="-2308" y="261538"/>
                      <a:pt x="-2308" y="221538"/>
                      <a:pt x="6923" y="215385"/>
                    </a:cubicBezTo>
                    <a:cubicBezTo>
                      <a:pt x="86924" y="172307"/>
                      <a:pt x="228462" y="0"/>
                      <a:pt x="228462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D9B01163-24DF-4B46-89A8-90E2F7918803}"/>
                  </a:ext>
                </a:extLst>
              </p:cNvPr>
              <p:cNvSpPr/>
              <p:nvPr/>
            </p:nvSpPr>
            <p:spPr>
              <a:xfrm>
                <a:off x="16136847" y="8740796"/>
                <a:ext cx="276075" cy="297142"/>
              </a:xfrm>
              <a:custGeom>
                <a:avLst/>
                <a:gdLst>
                  <a:gd name="connsiteX0" fmla="*/ 171461 w 276075"/>
                  <a:gd name="connsiteY0" fmla="*/ 0 h 297142"/>
                  <a:gd name="connsiteX1" fmla="*/ 122230 w 276075"/>
                  <a:gd name="connsiteY1" fmla="*/ 129230 h 297142"/>
                  <a:gd name="connsiteX2" fmla="*/ 2231 w 276075"/>
                  <a:gd name="connsiteY2" fmla="*/ 295385 h 297142"/>
                  <a:gd name="connsiteX3" fmla="*/ 239152 w 276075"/>
                  <a:gd name="connsiteY3" fmla="*/ 150769 h 297142"/>
                  <a:gd name="connsiteX4" fmla="*/ 276076 w 276075"/>
                  <a:gd name="connsiteY4" fmla="*/ 0 h 297142"/>
                  <a:gd name="connsiteX5" fmla="*/ 171461 w 276075"/>
                  <a:gd name="connsiteY5" fmla="*/ 0 h 297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6075" h="297142">
                    <a:moveTo>
                      <a:pt x="171461" y="0"/>
                    </a:moveTo>
                    <a:lnTo>
                      <a:pt x="122230" y="129230"/>
                    </a:lnTo>
                    <a:cubicBezTo>
                      <a:pt x="122230" y="129230"/>
                      <a:pt x="-19308" y="280000"/>
                      <a:pt x="2231" y="295385"/>
                    </a:cubicBezTo>
                    <a:cubicBezTo>
                      <a:pt x="23768" y="313846"/>
                      <a:pt x="242230" y="181538"/>
                      <a:pt x="239152" y="150769"/>
                    </a:cubicBezTo>
                    <a:cubicBezTo>
                      <a:pt x="239152" y="101538"/>
                      <a:pt x="276076" y="0"/>
                      <a:pt x="276076" y="0"/>
                    </a:cubicBezTo>
                    <a:lnTo>
                      <a:pt x="171461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B69602DC-F853-4D66-90E2-A4311ECB2B5D}"/>
                </a:ext>
              </a:extLst>
            </p:cNvPr>
            <p:cNvGrpSpPr/>
            <p:nvPr/>
          </p:nvGrpSpPr>
          <p:grpSpPr>
            <a:xfrm>
              <a:off x="17329846" y="8365411"/>
              <a:ext cx="372308" cy="496467"/>
              <a:chOff x="17329846" y="8365411"/>
              <a:chExt cx="372308" cy="496467"/>
            </a:xfrm>
          </p:grpSpPr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D103994B-DC50-4BD5-B58F-37C6AE3F6F8F}"/>
                  </a:ext>
                </a:extLst>
              </p:cNvPr>
              <p:cNvSpPr/>
              <p:nvPr/>
            </p:nvSpPr>
            <p:spPr>
              <a:xfrm>
                <a:off x="17434462" y="8445411"/>
                <a:ext cx="267692" cy="416467"/>
              </a:xfrm>
              <a:custGeom>
                <a:avLst/>
                <a:gdLst>
                  <a:gd name="connsiteX0" fmla="*/ 0 w 267692"/>
                  <a:gd name="connsiteY0" fmla="*/ 89231 h 416467"/>
                  <a:gd name="connsiteX1" fmla="*/ 70769 w 267692"/>
                  <a:gd name="connsiteY1" fmla="*/ 280000 h 416467"/>
                  <a:gd name="connsiteX2" fmla="*/ 89232 w 267692"/>
                  <a:gd name="connsiteY2" fmla="*/ 27692 h 416467"/>
                  <a:gd name="connsiteX3" fmla="*/ 86153 w 267692"/>
                  <a:gd name="connsiteY3" fmla="*/ 0 h 416467"/>
                  <a:gd name="connsiteX4" fmla="*/ 160000 w 267692"/>
                  <a:gd name="connsiteY4" fmla="*/ 27692 h 416467"/>
                  <a:gd name="connsiteX5" fmla="*/ 267693 w 267692"/>
                  <a:gd name="connsiteY5" fmla="*/ 116923 h 416467"/>
                  <a:gd name="connsiteX6" fmla="*/ 252308 w 267692"/>
                  <a:gd name="connsiteY6" fmla="*/ 138462 h 416467"/>
                  <a:gd name="connsiteX7" fmla="*/ 150770 w 267692"/>
                  <a:gd name="connsiteY7" fmla="*/ 89231 h 416467"/>
                  <a:gd name="connsiteX8" fmla="*/ 178461 w 267692"/>
                  <a:gd name="connsiteY8" fmla="*/ 283077 h 416467"/>
                  <a:gd name="connsiteX9" fmla="*/ 92308 w 267692"/>
                  <a:gd name="connsiteY9" fmla="*/ 415385 h 416467"/>
                  <a:gd name="connsiteX10" fmla="*/ 52308 w 267692"/>
                  <a:gd name="connsiteY10" fmla="*/ 387693 h 416467"/>
                  <a:gd name="connsiteX11" fmla="*/ 0 w 267692"/>
                  <a:gd name="connsiteY11" fmla="*/ 89231 h 416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7692" h="416467">
                    <a:moveTo>
                      <a:pt x="0" y="89231"/>
                    </a:moveTo>
                    <a:cubicBezTo>
                      <a:pt x="0" y="89231"/>
                      <a:pt x="52308" y="289231"/>
                      <a:pt x="70769" y="280000"/>
                    </a:cubicBezTo>
                    <a:cubicBezTo>
                      <a:pt x="89232" y="270769"/>
                      <a:pt x="89232" y="27692"/>
                      <a:pt x="89232" y="27692"/>
                    </a:cubicBezTo>
                    <a:lnTo>
                      <a:pt x="86153" y="0"/>
                    </a:lnTo>
                    <a:cubicBezTo>
                      <a:pt x="86153" y="0"/>
                      <a:pt x="141538" y="9230"/>
                      <a:pt x="160000" y="27692"/>
                    </a:cubicBezTo>
                    <a:cubicBezTo>
                      <a:pt x="181539" y="46154"/>
                      <a:pt x="267693" y="116923"/>
                      <a:pt x="267693" y="116923"/>
                    </a:cubicBezTo>
                    <a:lnTo>
                      <a:pt x="252308" y="138462"/>
                    </a:lnTo>
                    <a:lnTo>
                      <a:pt x="150770" y="89231"/>
                    </a:lnTo>
                    <a:cubicBezTo>
                      <a:pt x="150770" y="89231"/>
                      <a:pt x="187692" y="261538"/>
                      <a:pt x="178461" y="283077"/>
                    </a:cubicBezTo>
                    <a:cubicBezTo>
                      <a:pt x="169231" y="304615"/>
                      <a:pt x="98462" y="409230"/>
                      <a:pt x="92308" y="415385"/>
                    </a:cubicBezTo>
                    <a:cubicBezTo>
                      <a:pt x="86153" y="421539"/>
                      <a:pt x="52308" y="400000"/>
                      <a:pt x="52308" y="387693"/>
                    </a:cubicBezTo>
                    <a:cubicBezTo>
                      <a:pt x="61538" y="304615"/>
                      <a:pt x="0" y="89231"/>
                      <a:pt x="0" y="89231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DEFBFEEF-0BD1-4765-8A8F-39AB2E18B569}"/>
                  </a:ext>
                </a:extLst>
              </p:cNvPr>
              <p:cNvSpPr/>
              <p:nvPr/>
            </p:nvSpPr>
            <p:spPr>
              <a:xfrm>
                <a:off x="17329846" y="8365411"/>
                <a:ext cx="204020" cy="360310"/>
              </a:xfrm>
              <a:custGeom>
                <a:avLst/>
                <a:gdLst>
                  <a:gd name="connsiteX0" fmla="*/ 0 w 204020"/>
                  <a:gd name="connsiteY0" fmla="*/ 95385 h 360310"/>
                  <a:gd name="connsiteX1" fmla="*/ 104616 w 204020"/>
                  <a:gd name="connsiteY1" fmla="*/ 169231 h 360310"/>
                  <a:gd name="connsiteX2" fmla="*/ 175385 w 204020"/>
                  <a:gd name="connsiteY2" fmla="*/ 360000 h 360310"/>
                  <a:gd name="connsiteX3" fmla="*/ 190770 w 204020"/>
                  <a:gd name="connsiteY3" fmla="*/ 83077 h 360310"/>
                  <a:gd name="connsiteX4" fmla="*/ 67693 w 204020"/>
                  <a:gd name="connsiteY4" fmla="*/ 0 h 360310"/>
                  <a:gd name="connsiteX5" fmla="*/ 0 w 204020"/>
                  <a:gd name="connsiteY5" fmla="*/ 95385 h 360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4020" h="360310">
                    <a:moveTo>
                      <a:pt x="0" y="95385"/>
                    </a:moveTo>
                    <a:lnTo>
                      <a:pt x="104616" y="169231"/>
                    </a:lnTo>
                    <a:cubicBezTo>
                      <a:pt x="104616" y="169231"/>
                      <a:pt x="147694" y="369231"/>
                      <a:pt x="175385" y="360000"/>
                    </a:cubicBezTo>
                    <a:cubicBezTo>
                      <a:pt x="203078" y="350769"/>
                      <a:pt x="215385" y="98462"/>
                      <a:pt x="190770" y="83077"/>
                    </a:cubicBezTo>
                    <a:cubicBezTo>
                      <a:pt x="150770" y="52308"/>
                      <a:pt x="67693" y="0"/>
                      <a:pt x="67693" y="0"/>
                    </a:cubicBezTo>
                    <a:lnTo>
                      <a:pt x="0" y="95385"/>
                    </a:ln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91742549-F020-4663-8A10-1B87F1788F4D}"/>
                </a:ext>
              </a:extLst>
            </p:cNvPr>
            <p:cNvSpPr/>
            <p:nvPr/>
          </p:nvSpPr>
          <p:spPr>
            <a:xfrm>
              <a:off x="16100951" y="6285410"/>
              <a:ext cx="1416588" cy="2544615"/>
            </a:xfrm>
            <a:custGeom>
              <a:avLst/>
              <a:gdLst>
                <a:gd name="connsiteX0" fmla="*/ 795050 w 1416588"/>
                <a:gd name="connsiteY0" fmla="*/ 0 h 2544615"/>
                <a:gd name="connsiteX1" fmla="*/ 121203 w 1416588"/>
                <a:gd name="connsiteY1" fmla="*/ 0 h 2544615"/>
                <a:gd name="connsiteX2" fmla="*/ 1204 w 1416588"/>
                <a:gd name="connsiteY2" fmla="*/ 464616 h 2544615"/>
                <a:gd name="connsiteX3" fmla="*/ 182741 w 1416588"/>
                <a:gd name="connsiteY3" fmla="*/ 2507692 h 2544615"/>
                <a:gd name="connsiteX4" fmla="*/ 358126 w 1416588"/>
                <a:gd name="connsiteY4" fmla="*/ 2544616 h 2544615"/>
                <a:gd name="connsiteX5" fmla="*/ 465819 w 1416588"/>
                <a:gd name="connsiteY5" fmla="*/ 818462 h 2544615"/>
                <a:gd name="connsiteX6" fmla="*/ 558126 w 1416588"/>
                <a:gd name="connsiteY6" fmla="*/ 1772308 h 2544615"/>
                <a:gd name="connsiteX7" fmla="*/ 1287358 w 1416588"/>
                <a:gd name="connsiteY7" fmla="*/ 2295385 h 2544615"/>
                <a:gd name="connsiteX8" fmla="*/ 1416589 w 1416588"/>
                <a:gd name="connsiteY8" fmla="*/ 2064616 h 2544615"/>
                <a:gd name="connsiteX9" fmla="*/ 893512 w 1416588"/>
                <a:gd name="connsiteY9" fmla="*/ 1670770 h 2544615"/>
                <a:gd name="connsiteX10" fmla="*/ 930435 w 1416588"/>
                <a:gd name="connsiteY10" fmla="*/ 418462 h 2544615"/>
                <a:gd name="connsiteX11" fmla="*/ 795050 w 1416588"/>
                <a:gd name="connsiteY11" fmla="*/ 0 h 254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6588" h="2544615">
                  <a:moveTo>
                    <a:pt x="795050" y="0"/>
                  </a:moveTo>
                  <a:lnTo>
                    <a:pt x="121203" y="0"/>
                  </a:lnTo>
                  <a:cubicBezTo>
                    <a:pt x="121203" y="0"/>
                    <a:pt x="22743" y="307692"/>
                    <a:pt x="1204" y="464616"/>
                  </a:cubicBezTo>
                  <a:cubicBezTo>
                    <a:pt x="-17259" y="618462"/>
                    <a:pt x="182741" y="2507692"/>
                    <a:pt x="182741" y="2507692"/>
                  </a:cubicBezTo>
                  <a:lnTo>
                    <a:pt x="358126" y="2544616"/>
                  </a:lnTo>
                  <a:lnTo>
                    <a:pt x="465819" y="818462"/>
                  </a:lnTo>
                  <a:cubicBezTo>
                    <a:pt x="465819" y="818462"/>
                    <a:pt x="551972" y="1756923"/>
                    <a:pt x="558126" y="1772308"/>
                  </a:cubicBezTo>
                  <a:lnTo>
                    <a:pt x="1287358" y="2295385"/>
                  </a:lnTo>
                  <a:lnTo>
                    <a:pt x="1416589" y="2064616"/>
                  </a:lnTo>
                  <a:lnTo>
                    <a:pt x="893512" y="1670770"/>
                  </a:lnTo>
                  <a:cubicBezTo>
                    <a:pt x="893512" y="1670770"/>
                    <a:pt x="924281" y="483077"/>
                    <a:pt x="930435" y="418462"/>
                  </a:cubicBezTo>
                  <a:cubicBezTo>
                    <a:pt x="939666" y="298462"/>
                    <a:pt x="795050" y="0"/>
                    <a:pt x="795050" y="0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57110CD9-6906-418B-9160-DA2B667C8897}"/>
                </a:ext>
              </a:extLst>
            </p:cNvPr>
            <p:cNvSpPr/>
            <p:nvPr/>
          </p:nvSpPr>
          <p:spPr>
            <a:xfrm>
              <a:off x="16517539" y="6676180"/>
              <a:ext cx="876153" cy="1913846"/>
            </a:xfrm>
            <a:custGeom>
              <a:avLst/>
              <a:gdLst>
                <a:gd name="connsiteX0" fmla="*/ 870769 w 876153"/>
                <a:gd name="connsiteY0" fmla="*/ 1910769 h 1913846"/>
                <a:gd name="connsiteX1" fmla="*/ 867693 w 876153"/>
                <a:gd name="connsiteY1" fmla="*/ 1910769 h 1913846"/>
                <a:gd name="connsiteX2" fmla="*/ 138462 w 876153"/>
                <a:gd name="connsiteY2" fmla="*/ 1387693 h 1913846"/>
                <a:gd name="connsiteX3" fmla="*/ 135384 w 876153"/>
                <a:gd name="connsiteY3" fmla="*/ 1384615 h 1913846"/>
                <a:gd name="connsiteX4" fmla="*/ 43076 w 876153"/>
                <a:gd name="connsiteY4" fmla="*/ 427692 h 1913846"/>
                <a:gd name="connsiteX5" fmla="*/ 0 w 876153"/>
                <a:gd name="connsiteY5" fmla="*/ 6154 h 1913846"/>
                <a:gd name="connsiteX6" fmla="*/ 6154 w 876153"/>
                <a:gd name="connsiteY6" fmla="*/ 0 h 1913846"/>
                <a:gd name="connsiteX7" fmla="*/ 12307 w 876153"/>
                <a:gd name="connsiteY7" fmla="*/ 6154 h 1913846"/>
                <a:gd name="connsiteX8" fmla="*/ 55384 w 876153"/>
                <a:gd name="connsiteY8" fmla="*/ 427692 h 1913846"/>
                <a:gd name="connsiteX9" fmla="*/ 147692 w 876153"/>
                <a:gd name="connsiteY9" fmla="*/ 1381538 h 1913846"/>
                <a:gd name="connsiteX10" fmla="*/ 873845 w 876153"/>
                <a:gd name="connsiteY10" fmla="*/ 1904615 h 1913846"/>
                <a:gd name="connsiteX11" fmla="*/ 873845 w 876153"/>
                <a:gd name="connsiteY11" fmla="*/ 1913847 h 1913846"/>
                <a:gd name="connsiteX12" fmla="*/ 870769 w 876153"/>
                <a:gd name="connsiteY12" fmla="*/ 1910769 h 191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6153" h="1913846">
                  <a:moveTo>
                    <a:pt x="870769" y="1910769"/>
                  </a:moveTo>
                  <a:cubicBezTo>
                    <a:pt x="870769" y="1910769"/>
                    <a:pt x="867693" y="1910769"/>
                    <a:pt x="867693" y="1910769"/>
                  </a:cubicBezTo>
                  <a:lnTo>
                    <a:pt x="138462" y="1387693"/>
                  </a:lnTo>
                  <a:cubicBezTo>
                    <a:pt x="138462" y="1387693"/>
                    <a:pt x="135384" y="1387693"/>
                    <a:pt x="135384" y="1384615"/>
                  </a:cubicBezTo>
                  <a:cubicBezTo>
                    <a:pt x="129231" y="1366154"/>
                    <a:pt x="52308" y="523077"/>
                    <a:pt x="43076" y="427692"/>
                  </a:cubicBezTo>
                  <a:lnTo>
                    <a:pt x="0" y="6154"/>
                  </a:lnTo>
                  <a:cubicBezTo>
                    <a:pt x="0" y="3077"/>
                    <a:pt x="3076" y="0"/>
                    <a:pt x="6154" y="0"/>
                  </a:cubicBezTo>
                  <a:cubicBezTo>
                    <a:pt x="9230" y="0"/>
                    <a:pt x="12307" y="3077"/>
                    <a:pt x="12307" y="6154"/>
                  </a:cubicBezTo>
                  <a:lnTo>
                    <a:pt x="55384" y="427692"/>
                  </a:lnTo>
                  <a:cubicBezTo>
                    <a:pt x="83077" y="744616"/>
                    <a:pt x="138462" y="1341539"/>
                    <a:pt x="147692" y="1381538"/>
                  </a:cubicBezTo>
                  <a:lnTo>
                    <a:pt x="873845" y="1904615"/>
                  </a:lnTo>
                  <a:cubicBezTo>
                    <a:pt x="876923" y="1907692"/>
                    <a:pt x="876923" y="1910769"/>
                    <a:pt x="873845" y="1913847"/>
                  </a:cubicBezTo>
                  <a:cubicBezTo>
                    <a:pt x="873845" y="1910769"/>
                    <a:pt x="870769" y="1910769"/>
                    <a:pt x="870769" y="1910769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E8496D31-FEBD-4962-811D-665DF382D6DF}"/>
                </a:ext>
              </a:extLst>
            </p:cNvPr>
            <p:cNvSpPr/>
            <p:nvPr/>
          </p:nvSpPr>
          <p:spPr>
            <a:xfrm>
              <a:off x="16843692" y="6442334"/>
              <a:ext cx="182813" cy="190769"/>
            </a:xfrm>
            <a:custGeom>
              <a:avLst/>
              <a:gdLst>
                <a:gd name="connsiteX0" fmla="*/ 178461 w 182813"/>
                <a:gd name="connsiteY0" fmla="*/ 190770 h 190769"/>
                <a:gd name="connsiteX1" fmla="*/ 178461 w 182813"/>
                <a:gd name="connsiteY1" fmla="*/ 190770 h 190769"/>
                <a:gd name="connsiteX2" fmla="*/ 0 w 182813"/>
                <a:gd name="connsiteY2" fmla="*/ 6154 h 190769"/>
                <a:gd name="connsiteX3" fmla="*/ 3078 w 182813"/>
                <a:gd name="connsiteY3" fmla="*/ 0 h 190769"/>
                <a:gd name="connsiteX4" fmla="*/ 9230 w 182813"/>
                <a:gd name="connsiteY4" fmla="*/ 3077 h 190769"/>
                <a:gd name="connsiteX5" fmla="*/ 178461 w 182813"/>
                <a:gd name="connsiteY5" fmla="*/ 181538 h 190769"/>
                <a:gd name="connsiteX6" fmla="*/ 181539 w 182813"/>
                <a:gd name="connsiteY6" fmla="*/ 187693 h 190769"/>
                <a:gd name="connsiteX7" fmla="*/ 178461 w 182813"/>
                <a:gd name="connsiteY7" fmla="*/ 190770 h 19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813" h="190769">
                  <a:moveTo>
                    <a:pt x="178461" y="190770"/>
                  </a:moveTo>
                  <a:cubicBezTo>
                    <a:pt x="178461" y="190770"/>
                    <a:pt x="178461" y="190770"/>
                    <a:pt x="178461" y="190770"/>
                  </a:cubicBezTo>
                  <a:cubicBezTo>
                    <a:pt x="58462" y="156923"/>
                    <a:pt x="3078" y="12308"/>
                    <a:pt x="0" y="6154"/>
                  </a:cubicBezTo>
                  <a:cubicBezTo>
                    <a:pt x="0" y="3077"/>
                    <a:pt x="0" y="0"/>
                    <a:pt x="3078" y="0"/>
                  </a:cubicBezTo>
                  <a:cubicBezTo>
                    <a:pt x="6154" y="0"/>
                    <a:pt x="9230" y="0"/>
                    <a:pt x="9230" y="3077"/>
                  </a:cubicBezTo>
                  <a:cubicBezTo>
                    <a:pt x="9230" y="3077"/>
                    <a:pt x="64617" y="150769"/>
                    <a:pt x="178461" y="181538"/>
                  </a:cubicBezTo>
                  <a:cubicBezTo>
                    <a:pt x="181539" y="181538"/>
                    <a:pt x="184615" y="184615"/>
                    <a:pt x="181539" y="187693"/>
                  </a:cubicBezTo>
                  <a:cubicBezTo>
                    <a:pt x="184615" y="187693"/>
                    <a:pt x="181539" y="190770"/>
                    <a:pt x="178461" y="190770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9A16D211-4726-47CB-9C05-7090DFA2EC2B}"/>
                </a:ext>
              </a:extLst>
            </p:cNvPr>
            <p:cNvSpPr/>
            <p:nvPr/>
          </p:nvSpPr>
          <p:spPr>
            <a:xfrm>
              <a:off x="16117539" y="6442334"/>
              <a:ext cx="175385" cy="193846"/>
            </a:xfrm>
            <a:custGeom>
              <a:avLst/>
              <a:gdLst>
                <a:gd name="connsiteX0" fmla="*/ 6154 w 175385"/>
                <a:gd name="connsiteY0" fmla="*/ 193847 h 193846"/>
                <a:gd name="connsiteX1" fmla="*/ 0 w 175385"/>
                <a:gd name="connsiteY1" fmla="*/ 190770 h 193846"/>
                <a:gd name="connsiteX2" fmla="*/ 3076 w 175385"/>
                <a:gd name="connsiteY2" fmla="*/ 184615 h 193846"/>
                <a:gd name="connsiteX3" fmla="*/ 163077 w 175385"/>
                <a:gd name="connsiteY3" fmla="*/ 3077 h 193846"/>
                <a:gd name="connsiteX4" fmla="*/ 172307 w 175385"/>
                <a:gd name="connsiteY4" fmla="*/ 0 h 193846"/>
                <a:gd name="connsiteX5" fmla="*/ 175385 w 175385"/>
                <a:gd name="connsiteY5" fmla="*/ 9231 h 193846"/>
                <a:gd name="connsiteX6" fmla="*/ 6154 w 175385"/>
                <a:gd name="connsiteY6" fmla="*/ 193847 h 193846"/>
                <a:gd name="connsiteX7" fmla="*/ 6154 w 175385"/>
                <a:gd name="connsiteY7" fmla="*/ 193847 h 19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385" h="193846">
                  <a:moveTo>
                    <a:pt x="6154" y="193847"/>
                  </a:moveTo>
                  <a:cubicBezTo>
                    <a:pt x="3076" y="193847"/>
                    <a:pt x="3076" y="193847"/>
                    <a:pt x="0" y="190770"/>
                  </a:cubicBezTo>
                  <a:cubicBezTo>
                    <a:pt x="0" y="187693"/>
                    <a:pt x="0" y="184615"/>
                    <a:pt x="3076" y="184615"/>
                  </a:cubicBezTo>
                  <a:cubicBezTo>
                    <a:pt x="83077" y="153846"/>
                    <a:pt x="163077" y="3077"/>
                    <a:pt x="163077" y="3077"/>
                  </a:cubicBezTo>
                  <a:cubicBezTo>
                    <a:pt x="163077" y="0"/>
                    <a:pt x="169231" y="0"/>
                    <a:pt x="172307" y="0"/>
                  </a:cubicBezTo>
                  <a:cubicBezTo>
                    <a:pt x="175385" y="0"/>
                    <a:pt x="175385" y="6154"/>
                    <a:pt x="175385" y="9231"/>
                  </a:cubicBezTo>
                  <a:cubicBezTo>
                    <a:pt x="172307" y="12308"/>
                    <a:pt x="89230" y="160000"/>
                    <a:pt x="6154" y="193847"/>
                  </a:cubicBezTo>
                  <a:cubicBezTo>
                    <a:pt x="6154" y="193847"/>
                    <a:pt x="6154" y="193847"/>
                    <a:pt x="6154" y="193847"/>
                  </a:cubicBezTo>
                  <a:close/>
                </a:path>
              </a:pathLst>
            </a:custGeom>
            <a:solidFill>
              <a:srgbClr val="6C5D6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6B8B9811-7855-413C-8D7F-AFF66B956317}"/>
                </a:ext>
              </a:extLst>
            </p:cNvPr>
            <p:cNvSpPr/>
            <p:nvPr/>
          </p:nvSpPr>
          <p:spPr>
            <a:xfrm>
              <a:off x="16118657" y="5317828"/>
              <a:ext cx="828154" cy="995366"/>
            </a:xfrm>
            <a:custGeom>
              <a:avLst/>
              <a:gdLst>
                <a:gd name="connsiteX0" fmla="*/ 783498 w 828154"/>
                <a:gd name="connsiteY0" fmla="*/ 395275 h 995366"/>
                <a:gd name="connsiteX1" fmla="*/ 768113 w 828154"/>
                <a:gd name="connsiteY1" fmla="*/ 69121 h 995366"/>
                <a:gd name="connsiteX2" fmla="*/ 395804 w 828154"/>
                <a:gd name="connsiteY2" fmla="*/ 4506 h 995366"/>
                <a:gd name="connsiteX3" fmla="*/ 91190 w 828154"/>
                <a:gd name="connsiteY3" fmla="*/ 106044 h 995366"/>
                <a:gd name="connsiteX4" fmla="*/ 51191 w 828154"/>
                <a:gd name="connsiteY4" fmla="*/ 659891 h 995366"/>
                <a:gd name="connsiteX5" fmla="*/ 94266 w 828154"/>
                <a:gd name="connsiteY5" fmla="*/ 989121 h 995366"/>
                <a:gd name="connsiteX6" fmla="*/ 777344 w 828154"/>
                <a:gd name="connsiteY6" fmla="*/ 973737 h 995366"/>
                <a:gd name="connsiteX7" fmla="*/ 783498 w 828154"/>
                <a:gd name="connsiteY7" fmla="*/ 395275 h 99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8154" h="995366">
                  <a:moveTo>
                    <a:pt x="783498" y="395275"/>
                  </a:moveTo>
                  <a:cubicBezTo>
                    <a:pt x="792728" y="364506"/>
                    <a:pt x="888112" y="133736"/>
                    <a:pt x="768113" y="69121"/>
                  </a:cubicBezTo>
                  <a:cubicBezTo>
                    <a:pt x="663497" y="13737"/>
                    <a:pt x="515805" y="-10879"/>
                    <a:pt x="395804" y="4506"/>
                  </a:cubicBezTo>
                  <a:cubicBezTo>
                    <a:pt x="263497" y="19890"/>
                    <a:pt x="131190" y="41429"/>
                    <a:pt x="91190" y="106044"/>
                  </a:cubicBezTo>
                  <a:cubicBezTo>
                    <a:pt x="-22656" y="293736"/>
                    <a:pt x="-22656" y="459891"/>
                    <a:pt x="51191" y="659891"/>
                  </a:cubicBezTo>
                  <a:cubicBezTo>
                    <a:pt x="72728" y="718352"/>
                    <a:pt x="78882" y="853737"/>
                    <a:pt x="94266" y="989121"/>
                  </a:cubicBezTo>
                  <a:cubicBezTo>
                    <a:pt x="94266" y="989121"/>
                    <a:pt x="380420" y="1010660"/>
                    <a:pt x="777344" y="973737"/>
                  </a:cubicBezTo>
                  <a:cubicBezTo>
                    <a:pt x="746575" y="752198"/>
                    <a:pt x="774268" y="419890"/>
                    <a:pt x="783498" y="395275"/>
                  </a:cubicBezTo>
                  <a:close/>
                </a:path>
              </a:pathLst>
            </a:custGeom>
            <a:solidFill>
              <a:srgbClr val="F6EBE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E6F31C9E-D03E-46BE-A74F-E500ABE5B84E}"/>
                </a:ext>
              </a:extLst>
            </p:cNvPr>
            <p:cNvSpPr/>
            <p:nvPr/>
          </p:nvSpPr>
          <p:spPr>
            <a:xfrm>
              <a:off x="16279131" y="4621133"/>
              <a:ext cx="324951" cy="595220"/>
            </a:xfrm>
            <a:custGeom>
              <a:avLst/>
              <a:gdLst>
                <a:gd name="connsiteX0" fmla="*/ 238409 w 324951"/>
                <a:gd name="connsiteY0" fmla="*/ 322739 h 595220"/>
                <a:gd name="connsiteX1" fmla="*/ 287639 w 324951"/>
                <a:gd name="connsiteY1" fmla="*/ 178124 h 595220"/>
                <a:gd name="connsiteX2" fmla="*/ 324562 w 324951"/>
                <a:gd name="connsiteY2" fmla="*/ 8893 h 595220"/>
                <a:gd name="connsiteX3" fmla="*/ 1485 w 324951"/>
                <a:gd name="connsiteY3" fmla="*/ 233508 h 595220"/>
                <a:gd name="connsiteX4" fmla="*/ 179946 w 324951"/>
                <a:gd name="connsiteY4" fmla="*/ 581201 h 595220"/>
                <a:gd name="connsiteX5" fmla="*/ 238409 w 324951"/>
                <a:gd name="connsiteY5" fmla="*/ 322739 h 59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4951" h="595220">
                  <a:moveTo>
                    <a:pt x="238409" y="322739"/>
                  </a:moveTo>
                  <a:cubicBezTo>
                    <a:pt x="247639" y="270431"/>
                    <a:pt x="263024" y="224277"/>
                    <a:pt x="287639" y="178124"/>
                  </a:cubicBezTo>
                  <a:cubicBezTo>
                    <a:pt x="312254" y="128893"/>
                    <a:pt x="327638" y="8893"/>
                    <a:pt x="324562" y="8893"/>
                  </a:cubicBezTo>
                  <a:cubicBezTo>
                    <a:pt x="210715" y="-31107"/>
                    <a:pt x="23024" y="67354"/>
                    <a:pt x="1485" y="233508"/>
                  </a:cubicBezTo>
                  <a:cubicBezTo>
                    <a:pt x="-7745" y="301200"/>
                    <a:pt x="23024" y="553508"/>
                    <a:pt x="179946" y="581201"/>
                  </a:cubicBezTo>
                  <a:cubicBezTo>
                    <a:pt x="278408" y="661200"/>
                    <a:pt x="229178" y="375046"/>
                    <a:pt x="238409" y="322739"/>
                  </a:cubicBezTo>
                  <a:close/>
                </a:path>
              </a:pathLst>
            </a:custGeom>
            <a:solidFill>
              <a:srgbClr val="664241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818AB054-5016-466C-95E9-06A48C7A66B6}"/>
                </a:ext>
              </a:extLst>
            </p:cNvPr>
            <p:cNvSpPr/>
            <p:nvPr/>
          </p:nvSpPr>
          <p:spPr>
            <a:xfrm>
              <a:off x="16346424" y="4675282"/>
              <a:ext cx="426499" cy="573528"/>
            </a:xfrm>
            <a:custGeom>
              <a:avLst/>
              <a:gdLst>
                <a:gd name="connsiteX0" fmla="*/ 8039 w 426499"/>
                <a:gd name="connsiteY0" fmla="*/ 185513 h 573528"/>
                <a:gd name="connsiteX1" fmla="*/ 20345 w 426499"/>
                <a:gd name="connsiteY1" fmla="*/ 443975 h 573528"/>
                <a:gd name="connsiteX2" fmla="*/ 171115 w 426499"/>
                <a:gd name="connsiteY2" fmla="*/ 573206 h 573528"/>
                <a:gd name="connsiteX3" fmla="*/ 389576 w 426499"/>
                <a:gd name="connsiteY3" fmla="*/ 428590 h 573528"/>
                <a:gd name="connsiteX4" fmla="*/ 426499 w 426499"/>
                <a:gd name="connsiteY4" fmla="*/ 200898 h 573528"/>
                <a:gd name="connsiteX5" fmla="*/ 211115 w 426499"/>
                <a:gd name="connsiteY5" fmla="*/ 898 h 573528"/>
                <a:gd name="connsiteX6" fmla="*/ 8039 w 426499"/>
                <a:gd name="connsiteY6" fmla="*/ 185513 h 57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499" h="573528">
                  <a:moveTo>
                    <a:pt x="8039" y="185513"/>
                  </a:moveTo>
                  <a:cubicBezTo>
                    <a:pt x="8039" y="185513"/>
                    <a:pt x="-16578" y="376282"/>
                    <a:pt x="20345" y="443975"/>
                  </a:cubicBezTo>
                  <a:cubicBezTo>
                    <a:pt x="57269" y="511667"/>
                    <a:pt x="118807" y="570129"/>
                    <a:pt x="171115" y="573206"/>
                  </a:cubicBezTo>
                  <a:cubicBezTo>
                    <a:pt x="238808" y="579360"/>
                    <a:pt x="352652" y="496283"/>
                    <a:pt x="389576" y="428590"/>
                  </a:cubicBezTo>
                  <a:cubicBezTo>
                    <a:pt x="426499" y="360898"/>
                    <a:pt x="426499" y="253206"/>
                    <a:pt x="426499" y="200898"/>
                  </a:cubicBezTo>
                  <a:cubicBezTo>
                    <a:pt x="423423" y="105513"/>
                    <a:pt x="395730" y="25513"/>
                    <a:pt x="211115" y="898"/>
                  </a:cubicBezTo>
                  <a:cubicBezTo>
                    <a:pt x="124961" y="-11410"/>
                    <a:pt x="29575" y="105513"/>
                    <a:pt x="8039" y="185513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B9A3D83C-6142-4C17-B1C9-8761B023E9C8}"/>
                </a:ext>
              </a:extLst>
            </p:cNvPr>
            <p:cNvSpPr/>
            <p:nvPr/>
          </p:nvSpPr>
          <p:spPr>
            <a:xfrm>
              <a:off x="16483692" y="4945675"/>
              <a:ext cx="55386" cy="133582"/>
            </a:xfrm>
            <a:custGeom>
              <a:avLst/>
              <a:gdLst>
                <a:gd name="connsiteX0" fmla="*/ 30769 w 55386"/>
                <a:gd name="connsiteY0" fmla="*/ 133582 h 133582"/>
                <a:gd name="connsiteX1" fmla="*/ 6154 w 55386"/>
                <a:gd name="connsiteY1" fmla="*/ 127428 h 133582"/>
                <a:gd name="connsiteX2" fmla="*/ 0 w 55386"/>
                <a:gd name="connsiteY2" fmla="*/ 115121 h 133582"/>
                <a:gd name="connsiteX3" fmla="*/ 27693 w 55386"/>
                <a:gd name="connsiteY3" fmla="*/ 4351 h 133582"/>
                <a:gd name="connsiteX4" fmla="*/ 33847 w 55386"/>
                <a:gd name="connsiteY4" fmla="*/ 1275 h 133582"/>
                <a:gd name="connsiteX5" fmla="*/ 36923 w 55386"/>
                <a:gd name="connsiteY5" fmla="*/ 7428 h 133582"/>
                <a:gd name="connsiteX6" fmla="*/ 9232 w 55386"/>
                <a:gd name="connsiteY6" fmla="*/ 115121 h 133582"/>
                <a:gd name="connsiteX7" fmla="*/ 9232 w 55386"/>
                <a:gd name="connsiteY7" fmla="*/ 118198 h 133582"/>
                <a:gd name="connsiteX8" fmla="*/ 49232 w 55386"/>
                <a:gd name="connsiteY8" fmla="*/ 118198 h 133582"/>
                <a:gd name="connsiteX9" fmla="*/ 55386 w 55386"/>
                <a:gd name="connsiteY9" fmla="*/ 124352 h 133582"/>
                <a:gd name="connsiteX10" fmla="*/ 49232 w 55386"/>
                <a:gd name="connsiteY10" fmla="*/ 130505 h 133582"/>
                <a:gd name="connsiteX11" fmla="*/ 30769 w 55386"/>
                <a:gd name="connsiteY11" fmla="*/ 133582 h 133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386" h="133582">
                  <a:moveTo>
                    <a:pt x="30769" y="133582"/>
                  </a:moveTo>
                  <a:cubicBezTo>
                    <a:pt x="21539" y="133582"/>
                    <a:pt x="12308" y="133582"/>
                    <a:pt x="6154" y="127428"/>
                  </a:cubicBezTo>
                  <a:cubicBezTo>
                    <a:pt x="3078" y="124352"/>
                    <a:pt x="0" y="121274"/>
                    <a:pt x="0" y="115121"/>
                  </a:cubicBezTo>
                  <a:cubicBezTo>
                    <a:pt x="0" y="93582"/>
                    <a:pt x="27693" y="7428"/>
                    <a:pt x="27693" y="4351"/>
                  </a:cubicBezTo>
                  <a:cubicBezTo>
                    <a:pt x="27693" y="1275"/>
                    <a:pt x="30769" y="-1803"/>
                    <a:pt x="33847" y="1275"/>
                  </a:cubicBezTo>
                  <a:cubicBezTo>
                    <a:pt x="36923" y="1275"/>
                    <a:pt x="40002" y="4351"/>
                    <a:pt x="36923" y="7428"/>
                  </a:cubicBezTo>
                  <a:cubicBezTo>
                    <a:pt x="30769" y="32044"/>
                    <a:pt x="9232" y="96659"/>
                    <a:pt x="9232" y="115121"/>
                  </a:cubicBezTo>
                  <a:cubicBezTo>
                    <a:pt x="9232" y="115121"/>
                    <a:pt x="9232" y="118198"/>
                    <a:pt x="9232" y="118198"/>
                  </a:cubicBezTo>
                  <a:cubicBezTo>
                    <a:pt x="15385" y="124352"/>
                    <a:pt x="36923" y="121274"/>
                    <a:pt x="49232" y="118198"/>
                  </a:cubicBezTo>
                  <a:cubicBezTo>
                    <a:pt x="52308" y="118198"/>
                    <a:pt x="55386" y="118198"/>
                    <a:pt x="55386" y="124352"/>
                  </a:cubicBezTo>
                  <a:cubicBezTo>
                    <a:pt x="55386" y="127428"/>
                    <a:pt x="55386" y="130505"/>
                    <a:pt x="49232" y="130505"/>
                  </a:cubicBezTo>
                  <a:cubicBezTo>
                    <a:pt x="52308" y="133582"/>
                    <a:pt x="43078" y="133582"/>
                    <a:pt x="30769" y="133582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D6B39784-090D-4DF1-8D24-3FB3BAA65ECA}"/>
                </a:ext>
              </a:extLst>
            </p:cNvPr>
            <p:cNvSpPr/>
            <p:nvPr/>
          </p:nvSpPr>
          <p:spPr>
            <a:xfrm>
              <a:off x="16412320" y="4918653"/>
              <a:ext cx="41206" cy="41207"/>
            </a:xfrm>
            <a:custGeom>
              <a:avLst/>
              <a:gdLst>
                <a:gd name="connsiteX0" fmla="*/ 40603 w 41206"/>
                <a:gd name="connsiteY0" fmla="*/ 25219 h 41207"/>
                <a:gd name="connsiteX1" fmla="*/ 15988 w 41206"/>
                <a:gd name="connsiteY1" fmla="*/ 40604 h 41207"/>
                <a:gd name="connsiteX2" fmla="*/ 603 w 41206"/>
                <a:gd name="connsiteY2" fmla="*/ 15988 h 41207"/>
                <a:gd name="connsiteX3" fmla="*/ 25218 w 41206"/>
                <a:gd name="connsiteY3" fmla="*/ 603 h 41207"/>
                <a:gd name="connsiteX4" fmla="*/ 40603 w 41206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06" h="41207">
                  <a:moveTo>
                    <a:pt x="40603" y="25219"/>
                  </a:moveTo>
                  <a:cubicBezTo>
                    <a:pt x="37527" y="34450"/>
                    <a:pt x="28296" y="43681"/>
                    <a:pt x="15988" y="40604"/>
                  </a:cubicBezTo>
                  <a:cubicBezTo>
                    <a:pt x="6758" y="37527"/>
                    <a:pt x="-2473" y="28296"/>
                    <a:pt x="603" y="15988"/>
                  </a:cubicBezTo>
                  <a:cubicBezTo>
                    <a:pt x="3681" y="6758"/>
                    <a:pt x="12912" y="-2473"/>
                    <a:pt x="25218" y="603"/>
                  </a:cubicBezTo>
                  <a:cubicBezTo>
                    <a:pt x="34451" y="3681"/>
                    <a:pt x="43681" y="15988"/>
                    <a:pt x="40603" y="2521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106387B7-58FE-4708-AEC5-1A30D5D83611}"/>
                </a:ext>
              </a:extLst>
            </p:cNvPr>
            <p:cNvSpPr/>
            <p:nvPr/>
          </p:nvSpPr>
          <p:spPr>
            <a:xfrm>
              <a:off x="16602909" y="4924627"/>
              <a:ext cx="41568" cy="41568"/>
            </a:xfrm>
            <a:custGeom>
              <a:avLst/>
              <a:gdLst>
                <a:gd name="connsiteX0" fmla="*/ 40784 w 41568"/>
                <a:gd name="connsiteY0" fmla="*/ 25399 h 41568"/>
                <a:gd name="connsiteX1" fmla="*/ 16169 w 41568"/>
                <a:gd name="connsiteY1" fmla="*/ 40784 h 41568"/>
                <a:gd name="connsiteX2" fmla="*/ 784 w 41568"/>
                <a:gd name="connsiteY2" fmla="*/ 16169 h 41568"/>
                <a:gd name="connsiteX3" fmla="*/ 25399 w 41568"/>
                <a:gd name="connsiteY3" fmla="*/ 784 h 41568"/>
                <a:gd name="connsiteX4" fmla="*/ 40784 w 41568"/>
                <a:gd name="connsiteY4" fmla="*/ 25399 h 41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68" h="41568">
                  <a:moveTo>
                    <a:pt x="40784" y="25399"/>
                  </a:moveTo>
                  <a:cubicBezTo>
                    <a:pt x="37707" y="37707"/>
                    <a:pt x="28477" y="43861"/>
                    <a:pt x="16169" y="40784"/>
                  </a:cubicBezTo>
                  <a:cubicBezTo>
                    <a:pt x="3860" y="37707"/>
                    <a:pt x="-2292" y="28476"/>
                    <a:pt x="784" y="16169"/>
                  </a:cubicBezTo>
                  <a:cubicBezTo>
                    <a:pt x="3860" y="3861"/>
                    <a:pt x="13092" y="-2293"/>
                    <a:pt x="25399" y="784"/>
                  </a:cubicBezTo>
                  <a:cubicBezTo>
                    <a:pt x="37707" y="3861"/>
                    <a:pt x="43862" y="16169"/>
                    <a:pt x="40784" y="25399"/>
                  </a:cubicBezTo>
                  <a:close/>
                </a:path>
              </a:pathLst>
            </a:custGeom>
            <a:solidFill>
              <a:srgbClr val="38333D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4098F0C1-F2A0-44B2-B53E-E38BB5315226}"/>
                </a:ext>
              </a:extLst>
            </p:cNvPr>
            <p:cNvSpPr/>
            <p:nvPr/>
          </p:nvSpPr>
          <p:spPr>
            <a:xfrm>
              <a:off x="16386001" y="4868850"/>
              <a:ext cx="92812" cy="35021"/>
            </a:xfrm>
            <a:custGeom>
              <a:avLst/>
              <a:gdLst>
                <a:gd name="connsiteX0" fmla="*/ 8461 w 92812"/>
                <a:gd name="connsiteY0" fmla="*/ 35022 h 35021"/>
                <a:gd name="connsiteX1" fmla="*/ 2307 w 92812"/>
                <a:gd name="connsiteY1" fmla="*/ 31945 h 35021"/>
                <a:gd name="connsiteX2" fmla="*/ 2307 w 92812"/>
                <a:gd name="connsiteY2" fmla="*/ 19637 h 35021"/>
                <a:gd name="connsiteX3" fmla="*/ 88461 w 92812"/>
                <a:gd name="connsiteY3" fmla="*/ 10407 h 35021"/>
                <a:gd name="connsiteX4" fmla="*/ 91539 w 92812"/>
                <a:gd name="connsiteY4" fmla="*/ 19637 h 35021"/>
                <a:gd name="connsiteX5" fmla="*/ 82306 w 92812"/>
                <a:gd name="connsiteY5" fmla="*/ 22714 h 35021"/>
                <a:gd name="connsiteX6" fmla="*/ 14616 w 92812"/>
                <a:gd name="connsiteY6" fmla="*/ 28868 h 35021"/>
                <a:gd name="connsiteX7" fmla="*/ 8461 w 92812"/>
                <a:gd name="connsiteY7" fmla="*/ 35022 h 35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5021">
                  <a:moveTo>
                    <a:pt x="8461" y="35022"/>
                  </a:moveTo>
                  <a:cubicBezTo>
                    <a:pt x="5383" y="35022"/>
                    <a:pt x="5383" y="35022"/>
                    <a:pt x="2307" y="31945"/>
                  </a:cubicBezTo>
                  <a:cubicBezTo>
                    <a:pt x="-769" y="28868"/>
                    <a:pt x="-769" y="22714"/>
                    <a:pt x="2307" y="19637"/>
                  </a:cubicBezTo>
                  <a:cubicBezTo>
                    <a:pt x="30000" y="-11132"/>
                    <a:pt x="70000" y="1176"/>
                    <a:pt x="88461" y="10407"/>
                  </a:cubicBezTo>
                  <a:cubicBezTo>
                    <a:pt x="91539" y="13483"/>
                    <a:pt x="94615" y="16560"/>
                    <a:pt x="91539" y="19637"/>
                  </a:cubicBezTo>
                  <a:cubicBezTo>
                    <a:pt x="88461" y="22714"/>
                    <a:pt x="85384" y="25791"/>
                    <a:pt x="82306" y="22714"/>
                  </a:cubicBezTo>
                  <a:cubicBezTo>
                    <a:pt x="79230" y="22714"/>
                    <a:pt x="39231" y="1176"/>
                    <a:pt x="14616" y="28868"/>
                  </a:cubicBezTo>
                  <a:cubicBezTo>
                    <a:pt x="14616" y="35022"/>
                    <a:pt x="11538" y="35022"/>
                    <a:pt x="8461" y="35022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4007DB9F-2137-4EAF-8F90-30E58405EA23}"/>
                </a:ext>
              </a:extLst>
            </p:cNvPr>
            <p:cNvSpPr/>
            <p:nvPr/>
          </p:nvSpPr>
          <p:spPr>
            <a:xfrm>
              <a:off x="16577803" y="4870339"/>
              <a:ext cx="92813" cy="36610"/>
            </a:xfrm>
            <a:custGeom>
              <a:avLst/>
              <a:gdLst>
                <a:gd name="connsiteX0" fmla="*/ 87429 w 92813"/>
                <a:gd name="connsiteY0" fmla="*/ 36610 h 36610"/>
                <a:gd name="connsiteX1" fmla="*/ 81274 w 92813"/>
                <a:gd name="connsiteY1" fmla="*/ 33533 h 36610"/>
                <a:gd name="connsiteX2" fmla="*/ 13582 w 92813"/>
                <a:gd name="connsiteY2" fmla="*/ 27379 h 36610"/>
                <a:gd name="connsiteX3" fmla="*/ 1275 w 92813"/>
                <a:gd name="connsiteY3" fmla="*/ 24303 h 36610"/>
                <a:gd name="connsiteX4" fmla="*/ 4351 w 92813"/>
                <a:gd name="connsiteY4" fmla="*/ 11995 h 36610"/>
                <a:gd name="connsiteX5" fmla="*/ 90505 w 92813"/>
                <a:gd name="connsiteY5" fmla="*/ 21225 h 36610"/>
                <a:gd name="connsiteX6" fmla="*/ 90505 w 92813"/>
                <a:gd name="connsiteY6" fmla="*/ 33533 h 36610"/>
                <a:gd name="connsiteX7" fmla="*/ 87429 w 92813"/>
                <a:gd name="connsiteY7" fmla="*/ 36610 h 36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6610">
                  <a:moveTo>
                    <a:pt x="87429" y="36610"/>
                  </a:moveTo>
                  <a:cubicBezTo>
                    <a:pt x="84352" y="36610"/>
                    <a:pt x="84352" y="36610"/>
                    <a:pt x="81274" y="33533"/>
                  </a:cubicBezTo>
                  <a:cubicBezTo>
                    <a:pt x="81274" y="33533"/>
                    <a:pt x="50505" y="2764"/>
                    <a:pt x="13582" y="27379"/>
                  </a:cubicBezTo>
                  <a:cubicBezTo>
                    <a:pt x="10505" y="30456"/>
                    <a:pt x="4351" y="27379"/>
                    <a:pt x="1275" y="24303"/>
                  </a:cubicBezTo>
                  <a:cubicBezTo>
                    <a:pt x="-1803" y="21225"/>
                    <a:pt x="1275" y="15072"/>
                    <a:pt x="4351" y="11995"/>
                  </a:cubicBezTo>
                  <a:cubicBezTo>
                    <a:pt x="41275" y="-12621"/>
                    <a:pt x="78198" y="5841"/>
                    <a:pt x="90505" y="21225"/>
                  </a:cubicBezTo>
                  <a:cubicBezTo>
                    <a:pt x="93583" y="24303"/>
                    <a:pt x="93583" y="30456"/>
                    <a:pt x="90505" y="33533"/>
                  </a:cubicBezTo>
                  <a:cubicBezTo>
                    <a:pt x="90505" y="33533"/>
                    <a:pt x="87429" y="36610"/>
                    <a:pt x="87429" y="36610"/>
                  </a:cubicBezTo>
                  <a:close/>
                </a:path>
              </a:pathLst>
            </a:custGeom>
            <a:solidFill>
              <a:srgbClr val="664540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F1986F0A-B65C-44AF-90F5-42782DC54001}"/>
                </a:ext>
              </a:extLst>
            </p:cNvPr>
            <p:cNvSpPr/>
            <p:nvPr/>
          </p:nvSpPr>
          <p:spPr>
            <a:xfrm>
              <a:off x="16329497" y="4624786"/>
              <a:ext cx="277356" cy="279085"/>
            </a:xfrm>
            <a:custGeom>
              <a:avLst/>
              <a:gdLst>
                <a:gd name="connsiteX0" fmla="*/ 274196 w 277356"/>
                <a:gd name="connsiteY0" fmla="*/ 2163 h 279085"/>
                <a:gd name="connsiteX1" fmla="*/ 240350 w 277356"/>
                <a:gd name="connsiteY1" fmla="*/ 149855 h 279085"/>
                <a:gd name="connsiteX2" fmla="*/ 349 w 277356"/>
                <a:gd name="connsiteY2" fmla="*/ 279086 h 279085"/>
                <a:gd name="connsiteX3" fmla="*/ 274196 w 277356"/>
                <a:gd name="connsiteY3" fmla="*/ 2163 h 27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7356" h="279085">
                  <a:moveTo>
                    <a:pt x="274196" y="2163"/>
                  </a:moveTo>
                  <a:cubicBezTo>
                    <a:pt x="274196" y="2163"/>
                    <a:pt x="292657" y="109855"/>
                    <a:pt x="240350" y="149855"/>
                  </a:cubicBezTo>
                  <a:cubicBezTo>
                    <a:pt x="240350" y="149855"/>
                    <a:pt x="28042" y="192933"/>
                    <a:pt x="349" y="279086"/>
                  </a:cubicBezTo>
                  <a:cubicBezTo>
                    <a:pt x="349" y="279086"/>
                    <a:pt x="-21188" y="-28606"/>
                    <a:pt x="274196" y="2163"/>
                  </a:cubicBezTo>
                  <a:close/>
                </a:path>
              </a:pathLst>
            </a:custGeom>
            <a:solidFill>
              <a:srgbClr val="664241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5E525F89-054F-415E-9AB5-4DDFEEF01F05}"/>
                </a:ext>
              </a:extLst>
            </p:cNvPr>
            <p:cNvSpPr/>
            <p:nvPr/>
          </p:nvSpPr>
          <p:spPr>
            <a:xfrm>
              <a:off x="16569847" y="4626949"/>
              <a:ext cx="299865" cy="354310"/>
            </a:xfrm>
            <a:custGeom>
              <a:avLst/>
              <a:gdLst>
                <a:gd name="connsiteX0" fmla="*/ 0 w 299865"/>
                <a:gd name="connsiteY0" fmla="*/ 147692 h 354310"/>
                <a:gd name="connsiteX1" fmla="*/ 141538 w 299865"/>
                <a:gd name="connsiteY1" fmla="*/ 203077 h 354310"/>
                <a:gd name="connsiteX2" fmla="*/ 200000 w 299865"/>
                <a:gd name="connsiteY2" fmla="*/ 323077 h 354310"/>
                <a:gd name="connsiteX3" fmla="*/ 289230 w 299865"/>
                <a:gd name="connsiteY3" fmla="*/ 344616 h 354310"/>
                <a:gd name="connsiteX4" fmla="*/ 30769 w 299865"/>
                <a:gd name="connsiteY4" fmla="*/ 0 h 354310"/>
                <a:gd name="connsiteX5" fmla="*/ 0 w 299865"/>
                <a:gd name="connsiteY5" fmla="*/ 147692 h 35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865" h="354310">
                  <a:moveTo>
                    <a:pt x="0" y="147692"/>
                  </a:moveTo>
                  <a:cubicBezTo>
                    <a:pt x="0" y="147692"/>
                    <a:pt x="92308" y="196923"/>
                    <a:pt x="141538" y="203077"/>
                  </a:cubicBezTo>
                  <a:cubicBezTo>
                    <a:pt x="193846" y="209231"/>
                    <a:pt x="200000" y="323077"/>
                    <a:pt x="200000" y="323077"/>
                  </a:cubicBezTo>
                  <a:cubicBezTo>
                    <a:pt x="200000" y="323077"/>
                    <a:pt x="273845" y="375385"/>
                    <a:pt x="289230" y="344616"/>
                  </a:cubicBezTo>
                  <a:cubicBezTo>
                    <a:pt x="323077" y="276923"/>
                    <a:pt x="286154" y="0"/>
                    <a:pt x="30769" y="0"/>
                  </a:cubicBezTo>
                  <a:cubicBezTo>
                    <a:pt x="33845" y="0"/>
                    <a:pt x="24615" y="141539"/>
                    <a:pt x="0" y="147692"/>
                  </a:cubicBezTo>
                  <a:close/>
                </a:path>
              </a:pathLst>
            </a:custGeom>
            <a:solidFill>
              <a:srgbClr val="664241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1FC634F0-EF58-4A6E-8346-CB6F5C7FFC88}"/>
                </a:ext>
              </a:extLst>
            </p:cNvPr>
            <p:cNvSpPr/>
            <p:nvPr/>
          </p:nvSpPr>
          <p:spPr>
            <a:xfrm>
              <a:off x="16400616" y="5137719"/>
              <a:ext cx="310768" cy="329230"/>
            </a:xfrm>
            <a:custGeom>
              <a:avLst/>
              <a:gdLst>
                <a:gd name="connsiteX0" fmla="*/ 55384 w 310768"/>
                <a:gd name="connsiteY0" fmla="*/ 61538 h 329230"/>
                <a:gd name="connsiteX1" fmla="*/ 0 w 310768"/>
                <a:gd name="connsiteY1" fmla="*/ 203077 h 329230"/>
                <a:gd name="connsiteX2" fmla="*/ 40000 w 310768"/>
                <a:gd name="connsiteY2" fmla="*/ 329231 h 329230"/>
                <a:gd name="connsiteX3" fmla="*/ 310769 w 310768"/>
                <a:gd name="connsiteY3" fmla="*/ 187693 h 329230"/>
                <a:gd name="connsiteX4" fmla="*/ 258460 w 310768"/>
                <a:gd name="connsiteY4" fmla="*/ 0 h 329230"/>
                <a:gd name="connsiteX5" fmla="*/ 55384 w 310768"/>
                <a:gd name="connsiteY5" fmla="*/ 61538 h 32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0768" h="329230">
                  <a:moveTo>
                    <a:pt x="55384" y="61538"/>
                  </a:moveTo>
                  <a:cubicBezTo>
                    <a:pt x="55384" y="61538"/>
                    <a:pt x="61538" y="172308"/>
                    <a:pt x="0" y="203077"/>
                  </a:cubicBezTo>
                  <a:lnTo>
                    <a:pt x="40000" y="329231"/>
                  </a:lnTo>
                  <a:cubicBezTo>
                    <a:pt x="40000" y="329231"/>
                    <a:pt x="258460" y="218462"/>
                    <a:pt x="310769" y="187693"/>
                  </a:cubicBezTo>
                  <a:cubicBezTo>
                    <a:pt x="255384" y="144615"/>
                    <a:pt x="258460" y="61538"/>
                    <a:pt x="258460" y="0"/>
                  </a:cubicBezTo>
                  <a:cubicBezTo>
                    <a:pt x="261539" y="0"/>
                    <a:pt x="110768" y="70769"/>
                    <a:pt x="55384" y="61538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9ACC9135-2C4E-45A8-A711-2F4F80BF6D96}"/>
                </a:ext>
              </a:extLst>
            </p:cNvPr>
            <p:cNvSpPr/>
            <p:nvPr/>
          </p:nvSpPr>
          <p:spPr>
            <a:xfrm>
              <a:off x="16447539" y="5176444"/>
              <a:ext cx="225120" cy="81274"/>
            </a:xfrm>
            <a:custGeom>
              <a:avLst/>
              <a:gdLst>
                <a:gd name="connsiteX0" fmla="*/ 73076 w 225120"/>
                <a:gd name="connsiteY0" fmla="*/ 81274 h 81274"/>
                <a:gd name="connsiteX1" fmla="*/ 2307 w 225120"/>
                <a:gd name="connsiteY1" fmla="*/ 53582 h 81274"/>
                <a:gd name="connsiteX2" fmla="*/ 2307 w 225120"/>
                <a:gd name="connsiteY2" fmla="*/ 44351 h 81274"/>
                <a:gd name="connsiteX3" fmla="*/ 11538 w 225120"/>
                <a:gd name="connsiteY3" fmla="*/ 44351 h 81274"/>
                <a:gd name="connsiteX4" fmla="*/ 82306 w 225120"/>
                <a:gd name="connsiteY4" fmla="*/ 68967 h 81274"/>
                <a:gd name="connsiteX5" fmla="*/ 214616 w 225120"/>
                <a:gd name="connsiteY5" fmla="*/ 1275 h 81274"/>
                <a:gd name="connsiteX6" fmla="*/ 223846 w 225120"/>
                <a:gd name="connsiteY6" fmla="*/ 4351 h 81274"/>
                <a:gd name="connsiteX7" fmla="*/ 220768 w 225120"/>
                <a:gd name="connsiteY7" fmla="*/ 13582 h 81274"/>
                <a:gd name="connsiteX8" fmla="*/ 82306 w 225120"/>
                <a:gd name="connsiteY8" fmla="*/ 81274 h 81274"/>
                <a:gd name="connsiteX9" fmla="*/ 73076 w 225120"/>
                <a:gd name="connsiteY9" fmla="*/ 81274 h 81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120" h="81274">
                  <a:moveTo>
                    <a:pt x="73076" y="81274"/>
                  </a:moveTo>
                  <a:cubicBezTo>
                    <a:pt x="33076" y="81274"/>
                    <a:pt x="5383" y="53582"/>
                    <a:pt x="2307" y="53582"/>
                  </a:cubicBezTo>
                  <a:cubicBezTo>
                    <a:pt x="-769" y="50505"/>
                    <a:pt x="-769" y="47428"/>
                    <a:pt x="2307" y="44351"/>
                  </a:cubicBezTo>
                  <a:cubicBezTo>
                    <a:pt x="5383" y="41275"/>
                    <a:pt x="8461" y="41275"/>
                    <a:pt x="11538" y="44351"/>
                  </a:cubicBezTo>
                  <a:cubicBezTo>
                    <a:pt x="11538" y="44351"/>
                    <a:pt x="45385" y="75121"/>
                    <a:pt x="82306" y="68967"/>
                  </a:cubicBezTo>
                  <a:cubicBezTo>
                    <a:pt x="122308" y="62813"/>
                    <a:pt x="214616" y="1275"/>
                    <a:pt x="214616" y="1275"/>
                  </a:cubicBezTo>
                  <a:cubicBezTo>
                    <a:pt x="217692" y="-1803"/>
                    <a:pt x="220768" y="1275"/>
                    <a:pt x="223846" y="4351"/>
                  </a:cubicBezTo>
                  <a:cubicBezTo>
                    <a:pt x="226922" y="7428"/>
                    <a:pt x="223846" y="10505"/>
                    <a:pt x="220768" y="13582"/>
                  </a:cubicBezTo>
                  <a:cubicBezTo>
                    <a:pt x="217692" y="16659"/>
                    <a:pt x="125384" y="78198"/>
                    <a:pt x="82306" y="81274"/>
                  </a:cubicBezTo>
                  <a:cubicBezTo>
                    <a:pt x="82306" y="78198"/>
                    <a:pt x="76154" y="81274"/>
                    <a:pt x="73076" y="81274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BFB2DA57-71F8-4ABD-B368-606720D09759}"/>
                </a:ext>
              </a:extLst>
            </p:cNvPr>
            <p:cNvSpPr/>
            <p:nvPr/>
          </p:nvSpPr>
          <p:spPr>
            <a:xfrm>
              <a:off x="16116704" y="5420795"/>
              <a:ext cx="102372" cy="559999"/>
            </a:xfrm>
            <a:custGeom>
              <a:avLst/>
              <a:gdLst>
                <a:gd name="connsiteX0" fmla="*/ 56219 w 102372"/>
                <a:gd name="connsiteY0" fmla="*/ 560000 h 559999"/>
                <a:gd name="connsiteX1" fmla="*/ 50065 w 102372"/>
                <a:gd name="connsiteY1" fmla="*/ 556923 h 559999"/>
                <a:gd name="connsiteX2" fmla="*/ 34680 w 102372"/>
                <a:gd name="connsiteY2" fmla="*/ 501539 h 559999"/>
                <a:gd name="connsiteX3" fmla="*/ 835 w 102372"/>
                <a:gd name="connsiteY3" fmla="*/ 350770 h 559999"/>
                <a:gd name="connsiteX4" fmla="*/ 90064 w 102372"/>
                <a:gd name="connsiteY4" fmla="*/ 3077 h 559999"/>
                <a:gd name="connsiteX5" fmla="*/ 99297 w 102372"/>
                <a:gd name="connsiteY5" fmla="*/ 0 h 559999"/>
                <a:gd name="connsiteX6" fmla="*/ 102373 w 102372"/>
                <a:gd name="connsiteY6" fmla="*/ 9231 h 559999"/>
                <a:gd name="connsiteX7" fmla="*/ 13141 w 102372"/>
                <a:gd name="connsiteY7" fmla="*/ 350770 h 559999"/>
                <a:gd name="connsiteX8" fmla="*/ 46989 w 102372"/>
                <a:gd name="connsiteY8" fmla="*/ 501539 h 559999"/>
                <a:gd name="connsiteX9" fmla="*/ 62373 w 102372"/>
                <a:gd name="connsiteY9" fmla="*/ 556923 h 559999"/>
                <a:gd name="connsiteX10" fmla="*/ 56219 w 102372"/>
                <a:gd name="connsiteY10" fmla="*/ 560000 h 559999"/>
                <a:gd name="connsiteX11" fmla="*/ 56219 w 102372"/>
                <a:gd name="connsiteY11" fmla="*/ 560000 h 55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372" h="559999">
                  <a:moveTo>
                    <a:pt x="56219" y="560000"/>
                  </a:moveTo>
                  <a:cubicBezTo>
                    <a:pt x="53143" y="560000"/>
                    <a:pt x="50065" y="556923"/>
                    <a:pt x="50065" y="556923"/>
                  </a:cubicBezTo>
                  <a:cubicBezTo>
                    <a:pt x="43910" y="538462"/>
                    <a:pt x="40834" y="520000"/>
                    <a:pt x="34680" y="501539"/>
                  </a:cubicBezTo>
                  <a:cubicBezTo>
                    <a:pt x="19295" y="449231"/>
                    <a:pt x="3911" y="396923"/>
                    <a:pt x="835" y="350770"/>
                  </a:cubicBezTo>
                  <a:cubicBezTo>
                    <a:pt x="-5320" y="224615"/>
                    <a:pt x="22374" y="107692"/>
                    <a:pt x="90064" y="3077"/>
                  </a:cubicBezTo>
                  <a:cubicBezTo>
                    <a:pt x="93142" y="0"/>
                    <a:pt x="96219" y="0"/>
                    <a:pt x="99297" y="0"/>
                  </a:cubicBezTo>
                  <a:cubicBezTo>
                    <a:pt x="102373" y="3077"/>
                    <a:pt x="102373" y="6154"/>
                    <a:pt x="102373" y="9231"/>
                  </a:cubicBezTo>
                  <a:cubicBezTo>
                    <a:pt x="37758" y="113846"/>
                    <a:pt x="6989" y="227693"/>
                    <a:pt x="13141" y="350770"/>
                  </a:cubicBezTo>
                  <a:cubicBezTo>
                    <a:pt x="16219" y="396923"/>
                    <a:pt x="31604" y="449231"/>
                    <a:pt x="46989" y="501539"/>
                  </a:cubicBezTo>
                  <a:cubicBezTo>
                    <a:pt x="53143" y="520000"/>
                    <a:pt x="59295" y="538462"/>
                    <a:pt x="62373" y="556923"/>
                  </a:cubicBezTo>
                  <a:cubicBezTo>
                    <a:pt x="62373" y="556923"/>
                    <a:pt x="59295" y="560000"/>
                    <a:pt x="56219" y="560000"/>
                  </a:cubicBezTo>
                  <a:cubicBezTo>
                    <a:pt x="56219" y="560000"/>
                    <a:pt x="56219" y="560000"/>
                    <a:pt x="56219" y="560000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85739810-65CA-4371-A726-7BB21C35B6AD}"/>
                </a:ext>
              </a:extLst>
            </p:cNvPr>
            <p:cNvSpPr/>
            <p:nvPr/>
          </p:nvSpPr>
          <p:spPr>
            <a:xfrm>
              <a:off x="16240616" y="5864068"/>
              <a:ext cx="404351" cy="36727"/>
            </a:xfrm>
            <a:custGeom>
              <a:avLst/>
              <a:gdLst>
                <a:gd name="connsiteX0" fmla="*/ 6154 w 404351"/>
                <a:gd name="connsiteY0" fmla="*/ 36727 h 36727"/>
                <a:gd name="connsiteX1" fmla="*/ 0 w 404351"/>
                <a:gd name="connsiteY1" fmla="*/ 33650 h 36727"/>
                <a:gd name="connsiteX2" fmla="*/ 3076 w 404351"/>
                <a:gd name="connsiteY2" fmla="*/ 27496 h 36727"/>
                <a:gd name="connsiteX3" fmla="*/ 400000 w 404351"/>
                <a:gd name="connsiteY3" fmla="*/ 15189 h 36727"/>
                <a:gd name="connsiteX4" fmla="*/ 403076 w 404351"/>
                <a:gd name="connsiteY4" fmla="*/ 21343 h 36727"/>
                <a:gd name="connsiteX5" fmla="*/ 396922 w 404351"/>
                <a:gd name="connsiteY5" fmla="*/ 24419 h 36727"/>
                <a:gd name="connsiteX6" fmla="*/ 6154 w 404351"/>
                <a:gd name="connsiteY6" fmla="*/ 36727 h 36727"/>
                <a:gd name="connsiteX7" fmla="*/ 6154 w 404351"/>
                <a:gd name="connsiteY7" fmla="*/ 36727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351" h="36727">
                  <a:moveTo>
                    <a:pt x="6154" y="36727"/>
                  </a:moveTo>
                  <a:cubicBezTo>
                    <a:pt x="3076" y="36727"/>
                    <a:pt x="3076" y="36727"/>
                    <a:pt x="0" y="33650"/>
                  </a:cubicBezTo>
                  <a:cubicBezTo>
                    <a:pt x="0" y="30574"/>
                    <a:pt x="0" y="27496"/>
                    <a:pt x="3076" y="27496"/>
                  </a:cubicBezTo>
                  <a:cubicBezTo>
                    <a:pt x="89230" y="-3273"/>
                    <a:pt x="298462" y="-9427"/>
                    <a:pt x="400000" y="15189"/>
                  </a:cubicBezTo>
                  <a:cubicBezTo>
                    <a:pt x="403076" y="15189"/>
                    <a:pt x="406154" y="18266"/>
                    <a:pt x="403076" y="21343"/>
                  </a:cubicBezTo>
                  <a:cubicBezTo>
                    <a:pt x="403076" y="24419"/>
                    <a:pt x="400000" y="27496"/>
                    <a:pt x="396922" y="24419"/>
                  </a:cubicBezTo>
                  <a:cubicBezTo>
                    <a:pt x="298462" y="2881"/>
                    <a:pt x="89230" y="5958"/>
                    <a:pt x="6154" y="36727"/>
                  </a:cubicBezTo>
                  <a:cubicBezTo>
                    <a:pt x="6154" y="36727"/>
                    <a:pt x="6154" y="36727"/>
                    <a:pt x="6154" y="36727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21354742-17B7-4C55-B90D-54BF508EABDC}"/>
                </a:ext>
              </a:extLst>
            </p:cNvPr>
            <p:cNvSpPr/>
            <p:nvPr/>
          </p:nvSpPr>
          <p:spPr>
            <a:xfrm>
              <a:off x="16732923" y="4936220"/>
              <a:ext cx="78298" cy="115102"/>
            </a:xfrm>
            <a:custGeom>
              <a:avLst/>
              <a:gdLst>
                <a:gd name="connsiteX0" fmla="*/ 12307 w 78298"/>
                <a:gd name="connsiteY0" fmla="*/ 16883 h 115102"/>
                <a:gd name="connsiteX1" fmla="*/ 70769 w 78298"/>
                <a:gd name="connsiteY1" fmla="*/ 7652 h 115102"/>
                <a:gd name="connsiteX2" fmla="*/ 12307 w 78298"/>
                <a:gd name="connsiteY2" fmla="*/ 112268 h 115102"/>
                <a:gd name="connsiteX3" fmla="*/ 12307 w 78298"/>
                <a:gd name="connsiteY3" fmla="*/ 16883 h 115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98" h="115102">
                  <a:moveTo>
                    <a:pt x="12307" y="16883"/>
                  </a:moveTo>
                  <a:cubicBezTo>
                    <a:pt x="12307" y="16883"/>
                    <a:pt x="46154" y="-13886"/>
                    <a:pt x="70769" y="7652"/>
                  </a:cubicBezTo>
                  <a:cubicBezTo>
                    <a:pt x="95385" y="26114"/>
                    <a:pt x="55385" y="133806"/>
                    <a:pt x="12307" y="112268"/>
                  </a:cubicBezTo>
                  <a:cubicBezTo>
                    <a:pt x="-15384" y="90729"/>
                    <a:pt x="12307" y="16883"/>
                    <a:pt x="12307" y="16883"/>
                  </a:cubicBezTo>
                  <a:close/>
                </a:path>
              </a:pathLst>
            </a:custGeom>
            <a:solidFill>
              <a:srgbClr val="F5A39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3E80FE5F-60F0-4212-875B-7BF0171519F5}"/>
                </a:ext>
              </a:extLst>
            </p:cNvPr>
            <p:cNvSpPr/>
            <p:nvPr/>
          </p:nvSpPr>
          <p:spPr>
            <a:xfrm>
              <a:off x="16296000" y="4811564"/>
              <a:ext cx="147691" cy="166154"/>
            </a:xfrm>
            <a:custGeom>
              <a:avLst/>
              <a:gdLst>
                <a:gd name="connsiteX0" fmla="*/ 6154 w 147691"/>
                <a:gd name="connsiteY0" fmla="*/ 166154 h 166154"/>
                <a:gd name="connsiteX1" fmla="*/ 6154 w 147691"/>
                <a:gd name="connsiteY1" fmla="*/ 166154 h 166154"/>
                <a:gd name="connsiteX2" fmla="*/ 0 w 147691"/>
                <a:gd name="connsiteY2" fmla="*/ 160000 h 166154"/>
                <a:gd name="connsiteX3" fmla="*/ 141538 w 147691"/>
                <a:gd name="connsiteY3" fmla="*/ 0 h 166154"/>
                <a:gd name="connsiteX4" fmla="*/ 147692 w 147691"/>
                <a:gd name="connsiteY4" fmla="*/ 3077 h 166154"/>
                <a:gd name="connsiteX5" fmla="*/ 144616 w 147691"/>
                <a:gd name="connsiteY5" fmla="*/ 9231 h 166154"/>
                <a:gd name="connsiteX6" fmla="*/ 12308 w 147691"/>
                <a:gd name="connsiteY6" fmla="*/ 160000 h 166154"/>
                <a:gd name="connsiteX7" fmla="*/ 6154 w 147691"/>
                <a:gd name="connsiteY7" fmla="*/ 166154 h 166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691" h="166154">
                  <a:moveTo>
                    <a:pt x="6154" y="166154"/>
                  </a:moveTo>
                  <a:cubicBezTo>
                    <a:pt x="6154" y="166154"/>
                    <a:pt x="3076" y="166154"/>
                    <a:pt x="6154" y="166154"/>
                  </a:cubicBezTo>
                  <a:cubicBezTo>
                    <a:pt x="3076" y="166154"/>
                    <a:pt x="0" y="163077"/>
                    <a:pt x="0" y="160000"/>
                  </a:cubicBezTo>
                  <a:cubicBezTo>
                    <a:pt x="24615" y="30769"/>
                    <a:pt x="141538" y="0"/>
                    <a:pt x="141538" y="0"/>
                  </a:cubicBezTo>
                  <a:cubicBezTo>
                    <a:pt x="144616" y="0"/>
                    <a:pt x="147692" y="0"/>
                    <a:pt x="147692" y="3077"/>
                  </a:cubicBezTo>
                  <a:cubicBezTo>
                    <a:pt x="147692" y="6154"/>
                    <a:pt x="147692" y="9231"/>
                    <a:pt x="144616" y="9231"/>
                  </a:cubicBezTo>
                  <a:cubicBezTo>
                    <a:pt x="144616" y="9231"/>
                    <a:pt x="36923" y="40000"/>
                    <a:pt x="12308" y="160000"/>
                  </a:cubicBezTo>
                  <a:cubicBezTo>
                    <a:pt x="9230" y="166154"/>
                    <a:pt x="9230" y="166154"/>
                    <a:pt x="6154" y="166154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4A6826F8-9707-4684-933B-04851C2E925F}"/>
                </a:ext>
              </a:extLst>
            </p:cNvPr>
            <p:cNvSpPr/>
            <p:nvPr/>
          </p:nvSpPr>
          <p:spPr>
            <a:xfrm>
              <a:off x="16209847" y="6279257"/>
              <a:ext cx="316922" cy="30769"/>
            </a:xfrm>
            <a:custGeom>
              <a:avLst/>
              <a:gdLst>
                <a:gd name="connsiteX0" fmla="*/ 6154 w 316922"/>
                <a:gd name="connsiteY0" fmla="*/ 30769 h 30769"/>
                <a:gd name="connsiteX1" fmla="*/ 0 w 316922"/>
                <a:gd name="connsiteY1" fmla="*/ 24615 h 30769"/>
                <a:gd name="connsiteX2" fmla="*/ 6154 w 316922"/>
                <a:gd name="connsiteY2" fmla="*/ 18462 h 30769"/>
                <a:gd name="connsiteX3" fmla="*/ 310769 w 316922"/>
                <a:gd name="connsiteY3" fmla="*/ 0 h 30769"/>
                <a:gd name="connsiteX4" fmla="*/ 316923 w 316922"/>
                <a:gd name="connsiteY4" fmla="*/ 3077 h 30769"/>
                <a:gd name="connsiteX5" fmla="*/ 313847 w 316922"/>
                <a:gd name="connsiteY5" fmla="*/ 9230 h 30769"/>
                <a:gd name="connsiteX6" fmla="*/ 6154 w 316922"/>
                <a:gd name="connsiteY6" fmla="*/ 30769 h 30769"/>
                <a:gd name="connsiteX7" fmla="*/ 6154 w 316922"/>
                <a:gd name="connsiteY7" fmla="*/ 30769 h 3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922" h="30769">
                  <a:moveTo>
                    <a:pt x="6154" y="30769"/>
                  </a:moveTo>
                  <a:cubicBezTo>
                    <a:pt x="3076" y="30769"/>
                    <a:pt x="0" y="27692"/>
                    <a:pt x="0" y="24615"/>
                  </a:cubicBezTo>
                  <a:cubicBezTo>
                    <a:pt x="0" y="21538"/>
                    <a:pt x="3076" y="18462"/>
                    <a:pt x="6154" y="18462"/>
                  </a:cubicBezTo>
                  <a:cubicBezTo>
                    <a:pt x="9230" y="18462"/>
                    <a:pt x="218461" y="15385"/>
                    <a:pt x="310769" y="0"/>
                  </a:cubicBezTo>
                  <a:cubicBezTo>
                    <a:pt x="313847" y="0"/>
                    <a:pt x="316923" y="0"/>
                    <a:pt x="316923" y="3077"/>
                  </a:cubicBezTo>
                  <a:cubicBezTo>
                    <a:pt x="316923" y="6153"/>
                    <a:pt x="316923" y="9230"/>
                    <a:pt x="313847" y="9230"/>
                  </a:cubicBezTo>
                  <a:cubicBezTo>
                    <a:pt x="218461" y="27692"/>
                    <a:pt x="9230" y="30769"/>
                    <a:pt x="6154" y="30769"/>
                  </a:cubicBezTo>
                  <a:lnTo>
                    <a:pt x="6154" y="30769"/>
                  </a:ln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32B856E5-3116-4F03-B87F-62EFBDA031BF}"/>
                </a:ext>
              </a:extLst>
            </p:cNvPr>
            <p:cNvSpPr/>
            <p:nvPr/>
          </p:nvSpPr>
          <p:spPr>
            <a:xfrm>
              <a:off x="16560615" y="4623872"/>
              <a:ext cx="304616" cy="501538"/>
            </a:xfrm>
            <a:custGeom>
              <a:avLst/>
              <a:gdLst>
                <a:gd name="connsiteX0" fmla="*/ 129231 w 304616"/>
                <a:gd name="connsiteY0" fmla="*/ 501539 h 501538"/>
                <a:gd name="connsiteX1" fmla="*/ 123077 w 304616"/>
                <a:gd name="connsiteY1" fmla="*/ 498461 h 501538"/>
                <a:gd name="connsiteX2" fmla="*/ 126155 w 304616"/>
                <a:gd name="connsiteY2" fmla="*/ 378462 h 501538"/>
                <a:gd name="connsiteX3" fmla="*/ 132309 w 304616"/>
                <a:gd name="connsiteY3" fmla="*/ 283077 h 501538"/>
                <a:gd name="connsiteX4" fmla="*/ 52308 w 304616"/>
                <a:gd name="connsiteY4" fmla="*/ 181538 h 501538"/>
                <a:gd name="connsiteX5" fmla="*/ 6154 w 304616"/>
                <a:gd name="connsiteY5" fmla="*/ 156923 h 501538"/>
                <a:gd name="connsiteX6" fmla="*/ 0 w 304616"/>
                <a:gd name="connsiteY6" fmla="*/ 153846 h 501538"/>
                <a:gd name="connsiteX7" fmla="*/ 3078 w 304616"/>
                <a:gd name="connsiteY7" fmla="*/ 147692 h 501538"/>
                <a:gd name="connsiteX8" fmla="*/ 21539 w 304616"/>
                <a:gd name="connsiteY8" fmla="*/ 123077 h 501538"/>
                <a:gd name="connsiteX9" fmla="*/ 30769 w 304616"/>
                <a:gd name="connsiteY9" fmla="*/ 83077 h 501538"/>
                <a:gd name="connsiteX10" fmla="*/ 30769 w 304616"/>
                <a:gd name="connsiteY10" fmla="*/ 58461 h 501538"/>
                <a:gd name="connsiteX11" fmla="*/ 33847 w 304616"/>
                <a:gd name="connsiteY11" fmla="*/ 3077 h 501538"/>
                <a:gd name="connsiteX12" fmla="*/ 40002 w 304616"/>
                <a:gd name="connsiteY12" fmla="*/ 0 h 501538"/>
                <a:gd name="connsiteX13" fmla="*/ 304616 w 304616"/>
                <a:gd name="connsiteY13" fmla="*/ 215385 h 501538"/>
                <a:gd name="connsiteX14" fmla="*/ 301540 w 304616"/>
                <a:gd name="connsiteY14" fmla="*/ 221538 h 501538"/>
                <a:gd name="connsiteX15" fmla="*/ 295386 w 304616"/>
                <a:gd name="connsiteY15" fmla="*/ 218461 h 501538"/>
                <a:gd name="connsiteX16" fmla="*/ 40002 w 304616"/>
                <a:gd name="connsiteY16" fmla="*/ 12308 h 501538"/>
                <a:gd name="connsiteX17" fmla="*/ 40002 w 304616"/>
                <a:gd name="connsiteY17" fmla="*/ 58461 h 501538"/>
                <a:gd name="connsiteX18" fmla="*/ 40002 w 304616"/>
                <a:gd name="connsiteY18" fmla="*/ 83077 h 501538"/>
                <a:gd name="connsiteX19" fmla="*/ 27693 w 304616"/>
                <a:gd name="connsiteY19" fmla="*/ 126154 h 501538"/>
                <a:gd name="connsiteX20" fmla="*/ 12308 w 304616"/>
                <a:gd name="connsiteY20" fmla="*/ 147692 h 501538"/>
                <a:gd name="connsiteX21" fmla="*/ 52308 w 304616"/>
                <a:gd name="connsiteY21" fmla="*/ 169231 h 501538"/>
                <a:gd name="connsiteX22" fmla="*/ 138462 w 304616"/>
                <a:gd name="connsiteY22" fmla="*/ 280000 h 501538"/>
                <a:gd name="connsiteX23" fmla="*/ 132309 w 304616"/>
                <a:gd name="connsiteY23" fmla="*/ 378462 h 501538"/>
                <a:gd name="connsiteX24" fmla="*/ 129231 w 304616"/>
                <a:gd name="connsiteY24" fmla="*/ 495384 h 501538"/>
                <a:gd name="connsiteX25" fmla="*/ 129231 w 304616"/>
                <a:gd name="connsiteY25" fmla="*/ 501539 h 501538"/>
                <a:gd name="connsiteX26" fmla="*/ 129231 w 304616"/>
                <a:gd name="connsiteY26" fmla="*/ 501539 h 50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04616" h="501538">
                  <a:moveTo>
                    <a:pt x="129231" y="501539"/>
                  </a:moveTo>
                  <a:cubicBezTo>
                    <a:pt x="126155" y="501539"/>
                    <a:pt x="123077" y="498461"/>
                    <a:pt x="123077" y="498461"/>
                  </a:cubicBezTo>
                  <a:cubicBezTo>
                    <a:pt x="110770" y="452308"/>
                    <a:pt x="116925" y="415385"/>
                    <a:pt x="126155" y="378462"/>
                  </a:cubicBezTo>
                  <a:cubicBezTo>
                    <a:pt x="132309" y="347692"/>
                    <a:pt x="138462" y="316923"/>
                    <a:pt x="132309" y="283077"/>
                  </a:cubicBezTo>
                  <a:cubicBezTo>
                    <a:pt x="120001" y="227692"/>
                    <a:pt x="58462" y="184615"/>
                    <a:pt x="52308" y="181538"/>
                  </a:cubicBezTo>
                  <a:cubicBezTo>
                    <a:pt x="24617" y="169231"/>
                    <a:pt x="6154" y="156923"/>
                    <a:pt x="6154" y="156923"/>
                  </a:cubicBezTo>
                  <a:lnTo>
                    <a:pt x="0" y="153846"/>
                  </a:lnTo>
                  <a:lnTo>
                    <a:pt x="3078" y="147692"/>
                  </a:lnTo>
                  <a:cubicBezTo>
                    <a:pt x="9232" y="141538"/>
                    <a:pt x="15385" y="132308"/>
                    <a:pt x="21539" y="123077"/>
                  </a:cubicBezTo>
                  <a:cubicBezTo>
                    <a:pt x="27693" y="110769"/>
                    <a:pt x="30769" y="95384"/>
                    <a:pt x="30769" y="83077"/>
                  </a:cubicBezTo>
                  <a:cubicBezTo>
                    <a:pt x="30769" y="80000"/>
                    <a:pt x="30769" y="70769"/>
                    <a:pt x="30769" y="58461"/>
                  </a:cubicBezTo>
                  <a:cubicBezTo>
                    <a:pt x="27693" y="30769"/>
                    <a:pt x="27693" y="12308"/>
                    <a:pt x="33847" y="3077"/>
                  </a:cubicBezTo>
                  <a:cubicBezTo>
                    <a:pt x="36923" y="0"/>
                    <a:pt x="40002" y="0"/>
                    <a:pt x="40002" y="0"/>
                  </a:cubicBezTo>
                  <a:cubicBezTo>
                    <a:pt x="261539" y="12308"/>
                    <a:pt x="304616" y="215385"/>
                    <a:pt x="304616" y="215385"/>
                  </a:cubicBezTo>
                  <a:cubicBezTo>
                    <a:pt x="304616" y="218461"/>
                    <a:pt x="304616" y="221538"/>
                    <a:pt x="301540" y="221538"/>
                  </a:cubicBezTo>
                  <a:cubicBezTo>
                    <a:pt x="298462" y="221538"/>
                    <a:pt x="295386" y="221538"/>
                    <a:pt x="295386" y="218461"/>
                  </a:cubicBezTo>
                  <a:cubicBezTo>
                    <a:pt x="295386" y="215385"/>
                    <a:pt x="255386" y="21538"/>
                    <a:pt x="40002" y="12308"/>
                  </a:cubicBezTo>
                  <a:cubicBezTo>
                    <a:pt x="36923" y="15385"/>
                    <a:pt x="40002" y="43077"/>
                    <a:pt x="40002" y="58461"/>
                  </a:cubicBezTo>
                  <a:cubicBezTo>
                    <a:pt x="40002" y="70769"/>
                    <a:pt x="43078" y="80000"/>
                    <a:pt x="40002" y="83077"/>
                  </a:cubicBezTo>
                  <a:cubicBezTo>
                    <a:pt x="36923" y="98461"/>
                    <a:pt x="36923" y="113846"/>
                    <a:pt x="27693" y="126154"/>
                  </a:cubicBezTo>
                  <a:cubicBezTo>
                    <a:pt x="24617" y="135384"/>
                    <a:pt x="18463" y="141538"/>
                    <a:pt x="12308" y="147692"/>
                  </a:cubicBezTo>
                  <a:cubicBezTo>
                    <a:pt x="18463" y="150769"/>
                    <a:pt x="33847" y="160000"/>
                    <a:pt x="52308" y="169231"/>
                  </a:cubicBezTo>
                  <a:cubicBezTo>
                    <a:pt x="64617" y="175385"/>
                    <a:pt x="126155" y="218461"/>
                    <a:pt x="138462" y="280000"/>
                  </a:cubicBezTo>
                  <a:cubicBezTo>
                    <a:pt x="144616" y="316923"/>
                    <a:pt x="138462" y="347692"/>
                    <a:pt x="132309" y="378462"/>
                  </a:cubicBezTo>
                  <a:cubicBezTo>
                    <a:pt x="126155" y="415385"/>
                    <a:pt x="116925" y="452308"/>
                    <a:pt x="129231" y="495384"/>
                  </a:cubicBezTo>
                  <a:cubicBezTo>
                    <a:pt x="135385" y="495384"/>
                    <a:pt x="135385" y="498461"/>
                    <a:pt x="129231" y="501539"/>
                  </a:cubicBezTo>
                  <a:cubicBezTo>
                    <a:pt x="132309" y="501539"/>
                    <a:pt x="129231" y="501539"/>
                    <a:pt x="129231" y="501539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1ABDBEC8-28C5-48AF-96C1-FC2DD2C440DF}"/>
                </a:ext>
              </a:extLst>
            </p:cNvPr>
            <p:cNvSpPr/>
            <p:nvPr/>
          </p:nvSpPr>
          <p:spPr>
            <a:xfrm>
              <a:off x="16483692" y="4609966"/>
              <a:ext cx="126154" cy="23137"/>
            </a:xfrm>
            <a:custGeom>
              <a:avLst/>
              <a:gdLst>
                <a:gd name="connsiteX0" fmla="*/ 120001 w 126154"/>
                <a:gd name="connsiteY0" fmla="*/ 23138 h 23137"/>
                <a:gd name="connsiteX1" fmla="*/ 120001 w 126154"/>
                <a:gd name="connsiteY1" fmla="*/ 23138 h 23137"/>
                <a:gd name="connsiteX2" fmla="*/ 6154 w 126154"/>
                <a:gd name="connsiteY2" fmla="*/ 20061 h 23137"/>
                <a:gd name="connsiteX3" fmla="*/ 0 w 126154"/>
                <a:gd name="connsiteY3" fmla="*/ 16983 h 23137"/>
                <a:gd name="connsiteX4" fmla="*/ 3078 w 126154"/>
                <a:gd name="connsiteY4" fmla="*/ 10830 h 23137"/>
                <a:gd name="connsiteX5" fmla="*/ 123077 w 126154"/>
                <a:gd name="connsiteY5" fmla="*/ 13907 h 23137"/>
                <a:gd name="connsiteX6" fmla="*/ 126155 w 126154"/>
                <a:gd name="connsiteY6" fmla="*/ 23138 h 23137"/>
                <a:gd name="connsiteX7" fmla="*/ 120001 w 126154"/>
                <a:gd name="connsiteY7" fmla="*/ 23138 h 23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154" h="23137">
                  <a:moveTo>
                    <a:pt x="120001" y="23138"/>
                  </a:moveTo>
                  <a:cubicBezTo>
                    <a:pt x="120001" y="23138"/>
                    <a:pt x="120001" y="23138"/>
                    <a:pt x="120001" y="23138"/>
                  </a:cubicBezTo>
                  <a:cubicBezTo>
                    <a:pt x="116925" y="23138"/>
                    <a:pt x="70771" y="-1478"/>
                    <a:pt x="6154" y="20061"/>
                  </a:cubicBezTo>
                  <a:cubicBezTo>
                    <a:pt x="3078" y="20061"/>
                    <a:pt x="0" y="20061"/>
                    <a:pt x="0" y="16983"/>
                  </a:cubicBezTo>
                  <a:cubicBezTo>
                    <a:pt x="0" y="13907"/>
                    <a:pt x="0" y="10830"/>
                    <a:pt x="3078" y="10830"/>
                  </a:cubicBezTo>
                  <a:cubicBezTo>
                    <a:pt x="73847" y="-13786"/>
                    <a:pt x="120001" y="10830"/>
                    <a:pt x="123077" y="13907"/>
                  </a:cubicBezTo>
                  <a:cubicBezTo>
                    <a:pt x="126155" y="16983"/>
                    <a:pt x="126155" y="20061"/>
                    <a:pt x="126155" y="23138"/>
                  </a:cubicBezTo>
                  <a:cubicBezTo>
                    <a:pt x="123077" y="23138"/>
                    <a:pt x="123077" y="23138"/>
                    <a:pt x="120001" y="23138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5811C325-316F-4DC6-8C90-66B8723D3C4E}"/>
                </a:ext>
              </a:extLst>
            </p:cNvPr>
            <p:cNvSpPr/>
            <p:nvPr/>
          </p:nvSpPr>
          <p:spPr>
            <a:xfrm>
              <a:off x="16509350" y="5313103"/>
              <a:ext cx="1256363" cy="2635686"/>
            </a:xfrm>
            <a:custGeom>
              <a:avLst/>
              <a:gdLst>
                <a:gd name="connsiteX0" fmla="*/ 23574 w 1256363"/>
                <a:gd name="connsiteY0" fmla="*/ 310769 h 2635686"/>
                <a:gd name="connsiteX1" fmla="*/ 75882 w 1256363"/>
                <a:gd name="connsiteY1" fmla="*/ 1046154 h 2635686"/>
                <a:gd name="connsiteX2" fmla="*/ 226650 w 1256363"/>
                <a:gd name="connsiteY2" fmla="*/ 1624616 h 2635686"/>
                <a:gd name="connsiteX3" fmla="*/ 457419 w 1256363"/>
                <a:gd name="connsiteY3" fmla="*/ 2107693 h 2635686"/>
                <a:gd name="connsiteX4" fmla="*/ 457419 w 1256363"/>
                <a:gd name="connsiteY4" fmla="*/ 2107693 h 2635686"/>
                <a:gd name="connsiteX5" fmla="*/ 697419 w 1256363"/>
                <a:gd name="connsiteY5" fmla="*/ 2627693 h 2635686"/>
                <a:gd name="connsiteX6" fmla="*/ 718958 w 1256363"/>
                <a:gd name="connsiteY6" fmla="*/ 2633846 h 2635686"/>
                <a:gd name="connsiteX7" fmla="*/ 1226650 w 1256363"/>
                <a:gd name="connsiteY7" fmla="*/ 2538462 h 2635686"/>
                <a:gd name="connsiteX8" fmla="*/ 1254343 w 1256363"/>
                <a:gd name="connsiteY8" fmla="*/ 2535385 h 2635686"/>
                <a:gd name="connsiteX9" fmla="*/ 1251265 w 1256363"/>
                <a:gd name="connsiteY9" fmla="*/ 2513846 h 2635686"/>
                <a:gd name="connsiteX10" fmla="*/ 1005111 w 1256363"/>
                <a:gd name="connsiteY10" fmla="*/ 1833846 h 2635686"/>
                <a:gd name="connsiteX11" fmla="*/ 580496 w 1256363"/>
                <a:gd name="connsiteY11" fmla="*/ 1283077 h 2635686"/>
                <a:gd name="connsiteX12" fmla="*/ 451265 w 1256363"/>
                <a:gd name="connsiteY12" fmla="*/ 867692 h 2635686"/>
                <a:gd name="connsiteX13" fmla="*/ 451265 w 1256363"/>
                <a:gd name="connsiteY13" fmla="*/ 393846 h 2635686"/>
                <a:gd name="connsiteX14" fmla="*/ 451265 w 1256363"/>
                <a:gd name="connsiteY14" fmla="*/ 120000 h 2635686"/>
                <a:gd name="connsiteX15" fmla="*/ 186650 w 1256363"/>
                <a:gd name="connsiteY15" fmla="*/ 0 h 2635686"/>
                <a:gd name="connsiteX16" fmla="*/ 23574 w 1256363"/>
                <a:gd name="connsiteY16" fmla="*/ 310769 h 2635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56363" h="2635686">
                  <a:moveTo>
                    <a:pt x="23574" y="310769"/>
                  </a:moveTo>
                  <a:cubicBezTo>
                    <a:pt x="-37965" y="547692"/>
                    <a:pt x="35880" y="800000"/>
                    <a:pt x="75882" y="1046154"/>
                  </a:cubicBezTo>
                  <a:cubicBezTo>
                    <a:pt x="109727" y="1243077"/>
                    <a:pt x="155881" y="1440000"/>
                    <a:pt x="226650" y="1624616"/>
                  </a:cubicBezTo>
                  <a:cubicBezTo>
                    <a:pt x="291266" y="1790769"/>
                    <a:pt x="371266" y="1950770"/>
                    <a:pt x="457419" y="2107693"/>
                  </a:cubicBezTo>
                  <a:cubicBezTo>
                    <a:pt x="457419" y="2107693"/>
                    <a:pt x="457419" y="2107693"/>
                    <a:pt x="457419" y="2107693"/>
                  </a:cubicBezTo>
                  <a:cubicBezTo>
                    <a:pt x="528188" y="2286154"/>
                    <a:pt x="608189" y="2458462"/>
                    <a:pt x="697419" y="2627693"/>
                  </a:cubicBezTo>
                  <a:cubicBezTo>
                    <a:pt x="700497" y="2636923"/>
                    <a:pt x="709727" y="2636923"/>
                    <a:pt x="718958" y="2633846"/>
                  </a:cubicBezTo>
                  <a:cubicBezTo>
                    <a:pt x="878958" y="2553847"/>
                    <a:pt x="1051265" y="2523078"/>
                    <a:pt x="1226650" y="2538462"/>
                  </a:cubicBezTo>
                  <a:cubicBezTo>
                    <a:pt x="1229728" y="2553847"/>
                    <a:pt x="1251265" y="2547693"/>
                    <a:pt x="1254343" y="2535385"/>
                  </a:cubicBezTo>
                  <a:cubicBezTo>
                    <a:pt x="1257419" y="2529231"/>
                    <a:pt x="1257419" y="2520000"/>
                    <a:pt x="1251265" y="2513846"/>
                  </a:cubicBezTo>
                  <a:cubicBezTo>
                    <a:pt x="1211265" y="2267692"/>
                    <a:pt x="1158957" y="2036923"/>
                    <a:pt x="1005111" y="1833846"/>
                  </a:cubicBezTo>
                  <a:cubicBezTo>
                    <a:pt x="866650" y="1649231"/>
                    <a:pt x="682034" y="1495384"/>
                    <a:pt x="580496" y="1283077"/>
                  </a:cubicBezTo>
                  <a:cubicBezTo>
                    <a:pt x="518958" y="1153847"/>
                    <a:pt x="478958" y="1009231"/>
                    <a:pt x="451265" y="867692"/>
                  </a:cubicBezTo>
                  <a:cubicBezTo>
                    <a:pt x="420496" y="710769"/>
                    <a:pt x="411265" y="550770"/>
                    <a:pt x="451265" y="393846"/>
                  </a:cubicBezTo>
                  <a:cubicBezTo>
                    <a:pt x="475882" y="301539"/>
                    <a:pt x="512803" y="206154"/>
                    <a:pt x="451265" y="120000"/>
                  </a:cubicBezTo>
                  <a:cubicBezTo>
                    <a:pt x="398959" y="49231"/>
                    <a:pt x="266649" y="12308"/>
                    <a:pt x="186650" y="0"/>
                  </a:cubicBezTo>
                  <a:cubicBezTo>
                    <a:pt x="183574" y="3077"/>
                    <a:pt x="51265" y="209231"/>
                    <a:pt x="23574" y="310769"/>
                  </a:cubicBezTo>
                  <a:close/>
                </a:path>
              </a:pathLst>
            </a:custGeom>
            <a:solidFill>
              <a:srgbClr val="F1DDB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C4B71FDE-C83C-4A4C-A316-F82C8C7E1E23}"/>
                </a:ext>
              </a:extLst>
            </p:cNvPr>
            <p:cNvSpPr/>
            <p:nvPr/>
          </p:nvSpPr>
          <p:spPr>
            <a:xfrm>
              <a:off x="16868307" y="6137719"/>
              <a:ext cx="553077" cy="956923"/>
            </a:xfrm>
            <a:custGeom>
              <a:avLst/>
              <a:gdLst>
                <a:gd name="connsiteX0" fmla="*/ 544616 w 553077"/>
                <a:gd name="connsiteY0" fmla="*/ 956923 h 956923"/>
                <a:gd name="connsiteX1" fmla="*/ 538462 w 553077"/>
                <a:gd name="connsiteY1" fmla="*/ 953846 h 956923"/>
                <a:gd name="connsiteX2" fmla="*/ 203078 w 553077"/>
                <a:gd name="connsiteY2" fmla="*/ 424615 h 956923"/>
                <a:gd name="connsiteX3" fmla="*/ 0 w 553077"/>
                <a:gd name="connsiteY3" fmla="*/ 9231 h 956923"/>
                <a:gd name="connsiteX4" fmla="*/ 3078 w 553077"/>
                <a:gd name="connsiteY4" fmla="*/ 0 h 956923"/>
                <a:gd name="connsiteX5" fmla="*/ 12308 w 553077"/>
                <a:gd name="connsiteY5" fmla="*/ 3077 h 956923"/>
                <a:gd name="connsiteX6" fmla="*/ 215385 w 553077"/>
                <a:gd name="connsiteY6" fmla="*/ 418462 h 956923"/>
                <a:gd name="connsiteX7" fmla="*/ 550770 w 553077"/>
                <a:gd name="connsiteY7" fmla="*/ 944616 h 956923"/>
                <a:gd name="connsiteX8" fmla="*/ 550770 w 553077"/>
                <a:gd name="connsiteY8" fmla="*/ 953846 h 956923"/>
                <a:gd name="connsiteX9" fmla="*/ 544616 w 553077"/>
                <a:gd name="connsiteY9" fmla="*/ 956923 h 95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3077" h="956923">
                  <a:moveTo>
                    <a:pt x="544616" y="956923"/>
                  </a:moveTo>
                  <a:cubicBezTo>
                    <a:pt x="541540" y="956923"/>
                    <a:pt x="541540" y="956923"/>
                    <a:pt x="538462" y="953846"/>
                  </a:cubicBezTo>
                  <a:cubicBezTo>
                    <a:pt x="443078" y="836923"/>
                    <a:pt x="203078" y="427692"/>
                    <a:pt x="203078" y="424615"/>
                  </a:cubicBezTo>
                  <a:lnTo>
                    <a:pt x="0" y="9231"/>
                  </a:lnTo>
                  <a:cubicBezTo>
                    <a:pt x="0" y="6154"/>
                    <a:pt x="0" y="3077"/>
                    <a:pt x="3078" y="0"/>
                  </a:cubicBezTo>
                  <a:cubicBezTo>
                    <a:pt x="6154" y="0"/>
                    <a:pt x="9232" y="0"/>
                    <a:pt x="12308" y="3077"/>
                  </a:cubicBezTo>
                  <a:lnTo>
                    <a:pt x="215385" y="418462"/>
                  </a:lnTo>
                  <a:cubicBezTo>
                    <a:pt x="218463" y="421539"/>
                    <a:pt x="455386" y="827692"/>
                    <a:pt x="550770" y="944616"/>
                  </a:cubicBezTo>
                  <a:cubicBezTo>
                    <a:pt x="553846" y="947692"/>
                    <a:pt x="553846" y="950769"/>
                    <a:pt x="550770" y="953846"/>
                  </a:cubicBezTo>
                  <a:cubicBezTo>
                    <a:pt x="547694" y="956923"/>
                    <a:pt x="544616" y="956923"/>
                    <a:pt x="544616" y="956923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68B43072-B915-41D8-84C1-B44A9F2F6545}"/>
                </a:ext>
              </a:extLst>
            </p:cNvPr>
            <p:cNvSpPr/>
            <p:nvPr/>
          </p:nvSpPr>
          <p:spPr>
            <a:xfrm>
              <a:off x="16080351" y="5325411"/>
              <a:ext cx="347956" cy="1470115"/>
            </a:xfrm>
            <a:custGeom>
              <a:avLst/>
              <a:gdLst>
                <a:gd name="connsiteX0" fmla="*/ 265 w 347956"/>
                <a:gd name="connsiteY0" fmla="*/ 1455384 h 1470115"/>
                <a:gd name="connsiteX1" fmla="*/ 27958 w 347956"/>
                <a:gd name="connsiteY1" fmla="*/ 1461539 h 1470115"/>
                <a:gd name="connsiteX2" fmla="*/ 31034 w 347956"/>
                <a:gd name="connsiteY2" fmla="*/ 1455384 h 1470115"/>
                <a:gd name="connsiteX3" fmla="*/ 132572 w 347956"/>
                <a:gd name="connsiteY3" fmla="*/ 1089231 h 1470115"/>
                <a:gd name="connsiteX4" fmla="*/ 151035 w 347956"/>
                <a:gd name="connsiteY4" fmla="*/ 741538 h 1470115"/>
                <a:gd name="connsiteX5" fmla="*/ 323342 w 347956"/>
                <a:gd name="connsiteY5" fmla="*/ 18461 h 1470115"/>
                <a:gd name="connsiteX6" fmla="*/ 347957 w 347956"/>
                <a:gd name="connsiteY6" fmla="*/ 0 h 1470115"/>
                <a:gd name="connsiteX7" fmla="*/ 12573 w 347956"/>
                <a:gd name="connsiteY7" fmla="*/ 495384 h 1470115"/>
                <a:gd name="connsiteX8" fmla="*/ 43342 w 347956"/>
                <a:gd name="connsiteY8" fmla="*/ 729231 h 1470115"/>
                <a:gd name="connsiteX9" fmla="*/ 40264 w 347956"/>
                <a:gd name="connsiteY9" fmla="*/ 963077 h 1470115"/>
                <a:gd name="connsiteX10" fmla="*/ 265 w 347956"/>
                <a:gd name="connsiteY10" fmla="*/ 1455384 h 1470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7956" h="1470115">
                  <a:moveTo>
                    <a:pt x="265" y="1455384"/>
                  </a:moveTo>
                  <a:cubicBezTo>
                    <a:pt x="-2811" y="1473846"/>
                    <a:pt x="21804" y="1473846"/>
                    <a:pt x="27958" y="1461539"/>
                  </a:cubicBezTo>
                  <a:cubicBezTo>
                    <a:pt x="31034" y="1458461"/>
                    <a:pt x="31034" y="1458461"/>
                    <a:pt x="31034" y="1455384"/>
                  </a:cubicBezTo>
                  <a:cubicBezTo>
                    <a:pt x="49495" y="1323077"/>
                    <a:pt x="86418" y="1212308"/>
                    <a:pt x="132572" y="1089231"/>
                  </a:cubicBezTo>
                  <a:cubicBezTo>
                    <a:pt x="172572" y="975384"/>
                    <a:pt x="163341" y="861538"/>
                    <a:pt x="151035" y="741538"/>
                  </a:cubicBezTo>
                  <a:cubicBezTo>
                    <a:pt x="123342" y="483077"/>
                    <a:pt x="163341" y="230769"/>
                    <a:pt x="323342" y="18461"/>
                  </a:cubicBezTo>
                  <a:cubicBezTo>
                    <a:pt x="326418" y="15385"/>
                    <a:pt x="335650" y="15385"/>
                    <a:pt x="347957" y="0"/>
                  </a:cubicBezTo>
                  <a:cubicBezTo>
                    <a:pt x="89496" y="6154"/>
                    <a:pt x="-12044" y="283077"/>
                    <a:pt x="12573" y="495384"/>
                  </a:cubicBezTo>
                  <a:cubicBezTo>
                    <a:pt x="21804" y="575385"/>
                    <a:pt x="40264" y="649231"/>
                    <a:pt x="43342" y="729231"/>
                  </a:cubicBezTo>
                  <a:cubicBezTo>
                    <a:pt x="46419" y="806154"/>
                    <a:pt x="43342" y="886154"/>
                    <a:pt x="40264" y="963077"/>
                  </a:cubicBezTo>
                  <a:cubicBezTo>
                    <a:pt x="34110" y="1126154"/>
                    <a:pt x="18726" y="1292308"/>
                    <a:pt x="265" y="1455384"/>
                  </a:cubicBezTo>
                  <a:close/>
                </a:path>
              </a:pathLst>
            </a:custGeom>
            <a:solidFill>
              <a:srgbClr val="F1DDB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8B6335D9-E1CF-49D3-875A-91ED0894D21E}"/>
                </a:ext>
              </a:extLst>
            </p:cNvPr>
            <p:cNvSpPr/>
            <p:nvPr/>
          </p:nvSpPr>
          <p:spPr>
            <a:xfrm>
              <a:off x="16079059" y="5510026"/>
              <a:ext cx="69249" cy="759999"/>
            </a:xfrm>
            <a:custGeom>
              <a:avLst/>
              <a:gdLst>
                <a:gd name="connsiteX0" fmla="*/ 41557 w 69249"/>
                <a:gd name="connsiteY0" fmla="*/ 759999 h 759999"/>
                <a:gd name="connsiteX1" fmla="*/ 41557 w 69249"/>
                <a:gd name="connsiteY1" fmla="*/ 759999 h 759999"/>
                <a:gd name="connsiteX2" fmla="*/ 35402 w 69249"/>
                <a:gd name="connsiteY2" fmla="*/ 753846 h 759999"/>
                <a:gd name="connsiteX3" fmla="*/ 10787 w 69249"/>
                <a:gd name="connsiteY3" fmla="*/ 332307 h 759999"/>
                <a:gd name="connsiteX4" fmla="*/ 1557 w 69249"/>
                <a:gd name="connsiteY4" fmla="*/ 267692 h 759999"/>
                <a:gd name="connsiteX5" fmla="*/ 56941 w 69249"/>
                <a:gd name="connsiteY5" fmla="*/ 3077 h 759999"/>
                <a:gd name="connsiteX6" fmla="*/ 66172 w 69249"/>
                <a:gd name="connsiteY6" fmla="*/ 0 h 759999"/>
                <a:gd name="connsiteX7" fmla="*/ 69250 w 69249"/>
                <a:gd name="connsiteY7" fmla="*/ 9230 h 759999"/>
                <a:gd name="connsiteX8" fmla="*/ 13865 w 69249"/>
                <a:gd name="connsiteY8" fmla="*/ 267692 h 759999"/>
                <a:gd name="connsiteX9" fmla="*/ 23096 w 69249"/>
                <a:gd name="connsiteY9" fmla="*/ 332307 h 759999"/>
                <a:gd name="connsiteX10" fmla="*/ 47711 w 69249"/>
                <a:gd name="connsiteY10" fmla="*/ 756923 h 759999"/>
                <a:gd name="connsiteX11" fmla="*/ 41557 w 69249"/>
                <a:gd name="connsiteY11" fmla="*/ 759999 h 75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9249" h="759999">
                  <a:moveTo>
                    <a:pt x="41557" y="759999"/>
                  </a:moveTo>
                  <a:cubicBezTo>
                    <a:pt x="41557" y="759999"/>
                    <a:pt x="41557" y="759999"/>
                    <a:pt x="41557" y="759999"/>
                  </a:cubicBezTo>
                  <a:cubicBezTo>
                    <a:pt x="38480" y="759999"/>
                    <a:pt x="35402" y="756923"/>
                    <a:pt x="35402" y="753846"/>
                  </a:cubicBezTo>
                  <a:cubicBezTo>
                    <a:pt x="47711" y="633846"/>
                    <a:pt x="26172" y="452308"/>
                    <a:pt x="10787" y="332307"/>
                  </a:cubicBezTo>
                  <a:cubicBezTo>
                    <a:pt x="7711" y="307692"/>
                    <a:pt x="4633" y="286153"/>
                    <a:pt x="1557" y="267692"/>
                  </a:cubicBezTo>
                  <a:cubicBezTo>
                    <a:pt x="-10751" y="160000"/>
                    <a:pt x="53865" y="9230"/>
                    <a:pt x="56941" y="3077"/>
                  </a:cubicBezTo>
                  <a:cubicBezTo>
                    <a:pt x="56941" y="0"/>
                    <a:pt x="63095" y="0"/>
                    <a:pt x="66172" y="0"/>
                  </a:cubicBezTo>
                  <a:cubicBezTo>
                    <a:pt x="69250" y="0"/>
                    <a:pt x="69250" y="6154"/>
                    <a:pt x="69250" y="9230"/>
                  </a:cubicBezTo>
                  <a:cubicBezTo>
                    <a:pt x="69250" y="9230"/>
                    <a:pt x="1557" y="163077"/>
                    <a:pt x="13865" y="267692"/>
                  </a:cubicBezTo>
                  <a:cubicBezTo>
                    <a:pt x="16942" y="286153"/>
                    <a:pt x="20018" y="307692"/>
                    <a:pt x="23096" y="332307"/>
                  </a:cubicBezTo>
                  <a:cubicBezTo>
                    <a:pt x="38480" y="452308"/>
                    <a:pt x="63095" y="633846"/>
                    <a:pt x="47711" y="756923"/>
                  </a:cubicBezTo>
                  <a:cubicBezTo>
                    <a:pt x="47711" y="756923"/>
                    <a:pt x="44635" y="759999"/>
                    <a:pt x="41557" y="759999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8E4CE3F3-8711-48DD-8D7A-4E034002061B}"/>
                </a:ext>
              </a:extLst>
            </p:cNvPr>
            <p:cNvSpPr/>
            <p:nvPr/>
          </p:nvSpPr>
          <p:spPr>
            <a:xfrm>
              <a:off x="16446770" y="5122334"/>
              <a:ext cx="118289" cy="33846"/>
            </a:xfrm>
            <a:custGeom>
              <a:avLst/>
              <a:gdLst>
                <a:gd name="connsiteX0" fmla="*/ 67691 w 118289"/>
                <a:gd name="connsiteY0" fmla="*/ 33846 h 33846"/>
                <a:gd name="connsiteX1" fmla="*/ 3076 w 118289"/>
                <a:gd name="connsiteY1" fmla="*/ 12308 h 33846"/>
                <a:gd name="connsiteX2" fmla="*/ 0 w 118289"/>
                <a:gd name="connsiteY2" fmla="*/ 3077 h 33846"/>
                <a:gd name="connsiteX3" fmla="*/ 9230 w 118289"/>
                <a:gd name="connsiteY3" fmla="*/ 0 h 33846"/>
                <a:gd name="connsiteX4" fmla="*/ 107692 w 118289"/>
                <a:gd name="connsiteY4" fmla="*/ 6154 h 33846"/>
                <a:gd name="connsiteX5" fmla="*/ 116923 w 118289"/>
                <a:gd name="connsiteY5" fmla="*/ 6154 h 33846"/>
                <a:gd name="connsiteX6" fmla="*/ 116923 w 118289"/>
                <a:gd name="connsiteY6" fmla="*/ 15385 h 33846"/>
                <a:gd name="connsiteX7" fmla="*/ 67691 w 118289"/>
                <a:gd name="connsiteY7" fmla="*/ 33846 h 3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289" h="33846">
                  <a:moveTo>
                    <a:pt x="67691" y="33846"/>
                  </a:moveTo>
                  <a:cubicBezTo>
                    <a:pt x="49230" y="33846"/>
                    <a:pt x="27691" y="27692"/>
                    <a:pt x="3076" y="12308"/>
                  </a:cubicBezTo>
                  <a:cubicBezTo>
                    <a:pt x="0" y="9231"/>
                    <a:pt x="0" y="6154"/>
                    <a:pt x="0" y="3077"/>
                  </a:cubicBezTo>
                  <a:cubicBezTo>
                    <a:pt x="3076" y="0"/>
                    <a:pt x="6152" y="0"/>
                    <a:pt x="9230" y="0"/>
                  </a:cubicBezTo>
                  <a:cubicBezTo>
                    <a:pt x="67691" y="36923"/>
                    <a:pt x="107692" y="9231"/>
                    <a:pt x="107692" y="6154"/>
                  </a:cubicBezTo>
                  <a:cubicBezTo>
                    <a:pt x="110768" y="3077"/>
                    <a:pt x="113845" y="6154"/>
                    <a:pt x="116923" y="6154"/>
                  </a:cubicBezTo>
                  <a:cubicBezTo>
                    <a:pt x="119999" y="9231"/>
                    <a:pt x="116923" y="12308"/>
                    <a:pt x="116923" y="15385"/>
                  </a:cubicBezTo>
                  <a:cubicBezTo>
                    <a:pt x="113845" y="21538"/>
                    <a:pt x="98460" y="33846"/>
                    <a:pt x="67691" y="33846"/>
                  </a:cubicBezTo>
                  <a:close/>
                </a:path>
              </a:pathLst>
            </a:custGeom>
            <a:solidFill>
              <a:srgbClr val="E58777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D52E7C65-F538-465C-B4AF-0741556E105D}"/>
                </a:ext>
              </a:extLst>
            </p:cNvPr>
            <p:cNvSpPr/>
            <p:nvPr/>
          </p:nvSpPr>
          <p:spPr>
            <a:xfrm>
              <a:off x="14985232" y="5580795"/>
              <a:ext cx="802504" cy="833846"/>
            </a:xfrm>
            <a:custGeom>
              <a:avLst/>
              <a:gdLst>
                <a:gd name="connsiteX0" fmla="*/ 476923 w 802504"/>
                <a:gd name="connsiteY0" fmla="*/ 3077 h 833846"/>
                <a:gd name="connsiteX1" fmla="*/ 535384 w 802504"/>
                <a:gd name="connsiteY1" fmla="*/ 547692 h 833846"/>
                <a:gd name="connsiteX2" fmla="*/ 0 w 802504"/>
                <a:gd name="connsiteY2" fmla="*/ 698462 h 833846"/>
                <a:gd name="connsiteX3" fmla="*/ 6152 w 802504"/>
                <a:gd name="connsiteY3" fmla="*/ 833846 h 833846"/>
                <a:gd name="connsiteX4" fmla="*/ 756922 w 802504"/>
                <a:gd name="connsiteY4" fmla="*/ 710769 h 833846"/>
                <a:gd name="connsiteX5" fmla="*/ 747692 w 802504"/>
                <a:gd name="connsiteY5" fmla="*/ 0 h 833846"/>
                <a:gd name="connsiteX6" fmla="*/ 476923 w 802504"/>
                <a:gd name="connsiteY6" fmla="*/ 3077 h 83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2504" h="833846">
                  <a:moveTo>
                    <a:pt x="476923" y="3077"/>
                  </a:moveTo>
                  <a:lnTo>
                    <a:pt x="535384" y="547692"/>
                  </a:lnTo>
                  <a:lnTo>
                    <a:pt x="0" y="698462"/>
                  </a:lnTo>
                  <a:lnTo>
                    <a:pt x="6152" y="833846"/>
                  </a:lnTo>
                  <a:cubicBezTo>
                    <a:pt x="6152" y="833846"/>
                    <a:pt x="649230" y="781538"/>
                    <a:pt x="756922" y="710769"/>
                  </a:cubicBezTo>
                  <a:cubicBezTo>
                    <a:pt x="864615" y="640001"/>
                    <a:pt x="747692" y="0"/>
                    <a:pt x="747692" y="0"/>
                  </a:cubicBezTo>
                  <a:lnTo>
                    <a:pt x="476923" y="3077"/>
                  </a:ln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73527680-A2EF-4289-A8F0-BB26492AA10D}"/>
                </a:ext>
              </a:extLst>
            </p:cNvPr>
            <p:cNvSpPr/>
            <p:nvPr/>
          </p:nvSpPr>
          <p:spPr>
            <a:xfrm>
              <a:off x="15468307" y="5685411"/>
              <a:ext cx="113846" cy="486153"/>
            </a:xfrm>
            <a:custGeom>
              <a:avLst/>
              <a:gdLst>
                <a:gd name="connsiteX0" fmla="*/ 107692 w 113846"/>
                <a:gd name="connsiteY0" fmla="*/ 486154 h 486153"/>
                <a:gd name="connsiteX1" fmla="*/ 107692 w 113846"/>
                <a:gd name="connsiteY1" fmla="*/ 486154 h 486153"/>
                <a:gd name="connsiteX2" fmla="*/ 49232 w 113846"/>
                <a:gd name="connsiteY2" fmla="*/ 446154 h 486153"/>
                <a:gd name="connsiteX3" fmla="*/ 46154 w 113846"/>
                <a:gd name="connsiteY3" fmla="*/ 443077 h 486153"/>
                <a:gd name="connsiteX4" fmla="*/ 0 w 113846"/>
                <a:gd name="connsiteY4" fmla="*/ 0 h 486153"/>
                <a:gd name="connsiteX5" fmla="*/ 12308 w 113846"/>
                <a:gd name="connsiteY5" fmla="*/ 0 h 486153"/>
                <a:gd name="connsiteX6" fmla="*/ 58462 w 113846"/>
                <a:gd name="connsiteY6" fmla="*/ 440000 h 486153"/>
                <a:gd name="connsiteX7" fmla="*/ 110770 w 113846"/>
                <a:gd name="connsiteY7" fmla="*/ 476923 h 486153"/>
                <a:gd name="connsiteX8" fmla="*/ 113847 w 113846"/>
                <a:gd name="connsiteY8" fmla="*/ 483077 h 486153"/>
                <a:gd name="connsiteX9" fmla="*/ 107692 w 113846"/>
                <a:gd name="connsiteY9" fmla="*/ 486154 h 48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3846" h="486153">
                  <a:moveTo>
                    <a:pt x="107692" y="486154"/>
                  </a:moveTo>
                  <a:cubicBezTo>
                    <a:pt x="107692" y="486154"/>
                    <a:pt x="107692" y="486154"/>
                    <a:pt x="107692" y="486154"/>
                  </a:cubicBezTo>
                  <a:cubicBezTo>
                    <a:pt x="86155" y="476923"/>
                    <a:pt x="49232" y="449231"/>
                    <a:pt x="49232" y="446154"/>
                  </a:cubicBezTo>
                  <a:cubicBezTo>
                    <a:pt x="49232" y="446154"/>
                    <a:pt x="46154" y="443077"/>
                    <a:pt x="46154" y="443077"/>
                  </a:cubicBezTo>
                  <a:cubicBezTo>
                    <a:pt x="33847" y="323077"/>
                    <a:pt x="0" y="0"/>
                    <a:pt x="0" y="0"/>
                  </a:cubicBezTo>
                  <a:lnTo>
                    <a:pt x="12308" y="0"/>
                  </a:lnTo>
                  <a:cubicBezTo>
                    <a:pt x="12308" y="0"/>
                    <a:pt x="46154" y="320000"/>
                    <a:pt x="58462" y="440000"/>
                  </a:cubicBezTo>
                  <a:cubicBezTo>
                    <a:pt x="67693" y="446154"/>
                    <a:pt x="98462" y="467692"/>
                    <a:pt x="110770" y="476923"/>
                  </a:cubicBezTo>
                  <a:cubicBezTo>
                    <a:pt x="113847" y="476923"/>
                    <a:pt x="113847" y="483077"/>
                    <a:pt x="113847" y="483077"/>
                  </a:cubicBezTo>
                  <a:cubicBezTo>
                    <a:pt x="110770" y="486154"/>
                    <a:pt x="110770" y="486154"/>
                    <a:pt x="107692" y="486154"/>
                  </a:cubicBezTo>
                  <a:close/>
                </a:path>
              </a:pathLst>
            </a:custGeom>
            <a:solidFill>
              <a:srgbClr val="E87952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72E3899C-444B-4A92-B448-3395E8667947}"/>
                </a:ext>
              </a:extLst>
            </p:cNvPr>
            <p:cNvSpPr/>
            <p:nvPr/>
          </p:nvSpPr>
          <p:spPr>
            <a:xfrm>
              <a:off x="15366577" y="5094345"/>
              <a:ext cx="424807" cy="590689"/>
            </a:xfrm>
            <a:custGeom>
              <a:avLst/>
              <a:gdLst>
                <a:gd name="connsiteX0" fmla="*/ 424807 w 424807"/>
                <a:gd name="connsiteY0" fmla="*/ 544912 h 590689"/>
                <a:gd name="connsiteX1" fmla="*/ 160193 w 424807"/>
                <a:gd name="connsiteY1" fmla="*/ 297 h 590689"/>
                <a:gd name="connsiteX2" fmla="*/ 192 w 424807"/>
                <a:gd name="connsiteY2" fmla="*/ 572604 h 590689"/>
                <a:gd name="connsiteX3" fmla="*/ 424807 w 424807"/>
                <a:gd name="connsiteY3" fmla="*/ 544912 h 590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807" h="590689">
                  <a:moveTo>
                    <a:pt x="424807" y="544912"/>
                  </a:moveTo>
                  <a:cubicBezTo>
                    <a:pt x="424807" y="544912"/>
                    <a:pt x="307885" y="15681"/>
                    <a:pt x="160193" y="297"/>
                  </a:cubicBezTo>
                  <a:cubicBezTo>
                    <a:pt x="-12114" y="-15088"/>
                    <a:pt x="192" y="572604"/>
                    <a:pt x="192" y="572604"/>
                  </a:cubicBezTo>
                  <a:cubicBezTo>
                    <a:pt x="192" y="572604"/>
                    <a:pt x="224807" y="627989"/>
                    <a:pt x="424807" y="544912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B195B220-DCE4-40BC-BDEB-D0578EF96D17}"/>
                </a:ext>
              </a:extLst>
            </p:cNvPr>
            <p:cNvSpPr/>
            <p:nvPr/>
          </p:nvSpPr>
          <p:spPr>
            <a:xfrm>
              <a:off x="15360615" y="5091565"/>
              <a:ext cx="172308" cy="600000"/>
            </a:xfrm>
            <a:custGeom>
              <a:avLst/>
              <a:gdLst>
                <a:gd name="connsiteX0" fmla="*/ 135385 w 172308"/>
                <a:gd name="connsiteY0" fmla="*/ 600000 h 600000"/>
                <a:gd name="connsiteX1" fmla="*/ 3078 w 172308"/>
                <a:gd name="connsiteY1" fmla="*/ 581538 h 600000"/>
                <a:gd name="connsiteX2" fmla="*/ 0 w 172308"/>
                <a:gd name="connsiteY2" fmla="*/ 581538 h 600000"/>
                <a:gd name="connsiteX3" fmla="*/ 0 w 172308"/>
                <a:gd name="connsiteY3" fmla="*/ 578462 h 600000"/>
                <a:gd name="connsiteX4" fmla="*/ 27693 w 172308"/>
                <a:gd name="connsiteY4" fmla="*/ 215385 h 600000"/>
                <a:gd name="connsiteX5" fmla="*/ 166155 w 172308"/>
                <a:gd name="connsiteY5" fmla="*/ 0 h 600000"/>
                <a:gd name="connsiteX6" fmla="*/ 172309 w 172308"/>
                <a:gd name="connsiteY6" fmla="*/ 3077 h 600000"/>
                <a:gd name="connsiteX7" fmla="*/ 169231 w 172308"/>
                <a:gd name="connsiteY7" fmla="*/ 9231 h 600000"/>
                <a:gd name="connsiteX8" fmla="*/ 40002 w 172308"/>
                <a:gd name="connsiteY8" fmla="*/ 215385 h 600000"/>
                <a:gd name="connsiteX9" fmla="*/ 15385 w 172308"/>
                <a:gd name="connsiteY9" fmla="*/ 572308 h 600000"/>
                <a:gd name="connsiteX10" fmla="*/ 144616 w 172308"/>
                <a:gd name="connsiteY10" fmla="*/ 587693 h 600000"/>
                <a:gd name="connsiteX11" fmla="*/ 144616 w 172308"/>
                <a:gd name="connsiteY11" fmla="*/ 587693 h 600000"/>
                <a:gd name="connsiteX12" fmla="*/ 150770 w 172308"/>
                <a:gd name="connsiteY12" fmla="*/ 593846 h 600000"/>
                <a:gd name="connsiteX13" fmla="*/ 144616 w 172308"/>
                <a:gd name="connsiteY13" fmla="*/ 600000 h 600000"/>
                <a:gd name="connsiteX14" fmla="*/ 135385 w 172308"/>
                <a:gd name="connsiteY14" fmla="*/ 600000 h 6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2308" h="600000">
                  <a:moveTo>
                    <a:pt x="135385" y="600000"/>
                  </a:moveTo>
                  <a:cubicBezTo>
                    <a:pt x="70771" y="600000"/>
                    <a:pt x="6154" y="581538"/>
                    <a:pt x="3078" y="581538"/>
                  </a:cubicBezTo>
                  <a:lnTo>
                    <a:pt x="0" y="581538"/>
                  </a:lnTo>
                  <a:lnTo>
                    <a:pt x="0" y="578462"/>
                  </a:lnTo>
                  <a:cubicBezTo>
                    <a:pt x="0" y="575385"/>
                    <a:pt x="6154" y="396923"/>
                    <a:pt x="27693" y="215385"/>
                  </a:cubicBezTo>
                  <a:cubicBezTo>
                    <a:pt x="49232" y="27692"/>
                    <a:pt x="160000" y="0"/>
                    <a:pt x="166155" y="0"/>
                  </a:cubicBezTo>
                  <a:cubicBezTo>
                    <a:pt x="169231" y="0"/>
                    <a:pt x="172309" y="0"/>
                    <a:pt x="172309" y="3077"/>
                  </a:cubicBezTo>
                  <a:cubicBezTo>
                    <a:pt x="172309" y="6154"/>
                    <a:pt x="172309" y="9231"/>
                    <a:pt x="169231" y="9231"/>
                  </a:cubicBezTo>
                  <a:cubicBezTo>
                    <a:pt x="169231" y="9231"/>
                    <a:pt x="61538" y="36923"/>
                    <a:pt x="40002" y="215385"/>
                  </a:cubicBezTo>
                  <a:cubicBezTo>
                    <a:pt x="21539" y="381538"/>
                    <a:pt x="15385" y="544615"/>
                    <a:pt x="15385" y="572308"/>
                  </a:cubicBezTo>
                  <a:cubicBezTo>
                    <a:pt x="30769" y="575385"/>
                    <a:pt x="89232" y="590769"/>
                    <a:pt x="144616" y="587693"/>
                  </a:cubicBezTo>
                  <a:lnTo>
                    <a:pt x="144616" y="587693"/>
                  </a:lnTo>
                  <a:cubicBezTo>
                    <a:pt x="147694" y="587693"/>
                    <a:pt x="150770" y="590769"/>
                    <a:pt x="150770" y="593846"/>
                  </a:cubicBezTo>
                  <a:cubicBezTo>
                    <a:pt x="150770" y="596923"/>
                    <a:pt x="147694" y="600000"/>
                    <a:pt x="144616" y="600000"/>
                  </a:cubicBezTo>
                  <a:cubicBezTo>
                    <a:pt x="138462" y="600000"/>
                    <a:pt x="138462" y="600000"/>
                    <a:pt x="135385" y="600000"/>
                  </a:cubicBezTo>
                  <a:close/>
                </a:path>
              </a:pathLst>
            </a:custGeom>
            <a:solidFill>
              <a:srgbClr val="38343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0" name="图形 1">
              <a:extLst>
                <a:ext uri="{FF2B5EF4-FFF2-40B4-BE49-F238E27FC236}">
                  <a16:creationId xmlns:a16="http://schemas.microsoft.com/office/drawing/2014/main" id="{414345AF-750E-4BB9-AF14-5807B8F4B9CD}"/>
                </a:ext>
              </a:extLst>
            </p:cNvPr>
            <p:cNvGrpSpPr/>
            <p:nvPr/>
          </p:nvGrpSpPr>
          <p:grpSpPr>
            <a:xfrm>
              <a:off x="15336000" y="6085739"/>
              <a:ext cx="167139" cy="135056"/>
              <a:chOff x="15336000" y="6085739"/>
              <a:chExt cx="167139" cy="135056"/>
            </a:xfrm>
          </p:grpSpPr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58659903-AB63-448C-9AB8-456B4E724886}"/>
                  </a:ext>
                </a:extLst>
              </p:cNvPr>
              <p:cNvSpPr/>
              <p:nvPr/>
            </p:nvSpPr>
            <p:spPr>
              <a:xfrm>
                <a:off x="15336000" y="6085739"/>
                <a:ext cx="162746" cy="132764"/>
              </a:xfrm>
              <a:custGeom>
                <a:avLst/>
                <a:gdLst>
                  <a:gd name="connsiteX0" fmla="*/ 40000 w 162746"/>
                  <a:gd name="connsiteY0" fmla="*/ 125826 h 132764"/>
                  <a:gd name="connsiteX1" fmla="*/ 64617 w 162746"/>
                  <a:gd name="connsiteY1" fmla="*/ 122749 h 132764"/>
                  <a:gd name="connsiteX2" fmla="*/ 73847 w 162746"/>
                  <a:gd name="connsiteY2" fmla="*/ 131980 h 132764"/>
                  <a:gd name="connsiteX3" fmla="*/ 110770 w 162746"/>
                  <a:gd name="connsiteY3" fmla="*/ 116595 h 132764"/>
                  <a:gd name="connsiteX4" fmla="*/ 113847 w 162746"/>
                  <a:gd name="connsiteY4" fmla="*/ 113518 h 132764"/>
                  <a:gd name="connsiteX5" fmla="*/ 116923 w 162746"/>
                  <a:gd name="connsiteY5" fmla="*/ 113518 h 132764"/>
                  <a:gd name="connsiteX6" fmla="*/ 153846 w 162746"/>
                  <a:gd name="connsiteY6" fmla="*/ 98134 h 132764"/>
                  <a:gd name="connsiteX7" fmla="*/ 160000 w 162746"/>
                  <a:gd name="connsiteY7" fmla="*/ 85826 h 132764"/>
                  <a:gd name="connsiteX8" fmla="*/ 160000 w 162746"/>
                  <a:gd name="connsiteY8" fmla="*/ 73518 h 132764"/>
                  <a:gd name="connsiteX9" fmla="*/ 153846 w 162746"/>
                  <a:gd name="connsiteY9" fmla="*/ 5826 h 132764"/>
                  <a:gd name="connsiteX10" fmla="*/ 120001 w 162746"/>
                  <a:gd name="connsiteY10" fmla="*/ 5826 h 132764"/>
                  <a:gd name="connsiteX11" fmla="*/ 107692 w 162746"/>
                  <a:gd name="connsiteY11" fmla="*/ 21210 h 132764"/>
                  <a:gd name="connsiteX12" fmla="*/ 76923 w 162746"/>
                  <a:gd name="connsiteY12" fmla="*/ 21210 h 132764"/>
                  <a:gd name="connsiteX13" fmla="*/ 67693 w 162746"/>
                  <a:gd name="connsiteY13" fmla="*/ 33518 h 132764"/>
                  <a:gd name="connsiteX14" fmla="*/ 40000 w 162746"/>
                  <a:gd name="connsiteY14" fmla="*/ 33518 h 132764"/>
                  <a:gd name="connsiteX15" fmla="*/ 30769 w 162746"/>
                  <a:gd name="connsiteY15" fmla="*/ 48903 h 132764"/>
                  <a:gd name="connsiteX16" fmla="*/ 9230 w 162746"/>
                  <a:gd name="connsiteY16" fmla="*/ 48903 h 132764"/>
                  <a:gd name="connsiteX17" fmla="*/ 0 w 162746"/>
                  <a:gd name="connsiteY17" fmla="*/ 70441 h 132764"/>
                  <a:gd name="connsiteX18" fmla="*/ 0 w 162746"/>
                  <a:gd name="connsiteY18" fmla="*/ 98134 h 132764"/>
                  <a:gd name="connsiteX19" fmla="*/ 9230 w 162746"/>
                  <a:gd name="connsiteY19" fmla="*/ 116595 h 132764"/>
                  <a:gd name="connsiteX20" fmla="*/ 30769 w 162746"/>
                  <a:gd name="connsiteY20" fmla="*/ 110441 h 132764"/>
                  <a:gd name="connsiteX21" fmla="*/ 40000 w 162746"/>
                  <a:gd name="connsiteY21" fmla="*/ 125826 h 132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62746" h="132764">
                    <a:moveTo>
                      <a:pt x="40000" y="125826"/>
                    </a:moveTo>
                    <a:cubicBezTo>
                      <a:pt x="49232" y="128903"/>
                      <a:pt x="55384" y="125826"/>
                      <a:pt x="64617" y="122749"/>
                    </a:cubicBezTo>
                    <a:cubicBezTo>
                      <a:pt x="67693" y="125826"/>
                      <a:pt x="70769" y="128903"/>
                      <a:pt x="73847" y="131980"/>
                    </a:cubicBezTo>
                    <a:cubicBezTo>
                      <a:pt x="89232" y="135057"/>
                      <a:pt x="104616" y="128903"/>
                      <a:pt x="110770" y="116595"/>
                    </a:cubicBezTo>
                    <a:cubicBezTo>
                      <a:pt x="110770" y="116595"/>
                      <a:pt x="110770" y="113518"/>
                      <a:pt x="113847" y="113518"/>
                    </a:cubicBezTo>
                    <a:cubicBezTo>
                      <a:pt x="113847" y="113518"/>
                      <a:pt x="113847" y="113518"/>
                      <a:pt x="116923" y="113518"/>
                    </a:cubicBezTo>
                    <a:cubicBezTo>
                      <a:pt x="132307" y="116595"/>
                      <a:pt x="147692" y="110441"/>
                      <a:pt x="153846" y="98134"/>
                    </a:cubicBezTo>
                    <a:cubicBezTo>
                      <a:pt x="156924" y="95056"/>
                      <a:pt x="156924" y="91980"/>
                      <a:pt x="160000" y="85826"/>
                    </a:cubicBezTo>
                    <a:cubicBezTo>
                      <a:pt x="160000" y="82749"/>
                      <a:pt x="160000" y="76595"/>
                      <a:pt x="160000" y="73518"/>
                    </a:cubicBezTo>
                    <a:cubicBezTo>
                      <a:pt x="160000" y="48903"/>
                      <a:pt x="169231" y="21210"/>
                      <a:pt x="153846" y="5826"/>
                    </a:cubicBezTo>
                    <a:cubicBezTo>
                      <a:pt x="147692" y="-328"/>
                      <a:pt x="132307" y="-3405"/>
                      <a:pt x="120001" y="5826"/>
                    </a:cubicBezTo>
                    <a:cubicBezTo>
                      <a:pt x="113847" y="8903"/>
                      <a:pt x="110770" y="15057"/>
                      <a:pt x="107692" y="21210"/>
                    </a:cubicBezTo>
                    <a:cubicBezTo>
                      <a:pt x="98462" y="15057"/>
                      <a:pt x="89232" y="15057"/>
                      <a:pt x="76923" y="21210"/>
                    </a:cubicBezTo>
                    <a:cubicBezTo>
                      <a:pt x="70769" y="24288"/>
                      <a:pt x="67693" y="27364"/>
                      <a:pt x="67693" y="33518"/>
                    </a:cubicBezTo>
                    <a:cubicBezTo>
                      <a:pt x="61538" y="27364"/>
                      <a:pt x="49232" y="27364"/>
                      <a:pt x="40000" y="33518"/>
                    </a:cubicBezTo>
                    <a:cubicBezTo>
                      <a:pt x="33847" y="36595"/>
                      <a:pt x="30769" y="42749"/>
                      <a:pt x="30769" y="48903"/>
                    </a:cubicBezTo>
                    <a:cubicBezTo>
                      <a:pt x="24615" y="45826"/>
                      <a:pt x="18463" y="42749"/>
                      <a:pt x="9230" y="48903"/>
                    </a:cubicBezTo>
                    <a:cubicBezTo>
                      <a:pt x="0" y="55057"/>
                      <a:pt x="3078" y="61211"/>
                      <a:pt x="0" y="70441"/>
                    </a:cubicBezTo>
                    <a:cubicBezTo>
                      <a:pt x="0" y="79672"/>
                      <a:pt x="0" y="88903"/>
                      <a:pt x="0" y="98134"/>
                    </a:cubicBezTo>
                    <a:cubicBezTo>
                      <a:pt x="0" y="104287"/>
                      <a:pt x="0" y="116595"/>
                      <a:pt x="9230" y="116595"/>
                    </a:cubicBezTo>
                    <a:cubicBezTo>
                      <a:pt x="15385" y="119672"/>
                      <a:pt x="24615" y="116595"/>
                      <a:pt x="30769" y="110441"/>
                    </a:cubicBezTo>
                    <a:cubicBezTo>
                      <a:pt x="30769" y="116595"/>
                      <a:pt x="30769" y="122749"/>
                      <a:pt x="40000" y="12582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0A0FE8A2-79C2-4577-8CC8-119CB9E9911F}"/>
                  </a:ext>
                </a:extLst>
              </p:cNvPr>
              <p:cNvSpPr/>
              <p:nvPr/>
            </p:nvSpPr>
            <p:spPr>
              <a:xfrm>
                <a:off x="15394165" y="6096444"/>
                <a:ext cx="108973" cy="124351"/>
              </a:xfrm>
              <a:custGeom>
                <a:avLst/>
                <a:gdLst>
                  <a:gd name="connsiteX0" fmla="*/ 24912 w 108973"/>
                  <a:gd name="connsiteY0" fmla="*/ 124352 h 124351"/>
                  <a:gd name="connsiteX1" fmla="*/ 297 w 108973"/>
                  <a:gd name="connsiteY1" fmla="*/ 78197 h 124351"/>
                  <a:gd name="connsiteX2" fmla="*/ 34142 w 108973"/>
                  <a:gd name="connsiteY2" fmla="*/ 1274 h 124351"/>
                  <a:gd name="connsiteX3" fmla="*/ 55681 w 108973"/>
                  <a:gd name="connsiteY3" fmla="*/ 4351 h 124351"/>
                  <a:gd name="connsiteX4" fmla="*/ 58757 w 108973"/>
                  <a:gd name="connsiteY4" fmla="*/ 13582 h 124351"/>
                  <a:gd name="connsiteX5" fmla="*/ 61835 w 108973"/>
                  <a:gd name="connsiteY5" fmla="*/ 90505 h 124351"/>
                  <a:gd name="connsiteX6" fmla="*/ 77220 w 108973"/>
                  <a:gd name="connsiteY6" fmla="*/ 96659 h 124351"/>
                  <a:gd name="connsiteX7" fmla="*/ 86450 w 108973"/>
                  <a:gd name="connsiteY7" fmla="*/ 90505 h 124351"/>
                  <a:gd name="connsiteX8" fmla="*/ 95681 w 108973"/>
                  <a:gd name="connsiteY8" fmla="*/ 22813 h 124351"/>
                  <a:gd name="connsiteX9" fmla="*/ 101835 w 108973"/>
                  <a:gd name="connsiteY9" fmla="*/ 16659 h 124351"/>
                  <a:gd name="connsiteX10" fmla="*/ 107989 w 108973"/>
                  <a:gd name="connsiteY10" fmla="*/ 22813 h 124351"/>
                  <a:gd name="connsiteX11" fmla="*/ 95681 w 108973"/>
                  <a:gd name="connsiteY11" fmla="*/ 99736 h 124351"/>
                  <a:gd name="connsiteX12" fmla="*/ 74142 w 108973"/>
                  <a:gd name="connsiteY12" fmla="*/ 108967 h 124351"/>
                  <a:gd name="connsiteX13" fmla="*/ 61835 w 108973"/>
                  <a:gd name="connsiteY13" fmla="*/ 108967 h 124351"/>
                  <a:gd name="connsiteX14" fmla="*/ 24912 w 108973"/>
                  <a:gd name="connsiteY14" fmla="*/ 124352 h 124351"/>
                  <a:gd name="connsiteX15" fmla="*/ 24912 w 108973"/>
                  <a:gd name="connsiteY15" fmla="*/ 124352 h 124351"/>
                  <a:gd name="connsiteX16" fmla="*/ 40296 w 108973"/>
                  <a:gd name="connsiteY16" fmla="*/ 10505 h 124351"/>
                  <a:gd name="connsiteX17" fmla="*/ 34142 w 108973"/>
                  <a:gd name="connsiteY17" fmla="*/ 10505 h 124351"/>
                  <a:gd name="connsiteX18" fmla="*/ 9527 w 108973"/>
                  <a:gd name="connsiteY18" fmla="*/ 75121 h 124351"/>
                  <a:gd name="connsiteX19" fmla="*/ 21835 w 108973"/>
                  <a:gd name="connsiteY19" fmla="*/ 112044 h 124351"/>
                  <a:gd name="connsiteX20" fmla="*/ 21835 w 108973"/>
                  <a:gd name="connsiteY20" fmla="*/ 112044 h 124351"/>
                  <a:gd name="connsiteX21" fmla="*/ 49527 w 108973"/>
                  <a:gd name="connsiteY21" fmla="*/ 99736 h 124351"/>
                  <a:gd name="connsiteX22" fmla="*/ 49527 w 108973"/>
                  <a:gd name="connsiteY22" fmla="*/ 99736 h 124351"/>
                  <a:gd name="connsiteX23" fmla="*/ 43372 w 108973"/>
                  <a:gd name="connsiteY23" fmla="*/ 13582 h 124351"/>
                  <a:gd name="connsiteX24" fmla="*/ 40296 w 108973"/>
                  <a:gd name="connsiteY24" fmla="*/ 10505 h 124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08973" h="124351">
                    <a:moveTo>
                      <a:pt x="24912" y="124352"/>
                    </a:moveTo>
                    <a:cubicBezTo>
                      <a:pt x="297" y="124352"/>
                      <a:pt x="297" y="99736"/>
                      <a:pt x="297" y="78197"/>
                    </a:cubicBezTo>
                    <a:cubicBezTo>
                      <a:pt x="-2781" y="19736"/>
                      <a:pt x="18757" y="4351"/>
                      <a:pt x="34142" y="1274"/>
                    </a:cubicBezTo>
                    <a:cubicBezTo>
                      <a:pt x="43372" y="-1802"/>
                      <a:pt x="52605" y="1274"/>
                      <a:pt x="55681" y="4351"/>
                    </a:cubicBezTo>
                    <a:cubicBezTo>
                      <a:pt x="58757" y="7428"/>
                      <a:pt x="58757" y="10505"/>
                      <a:pt x="58757" y="13582"/>
                    </a:cubicBezTo>
                    <a:cubicBezTo>
                      <a:pt x="49527" y="65890"/>
                      <a:pt x="55681" y="84351"/>
                      <a:pt x="61835" y="90505"/>
                    </a:cubicBezTo>
                    <a:cubicBezTo>
                      <a:pt x="64911" y="93582"/>
                      <a:pt x="71066" y="93582"/>
                      <a:pt x="77220" y="96659"/>
                    </a:cubicBezTo>
                    <a:cubicBezTo>
                      <a:pt x="80296" y="96659"/>
                      <a:pt x="83374" y="93582"/>
                      <a:pt x="86450" y="90505"/>
                    </a:cubicBezTo>
                    <a:cubicBezTo>
                      <a:pt x="98759" y="75121"/>
                      <a:pt x="98759" y="38197"/>
                      <a:pt x="95681" y="22813"/>
                    </a:cubicBezTo>
                    <a:cubicBezTo>
                      <a:pt x="95681" y="19736"/>
                      <a:pt x="98759" y="16659"/>
                      <a:pt x="101835" y="16659"/>
                    </a:cubicBezTo>
                    <a:cubicBezTo>
                      <a:pt x="104911" y="16659"/>
                      <a:pt x="107989" y="19736"/>
                      <a:pt x="107989" y="22813"/>
                    </a:cubicBezTo>
                    <a:cubicBezTo>
                      <a:pt x="107989" y="28967"/>
                      <a:pt x="114143" y="78197"/>
                      <a:pt x="95681" y="99736"/>
                    </a:cubicBezTo>
                    <a:cubicBezTo>
                      <a:pt x="89526" y="105890"/>
                      <a:pt x="83374" y="108967"/>
                      <a:pt x="74142" y="108967"/>
                    </a:cubicBezTo>
                    <a:cubicBezTo>
                      <a:pt x="71066" y="108967"/>
                      <a:pt x="67989" y="108967"/>
                      <a:pt x="61835" y="108967"/>
                    </a:cubicBezTo>
                    <a:cubicBezTo>
                      <a:pt x="61835" y="108967"/>
                      <a:pt x="43372" y="124352"/>
                      <a:pt x="24912" y="124352"/>
                    </a:cubicBezTo>
                    <a:cubicBezTo>
                      <a:pt x="24912" y="124352"/>
                      <a:pt x="24912" y="124352"/>
                      <a:pt x="24912" y="124352"/>
                    </a:cubicBezTo>
                    <a:close/>
                    <a:moveTo>
                      <a:pt x="40296" y="10505"/>
                    </a:moveTo>
                    <a:cubicBezTo>
                      <a:pt x="37220" y="10505"/>
                      <a:pt x="37220" y="10505"/>
                      <a:pt x="34142" y="10505"/>
                    </a:cubicBezTo>
                    <a:cubicBezTo>
                      <a:pt x="12603" y="16659"/>
                      <a:pt x="9527" y="53582"/>
                      <a:pt x="9527" y="75121"/>
                    </a:cubicBezTo>
                    <a:cubicBezTo>
                      <a:pt x="9527" y="105890"/>
                      <a:pt x="12603" y="112044"/>
                      <a:pt x="21835" y="112044"/>
                    </a:cubicBezTo>
                    <a:lnTo>
                      <a:pt x="21835" y="112044"/>
                    </a:lnTo>
                    <a:cubicBezTo>
                      <a:pt x="31066" y="112044"/>
                      <a:pt x="43372" y="102813"/>
                      <a:pt x="49527" y="99736"/>
                    </a:cubicBezTo>
                    <a:cubicBezTo>
                      <a:pt x="49527" y="99736"/>
                      <a:pt x="49527" y="99736"/>
                      <a:pt x="49527" y="99736"/>
                    </a:cubicBezTo>
                    <a:cubicBezTo>
                      <a:pt x="37220" y="87428"/>
                      <a:pt x="37220" y="59736"/>
                      <a:pt x="43372" y="13582"/>
                    </a:cubicBezTo>
                    <a:cubicBezTo>
                      <a:pt x="46451" y="13582"/>
                      <a:pt x="43372" y="10505"/>
                      <a:pt x="40296" y="1050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6AC557AE-0312-44EC-BB05-FE4772A72D6D}"/>
                  </a:ext>
                </a:extLst>
              </p:cNvPr>
              <p:cNvSpPr/>
              <p:nvPr/>
            </p:nvSpPr>
            <p:spPr>
              <a:xfrm>
                <a:off x="15354337" y="6110026"/>
                <a:ext cx="55509" cy="107692"/>
              </a:xfrm>
              <a:custGeom>
                <a:avLst/>
                <a:gdLst>
                  <a:gd name="connsiteX0" fmla="*/ 30895 w 55509"/>
                  <a:gd name="connsiteY0" fmla="*/ 107692 h 107692"/>
                  <a:gd name="connsiteX1" fmla="*/ 18586 w 55509"/>
                  <a:gd name="connsiteY1" fmla="*/ 104615 h 107692"/>
                  <a:gd name="connsiteX2" fmla="*/ 3202 w 55509"/>
                  <a:gd name="connsiteY2" fmla="*/ 86153 h 107692"/>
                  <a:gd name="connsiteX3" fmla="*/ 9356 w 55509"/>
                  <a:gd name="connsiteY3" fmla="*/ 9230 h 107692"/>
                  <a:gd name="connsiteX4" fmla="*/ 24740 w 55509"/>
                  <a:gd name="connsiteY4" fmla="*/ 0 h 107692"/>
                  <a:gd name="connsiteX5" fmla="*/ 52432 w 55509"/>
                  <a:gd name="connsiteY5" fmla="*/ 6154 h 107692"/>
                  <a:gd name="connsiteX6" fmla="*/ 52432 w 55509"/>
                  <a:gd name="connsiteY6" fmla="*/ 15385 h 107692"/>
                  <a:gd name="connsiteX7" fmla="*/ 43201 w 55509"/>
                  <a:gd name="connsiteY7" fmla="*/ 15385 h 107692"/>
                  <a:gd name="connsiteX8" fmla="*/ 24740 w 55509"/>
                  <a:gd name="connsiteY8" fmla="*/ 12308 h 107692"/>
                  <a:gd name="connsiteX9" fmla="*/ 18586 w 55509"/>
                  <a:gd name="connsiteY9" fmla="*/ 15385 h 107692"/>
                  <a:gd name="connsiteX10" fmla="*/ 15510 w 55509"/>
                  <a:gd name="connsiteY10" fmla="*/ 86153 h 107692"/>
                  <a:gd name="connsiteX11" fmla="*/ 21662 w 55509"/>
                  <a:gd name="connsiteY11" fmla="*/ 95384 h 107692"/>
                  <a:gd name="connsiteX12" fmla="*/ 46279 w 55509"/>
                  <a:gd name="connsiteY12" fmla="*/ 92308 h 107692"/>
                  <a:gd name="connsiteX13" fmla="*/ 55510 w 55509"/>
                  <a:gd name="connsiteY13" fmla="*/ 95384 h 107692"/>
                  <a:gd name="connsiteX14" fmla="*/ 52432 w 55509"/>
                  <a:gd name="connsiteY14" fmla="*/ 104615 h 107692"/>
                  <a:gd name="connsiteX15" fmla="*/ 30895 w 55509"/>
                  <a:gd name="connsiteY15" fmla="*/ 107692 h 107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5509" h="107692">
                    <a:moveTo>
                      <a:pt x="30895" y="107692"/>
                    </a:moveTo>
                    <a:cubicBezTo>
                      <a:pt x="27817" y="107692"/>
                      <a:pt x="21662" y="107692"/>
                      <a:pt x="18586" y="104615"/>
                    </a:cubicBezTo>
                    <a:cubicBezTo>
                      <a:pt x="12432" y="101538"/>
                      <a:pt x="6278" y="95384"/>
                      <a:pt x="3202" y="86153"/>
                    </a:cubicBezTo>
                    <a:cubicBezTo>
                      <a:pt x="-2953" y="58461"/>
                      <a:pt x="125" y="21538"/>
                      <a:pt x="9356" y="9230"/>
                    </a:cubicBezTo>
                    <a:cubicBezTo>
                      <a:pt x="12432" y="3077"/>
                      <a:pt x="18586" y="0"/>
                      <a:pt x="24740" y="0"/>
                    </a:cubicBezTo>
                    <a:cubicBezTo>
                      <a:pt x="33971" y="0"/>
                      <a:pt x="46279" y="0"/>
                      <a:pt x="52432" y="6154"/>
                    </a:cubicBezTo>
                    <a:cubicBezTo>
                      <a:pt x="55510" y="9230"/>
                      <a:pt x="55510" y="12308"/>
                      <a:pt x="52432" y="15385"/>
                    </a:cubicBezTo>
                    <a:cubicBezTo>
                      <a:pt x="49355" y="18461"/>
                      <a:pt x="46279" y="18461"/>
                      <a:pt x="43201" y="15385"/>
                    </a:cubicBezTo>
                    <a:cubicBezTo>
                      <a:pt x="43201" y="15385"/>
                      <a:pt x="33971" y="12308"/>
                      <a:pt x="24740" y="12308"/>
                    </a:cubicBezTo>
                    <a:cubicBezTo>
                      <a:pt x="21662" y="12308"/>
                      <a:pt x="18586" y="15385"/>
                      <a:pt x="18586" y="15385"/>
                    </a:cubicBezTo>
                    <a:cubicBezTo>
                      <a:pt x="12432" y="24615"/>
                      <a:pt x="9356" y="58461"/>
                      <a:pt x="15510" y="86153"/>
                    </a:cubicBezTo>
                    <a:cubicBezTo>
                      <a:pt x="15510" y="92308"/>
                      <a:pt x="18586" y="95384"/>
                      <a:pt x="21662" y="95384"/>
                    </a:cubicBezTo>
                    <a:cubicBezTo>
                      <a:pt x="30895" y="98461"/>
                      <a:pt x="46279" y="92308"/>
                      <a:pt x="46279" y="92308"/>
                    </a:cubicBezTo>
                    <a:cubicBezTo>
                      <a:pt x="49355" y="92308"/>
                      <a:pt x="52432" y="92308"/>
                      <a:pt x="55510" y="95384"/>
                    </a:cubicBezTo>
                    <a:cubicBezTo>
                      <a:pt x="55510" y="98461"/>
                      <a:pt x="55510" y="101538"/>
                      <a:pt x="52432" y="104615"/>
                    </a:cubicBezTo>
                    <a:cubicBezTo>
                      <a:pt x="52432" y="104615"/>
                      <a:pt x="43201" y="107692"/>
                      <a:pt x="30895" y="10769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A3EF55FE-1D3C-4DF7-A3B1-EDBD73C97D38}"/>
                </a:ext>
              </a:extLst>
            </p:cNvPr>
            <p:cNvSpPr/>
            <p:nvPr/>
          </p:nvSpPr>
          <p:spPr>
            <a:xfrm>
              <a:off x="17169847" y="6633103"/>
              <a:ext cx="59758" cy="190204"/>
            </a:xfrm>
            <a:custGeom>
              <a:avLst/>
              <a:gdLst>
                <a:gd name="connsiteX0" fmla="*/ 46154 w 59758"/>
                <a:gd name="connsiteY0" fmla="*/ 0 h 190204"/>
                <a:gd name="connsiteX1" fmla="*/ 0 w 59758"/>
                <a:gd name="connsiteY1" fmla="*/ 86153 h 190204"/>
                <a:gd name="connsiteX2" fmla="*/ 36922 w 59758"/>
                <a:gd name="connsiteY2" fmla="*/ 187693 h 190204"/>
                <a:gd name="connsiteX3" fmla="*/ 58460 w 59758"/>
                <a:gd name="connsiteY3" fmla="*/ 163077 h 190204"/>
                <a:gd name="connsiteX4" fmla="*/ 46154 w 59758"/>
                <a:gd name="connsiteY4" fmla="*/ 0 h 19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58" h="190204">
                  <a:moveTo>
                    <a:pt x="46154" y="0"/>
                  </a:moveTo>
                  <a:cubicBezTo>
                    <a:pt x="46154" y="0"/>
                    <a:pt x="0" y="52307"/>
                    <a:pt x="0" y="86153"/>
                  </a:cubicBezTo>
                  <a:cubicBezTo>
                    <a:pt x="0" y="120000"/>
                    <a:pt x="9230" y="178461"/>
                    <a:pt x="36922" y="187693"/>
                  </a:cubicBezTo>
                  <a:cubicBezTo>
                    <a:pt x="67691" y="200000"/>
                    <a:pt x="58460" y="163077"/>
                    <a:pt x="58460" y="163077"/>
                  </a:cubicBezTo>
                  <a:lnTo>
                    <a:pt x="46154" y="0"/>
                  </a:lnTo>
                  <a:close/>
                </a:path>
              </a:pathLst>
            </a:custGeom>
            <a:solidFill>
              <a:srgbClr val="F49F84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2" name="图形 1">
              <a:extLst>
                <a:ext uri="{FF2B5EF4-FFF2-40B4-BE49-F238E27FC236}">
                  <a16:creationId xmlns:a16="http://schemas.microsoft.com/office/drawing/2014/main" id="{9272D9E9-C80E-49C0-AB5D-0322156E335F}"/>
                </a:ext>
              </a:extLst>
            </p:cNvPr>
            <p:cNvGrpSpPr/>
            <p:nvPr/>
          </p:nvGrpSpPr>
          <p:grpSpPr>
            <a:xfrm>
              <a:off x="16991384" y="6757169"/>
              <a:ext cx="607139" cy="361746"/>
              <a:chOff x="16991384" y="6757169"/>
              <a:chExt cx="607139" cy="361746"/>
            </a:xfrm>
          </p:grpSpPr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0A0D00DD-7FC4-48F3-B9C6-989ABC820A99}"/>
                  </a:ext>
                </a:extLst>
              </p:cNvPr>
              <p:cNvSpPr/>
              <p:nvPr/>
            </p:nvSpPr>
            <p:spPr>
              <a:xfrm>
                <a:off x="16991384" y="6769631"/>
                <a:ext cx="607139" cy="349284"/>
              </a:xfrm>
              <a:custGeom>
                <a:avLst/>
                <a:gdLst>
                  <a:gd name="connsiteX0" fmla="*/ 0 w 607139"/>
                  <a:gd name="connsiteY0" fmla="*/ 51165 h 349284"/>
                  <a:gd name="connsiteX1" fmla="*/ 30769 w 607139"/>
                  <a:gd name="connsiteY1" fmla="*/ 337318 h 349284"/>
                  <a:gd name="connsiteX2" fmla="*/ 606154 w 607139"/>
                  <a:gd name="connsiteY2" fmla="*/ 325011 h 349284"/>
                  <a:gd name="connsiteX3" fmla="*/ 593848 w 607139"/>
                  <a:gd name="connsiteY3" fmla="*/ 11164 h 349284"/>
                  <a:gd name="connsiteX4" fmla="*/ 0 w 607139"/>
                  <a:gd name="connsiteY4" fmla="*/ 51165 h 349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7139" h="349284">
                    <a:moveTo>
                      <a:pt x="0" y="51165"/>
                    </a:moveTo>
                    <a:cubicBezTo>
                      <a:pt x="0" y="51165"/>
                      <a:pt x="3078" y="229626"/>
                      <a:pt x="30769" y="337318"/>
                    </a:cubicBezTo>
                    <a:cubicBezTo>
                      <a:pt x="30769" y="337318"/>
                      <a:pt x="353846" y="371165"/>
                      <a:pt x="606154" y="325011"/>
                    </a:cubicBezTo>
                    <a:cubicBezTo>
                      <a:pt x="606154" y="325011"/>
                      <a:pt x="612309" y="121934"/>
                      <a:pt x="593848" y="11164"/>
                    </a:cubicBezTo>
                    <a:cubicBezTo>
                      <a:pt x="590770" y="11164"/>
                      <a:pt x="169231" y="-31912"/>
                      <a:pt x="0" y="51165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C34DA703-2B76-4E86-97C6-376C1BE57C0D}"/>
                  </a:ext>
                </a:extLst>
              </p:cNvPr>
              <p:cNvSpPr/>
              <p:nvPr/>
            </p:nvSpPr>
            <p:spPr>
              <a:xfrm>
                <a:off x="16991384" y="6757169"/>
                <a:ext cx="590769" cy="229813"/>
              </a:xfrm>
              <a:custGeom>
                <a:avLst/>
                <a:gdLst>
                  <a:gd name="connsiteX0" fmla="*/ 0 w 590769"/>
                  <a:gd name="connsiteY0" fmla="*/ 63627 h 229813"/>
                  <a:gd name="connsiteX1" fmla="*/ 590770 w 590769"/>
                  <a:gd name="connsiteY1" fmla="*/ 23626 h 229813"/>
                  <a:gd name="connsiteX2" fmla="*/ 301540 w 590769"/>
                  <a:gd name="connsiteY2" fmla="*/ 229780 h 229813"/>
                  <a:gd name="connsiteX3" fmla="*/ 0 w 590769"/>
                  <a:gd name="connsiteY3" fmla="*/ 63627 h 229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0769" h="229813">
                    <a:moveTo>
                      <a:pt x="0" y="63627"/>
                    </a:moveTo>
                    <a:cubicBezTo>
                      <a:pt x="0" y="63627"/>
                      <a:pt x="212308" y="-47143"/>
                      <a:pt x="590770" y="23626"/>
                    </a:cubicBezTo>
                    <a:cubicBezTo>
                      <a:pt x="590770" y="23626"/>
                      <a:pt x="344616" y="232857"/>
                      <a:pt x="301540" y="229780"/>
                    </a:cubicBezTo>
                    <a:cubicBezTo>
                      <a:pt x="258462" y="229780"/>
                      <a:pt x="0" y="63627"/>
                      <a:pt x="0" y="63627"/>
                    </a:cubicBezTo>
                    <a:close/>
                  </a:path>
                </a:pathLst>
              </a:custGeom>
              <a:solidFill>
                <a:srgbClr val="7F737D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AD2BCA6E-57BB-4F95-9D80-6E7366FD46BA}"/>
                  </a:ext>
                </a:extLst>
              </p:cNvPr>
              <p:cNvSpPr/>
              <p:nvPr/>
            </p:nvSpPr>
            <p:spPr>
              <a:xfrm>
                <a:off x="17252923" y="6946949"/>
                <a:ext cx="80001" cy="80000"/>
              </a:xfrm>
              <a:custGeom>
                <a:avLst/>
                <a:gdLst>
                  <a:gd name="connsiteX0" fmla="*/ 80001 w 80001"/>
                  <a:gd name="connsiteY0" fmla="*/ 40001 h 80000"/>
                  <a:gd name="connsiteX1" fmla="*/ 40002 w 80001"/>
                  <a:gd name="connsiteY1" fmla="*/ 0 h 80000"/>
                  <a:gd name="connsiteX2" fmla="*/ 0 w 80001"/>
                  <a:gd name="connsiteY2" fmla="*/ 40001 h 80000"/>
                  <a:gd name="connsiteX3" fmla="*/ 40002 w 80001"/>
                  <a:gd name="connsiteY3" fmla="*/ 80000 h 80000"/>
                  <a:gd name="connsiteX4" fmla="*/ 80001 w 80001"/>
                  <a:gd name="connsiteY4" fmla="*/ 40001 h 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001" h="80000">
                    <a:moveTo>
                      <a:pt x="80001" y="40001"/>
                    </a:moveTo>
                    <a:cubicBezTo>
                      <a:pt x="80001" y="18462"/>
                      <a:pt x="61538" y="0"/>
                      <a:pt x="40002" y="0"/>
                    </a:cubicBezTo>
                    <a:cubicBezTo>
                      <a:pt x="18463" y="0"/>
                      <a:pt x="0" y="18462"/>
                      <a:pt x="0" y="40001"/>
                    </a:cubicBezTo>
                    <a:cubicBezTo>
                      <a:pt x="0" y="61538"/>
                      <a:pt x="18463" y="80000"/>
                      <a:pt x="40002" y="80000"/>
                    </a:cubicBezTo>
                    <a:cubicBezTo>
                      <a:pt x="61538" y="80000"/>
                      <a:pt x="80001" y="61538"/>
                      <a:pt x="80001" y="40001"/>
                    </a:cubicBezTo>
                    <a:close/>
                  </a:path>
                </a:pathLst>
              </a:custGeom>
              <a:solidFill>
                <a:srgbClr val="F1DDBB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3" name="图形 1">
              <a:extLst>
                <a:ext uri="{FF2B5EF4-FFF2-40B4-BE49-F238E27FC236}">
                  <a16:creationId xmlns:a16="http://schemas.microsoft.com/office/drawing/2014/main" id="{3D1B11F2-854E-4F8A-8DB2-085D8BF11ED4}"/>
                </a:ext>
              </a:extLst>
            </p:cNvPr>
            <p:cNvGrpSpPr/>
            <p:nvPr/>
          </p:nvGrpSpPr>
          <p:grpSpPr>
            <a:xfrm>
              <a:off x="17193163" y="6583059"/>
              <a:ext cx="190789" cy="317973"/>
              <a:chOff x="17193163" y="6583059"/>
              <a:chExt cx="190789" cy="317973"/>
            </a:xfrm>
          </p:grpSpPr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71A29858-C910-49E1-8942-9E6A098D44DD}"/>
                  </a:ext>
                </a:extLst>
              </p:cNvPr>
              <p:cNvSpPr/>
              <p:nvPr/>
            </p:nvSpPr>
            <p:spPr>
              <a:xfrm>
                <a:off x="17203336" y="6583059"/>
                <a:ext cx="180616" cy="317973"/>
              </a:xfrm>
              <a:custGeom>
                <a:avLst/>
                <a:gdLst>
                  <a:gd name="connsiteX0" fmla="*/ 117279 w 180616"/>
                  <a:gd name="connsiteY0" fmla="*/ 814 h 317973"/>
                  <a:gd name="connsiteX1" fmla="*/ 6511 w 180616"/>
                  <a:gd name="connsiteY1" fmla="*/ 25429 h 317973"/>
                  <a:gd name="connsiteX2" fmla="*/ 3433 w 180616"/>
                  <a:gd name="connsiteY2" fmla="*/ 234660 h 317973"/>
                  <a:gd name="connsiteX3" fmla="*/ 34202 w 180616"/>
                  <a:gd name="connsiteY3" fmla="*/ 286967 h 317973"/>
                  <a:gd name="connsiteX4" fmla="*/ 43434 w 180616"/>
                  <a:gd name="connsiteY4" fmla="*/ 271583 h 317973"/>
                  <a:gd name="connsiteX5" fmla="*/ 46510 w 180616"/>
                  <a:gd name="connsiteY5" fmla="*/ 234660 h 317973"/>
                  <a:gd name="connsiteX6" fmla="*/ 64971 w 180616"/>
                  <a:gd name="connsiteY6" fmla="*/ 280814 h 317973"/>
                  <a:gd name="connsiteX7" fmla="*/ 104973 w 180616"/>
                  <a:gd name="connsiteY7" fmla="*/ 317737 h 317973"/>
                  <a:gd name="connsiteX8" fmla="*/ 117279 w 180616"/>
                  <a:gd name="connsiteY8" fmla="*/ 293122 h 317973"/>
                  <a:gd name="connsiteX9" fmla="*/ 132664 w 180616"/>
                  <a:gd name="connsiteY9" fmla="*/ 293122 h 317973"/>
                  <a:gd name="connsiteX10" fmla="*/ 141894 w 180616"/>
                  <a:gd name="connsiteY10" fmla="*/ 231583 h 317973"/>
                  <a:gd name="connsiteX11" fmla="*/ 135742 w 180616"/>
                  <a:gd name="connsiteY11" fmla="*/ 188506 h 317973"/>
                  <a:gd name="connsiteX12" fmla="*/ 175741 w 180616"/>
                  <a:gd name="connsiteY12" fmla="*/ 225429 h 317973"/>
                  <a:gd name="connsiteX13" fmla="*/ 175741 w 180616"/>
                  <a:gd name="connsiteY13" fmla="*/ 182352 h 317973"/>
                  <a:gd name="connsiteX14" fmla="*/ 154203 w 180616"/>
                  <a:gd name="connsiteY14" fmla="*/ 105429 h 317973"/>
                  <a:gd name="connsiteX15" fmla="*/ 141894 w 180616"/>
                  <a:gd name="connsiteY15" fmla="*/ 28506 h 317973"/>
                  <a:gd name="connsiteX16" fmla="*/ 117279 w 180616"/>
                  <a:gd name="connsiteY16" fmla="*/ 814 h 317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80616" h="317973">
                    <a:moveTo>
                      <a:pt x="117279" y="814"/>
                    </a:moveTo>
                    <a:cubicBezTo>
                      <a:pt x="80356" y="-5340"/>
                      <a:pt x="3433" y="25429"/>
                      <a:pt x="6511" y="25429"/>
                    </a:cubicBezTo>
                    <a:cubicBezTo>
                      <a:pt x="6511" y="96199"/>
                      <a:pt x="-5798" y="166967"/>
                      <a:pt x="3433" y="234660"/>
                    </a:cubicBezTo>
                    <a:cubicBezTo>
                      <a:pt x="6511" y="246968"/>
                      <a:pt x="9587" y="296199"/>
                      <a:pt x="34202" y="286967"/>
                    </a:cubicBezTo>
                    <a:cubicBezTo>
                      <a:pt x="43434" y="283891"/>
                      <a:pt x="43434" y="277737"/>
                      <a:pt x="43434" y="271583"/>
                    </a:cubicBezTo>
                    <a:cubicBezTo>
                      <a:pt x="46510" y="259275"/>
                      <a:pt x="46510" y="246968"/>
                      <a:pt x="46510" y="234660"/>
                    </a:cubicBezTo>
                    <a:cubicBezTo>
                      <a:pt x="52664" y="250045"/>
                      <a:pt x="58819" y="265429"/>
                      <a:pt x="64971" y="280814"/>
                    </a:cubicBezTo>
                    <a:cubicBezTo>
                      <a:pt x="71125" y="293122"/>
                      <a:pt x="86510" y="320814"/>
                      <a:pt x="104973" y="317737"/>
                    </a:cubicBezTo>
                    <a:cubicBezTo>
                      <a:pt x="114203" y="317737"/>
                      <a:pt x="117279" y="308506"/>
                      <a:pt x="117279" y="293122"/>
                    </a:cubicBezTo>
                    <a:cubicBezTo>
                      <a:pt x="120357" y="296199"/>
                      <a:pt x="126510" y="296199"/>
                      <a:pt x="132664" y="293122"/>
                    </a:cubicBezTo>
                    <a:cubicBezTo>
                      <a:pt x="148048" y="280814"/>
                      <a:pt x="141894" y="246968"/>
                      <a:pt x="141894" y="231583"/>
                    </a:cubicBezTo>
                    <a:cubicBezTo>
                      <a:pt x="141894" y="216198"/>
                      <a:pt x="138818" y="200814"/>
                      <a:pt x="135742" y="188506"/>
                    </a:cubicBezTo>
                    <a:cubicBezTo>
                      <a:pt x="144972" y="213121"/>
                      <a:pt x="160357" y="237737"/>
                      <a:pt x="175741" y="225429"/>
                    </a:cubicBezTo>
                    <a:cubicBezTo>
                      <a:pt x="184972" y="216198"/>
                      <a:pt x="178818" y="191583"/>
                      <a:pt x="175741" y="182352"/>
                    </a:cubicBezTo>
                    <a:cubicBezTo>
                      <a:pt x="169587" y="157737"/>
                      <a:pt x="160357" y="133121"/>
                      <a:pt x="154203" y="105429"/>
                    </a:cubicBezTo>
                    <a:cubicBezTo>
                      <a:pt x="148048" y="80814"/>
                      <a:pt x="148048" y="53122"/>
                      <a:pt x="141894" y="28506"/>
                    </a:cubicBezTo>
                    <a:cubicBezTo>
                      <a:pt x="138818" y="10044"/>
                      <a:pt x="138818" y="3891"/>
                      <a:pt x="117279" y="81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B4404F0C-F359-4004-8C10-DC70D5FB17C1}"/>
                  </a:ext>
                </a:extLst>
              </p:cNvPr>
              <p:cNvSpPr/>
              <p:nvPr/>
            </p:nvSpPr>
            <p:spPr>
              <a:xfrm>
                <a:off x="17277371" y="6746949"/>
                <a:ext cx="50673" cy="135385"/>
              </a:xfrm>
              <a:custGeom>
                <a:avLst/>
                <a:gdLst>
                  <a:gd name="connsiteX0" fmla="*/ 46323 w 50673"/>
                  <a:gd name="connsiteY0" fmla="*/ 135385 h 135385"/>
                  <a:gd name="connsiteX1" fmla="*/ 40168 w 50673"/>
                  <a:gd name="connsiteY1" fmla="*/ 132308 h 135385"/>
                  <a:gd name="connsiteX2" fmla="*/ 169 w 50673"/>
                  <a:gd name="connsiteY2" fmla="*/ 6154 h 135385"/>
                  <a:gd name="connsiteX3" fmla="*/ 6321 w 50673"/>
                  <a:gd name="connsiteY3" fmla="*/ 0 h 135385"/>
                  <a:gd name="connsiteX4" fmla="*/ 12475 w 50673"/>
                  <a:gd name="connsiteY4" fmla="*/ 6154 h 135385"/>
                  <a:gd name="connsiteX5" fmla="*/ 49399 w 50673"/>
                  <a:gd name="connsiteY5" fmla="*/ 126154 h 135385"/>
                  <a:gd name="connsiteX6" fmla="*/ 46323 w 50673"/>
                  <a:gd name="connsiteY6" fmla="*/ 135385 h 135385"/>
                  <a:gd name="connsiteX7" fmla="*/ 46323 w 50673"/>
                  <a:gd name="connsiteY7" fmla="*/ 135385 h 135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673" h="135385">
                    <a:moveTo>
                      <a:pt x="46323" y="135385"/>
                    </a:moveTo>
                    <a:cubicBezTo>
                      <a:pt x="43245" y="135385"/>
                      <a:pt x="43245" y="135385"/>
                      <a:pt x="40168" y="132308"/>
                    </a:cubicBezTo>
                    <a:cubicBezTo>
                      <a:pt x="37090" y="129231"/>
                      <a:pt x="-2909" y="36923"/>
                      <a:pt x="169" y="6154"/>
                    </a:cubicBezTo>
                    <a:cubicBezTo>
                      <a:pt x="169" y="3077"/>
                      <a:pt x="3245" y="0"/>
                      <a:pt x="6321" y="0"/>
                    </a:cubicBezTo>
                    <a:cubicBezTo>
                      <a:pt x="9399" y="0"/>
                      <a:pt x="12475" y="3077"/>
                      <a:pt x="12475" y="6154"/>
                    </a:cubicBezTo>
                    <a:cubicBezTo>
                      <a:pt x="9399" y="27693"/>
                      <a:pt x="40168" y="101539"/>
                      <a:pt x="49399" y="126154"/>
                    </a:cubicBezTo>
                    <a:cubicBezTo>
                      <a:pt x="52475" y="132308"/>
                      <a:pt x="49399" y="135385"/>
                      <a:pt x="46323" y="135385"/>
                    </a:cubicBezTo>
                    <a:cubicBezTo>
                      <a:pt x="46323" y="135385"/>
                      <a:pt x="46323" y="135385"/>
                      <a:pt x="46323" y="13538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4D3061E9-2C13-4AC4-B241-DD9697EE369D}"/>
                  </a:ext>
                </a:extLst>
              </p:cNvPr>
              <p:cNvSpPr/>
              <p:nvPr/>
            </p:nvSpPr>
            <p:spPr>
              <a:xfrm>
                <a:off x="17329846" y="6722334"/>
                <a:ext cx="18462" cy="55384"/>
              </a:xfrm>
              <a:custGeom>
                <a:avLst/>
                <a:gdLst>
                  <a:gd name="connsiteX0" fmla="*/ 12308 w 18462"/>
                  <a:gd name="connsiteY0" fmla="*/ 55384 h 55384"/>
                  <a:gd name="connsiteX1" fmla="*/ 6154 w 18462"/>
                  <a:gd name="connsiteY1" fmla="*/ 49231 h 55384"/>
                  <a:gd name="connsiteX2" fmla="*/ 0 w 18462"/>
                  <a:gd name="connsiteY2" fmla="*/ 6154 h 55384"/>
                  <a:gd name="connsiteX3" fmla="*/ 6154 w 18462"/>
                  <a:gd name="connsiteY3" fmla="*/ 0 h 55384"/>
                  <a:gd name="connsiteX4" fmla="*/ 12308 w 18462"/>
                  <a:gd name="connsiteY4" fmla="*/ 6154 h 55384"/>
                  <a:gd name="connsiteX5" fmla="*/ 18463 w 18462"/>
                  <a:gd name="connsiteY5" fmla="*/ 49231 h 55384"/>
                  <a:gd name="connsiteX6" fmla="*/ 12308 w 18462"/>
                  <a:gd name="connsiteY6" fmla="*/ 55384 h 55384"/>
                  <a:gd name="connsiteX7" fmla="*/ 12308 w 18462"/>
                  <a:gd name="connsiteY7" fmla="*/ 55384 h 5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462" h="55384">
                    <a:moveTo>
                      <a:pt x="12308" y="55384"/>
                    </a:moveTo>
                    <a:cubicBezTo>
                      <a:pt x="9232" y="55384"/>
                      <a:pt x="6154" y="52308"/>
                      <a:pt x="6154" y="49231"/>
                    </a:cubicBezTo>
                    <a:lnTo>
                      <a:pt x="0" y="6154"/>
                    </a:lnTo>
                    <a:cubicBezTo>
                      <a:pt x="0" y="3077"/>
                      <a:pt x="3078" y="0"/>
                      <a:pt x="6154" y="0"/>
                    </a:cubicBezTo>
                    <a:cubicBezTo>
                      <a:pt x="9232" y="0"/>
                      <a:pt x="12308" y="3077"/>
                      <a:pt x="12308" y="6154"/>
                    </a:cubicBezTo>
                    <a:lnTo>
                      <a:pt x="18463" y="49231"/>
                    </a:lnTo>
                    <a:cubicBezTo>
                      <a:pt x="18463" y="52308"/>
                      <a:pt x="15385" y="55384"/>
                      <a:pt x="12308" y="55384"/>
                    </a:cubicBezTo>
                    <a:cubicBezTo>
                      <a:pt x="12308" y="55384"/>
                      <a:pt x="12308" y="55384"/>
                      <a:pt x="12308" y="5538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7293F4D3-0913-44F1-9459-0C752D31FD81}"/>
                  </a:ext>
                </a:extLst>
              </p:cNvPr>
              <p:cNvSpPr/>
              <p:nvPr/>
            </p:nvSpPr>
            <p:spPr>
              <a:xfrm>
                <a:off x="17236264" y="6688488"/>
                <a:ext cx="99736" cy="24615"/>
              </a:xfrm>
              <a:custGeom>
                <a:avLst/>
                <a:gdLst>
                  <a:gd name="connsiteX0" fmla="*/ 32043 w 99736"/>
                  <a:gd name="connsiteY0" fmla="*/ 24616 h 24615"/>
                  <a:gd name="connsiteX1" fmla="*/ 4352 w 99736"/>
                  <a:gd name="connsiteY1" fmla="*/ 21539 h 24615"/>
                  <a:gd name="connsiteX2" fmla="*/ 1274 w 99736"/>
                  <a:gd name="connsiteY2" fmla="*/ 15385 h 24615"/>
                  <a:gd name="connsiteX3" fmla="*/ 7428 w 99736"/>
                  <a:gd name="connsiteY3" fmla="*/ 12308 h 24615"/>
                  <a:gd name="connsiteX4" fmla="*/ 90506 w 99736"/>
                  <a:gd name="connsiteY4" fmla="*/ 0 h 24615"/>
                  <a:gd name="connsiteX5" fmla="*/ 99736 w 99736"/>
                  <a:gd name="connsiteY5" fmla="*/ 3077 h 24615"/>
                  <a:gd name="connsiteX6" fmla="*/ 96660 w 99736"/>
                  <a:gd name="connsiteY6" fmla="*/ 12308 h 24615"/>
                  <a:gd name="connsiteX7" fmla="*/ 32043 w 99736"/>
                  <a:gd name="connsiteY7" fmla="*/ 24616 h 2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736" h="24615">
                    <a:moveTo>
                      <a:pt x="32043" y="24616"/>
                    </a:moveTo>
                    <a:cubicBezTo>
                      <a:pt x="16659" y="24616"/>
                      <a:pt x="4352" y="21539"/>
                      <a:pt x="4352" y="21539"/>
                    </a:cubicBezTo>
                    <a:cubicBezTo>
                      <a:pt x="1274" y="21539"/>
                      <a:pt x="-1802" y="18462"/>
                      <a:pt x="1274" y="15385"/>
                    </a:cubicBezTo>
                    <a:cubicBezTo>
                      <a:pt x="1274" y="12308"/>
                      <a:pt x="4352" y="9231"/>
                      <a:pt x="7428" y="12308"/>
                    </a:cubicBezTo>
                    <a:cubicBezTo>
                      <a:pt x="7428" y="12308"/>
                      <a:pt x="50506" y="21539"/>
                      <a:pt x="90506" y="0"/>
                    </a:cubicBezTo>
                    <a:cubicBezTo>
                      <a:pt x="93582" y="0"/>
                      <a:pt x="96660" y="0"/>
                      <a:pt x="99736" y="3077"/>
                    </a:cubicBezTo>
                    <a:cubicBezTo>
                      <a:pt x="99736" y="6154"/>
                      <a:pt x="99736" y="9231"/>
                      <a:pt x="96660" y="12308"/>
                    </a:cubicBezTo>
                    <a:cubicBezTo>
                      <a:pt x="72045" y="21539"/>
                      <a:pt x="47428" y="24616"/>
                      <a:pt x="32043" y="2461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EA4D0D9C-F437-430D-8CCF-CE1B61D0195E}"/>
                  </a:ext>
                </a:extLst>
              </p:cNvPr>
              <p:cNvSpPr/>
              <p:nvPr/>
            </p:nvSpPr>
            <p:spPr>
              <a:xfrm>
                <a:off x="17193163" y="6666950"/>
                <a:ext cx="66727" cy="212307"/>
              </a:xfrm>
              <a:custGeom>
                <a:avLst/>
                <a:gdLst>
                  <a:gd name="connsiteX0" fmla="*/ 38223 w 66727"/>
                  <a:gd name="connsiteY0" fmla="*/ 212308 h 212307"/>
                  <a:gd name="connsiteX1" fmla="*/ 28991 w 66727"/>
                  <a:gd name="connsiteY1" fmla="*/ 209230 h 212307"/>
                  <a:gd name="connsiteX2" fmla="*/ 4376 w 66727"/>
                  <a:gd name="connsiteY2" fmla="*/ 6153 h 212307"/>
                  <a:gd name="connsiteX3" fmla="*/ 10530 w 66727"/>
                  <a:gd name="connsiteY3" fmla="*/ 0 h 212307"/>
                  <a:gd name="connsiteX4" fmla="*/ 16684 w 66727"/>
                  <a:gd name="connsiteY4" fmla="*/ 6153 h 212307"/>
                  <a:gd name="connsiteX5" fmla="*/ 38223 w 66727"/>
                  <a:gd name="connsiteY5" fmla="*/ 196923 h 212307"/>
                  <a:gd name="connsiteX6" fmla="*/ 41299 w 66727"/>
                  <a:gd name="connsiteY6" fmla="*/ 196923 h 212307"/>
                  <a:gd name="connsiteX7" fmla="*/ 53608 w 66727"/>
                  <a:gd name="connsiteY7" fmla="*/ 150769 h 212307"/>
                  <a:gd name="connsiteX8" fmla="*/ 41299 w 66727"/>
                  <a:gd name="connsiteY8" fmla="*/ 79999 h 212307"/>
                  <a:gd name="connsiteX9" fmla="*/ 47453 w 66727"/>
                  <a:gd name="connsiteY9" fmla="*/ 73846 h 212307"/>
                  <a:gd name="connsiteX10" fmla="*/ 47453 w 66727"/>
                  <a:gd name="connsiteY10" fmla="*/ 73846 h 212307"/>
                  <a:gd name="connsiteX11" fmla="*/ 53608 w 66727"/>
                  <a:gd name="connsiteY11" fmla="*/ 79999 h 212307"/>
                  <a:gd name="connsiteX12" fmla="*/ 62838 w 66727"/>
                  <a:gd name="connsiteY12" fmla="*/ 144615 h 212307"/>
                  <a:gd name="connsiteX13" fmla="*/ 65914 w 66727"/>
                  <a:gd name="connsiteY13" fmla="*/ 147692 h 212307"/>
                  <a:gd name="connsiteX14" fmla="*/ 50529 w 66727"/>
                  <a:gd name="connsiteY14" fmla="*/ 206153 h 212307"/>
                  <a:gd name="connsiteX15" fmla="*/ 38223 w 66727"/>
                  <a:gd name="connsiteY15" fmla="*/ 212308 h 21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6727" h="212307">
                    <a:moveTo>
                      <a:pt x="38223" y="212308"/>
                    </a:moveTo>
                    <a:cubicBezTo>
                      <a:pt x="35145" y="212308"/>
                      <a:pt x="32069" y="212308"/>
                      <a:pt x="28991" y="209230"/>
                    </a:cubicBezTo>
                    <a:cubicBezTo>
                      <a:pt x="7454" y="196923"/>
                      <a:pt x="-7931" y="120000"/>
                      <a:pt x="4376" y="6153"/>
                    </a:cubicBezTo>
                    <a:cubicBezTo>
                      <a:pt x="4376" y="3076"/>
                      <a:pt x="7454" y="0"/>
                      <a:pt x="10530" y="0"/>
                    </a:cubicBezTo>
                    <a:cubicBezTo>
                      <a:pt x="13606" y="0"/>
                      <a:pt x="16684" y="3076"/>
                      <a:pt x="16684" y="6153"/>
                    </a:cubicBezTo>
                    <a:cubicBezTo>
                      <a:pt x="4376" y="123077"/>
                      <a:pt x="25914" y="187692"/>
                      <a:pt x="38223" y="196923"/>
                    </a:cubicBezTo>
                    <a:cubicBezTo>
                      <a:pt x="38223" y="196923"/>
                      <a:pt x="41299" y="196923"/>
                      <a:pt x="41299" y="196923"/>
                    </a:cubicBezTo>
                    <a:cubicBezTo>
                      <a:pt x="53608" y="190769"/>
                      <a:pt x="53608" y="163077"/>
                      <a:pt x="53608" y="150769"/>
                    </a:cubicBezTo>
                    <a:cubicBezTo>
                      <a:pt x="47453" y="135384"/>
                      <a:pt x="41299" y="89231"/>
                      <a:pt x="41299" y="79999"/>
                    </a:cubicBezTo>
                    <a:cubicBezTo>
                      <a:pt x="41299" y="76923"/>
                      <a:pt x="44375" y="73846"/>
                      <a:pt x="47453" y="73846"/>
                    </a:cubicBezTo>
                    <a:cubicBezTo>
                      <a:pt x="47453" y="73846"/>
                      <a:pt x="47453" y="73846"/>
                      <a:pt x="47453" y="73846"/>
                    </a:cubicBezTo>
                    <a:cubicBezTo>
                      <a:pt x="50529" y="73846"/>
                      <a:pt x="53608" y="76923"/>
                      <a:pt x="53608" y="79999"/>
                    </a:cubicBezTo>
                    <a:cubicBezTo>
                      <a:pt x="53608" y="101538"/>
                      <a:pt x="59760" y="138462"/>
                      <a:pt x="62838" y="144615"/>
                    </a:cubicBezTo>
                    <a:cubicBezTo>
                      <a:pt x="62838" y="144615"/>
                      <a:pt x="65914" y="147692"/>
                      <a:pt x="65914" y="147692"/>
                    </a:cubicBezTo>
                    <a:cubicBezTo>
                      <a:pt x="65914" y="150769"/>
                      <a:pt x="72068" y="193846"/>
                      <a:pt x="50529" y="206153"/>
                    </a:cubicBezTo>
                    <a:cubicBezTo>
                      <a:pt x="44375" y="212308"/>
                      <a:pt x="41299" y="212308"/>
                      <a:pt x="38223" y="21230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9B4AAC1F-9813-4B64-BF75-36A661DBC163}"/>
                </a:ext>
              </a:extLst>
            </p:cNvPr>
            <p:cNvSpPr/>
            <p:nvPr/>
          </p:nvSpPr>
          <p:spPr>
            <a:xfrm>
              <a:off x="16775874" y="5354009"/>
              <a:ext cx="620121" cy="1280265"/>
            </a:xfrm>
            <a:custGeom>
              <a:avLst/>
              <a:gdLst>
                <a:gd name="connsiteX0" fmla="*/ 98588 w 620121"/>
                <a:gd name="connsiteY0" fmla="*/ 380633 h 1280265"/>
                <a:gd name="connsiteX1" fmla="*/ 320127 w 620121"/>
                <a:gd name="connsiteY1" fmla="*/ 663710 h 1280265"/>
                <a:gd name="connsiteX2" fmla="*/ 409358 w 620121"/>
                <a:gd name="connsiteY2" fmla="*/ 1260633 h 1280265"/>
                <a:gd name="connsiteX3" fmla="*/ 600126 w 620121"/>
                <a:gd name="connsiteY3" fmla="*/ 1260633 h 1280265"/>
                <a:gd name="connsiteX4" fmla="*/ 587819 w 620121"/>
                <a:gd name="connsiteY4" fmla="*/ 571403 h 1280265"/>
                <a:gd name="connsiteX5" fmla="*/ 289357 w 620121"/>
                <a:gd name="connsiteY5" fmla="*/ 100633 h 1280265"/>
                <a:gd name="connsiteX6" fmla="*/ 33973 w 620121"/>
                <a:gd name="connsiteY6" fmla="*/ 14479 h 1280265"/>
                <a:gd name="connsiteX7" fmla="*/ 98588 w 620121"/>
                <a:gd name="connsiteY7" fmla="*/ 380633 h 128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0121" h="1280265">
                  <a:moveTo>
                    <a:pt x="98588" y="380633"/>
                  </a:moveTo>
                  <a:cubicBezTo>
                    <a:pt x="153972" y="451402"/>
                    <a:pt x="277049" y="583710"/>
                    <a:pt x="320127" y="663710"/>
                  </a:cubicBezTo>
                  <a:cubicBezTo>
                    <a:pt x="381665" y="780633"/>
                    <a:pt x="403204" y="1257556"/>
                    <a:pt x="409358" y="1260633"/>
                  </a:cubicBezTo>
                  <a:cubicBezTo>
                    <a:pt x="473973" y="1288325"/>
                    <a:pt x="535511" y="1285248"/>
                    <a:pt x="600126" y="1260633"/>
                  </a:cubicBezTo>
                  <a:cubicBezTo>
                    <a:pt x="609358" y="1257556"/>
                    <a:pt x="646280" y="786787"/>
                    <a:pt x="587819" y="571403"/>
                  </a:cubicBezTo>
                  <a:cubicBezTo>
                    <a:pt x="569357" y="503710"/>
                    <a:pt x="421665" y="220633"/>
                    <a:pt x="289357" y="100633"/>
                  </a:cubicBezTo>
                  <a:cubicBezTo>
                    <a:pt x="224743" y="42171"/>
                    <a:pt x="77049" y="-31675"/>
                    <a:pt x="33973" y="14479"/>
                  </a:cubicBezTo>
                  <a:cubicBezTo>
                    <a:pt x="-42950" y="91402"/>
                    <a:pt x="24743" y="285249"/>
                    <a:pt x="98588" y="380633"/>
                  </a:cubicBezTo>
                  <a:close/>
                </a:path>
              </a:pathLst>
            </a:custGeom>
            <a:solidFill>
              <a:srgbClr val="F1DDBB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0525E0A7-872F-4011-8134-5211B5D1EDF0}"/>
                </a:ext>
              </a:extLst>
            </p:cNvPr>
            <p:cNvSpPr/>
            <p:nvPr/>
          </p:nvSpPr>
          <p:spPr>
            <a:xfrm>
              <a:off x="16772432" y="5366180"/>
              <a:ext cx="208952" cy="494615"/>
            </a:xfrm>
            <a:custGeom>
              <a:avLst/>
              <a:gdLst>
                <a:gd name="connsiteX0" fmla="*/ 203567 w 208952"/>
                <a:gd name="connsiteY0" fmla="*/ 494616 h 494615"/>
                <a:gd name="connsiteX1" fmla="*/ 200491 w 208952"/>
                <a:gd name="connsiteY1" fmla="*/ 494616 h 494615"/>
                <a:gd name="connsiteX2" fmla="*/ 25106 w 208952"/>
                <a:gd name="connsiteY2" fmla="*/ 239231 h 494615"/>
                <a:gd name="connsiteX3" fmla="*/ 31260 w 208952"/>
                <a:gd name="connsiteY3" fmla="*/ 2308 h 494615"/>
                <a:gd name="connsiteX4" fmla="*/ 40491 w 208952"/>
                <a:gd name="connsiteY4" fmla="*/ 2308 h 494615"/>
                <a:gd name="connsiteX5" fmla="*/ 40491 w 208952"/>
                <a:gd name="connsiteY5" fmla="*/ 11539 h 494615"/>
                <a:gd name="connsiteX6" fmla="*/ 37415 w 208952"/>
                <a:gd name="connsiteY6" fmla="*/ 236154 h 494615"/>
                <a:gd name="connsiteX7" fmla="*/ 206645 w 208952"/>
                <a:gd name="connsiteY7" fmla="*/ 485385 h 494615"/>
                <a:gd name="connsiteX8" fmla="*/ 206645 w 208952"/>
                <a:gd name="connsiteY8" fmla="*/ 494616 h 494615"/>
                <a:gd name="connsiteX9" fmla="*/ 203567 w 208952"/>
                <a:gd name="connsiteY9" fmla="*/ 494616 h 49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8952" h="494615">
                  <a:moveTo>
                    <a:pt x="203567" y="494616"/>
                  </a:moveTo>
                  <a:cubicBezTo>
                    <a:pt x="203567" y="494616"/>
                    <a:pt x="200491" y="494616"/>
                    <a:pt x="200491" y="494616"/>
                  </a:cubicBezTo>
                  <a:cubicBezTo>
                    <a:pt x="200491" y="494616"/>
                    <a:pt x="83569" y="396154"/>
                    <a:pt x="25106" y="239231"/>
                  </a:cubicBezTo>
                  <a:cubicBezTo>
                    <a:pt x="-33354" y="82308"/>
                    <a:pt x="28184" y="5385"/>
                    <a:pt x="31260" y="2308"/>
                  </a:cubicBezTo>
                  <a:cubicBezTo>
                    <a:pt x="34337" y="-769"/>
                    <a:pt x="37415" y="-769"/>
                    <a:pt x="40491" y="2308"/>
                  </a:cubicBezTo>
                  <a:cubicBezTo>
                    <a:pt x="43569" y="5385"/>
                    <a:pt x="43569" y="8462"/>
                    <a:pt x="40491" y="11539"/>
                  </a:cubicBezTo>
                  <a:cubicBezTo>
                    <a:pt x="40491" y="11539"/>
                    <a:pt x="-17970" y="85385"/>
                    <a:pt x="37415" y="236154"/>
                  </a:cubicBezTo>
                  <a:cubicBezTo>
                    <a:pt x="92799" y="390000"/>
                    <a:pt x="206645" y="485385"/>
                    <a:pt x="206645" y="485385"/>
                  </a:cubicBezTo>
                  <a:cubicBezTo>
                    <a:pt x="209722" y="488462"/>
                    <a:pt x="209722" y="491538"/>
                    <a:pt x="206645" y="494616"/>
                  </a:cubicBezTo>
                  <a:cubicBezTo>
                    <a:pt x="206645" y="491538"/>
                    <a:pt x="203567" y="494616"/>
                    <a:pt x="203567" y="494616"/>
                  </a:cubicBezTo>
                  <a:close/>
                </a:path>
              </a:pathLst>
            </a:custGeom>
            <a:solidFill>
              <a:srgbClr val="D39778"/>
            </a:solidFill>
            <a:ln w="30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986059172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11727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14">
            <a:extLst>
              <a:ext uri="{FF2B5EF4-FFF2-40B4-BE49-F238E27FC236}">
                <a16:creationId xmlns:a16="http://schemas.microsoft.com/office/drawing/2014/main" id="{40B93F31-C593-4245-9FBA-3006F66B0524}"/>
              </a:ext>
            </a:extLst>
          </p:cNvPr>
          <p:cNvGrpSpPr/>
          <p:nvPr/>
        </p:nvGrpSpPr>
        <p:grpSpPr>
          <a:xfrm>
            <a:off x="3190975" y="2026799"/>
            <a:ext cx="2414488" cy="4794591"/>
            <a:chOff x="18892414" y="7589839"/>
            <a:chExt cx="2414488" cy="4794591"/>
          </a:xfrm>
        </p:grpSpPr>
        <p:grpSp>
          <p:nvGrpSpPr>
            <p:cNvPr id="3" name="图形 114">
              <a:extLst>
                <a:ext uri="{FF2B5EF4-FFF2-40B4-BE49-F238E27FC236}">
                  <a16:creationId xmlns:a16="http://schemas.microsoft.com/office/drawing/2014/main" id="{D6DEFAC3-052F-4233-850C-DD0B96D28BBD}"/>
                </a:ext>
              </a:extLst>
            </p:cNvPr>
            <p:cNvGrpSpPr/>
            <p:nvPr/>
          </p:nvGrpSpPr>
          <p:grpSpPr>
            <a:xfrm>
              <a:off x="18892414" y="8454862"/>
              <a:ext cx="1073415" cy="1263357"/>
              <a:chOff x="18892414" y="8454862"/>
              <a:chExt cx="1073415" cy="1263357"/>
            </a:xfrm>
          </p:grpSpPr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EBD9F81C-01CC-4FDB-AAB2-F3A076719B92}"/>
                  </a:ext>
                </a:extLst>
              </p:cNvPr>
              <p:cNvSpPr/>
              <p:nvPr/>
            </p:nvSpPr>
            <p:spPr>
              <a:xfrm>
                <a:off x="18968143" y="8454862"/>
                <a:ext cx="997686" cy="1263357"/>
              </a:xfrm>
              <a:custGeom>
                <a:avLst/>
                <a:gdLst>
                  <a:gd name="connsiteX0" fmla="*/ 968506 w 997686"/>
                  <a:gd name="connsiteY0" fmla="*/ 372280 h 1263357"/>
                  <a:gd name="connsiteX1" fmla="*/ 819014 w 997686"/>
                  <a:gd name="connsiteY1" fmla="*/ 88551 h 1263357"/>
                  <a:gd name="connsiteX2" fmla="*/ 449862 w 997686"/>
                  <a:gd name="connsiteY2" fmla="*/ 3128 h 1263357"/>
                  <a:gd name="connsiteX3" fmla="*/ 160032 w 997686"/>
                  <a:gd name="connsiteY3" fmla="*/ 225839 h 1263357"/>
                  <a:gd name="connsiteX4" fmla="*/ 31896 w 997686"/>
                  <a:gd name="connsiteY4" fmla="*/ 1080076 h 1263357"/>
                  <a:gd name="connsiteX5" fmla="*/ 379691 w 997686"/>
                  <a:gd name="connsiteY5" fmla="*/ 1263127 h 1263357"/>
                  <a:gd name="connsiteX6" fmla="*/ 986811 w 997686"/>
                  <a:gd name="connsiteY6" fmla="*/ 744483 h 1263357"/>
                  <a:gd name="connsiteX7" fmla="*/ 968506 w 997686"/>
                  <a:gd name="connsiteY7" fmla="*/ 372280 h 1263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7686" h="1263357">
                    <a:moveTo>
                      <a:pt x="968506" y="372280"/>
                    </a:moveTo>
                    <a:cubicBezTo>
                      <a:pt x="944098" y="262450"/>
                      <a:pt x="898335" y="155670"/>
                      <a:pt x="819014" y="88551"/>
                    </a:cubicBezTo>
                    <a:cubicBezTo>
                      <a:pt x="715285" y="77"/>
                      <a:pt x="574946" y="-6025"/>
                      <a:pt x="449862" y="3128"/>
                    </a:cubicBezTo>
                    <a:cubicBezTo>
                      <a:pt x="327828" y="12280"/>
                      <a:pt x="205795" y="143466"/>
                      <a:pt x="160032" y="225839"/>
                    </a:cubicBezTo>
                    <a:cubicBezTo>
                      <a:pt x="56302" y="424144"/>
                      <a:pt x="-56579" y="802450"/>
                      <a:pt x="31896" y="1080076"/>
                    </a:cubicBezTo>
                    <a:cubicBezTo>
                      <a:pt x="68506" y="1189907"/>
                      <a:pt x="282066" y="1253975"/>
                      <a:pt x="379691" y="1263127"/>
                    </a:cubicBezTo>
                    <a:cubicBezTo>
                      <a:pt x="516979" y="1272280"/>
                      <a:pt x="941048" y="1006856"/>
                      <a:pt x="986811" y="744483"/>
                    </a:cubicBezTo>
                    <a:cubicBezTo>
                      <a:pt x="1008167" y="622449"/>
                      <a:pt x="995963" y="491263"/>
                      <a:pt x="968506" y="37228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F11773FA-7F63-4C07-BBF7-EE5D73C8D971}"/>
                  </a:ext>
                </a:extLst>
              </p:cNvPr>
              <p:cNvSpPr/>
              <p:nvPr/>
            </p:nvSpPr>
            <p:spPr>
              <a:xfrm>
                <a:off x="18897014" y="9153395"/>
                <a:ext cx="179295" cy="392730"/>
              </a:xfrm>
              <a:custGeom>
                <a:avLst/>
                <a:gdLst>
                  <a:gd name="connsiteX0" fmla="*/ 179296 w 179295"/>
                  <a:gd name="connsiteY0" fmla="*/ 27646 h 392730"/>
                  <a:gd name="connsiteX1" fmla="*/ 179296 w 179295"/>
                  <a:gd name="connsiteY1" fmla="*/ 384595 h 392730"/>
                  <a:gd name="connsiteX2" fmla="*/ 45058 w 179295"/>
                  <a:gd name="connsiteY2" fmla="*/ 384595 h 392730"/>
                  <a:gd name="connsiteX3" fmla="*/ 17601 w 179295"/>
                  <a:gd name="connsiteY3" fmla="*/ 27646 h 392730"/>
                  <a:gd name="connsiteX4" fmla="*/ 179296 w 179295"/>
                  <a:gd name="connsiteY4" fmla="*/ 27646 h 392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9295" h="392730">
                    <a:moveTo>
                      <a:pt x="179296" y="27646"/>
                    </a:moveTo>
                    <a:cubicBezTo>
                      <a:pt x="179296" y="27646"/>
                      <a:pt x="139635" y="225951"/>
                      <a:pt x="179296" y="384595"/>
                    </a:cubicBezTo>
                    <a:cubicBezTo>
                      <a:pt x="179296" y="384595"/>
                      <a:pt x="93872" y="402900"/>
                      <a:pt x="45058" y="384595"/>
                    </a:cubicBezTo>
                    <a:cubicBezTo>
                      <a:pt x="-3755" y="366290"/>
                      <a:pt x="-12907" y="58154"/>
                      <a:pt x="17601" y="27646"/>
                    </a:cubicBezTo>
                    <a:cubicBezTo>
                      <a:pt x="48110" y="-2863"/>
                      <a:pt x="148787" y="-15066"/>
                      <a:pt x="179296" y="27646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8C5B6199-331B-401D-9E3E-25CAC98A3BE9}"/>
                  </a:ext>
                </a:extLst>
              </p:cNvPr>
              <p:cNvSpPr/>
              <p:nvPr/>
            </p:nvSpPr>
            <p:spPr>
              <a:xfrm>
                <a:off x="18892414" y="9145911"/>
                <a:ext cx="189998" cy="404282"/>
              </a:xfrm>
              <a:custGeom>
                <a:avLst/>
                <a:gdLst>
                  <a:gd name="connsiteX0" fmla="*/ 104573 w 189998"/>
                  <a:gd name="connsiteY0" fmla="*/ 404282 h 404282"/>
                  <a:gd name="connsiteX1" fmla="*/ 46608 w 189998"/>
                  <a:gd name="connsiteY1" fmla="*/ 395130 h 404282"/>
                  <a:gd name="connsiteX2" fmla="*/ 13048 w 189998"/>
                  <a:gd name="connsiteY2" fmla="*/ 321910 h 404282"/>
                  <a:gd name="connsiteX3" fmla="*/ 19150 w 189998"/>
                  <a:gd name="connsiteY3" fmla="*/ 29029 h 404282"/>
                  <a:gd name="connsiteX4" fmla="*/ 132031 w 189998"/>
                  <a:gd name="connsiteY4" fmla="*/ 1571 h 404282"/>
                  <a:gd name="connsiteX5" fmla="*/ 189998 w 189998"/>
                  <a:gd name="connsiteY5" fmla="*/ 32079 h 404282"/>
                  <a:gd name="connsiteX6" fmla="*/ 189998 w 189998"/>
                  <a:gd name="connsiteY6" fmla="*/ 35130 h 404282"/>
                  <a:gd name="connsiteX7" fmla="*/ 189998 w 189998"/>
                  <a:gd name="connsiteY7" fmla="*/ 38181 h 404282"/>
                  <a:gd name="connsiteX8" fmla="*/ 183896 w 189998"/>
                  <a:gd name="connsiteY8" fmla="*/ 358520 h 404282"/>
                  <a:gd name="connsiteX9" fmla="*/ 177794 w 189998"/>
                  <a:gd name="connsiteY9" fmla="*/ 389028 h 404282"/>
                  <a:gd name="connsiteX10" fmla="*/ 150336 w 189998"/>
                  <a:gd name="connsiteY10" fmla="*/ 404282 h 404282"/>
                  <a:gd name="connsiteX11" fmla="*/ 104573 w 189998"/>
                  <a:gd name="connsiteY11" fmla="*/ 404282 h 404282"/>
                  <a:gd name="connsiteX12" fmla="*/ 110675 w 189998"/>
                  <a:gd name="connsiteY12" fmla="*/ 10723 h 404282"/>
                  <a:gd name="connsiteX13" fmla="*/ 22202 w 189998"/>
                  <a:gd name="connsiteY13" fmla="*/ 35130 h 404282"/>
                  <a:gd name="connsiteX14" fmla="*/ 19150 w 189998"/>
                  <a:gd name="connsiteY14" fmla="*/ 318859 h 404282"/>
                  <a:gd name="connsiteX15" fmla="*/ 46608 w 189998"/>
                  <a:gd name="connsiteY15" fmla="*/ 382927 h 404282"/>
                  <a:gd name="connsiteX16" fmla="*/ 144235 w 189998"/>
                  <a:gd name="connsiteY16" fmla="*/ 389028 h 404282"/>
                  <a:gd name="connsiteX17" fmla="*/ 162540 w 189998"/>
                  <a:gd name="connsiteY17" fmla="*/ 376825 h 404282"/>
                  <a:gd name="connsiteX18" fmla="*/ 168642 w 189998"/>
                  <a:gd name="connsiteY18" fmla="*/ 355469 h 404282"/>
                  <a:gd name="connsiteX19" fmla="*/ 174744 w 189998"/>
                  <a:gd name="connsiteY19" fmla="*/ 32079 h 404282"/>
                  <a:gd name="connsiteX20" fmla="*/ 125929 w 189998"/>
                  <a:gd name="connsiteY20" fmla="*/ 10723 h 404282"/>
                  <a:gd name="connsiteX21" fmla="*/ 110675 w 189998"/>
                  <a:gd name="connsiteY21" fmla="*/ 10723 h 404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89998" h="404282">
                    <a:moveTo>
                      <a:pt x="104573" y="404282"/>
                    </a:moveTo>
                    <a:cubicBezTo>
                      <a:pt x="83218" y="404282"/>
                      <a:pt x="61862" y="401232"/>
                      <a:pt x="46608" y="395130"/>
                    </a:cubicBezTo>
                    <a:cubicBezTo>
                      <a:pt x="31354" y="389028"/>
                      <a:pt x="19150" y="364622"/>
                      <a:pt x="13048" y="321910"/>
                    </a:cubicBezTo>
                    <a:cubicBezTo>
                      <a:pt x="-5257" y="227334"/>
                      <a:pt x="-5257" y="53435"/>
                      <a:pt x="19150" y="29029"/>
                    </a:cubicBezTo>
                    <a:cubicBezTo>
                      <a:pt x="40506" y="7672"/>
                      <a:pt x="89319" y="-4531"/>
                      <a:pt x="132031" y="1571"/>
                    </a:cubicBezTo>
                    <a:cubicBezTo>
                      <a:pt x="159490" y="4622"/>
                      <a:pt x="180844" y="13774"/>
                      <a:pt x="189998" y="32079"/>
                    </a:cubicBezTo>
                    <a:lnTo>
                      <a:pt x="189998" y="35130"/>
                    </a:lnTo>
                    <a:lnTo>
                      <a:pt x="189998" y="38181"/>
                    </a:lnTo>
                    <a:cubicBezTo>
                      <a:pt x="189998" y="41232"/>
                      <a:pt x="156438" y="212079"/>
                      <a:pt x="183896" y="358520"/>
                    </a:cubicBezTo>
                    <a:cubicBezTo>
                      <a:pt x="186946" y="367672"/>
                      <a:pt x="183896" y="379876"/>
                      <a:pt x="177794" y="389028"/>
                    </a:cubicBezTo>
                    <a:cubicBezTo>
                      <a:pt x="171692" y="398181"/>
                      <a:pt x="162540" y="404282"/>
                      <a:pt x="150336" y="404282"/>
                    </a:cubicBezTo>
                    <a:cubicBezTo>
                      <a:pt x="135081" y="401232"/>
                      <a:pt x="119827" y="404282"/>
                      <a:pt x="104573" y="404282"/>
                    </a:cubicBezTo>
                    <a:close/>
                    <a:moveTo>
                      <a:pt x="110675" y="10723"/>
                    </a:moveTo>
                    <a:cubicBezTo>
                      <a:pt x="77116" y="10723"/>
                      <a:pt x="40506" y="19876"/>
                      <a:pt x="22202" y="35130"/>
                    </a:cubicBezTo>
                    <a:cubicBezTo>
                      <a:pt x="3895" y="53435"/>
                      <a:pt x="-2207" y="218181"/>
                      <a:pt x="19150" y="318859"/>
                    </a:cubicBezTo>
                    <a:cubicBezTo>
                      <a:pt x="28302" y="370723"/>
                      <a:pt x="40506" y="379876"/>
                      <a:pt x="46608" y="382927"/>
                    </a:cubicBezTo>
                    <a:cubicBezTo>
                      <a:pt x="74064" y="392079"/>
                      <a:pt x="113727" y="392079"/>
                      <a:pt x="144235" y="389028"/>
                    </a:cubicBezTo>
                    <a:cubicBezTo>
                      <a:pt x="153388" y="389028"/>
                      <a:pt x="159490" y="382927"/>
                      <a:pt x="162540" y="376825"/>
                    </a:cubicBezTo>
                    <a:cubicBezTo>
                      <a:pt x="165590" y="370723"/>
                      <a:pt x="168642" y="364622"/>
                      <a:pt x="168642" y="355469"/>
                    </a:cubicBezTo>
                    <a:cubicBezTo>
                      <a:pt x="144235" y="215130"/>
                      <a:pt x="171692" y="53435"/>
                      <a:pt x="174744" y="32079"/>
                    </a:cubicBezTo>
                    <a:cubicBezTo>
                      <a:pt x="162540" y="16825"/>
                      <a:pt x="141183" y="10723"/>
                      <a:pt x="125929" y="10723"/>
                    </a:cubicBezTo>
                    <a:cubicBezTo>
                      <a:pt x="122879" y="13774"/>
                      <a:pt x="116777" y="10723"/>
                      <a:pt x="110675" y="1072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3867F8B7-BB89-4B35-AD97-4B20041B2307}"/>
                  </a:ext>
                </a:extLst>
              </p:cNvPr>
              <p:cNvSpPr/>
              <p:nvPr/>
            </p:nvSpPr>
            <p:spPr>
              <a:xfrm>
                <a:off x="18941927" y="8657881"/>
                <a:ext cx="259466" cy="395023"/>
              </a:xfrm>
              <a:custGeom>
                <a:avLst/>
                <a:gdLst>
                  <a:gd name="connsiteX0" fmla="*/ 259467 w 259466"/>
                  <a:gd name="connsiteY0" fmla="*/ 62481 h 395023"/>
                  <a:gd name="connsiteX1" fmla="*/ 137433 w 259466"/>
                  <a:gd name="connsiteY1" fmla="*/ 395024 h 395023"/>
                  <a:gd name="connsiteX2" fmla="*/ 9297 w 259466"/>
                  <a:gd name="connsiteY2" fmla="*/ 349261 h 395023"/>
                  <a:gd name="connsiteX3" fmla="*/ 106924 w 259466"/>
                  <a:gd name="connsiteY3" fmla="*/ 4515 h 395023"/>
                  <a:gd name="connsiteX4" fmla="*/ 259467 w 259466"/>
                  <a:gd name="connsiteY4" fmla="*/ 62481 h 395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9466" h="395023">
                    <a:moveTo>
                      <a:pt x="259467" y="62481"/>
                    </a:moveTo>
                    <a:cubicBezTo>
                      <a:pt x="259467" y="62481"/>
                      <a:pt x="152687" y="236379"/>
                      <a:pt x="137433" y="395024"/>
                    </a:cubicBezTo>
                    <a:cubicBezTo>
                      <a:pt x="137433" y="395024"/>
                      <a:pt x="48959" y="382820"/>
                      <a:pt x="9297" y="349261"/>
                    </a:cubicBezTo>
                    <a:cubicBezTo>
                      <a:pt x="-30364" y="315702"/>
                      <a:pt x="67264" y="22820"/>
                      <a:pt x="106924" y="4515"/>
                    </a:cubicBezTo>
                    <a:cubicBezTo>
                      <a:pt x="146585" y="-10739"/>
                      <a:pt x="247264" y="13668"/>
                      <a:pt x="259467" y="62481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96A03C2B-B2AC-4647-B48C-131E12AACD4F}"/>
                  </a:ext>
                </a:extLst>
              </p:cNvPr>
              <p:cNvSpPr/>
              <p:nvPr/>
            </p:nvSpPr>
            <p:spPr>
              <a:xfrm>
                <a:off x="18935970" y="8656048"/>
                <a:ext cx="271525" cy="399908"/>
              </a:xfrm>
              <a:custGeom>
                <a:avLst/>
                <a:gdLst>
                  <a:gd name="connsiteX0" fmla="*/ 115933 w 271525"/>
                  <a:gd name="connsiteY0" fmla="*/ 399908 h 399908"/>
                  <a:gd name="connsiteX1" fmla="*/ 106779 w 271525"/>
                  <a:gd name="connsiteY1" fmla="*/ 399908 h 399908"/>
                  <a:gd name="connsiteX2" fmla="*/ 12203 w 271525"/>
                  <a:gd name="connsiteY2" fmla="*/ 360247 h 399908"/>
                  <a:gd name="connsiteX3" fmla="*/ 3051 w 271525"/>
                  <a:gd name="connsiteY3" fmla="*/ 280925 h 399908"/>
                  <a:gd name="connsiteX4" fmla="*/ 109831 w 271525"/>
                  <a:gd name="connsiteY4" fmla="*/ 6349 h 399908"/>
                  <a:gd name="connsiteX5" fmla="*/ 225763 w 271525"/>
                  <a:gd name="connsiteY5" fmla="*/ 18552 h 399908"/>
                  <a:gd name="connsiteX6" fmla="*/ 271525 w 271525"/>
                  <a:gd name="connsiteY6" fmla="*/ 67366 h 399908"/>
                  <a:gd name="connsiteX7" fmla="*/ 271525 w 271525"/>
                  <a:gd name="connsiteY7" fmla="*/ 70417 h 399908"/>
                  <a:gd name="connsiteX8" fmla="*/ 271525 w 271525"/>
                  <a:gd name="connsiteY8" fmla="*/ 73468 h 399908"/>
                  <a:gd name="connsiteX9" fmla="*/ 155594 w 271525"/>
                  <a:gd name="connsiteY9" fmla="*/ 372451 h 399908"/>
                  <a:gd name="connsiteX10" fmla="*/ 140339 w 271525"/>
                  <a:gd name="connsiteY10" fmla="*/ 396858 h 399908"/>
                  <a:gd name="connsiteX11" fmla="*/ 115933 w 271525"/>
                  <a:gd name="connsiteY11" fmla="*/ 399908 h 399908"/>
                  <a:gd name="connsiteX12" fmla="*/ 146441 w 271525"/>
                  <a:gd name="connsiteY12" fmla="*/ 9400 h 399908"/>
                  <a:gd name="connsiteX13" fmla="*/ 115933 w 271525"/>
                  <a:gd name="connsiteY13" fmla="*/ 15502 h 399908"/>
                  <a:gd name="connsiteX14" fmla="*/ 15254 w 271525"/>
                  <a:gd name="connsiteY14" fmla="*/ 280925 h 399908"/>
                  <a:gd name="connsiteX15" fmla="*/ 18306 w 271525"/>
                  <a:gd name="connsiteY15" fmla="*/ 351095 h 399908"/>
                  <a:gd name="connsiteX16" fmla="*/ 106779 w 271525"/>
                  <a:gd name="connsiteY16" fmla="*/ 390756 h 399908"/>
                  <a:gd name="connsiteX17" fmla="*/ 128135 w 271525"/>
                  <a:gd name="connsiteY17" fmla="*/ 387705 h 399908"/>
                  <a:gd name="connsiteX18" fmla="*/ 140339 w 271525"/>
                  <a:gd name="connsiteY18" fmla="*/ 369400 h 399908"/>
                  <a:gd name="connsiteX19" fmla="*/ 256271 w 271525"/>
                  <a:gd name="connsiteY19" fmla="*/ 70417 h 399908"/>
                  <a:gd name="connsiteX20" fmla="*/ 216611 w 271525"/>
                  <a:gd name="connsiteY20" fmla="*/ 33806 h 399908"/>
                  <a:gd name="connsiteX21" fmla="*/ 146441 w 271525"/>
                  <a:gd name="connsiteY21" fmla="*/ 9400 h 399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1525" h="399908">
                    <a:moveTo>
                      <a:pt x="115933" y="399908"/>
                    </a:moveTo>
                    <a:cubicBezTo>
                      <a:pt x="112881" y="399908"/>
                      <a:pt x="109831" y="399908"/>
                      <a:pt x="106779" y="399908"/>
                    </a:cubicBezTo>
                    <a:cubicBezTo>
                      <a:pt x="76270" y="393807"/>
                      <a:pt x="36610" y="381603"/>
                      <a:pt x="12203" y="360247"/>
                    </a:cubicBezTo>
                    <a:cubicBezTo>
                      <a:pt x="-1" y="351095"/>
                      <a:pt x="-3051" y="323637"/>
                      <a:pt x="3051" y="280925"/>
                    </a:cubicBezTo>
                    <a:cubicBezTo>
                      <a:pt x="18306" y="186349"/>
                      <a:pt x="76270" y="21603"/>
                      <a:pt x="109831" y="6349"/>
                    </a:cubicBezTo>
                    <a:cubicBezTo>
                      <a:pt x="137287" y="-5855"/>
                      <a:pt x="186102" y="247"/>
                      <a:pt x="225763" y="18552"/>
                    </a:cubicBezTo>
                    <a:cubicBezTo>
                      <a:pt x="250169" y="30756"/>
                      <a:pt x="265423" y="46010"/>
                      <a:pt x="271525" y="67366"/>
                    </a:cubicBezTo>
                    <a:lnTo>
                      <a:pt x="271525" y="70417"/>
                    </a:lnTo>
                    <a:lnTo>
                      <a:pt x="271525" y="73468"/>
                    </a:lnTo>
                    <a:cubicBezTo>
                      <a:pt x="271525" y="73468"/>
                      <a:pt x="180000" y="226010"/>
                      <a:pt x="155594" y="372451"/>
                    </a:cubicBezTo>
                    <a:cubicBezTo>
                      <a:pt x="152542" y="381603"/>
                      <a:pt x="146441" y="390756"/>
                      <a:pt x="140339" y="396858"/>
                    </a:cubicBezTo>
                    <a:cubicBezTo>
                      <a:pt x="131187" y="396858"/>
                      <a:pt x="125085" y="399908"/>
                      <a:pt x="115933" y="399908"/>
                    </a:cubicBezTo>
                    <a:close/>
                    <a:moveTo>
                      <a:pt x="146441" y="9400"/>
                    </a:moveTo>
                    <a:cubicBezTo>
                      <a:pt x="134237" y="9400"/>
                      <a:pt x="122033" y="12451"/>
                      <a:pt x="115933" y="15502"/>
                    </a:cubicBezTo>
                    <a:cubicBezTo>
                      <a:pt x="91525" y="24654"/>
                      <a:pt x="30508" y="177196"/>
                      <a:pt x="15254" y="280925"/>
                    </a:cubicBezTo>
                    <a:cubicBezTo>
                      <a:pt x="6101" y="332790"/>
                      <a:pt x="15254" y="348044"/>
                      <a:pt x="18306" y="351095"/>
                    </a:cubicBezTo>
                    <a:cubicBezTo>
                      <a:pt x="39662" y="369400"/>
                      <a:pt x="79322" y="381603"/>
                      <a:pt x="106779" y="390756"/>
                    </a:cubicBezTo>
                    <a:cubicBezTo>
                      <a:pt x="112881" y="393807"/>
                      <a:pt x="122033" y="390756"/>
                      <a:pt x="128135" y="387705"/>
                    </a:cubicBezTo>
                    <a:cubicBezTo>
                      <a:pt x="134237" y="384654"/>
                      <a:pt x="137287" y="378552"/>
                      <a:pt x="140339" y="369400"/>
                    </a:cubicBezTo>
                    <a:cubicBezTo>
                      <a:pt x="164746" y="229061"/>
                      <a:pt x="247119" y="88722"/>
                      <a:pt x="256271" y="70417"/>
                    </a:cubicBezTo>
                    <a:cubicBezTo>
                      <a:pt x="250169" y="52112"/>
                      <a:pt x="231865" y="39908"/>
                      <a:pt x="216611" y="33806"/>
                    </a:cubicBezTo>
                    <a:cubicBezTo>
                      <a:pt x="198304" y="15502"/>
                      <a:pt x="170848" y="9400"/>
                      <a:pt x="146441" y="94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14">
              <a:extLst>
                <a:ext uri="{FF2B5EF4-FFF2-40B4-BE49-F238E27FC236}">
                  <a16:creationId xmlns:a16="http://schemas.microsoft.com/office/drawing/2014/main" id="{1126F19B-A376-4939-AA3F-171EABD02315}"/>
                </a:ext>
              </a:extLst>
            </p:cNvPr>
            <p:cNvGrpSpPr/>
            <p:nvPr/>
          </p:nvGrpSpPr>
          <p:grpSpPr>
            <a:xfrm>
              <a:off x="18969176" y="11765108"/>
              <a:ext cx="392605" cy="579875"/>
              <a:chOff x="18969176" y="11765108"/>
              <a:chExt cx="392605" cy="579875"/>
            </a:xfrm>
          </p:grpSpPr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19A5F188-E194-452F-A9E6-18DB85136256}"/>
                  </a:ext>
                </a:extLst>
              </p:cNvPr>
              <p:cNvSpPr/>
              <p:nvPr/>
            </p:nvSpPr>
            <p:spPr>
              <a:xfrm>
                <a:off x="19067158" y="11765108"/>
                <a:ext cx="274576" cy="259322"/>
              </a:xfrm>
              <a:custGeom>
                <a:avLst/>
                <a:gdLst>
                  <a:gd name="connsiteX0" fmla="*/ 18304 w 274576"/>
                  <a:gd name="connsiteY0" fmla="*/ 137288 h 259322"/>
                  <a:gd name="connsiteX1" fmla="*/ 143388 w 274576"/>
                  <a:gd name="connsiteY1" fmla="*/ 0 h 259322"/>
                  <a:gd name="connsiteX2" fmla="*/ 274576 w 274576"/>
                  <a:gd name="connsiteY2" fmla="*/ 128136 h 259322"/>
                  <a:gd name="connsiteX3" fmla="*/ 128134 w 274576"/>
                  <a:gd name="connsiteY3" fmla="*/ 259322 h 259322"/>
                  <a:gd name="connsiteX4" fmla="*/ 0 w 274576"/>
                  <a:gd name="connsiteY4" fmla="*/ 173899 h 25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4576" h="259322">
                    <a:moveTo>
                      <a:pt x="18304" y="137288"/>
                    </a:moveTo>
                    <a:lnTo>
                      <a:pt x="143388" y="0"/>
                    </a:lnTo>
                    <a:lnTo>
                      <a:pt x="274576" y="128136"/>
                    </a:lnTo>
                    <a:lnTo>
                      <a:pt x="128134" y="259322"/>
                    </a:lnTo>
                    <a:lnTo>
                      <a:pt x="0" y="173899"/>
                    </a:ln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0F8DB466-B1C0-456C-9623-3DB3734BCA9A}"/>
                  </a:ext>
                </a:extLst>
              </p:cNvPr>
              <p:cNvSpPr/>
              <p:nvPr/>
            </p:nvSpPr>
            <p:spPr>
              <a:xfrm>
                <a:off x="18996987" y="11893244"/>
                <a:ext cx="364795" cy="417965"/>
              </a:xfrm>
              <a:custGeom>
                <a:avLst/>
                <a:gdLst>
                  <a:gd name="connsiteX0" fmla="*/ 79323 w 364795"/>
                  <a:gd name="connsiteY0" fmla="*/ 0 h 417965"/>
                  <a:gd name="connsiteX1" fmla="*/ 247120 w 364795"/>
                  <a:gd name="connsiteY1" fmla="*/ 94576 h 417965"/>
                  <a:gd name="connsiteX2" fmla="*/ 286780 w 364795"/>
                  <a:gd name="connsiteY2" fmla="*/ 244068 h 417965"/>
                  <a:gd name="connsiteX3" fmla="*/ 353899 w 364795"/>
                  <a:gd name="connsiteY3" fmla="*/ 417966 h 417965"/>
                  <a:gd name="connsiteX4" fmla="*/ 0 w 364795"/>
                  <a:gd name="connsiteY4" fmla="*/ 79321 h 417965"/>
                  <a:gd name="connsiteX5" fmla="*/ 79323 w 364795"/>
                  <a:gd name="connsiteY5" fmla="*/ 0 h 417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4795" h="417965">
                    <a:moveTo>
                      <a:pt x="79323" y="0"/>
                    </a:moveTo>
                    <a:cubicBezTo>
                      <a:pt x="79323" y="0"/>
                      <a:pt x="155594" y="100678"/>
                      <a:pt x="247120" y="94576"/>
                    </a:cubicBezTo>
                    <a:cubicBezTo>
                      <a:pt x="247120" y="94576"/>
                      <a:pt x="262374" y="207457"/>
                      <a:pt x="286780" y="244068"/>
                    </a:cubicBezTo>
                    <a:cubicBezTo>
                      <a:pt x="314239" y="280677"/>
                      <a:pt x="393560" y="356949"/>
                      <a:pt x="353899" y="417966"/>
                    </a:cubicBezTo>
                    <a:lnTo>
                      <a:pt x="0" y="79321"/>
                    </a:lnTo>
                    <a:cubicBezTo>
                      <a:pt x="0" y="82372"/>
                      <a:pt x="30508" y="24406"/>
                      <a:pt x="79323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37573103-2A77-4731-8889-4F4C1EFB79BC}"/>
                  </a:ext>
                </a:extLst>
              </p:cNvPr>
              <p:cNvSpPr/>
              <p:nvPr/>
            </p:nvSpPr>
            <p:spPr>
              <a:xfrm rot="-2778520">
                <a:off x="19138586" y="11915759"/>
                <a:ext cx="45764" cy="488154"/>
              </a:xfrm>
              <a:custGeom>
                <a:avLst/>
                <a:gdLst>
                  <a:gd name="connsiteX0" fmla="*/ 0 w 45764"/>
                  <a:gd name="connsiteY0" fmla="*/ 0 h 488154"/>
                  <a:gd name="connsiteX1" fmla="*/ 45765 w 45764"/>
                  <a:gd name="connsiteY1" fmla="*/ 0 h 488154"/>
                  <a:gd name="connsiteX2" fmla="*/ 45765 w 45764"/>
                  <a:gd name="connsiteY2" fmla="*/ 488155 h 488154"/>
                  <a:gd name="connsiteX3" fmla="*/ 0 w 45764"/>
                  <a:gd name="connsiteY3" fmla="*/ 488155 h 488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764" h="488154">
                    <a:moveTo>
                      <a:pt x="0" y="0"/>
                    </a:moveTo>
                    <a:lnTo>
                      <a:pt x="45765" y="0"/>
                    </a:lnTo>
                    <a:lnTo>
                      <a:pt x="45765" y="488155"/>
                    </a:lnTo>
                    <a:lnTo>
                      <a:pt x="0" y="488155"/>
                    </a:lnTo>
                    <a:close/>
                  </a:path>
                </a:pathLst>
              </a:custGeom>
              <a:solidFill>
                <a:srgbClr val="38333D"/>
              </a:solidFill>
              <a:ln w="305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88F7F421-30A7-40F2-93B9-85DFDC8C525E}"/>
                  </a:ext>
                </a:extLst>
              </p:cNvPr>
              <p:cNvSpPr/>
              <p:nvPr/>
            </p:nvSpPr>
            <p:spPr>
              <a:xfrm>
                <a:off x="19071902" y="11885786"/>
                <a:ext cx="178306" cy="108135"/>
              </a:xfrm>
              <a:custGeom>
                <a:avLst/>
                <a:gdLst>
                  <a:gd name="connsiteX0" fmla="*/ 172204 w 178306"/>
                  <a:gd name="connsiteY0" fmla="*/ 108136 h 108135"/>
                  <a:gd name="connsiteX1" fmla="*/ 172204 w 178306"/>
                  <a:gd name="connsiteY1" fmla="*/ 108136 h 108135"/>
                  <a:gd name="connsiteX2" fmla="*/ 1356 w 178306"/>
                  <a:gd name="connsiteY2" fmla="*/ 10508 h 108135"/>
                  <a:gd name="connsiteX3" fmla="*/ 1356 w 178306"/>
                  <a:gd name="connsiteY3" fmla="*/ 1356 h 108135"/>
                  <a:gd name="connsiteX4" fmla="*/ 10510 w 178306"/>
                  <a:gd name="connsiteY4" fmla="*/ 1356 h 108135"/>
                  <a:gd name="connsiteX5" fmla="*/ 172204 w 178306"/>
                  <a:gd name="connsiteY5" fmla="*/ 92881 h 108135"/>
                  <a:gd name="connsiteX6" fmla="*/ 178306 w 178306"/>
                  <a:gd name="connsiteY6" fmla="*/ 98984 h 108135"/>
                  <a:gd name="connsiteX7" fmla="*/ 172204 w 178306"/>
                  <a:gd name="connsiteY7" fmla="*/ 108136 h 108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8306" h="108135">
                    <a:moveTo>
                      <a:pt x="172204" y="108136"/>
                    </a:moveTo>
                    <a:cubicBezTo>
                      <a:pt x="169152" y="108136"/>
                      <a:pt x="169152" y="108136"/>
                      <a:pt x="172204" y="108136"/>
                    </a:cubicBezTo>
                    <a:cubicBezTo>
                      <a:pt x="74577" y="105085"/>
                      <a:pt x="4408" y="13559"/>
                      <a:pt x="1356" y="10508"/>
                    </a:cubicBezTo>
                    <a:cubicBezTo>
                      <a:pt x="-1695" y="7458"/>
                      <a:pt x="1356" y="4407"/>
                      <a:pt x="1356" y="1356"/>
                    </a:cubicBezTo>
                    <a:cubicBezTo>
                      <a:pt x="4408" y="-1695"/>
                      <a:pt x="7458" y="1356"/>
                      <a:pt x="10510" y="1356"/>
                    </a:cubicBezTo>
                    <a:cubicBezTo>
                      <a:pt x="10510" y="1356"/>
                      <a:pt x="80679" y="89830"/>
                      <a:pt x="172204" y="92881"/>
                    </a:cubicBezTo>
                    <a:cubicBezTo>
                      <a:pt x="175254" y="92881"/>
                      <a:pt x="178306" y="95932"/>
                      <a:pt x="178306" y="98984"/>
                    </a:cubicBezTo>
                    <a:cubicBezTo>
                      <a:pt x="175254" y="105085"/>
                      <a:pt x="175254" y="108136"/>
                      <a:pt x="172204" y="10813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E3C5D48D-B2EB-41C2-B406-75A51472CC0C}"/>
                  </a:ext>
                </a:extLst>
              </p:cNvPr>
              <p:cNvSpPr/>
              <p:nvPr/>
            </p:nvSpPr>
            <p:spPr>
              <a:xfrm>
                <a:off x="19207496" y="12027481"/>
                <a:ext cx="48812" cy="12203"/>
              </a:xfrm>
              <a:custGeom>
                <a:avLst/>
                <a:gdLst>
                  <a:gd name="connsiteX0" fmla="*/ 6102 w 48812"/>
                  <a:gd name="connsiteY0" fmla="*/ 12203 h 12203"/>
                  <a:gd name="connsiteX1" fmla="*/ 0 w 48812"/>
                  <a:gd name="connsiteY1" fmla="*/ 6101 h 12203"/>
                  <a:gd name="connsiteX2" fmla="*/ 6102 w 48812"/>
                  <a:gd name="connsiteY2" fmla="*/ 0 h 12203"/>
                  <a:gd name="connsiteX3" fmla="*/ 42713 w 48812"/>
                  <a:gd name="connsiteY3" fmla="*/ 0 h 12203"/>
                  <a:gd name="connsiteX4" fmla="*/ 48813 w 48812"/>
                  <a:gd name="connsiteY4" fmla="*/ 6101 h 12203"/>
                  <a:gd name="connsiteX5" fmla="*/ 42713 w 48812"/>
                  <a:gd name="connsiteY5" fmla="*/ 12203 h 12203"/>
                  <a:gd name="connsiteX6" fmla="*/ 6102 w 48812"/>
                  <a:gd name="connsiteY6" fmla="*/ 12203 h 12203"/>
                  <a:gd name="connsiteX7" fmla="*/ 6102 w 48812"/>
                  <a:gd name="connsiteY7" fmla="*/ 12203 h 12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812" h="12203">
                    <a:moveTo>
                      <a:pt x="6102" y="12203"/>
                    </a:moveTo>
                    <a:cubicBezTo>
                      <a:pt x="3050" y="12203"/>
                      <a:pt x="0" y="9152"/>
                      <a:pt x="0" y="6101"/>
                    </a:cubicBezTo>
                    <a:cubicBezTo>
                      <a:pt x="0" y="3051"/>
                      <a:pt x="3050" y="0"/>
                      <a:pt x="6102" y="0"/>
                    </a:cubicBezTo>
                    <a:lnTo>
                      <a:pt x="42713" y="0"/>
                    </a:lnTo>
                    <a:cubicBezTo>
                      <a:pt x="45763" y="0"/>
                      <a:pt x="48813" y="3051"/>
                      <a:pt x="48813" y="6101"/>
                    </a:cubicBezTo>
                    <a:cubicBezTo>
                      <a:pt x="48813" y="9152"/>
                      <a:pt x="45763" y="12203"/>
                      <a:pt x="42713" y="12203"/>
                    </a:cubicBezTo>
                    <a:lnTo>
                      <a:pt x="6102" y="12203"/>
                    </a:lnTo>
                    <a:cubicBezTo>
                      <a:pt x="6102" y="12203"/>
                      <a:pt x="6102" y="12203"/>
                      <a:pt x="6102" y="1220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33B13737-BB88-48C8-A491-B4D00C006D3F}"/>
                  </a:ext>
                </a:extLst>
              </p:cNvPr>
              <p:cNvSpPr/>
              <p:nvPr/>
            </p:nvSpPr>
            <p:spPr>
              <a:xfrm>
                <a:off x="19216648" y="12073244"/>
                <a:ext cx="48814" cy="12203"/>
              </a:xfrm>
              <a:custGeom>
                <a:avLst/>
                <a:gdLst>
                  <a:gd name="connsiteX0" fmla="*/ 6102 w 48814"/>
                  <a:gd name="connsiteY0" fmla="*/ 12203 h 12203"/>
                  <a:gd name="connsiteX1" fmla="*/ 0 w 48814"/>
                  <a:gd name="connsiteY1" fmla="*/ 6101 h 12203"/>
                  <a:gd name="connsiteX2" fmla="*/ 6102 w 48814"/>
                  <a:gd name="connsiteY2" fmla="*/ 0 h 12203"/>
                  <a:gd name="connsiteX3" fmla="*/ 42713 w 48814"/>
                  <a:gd name="connsiteY3" fmla="*/ 0 h 12203"/>
                  <a:gd name="connsiteX4" fmla="*/ 48815 w 48814"/>
                  <a:gd name="connsiteY4" fmla="*/ 6101 h 12203"/>
                  <a:gd name="connsiteX5" fmla="*/ 42713 w 48814"/>
                  <a:gd name="connsiteY5" fmla="*/ 12203 h 12203"/>
                  <a:gd name="connsiteX6" fmla="*/ 6102 w 48814"/>
                  <a:gd name="connsiteY6" fmla="*/ 12203 h 12203"/>
                  <a:gd name="connsiteX7" fmla="*/ 6102 w 48814"/>
                  <a:gd name="connsiteY7" fmla="*/ 12203 h 12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814" h="12203">
                    <a:moveTo>
                      <a:pt x="6102" y="12203"/>
                    </a:moveTo>
                    <a:cubicBezTo>
                      <a:pt x="3052" y="12203"/>
                      <a:pt x="0" y="9152"/>
                      <a:pt x="0" y="6101"/>
                    </a:cubicBezTo>
                    <a:cubicBezTo>
                      <a:pt x="0" y="3051"/>
                      <a:pt x="3052" y="0"/>
                      <a:pt x="6102" y="0"/>
                    </a:cubicBezTo>
                    <a:lnTo>
                      <a:pt x="42713" y="0"/>
                    </a:lnTo>
                    <a:cubicBezTo>
                      <a:pt x="45763" y="0"/>
                      <a:pt x="48815" y="3051"/>
                      <a:pt x="48815" y="6101"/>
                    </a:cubicBezTo>
                    <a:cubicBezTo>
                      <a:pt x="48815" y="9152"/>
                      <a:pt x="45763" y="12203"/>
                      <a:pt x="42713" y="12203"/>
                    </a:cubicBezTo>
                    <a:lnTo>
                      <a:pt x="6102" y="12203"/>
                    </a:lnTo>
                    <a:cubicBezTo>
                      <a:pt x="6102" y="12203"/>
                      <a:pt x="6102" y="12203"/>
                      <a:pt x="6102" y="1220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" name="图形 114">
              <a:extLst>
                <a:ext uri="{FF2B5EF4-FFF2-40B4-BE49-F238E27FC236}">
                  <a16:creationId xmlns:a16="http://schemas.microsoft.com/office/drawing/2014/main" id="{3AAE60C9-CA75-46FE-9793-89426026BA3A}"/>
                </a:ext>
              </a:extLst>
            </p:cNvPr>
            <p:cNvGrpSpPr/>
            <p:nvPr/>
          </p:nvGrpSpPr>
          <p:grpSpPr>
            <a:xfrm>
              <a:off x="20114615" y="12039685"/>
              <a:ext cx="496270" cy="344745"/>
              <a:chOff x="20114615" y="12039685"/>
              <a:chExt cx="496270" cy="344745"/>
            </a:xfrm>
          </p:grpSpPr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D9C9D2FA-8B6D-4AE6-B9F2-2CBF2684A160}"/>
                  </a:ext>
                </a:extLst>
              </p:cNvPr>
              <p:cNvSpPr/>
              <p:nvPr/>
            </p:nvSpPr>
            <p:spPr>
              <a:xfrm>
                <a:off x="20131902" y="12039685"/>
                <a:ext cx="183050" cy="225762"/>
              </a:xfrm>
              <a:custGeom>
                <a:avLst/>
                <a:gdLst>
                  <a:gd name="connsiteX0" fmla="*/ 6102 w 183050"/>
                  <a:gd name="connsiteY0" fmla="*/ 186102 h 225762"/>
                  <a:gd name="connsiteX1" fmla="*/ 0 w 183050"/>
                  <a:gd name="connsiteY1" fmla="*/ 0 h 225762"/>
                  <a:gd name="connsiteX2" fmla="*/ 183051 w 183050"/>
                  <a:gd name="connsiteY2" fmla="*/ 0 h 225762"/>
                  <a:gd name="connsiteX3" fmla="*/ 167797 w 183050"/>
                  <a:gd name="connsiteY3" fmla="*/ 195254 h 225762"/>
                  <a:gd name="connsiteX4" fmla="*/ 18306 w 183050"/>
                  <a:gd name="connsiteY4" fmla="*/ 225763 h 22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3050" h="225762">
                    <a:moveTo>
                      <a:pt x="6102" y="186102"/>
                    </a:moveTo>
                    <a:lnTo>
                      <a:pt x="0" y="0"/>
                    </a:lnTo>
                    <a:lnTo>
                      <a:pt x="183051" y="0"/>
                    </a:lnTo>
                    <a:lnTo>
                      <a:pt x="167797" y="195254"/>
                    </a:lnTo>
                    <a:lnTo>
                      <a:pt x="18306" y="225763"/>
                    </a:ln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292F610A-0FDC-4D0F-B091-8F756761BAF8}"/>
                  </a:ext>
                </a:extLst>
              </p:cNvPr>
              <p:cNvSpPr/>
              <p:nvPr/>
            </p:nvSpPr>
            <p:spPr>
              <a:xfrm>
                <a:off x="20114615" y="12180024"/>
                <a:ext cx="496270" cy="158643"/>
              </a:xfrm>
              <a:custGeom>
                <a:avLst/>
                <a:gdLst>
                  <a:gd name="connsiteX0" fmla="*/ 8135 w 496270"/>
                  <a:gd name="connsiteY0" fmla="*/ 45763 h 158643"/>
                  <a:gd name="connsiteX1" fmla="*/ 194236 w 496270"/>
                  <a:gd name="connsiteY1" fmla="*/ 0 h 158643"/>
                  <a:gd name="connsiteX2" fmla="*/ 328474 w 496270"/>
                  <a:gd name="connsiteY2" fmla="*/ 79322 h 158643"/>
                  <a:gd name="connsiteX3" fmla="*/ 496271 w 496270"/>
                  <a:gd name="connsiteY3" fmla="*/ 158644 h 158643"/>
                  <a:gd name="connsiteX4" fmla="*/ 8135 w 496270"/>
                  <a:gd name="connsiteY4" fmla="*/ 158644 h 158643"/>
                  <a:gd name="connsiteX5" fmla="*/ 8135 w 496270"/>
                  <a:gd name="connsiteY5" fmla="*/ 45763 h 158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6270" h="158643">
                    <a:moveTo>
                      <a:pt x="8135" y="45763"/>
                    </a:moveTo>
                    <a:cubicBezTo>
                      <a:pt x="8135" y="45763"/>
                      <a:pt x="133219" y="64068"/>
                      <a:pt x="194236" y="0"/>
                    </a:cubicBezTo>
                    <a:cubicBezTo>
                      <a:pt x="194236" y="0"/>
                      <a:pt x="282712" y="70169"/>
                      <a:pt x="328474" y="79322"/>
                    </a:cubicBezTo>
                    <a:cubicBezTo>
                      <a:pt x="374237" y="88474"/>
                      <a:pt x="484067" y="85423"/>
                      <a:pt x="496271" y="158644"/>
                    </a:cubicBezTo>
                    <a:lnTo>
                      <a:pt x="8135" y="158644"/>
                    </a:lnTo>
                    <a:cubicBezTo>
                      <a:pt x="8135" y="158644"/>
                      <a:pt x="-10169" y="94576"/>
                      <a:pt x="8135" y="4576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9FAE01ED-7724-4D38-B6E6-779327807DD7}"/>
                  </a:ext>
                </a:extLst>
              </p:cNvPr>
              <p:cNvSpPr/>
              <p:nvPr/>
            </p:nvSpPr>
            <p:spPr>
              <a:xfrm>
                <a:off x="20122750" y="12338668"/>
                <a:ext cx="488135" cy="45762"/>
              </a:xfrm>
              <a:custGeom>
                <a:avLst/>
                <a:gdLst>
                  <a:gd name="connsiteX0" fmla="*/ 0 w 488135"/>
                  <a:gd name="connsiteY0" fmla="*/ 0 h 45762"/>
                  <a:gd name="connsiteX1" fmla="*/ 488136 w 488135"/>
                  <a:gd name="connsiteY1" fmla="*/ 0 h 45762"/>
                  <a:gd name="connsiteX2" fmla="*/ 488136 w 488135"/>
                  <a:gd name="connsiteY2" fmla="*/ 45762 h 45762"/>
                  <a:gd name="connsiteX3" fmla="*/ 0 w 488135"/>
                  <a:gd name="connsiteY3" fmla="*/ 45762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5" h="45762">
                    <a:moveTo>
                      <a:pt x="0" y="0"/>
                    </a:moveTo>
                    <a:lnTo>
                      <a:pt x="488136" y="0"/>
                    </a:lnTo>
                    <a:lnTo>
                      <a:pt x="488136" y="45762"/>
                    </a:lnTo>
                    <a:lnTo>
                      <a:pt x="0" y="45762"/>
                    </a:lnTo>
                    <a:close/>
                  </a:path>
                </a:pathLst>
              </a:custGeom>
              <a:solidFill>
                <a:srgbClr val="38333D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F0277162-8A7F-4718-A650-BCEABE6E3658}"/>
                  </a:ext>
                </a:extLst>
              </p:cNvPr>
              <p:cNvSpPr/>
              <p:nvPr/>
            </p:nvSpPr>
            <p:spPr>
              <a:xfrm>
                <a:off x="20116648" y="12168583"/>
                <a:ext cx="200594" cy="63304"/>
              </a:xfrm>
              <a:custGeom>
                <a:avLst/>
                <a:gdLst>
                  <a:gd name="connsiteX0" fmla="*/ 42713 w 200594"/>
                  <a:gd name="connsiteY0" fmla="*/ 63305 h 63304"/>
                  <a:gd name="connsiteX1" fmla="*/ 6102 w 200594"/>
                  <a:gd name="connsiteY1" fmla="*/ 60254 h 63304"/>
                  <a:gd name="connsiteX2" fmla="*/ 0 w 200594"/>
                  <a:gd name="connsiteY2" fmla="*/ 54152 h 63304"/>
                  <a:gd name="connsiteX3" fmla="*/ 6102 w 200594"/>
                  <a:gd name="connsiteY3" fmla="*/ 48050 h 63304"/>
                  <a:gd name="connsiteX4" fmla="*/ 189153 w 200594"/>
                  <a:gd name="connsiteY4" fmla="*/ 2288 h 63304"/>
                  <a:gd name="connsiteX5" fmla="*/ 198305 w 200594"/>
                  <a:gd name="connsiteY5" fmla="*/ 2288 h 63304"/>
                  <a:gd name="connsiteX6" fmla="*/ 198305 w 200594"/>
                  <a:gd name="connsiteY6" fmla="*/ 11441 h 63304"/>
                  <a:gd name="connsiteX7" fmla="*/ 42713 w 200594"/>
                  <a:gd name="connsiteY7" fmla="*/ 63305 h 63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0594" h="63304">
                    <a:moveTo>
                      <a:pt x="42713" y="63305"/>
                    </a:moveTo>
                    <a:cubicBezTo>
                      <a:pt x="21356" y="63305"/>
                      <a:pt x="9152" y="60254"/>
                      <a:pt x="6102" y="60254"/>
                    </a:cubicBezTo>
                    <a:cubicBezTo>
                      <a:pt x="3052" y="60254"/>
                      <a:pt x="0" y="57203"/>
                      <a:pt x="0" y="54152"/>
                    </a:cubicBezTo>
                    <a:cubicBezTo>
                      <a:pt x="0" y="51101"/>
                      <a:pt x="3052" y="48050"/>
                      <a:pt x="6102" y="48050"/>
                    </a:cubicBezTo>
                    <a:cubicBezTo>
                      <a:pt x="6102" y="48050"/>
                      <a:pt x="118984" y="63305"/>
                      <a:pt x="189153" y="2288"/>
                    </a:cubicBezTo>
                    <a:cubicBezTo>
                      <a:pt x="192203" y="-763"/>
                      <a:pt x="195255" y="-763"/>
                      <a:pt x="198305" y="2288"/>
                    </a:cubicBezTo>
                    <a:cubicBezTo>
                      <a:pt x="201357" y="5339"/>
                      <a:pt x="201357" y="8390"/>
                      <a:pt x="198305" y="11441"/>
                    </a:cubicBezTo>
                    <a:cubicBezTo>
                      <a:pt x="149492" y="57203"/>
                      <a:pt x="82373" y="63305"/>
                      <a:pt x="42713" y="6330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C92B008A-31C1-4820-97F7-2DCFC3CFA66B}"/>
                  </a:ext>
                </a:extLst>
              </p:cNvPr>
              <p:cNvSpPr/>
              <p:nvPr/>
            </p:nvSpPr>
            <p:spPr>
              <a:xfrm>
                <a:off x="20312665" y="12196041"/>
                <a:ext cx="38135" cy="41948"/>
              </a:xfrm>
              <a:custGeom>
                <a:avLst/>
                <a:gdLst>
                  <a:gd name="connsiteX0" fmla="*/ 5340 w 38135"/>
                  <a:gd name="connsiteY0" fmla="*/ 41949 h 41948"/>
                  <a:gd name="connsiteX1" fmla="*/ 2288 w 38135"/>
                  <a:gd name="connsiteY1" fmla="*/ 38898 h 41948"/>
                  <a:gd name="connsiteX2" fmla="*/ 2288 w 38135"/>
                  <a:gd name="connsiteY2" fmla="*/ 29746 h 41948"/>
                  <a:gd name="connsiteX3" fmla="*/ 26694 w 38135"/>
                  <a:gd name="connsiteY3" fmla="*/ 2288 h 41948"/>
                  <a:gd name="connsiteX4" fmla="*/ 35848 w 38135"/>
                  <a:gd name="connsiteY4" fmla="*/ 2288 h 41948"/>
                  <a:gd name="connsiteX5" fmla="*/ 35848 w 38135"/>
                  <a:gd name="connsiteY5" fmla="*/ 11440 h 41948"/>
                  <a:gd name="connsiteX6" fmla="*/ 11440 w 38135"/>
                  <a:gd name="connsiteY6" fmla="*/ 38898 h 41948"/>
                  <a:gd name="connsiteX7" fmla="*/ 5340 w 38135"/>
                  <a:gd name="connsiteY7" fmla="*/ 41949 h 41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135" h="41948">
                    <a:moveTo>
                      <a:pt x="5340" y="41949"/>
                    </a:moveTo>
                    <a:cubicBezTo>
                      <a:pt x="5340" y="41949"/>
                      <a:pt x="2288" y="41949"/>
                      <a:pt x="2288" y="38898"/>
                    </a:cubicBezTo>
                    <a:cubicBezTo>
                      <a:pt x="-763" y="35847"/>
                      <a:pt x="-763" y="32797"/>
                      <a:pt x="2288" y="29746"/>
                    </a:cubicBezTo>
                    <a:lnTo>
                      <a:pt x="26694" y="2288"/>
                    </a:lnTo>
                    <a:cubicBezTo>
                      <a:pt x="29746" y="-763"/>
                      <a:pt x="32796" y="-763"/>
                      <a:pt x="35848" y="2288"/>
                    </a:cubicBezTo>
                    <a:cubicBezTo>
                      <a:pt x="38898" y="5338"/>
                      <a:pt x="38898" y="8389"/>
                      <a:pt x="35848" y="11440"/>
                    </a:cubicBezTo>
                    <a:lnTo>
                      <a:pt x="11440" y="38898"/>
                    </a:lnTo>
                    <a:cubicBezTo>
                      <a:pt x="8390" y="41949"/>
                      <a:pt x="8390" y="41949"/>
                      <a:pt x="5340" y="4194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0AB4BB1F-C041-4247-B813-1086443FE5FE}"/>
                  </a:ext>
                </a:extLst>
              </p:cNvPr>
              <p:cNvSpPr/>
              <p:nvPr/>
            </p:nvSpPr>
            <p:spPr>
              <a:xfrm>
                <a:off x="20352326" y="12223498"/>
                <a:ext cx="41187" cy="41948"/>
              </a:xfrm>
              <a:custGeom>
                <a:avLst/>
                <a:gdLst>
                  <a:gd name="connsiteX0" fmla="*/ 5340 w 41187"/>
                  <a:gd name="connsiteY0" fmla="*/ 41949 h 41948"/>
                  <a:gd name="connsiteX1" fmla="*/ 2288 w 41187"/>
                  <a:gd name="connsiteY1" fmla="*/ 38898 h 41948"/>
                  <a:gd name="connsiteX2" fmla="*/ 2288 w 41187"/>
                  <a:gd name="connsiteY2" fmla="*/ 29746 h 41948"/>
                  <a:gd name="connsiteX3" fmla="*/ 29746 w 41187"/>
                  <a:gd name="connsiteY3" fmla="*/ 2288 h 41948"/>
                  <a:gd name="connsiteX4" fmla="*/ 38898 w 41187"/>
                  <a:gd name="connsiteY4" fmla="*/ 2288 h 41948"/>
                  <a:gd name="connsiteX5" fmla="*/ 38898 w 41187"/>
                  <a:gd name="connsiteY5" fmla="*/ 11440 h 41948"/>
                  <a:gd name="connsiteX6" fmla="*/ 11442 w 41187"/>
                  <a:gd name="connsiteY6" fmla="*/ 38898 h 41948"/>
                  <a:gd name="connsiteX7" fmla="*/ 5340 w 41187"/>
                  <a:gd name="connsiteY7" fmla="*/ 41949 h 41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187" h="41948">
                    <a:moveTo>
                      <a:pt x="5340" y="41949"/>
                    </a:moveTo>
                    <a:cubicBezTo>
                      <a:pt x="5340" y="41949"/>
                      <a:pt x="2288" y="41949"/>
                      <a:pt x="2288" y="38898"/>
                    </a:cubicBezTo>
                    <a:cubicBezTo>
                      <a:pt x="-763" y="35848"/>
                      <a:pt x="-763" y="32797"/>
                      <a:pt x="2288" y="29746"/>
                    </a:cubicBezTo>
                    <a:lnTo>
                      <a:pt x="29746" y="2288"/>
                    </a:lnTo>
                    <a:cubicBezTo>
                      <a:pt x="32796" y="-763"/>
                      <a:pt x="35848" y="-763"/>
                      <a:pt x="38898" y="2288"/>
                    </a:cubicBezTo>
                    <a:cubicBezTo>
                      <a:pt x="41950" y="5339"/>
                      <a:pt x="41950" y="8389"/>
                      <a:pt x="38898" y="11440"/>
                    </a:cubicBezTo>
                    <a:lnTo>
                      <a:pt x="11442" y="38898"/>
                    </a:lnTo>
                    <a:cubicBezTo>
                      <a:pt x="8390" y="38898"/>
                      <a:pt x="5340" y="41949"/>
                      <a:pt x="5340" y="4194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D26895A2-AD05-465C-A947-128AB8FA9CE9}"/>
                </a:ext>
              </a:extLst>
            </p:cNvPr>
            <p:cNvSpPr/>
            <p:nvPr/>
          </p:nvSpPr>
          <p:spPr>
            <a:xfrm>
              <a:off x="19073258" y="9824769"/>
              <a:ext cx="1386953" cy="2297288"/>
            </a:xfrm>
            <a:custGeom>
              <a:avLst/>
              <a:gdLst>
                <a:gd name="connsiteX0" fmla="*/ 1378983 w 1386953"/>
                <a:gd name="connsiteY0" fmla="*/ 21356 h 2297288"/>
                <a:gd name="connsiteX1" fmla="*/ 1366781 w 1386953"/>
                <a:gd name="connsiteY1" fmla="*/ 1406441 h 2297288"/>
                <a:gd name="connsiteX2" fmla="*/ 1296610 w 1386953"/>
                <a:gd name="connsiteY2" fmla="*/ 2297289 h 2297288"/>
                <a:gd name="connsiteX3" fmla="*/ 1000679 w 1386953"/>
                <a:gd name="connsiteY3" fmla="*/ 2297289 h 2297288"/>
                <a:gd name="connsiteX4" fmla="*/ 964069 w 1386953"/>
                <a:gd name="connsiteY4" fmla="*/ 1430847 h 2297288"/>
                <a:gd name="connsiteX5" fmla="*/ 881696 w 1386953"/>
                <a:gd name="connsiteY5" fmla="*/ 503390 h 2297288"/>
                <a:gd name="connsiteX6" fmla="*/ 842035 w 1386953"/>
                <a:gd name="connsiteY6" fmla="*/ 1412543 h 2297288"/>
                <a:gd name="connsiteX7" fmla="*/ 805424 w 1386953"/>
                <a:gd name="connsiteY7" fmla="*/ 1510170 h 2297288"/>
                <a:gd name="connsiteX8" fmla="*/ 286780 w 1386953"/>
                <a:gd name="connsiteY8" fmla="*/ 2181356 h 2297288"/>
                <a:gd name="connsiteX9" fmla="*/ 0 w 1386953"/>
                <a:gd name="connsiteY9" fmla="*/ 1940339 h 2297288"/>
                <a:gd name="connsiteX10" fmla="*/ 433221 w 1386953"/>
                <a:gd name="connsiteY10" fmla="*/ 1342373 h 2297288"/>
                <a:gd name="connsiteX11" fmla="*/ 353899 w 1386953"/>
                <a:gd name="connsiteY11" fmla="*/ 0 h 2297288"/>
                <a:gd name="connsiteX12" fmla="*/ 1378983 w 1386953"/>
                <a:gd name="connsiteY12" fmla="*/ 21356 h 2297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86953" h="2297288">
                  <a:moveTo>
                    <a:pt x="1378983" y="21356"/>
                  </a:moveTo>
                  <a:cubicBezTo>
                    <a:pt x="1378983" y="21356"/>
                    <a:pt x="1403390" y="1095254"/>
                    <a:pt x="1366781" y="1406441"/>
                  </a:cubicBezTo>
                  <a:cubicBezTo>
                    <a:pt x="1336273" y="1677966"/>
                    <a:pt x="1296610" y="2297289"/>
                    <a:pt x="1296610" y="2297289"/>
                  </a:cubicBezTo>
                  <a:lnTo>
                    <a:pt x="1000679" y="2297289"/>
                  </a:lnTo>
                  <a:cubicBezTo>
                    <a:pt x="1000679" y="2297289"/>
                    <a:pt x="967119" y="1528475"/>
                    <a:pt x="964069" y="1430847"/>
                  </a:cubicBezTo>
                  <a:cubicBezTo>
                    <a:pt x="957967" y="1290509"/>
                    <a:pt x="896950" y="533898"/>
                    <a:pt x="881696" y="503390"/>
                  </a:cubicBezTo>
                  <a:cubicBezTo>
                    <a:pt x="869492" y="478983"/>
                    <a:pt x="848137" y="1205085"/>
                    <a:pt x="842035" y="1412543"/>
                  </a:cubicBezTo>
                  <a:cubicBezTo>
                    <a:pt x="842035" y="1449153"/>
                    <a:pt x="829831" y="1482712"/>
                    <a:pt x="805424" y="1510170"/>
                  </a:cubicBezTo>
                  <a:lnTo>
                    <a:pt x="286780" y="2181356"/>
                  </a:lnTo>
                  <a:lnTo>
                    <a:pt x="0" y="1940339"/>
                  </a:lnTo>
                  <a:lnTo>
                    <a:pt x="433221" y="1342373"/>
                  </a:lnTo>
                  <a:cubicBezTo>
                    <a:pt x="433221" y="1342373"/>
                    <a:pt x="311187" y="97627"/>
                    <a:pt x="353899" y="0"/>
                  </a:cubicBezTo>
                  <a:cubicBezTo>
                    <a:pt x="1055594" y="33560"/>
                    <a:pt x="1378983" y="21356"/>
                    <a:pt x="1378983" y="21356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2805D511-ABEE-413D-A54B-2BB40614182E}"/>
                </a:ext>
              </a:extLst>
            </p:cNvPr>
            <p:cNvSpPr/>
            <p:nvPr/>
          </p:nvSpPr>
          <p:spPr>
            <a:xfrm>
              <a:off x="19948851" y="9968159"/>
              <a:ext cx="70169" cy="366101"/>
            </a:xfrm>
            <a:custGeom>
              <a:avLst/>
              <a:gdLst>
                <a:gd name="connsiteX0" fmla="*/ 6102 w 70169"/>
                <a:gd name="connsiteY0" fmla="*/ 366102 h 366101"/>
                <a:gd name="connsiteX1" fmla="*/ 6102 w 70169"/>
                <a:gd name="connsiteY1" fmla="*/ 366102 h 366101"/>
                <a:gd name="connsiteX2" fmla="*/ 0 w 70169"/>
                <a:gd name="connsiteY2" fmla="*/ 356949 h 366101"/>
                <a:gd name="connsiteX3" fmla="*/ 57967 w 70169"/>
                <a:gd name="connsiteY3" fmla="*/ 6101 h 366101"/>
                <a:gd name="connsiteX4" fmla="*/ 64069 w 70169"/>
                <a:gd name="connsiteY4" fmla="*/ 0 h 366101"/>
                <a:gd name="connsiteX5" fmla="*/ 64069 w 70169"/>
                <a:gd name="connsiteY5" fmla="*/ 0 h 366101"/>
                <a:gd name="connsiteX6" fmla="*/ 70169 w 70169"/>
                <a:gd name="connsiteY6" fmla="*/ 6101 h 366101"/>
                <a:gd name="connsiteX7" fmla="*/ 12204 w 70169"/>
                <a:gd name="connsiteY7" fmla="*/ 360000 h 366101"/>
                <a:gd name="connsiteX8" fmla="*/ 6102 w 70169"/>
                <a:gd name="connsiteY8" fmla="*/ 366102 h 36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169" h="366101">
                  <a:moveTo>
                    <a:pt x="6102" y="366102"/>
                  </a:moveTo>
                  <a:cubicBezTo>
                    <a:pt x="6102" y="366102"/>
                    <a:pt x="6102" y="366102"/>
                    <a:pt x="6102" y="366102"/>
                  </a:cubicBezTo>
                  <a:cubicBezTo>
                    <a:pt x="0" y="363051"/>
                    <a:pt x="0" y="360000"/>
                    <a:pt x="0" y="356949"/>
                  </a:cubicBezTo>
                  <a:cubicBezTo>
                    <a:pt x="48815" y="244068"/>
                    <a:pt x="57967" y="9152"/>
                    <a:pt x="57967" y="6101"/>
                  </a:cubicBezTo>
                  <a:cubicBezTo>
                    <a:pt x="57967" y="3051"/>
                    <a:pt x="61017" y="0"/>
                    <a:pt x="64069" y="0"/>
                  </a:cubicBezTo>
                  <a:cubicBezTo>
                    <a:pt x="64069" y="0"/>
                    <a:pt x="64069" y="0"/>
                    <a:pt x="64069" y="0"/>
                  </a:cubicBezTo>
                  <a:cubicBezTo>
                    <a:pt x="67119" y="0"/>
                    <a:pt x="70169" y="3051"/>
                    <a:pt x="70169" y="6101"/>
                  </a:cubicBezTo>
                  <a:cubicBezTo>
                    <a:pt x="70169" y="15254"/>
                    <a:pt x="61017" y="244068"/>
                    <a:pt x="12204" y="360000"/>
                  </a:cubicBezTo>
                  <a:cubicBezTo>
                    <a:pt x="12204" y="366102"/>
                    <a:pt x="9152" y="366102"/>
                    <a:pt x="6102" y="366102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C5424E98-C4CF-437E-853C-F1326F3EC18D}"/>
                </a:ext>
              </a:extLst>
            </p:cNvPr>
            <p:cNvSpPr/>
            <p:nvPr/>
          </p:nvSpPr>
          <p:spPr>
            <a:xfrm>
              <a:off x="19978096" y="9897989"/>
              <a:ext cx="156857" cy="356949"/>
            </a:xfrm>
            <a:custGeom>
              <a:avLst/>
              <a:gdLst>
                <a:gd name="connsiteX0" fmla="*/ 7365 w 156857"/>
                <a:gd name="connsiteY0" fmla="*/ 356950 h 356949"/>
                <a:gd name="connsiteX1" fmla="*/ 1263 w 156857"/>
                <a:gd name="connsiteY1" fmla="*/ 353899 h 356949"/>
                <a:gd name="connsiteX2" fmla="*/ 4315 w 156857"/>
                <a:gd name="connsiteY2" fmla="*/ 344746 h 356949"/>
                <a:gd name="connsiteX3" fmla="*/ 111095 w 156857"/>
                <a:gd name="connsiteY3" fmla="*/ 268475 h 356949"/>
                <a:gd name="connsiteX4" fmla="*/ 144654 w 156857"/>
                <a:gd name="connsiteY4" fmla="*/ 6102 h 356949"/>
                <a:gd name="connsiteX5" fmla="*/ 150756 w 156857"/>
                <a:gd name="connsiteY5" fmla="*/ 0 h 356949"/>
                <a:gd name="connsiteX6" fmla="*/ 156858 w 156857"/>
                <a:gd name="connsiteY6" fmla="*/ 6102 h 356949"/>
                <a:gd name="connsiteX7" fmla="*/ 123297 w 156857"/>
                <a:gd name="connsiteY7" fmla="*/ 274576 h 356949"/>
                <a:gd name="connsiteX8" fmla="*/ 13467 w 156857"/>
                <a:gd name="connsiteY8" fmla="*/ 353899 h 356949"/>
                <a:gd name="connsiteX9" fmla="*/ 7365 w 156857"/>
                <a:gd name="connsiteY9" fmla="*/ 356950 h 35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857" h="356949">
                  <a:moveTo>
                    <a:pt x="7365" y="356950"/>
                  </a:moveTo>
                  <a:cubicBezTo>
                    <a:pt x="4315" y="356950"/>
                    <a:pt x="4315" y="356950"/>
                    <a:pt x="1263" y="353899"/>
                  </a:cubicBezTo>
                  <a:cubicBezTo>
                    <a:pt x="-1787" y="350847"/>
                    <a:pt x="1263" y="347797"/>
                    <a:pt x="4315" y="344746"/>
                  </a:cubicBezTo>
                  <a:cubicBezTo>
                    <a:pt x="43976" y="320339"/>
                    <a:pt x="101941" y="277627"/>
                    <a:pt x="111095" y="268475"/>
                  </a:cubicBezTo>
                  <a:cubicBezTo>
                    <a:pt x="120247" y="256272"/>
                    <a:pt x="135501" y="100679"/>
                    <a:pt x="144654" y="6102"/>
                  </a:cubicBezTo>
                  <a:cubicBezTo>
                    <a:pt x="144654" y="3051"/>
                    <a:pt x="147704" y="0"/>
                    <a:pt x="150756" y="0"/>
                  </a:cubicBezTo>
                  <a:cubicBezTo>
                    <a:pt x="153806" y="0"/>
                    <a:pt x="156858" y="3051"/>
                    <a:pt x="156858" y="6102"/>
                  </a:cubicBezTo>
                  <a:cubicBezTo>
                    <a:pt x="153806" y="48814"/>
                    <a:pt x="132449" y="259322"/>
                    <a:pt x="123297" y="274576"/>
                  </a:cubicBezTo>
                  <a:cubicBezTo>
                    <a:pt x="111095" y="289831"/>
                    <a:pt x="22620" y="347797"/>
                    <a:pt x="13467" y="353899"/>
                  </a:cubicBezTo>
                  <a:cubicBezTo>
                    <a:pt x="7365" y="356950"/>
                    <a:pt x="7365" y="356950"/>
                    <a:pt x="7365" y="356950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A50E6939-BD50-4698-A729-25287F49669C}"/>
                </a:ext>
              </a:extLst>
            </p:cNvPr>
            <p:cNvSpPr/>
            <p:nvPr/>
          </p:nvSpPr>
          <p:spPr>
            <a:xfrm>
              <a:off x="20326273" y="8678821"/>
              <a:ext cx="903934" cy="869276"/>
            </a:xfrm>
            <a:custGeom>
              <a:avLst/>
              <a:gdLst>
                <a:gd name="connsiteX0" fmla="*/ 22241 w 903934"/>
                <a:gd name="connsiteY0" fmla="*/ 282559 h 869276"/>
                <a:gd name="connsiteX1" fmla="*/ 98512 w 903934"/>
                <a:gd name="connsiteY1" fmla="*/ 1880 h 869276"/>
                <a:gd name="connsiteX2" fmla="*/ 348680 w 903934"/>
                <a:gd name="connsiteY2" fmla="*/ 288660 h 869276"/>
                <a:gd name="connsiteX3" fmla="*/ 498172 w 903934"/>
                <a:gd name="connsiteY3" fmla="*/ 587644 h 869276"/>
                <a:gd name="connsiteX4" fmla="*/ 858172 w 903934"/>
                <a:gd name="connsiteY4" fmla="*/ 252050 h 869276"/>
                <a:gd name="connsiteX5" fmla="*/ 903934 w 903934"/>
                <a:gd name="connsiteY5" fmla="*/ 392389 h 869276"/>
                <a:gd name="connsiteX6" fmla="*/ 409697 w 903934"/>
                <a:gd name="connsiteY6" fmla="*/ 865270 h 869276"/>
                <a:gd name="connsiteX7" fmla="*/ 22241 w 903934"/>
                <a:gd name="connsiteY7" fmla="*/ 282559 h 869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3934" h="869276">
                  <a:moveTo>
                    <a:pt x="22241" y="282559"/>
                  </a:moveTo>
                  <a:cubicBezTo>
                    <a:pt x="-32676" y="145271"/>
                    <a:pt x="22241" y="-19475"/>
                    <a:pt x="98512" y="1880"/>
                  </a:cubicBezTo>
                  <a:cubicBezTo>
                    <a:pt x="186985" y="26287"/>
                    <a:pt x="290715" y="120864"/>
                    <a:pt x="348680" y="288660"/>
                  </a:cubicBezTo>
                  <a:cubicBezTo>
                    <a:pt x="382240" y="386287"/>
                    <a:pt x="479868" y="590694"/>
                    <a:pt x="498172" y="587644"/>
                  </a:cubicBezTo>
                  <a:cubicBezTo>
                    <a:pt x="504274" y="587644"/>
                    <a:pt x="858172" y="252050"/>
                    <a:pt x="858172" y="252050"/>
                  </a:cubicBezTo>
                  <a:cubicBezTo>
                    <a:pt x="858172" y="313067"/>
                    <a:pt x="903934" y="392389"/>
                    <a:pt x="903934" y="392389"/>
                  </a:cubicBezTo>
                  <a:cubicBezTo>
                    <a:pt x="903934" y="392389"/>
                    <a:pt x="601902" y="920186"/>
                    <a:pt x="409697" y="865270"/>
                  </a:cubicBezTo>
                  <a:cubicBezTo>
                    <a:pt x="309019" y="834762"/>
                    <a:pt x="89358" y="453406"/>
                    <a:pt x="22241" y="282559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1865F8F6-68C4-4479-A4E7-E49EC85D1AE8}"/>
                </a:ext>
              </a:extLst>
            </p:cNvPr>
            <p:cNvSpPr/>
            <p:nvPr/>
          </p:nvSpPr>
          <p:spPr>
            <a:xfrm>
              <a:off x="19408851" y="9833922"/>
              <a:ext cx="146442" cy="241016"/>
            </a:xfrm>
            <a:custGeom>
              <a:avLst/>
              <a:gdLst>
                <a:gd name="connsiteX0" fmla="*/ 6102 w 146442"/>
                <a:gd name="connsiteY0" fmla="*/ 241017 h 241016"/>
                <a:gd name="connsiteX1" fmla="*/ 0 w 146442"/>
                <a:gd name="connsiteY1" fmla="*/ 234915 h 241016"/>
                <a:gd name="connsiteX2" fmla="*/ 6102 w 146442"/>
                <a:gd name="connsiteY2" fmla="*/ 228814 h 241016"/>
                <a:gd name="connsiteX3" fmla="*/ 122034 w 146442"/>
                <a:gd name="connsiteY3" fmla="*/ 201355 h 241016"/>
                <a:gd name="connsiteX4" fmla="*/ 134238 w 146442"/>
                <a:gd name="connsiteY4" fmla="*/ 6101 h 241016"/>
                <a:gd name="connsiteX5" fmla="*/ 140340 w 146442"/>
                <a:gd name="connsiteY5" fmla="*/ 0 h 241016"/>
                <a:gd name="connsiteX6" fmla="*/ 140340 w 146442"/>
                <a:gd name="connsiteY6" fmla="*/ 0 h 241016"/>
                <a:gd name="connsiteX7" fmla="*/ 146442 w 146442"/>
                <a:gd name="connsiteY7" fmla="*/ 6101 h 241016"/>
                <a:gd name="connsiteX8" fmla="*/ 131188 w 146442"/>
                <a:gd name="connsiteY8" fmla="*/ 204406 h 241016"/>
                <a:gd name="connsiteX9" fmla="*/ 6102 w 146442"/>
                <a:gd name="connsiteY9" fmla="*/ 241017 h 241016"/>
                <a:gd name="connsiteX10" fmla="*/ 6102 w 146442"/>
                <a:gd name="connsiteY10" fmla="*/ 241017 h 241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442" h="241016">
                  <a:moveTo>
                    <a:pt x="6102" y="241017"/>
                  </a:moveTo>
                  <a:cubicBezTo>
                    <a:pt x="3052" y="241017"/>
                    <a:pt x="0" y="237966"/>
                    <a:pt x="0" y="234915"/>
                  </a:cubicBezTo>
                  <a:cubicBezTo>
                    <a:pt x="0" y="231864"/>
                    <a:pt x="3052" y="228814"/>
                    <a:pt x="6102" y="228814"/>
                  </a:cubicBezTo>
                  <a:cubicBezTo>
                    <a:pt x="57967" y="222711"/>
                    <a:pt x="118984" y="210508"/>
                    <a:pt x="122034" y="201355"/>
                  </a:cubicBezTo>
                  <a:cubicBezTo>
                    <a:pt x="128136" y="189152"/>
                    <a:pt x="134238" y="76271"/>
                    <a:pt x="134238" y="6101"/>
                  </a:cubicBezTo>
                  <a:cubicBezTo>
                    <a:pt x="134238" y="3050"/>
                    <a:pt x="137288" y="0"/>
                    <a:pt x="140340" y="0"/>
                  </a:cubicBezTo>
                  <a:cubicBezTo>
                    <a:pt x="140340" y="0"/>
                    <a:pt x="140340" y="0"/>
                    <a:pt x="140340" y="0"/>
                  </a:cubicBezTo>
                  <a:cubicBezTo>
                    <a:pt x="143390" y="0"/>
                    <a:pt x="146442" y="3050"/>
                    <a:pt x="146442" y="6101"/>
                  </a:cubicBezTo>
                  <a:cubicBezTo>
                    <a:pt x="146442" y="24406"/>
                    <a:pt x="143390" y="186101"/>
                    <a:pt x="131188" y="204406"/>
                  </a:cubicBezTo>
                  <a:cubicBezTo>
                    <a:pt x="122034" y="225763"/>
                    <a:pt x="33560" y="237966"/>
                    <a:pt x="6102" y="241017"/>
                  </a:cubicBezTo>
                  <a:cubicBezTo>
                    <a:pt x="6102" y="241017"/>
                    <a:pt x="6102" y="241017"/>
                    <a:pt x="6102" y="241017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8AFDAD4C-87FC-46E7-9F37-7607D2D76DBB}"/>
                </a:ext>
              </a:extLst>
            </p:cNvPr>
            <p:cNvSpPr/>
            <p:nvPr/>
          </p:nvSpPr>
          <p:spPr>
            <a:xfrm>
              <a:off x="20360716" y="9849177"/>
              <a:ext cx="91525" cy="207457"/>
            </a:xfrm>
            <a:custGeom>
              <a:avLst/>
              <a:gdLst>
                <a:gd name="connsiteX0" fmla="*/ 79323 w 91525"/>
                <a:gd name="connsiteY0" fmla="*/ 204406 h 207457"/>
                <a:gd name="connsiteX1" fmla="*/ 21356 w 91525"/>
                <a:gd name="connsiteY1" fmla="*/ 180000 h 207457"/>
                <a:gd name="connsiteX2" fmla="*/ 0 w 91525"/>
                <a:gd name="connsiteY2" fmla="*/ 6101 h 207457"/>
                <a:gd name="connsiteX3" fmla="*/ 6102 w 91525"/>
                <a:gd name="connsiteY3" fmla="*/ 0 h 207457"/>
                <a:gd name="connsiteX4" fmla="*/ 6102 w 91525"/>
                <a:gd name="connsiteY4" fmla="*/ 0 h 207457"/>
                <a:gd name="connsiteX5" fmla="*/ 12204 w 91525"/>
                <a:gd name="connsiteY5" fmla="*/ 6101 h 207457"/>
                <a:gd name="connsiteX6" fmla="*/ 30508 w 91525"/>
                <a:gd name="connsiteY6" fmla="*/ 176949 h 207457"/>
                <a:gd name="connsiteX7" fmla="*/ 85423 w 91525"/>
                <a:gd name="connsiteY7" fmla="*/ 195254 h 207457"/>
                <a:gd name="connsiteX8" fmla="*/ 91525 w 91525"/>
                <a:gd name="connsiteY8" fmla="*/ 201355 h 207457"/>
                <a:gd name="connsiteX9" fmla="*/ 85423 w 91525"/>
                <a:gd name="connsiteY9" fmla="*/ 207457 h 207457"/>
                <a:gd name="connsiteX10" fmla="*/ 79323 w 91525"/>
                <a:gd name="connsiteY10" fmla="*/ 204406 h 207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525" h="207457">
                  <a:moveTo>
                    <a:pt x="79323" y="204406"/>
                  </a:moveTo>
                  <a:cubicBezTo>
                    <a:pt x="64069" y="204406"/>
                    <a:pt x="33560" y="201355"/>
                    <a:pt x="21356" y="180000"/>
                  </a:cubicBezTo>
                  <a:cubicBezTo>
                    <a:pt x="6102" y="152542"/>
                    <a:pt x="0" y="21355"/>
                    <a:pt x="0" y="6101"/>
                  </a:cubicBezTo>
                  <a:cubicBezTo>
                    <a:pt x="0" y="3050"/>
                    <a:pt x="3052" y="0"/>
                    <a:pt x="6102" y="0"/>
                  </a:cubicBezTo>
                  <a:cubicBezTo>
                    <a:pt x="6102" y="0"/>
                    <a:pt x="6102" y="0"/>
                    <a:pt x="6102" y="0"/>
                  </a:cubicBezTo>
                  <a:cubicBezTo>
                    <a:pt x="9152" y="0"/>
                    <a:pt x="12204" y="3050"/>
                    <a:pt x="12204" y="6101"/>
                  </a:cubicBezTo>
                  <a:cubicBezTo>
                    <a:pt x="15254" y="45763"/>
                    <a:pt x="21356" y="155592"/>
                    <a:pt x="30508" y="176949"/>
                  </a:cubicBezTo>
                  <a:cubicBezTo>
                    <a:pt x="42713" y="198305"/>
                    <a:pt x="82373" y="195254"/>
                    <a:pt x="85423" y="195254"/>
                  </a:cubicBezTo>
                  <a:cubicBezTo>
                    <a:pt x="88475" y="195254"/>
                    <a:pt x="91525" y="198305"/>
                    <a:pt x="91525" y="201355"/>
                  </a:cubicBezTo>
                  <a:cubicBezTo>
                    <a:pt x="91525" y="204406"/>
                    <a:pt x="88475" y="207457"/>
                    <a:pt x="85423" y="207457"/>
                  </a:cubicBezTo>
                  <a:cubicBezTo>
                    <a:pt x="85423" y="204406"/>
                    <a:pt x="82373" y="204406"/>
                    <a:pt x="79323" y="204406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F51FA56C-6282-429C-B5F2-ADD742A67411}"/>
                </a:ext>
              </a:extLst>
            </p:cNvPr>
            <p:cNvSpPr/>
            <p:nvPr/>
          </p:nvSpPr>
          <p:spPr>
            <a:xfrm>
              <a:off x="19817665" y="8149854"/>
              <a:ext cx="250169" cy="258417"/>
            </a:xfrm>
            <a:custGeom>
              <a:avLst/>
              <a:gdLst>
                <a:gd name="connsiteX0" fmla="*/ 250170 w 250169"/>
                <a:gd name="connsiteY0" fmla="*/ 39661 h 258417"/>
                <a:gd name="connsiteX1" fmla="*/ 244068 w 250169"/>
                <a:gd name="connsiteY1" fmla="*/ 213559 h 258417"/>
                <a:gd name="connsiteX2" fmla="*/ 0 w 250169"/>
                <a:gd name="connsiteY2" fmla="*/ 204407 h 258417"/>
                <a:gd name="connsiteX3" fmla="*/ 15254 w 250169"/>
                <a:gd name="connsiteY3" fmla="*/ 0 h 258417"/>
                <a:gd name="connsiteX4" fmla="*/ 250170 w 250169"/>
                <a:gd name="connsiteY4" fmla="*/ 39661 h 25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69" h="258417">
                  <a:moveTo>
                    <a:pt x="250170" y="39661"/>
                  </a:moveTo>
                  <a:cubicBezTo>
                    <a:pt x="250170" y="39661"/>
                    <a:pt x="244068" y="140339"/>
                    <a:pt x="244068" y="213559"/>
                  </a:cubicBezTo>
                  <a:cubicBezTo>
                    <a:pt x="244068" y="213559"/>
                    <a:pt x="149492" y="320339"/>
                    <a:pt x="0" y="204407"/>
                  </a:cubicBezTo>
                  <a:cubicBezTo>
                    <a:pt x="0" y="143390"/>
                    <a:pt x="12204" y="64068"/>
                    <a:pt x="15254" y="0"/>
                  </a:cubicBezTo>
                  <a:cubicBezTo>
                    <a:pt x="12204" y="0"/>
                    <a:pt x="198305" y="51864"/>
                    <a:pt x="250170" y="39661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01261092-F5FF-4010-8ABB-7E7ECFE5AD6C}"/>
                </a:ext>
              </a:extLst>
            </p:cNvPr>
            <p:cNvSpPr/>
            <p:nvPr/>
          </p:nvSpPr>
          <p:spPr>
            <a:xfrm>
              <a:off x="19726140" y="8030871"/>
              <a:ext cx="70169" cy="137288"/>
            </a:xfrm>
            <a:custGeom>
              <a:avLst/>
              <a:gdLst>
                <a:gd name="connsiteX0" fmla="*/ 0 w 70169"/>
                <a:gd name="connsiteY0" fmla="*/ 0 h 137288"/>
                <a:gd name="connsiteX1" fmla="*/ 67119 w 70169"/>
                <a:gd name="connsiteY1" fmla="*/ 137288 h 137288"/>
                <a:gd name="connsiteX2" fmla="*/ 70169 w 70169"/>
                <a:gd name="connsiteY2" fmla="*/ 51864 h 137288"/>
                <a:gd name="connsiteX3" fmla="*/ 0 w 70169"/>
                <a:gd name="connsiteY3" fmla="*/ 0 h 137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169" h="137288">
                  <a:moveTo>
                    <a:pt x="0" y="0"/>
                  </a:moveTo>
                  <a:cubicBezTo>
                    <a:pt x="0" y="0"/>
                    <a:pt x="15254" y="118983"/>
                    <a:pt x="67119" y="137288"/>
                  </a:cubicBezTo>
                  <a:lnTo>
                    <a:pt x="70169" y="518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2FD0C2B-74FD-4CE0-A3AE-A95A589BE1AD}"/>
                </a:ext>
              </a:extLst>
            </p:cNvPr>
            <p:cNvSpPr/>
            <p:nvPr/>
          </p:nvSpPr>
          <p:spPr>
            <a:xfrm>
              <a:off x="20082637" y="7823414"/>
              <a:ext cx="102704" cy="237978"/>
            </a:xfrm>
            <a:custGeom>
              <a:avLst/>
              <a:gdLst>
                <a:gd name="connsiteX0" fmla="*/ 95027 w 102704"/>
                <a:gd name="connsiteY0" fmla="*/ 0 h 237978"/>
                <a:gd name="connsiteX1" fmla="*/ 55367 w 102704"/>
                <a:gd name="connsiteY1" fmla="*/ 234915 h 237978"/>
                <a:gd name="connsiteX2" fmla="*/ 452 w 102704"/>
                <a:gd name="connsiteY2" fmla="*/ 15254 h 237978"/>
                <a:gd name="connsiteX3" fmla="*/ 95027 w 102704"/>
                <a:gd name="connsiteY3" fmla="*/ 0 h 237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704" h="237978">
                  <a:moveTo>
                    <a:pt x="95027" y="0"/>
                  </a:moveTo>
                  <a:cubicBezTo>
                    <a:pt x="95027" y="0"/>
                    <a:pt x="128588" y="195254"/>
                    <a:pt x="55367" y="234915"/>
                  </a:cubicBezTo>
                  <a:cubicBezTo>
                    <a:pt x="-8700" y="268475"/>
                    <a:pt x="452" y="15254"/>
                    <a:pt x="452" y="15254"/>
                  </a:cubicBezTo>
                  <a:lnTo>
                    <a:pt x="95027" y="0"/>
                  </a:ln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309D83AD-E551-4C55-9613-1A15059A3E00}"/>
                </a:ext>
              </a:extLst>
            </p:cNvPr>
            <p:cNvSpPr/>
            <p:nvPr/>
          </p:nvSpPr>
          <p:spPr>
            <a:xfrm>
              <a:off x="19726140" y="7685235"/>
              <a:ext cx="423675" cy="568952"/>
            </a:xfrm>
            <a:custGeom>
              <a:avLst/>
              <a:gdLst>
                <a:gd name="connsiteX0" fmla="*/ 411864 w 423675"/>
                <a:gd name="connsiteY0" fmla="*/ 180891 h 568952"/>
                <a:gd name="connsiteX1" fmla="*/ 414915 w 423675"/>
                <a:gd name="connsiteY1" fmla="*/ 431060 h 568952"/>
                <a:gd name="connsiteX2" fmla="*/ 256272 w 423675"/>
                <a:gd name="connsiteY2" fmla="*/ 568348 h 568952"/>
                <a:gd name="connsiteX3" fmla="*/ 39661 w 423675"/>
                <a:gd name="connsiteY3" fmla="*/ 428009 h 568952"/>
                <a:gd name="connsiteX4" fmla="*/ 0 w 423675"/>
                <a:gd name="connsiteY4" fmla="*/ 202246 h 568952"/>
                <a:gd name="connsiteX5" fmla="*/ 210509 w 423675"/>
                <a:gd name="connsiteY5" fmla="*/ 891 h 568952"/>
                <a:gd name="connsiteX6" fmla="*/ 411864 w 423675"/>
                <a:gd name="connsiteY6" fmla="*/ 180891 h 568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3675" h="568952">
                  <a:moveTo>
                    <a:pt x="411864" y="180891"/>
                  </a:moveTo>
                  <a:cubicBezTo>
                    <a:pt x="411864" y="180891"/>
                    <a:pt x="436271" y="357840"/>
                    <a:pt x="414915" y="431060"/>
                  </a:cubicBezTo>
                  <a:cubicBezTo>
                    <a:pt x="396610" y="498179"/>
                    <a:pt x="308135" y="562247"/>
                    <a:pt x="256272" y="568348"/>
                  </a:cubicBezTo>
                  <a:cubicBezTo>
                    <a:pt x="189153" y="574450"/>
                    <a:pt x="70169" y="534789"/>
                    <a:pt x="39661" y="428009"/>
                  </a:cubicBezTo>
                  <a:cubicBezTo>
                    <a:pt x="18304" y="354789"/>
                    <a:pt x="0" y="254111"/>
                    <a:pt x="0" y="202246"/>
                  </a:cubicBezTo>
                  <a:cubicBezTo>
                    <a:pt x="0" y="107670"/>
                    <a:pt x="27458" y="28348"/>
                    <a:pt x="210509" y="891"/>
                  </a:cubicBezTo>
                  <a:cubicBezTo>
                    <a:pt x="295933" y="-11313"/>
                    <a:pt x="390508" y="104619"/>
                    <a:pt x="411864" y="180891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6A2D97DF-4553-4F1C-863B-762E174CC2BD}"/>
                </a:ext>
              </a:extLst>
            </p:cNvPr>
            <p:cNvSpPr/>
            <p:nvPr/>
          </p:nvSpPr>
          <p:spPr>
            <a:xfrm>
              <a:off x="19954953" y="7945447"/>
              <a:ext cx="57966" cy="140338"/>
            </a:xfrm>
            <a:custGeom>
              <a:avLst/>
              <a:gdLst>
                <a:gd name="connsiteX0" fmla="*/ 27458 w 57966"/>
                <a:gd name="connsiteY0" fmla="*/ 140339 h 140338"/>
                <a:gd name="connsiteX1" fmla="*/ 6102 w 57966"/>
                <a:gd name="connsiteY1" fmla="*/ 137288 h 140338"/>
                <a:gd name="connsiteX2" fmla="*/ 0 w 57966"/>
                <a:gd name="connsiteY2" fmla="*/ 131187 h 140338"/>
                <a:gd name="connsiteX3" fmla="*/ 6102 w 57966"/>
                <a:gd name="connsiteY3" fmla="*/ 125084 h 140338"/>
                <a:gd name="connsiteX4" fmla="*/ 45763 w 57966"/>
                <a:gd name="connsiteY4" fmla="*/ 122034 h 140338"/>
                <a:gd name="connsiteX5" fmla="*/ 45763 w 57966"/>
                <a:gd name="connsiteY5" fmla="*/ 118983 h 140338"/>
                <a:gd name="connsiteX6" fmla="*/ 27458 w 57966"/>
                <a:gd name="connsiteY6" fmla="*/ 6102 h 140338"/>
                <a:gd name="connsiteX7" fmla="*/ 33559 w 57966"/>
                <a:gd name="connsiteY7" fmla="*/ 0 h 140338"/>
                <a:gd name="connsiteX8" fmla="*/ 39661 w 57966"/>
                <a:gd name="connsiteY8" fmla="*/ 6102 h 140338"/>
                <a:gd name="connsiteX9" fmla="*/ 57967 w 57966"/>
                <a:gd name="connsiteY9" fmla="*/ 118983 h 140338"/>
                <a:gd name="connsiteX10" fmla="*/ 51865 w 57966"/>
                <a:gd name="connsiteY10" fmla="*/ 131187 h 140338"/>
                <a:gd name="connsiteX11" fmla="*/ 27458 w 57966"/>
                <a:gd name="connsiteY11" fmla="*/ 140339 h 14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66" h="140338">
                  <a:moveTo>
                    <a:pt x="27458" y="140339"/>
                  </a:moveTo>
                  <a:cubicBezTo>
                    <a:pt x="18304" y="140339"/>
                    <a:pt x="9152" y="137288"/>
                    <a:pt x="6102" y="137288"/>
                  </a:cubicBezTo>
                  <a:cubicBezTo>
                    <a:pt x="3050" y="137288"/>
                    <a:pt x="0" y="134237"/>
                    <a:pt x="0" y="131187"/>
                  </a:cubicBezTo>
                  <a:cubicBezTo>
                    <a:pt x="0" y="128136"/>
                    <a:pt x="3050" y="125084"/>
                    <a:pt x="6102" y="125084"/>
                  </a:cubicBezTo>
                  <a:cubicBezTo>
                    <a:pt x="18304" y="128136"/>
                    <a:pt x="39661" y="128136"/>
                    <a:pt x="45763" y="122034"/>
                  </a:cubicBezTo>
                  <a:cubicBezTo>
                    <a:pt x="45763" y="122034"/>
                    <a:pt x="45763" y="118983"/>
                    <a:pt x="45763" y="118983"/>
                  </a:cubicBezTo>
                  <a:cubicBezTo>
                    <a:pt x="45763" y="100678"/>
                    <a:pt x="27458" y="9153"/>
                    <a:pt x="27458" y="6102"/>
                  </a:cubicBezTo>
                  <a:cubicBezTo>
                    <a:pt x="27458" y="3051"/>
                    <a:pt x="27458" y="0"/>
                    <a:pt x="33559" y="0"/>
                  </a:cubicBezTo>
                  <a:cubicBezTo>
                    <a:pt x="36611" y="0"/>
                    <a:pt x="39661" y="0"/>
                    <a:pt x="39661" y="6102"/>
                  </a:cubicBezTo>
                  <a:cubicBezTo>
                    <a:pt x="39661" y="9153"/>
                    <a:pt x="57967" y="100678"/>
                    <a:pt x="57967" y="118983"/>
                  </a:cubicBezTo>
                  <a:cubicBezTo>
                    <a:pt x="57967" y="125084"/>
                    <a:pt x="54915" y="128136"/>
                    <a:pt x="51865" y="131187"/>
                  </a:cubicBezTo>
                  <a:cubicBezTo>
                    <a:pt x="48813" y="140339"/>
                    <a:pt x="36611" y="140339"/>
                    <a:pt x="27458" y="140339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A393E3EC-DDE0-4C9C-B39A-B48FBF2EC030}"/>
                </a:ext>
              </a:extLst>
            </p:cNvPr>
            <p:cNvSpPr/>
            <p:nvPr/>
          </p:nvSpPr>
          <p:spPr>
            <a:xfrm>
              <a:off x="20042651" y="7926544"/>
              <a:ext cx="41036" cy="40857"/>
            </a:xfrm>
            <a:custGeom>
              <a:avLst/>
              <a:gdLst>
                <a:gd name="connsiteX0" fmla="*/ 778 w 41036"/>
                <a:gd name="connsiteY0" fmla="*/ 25005 h 40857"/>
                <a:gd name="connsiteX1" fmla="*/ 25184 w 41036"/>
                <a:gd name="connsiteY1" fmla="*/ 40259 h 40857"/>
                <a:gd name="connsiteX2" fmla="*/ 40439 w 41036"/>
                <a:gd name="connsiteY2" fmla="*/ 15853 h 40857"/>
                <a:gd name="connsiteX3" fmla="*/ 16032 w 41036"/>
                <a:gd name="connsiteY3" fmla="*/ 598 h 40857"/>
                <a:gd name="connsiteX4" fmla="*/ 778 w 41036"/>
                <a:gd name="connsiteY4" fmla="*/ 25005 h 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6" h="40857">
                  <a:moveTo>
                    <a:pt x="778" y="25005"/>
                  </a:moveTo>
                  <a:cubicBezTo>
                    <a:pt x="3828" y="34158"/>
                    <a:pt x="12980" y="43310"/>
                    <a:pt x="25184" y="40259"/>
                  </a:cubicBezTo>
                  <a:cubicBezTo>
                    <a:pt x="34336" y="37208"/>
                    <a:pt x="43489" y="28056"/>
                    <a:pt x="40439" y="15853"/>
                  </a:cubicBezTo>
                  <a:cubicBezTo>
                    <a:pt x="37387" y="6700"/>
                    <a:pt x="28234" y="-2452"/>
                    <a:pt x="16032" y="598"/>
                  </a:cubicBezTo>
                  <a:cubicBezTo>
                    <a:pt x="3828" y="3649"/>
                    <a:pt x="-2274" y="12802"/>
                    <a:pt x="778" y="25005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93E7131C-81C9-4F42-B051-A567726B57D4}"/>
                </a:ext>
              </a:extLst>
            </p:cNvPr>
            <p:cNvSpPr/>
            <p:nvPr/>
          </p:nvSpPr>
          <p:spPr>
            <a:xfrm>
              <a:off x="19859600" y="7944849"/>
              <a:ext cx="41036" cy="40857"/>
            </a:xfrm>
            <a:custGeom>
              <a:avLst/>
              <a:gdLst>
                <a:gd name="connsiteX0" fmla="*/ 778 w 41036"/>
                <a:gd name="connsiteY0" fmla="*/ 25005 h 40857"/>
                <a:gd name="connsiteX1" fmla="*/ 25184 w 41036"/>
                <a:gd name="connsiteY1" fmla="*/ 40260 h 40857"/>
                <a:gd name="connsiteX2" fmla="*/ 40439 w 41036"/>
                <a:gd name="connsiteY2" fmla="*/ 15853 h 40857"/>
                <a:gd name="connsiteX3" fmla="*/ 16032 w 41036"/>
                <a:gd name="connsiteY3" fmla="*/ 598 h 40857"/>
                <a:gd name="connsiteX4" fmla="*/ 778 w 41036"/>
                <a:gd name="connsiteY4" fmla="*/ 25005 h 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6" h="40857">
                  <a:moveTo>
                    <a:pt x="778" y="25005"/>
                  </a:moveTo>
                  <a:cubicBezTo>
                    <a:pt x="3828" y="34158"/>
                    <a:pt x="12980" y="43310"/>
                    <a:pt x="25184" y="40260"/>
                  </a:cubicBezTo>
                  <a:cubicBezTo>
                    <a:pt x="34336" y="37209"/>
                    <a:pt x="43489" y="28056"/>
                    <a:pt x="40439" y="15853"/>
                  </a:cubicBezTo>
                  <a:cubicBezTo>
                    <a:pt x="37387" y="6700"/>
                    <a:pt x="28234" y="-2453"/>
                    <a:pt x="16032" y="598"/>
                  </a:cubicBezTo>
                  <a:cubicBezTo>
                    <a:pt x="3828" y="3649"/>
                    <a:pt x="-2274" y="15853"/>
                    <a:pt x="778" y="25005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FAC3F276-B329-49C7-BFF1-DFE6188E143C}"/>
                </a:ext>
              </a:extLst>
            </p:cNvPr>
            <p:cNvSpPr/>
            <p:nvPr/>
          </p:nvSpPr>
          <p:spPr>
            <a:xfrm>
              <a:off x="20011656" y="7878329"/>
              <a:ext cx="92026" cy="33559"/>
            </a:xfrm>
            <a:custGeom>
              <a:avLst/>
              <a:gdLst>
                <a:gd name="connsiteX0" fmla="*/ 86688 w 92026"/>
                <a:gd name="connsiteY0" fmla="*/ 33559 h 33559"/>
                <a:gd name="connsiteX1" fmla="*/ 80586 w 92026"/>
                <a:gd name="connsiteY1" fmla="*/ 30509 h 33559"/>
                <a:gd name="connsiteX2" fmla="*/ 13466 w 92026"/>
                <a:gd name="connsiteY2" fmla="*/ 24407 h 33559"/>
                <a:gd name="connsiteX3" fmla="*/ 1264 w 92026"/>
                <a:gd name="connsiteY3" fmla="*/ 21356 h 33559"/>
                <a:gd name="connsiteX4" fmla="*/ 4314 w 92026"/>
                <a:gd name="connsiteY4" fmla="*/ 9152 h 33559"/>
                <a:gd name="connsiteX5" fmla="*/ 89738 w 92026"/>
                <a:gd name="connsiteY5" fmla="*/ 18305 h 33559"/>
                <a:gd name="connsiteX6" fmla="*/ 89738 w 92026"/>
                <a:gd name="connsiteY6" fmla="*/ 30509 h 33559"/>
                <a:gd name="connsiteX7" fmla="*/ 86688 w 92026"/>
                <a:gd name="connsiteY7" fmla="*/ 33559 h 3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3559">
                  <a:moveTo>
                    <a:pt x="86688" y="33559"/>
                  </a:moveTo>
                  <a:cubicBezTo>
                    <a:pt x="83636" y="33559"/>
                    <a:pt x="83636" y="33559"/>
                    <a:pt x="80586" y="30509"/>
                  </a:cubicBezTo>
                  <a:cubicBezTo>
                    <a:pt x="53127" y="3051"/>
                    <a:pt x="13466" y="24407"/>
                    <a:pt x="13466" y="24407"/>
                  </a:cubicBezTo>
                  <a:cubicBezTo>
                    <a:pt x="10416" y="27458"/>
                    <a:pt x="4314" y="24407"/>
                    <a:pt x="1264" y="21356"/>
                  </a:cubicBezTo>
                  <a:cubicBezTo>
                    <a:pt x="-1788" y="18305"/>
                    <a:pt x="1264" y="12203"/>
                    <a:pt x="4314" y="9152"/>
                  </a:cubicBezTo>
                  <a:cubicBezTo>
                    <a:pt x="22619" y="0"/>
                    <a:pt x="62281" y="-9153"/>
                    <a:pt x="89738" y="18305"/>
                  </a:cubicBezTo>
                  <a:cubicBezTo>
                    <a:pt x="92790" y="21356"/>
                    <a:pt x="92790" y="27458"/>
                    <a:pt x="89738" y="30509"/>
                  </a:cubicBezTo>
                  <a:cubicBezTo>
                    <a:pt x="92790" y="30509"/>
                    <a:pt x="89738" y="33559"/>
                    <a:pt x="86688" y="33559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7D1B8142-7698-4CD0-8C44-CCABFA9D8EAC}"/>
                </a:ext>
              </a:extLst>
            </p:cNvPr>
            <p:cNvSpPr/>
            <p:nvPr/>
          </p:nvSpPr>
          <p:spPr>
            <a:xfrm>
              <a:off x="19824530" y="7878639"/>
              <a:ext cx="92026" cy="36299"/>
            </a:xfrm>
            <a:custGeom>
              <a:avLst/>
              <a:gdLst>
                <a:gd name="connsiteX0" fmla="*/ 8390 w 92026"/>
                <a:gd name="connsiteY0" fmla="*/ 36300 h 36299"/>
                <a:gd name="connsiteX1" fmla="*/ 2288 w 92026"/>
                <a:gd name="connsiteY1" fmla="*/ 33249 h 36299"/>
                <a:gd name="connsiteX2" fmla="*/ 2288 w 92026"/>
                <a:gd name="connsiteY2" fmla="*/ 21046 h 36299"/>
                <a:gd name="connsiteX3" fmla="*/ 87711 w 92026"/>
                <a:gd name="connsiteY3" fmla="*/ 11893 h 36299"/>
                <a:gd name="connsiteX4" fmla="*/ 90763 w 92026"/>
                <a:gd name="connsiteY4" fmla="*/ 24096 h 36299"/>
                <a:gd name="connsiteX5" fmla="*/ 78559 w 92026"/>
                <a:gd name="connsiteY5" fmla="*/ 27147 h 36299"/>
                <a:gd name="connsiteX6" fmla="*/ 11440 w 92026"/>
                <a:gd name="connsiteY6" fmla="*/ 33249 h 36299"/>
                <a:gd name="connsiteX7" fmla="*/ 8390 w 92026"/>
                <a:gd name="connsiteY7" fmla="*/ 36300 h 3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6299">
                  <a:moveTo>
                    <a:pt x="8390" y="36300"/>
                  </a:moveTo>
                  <a:cubicBezTo>
                    <a:pt x="5340" y="36300"/>
                    <a:pt x="5340" y="36300"/>
                    <a:pt x="2288" y="33249"/>
                  </a:cubicBezTo>
                  <a:cubicBezTo>
                    <a:pt x="-763" y="30198"/>
                    <a:pt x="-763" y="24096"/>
                    <a:pt x="2288" y="21046"/>
                  </a:cubicBezTo>
                  <a:cubicBezTo>
                    <a:pt x="14492" y="5791"/>
                    <a:pt x="51102" y="-12514"/>
                    <a:pt x="87711" y="11893"/>
                  </a:cubicBezTo>
                  <a:cubicBezTo>
                    <a:pt x="90763" y="14944"/>
                    <a:pt x="93813" y="17995"/>
                    <a:pt x="90763" y="24096"/>
                  </a:cubicBezTo>
                  <a:cubicBezTo>
                    <a:pt x="87711" y="27147"/>
                    <a:pt x="84661" y="30198"/>
                    <a:pt x="78559" y="27147"/>
                  </a:cubicBezTo>
                  <a:cubicBezTo>
                    <a:pt x="41948" y="2740"/>
                    <a:pt x="14492" y="33249"/>
                    <a:pt x="11440" y="33249"/>
                  </a:cubicBezTo>
                  <a:cubicBezTo>
                    <a:pt x="11440" y="36300"/>
                    <a:pt x="11440" y="36300"/>
                    <a:pt x="8390" y="36300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946BAB6A-AF4B-4D4E-9E70-0CB79B2E725D}"/>
                </a:ext>
              </a:extLst>
            </p:cNvPr>
            <p:cNvSpPr/>
            <p:nvPr/>
          </p:nvSpPr>
          <p:spPr>
            <a:xfrm>
              <a:off x="19820715" y="8195617"/>
              <a:ext cx="231102" cy="64067"/>
            </a:xfrm>
            <a:custGeom>
              <a:avLst/>
              <a:gdLst>
                <a:gd name="connsiteX0" fmla="*/ 149492 w 231102"/>
                <a:gd name="connsiteY0" fmla="*/ 64068 h 64067"/>
                <a:gd name="connsiteX1" fmla="*/ 3052 w 231102"/>
                <a:gd name="connsiteY1" fmla="*/ 12203 h 64067"/>
                <a:gd name="connsiteX2" fmla="*/ 0 w 231102"/>
                <a:gd name="connsiteY2" fmla="*/ 3051 h 64067"/>
                <a:gd name="connsiteX3" fmla="*/ 9154 w 231102"/>
                <a:gd name="connsiteY3" fmla="*/ 0 h 64067"/>
                <a:gd name="connsiteX4" fmla="*/ 149492 w 231102"/>
                <a:gd name="connsiteY4" fmla="*/ 48814 h 64067"/>
                <a:gd name="connsiteX5" fmla="*/ 149492 w 231102"/>
                <a:gd name="connsiteY5" fmla="*/ 48814 h 64067"/>
                <a:gd name="connsiteX6" fmla="*/ 219661 w 231102"/>
                <a:gd name="connsiteY6" fmla="*/ 24407 h 64067"/>
                <a:gd name="connsiteX7" fmla="*/ 228814 w 231102"/>
                <a:gd name="connsiteY7" fmla="*/ 24407 h 64067"/>
                <a:gd name="connsiteX8" fmla="*/ 228814 w 231102"/>
                <a:gd name="connsiteY8" fmla="*/ 33560 h 64067"/>
                <a:gd name="connsiteX9" fmla="*/ 149492 w 231102"/>
                <a:gd name="connsiteY9" fmla="*/ 64068 h 64067"/>
                <a:gd name="connsiteX10" fmla="*/ 149492 w 231102"/>
                <a:gd name="connsiteY10" fmla="*/ 64068 h 64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1102" h="64067">
                  <a:moveTo>
                    <a:pt x="149492" y="64068"/>
                  </a:moveTo>
                  <a:cubicBezTo>
                    <a:pt x="97627" y="64068"/>
                    <a:pt x="9154" y="15254"/>
                    <a:pt x="3052" y="12203"/>
                  </a:cubicBezTo>
                  <a:cubicBezTo>
                    <a:pt x="0" y="9153"/>
                    <a:pt x="0" y="6102"/>
                    <a:pt x="0" y="3051"/>
                  </a:cubicBezTo>
                  <a:cubicBezTo>
                    <a:pt x="3052" y="0"/>
                    <a:pt x="6102" y="0"/>
                    <a:pt x="9154" y="0"/>
                  </a:cubicBezTo>
                  <a:cubicBezTo>
                    <a:pt x="9154" y="0"/>
                    <a:pt x="100679" y="48814"/>
                    <a:pt x="149492" y="48814"/>
                  </a:cubicBezTo>
                  <a:cubicBezTo>
                    <a:pt x="149492" y="48814"/>
                    <a:pt x="149492" y="48814"/>
                    <a:pt x="149492" y="48814"/>
                  </a:cubicBezTo>
                  <a:cubicBezTo>
                    <a:pt x="189153" y="48814"/>
                    <a:pt x="219661" y="24407"/>
                    <a:pt x="219661" y="24407"/>
                  </a:cubicBezTo>
                  <a:cubicBezTo>
                    <a:pt x="222713" y="21356"/>
                    <a:pt x="225763" y="21356"/>
                    <a:pt x="228814" y="24407"/>
                  </a:cubicBezTo>
                  <a:cubicBezTo>
                    <a:pt x="231866" y="27457"/>
                    <a:pt x="231866" y="30508"/>
                    <a:pt x="228814" y="33560"/>
                  </a:cubicBezTo>
                  <a:cubicBezTo>
                    <a:pt x="225763" y="36610"/>
                    <a:pt x="192205" y="64068"/>
                    <a:pt x="149492" y="64068"/>
                  </a:cubicBezTo>
                  <a:cubicBezTo>
                    <a:pt x="149492" y="64068"/>
                    <a:pt x="149492" y="64068"/>
                    <a:pt x="149492" y="64068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C48A97B6-1C0F-4CF9-9D32-0D7ED950BBB4}"/>
                </a:ext>
              </a:extLst>
            </p:cNvPr>
            <p:cNvSpPr/>
            <p:nvPr/>
          </p:nvSpPr>
          <p:spPr>
            <a:xfrm>
              <a:off x="19686163" y="7710532"/>
              <a:ext cx="113197" cy="268474"/>
            </a:xfrm>
            <a:custGeom>
              <a:avLst/>
              <a:gdLst>
                <a:gd name="connsiteX0" fmla="*/ 113198 w 113197"/>
                <a:gd name="connsiteY0" fmla="*/ 128136 h 268474"/>
                <a:gd name="connsiteX1" fmla="*/ 64383 w 113197"/>
                <a:gd name="connsiteY1" fmla="*/ 268474 h 268474"/>
                <a:gd name="connsiteX2" fmla="*/ 6418 w 113197"/>
                <a:gd name="connsiteY2" fmla="*/ 167797 h 268474"/>
                <a:gd name="connsiteX3" fmla="*/ 64383 w 113197"/>
                <a:gd name="connsiteY3" fmla="*/ 0 h 268474"/>
                <a:gd name="connsiteX4" fmla="*/ 113198 w 113197"/>
                <a:gd name="connsiteY4" fmla="*/ 128136 h 268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197" h="268474">
                  <a:moveTo>
                    <a:pt x="113198" y="128136"/>
                  </a:moveTo>
                  <a:cubicBezTo>
                    <a:pt x="113198" y="128136"/>
                    <a:pt x="58281" y="237966"/>
                    <a:pt x="64383" y="268474"/>
                  </a:cubicBezTo>
                  <a:cubicBezTo>
                    <a:pt x="64383" y="268474"/>
                    <a:pt x="21673" y="222711"/>
                    <a:pt x="6418" y="167797"/>
                  </a:cubicBezTo>
                  <a:cubicBezTo>
                    <a:pt x="-8836" y="109830"/>
                    <a:pt x="316" y="15254"/>
                    <a:pt x="64383" y="0"/>
                  </a:cubicBezTo>
                  <a:cubicBezTo>
                    <a:pt x="64383" y="0"/>
                    <a:pt x="73535" y="109830"/>
                    <a:pt x="113198" y="128136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C150EBED-98BD-4F00-BA6E-FEBDDF087ECA}"/>
                </a:ext>
              </a:extLst>
            </p:cNvPr>
            <p:cNvSpPr/>
            <p:nvPr/>
          </p:nvSpPr>
          <p:spPr>
            <a:xfrm>
              <a:off x="19740593" y="7589839"/>
              <a:ext cx="501141" cy="258012"/>
            </a:xfrm>
            <a:custGeom>
              <a:avLst/>
              <a:gdLst>
                <a:gd name="connsiteX0" fmla="*/ 58768 w 501141"/>
                <a:gd name="connsiteY0" fmla="*/ 248829 h 258012"/>
                <a:gd name="connsiteX1" fmla="*/ 180802 w 501141"/>
                <a:gd name="connsiteY1" fmla="*/ 209168 h 258012"/>
                <a:gd name="connsiteX2" fmla="*/ 501141 w 501141"/>
                <a:gd name="connsiteY2" fmla="*/ 196965 h 258012"/>
                <a:gd name="connsiteX3" fmla="*/ 406564 w 501141"/>
                <a:gd name="connsiteY3" fmla="*/ 135948 h 258012"/>
                <a:gd name="connsiteX4" fmla="*/ 128938 w 501141"/>
                <a:gd name="connsiteY4" fmla="*/ 10863 h 258012"/>
                <a:gd name="connsiteX5" fmla="*/ 9954 w 501141"/>
                <a:gd name="connsiteY5" fmla="*/ 117642 h 258012"/>
                <a:gd name="connsiteX6" fmla="*/ 58768 w 501141"/>
                <a:gd name="connsiteY6" fmla="*/ 248829 h 258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1141" h="258012">
                  <a:moveTo>
                    <a:pt x="58768" y="248829"/>
                  </a:moveTo>
                  <a:cubicBezTo>
                    <a:pt x="58768" y="248829"/>
                    <a:pt x="153344" y="209168"/>
                    <a:pt x="180802" y="209168"/>
                  </a:cubicBezTo>
                  <a:cubicBezTo>
                    <a:pt x="281480" y="212219"/>
                    <a:pt x="409616" y="325100"/>
                    <a:pt x="501141" y="196965"/>
                  </a:cubicBezTo>
                  <a:cubicBezTo>
                    <a:pt x="449277" y="209168"/>
                    <a:pt x="424870" y="160354"/>
                    <a:pt x="406564" y="135948"/>
                  </a:cubicBezTo>
                  <a:cubicBezTo>
                    <a:pt x="363853" y="74931"/>
                    <a:pt x="293682" y="-34900"/>
                    <a:pt x="128938" y="10863"/>
                  </a:cubicBezTo>
                  <a:cubicBezTo>
                    <a:pt x="49614" y="32219"/>
                    <a:pt x="16056" y="81032"/>
                    <a:pt x="9954" y="117642"/>
                  </a:cubicBezTo>
                  <a:cubicBezTo>
                    <a:pt x="9954" y="120693"/>
                    <a:pt x="-32757" y="236625"/>
                    <a:pt x="58768" y="248829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1CF4F5C4-C1D5-4D15-8512-DAEEB90F2E34}"/>
                </a:ext>
              </a:extLst>
            </p:cNvPr>
            <p:cNvSpPr/>
            <p:nvPr/>
          </p:nvSpPr>
          <p:spPr>
            <a:xfrm>
              <a:off x="19688478" y="7948308"/>
              <a:ext cx="77322" cy="110664"/>
            </a:xfrm>
            <a:custGeom>
              <a:avLst/>
              <a:gdLst>
                <a:gd name="connsiteX0" fmla="*/ 65120 w 77322"/>
                <a:gd name="connsiteY0" fmla="*/ 15445 h 110664"/>
                <a:gd name="connsiteX1" fmla="*/ 7153 w 77322"/>
                <a:gd name="connsiteY1" fmla="*/ 6293 h 110664"/>
                <a:gd name="connsiteX2" fmla="*/ 65120 w 77322"/>
                <a:gd name="connsiteY2" fmla="*/ 106970 h 110664"/>
                <a:gd name="connsiteX3" fmla="*/ 65120 w 77322"/>
                <a:gd name="connsiteY3" fmla="*/ 15445 h 11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322" h="110664">
                  <a:moveTo>
                    <a:pt x="65120" y="15445"/>
                  </a:moveTo>
                  <a:cubicBezTo>
                    <a:pt x="65120" y="15445"/>
                    <a:pt x="31559" y="-12013"/>
                    <a:pt x="7153" y="6293"/>
                  </a:cubicBezTo>
                  <a:cubicBezTo>
                    <a:pt x="-17253" y="27648"/>
                    <a:pt x="25457" y="131377"/>
                    <a:pt x="65120" y="106970"/>
                  </a:cubicBezTo>
                  <a:cubicBezTo>
                    <a:pt x="92576" y="88665"/>
                    <a:pt x="65120" y="15445"/>
                    <a:pt x="65120" y="15445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498206D6-2496-42AF-91F8-E9586AC7D5FB}"/>
                </a:ext>
              </a:extLst>
            </p:cNvPr>
            <p:cNvSpPr/>
            <p:nvPr/>
          </p:nvSpPr>
          <p:spPr>
            <a:xfrm>
              <a:off x="19735868" y="7727574"/>
              <a:ext cx="72645" cy="242280"/>
            </a:xfrm>
            <a:custGeom>
              <a:avLst/>
              <a:gdLst>
                <a:gd name="connsiteX0" fmla="*/ 17730 w 72645"/>
                <a:gd name="connsiteY0" fmla="*/ 242281 h 242280"/>
                <a:gd name="connsiteX1" fmla="*/ 17730 w 72645"/>
                <a:gd name="connsiteY1" fmla="*/ 242281 h 242280"/>
                <a:gd name="connsiteX2" fmla="*/ 11628 w 72645"/>
                <a:gd name="connsiteY2" fmla="*/ 236179 h 242280"/>
                <a:gd name="connsiteX3" fmla="*/ 57391 w 72645"/>
                <a:gd name="connsiteY3" fmla="*/ 114145 h 242280"/>
                <a:gd name="connsiteX4" fmla="*/ 8576 w 72645"/>
                <a:gd name="connsiteY4" fmla="*/ 71433 h 242280"/>
                <a:gd name="connsiteX5" fmla="*/ 5526 w 72645"/>
                <a:gd name="connsiteY5" fmla="*/ 4315 h 242280"/>
                <a:gd name="connsiteX6" fmla="*/ 11628 w 72645"/>
                <a:gd name="connsiteY6" fmla="*/ 1264 h 242280"/>
                <a:gd name="connsiteX7" fmla="*/ 14678 w 72645"/>
                <a:gd name="connsiteY7" fmla="*/ 7365 h 242280"/>
                <a:gd name="connsiteX8" fmla="*/ 14678 w 72645"/>
                <a:gd name="connsiteY8" fmla="*/ 65332 h 242280"/>
                <a:gd name="connsiteX9" fmla="*/ 63493 w 72645"/>
                <a:gd name="connsiteY9" fmla="*/ 104993 h 242280"/>
                <a:gd name="connsiteX10" fmla="*/ 72645 w 72645"/>
                <a:gd name="connsiteY10" fmla="*/ 108043 h 242280"/>
                <a:gd name="connsiteX11" fmla="*/ 66543 w 72645"/>
                <a:gd name="connsiteY11" fmla="*/ 114145 h 242280"/>
                <a:gd name="connsiteX12" fmla="*/ 20781 w 72645"/>
                <a:gd name="connsiteY12" fmla="*/ 236179 h 242280"/>
                <a:gd name="connsiteX13" fmla="*/ 17730 w 72645"/>
                <a:gd name="connsiteY13" fmla="*/ 242281 h 242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2645" h="242280">
                  <a:moveTo>
                    <a:pt x="17730" y="242281"/>
                  </a:moveTo>
                  <a:cubicBezTo>
                    <a:pt x="17730" y="242281"/>
                    <a:pt x="14678" y="242281"/>
                    <a:pt x="17730" y="242281"/>
                  </a:cubicBezTo>
                  <a:cubicBezTo>
                    <a:pt x="14678" y="242281"/>
                    <a:pt x="11628" y="239230"/>
                    <a:pt x="11628" y="236179"/>
                  </a:cubicBezTo>
                  <a:cubicBezTo>
                    <a:pt x="14678" y="184314"/>
                    <a:pt x="45187" y="132450"/>
                    <a:pt x="57391" y="114145"/>
                  </a:cubicBezTo>
                  <a:cubicBezTo>
                    <a:pt x="45187" y="108043"/>
                    <a:pt x="20781" y="95840"/>
                    <a:pt x="8576" y="71433"/>
                  </a:cubicBezTo>
                  <a:cubicBezTo>
                    <a:pt x="-576" y="53128"/>
                    <a:pt x="-3626" y="28721"/>
                    <a:pt x="5526" y="4315"/>
                  </a:cubicBezTo>
                  <a:cubicBezTo>
                    <a:pt x="5526" y="1264"/>
                    <a:pt x="8576" y="-1787"/>
                    <a:pt x="11628" y="1264"/>
                  </a:cubicBezTo>
                  <a:cubicBezTo>
                    <a:pt x="14678" y="1264"/>
                    <a:pt x="17730" y="4315"/>
                    <a:pt x="14678" y="7365"/>
                  </a:cubicBezTo>
                  <a:cubicBezTo>
                    <a:pt x="8576" y="28721"/>
                    <a:pt x="8576" y="47026"/>
                    <a:pt x="14678" y="65332"/>
                  </a:cubicBezTo>
                  <a:cubicBezTo>
                    <a:pt x="29933" y="92789"/>
                    <a:pt x="63493" y="104993"/>
                    <a:pt x="63493" y="104993"/>
                  </a:cubicBezTo>
                  <a:lnTo>
                    <a:pt x="72645" y="108043"/>
                  </a:lnTo>
                  <a:lnTo>
                    <a:pt x="66543" y="114145"/>
                  </a:lnTo>
                  <a:cubicBezTo>
                    <a:pt x="66543" y="114145"/>
                    <a:pt x="23831" y="175162"/>
                    <a:pt x="20781" y="236179"/>
                  </a:cubicBezTo>
                  <a:cubicBezTo>
                    <a:pt x="20781" y="239230"/>
                    <a:pt x="20781" y="242281"/>
                    <a:pt x="17730" y="242281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B77D53DA-0172-40AE-8109-352B3062A399}"/>
                </a:ext>
              </a:extLst>
            </p:cNvPr>
            <p:cNvSpPr/>
            <p:nvPr/>
          </p:nvSpPr>
          <p:spPr>
            <a:xfrm>
              <a:off x="19915293" y="7765971"/>
              <a:ext cx="194490" cy="39137"/>
            </a:xfrm>
            <a:custGeom>
              <a:avLst/>
              <a:gdLst>
                <a:gd name="connsiteX0" fmla="*/ 6102 w 194490"/>
                <a:gd name="connsiteY0" fmla="*/ 39138 h 39137"/>
                <a:gd name="connsiteX1" fmla="*/ 0 w 194490"/>
                <a:gd name="connsiteY1" fmla="*/ 36087 h 39137"/>
                <a:gd name="connsiteX2" fmla="*/ 3050 w 194490"/>
                <a:gd name="connsiteY2" fmla="*/ 26934 h 39137"/>
                <a:gd name="connsiteX3" fmla="*/ 192203 w 194490"/>
                <a:gd name="connsiteY3" fmla="*/ 20833 h 39137"/>
                <a:gd name="connsiteX4" fmla="*/ 192203 w 194490"/>
                <a:gd name="connsiteY4" fmla="*/ 29985 h 39137"/>
                <a:gd name="connsiteX5" fmla="*/ 183051 w 194490"/>
                <a:gd name="connsiteY5" fmla="*/ 29985 h 39137"/>
                <a:gd name="connsiteX6" fmla="*/ 6102 w 194490"/>
                <a:gd name="connsiteY6" fmla="*/ 39138 h 39137"/>
                <a:gd name="connsiteX7" fmla="*/ 6102 w 194490"/>
                <a:gd name="connsiteY7" fmla="*/ 39138 h 3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4490" h="39137">
                  <a:moveTo>
                    <a:pt x="6102" y="39138"/>
                  </a:moveTo>
                  <a:cubicBezTo>
                    <a:pt x="3050" y="39138"/>
                    <a:pt x="3050" y="39138"/>
                    <a:pt x="0" y="36087"/>
                  </a:cubicBezTo>
                  <a:cubicBezTo>
                    <a:pt x="0" y="33036"/>
                    <a:pt x="0" y="29985"/>
                    <a:pt x="3050" y="26934"/>
                  </a:cubicBezTo>
                  <a:cubicBezTo>
                    <a:pt x="9152" y="23883"/>
                    <a:pt x="122034" y="-27981"/>
                    <a:pt x="192203" y="20833"/>
                  </a:cubicBezTo>
                  <a:cubicBezTo>
                    <a:pt x="195253" y="23883"/>
                    <a:pt x="195253" y="26934"/>
                    <a:pt x="192203" y="29985"/>
                  </a:cubicBezTo>
                  <a:cubicBezTo>
                    <a:pt x="189153" y="33036"/>
                    <a:pt x="186101" y="33036"/>
                    <a:pt x="183051" y="29985"/>
                  </a:cubicBezTo>
                  <a:cubicBezTo>
                    <a:pt x="122034" y="-12727"/>
                    <a:pt x="9152" y="39138"/>
                    <a:pt x="6102" y="39138"/>
                  </a:cubicBezTo>
                  <a:cubicBezTo>
                    <a:pt x="9152" y="39138"/>
                    <a:pt x="6102" y="39138"/>
                    <a:pt x="6102" y="39138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7C2E259D-DC32-4042-A038-216D99A0E1CF}"/>
                </a:ext>
              </a:extLst>
            </p:cNvPr>
            <p:cNvSpPr/>
            <p:nvPr/>
          </p:nvSpPr>
          <p:spPr>
            <a:xfrm>
              <a:off x="19402751" y="8314600"/>
              <a:ext cx="1071664" cy="1567951"/>
            </a:xfrm>
            <a:custGeom>
              <a:avLst/>
              <a:gdLst>
                <a:gd name="connsiteX0" fmla="*/ 396610 w 1071664"/>
                <a:gd name="connsiteY0" fmla="*/ 0 h 1567951"/>
                <a:gd name="connsiteX1" fmla="*/ 686441 w 1071664"/>
                <a:gd name="connsiteY1" fmla="*/ 0 h 1567951"/>
                <a:gd name="connsiteX2" fmla="*/ 985423 w 1071664"/>
                <a:gd name="connsiteY2" fmla="*/ 131187 h 1567951"/>
                <a:gd name="connsiteX3" fmla="*/ 1070847 w 1071664"/>
                <a:gd name="connsiteY3" fmla="*/ 1537627 h 1567951"/>
                <a:gd name="connsiteX4" fmla="*/ 0 w 1071664"/>
                <a:gd name="connsiteY4" fmla="*/ 1513221 h 1567951"/>
                <a:gd name="connsiteX5" fmla="*/ 115932 w 1071664"/>
                <a:gd name="connsiteY5" fmla="*/ 103729 h 1567951"/>
                <a:gd name="connsiteX6" fmla="*/ 396610 w 1071664"/>
                <a:gd name="connsiteY6" fmla="*/ 0 h 156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1664" h="1567951">
                  <a:moveTo>
                    <a:pt x="396610" y="0"/>
                  </a:moveTo>
                  <a:cubicBezTo>
                    <a:pt x="396610" y="0"/>
                    <a:pt x="570507" y="54915"/>
                    <a:pt x="686441" y="0"/>
                  </a:cubicBezTo>
                  <a:cubicBezTo>
                    <a:pt x="686441" y="0"/>
                    <a:pt x="961017" y="97627"/>
                    <a:pt x="985423" y="131187"/>
                  </a:cubicBezTo>
                  <a:cubicBezTo>
                    <a:pt x="1009830" y="161695"/>
                    <a:pt x="1079999" y="1470509"/>
                    <a:pt x="1070847" y="1537627"/>
                  </a:cubicBezTo>
                  <a:cubicBezTo>
                    <a:pt x="1070847" y="1537627"/>
                    <a:pt x="579661" y="1620000"/>
                    <a:pt x="0" y="1513221"/>
                  </a:cubicBezTo>
                  <a:cubicBezTo>
                    <a:pt x="0" y="1156272"/>
                    <a:pt x="73219" y="134238"/>
                    <a:pt x="115932" y="103729"/>
                  </a:cubicBezTo>
                  <a:cubicBezTo>
                    <a:pt x="158643" y="70170"/>
                    <a:pt x="396610" y="0"/>
                    <a:pt x="396610" y="0"/>
                  </a:cubicBezTo>
                  <a:close/>
                </a:path>
              </a:pathLst>
            </a:custGeom>
            <a:solidFill>
              <a:srgbClr val="7F95BC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891FB31C-017A-4B58-B7D3-8145AABBED10}"/>
                </a:ext>
              </a:extLst>
            </p:cNvPr>
            <p:cNvSpPr/>
            <p:nvPr/>
          </p:nvSpPr>
          <p:spPr>
            <a:xfrm>
              <a:off x="20230149" y="8404560"/>
              <a:ext cx="450905" cy="611734"/>
            </a:xfrm>
            <a:custGeom>
              <a:avLst/>
              <a:gdLst>
                <a:gd name="connsiteX0" fmla="*/ 63447 w 450905"/>
                <a:gd name="connsiteY0" fmla="*/ 611735 h 611734"/>
                <a:gd name="connsiteX1" fmla="*/ 51245 w 450905"/>
                <a:gd name="connsiteY1" fmla="*/ 10718 h 611734"/>
                <a:gd name="connsiteX2" fmla="*/ 450905 w 450905"/>
                <a:gd name="connsiteY2" fmla="*/ 443938 h 611734"/>
                <a:gd name="connsiteX3" fmla="*/ 63447 w 450905"/>
                <a:gd name="connsiteY3" fmla="*/ 611735 h 611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0905" h="611734">
                  <a:moveTo>
                    <a:pt x="63447" y="611735"/>
                  </a:moveTo>
                  <a:cubicBezTo>
                    <a:pt x="63447" y="611735"/>
                    <a:pt x="-70789" y="90040"/>
                    <a:pt x="51245" y="10718"/>
                  </a:cubicBezTo>
                  <a:cubicBezTo>
                    <a:pt x="194635" y="-80807"/>
                    <a:pt x="450905" y="443938"/>
                    <a:pt x="450905" y="443938"/>
                  </a:cubicBezTo>
                  <a:cubicBezTo>
                    <a:pt x="450905" y="443938"/>
                    <a:pt x="277007" y="593430"/>
                    <a:pt x="63447" y="611735"/>
                  </a:cubicBezTo>
                  <a:close/>
                </a:path>
              </a:pathLst>
            </a:custGeom>
            <a:solidFill>
              <a:srgbClr val="7F95BC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C0623740-FCFA-4BC8-A798-41512A231653}"/>
                </a:ext>
              </a:extLst>
            </p:cNvPr>
            <p:cNvSpPr/>
            <p:nvPr/>
          </p:nvSpPr>
          <p:spPr>
            <a:xfrm>
              <a:off x="20382072" y="8439685"/>
              <a:ext cx="53128" cy="552203"/>
            </a:xfrm>
            <a:custGeom>
              <a:avLst/>
              <a:gdLst>
                <a:gd name="connsiteX0" fmla="*/ 48813 w 53128"/>
                <a:gd name="connsiteY0" fmla="*/ 552204 h 552203"/>
                <a:gd name="connsiteX1" fmla="*/ 42713 w 53128"/>
                <a:gd name="connsiteY1" fmla="*/ 546102 h 552203"/>
                <a:gd name="connsiteX2" fmla="*/ 0 w 53128"/>
                <a:gd name="connsiteY2" fmla="*/ 6102 h 552203"/>
                <a:gd name="connsiteX3" fmla="*/ 3050 w 53128"/>
                <a:gd name="connsiteY3" fmla="*/ 0 h 552203"/>
                <a:gd name="connsiteX4" fmla="*/ 9152 w 53128"/>
                <a:gd name="connsiteY4" fmla="*/ 3051 h 552203"/>
                <a:gd name="connsiteX5" fmla="*/ 51865 w 53128"/>
                <a:gd name="connsiteY5" fmla="*/ 546102 h 552203"/>
                <a:gd name="connsiteX6" fmla="*/ 48813 w 53128"/>
                <a:gd name="connsiteY6" fmla="*/ 552204 h 552203"/>
                <a:gd name="connsiteX7" fmla="*/ 48813 w 53128"/>
                <a:gd name="connsiteY7" fmla="*/ 552204 h 552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128" h="552203">
                  <a:moveTo>
                    <a:pt x="48813" y="552204"/>
                  </a:moveTo>
                  <a:cubicBezTo>
                    <a:pt x="45763" y="552204"/>
                    <a:pt x="42713" y="549153"/>
                    <a:pt x="42713" y="546102"/>
                  </a:cubicBezTo>
                  <a:cubicBezTo>
                    <a:pt x="42713" y="540000"/>
                    <a:pt x="6102" y="45763"/>
                    <a:pt x="0" y="6102"/>
                  </a:cubicBezTo>
                  <a:cubicBezTo>
                    <a:pt x="0" y="3051"/>
                    <a:pt x="0" y="0"/>
                    <a:pt x="3050" y="0"/>
                  </a:cubicBezTo>
                  <a:cubicBezTo>
                    <a:pt x="6102" y="0"/>
                    <a:pt x="9152" y="0"/>
                    <a:pt x="9152" y="3051"/>
                  </a:cubicBezTo>
                  <a:cubicBezTo>
                    <a:pt x="18304" y="42712"/>
                    <a:pt x="51865" y="524746"/>
                    <a:pt x="51865" y="546102"/>
                  </a:cubicBezTo>
                  <a:cubicBezTo>
                    <a:pt x="54915" y="549153"/>
                    <a:pt x="51865" y="552204"/>
                    <a:pt x="48813" y="552204"/>
                  </a:cubicBezTo>
                  <a:cubicBezTo>
                    <a:pt x="48813" y="552204"/>
                    <a:pt x="48813" y="552204"/>
                    <a:pt x="48813" y="552204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8D8B309F-0FA6-4501-91DE-4C9663A4A06B}"/>
                </a:ext>
              </a:extLst>
            </p:cNvPr>
            <p:cNvSpPr/>
            <p:nvPr/>
          </p:nvSpPr>
          <p:spPr>
            <a:xfrm>
              <a:off x="19238826" y="8879007"/>
              <a:ext cx="298160" cy="721639"/>
            </a:xfrm>
            <a:custGeom>
              <a:avLst/>
              <a:gdLst>
                <a:gd name="connsiteX0" fmla="*/ 298161 w 298160"/>
                <a:gd name="connsiteY0" fmla="*/ 24407 h 721639"/>
                <a:gd name="connsiteX1" fmla="*/ 191381 w 298160"/>
                <a:gd name="connsiteY1" fmla="*/ 558305 h 721639"/>
                <a:gd name="connsiteX2" fmla="*/ 51043 w 298160"/>
                <a:gd name="connsiteY2" fmla="*/ 704746 h 721639"/>
                <a:gd name="connsiteX3" fmla="*/ 29686 w 298160"/>
                <a:gd name="connsiteY3" fmla="*/ 0 h 721639"/>
                <a:gd name="connsiteX4" fmla="*/ 298161 w 298160"/>
                <a:gd name="connsiteY4" fmla="*/ 24407 h 72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160" h="721639">
                  <a:moveTo>
                    <a:pt x="298161" y="24407"/>
                  </a:moveTo>
                  <a:lnTo>
                    <a:pt x="191381" y="558305"/>
                  </a:lnTo>
                  <a:cubicBezTo>
                    <a:pt x="191381" y="558305"/>
                    <a:pt x="151720" y="784068"/>
                    <a:pt x="51043" y="704746"/>
                  </a:cubicBezTo>
                  <a:cubicBezTo>
                    <a:pt x="-49635" y="625424"/>
                    <a:pt x="29686" y="0"/>
                    <a:pt x="29686" y="0"/>
                  </a:cubicBezTo>
                  <a:lnTo>
                    <a:pt x="298161" y="24407"/>
                  </a:ln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998703A0-BEAA-4FDB-AEE0-D4F828EF575F}"/>
                </a:ext>
              </a:extLst>
            </p:cNvPr>
            <p:cNvSpPr/>
            <p:nvPr/>
          </p:nvSpPr>
          <p:spPr>
            <a:xfrm>
              <a:off x="19207496" y="8418329"/>
              <a:ext cx="429733" cy="584174"/>
            </a:xfrm>
            <a:custGeom>
              <a:avLst/>
              <a:gdLst>
                <a:gd name="connsiteX0" fmla="*/ 0 w 429733"/>
                <a:gd name="connsiteY0" fmla="*/ 512542 h 584174"/>
                <a:gd name="connsiteX1" fmla="*/ 311187 w 429733"/>
                <a:gd name="connsiteY1" fmla="*/ 0 h 584174"/>
                <a:gd name="connsiteX2" fmla="*/ 417966 w 429733"/>
                <a:gd name="connsiteY2" fmla="*/ 579661 h 584174"/>
                <a:gd name="connsiteX3" fmla="*/ 0 w 429733"/>
                <a:gd name="connsiteY3" fmla="*/ 512542 h 584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9733" h="584174">
                  <a:moveTo>
                    <a:pt x="0" y="512542"/>
                  </a:moveTo>
                  <a:cubicBezTo>
                    <a:pt x="0" y="512542"/>
                    <a:pt x="164747" y="0"/>
                    <a:pt x="311187" y="0"/>
                  </a:cubicBezTo>
                  <a:cubicBezTo>
                    <a:pt x="482034" y="0"/>
                    <a:pt x="417966" y="579661"/>
                    <a:pt x="417966" y="579661"/>
                  </a:cubicBezTo>
                  <a:cubicBezTo>
                    <a:pt x="417966" y="579661"/>
                    <a:pt x="189153" y="610170"/>
                    <a:pt x="0" y="512542"/>
                  </a:cubicBezTo>
                  <a:close/>
                </a:path>
              </a:pathLst>
            </a:custGeom>
            <a:solidFill>
              <a:srgbClr val="7F95BC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0AF33EDB-1845-4C60-A03E-594B4EF065F2}"/>
                </a:ext>
              </a:extLst>
            </p:cNvPr>
            <p:cNvSpPr/>
            <p:nvPr/>
          </p:nvSpPr>
          <p:spPr>
            <a:xfrm>
              <a:off x="19927495" y="8141464"/>
              <a:ext cx="120339" cy="29745"/>
            </a:xfrm>
            <a:custGeom>
              <a:avLst/>
              <a:gdLst>
                <a:gd name="connsiteX0" fmla="*/ 67119 w 120339"/>
                <a:gd name="connsiteY0" fmla="*/ 29746 h 29745"/>
                <a:gd name="connsiteX1" fmla="*/ 3052 w 120339"/>
                <a:gd name="connsiteY1" fmla="*/ 14491 h 29745"/>
                <a:gd name="connsiteX2" fmla="*/ 0 w 120339"/>
                <a:gd name="connsiteY2" fmla="*/ 5339 h 29745"/>
                <a:gd name="connsiteX3" fmla="*/ 9154 w 120339"/>
                <a:gd name="connsiteY3" fmla="*/ 2288 h 29745"/>
                <a:gd name="connsiteX4" fmla="*/ 109832 w 120339"/>
                <a:gd name="connsiteY4" fmla="*/ 2288 h 29745"/>
                <a:gd name="connsiteX5" fmla="*/ 118984 w 120339"/>
                <a:gd name="connsiteY5" fmla="*/ 2288 h 29745"/>
                <a:gd name="connsiteX6" fmla="*/ 118984 w 120339"/>
                <a:gd name="connsiteY6" fmla="*/ 11441 h 29745"/>
                <a:gd name="connsiteX7" fmla="*/ 67119 w 120339"/>
                <a:gd name="connsiteY7" fmla="*/ 29746 h 2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339" h="29745">
                  <a:moveTo>
                    <a:pt x="67119" y="29746"/>
                  </a:moveTo>
                  <a:cubicBezTo>
                    <a:pt x="33560" y="29746"/>
                    <a:pt x="6102" y="14491"/>
                    <a:pt x="3052" y="14491"/>
                  </a:cubicBezTo>
                  <a:cubicBezTo>
                    <a:pt x="0" y="14491"/>
                    <a:pt x="0" y="8390"/>
                    <a:pt x="0" y="5339"/>
                  </a:cubicBezTo>
                  <a:cubicBezTo>
                    <a:pt x="0" y="2288"/>
                    <a:pt x="6102" y="2288"/>
                    <a:pt x="9154" y="2288"/>
                  </a:cubicBezTo>
                  <a:cubicBezTo>
                    <a:pt x="9154" y="2288"/>
                    <a:pt x="73221" y="32797"/>
                    <a:pt x="109832" y="2288"/>
                  </a:cubicBezTo>
                  <a:cubicBezTo>
                    <a:pt x="112882" y="-763"/>
                    <a:pt x="115934" y="-763"/>
                    <a:pt x="118984" y="2288"/>
                  </a:cubicBezTo>
                  <a:cubicBezTo>
                    <a:pt x="122034" y="5339"/>
                    <a:pt x="118984" y="8390"/>
                    <a:pt x="118984" y="11441"/>
                  </a:cubicBezTo>
                  <a:cubicBezTo>
                    <a:pt x="103730" y="26695"/>
                    <a:pt x="85425" y="29746"/>
                    <a:pt x="67119" y="29746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C094B6E2-D249-4F43-92EB-65DF79C72A0A}"/>
                </a:ext>
              </a:extLst>
            </p:cNvPr>
            <p:cNvSpPr/>
            <p:nvPr/>
          </p:nvSpPr>
          <p:spPr>
            <a:xfrm>
              <a:off x="19478414" y="8332220"/>
              <a:ext cx="376896" cy="1040698"/>
            </a:xfrm>
            <a:custGeom>
              <a:avLst/>
              <a:gdLst>
                <a:gd name="connsiteX0" fmla="*/ 12811 w 376896"/>
                <a:gd name="connsiteY0" fmla="*/ 1028820 h 1040698"/>
                <a:gd name="connsiteX1" fmla="*/ 37217 w 376896"/>
                <a:gd name="connsiteY1" fmla="*/ 1034922 h 1040698"/>
                <a:gd name="connsiteX2" fmla="*/ 58573 w 376896"/>
                <a:gd name="connsiteY2" fmla="*/ 1034922 h 1040698"/>
                <a:gd name="connsiteX3" fmla="*/ 79930 w 376896"/>
                <a:gd name="connsiteY3" fmla="*/ 1007464 h 1040698"/>
                <a:gd name="connsiteX4" fmla="*/ 125692 w 376896"/>
                <a:gd name="connsiteY4" fmla="*/ 952549 h 1040698"/>
                <a:gd name="connsiteX5" fmla="*/ 375862 w 376896"/>
                <a:gd name="connsiteY5" fmla="*/ 497973 h 1040698"/>
                <a:gd name="connsiteX6" fmla="*/ 250776 w 376896"/>
                <a:gd name="connsiteY6" fmla="*/ 685 h 1040698"/>
                <a:gd name="connsiteX7" fmla="*/ 153151 w 376896"/>
                <a:gd name="connsiteY7" fmla="*/ 34244 h 1040698"/>
                <a:gd name="connsiteX8" fmla="*/ 287387 w 376896"/>
                <a:gd name="connsiteY8" fmla="*/ 470515 h 1040698"/>
                <a:gd name="connsiteX9" fmla="*/ 125692 w 376896"/>
                <a:gd name="connsiteY9" fmla="*/ 845769 h 1040698"/>
                <a:gd name="connsiteX10" fmla="*/ 46371 w 376896"/>
                <a:gd name="connsiteY10" fmla="*/ 934244 h 1040698"/>
                <a:gd name="connsiteX11" fmla="*/ 12811 w 376896"/>
                <a:gd name="connsiteY11" fmla="*/ 958651 h 1040698"/>
                <a:gd name="connsiteX12" fmla="*/ 12811 w 376896"/>
                <a:gd name="connsiteY12" fmla="*/ 1028820 h 104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6896" h="1040698">
                  <a:moveTo>
                    <a:pt x="12811" y="1028820"/>
                  </a:moveTo>
                  <a:cubicBezTo>
                    <a:pt x="21963" y="1034922"/>
                    <a:pt x="28065" y="1037973"/>
                    <a:pt x="37217" y="1034922"/>
                  </a:cubicBezTo>
                  <a:cubicBezTo>
                    <a:pt x="43319" y="1041024"/>
                    <a:pt x="52471" y="1044074"/>
                    <a:pt x="58573" y="1034922"/>
                  </a:cubicBezTo>
                  <a:cubicBezTo>
                    <a:pt x="64675" y="1025770"/>
                    <a:pt x="73827" y="1016617"/>
                    <a:pt x="79930" y="1007464"/>
                  </a:cubicBezTo>
                  <a:cubicBezTo>
                    <a:pt x="95184" y="992210"/>
                    <a:pt x="110438" y="970854"/>
                    <a:pt x="125692" y="952549"/>
                  </a:cubicBezTo>
                  <a:cubicBezTo>
                    <a:pt x="235522" y="818312"/>
                    <a:pt x="372810" y="668820"/>
                    <a:pt x="375862" y="497973"/>
                  </a:cubicBezTo>
                  <a:cubicBezTo>
                    <a:pt x="381964" y="314922"/>
                    <a:pt x="363658" y="134922"/>
                    <a:pt x="250776" y="685"/>
                  </a:cubicBezTo>
                  <a:cubicBezTo>
                    <a:pt x="217218" y="-5417"/>
                    <a:pt x="143997" y="31193"/>
                    <a:pt x="153151" y="34244"/>
                  </a:cubicBezTo>
                  <a:cubicBezTo>
                    <a:pt x="253828" y="67803"/>
                    <a:pt x="290439" y="406447"/>
                    <a:pt x="287387" y="470515"/>
                  </a:cubicBezTo>
                  <a:cubicBezTo>
                    <a:pt x="281285" y="620007"/>
                    <a:pt x="201963" y="723735"/>
                    <a:pt x="125692" y="845769"/>
                  </a:cubicBezTo>
                  <a:cubicBezTo>
                    <a:pt x="104336" y="879329"/>
                    <a:pt x="79930" y="909837"/>
                    <a:pt x="46371" y="934244"/>
                  </a:cubicBezTo>
                  <a:cubicBezTo>
                    <a:pt x="34167" y="943396"/>
                    <a:pt x="21963" y="949498"/>
                    <a:pt x="12811" y="958651"/>
                  </a:cubicBezTo>
                  <a:cubicBezTo>
                    <a:pt x="608" y="983057"/>
                    <a:pt x="-8546" y="1010515"/>
                    <a:pt x="12811" y="1028820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58D1A510-108D-462A-8AB3-2FF00B507862}"/>
                </a:ext>
              </a:extLst>
            </p:cNvPr>
            <p:cNvSpPr/>
            <p:nvPr/>
          </p:nvSpPr>
          <p:spPr>
            <a:xfrm>
              <a:off x="19796816" y="8301594"/>
              <a:ext cx="299302" cy="54192"/>
            </a:xfrm>
            <a:custGeom>
              <a:avLst/>
              <a:gdLst>
                <a:gd name="connsiteX0" fmla="*/ 17800 w 299302"/>
                <a:gd name="connsiteY0" fmla="*/ 802 h 54192"/>
                <a:gd name="connsiteX1" fmla="*/ 280172 w 299302"/>
                <a:gd name="connsiteY1" fmla="*/ 802 h 54192"/>
                <a:gd name="connsiteX2" fmla="*/ 289324 w 299302"/>
                <a:gd name="connsiteY2" fmla="*/ 31311 h 54192"/>
                <a:gd name="connsiteX3" fmla="*/ 8645 w 299302"/>
                <a:gd name="connsiteY3" fmla="*/ 31311 h 54192"/>
                <a:gd name="connsiteX4" fmla="*/ 17800 w 299302"/>
                <a:gd name="connsiteY4" fmla="*/ 802 h 54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302" h="54192">
                  <a:moveTo>
                    <a:pt x="17800" y="802"/>
                  </a:moveTo>
                  <a:cubicBezTo>
                    <a:pt x="106273" y="28260"/>
                    <a:pt x="194748" y="28260"/>
                    <a:pt x="280172" y="802"/>
                  </a:cubicBezTo>
                  <a:cubicBezTo>
                    <a:pt x="298476" y="-5299"/>
                    <a:pt x="307630" y="25209"/>
                    <a:pt x="289324" y="31311"/>
                  </a:cubicBezTo>
                  <a:cubicBezTo>
                    <a:pt x="197798" y="61819"/>
                    <a:pt x="103223" y="61819"/>
                    <a:pt x="8645" y="31311"/>
                  </a:cubicBezTo>
                  <a:cubicBezTo>
                    <a:pt x="-6609" y="25209"/>
                    <a:pt x="-507" y="-5299"/>
                    <a:pt x="17800" y="802"/>
                  </a:cubicBezTo>
                  <a:close/>
                </a:path>
              </a:pathLst>
            </a:custGeom>
            <a:solidFill>
              <a:srgbClr val="F6EBE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49BDB013-6541-4616-8AC0-B1664120A10E}"/>
                </a:ext>
              </a:extLst>
            </p:cNvPr>
            <p:cNvSpPr/>
            <p:nvPr/>
          </p:nvSpPr>
          <p:spPr>
            <a:xfrm>
              <a:off x="20414806" y="8831047"/>
              <a:ext cx="285147" cy="159489"/>
            </a:xfrm>
            <a:custGeom>
              <a:avLst/>
              <a:gdLst>
                <a:gd name="connsiteX0" fmla="*/ 9979 w 285147"/>
                <a:gd name="connsiteY0" fmla="*/ 130333 h 159489"/>
                <a:gd name="connsiteX1" fmla="*/ 260147 w 285147"/>
                <a:gd name="connsiteY1" fmla="*/ 5248 h 159489"/>
                <a:gd name="connsiteX2" fmla="*/ 281503 w 285147"/>
                <a:gd name="connsiteY2" fmla="*/ 26604 h 159489"/>
                <a:gd name="connsiteX3" fmla="*/ 19131 w 285147"/>
                <a:gd name="connsiteY3" fmla="*/ 157790 h 159489"/>
                <a:gd name="connsiteX4" fmla="*/ 9979 w 285147"/>
                <a:gd name="connsiteY4" fmla="*/ 130333 h 159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147" h="159489">
                  <a:moveTo>
                    <a:pt x="9979" y="130333"/>
                  </a:moveTo>
                  <a:cubicBezTo>
                    <a:pt x="101504" y="102875"/>
                    <a:pt x="193030" y="75417"/>
                    <a:pt x="260147" y="5248"/>
                  </a:cubicBezTo>
                  <a:cubicBezTo>
                    <a:pt x="272351" y="-10006"/>
                    <a:pt x="293707" y="11349"/>
                    <a:pt x="281503" y="26604"/>
                  </a:cubicBezTo>
                  <a:cubicBezTo>
                    <a:pt x="211334" y="99824"/>
                    <a:pt x="113706" y="130333"/>
                    <a:pt x="19131" y="157790"/>
                  </a:cubicBezTo>
                  <a:cubicBezTo>
                    <a:pt x="825" y="166943"/>
                    <a:pt x="-8327" y="136434"/>
                    <a:pt x="9979" y="130333"/>
                  </a:cubicBezTo>
                  <a:close/>
                </a:path>
              </a:pathLst>
            </a:custGeom>
            <a:solidFill>
              <a:srgbClr val="F6EBE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A318F9A3-C6E7-432F-A4E7-54E80E264321}"/>
                </a:ext>
              </a:extLst>
            </p:cNvPr>
            <p:cNvSpPr/>
            <p:nvPr/>
          </p:nvSpPr>
          <p:spPr>
            <a:xfrm>
              <a:off x="19196443" y="8917865"/>
              <a:ext cx="442747" cy="92327"/>
            </a:xfrm>
            <a:custGeom>
              <a:avLst/>
              <a:gdLst>
                <a:gd name="connsiteX0" fmla="*/ 17154 w 442747"/>
                <a:gd name="connsiteY0" fmla="*/ 802 h 92327"/>
                <a:gd name="connsiteX1" fmla="*/ 429019 w 442747"/>
                <a:gd name="connsiteY1" fmla="*/ 61819 h 92327"/>
                <a:gd name="connsiteX2" fmla="*/ 429019 w 442747"/>
                <a:gd name="connsiteY2" fmla="*/ 92328 h 92327"/>
                <a:gd name="connsiteX3" fmla="*/ 11052 w 442747"/>
                <a:gd name="connsiteY3" fmla="*/ 31311 h 92327"/>
                <a:gd name="connsiteX4" fmla="*/ 17154 w 442747"/>
                <a:gd name="connsiteY4" fmla="*/ 802 h 9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2747" h="92327">
                  <a:moveTo>
                    <a:pt x="17154" y="802"/>
                  </a:moveTo>
                  <a:cubicBezTo>
                    <a:pt x="151391" y="43514"/>
                    <a:pt x="288679" y="61819"/>
                    <a:pt x="429019" y="61819"/>
                  </a:cubicBezTo>
                  <a:cubicBezTo>
                    <a:pt x="447323" y="61819"/>
                    <a:pt x="447323" y="92328"/>
                    <a:pt x="429019" y="92328"/>
                  </a:cubicBezTo>
                  <a:cubicBezTo>
                    <a:pt x="285629" y="92328"/>
                    <a:pt x="148341" y="74023"/>
                    <a:pt x="11052" y="31311"/>
                  </a:cubicBezTo>
                  <a:cubicBezTo>
                    <a:pt x="-7252" y="25209"/>
                    <a:pt x="-1152" y="-5299"/>
                    <a:pt x="17154" y="802"/>
                  </a:cubicBezTo>
                  <a:close/>
                </a:path>
              </a:pathLst>
            </a:custGeom>
            <a:solidFill>
              <a:srgbClr val="F6EBE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EBB41CDB-81B4-44C6-AE70-A4BCFEAF2102}"/>
                </a:ext>
              </a:extLst>
            </p:cNvPr>
            <p:cNvSpPr/>
            <p:nvPr/>
          </p:nvSpPr>
          <p:spPr>
            <a:xfrm>
              <a:off x="19512581" y="8415278"/>
              <a:ext cx="122656" cy="570508"/>
            </a:xfrm>
            <a:custGeom>
              <a:avLst/>
              <a:gdLst>
                <a:gd name="connsiteX0" fmla="*/ 112882 w 122656"/>
                <a:gd name="connsiteY0" fmla="*/ 570508 h 570508"/>
                <a:gd name="connsiteX1" fmla="*/ 112882 w 122656"/>
                <a:gd name="connsiteY1" fmla="*/ 570508 h 570508"/>
                <a:gd name="connsiteX2" fmla="*/ 106780 w 122656"/>
                <a:gd name="connsiteY2" fmla="*/ 564407 h 570508"/>
                <a:gd name="connsiteX3" fmla="*/ 112882 w 122656"/>
                <a:gd name="connsiteY3" fmla="*/ 222712 h 570508"/>
                <a:gd name="connsiteX4" fmla="*/ 3050 w 122656"/>
                <a:gd name="connsiteY4" fmla="*/ 9153 h 570508"/>
                <a:gd name="connsiteX5" fmla="*/ 0 w 122656"/>
                <a:gd name="connsiteY5" fmla="*/ 3051 h 570508"/>
                <a:gd name="connsiteX6" fmla="*/ 6102 w 122656"/>
                <a:gd name="connsiteY6" fmla="*/ 0 h 570508"/>
                <a:gd name="connsiteX7" fmla="*/ 122034 w 122656"/>
                <a:gd name="connsiteY7" fmla="*/ 225763 h 570508"/>
                <a:gd name="connsiteX8" fmla="*/ 115932 w 122656"/>
                <a:gd name="connsiteY8" fmla="*/ 567458 h 570508"/>
                <a:gd name="connsiteX9" fmla="*/ 112882 w 122656"/>
                <a:gd name="connsiteY9" fmla="*/ 570508 h 57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2656" h="570508">
                  <a:moveTo>
                    <a:pt x="112882" y="570508"/>
                  </a:moveTo>
                  <a:cubicBezTo>
                    <a:pt x="112882" y="570508"/>
                    <a:pt x="112882" y="570508"/>
                    <a:pt x="112882" y="570508"/>
                  </a:cubicBezTo>
                  <a:cubicBezTo>
                    <a:pt x="109830" y="570508"/>
                    <a:pt x="106780" y="567458"/>
                    <a:pt x="106780" y="564407"/>
                  </a:cubicBezTo>
                  <a:cubicBezTo>
                    <a:pt x="106780" y="561356"/>
                    <a:pt x="115932" y="405763"/>
                    <a:pt x="112882" y="222712"/>
                  </a:cubicBezTo>
                  <a:cubicBezTo>
                    <a:pt x="109830" y="45763"/>
                    <a:pt x="6102" y="9153"/>
                    <a:pt x="3050" y="9153"/>
                  </a:cubicBezTo>
                  <a:cubicBezTo>
                    <a:pt x="0" y="9153"/>
                    <a:pt x="0" y="6102"/>
                    <a:pt x="0" y="3051"/>
                  </a:cubicBezTo>
                  <a:cubicBezTo>
                    <a:pt x="0" y="0"/>
                    <a:pt x="3050" y="0"/>
                    <a:pt x="6102" y="0"/>
                  </a:cubicBezTo>
                  <a:cubicBezTo>
                    <a:pt x="12204" y="0"/>
                    <a:pt x="118984" y="39661"/>
                    <a:pt x="122034" y="225763"/>
                  </a:cubicBezTo>
                  <a:cubicBezTo>
                    <a:pt x="125084" y="408814"/>
                    <a:pt x="115932" y="567458"/>
                    <a:pt x="115932" y="567458"/>
                  </a:cubicBezTo>
                  <a:cubicBezTo>
                    <a:pt x="118984" y="567458"/>
                    <a:pt x="115932" y="570508"/>
                    <a:pt x="112882" y="570508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17FFF2F0-CEC0-42C2-9B33-EFDDCC9BB195}"/>
                </a:ext>
              </a:extLst>
            </p:cNvPr>
            <p:cNvSpPr/>
            <p:nvPr/>
          </p:nvSpPr>
          <p:spPr>
            <a:xfrm>
              <a:off x="19808585" y="8697402"/>
              <a:ext cx="120885" cy="198259"/>
            </a:xfrm>
            <a:custGeom>
              <a:avLst/>
              <a:gdLst>
                <a:gd name="connsiteX0" fmla="*/ 18232 w 120885"/>
                <a:gd name="connsiteY0" fmla="*/ 22960 h 198259"/>
                <a:gd name="connsiteX1" fmla="*/ 67047 w 120885"/>
                <a:gd name="connsiteY1" fmla="*/ 1605 h 198259"/>
                <a:gd name="connsiteX2" fmla="*/ 82301 w 120885"/>
                <a:gd name="connsiteY2" fmla="*/ 32113 h 198259"/>
                <a:gd name="connsiteX3" fmla="*/ 79249 w 120885"/>
                <a:gd name="connsiteY3" fmla="*/ 38215 h 198259"/>
                <a:gd name="connsiteX4" fmla="*/ 85351 w 120885"/>
                <a:gd name="connsiteY4" fmla="*/ 38215 h 198259"/>
                <a:gd name="connsiteX5" fmla="*/ 97555 w 120885"/>
                <a:gd name="connsiteY5" fmla="*/ 44316 h 198259"/>
                <a:gd name="connsiteX6" fmla="*/ 97555 w 120885"/>
                <a:gd name="connsiteY6" fmla="*/ 74825 h 198259"/>
                <a:gd name="connsiteX7" fmla="*/ 109758 w 120885"/>
                <a:gd name="connsiteY7" fmla="*/ 123639 h 198259"/>
                <a:gd name="connsiteX8" fmla="*/ 106707 w 120885"/>
                <a:gd name="connsiteY8" fmla="*/ 126690 h 198259"/>
                <a:gd name="connsiteX9" fmla="*/ 118910 w 120885"/>
                <a:gd name="connsiteY9" fmla="*/ 148045 h 198259"/>
                <a:gd name="connsiteX10" fmla="*/ 63995 w 120885"/>
                <a:gd name="connsiteY10" fmla="*/ 196859 h 198259"/>
                <a:gd name="connsiteX11" fmla="*/ 42639 w 120885"/>
                <a:gd name="connsiteY11" fmla="*/ 178554 h 198259"/>
                <a:gd name="connsiteX12" fmla="*/ 27384 w 120885"/>
                <a:gd name="connsiteY12" fmla="*/ 157198 h 198259"/>
                <a:gd name="connsiteX13" fmla="*/ 27384 w 120885"/>
                <a:gd name="connsiteY13" fmla="*/ 154147 h 198259"/>
                <a:gd name="connsiteX14" fmla="*/ 30436 w 120885"/>
                <a:gd name="connsiteY14" fmla="*/ 151096 h 198259"/>
                <a:gd name="connsiteX15" fmla="*/ 36538 w 120885"/>
                <a:gd name="connsiteY15" fmla="*/ 141944 h 198259"/>
                <a:gd name="connsiteX16" fmla="*/ 21284 w 120885"/>
                <a:gd name="connsiteY16" fmla="*/ 132791 h 198259"/>
                <a:gd name="connsiteX17" fmla="*/ 24334 w 120885"/>
                <a:gd name="connsiteY17" fmla="*/ 99232 h 198259"/>
                <a:gd name="connsiteX18" fmla="*/ 15182 w 120885"/>
                <a:gd name="connsiteY18" fmla="*/ 96181 h 198259"/>
                <a:gd name="connsiteX19" fmla="*/ 18232 w 120885"/>
                <a:gd name="connsiteY19" fmla="*/ 22960 h 198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0885" h="198259">
                  <a:moveTo>
                    <a:pt x="18232" y="22960"/>
                  </a:moveTo>
                  <a:cubicBezTo>
                    <a:pt x="30436" y="7706"/>
                    <a:pt x="54843" y="-4497"/>
                    <a:pt x="67047" y="1605"/>
                  </a:cubicBezTo>
                  <a:cubicBezTo>
                    <a:pt x="76199" y="4656"/>
                    <a:pt x="85351" y="22960"/>
                    <a:pt x="82301" y="32113"/>
                  </a:cubicBezTo>
                  <a:cubicBezTo>
                    <a:pt x="82301" y="35164"/>
                    <a:pt x="79249" y="35164"/>
                    <a:pt x="79249" y="38215"/>
                  </a:cubicBezTo>
                  <a:cubicBezTo>
                    <a:pt x="82301" y="38215"/>
                    <a:pt x="82301" y="38215"/>
                    <a:pt x="85351" y="38215"/>
                  </a:cubicBezTo>
                  <a:cubicBezTo>
                    <a:pt x="88401" y="38215"/>
                    <a:pt x="94503" y="41266"/>
                    <a:pt x="97555" y="44316"/>
                  </a:cubicBezTo>
                  <a:cubicBezTo>
                    <a:pt x="106707" y="53469"/>
                    <a:pt x="106707" y="65673"/>
                    <a:pt x="97555" y="74825"/>
                  </a:cubicBezTo>
                  <a:cubicBezTo>
                    <a:pt x="115860" y="80927"/>
                    <a:pt x="121962" y="105333"/>
                    <a:pt x="109758" y="123639"/>
                  </a:cubicBezTo>
                  <a:cubicBezTo>
                    <a:pt x="109758" y="123639"/>
                    <a:pt x="109758" y="123639"/>
                    <a:pt x="106707" y="126690"/>
                  </a:cubicBezTo>
                  <a:cubicBezTo>
                    <a:pt x="115860" y="126690"/>
                    <a:pt x="125012" y="135842"/>
                    <a:pt x="118910" y="148045"/>
                  </a:cubicBezTo>
                  <a:cubicBezTo>
                    <a:pt x="106707" y="169401"/>
                    <a:pt x="88401" y="187706"/>
                    <a:pt x="63995" y="196859"/>
                  </a:cubicBezTo>
                  <a:cubicBezTo>
                    <a:pt x="48741" y="202961"/>
                    <a:pt x="39588" y="187706"/>
                    <a:pt x="42639" y="178554"/>
                  </a:cubicBezTo>
                  <a:cubicBezTo>
                    <a:pt x="33486" y="178554"/>
                    <a:pt x="24334" y="166350"/>
                    <a:pt x="27384" y="157198"/>
                  </a:cubicBezTo>
                  <a:cubicBezTo>
                    <a:pt x="27384" y="157198"/>
                    <a:pt x="27384" y="157198"/>
                    <a:pt x="27384" y="154147"/>
                  </a:cubicBezTo>
                  <a:cubicBezTo>
                    <a:pt x="27384" y="154147"/>
                    <a:pt x="27384" y="151096"/>
                    <a:pt x="30436" y="151096"/>
                  </a:cubicBezTo>
                  <a:cubicBezTo>
                    <a:pt x="33486" y="148045"/>
                    <a:pt x="33486" y="144994"/>
                    <a:pt x="36538" y="141944"/>
                  </a:cubicBezTo>
                  <a:cubicBezTo>
                    <a:pt x="30436" y="141944"/>
                    <a:pt x="21284" y="138893"/>
                    <a:pt x="21284" y="132791"/>
                  </a:cubicBezTo>
                  <a:cubicBezTo>
                    <a:pt x="18232" y="123639"/>
                    <a:pt x="18232" y="111435"/>
                    <a:pt x="24334" y="99232"/>
                  </a:cubicBezTo>
                  <a:cubicBezTo>
                    <a:pt x="21284" y="99232"/>
                    <a:pt x="15182" y="99232"/>
                    <a:pt x="15182" y="96181"/>
                  </a:cubicBezTo>
                  <a:cubicBezTo>
                    <a:pt x="-12276" y="77876"/>
                    <a:pt x="2978" y="44316"/>
                    <a:pt x="18232" y="22960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CAF76305-211F-4E6A-83D8-3067732AA882}"/>
                </a:ext>
              </a:extLst>
            </p:cNvPr>
            <p:cNvSpPr/>
            <p:nvPr/>
          </p:nvSpPr>
          <p:spPr>
            <a:xfrm>
              <a:off x="19719821" y="8650770"/>
              <a:ext cx="103946" cy="168721"/>
            </a:xfrm>
            <a:custGeom>
              <a:avLst/>
              <a:gdLst>
                <a:gd name="connsiteX0" fmla="*/ 21573 w 103946"/>
                <a:gd name="connsiteY0" fmla="*/ 51287 h 168721"/>
                <a:gd name="connsiteX1" fmla="*/ 79540 w 103946"/>
                <a:gd name="connsiteY1" fmla="*/ 2474 h 168721"/>
                <a:gd name="connsiteX2" fmla="*/ 103946 w 103946"/>
                <a:gd name="connsiteY2" fmla="*/ 23830 h 168721"/>
                <a:gd name="connsiteX3" fmla="*/ 67335 w 103946"/>
                <a:gd name="connsiteY3" fmla="*/ 78745 h 168721"/>
                <a:gd name="connsiteX4" fmla="*/ 42929 w 103946"/>
                <a:gd name="connsiteY4" fmla="*/ 139762 h 168721"/>
                <a:gd name="connsiteX5" fmla="*/ 30725 w 103946"/>
                <a:gd name="connsiteY5" fmla="*/ 145863 h 168721"/>
                <a:gd name="connsiteX6" fmla="*/ 6319 w 103946"/>
                <a:gd name="connsiteY6" fmla="*/ 164169 h 168721"/>
                <a:gd name="connsiteX7" fmla="*/ 21573 w 103946"/>
                <a:gd name="connsiteY7" fmla="*/ 51287 h 168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946" h="168721">
                  <a:moveTo>
                    <a:pt x="21573" y="51287"/>
                  </a:moveTo>
                  <a:cubicBezTo>
                    <a:pt x="36827" y="29931"/>
                    <a:pt x="58183" y="14677"/>
                    <a:pt x="79540" y="2474"/>
                  </a:cubicBezTo>
                  <a:cubicBezTo>
                    <a:pt x="94794" y="-6679"/>
                    <a:pt x="103946" y="11626"/>
                    <a:pt x="103946" y="23830"/>
                  </a:cubicBezTo>
                  <a:cubicBezTo>
                    <a:pt x="97844" y="48236"/>
                    <a:pt x="79540" y="60440"/>
                    <a:pt x="67335" y="78745"/>
                  </a:cubicBezTo>
                  <a:cubicBezTo>
                    <a:pt x="55131" y="97050"/>
                    <a:pt x="58183" y="121457"/>
                    <a:pt x="42929" y="139762"/>
                  </a:cubicBezTo>
                  <a:cubicBezTo>
                    <a:pt x="39877" y="142813"/>
                    <a:pt x="36827" y="145863"/>
                    <a:pt x="30725" y="145863"/>
                  </a:cubicBezTo>
                  <a:cubicBezTo>
                    <a:pt x="21573" y="151965"/>
                    <a:pt x="12421" y="179423"/>
                    <a:pt x="6319" y="164169"/>
                  </a:cubicBezTo>
                  <a:cubicBezTo>
                    <a:pt x="-8936" y="121457"/>
                    <a:pt x="6319" y="75694"/>
                    <a:pt x="21573" y="51287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5704DEDE-CDD4-4E77-8D9C-B01C12B12BB2}"/>
                </a:ext>
              </a:extLst>
            </p:cNvPr>
            <p:cNvSpPr/>
            <p:nvPr/>
          </p:nvSpPr>
          <p:spPr>
            <a:xfrm>
              <a:off x="19727338" y="8699007"/>
              <a:ext cx="162082" cy="245661"/>
            </a:xfrm>
            <a:custGeom>
              <a:avLst/>
              <a:gdLst>
                <a:gd name="connsiteX0" fmla="*/ 126938 w 162082"/>
                <a:gd name="connsiteY0" fmla="*/ 0 h 245661"/>
                <a:gd name="connsiteX1" fmla="*/ 1852 w 162082"/>
                <a:gd name="connsiteY1" fmla="*/ 106780 h 245661"/>
                <a:gd name="connsiteX2" fmla="*/ 47615 w 162082"/>
                <a:gd name="connsiteY2" fmla="*/ 241017 h 245661"/>
                <a:gd name="connsiteX3" fmla="*/ 154394 w 162082"/>
                <a:gd name="connsiteY3" fmla="*/ 189152 h 245661"/>
                <a:gd name="connsiteX4" fmla="*/ 126938 w 162082"/>
                <a:gd name="connsiteY4" fmla="*/ 0 h 245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082" h="245661">
                  <a:moveTo>
                    <a:pt x="126938" y="0"/>
                  </a:moveTo>
                  <a:cubicBezTo>
                    <a:pt x="126938" y="0"/>
                    <a:pt x="38462" y="36610"/>
                    <a:pt x="1852" y="106780"/>
                  </a:cubicBezTo>
                  <a:cubicBezTo>
                    <a:pt x="-10350" y="128136"/>
                    <a:pt x="41514" y="219661"/>
                    <a:pt x="47615" y="241017"/>
                  </a:cubicBezTo>
                  <a:cubicBezTo>
                    <a:pt x="53717" y="259322"/>
                    <a:pt x="129988" y="219661"/>
                    <a:pt x="154394" y="189152"/>
                  </a:cubicBezTo>
                  <a:cubicBezTo>
                    <a:pt x="181853" y="161695"/>
                    <a:pt x="126938" y="0"/>
                    <a:pt x="126938" y="0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0F2F5C1C-2F7B-4AAF-A906-46EB8CA640FF}"/>
                </a:ext>
              </a:extLst>
            </p:cNvPr>
            <p:cNvSpPr/>
            <p:nvPr/>
          </p:nvSpPr>
          <p:spPr>
            <a:xfrm>
              <a:off x="19256924" y="8793179"/>
              <a:ext cx="536334" cy="829870"/>
            </a:xfrm>
            <a:custGeom>
              <a:avLst/>
              <a:gdLst>
                <a:gd name="connsiteX0" fmla="*/ 536335 w 536334"/>
                <a:gd name="connsiteY0" fmla="*/ 140742 h 829870"/>
                <a:gd name="connsiteX1" fmla="*/ 179385 w 536334"/>
                <a:gd name="connsiteY1" fmla="*/ 821082 h 829870"/>
                <a:gd name="connsiteX2" fmla="*/ 5487 w 536334"/>
                <a:gd name="connsiteY2" fmla="*/ 659387 h 829870"/>
                <a:gd name="connsiteX3" fmla="*/ 478368 w 536334"/>
                <a:gd name="connsiteY3" fmla="*/ 404 h 829870"/>
                <a:gd name="connsiteX4" fmla="*/ 536335 w 536334"/>
                <a:gd name="connsiteY4" fmla="*/ 140742 h 829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6334" h="829870">
                  <a:moveTo>
                    <a:pt x="536335" y="140742"/>
                  </a:moveTo>
                  <a:cubicBezTo>
                    <a:pt x="536335" y="140742"/>
                    <a:pt x="258707" y="784471"/>
                    <a:pt x="179385" y="821082"/>
                  </a:cubicBezTo>
                  <a:cubicBezTo>
                    <a:pt x="100064" y="857692"/>
                    <a:pt x="-28072" y="775319"/>
                    <a:pt x="5487" y="659387"/>
                  </a:cubicBezTo>
                  <a:cubicBezTo>
                    <a:pt x="39047" y="546505"/>
                    <a:pt x="472266" y="6505"/>
                    <a:pt x="478368" y="404"/>
                  </a:cubicBezTo>
                  <a:cubicBezTo>
                    <a:pt x="481420" y="-8749"/>
                    <a:pt x="536335" y="140742"/>
                    <a:pt x="536335" y="140742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222EFC6D-4DA3-4919-9127-F142A6CECF4B}"/>
                </a:ext>
              </a:extLst>
            </p:cNvPr>
            <p:cNvSpPr/>
            <p:nvPr/>
          </p:nvSpPr>
          <p:spPr>
            <a:xfrm>
              <a:off x="19366140" y="9087227"/>
              <a:ext cx="139575" cy="163983"/>
            </a:xfrm>
            <a:custGeom>
              <a:avLst/>
              <a:gdLst>
                <a:gd name="connsiteX0" fmla="*/ 6102 w 139575"/>
                <a:gd name="connsiteY0" fmla="*/ 163983 h 163983"/>
                <a:gd name="connsiteX1" fmla="*/ 6102 w 139575"/>
                <a:gd name="connsiteY1" fmla="*/ 163983 h 163983"/>
                <a:gd name="connsiteX2" fmla="*/ 0 w 139575"/>
                <a:gd name="connsiteY2" fmla="*/ 154831 h 163983"/>
                <a:gd name="connsiteX3" fmla="*/ 128136 w 139575"/>
                <a:gd name="connsiteY3" fmla="*/ 2288 h 163983"/>
                <a:gd name="connsiteX4" fmla="*/ 137288 w 139575"/>
                <a:gd name="connsiteY4" fmla="*/ 2288 h 163983"/>
                <a:gd name="connsiteX5" fmla="*/ 137288 w 139575"/>
                <a:gd name="connsiteY5" fmla="*/ 11441 h 163983"/>
                <a:gd name="connsiteX6" fmla="*/ 9152 w 139575"/>
                <a:gd name="connsiteY6" fmla="*/ 163983 h 163983"/>
                <a:gd name="connsiteX7" fmla="*/ 6102 w 139575"/>
                <a:gd name="connsiteY7" fmla="*/ 163983 h 163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575" h="163983">
                  <a:moveTo>
                    <a:pt x="6102" y="163983"/>
                  </a:moveTo>
                  <a:cubicBezTo>
                    <a:pt x="3050" y="163983"/>
                    <a:pt x="3050" y="163983"/>
                    <a:pt x="6102" y="163983"/>
                  </a:cubicBezTo>
                  <a:cubicBezTo>
                    <a:pt x="0" y="160932"/>
                    <a:pt x="0" y="157881"/>
                    <a:pt x="0" y="154831"/>
                  </a:cubicBezTo>
                  <a:cubicBezTo>
                    <a:pt x="36611" y="93814"/>
                    <a:pt x="125084" y="5339"/>
                    <a:pt x="128136" y="2288"/>
                  </a:cubicBezTo>
                  <a:cubicBezTo>
                    <a:pt x="131186" y="-763"/>
                    <a:pt x="134236" y="-763"/>
                    <a:pt x="137288" y="2288"/>
                  </a:cubicBezTo>
                  <a:cubicBezTo>
                    <a:pt x="140338" y="5339"/>
                    <a:pt x="140338" y="8390"/>
                    <a:pt x="137288" y="11441"/>
                  </a:cubicBezTo>
                  <a:cubicBezTo>
                    <a:pt x="137288" y="11441"/>
                    <a:pt x="45763" y="102966"/>
                    <a:pt x="9152" y="163983"/>
                  </a:cubicBezTo>
                  <a:cubicBezTo>
                    <a:pt x="9152" y="160932"/>
                    <a:pt x="6102" y="163983"/>
                    <a:pt x="6102" y="163983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7FAD3388-A4FC-4855-9AAC-476912CBA464}"/>
                </a:ext>
              </a:extLst>
            </p:cNvPr>
            <p:cNvSpPr/>
            <p:nvPr/>
          </p:nvSpPr>
          <p:spPr>
            <a:xfrm>
              <a:off x="19763513" y="8695022"/>
              <a:ext cx="165986" cy="214492"/>
            </a:xfrm>
            <a:custGeom>
              <a:avLst/>
              <a:gdLst>
                <a:gd name="connsiteX0" fmla="*/ 106017 w 165986"/>
                <a:gd name="connsiteY0" fmla="*/ 214493 h 214492"/>
                <a:gd name="connsiteX1" fmla="*/ 99915 w 165986"/>
                <a:gd name="connsiteY1" fmla="*/ 211442 h 214492"/>
                <a:gd name="connsiteX2" fmla="*/ 102965 w 165986"/>
                <a:gd name="connsiteY2" fmla="*/ 202290 h 214492"/>
                <a:gd name="connsiteX3" fmla="*/ 151780 w 165986"/>
                <a:gd name="connsiteY3" fmla="*/ 159578 h 214492"/>
                <a:gd name="connsiteX4" fmla="*/ 154830 w 165986"/>
                <a:gd name="connsiteY4" fmla="*/ 141273 h 214492"/>
                <a:gd name="connsiteX5" fmla="*/ 148728 w 165986"/>
                <a:gd name="connsiteY5" fmla="*/ 135171 h 214492"/>
                <a:gd name="connsiteX6" fmla="*/ 145678 w 165986"/>
                <a:gd name="connsiteY6" fmla="*/ 132120 h 214492"/>
                <a:gd name="connsiteX7" fmla="*/ 145678 w 165986"/>
                <a:gd name="connsiteY7" fmla="*/ 126018 h 214492"/>
                <a:gd name="connsiteX8" fmla="*/ 151780 w 165986"/>
                <a:gd name="connsiteY8" fmla="*/ 98561 h 214492"/>
                <a:gd name="connsiteX9" fmla="*/ 142628 w 165986"/>
                <a:gd name="connsiteY9" fmla="*/ 89408 h 214492"/>
                <a:gd name="connsiteX10" fmla="*/ 139576 w 165986"/>
                <a:gd name="connsiteY10" fmla="*/ 83307 h 214492"/>
                <a:gd name="connsiteX11" fmla="*/ 139576 w 165986"/>
                <a:gd name="connsiteY11" fmla="*/ 58900 h 214492"/>
                <a:gd name="connsiteX12" fmla="*/ 118219 w 165986"/>
                <a:gd name="connsiteY12" fmla="*/ 52798 h 214492"/>
                <a:gd name="connsiteX13" fmla="*/ 112119 w 165986"/>
                <a:gd name="connsiteY13" fmla="*/ 49747 h 214492"/>
                <a:gd name="connsiteX14" fmla="*/ 112119 w 165986"/>
                <a:gd name="connsiteY14" fmla="*/ 43646 h 214492"/>
                <a:gd name="connsiteX15" fmla="*/ 121271 w 165986"/>
                <a:gd name="connsiteY15" fmla="*/ 19239 h 214492"/>
                <a:gd name="connsiteX16" fmla="*/ 112119 w 165986"/>
                <a:gd name="connsiteY16" fmla="*/ 13137 h 214492"/>
                <a:gd name="connsiteX17" fmla="*/ 11440 w 165986"/>
                <a:gd name="connsiteY17" fmla="*/ 68052 h 214492"/>
                <a:gd name="connsiteX18" fmla="*/ 2288 w 165986"/>
                <a:gd name="connsiteY18" fmla="*/ 68052 h 214492"/>
                <a:gd name="connsiteX19" fmla="*/ 2288 w 165986"/>
                <a:gd name="connsiteY19" fmla="*/ 58900 h 214492"/>
                <a:gd name="connsiteX20" fmla="*/ 115169 w 165986"/>
                <a:gd name="connsiteY20" fmla="*/ 933 h 214492"/>
                <a:gd name="connsiteX21" fmla="*/ 130424 w 165986"/>
                <a:gd name="connsiteY21" fmla="*/ 16188 h 214492"/>
                <a:gd name="connsiteX22" fmla="*/ 127373 w 165986"/>
                <a:gd name="connsiteY22" fmla="*/ 40595 h 214492"/>
                <a:gd name="connsiteX23" fmla="*/ 148728 w 165986"/>
                <a:gd name="connsiteY23" fmla="*/ 49747 h 214492"/>
                <a:gd name="connsiteX24" fmla="*/ 151780 w 165986"/>
                <a:gd name="connsiteY24" fmla="*/ 83307 h 214492"/>
                <a:gd name="connsiteX25" fmla="*/ 163982 w 165986"/>
                <a:gd name="connsiteY25" fmla="*/ 98561 h 214492"/>
                <a:gd name="connsiteX26" fmla="*/ 157882 w 165986"/>
                <a:gd name="connsiteY26" fmla="*/ 132120 h 214492"/>
                <a:gd name="connsiteX27" fmla="*/ 163982 w 165986"/>
                <a:gd name="connsiteY27" fmla="*/ 141273 h 214492"/>
                <a:gd name="connsiteX28" fmla="*/ 160932 w 165986"/>
                <a:gd name="connsiteY28" fmla="*/ 168730 h 214492"/>
                <a:gd name="connsiteX29" fmla="*/ 106017 w 165986"/>
                <a:gd name="connsiteY29" fmla="*/ 214493 h 214492"/>
                <a:gd name="connsiteX30" fmla="*/ 106017 w 165986"/>
                <a:gd name="connsiteY30" fmla="*/ 214493 h 214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65986" h="214492">
                  <a:moveTo>
                    <a:pt x="106017" y="214493"/>
                  </a:moveTo>
                  <a:cubicBezTo>
                    <a:pt x="102965" y="214493"/>
                    <a:pt x="102965" y="214493"/>
                    <a:pt x="99915" y="211442"/>
                  </a:cubicBezTo>
                  <a:cubicBezTo>
                    <a:pt x="99915" y="208391"/>
                    <a:pt x="99915" y="205341"/>
                    <a:pt x="102965" y="202290"/>
                  </a:cubicBezTo>
                  <a:cubicBezTo>
                    <a:pt x="102965" y="202290"/>
                    <a:pt x="142628" y="183984"/>
                    <a:pt x="151780" y="159578"/>
                  </a:cubicBezTo>
                  <a:cubicBezTo>
                    <a:pt x="154830" y="150425"/>
                    <a:pt x="154830" y="144324"/>
                    <a:pt x="154830" y="141273"/>
                  </a:cubicBezTo>
                  <a:cubicBezTo>
                    <a:pt x="151780" y="138222"/>
                    <a:pt x="148728" y="135171"/>
                    <a:pt x="148728" y="135171"/>
                  </a:cubicBezTo>
                  <a:cubicBezTo>
                    <a:pt x="145678" y="135171"/>
                    <a:pt x="145678" y="132120"/>
                    <a:pt x="145678" y="132120"/>
                  </a:cubicBezTo>
                  <a:cubicBezTo>
                    <a:pt x="145678" y="129069"/>
                    <a:pt x="145678" y="129069"/>
                    <a:pt x="145678" y="126018"/>
                  </a:cubicBezTo>
                  <a:cubicBezTo>
                    <a:pt x="151780" y="113815"/>
                    <a:pt x="154830" y="104663"/>
                    <a:pt x="151780" y="98561"/>
                  </a:cubicBezTo>
                  <a:cubicBezTo>
                    <a:pt x="148728" y="92459"/>
                    <a:pt x="142628" y="89408"/>
                    <a:pt x="142628" y="89408"/>
                  </a:cubicBezTo>
                  <a:cubicBezTo>
                    <a:pt x="139576" y="89408"/>
                    <a:pt x="136526" y="86357"/>
                    <a:pt x="139576" y="83307"/>
                  </a:cubicBezTo>
                  <a:cubicBezTo>
                    <a:pt x="142628" y="74154"/>
                    <a:pt x="145678" y="65001"/>
                    <a:pt x="139576" y="58900"/>
                  </a:cubicBezTo>
                  <a:cubicBezTo>
                    <a:pt x="133474" y="52798"/>
                    <a:pt x="121271" y="52798"/>
                    <a:pt x="118219" y="52798"/>
                  </a:cubicBezTo>
                  <a:cubicBezTo>
                    <a:pt x="115169" y="52798"/>
                    <a:pt x="112119" y="52798"/>
                    <a:pt x="112119" y="49747"/>
                  </a:cubicBezTo>
                  <a:cubicBezTo>
                    <a:pt x="112119" y="46696"/>
                    <a:pt x="112119" y="43646"/>
                    <a:pt x="112119" y="43646"/>
                  </a:cubicBezTo>
                  <a:cubicBezTo>
                    <a:pt x="115169" y="40595"/>
                    <a:pt x="124321" y="28391"/>
                    <a:pt x="121271" y="19239"/>
                  </a:cubicBezTo>
                  <a:cubicBezTo>
                    <a:pt x="121271" y="19239"/>
                    <a:pt x="121271" y="13137"/>
                    <a:pt x="112119" y="13137"/>
                  </a:cubicBezTo>
                  <a:cubicBezTo>
                    <a:pt x="93813" y="7035"/>
                    <a:pt x="38898" y="43646"/>
                    <a:pt x="11440" y="68052"/>
                  </a:cubicBezTo>
                  <a:cubicBezTo>
                    <a:pt x="8390" y="71103"/>
                    <a:pt x="5340" y="71103"/>
                    <a:pt x="2288" y="68052"/>
                  </a:cubicBezTo>
                  <a:cubicBezTo>
                    <a:pt x="-763" y="65001"/>
                    <a:pt x="-763" y="61950"/>
                    <a:pt x="2288" y="58900"/>
                  </a:cubicBezTo>
                  <a:cubicBezTo>
                    <a:pt x="11440" y="52798"/>
                    <a:pt x="84661" y="-8219"/>
                    <a:pt x="115169" y="933"/>
                  </a:cubicBezTo>
                  <a:cubicBezTo>
                    <a:pt x="127373" y="3984"/>
                    <a:pt x="130424" y="10086"/>
                    <a:pt x="130424" y="16188"/>
                  </a:cubicBezTo>
                  <a:cubicBezTo>
                    <a:pt x="133474" y="25340"/>
                    <a:pt x="130424" y="34493"/>
                    <a:pt x="127373" y="40595"/>
                  </a:cubicBezTo>
                  <a:cubicBezTo>
                    <a:pt x="133474" y="40595"/>
                    <a:pt x="142628" y="43646"/>
                    <a:pt x="148728" y="49747"/>
                  </a:cubicBezTo>
                  <a:cubicBezTo>
                    <a:pt x="154830" y="55849"/>
                    <a:pt x="154830" y="68052"/>
                    <a:pt x="151780" y="83307"/>
                  </a:cubicBezTo>
                  <a:cubicBezTo>
                    <a:pt x="154830" y="86357"/>
                    <a:pt x="160932" y="89408"/>
                    <a:pt x="163982" y="98561"/>
                  </a:cubicBezTo>
                  <a:cubicBezTo>
                    <a:pt x="167034" y="107713"/>
                    <a:pt x="167034" y="119917"/>
                    <a:pt x="157882" y="132120"/>
                  </a:cubicBezTo>
                  <a:cubicBezTo>
                    <a:pt x="160932" y="135171"/>
                    <a:pt x="163982" y="138222"/>
                    <a:pt x="163982" y="141273"/>
                  </a:cubicBezTo>
                  <a:cubicBezTo>
                    <a:pt x="167034" y="150425"/>
                    <a:pt x="167034" y="159578"/>
                    <a:pt x="160932" y="168730"/>
                  </a:cubicBezTo>
                  <a:cubicBezTo>
                    <a:pt x="151780" y="193137"/>
                    <a:pt x="109067" y="214493"/>
                    <a:pt x="106017" y="214493"/>
                  </a:cubicBezTo>
                  <a:cubicBezTo>
                    <a:pt x="106017" y="214493"/>
                    <a:pt x="106017" y="214493"/>
                    <a:pt x="106017" y="214493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FFE0EF1B-0CE2-4C67-A185-A9908EC62119}"/>
                </a:ext>
              </a:extLst>
            </p:cNvPr>
            <p:cNvSpPr/>
            <p:nvPr/>
          </p:nvSpPr>
          <p:spPr>
            <a:xfrm>
              <a:off x="20772580" y="9260362"/>
              <a:ext cx="57966" cy="97627"/>
            </a:xfrm>
            <a:custGeom>
              <a:avLst/>
              <a:gdLst>
                <a:gd name="connsiteX0" fmla="*/ 6102 w 57966"/>
                <a:gd name="connsiteY0" fmla="*/ 97627 h 97627"/>
                <a:gd name="connsiteX1" fmla="*/ 6102 w 57966"/>
                <a:gd name="connsiteY1" fmla="*/ 97627 h 97627"/>
                <a:gd name="connsiteX2" fmla="*/ 0 w 57966"/>
                <a:gd name="connsiteY2" fmla="*/ 88475 h 97627"/>
                <a:gd name="connsiteX3" fmla="*/ 45763 w 57966"/>
                <a:gd name="connsiteY3" fmla="*/ 3051 h 97627"/>
                <a:gd name="connsiteX4" fmla="*/ 54915 w 57966"/>
                <a:gd name="connsiteY4" fmla="*/ 0 h 97627"/>
                <a:gd name="connsiteX5" fmla="*/ 57967 w 57966"/>
                <a:gd name="connsiteY5" fmla="*/ 9153 h 97627"/>
                <a:gd name="connsiteX6" fmla="*/ 12204 w 57966"/>
                <a:gd name="connsiteY6" fmla="*/ 94576 h 97627"/>
                <a:gd name="connsiteX7" fmla="*/ 6102 w 57966"/>
                <a:gd name="connsiteY7" fmla="*/ 97627 h 9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966" h="97627">
                  <a:moveTo>
                    <a:pt x="6102" y="97627"/>
                  </a:moveTo>
                  <a:cubicBezTo>
                    <a:pt x="6102" y="97627"/>
                    <a:pt x="3052" y="97627"/>
                    <a:pt x="6102" y="97627"/>
                  </a:cubicBezTo>
                  <a:cubicBezTo>
                    <a:pt x="0" y="94576"/>
                    <a:pt x="0" y="91525"/>
                    <a:pt x="0" y="88475"/>
                  </a:cubicBezTo>
                  <a:lnTo>
                    <a:pt x="45763" y="3051"/>
                  </a:lnTo>
                  <a:cubicBezTo>
                    <a:pt x="45763" y="0"/>
                    <a:pt x="51865" y="0"/>
                    <a:pt x="54915" y="0"/>
                  </a:cubicBezTo>
                  <a:cubicBezTo>
                    <a:pt x="57967" y="0"/>
                    <a:pt x="57967" y="6102"/>
                    <a:pt x="57967" y="9153"/>
                  </a:cubicBezTo>
                  <a:lnTo>
                    <a:pt x="12204" y="94576"/>
                  </a:lnTo>
                  <a:cubicBezTo>
                    <a:pt x="9152" y="97627"/>
                    <a:pt x="9152" y="97627"/>
                    <a:pt x="6102" y="97627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5" name="图形 114">
              <a:extLst>
                <a:ext uri="{FF2B5EF4-FFF2-40B4-BE49-F238E27FC236}">
                  <a16:creationId xmlns:a16="http://schemas.microsoft.com/office/drawing/2014/main" id="{3ED7474D-E29F-4BBC-8266-240A52EE992C}"/>
                </a:ext>
              </a:extLst>
            </p:cNvPr>
            <p:cNvGrpSpPr/>
            <p:nvPr/>
          </p:nvGrpSpPr>
          <p:grpSpPr>
            <a:xfrm>
              <a:off x="21010074" y="8684979"/>
              <a:ext cx="296828" cy="419203"/>
              <a:chOff x="21010074" y="8684979"/>
              <a:chExt cx="296828" cy="419203"/>
            </a:xfrm>
          </p:grpSpPr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21DB2DB7-7480-45F2-B57E-E768AEE69DA3}"/>
                  </a:ext>
                </a:extLst>
              </p:cNvPr>
              <p:cNvSpPr/>
              <p:nvPr/>
            </p:nvSpPr>
            <p:spPr>
              <a:xfrm>
                <a:off x="21010074" y="8691948"/>
                <a:ext cx="296828" cy="412234"/>
              </a:xfrm>
              <a:custGeom>
                <a:avLst/>
                <a:gdLst>
                  <a:gd name="connsiteX0" fmla="*/ 284202 w 296828"/>
                  <a:gd name="connsiteY0" fmla="*/ 110787 h 412234"/>
                  <a:gd name="connsiteX1" fmla="*/ 259794 w 296828"/>
                  <a:gd name="connsiteY1" fmla="*/ 113839 h 412234"/>
                  <a:gd name="connsiteX2" fmla="*/ 253694 w 296828"/>
                  <a:gd name="connsiteY2" fmla="*/ 119940 h 412234"/>
                  <a:gd name="connsiteX3" fmla="*/ 259794 w 296828"/>
                  <a:gd name="connsiteY3" fmla="*/ 89432 h 412234"/>
                  <a:gd name="connsiteX4" fmla="*/ 247592 w 296828"/>
                  <a:gd name="connsiteY4" fmla="*/ 34516 h 412234"/>
                  <a:gd name="connsiteX5" fmla="*/ 241489 w 296828"/>
                  <a:gd name="connsiteY5" fmla="*/ 34516 h 412234"/>
                  <a:gd name="connsiteX6" fmla="*/ 238439 w 296828"/>
                  <a:gd name="connsiteY6" fmla="*/ 37567 h 412234"/>
                  <a:gd name="connsiteX7" fmla="*/ 220133 w 296828"/>
                  <a:gd name="connsiteY7" fmla="*/ 4008 h 412234"/>
                  <a:gd name="connsiteX8" fmla="*/ 186575 w 296828"/>
                  <a:gd name="connsiteY8" fmla="*/ 10110 h 412234"/>
                  <a:gd name="connsiteX9" fmla="*/ 165218 w 296828"/>
                  <a:gd name="connsiteY9" fmla="*/ 71127 h 412234"/>
                  <a:gd name="connsiteX10" fmla="*/ 140812 w 296828"/>
                  <a:gd name="connsiteY10" fmla="*/ 156550 h 412234"/>
                  <a:gd name="connsiteX11" fmla="*/ 137760 w 296828"/>
                  <a:gd name="connsiteY11" fmla="*/ 86381 h 412234"/>
                  <a:gd name="connsiteX12" fmla="*/ 134710 w 296828"/>
                  <a:gd name="connsiteY12" fmla="*/ 34516 h 412234"/>
                  <a:gd name="connsiteX13" fmla="*/ 101151 w 296828"/>
                  <a:gd name="connsiteY13" fmla="*/ 52822 h 412234"/>
                  <a:gd name="connsiteX14" fmla="*/ 88947 w 296828"/>
                  <a:gd name="connsiteY14" fmla="*/ 269432 h 412234"/>
                  <a:gd name="connsiteX15" fmla="*/ 27930 w 296828"/>
                  <a:gd name="connsiteY15" fmla="*/ 174855 h 412234"/>
                  <a:gd name="connsiteX16" fmla="*/ 6574 w 296828"/>
                  <a:gd name="connsiteY16" fmla="*/ 180957 h 412234"/>
                  <a:gd name="connsiteX17" fmla="*/ 107251 w 296828"/>
                  <a:gd name="connsiteY17" fmla="*/ 394516 h 412234"/>
                  <a:gd name="connsiteX18" fmla="*/ 110303 w 296828"/>
                  <a:gd name="connsiteY18" fmla="*/ 394516 h 412234"/>
                  <a:gd name="connsiteX19" fmla="*/ 113353 w 296828"/>
                  <a:gd name="connsiteY19" fmla="*/ 400618 h 412234"/>
                  <a:gd name="connsiteX20" fmla="*/ 220133 w 296828"/>
                  <a:gd name="connsiteY20" fmla="*/ 382313 h 412234"/>
                  <a:gd name="connsiteX21" fmla="*/ 275048 w 296828"/>
                  <a:gd name="connsiteY21" fmla="*/ 248076 h 412234"/>
                  <a:gd name="connsiteX22" fmla="*/ 293354 w 296828"/>
                  <a:gd name="connsiteY22" fmla="*/ 159601 h 412234"/>
                  <a:gd name="connsiteX23" fmla="*/ 284202 w 296828"/>
                  <a:gd name="connsiteY23" fmla="*/ 110787 h 412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96828" h="412234">
                    <a:moveTo>
                      <a:pt x="284202" y="110787"/>
                    </a:moveTo>
                    <a:cubicBezTo>
                      <a:pt x="275048" y="104686"/>
                      <a:pt x="265896" y="107737"/>
                      <a:pt x="259794" y="113839"/>
                    </a:cubicBezTo>
                    <a:cubicBezTo>
                      <a:pt x="256744" y="116890"/>
                      <a:pt x="256744" y="116890"/>
                      <a:pt x="253694" y="119940"/>
                    </a:cubicBezTo>
                    <a:cubicBezTo>
                      <a:pt x="256744" y="110787"/>
                      <a:pt x="259794" y="98584"/>
                      <a:pt x="259794" y="89432"/>
                    </a:cubicBezTo>
                    <a:cubicBezTo>
                      <a:pt x="262846" y="68076"/>
                      <a:pt x="262846" y="49771"/>
                      <a:pt x="247592" y="34516"/>
                    </a:cubicBezTo>
                    <a:cubicBezTo>
                      <a:pt x="244540" y="31466"/>
                      <a:pt x="241489" y="31466"/>
                      <a:pt x="241489" y="34516"/>
                    </a:cubicBezTo>
                    <a:cubicBezTo>
                      <a:pt x="241489" y="34516"/>
                      <a:pt x="238439" y="34516"/>
                      <a:pt x="238439" y="37567"/>
                    </a:cubicBezTo>
                    <a:cubicBezTo>
                      <a:pt x="235387" y="25364"/>
                      <a:pt x="232337" y="13160"/>
                      <a:pt x="220133" y="4008"/>
                    </a:cubicBezTo>
                    <a:cubicBezTo>
                      <a:pt x="207931" y="-2094"/>
                      <a:pt x="195727" y="-2094"/>
                      <a:pt x="186575" y="10110"/>
                    </a:cubicBezTo>
                    <a:cubicBezTo>
                      <a:pt x="174370" y="25364"/>
                      <a:pt x="171320" y="49771"/>
                      <a:pt x="165218" y="71127"/>
                    </a:cubicBezTo>
                    <a:cubicBezTo>
                      <a:pt x="156066" y="98584"/>
                      <a:pt x="149964" y="129093"/>
                      <a:pt x="140812" y="156550"/>
                    </a:cubicBezTo>
                    <a:cubicBezTo>
                      <a:pt x="140812" y="132144"/>
                      <a:pt x="137760" y="110787"/>
                      <a:pt x="137760" y="86381"/>
                    </a:cubicBezTo>
                    <a:cubicBezTo>
                      <a:pt x="137760" y="71127"/>
                      <a:pt x="140812" y="46720"/>
                      <a:pt x="134710" y="34516"/>
                    </a:cubicBezTo>
                    <a:cubicBezTo>
                      <a:pt x="122506" y="13160"/>
                      <a:pt x="107251" y="43669"/>
                      <a:pt x="101151" y="52822"/>
                    </a:cubicBezTo>
                    <a:cubicBezTo>
                      <a:pt x="73693" y="122991"/>
                      <a:pt x="98099" y="196211"/>
                      <a:pt x="88947" y="269432"/>
                    </a:cubicBezTo>
                    <a:cubicBezTo>
                      <a:pt x="49286" y="254178"/>
                      <a:pt x="52337" y="205364"/>
                      <a:pt x="27930" y="174855"/>
                    </a:cubicBezTo>
                    <a:cubicBezTo>
                      <a:pt x="24880" y="168754"/>
                      <a:pt x="6574" y="174855"/>
                      <a:pt x="6574" y="180957"/>
                    </a:cubicBezTo>
                    <a:cubicBezTo>
                      <a:pt x="-17833" y="245025"/>
                      <a:pt x="27930" y="345703"/>
                      <a:pt x="107251" y="394516"/>
                    </a:cubicBezTo>
                    <a:cubicBezTo>
                      <a:pt x="107251" y="394516"/>
                      <a:pt x="107251" y="394516"/>
                      <a:pt x="110303" y="394516"/>
                    </a:cubicBezTo>
                    <a:cubicBezTo>
                      <a:pt x="110303" y="397567"/>
                      <a:pt x="110303" y="397567"/>
                      <a:pt x="113353" y="400618"/>
                    </a:cubicBezTo>
                    <a:cubicBezTo>
                      <a:pt x="146914" y="428076"/>
                      <a:pt x="189625" y="400618"/>
                      <a:pt x="220133" y="382313"/>
                    </a:cubicBezTo>
                    <a:cubicBezTo>
                      <a:pt x="265896" y="351805"/>
                      <a:pt x="265896" y="296889"/>
                      <a:pt x="275048" y="248076"/>
                    </a:cubicBezTo>
                    <a:cubicBezTo>
                      <a:pt x="281150" y="217567"/>
                      <a:pt x="287252" y="190110"/>
                      <a:pt x="293354" y="159601"/>
                    </a:cubicBezTo>
                    <a:cubicBezTo>
                      <a:pt x="296404" y="141296"/>
                      <a:pt x="302506" y="119940"/>
                      <a:pt x="284202" y="110787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D8303C96-A965-4180-97D8-F4F99E9556F8}"/>
                  </a:ext>
                </a:extLst>
              </p:cNvPr>
              <p:cNvSpPr/>
              <p:nvPr/>
            </p:nvSpPr>
            <p:spPr>
              <a:xfrm>
                <a:off x="21128266" y="8963167"/>
                <a:ext cx="56178" cy="62280"/>
              </a:xfrm>
              <a:custGeom>
                <a:avLst/>
                <a:gdLst>
                  <a:gd name="connsiteX0" fmla="*/ 50076 w 56178"/>
                  <a:gd name="connsiteY0" fmla="*/ 62281 h 62280"/>
                  <a:gd name="connsiteX1" fmla="*/ 43976 w 56178"/>
                  <a:gd name="connsiteY1" fmla="*/ 56179 h 62280"/>
                  <a:gd name="connsiteX2" fmla="*/ 4313 w 56178"/>
                  <a:gd name="connsiteY2" fmla="*/ 10416 h 62280"/>
                  <a:gd name="connsiteX3" fmla="*/ 1263 w 56178"/>
                  <a:gd name="connsiteY3" fmla="*/ 4315 h 62280"/>
                  <a:gd name="connsiteX4" fmla="*/ 7365 w 56178"/>
                  <a:gd name="connsiteY4" fmla="*/ 1264 h 62280"/>
                  <a:gd name="connsiteX5" fmla="*/ 56178 w 56178"/>
                  <a:gd name="connsiteY5" fmla="*/ 59230 h 62280"/>
                  <a:gd name="connsiteX6" fmla="*/ 50076 w 56178"/>
                  <a:gd name="connsiteY6" fmla="*/ 62281 h 62280"/>
                  <a:gd name="connsiteX7" fmla="*/ 50076 w 56178"/>
                  <a:gd name="connsiteY7" fmla="*/ 62281 h 62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178" h="62280">
                    <a:moveTo>
                      <a:pt x="50076" y="62281"/>
                    </a:moveTo>
                    <a:cubicBezTo>
                      <a:pt x="47026" y="62281"/>
                      <a:pt x="43976" y="59230"/>
                      <a:pt x="43976" y="56179"/>
                    </a:cubicBezTo>
                    <a:cubicBezTo>
                      <a:pt x="40924" y="22619"/>
                      <a:pt x="4313" y="10416"/>
                      <a:pt x="4313" y="10416"/>
                    </a:cubicBezTo>
                    <a:cubicBezTo>
                      <a:pt x="1263" y="10416"/>
                      <a:pt x="-1787" y="7365"/>
                      <a:pt x="1263" y="4315"/>
                    </a:cubicBezTo>
                    <a:cubicBezTo>
                      <a:pt x="1263" y="1264"/>
                      <a:pt x="4313" y="-1787"/>
                      <a:pt x="7365" y="1264"/>
                    </a:cubicBezTo>
                    <a:cubicBezTo>
                      <a:pt x="10416" y="1264"/>
                      <a:pt x="53128" y="16518"/>
                      <a:pt x="56178" y="59230"/>
                    </a:cubicBezTo>
                    <a:cubicBezTo>
                      <a:pt x="56178" y="59230"/>
                      <a:pt x="53128" y="62281"/>
                      <a:pt x="50076" y="62281"/>
                    </a:cubicBezTo>
                    <a:cubicBezTo>
                      <a:pt x="50076" y="62281"/>
                      <a:pt x="50076" y="62281"/>
                      <a:pt x="50076" y="6228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FAE39931-A3B8-4D10-ABD4-7F7E59248F35}"/>
                  </a:ext>
                </a:extLst>
              </p:cNvPr>
              <p:cNvSpPr/>
              <p:nvPr/>
            </p:nvSpPr>
            <p:spPr>
              <a:xfrm>
                <a:off x="21144784" y="8684979"/>
                <a:ext cx="109829" cy="169621"/>
              </a:xfrm>
              <a:custGeom>
                <a:avLst/>
                <a:gdLst>
                  <a:gd name="connsiteX0" fmla="*/ 79321 w 109829"/>
                  <a:gd name="connsiteY0" fmla="*/ 169621 h 169621"/>
                  <a:gd name="connsiteX1" fmla="*/ 79321 w 109829"/>
                  <a:gd name="connsiteY1" fmla="*/ 169621 h 169621"/>
                  <a:gd name="connsiteX2" fmla="*/ 73221 w 109829"/>
                  <a:gd name="connsiteY2" fmla="*/ 163519 h 169621"/>
                  <a:gd name="connsiteX3" fmla="*/ 94576 w 109829"/>
                  <a:gd name="connsiteY3" fmla="*/ 44536 h 169621"/>
                  <a:gd name="connsiteX4" fmla="*/ 85423 w 109829"/>
                  <a:gd name="connsiteY4" fmla="*/ 20130 h 169621"/>
                  <a:gd name="connsiteX5" fmla="*/ 67119 w 109829"/>
                  <a:gd name="connsiteY5" fmla="*/ 17079 h 169621"/>
                  <a:gd name="connsiteX6" fmla="*/ 18304 w 109829"/>
                  <a:gd name="connsiteY6" fmla="*/ 163519 h 169621"/>
                  <a:gd name="connsiteX7" fmla="*/ 12204 w 109829"/>
                  <a:gd name="connsiteY7" fmla="*/ 166570 h 169621"/>
                  <a:gd name="connsiteX8" fmla="*/ 6102 w 109829"/>
                  <a:gd name="connsiteY8" fmla="*/ 160469 h 169621"/>
                  <a:gd name="connsiteX9" fmla="*/ 0 w 109829"/>
                  <a:gd name="connsiteY9" fmla="*/ 38435 h 169621"/>
                  <a:gd name="connsiteX10" fmla="*/ 6102 w 109829"/>
                  <a:gd name="connsiteY10" fmla="*/ 32333 h 169621"/>
                  <a:gd name="connsiteX11" fmla="*/ 12204 w 109829"/>
                  <a:gd name="connsiteY11" fmla="*/ 38435 h 169621"/>
                  <a:gd name="connsiteX12" fmla="*/ 18304 w 109829"/>
                  <a:gd name="connsiteY12" fmla="*/ 114706 h 169621"/>
                  <a:gd name="connsiteX13" fmla="*/ 64067 w 109829"/>
                  <a:gd name="connsiteY13" fmla="*/ 1825 h 169621"/>
                  <a:gd name="connsiteX14" fmla="*/ 94576 w 109829"/>
                  <a:gd name="connsiteY14" fmla="*/ 7926 h 169621"/>
                  <a:gd name="connsiteX15" fmla="*/ 109830 w 109829"/>
                  <a:gd name="connsiteY15" fmla="*/ 41485 h 169621"/>
                  <a:gd name="connsiteX16" fmla="*/ 88475 w 109829"/>
                  <a:gd name="connsiteY16" fmla="*/ 163519 h 169621"/>
                  <a:gd name="connsiteX17" fmla="*/ 79321 w 109829"/>
                  <a:gd name="connsiteY17" fmla="*/ 169621 h 169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9829" h="169621">
                    <a:moveTo>
                      <a:pt x="79321" y="169621"/>
                    </a:moveTo>
                    <a:cubicBezTo>
                      <a:pt x="79321" y="169621"/>
                      <a:pt x="79321" y="169621"/>
                      <a:pt x="79321" y="169621"/>
                    </a:cubicBezTo>
                    <a:cubicBezTo>
                      <a:pt x="76271" y="169621"/>
                      <a:pt x="73221" y="166570"/>
                      <a:pt x="73221" y="163519"/>
                    </a:cubicBezTo>
                    <a:cubicBezTo>
                      <a:pt x="73221" y="163519"/>
                      <a:pt x="94576" y="62842"/>
                      <a:pt x="94576" y="44536"/>
                    </a:cubicBezTo>
                    <a:cubicBezTo>
                      <a:pt x="94576" y="35384"/>
                      <a:pt x="91525" y="26231"/>
                      <a:pt x="85423" y="20130"/>
                    </a:cubicBezTo>
                    <a:cubicBezTo>
                      <a:pt x="79321" y="17079"/>
                      <a:pt x="73221" y="14028"/>
                      <a:pt x="67119" y="17079"/>
                    </a:cubicBezTo>
                    <a:cubicBezTo>
                      <a:pt x="57967" y="23181"/>
                      <a:pt x="33559" y="96401"/>
                      <a:pt x="18304" y="163519"/>
                    </a:cubicBezTo>
                    <a:cubicBezTo>
                      <a:pt x="18304" y="166570"/>
                      <a:pt x="15254" y="169621"/>
                      <a:pt x="12204" y="166570"/>
                    </a:cubicBezTo>
                    <a:cubicBezTo>
                      <a:pt x="9152" y="166570"/>
                      <a:pt x="6102" y="163519"/>
                      <a:pt x="6102" y="160469"/>
                    </a:cubicBezTo>
                    <a:cubicBezTo>
                      <a:pt x="9152" y="117757"/>
                      <a:pt x="0" y="38435"/>
                      <a:pt x="0" y="38435"/>
                    </a:cubicBezTo>
                    <a:cubicBezTo>
                      <a:pt x="0" y="35384"/>
                      <a:pt x="3050" y="32333"/>
                      <a:pt x="6102" y="32333"/>
                    </a:cubicBezTo>
                    <a:cubicBezTo>
                      <a:pt x="9152" y="32333"/>
                      <a:pt x="12204" y="35384"/>
                      <a:pt x="12204" y="38435"/>
                    </a:cubicBezTo>
                    <a:cubicBezTo>
                      <a:pt x="12204" y="41485"/>
                      <a:pt x="15254" y="78096"/>
                      <a:pt x="18304" y="114706"/>
                    </a:cubicBezTo>
                    <a:cubicBezTo>
                      <a:pt x="30508" y="65892"/>
                      <a:pt x="48813" y="7926"/>
                      <a:pt x="64067" y="1825"/>
                    </a:cubicBezTo>
                    <a:cubicBezTo>
                      <a:pt x="76271" y="-1226"/>
                      <a:pt x="85423" y="-1226"/>
                      <a:pt x="94576" y="7926"/>
                    </a:cubicBezTo>
                    <a:cubicBezTo>
                      <a:pt x="103730" y="14028"/>
                      <a:pt x="109830" y="29282"/>
                      <a:pt x="109830" y="41485"/>
                    </a:cubicBezTo>
                    <a:cubicBezTo>
                      <a:pt x="109830" y="62842"/>
                      <a:pt x="88475" y="160469"/>
                      <a:pt x="88475" y="163519"/>
                    </a:cubicBezTo>
                    <a:cubicBezTo>
                      <a:pt x="85423" y="169621"/>
                      <a:pt x="82373" y="169621"/>
                      <a:pt x="79321" y="16962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98AB3781-19AD-463F-BF66-6C2235F72C31}"/>
                  </a:ext>
                </a:extLst>
              </p:cNvPr>
              <p:cNvSpPr/>
              <p:nvPr/>
            </p:nvSpPr>
            <p:spPr>
              <a:xfrm>
                <a:off x="21236309" y="8718769"/>
                <a:ext cx="44396" cy="175492"/>
              </a:xfrm>
              <a:custGeom>
                <a:avLst/>
                <a:gdLst>
                  <a:gd name="connsiteX0" fmla="*/ 12204 w 44396"/>
                  <a:gd name="connsiteY0" fmla="*/ 175492 h 175492"/>
                  <a:gd name="connsiteX1" fmla="*/ 0 w 44396"/>
                  <a:gd name="connsiteY1" fmla="*/ 172442 h 175492"/>
                  <a:gd name="connsiteX2" fmla="*/ 21356 w 44396"/>
                  <a:gd name="connsiteY2" fmla="*/ 96170 h 175492"/>
                  <a:gd name="connsiteX3" fmla="*/ 30508 w 44396"/>
                  <a:gd name="connsiteY3" fmla="*/ 19899 h 175492"/>
                  <a:gd name="connsiteX4" fmla="*/ 9152 w 44396"/>
                  <a:gd name="connsiteY4" fmla="*/ 13798 h 175492"/>
                  <a:gd name="connsiteX5" fmla="*/ 3050 w 44396"/>
                  <a:gd name="connsiteY5" fmla="*/ 7696 h 175492"/>
                  <a:gd name="connsiteX6" fmla="*/ 9152 w 44396"/>
                  <a:gd name="connsiteY6" fmla="*/ 1594 h 175492"/>
                  <a:gd name="connsiteX7" fmla="*/ 42713 w 44396"/>
                  <a:gd name="connsiteY7" fmla="*/ 13798 h 175492"/>
                  <a:gd name="connsiteX8" fmla="*/ 33559 w 44396"/>
                  <a:gd name="connsiteY8" fmla="*/ 96170 h 175492"/>
                  <a:gd name="connsiteX9" fmla="*/ 12204 w 44396"/>
                  <a:gd name="connsiteY9" fmla="*/ 175492 h 175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4396" h="175492">
                    <a:moveTo>
                      <a:pt x="12204" y="175492"/>
                    </a:moveTo>
                    <a:lnTo>
                      <a:pt x="0" y="172442"/>
                    </a:lnTo>
                    <a:cubicBezTo>
                      <a:pt x="0" y="172442"/>
                      <a:pt x="18304" y="108374"/>
                      <a:pt x="21356" y="96170"/>
                    </a:cubicBezTo>
                    <a:cubicBezTo>
                      <a:pt x="24406" y="83967"/>
                      <a:pt x="33559" y="32102"/>
                      <a:pt x="30508" y="19899"/>
                    </a:cubicBezTo>
                    <a:cubicBezTo>
                      <a:pt x="27458" y="10747"/>
                      <a:pt x="9152" y="13798"/>
                      <a:pt x="9152" y="13798"/>
                    </a:cubicBezTo>
                    <a:cubicBezTo>
                      <a:pt x="6102" y="13798"/>
                      <a:pt x="3050" y="13798"/>
                      <a:pt x="3050" y="7696"/>
                    </a:cubicBezTo>
                    <a:cubicBezTo>
                      <a:pt x="3050" y="4645"/>
                      <a:pt x="3050" y="1594"/>
                      <a:pt x="9152" y="1594"/>
                    </a:cubicBezTo>
                    <a:cubicBezTo>
                      <a:pt x="18304" y="-1457"/>
                      <a:pt x="39661" y="-1457"/>
                      <a:pt x="42713" y="13798"/>
                    </a:cubicBezTo>
                    <a:cubicBezTo>
                      <a:pt x="48813" y="32102"/>
                      <a:pt x="36611" y="90069"/>
                      <a:pt x="33559" y="96170"/>
                    </a:cubicBezTo>
                    <a:cubicBezTo>
                      <a:pt x="30508" y="111425"/>
                      <a:pt x="12204" y="175492"/>
                      <a:pt x="12204" y="17549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7CF35F2C-0E19-456F-A162-59DC0FC1174D}"/>
                </a:ext>
              </a:extLst>
            </p:cNvPr>
            <p:cNvSpPr/>
            <p:nvPr/>
          </p:nvSpPr>
          <p:spPr>
            <a:xfrm>
              <a:off x="19502164" y="11162828"/>
              <a:ext cx="133713" cy="34822"/>
            </a:xfrm>
            <a:custGeom>
              <a:avLst/>
              <a:gdLst>
                <a:gd name="connsiteX0" fmla="*/ 129400 w 133713"/>
                <a:gd name="connsiteY0" fmla="*/ 34823 h 34822"/>
                <a:gd name="connsiteX1" fmla="*/ 129400 w 133713"/>
                <a:gd name="connsiteY1" fmla="*/ 34823 h 34822"/>
                <a:gd name="connsiteX2" fmla="*/ 4314 w 133713"/>
                <a:gd name="connsiteY2" fmla="*/ 10416 h 34822"/>
                <a:gd name="connsiteX3" fmla="*/ 1264 w 133713"/>
                <a:gd name="connsiteY3" fmla="*/ 4314 h 34822"/>
                <a:gd name="connsiteX4" fmla="*/ 7366 w 133713"/>
                <a:gd name="connsiteY4" fmla="*/ 1263 h 34822"/>
                <a:gd name="connsiteX5" fmla="*/ 129400 w 133713"/>
                <a:gd name="connsiteY5" fmla="*/ 25671 h 34822"/>
                <a:gd name="connsiteX6" fmla="*/ 132450 w 133713"/>
                <a:gd name="connsiteY6" fmla="*/ 31772 h 34822"/>
                <a:gd name="connsiteX7" fmla="*/ 129400 w 133713"/>
                <a:gd name="connsiteY7" fmla="*/ 34823 h 34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3713" h="34822">
                  <a:moveTo>
                    <a:pt x="129400" y="34823"/>
                  </a:moveTo>
                  <a:cubicBezTo>
                    <a:pt x="129400" y="34823"/>
                    <a:pt x="129400" y="34823"/>
                    <a:pt x="129400" y="34823"/>
                  </a:cubicBezTo>
                  <a:lnTo>
                    <a:pt x="4314" y="10416"/>
                  </a:lnTo>
                  <a:cubicBezTo>
                    <a:pt x="1264" y="10416"/>
                    <a:pt x="-1788" y="7365"/>
                    <a:pt x="1264" y="4314"/>
                  </a:cubicBezTo>
                  <a:cubicBezTo>
                    <a:pt x="1264" y="1263"/>
                    <a:pt x="4314" y="-1787"/>
                    <a:pt x="7366" y="1263"/>
                  </a:cubicBezTo>
                  <a:lnTo>
                    <a:pt x="129400" y="25671"/>
                  </a:lnTo>
                  <a:cubicBezTo>
                    <a:pt x="132450" y="25671"/>
                    <a:pt x="135500" y="28722"/>
                    <a:pt x="132450" y="31772"/>
                  </a:cubicBezTo>
                  <a:cubicBezTo>
                    <a:pt x="135500" y="34823"/>
                    <a:pt x="132450" y="34823"/>
                    <a:pt x="129400" y="34823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8" name="图形 114">
            <a:extLst>
              <a:ext uri="{FF2B5EF4-FFF2-40B4-BE49-F238E27FC236}">
                <a16:creationId xmlns:a16="http://schemas.microsoft.com/office/drawing/2014/main" id="{561ED744-CF0B-441E-889F-B6927E329C3B}"/>
              </a:ext>
            </a:extLst>
          </p:cNvPr>
          <p:cNvGrpSpPr/>
          <p:nvPr/>
        </p:nvGrpSpPr>
        <p:grpSpPr>
          <a:xfrm>
            <a:off x="6559500" y="3248816"/>
            <a:ext cx="3177166" cy="3609184"/>
            <a:chOff x="22260939" y="8811856"/>
            <a:chExt cx="3177166" cy="3609184"/>
          </a:xfrm>
        </p:grpSpPr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5F03E26A-BC62-4648-AD51-F97CA504B59C}"/>
                </a:ext>
              </a:extLst>
            </p:cNvPr>
            <p:cNvSpPr/>
            <p:nvPr/>
          </p:nvSpPr>
          <p:spPr>
            <a:xfrm>
              <a:off x="23182750" y="9855278"/>
              <a:ext cx="207457" cy="482034"/>
            </a:xfrm>
            <a:custGeom>
              <a:avLst/>
              <a:gdLst>
                <a:gd name="connsiteX0" fmla="*/ 45763 w 207457"/>
                <a:gd name="connsiteY0" fmla="*/ 482034 h 482034"/>
                <a:gd name="connsiteX1" fmla="*/ 207457 w 207457"/>
                <a:gd name="connsiteY1" fmla="*/ 164746 h 482034"/>
                <a:gd name="connsiteX2" fmla="*/ 54915 w 207457"/>
                <a:gd name="connsiteY2" fmla="*/ 0 h 482034"/>
                <a:gd name="connsiteX3" fmla="*/ 0 w 207457"/>
                <a:gd name="connsiteY3" fmla="*/ 326441 h 482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457" h="482034">
                  <a:moveTo>
                    <a:pt x="45763" y="482034"/>
                  </a:moveTo>
                  <a:lnTo>
                    <a:pt x="207457" y="164746"/>
                  </a:lnTo>
                  <a:lnTo>
                    <a:pt x="54915" y="0"/>
                  </a:lnTo>
                  <a:lnTo>
                    <a:pt x="0" y="326441"/>
                  </a:ln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567C0A66-33C6-4310-9D55-CD9C20E24E74}"/>
                </a:ext>
              </a:extLst>
            </p:cNvPr>
            <p:cNvSpPr/>
            <p:nvPr/>
          </p:nvSpPr>
          <p:spPr>
            <a:xfrm>
              <a:off x="23025197" y="9859512"/>
              <a:ext cx="212204" cy="539890"/>
            </a:xfrm>
            <a:custGeom>
              <a:avLst/>
              <a:gdLst>
                <a:gd name="connsiteX0" fmla="*/ 120942 w 212204"/>
                <a:gd name="connsiteY0" fmla="*/ 20173 h 539890"/>
                <a:gd name="connsiteX1" fmla="*/ 203316 w 212204"/>
                <a:gd name="connsiteY1" fmla="*/ 477800 h 539890"/>
                <a:gd name="connsiteX2" fmla="*/ 14163 w 212204"/>
                <a:gd name="connsiteY2" fmla="*/ 468647 h 539890"/>
                <a:gd name="connsiteX3" fmla="*/ 17215 w 212204"/>
                <a:gd name="connsiteY3" fmla="*/ 1868 h 539890"/>
                <a:gd name="connsiteX4" fmla="*/ 120942 w 212204"/>
                <a:gd name="connsiteY4" fmla="*/ 20173 h 539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204" h="539890">
                  <a:moveTo>
                    <a:pt x="120942" y="20173"/>
                  </a:moveTo>
                  <a:cubicBezTo>
                    <a:pt x="120942" y="20173"/>
                    <a:pt x="246028" y="410681"/>
                    <a:pt x="203316" y="477800"/>
                  </a:cubicBezTo>
                  <a:cubicBezTo>
                    <a:pt x="160605" y="544919"/>
                    <a:pt x="50773" y="578478"/>
                    <a:pt x="14163" y="468647"/>
                  </a:cubicBezTo>
                  <a:cubicBezTo>
                    <a:pt x="-19396" y="358817"/>
                    <a:pt x="17215" y="11020"/>
                    <a:pt x="17215" y="1868"/>
                  </a:cubicBezTo>
                  <a:cubicBezTo>
                    <a:pt x="17215" y="-7285"/>
                    <a:pt x="120942" y="20173"/>
                    <a:pt x="120942" y="20173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10BCD816-27C7-4A78-8169-A26BCE7C5E2C}"/>
                </a:ext>
              </a:extLst>
            </p:cNvPr>
            <p:cNvSpPr/>
            <p:nvPr/>
          </p:nvSpPr>
          <p:spPr>
            <a:xfrm>
              <a:off x="23198004" y="10132905"/>
              <a:ext cx="33560" cy="112881"/>
            </a:xfrm>
            <a:custGeom>
              <a:avLst/>
              <a:gdLst>
                <a:gd name="connsiteX0" fmla="*/ 27458 w 33560"/>
                <a:gd name="connsiteY0" fmla="*/ 112882 h 112881"/>
                <a:gd name="connsiteX1" fmla="*/ 21356 w 33560"/>
                <a:gd name="connsiteY1" fmla="*/ 106780 h 112881"/>
                <a:gd name="connsiteX2" fmla="*/ 0 w 33560"/>
                <a:gd name="connsiteY2" fmla="*/ 6102 h 112881"/>
                <a:gd name="connsiteX3" fmla="*/ 6102 w 33560"/>
                <a:gd name="connsiteY3" fmla="*/ 0 h 112881"/>
                <a:gd name="connsiteX4" fmla="*/ 12204 w 33560"/>
                <a:gd name="connsiteY4" fmla="*/ 6102 h 112881"/>
                <a:gd name="connsiteX5" fmla="*/ 33560 w 33560"/>
                <a:gd name="connsiteY5" fmla="*/ 106780 h 112881"/>
                <a:gd name="connsiteX6" fmla="*/ 27458 w 33560"/>
                <a:gd name="connsiteY6" fmla="*/ 112882 h 112881"/>
                <a:gd name="connsiteX7" fmla="*/ 27458 w 33560"/>
                <a:gd name="connsiteY7" fmla="*/ 112882 h 112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560" h="112881">
                  <a:moveTo>
                    <a:pt x="27458" y="112882"/>
                  </a:moveTo>
                  <a:cubicBezTo>
                    <a:pt x="24406" y="112882"/>
                    <a:pt x="21356" y="109831"/>
                    <a:pt x="21356" y="106780"/>
                  </a:cubicBezTo>
                  <a:cubicBezTo>
                    <a:pt x="15254" y="82373"/>
                    <a:pt x="3052" y="6102"/>
                    <a:pt x="0" y="6102"/>
                  </a:cubicBezTo>
                  <a:cubicBezTo>
                    <a:pt x="0" y="3051"/>
                    <a:pt x="0" y="0"/>
                    <a:pt x="6102" y="0"/>
                  </a:cubicBezTo>
                  <a:cubicBezTo>
                    <a:pt x="9152" y="0"/>
                    <a:pt x="12204" y="0"/>
                    <a:pt x="12204" y="6102"/>
                  </a:cubicBezTo>
                  <a:cubicBezTo>
                    <a:pt x="12204" y="6102"/>
                    <a:pt x="27458" y="82373"/>
                    <a:pt x="33560" y="106780"/>
                  </a:cubicBezTo>
                  <a:cubicBezTo>
                    <a:pt x="33560" y="106780"/>
                    <a:pt x="30508" y="109831"/>
                    <a:pt x="27458" y="112882"/>
                  </a:cubicBezTo>
                  <a:cubicBezTo>
                    <a:pt x="27458" y="112882"/>
                    <a:pt x="27458" y="112882"/>
                    <a:pt x="27458" y="112882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B00CFCD6-7EE0-4372-A2EA-84EB98037F4D}"/>
                </a:ext>
              </a:extLst>
            </p:cNvPr>
            <p:cNvSpPr/>
            <p:nvPr/>
          </p:nvSpPr>
          <p:spPr>
            <a:xfrm>
              <a:off x="23225462" y="9521919"/>
              <a:ext cx="466809" cy="510308"/>
            </a:xfrm>
            <a:custGeom>
              <a:avLst/>
              <a:gdLst>
                <a:gd name="connsiteX0" fmla="*/ 305085 w 466809"/>
                <a:gd name="connsiteY0" fmla="*/ 510308 h 510308"/>
                <a:gd name="connsiteX1" fmla="*/ 445423 w 466809"/>
                <a:gd name="connsiteY1" fmla="*/ 19122 h 510308"/>
                <a:gd name="connsiteX2" fmla="*/ 0 w 466809"/>
                <a:gd name="connsiteY2" fmla="*/ 287596 h 510308"/>
                <a:gd name="connsiteX3" fmla="*/ 305085 w 466809"/>
                <a:gd name="connsiteY3" fmla="*/ 510308 h 510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809" h="510308">
                  <a:moveTo>
                    <a:pt x="305085" y="510308"/>
                  </a:moveTo>
                  <a:cubicBezTo>
                    <a:pt x="305085" y="510308"/>
                    <a:pt x="536948" y="113698"/>
                    <a:pt x="445423" y="19122"/>
                  </a:cubicBezTo>
                  <a:cubicBezTo>
                    <a:pt x="338643" y="-87658"/>
                    <a:pt x="0" y="287596"/>
                    <a:pt x="0" y="287596"/>
                  </a:cubicBezTo>
                  <a:cubicBezTo>
                    <a:pt x="0" y="287596"/>
                    <a:pt x="122034" y="449291"/>
                    <a:pt x="305085" y="510308"/>
                  </a:cubicBezTo>
                  <a:close/>
                </a:path>
              </a:pathLst>
            </a:custGeom>
            <a:solidFill>
              <a:srgbClr val="70868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3" name="图形 114">
              <a:extLst>
                <a:ext uri="{FF2B5EF4-FFF2-40B4-BE49-F238E27FC236}">
                  <a16:creationId xmlns:a16="http://schemas.microsoft.com/office/drawing/2014/main" id="{A091A80E-1D44-491C-BD1C-8E45ABF28FBC}"/>
                </a:ext>
              </a:extLst>
            </p:cNvPr>
            <p:cNvGrpSpPr/>
            <p:nvPr/>
          </p:nvGrpSpPr>
          <p:grpSpPr>
            <a:xfrm>
              <a:off x="22809079" y="9754591"/>
              <a:ext cx="2629027" cy="2607648"/>
              <a:chOff x="22809079" y="9754591"/>
              <a:chExt cx="2629027" cy="2607648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186B7804-CB82-42EA-881C-CC8B737FB8A6}"/>
                  </a:ext>
                </a:extLst>
              </p:cNvPr>
              <p:cNvSpPr/>
              <p:nvPr/>
            </p:nvSpPr>
            <p:spPr>
              <a:xfrm>
                <a:off x="22809079" y="9754591"/>
                <a:ext cx="2629027" cy="2607648"/>
              </a:xfrm>
              <a:custGeom>
                <a:avLst/>
                <a:gdLst>
                  <a:gd name="connsiteX0" fmla="*/ 2555027 w 2629027"/>
                  <a:gd name="connsiteY0" fmla="*/ 1949500 h 2607648"/>
                  <a:gd name="connsiteX1" fmla="*/ 236383 w 2629027"/>
                  <a:gd name="connsiteY1" fmla="*/ 2285093 h 2607648"/>
                  <a:gd name="connsiteX2" fmla="*/ 266891 w 2629027"/>
                  <a:gd name="connsiteY2" fmla="*/ 1186788 h 2607648"/>
                  <a:gd name="connsiteX3" fmla="*/ 266891 w 2629027"/>
                  <a:gd name="connsiteY3" fmla="*/ 1186788 h 2607648"/>
                  <a:gd name="connsiteX4" fmla="*/ 620791 w 2629027"/>
                  <a:gd name="connsiteY4" fmla="*/ 942720 h 2607648"/>
                  <a:gd name="connsiteX5" fmla="*/ 1243162 w 2629027"/>
                  <a:gd name="connsiteY5" fmla="*/ 94585 h 2607648"/>
                  <a:gd name="connsiteX6" fmla="*/ 1450620 w 2629027"/>
                  <a:gd name="connsiteY6" fmla="*/ 9 h 2607648"/>
                  <a:gd name="connsiteX7" fmla="*/ 2555027 w 2629027"/>
                  <a:gd name="connsiteY7" fmla="*/ 1949500 h 260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29027" h="2607648">
                    <a:moveTo>
                      <a:pt x="2555027" y="1949500"/>
                    </a:moveTo>
                    <a:cubicBezTo>
                      <a:pt x="2252994" y="2889161"/>
                      <a:pt x="629943" y="2651195"/>
                      <a:pt x="236383" y="2285093"/>
                    </a:cubicBezTo>
                    <a:cubicBezTo>
                      <a:pt x="41130" y="2105094"/>
                      <a:pt x="-193786" y="1616958"/>
                      <a:pt x="266891" y="1186788"/>
                    </a:cubicBezTo>
                    <a:cubicBezTo>
                      <a:pt x="266891" y="1186788"/>
                      <a:pt x="266891" y="1186788"/>
                      <a:pt x="266891" y="1186788"/>
                    </a:cubicBezTo>
                    <a:cubicBezTo>
                      <a:pt x="358417" y="1101365"/>
                      <a:pt x="474348" y="1018992"/>
                      <a:pt x="620791" y="942720"/>
                    </a:cubicBezTo>
                    <a:cubicBezTo>
                      <a:pt x="864858" y="814584"/>
                      <a:pt x="1017401" y="308144"/>
                      <a:pt x="1243162" y="94585"/>
                    </a:cubicBezTo>
                    <a:cubicBezTo>
                      <a:pt x="1304179" y="36618"/>
                      <a:pt x="1374348" y="9"/>
                      <a:pt x="1450620" y="9"/>
                    </a:cubicBezTo>
                    <a:cubicBezTo>
                      <a:pt x="1810621" y="-3042"/>
                      <a:pt x="2924180" y="799330"/>
                      <a:pt x="2555027" y="194950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B7F7110D-1E08-4ED7-A2B8-6F88E7C9E9AB}"/>
                  </a:ext>
                </a:extLst>
              </p:cNvPr>
              <p:cNvSpPr/>
              <p:nvPr/>
            </p:nvSpPr>
            <p:spPr>
              <a:xfrm>
                <a:off x="23506141" y="10630193"/>
                <a:ext cx="934914" cy="433220"/>
              </a:xfrm>
              <a:custGeom>
                <a:avLst/>
                <a:gdLst>
                  <a:gd name="connsiteX0" fmla="*/ 930508 w 934914"/>
                  <a:gd name="connsiteY0" fmla="*/ 433221 h 433220"/>
                  <a:gd name="connsiteX1" fmla="*/ 924406 w 934914"/>
                  <a:gd name="connsiteY1" fmla="*/ 430170 h 433220"/>
                  <a:gd name="connsiteX2" fmla="*/ 6100 w 934914"/>
                  <a:gd name="connsiteY2" fmla="*/ 12204 h 433220"/>
                  <a:gd name="connsiteX3" fmla="*/ 0 w 934914"/>
                  <a:gd name="connsiteY3" fmla="*/ 6102 h 433220"/>
                  <a:gd name="connsiteX4" fmla="*/ 6100 w 934914"/>
                  <a:gd name="connsiteY4" fmla="*/ 0 h 433220"/>
                  <a:gd name="connsiteX5" fmla="*/ 6100 w 934914"/>
                  <a:gd name="connsiteY5" fmla="*/ 0 h 433220"/>
                  <a:gd name="connsiteX6" fmla="*/ 933559 w 934914"/>
                  <a:gd name="connsiteY6" fmla="*/ 421018 h 433220"/>
                  <a:gd name="connsiteX7" fmla="*/ 933559 w 934914"/>
                  <a:gd name="connsiteY7" fmla="*/ 430170 h 433220"/>
                  <a:gd name="connsiteX8" fmla="*/ 930508 w 934914"/>
                  <a:gd name="connsiteY8" fmla="*/ 433221 h 433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4914" h="433220">
                    <a:moveTo>
                      <a:pt x="930508" y="433221"/>
                    </a:moveTo>
                    <a:cubicBezTo>
                      <a:pt x="927457" y="433221"/>
                      <a:pt x="927457" y="433221"/>
                      <a:pt x="924406" y="430170"/>
                    </a:cubicBezTo>
                    <a:cubicBezTo>
                      <a:pt x="625424" y="21356"/>
                      <a:pt x="12202" y="12204"/>
                      <a:pt x="6100" y="12204"/>
                    </a:cubicBezTo>
                    <a:cubicBezTo>
                      <a:pt x="3050" y="12204"/>
                      <a:pt x="0" y="9153"/>
                      <a:pt x="0" y="6102"/>
                    </a:cubicBezTo>
                    <a:cubicBezTo>
                      <a:pt x="0" y="3051"/>
                      <a:pt x="3050" y="0"/>
                      <a:pt x="6100" y="0"/>
                    </a:cubicBezTo>
                    <a:lnTo>
                      <a:pt x="6100" y="0"/>
                    </a:lnTo>
                    <a:cubicBezTo>
                      <a:pt x="12202" y="0"/>
                      <a:pt x="634576" y="9153"/>
                      <a:pt x="933559" y="421018"/>
                    </a:cubicBezTo>
                    <a:cubicBezTo>
                      <a:pt x="936609" y="424069"/>
                      <a:pt x="933559" y="427119"/>
                      <a:pt x="933559" y="430170"/>
                    </a:cubicBezTo>
                    <a:cubicBezTo>
                      <a:pt x="930508" y="433221"/>
                      <a:pt x="930508" y="433221"/>
                      <a:pt x="930508" y="43322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7C98B616-B650-4B29-A4B8-66067E5D9C20}"/>
                  </a:ext>
                </a:extLst>
              </p:cNvPr>
              <p:cNvSpPr/>
              <p:nvPr/>
            </p:nvSpPr>
            <p:spPr>
              <a:xfrm>
                <a:off x="24165885" y="11116041"/>
                <a:ext cx="211690" cy="554491"/>
              </a:xfrm>
              <a:custGeom>
                <a:avLst/>
                <a:gdLst>
                  <a:gd name="connsiteX0" fmla="*/ 194492 w 211690"/>
                  <a:gd name="connsiteY0" fmla="*/ 554491 h 554491"/>
                  <a:gd name="connsiteX1" fmla="*/ 194492 w 211690"/>
                  <a:gd name="connsiteY1" fmla="*/ 554491 h 554491"/>
                  <a:gd name="connsiteX2" fmla="*/ 188390 w 211690"/>
                  <a:gd name="connsiteY2" fmla="*/ 548390 h 554491"/>
                  <a:gd name="connsiteX3" fmla="*/ 2288 w 211690"/>
                  <a:gd name="connsiteY3" fmla="*/ 11441 h 554491"/>
                  <a:gd name="connsiteX4" fmla="*/ 2288 w 211690"/>
                  <a:gd name="connsiteY4" fmla="*/ 2288 h 554491"/>
                  <a:gd name="connsiteX5" fmla="*/ 11442 w 211690"/>
                  <a:gd name="connsiteY5" fmla="*/ 2288 h 554491"/>
                  <a:gd name="connsiteX6" fmla="*/ 203645 w 211690"/>
                  <a:gd name="connsiteY6" fmla="*/ 548390 h 554491"/>
                  <a:gd name="connsiteX7" fmla="*/ 194492 w 211690"/>
                  <a:gd name="connsiteY7" fmla="*/ 554491 h 554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1690" h="554491">
                    <a:moveTo>
                      <a:pt x="194492" y="554491"/>
                    </a:moveTo>
                    <a:cubicBezTo>
                      <a:pt x="194492" y="554491"/>
                      <a:pt x="194492" y="554491"/>
                      <a:pt x="194492" y="554491"/>
                    </a:cubicBezTo>
                    <a:cubicBezTo>
                      <a:pt x="191440" y="554491"/>
                      <a:pt x="188390" y="551440"/>
                      <a:pt x="188390" y="548390"/>
                    </a:cubicBezTo>
                    <a:cubicBezTo>
                      <a:pt x="243305" y="246355"/>
                      <a:pt x="2288" y="14492"/>
                      <a:pt x="2288" y="11441"/>
                    </a:cubicBezTo>
                    <a:cubicBezTo>
                      <a:pt x="-763" y="8390"/>
                      <a:pt x="-763" y="5339"/>
                      <a:pt x="2288" y="2288"/>
                    </a:cubicBezTo>
                    <a:cubicBezTo>
                      <a:pt x="5340" y="-763"/>
                      <a:pt x="8390" y="-763"/>
                      <a:pt x="11442" y="2288"/>
                    </a:cubicBezTo>
                    <a:cubicBezTo>
                      <a:pt x="14492" y="5339"/>
                      <a:pt x="258560" y="240254"/>
                      <a:pt x="203645" y="548390"/>
                    </a:cubicBezTo>
                    <a:cubicBezTo>
                      <a:pt x="200593" y="551440"/>
                      <a:pt x="197543" y="554491"/>
                      <a:pt x="194492" y="55449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E6D4204A-260C-4CB9-859C-1F055803CFCC}"/>
                  </a:ext>
                </a:extLst>
              </p:cNvPr>
              <p:cNvSpPr/>
              <p:nvPr/>
            </p:nvSpPr>
            <p:spPr>
              <a:xfrm>
                <a:off x="23967580" y="11164091"/>
                <a:ext cx="97105" cy="417966"/>
              </a:xfrm>
              <a:custGeom>
                <a:avLst/>
                <a:gdLst>
                  <a:gd name="connsiteX0" fmla="*/ 5340 w 97105"/>
                  <a:gd name="connsiteY0" fmla="*/ 417966 h 417966"/>
                  <a:gd name="connsiteX1" fmla="*/ 2288 w 97105"/>
                  <a:gd name="connsiteY1" fmla="*/ 414915 h 417966"/>
                  <a:gd name="connsiteX2" fmla="*/ 2288 w 97105"/>
                  <a:gd name="connsiteY2" fmla="*/ 405763 h 417966"/>
                  <a:gd name="connsiteX3" fmla="*/ 84661 w 97105"/>
                  <a:gd name="connsiteY3" fmla="*/ 6102 h 417966"/>
                  <a:gd name="connsiteX4" fmla="*/ 90763 w 97105"/>
                  <a:gd name="connsiteY4" fmla="*/ 0 h 417966"/>
                  <a:gd name="connsiteX5" fmla="*/ 90763 w 97105"/>
                  <a:gd name="connsiteY5" fmla="*/ 0 h 417966"/>
                  <a:gd name="connsiteX6" fmla="*/ 96865 w 97105"/>
                  <a:gd name="connsiteY6" fmla="*/ 6102 h 417966"/>
                  <a:gd name="connsiteX7" fmla="*/ 11442 w 97105"/>
                  <a:gd name="connsiteY7" fmla="*/ 414915 h 417966"/>
                  <a:gd name="connsiteX8" fmla="*/ 5340 w 97105"/>
                  <a:gd name="connsiteY8" fmla="*/ 417966 h 417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7105" h="417966">
                    <a:moveTo>
                      <a:pt x="5340" y="417966"/>
                    </a:moveTo>
                    <a:cubicBezTo>
                      <a:pt x="2288" y="417966"/>
                      <a:pt x="2288" y="417966"/>
                      <a:pt x="2288" y="414915"/>
                    </a:cubicBezTo>
                    <a:cubicBezTo>
                      <a:pt x="-763" y="411864"/>
                      <a:pt x="-763" y="408814"/>
                      <a:pt x="2288" y="405763"/>
                    </a:cubicBezTo>
                    <a:cubicBezTo>
                      <a:pt x="93813" y="326441"/>
                      <a:pt x="84661" y="9153"/>
                      <a:pt x="84661" y="6102"/>
                    </a:cubicBezTo>
                    <a:cubicBezTo>
                      <a:pt x="84661" y="3051"/>
                      <a:pt x="87713" y="0"/>
                      <a:pt x="90763" y="0"/>
                    </a:cubicBezTo>
                    <a:cubicBezTo>
                      <a:pt x="90763" y="0"/>
                      <a:pt x="90763" y="0"/>
                      <a:pt x="90763" y="0"/>
                    </a:cubicBezTo>
                    <a:cubicBezTo>
                      <a:pt x="93813" y="0"/>
                      <a:pt x="96865" y="3051"/>
                      <a:pt x="96865" y="6102"/>
                    </a:cubicBezTo>
                    <a:cubicBezTo>
                      <a:pt x="96865" y="18305"/>
                      <a:pt x="106017" y="332543"/>
                      <a:pt x="11442" y="414915"/>
                    </a:cubicBezTo>
                    <a:cubicBezTo>
                      <a:pt x="8390" y="414915"/>
                      <a:pt x="8390" y="417966"/>
                      <a:pt x="5340" y="41796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FC1DC7FF-27BE-4AB0-9CE2-DF10293883D2}"/>
                  </a:ext>
                </a:extLst>
              </p:cNvPr>
              <p:cNvSpPr/>
              <p:nvPr/>
            </p:nvSpPr>
            <p:spPr>
              <a:xfrm>
                <a:off x="24427495" y="10801040"/>
                <a:ext cx="459916" cy="210508"/>
              </a:xfrm>
              <a:custGeom>
                <a:avLst/>
                <a:gdLst>
                  <a:gd name="connsiteX0" fmla="*/ 457627 w 459916"/>
                  <a:gd name="connsiteY0" fmla="*/ 210508 h 210508"/>
                  <a:gd name="connsiteX1" fmla="*/ 451527 w 459916"/>
                  <a:gd name="connsiteY1" fmla="*/ 207458 h 210508"/>
                  <a:gd name="connsiteX2" fmla="*/ 6102 w 459916"/>
                  <a:gd name="connsiteY2" fmla="*/ 12203 h 210508"/>
                  <a:gd name="connsiteX3" fmla="*/ 0 w 459916"/>
                  <a:gd name="connsiteY3" fmla="*/ 6102 h 210508"/>
                  <a:gd name="connsiteX4" fmla="*/ 6102 w 459916"/>
                  <a:gd name="connsiteY4" fmla="*/ 0 h 210508"/>
                  <a:gd name="connsiteX5" fmla="*/ 457627 w 459916"/>
                  <a:gd name="connsiteY5" fmla="*/ 201356 h 210508"/>
                  <a:gd name="connsiteX6" fmla="*/ 457627 w 459916"/>
                  <a:gd name="connsiteY6" fmla="*/ 210508 h 210508"/>
                  <a:gd name="connsiteX7" fmla="*/ 457627 w 459916"/>
                  <a:gd name="connsiteY7" fmla="*/ 210508 h 210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9916" h="210508">
                    <a:moveTo>
                      <a:pt x="457627" y="210508"/>
                    </a:moveTo>
                    <a:cubicBezTo>
                      <a:pt x="454577" y="210508"/>
                      <a:pt x="454577" y="210508"/>
                      <a:pt x="451527" y="207458"/>
                    </a:cubicBezTo>
                    <a:cubicBezTo>
                      <a:pt x="317289" y="39662"/>
                      <a:pt x="9154" y="12203"/>
                      <a:pt x="6102" y="12203"/>
                    </a:cubicBezTo>
                    <a:cubicBezTo>
                      <a:pt x="3052" y="12203"/>
                      <a:pt x="0" y="9153"/>
                      <a:pt x="0" y="6102"/>
                    </a:cubicBezTo>
                    <a:cubicBezTo>
                      <a:pt x="0" y="3051"/>
                      <a:pt x="3052" y="0"/>
                      <a:pt x="6102" y="0"/>
                    </a:cubicBezTo>
                    <a:cubicBezTo>
                      <a:pt x="9154" y="0"/>
                      <a:pt x="320339" y="30508"/>
                      <a:pt x="457627" y="201356"/>
                    </a:cubicBezTo>
                    <a:cubicBezTo>
                      <a:pt x="460679" y="204407"/>
                      <a:pt x="460679" y="207458"/>
                      <a:pt x="457627" y="210508"/>
                    </a:cubicBezTo>
                    <a:cubicBezTo>
                      <a:pt x="457627" y="210508"/>
                      <a:pt x="457627" y="210508"/>
                      <a:pt x="457627" y="2105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CF8938CA-6ED7-4EC5-B8E9-15018785B2F7}"/>
                  </a:ext>
                </a:extLst>
              </p:cNvPr>
              <p:cNvSpPr/>
              <p:nvPr/>
            </p:nvSpPr>
            <p:spPr>
              <a:xfrm>
                <a:off x="25031564" y="11460024"/>
                <a:ext cx="121407" cy="686440"/>
              </a:xfrm>
              <a:custGeom>
                <a:avLst/>
                <a:gdLst>
                  <a:gd name="connsiteX0" fmla="*/ 6100 w 121407"/>
                  <a:gd name="connsiteY0" fmla="*/ 686441 h 686440"/>
                  <a:gd name="connsiteX1" fmla="*/ 6100 w 121407"/>
                  <a:gd name="connsiteY1" fmla="*/ 686441 h 686440"/>
                  <a:gd name="connsiteX2" fmla="*/ 0 w 121407"/>
                  <a:gd name="connsiteY2" fmla="*/ 677289 h 686440"/>
                  <a:gd name="connsiteX3" fmla="*/ 79321 w 121407"/>
                  <a:gd name="connsiteY3" fmla="*/ 6102 h 686440"/>
                  <a:gd name="connsiteX4" fmla="*/ 82371 w 121407"/>
                  <a:gd name="connsiteY4" fmla="*/ 0 h 686440"/>
                  <a:gd name="connsiteX5" fmla="*/ 88473 w 121407"/>
                  <a:gd name="connsiteY5" fmla="*/ 3051 h 686440"/>
                  <a:gd name="connsiteX6" fmla="*/ 9152 w 121407"/>
                  <a:gd name="connsiteY6" fmla="*/ 683390 h 686440"/>
                  <a:gd name="connsiteX7" fmla="*/ 6100 w 121407"/>
                  <a:gd name="connsiteY7" fmla="*/ 686441 h 686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1407" h="686440">
                    <a:moveTo>
                      <a:pt x="6100" y="686441"/>
                    </a:moveTo>
                    <a:cubicBezTo>
                      <a:pt x="6100" y="686441"/>
                      <a:pt x="6100" y="686441"/>
                      <a:pt x="6100" y="686441"/>
                    </a:cubicBezTo>
                    <a:cubicBezTo>
                      <a:pt x="0" y="683390"/>
                      <a:pt x="0" y="680339"/>
                      <a:pt x="0" y="677289"/>
                    </a:cubicBezTo>
                    <a:cubicBezTo>
                      <a:pt x="189151" y="320339"/>
                      <a:pt x="79321" y="9152"/>
                      <a:pt x="79321" y="6102"/>
                    </a:cubicBezTo>
                    <a:cubicBezTo>
                      <a:pt x="79321" y="3051"/>
                      <a:pt x="79321" y="0"/>
                      <a:pt x="82371" y="0"/>
                    </a:cubicBezTo>
                    <a:cubicBezTo>
                      <a:pt x="85423" y="0"/>
                      <a:pt x="88473" y="0"/>
                      <a:pt x="88473" y="3051"/>
                    </a:cubicBezTo>
                    <a:cubicBezTo>
                      <a:pt x="88473" y="6102"/>
                      <a:pt x="201355" y="320339"/>
                      <a:pt x="9152" y="683390"/>
                    </a:cubicBezTo>
                    <a:cubicBezTo>
                      <a:pt x="12202" y="686441"/>
                      <a:pt x="9152" y="686441"/>
                      <a:pt x="6100" y="68644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4ADD72EA-8FA9-4802-9E49-CF4F7B1DA989}"/>
                </a:ext>
              </a:extLst>
            </p:cNvPr>
            <p:cNvSpPr/>
            <p:nvPr/>
          </p:nvSpPr>
          <p:spPr>
            <a:xfrm>
              <a:off x="23814275" y="9174939"/>
              <a:ext cx="289830" cy="274576"/>
            </a:xfrm>
            <a:custGeom>
              <a:avLst/>
              <a:gdLst>
                <a:gd name="connsiteX0" fmla="*/ 0 w 289830"/>
                <a:gd name="connsiteY0" fmla="*/ 274576 h 274576"/>
                <a:gd name="connsiteX1" fmla="*/ 277626 w 289830"/>
                <a:gd name="connsiteY1" fmla="*/ 271525 h 274576"/>
                <a:gd name="connsiteX2" fmla="*/ 289831 w 289830"/>
                <a:gd name="connsiteY2" fmla="*/ 131186 h 274576"/>
                <a:gd name="connsiteX3" fmla="*/ 280678 w 289830"/>
                <a:gd name="connsiteY3" fmla="*/ 18305 h 274576"/>
                <a:gd name="connsiteX4" fmla="*/ 207457 w 289830"/>
                <a:gd name="connsiteY4" fmla="*/ 0 h 274576"/>
                <a:gd name="connsiteX5" fmla="*/ 48813 w 289830"/>
                <a:gd name="connsiteY5" fmla="*/ 91525 h 274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830" h="274576">
                  <a:moveTo>
                    <a:pt x="0" y="274576"/>
                  </a:moveTo>
                  <a:lnTo>
                    <a:pt x="277626" y="271525"/>
                  </a:lnTo>
                  <a:lnTo>
                    <a:pt x="289831" y="131186"/>
                  </a:lnTo>
                  <a:lnTo>
                    <a:pt x="280678" y="18305"/>
                  </a:lnTo>
                  <a:lnTo>
                    <a:pt x="207457" y="0"/>
                  </a:lnTo>
                  <a:lnTo>
                    <a:pt x="48813" y="91525"/>
                  </a:lnTo>
                  <a:close/>
                </a:path>
              </a:pathLst>
            </a:custGeom>
            <a:solidFill>
              <a:srgbClr val="664241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74A30CEC-57DE-4154-8969-80DDBD6F234E}"/>
                </a:ext>
              </a:extLst>
            </p:cNvPr>
            <p:cNvSpPr/>
            <p:nvPr/>
          </p:nvSpPr>
          <p:spPr>
            <a:xfrm>
              <a:off x="23454276" y="8811856"/>
              <a:ext cx="470218" cy="663432"/>
            </a:xfrm>
            <a:custGeom>
              <a:avLst/>
              <a:gdLst>
                <a:gd name="connsiteX0" fmla="*/ 402712 w 470218"/>
                <a:gd name="connsiteY0" fmla="*/ 469862 h 663432"/>
                <a:gd name="connsiteX1" fmla="*/ 393558 w 470218"/>
                <a:gd name="connsiteY1" fmla="*/ 308167 h 663432"/>
                <a:gd name="connsiteX2" fmla="*/ 436271 w 470218"/>
                <a:gd name="connsiteY2" fmla="*/ 161726 h 663432"/>
                <a:gd name="connsiteX3" fmla="*/ 469829 w 470218"/>
                <a:gd name="connsiteY3" fmla="*/ 9184 h 663432"/>
                <a:gd name="connsiteX4" fmla="*/ 143390 w 470218"/>
                <a:gd name="connsiteY4" fmla="*/ 176981 h 663432"/>
                <a:gd name="connsiteX5" fmla="*/ 0 w 470218"/>
                <a:gd name="connsiteY5" fmla="*/ 582744 h 663432"/>
                <a:gd name="connsiteX6" fmla="*/ 424067 w 470218"/>
                <a:gd name="connsiteY6" fmla="*/ 637659 h 663432"/>
                <a:gd name="connsiteX7" fmla="*/ 402712 w 470218"/>
                <a:gd name="connsiteY7" fmla="*/ 469862 h 663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0218" h="663432">
                  <a:moveTo>
                    <a:pt x="402712" y="469862"/>
                  </a:moveTo>
                  <a:cubicBezTo>
                    <a:pt x="393558" y="417997"/>
                    <a:pt x="387458" y="363083"/>
                    <a:pt x="393558" y="308167"/>
                  </a:cubicBezTo>
                  <a:cubicBezTo>
                    <a:pt x="399660" y="256303"/>
                    <a:pt x="414915" y="207489"/>
                    <a:pt x="436271" y="161726"/>
                  </a:cubicBezTo>
                  <a:cubicBezTo>
                    <a:pt x="457627" y="112913"/>
                    <a:pt x="472881" y="9184"/>
                    <a:pt x="469829" y="9184"/>
                  </a:cubicBezTo>
                  <a:cubicBezTo>
                    <a:pt x="353898" y="-27426"/>
                    <a:pt x="170847" y="48845"/>
                    <a:pt x="143390" y="176981"/>
                  </a:cubicBezTo>
                  <a:cubicBezTo>
                    <a:pt x="131186" y="241049"/>
                    <a:pt x="122034" y="414947"/>
                    <a:pt x="0" y="582744"/>
                  </a:cubicBezTo>
                  <a:cubicBezTo>
                    <a:pt x="103728" y="659015"/>
                    <a:pt x="414915" y="689523"/>
                    <a:pt x="424067" y="637659"/>
                  </a:cubicBezTo>
                  <a:cubicBezTo>
                    <a:pt x="433221" y="594947"/>
                    <a:pt x="411864" y="512574"/>
                    <a:pt x="402712" y="469862"/>
                  </a:cubicBezTo>
                  <a:close/>
                </a:path>
              </a:pathLst>
            </a:custGeom>
            <a:solidFill>
              <a:srgbClr val="664241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6" name="图形 114">
              <a:extLst>
                <a:ext uri="{FF2B5EF4-FFF2-40B4-BE49-F238E27FC236}">
                  <a16:creationId xmlns:a16="http://schemas.microsoft.com/office/drawing/2014/main" id="{067F1F4E-EFB6-4731-80AF-B7CB14D654CE}"/>
                </a:ext>
              </a:extLst>
            </p:cNvPr>
            <p:cNvGrpSpPr/>
            <p:nvPr/>
          </p:nvGrpSpPr>
          <p:grpSpPr>
            <a:xfrm>
              <a:off x="22260939" y="11954261"/>
              <a:ext cx="445879" cy="316020"/>
              <a:chOff x="22260939" y="11954261"/>
              <a:chExt cx="445879" cy="316020"/>
            </a:xfrm>
          </p:grpSpPr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C39116D0-F657-4F22-BACF-0C927368311A}"/>
                  </a:ext>
                </a:extLst>
              </p:cNvPr>
              <p:cNvSpPr/>
              <p:nvPr/>
            </p:nvSpPr>
            <p:spPr>
              <a:xfrm>
                <a:off x="22260939" y="12033583"/>
                <a:ext cx="395539" cy="236698"/>
              </a:xfrm>
              <a:custGeom>
                <a:avLst/>
                <a:gdLst>
                  <a:gd name="connsiteX0" fmla="*/ 287235 w 395539"/>
                  <a:gd name="connsiteY0" fmla="*/ 0 h 236698"/>
                  <a:gd name="connsiteX1" fmla="*/ 128590 w 395539"/>
                  <a:gd name="connsiteY1" fmla="*/ 125085 h 236698"/>
                  <a:gd name="connsiteX2" fmla="*/ 381810 w 395539"/>
                  <a:gd name="connsiteY2" fmla="*/ 73221 h 236698"/>
                  <a:gd name="connsiteX3" fmla="*/ 394014 w 395539"/>
                  <a:gd name="connsiteY3" fmla="*/ 51865 h 236698"/>
                  <a:gd name="connsiteX4" fmla="*/ 387912 w 395539"/>
                  <a:gd name="connsiteY4" fmla="*/ 158644 h 236698"/>
                  <a:gd name="connsiteX5" fmla="*/ 156049 w 395539"/>
                  <a:gd name="connsiteY5" fmla="*/ 231865 h 236698"/>
                  <a:gd name="connsiteX6" fmla="*/ 18761 w 395539"/>
                  <a:gd name="connsiteY6" fmla="*/ 231865 h 236698"/>
                  <a:gd name="connsiteX7" fmla="*/ 12658 w 395539"/>
                  <a:gd name="connsiteY7" fmla="*/ 176950 h 236698"/>
                  <a:gd name="connsiteX8" fmla="*/ 287235 w 395539"/>
                  <a:gd name="connsiteY8" fmla="*/ 0 h 236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5539" h="236698">
                    <a:moveTo>
                      <a:pt x="287235" y="0"/>
                    </a:moveTo>
                    <a:cubicBezTo>
                      <a:pt x="287235" y="0"/>
                      <a:pt x="113336" y="112882"/>
                      <a:pt x="128590" y="125085"/>
                    </a:cubicBezTo>
                    <a:cubicBezTo>
                      <a:pt x="140794" y="140339"/>
                      <a:pt x="381810" y="73221"/>
                      <a:pt x="381810" y="73221"/>
                    </a:cubicBezTo>
                    <a:lnTo>
                      <a:pt x="394014" y="51865"/>
                    </a:lnTo>
                    <a:cubicBezTo>
                      <a:pt x="394014" y="51865"/>
                      <a:pt x="400116" y="134238"/>
                      <a:pt x="387912" y="158644"/>
                    </a:cubicBezTo>
                    <a:cubicBezTo>
                      <a:pt x="314693" y="195255"/>
                      <a:pt x="229268" y="219661"/>
                      <a:pt x="156049" y="231865"/>
                    </a:cubicBezTo>
                    <a:cubicBezTo>
                      <a:pt x="110286" y="241018"/>
                      <a:pt x="27913" y="234916"/>
                      <a:pt x="18761" y="231865"/>
                    </a:cubicBezTo>
                    <a:cubicBezTo>
                      <a:pt x="9608" y="228814"/>
                      <a:pt x="-14800" y="204407"/>
                      <a:pt x="12658" y="176950"/>
                    </a:cubicBezTo>
                    <a:cubicBezTo>
                      <a:pt x="73675" y="112882"/>
                      <a:pt x="287235" y="0"/>
                      <a:pt x="287235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F8FFDCB7-91DB-412D-80C2-68116E70D0BB}"/>
                  </a:ext>
                </a:extLst>
              </p:cNvPr>
              <p:cNvSpPr/>
              <p:nvPr/>
            </p:nvSpPr>
            <p:spPr>
              <a:xfrm>
                <a:off x="22388201" y="11954261"/>
                <a:ext cx="318617" cy="211361"/>
              </a:xfrm>
              <a:custGeom>
                <a:avLst/>
                <a:gdLst>
                  <a:gd name="connsiteX0" fmla="*/ 193531 w 318617"/>
                  <a:gd name="connsiteY0" fmla="*/ 0 h 211361"/>
                  <a:gd name="connsiteX1" fmla="*/ 159973 w 318617"/>
                  <a:gd name="connsiteY1" fmla="*/ 82372 h 211361"/>
                  <a:gd name="connsiteX2" fmla="*/ 1328 w 318617"/>
                  <a:gd name="connsiteY2" fmla="*/ 207457 h 211361"/>
                  <a:gd name="connsiteX3" fmla="*/ 254548 w 318617"/>
                  <a:gd name="connsiteY3" fmla="*/ 155592 h 211361"/>
                  <a:gd name="connsiteX4" fmla="*/ 318617 w 318617"/>
                  <a:gd name="connsiteY4" fmla="*/ 42712 h 211361"/>
                  <a:gd name="connsiteX5" fmla="*/ 193531 w 318617"/>
                  <a:gd name="connsiteY5" fmla="*/ 0 h 211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8617" h="211361">
                    <a:moveTo>
                      <a:pt x="193531" y="0"/>
                    </a:moveTo>
                    <a:lnTo>
                      <a:pt x="159973" y="82372"/>
                    </a:lnTo>
                    <a:cubicBezTo>
                      <a:pt x="159973" y="82372"/>
                      <a:pt x="-16976" y="186101"/>
                      <a:pt x="1328" y="207457"/>
                    </a:cubicBezTo>
                    <a:cubicBezTo>
                      <a:pt x="16582" y="228814"/>
                      <a:pt x="254548" y="155592"/>
                      <a:pt x="254548" y="155592"/>
                    </a:cubicBezTo>
                    <a:lnTo>
                      <a:pt x="318617" y="42712"/>
                    </a:lnTo>
                    <a:lnTo>
                      <a:pt x="193531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7" name="图形 114">
              <a:extLst>
                <a:ext uri="{FF2B5EF4-FFF2-40B4-BE49-F238E27FC236}">
                  <a16:creationId xmlns:a16="http://schemas.microsoft.com/office/drawing/2014/main" id="{CAD32262-7298-4BA2-B795-CAD70308965B}"/>
                </a:ext>
              </a:extLst>
            </p:cNvPr>
            <p:cNvGrpSpPr/>
            <p:nvPr/>
          </p:nvGrpSpPr>
          <p:grpSpPr>
            <a:xfrm>
              <a:off x="22834844" y="12057990"/>
              <a:ext cx="393668" cy="363050"/>
              <a:chOff x="22834844" y="12057990"/>
              <a:chExt cx="393668" cy="363050"/>
            </a:xfrm>
          </p:grpSpPr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2E4D3DA8-AE3E-44FB-95A0-F629C5162FFF}"/>
                  </a:ext>
                </a:extLst>
              </p:cNvPr>
              <p:cNvSpPr/>
              <p:nvPr/>
            </p:nvSpPr>
            <p:spPr>
              <a:xfrm>
                <a:off x="22834844" y="12143413"/>
                <a:ext cx="377644" cy="277627"/>
              </a:xfrm>
              <a:custGeom>
                <a:avLst/>
                <a:gdLst>
                  <a:gd name="connsiteX0" fmla="*/ 247228 w 377644"/>
                  <a:gd name="connsiteY0" fmla="*/ 0 h 277627"/>
                  <a:gd name="connsiteX1" fmla="*/ 112990 w 377644"/>
                  <a:gd name="connsiteY1" fmla="*/ 152542 h 277627"/>
                  <a:gd name="connsiteX2" fmla="*/ 354008 w 377644"/>
                  <a:gd name="connsiteY2" fmla="*/ 57966 h 277627"/>
                  <a:gd name="connsiteX3" fmla="*/ 363160 w 377644"/>
                  <a:gd name="connsiteY3" fmla="*/ 33560 h 277627"/>
                  <a:gd name="connsiteX4" fmla="*/ 375364 w 377644"/>
                  <a:gd name="connsiteY4" fmla="*/ 140339 h 277627"/>
                  <a:gd name="connsiteX5" fmla="*/ 161805 w 377644"/>
                  <a:gd name="connsiteY5" fmla="*/ 253221 h 277627"/>
                  <a:gd name="connsiteX6" fmla="*/ 24517 w 377644"/>
                  <a:gd name="connsiteY6" fmla="*/ 277627 h 277627"/>
                  <a:gd name="connsiteX7" fmla="*/ 9263 w 377644"/>
                  <a:gd name="connsiteY7" fmla="*/ 222712 h 277627"/>
                  <a:gd name="connsiteX8" fmla="*/ 247228 w 377644"/>
                  <a:gd name="connsiteY8" fmla="*/ 0 h 277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7644" h="277627">
                    <a:moveTo>
                      <a:pt x="247228" y="0"/>
                    </a:moveTo>
                    <a:cubicBezTo>
                      <a:pt x="247228" y="0"/>
                      <a:pt x="97736" y="140339"/>
                      <a:pt x="112990" y="152542"/>
                    </a:cubicBezTo>
                    <a:cubicBezTo>
                      <a:pt x="128245" y="164746"/>
                      <a:pt x="354008" y="57966"/>
                      <a:pt x="354008" y="57966"/>
                    </a:cubicBezTo>
                    <a:lnTo>
                      <a:pt x="363160" y="33560"/>
                    </a:lnTo>
                    <a:cubicBezTo>
                      <a:pt x="363160" y="33560"/>
                      <a:pt x="384517" y="112882"/>
                      <a:pt x="375364" y="140339"/>
                    </a:cubicBezTo>
                    <a:cubicBezTo>
                      <a:pt x="311295" y="189153"/>
                      <a:pt x="228924" y="225763"/>
                      <a:pt x="161805" y="253221"/>
                    </a:cubicBezTo>
                    <a:cubicBezTo>
                      <a:pt x="116042" y="268475"/>
                      <a:pt x="33669" y="277627"/>
                      <a:pt x="24517" y="277627"/>
                    </a:cubicBezTo>
                    <a:cubicBezTo>
                      <a:pt x="15365" y="274576"/>
                      <a:pt x="-15144" y="256271"/>
                      <a:pt x="9263" y="222712"/>
                    </a:cubicBezTo>
                    <a:cubicBezTo>
                      <a:pt x="58076" y="149491"/>
                      <a:pt x="247228" y="0"/>
                      <a:pt x="247228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E40C6877-E461-4196-B700-C6CE34AA5F74}"/>
                  </a:ext>
                </a:extLst>
              </p:cNvPr>
              <p:cNvSpPr/>
              <p:nvPr/>
            </p:nvSpPr>
            <p:spPr>
              <a:xfrm>
                <a:off x="22942771" y="12057990"/>
                <a:ext cx="285741" cy="239973"/>
              </a:xfrm>
              <a:custGeom>
                <a:avLst/>
                <a:gdLst>
                  <a:gd name="connsiteX0" fmla="*/ 157606 w 285741"/>
                  <a:gd name="connsiteY0" fmla="*/ 0 h 239973"/>
                  <a:gd name="connsiteX1" fmla="*/ 136251 w 285741"/>
                  <a:gd name="connsiteY1" fmla="*/ 85423 h 239973"/>
                  <a:gd name="connsiteX2" fmla="*/ 2013 w 285741"/>
                  <a:gd name="connsiteY2" fmla="*/ 237966 h 239973"/>
                  <a:gd name="connsiteX3" fmla="*/ 243031 w 285741"/>
                  <a:gd name="connsiteY3" fmla="*/ 143389 h 239973"/>
                  <a:gd name="connsiteX4" fmla="*/ 285742 w 285741"/>
                  <a:gd name="connsiteY4" fmla="*/ 21355 h 239973"/>
                  <a:gd name="connsiteX5" fmla="*/ 157606 w 285741"/>
                  <a:gd name="connsiteY5" fmla="*/ 0 h 239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5741" h="239973">
                    <a:moveTo>
                      <a:pt x="157606" y="0"/>
                    </a:moveTo>
                    <a:lnTo>
                      <a:pt x="136251" y="85423"/>
                    </a:lnTo>
                    <a:cubicBezTo>
                      <a:pt x="136251" y="85423"/>
                      <a:pt x="-19343" y="219660"/>
                      <a:pt x="2013" y="237966"/>
                    </a:cubicBezTo>
                    <a:cubicBezTo>
                      <a:pt x="23370" y="256271"/>
                      <a:pt x="243031" y="143389"/>
                      <a:pt x="243031" y="143389"/>
                    </a:cubicBezTo>
                    <a:lnTo>
                      <a:pt x="285742" y="21355"/>
                    </a:lnTo>
                    <a:lnTo>
                      <a:pt x="157606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3F81FC4E-9BAB-47E7-A277-A5EBF10AAE7F}"/>
                </a:ext>
              </a:extLst>
            </p:cNvPr>
            <p:cNvSpPr/>
            <p:nvPr/>
          </p:nvSpPr>
          <p:spPr>
            <a:xfrm>
              <a:off x="23048513" y="10501379"/>
              <a:ext cx="1177568" cy="1642034"/>
            </a:xfrm>
            <a:custGeom>
              <a:avLst/>
              <a:gdLst>
                <a:gd name="connsiteX0" fmla="*/ 1134914 w 1177568"/>
                <a:gd name="connsiteY0" fmla="*/ 6780 h 1642034"/>
                <a:gd name="connsiteX1" fmla="*/ 1165422 w 1177568"/>
                <a:gd name="connsiteY1" fmla="*/ 302712 h 1642034"/>
                <a:gd name="connsiteX2" fmla="*/ 509490 w 1177568"/>
                <a:gd name="connsiteY2" fmla="*/ 693220 h 1642034"/>
                <a:gd name="connsiteX3" fmla="*/ 204405 w 1177568"/>
                <a:gd name="connsiteY3" fmla="*/ 1642034 h 1642034"/>
                <a:gd name="connsiteX4" fmla="*/ 0 w 1177568"/>
                <a:gd name="connsiteY4" fmla="*/ 1596271 h 1642034"/>
                <a:gd name="connsiteX5" fmla="*/ 152542 w 1177568"/>
                <a:gd name="connsiteY5" fmla="*/ 540678 h 1642034"/>
                <a:gd name="connsiteX6" fmla="*/ 829829 w 1177568"/>
                <a:gd name="connsiteY6" fmla="*/ 6780 h 1642034"/>
                <a:gd name="connsiteX7" fmla="*/ 1134914 w 1177568"/>
                <a:gd name="connsiteY7" fmla="*/ 6780 h 1642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7568" h="1642034">
                  <a:moveTo>
                    <a:pt x="1134914" y="6780"/>
                  </a:moveTo>
                  <a:cubicBezTo>
                    <a:pt x="1134914" y="6780"/>
                    <a:pt x="1205085" y="189831"/>
                    <a:pt x="1165422" y="302712"/>
                  </a:cubicBezTo>
                  <a:cubicBezTo>
                    <a:pt x="1122712" y="415594"/>
                    <a:pt x="533898" y="638305"/>
                    <a:pt x="509490" y="693220"/>
                  </a:cubicBezTo>
                  <a:cubicBezTo>
                    <a:pt x="485084" y="748136"/>
                    <a:pt x="204405" y="1642034"/>
                    <a:pt x="204405" y="1642034"/>
                  </a:cubicBezTo>
                  <a:cubicBezTo>
                    <a:pt x="204405" y="1642034"/>
                    <a:pt x="88473" y="1623729"/>
                    <a:pt x="0" y="1596271"/>
                  </a:cubicBezTo>
                  <a:cubicBezTo>
                    <a:pt x="0" y="1596271"/>
                    <a:pt x="94576" y="708475"/>
                    <a:pt x="152542" y="540678"/>
                  </a:cubicBezTo>
                  <a:cubicBezTo>
                    <a:pt x="204405" y="397289"/>
                    <a:pt x="771864" y="22034"/>
                    <a:pt x="829829" y="6780"/>
                  </a:cubicBezTo>
                  <a:cubicBezTo>
                    <a:pt x="890846" y="-8475"/>
                    <a:pt x="1134914" y="6780"/>
                    <a:pt x="1134914" y="6780"/>
                  </a:cubicBez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5065DE38-42A7-4AFB-A30C-FFBF7537B58D}"/>
                </a:ext>
              </a:extLst>
            </p:cNvPr>
            <p:cNvSpPr/>
            <p:nvPr/>
          </p:nvSpPr>
          <p:spPr>
            <a:xfrm>
              <a:off x="22545124" y="10502200"/>
              <a:ext cx="1336270" cy="1543586"/>
            </a:xfrm>
            <a:custGeom>
              <a:avLst/>
              <a:gdLst>
                <a:gd name="connsiteX0" fmla="*/ 1336271 w 1336270"/>
                <a:gd name="connsiteY0" fmla="*/ 5959 h 1543586"/>
                <a:gd name="connsiteX1" fmla="*/ 1198983 w 1336270"/>
                <a:gd name="connsiteY1" fmla="*/ 301891 h 1543586"/>
                <a:gd name="connsiteX2" fmla="*/ 689491 w 1336270"/>
                <a:gd name="connsiteY2" fmla="*/ 530705 h 1543586"/>
                <a:gd name="connsiteX3" fmla="*/ 161695 w 1336270"/>
                <a:gd name="connsiteY3" fmla="*/ 1543587 h 1543586"/>
                <a:gd name="connsiteX4" fmla="*/ 0 w 1336270"/>
                <a:gd name="connsiteY4" fmla="*/ 1488671 h 1543586"/>
                <a:gd name="connsiteX5" fmla="*/ 417965 w 1336270"/>
                <a:gd name="connsiteY5" fmla="*/ 317145 h 1543586"/>
                <a:gd name="connsiteX6" fmla="*/ 866440 w 1336270"/>
                <a:gd name="connsiteY6" fmla="*/ 9010 h 1543586"/>
                <a:gd name="connsiteX7" fmla="*/ 1336271 w 1336270"/>
                <a:gd name="connsiteY7" fmla="*/ 5959 h 1543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36270" h="1543586">
                  <a:moveTo>
                    <a:pt x="1336271" y="5959"/>
                  </a:moveTo>
                  <a:cubicBezTo>
                    <a:pt x="1336271" y="5959"/>
                    <a:pt x="1241693" y="189009"/>
                    <a:pt x="1198983" y="301891"/>
                  </a:cubicBezTo>
                  <a:cubicBezTo>
                    <a:pt x="1156270" y="414773"/>
                    <a:pt x="713897" y="475790"/>
                    <a:pt x="689491" y="530705"/>
                  </a:cubicBezTo>
                  <a:cubicBezTo>
                    <a:pt x="665084" y="585620"/>
                    <a:pt x="161695" y="1543587"/>
                    <a:pt x="161695" y="1543587"/>
                  </a:cubicBezTo>
                  <a:cubicBezTo>
                    <a:pt x="161695" y="1543587"/>
                    <a:pt x="70169" y="1510027"/>
                    <a:pt x="0" y="1488671"/>
                  </a:cubicBezTo>
                  <a:cubicBezTo>
                    <a:pt x="0" y="1488671"/>
                    <a:pt x="256270" y="512400"/>
                    <a:pt x="417965" y="317145"/>
                  </a:cubicBezTo>
                  <a:cubicBezTo>
                    <a:pt x="536948" y="173755"/>
                    <a:pt x="808475" y="24264"/>
                    <a:pt x="866440" y="9010"/>
                  </a:cubicBezTo>
                  <a:cubicBezTo>
                    <a:pt x="921354" y="-9296"/>
                    <a:pt x="1336271" y="5959"/>
                    <a:pt x="1336271" y="5959"/>
                  </a:cubicBez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B1B1216C-EC1B-457E-B89A-8B2A6F02BEBF}"/>
                </a:ext>
              </a:extLst>
            </p:cNvPr>
            <p:cNvSpPr/>
            <p:nvPr/>
          </p:nvSpPr>
          <p:spPr>
            <a:xfrm>
              <a:off x="23143089" y="10708159"/>
              <a:ext cx="434576" cy="571864"/>
            </a:xfrm>
            <a:custGeom>
              <a:avLst/>
              <a:gdLst>
                <a:gd name="connsiteX0" fmla="*/ 6102 w 434576"/>
                <a:gd name="connsiteY0" fmla="*/ 571865 h 571864"/>
                <a:gd name="connsiteX1" fmla="*/ 6102 w 434576"/>
                <a:gd name="connsiteY1" fmla="*/ 571865 h 571864"/>
                <a:gd name="connsiteX2" fmla="*/ 0 w 434576"/>
                <a:gd name="connsiteY2" fmla="*/ 565763 h 571864"/>
                <a:gd name="connsiteX3" fmla="*/ 9152 w 434576"/>
                <a:gd name="connsiteY3" fmla="*/ 520000 h 571864"/>
                <a:gd name="connsiteX4" fmla="*/ 64067 w 434576"/>
                <a:gd name="connsiteY4" fmla="*/ 312543 h 571864"/>
                <a:gd name="connsiteX5" fmla="*/ 424069 w 434576"/>
                <a:gd name="connsiteY5" fmla="*/ 1356 h 571864"/>
                <a:gd name="connsiteX6" fmla="*/ 433221 w 434576"/>
                <a:gd name="connsiteY6" fmla="*/ 1356 h 571864"/>
                <a:gd name="connsiteX7" fmla="*/ 433221 w 434576"/>
                <a:gd name="connsiteY7" fmla="*/ 10509 h 571864"/>
                <a:gd name="connsiteX8" fmla="*/ 76271 w 434576"/>
                <a:gd name="connsiteY8" fmla="*/ 318644 h 571864"/>
                <a:gd name="connsiteX9" fmla="*/ 24406 w 434576"/>
                <a:gd name="connsiteY9" fmla="*/ 520000 h 571864"/>
                <a:gd name="connsiteX10" fmla="*/ 15254 w 434576"/>
                <a:gd name="connsiteY10" fmla="*/ 565763 h 571864"/>
                <a:gd name="connsiteX11" fmla="*/ 6102 w 434576"/>
                <a:gd name="connsiteY11" fmla="*/ 571865 h 57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4576" h="571864">
                  <a:moveTo>
                    <a:pt x="6102" y="571865"/>
                  </a:moveTo>
                  <a:cubicBezTo>
                    <a:pt x="6102" y="571865"/>
                    <a:pt x="6102" y="571865"/>
                    <a:pt x="6102" y="571865"/>
                  </a:cubicBezTo>
                  <a:cubicBezTo>
                    <a:pt x="3050" y="571865"/>
                    <a:pt x="0" y="568814"/>
                    <a:pt x="0" y="565763"/>
                  </a:cubicBezTo>
                  <a:cubicBezTo>
                    <a:pt x="3050" y="550509"/>
                    <a:pt x="6102" y="535254"/>
                    <a:pt x="9152" y="520000"/>
                  </a:cubicBezTo>
                  <a:cubicBezTo>
                    <a:pt x="24406" y="434577"/>
                    <a:pt x="39661" y="343051"/>
                    <a:pt x="64067" y="312543"/>
                  </a:cubicBezTo>
                  <a:cubicBezTo>
                    <a:pt x="125084" y="227119"/>
                    <a:pt x="250170" y="120339"/>
                    <a:pt x="424069" y="1356"/>
                  </a:cubicBezTo>
                  <a:cubicBezTo>
                    <a:pt x="427119" y="-1695"/>
                    <a:pt x="430169" y="1356"/>
                    <a:pt x="433221" y="1356"/>
                  </a:cubicBezTo>
                  <a:cubicBezTo>
                    <a:pt x="436271" y="4407"/>
                    <a:pt x="433221" y="7458"/>
                    <a:pt x="433221" y="10509"/>
                  </a:cubicBezTo>
                  <a:cubicBezTo>
                    <a:pt x="262372" y="129492"/>
                    <a:pt x="137288" y="236272"/>
                    <a:pt x="76271" y="318644"/>
                  </a:cubicBezTo>
                  <a:cubicBezTo>
                    <a:pt x="54915" y="346102"/>
                    <a:pt x="39661" y="437628"/>
                    <a:pt x="24406" y="520000"/>
                  </a:cubicBezTo>
                  <a:cubicBezTo>
                    <a:pt x="21356" y="535254"/>
                    <a:pt x="18304" y="550509"/>
                    <a:pt x="15254" y="565763"/>
                  </a:cubicBezTo>
                  <a:cubicBezTo>
                    <a:pt x="12204" y="568814"/>
                    <a:pt x="9152" y="571865"/>
                    <a:pt x="6102" y="571865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B66B23F6-75D1-4D55-ABBB-9C799C61A7C8}"/>
                </a:ext>
              </a:extLst>
            </p:cNvPr>
            <p:cNvSpPr/>
            <p:nvPr/>
          </p:nvSpPr>
          <p:spPr>
            <a:xfrm>
              <a:off x="23475817" y="9466222"/>
              <a:ext cx="798567" cy="905699"/>
            </a:xfrm>
            <a:custGeom>
              <a:avLst/>
              <a:gdLst>
                <a:gd name="connsiteX0" fmla="*/ 27272 w 798567"/>
                <a:gd name="connsiteY0" fmla="*/ 852785 h 905699"/>
                <a:gd name="connsiteX1" fmla="*/ 634391 w 798567"/>
                <a:gd name="connsiteY1" fmla="*/ 895497 h 905699"/>
                <a:gd name="connsiteX2" fmla="*/ 744221 w 798567"/>
                <a:gd name="connsiteY2" fmla="*/ 407361 h 905699"/>
                <a:gd name="connsiteX3" fmla="*/ 744221 w 798567"/>
                <a:gd name="connsiteY3" fmla="*/ 83971 h 905699"/>
                <a:gd name="connsiteX4" fmla="*/ 378120 w 798567"/>
                <a:gd name="connsiteY4" fmla="*/ 1598 h 905699"/>
                <a:gd name="connsiteX5" fmla="*/ 48628 w 798567"/>
                <a:gd name="connsiteY5" fmla="*/ 117531 h 905699"/>
                <a:gd name="connsiteX6" fmla="*/ 27272 w 798567"/>
                <a:gd name="connsiteY6" fmla="*/ 852785 h 905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8567" h="905699">
                  <a:moveTo>
                    <a:pt x="27272" y="852785"/>
                  </a:moveTo>
                  <a:cubicBezTo>
                    <a:pt x="27272" y="858886"/>
                    <a:pt x="393374" y="932107"/>
                    <a:pt x="634391" y="895497"/>
                  </a:cubicBezTo>
                  <a:cubicBezTo>
                    <a:pt x="631340" y="807023"/>
                    <a:pt x="719815" y="474480"/>
                    <a:pt x="744221" y="407361"/>
                  </a:cubicBezTo>
                  <a:cubicBezTo>
                    <a:pt x="756425" y="376853"/>
                    <a:pt x="860153" y="151090"/>
                    <a:pt x="744221" y="83971"/>
                  </a:cubicBezTo>
                  <a:cubicBezTo>
                    <a:pt x="643544" y="22954"/>
                    <a:pt x="497103" y="-7554"/>
                    <a:pt x="378120" y="1598"/>
                  </a:cubicBezTo>
                  <a:cubicBezTo>
                    <a:pt x="246933" y="10751"/>
                    <a:pt x="85239" y="50412"/>
                    <a:pt x="48628" y="117531"/>
                  </a:cubicBezTo>
                  <a:cubicBezTo>
                    <a:pt x="-73406" y="340242"/>
                    <a:pt x="79137" y="498887"/>
                    <a:pt x="27272" y="852785"/>
                  </a:cubicBezTo>
                  <a:close/>
                </a:path>
              </a:pathLst>
            </a:custGeom>
            <a:solidFill>
              <a:srgbClr val="70868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87F23300-687C-4FE2-BD6E-057269813FD2}"/>
                </a:ext>
              </a:extLst>
            </p:cNvPr>
            <p:cNvSpPr/>
            <p:nvPr/>
          </p:nvSpPr>
          <p:spPr>
            <a:xfrm>
              <a:off x="23734954" y="9293816"/>
              <a:ext cx="317287" cy="246478"/>
            </a:xfrm>
            <a:custGeom>
              <a:avLst/>
              <a:gdLst>
                <a:gd name="connsiteX0" fmla="*/ 70169 w 317287"/>
                <a:gd name="connsiteY0" fmla="*/ 51970 h 246478"/>
                <a:gd name="connsiteX1" fmla="*/ 0 w 317287"/>
                <a:gd name="connsiteY1" fmla="*/ 195360 h 246478"/>
                <a:gd name="connsiteX2" fmla="*/ 317287 w 317287"/>
                <a:gd name="connsiteY2" fmla="*/ 189258 h 246478"/>
                <a:gd name="connsiteX3" fmla="*/ 274576 w 317287"/>
                <a:gd name="connsiteY3" fmla="*/ 106 h 246478"/>
                <a:gd name="connsiteX4" fmla="*/ 70169 w 317287"/>
                <a:gd name="connsiteY4" fmla="*/ 51970 h 246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287" h="246478">
                  <a:moveTo>
                    <a:pt x="70169" y="51970"/>
                  </a:moveTo>
                  <a:cubicBezTo>
                    <a:pt x="70169" y="51970"/>
                    <a:pt x="73219" y="164851"/>
                    <a:pt x="0" y="195360"/>
                  </a:cubicBezTo>
                  <a:cubicBezTo>
                    <a:pt x="0" y="195360"/>
                    <a:pt x="173897" y="314343"/>
                    <a:pt x="317287" y="189258"/>
                  </a:cubicBezTo>
                  <a:cubicBezTo>
                    <a:pt x="265422" y="143495"/>
                    <a:pt x="271524" y="61123"/>
                    <a:pt x="274576" y="106"/>
                  </a:cubicBezTo>
                  <a:cubicBezTo>
                    <a:pt x="274576" y="-2945"/>
                    <a:pt x="122034" y="61123"/>
                    <a:pt x="70169" y="51970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0531C0F2-B431-4ADC-8FCA-6759EF7E5409}"/>
                </a:ext>
              </a:extLst>
            </p:cNvPr>
            <p:cNvSpPr/>
            <p:nvPr/>
          </p:nvSpPr>
          <p:spPr>
            <a:xfrm>
              <a:off x="23408513" y="10315956"/>
              <a:ext cx="775881" cy="239121"/>
            </a:xfrm>
            <a:custGeom>
              <a:avLst/>
              <a:gdLst>
                <a:gd name="connsiteX0" fmla="*/ 0 w 775881"/>
                <a:gd name="connsiteY0" fmla="*/ 192203 h 239121"/>
                <a:gd name="connsiteX1" fmla="*/ 76271 w 775881"/>
                <a:gd name="connsiteY1" fmla="*/ 12203 h 239121"/>
                <a:gd name="connsiteX2" fmla="*/ 689491 w 775881"/>
                <a:gd name="connsiteY2" fmla="*/ 0 h 239121"/>
                <a:gd name="connsiteX3" fmla="*/ 774914 w 775881"/>
                <a:gd name="connsiteY3" fmla="*/ 192203 h 239121"/>
                <a:gd name="connsiteX4" fmla="*/ 353898 w 775881"/>
                <a:gd name="connsiteY4" fmla="*/ 228814 h 239121"/>
                <a:gd name="connsiteX5" fmla="*/ 0 w 775881"/>
                <a:gd name="connsiteY5" fmla="*/ 192203 h 239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5881" h="239121">
                  <a:moveTo>
                    <a:pt x="0" y="192203"/>
                  </a:moveTo>
                  <a:cubicBezTo>
                    <a:pt x="0" y="192203"/>
                    <a:pt x="61017" y="67119"/>
                    <a:pt x="76271" y="12203"/>
                  </a:cubicBezTo>
                  <a:cubicBezTo>
                    <a:pt x="76271" y="12203"/>
                    <a:pt x="454575" y="45763"/>
                    <a:pt x="689491" y="0"/>
                  </a:cubicBezTo>
                  <a:cubicBezTo>
                    <a:pt x="689491" y="0"/>
                    <a:pt x="750508" y="118983"/>
                    <a:pt x="774914" y="192203"/>
                  </a:cubicBezTo>
                  <a:cubicBezTo>
                    <a:pt x="799322" y="268474"/>
                    <a:pt x="353898" y="228814"/>
                    <a:pt x="353898" y="228814"/>
                  </a:cubicBezTo>
                  <a:lnTo>
                    <a:pt x="0" y="192203"/>
                  </a:ln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706BC0F4-7D32-4E5E-B07B-ACF69DACB7D2}"/>
                </a:ext>
              </a:extLst>
            </p:cNvPr>
            <p:cNvSpPr/>
            <p:nvPr/>
          </p:nvSpPr>
          <p:spPr>
            <a:xfrm>
              <a:off x="23490771" y="9516634"/>
              <a:ext cx="119097" cy="570508"/>
            </a:xfrm>
            <a:custGeom>
              <a:avLst/>
              <a:gdLst>
                <a:gd name="connsiteX0" fmla="*/ 33674 w 119097"/>
                <a:gd name="connsiteY0" fmla="*/ 570508 h 570508"/>
                <a:gd name="connsiteX1" fmla="*/ 27572 w 119097"/>
                <a:gd name="connsiteY1" fmla="*/ 564406 h 570508"/>
                <a:gd name="connsiteX2" fmla="*/ 116 w 119097"/>
                <a:gd name="connsiteY2" fmla="*/ 372203 h 570508"/>
                <a:gd name="connsiteX3" fmla="*/ 106895 w 119097"/>
                <a:gd name="connsiteY3" fmla="*/ 3051 h 570508"/>
                <a:gd name="connsiteX4" fmla="*/ 116047 w 119097"/>
                <a:gd name="connsiteY4" fmla="*/ 0 h 570508"/>
                <a:gd name="connsiteX5" fmla="*/ 119097 w 119097"/>
                <a:gd name="connsiteY5" fmla="*/ 9153 h 570508"/>
                <a:gd name="connsiteX6" fmla="*/ 12318 w 119097"/>
                <a:gd name="connsiteY6" fmla="*/ 372203 h 570508"/>
                <a:gd name="connsiteX7" fmla="*/ 39776 w 119097"/>
                <a:gd name="connsiteY7" fmla="*/ 561356 h 570508"/>
                <a:gd name="connsiteX8" fmla="*/ 33674 w 119097"/>
                <a:gd name="connsiteY8" fmla="*/ 570508 h 570508"/>
                <a:gd name="connsiteX9" fmla="*/ 33674 w 119097"/>
                <a:gd name="connsiteY9" fmla="*/ 570508 h 57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097" h="570508">
                  <a:moveTo>
                    <a:pt x="33674" y="570508"/>
                  </a:moveTo>
                  <a:cubicBezTo>
                    <a:pt x="30624" y="570508"/>
                    <a:pt x="27572" y="567457"/>
                    <a:pt x="27572" y="564406"/>
                  </a:cubicBezTo>
                  <a:cubicBezTo>
                    <a:pt x="15370" y="503389"/>
                    <a:pt x="116" y="436271"/>
                    <a:pt x="116" y="372203"/>
                  </a:cubicBezTo>
                  <a:cubicBezTo>
                    <a:pt x="-2936" y="234915"/>
                    <a:pt x="55030" y="100678"/>
                    <a:pt x="106895" y="3051"/>
                  </a:cubicBezTo>
                  <a:cubicBezTo>
                    <a:pt x="106895" y="0"/>
                    <a:pt x="112995" y="0"/>
                    <a:pt x="116047" y="0"/>
                  </a:cubicBezTo>
                  <a:cubicBezTo>
                    <a:pt x="119097" y="0"/>
                    <a:pt x="119097" y="6102"/>
                    <a:pt x="119097" y="9153"/>
                  </a:cubicBezTo>
                  <a:cubicBezTo>
                    <a:pt x="70285" y="106779"/>
                    <a:pt x="12318" y="237966"/>
                    <a:pt x="12318" y="372203"/>
                  </a:cubicBezTo>
                  <a:cubicBezTo>
                    <a:pt x="12318" y="436271"/>
                    <a:pt x="27572" y="500339"/>
                    <a:pt x="39776" y="561356"/>
                  </a:cubicBezTo>
                  <a:cubicBezTo>
                    <a:pt x="39776" y="567457"/>
                    <a:pt x="36724" y="570508"/>
                    <a:pt x="33674" y="570508"/>
                  </a:cubicBezTo>
                  <a:cubicBezTo>
                    <a:pt x="33674" y="570508"/>
                    <a:pt x="33674" y="570508"/>
                    <a:pt x="33674" y="570508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60FC81D7-E20C-43E8-9E95-AFE8EDC2AA31}"/>
                </a:ext>
              </a:extLst>
            </p:cNvPr>
            <p:cNvSpPr/>
            <p:nvPr/>
          </p:nvSpPr>
          <p:spPr>
            <a:xfrm>
              <a:off x="23628174" y="9946468"/>
              <a:ext cx="318551" cy="46097"/>
            </a:xfrm>
            <a:custGeom>
              <a:avLst/>
              <a:gdLst>
                <a:gd name="connsiteX0" fmla="*/ 311185 w 318551"/>
                <a:gd name="connsiteY0" fmla="*/ 46097 h 46097"/>
                <a:gd name="connsiteX1" fmla="*/ 311185 w 318551"/>
                <a:gd name="connsiteY1" fmla="*/ 46097 h 46097"/>
                <a:gd name="connsiteX2" fmla="*/ 6100 w 318551"/>
                <a:gd name="connsiteY2" fmla="*/ 15589 h 46097"/>
                <a:gd name="connsiteX3" fmla="*/ 0 w 318551"/>
                <a:gd name="connsiteY3" fmla="*/ 9488 h 46097"/>
                <a:gd name="connsiteX4" fmla="*/ 6100 w 318551"/>
                <a:gd name="connsiteY4" fmla="*/ 3386 h 46097"/>
                <a:gd name="connsiteX5" fmla="*/ 314237 w 318551"/>
                <a:gd name="connsiteY5" fmla="*/ 33894 h 46097"/>
                <a:gd name="connsiteX6" fmla="*/ 317287 w 318551"/>
                <a:gd name="connsiteY6" fmla="*/ 39996 h 46097"/>
                <a:gd name="connsiteX7" fmla="*/ 311185 w 318551"/>
                <a:gd name="connsiteY7" fmla="*/ 46097 h 46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8551" h="46097">
                  <a:moveTo>
                    <a:pt x="311185" y="46097"/>
                  </a:moveTo>
                  <a:cubicBezTo>
                    <a:pt x="308135" y="46097"/>
                    <a:pt x="308135" y="46097"/>
                    <a:pt x="311185" y="46097"/>
                  </a:cubicBezTo>
                  <a:cubicBezTo>
                    <a:pt x="213559" y="15589"/>
                    <a:pt x="106780" y="6437"/>
                    <a:pt x="6100" y="15589"/>
                  </a:cubicBezTo>
                  <a:cubicBezTo>
                    <a:pt x="3050" y="15589"/>
                    <a:pt x="0" y="12538"/>
                    <a:pt x="0" y="9488"/>
                  </a:cubicBezTo>
                  <a:cubicBezTo>
                    <a:pt x="0" y="6437"/>
                    <a:pt x="3050" y="3386"/>
                    <a:pt x="6100" y="3386"/>
                  </a:cubicBezTo>
                  <a:cubicBezTo>
                    <a:pt x="109830" y="-5766"/>
                    <a:pt x="216609" y="3386"/>
                    <a:pt x="314237" y="33894"/>
                  </a:cubicBezTo>
                  <a:cubicBezTo>
                    <a:pt x="317287" y="33894"/>
                    <a:pt x="320339" y="36945"/>
                    <a:pt x="317287" y="39996"/>
                  </a:cubicBezTo>
                  <a:cubicBezTo>
                    <a:pt x="314237" y="46097"/>
                    <a:pt x="311185" y="46097"/>
                    <a:pt x="311185" y="46097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943D10C4-E4A5-48D0-AC53-3B8BD97532D5}"/>
                </a:ext>
              </a:extLst>
            </p:cNvPr>
            <p:cNvSpPr/>
            <p:nvPr/>
          </p:nvSpPr>
          <p:spPr>
            <a:xfrm>
              <a:off x="23365800" y="10105448"/>
              <a:ext cx="860339" cy="494486"/>
            </a:xfrm>
            <a:custGeom>
              <a:avLst/>
              <a:gdLst>
                <a:gd name="connsiteX0" fmla="*/ 143390 w 860339"/>
                <a:gd name="connsiteY0" fmla="*/ 152542 h 494486"/>
                <a:gd name="connsiteX1" fmla="*/ 0 w 860339"/>
                <a:gd name="connsiteY1" fmla="*/ 396610 h 494486"/>
                <a:gd name="connsiteX2" fmla="*/ 860339 w 860339"/>
                <a:gd name="connsiteY2" fmla="*/ 491187 h 494486"/>
                <a:gd name="connsiteX3" fmla="*/ 753560 w 860339"/>
                <a:gd name="connsiteY3" fmla="*/ 137288 h 494486"/>
                <a:gd name="connsiteX4" fmla="*/ 720001 w 860339"/>
                <a:gd name="connsiteY4" fmla="*/ 0 h 494486"/>
                <a:gd name="connsiteX5" fmla="*/ 143390 w 860339"/>
                <a:gd name="connsiteY5" fmla="*/ 152542 h 494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60339" h="494486">
                  <a:moveTo>
                    <a:pt x="143390" y="152542"/>
                  </a:moveTo>
                  <a:cubicBezTo>
                    <a:pt x="125086" y="186102"/>
                    <a:pt x="0" y="396610"/>
                    <a:pt x="0" y="396610"/>
                  </a:cubicBezTo>
                  <a:cubicBezTo>
                    <a:pt x="0" y="396610"/>
                    <a:pt x="430171" y="515593"/>
                    <a:pt x="860339" y="491187"/>
                  </a:cubicBezTo>
                  <a:cubicBezTo>
                    <a:pt x="860339" y="491187"/>
                    <a:pt x="744408" y="219660"/>
                    <a:pt x="753560" y="137288"/>
                  </a:cubicBezTo>
                  <a:cubicBezTo>
                    <a:pt x="762712" y="57966"/>
                    <a:pt x="720001" y="0"/>
                    <a:pt x="720001" y="0"/>
                  </a:cubicBezTo>
                  <a:cubicBezTo>
                    <a:pt x="720001" y="0"/>
                    <a:pt x="198305" y="57966"/>
                    <a:pt x="143390" y="152542"/>
                  </a:cubicBezTo>
                  <a:close/>
                </a:path>
              </a:pathLst>
            </a:custGeom>
            <a:solidFill>
              <a:srgbClr val="70868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7CFB680A-FBA6-4199-BEE5-F080B9A3F1B1}"/>
                </a:ext>
              </a:extLst>
            </p:cNvPr>
            <p:cNvSpPr/>
            <p:nvPr/>
          </p:nvSpPr>
          <p:spPr>
            <a:xfrm>
              <a:off x="23682988" y="8856801"/>
              <a:ext cx="416778" cy="568384"/>
            </a:xfrm>
            <a:custGeom>
              <a:avLst/>
              <a:gdLst>
                <a:gd name="connsiteX0" fmla="*/ 3152 w 416778"/>
                <a:gd name="connsiteY0" fmla="*/ 190002 h 568384"/>
                <a:gd name="connsiteX1" fmla="*/ 24508 w 416778"/>
                <a:gd name="connsiteY1" fmla="*/ 446273 h 568384"/>
                <a:gd name="connsiteX2" fmla="*/ 177050 w 416778"/>
                <a:gd name="connsiteY2" fmla="*/ 568307 h 568384"/>
                <a:gd name="connsiteX3" fmla="*/ 387560 w 416778"/>
                <a:gd name="connsiteY3" fmla="*/ 415765 h 568384"/>
                <a:gd name="connsiteX4" fmla="*/ 415016 w 416778"/>
                <a:gd name="connsiteY4" fmla="*/ 190002 h 568384"/>
                <a:gd name="connsiteX5" fmla="*/ 192305 w 416778"/>
                <a:gd name="connsiteY5" fmla="*/ 849 h 568384"/>
                <a:gd name="connsiteX6" fmla="*/ 3152 w 416778"/>
                <a:gd name="connsiteY6" fmla="*/ 190002 h 568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6778" h="568384">
                  <a:moveTo>
                    <a:pt x="3152" y="190002"/>
                  </a:moveTo>
                  <a:cubicBezTo>
                    <a:pt x="3152" y="190002"/>
                    <a:pt x="-12103" y="379155"/>
                    <a:pt x="24508" y="446273"/>
                  </a:cubicBezTo>
                  <a:cubicBezTo>
                    <a:pt x="64169" y="513392"/>
                    <a:pt x="128238" y="568307"/>
                    <a:pt x="177050" y="568307"/>
                  </a:cubicBezTo>
                  <a:cubicBezTo>
                    <a:pt x="244169" y="571358"/>
                    <a:pt x="353999" y="482883"/>
                    <a:pt x="387560" y="415765"/>
                  </a:cubicBezTo>
                  <a:cubicBezTo>
                    <a:pt x="421118" y="348646"/>
                    <a:pt x="418068" y="238816"/>
                    <a:pt x="415016" y="190002"/>
                  </a:cubicBezTo>
                  <a:cubicBezTo>
                    <a:pt x="408914" y="95426"/>
                    <a:pt x="378406" y="19155"/>
                    <a:pt x="192305" y="849"/>
                  </a:cubicBezTo>
                  <a:cubicBezTo>
                    <a:pt x="106881" y="-11354"/>
                    <a:pt x="18406" y="110680"/>
                    <a:pt x="3152" y="190002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E40AF7E9-86C5-4B68-8874-DF6ABC77A0A0}"/>
                </a:ext>
              </a:extLst>
            </p:cNvPr>
            <p:cNvSpPr/>
            <p:nvPr/>
          </p:nvSpPr>
          <p:spPr>
            <a:xfrm>
              <a:off x="23820377" y="9124862"/>
              <a:ext cx="57964" cy="132450"/>
            </a:xfrm>
            <a:custGeom>
              <a:avLst/>
              <a:gdLst>
                <a:gd name="connsiteX0" fmla="*/ 27457 w 57964"/>
                <a:gd name="connsiteY0" fmla="*/ 132450 h 132450"/>
                <a:gd name="connsiteX1" fmla="*/ 6102 w 57964"/>
                <a:gd name="connsiteY1" fmla="*/ 126349 h 132450"/>
                <a:gd name="connsiteX2" fmla="*/ 0 w 57964"/>
                <a:gd name="connsiteY2" fmla="*/ 114145 h 132450"/>
                <a:gd name="connsiteX3" fmla="*/ 24406 w 57964"/>
                <a:gd name="connsiteY3" fmla="*/ 4315 h 132450"/>
                <a:gd name="connsiteX4" fmla="*/ 30508 w 57964"/>
                <a:gd name="connsiteY4" fmla="*/ 1264 h 132450"/>
                <a:gd name="connsiteX5" fmla="*/ 33559 w 57964"/>
                <a:gd name="connsiteY5" fmla="*/ 7365 h 132450"/>
                <a:gd name="connsiteX6" fmla="*/ 9152 w 57964"/>
                <a:gd name="connsiteY6" fmla="*/ 114145 h 132450"/>
                <a:gd name="connsiteX7" fmla="*/ 12202 w 57964"/>
                <a:gd name="connsiteY7" fmla="*/ 117196 h 132450"/>
                <a:gd name="connsiteX8" fmla="*/ 51865 w 57964"/>
                <a:gd name="connsiteY8" fmla="*/ 117196 h 132450"/>
                <a:gd name="connsiteX9" fmla="*/ 57965 w 57964"/>
                <a:gd name="connsiteY9" fmla="*/ 120247 h 132450"/>
                <a:gd name="connsiteX10" fmla="*/ 54915 w 57964"/>
                <a:gd name="connsiteY10" fmla="*/ 126349 h 132450"/>
                <a:gd name="connsiteX11" fmla="*/ 27457 w 57964"/>
                <a:gd name="connsiteY11" fmla="*/ 132450 h 13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64" h="132450">
                  <a:moveTo>
                    <a:pt x="27457" y="132450"/>
                  </a:moveTo>
                  <a:cubicBezTo>
                    <a:pt x="18304" y="132450"/>
                    <a:pt x="12202" y="132450"/>
                    <a:pt x="6102" y="126349"/>
                  </a:cubicBezTo>
                  <a:cubicBezTo>
                    <a:pt x="3050" y="123298"/>
                    <a:pt x="0" y="120247"/>
                    <a:pt x="0" y="114145"/>
                  </a:cubicBezTo>
                  <a:cubicBezTo>
                    <a:pt x="0" y="92789"/>
                    <a:pt x="21356" y="7365"/>
                    <a:pt x="24406" y="4315"/>
                  </a:cubicBezTo>
                  <a:cubicBezTo>
                    <a:pt x="24406" y="1264"/>
                    <a:pt x="27457" y="-1787"/>
                    <a:pt x="30508" y="1264"/>
                  </a:cubicBezTo>
                  <a:cubicBezTo>
                    <a:pt x="33559" y="1264"/>
                    <a:pt x="36611" y="4315"/>
                    <a:pt x="33559" y="7365"/>
                  </a:cubicBezTo>
                  <a:cubicBezTo>
                    <a:pt x="27457" y="31772"/>
                    <a:pt x="9152" y="98891"/>
                    <a:pt x="9152" y="114145"/>
                  </a:cubicBezTo>
                  <a:cubicBezTo>
                    <a:pt x="9152" y="114145"/>
                    <a:pt x="9152" y="117196"/>
                    <a:pt x="12202" y="117196"/>
                  </a:cubicBezTo>
                  <a:cubicBezTo>
                    <a:pt x="18304" y="123298"/>
                    <a:pt x="39661" y="120247"/>
                    <a:pt x="51865" y="117196"/>
                  </a:cubicBezTo>
                  <a:cubicBezTo>
                    <a:pt x="54915" y="117196"/>
                    <a:pt x="57965" y="117196"/>
                    <a:pt x="57965" y="120247"/>
                  </a:cubicBezTo>
                  <a:cubicBezTo>
                    <a:pt x="57965" y="123298"/>
                    <a:pt x="57965" y="126349"/>
                    <a:pt x="54915" y="126349"/>
                  </a:cubicBezTo>
                  <a:cubicBezTo>
                    <a:pt x="51865" y="129399"/>
                    <a:pt x="39661" y="132450"/>
                    <a:pt x="27457" y="132450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042EA6E4-834D-45F6-A6C4-7629E8F30BF3}"/>
                </a:ext>
              </a:extLst>
            </p:cNvPr>
            <p:cNvSpPr/>
            <p:nvPr/>
          </p:nvSpPr>
          <p:spPr>
            <a:xfrm>
              <a:off x="23805123" y="9303075"/>
              <a:ext cx="106779" cy="55037"/>
            </a:xfrm>
            <a:custGeom>
              <a:avLst/>
              <a:gdLst>
                <a:gd name="connsiteX0" fmla="*/ 106780 w 106779"/>
                <a:gd name="connsiteY0" fmla="*/ 0 h 55037"/>
                <a:gd name="connsiteX1" fmla="*/ 0 w 106779"/>
                <a:gd name="connsiteY1" fmla="*/ 3051 h 55037"/>
                <a:gd name="connsiteX2" fmla="*/ 51865 w 106779"/>
                <a:gd name="connsiteY2" fmla="*/ 54915 h 55037"/>
                <a:gd name="connsiteX3" fmla="*/ 106780 w 106779"/>
                <a:gd name="connsiteY3" fmla="*/ 0 h 55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779" h="55037">
                  <a:moveTo>
                    <a:pt x="106780" y="0"/>
                  </a:moveTo>
                  <a:cubicBezTo>
                    <a:pt x="51865" y="27457"/>
                    <a:pt x="0" y="3051"/>
                    <a:pt x="0" y="3051"/>
                  </a:cubicBezTo>
                  <a:cubicBezTo>
                    <a:pt x="0" y="3051"/>
                    <a:pt x="15254" y="57966"/>
                    <a:pt x="51865" y="54915"/>
                  </a:cubicBezTo>
                  <a:cubicBezTo>
                    <a:pt x="97627" y="54915"/>
                    <a:pt x="106780" y="0"/>
                    <a:pt x="106780" y="0"/>
                  </a:cubicBezTo>
                  <a:close/>
                </a:path>
              </a:pathLst>
            </a:custGeom>
            <a:solidFill>
              <a:srgbClr val="FFFFFF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617F9C6E-0165-4881-A38E-C9ED748BDCAD}"/>
                </a:ext>
              </a:extLst>
            </p:cNvPr>
            <p:cNvSpPr/>
            <p:nvPr/>
          </p:nvSpPr>
          <p:spPr>
            <a:xfrm>
              <a:off x="23746379" y="9097890"/>
              <a:ext cx="40437" cy="41215"/>
            </a:xfrm>
            <a:custGeom>
              <a:avLst/>
              <a:gdLst>
                <a:gd name="connsiteX0" fmla="*/ 40438 w 40437"/>
                <a:gd name="connsiteY0" fmla="*/ 25184 h 41215"/>
                <a:gd name="connsiteX1" fmla="*/ 16031 w 40437"/>
                <a:gd name="connsiteY1" fmla="*/ 40438 h 41215"/>
                <a:gd name="connsiteX2" fmla="*/ 777 w 40437"/>
                <a:gd name="connsiteY2" fmla="*/ 16032 h 41215"/>
                <a:gd name="connsiteX3" fmla="*/ 25184 w 40437"/>
                <a:gd name="connsiteY3" fmla="*/ 778 h 41215"/>
                <a:gd name="connsiteX4" fmla="*/ 40438 w 40437"/>
                <a:gd name="connsiteY4" fmla="*/ 25184 h 4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37" h="41215">
                  <a:moveTo>
                    <a:pt x="40438" y="25184"/>
                  </a:moveTo>
                  <a:cubicBezTo>
                    <a:pt x="37388" y="37388"/>
                    <a:pt x="28235" y="43489"/>
                    <a:pt x="16031" y="40438"/>
                  </a:cubicBezTo>
                  <a:cubicBezTo>
                    <a:pt x="3829" y="37388"/>
                    <a:pt x="-2273" y="28235"/>
                    <a:pt x="777" y="16032"/>
                  </a:cubicBezTo>
                  <a:cubicBezTo>
                    <a:pt x="3829" y="3828"/>
                    <a:pt x="12981" y="-2273"/>
                    <a:pt x="25184" y="778"/>
                  </a:cubicBezTo>
                  <a:cubicBezTo>
                    <a:pt x="34338" y="6879"/>
                    <a:pt x="40438" y="16032"/>
                    <a:pt x="40438" y="25184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0D98EACD-F885-4E67-BBAE-EF8C600B6ADE}"/>
                </a:ext>
              </a:extLst>
            </p:cNvPr>
            <p:cNvSpPr/>
            <p:nvPr/>
          </p:nvSpPr>
          <p:spPr>
            <a:xfrm>
              <a:off x="23935532" y="9097890"/>
              <a:ext cx="41036" cy="41215"/>
            </a:xfrm>
            <a:custGeom>
              <a:avLst/>
              <a:gdLst>
                <a:gd name="connsiteX0" fmla="*/ 40438 w 41036"/>
                <a:gd name="connsiteY0" fmla="*/ 25184 h 41215"/>
                <a:gd name="connsiteX1" fmla="*/ 16031 w 41036"/>
                <a:gd name="connsiteY1" fmla="*/ 40438 h 41215"/>
                <a:gd name="connsiteX2" fmla="*/ 777 w 41036"/>
                <a:gd name="connsiteY2" fmla="*/ 16032 h 41215"/>
                <a:gd name="connsiteX3" fmla="*/ 25184 w 41036"/>
                <a:gd name="connsiteY3" fmla="*/ 778 h 41215"/>
                <a:gd name="connsiteX4" fmla="*/ 40438 w 41036"/>
                <a:gd name="connsiteY4" fmla="*/ 25184 h 4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6" h="41215">
                  <a:moveTo>
                    <a:pt x="40438" y="25184"/>
                  </a:moveTo>
                  <a:cubicBezTo>
                    <a:pt x="37388" y="37388"/>
                    <a:pt x="28236" y="43489"/>
                    <a:pt x="16031" y="40438"/>
                  </a:cubicBezTo>
                  <a:cubicBezTo>
                    <a:pt x="3827" y="37388"/>
                    <a:pt x="-2273" y="28235"/>
                    <a:pt x="777" y="16032"/>
                  </a:cubicBezTo>
                  <a:cubicBezTo>
                    <a:pt x="3827" y="3828"/>
                    <a:pt x="12981" y="-2273"/>
                    <a:pt x="25184" y="778"/>
                  </a:cubicBezTo>
                  <a:cubicBezTo>
                    <a:pt x="34336" y="3828"/>
                    <a:pt x="43490" y="12981"/>
                    <a:pt x="40438" y="25184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E5CE477D-FE6B-41A2-B2F4-064CE4024464}"/>
                </a:ext>
              </a:extLst>
            </p:cNvPr>
            <p:cNvSpPr/>
            <p:nvPr/>
          </p:nvSpPr>
          <p:spPr>
            <a:xfrm>
              <a:off x="23717411" y="9049755"/>
              <a:ext cx="92026" cy="36708"/>
            </a:xfrm>
            <a:custGeom>
              <a:avLst/>
              <a:gdLst>
                <a:gd name="connsiteX0" fmla="*/ 8389 w 92026"/>
                <a:gd name="connsiteY0" fmla="*/ 36709 h 36708"/>
                <a:gd name="connsiteX1" fmla="*/ 2289 w 92026"/>
                <a:gd name="connsiteY1" fmla="*/ 33658 h 36708"/>
                <a:gd name="connsiteX2" fmla="*/ 2289 w 92026"/>
                <a:gd name="connsiteY2" fmla="*/ 21455 h 36708"/>
                <a:gd name="connsiteX3" fmla="*/ 87712 w 92026"/>
                <a:gd name="connsiteY3" fmla="*/ 6200 h 36708"/>
                <a:gd name="connsiteX4" fmla="*/ 90762 w 92026"/>
                <a:gd name="connsiteY4" fmla="*/ 15353 h 36708"/>
                <a:gd name="connsiteX5" fmla="*/ 81610 w 92026"/>
                <a:gd name="connsiteY5" fmla="*/ 18404 h 36708"/>
                <a:gd name="connsiteX6" fmla="*/ 14491 w 92026"/>
                <a:gd name="connsiteY6" fmla="*/ 27556 h 36708"/>
                <a:gd name="connsiteX7" fmla="*/ 8389 w 92026"/>
                <a:gd name="connsiteY7" fmla="*/ 36709 h 3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6708">
                  <a:moveTo>
                    <a:pt x="8389" y="36709"/>
                  </a:moveTo>
                  <a:cubicBezTo>
                    <a:pt x="5339" y="36709"/>
                    <a:pt x="5339" y="36709"/>
                    <a:pt x="2289" y="33658"/>
                  </a:cubicBezTo>
                  <a:cubicBezTo>
                    <a:pt x="-763" y="30607"/>
                    <a:pt x="-763" y="24506"/>
                    <a:pt x="2289" y="21455"/>
                  </a:cubicBezTo>
                  <a:cubicBezTo>
                    <a:pt x="26695" y="-9054"/>
                    <a:pt x="69406" y="99"/>
                    <a:pt x="87712" y="6200"/>
                  </a:cubicBezTo>
                  <a:cubicBezTo>
                    <a:pt x="90762" y="9251"/>
                    <a:pt x="93814" y="12302"/>
                    <a:pt x="90762" y="15353"/>
                  </a:cubicBezTo>
                  <a:cubicBezTo>
                    <a:pt x="87712" y="18404"/>
                    <a:pt x="84660" y="21455"/>
                    <a:pt x="81610" y="18404"/>
                  </a:cubicBezTo>
                  <a:cubicBezTo>
                    <a:pt x="78560" y="18404"/>
                    <a:pt x="38898" y="99"/>
                    <a:pt x="14491" y="27556"/>
                  </a:cubicBezTo>
                  <a:cubicBezTo>
                    <a:pt x="14491" y="36709"/>
                    <a:pt x="11441" y="36709"/>
                    <a:pt x="8389" y="36709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F886DB2B-1E00-4D42-B378-88623DEE2404}"/>
                </a:ext>
              </a:extLst>
            </p:cNvPr>
            <p:cNvSpPr/>
            <p:nvPr/>
          </p:nvSpPr>
          <p:spPr>
            <a:xfrm>
              <a:off x="23903797" y="9041798"/>
              <a:ext cx="92766" cy="35513"/>
            </a:xfrm>
            <a:custGeom>
              <a:avLst/>
              <a:gdLst>
                <a:gd name="connsiteX0" fmla="*/ 87427 w 92766"/>
                <a:gd name="connsiteY0" fmla="*/ 35514 h 35513"/>
                <a:gd name="connsiteX1" fmla="*/ 81325 w 92766"/>
                <a:gd name="connsiteY1" fmla="*/ 32463 h 35513"/>
                <a:gd name="connsiteX2" fmla="*/ 14208 w 92766"/>
                <a:gd name="connsiteY2" fmla="*/ 29412 h 35513"/>
                <a:gd name="connsiteX3" fmla="*/ 2003 w 92766"/>
                <a:gd name="connsiteY3" fmla="*/ 26361 h 35513"/>
                <a:gd name="connsiteX4" fmla="*/ 5054 w 92766"/>
                <a:gd name="connsiteY4" fmla="*/ 14158 h 35513"/>
                <a:gd name="connsiteX5" fmla="*/ 90479 w 92766"/>
                <a:gd name="connsiteY5" fmla="*/ 20259 h 35513"/>
                <a:gd name="connsiteX6" fmla="*/ 90479 w 92766"/>
                <a:gd name="connsiteY6" fmla="*/ 32463 h 35513"/>
                <a:gd name="connsiteX7" fmla="*/ 87427 w 92766"/>
                <a:gd name="connsiteY7" fmla="*/ 35514 h 35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766" h="35513">
                  <a:moveTo>
                    <a:pt x="87427" y="35514"/>
                  </a:moveTo>
                  <a:cubicBezTo>
                    <a:pt x="84377" y="35514"/>
                    <a:pt x="84377" y="35514"/>
                    <a:pt x="81325" y="32463"/>
                  </a:cubicBezTo>
                  <a:cubicBezTo>
                    <a:pt x="81325" y="32463"/>
                    <a:pt x="50816" y="5005"/>
                    <a:pt x="14208" y="29412"/>
                  </a:cubicBezTo>
                  <a:cubicBezTo>
                    <a:pt x="11156" y="32463"/>
                    <a:pt x="5054" y="32463"/>
                    <a:pt x="2003" y="26361"/>
                  </a:cubicBezTo>
                  <a:cubicBezTo>
                    <a:pt x="-1047" y="23310"/>
                    <a:pt x="-1047" y="17209"/>
                    <a:pt x="5054" y="14158"/>
                  </a:cubicBezTo>
                  <a:cubicBezTo>
                    <a:pt x="41664" y="-13300"/>
                    <a:pt x="78275" y="5005"/>
                    <a:pt x="90479" y="20259"/>
                  </a:cubicBezTo>
                  <a:cubicBezTo>
                    <a:pt x="93529" y="23310"/>
                    <a:pt x="93529" y="29412"/>
                    <a:pt x="90479" y="32463"/>
                  </a:cubicBezTo>
                  <a:cubicBezTo>
                    <a:pt x="93529" y="35514"/>
                    <a:pt x="90479" y="35514"/>
                    <a:pt x="87427" y="35514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DEE57D3A-6E51-4375-AE6A-31959723ECA8}"/>
                </a:ext>
              </a:extLst>
            </p:cNvPr>
            <p:cNvSpPr/>
            <p:nvPr/>
          </p:nvSpPr>
          <p:spPr>
            <a:xfrm>
              <a:off x="23660826" y="8820200"/>
              <a:ext cx="267634" cy="266288"/>
            </a:xfrm>
            <a:custGeom>
              <a:avLst/>
              <a:gdLst>
                <a:gd name="connsiteX0" fmla="*/ 263279 w 267634"/>
                <a:gd name="connsiteY0" fmla="*/ 841 h 266288"/>
                <a:gd name="connsiteX1" fmla="*/ 232771 w 267634"/>
                <a:gd name="connsiteY1" fmla="*/ 128976 h 266288"/>
                <a:gd name="connsiteX2" fmla="*/ 907 w 267634"/>
                <a:gd name="connsiteY2" fmla="*/ 266264 h 266288"/>
                <a:gd name="connsiteX3" fmla="*/ 263279 w 267634"/>
                <a:gd name="connsiteY3" fmla="*/ 841 h 26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634" h="266288">
                  <a:moveTo>
                    <a:pt x="263279" y="841"/>
                  </a:moveTo>
                  <a:cubicBezTo>
                    <a:pt x="263279" y="841"/>
                    <a:pt x="284635" y="89315"/>
                    <a:pt x="232771" y="128976"/>
                  </a:cubicBezTo>
                  <a:cubicBezTo>
                    <a:pt x="232771" y="128976"/>
                    <a:pt x="25313" y="180840"/>
                    <a:pt x="907" y="266264"/>
                  </a:cubicBezTo>
                  <a:cubicBezTo>
                    <a:pt x="907" y="269315"/>
                    <a:pt x="-29602" y="-17465"/>
                    <a:pt x="263279" y="841"/>
                  </a:cubicBezTo>
                  <a:close/>
                </a:path>
              </a:pathLst>
            </a:custGeom>
            <a:solidFill>
              <a:srgbClr val="664241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9245E3B7-82F7-4E9E-8D4D-A8C2B36199E0}"/>
                </a:ext>
              </a:extLst>
            </p:cNvPr>
            <p:cNvSpPr/>
            <p:nvPr/>
          </p:nvSpPr>
          <p:spPr>
            <a:xfrm>
              <a:off x="23893597" y="8824037"/>
              <a:ext cx="232274" cy="307904"/>
            </a:xfrm>
            <a:custGeom>
              <a:avLst/>
              <a:gdLst>
                <a:gd name="connsiteX0" fmla="*/ 0 w 232274"/>
                <a:gd name="connsiteY0" fmla="*/ 128190 h 307904"/>
                <a:gd name="connsiteX1" fmla="*/ 143390 w 232274"/>
                <a:gd name="connsiteY1" fmla="*/ 177004 h 307904"/>
                <a:gd name="connsiteX2" fmla="*/ 207459 w 232274"/>
                <a:gd name="connsiteY2" fmla="*/ 295987 h 307904"/>
                <a:gd name="connsiteX3" fmla="*/ 231866 w 232274"/>
                <a:gd name="connsiteY3" fmla="*/ 289885 h 307904"/>
                <a:gd name="connsiteX4" fmla="*/ 30508 w 232274"/>
                <a:gd name="connsiteY4" fmla="*/ 55 h 307904"/>
                <a:gd name="connsiteX5" fmla="*/ 0 w 232274"/>
                <a:gd name="connsiteY5" fmla="*/ 128190 h 307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2274" h="307904">
                  <a:moveTo>
                    <a:pt x="0" y="128190"/>
                  </a:moveTo>
                  <a:cubicBezTo>
                    <a:pt x="0" y="128190"/>
                    <a:pt x="91525" y="170902"/>
                    <a:pt x="143390" y="177004"/>
                  </a:cubicBezTo>
                  <a:cubicBezTo>
                    <a:pt x="195255" y="180055"/>
                    <a:pt x="207459" y="295987"/>
                    <a:pt x="207459" y="295987"/>
                  </a:cubicBezTo>
                  <a:cubicBezTo>
                    <a:pt x="207459" y="295987"/>
                    <a:pt x="228814" y="326496"/>
                    <a:pt x="231866" y="289885"/>
                  </a:cubicBezTo>
                  <a:cubicBezTo>
                    <a:pt x="234916" y="210563"/>
                    <a:pt x="225763" y="12258"/>
                    <a:pt x="30508" y="55"/>
                  </a:cubicBezTo>
                  <a:cubicBezTo>
                    <a:pt x="30508" y="-2996"/>
                    <a:pt x="24408" y="122089"/>
                    <a:pt x="0" y="128190"/>
                  </a:cubicBezTo>
                  <a:close/>
                </a:path>
              </a:pathLst>
            </a:custGeom>
            <a:solidFill>
              <a:srgbClr val="664241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948D881F-DEDD-45DC-AB3E-DC81FE9AC8AE}"/>
                </a:ext>
              </a:extLst>
            </p:cNvPr>
            <p:cNvSpPr/>
            <p:nvPr/>
          </p:nvSpPr>
          <p:spPr>
            <a:xfrm>
              <a:off x="23884444" y="8821041"/>
              <a:ext cx="156857" cy="183050"/>
            </a:xfrm>
            <a:custGeom>
              <a:avLst/>
              <a:gdLst>
                <a:gd name="connsiteX0" fmla="*/ 152542 w 156857"/>
                <a:gd name="connsiteY0" fmla="*/ 183051 h 183050"/>
                <a:gd name="connsiteX1" fmla="*/ 152542 w 156857"/>
                <a:gd name="connsiteY1" fmla="*/ 183051 h 183050"/>
                <a:gd name="connsiteX2" fmla="*/ 51865 w 156857"/>
                <a:gd name="connsiteY2" fmla="*/ 155593 h 183050"/>
                <a:gd name="connsiteX3" fmla="*/ 6102 w 156857"/>
                <a:gd name="connsiteY3" fmla="*/ 134237 h 183050"/>
                <a:gd name="connsiteX4" fmla="*/ 0 w 156857"/>
                <a:gd name="connsiteY4" fmla="*/ 131187 h 183050"/>
                <a:gd name="connsiteX5" fmla="*/ 3052 w 156857"/>
                <a:gd name="connsiteY5" fmla="*/ 125085 h 183050"/>
                <a:gd name="connsiteX6" fmla="*/ 18306 w 156857"/>
                <a:gd name="connsiteY6" fmla="*/ 100678 h 183050"/>
                <a:gd name="connsiteX7" fmla="*/ 27458 w 156857"/>
                <a:gd name="connsiteY7" fmla="*/ 61017 h 183050"/>
                <a:gd name="connsiteX8" fmla="*/ 30508 w 156857"/>
                <a:gd name="connsiteY8" fmla="*/ 33560 h 183050"/>
                <a:gd name="connsiteX9" fmla="*/ 33560 w 156857"/>
                <a:gd name="connsiteY9" fmla="*/ 6102 h 183050"/>
                <a:gd name="connsiteX10" fmla="*/ 39661 w 156857"/>
                <a:gd name="connsiteY10" fmla="*/ 0 h 183050"/>
                <a:gd name="connsiteX11" fmla="*/ 45763 w 156857"/>
                <a:gd name="connsiteY11" fmla="*/ 6102 h 183050"/>
                <a:gd name="connsiteX12" fmla="*/ 42713 w 156857"/>
                <a:gd name="connsiteY12" fmla="*/ 33560 h 183050"/>
                <a:gd name="connsiteX13" fmla="*/ 39661 w 156857"/>
                <a:gd name="connsiteY13" fmla="*/ 61017 h 183050"/>
                <a:gd name="connsiteX14" fmla="*/ 30508 w 156857"/>
                <a:gd name="connsiteY14" fmla="*/ 106780 h 183050"/>
                <a:gd name="connsiteX15" fmla="*/ 15254 w 156857"/>
                <a:gd name="connsiteY15" fmla="*/ 128136 h 183050"/>
                <a:gd name="connsiteX16" fmla="*/ 54915 w 156857"/>
                <a:gd name="connsiteY16" fmla="*/ 146441 h 183050"/>
                <a:gd name="connsiteX17" fmla="*/ 149492 w 156857"/>
                <a:gd name="connsiteY17" fmla="*/ 173898 h 183050"/>
                <a:gd name="connsiteX18" fmla="*/ 155594 w 156857"/>
                <a:gd name="connsiteY18" fmla="*/ 180000 h 183050"/>
                <a:gd name="connsiteX19" fmla="*/ 152542 w 156857"/>
                <a:gd name="connsiteY19" fmla="*/ 183051 h 18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6857" h="183050">
                  <a:moveTo>
                    <a:pt x="152542" y="183051"/>
                  </a:moveTo>
                  <a:cubicBezTo>
                    <a:pt x="152542" y="183051"/>
                    <a:pt x="152542" y="183051"/>
                    <a:pt x="152542" y="183051"/>
                  </a:cubicBezTo>
                  <a:cubicBezTo>
                    <a:pt x="115932" y="180000"/>
                    <a:pt x="76271" y="164746"/>
                    <a:pt x="51865" y="155593"/>
                  </a:cubicBezTo>
                  <a:cubicBezTo>
                    <a:pt x="24406" y="143390"/>
                    <a:pt x="6102" y="134237"/>
                    <a:pt x="6102" y="134237"/>
                  </a:cubicBezTo>
                  <a:lnTo>
                    <a:pt x="0" y="131187"/>
                  </a:lnTo>
                  <a:lnTo>
                    <a:pt x="3052" y="125085"/>
                  </a:lnTo>
                  <a:cubicBezTo>
                    <a:pt x="9152" y="118983"/>
                    <a:pt x="15254" y="109831"/>
                    <a:pt x="18306" y="100678"/>
                  </a:cubicBezTo>
                  <a:cubicBezTo>
                    <a:pt x="24406" y="88474"/>
                    <a:pt x="24406" y="73220"/>
                    <a:pt x="27458" y="61017"/>
                  </a:cubicBezTo>
                  <a:cubicBezTo>
                    <a:pt x="27458" y="54915"/>
                    <a:pt x="27458" y="42712"/>
                    <a:pt x="30508" y="33560"/>
                  </a:cubicBezTo>
                  <a:cubicBezTo>
                    <a:pt x="30508" y="21356"/>
                    <a:pt x="33560" y="12203"/>
                    <a:pt x="33560" y="6102"/>
                  </a:cubicBezTo>
                  <a:cubicBezTo>
                    <a:pt x="33560" y="3051"/>
                    <a:pt x="36611" y="0"/>
                    <a:pt x="39661" y="0"/>
                  </a:cubicBezTo>
                  <a:cubicBezTo>
                    <a:pt x="42713" y="0"/>
                    <a:pt x="45763" y="3051"/>
                    <a:pt x="45763" y="6102"/>
                  </a:cubicBezTo>
                  <a:cubicBezTo>
                    <a:pt x="45763" y="12203"/>
                    <a:pt x="45763" y="24407"/>
                    <a:pt x="42713" y="33560"/>
                  </a:cubicBezTo>
                  <a:cubicBezTo>
                    <a:pt x="42713" y="45763"/>
                    <a:pt x="39661" y="54915"/>
                    <a:pt x="39661" y="61017"/>
                  </a:cubicBezTo>
                  <a:cubicBezTo>
                    <a:pt x="39661" y="76271"/>
                    <a:pt x="36611" y="91525"/>
                    <a:pt x="30508" y="106780"/>
                  </a:cubicBezTo>
                  <a:cubicBezTo>
                    <a:pt x="27458" y="115932"/>
                    <a:pt x="21356" y="122034"/>
                    <a:pt x="15254" y="128136"/>
                  </a:cubicBezTo>
                  <a:cubicBezTo>
                    <a:pt x="21356" y="131187"/>
                    <a:pt x="36611" y="140339"/>
                    <a:pt x="54915" y="146441"/>
                  </a:cubicBezTo>
                  <a:cubicBezTo>
                    <a:pt x="79323" y="155593"/>
                    <a:pt x="115932" y="170848"/>
                    <a:pt x="149492" y="173898"/>
                  </a:cubicBezTo>
                  <a:cubicBezTo>
                    <a:pt x="152542" y="173898"/>
                    <a:pt x="155594" y="176949"/>
                    <a:pt x="155594" y="180000"/>
                  </a:cubicBezTo>
                  <a:cubicBezTo>
                    <a:pt x="158644" y="183051"/>
                    <a:pt x="155594" y="183051"/>
                    <a:pt x="152542" y="183051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A0CD6ACF-6A3C-4EAE-BBF6-CEA1B541C4B1}"/>
                </a:ext>
              </a:extLst>
            </p:cNvPr>
            <p:cNvSpPr/>
            <p:nvPr/>
          </p:nvSpPr>
          <p:spPr>
            <a:xfrm>
              <a:off x="23982072" y="8946238"/>
              <a:ext cx="256271" cy="542671"/>
            </a:xfrm>
            <a:custGeom>
              <a:avLst/>
              <a:gdLst>
                <a:gd name="connsiteX0" fmla="*/ 48813 w 256271"/>
                <a:gd name="connsiteY0" fmla="*/ 57853 h 542671"/>
                <a:gd name="connsiteX1" fmla="*/ 0 w 256271"/>
                <a:gd name="connsiteY1" fmla="*/ 521582 h 542671"/>
                <a:gd name="connsiteX2" fmla="*/ 256272 w 256271"/>
                <a:gd name="connsiteY2" fmla="*/ 503277 h 542671"/>
                <a:gd name="connsiteX3" fmla="*/ 122034 w 256271"/>
                <a:gd name="connsiteY3" fmla="*/ 2938 h 542671"/>
                <a:gd name="connsiteX4" fmla="*/ 48813 w 256271"/>
                <a:gd name="connsiteY4" fmla="*/ 57853 h 542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6271" h="542671">
                  <a:moveTo>
                    <a:pt x="48813" y="57853"/>
                  </a:moveTo>
                  <a:cubicBezTo>
                    <a:pt x="48813" y="57853"/>
                    <a:pt x="161695" y="250057"/>
                    <a:pt x="0" y="521582"/>
                  </a:cubicBezTo>
                  <a:cubicBezTo>
                    <a:pt x="0" y="521582"/>
                    <a:pt x="137288" y="579548"/>
                    <a:pt x="256272" y="503277"/>
                  </a:cubicBezTo>
                  <a:cubicBezTo>
                    <a:pt x="256272" y="503277"/>
                    <a:pt x="247118" y="253107"/>
                    <a:pt x="122034" y="2938"/>
                  </a:cubicBezTo>
                  <a:cubicBezTo>
                    <a:pt x="112882" y="-15367"/>
                    <a:pt x="48813" y="57853"/>
                    <a:pt x="48813" y="57853"/>
                  </a:cubicBezTo>
                  <a:close/>
                </a:path>
              </a:pathLst>
            </a:custGeom>
            <a:solidFill>
              <a:srgbClr val="664241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1F4CE875-A0B5-4B30-A72F-840BB9250018}"/>
                </a:ext>
              </a:extLst>
            </p:cNvPr>
            <p:cNvSpPr/>
            <p:nvPr/>
          </p:nvSpPr>
          <p:spPr>
            <a:xfrm>
              <a:off x="23631225" y="8991888"/>
              <a:ext cx="140338" cy="170847"/>
            </a:xfrm>
            <a:custGeom>
              <a:avLst/>
              <a:gdLst>
                <a:gd name="connsiteX0" fmla="*/ 6102 w 140338"/>
                <a:gd name="connsiteY0" fmla="*/ 170847 h 170847"/>
                <a:gd name="connsiteX1" fmla="*/ 6102 w 140338"/>
                <a:gd name="connsiteY1" fmla="*/ 170847 h 170847"/>
                <a:gd name="connsiteX2" fmla="*/ 0 w 140338"/>
                <a:gd name="connsiteY2" fmla="*/ 164746 h 170847"/>
                <a:gd name="connsiteX3" fmla="*/ 134238 w 140338"/>
                <a:gd name="connsiteY3" fmla="*/ 0 h 170847"/>
                <a:gd name="connsiteX4" fmla="*/ 140338 w 140338"/>
                <a:gd name="connsiteY4" fmla="*/ 3051 h 170847"/>
                <a:gd name="connsiteX5" fmla="*/ 137288 w 140338"/>
                <a:gd name="connsiteY5" fmla="*/ 9152 h 170847"/>
                <a:gd name="connsiteX6" fmla="*/ 12204 w 140338"/>
                <a:gd name="connsiteY6" fmla="*/ 164746 h 170847"/>
                <a:gd name="connsiteX7" fmla="*/ 6102 w 140338"/>
                <a:gd name="connsiteY7" fmla="*/ 170847 h 170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0338" h="170847">
                  <a:moveTo>
                    <a:pt x="6102" y="170847"/>
                  </a:moveTo>
                  <a:cubicBezTo>
                    <a:pt x="6102" y="170847"/>
                    <a:pt x="6102" y="170847"/>
                    <a:pt x="6102" y="170847"/>
                  </a:cubicBezTo>
                  <a:cubicBezTo>
                    <a:pt x="3050" y="170847"/>
                    <a:pt x="0" y="167797"/>
                    <a:pt x="0" y="164746"/>
                  </a:cubicBezTo>
                  <a:cubicBezTo>
                    <a:pt x="21356" y="36610"/>
                    <a:pt x="131186" y="0"/>
                    <a:pt x="134238" y="0"/>
                  </a:cubicBezTo>
                  <a:cubicBezTo>
                    <a:pt x="137288" y="0"/>
                    <a:pt x="140338" y="0"/>
                    <a:pt x="140338" y="3051"/>
                  </a:cubicBezTo>
                  <a:cubicBezTo>
                    <a:pt x="140338" y="6102"/>
                    <a:pt x="140338" y="9152"/>
                    <a:pt x="137288" y="9152"/>
                  </a:cubicBezTo>
                  <a:cubicBezTo>
                    <a:pt x="137288" y="9152"/>
                    <a:pt x="30508" y="42712"/>
                    <a:pt x="12204" y="164746"/>
                  </a:cubicBezTo>
                  <a:cubicBezTo>
                    <a:pt x="9152" y="170847"/>
                    <a:pt x="9152" y="170847"/>
                    <a:pt x="6102" y="170847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2C96C505-DD14-41B2-AEC6-4D5615F64F9D}"/>
                </a:ext>
              </a:extLst>
            </p:cNvPr>
            <p:cNvSpPr/>
            <p:nvPr/>
          </p:nvSpPr>
          <p:spPr>
            <a:xfrm>
              <a:off x="23525207" y="9205448"/>
              <a:ext cx="87712" cy="189152"/>
            </a:xfrm>
            <a:custGeom>
              <a:avLst/>
              <a:gdLst>
                <a:gd name="connsiteX0" fmla="*/ 5340 w 87712"/>
                <a:gd name="connsiteY0" fmla="*/ 189152 h 189152"/>
                <a:gd name="connsiteX1" fmla="*/ 2288 w 87712"/>
                <a:gd name="connsiteY1" fmla="*/ 186101 h 189152"/>
                <a:gd name="connsiteX2" fmla="*/ 2288 w 87712"/>
                <a:gd name="connsiteY2" fmla="*/ 176949 h 189152"/>
                <a:gd name="connsiteX3" fmla="*/ 75509 w 87712"/>
                <a:gd name="connsiteY3" fmla="*/ 6102 h 189152"/>
                <a:gd name="connsiteX4" fmla="*/ 81611 w 87712"/>
                <a:gd name="connsiteY4" fmla="*/ 0 h 189152"/>
                <a:gd name="connsiteX5" fmla="*/ 87713 w 87712"/>
                <a:gd name="connsiteY5" fmla="*/ 6102 h 189152"/>
                <a:gd name="connsiteX6" fmla="*/ 14492 w 87712"/>
                <a:gd name="connsiteY6" fmla="*/ 180000 h 189152"/>
                <a:gd name="connsiteX7" fmla="*/ 5340 w 87712"/>
                <a:gd name="connsiteY7" fmla="*/ 189152 h 189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712" h="189152">
                  <a:moveTo>
                    <a:pt x="5340" y="189152"/>
                  </a:moveTo>
                  <a:cubicBezTo>
                    <a:pt x="5340" y="189152"/>
                    <a:pt x="2288" y="189152"/>
                    <a:pt x="2288" y="186101"/>
                  </a:cubicBezTo>
                  <a:cubicBezTo>
                    <a:pt x="-763" y="183051"/>
                    <a:pt x="-763" y="180000"/>
                    <a:pt x="2288" y="176949"/>
                  </a:cubicBezTo>
                  <a:cubicBezTo>
                    <a:pt x="54152" y="122034"/>
                    <a:pt x="72459" y="9152"/>
                    <a:pt x="75509" y="6102"/>
                  </a:cubicBezTo>
                  <a:cubicBezTo>
                    <a:pt x="75509" y="3051"/>
                    <a:pt x="78559" y="0"/>
                    <a:pt x="81611" y="0"/>
                  </a:cubicBezTo>
                  <a:cubicBezTo>
                    <a:pt x="84661" y="0"/>
                    <a:pt x="87713" y="3051"/>
                    <a:pt x="87713" y="6102"/>
                  </a:cubicBezTo>
                  <a:cubicBezTo>
                    <a:pt x="87713" y="12203"/>
                    <a:pt x="66356" y="125084"/>
                    <a:pt x="14492" y="180000"/>
                  </a:cubicBezTo>
                  <a:cubicBezTo>
                    <a:pt x="8390" y="186101"/>
                    <a:pt x="5340" y="189152"/>
                    <a:pt x="5340" y="189152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CBF5EB56-0F52-492A-9E66-3F458FAB84FE}"/>
                </a:ext>
              </a:extLst>
            </p:cNvPr>
            <p:cNvSpPr/>
            <p:nvPr/>
          </p:nvSpPr>
          <p:spPr>
            <a:xfrm>
              <a:off x="23570970" y="9284769"/>
              <a:ext cx="70670" cy="128135"/>
            </a:xfrm>
            <a:custGeom>
              <a:avLst/>
              <a:gdLst>
                <a:gd name="connsiteX0" fmla="*/ 5340 w 70670"/>
                <a:gd name="connsiteY0" fmla="*/ 128136 h 128135"/>
                <a:gd name="connsiteX1" fmla="*/ 2288 w 70670"/>
                <a:gd name="connsiteY1" fmla="*/ 125085 h 128135"/>
                <a:gd name="connsiteX2" fmla="*/ 2288 w 70670"/>
                <a:gd name="connsiteY2" fmla="*/ 115932 h 128135"/>
                <a:gd name="connsiteX3" fmla="*/ 60254 w 70670"/>
                <a:gd name="connsiteY3" fmla="*/ 3051 h 128135"/>
                <a:gd name="connsiteX4" fmla="*/ 66356 w 70670"/>
                <a:gd name="connsiteY4" fmla="*/ 0 h 128135"/>
                <a:gd name="connsiteX5" fmla="*/ 69407 w 70670"/>
                <a:gd name="connsiteY5" fmla="*/ 6102 h 128135"/>
                <a:gd name="connsiteX6" fmla="*/ 5340 w 70670"/>
                <a:gd name="connsiteY6" fmla="*/ 125085 h 128135"/>
                <a:gd name="connsiteX7" fmla="*/ 5340 w 70670"/>
                <a:gd name="connsiteY7" fmla="*/ 128136 h 12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670" h="128135">
                  <a:moveTo>
                    <a:pt x="5340" y="128136"/>
                  </a:moveTo>
                  <a:cubicBezTo>
                    <a:pt x="2288" y="128136"/>
                    <a:pt x="2288" y="128136"/>
                    <a:pt x="2288" y="125085"/>
                  </a:cubicBezTo>
                  <a:cubicBezTo>
                    <a:pt x="-763" y="122034"/>
                    <a:pt x="-763" y="118983"/>
                    <a:pt x="2288" y="115932"/>
                  </a:cubicBezTo>
                  <a:cubicBezTo>
                    <a:pt x="32796" y="88475"/>
                    <a:pt x="60254" y="3051"/>
                    <a:pt x="60254" y="3051"/>
                  </a:cubicBezTo>
                  <a:cubicBezTo>
                    <a:pt x="60254" y="0"/>
                    <a:pt x="63305" y="0"/>
                    <a:pt x="66356" y="0"/>
                  </a:cubicBezTo>
                  <a:cubicBezTo>
                    <a:pt x="69407" y="0"/>
                    <a:pt x="72459" y="3051"/>
                    <a:pt x="69407" y="6102"/>
                  </a:cubicBezTo>
                  <a:cubicBezTo>
                    <a:pt x="69407" y="9153"/>
                    <a:pt x="41950" y="97627"/>
                    <a:pt x="5340" y="125085"/>
                  </a:cubicBezTo>
                  <a:cubicBezTo>
                    <a:pt x="8390" y="128136"/>
                    <a:pt x="5340" y="128136"/>
                    <a:pt x="5340" y="128136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543BCF55-EE1C-4620-8BFA-A809EA8CAEA7}"/>
                </a:ext>
              </a:extLst>
            </p:cNvPr>
            <p:cNvSpPr/>
            <p:nvPr/>
          </p:nvSpPr>
          <p:spPr>
            <a:xfrm>
              <a:off x="23979022" y="8990532"/>
              <a:ext cx="96304" cy="480338"/>
            </a:xfrm>
            <a:custGeom>
              <a:avLst/>
              <a:gdLst>
                <a:gd name="connsiteX0" fmla="*/ 6100 w 96304"/>
                <a:gd name="connsiteY0" fmla="*/ 480339 h 480338"/>
                <a:gd name="connsiteX1" fmla="*/ 6100 w 96304"/>
                <a:gd name="connsiteY1" fmla="*/ 480339 h 480338"/>
                <a:gd name="connsiteX2" fmla="*/ 0 w 96304"/>
                <a:gd name="connsiteY2" fmla="*/ 471186 h 480338"/>
                <a:gd name="connsiteX3" fmla="*/ 79321 w 96304"/>
                <a:gd name="connsiteY3" fmla="*/ 132542 h 480338"/>
                <a:gd name="connsiteX4" fmla="*/ 36609 w 96304"/>
                <a:gd name="connsiteY4" fmla="*/ 10508 h 480338"/>
                <a:gd name="connsiteX5" fmla="*/ 36609 w 96304"/>
                <a:gd name="connsiteY5" fmla="*/ 1356 h 480338"/>
                <a:gd name="connsiteX6" fmla="*/ 45763 w 96304"/>
                <a:gd name="connsiteY6" fmla="*/ 1356 h 480338"/>
                <a:gd name="connsiteX7" fmla="*/ 91525 w 96304"/>
                <a:gd name="connsiteY7" fmla="*/ 126440 h 480338"/>
                <a:gd name="connsiteX8" fmla="*/ 12202 w 96304"/>
                <a:gd name="connsiteY8" fmla="*/ 474237 h 480338"/>
                <a:gd name="connsiteX9" fmla="*/ 6100 w 96304"/>
                <a:gd name="connsiteY9" fmla="*/ 480339 h 48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6304" h="480338">
                  <a:moveTo>
                    <a:pt x="6100" y="480339"/>
                  </a:moveTo>
                  <a:cubicBezTo>
                    <a:pt x="6100" y="480339"/>
                    <a:pt x="3050" y="480339"/>
                    <a:pt x="6100" y="480339"/>
                  </a:cubicBezTo>
                  <a:cubicBezTo>
                    <a:pt x="0" y="477288"/>
                    <a:pt x="0" y="474237"/>
                    <a:pt x="0" y="471186"/>
                  </a:cubicBezTo>
                  <a:cubicBezTo>
                    <a:pt x="82371" y="321695"/>
                    <a:pt x="88473" y="202712"/>
                    <a:pt x="79321" y="132542"/>
                  </a:cubicBezTo>
                  <a:cubicBezTo>
                    <a:pt x="67117" y="53220"/>
                    <a:pt x="36609" y="10508"/>
                    <a:pt x="36609" y="10508"/>
                  </a:cubicBezTo>
                  <a:cubicBezTo>
                    <a:pt x="33559" y="7458"/>
                    <a:pt x="36609" y="4407"/>
                    <a:pt x="36609" y="1356"/>
                  </a:cubicBezTo>
                  <a:cubicBezTo>
                    <a:pt x="39661" y="-1695"/>
                    <a:pt x="42711" y="1356"/>
                    <a:pt x="45763" y="1356"/>
                  </a:cubicBezTo>
                  <a:cubicBezTo>
                    <a:pt x="45763" y="4407"/>
                    <a:pt x="79321" y="47119"/>
                    <a:pt x="91525" y="126440"/>
                  </a:cubicBezTo>
                  <a:cubicBezTo>
                    <a:pt x="103728" y="199661"/>
                    <a:pt x="97626" y="321695"/>
                    <a:pt x="12202" y="474237"/>
                  </a:cubicBezTo>
                  <a:cubicBezTo>
                    <a:pt x="9152" y="477288"/>
                    <a:pt x="9152" y="480339"/>
                    <a:pt x="6100" y="480339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8C38F8C1-204D-493B-89BB-A74D5278B2EE}"/>
                </a:ext>
              </a:extLst>
            </p:cNvPr>
            <p:cNvSpPr/>
            <p:nvPr/>
          </p:nvSpPr>
          <p:spPr>
            <a:xfrm>
              <a:off x="23808173" y="8843413"/>
              <a:ext cx="120247" cy="18551"/>
            </a:xfrm>
            <a:custGeom>
              <a:avLst/>
              <a:gdLst>
                <a:gd name="connsiteX0" fmla="*/ 6102 w 120247"/>
                <a:gd name="connsiteY0" fmla="*/ 17288 h 18551"/>
                <a:gd name="connsiteX1" fmla="*/ 0 w 120247"/>
                <a:gd name="connsiteY1" fmla="*/ 14237 h 18551"/>
                <a:gd name="connsiteX2" fmla="*/ 3052 w 120247"/>
                <a:gd name="connsiteY2" fmla="*/ 8136 h 18551"/>
                <a:gd name="connsiteX3" fmla="*/ 115932 w 120247"/>
                <a:gd name="connsiteY3" fmla="*/ 8136 h 18551"/>
                <a:gd name="connsiteX4" fmla="*/ 118984 w 120247"/>
                <a:gd name="connsiteY4" fmla="*/ 14237 h 18551"/>
                <a:gd name="connsiteX5" fmla="*/ 112882 w 120247"/>
                <a:gd name="connsiteY5" fmla="*/ 17288 h 18551"/>
                <a:gd name="connsiteX6" fmla="*/ 6102 w 120247"/>
                <a:gd name="connsiteY6" fmla="*/ 17288 h 18551"/>
                <a:gd name="connsiteX7" fmla="*/ 6102 w 120247"/>
                <a:gd name="connsiteY7" fmla="*/ 17288 h 18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247" h="18551">
                  <a:moveTo>
                    <a:pt x="6102" y="17288"/>
                  </a:moveTo>
                  <a:cubicBezTo>
                    <a:pt x="3052" y="17288"/>
                    <a:pt x="3052" y="17288"/>
                    <a:pt x="0" y="14237"/>
                  </a:cubicBezTo>
                  <a:cubicBezTo>
                    <a:pt x="0" y="11187"/>
                    <a:pt x="0" y="8136"/>
                    <a:pt x="3052" y="8136"/>
                  </a:cubicBezTo>
                  <a:cubicBezTo>
                    <a:pt x="51865" y="-10170"/>
                    <a:pt x="115932" y="8136"/>
                    <a:pt x="115932" y="8136"/>
                  </a:cubicBezTo>
                  <a:cubicBezTo>
                    <a:pt x="118984" y="8136"/>
                    <a:pt x="122034" y="11187"/>
                    <a:pt x="118984" y="14237"/>
                  </a:cubicBezTo>
                  <a:cubicBezTo>
                    <a:pt x="118984" y="17288"/>
                    <a:pt x="115932" y="20339"/>
                    <a:pt x="112882" y="17288"/>
                  </a:cubicBezTo>
                  <a:cubicBezTo>
                    <a:pt x="112882" y="17288"/>
                    <a:pt x="51865" y="-1017"/>
                    <a:pt x="6102" y="17288"/>
                  </a:cubicBezTo>
                  <a:cubicBezTo>
                    <a:pt x="6102" y="17288"/>
                    <a:pt x="6102" y="17288"/>
                    <a:pt x="6102" y="17288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FC96DAE8-B491-4DD2-9C33-DC0247D670C0}"/>
                </a:ext>
              </a:extLst>
            </p:cNvPr>
            <p:cNvSpPr/>
            <p:nvPr/>
          </p:nvSpPr>
          <p:spPr>
            <a:xfrm>
              <a:off x="23795971" y="9343498"/>
              <a:ext cx="215846" cy="87711"/>
            </a:xfrm>
            <a:custGeom>
              <a:avLst/>
              <a:gdLst>
                <a:gd name="connsiteX0" fmla="*/ 73219 w 215846"/>
                <a:gd name="connsiteY0" fmla="*/ 87712 h 87711"/>
                <a:gd name="connsiteX1" fmla="*/ 64067 w 215846"/>
                <a:gd name="connsiteY1" fmla="*/ 87712 h 87711"/>
                <a:gd name="connsiteX2" fmla="*/ 3050 w 215846"/>
                <a:gd name="connsiteY2" fmla="*/ 66356 h 87711"/>
                <a:gd name="connsiteX3" fmla="*/ 0 w 215846"/>
                <a:gd name="connsiteY3" fmla="*/ 57203 h 87711"/>
                <a:gd name="connsiteX4" fmla="*/ 9152 w 215846"/>
                <a:gd name="connsiteY4" fmla="*/ 54152 h 87711"/>
                <a:gd name="connsiteX5" fmla="*/ 67117 w 215846"/>
                <a:gd name="connsiteY5" fmla="*/ 72458 h 87711"/>
                <a:gd name="connsiteX6" fmla="*/ 73219 w 215846"/>
                <a:gd name="connsiteY6" fmla="*/ 72458 h 87711"/>
                <a:gd name="connsiteX7" fmla="*/ 204405 w 215846"/>
                <a:gd name="connsiteY7" fmla="*/ 2288 h 87711"/>
                <a:gd name="connsiteX8" fmla="*/ 213559 w 215846"/>
                <a:gd name="connsiteY8" fmla="*/ 2288 h 87711"/>
                <a:gd name="connsiteX9" fmla="*/ 213559 w 215846"/>
                <a:gd name="connsiteY9" fmla="*/ 11441 h 87711"/>
                <a:gd name="connsiteX10" fmla="*/ 73219 w 215846"/>
                <a:gd name="connsiteY10" fmla="*/ 87712 h 8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5846" h="87711">
                  <a:moveTo>
                    <a:pt x="73219" y="87712"/>
                  </a:moveTo>
                  <a:cubicBezTo>
                    <a:pt x="70169" y="87712"/>
                    <a:pt x="67117" y="87712"/>
                    <a:pt x="64067" y="87712"/>
                  </a:cubicBezTo>
                  <a:cubicBezTo>
                    <a:pt x="42711" y="84661"/>
                    <a:pt x="21354" y="78559"/>
                    <a:pt x="3050" y="66356"/>
                  </a:cubicBezTo>
                  <a:cubicBezTo>
                    <a:pt x="0" y="63305"/>
                    <a:pt x="0" y="60254"/>
                    <a:pt x="0" y="57203"/>
                  </a:cubicBezTo>
                  <a:cubicBezTo>
                    <a:pt x="3050" y="54152"/>
                    <a:pt x="6100" y="54152"/>
                    <a:pt x="9152" y="54152"/>
                  </a:cubicBezTo>
                  <a:cubicBezTo>
                    <a:pt x="27457" y="66356"/>
                    <a:pt x="45763" y="72458"/>
                    <a:pt x="67117" y="72458"/>
                  </a:cubicBezTo>
                  <a:cubicBezTo>
                    <a:pt x="70169" y="72458"/>
                    <a:pt x="73219" y="72458"/>
                    <a:pt x="73219" y="72458"/>
                  </a:cubicBezTo>
                  <a:cubicBezTo>
                    <a:pt x="134236" y="72458"/>
                    <a:pt x="204405" y="2288"/>
                    <a:pt x="204405" y="2288"/>
                  </a:cubicBezTo>
                  <a:cubicBezTo>
                    <a:pt x="207457" y="-763"/>
                    <a:pt x="210507" y="-763"/>
                    <a:pt x="213559" y="2288"/>
                  </a:cubicBezTo>
                  <a:cubicBezTo>
                    <a:pt x="216609" y="5339"/>
                    <a:pt x="216609" y="8390"/>
                    <a:pt x="213559" y="11441"/>
                  </a:cubicBezTo>
                  <a:cubicBezTo>
                    <a:pt x="210507" y="14492"/>
                    <a:pt x="137288" y="87712"/>
                    <a:pt x="73219" y="87712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159CEF09-F986-40A9-A120-01B740A5337E}"/>
                </a:ext>
              </a:extLst>
            </p:cNvPr>
            <p:cNvSpPr/>
            <p:nvPr/>
          </p:nvSpPr>
          <p:spPr>
            <a:xfrm>
              <a:off x="23487834" y="11117065"/>
              <a:ext cx="79323" cy="83636"/>
            </a:xfrm>
            <a:custGeom>
              <a:avLst/>
              <a:gdLst>
                <a:gd name="connsiteX0" fmla="*/ 79323 w 79323"/>
                <a:gd name="connsiteY0" fmla="*/ 83637 h 83636"/>
                <a:gd name="connsiteX1" fmla="*/ 6102 w 79323"/>
                <a:gd name="connsiteY1" fmla="*/ 83637 h 83636"/>
                <a:gd name="connsiteX2" fmla="*/ 0 w 79323"/>
                <a:gd name="connsiteY2" fmla="*/ 77535 h 83636"/>
                <a:gd name="connsiteX3" fmla="*/ 6102 w 79323"/>
                <a:gd name="connsiteY3" fmla="*/ 71433 h 83636"/>
                <a:gd name="connsiteX4" fmla="*/ 61017 w 79323"/>
                <a:gd name="connsiteY4" fmla="*/ 71433 h 83636"/>
                <a:gd name="connsiteX5" fmla="*/ 21356 w 79323"/>
                <a:gd name="connsiteY5" fmla="*/ 10416 h 83636"/>
                <a:gd name="connsiteX6" fmla="*/ 18306 w 79323"/>
                <a:gd name="connsiteY6" fmla="*/ 4314 h 83636"/>
                <a:gd name="connsiteX7" fmla="*/ 24406 w 79323"/>
                <a:gd name="connsiteY7" fmla="*/ 1263 h 83636"/>
                <a:gd name="connsiteX8" fmla="*/ 73221 w 79323"/>
                <a:gd name="connsiteY8" fmla="*/ 77535 h 83636"/>
                <a:gd name="connsiteX9" fmla="*/ 79323 w 79323"/>
                <a:gd name="connsiteY9" fmla="*/ 83637 h 83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323" h="83636">
                  <a:moveTo>
                    <a:pt x="79323" y="83637"/>
                  </a:moveTo>
                  <a:lnTo>
                    <a:pt x="6102" y="83637"/>
                  </a:lnTo>
                  <a:cubicBezTo>
                    <a:pt x="3052" y="83637"/>
                    <a:pt x="0" y="80586"/>
                    <a:pt x="0" y="77535"/>
                  </a:cubicBezTo>
                  <a:cubicBezTo>
                    <a:pt x="0" y="74484"/>
                    <a:pt x="3052" y="71433"/>
                    <a:pt x="6102" y="71433"/>
                  </a:cubicBezTo>
                  <a:lnTo>
                    <a:pt x="61017" y="71433"/>
                  </a:lnTo>
                  <a:cubicBezTo>
                    <a:pt x="45763" y="40925"/>
                    <a:pt x="30508" y="13468"/>
                    <a:pt x="21356" y="10416"/>
                  </a:cubicBezTo>
                  <a:cubicBezTo>
                    <a:pt x="18306" y="10416"/>
                    <a:pt x="15254" y="7365"/>
                    <a:pt x="18306" y="4314"/>
                  </a:cubicBezTo>
                  <a:cubicBezTo>
                    <a:pt x="18306" y="1263"/>
                    <a:pt x="21356" y="-1787"/>
                    <a:pt x="24406" y="1263"/>
                  </a:cubicBezTo>
                  <a:cubicBezTo>
                    <a:pt x="39661" y="4314"/>
                    <a:pt x="64069" y="56179"/>
                    <a:pt x="73221" y="77535"/>
                  </a:cubicBezTo>
                  <a:lnTo>
                    <a:pt x="79323" y="83637"/>
                  </a:ln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F61463C4-180A-428C-A43E-7CC5E72BCE3B}"/>
                </a:ext>
              </a:extLst>
            </p:cNvPr>
            <p:cNvSpPr/>
            <p:nvPr/>
          </p:nvSpPr>
          <p:spPr>
            <a:xfrm>
              <a:off x="23957666" y="9817603"/>
              <a:ext cx="334491" cy="744673"/>
            </a:xfrm>
            <a:custGeom>
              <a:avLst/>
              <a:gdLst>
                <a:gd name="connsiteX0" fmla="*/ 332541 w 334491"/>
                <a:gd name="connsiteY0" fmla="*/ 4115 h 744673"/>
                <a:gd name="connsiteX1" fmla="*/ 320339 w 334491"/>
                <a:gd name="connsiteY1" fmla="*/ 278692 h 744673"/>
                <a:gd name="connsiteX2" fmla="*/ 201355 w 334491"/>
                <a:gd name="connsiteY2" fmla="*/ 739370 h 744673"/>
                <a:gd name="connsiteX3" fmla="*/ 0 w 334491"/>
                <a:gd name="connsiteY3" fmla="*/ 519709 h 744673"/>
                <a:gd name="connsiteX4" fmla="*/ 332541 w 334491"/>
                <a:gd name="connsiteY4" fmla="*/ 4115 h 74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4491" h="744673">
                  <a:moveTo>
                    <a:pt x="332541" y="4115"/>
                  </a:moveTo>
                  <a:cubicBezTo>
                    <a:pt x="332541" y="4115"/>
                    <a:pt x="341695" y="190217"/>
                    <a:pt x="320339" y="278692"/>
                  </a:cubicBezTo>
                  <a:cubicBezTo>
                    <a:pt x="302033" y="367167"/>
                    <a:pt x="231864" y="690556"/>
                    <a:pt x="201355" y="739370"/>
                  </a:cubicBezTo>
                  <a:cubicBezTo>
                    <a:pt x="167797" y="785132"/>
                    <a:pt x="0" y="519709"/>
                    <a:pt x="0" y="519709"/>
                  </a:cubicBezTo>
                  <a:cubicBezTo>
                    <a:pt x="0" y="519709"/>
                    <a:pt x="21356" y="-53851"/>
                    <a:pt x="332541" y="4115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52BBDE45-F5EA-4316-843E-82020ECA9B06}"/>
                </a:ext>
              </a:extLst>
            </p:cNvPr>
            <p:cNvSpPr/>
            <p:nvPr/>
          </p:nvSpPr>
          <p:spPr>
            <a:xfrm>
              <a:off x="23823126" y="10117651"/>
              <a:ext cx="353676" cy="478617"/>
            </a:xfrm>
            <a:custGeom>
              <a:avLst/>
              <a:gdLst>
                <a:gd name="connsiteX0" fmla="*/ 82675 w 353676"/>
                <a:gd name="connsiteY0" fmla="*/ 0 h 478617"/>
                <a:gd name="connsiteX1" fmla="*/ 351149 w 353676"/>
                <a:gd name="connsiteY1" fmla="*/ 347796 h 478617"/>
                <a:gd name="connsiteX2" fmla="*/ 216913 w 353676"/>
                <a:gd name="connsiteY2" fmla="*/ 463729 h 478617"/>
                <a:gd name="connsiteX3" fmla="*/ 302 w 353676"/>
                <a:gd name="connsiteY3" fmla="*/ 54915 h 478617"/>
                <a:gd name="connsiteX4" fmla="*/ 82675 w 353676"/>
                <a:gd name="connsiteY4" fmla="*/ 0 h 478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676" h="478617">
                  <a:moveTo>
                    <a:pt x="82675" y="0"/>
                  </a:moveTo>
                  <a:cubicBezTo>
                    <a:pt x="82675" y="0"/>
                    <a:pt x="338947" y="274576"/>
                    <a:pt x="351149" y="347796"/>
                  </a:cubicBezTo>
                  <a:cubicBezTo>
                    <a:pt x="366403" y="421017"/>
                    <a:pt x="311489" y="515593"/>
                    <a:pt x="216913" y="463729"/>
                  </a:cubicBezTo>
                  <a:cubicBezTo>
                    <a:pt x="125388" y="411864"/>
                    <a:pt x="6404" y="61017"/>
                    <a:pt x="302" y="54915"/>
                  </a:cubicBezTo>
                  <a:cubicBezTo>
                    <a:pt x="-5800" y="45763"/>
                    <a:pt x="82675" y="0"/>
                    <a:pt x="82675" y="0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7CBE38FF-1394-44E3-AA28-C5A2600E1BB4}"/>
                </a:ext>
              </a:extLst>
            </p:cNvPr>
            <p:cNvSpPr/>
            <p:nvPr/>
          </p:nvSpPr>
          <p:spPr>
            <a:xfrm>
              <a:off x="23963768" y="9555419"/>
              <a:ext cx="376192" cy="506686"/>
            </a:xfrm>
            <a:custGeom>
              <a:avLst/>
              <a:gdLst>
                <a:gd name="connsiteX0" fmla="*/ 375254 w 376192"/>
                <a:gd name="connsiteY0" fmla="*/ 504266 h 506686"/>
                <a:gd name="connsiteX1" fmla="*/ 268474 w 376192"/>
                <a:gd name="connsiteY1" fmla="*/ 3927 h 506686"/>
                <a:gd name="connsiteX2" fmla="*/ 0 w 376192"/>
                <a:gd name="connsiteY2" fmla="*/ 431046 h 506686"/>
                <a:gd name="connsiteX3" fmla="*/ 375254 w 376192"/>
                <a:gd name="connsiteY3" fmla="*/ 504266 h 506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192" h="506686">
                  <a:moveTo>
                    <a:pt x="375254" y="504266"/>
                  </a:moveTo>
                  <a:cubicBezTo>
                    <a:pt x="375254" y="504266"/>
                    <a:pt x="393558" y="49690"/>
                    <a:pt x="268474" y="3927"/>
                  </a:cubicBezTo>
                  <a:cubicBezTo>
                    <a:pt x="122034" y="-47938"/>
                    <a:pt x="0" y="431046"/>
                    <a:pt x="0" y="431046"/>
                  </a:cubicBezTo>
                  <a:cubicBezTo>
                    <a:pt x="0" y="431046"/>
                    <a:pt x="183051" y="522571"/>
                    <a:pt x="375254" y="504266"/>
                  </a:cubicBezTo>
                  <a:close/>
                </a:path>
              </a:pathLst>
            </a:custGeom>
            <a:solidFill>
              <a:srgbClr val="70868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22B096B2-0491-4EE4-BE2C-BE736477F5F6}"/>
                </a:ext>
              </a:extLst>
            </p:cNvPr>
            <p:cNvSpPr/>
            <p:nvPr/>
          </p:nvSpPr>
          <p:spPr>
            <a:xfrm>
              <a:off x="23957666" y="9553239"/>
              <a:ext cx="280678" cy="482038"/>
            </a:xfrm>
            <a:custGeom>
              <a:avLst/>
              <a:gdLst>
                <a:gd name="connsiteX0" fmla="*/ 118982 w 280678"/>
                <a:gd name="connsiteY0" fmla="*/ 482038 h 482038"/>
                <a:gd name="connsiteX1" fmla="*/ 118982 w 280678"/>
                <a:gd name="connsiteY1" fmla="*/ 482038 h 482038"/>
                <a:gd name="connsiteX2" fmla="*/ 3050 w 280678"/>
                <a:gd name="connsiteY2" fmla="*/ 436276 h 482038"/>
                <a:gd name="connsiteX3" fmla="*/ 0 w 280678"/>
                <a:gd name="connsiteY3" fmla="*/ 433226 h 482038"/>
                <a:gd name="connsiteX4" fmla="*/ 0 w 280678"/>
                <a:gd name="connsiteY4" fmla="*/ 430175 h 482038"/>
                <a:gd name="connsiteX5" fmla="*/ 106780 w 280678"/>
                <a:gd name="connsiteY5" fmla="*/ 143395 h 482038"/>
                <a:gd name="connsiteX6" fmla="*/ 274576 w 280678"/>
                <a:gd name="connsiteY6" fmla="*/ 5 h 482038"/>
                <a:gd name="connsiteX7" fmla="*/ 280678 w 280678"/>
                <a:gd name="connsiteY7" fmla="*/ 6107 h 482038"/>
                <a:gd name="connsiteX8" fmla="*/ 274576 w 280678"/>
                <a:gd name="connsiteY8" fmla="*/ 12208 h 482038"/>
                <a:gd name="connsiteX9" fmla="*/ 274576 w 280678"/>
                <a:gd name="connsiteY9" fmla="*/ 12208 h 482038"/>
                <a:gd name="connsiteX10" fmla="*/ 118982 w 280678"/>
                <a:gd name="connsiteY10" fmla="*/ 149496 h 482038"/>
                <a:gd name="connsiteX11" fmla="*/ 15254 w 280678"/>
                <a:gd name="connsiteY11" fmla="*/ 433226 h 482038"/>
                <a:gd name="connsiteX12" fmla="*/ 125084 w 280678"/>
                <a:gd name="connsiteY12" fmla="*/ 475937 h 482038"/>
                <a:gd name="connsiteX13" fmla="*/ 128136 w 280678"/>
                <a:gd name="connsiteY13" fmla="*/ 482038 h 482038"/>
                <a:gd name="connsiteX14" fmla="*/ 118982 w 280678"/>
                <a:gd name="connsiteY14" fmla="*/ 482038 h 482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0678" h="482038">
                  <a:moveTo>
                    <a:pt x="118982" y="482038"/>
                  </a:moveTo>
                  <a:cubicBezTo>
                    <a:pt x="118982" y="482038"/>
                    <a:pt x="118982" y="482038"/>
                    <a:pt x="118982" y="482038"/>
                  </a:cubicBezTo>
                  <a:cubicBezTo>
                    <a:pt x="57965" y="466784"/>
                    <a:pt x="3050" y="439327"/>
                    <a:pt x="3050" y="436276"/>
                  </a:cubicBezTo>
                  <a:lnTo>
                    <a:pt x="0" y="433226"/>
                  </a:lnTo>
                  <a:lnTo>
                    <a:pt x="0" y="430175"/>
                  </a:lnTo>
                  <a:cubicBezTo>
                    <a:pt x="0" y="430175"/>
                    <a:pt x="45763" y="286784"/>
                    <a:pt x="106780" y="143395"/>
                  </a:cubicBezTo>
                  <a:cubicBezTo>
                    <a:pt x="167797" y="-3046"/>
                    <a:pt x="271524" y="5"/>
                    <a:pt x="274576" y="5"/>
                  </a:cubicBezTo>
                  <a:cubicBezTo>
                    <a:pt x="277626" y="5"/>
                    <a:pt x="280678" y="3056"/>
                    <a:pt x="280678" y="6107"/>
                  </a:cubicBezTo>
                  <a:cubicBezTo>
                    <a:pt x="280678" y="9157"/>
                    <a:pt x="277626" y="12208"/>
                    <a:pt x="274576" y="12208"/>
                  </a:cubicBezTo>
                  <a:cubicBezTo>
                    <a:pt x="274576" y="12208"/>
                    <a:pt x="274576" y="12208"/>
                    <a:pt x="274576" y="12208"/>
                  </a:cubicBezTo>
                  <a:cubicBezTo>
                    <a:pt x="262372" y="12208"/>
                    <a:pt x="173899" y="15259"/>
                    <a:pt x="118982" y="149496"/>
                  </a:cubicBezTo>
                  <a:cubicBezTo>
                    <a:pt x="64067" y="277632"/>
                    <a:pt x="24406" y="405767"/>
                    <a:pt x="15254" y="433226"/>
                  </a:cubicBezTo>
                  <a:cubicBezTo>
                    <a:pt x="30508" y="439327"/>
                    <a:pt x="76271" y="463734"/>
                    <a:pt x="125084" y="475937"/>
                  </a:cubicBezTo>
                  <a:cubicBezTo>
                    <a:pt x="128136" y="475937"/>
                    <a:pt x="131186" y="478988"/>
                    <a:pt x="128136" y="482038"/>
                  </a:cubicBezTo>
                  <a:cubicBezTo>
                    <a:pt x="125084" y="482038"/>
                    <a:pt x="122034" y="482038"/>
                    <a:pt x="118982" y="482038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19FAA87E-BC22-47B2-A54E-C5A391A5C786}"/>
                </a:ext>
              </a:extLst>
            </p:cNvPr>
            <p:cNvSpPr/>
            <p:nvPr/>
          </p:nvSpPr>
          <p:spPr>
            <a:xfrm>
              <a:off x="23771229" y="9957312"/>
              <a:ext cx="134572" cy="160338"/>
            </a:xfrm>
            <a:custGeom>
              <a:avLst/>
              <a:gdLst>
                <a:gd name="connsiteX0" fmla="*/ 134572 w 134572"/>
                <a:gd name="connsiteY0" fmla="*/ 160339 h 160338"/>
                <a:gd name="connsiteX1" fmla="*/ 107114 w 134572"/>
                <a:gd name="connsiteY1" fmla="*/ 23051 h 160338"/>
                <a:gd name="connsiteX2" fmla="*/ 334 w 134572"/>
                <a:gd name="connsiteY2" fmla="*/ 4745 h 160338"/>
                <a:gd name="connsiteX3" fmla="*/ 85759 w 134572"/>
                <a:gd name="connsiteY3" fmla="*/ 114576 h 160338"/>
                <a:gd name="connsiteX4" fmla="*/ 134572 w 134572"/>
                <a:gd name="connsiteY4" fmla="*/ 160339 h 16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572" h="160338">
                  <a:moveTo>
                    <a:pt x="134572" y="160339"/>
                  </a:moveTo>
                  <a:cubicBezTo>
                    <a:pt x="134572" y="160339"/>
                    <a:pt x="131522" y="44407"/>
                    <a:pt x="107114" y="23051"/>
                  </a:cubicBezTo>
                  <a:cubicBezTo>
                    <a:pt x="73555" y="-1356"/>
                    <a:pt x="9488" y="-4407"/>
                    <a:pt x="334" y="4745"/>
                  </a:cubicBezTo>
                  <a:cubicBezTo>
                    <a:pt x="-5766" y="13899"/>
                    <a:pt x="73555" y="99322"/>
                    <a:pt x="85759" y="114576"/>
                  </a:cubicBezTo>
                  <a:cubicBezTo>
                    <a:pt x="97962" y="129830"/>
                    <a:pt x="134572" y="160339"/>
                    <a:pt x="134572" y="160339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0" name="图形 114">
              <a:extLst>
                <a:ext uri="{FF2B5EF4-FFF2-40B4-BE49-F238E27FC236}">
                  <a16:creationId xmlns:a16="http://schemas.microsoft.com/office/drawing/2014/main" id="{CFDA1086-5540-4F30-874A-06D2EA82A714}"/>
                </a:ext>
              </a:extLst>
            </p:cNvPr>
            <p:cNvGrpSpPr/>
            <p:nvPr/>
          </p:nvGrpSpPr>
          <p:grpSpPr>
            <a:xfrm>
              <a:off x="23079022" y="9696634"/>
              <a:ext cx="756609" cy="585762"/>
              <a:chOff x="23079022" y="9696634"/>
              <a:chExt cx="756609" cy="585762"/>
            </a:xfrm>
          </p:grpSpPr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F9032F2F-2133-457C-B97C-C71480ED76D6}"/>
                  </a:ext>
                </a:extLst>
              </p:cNvPr>
              <p:cNvSpPr/>
              <p:nvPr/>
            </p:nvSpPr>
            <p:spPr>
              <a:xfrm>
                <a:off x="23106478" y="9696634"/>
                <a:ext cx="704746" cy="286779"/>
              </a:xfrm>
              <a:custGeom>
                <a:avLst/>
                <a:gdLst>
                  <a:gd name="connsiteX0" fmla="*/ 0 w 704746"/>
                  <a:gd name="connsiteY0" fmla="*/ 33559 h 286779"/>
                  <a:gd name="connsiteX1" fmla="*/ 45763 w 704746"/>
                  <a:gd name="connsiteY1" fmla="*/ 0 h 286779"/>
                  <a:gd name="connsiteX2" fmla="*/ 323391 w 704746"/>
                  <a:gd name="connsiteY2" fmla="*/ 176949 h 286779"/>
                  <a:gd name="connsiteX3" fmla="*/ 634576 w 704746"/>
                  <a:gd name="connsiteY3" fmla="*/ 61017 h 286779"/>
                  <a:gd name="connsiteX4" fmla="*/ 704747 w 704746"/>
                  <a:gd name="connsiteY4" fmla="*/ 91525 h 286779"/>
                  <a:gd name="connsiteX5" fmla="*/ 436271 w 704746"/>
                  <a:gd name="connsiteY5" fmla="*/ 259322 h 286779"/>
                  <a:gd name="connsiteX6" fmla="*/ 222711 w 704746"/>
                  <a:gd name="connsiteY6" fmla="*/ 286779 h 286779"/>
                  <a:gd name="connsiteX7" fmla="*/ 0 w 704746"/>
                  <a:gd name="connsiteY7" fmla="*/ 33559 h 28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04746" h="286779">
                    <a:moveTo>
                      <a:pt x="0" y="33559"/>
                    </a:moveTo>
                    <a:lnTo>
                      <a:pt x="45763" y="0"/>
                    </a:lnTo>
                    <a:cubicBezTo>
                      <a:pt x="45763" y="0"/>
                      <a:pt x="244068" y="100678"/>
                      <a:pt x="323391" y="176949"/>
                    </a:cubicBezTo>
                    <a:cubicBezTo>
                      <a:pt x="323391" y="176949"/>
                      <a:pt x="500340" y="85423"/>
                      <a:pt x="634576" y="61017"/>
                    </a:cubicBezTo>
                    <a:lnTo>
                      <a:pt x="704747" y="91525"/>
                    </a:lnTo>
                    <a:lnTo>
                      <a:pt x="436271" y="259322"/>
                    </a:lnTo>
                    <a:lnTo>
                      <a:pt x="222711" y="286779"/>
                    </a:lnTo>
                    <a:lnTo>
                      <a:pt x="0" y="33559"/>
                    </a:lnTo>
                    <a:close/>
                  </a:path>
                </a:pathLst>
              </a:custGeom>
              <a:solidFill>
                <a:srgbClr val="F6EBE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76B5EC21-BA2E-4164-A913-66E26D613BE0}"/>
                  </a:ext>
                </a:extLst>
              </p:cNvPr>
              <p:cNvSpPr/>
              <p:nvPr/>
            </p:nvSpPr>
            <p:spPr>
              <a:xfrm>
                <a:off x="23079022" y="9714939"/>
                <a:ext cx="756609" cy="561356"/>
              </a:xfrm>
              <a:custGeom>
                <a:avLst/>
                <a:gdLst>
                  <a:gd name="connsiteX0" fmla="*/ 0 w 756609"/>
                  <a:gd name="connsiteY0" fmla="*/ 0 h 561356"/>
                  <a:gd name="connsiteX1" fmla="*/ 3050 w 756609"/>
                  <a:gd name="connsiteY1" fmla="*/ 353899 h 561356"/>
                  <a:gd name="connsiteX2" fmla="*/ 283728 w 756609"/>
                  <a:gd name="connsiteY2" fmla="*/ 552204 h 561356"/>
                  <a:gd name="connsiteX3" fmla="*/ 366102 w 756609"/>
                  <a:gd name="connsiteY3" fmla="*/ 561357 h 561356"/>
                  <a:gd name="connsiteX4" fmla="*/ 732203 w 756609"/>
                  <a:gd name="connsiteY4" fmla="*/ 460678 h 561356"/>
                  <a:gd name="connsiteX5" fmla="*/ 756610 w 756609"/>
                  <a:gd name="connsiteY5" fmla="*/ 54916 h 561356"/>
                  <a:gd name="connsiteX6" fmla="*/ 396610 w 756609"/>
                  <a:gd name="connsiteY6" fmla="*/ 186102 h 561356"/>
                  <a:gd name="connsiteX7" fmla="*/ 311185 w 756609"/>
                  <a:gd name="connsiteY7" fmla="*/ 180001 h 561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56609" h="561356">
                    <a:moveTo>
                      <a:pt x="0" y="0"/>
                    </a:moveTo>
                    <a:lnTo>
                      <a:pt x="3050" y="353899"/>
                    </a:lnTo>
                    <a:lnTo>
                      <a:pt x="283728" y="552204"/>
                    </a:lnTo>
                    <a:lnTo>
                      <a:pt x="366102" y="561357"/>
                    </a:lnTo>
                    <a:lnTo>
                      <a:pt x="732203" y="460678"/>
                    </a:lnTo>
                    <a:lnTo>
                      <a:pt x="756610" y="54916"/>
                    </a:lnTo>
                    <a:lnTo>
                      <a:pt x="396610" y="186102"/>
                    </a:lnTo>
                    <a:lnTo>
                      <a:pt x="311185" y="180001"/>
                    </a:lnTo>
                    <a:close/>
                  </a:path>
                </a:pathLst>
              </a:custGeom>
              <a:solidFill>
                <a:srgbClr val="38333D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8E520150-313D-4AB9-A225-105B7217DAB7}"/>
                  </a:ext>
                </a:extLst>
              </p:cNvPr>
              <p:cNvSpPr/>
              <p:nvPr/>
            </p:nvSpPr>
            <p:spPr>
              <a:xfrm>
                <a:off x="23356648" y="9888837"/>
                <a:ext cx="39660" cy="381355"/>
              </a:xfrm>
              <a:custGeom>
                <a:avLst/>
                <a:gdLst>
                  <a:gd name="connsiteX0" fmla="*/ 6102 w 39660"/>
                  <a:gd name="connsiteY0" fmla="*/ 381356 h 381355"/>
                  <a:gd name="connsiteX1" fmla="*/ 6102 w 39660"/>
                  <a:gd name="connsiteY1" fmla="*/ 381356 h 381355"/>
                  <a:gd name="connsiteX2" fmla="*/ 0 w 39660"/>
                  <a:gd name="connsiteY2" fmla="*/ 375254 h 381355"/>
                  <a:gd name="connsiteX3" fmla="*/ 27458 w 39660"/>
                  <a:gd name="connsiteY3" fmla="*/ 6102 h 381355"/>
                  <a:gd name="connsiteX4" fmla="*/ 33559 w 39660"/>
                  <a:gd name="connsiteY4" fmla="*/ 0 h 381355"/>
                  <a:gd name="connsiteX5" fmla="*/ 33559 w 39660"/>
                  <a:gd name="connsiteY5" fmla="*/ 0 h 381355"/>
                  <a:gd name="connsiteX6" fmla="*/ 39661 w 39660"/>
                  <a:gd name="connsiteY6" fmla="*/ 6102 h 381355"/>
                  <a:gd name="connsiteX7" fmla="*/ 12204 w 39660"/>
                  <a:gd name="connsiteY7" fmla="*/ 375254 h 381355"/>
                  <a:gd name="connsiteX8" fmla="*/ 6102 w 39660"/>
                  <a:gd name="connsiteY8" fmla="*/ 381356 h 38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660" h="381355">
                    <a:moveTo>
                      <a:pt x="6102" y="381356"/>
                    </a:moveTo>
                    <a:cubicBezTo>
                      <a:pt x="6102" y="381356"/>
                      <a:pt x="6102" y="381356"/>
                      <a:pt x="6102" y="381356"/>
                    </a:cubicBezTo>
                    <a:cubicBezTo>
                      <a:pt x="3050" y="381356"/>
                      <a:pt x="0" y="378305"/>
                      <a:pt x="0" y="375254"/>
                    </a:cubicBezTo>
                    <a:lnTo>
                      <a:pt x="27458" y="6102"/>
                    </a:lnTo>
                    <a:cubicBezTo>
                      <a:pt x="27458" y="3051"/>
                      <a:pt x="30508" y="0"/>
                      <a:pt x="33559" y="0"/>
                    </a:cubicBezTo>
                    <a:cubicBezTo>
                      <a:pt x="33559" y="0"/>
                      <a:pt x="33559" y="0"/>
                      <a:pt x="33559" y="0"/>
                    </a:cubicBezTo>
                    <a:cubicBezTo>
                      <a:pt x="36611" y="0"/>
                      <a:pt x="39661" y="3051"/>
                      <a:pt x="39661" y="6102"/>
                    </a:cubicBezTo>
                    <a:lnTo>
                      <a:pt x="12204" y="375254"/>
                    </a:lnTo>
                    <a:cubicBezTo>
                      <a:pt x="12204" y="381356"/>
                      <a:pt x="9152" y="381356"/>
                      <a:pt x="6102" y="38135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3E38AF49-FE08-4164-9480-9C18258879D8}"/>
                  </a:ext>
                </a:extLst>
              </p:cNvPr>
              <p:cNvSpPr/>
              <p:nvPr/>
            </p:nvSpPr>
            <p:spPr>
              <a:xfrm>
                <a:off x="23439022" y="9894939"/>
                <a:ext cx="39660" cy="387457"/>
              </a:xfrm>
              <a:custGeom>
                <a:avLst/>
                <a:gdLst>
                  <a:gd name="connsiteX0" fmla="*/ 6102 w 39660"/>
                  <a:gd name="connsiteY0" fmla="*/ 387457 h 387457"/>
                  <a:gd name="connsiteX1" fmla="*/ 6102 w 39660"/>
                  <a:gd name="connsiteY1" fmla="*/ 387457 h 387457"/>
                  <a:gd name="connsiteX2" fmla="*/ 0 w 39660"/>
                  <a:gd name="connsiteY2" fmla="*/ 381356 h 387457"/>
                  <a:gd name="connsiteX3" fmla="*/ 27457 w 39660"/>
                  <a:gd name="connsiteY3" fmla="*/ 6101 h 387457"/>
                  <a:gd name="connsiteX4" fmla="*/ 33559 w 39660"/>
                  <a:gd name="connsiteY4" fmla="*/ 0 h 387457"/>
                  <a:gd name="connsiteX5" fmla="*/ 39661 w 39660"/>
                  <a:gd name="connsiteY5" fmla="*/ 6101 h 387457"/>
                  <a:gd name="connsiteX6" fmla="*/ 12202 w 39660"/>
                  <a:gd name="connsiteY6" fmla="*/ 381356 h 387457"/>
                  <a:gd name="connsiteX7" fmla="*/ 6102 w 39660"/>
                  <a:gd name="connsiteY7" fmla="*/ 387457 h 387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660" h="387457">
                    <a:moveTo>
                      <a:pt x="6102" y="387457"/>
                    </a:moveTo>
                    <a:cubicBezTo>
                      <a:pt x="6102" y="387457"/>
                      <a:pt x="6102" y="387457"/>
                      <a:pt x="6102" y="387457"/>
                    </a:cubicBezTo>
                    <a:cubicBezTo>
                      <a:pt x="3050" y="387457"/>
                      <a:pt x="0" y="384406"/>
                      <a:pt x="0" y="381356"/>
                    </a:cubicBezTo>
                    <a:lnTo>
                      <a:pt x="27457" y="6101"/>
                    </a:lnTo>
                    <a:cubicBezTo>
                      <a:pt x="27457" y="3050"/>
                      <a:pt x="30508" y="0"/>
                      <a:pt x="33559" y="0"/>
                    </a:cubicBezTo>
                    <a:cubicBezTo>
                      <a:pt x="36611" y="0"/>
                      <a:pt x="39661" y="3050"/>
                      <a:pt x="39661" y="6101"/>
                    </a:cubicBezTo>
                    <a:lnTo>
                      <a:pt x="12202" y="381356"/>
                    </a:lnTo>
                    <a:cubicBezTo>
                      <a:pt x="12202" y="384406"/>
                      <a:pt x="9152" y="387457"/>
                      <a:pt x="6102" y="38745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1" name="图形 114">
              <a:extLst>
                <a:ext uri="{FF2B5EF4-FFF2-40B4-BE49-F238E27FC236}">
                  <a16:creationId xmlns:a16="http://schemas.microsoft.com/office/drawing/2014/main" id="{5BBE9C81-2FBF-47C6-BFEB-236A488F7D7C}"/>
                </a:ext>
              </a:extLst>
            </p:cNvPr>
            <p:cNvGrpSpPr/>
            <p:nvPr/>
          </p:nvGrpSpPr>
          <p:grpSpPr>
            <a:xfrm>
              <a:off x="22996391" y="9773991"/>
              <a:ext cx="168816" cy="151928"/>
              <a:chOff x="22996391" y="9773991"/>
              <a:chExt cx="168816" cy="151928"/>
            </a:xfrm>
          </p:grpSpPr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AD718D7A-16E4-45D7-8234-4980ACEEC8DA}"/>
                  </a:ext>
                </a:extLst>
              </p:cNvPr>
              <p:cNvSpPr/>
              <p:nvPr/>
            </p:nvSpPr>
            <p:spPr>
              <a:xfrm>
                <a:off x="23007229" y="9778152"/>
                <a:ext cx="157978" cy="147767"/>
              </a:xfrm>
              <a:custGeom>
                <a:avLst/>
                <a:gdLst>
                  <a:gd name="connsiteX0" fmla="*/ 151115 w 157978"/>
                  <a:gd name="connsiteY0" fmla="*/ 58820 h 147767"/>
                  <a:gd name="connsiteX1" fmla="*/ 151115 w 157978"/>
                  <a:gd name="connsiteY1" fmla="*/ 31363 h 147767"/>
                  <a:gd name="connsiteX2" fmla="*/ 65691 w 157978"/>
                  <a:gd name="connsiteY2" fmla="*/ 3905 h 147767"/>
                  <a:gd name="connsiteX3" fmla="*/ 53487 w 157978"/>
                  <a:gd name="connsiteY3" fmla="*/ 854 h 147767"/>
                  <a:gd name="connsiteX4" fmla="*/ 38233 w 157978"/>
                  <a:gd name="connsiteY4" fmla="*/ 854 h 147767"/>
                  <a:gd name="connsiteX5" fmla="*/ 19929 w 157978"/>
                  <a:gd name="connsiteY5" fmla="*/ 28312 h 147767"/>
                  <a:gd name="connsiteX6" fmla="*/ 22979 w 157978"/>
                  <a:gd name="connsiteY6" fmla="*/ 31363 h 147767"/>
                  <a:gd name="connsiteX7" fmla="*/ 19929 w 157978"/>
                  <a:gd name="connsiteY7" fmla="*/ 31363 h 147767"/>
                  <a:gd name="connsiteX8" fmla="*/ 1622 w 157978"/>
                  <a:gd name="connsiteY8" fmla="*/ 58820 h 147767"/>
                  <a:gd name="connsiteX9" fmla="*/ 10776 w 157978"/>
                  <a:gd name="connsiteY9" fmla="*/ 71024 h 147767"/>
                  <a:gd name="connsiteX10" fmla="*/ 4674 w 157978"/>
                  <a:gd name="connsiteY10" fmla="*/ 89329 h 147767"/>
                  <a:gd name="connsiteX11" fmla="*/ 22979 w 157978"/>
                  <a:gd name="connsiteY11" fmla="*/ 104583 h 147767"/>
                  <a:gd name="connsiteX12" fmla="*/ 16877 w 157978"/>
                  <a:gd name="connsiteY12" fmla="*/ 119837 h 147767"/>
                  <a:gd name="connsiteX13" fmla="*/ 41285 w 157978"/>
                  <a:gd name="connsiteY13" fmla="*/ 135091 h 147767"/>
                  <a:gd name="connsiteX14" fmla="*/ 77894 w 157978"/>
                  <a:gd name="connsiteY14" fmla="*/ 144245 h 147767"/>
                  <a:gd name="connsiteX15" fmla="*/ 102302 w 157978"/>
                  <a:gd name="connsiteY15" fmla="*/ 144245 h 147767"/>
                  <a:gd name="connsiteX16" fmla="*/ 102302 w 157978"/>
                  <a:gd name="connsiteY16" fmla="*/ 125939 h 147767"/>
                  <a:gd name="connsiteX17" fmla="*/ 102302 w 157978"/>
                  <a:gd name="connsiteY17" fmla="*/ 125939 h 147767"/>
                  <a:gd name="connsiteX18" fmla="*/ 123656 w 157978"/>
                  <a:gd name="connsiteY18" fmla="*/ 122888 h 147767"/>
                  <a:gd name="connsiteX19" fmla="*/ 123656 w 157978"/>
                  <a:gd name="connsiteY19" fmla="*/ 98482 h 147767"/>
                  <a:gd name="connsiteX20" fmla="*/ 138911 w 157978"/>
                  <a:gd name="connsiteY20" fmla="*/ 92380 h 147767"/>
                  <a:gd name="connsiteX21" fmla="*/ 141962 w 157978"/>
                  <a:gd name="connsiteY21" fmla="*/ 67973 h 147767"/>
                  <a:gd name="connsiteX22" fmla="*/ 151115 w 157978"/>
                  <a:gd name="connsiteY22" fmla="*/ 58820 h 147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57978" h="147767">
                    <a:moveTo>
                      <a:pt x="151115" y="58820"/>
                    </a:moveTo>
                    <a:cubicBezTo>
                      <a:pt x="160267" y="49668"/>
                      <a:pt x="160267" y="37465"/>
                      <a:pt x="151115" y="31363"/>
                    </a:cubicBezTo>
                    <a:cubicBezTo>
                      <a:pt x="129758" y="13057"/>
                      <a:pt x="96200" y="13057"/>
                      <a:pt x="65691" y="3905"/>
                    </a:cubicBezTo>
                    <a:cubicBezTo>
                      <a:pt x="62639" y="3905"/>
                      <a:pt x="53487" y="-2197"/>
                      <a:pt x="53487" y="854"/>
                    </a:cubicBezTo>
                    <a:cubicBezTo>
                      <a:pt x="47385" y="854"/>
                      <a:pt x="44335" y="854"/>
                      <a:pt x="38233" y="854"/>
                    </a:cubicBezTo>
                    <a:cubicBezTo>
                      <a:pt x="26031" y="3905"/>
                      <a:pt x="13827" y="16109"/>
                      <a:pt x="19929" y="28312"/>
                    </a:cubicBezTo>
                    <a:cubicBezTo>
                      <a:pt x="19929" y="28312"/>
                      <a:pt x="19929" y="31363"/>
                      <a:pt x="22979" y="31363"/>
                    </a:cubicBezTo>
                    <a:cubicBezTo>
                      <a:pt x="22979" y="31363"/>
                      <a:pt x="19929" y="31363"/>
                      <a:pt x="19929" y="31363"/>
                    </a:cubicBezTo>
                    <a:cubicBezTo>
                      <a:pt x="7724" y="34414"/>
                      <a:pt x="-4478" y="46617"/>
                      <a:pt x="1622" y="58820"/>
                    </a:cubicBezTo>
                    <a:cubicBezTo>
                      <a:pt x="1622" y="64922"/>
                      <a:pt x="7724" y="67973"/>
                      <a:pt x="10776" y="71024"/>
                    </a:cubicBezTo>
                    <a:cubicBezTo>
                      <a:pt x="4674" y="74074"/>
                      <a:pt x="1622" y="83228"/>
                      <a:pt x="4674" y="89329"/>
                    </a:cubicBezTo>
                    <a:cubicBezTo>
                      <a:pt x="7724" y="98482"/>
                      <a:pt x="13827" y="101533"/>
                      <a:pt x="22979" y="104583"/>
                    </a:cubicBezTo>
                    <a:cubicBezTo>
                      <a:pt x="16877" y="107634"/>
                      <a:pt x="13827" y="113736"/>
                      <a:pt x="16877" y="119837"/>
                    </a:cubicBezTo>
                    <a:cubicBezTo>
                      <a:pt x="19929" y="128990"/>
                      <a:pt x="32131" y="132041"/>
                      <a:pt x="41285" y="135091"/>
                    </a:cubicBezTo>
                    <a:cubicBezTo>
                      <a:pt x="53487" y="138142"/>
                      <a:pt x="65691" y="141193"/>
                      <a:pt x="77894" y="144245"/>
                    </a:cubicBezTo>
                    <a:cubicBezTo>
                      <a:pt x="87048" y="147296"/>
                      <a:pt x="96200" y="150346"/>
                      <a:pt x="102302" y="144245"/>
                    </a:cubicBezTo>
                    <a:cubicBezTo>
                      <a:pt x="108402" y="138142"/>
                      <a:pt x="105352" y="132041"/>
                      <a:pt x="102302" y="125939"/>
                    </a:cubicBezTo>
                    <a:lnTo>
                      <a:pt x="102302" y="125939"/>
                    </a:lnTo>
                    <a:cubicBezTo>
                      <a:pt x="108402" y="125939"/>
                      <a:pt x="117556" y="125939"/>
                      <a:pt x="123656" y="122888"/>
                    </a:cubicBezTo>
                    <a:cubicBezTo>
                      <a:pt x="132810" y="116787"/>
                      <a:pt x="129758" y="107634"/>
                      <a:pt x="123656" y="98482"/>
                    </a:cubicBezTo>
                    <a:cubicBezTo>
                      <a:pt x="129758" y="98482"/>
                      <a:pt x="132810" y="98482"/>
                      <a:pt x="138911" y="92380"/>
                    </a:cubicBezTo>
                    <a:cubicBezTo>
                      <a:pt x="148065" y="86279"/>
                      <a:pt x="145013" y="74074"/>
                      <a:pt x="141962" y="67973"/>
                    </a:cubicBezTo>
                    <a:cubicBezTo>
                      <a:pt x="138911" y="64922"/>
                      <a:pt x="145013" y="64922"/>
                      <a:pt x="151115" y="58820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9E9D3E08-DBEA-42D8-B240-09AF16905FE7}"/>
                  </a:ext>
                </a:extLst>
              </p:cNvPr>
              <p:cNvSpPr/>
              <p:nvPr/>
            </p:nvSpPr>
            <p:spPr>
              <a:xfrm>
                <a:off x="22996391" y="9773991"/>
                <a:ext cx="155087" cy="99591"/>
              </a:xfrm>
              <a:custGeom>
                <a:avLst/>
                <a:gdLst>
                  <a:gd name="connsiteX0" fmla="*/ 116189 w 155087"/>
                  <a:gd name="connsiteY0" fmla="*/ 99592 h 99591"/>
                  <a:gd name="connsiteX1" fmla="*/ 55173 w 155087"/>
                  <a:gd name="connsiteY1" fmla="*/ 90440 h 99591"/>
                  <a:gd name="connsiteX2" fmla="*/ 258 w 155087"/>
                  <a:gd name="connsiteY2" fmla="*/ 53829 h 99591"/>
                  <a:gd name="connsiteX3" fmla="*/ 24664 w 155087"/>
                  <a:gd name="connsiteY3" fmla="*/ 26372 h 99591"/>
                  <a:gd name="connsiteX4" fmla="*/ 24664 w 155087"/>
                  <a:gd name="connsiteY4" fmla="*/ 17219 h 99591"/>
                  <a:gd name="connsiteX5" fmla="*/ 30766 w 155087"/>
                  <a:gd name="connsiteY5" fmla="*/ 5015 h 99591"/>
                  <a:gd name="connsiteX6" fmla="*/ 131444 w 155087"/>
                  <a:gd name="connsiteY6" fmla="*/ 14169 h 99591"/>
                  <a:gd name="connsiteX7" fmla="*/ 134494 w 155087"/>
                  <a:gd name="connsiteY7" fmla="*/ 20270 h 99591"/>
                  <a:gd name="connsiteX8" fmla="*/ 128394 w 155087"/>
                  <a:gd name="connsiteY8" fmla="*/ 23321 h 99591"/>
                  <a:gd name="connsiteX9" fmla="*/ 39918 w 155087"/>
                  <a:gd name="connsiteY9" fmla="*/ 11118 h 99591"/>
                  <a:gd name="connsiteX10" fmla="*/ 36868 w 155087"/>
                  <a:gd name="connsiteY10" fmla="*/ 14169 h 99591"/>
                  <a:gd name="connsiteX11" fmla="*/ 140596 w 155087"/>
                  <a:gd name="connsiteY11" fmla="*/ 53829 h 99591"/>
                  <a:gd name="connsiteX12" fmla="*/ 152800 w 155087"/>
                  <a:gd name="connsiteY12" fmla="*/ 62981 h 99591"/>
                  <a:gd name="connsiteX13" fmla="*/ 152800 w 155087"/>
                  <a:gd name="connsiteY13" fmla="*/ 81287 h 99591"/>
                  <a:gd name="connsiteX14" fmla="*/ 116189 w 155087"/>
                  <a:gd name="connsiteY14" fmla="*/ 99592 h 99591"/>
                  <a:gd name="connsiteX15" fmla="*/ 30766 w 155087"/>
                  <a:gd name="connsiteY15" fmla="*/ 38575 h 99591"/>
                  <a:gd name="connsiteX16" fmla="*/ 12460 w 155087"/>
                  <a:gd name="connsiteY16" fmla="*/ 56880 h 99591"/>
                  <a:gd name="connsiteX17" fmla="*/ 58223 w 155087"/>
                  <a:gd name="connsiteY17" fmla="*/ 81287 h 99591"/>
                  <a:gd name="connsiteX18" fmla="*/ 140596 w 155087"/>
                  <a:gd name="connsiteY18" fmla="*/ 84338 h 99591"/>
                  <a:gd name="connsiteX19" fmla="*/ 140596 w 155087"/>
                  <a:gd name="connsiteY19" fmla="*/ 78236 h 99591"/>
                  <a:gd name="connsiteX20" fmla="*/ 137546 w 155087"/>
                  <a:gd name="connsiteY20" fmla="*/ 75186 h 99591"/>
                  <a:gd name="connsiteX21" fmla="*/ 30766 w 155087"/>
                  <a:gd name="connsiteY21" fmla="*/ 38575 h 99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55087" h="99591">
                    <a:moveTo>
                      <a:pt x="116189" y="99592"/>
                    </a:moveTo>
                    <a:cubicBezTo>
                      <a:pt x="100935" y="99592"/>
                      <a:pt x="79579" y="96541"/>
                      <a:pt x="55173" y="90440"/>
                    </a:cubicBezTo>
                    <a:cubicBezTo>
                      <a:pt x="21614" y="81287"/>
                      <a:pt x="-2794" y="75186"/>
                      <a:pt x="258" y="53829"/>
                    </a:cubicBezTo>
                    <a:cubicBezTo>
                      <a:pt x="258" y="38575"/>
                      <a:pt x="18562" y="29423"/>
                      <a:pt x="24664" y="26372"/>
                    </a:cubicBezTo>
                    <a:cubicBezTo>
                      <a:pt x="24664" y="23321"/>
                      <a:pt x="24664" y="20270"/>
                      <a:pt x="24664" y="17219"/>
                    </a:cubicBezTo>
                    <a:cubicBezTo>
                      <a:pt x="24664" y="11118"/>
                      <a:pt x="27714" y="8067"/>
                      <a:pt x="30766" y="5015"/>
                    </a:cubicBezTo>
                    <a:cubicBezTo>
                      <a:pt x="52122" y="-10239"/>
                      <a:pt x="122292" y="14169"/>
                      <a:pt x="131444" y="14169"/>
                    </a:cubicBezTo>
                    <a:cubicBezTo>
                      <a:pt x="134494" y="14169"/>
                      <a:pt x="137546" y="17219"/>
                      <a:pt x="134494" y="20270"/>
                    </a:cubicBezTo>
                    <a:cubicBezTo>
                      <a:pt x="134494" y="23321"/>
                      <a:pt x="131444" y="26372"/>
                      <a:pt x="128394" y="23321"/>
                    </a:cubicBezTo>
                    <a:cubicBezTo>
                      <a:pt x="100935" y="14169"/>
                      <a:pt x="52122" y="1964"/>
                      <a:pt x="39918" y="11118"/>
                    </a:cubicBezTo>
                    <a:cubicBezTo>
                      <a:pt x="39918" y="11118"/>
                      <a:pt x="36868" y="14169"/>
                      <a:pt x="36868" y="14169"/>
                    </a:cubicBezTo>
                    <a:cubicBezTo>
                      <a:pt x="36868" y="23321"/>
                      <a:pt x="33816" y="38575"/>
                      <a:pt x="140596" y="53829"/>
                    </a:cubicBezTo>
                    <a:cubicBezTo>
                      <a:pt x="140596" y="53829"/>
                      <a:pt x="149748" y="56880"/>
                      <a:pt x="152800" y="62981"/>
                    </a:cubicBezTo>
                    <a:cubicBezTo>
                      <a:pt x="155850" y="69083"/>
                      <a:pt x="155850" y="72135"/>
                      <a:pt x="152800" y="81287"/>
                    </a:cubicBezTo>
                    <a:cubicBezTo>
                      <a:pt x="146698" y="96541"/>
                      <a:pt x="134494" y="99592"/>
                      <a:pt x="116189" y="99592"/>
                    </a:cubicBezTo>
                    <a:close/>
                    <a:moveTo>
                      <a:pt x="30766" y="38575"/>
                    </a:moveTo>
                    <a:cubicBezTo>
                      <a:pt x="24664" y="41626"/>
                      <a:pt x="12460" y="47727"/>
                      <a:pt x="12460" y="56880"/>
                    </a:cubicBezTo>
                    <a:cubicBezTo>
                      <a:pt x="12460" y="66032"/>
                      <a:pt x="27714" y="72135"/>
                      <a:pt x="58223" y="81287"/>
                    </a:cubicBezTo>
                    <a:cubicBezTo>
                      <a:pt x="113139" y="96541"/>
                      <a:pt x="137546" y="93490"/>
                      <a:pt x="140596" y="84338"/>
                    </a:cubicBezTo>
                    <a:cubicBezTo>
                      <a:pt x="140596" y="81287"/>
                      <a:pt x="140596" y="78236"/>
                      <a:pt x="140596" y="78236"/>
                    </a:cubicBezTo>
                    <a:cubicBezTo>
                      <a:pt x="140596" y="75186"/>
                      <a:pt x="137546" y="75186"/>
                      <a:pt x="137546" y="75186"/>
                    </a:cubicBezTo>
                    <a:cubicBezTo>
                      <a:pt x="67377" y="59931"/>
                      <a:pt x="39918" y="50778"/>
                      <a:pt x="30766" y="3857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33C4B7FE-351F-4AE9-98BA-0C6AD36E0D15}"/>
                  </a:ext>
                </a:extLst>
              </p:cNvPr>
              <p:cNvSpPr/>
              <p:nvPr/>
            </p:nvSpPr>
            <p:spPr>
              <a:xfrm>
                <a:off x="22999085" y="9840786"/>
                <a:ext cx="132997" cy="69407"/>
              </a:xfrm>
              <a:custGeom>
                <a:avLst/>
                <a:gdLst>
                  <a:gd name="connsiteX0" fmla="*/ 113496 w 132997"/>
                  <a:gd name="connsiteY0" fmla="*/ 66356 h 69407"/>
                  <a:gd name="connsiteX1" fmla="*/ 25020 w 132997"/>
                  <a:gd name="connsiteY1" fmla="*/ 48051 h 69407"/>
                  <a:gd name="connsiteX2" fmla="*/ 614 w 132997"/>
                  <a:gd name="connsiteY2" fmla="*/ 26695 h 69407"/>
                  <a:gd name="connsiteX3" fmla="*/ 9766 w 132997"/>
                  <a:gd name="connsiteY3" fmla="*/ 2288 h 69407"/>
                  <a:gd name="connsiteX4" fmla="*/ 18920 w 132997"/>
                  <a:gd name="connsiteY4" fmla="*/ 2288 h 69407"/>
                  <a:gd name="connsiteX5" fmla="*/ 18920 w 132997"/>
                  <a:gd name="connsiteY5" fmla="*/ 11440 h 69407"/>
                  <a:gd name="connsiteX6" fmla="*/ 18920 w 132997"/>
                  <a:gd name="connsiteY6" fmla="*/ 11440 h 69407"/>
                  <a:gd name="connsiteX7" fmla="*/ 12818 w 132997"/>
                  <a:gd name="connsiteY7" fmla="*/ 23645 h 69407"/>
                  <a:gd name="connsiteX8" fmla="*/ 28072 w 132997"/>
                  <a:gd name="connsiteY8" fmla="*/ 38899 h 69407"/>
                  <a:gd name="connsiteX9" fmla="*/ 116546 w 132997"/>
                  <a:gd name="connsiteY9" fmla="*/ 57203 h 69407"/>
                  <a:gd name="connsiteX10" fmla="*/ 119598 w 132997"/>
                  <a:gd name="connsiteY10" fmla="*/ 54153 h 69407"/>
                  <a:gd name="connsiteX11" fmla="*/ 116546 w 132997"/>
                  <a:gd name="connsiteY11" fmla="*/ 38899 h 69407"/>
                  <a:gd name="connsiteX12" fmla="*/ 116546 w 132997"/>
                  <a:gd name="connsiteY12" fmla="*/ 29746 h 69407"/>
                  <a:gd name="connsiteX13" fmla="*/ 125700 w 132997"/>
                  <a:gd name="connsiteY13" fmla="*/ 29746 h 69407"/>
                  <a:gd name="connsiteX14" fmla="*/ 131800 w 132997"/>
                  <a:gd name="connsiteY14" fmla="*/ 57203 h 69407"/>
                  <a:gd name="connsiteX15" fmla="*/ 116546 w 132997"/>
                  <a:gd name="connsiteY15" fmla="*/ 69407 h 69407"/>
                  <a:gd name="connsiteX16" fmla="*/ 113496 w 132997"/>
                  <a:gd name="connsiteY16" fmla="*/ 66356 h 69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2997" h="69407">
                    <a:moveTo>
                      <a:pt x="113496" y="66356"/>
                    </a:moveTo>
                    <a:cubicBezTo>
                      <a:pt x="95191" y="66356"/>
                      <a:pt x="55529" y="60254"/>
                      <a:pt x="25020" y="48051"/>
                    </a:cubicBezTo>
                    <a:cubicBezTo>
                      <a:pt x="12818" y="41949"/>
                      <a:pt x="3666" y="35848"/>
                      <a:pt x="614" y="26695"/>
                    </a:cubicBezTo>
                    <a:cubicBezTo>
                      <a:pt x="-2436" y="14491"/>
                      <a:pt x="6716" y="2288"/>
                      <a:pt x="9766" y="2288"/>
                    </a:cubicBezTo>
                    <a:cubicBezTo>
                      <a:pt x="12818" y="-763"/>
                      <a:pt x="15868" y="-763"/>
                      <a:pt x="18920" y="2288"/>
                    </a:cubicBezTo>
                    <a:cubicBezTo>
                      <a:pt x="21970" y="5339"/>
                      <a:pt x="21970" y="8390"/>
                      <a:pt x="18920" y="11440"/>
                    </a:cubicBezTo>
                    <a:lnTo>
                      <a:pt x="18920" y="11440"/>
                    </a:lnTo>
                    <a:cubicBezTo>
                      <a:pt x="18920" y="11440"/>
                      <a:pt x="12818" y="17543"/>
                      <a:pt x="12818" y="23645"/>
                    </a:cubicBezTo>
                    <a:cubicBezTo>
                      <a:pt x="12818" y="29746"/>
                      <a:pt x="21970" y="35848"/>
                      <a:pt x="28072" y="38899"/>
                    </a:cubicBezTo>
                    <a:cubicBezTo>
                      <a:pt x="61631" y="54153"/>
                      <a:pt x="104343" y="60254"/>
                      <a:pt x="116546" y="57203"/>
                    </a:cubicBezTo>
                    <a:cubicBezTo>
                      <a:pt x="116546" y="57203"/>
                      <a:pt x="119598" y="57203"/>
                      <a:pt x="119598" y="54153"/>
                    </a:cubicBezTo>
                    <a:cubicBezTo>
                      <a:pt x="122648" y="48051"/>
                      <a:pt x="119598" y="41949"/>
                      <a:pt x="116546" y="38899"/>
                    </a:cubicBezTo>
                    <a:cubicBezTo>
                      <a:pt x="113496" y="35848"/>
                      <a:pt x="113496" y="32797"/>
                      <a:pt x="116546" y="29746"/>
                    </a:cubicBezTo>
                    <a:cubicBezTo>
                      <a:pt x="119598" y="26695"/>
                      <a:pt x="122648" y="26695"/>
                      <a:pt x="125700" y="29746"/>
                    </a:cubicBezTo>
                    <a:cubicBezTo>
                      <a:pt x="131800" y="35848"/>
                      <a:pt x="134852" y="48051"/>
                      <a:pt x="131800" y="57203"/>
                    </a:cubicBezTo>
                    <a:cubicBezTo>
                      <a:pt x="128750" y="63305"/>
                      <a:pt x="125700" y="69407"/>
                      <a:pt x="116546" y="69407"/>
                    </a:cubicBezTo>
                    <a:cubicBezTo>
                      <a:pt x="116546" y="66356"/>
                      <a:pt x="113496" y="66356"/>
                      <a:pt x="113496" y="6635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2" name="图形 114">
              <a:extLst>
                <a:ext uri="{FF2B5EF4-FFF2-40B4-BE49-F238E27FC236}">
                  <a16:creationId xmlns:a16="http://schemas.microsoft.com/office/drawing/2014/main" id="{44C9BC7F-C2F5-4C64-8943-0D4D7CA21316}"/>
                </a:ext>
              </a:extLst>
            </p:cNvPr>
            <p:cNvGrpSpPr/>
            <p:nvPr/>
          </p:nvGrpSpPr>
          <p:grpSpPr>
            <a:xfrm>
              <a:off x="23639113" y="9933967"/>
              <a:ext cx="272789" cy="279172"/>
              <a:chOff x="23639113" y="9933967"/>
              <a:chExt cx="272789" cy="279172"/>
            </a:xfrm>
          </p:grpSpPr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3EEEEADB-12B1-4824-AAA1-24DAC75A8D94}"/>
                  </a:ext>
                </a:extLst>
              </p:cNvPr>
              <p:cNvSpPr/>
              <p:nvPr/>
            </p:nvSpPr>
            <p:spPr>
              <a:xfrm>
                <a:off x="23646181" y="9941686"/>
                <a:ext cx="265722" cy="271453"/>
              </a:xfrm>
              <a:custGeom>
                <a:avLst/>
                <a:gdLst>
                  <a:gd name="connsiteX0" fmla="*/ 265722 w 265722"/>
                  <a:gd name="connsiteY0" fmla="*/ 194270 h 271453"/>
                  <a:gd name="connsiteX1" fmla="*/ 207755 w 265722"/>
                  <a:gd name="connsiteY1" fmla="*/ 50880 h 271453"/>
                  <a:gd name="connsiteX2" fmla="*/ 27757 w 265722"/>
                  <a:gd name="connsiteY2" fmla="*/ 8168 h 271453"/>
                  <a:gd name="connsiteX3" fmla="*/ 73519 w 265722"/>
                  <a:gd name="connsiteY3" fmla="*/ 38677 h 271453"/>
                  <a:gd name="connsiteX4" fmla="*/ 298 w 265722"/>
                  <a:gd name="connsiteY4" fmla="*/ 56982 h 271453"/>
                  <a:gd name="connsiteX5" fmla="*/ 18603 w 265722"/>
                  <a:gd name="connsiteY5" fmla="*/ 87490 h 271453"/>
                  <a:gd name="connsiteX6" fmla="*/ 39959 w 265722"/>
                  <a:gd name="connsiteY6" fmla="*/ 121050 h 271453"/>
                  <a:gd name="connsiteX7" fmla="*/ 30807 w 265722"/>
                  <a:gd name="connsiteY7" fmla="*/ 148507 h 271453"/>
                  <a:gd name="connsiteX8" fmla="*/ 119282 w 265722"/>
                  <a:gd name="connsiteY8" fmla="*/ 172914 h 271453"/>
                  <a:gd name="connsiteX9" fmla="*/ 149790 w 265722"/>
                  <a:gd name="connsiteY9" fmla="*/ 240033 h 271453"/>
                  <a:gd name="connsiteX10" fmla="*/ 216908 w 265722"/>
                  <a:gd name="connsiteY10" fmla="*/ 270541 h 271453"/>
                  <a:gd name="connsiteX11" fmla="*/ 265722 w 265722"/>
                  <a:gd name="connsiteY11" fmla="*/ 194270 h 271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5722" h="271453">
                    <a:moveTo>
                      <a:pt x="265722" y="194270"/>
                    </a:moveTo>
                    <a:cubicBezTo>
                      <a:pt x="265722" y="194270"/>
                      <a:pt x="229112" y="72236"/>
                      <a:pt x="207755" y="50880"/>
                    </a:cubicBezTo>
                    <a:cubicBezTo>
                      <a:pt x="186399" y="29524"/>
                      <a:pt x="33857" y="-19289"/>
                      <a:pt x="27757" y="8168"/>
                    </a:cubicBezTo>
                    <a:cubicBezTo>
                      <a:pt x="18603" y="35626"/>
                      <a:pt x="73519" y="38677"/>
                      <a:pt x="73519" y="38677"/>
                    </a:cubicBezTo>
                    <a:cubicBezTo>
                      <a:pt x="73519" y="38677"/>
                      <a:pt x="3348" y="32575"/>
                      <a:pt x="298" y="56982"/>
                    </a:cubicBezTo>
                    <a:cubicBezTo>
                      <a:pt x="-2752" y="81388"/>
                      <a:pt x="18603" y="87490"/>
                      <a:pt x="18603" y="87490"/>
                    </a:cubicBezTo>
                    <a:cubicBezTo>
                      <a:pt x="18603" y="87490"/>
                      <a:pt x="298" y="111897"/>
                      <a:pt x="39959" y="121050"/>
                    </a:cubicBezTo>
                    <a:cubicBezTo>
                      <a:pt x="39959" y="121050"/>
                      <a:pt x="15552" y="139354"/>
                      <a:pt x="30807" y="148507"/>
                    </a:cubicBezTo>
                    <a:cubicBezTo>
                      <a:pt x="46061" y="157659"/>
                      <a:pt x="110128" y="160711"/>
                      <a:pt x="119282" y="172914"/>
                    </a:cubicBezTo>
                    <a:cubicBezTo>
                      <a:pt x="131484" y="185117"/>
                      <a:pt x="128434" y="218676"/>
                      <a:pt x="149790" y="240033"/>
                    </a:cubicBezTo>
                    <a:cubicBezTo>
                      <a:pt x="189451" y="279693"/>
                      <a:pt x="216908" y="270541"/>
                      <a:pt x="216908" y="270541"/>
                    </a:cubicBezTo>
                    <a:lnTo>
                      <a:pt x="265722" y="194270"/>
                    </a:ln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ADAD876D-1149-4910-963F-B00BDB976530}"/>
                  </a:ext>
                </a:extLst>
              </p:cNvPr>
              <p:cNvSpPr/>
              <p:nvPr/>
            </p:nvSpPr>
            <p:spPr>
              <a:xfrm>
                <a:off x="23664783" y="9933967"/>
                <a:ext cx="237967" cy="153175"/>
              </a:xfrm>
              <a:custGeom>
                <a:avLst/>
                <a:gdLst>
                  <a:gd name="connsiteX0" fmla="*/ 228814 w 237967"/>
                  <a:gd name="connsiteY0" fmla="*/ 153175 h 153175"/>
                  <a:gd name="connsiteX1" fmla="*/ 222713 w 237967"/>
                  <a:gd name="connsiteY1" fmla="*/ 147073 h 153175"/>
                  <a:gd name="connsiteX2" fmla="*/ 183051 w 237967"/>
                  <a:gd name="connsiteY2" fmla="*/ 61650 h 153175"/>
                  <a:gd name="connsiteX3" fmla="*/ 21356 w 237967"/>
                  <a:gd name="connsiteY3" fmla="*/ 12836 h 153175"/>
                  <a:gd name="connsiteX4" fmla="*/ 9154 w 237967"/>
                  <a:gd name="connsiteY4" fmla="*/ 15887 h 153175"/>
                  <a:gd name="connsiteX5" fmla="*/ 54917 w 237967"/>
                  <a:gd name="connsiteY5" fmla="*/ 40293 h 153175"/>
                  <a:gd name="connsiteX6" fmla="*/ 61017 w 237967"/>
                  <a:gd name="connsiteY6" fmla="*/ 46396 h 153175"/>
                  <a:gd name="connsiteX7" fmla="*/ 54917 w 237967"/>
                  <a:gd name="connsiteY7" fmla="*/ 52498 h 153175"/>
                  <a:gd name="connsiteX8" fmla="*/ 0 w 237967"/>
                  <a:gd name="connsiteY8" fmla="*/ 15887 h 153175"/>
                  <a:gd name="connsiteX9" fmla="*/ 21356 w 237967"/>
                  <a:gd name="connsiteY9" fmla="*/ 633 h 153175"/>
                  <a:gd name="connsiteX10" fmla="*/ 192205 w 237967"/>
                  <a:gd name="connsiteY10" fmla="*/ 49447 h 153175"/>
                  <a:gd name="connsiteX11" fmla="*/ 237968 w 237967"/>
                  <a:gd name="connsiteY11" fmla="*/ 140972 h 153175"/>
                  <a:gd name="connsiteX12" fmla="*/ 228814 w 237967"/>
                  <a:gd name="connsiteY12" fmla="*/ 153175 h 153175"/>
                  <a:gd name="connsiteX13" fmla="*/ 228814 w 237967"/>
                  <a:gd name="connsiteY13" fmla="*/ 153175 h 153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7967" h="153175">
                    <a:moveTo>
                      <a:pt x="228814" y="153175"/>
                    </a:moveTo>
                    <a:cubicBezTo>
                      <a:pt x="225763" y="153175"/>
                      <a:pt x="222713" y="150124"/>
                      <a:pt x="222713" y="147073"/>
                    </a:cubicBezTo>
                    <a:cubicBezTo>
                      <a:pt x="219661" y="128769"/>
                      <a:pt x="207459" y="73853"/>
                      <a:pt x="183051" y="61650"/>
                    </a:cubicBezTo>
                    <a:cubicBezTo>
                      <a:pt x="155594" y="46396"/>
                      <a:pt x="61017" y="9785"/>
                      <a:pt x="21356" y="12836"/>
                    </a:cubicBezTo>
                    <a:cubicBezTo>
                      <a:pt x="12204" y="12836"/>
                      <a:pt x="9154" y="15887"/>
                      <a:pt x="9154" y="15887"/>
                    </a:cubicBezTo>
                    <a:cubicBezTo>
                      <a:pt x="9154" y="21989"/>
                      <a:pt x="33560" y="37243"/>
                      <a:pt x="54917" y="40293"/>
                    </a:cubicBezTo>
                    <a:cubicBezTo>
                      <a:pt x="57967" y="40293"/>
                      <a:pt x="61017" y="43344"/>
                      <a:pt x="61017" y="46396"/>
                    </a:cubicBezTo>
                    <a:cubicBezTo>
                      <a:pt x="61017" y="49447"/>
                      <a:pt x="57967" y="52498"/>
                      <a:pt x="54917" y="52498"/>
                    </a:cubicBezTo>
                    <a:cubicBezTo>
                      <a:pt x="36611" y="49447"/>
                      <a:pt x="0" y="34192"/>
                      <a:pt x="0" y="15887"/>
                    </a:cubicBezTo>
                    <a:cubicBezTo>
                      <a:pt x="0" y="6735"/>
                      <a:pt x="9154" y="3684"/>
                      <a:pt x="21356" y="633"/>
                    </a:cubicBezTo>
                    <a:cubicBezTo>
                      <a:pt x="67119" y="-5469"/>
                      <a:pt x="161696" y="34192"/>
                      <a:pt x="192205" y="49447"/>
                    </a:cubicBezTo>
                    <a:cubicBezTo>
                      <a:pt x="225763" y="67752"/>
                      <a:pt x="234916" y="137921"/>
                      <a:pt x="237968" y="140972"/>
                    </a:cubicBezTo>
                    <a:cubicBezTo>
                      <a:pt x="234916" y="147073"/>
                      <a:pt x="231866" y="150124"/>
                      <a:pt x="228814" y="153175"/>
                    </a:cubicBezTo>
                    <a:cubicBezTo>
                      <a:pt x="228814" y="153175"/>
                      <a:pt x="228814" y="153175"/>
                      <a:pt x="228814" y="15317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BFB43F26-9787-4EE3-9B4E-12EDE8BA9A48}"/>
                  </a:ext>
                </a:extLst>
              </p:cNvPr>
              <p:cNvSpPr/>
              <p:nvPr/>
            </p:nvSpPr>
            <p:spPr>
              <a:xfrm>
                <a:off x="23777665" y="9996380"/>
                <a:ext cx="54152" cy="78559"/>
              </a:xfrm>
              <a:custGeom>
                <a:avLst/>
                <a:gdLst>
                  <a:gd name="connsiteX0" fmla="*/ 6102 w 54152"/>
                  <a:gd name="connsiteY0" fmla="*/ 78559 h 78559"/>
                  <a:gd name="connsiteX1" fmla="*/ 6102 w 54152"/>
                  <a:gd name="connsiteY1" fmla="*/ 78559 h 78559"/>
                  <a:gd name="connsiteX2" fmla="*/ 0 w 54152"/>
                  <a:gd name="connsiteY2" fmla="*/ 69406 h 78559"/>
                  <a:gd name="connsiteX3" fmla="*/ 42713 w 54152"/>
                  <a:gd name="connsiteY3" fmla="*/ 2288 h 78559"/>
                  <a:gd name="connsiteX4" fmla="*/ 51865 w 54152"/>
                  <a:gd name="connsiteY4" fmla="*/ 2288 h 78559"/>
                  <a:gd name="connsiteX5" fmla="*/ 51865 w 54152"/>
                  <a:gd name="connsiteY5" fmla="*/ 11440 h 78559"/>
                  <a:gd name="connsiteX6" fmla="*/ 12204 w 54152"/>
                  <a:gd name="connsiteY6" fmla="*/ 72457 h 78559"/>
                  <a:gd name="connsiteX7" fmla="*/ 6102 w 54152"/>
                  <a:gd name="connsiteY7" fmla="*/ 78559 h 78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152" h="78559">
                    <a:moveTo>
                      <a:pt x="6102" y="78559"/>
                    </a:moveTo>
                    <a:cubicBezTo>
                      <a:pt x="3052" y="78559"/>
                      <a:pt x="3052" y="78559"/>
                      <a:pt x="6102" y="78559"/>
                    </a:cubicBezTo>
                    <a:cubicBezTo>
                      <a:pt x="0" y="78559"/>
                      <a:pt x="0" y="72457"/>
                      <a:pt x="0" y="69406"/>
                    </a:cubicBezTo>
                    <a:cubicBezTo>
                      <a:pt x="12204" y="32797"/>
                      <a:pt x="42713" y="5339"/>
                      <a:pt x="42713" y="2288"/>
                    </a:cubicBezTo>
                    <a:cubicBezTo>
                      <a:pt x="45763" y="-763"/>
                      <a:pt x="48815" y="-763"/>
                      <a:pt x="51865" y="2288"/>
                    </a:cubicBezTo>
                    <a:cubicBezTo>
                      <a:pt x="54915" y="5339"/>
                      <a:pt x="54915" y="8389"/>
                      <a:pt x="51865" y="11440"/>
                    </a:cubicBezTo>
                    <a:cubicBezTo>
                      <a:pt x="51865" y="11440"/>
                      <a:pt x="21356" y="38898"/>
                      <a:pt x="12204" y="72457"/>
                    </a:cubicBezTo>
                    <a:cubicBezTo>
                      <a:pt x="9152" y="75508"/>
                      <a:pt x="9152" y="78559"/>
                      <a:pt x="6102" y="7855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96EBC191-B3FE-418E-82F0-CCBCABFC4BAD}"/>
                  </a:ext>
                </a:extLst>
              </p:cNvPr>
              <p:cNvSpPr/>
              <p:nvPr/>
            </p:nvSpPr>
            <p:spPr>
              <a:xfrm>
                <a:off x="23639113" y="9970524"/>
                <a:ext cx="175162" cy="70855"/>
              </a:xfrm>
              <a:custGeom>
                <a:avLst/>
                <a:gdLst>
                  <a:gd name="connsiteX0" fmla="*/ 147704 w 175162"/>
                  <a:gd name="connsiteY0" fmla="*/ 70855 h 70855"/>
                  <a:gd name="connsiteX1" fmla="*/ 147704 w 175162"/>
                  <a:gd name="connsiteY1" fmla="*/ 70855 h 70855"/>
                  <a:gd name="connsiteX2" fmla="*/ 37874 w 175162"/>
                  <a:gd name="connsiteY2" fmla="*/ 58652 h 70855"/>
                  <a:gd name="connsiteX3" fmla="*/ 1263 w 175162"/>
                  <a:gd name="connsiteY3" fmla="*/ 40347 h 70855"/>
                  <a:gd name="connsiteX4" fmla="*/ 4315 w 175162"/>
                  <a:gd name="connsiteY4" fmla="*/ 22041 h 70855"/>
                  <a:gd name="connsiteX5" fmla="*/ 47026 w 175162"/>
                  <a:gd name="connsiteY5" fmla="*/ 686 h 70855"/>
                  <a:gd name="connsiteX6" fmla="*/ 172112 w 175162"/>
                  <a:gd name="connsiteY6" fmla="*/ 31195 h 70855"/>
                  <a:gd name="connsiteX7" fmla="*/ 175162 w 175162"/>
                  <a:gd name="connsiteY7" fmla="*/ 40347 h 70855"/>
                  <a:gd name="connsiteX8" fmla="*/ 166010 w 175162"/>
                  <a:gd name="connsiteY8" fmla="*/ 43398 h 70855"/>
                  <a:gd name="connsiteX9" fmla="*/ 47026 w 175162"/>
                  <a:gd name="connsiteY9" fmla="*/ 12889 h 70855"/>
                  <a:gd name="connsiteX10" fmla="*/ 13467 w 175162"/>
                  <a:gd name="connsiteY10" fmla="*/ 28144 h 70855"/>
                  <a:gd name="connsiteX11" fmla="*/ 13467 w 175162"/>
                  <a:gd name="connsiteY11" fmla="*/ 34245 h 70855"/>
                  <a:gd name="connsiteX12" fmla="*/ 37874 w 175162"/>
                  <a:gd name="connsiteY12" fmla="*/ 43398 h 70855"/>
                  <a:gd name="connsiteX13" fmla="*/ 153806 w 175162"/>
                  <a:gd name="connsiteY13" fmla="*/ 55601 h 70855"/>
                  <a:gd name="connsiteX14" fmla="*/ 156858 w 175162"/>
                  <a:gd name="connsiteY14" fmla="*/ 64753 h 70855"/>
                  <a:gd name="connsiteX15" fmla="*/ 147704 w 175162"/>
                  <a:gd name="connsiteY15" fmla="*/ 70855 h 70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5162" h="70855">
                    <a:moveTo>
                      <a:pt x="147704" y="70855"/>
                    </a:moveTo>
                    <a:cubicBezTo>
                      <a:pt x="147704" y="70855"/>
                      <a:pt x="144654" y="70855"/>
                      <a:pt x="147704" y="70855"/>
                    </a:cubicBezTo>
                    <a:cubicBezTo>
                      <a:pt x="98891" y="52550"/>
                      <a:pt x="50078" y="55601"/>
                      <a:pt x="37874" y="58652"/>
                    </a:cubicBezTo>
                    <a:cubicBezTo>
                      <a:pt x="16518" y="61703"/>
                      <a:pt x="4315" y="49499"/>
                      <a:pt x="1263" y="40347"/>
                    </a:cubicBezTo>
                    <a:cubicBezTo>
                      <a:pt x="-1787" y="34245"/>
                      <a:pt x="1263" y="28144"/>
                      <a:pt x="4315" y="22041"/>
                    </a:cubicBezTo>
                    <a:cubicBezTo>
                      <a:pt x="10416" y="12889"/>
                      <a:pt x="25670" y="3736"/>
                      <a:pt x="47026" y="686"/>
                    </a:cubicBezTo>
                    <a:cubicBezTo>
                      <a:pt x="89739" y="-5416"/>
                      <a:pt x="169060" y="31195"/>
                      <a:pt x="172112" y="31195"/>
                    </a:cubicBezTo>
                    <a:cubicBezTo>
                      <a:pt x="175162" y="31195"/>
                      <a:pt x="175162" y="37296"/>
                      <a:pt x="175162" y="40347"/>
                    </a:cubicBezTo>
                    <a:cubicBezTo>
                      <a:pt x="175162" y="43398"/>
                      <a:pt x="169060" y="43398"/>
                      <a:pt x="166010" y="43398"/>
                    </a:cubicBezTo>
                    <a:cubicBezTo>
                      <a:pt x="166010" y="43398"/>
                      <a:pt x="89739" y="6787"/>
                      <a:pt x="47026" y="12889"/>
                    </a:cubicBezTo>
                    <a:cubicBezTo>
                      <a:pt x="22620" y="15940"/>
                      <a:pt x="13467" y="25092"/>
                      <a:pt x="13467" y="28144"/>
                    </a:cubicBezTo>
                    <a:cubicBezTo>
                      <a:pt x="10416" y="31195"/>
                      <a:pt x="13467" y="34245"/>
                      <a:pt x="13467" y="34245"/>
                    </a:cubicBezTo>
                    <a:cubicBezTo>
                      <a:pt x="13467" y="37296"/>
                      <a:pt x="22620" y="46449"/>
                      <a:pt x="37874" y="43398"/>
                    </a:cubicBezTo>
                    <a:cubicBezTo>
                      <a:pt x="56178" y="40347"/>
                      <a:pt x="108043" y="37296"/>
                      <a:pt x="153806" y="55601"/>
                    </a:cubicBezTo>
                    <a:cubicBezTo>
                      <a:pt x="156858" y="55601"/>
                      <a:pt x="159908" y="61703"/>
                      <a:pt x="156858" y="64753"/>
                    </a:cubicBezTo>
                    <a:cubicBezTo>
                      <a:pt x="150756" y="70855"/>
                      <a:pt x="150756" y="70855"/>
                      <a:pt x="147704" y="7085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850DA26B-0DE4-46D5-B98B-3856F9B7B892}"/>
                  </a:ext>
                </a:extLst>
              </p:cNvPr>
              <p:cNvSpPr/>
              <p:nvPr/>
            </p:nvSpPr>
            <p:spPr>
              <a:xfrm>
                <a:off x="23658683" y="10057587"/>
                <a:ext cx="112879" cy="63114"/>
              </a:xfrm>
              <a:custGeom>
                <a:avLst/>
                <a:gdLst>
                  <a:gd name="connsiteX0" fmla="*/ 103728 w 112879"/>
                  <a:gd name="connsiteY0" fmla="*/ 63115 h 63114"/>
                  <a:gd name="connsiteX1" fmla="*/ 97626 w 112879"/>
                  <a:gd name="connsiteY1" fmla="*/ 60064 h 63114"/>
                  <a:gd name="connsiteX2" fmla="*/ 36609 w 112879"/>
                  <a:gd name="connsiteY2" fmla="*/ 41758 h 63114"/>
                  <a:gd name="connsiteX3" fmla="*/ 12202 w 112879"/>
                  <a:gd name="connsiteY3" fmla="*/ 38707 h 63114"/>
                  <a:gd name="connsiteX4" fmla="*/ 0 w 112879"/>
                  <a:gd name="connsiteY4" fmla="*/ 26504 h 63114"/>
                  <a:gd name="connsiteX5" fmla="*/ 21354 w 112879"/>
                  <a:gd name="connsiteY5" fmla="*/ 2098 h 63114"/>
                  <a:gd name="connsiteX6" fmla="*/ 106780 w 112879"/>
                  <a:gd name="connsiteY6" fmla="*/ 5149 h 63114"/>
                  <a:gd name="connsiteX7" fmla="*/ 112880 w 112879"/>
                  <a:gd name="connsiteY7" fmla="*/ 11250 h 63114"/>
                  <a:gd name="connsiteX8" fmla="*/ 106780 w 112879"/>
                  <a:gd name="connsiteY8" fmla="*/ 17352 h 63114"/>
                  <a:gd name="connsiteX9" fmla="*/ 30508 w 112879"/>
                  <a:gd name="connsiteY9" fmla="*/ 14301 h 63114"/>
                  <a:gd name="connsiteX10" fmla="*/ 15254 w 112879"/>
                  <a:gd name="connsiteY10" fmla="*/ 26504 h 63114"/>
                  <a:gd name="connsiteX11" fmla="*/ 18304 w 112879"/>
                  <a:gd name="connsiteY11" fmla="*/ 29555 h 63114"/>
                  <a:gd name="connsiteX12" fmla="*/ 39661 w 112879"/>
                  <a:gd name="connsiteY12" fmla="*/ 32606 h 63114"/>
                  <a:gd name="connsiteX13" fmla="*/ 109830 w 112879"/>
                  <a:gd name="connsiteY13" fmla="*/ 57012 h 63114"/>
                  <a:gd name="connsiteX14" fmla="*/ 103728 w 112879"/>
                  <a:gd name="connsiteY14" fmla="*/ 63115 h 63114"/>
                  <a:gd name="connsiteX15" fmla="*/ 103728 w 112879"/>
                  <a:gd name="connsiteY15" fmla="*/ 63115 h 63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879" h="63114">
                    <a:moveTo>
                      <a:pt x="103728" y="63115"/>
                    </a:moveTo>
                    <a:cubicBezTo>
                      <a:pt x="100678" y="63115"/>
                      <a:pt x="100678" y="63115"/>
                      <a:pt x="97626" y="60064"/>
                    </a:cubicBezTo>
                    <a:cubicBezTo>
                      <a:pt x="94576" y="50911"/>
                      <a:pt x="54915" y="44809"/>
                      <a:pt x="36609" y="41758"/>
                    </a:cubicBezTo>
                    <a:cubicBezTo>
                      <a:pt x="27457" y="41758"/>
                      <a:pt x="18304" y="38707"/>
                      <a:pt x="12202" y="38707"/>
                    </a:cubicBezTo>
                    <a:cubicBezTo>
                      <a:pt x="3050" y="35657"/>
                      <a:pt x="0" y="29555"/>
                      <a:pt x="0" y="26504"/>
                    </a:cubicBezTo>
                    <a:cubicBezTo>
                      <a:pt x="0" y="17352"/>
                      <a:pt x="9152" y="8199"/>
                      <a:pt x="21354" y="2098"/>
                    </a:cubicBezTo>
                    <a:cubicBezTo>
                      <a:pt x="39661" y="-4004"/>
                      <a:pt x="97626" y="5149"/>
                      <a:pt x="106780" y="5149"/>
                    </a:cubicBezTo>
                    <a:cubicBezTo>
                      <a:pt x="109830" y="5149"/>
                      <a:pt x="112880" y="8199"/>
                      <a:pt x="112880" y="11250"/>
                    </a:cubicBezTo>
                    <a:cubicBezTo>
                      <a:pt x="112880" y="14301"/>
                      <a:pt x="109830" y="17352"/>
                      <a:pt x="106780" y="17352"/>
                    </a:cubicBezTo>
                    <a:cubicBezTo>
                      <a:pt x="82371" y="14301"/>
                      <a:pt x="39661" y="8199"/>
                      <a:pt x="30508" y="14301"/>
                    </a:cubicBezTo>
                    <a:cubicBezTo>
                      <a:pt x="21354" y="17352"/>
                      <a:pt x="15254" y="23453"/>
                      <a:pt x="15254" y="26504"/>
                    </a:cubicBezTo>
                    <a:cubicBezTo>
                      <a:pt x="15254" y="26504"/>
                      <a:pt x="18304" y="29555"/>
                      <a:pt x="18304" y="29555"/>
                    </a:cubicBezTo>
                    <a:cubicBezTo>
                      <a:pt x="21354" y="29555"/>
                      <a:pt x="30508" y="32606"/>
                      <a:pt x="39661" y="32606"/>
                    </a:cubicBezTo>
                    <a:cubicBezTo>
                      <a:pt x="76271" y="38707"/>
                      <a:pt x="103728" y="41758"/>
                      <a:pt x="109830" y="57012"/>
                    </a:cubicBezTo>
                    <a:cubicBezTo>
                      <a:pt x="109830" y="57012"/>
                      <a:pt x="109830" y="60064"/>
                      <a:pt x="103728" y="63115"/>
                    </a:cubicBezTo>
                    <a:cubicBezTo>
                      <a:pt x="106780" y="63115"/>
                      <a:pt x="103728" y="63115"/>
                      <a:pt x="103728" y="6311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E61AFF19-223A-45EA-A6BC-F51855307562}"/>
                </a:ext>
              </a:extLst>
            </p:cNvPr>
            <p:cNvSpPr/>
            <p:nvPr/>
          </p:nvSpPr>
          <p:spPr>
            <a:xfrm>
              <a:off x="23964530" y="10185532"/>
              <a:ext cx="147033" cy="176186"/>
            </a:xfrm>
            <a:custGeom>
              <a:avLst/>
              <a:gdLst>
                <a:gd name="connsiteX0" fmla="*/ 142626 w 147033"/>
                <a:gd name="connsiteY0" fmla="*/ 176186 h 176186"/>
                <a:gd name="connsiteX1" fmla="*/ 136526 w 147033"/>
                <a:gd name="connsiteY1" fmla="*/ 173135 h 176186"/>
                <a:gd name="connsiteX2" fmla="*/ 2288 w 147033"/>
                <a:gd name="connsiteY2" fmla="*/ 11441 h 176186"/>
                <a:gd name="connsiteX3" fmla="*/ 2288 w 147033"/>
                <a:gd name="connsiteY3" fmla="*/ 2288 h 176186"/>
                <a:gd name="connsiteX4" fmla="*/ 11440 w 147033"/>
                <a:gd name="connsiteY4" fmla="*/ 2288 h 176186"/>
                <a:gd name="connsiteX5" fmla="*/ 145678 w 147033"/>
                <a:gd name="connsiteY5" fmla="*/ 163983 h 176186"/>
                <a:gd name="connsiteX6" fmla="*/ 145678 w 147033"/>
                <a:gd name="connsiteY6" fmla="*/ 173135 h 176186"/>
                <a:gd name="connsiteX7" fmla="*/ 142626 w 147033"/>
                <a:gd name="connsiteY7" fmla="*/ 176186 h 176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033" h="176186">
                  <a:moveTo>
                    <a:pt x="142626" y="176186"/>
                  </a:moveTo>
                  <a:cubicBezTo>
                    <a:pt x="139576" y="176186"/>
                    <a:pt x="139576" y="176186"/>
                    <a:pt x="136526" y="173135"/>
                  </a:cubicBezTo>
                  <a:cubicBezTo>
                    <a:pt x="96863" y="118220"/>
                    <a:pt x="2288" y="11441"/>
                    <a:pt x="2288" y="11441"/>
                  </a:cubicBezTo>
                  <a:cubicBezTo>
                    <a:pt x="-763" y="8390"/>
                    <a:pt x="-763" y="5339"/>
                    <a:pt x="2288" y="2288"/>
                  </a:cubicBezTo>
                  <a:cubicBezTo>
                    <a:pt x="5338" y="-763"/>
                    <a:pt x="8390" y="-763"/>
                    <a:pt x="11440" y="2288"/>
                  </a:cubicBezTo>
                  <a:cubicBezTo>
                    <a:pt x="11440" y="2288"/>
                    <a:pt x="106017" y="109067"/>
                    <a:pt x="145678" y="163983"/>
                  </a:cubicBezTo>
                  <a:cubicBezTo>
                    <a:pt x="148728" y="167034"/>
                    <a:pt x="145678" y="170084"/>
                    <a:pt x="145678" y="173135"/>
                  </a:cubicBezTo>
                  <a:cubicBezTo>
                    <a:pt x="145678" y="176186"/>
                    <a:pt x="145678" y="176186"/>
                    <a:pt x="142626" y="176186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6864003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图形 1">
            <a:extLst>
              <a:ext uri="{FF2B5EF4-FFF2-40B4-BE49-F238E27FC236}">
                <a16:creationId xmlns:a16="http://schemas.microsoft.com/office/drawing/2014/main" id="{ADD2E898-993B-44F3-84A5-F2BDA22004B6}"/>
              </a:ext>
            </a:extLst>
          </p:cNvPr>
          <p:cNvGrpSpPr/>
          <p:nvPr/>
        </p:nvGrpSpPr>
        <p:grpSpPr>
          <a:xfrm>
            <a:off x="3202484" y="1661058"/>
            <a:ext cx="2158339" cy="5384423"/>
            <a:chOff x="3202484" y="1661058"/>
            <a:chExt cx="2158339" cy="5384423"/>
          </a:xfrm>
        </p:grpSpPr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ADD2E898-993B-44F3-84A5-F2BDA22004B6}"/>
                </a:ext>
              </a:extLst>
            </p:cNvPr>
            <p:cNvGrpSpPr/>
            <p:nvPr/>
          </p:nvGrpSpPr>
          <p:grpSpPr>
            <a:xfrm>
              <a:off x="3662113" y="1661058"/>
              <a:ext cx="324265" cy="275514"/>
              <a:chOff x="3662113" y="1661058"/>
              <a:chExt cx="324265" cy="275514"/>
            </a:xfrm>
          </p:grpSpPr>
          <p:grpSp>
            <p:nvGrpSpPr>
              <p:cNvPr id="6" name="图形 1">
                <a:extLst>
                  <a:ext uri="{FF2B5EF4-FFF2-40B4-BE49-F238E27FC236}">
                    <a16:creationId xmlns:a16="http://schemas.microsoft.com/office/drawing/2014/main" id="{ADD2E898-993B-44F3-84A5-F2BDA22004B6}"/>
                  </a:ext>
                </a:extLst>
              </p:cNvPr>
              <p:cNvGrpSpPr/>
              <p:nvPr/>
            </p:nvGrpSpPr>
            <p:grpSpPr>
              <a:xfrm>
                <a:off x="3668047" y="1661058"/>
                <a:ext cx="318331" cy="275514"/>
                <a:chOff x="3668047" y="1661058"/>
                <a:chExt cx="318331" cy="275514"/>
              </a:xfrm>
            </p:grpSpPr>
            <p:sp>
              <p:nvSpPr>
                <p:cNvPr id="7" name="任意多边形: 形状 6">
                  <a:extLst>
                    <a:ext uri="{FF2B5EF4-FFF2-40B4-BE49-F238E27FC236}">
                      <a16:creationId xmlns:a16="http://schemas.microsoft.com/office/drawing/2014/main" id="{C3BA8998-85E4-4C3E-A6F2-0A73E3912FD0}"/>
                    </a:ext>
                  </a:extLst>
                </p:cNvPr>
                <p:cNvSpPr/>
                <p:nvPr/>
              </p:nvSpPr>
              <p:spPr>
                <a:xfrm>
                  <a:off x="3668047" y="1662782"/>
                  <a:ext cx="318331" cy="273790"/>
                </a:xfrm>
                <a:custGeom>
                  <a:avLst/>
                  <a:gdLst>
                    <a:gd name="connsiteX0" fmla="*/ 112747 w 318331"/>
                    <a:gd name="connsiteY0" fmla="*/ 193358 h 273790"/>
                    <a:gd name="connsiteX1" fmla="*/ 228462 w 318331"/>
                    <a:gd name="connsiteY1" fmla="*/ 273468 h 273790"/>
                    <a:gd name="connsiteX2" fmla="*/ 314506 w 318331"/>
                    <a:gd name="connsiteY2" fmla="*/ 231930 h 273790"/>
                    <a:gd name="connsiteX3" fmla="*/ 287802 w 318331"/>
                    <a:gd name="connsiteY3" fmla="*/ 62809 h 273790"/>
                    <a:gd name="connsiteX4" fmla="*/ 252198 w 318331"/>
                    <a:gd name="connsiteY4" fmla="*/ 68743 h 273790"/>
                    <a:gd name="connsiteX5" fmla="*/ 246264 w 318331"/>
                    <a:gd name="connsiteY5" fmla="*/ 142919 h 273790"/>
                    <a:gd name="connsiteX6" fmla="*/ 103846 w 318331"/>
                    <a:gd name="connsiteY6" fmla="*/ 9402 h 273790"/>
                    <a:gd name="connsiteX7" fmla="*/ 71209 w 318331"/>
                    <a:gd name="connsiteY7" fmla="*/ 9402 h 273790"/>
                    <a:gd name="connsiteX8" fmla="*/ 100879 w 318331"/>
                    <a:gd name="connsiteY8" fmla="*/ 45007 h 273790"/>
                    <a:gd name="connsiteX9" fmla="*/ 142418 w 318331"/>
                    <a:gd name="connsiteY9" fmla="*/ 89512 h 273790"/>
                    <a:gd name="connsiteX10" fmla="*/ 74176 w 318331"/>
                    <a:gd name="connsiteY10" fmla="*/ 45007 h 273790"/>
                    <a:gd name="connsiteX11" fmla="*/ 23736 w 318331"/>
                    <a:gd name="connsiteY11" fmla="*/ 15336 h 273790"/>
                    <a:gd name="connsiteX12" fmla="*/ 0 w 318331"/>
                    <a:gd name="connsiteY12" fmla="*/ 24237 h 273790"/>
                    <a:gd name="connsiteX13" fmla="*/ 11868 w 318331"/>
                    <a:gd name="connsiteY13" fmla="*/ 45007 h 273790"/>
                    <a:gd name="connsiteX14" fmla="*/ 8901 w 318331"/>
                    <a:gd name="connsiteY14" fmla="*/ 45007 h 273790"/>
                    <a:gd name="connsiteX15" fmla="*/ 0 w 318331"/>
                    <a:gd name="connsiteY15" fmla="*/ 50941 h 273790"/>
                    <a:gd name="connsiteX16" fmla="*/ 32637 w 318331"/>
                    <a:gd name="connsiteY16" fmla="*/ 86545 h 273790"/>
                    <a:gd name="connsiteX17" fmla="*/ 56374 w 318331"/>
                    <a:gd name="connsiteY17" fmla="*/ 104347 h 273790"/>
                    <a:gd name="connsiteX18" fmla="*/ 50440 w 318331"/>
                    <a:gd name="connsiteY18" fmla="*/ 101380 h 273790"/>
                    <a:gd name="connsiteX19" fmla="*/ 32637 w 318331"/>
                    <a:gd name="connsiteY19" fmla="*/ 107314 h 273790"/>
                    <a:gd name="connsiteX20" fmla="*/ 112747 w 318331"/>
                    <a:gd name="connsiteY20" fmla="*/ 193358 h 273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18331" h="273790">
                      <a:moveTo>
                        <a:pt x="112747" y="193358"/>
                      </a:moveTo>
                      <a:cubicBezTo>
                        <a:pt x="148352" y="220062"/>
                        <a:pt x="183956" y="270501"/>
                        <a:pt x="228462" y="273468"/>
                      </a:cubicBezTo>
                      <a:cubicBezTo>
                        <a:pt x="258132" y="276435"/>
                        <a:pt x="302637" y="258633"/>
                        <a:pt x="314506" y="231930"/>
                      </a:cubicBezTo>
                      <a:cubicBezTo>
                        <a:pt x="332308" y="193358"/>
                        <a:pt x="281868" y="128084"/>
                        <a:pt x="287802" y="62809"/>
                      </a:cubicBezTo>
                      <a:cubicBezTo>
                        <a:pt x="287802" y="47974"/>
                        <a:pt x="258132" y="47974"/>
                        <a:pt x="252198" y="68743"/>
                      </a:cubicBezTo>
                      <a:cubicBezTo>
                        <a:pt x="246264" y="95446"/>
                        <a:pt x="243297" y="122150"/>
                        <a:pt x="246264" y="142919"/>
                      </a:cubicBezTo>
                      <a:cubicBezTo>
                        <a:pt x="195824" y="101380"/>
                        <a:pt x="163187" y="45007"/>
                        <a:pt x="103846" y="9402"/>
                      </a:cubicBezTo>
                      <a:cubicBezTo>
                        <a:pt x="94945" y="3468"/>
                        <a:pt x="68242" y="-8400"/>
                        <a:pt x="71209" y="9402"/>
                      </a:cubicBezTo>
                      <a:cubicBezTo>
                        <a:pt x="74176" y="21270"/>
                        <a:pt x="91978" y="36106"/>
                        <a:pt x="100879" y="45007"/>
                      </a:cubicBezTo>
                      <a:cubicBezTo>
                        <a:pt x="115714" y="59842"/>
                        <a:pt x="127582" y="74677"/>
                        <a:pt x="142418" y="89512"/>
                      </a:cubicBezTo>
                      <a:cubicBezTo>
                        <a:pt x="118681" y="74677"/>
                        <a:pt x="97912" y="59842"/>
                        <a:pt x="74176" y="45007"/>
                      </a:cubicBezTo>
                      <a:cubicBezTo>
                        <a:pt x="59341" y="36106"/>
                        <a:pt x="41539" y="18303"/>
                        <a:pt x="23736" y="15336"/>
                      </a:cubicBezTo>
                      <a:cubicBezTo>
                        <a:pt x="11868" y="12369"/>
                        <a:pt x="2967" y="15336"/>
                        <a:pt x="0" y="24237"/>
                      </a:cubicBezTo>
                      <a:cubicBezTo>
                        <a:pt x="0" y="24237"/>
                        <a:pt x="5934" y="33139"/>
                        <a:pt x="11868" y="45007"/>
                      </a:cubicBezTo>
                      <a:cubicBezTo>
                        <a:pt x="11868" y="45007"/>
                        <a:pt x="8901" y="45007"/>
                        <a:pt x="8901" y="45007"/>
                      </a:cubicBezTo>
                      <a:cubicBezTo>
                        <a:pt x="5934" y="45007"/>
                        <a:pt x="0" y="47974"/>
                        <a:pt x="0" y="50941"/>
                      </a:cubicBezTo>
                      <a:cubicBezTo>
                        <a:pt x="0" y="65776"/>
                        <a:pt x="17802" y="74677"/>
                        <a:pt x="32637" y="86545"/>
                      </a:cubicBezTo>
                      <a:cubicBezTo>
                        <a:pt x="41539" y="92479"/>
                        <a:pt x="47473" y="98413"/>
                        <a:pt x="56374" y="104347"/>
                      </a:cubicBezTo>
                      <a:cubicBezTo>
                        <a:pt x="53407" y="104347"/>
                        <a:pt x="50440" y="101380"/>
                        <a:pt x="50440" y="101380"/>
                      </a:cubicBezTo>
                      <a:cubicBezTo>
                        <a:pt x="41539" y="98413"/>
                        <a:pt x="35604" y="101380"/>
                        <a:pt x="32637" y="107314"/>
                      </a:cubicBezTo>
                      <a:cubicBezTo>
                        <a:pt x="23736" y="122150"/>
                        <a:pt x="91978" y="175556"/>
                        <a:pt x="112747" y="193358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" name="任意多边形: 形状 7">
                  <a:extLst>
                    <a:ext uri="{FF2B5EF4-FFF2-40B4-BE49-F238E27FC236}">
                      <a16:creationId xmlns:a16="http://schemas.microsoft.com/office/drawing/2014/main" id="{A70C8F2C-D0D6-45E0-91A9-E4E083F7B353}"/>
                    </a:ext>
                  </a:extLst>
                </p:cNvPr>
                <p:cNvSpPr/>
                <p:nvPr/>
              </p:nvSpPr>
              <p:spPr>
                <a:xfrm>
                  <a:off x="3889431" y="1809410"/>
                  <a:ext cx="21912" cy="61565"/>
                </a:xfrm>
                <a:custGeom>
                  <a:avLst/>
                  <a:gdLst>
                    <a:gd name="connsiteX0" fmla="*/ 15978 w 21912"/>
                    <a:gd name="connsiteY0" fmla="*/ 61566 h 61565"/>
                    <a:gd name="connsiteX1" fmla="*/ 13011 w 21912"/>
                    <a:gd name="connsiteY1" fmla="*/ 58599 h 61565"/>
                    <a:gd name="connsiteX2" fmla="*/ 7077 w 21912"/>
                    <a:gd name="connsiteY2" fmla="*/ 2225 h 61565"/>
                    <a:gd name="connsiteX3" fmla="*/ 15978 w 21912"/>
                    <a:gd name="connsiteY3" fmla="*/ 2225 h 61565"/>
                    <a:gd name="connsiteX4" fmla="*/ 15978 w 21912"/>
                    <a:gd name="connsiteY4" fmla="*/ 11126 h 61565"/>
                    <a:gd name="connsiteX5" fmla="*/ 21912 w 21912"/>
                    <a:gd name="connsiteY5" fmla="*/ 52665 h 61565"/>
                    <a:gd name="connsiteX6" fmla="*/ 18945 w 21912"/>
                    <a:gd name="connsiteY6" fmla="*/ 61566 h 61565"/>
                    <a:gd name="connsiteX7" fmla="*/ 15978 w 21912"/>
                    <a:gd name="connsiteY7" fmla="*/ 61566 h 615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912" h="61565">
                      <a:moveTo>
                        <a:pt x="15978" y="61566"/>
                      </a:moveTo>
                      <a:cubicBezTo>
                        <a:pt x="13011" y="61566"/>
                        <a:pt x="13011" y="61566"/>
                        <a:pt x="13011" y="58599"/>
                      </a:cubicBezTo>
                      <a:cubicBezTo>
                        <a:pt x="-7758" y="34863"/>
                        <a:pt x="1143" y="11126"/>
                        <a:pt x="7077" y="2225"/>
                      </a:cubicBezTo>
                      <a:cubicBezTo>
                        <a:pt x="10044" y="-742"/>
                        <a:pt x="13011" y="-742"/>
                        <a:pt x="15978" y="2225"/>
                      </a:cubicBezTo>
                      <a:cubicBezTo>
                        <a:pt x="18945" y="5192"/>
                        <a:pt x="18945" y="8159"/>
                        <a:pt x="15978" y="11126"/>
                      </a:cubicBezTo>
                      <a:cubicBezTo>
                        <a:pt x="15978" y="11126"/>
                        <a:pt x="1143" y="31896"/>
                        <a:pt x="21912" y="52665"/>
                      </a:cubicBezTo>
                      <a:cubicBezTo>
                        <a:pt x="21912" y="55632"/>
                        <a:pt x="21912" y="58599"/>
                        <a:pt x="18945" y="61566"/>
                      </a:cubicBezTo>
                      <a:cubicBezTo>
                        <a:pt x="18945" y="61566"/>
                        <a:pt x="18945" y="61566"/>
                        <a:pt x="15978" y="61566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" name="任意多边形: 形状 8">
                  <a:extLst>
                    <a:ext uri="{FF2B5EF4-FFF2-40B4-BE49-F238E27FC236}">
                      <a16:creationId xmlns:a16="http://schemas.microsoft.com/office/drawing/2014/main" id="{C09692A3-B633-461F-92EA-1932ABC7EBCF}"/>
                    </a:ext>
                  </a:extLst>
                </p:cNvPr>
                <p:cNvSpPr/>
                <p:nvPr/>
              </p:nvSpPr>
              <p:spPr>
                <a:xfrm>
                  <a:off x="3668047" y="1661058"/>
                  <a:ext cx="153543" cy="91236"/>
                </a:xfrm>
                <a:custGeom>
                  <a:avLst/>
                  <a:gdLst>
                    <a:gd name="connsiteX0" fmla="*/ 145385 w 153543"/>
                    <a:gd name="connsiteY0" fmla="*/ 91236 h 91236"/>
                    <a:gd name="connsiteX1" fmla="*/ 142418 w 153543"/>
                    <a:gd name="connsiteY1" fmla="*/ 91236 h 91236"/>
                    <a:gd name="connsiteX2" fmla="*/ 20769 w 153543"/>
                    <a:gd name="connsiteY2" fmla="*/ 14093 h 91236"/>
                    <a:gd name="connsiteX3" fmla="*/ 20769 w 153543"/>
                    <a:gd name="connsiteY3" fmla="*/ 14093 h 91236"/>
                    <a:gd name="connsiteX4" fmla="*/ 11868 w 153543"/>
                    <a:gd name="connsiteY4" fmla="*/ 20027 h 91236"/>
                    <a:gd name="connsiteX5" fmla="*/ 20769 w 153543"/>
                    <a:gd name="connsiteY5" fmla="*/ 37830 h 91236"/>
                    <a:gd name="connsiteX6" fmla="*/ 20769 w 153543"/>
                    <a:gd name="connsiteY6" fmla="*/ 46731 h 91236"/>
                    <a:gd name="connsiteX7" fmla="*/ 11868 w 153543"/>
                    <a:gd name="connsiteY7" fmla="*/ 46731 h 91236"/>
                    <a:gd name="connsiteX8" fmla="*/ 0 w 153543"/>
                    <a:gd name="connsiteY8" fmla="*/ 20027 h 91236"/>
                    <a:gd name="connsiteX9" fmla="*/ 17802 w 153543"/>
                    <a:gd name="connsiteY9" fmla="*/ 5192 h 91236"/>
                    <a:gd name="connsiteX10" fmla="*/ 106813 w 153543"/>
                    <a:gd name="connsiteY10" fmla="*/ 52665 h 91236"/>
                    <a:gd name="connsiteX11" fmla="*/ 71209 w 153543"/>
                    <a:gd name="connsiteY11" fmla="*/ 11126 h 91236"/>
                    <a:gd name="connsiteX12" fmla="*/ 71209 w 153543"/>
                    <a:gd name="connsiteY12" fmla="*/ 2225 h 91236"/>
                    <a:gd name="connsiteX13" fmla="*/ 80110 w 153543"/>
                    <a:gd name="connsiteY13" fmla="*/ 2225 h 91236"/>
                    <a:gd name="connsiteX14" fmla="*/ 151319 w 153543"/>
                    <a:gd name="connsiteY14" fmla="*/ 82335 h 91236"/>
                    <a:gd name="connsiteX15" fmla="*/ 151319 w 153543"/>
                    <a:gd name="connsiteY15" fmla="*/ 91236 h 91236"/>
                    <a:gd name="connsiteX16" fmla="*/ 145385 w 153543"/>
                    <a:gd name="connsiteY16" fmla="*/ 91236 h 91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3543" h="91236">
                      <a:moveTo>
                        <a:pt x="145385" y="91236"/>
                      </a:moveTo>
                      <a:cubicBezTo>
                        <a:pt x="145385" y="91236"/>
                        <a:pt x="142418" y="91236"/>
                        <a:pt x="142418" y="91236"/>
                      </a:cubicBezTo>
                      <a:cubicBezTo>
                        <a:pt x="89011" y="52665"/>
                        <a:pt x="29670" y="14093"/>
                        <a:pt x="20769" y="14093"/>
                      </a:cubicBezTo>
                      <a:cubicBezTo>
                        <a:pt x="20769" y="14093"/>
                        <a:pt x="20769" y="14093"/>
                        <a:pt x="20769" y="14093"/>
                      </a:cubicBezTo>
                      <a:cubicBezTo>
                        <a:pt x="17802" y="14093"/>
                        <a:pt x="11868" y="17060"/>
                        <a:pt x="11868" y="20027"/>
                      </a:cubicBezTo>
                      <a:cubicBezTo>
                        <a:pt x="11868" y="25962"/>
                        <a:pt x="14835" y="31896"/>
                        <a:pt x="20769" y="37830"/>
                      </a:cubicBezTo>
                      <a:cubicBezTo>
                        <a:pt x="23736" y="40797"/>
                        <a:pt x="23736" y="43764"/>
                        <a:pt x="20769" y="46731"/>
                      </a:cubicBezTo>
                      <a:cubicBezTo>
                        <a:pt x="17802" y="49698"/>
                        <a:pt x="14835" y="49698"/>
                        <a:pt x="11868" y="46731"/>
                      </a:cubicBezTo>
                      <a:cubicBezTo>
                        <a:pt x="2967" y="37830"/>
                        <a:pt x="0" y="25962"/>
                        <a:pt x="0" y="20027"/>
                      </a:cubicBezTo>
                      <a:cubicBezTo>
                        <a:pt x="0" y="17060"/>
                        <a:pt x="5934" y="8159"/>
                        <a:pt x="17802" y="5192"/>
                      </a:cubicBezTo>
                      <a:cubicBezTo>
                        <a:pt x="29670" y="2225"/>
                        <a:pt x="71209" y="28929"/>
                        <a:pt x="106813" y="52665"/>
                      </a:cubicBezTo>
                      <a:cubicBezTo>
                        <a:pt x="89011" y="31896"/>
                        <a:pt x="71209" y="11126"/>
                        <a:pt x="71209" y="11126"/>
                      </a:cubicBezTo>
                      <a:cubicBezTo>
                        <a:pt x="68242" y="8159"/>
                        <a:pt x="68242" y="5192"/>
                        <a:pt x="71209" y="2225"/>
                      </a:cubicBezTo>
                      <a:cubicBezTo>
                        <a:pt x="74176" y="-742"/>
                        <a:pt x="77143" y="-742"/>
                        <a:pt x="80110" y="2225"/>
                      </a:cubicBezTo>
                      <a:cubicBezTo>
                        <a:pt x="80110" y="2225"/>
                        <a:pt x="121648" y="55632"/>
                        <a:pt x="151319" y="82335"/>
                      </a:cubicBezTo>
                      <a:cubicBezTo>
                        <a:pt x="154286" y="85302"/>
                        <a:pt x="154286" y="88269"/>
                        <a:pt x="151319" y="91236"/>
                      </a:cubicBezTo>
                      <a:cubicBezTo>
                        <a:pt x="148352" y="91236"/>
                        <a:pt x="145385" y="91236"/>
                        <a:pt x="145385" y="91236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" name="任意多边形: 形状 9">
                <a:extLst>
                  <a:ext uri="{FF2B5EF4-FFF2-40B4-BE49-F238E27FC236}">
                    <a16:creationId xmlns:a16="http://schemas.microsoft.com/office/drawing/2014/main" id="{59A06729-AAEE-464E-B6E2-E7B94A924E7F}"/>
                  </a:ext>
                </a:extLst>
              </p:cNvPr>
              <p:cNvSpPr/>
              <p:nvPr/>
            </p:nvSpPr>
            <p:spPr>
              <a:xfrm>
                <a:off x="3694293" y="1757116"/>
                <a:ext cx="116171" cy="101991"/>
              </a:xfrm>
              <a:custGeom>
                <a:avLst/>
                <a:gdLst>
                  <a:gd name="connsiteX0" fmla="*/ 74633 w 116171"/>
                  <a:gd name="connsiteY0" fmla="*/ 96058 h 101991"/>
                  <a:gd name="connsiteX1" fmla="*/ 71666 w 116171"/>
                  <a:gd name="connsiteY1" fmla="*/ 96058 h 101991"/>
                  <a:gd name="connsiteX2" fmla="*/ 457 w 116171"/>
                  <a:gd name="connsiteY2" fmla="*/ 12981 h 101991"/>
                  <a:gd name="connsiteX3" fmla="*/ 9358 w 116171"/>
                  <a:gd name="connsiteY3" fmla="*/ 1113 h 101991"/>
                  <a:gd name="connsiteX4" fmla="*/ 39028 w 116171"/>
                  <a:gd name="connsiteY4" fmla="*/ 10014 h 101991"/>
                  <a:gd name="connsiteX5" fmla="*/ 71666 w 116171"/>
                  <a:gd name="connsiteY5" fmla="*/ 33750 h 101991"/>
                  <a:gd name="connsiteX6" fmla="*/ 113204 w 116171"/>
                  <a:gd name="connsiteY6" fmla="*/ 66387 h 101991"/>
                  <a:gd name="connsiteX7" fmla="*/ 116171 w 116171"/>
                  <a:gd name="connsiteY7" fmla="*/ 75288 h 101991"/>
                  <a:gd name="connsiteX8" fmla="*/ 107270 w 116171"/>
                  <a:gd name="connsiteY8" fmla="*/ 78255 h 101991"/>
                  <a:gd name="connsiteX9" fmla="*/ 65732 w 116171"/>
                  <a:gd name="connsiteY9" fmla="*/ 45618 h 101991"/>
                  <a:gd name="connsiteX10" fmla="*/ 36061 w 116171"/>
                  <a:gd name="connsiteY10" fmla="*/ 21882 h 101991"/>
                  <a:gd name="connsiteX11" fmla="*/ 18259 w 116171"/>
                  <a:gd name="connsiteY11" fmla="*/ 15948 h 101991"/>
                  <a:gd name="connsiteX12" fmla="*/ 15292 w 116171"/>
                  <a:gd name="connsiteY12" fmla="*/ 21882 h 101991"/>
                  <a:gd name="connsiteX13" fmla="*/ 83534 w 116171"/>
                  <a:gd name="connsiteY13" fmla="*/ 93091 h 101991"/>
                  <a:gd name="connsiteX14" fmla="*/ 83534 w 116171"/>
                  <a:gd name="connsiteY14" fmla="*/ 101992 h 101991"/>
                  <a:gd name="connsiteX15" fmla="*/ 74633 w 116171"/>
                  <a:gd name="connsiteY15" fmla="*/ 96058 h 101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6171" h="101991">
                    <a:moveTo>
                      <a:pt x="74633" y="96058"/>
                    </a:moveTo>
                    <a:cubicBezTo>
                      <a:pt x="74633" y="96058"/>
                      <a:pt x="71666" y="96058"/>
                      <a:pt x="71666" y="96058"/>
                    </a:cubicBezTo>
                    <a:cubicBezTo>
                      <a:pt x="47929" y="78255"/>
                      <a:pt x="-5477" y="30783"/>
                      <a:pt x="457" y="12981"/>
                    </a:cubicBezTo>
                    <a:cubicBezTo>
                      <a:pt x="3424" y="4080"/>
                      <a:pt x="6391" y="1113"/>
                      <a:pt x="9358" y="1113"/>
                    </a:cubicBezTo>
                    <a:cubicBezTo>
                      <a:pt x="15292" y="-1854"/>
                      <a:pt x="27160" y="1113"/>
                      <a:pt x="39028" y="10014"/>
                    </a:cubicBezTo>
                    <a:cubicBezTo>
                      <a:pt x="44962" y="12981"/>
                      <a:pt x="56830" y="24849"/>
                      <a:pt x="71666" y="33750"/>
                    </a:cubicBezTo>
                    <a:cubicBezTo>
                      <a:pt x="86501" y="45618"/>
                      <a:pt x="104303" y="60453"/>
                      <a:pt x="113204" y="66387"/>
                    </a:cubicBezTo>
                    <a:cubicBezTo>
                      <a:pt x="116171" y="66387"/>
                      <a:pt x="116171" y="72321"/>
                      <a:pt x="116171" y="75288"/>
                    </a:cubicBezTo>
                    <a:cubicBezTo>
                      <a:pt x="116171" y="78255"/>
                      <a:pt x="110237" y="78255"/>
                      <a:pt x="107270" y="78255"/>
                    </a:cubicBezTo>
                    <a:cubicBezTo>
                      <a:pt x="98369" y="75288"/>
                      <a:pt x="80567" y="60453"/>
                      <a:pt x="65732" y="45618"/>
                    </a:cubicBezTo>
                    <a:cubicBezTo>
                      <a:pt x="53863" y="33750"/>
                      <a:pt x="41995" y="24849"/>
                      <a:pt x="36061" y="21882"/>
                    </a:cubicBezTo>
                    <a:cubicBezTo>
                      <a:pt x="24193" y="12981"/>
                      <a:pt x="18259" y="15948"/>
                      <a:pt x="18259" y="15948"/>
                    </a:cubicBezTo>
                    <a:cubicBezTo>
                      <a:pt x="18259" y="15948"/>
                      <a:pt x="15292" y="15948"/>
                      <a:pt x="15292" y="21882"/>
                    </a:cubicBezTo>
                    <a:cubicBezTo>
                      <a:pt x="12325" y="27816"/>
                      <a:pt x="44962" y="63420"/>
                      <a:pt x="83534" y="93091"/>
                    </a:cubicBezTo>
                    <a:cubicBezTo>
                      <a:pt x="86501" y="96058"/>
                      <a:pt x="86501" y="99025"/>
                      <a:pt x="83534" y="101992"/>
                    </a:cubicBezTo>
                    <a:cubicBezTo>
                      <a:pt x="77600" y="93091"/>
                      <a:pt x="77600" y="96058"/>
                      <a:pt x="74633" y="96058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" name="任意多边形: 形状 10">
                <a:extLst>
                  <a:ext uri="{FF2B5EF4-FFF2-40B4-BE49-F238E27FC236}">
                    <a16:creationId xmlns:a16="http://schemas.microsoft.com/office/drawing/2014/main" id="{69A6531F-F60E-48F9-AA0A-6FAA1577356E}"/>
                  </a:ext>
                </a:extLst>
              </p:cNvPr>
              <p:cNvSpPr/>
              <p:nvPr/>
            </p:nvSpPr>
            <p:spPr>
              <a:xfrm>
                <a:off x="3662113" y="1695462"/>
                <a:ext cx="154285" cy="98371"/>
              </a:xfrm>
              <a:custGeom>
                <a:avLst/>
                <a:gdLst>
                  <a:gd name="connsiteX0" fmla="*/ 148352 w 154285"/>
                  <a:gd name="connsiteY0" fmla="*/ 98371 h 98371"/>
                  <a:gd name="connsiteX1" fmla="*/ 145385 w 154285"/>
                  <a:gd name="connsiteY1" fmla="*/ 98371 h 98371"/>
                  <a:gd name="connsiteX2" fmla="*/ 94945 w 154285"/>
                  <a:gd name="connsiteY2" fmla="*/ 65734 h 98371"/>
                  <a:gd name="connsiteX3" fmla="*/ 86044 w 154285"/>
                  <a:gd name="connsiteY3" fmla="*/ 56833 h 98371"/>
                  <a:gd name="connsiteX4" fmla="*/ 35604 w 154285"/>
                  <a:gd name="connsiteY4" fmla="*/ 15294 h 98371"/>
                  <a:gd name="connsiteX5" fmla="*/ 11868 w 154285"/>
                  <a:gd name="connsiteY5" fmla="*/ 12327 h 98371"/>
                  <a:gd name="connsiteX6" fmla="*/ 11868 w 154285"/>
                  <a:gd name="connsiteY6" fmla="*/ 15294 h 98371"/>
                  <a:gd name="connsiteX7" fmla="*/ 56374 w 154285"/>
                  <a:gd name="connsiteY7" fmla="*/ 56833 h 98371"/>
                  <a:gd name="connsiteX8" fmla="*/ 56374 w 154285"/>
                  <a:gd name="connsiteY8" fmla="*/ 65734 h 98371"/>
                  <a:gd name="connsiteX9" fmla="*/ 47473 w 154285"/>
                  <a:gd name="connsiteY9" fmla="*/ 65734 h 98371"/>
                  <a:gd name="connsiteX10" fmla="*/ 0 w 154285"/>
                  <a:gd name="connsiteY10" fmla="*/ 15294 h 98371"/>
                  <a:gd name="connsiteX11" fmla="*/ 5934 w 154285"/>
                  <a:gd name="connsiteY11" fmla="*/ 3426 h 98371"/>
                  <a:gd name="connsiteX12" fmla="*/ 38571 w 154285"/>
                  <a:gd name="connsiteY12" fmla="*/ 3426 h 98371"/>
                  <a:gd name="connsiteX13" fmla="*/ 91978 w 154285"/>
                  <a:gd name="connsiteY13" fmla="*/ 44964 h 98371"/>
                  <a:gd name="connsiteX14" fmla="*/ 100879 w 154285"/>
                  <a:gd name="connsiteY14" fmla="*/ 53866 h 98371"/>
                  <a:gd name="connsiteX15" fmla="*/ 151319 w 154285"/>
                  <a:gd name="connsiteY15" fmla="*/ 86503 h 98371"/>
                  <a:gd name="connsiteX16" fmla="*/ 154286 w 154285"/>
                  <a:gd name="connsiteY16" fmla="*/ 95404 h 98371"/>
                  <a:gd name="connsiteX17" fmla="*/ 148352 w 154285"/>
                  <a:gd name="connsiteY17" fmla="*/ 98371 h 98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4285" h="98371">
                    <a:moveTo>
                      <a:pt x="148352" y="98371"/>
                    </a:moveTo>
                    <a:cubicBezTo>
                      <a:pt x="148352" y="98371"/>
                      <a:pt x="145385" y="98371"/>
                      <a:pt x="145385" y="98371"/>
                    </a:cubicBezTo>
                    <a:cubicBezTo>
                      <a:pt x="142418" y="98371"/>
                      <a:pt x="103846" y="71668"/>
                      <a:pt x="94945" y="65734"/>
                    </a:cubicBezTo>
                    <a:cubicBezTo>
                      <a:pt x="91978" y="65734"/>
                      <a:pt x="89011" y="62767"/>
                      <a:pt x="86044" y="56833"/>
                    </a:cubicBezTo>
                    <a:cubicBezTo>
                      <a:pt x="71209" y="44964"/>
                      <a:pt x="44505" y="21228"/>
                      <a:pt x="35604" y="15294"/>
                    </a:cubicBezTo>
                    <a:cubicBezTo>
                      <a:pt x="26703" y="12327"/>
                      <a:pt x="17802" y="9360"/>
                      <a:pt x="11868" y="12327"/>
                    </a:cubicBezTo>
                    <a:cubicBezTo>
                      <a:pt x="11868" y="12327"/>
                      <a:pt x="11868" y="12327"/>
                      <a:pt x="11868" y="15294"/>
                    </a:cubicBezTo>
                    <a:cubicBezTo>
                      <a:pt x="11868" y="21228"/>
                      <a:pt x="32637" y="39030"/>
                      <a:pt x="56374" y="56833"/>
                    </a:cubicBezTo>
                    <a:cubicBezTo>
                      <a:pt x="59341" y="59800"/>
                      <a:pt x="59341" y="62767"/>
                      <a:pt x="56374" y="65734"/>
                    </a:cubicBezTo>
                    <a:cubicBezTo>
                      <a:pt x="53407" y="68701"/>
                      <a:pt x="50440" y="68701"/>
                      <a:pt x="47473" y="65734"/>
                    </a:cubicBezTo>
                    <a:cubicBezTo>
                      <a:pt x="32637" y="53866"/>
                      <a:pt x="0" y="27162"/>
                      <a:pt x="0" y="15294"/>
                    </a:cubicBezTo>
                    <a:cubicBezTo>
                      <a:pt x="0" y="9360"/>
                      <a:pt x="2967" y="6393"/>
                      <a:pt x="5934" y="3426"/>
                    </a:cubicBezTo>
                    <a:cubicBezTo>
                      <a:pt x="14835" y="-2508"/>
                      <a:pt x="29670" y="459"/>
                      <a:pt x="38571" y="3426"/>
                    </a:cubicBezTo>
                    <a:cubicBezTo>
                      <a:pt x="47473" y="9360"/>
                      <a:pt x="71209" y="27162"/>
                      <a:pt x="91978" y="44964"/>
                    </a:cubicBezTo>
                    <a:cubicBezTo>
                      <a:pt x="97912" y="50899"/>
                      <a:pt x="100879" y="53866"/>
                      <a:pt x="100879" y="53866"/>
                    </a:cubicBezTo>
                    <a:cubicBezTo>
                      <a:pt x="106813" y="59800"/>
                      <a:pt x="136484" y="77602"/>
                      <a:pt x="151319" y="86503"/>
                    </a:cubicBezTo>
                    <a:cubicBezTo>
                      <a:pt x="154286" y="89470"/>
                      <a:pt x="154286" y="92437"/>
                      <a:pt x="154286" y="95404"/>
                    </a:cubicBezTo>
                    <a:cubicBezTo>
                      <a:pt x="151319" y="98371"/>
                      <a:pt x="148352" y="98371"/>
                      <a:pt x="148352" y="98371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FBF303F1-6F62-47F5-AB87-F81701B043B7}"/>
                </a:ext>
              </a:extLst>
            </p:cNvPr>
            <p:cNvSpPr/>
            <p:nvPr/>
          </p:nvSpPr>
          <p:spPr>
            <a:xfrm>
              <a:off x="3789695" y="1865042"/>
              <a:ext cx="172087" cy="178021"/>
            </a:xfrm>
            <a:custGeom>
              <a:avLst/>
              <a:gdLst>
                <a:gd name="connsiteX0" fmla="*/ 35604 w 172087"/>
                <a:gd name="connsiteY0" fmla="*/ 0 h 178021"/>
                <a:gd name="connsiteX1" fmla="*/ 0 w 172087"/>
                <a:gd name="connsiteY1" fmla="*/ 115714 h 178021"/>
                <a:gd name="connsiteX2" fmla="*/ 109780 w 172087"/>
                <a:gd name="connsiteY2" fmla="*/ 178022 h 178021"/>
                <a:gd name="connsiteX3" fmla="*/ 172088 w 172087"/>
                <a:gd name="connsiteY3" fmla="*/ 32637 h 178021"/>
                <a:gd name="connsiteX4" fmla="*/ 86044 w 172087"/>
                <a:gd name="connsiteY4" fmla="*/ 29670 h 178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087" h="178021">
                  <a:moveTo>
                    <a:pt x="35604" y="0"/>
                  </a:moveTo>
                  <a:lnTo>
                    <a:pt x="0" y="115714"/>
                  </a:lnTo>
                  <a:lnTo>
                    <a:pt x="109780" y="178022"/>
                  </a:lnTo>
                  <a:lnTo>
                    <a:pt x="172088" y="32637"/>
                  </a:lnTo>
                  <a:lnTo>
                    <a:pt x="86044" y="29670"/>
                  </a:ln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5D1B2E57-7802-47DD-889F-D9399BD2C958}"/>
                </a:ext>
              </a:extLst>
            </p:cNvPr>
            <p:cNvSpPr/>
            <p:nvPr/>
          </p:nvSpPr>
          <p:spPr>
            <a:xfrm>
              <a:off x="4728061" y="3145088"/>
              <a:ext cx="632762" cy="1054689"/>
            </a:xfrm>
            <a:custGeom>
              <a:avLst/>
              <a:gdLst>
                <a:gd name="connsiteX0" fmla="*/ 76360 w 632762"/>
                <a:gd name="connsiteY0" fmla="*/ 7646 h 1054689"/>
                <a:gd name="connsiteX1" fmla="*/ 450206 w 632762"/>
                <a:gd name="connsiteY1" fmla="*/ 295448 h 1054689"/>
                <a:gd name="connsiteX2" fmla="*/ 619327 w 632762"/>
                <a:gd name="connsiteY2" fmla="*/ 995668 h 1054689"/>
                <a:gd name="connsiteX3" fmla="*/ 465041 w 632762"/>
                <a:gd name="connsiteY3" fmla="*/ 1052042 h 1054689"/>
                <a:gd name="connsiteX4" fmla="*/ 76360 w 632762"/>
                <a:gd name="connsiteY4" fmla="*/ 7646 h 1054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762" h="1054689">
                  <a:moveTo>
                    <a:pt x="76360" y="7646"/>
                  </a:moveTo>
                  <a:cubicBezTo>
                    <a:pt x="198008" y="-45761"/>
                    <a:pt x="376030" y="194569"/>
                    <a:pt x="450206" y="295448"/>
                  </a:cubicBezTo>
                  <a:cubicBezTo>
                    <a:pt x="542184" y="423031"/>
                    <a:pt x="675700" y="823580"/>
                    <a:pt x="619327" y="995668"/>
                  </a:cubicBezTo>
                  <a:cubicBezTo>
                    <a:pt x="604492" y="1034240"/>
                    <a:pt x="548118" y="1063910"/>
                    <a:pt x="465041" y="1052042"/>
                  </a:cubicBezTo>
                  <a:cubicBezTo>
                    <a:pt x="328557" y="1034240"/>
                    <a:pt x="-193640" y="129294"/>
                    <a:pt x="76360" y="7646"/>
                  </a:cubicBezTo>
                  <a:close/>
                </a:path>
              </a:pathLst>
            </a:custGeom>
            <a:solidFill>
              <a:srgbClr val="7F95BC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0E888E9A-0EF1-417E-877C-B6A01E626B9C}"/>
                </a:ext>
              </a:extLst>
            </p:cNvPr>
            <p:cNvSpPr/>
            <p:nvPr/>
          </p:nvSpPr>
          <p:spPr>
            <a:xfrm>
              <a:off x="4353431" y="2796690"/>
              <a:ext cx="65274" cy="136483"/>
            </a:xfrm>
            <a:custGeom>
              <a:avLst/>
              <a:gdLst>
                <a:gd name="connsiteX0" fmla="*/ 0 w 65274"/>
                <a:gd name="connsiteY0" fmla="*/ 0 h 136483"/>
                <a:gd name="connsiteX1" fmla="*/ 62308 w 65274"/>
                <a:gd name="connsiteY1" fmla="*/ 136483 h 136483"/>
                <a:gd name="connsiteX2" fmla="*/ 65275 w 65274"/>
                <a:gd name="connsiteY2" fmla="*/ 53407 h 136483"/>
                <a:gd name="connsiteX3" fmla="*/ 0 w 65274"/>
                <a:gd name="connsiteY3" fmla="*/ 0 h 13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74" h="136483">
                  <a:moveTo>
                    <a:pt x="0" y="0"/>
                  </a:moveTo>
                  <a:cubicBezTo>
                    <a:pt x="0" y="0"/>
                    <a:pt x="11868" y="115714"/>
                    <a:pt x="62308" y="136483"/>
                  </a:cubicBezTo>
                  <a:lnTo>
                    <a:pt x="65275" y="534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FB169D75-9CE5-47AF-9090-990F3B584E73}"/>
                </a:ext>
              </a:extLst>
            </p:cNvPr>
            <p:cNvSpPr/>
            <p:nvPr/>
          </p:nvSpPr>
          <p:spPr>
            <a:xfrm>
              <a:off x="4702638" y="2597899"/>
              <a:ext cx="99011" cy="231408"/>
            </a:xfrm>
            <a:custGeom>
              <a:avLst/>
              <a:gdLst>
                <a:gd name="connsiteX0" fmla="*/ 92881 w 99011"/>
                <a:gd name="connsiteY0" fmla="*/ 0 h 231408"/>
                <a:gd name="connsiteX1" fmla="*/ 51343 w 99011"/>
                <a:gd name="connsiteY1" fmla="*/ 228462 h 231408"/>
                <a:gd name="connsiteX2" fmla="*/ 903 w 99011"/>
                <a:gd name="connsiteY2" fmla="*/ 11868 h 231408"/>
                <a:gd name="connsiteX3" fmla="*/ 92881 w 99011"/>
                <a:gd name="connsiteY3" fmla="*/ 0 h 231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011" h="231408">
                  <a:moveTo>
                    <a:pt x="92881" y="0"/>
                  </a:moveTo>
                  <a:cubicBezTo>
                    <a:pt x="92881" y="0"/>
                    <a:pt x="122552" y="189890"/>
                    <a:pt x="51343" y="228462"/>
                  </a:cubicBezTo>
                  <a:cubicBezTo>
                    <a:pt x="-10965" y="261099"/>
                    <a:pt x="903" y="11868"/>
                    <a:pt x="903" y="11868"/>
                  </a:cubicBezTo>
                  <a:lnTo>
                    <a:pt x="92881" y="0"/>
                  </a:ln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4B8D738D-4A1C-4ED5-BC5A-30BF42EED62A}"/>
                </a:ext>
              </a:extLst>
            </p:cNvPr>
            <p:cNvSpPr/>
            <p:nvPr/>
          </p:nvSpPr>
          <p:spPr>
            <a:xfrm>
              <a:off x="4356398" y="2463517"/>
              <a:ext cx="409780" cy="553320"/>
            </a:xfrm>
            <a:custGeom>
              <a:avLst/>
              <a:gdLst>
                <a:gd name="connsiteX0" fmla="*/ 400549 w 409780"/>
                <a:gd name="connsiteY0" fmla="*/ 178888 h 553320"/>
                <a:gd name="connsiteX1" fmla="*/ 400549 w 409780"/>
                <a:gd name="connsiteY1" fmla="*/ 422185 h 553320"/>
                <a:gd name="connsiteX2" fmla="*/ 246264 w 409780"/>
                <a:gd name="connsiteY2" fmla="*/ 552734 h 553320"/>
                <a:gd name="connsiteX3" fmla="*/ 35604 w 409780"/>
                <a:gd name="connsiteY3" fmla="*/ 413283 h 553320"/>
                <a:gd name="connsiteX4" fmla="*/ 0 w 409780"/>
                <a:gd name="connsiteY4" fmla="*/ 193723 h 553320"/>
                <a:gd name="connsiteX5" fmla="*/ 207692 w 409780"/>
                <a:gd name="connsiteY5" fmla="*/ 866 h 553320"/>
                <a:gd name="connsiteX6" fmla="*/ 400549 w 409780"/>
                <a:gd name="connsiteY6" fmla="*/ 178888 h 553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9780" h="553320">
                  <a:moveTo>
                    <a:pt x="400549" y="178888"/>
                  </a:moveTo>
                  <a:cubicBezTo>
                    <a:pt x="400549" y="178888"/>
                    <a:pt x="421319" y="350976"/>
                    <a:pt x="400549" y="422185"/>
                  </a:cubicBezTo>
                  <a:cubicBezTo>
                    <a:pt x="382747" y="487459"/>
                    <a:pt x="293736" y="549767"/>
                    <a:pt x="246264" y="552734"/>
                  </a:cubicBezTo>
                  <a:cubicBezTo>
                    <a:pt x="180989" y="558668"/>
                    <a:pt x="65275" y="520097"/>
                    <a:pt x="35604" y="413283"/>
                  </a:cubicBezTo>
                  <a:cubicBezTo>
                    <a:pt x="14835" y="342075"/>
                    <a:pt x="0" y="244163"/>
                    <a:pt x="0" y="193723"/>
                  </a:cubicBezTo>
                  <a:cubicBezTo>
                    <a:pt x="2967" y="101745"/>
                    <a:pt x="26703" y="24602"/>
                    <a:pt x="207692" y="866"/>
                  </a:cubicBezTo>
                  <a:cubicBezTo>
                    <a:pt x="287802" y="-11002"/>
                    <a:pt x="379780" y="101745"/>
                    <a:pt x="400549" y="178888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9F5CDAC0-2830-42D5-83D2-E84E7BF47B44}"/>
                </a:ext>
              </a:extLst>
            </p:cNvPr>
            <p:cNvSpPr/>
            <p:nvPr/>
          </p:nvSpPr>
          <p:spPr>
            <a:xfrm>
              <a:off x="4572992" y="2719547"/>
              <a:ext cx="56373" cy="133516"/>
            </a:xfrm>
            <a:custGeom>
              <a:avLst/>
              <a:gdLst>
                <a:gd name="connsiteX0" fmla="*/ 29670 w 56373"/>
                <a:gd name="connsiteY0" fmla="*/ 133516 h 133516"/>
                <a:gd name="connsiteX1" fmla="*/ 5934 w 56373"/>
                <a:gd name="connsiteY1" fmla="*/ 130549 h 133516"/>
                <a:gd name="connsiteX2" fmla="*/ 0 w 56373"/>
                <a:gd name="connsiteY2" fmla="*/ 124615 h 133516"/>
                <a:gd name="connsiteX3" fmla="*/ 5934 w 56373"/>
                <a:gd name="connsiteY3" fmla="*/ 118681 h 133516"/>
                <a:gd name="connsiteX4" fmla="*/ 44505 w 56373"/>
                <a:gd name="connsiteY4" fmla="*/ 118681 h 133516"/>
                <a:gd name="connsiteX5" fmla="*/ 44505 w 56373"/>
                <a:gd name="connsiteY5" fmla="*/ 115714 h 133516"/>
                <a:gd name="connsiteX6" fmla="*/ 29670 w 56373"/>
                <a:gd name="connsiteY6" fmla="*/ 5934 h 133516"/>
                <a:gd name="connsiteX7" fmla="*/ 35604 w 56373"/>
                <a:gd name="connsiteY7" fmla="*/ 0 h 133516"/>
                <a:gd name="connsiteX8" fmla="*/ 41539 w 56373"/>
                <a:gd name="connsiteY8" fmla="*/ 5934 h 133516"/>
                <a:gd name="connsiteX9" fmla="*/ 56374 w 56373"/>
                <a:gd name="connsiteY9" fmla="*/ 115714 h 133516"/>
                <a:gd name="connsiteX10" fmla="*/ 50440 w 56373"/>
                <a:gd name="connsiteY10" fmla="*/ 127582 h 133516"/>
                <a:gd name="connsiteX11" fmla="*/ 29670 w 56373"/>
                <a:gd name="connsiteY11" fmla="*/ 133516 h 13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373" h="133516">
                  <a:moveTo>
                    <a:pt x="29670" y="133516"/>
                  </a:moveTo>
                  <a:cubicBezTo>
                    <a:pt x="17802" y="133516"/>
                    <a:pt x="8901" y="130549"/>
                    <a:pt x="5934" y="130549"/>
                  </a:cubicBezTo>
                  <a:cubicBezTo>
                    <a:pt x="2967" y="130549"/>
                    <a:pt x="0" y="127582"/>
                    <a:pt x="0" y="124615"/>
                  </a:cubicBezTo>
                  <a:cubicBezTo>
                    <a:pt x="0" y="121648"/>
                    <a:pt x="2967" y="118681"/>
                    <a:pt x="5934" y="118681"/>
                  </a:cubicBezTo>
                  <a:cubicBezTo>
                    <a:pt x="17802" y="121648"/>
                    <a:pt x="38571" y="121648"/>
                    <a:pt x="44505" y="118681"/>
                  </a:cubicBezTo>
                  <a:cubicBezTo>
                    <a:pt x="44505" y="118681"/>
                    <a:pt x="44505" y="115714"/>
                    <a:pt x="44505" y="115714"/>
                  </a:cubicBezTo>
                  <a:cubicBezTo>
                    <a:pt x="44505" y="97912"/>
                    <a:pt x="29670" y="8901"/>
                    <a:pt x="29670" y="5934"/>
                  </a:cubicBezTo>
                  <a:cubicBezTo>
                    <a:pt x="29670" y="2967"/>
                    <a:pt x="32637" y="0"/>
                    <a:pt x="35604" y="0"/>
                  </a:cubicBezTo>
                  <a:cubicBezTo>
                    <a:pt x="38571" y="0"/>
                    <a:pt x="41539" y="2967"/>
                    <a:pt x="41539" y="5934"/>
                  </a:cubicBezTo>
                  <a:cubicBezTo>
                    <a:pt x="41539" y="8901"/>
                    <a:pt x="56374" y="97912"/>
                    <a:pt x="56374" y="115714"/>
                  </a:cubicBezTo>
                  <a:cubicBezTo>
                    <a:pt x="56374" y="121648"/>
                    <a:pt x="53407" y="124615"/>
                    <a:pt x="50440" y="127582"/>
                  </a:cubicBezTo>
                  <a:cubicBezTo>
                    <a:pt x="47473" y="133516"/>
                    <a:pt x="38571" y="133516"/>
                    <a:pt x="29670" y="133516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DF6C38DF-3502-4AA5-A0EF-49E56666D4AF}"/>
                </a:ext>
              </a:extLst>
            </p:cNvPr>
            <p:cNvSpPr/>
            <p:nvPr/>
          </p:nvSpPr>
          <p:spPr>
            <a:xfrm>
              <a:off x="4661421" y="2698196"/>
              <a:ext cx="39735" cy="39909"/>
            </a:xfrm>
            <a:custGeom>
              <a:avLst/>
              <a:gdLst>
                <a:gd name="connsiteX0" fmla="*/ 582 w 39735"/>
                <a:gd name="connsiteY0" fmla="*/ 24318 h 39909"/>
                <a:gd name="connsiteX1" fmla="*/ 24318 w 39735"/>
                <a:gd name="connsiteY1" fmla="*/ 39153 h 39909"/>
                <a:gd name="connsiteX2" fmla="*/ 39153 w 39735"/>
                <a:gd name="connsiteY2" fmla="*/ 15417 h 39909"/>
                <a:gd name="connsiteX3" fmla="*/ 15417 w 39735"/>
                <a:gd name="connsiteY3" fmla="*/ 582 h 39909"/>
                <a:gd name="connsiteX4" fmla="*/ 582 w 39735"/>
                <a:gd name="connsiteY4" fmla="*/ 24318 h 3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735" h="39909">
                  <a:moveTo>
                    <a:pt x="582" y="24318"/>
                  </a:moveTo>
                  <a:cubicBezTo>
                    <a:pt x="3549" y="36186"/>
                    <a:pt x="12450" y="42120"/>
                    <a:pt x="24318" y="39153"/>
                  </a:cubicBezTo>
                  <a:cubicBezTo>
                    <a:pt x="33219" y="36186"/>
                    <a:pt x="42120" y="27285"/>
                    <a:pt x="39153" y="15417"/>
                  </a:cubicBezTo>
                  <a:cubicBezTo>
                    <a:pt x="36186" y="6516"/>
                    <a:pt x="27285" y="-2385"/>
                    <a:pt x="15417" y="582"/>
                  </a:cubicBezTo>
                  <a:cubicBezTo>
                    <a:pt x="6516" y="3549"/>
                    <a:pt x="-2385" y="12450"/>
                    <a:pt x="582" y="24318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1F89B8DF-EBAC-4D34-A81E-467E027CE4F5}"/>
                </a:ext>
              </a:extLst>
            </p:cNvPr>
            <p:cNvSpPr/>
            <p:nvPr/>
          </p:nvSpPr>
          <p:spPr>
            <a:xfrm>
              <a:off x="4483399" y="2715824"/>
              <a:ext cx="39735" cy="39909"/>
            </a:xfrm>
            <a:custGeom>
              <a:avLst/>
              <a:gdLst>
                <a:gd name="connsiteX0" fmla="*/ 582 w 39735"/>
                <a:gd name="connsiteY0" fmla="*/ 24492 h 39909"/>
                <a:gd name="connsiteX1" fmla="*/ 24318 w 39735"/>
                <a:gd name="connsiteY1" fmla="*/ 39328 h 39909"/>
                <a:gd name="connsiteX2" fmla="*/ 39153 w 39735"/>
                <a:gd name="connsiteY2" fmla="*/ 15591 h 39909"/>
                <a:gd name="connsiteX3" fmla="*/ 15417 w 39735"/>
                <a:gd name="connsiteY3" fmla="*/ 756 h 39909"/>
                <a:gd name="connsiteX4" fmla="*/ 582 w 39735"/>
                <a:gd name="connsiteY4" fmla="*/ 24492 h 3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735" h="39909">
                  <a:moveTo>
                    <a:pt x="582" y="24492"/>
                  </a:moveTo>
                  <a:cubicBezTo>
                    <a:pt x="3549" y="33393"/>
                    <a:pt x="12450" y="42295"/>
                    <a:pt x="24318" y="39328"/>
                  </a:cubicBezTo>
                  <a:cubicBezTo>
                    <a:pt x="33219" y="36361"/>
                    <a:pt x="42120" y="27459"/>
                    <a:pt x="39153" y="15591"/>
                  </a:cubicBezTo>
                  <a:cubicBezTo>
                    <a:pt x="36186" y="3723"/>
                    <a:pt x="27285" y="-2211"/>
                    <a:pt x="15417" y="756"/>
                  </a:cubicBezTo>
                  <a:cubicBezTo>
                    <a:pt x="6516" y="3723"/>
                    <a:pt x="-2385" y="12624"/>
                    <a:pt x="582" y="24492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6B8D0D36-BDED-414A-AE13-1DC388E84151}"/>
                </a:ext>
              </a:extLst>
            </p:cNvPr>
            <p:cNvSpPr/>
            <p:nvPr/>
          </p:nvSpPr>
          <p:spPr>
            <a:xfrm>
              <a:off x="4637037" y="2654273"/>
              <a:ext cx="89498" cy="29670"/>
            </a:xfrm>
            <a:custGeom>
              <a:avLst/>
              <a:gdLst>
                <a:gd name="connsiteX0" fmla="*/ 81339 w 89498"/>
                <a:gd name="connsiteY0" fmla="*/ 29670 h 29670"/>
                <a:gd name="connsiteX1" fmla="*/ 75405 w 89498"/>
                <a:gd name="connsiteY1" fmla="*/ 26703 h 29670"/>
                <a:gd name="connsiteX2" fmla="*/ 10130 w 89498"/>
                <a:gd name="connsiteY2" fmla="*/ 20769 h 29670"/>
                <a:gd name="connsiteX3" fmla="*/ 1229 w 89498"/>
                <a:gd name="connsiteY3" fmla="*/ 17802 h 29670"/>
                <a:gd name="connsiteX4" fmla="*/ 4196 w 89498"/>
                <a:gd name="connsiteY4" fmla="*/ 8901 h 29670"/>
                <a:gd name="connsiteX5" fmla="*/ 87273 w 89498"/>
                <a:gd name="connsiteY5" fmla="*/ 17802 h 29670"/>
                <a:gd name="connsiteX6" fmla="*/ 87273 w 89498"/>
                <a:gd name="connsiteY6" fmla="*/ 29670 h 29670"/>
                <a:gd name="connsiteX7" fmla="*/ 81339 w 89498"/>
                <a:gd name="connsiteY7" fmla="*/ 29670 h 29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29670">
                  <a:moveTo>
                    <a:pt x="81339" y="29670"/>
                  </a:moveTo>
                  <a:cubicBezTo>
                    <a:pt x="78372" y="29670"/>
                    <a:pt x="78372" y="29670"/>
                    <a:pt x="75405" y="26703"/>
                  </a:cubicBezTo>
                  <a:cubicBezTo>
                    <a:pt x="51669" y="0"/>
                    <a:pt x="10130" y="20769"/>
                    <a:pt x="10130" y="20769"/>
                  </a:cubicBezTo>
                  <a:cubicBezTo>
                    <a:pt x="7163" y="23736"/>
                    <a:pt x="1229" y="20769"/>
                    <a:pt x="1229" y="17802"/>
                  </a:cubicBezTo>
                  <a:cubicBezTo>
                    <a:pt x="-1738" y="14835"/>
                    <a:pt x="1229" y="8901"/>
                    <a:pt x="4196" y="8901"/>
                  </a:cubicBezTo>
                  <a:cubicBezTo>
                    <a:pt x="21998" y="0"/>
                    <a:pt x="60570" y="-8901"/>
                    <a:pt x="87273" y="17802"/>
                  </a:cubicBezTo>
                  <a:cubicBezTo>
                    <a:pt x="90240" y="20769"/>
                    <a:pt x="90240" y="26703"/>
                    <a:pt x="87273" y="29670"/>
                  </a:cubicBezTo>
                  <a:cubicBezTo>
                    <a:pt x="84306" y="29670"/>
                    <a:pt x="84306" y="29670"/>
                    <a:pt x="81339" y="29670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30DCF112-5962-47CC-B6DC-1F05786C5A36}"/>
                </a:ext>
              </a:extLst>
            </p:cNvPr>
            <p:cNvSpPr/>
            <p:nvPr/>
          </p:nvSpPr>
          <p:spPr>
            <a:xfrm>
              <a:off x="4452085" y="2648640"/>
              <a:ext cx="89498" cy="35302"/>
            </a:xfrm>
            <a:custGeom>
              <a:avLst/>
              <a:gdLst>
                <a:gd name="connsiteX0" fmla="*/ 8159 w 89498"/>
                <a:gd name="connsiteY0" fmla="*/ 35302 h 35302"/>
                <a:gd name="connsiteX1" fmla="*/ 2225 w 89498"/>
                <a:gd name="connsiteY1" fmla="*/ 32335 h 35302"/>
                <a:gd name="connsiteX2" fmla="*/ 2225 w 89498"/>
                <a:gd name="connsiteY2" fmla="*/ 20467 h 35302"/>
                <a:gd name="connsiteX3" fmla="*/ 85302 w 89498"/>
                <a:gd name="connsiteY3" fmla="*/ 11566 h 35302"/>
                <a:gd name="connsiteX4" fmla="*/ 88269 w 89498"/>
                <a:gd name="connsiteY4" fmla="*/ 23434 h 35302"/>
                <a:gd name="connsiteX5" fmla="*/ 76401 w 89498"/>
                <a:gd name="connsiteY5" fmla="*/ 26401 h 35302"/>
                <a:gd name="connsiteX6" fmla="*/ 11126 w 89498"/>
                <a:gd name="connsiteY6" fmla="*/ 32335 h 35302"/>
                <a:gd name="connsiteX7" fmla="*/ 8159 w 89498"/>
                <a:gd name="connsiteY7" fmla="*/ 35302 h 35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302">
                  <a:moveTo>
                    <a:pt x="8159" y="35302"/>
                  </a:moveTo>
                  <a:cubicBezTo>
                    <a:pt x="5192" y="35302"/>
                    <a:pt x="5192" y="35302"/>
                    <a:pt x="2225" y="32335"/>
                  </a:cubicBezTo>
                  <a:cubicBezTo>
                    <a:pt x="-742" y="29368"/>
                    <a:pt x="-742" y="23434"/>
                    <a:pt x="2225" y="20467"/>
                  </a:cubicBezTo>
                  <a:cubicBezTo>
                    <a:pt x="14093" y="5632"/>
                    <a:pt x="49698" y="-12170"/>
                    <a:pt x="85302" y="11566"/>
                  </a:cubicBezTo>
                  <a:cubicBezTo>
                    <a:pt x="88269" y="14533"/>
                    <a:pt x="91236" y="17500"/>
                    <a:pt x="88269" y="23434"/>
                  </a:cubicBezTo>
                  <a:cubicBezTo>
                    <a:pt x="85302" y="26401"/>
                    <a:pt x="82335" y="29368"/>
                    <a:pt x="76401" y="26401"/>
                  </a:cubicBezTo>
                  <a:cubicBezTo>
                    <a:pt x="40797" y="2665"/>
                    <a:pt x="14093" y="32335"/>
                    <a:pt x="11126" y="32335"/>
                  </a:cubicBezTo>
                  <a:cubicBezTo>
                    <a:pt x="11126" y="35302"/>
                    <a:pt x="8159" y="35302"/>
                    <a:pt x="8159" y="35302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74A7C8FE-2DF5-4218-893C-5CED2BFCF7D7}"/>
                </a:ext>
              </a:extLst>
            </p:cNvPr>
            <p:cNvSpPr/>
            <p:nvPr/>
          </p:nvSpPr>
          <p:spPr>
            <a:xfrm>
              <a:off x="4316500" y="2712168"/>
              <a:ext cx="75502" cy="110991"/>
            </a:xfrm>
            <a:custGeom>
              <a:avLst/>
              <a:gdLst>
                <a:gd name="connsiteX0" fmla="*/ 63634 w 75502"/>
                <a:gd name="connsiteY0" fmla="*/ 16280 h 110991"/>
                <a:gd name="connsiteX1" fmla="*/ 7261 w 75502"/>
                <a:gd name="connsiteY1" fmla="*/ 7379 h 110991"/>
                <a:gd name="connsiteX2" fmla="*/ 63634 w 75502"/>
                <a:gd name="connsiteY2" fmla="*/ 108258 h 110991"/>
                <a:gd name="connsiteX3" fmla="*/ 63634 w 75502"/>
                <a:gd name="connsiteY3" fmla="*/ 16280 h 11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502" h="110991">
                  <a:moveTo>
                    <a:pt x="63634" y="16280"/>
                  </a:moveTo>
                  <a:cubicBezTo>
                    <a:pt x="63634" y="16280"/>
                    <a:pt x="30997" y="-13390"/>
                    <a:pt x="7261" y="7379"/>
                  </a:cubicBezTo>
                  <a:cubicBezTo>
                    <a:pt x="-16476" y="25181"/>
                    <a:pt x="22096" y="129027"/>
                    <a:pt x="63634" y="108258"/>
                  </a:cubicBezTo>
                  <a:cubicBezTo>
                    <a:pt x="90338" y="90456"/>
                    <a:pt x="63634" y="16280"/>
                    <a:pt x="63634" y="16280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F817607B-8B4D-4F05-829A-2487CEB804F6}"/>
                </a:ext>
              </a:extLst>
            </p:cNvPr>
            <p:cNvSpPr/>
            <p:nvPr/>
          </p:nvSpPr>
          <p:spPr>
            <a:xfrm>
              <a:off x="4317629" y="2352697"/>
              <a:ext cx="505118" cy="393553"/>
            </a:xfrm>
            <a:custGeom>
              <a:avLst/>
              <a:gdLst>
                <a:gd name="connsiteX0" fmla="*/ 6132 w 505118"/>
                <a:gd name="connsiteY0" fmla="*/ 295641 h 393553"/>
                <a:gd name="connsiteX1" fmla="*/ 62506 w 505118"/>
                <a:gd name="connsiteY1" fmla="*/ 393553 h 393553"/>
                <a:gd name="connsiteX2" fmla="*/ 112945 w 505118"/>
                <a:gd name="connsiteY2" fmla="*/ 257070 h 393553"/>
                <a:gd name="connsiteX3" fmla="*/ 121846 w 505118"/>
                <a:gd name="connsiteY3" fmla="*/ 254103 h 393553"/>
                <a:gd name="connsiteX4" fmla="*/ 196022 w 505118"/>
                <a:gd name="connsiteY4" fmla="*/ 227399 h 393553"/>
                <a:gd name="connsiteX5" fmla="*/ 207890 w 505118"/>
                <a:gd name="connsiteY5" fmla="*/ 224432 h 393553"/>
                <a:gd name="connsiteX6" fmla="*/ 243495 w 505118"/>
                <a:gd name="connsiteY6" fmla="*/ 245201 h 393553"/>
                <a:gd name="connsiteX7" fmla="*/ 258330 w 505118"/>
                <a:gd name="connsiteY7" fmla="*/ 236300 h 393553"/>
                <a:gd name="connsiteX8" fmla="*/ 308769 w 505118"/>
                <a:gd name="connsiteY8" fmla="*/ 251136 h 393553"/>
                <a:gd name="connsiteX9" fmla="*/ 344374 w 505118"/>
                <a:gd name="connsiteY9" fmla="*/ 260037 h 393553"/>
                <a:gd name="connsiteX10" fmla="*/ 356242 w 505118"/>
                <a:gd name="connsiteY10" fmla="*/ 260037 h 393553"/>
                <a:gd name="connsiteX11" fmla="*/ 368110 w 505118"/>
                <a:gd name="connsiteY11" fmla="*/ 257070 h 393553"/>
                <a:gd name="connsiteX12" fmla="*/ 377011 w 505118"/>
                <a:gd name="connsiteY12" fmla="*/ 263004 h 393553"/>
                <a:gd name="connsiteX13" fmla="*/ 382945 w 505118"/>
                <a:gd name="connsiteY13" fmla="*/ 265971 h 393553"/>
                <a:gd name="connsiteX14" fmla="*/ 388879 w 505118"/>
                <a:gd name="connsiteY14" fmla="*/ 265971 h 393553"/>
                <a:gd name="connsiteX15" fmla="*/ 394813 w 505118"/>
                <a:gd name="connsiteY15" fmla="*/ 268938 h 393553"/>
                <a:gd name="connsiteX16" fmla="*/ 400747 w 505118"/>
                <a:gd name="connsiteY16" fmla="*/ 277839 h 393553"/>
                <a:gd name="connsiteX17" fmla="*/ 418550 w 505118"/>
                <a:gd name="connsiteY17" fmla="*/ 298608 h 393553"/>
                <a:gd name="connsiteX18" fmla="*/ 448220 w 505118"/>
                <a:gd name="connsiteY18" fmla="*/ 310476 h 393553"/>
                <a:gd name="connsiteX19" fmla="*/ 466022 w 505118"/>
                <a:gd name="connsiteY19" fmla="*/ 363883 h 393553"/>
                <a:gd name="connsiteX20" fmla="*/ 474923 w 505118"/>
                <a:gd name="connsiteY20" fmla="*/ 334212 h 393553"/>
                <a:gd name="connsiteX21" fmla="*/ 483824 w 505118"/>
                <a:gd name="connsiteY21" fmla="*/ 331245 h 393553"/>
                <a:gd name="connsiteX22" fmla="*/ 501627 w 505118"/>
                <a:gd name="connsiteY22" fmla="*/ 236300 h 393553"/>
                <a:gd name="connsiteX23" fmla="*/ 483824 w 505118"/>
                <a:gd name="connsiteY23" fmla="*/ 194762 h 393553"/>
                <a:gd name="connsiteX24" fmla="*/ 486791 w 505118"/>
                <a:gd name="connsiteY24" fmla="*/ 162125 h 393553"/>
                <a:gd name="connsiteX25" fmla="*/ 480857 w 505118"/>
                <a:gd name="connsiteY25" fmla="*/ 126520 h 393553"/>
                <a:gd name="connsiteX26" fmla="*/ 463055 w 505118"/>
                <a:gd name="connsiteY26" fmla="*/ 99817 h 393553"/>
                <a:gd name="connsiteX27" fmla="*/ 448220 w 505118"/>
                <a:gd name="connsiteY27" fmla="*/ 58278 h 393553"/>
                <a:gd name="connsiteX28" fmla="*/ 388879 w 505118"/>
                <a:gd name="connsiteY28" fmla="*/ 37509 h 393553"/>
                <a:gd name="connsiteX29" fmla="*/ 267231 w 505118"/>
                <a:gd name="connsiteY29" fmla="*/ 1905 h 393553"/>
                <a:gd name="connsiteX30" fmla="*/ 255363 w 505118"/>
                <a:gd name="connsiteY30" fmla="*/ 7839 h 393553"/>
                <a:gd name="connsiteX31" fmla="*/ 201956 w 505118"/>
                <a:gd name="connsiteY31" fmla="*/ 22674 h 393553"/>
                <a:gd name="connsiteX32" fmla="*/ 169319 w 505118"/>
                <a:gd name="connsiteY32" fmla="*/ 25641 h 393553"/>
                <a:gd name="connsiteX33" fmla="*/ 139649 w 505118"/>
                <a:gd name="connsiteY33" fmla="*/ 58278 h 393553"/>
                <a:gd name="connsiteX34" fmla="*/ 127780 w 505118"/>
                <a:gd name="connsiteY34" fmla="*/ 76081 h 393553"/>
                <a:gd name="connsiteX35" fmla="*/ 98110 w 505118"/>
                <a:gd name="connsiteY35" fmla="*/ 96850 h 393553"/>
                <a:gd name="connsiteX36" fmla="*/ 86242 w 505118"/>
                <a:gd name="connsiteY36" fmla="*/ 93883 h 393553"/>
                <a:gd name="connsiteX37" fmla="*/ 68440 w 505118"/>
                <a:gd name="connsiteY37" fmla="*/ 132454 h 393553"/>
                <a:gd name="connsiteX38" fmla="*/ 6132 w 505118"/>
                <a:gd name="connsiteY38" fmla="*/ 295641 h 39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05118" h="393553">
                  <a:moveTo>
                    <a:pt x="6132" y="295641"/>
                  </a:moveTo>
                  <a:cubicBezTo>
                    <a:pt x="20967" y="349048"/>
                    <a:pt x="62506" y="393553"/>
                    <a:pt x="62506" y="393553"/>
                  </a:cubicBezTo>
                  <a:cubicBezTo>
                    <a:pt x="56572" y="363883"/>
                    <a:pt x="112945" y="257070"/>
                    <a:pt x="112945" y="257070"/>
                  </a:cubicBezTo>
                  <a:cubicBezTo>
                    <a:pt x="112945" y="257070"/>
                    <a:pt x="115912" y="257070"/>
                    <a:pt x="121846" y="254103"/>
                  </a:cubicBezTo>
                  <a:cubicBezTo>
                    <a:pt x="148550" y="254103"/>
                    <a:pt x="175253" y="245201"/>
                    <a:pt x="196022" y="227399"/>
                  </a:cubicBezTo>
                  <a:cubicBezTo>
                    <a:pt x="198989" y="227399"/>
                    <a:pt x="204923" y="224432"/>
                    <a:pt x="207890" y="224432"/>
                  </a:cubicBezTo>
                  <a:cubicBezTo>
                    <a:pt x="216791" y="236300"/>
                    <a:pt x="225692" y="248168"/>
                    <a:pt x="243495" y="245201"/>
                  </a:cubicBezTo>
                  <a:cubicBezTo>
                    <a:pt x="252396" y="245201"/>
                    <a:pt x="255363" y="236300"/>
                    <a:pt x="258330" y="236300"/>
                  </a:cubicBezTo>
                  <a:cubicBezTo>
                    <a:pt x="279099" y="227399"/>
                    <a:pt x="290967" y="242234"/>
                    <a:pt x="308769" y="251136"/>
                  </a:cubicBezTo>
                  <a:cubicBezTo>
                    <a:pt x="320638" y="257070"/>
                    <a:pt x="332506" y="260037"/>
                    <a:pt x="344374" y="260037"/>
                  </a:cubicBezTo>
                  <a:cubicBezTo>
                    <a:pt x="347341" y="260037"/>
                    <a:pt x="353275" y="257070"/>
                    <a:pt x="356242" y="260037"/>
                  </a:cubicBezTo>
                  <a:cubicBezTo>
                    <a:pt x="362176" y="257070"/>
                    <a:pt x="365143" y="257070"/>
                    <a:pt x="368110" y="257070"/>
                  </a:cubicBezTo>
                  <a:cubicBezTo>
                    <a:pt x="371077" y="260037"/>
                    <a:pt x="374044" y="260037"/>
                    <a:pt x="377011" y="263004"/>
                  </a:cubicBezTo>
                  <a:cubicBezTo>
                    <a:pt x="379978" y="263004"/>
                    <a:pt x="379978" y="265971"/>
                    <a:pt x="382945" y="265971"/>
                  </a:cubicBezTo>
                  <a:cubicBezTo>
                    <a:pt x="385912" y="265971"/>
                    <a:pt x="385912" y="265971"/>
                    <a:pt x="388879" y="265971"/>
                  </a:cubicBezTo>
                  <a:cubicBezTo>
                    <a:pt x="391846" y="265971"/>
                    <a:pt x="394813" y="268938"/>
                    <a:pt x="394813" y="268938"/>
                  </a:cubicBezTo>
                  <a:cubicBezTo>
                    <a:pt x="397780" y="271905"/>
                    <a:pt x="400747" y="274872"/>
                    <a:pt x="400747" y="277839"/>
                  </a:cubicBezTo>
                  <a:cubicBezTo>
                    <a:pt x="406682" y="286740"/>
                    <a:pt x="409649" y="292674"/>
                    <a:pt x="418550" y="298608"/>
                  </a:cubicBezTo>
                  <a:cubicBezTo>
                    <a:pt x="424484" y="304542"/>
                    <a:pt x="436352" y="304542"/>
                    <a:pt x="448220" y="310476"/>
                  </a:cubicBezTo>
                  <a:cubicBezTo>
                    <a:pt x="463055" y="328278"/>
                    <a:pt x="468989" y="346081"/>
                    <a:pt x="466022" y="363883"/>
                  </a:cubicBezTo>
                  <a:cubicBezTo>
                    <a:pt x="466022" y="363883"/>
                    <a:pt x="468989" y="352015"/>
                    <a:pt x="474923" y="334212"/>
                  </a:cubicBezTo>
                  <a:cubicBezTo>
                    <a:pt x="477890" y="337179"/>
                    <a:pt x="480857" y="337179"/>
                    <a:pt x="483824" y="331245"/>
                  </a:cubicBezTo>
                  <a:cubicBezTo>
                    <a:pt x="501627" y="301575"/>
                    <a:pt x="510528" y="268938"/>
                    <a:pt x="501627" y="236300"/>
                  </a:cubicBezTo>
                  <a:cubicBezTo>
                    <a:pt x="498660" y="221465"/>
                    <a:pt x="489758" y="209597"/>
                    <a:pt x="483824" y="194762"/>
                  </a:cubicBezTo>
                  <a:cubicBezTo>
                    <a:pt x="474923" y="176960"/>
                    <a:pt x="483824" y="176960"/>
                    <a:pt x="486791" y="162125"/>
                  </a:cubicBezTo>
                  <a:cubicBezTo>
                    <a:pt x="489758" y="150256"/>
                    <a:pt x="483824" y="138388"/>
                    <a:pt x="480857" y="126520"/>
                  </a:cubicBezTo>
                  <a:cubicBezTo>
                    <a:pt x="474923" y="117619"/>
                    <a:pt x="468989" y="108718"/>
                    <a:pt x="463055" y="99817"/>
                  </a:cubicBezTo>
                  <a:cubicBezTo>
                    <a:pt x="451187" y="84982"/>
                    <a:pt x="454154" y="73114"/>
                    <a:pt x="448220" y="58278"/>
                  </a:cubicBezTo>
                  <a:cubicBezTo>
                    <a:pt x="436352" y="31575"/>
                    <a:pt x="412616" y="37509"/>
                    <a:pt x="388879" y="37509"/>
                  </a:cubicBezTo>
                  <a:cubicBezTo>
                    <a:pt x="347341" y="37509"/>
                    <a:pt x="311736" y="-9963"/>
                    <a:pt x="267231" y="1905"/>
                  </a:cubicBezTo>
                  <a:cubicBezTo>
                    <a:pt x="261297" y="1905"/>
                    <a:pt x="258330" y="4872"/>
                    <a:pt x="255363" y="7839"/>
                  </a:cubicBezTo>
                  <a:cubicBezTo>
                    <a:pt x="237561" y="16740"/>
                    <a:pt x="219758" y="22674"/>
                    <a:pt x="201956" y="22674"/>
                  </a:cubicBezTo>
                  <a:cubicBezTo>
                    <a:pt x="190088" y="22674"/>
                    <a:pt x="181187" y="19707"/>
                    <a:pt x="169319" y="25641"/>
                  </a:cubicBezTo>
                  <a:cubicBezTo>
                    <a:pt x="154484" y="31575"/>
                    <a:pt x="148550" y="46410"/>
                    <a:pt x="139649" y="58278"/>
                  </a:cubicBezTo>
                  <a:cubicBezTo>
                    <a:pt x="136681" y="64212"/>
                    <a:pt x="130747" y="70146"/>
                    <a:pt x="127780" y="76081"/>
                  </a:cubicBezTo>
                  <a:cubicBezTo>
                    <a:pt x="115912" y="82015"/>
                    <a:pt x="107011" y="90916"/>
                    <a:pt x="98110" y="96850"/>
                  </a:cubicBezTo>
                  <a:cubicBezTo>
                    <a:pt x="98110" y="93883"/>
                    <a:pt x="101077" y="82015"/>
                    <a:pt x="86242" y="93883"/>
                  </a:cubicBezTo>
                  <a:cubicBezTo>
                    <a:pt x="71407" y="102784"/>
                    <a:pt x="68440" y="117619"/>
                    <a:pt x="68440" y="132454"/>
                  </a:cubicBezTo>
                  <a:cubicBezTo>
                    <a:pt x="198" y="156191"/>
                    <a:pt x="-8703" y="239267"/>
                    <a:pt x="6132" y="295641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16D4A313-3B0D-4607-82B6-257D7C525354}"/>
                </a:ext>
              </a:extLst>
            </p:cNvPr>
            <p:cNvSpPr/>
            <p:nvPr/>
          </p:nvSpPr>
          <p:spPr>
            <a:xfrm>
              <a:off x="4364558" y="2502954"/>
              <a:ext cx="66016" cy="231428"/>
            </a:xfrm>
            <a:custGeom>
              <a:avLst/>
              <a:gdLst>
                <a:gd name="connsiteX0" fmla="*/ 15577 w 66016"/>
                <a:gd name="connsiteY0" fmla="*/ 231429 h 231428"/>
                <a:gd name="connsiteX1" fmla="*/ 15577 w 66016"/>
                <a:gd name="connsiteY1" fmla="*/ 231429 h 231428"/>
                <a:gd name="connsiteX2" fmla="*/ 9643 w 66016"/>
                <a:gd name="connsiteY2" fmla="*/ 225494 h 231428"/>
                <a:gd name="connsiteX3" fmla="*/ 54148 w 66016"/>
                <a:gd name="connsiteY3" fmla="*/ 109780 h 231428"/>
                <a:gd name="connsiteX4" fmla="*/ 6676 w 66016"/>
                <a:gd name="connsiteY4" fmla="*/ 68242 h 231428"/>
                <a:gd name="connsiteX5" fmla="*/ 6676 w 66016"/>
                <a:gd name="connsiteY5" fmla="*/ 2967 h 231428"/>
                <a:gd name="connsiteX6" fmla="*/ 12610 w 66016"/>
                <a:gd name="connsiteY6" fmla="*/ 0 h 231428"/>
                <a:gd name="connsiteX7" fmla="*/ 15577 w 66016"/>
                <a:gd name="connsiteY7" fmla="*/ 5934 h 231428"/>
                <a:gd name="connsiteX8" fmla="*/ 15577 w 66016"/>
                <a:gd name="connsiteY8" fmla="*/ 62308 h 231428"/>
                <a:gd name="connsiteX9" fmla="*/ 63049 w 66016"/>
                <a:gd name="connsiteY9" fmla="*/ 100879 h 231428"/>
                <a:gd name="connsiteX10" fmla="*/ 66016 w 66016"/>
                <a:gd name="connsiteY10" fmla="*/ 103846 h 231428"/>
                <a:gd name="connsiteX11" fmla="*/ 66016 w 66016"/>
                <a:gd name="connsiteY11" fmla="*/ 109780 h 231428"/>
                <a:gd name="connsiteX12" fmla="*/ 18544 w 66016"/>
                <a:gd name="connsiteY12" fmla="*/ 228462 h 231428"/>
                <a:gd name="connsiteX13" fmla="*/ 15577 w 66016"/>
                <a:gd name="connsiteY13" fmla="*/ 231429 h 23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016" h="231428">
                  <a:moveTo>
                    <a:pt x="15577" y="231429"/>
                  </a:moveTo>
                  <a:cubicBezTo>
                    <a:pt x="15577" y="231429"/>
                    <a:pt x="15577" y="231429"/>
                    <a:pt x="15577" y="231429"/>
                  </a:cubicBezTo>
                  <a:cubicBezTo>
                    <a:pt x="12610" y="231429"/>
                    <a:pt x="9643" y="228462"/>
                    <a:pt x="9643" y="225494"/>
                  </a:cubicBezTo>
                  <a:cubicBezTo>
                    <a:pt x="15577" y="172088"/>
                    <a:pt x="42280" y="124615"/>
                    <a:pt x="54148" y="109780"/>
                  </a:cubicBezTo>
                  <a:cubicBezTo>
                    <a:pt x="42280" y="103846"/>
                    <a:pt x="18544" y="91978"/>
                    <a:pt x="6676" y="68242"/>
                  </a:cubicBezTo>
                  <a:cubicBezTo>
                    <a:pt x="-2225" y="50440"/>
                    <a:pt x="-2225" y="26703"/>
                    <a:pt x="6676" y="2967"/>
                  </a:cubicBezTo>
                  <a:cubicBezTo>
                    <a:pt x="6676" y="0"/>
                    <a:pt x="9643" y="0"/>
                    <a:pt x="12610" y="0"/>
                  </a:cubicBezTo>
                  <a:cubicBezTo>
                    <a:pt x="15577" y="0"/>
                    <a:pt x="15577" y="2967"/>
                    <a:pt x="15577" y="5934"/>
                  </a:cubicBezTo>
                  <a:cubicBezTo>
                    <a:pt x="6676" y="26703"/>
                    <a:pt x="9643" y="44505"/>
                    <a:pt x="15577" y="62308"/>
                  </a:cubicBezTo>
                  <a:cubicBezTo>
                    <a:pt x="30412" y="89011"/>
                    <a:pt x="63049" y="100879"/>
                    <a:pt x="63049" y="100879"/>
                  </a:cubicBezTo>
                  <a:cubicBezTo>
                    <a:pt x="66016" y="100879"/>
                    <a:pt x="66016" y="103846"/>
                    <a:pt x="66016" y="103846"/>
                  </a:cubicBezTo>
                  <a:cubicBezTo>
                    <a:pt x="66016" y="106813"/>
                    <a:pt x="66016" y="106813"/>
                    <a:pt x="66016" y="109780"/>
                  </a:cubicBezTo>
                  <a:cubicBezTo>
                    <a:pt x="66016" y="109780"/>
                    <a:pt x="24478" y="166154"/>
                    <a:pt x="18544" y="228462"/>
                  </a:cubicBezTo>
                  <a:cubicBezTo>
                    <a:pt x="21511" y="228462"/>
                    <a:pt x="18544" y="231429"/>
                    <a:pt x="15577" y="231429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A0402088-6748-41BE-A5D8-94A5F2FFB04C}"/>
                </a:ext>
              </a:extLst>
            </p:cNvPr>
            <p:cNvSpPr/>
            <p:nvPr/>
          </p:nvSpPr>
          <p:spPr>
            <a:xfrm>
              <a:off x="4470884" y="2480410"/>
              <a:ext cx="253426" cy="81884"/>
            </a:xfrm>
            <a:custGeom>
              <a:avLst/>
              <a:gdLst>
                <a:gd name="connsiteX0" fmla="*/ 244526 w 253426"/>
                <a:gd name="connsiteY0" fmla="*/ 81884 h 81884"/>
                <a:gd name="connsiteX1" fmla="*/ 244526 w 253426"/>
                <a:gd name="connsiteY1" fmla="*/ 81884 h 81884"/>
                <a:gd name="connsiteX2" fmla="*/ 191119 w 253426"/>
                <a:gd name="connsiteY2" fmla="*/ 58148 h 81884"/>
                <a:gd name="connsiteX3" fmla="*/ 182218 w 253426"/>
                <a:gd name="connsiteY3" fmla="*/ 49247 h 81884"/>
                <a:gd name="connsiteX4" fmla="*/ 152548 w 253426"/>
                <a:gd name="connsiteY4" fmla="*/ 31445 h 81884"/>
                <a:gd name="connsiteX5" fmla="*/ 128811 w 253426"/>
                <a:gd name="connsiteY5" fmla="*/ 37379 h 81884"/>
                <a:gd name="connsiteX6" fmla="*/ 96174 w 253426"/>
                <a:gd name="connsiteY6" fmla="*/ 46280 h 81884"/>
                <a:gd name="connsiteX7" fmla="*/ 69471 w 253426"/>
                <a:gd name="connsiteY7" fmla="*/ 28478 h 81884"/>
                <a:gd name="connsiteX8" fmla="*/ 51668 w 253426"/>
                <a:gd name="connsiteY8" fmla="*/ 13643 h 81884"/>
                <a:gd name="connsiteX9" fmla="*/ 24965 w 253426"/>
                <a:gd name="connsiteY9" fmla="*/ 16610 h 81884"/>
                <a:gd name="connsiteX10" fmla="*/ 10130 w 253426"/>
                <a:gd name="connsiteY10" fmla="*/ 43313 h 81884"/>
                <a:gd name="connsiteX11" fmla="*/ 4196 w 253426"/>
                <a:gd name="connsiteY11" fmla="*/ 46280 h 81884"/>
                <a:gd name="connsiteX12" fmla="*/ 1229 w 253426"/>
                <a:gd name="connsiteY12" fmla="*/ 40346 h 81884"/>
                <a:gd name="connsiteX13" fmla="*/ 21998 w 253426"/>
                <a:gd name="connsiteY13" fmla="*/ 7709 h 81884"/>
                <a:gd name="connsiteX14" fmla="*/ 60570 w 253426"/>
                <a:gd name="connsiteY14" fmla="*/ 1774 h 81884"/>
                <a:gd name="connsiteX15" fmla="*/ 81339 w 253426"/>
                <a:gd name="connsiteY15" fmla="*/ 19577 h 81884"/>
                <a:gd name="connsiteX16" fmla="*/ 102108 w 253426"/>
                <a:gd name="connsiteY16" fmla="*/ 34412 h 81884"/>
                <a:gd name="connsiteX17" fmla="*/ 128811 w 253426"/>
                <a:gd name="connsiteY17" fmla="*/ 28478 h 81884"/>
                <a:gd name="connsiteX18" fmla="*/ 158482 w 253426"/>
                <a:gd name="connsiteY18" fmla="*/ 19577 h 81884"/>
                <a:gd name="connsiteX19" fmla="*/ 194086 w 253426"/>
                <a:gd name="connsiteY19" fmla="*/ 40346 h 81884"/>
                <a:gd name="connsiteX20" fmla="*/ 202987 w 253426"/>
                <a:gd name="connsiteY20" fmla="*/ 49247 h 81884"/>
                <a:gd name="connsiteX21" fmla="*/ 247493 w 253426"/>
                <a:gd name="connsiteY21" fmla="*/ 70016 h 81884"/>
                <a:gd name="connsiteX22" fmla="*/ 253427 w 253426"/>
                <a:gd name="connsiteY22" fmla="*/ 75950 h 81884"/>
                <a:gd name="connsiteX23" fmla="*/ 244526 w 253426"/>
                <a:gd name="connsiteY23" fmla="*/ 81884 h 81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53426" h="81884">
                  <a:moveTo>
                    <a:pt x="244526" y="81884"/>
                  </a:moveTo>
                  <a:cubicBezTo>
                    <a:pt x="244526" y="81884"/>
                    <a:pt x="241559" y="81884"/>
                    <a:pt x="244526" y="81884"/>
                  </a:cubicBezTo>
                  <a:cubicBezTo>
                    <a:pt x="223756" y="78917"/>
                    <a:pt x="205954" y="72983"/>
                    <a:pt x="191119" y="58148"/>
                  </a:cubicBezTo>
                  <a:cubicBezTo>
                    <a:pt x="188152" y="55181"/>
                    <a:pt x="185185" y="52214"/>
                    <a:pt x="182218" y="49247"/>
                  </a:cubicBezTo>
                  <a:cubicBezTo>
                    <a:pt x="173317" y="40346"/>
                    <a:pt x="164416" y="31445"/>
                    <a:pt x="152548" y="31445"/>
                  </a:cubicBezTo>
                  <a:cubicBezTo>
                    <a:pt x="143647" y="31445"/>
                    <a:pt x="137712" y="34412"/>
                    <a:pt x="128811" y="37379"/>
                  </a:cubicBezTo>
                  <a:cubicBezTo>
                    <a:pt x="119910" y="43313"/>
                    <a:pt x="108042" y="49247"/>
                    <a:pt x="96174" y="46280"/>
                  </a:cubicBezTo>
                  <a:cubicBezTo>
                    <a:pt x="84306" y="43313"/>
                    <a:pt x="78372" y="34412"/>
                    <a:pt x="69471" y="28478"/>
                  </a:cubicBezTo>
                  <a:cubicBezTo>
                    <a:pt x="63537" y="22544"/>
                    <a:pt x="60570" y="16610"/>
                    <a:pt x="51668" y="13643"/>
                  </a:cubicBezTo>
                  <a:cubicBezTo>
                    <a:pt x="42767" y="10676"/>
                    <a:pt x="33866" y="10676"/>
                    <a:pt x="24965" y="16610"/>
                  </a:cubicBezTo>
                  <a:cubicBezTo>
                    <a:pt x="16064" y="22544"/>
                    <a:pt x="13097" y="31445"/>
                    <a:pt x="10130" y="43313"/>
                  </a:cubicBezTo>
                  <a:cubicBezTo>
                    <a:pt x="10130" y="46280"/>
                    <a:pt x="7163" y="49247"/>
                    <a:pt x="4196" y="46280"/>
                  </a:cubicBezTo>
                  <a:cubicBezTo>
                    <a:pt x="1229" y="46280"/>
                    <a:pt x="-1738" y="43313"/>
                    <a:pt x="1229" y="40346"/>
                  </a:cubicBezTo>
                  <a:cubicBezTo>
                    <a:pt x="4196" y="28478"/>
                    <a:pt x="10130" y="16610"/>
                    <a:pt x="21998" y="7709"/>
                  </a:cubicBezTo>
                  <a:cubicBezTo>
                    <a:pt x="33866" y="-1193"/>
                    <a:pt x="48702" y="-1193"/>
                    <a:pt x="60570" y="1774"/>
                  </a:cubicBezTo>
                  <a:cubicBezTo>
                    <a:pt x="69471" y="4742"/>
                    <a:pt x="75405" y="13643"/>
                    <a:pt x="81339" y="19577"/>
                  </a:cubicBezTo>
                  <a:cubicBezTo>
                    <a:pt x="87273" y="25511"/>
                    <a:pt x="93207" y="31445"/>
                    <a:pt x="102108" y="34412"/>
                  </a:cubicBezTo>
                  <a:cubicBezTo>
                    <a:pt x="111009" y="37379"/>
                    <a:pt x="119910" y="31445"/>
                    <a:pt x="128811" y="28478"/>
                  </a:cubicBezTo>
                  <a:cubicBezTo>
                    <a:pt x="137712" y="22544"/>
                    <a:pt x="146614" y="19577"/>
                    <a:pt x="158482" y="19577"/>
                  </a:cubicBezTo>
                  <a:cubicBezTo>
                    <a:pt x="173317" y="19577"/>
                    <a:pt x="185185" y="31445"/>
                    <a:pt x="194086" y="40346"/>
                  </a:cubicBezTo>
                  <a:cubicBezTo>
                    <a:pt x="197053" y="43313"/>
                    <a:pt x="200020" y="46280"/>
                    <a:pt x="202987" y="49247"/>
                  </a:cubicBezTo>
                  <a:cubicBezTo>
                    <a:pt x="214855" y="61115"/>
                    <a:pt x="232658" y="67049"/>
                    <a:pt x="247493" y="70016"/>
                  </a:cubicBezTo>
                  <a:cubicBezTo>
                    <a:pt x="250460" y="70016"/>
                    <a:pt x="253427" y="72983"/>
                    <a:pt x="253427" y="75950"/>
                  </a:cubicBezTo>
                  <a:cubicBezTo>
                    <a:pt x="247493" y="78917"/>
                    <a:pt x="247493" y="81884"/>
                    <a:pt x="244526" y="81884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8136C38C-9157-4E84-B6E6-E39F9D188CAF}"/>
                </a:ext>
              </a:extLst>
            </p:cNvPr>
            <p:cNvSpPr/>
            <p:nvPr/>
          </p:nvSpPr>
          <p:spPr>
            <a:xfrm>
              <a:off x="4463953" y="2398518"/>
              <a:ext cx="281126" cy="83666"/>
            </a:xfrm>
            <a:custGeom>
              <a:avLst/>
              <a:gdLst>
                <a:gd name="connsiteX0" fmla="*/ 275192 w 281126"/>
                <a:gd name="connsiteY0" fmla="*/ 83666 h 83666"/>
                <a:gd name="connsiteX1" fmla="*/ 269258 w 281126"/>
                <a:gd name="connsiteY1" fmla="*/ 77732 h 83666"/>
                <a:gd name="connsiteX2" fmla="*/ 257390 w 281126"/>
                <a:gd name="connsiteY2" fmla="*/ 59930 h 83666"/>
                <a:gd name="connsiteX3" fmla="*/ 206951 w 281126"/>
                <a:gd name="connsiteY3" fmla="*/ 48062 h 83666"/>
                <a:gd name="connsiteX4" fmla="*/ 159478 w 281126"/>
                <a:gd name="connsiteY4" fmla="*/ 27293 h 83666"/>
                <a:gd name="connsiteX5" fmla="*/ 135742 w 281126"/>
                <a:gd name="connsiteY5" fmla="*/ 12457 h 83666"/>
                <a:gd name="connsiteX6" fmla="*/ 91236 w 281126"/>
                <a:gd name="connsiteY6" fmla="*/ 24326 h 83666"/>
                <a:gd name="connsiteX7" fmla="*/ 55632 w 281126"/>
                <a:gd name="connsiteY7" fmla="*/ 30260 h 83666"/>
                <a:gd name="connsiteX8" fmla="*/ 11126 w 281126"/>
                <a:gd name="connsiteY8" fmla="*/ 48062 h 83666"/>
                <a:gd name="connsiteX9" fmla="*/ 2225 w 281126"/>
                <a:gd name="connsiteY9" fmla="*/ 48062 h 83666"/>
                <a:gd name="connsiteX10" fmla="*/ 2225 w 281126"/>
                <a:gd name="connsiteY10" fmla="*/ 39161 h 83666"/>
                <a:gd name="connsiteX11" fmla="*/ 61566 w 281126"/>
                <a:gd name="connsiteY11" fmla="*/ 18392 h 83666"/>
                <a:gd name="connsiteX12" fmla="*/ 88269 w 281126"/>
                <a:gd name="connsiteY12" fmla="*/ 12457 h 83666"/>
                <a:gd name="connsiteX13" fmla="*/ 141676 w 281126"/>
                <a:gd name="connsiteY13" fmla="*/ 589 h 83666"/>
                <a:gd name="connsiteX14" fmla="*/ 168379 w 281126"/>
                <a:gd name="connsiteY14" fmla="*/ 15425 h 83666"/>
                <a:gd name="connsiteX15" fmla="*/ 206951 w 281126"/>
                <a:gd name="connsiteY15" fmla="*/ 33227 h 83666"/>
                <a:gd name="connsiteX16" fmla="*/ 266291 w 281126"/>
                <a:gd name="connsiteY16" fmla="*/ 48062 h 83666"/>
                <a:gd name="connsiteX17" fmla="*/ 281126 w 281126"/>
                <a:gd name="connsiteY17" fmla="*/ 74765 h 83666"/>
                <a:gd name="connsiteX18" fmla="*/ 275192 w 281126"/>
                <a:gd name="connsiteY18" fmla="*/ 83666 h 83666"/>
                <a:gd name="connsiteX19" fmla="*/ 275192 w 281126"/>
                <a:gd name="connsiteY19" fmla="*/ 83666 h 83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1126" h="83666">
                  <a:moveTo>
                    <a:pt x="275192" y="83666"/>
                  </a:moveTo>
                  <a:cubicBezTo>
                    <a:pt x="272225" y="83666"/>
                    <a:pt x="269258" y="80699"/>
                    <a:pt x="269258" y="77732"/>
                  </a:cubicBezTo>
                  <a:cubicBezTo>
                    <a:pt x="269258" y="68831"/>
                    <a:pt x="266291" y="62897"/>
                    <a:pt x="257390" y="59930"/>
                  </a:cubicBezTo>
                  <a:cubicBezTo>
                    <a:pt x="242555" y="48062"/>
                    <a:pt x="218819" y="48062"/>
                    <a:pt x="206951" y="48062"/>
                  </a:cubicBezTo>
                  <a:cubicBezTo>
                    <a:pt x="192115" y="51029"/>
                    <a:pt x="174313" y="39161"/>
                    <a:pt x="159478" y="27293"/>
                  </a:cubicBezTo>
                  <a:cubicBezTo>
                    <a:pt x="150577" y="21359"/>
                    <a:pt x="141676" y="15425"/>
                    <a:pt x="135742" y="12457"/>
                  </a:cubicBezTo>
                  <a:cubicBezTo>
                    <a:pt x="114973" y="9490"/>
                    <a:pt x="103104" y="15425"/>
                    <a:pt x="91236" y="24326"/>
                  </a:cubicBezTo>
                  <a:cubicBezTo>
                    <a:pt x="82335" y="30260"/>
                    <a:pt x="70467" y="36194"/>
                    <a:pt x="55632" y="30260"/>
                  </a:cubicBezTo>
                  <a:cubicBezTo>
                    <a:pt x="34863" y="18392"/>
                    <a:pt x="11126" y="48062"/>
                    <a:pt x="11126" y="48062"/>
                  </a:cubicBezTo>
                  <a:cubicBezTo>
                    <a:pt x="8159" y="51029"/>
                    <a:pt x="5192" y="51029"/>
                    <a:pt x="2225" y="48062"/>
                  </a:cubicBezTo>
                  <a:cubicBezTo>
                    <a:pt x="-742" y="45095"/>
                    <a:pt x="-742" y="42128"/>
                    <a:pt x="2225" y="39161"/>
                  </a:cubicBezTo>
                  <a:cubicBezTo>
                    <a:pt x="2225" y="39161"/>
                    <a:pt x="31896" y="3556"/>
                    <a:pt x="61566" y="18392"/>
                  </a:cubicBezTo>
                  <a:cubicBezTo>
                    <a:pt x="70467" y="24326"/>
                    <a:pt x="76401" y="18392"/>
                    <a:pt x="88269" y="12457"/>
                  </a:cubicBezTo>
                  <a:cubicBezTo>
                    <a:pt x="100137" y="6523"/>
                    <a:pt x="114973" y="-2378"/>
                    <a:pt x="141676" y="589"/>
                  </a:cubicBezTo>
                  <a:cubicBezTo>
                    <a:pt x="150577" y="589"/>
                    <a:pt x="159478" y="9490"/>
                    <a:pt x="168379" y="15425"/>
                  </a:cubicBezTo>
                  <a:cubicBezTo>
                    <a:pt x="180247" y="24326"/>
                    <a:pt x="198049" y="36194"/>
                    <a:pt x="206951" y="33227"/>
                  </a:cubicBezTo>
                  <a:cubicBezTo>
                    <a:pt x="221786" y="30260"/>
                    <a:pt x="248489" y="33227"/>
                    <a:pt x="266291" y="48062"/>
                  </a:cubicBezTo>
                  <a:cubicBezTo>
                    <a:pt x="275192" y="53996"/>
                    <a:pt x="281126" y="62897"/>
                    <a:pt x="281126" y="74765"/>
                  </a:cubicBezTo>
                  <a:cubicBezTo>
                    <a:pt x="281126" y="80699"/>
                    <a:pt x="278159" y="83666"/>
                    <a:pt x="275192" y="83666"/>
                  </a:cubicBezTo>
                  <a:cubicBezTo>
                    <a:pt x="275192" y="83666"/>
                    <a:pt x="275192" y="83666"/>
                    <a:pt x="275192" y="83666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7" name="图形 1">
              <a:extLst>
                <a:ext uri="{FF2B5EF4-FFF2-40B4-BE49-F238E27FC236}">
                  <a16:creationId xmlns:a16="http://schemas.microsoft.com/office/drawing/2014/main" id="{ADD2E898-993B-44F3-84A5-F2BDA22004B6}"/>
                </a:ext>
              </a:extLst>
            </p:cNvPr>
            <p:cNvGrpSpPr/>
            <p:nvPr/>
          </p:nvGrpSpPr>
          <p:grpSpPr>
            <a:xfrm>
              <a:off x="3202484" y="6312624"/>
              <a:ext cx="376552" cy="573079"/>
              <a:chOff x="3202484" y="6312624"/>
              <a:chExt cx="376552" cy="573079"/>
            </a:xfrm>
          </p:grpSpPr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33822A4B-395A-4465-856F-6C31DDA4E895}"/>
                  </a:ext>
                </a:extLst>
              </p:cNvPr>
              <p:cNvSpPr/>
              <p:nvPr/>
            </p:nvSpPr>
            <p:spPr>
              <a:xfrm>
                <a:off x="3306069" y="6312624"/>
                <a:ext cx="272967" cy="246263"/>
              </a:xfrm>
              <a:custGeom>
                <a:avLst/>
                <a:gdLst>
                  <a:gd name="connsiteX0" fmla="*/ 23736 w 272967"/>
                  <a:gd name="connsiteY0" fmla="*/ 115715 h 246263"/>
                  <a:gd name="connsiteX1" fmla="*/ 163187 w 272967"/>
                  <a:gd name="connsiteY1" fmla="*/ 0 h 246263"/>
                  <a:gd name="connsiteX2" fmla="*/ 272967 w 272967"/>
                  <a:gd name="connsiteY2" fmla="*/ 139451 h 246263"/>
                  <a:gd name="connsiteX3" fmla="*/ 115714 w 272967"/>
                  <a:gd name="connsiteY3" fmla="*/ 246264 h 246263"/>
                  <a:gd name="connsiteX4" fmla="*/ 0 w 272967"/>
                  <a:gd name="connsiteY4" fmla="*/ 148352 h 24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2967" h="246263">
                    <a:moveTo>
                      <a:pt x="23736" y="115715"/>
                    </a:moveTo>
                    <a:lnTo>
                      <a:pt x="163187" y="0"/>
                    </a:lnTo>
                    <a:lnTo>
                      <a:pt x="272967" y="139451"/>
                    </a:lnTo>
                    <a:lnTo>
                      <a:pt x="115714" y="246264"/>
                    </a:lnTo>
                    <a:lnTo>
                      <a:pt x="0" y="148352"/>
                    </a:ln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5005A64B-AF1C-4A3D-A023-AB52AA548B46}"/>
                  </a:ext>
                </a:extLst>
              </p:cNvPr>
              <p:cNvSpPr/>
              <p:nvPr/>
            </p:nvSpPr>
            <p:spPr>
              <a:xfrm>
                <a:off x="3234860" y="6419437"/>
                <a:ext cx="310194" cy="439120"/>
              </a:xfrm>
              <a:custGeom>
                <a:avLst/>
                <a:gdLst>
                  <a:gd name="connsiteX0" fmla="*/ 86044 w 310194"/>
                  <a:gd name="connsiteY0" fmla="*/ 0 h 439120"/>
                  <a:gd name="connsiteX1" fmla="*/ 234396 w 310194"/>
                  <a:gd name="connsiteY1" fmla="*/ 112747 h 439120"/>
                  <a:gd name="connsiteX2" fmla="*/ 252198 w 310194"/>
                  <a:gd name="connsiteY2" fmla="*/ 264066 h 439120"/>
                  <a:gd name="connsiteX3" fmla="*/ 293736 w 310194"/>
                  <a:gd name="connsiteY3" fmla="*/ 439121 h 439120"/>
                  <a:gd name="connsiteX4" fmla="*/ 0 w 310194"/>
                  <a:gd name="connsiteY4" fmla="*/ 68242 h 439120"/>
                  <a:gd name="connsiteX5" fmla="*/ 86044 w 310194"/>
                  <a:gd name="connsiteY5" fmla="*/ 0 h 439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0194" h="439120">
                    <a:moveTo>
                      <a:pt x="86044" y="0"/>
                    </a:moveTo>
                    <a:cubicBezTo>
                      <a:pt x="86044" y="0"/>
                      <a:pt x="145385" y="106813"/>
                      <a:pt x="234396" y="112747"/>
                    </a:cubicBezTo>
                    <a:cubicBezTo>
                      <a:pt x="234396" y="112747"/>
                      <a:pt x="234396" y="222527"/>
                      <a:pt x="252198" y="264066"/>
                    </a:cubicBezTo>
                    <a:cubicBezTo>
                      <a:pt x="272967" y="302637"/>
                      <a:pt x="341209" y="388682"/>
                      <a:pt x="293736" y="439121"/>
                    </a:cubicBezTo>
                    <a:lnTo>
                      <a:pt x="0" y="68242"/>
                    </a:lnTo>
                    <a:cubicBezTo>
                      <a:pt x="0" y="65275"/>
                      <a:pt x="35604" y="14835"/>
                      <a:pt x="86044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980E3BF6-8AD8-4B44-B7F9-FFAF093B31CC}"/>
                  </a:ext>
                </a:extLst>
              </p:cNvPr>
              <p:cNvSpPr/>
              <p:nvPr/>
            </p:nvSpPr>
            <p:spPr>
              <a:xfrm rot="-2302408">
                <a:off x="3345031" y="6448428"/>
                <a:ext cx="44506" cy="474736"/>
              </a:xfrm>
              <a:custGeom>
                <a:avLst/>
                <a:gdLst>
                  <a:gd name="connsiteX0" fmla="*/ 0 w 44506"/>
                  <a:gd name="connsiteY0" fmla="*/ 0 h 474736"/>
                  <a:gd name="connsiteX1" fmla="*/ 44507 w 44506"/>
                  <a:gd name="connsiteY1" fmla="*/ 0 h 474736"/>
                  <a:gd name="connsiteX2" fmla="*/ 44507 w 44506"/>
                  <a:gd name="connsiteY2" fmla="*/ 474737 h 474736"/>
                  <a:gd name="connsiteX3" fmla="*/ 0 w 44506"/>
                  <a:gd name="connsiteY3" fmla="*/ 474737 h 474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506" h="474736">
                    <a:moveTo>
                      <a:pt x="0" y="0"/>
                    </a:moveTo>
                    <a:lnTo>
                      <a:pt x="44507" y="0"/>
                    </a:lnTo>
                    <a:lnTo>
                      <a:pt x="44507" y="474737"/>
                    </a:lnTo>
                    <a:lnTo>
                      <a:pt x="0" y="474737"/>
                    </a:lnTo>
                    <a:close/>
                  </a:path>
                </a:pathLst>
              </a:custGeom>
              <a:solidFill>
                <a:srgbClr val="38333D"/>
              </a:solidFill>
              <a:ln w="296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5892A226-D214-4BC6-960C-14AD19819534}"/>
                  </a:ext>
                </a:extLst>
              </p:cNvPr>
              <p:cNvSpPr/>
              <p:nvPr/>
            </p:nvSpPr>
            <p:spPr>
              <a:xfrm>
                <a:off x="3313741" y="6412274"/>
                <a:ext cx="164415" cy="125844"/>
              </a:xfrm>
              <a:custGeom>
                <a:avLst/>
                <a:gdLst>
                  <a:gd name="connsiteX0" fmla="*/ 155515 w 164415"/>
                  <a:gd name="connsiteY0" fmla="*/ 125844 h 125844"/>
                  <a:gd name="connsiteX1" fmla="*/ 155515 w 164415"/>
                  <a:gd name="connsiteY1" fmla="*/ 125844 h 125844"/>
                  <a:gd name="connsiteX2" fmla="*/ 1229 w 164415"/>
                  <a:gd name="connsiteY2" fmla="*/ 10130 h 125844"/>
                  <a:gd name="connsiteX3" fmla="*/ 4196 w 164415"/>
                  <a:gd name="connsiteY3" fmla="*/ 1229 h 125844"/>
                  <a:gd name="connsiteX4" fmla="*/ 13097 w 164415"/>
                  <a:gd name="connsiteY4" fmla="*/ 4196 h 125844"/>
                  <a:gd name="connsiteX5" fmla="*/ 158482 w 164415"/>
                  <a:gd name="connsiteY5" fmla="*/ 113976 h 125844"/>
                  <a:gd name="connsiteX6" fmla="*/ 164416 w 164415"/>
                  <a:gd name="connsiteY6" fmla="*/ 119910 h 125844"/>
                  <a:gd name="connsiteX7" fmla="*/ 155515 w 164415"/>
                  <a:gd name="connsiteY7" fmla="*/ 125844 h 125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415" h="125844">
                    <a:moveTo>
                      <a:pt x="155515" y="125844"/>
                    </a:moveTo>
                    <a:cubicBezTo>
                      <a:pt x="155515" y="125844"/>
                      <a:pt x="155515" y="125844"/>
                      <a:pt x="155515" y="125844"/>
                    </a:cubicBezTo>
                    <a:cubicBezTo>
                      <a:pt x="60570" y="111009"/>
                      <a:pt x="4196" y="13097"/>
                      <a:pt x="1229" y="10130"/>
                    </a:cubicBezTo>
                    <a:cubicBezTo>
                      <a:pt x="-1738" y="7163"/>
                      <a:pt x="1229" y="4196"/>
                      <a:pt x="4196" y="1229"/>
                    </a:cubicBezTo>
                    <a:cubicBezTo>
                      <a:pt x="7163" y="-1738"/>
                      <a:pt x="10130" y="1229"/>
                      <a:pt x="13097" y="4196"/>
                    </a:cubicBezTo>
                    <a:cubicBezTo>
                      <a:pt x="13097" y="4196"/>
                      <a:pt x="69471" y="99141"/>
                      <a:pt x="158482" y="113976"/>
                    </a:cubicBezTo>
                    <a:cubicBezTo>
                      <a:pt x="161449" y="113976"/>
                      <a:pt x="164416" y="116943"/>
                      <a:pt x="164416" y="119910"/>
                    </a:cubicBezTo>
                    <a:cubicBezTo>
                      <a:pt x="161449" y="122877"/>
                      <a:pt x="158482" y="125844"/>
                      <a:pt x="155515" y="125844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8FAAEA7A-43AA-4C8D-8D2F-0803F6EE3CC5}"/>
                  </a:ext>
                </a:extLst>
              </p:cNvPr>
              <p:cNvSpPr/>
              <p:nvPr/>
            </p:nvSpPr>
            <p:spPr>
              <a:xfrm>
                <a:off x="3430684" y="6564822"/>
                <a:ext cx="47472" cy="14835"/>
              </a:xfrm>
              <a:custGeom>
                <a:avLst/>
                <a:gdLst>
                  <a:gd name="connsiteX0" fmla="*/ 41539 w 47472"/>
                  <a:gd name="connsiteY0" fmla="*/ 14835 h 14835"/>
                  <a:gd name="connsiteX1" fmla="*/ 41539 w 47472"/>
                  <a:gd name="connsiteY1" fmla="*/ 14835 h 14835"/>
                  <a:gd name="connsiteX2" fmla="*/ 5934 w 47472"/>
                  <a:gd name="connsiteY2" fmla="*/ 11868 h 14835"/>
                  <a:gd name="connsiteX3" fmla="*/ 0 w 47472"/>
                  <a:gd name="connsiteY3" fmla="*/ 5934 h 14835"/>
                  <a:gd name="connsiteX4" fmla="*/ 5934 w 47472"/>
                  <a:gd name="connsiteY4" fmla="*/ 0 h 14835"/>
                  <a:gd name="connsiteX5" fmla="*/ 41539 w 47472"/>
                  <a:gd name="connsiteY5" fmla="*/ 2967 h 14835"/>
                  <a:gd name="connsiteX6" fmla="*/ 47473 w 47472"/>
                  <a:gd name="connsiteY6" fmla="*/ 8901 h 14835"/>
                  <a:gd name="connsiteX7" fmla="*/ 41539 w 47472"/>
                  <a:gd name="connsiteY7" fmla="*/ 14835 h 14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472" h="14835">
                    <a:moveTo>
                      <a:pt x="41539" y="14835"/>
                    </a:moveTo>
                    <a:cubicBezTo>
                      <a:pt x="38571" y="14835"/>
                      <a:pt x="38571" y="14835"/>
                      <a:pt x="41539" y="14835"/>
                    </a:cubicBezTo>
                    <a:lnTo>
                      <a:pt x="5934" y="11868"/>
                    </a:lnTo>
                    <a:cubicBezTo>
                      <a:pt x="2967" y="11868"/>
                      <a:pt x="0" y="8901"/>
                      <a:pt x="0" y="5934"/>
                    </a:cubicBezTo>
                    <a:cubicBezTo>
                      <a:pt x="0" y="2967"/>
                      <a:pt x="2967" y="0"/>
                      <a:pt x="5934" y="0"/>
                    </a:cubicBezTo>
                    <a:lnTo>
                      <a:pt x="41539" y="2967"/>
                    </a:lnTo>
                    <a:cubicBezTo>
                      <a:pt x="44505" y="2967"/>
                      <a:pt x="47473" y="5934"/>
                      <a:pt x="47473" y="8901"/>
                    </a:cubicBezTo>
                    <a:cubicBezTo>
                      <a:pt x="44505" y="14835"/>
                      <a:pt x="41539" y="14835"/>
                      <a:pt x="41539" y="1483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9BB8D9D7-3DFA-41F1-A387-FF95F49B5319}"/>
                  </a:ext>
                </a:extLst>
              </p:cNvPr>
              <p:cNvSpPr/>
              <p:nvPr/>
            </p:nvSpPr>
            <p:spPr>
              <a:xfrm>
                <a:off x="3430684" y="6612295"/>
                <a:ext cx="47472" cy="14835"/>
              </a:xfrm>
              <a:custGeom>
                <a:avLst/>
                <a:gdLst>
                  <a:gd name="connsiteX0" fmla="*/ 41539 w 47472"/>
                  <a:gd name="connsiteY0" fmla="*/ 14835 h 14835"/>
                  <a:gd name="connsiteX1" fmla="*/ 41539 w 47472"/>
                  <a:gd name="connsiteY1" fmla="*/ 14835 h 14835"/>
                  <a:gd name="connsiteX2" fmla="*/ 5934 w 47472"/>
                  <a:gd name="connsiteY2" fmla="*/ 11868 h 14835"/>
                  <a:gd name="connsiteX3" fmla="*/ 0 w 47472"/>
                  <a:gd name="connsiteY3" fmla="*/ 5934 h 14835"/>
                  <a:gd name="connsiteX4" fmla="*/ 5934 w 47472"/>
                  <a:gd name="connsiteY4" fmla="*/ 0 h 14835"/>
                  <a:gd name="connsiteX5" fmla="*/ 41539 w 47472"/>
                  <a:gd name="connsiteY5" fmla="*/ 2967 h 14835"/>
                  <a:gd name="connsiteX6" fmla="*/ 47473 w 47472"/>
                  <a:gd name="connsiteY6" fmla="*/ 8901 h 14835"/>
                  <a:gd name="connsiteX7" fmla="*/ 41539 w 47472"/>
                  <a:gd name="connsiteY7" fmla="*/ 14835 h 14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472" h="14835">
                    <a:moveTo>
                      <a:pt x="41539" y="14835"/>
                    </a:moveTo>
                    <a:cubicBezTo>
                      <a:pt x="41539" y="14835"/>
                      <a:pt x="41539" y="14835"/>
                      <a:pt x="41539" y="14835"/>
                    </a:cubicBezTo>
                    <a:lnTo>
                      <a:pt x="5934" y="11868"/>
                    </a:lnTo>
                    <a:cubicBezTo>
                      <a:pt x="2967" y="11868"/>
                      <a:pt x="0" y="8901"/>
                      <a:pt x="0" y="5934"/>
                    </a:cubicBezTo>
                    <a:cubicBezTo>
                      <a:pt x="0" y="2967"/>
                      <a:pt x="2967" y="0"/>
                      <a:pt x="5934" y="0"/>
                    </a:cubicBezTo>
                    <a:lnTo>
                      <a:pt x="41539" y="2967"/>
                    </a:lnTo>
                    <a:cubicBezTo>
                      <a:pt x="44505" y="2967"/>
                      <a:pt x="47473" y="5934"/>
                      <a:pt x="47473" y="8901"/>
                    </a:cubicBezTo>
                    <a:cubicBezTo>
                      <a:pt x="47473" y="11868"/>
                      <a:pt x="44505" y="14835"/>
                      <a:pt x="41539" y="1483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ADD2E898-993B-44F3-84A5-F2BDA22004B6}"/>
                </a:ext>
              </a:extLst>
            </p:cNvPr>
            <p:cNvGrpSpPr/>
            <p:nvPr/>
          </p:nvGrpSpPr>
          <p:grpSpPr>
            <a:xfrm>
              <a:off x="4704530" y="6722075"/>
              <a:ext cx="482637" cy="323406"/>
              <a:chOff x="4704530" y="6722075"/>
              <a:chExt cx="482637" cy="323406"/>
            </a:xfrm>
          </p:grpSpPr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340571EE-7AA6-43C0-8320-A9FD11CBF2CB}"/>
                  </a:ext>
                </a:extLst>
              </p:cNvPr>
              <p:cNvSpPr/>
              <p:nvPr/>
            </p:nvSpPr>
            <p:spPr>
              <a:xfrm>
                <a:off x="4712442" y="6722075"/>
                <a:ext cx="213626" cy="207692"/>
              </a:xfrm>
              <a:custGeom>
                <a:avLst/>
                <a:gdLst>
                  <a:gd name="connsiteX0" fmla="*/ 0 w 213626"/>
                  <a:gd name="connsiteY0" fmla="*/ 169121 h 207692"/>
                  <a:gd name="connsiteX1" fmla="*/ 35604 w 213626"/>
                  <a:gd name="connsiteY1" fmla="*/ 0 h 207692"/>
                  <a:gd name="connsiteX2" fmla="*/ 213626 w 213626"/>
                  <a:gd name="connsiteY2" fmla="*/ 0 h 207692"/>
                  <a:gd name="connsiteX3" fmla="*/ 160220 w 213626"/>
                  <a:gd name="connsiteY3" fmla="*/ 178022 h 207692"/>
                  <a:gd name="connsiteX4" fmla="*/ 11868 w 213626"/>
                  <a:gd name="connsiteY4" fmla="*/ 207692 h 207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626" h="207692">
                    <a:moveTo>
                      <a:pt x="0" y="169121"/>
                    </a:moveTo>
                    <a:lnTo>
                      <a:pt x="35604" y="0"/>
                    </a:lnTo>
                    <a:lnTo>
                      <a:pt x="213626" y="0"/>
                    </a:lnTo>
                    <a:lnTo>
                      <a:pt x="160220" y="178022"/>
                    </a:lnTo>
                    <a:lnTo>
                      <a:pt x="11868" y="207692"/>
                    </a:ln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ED26AFCC-F901-445A-859E-972D25023181}"/>
                  </a:ext>
                </a:extLst>
              </p:cNvPr>
              <p:cNvSpPr/>
              <p:nvPr/>
            </p:nvSpPr>
            <p:spPr>
              <a:xfrm>
                <a:off x="4704530" y="6846690"/>
                <a:ext cx="482637" cy="154286"/>
              </a:xfrm>
              <a:custGeom>
                <a:avLst/>
                <a:gdLst>
                  <a:gd name="connsiteX0" fmla="*/ 7912 w 482637"/>
                  <a:gd name="connsiteY0" fmla="*/ 44505 h 154286"/>
                  <a:gd name="connsiteX1" fmla="*/ 188901 w 482637"/>
                  <a:gd name="connsiteY1" fmla="*/ 0 h 154286"/>
                  <a:gd name="connsiteX2" fmla="*/ 319451 w 482637"/>
                  <a:gd name="connsiteY2" fmla="*/ 77143 h 154286"/>
                  <a:gd name="connsiteX3" fmla="*/ 482637 w 482637"/>
                  <a:gd name="connsiteY3" fmla="*/ 154286 h 154286"/>
                  <a:gd name="connsiteX4" fmla="*/ 7912 w 482637"/>
                  <a:gd name="connsiteY4" fmla="*/ 154286 h 154286"/>
                  <a:gd name="connsiteX5" fmla="*/ 7912 w 482637"/>
                  <a:gd name="connsiteY5" fmla="*/ 44505 h 154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2637" h="154286">
                    <a:moveTo>
                      <a:pt x="7912" y="44505"/>
                    </a:moveTo>
                    <a:cubicBezTo>
                      <a:pt x="7912" y="44505"/>
                      <a:pt x="129560" y="62308"/>
                      <a:pt x="188901" y="0"/>
                    </a:cubicBezTo>
                    <a:cubicBezTo>
                      <a:pt x="188901" y="0"/>
                      <a:pt x="274945" y="68242"/>
                      <a:pt x="319451" y="77143"/>
                    </a:cubicBezTo>
                    <a:cubicBezTo>
                      <a:pt x="363956" y="86044"/>
                      <a:pt x="470769" y="83077"/>
                      <a:pt x="482637" y="154286"/>
                    </a:cubicBezTo>
                    <a:lnTo>
                      <a:pt x="7912" y="154286"/>
                    </a:lnTo>
                    <a:cubicBezTo>
                      <a:pt x="7912" y="154286"/>
                      <a:pt x="-9890" y="94945"/>
                      <a:pt x="7912" y="44505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7A280865-B39D-4902-A03E-F0E96BD65915}"/>
                  </a:ext>
                </a:extLst>
              </p:cNvPr>
              <p:cNvSpPr/>
              <p:nvPr/>
            </p:nvSpPr>
            <p:spPr>
              <a:xfrm>
                <a:off x="4712442" y="7000976"/>
                <a:ext cx="474725" cy="44505"/>
              </a:xfrm>
              <a:custGeom>
                <a:avLst/>
                <a:gdLst>
                  <a:gd name="connsiteX0" fmla="*/ 0 w 474725"/>
                  <a:gd name="connsiteY0" fmla="*/ 0 h 44505"/>
                  <a:gd name="connsiteX1" fmla="*/ 474725 w 474725"/>
                  <a:gd name="connsiteY1" fmla="*/ 0 h 44505"/>
                  <a:gd name="connsiteX2" fmla="*/ 474725 w 474725"/>
                  <a:gd name="connsiteY2" fmla="*/ 44506 h 44505"/>
                  <a:gd name="connsiteX3" fmla="*/ 0 w 474725"/>
                  <a:gd name="connsiteY3" fmla="*/ 44506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725" h="44505">
                    <a:moveTo>
                      <a:pt x="0" y="0"/>
                    </a:moveTo>
                    <a:lnTo>
                      <a:pt x="474725" y="0"/>
                    </a:lnTo>
                    <a:lnTo>
                      <a:pt x="474725" y="44506"/>
                    </a:lnTo>
                    <a:lnTo>
                      <a:pt x="0" y="44506"/>
                    </a:ln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ABBAB729-9177-4294-B451-263506A149FF}"/>
                  </a:ext>
                </a:extLst>
              </p:cNvPr>
              <p:cNvSpPr/>
              <p:nvPr/>
            </p:nvSpPr>
            <p:spPr>
              <a:xfrm>
                <a:off x="4706508" y="6838531"/>
                <a:ext cx="195082" cy="61565"/>
              </a:xfrm>
              <a:custGeom>
                <a:avLst/>
                <a:gdLst>
                  <a:gd name="connsiteX0" fmla="*/ 41538 w 195082"/>
                  <a:gd name="connsiteY0" fmla="*/ 61566 h 61565"/>
                  <a:gd name="connsiteX1" fmla="*/ 5934 w 195082"/>
                  <a:gd name="connsiteY1" fmla="*/ 58599 h 61565"/>
                  <a:gd name="connsiteX2" fmla="*/ 0 w 195082"/>
                  <a:gd name="connsiteY2" fmla="*/ 52665 h 61565"/>
                  <a:gd name="connsiteX3" fmla="*/ 5934 w 195082"/>
                  <a:gd name="connsiteY3" fmla="*/ 46731 h 61565"/>
                  <a:gd name="connsiteX4" fmla="*/ 183956 w 195082"/>
                  <a:gd name="connsiteY4" fmla="*/ 2225 h 61565"/>
                  <a:gd name="connsiteX5" fmla="*/ 192857 w 195082"/>
                  <a:gd name="connsiteY5" fmla="*/ 2225 h 61565"/>
                  <a:gd name="connsiteX6" fmla="*/ 192857 w 195082"/>
                  <a:gd name="connsiteY6" fmla="*/ 11126 h 61565"/>
                  <a:gd name="connsiteX7" fmla="*/ 41538 w 195082"/>
                  <a:gd name="connsiteY7" fmla="*/ 61566 h 61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082" h="61565">
                    <a:moveTo>
                      <a:pt x="41538" y="61566"/>
                    </a:moveTo>
                    <a:cubicBezTo>
                      <a:pt x="20769" y="61566"/>
                      <a:pt x="8901" y="58599"/>
                      <a:pt x="5934" y="58599"/>
                    </a:cubicBezTo>
                    <a:cubicBezTo>
                      <a:pt x="2967" y="58599"/>
                      <a:pt x="0" y="55632"/>
                      <a:pt x="0" y="52665"/>
                    </a:cubicBezTo>
                    <a:cubicBezTo>
                      <a:pt x="0" y="49698"/>
                      <a:pt x="2967" y="46731"/>
                      <a:pt x="5934" y="46731"/>
                    </a:cubicBezTo>
                    <a:cubicBezTo>
                      <a:pt x="5934" y="46731"/>
                      <a:pt x="115714" y="61566"/>
                      <a:pt x="183956" y="2225"/>
                    </a:cubicBezTo>
                    <a:cubicBezTo>
                      <a:pt x="186923" y="-742"/>
                      <a:pt x="189890" y="-742"/>
                      <a:pt x="192857" y="2225"/>
                    </a:cubicBezTo>
                    <a:cubicBezTo>
                      <a:pt x="195824" y="5192"/>
                      <a:pt x="195824" y="8159"/>
                      <a:pt x="192857" y="11126"/>
                    </a:cubicBezTo>
                    <a:cubicBezTo>
                      <a:pt x="145385" y="52665"/>
                      <a:pt x="80110" y="61566"/>
                      <a:pt x="41538" y="6156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3EB65F8F-3F68-4BC8-A012-347D09A65FCF}"/>
                  </a:ext>
                </a:extLst>
              </p:cNvPr>
              <p:cNvSpPr/>
              <p:nvPr/>
            </p:nvSpPr>
            <p:spPr>
              <a:xfrm>
                <a:off x="4897140" y="6862267"/>
                <a:ext cx="40054" cy="40796"/>
              </a:xfrm>
              <a:custGeom>
                <a:avLst/>
                <a:gdLst>
                  <a:gd name="connsiteX0" fmla="*/ 5192 w 40054"/>
                  <a:gd name="connsiteY0" fmla="*/ 40797 h 40796"/>
                  <a:gd name="connsiteX1" fmla="*/ 2225 w 40054"/>
                  <a:gd name="connsiteY1" fmla="*/ 37830 h 40796"/>
                  <a:gd name="connsiteX2" fmla="*/ 2225 w 40054"/>
                  <a:gd name="connsiteY2" fmla="*/ 28929 h 40796"/>
                  <a:gd name="connsiteX3" fmla="*/ 28929 w 40054"/>
                  <a:gd name="connsiteY3" fmla="*/ 2225 h 40796"/>
                  <a:gd name="connsiteX4" fmla="*/ 37830 w 40054"/>
                  <a:gd name="connsiteY4" fmla="*/ 2225 h 40796"/>
                  <a:gd name="connsiteX5" fmla="*/ 37830 w 40054"/>
                  <a:gd name="connsiteY5" fmla="*/ 11127 h 40796"/>
                  <a:gd name="connsiteX6" fmla="*/ 11126 w 40054"/>
                  <a:gd name="connsiteY6" fmla="*/ 37830 h 40796"/>
                  <a:gd name="connsiteX7" fmla="*/ 5192 w 40054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4" h="40796">
                    <a:moveTo>
                      <a:pt x="5192" y="40797"/>
                    </a:moveTo>
                    <a:cubicBezTo>
                      <a:pt x="5192" y="40797"/>
                      <a:pt x="2225" y="40797"/>
                      <a:pt x="2225" y="37830"/>
                    </a:cubicBezTo>
                    <a:cubicBezTo>
                      <a:pt x="-742" y="34863"/>
                      <a:pt x="-742" y="31896"/>
                      <a:pt x="2225" y="28929"/>
                    </a:cubicBezTo>
                    <a:lnTo>
                      <a:pt x="28929" y="2225"/>
                    </a:lnTo>
                    <a:cubicBezTo>
                      <a:pt x="31896" y="-742"/>
                      <a:pt x="34863" y="-742"/>
                      <a:pt x="37830" y="2225"/>
                    </a:cubicBezTo>
                    <a:cubicBezTo>
                      <a:pt x="40797" y="5193"/>
                      <a:pt x="40797" y="8159"/>
                      <a:pt x="37830" y="11127"/>
                    </a:cubicBezTo>
                    <a:lnTo>
                      <a:pt x="11126" y="37830"/>
                    </a:lnTo>
                    <a:cubicBezTo>
                      <a:pt x="8159" y="40797"/>
                      <a:pt x="8159" y="40797"/>
                      <a:pt x="5192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5323D7B8-B9C2-4EA0-8B80-3AAE33A5D20F}"/>
                  </a:ext>
                </a:extLst>
              </p:cNvPr>
              <p:cNvSpPr/>
              <p:nvPr/>
            </p:nvSpPr>
            <p:spPr>
              <a:xfrm>
                <a:off x="4935711" y="6888970"/>
                <a:ext cx="37087" cy="40796"/>
              </a:xfrm>
              <a:custGeom>
                <a:avLst/>
                <a:gdLst>
                  <a:gd name="connsiteX0" fmla="*/ 5192 w 37087"/>
                  <a:gd name="connsiteY0" fmla="*/ 40797 h 40796"/>
                  <a:gd name="connsiteX1" fmla="*/ 2225 w 37087"/>
                  <a:gd name="connsiteY1" fmla="*/ 37830 h 40796"/>
                  <a:gd name="connsiteX2" fmla="*/ 2225 w 37087"/>
                  <a:gd name="connsiteY2" fmla="*/ 28929 h 40796"/>
                  <a:gd name="connsiteX3" fmla="*/ 25962 w 37087"/>
                  <a:gd name="connsiteY3" fmla="*/ 2225 h 40796"/>
                  <a:gd name="connsiteX4" fmla="*/ 34863 w 37087"/>
                  <a:gd name="connsiteY4" fmla="*/ 2225 h 40796"/>
                  <a:gd name="connsiteX5" fmla="*/ 34863 w 37087"/>
                  <a:gd name="connsiteY5" fmla="*/ 11126 h 40796"/>
                  <a:gd name="connsiteX6" fmla="*/ 11126 w 37087"/>
                  <a:gd name="connsiteY6" fmla="*/ 37830 h 40796"/>
                  <a:gd name="connsiteX7" fmla="*/ 5192 w 37087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87" h="40796">
                    <a:moveTo>
                      <a:pt x="5192" y="40797"/>
                    </a:moveTo>
                    <a:cubicBezTo>
                      <a:pt x="5192" y="40797"/>
                      <a:pt x="2225" y="40797"/>
                      <a:pt x="2225" y="37830"/>
                    </a:cubicBezTo>
                    <a:cubicBezTo>
                      <a:pt x="-742" y="34863"/>
                      <a:pt x="-742" y="31895"/>
                      <a:pt x="2225" y="28929"/>
                    </a:cubicBezTo>
                    <a:lnTo>
                      <a:pt x="25962" y="2225"/>
                    </a:lnTo>
                    <a:cubicBezTo>
                      <a:pt x="28929" y="-742"/>
                      <a:pt x="31896" y="-742"/>
                      <a:pt x="34863" y="2225"/>
                    </a:cubicBezTo>
                    <a:cubicBezTo>
                      <a:pt x="37830" y="5192"/>
                      <a:pt x="37830" y="8159"/>
                      <a:pt x="34863" y="11126"/>
                    </a:cubicBezTo>
                    <a:lnTo>
                      <a:pt x="11126" y="37830"/>
                    </a:lnTo>
                    <a:cubicBezTo>
                      <a:pt x="8159" y="40797"/>
                      <a:pt x="5192" y="40797"/>
                      <a:pt x="5192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B99120D9-DE08-42DE-9BBD-53D04F12285A}"/>
                </a:ext>
              </a:extLst>
            </p:cNvPr>
            <p:cNvSpPr/>
            <p:nvPr/>
          </p:nvSpPr>
          <p:spPr>
            <a:xfrm>
              <a:off x="3359475" y="4559108"/>
              <a:ext cx="1761126" cy="2234175"/>
            </a:xfrm>
            <a:custGeom>
              <a:avLst/>
              <a:gdLst>
                <a:gd name="connsiteX0" fmla="*/ 1688242 w 1761126"/>
                <a:gd name="connsiteY0" fmla="*/ 17802 h 2234175"/>
                <a:gd name="connsiteX1" fmla="*/ 1753517 w 1761126"/>
                <a:gd name="connsiteY1" fmla="*/ 1358901 h 2234175"/>
                <a:gd name="connsiteX2" fmla="*/ 1611099 w 1761126"/>
                <a:gd name="connsiteY2" fmla="*/ 2234176 h 2234175"/>
                <a:gd name="connsiteX3" fmla="*/ 1323297 w 1761126"/>
                <a:gd name="connsiteY3" fmla="*/ 2234176 h 2234175"/>
                <a:gd name="connsiteX4" fmla="*/ 1361868 w 1761126"/>
                <a:gd name="connsiteY4" fmla="*/ 1382637 h 2234175"/>
                <a:gd name="connsiteX5" fmla="*/ 1204615 w 1761126"/>
                <a:gd name="connsiteY5" fmla="*/ 489560 h 2234175"/>
                <a:gd name="connsiteX6" fmla="*/ 949451 w 1761126"/>
                <a:gd name="connsiteY6" fmla="*/ 1388572 h 2234175"/>
                <a:gd name="connsiteX7" fmla="*/ 249231 w 1761126"/>
                <a:gd name="connsiteY7" fmla="*/ 2023516 h 2234175"/>
                <a:gd name="connsiteX8" fmla="*/ 0 w 1761126"/>
                <a:gd name="connsiteY8" fmla="*/ 1750550 h 2234175"/>
                <a:gd name="connsiteX9" fmla="*/ 563736 w 1761126"/>
                <a:gd name="connsiteY9" fmla="*/ 1207582 h 2234175"/>
                <a:gd name="connsiteX10" fmla="*/ 697253 w 1761126"/>
                <a:gd name="connsiteY10" fmla="*/ 0 h 2234175"/>
                <a:gd name="connsiteX11" fmla="*/ 1688242 w 1761126"/>
                <a:gd name="connsiteY11" fmla="*/ 17802 h 223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61126" h="2234175">
                  <a:moveTo>
                    <a:pt x="1688242" y="17802"/>
                  </a:moveTo>
                  <a:cubicBezTo>
                    <a:pt x="1688242" y="17802"/>
                    <a:pt x="1789121" y="1053297"/>
                    <a:pt x="1753517" y="1358901"/>
                  </a:cubicBezTo>
                  <a:cubicBezTo>
                    <a:pt x="1723846" y="1622967"/>
                    <a:pt x="1611099" y="2234176"/>
                    <a:pt x="1611099" y="2234176"/>
                  </a:cubicBezTo>
                  <a:lnTo>
                    <a:pt x="1323297" y="2234176"/>
                  </a:lnTo>
                  <a:cubicBezTo>
                    <a:pt x="1323297" y="2234176"/>
                    <a:pt x="1367802" y="1480549"/>
                    <a:pt x="1361868" y="1382637"/>
                  </a:cubicBezTo>
                  <a:cubicBezTo>
                    <a:pt x="1355934" y="1246154"/>
                    <a:pt x="1219451" y="519231"/>
                    <a:pt x="1204615" y="489560"/>
                  </a:cubicBezTo>
                  <a:cubicBezTo>
                    <a:pt x="1192747" y="465824"/>
                    <a:pt x="985055" y="1338132"/>
                    <a:pt x="949451" y="1388572"/>
                  </a:cubicBezTo>
                  <a:lnTo>
                    <a:pt x="249231" y="2023516"/>
                  </a:lnTo>
                  <a:lnTo>
                    <a:pt x="0" y="1750550"/>
                  </a:lnTo>
                  <a:lnTo>
                    <a:pt x="563736" y="1207582"/>
                  </a:lnTo>
                  <a:cubicBezTo>
                    <a:pt x="563736" y="1207582"/>
                    <a:pt x="652747" y="94945"/>
                    <a:pt x="697253" y="0"/>
                  </a:cubicBezTo>
                  <a:cubicBezTo>
                    <a:pt x="1373736" y="29670"/>
                    <a:pt x="1688242" y="17802"/>
                    <a:pt x="1688242" y="17802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FE446054-D56A-4684-AA62-9527BAB8ACB1}"/>
                </a:ext>
              </a:extLst>
            </p:cNvPr>
            <p:cNvSpPr/>
            <p:nvPr/>
          </p:nvSpPr>
          <p:spPr>
            <a:xfrm>
              <a:off x="4558157" y="4695591"/>
              <a:ext cx="68241" cy="356043"/>
            </a:xfrm>
            <a:custGeom>
              <a:avLst/>
              <a:gdLst>
                <a:gd name="connsiteX0" fmla="*/ 5934 w 68241"/>
                <a:gd name="connsiteY0" fmla="*/ 356044 h 356043"/>
                <a:gd name="connsiteX1" fmla="*/ 5934 w 68241"/>
                <a:gd name="connsiteY1" fmla="*/ 356044 h 356043"/>
                <a:gd name="connsiteX2" fmla="*/ 0 w 68241"/>
                <a:gd name="connsiteY2" fmla="*/ 347143 h 356043"/>
                <a:gd name="connsiteX3" fmla="*/ 56374 w 68241"/>
                <a:gd name="connsiteY3" fmla="*/ 5934 h 356043"/>
                <a:gd name="connsiteX4" fmla="*/ 62308 w 68241"/>
                <a:gd name="connsiteY4" fmla="*/ 0 h 356043"/>
                <a:gd name="connsiteX5" fmla="*/ 68242 w 68241"/>
                <a:gd name="connsiteY5" fmla="*/ 5934 h 356043"/>
                <a:gd name="connsiteX6" fmla="*/ 11868 w 68241"/>
                <a:gd name="connsiteY6" fmla="*/ 350110 h 356043"/>
                <a:gd name="connsiteX7" fmla="*/ 5934 w 68241"/>
                <a:gd name="connsiteY7" fmla="*/ 356044 h 356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241" h="356043">
                  <a:moveTo>
                    <a:pt x="5934" y="356044"/>
                  </a:moveTo>
                  <a:cubicBezTo>
                    <a:pt x="5934" y="356044"/>
                    <a:pt x="5934" y="356044"/>
                    <a:pt x="5934" y="356044"/>
                  </a:cubicBezTo>
                  <a:cubicBezTo>
                    <a:pt x="0" y="353077"/>
                    <a:pt x="0" y="350110"/>
                    <a:pt x="0" y="347143"/>
                  </a:cubicBezTo>
                  <a:cubicBezTo>
                    <a:pt x="47473" y="237363"/>
                    <a:pt x="56374" y="8901"/>
                    <a:pt x="56374" y="5934"/>
                  </a:cubicBezTo>
                  <a:cubicBezTo>
                    <a:pt x="56374" y="2967"/>
                    <a:pt x="59341" y="0"/>
                    <a:pt x="62308" y="0"/>
                  </a:cubicBezTo>
                  <a:cubicBezTo>
                    <a:pt x="65275" y="0"/>
                    <a:pt x="68242" y="2967"/>
                    <a:pt x="68242" y="5934"/>
                  </a:cubicBezTo>
                  <a:cubicBezTo>
                    <a:pt x="68242" y="14835"/>
                    <a:pt x="59341" y="237363"/>
                    <a:pt x="11868" y="350110"/>
                  </a:cubicBezTo>
                  <a:cubicBezTo>
                    <a:pt x="11868" y="356044"/>
                    <a:pt x="8901" y="356044"/>
                    <a:pt x="5934" y="356044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3DAE5CE7-6D99-425C-914A-3E03C4AA481E}"/>
                </a:ext>
              </a:extLst>
            </p:cNvPr>
            <p:cNvSpPr/>
            <p:nvPr/>
          </p:nvSpPr>
          <p:spPr>
            <a:xfrm>
              <a:off x="4586598" y="4627349"/>
              <a:ext cx="152547" cy="347142"/>
            </a:xfrm>
            <a:custGeom>
              <a:avLst/>
              <a:gdLst>
                <a:gd name="connsiteX0" fmla="*/ 7163 w 152547"/>
                <a:gd name="connsiteY0" fmla="*/ 347143 h 347142"/>
                <a:gd name="connsiteX1" fmla="*/ 1229 w 152547"/>
                <a:gd name="connsiteY1" fmla="*/ 344176 h 347142"/>
                <a:gd name="connsiteX2" fmla="*/ 4196 w 152547"/>
                <a:gd name="connsiteY2" fmla="*/ 335275 h 347142"/>
                <a:gd name="connsiteX3" fmla="*/ 108042 w 152547"/>
                <a:gd name="connsiteY3" fmla="*/ 261099 h 347142"/>
                <a:gd name="connsiteX4" fmla="*/ 140680 w 152547"/>
                <a:gd name="connsiteY4" fmla="*/ 5934 h 347142"/>
                <a:gd name="connsiteX5" fmla="*/ 146614 w 152547"/>
                <a:gd name="connsiteY5" fmla="*/ 0 h 347142"/>
                <a:gd name="connsiteX6" fmla="*/ 152548 w 152547"/>
                <a:gd name="connsiteY6" fmla="*/ 5934 h 347142"/>
                <a:gd name="connsiteX7" fmla="*/ 119910 w 152547"/>
                <a:gd name="connsiteY7" fmla="*/ 267033 h 347142"/>
                <a:gd name="connsiteX8" fmla="*/ 13097 w 152547"/>
                <a:gd name="connsiteY8" fmla="*/ 344176 h 347142"/>
                <a:gd name="connsiteX9" fmla="*/ 7163 w 152547"/>
                <a:gd name="connsiteY9" fmla="*/ 347143 h 34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547" h="347142">
                  <a:moveTo>
                    <a:pt x="7163" y="347143"/>
                  </a:moveTo>
                  <a:cubicBezTo>
                    <a:pt x="4196" y="347143"/>
                    <a:pt x="4196" y="347143"/>
                    <a:pt x="1229" y="344176"/>
                  </a:cubicBezTo>
                  <a:cubicBezTo>
                    <a:pt x="-1738" y="341209"/>
                    <a:pt x="1229" y="338242"/>
                    <a:pt x="4196" y="335275"/>
                  </a:cubicBezTo>
                  <a:cubicBezTo>
                    <a:pt x="42767" y="311538"/>
                    <a:pt x="99141" y="270000"/>
                    <a:pt x="108042" y="261099"/>
                  </a:cubicBezTo>
                  <a:cubicBezTo>
                    <a:pt x="116943" y="249231"/>
                    <a:pt x="131778" y="97912"/>
                    <a:pt x="140680" y="5934"/>
                  </a:cubicBezTo>
                  <a:cubicBezTo>
                    <a:pt x="140680" y="2967"/>
                    <a:pt x="143647" y="0"/>
                    <a:pt x="146614" y="0"/>
                  </a:cubicBezTo>
                  <a:cubicBezTo>
                    <a:pt x="149581" y="0"/>
                    <a:pt x="152548" y="2967"/>
                    <a:pt x="152548" y="5934"/>
                  </a:cubicBezTo>
                  <a:cubicBezTo>
                    <a:pt x="149581" y="47472"/>
                    <a:pt x="128811" y="252198"/>
                    <a:pt x="119910" y="267033"/>
                  </a:cubicBezTo>
                  <a:cubicBezTo>
                    <a:pt x="108042" y="281868"/>
                    <a:pt x="21998" y="338242"/>
                    <a:pt x="13097" y="344176"/>
                  </a:cubicBezTo>
                  <a:cubicBezTo>
                    <a:pt x="7163" y="347143"/>
                    <a:pt x="7163" y="347143"/>
                    <a:pt x="7163" y="347143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8E487E7A-6367-48A8-AB79-37D7506B7384}"/>
                </a:ext>
              </a:extLst>
            </p:cNvPr>
            <p:cNvSpPr/>
            <p:nvPr/>
          </p:nvSpPr>
          <p:spPr>
            <a:xfrm>
              <a:off x="4430574" y="2930207"/>
              <a:ext cx="243296" cy="251317"/>
            </a:xfrm>
            <a:custGeom>
              <a:avLst/>
              <a:gdLst>
                <a:gd name="connsiteX0" fmla="*/ 243297 w 243296"/>
                <a:gd name="connsiteY0" fmla="*/ 38571 h 251317"/>
                <a:gd name="connsiteX1" fmla="*/ 237363 w 243296"/>
                <a:gd name="connsiteY1" fmla="*/ 207692 h 251317"/>
                <a:gd name="connsiteX2" fmla="*/ 0 w 243296"/>
                <a:gd name="connsiteY2" fmla="*/ 198791 h 251317"/>
                <a:gd name="connsiteX3" fmla="*/ 14835 w 243296"/>
                <a:gd name="connsiteY3" fmla="*/ 0 h 251317"/>
                <a:gd name="connsiteX4" fmla="*/ 243297 w 243296"/>
                <a:gd name="connsiteY4" fmla="*/ 38571 h 251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296" h="251317">
                  <a:moveTo>
                    <a:pt x="243297" y="38571"/>
                  </a:moveTo>
                  <a:cubicBezTo>
                    <a:pt x="243297" y="38571"/>
                    <a:pt x="237363" y="136483"/>
                    <a:pt x="237363" y="207692"/>
                  </a:cubicBezTo>
                  <a:cubicBezTo>
                    <a:pt x="237363" y="207692"/>
                    <a:pt x="145385" y="311538"/>
                    <a:pt x="0" y="198791"/>
                  </a:cubicBezTo>
                  <a:cubicBezTo>
                    <a:pt x="0" y="139450"/>
                    <a:pt x="11868" y="62308"/>
                    <a:pt x="14835" y="0"/>
                  </a:cubicBezTo>
                  <a:cubicBezTo>
                    <a:pt x="11868" y="0"/>
                    <a:pt x="192857" y="50439"/>
                    <a:pt x="243297" y="38571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E0391005-7688-4084-9DA0-EE9D5781F39F}"/>
                </a:ext>
              </a:extLst>
            </p:cNvPr>
            <p:cNvSpPr/>
            <p:nvPr/>
          </p:nvSpPr>
          <p:spPr>
            <a:xfrm>
              <a:off x="4027058" y="3087459"/>
              <a:ext cx="1042223" cy="1524875"/>
            </a:xfrm>
            <a:custGeom>
              <a:avLst/>
              <a:gdLst>
                <a:gd name="connsiteX0" fmla="*/ 385714 w 1042223"/>
                <a:gd name="connsiteY0" fmla="*/ 0 h 1524875"/>
                <a:gd name="connsiteX1" fmla="*/ 667582 w 1042223"/>
                <a:gd name="connsiteY1" fmla="*/ 0 h 1524875"/>
                <a:gd name="connsiteX2" fmla="*/ 958352 w 1042223"/>
                <a:gd name="connsiteY2" fmla="*/ 127582 h 1524875"/>
                <a:gd name="connsiteX3" fmla="*/ 1041429 w 1042223"/>
                <a:gd name="connsiteY3" fmla="*/ 1495385 h 1524875"/>
                <a:gd name="connsiteX4" fmla="*/ 0 w 1042223"/>
                <a:gd name="connsiteY4" fmla="*/ 1471648 h 1524875"/>
                <a:gd name="connsiteX5" fmla="*/ 112747 w 1042223"/>
                <a:gd name="connsiteY5" fmla="*/ 100879 h 1524875"/>
                <a:gd name="connsiteX6" fmla="*/ 385714 w 1042223"/>
                <a:gd name="connsiteY6" fmla="*/ 0 h 152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2223" h="1524875">
                  <a:moveTo>
                    <a:pt x="385714" y="0"/>
                  </a:moveTo>
                  <a:cubicBezTo>
                    <a:pt x="385714" y="0"/>
                    <a:pt x="554835" y="53407"/>
                    <a:pt x="667582" y="0"/>
                  </a:cubicBezTo>
                  <a:cubicBezTo>
                    <a:pt x="667582" y="0"/>
                    <a:pt x="934615" y="94945"/>
                    <a:pt x="958352" y="127582"/>
                  </a:cubicBezTo>
                  <a:cubicBezTo>
                    <a:pt x="982088" y="157253"/>
                    <a:pt x="1050330" y="1430110"/>
                    <a:pt x="1041429" y="1495385"/>
                  </a:cubicBezTo>
                  <a:cubicBezTo>
                    <a:pt x="1041429" y="1495385"/>
                    <a:pt x="563736" y="1575495"/>
                    <a:pt x="0" y="1471648"/>
                  </a:cubicBezTo>
                  <a:cubicBezTo>
                    <a:pt x="0" y="1124505"/>
                    <a:pt x="71209" y="130549"/>
                    <a:pt x="112747" y="100879"/>
                  </a:cubicBezTo>
                  <a:cubicBezTo>
                    <a:pt x="154286" y="71209"/>
                    <a:pt x="385714" y="0"/>
                    <a:pt x="385714" y="0"/>
                  </a:cubicBez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7A805B92-717D-4015-967E-B4FD1BA44584}"/>
                </a:ext>
              </a:extLst>
            </p:cNvPr>
            <p:cNvSpPr/>
            <p:nvPr/>
          </p:nvSpPr>
          <p:spPr>
            <a:xfrm>
              <a:off x="3979585" y="3087459"/>
              <a:ext cx="506712" cy="1545824"/>
            </a:xfrm>
            <a:custGeom>
              <a:avLst/>
              <a:gdLst>
                <a:gd name="connsiteX0" fmla="*/ 433187 w 506712"/>
                <a:gd name="connsiteY0" fmla="*/ 0 h 1545824"/>
                <a:gd name="connsiteX1" fmla="*/ 124615 w 506712"/>
                <a:gd name="connsiteY1" fmla="*/ 91978 h 1545824"/>
                <a:gd name="connsiteX2" fmla="*/ 0 w 506712"/>
                <a:gd name="connsiteY2" fmla="*/ 1483516 h 1545824"/>
                <a:gd name="connsiteX3" fmla="*/ 480659 w 506712"/>
                <a:gd name="connsiteY3" fmla="*/ 1545824 h 1545824"/>
                <a:gd name="connsiteX4" fmla="*/ 433187 w 506712"/>
                <a:gd name="connsiteY4" fmla="*/ 0 h 1545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6712" h="1545824">
                  <a:moveTo>
                    <a:pt x="433187" y="0"/>
                  </a:moveTo>
                  <a:cubicBezTo>
                    <a:pt x="433187" y="0"/>
                    <a:pt x="186923" y="77143"/>
                    <a:pt x="124615" y="91978"/>
                  </a:cubicBezTo>
                  <a:cubicBezTo>
                    <a:pt x="62308" y="106813"/>
                    <a:pt x="0" y="1483516"/>
                    <a:pt x="0" y="1483516"/>
                  </a:cubicBezTo>
                  <a:cubicBezTo>
                    <a:pt x="0" y="1483516"/>
                    <a:pt x="356044" y="1539890"/>
                    <a:pt x="480659" y="1545824"/>
                  </a:cubicBezTo>
                  <a:cubicBezTo>
                    <a:pt x="480659" y="1545824"/>
                    <a:pt x="563736" y="445055"/>
                    <a:pt x="433187" y="0"/>
                  </a:cubicBezTo>
                  <a:close/>
                </a:path>
              </a:pathLst>
            </a:custGeom>
            <a:solidFill>
              <a:srgbClr val="7F95BC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06DB72FD-3AD3-451B-A2AA-1A0432F23A34}"/>
                </a:ext>
              </a:extLst>
            </p:cNvPr>
            <p:cNvSpPr/>
            <p:nvPr/>
          </p:nvSpPr>
          <p:spPr>
            <a:xfrm>
              <a:off x="3911343" y="5757789"/>
              <a:ext cx="149580" cy="62307"/>
            </a:xfrm>
            <a:custGeom>
              <a:avLst/>
              <a:gdLst>
                <a:gd name="connsiteX0" fmla="*/ 44505 w 149580"/>
                <a:gd name="connsiteY0" fmla="*/ 62308 h 62307"/>
                <a:gd name="connsiteX1" fmla="*/ 41539 w 149580"/>
                <a:gd name="connsiteY1" fmla="*/ 59341 h 62307"/>
                <a:gd name="connsiteX2" fmla="*/ 0 w 149580"/>
                <a:gd name="connsiteY2" fmla="*/ 0 h 62307"/>
                <a:gd name="connsiteX3" fmla="*/ 145385 w 149580"/>
                <a:gd name="connsiteY3" fmla="*/ 26704 h 62307"/>
                <a:gd name="connsiteX4" fmla="*/ 148352 w 149580"/>
                <a:gd name="connsiteY4" fmla="*/ 32638 h 62307"/>
                <a:gd name="connsiteX5" fmla="*/ 142418 w 149580"/>
                <a:gd name="connsiteY5" fmla="*/ 35604 h 62307"/>
                <a:gd name="connsiteX6" fmla="*/ 20769 w 149580"/>
                <a:gd name="connsiteY6" fmla="*/ 14835 h 62307"/>
                <a:gd name="connsiteX7" fmla="*/ 47472 w 149580"/>
                <a:gd name="connsiteY7" fmla="*/ 53407 h 62307"/>
                <a:gd name="connsiteX8" fmla="*/ 47472 w 149580"/>
                <a:gd name="connsiteY8" fmla="*/ 62308 h 62307"/>
                <a:gd name="connsiteX9" fmla="*/ 44505 w 149580"/>
                <a:gd name="connsiteY9" fmla="*/ 62308 h 6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580" h="62307">
                  <a:moveTo>
                    <a:pt x="44505" y="62308"/>
                  </a:moveTo>
                  <a:cubicBezTo>
                    <a:pt x="41539" y="62308"/>
                    <a:pt x="41539" y="62308"/>
                    <a:pt x="41539" y="59341"/>
                  </a:cubicBezTo>
                  <a:lnTo>
                    <a:pt x="0" y="0"/>
                  </a:lnTo>
                  <a:lnTo>
                    <a:pt x="145385" y="26704"/>
                  </a:lnTo>
                  <a:cubicBezTo>
                    <a:pt x="148352" y="26704"/>
                    <a:pt x="151319" y="29670"/>
                    <a:pt x="148352" y="32638"/>
                  </a:cubicBezTo>
                  <a:cubicBezTo>
                    <a:pt x="148352" y="35604"/>
                    <a:pt x="145385" y="38572"/>
                    <a:pt x="142418" y="35604"/>
                  </a:cubicBezTo>
                  <a:lnTo>
                    <a:pt x="20769" y="14835"/>
                  </a:lnTo>
                  <a:lnTo>
                    <a:pt x="47472" y="53407"/>
                  </a:lnTo>
                  <a:cubicBezTo>
                    <a:pt x="50440" y="56374"/>
                    <a:pt x="47472" y="59341"/>
                    <a:pt x="47472" y="62308"/>
                  </a:cubicBezTo>
                  <a:cubicBezTo>
                    <a:pt x="47472" y="59341"/>
                    <a:pt x="47472" y="62308"/>
                    <a:pt x="44505" y="62308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0252109C-5664-4DD7-A0BA-47E6981444A8}"/>
                </a:ext>
              </a:extLst>
            </p:cNvPr>
            <p:cNvSpPr/>
            <p:nvPr/>
          </p:nvSpPr>
          <p:spPr>
            <a:xfrm>
              <a:off x="4694640" y="3087459"/>
              <a:ext cx="424285" cy="1558114"/>
            </a:xfrm>
            <a:custGeom>
              <a:avLst/>
              <a:gdLst>
                <a:gd name="connsiteX0" fmla="*/ 0 w 424285"/>
                <a:gd name="connsiteY0" fmla="*/ 0 h 1558114"/>
                <a:gd name="connsiteX1" fmla="*/ 154286 w 424285"/>
                <a:gd name="connsiteY1" fmla="*/ 1557692 h 1558114"/>
                <a:gd name="connsiteX2" fmla="*/ 424286 w 424285"/>
                <a:gd name="connsiteY2" fmla="*/ 1530989 h 1558114"/>
                <a:gd name="connsiteX3" fmla="*/ 290769 w 424285"/>
                <a:gd name="connsiteY3" fmla="*/ 127582 h 1558114"/>
                <a:gd name="connsiteX4" fmla="*/ 0 w 424285"/>
                <a:gd name="connsiteY4" fmla="*/ 0 h 1558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285" h="1558114">
                  <a:moveTo>
                    <a:pt x="0" y="0"/>
                  </a:moveTo>
                  <a:cubicBezTo>
                    <a:pt x="0" y="0"/>
                    <a:pt x="198791" y="759561"/>
                    <a:pt x="154286" y="1557692"/>
                  </a:cubicBezTo>
                  <a:cubicBezTo>
                    <a:pt x="154286" y="1557692"/>
                    <a:pt x="347143" y="1563626"/>
                    <a:pt x="424286" y="1530989"/>
                  </a:cubicBezTo>
                  <a:cubicBezTo>
                    <a:pt x="424286" y="1530989"/>
                    <a:pt x="335275" y="178022"/>
                    <a:pt x="290769" y="127582"/>
                  </a:cubicBezTo>
                  <a:cubicBezTo>
                    <a:pt x="246264" y="7714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7F95BC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46D1DCFB-165E-4577-9BC4-C57B50C74337}"/>
                </a:ext>
              </a:extLst>
            </p:cNvPr>
            <p:cNvSpPr/>
            <p:nvPr/>
          </p:nvSpPr>
          <p:spPr>
            <a:xfrm>
              <a:off x="4979475" y="3209108"/>
              <a:ext cx="111009" cy="964285"/>
            </a:xfrm>
            <a:custGeom>
              <a:avLst/>
              <a:gdLst>
                <a:gd name="connsiteX0" fmla="*/ 106813 w 111009"/>
                <a:gd name="connsiteY0" fmla="*/ 964286 h 964285"/>
                <a:gd name="connsiteX1" fmla="*/ 100879 w 111009"/>
                <a:gd name="connsiteY1" fmla="*/ 958352 h 964285"/>
                <a:gd name="connsiteX2" fmla="*/ 71209 w 111009"/>
                <a:gd name="connsiteY2" fmla="*/ 578572 h 964285"/>
                <a:gd name="connsiteX3" fmla="*/ 0 w 111009"/>
                <a:gd name="connsiteY3" fmla="*/ 5934 h 964285"/>
                <a:gd name="connsiteX4" fmla="*/ 2967 w 111009"/>
                <a:gd name="connsiteY4" fmla="*/ 0 h 964285"/>
                <a:gd name="connsiteX5" fmla="*/ 8901 w 111009"/>
                <a:gd name="connsiteY5" fmla="*/ 2967 h 964285"/>
                <a:gd name="connsiteX6" fmla="*/ 80110 w 111009"/>
                <a:gd name="connsiteY6" fmla="*/ 575604 h 964285"/>
                <a:gd name="connsiteX7" fmla="*/ 109780 w 111009"/>
                <a:gd name="connsiteY7" fmla="*/ 955385 h 964285"/>
                <a:gd name="connsiteX8" fmla="*/ 106813 w 111009"/>
                <a:gd name="connsiteY8" fmla="*/ 964286 h 964285"/>
                <a:gd name="connsiteX9" fmla="*/ 106813 w 111009"/>
                <a:gd name="connsiteY9" fmla="*/ 964286 h 964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1009" h="964285">
                  <a:moveTo>
                    <a:pt x="106813" y="964286"/>
                  </a:moveTo>
                  <a:cubicBezTo>
                    <a:pt x="103846" y="964286"/>
                    <a:pt x="100879" y="961319"/>
                    <a:pt x="100879" y="958352"/>
                  </a:cubicBezTo>
                  <a:cubicBezTo>
                    <a:pt x="100879" y="955385"/>
                    <a:pt x="80110" y="682418"/>
                    <a:pt x="71209" y="578572"/>
                  </a:cubicBezTo>
                  <a:cubicBezTo>
                    <a:pt x="71209" y="572637"/>
                    <a:pt x="5934" y="44505"/>
                    <a:pt x="0" y="5934"/>
                  </a:cubicBezTo>
                  <a:cubicBezTo>
                    <a:pt x="0" y="2967"/>
                    <a:pt x="0" y="0"/>
                    <a:pt x="2967" y="0"/>
                  </a:cubicBezTo>
                  <a:cubicBezTo>
                    <a:pt x="5934" y="0"/>
                    <a:pt x="8901" y="0"/>
                    <a:pt x="8901" y="2967"/>
                  </a:cubicBezTo>
                  <a:cubicBezTo>
                    <a:pt x="17802" y="41539"/>
                    <a:pt x="77143" y="554835"/>
                    <a:pt x="80110" y="575604"/>
                  </a:cubicBezTo>
                  <a:cubicBezTo>
                    <a:pt x="89011" y="679451"/>
                    <a:pt x="109780" y="952418"/>
                    <a:pt x="109780" y="955385"/>
                  </a:cubicBezTo>
                  <a:cubicBezTo>
                    <a:pt x="112747" y="961319"/>
                    <a:pt x="109780" y="964286"/>
                    <a:pt x="106813" y="964286"/>
                  </a:cubicBezTo>
                  <a:cubicBezTo>
                    <a:pt x="106813" y="964286"/>
                    <a:pt x="106813" y="964286"/>
                    <a:pt x="106813" y="964286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6C9E0B97-3E2B-4B9C-A066-4FF94BF80C35}"/>
                </a:ext>
              </a:extLst>
            </p:cNvPr>
            <p:cNvSpPr/>
            <p:nvPr/>
          </p:nvSpPr>
          <p:spPr>
            <a:xfrm>
              <a:off x="4445409" y="2962844"/>
              <a:ext cx="238591" cy="62307"/>
            </a:xfrm>
            <a:custGeom>
              <a:avLst/>
              <a:gdLst>
                <a:gd name="connsiteX0" fmla="*/ 133516 w 238591"/>
                <a:gd name="connsiteY0" fmla="*/ 62308 h 62307"/>
                <a:gd name="connsiteX1" fmla="*/ 121648 w 238591"/>
                <a:gd name="connsiteY1" fmla="*/ 62308 h 62307"/>
                <a:gd name="connsiteX2" fmla="*/ 50440 w 238591"/>
                <a:gd name="connsiteY2" fmla="*/ 35604 h 62307"/>
                <a:gd name="connsiteX3" fmla="*/ 2967 w 238591"/>
                <a:gd name="connsiteY3" fmla="*/ 11868 h 62307"/>
                <a:gd name="connsiteX4" fmla="*/ 0 w 238591"/>
                <a:gd name="connsiteY4" fmla="*/ 2967 h 62307"/>
                <a:gd name="connsiteX5" fmla="*/ 8901 w 238591"/>
                <a:gd name="connsiteY5" fmla="*/ 0 h 62307"/>
                <a:gd name="connsiteX6" fmla="*/ 56374 w 238591"/>
                <a:gd name="connsiteY6" fmla="*/ 23736 h 62307"/>
                <a:gd name="connsiteX7" fmla="*/ 145385 w 238591"/>
                <a:gd name="connsiteY7" fmla="*/ 50440 h 62307"/>
                <a:gd name="connsiteX8" fmla="*/ 145385 w 238591"/>
                <a:gd name="connsiteY8" fmla="*/ 50440 h 62307"/>
                <a:gd name="connsiteX9" fmla="*/ 157253 w 238591"/>
                <a:gd name="connsiteY9" fmla="*/ 50440 h 62307"/>
                <a:gd name="connsiteX10" fmla="*/ 204725 w 238591"/>
                <a:gd name="connsiteY10" fmla="*/ 32637 h 62307"/>
                <a:gd name="connsiteX11" fmla="*/ 213626 w 238591"/>
                <a:gd name="connsiteY11" fmla="*/ 26703 h 62307"/>
                <a:gd name="connsiteX12" fmla="*/ 219560 w 238591"/>
                <a:gd name="connsiteY12" fmla="*/ 26703 h 62307"/>
                <a:gd name="connsiteX13" fmla="*/ 228462 w 238591"/>
                <a:gd name="connsiteY13" fmla="*/ 20769 h 62307"/>
                <a:gd name="connsiteX14" fmla="*/ 237363 w 238591"/>
                <a:gd name="connsiteY14" fmla="*/ 23736 h 62307"/>
                <a:gd name="connsiteX15" fmla="*/ 234396 w 238591"/>
                <a:gd name="connsiteY15" fmla="*/ 32637 h 62307"/>
                <a:gd name="connsiteX16" fmla="*/ 210659 w 238591"/>
                <a:gd name="connsiteY16" fmla="*/ 44505 h 62307"/>
                <a:gd name="connsiteX17" fmla="*/ 157253 w 238591"/>
                <a:gd name="connsiteY17" fmla="*/ 62308 h 62307"/>
                <a:gd name="connsiteX18" fmla="*/ 133516 w 238591"/>
                <a:gd name="connsiteY18" fmla="*/ 62308 h 6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8591" h="62307">
                  <a:moveTo>
                    <a:pt x="133516" y="62308"/>
                  </a:moveTo>
                  <a:cubicBezTo>
                    <a:pt x="127582" y="62308"/>
                    <a:pt x="124615" y="62308"/>
                    <a:pt x="121648" y="62308"/>
                  </a:cubicBezTo>
                  <a:cubicBezTo>
                    <a:pt x="103846" y="59341"/>
                    <a:pt x="74176" y="47472"/>
                    <a:pt x="50440" y="35604"/>
                  </a:cubicBezTo>
                  <a:cubicBezTo>
                    <a:pt x="23736" y="23736"/>
                    <a:pt x="2967" y="11868"/>
                    <a:pt x="2967" y="11868"/>
                  </a:cubicBezTo>
                  <a:cubicBezTo>
                    <a:pt x="0" y="8901"/>
                    <a:pt x="0" y="5934"/>
                    <a:pt x="0" y="2967"/>
                  </a:cubicBezTo>
                  <a:cubicBezTo>
                    <a:pt x="2967" y="0"/>
                    <a:pt x="5934" y="0"/>
                    <a:pt x="8901" y="0"/>
                  </a:cubicBezTo>
                  <a:cubicBezTo>
                    <a:pt x="8901" y="0"/>
                    <a:pt x="29670" y="11868"/>
                    <a:pt x="56374" y="23736"/>
                  </a:cubicBezTo>
                  <a:cubicBezTo>
                    <a:pt x="86044" y="35604"/>
                    <a:pt x="121648" y="50440"/>
                    <a:pt x="145385" y="50440"/>
                  </a:cubicBezTo>
                  <a:cubicBezTo>
                    <a:pt x="145385" y="50440"/>
                    <a:pt x="145385" y="50440"/>
                    <a:pt x="145385" y="50440"/>
                  </a:cubicBezTo>
                  <a:cubicBezTo>
                    <a:pt x="148352" y="50440"/>
                    <a:pt x="154286" y="50440"/>
                    <a:pt x="157253" y="50440"/>
                  </a:cubicBezTo>
                  <a:cubicBezTo>
                    <a:pt x="175055" y="47472"/>
                    <a:pt x="192857" y="38571"/>
                    <a:pt x="204725" y="32637"/>
                  </a:cubicBezTo>
                  <a:cubicBezTo>
                    <a:pt x="210659" y="29670"/>
                    <a:pt x="213626" y="26703"/>
                    <a:pt x="213626" y="26703"/>
                  </a:cubicBezTo>
                  <a:cubicBezTo>
                    <a:pt x="213626" y="26703"/>
                    <a:pt x="216593" y="26703"/>
                    <a:pt x="219560" y="26703"/>
                  </a:cubicBezTo>
                  <a:cubicBezTo>
                    <a:pt x="225494" y="23736"/>
                    <a:pt x="228462" y="20769"/>
                    <a:pt x="228462" y="20769"/>
                  </a:cubicBezTo>
                  <a:cubicBezTo>
                    <a:pt x="231429" y="17802"/>
                    <a:pt x="234396" y="20769"/>
                    <a:pt x="237363" y="23736"/>
                  </a:cubicBezTo>
                  <a:cubicBezTo>
                    <a:pt x="240330" y="26703"/>
                    <a:pt x="237363" y="29670"/>
                    <a:pt x="234396" y="32637"/>
                  </a:cubicBezTo>
                  <a:cubicBezTo>
                    <a:pt x="234396" y="32637"/>
                    <a:pt x="225494" y="38571"/>
                    <a:pt x="210659" y="44505"/>
                  </a:cubicBezTo>
                  <a:cubicBezTo>
                    <a:pt x="198791" y="50440"/>
                    <a:pt x="180989" y="59341"/>
                    <a:pt x="157253" y="62308"/>
                  </a:cubicBezTo>
                  <a:cubicBezTo>
                    <a:pt x="148352" y="59341"/>
                    <a:pt x="139451" y="62308"/>
                    <a:pt x="133516" y="62308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D67E922F-CFFF-48EC-80D5-638F9EA78C9F}"/>
                </a:ext>
              </a:extLst>
            </p:cNvPr>
            <p:cNvSpPr/>
            <p:nvPr/>
          </p:nvSpPr>
          <p:spPr>
            <a:xfrm>
              <a:off x="4319673" y="3698964"/>
              <a:ext cx="196945" cy="151022"/>
            </a:xfrm>
            <a:custGeom>
              <a:avLst/>
              <a:gdLst>
                <a:gd name="connsiteX0" fmla="*/ 196945 w 196945"/>
                <a:gd name="connsiteY0" fmla="*/ 151023 h 151022"/>
                <a:gd name="connsiteX1" fmla="*/ 87165 w 196945"/>
                <a:gd name="connsiteY1" fmla="*/ 20473 h 151022"/>
                <a:gd name="connsiteX2" fmla="*/ 4088 w 196945"/>
                <a:gd name="connsiteY2" fmla="*/ 5638 h 151022"/>
                <a:gd name="connsiteX3" fmla="*/ 93099 w 196945"/>
                <a:gd name="connsiteY3" fmla="*/ 97616 h 151022"/>
                <a:gd name="connsiteX4" fmla="*/ 196945 w 196945"/>
                <a:gd name="connsiteY4" fmla="*/ 151023 h 15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945" h="151022">
                  <a:moveTo>
                    <a:pt x="196945" y="151023"/>
                  </a:moveTo>
                  <a:cubicBezTo>
                    <a:pt x="196945" y="151023"/>
                    <a:pt x="158374" y="50143"/>
                    <a:pt x="87165" y="20473"/>
                  </a:cubicBezTo>
                  <a:cubicBezTo>
                    <a:pt x="57494" y="8605"/>
                    <a:pt x="12989" y="-9197"/>
                    <a:pt x="4088" y="5638"/>
                  </a:cubicBezTo>
                  <a:cubicBezTo>
                    <a:pt x="-22615" y="41242"/>
                    <a:pt x="90132" y="59045"/>
                    <a:pt x="93099" y="97616"/>
                  </a:cubicBezTo>
                  <a:cubicBezTo>
                    <a:pt x="93099" y="112451"/>
                    <a:pt x="196945" y="151023"/>
                    <a:pt x="196945" y="151023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2" name="图形 1">
              <a:extLst>
                <a:ext uri="{FF2B5EF4-FFF2-40B4-BE49-F238E27FC236}">
                  <a16:creationId xmlns:a16="http://schemas.microsoft.com/office/drawing/2014/main" id="{ADD2E898-993B-44F3-84A5-F2BDA22004B6}"/>
                </a:ext>
              </a:extLst>
            </p:cNvPr>
            <p:cNvGrpSpPr/>
            <p:nvPr/>
          </p:nvGrpSpPr>
          <p:grpSpPr>
            <a:xfrm>
              <a:off x="4288157" y="3759924"/>
              <a:ext cx="301546" cy="252614"/>
              <a:chOff x="4288157" y="3759924"/>
              <a:chExt cx="301546" cy="252614"/>
            </a:xfrm>
          </p:grpSpPr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2181BDA9-A10D-43D1-BCAF-1991FAD19F4E}"/>
                  </a:ext>
                </a:extLst>
              </p:cNvPr>
              <p:cNvSpPr/>
              <p:nvPr/>
            </p:nvSpPr>
            <p:spPr>
              <a:xfrm>
                <a:off x="4288157" y="3765982"/>
                <a:ext cx="301546" cy="246556"/>
              </a:xfrm>
              <a:custGeom>
                <a:avLst/>
                <a:gdLst>
                  <a:gd name="connsiteX0" fmla="*/ 278901 w 301546"/>
                  <a:gd name="connsiteY0" fmla="*/ 232356 h 246556"/>
                  <a:gd name="connsiteX1" fmla="*/ 299670 w 301546"/>
                  <a:gd name="connsiteY1" fmla="*/ 104774 h 246556"/>
                  <a:gd name="connsiteX2" fmla="*/ 86044 w 301546"/>
                  <a:gd name="connsiteY2" fmla="*/ 9829 h 246556"/>
                  <a:gd name="connsiteX3" fmla="*/ 23736 w 301546"/>
                  <a:gd name="connsiteY3" fmla="*/ 15763 h 246556"/>
                  <a:gd name="connsiteX4" fmla="*/ 26703 w 301546"/>
                  <a:gd name="connsiteY4" fmla="*/ 54334 h 246556"/>
                  <a:gd name="connsiteX5" fmla="*/ 14835 w 301546"/>
                  <a:gd name="connsiteY5" fmla="*/ 110708 h 246556"/>
                  <a:gd name="connsiteX6" fmla="*/ 0 w 301546"/>
                  <a:gd name="connsiteY6" fmla="*/ 140378 h 246556"/>
                  <a:gd name="connsiteX7" fmla="*/ 26703 w 301546"/>
                  <a:gd name="connsiteY7" fmla="*/ 173016 h 246556"/>
                  <a:gd name="connsiteX8" fmla="*/ 38571 w 301546"/>
                  <a:gd name="connsiteY8" fmla="*/ 226422 h 246556"/>
                  <a:gd name="connsiteX9" fmla="*/ 124615 w 301546"/>
                  <a:gd name="connsiteY9" fmla="*/ 229389 h 246556"/>
                  <a:gd name="connsiteX10" fmla="*/ 258132 w 301546"/>
                  <a:gd name="connsiteY10" fmla="*/ 238290 h 246556"/>
                  <a:gd name="connsiteX11" fmla="*/ 278901 w 301546"/>
                  <a:gd name="connsiteY11" fmla="*/ 232356 h 246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1546" h="246556">
                    <a:moveTo>
                      <a:pt x="278901" y="232356"/>
                    </a:moveTo>
                    <a:cubicBezTo>
                      <a:pt x="305604" y="193785"/>
                      <a:pt x="302637" y="101807"/>
                      <a:pt x="299670" y="104774"/>
                    </a:cubicBezTo>
                    <a:cubicBezTo>
                      <a:pt x="210659" y="72136"/>
                      <a:pt x="178022" y="27631"/>
                      <a:pt x="86044" y="9829"/>
                    </a:cubicBezTo>
                    <a:cubicBezTo>
                      <a:pt x="71209" y="6862"/>
                      <a:pt x="38571" y="-13908"/>
                      <a:pt x="23736" y="15763"/>
                    </a:cubicBezTo>
                    <a:cubicBezTo>
                      <a:pt x="20769" y="24664"/>
                      <a:pt x="11868" y="42466"/>
                      <a:pt x="26703" y="54334"/>
                    </a:cubicBezTo>
                    <a:cubicBezTo>
                      <a:pt x="2967" y="60268"/>
                      <a:pt x="0" y="104774"/>
                      <a:pt x="14835" y="110708"/>
                    </a:cubicBezTo>
                    <a:cubicBezTo>
                      <a:pt x="8901" y="113675"/>
                      <a:pt x="0" y="134444"/>
                      <a:pt x="0" y="140378"/>
                    </a:cubicBezTo>
                    <a:cubicBezTo>
                      <a:pt x="2967" y="161147"/>
                      <a:pt x="8901" y="170049"/>
                      <a:pt x="26703" y="173016"/>
                    </a:cubicBezTo>
                    <a:cubicBezTo>
                      <a:pt x="11868" y="190818"/>
                      <a:pt x="11868" y="217521"/>
                      <a:pt x="38571" y="226422"/>
                    </a:cubicBezTo>
                    <a:cubicBezTo>
                      <a:pt x="74176" y="238290"/>
                      <a:pt x="89011" y="220488"/>
                      <a:pt x="124615" y="229389"/>
                    </a:cubicBezTo>
                    <a:cubicBezTo>
                      <a:pt x="204725" y="244224"/>
                      <a:pt x="222527" y="232356"/>
                      <a:pt x="258132" y="238290"/>
                    </a:cubicBezTo>
                    <a:cubicBezTo>
                      <a:pt x="284835" y="244224"/>
                      <a:pt x="261099" y="256092"/>
                      <a:pt x="278901" y="232356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12458CD3-5B16-4718-A4EF-45CB8427AF3C}"/>
                  </a:ext>
                </a:extLst>
              </p:cNvPr>
              <p:cNvSpPr/>
              <p:nvPr/>
            </p:nvSpPr>
            <p:spPr>
              <a:xfrm>
                <a:off x="4300684" y="3759924"/>
                <a:ext cx="162527" cy="66326"/>
              </a:xfrm>
              <a:custGeom>
                <a:avLst/>
                <a:gdLst>
                  <a:gd name="connsiteX0" fmla="*/ 11209 w 162527"/>
                  <a:gd name="connsiteY0" fmla="*/ 66326 h 66326"/>
                  <a:gd name="connsiteX1" fmla="*/ 5275 w 162527"/>
                  <a:gd name="connsiteY1" fmla="*/ 63359 h 66326"/>
                  <a:gd name="connsiteX2" fmla="*/ 5275 w 162527"/>
                  <a:gd name="connsiteY2" fmla="*/ 15887 h 66326"/>
                  <a:gd name="connsiteX3" fmla="*/ 29011 w 162527"/>
                  <a:gd name="connsiteY3" fmla="*/ 1052 h 66326"/>
                  <a:gd name="connsiteX4" fmla="*/ 159560 w 162527"/>
                  <a:gd name="connsiteY4" fmla="*/ 45557 h 66326"/>
                  <a:gd name="connsiteX5" fmla="*/ 162527 w 162527"/>
                  <a:gd name="connsiteY5" fmla="*/ 54458 h 66326"/>
                  <a:gd name="connsiteX6" fmla="*/ 153626 w 162527"/>
                  <a:gd name="connsiteY6" fmla="*/ 57425 h 66326"/>
                  <a:gd name="connsiteX7" fmla="*/ 29011 w 162527"/>
                  <a:gd name="connsiteY7" fmla="*/ 15887 h 66326"/>
                  <a:gd name="connsiteX8" fmla="*/ 14176 w 162527"/>
                  <a:gd name="connsiteY8" fmla="*/ 24788 h 66326"/>
                  <a:gd name="connsiteX9" fmla="*/ 17143 w 162527"/>
                  <a:gd name="connsiteY9" fmla="*/ 63359 h 66326"/>
                  <a:gd name="connsiteX10" fmla="*/ 11209 w 162527"/>
                  <a:gd name="connsiteY10" fmla="*/ 66326 h 66326"/>
                  <a:gd name="connsiteX11" fmla="*/ 11209 w 162527"/>
                  <a:gd name="connsiteY11" fmla="*/ 66326 h 66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2527" h="66326">
                    <a:moveTo>
                      <a:pt x="11209" y="66326"/>
                    </a:moveTo>
                    <a:cubicBezTo>
                      <a:pt x="8242" y="66326"/>
                      <a:pt x="8242" y="66326"/>
                      <a:pt x="5275" y="63359"/>
                    </a:cubicBezTo>
                    <a:cubicBezTo>
                      <a:pt x="5275" y="63359"/>
                      <a:pt x="-6593" y="33689"/>
                      <a:pt x="5275" y="15887"/>
                    </a:cubicBezTo>
                    <a:cubicBezTo>
                      <a:pt x="11209" y="6986"/>
                      <a:pt x="17143" y="1052"/>
                      <a:pt x="29011" y="1052"/>
                    </a:cubicBezTo>
                    <a:cubicBezTo>
                      <a:pt x="76484" y="-7849"/>
                      <a:pt x="156593" y="42590"/>
                      <a:pt x="159560" y="45557"/>
                    </a:cubicBezTo>
                    <a:cubicBezTo>
                      <a:pt x="162527" y="48524"/>
                      <a:pt x="162527" y="51491"/>
                      <a:pt x="162527" y="54458"/>
                    </a:cubicBezTo>
                    <a:cubicBezTo>
                      <a:pt x="159560" y="57425"/>
                      <a:pt x="156593" y="57425"/>
                      <a:pt x="153626" y="57425"/>
                    </a:cubicBezTo>
                    <a:cubicBezTo>
                      <a:pt x="153626" y="57425"/>
                      <a:pt x="70549" y="6986"/>
                      <a:pt x="29011" y="15887"/>
                    </a:cubicBezTo>
                    <a:cubicBezTo>
                      <a:pt x="20110" y="15887"/>
                      <a:pt x="17143" y="21821"/>
                      <a:pt x="14176" y="24788"/>
                    </a:cubicBezTo>
                    <a:cubicBezTo>
                      <a:pt x="8242" y="36656"/>
                      <a:pt x="14176" y="57425"/>
                      <a:pt x="17143" y="63359"/>
                    </a:cubicBezTo>
                    <a:cubicBezTo>
                      <a:pt x="17143" y="63359"/>
                      <a:pt x="14176" y="66326"/>
                      <a:pt x="11209" y="66326"/>
                    </a:cubicBezTo>
                    <a:cubicBezTo>
                      <a:pt x="11209" y="66326"/>
                      <a:pt x="11209" y="66326"/>
                      <a:pt x="11209" y="6632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0C264E51-9D33-4D3A-86CD-7AA10228B1D9}"/>
                  </a:ext>
                </a:extLst>
              </p:cNvPr>
              <p:cNvSpPr/>
              <p:nvPr/>
            </p:nvSpPr>
            <p:spPr>
              <a:xfrm>
                <a:off x="4337991" y="3842824"/>
                <a:ext cx="16669" cy="99141"/>
              </a:xfrm>
              <a:custGeom>
                <a:avLst/>
                <a:gdLst>
                  <a:gd name="connsiteX0" fmla="*/ 12474 w 16669"/>
                  <a:gd name="connsiteY0" fmla="*/ 99141 h 99141"/>
                  <a:gd name="connsiteX1" fmla="*/ 6540 w 16669"/>
                  <a:gd name="connsiteY1" fmla="*/ 93207 h 99141"/>
                  <a:gd name="connsiteX2" fmla="*/ 606 w 16669"/>
                  <a:gd name="connsiteY2" fmla="*/ 4196 h 99141"/>
                  <a:gd name="connsiteX3" fmla="*/ 6540 w 16669"/>
                  <a:gd name="connsiteY3" fmla="*/ 1229 h 99141"/>
                  <a:gd name="connsiteX4" fmla="*/ 9507 w 16669"/>
                  <a:gd name="connsiteY4" fmla="*/ 7163 h 99141"/>
                  <a:gd name="connsiteX5" fmla="*/ 15441 w 16669"/>
                  <a:gd name="connsiteY5" fmla="*/ 93207 h 99141"/>
                  <a:gd name="connsiteX6" fmla="*/ 12474 w 16669"/>
                  <a:gd name="connsiteY6" fmla="*/ 99141 h 99141"/>
                  <a:gd name="connsiteX7" fmla="*/ 12474 w 16669"/>
                  <a:gd name="connsiteY7" fmla="*/ 99141 h 99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669" h="99141">
                    <a:moveTo>
                      <a:pt x="12474" y="99141"/>
                    </a:moveTo>
                    <a:cubicBezTo>
                      <a:pt x="9507" y="99141"/>
                      <a:pt x="6540" y="96174"/>
                      <a:pt x="6540" y="93207"/>
                    </a:cubicBezTo>
                    <a:cubicBezTo>
                      <a:pt x="6540" y="90240"/>
                      <a:pt x="-2362" y="24965"/>
                      <a:pt x="606" y="4196"/>
                    </a:cubicBezTo>
                    <a:cubicBezTo>
                      <a:pt x="606" y="1229"/>
                      <a:pt x="3573" y="-1738"/>
                      <a:pt x="6540" y="1229"/>
                    </a:cubicBezTo>
                    <a:cubicBezTo>
                      <a:pt x="9507" y="1229"/>
                      <a:pt x="12474" y="4196"/>
                      <a:pt x="9507" y="7163"/>
                    </a:cubicBezTo>
                    <a:cubicBezTo>
                      <a:pt x="6540" y="24965"/>
                      <a:pt x="12474" y="75405"/>
                      <a:pt x="15441" y="93207"/>
                    </a:cubicBezTo>
                    <a:cubicBezTo>
                      <a:pt x="18408" y="96174"/>
                      <a:pt x="15441" y="99141"/>
                      <a:pt x="12474" y="99141"/>
                    </a:cubicBezTo>
                    <a:cubicBezTo>
                      <a:pt x="12474" y="99141"/>
                      <a:pt x="12474" y="99141"/>
                      <a:pt x="12474" y="99141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76853CC2-D41D-4D25-8D7D-EE6233C318F4}"/>
                </a:ext>
              </a:extLst>
            </p:cNvPr>
            <p:cNvSpPr/>
            <p:nvPr/>
          </p:nvSpPr>
          <p:spPr>
            <a:xfrm>
              <a:off x="3490025" y="1906580"/>
              <a:ext cx="811900" cy="1591500"/>
            </a:xfrm>
            <a:custGeom>
              <a:avLst/>
              <a:gdLst>
                <a:gd name="connsiteX0" fmla="*/ 765495 w 811900"/>
                <a:gd name="connsiteY0" fmla="*/ 1474615 h 1591500"/>
                <a:gd name="connsiteX1" fmla="*/ 735824 w 811900"/>
                <a:gd name="connsiteY1" fmla="*/ 1237253 h 1591500"/>
                <a:gd name="connsiteX2" fmla="*/ 359011 w 811900"/>
                <a:gd name="connsiteY2" fmla="*/ 729890 h 1591500"/>
                <a:gd name="connsiteX3" fmla="*/ 456923 w 811900"/>
                <a:gd name="connsiteY3" fmla="*/ 103846 h 1591500"/>
                <a:gd name="connsiteX4" fmla="*/ 308571 w 811900"/>
                <a:gd name="connsiteY4" fmla="*/ 0 h 1591500"/>
                <a:gd name="connsiteX5" fmla="*/ 0 w 811900"/>
                <a:gd name="connsiteY5" fmla="*/ 774396 h 1591500"/>
                <a:gd name="connsiteX6" fmla="*/ 560769 w 811900"/>
                <a:gd name="connsiteY6" fmla="*/ 1569560 h 1591500"/>
                <a:gd name="connsiteX7" fmla="*/ 765495 w 811900"/>
                <a:gd name="connsiteY7" fmla="*/ 1474615 h 159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1900" h="1591500">
                  <a:moveTo>
                    <a:pt x="765495" y="1474615"/>
                  </a:moveTo>
                  <a:cubicBezTo>
                    <a:pt x="821868" y="1421209"/>
                    <a:pt x="842637" y="1364835"/>
                    <a:pt x="735824" y="1237253"/>
                  </a:cubicBezTo>
                  <a:cubicBezTo>
                    <a:pt x="590440" y="1059231"/>
                    <a:pt x="359011" y="729890"/>
                    <a:pt x="359011" y="729890"/>
                  </a:cubicBezTo>
                  <a:lnTo>
                    <a:pt x="456923" y="103846"/>
                  </a:lnTo>
                  <a:lnTo>
                    <a:pt x="308571" y="0"/>
                  </a:lnTo>
                  <a:cubicBezTo>
                    <a:pt x="308571" y="0"/>
                    <a:pt x="0" y="649780"/>
                    <a:pt x="0" y="774396"/>
                  </a:cubicBezTo>
                  <a:cubicBezTo>
                    <a:pt x="0" y="875275"/>
                    <a:pt x="305604" y="1332198"/>
                    <a:pt x="560769" y="1569560"/>
                  </a:cubicBezTo>
                  <a:cubicBezTo>
                    <a:pt x="629011" y="1634835"/>
                    <a:pt x="697253" y="1539890"/>
                    <a:pt x="765495" y="1474615"/>
                  </a:cubicBezTo>
                  <a:close/>
                </a:path>
              </a:pathLst>
            </a:custGeom>
            <a:solidFill>
              <a:srgbClr val="7F95BC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048BD703-BAD5-4471-804F-61585DE828BA}"/>
                </a:ext>
              </a:extLst>
            </p:cNvPr>
            <p:cNvSpPr/>
            <p:nvPr/>
          </p:nvSpPr>
          <p:spPr>
            <a:xfrm>
              <a:off x="4048569" y="4173394"/>
              <a:ext cx="298928" cy="311538"/>
            </a:xfrm>
            <a:custGeom>
              <a:avLst/>
              <a:gdLst>
                <a:gd name="connsiteX0" fmla="*/ 40797 w 298928"/>
                <a:gd name="connsiteY0" fmla="*/ 311538 h 311538"/>
                <a:gd name="connsiteX1" fmla="*/ 37830 w 298928"/>
                <a:gd name="connsiteY1" fmla="*/ 308571 h 311538"/>
                <a:gd name="connsiteX2" fmla="*/ 2225 w 298928"/>
                <a:gd name="connsiteY2" fmla="*/ 261099 h 311538"/>
                <a:gd name="connsiteX3" fmla="*/ 2225 w 298928"/>
                <a:gd name="connsiteY3" fmla="*/ 255165 h 311538"/>
                <a:gd name="connsiteX4" fmla="*/ 227720 w 298928"/>
                <a:gd name="connsiteY4" fmla="*/ 2967 h 311538"/>
                <a:gd name="connsiteX5" fmla="*/ 230687 w 298928"/>
                <a:gd name="connsiteY5" fmla="*/ 0 h 311538"/>
                <a:gd name="connsiteX6" fmla="*/ 233654 w 298928"/>
                <a:gd name="connsiteY6" fmla="*/ 0 h 311538"/>
                <a:gd name="connsiteX7" fmla="*/ 295962 w 298928"/>
                <a:gd name="connsiteY7" fmla="*/ 29670 h 311538"/>
                <a:gd name="connsiteX8" fmla="*/ 298929 w 298928"/>
                <a:gd name="connsiteY8" fmla="*/ 32637 h 311538"/>
                <a:gd name="connsiteX9" fmla="*/ 298929 w 298928"/>
                <a:gd name="connsiteY9" fmla="*/ 35604 h 311538"/>
                <a:gd name="connsiteX10" fmla="*/ 40797 w 298928"/>
                <a:gd name="connsiteY10" fmla="*/ 311538 h 311538"/>
                <a:gd name="connsiteX11" fmla="*/ 40797 w 298928"/>
                <a:gd name="connsiteY11" fmla="*/ 311538 h 311538"/>
                <a:gd name="connsiteX12" fmla="*/ 11126 w 298928"/>
                <a:gd name="connsiteY12" fmla="*/ 258132 h 311538"/>
                <a:gd name="connsiteX13" fmla="*/ 40797 w 298928"/>
                <a:gd name="connsiteY13" fmla="*/ 296703 h 311538"/>
                <a:gd name="connsiteX14" fmla="*/ 281126 w 298928"/>
                <a:gd name="connsiteY14" fmla="*/ 32637 h 311538"/>
                <a:gd name="connsiteX15" fmla="*/ 230687 w 298928"/>
                <a:gd name="connsiteY15" fmla="*/ 8901 h 311538"/>
                <a:gd name="connsiteX16" fmla="*/ 11126 w 298928"/>
                <a:gd name="connsiteY16" fmla="*/ 258132 h 31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28" h="311538">
                  <a:moveTo>
                    <a:pt x="40797" y="311538"/>
                  </a:moveTo>
                  <a:cubicBezTo>
                    <a:pt x="37830" y="311538"/>
                    <a:pt x="37830" y="311538"/>
                    <a:pt x="37830" y="308571"/>
                  </a:cubicBezTo>
                  <a:lnTo>
                    <a:pt x="2225" y="261099"/>
                  </a:lnTo>
                  <a:cubicBezTo>
                    <a:pt x="-742" y="258132"/>
                    <a:pt x="-742" y="255165"/>
                    <a:pt x="2225" y="255165"/>
                  </a:cubicBezTo>
                  <a:cubicBezTo>
                    <a:pt x="5192" y="252198"/>
                    <a:pt x="195082" y="74176"/>
                    <a:pt x="227720" y="2967"/>
                  </a:cubicBezTo>
                  <a:cubicBezTo>
                    <a:pt x="227720" y="2967"/>
                    <a:pt x="230687" y="0"/>
                    <a:pt x="230687" y="0"/>
                  </a:cubicBezTo>
                  <a:cubicBezTo>
                    <a:pt x="230687" y="0"/>
                    <a:pt x="233654" y="0"/>
                    <a:pt x="233654" y="0"/>
                  </a:cubicBezTo>
                  <a:lnTo>
                    <a:pt x="295962" y="29670"/>
                  </a:lnTo>
                  <a:cubicBezTo>
                    <a:pt x="295962" y="29670"/>
                    <a:pt x="298929" y="32637"/>
                    <a:pt x="298929" y="32637"/>
                  </a:cubicBezTo>
                  <a:cubicBezTo>
                    <a:pt x="298929" y="32637"/>
                    <a:pt x="298929" y="35604"/>
                    <a:pt x="298929" y="35604"/>
                  </a:cubicBezTo>
                  <a:cubicBezTo>
                    <a:pt x="287060" y="44505"/>
                    <a:pt x="162445" y="252198"/>
                    <a:pt x="40797" y="311538"/>
                  </a:cubicBezTo>
                  <a:cubicBezTo>
                    <a:pt x="40797" y="311538"/>
                    <a:pt x="40797" y="311538"/>
                    <a:pt x="40797" y="311538"/>
                  </a:cubicBezTo>
                  <a:close/>
                  <a:moveTo>
                    <a:pt x="11126" y="258132"/>
                  </a:moveTo>
                  <a:lnTo>
                    <a:pt x="40797" y="296703"/>
                  </a:lnTo>
                  <a:cubicBezTo>
                    <a:pt x="147610" y="240330"/>
                    <a:pt x="260357" y="65275"/>
                    <a:pt x="281126" y="32637"/>
                  </a:cubicBezTo>
                  <a:lnTo>
                    <a:pt x="230687" y="8901"/>
                  </a:lnTo>
                  <a:cubicBezTo>
                    <a:pt x="195082" y="83077"/>
                    <a:pt x="37830" y="234395"/>
                    <a:pt x="11126" y="258132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3DB054C2-21C7-4E4C-ACF7-5E41225C9160}"/>
                </a:ext>
              </a:extLst>
            </p:cNvPr>
            <p:cNvSpPr/>
            <p:nvPr/>
          </p:nvSpPr>
          <p:spPr>
            <a:xfrm>
              <a:off x="4967607" y="4253503"/>
              <a:ext cx="145384" cy="201758"/>
            </a:xfrm>
            <a:custGeom>
              <a:avLst/>
              <a:gdLst>
                <a:gd name="connsiteX0" fmla="*/ 139451 w 145384"/>
                <a:gd name="connsiteY0" fmla="*/ 201758 h 201758"/>
                <a:gd name="connsiteX1" fmla="*/ 139451 w 145384"/>
                <a:gd name="connsiteY1" fmla="*/ 201758 h 201758"/>
                <a:gd name="connsiteX2" fmla="*/ 0 w 145384"/>
                <a:gd name="connsiteY2" fmla="*/ 77143 h 201758"/>
                <a:gd name="connsiteX3" fmla="*/ 0 w 145384"/>
                <a:gd name="connsiteY3" fmla="*/ 74176 h 201758"/>
                <a:gd name="connsiteX4" fmla="*/ 11868 w 145384"/>
                <a:gd name="connsiteY4" fmla="*/ 2967 h 201758"/>
                <a:gd name="connsiteX5" fmla="*/ 14835 w 145384"/>
                <a:gd name="connsiteY5" fmla="*/ 0 h 201758"/>
                <a:gd name="connsiteX6" fmla="*/ 20769 w 145384"/>
                <a:gd name="connsiteY6" fmla="*/ 2967 h 201758"/>
                <a:gd name="connsiteX7" fmla="*/ 127583 w 145384"/>
                <a:gd name="connsiteY7" fmla="*/ 103846 h 201758"/>
                <a:gd name="connsiteX8" fmla="*/ 130550 w 145384"/>
                <a:gd name="connsiteY8" fmla="*/ 112747 h 201758"/>
                <a:gd name="connsiteX9" fmla="*/ 121648 w 145384"/>
                <a:gd name="connsiteY9" fmla="*/ 115714 h 201758"/>
                <a:gd name="connsiteX10" fmla="*/ 17802 w 145384"/>
                <a:gd name="connsiteY10" fmla="*/ 20769 h 201758"/>
                <a:gd name="connsiteX11" fmla="*/ 11868 w 145384"/>
                <a:gd name="connsiteY11" fmla="*/ 74176 h 201758"/>
                <a:gd name="connsiteX12" fmla="*/ 139451 w 145384"/>
                <a:gd name="connsiteY12" fmla="*/ 189890 h 201758"/>
                <a:gd name="connsiteX13" fmla="*/ 145385 w 145384"/>
                <a:gd name="connsiteY13" fmla="*/ 195824 h 201758"/>
                <a:gd name="connsiteX14" fmla="*/ 139451 w 145384"/>
                <a:gd name="connsiteY14" fmla="*/ 201758 h 20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5384" h="201758">
                  <a:moveTo>
                    <a:pt x="139451" y="201758"/>
                  </a:moveTo>
                  <a:cubicBezTo>
                    <a:pt x="139451" y="201758"/>
                    <a:pt x="136483" y="201758"/>
                    <a:pt x="139451" y="201758"/>
                  </a:cubicBezTo>
                  <a:cubicBezTo>
                    <a:pt x="50440" y="192857"/>
                    <a:pt x="2967" y="83077"/>
                    <a:pt x="0" y="77143"/>
                  </a:cubicBezTo>
                  <a:cubicBezTo>
                    <a:pt x="0" y="77143"/>
                    <a:pt x="0" y="74176"/>
                    <a:pt x="0" y="74176"/>
                  </a:cubicBezTo>
                  <a:lnTo>
                    <a:pt x="11868" y="2967"/>
                  </a:lnTo>
                  <a:cubicBezTo>
                    <a:pt x="11868" y="0"/>
                    <a:pt x="14835" y="0"/>
                    <a:pt x="14835" y="0"/>
                  </a:cubicBezTo>
                  <a:cubicBezTo>
                    <a:pt x="17802" y="0"/>
                    <a:pt x="17802" y="0"/>
                    <a:pt x="20769" y="2967"/>
                  </a:cubicBezTo>
                  <a:cubicBezTo>
                    <a:pt x="62308" y="59341"/>
                    <a:pt x="127583" y="103846"/>
                    <a:pt x="127583" y="103846"/>
                  </a:cubicBezTo>
                  <a:cubicBezTo>
                    <a:pt x="130550" y="106813"/>
                    <a:pt x="130550" y="109780"/>
                    <a:pt x="130550" y="112747"/>
                  </a:cubicBezTo>
                  <a:cubicBezTo>
                    <a:pt x="127583" y="115714"/>
                    <a:pt x="124616" y="115714"/>
                    <a:pt x="121648" y="115714"/>
                  </a:cubicBezTo>
                  <a:cubicBezTo>
                    <a:pt x="118681" y="112747"/>
                    <a:pt x="59341" y="74176"/>
                    <a:pt x="17802" y="20769"/>
                  </a:cubicBezTo>
                  <a:lnTo>
                    <a:pt x="11868" y="74176"/>
                  </a:lnTo>
                  <a:cubicBezTo>
                    <a:pt x="17802" y="86044"/>
                    <a:pt x="62308" y="183956"/>
                    <a:pt x="139451" y="189890"/>
                  </a:cubicBezTo>
                  <a:cubicBezTo>
                    <a:pt x="142418" y="189890"/>
                    <a:pt x="145385" y="192857"/>
                    <a:pt x="145385" y="195824"/>
                  </a:cubicBezTo>
                  <a:cubicBezTo>
                    <a:pt x="142418" y="198791"/>
                    <a:pt x="142418" y="201758"/>
                    <a:pt x="139451" y="201758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9FDB64BA-9BDF-4B91-8217-439D64559C6A}"/>
                </a:ext>
              </a:extLst>
            </p:cNvPr>
            <p:cNvSpPr/>
            <p:nvPr/>
          </p:nvSpPr>
          <p:spPr>
            <a:xfrm>
              <a:off x="4534420" y="2894602"/>
              <a:ext cx="121648" cy="56790"/>
            </a:xfrm>
            <a:custGeom>
              <a:avLst/>
              <a:gdLst>
                <a:gd name="connsiteX0" fmla="*/ 0 w 121648"/>
                <a:gd name="connsiteY0" fmla="*/ 0 h 56790"/>
                <a:gd name="connsiteX1" fmla="*/ 121648 w 121648"/>
                <a:gd name="connsiteY1" fmla="*/ 2967 h 56790"/>
                <a:gd name="connsiteX2" fmla="*/ 47472 w 121648"/>
                <a:gd name="connsiteY2" fmla="*/ 56374 h 56790"/>
                <a:gd name="connsiteX3" fmla="*/ 0 w 121648"/>
                <a:gd name="connsiteY3" fmla="*/ 0 h 56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648" h="56790">
                  <a:moveTo>
                    <a:pt x="0" y="0"/>
                  </a:moveTo>
                  <a:cubicBezTo>
                    <a:pt x="0" y="0"/>
                    <a:pt x="59341" y="29670"/>
                    <a:pt x="121648" y="2967"/>
                  </a:cubicBezTo>
                  <a:cubicBezTo>
                    <a:pt x="121648" y="2967"/>
                    <a:pt x="89011" y="62308"/>
                    <a:pt x="47472" y="56374"/>
                  </a:cubicBezTo>
                  <a:cubicBezTo>
                    <a:pt x="8901" y="5340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5976B0FA-17F6-42FC-B416-2F51E85A128D}"/>
                </a:ext>
              </a:extLst>
            </p:cNvPr>
            <p:cNvSpPr/>
            <p:nvPr/>
          </p:nvSpPr>
          <p:spPr>
            <a:xfrm>
              <a:off x="4534420" y="3849987"/>
              <a:ext cx="812993" cy="371054"/>
            </a:xfrm>
            <a:custGeom>
              <a:avLst/>
              <a:gdLst>
                <a:gd name="connsiteX0" fmla="*/ 810000 w 812993"/>
                <a:gd name="connsiteY0" fmla="*/ 290769 h 371054"/>
                <a:gd name="connsiteX1" fmla="*/ 406483 w 812993"/>
                <a:gd name="connsiteY1" fmla="*/ 326374 h 371054"/>
                <a:gd name="connsiteX2" fmla="*/ 0 w 812993"/>
                <a:gd name="connsiteY2" fmla="*/ 166154 h 371054"/>
                <a:gd name="connsiteX3" fmla="*/ 23736 w 812993"/>
                <a:gd name="connsiteY3" fmla="*/ 0 h 371054"/>
                <a:gd name="connsiteX4" fmla="*/ 810000 w 812993"/>
                <a:gd name="connsiteY4" fmla="*/ 290769 h 371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2993" h="371054">
                  <a:moveTo>
                    <a:pt x="810000" y="290769"/>
                  </a:moveTo>
                  <a:cubicBezTo>
                    <a:pt x="771429" y="418352"/>
                    <a:pt x="528132" y="364945"/>
                    <a:pt x="406483" y="326374"/>
                  </a:cubicBezTo>
                  <a:cubicBezTo>
                    <a:pt x="299670" y="293736"/>
                    <a:pt x="0" y="166154"/>
                    <a:pt x="0" y="166154"/>
                  </a:cubicBezTo>
                  <a:lnTo>
                    <a:pt x="23736" y="0"/>
                  </a:lnTo>
                  <a:cubicBezTo>
                    <a:pt x="26703" y="0"/>
                    <a:pt x="869341" y="100879"/>
                    <a:pt x="810000" y="290769"/>
                  </a:cubicBezTo>
                  <a:close/>
                </a:path>
              </a:pathLst>
            </a:custGeom>
            <a:solidFill>
              <a:srgbClr val="7F95BC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9A5B5270-B6EC-4762-9A75-8AF9546B010B}"/>
                </a:ext>
              </a:extLst>
            </p:cNvPr>
            <p:cNvSpPr/>
            <p:nvPr/>
          </p:nvSpPr>
          <p:spPr>
            <a:xfrm>
              <a:off x="4534420" y="3844053"/>
              <a:ext cx="700219" cy="376813"/>
            </a:xfrm>
            <a:custGeom>
              <a:avLst/>
              <a:gdLst>
                <a:gd name="connsiteX0" fmla="*/ 572637 w 700219"/>
                <a:gd name="connsiteY0" fmla="*/ 376813 h 376813"/>
                <a:gd name="connsiteX1" fmla="*/ 572637 w 700219"/>
                <a:gd name="connsiteY1" fmla="*/ 376813 h 376813"/>
                <a:gd name="connsiteX2" fmla="*/ 2967 w 700219"/>
                <a:gd name="connsiteY2" fmla="*/ 178022 h 376813"/>
                <a:gd name="connsiteX3" fmla="*/ 0 w 700219"/>
                <a:gd name="connsiteY3" fmla="*/ 175055 h 376813"/>
                <a:gd name="connsiteX4" fmla="*/ 26703 w 700219"/>
                <a:gd name="connsiteY4" fmla="*/ 0 h 376813"/>
                <a:gd name="connsiteX5" fmla="*/ 32637 w 700219"/>
                <a:gd name="connsiteY5" fmla="*/ 0 h 376813"/>
                <a:gd name="connsiteX6" fmla="*/ 697253 w 700219"/>
                <a:gd name="connsiteY6" fmla="*/ 160220 h 376813"/>
                <a:gd name="connsiteX7" fmla="*/ 700220 w 700219"/>
                <a:gd name="connsiteY7" fmla="*/ 169121 h 376813"/>
                <a:gd name="connsiteX8" fmla="*/ 691319 w 700219"/>
                <a:gd name="connsiteY8" fmla="*/ 172088 h 376813"/>
                <a:gd name="connsiteX9" fmla="*/ 35604 w 700219"/>
                <a:gd name="connsiteY9" fmla="*/ 14835 h 376813"/>
                <a:gd name="connsiteX10" fmla="*/ 11868 w 700219"/>
                <a:gd name="connsiteY10" fmla="*/ 172088 h 376813"/>
                <a:gd name="connsiteX11" fmla="*/ 575604 w 700219"/>
                <a:gd name="connsiteY11" fmla="*/ 367912 h 376813"/>
                <a:gd name="connsiteX12" fmla="*/ 581538 w 700219"/>
                <a:gd name="connsiteY12" fmla="*/ 373846 h 376813"/>
                <a:gd name="connsiteX13" fmla="*/ 572637 w 700219"/>
                <a:gd name="connsiteY13" fmla="*/ 376813 h 376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0219" h="376813">
                  <a:moveTo>
                    <a:pt x="572637" y="376813"/>
                  </a:moveTo>
                  <a:cubicBezTo>
                    <a:pt x="572637" y="376813"/>
                    <a:pt x="569670" y="376813"/>
                    <a:pt x="572637" y="376813"/>
                  </a:cubicBezTo>
                  <a:cubicBezTo>
                    <a:pt x="382747" y="361978"/>
                    <a:pt x="5934" y="180989"/>
                    <a:pt x="2967" y="178022"/>
                  </a:cubicBezTo>
                  <a:lnTo>
                    <a:pt x="0" y="175055"/>
                  </a:lnTo>
                  <a:lnTo>
                    <a:pt x="26703" y="0"/>
                  </a:lnTo>
                  <a:lnTo>
                    <a:pt x="32637" y="0"/>
                  </a:lnTo>
                  <a:cubicBezTo>
                    <a:pt x="53407" y="2967"/>
                    <a:pt x="566703" y="83077"/>
                    <a:pt x="697253" y="160220"/>
                  </a:cubicBezTo>
                  <a:cubicBezTo>
                    <a:pt x="700220" y="163187"/>
                    <a:pt x="700220" y="166154"/>
                    <a:pt x="700220" y="169121"/>
                  </a:cubicBezTo>
                  <a:cubicBezTo>
                    <a:pt x="697253" y="172088"/>
                    <a:pt x="694286" y="172088"/>
                    <a:pt x="691319" y="172088"/>
                  </a:cubicBezTo>
                  <a:cubicBezTo>
                    <a:pt x="569670" y="100879"/>
                    <a:pt x="91978" y="23736"/>
                    <a:pt x="35604" y="14835"/>
                  </a:cubicBezTo>
                  <a:lnTo>
                    <a:pt x="11868" y="172088"/>
                  </a:lnTo>
                  <a:cubicBezTo>
                    <a:pt x="50440" y="189890"/>
                    <a:pt x="397582" y="353077"/>
                    <a:pt x="575604" y="367912"/>
                  </a:cubicBezTo>
                  <a:cubicBezTo>
                    <a:pt x="578571" y="367912"/>
                    <a:pt x="581538" y="370879"/>
                    <a:pt x="581538" y="373846"/>
                  </a:cubicBezTo>
                  <a:cubicBezTo>
                    <a:pt x="575604" y="373846"/>
                    <a:pt x="575604" y="376813"/>
                    <a:pt x="572637" y="376813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3F39B5CA-FB57-4D5E-9200-C1BF685F3B0A}"/>
                </a:ext>
              </a:extLst>
            </p:cNvPr>
            <p:cNvSpPr/>
            <p:nvPr/>
          </p:nvSpPr>
          <p:spPr>
            <a:xfrm>
              <a:off x="4024091" y="3381196"/>
              <a:ext cx="44505" cy="335274"/>
            </a:xfrm>
            <a:custGeom>
              <a:avLst/>
              <a:gdLst>
                <a:gd name="connsiteX0" fmla="*/ 5934 w 44505"/>
                <a:gd name="connsiteY0" fmla="*/ 335275 h 335274"/>
                <a:gd name="connsiteX1" fmla="*/ 5934 w 44505"/>
                <a:gd name="connsiteY1" fmla="*/ 335275 h 335274"/>
                <a:gd name="connsiteX2" fmla="*/ 0 w 44505"/>
                <a:gd name="connsiteY2" fmla="*/ 329341 h 335274"/>
                <a:gd name="connsiteX3" fmla="*/ 32637 w 44505"/>
                <a:gd name="connsiteY3" fmla="*/ 5934 h 335274"/>
                <a:gd name="connsiteX4" fmla="*/ 38571 w 44505"/>
                <a:gd name="connsiteY4" fmla="*/ 0 h 335274"/>
                <a:gd name="connsiteX5" fmla="*/ 44505 w 44505"/>
                <a:gd name="connsiteY5" fmla="*/ 5934 h 335274"/>
                <a:gd name="connsiteX6" fmla="*/ 11868 w 44505"/>
                <a:gd name="connsiteY6" fmla="*/ 329341 h 335274"/>
                <a:gd name="connsiteX7" fmla="*/ 5934 w 44505"/>
                <a:gd name="connsiteY7" fmla="*/ 335275 h 335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505" h="335274">
                  <a:moveTo>
                    <a:pt x="5934" y="335275"/>
                  </a:moveTo>
                  <a:cubicBezTo>
                    <a:pt x="5934" y="335275"/>
                    <a:pt x="5934" y="335275"/>
                    <a:pt x="5934" y="335275"/>
                  </a:cubicBezTo>
                  <a:cubicBezTo>
                    <a:pt x="2967" y="335275"/>
                    <a:pt x="0" y="332308"/>
                    <a:pt x="0" y="329341"/>
                  </a:cubicBezTo>
                  <a:cubicBezTo>
                    <a:pt x="5934" y="234396"/>
                    <a:pt x="32637" y="8901"/>
                    <a:pt x="32637" y="5934"/>
                  </a:cubicBezTo>
                  <a:cubicBezTo>
                    <a:pt x="32637" y="2967"/>
                    <a:pt x="35604" y="0"/>
                    <a:pt x="38571" y="0"/>
                  </a:cubicBezTo>
                  <a:cubicBezTo>
                    <a:pt x="41539" y="0"/>
                    <a:pt x="44505" y="2967"/>
                    <a:pt x="44505" y="5934"/>
                  </a:cubicBezTo>
                  <a:cubicBezTo>
                    <a:pt x="44505" y="8901"/>
                    <a:pt x="17802" y="231429"/>
                    <a:pt x="11868" y="329341"/>
                  </a:cubicBezTo>
                  <a:cubicBezTo>
                    <a:pt x="11868" y="332308"/>
                    <a:pt x="8901" y="335275"/>
                    <a:pt x="5934" y="335275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8BEAE2BC-8508-45E7-AFC9-381A513FE0B1}"/>
                </a:ext>
              </a:extLst>
            </p:cNvPr>
            <p:cNvSpPr/>
            <p:nvPr/>
          </p:nvSpPr>
          <p:spPr>
            <a:xfrm>
              <a:off x="3762992" y="2630536"/>
              <a:ext cx="524423" cy="572637"/>
            </a:xfrm>
            <a:custGeom>
              <a:avLst/>
              <a:gdLst>
                <a:gd name="connsiteX0" fmla="*/ 513297 w 524423"/>
                <a:gd name="connsiteY0" fmla="*/ 572637 h 572637"/>
                <a:gd name="connsiteX1" fmla="*/ 510330 w 524423"/>
                <a:gd name="connsiteY1" fmla="*/ 572637 h 572637"/>
                <a:gd name="connsiteX2" fmla="*/ 424286 w 524423"/>
                <a:gd name="connsiteY2" fmla="*/ 474725 h 572637"/>
                <a:gd name="connsiteX3" fmla="*/ 83077 w 524423"/>
                <a:gd name="connsiteY3" fmla="*/ 14835 h 572637"/>
                <a:gd name="connsiteX4" fmla="*/ 5934 w 524423"/>
                <a:gd name="connsiteY4" fmla="*/ 14835 h 572637"/>
                <a:gd name="connsiteX5" fmla="*/ 0 w 524423"/>
                <a:gd name="connsiteY5" fmla="*/ 5934 h 572637"/>
                <a:gd name="connsiteX6" fmla="*/ 5934 w 524423"/>
                <a:gd name="connsiteY6" fmla="*/ 0 h 572637"/>
                <a:gd name="connsiteX7" fmla="*/ 89011 w 524423"/>
                <a:gd name="connsiteY7" fmla="*/ 0 h 572637"/>
                <a:gd name="connsiteX8" fmla="*/ 91978 w 524423"/>
                <a:gd name="connsiteY8" fmla="*/ 2967 h 572637"/>
                <a:gd name="connsiteX9" fmla="*/ 436154 w 524423"/>
                <a:gd name="connsiteY9" fmla="*/ 462857 h 572637"/>
                <a:gd name="connsiteX10" fmla="*/ 522198 w 524423"/>
                <a:gd name="connsiteY10" fmla="*/ 560769 h 572637"/>
                <a:gd name="connsiteX11" fmla="*/ 522198 w 524423"/>
                <a:gd name="connsiteY11" fmla="*/ 569670 h 572637"/>
                <a:gd name="connsiteX12" fmla="*/ 513297 w 524423"/>
                <a:gd name="connsiteY12" fmla="*/ 572637 h 572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4423" h="572637">
                  <a:moveTo>
                    <a:pt x="513297" y="572637"/>
                  </a:moveTo>
                  <a:cubicBezTo>
                    <a:pt x="513297" y="572637"/>
                    <a:pt x="510330" y="572637"/>
                    <a:pt x="510330" y="572637"/>
                  </a:cubicBezTo>
                  <a:cubicBezTo>
                    <a:pt x="462857" y="531099"/>
                    <a:pt x="424286" y="474725"/>
                    <a:pt x="424286" y="474725"/>
                  </a:cubicBezTo>
                  <a:cubicBezTo>
                    <a:pt x="391648" y="430220"/>
                    <a:pt x="106813" y="47473"/>
                    <a:pt x="83077" y="14835"/>
                  </a:cubicBezTo>
                  <a:lnTo>
                    <a:pt x="5934" y="14835"/>
                  </a:lnTo>
                  <a:cubicBezTo>
                    <a:pt x="0" y="11868"/>
                    <a:pt x="0" y="8901"/>
                    <a:pt x="0" y="5934"/>
                  </a:cubicBezTo>
                  <a:cubicBezTo>
                    <a:pt x="0" y="2967"/>
                    <a:pt x="2967" y="0"/>
                    <a:pt x="5934" y="0"/>
                  </a:cubicBezTo>
                  <a:lnTo>
                    <a:pt x="89011" y="0"/>
                  </a:lnTo>
                  <a:lnTo>
                    <a:pt x="91978" y="2967"/>
                  </a:lnTo>
                  <a:cubicBezTo>
                    <a:pt x="94945" y="5934"/>
                    <a:pt x="400549" y="418352"/>
                    <a:pt x="436154" y="462857"/>
                  </a:cubicBezTo>
                  <a:cubicBezTo>
                    <a:pt x="436154" y="462857"/>
                    <a:pt x="474725" y="519231"/>
                    <a:pt x="522198" y="560769"/>
                  </a:cubicBezTo>
                  <a:cubicBezTo>
                    <a:pt x="525165" y="563736"/>
                    <a:pt x="525165" y="566703"/>
                    <a:pt x="522198" y="569670"/>
                  </a:cubicBezTo>
                  <a:cubicBezTo>
                    <a:pt x="516264" y="572637"/>
                    <a:pt x="516264" y="572637"/>
                    <a:pt x="513297" y="572637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4" name="图形 1">
              <a:extLst>
                <a:ext uri="{FF2B5EF4-FFF2-40B4-BE49-F238E27FC236}">
                  <a16:creationId xmlns:a16="http://schemas.microsoft.com/office/drawing/2014/main" id="{ADD2E898-993B-44F3-84A5-F2BDA22004B6}"/>
                </a:ext>
              </a:extLst>
            </p:cNvPr>
            <p:cNvGrpSpPr/>
            <p:nvPr/>
          </p:nvGrpSpPr>
          <p:grpSpPr>
            <a:xfrm>
              <a:off x="4371233" y="2111306"/>
              <a:ext cx="305604" cy="401424"/>
              <a:chOff x="4371233" y="2111306"/>
              <a:chExt cx="305604" cy="401424"/>
            </a:xfrm>
          </p:grpSpPr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60E87845-1339-4F95-9FA2-BF07586AC459}"/>
                  </a:ext>
                </a:extLst>
              </p:cNvPr>
              <p:cNvSpPr/>
              <p:nvPr/>
            </p:nvSpPr>
            <p:spPr>
              <a:xfrm>
                <a:off x="4371233" y="2111306"/>
                <a:ext cx="305604" cy="401424"/>
              </a:xfrm>
              <a:custGeom>
                <a:avLst/>
                <a:gdLst>
                  <a:gd name="connsiteX0" fmla="*/ 0 w 305604"/>
                  <a:gd name="connsiteY0" fmla="*/ 400549 h 401424"/>
                  <a:gd name="connsiteX1" fmla="*/ 56374 w 305604"/>
                  <a:gd name="connsiteY1" fmla="*/ 0 h 401424"/>
                  <a:gd name="connsiteX2" fmla="*/ 305604 w 305604"/>
                  <a:gd name="connsiteY2" fmla="*/ 299670 h 401424"/>
                  <a:gd name="connsiteX3" fmla="*/ 0 w 305604"/>
                  <a:gd name="connsiteY3" fmla="*/ 400549 h 401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5604" h="401424">
                    <a:moveTo>
                      <a:pt x="0" y="400549"/>
                    </a:moveTo>
                    <a:lnTo>
                      <a:pt x="56374" y="0"/>
                    </a:lnTo>
                    <a:lnTo>
                      <a:pt x="305604" y="299670"/>
                    </a:lnTo>
                    <a:cubicBezTo>
                      <a:pt x="305604" y="299670"/>
                      <a:pt x="225494" y="412418"/>
                      <a:pt x="0" y="400549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F7139169-88EC-4588-8EC9-EDD2EC490B66}"/>
                  </a:ext>
                </a:extLst>
              </p:cNvPr>
              <p:cNvSpPr/>
              <p:nvPr/>
            </p:nvSpPr>
            <p:spPr>
              <a:xfrm>
                <a:off x="4467662" y="2241855"/>
                <a:ext cx="26703" cy="29670"/>
              </a:xfrm>
              <a:custGeom>
                <a:avLst/>
                <a:gdLst>
                  <a:gd name="connsiteX0" fmla="*/ 13352 w 26703"/>
                  <a:gd name="connsiteY0" fmla="*/ 0 h 29670"/>
                  <a:gd name="connsiteX1" fmla="*/ 13352 w 26703"/>
                  <a:gd name="connsiteY1" fmla="*/ 29670 h 29670"/>
                  <a:gd name="connsiteX2" fmla="*/ 13352 w 26703"/>
                  <a:gd name="connsiteY2" fmla="*/ 0 h 2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703" h="29670">
                    <a:moveTo>
                      <a:pt x="13352" y="0"/>
                    </a:moveTo>
                    <a:cubicBezTo>
                      <a:pt x="-4451" y="0"/>
                      <a:pt x="-4451" y="29670"/>
                      <a:pt x="13352" y="29670"/>
                    </a:cubicBezTo>
                    <a:cubicBezTo>
                      <a:pt x="31154" y="29670"/>
                      <a:pt x="31154" y="0"/>
                      <a:pt x="13352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C013C5AF-68AC-471B-B283-2BCCDC371EA8}"/>
                  </a:ext>
                </a:extLst>
              </p:cNvPr>
              <p:cNvSpPr/>
              <p:nvPr/>
            </p:nvSpPr>
            <p:spPr>
              <a:xfrm>
                <a:off x="4443926" y="2313064"/>
                <a:ext cx="26703" cy="29670"/>
              </a:xfrm>
              <a:custGeom>
                <a:avLst/>
                <a:gdLst>
                  <a:gd name="connsiteX0" fmla="*/ 13352 w 26703"/>
                  <a:gd name="connsiteY0" fmla="*/ 0 h 29670"/>
                  <a:gd name="connsiteX1" fmla="*/ 13352 w 26703"/>
                  <a:gd name="connsiteY1" fmla="*/ 29670 h 29670"/>
                  <a:gd name="connsiteX2" fmla="*/ 13352 w 26703"/>
                  <a:gd name="connsiteY2" fmla="*/ 0 h 2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703" h="29670">
                    <a:moveTo>
                      <a:pt x="13352" y="0"/>
                    </a:moveTo>
                    <a:cubicBezTo>
                      <a:pt x="-4451" y="0"/>
                      <a:pt x="-4451" y="29670"/>
                      <a:pt x="13352" y="29670"/>
                    </a:cubicBezTo>
                    <a:cubicBezTo>
                      <a:pt x="31154" y="29670"/>
                      <a:pt x="31154" y="0"/>
                      <a:pt x="13352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FA9A3B17-B393-498B-89BA-C67F3E7056A5}"/>
                  </a:ext>
                </a:extLst>
              </p:cNvPr>
              <p:cNvSpPr/>
              <p:nvPr/>
            </p:nvSpPr>
            <p:spPr>
              <a:xfrm>
                <a:off x="4541838" y="2342734"/>
                <a:ext cx="28928" cy="29670"/>
              </a:xfrm>
              <a:custGeom>
                <a:avLst/>
                <a:gdLst>
                  <a:gd name="connsiteX0" fmla="*/ 13352 w 28928"/>
                  <a:gd name="connsiteY0" fmla="*/ 0 h 29670"/>
                  <a:gd name="connsiteX1" fmla="*/ 13352 w 28928"/>
                  <a:gd name="connsiteY1" fmla="*/ 29670 h 29670"/>
                  <a:gd name="connsiteX2" fmla="*/ 13352 w 28928"/>
                  <a:gd name="connsiteY2" fmla="*/ 0 h 2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928" h="29670">
                    <a:moveTo>
                      <a:pt x="13352" y="0"/>
                    </a:moveTo>
                    <a:cubicBezTo>
                      <a:pt x="-4451" y="0"/>
                      <a:pt x="-4451" y="29670"/>
                      <a:pt x="13352" y="29670"/>
                    </a:cubicBezTo>
                    <a:cubicBezTo>
                      <a:pt x="34121" y="29670"/>
                      <a:pt x="34121" y="0"/>
                      <a:pt x="13352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C04CE635-DB61-4173-8FCD-7F2FF0D88DC0}"/>
                  </a:ext>
                </a:extLst>
              </p:cNvPr>
              <p:cNvSpPr/>
              <p:nvPr/>
            </p:nvSpPr>
            <p:spPr>
              <a:xfrm>
                <a:off x="4435025" y="2399108"/>
                <a:ext cx="26703" cy="29670"/>
              </a:xfrm>
              <a:custGeom>
                <a:avLst/>
                <a:gdLst>
                  <a:gd name="connsiteX0" fmla="*/ 13352 w 26703"/>
                  <a:gd name="connsiteY0" fmla="*/ 0 h 29670"/>
                  <a:gd name="connsiteX1" fmla="*/ 13352 w 26703"/>
                  <a:gd name="connsiteY1" fmla="*/ 29670 h 29670"/>
                  <a:gd name="connsiteX2" fmla="*/ 13352 w 26703"/>
                  <a:gd name="connsiteY2" fmla="*/ 0 h 2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703" h="29670">
                    <a:moveTo>
                      <a:pt x="13352" y="0"/>
                    </a:moveTo>
                    <a:cubicBezTo>
                      <a:pt x="-4451" y="0"/>
                      <a:pt x="-4451" y="29670"/>
                      <a:pt x="13352" y="29670"/>
                    </a:cubicBezTo>
                    <a:cubicBezTo>
                      <a:pt x="31154" y="29670"/>
                      <a:pt x="31154" y="0"/>
                      <a:pt x="13352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DBC2A476-E2DD-4AED-B28A-FC2D2F996AFA}"/>
                  </a:ext>
                </a:extLst>
              </p:cNvPr>
              <p:cNvSpPr/>
              <p:nvPr/>
            </p:nvSpPr>
            <p:spPr>
              <a:xfrm>
                <a:off x="4518102" y="2431745"/>
                <a:ext cx="26703" cy="29670"/>
              </a:xfrm>
              <a:custGeom>
                <a:avLst/>
                <a:gdLst>
                  <a:gd name="connsiteX0" fmla="*/ 13352 w 26703"/>
                  <a:gd name="connsiteY0" fmla="*/ 0 h 29670"/>
                  <a:gd name="connsiteX1" fmla="*/ 13352 w 26703"/>
                  <a:gd name="connsiteY1" fmla="*/ 29670 h 29670"/>
                  <a:gd name="connsiteX2" fmla="*/ 13352 w 26703"/>
                  <a:gd name="connsiteY2" fmla="*/ 0 h 2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703" h="29670">
                    <a:moveTo>
                      <a:pt x="13352" y="0"/>
                    </a:moveTo>
                    <a:cubicBezTo>
                      <a:pt x="-4451" y="0"/>
                      <a:pt x="-4451" y="29670"/>
                      <a:pt x="13352" y="29670"/>
                    </a:cubicBezTo>
                    <a:cubicBezTo>
                      <a:pt x="31154" y="29670"/>
                      <a:pt x="31154" y="0"/>
                      <a:pt x="13352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71" name="图形 1">
            <a:extLst>
              <a:ext uri="{FF2B5EF4-FFF2-40B4-BE49-F238E27FC236}">
                <a16:creationId xmlns:a16="http://schemas.microsoft.com/office/drawing/2014/main" id="{ADD2E898-993B-44F3-84A5-F2BDA22004B6}"/>
              </a:ext>
            </a:extLst>
          </p:cNvPr>
          <p:cNvGrpSpPr/>
          <p:nvPr/>
        </p:nvGrpSpPr>
        <p:grpSpPr>
          <a:xfrm>
            <a:off x="6128356" y="2434712"/>
            <a:ext cx="2483012" cy="4613911"/>
            <a:chOff x="6128356" y="2434712"/>
            <a:chExt cx="2483012" cy="4613911"/>
          </a:xfrm>
        </p:grpSpPr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D8B8B9A9-C2C5-4FC9-937C-BAA654CCA80C}"/>
                </a:ext>
              </a:extLst>
            </p:cNvPr>
            <p:cNvSpPr/>
            <p:nvPr/>
          </p:nvSpPr>
          <p:spPr>
            <a:xfrm>
              <a:off x="8279672" y="4428558"/>
              <a:ext cx="105957" cy="168503"/>
            </a:xfrm>
            <a:custGeom>
              <a:avLst/>
              <a:gdLst>
                <a:gd name="connsiteX0" fmla="*/ 105957 w 105957"/>
                <a:gd name="connsiteY0" fmla="*/ 0 h 168503"/>
                <a:gd name="connsiteX1" fmla="*/ 11012 w 105957"/>
                <a:gd name="connsiteY1" fmla="*/ 97912 h 168503"/>
                <a:gd name="connsiteX2" fmla="*/ 5078 w 105957"/>
                <a:gd name="connsiteY2" fmla="*/ 166154 h 168503"/>
                <a:gd name="connsiteX3" fmla="*/ 70353 w 105957"/>
                <a:gd name="connsiteY3" fmla="*/ 89011 h 168503"/>
                <a:gd name="connsiteX4" fmla="*/ 105957 w 105957"/>
                <a:gd name="connsiteY4" fmla="*/ 0 h 168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957" h="168503">
                  <a:moveTo>
                    <a:pt x="105957" y="0"/>
                  </a:moveTo>
                  <a:cubicBezTo>
                    <a:pt x="105957" y="0"/>
                    <a:pt x="28814" y="38571"/>
                    <a:pt x="11012" y="97912"/>
                  </a:cubicBezTo>
                  <a:cubicBezTo>
                    <a:pt x="5078" y="124615"/>
                    <a:pt x="-6790" y="157253"/>
                    <a:pt x="5078" y="166154"/>
                  </a:cubicBezTo>
                  <a:cubicBezTo>
                    <a:pt x="34748" y="183956"/>
                    <a:pt x="40683" y="94945"/>
                    <a:pt x="70353" y="89011"/>
                  </a:cubicBezTo>
                  <a:cubicBezTo>
                    <a:pt x="85188" y="86044"/>
                    <a:pt x="105957" y="0"/>
                    <a:pt x="105957" y="0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ADD2E898-993B-44F3-84A5-F2BDA22004B6}"/>
                </a:ext>
              </a:extLst>
            </p:cNvPr>
            <p:cNvGrpSpPr/>
            <p:nvPr/>
          </p:nvGrpSpPr>
          <p:grpSpPr>
            <a:xfrm>
              <a:off x="8326668" y="4368309"/>
              <a:ext cx="193893" cy="240150"/>
              <a:chOff x="8326668" y="4368309"/>
              <a:chExt cx="193893" cy="240150"/>
            </a:xfrm>
          </p:grpSpPr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D5B153F4-D16E-4C48-9DF4-AE5BE39BBF0A}"/>
                  </a:ext>
                </a:extLst>
              </p:cNvPr>
              <p:cNvSpPr/>
              <p:nvPr/>
            </p:nvSpPr>
            <p:spPr>
              <a:xfrm>
                <a:off x="8337014" y="4368309"/>
                <a:ext cx="183546" cy="240150"/>
              </a:xfrm>
              <a:custGeom>
                <a:avLst/>
                <a:gdLst>
                  <a:gd name="connsiteX0" fmla="*/ 164329 w 183546"/>
                  <a:gd name="connsiteY0" fmla="*/ 9809 h 240150"/>
                  <a:gd name="connsiteX1" fmla="*/ 60483 w 183546"/>
                  <a:gd name="connsiteY1" fmla="*/ 3875 h 240150"/>
                  <a:gd name="connsiteX2" fmla="*/ 4109 w 183546"/>
                  <a:gd name="connsiteY2" fmla="*/ 181897 h 240150"/>
                  <a:gd name="connsiteX3" fmla="*/ 15977 w 183546"/>
                  <a:gd name="connsiteY3" fmla="*/ 232337 h 240150"/>
                  <a:gd name="connsiteX4" fmla="*/ 45648 w 183546"/>
                  <a:gd name="connsiteY4" fmla="*/ 226403 h 240150"/>
                  <a:gd name="connsiteX5" fmla="*/ 90153 w 183546"/>
                  <a:gd name="connsiteY5" fmla="*/ 229370 h 240150"/>
                  <a:gd name="connsiteX6" fmla="*/ 116857 w 183546"/>
                  <a:gd name="connsiteY6" fmla="*/ 238271 h 240150"/>
                  <a:gd name="connsiteX7" fmla="*/ 140593 w 183546"/>
                  <a:gd name="connsiteY7" fmla="*/ 214535 h 240150"/>
                  <a:gd name="connsiteX8" fmla="*/ 182131 w 183546"/>
                  <a:gd name="connsiteY8" fmla="*/ 199699 h 240150"/>
                  <a:gd name="connsiteX9" fmla="*/ 176198 w 183546"/>
                  <a:gd name="connsiteY9" fmla="*/ 131458 h 240150"/>
                  <a:gd name="connsiteX10" fmla="*/ 173230 w 183546"/>
                  <a:gd name="connsiteY10" fmla="*/ 24644 h 240150"/>
                  <a:gd name="connsiteX11" fmla="*/ 164329 w 183546"/>
                  <a:gd name="connsiteY11" fmla="*/ 9809 h 24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3546" h="240150">
                    <a:moveTo>
                      <a:pt x="164329" y="9809"/>
                    </a:moveTo>
                    <a:cubicBezTo>
                      <a:pt x="131692" y="-7993"/>
                      <a:pt x="60483" y="3875"/>
                      <a:pt x="60483" y="3875"/>
                    </a:cubicBezTo>
                    <a:cubicBezTo>
                      <a:pt x="42681" y="78051"/>
                      <a:pt x="10043" y="104755"/>
                      <a:pt x="4109" y="181897"/>
                    </a:cubicBezTo>
                    <a:cubicBezTo>
                      <a:pt x="4109" y="193766"/>
                      <a:pt x="-10726" y="223436"/>
                      <a:pt x="15977" y="232337"/>
                    </a:cubicBezTo>
                    <a:cubicBezTo>
                      <a:pt x="21911" y="235304"/>
                      <a:pt x="39714" y="241238"/>
                      <a:pt x="45648" y="226403"/>
                    </a:cubicBezTo>
                    <a:cubicBezTo>
                      <a:pt x="54549" y="244205"/>
                      <a:pt x="87187" y="244205"/>
                      <a:pt x="90153" y="229370"/>
                    </a:cubicBezTo>
                    <a:cubicBezTo>
                      <a:pt x="93120" y="235304"/>
                      <a:pt x="110922" y="238271"/>
                      <a:pt x="116857" y="238271"/>
                    </a:cubicBezTo>
                    <a:cubicBezTo>
                      <a:pt x="131692" y="235304"/>
                      <a:pt x="137626" y="229370"/>
                      <a:pt x="140593" y="214535"/>
                    </a:cubicBezTo>
                    <a:cubicBezTo>
                      <a:pt x="155428" y="223436"/>
                      <a:pt x="176198" y="220469"/>
                      <a:pt x="182131" y="199699"/>
                    </a:cubicBezTo>
                    <a:cubicBezTo>
                      <a:pt x="188065" y="172996"/>
                      <a:pt x="173230" y="161128"/>
                      <a:pt x="176198" y="131458"/>
                    </a:cubicBezTo>
                    <a:cubicBezTo>
                      <a:pt x="182131" y="66183"/>
                      <a:pt x="170263" y="54315"/>
                      <a:pt x="173230" y="24644"/>
                    </a:cubicBezTo>
                    <a:cubicBezTo>
                      <a:pt x="173230" y="3875"/>
                      <a:pt x="182131" y="21677"/>
                      <a:pt x="164329" y="9809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7D24E01E-6989-410A-A60D-EA4F6D4B10D6}"/>
                  </a:ext>
                </a:extLst>
              </p:cNvPr>
              <p:cNvSpPr/>
              <p:nvPr/>
            </p:nvSpPr>
            <p:spPr>
              <a:xfrm>
                <a:off x="8326668" y="4473064"/>
                <a:ext cx="63157" cy="133516"/>
              </a:xfrm>
              <a:custGeom>
                <a:avLst/>
                <a:gdLst>
                  <a:gd name="connsiteX0" fmla="*/ 29291 w 63157"/>
                  <a:gd name="connsiteY0" fmla="*/ 133516 h 133516"/>
                  <a:gd name="connsiteX1" fmla="*/ 17423 w 63157"/>
                  <a:gd name="connsiteY1" fmla="*/ 130549 h 133516"/>
                  <a:gd name="connsiteX2" fmla="*/ 2588 w 63157"/>
                  <a:gd name="connsiteY2" fmla="*/ 112747 h 133516"/>
                  <a:gd name="connsiteX3" fmla="*/ 26324 w 63157"/>
                  <a:gd name="connsiteY3" fmla="*/ 2967 h 133516"/>
                  <a:gd name="connsiteX4" fmla="*/ 35225 w 63157"/>
                  <a:gd name="connsiteY4" fmla="*/ 0 h 133516"/>
                  <a:gd name="connsiteX5" fmla="*/ 38192 w 63157"/>
                  <a:gd name="connsiteY5" fmla="*/ 8901 h 133516"/>
                  <a:gd name="connsiteX6" fmla="*/ 14456 w 63157"/>
                  <a:gd name="connsiteY6" fmla="*/ 109780 h 133516"/>
                  <a:gd name="connsiteX7" fmla="*/ 23357 w 63157"/>
                  <a:gd name="connsiteY7" fmla="*/ 121648 h 133516"/>
                  <a:gd name="connsiteX8" fmla="*/ 53027 w 63157"/>
                  <a:gd name="connsiteY8" fmla="*/ 115714 h 133516"/>
                  <a:gd name="connsiteX9" fmla="*/ 61928 w 63157"/>
                  <a:gd name="connsiteY9" fmla="*/ 118681 h 133516"/>
                  <a:gd name="connsiteX10" fmla="*/ 58961 w 63157"/>
                  <a:gd name="connsiteY10" fmla="*/ 127582 h 133516"/>
                  <a:gd name="connsiteX11" fmla="*/ 29291 w 63157"/>
                  <a:gd name="connsiteY11" fmla="*/ 133516 h 133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3157" h="133516">
                    <a:moveTo>
                      <a:pt x="29291" y="133516"/>
                    </a:moveTo>
                    <a:cubicBezTo>
                      <a:pt x="26324" y="133516"/>
                      <a:pt x="20390" y="133516"/>
                      <a:pt x="17423" y="130549"/>
                    </a:cubicBezTo>
                    <a:cubicBezTo>
                      <a:pt x="11489" y="127582"/>
                      <a:pt x="5555" y="121648"/>
                      <a:pt x="2588" y="112747"/>
                    </a:cubicBezTo>
                    <a:cubicBezTo>
                      <a:pt x="-9280" y="77143"/>
                      <a:pt x="23357" y="5934"/>
                      <a:pt x="26324" y="2967"/>
                    </a:cubicBezTo>
                    <a:cubicBezTo>
                      <a:pt x="26324" y="0"/>
                      <a:pt x="32258" y="0"/>
                      <a:pt x="35225" y="0"/>
                    </a:cubicBezTo>
                    <a:cubicBezTo>
                      <a:pt x="38192" y="0"/>
                      <a:pt x="38192" y="5934"/>
                      <a:pt x="38192" y="8901"/>
                    </a:cubicBezTo>
                    <a:cubicBezTo>
                      <a:pt x="38192" y="8901"/>
                      <a:pt x="5555" y="77143"/>
                      <a:pt x="14456" y="109780"/>
                    </a:cubicBezTo>
                    <a:cubicBezTo>
                      <a:pt x="17423" y="115714"/>
                      <a:pt x="17423" y="118681"/>
                      <a:pt x="23357" y="121648"/>
                    </a:cubicBezTo>
                    <a:cubicBezTo>
                      <a:pt x="32258" y="124615"/>
                      <a:pt x="47093" y="118681"/>
                      <a:pt x="53027" y="115714"/>
                    </a:cubicBezTo>
                    <a:cubicBezTo>
                      <a:pt x="55994" y="112747"/>
                      <a:pt x="58961" y="115714"/>
                      <a:pt x="61928" y="118681"/>
                    </a:cubicBezTo>
                    <a:cubicBezTo>
                      <a:pt x="64895" y="121648"/>
                      <a:pt x="61928" y="124615"/>
                      <a:pt x="58961" y="127582"/>
                    </a:cubicBezTo>
                    <a:cubicBezTo>
                      <a:pt x="55994" y="127582"/>
                      <a:pt x="44126" y="133516"/>
                      <a:pt x="29291" y="133516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928A00D1-1F12-460B-8497-782EB355F366}"/>
                  </a:ext>
                </a:extLst>
              </p:cNvPr>
              <p:cNvSpPr/>
              <p:nvPr/>
            </p:nvSpPr>
            <p:spPr>
              <a:xfrm>
                <a:off x="8391563" y="4547240"/>
                <a:ext cx="77143" cy="23736"/>
              </a:xfrm>
              <a:custGeom>
                <a:avLst/>
                <a:gdLst>
                  <a:gd name="connsiteX0" fmla="*/ 11868 w 77143"/>
                  <a:gd name="connsiteY0" fmla="*/ 23736 h 23736"/>
                  <a:gd name="connsiteX1" fmla="*/ 5934 w 77143"/>
                  <a:gd name="connsiteY1" fmla="*/ 23736 h 23736"/>
                  <a:gd name="connsiteX2" fmla="*/ 0 w 77143"/>
                  <a:gd name="connsiteY2" fmla="*/ 17802 h 23736"/>
                  <a:gd name="connsiteX3" fmla="*/ 5934 w 77143"/>
                  <a:gd name="connsiteY3" fmla="*/ 11868 h 23736"/>
                  <a:gd name="connsiteX4" fmla="*/ 71209 w 77143"/>
                  <a:gd name="connsiteY4" fmla="*/ 0 h 23736"/>
                  <a:gd name="connsiteX5" fmla="*/ 77143 w 77143"/>
                  <a:gd name="connsiteY5" fmla="*/ 2967 h 23736"/>
                  <a:gd name="connsiteX6" fmla="*/ 74176 w 77143"/>
                  <a:gd name="connsiteY6" fmla="*/ 8901 h 23736"/>
                  <a:gd name="connsiteX7" fmla="*/ 11868 w 77143"/>
                  <a:gd name="connsiteY7" fmla="*/ 23736 h 23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7143" h="23736">
                    <a:moveTo>
                      <a:pt x="11868" y="23736"/>
                    </a:moveTo>
                    <a:cubicBezTo>
                      <a:pt x="8901" y="23736"/>
                      <a:pt x="8901" y="23736"/>
                      <a:pt x="5934" y="23736"/>
                    </a:cubicBezTo>
                    <a:cubicBezTo>
                      <a:pt x="2967" y="23736"/>
                      <a:pt x="0" y="20769"/>
                      <a:pt x="0" y="17802"/>
                    </a:cubicBezTo>
                    <a:cubicBezTo>
                      <a:pt x="0" y="14835"/>
                      <a:pt x="2967" y="11868"/>
                      <a:pt x="5934" y="11868"/>
                    </a:cubicBezTo>
                    <a:cubicBezTo>
                      <a:pt x="17802" y="14835"/>
                      <a:pt x="59341" y="2967"/>
                      <a:pt x="71209" y="0"/>
                    </a:cubicBezTo>
                    <a:cubicBezTo>
                      <a:pt x="74176" y="0"/>
                      <a:pt x="77143" y="0"/>
                      <a:pt x="77143" y="2967"/>
                    </a:cubicBezTo>
                    <a:cubicBezTo>
                      <a:pt x="77143" y="5934"/>
                      <a:pt x="77143" y="8901"/>
                      <a:pt x="74176" y="8901"/>
                    </a:cubicBezTo>
                    <a:cubicBezTo>
                      <a:pt x="74176" y="14835"/>
                      <a:pt x="32638" y="23736"/>
                      <a:pt x="11868" y="23736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D96499FB-D8AD-4189-9DD4-AB3095105A8B}"/>
                </a:ext>
              </a:extLst>
            </p:cNvPr>
            <p:cNvSpPr/>
            <p:nvPr/>
          </p:nvSpPr>
          <p:spPr>
            <a:xfrm>
              <a:off x="7702518" y="2744826"/>
              <a:ext cx="539630" cy="893005"/>
            </a:xfrm>
            <a:custGeom>
              <a:avLst/>
              <a:gdLst>
                <a:gd name="connsiteX0" fmla="*/ 24430 w 539630"/>
                <a:gd name="connsiteY0" fmla="*/ 642304 h 893005"/>
                <a:gd name="connsiteX1" fmla="*/ 146078 w 539630"/>
                <a:gd name="connsiteY1" fmla="*/ 876699 h 893005"/>
                <a:gd name="connsiteX2" fmla="*/ 306298 w 539630"/>
                <a:gd name="connsiteY2" fmla="*/ 891534 h 893005"/>
                <a:gd name="connsiteX3" fmla="*/ 463551 w 539630"/>
                <a:gd name="connsiteY3" fmla="*/ 867798 h 893005"/>
                <a:gd name="connsiteX4" fmla="*/ 534760 w 539630"/>
                <a:gd name="connsiteY4" fmla="*/ 731315 h 893005"/>
                <a:gd name="connsiteX5" fmla="*/ 422012 w 539630"/>
                <a:gd name="connsiteY5" fmla="*/ 568128 h 893005"/>
                <a:gd name="connsiteX6" fmla="*/ 407177 w 539630"/>
                <a:gd name="connsiteY6" fmla="*/ 431644 h 893005"/>
                <a:gd name="connsiteX7" fmla="*/ 327067 w 539630"/>
                <a:gd name="connsiteY7" fmla="*/ 354501 h 893005"/>
                <a:gd name="connsiteX8" fmla="*/ 288496 w 539630"/>
                <a:gd name="connsiteY8" fmla="*/ 182413 h 893005"/>
                <a:gd name="connsiteX9" fmla="*/ 6628 w 539630"/>
                <a:gd name="connsiteY9" fmla="*/ 1424 h 893005"/>
                <a:gd name="connsiteX10" fmla="*/ 57067 w 539630"/>
                <a:gd name="connsiteY10" fmla="*/ 42963 h 893005"/>
                <a:gd name="connsiteX11" fmla="*/ 110474 w 539630"/>
                <a:gd name="connsiteY11" fmla="*/ 66699 h 893005"/>
                <a:gd name="connsiteX12" fmla="*/ 24430 w 539630"/>
                <a:gd name="connsiteY12" fmla="*/ 642304 h 893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9630" h="893005">
                  <a:moveTo>
                    <a:pt x="24430" y="642304"/>
                  </a:moveTo>
                  <a:cubicBezTo>
                    <a:pt x="42232" y="734282"/>
                    <a:pt x="45199" y="841095"/>
                    <a:pt x="146078" y="876699"/>
                  </a:cubicBezTo>
                  <a:cubicBezTo>
                    <a:pt x="196518" y="894501"/>
                    <a:pt x="252892" y="894501"/>
                    <a:pt x="306298" y="891534"/>
                  </a:cubicBezTo>
                  <a:cubicBezTo>
                    <a:pt x="356738" y="888567"/>
                    <a:pt x="416078" y="888567"/>
                    <a:pt x="463551" y="867798"/>
                  </a:cubicBezTo>
                  <a:cubicBezTo>
                    <a:pt x="519925" y="844062"/>
                    <a:pt x="552562" y="790655"/>
                    <a:pt x="534760" y="731315"/>
                  </a:cubicBezTo>
                  <a:cubicBezTo>
                    <a:pt x="513991" y="666040"/>
                    <a:pt x="433880" y="633402"/>
                    <a:pt x="422012" y="568128"/>
                  </a:cubicBezTo>
                  <a:cubicBezTo>
                    <a:pt x="413111" y="520655"/>
                    <a:pt x="436848" y="476150"/>
                    <a:pt x="407177" y="431644"/>
                  </a:cubicBezTo>
                  <a:cubicBezTo>
                    <a:pt x="386408" y="399007"/>
                    <a:pt x="347837" y="384172"/>
                    <a:pt x="327067" y="354501"/>
                  </a:cubicBezTo>
                  <a:cubicBezTo>
                    <a:pt x="288496" y="304062"/>
                    <a:pt x="312232" y="238787"/>
                    <a:pt x="288496" y="182413"/>
                  </a:cubicBezTo>
                  <a:cubicBezTo>
                    <a:pt x="249924" y="90435"/>
                    <a:pt x="113441" y="-13411"/>
                    <a:pt x="6628" y="1424"/>
                  </a:cubicBezTo>
                  <a:cubicBezTo>
                    <a:pt x="-11175" y="4391"/>
                    <a:pt x="39265" y="34062"/>
                    <a:pt x="57067" y="42963"/>
                  </a:cubicBezTo>
                  <a:cubicBezTo>
                    <a:pt x="74870" y="48897"/>
                    <a:pt x="92672" y="57798"/>
                    <a:pt x="110474" y="66699"/>
                  </a:cubicBezTo>
                  <a:cubicBezTo>
                    <a:pt x="-34910" y="200216"/>
                    <a:pt x="-5240" y="470216"/>
                    <a:pt x="24430" y="642304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74AC4D3D-6CC7-4B8D-8107-FED5522A0FA1}"/>
                </a:ext>
              </a:extLst>
            </p:cNvPr>
            <p:cNvSpPr/>
            <p:nvPr/>
          </p:nvSpPr>
          <p:spPr>
            <a:xfrm>
              <a:off x="7204818" y="2735014"/>
              <a:ext cx="504706" cy="831551"/>
            </a:xfrm>
            <a:custGeom>
              <a:avLst/>
              <a:gdLst>
                <a:gd name="connsiteX0" fmla="*/ 439053 w 504706"/>
                <a:gd name="connsiteY0" fmla="*/ 456291 h 831551"/>
                <a:gd name="connsiteX1" fmla="*/ 430152 w 504706"/>
                <a:gd name="connsiteY1" fmla="*/ 299038 h 831551"/>
                <a:gd name="connsiteX2" fmla="*/ 471691 w 504706"/>
                <a:gd name="connsiteY2" fmla="*/ 156621 h 831551"/>
                <a:gd name="connsiteX3" fmla="*/ 504328 w 504706"/>
                <a:gd name="connsiteY3" fmla="*/ 8269 h 831551"/>
                <a:gd name="connsiteX4" fmla="*/ 201691 w 504706"/>
                <a:gd name="connsiteY4" fmla="*/ 186291 h 831551"/>
                <a:gd name="connsiteX5" fmla="*/ 201691 w 504706"/>
                <a:gd name="connsiteY5" fmla="*/ 242665 h 831551"/>
                <a:gd name="connsiteX6" fmla="*/ 154218 w 504706"/>
                <a:gd name="connsiteY6" fmla="*/ 299038 h 831551"/>
                <a:gd name="connsiteX7" fmla="*/ 103779 w 504706"/>
                <a:gd name="connsiteY7" fmla="*/ 364313 h 831551"/>
                <a:gd name="connsiteX8" fmla="*/ 103779 w 504706"/>
                <a:gd name="connsiteY8" fmla="*/ 450357 h 831551"/>
                <a:gd name="connsiteX9" fmla="*/ 83009 w 504706"/>
                <a:gd name="connsiteY9" fmla="*/ 524533 h 831551"/>
                <a:gd name="connsiteX10" fmla="*/ 14768 w 504706"/>
                <a:gd name="connsiteY10" fmla="*/ 622445 h 831551"/>
                <a:gd name="connsiteX11" fmla="*/ 62240 w 504706"/>
                <a:gd name="connsiteY11" fmla="*/ 806401 h 831551"/>
                <a:gd name="connsiteX12" fmla="*/ 261031 w 504706"/>
                <a:gd name="connsiteY12" fmla="*/ 830137 h 831551"/>
                <a:gd name="connsiteX13" fmla="*/ 266965 w 504706"/>
                <a:gd name="connsiteY13" fmla="*/ 741126 h 831551"/>
                <a:gd name="connsiteX14" fmla="*/ 358944 w 504706"/>
                <a:gd name="connsiteY14" fmla="*/ 732225 h 831551"/>
                <a:gd name="connsiteX15" fmla="*/ 447955 w 504706"/>
                <a:gd name="connsiteY15" fmla="*/ 577940 h 831551"/>
                <a:gd name="connsiteX16" fmla="*/ 439053 w 504706"/>
                <a:gd name="connsiteY16" fmla="*/ 456291 h 83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04706" h="831551">
                  <a:moveTo>
                    <a:pt x="439053" y="456291"/>
                  </a:moveTo>
                  <a:cubicBezTo>
                    <a:pt x="430152" y="405852"/>
                    <a:pt x="424218" y="352445"/>
                    <a:pt x="430152" y="299038"/>
                  </a:cubicBezTo>
                  <a:cubicBezTo>
                    <a:pt x="436086" y="248599"/>
                    <a:pt x="450921" y="201126"/>
                    <a:pt x="471691" y="156621"/>
                  </a:cubicBezTo>
                  <a:cubicBezTo>
                    <a:pt x="492460" y="109148"/>
                    <a:pt x="507295" y="8269"/>
                    <a:pt x="504328" y="8269"/>
                  </a:cubicBezTo>
                  <a:cubicBezTo>
                    <a:pt x="391581" y="-27335"/>
                    <a:pt x="198724" y="55742"/>
                    <a:pt x="201691" y="186291"/>
                  </a:cubicBezTo>
                  <a:cubicBezTo>
                    <a:pt x="201691" y="207060"/>
                    <a:pt x="204658" y="224863"/>
                    <a:pt x="201691" y="242665"/>
                  </a:cubicBezTo>
                  <a:cubicBezTo>
                    <a:pt x="195757" y="272335"/>
                    <a:pt x="177954" y="284203"/>
                    <a:pt x="154218" y="299038"/>
                  </a:cubicBezTo>
                  <a:cubicBezTo>
                    <a:pt x="130482" y="316841"/>
                    <a:pt x="112680" y="337610"/>
                    <a:pt x="103779" y="364313"/>
                  </a:cubicBezTo>
                  <a:cubicBezTo>
                    <a:pt x="94877" y="393983"/>
                    <a:pt x="97845" y="420687"/>
                    <a:pt x="103779" y="450357"/>
                  </a:cubicBezTo>
                  <a:cubicBezTo>
                    <a:pt x="109713" y="480027"/>
                    <a:pt x="109713" y="503764"/>
                    <a:pt x="83009" y="524533"/>
                  </a:cubicBezTo>
                  <a:cubicBezTo>
                    <a:pt x="68174" y="539368"/>
                    <a:pt x="20702" y="604643"/>
                    <a:pt x="14768" y="622445"/>
                  </a:cubicBezTo>
                  <a:cubicBezTo>
                    <a:pt x="-23804" y="723324"/>
                    <a:pt x="20702" y="764863"/>
                    <a:pt x="62240" y="806401"/>
                  </a:cubicBezTo>
                  <a:cubicBezTo>
                    <a:pt x="118614" y="859808"/>
                    <a:pt x="201691" y="794533"/>
                    <a:pt x="261031" y="830137"/>
                  </a:cubicBezTo>
                  <a:cubicBezTo>
                    <a:pt x="284768" y="844973"/>
                    <a:pt x="237295" y="738159"/>
                    <a:pt x="266965" y="741126"/>
                  </a:cubicBezTo>
                  <a:cubicBezTo>
                    <a:pt x="293669" y="744093"/>
                    <a:pt x="332240" y="741126"/>
                    <a:pt x="358944" y="732225"/>
                  </a:cubicBezTo>
                  <a:cubicBezTo>
                    <a:pt x="409383" y="711456"/>
                    <a:pt x="439053" y="628379"/>
                    <a:pt x="447955" y="577940"/>
                  </a:cubicBezTo>
                  <a:cubicBezTo>
                    <a:pt x="456855" y="539368"/>
                    <a:pt x="447955" y="500797"/>
                    <a:pt x="439053" y="456291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782D01E8-A3FE-42E0-9BB0-CF5DA10AD64B}"/>
                </a:ext>
              </a:extLst>
            </p:cNvPr>
            <p:cNvSpPr/>
            <p:nvPr/>
          </p:nvSpPr>
          <p:spPr>
            <a:xfrm>
              <a:off x="6284918" y="3375140"/>
              <a:ext cx="946858" cy="405887"/>
            </a:xfrm>
            <a:custGeom>
              <a:avLst/>
              <a:gdLst>
                <a:gd name="connsiteX0" fmla="*/ 815986 w 946858"/>
                <a:gd name="connsiteY0" fmla="*/ 115836 h 405887"/>
                <a:gd name="connsiteX1" fmla="*/ 394667 w 946858"/>
                <a:gd name="connsiteY1" fmla="*/ 207814 h 405887"/>
                <a:gd name="connsiteX2" fmla="*/ 44557 w 946858"/>
                <a:gd name="connsiteY2" fmla="*/ 121 h 405887"/>
                <a:gd name="connsiteX3" fmla="*/ 52 w 946858"/>
                <a:gd name="connsiteY3" fmla="*/ 92099 h 405887"/>
                <a:gd name="connsiteX4" fmla="*/ 332359 w 946858"/>
                <a:gd name="connsiteY4" fmla="*/ 391770 h 405887"/>
                <a:gd name="connsiteX5" fmla="*/ 884228 w 946858"/>
                <a:gd name="connsiteY5" fmla="*/ 373968 h 405887"/>
                <a:gd name="connsiteX6" fmla="*/ 815986 w 946858"/>
                <a:gd name="connsiteY6" fmla="*/ 115836 h 40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6858" h="405887">
                  <a:moveTo>
                    <a:pt x="815986" y="115836"/>
                  </a:moveTo>
                  <a:cubicBezTo>
                    <a:pt x="729942" y="124737"/>
                    <a:pt x="394667" y="207814"/>
                    <a:pt x="394667" y="207814"/>
                  </a:cubicBezTo>
                  <a:cubicBezTo>
                    <a:pt x="394667" y="207814"/>
                    <a:pt x="50491" y="-5813"/>
                    <a:pt x="44557" y="121"/>
                  </a:cubicBezTo>
                  <a:cubicBezTo>
                    <a:pt x="-14783" y="35726"/>
                    <a:pt x="20821" y="26825"/>
                    <a:pt x="52" y="92099"/>
                  </a:cubicBezTo>
                  <a:cubicBezTo>
                    <a:pt x="-2915" y="101000"/>
                    <a:pt x="121700" y="261220"/>
                    <a:pt x="332359" y="391770"/>
                  </a:cubicBezTo>
                  <a:cubicBezTo>
                    <a:pt x="388733" y="427374"/>
                    <a:pt x="741810" y="385836"/>
                    <a:pt x="884228" y="373968"/>
                  </a:cubicBezTo>
                  <a:cubicBezTo>
                    <a:pt x="970272" y="365066"/>
                    <a:pt x="985107" y="98033"/>
                    <a:pt x="815986" y="115836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75FF09AC-C2B7-498A-9AC4-413F94704B25}"/>
                </a:ext>
              </a:extLst>
            </p:cNvPr>
            <p:cNvSpPr/>
            <p:nvPr/>
          </p:nvSpPr>
          <p:spPr>
            <a:xfrm>
              <a:off x="7071189" y="3414149"/>
              <a:ext cx="448684" cy="394299"/>
            </a:xfrm>
            <a:custGeom>
              <a:avLst/>
              <a:gdLst>
                <a:gd name="connsiteX0" fmla="*/ 68286 w 448684"/>
                <a:gd name="connsiteY0" fmla="*/ 394299 h 394299"/>
                <a:gd name="connsiteX1" fmla="*/ 448067 w 448684"/>
                <a:gd name="connsiteY1" fmla="*/ 64959 h 394299"/>
                <a:gd name="connsiteX2" fmla="*/ 8946 w 448684"/>
                <a:gd name="connsiteY2" fmla="*/ 35289 h 394299"/>
                <a:gd name="connsiteX3" fmla="*/ 68286 w 448684"/>
                <a:gd name="connsiteY3" fmla="*/ 394299 h 39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8684" h="394299">
                  <a:moveTo>
                    <a:pt x="68286" y="394299"/>
                  </a:moveTo>
                  <a:cubicBezTo>
                    <a:pt x="246308" y="385398"/>
                    <a:pt x="436198" y="142102"/>
                    <a:pt x="448067" y="64959"/>
                  </a:cubicBezTo>
                  <a:cubicBezTo>
                    <a:pt x="462902" y="-35920"/>
                    <a:pt x="207737" y="2651"/>
                    <a:pt x="8946" y="35289"/>
                  </a:cubicBezTo>
                  <a:cubicBezTo>
                    <a:pt x="-20725" y="103530"/>
                    <a:pt x="29715" y="302322"/>
                    <a:pt x="68286" y="394299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1" name="图形 1">
              <a:extLst>
                <a:ext uri="{FF2B5EF4-FFF2-40B4-BE49-F238E27FC236}">
                  <a16:creationId xmlns:a16="http://schemas.microsoft.com/office/drawing/2014/main" id="{ADD2E898-993B-44F3-84A5-F2BDA22004B6}"/>
                </a:ext>
              </a:extLst>
            </p:cNvPr>
            <p:cNvGrpSpPr/>
            <p:nvPr/>
          </p:nvGrpSpPr>
          <p:grpSpPr>
            <a:xfrm>
              <a:off x="7195107" y="6665701"/>
              <a:ext cx="354771" cy="375794"/>
              <a:chOff x="7195107" y="6665701"/>
              <a:chExt cx="354771" cy="375794"/>
            </a:xfrm>
          </p:grpSpPr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9E24C821-3468-4FB7-8E5F-F25E4750C699}"/>
                  </a:ext>
                </a:extLst>
              </p:cNvPr>
              <p:cNvSpPr/>
              <p:nvPr/>
            </p:nvSpPr>
            <p:spPr>
              <a:xfrm>
                <a:off x="7195107" y="6787349"/>
                <a:ext cx="354771" cy="254146"/>
              </a:xfrm>
              <a:custGeom>
                <a:avLst/>
                <a:gdLst>
                  <a:gd name="connsiteX0" fmla="*/ 220302 w 354771"/>
                  <a:gd name="connsiteY0" fmla="*/ 0 h 254146"/>
                  <a:gd name="connsiteX1" fmla="*/ 104588 w 354771"/>
                  <a:gd name="connsiteY1" fmla="*/ 160220 h 254146"/>
                  <a:gd name="connsiteX2" fmla="*/ 315247 w 354771"/>
                  <a:gd name="connsiteY2" fmla="*/ 35605 h 254146"/>
                  <a:gd name="connsiteX3" fmla="*/ 336016 w 354771"/>
                  <a:gd name="connsiteY3" fmla="*/ 20770 h 254146"/>
                  <a:gd name="connsiteX4" fmla="*/ 353819 w 354771"/>
                  <a:gd name="connsiteY4" fmla="*/ 94945 h 254146"/>
                  <a:gd name="connsiteX5" fmla="*/ 341950 w 354771"/>
                  <a:gd name="connsiteY5" fmla="*/ 228462 h 254146"/>
                  <a:gd name="connsiteX6" fmla="*/ 315247 w 354771"/>
                  <a:gd name="connsiteY6" fmla="*/ 228462 h 254146"/>
                  <a:gd name="connsiteX7" fmla="*/ 300412 w 354771"/>
                  <a:gd name="connsiteY7" fmla="*/ 121649 h 254146"/>
                  <a:gd name="connsiteX8" fmla="*/ 160962 w 354771"/>
                  <a:gd name="connsiteY8" fmla="*/ 249231 h 254146"/>
                  <a:gd name="connsiteX9" fmla="*/ 6676 w 354771"/>
                  <a:gd name="connsiteY9" fmla="*/ 252198 h 254146"/>
                  <a:gd name="connsiteX10" fmla="*/ 6676 w 354771"/>
                  <a:gd name="connsiteY10" fmla="*/ 207692 h 254146"/>
                  <a:gd name="connsiteX11" fmla="*/ 220302 w 354771"/>
                  <a:gd name="connsiteY11" fmla="*/ 0 h 254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4771" h="254146">
                    <a:moveTo>
                      <a:pt x="220302" y="0"/>
                    </a:moveTo>
                    <a:cubicBezTo>
                      <a:pt x="220302" y="0"/>
                      <a:pt x="89753" y="151319"/>
                      <a:pt x="104588" y="160220"/>
                    </a:cubicBezTo>
                    <a:cubicBezTo>
                      <a:pt x="122390" y="169121"/>
                      <a:pt x="315247" y="35605"/>
                      <a:pt x="315247" y="35605"/>
                    </a:cubicBezTo>
                    <a:lnTo>
                      <a:pt x="336016" y="20770"/>
                    </a:lnTo>
                    <a:cubicBezTo>
                      <a:pt x="336016" y="20770"/>
                      <a:pt x="359753" y="68242"/>
                      <a:pt x="353819" y="94945"/>
                    </a:cubicBezTo>
                    <a:cubicBezTo>
                      <a:pt x="347884" y="121649"/>
                      <a:pt x="341950" y="228462"/>
                      <a:pt x="341950" y="228462"/>
                    </a:cubicBezTo>
                    <a:lnTo>
                      <a:pt x="315247" y="228462"/>
                    </a:lnTo>
                    <a:lnTo>
                      <a:pt x="300412" y="121649"/>
                    </a:lnTo>
                    <a:cubicBezTo>
                      <a:pt x="300412" y="121649"/>
                      <a:pt x="181731" y="246264"/>
                      <a:pt x="160962" y="249231"/>
                    </a:cubicBezTo>
                    <a:cubicBezTo>
                      <a:pt x="140192" y="255165"/>
                      <a:pt x="18544" y="255165"/>
                      <a:pt x="6676" y="252198"/>
                    </a:cubicBezTo>
                    <a:cubicBezTo>
                      <a:pt x="-2225" y="252198"/>
                      <a:pt x="-2225" y="213627"/>
                      <a:pt x="6676" y="207692"/>
                    </a:cubicBezTo>
                    <a:cubicBezTo>
                      <a:pt x="83819" y="166154"/>
                      <a:pt x="220302" y="0"/>
                      <a:pt x="220302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AB10F07E-4401-4D7C-A063-43306F4ED5E6}"/>
                  </a:ext>
                </a:extLst>
              </p:cNvPr>
              <p:cNvSpPr/>
              <p:nvPr/>
            </p:nvSpPr>
            <p:spPr>
              <a:xfrm>
                <a:off x="7297544" y="6665701"/>
                <a:ext cx="230643" cy="286530"/>
              </a:xfrm>
              <a:custGeom>
                <a:avLst/>
                <a:gdLst>
                  <a:gd name="connsiteX0" fmla="*/ 165338 w 230643"/>
                  <a:gd name="connsiteY0" fmla="*/ 0 h 286530"/>
                  <a:gd name="connsiteX1" fmla="*/ 117865 w 230643"/>
                  <a:gd name="connsiteY1" fmla="*/ 124615 h 286530"/>
                  <a:gd name="connsiteX2" fmla="*/ 2151 w 230643"/>
                  <a:gd name="connsiteY2" fmla="*/ 284835 h 286530"/>
                  <a:gd name="connsiteX3" fmla="*/ 230612 w 230643"/>
                  <a:gd name="connsiteY3" fmla="*/ 145384 h 286530"/>
                  <a:gd name="connsiteX4" fmla="*/ 221712 w 230643"/>
                  <a:gd name="connsiteY4" fmla="*/ 0 h 286530"/>
                  <a:gd name="connsiteX5" fmla="*/ 165338 w 230643"/>
                  <a:gd name="connsiteY5" fmla="*/ 0 h 286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0643" h="286530">
                    <a:moveTo>
                      <a:pt x="165338" y="0"/>
                    </a:moveTo>
                    <a:lnTo>
                      <a:pt x="117865" y="124615"/>
                    </a:lnTo>
                    <a:cubicBezTo>
                      <a:pt x="117865" y="124615"/>
                      <a:pt x="-18618" y="270000"/>
                      <a:pt x="2151" y="284835"/>
                    </a:cubicBezTo>
                    <a:cubicBezTo>
                      <a:pt x="22920" y="302637"/>
                      <a:pt x="233580" y="175055"/>
                      <a:pt x="230612" y="145384"/>
                    </a:cubicBezTo>
                    <a:cubicBezTo>
                      <a:pt x="230612" y="97912"/>
                      <a:pt x="221712" y="0"/>
                      <a:pt x="221712" y="0"/>
                    </a:cubicBezTo>
                    <a:lnTo>
                      <a:pt x="165338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4" name="图形 1">
              <a:extLst>
                <a:ext uri="{FF2B5EF4-FFF2-40B4-BE49-F238E27FC236}">
                  <a16:creationId xmlns:a16="http://schemas.microsoft.com/office/drawing/2014/main" id="{ADD2E898-993B-44F3-84A5-F2BDA22004B6}"/>
                </a:ext>
              </a:extLst>
            </p:cNvPr>
            <p:cNvGrpSpPr/>
            <p:nvPr/>
          </p:nvGrpSpPr>
          <p:grpSpPr>
            <a:xfrm>
              <a:off x="8062445" y="6609327"/>
              <a:ext cx="320217" cy="439295"/>
              <a:chOff x="8062445" y="6609327"/>
              <a:chExt cx="320217" cy="439295"/>
            </a:xfrm>
          </p:grpSpPr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3204A0AD-B6A6-4956-9A6E-0A2E2E5D80B0}"/>
                  </a:ext>
                </a:extLst>
              </p:cNvPr>
              <p:cNvSpPr/>
              <p:nvPr/>
            </p:nvSpPr>
            <p:spPr>
              <a:xfrm>
                <a:off x="8062445" y="6713173"/>
                <a:ext cx="320217" cy="335449"/>
              </a:xfrm>
              <a:custGeom>
                <a:avLst/>
                <a:gdLst>
                  <a:gd name="connsiteX0" fmla="*/ 130327 w 320217"/>
                  <a:gd name="connsiteY0" fmla="*/ 17802 h 335449"/>
                  <a:gd name="connsiteX1" fmla="*/ 76921 w 320217"/>
                  <a:gd name="connsiteY1" fmla="*/ 207692 h 335449"/>
                  <a:gd name="connsiteX2" fmla="*/ 231206 w 320217"/>
                  <a:gd name="connsiteY2" fmla="*/ 20770 h 335449"/>
                  <a:gd name="connsiteX3" fmla="*/ 243075 w 320217"/>
                  <a:gd name="connsiteY3" fmla="*/ 0 h 335449"/>
                  <a:gd name="connsiteX4" fmla="*/ 284613 w 320217"/>
                  <a:gd name="connsiteY4" fmla="*/ 65275 h 335449"/>
                  <a:gd name="connsiteX5" fmla="*/ 320217 w 320217"/>
                  <a:gd name="connsiteY5" fmla="*/ 195824 h 335449"/>
                  <a:gd name="connsiteX6" fmla="*/ 296481 w 320217"/>
                  <a:gd name="connsiteY6" fmla="*/ 204726 h 335449"/>
                  <a:gd name="connsiteX7" fmla="*/ 246041 w 320217"/>
                  <a:gd name="connsiteY7" fmla="*/ 109781 h 335449"/>
                  <a:gd name="connsiteX8" fmla="*/ 159998 w 320217"/>
                  <a:gd name="connsiteY8" fmla="*/ 278901 h 335449"/>
                  <a:gd name="connsiteX9" fmla="*/ 17580 w 320217"/>
                  <a:gd name="connsiteY9" fmla="*/ 335275 h 335449"/>
                  <a:gd name="connsiteX10" fmla="*/ 2745 w 320217"/>
                  <a:gd name="connsiteY10" fmla="*/ 290769 h 335449"/>
                  <a:gd name="connsiteX11" fmla="*/ 130327 w 320217"/>
                  <a:gd name="connsiteY11" fmla="*/ 17802 h 335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217" h="335449">
                    <a:moveTo>
                      <a:pt x="130327" y="17802"/>
                    </a:moveTo>
                    <a:cubicBezTo>
                      <a:pt x="130327" y="17802"/>
                      <a:pt x="59118" y="204726"/>
                      <a:pt x="76921" y="207692"/>
                    </a:cubicBezTo>
                    <a:cubicBezTo>
                      <a:pt x="94723" y="210660"/>
                      <a:pt x="231206" y="20770"/>
                      <a:pt x="231206" y="20770"/>
                    </a:cubicBezTo>
                    <a:lnTo>
                      <a:pt x="243075" y="0"/>
                    </a:lnTo>
                    <a:cubicBezTo>
                      <a:pt x="243075" y="0"/>
                      <a:pt x="281646" y="38572"/>
                      <a:pt x="284613" y="65275"/>
                    </a:cubicBezTo>
                    <a:cubicBezTo>
                      <a:pt x="290547" y="91978"/>
                      <a:pt x="320217" y="195824"/>
                      <a:pt x="320217" y="195824"/>
                    </a:cubicBezTo>
                    <a:lnTo>
                      <a:pt x="296481" y="204726"/>
                    </a:lnTo>
                    <a:lnTo>
                      <a:pt x="246041" y="109781"/>
                    </a:lnTo>
                    <a:cubicBezTo>
                      <a:pt x="246041" y="109781"/>
                      <a:pt x="177799" y="267033"/>
                      <a:pt x="159998" y="278901"/>
                    </a:cubicBezTo>
                    <a:cubicBezTo>
                      <a:pt x="142195" y="290769"/>
                      <a:pt x="26481" y="332308"/>
                      <a:pt x="17580" y="335275"/>
                    </a:cubicBezTo>
                    <a:cubicBezTo>
                      <a:pt x="8679" y="338242"/>
                      <a:pt x="-6156" y="302638"/>
                      <a:pt x="2745" y="290769"/>
                    </a:cubicBezTo>
                    <a:cubicBezTo>
                      <a:pt x="56151" y="219561"/>
                      <a:pt x="130327" y="17802"/>
                      <a:pt x="130327" y="17802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22FF3B7A-D47C-47B6-ACF6-E169A3743E80}"/>
                  </a:ext>
                </a:extLst>
              </p:cNvPr>
              <p:cNvSpPr/>
              <p:nvPr/>
            </p:nvSpPr>
            <p:spPr>
              <a:xfrm>
                <a:off x="8133916" y="6609327"/>
                <a:ext cx="174947" cy="311841"/>
              </a:xfrm>
              <a:custGeom>
                <a:avLst/>
                <a:gdLst>
                  <a:gd name="connsiteX0" fmla="*/ 17318 w 174947"/>
                  <a:gd name="connsiteY0" fmla="*/ 5934 h 311841"/>
                  <a:gd name="connsiteX1" fmla="*/ 58856 w 174947"/>
                  <a:gd name="connsiteY1" fmla="*/ 121649 h 311841"/>
                  <a:gd name="connsiteX2" fmla="*/ 5450 w 174947"/>
                  <a:gd name="connsiteY2" fmla="*/ 311538 h 311841"/>
                  <a:gd name="connsiteX3" fmla="*/ 174570 w 174947"/>
                  <a:gd name="connsiteY3" fmla="*/ 100879 h 311841"/>
                  <a:gd name="connsiteX4" fmla="*/ 64790 w 174947"/>
                  <a:gd name="connsiteY4" fmla="*/ 0 h 311841"/>
                  <a:gd name="connsiteX5" fmla="*/ 17318 w 174947"/>
                  <a:gd name="connsiteY5" fmla="*/ 5934 h 311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4947" h="311841">
                    <a:moveTo>
                      <a:pt x="17318" y="5934"/>
                    </a:moveTo>
                    <a:lnTo>
                      <a:pt x="58856" y="121649"/>
                    </a:lnTo>
                    <a:cubicBezTo>
                      <a:pt x="58856" y="121649"/>
                      <a:pt x="-21254" y="302638"/>
                      <a:pt x="5450" y="311538"/>
                    </a:cubicBezTo>
                    <a:cubicBezTo>
                      <a:pt x="32153" y="320440"/>
                      <a:pt x="183472" y="130550"/>
                      <a:pt x="174570" y="100879"/>
                    </a:cubicBezTo>
                    <a:cubicBezTo>
                      <a:pt x="124131" y="65275"/>
                      <a:pt x="64790" y="0"/>
                      <a:pt x="64790" y="0"/>
                    </a:cubicBezTo>
                    <a:lnTo>
                      <a:pt x="17318" y="5934"/>
                    </a:ln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3149A168-EB97-4D52-95F0-741E4E09EA1B}"/>
                </a:ext>
              </a:extLst>
            </p:cNvPr>
            <p:cNvSpPr/>
            <p:nvPr/>
          </p:nvSpPr>
          <p:spPr>
            <a:xfrm>
              <a:off x="7262778" y="4298009"/>
              <a:ext cx="1045708" cy="2513076"/>
            </a:xfrm>
            <a:custGeom>
              <a:avLst/>
              <a:gdLst>
                <a:gd name="connsiteX0" fmla="*/ 766808 w 1045708"/>
                <a:gd name="connsiteY0" fmla="*/ 0 h 2513076"/>
                <a:gd name="connsiteX1" fmla="*/ 117027 w 1045708"/>
                <a:gd name="connsiteY1" fmla="*/ 0 h 2513076"/>
                <a:gd name="connsiteX2" fmla="*/ 1313 w 1045708"/>
                <a:gd name="connsiteY2" fmla="*/ 448022 h 2513076"/>
                <a:gd name="connsiteX3" fmla="*/ 152632 w 1045708"/>
                <a:gd name="connsiteY3" fmla="*/ 2492308 h 2513076"/>
                <a:gd name="connsiteX4" fmla="*/ 268346 w 1045708"/>
                <a:gd name="connsiteY4" fmla="*/ 2513077 h 2513076"/>
                <a:gd name="connsiteX5" fmla="*/ 449335 w 1045708"/>
                <a:gd name="connsiteY5" fmla="*/ 792198 h 2513076"/>
                <a:gd name="connsiteX6" fmla="*/ 517577 w 1045708"/>
                <a:gd name="connsiteY6" fmla="*/ 1581429 h 2513076"/>
                <a:gd name="connsiteX7" fmla="*/ 529445 w 1045708"/>
                <a:gd name="connsiteY7" fmla="*/ 1631868 h 2513076"/>
                <a:gd name="connsiteX8" fmla="*/ 929994 w 1045708"/>
                <a:gd name="connsiteY8" fmla="*/ 2432967 h 2513076"/>
                <a:gd name="connsiteX9" fmla="*/ 1045708 w 1045708"/>
                <a:gd name="connsiteY9" fmla="*/ 2412198 h 2513076"/>
                <a:gd name="connsiteX10" fmla="*/ 861753 w 1045708"/>
                <a:gd name="connsiteY10" fmla="*/ 1611099 h 2513076"/>
                <a:gd name="connsiteX11" fmla="*/ 897357 w 1045708"/>
                <a:gd name="connsiteY11" fmla="*/ 403516 h 2513076"/>
                <a:gd name="connsiteX12" fmla="*/ 766808 w 1045708"/>
                <a:gd name="connsiteY12" fmla="*/ 0 h 251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45708" h="2513076">
                  <a:moveTo>
                    <a:pt x="766808" y="0"/>
                  </a:moveTo>
                  <a:lnTo>
                    <a:pt x="117027" y="0"/>
                  </a:lnTo>
                  <a:cubicBezTo>
                    <a:pt x="117027" y="0"/>
                    <a:pt x="22082" y="296703"/>
                    <a:pt x="1313" y="448022"/>
                  </a:cubicBezTo>
                  <a:cubicBezTo>
                    <a:pt x="-16489" y="596374"/>
                    <a:pt x="152632" y="2492308"/>
                    <a:pt x="152632" y="2492308"/>
                  </a:cubicBezTo>
                  <a:lnTo>
                    <a:pt x="268346" y="2513077"/>
                  </a:lnTo>
                  <a:lnTo>
                    <a:pt x="449335" y="792198"/>
                  </a:lnTo>
                  <a:lnTo>
                    <a:pt x="517577" y="1581429"/>
                  </a:lnTo>
                  <a:cubicBezTo>
                    <a:pt x="520544" y="1599231"/>
                    <a:pt x="523511" y="1617033"/>
                    <a:pt x="529445" y="1631868"/>
                  </a:cubicBezTo>
                  <a:lnTo>
                    <a:pt x="929994" y="2432967"/>
                  </a:lnTo>
                  <a:lnTo>
                    <a:pt x="1045708" y="2412198"/>
                  </a:lnTo>
                  <a:lnTo>
                    <a:pt x="861753" y="1611099"/>
                  </a:lnTo>
                  <a:cubicBezTo>
                    <a:pt x="861753" y="1611099"/>
                    <a:pt x="891423" y="465824"/>
                    <a:pt x="897357" y="403516"/>
                  </a:cubicBezTo>
                  <a:cubicBezTo>
                    <a:pt x="906258" y="284835"/>
                    <a:pt x="766808" y="0"/>
                    <a:pt x="766808" y="0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6875BBEB-16EF-4D20-90BE-C63C97862F74}"/>
                </a:ext>
              </a:extLst>
            </p:cNvPr>
            <p:cNvSpPr/>
            <p:nvPr/>
          </p:nvSpPr>
          <p:spPr>
            <a:xfrm>
              <a:off x="7280004" y="3364983"/>
              <a:ext cx="798577" cy="959817"/>
            </a:xfrm>
            <a:custGeom>
              <a:avLst/>
              <a:gdLst>
                <a:gd name="connsiteX0" fmla="*/ 755516 w 798577"/>
                <a:gd name="connsiteY0" fmla="*/ 381158 h 959817"/>
                <a:gd name="connsiteX1" fmla="*/ 740680 w 798577"/>
                <a:gd name="connsiteY1" fmla="*/ 66653 h 959817"/>
                <a:gd name="connsiteX2" fmla="*/ 381669 w 798577"/>
                <a:gd name="connsiteY2" fmla="*/ 4345 h 959817"/>
                <a:gd name="connsiteX3" fmla="*/ 87933 w 798577"/>
                <a:gd name="connsiteY3" fmla="*/ 102257 h 959817"/>
                <a:gd name="connsiteX4" fmla="*/ 49362 w 798577"/>
                <a:gd name="connsiteY4" fmla="*/ 636323 h 959817"/>
                <a:gd name="connsiteX5" fmla="*/ 90900 w 798577"/>
                <a:gd name="connsiteY5" fmla="*/ 953795 h 959817"/>
                <a:gd name="connsiteX6" fmla="*/ 749582 w 798577"/>
                <a:gd name="connsiteY6" fmla="*/ 938960 h 959817"/>
                <a:gd name="connsiteX7" fmla="*/ 755516 w 798577"/>
                <a:gd name="connsiteY7" fmla="*/ 381158 h 959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8577" h="959817">
                  <a:moveTo>
                    <a:pt x="755516" y="381158"/>
                  </a:moveTo>
                  <a:cubicBezTo>
                    <a:pt x="764417" y="351488"/>
                    <a:pt x="856395" y="128960"/>
                    <a:pt x="740680" y="66653"/>
                  </a:cubicBezTo>
                  <a:cubicBezTo>
                    <a:pt x="639801" y="13246"/>
                    <a:pt x="497384" y="-10490"/>
                    <a:pt x="381669" y="4345"/>
                  </a:cubicBezTo>
                  <a:cubicBezTo>
                    <a:pt x="254087" y="19180"/>
                    <a:pt x="126505" y="39949"/>
                    <a:pt x="87933" y="102257"/>
                  </a:cubicBezTo>
                  <a:cubicBezTo>
                    <a:pt x="-21847" y="283246"/>
                    <a:pt x="-21847" y="443466"/>
                    <a:pt x="49362" y="636323"/>
                  </a:cubicBezTo>
                  <a:cubicBezTo>
                    <a:pt x="70131" y="692697"/>
                    <a:pt x="76065" y="823246"/>
                    <a:pt x="90900" y="953795"/>
                  </a:cubicBezTo>
                  <a:cubicBezTo>
                    <a:pt x="90900" y="953795"/>
                    <a:pt x="366834" y="974565"/>
                    <a:pt x="749582" y="938960"/>
                  </a:cubicBezTo>
                  <a:cubicBezTo>
                    <a:pt x="719911" y="725334"/>
                    <a:pt x="749582" y="404894"/>
                    <a:pt x="755516" y="381158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0251FDDF-C9BA-49B3-BB9A-A5E870AAB23A}"/>
                </a:ext>
              </a:extLst>
            </p:cNvPr>
            <p:cNvSpPr/>
            <p:nvPr/>
          </p:nvSpPr>
          <p:spPr>
            <a:xfrm>
              <a:off x="7554860" y="3191306"/>
              <a:ext cx="302637" cy="317472"/>
            </a:xfrm>
            <a:custGeom>
              <a:avLst/>
              <a:gdLst>
                <a:gd name="connsiteX0" fmla="*/ 53407 w 302637"/>
                <a:gd name="connsiteY0" fmla="*/ 59341 h 317472"/>
                <a:gd name="connsiteX1" fmla="*/ 0 w 302637"/>
                <a:gd name="connsiteY1" fmla="*/ 195824 h 317472"/>
                <a:gd name="connsiteX2" fmla="*/ 112747 w 302637"/>
                <a:gd name="connsiteY2" fmla="*/ 317473 h 317472"/>
                <a:gd name="connsiteX3" fmla="*/ 302637 w 302637"/>
                <a:gd name="connsiteY3" fmla="*/ 180989 h 317472"/>
                <a:gd name="connsiteX4" fmla="*/ 252198 w 302637"/>
                <a:gd name="connsiteY4" fmla="*/ 0 h 317472"/>
                <a:gd name="connsiteX5" fmla="*/ 53407 w 302637"/>
                <a:gd name="connsiteY5" fmla="*/ 59341 h 317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637" h="317472">
                  <a:moveTo>
                    <a:pt x="53407" y="59341"/>
                  </a:moveTo>
                  <a:cubicBezTo>
                    <a:pt x="53407" y="59341"/>
                    <a:pt x="59341" y="166154"/>
                    <a:pt x="0" y="195824"/>
                  </a:cubicBezTo>
                  <a:lnTo>
                    <a:pt x="112747" y="317473"/>
                  </a:lnTo>
                  <a:cubicBezTo>
                    <a:pt x="112747" y="317473"/>
                    <a:pt x="249231" y="210659"/>
                    <a:pt x="302637" y="180989"/>
                  </a:cubicBezTo>
                  <a:cubicBezTo>
                    <a:pt x="249231" y="139451"/>
                    <a:pt x="252198" y="59341"/>
                    <a:pt x="252198" y="0"/>
                  </a:cubicBezTo>
                  <a:cubicBezTo>
                    <a:pt x="249231" y="0"/>
                    <a:pt x="103846" y="65275"/>
                    <a:pt x="53407" y="59341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D6285A12-4891-4208-96D9-C3DCF27A1B04}"/>
                </a:ext>
              </a:extLst>
            </p:cNvPr>
            <p:cNvSpPr/>
            <p:nvPr/>
          </p:nvSpPr>
          <p:spPr>
            <a:xfrm>
              <a:off x="7278121" y="3464273"/>
              <a:ext cx="98716" cy="539999"/>
            </a:xfrm>
            <a:custGeom>
              <a:avLst/>
              <a:gdLst>
                <a:gd name="connsiteX0" fmla="*/ 54211 w 98716"/>
                <a:gd name="connsiteY0" fmla="*/ 540000 h 539999"/>
                <a:gd name="connsiteX1" fmla="*/ 48277 w 98716"/>
                <a:gd name="connsiteY1" fmla="*/ 537033 h 539999"/>
                <a:gd name="connsiteX2" fmla="*/ 33442 w 98716"/>
                <a:gd name="connsiteY2" fmla="*/ 483626 h 539999"/>
                <a:gd name="connsiteX3" fmla="*/ 805 w 98716"/>
                <a:gd name="connsiteY3" fmla="*/ 338242 h 539999"/>
                <a:gd name="connsiteX4" fmla="*/ 86849 w 98716"/>
                <a:gd name="connsiteY4" fmla="*/ 2967 h 539999"/>
                <a:gd name="connsiteX5" fmla="*/ 95750 w 98716"/>
                <a:gd name="connsiteY5" fmla="*/ 0 h 539999"/>
                <a:gd name="connsiteX6" fmla="*/ 98717 w 98716"/>
                <a:gd name="connsiteY6" fmla="*/ 8901 h 539999"/>
                <a:gd name="connsiteX7" fmla="*/ 12673 w 98716"/>
                <a:gd name="connsiteY7" fmla="*/ 338242 h 539999"/>
                <a:gd name="connsiteX8" fmla="*/ 45310 w 98716"/>
                <a:gd name="connsiteY8" fmla="*/ 483626 h 539999"/>
                <a:gd name="connsiteX9" fmla="*/ 60145 w 98716"/>
                <a:gd name="connsiteY9" fmla="*/ 537033 h 539999"/>
                <a:gd name="connsiteX10" fmla="*/ 54211 w 98716"/>
                <a:gd name="connsiteY10" fmla="*/ 540000 h 539999"/>
                <a:gd name="connsiteX11" fmla="*/ 54211 w 98716"/>
                <a:gd name="connsiteY11" fmla="*/ 540000 h 53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8716" h="539999">
                  <a:moveTo>
                    <a:pt x="54211" y="540000"/>
                  </a:moveTo>
                  <a:cubicBezTo>
                    <a:pt x="51244" y="540000"/>
                    <a:pt x="48277" y="537033"/>
                    <a:pt x="48277" y="537033"/>
                  </a:cubicBezTo>
                  <a:cubicBezTo>
                    <a:pt x="42343" y="519231"/>
                    <a:pt x="39376" y="501429"/>
                    <a:pt x="33442" y="483626"/>
                  </a:cubicBezTo>
                  <a:cubicBezTo>
                    <a:pt x="18607" y="433187"/>
                    <a:pt x="3772" y="382747"/>
                    <a:pt x="805" y="338242"/>
                  </a:cubicBezTo>
                  <a:cubicBezTo>
                    <a:pt x="-5129" y="216593"/>
                    <a:pt x="21574" y="103846"/>
                    <a:pt x="86849" y="2967"/>
                  </a:cubicBezTo>
                  <a:cubicBezTo>
                    <a:pt x="89816" y="0"/>
                    <a:pt x="92783" y="0"/>
                    <a:pt x="95750" y="0"/>
                  </a:cubicBezTo>
                  <a:cubicBezTo>
                    <a:pt x="98717" y="2967"/>
                    <a:pt x="98717" y="5934"/>
                    <a:pt x="98717" y="8901"/>
                  </a:cubicBezTo>
                  <a:cubicBezTo>
                    <a:pt x="36409" y="109780"/>
                    <a:pt x="6739" y="219560"/>
                    <a:pt x="12673" y="338242"/>
                  </a:cubicBezTo>
                  <a:cubicBezTo>
                    <a:pt x="15640" y="382747"/>
                    <a:pt x="30475" y="433187"/>
                    <a:pt x="45310" y="483626"/>
                  </a:cubicBezTo>
                  <a:cubicBezTo>
                    <a:pt x="51244" y="501429"/>
                    <a:pt x="57178" y="519231"/>
                    <a:pt x="60145" y="537033"/>
                  </a:cubicBezTo>
                  <a:cubicBezTo>
                    <a:pt x="60145" y="537033"/>
                    <a:pt x="60145" y="540000"/>
                    <a:pt x="54211" y="540000"/>
                  </a:cubicBezTo>
                  <a:cubicBezTo>
                    <a:pt x="57178" y="540000"/>
                    <a:pt x="54211" y="540000"/>
                    <a:pt x="54211" y="540000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A8078C8E-270D-4A31-98BE-03076CEDA78B}"/>
                </a:ext>
              </a:extLst>
            </p:cNvPr>
            <p:cNvSpPr/>
            <p:nvPr/>
          </p:nvSpPr>
          <p:spPr>
            <a:xfrm>
              <a:off x="7397607" y="3891714"/>
              <a:ext cx="389910" cy="35415"/>
            </a:xfrm>
            <a:custGeom>
              <a:avLst/>
              <a:gdLst>
                <a:gd name="connsiteX0" fmla="*/ 5934 w 389910"/>
                <a:gd name="connsiteY0" fmla="*/ 35416 h 35415"/>
                <a:gd name="connsiteX1" fmla="*/ 0 w 389910"/>
                <a:gd name="connsiteY1" fmla="*/ 32449 h 35415"/>
                <a:gd name="connsiteX2" fmla="*/ 2967 w 389910"/>
                <a:gd name="connsiteY2" fmla="*/ 26514 h 35415"/>
                <a:gd name="connsiteX3" fmla="*/ 385714 w 389910"/>
                <a:gd name="connsiteY3" fmla="*/ 14646 h 35415"/>
                <a:gd name="connsiteX4" fmla="*/ 388682 w 389910"/>
                <a:gd name="connsiteY4" fmla="*/ 20580 h 35415"/>
                <a:gd name="connsiteX5" fmla="*/ 382747 w 389910"/>
                <a:gd name="connsiteY5" fmla="*/ 23547 h 35415"/>
                <a:gd name="connsiteX6" fmla="*/ 5934 w 389910"/>
                <a:gd name="connsiteY6" fmla="*/ 35416 h 35415"/>
                <a:gd name="connsiteX7" fmla="*/ 5934 w 389910"/>
                <a:gd name="connsiteY7" fmla="*/ 35416 h 3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9910" h="35415">
                  <a:moveTo>
                    <a:pt x="5934" y="35416"/>
                  </a:moveTo>
                  <a:cubicBezTo>
                    <a:pt x="2967" y="35416"/>
                    <a:pt x="2967" y="35416"/>
                    <a:pt x="0" y="32449"/>
                  </a:cubicBezTo>
                  <a:cubicBezTo>
                    <a:pt x="0" y="29482"/>
                    <a:pt x="0" y="26514"/>
                    <a:pt x="2967" y="26514"/>
                  </a:cubicBezTo>
                  <a:cubicBezTo>
                    <a:pt x="86044" y="-3156"/>
                    <a:pt x="287802" y="-9090"/>
                    <a:pt x="385714" y="14646"/>
                  </a:cubicBezTo>
                  <a:cubicBezTo>
                    <a:pt x="388682" y="14646"/>
                    <a:pt x="391648" y="17613"/>
                    <a:pt x="388682" y="20580"/>
                  </a:cubicBezTo>
                  <a:cubicBezTo>
                    <a:pt x="388682" y="23547"/>
                    <a:pt x="385714" y="26514"/>
                    <a:pt x="382747" y="23547"/>
                  </a:cubicBezTo>
                  <a:cubicBezTo>
                    <a:pt x="287802" y="-189"/>
                    <a:pt x="89011" y="5745"/>
                    <a:pt x="5934" y="35416"/>
                  </a:cubicBezTo>
                  <a:cubicBezTo>
                    <a:pt x="5934" y="35416"/>
                    <a:pt x="5934" y="35416"/>
                    <a:pt x="5934" y="35416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C5B2026D-D1B3-4279-A749-B054616F2F47}"/>
                </a:ext>
              </a:extLst>
            </p:cNvPr>
            <p:cNvSpPr/>
            <p:nvPr/>
          </p:nvSpPr>
          <p:spPr>
            <a:xfrm>
              <a:off x="7528156" y="3375262"/>
              <a:ext cx="350109" cy="151318"/>
            </a:xfrm>
            <a:custGeom>
              <a:avLst/>
              <a:gdLst>
                <a:gd name="connsiteX0" fmla="*/ 35605 w 350109"/>
                <a:gd name="connsiteY0" fmla="*/ 5934 h 151318"/>
                <a:gd name="connsiteX1" fmla="*/ 136484 w 350109"/>
                <a:gd name="connsiteY1" fmla="*/ 118681 h 151318"/>
                <a:gd name="connsiteX2" fmla="*/ 326374 w 350109"/>
                <a:gd name="connsiteY2" fmla="*/ 0 h 151318"/>
                <a:gd name="connsiteX3" fmla="*/ 350110 w 350109"/>
                <a:gd name="connsiteY3" fmla="*/ 8901 h 151318"/>
                <a:gd name="connsiteX4" fmla="*/ 133516 w 350109"/>
                <a:gd name="connsiteY4" fmla="*/ 151319 h 151318"/>
                <a:gd name="connsiteX5" fmla="*/ 0 w 350109"/>
                <a:gd name="connsiteY5" fmla="*/ 14835 h 151318"/>
                <a:gd name="connsiteX6" fmla="*/ 35605 w 350109"/>
                <a:gd name="connsiteY6" fmla="*/ 5934 h 151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109" h="151318">
                  <a:moveTo>
                    <a:pt x="35605" y="5934"/>
                  </a:moveTo>
                  <a:lnTo>
                    <a:pt x="136484" y="118681"/>
                  </a:lnTo>
                  <a:cubicBezTo>
                    <a:pt x="136484" y="118681"/>
                    <a:pt x="264066" y="20769"/>
                    <a:pt x="326374" y="0"/>
                  </a:cubicBezTo>
                  <a:lnTo>
                    <a:pt x="350110" y="8901"/>
                  </a:lnTo>
                  <a:lnTo>
                    <a:pt x="133516" y="151319"/>
                  </a:lnTo>
                  <a:lnTo>
                    <a:pt x="0" y="14835"/>
                  </a:lnTo>
                  <a:cubicBezTo>
                    <a:pt x="2967" y="11868"/>
                    <a:pt x="17802" y="5934"/>
                    <a:pt x="35605" y="5934"/>
                  </a:cubicBezTo>
                  <a:close/>
                </a:path>
              </a:pathLst>
            </a:custGeom>
            <a:solidFill>
              <a:srgbClr val="D16156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6985E259-439E-4438-839D-367F31562094}"/>
                </a:ext>
              </a:extLst>
            </p:cNvPr>
            <p:cNvSpPr/>
            <p:nvPr/>
          </p:nvSpPr>
          <p:spPr>
            <a:xfrm>
              <a:off x="6128356" y="3193378"/>
              <a:ext cx="256504" cy="288872"/>
            </a:xfrm>
            <a:custGeom>
              <a:avLst/>
              <a:gdLst>
                <a:gd name="connsiteX0" fmla="*/ 17163 w 256504"/>
                <a:gd name="connsiteY0" fmla="*/ 149246 h 288872"/>
                <a:gd name="connsiteX1" fmla="*/ 61669 w 256504"/>
                <a:gd name="connsiteY1" fmla="*/ 208587 h 288872"/>
                <a:gd name="connsiteX2" fmla="*/ 147712 w 256504"/>
                <a:gd name="connsiteY2" fmla="*/ 288696 h 288872"/>
                <a:gd name="connsiteX3" fmla="*/ 248592 w 256504"/>
                <a:gd name="connsiteY3" fmla="*/ 256059 h 288872"/>
                <a:gd name="connsiteX4" fmla="*/ 115075 w 256504"/>
                <a:gd name="connsiteY4" fmla="*/ 12762 h 288872"/>
                <a:gd name="connsiteX5" fmla="*/ 85405 w 256504"/>
                <a:gd name="connsiteY5" fmla="*/ 9795 h 288872"/>
                <a:gd name="connsiteX6" fmla="*/ 100240 w 256504"/>
                <a:gd name="connsiteY6" fmla="*/ 48367 h 288872"/>
                <a:gd name="connsiteX7" fmla="*/ 123976 w 256504"/>
                <a:gd name="connsiteY7" fmla="*/ 98806 h 288872"/>
                <a:gd name="connsiteX8" fmla="*/ 76504 w 256504"/>
                <a:gd name="connsiteY8" fmla="*/ 45400 h 288872"/>
                <a:gd name="connsiteX9" fmla="*/ 40899 w 256504"/>
                <a:gd name="connsiteY9" fmla="*/ 9795 h 288872"/>
                <a:gd name="connsiteX10" fmla="*/ 14196 w 256504"/>
                <a:gd name="connsiteY10" fmla="*/ 15729 h 288872"/>
                <a:gd name="connsiteX11" fmla="*/ 11229 w 256504"/>
                <a:gd name="connsiteY11" fmla="*/ 45400 h 288872"/>
                <a:gd name="connsiteX12" fmla="*/ 8262 w 256504"/>
                <a:gd name="connsiteY12" fmla="*/ 45400 h 288872"/>
                <a:gd name="connsiteX13" fmla="*/ 2328 w 256504"/>
                <a:gd name="connsiteY13" fmla="*/ 48367 h 288872"/>
                <a:gd name="connsiteX14" fmla="*/ 14196 w 256504"/>
                <a:gd name="connsiteY14" fmla="*/ 92872 h 288872"/>
                <a:gd name="connsiteX15" fmla="*/ 29031 w 256504"/>
                <a:gd name="connsiteY15" fmla="*/ 113641 h 288872"/>
                <a:gd name="connsiteX16" fmla="*/ 23097 w 256504"/>
                <a:gd name="connsiteY16" fmla="*/ 110675 h 288872"/>
                <a:gd name="connsiteX17" fmla="*/ 5295 w 256504"/>
                <a:gd name="connsiteY17" fmla="*/ 116609 h 288872"/>
                <a:gd name="connsiteX18" fmla="*/ 17163 w 256504"/>
                <a:gd name="connsiteY18" fmla="*/ 149246 h 2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56504" h="288872">
                  <a:moveTo>
                    <a:pt x="17163" y="149246"/>
                  </a:moveTo>
                  <a:cubicBezTo>
                    <a:pt x="31998" y="170015"/>
                    <a:pt x="46834" y="187817"/>
                    <a:pt x="61669" y="208587"/>
                  </a:cubicBezTo>
                  <a:cubicBezTo>
                    <a:pt x="85405" y="241224"/>
                    <a:pt x="103207" y="279795"/>
                    <a:pt x="147712" y="288696"/>
                  </a:cubicBezTo>
                  <a:cubicBezTo>
                    <a:pt x="174416" y="291663"/>
                    <a:pt x="248592" y="256059"/>
                    <a:pt x="248592" y="256059"/>
                  </a:cubicBezTo>
                  <a:cubicBezTo>
                    <a:pt x="290130" y="190784"/>
                    <a:pt x="156614" y="51334"/>
                    <a:pt x="115075" y="12762"/>
                  </a:cubicBezTo>
                  <a:cubicBezTo>
                    <a:pt x="109141" y="6828"/>
                    <a:pt x="88372" y="-10974"/>
                    <a:pt x="85405" y="9795"/>
                  </a:cubicBezTo>
                  <a:cubicBezTo>
                    <a:pt x="82438" y="21664"/>
                    <a:pt x="97273" y="39466"/>
                    <a:pt x="100240" y="48367"/>
                  </a:cubicBezTo>
                  <a:cubicBezTo>
                    <a:pt x="109141" y="66169"/>
                    <a:pt x="115075" y="83971"/>
                    <a:pt x="123976" y="98806"/>
                  </a:cubicBezTo>
                  <a:cubicBezTo>
                    <a:pt x="109141" y="81004"/>
                    <a:pt x="91339" y="63202"/>
                    <a:pt x="76504" y="45400"/>
                  </a:cubicBezTo>
                  <a:cubicBezTo>
                    <a:pt x="64636" y="33532"/>
                    <a:pt x="55734" y="15729"/>
                    <a:pt x="40899" y="9795"/>
                  </a:cubicBezTo>
                  <a:cubicBezTo>
                    <a:pt x="31998" y="3861"/>
                    <a:pt x="20130" y="6828"/>
                    <a:pt x="14196" y="15729"/>
                  </a:cubicBezTo>
                  <a:cubicBezTo>
                    <a:pt x="8262" y="24630"/>
                    <a:pt x="8262" y="36499"/>
                    <a:pt x="11229" y="45400"/>
                  </a:cubicBezTo>
                  <a:cubicBezTo>
                    <a:pt x="11229" y="45400"/>
                    <a:pt x="8262" y="45400"/>
                    <a:pt x="8262" y="45400"/>
                  </a:cubicBezTo>
                  <a:cubicBezTo>
                    <a:pt x="5295" y="45400"/>
                    <a:pt x="5295" y="45400"/>
                    <a:pt x="2328" y="48367"/>
                  </a:cubicBezTo>
                  <a:cubicBezTo>
                    <a:pt x="-3606" y="66169"/>
                    <a:pt x="2328" y="78037"/>
                    <a:pt x="14196" y="92872"/>
                  </a:cubicBezTo>
                  <a:cubicBezTo>
                    <a:pt x="20130" y="98806"/>
                    <a:pt x="23097" y="104740"/>
                    <a:pt x="29031" y="113641"/>
                  </a:cubicBezTo>
                  <a:cubicBezTo>
                    <a:pt x="26064" y="113641"/>
                    <a:pt x="26064" y="110675"/>
                    <a:pt x="23097" y="110675"/>
                  </a:cubicBezTo>
                  <a:cubicBezTo>
                    <a:pt x="17163" y="107708"/>
                    <a:pt x="8262" y="107708"/>
                    <a:pt x="5295" y="116609"/>
                  </a:cubicBezTo>
                  <a:cubicBezTo>
                    <a:pt x="-639" y="125510"/>
                    <a:pt x="11229" y="140345"/>
                    <a:pt x="17163" y="149246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2079E40C-02C7-48E2-B352-D01F6A5FDDCC}"/>
                </a:ext>
              </a:extLst>
            </p:cNvPr>
            <p:cNvSpPr/>
            <p:nvPr/>
          </p:nvSpPr>
          <p:spPr>
            <a:xfrm>
              <a:off x="6234411" y="3301086"/>
              <a:ext cx="131153" cy="131123"/>
            </a:xfrm>
            <a:custGeom>
              <a:avLst/>
              <a:gdLst>
                <a:gd name="connsiteX0" fmla="*/ 119 w 131153"/>
                <a:gd name="connsiteY0" fmla="*/ 35604 h 131123"/>
                <a:gd name="connsiteX1" fmla="*/ 26822 w 131153"/>
                <a:gd name="connsiteY1" fmla="*/ 41538 h 131123"/>
                <a:gd name="connsiteX2" fmla="*/ 74295 w 131153"/>
                <a:gd name="connsiteY2" fmla="*/ 74176 h 131123"/>
                <a:gd name="connsiteX3" fmla="*/ 86163 w 131153"/>
                <a:gd name="connsiteY3" fmla="*/ 130549 h 131123"/>
                <a:gd name="connsiteX4" fmla="*/ 130668 w 131153"/>
                <a:gd name="connsiteY4" fmla="*/ 74176 h 131123"/>
                <a:gd name="connsiteX5" fmla="*/ 65394 w 131153"/>
                <a:gd name="connsiteY5" fmla="*/ 0 h 131123"/>
                <a:gd name="connsiteX6" fmla="*/ 119 w 131153"/>
                <a:gd name="connsiteY6" fmla="*/ 35604 h 1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1153" h="131123">
                  <a:moveTo>
                    <a:pt x="119" y="35604"/>
                  </a:moveTo>
                  <a:cubicBezTo>
                    <a:pt x="119" y="44505"/>
                    <a:pt x="17921" y="38571"/>
                    <a:pt x="26822" y="41538"/>
                  </a:cubicBezTo>
                  <a:cubicBezTo>
                    <a:pt x="47591" y="47472"/>
                    <a:pt x="62427" y="53407"/>
                    <a:pt x="74295" y="74176"/>
                  </a:cubicBezTo>
                  <a:cubicBezTo>
                    <a:pt x="80229" y="86044"/>
                    <a:pt x="83196" y="115714"/>
                    <a:pt x="86163" y="130549"/>
                  </a:cubicBezTo>
                  <a:cubicBezTo>
                    <a:pt x="86163" y="136483"/>
                    <a:pt x="136602" y="94945"/>
                    <a:pt x="130668" y="74176"/>
                  </a:cubicBezTo>
                  <a:cubicBezTo>
                    <a:pt x="124734" y="47472"/>
                    <a:pt x="98031" y="5934"/>
                    <a:pt x="65394" y="0"/>
                  </a:cubicBezTo>
                  <a:cubicBezTo>
                    <a:pt x="50558" y="0"/>
                    <a:pt x="-2848" y="14835"/>
                    <a:pt x="119" y="35604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8CCC0215-70AD-4A67-B86D-9CD920DEF4C7}"/>
                </a:ext>
              </a:extLst>
            </p:cNvPr>
            <p:cNvSpPr/>
            <p:nvPr/>
          </p:nvSpPr>
          <p:spPr>
            <a:xfrm>
              <a:off x="6229338" y="3292185"/>
              <a:ext cx="141675" cy="130549"/>
            </a:xfrm>
            <a:custGeom>
              <a:avLst/>
              <a:gdLst>
                <a:gd name="connsiteX0" fmla="*/ 64533 w 141675"/>
                <a:gd name="connsiteY0" fmla="*/ 130549 h 130549"/>
                <a:gd name="connsiteX1" fmla="*/ 58599 w 141675"/>
                <a:gd name="connsiteY1" fmla="*/ 124615 h 130549"/>
                <a:gd name="connsiteX2" fmla="*/ 73434 w 141675"/>
                <a:gd name="connsiteY2" fmla="*/ 80110 h 130549"/>
                <a:gd name="connsiteX3" fmla="*/ 28929 w 141675"/>
                <a:gd name="connsiteY3" fmla="*/ 56374 h 130549"/>
                <a:gd name="connsiteX4" fmla="*/ 2225 w 141675"/>
                <a:gd name="connsiteY4" fmla="*/ 44505 h 130549"/>
                <a:gd name="connsiteX5" fmla="*/ 2225 w 141675"/>
                <a:gd name="connsiteY5" fmla="*/ 26703 h 130549"/>
                <a:gd name="connsiteX6" fmla="*/ 67500 w 141675"/>
                <a:gd name="connsiteY6" fmla="*/ 0 h 130549"/>
                <a:gd name="connsiteX7" fmla="*/ 70467 w 141675"/>
                <a:gd name="connsiteY7" fmla="*/ 0 h 130549"/>
                <a:gd name="connsiteX8" fmla="*/ 141676 w 141675"/>
                <a:gd name="connsiteY8" fmla="*/ 77143 h 130549"/>
                <a:gd name="connsiteX9" fmla="*/ 138709 w 141675"/>
                <a:gd name="connsiteY9" fmla="*/ 83077 h 130549"/>
                <a:gd name="connsiteX10" fmla="*/ 132775 w 141675"/>
                <a:gd name="connsiteY10" fmla="*/ 80110 h 130549"/>
                <a:gd name="connsiteX11" fmla="*/ 73434 w 141675"/>
                <a:gd name="connsiteY11" fmla="*/ 8901 h 130549"/>
                <a:gd name="connsiteX12" fmla="*/ 70467 w 141675"/>
                <a:gd name="connsiteY12" fmla="*/ 8901 h 130549"/>
                <a:gd name="connsiteX13" fmla="*/ 14093 w 141675"/>
                <a:gd name="connsiteY13" fmla="*/ 29670 h 130549"/>
                <a:gd name="connsiteX14" fmla="*/ 14093 w 141675"/>
                <a:gd name="connsiteY14" fmla="*/ 35604 h 130549"/>
                <a:gd name="connsiteX15" fmla="*/ 31896 w 141675"/>
                <a:gd name="connsiteY15" fmla="*/ 41539 h 130549"/>
                <a:gd name="connsiteX16" fmla="*/ 88269 w 141675"/>
                <a:gd name="connsiteY16" fmla="*/ 74176 h 130549"/>
                <a:gd name="connsiteX17" fmla="*/ 88269 w 141675"/>
                <a:gd name="connsiteY17" fmla="*/ 80110 h 130549"/>
                <a:gd name="connsiteX18" fmla="*/ 73434 w 141675"/>
                <a:gd name="connsiteY18" fmla="*/ 115714 h 130549"/>
                <a:gd name="connsiteX19" fmla="*/ 64533 w 141675"/>
                <a:gd name="connsiteY19" fmla="*/ 130549 h 130549"/>
                <a:gd name="connsiteX20" fmla="*/ 64533 w 141675"/>
                <a:gd name="connsiteY20" fmla="*/ 130549 h 130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1675" h="130549">
                  <a:moveTo>
                    <a:pt x="64533" y="130549"/>
                  </a:moveTo>
                  <a:cubicBezTo>
                    <a:pt x="61566" y="130549"/>
                    <a:pt x="58599" y="127583"/>
                    <a:pt x="58599" y="124615"/>
                  </a:cubicBezTo>
                  <a:cubicBezTo>
                    <a:pt x="55632" y="106813"/>
                    <a:pt x="67500" y="89011"/>
                    <a:pt x="73434" y="80110"/>
                  </a:cubicBezTo>
                  <a:cubicBezTo>
                    <a:pt x="61566" y="62308"/>
                    <a:pt x="43764" y="59341"/>
                    <a:pt x="28929" y="56374"/>
                  </a:cubicBezTo>
                  <a:cubicBezTo>
                    <a:pt x="17060" y="53407"/>
                    <a:pt x="8159" y="53407"/>
                    <a:pt x="2225" y="44505"/>
                  </a:cubicBezTo>
                  <a:cubicBezTo>
                    <a:pt x="-742" y="38572"/>
                    <a:pt x="-742" y="32637"/>
                    <a:pt x="2225" y="26703"/>
                  </a:cubicBezTo>
                  <a:cubicBezTo>
                    <a:pt x="11126" y="11868"/>
                    <a:pt x="37830" y="0"/>
                    <a:pt x="67500" y="0"/>
                  </a:cubicBezTo>
                  <a:cubicBezTo>
                    <a:pt x="67500" y="0"/>
                    <a:pt x="70467" y="0"/>
                    <a:pt x="70467" y="0"/>
                  </a:cubicBezTo>
                  <a:cubicBezTo>
                    <a:pt x="114973" y="0"/>
                    <a:pt x="138709" y="74176"/>
                    <a:pt x="141676" y="77143"/>
                  </a:cubicBezTo>
                  <a:cubicBezTo>
                    <a:pt x="141676" y="80110"/>
                    <a:pt x="141676" y="83077"/>
                    <a:pt x="138709" y="83077"/>
                  </a:cubicBezTo>
                  <a:cubicBezTo>
                    <a:pt x="135742" y="83077"/>
                    <a:pt x="132775" y="83077"/>
                    <a:pt x="132775" y="80110"/>
                  </a:cubicBezTo>
                  <a:cubicBezTo>
                    <a:pt x="132775" y="80110"/>
                    <a:pt x="109039" y="11868"/>
                    <a:pt x="73434" y="8901"/>
                  </a:cubicBezTo>
                  <a:cubicBezTo>
                    <a:pt x="73434" y="8901"/>
                    <a:pt x="73434" y="8901"/>
                    <a:pt x="70467" y="8901"/>
                  </a:cubicBezTo>
                  <a:cubicBezTo>
                    <a:pt x="40797" y="8901"/>
                    <a:pt x="20028" y="20769"/>
                    <a:pt x="14093" y="29670"/>
                  </a:cubicBezTo>
                  <a:cubicBezTo>
                    <a:pt x="11126" y="32637"/>
                    <a:pt x="14093" y="35604"/>
                    <a:pt x="14093" y="35604"/>
                  </a:cubicBezTo>
                  <a:cubicBezTo>
                    <a:pt x="17060" y="38572"/>
                    <a:pt x="22995" y="38572"/>
                    <a:pt x="31896" y="41539"/>
                  </a:cubicBezTo>
                  <a:cubicBezTo>
                    <a:pt x="49698" y="44505"/>
                    <a:pt x="73434" y="47473"/>
                    <a:pt x="88269" y="74176"/>
                  </a:cubicBezTo>
                  <a:cubicBezTo>
                    <a:pt x="88269" y="77143"/>
                    <a:pt x="88269" y="80110"/>
                    <a:pt x="88269" y="80110"/>
                  </a:cubicBezTo>
                  <a:cubicBezTo>
                    <a:pt x="82335" y="86044"/>
                    <a:pt x="73434" y="103846"/>
                    <a:pt x="73434" y="115714"/>
                  </a:cubicBezTo>
                  <a:cubicBezTo>
                    <a:pt x="70467" y="127583"/>
                    <a:pt x="67500" y="130549"/>
                    <a:pt x="64533" y="130549"/>
                  </a:cubicBezTo>
                  <a:cubicBezTo>
                    <a:pt x="64533" y="130549"/>
                    <a:pt x="64533" y="130549"/>
                    <a:pt x="64533" y="130549"/>
                  </a:cubicBezTo>
                  <a:close/>
                </a:path>
              </a:pathLst>
            </a:custGeom>
            <a:solidFill>
              <a:srgbClr val="E58777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9EB4FE8D-D6CA-4454-A912-4A16CD93DC4B}"/>
                </a:ext>
              </a:extLst>
            </p:cNvPr>
            <p:cNvSpPr/>
            <p:nvPr/>
          </p:nvSpPr>
          <p:spPr>
            <a:xfrm>
              <a:off x="7474652" y="2781009"/>
              <a:ext cx="405327" cy="552788"/>
            </a:xfrm>
            <a:custGeom>
              <a:avLst/>
              <a:gdLst>
                <a:gd name="connsiteX0" fmla="*/ 3065 w 405327"/>
                <a:gd name="connsiteY0" fmla="*/ 181835 h 552788"/>
                <a:gd name="connsiteX1" fmla="*/ 23834 w 405327"/>
                <a:gd name="connsiteY1" fmla="*/ 431065 h 552788"/>
                <a:gd name="connsiteX2" fmla="*/ 172186 w 405327"/>
                <a:gd name="connsiteY2" fmla="*/ 552714 h 552788"/>
                <a:gd name="connsiteX3" fmla="*/ 376911 w 405327"/>
                <a:gd name="connsiteY3" fmla="*/ 404362 h 552788"/>
                <a:gd name="connsiteX4" fmla="*/ 403615 w 405327"/>
                <a:gd name="connsiteY4" fmla="*/ 184802 h 552788"/>
                <a:gd name="connsiteX5" fmla="*/ 187021 w 405327"/>
                <a:gd name="connsiteY5" fmla="*/ 846 h 552788"/>
                <a:gd name="connsiteX6" fmla="*/ 3065 w 405327"/>
                <a:gd name="connsiteY6" fmla="*/ 181835 h 55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5327" h="552788">
                  <a:moveTo>
                    <a:pt x="3065" y="181835"/>
                  </a:moveTo>
                  <a:cubicBezTo>
                    <a:pt x="3065" y="181835"/>
                    <a:pt x="-11770" y="365791"/>
                    <a:pt x="23834" y="431065"/>
                  </a:cubicBezTo>
                  <a:cubicBezTo>
                    <a:pt x="62406" y="496340"/>
                    <a:pt x="124714" y="549747"/>
                    <a:pt x="172186" y="552714"/>
                  </a:cubicBezTo>
                  <a:cubicBezTo>
                    <a:pt x="237461" y="555681"/>
                    <a:pt x="344274" y="469637"/>
                    <a:pt x="376911" y="404362"/>
                  </a:cubicBezTo>
                  <a:cubicBezTo>
                    <a:pt x="409549" y="339087"/>
                    <a:pt x="406582" y="232274"/>
                    <a:pt x="403615" y="184802"/>
                  </a:cubicBezTo>
                  <a:cubicBezTo>
                    <a:pt x="397681" y="92824"/>
                    <a:pt x="368010" y="18648"/>
                    <a:pt x="187021" y="846"/>
                  </a:cubicBezTo>
                  <a:cubicBezTo>
                    <a:pt x="106911" y="-11023"/>
                    <a:pt x="20868" y="104692"/>
                    <a:pt x="3065" y="181835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E6A2D0C7-989F-4E1C-B197-EB9D406AEE88}"/>
                </a:ext>
              </a:extLst>
            </p:cNvPr>
            <p:cNvSpPr/>
            <p:nvPr/>
          </p:nvSpPr>
          <p:spPr>
            <a:xfrm>
              <a:off x="7611233" y="3041725"/>
              <a:ext cx="56373" cy="128811"/>
            </a:xfrm>
            <a:custGeom>
              <a:avLst/>
              <a:gdLst>
                <a:gd name="connsiteX0" fmla="*/ 26704 w 56373"/>
                <a:gd name="connsiteY0" fmla="*/ 128811 h 128811"/>
                <a:gd name="connsiteX1" fmla="*/ 5934 w 56373"/>
                <a:gd name="connsiteY1" fmla="*/ 122877 h 128811"/>
                <a:gd name="connsiteX2" fmla="*/ 0 w 56373"/>
                <a:gd name="connsiteY2" fmla="*/ 111009 h 128811"/>
                <a:gd name="connsiteX3" fmla="*/ 23736 w 56373"/>
                <a:gd name="connsiteY3" fmla="*/ 4196 h 128811"/>
                <a:gd name="connsiteX4" fmla="*/ 29670 w 56373"/>
                <a:gd name="connsiteY4" fmla="*/ 1229 h 128811"/>
                <a:gd name="connsiteX5" fmla="*/ 32638 w 56373"/>
                <a:gd name="connsiteY5" fmla="*/ 7163 h 128811"/>
                <a:gd name="connsiteX6" fmla="*/ 8901 w 56373"/>
                <a:gd name="connsiteY6" fmla="*/ 111009 h 128811"/>
                <a:gd name="connsiteX7" fmla="*/ 11868 w 56373"/>
                <a:gd name="connsiteY7" fmla="*/ 113976 h 128811"/>
                <a:gd name="connsiteX8" fmla="*/ 50439 w 56373"/>
                <a:gd name="connsiteY8" fmla="*/ 113976 h 128811"/>
                <a:gd name="connsiteX9" fmla="*/ 56374 w 56373"/>
                <a:gd name="connsiteY9" fmla="*/ 116943 h 128811"/>
                <a:gd name="connsiteX10" fmla="*/ 53407 w 56373"/>
                <a:gd name="connsiteY10" fmla="*/ 122877 h 128811"/>
                <a:gd name="connsiteX11" fmla="*/ 26704 w 56373"/>
                <a:gd name="connsiteY11" fmla="*/ 128811 h 128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373" h="128811">
                  <a:moveTo>
                    <a:pt x="26704" y="128811"/>
                  </a:moveTo>
                  <a:cubicBezTo>
                    <a:pt x="17802" y="128811"/>
                    <a:pt x="8901" y="128811"/>
                    <a:pt x="5934" y="122877"/>
                  </a:cubicBezTo>
                  <a:cubicBezTo>
                    <a:pt x="2967" y="119910"/>
                    <a:pt x="0" y="116943"/>
                    <a:pt x="0" y="111009"/>
                  </a:cubicBezTo>
                  <a:cubicBezTo>
                    <a:pt x="0" y="90240"/>
                    <a:pt x="20769" y="7163"/>
                    <a:pt x="23736" y="4196"/>
                  </a:cubicBezTo>
                  <a:cubicBezTo>
                    <a:pt x="23736" y="1229"/>
                    <a:pt x="26704" y="-1738"/>
                    <a:pt x="29670" y="1229"/>
                  </a:cubicBezTo>
                  <a:cubicBezTo>
                    <a:pt x="32638" y="1229"/>
                    <a:pt x="35604" y="4196"/>
                    <a:pt x="32638" y="7163"/>
                  </a:cubicBezTo>
                  <a:cubicBezTo>
                    <a:pt x="26704" y="30899"/>
                    <a:pt x="8901" y="96174"/>
                    <a:pt x="8901" y="111009"/>
                  </a:cubicBezTo>
                  <a:cubicBezTo>
                    <a:pt x="8901" y="111009"/>
                    <a:pt x="8901" y="113976"/>
                    <a:pt x="11868" y="113976"/>
                  </a:cubicBezTo>
                  <a:cubicBezTo>
                    <a:pt x="17802" y="119910"/>
                    <a:pt x="38572" y="116943"/>
                    <a:pt x="50439" y="113976"/>
                  </a:cubicBezTo>
                  <a:cubicBezTo>
                    <a:pt x="53407" y="113976"/>
                    <a:pt x="56374" y="113976"/>
                    <a:pt x="56374" y="116943"/>
                  </a:cubicBezTo>
                  <a:cubicBezTo>
                    <a:pt x="56374" y="119910"/>
                    <a:pt x="56374" y="122877"/>
                    <a:pt x="53407" y="122877"/>
                  </a:cubicBezTo>
                  <a:cubicBezTo>
                    <a:pt x="50439" y="125844"/>
                    <a:pt x="38572" y="128811"/>
                    <a:pt x="26704" y="128811"/>
                  </a:cubicBezTo>
                  <a:close/>
                </a:path>
              </a:pathLst>
            </a:custGeom>
            <a:solidFill>
              <a:srgbClr val="E58777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5CDD1328-9A70-452D-9A84-9E916F6905A2}"/>
                </a:ext>
              </a:extLst>
            </p:cNvPr>
            <p:cNvSpPr/>
            <p:nvPr/>
          </p:nvSpPr>
          <p:spPr>
            <a:xfrm>
              <a:off x="7596398" y="3215042"/>
              <a:ext cx="103846" cy="56772"/>
            </a:xfrm>
            <a:custGeom>
              <a:avLst/>
              <a:gdLst>
                <a:gd name="connsiteX0" fmla="*/ 103846 w 103846"/>
                <a:gd name="connsiteY0" fmla="*/ 0 h 56772"/>
                <a:gd name="connsiteX1" fmla="*/ 0 w 103846"/>
                <a:gd name="connsiteY1" fmla="*/ 2967 h 56772"/>
                <a:gd name="connsiteX2" fmla="*/ 41539 w 103846"/>
                <a:gd name="connsiteY2" fmla="*/ 56374 h 56772"/>
                <a:gd name="connsiteX3" fmla="*/ 103846 w 103846"/>
                <a:gd name="connsiteY3" fmla="*/ 0 h 56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46" h="56772">
                  <a:moveTo>
                    <a:pt x="103846" y="0"/>
                  </a:moveTo>
                  <a:cubicBezTo>
                    <a:pt x="53407" y="29670"/>
                    <a:pt x="0" y="2967"/>
                    <a:pt x="0" y="2967"/>
                  </a:cubicBezTo>
                  <a:cubicBezTo>
                    <a:pt x="0" y="2967"/>
                    <a:pt x="8901" y="50440"/>
                    <a:pt x="41539" y="56374"/>
                  </a:cubicBezTo>
                  <a:cubicBezTo>
                    <a:pt x="74176" y="62308"/>
                    <a:pt x="103846" y="0"/>
                    <a:pt x="103846" y="0"/>
                  </a:cubicBezTo>
                  <a:close/>
                </a:path>
              </a:pathLst>
            </a:custGeom>
            <a:solidFill>
              <a:srgbClr val="FFFFFF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A22FAE15-F5CE-406F-B569-8F4C06CC23C5}"/>
                </a:ext>
              </a:extLst>
            </p:cNvPr>
            <p:cNvSpPr/>
            <p:nvPr/>
          </p:nvSpPr>
          <p:spPr>
            <a:xfrm>
              <a:off x="7536302" y="3015494"/>
              <a:ext cx="39909" cy="40083"/>
            </a:xfrm>
            <a:custGeom>
              <a:avLst/>
              <a:gdLst>
                <a:gd name="connsiteX0" fmla="*/ 39328 w 39909"/>
                <a:gd name="connsiteY0" fmla="*/ 24492 h 40083"/>
                <a:gd name="connsiteX1" fmla="*/ 15591 w 39909"/>
                <a:gd name="connsiteY1" fmla="*/ 39327 h 40083"/>
                <a:gd name="connsiteX2" fmla="*/ 756 w 39909"/>
                <a:gd name="connsiteY2" fmla="*/ 15591 h 40083"/>
                <a:gd name="connsiteX3" fmla="*/ 24492 w 39909"/>
                <a:gd name="connsiteY3" fmla="*/ 756 h 40083"/>
                <a:gd name="connsiteX4" fmla="*/ 39328 w 39909"/>
                <a:gd name="connsiteY4" fmla="*/ 24492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40083">
                  <a:moveTo>
                    <a:pt x="39328" y="24492"/>
                  </a:moveTo>
                  <a:cubicBezTo>
                    <a:pt x="36360" y="36361"/>
                    <a:pt x="27460" y="42295"/>
                    <a:pt x="15591" y="39327"/>
                  </a:cubicBezTo>
                  <a:cubicBezTo>
                    <a:pt x="3723" y="36361"/>
                    <a:pt x="-2211" y="27459"/>
                    <a:pt x="756" y="15591"/>
                  </a:cubicBezTo>
                  <a:cubicBezTo>
                    <a:pt x="3723" y="3723"/>
                    <a:pt x="12624" y="-2211"/>
                    <a:pt x="24492" y="756"/>
                  </a:cubicBezTo>
                  <a:cubicBezTo>
                    <a:pt x="33394" y="3723"/>
                    <a:pt x="42295" y="15591"/>
                    <a:pt x="39328" y="24492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8BF08387-687A-4438-8D1A-12E62EE0B0E2}"/>
                </a:ext>
              </a:extLst>
            </p:cNvPr>
            <p:cNvSpPr/>
            <p:nvPr/>
          </p:nvSpPr>
          <p:spPr>
            <a:xfrm>
              <a:off x="7720258" y="3015494"/>
              <a:ext cx="40083" cy="40083"/>
            </a:xfrm>
            <a:custGeom>
              <a:avLst/>
              <a:gdLst>
                <a:gd name="connsiteX0" fmla="*/ 39328 w 40083"/>
                <a:gd name="connsiteY0" fmla="*/ 24492 h 40083"/>
                <a:gd name="connsiteX1" fmla="*/ 15591 w 40083"/>
                <a:gd name="connsiteY1" fmla="*/ 39327 h 40083"/>
                <a:gd name="connsiteX2" fmla="*/ 756 w 40083"/>
                <a:gd name="connsiteY2" fmla="*/ 15591 h 40083"/>
                <a:gd name="connsiteX3" fmla="*/ 24492 w 40083"/>
                <a:gd name="connsiteY3" fmla="*/ 756 h 40083"/>
                <a:gd name="connsiteX4" fmla="*/ 39328 w 40083"/>
                <a:gd name="connsiteY4" fmla="*/ 24492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83" h="40083">
                  <a:moveTo>
                    <a:pt x="39328" y="24492"/>
                  </a:moveTo>
                  <a:cubicBezTo>
                    <a:pt x="36361" y="36361"/>
                    <a:pt x="27460" y="42295"/>
                    <a:pt x="15591" y="39327"/>
                  </a:cubicBezTo>
                  <a:cubicBezTo>
                    <a:pt x="3723" y="36361"/>
                    <a:pt x="-2211" y="27459"/>
                    <a:pt x="756" y="15591"/>
                  </a:cubicBezTo>
                  <a:cubicBezTo>
                    <a:pt x="3723" y="3723"/>
                    <a:pt x="12624" y="-2211"/>
                    <a:pt x="24492" y="756"/>
                  </a:cubicBezTo>
                  <a:cubicBezTo>
                    <a:pt x="36361" y="3723"/>
                    <a:pt x="42295" y="12624"/>
                    <a:pt x="39328" y="24492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8A99CB88-5DA1-4758-8984-E777F943E48B}"/>
                </a:ext>
              </a:extLst>
            </p:cNvPr>
            <p:cNvSpPr/>
            <p:nvPr/>
          </p:nvSpPr>
          <p:spPr>
            <a:xfrm>
              <a:off x="7511096" y="2968682"/>
              <a:ext cx="89498" cy="35700"/>
            </a:xfrm>
            <a:custGeom>
              <a:avLst/>
              <a:gdLst>
                <a:gd name="connsiteX0" fmla="*/ 8159 w 89498"/>
                <a:gd name="connsiteY0" fmla="*/ 35700 h 35700"/>
                <a:gd name="connsiteX1" fmla="*/ 2225 w 89498"/>
                <a:gd name="connsiteY1" fmla="*/ 32733 h 35700"/>
                <a:gd name="connsiteX2" fmla="*/ 2225 w 89498"/>
                <a:gd name="connsiteY2" fmla="*/ 20865 h 35700"/>
                <a:gd name="connsiteX3" fmla="*/ 85302 w 89498"/>
                <a:gd name="connsiteY3" fmla="*/ 6030 h 35700"/>
                <a:gd name="connsiteX4" fmla="*/ 88269 w 89498"/>
                <a:gd name="connsiteY4" fmla="*/ 14931 h 35700"/>
                <a:gd name="connsiteX5" fmla="*/ 79368 w 89498"/>
                <a:gd name="connsiteY5" fmla="*/ 17898 h 35700"/>
                <a:gd name="connsiteX6" fmla="*/ 14093 w 89498"/>
                <a:gd name="connsiteY6" fmla="*/ 26799 h 35700"/>
                <a:gd name="connsiteX7" fmla="*/ 8159 w 89498"/>
                <a:gd name="connsiteY7" fmla="*/ 35700 h 35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700">
                  <a:moveTo>
                    <a:pt x="8159" y="35700"/>
                  </a:moveTo>
                  <a:cubicBezTo>
                    <a:pt x="5192" y="35700"/>
                    <a:pt x="5192" y="35700"/>
                    <a:pt x="2225" y="32733"/>
                  </a:cubicBezTo>
                  <a:cubicBezTo>
                    <a:pt x="-742" y="29766"/>
                    <a:pt x="-742" y="23832"/>
                    <a:pt x="2225" y="20865"/>
                  </a:cubicBezTo>
                  <a:cubicBezTo>
                    <a:pt x="28929" y="-8805"/>
                    <a:pt x="67500" y="96"/>
                    <a:pt x="85302" y="6030"/>
                  </a:cubicBezTo>
                  <a:cubicBezTo>
                    <a:pt x="88269" y="8997"/>
                    <a:pt x="91236" y="11964"/>
                    <a:pt x="88269" y="14931"/>
                  </a:cubicBezTo>
                  <a:cubicBezTo>
                    <a:pt x="85302" y="17898"/>
                    <a:pt x="82335" y="20865"/>
                    <a:pt x="79368" y="17898"/>
                  </a:cubicBezTo>
                  <a:cubicBezTo>
                    <a:pt x="76401" y="17898"/>
                    <a:pt x="37830" y="96"/>
                    <a:pt x="14093" y="26799"/>
                  </a:cubicBezTo>
                  <a:cubicBezTo>
                    <a:pt x="11126" y="32733"/>
                    <a:pt x="8159" y="35700"/>
                    <a:pt x="8159" y="35700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AD1FFD20-6D50-4796-BEDD-5FB0D4B528AA}"/>
                </a:ext>
              </a:extLst>
            </p:cNvPr>
            <p:cNvSpPr/>
            <p:nvPr/>
          </p:nvSpPr>
          <p:spPr>
            <a:xfrm>
              <a:off x="7692361" y="2962245"/>
              <a:ext cx="90218" cy="33235"/>
            </a:xfrm>
            <a:custGeom>
              <a:avLst/>
              <a:gdLst>
                <a:gd name="connsiteX0" fmla="*/ 85026 w 90218"/>
                <a:gd name="connsiteY0" fmla="*/ 33236 h 33235"/>
                <a:gd name="connsiteX1" fmla="*/ 79092 w 90218"/>
                <a:gd name="connsiteY1" fmla="*/ 30269 h 33235"/>
                <a:gd name="connsiteX2" fmla="*/ 13817 w 90218"/>
                <a:gd name="connsiteY2" fmla="*/ 27302 h 33235"/>
                <a:gd name="connsiteX3" fmla="*/ 1949 w 90218"/>
                <a:gd name="connsiteY3" fmla="*/ 24335 h 33235"/>
                <a:gd name="connsiteX4" fmla="*/ 4916 w 90218"/>
                <a:gd name="connsiteY4" fmla="*/ 12467 h 33235"/>
                <a:gd name="connsiteX5" fmla="*/ 87993 w 90218"/>
                <a:gd name="connsiteY5" fmla="*/ 18401 h 33235"/>
                <a:gd name="connsiteX6" fmla="*/ 87993 w 90218"/>
                <a:gd name="connsiteY6" fmla="*/ 30269 h 33235"/>
                <a:gd name="connsiteX7" fmla="*/ 85026 w 90218"/>
                <a:gd name="connsiteY7" fmla="*/ 33236 h 33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218" h="33235">
                  <a:moveTo>
                    <a:pt x="85026" y="33236"/>
                  </a:moveTo>
                  <a:cubicBezTo>
                    <a:pt x="82059" y="33236"/>
                    <a:pt x="82059" y="33236"/>
                    <a:pt x="79092" y="30269"/>
                  </a:cubicBezTo>
                  <a:cubicBezTo>
                    <a:pt x="79092" y="30269"/>
                    <a:pt x="49422" y="3566"/>
                    <a:pt x="13817" y="27302"/>
                  </a:cubicBezTo>
                  <a:cubicBezTo>
                    <a:pt x="10850" y="30269"/>
                    <a:pt x="4916" y="30269"/>
                    <a:pt x="1949" y="24335"/>
                  </a:cubicBezTo>
                  <a:cubicBezTo>
                    <a:pt x="-1018" y="21368"/>
                    <a:pt x="-1018" y="15434"/>
                    <a:pt x="4916" y="12467"/>
                  </a:cubicBezTo>
                  <a:cubicBezTo>
                    <a:pt x="40521" y="-11270"/>
                    <a:pt x="76125" y="3566"/>
                    <a:pt x="87993" y="18401"/>
                  </a:cubicBezTo>
                  <a:cubicBezTo>
                    <a:pt x="90960" y="21368"/>
                    <a:pt x="90960" y="27302"/>
                    <a:pt x="87993" y="30269"/>
                  </a:cubicBezTo>
                  <a:cubicBezTo>
                    <a:pt x="87993" y="33236"/>
                    <a:pt x="87993" y="33236"/>
                    <a:pt x="85026" y="33236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E0604437-9536-49D1-975E-9E1DC582088C}"/>
                </a:ext>
              </a:extLst>
            </p:cNvPr>
            <p:cNvSpPr/>
            <p:nvPr/>
          </p:nvSpPr>
          <p:spPr>
            <a:xfrm>
              <a:off x="7453315" y="2745146"/>
              <a:ext cx="262067" cy="259236"/>
            </a:xfrm>
            <a:custGeom>
              <a:avLst/>
              <a:gdLst>
                <a:gd name="connsiteX0" fmla="*/ 258798 w 262067"/>
                <a:gd name="connsiteY0" fmla="*/ 1105 h 259236"/>
                <a:gd name="connsiteX1" fmla="*/ 229128 w 262067"/>
                <a:gd name="connsiteY1" fmla="*/ 125720 h 259236"/>
                <a:gd name="connsiteX2" fmla="*/ 666 w 262067"/>
                <a:gd name="connsiteY2" fmla="*/ 259237 h 259236"/>
                <a:gd name="connsiteX3" fmla="*/ 258798 w 262067"/>
                <a:gd name="connsiteY3" fmla="*/ 1105 h 25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2067" h="259236">
                  <a:moveTo>
                    <a:pt x="258798" y="1105"/>
                  </a:moveTo>
                  <a:cubicBezTo>
                    <a:pt x="258798" y="1105"/>
                    <a:pt x="276600" y="87149"/>
                    <a:pt x="229128" y="125720"/>
                  </a:cubicBezTo>
                  <a:cubicBezTo>
                    <a:pt x="229128" y="125720"/>
                    <a:pt x="27369" y="176160"/>
                    <a:pt x="666" y="259237"/>
                  </a:cubicBezTo>
                  <a:cubicBezTo>
                    <a:pt x="666" y="259237"/>
                    <a:pt x="-26037" y="-19664"/>
                    <a:pt x="258798" y="1105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AB286C0A-20B7-4118-A400-C592F506A2E4}"/>
                </a:ext>
              </a:extLst>
            </p:cNvPr>
            <p:cNvSpPr/>
            <p:nvPr/>
          </p:nvSpPr>
          <p:spPr>
            <a:xfrm>
              <a:off x="7682442" y="2749163"/>
              <a:ext cx="226697" cy="299446"/>
            </a:xfrm>
            <a:custGeom>
              <a:avLst/>
              <a:gdLst>
                <a:gd name="connsiteX0" fmla="*/ 0 w 226697"/>
                <a:gd name="connsiteY0" fmla="*/ 124670 h 299446"/>
                <a:gd name="connsiteX1" fmla="*/ 139450 w 226697"/>
                <a:gd name="connsiteY1" fmla="*/ 172143 h 299446"/>
                <a:gd name="connsiteX2" fmla="*/ 201758 w 226697"/>
                <a:gd name="connsiteY2" fmla="*/ 287857 h 299446"/>
                <a:gd name="connsiteX3" fmla="*/ 225494 w 226697"/>
                <a:gd name="connsiteY3" fmla="*/ 281923 h 299446"/>
                <a:gd name="connsiteX4" fmla="*/ 29670 w 226697"/>
                <a:gd name="connsiteY4" fmla="*/ 55 h 299446"/>
                <a:gd name="connsiteX5" fmla="*/ 0 w 226697"/>
                <a:gd name="connsiteY5" fmla="*/ 124670 h 299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6697" h="299446">
                  <a:moveTo>
                    <a:pt x="0" y="124670"/>
                  </a:moveTo>
                  <a:cubicBezTo>
                    <a:pt x="0" y="124670"/>
                    <a:pt x="89011" y="169176"/>
                    <a:pt x="139450" y="172143"/>
                  </a:cubicBezTo>
                  <a:cubicBezTo>
                    <a:pt x="189890" y="175110"/>
                    <a:pt x="201758" y="287857"/>
                    <a:pt x="201758" y="287857"/>
                  </a:cubicBezTo>
                  <a:cubicBezTo>
                    <a:pt x="201758" y="287857"/>
                    <a:pt x="222527" y="317527"/>
                    <a:pt x="225494" y="281923"/>
                  </a:cubicBezTo>
                  <a:cubicBezTo>
                    <a:pt x="231428" y="204780"/>
                    <a:pt x="222527" y="11923"/>
                    <a:pt x="29670" y="55"/>
                  </a:cubicBezTo>
                  <a:cubicBezTo>
                    <a:pt x="29670" y="-2912"/>
                    <a:pt x="23736" y="115769"/>
                    <a:pt x="0" y="124670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D9A98361-13C4-459C-A4C1-E8D63E7508F2}"/>
                </a:ext>
              </a:extLst>
            </p:cNvPr>
            <p:cNvSpPr/>
            <p:nvPr/>
          </p:nvSpPr>
          <p:spPr>
            <a:xfrm>
              <a:off x="7848508" y="3019463"/>
              <a:ext cx="74223" cy="109991"/>
            </a:xfrm>
            <a:custGeom>
              <a:avLst/>
              <a:gdLst>
                <a:gd name="connsiteX0" fmla="*/ 8989 w 74223"/>
                <a:gd name="connsiteY0" fmla="*/ 17556 h 109991"/>
                <a:gd name="connsiteX1" fmla="*/ 65362 w 74223"/>
                <a:gd name="connsiteY1" fmla="*/ 5688 h 109991"/>
                <a:gd name="connsiteX2" fmla="*/ 14923 w 74223"/>
                <a:gd name="connsiteY2" fmla="*/ 106567 h 109991"/>
                <a:gd name="connsiteX3" fmla="*/ 8989 w 74223"/>
                <a:gd name="connsiteY3" fmla="*/ 17556 h 10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223" h="109991">
                  <a:moveTo>
                    <a:pt x="8989" y="17556"/>
                  </a:moveTo>
                  <a:cubicBezTo>
                    <a:pt x="8989" y="17556"/>
                    <a:pt x="41626" y="-12114"/>
                    <a:pt x="65362" y="5688"/>
                  </a:cubicBezTo>
                  <a:cubicBezTo>
                    <a:pt x="92066" y="23491"/>
                    <a:pt x="53494" y="130304"/>
                    <a:pt x="14923" y="106567"/>
                  </a:cubicBezTo>
                  <a:cubicBezTo>
                    <a:pt x="-14747" y="91732"/>
                    <a:pt x="8989" y="17556"/>
                    <a:pt x="8989" y="17556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EBC370CD-3872-468E-9876-8E6B23F2DBDB}"/>
                </a:ext>
              </a:extLst>
            </p:cNvPr>
            <p:cNvSpPr/>
            <p:nvPr/>
          </p:nvSpPr>
          <p:spPr>
            <a:xfrm>
              <a:off x="7673541" y="2743284"/>
              <a:ext cx="211888" cy="284835"/>
            </a:xfrm>
            <a:custGeom>
              <a:avLst/>
              <a:gdLst>
                <a:gd name="connsiteX0" fmla="*/ 207692 w 211888"/>
                <a:gd name="connsiteY0" fmla="*/ 284835 h 284835"/>
                <a:gd name="connsiteX1" fmla="*/ 201758 w 211888"/>
                <a:gd name="connsiteY1" fmla="*/ 278901 h 284835"/>
                <a:gd name="connsiteX2" fmla="*/ 148352 w 211888"/>
                <a:gd name="connsiteY2" fmla="*/ 180989 h 284835"/>
                <a:gd name="connsiteX3" fmla="*/ 5934 w 211888"/>
                <a:gd name="connsiteY3" fmla="*/ 130549 h 284835"/>
                <a:gd name="connsiteX4" fmla="*/ 0 w 211888"/>
                <a:gd name="connsiteY4" fmla="*/ 127583 h 284835"/>
                <a:gd name="connsiteX5" fmla="*/ 2967 w 211888"/>
                <a:gd name="connsiteY5" fmla="*/ 121648 h 284835"/>
                <a:gd name="connsiteX6" fmla="*/ 20769 w 211888"/>
                <a:gd name="connsiteY6" fmla="*/ 97912 h 284835"/>
                <a:gd name="connsiteX7" fmla="*/ 29670 w 211888"/>
                <a:gd name="connsiteY7" fmla="*/ 59341 h 284835"/>
                <a:gd name="connsiteX8" fmla="*/ 32637 w 211888"/>
                <a:gd name="connsiteY8" fmla="*/ 32637 h 284835"/>
                <a:gd name="connsiteX9" fmla="*/ 35604 w 211888"/>
                <a:gd name="connsiteY9" fmla="*/ 5934 h 284835"/>
                <a:gd name="connsiteX10" fmla="*/ 41538 w 211888"/>
                <a:gd name="connsiteY10" fmla="*/ 0 h 284835"/>
                <a:gd name="connsiteX11" fmla="*/ 47472 w 211888"/>
                <a:gd name="connsiteY11" fmla="*/ 5934 h 284835"/>
                <a:gd name="connsiteX12" fmla="*/ 44505 w 211888"/>
                <a:gd name="connsiteY12" fmla="*/ 32637 h 284835"/>
                <a:gd name="connsiteX13" fmla="*/ 41538 w 211888"/>
                <a:gd name="connsiteY13" fmla="*/ 59341 h 284835"/>
                <a:gd name="connsiteX14" fmla="*/ 32637 w 211888"/>
                <a:gd name="connsiteY14" fmla="*/ 103846 h 284835"/>
                <a:gd name="connsiteX15" fmla="*/ 17802 w 211888"/>
                <a:gd name="connsiteY15" fmla="*/ 124615 h 284835"/>
                <a:gd name="connsiteX16" fmla="*/ 148352 w 211888"/>
                <a:gd name="connsiteY16" fmla="*/ 169121 h 284835"/>
                <a:gd name="connsiteX17" fmla="*/ 210659 w 211888"/>
                <a:gd name="connsiteY17" fmla="*/ 278901 h 284835"/>
                <a:gd name="connsiteX18" fmla="*/ 207692 w 211888"/>
                <a:gd name="connsiteY18" fmla="*/ 284835 h 284835"/>
                <a:gd name="connsiteX19" fmla="*/ 207692 w 211888"/>
                <a:gd name="connsiteY19" fmla="*/ 284835 h 284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1888" h="284835">
                  <a:moveTo>
                    <a:pt x="207692" y="284835"/>
                  </a:moveTo>
                  <a:cubicBezTo>
                    <a:pt x="204725" y="284835"/>
                    <a:pt x="201758" y="281868"/>
                    <a:pt x="201758" y="278901"/>
                  </a:cubicBezTo>
                  <a:cubicBezTo>
                    <a:pt x="201758" y="278901"/>
                    <a:pt x="195824" y="186923"/>
                    <a:pt x="148352" y="180989"/>
                  </a:cubicBezTo>
                  <a:cubicBezTo>
                    <a:pt x="80110" y="172088"/>
                    <a:pt x="8901" y="133516"/>
                    <a:pt x="5934" y="130549"/>
                  </a:cubicBezTo>
                  <a:lnTo>
                    <a:pt x="0" y="127583"/>
                  </a:lnTo>
                  <a:lnTo>
                    <a:pt x="2967" y="121648"/>
                  </a:lnTo>
                  <a:cubicBezTo>
                    <a:pt x="8901" y="115714"/>
                    <a:pt x="14835" y="106813"/>
                    <a:pt x="20769" y="97912"/>
                  </a:cubicBezTo>
                  <a:cubicBezTo>
                    <a:pt x="26703" y="86044"/>
                    <a:pt x="26703" y="71209"/>
                    <a:pt x="29670" y="59341"/>
                  </a:cubicBezTo>
                  <a:cubicBezTo>
                    <a:pt x="29670" y="53407"/>
                    <a:pt x="29670" y="41539"/>
                    <a:pt x="32637" y="32637"/>
                  </a:cubicBezTo>
                  <a:cubicBezTo>
                    <a:pt x="32637" y="20769"/>
                    <a:pt x="35604" y="11868"/>
                    <a:pt x="35604" y="5934"/>
                  </a:cubicBezTo>
                  <a:cubicBezTo>
                    <a:pt x="35604" y="2967"/>
                    <a:pt x="38572" y="0"/>
                    <a:pt x="41538" y="0"/>
                  </a:cubicBezTo>
                  <a:cubicBezTo>
                    <a:pt x="44505" y="0"/>
                    <a:pt x="47472" y="2967"/>
                    <a:pt x="47472" y="5934"/>
                  </a:cubicBezTo>
                  <a:cubicBezTo>
                    <a:pt x="47472" y="11868"/>
                    <a:pt x="47472" y="23736"/>
                    <a:pt x="44505" y="32637"/>
                  </a:cubicBezTo>
                  <a:cubicBezTo>
                    <a:pt x="44505" y="44505"/>
                    <a:pt x="41538" y="53407"/>
                    <a:pt x="41538" y="59341"/>
                  </a:cubicBezTo>
                  <a:cubicBezTo>
                    <a:pt x="41538" y="74176"/>
                    <a:pt x="38572" y="89011"/>
                    <a:pt x="32637" y="103846"/>
                  </a:cubicBezTo>
                  <a:cubicBezTo>
                    <a:pt x="29670" y="112747"/>
                    <a:pt x="23736" y="118681"/>
                    <a:pt x="17802" y="124615"/>
                  </a:cubicBezTo>
                  <a:cubicBezTo>
                    <a:pt x="35604" y="133516"/>
                    <a:pt x="94945" y="163187"/>
                    <a:pt x="148352" y="169121"/>
                  </a:cubicBezTo>
                  <a:cubicBezTo>
                    <a:pt x="204725" y="175055"/>
                    <a:pt x="210659" y="272967"/>
                    <a:pt x="210659" y="278901"/>
                  </a:cubicBezTo>
                  <a:cubicBezTo>
                    <a:pt x="213626" y="281868"/>
                    <a:pt x="210659" y="284835"/>
                    <a:pt x="207692" y="284835"/>
                  </a:cubicBezTo>
                  <a:cubicBezTo>
                    <a:pt x="207692" y="284835"/>
                    <a:pt x="207692" y="284835"/>
                    <a:pt x="207692" y="284835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EF631D9A-05FC-4E5E-93C1-6B2697EAAAE6}"/>
                </a:ext>
              </a:extLst>
            </p:cNvPr>
            <p:cNvSpPr/>
            <p:nvPr/>
          </p:nvSpPr>
          <p:spPr>
            <a:xfrm>
              <a:off x="7582305" y="3258229"/>
              <a:ext cx="217170" cy="81428"/>
            </a:xfrm>
            <a:custGeom>
              <a:avLst/>
              <a:gdLst>
                <a:gd name="connsiteX0" fmla="*/ 67500 w 217170"/>
                <a:gd name="connsiteY0" fmla="*/ 81429 h 81428"/>
                <a:gd name="connsiteX1" fmla="*/ 2225 w 217170"/>
                <a:gd name="connsiteY1" fmla="*/ 57692 h 81428"/>
                <a:gd name="connsiteX2" fmla="*/ 2225 w 217170"/>
                <a:gd name="connsiteY2" fmla="*/ 48791 h 81428"/>
                <a:gd name="connsiteX3" fmla="*/ 11127 w 217170"/>
                <a:gd name="connsiteY3" fmla="*/ 48791 h 81428"/>
                <a:gd name="connsiteX4" fmla="*/ 79368 w 217170"/>
                <a:gd name="connsiteY4" fmla="*/ 69560 h 81428"/>
                <a:gd name="connsiteX5" fmla="*/ 206951 w 217170"/>
                <a:gd name="connsiteY5" fmla="*/ 1319 h 81428"/>
                <a:gd name="connsiteX6" fmla="*/ 215852 w 217170"/>
                <a:gd name="connsiteY6" fmla="*/ 1319 h 81428"/>
                <a:gd name="connsiteX7" fmla="*/ 215852 w 217170"/>
                <a:gd name="connsiteY7" fmla="*/ 10220 h 81428"/>
                <a:gd name="connsiteX8" fmla="*/ 85302 w 217170"/>
                <a:gd name="connsiteY8" fmla="*/ 81429 h 81428"/>
                <a:gd name="connsiteX9" fmla="*/ 67500 w 217170"/>
                <a:gd name="connsiteY9" fmla="*/ 81429 h 8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170" h="81428">
                  <a:moveTo>
                    <a:pt x="67500" y="81429"/>
                  </a:moveTo>
                  <a:cubicBezTo>
                    <a:pt x="31896" y="81429"/>
                    <a:pt x="5192" y="57692"/>
                    <a:pt x="2225" y="57692"/>
                  </a:cubicBezTo>
                  <a:cubicBezTo>
                    <a:pt x="-742" y="54725"/>
                    <a:pt x="-742" y="51758"/>
                    <a:pt x="2225" y="48791"/>
                  </a:cubicBezTo>
                  <a:cubicBezTo>
                    <a:pt x="5192" y="45824"/>
                    <a:pt x="8159" y="45824"/>
                    <a:pt x="11127" y="48791"/>
                  </a:cubicBezTo>
                  <a:cubicBezTo>
                    <a:pt x="11127" y="48791"/>
                    <a:pt x="43764" y="75494"/>
                    <a:pt x="79368" y="69560"/>
                  </a:cubicBezTo>
                  <a:cubicBezTo>
                    <a:pt x="117940" y="63626"/>
                    <a:pt x="203984" y="1319"/>
                    <a:pt x="206951" y="1319"/>
                  </a:cubicBezTo>
                  <a:cubicBezTo>
                    <a:pt x="209918" y="-1648"/>
                    <a:pt x="212884" y="1319"/>
                    <a:pt x="215852" y="1319"/>
                  </a:cubicBezTo>
                  <a:cubicBezTo>
                    <a:pt x="218819" y="4286"/>
                    <a:pt x="215852" y="7253"/>
                    <a:pt x="215852" y="10220"/>
                  </a:cubicBezTo>
                  <a:cubicBezTo>
                    <a:pt x="212884" y="13187"/>
                    <a:pt x="123873" y="75494"/>
                    <a:pt x="85302" y="81429"/>
                  </a:cubicBezTo>
                  <a:cubicBezTo>
                    <a:pt x="76401" y="78461"/>
                    <a:pt x="70467" y="81429"/>
                    <a:pt x="67500" y="81429"/>
                  </a:cubicBezTo>
                  <a:close/>
                </a:path>
              </a:pathLst>
            </a:custGeom>
            <a:solidFill>
              <a:srgbClr val="E58777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C840EAD9-503C-494E-95F0-A2CFCA7820F2}"/>
                </a:ext>
              </a:extLst>
            </p:cNvPr>
            <p:cNvSpPr/>
            <p:nvPr/>
          </p:nvSpPr>
          <p:spPr>
            <a:xfrm>
              <a:off x="7970245" y="3099327"/>
              <a:ext cx="117939" cy="287802"/>
            </a:xfrm>
            <a:custGeom>
              <a:avLst/>
              <a:gdLst>
                <a:gd name="connsiteX0" fmla="*/ 109780 w 117939"/>
                <a:gd name="connsiteY0" fmla="*/ 284835 h 287802"/>
                <a:gd name="connsiteX1" fmla="*/ 106813 w 117939"/>
                <a:gd name="connsiteY1" fmla="*/ 281868 h 287802"/>
                <a:gd name="connsiteX2" fmla="*/ 83077 w 117939"/>
                <a:gd name="connsiteY2" fmla="*/ 180989 h 287802"/>
                <a:gd name="connsiteX3" fmla="*/ 35604 w 117939"/>
                <a:gd name="connsiteY3" fmla="*/ 77143 h 287802"/>
                <a:gd name="connsiteX4" fmla="*/ 0 w 117939"/>
                <a:gd name="connsiteY4" fmla="*/ 5934 h 287802"/>
                <a:gd name="connsiteX5" fmla="*/ 5934 w 117939"/>
                <a:gd name="connsiteY5" fmla="*/ 0 h 287802"/>
                <a:gd name="connsiteX6" fmla="*/ 11868 w 117939"/>
                <a:gd name="connsiteY6" fmla="*/ 5934 h 287802"/>
                <a:gd name="connsiteX7" fmla="*/ 44505 w 117939"/>
                <a:gd name="connsiteY7" fmla="*/ 71209 h 287802"/>
                <a:gd name="connsiteX8" fmla="*/ 94945 w 117939"/>
                <a:gd name="connsiteY8" fmla="*/ 186923 h 287802"/>
                <a:gd name="connsiteX9" fmla="*/ 115714 w 117939"/>
                <a:gd name="connsiteY9" fmla="*/ 278901 h 287802"/>
                <a:gd name="connsiteX10" fmla="*/ 115714 w 117939"/>
                <a:gd name="connsiteY10" fmla="*/ 287802 h 287802"/>
                <a:gd name="connsiteX11" fmla="*/ 109780 w 117939"/>
                <a:gd name="connsiteY11" fmla="*/ 284835 h 28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7939" h="287802">
                  <a:moveTo>
                    <a:pt x="109780" y="284835"/>
                  </a:moveTo>
                  <a:cubicBezTo>
                    <a:pt x="106813" y="284835"/>
                    <a:pt x="106813" y="284835"/>
                    <a:pt x="106813" y="281868"/>
                  </a:cubicBezTo>
                  <a:cubicBezTo>
                    <a:pt x="89011" y="261099"/>
                    <a:pt x="74176" y="216594"/>
                    <a:pt x="83077" y="180989"/>
                  </a:cubicBezTo>
                  <a:cubicBezTo>
                    <a:pt x="91978" y="145385"/>
                    <a:pt x="65275" y="100879"/>
                    <a:pt x="35604" y="77143"/>
                  </a:cubicBezTo>
                  <a:cubicBezTo>
                    <a:pt x="2967" y="50440"/>
                    <a:pt x="0" y="5934"/>
                    <a:pt x="0" y="5934"/>
                  </a:cubicBezTo>
                  <a:cubicBezTo>
                    <a:pt x="0" y="2967"/>
                    <a:pt x="2967" y="0"/>
                    <a:pt x="5934" y="0"/>
                  </a:cubicBezTo>
                  <a:cubicBezTo>
                    <a:pt x="8901" y="0"/>
                    <a:pt x="11868" y="2967"/>
                    <a:pt x="11868" y="5934"/>
                  </a:cubicBezTo>
                  <a:cubicBezTo>
                    <a:pt x="11868" y="5934"/>
                    <a:pt x="14835" y="47473"/>
                    <a:pt x="44505" y="71209"/>
                  </a:cubicBezTo>
                  <a:cubicBezTo>
                    <a:pt x="77143" y="97912"/>
                    <a:pt x="103846" y="145385"/>
                    <a:pt x="94945" y="186923"/>
                  </a:cubicBezTo>
                  <a:cubicBezTo>
                    <a:pt x="86044" y="222527"/>
                    <a:pt x="100879" y="261099"/>
                    <a:pt x="115714" y="278901"/>
                  </a:cubicBezTo>
                  <a:cubicBezTo>
                    <a:pt x="118681" y="281868"/>
                    <a:pt x="118681" y="284835"/>
                    <a:pt x="115714" y="287802"/>
                  </a:cubicBezTo>
                  <a:cubicBezTo>
                    <a:pt x="109780" y="284835"/>
                    <a:pt x="109780" y="284835"/>
                    <a:pt x="109780" y="284835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DA99BD47-B5E3-4E21-9795-CD0B8B7A2BD1}"/>
                </a:ext>
              </a:extLst>
            </p:cNvPr>
            <p:cNvSpPr/>
            <p:nvPr/>
          </p:nvSpPr>
          <p:spPr>
            <a:xfrm>
              <a:off x="8154942" y="3461306"/>
              <a:ext cx="26540" cy="97912"/>
            </a:xfrm>
            <a:custGeom>
              <a:avLst/>
              <a:gdLst>
                <a:gd name="connsiteX0" fmla="*/ 8159 w 26540"/>
                <a:gd name="connsiteY0" fmla="*/ 97912 h 97912"/>
                <a:gd name="connsiteX1" fmla="*/ 2225 w 26540"/>
                <a:gd name="connsiteY1" fmla="*/ 94945 h 97912"/>
                <a:gd name="connsiteX2" fmla="*/ 2225 w 26540"/>
                <a:gd name="connsiteY2" fmla="*/ 86044 h 97912"/>
                <a:gd name="connsiteX3" fmla="*/ 11126 w 26540"/>
                <a:gd name="connsiteY3" fmla="*/ 5934 h 97912"/>
                <a:gd name="connsiteX4" fmla="*/ 14093 w 26540"/>
                <a:gd name="connsiteY4" fmla="*/ 0 h 97912"/>
                <a:gd name="connsiteX5" fmla="*/ 20027 w 26540"/>
                <a:gd name="connsiteY5" fmla="*/ 2967 h 97912"/>
                <a:gd name="connsiteX6" fmla="*/ 8159 w 26540"/>
                <a:gd name="connsiteY6" fmla="*/ 97912 h 97912"/>
                <a:gd name="connsiteX7" fmla="*/ 8159 w 26540"/>
                <a:gd name="connsiteY7" fmla="*/ 97912 h 97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540" h="97912">
                  <a:moveTo>
                    <a:pt x="8159" y="97912"/>
                  </a:moveTo>
                  <a:cubicBezTo>
                    <a:pt x="5192" y="97912"/>
                    <a:pt x="5192" y="97912"/>
                    <a:pt x="2225" y="94945"/>
                  </a:cubicBezTo>
                  <a:cubicBezTo>
                    <a:pt x="-742" y="91978"/>
                    <a:pt x="-742" y="89011"/>
                    <a:pt x="2225" y="86044"/>
                  </a:cubicBezTo>
                  <a:cubicBezTo>
                    <a:pt x="28929" y="65275"/>
                    <a:pt x="11126" y="5934"/>
                    <a:pt x="11126" y="5934"/>
                  </a:cubicBezTo>
                  <a:cubicBezTo>
                    <a:pt x="11126" y="2967"/>
                    <a:pt x="11126" y="0"/>
                    <a:pt x="14093" y="0"/>
                  </a:cubicBezTo>
                  <a:cubicBezTo>
                    <a:pt x="17061" y="0"/>
                    <a:pt x="20027" y="0"/>
                    <a:pt x="20027" y="2967"/>
                  </a:cubicBezTo>
                  <a:cubicBezTo>
                    <a:pt x="20027" y="5934"/>
                    <a:pt x="40796" y="71209"/>
                    <a:pt x="8159" y="97912"/>
                  </a:cubicBezTo>
                  <a:cubicBezTo>
                    <a:pt x="11126" y="97912"/>
                    <a:pt x="8159" y="97912"/>
                    <a:pt x="8159" y="97912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420FA2B9-4D88-4D4D-821D-1802488009D8}"/>
                </a:ext>
              </a:extLst>
            </p:cNvPr>
            <p:cNvSpPr/>
            <p:nvPr/>
          </p:nvSpPr>
          <p:spPr>
            <a:xfrm>
              <a:off x="7356811" y="3071306"/>
              <a:ext cx="65851" cy="235714"/>
            </a:xfrm>
            <a:custGeom>
              <a:avLst/>
              <a:gdLst>
                <a:gd name="connsiteX0" fmla="*/ 5192 w 65851"/>
                <a:gd name="connsiteY0" fmla="*/ 235714 h 235714"/>
                <a:gd name="connsiteX1" fmla="*/ 2225 w 65851"/>
                <a:gd name="connsiteY1" fmla="*/ 232747 h 235714"/>
                <a:gd name="connsiteX2" fmla="*/ 2225 w 65851"/>
                <a:gd name="connsiteY2" fmla="*/ 223846 h 235714"/>
                <a:gd name="connsiteX3" fmla="*/ 14093 w 65851"/>
                <a:gd name="connsiteY3" fmla="*/ 90330 h 235714"/>
                <a:gd name="connsiteX4" fmla="*/ 55632 w 65851"/>
                <a:gd name="connsiteY4" fmla="*/ 1319 h 235714"/>
                <a:gd name="connsiteX5" fmla="*/ 64533 w 65851"/>
                <a:gd name="connsiteY5" fmla="*/ 1319 h 235714"/>
                <a:gd name="connsiteX6" fmla="*/ 64533 w 65851"/>
                <a:gd name="connsiteY6" fmla="*/ 10220 h 235714"/>
                <a:gd name="connsiteX7" fmla="*/ 28929 w 65851"/>
                <a:gd name="connsiteY7" fmla="*/ 87363 h 235714"/>
                <a:gd name="connsiteX8" fmla="*/ 14093 w 65851"/>
                <a:gd name="connsiteY8" fmla="*/ 229780 h 235714"/>
                <a:gd name="connsiteX9" fmla="*/ 5192 w 65851"/>
                <a:gd name="connsiteY9" fmla="*/ 235714 h 23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5851" h="235714">
                  <a:moveTo>
                    <a:pt x="5192" y="235714"/>
                  </a:moveTo>
                  <a:cubicBezTo>
                    <a:pt x="2225" y="235714"/>
                    <a:pt x="2225" y="235714"/>
                    <a:pt x="2225" y="232747"/>
                  </a:cubicBezTo>
                  <a:cubicBezTo>
                    <a:pt x="-742" y="229780"/>
                    <a:pt x="-742" y="226813"/>
                    <a:pt x="2225" y="223846"/>
                  </a:cubicBezTo>
                  <a:cubicBezTo>
                    <a:pt x="31895" y="200110"/>
                    <a:pt x="25961" y="143736"/>
                    <a:pt x="14093" y="90330"/>
                  </a:cubicBezTo>
                  <a:cubicBezTo>
                    <a:pt x="2225" y="39890"/>
                    <a:pt x="52665" y="1319"/>
                    <a:pt x="55632" y="1319"/>
                  </a:cubicBezTo>
                  <a:cubicBezTo>
                    <a:pt x="58599" y="-1648"/>
                    <a:pt x="61566" y="1319"/>
                    <a:pt x="64533" y="1319"/>
                  </a:cubicBezTo>
                  <a:cubicBezTo>
                    <a:pt x="67500" y="4286"/>
                    <a:pt x="64533" y="7253"/>
                    <a:pt x="64533" y="10220"/>
                  </a:cubicBezTo>
                  <a:cubicBezTo>
                    <a:pt x="64533" y="10220"/>
                    <a:pt x="20027" y="45824"/>
                    <a:pt x="28929" y="87363"/>
                  </a:cubicBezTo>
                  <a:cubicBezTo>
                    <a:pt x="40797" y="143736"/>
                    <a:pt x="46731" y="203077"/>
                    <a:pt x="14093" y="229780"/>
                  </a:cubicBezTo>
                  <a:cubicBezTo>
                    <a:pt x="8159" y="235714"/>
                    <a:pt x="5192" y="235714"/>
                    <a:pt x="5192" y="235714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AB27D5F0-EA98-41ED-B19F-C172F9674409}"/>
                </a:ext>
              </a:extLst>
            </p:cNvPr>
            <p:cNvSpPr/>
            <p:nvPr/>
          </p:nvSpPr>
          <p:spPr>
            <a:xfrm>
              <a:off x="7411124" y="3253613"/>
              <a:ext cx="58204" cy="115714"/>
            </a:xfrm>
            <a:custGeom>
              <a:avLst/>
              <a:gdLst>
                <a:gd name="connsiteX0" fmla="*/ 4286 w 58204"/>
                <a:gd name="connsiteY0" fmla="*/ 115714 h 115714"/>
                <a:gd name="connsiteX1" fmla="*/ 1319 w 58204"/>
                <a:gd name="connsiteY1" fmla="*/ 112747 h 115714"/>
                <a:gd name="connsiteX2" fmla="*/ 1319 w 58204"/>
                <a:gd name="connsiteY2" fmla="*/ 103846 h 115714"/>
                <a:gd name="connsiteX3" fmla="*/ 45824 w 58204"/>
                <a:gd name="connsiteY3" fmla="*/ 5934 h 115714"/>
                <a:gd name="connsiteX4" fmla="*/ 51758 w 58204"/>
                <a:gd name="connsiteY4" fmla="*/ 0 h 115714"/>
                <a:gd name="connsiteX5" fmla="*/ 57692 w 58204"/>
                <a:gd name="connsiteY5" fmla="*/ 5934 h 115714"/>
                <a:gd name="connsiteX6" fmla="*/ 10220 w 58204"/>
                <a:gd name="connsiteY6" fmla="*/ 112747 h 115714"/>
                <a:gd name="connsiteX7" fmla="*/ 4286 w 58204"/>
                <a:gd name="connsiteY7" fmla="*/ 115714 h 11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204" h="115714">
                  <a:moveTo>
                    <a:pt x="4286" y="115714"/>
                  </a:moveTo>
                  <a:cubicBezTo>
                    <a:pt x="1319" y="115714"/>
                    <a:pt x="1319" y="115714"/>
                    <a:pt x="1319" y="112747"/>
                  </a:cubicBezTo>
                  <a:cubicBezTo>
                    <a:pt x="-1648" y="109780"/>
                    <a:pt x="1319" y="106813"/>
                    <a:pt x="1319" y="103846"/>
                  </a:cubicBezTo>
                  <a:cubicBezTo>
                    <a:pt x="51758" y="68242"/>
                    <a:pt x="45824" y="8901"/>
                    <a:pt x="45824" y="5934"/>
                  </a:cubicBezTo>
                  <a:cubicBezTo>
                    <a:pt x="45824" y="2967"/>
                    <a:pt x="48791" y="0"/>
                    <a:pt x="51758" y="0"/>
                  </a:cubicBezTo>
                  <a:cubicBezTo>
                    <a:pt x="54725" y="0"/>
                    <a:pt x="57692" y="2967"/>
                    <a:pt x="57692" y="5934"/>
                  </a:cubicBezTo>
                  <a:cubicBezTo>
                    <a:pt x="57692" y="8901"/>
                    <a:pt x="66593" y="71209"/>
                    <a:pt x="10220" y="112747"/>
                  </a:cubicBezTo>
                  <a:cubicBezTo>
                    <a:pt x="4286" y="115714"/>
                    <a:pt x="4286" y="115714"/>
                    <a:pt x="4286" y="115714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2" name="图形 1">
              <a:extLst>
                <a:ext uri="{FF2B5EF4-FFF2-40B4-BE49-F238E27FC236}">
                  <a16:creationId xmlns:a16="http://schemas.microsoft.com/office/drawing/2014/main" id="{ADD2E898-993B-44F3-84A5-F2BDA22004B6}"/>
                </a:ext>
              </a:extLst>
            </p:cNvPr>
            <p:cNvGrpSpPr/>
            <p:nvPr/>
          </p:nvGrpSpPr>
          <p:grpSpPr>
            <a:xfrm>
              <a:off x="6976289" y="4298009"/>
              <a:ext cx="1622966" cy="1608222"/>
              <a:chOff x="6976289" y="4298009"/>
              <a:chExt cx="1622966" cy="1608222"/>
            </a:xfrm>
          </p:grpSpPr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86AA4FA3-4E67-4140-B21D-98C6E90BB382}"/>
                  </a:ext>
                </a:extLst>
              </p:cNvPr>
              <p:cNvSpPr/>
              <p:nvPr/>
            </p:nvSpPr>
            <p:spPr>
              <a:xfrm>
                <a:off x="6976289" y="4298009"/>
                <a:ext cx="1622966" cy="1608222"/>
              </a:xfrm>
              <a:custGeom>
                <a:avLst/>
                <a:gdLst>
                  <a:gd name="connsiteX0" fmla="*/ 1622967 w 1622966"/>
                  <a:gd name="connsiteY0" fmla="*/ 1350000 h 1608222"/>
                  <a:gd name="connsiteX1" fmla="*/ 1590329 w 1622966"/>
                  <a:gd name="connsiteY1" fmla="*/ 1376703 h 1608222"/>
                  <a:gd name="connsiteX2" fmla="*/ 0 w 1622966"/>
                  <a:gd name="connsiteY2" fmla="*/ 1528022 h 1608222"/>
                  <a:gd name="connsiteX3" fmla="*/ 139450 w 1622966"/>
                  <a:gd name="connsiteY3" fmla="*/ 1234286 h 1608222"/>
                  <a:gd name="connsiteX4" fmla="*/ 148352 w 1622966"/>
                  <a:gd name="connsiteY4" fmla="*/ 1207582 h 1608222"/>
                  <a:gd name="connsiteX5" fmla="*/ 231429 w 1622966"/>
                  <a:gd name="connsiteY5" fmla="*/ 925714 h 1608222"/>
                  <a:gd name="connsiteX6" fmla="*/ 237363 w 1622966"/>
                  <a:gd name="connsiteY6" fmla="*/ 896044 h 1608222"/>
                  <a:gd name="connsiteX7" fmla="*/ 278901 w 1622966"/>
                  <a:gd name="connsiteY7" fmla="*/ 542967 h 1608222"/>
                  <a:gd name="connsiteX8" fmla="*/ 278901 w 1622966"/>
                  <a:gd name="connsiteY8" fmla="*/ 513297 h 1608222"/>
                  <a:gd name="connsiteX9" fmla="*/ 281868 w 1622966"/>
                  <a:gd name="connsiteY9" fmla="*/ 448022 h 1608222"/>
                  <a:gd name="connsiteX10" fmla="*/ 326374 w 1622966"/>
                  <a:gd name="connsiteY10" fmla="*/ 198791 h 1608222"/>
                  <a:gd name="connsiteX11" fmla="*/ 335275 w 1622966"/>
                  <a:gd name="connsiteY11" fmla="*/ 169121 h 1608222"/>
                  <a:gd name="connsiteX12" fmla="*/ 394615 w 1622966"/>
                  <a:gd name="connsiteY12" fmla="*/ 17802 h 1608222"/>
                  <a:gd name="connsiteX13" fmla="*/ 1047363 w 1622966"/>
                  <a:gd name="connsiteY13" fmla="*/ 0 h 1608222"/>
                  <a:gd name="connsiteX14" fmla="*/ 1118571 w 1622966"/>
                  <a:gd name="connsiteY14" fmla="*/ 100879 h 1608222"/>
                  <a:gd name="connsiteX15" fmla="*/ 1133407 w 1622966"/>
                  <a:gd name="connsiteY15" fmla="*/ 124615 h 1608222"/>
                  <a:gd name="connsiteX16" fmla="*/ 1133407 w 1622966"/>
                  <a:gd name="connsiteY16" fmla="*/ 124615 h 1608222"/>
                  <a:gd name="connsiteX17" fmla="*/ 1293626 w 1622966"/>
                  <a:gd name="connsiteY17" fmla="*/ 450989 h 1608222"/>
                  <a:gd name="connsiteX18" fmla="*/ 1305495 w 1622966"/>
                  <a:gd name="connsiteY18" fmla="*/ 477692 h 1608222"/>
                  <a:gd name="connsiteX19" fmla="*/ 1441978 w 1622966"/>
                  <a:gd name="connsiteY19" fmla="*/ 866374 h 1608222"/>
                  <a:gd name="connsiteX20" fmla="*/ 1450879 w 1622966"/>
                  <a:gd name="connsiteY20" fmla="*/ 896044 h 1608222"/>
                  <a:gd name="connsiteX21" fmla="*/ 1617033 w 1622966"/>
                  <a:gd name="connsiteY21" fmla="*/ 1341099 h 1608222"/>
                  <a:gd name="connsiteX22" fmla="*/ 1617033 w 1622966"/>
                  <a:gd name="connsiteY22" fmla="*/ 1341099 h 1608222"/>
                  <a:gd name="connsiteX23" fmla="*/ 1622967 w 1622966"/>
                  <a:gd name="connsiteY23" fmla="*/ 1350000 h 1608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22966" h="1608222">
                    <a:moveTo>
                      <a:pt x="1622967" y="1350000"/>
                    </a:moveTo>
                    <a:cubicBezTo>
                      <a:pt x="1611099" y="1358901"/>
                      <a:pt x="1599231" y="1367802"/>
                      <a:pt x="1590329" y="1376703"/>
                    </a:cubicBezTo>
                    <a:cubicBezTo>
                      <a:pt x="1228352" y="1634835"/>
                      <a:pt x="569670" y="1664506"/>
                      <a:pt x="0" y="1528022"/>
                    </a:cubicBezTo>
                    <a:cubicBezTo>
                      <a:pt x="59341" y="1424176"/>
                      <a:pt x="103846" y="1326264"/>
                      <a:pt x="139450" y="1234286"/>
                    </a:cubicBezTo>
                    <a:cubicBezTo>
                      <a:pt x="142418" y="1225385"/>
                      <a:pt x="145384" y="1216484"/>
                      <a:pt x="148352" y="1207582"/>
                    </a:cubicBezTo>
                    <a:cubicBezTo>
                      <a:pt x="186923" y="1106703"/>
                      <a:pt x="213626" y="1011758"/>
                      <a:pt x="231429" y="925714"/>
                    </a:cubicBezTo>
                    <a:cubicBezTo>
                      <a:pt x="234395" y="916813"/>
                      <a:pt x="237363" y="904945"/>
                      <a:pt x="237363" y="896044"/>
                    </a:cubicBezTo>
                    <a:cubicBezTo>
                      <a:pt x="267033" y="753626"/>
                      <a:pt x="275934" y="637912"/>
                      <a:pt x="278901" y="542967"/>
                    </a:cubicBezTo>
                    <a:cubicBezTo>
                      <a:pt x="278901" y="531099"/>
                      <a:pt x="278901" y="522198"/>
                      <a:pt x="278901" y="513297"/>
                    </a:cubicBezTo>
                    <a:cubicBezTo>
                      <a:pt x="278901" y="489560"/>
                      <a:pt x="281868" y="468791"/>
                      <a:pt x="281868" y="448022"/>
                    </a:cubicBezTo>
                    <a:cubicBezTo>
                      <a:pt x="287802" y="359011"/>
                      <a:pt x="305605" y="270000"/>
                      <a:pt x="326374" y="198791"/>
                    </a:cubicBezTo>
                    <a:cubicBezTo>
                      <a:pt x="329340" y="189890"/>
                      <a:pt x="332308" y="178022"/>
                      <a:pt x="335275" y="169121"/>
                    </a:cubicBezTo>
                    <a:cubicBezTo>
                      <a:pt x="364945" y="68242"/>
                      <a:pt x="394615" y="17802"/>
                      <a:pt x="394615" y="17802"/>
                    </a:cubicBezTo>
                    <a:cubicBezTo>
                      <a:pt x="394615" y="17802"/>
                      <a:pt x="676484" y="38572"/>
                      <a:pt x="1047363" y="0"/>
                    </a:cubicBezTo>
                    <a:cubicBezTo>
                      <a:pt x="1071099" y="32637"/>
                      <a:pt x="1094835" y="65275"/>
                      <a:pt x="1118571" y="100879"/>
                    </a:cubicBezTo>
                    <a:cubicBezTo>
                      <a:pt x="1124505" y="109780"/>
                      <a:pt x="1130439" y="118681"/>
                      <a:pt x="1133407" y="124615"/>
                    </a:cubicBezTo>
                    <a:lnTo>
                      <a:pt x="1133407" y="124615"/>
                    </a:lnTo>
                    <a:cubicBezTo>
                      <a:pt x="1192747" y="222527"/>
                      <a:pt x="1246154" y="335275"/>
                      <a:pt x="1293626" y="450989"/>
                    </a:cubicBezTo>
                    <a:cubicBezTo>
                      <a:pt x="1296593" y="459890"/>
                      <a:pt x="1299561" y="468791"/>
                      <a:pt x="1305495" y="477692"/>
                    </a:cubicBezTo>
                    <a:cubicBezTo>
                      <a:pt x="1355934" y="605275"/>
                      <a:pt x="1397472" y="735824"/>
                      <a:pt x="1441978" y="866374"/>
                    </a:cubicBezTo>
                    <a:cubicBezTo>
                      <a:pt x="1444945" y="875275"/>
                      <a:pt x="1447912" y="884176"/>
                      <a:pt x="1450879" y="896044"/>
                    </a:cubicBezTo>
                    <a:cubicBezTo>
                      <a:pt x="1504286" y="1053297"/>
                      <a:pt x="1554725" y="1207582"/>
                      <a:pt x="1617033" y="1341099"/>
                    </a:cubicBezTo>
                    <a:lnTo>
                      <a:pt x="1617033" y="1341099"/>
                    </a:lnTo>
                    <a:cubicBezTo>
                      <a:pt x="1620000" y="1344066"/>
                      <a:pt x="1622967" y="1347033"/>
                      <a:pt x="1622967" y="135000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265DE97E-C7E2-404A-B687-5ED707F09028}"/>
                  </a:ext>
                </a:extLst>
              </p:cNvPr>
              <p:cNvSpPr/>
              <p:nvPr/>
            </p:nvSpPr>
            <p:spPr>
              <a:xfrm>
                <a:off x="7308596" y="4395921"/>
                <a:ext cx="807032" cy="137444"/>
              </a:xfrm>
              <a:custGeom>
                <a:avLst/>
                <a:gdLst>
                  <a:gd name="connsiteX0" fmla="*/ 807033 w 807032"/>
                  <a:gd name="connsiteY0" fmla="*/ 23736 h 137444"/>
                  <a:gd name="connsiteX1" fmla="*/ 424286 w 807032"/>
                  <a:gd name="connsiteY1" fmla="*/ 130549 h 137444"/>
                  <a:gd name="connsiteX2" fmla="*/ 0 w 807032"/>
                  <a:gd name="connsiteY2" fmla="*/ 97912 h 137444"/>
                  <a:gd name="connsiteX3" fmla="*/ 8901 w 807032"/>
                  <a:gd name="connsiteY3" fmla="*/ 68242 h 137444"/>
                  <a:gd name="connsiteX4" fmla="*/ 400549 w 807032"/>
                  <a:gd name="connsiteY4" fmla="*/ 103846 h 137444"/>
                  <a:gd name="connsiteX5" fmla="*/ 792198 w 807032"/>
                  <a:gd name="connsiteY5" fmla="*/ 0 h 137444"/>
                  <a:gd name="connsiteX6" fmla="*/ 807033 w 807032"/>
                  <a:gd name="connsiteY6" fmla="*/ 23736 h 137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07032" h="137444">
                    <a:moveTo>
                      <a:pt x="807033" y="23736"/>
                    </a:moveTo>
                    <a:cubicBezTo>
                      <a:pt x="694286" y="97912"/>
                      <a:pt x="557802" y="121648"/>
                      <a:pt x="424286" y="130549"/>
                    </a:cubicBezTo>
                    <a:cubicBezTo>
                      <a:pt x="284835" y="139450"/>
                      <a:pt x="133516" y="148352"/>
                      <a:pt x="0" y="97912"/>
                    </a:cubicBezTo>
                    <a:cubicBezTo>
                      <a:pt x="2967" y="89011"/>
                      <a:pt x="5934" y="77143"/>
                      <a:pt x="8901" y="68242"/>
                    </a:cubicBezTo>
                    <a:cubicBezTo>
                      <a:pt x="130549" y="115714"/>
                      <a:pt x="270000" y="109780"/>
                      <a:pt x="400549" y="103846"/>
                    </a:cubicBezTo>
                    <a:cubicBezTo>
                      <a:pt x="537033" y="94945"/>
                      <a:pt x="676484" y="74176"/>
                      <a:pt x="792198" y="0"/>
                    </a:cubicBezTo>
                    <a:cubicBezTo>
                      <a:pt x="798132" y="8901"/>
                      <a:pt x="801099" y="17802"/>
                      <a:pt x="807033" y="23736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FB48AC51-D612-4819-92B2-6B9DA1CDF504}"/>
                  </a:ext>
                </a:extLst>
              </p:cNvPr>
              <p:cNvSpPr/>
              <p:nvPr/>
            </p:nvSpPr>
            <p:spPr>
              <a:xfrm>
                <a:off x="7258157" y="4751965"/>
                <a:ext cx="1026593" cy="134340"/>
              </a:xfrm>
              <a:custGeom>
                <a:avLst/>
                <a:gdLst>
                  <a:gd name="connsiteX0" fmla="*/ 1026593 w 1026593"/>
                  <a:gd name="connsiteY0" fmla="*/ 23736 h 134340"/>
                  <a:gd name="connsiteX1" fmla="*/ 453956 w 1026593"/>
                  <a:gd name="connsiteY1" fmla="*/ 133516 h 134340"/>
                  <a:gd name="connsiteX2" fmla="*/ 0 w 1026593"/>
                  <a:gd name="connsiteY2" fmla="*/ 89011 h 134340"/>
                  <a:gd name="connsiteX3" fmla="*/ 0 w 1026593"/>
                  <a:gd name="connsiteY3" fmla="*/ 59341 h 134340"/>
                  <a:gd name="connsiteX4" fmla="*/ 453956 w 1026593"/>
                  <a:gd name="connsiteY4" fmla="*/ 106813 h 134340"/>
                  <a:gd name="connsiteX5" fmla="*/ 1014725 w 1026593"/>
                  <a:gd name="connsiteY5" fmla="*/ 0 h 134340"/>
                  <a:gd name="connsiteX6" fmla="*/ 1026593 w 1026593"/>
                  <a:gd name="connsiteY6" fmla="*/ 23736 h 134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6593" h="134340">
                    <a:moveTo>
                      <a:pt x="1026593" y="23736"/>
                    </a:moveTo>
                    <a:cubicBezTo>
                      <a:pt x="845604" y="97912"/>
                      <a:pt x="649780" y="130549"/>
                      <a:pt x="453956" y="133516"/>
                    </a:cubicBezTo>
                    <a:cubicBezTo>
                      <a:pt x="305605" y="136483"/>
                      <a:pt x="145384" y="133516"/>
                      <a:pt x="0" y="89011"/>
                    </a:cubicBezTo>
                    <a:cubicBezTo>
                      <a:pt x="0" y="77143"/>
                      <a:pt x="0" y="68242"/>
                      <a:pt x="0" y="59341"/>
                    </a:cubicBezTo>
                    <a:cubicBezTo>
                      <a:pt x="145384" y="103846"/>
                      <a:pt x="305605" y="106813"/>
                      <a:pt x="453956" y="106813"/>
                    </a:cubicBezTo>
                    <a:cubicBezTo>
                      <a:pt x="646813" y="103846"/>
                      <a:pt x="836703" y="71209"/>
                      <a:pt x="1014725" y="0"/>
                    </a:cubicBezTo>
                    <a:cubicBezTo>
                      <a:pt x="1020659" y="5934"/>
                      <a:pt x="1023626" y="14835"/>
                      <a:pt x="1026593" y="23736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5866832B-95FA-4DBD-822D-C640A259CB01}"/>
                  </a:ext>
                </a:extLst>
              </p:cNvPr>
              <p:cNvSpPr/>
              <p:nvPr/>
            </p:nvSpPr>
            <p:spPr>
              <a:xfrm>
                <a:off x="7210684" y="5161415"/>
                <a:ext cx="1219450" cy="147275"/>
              </a:xfrm>
              <a:custGeom>
                <a:avLst/>
                <a:gdLst>
                  <a:gd name="connsiteX0" fmla="*/ 1219451 w 1219450"/>
                  <a:gd name="connsiteY0" fmla="*/ 29670 h 147275"/>
                  <a:gd name="connsiteX1" fmla="*/ 643846 w 1219450"/>
                  <a:gd name="connsiteY1" fmla="*/ 145385 h 147275"/>
                  <a:gd name="connsiteX2" fmla="*/ 0 w 1219450"/>
                  <a:gd name="connsiteY2" fmla="*/ 59341 h 147275"/>
                  <a:gd name="connsiteX3" fmla="*/ 5934 w 1219450"/>
                  <a:gd name="connsiteY3" fmla="*/ 29670 h 147275"/>
                  <a:gd name="connsiteX4" fmla="*/ 614176 w 1219450"/>
                  <a:gd name="connsiteY4" fmla="*/ 115714 h 147275"/>
                  <a:gd name="connsiteX5" fmla="*/ 1210550 w 1219450"/>
                  <a:gd name="connsiteY5" fmla="*/ 0 h 147275"/>
                  <a:gd name="connsiteX6" fmla="*/ 1219451 w 1219450"/>
                  <a:gd name="connsiteY6" fmla="*/ 29670 h 147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19450" h="147275">
                    <a:moveTo>
                      <a:pt x="1219451" y="29670"/>
                    </a:moveTo>
                    <a:cubicBezTo>
                      <a:pt x="1044396" y="118681"/>
                      <a:pt x="839670" y="139451"/>
                      <a:pt x="643846" y="145385"/>
                    </a:cubicBezTo>
                    <a:cubicBezTo>
                      <a:pt x="424286" y="151319"/>
                      <a:pt x="198791" y="148352"/>
                      <a:pt x="0" y="59341"/>
                    </a:cubicBezTo>
                    <a:cubicBezTo>
                      <a:pt x="2967" y="50440"/>
                      <a:pt x="5934" y="38572"/>
                      <a:pt x="5934" y="29670"/>
                    </a:cubicBezTo>
                    <a:cubicBezTo>
                      <a:pt x="192857" y="115714"/>
                      <a:pt x="406483" y="121648"/>
                      <a:pt x="614176" y="115714"/>
                    </a:cubicBezTo>
                    <a:cubicBezTo>
                      <a:pt x="818901" y="109780"/>
                      <a:pt x="1029560" y="94945"/>
                      <a:pt x="1210550" y="0"/>
                    </a:cubicBezTo>
                    <a:cubicBezTo>
                      <a:pt x="1213517" y="11868"/>
                      <a:pt x="1216484" y="20769"/>
                      <a:pt x="1219451" y="2967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920E7D26-549A-4C2D-B8EE-3707F7EA2B0C}"/>
                  </a:ext>
                </a:extLst>
              </p:cNvPr>
              <p:cNvSpPr/>
              <p:nvPr/>
            </p:nvSpPr>
            <p:spPr>
              <a:xfrm>
                <a:off x="7115739" y="5505591"/>
                <a:ext cx="1483516" cy="198100"/>
              </a:xfrm>
              <a:custGeom>
                <a:avLst/>
                <a:gdLst>
                  <a:gd name="connsiteX0" fmla="*/ 1483517 w 1483516"/>
                  <a:gd name="connsiteY0" fmla="*/ 142418 h 198100"/>
                  <a:gd name="connsiteX1" fmla="*/ 1450879 w 1483516"/>
                  <a:gd name="connsiteY1" fmla="*/ 169121 h 198100"/>
                  <a:gd name="connsiteX2" fmla="*/ 718022 w 1483516"/>
                  <a:gd name="connsiteY2" fmla="*/ 178022 h 198100"/>
                  <a:gd name="connsiteX3" fmla="*/ 0 w 1483516"/>
                  <a:gd name="connsiteY3" fmla="*/ 26704 h 198100"/>
                  <a:gd name="connsiteX4" fmla="*/ 8901 w 1483516"/>
                  <a:gd name="connsiteY4" fmla="*/ 0 h 198100"/>
                  <a:gd name="connsiteX5" fmla="*/ 744725 w 1483516"/>
                  <a:gd name="connsiteY5" fmla="*/ 151319 h 198100"/>
                  <a:gd name="connsiteX6" fmla="*/ 1477583 w 1483516"/>
                  <a:gd name="connsiteY6" fmla="*/ 133516 h 198100"/>
                  <a:gd name="connsiteX7" fmla="*/ 1483517 w 1483516"/>
                  <a:gd name="connsiteY7" fmla="*/ 142418 h 19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83516" h="198100">
                    <a:moveTo>
                      <a:pt x="1483517" y="142418"/>
                    </a:moveTo>
                    <a:cubicBezTo>
                      <a:pt x="1471649" y="151319"/>
                      <a:pt x="1459780" y="160220"/>
                      <a:pt x="1450879" y="169121"/>
                    </a:cubicBezTo>
                    <a:cubicBezTo>
                      <a:pt x="1210550" y="207692"/>
                      <a:pt x="964286" y="204726"/>
                      <a:pt x="718022" y="178022"/>
                    </a:cubicBezTo>
                    <a:cubicBezTo>
                      <a:pt x="474725" y="151319"/>
                      <a:pt x="228461" y="115715"/>
                      <a:pt x="0" y="26704"/>
                    </a:cubicBezTo>
                    <a:cubicBezTo>
                      <a:pt x="2967" y="17802"/>
                      <a:pt x="5934" y="8901"/>
                      <a:pt x="8901" y="0"/>
                    </a:cubicBezTo>
                    <a:cubicBezTo>
                      <a:pt x="243297" y="91978"/>
                      <a:pt x="495494" y="124615"/>
                      <a:pt x="744725" y="151319"/>
                    </a:cubicBezTo>
                    <a:cubicBezTo>
                      <a:pt x="993956" y="178022"/>
                      <a:pt x="1237253" y="178022"/>
                      <a:pt x="1477583" y="133516"/>
                    </a:cubicBezTo>
                    <a:cubicBezTo>
                      <a:pt x="1480549" y="136484"/>
                      <a:pt x="1483517" y="139450"/>
                      <a:pt x="1483517" y="14241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8" name="图形 1">
              <a:extLst>
                <a:ext uri="{FF2B5EF4-FFF2-40B4-BE49-F238E27FC236}">
                  <a16:creationId xmlns:a16="http://schemas.microsoft.com/office/drawing/2014/main" id="{ADD2E898-993B-44F3-84A5-F2BDA22004B6}"/>
                </a:ext>
              </a:extLst>
            </p:cNvPr>
            <p:cNvGrpSpPr/>
            <p:nvPr/>
          </p:nvGrpSpPr>
          <p:grpSpPr>
            <a:xfrm>
              <a:off x="7551893" y="2434712"/>
              <a:ext cx="320439" cy="398636"/>
              <a:chOff x="7551893" y="2434712"/>
              <a:chExt cx="320439" cy="398636"/>
            </a:xfrm>
          </p:grpSpPr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E00FEC55-4015-4854-8067-2F95FC2BE4BD}"/>
                  </a:ext>
                </a:extLst>
              </p:cNvPr>
              <p:cNvSpPr/>
              <p:nvPr/>
            </p:nvSpPr>
            <p:spPr>
              <a:xfrm>
                <a:off x="7551893" y="2434712"/>
                <a:ext cx="320439" cy="398636"/>
              </a:xfrm>
              <a:custGeom>
                <a:avLst/>
                <a:gdLst>
                  <a:gd name="connsiteX0" fmla="*/ 0 w 320439"/>
                  <a:gd name="connsiteY0" fmla="*/ 350110 h 398636"/>
                  <a:gd name="connsiteX1" fmla="*/ 204726 w 320439"/>
                  <a:gd name="connsiteY1" fmla="*/ 0 h 398636"/>
                  <a:gd name="connsiteX2" fmla="*/ 320440 w 320439"/>
                  <a:gd name="connsiteY2" fmla="*/ 373846 h 398636"/>
                  <a:gd name="connsiteX3" fmla="*/ 0 w 320439"/>
                  <a:gd name="connsiteY3" fmla="*/ 350110 h 398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0439" h="398636">
                    <a:moveTo>
                      <a:pt x="0" y="350110"/>
                    </a:moveTo>
                    <a:lnTo>
                      <a:pt x="204726" y="0"/>
                    </a:lnTo>
                    <a:lnTo>
                      <a:pt x="320440" y="373846"/>
                    </a:lnTo>
                    <a:cubicBezTo>
                      <a:pt x="320440" y="370879"/>
                      <a:pt x="204726" y="445055"/>
                      <a:pt x="0" y="35011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FE9C4CBF-1B97-434C-9216-AD62C48ADAB6}"/>
                  </a:ext>
                </a:extLst>
              </p:cNvPr>
              <p:cNvSpPr/>
              <p:nvPr/>
            </p:nvSpPr>
            <p:spPr>
              <a:xfrm>
                <a:off x="7732977" y="2573308"/>
                <a:ext cx="30219" cy="29349"/>
              </a:xfrm>
              <a:custGeom>
                <a:avLst/>
                <a:gdLst>
                  <a:gd name="connsiteX0" fmla="*/ 20674 w 30219"/>
                  <a:gd name="connsiteY0" fmla="*/ 855 h 29349"/>
                  <a:gd name="connsiteX1" fmla="*/ 8806 w 30219"/>
                  <a:gd name="connsiteY1" fmla="*/ 27558 h 29349"/>
                  <a:gd name="connsiteX2" fmla="*/ 20674 w 30219"/>
                  <a:gd name="connsiteY2" fmla="*/ 855 h 29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219" h="29349">
                    <a:moveTo>
                      <a:pt x="20674" y="855"/>
                    </a:moveTo>
                    <a:cubicBezTo>
                      <a:pt x="2872" y="-5079"/>
                      <a:pt x="-8996" y="21624"/>
                      <a:pt x="8806" y="27558"/>
                    </a:cubicBezTo>
                    <a:cubicBezTo>
                      <a:pt x="29576" y="36459"/>
                      <a:pt x="38477" y="9756"/>
                      <a:pt x="20674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F8E0D853-EB1A-404D-8CAB-FCAA857B276F}"/>
                  </a:ext>
                </a:extLst>
              </p:cNvPr>
              <p:cNvSpPr/>
              <p:nvPr/>
            </p:nvSpPr>
            <p:spPr>
              <a:xfrm>
                <a:off x="7685504" y="2629682"/>
                <a:ext cx="29480" cy="29349"/>
              </a:xfrm>
              <a:custGeom>
                <a:avLst/>
                <a:gdLst>
                  <a:gd name="connsiteX0" fmla="*/ 20674 w 29480"/>
                  <a:gd name="connsiteY0" fmla="*/ 855 h 29349"/>
                  <a:gd name="connsiteX1" fmla="*/ 8806 w 29480"/>
                  <a:gd name="connsiteY1" fmla="*/ 27558 h 29349"/>
                  <a:gd name="connsiteX2" fmla="*/ 20674 w 29480"/>
                  <a:gd name="connsiteY2" fmla="*/ 855 h 29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480" h="29349">
                    <a:moveTo>
                      <a:pt x="20674" y="855"/>
                    </a:moveTo>
                    <a:cubicBezTo>
                      <a:pt x="2872" y="-5079"/>
                      <a:pt x="-8996" y="21624"/>
                      <a:pt x="8806" y="27558"/>
                    </a:cubicBezTo>
                    <a:cubicBezTo>
                      <a:pt x="26609" y="36459"/>
                      <a:pt x="38477" y="9756"/>
                      <a:pt x="20674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427876A0-87F6-4162-809D-DE078B684154}"/>
                  </a:ext>
                </a:extLst>
              </p:cNvPr>
              <p:cNvSpPr/>
              <p:nvPr/>
            </p:nvSpPr>
            <p:spPr>
              <a:xfrm>
                <a:off x="7765614" y="2694956"/>
                <a:ext cx="29480" cy="29349"/>
              </a:xfrm>
              <a:custGeom>
                <a:avLst/>
                <a:gdLst>
                  <a:gd name="connsiteX0" fmla="*/ 20675 w 29480"/>
                  <a:gd name="connsiteY0" fmla="*/ 855 h 29349"/>
                  <a:gd name="connsiteX1" fmla="*/ 8806 w 29480"/>
                  <a:gd name="connsiteY1" fmla="*/ 27558 h 29349"/>
                  <a:gd name="connsiteX2" fmla="*/ 20675 w 29480"/>
                  <a:gd name="connsiteY2" fmla="*/ 855 h 29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480" h="29349">
                    <a:moveTo>
                      <a:pt x="20675" y="855"/>
                    </a:moveTo>
                    <a:cubicBezTo>
                      <a:pt x="2872" y="-5079"/>
                      <a:pt x="-8996" y="21624"/>
                      <a:pt x="8806" y="27558"/>
                    </a:cubicBezTo>
                    <a:cubicBezTo>
                      <a:pt x="26609" y="36459"/>
                      <a:pt x="38476" y="9756"/>
                      <a:pt x="20675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05AA96A3-BDA6-4793-BCE0-8E70CB827227}"/>
                  </a:ext>
                </a:extLst>
              </p:cNvPr>
              <p:cNvSpPr/>
              <p:nvPr/>
            </p:nvSpPr>
            <p:spPr>
              <a:xfrm>
                <a:off x="7643966" y="2709792"/>
                <a:ext cx="30219" cy="28412"/>
              </a:xfrm>
              <a:custGeom>
                <a:avLst/>
                <a:gdLst>
                  <a:gd name="connsiteX0" fmla="*/ 20674 w 30219"/>
                  <a:gd name="connsiteY0" fmla="*/ 855 h 28412"/>
                  <a:gd name="connsiteX1" fmla="*/ 8806 w 30219"/>
                  <a:gd name="connsiteY1" fmla="*/ 27558 h 28412"/>
                  <a:gd name="connsiteX2" fmla="*/ 20674 w 30219"/>
                  <a:gd name="connsiteY2" fmla="*/ 855 h 28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219" h="28412">
                    <a:moveTo>
                      <a:pt x="20674" y="855"/>
                    </a:moveTo>
                    <a:cubicBezTo>
                      <a:pt x="2872" y="-5079"/>
                      <a:pt x="-8996" y="21624"/>
                      <a:pt x="8806" y="27558"/>
                    </a:cubicBezTo>
                    <a:cubicBezTo>
                      <a:pt x="29576" y="33492"/>
                      <a:pt x="38477" y="6789"/>
                      <a:pt x="20674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F70780E4-5295-4989-8531-0D3DF118C902}"/>
                  </a:ext>
                </a:extLst>
              </p:cNvPr>
              <p:cNvSpPr/>
              <p:nvPr/>
            </p:nvSpPr>
            <p:spPr>
              <a:xfrm>
                <a:off x="7709240" y="2769132"/>
                <a:ext cx="29480" cy="29349"/>
              </a:xfrm>
              <a:custGeom>
                <a:avLst/>
                <a:gdLst>
                  <a:gd name="connsiteX0" fmla="*/ 20674 w 29480"/>
                  <a:gd name="connsiteY0" fmla="*/ 855 h 29349"/>
                  <a:gd name="connsiteX1" fmla="*/ 8806 w 29480"/>
                  <a:gd name="connsiteY1" fmla="*/ 27558 h 29349"/>
                  <a:gd name="connsiteX2" fmla="*/ 20674 w 29480"/>
                  <a:gd name="connsiteY2" fmla="*/ 855 h 29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480" h="29349">
                    <a:moveTo>
                      <a:pt x="20674" y="855"/>
                    </a:moveTo>
                    <a:cubicBezTo>
                      <a:pt x="2872" y="-5079"/>
                      <a:pt x="-8996" y="21624"/>
                      <a:pt x="8806" y="27558"/>
                    </a:cubicBezTo>
                    <a:cubicBezTo>
                      <a:pt x="26608" y="36459"/>
                      <a:pt x="38477" y="9756"/>
                      <a:pt x="20674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2995DD6B-A36D-48D3-9E30-26BD9F71AEF8}"/>
                </a:ext>
              </a:extLst>
            </p:cNvPr>
            <p:cNvSpPr/>
            <p:nvPr/>
          </p:nvSpPr>
          <p:spPr>
            <a:xfrm>
              <a:off x="7370904" y="4259437"/>
              <a:ext cx="664615" cy="63599"/>
            </a:xfrm>
            <a:custGeom>
              <a:avLst/>
              <a:gdLst>
                <a:gd name="connsiteX0" fmla="*/ 664615 w 664615"/>
                <a:gd name="connsiteY0" fmla="*/ 41539 h 63599"/>
                <a:gd name="connsiteX1" fmla="*/ 5934 w 664615"/>
                <a:gd name="connsiteY1" fmla="*/ 56374 h 63599"/>
                <a:gd name="connsiteX2" fmla="*/ 0 w 664615"/>
                <a:gd name="connsiteY2" fmla="*/ 11868 h 63599"/>
                <a:gd name="connsiteX3" fmla="*/ 658681 w 664615"/>
                <a:gd name="connsiteY3" fmla="*/ 0 h 63599"/>
                <a:gd name="connsiteX4" fmla="*/ 664615 w 664615"/>
                <a:gd name="connsiteY4" fmla="*/ 41539 h 63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4615" h="63599">
                  <a:moveTo>
                    <a:pt x="664615" y="41539"/>
                  </a:moveTo>
                  <a:cubicBezTo>
                    <a:pt x="483626" y="80110"/>
                    <a:pt x="5934" y="56374"/>
                    <a:pt x="5934" y="56374"/>
                  </a:cubicBezTo>
                  <a:lnTo>
                    <a:pt x="0" y="11868"/>
                  </a:lnTo>
                  <a:cubicBezTo>
                    <a:pt x="0" y="11868"/>
                    <a:pt x="400549" y="38572"/>
                    <a:pt x="658681" y="0"/>
                  </a:cubicBezTo>
                  <a:lnTo>
                    <a:pt x="664615" y="41539"/>
                  </a:ln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CDF1006A-27DF-4364-8602-F8C4DE5D534C}"/>
                </a:ext>
              </a:extLst>
            </p:cNvPr>
            <p:cNvSpPr/>
            <p:nvPr/>
          </p:nvSpPr>
          <p:spPr>
            <a:xfrm>
              <a:off x="7962867" y="3461996"/>
              <a:ext cx="648501" cy="966562"/>
            </a:xfrm>
            <a:custGeom>
              <a:avLst/>
              <a:gdLst>
                <a:gd name="connsiteX0" fmla="*/ 149795 w 648501"/>
                <a:gd name="connsiteY0" fmla="*/ 14145 h 966562"/>
                <a:gd name="connsiteX1" fmla="*/ 57817 w 648501"/>
                <a:gd name="connsiteY1" fmla="*/ 242607 h 966562"/>
                <a:gd name="connsiteX2" fmla="*/ 458367 w 648501"/>
                <a:gd name="connsiteY2" fmla="*/ 497771 h 966562"/>
                <a:gd name="connsiteX3" fmla="*/ 425729 w 648501"/>
                <a:gd name="connsiteY3" fmla="*/ 942826 h 966562"/>
                <a:gd name="connsiteX4" fmla="*/ 550345 w 648501"/>
                <a:gd name="connsiteY4" fmla="*/ 966563 h 966562"/>
                <a:gd name="connsiteX5" fmla="*/ 648257 w 648501"/>
                <a:gd name="connsiteY5" fmla="*/ 411727 h 966562"/>
                <a:gd name="connsiteX6" fmla="*/ 149795 w 648501"/>
                <a:gd name="connsiteY6" fmla="*/ 14145 h 966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501" h="966562">
                  <a:moveTo>
                    <a:pt x="149795" y="14145"/>
                  </a:moveTo>
                  <a:cubicBezTo>
                    <a:pt x="-16359" y="-57064"/>
                    <a:pt x="-40095" y="159530"/>
                    <a:pt x="57817" y="242607"/>
                  </a:cubicBezTo>
                  <a:cubicBezTo>
                    <a:pt x="152762" y="325684"/>
                    <a:pt x="393092" y="450299"/>
                    <a:pt x="458367" y="497771"/>
                  </a:cubicBezTo>
                  <a:cubicBezTo>
                    <a:pt x="491004" y="583815"/>
                    <a:pt x="425729" y="942826"/>
                    <a:pt x="425729" y="942826"/>
                  </a:cubicBezTo>
                  <a:cubicBezTo>
                    <a:pt x="455399" y="948761"/>
                    <a:pt x="550345" y="966563"/>
                    <a:pt x="550345" y="966563"/>
                  </a:cubicBezTo>
                  <a:cubicBezTo>
                    <a:pt x="550345" y="966563"/>
                    <a:pt x="654191" y="542277"/>
                    <a:pt x="648257" y="411727"/>
                  </a:cubicBezTo>
                  <a:cubicBezTo>
                    <a:pt x="642323" y="346453"/>
                    <a:pt x="321883" y="88321"/>
                    <a:pt x="149795" y="14145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058B5A39-BC97-4D11-B513-DA00A2196649}"/>
                </a:ext>
              </a:extLst>
            </p:cNvPr>
            <p:cNvSpPr/>
            <p:nvPr/>
          </p:nvSpPr>
          <p:spPr>
            <a:xfrm>
              <a:off x="7884004" y="3408712"/>
              <a:ext cx="412614" cy="417538"/>
            </a:xfrm>
            <a:custGeom>
              <a:avLst/>
              <a:gdLst>
                <a:gd name="connsiteX0" fmla="*/ 412615 w 412614"/>
                <a:gd name="connsiteY0" fmla="*/ 117868 h 417538"/>
                <a:gd name="connsiteX1" fmla="*/ 29867 w 412614"/>
                <a:gd name="connsiteY1" fmla="*/ 22923 h 417538"/>
                <a:gd name="connsiteX2" fmla="*/ 201955 w 412614"/>
                <a:gd name="connsiteY2" fmla="*/ 417539 h 417538"/>
                <a:gd name="connsiteX3" fmla="*/ 412615 w 412614"/>
                <a:gd name="connsiteY3" fmla="*/ 117868 h 417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614" h="417538">
                  <a:moveTo>
                    <a:pt x="412615" y="117868"/>
                  </a:moveTo>
                  <a:cubicBezTo>
                    <a:pt x="279098" y="-813"/>
                    <a:pt x="92175" y="-24549"/>
                    <a:pt x="29867" y="22923"/>
                  </a:cubicBezTo>
                  <a:cubicBezTo>
                    <a:pt x="-50243" y="85231"/>
                    <a:pt x="38768" y="301824"/>
                    <a:pt x="201955" y="417539"/>
                  </a:cubicBezTo>
                  <a:cubicBezTo>
                    <a:pt x="270197" y="390835"/>
                    <a:pt x="371076" y="209846"/>
                    <a:pt x="412615" y="117868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FA4DAC4B-B9C5-4B42-9E5D-61EA60B0F475}"/>
                </a:ext>
              </a:extLst>
            </p:cNvPr>
            <p:cNvSpPr/>
            <p:nvPr/>
          </p:nvSpPr>
          <p:spPr>
            <a:xfrm>
              <a:off x="7877264" y="3435344"/>
              <a:ext cx="314766" cy="396840"/>
            </a:xfrm>
            <a:custGeom>
              <a:avLst/>
              <a:gdLst>
                <a:gd name="connsiteX0" fmla="*/ 208695 w 314766"/>
                <a:gd name="connsiteY0" fmla="*/ 396841 h 396840"/>
                <a:gd name="connsiteX1" fmla="*/ 208695 w 314766"/>
                <a:gd name="connsiteY1" fmla="*/ 396841 h 396840"/>
                <a:gd name="connsiteX2" fmla="*/ 21771 w 314766"/>
                <a:gd name="connsiteY2" fmla="*/ 165412 h 396840"/>
                <a:gd name="connsiteX3" fmla="*/ 18805 w 314766"/>
                <a:gd name="connsiteY3" fmla="*/ 156511 h 396840"/>
                <a:gd name="connsiteX4" fmla="*/ 18805 w 314766"/>
                <a:gd name="connsiteY4" fmla="*/ 2225 h 396840"/>
                <a:gd name="connsiteX5" fmla="*/ 27706 w 314766"/>
                <a:gd name="connsiteY5" fmla="*/ 2225 h 396840"/>
                <a:gd name="connsiteX6" fmla="*/ 27706 w 314766"/>
                <a:gd name="connsiteY6" fmla="*/ 11126 h 396840"/>
                <a:gd name="connsiteX7" fmla="*/ 27706 w 314766"/>
                <a:gd name="connsiteY7" fmla="*/ 153544 h 396840"/>
                <a:gd name="connsiteX8" fmla="*/ 30673 w 314766"/>
                <a:gd name="connsiteY8" fmla="*/ 162445 h 396840"/>
                <a:gd name="connsiteX9" fmla="*/ 208695 w 314766"/>
                <a:gd name="connsiteY9" fmla="*/ 384973 h 396840"/>
                <a:gd name="connsiteX10" fmla="*/ 303640 w 314766"/>
                <a:gd name="connsiteY10" fmla="*/ 287060 h 396840"/>
                <a:gd name="connsiteX11" fmla="*/ 312541 w 314766"/>
                <a:gd name="connsiteY11" fmla="*/ 287060 h 396840"/>
                <a:gd name="connsiteX12" fmla="*/ 312541 w 314766"/>
                <a:gd name="connsiteY12" fmla="*/ 295962 h 396840"/>
                <a:gd name="connsiteX13" fmla="*/ 208695 w 314766"/>
                <a:gd name="connsiteY13" fmla="*/ 396841 h 396840"/>
                <a:gd name="connsiteX14" fmla="*/ 208695 w 314766"/>
                <a:gd name="connsiteY14" fmla="*/ 396841 h 396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4766" h="396840">
                  <a:moveTo>
                    <a:pt x="208695" y="396841"/>
                  </a:moveTo>
                  <a:lnTo>
                    <a:pt x="208695" y="396841"/>
                  </a:lnTo>
                  <a:cubicBezTo>
                    <a:pt x="179024" y="379038"/>
                    <a:pt x="54409" y="266291"/>
                    <a:pt x="21771" y="165412"/>
                  </a:cubicBezTo>
                  <a:cubicBezTo>
                    <a:pt x="21771" y="162445"/>
                    <a:pt x="18805" y="159478"/>
                    <a:pt x="18805" y="156511"/>
                  </a:cubicBezTo>
                  <a:cubicBezTo>
                    <a:pt x="6936" y="123874"/>
                    <a:pt x="-16800" y="55632"/>
                    <a:pt x="18805" y="2225"/>
                  </a:cubicBezTo>
                  <a:cubicBezTo>
                    <a:pt x="21771" y="-742"/>
                    <a:pt x="24739" y="-742"/>
                    <a:pt x="27706" y="2225"/>
                  </a:cubicBezTo>
                  <a:cubicBezTo>
                    <a:pt x="30673" y="5192"/>
                    <a:pt x="30673" y="8159"/>
                    <a:pt x="27706" y="11126"/>
                  </a:cubicBezTo>
                  <a:cubicBezTo>
                    <a:pt x="-4932" y="61566"/>
                    <a:pt x="15837" y="123874"/>
                    <a:pt x="27706" y="153544"/>
                  </a:cubicBezTo>
                  <a:cubicBezTo>
                    <a:pt x="27706" y="156511"/>
                    <a:pt x="30673" y="159478"/>
                    <a:pt x="30673" y="162445"/>
                  </a:cubicBezTo>
                  <a:cubicBezTo>
                    <a:pt x="60343" y="254423"/>
                    <a:pt x="176057" y="364203"/>
                    <a:pt x="208695" y="384973"/>
                  </a:cubicBezTo>
                  <a:cubicBezTo>
                    <a:pt x="232431" y="376071"/>
                    <a:pt x="262101" y="340467"/>
                    <a:pt x="303640" y="287060"/>
                  </a:cubicBezTo>
                  <a:cubicBezTo>
                    <a:pt x="306607" y="284093"/>
                    <a:pt x="309574" y="284093"/>
                    <a:pt x="312541" y="287060"/>
                  </a:cubicBezTo>
                  <a:cubicBezTo>
                    <a:pt x="315508" y="290027"/>
                    <a:pt x="315508" y="292995"/>
                    <a:pt x="312541" y="295962"/>
                  </a:cubicBezTo>
                  <a:cubicBezTo>
                    <a:pt x="268035" y="352335"/>
                    <a:pt x="238365" y="384973"/>
                    <a:pt x="208695" y="396841"/>
                  </a:cubicBezTo>
                  <a:lnTo>
                    <a:pt x="208695" y="396841"/>
                  </a:ln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0232817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F2B0807A-E5D4-40E3-91B4-D7899EC3C90D}"/>
              </a:ext>
            </a:extLst>
          </p:cNvPr>
          <p:cNvGrpSpPr/>
          <p:nvPr/>
        </p:nvGrpSpPr>
        <p:grpSpPr>
          <a:xfrm>
            <a:off x="3027907" y="2223495"/>
            <a:ext cx="2653756" cy="4630520"/>
            <a:chOff x="10177717" y="2410976"/>
            <a:chExt cx="2653756" cy="4630520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2CDE9C2E-45FF-4BA7-9E61-AED3ACA216F1}"/>
                </a:ext>
              </a:extLst>
            </p:cNvPr>
            <p:cNvGrpSpPr/>
            <p:nvPr/>
          </p:nvGrpSpPr>
          <p:grpSpPr>
            <a:xfrm>
              <a:off x="10177717" y="6265152"/>
              <a:ext cx="364945" cy="475903"/>
              <a:chOff x="10177717" y="6265152"/>
              <a:chExt cx="364945" cy="475903"/>
            </a:xfrm>
          </p:grpSpPr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588B8955-B70A-467A-BD41-A19D7A1A60A1}"/>
                  </a:ext>
                </a:extLst>
              </p:cNvPr>
              <p:cNvSpPr/>
              <p:nvPr/>
            </p:nvSpPr>
            <p:spPr>
              <a:xfrm>
                <a:off x="10177717" y="6339328"/>
                <a:ext cx="261098" cy="401728"/>
              </a:xfrm>
              <a:custGeom>
                <a:avLst/>
                <a:gdLst>
                  <a:gd name="connsiteX0" fmla="*/ 261099 w 261098"/>
                  <a:gd name="connsiteY0" fmla="*/ 86044 h 401728"/>
                  <a:gd name="connsiteX1" fmla="*/ 186923 w 261098"/>
                  <a:gd name="connsiteY1" fmla="*/ 270000 h 401728"/>
                  <a:gd name="connsiteX2" fmla="*/ 178022 w 261098"/>
                  <a:gd name="connsiteY2" fmla="*/ 26703 h 401728"/>
                  <a:gd name="connsiteX3" fmla="*/ 180989 w 261098"/>
                  <a:gd name="connsiteY3" fmla="*/ 0 h 401728"/>
                  <a:gd name="connsiteX4" fmla="*/ 106813 w 261098"/>
                  <a:gd name="connsiteY4" fmla="*/ 23736 h 401728"/>
                  <a:gd name="connsiteX5" fmla="*/ 0 w 261098"/>
                  <a:gd name="connsiteY5" fmla="*/ 106813 h 401728"/>
                  <a:gd name="connsiteX6" fmla="*/ 14835 w 261098"/>
                  <a:gd name="connsiteY6" fmla="*/ 127583 h 401728"/>
                  <a:gd name="connsiteX7" fmla="*/ 112747 w 261098"/>
                  <a:gd name="connsiteY7" fmla="*/ 83077 h 401728"/>
                  <a:gd name="connsiteX8" fmla="*/ 77143 w 261098"/>
                  <a:gd name="connsiteY8" fmla="*/ 270000 h 401728"/>
                  <a:gd name="connsiteX9" fmla="*/ 157253 w 261098"/>
                  <a:gd name="connsiteY9" fmla="*/ 400549 h 401728"/>
                  <a:gd name="connsiteX10" fmla="*/ 195824 w 261098"/>
                  <a:gd name="connsiteY10" fmla="*/ 376813 h 401728"/>
                  <a:gd name="connsiteX11" fmla="*/ 261099 w 261098"/>
                  <a:gd name="connsiteY11" fmla="*/ 86044 h 401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1098" h="401728">
                    <a:moveTo>
                      <a:pt x="261099" y="86044"/>
                    </a:moveTo>
                    <a:cubicBezTo>
                      <a:pt x="261099" y="86044"/>
                      <a:pt x="204726" y="278901"/>
                      <a:pt x="186923" y="270000"/>
                    </a:cubicBezTo>
                    <a:cubicBezTo>
                      <a:pt x="169121" y="261099"/>
                      <a:pt x="178022" y="26703"/>
                      <a:pt x="178022" y="26703"/>
                    </a:cubicBezTo>
                    <a:lnTo>
                      <a:pt x="180989" y="0"/>
                    </a:lnTo>
                    <a:cubicBezTo>
                      <a:pt x="180989" y="0"/>
                      <a:pt x="127583" y="5934"/>
                      <a:pt x="106813" y="23736"/>
                    </a:cubicBezTo>
                    <a:cubicBezTo>
                      <a:pt x="86044" y="41538"/>
                      <a:pt x="0" y="106813"/>
                      <a:pt x="0" y="106813"/>
                    </a:cubicBezTo>
                    <a:lnTo>
                      <a:pt x="14835" y="127583"/>
                    </a:lnTo>
                    <a:lnTo>
                      <a:pt x="112747" y="83077"/>
                    </a:lnTo>
                    <a:cubicBezTo>
                      <a:pt x="112747" y="83077"/>
                      <a:pt x="71209" y="249231"/>
                      <a:pt x="77143" y="270000"/>
                    </a:cubicBezTo>
                    <a:cubicBezTo>
                      <a:pt x="83077" y="290769"/>
                      <a:pt x="151319" y="394615"/>
                      <a:pt x="157253" y="400549"/>
                    </a:cubicBezTo>
                    <a:cubicBezTo>
                      <a:pt x="163187" y="406483"/>
                      <a:pt x="195824" y="388681"/>
                      <a:pt x="195824" y="376813"/>
                    </a:cubicBezTo>
                    <a:cubicBezTo>
                      <a:pt x="195824" y="290769"/>
                      <a:pt x="261099" y="86044"/>
                      <a:pt x="261099" y="86044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370BAF34-60E9-4654-9DD9-A9CB2C987C20}"/>
                  </a:ext>
                </a:extLst>
              </p:cNvPr>
              <p:cNvSpPr/>
              <p:nvPr/>
            </p:nvSpPr>
            <p:spPr>
              <a:xfrm>
                <a:off x="10342611" y="6265152"/>
                <a:ext cx="200050" cy="347441"/>
              </a:xfrm>
              <a:custGeom>
                <a:avLst/>
                <a:gdLst>
                  <a:gd name="connsiteX0" fmla="*/ 200051 w 200050"/>
                  <a:gd name="connsiteY0" fmla="*/ 94945 h 347441"/>
                  <a:gd name="connsiteX1" fmla="*/ 96205 w 200050"/>
                  <a:gd name="connsiteY1" fmla="*/ 163187 h 347441"/>
                  <a:gd name="connsiteX2" fmla="*/ 22029 w 200050"/>
                  <a:gd name="connsiteY2" fmla="*/ 347143 h 347441"/>
                  <a:gd name="connsiteX3" fmla="*/ 16095 w 200050"/>
                  <a:gd name="connsiteY3" fmla="*/ 77143 h 347441"/>
                  <a:gd name="connsiteX4" fmla="*/ 137743 w 200050"/>
                  <a:gd name="connsiteY4" fmla="*/ 0 h 347441"/>
                  <a:gd name="connsiteX5" fmla="*/ 200051 w 200050"/>
                  <a:gd name="connsiteY5" fmla="*/ 94945 h 347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0050" h="347441">
                    <a:moveTo>
                      <a:pt x="200051" y="94945"/>
                    </a:moveTo>
                    <a:lnTo>
                      <a:pt x="96205" y="163187"/>
                    </a:lnTo>
                    <a:cubicBezTo>
                      <a:pt x="96205" y="163187"/>
                      <a:pt x="48732" y="356044"/>
                      <a:pt x="22029" y="347143"/>
                    </a:cubicBezTo>
                    <a:cubicBezTo>
                      <a:pt x="-4674" y="338242"/>
                      <a:pt x="-7642" y="94945"/>
                      <a:pt x="16095" y="77143"/>
                    </a:cubicBezTo>
                    <a:cubicBezTo>
                      <a:pt x="57633" y="50439"/>
                      <a:pt x="137743" y="0"/>
                      <a:pt x="137743" y="0"/>
                    </a:cubicBezTo>
                    <a:lnTo>
                      <a:pt x="200051" y="94945"/>
                    </a:ln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161C0469-1F20-4B8A-B7F2-BEE55FD9467C}"/>
                </a:ext>
              </a:extLst>
            </p:cNvPr>
            <p:cNvSpPr/>
            <p:nvPr/>
          </p:nvSpPr>
          <p:spPr>
            <a:xfrm>
              <a:off x="11595879" y="3534015"/>
              <a:ext cx="1083046" cy="497267"/>
            </a:xfrm>
            <a:custGeom>
              <a:avLst/>
              <a:gdLst>
                <a:gd name="connsiteX0" fmla="*/ 50519 w 1083046"/>
                <a:gd name="connsiteY0" fmla="*/ 200258 h 497267"/>
                <a:gd name="connsiteX1" fmla="*/ 210739 w 1083046"/>
                <a:gd name="connsiteY1" fmla="*/ 10368 h 497267"/>
                <a:gd name="connsiteX2" fmla="*/ 578651 w 1083046"/>
                <a:gd name="connsiteY2" fmla="*/ 280368 h 497267"/>
                <a:gd name="connsiteX3" fmla="*/ 1017771 w 1083046"/>
                <a:gd name="connsiteY3" fmla="*/ 134983 h 497267"/>
                <a:gd name="connsiteX4" fmla="*/ 1083047 w 1083046"/>
                <a:gd name="connsiteY4" fmla="*/ 218060 h 497267"/>
                <a:gd name="connsiteX5" fmla="*/ 602387 w 1083046"/>
                <a:gd name="connsiteY5" fmla="*/ 496961 h 497267"/>
                <a:gd name="connsiteX6" fmla="*/ 50519 w 1083046"/>
                <a:gd name="connsiteY6" fmla="*/ 200258 h 497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3046" h="497267">
                  <a:moveTo>
                    <a:pt x="50519" y="200258"/>
                  </a:moveTo>
                  <a:cubicBezTo>
                    <a:pt x="-88932" y="87510"/>
                    <a:pt x="92058" y="-37105"/>
                    <a:pt x="210739" y="10368"/>
                  </a:cubicBezTo>
                  <a:cubicBezTo>
                    <a:pt x="326453" y="57840"/>
                    <a:pt x="504475" y="265532"/>
                    <a:pt x="578651" y="280368"/>
                  </a:cubicBezTo>
                  <a:cubicBezTo>
                    <a:pt x="667662" y="280368"/>
                    <a:pt x="1017771" y="134983"/>
                    <a:pt x="1017771" y="134983"/>
                  </a:cubicBezTo>
                  <a:cubicBezTo>
                    <a:pt x="1038541" y="158719"/>
                    <a:pt x="1083047" y="218060"/>
                    <a:pt x="1083047" y="218060"/>
                  </a:cubicBezTo>
                  <a:cubicBezTo>
                    <a:pt x="1083047" y="218060"/>
                    <a:pt x="735903" y="470258"/>
                    <a:pt x="602387" y="496961"/>
                  </a:cubicBezTo>
                  <a:cubicBezTo>
                    <a:pt x="537113" y="505862"/>
                    <a:pt x="195904" y="318939"/>
                    <a:pt x="50519" y="200258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0D758E60-7092-4BF2-992B-3A8E6BCF6821}"/>
                </a:ext>
              </a:extLst>
            </p:cNvPr>
            <p:cNvSpPr/>
            <p:nvPr/>
          </p:nvSpPr>
          <p:spPr>
            <a:xfrm>
              <a:off x="11511602" y="3411018"/>
              <a:ext cx="452269" cy="427100"/>
            </a:xfrm>
            <a:custGeom>
              <a:avLst/>
              <a:gdLst>
                <a:gd name="connsiteX0" fmla="*/ 179303 w 452269"/>
                <a:gd name="connsiteY0" fmla="*/ 427100 h 427100"/>
                <a:gd name="connsiteX1" fmla="*/ 10181 w 452269"/>
                <a:gd name="connsiteY1" fmla="*/ 35452 h 427100"/>
                <a:gd name="connsiteX2" fmla="*/ 452269 w 452269"/>
                <a:gd name="connsiteY2" fmla="*/ 186771 h 427100"/>
                <a:gd name="connsiteX3" fmla="*/ 179303 w 452269"/>
                <a:gd name="connsiteY3" fmla="*/ 427100 h 427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2269" h="427100">
                  <a:moveTo>
                    <a:pt x="179303" y="427100"/>
                  </a:moveTo>
                  <a:cubicBezTo>
                    <a:pt x="45786" y="305452"/>
                    <a:pt x="-28390" y="103694"/>
                    <a:pt x="10181" y="35452"/>
                  </a:cubicBezTo>
                  <a:cubicBezTo>
                    <a:pt x="63588" y="-53559"/>
                    <a:pt x="318753" y="35452"/>
                    <a:pt x="452269" y="186771"/>
                  </a:cubicBezTo>
                  <a:cubicBezTo>
                    <a:pt x="434467" y="257980"/>
                    <a:pt x="265346" y="376661"/>
                    <a:pt x="179303" y="427100"/>
                  </a:cubicBez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34146941-4686-4C71-A7F6-40D574E76D75}"/>
                </a:ext>
              </a:extLst>
            </p:cNvPr>
            <p:cNvGrpSpPr/>
            <p:nvPr/>
          </p:nvGrpSpPr>
          <p:grpSpPr>
            <a:xfrm>
              <a:off x="11486178" y="6665701"/>
              <a:ext cx="371621" cy="375794"/>
              <a:chOff x="11486178" y="6665701"/>
              <a:chExt cx="371621" cy="375794"/>
            </a:xfrm>
          </p:grpSpPr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B73FFE95-07FA-461B-807F-4DA879E39457}"/>
                  </a:ext>
                </a:extLst>
              </p:cNvPr>
              <p:cNvSpPr/>
              <p:nvPr/>
            </p:nvSpPr>
            <p:spPr>
              <a:xfrm>
                <a:off x="11503028" y="6787349"/>
                <a:ext cx="354771" cy="254146"/>
              </a:xfrm>
              <a:custGeom>
                <a:avLst/>
                <a:gdLst>
                  <a:gd name="connsiteX0" fmla="*/ 134469 w 354771"/>
                  <a:gd name="connsiteY0" fmla="*/ 0 h 254146"/>
                  <a:gd name="connsiteX1" fmla="*/ 250183 w 354771"/>
                  <a:gd name="connsiteY1" fmla="*/ 160220 h 254146"/>
                  <a:gd name="connsiteX2" fmla="*/ 39524 w 354771"/>
                  <a:gd name="connsiteY2" fmla="*/ 35605 h 254146"/>
                  <a:gd name="connsiteX3" fmla="*/ 18755 w 354771"/>
                  <a:gd name="connsiteY3" fmla="*/ 20770 h 254146"/>
                  <a:gd name="connsiteX4" fmla="*/ 952 w 354771"/>
                  <a:gd name="connsiteY4" fmla="*/ 94945 h 254146"/>
                  <a:gd name="connsiteX5" fmla="*/ 12820 w 354771"/>
                  <a:gd name="connsiteY5" fmla="*/ 228462 h 254146"/>
                  <a:gd name="connsiteX6" fmla="*/ 39524 w 354771"/>
                  <a:gd name="connsiteY6" fmla="*/ 228462 h 254146"/>
                  <a:gd name="connsiteX7" fmla="*/ 54359 w 354771"/>
                  <a:gd name="connsiteY7" fmla="*/ 121649 h 254146"/>
                  <a:gd name="connsiteX8" fmla="*/ 193809 w 354771"/>
                  <a:gd name="connsiteY8" fmla="*/ 249231 h 254146"/>
                  <a:gd name="connsiteX9" fmla="*/ 348095 w 354771"/>
                  <a:gd name="connsiteY9" fmla="*/ 252198 h 254146"/>
                  <a:gd name="connsiteX10" fmla="*/ 348095 w 354771"/>
                  <a:gd name="connsiteY10" fmla="*/ 207692 h 254146"/>
                  <a:gd name="connsiteX11" fmla="*/ 134469 w 354771"/>
                  <a:gd name="connsiteY11" fmla="*/ 0 h 254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4771" h="254146">
                    <a:moveTo>
                      <a:pt x="134469" y="0"/>
                    </a:moveTo>
                    <a:cubicBezTo>
                      <a:pt x="134469" y="0"/>
                      <a:pt x="265018" y="151319"/>
                      <a:pt x="250183" y="160220"/>
                    </a:cubicBezTo>
                    <a:cubicBezTo>
                      <a:pt x="232381" y="169121"/>
                      <a:pt x="39524" y="35605"/>
                      <a:pt x="39524" y="35605"/>
                    </a:cubicBezTo>
                    <a:lnTo>
                      <a:pt x="18755" y="20770"/>
                    </a:lnTo>
                    <a:cubicBezTo>
                      <a:pt x="18755" y="20770"/>
                      <a:pt x="-4981" y="68242"/>
                      <a:pt x="952" y="94945"/>
                    </a:cubicBezTo>
                    <a:cubicBezTo>
                      <a:pt x="6887" y="121649"/>
                      <a:pt x="12820" y="228462"/>
                      <a:pt x="12820" y="228462"/>
                    </a:cubicBezTo>
                    <a:lnTo>
                      <a:pt x="39524" y="228462"/>
                    </a:lnTo>
                    <a:lnTo>
                      <a:pt x="54359" y="121649"/>
                    </a:lnTo>
                    <a:cubicBezTo>
                      <a:pt x="54359" y="121649"/>
                      <a:pt x="173041" y="246264"/>
                      <a:pt x="193809" y="249231"/>
                    </a:cubicBezTo>
                    <a:cubicBezTo>
                      <a:pt x="214579" y="255165"/>
                      <a:pt x="336228" y="255165"/>
                      <a:pt x="348095" y="252198"/>
                    </a:cubicBezTo>
                    <a:cubicBezTo>
                      <a:pt x="356996" y="252198"/>
                      <a:pt x="356996" y="213627"/>
                      <a:pt x="348095" y="207692"/>
                    </a:cubicBezTo>
                    <a:cubicBezTo>
                      <a:pt x="270952" y="166154"/>
                      <a:pt x="134469" y="0"/>
                      <a:pt x="134469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4E75ACEF-7D57-414B-B12B-0B72DCBADFF7}"/>
                  </a:ext>
                </a:extLst>
              </p:cNvPr>
              <p:cNvSpPr/>
              <p:nvPr/>
            </p:nvSpPr>
            <p:spPr>
              <a:xfrm>
                <a:off x="11486178" y="6665701"/>
                <a:ext cx="266217" cy="286530"/>
              </a:xfrm>
              <a:custGeom>
                <a:avLst/>
                <a:gdLst>
                  <a:gd name="connsiteX0" fmla="*/ 100880 w 266217"/>
                  <a:gd name="connsiteY0" fmla="*/ 0 h 286530"/>
                  <a:gd name="connsiteX1" fmla="*/ 148352 w 266217"/>
                  <a:gd name="connsiteY1" fmla="*/ 124615 h 286530"/>
                  <a:gd name="connsiteX2" fmla="*/ 264067 w 266217"/>
                  <a:gd name="connsiteY2" fmla="*/ 284835 h 286530"/>
                  <a:gd name="connsiteX3" fmla="*/ 35605 w 266217"/>
                  <a:gd name="connsiteY3" fmla="*/ 145384 h 286530"/>
                  <a:gd name="connsiteX4" fmla="*/ 0 w 266217"/>
                  <a:gd name="connsiteY4" fmla="*/ 0 h 286530"/>
                  <a:gd name="connsiteX5" fmla="*/ 100880 w 266217"/>
                  <a:gd name="connsiteY5" fmla="*/ 0 h 286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6217" h="286530">
                    <a:moveTo>
                      <a:pt x="100880" y="0"/>
                    </a:moveTo>
                    <a:lnTo>
                      <a:pt x="148352" y="124615"/>
                    </a:lnTo>
                    <a:cubicBezTo>
                      <a:pt x="148352" y="124615"/>
                      <a:pt x="284835" y="270000"/>
                      <a:pt x="264067" y="284835"/>
                    </a:cubicBezTo>
                    <a:cubicBezTo>
                      <a:pt x="243297" y="302637"/>
                      <a:pt x="32638" y="175055"/>
                      <a:pt x="35605" y="145384"/>
                    </a:cubicBezTo>
                    <a:cubicBezTo>
                      <a:pt x="35605" y="97912"/>
                      <a:pt x="0" y="0"/>
                      <a:pt x="0" y="0"/>
                    </a:cubicBezTo>
                    <a:lnTo>
                      <a:pt x="100880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92E2001B-EC88-48C2-8E1B-B208A45B891F}"/>
                </a:ext>
              </a:extLst>
            </p:cNvPr>
            <p:cNvSpPr/>
            <p:nvPr/>
          </p:nvSpPr>
          <p:spPr>
            <a:xfrm>
              <a:off x="10385409" y="4298009"/>
              <a:ext cx="1404567" cy="2453736"/>
            </a:xfrm>
            <a:custGeom>
              <a:avLst/>
              <a:gdLst>
                <a:gd name="connsiteX0" fmla="*/ 637913 w 1404567"/>
                <a:gd name="connsiteY0" fmla="*/ 0 h 2453736"/>
                <a:gd name="connsiteX1" fmla="*/ 1287693 w 1404567"/>
                <a:gd name="connsiteY1" fmla="*/ 0 h 2453736"/>
                <a:gd name="connsiteX2" fmla="*/ 1403407 w 1404567"/>
                <a:gd name="connsiteY2" fmla="*/ 448022 h 2453736"/>
                <a:gd name="connsiteX3" fmla="*/ 1228352 w 1404567"/>
                <a:gd name="connsiteY3" fmla="*/ 2418132 h 2453736"/>
                <a:gd name="connsiteX4" fmla="*/ 1059231 w 1404567"/>
                <a:gd name="connsiteY4" fmla="*/ 2453736 h 2453736"/>
                <a:gd name="connsiteX5" fmla="*/ 955385 w 1404567"/>
                <a:gd name="connsiteY5" fmla="*/ 789231 h 2453736"/>
                <a:gd name="connsiteX6" fmla="*/ 860440 w 1404567"/>
                <a:gd name="connsiteY6" fmla="*/ 1590330 h 2453736"/>
                <a:gd name="connsiteX7" fmla="*/ 848571 w 1404567"/>
                <a:gd name="connsiteY7" fmla="*/ 1640769 h 2453736"/>
                <a:gd name="connsiteX8" fmla="*/ 133517 w 1404567"/>
                <a:gd name="connsiteY8" fmla="*/ 2151099 h 2453736"/>
                <a:gd name="connsiteX9" fmla="*/ 0 w 1404567"/>
                <a:gd name="connsiteY9" fmla="*/ 1973077 h 2453736"/>
                <a:gd name="connsiteX10" fmla="*/ 519231 w 1404567"/>
                <a:gd name="connsiteY10" fmla="*/ 1477583 h 2453736"/>
                <a:gd name="connsiteX11" fmla="*/ 510330 w 1404567"/>
                <a:gd name="connsiteY11" fmla="*/ 400549 h 2453736"/>
                <a:gd name="connsiteX12" fmla="*/ 637913 w 1404567"/>
                <a:gd name="connsiteY12" fmla="*/ 0 h 2453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04567" h="2453736">
                  <a:moveTo>
                    <a:pt x="637913" y="0"/>
                  </a:moveTo>
                  <a:lnTo>
                    <a:pt x="1287693" y="0"/>
                  </a:lnTo>
                  <a:cubicBezTo>
                    <a:pt x="1287693" y="0"/>
                    <a:pt x="1382637" y="296703"/>
                    <a:pt x="1403407" y="448022"/>
                  </a:cubicBezTo>
                  <a:cubicBezTo>
                    <a:pt x="1421209" y="596374"/>
                    <a:pt x="1228352" y="2418132"/>
                    <a:pt x="1228352" y="2418132"/>
                  </a:cubicBezTo>
                  <a:lnTo>
                    <a:pt x="1059231" y="2453736"/>
                  </a:lnTo>
                  <a:lnTo>
                    <a:pt x="955385" y="789231"/>
                  </a:lnTo>
                  <a:lnTo>
                    <a:pt x="860440" y="1590330"/>
                  </a:lnTo>
                  <a:cubicBezTo>
                    <a:pt x="857473" y="1608132"/>
                    <a:pt x="854506" y="1625934"/>
                    <a:pt x="848571" y="1640769"/>
                  </a:cubicBezTo>
                  <a:lnTo>
                    <a:pt x="133517" y="2151099"/>
                  </a:lnTo>
                  <a:lnTo>
                    <a:pt x="0" y="1973077"/>
                  </a:lnTo>
                  <a:lnTo>
                    <a:pt x="519231" y="1477583"/>
                  </a:lnTo>
                  <a:cubicBezTo>
                    <a:pt x="519231" y="1477583"/>
                    <a:pt x="516264" y="465824"/>
                    <a:pt x="510330" y="400549"/>
                  </a:cubicBezTo>
                  <a:cubicBezTo>
                    <a:pt x="498462" y="284835"/>
                    <a:pt x="637913" y="0"/>
                    <a:pt x="637913" y="0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6251EDEE-39FC-487F-ABB5-BE00C5D3701E}"/>
                </a:ext>
              </a:extLst>
            </p:cNvPr>
            <p:cNvSpPr/>
            <p:nvPr/>
          </p:nvSpPr>
          <p:spPr>
            <a:xfrm>
              <a:off x="10508706" y="4674822"/>
              <a:ext cx="876593" cy="1783186"/>
            </a:xfrm>
            <a:custGeom>
              <a:avLst/>
              <a:gdLst>
                <a:gd name="connsiteX0" fmla="*/ 7253 w 876593"/>
                <a:gd name="connsiteY0" fmla="*/ 1783187 h 1783186"/>
                <a:gd name="connsiteX1" fmla="*/ 1319 w 876593"/>
                <a:gd name="connsiteY1" fmla="*/ 1780220 h 1783186"/>
                <a:gd name="connsiteX2" fmla="*/ 1319 w 876593"/>
                <a:gd name="connsiteY2" fmla="*/ 1771319 h 1783186"/>
                <a:gd name="connsiteX3" fmla="*/ 716374 w 876593"/>
                <a:gd name="connsiteY3" fmla="*/ 1260989 h 1783186"/>
                <a:gd name="connsiteX4" fmla="*/ 728242 w 876593"/>
                <a:gd name="connsiteY4" fmla="*/ 1213517 h 1783186"/>
                <a:gd name="connsiteX5" fmla="*/ 823187 w 876593"/>
                <a:gd name="connsiteY5" fmla="*/ 412418 h 1783186"/>
                <a:gd name="connsiteX6" fmla="*/ 864726 w 876593"/>
                <a:gd name="connsiteY6" fmla="*/ 5934 h 1783186"/>
                <a:gd name="connsiteX7" fmla="*/ 870660 w 876593"/>
                <a:gd name="connsiteY7" fmla="*/ 0 h 1783186"/>
                <a:gd name="connsiteX8" fmla="*/ 876594 w 876593"/>
                <a:gd name="connsiteY8" fmla="*/ 5934 h 1783186"/>
                <a:gd name="connsiteX9" fmla="*/ 835055 w 876593"/>
                <a:gd name="connsiteY9" fmla="*/ 412418 h 1783186"/>
                <a:gd name="connsiteX10" fmla="*/ 740110 w 876593"/>
                <a:gd name="connsiteY10" fmla="*/ 1213517 h 1783186"/>
                <a:gd name="connsiteX11" fmla="*/ 728242 w 876593"/>
                <a:gd name="connsiteY11" fmla="*/ 1266923 h 1783186"/>
                <a:gd name="connsiteX12" fmla="*/ 725275 w 876593"/>
                <a:gd name="connsiteY12" fmla="*/ 1269890 h 1783186"/>
                <a:gd name="connsiteX13" fmla="*/ 10220 w 876593"/>
                <a:gd name="connsiteY13" fmla="*/ 1780220 h 1783186"/>
                <a:gd name="connsiteX14" fmla="*/ 7253 w 876593"/>
                <a:gd name="connsiteY14" fmla="*/ 1783187 h 1783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76593" h="1783186">
                  <a:moveTo>
                    <a:pt x="7253" y="1783187"/>
                  </a:moveTo>
                  <a:cubicBezTo>
                    <a:pt x="4286" y="1783187"/>
                    <a:pt x="4286" y="1783187"/>
                    <a:pt x="1319" y="1780220"/>
                  </a:cubicBezTo>
                  <a:cubicBezTo>
                    <a:pt x="-1648" y="1777253"/>
                    <a:pt x="1319" y="1774286"/>
                    <a:pt x="1319" y="1771319"/>
                  </a:cubicBezTo>
                  <a:lnTo>
                    <a:pt x="716374" y="1260989"/>
                  </a:lnTo>
                  <a:cubicBezTo>
                    <a:pt x="722308" y="1246154"/>
                    <a:pt x="725275" y="1228352"/>
                    <a:pt x="728242" y="1213517"/>
                  </a:cubicBezTo>
                  <a:lnTo>
                    <a:pt x="823187" y="412418"/>
                  </a:lnTo>
                  <a:lnTo>
                    <a:pt x="864726" y="5934"/>
                  </a:lnTo>
                  <a:cubicBezTo>
                    <a:pt x="864726" y="2967"/>
                    <a:pt x="867693" y="0"/>
                    <a:pt x="870660" y="0"/>
                  </a:cubicBezTo>
                  <a:cubicBezTo>
                    <a:pt x="873626" y="0"/>
                    <a:pt x="876594" y="2967"/>
                    <a:pt x="876594" y="5934"/>
                  </a:cubicBezTo>
                  <a:lnTo>
                    <a:pt x="835055" y="412418"/>
                  </a:lnTo>
                  <a:lnTo>
                    <a:pt x="740110" y="1213517"/>
                  </a:lnTo>
                  <a:cubicBezTo>
                    <a:pt x="737144" y="1231319"/>
                    <a:pt x="734176" y="1249121"/>
                    <a:pt x="728242" y="1266923"/>
                  </a:cubicBezTo>
                  <a:cubicBezTo>
                    <a:pt x="728242" y="1266923"/>
                    <a:pt x="728242" y="1269890"/>
                    <a:pt x="725275" y="1269890"/>
                  </a:cubicBezTo>
                  <a:lnTo>
                    <a:pt x="10220" y="1780220"/>
                  </a:lnTo>
                  <a:cubicBezTo>
                    <a:pt x="10220" y="1780220"/>
                    <a:pt x="7253" y="1783187"/>
                    <a:pt x="7253" y="1783187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39189BA2-AEE5-4B03-83B7-D735F0A404A2}"/>
                </a:ext>
              </a:extLst>
            </p:cNvPr>
            <p:cNvSpPr/>
            <p:nvPr/>
          </p:nvSpPr>
          <p:spPr>
            <a:xfrm>
              <a:off x="10895739" y="4446360"/>
              <a:ext cx="175054" cy="183955"/>
            </a:xfrm>
            <a:custGeom>
              <a:avLst/>
              <a:gdLst>
                <a:gd name="connsiteX0" fmla="*/ 5934 w 175054"/>
                <a:gd name="connsiteY0" fmla="*/ 183956 h 183955"/>
                <a:gd name="connsiteX1" fmla="*/ 0 w 175054"/>
                <a:gd name="connsiteY1" fmla="*/ 180989 h 183955"/>
                <a:gd name="connsiteX2" fmla="*/ 2967 w 175054"/>
                <a:gd name="connsiteY2" fmla="*/ 175055 h 183955"/>
                <a:gd name="connsiteX3" fmla="*/ 166154 w 175054"/>
                <a:gd name="connsiteY3" fmla="*/ 2967 h 183955"/>
                <a:gd name="connsiteX4" fmla="*/ 172088 w 175054"/>
                <a:gd name="connsiteY4" fmla="*/ 0 h 183955"/>
                <a:gd name="connsiteX5" fmla="*/ 175055 w 175054"/>
                <a:gd name="connsiteY5" fmla="*/ 5934 h 183955"/>
                <a:gd name="connsiteX6" fmla="*/ 5934 w 175054"/>
                <a:gd name="connsiteY6" fmla="*/ 183956 h 183955"/>
                <a:gd name="connsiteX7" fmla="*/ 5934 w 175054"/>
                <a:gd name="connsiteY7" fmla="*/ 183956 h 183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054" h="183955">
                  <a:moveTo>
                    <a:pt x="5934" y="183956"/>
                  </a:moveTo>
                  <a:cubicBezTo>
                    <a:pt x="2967" y="183956"/>
                    <a:pt x="0" y="180989"/>
                    <a:pt x="0" y="180989"/>
                  </a:cubicBezTo>
                  <a:cubicBezTo>
                    <a:pt x="0" y="178022"/>
                    <a:pt x="0" y="175055"/>
                    <a:pt x="2967" y="175055"/>
                  </a:cubicBezTo>
                  <a:cubicBezTo>
                    <a:pt x="112748" y="145385"/>
                    <a:pt x="163187" y="5934"/>
                    <a:pt x="166154" y="2967"/>
                  </a:cubicBezTo>
                  <a:cubicBezTo>
                    <a:pt x="166154" y="0"/>
                    <a:pt x="169121" y="0"/>
                    <a:pt x="172088" y="0"/>
                  </a:cubicBezTo>
                  <a:cubicBezTo>
                    <a:pt x="175055" y="0"/>
                    <a:pt x="175055" y="2967"/>
                    <a:pt x="175055" y="5934"/>
                  </a:cubicBezTo>
                  <a:cubicBezTo>
                    <a:pt x="172088" y="11868"/>
                    <a:pt x="121649" y="154286"/>
                    <a:pt x="5934" y="183956"/>
                  </a:cubicBezTo>
                  <a:cubicBezTo>
                    <a:pt x="5934" y="183956"/>
                    <a:pt x="5934" y="183956"/>
                    <a:pt x="5934" y="183956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BBE1BCB3-E278-4B34-AEDC-0DF49C271C2D}"/>
                </a:ext>
              </a:extLst>
            </p:cNvPr>
            <p:cNvSpPr/>
            <p:nvPr/>
          </p:nvSpPr>
          <p:spPr>
            <a:xfrm>
              <a:off x="11601893" y="4446360"/>
              <a:ext cx="169120" cy="189890"/>
            </a:xfrm>
            <a:custGeom>
              <a:avLst/>
              <a:gdLst>
                <a:gd name="connsiteX0" fmla="*/ 163187 w 169120"/>
                <a:gd name="connsiteY0" fmla="*/ 189890 h 189890"/>
                <a:gd name="connsiteX1" fmla="*/ 163187 w 169120"/>
                <a:gd name="connsiteY1" fmla="*/ 189890 h 189890"/>
                <a:gd name="connsiteX2" fmla="*/ 0 w 169120"/>
                <a:gd name="connsiteY2" fmla="*/ 8901 h 189890"/>
                <a:gd name="connsiteX3" fmla="*/ 2966 w 169120"/>
                <a:gd name="connsiteY3" fmla="*/ 0 h 189890"/>
                <a:gd name="connsiteX4" fmla="*/ 11868 w 169120"/>
                <a:gd name="connsiteY4" fmla="*/ 2967 h 189890"/>
                <a:gd name="connsiteX5" fmla="*/ 166153 w 169120"/>
                <a:gd name="connsiteY5" fmla="*/ 178022 h 189890"/>
                <a:gd name="connsiteX6" fmla="*/ 169120 w 169120"/>
                <a:gd name="connsiteY6" fmla="*/ 183956 h 189890"/>
                <a:gd name="connsiteX7" fmla="*/ 163187 w 169120"/>
                <a:gd name="connsiteY7" fmla="*/ 189890 h 189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120" h="189890">
                  <a:moveTo>
                    <a:pt x="163187" y="189890"/>
                  </a:moveTo>
                  <a:cubicBezTo>
                    <a:pt x="163187" y="189890"/>
                    <a:pt x="163187" y="189890"/>
                    <a:pt x="163187" y="189890"/>
                  </a:cubicBezTo>
                  <a:cubicBezTo>
                    <a:pt x="83077" y="157253"/>
                    <a:pt x="2966" y="14835"/>
                    <a:pt x="0" y="8901"/>
                  </a:cubicBezTo>
                  <a:cubicBezTo>
                    <a:pt x="0" y="5934"/>
                    <a:pt x="0" y="2967"/>
                    <a:pt x="2966" y="0"/>
                  </a:cubicBezTo>
                  <a:cubicBezTo>
                    <a:pt x="5934" y="0"/>
                    <a:pt x="8901" y="0"/>
                    <a:pt x="11868" y="2967"/>
                  </a:cubicBezTo>
                  <a:cubicBezTo>
                    <a:pt x="11868" y="2967"/>
                    <a:pt x="91977" y="148352"/>
                    <a:pt x="166153" y="178022"/>
                  </a:cubicBezTo>
                  <a:cubicBezTo>
                    <a:pt x="169120" y="178022"/>
                    <a:pt x="169120" y="180989"/>
                    <a:pt x="169120" y="183956"/>
                  </a:cubicBezTo>
                  <a:cubicBezTo>
                    <a:pt x="169120" y="186923"/>
                    <a:pt x="166153" y="189890"/>
                    <a:pt x="163187" y="189890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D8C66343-1CCE-47E9-AD96-94F265752E36}"/>
                </a:ext>
              </a:extLst>
            </p:cNvPr>
            <p:cNvSpPr/>
            <p:nvPr/>
          </p:nvSpPr>
          <p:spPr>
            <a:xfrm>
              <a:off x="10934311" y="3362016"/>
              <a:ext cx="835625" cy="1022124"/>
            </a:xfrm>
            <a:custGeom>
              <a:avLst/>
              <a:gdLst>
                <a:gd name="connsiteX0" fmla="*/ 65274 w 835625"/>
                <a:gd name="connsiteY0" fmla="*/ 452367 h 1022124"/>
                <a:gd name="connsiteX1" fmla="*/ 94945 w 835625"/>
                <a:gd name="connsiteY1" fmla="*/ 66653 h 1022124"/>
                <a:gd name="connsiteX2" fmla="*/ 453956 w 835625"/>
                <a:gd name="connsiteY2" fmla="*/ 4345 h 1022124"/>
                <a:gd name="connsiteX3" fmla="*/ 747692 w 835625"/>
                <a:gd name="connsiteY3" fmla="*/ 102257 h 1022124"/>
                <a:gd name="connsiteX4" fmla="*/ 786264 w 835625"/>
                <a:gd name="connsiteY4" fmla="*/ 636323 h 1022124"/>
                <a:gd name="connsiteX5" fmla="*/ 792197 w 835625"/>
                <a:gd name="connsiteY5" fmla="*/ 1016103 h 1022124"/>
                <a:gd name="connsiteX6" fmla="*/ 0 w 835625"/>
                <a:gd name="connsiteY6" fmla="*/ 1001268 h 1022124"/>
                <a:gd name="connsiteX7" fmla="*/ 65274 w 835625"/>
                <a:gd name="connsiteY7" fmla="*/ 452367 h 102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5625" h="1022124">
                  <a:moveTo>
                    <a:pt x="65274" y="452367"/>
                  </a:moveTo>
                  <a:cubicBezTo>
                    <a:pt x="56373" y="354455"/>
                    <a:pt x="-20770" y="128960"/>
                    <a:pt x="94945" y="66653"/>
                  </a:cubicBezTo>
                  <a:cubicBezTo>
                    <a:pt x="195823" y="13246"/>
                    <a:pt x="338242" y="-10490"/>
                    <a:pt x="453956" y="4345"/>
                  </a:cubicBezTo>
                  <a:cubicBezTo>
                    <a:pt x="581538" y="19180"/>
                    <a:pt x="709121" y="39949"/>
                    <a:pt x="747692" y="102257"/>
                  </a:cubicBezTo>
                  <a:cubicBezTo>
                    <a:pt x="857472" y="283246"/>
                    <a:pt x="857472" y="443466"/>
                    <a:pt x="786264" y="636323"/>
                  </a:cubicBezTo>
                  <a:cubicBezTo>
                    <a:pt x="765494" y="692697"/>
                    <a:pt x="753626" y="879620"/>
                    <a:pt x="792197" y="1016103"/>
                  </a:cubicBezTo>
                  <a:cubicBezTo>
                    <a:pt x="792197" y="1016103"/>
                    <a:pt x="382747" y="1036872"/>
                    <a:pt x="0" y="1001268"/>
                  </a:cubicBezTo>
                  <a:cubicBezTo>
                    <a:pt x="77142" y="778740"/>
                    <a:pt x="86044" y="707532"/>
                    <a:pt x="65274" y="452367"/>
                  </a:cubicBez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856C9CDF-AA5B-462D-9F04-B42072704917}"/>
                </a:ext>
              </a:extLst>
            </p:cNvPr>
            <p:cNvSpPr/>
            <p:nvPr/>
          </p:nvSpPr>
          <p:spPr>
            <a:xfrm>
              <a:off x="11198377" y="3191306"/>
              <a:ext cx="299670" cy="269610"/>
            </a:xfrm>
            <a:custGeom>
              <a:avLst/>
              <a:gdLst>
                <a:gd name="connsiteX0" fmla="*/ 246263 w 299670"/>
                <a:gd name="connsiteY0" fmla="*/ 59341 h 269610"/>
                <a:gd name="connsiteX1" fmla="*/ 299671 w 299670"/>
                <a:gd name="connsiteY1" fmla="*/ 195824 h 269610"/>
                <a:gd name="connsiteX2" fmla="*/ 272967 w 299670"/>
                <a:gd name="connsiteY2" fmla="*/ 225494 h 269610"/>
                <a:gd name="connsiteX3" fmla="*/ 91978 w 299670"/>
                <a:gd name="connsiteY3" fmla="*/ 243297 h 269610"/>
                <a:gd name="connsiteX4" fmla="*/ 0 w 299670"/>
                <a:gd name="connsiteY4" fmla="*/ 180989 h 269610"/>
                <a:gd name="connsiteX5" fmla="*/ 50439 w 299670"/>
                <a:gd name="connsiteY5" fmla="*/ 0 h 269610"/>
                <a:gd name="connsiteX6" fmla="*/ 246263 w 299670"/>
                <a:gd name="connsiteY6" fmla="*/ 59341 h 26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9670" h="269610">
                  <a:moveTo>
                    <a:pt x="246263" y="59341"/>
                  </a:moveTo>
                  <a:cubicBezTo>
                    <a:pt x="246263" y="59341"/>
                    <a:pt x="240330" y="166154"/>
                    <a:pt x="299671" y="195824"/>
                  </a:cubicBezTo>
                  <a:lnTo>
                    <a:pt x="272967" y="225494"/>
                  </a:lnTo>
                  <a:cubicBezTo>
                    <a:pt x="225495" y="275934"/>
                    <a:pt x="148352" y="284835"/>
                    <a:pt x="91978" y="243297"/>
                  </a:cubicBezTo>
                  <a:cubicBezTo>
                    <a:pt x="56373" y="216593"/>
                    <a:pt x="20769" y="192857"/>
                    <a:pt x="0" y="180989"/>
                  </a:cubicBezTo>
                  <a:cubicBezTo>
                    <a:pt x="53406" y="139451"/>
                    <a:pt x="50439" y="59341"/>
                    <a:pt x="50439" y="0"/>
                  </a:cubicBezTo>
                  <a:cubicBezTo>
                    <a:pt x="47473" y="0"/>
                    <a:pt x="192857" y="65275"/>
                    <a:pt x="246263" y="59341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2F176A8F-EE6F-43AC-A8FF-7F1C00D07778}"/>
                </a:ext>
              </a:extLst>
            </p:cNvPr>
            <p:cNvSpPr/>
            <p:nvPr/>
          </p:nvSpPr>
          <p:spPr>
            <a:xfrm>
              <a:off x="11671873" y="3460077"/>
              <a:ext cx="100686" cy="544195"/>
            </a:xfrm>
            <a:custGeom>
              <a:avLst/>
              <a:gdLst>
                <a:gd name="connsiteX0" fmla="*/ 45735 w 100686"/>
                <a:gd name="connsiteY0" fmla="*/ 544196 h 544195"/>
                <a:gd name="connsiteX1" fmla="*/ 45735 w 100686"/>
                <a:gd name="connsiteY1" fmla="*/ 544196 h 544195"/>
                <a:gd name="connsiteX2" fmla="*/ 39800 w 100686"/>
                <a:gd name="connsiteY2" fmla="*/ 538262 h 544195"/>
                <a:gd name="connsiteX3" fmla="*/ 54635 w 100686"/>
                <a:gd name="connsiteY3" fmla="*/ 484855 h 544195"/>
                <a:gd name="connsiteX4" fmla="*/ 87273 w 100686"/>
                <a:gd name="connsiteY4" fmla="*/ 339471 h 544195"/>
                <a:gd name="connsiteX5" fmla="*/ 1229 w 100686"/>
                <a:gd name="connsiteY5" fmla="*/ 10130 h 544195"/>
                <a:gd name="connsiteX6" fmla="*/ 4196 w 100686"/>
                <a:gd name="connsiteY6" fmla="*/ 1229 h 544195"/>
                <a:gd name="connsiteX7" fmla="*/ 13097 w 100686"/>
                <a:gd name="connsiteY7" fmla="*/ 4196 h 544195"/>
                <a:gd name="connsiteX8" fmla="*/ 99141 w 100686"/>
                <a:gd name="connsiteY8" fmla="*/ 339471 h 544195"/>
                <a:gd name="connsiteX9" fmla="*/ 66503 w 100686"/>
                <a:gd name="connsiteY9" fmla="*/ 484855 h 544195"/>
                <a:gd name="connsiteX10" fmla="*/ 51668 w 100686"/>
                <a:gd name="connsiteY10" fmla="*/ 538262 h 544195"/>
                <a:gd name="connsiteX11" fmla="*/ 45735 w 100686"/>
                <a:gd name="connsiteY11" fmla="*/ 544196 h 544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686" h="544195">
                  <a:moveTo>
                    <a:pt x="45735" y="544196"/>
                  </a:moveTo>
                  <a:cubicBezTo>
                    <a:pt x="45735" y="544196"/>
                    <a:pt x="45735" y="544196"/>
                    <a:pt x="45735" y="544196"/>
                  </a:cubicBezTo>
                  <a:cubicBezTo>
                    <a:pt x="42767" y="544196"/>
                    <a:pt x="39800" y="541229"/>
                    <a:pt x="39800" y="538262"/>
                  </a:cubicBezTo>
                  <a:cubicBezTo>
                    <a:pt x="45735" y="520460"/>
                    <a:pt x="48702" y="502657"/>
                    <a:pt x="54635" y="484855"/>
                  </a:cubicBezTo>
                  <a:cubicBezTo>
                    <a:pt x="69470" y="434416"/>
                    <a:pt x="84306" y="383976"/>
                    <a:pt x="87273" y="339471"/>
                  </a:cubicBezTo>
                  <a:cubicBezTo>
                    <a:pt x="93207" y="220789"/>
                    <a:pt x="66503" y="111009"/>
                    <a:pt x="1229" y="10130"/>
                  </a:cubicBezTo>
                  <a:cubicBezTo>
                    <a:pt x="-1738" y="7163"/>
                    <a:pt x="1229" y="4196"/>
                    <a:pt x="4196" y="1229"/>
                  </a:cubicBezTo>
                  <a:cubicBezTo>
                    <a:pt x="7163" y="-1738"/>
                    <a:pt x="10130" y="1229"/>
                    <a:pt x="13097" y="4196"/>
                  </a:cubicBezTo>
                  <a:cubicBezTo>
                    <a:pt x="78372" y="108042"/>
                    <a:pt x="108042" y="220789"/>
                    <a:pt x="99141" y="339471"/>
                  </a:cubicBezTo>
                  <a:cubicBezTo>
                    <a:pt x="96174" y="383976"/>
                    <a:pt x="81338" y="437383"/>
                    <a:pt x="66503" y="484855"/>
                  </a:cubicBezTo>
                  <a:cubicBezTo>
                    <a:pt x="60570" y="502657"/>
                    <a:pt x="54635" y="520460"/>
                    <a:pt x="51668" y="538262"/>
                  </a:cubicBezTo>
                  <a:cubicBezTo>
                    <a:pt x="51668" y="541229"/>
                    <a:pt x="48702" y="544196"/>
                    <a:pt x="45735" y="544196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31300033-B510-4876-9363-A4A3BD24B8C2}"/>
                </a:ext>
              </a:extLst>
            </p:cNvPr>
            <p:cNvSpPr/>
            <p:nvPr/>
          </p:nvSpPr>
          <p:spPr>
            <a:xfrm>
              <a:off x="11263651" y="3891714"/>
              <a:ext cx="388681" cy="35415"/>
            </a:xfrm>
            <a:custGeom>
              <a:avLst/>
              <a:gdLst>
                <a:gd name="connsiteX0" fmla="*/ 385714 w 388681"/>
                <a:gd name="connsiteY0" fmla="*/ 35416 h 35415"/>
                <a:gd name="connsiteX1" fmla="*/ 385714 w 388681"/>
                <a:gd name="connsiteY1" fmla="*/ 35416 h 35415"/>
                <a:gd name="connsiteX2" fmla="*/ 5934 w 388681"/>
                <a:gd name="connsiteY2" fmla="*/ 23547 h 35415"/>
                <a:gd name="connsiteX3" fmla="*/ 0 w 388681"/>
                <a:gd name="connsiteY3" fmla="*/ 20580 h 35415"/>
                <a:gd name="connsiteX4" fmla="*/ 2967 w 388681"/>
                <a:gd name="connsiteY4" fmla="*/ 14646 h 35415"/>
                <a:gd name="connsiteX5" fmla="*/ 385714 w 388681"/>
                <a:gd name="connsiteY5" fmla="*/ 26514 h 35415"/>
                <a:gd name="connsiteX6" fmla="*/ 388682 w 388681"/>
                <a:gd name="connsiteY6" fmla="*/ 32449 h 35415"/>
                <a:gd name="connsiteX7" fmla="*/ 385714 w 388681"/>
                <a:gd name="connsiteY7" fmla="*/ 35416 h 3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8681" h="35415">
                  <a:moveTo>
                    <a:pt x="385714" y="35416"/>
                  </a:moveTo>
                  <a:cubicBezTo>
                    <a:pt x="385714" y="35416"/>
                    <a:pt x="382748" y="35416"/>
                    <a:pt x="385714" y="35416"/>
                  </a:cubicBezTo>
                  <a:cubicBezTo>
                    <a:pt x="302638" y="5745"/>
                    <a:pt x="103846" y="-189"/>
                    <a:pt x="5934" y="23547"/>
                  </a:cubicBezTo>
                  <a:cubicBezTo>
                    <a:pt x="2967" y="23547"/>
                    <a:pt x="0" y="23547"/>
                    <a:pt x="0" y="20580"/>
                  </a:cubicBezTo>
                  <a:cubicBezTo>
                    <a:pt x="0" y="17613"/>
                    <a:pt x="0" y="14646"/>
                    <a:pt x="2967" y="14646"/>
                  </a:cubicBezTo>
                  <a:cubicBezTo>
                    <a:pt x="100880" y="-9090"/>
                    <a:pt x="302638" y="-3156"/>
                    <a:pt x="385714" y="26514"/>
                  </a:cubicBezTo>
                  <a:cubicBezTo>
                    <a:pt x="388682" y="26514"/>
                    <a:pt x="388682" y="29482"/>
                    <a:pt x="388682" y="32449"/>
                  </a:cubicBezTo>
                  <a:cubicBezTo>
                    <a:pt x="388682" y="35416"/>
                    <a:pt x="388682" y="35416"/>
                    <a:pt x="385714" y="35416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A8D0FF5F-8C6F-4A07-924F-3797CF9294BB}"/>
                </a:ext>
              </a:extLst>
            </p:cNvPr>
            <p:cNvSpPr/>
            <p:nvPr/>
          </p:nvSpPr>
          <p:spPr>
            <a:xfrm>
              <a:off x="11174640" y="3372295"/>
              <a:ext cx="350110" cy="102436"/>
            </a:xfrm>
            <a:custGeom>
              <a:avLst/>
              <a:gdLst>
                <a:gd name="connsiteX0" fmla="*/ 311538 w 350110"/>
                <a:gd name="connsiteY0" fmla="*/ 8901 h 102436"/>
                <a:gd name="connsiteX1" fmla="*/ 311538 w 350110"/>
                <a:gd name="connsiteY1" fmla="*/ 8901 h 102436"/>
                <a:gd name="connsiteX2" fmla="*/ 94945 w 350110"/>
                <a:gd name="connsiteY2" fmla="*/ 38571 h 102436"/>
                <a:gd name="connsiteX3" fmla="*/ 23737 w 350110"/>
                <a:gd name="connsiteY3" fmla="*/ 0 h 102436"/>
                <a:gd name="connsiteX4" fmla="*/ 0 w 350110"/>
                <a:gd name="connsiteY4" fmla="*/ 8901 h 102436"/>
                <a:gd name="connsiteX5" fmla="*/ 97913 w 350110"/>
                <a:gd name="connsiteY5" fmla="*/ 74176 h 102436"/>
                <a:gd name="connsiteX6" fmla="*/ 314506 w 350110"/>
                <a:gd name="connsiteY6" fmla="*/ 53407 h 102436"/>
                <a:gd name="connsiteX7" fmla="*/ 350110 w 350110"/>
                <a:gd name="connsiteY7" fmla="*/ 17802 h 102436"/>
                <a:gd name="connsiteX8" fmla="*/ 311538 w 350110"/>
                <a:gd name="connsiteY8" fmla="*/ 8901 h 102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0110" h="102436">
                  <a:moveTo>
                    <a:pt x="311538" y="8901"/>
                  </a:moveTo>
                  <a:lnTo>
                    <a:pt x="311538" y="8901"/>
                  </a:lnTo>
                  <a:cubicBezTo>
                    <a:pt x="255165" y="71209"/>
                    <a:pt x="163187" y="83077"/>
                    <a:pt x="94945" y="38571"/>
                  </a:cubicBezTo>
                  <a:cubicBezTo>
                    <a:pt x="68242" y="20769"/>
                    <a:pt x="41539" y="5934"/>
                    <a:pt x="23737" y="0"/>
                  </a:cubicBezTo>
                  <a:lnTo>
                    <a:pt x="0" y="8901"/>
                  </a:lnTo>
                  <a:lnTo>
                    <a:pt x="97913" y="74176"/>
                  </a:lnTo>
                  <a:cubicBezTo>
                    <a:pt x="166154" y="118681"/>
                    <a:pt x="255165" y="109780"/>
                    <a:pt x="314506" y="53407"/>
                  </a:cubicBezTo>
                  <a:lnTo>
                    <a:pt x="350110" y="17802"/>
                  </a:lnTo>
                  <a:cubicBezTo>
                    <a:pt x="347143" y="14835"/>
                    <a:pt x="332308" y="8901"/>
                    <a:pt x="311538" y="8901"/>
                  </a:cubicBezTo>
                  <a:close/>
                </a:path>
              </a:pathLst>
            </a:custGeom>
            <a:solidFill>
              <a:srgbClr val="D16156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1487BCBB-B60A-4D5B-9ED8-A04BE9284334}"/>
                </a:ext>
              </a:extLst>
            </p:cNvPr>
            <p:cNvSpPr/>
            <p:nvPr/>
          </p:nvSpPr>
          <p:spPr>
            <a:xfrm>
              <a:off x="11057571" y="3256580"/>
              <a:ext cx="1155530" cy="497346"/>
            </a:xfrm>
            <a:custGeom>
              <a:avLst/>
              <a:gdLst>
                <a:gd name="connsiteX0" fmla="*/ 72563 w 1155530"/>
                <a:gd name="connsiteY0" fmla="*/ 394615 h 497346"/>
                <a:gd name="connsiteX1" fmla="*/ 182344 w 1155530"/>
                <a:gd name="connsiteY1" fmla="*/ 172088 h 497346"/>
                <a:gd name="connsiteX2" fmla="*/ 615531 w 1155530"/>
                <a:gd name="connsiteY2" fmla="*/ 287802 h 497346"/>
                <a:gd name="connsiteX3" fmla="*/ 1108059 w 1155530"/>
                <a:gd name="connsiteY3" fmla="*/ 0 h 497346"/>
                <a:gd name="connsiteX4" fmla="*/ 1155531 w 1155530"/>
                <a:gd name="connsiteY4" fmla="*/ 112747 h 497346"/>
                <a:gd name="connsiteX5" fmla="*/ 692674 w 1155530"/>
                <a:gd name="connsiteY5" fmla="*/ 489560 h 497346"/>
                <a:gd name="connsiteX6" fmla="*/ 72563 w 1155530"/>
                <a:gd name="connsiteY6" fmla="*/ 394615 h 497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5530" h="497346">
                  <a:moveTo>
                    <a:pt x="72563" y="394615"/>
                  </a:moveTo>
                  <a:cubicBezTo>
                    <a:pt x="-90623" y="320439"/>
                    <a:pt x="54762" y="154286"/>
                    <a:pt x="182344" y="172088"/>
                  </a:cubicBezTo>
                  <a:cubicBezTo>
                    <a:pt x="306960" y="189890"/>
                    <a:pt x="538388" y="290769"/>
                    <a:pt x="615531" y="287802"/>
                  </a:cubicBezTo>
                  <a:cubicBezTo>
                    <a:pt x="701575" y="267033"/>
                    <a:pt x="1108059" y="0"/>
                    <a:pt x="1108059" y="0"/>
                  </a:cubicBezTo>
                  <a:cubicBezTo>
                    <a:pt x="1131795" y="20769"/>
                    <a:pt x="1155531" y="112747"/>
                    <a:pt x="1155531" y="112747"/>
                  </a:cubicBezTo>
                  <a:cubicBezTo>
                    <a:pt x="1155531" y="112747"/>
                    <a:pt x="814322" y="433187"/>
                    <a:pt x="692674" y="489560"/>
                  </a:cubicBezTo>
                  <a:cubicBezTo>
                    <a:pt x="627399" y="516264"/>
                    <a:pt x="244652" y="471758"/>
                    <a:pt x="72563" y="394615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7" name="图形 1">
              <a:extLst>
                <a:ext uri="{FF2B5EF4-FFF2-40B4-BE49-F238E27FC236}">
                  <a16:creationId xmlns:a16="http://schemas.microsoft.com/office/drawing/2014/main" id="{22396E37-7747-4236-82D6-897BD401F0E5}"/>
                </a:ext>
              </a:extLst>
            </p:cNvPr>
            <p:cNvGrpSpPr/>
            <p:nvPr/>
          </p:nvGrpSpPr>
          <p:grpSpPr>
            <a:xfrm>
              <a:off x="12122862" y="3099887"/>
              <a:ext cx="277163" cy="271979"/>
              <a:chOff x="12122862" y="3099887"/>
              <a:chExt cx="277163" cy="271979"/>
            </a:xfrm>
          </p:grpSpPr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AC466DA7-A7B1-4640-A0A2-0A14EEA6E7A8}"/>
                  </a:ext>
                </a:extLst>
              </p:cNvPr>
              <p:cNvSpPr/>
              <p:nvPr/>
            </p:nvSpPr>
            <p:spPr>
              <a:xfrm>
                <a:off x="12122862" y="3110504"/>
                <a:ext cx="262516" cy="261362"/>
              </a:xfrm>
              <a:custGeom>
                <a:avLst/>
                <a:gdLst>
                  <a:gd name="connsiteX0" fmla="*/ 102109 w 262516"/>
                  <a:gd name="connsiteY0" fmla="*/ 255856 h 261362"/>
                  <a:gd name="connsiteX1" fmla="*/ 146614 w 262516"/>
                  <a:gd name="connsiteY1" fmla="*/ 211351 h 261362"/>
                  <a:gd name="connsiteX2" fmla="*/ 191120 w 262516"/>
                  <a:gd name="connsiteY2" fmla="*/ 175746 h 261362"/>
                  <a:gd name="connsiteX3" fmla="*/ 182218 w 262516"/>
                  <a:gd name="connsiteY3" fmla="*/ 149043 h 261362"/>
                  <a:gd name="connsiteX4" fmla="*/ 176284 w 262516"/>
                  <a:gd name="connsiteY4" fmla="*/ 107504 h 261362"/>
                  <a:gd name="connsiteX5" fmla="*/ 158482 w 262516"/>
                  <a:gd name="connsiteY5" fmla="*/ 68933 h 261362"/>
                  <a:gd name="connsiteX6" fmla="*/ 202987 w 262516"/>
                  <a:gd name="connsiteY6" fmla="*/ 45197 h 261362"/>
                  <a:gd name="connsiteX7" fmla="*/ 262328 w 262516"/>
                  <a:gd name="connsiteY7" fmla="*/ 9592 h 261362"/>
                  <a:gd name="connsiteX8" fmla="*/ 176284 w 262516"/>
                  <a:gd name="connsiteY8" fmla="*/ 6625 h 261362"/>
                  <a:gd name="connsiteX9" fmla="*/ 78372 w 262516"/>
                  <a:gd name="connsiteY9" fmla="*/ 45197 h 261362"/>
                  <a:gd name="connsiteX10" fmla="*/ 1229 w 262516"/>
                  <a:gd name="connsiteY10" fmla="*/ 178713 h 261362"/>
                  <a:gd name="connsiteX11" fmla="*/ 4196 w 262516"/>
                  <a:gd name="connsiteY11" fmla="*/ 190582 h 261362"/>
                  <a:gd name="connsiteX12" fmla="*/ 102109 w 262516"/>
                  <a:gd name="connsiteY12" fmla="*/ 255856 h 261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2516" h="261362">
                    <a:moveTo>
                      <a:pt x="102109" y="255856"/>
                    </a:moveTo>
                    <a:cubicBezTo>
                      <a:pt x="128812" y="243988"/>
                      <a:pt x="128812" y="232120"/>
                      <a:pt x="146614" y="211351"/>
                    </a:cubicBezTo>
                    <a:cubicBezTo>
                      <a:pt x="158482" y="196515"/>
                      <a:pt x="179251" y="193548"/>
                      <a:pt x="191120" y="175746"/>
                    </a:cubicBezTo>
                    <a:cubicBezTo>
                      <a:pt x="194086" y="172779"/>
                      <a:pt x="188152" y="152010"/>
                      <a:pt x="182218" y="149043"/>
                    </a:cubicBezTo>
                    <a:cubicBezTo>
                      <a:pt x="211888" y="113439"/>
                      <a:pt x="179251" y="107504"/>
                      <a:pt x="176284" y="107504"/>
                    </a:cubicBezTo>
                    <a:cubicBezTo>
                      <a:pt x="176284" y="107504"/>
                      <a:pt x="194086" y="68933"/>
                      <a:pt x="158482" y="68933"/>
                    </a:cubicBezTo>
                    <a:cubicBezTo>
                      <a:pt x="149580" y="68933"/>
                      <a:pt x="176284" y="57065"/>
                      <a:pt x="202987" y="45197"/>
                    </a:cubicBezTo>
                    <a:cubicBezTo>
                      <a:pt x="232658" y="33329"/>
                      <a:pt x="265295" y="21461"/>
                      <a:pt x="262328" y="9592"/>
                    </a:cubicBezTo>
                    <a:cubicBezTo>
                      <a:pt x="256394" y="-8210"/>
                      <a:pt x="191120" y="3658"/>
                      <a:pt x="176284" y="6625"/>
                    </a:cubicBezTo>
                    <a:cubicBezTo>
                      <a:pt x="143647" y="15527"/>
                      <a:pt x="111009" y="30362"/>
                      <a:pt x="78372" y="45197"/>
                    </a:cubicBezTo>
                    <a:cubicBezTo>
                      <a:pt x="33866" y="68933"/>
                      <a:pt x="19031" y="137175"/>
                      <a:pt x="1229" y="178713"/>
                    </a:cubicBezTo>
                    <a:cubicBezTo>
                      <a:pt x="-1738" y="184647"/>
                      <a:pt x="1229" y="187614"/>
                      <a:pt x="4196" y="190582"/>
                    </a:cubicBezTo>
                    <a:cubicBezTo>
                      <a:pt x="19031" y="235087"/>
                      <a:pt x="54636" y="276625"/>
                      <a:pt x="102109" y="255856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6ECA19AD-EF66-4B20-A3D6-8DC3F16B3BFA}"/>
                  </a:ext>
                </a:extLst>
              </p:cNvPr>
              <p:cNvSpPr/>
              <p:nvPr/>
            </p:nvSpPr>
            <p:spPr>
              <a:xfrm>
                <a:off x="12197037" y="3099887"/>
                <a:ext cx="202987" cy="85484"/>
              </a:xfrm>
              <a:custGeom>
                <a:avLst/>
                <a:gdLst>
                  <a:gd name="connsiteX0" fmla="*/ 90240 w 202987"/>
                  <a:gd name="connsiteY0" fmla="*/ 85484 h 85484"/>
                  <a:gd name="connsiteX1" fmla="*/ 84306 w 202987"/>
                  <a:gd name="connsiteY1" fmla="*/ 82517 h 85484"/>
                  <a:gd name="connsiteX2" fmla="*/ 87273 w 202987"/>
                  <a:gd name="connsiteY2" fmla="*/ 73616 h 85484"/>
                  <a:gd name="connsiteX3" fmla="*/ 134745 w 202987"/>
                  <a:gd name="connsiteY3" fmla="*/ 46913 h 85484"/>
                  <a:gd name="connsiteX4" fmla="*/ 164415 w 202987"/>
                  <a:gd name="connsiteY4" fmla="*/ 35045 h 85484"/>
                  <a:gd name="connsiteX5" fmla="*/ 191120 w 202987"/>
                  <a:gd name="connsiteY5" fmla="*/ 20210 h 85484"/>
                  <a:gd name="connsiteX6" fmla="*/ 191120 w 202987"/>
                  <a:gd name="connsiteY6" fmla="*/ 17243 h 85484"/>
                  <a:gd name="connsiteX7" fmla="*/ 113976 w 202987"/>
                  <a:gd name="connsiteY7" fmla="*/ 20210 h 85484"/>
                  <a:gd name="connsiteX8" fmla="*/ 10130 w 202987"/>
                  <a:gd name="connsiteY8" fmla="*/ 61748 h 85484"/>
                  <a:gd name="connsiteX9" fmla="*/ 1229 w 202987"/>
                  <a:gd name="connsiteY9" fmla="*/ 58781 h 85484"/>
                  <a:gd name="connsiteX10" fmla="*/ 4196 w 202987"/>
                  <a:gd name="connsiteY10" fmla="*/ 49880 h 85484"/>
                  <a:gd name="connsiteX11" fmla="*/ 108042 w 202987"/>
                  <a:gd name="connsiteY11" fmla="*/ 8342 h 85484"/>
                  <a:gd name="connsiteX12" fmla="*/ 197053 w 202987"/>
                  <a:gd name="connsiteY12" fmla="*/ 5374 h 85484"/>
                  <a:gd name="connsiteX13" fmla="*/ 202987 w 202987"/>
                  <a:gd name="connsiteY13" fmla="*/ 17243 h 85484"/>
                  <a:gd name="connsiteX14" fmla="*/ 167383 w 202987"/>
                  <a:gd name="connsiteY14" fmla="*/ 43946 h 85484"/>
                  <a:gd name="connsiteX15" fmla="*/ 140680 w 202987"/>
                  <a:gd name="connsiteY15" fmla="*/ 55814 h 85484"/>
                  <a:gd name="connsiteX16" fmla="*/ 96174 w 202987"/>
                  <a:gd name="connsiteY16" fmla="*/ 82517 h 85484"/>
                  <a:gd name="connsiteX17" fmla="*/ 90240 w 202987"/>
                  <a:gd name="connsiteY17" fmla="*/ 85484 h 85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02987" h="85484">
                    <a:moveTo>
                      <a:pt x="90240" y="85484"/>
                    </a:moveTo>
                    <a:cubicBezTo>
                      <a:pt x="87273" y="85484"/>
                      <a:pt x="87273" y="85484"/>
                      <a:pt x="84306" y="82517"/>
                    </a:cubicBezTo>
                    <a:cubicBezTo>
                      <a:pt x="81339" y="79550"/>
                      <a:pt x="84306" y="76583"/>
                      <a:pt x="87273" y="73616"/>
                    </a:cubicBezTo>
                    <a:cubicBezTo>
                      <a:pt x="87273" y="73616"/>
                      <a:pt x="108042" y="58781"/>
                      <a:pt x="134745" y="46913"/>
                    </a:cubicBezTo>
                    <a:cubicBezTo>
                      <a:pt x="143647" y="40979"/>
                      <a:pt x="155515" y="38012"/>
                      <a:pt x="164415" y="35045"/>
                    </a:cubicBezTo>
                    <a:cubicBezTo>
                      <a:pt x="179251" y="29111"/>
                      <a:pt x="191120" y="26144"/>
                      <a:pt x="191120" y="20210"/>
                    </a:cubicBezTo>
                    <a:cubicBezTo>
                      <a:pt x="191120" y="20210"/>
                      <a:pt x="191120" y="20210"/>
                      <a:pt x="191120" y="17243"/>
                    </a:cubicBezTo>
                    <a:cubicBezTo>
                      <a:pt x="182218" y="11309"/>
                      <a:pt x="149580" y="11309"/>
                      <a:pt x="113976" y="20210"/>
                    </a:cubicBezTo>
                    <a:cubicBezTo>
                      <a:pt x="63537" y="35045"/>
                      <a:pt x="13098" y="61748"/>
                      <a:pt x="10130" y="61748"/>
                    </a:cubicBezTo>
                    <a:cubicBezTo>
                      <a:pt x="7163" y="61748"/>
                      <a:pt x="4196" y="61748"/>
                      <a:pt x="1229" y="58781"/>
                    </a:cubicBezTo>
                    <a:cubicBezTo>
                      <a:pt x="-1738" y="55814"/>
                      <a:pt x="1229" y="52847"/>
                      <a:pt x="4196" y="49880"/>
                    </a:cubicBezTo>
                    <a:cubicBezTo>
                      <a:pt x="4196" y="49880"/>
                      <a:pt x="57603" y="23177"/>
                      <a:pt x="108042" y="8342"/>
                    </a:cubicBezTo>
                    <a:cubicBezTo>
                      <a:pt x="140680" y="-560"/>
                      <a:pt x="182218" y="-3527"/>
                      <a:pt x="197053" y="5374"/>
                    </a:cubicBezTo>
                    <a:cubicBezTo>
                      <a:pt x="202987" y="8342"/>
                      <a:pt x="202987" y="14276"/>
                      <a:pt x="202987" y="17243"/>
                    </a:cubicBezTo>
                    <a:cubicBezTo>
                      <a:pt x="202987" y="32078"/>
                      <a:pt x="188152" y="38012"/>
                      <a:pt x="167383" y="43946"/>
                    </a:cubicBezTo>
                    <a:cubicBezTo>
                      <a:pt x="158482" y="46913"/>
                      <a:pt x="149580" y="49880"/>
                      <a:pt x="140680" y="55814"/>
                    </a:cubicBezTo>
                    <a:cubicBezTo>
                      <a:pt x="116944" y="67682"/>
                      <a:pt x="96174" y="82517"/>
                      <a:pt x="96174" y="82517"/>
                    </a:cubicBezTo>
                    <a:cubicBezTo>
                      <a:pt x="90240" y="85484"/>
                      <a:pt x="90240" y="85484"/>
                      <a:pt x="90240" y="85484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C9DE217B-E593-479D-ACCD-1C3C1372AC70}"/>
                  </a:ext>
                </a:extLst>
              </p:cNvPr>
              <p:cNvSpPr/>
              <p:nvPr/>
            </p:nvSpPr>
            <p:spPr>
              <a:xfrm>
                <a:off x="12272442" y="3172719"/>
                <a:ext cx="44505" cy="57158"/>
              </a:xfrm>
              <a:custGeom>
                <a:avLst/>
                <a:gdLst>
                  <a:gd name="connsiteX0" fmla="*/ 14835 w 44505"/>
                  <a:gd name="connsiteY0" fmla="*/ 57158 h 57158"/>
                  <a:gd name="connsiteX1" fmla="*/ 8902 w 44505"/>
                  <a:gd name="connsiteY1" fmla="*/ 54191 h 57158"/>
                  <a:gd name="connsiteX2" fmla="*/ 11869 w 44505"/>
                  <a:gd name="connsiteY2" fmla="*/ 45290 h 57158"/>
                  <a:gd name="connsiteX3" fmla="*/ 26704 w 44505"/>
                  <a:gd name="connsiteY3" fmla="*/ 30455 h 57158"/>
                  <a:gd name="connsiteX4" fmla="*/ 26704 w 44505"/>
                  <a:gd name="connsiteY4" fmla="*/ 18587 h 57158"/>
                  <a:gd name="connsiteX5" fmla="*/ 5934 w 44505"/>
                  <a:gd name="connsiteY5" fmla="*/ 12653 h 57158"/>
                  <a:gd name="connsiteX6" fmla="*/ 0 w 44505"/>
                  <a:gd name="connsiteY6" fmla="*/ 6719 h 57158"/>
                  <a:gd name="connsiteX7" fmla="*/ 5934 w 44505"/>
                  <a:gd name="connsiteY7" fmla="*/ 785 h 57158"/>
                  <a:gd name="connsiteX8" fmla="*/ 41539 w 44505"/>
                  <a:gd name="connsiteY8" fmla="*/ 15620 h 57158"/>
                  <a:gd name="connsiteX9" fmla="*/ 44505 w 44505"/>
                  <a:gd name="connsiteY9" fmla="*/ 39356 h 57158"/>
                  <a:gd name="connsiteX10" fmla="*/ 14835 w 44505"/>
                  <a:gd name="connsiteY10" fmla="*/ 57158 h 57158"/>
                  <a:gd name="connsiteX11" fmla="*/ 14835 w 44505"/>
                  <a:gd name="connsiteY11" fmla="*/ 57158 h 57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4505" h="57158">
                    <a:moveTo>
                      <a:pt x="14835" y="57158"/>
                    </a:moveTo>
                    <a:cubicBezTo>
                      <a:pt x="11869" y="57158"/>
                      <a:pt x="11869" y="57158"/>
                      <a:pt x="8902" y="54191"/>
                    </a:cubicBezTo>
                    <a:cubicBezTo>
                      <a:pt x="8902" y="51224"/>
                      <a:pt x="8902" y="48257"/>
                      <a:pt x="11869" y="45290"/>
                    </a:cubicBezTo>
                    <a:cubicBezTo>
                      <a:pt x="11869" y="45290"/>
                      <a:pt x="23737" y="39356"/>
                      <a:pt x="26704" y="30455"/>
                    </a:cubicBezTo>
                    <a:cubicBezTo>
                      <a:pt x="29670" y="27488"/>
                      <a:pt x="26704" y="21554"/>
                      <a:pt x="26704" y="18587"/>
                    </a:cubicBezTo>
                    <a:cubicBezTo>
                      <a:pt x="20770" y="6719"/>
                      <a:pt x="5934" y="12653"/>
                      <a:pt x="5934" y="12653"/>
                    </a:cubicBezTo>
                    <a:cubicBezTo>
                      <a:pt x="2967" y="12653"/>
                      <a:pt x="0" y="12653"/>
                      <a:pt x="0" y="6719"/>
                    </a:cubicBezTo>
                    <a:cubicBezTo>
                      <a:pt x="0" y="3752"/>
                      <a:pt x="0" y="785"/>
                      <a:pt x="5934" y="785"/>
                    </a:cubicBezTo>
                    <a:cubicBezTo>
                      <a:pt x="5934" y="785"/>
                      <a:pt x="32638" y="-5149"/>
                      <a:pt x="41539" y="15620"/>
                    </a:cubicBezTo>
                    <a:cubicBezTo>
                      <a:pt x="44505" y="24521"/>
                      <a:pt x="44505" y="30455"/>
                      <a:pt x="44505" y="39356"/>
                    </a:cubicBezTo>
                    <a:cubicBezTo>
                      <a:pt x="35605" y="51224"/>
                      <a:pt x="17802" y="57158"/>
                      <a:pt x="14835" y="57158"/>
                    </a:cubicBezTo>
                    <a:cubicBezTo>
                      <a:pt x="17802" y="57158"/>
                      <a:pt x="17802" y="57158"/>
                      <a:pt x="14835" y="57158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5720E2EE-DD27-4700-A480-658829586FBD}"/>
                  </a:ext>
                </a:extLst>
              </p:cNvPr>
              <p:cNvSpPr/>
              <p:nvPr/>
            </p:nvSpPr>
            <p:spPr>
              <a:xfrm>
                <a:off x="12236838" y="3191306"/>
                <a:ext cx="38571" cy="97912"/>
              </a:xfrm>
              <a:custGeom>
                <a:avLst/>
                <a:gdLst>
                  <a:gd name="connsiteX0" fmla="*/ 32638 w 38571"/>
                  <a:gd name="connsiteY0" fmla="*/ 97912 h 97912"/>
                  <a:gd name="connsiteX1" fmla="*/ 26703 w 38571"/>
                  <a:gd name="connsiteY1" fmla="*/ 91978 h 97912"/>
                  <a:gd name="connsiteX2" fmla="*/ 0 w 38571"/>
                  <a:gd name="connsiteY2" fmla="*/ 8901 h 97912"/>
                  <a:gd name="connsiteX3" fmla="*/ 2967 w 38571"/>
                  <a:gd name="connsiteY3" fmla="*/ 0 h 97912"/>
                  <a:gd name="connsiteX4" fmla="*/ 11868 w 38571"/>
                  <a:gd name="connsiteY4" fmla="*/ 2967 h 97912"/>
                  <a:gd name="connsiteX5" fmla="*/ 38571 w 38571"/>
                  <a:gd name="connsiteY5" fmla="*/ 89011 h 97912"/>
                  <a:gd name="connsiteX6" fmla="*/ 32638 w 38571"/>
                  <a:gd name="connsiteY6" fmla="*/ 97912 h 97912"/>
                  <a:gd name="connsiteX7" fmla="*/ 32638 w 38571"/>
                  <a:gd name="connsiteY7" fmla="*/ 97912 h 9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571" h="97912">
                    <a:moveTo>
                      <a:pt x="32638" y="97912"/>
                    </a:moveTo>
                    <a:cubicBezTo>
                      <a:pt x="29670" y="97912"/>
                      <a:pt x="26703" y="94945"/>
                      <a:pt x="26703" y="91978"/>
                    </a:cubicBezTo>
                    <a:cubicBezTo>
                      <a:pt x="26703" y="59341"/>
                      <a:pt x="0" y="11868"/>
                      <a:pt x="0" y="8901"/>
                    </a:cubicBezTo>
                    <a:cubicBezTo>
                      <a:pt x="0" y="5934"/>
                      <a:pt x="0" y="2967"/>
                      <a:pt x="2967" y="0"/>
                    </a:cubicBezTo>
                    <a:cubicBezTo>
                      <a:pt x="5934" y="0"/>
                      <a:pt x="8901" y="0"/>
                      <a:pt x="11868" y="2967"/>
                    </a:cubicBezTo>
                    <a:cubicBezTo>
                      <a:pt x="11868" y="5934"/>
                      <a:pt x="38571" y="56374"/>
                      <a:pt x="38571" y="89011"/>
                    </a:cubicBezTo>
                    <a:cubicBezTo>
                      <a:pt x="38571" y="94945"/>
                      <a:pt x="35604" y="97912"/>
                      <a:pt x="32638" y="97912"/>
                    </a:cubicBezTo>
                    <a:cubicBezTo>
                      <a:pt x="32638" y="97912"/>
                      <a:pt x="32638" y="97912"/>
                      <a:pt x="32638" y="9791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04CF9D9F-4835-41A2-9C38-FFCB2A24BC61}"/>
                  </a:ext>
                </a:extLst>
              </p:cNvPr>
              <p:cNvSpPr/>
              <p:nvPr/>
            </p:nvSpPr>
            <p:spPr>
              <a:xfrm>
                <a:off x="12267250" y="3209108"/>
                <a:ext cx="57406" cy="118681"/>
              </a:xfrm>
              <a:custGeom>
                <a:avLst/>
                <a:gdLst>
                  <a:gd name="connsiteX0" fmla="*/ 5192 w 57406"/>
                  <a:gd name="connsiteY0" fmla="*/ 118681 h 118681"/>
                  <a:gd name="connsiteX1" fmla="*/ 2225 w 57406"/>
                  <a:gd name="connsiteY1" fmla="*/ 115714 h 118681"/>
                  <a:gd name="connsiteX2" fmla="*/ 2225 w 57406"/>
                  <a:gd name="connsiteY2" fmla="*/ 106813 h 118681"/>
                  <a:gd name="connsiteX3" fmla="*/ 37829 w 57406"/>
                  <a:gd name="connsiteY3" fmla="*/ 83077 h 118681"/>
                  <a:gd name="connsiteX4" fmla="*/ 46731 w 57406"/>
                  <a:gd name="connsiteY4" fmla="*/ 71209 h 118681"/>
                  <a:gd name="connsiteX5" fmla="*/ 40796 w 57406"/>
                  <a:gd name="connsiteY5" fmla="*/ 53407 h 118681"/>
                  <a:gd name="connsiteX6" fmla="*/ 40796 w 57406"/>
                  <a:gd name="connsiteY6" fmla="*/ 47473 h 118681"/>
                  <a:gd name="connsiteX7" fmla="*/ 49697 w 57406"/>
                  <a:gd name="connsiteY7" fmla="*/ 20769 h 118681"/>
                  <a:gd name="connsiteX8" fmla="*/ 37829 w 57406"/>
                  <a:gd name="connsiteY8" fmla="*/ 11868 h 118681"/>
                  <a:gd name="connsiteX9" fmla="*/ 31896 w 57406"/>
                  <a:gd name="connsiteY9" fmla="*/ 5934 h 118681"/>
                  <a:gd name="connsiteX10" fmla="*/ 37829 w 57406"/>
                  <a:gd name="connsiteY10" fmla="*/ 0 h 118681"/>
                  <a:gd name="connsiteX11" fmla="*/ 55632 w 57406"/>
                  <a:gd name="connsiteY11" fmla="*/ 14835 h 118681"/>
                  <a:gd name="connsiteX12" fmla="*/ 49697 w 57406"/>
                  <a:gd name="connsiteY12" fmla="*/ 47473 h 118681"/>
                  <a:gd name="connsiteX13" fmla="*/ 55632 w 57406"/>
                  <a:gd name="connsiteY13" fmla="*/ 71209 h 118681"/>
                  <a:gd name="connsiteX14" fmla="*/ 40796 w 57406"/>
                  <a:gd name="connsiteY14" fmla="*/ 91978 h 118681"/>
                  <a:gd name="connsiteX15" fmla="*/ 8159 w 57406"/>
                  <a:gd name="connsiteY15" fmla="*/ 115714 h 118681"/>
                  <a:gd name="connsiteX16" fmla="*/ 5192 w 57406"/>
                  <a:gd name="connsiteY16" fmla="*/ 118681 h 118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7406" h="118681">
                    <a:moveTo>
                      <a:pt x="5192" y="118681"/>
                    </a:moveTo>
                    <a:cubicBezTo>
                      <a:pt x="2225" y="118681"/>
                      <a:pt x="2225" y="118681"/>
                      <a:pt x="2225" y="115714"/>
                    </a:cubicBezTo>
                    <a:cubicBezTo>
                      <a:pt x="-742" y="112747"/>
                      <a:pt x="-742" y="109780"/>
                      <a:pt x="2225" y="106813"/>
                    </a:cubicBezTo>
                    <a:cubicBezTo>
                      <a:pt x="2225" y="106813"/>
                      <a:pt x="14093" y="97912"/>
                      <a:pt x="37829" y="83077"/>
                    </a:cubicBezTo>
                    <a:cubicBezTo>
                      <a:pt x="43764" y="80110"/>
                      <a:pt x="46731" y="77143"/>
                      <a:pt x="46731" y="71209"/>
                    </a:cubicBezTo>
                    <a:cubicBezTo>
                      <a:pt x="46731" y="62308"/>
                      <a:pt x="40796" y="53407"/>
                      <a:pt x="40796" y="53407"/>
                    </a:cubicBezTo>
                    <a:cubicBezTo>
                      <a:pt x="37829" y="50440"/>
                      <a:pt x="37829" y="47473"/>
                      <a:pt x="40796" y="47473"/>
                    </a:cubicBezTo>
                    <a:cubicBezTo>
                      <a:pt x="49697" y="35604"/>
                      <a:pt x="49697" y="26703"/>
                      <a:pt x="49697" y="20769"/>
                    </a:cubicBezTo>
                    <a:cubicBezTo>
                      <a:pt x="46731" y="14835"/>
                      <a:pt x="37829" y="11868"/>
                      <a:pt x="37829" y="11868"/>
                    </a:cubicBezTo>
                    <a:cubicBezTo>
                      <a:pt x="34862" y="11868"/>
                      <a:pt x="31896" y="8901"/>
                      <a:pt x="31896" y="5934"/>
                    </a:cubicBezTo>
                    <a:cubicBezTo>
                      <a:pt x="31896" y="2967"/>
                      <a:pt x="34862" y="0"/>
                      <a:pt x="37829" y="0"/>
                    </a:cubicBezTo>
                    <a:cubicBezTo>
                      <a:pt x="37829" y="0"/>
                      <a:pt x="52664" y="2967"/>
                      <a:pt x="55632" y="14835"/>
                    </a:cubicBezTo>
                    <a:cubicBezTo>
                      <a:pt x="58599" y="23736"/>
                      <a:pt x="58599" y="35604"/>
                      <a:pt x="49697" y="47473"/>
                    </a:cubicBezTo>
                    <a:cubicBezTo>
                      <a:pt x="52664" y="53407"/>
                      <a:pt x="58599" y="62308"/>
                      <a:pt x="55632" y="71209"/>
                    </a:cubicBezTo>
                    <a:cubicBezTo>
                      <a:pt x="55632" y="80110"/>
                      <a:pt x="49697" y="86044"/>
                      <a:pt x="40796" y="91978"/>
                    </a:cubicBezTo>
                    <a:cubicBezTo>
                      <a:pt x="17061" y="106813"/>
                      <a:pt x="8159" y="115714"/>
                      <a:pt x="8159" y="115714"/>
                    </a:cubicBezTo>
                    <a:cubicBezTo>
                      <a:pt x="5192" y="118681"/>
                      <a:pt x="5192" y="118681"/>
                      <a:pt x="5192" y="118681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1016A1DC-9159-4C87-8CA1-950CF73476D5}"/>
                </a:ext>
              </a:extLst>
            </p:cNvPr>
            <p:cNvSpPr/>
            <p:nvPr/>
          </p:nvSpPr>
          <p:spPr>
            <a:xfrm>
              <a:off x="10963722" y="3383440"/>
              <a:ext cx="414764" cy="368634"/>
            </a:xfrm>
            <a:custGeom>
              <a:avLst/>
              <a:gdLst>
                <a:gd name="connsiteX0" fmla="*/ 326632 w 414764"/>
                <a:gd name="connsiteY0" fmla="*/ 368634 h 368634"/>
                <a:gd name="connsiteX1" fmla="*/ 259 w 414764"/>
                <a:gd name="connsiteY1" fmla="*/ 149074 h 368634"/>
                <a:gd name="connsiteX2" fmla="*/ 409709 w 414764"/>
                <a:gd name="connsiteY2" fmla="*/ 12590 h 368634"/>
                <a:gd name="connsiteX3" fmla="*/ 326632 w 414764"/>
                <a:gd name="connsiteY3" fmla="*/ 368634 h 36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4764" h="368634">
                  <a:moveTo>
                    <a:pt x="326632" y="368634"/>
                  </a:moveTo>
                  <a:cubicBezTo>
                    <a:pt x="148610" y="347865"/>
                    <a:pt x="6192" y="226217"/>
                    <a:pt x="259" y="149074"/>
                  </a:cubicBezTo>
                  <a:cubicBezTo>
                    <a:pt x="-8643" y="48195"/>
                    <a:pt x="213884" y="-31915"/>
                    <a:pt x="409709" y="12590"/>
                  </a:cubicBezTo>
                  <a:cubicBezTo>
                    <a:pt x="433445" y="83799"/>
                    <a:pt x="368171" y="279623"/>
                    <a:pt x="326632" y="368634"/>
                  </a:cubicBez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CFF6BDCB-B25E-4902-BEF2-0BC4AF651B39}"/>
                </a:ext>
              </a:extLst>
            </p:cNvPr>
            <p:cNvSpPr/>
            <p:nvPr/>
          </p:nvSpPr>
          <p:spPr>
            <a:xfrm>
              <a:off x="11375169" y="4293813"/>
              <a:ext cx="306833" cy="27932"/>
            </a:xfrm>
            <a:custGeom>
              <a:avLst/>
              <a:gdLst>
                <a:gd name="connsiteX0" fmla="*/ 300900 w 306833"/>
                <a:gd name="connsiteY0" fmla="*/ 27932 h 27932"/>
                <a:gd name="connsiteX1" fmla="*/ 300900 w 306833"/>
                <a:gd name="connsiteY1" fmla="*/ 27932 h 27932"/>
                <a:gd name="connsiteX2" fmla="*/ 4196 w 306833"/>
                <a:gd name="connsiteY2" fmla="*/ 10130 h 27932"/>
                <a:gd name="connsiteX3" fmla="*/ 1229 w 306833"/>
                <a:gd name="connsiteY3" fmla="*/ 4196 h 27932"/>
                <a:gd name="connsiteX4" fmla="*/ 7163 w 306833"/>
                <a:gd name="connsiteY4" fmla="*/ 1229 h 27932"/>
                <a:gd name="connsiteX5" fmla="*/ 300900 w 306833"/>
                <a:gd name="connsiteY5" fmla="*/ 19031 h 27932"/>
                <a:gd name="connsiteX6" fmla="*/ 306833 w 306833"/>
                <a:gd name="connsiteY6" fmla="*/ 24965 h 27932"/>
                <a:gd name="connsiteX7" fmla="*/ 300900 w 306833"/>
                <a:gd name="connsiteY7" fmla="*/ 27932 h 27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6833" h="27932">
                  <a:moveTo>
                    <a:pt x="300900" y="27932"/>
                  </a:moveTo>
                  <a:cubicBezTo>
                    <a:pt x="300900" y="27932"/>
                    <a:pt x="300900" y="27932"/>
                    <a:pt x="300900" y="27932"/>
                  </a:cubicBezTo>
                  <a:cubicBezTo>
                    <a:pt x="297932" y="27932"/>
                    <a:pt x="96174" y="24965"/>
                    <a:pt x="4196" y="10130"/>
                  </a:cubicBezTo>
                  <a:cubicBezTo>
                    <a:pt x="1229" y="10130"/>
                    <a:pt x="-1738" y="7163"/>
                    <a:pt x="1229" y="4196"/>
                  </a:cubicBezTo>
                  <a:cubicBezTo>
                    <a:pt x="1229" y="1229"/>
                    <a:pt x="4196" y="-1738"/>
                    <a:pt x="7163" y="1229"/>
                  </a:cubicBezTo>
                  <a:cubicBezTo>
                    <a:pt x="99141" y="19031"/>
                    <a:pt x="300900" y="19031"/>
                    <a:pt x="300900" y="19031"/>
                  </a:cubicBezTo>
                  <a:cubicBezTo>
                    <a:pt x="303866" y="19031"/>
                    <a:pt x="306833" y="21998"/>
                    <a:pt x="306833" y="24965"/>
                  </a:cubicBezTo>
                  <a:cubicBezTo>
                    <a:pt x="306833" y="24965"/>
                    <a:pt x="303866" y="27932"/>
                    <a:pt x="300900" y="27932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64B55C30-1411-4CCC-A7A6-490ECC4381AE}"/>
                </a:ext>
              </a:extLst>
            </p:cNvPr>
            <p:cNvSpPr/>
            <p:nvPr/>
          </p:nvSpPr>
          <p:spPr>
            <a:xfrm>
              <a:off x="10974530" y="3572734"/>
              <a:ext cx="366263" cy="185274"/>
            </a:xfrm>
            <a:custGeom>
              <a:avLst/>
              <a:gdLst>
                <a:gd name="connsiteX0" fmla="*/ 280220 w 366263"/>
                <a:gd name="connsiteY0" fmla="*/ 185275 h 185274"/>
                <a:gd name="connsiteX1" fmla="*/ 280220 w 366263"/>
                <a:gd name="connsiteY1" fmla="*/ 185275 h 185274"/>
                <a:gd name="connsiteX2" fmla="*/ 1319 w 366263"/>
                <a:gd name="connsiteY2" fmla="*/ 10220 h 185274"/>
                <a:gd name="connsiteX3" fmla="*/ 1319 w 366263"/>
                <a:gd name="connsiteY3" fmla="*/ 1319 h 185274"/>
                <a:gd name="connsiteX4" fmla="*/ 10219 w 366263"/>
                <a:gd name="connsiteY4" fmla="*/ 1319 h 185274"/>
                <a:gd name="connsiteX5" fmla="*/ 280220 w 366263"/>
                <a:gd name="connsiteY5" fmla="*/ 173407 h 185274"/>
                <a:gd name="connsiteX6" fmla="*/ 357363 w 366263"/>
                <a:gd name="connsiteY6" fmla="*/ 57692 h 185274"/>
                <a:gd name="connsiteX7" fmla="*/ 363296 w 366263"/>
                <a:gd name="connsiteY7" fmla="*/ 54725 h 185274"/>
                <a:gd name="connsiteX8" fmla="*/ 366263 w 366263"/>
                <a:gd name="connsiteY8" fmla="*/ 60659 h 185274"/>
                <a:gd name="connsiteX9" fmla="*/ 280220 w 366263"/>
                <a:gd name="connsiteY9" fmla="*/ 185275 h 185274"/>
                <a:gd name="connsiteX10" fmla="*/ 280220 w 366263"/>
                <a:gd name="connsiteY10" fmla="*/ 185275 h 185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6263" h="185274">
                  <a:moveTo>
                    <a:pt x="280220" y="185275"/>
                  </a:moveTo>
                  <a:lnTo>
                    <a:pt x="280220" y="185275"/>
                  </a:lnTo>
                  <a:cubicBezTo>
                    <a:pt x="90330" y="131868"/>
                    <a:pt x="1319" y="10220"/>
                    <a:pt x="1319" y="10220"/>
                  </a:cubicBezTo>
                  <a:cubicBezTo>
                    <a:pt x="-1648" y="7253"/>
                    <a:pt x="1319" y="4286"/>
                    <a:pt x="1319" y="1319"/>
                  </a:cubicBezTo>
                  <a:cubicBezTo>
                    <a:pt x="4286" y="-1648"/>
                    <a:pt x="7252" y="1319"/>
                    <a:pt x="10219" y="1319"/>
                  </a:cubicBezTo>
                  <a:cubicBezTo>
                    <a:pt x="10219" y="1319"/>
                    <a:pt x="99230" y="120000"/>
                    <a:pt x="280220" y="173407"/>
                  </a:cubicBezTo>
                  <a:cubicBezTo>
                    <a:pt x="286154" y="170440"/>
                    <a:pt x="312857" y="149670"/>
                    <a:pt x="357363" y="57692"/>
                  </a:cubicBezTo>
                  <a:cubicBezTo>
                    <a:pt x="357363" y="54725"/>
                    <a:pt x="363296" y="54725"/>
                    <a:pt x="363296" y="54725"/>
                  </a:cubicBezTo>
                  <a:cubicBezTo>
                    <a:pt x="366263" y="54725"/>
                    <a:pt x="366263" y="60659"/>
                    <a:pt x="366263" y="60659"/>
                  </a:cubicBezTo>
                  <a:cubicBezTo>
                    <a:pt x="315824" y="173407"/>
                    <a:pt x="286154" y="185275"/>
                    <a:pt x="280220" y="185275"/>
                  </a:cubicBezTo>
                  <a:lnTo>
                    <a:pt x="280220" y="185275"/>
                  </a:ln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1" name="图形 1">
              <a:extLst>
                <a:ext uri="{FF2B5EF4-FFF2-40B4-BE49-F238E27FC236}">
                  <a16:creationId xmlns:a16="http://schemas.microsoft.com/office/drawing/2014/main" id="{31C0EB72-CF7E-41CA-A5EE-1FBAC8EBC6B2}"/>
                </a:ext>
              </a:extLst>
            </p:cNvPr>
            <p:cNvGrpSpPr/>
            <p:nvPr/>
          </p:nvGrpSpPr>
          <p:grpSpPr>
            <a:xfrm>
              <a:off x="12606842" y="3522130"/>
              <a:ext cx="224632" cy="228146"/>
              <a:chOff x="12606842" y="3522130"/>
              <a:chExt cx="224632" cy="228146"/>
            </a:xfrm>
          </p:grpSpPr>
          <p:grpSp>
            <p:nvGrpSpPr>
              <p:cNvPr id="47" name="图形 1">
                <a:extLst>
                  <a:ext uri="{FF2B5EF4-FFF2-40B4-BE49-F238E27FC236}">
                    <a16:creationId xmlns:a16="http://schemas.microsoft.com/office/drawing/2014/main" id="{5017B9B2-16DB-49E6-BDEF-16B7ABFC0547}"/>
                  </a:ext>
                </a:extLst>
              </p:cNvPr>
              <p:cNvGrpSpPr/>
              <p:nvPr/>
            </p:nvGrpSpPr>
            <p:grpSpPr>
              <a:xfrm>
                <a:off x="12606842" y="3522130"/>
                <a:ext cx="224632" cy="228146"/>
                <a:chOff x="12606842" y="3522130"/>
                <a:chExt cx="224632" cy="228146"/>
              </a:xfrm>
            </p:grpSpPr>
            <p:sp>
              <p:nvSpPr>
                <p:cNvPr id="51" name="任意多边形: 形状 50">
                  <a:extLst>
                    <a:ext uri="{FF2B5EF4-FFF2-40B4-BE49-F238E27FC236}">
                      <a16:creationId xmlns:a16="http://schemas.microsoft.com/office/drawing/2014/main" id="{0B707C33-2A80-4A22-AADD-F99C1411CC75}"/>
                    </a:ext>
                  </a:extLst>
                </p:cNvPr>
                <p:cNvSpPr/>
                <p:nvPr/>
              </p:nvSpPr>
              <p:spPr>
                <a:xfrm>
                  <a:off x="12606842" y="3528806"/>
                  <a:ext cx="217756" cy="221470"/>
                </a:xfrm>
                <a:custGeom>
                  <a:avLst/>
                  <a:gdLst>
                    <a:gd name="connsiteX0" fmla="*/ 199666 w 217756"/>
                    <a:gd name="connsiteY0" fmla="*/ 131291 h 221470"/>
                    <a:gd name="connsiteX1" fmla="*/ 187798 w 217756"/>
                    <a:gd name="connsiteY1" fmla="*/ 92720 h 221470"/>
                    <a:gd name="connsiteX2" fmla="*/ 169996 w 217756"/>
                    <a:gd name="connsiteY2" fmla="*/ 66017 h 221470"/>
                    <a:gd name="connsiteX3" fmla="*/ 143293 w 217756"/>
                    <a:gd name="connsiteY3" fmla="*/ 77885 h 221470"/>
                    <a:gd name="connsiteX4" fmla="*/ 178898 w 217756"/>
                    <a:gd name="connsiteY4" fmla="*/ 45247 h 221470"/>
                    <a:gd name="connsiteX5" fmla="*/ 217469 w 217756"/>
                    <a:gd name="connsiteY5" fmla="*/ 9643 h 221470"/>
                    <a:gd name="connsiteX6" fmla="*/ 190765 w 217756"/>
                    <a:gd name="connsiteY6" fmla="*/ 3709 h 221470"/>
                    <a:gd name="connsiteX7" fmla="*/ 57249 w 217756"/>
                    <a:gd name="connsiteY7" fmla="*/ 107555 h 221470"/>
                    <a:gd name="connsiteX8" fmla="*/ 78019 w 217756"/>
                    <a:gd name="connsiteY8" fmla="*/ 36346 h 221470"/>
                    <a:gd name="connsiteX9" fmla="*/ 66150 w 217756"/>
                    <a:gd name="connsiteY9" fmla="*/ 21511 h 221470"/>
                    <a:gd name="connsiteX10" fmla="*/ 3843 w 217756"/>
                    <a:gd name="connsiteY10" fmla="*/ 172830 h 221470"/>
                    <a:gd name="connsiteX11" fmla="*/ 3843 w 217756"/>
                    <a:gd name="connsiteY11" fmla="*/ 172830 h 221470"/>
                    <a:gd name="connsiteX12" fmla="*/ 876 w 217756"/>
                    <a:gd name="connsiteY12" fmla="*/ 175797 h 221470"/>
                    <a:gd name="connsiteX13" fmla="*/ 66150 w 217756"/>
                    <a:gd name="connsiteY13" fmla="*/ 220302 h 221470"/>
                    <a:gd name="connsiteX14" fmla="*/ 196700 w 217756"/>
                    <a:gd name="connsiteY14" fmla="*/ 172830 h 221470"/>
                    <a:gd name="connsiteX15" fmla="*/ 199666 w 217756"/>
                    <a:gd name="connsiteY15" fmla="*/ 131291 h 221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17756" h="221470">
                      <a:moveTo>
                        <a:pt x="199666" y="131291"/>
                      </a:moveTo>
                      <a:cubicBezTo>
                        <a:pt x="214501" y="113489"/>
                        <a:pt x="196700" y="95687"/>
                        <a:pt x="187798" y="92720"/>
                      </a:cubicBezTo>
                      <a:cubicBezTo>
                        <a:pt x="193733" y="86786"/>
                        <a:pt x="181865" y="66017"/>
                        <a:pt x="169996" y="66017"/>
                      </a:cubicBezTo>
                      <a:cubicBezTo>
                        <a:pt x="158128" y="68984"/>
                        <a:pt x="155161" y="68984"/>
                        <a:pt x="143293" y="77885"/>
                      </a:cubicBezTo>
                      <a:cubicBezTo>
                        <a:pt x="155161" y="66017"/>
                        <a:pt x="167030" y="54148"/>
                        <a:pt x="178898" y="45247"/>
                      </a:cubicBezTo>
                      <a:cubicBezTo>
                        <a:pt x="187798" y="39313"/>
                        <a:pt x="214501" y="18544"/>
                        <a:pt x="217469" y="9643"/>
                      </a:cubicBezTo>
                      <a:cubicBezTo>
                        <a:pt x="220436" y="-5192"/>
                        <a:pt x="199666" y="742"/>
                        <a:pt x="190765" y="3709"/>
                      </a:cubicBezTo>
                      <a:cubicBezTo>
                        <a:pt x="140326" y="24478"/>
                        <a:pt x="101754" y="77885"/>
                        <a:pt x="57249" y="107555"/>
                      </a:cubicBezTo>
                      <a:cubicBezTo>
                        <a:pt x="45381" y="80852"/>
                        <a:pt x="66150" y="63049"/>
                        <a:pt x="78019" y="36346"/>
                      </a:cubicBezTo>
                      <a:cubicBezTo>
                        <a:pt x="80985" y="27445"/>
                        <a:pt x="69117" y="21511"/>
                        <a:pt x="66150" y="21511"/>
                      </a:cubicBezTo>
                      <a:cubicBezTo>
                        <a:pt x="18678" y="39313"/>
                        <a:pt x="-10992" y="107555"/>
                        <a:pt x="3843" y="172830"/>
                      </a:cubicBezTo>
                      <a:cubicBezTo>
                        <a:pt x="3843" y="172830"/>
                        <a:pt x="3843" y="172830"/>
                        <a:pt x="3843" y="172830"/>
                      </a:cubicBezTo>
                      <a:cubicBezTo>
                        <a:pt x="3843" y="172830"/>
                        <a:pt x="876" y="175797"/>
                        <a:pt x="876" y="175797"/>
                      </a:cubicBezTo>
                      <a:cubicBezTo>
                        <a:pt x="3843" y="205467"/>
                        <a:pt x="39447" y="214368"/>
                        <a:pt x="66150" y="220302"/>
                      </a:cubicBezTo>
                      <a:cubicBezTo>
                        <a:pt x="104722" y="229203"/>
                        <a:pt x="178898" y="184698"/>
                        <a:pt x="196700" y="172830"/>
                      </a:cubicBezTo>
                      <a:cubicBezTo>
                        <a:pt x="220436" y="152060"/>
                        <a:pt x="202633" y="131291"/>
                        <a:pt x="199666" y="131291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3FC57AA9-F60B-4A21-ABD5-C39E1042EF8A}"/>
                    </a:ext>
                  </a:extLst>
                </p:cNvPr>
                <p:cNvSpPr/>
                <p:nvPr/>
              </p:nvSpPr>
              <p:spPr>
                <a:xfrm>
                  <a:off x="12661865" y="3648229"/>
                  <a:ext cx="25961" cy="59340"/>
                </a:xfrm>
                <a:custGeom>
                  <a:avLst/>
                  <a:gdLst>
                    <a:gd name="connsiteX0" fmla="*/ 5193 w 25961"/>
                    <a:gd name="connsiteY0" fmla="*/ 59341 h 59340"/>
                    <a:gd name="connsiteX1" fmla="*/ 2225 w 25961"/>
                    <a:gd name="connsiteY1" fmla="*/ 56374 h 59340"/>
                    <a:gd name="connsiteX2" fmla="*/ 2225 w 25961"/>
                    <a:gd name="connsiteY2" fmla="*/ 47472 h 59340"/>
                    <a:gd name="connsiteX3" fmla="*/ 8160 w 25961"/>
                    <a:gd name="connsiteY3" fmla="*/ 8901 h 59340"/>
                    <a:gd name="connsiteX4" fmla="*/ 11126 w 25961"/>
                    <a:gd name="connsiteY4" fmla="*/ 0 h 59340"/>
                    <a:gd name="connsiteX5" fmla="*/ 20028 w 25961"/>
                    <a:gd name="connsiteY5" fmla="*/ 2967 h 59340"/>
                    <a:gd name="connsiteX6" fmla="*/ 14093 w 25961"/>
                    <a:gd name="connsiteY6" fmla="*/ 56374 h 59340"/>
                    <a:gd name="connsiteX7" fmla="*/ 5193 w 25961"/>
                    <a:gd name="connsiteY7" fmla="*/ 59341 h 593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961" h="59340">
                      <a:moveTo>
                        <a:pt x="5193" y="59341"/>
                      </a:moveTo>
                      <a:cubicBezTo>
                        <a:pt x="2225" y="59341"/>
                        <a:pt x="2225" y="59341"/>
                        <a:pt x="2225" y="56374"/>
                      </a:cubicBezTo>
                      <a:cubicBezTo>
                        <a:pt x="-742" y="53407"/>
                        <a:pt x="-742" y="50440"/>
                        <a:pt x="2225" y="47472"/>
                      </a:cubicBezTo>
                      <a:cubicBezTo>
                        <a:pt x="20028" y="29670"/>
                        <a:pt x="8160" y="8901"/>
                        <a:pt x="8160" y="8901"/>
                      </a:cubicBezTo>
                      <a:cubicBezTo>
                        <a:pt x="8160" y="5934"/>
                        <a:pt x="8160" y="2967"/>
                        <a:pt x="11126" y="0"/>
                      </a:cubicBezTo>
                      <a:cubicBezTo>
                        <a:pt x="14093" y="0"/>
                        <a:pt x="17061" y="0"/>
                        <a:pt x="20028" y="2967"/>
                      </a:cubicBezTo>
                      <a:cubicBezTo>
                        <a:pt x="25961" y="14835"/>
                        <a:pt x="31896" y="38572"/>
                        <a:pt x="14093" y="56374"/>
                      </a:cubicBezTo>
                      <a:cubicBezTo>
                        <a:pt x="8160" y="56374"/>
                        <a:pt x="8160" y="59341"/>
                        <a:pt x="5193" y="59341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7721F0F1-CDFC-4961-A559-F8AEBF89E79E}"/>
                    </a:ext>
                  </a:extLst>
                </p:cNvPr>
                <p:cNvSpPr/>
                <p:nvPr/>
              </p:nvSpPr>
              <p:spPr>
                <a:xfrm>
                  <a:off x="12741976" y="3522130"/>
                  <a:ext cx="89498" cy="93461"/>
                </a:xfrm>
                <a:custGeom>
                  <a:avLst/>
                  <a:gdLst>
                    <a:gd name="connsiteX0" fmla="*/ 8159 w 89498"/>
                    <a:gd name="connsiteY0" fmla="*/ 90495 h 93461"/>
                    <a:gd name="connsiteX1" fmla="*/ 2225 w 89498"/>
                    <a:gd name="connsiteY1" fmla="*/ 87528 h 93461"/>
                    <a:gd name="connsiteX2" fmla="*/ 2225 w 89498"/>
                    <a:gd name="connsiteY2" fmla="*/ 78626 h 93461"/>
                    <a:gd name="connsiteX3" fmla="*/ 76401 w 89498"/>
                    <a:gd name="connsiteY3" fmla="*/ 10385 h 93461"/>
                    <a:gd name="connsiteX4" fmla="*/ 76401 w 89498"/>
                    <a:gd name="connsiteY4" fmla="*/ 10385 h 93461"/>
                    <a:gd name="connsiteX5" fmla="*/ 58599 w 89498"/>
                    <a:gd name="connsiteY5" fmla="*/ 13352 h 93461"/>
                    <a:gd name="connsiteX6" fmla="*/ 11126 w 89498"/>
                    <a:gd name="connsiteY6" fmla="*/ 43022 h 93461"/>
                    <a:gd name="connsiteX7" fmla="*/ 2225 w 89498"/>
                    <a:gd name="connsiteY7" fmla="*/ 43022 h 93461"/>
                    <a:gd name="connsiteX8" fmla="*/ 2225 w 89498"/>
                    <a:gd name="connsiteY8" fmla="*/ 34121 h 93461"/>
                    <a:gd name="connsiteX9" fmla="*/ 52664 w 89498"/>
                    <a:gd name="connsiteY9" fmla="*/ 4451 h 93461"/>
                    <a:gd name="connsiteX10" fmla="*/ 85302 w 89498"/>
                    <a:gd name="connsiteY10" fmla="*/ 4451 h 93461"/>
                    <a:gd name="connsiteX11" fmla="*/ 88269 w 89498"/>
                    <a:gd name="connsiteY11" fmla="*/ 19286 h 93461"/>
                    <a:gd name="connsiteX12" fmla="*/ 88269 w 89498"/>
                    <a:gd name="connsiteY12" fmla="*/ 22253 h 93461"/>
                    <a:gd name="connsiteX13" fmla="*/ 14093 w 89498"/>
                    <a:gd name="connsiteY13" fmla="*/ 93462 h 93461"/>
                    <a:gd name="connsiteX14" fmla="*/ 8159 w 89498"/>
                    <a:gd name="connsiteY14" fmla="*/ 90495 h 934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89498" h="93461">
                      <a:moveTo>
                        <a:pt x="8159" y="90495"/>
                      </a:moveTo>
                      <a:cubicBezTo>
                        <a:pt x="5192" y="90495"/>
                        <a:pt x="5192" y="90495"/>
                        <a:pt x="2225" y="87528"/>
                      </a:cubicBezTo>
                      <a:cubicBezTo>
                        <a:pt x="-742" y="84560"/>
                        <a:pt x="-742" y="81593"/>
                        <a:pt x="2225" y="78626"/>
                      </a:cubicBezTo>
                      <a:cubicBezTo>
                        <a:pt x="25961" y="60824"/>
                        <a:pt x="67500" y="16319"/>
                        <a:pt x="76401" y="10385"/>
                      </a:cubicBezTo>
                      <a:cubicBezTo>
                        <a:pt x="76401" y="10385"/>
                        <a:pt x="76401" y="10385"/>
                        <a:pt x="76401" y="10385"/>
                      </a:cubicBezTo>
                      <a:cubicBezTo>
                        <a:pt x="73434" y="7418"/>
                        <a:pt x="67500" y="7418"/>
                        <a:pt x="58599" y="13352"/>
                      </a:cubicBezTo>
                      <a:cubicBezTo>
                        <a:pt x="37829" y="22253"/>
                        <a:pt x="11126" y="43022"/>
                        <a:pt x="11126" y="43022"/>
                      </a:cubicBezTo>
                      <a:cubicBezTo>
                        <a:pt x="8159" y="45989"/>
                        <a:pt x="5192" y="43022"/>
                        <a:pt x="2225" y="43022"/>
                      </a:cubicBezTo>
                      <a:cubicBezTo>
                        <a:pt x="-742" y="40055"/>
                        <a:pt x="2225" y="37088"/>
                        <a:pt x="2225" y="34121"/>
                      </a:cubicBezTo>
                      <a:cubicBezTo>
                        <a:pt x="2225" y="34121"/>
                        <a:pt x="31896" y="13352"/>
                        <a:pt x="52664" y="4451"/>
                      </a:cubicBezTo>
                      <a:cubicBezTo>
                        <a:pt x="64532" y="-1484"/>
                        <a:pt x="76401" y="-1484"/>
                        <a:pt x="85302" y="4451"/>
                      </a:cubicBezTo>
                      <a:cubicBezTo>
                        <a:pt x="88269" y="7418"/>
                        <a:pt x="91236" y="13352"/>
                        <a:pt x="88269" y="19286"/>
                      </a:cubicBezTo>
                      <a:cubicBezTo>
                        <a:pt x="88269" y="19286"/>
                        <a:pt x="88269" y="19286"/>
                        <a:pt x="88269" y="22253"/>
                      </a:cubicBezTo>
                      <a:cubicBezTo>
                        <a:pt x="85302" y="25220"/>
                        <a:pt x="37829" y="72692"/>
                        <a:pt x="14093" y="93462"/>
                      </a:cubicBezTo>
                      <a:cubicBezTo>
                        <a:pt x="8159" y="90495"/>
                        <a:pt x="8159" y="90495"/>
                        <a:pt x="8159" y="90495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903BB639-DC9A-41FA-A2D8-604AAE7AE3EC}"/>
                  </a:ext>
                </a:extLst>
              </p:cNvPr>
              <p:cNvSpPr/>
              <p:nvPr/>
            </p:nvSpPr>
            <p:spPr>
              <a:xfrm>
                <a:off x="12719675" y="3593272"/>
                <a:ext cx="77652" cy="66825"/>
              </a:xfrm>
              <a:custGeom>
                <a:avLst/>
                <a:gdLst>
                  <a:gd name="connsiteX0" fmla="*/ 12657 w 77652"/>
                  <a:gd name="connsiteY0" fmla="*/ 66825 h 66825"/>
                  <a:gd name="connsiteX1" fmla="*/ 6724 w 77652"/>
                  <a:gd name="connsiteY1" fmla="*/ 66825 h 66825"/>
                  <a:gd name="connsiteX2" fmla="*/ 789 w 77652"/>
                  <a:gd name="connsiteY2" fmla="*/ 57924 h 66825"/>
                  <a:gd name="connsiteX3" fmla="*/ 9691 w 77652"/>
                  <a:gd name="connsiteY3" fmla="*/ 22320 h 66825"/>
                  <a:gd name="connsiteX4" fmla="*/ 39361 w 77652"/>
                  <a:gd name="connsiteY4" fmla="*/ 1551 h 66825"/>
                  <a:gd name="connsiteX5" fmla="*/ 39361 w 77652"/>
                  <a:gd name="connsiteY5" fmla="*/ 1551 h 66825"/>
                  <a:gd name="connsiteX6" fmla="*/ 74965 w 77652"/>
                  <a:gd name="connsiteY6" fmla="*/ 13418 h 66825"/>
                  <a:gd name="connsiteX7" fmla="*/ 54196 w 77652"/>
                  <a:gd name="connsiteY7" fmla="*/ 51990 h 66825"/>
                  <a:gd name="connsiteX8" fmla="*/ 12657 w 77652"/>
                  <a:gd name="connsiteY8" fmla="*/ 66825 h 66825"/>
                  <a:gd name="connsiteX9" fmla="*/ 15624 w 77652"/>
                  <a:gd name="connsiteY9" fmla="*/ 54957 h 66825"/>
                  <a:gd name="connsiteX10" fmla="*/ 15624 w 77652"/>
                  <a:gd name="connsiteY10" fmla="*/ 54957 h 66825"/>
                  <a:gd name="connsiteX11" fmla="*/ 15624 w 77652"/>
                  <a:gd name="connsiteY11" fmla="*/ 54957 h 66825"/>
                  <a:gd name="connsiteX12" fmla="*/ 15624 w 77652"/>
                  <a:gd name="connsiteY12" fmla="*/ 54957 h 66825"/>
                  <a:gd name="connsiteX13" fmla="*/ 15624 w 77652"/>
                  <a:gd name="connsiteY13" fmla="*/ 54957 h 66825"/>
                  <a:gd name="connsiteX14" fmla="*/ 54196 w 77652"/>
                  <a:gd name="connsiteY14" fmla="*/ 40122 h 66825"/>
                  <a:gd name="connsiteX15" fmla="*/ 69032 w 77652"/>
                  <a:gd name="connsiteY15" fmla="*/ 16386 h 66825"/>
                  <a:gd name="connsiteX16" fmla="*/ 48262 w 77652"/>
                  <a:gd name="connsiteY16" fmla="*/ 13418 h 66825"/>
                  <a:gd name="connsiteX17" fmla="*/ 21559 w 77652"/>
                  <a:gd name="connsiteY17" fmla="*/ 31221 h 66825"/>
                  <a:gd name="connsiteX18" fmla="*/ 15624 w 77652"/>
                  <a:gd name="connsiteY18" fmla="*/ 54957 h 66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7652" h="66825">
                    <a:moveTo>
                      <a:pt x="12657" y="66825"/>
                    </a:moveTo>
                    <a:cubicBezTo>
                      <a:pt x="9691" y="66825"/>
                      <a:pt x="9691" y="66825"/>
                      <a:pt x="6724" y="66825"/>
                    </a:cubicBezTo>
                    <a:cubicBezTo>
                      <a:pt x="3756" y="66825"/>
                      <a:pt x="789" y="63858"/>
                      <a:pt x="789" y="57924"/>
                    </a:cubicBezTo>
                    <a:cubicBezTo>
                      <a:pt x="-2178" y="49023"/>
                      <a:pt x="3756" y="28254"/>
                      <a:pt x="9691" y="22320"/>
                    </a:cubicBezTo>
                    <a:cubicBezTo>
                      <a:pt x="15624" y="16386"/>
                      <a:pt x="36394" y="4518"/>
                      <a:pt x="39361" y="1551"/>
                    </a:cubicBezTo>
                    <a:cubicBezTo>
                      <a:pt x="39361" y="1551"/>
                      <a:pt x="39361" y="1551"/>
                      <a:pt x="39361" y="1551"/>
                    </a:cubicBezTo>
                    <a:cubicBezTo>
                      <a:pt x="48262" y="-1417"/>
                      <a:pt x="69032" y="-1417"/>
                      <a:pt x="74965" y="13418"/>
                    </a:cubicBezTo>
                    <a:cubicBezTo>
                      <a:pt x="83867" y="34188"/>
                      <a:pt x="69032" y="43089"/>
                      <a:pt x="54196" y="51990"/>
                    </a:cubicBezTo>
                    <a:cubicBezTo>
                      <a:pt x="30460" y="63858"/>
                      <a:pt x="18592" y="66825"/>
                      <a:pt x="12657" y="66825"/>
                    </a:cubicBezTo>
                    <a:close/>
                    <a:moveTo>
                      <a:pt x="15624" y="54957"/>
                    </a:moveTo>
                    <a:lnTo>
                      <a:pt x="15624" y="54957"/>
                    </a:lnTo>
                    <a:lnTo>
                      <a:pt x="15624" y="54957"/>
                    </a:lnTo>
                    <a:close/>
                    <a:moveTo>
                      <a:pt x="15624" y="54957"/>
                    </a:moveTo>
                    <a:cubicBezTo>
                      <a:pt x="15624" y="54957"/>
                      <a:pt x="15624" y="54957"/>
                      <a:pt x="15624" y="54957"/>
                    </a:cubicBezTo>
                    <a:cubicBezTo>
                      <a:pt x="18592" y="54957"/>
                      <a:pt x="30460" y="51990"/>
                      <a:pt x="54196" y="40122"/>
                    </a:cubicBezTo>
                    <a:cubicBezTo>
                      <a:pt x="71998" y="31221"/>
                      <a:pt x="74965" y="25287"/>
                      <a:pt x="69032" y="16386"/>
                    </a:cubicBezTo>
                    <a:cubicBezTo>
                      <a:pt x="66064" y="7484"/>
                      <a:pt x="51229" y="10451"/>
                      <a:pt x="48262" y="13418"/>
                    </a:cubicBezTo>
                    <a:cubicBezTo>
                      <a:pt x="39361" y="19353"/>
                      <a:pt x="24526" y="28254"/>
                      <a:pt x="21559" y="31221"/>
                    </a:cubicBezTo>
                    <a:cubicBezTo>
                      <a:pt x="15624" y="34188"/>
                      <a:pt x="12657" y="49023"/>
                      <a:pt x="15624" y="5495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2B001EB3-3299-4769-983E-78F4BE51AEFF}"/>
                  </a:ext>
                </a:extLst>
              </p:cNvPr>
              <p:cNvSpPr/>
              <p:nvPr/>
            </p:nvSpPr>
            <p:spPr>
              <a:xfrm>
                <a:off x="12726399" y="3620296"/>
                <a:ext cx="90123" cy="72437"/>
              </a:xfrm>
              <a:custGeom>
                <a:avLst/>
                <a:gdLst>
                  <a:gd name="connsiteX0" fmla="*/ 20769 w 90123"/>
                  <a:gd name="connsiteY0" fmla="*/ 72438 h 72437"/>
                  <a:gd name="connsiteX1" fmla="*/ 8901 w 90123"/>
                  <a:gd name="connsiteY1" fmla="*/ 69471 h 72437"/>
                  <a:gd name="connsiteX2" fmla="*/ 0 w 90123"/>
                  <a:gd name="connsiteY2" fmla="*/ 51669 h 72437"/>
                  <a:gd name="connsiteX3" fmla="*/ 5934 w 90123"/>
                  <a:gd name="connsiteY3" fmla="*/ 27932 h 72437"/>
                  <a:gd name="connsiteX4" fmla="*/ 14835 w 90123"/>
                  <a:gd name="connsiteY4" fmla="*/ 27932 h 72437"/>
                  <a:gd name="connsiteX5" fmla="*/ 14835 w 90123"/>
                  <a:gd name="connsiteY5" fmla="*/ 36833 h 72437"/>
                  <a:gd name="connsiteX6" fmla="*/ 11868 w 90123"/>
                  <a:gd name="connsiteY6" fmla="*/ 48702 h 72437"/>
                  <a:gd name="connsiteX7" fmla="*/ 14835 w 90123"/>
                  <a:gd name="connsiteY7" fmla="*/ 60570 h 72437"/>
                  <a:gd name="connsiteX8" fmla="*/ 71209 w 90123"/>
                  <a:gd name="connsiteY8" fmla="*/ 36833 h 72437"/>
                  <a:gd name="connsiteX9" fmla="*/ 77143 w 90123"/>
                  <a:gd name="connsiteY9" fmla="*/ 21998 h 72437"/>
                  <a:gd name="connsiteX10" fmla="*/ 62308 w 90123"/>
                  <a:gd name="connsiteY10" fmla="*/ 10130 h 72437"/>
                  <a:gd name="connsiteX11" fmla="*/ 59341 w 90123"/>
                  <a:gd name="connsiteY11" fmla="*/ 4196 h 72437"/>
                  <a:gd name="connsiteX12" fmla="*/ 65274 w 90123"/>
                  <a:gd name="connsiteY12" fmla="*/ 1229 h 72437"/>
                  <a:gd name="connsiteX13" fmla="*/ 89011 w 90123"/>
                  <a:gd name="connsiteY13" fmla="*/ 21998 h 72437"/>
                  <a:gd name="connsiteX14" fmla="*/ 80109 w 90123"/>
                  <a:gd name="connsiteY14" fmla="*/ 48702 h 72437"/>
                  <a:gd name="connsiteX15" fmla="*/ 20769 w 90123"/>
                  <a:gd name="connsiteY15" fmla="*/ 72438 h 72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0123" h="72437">
                    <a:moveTo>
                      <a:pt x="20769" y="72438"/>
                    </a:moveTo>
                    <a:cubicBezTo>
                      <a:pt x="14835" y="72438"/>
                      <a:pt x="11868" y="72438"/>
                      <a:pt x="8901" y="69471"/>
                    </a:cubicBezTo>
                    <a:cubicBezTo>
                      <a:pt x="2967" y="66504"/>
                      <a:pt x="2967" y="57603"/>
                      <a:pt x="0" y="51669"/>
                    </a:cubicBezTo>
                    <a:cubicBezTo>
                      <a:pt x="0" y="42767"/>
                      <a:pt x="2967" y="33867"/>
                      <a:pt x="5934" y="27932"/>
                    </a:cubicBezTo>
                    <a:cubicBezTo>
                      <a:pt x="8901" y="24965"/>
                      <a:pt x="11868" y="24965"/>
                      <a:pt x="14835" y="27932"/>
                    </a:cubicBezTo>
                    <a:cubicBezTo>
                      <a:pt x="17802" y="30899"/>
                      <a:pt x="17802" y="33867"/>
                      <a:pt x="14835" y="36833"/>
                    </a:cubicBezTo>
                    <a:cubicBezTo>
                      <a:pt x="11868" y="39800"/>
                      <a:pt x="11868" y="45734"/>
                      <a:pt x="11868" y="48702"/>
                    </a:cubicBezTo>
                    <a:cubicBezTo>
                      <a:pt x="11868" y="54636"/>
                      <a:pt x="14835" y="60570"/>
                      <a:pt x="14835" y="60570"/>
                    </a:cubicBezTo>
                    <a:cubicBezTo>
                      <a:pt x="17802" y="63537"/>
                      <a:pt x="53406" y="60570"/>
                      <a:pt x="71209" y="36833"/>
                    </a:cubicBezTo>
                    <a:cubicBezTo>
                      <a:pt x="77143" y="30899"/>
                      <a:pt x="77143" y="24965"/>
                      <a:pt x="77143" y="21998"/>
                    </a:cubicBezTo>
                    <a:cubicBezTo>
                      <a:pt x="74176" y="16064"/>
                      <a:pt x="65274" y="10130"/>
                      <a:pt x="62308" y="10130"/>
                    </a:cubicBezTo>
                    <a:cubicBezTo>
                      <a:pt x="59341" y="10130"/>
                      <a:pt x="56373" y="7163"/>
                      <a:pt x="59341" y="4196"/>
                    </a:cubicBezTo>
                    <a:cubicBezTo>
                      <a:pt x="59341" y="1229"/>
                      <a:pt x="62308" y="-1738"/>
                      <a:pt x="65274" y="1229"/>
                    </a:cubicBezTo>
                    <a:cubicBezTo>
                      <a:pt x="65274" y="1229"/>
                      <a:pt x="83077" y="7163"/>
                      <a:pt x="89011" y="21998"/>
                    </a:cubicBezTo>
                    <a:cubicBezTo>
                      <a:pt x="91978" y="30899"/>
                      <a:pt x="89011" y="39800"/>
                      <a:pt x="80109" y="48702"/>
                    </a:cubicBezTo>
                    <a:cubicBezTo>
                      <a:pt x="65274" y="63537"/>
                      <a:pt x="38571" y="72438"/>
                      <a:pt x="20769" y="72438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D89DBC51-7B91-4425-A6AC-05F9110EC559}"/>
                  </a:ext>
                </a:extLst>
              </p:cNvPr>
              <p:cNvSpPr/>
              <p:nvPr/>
            </p:nvSpPr>
            <p:spPr>
              <a:xfrm>
                <a:off x="12740492" y="3652844"/>
                <a:ext cx="82490" cy="72527"/>
              </a:xfrm>
              <a:custGeom>
                <a:avLst/>
                <a:gdLst>
                  <a:gd name="connsiteX0" fmla="*/ 27445 w 82490"/>
                  <a:gd name="connsiteY0" fmla="*/ 72527 h 72527"/>
                  <a:gd name="connsiteX1" fmla="*/ 3709 w 82490"/>
                  <a:gd name="connsiteY1" fmla="*/ 60659 h 72527"/>
                  <a:gd name="connsiteX2" fmla="*/ 9643 w 82490"/>
                  <a:gd name="connsiteY2" fmla="*/ 30989 h 72527"/>
                  <a:gd name="connsiteX3" fmla="*/ 18544 w 82490"/>
                  <a:gd name="connsiteY3" fmla="*/ 30989 h 72527"/>
                  <a:gd name="connsiteX4" fmla="*/ 18544 w 82490"/>
                  <a:gd name="connsiteY4" fmla="*/ 39890 h 72527"/>
                  <a:gd name="connsiteX5" fmla="*/ 12610 w 82490"/>
                  <a:gd name="connsiteY5" fmla="*/ 54725 h 72527"/>
                  <a:gd name="connsiteX6" fmla="*/ 30412 w 82490"/>
                  <a:gd name="connsiteY6" fmla="*/ 60659 h 72527"/>
                  <a:gd name="connsiteX7" fmla="*/ 68983 w 82490"/>
                  <a:gd name="connsiteY7" fmla="*/ 28022 h 72527"/>
                  <a:gd name="connsiteX8" fmla="*/ 63050 w 82490"/>
                  <a:gd name="connsiteY8" fmla="*/ 10220 h 72527"/>
                  <a:gd name="connsiteX9" fmla="*/ 63050 w 82490"/>
                  <a:gd name="connsiteY9" fmla="*/ 1319 h 72527"/>
                  <a:gd name="connsiteX10" fmla="*/ 71951 w 82490"/>
                  <a:gd name="connsiteY10" fmla="*/ 1319 h 72527"/>
                  <a:gd name="connsiteX11" fmla="*/ 80851 w 82490"/>
                  <a:gd name="connsiteY11" fmla="*/ 33956 h 72527"/>
                  <a:gd name="connsiteX12" fmla="*/ 39313 w 82490"/>
                  <a:gd name="connsiteY12" fmla="*/ 69560 h 72527"/>
                  <a:gd name="connsiteX13" fmla="*/ 27445 w 82490"/>
                  <a:gd name="connsiteY13" fmla="*/ 72527 h 72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2490" h="72527">
                    <a:moveTo>
                      <a:pt x="27445" y="72527"/>
                    </a:moveTo>
                    <a:cubicBezTo>
                      <a:pt x="18544" y="72527"/>
                      <a:pt x="9643" y="66593"/>
                      <a:pt x="3709" y="60659"/>
                    </a:cubicBezTo>
                    <a:cubicBezTo>
                      <a:pt x="742" y="57692"/>
                      <a:pt x="-5193" y="42857"/>
                      <a:pt x="9643" y="30989"/>
                    </a:cubicBezTo>
                    <a:cubicBezTo>
                      <a:pt x="12610" y="28022"/>
                      <a:pt x="15577" y="28022"/>
                      <a:pt x="18544" y="30989"/>
                    </a:cubicBezTo>
                    <a:cubicBezTo>
                      <a:pt x="21511" y="33956"/>
                      <a:pt x="21511" y="36923"/>
                      <a:pt x="18544" y="39890"/>
                    </a:cubicBezTo>
                    <a:cubicBezTo>
                      <a:pt x="9643" y="48791"/>
                      <a:pt x="12610" y="51758"/>
                      <a:pt x="12610" y="54725"/>
                    </a:cubicBezTo>
                    <a:cubicBezTo>
                      <a:pt x="15577" y="60659"/>
                      <a:pt x="27445" y="63626"/>
                      <a:pt x="30412" y="60659"/>
                    </a:cubicBezTo>
                    <a:cubicBezTo>
                      <a:pt x="42280" y="54725"/>
                      <a:pt x="63050" y="36923"/>
                      <a:pt x="68983" y="28022"/>
                    </a:cubicBezTo>
                    <a:cubicBezTo>
                      <a:pt x="71951" y="25055"/>
                      <a:pt x="66016" y="16154"/>
                      <a:pt x="63050" y="10220"/>
                    </a:cubicBezTo>
                    <a:cubicBezTo>
                      <a:pt x="60083" y="7253"/>
                      <a:pt x="63050" y="4286"/>
                      <a:pt x="63050" y="1319"/>
                    </a:cubicBezTo>
                    <a:cubicBezTo>
                      <a:pt x="66016" y="-1648"/>
                      <a:pt x="68983" y="1319"/>
                      <a:pt x="71951" y="1319"/>
                    </a:cubicBezTo>
                    <a:cubicBezTo>
                      <a:pt x="74918" y="4286"/>
                      <a:pt x="86786" y="22088"/>
                      <a:pt x="80851" y="33956"/>
                    </a:cubicBezTo>
                    <a:cubicBezTo>
                      <a:pt x="74918" y="42857"/>
                      <a:pt x="48215" y="63626"/>
                      <a:pt x="39313" y="69560"/>
                    </a:cubicBezTo>
                    <a:cubicBezTo>
                      <a:pt x="33379" y="72527"/>
                      <a:pt x="30412" y="72527"/>
                      <a:pt x="27445" y="7252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50A320A9-2C33-42D3-9F3F-55E42221A00A}"/>
                </a:ext>
              </a:extLst>
            </p:cNvPr>
            <p:cNvSpPr/>
            <p:nvPr/>
          </p:nvSpPr>
          <p:spPr>
            <a:xfrm>
              <a:off x="12117923" y="3125449"/>
              <a:ext cx="70072" cy="164818"/>
            </a:xfrm>
            <a:custGeom>
              <a:avLst/>
              <a:gdLst>
                <a:gd name="connsiteX0" fmla="*/ 53640 w 70072"/>
                <a:gd name="connsiteY0" fmla="*/ 582 h 164818"/>
                <a:gd name="connsiteX1" fmla="*/ 3201 w 70072"/>
                <a:gd name="connsiteY1" fmla="*/ 53989 h 164818"/>
                <a:gd name="connsiteX2" fmla="*/ 12102 w 70072"/>
                <a:gd name="connsiteY2" fmla="*/ 163769 h 164818"/>
                <a:gd name="connsiteX3" fmla="*/ 35838 w 70072"/>
                <a:gd name="connsiteY3" fmla="*/ 140033 h 164818"/>
                <a:gd name="connsiteX4" fmla="*/ 44739 w 70072"/>
                <a:gd name="connsiteY4" fmla="*/ 83659 h 164818"/>
                <a:gd name="connsiteX5" fmla="*/ 50673 w 70072"/>
                <a:gd name="connsiteY5" fmla="*/ 45087 h 164818"/>
                <a:gd name="connsiteX6" fmla="*/ 68475 w 70072"/>
                <a:gd name="connsiteY6" fmla="*/ 15417 h 164818"/>
                <a:gd name="connsiteX7" fmla="*/ 53640 w 70072"/>
                <a:gd name="connsiteY7" fmla="*/ 582 h 164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072" h="164818">
                  <a:moveTo>
                    <a:pt x="53640" y="582"/>
                  </a:moveTo>
                  <a:cubicBezTo>
                    <a:pt x="29904" y="9483"/>
                    <a:pt x="12102" y="27285"/>
                    <a:pt x="3201" y="53989"/>
                  </a:cubicBezTo>
                  <a:cubicBezTo>
                    <a:pt x="-5701" y="80692"/>
                    <a:pt x="6167" y="137065"/>
                    <a:pt x="12102" y="163769"/>
                  </a:cubicBezTo>
                  <a:cubicBezTo>
                    <a:pt x="15069" y="169703"/>
                    <a:pt x="29904" y="148934"/>
                    <a:pt x="35838" y="140033"/>
                  </a:cubicBezTo>
                  <a:cubicBezTo>
                    <a:pt x="50673" y="125197"/>
                    <a:pt x="53640" y="104428"/>
                    <a:pt x="44739" y="83659"/>
                  </a:cubicBezTo>
                  <a:cubicBezTo>
                    <a:pt x="38805" y="68824"/>
                    <a:pt x="41772" y="56956"/>
                    <a:pt x="50673" y="45087"/>
                  </a:cubicBezTo>
                  <a:cubicBezTo>
                    <a:pt x="56607" y="33219"/>
                    <a:pt x="62542" y="24318"/>
                    <a:pt x="68475" y="15417"/>
                  </a:cubicBezTo>
                  <a:cubicBezTo>
                    <a:pt x="74410" y="6516"/>
                    <a:pt x="62542" y="-2385"/>
                    <a:pt x="53640" y="582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4985EB6A-DC8B-4818-84AC-FCDE5F84CEAE}"/>
                </a:ext>
              </a:extLst>
            </p:cNvPr>
            <p:cNvSpPr/>
            <p:nvPr/>
          </p:nvSpPr>
          <p:spPr>
            <a:xfrm>
              <a:off x="10667278" y="2567543"/>
              <a:ext cx="596372" cy="800568"/>
            </a:xfrm>
            <a:custGeom>
              <a:avLst/>
              <a:gdLst>
                <a:gd name="connsiteX0" fmla="*/ 596373 w 596372"/>
                <a:gd name="connsiteY0" fmla="*/ 140136 h 800568"/>
                <a:gd name="connsiteX1" fmla="*/ 252198 w 596372"/>
                <a:gd name="connsiteY1" fmla="*/ 12554 h 800568"/>
                <a:gd name="connsiteX2" fmla="*/ 65274 w 596372"/>
                <a:gd name="connsiteY2" fmla="*/ 448707 h 800568"/>
                <a:gd name="connsiteX3" fmla="*/ 0 w 596372"/>
                <a:gd name="connsiteY3" fmla="*/ 745411 h 800568"/>
                <a:gd name="connsiteX4" fmla="*/ 317472 w 596372"/>
                <a:gd name="connsiteY4" fmla="*/ 703872 h 800568"/>
                <a:gd name="connsiteX5" fmla="*/ 456923 w 596372"/>
                <a:gd name="connsiteY5" fmla="*/ 211345 h 800568"/>
                <a:gd name="connsiteX6" fmla="*/ 596373 w 596372"/>
                <a:gd name="connsiteY6" fmla="*/ 140136 h 80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6372" h="800568">
                  <a:moveTo>
                    <a:pt x="596373" y="140136"/>
                  </a:moveTo>
                  <a:cubicBezTo>
                    <a:pt x="596373" y="140136"/>
                    <a:pt x="539999" y="-49754"/>
                    <a:pt x="252198" y="12554"/>
                  </a:cubicBezTo>
                  <a:cubicBezTo>
                    <a:pt x="74176" y="51125"/>
                    <a:pt x="17801" y="327059"/>
                    <a:pt x="65274" y="448707"/>
                  </a:cubicBezTo>
                  <a:cubicBezTo>
                    <a:pt x="109780" y="570356"/>
                    <a:pt x="100879" y="683103"/>
                    <a:pt x="0" y="745411"/>
                  </a:cubicBezTo>
                  <a:cubicBezTo>
                    <a:pt x="0" y="745411"/>
                    <a:pt x="231428" y="893762"/>
                    <a:pt x="317472" y="703872"/>
                  </a:cubicBezTo>
                  <a:cubicBezTo>
                    <a:pt x="353077" y="626729"/>
                    <a:pt x="323406" y="267718"/>
                    <a:pt x="456923" y="211345"/>
                  </a:cubicBezTo>
                  <a:cubicBezTo>
                    <a:pt x="516264" y="190576"/>
                    <a:pt x="596373" y="140136"/>
                    <a:pt x="596373" y="140136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2489BE43-D929-481F-BD74-538A4D235B37}"/>
                </a:ext>
              </a:extLst>
            </p:cNvPr>
            <p:cNvSpPr/>
            <p:nvPr/>
          </p:nvSpPr>
          <p:spPr>
            <a:xfrm>
              <a:off x="10661343" y="3131965"/>
              <a:ext cx="178021" cy="186923"/>
            </a:xfrm>
            <a:custGeom>
              <a:avLst/>
              <a:gdLst>
                <a:gd name="connsiteX0" fmla="*/ 5934 w 178021"/>
                <a:gd name="connsiteY0" fmla="*/ 186923 h 186923"/>
                <a:gd name="connsiteX1" fmla="*/ 0 w 178021"/>
                <a:gd name="connsiteY1" fmla="*/ 180989 h 186923"/>
                <a:gd name="connsiteX2" fmla="*/ 5934 w 178021"/>
                <a:gd name="connsiteY2" fmla="*/ 175055 h 186923"/>
                <a:gd name="connsiteX3" fmla="*/ 166154 w 178021"/>
                <a:gd name="connsiteY3" fmla="*/ 5934 h 186923"/>
                <a:gd name="connsiteX4" fmla="*/ 172088 w 178021"/>
                <a:gd name="connsiteY4" fmla="*/ 0 h 186923"/>
                <a:gd name="connsiteX5" fmla="*/ 178022 w 178021"/>
                <a:gd name="connsiteY5" fmla="*/ 5934 h 186923"/>
                <a:gd name="connsiteX6" fmla="*/ 5934 w 178021"/>
                <a:gd name="connsiteY6" fmla="*/ 186923 h 186923"/>
                <a:gd name="connsiteX7" fmla="*/ 5934 w 178021"/>
                <a:gd name="connsiteY7" fmla="*/ 186923 h 18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8021" h="186923">
                  <a:moveTo>
                    <a:pt x="5934" y="186923"/>
                  </a:moveTo>
                  <a:cubicBezTo>
                    <a:pt x="2967" y="186923"/>
                    <a:pt x="0" y="183956"/>
                    <a:pt x="0" y="180989"/>
                  </a:cubicBezTo>
                  <a:cubicBezTo>
                    <a:pt x="0" y="178022"/>
                    <a:pt x="2967" y="175055"/>
                    <a:pt x="5934" y="175055"/>
                  </a:cubicBezTo>
                  <a:cubicBezTo>
                    <a:pt x="11868" y="175055"/>
                    <a:pt x="136484" y="172088"/>
                    <a:pt x="166154" y="5934"/>
                  </a:cubicBezTo>
                  <a:cubicBezTo>
                    <a:pt x="166154" y="2967"/>
                    <a:pt x="169121" y="0"/>
                    <a:pt x="172088" y="0"/>
                  </a:cubicBezTo>
                  <a:cubicBezTo>
                    <a:pt x="175055" y="0"/>
                    <a:pt x="178022" y="2967"/>
                    <a:pt x="178022" y="5934"/>
                  </a:cubicBezTo>
                  <a:cubicBezTo>
                    <a:pt x="148352" y="183956"/>
                    <a:pt x="8901" y="186923"/>
                    <a:pt x="5934" y="186923"/>
                  </a:cubicBezTo>
                  <a:lnTo>
                    <a:pt x="5934" y="186923"/>
                  </a:ln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FDEF5410-CD5D-4EB0-A5B4-51B2C8A59DC5}"/>
                </a:ext>
              </a:extLst>
            </p:cNvPr>
            <p:cNvSpPr/>
            <p:nvPr/>
          </p:nvSpPr>
          <p:spPr>
            <a:xfrm>
              <a:off x="11118175" y="2694093"/>
              <a:ext cx="222930" cy="154697"/>
            </a:xfrm>
            <a:custGeom>
              <a:avLst/>
              <a:gdLst>
                <a:gd name="connsiteX0" fmla="*/ 222618 w 222930"/>
                <a:gd name="connsiteY0" fmla="*/ 55125 h 154697"/>
                <a:gd name="connsiteX1" fmla="*/ 98003 w 222930"/>
                <a:gd name="connsiteY1" fmla="*/ 4685 h 154697"/>
                <a:gd name="connsiteX2" fmla="*/ 8992 w 222930"/>
                <a:gd name="connsiteY2" fmla="*/ 135235 h 154697"/>
                <a:gd name="connsiteX3" fmla="*/ 222618 w 222930"/>
                <a:gd name="connsiteY3" fmla="*/ 55125 h 154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930" h="154697">
                  <a:moveTo>
                    <a:pt x="222618" y="55125"/>
                  </a:moveTo>
                  <a:cubicBezTo>
                    <a:pt x="222618" y="55125"/>
                    <a:pt x="189981" y="-19051"/>
                    <a:pt x="98003" y="4685"/>
                  </a:cubicBezTo>
                  <a:cubicBezTo>
                    <a:pt x="38663" y="19520"/>
                    <a:pt x="-23645" y="75894"/>
                    <a:pt x="8992" y="135235"/>
                  </a:cubicBezTo>
                  <a:cubicBezTo>
                    <a:pt x="47564" y="197542"/>
                    <a:pt x="231520" y="93696"/>
                    <a:pt x="222618" y="55125"/>
                  </a:cubicBez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AD3D0775-7BCD-4CD7-9146-81DE39BB3481}"/>
                </a:ext>
              </a:extLst>
            </p:cNvPr>
            <p:cNvSpPr/>
            <p:nvPr/>
          </p:nvSpPr>
          <p:spPr>
            <a:xfrm>
              <a:off x="11325635" y="2715962"/>
              <a:ext cx="316236" cy="582058"/>
            </a:xfrm>
            <a:custGeom>
              <a:avLst/>
              <a:gdLst>
                <a:gd name="connsiteX0" fmla="*/ 38896 w 316236"/>
                <a:gd name="connsiteY0" fmla="*/ 555454 h 582058"/>
                <a:gd name="connsiteX1" fmla="*/ 133840 w 316236"/>
                <a:gd name="connsiteY1" fmla="*/ 505014 h 582058"/>
                <a:gd name="connsiteX2" fmla="*/ 305929 w 316236"/>
                <a:gd name="connsiteY2" fmla="*/ 178641 h 582058"/>
                <a:gd name="connsiteX3" fmla="*/ 324 w 316236"/>
                <a:gd name="connsiteY3" fmla="*/ 9520 h 582058"/>
                <a:gd name="connsiteX4" fmla="*/ 38896 w 316236"/>
                <a:gd name="connsiteY4" fmla="*/ 154904 h 582058"/>
                <a:gd name="connsiteX5" fmla="*/ 86367 w 316236"/>
                <a:gd name="connsiteY5" fmla="*/ 294355 h 582058"/>
                <a:gd name="connsiteX6" fmla="*/ 38896 w 316236"/>
                <a:gd name="connsiteY6" fmla="*/ 555454 h 58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6236" h="582058">
                  <a:moveTo>
                    <a:pt x="38896" y="555454"/>
                  </a:moveTo>
                  <a:cubicBezTo>
                    <a:pt x="47796" y="605893"/>
                    <a:pt x="35928" y="582157"/>
                    <a:pt x="133840" y="505014"/>
                  </a:cubicBezTo>
                  <a:cubicBezTo>
                    <a:pt x="350434" y="424904"/>
                    <a:pt x="320764" y="240948"/>
                    <a:pt x="305929" y="178641"/>
                  </a:cubicBezTo>
                  <a:cubicBezTo>
                    <a:pt x="276258" y="54025"/>
                    <a:pt x="113071" y="-29052"/>
                    <a:pt x="324" y="9520"/>
                  </a:cubicBezTo>
                  <a:cubicBezTo>
                    <a:pt x="-2644" y="9520"/>
                    <a:pt x="15159" y="107432"/>
                    <a:pt x="38896" y="154904"/>
                  </a:cubicBezTo>
                  <a:cubicBezTo>
                    <a:pt x="59664" y="199410"/>
                    <a:pt x="77467" y="246882"/>
                    <a:pt x="86367" y="294355"/>
                  </a:cubicBezTo>
                  <a:cubicBezTo>
                    <a:pt x="92302" y="347761"/>
                    <a:pt x="29994" y="513915"/>
                    <a:pt x="38896" y="555454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6080A91-37DC-4C3A-97FF-3CA98697D4DC}"/>
                </a:ext>
              </a:extLst>
            </p:cNvPr>
            <p:cNvSpPr/>
            <p:nvPr/>
          </p:nvSpPr>
          <p:spPr>
            <a:xfrm>
              <a:off x="11162772" y="2754286"/>
              <a:ext cx="411267" cy="553045"/>
            </a:xfrm>
            <a:custGeom>
              <a:avLst/>
              <a:gdLst>
                <a:gd name="connsiteX0" fmla="*/ 403517 w 411267"/>
                <a:gd name="connsiteY0" fmla="*/ 178888 h 553045"/>
                <a:gd name="connsiteX1" fmla="*/ 391649 w 411267"/>
                <a:gd name="connsiteY1" fmla="*/ 428119 h 553045"/>
                <a:gd name="connsiteX2" fmla="*/ 246264 w 411267"/>
                <a:gd name="connsiteY2" fmla="*/ 552734 h 553045"/>
                <a:gd name="connsiteX3" fmla="*/ 35605 w 411267"/>
                <a:gd name="connsiteY3" fmla="*/ 413284 h 553045"/>
                <a:gd name="connsiteX4" fmla="*/ 0 w 411267"/>
                <a:gd name="connsiteY4" fmla="*/ 193723 h 553045"/>
                <a:gd name="connsiteX5" fmla="*/ 207692 w 411267"/>
                <a:gd name="connsiteY5" fmla="*/ 866 h 553045"/>
                <a:gd name="connsiteX6" fmla="*/ 403517 w 411267"/>
                <a:gd name="connsiteY6" fmla="*/ 178888 h 553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1267" h="553045">
                  <a:moveTo>
                    <a:pt x="403517" y="178888"/>
                  </a:moveTo>
                  <a:cubicBezTo>
                    <a:pt x="403517" y="178888"/>
                    <a:pt x="427253" y="362844"/>
                    <a:pt x="391649" y="428119"/>
                  </a:cubicBezTo>
                  <a:cubicBezTo>
                    <a:pt x="356044" y="493393"/>
                    <a:pt x="296703" y="549767"/>
                    <a:pt x="246264" y="552734"/>
                  </a:cubicBezTo>
                  <a:cubicBezTo>
                    <a:pt x="180989" y="558668"/>
                    <a:pt x="71209" y="478558"/>
                    <a:pt x="35605" y="413284"/>
                  </a:cubicBezTo>
                  <a:cubicBezTo>
                    <a:pt x="0" y="348009"/>
                    <a:pt x="0" y="244163"/>
                    <a:pt x="0" y="193723"/>
                  </a:cubicBezTo>
                  <a:cubicBezTo>
                    <a:pt x="2967" y="101745"/>
                    <a:pt x="29670" y="24602"/>
                    <a:pt x="207692" y="866"/>
                  </a:cubicBezTo>
                  <a:cubicBezTo>
                    <a:pt x="290770" y="-11002"/>
                    <a:pt x="382747" y="101745"/>
                    <a:pt x="403517" y="178888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7DC5125-D2FB-472B-A78D-610C7F715155}"/>
                </a:ext>
              </a:extLst>
            </p:cNvPr>
            <p:cNvSpPr/>
            <p:nvPr/>
          </p:nvSpPr>
          <p:spPr>
            <a:xfrm>
              <a:off x="11382332" y="3016251"/>
              <a:ext cx="53407" cy="127582"/>
            </a:xfrm>
            <a:custGeom>
              <a:avLst/>
              <a:gdLst>
                <a:gd name="connsiteX0" fmla="*/ 29670 w 53407"/>
                <a:gd name="connsiteY0" fmla="*/ 127582 h 127582"/>
                <a:gd name="connsiteX1" fmla="*/ 5934 w 53407"/>
                <a:gd name="connsiteY1" fmla="*/ 124615 h 127582"/>
                <a:gd name="connsiteX2" fmla="*/ 0 w 53407"/>
                <a:gd name="connsiteY2" fmla="*/ 118681 h 127582"/>
                <a:gd name="connsiteX3" fmla="*/ 5934 w 53407"/>
                <a:gd name="connsiteY3" fmla="*/ 112747 h 127582"/>
                <a:gd name="connsiteX4" fmla="*/ 44505 w 53407"/>
                <a:gd name="connsiteY4" fmla="*/ 112747 h 127582"/>
                <a:gd name="connsiteX5" fmla="*/ 44505 w 53407"/>
                <a:gd name="connsiteY5" fmla="*/ 109780 h 127582"/>
                <a:gd name="connsiteX6" fmla="*/ 17802 w 53407"/>
                <a:gd name="connsiteY6" fmla="*/ 5934 h 127582"/>
                <a:gd name="connsiteX7" fmla="*/ 20770 w 53407"/>
                <a:gd name="connsiteY7" fmla="*/ 0 h 127582"/>
                <a:gd name="connsiteX8" fmla="*/ 26704 w 53407"/>
                <a:gd name="connsiteY8" fmla="*/ 2967 h 127582"/>
                <a:gd name="connsiteX9" fmla="*/ 53407 w 53407"/>
                <a:gd name="connsiteY9" fmla="*/ 109780 h 127582"/>
                <a:gd name="connsiteX10" fmla="*/ 47473 w 53407"/>
                <a:gd name="connsiteY10" fmla="*/ 121648 h 127582"/>
                <a:gd name="connsiteX11" fmla="*/ 29670 w 53407"/>
                <a:gd name="connsiteY11" fmla="*/ 127582 h 127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407" h="127582">
                  <a:moveTo>
                    <a:pt x="29670" y="127582"/>
                  </a:moveTo>
                  <a:cubicBezTo>
                    <a:pt x="17802" y="127582"/>
                    <a:pt x="8902" y="124615"/>
                    <a:pt x="5934" y="124615"/>
                  </a:cubicBezTo>
                  <a:cubicBezTo>
                    <a:pt x="2967" y="124615"/>
                    <a:pt x="0" y="121648"/>
                    <a:pt x="0" y="118681"/>
                  </a:cubicBezTo>
                  <a:cubicBezTo>
                    <a:pt x="0" y="115714"/>
                    <a:pt x="2967" y="112747"/>
                    <a:pt x="5934" y="112747"/>
                  </a:cubicBezTo>
                  <a:cubicBezTo>
                    <a:pt x="17802" y="115714"/>
                    <a:pt x="38572" y="115714"/>
                    <a:pt x="44505" y="112747"/>
                  </a:cubicBezTo>
                  <a:cubicBezTo>
                    <a:pt x="44505" y="112747"/>
                    <a:pt x="44505" y="109780"/>
                    <a:pt x="44505" y="109780"/>
                  </a:cubicBezTo>
                  <a:cubicBezTo>
                    <a:pt x="44505" y="94945"/>
                    <a:pt x="23737" y="29670"/>
                    <a:pt x="17802" y="5934"/>
                  </a:cubicBezTo>
                  <a:cubicBezTo>
                    <a:pt x="17802" y="2967"/>
                    <a:pt x="17802" y="0"/>
                    <a:pt x="20770" y="0"/>
                  </a:cubicBezTo>
                  <a:cubicBezTo>
                    <a:pt x="23737" y="0"/>
                    <a:pt x="26704" y="0"/>
                    <a:pt x="26704" y="2967"/>
                  </a:cubicBezTo>
                  <a:cubicBezTo>
                    <a:pt x="26704" y="5934"/>
                    <a:pt x="53407" y="89011"/>
                    <a:pt x="53407" y="109780"/>
                  </a:cubicBezTo>
                  <a:cubicBezTo>
                    <a:pt x="53407" y="115714"/>
                    <a:pt x="50440" y="118681"/>
                    <a:pt x="47473" y="121648"/>
                  </a:cubicBezTo>
                  <a:cubicBezTo>
                    <a:pt x="47473" y="127582"/>
                    <a:pt x="38572" y="127582"/>
                    <a:pt x="29670" y="127582"/>
                  </a:cubicBezTo>
                  <a:close/>
                </a:path>
              </a:pathLst>
            </a:custGeom>
            <a:solidFill>
              <a:srgbClr val="E58777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DD3B46A2-19F7-4B64-9EA6-82FB1AE22CBB}"/>
                </a:ext>
              </a:extLst>
            </p:cNvPr>
            <p:cNvSpPr/>
            <p:nvPr/>
          </p:nvSpPr>
          <p:spPr>
            <a:xfrm>
              <a:off x="11355629" y="3194273"/>
              <a:ext cx="103846" cy="53406"/>
            </a:xfrm>
            <a:custGeom>
              <a:avLst/>
              <a:gdLst>
                <a:gd name="connsiteX0" fmla="*/ 0 w 103846"/>
                <a:gd name="connsiteY0" fmla="*/ 0 h 53406"/>
                <a:gd name="connsiteX1" fmla="*/ 103846 w 103846"/>
                <a:gd name="connsiteY1" fmla="*/ 0 h 53406"/>
                <a:gd name="connsiteX2" fmla="*/ 53407 w 103846"/>
                <a:gd name="connsiteY2" fmla="*/ 53407 h 53406"/>
                <a:gd name="connsiteX3" fmla="*/ 0 w 103846"/>
                <a:gd name="connsiteY3" fmla="*/ 0 h 53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46" h="53406">
                  <a:moveTo>
                    <a:pt x="0" y="0"/>
                  </a:moveTo>
                  <a:cubicBezTo>
                    <a:pt x="53407" y="23736"/>
                    <a:pt x="103846" y="0"/>
                    <a:pt x="103846" y="0"/>
                  </a:cubicBezTo>
                  <a:cubicBezTo>
                    <a:pt x="103846" y="0"/>
                    <a:pt x="89011" y="53407"/>
                    <a:pt x="53407" y="53407"/>
                  </a:cubicBezTo>
                  <a:cubicBezTo>
                    <a:pt x="11868" y="5044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4F307AE6-036E-42C0-8D57-C8BA35AA2F54}"/>
                </a:ext>
              </a:extLst>
            </p:cNvPr>
            <p:cNvSpPr/>
            <p:nvPr/>
          </p:nvSpPr>
          <p:spPr>
            <a:xfrm>
              <a:off x="11470761" y="2988791"/>
              <a:ext cx="39735" cy="40083"/>
            </a:xfrm>
            <a:custGeom>
              <a:avLst/>
              <a:gdLst>
                <a:gd name="connsiteX0" fmla="*/ 582 w 39735"/>
                <a:gd name="connsiteY0" fmla="*/ 24492 h 40083"/>
                <a:gd name="connsiteX1" fmla="*/ 24319 w 39735"/>
                <a:gd name="connsiteY1" fmla="*/ 39328 h 40083"/>
                <a:gd name="connsiteX2" fmla="*/ 39154 w 39735"/>
                <a:gd name="connsiteY2" fmla="*/ 15591 h 40083"/>
                <a:gd name="connsiteX3" fmla="*/ 15417 w 39735"/>
                <a:gd name="connsiteY3" fmla="*/ 756 h 40083"/>
                <a:gd name="connsiteX4" fmla="*/ 582 w 39735"/>
                <a:gd name="connsiteY4" fmla="*/ 24492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735" h="40083">
                  <a:moveTo>
                    <a:pt x="582" y="24492"/>
                  </a:moveTo>
                  <a:cubicBezTo>
                    <a:pt x="3549" y="36360"/>
                    <a:pt x="12451" y="42295"/>
                    <a:pt x="24319" y="39328"/>
                  </a:cubicBezTo>
                  <a:cubicBezTo>
                    <a:pt x="33219" y="36360"/>
                    <a:pt x="42121" y="27459"/>
                    <a:pt x="39154" y="15591"/>
                  </a:cubicBezTo>
                  <a:cubicBezTo>
                    <a:pt x="36187" y="3723"/>
                    <a:pt x="27286" y="-2211"/>
                    <a:pt x="15417" y="756"/>
                  </a:cubicBezTo>
                  <a:cubicBezTo>
                    <a:pt x="6516" y="3723"/>
                    <a:pt x="-2385" y="15591"/>
                    <a:pt x="582" y="24492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44177F55-EC1B-44E7-AD12-B401B877D787}"/>
                </a:ext>
              </a:extLst>
            </p:cNvPr>
            <p:cNvSpPr/>
            <p:nvPr/>
          </p:nvSpPr>
          <p:spPr>
            <a:xfrm>
              <a:off x="11286631" y="2994725"/>
              <a:ext cx="39909" cy="39909"/>
            </a:xfrm>
            <a:custGeom>
              <a:avLst/>
              <a:gdLst>
                <a:gd name="connsiteX0" fmla="*/ 756 w 39909"/>
                <a:gd name="connsiteY0" fmla="*/ 24492 h 39909"/>
                <a:gd name="connsiteX1" fmla="*/ 24492 w 39909"/>
                <a:gd name="connsiteY1" fmla="*/ 39328 h 39909"/>
                <a:gd name="connsiteX2" fmla="*/ 39327 w 39909"/>
                <a:gd name="connsiteY2" fmla="*/ 15591 h 39909"/>
                <a:gd name="connsiteX3" fmla="*/ 15591 w 39909"/>
                <a:gd name="connsiteY3" fmla="*/ 756 h 39909"/>
                <a:gd name="connsiteX4" fmla="*/ 756 w 39909"/>
                <a:gd name="connsiteY4" fmla="*/ 24492 h 3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39909">
                  <a:moveTo>
                    <a:pt x="756" y="24492"/>
                  </a:moveTo>
                  <a:cubicBezTo>
                    <a:pt x="3723" y="33394"/>
                    <a:pt x="12624" y="42295"/>
                    <a:pt x="24492" y="39328"/>
                  </a:cubicBezTo>
                  <a:cubicBezTo>
                    <a:pt x="33394" y="36361"/>
                    <a:pt x="42294" y="27459"/>
                    <a:pt x="39327" y="15591"/>
                  </a:cubicBezTo>
                  <a:cubicBezTo>
                    <a:pt x="36360" y="3723"/>
                    <a:pt x="27459" y="-2211"/>
                    <a:pt x="15591" y="756"/>
                  </a:cubicBezTo>
                  <a:cubicBezTo>
                    <a:pt x="3723" y="3723"/>
                    <a:pt x="-2211" y="15591"/>
                    <a:pt x="756" y="24492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39E2A312-48A7-4BBC-8E5F-0CE72AD60F84}"/>
                </a:ext>
              </a:extLst>
            </p:cNvPr>
            <p:cNvSpPr/>
            <p:nvPr/>
          </p:nvSpPr>
          <p:spPr>
            <a:xfrm>
              <a:off x="11446378" y="2945391"/>
              <a:ext cx="89498" cy="32288"/>
            </a:xfrm>
            <a:custGeom>
              <a:avLst/>
              <a:gdLst>
                <a:gd name="connsiteX0" fmla="*/ 81339 w 89498"/>
                <a:gd name="connsiteY0" fmla="*/ 29321 h 32288"/>
                <a:gd name="connsiteX1" fmla="*/ 75405 w 89498"/>
                <a:gd name="connsiteY1" fmla="*/ 26354 h 32288"/>
                <a:gd name="connsiteX2" fmla="*/ 10130 w 89498"/>
                <a:gd name="connsiteY2" fmla="*/ 20420 h 32288"/>
                <a:gd name="connsiteX3" fmla="*/ 1229 w 89498"/>
                <a:gd name="connsiteY3" fmla="*/ 17453 h 32288"/>
                <a:gd name="connsiteX4" fmla="*/ 4196 w 89498"/>
                <a:gd name="connsiteY4" fmla="*/ 8552 h 32288"/>
                <a:gd name="connsiteX5" fmla="*/ 87273 w 89498"/>
                <a:gd name="connsiteY5" fmla="*/ 20420 h 32288"/>
                <a:gd name="connsiteX6" fmla="*/ 87273 w 89498"/>
                <a:gd name="connsiteY6" fmla="*/ 32288 h 32288"/>
                <a:gd name="connsiteX7" fmla="*/ 81339 w 89498"/>
                <a:gd name="connsiteY7" fmla="*/ 29321 h 32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2288">
                  <a:moveTo>
                    <a:pt x="81339" y="29321"/>
                  </a:moveTo>
                  <a:cubicBezTo>
                    <a:pt x="78372" y="29321"/>
                    <a:pt x="78372" y="29321"/>
                    <a:pt x="75405" y="26354"/>
                  </a:cubicBezTo>
                  <a:cubicBezTo>
                    <a:pt x="51669" y="-349"/>
                    <a:pt x="13097" y="17453"/>
                    <a:pt x="10130" y="20420"/>
                  </a:cubicBezTo>
                  <a:cubicBezTo>
                    <a:pt x="7163" y="23387"/>
                    <a:pt x="1229" y="20420"/>
                    <a:pt x="1229" y="17453"/>
                  </a:cubicBezTo>
                  <a:cubicBezTo>
                    <a:pt x="-1738" y="14486"/>
                    <a:pt x="1229" y="8552"/>
                    <a:pt x="4196" y="8552"/>
                  </a:cubicBezTo>
                  <a:cubicBezTo>
                    <a:pt x="21999" y="-349"/>
                    <a:pt x="60570" y="-9250"/>
                    <a:pt x="87273" y="20420"/>
                  </a:cubicBezTo>
                  <a:cubicBezTo>
                    <a:pt x="90240" y="23387"/>
                    <a:pt x="90240" y="29321"/>
                    <a:pt x="87273" y="32288"/>
                  </a:cubicBezTo>
                  <a:cubicBezTo>
                    <a:pt x="84306" y="29321"/>
                    <a:pt x="81339" y="29321"/>
                    <a:pt x="81339" y="29321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FF7B17D3-6C66-498A-976C-2E9D594A7529}"/>
                </a:ext>
              </a:extLst>
            </p:cNvPr>
            <p:cNvSpPr/>
            <p:nvPr/>
          </p:nvSpPr>
          <p:spPr>
            <a:xfrm>
              <a:off x="11258459" y="2943064"/>
              <a:ext cx="89498" cy="34615"/>
            </a:xfrm>
            <a:custGeom>
              <a:avLst/>
              <a:gdLst>
                <a:gd name="connsiteX0" fmla="*/ 8159 w 89498"/>
                <a:gd name="connsiteY0" fmla="*/ 34615 h 34615"/>
                <a:gd name="connsiteX1" fmla="*/ 2225 w 89498"/>
                <a:gd name="connsiteY1" fmla="*/ 31648 h 34615"/>
                <a:gd name="connsiteX2" fmla="*/ 2225 w 89498"/>
                <a:gd name="connsiteY2" fmla="*/ 19780 h 34615"/>
                <a:gd name="connsiteX3" fmla="*/ 85302 w 89498"/>
                <a:gd name="connsiteY3" fmla="*/ 10879 h 34615"/>
                <a:gd name="connsiteX4" fmla="*/ 88269 w 89498"/>
                <a:gd name="connsiteY4" fmla="*/ 22747 h 34615"/>
                <a:gd name="connsiteX5" fmla="*/ 76401 w 89498"/>
                <a:gd name="connsiteY5" fmla="*/ 25714 h 34615"/>
                <a:gd name="connsiteX6" fmla="*/ 11126 w 89498"/>
                <a:gd name="connsiteY6" fmla="*/ 31648 h 34615"/>
                <a:gd name="connsiteX7" fmla="*/ 8159 w 89498"/>
                <a:gd name="connsiteY7" fmla="*/ 34615 h 3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4615">
                  <a:moveTo>
                    <a:pt x="8159" y="34615"/>
                  </a:moveTo>
                  <a:cubicBezTo>
                    <a:pt x="5192" y="34615"/>
                    <a:pt x="5192" y="34615"/>
                    <a:pt x="2225" y="31648"/>
                  </a:cubicBezTo>
                  <a:cubicBezTo>
                    <a:pt x="-742" y="28681"/>
                    <a:pt x="-742" y="22747"/>
                    <a:pt x="2225" y="19780"/>
                  </a:cubicBezTo>
                  <a:cubicBezTo>
                    <a:pt x="14093" y="7912"/>
                    <a:pt x="49697" y="-12857"/>
                    <a:pt x="85302" y="10879"/>
                  </a:cubicBezTo>
                  <a:cubicBezTo>
                    <a:pt x="88269" y="13846"/>
                    <a:pt x="91236" y="16813"/>
                    <a:pt x="88269" y="22747"/>
                  </a:cubicBezTo>
                  <a:cubicBezTo>
                    <a:pt x="85302" y="25714"/>
                    <a:pt x="82335" y="28681"/>
                    <a:pt x="76401" y="25714"/>
                  </a:cubicBezTo>
                  <a:cubicBezTo>
                    <a:pt x="40796" y="1978"/>
                    <a:pt x="14093" y="31648"/>
                    <a:pt x="11126" y="31648"/>
                  </a:cubicBezTo>
                  <a:cubicBezTo>
                    <a:pt x="14093" y="31648"/>
                    <a:pt x="11126" y="34615"/>
                    <a:pt x="8159" y="34615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CA4A58CF-4D2D-4747-B21E-243C3CA250B9}"/>
                </a:ext>
              </a:extLst>
            </p:cNvPr>
            <p:cNvSpPr/>
            <p:nvPr/>
          </p:nvSpPr>
          <p:spPr>
            <a:xfrm>
              <a:off x="11320956" y="2723271"/>
              <a:ext cx="269287" cy="251440"/>
            </a:xfrm>
            <a:custGeom>
              <a:avLst/>
              <a:gdLst>
                <a:gd name="connsiteX0" fmla="*/ 2035 w 269287"/>
                <a:gd name="connsiteY0" fmla="*/ 2210 h 251440"/>
                <a:gd name="connsiteX1" fmla="*/ 37640 w 269287"/>
                <a:gd name="connsiteY1" fmla="*/ 126825 h 251440"/>
                <a:gd name="connsiteX2" fmla="*/ 269068 w 269287"/>
                <a:gd name="connsiteY2" fmla="*/ 251441 h 251440"/>
                <a:gd name="connsiteX3" fmla="*/ 2035 w 269287"/>
                <a:gd name="connsiteY3" fmla="*/ 2210 h 25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287" h="251440">
                  <a:moveTo>
                    <a:pt x="2035" y="2210"/>
                  </a:moveTo>
                  <a:cubicBezTo>
                    <a:pt x="2035" y="2210"/>
                    <a:pt x="-12800" y="88254"/>
                    <a:pt x="37640" y="126825"/>
                  </a:cubicBezTo>
                  <a:cubicBezTo>
                    <a:pt x="37640" y="126825"/>
                    <a:pt x="242365" y="168364"/>
                    <a:pt x="269068" y="251441"/>
                  </a:cubicBezTo>
                  <a:cubicBezTo>
                    <a:pt x="269068" y="251441"/>
                    <a:pt x="286870" y="-27460"/>
                    <a:pt x="2035" y="2210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23B0AEAB-B376-4EC6-A5A7-920DA94BD51E}"/>
                </a:ext>
              </a:extLst>
            </p:cNvPr>
            <p:cNvSpPr/>
            <p:nvPr/>
          </p:nvSpPr>
          <p:spPr>
            <a:xfrm>
              <a:off x="11140354" y="2725481"/>
              <a:ext cx="218242" cy="306086"/>
            </a:xfrm>
            <a:custGeom>
              <a:avLst/>
              <a:gdLst>
                <a:gd name="connsiteX0" fmla="*/ 218242 w 218242"/>
                <a:gd name="connsiteY0" fmla="*/ 124615 h 306086"/>
                <a:gd name="connsiteX1" fmla="*/ 81758 w 218242"/>
                <a:gd name="connsiteY1" fmla="*/ 178022 h 306086"/>
                <a:gd name="connsiteX2" fmla="*/ 25385 w 218242"/>
                <a:gd name="connsiteY2" fmla="*/ 293736 h 306086"/>
                <a:gd name="connsiteX3" fmla="*/ 1649 w 218242"/>
                <a:gd name="connsiteY3" fmla="*/ 290769 h 306086"/>
                <a:gd name="connsiteX4" fmla="*/ 185605 w 218242"/>
                <a:gd name="connsiteY4" fmla="*/ 0 h 306086"/>
                <a:gd name="connsiteX5" fmla="*/ 218242 w 218242"/>
                <a:gd name="connsiteY5" fmla="*/ 124615 h 306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8242" h="306086">
                  <a:moveTo>
                    <a:pt x="218242" y="124615"/>
                  </a:moveTo>
                  <a:cubicBezTo>
                    <a:pt x="218242" y="124615"/>
                    <a:pt x="129231" y="172088"/>
                    <a:pt x="81758" y="178022"/>
                  </a:cubicBezTo>
                  <a:cubicBezTo>
                    <a:pt x="31319" y="183956"/>
                    <a:pt x="25385" y="293736"/>
                    <a:pt x="25385" y="293736"/>
                  </a:cubicBezTo>
                  <a:cubicBezTo>
                    <a:pt x="25385" y="293736"/>
                    <a:pt x="4615" y="323407"/>
                    <a:pt x="1649" y="290769"/>
                  </a:cubicBezTo>
                  <a:cubicBezTo>
                    <a:pt x="-4285" y="213626"/>
                    <a:pt x="-4285" y="20769"/>
                    <a:pt x="185605" y="0"/>
                  </a:cubicBezTo>
                  <a:cubicBezTo>
                    <a:pt x="182637" y="0"/>
                    <a:pt x="194506" y="118681"/>
                    <a:pt x="218242" y="124615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ACFBC5AF-A4FC-46D1-BAA8-CA7327A21426}"/>
                </a:ext>
              </a:extLst>
            </p:cNvPr>
            <p:cNvSpPr/>
            <p:nvPr/>
          </p:nvSpPr>
          <p:spPr>
            <a:xfrm>
              <a:off x="11216179" y="2769987"/>
              <a:ext cx="152636" cy="136483"/>
            </a:xfrm>
            <a:custGeom>
              <a:avLst/>
              <a:gdLst>
                <a:gd name="connsiteX0" fmla="*/ 5934 w 152636"/>
                <a:gd name="connsiteY0" fmla="*/ 136483 h 136483"/>
                <a:gd name="connsiteX1" fmla="*/ 0 w 152636"/>
                <a:gd name="connsiteY1" fmla="*/ 130549 h 136483"/>
                <a:gd name="connsiteX2" fmla="*/ 5934 w 152636"/>
                <a:gd name="connsiteY2" fmla="*/ 124615 h 136483"/>
                <a:gd name="connsiteX3" fmla="*/ 97912 w 152636"/>
                <a:gd name="connsiteY3" fmla="*/ 94945 h 136483"/>
                <a:gd name="connsiteX4" fmla="*/ 136483 w 152636"/>
                <a:gd name="connsiteY4" fmla="*/ 74176 h 136483"/>
                <a:gd name="connsiteX5" fmla="*/ 112747 w 152636"/>
                <a:gd name="connsiteY5" fmla="*/ 5934 h 136483"/>
                <a:gd name="connsiteX6" fmla="*/ 118681 w 152636"/>
                <a:gd name="connsiteY6" fmla="*/ 0 h 136483"/>
                <a:gd name="connsiteX7" fmla="*/ 124615 w 152636"/>
                <a:gd name="connsiteY7" fmla="*/ 5934 h 136483"/>
                <a:gd name="connsiteX8" fmla="*/ 151318 w 152636"/>
                <a:gd name="connsiteY8" fmla="*/ 74176 h 136483"/>
                <a:gd name="connsiteX9" fmla="*/ 151318 w 152636"/>
                <a:gd name="connsiteY9" fmla="*/ 80110 h 136483"/>
                <a:gd name="connsiteX10" fmla="*/ 148352 w 152636"/>
                <a:gd name="connsiteY10" fmla="*/ 83077 h 136483"/>
                <a:gd name="connsiteX11" fmla="*/ 103846 w 152636"/>
                <a:gd name="connsiteY11" fmla="*/ 106813 h 136483"/>
                <a:gd name="connsiteX12" fmla="*/ 5934 w 152636"/>
                <a:gd name="connsiteY12" fmla="*/ 136483 h 136483"/>
                <a:gd name="connsiteX13" fmla="*/ 5934 w 152636"/>
                <a:gd name="connsiteY13" fmla="*/ 136483 h 13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2636" h="136483">
                  <a:moveTo>
                    <a:pt x="5934" y="136483"/>
                  </a:moveTo>
                  <a:cubicBezTo>
                    <a:pt x="2966" y="136483"/>
                    <a:pt x="0" y="133516"/>
                    <a:pt x="0" y="130549"/>
                  </a:cubicBezTo>
                  <a:cubicBezTo>
                    <a:pt x="0" y="127582"/>
                    <a:pt x="2966" y="124615"/>
                    <a:pt x="5934" y="124615"/>
                  </a:cubicBezTo>
                  <a:cubicBezTo>
                    <a:pt x="32637" y="121648"/>
                    <a:pt x="65274" y="109780"/>
                    <a:pt x="97912" y="94945"/>
                  </a:cubicBezTo>
                  <a:cubicBezTo>
                    <a:pt x="115714" y="86044"/>
                    <a:pt x="127582" y="80110"/>
                    <a:pt x="136483" y="74176"/>
                  </a:cubicBezTo>
                  <a:cubicBezTo>
                    <a:pt x="127582" y="59341"/>
                    <a:pt x="112747" y="26703"/>
                    <a:pt x="112747" y="5934"/>
                  </a:cubicBezTo>
                  <a:cubicBezTo>
                    <a:pt x="112747" y="2967"/>
                    <a:pt x="115714" y="0"/>
                    <a:pt x="118681" y="0"/>
                  </a:cubicBezTo>
                  <a:cubicBezTo>
                    <a:pt x="121648" y="0"/>
                    <a:pt x="124615" y="2967"/>
                    <a:pt x="124615" y="5934"/>
                  </a:cubicBezTo>
                  <a:cubicBezTo>
                    <a:pt x="127582" y="29670"/>
                    <a:pt x="145384" y="68242"/>
                    <a:pt x="151318" y="74176"/>
                  </a:cubicBezTo>
                  <a:cubicBezTo>
                    <a:pt x="151318" y="74176"/>
                    <a:pt x="154285" y="77143"/>
                    <a:pt x="151318" y="80110"/>
                  </a:cubicBezTo>
                  <a:cubicBezTo>
                    <a:pt x="151318" y="83077"/>
                    <a:pt x="151318" y="83077"/>
                    <a:pt x="148352" y="83077"/>
                  </a:cubicBezTo>
                  <a:cubicBezTo>
                    <a:pt x="148352" y="83077"/>
                    <a:pt x="130549" y="94945"/>
                    <a:pt x="103846" y="106813"/>
                  </a:cubicBezTo>
                  <a:cubicBezTo>
                    <a:pt x="65274" y="121648"/>
                    <a:pt x="32637" y="133516"/>
                    <a:pt x="5934" y="136483"/>
                  </a:cubicBezTo>
                  <a:cubicBezTo>
                    <a:pt x="5934" y="136483"/>
                    <a:pt x="5934" y="136483"/>
                    <a:pt x="5934" y="136483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D4340D5B-B27A-4C5F-ADA0-A1F8E2241E56}"/>
                </a:ext>
              </a:extLst>
            </p:cNvPr>
            <p:cNvSpPr/>
            <p:nvPr/>
          </p:nvSpPr>
          <p:spPr>
            <a:xfrm>
              <a:off x="11260684" y="3235811"/>
              <a:ext cx="215851" cy="77142"/>
            </a:xfrm>
            <a:custGeom>
              <a:avLst/>
              <a:gdLst>
                <a:gd name="connsiteX0" fmla="*/ 145384 w 215851"/>
                <a:gd name="connsiteY0" fmla="*/ 77143 h 77142"/>
                <a:gd name="connsiteX1" fmla="*/ 136483 w 215851"/>
                <a:gd name="connsiteY1" fmla="*/ 77143 h 77142"/>
                <a:gd name="connsiteX2" fmla="*/ 2966 w 215851"/>
                <a:gd name="connsiteY2" fmla="*/ 11868 h 77142"/>
                <a:gd name="connsiteX3" fmla="*/ 0 w 215851"/>
                <a:gd name="connsiteY3" fmla="*/ 2967 h 77142"/>
                <a:gd name="connsiteX4" fmla="*/ 8901 w 215851"/>
                <a:gd name="connsiteY4" fmla="*/ 0 h 77142"/>
                <a:gd name="connsiteX5" fmla="*/ 136483 w 215851"/>
                <a:gd name="connsiteY5" fmla="*/ 65275 h 77142"/>
                <a:gd name="connsiteX6" fmla="*/ 204725 w 215851"/>
                <a:gd name="connsiteY6" fmla="*/ 41538 h 77142"/>
                <a:gd name="connsiteX7" fmla="*/ 213626 w 215851"/>
                <a:gd name="connsiteY7" fmla="*/ 41538 h 77142"/>
                <a:gd name="connsiteX8" fmla="*/ 213626 w 215851"/>
                <a:gd name="connsiteY8" fmla="*/ 50440 h 77142"/>
                <a:gd name="connsiteX9" fmla="*/ 145384 w 215851"/>
                <a:gd name="connsiteY9" fmla="*/ 77143 h 7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5851" h="77142">
                  <a:moveTo>
                    <a:pt x="145384" y="77143"/>
                  </a:moveTo>
                  <a:cubicBezTo>
                    <a:pt x="142417" y="77143"/>
                    <a:pt x="139450" y="77143"/>
                    <a:pt x="136483" y="77143"/>
                  </a:cubicBezTo>
                  <a:cubicBezTo>
                    <a:pt x="94945" y="71209"/>
                    <a:pt x="5934" y="11868"/>
                    <a:pt x="2966" y="11868"/>
                  </a:cubicBezTo>
                  <a:cubicBezTo>
                    <a:pt x="0" y="8901"/>
                    <a:pt x="0" y="5934"/>
                    <a:pt x="0" y="2967"/>
                  </a:cubicBezTo>
                  <a:cubicBezTo>
                    <a:pt x="2966" y="0"/>
                    <a:pt x="5934" y="0"/>
                    <a:pt x="8901" y="0"/>
                  </a:cubicBezTo>
                  <a:cubicBezTo>
                    <a:pt x="8901" y="0"/>
                    <a:pt x="100879" y="59341"/>
                    <a:pt x="136483" y="65275"/>
                  </a:cubicBezTo>
                  <a:cubicBezTo>
                    <a:pt x="172088" y="71209"/>
                    <a:pt x="204725" y="41538"/>
                    <a:pt x="204725" y="41538"/>
                  </a:cubicBezTo>
                  <a:cubicBezTo>
                    <a:pt x="207692" y="38571"/>
                    <a:pt x="210659" y="38571"/>
                    <a:pt x="213626" y="41538"/>
                  </a:cubicBezTo>
                  <a:cubicBezTo>
                    <a:pt x="216593" y="44505"/>
                    <a:pt x="216593" y="47472"/>
                    <a:pt x="213626" y="50440"/>
                  </a:cubicBezTo>
                  <a:cubicBezTo>
                    <a:pt x="210659" y="53407"/>
                    <a:pt x="180988" y="77143"/>
                    <a:pt x="145384" y="77143"/>
                  </a:cubicBezTo>
                  <a:close/>
                </a:path>
              </a:pathLst>
            </a:custGeom>
            <a:solidFill>
              <a:srgbClr val="E58777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6DDD4D89-84E4-481F-9FD4-A9871AAFBFF8}"/>
                </a:ext>
              </a:extLst>
            </p:cNvPr>
            <p:cNvSpPr/>
            <p:nvPr/>
          </p:nvSpPr>
          <p:spPr>
            <a:xfrm>
              <a:off x="11125841" y="3002938"/>
              <a:ext cx="75502" cy="110991"/>
            </a:xfrm>
            <a:custGeom>
              <a:avLst/>
              <a:gdLst>
                <a:gd name="connsiteX0" fmla="*/ 63634 w 75502"/>
                <a:gd name="connsiteY0" fmla="*/ 16280 h 110991"/>
                <a:gd name="connsiteX1" fmla="*/ 7260 w 75502"/>
                <a:gd name="connsiteY1" fmla="*/ 7379 h 110991"/>
                <a:gd name="connsiteX2" fmla="*/ 63634 w 75502"/>
                <a:gd name="connsiteY2" fmla="*/ 108258 h 110991"/>
                <a:gd name="connsiteX3" fmla="*/ 63634 w 75502"/>
                <a:gd name="connsiteY3" fmla="*/ 16280 h 11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502" h="110991">
                  <a:moveTo>
                    <a:pt x="63634" y="16280"/>
                  </a:moveTo>
                  <a:cubicBezTo>
                    <a:pt x="63634" y="16280"/>
                    <a:pt x="30997" y="-13390"/>
                    <a:pt x="7260" y="7379"/>
                  </a:cubicBezTo>
                  <a:cubicBezTo>
                    <a:pt x="-16475" y="25181"/>
                    <a:pt x="22096" y="129027"/>
                    <a:pt x="63634" y="108258"/>
                  </a:cubicBezTo>
                  <a:cubicBezTo>
                    <a:pt x="90338" y="90456"/>
                    <a:pt x="63634" y="16280"/>
                    <a:pt x="63634" y="16280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9C5E9848-13D5-4977-9958-52AB5C4BD88B}"/>
                </a:ext>
              </a:extLst>
            </p:cNvPr>
            <p:cNvSpPr/>
            <p:nvPr/>
          </p:nvSpPr>
          <p:spPr>
            <a:xfrm>
              <a:off x="11351433" y="2838229"/>
              <a:ext cx="247492" cy="157252"/>
            </a:xfrm>
            <a:custGeom>
              <a:avLst/>
              <a:gdLst>
                <a:gd name="connsiteX0" fmla="*/ 238591 w 247492"/>
                <a:gd name="connsiteY0" fmla="*/ 157253 h 157252"/>
                <a:gd name="connsiteX1" fmla="*/ 232658 w 247492"/>
                <a:gd name="connsiteY1" fmla="*/ 151319 h 157252"/>
                <a:gd name="connsiteX2" fmla="*/ 134745 w 247492"/>
                <a:gd name="connsiteY2" fmla="*/ 56374 h 157252"/>
                <a:gd name="connsiteX3" fmla="*/ 4196 w 247492"/>
                <a:gd name="connsiteY3" fmla="*/ 11868 h 157252"/>
                <a:gd name="connsiteX4" fmla="*/ 1229 w 247492"/>
                <a:gd name="connsiteY4" fmla="*/ 2967 h 157252"/>
                <a:gd name="connsiteX5" fmla="*/ 10130 w 247492"/>
                <a:gd name="connsiteY5" fmla="*/ 0 h 157252"/>
                <a:gd name="connsiteX6" fmla="*/ 140680 w 247492"/>
                <a:gd name="connsiteY6" fmla="*/ 44505 h 157252"/>
                <a:gd name="connsiteX7" fmla="*/ 247493 w 247492"/>
                <a:gd name="connsiteY7" fmla="*/ 148352 h 157252"/>
                <a:gd name="connsiteX8" fmla="*/ 238591 w 247492"/>
                <a:gd name="connsiteY8" fmla="*/ 157253 h 157252"/>
                <a:gd name="connsiteX9" fmla="*/ 238591 w 247492"/>
                <a:gd name="connsiteY9" fmla="*/ 157253 h 157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7492" h="157252">
                  <a:moveTo>
                    <a:pt x="238591" y="157253"/>
                  </a:moveTo>
                  <a:cubicBezTo>
                    <a:pt x="235625" y="157253"/>
                    <a:pt x="232658" y="154286"/>
                    <a:pt x="232658" y="151319"/>
                  </a:cubicBezTo>
                  <a:cubicBezTo>
                    <a:pt x="223756" y="94945"/>
                    <a:pt x="185185" y="71209"/>
                    <a:pt x="134745" y="56374"/>
                  </a:cubicBezTo>
                  <a:cubicBezTo>
                    <a:pt x="69471" y="38571"/>
                    <a:pt x="4196" y="11868"/>
                    <a:pt x="4196" y="11868"/>
                  </a:cubicBezTo>
                  <a:cubicBezTo>
                    <a:pt x="1229" y="11868"/>
                    <a:pt x="-1738" y="5934"/>
                    <a:pt x="1229" y="2967"/>
                  </a:cubicBezTo>
                  <a:cubicBezTo>
                    <a:pt x="1229" y="0"/>
                    <a:pt x="4196" y="0"/>
                    <a:pt x="10130" y="0"/>
                  </a:cubicBezTo>
                  <a:cubicBezTo>
                    <a:pt x="10130" y="0"/>
                    <a:pt x="75404" y="23736"/>
                    <a:pt x="140680" y="44505"/>
                  </a:cubicBezTo>
                  <a:cubicBezTo>
                    <a:pt x="191120" y="59341"/>
                    <a:pt x="235625" y="83077"/>
                    <a:pt x="247493" y="148352"/>
                  </a:cubicBezTo>
                  <a:cubicBezTo>
                    <a:pt x="244526" y="154286"/>
                    <a:pt x="244526" y="157253"/>
                    <a:pt x="238591" y="157253"/>
                  </a:cubicBezTo>
                  <a:cubicBezTo>
                    <a:pt x="241559" y="157253"/>
                    <a:pt x="238591" y="157253"/>
                    <a:pt x="238591" y="157253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0" name="图形 1">
              <a:extLst>
                <a:ext uri="{FF2B5EF4-FFF2-40B4-BE49-F238E27FC236}">
                  <a16:creationId xmlns:a16="http://schemas.microsoft.com/office/drawing/2014/main" id="{1498C5DC-8610-442B-B123-A528540B7F15}"/>
                </a:ext>
              </a:extLst>
            </p:cNvPr>
            <p:cNvGrpSpPr/>
            <p:nvPr/>
          </p:nvGrpSpPr>
          <p:grpSpPr>
            <a:xfrm>
              <a:off x="11233980" y="2410976"/>
              <a:ext cx="320440" cy="399481"/>
              <a:chOff x="11233980" y="2410976"/>
              <a:chExt cx="320440" cy="399481"/>
            </a:xfrm>
          </p:grpSpPr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A62B05F5-697A-4F4A-A11B-0418390CBAA6}"/>
                  </a:ext>
                </a:extLst>
              </p:cNvPr>
              <p:cNvSpPr/>
              <p:nvPr/>
            </p:nvSpPr>
            <p:spPr>
              <a:xfrm>
                <a:off x="11233980" y="2410976"/>
                <a:ext cx="320440" cy="399481"/>
              </a:xfrm>
              <a:custGeom>
                <a:avLst/>
                <a:gdLst>
                  <a:gd name="connsiteX0" fmla="*/ 0 w 320440"/>
                  <a:gd name="connsiteY0" fmla="*/ 350110 h 399481"/>
                  <a:gd name="connsiteX1" fmla="*/ 204726 w 320440"/>
                  <a:gd name="connsiteY1" fmla="*/ 0 h 399481"/>
                  <a:gd name="connsiteX2" fmla="*/ 320440 w 320440"/>
                  <a:gd name="connsiteY2" fmla="*/ 373846 h 399481"/>
                  <a:gd name="connsiteX3" fmla="*/ 0 w 320440"/>
                  <a:gd name="connsiteY3" fmla="*/ 350110 h 399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0440" h="399481">
                    <a:moveTo>
                      <a:pt x="0" y="350110"/>
                    </a:moveTo>
                    <a:lnTo>
                      <a:pt x="204726" y="0"/>
                    </a:lnTo>
                    <a:lnTo>
                      <a:pt x="320440" y="373846"/>
                    </a:lnTo>
                    <a:cubicBezTo>
                      <a:pt x="320440" y="373846"/>
                      <a:pt x="204726" y="445055"/>
                      <a:pt x="0" y="35011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04B18E97-69D1-47DE-858C-E4498BCEE386}"/>
                  </a:ext>
                </a:extLst>
              </p:cNvPr>
              <p:cNvSpPr/>
              <p:nvPr/>
            </p:nvSpPr>
            <p:spPr>
              <a:xfrm>
                <a:off x="11415065" y="2552539"/>
                <a:ext cx="30219" cy="28412"/>
              </a:xfrm>
              <a:custGeom>
                <a:avLst/>
                <a:gdLst>
                  <a:gd name="connsiteX0" fmla="*/ 20674 w 30219"/>
                  <a:gd name="connsiteY0" fmla="*/ 855 h 28412"/>
                  <a:gd name="connsiteX1" fmla="*/ 8806 w 30219"/>
                  <a:gd name="connsiteY1" fmla="*/ 27558 h 28412"/>
                  <a:gd name="connsiteX2" fmla="*/ 20674 w 30219"/>
                  <a:gd name="connsiteY2" fmla="*/ 855 h 28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219" h="28412">
                    <a:moveTo>
                      <a:pt x="20674" y="855"/>
                    </a:moveTo>
                    <a:cubicBezTo>
                      <a:pt x="2872" y="-5079"/>
                      <a:pt x="-8996" y="21624"/>
                      <a:pt x="8806" y="27558"/>
                    </a:cubicBezTo>
                    <a:cubicBezTo>
                      <a:pt x="29575" y="33492"/>
                      <a:pt x="38477" y="6789"/>
                      <a:pt x="20674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F8B644BE-B6E0-41C7-9CCB-AA6E65058DA5}"/>
                  </a:ext>
                </a:extLst>
              </p:cNvPr>
              <p:cNvSpPr/>
              <p:nvPr/>
            </p:nvSpPr>
            <p:spPr>
              <a:xfrm>
                <a:off x="11367592" y="2608912"/>
                <a:ext cx="29480" cy="28412"/>
              </a:xfrm>
              <a:custGeom>
                <a:avLst/>
                <a:gdLst>
                  <a:gd name="connsiteX0" fmla="*/ 20674 w 29480"/>
                  <a:gd name="connsiteY0" fmla="*/ 855 h 28412"/>
                  <a:gd name="connsiteX1" fmla="*/ 8806 w 29480"/>
                  <a:gd name="connsiteY1" fmla="*/ 27558 h 28412"/>
                  <a:gd name="connsiteX2" fmla="*/ 20674 w 29480"/>
                  <a:gd name="connsiteY2" fmla="*/ 855 h 28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480" h="28412">
                    <a:moveTo>
                      <a:pt x="20674" y="855"/>
                    </a:moveTo>
                    <a:cubicBezTo>
                      <a:pt x="2872" y="-5079"/>
                      <a:pt x="-8996" y="21624"/>
                      <a:pt x="8806" y="27558"/>
                    </a:cubicBezTo>
                    <a:cubicBezTo>
                      <a:pt x="26609" y="33492"/>
                      <a:pt x="38477" y="6789"/>
                      <a:pt x="20674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2C145697-29D1-4C59-B9CE-DDD3BE0B9A9B}"/>
                  </a:ext>
                </a:extLst>
              </p:cNvPr>
              <p:cNvSpPr/>
              <p:nvPr/>
            </p:nvSpPr>
            <p:spPr>
              <a:xfrm>
                <a:off x="11447702" y="2674187"/>
                <a:ext cx="29480" cy="28412"/>
              </a:xfrm>
              <a:custGeom>
                <a:avLst/>
                <a:gdLst>
                  <a:gd name="connsiteX0" fmla="*/ 20675 w 29480"/>
                  <a:gd name="connsiteY0" fmla="*/ 855 h 28412"/>
                  <a:gd name="connsiteX1" fmla="*/ 8806 w 29480"/>
                  <a:gd name="connsiteY1" fmla="*/ 27558 h 28412"/>
                  <a:gd name="connsiteX2" fmla="*/ 20675 w 29480"/>
                  <a:gd name="connsiteY2" fmla="*/ 855 h 28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480" h="28412">
                    <a:moveTo>
                      <a:pt x="20675" y="855"/>
                    </a:moveTo>
                    <a:cubicBezTo>
                      <a:pt x="2872" y="-5079"/>
                      <a:pt x="-8996" y="21624"/>
                      <a:pt x="8806" y="27558"/>
                    </a:cubicBezTo>
                    <a:cubicBezTo>
                      <a:pt x="26608" y="33492"/>
                      <a:pt x="38476" y="6789"/>
                      <a:pt x="20675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FD30C73A-07C2-424F-9D31-74CE5EAC756A}"/>
                  </a:ext>
                </a:extLst>
              </p:cNvPr>
              <p:cNvSpPr/>
              <p:nvPr/>
            </p:nvSpPr>
            <p:spPr>
              <a:xfrm>
                <a:off x="11326054" y="2686055"/>
                <a:ext cx="30219" cy="28412"/>
              </a:xfrm>
              <a:custGeom>
                <a:avLst/>
                <a:gdLst>
                  <a:gd name="connsiteX0" fmla="*/ 20674 w 30219"/>
                  <a:gd name="connsiteY0" fmla="*/ 855 h 28412"/>
                  <a:gd name="connsiteX1" fmla="*/ 8806 w 30219"/>
                  <a:gd name="connsiteY1" fmla="*/ 27558 h 28412"/>
                  <a:gd name="connsiteX2" fmla="*/ 20674 w 30219"/>
                  <a:gd name="connsiteY2" fmla="*/ 855 h 28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219" h="28412">
                    <a:moveTo>
                      <a:pt x="20674" y="855"/>
                    </a:moveTo>
                    <a:cubicBezTo>
                      <a:pt x="2872" y="-5079"/>
                      <a:pt x="-8996" y="21624"/>
                      <a:pt x="8806" y="27558"/>
                    </a:cubicBezTo>
                    <a:cubicBezTo>
                      <a:pt x="29575" y="33492"/>
                      <a:pt x="38477" y="6789"/>
                      <a:pt x="20674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D76AA9E4-0927-4C58-A2DE-97346778BC0A}"/>
                  </a:ext>
                </a:extLst>
              </p:cNvPr>
              <p:cNvSpPr/>
              <p:nvPr/>
            </p:nvSpPr>
            <p:spPr>
              <a:xfrm>
                <a:off x="11391328" y="2748363"/>
                <a:ext cx="29480" cy="28412"/>
              </a:xfrm>
              <a:custGeom>
                <a:avLst/>
                <a:gdLst>
                  <a:gd name="connsiteX0" fmla="*/ 20674 w 29480"/>
                  <a:gd name="connsiteY0" fmla="*/ 855 h 28412"/>
                  <a:gd name="connsiteX1" fmla="*/ 8806 w 29480"/>
                  <a:gd name="connsiteY1" fmla="*/ 27558 h 28412"/>
                  <a:gd name="connsiteX2" fmla="*/ 20674 w 29480"/>
                  <a:gd name="connsiteY2" fmla="*/ 855 h 28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480" h="28412">
                    <a:moveTo>
                      <a:pt x="20674" y="855"/>
                    </a:moveTo>
                    <a:cubicBezTo>
                      <a:pt x="2873" y="-5079"/>
                      <a:pt x="-8996" y="21624"/>
                      <a:pt x="8806" y="27558"/>
                    </a:cubicBezTo>
                    <a:cubicBezTo>
                      <a:pt x="26609" y="33492"/>
                      <a:pt x="38477" y="6789"/>
                      <a:pt x="20674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63" name="图形 1">
            <a:extLst>
              <a:ext uri="{FF2B5EF4-FFF2-40B4-BE49-F238E27FC236}">
                <a16:creationId xmlns:a16="http://schemas.microsoft.com/office/drawing/2014/main" id="{F6EAD652-1519-4ED1-9E72-176350652298}"/>
              </a:ext>
            </a:extLst>
          </p:cNvPr>
          <p:cNvGrpSpPr/>
          <p:nvPr/>
        </p:nvGrpSpPr>
        <p:grpSpPr>
          <a:xfrm>
            <a:off x="6498399" y="1636022"/>
            <a:ext cx="3000606" cy="5221978"/>
            <a:chOff x="13648209" y="1823503"/>
            <a:chExt cx="3000606" cy="5221978"/>
          </a:xfrm>
        </p:grpSpPr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6EED466D-57D5-4FF5-88C9-F1A191622C85}"/>
                </a:ext>
              </a:extLst>
            </p:cNvPr>
            <p:cNvSpPr/>
            <p:nvPr/>
          </p:nvSpPr>
          <p:spPr>
            <a:xfrm>
              <a:off x="13809131" y="3229877"/>
              <a:ext cx="991943" cy="699966"/>
            </a:xfrm>
            <a:custGeom>
              <a:avLst/>
              <a:gdLst>
                <a:gd name="connsiteX0" fmla="*/ 976388 w 991943"/>
                <a:gd name="connsiteY0" fmla="*/ 124615 h 699966"/>
                <a:gd name="connsiteX1" fmla="*/ 563970 w 991943"/>
                <a:gd name="connsiteY1" fmla="*/ 213626 h 699966"/>
                <a:gd name="connsiteX2" fmla="*/ 219794 w 991943"/>
                <a:gd name="connsiteY2" fmla="*/ 445055 h 699966"/>
                <a:gd name="connsiteX3" fmla="*/ 104080 w 991943"/>
                <a:gd name="connsiteY3" fmla="*/ 0 h 699966"/>
                <a:gd name="connsiteX4" fmla="*/ 234 w 991943"/>
                <a:gd name="connsiteY4" fmla="*/ 83077 h 699966"/>
                <a:gd name="connsiteX5" fmla="*/ 83311 w 991943"/>
                <a:gd name="connsiteY5" fmla="*/ 685385 h 699966"/>
                <a:gd name="connsiteX6" fmla="*/ 976388 w 991943"/>
                <a:gd name="connsiteY6" fmla="*/ 124615 h 699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1943" h="699966">
                  <a:moveTo>
                    <a:pt x="976388" y="124615"/>
                  </a:moveTo>
                  <a:cubicBezTo>
                    <a:pt x="914080" y="29670"/>
                    <a:pt x="661882" y="163187"/>
                    <a:pt x="563970" y="213626"/>
                  </a:cubicBezTo>
                  <a:cubicBezTo>
                    <a:pt x="477927" y="258132"/>
                    <a:pt x="219794" y="445055"/>
                    <a:pt x="219794" y="445055"/>
                  </a:cubicBezTo>
                  <a:lnTo>
                    <a:pt x="104080" y="0"/>
                  </a:lnTo>
                  <a:lnTo>
                    <a:pt x="234" y="83077"/>
                  </a:lnTo>
                  <a:cubicBezTo>
                    <a:pt x="234" y="83077"/>
                    <a:pt x="-8668" y="626044"/>
                    <a:pt x="83311" y="685385"/>
                  </a:cubicBezTo>
                  <a:cubicBezTo>
                    <a:pt x="240564" y="786264"/>
                    <a:pt x="1118805" y="338242"/>
                    <a:pt x="976388" y="124615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5" name="图形 1">
              <a:extLst>
                <a:ext uri="{FF2B5EF4-FFF2-40B4-BE49-F238E27FC236}">
                  <a16:creationId xmlns:a16="http://schemas.microsoft.com/office/drawing/2014/main" id="{FB616783-D454-4DED-803A-2701CC321FCE}"/>
                </a:ext>
              </a:extLst>
            </p:cNvPr>
            <p:cNvGrpSpPr/>
            <p:nvPr/>
          </p:nvGrpSpPr>
          <p:grpSpPr>
            <a:xfrm>
              <a:off x="14568926" y="6710207"/>
              <a:ext cx="477691" cy="335274"/>
              <a:chOff x="14568926" y="6710207"/>
              <a:chExt cx="477691" cy="335274"/>
            </a:xfrm>
          </p:grpSpPr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4C17AE66-1ED6-4063-B205-424CF95773FC}"/>
                  </a:ext>
                </a:extLst>
              </p:cNvPr>
              <p:cNvSpPr/>
              <p:nvPr/>
            </p:nvSpPr>
            <p:spPr>
              <a:xfrm>
                <a:off x="14850794" y="6710207"/>
                <a:ext cx="180988" cy="219560"/>
              </a:xfrm>
              <a:custGeom>
                <a:avLst/>
                <a:gdLst>
                  <a:gd name="connsiteX0" fmla="*/ 180988 w 180988"/>
                  <a:gd name="connsiteY0" fmla="*/ 180989 h 219560"/>
                  <a:gd name="connsiteX1" fmla="*/ 154285 w 180988"/>
                  <a:gd name="connsiteY1" fmla="*/ 0 h 219560"/>
                  <a:gd name="connsiteX2" fmla="*/ 0 w 180988"/>
                  <a:gd name="connsiteY2" fmla="*/ 0 h 219560"/>
                  <a:gd name="connsiteX3" fmla="*/ 41538 w 180988"/>
                  <a:gd name="connsiteY3" fmla="*/ 189890 h 219560"/>
                  <a:gd name="connsiteX4" fmla="*/ 169120 w 180988"/>
                  <a:gd name="connsiteY4" fmla="*/ 219560 h 21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988" h="219560">
                    <a:moveTo>
                      <a:pt x="180988" y="180989"/>
                    </a:moveTo>
                    <a:lnTo>
                      <a:pt x="154285" y="0"/>
                    </a:lnTo>
                    <a:lnTo>
                      <a:pt x="0" y="0"/>
                    </a:lnTo>
                    <a:lnTo>
                      <a:pt x="41538" y="189890"/>
                    </a:lnTo>
                    <a:lnTo>
                      <a:pt x="169120" y="219560"/>
                    </a:ln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7F8088FE-D1F4-454A-891A-EF0AFEA8D4AD}"/>
                  </a:ext>
                </a:extLst>
              </p:cNvPr>
              <p:cNvSpPr/>
              <p:nvPr/>
            </p:nvSpPr>
            <p:spPr>
              <a:xfrm>
                <a:off x="14568926" y="6846690"/>
                <a:ext cx="476967" cy="154286"/>
              </a:xfrm>
              <a:custGeom>
                <a:avLst/>
                <a:gdLst>
                  <a:gd name="connsiteX0" fmla="*/ 462856 w 476967"/>
                  <a:gd name="connsiteY0" fmla="*/ 44505 h 154286"/>
                  <a:gd name="connsiteX1" fmla="*/ 293736 w 476967"/>
                  <a:gd name="connsiteY1" fmla="*/ 0 h 154286"/>
                  <a:gd name="connsiteX2" fmla="*/ 163187 w 476967"/>
                  <a:gd name="connsiteY2" fmla="*/ 77143 h 154286"/>
                  <a:gd name="connsiteX3" fmla="*/ 0 w 476967"/>
                  <a:gd name="connsiteY3" fmla="*/ 154286 h 154286"/>
                  <a:gd name="connsiteX4" fmla="*/ 474725 w 476967"/>
                  <a:gd name="connsiteY4" fmla="*/ 154286 h 154286"/>
                  <a:gd name="connsiteX5" fmla="*/ 462856 w 476967"/>
                  <a:gd name="connsiteY5" fmla="*/ 44505 h 154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6967" h="154286">
                    <a:moveTo>
                      <a:pt x="462856" y="44505"/>
                    </a:moveTo>
                    <a:cubicBezTo>
                      <a:pt x="462856" y="44505"/>
                      <a:pt x="356044" y="62308"/>
                      <a:pt x="293736" y="0"/>
                    </a:cubicBezTo>
                    <a:cubicBezTo>
                      <a:pt x="293736" y="0"/>
                      <a:pt x="207692" y="68242"/>
                      <a:pt x="163187" y="77143"/>
                    </a:cubicBezTo>
                    <a:cubicBezTo>
                      <a:pt x="118681" y="86044"/>
                      <a:pt x="11868" y="83077"/>
                      <a:pt x="0" y="154286"/>
                    </a:cubicBezTo>
                    <a:lnTo>
                      <a:pt x="474725" y="154286"/>
                    </a:lnTo>
                    <a:cubicBezTo>
                      <a:pt x="477692" y="154286"/>
                      <a:pt x="480659" y="94945"/>
                      <a:pt x="462856" y="44505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47AF59E1-D04A-4F9A-BD83-396BC7344394}"/>
                  </a:ext>
                </a:extLst>
              </p:cNvPr>
              <p:cNvSpPr/>
              <p:nvPr/>
            </p:nvSpPr>
            <p:spPr>
              <a:xfrm>
                <a:off x="14571893" y="7000976"/>
                <a:ext cx="474725" cy="44505"/>
              </a:xfrm>
              <a:custGeom>
                <a:avLst/>
                <a:gdLst>
                  <a:gd name="connsiteX0" fmla="*/ 0 w 474725"/>
                  <a:gd name="connsiteY0" fmla="*/ 0 h 44505"/>
                  <a:gd name="connsiteX1" fmla="*/ 474725 w 474725"/>
                  <a:gd name="connsiteY1" fmla="*/ 0 h 44505"/>
                  <a:gd name="connsiteX2" fmla="*/ 474725 w 474725"/>
                  <a:gd name="connsiteY2" fmla="*/ 44506 h 44505"/>
                  <a:gd name="connsiteX3" fmla="*/ 0 w 474725"/>
                  <a:gd name="connsiteY3" fmla="*/ 44506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725" h="44505">
                    <a:moveTo>
                      <a:pt x="0" y="0"/>
                    </a:moveTo>
                    <a:lnTo>
                      <a:pt x="474725" y="0"/>
                    </a:lnTo>
                    <a:lnTo>
                      <a:pt x="474725" y="44506"/>
                    </a:lnTo>
                    <a:lnTo>
                      <a:pt x="0" y="44506"/>
                    </a:ln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1A62B6E2-836D-46B0-A0C4-EE39727430C2}"/>
                  </a:ext>
                </a:extLst>
              </p:cNvPr>
              <p:cNvSpPr/>
              <p:nvPr/>
            </p:nvSpPr>
            <p:spPr>
              <a:xfrm>
                <a:off x="14860437" y="6838531"/>
                <a:ext cx="180247" cy="61565"/>
              </a:xfrm>
              <a:custGeom>
                <a:avLst/>
                <a:gdLst>
                  <a:gd name="connsiteX0" fmla="*/ 141675 w 180247"/>
                  <a:gd name="connsiteY0" fmla="*/ 61566 h 61565"/>
                  <a:gd name="connsiteX1" fmla="*/ 2225 w 180247"/>
                  <a:gd name="connsiteY1" fmla="*/ 11126 h 61565"/>
                  <a:gd name="connsiteX2" fmla="*/ 2225 w 180247"/>
                  <a:gd name="connsiteY2" fmla="*/ 2225 h 61565"/>
                  <a:gd name="connsiteX3" fmla="*/ 11126 w 180247"/>
                  <a:gd name="connsiteY3" fmla="*/ 2225 h 61565"/>
                  <a:gd name="connsiteX4" fmla="*/ 174313 w 180247"/>
                  <a:gd name="connsiteY4" fmla="*/ 46731 h 61565"/>
                  <a:gd name="connsiteX5" fmla="*/ 180247 w 180247"/>
                  <a:gd name="connsiteY5" fmla="*/ 52665 h 61565"/>
                  <a:gd name="connsiteX6" fmla="*/ 174313 w 180247"/>
                  <a:gd name="connsiteY6" fmla="*/ 58599 h 61565"/>
                  <a:gd name="connsiteX7" fmla="*/ 141675 w 180247"/>
                  <a:gd name="connsiteY7" fmla="*/ 61566 h 61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0247" h="61565">
                    <a:moveTo>
                      <a:pt x="141675" y="61566"/>
                    </a:moveTo>
                    <a:cubicBezTo>
                      <a:pt x="106072" y="61566"/>
                      <a:pt x="46731" y="55632"/>
                      <a:pt x="2225" y="11126"/>
                    </a:cubicBezTo>
                    <a:cubicBezTo>
                      <a:pt x="-742" y="8159"/>
                      <a:pt x="-742" y="5192"/>
                      <a:pt x="2225" y="2225"/>
                    </a:cubicBezTo>
                    <a:cubicBezTo>
                      <a:pt x="5193" y="-742"/>
                      <a:pt x="8159" y="-742"/>
                      <a:pt x="11126" y="2225"/>
                    </a:cubicBezTo>
                    <a:cubicBezTo>
                      <a:pt x="76401" y="61566"/>
                      <a:pt x="174313" y="46731"/>
                      <a:pt x="174313" y="46731"/>
                    </a:cubicBezTo>
                    <a:cubicBezTo>
                      <a:pt x="177280" y="46731"/>
                      <a:pt x="180247" y="49698"/>
                      <a:pt x="180247" y="52665"/>
                    </a:cubicBezTo>
                    <a:cubicBezTo>
                      <a:pt x="180247" y="55632"/>
                      <a:pt x="177280" y="58599"/>
                      <a:pt x="174313" y="58599"/>
                    </a:cubicBezTo>
                    <a:cubicBezTo>
                      <a:pt x="171346" y="58599"/>
                      <a:pt x="159478" y="61566"/>
                      <a:pt x="141675" y="6156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C92528AF-4355-4C98-90F7-54D3F3A00761}"/>
                  </a:ext>
                </a:extLst>
              </p:cNvPr>
              <p:cNvSpPr/>
              <p:nvPr/>
            </p:nvSpPr>
            <p:spPr>
              <a:xfrm>
                <a:off x="14821866" y="6862267"/>
                <a:ext cx="40054" cy="40796"/>
              </a:xfrm>
              <a:custGeom>
                <a:avLst/>
                <a:gdLst>
                  <a:gd name="connsiteX0" fmla="*/ 31895 w 40054"/>
                  <a:gd name="connsiteY0" fmla="*/ 40797 h 40796"/>
                  <a:gd name="connsiteX1" fmla="*/ 28929 w 40054"/>
                  <a:gd name="connsiteY1" fmla="*/ 37830 h 40796"/>
                  <a:gd name="connsiteX2" fmla="*/ 2225 w 40054"/>
                  <a:gd name="connsiteY2" fmla="*/ 11127 h 40796"/>
                  <a:gd name="connsiteX3" fmla="*/ 2225 w 40054"/>
                  <a:gd name="connsiteY3" fmla="*/ 2225 h 40796"/>
                  <a:gd name="connsiteX4" fmla="*/ 11126 w 40054"/>
                  <a:gd name="connsiteY4" fmla="*/ 2225 h 40796"/>
                  <a:gd name="connsiteX5" fmla="*/ 37829 w 40054"/>
                  <a:gd name="connsiteY5" fmla="*/ 28929 h 40796"/>
                  <a:gd name="connsiteX6" fmla="*/ 37829 w 40054"/>
                  <a:gd name="connsiteY6" fmla="*/ 37830 h 40796"/>
                  <a:gd name="connsiteX7" fmla="*/ 31895 w 40054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4" h="40796">
                    <a:moveTo>
                      <a:pt x="31895" y="40797"/>
                    </a:moveTo>
                    <a:cubicBezTo>
                      <a:pt x="31895" y="40797"/>
                      <a:pt x="28929" y="40797"/>
                      <a:pt x="28929" y="37830"/>
                    </a:cubicBezTo>
                    <a:lnTo>
                      <a:pt x="2225" y="11127"/>
                    </a:lnTo>
                    <a:cubicBezTo>
                      <a:pt x="-742" y="8159"/>
                      <a:pt x="-742" y="5193"/>
                      <a:pt x="2225" y="2225"/>
                    </a:cubicBezTo>
                    <a:cubicBezTo>
                      <a:pt x="5192" y="-742"/>
                      <a:pt x="8159" y="-742"/>
                      <a:pt x="11126" y="2225"/>
                    </a:cubicBezTo>
                    <a:lnTo>
                      <a:pt x="37829" y="28929"/>
                    </a:lnTo>
                    <a:cubicBezTo>
                      <a:pt x="40797" y="31896"/>
                      <a:pt x="40797" y="34863"/>
                      <a:pt x="37829" y="37830"/>
                    </a:cubicBezTo>
                    <a:cubicBezTo>
                      <a:pt x="34862" y="40797"/>
                      <a:pt x="34862" y="40797"/>
                      <a:pt x="31895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3459901D-90A8-4B46-9744-16C132FB0CA1}"/>
                  </a:ext>
                </a:extLst>
              </p:cNvPr>
              <p:cNvSpPr/>
              <p:nvPr/>
            </p:nvSpPr>
            <p:spPr>
              <a:xfrm>
                <a:off x="14789228" y="6888970"/>
                <a:ext cx="37087" cy="40796"/>
              </a:xfrm>
              <a:custGeom>
                <a:avLst/>
                <a:gdLst>
                  <a:gd name="connsiteX0" fmla="*/ 28929 w 37087"/>
                  <a:gd name="connsiteY0" fmla="*/ 40797 h 40796"/>
                  <a:gd name="connsiteX1" fmla="*/ 25961 w 37087"/>
                  <a:gd name="connsiteY1" fmla="*/ 37830 h 40796"/>
                  <a:gd name="connsiteX2" fmla="*/ 2225 w 37087"/>
                  <a:gd name="connsiteY2" fmla="*/ 11126 h 40796"/>
                  <a:gd name="connsiteX3" fmla="*/ 2225 w 37087"/>
                  <a:gd name="connsiteY3" fmla="*/ 2225 h 40796"/>
                  <a:gd name="connsiteX4" fmla="*/ 11126 w 37087"/>
                  <a:gd name="connsiteY4" fmla="*/ 2225 h 40796"/>
                  <a:gd name="connsiteX5" fmla="*/ 34862 w 37087"/>
                  <a:gd name="connsiteY5" fmla="*/ 28929 h 40796"/>
                  <a:gd name="connsiteX6" fmla="*/ 34862 w 37087"/>
                  <a:gd name="connsiteY6" fmla="*/ 37830 h 40796"/>
                  <a:gd name="connsiteX7" fmla="*/ 28929 w 37087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87" h="40796">
                    <a:moveTo>
                      <a:pt x="28929" y="40797"/>
                    </a:moveTo>
                    <a:cubicBezTo>
                      <a:pt x="28929" y="40797"/>
                      <a:pt x="25961" y="40797"/>
                      <a:pt x="25961" y="37830"/>
                    </a:cubicBezTo>
                    <a:lnTo>
                      <a:pt x="2225" y="11126"/>
                    </a:lnTo>
                    <a:cubicBezTo>
                      <a:pt x="-742" y="8159"/>
                      <a:pt x="-742" y="5192"/>
                      <a:pt x="2225" y="2225"/>
                    </a:cubicBezTo>
                    <a:cubicBezTo>
                      <a:pt x="5192" y="-742"/>
                      <a:pt x="8159" y="-742"/>
                      <a:pt x="11126" y="2225"/>
                    </a:cubicBezTo>
                    <a:lnTo>
                      <a:pt x="34862" y="28929"/>
                    </a:lnTo>
                    <a:cubicBezTo>
                      <a:pt x="37829" y="31895"/>
                      <a:pt x="37829" y="34863"/>
                      <a:pt x="34862" y="37830"/>
                    </a:cubicBezTo>
                    <a:cubicBezTo>
                      <a:pt x="31896" y="40797"/>
                      <a:pt x="28929" y="40797"/>
                      <a:pt x="28929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6" name="图形 1">
              <a:extLst>
                <a:ext uri="{FF2B5EF4-FFF2-40B4-BE49-F238E27FC236}">
                  <a16:creationId xmlns:a16="http://schemas.microsoft.com/office/drawing/2014/main" id="{B5368014-9E18-4407-86DD-3B0927BE7136}"/>
                </a:ext>
              </a:extLst>
            </p:cNvPr>
            <p:cNvGrpSpPr/>
            <p:nvPr/>
          </p:nvGrpSpPr>
          <p:grpSpPr>
            <a:xfrm>
              <a:off x="15930794" y="6719108"/>
              <a:ext cx="554834" cy="326373"/>
              <a:chOff x="15930794" y="6719108"/>
              <a:chExt cx="554834" cy="326373"/>
            </a:xfrm>
          </p:grpSpPr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92809B9C-27F2-48EC-8B5B-E6D1FCD7D737}"/>
                  </a:ext>
                </a:extLst>
              </p:cNvPr>
              <p:cNvSpPr/>
              <p:nvPr/>
            </p:nvSpPr>
            <p:spPr>
              <a:xfrm>
                <a:off x="15930794" y="6719108"/>
                <a:ext cx="264065" cy="216593"/>
              </a:xfrm>
              <a:custGeom>
                <a:avLst/>
                <a:gdLst>
                  <a:gd name="connsiteX0" fmla="*/ 103846 w 264065"/>
                  <a:gd name="connsiteY0" fmla="*/ 178022 h 216593"/>
                  <a:gd name="connsiteX1" fmla="*/ 0 w 264065"/>
                  <a:gd name="connsiteY1" fmla="*/ 0 h 216593"/>
                  <a:gd name="connsiteX2" fmla="*/ 195824 w 264065"/>
                  <a:gd name="connsiteY2" fmla="*/ 0 h 216593"/>
                  <a:gd name="connsiteX3" fmla="*/ 264066 w 264065"/>
                  <a:gd name="connsiteY3" fmla="*/ 189890 h 216593"/>
                  <a:gd name="connsiteX4" fmla="*/ 118681 w 264065"/>
                  <a:gd name="connsiteY4" fmla="*/ 216593 h 216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4065" h="216593">
                    <a:moveTo>
                      <a:pt x="103846" y="178022"/>
                    </a:moveTo>
                    <a:lnTo>
                      <a:pt x="0" y="0"/>
                    </a:lnTo>
                    <a:lnTo>
                      <a:pt x="195824" y="0"/>
                    </a:lnTo>
                    <a:lnTo>
                      <a:pt x="264066" y="189890"/>
                    </a:lnTo>
                    <a:lnTo>
                      <a:pt x="118681" y="216593"/>
                    </a:ln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E781C1B8-0707-4B50-A1BE-6AFD5996422F}"/>
                  </a:ext>
                </a:extLst>
              </p:cNvPr>
              <p:cNvSpPr/>
              <p:nvPr/>
            </p:nvSpPr>
            <p:spPr>
              <a:xfrm>
                <a:off x="16014860" y="6846690"/>
                <a:ext cx="470768" cy="154286"/>
              </a:xfrm>
              <a:custGeom>
                <a:avLst/>
                <a:gdLst>
                  <a:gd name="connsiteX0" fmla="*/ 7912 w 470768"/>
                  <a:gd name="connsiteY0" fmla="*/ 44505 h 154286"/>
                  <a:gd name="connsiteX1" fmla="*/ 177033 w 470768"/>
                  <a:gd name="connsiteY1" fmla="*/ 0 h 154286"/>
                  <a:gd name="connsiteX2" fmla="*/ 307582 w 470768"/>
                  <a:gd name="connsiteY2" fmla="*/ 77143 h 154286"/>
                  <a:gd name="connsiteX3" fmla="*/ 470769 w 470768"/>
                  <a:gd name="connsiteY3" fmla="*/ 154286 h 154286"/>
                  <a:gd name="connsiteX4" fmla="*/ 7912 w 470768"/>
                  <a:gd name="connsiteY4" fmla="*/ 154286 h 154286"/>
                  <a:gd name="connsiteX5" fmla="*/ 7912 w 470768"/>
                  <a:gd name="connsiteY5" fmla="*/ 44505 h 154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0768" h="154286">
                    <a:moveTo>
                      <a:pt x="7912" y="44505"/>
                    </a:moveTo>
                    <a:cubicBezTo>
                      <a:pt x="7912" y="44505"/>
                      <a:pt x="114725" y="62308"/>
                      <a:pt x="177033" y="0"/>
                    </a:cubicBezTo>
                    <a:cubicBezTo>
                      <a:pt x="177033" y="0"/>
                      <a:pt x="263076" y="68242"/>
                      <a:pt x="307582" y="77143"/>
                    </a:cubicBezTo>
                    <a:cubicBezTo>
                      <a:pt x="352087" y="86044"/>
                      <a:pt x="458901" y="83077"/>
                      <a:pt x="470769" y="154286"/>
                    </a:cubicBezTo>
                    <a:lnTo>
                      <a:pt x="7912" y="154286"/>
                    </a:lnTo>
                    <a:cubicBezTo>
                      <a:pt x="7912" y="154286"/>
                      <a:pt x="-9890" y="94945"/>
                      <a:pt x="7912" y="44505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56A1F2AE-C272-4296-BA37-3458B716808C}"/>
                  </a:ext>
                </a:extLst>
              </p:cNvPr>
              <p:cNvSpPr/>
              <p:nvPr/>
            </p:nvSpPr>
            <p:spPr>
              <a:xfrm>
                <a:off x="16022772" y="7000976"/>
                <a:ext cx="462857" cy="44505"/>
              </a:xfrm>
              <a:custGeom>
                <a:avLst/>
                <a:gdLst>
                  <a:gd name="connsiteX0" fmla="*/ 0 w 462857"/>
                  <a:gd name="connsiteY0" fmla="*/ 0 h 44505"/>
                  <a:gd name="connsiteX1" fmla="*/ 462858 w 462857"/>
                  <a:gd name="connsiteY1" fmla="*/ 0 h 44505"/>
                  <a:gd name="connsiteX2" fmla="*/ 462858 w 462857"/>
                  <a:gd name="connsiteY2" fmla="*/ 44506 h 44505"/>
                  <a:gd name="connsiteX3" fmla="*/ 0 w 462857"/>
                  <a:gd name="connsiteY3" fmla="*/ 44506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2857" h="44505">
                    <a:moveTo>
                      <a:pt x="0" y="0"/>
                    </a:moveTo>
                    <a:lnTo>
                      <a:pt x="462858" y="0"/>
                    </a:lnTo>
                    <a:lnTo>
                      <a:pt x="462858" y="44506"/>
                    </a:lnTo>
                    <a:lnTo>
                      <a:pt x="0" y="44506"/>
                    </a:ln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0D43D984-F341-4356-A7AB-D4C6A493F839}"/>
                  </a:ext>
                </a:extLst>
              </p:cNvPr>
              <p:cNvSpPr/>
              <p:nvPr/>
            </p:nvSpPr>
            <p:spPr>
              <a:xfrm>
                <a:off x="16013871" y="6838531"/>
                <a:ext cx="180247" cy="61565"/>
              </a:xfrm>
              <a:custGeom>
                <a:avLst/>
                <a:gdLst>
                  <a:gd name="connsiteX0" fmla="*/ 38572 w 180247"/>
                  <a:gd name="connsiteY0" fmla="*/ 61566 h 61565"/>
                  <a:gd name="connsiteX1" fmla="*/ 5934 w 180247"/>
                  <a:gd name="connsiteY1" fmla="*/ 58599 h 61565"/>
                  <a:gd name="connsiteX2" fmla="*/ 0 w 180247"/>
                  <a:gd name="connsiteY2" fmla="*/ 52665 h 61565"/>
                  <a:gd name="connsiteX3" fmla="*/ 5934 w 180247"/>
                  <a:gd name="connsiteY3" fmla="*/ 46731 h 61565"/>
                  <a:gd name="connsiteX4" fmla="*/ 169121 w 180247"/>
                  <a:gd name="connsiteY4" fmla="*/ 2225 h 61565"/>
                  <a:gd name="connsiteX5" fmla="*/ 178022 w 180247"/>
                  <a:gd name="connsiteY5" fmla="*/ 2225 h 61565"/>
                  <a:gd name="connsiteX6" fmla="*/ 178022 w 180247"/>
                  <a:gd name="connsiteY6" fmla="*/ 11126 h 61565"/>
                  <a:gd name="connsiteX7" fmla="*/ 38572 w 180247"/>
                  <a:gd name="connsiteY7" fmla="*/ 61566 h 61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0247" h="61565">
                    <a:moveTo>
                      <a:pt x="38572" y="61566"/>
                    </a:moveTo>
                    <a:cubicBezTo>
                      <a:pt x="20770" y="61566"/>
                      <a:pt x="8902" y="58599"/>
                      <a:pt x="5934" y="58599"/>
                    </a:cubicBezTo>
                    <a:cubicBezTo>
                      <a:pt x="2967" y="58599"/>
                      <a:pt x="0" y="55632"/>
                      <a:pt x="0" y="52665"/>
                    </a:cubicBezTo>
                    <a:cubicBezTo>
                      <a:pt x="0" y="49698"/>
                      <a:pt x="2967" y="46731"/>
                      <a:pt x="5934" y="46731"/>
                    </a:cubicBezTo>
                    <a:cubicBezTo>
                      <a:pt x="5934" y="46731"/>
                      <a:pt x="103846" y="61566"/>
                      <a:pt x="169121" y="2225"/>
                    </a:cubicBezTo>
                    <a:cubicBezTo>
                      <a:pt x="172088" y="-742"/>
                      <a:pt x="175055" y="-742"/>
                      <a:pt x="178022" y="2225"/>
                    </a:cubicBezTo>
                    <a:cubicBezTo>
                      <a:pt x="180989" y="5192"/>
                      <a:pt x="180989" y="8159"/>
                      <a:pt x="178022" y="11126"/>
                    </a:cubicBezTo>
                    <a:cubicBezTo>
                      <a:pt x="133516" y="52665"/>
                      <a:pt x="74176" y="61566"/>
                      <a:pt x="38572" y="6156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BEE993E2-A969-45D1-97C1-5329DE2008A9}"/>
                  </a:ext>
                </a:extLst>
              </p:cNvPr>
              <p:cNvSpPr/>
              <p:nvPr/>
            </p:nvSpPr>
            <p:spPr>
              <a:xfrm>
                <a:off x="16195602" y="6862267"/>
                <a:ext cx="40054" cy="40796"/>
              </a:xfrm>
              <a:custGeom>
                <a:avLst/>
                <a:gdLst>
                  <a:gd name="connsiteX0" fmla="*/ 5193 w 40054"/>
                  <a:gd name="connsiteY0" fmla="*/ 40797 h 40796"/>
                  <a:gd name="connsiteX1" fmla="*/ 2225 w 40054"/>
                  <a:gd name="connsiteY1" fmla="*/ 37830 h 40796"/>
                  <a:gd name="connsiteX2" fmla="*/ 2225 w 40054"/>
                  <a:gd name="connsiteY2" fmla="*/ 28929 h 40796"/>
                  <a:gd name="connsiteX3" fmla="*/ 28929 w 40054"/>
                  <a:gd name="connsiteY3" fmla="*/ 2225 h 40796"/>
                  <a:gd name="connsiteX4" fmla="*/ 37829 w 40054"/>
                  <a:gd name="connsiteY4" fmla="*/ 2225 h 40796"/>
                  <a:gd name="connsiteX5" fmla="*/ 37829 w 40054"/>
                  <a:gd name="connsiteY5" fmla="*/ 11127 h 40796"/>
                  <a:gd name="connsiteX6" fmla="*/ 11126 w 40054"/>
                  <a:gd name="connsiteY6" fmla="*/ 37830 h 40796"/>
                  <a:gd name="connsiteX7" fmla="*/ 5193 w 40054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4" h="40796">
                    <a:moveTo>
                      <a:pt x="5193" y="40797"/>
                    </a:moveTo>
                    <a:cubicBezTo>
                      <a:pt x="5193" y="40797"/>
                      <a:pt x="2225" y="40797"/>
                      <a:pt x="2225" y="37830"/>
                    </a:cubicBezTo>
                    <a:cubicBezTo>
                      <a:pt x="-742" y="34863"/>
                      <a:pt x="-742" y="31896"/>
                      <a:pt x="2225" y="28929"/>
                    </a:cubicBezTo>
                    <a:lnTo>
                      <a:pt x="28929" y="2225"/>
                    </a:lnTo>
                    <a:cubicBezTo>
                      <a:pt x="31896" y="-742"/>
                      <a:pt x="34863" y="-742"/>
                      <a:pt x="37829" y="2225"/>
                    </a:cubicBezTo>
                    <a:cubicBezTo>
                      <a:pt x="40796" y="5193"/>
                      <a:pt x="40796" y="8159"/>
                      <a:pt x="37829" y="11127"/>
                    </a:cubicBezTo>
                    <a:lnTo>
                      <a:pt x="11126" y="37830"/>
                    </a:lnTo>
                    <a:cubicBezTo>
                      <a:pt x="8159" y="40797"/>
                      <a:pt x="5193" y="40797"/>
                      <a:pt x="5193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36BC3874-DBF1-462D-BA15-0A42D8F6E04A}"/>
                  </a:ext>
                </a:extLst>
              </p:cNvPr>
              <p:cNvSpPr/>
              <p:nvPr/>
            </p:nvSpPr>
            <p:spPr>
              <a:xfrm>
                <a:off x="16231206" y="6888970"/>
                <a:ext cx="40054" cy="40796"/>
              </a:xfrm>
              <a:custGeom>
                <a:avLst/>
                <a:gdLst>
                  <a:gd name="connsiteX0" fmla="*/ 5192 w 40054"/>
                  <a:gd name="connsiteY0" fmla="*/ 40797 h 40796"/>
                  <a:gd name="connsiteX1" fmla="*/ 2225 w 40054"/>
                  <a:gd name="connsiteY1" fmla="*/ 37830 h 40796"/>
                  <a:gd name="connsiteX2" fmla="*/ 2225 w 40054"/>
                  <a:gd name="connsiteY2" fmla="*/ 28929 h 40796"/>
                  <a:gd name="connsiteX3" fmla="*/ 28929 w 40054"/>
                  <a:gd name="connsiteY3" fmla="*/ 2225 h 40796"/>
                  <a:gd name="connsiteX4" fmla="*/ 37829 w 40054"/>
                  <a:gd name="connsiteY4" fmla="*/ 2225 h 40796"/>
                  <a:gd name="connsiteX5" fmla="*/ 37829 w 40054"/>
                  <a:gd name="connsiteY5" fmla="*/ 11126 h 40796"/>
                  <a:gd name="connsiteX6" fmla="*/ 11126 w 40054"/>
                  <a:gd name="connsiteY6" fmla="*/ 37830 h 40796"/>
                  <a:gd name="connsiteX7" fmla="*/ 5192 w 40054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4" h="40796">
                    <a:moveTo>
                      <a:pt x="5192" y="40797"/>
                    </a:moveTo>
                    <a:cubicBezTo>
                      <a:pt x="5192" y="40797"/>
                      <a:pt x="2225" y="40797"/>
                      <a:pt x="2225" y="37830"/>
                    </a:cubicBezTo>
                    <a:cubicBezTo>
                      <a:pt x="-742" y="34863"/>
                      <a:pt x="-742" y="31895"/>
                      <a:pt x="2225" y="28929"/>
                    </a:cubicBezTo>
                    <a:lnTo>
                      <a:pt x="28929" y="2225"/>
                    </a:lnTo>
                    <a:cubicBezTo>
                      <a:pt x="31895" y="-742"/>
                      <a:pt x="34862" y="-742"/>
                      <a:pt x="37829" y="2225"/>
                    </a:cubicBezTo>
                    <a:cubicBezTo>
                      <a:pt x="40797" y="5192"/>
                      <a:pt x="40797" y="8159"/>
                      <a:pt x="37829" y="11126"/>
                    </a:cubicBezTo>
                    <a:lnTo>
                      <a:pt x="11126" y="37830"/>
                    </a:lnTo>
                    <a:cubicBezTo>
                      <a:pt x="8159" y="40797"/>
                      <a:pt x="8159" y="40797"/>
                      <a:pt x="5192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6F3A0E37-DE91-4CF3-8C7E-2ED6586076A4}"/>
                </a:ext>
              </a:extLst>
            </p:cNvPr>
            <p:cNvSpPr/>
            <p:nvPr/>
          </p:nvSpPr>
          <p:spPr>
            <a:xfrm>
              <a:off x="14996179" y="2953943"/>
              <a:ext cx="243296" cy="251317"/>
            </a:xfrm>
            <a:custGeom>
              <a:avLst/>
              <a:gdLst>
                <a:gd name="connsiteX0" fmla="*/ 0 w 243296"/>
                <a:gd name="connsiteY0" fmla="*/ 38571 h 251317"/>
                <a:gd name="connsiteX1" fmla="*/ 5934 w 243296"/>
                <a:gd name="connsiteY1" fmla="*/ 207692 h 251317"/>
                <a:gd name="connsiteX2" fmla="*/ 243296 w 243296"/>
                <a:gd name="connsiteY2" fmla="*/ 198791 h 251317"/>
                <a:gd name="connsiteX3" fmla="*/ 228461 w 243296"/>
                <a:gd name="connsiteY3" fmla="*/ 0 h 251317"/>
                <a:gd name="connsiteX4" fmla="*/ 0 w 243296"/>
                <a:gd name="connsiteY4" fmla="*/ 38571 h 251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296" h="251317">
                  <a:moveTo>
                    <a:pt x="0" y="38571"/>
                  </a:moveTo>
                  <a:cubicBezTo>
                    <a:pt x="0" y="38571"/>
                    <a:pt x="5934" y="136483"/>
                    <a:pt x="5934" y="207692"/>
                  </a:cubicBezTo>
                  <a:cubicBezTo>
                    <a:pt x="5934" y="207692"/>
                    <a:pt x="97912" y="311538"/>
                    <a:pt x="243296" y="198791"/>
                  </a:cubicBezTo>
                  <a:cubicBezTo>
                    <a:pt x="243296" y="139451"/>
                    <a:pt x="231428" y="62308"/>
                    <a:pt x="228461" y="0"/>
                  </a:cubicBezTo>
                  <a:cubicBezTo>
                    <a:pt x="228461" y="0"/>
                    <a:pt x="50439" y="50440"/>
                    <a:pt x="0" y="38571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6595BC58-616A-42E7-898F-C5FC66C1B774}"/>
                </a:ext>
              </a:extLst>
            </p:cNvPr>
            <p:cNvSpPr/>
            <p:nvPr/>
          </p:nvSpPr>
          <p:spPr>
            <a:xfrm>
              <a:off x="15248377" y="2835262"/>
              <a:ext cx="65274" cy="136483"/>
            </a:xfrm>
            <a:custGeom>
              <a:avLst/>
              <a:gdLst>
                <a:gd name="connsiteX0" fmla="*/ 65274 w 65274"/>
                <a:gd name="connsiteY0" fmla="*/ 0 h 136483"/>
                <a:gd name="connsiteX1" fmla="*/ 5934 w 65274"/>
                <a:gd name="connsiteY1" fmla="*/ 136483 h 136483"/>
                <a:gd name="connsiteX2" fmla="*/ 0 w 65274"/>
                <a:gd name="connsiteY2" fmla="*/ 53407 h 136483"/>
                <a:gd name="connsiteX3" fmla="*/ 65274 w 65274"/>
                <a:gd name="connsiteY3" fmla="*/ 0 h 13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74" h="136483">
                  <a:moveTo>
                    <a:pt x="65274" y="0"/>
                  </a:moveTo>
                  <a:cubicBezTo>
                    <a:pt x="65274" y="0"/>
                    <a:pt x="56373" y="115714"/>
                    <a:pt x="5934" y="136483"/>
                  </a:cubicBezTo>
                  <a:lnTo>
                    <a:pt x="0" y="53407"/>
                  </a:lnTo>
                  <a:lnTo>
                    <a:pt x="65274" y="0"/>
                  </a:lnTo>
                  <a:close/>
                </a:path>
              </a:pathLst>
            </a:custGeom>
            <a:solidFill>
              <a:srgbClr val="664241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7130F9C3-36CF-4E48-8D34-6CB2BBF9FA9B}"/>
                </a:ext>
              </a:extLst>
            </p:cNvPr>
            <p:cNvSpPr/>
            <p:nvPr/>
          </p:nvSpPr>
          <p:spPr>
            <a:xfrm>
              <a:off x="14862015" y="2651306"/>
              <a:ext cx="100913" cy="231408"/>
            </a:xfrm>
            <a:custGeom>
              <a:avLst/>
              <a:gdLst>
                <a:gd name="connsiteX0" fmla="*/ 3615 w 100913"/>
                <a:gd name="connsiteY0" fmla="*/ 0 h 231408"/>
                <a:gd name="connsiteX1" fmla="*/ 54054 w 100913"/>
                <a:gd name="connsiteY1" fmla="*/ 228462 h 231408"/>
                <a:gd name="connsiteX2" fmla="*/ 98560 w 100913"/>
                <a:gd name="connsiteY2" fmla="*/ 11868 h 231408"/>
                <a:gd name="connsiteX3" fmla="*/ 3615 w 100913"/>
                <a:gd name="connsiteY3" fmla="*/ 0 h 231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913" h="231408">
                  <a:moveTo>
                    <a:pt x="3615" y="0"/>
                  </a:moveTo>
                  <a:cubicBezTo>
                    <a:pt x="3615" y="0"/>
                    <a:pt x="-20122" y="189890"/>
                    <a:pt x="54054" y="228462"/>
                  </a:cubicBezTo>
                  <a:cubicBezTo>
                    <a:pt x="116362" y="261099"/>
                    <a:pt x="98560" y="11868"/>
                    <a:pt x="98560" y="11868"/>
                  </a:cubicBezTo>
                  <a:lnTo>
                    <a:pt x="3615" y="0"/>
                  </a:lnTo>
                  <a:close/>
                </a:path>
              </a:pathLst>
            </a:custGeom>
            <a:solidFill>
              <a:srgbClr val="664241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D9AD40E8-42AC-4796-A370-A670603CBD72}"/>
                </a:ext>
              </a:extLst>
            </p:cNvPr>
            <p:cNvSpPr/>
            <p:nvPr/>
          </p:nvSpPr>
          <p:spPr>
            <a:xfrm>
              <a:off x="14899622" y="2508403"/>
              <a:ext cx="408095" cy="555467"/>
            </a:xfrm>
            <a:custGeom>
              <a:avLst/>
              <a:gdLst>
                <a:gd name="connsiteX0" fmla="*/ 4579 w 408095"/>
                <a:gd name="connsiteY0" fmla="*/ 184441 h 555467"/>
                <a:gd name="connsiteX1" fmla="*/ 13480 w 408095"/>
                <a:gd name="connsiteY1" fmla="*/ 427737 h 555467"/>
                <a:gd name="connsiteX2" fmla="*/ 173700 w 408095"/>
                <a:gd name="connsiteY2" fmla="*/ 555320 h 555467"/>
                <a:gd name="connsiteX3" fmla="*/ 378425 w 408095"/>
                <a:gd name="connsiteY3" fmla="*/ 406968 h 555467"/>
                <a:gd name="connsiteX4" fmla="*/ 408095 w 408095"/>
                <a:gd name="connsiteY4" fmla="*/ 187408 h 555467"/>
                <a:gd name="connsiteX5" fmla="*/ 194469 w 408095"/>
                <a:gd name="connsiteY5" fmla="*/ 485 h 555467"/>
                <a:gd name="connsiteX6" fmla="*/ 4579 w 408095"/>
                <a:gd name="connsiteY6" fmla="*/ 184441 h 555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095" h="555467">
                  <a:moveTo>
                    <a:pt x="4579" y="184441"/>
                  </a:moveTo>
                  <a:cubicBezTo>
                    <a:pt x="4579" y="184441"/>
                    <a:pt x="-10256" y="356529"/>
                    <a:pt x="13480" y="427737"/>
                  </a:cubicBezTo>
                  <a:cubicBezTo>
                    <a:pt x="34249" y="490045"/>
                    <a:pt x="123260" y="552353"/>
                    <a:pt x="173700" y="555320"/>
                  </a:cubicBezTo>
                  <a:cubicBezTo>
                    <a:pt x="238974" y="558287"/>
                    <a:pt x="351722" y="516748"/>
                    <a:pt x="378425" y="406968"/>
                  </a:cubicBezTo>
                  <a:cubicBezTo>
                    <a:pt x="396228" y="335759"/>
                    <a:pt x="408095" y="237847"/>
                    <a:pt x="408095" y="187408"/>
                  </a:cubicBezTo>
                  <a:cubicBezTo>
                    <a:pt x="402161" y="95430"/>
                    <a:pt x="375458" y="18287"/>
                    <a:pt x="194469" y="485"/>
                  </a:cubicBezTo>
                  <a:cubicBezTo>
                    <a:pt x="111392" y="-8417"/>
                    <a:pt x="22381" y="107298"/>
                    <a:pt x="4579" y="184441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6D23FE88-DE5F-46E8-9F1D-DFB2097B1841}"/>
                </a:ext>
              </a:extLst>
            </p:cNvPr>
            <p:cNvSpPr/>
            <p:nvPr/>
          </p:nvSpPr>
          <p:spPr>
            <a:xfrm>
              <a:off x="15031783" y="2764053"/>
              <a:ext cx="56374" cy="136483"/>
            </a:xfrm>
            <a:custGeom>
              <a:avLst/>
              <a:gdLst>
                <a:gd name="connsiteX0" fmla="*/ 29670 w 56374"/>
                <a:gd name="connsiteY0" fmla="*/ 136484 h 136483"/>
                <a:gd name="connsiteX1" fmla="*/ 5934 w 56374"/>
                <a:gd name="connsiteY1" fmla="*/ 130549 h 136483"/>
                <a:gd name="connsiteX2" fmla="*/ 0 w 56374"/>
                <a:gd name="connsiteY2" fmla="*/ 118681 h 136483"/>
                <a:gd name="connsiteX3" fmla="*/ 11869 w 56374"/>
                <a:gd name="connsiteY3" fmla="*/ 5934 h 136483"/>
                <a:gd name="connsiteX4" fmla="*/ 17802 w 56374"/>
                <a:gd name="connsiteY4" fmla="*/ 0 h 136483"/>
                <a:gd name="connsiteX5" fmla="*/ 23737 w 56374"/>
                <a:gd name="connsiteY5" fmla="*/ 5934 h 136483"/>
                <a:gd name="connsiteX6" fmla="*/ 11869 w 56374"/>
                <a:gd name="connsiteY6" fmla="*/ 115714 h 136483"/>
                <a:gd name="connsiteX7" fmla="*/ 11869 w 56374"/>
                <a:gd name="connsiteY7" fmla="*/ 118681 h 136483"/>
                <a:gd name="connsiteX8" fmla="*/ 50440 w 56374"/>
                <a:gd name="connsiteY8" fmla="*/ 118681 h 136483"/>
                <a:gd name="connsiteX9" fmla="*/ 56374 w 56374"/>
                <a:gd name="connsiteY9" fmla="*/ 121648 h 136483"/>
                <a:gd name="connsiteX10" fmla="*/ 53407 w 56374"/>
                <a:gd name="connsiteY10" fmla="*/ 127582 h 136483"/>
                <a:gd name="connsiteX11" fmla="*/ 29670 w 56374"/>
                <a:gd name="connsiteY11" fmla="*/ 136484 h 13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374" h="136483">
                  <a:moveTo>
                    <a:pt x="29670" y="136484"/>
                  </a:moveTo>
                  <a:cubicBezTo>
                    <a:pt x="20770" y="136484"/>
                    <a:pt x="11869" y="136484"/>
                    <a:pt x="5934" y="130549"/>
                  </a:cubicBezTo>
                  <a:cubicBezTo>
                    <a:pt x="2967" y="127582"/>
                    <a:pt x="0" y="124615"/>
                    <a:pt x="0" y="118681"/>
                  </a:cubicBezTo>
                  <a:cubicBezTo>
                    <a:pt x="0" y="97912"/>
                    <a:pt x="11869" y="11868"/>
                    <a:pt x="11869" y="5934"/>
                  </a:cubicBezTo>
                  <a:cubicBezTo>
                    <a:pt x="11869" y="2967"/>
                    <a:pt x="14835" y="0"/>
                    <a:pt x="17802" y="0"/>
                  </a:cubicBezTo>
                  <a:cubicBezTo>
                    <a:pt x="20770" y="0"/>
                    <a:pt x="23737" y="2967"/>
                    <a:pt x="23737" y="5934"/>
                  </a:cubicBezTo>
                  <a:cubicBezTo>
                    <a:pt x="23737" y="5934"/>
                    <a:pt x="11869" y="97912"/>
                    <a:pt x="11869" y="115714"/>
                  </a:cubicBezTo>
                  <a:cubicBezTo>
                    <a:pt x="11869" y="115714"/>
                    <a:pt x="11869" y="118681"/>
                    <a:pt x="11869" y="118681"/>
                  </a:cubicBezTo>
                  <a:cubicBezTo>
                    <a:pt x="17802" y="124615"/>
                    <a:pt x="38572" y="121648"/>
                    <a:pt x="50440" y="118681"/>
                  </a:cubicBezTo>
                  <a:cubicBezTo>
                    <a:pt x="53407" y="118681"/>
                    <a:pt x="56374" y="118681"/>
                    <a:pt x="56374" y="121648"/>
                  </a:cubicBezTo>
                  <a:cubicBezTo>
                    <a:pt x="56374" y="124615"/>
                    <a:pt x="56374" y="127582"/>
                    <a:pt x="53407" y="127582"/>
                  </a:cubicBezTo>
                  <a:cubicBezTo>
                    <a:pt x="53407" y="133516"/>
                    <a:pt x="41539" y="136484"/>
                    <a:pt x="29670" y="136484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65F23E42-6784-4DFC-A4A5-2CBE675906AD}"/>
                </a:ext>
              </a:extLst>
            </p:cNvPr>
            <p:cNvSpPr/>
            <p:nvPr/>
          </p:nvSpPr>
          <p:spPr>
            <a:xfrm>
              <a:off x="15019915" y="2948009"/>
              <a:ext cx="103846" cy="53406"/>
            </a:xfrm>
            <a:custGeom>
              <a:avLst/>
              <a:gdLst>
                <a:gd name="connsiteX0" fmla="*/ 0 w 103846"/>
                <a:gd name="connsiteY0" fmla="*/ 2967 h 53406"/>
                <a:gd name="connsiteX1" fmla="*/ 103846 w 103846"/>
                <a:gd name="connsiteY1" fmla="*/ 0 h 53406"/>
                <a:gd name="connsiteX2" fmla="*/ 53407 w 103846"/>
                <a:gd name="connsiteY2" fmla="*/ 53407 h 53406"/>
                <a:gd name="connsiteX3" fmla="*/ 0 w 103846"/>
                <a:gd name="connsiteY3" fmla="*/ 2967 h 53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46" h="53406">
                  <a:moveTo>
                    <a:pt x="0" y="2967"/>
                  </a:moveTo>
                  <a:cubicBezTo>
                    <a:pt x="0" y="2967"/>
                    <a:pt x="53407" y="14835"/>
                    <a:pt x="103846" y="0"/>
                  </a:cubicBezTo>
                  <a:cubicBezTo>
                    <a:pt x="103846" y="0"/>
                    <a:pt x="103846" y="50440"/>
                    <a:pt x="53407" y="53407"/>
                  </a:cubicBezTo>
                  <a:cubicBezTo>
                    <a:pt x="14835" y="53407"/>
                    <a:pt x="0" y="2967"/>
                    <a:pt x="0" y="2967"/>
                  </a:cubicBezTo>
                  <a:close/>
                </a:path>
              </a:pathLst>
            </a:custGeom>
            <a:solidFill>
              <a:srgbClr val="FFFFFF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E187A9F1-C13A-473B-A0CC-39F41C3E9FF5}"/>
                </a:ext>
              </a:extLst>
            </p:cNvPr>
            <p:cNvSpPr/>
            <p:nvPr/>
          </p:nvSpPr>
          <p:spPr>
            <a:xfrm>
              <a:off x="14962785" y="2745494"/>
              <a:ext cx="39327" cy="40083"/>
            </a:xfrm>
            <a:custGeom>
              <a:avLst/>
              <a:gdLst>
                <a:gd name="connsiteX0" fmla="*/ 39327 w 39327"/>
                <a:gd name="connsiteY0" fmla="*/ 24492 h 40083"/>
                <a:gd name="connsiteX1" fmla="*/ 15591 w 39327"/>
                <a:gd name="connsiteY1" fmla="*/ 39328 h 40083"/>
                <a:gd name="connsiteX2" fmla="*/ 756 w 39327"/>
                <a:gd name="connsiteY2" fmla="*/ 15591 h 40083"/>
                <a:gd name="connsiteX3" fmla="*/ 24492 w 39327"/>
                <a:gd name="connsiteY3" fmla="*/ 756 h 40083"/>
                <a:gd name="connsiteX4" fmla="*/ 39327 w 39327"/>
                <a:gd name="connsiteY4" fmla="*/ 24492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7" h="40083">
                  <a:moveTo>
                    <a:pt x="39327" y="24492"/>
                  </a:moveTo>
                  <a:cubicBezTo>
                    <a:pt x="36361" y="36361"/>
                    <a:pt x="27459" y="42295"/>
                    <a:pt x="15591" y="39328"/>
                  </a:cubicBezTo>
                  <a:cubicBezTo>
                    <a:pt x="3723" y="36361"/>
                    <a:pt x="-2211" y="27459"/>
                    <a:pt x="756" y="15591"/>
                  </a:cubicBezTo>
                  <a:cubicBezTo>
                    <a:pt x="3723" y="3723"/>
                    <a:pt x="12624" y="-2211"/>
                    <a:pt x="24492" y="756"/>
                  </a:cubicBezTo>
                  <a:cubicBezTo>
                    <a:pt x="33394" y="3723"/>
                    <a:pt x="39327" y="15591"/>
                    <a:pt x="39327" y="24492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798208A8-0E20-4946-92AE-8B911D41F8A2}"/>
                </a:ext>
              </a:extLst>
            </p:cNvPr>
            <p:cNvSpPr/>
            <p:nvPr/>
          </p:nvSpPr>
          <p:spPr>
            <a:xfrm>
              <a:off x="15140807" y="2757363"/>
              <a:ext cx="39909" cy="40083"/>
            </a:xfrm>
            <a:custGeom>
              <a:avLst/>
              <a:gdLst>
                <a:gd name="connsiteX0" fmla="*/ 39327 w 39909"/>
                <a:gd name="connsiteY0" fmla="*/ 24492 h 40083"/>
                <a:gd name="connsiteX1" fmla="*/ 15591 w 39909"/>
                <a:gd name="connsiteY1" fmla="*/ 39328 h 40083"/>
                <a:gd name="connsiteX2" fmla="*/ 756 w 39909"/>
                <a:gd name="connsiteY2" fmla="*/ 15591 h 40083"/>
                <a:gd name="connsiteX3" fmla="*/ 24492 w 39909"/>
                <a:gd name="connsiteY3" fmla="*/ 756 h 40083"/>
                <a:gd name="connsiteX4" fmla="*/ 39327 w 39909"/>
                <a:gd name="connsiteY4" fmla="*/ 24492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40083">
                  <a:moveTo>
                    <a:pt x="39327" y="24492"/>
                  </a:moveTo>
                  <a:cubicBezTo>
                    <a:pt x="36361" y="36361"/>
                    <a:pt x="27459" y="42295"/>
                    <a:pt x="15591" y="39328"/>
                  </a:cubicBezTo>
                  <a:cubicBezTo>
                    <a:pt x="3723" y="36361"/>
                    <a:pt x="-2211" y="27459"/>
                    <a:pt x="756" y="15591"/>
                  </a:cubicBezTo>
                  <a:cubicBezTo>
                    <a:pt x="3723" y="3723"/>
                    <a:pt x="12624" y="-2211"/>
                    <a:pt x="24492" y="756"/>
                  </a:cubicBezTo>
                  <a:cubicBezTo>
                    <a:pt x="33394" y="3723"/>
                    <a:pt x="42294" y="12624"/>
                    <a:pt x="39327" y="24492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C1BE3BC0-1D41-4B5E-959C-A8A3D720351E}"/>
                </a:ext>
              </a:extLst>
            </p:cNvPr>
            <p:cNvSpPr/>
            <p:nvPr/>
          </p:nvSpPr>
          <p:spPr>
            <a:xfrm>
              <a:off x="14934613" y="2699127"/>
              <a:ext cx="89498" cy="35255"/>
            </a:xfrm>
            <a:custGeom>
              <a:avLst/>
              <a:gdLst>
                <a:gd name="connsiteX0" fmla="*/ 8159 w 89498"/>
                <a:gd name="connsiteY0" fmla="*/ 35255 h 35255"/>
                <a:gd name="connsiteX1" fmla="*/ 2225 w 89498"/>
                <a:gd name="connsiteY1" fmla="*/ 32288 h 35255"/>
                <a:gd name="connsiteX2" fmla="*/ 2225 w 89498"/>
                <a:gd name="connsiteY2" fmla="*/ 20420 h 35255"/>
                <a:gd name="connsiteX3" fmla="*/ 85302 w 89498"/>
                <a:gd name="connsiteY3" fmla="*/ 8552 h 35255"/>
                <a:gd name="connsiteX4" fmla="*/ 88269 w 89498"/>
                <a:gd name="connsiteY4" fmla="*/ 17453 h 35255"/>
                <a:gd name="connsiteX5" fmla="*/ 79368 w 89498"/>
                <a:gd name="connsiteY5" fmla="*/ 20420 h 35255"/>
                <a:gd name="connsiteX6" fmla="*/ 14093 w 89498"/>
                <a:gd name="connsiteY6" fmla="*/ 29321 h 35255"/>
                <a:gd name="connsiteX7" fmla="*/ 8159 w 89498"/>
                <a:gd name="connsiteY7" fmla="*/ 35255 h 35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255">
                  <a:moveTo>
                    <a:pt x="8159" y="35255"/>
                  </a:moveTo>
                  <a:cubicBezTo>
                    <a:pt x="5193" y="35255"/>
                    <a:pt x="5193" y="35255"/>
                    <a:pt x="2225" y="32288"/>
                  </a:cubicBezTo>
                  <a:cubicBezTo>
                    <a:pt x="-742" y="29321"/>
                    <a:pt x="-742" y="23387"/>
                    <a:pt x="2225" y="20420"/>
                  </a:cubicBezTo>
                  <a:cubicBezTo>
                    <a:pt x="28929" y="-9250"/>
                    <a:pt x="67500" y="-349"/>
                    <a:pt x="85302" y="8552"/>
                  </a:cubicBezTo>
                  <a:cubicBezTo>
                    <a:pt x="88269" y="11519"/>
                    <a:pt x="91236" y="14486"/>
                    <a:pt x="88269" y="17453"/>
                  </a:cubicBezTo>
                  <a:cubicBezTo>
                    <a:pt x="85302" y="20420"/>
                    <a:pt x="82335" y="23387"/>
                    <a:pt x="79368" y="20420"/>
                  </a:cubicBezTo>
                  <a:cubicBezTo>
                    <a:pt x="76401" y="20420"/>
                    <a:pt x="37829" y="2618"/>
                    <a:pt x="14093" y="29321"/>
                  </a:cubicBezTo>
                  <a:cubicBezTo>
                    <a:pt x="14093" y="32288"/>
                    <a:pt x="11126" y="35255"/>
                    <a:pt x="8159" y="35255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94A70387-EAF4-4BE3-BB71-C483BECE21FA}"/>
                </a:ext>
              </a:extLst>
            </p:cNvPr>
            <p:cNvSpPr/>
            <p:nvPr/>
          </p:nvSpPr>
          <p:spPr>
            <a:xfrm>
              <a:off x="15118845" y="2693012"/>
              <a:ext cx="90217" cy="32469"/>
            </a:xfrm>
            <a:custGeom>
              <a:avLst/>
              <a:gdLst>
                <a:gd name="connsiteX0" fmla="*/ 85026 w 90217"/>
                <a:gd name="connsiteY0" fmla="*/ 32469 h 32469"/>
                <a:gd name="connsiteX1" fmla="*/ 79091 w 90217"/>
                <a:gd name="connsiteY1" fmla="*/ 29502 h 32469"/>
                <a:gd name="connsiteX2" fmla="*/ 13817 w 90217"/>
                <a:gd name="connsiteY2" fmla="*/ 26535 h 32469"/>
                <a:gd name="connsiteX3" fmla="*/ 1948 w 90217"/>
                <a:gd name="connsiteY3" fmla="*/ 23568 h 32469"/>
                <a:gd name="connsiteX4" fmla="*/ 4916 w 90217"/>
                <a:gd name="connsiteY4" fmla="*/ 11700 h 32469"/>
                <a:gd name="connsiteX5" fmla="*/ 87993 w 90217"/>
                <a:gd name="connsiteY5" fmla="*/ 17634 h 32469"/>
                <a:gd name="connsiteX6" fmla="*/ 87993 w 90217"/>
                <a:gd name="connsiteY6" fmla="*/ 29502 h 32469"/>
                <a:gd name="connsiteX7" fmla="*/ 85026 w 90217"/>
                <a:gd name="connsiteY7" fmla="*/ 32469 h 32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217" h="32469">
                  <a:moveTo>
                    <a:pt x="85026" y="32469"/>
                  </a:moveTo>
                  <a:cubicBezTo>
                    <a:pt x="82059" y="32469"/>
                    <a:pt x="82059" y="32469"/>
                    <a:pt x="79091" y="29502"/>
                  </a:cubicBezTo>
                  <a:cubicBezTo>
                    <a:pt x="79091" y="29502"/>
                    <a:pt x="49421" y="-168"/>
                    <a:pt x="13817" y="26535"/>
                  </a:cubicBezTo>
                  <a:cubicBezTo>
                    <a:pt x="10850" y="29502"/>
                    <a:pt x="4916" y="29502"/>
                    <a:pt x="1948" y="23568"/>
                  </a:cubicBezTo>
                  <a:cubicBezTo>
                    <a:pt x="-1018" y="20601"/>
                    <a:pt x="-1018" y="14667"/>
                    <a:pt x="4916" y="11700"/>
                  </a:cubicBezTo>
                  <a:cubicBezTo>
                    <a:pt x="40520" y="-12036"/>
                    <a:pt x="76124" y="5766"/>
                    <a:pt x="87993" y="17634"/>
                  </a:cubicBezTo>
                  <a:cubicBezTo>
                    <a:pt x="90959" y="20601"/>
                    <a:pt x="90959" y="26535"/>
                    <a:pt x="87993" y="29502"/>
                  </a:cubicBezTo>
                  <a:cubicBezTo>
                    <a:pt x="87993" y="32469"/>
                    <a:pt x="85026" y="32469"/>
                    <a:pt x="85026" y="32469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0A0EE0FE-5BCF-42C0-9FC4-0B3F4E4FD2CC}"/>
                </a:ext>
              </a:extLst>
            </p:cNvPr>
            <p:cNvSpPr/>
            <p:nvPr/>
          </p:nvSpPr>
          <p:spPr>
            <a:xfrm>
              <a:off x="15005821" y="3000186"/>
              <a:ext cx="223014" cy="69470"/>
            </a:xfrm>
            <a:custGeom>
              <a:avLst/>
              <a:gdLst>
                <a:gd name="connsiteX0" fmla="*/ 76401 w 223014"/>
                <a:gd name="connsiteY0" fmla="*/ 66504 h 69470"/>
                <a:gd name="connsiteX1" fmla="*/ 2225 w 223014"/>
                <a:gd name="connsiteY1" fmla="*/ 42767 h 69470"/>
                <a:gd name="connsiteX2" fmla="*/ 2225 w 223014"/>
                <a:gd name="connsiteY2" fmla="*/ 33866 h 69470"/>
                <a:gd name="connsiteX3" fmla="*/ 11126 w 223014"/>
                <a:gd name="connsiteY3" fmla="*/ 33866 h 69470"/>
                <a:gd name="connsiteX4" fmla="*/ 79368 w 223014"/>
                <a:gd name="connsiteY4" fmla="*/ 54636 h 69470"/>
                <a:gd name="connsiteX5" fmla="*/ 212885 w 223014"/>
                <a:gd name="connsiteY5" fmla="*/ 1229 h 69470"/>
                <a:gd name="connsiteX6" fmla="*/ 221786 w 223014"/>
                <a:gd name="connsiteY6" fmla="*/ 4196 h 69470"/>
                <a:gd name="connsiteX7" fmla="*/ 218818 w 223014"/>
                <a:gd name="connsiteY7" fmla="*/ 13097 h 69470"/>
                <a:gd name="connsiteX8" fmla="*/ 79368 w 223014"/>
                <a:gd name="connsiteY8" fmla="*/ 69471 h 69470"/>
                <a:gd name="connsiteX9" fmla="*/ 76401 w 223014"/>
                <a:gd name="connsiteY9" fmla="*/ 66504 h 69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014" h="69470">
                  <a:moveTo>
                    <a:pt x="76401" y="66504"/>
                  </a:moveTo>
                  <a:cubicBezTo>
                    <a:pt x="34863" y="66504"/>
                    <a:pt x="5193" y="42767"/>
                    <a:pt x="2225" y="42767"/>
                  </a:cubicBezTo>
                  <a:cubicBezTo>
                    <a:pt x="-742" y="39800"/>
                    <a:pt x="-742" y="36833"/>
                    <a:pt x="2225" y="33866"/>
                  </a:cubicBezTo>
                  <a:cubicBezTo>
                    <a:pt x="5193" y="30899"/>
                    <a:pt x="8160" y="30899"/>
                    <a:pt x="11126" y="33866"/>
                  </a:cubicBezTo>
                  <a:cubicBezTo>
                    <a:pt x="11126" y="33866"/>
                    <a:pt x="43764" y="57603"/>
                    <a:pt x="79368" y="54636"/>
                  </a:cubicBezTo>
                  <a:cubicBezTo>
                    <a:pt x="126841" y="51669"/>
                    <a:pt x="212885" y="1229"/>
                    <a:pt x="212885" y="1229"/>
                  </a:cubicBezTo>
                  <a:cubicBezTo>
                    <a:pt x="215852" y="-1738"/>
                    <a:pt x="218818" y="1229"/>
                    <a:pt x="221786" y="4196"/>
                  </a:cubicBezTo>
                  <a:cubicBezTo>
                    <a:pt x="224753" y="7163"/>
                    <a:pt x="221786" y="10130"/>
                    <a:pt x="218818" y="13097"/>
                  </a:cubicBezTo>
                  <a:cubicBezTo>
                    <a:pt x="215852" y="16064"/>
                    <a:pt x="129807" y="66504"/>
                    <a:pt x="79368" y="69471"/>
                  </a:cubicBezTo>
                  <a:cubicBezTo>
                    <a:pt x="79368" y="66504"/>
                    <a:pt x="76401" y="66504"/>
                    <a:pt x="76401" y="66504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787CE5A3-C82C-4879-9724-A7ABD4D408DC}"/>
                </a:ext>
              </a:extLst>
            </p:cNvPr>
            <p:cNvSpPr/>
            <p:nvPr/>
          </p:nvSpPr>
          <p:spPr>
            <a:xfrm>
              <a:off x="15233541" y="2526630"/>
              <a:ext cx="110883" cy="261159"/>
            </a:xfrm>
            <a:custGeom>
              <a:avLst/>
              <a:gdLst>
                <a:gd name="connsiteX0" fmla="*/ 0 w 110883"/>
                <a:gd name="connsiteY0" fmla="*/ 124676 h 261159"/>
                <a:gd name="connsiteX1" fmla="*/ 53406 w 110883"/>
                <a:gd name="connsiteY1" fmla="*/ 261160 h 261159"/>
                <a:gd name="connsiteX2" fmla="*/ 106813 w 110883"/>
                <a:gd name="connsiteY2" fmla="*/ 160280 h 261159"/>
                <a:gd name="connsiteX3" fmla="*/ 41538 w 110883"/>
                <a:gd name="connsiteY3" fmla="*/ 61 h 261159"/>
                <a:gd name="connsiteX4" fmla="*/ 0 w 110883"/>
                <a:gd name="connsiteY4" fmla="*/ 124676 h 26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883" h="261159">
                  <a:moveTo>
                    <a:pt x="0" y="124676"/>
                  </a:moveTo>
                  <a:cubicBezTo>
                    <a:pt x="0" y="124676"/>
                    <a:pt x="59341" y="228522"/>
                    <a:pt x="53406" y="261160"/>
                  </a:cubicBezTo>
                  <a:cubicBezTo>
                    <a:pt x="53406" y="261160"/>
                    <a:pt x="91978" y="216654"/>
                    <a:pt x="106813" y="160280"/>
                  </a:cubicBezTo>
                  <a:cubicBezTo>
                    <a:pt x="118681" y="100940"/>
                    <a:pt x="106813" y="11929"/>
                    <a:pt x="41538" y="61"/>
                  </a:cubicBezTo>
                  <a:cubicBezTo>
                    <a:pt x="41538" y="-2906"/>
                    <a:pt x="38571" y="103907"/>
                    <a:pt x="0" y="124676"/>
                  </a:cubicBezTo>
                  <a:close/>
                </a:path>
              </a:pathLst>
            </a:custGeom>
            <a:solidFill>
              <a:srgbClr val="664241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CA2D693C-435A-4065-A632-D9680626F55F}"/>
                </a:ext>
              </a:extLst>
            </p:cNvPr>
            <p:cNvSpPr/>
            <p:nvPr/>
          </p:nvSpPr>
          <p:spPr>
            <a:xfrm>
              <a:off x="14863404" y="2423344"/>
              <a:ext cx="423993" cy="349610"/>
            </a:xfrm>
            <a:custGeom>
              <a:avLst/>
              <a:gdLst>
                <a:gd name="connsiteX0" fmla="*/ 370138 w 423993"/>
                <a:gd name="connsiteY0" fmla="*/ 227962 h 349610"/>
                <a:gd name="connsiteX1" fmla="*/ 248489 w 423993"/>
                <a:gd name="connsiteY1" fmla="*/ 195324 h 349610"/>
                <a:gd name="connsiteX2" fmla="*/ 20027 w 423993"/>
                <a:gd name="connsiteY2" fmla="*/ 349610 h 349610"/>
                <a:gd name="connsiteX3" fmla="*/ 8159 w 423993"/>
                <a:gd name="connsiteY3" fmla="*/ 186423 h 349610"/>
                <a:gd name="connsiteX4" fmla="*/ 91237 w 423993"/>
                <a:gd name="connsiteY4" fmla="*/ 38072 h 349610"/>
                <a:gd name="connsiteX5" fmla="*/ 287060 w 423993"/>
                <a:gd name="connsiteY5" fmla="*/ 14335 h 349610"/>
                <a:gd name="connsiteX6" fmla="*/ 408709 w 423993"/>
                <a:gd name="connsiteY6" fmla="*/ 103346 h 349610"/>
                <a:gd name="connsiteX7" fmla="*/ 370138 w 423993"/>
                <a:gd name="connsiteY7" fmla="*/ 227962 h 34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3993" h="349610">
                  <a:moveTo>
                    <a:pt x="370138" y="227962"/>
                  </a:moveTo>
                  <a:cubicBezTo>
                    <a:pt x="370138" y="227962"/>
                    <a:pt x="275192" y="195324"/>
                    <a:pt x="248489" y="195324"/>
                  </a:cubicBezTo>
                  <a:cubicBezTo>
                    <a:pt x="150577" y="204226"/>
                    <a:pt x="2226" y="278401"/>
                    <a:pt x="20027" y="349610"/>
                  </a:cubicBezTo>
                  <a:cubicBezTo>
                    <a:pt x="20027" y="349610"/>
                    <a:pt x="-15577" y="251698"/>
                    <a:pt x="8159" y="186423"/>
                  </a:cubicBezTo>
                  <a:cubicBezTo>
                    <a:pt x="8159" y="186423"/>
                    <a:pt x="2226" y="64775"/>
                    <a:pt x="91237" y="38072"/>
                  </a:cubicBezTo>
                  <a:cubicBezTo>
                    <a:pt x="180248" y="11368"/>
                    <a:pt x="215852" y="-18302"/>
                    <a:pt x="287060" y="14335"/>
                  </a:cubicBezTo>
                  <a:cubicBezTo>
                    <a:pt x="358270" y="49940"/>
                    <a:pt x="402775" y="67742"/>
                    <a:pt x="408709" y="103346"/>
                  </a:cubicBezTo>
                  <a:cubicBezTo>
                    <a:pt x="411676" y="100379"/>
                    <a:pt x="459149" y="210160"/>
                    <a:pt x="370138" y="227962"/>
                  </a:cubicBezTo>
                  <a:close/>
                </a:path>
              </a:pathLst>
            </a:custGeom>
            <a:solidFill>
              <a:srgbClr val="664241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117AF5A2-722D-4442-B1F9-F48E6157E9BF}"/>
                </a:ext>
              </a:extLst>
            </p:cNvPr>
            <p:cNvSpPr/>
            <p:nvPr/>
          </p:nvSpPr>
          <p:spPr>
            <a:xfrm>
              <a:off x="15272945" y="2752430"/>
              <a:ext cx="76233" cy="109991"/>
            </a:xfrm>
            <a:custGeom>
              <a:avLst/>
              <a:gdLst>
                <a:gd name="connsiteX0" fmla="*/ 11035 w 76233"/>
                <a:gd name="connsiteY0" fmla="*/ 17556 h 109991"/>
                <a:gd name="connsiteX1" fmla="*/ 67410 w 76233"/>
                <a:gd name="connsiteY1" fmla="*/ 5688 h 109991"/>
                <a:gd name="connsiteX2" fmla="*/ 14003 w 76233"/>
                <a:gd name="connsiteY2" fmla="*/ 106567 h 109991"/>
                <a:gd name="connsiteX3" fmla="*/ 11035 w 76233"/>
                <a:gd name="connsiteY3" fmla="*/ 17556 h 10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33" h="109991">
                  <a:moveTo>
                    <a:pt x="11035" y="17556"/>
                  </a:moveTo>
                  <a:cubicBezTo>
                    <a:pt x="11035" y="17556"/>
                    <a:pt x="43673" y="-12114"/>
                    <a:pt x="67410" y="5688"/>
                  </a:cubicBezTo>
                  <a:cubicBezTo>
                    <a:pt x="94113" y="23491"/>
                    <a:pt x="55541" y="130304"/>
                    <a:pt x="14003" y="106567"/>
                  </a:cubicBezTo>
                  <a:cubicBezTo>
                    <a:pt x="-15668" y="88765"/>
                    <a:pt x="11035" y="17556"/>
                    <a:pt x="11035" y="17556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5CAE4E78-4725-425A-BE96-CB917D1DF3F8}"/>
                </a:ext>
              </a:extLst>
            </p:cNvPr>
            <p:cNvSpPr/>
            <p:nvPr/>
          </p:nvSpPr>
          <p:spPr>
            <a:xfrm>
              <a:off x="15221673" y="2538558"/>
              <a:ext cx="71950" cy="237362"/>
            </a:xfrm>
            <a:custGeom>
              <a:avLst/>
              <a:gdLst>
                <a:gd name="connsiteX0" fmla="*/ 62307 w 71950"/>
                <a:gd name="connsiteY0" fmla="*/ 237363 h 237362"/>
                <a:gd name="connsiteX1" fmla="*/ 56373 w 71950"/>
                <a:gd name="connsiteY1" fmla="*/ 231429 h 237362"/>
                <a:gd name="connsiteX2" fmla="*/ 5934 w 71950"/>
                <a:gd name="connsiteY2" fmla="*/ 115714 h 237362"/>
                <a:gd name="connsiteX3" fmla="*/ 0 w 71950"/>
                <a:gd name="connsiteY3" fmla="*/ 109780 h 237362"/>
                <a:gd name="connsiteX4" fmla="*/ 8901 w 71950"/>
                <a:gd name="connsiteY4" fmla="*/ 106813 h 237362"/>
                <a:gd name="connsiteX5" fmla="*/ 53406 w 71950"/>
                <a:gd name="connsiteY5" fmla="*/ 65275 h 237362"/>
                <a:gd name="connsiteX6" fmla="*/ 53406 w 71950"/>
                <a:gd name="connsiteY6" fmla="*/ 8901 h 237362"/>
                <a:gd name="connsiteX7" fmla="*/ 56373 w 71950"/>
                <a:gd name="connsiteY7" fmla="*/ 0 h 237362"/>
                <a:gd name="connsiteX8" fmla="*/ 65274 w 71950"/>
                <a:gd name="connsiteY8" fmla="*/ 2967 h 237362"/>
                <a:gd name="connsiteX9" fmla="*/ 65274 w 71950"/>
                <a:gd name="connsiteY9" fmla="*/ 68242 h 237362"/>
                <a:gd name="connsiteX10" fmla="*/ 20769 w 71950"/>
                <a:gd name="connsiteY10" fmla="*/ 112747 h 237362"/>
                <a:gd name="connsiteX11" fmla="*/ 68241 w 71950"/>
                <a:gd name="connsiteY11" fmla="*/ 228462 h 237362"/>
                <a:gd name="connsiteX12" fmla="*/ 62307 w 71950"/>
                <a:gd name="connsiteY12" fmla="*/ 237363 h 237362"/>
                <a:gd name="connsiteX13" fmla="*/ 62307 w 71950"/>
                <a:gd name="connsiteY13" fmla="*/ 237363 h 237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1950" h="237362">
                  <a:moveTo>
                    <a:pt x="62307" y="237363"/>
                  </a:moveTo>
                  <a:cubicBezTo>
                    <a:pt x="59341" y="237363"/>
                    <a:pt x="56373" y="234396"/>
                    <a:pt x="56373" y="231429"/>
                  </a:cubicBezTo>
                  <a:cubicBezTo>
                    <a:pt x="50439" y="172088"/>
                    <a:pt x="5934" y="115714"/>
                    <a:pt x="5934" y="115714"/>
                  </a:cubicBezTo>
                  <a:lnTo>
                    <a:pt x="0" y="109780"/>
                  </a:lnTo>
                  <a:lnTo>
                    <a:pt x="8901" y="106813"/>
                  </a:lnTo>
                  <a:cubicBezTo>
                    <a:pt x="8901" y="106813"/>
                    <a:pt x="41538" y="94945"/>
                    <a:pt x="53406" y="65275"/>
                  </a:cubicBezTo>
                  <a:cubicBezTo>
                    <a:pt x="62307" y="50440"/>
                    <a:pt x="59341" y="29670"/>
                    <a:pt x="53406" y="8901"/>
                  </a:cubicBezTo>
                  <a:cubicBezTo>
                    <a:pt x="53406" y="5934"/>
                    <a:pt x="53406" y="2967"/>
                    <a:pt x="56373" y="0"/>
                  </a:cubicBezTo>
                  <a:cubicBezTo>
                    <a:pt x="59341" y="0"/>
                    <a:pt x="62307" y="0"/>
                    <a:pt x="65274" y="2967"/>
                  </a:cubicBezTo>
                  <a:cubicBezTo>
                    <a:pt x="74176" y="26703"/>
                    <a:pt x="74176" y="47472"/>
                    <a:pt x="65274" y="68242"/>
                  </a:cubicBezTo>
                  <a:cubicBezTo>
                    <a:pt x="53406" y="91978"/>
                    <a:pt x="32637" y="106813"/>
                    <a:pt x="20769" y="112747"/>
                  </a:cubicBezTo>
                  <a:cubicBezTo>
                    <a:pt x="32637" y="130549"/>
                    <a:pt x="62307" y="178022"/>
                    <a:pt x="68241" y="228462"/>
                  </a:cubicBezTo>
                  <a:cubicBezTo>
                    <a:pt x="68241" y="231429"/>
                    <a:pt x="65274" y="234396"/>
                    <a:pt x="62307" y="237363"/>
                  </a:cubicBezTo>
                  <a:cubicBezTo>
                    <a:pt x="62307" y="237363"/>
                    <a:pt x="62307" y="237363"/>
                    <a:pt x="62307" y="237363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98213665-F643-4822-9171-D8E150DF96F3}"/>
                </a:ext>
              </a:extLst>
            </p:cNvPr>
            <p:cNvSpPr/>
            <p:nvPr/>
          </p:nvSpPr>
          <p:spPr>
            <a:xfrm>
              <a:off x="14520392" y="4579877"/>
              <a:ext cx="1695237" cy="2249011"/>
            </a:xfrm>
            <a:custGeom>
              <a:avLst/>
              <a:gdLst>
                <a:gd name="connsiteX0" fmla="*/ 101940 w 1695237"/>
                <a:gd name="connsiteY0" fmla="*/ 20769 h 2249011"/>
                <a:gd name="connsiteX1" fmla="*/ 6995 w 1695237"/>
                <a:gd name="connsiteY1" fmla="*/ 1355934 h 2249011"/>
                <a:gd name="connsiteX2" fmla="*/ 279962 w 1695237"/>
                <a:gd name="connsiteY2" fmla="*/ 2198572 h 2249011"/>
                <a:gd name="connsiteX3" fmla="*/ 558863 w 1695237"/>
                <a:gd name="connsiteY3" fmla="*/ 2198572 h 2249011"/>
                <a:gd name="connsiteX4" fmla="*/ 410512 w 1695237"/>
                <a:gd name="connsiteY4" fmla="*/ 1225385 h 2249011"/>
                <a:gd name="connsiteX5" fmla="*/ 585566 w 1695237"/>
                <a:gd name="connsiteY5" fmla="*/ 489560 h 2249011"/>
                <a:gd name="connsiteX6" fmla="*/ 1036556 w 1695237"/>
                <a:gd name="connsiteY6" fmla="*/ 1335165 h 2249011"/>
                <a:gd name="connsiteX7" fmla="*/ 1407435 w 1695237"/>
                <a:gd name="connsiteY7" fmla="*/ 2249011 h 2249011"/>
                <a:gd name="connsiteX8" fmla="*/ 1695238 w 1695237"/>
                <a:gd name="connsiteY8" fmla="*/ 2201538 h 2249011"/>
                <a:gd name="connsiteX9" fmla="*/ 1451941 w 1695237"/>
                <a:gd name="connsiteY9" fmla="*/ 1231319 h 2249011"/>
                <a:gd name="connsiteX10" fmla="*/ 1095897 w 1695237"/>
                <a:gd name="connsiteY10" fmla="*/ 0 h 2249011"/>
                <a:gd name="connsiteX11" fmla="*/ 101940 w 1695237"/>
                <a:gd name="connsiteY11" fmla="*/ 20769 h 224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95237" h="2249011">
                  <a:moveTo>
                    <a:pt x="101940" y="20769"/>
                  </a:moveTo>
                  <a:cubicBezTo>
                    <a:pt x="101940" y="20769"/>
                    <a:pt x="-31576" y="1255055"/>
                    <a:pt x="6995" y="1355934"/>
                  </a:cubicBezTo>
                  <a:cubicBezTo>
                    <a:pt x="42600" y="1459780"/>
                    <a:pt x="279962" y="2198572"/>
                    <a:pt x="279962" y="2198572"/>
                  </a:cubicBezTo>
                  <a:lnTo>
                    <a:pt x="558863" y="2198572"/>
                  </a:lnTo>
                  <a:cubicBezTo>
                    <a:pt x="558863" y="2198572"/>
                    <a:pt x="416446" y="1320330"/>
                    <a:pt x="410512" y="1225385"/>
                  </a:cubicBezTo>
                  <a:cubicBezTo>
                    <a:pt x="404578" y="1130440"/>
                    <a:pt x="570731" y="519231"/>
                    <a:pt x="585566" y="489560"/>
                  </a:cubicBezTo>
                  <a:cubicBezTo>
                    <a:pt x="600402" y="459890"/>
                    <a:pt x="1036556" y="1335165"/>
                    <a:pt x="1036556" y="1335165"/>
                  </a:cubicBezTo>
                  <a:lnTo>
                    <a:pt x="1407435" y="2249011"/>
                  </a:lnTo>
                  <a:lnTo>
                    <a:pt x="1695238" y="2201538"/>
                  </a:lnTo>
                  <a:cubicBezTo>
                    <a:pt x="1695238" y="2201538"/>
                    <a:pt x="1502380" y="1427143"/>
                    <a:pt x="1451941" y="1231319"/>
                  </a:cubicBezTo>
                  <a:cubicBezTo>
                    <a:pt x="1428205" y="1139341"/>
                    <a:pt x="1140402" y="94945"/>
                    <a:pt x="1095897" y="0"/>
                  </a:cubicBezTo>
                  <a:cubicBezTo>
                    <a:pt x="416446" y="32637"/>
                    <a:pt x="101940" y="20769"/>
                    <a:pt x="101940" y="20769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3CBEE94A-E07B-4C2E-976A-44C15F46A0AF}"/>
                </a:ext>
              </a:extLst>
            </p:cNvPr>
            <p:cNvSpPr/>
            <p:nvPr/>
          </p:nvSpPr>
          <p:spPr>
            <a:xfrm>
              <a:off x="14926618" y="2588805"/>
              <a:ext cx="188241" cy="35796"/>
            </a:xfrm>
            <a:custGeom>
              <a:avLst/>
              <a:gdLst>
                <a:gd name="connsiteX0" fmla="*/ 7253 w 188241"/>
                <a:gd name="connsiteY0" fmla="*/ 35797 h 35796"/>
                <a:gd name="connsiteX1" fmla="*/ 1318 w 188241"/>
                <a:gd name="connsiteY1" fmla="*/ 32830 h 35796"/>
                <a:gd name="connsiteX2" fmla="*/ 1318 w 188241"/>
                <a:gd name="connsiteY2" fmla="*/ 23929 h 35796"/>
                <a:gd name="connsiteX3" fmla="*/ 185275 w 188241"/>
                <a:gd name="connsiteY3" fmla="*/ 20962 h 35796"/>
                <a:gd name="connsiteX4" fmla="*/ 188242 w 188241"/>
                <a:gd name="connsiteY4" fmla="*/ 29863 h 35796"/>
                <a:gd name="connsiteX5" fmla="*/ 179340 w 188241"/>
                <a:gd name="connsiteY5" fmla="*/ 32830 h 35796"/>
                <a:gd name="connsiteX6" fmla="*/ 4286 w 188241"/>
                <a:gd name="connsiteY6" fmla="*/ 32830 h 35796"/>
                <a:gd name="connsiteX7" fmla="*/ 7253 w 188241"/>
                <a:gd name="connsiteY7" fmla="*/ 35797 h 35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8241" h="35796">
                  <a:moveTo>
                    <a:pt x="7253" y="35797"/>
                  </a:moveTo>
                  <a:cubicBezTo>
                    <a:pt x="4286" y="35797"/>
                    <a:pt x="4286" y="35797"/>
                    <a:pt x="1318" y="32830"/>
                  </a:cubicBezTo>
                  <a:cubicBezTo>
                    <a:pt x="-1648" y="29863"/>
                    <a:pt x="1318" y="26896"/>
                    <a:pt x="1318" y="23929"/>
                  </a:cubicBezTo>
                  <a:cubicBezTo>
                    <a:pt x="69561" y="-26511"/>
                    <a:pt x="182308" y="17995"/>
                    <a:pt x="185275" y="20962"/>
                  </a:cubicBezTo>
                  <a:cubicBezTo>
                    <a:pt x="188242" y="20962"/>
                    <a:pt x="188242" y="26896"/>
                    <a:pt x="188242" y="29863"/>
                  </a:cubicBezTo>
                  <a:cubicBezTo>
                    <a:pt x="188242" y="32830"/>
                    <a:pt x="182308" y="32830"/>
                    <a:pt x="179340" y="32830"/>
                  </a:cubicBezTo>
                  <a:cubicBezTo>
                    <a:pt x="179340" y="32830"/>
                    <a:pt x="66593" y="-11676"/>
                    <a:pt x="4286" y="32830"/>
                  </a:cubicBezTo>
                  <a:cubicBezTo>
                    <a:pt x="7253" y="35797"/>
                    <a:pt x="7253" y="35797"/>
                    <a:pt x="7253" y="35797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17269BE2-D436-4A97-AA50-147894D14BE6}"/>
                </a:ext>
              </a:extLst>
            </p:cNvPr>
            <p:cNvSpPr/>
            <p:nvPr/>
          </p:nvSpPr>
          <p:spPr>
            <a:xfrm>
              <a:off x="14600767" y="3111196"/>
              <a:ext cx="1042224" cy="1524875"/>
            </a:xfrm>
            <a:custGeom>
              <a:avLst/>
              <a:gdLst>
                <a:gd name="connsiteX0" fmla="*/ 656510 w 1042224"/>
                <a:gd name="connsiteY0" fmla="*/ 0 h 1524875"/>
                <a:gd name="connsiteX1" fmla="*/ 374642 w 1042224"/>
                <a:gd name="connsiteY1" fmla="*/ 0 h 1524875"/>
                <a:gd name="connsiteX2" fmla="*/ 83873 w 1042224"/>
                <a:gd name="connsiteY2" fmla="*/ 127582 h 1524875"/>
                <a:gd name="connsiteX3" fmla="*/ 795 w 1042224"/>
                <a:gd name="connsiteY3" fmla="*/ 1495385 h 1524875"/>
                <a:gd name="connsiteX4" fmla="*/ 1042224 w 1042224"/>
                <a:gd name="connsiteY4" fmla="*/ 1471648 h 1524875"/>
                <a:gd name="connsiteX5" fmla="*/ 929477 w 1042224"/>
                <a:gd name="connsiteY5" fmla="*/ 100879 h 1524875"/>
                <a:gd name="connsiteX6" fmla="*/ 656510 w 1042224"/>
                <a:gd name="connsiteY6" fmla="*/ 0 h 152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2224" h="1524875">
                  <a:moveTo>
                    <a:pt x="656510" y="0"/>
                  </a:moveTo>
                  <a:cubicBezTo>
                    <a:pt x="656510" y="0"/>
                    <a:pt x="487389" y="53407"/>
                    <a:pt x="374642" y="0"/>
                  </a:cubicBezTo>
                  <a:cubicBezTo>
                    <a:pt x="374642" y="0"/>
                    <a:pt x="107609" y="94945"/>
                    <a:pt x="83873" y="127582"/>
                  </a:cubicBezTo>
                  <a:cubicBezTo>
                    <a:pt x="60136" y="157253"/>
                    <a:pt x="-8105" y="1430110"/>
                    <a:pt x="795" y="1495385"/>
                  </a:cubicBezTo>
                  <a:cubicBezTo>
                    <a:pt x="795" y="1495385"/>
                    <a:pt x="478488" y="1575495"/>
                    <a:pt x="1042224" y="1471648"/>
                  </a:cubicBezTo>
                  <a:cubicBezTo>
                    <a:pt x="1042224" y="1124506"/>
                    <a:pt x="971016" y="130549"/>
                    <a:pt x="929477" y="100879"/>
                  </a:cubicBezTo>
                  <a:cubicBezTo>
                    <a:pt x="887939" y="68242"/>
                    <a:pt x="656510" y="0"/>
                    <a:pt x="656510" y="0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F609A0ED-9085-4374-A911-D36515D4AC51}"/>
                </a:ext>
              </a:extLst>
            </p:cNvPr>
            <p:cNvSpPr/>
            <p:nvPr/>
          </p:nvSpPr>
          <p:spPr>
            <a:xfrm>
              <a:off x="15082223" y="3111196"/>
              <a:ext cx="175054" cy="115714"/>
            </a:xfrm>
            <a:custGeom>
              <a:avLst/>
              <a:gdLst>
                <a:gd name="connsiteX0" fmla="*/ 0 w 175054"/>
                <a:gd name="connsiteY0" fmla="*/ 20769 h 115714"/>
                <a:gd name="connsiteX1" fmla="*/ 26703 w 175054"/>
                <a:gd name="connsiteY1" fmla="*/ 115714 h 115714"/>
                <a:gd name="connsiteX2" fmla="*/ 175055 w 175054"/>
                <a:gd name="connsiteY2" fmla="*/ 0 h 115714"/>
                <a:gd name="connsiteX3" fmla="*/ 0 w 175054"/>
                <a:gd name="connsiteY3" fmla="*/ 20769 h 11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054" h="115714">
                  <a:moveTo>
                    <a:pt x="0" y="20769"/>
                  </a:moveTo>
                  <a:lnTo>
                    <a:pt x="26703" y="115714"/>
                  </a:lnTo>
                  <a:lnTo>
                    <a:pt x="175055" y="0"/>
                  </a:lnTo>
                  <a:cubicBezTo>
                    <a:pt x="175055" y="0"/>
                    <a:pt x="41538" y="20769"/>
                    <a:pt x="0" y="20769"/>
                  </a:cubicBezTo>
                  <a:close/>
                </a:path>
              </a:pathLst>
            </a:custGeom>
            <a:solidFill>
              <a:srgbClr val="FFFFFF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172B2B00-041C-499A-9A5B-B6A763287935}"/>
                </a:ext>
              </a:extLst>
            </p:cNvPr>
            <p:cNvSpPr/>
            <p:nvPr/>
          </p:nvSpPr>
          <p:spPr>
            <a:xfrm>
              <a:off x="14975409" y="3111196"/>
              <a:ext cx="106813" cy="112747"/>
            </a:xfrm>
            <a:custGeom>
              <a:avLst/>
              <a:gdLst>
                <a:gd name="connsiteX0" fmla="*/ 106813 w 106813"/>
                <a:gd name="connsiteY0" fmla="*/ 20769 h 112747"/>
                <a:gd name="connsiteX1" fmla="*/ 71209 w 106813"/>
                <a:gd name="connsiteY1" fmla="*/ 112747 h 112747"/>
                <a:gd name="connsiteX2" fmla="*/ 0 w 106813"/>
                <a:gd name="connsiteY2" fmla="*/ 0 h 112747"/>
                <a:gd name="connsiteX3" fmla="*/ 106813 w 106813"/>
                <a:gd name="connsiteY3" fmla="*/ 20769 h 112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813" h="112747">
                  <a:moveTo>
                    <a:pt x="106813" y="20769"/>
                  </a:moveTo>
                  <a:lnTo>
                    <a:pt x="71209" y="112747"/>
                  </a:lnTo>
                  <a:lnTo>
                    <a:pt x="0" y="0"/>
                  </a:lnTo>
                  <a:cubicBezTo>
                    <a:pt x="0" y="0"/>
                    <a:pt x="68242" y="23736"/>
                    <a:pt x="106813" y="20769"/>
                  </a:cubicBezTo>
                  <a:close/>
                </a:path>
              </a:pathLst>
            </a:custGeom>
            <a:solidFill>
              <a:srgbClr val="FFFFFF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0B63007C-DF1D-4CEE-91F1-C80C70A65239}"/>
                </a:ext>
              </a:extLst>
            </p:cNvPr>
            <p:cNvSpPr/>
            <p:nvPr/>
          </p:nvSpPr>
          <p:spPr>
            <a:xfrm>
              <a:off x="14358267" y="3204999"/>
              <a:ext cx="561692" cy="529273"/>
            </a:xfrm>
            <a:custGeom>
              <a:avLst/>
              <a:gdLst>
                <a:gd name="connsiteX0" fmla="*/ 234395 w 561692"/>
                <a:gd name="connsiteY0" fmla="*/ 529274 h 529273"/>
                <a:gd name="connsiteX1" fmla="*/ 554835 w 561692"/>
                <a:gd name="connsiteY1" fmla="*/ 42680 h 529273"/>
                <a:gd name="connsiteX2" fmla="*/ 0 w 561692"/>
                <a:gd name="connsiteY2" fmla="*/ 191032 h 529273"/>
                <a:gd name="connsiteX3" fmla="*/ 234395 w 561692"/>
                <a:gd name="connsiteY3" fmla="*/ 529274 h 529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1692" h="529273">
                  <a:moveTo>
                    <a:pt x="234395" y="529274"/>
                  </a:moveTo>
                  <a:cubicBezTo>
                    <a:pt x="234395" y="529274"/>
                    <a:pt x="617143" y="170263"/>
                    <a:pt x="554835" y="42680"/>
                  </a:cubicBezTo>
                  <a:cubicBezTo>
                    <a:pt x="483626" y="-108639"/>
                    <a:pt x="0" y="191032"/>
                    <a:pt x="0" y="191032"/>
                  </a:cubicBezTo>
                  <a:cubicBezTo>
                    <a:pt x="0" y="191032"/>
                    <a:pt x="68241" y="404658"/>
                    <a:pt x="234395" y="529274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F8FED84F-283F-48F9-A3BE-FAAA3A7CE176}"/>
                </a:ext>
              </a:extLst>
            </p:cNvPr>
            <p:cNvSpPr/>
            <p:nvPr/>
          </p:nvSpPr>
          <p:spPr>
            <a:xfrm>
              <a:off x="14637168" y="3231615"/>
              <a:ext cx="51668" cy="538261"/>
            </a:xfrm>
            <a:custGeom>
              <a:avLst/>
              <a:gdLst>
                <a:gd name="connsiteX0" fmla="*/ 5934 w 51668"/>
                <a:gd name="connsiteY0" fmla="*/ 538262 h 538261"/>
                <a:gd name="connsiteX1" fmla="*/ 5934 w 51668"/>
                <a:gd name="connsiteY1" fmla="*/ 538262 h 538261"/>
                <a:gd name="connsiteX2" fmla="*/ 0 w 51668"/>
                <a:gd name="connsiteY2" fmla="*/ 532328 h 538261"/>
                <a:gd name="connsiteX3" fmla="*/ 41538 w 51668"/>
                <a:gd name="connsiteY3" fmla="*/ 4196 h 538261"/>
                <a:gd name="connsiteX4" fmla="*/ 47473 w 51668"/>
                <a:gd name="connsiteY4" fmla="*/ 1229 h 538261"/>
                <a:gd name="connsiteX5" fmla="*/ 50440 w 51668"/>
                <a:gd name="connsiteY5" fmla="*/ 7163 h 538261"/>
                <a:gd name="connsiteX6" fmla="*/ 8901 w 51668"/>
                <a:gd name="connsiteY6" fmla="*/ 532328 h 538261"/>
                <a:gd name="connsiteX7" fmla="*/ 5934 w 51668"/>
                <a:gd name="connsiteY7" fmla="*/ 538262 h 53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68" h="538261">
                  <a:moveTo>
                    <a:pt x="5934" y="538262"/>
                  </a:moveTo>
                  <a:cubicBezTo>
                    <a:pt x="5934" y="538262"/>
                    <a:pt x="5934" y="538262"/>
                    <a:pt x="5934" y="538262"/>
                  </a:cubicBezTo>
                  <a:cubicBezTo>
                    <a:pt x="2967" y="538262"/>
                    <a:pt x="0" y="535295"/>
                    <a:pt x="0" y="532328"/>
                  </a:cubicBezTo>
                  <a:cubicBezTo>
                    <a:pt x="0" y="511559"/>
                    <a:pt x="35605" y="42767"/>
                    <a:pt x="41538" y="4196"/>
                  </a:cubicBezTo>
                  <a:cubicBezTo>
                    <a:pt x="41538" y="1229"/>
                    <a:pt x="44505" y="-1738"/>
                    <a:pt x="47473" y="1229"/>
                  </a:cubicBezTo>
                  <a:cubicBezTo>
                    <a:pt x="50440" y="1229"/>
                    <a:pt x="53406" y="4196"/>
                    <a:pt x="50440" y="7163"/>
                  </a:cubicBezTo>
                  <a:cubicBezTo>
                    <a:pt x="41538" y="45734"/>
                    <a:pt x="8901" y="529361"/>
                    <a:pt x="8901" y="532328"/>
                  </a:cubicBezTo>
                  <a:cubicBezTo>
                    <a:pt x="11868" y="538262"/>
                    <a:pt x="8901" y="538262"/>
                    <a:pt x="5934" y="538262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E1CD41C5-0A7F-4DEB-8ACD-98C4243209D2}"/>
                </a:ext>
              </a:extLst>
            </p:cNvPr>
            <p:cNvSpPr/>
            <p:nvPr/>
          </p:nvSpPr>
          <p:spPr>
            <a:xfrm>
              <a:off x="15043651" y="4722295"/>
              <a:ext cx="68241" cy="353076"/>
            </a:xfrm>
            <a:custGeom>
              <a:avLst/>
              <a:gdLst>
                <a:gd name="connsiteX0" fmla="*/ 62307 w 68241"/>
                <a:gd name="connsiteY0" fmla="*/ 353077 h 353076"/>
                <a:gd name="connsiteX1" fmla="*/ 56373 w 68241"/>
                <a:gd name="connsiteY1" fmla="*/ 350110 h 353076"/>
                <a:gd name="connsiteX2" fmla="*/ 0 w 68241"/>
                <a:gd name="connsiteY2" fmla="*/ 5934 h 353076"/>
                <a:gd name="connsiteX3" fmla="*/ 5934 w 68241"/>
                <a:gd name="connsiteY3" fmla="*/ 0 h 353076"/>
                <a:gd name="connsiteX4" fmla="*/ 11868 w 68241"/>
                <a:gd name="connsiteY4" fmla="*/ 5934 h 353076"/>
                <a:gd name="connsiteX5" fmla="*/ 68241 w 68241"/>
                <a:gd name="connsiteY5" fmla="*/ 347143 h 353076"/>
                <a:gd name="connsiteX6" fmla="*/ 62307 w 68241"/>
                <a:gd name="connsiteY6" fmla="*/ 353077 h 353076"/>
                <a:gd name="connsiteX7" fmla="*/ 62307 w 68241"/>
                <a:gd name="connsiteY7" fmla="*/ 353077 h 35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241" h="353076">
                  <a:moveTo>
                    <a:pt x="62307" y="353077"/>
                  </a:moveTo>
                  <a:cubicBezTo>
                    <a:pt x="59341" y="353077"/>
                    <a:pt x="59341" y="353077"/>
                    <a:pt x="56373" y="350110"/>
                  </a:cubicBezTo>
                  <a:cubicBezTo>
                    <a:pt x="8901" y="237363"/>
                    <a:pt x="0" y="14835"/>
                    <a:pt x="0" y="5934"/>
                  </a:cubicBezTo>
                  <a:cubicBezTo>
                    <a:pt x="0" y="2967"/>
                    <a:pt x="2966" y="0"/>
                    <a:pt x="5934" y="0"/>
                  </a:cubicBezTo>
                  <a:cubicBezTo>
                    <a:pt x="8901" y="0"/>
                    <a:pt x="11868" y="2967"/>
                    <a:pt x="11868" y="5934"/>
                  </a:cubicBezTo>
                  <a:cubicBezTo>
                    <a:pt x="11868" y="8901"/>
                    <a:pt x="20769" y="237363"/>
                    <a:pt x="68241" y="347143"/>
                  </a:cubicBezTo>
                  <a:cubicBezTo>
                    <a:pt x="68241" y="347143"/>
                    <a:pt x="65274" y="353077"/>
                    <a:pt x="62307" y="353077"/>
                  </a:cubicBezTo>
                  <a:cubicBezTo>
                    <a:pt x="62307" y="353077"/>
                    <a:pt x="62307" y="353077"/>
                    <a:pt x="62307" y="353077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6956641E-20D9-41F1-93F9-981963371275}"/>
                </a:ext>
              </a:extLst>
            </p:cNvPr>
            <p:cNvSpPr/>
            <p:nvPr/>
          </p:nvSpPr>
          <p:spPr>
            <a:xfrm>
              <a:off x="14933871" y="4654053"/>
              <a:ext cx="151318" cy="344175"/>
            </a:xfrm>
            <a:custGeom>
              <a:avLst/>
              <a:gdLst>
                <a:gd name="connsiteX0" fmla="*/ 142417 w 151318"/>
                <a:gd name="connsiteY0" fmla="*/ 344176 h 344175"/>
                <a:gd name="connsiteX1" fmla="*/ 139451 w 151318"/>
                <a:gd name="connsiteY1" fmla="*/ 344176 h 344175"/>
                <a:gd name="connsiteX2" fmla="*/ 32638 w 151318"/>
                <a:gd name="connsiteY2" fmla="*/ 267033 h 344175"/>
                <a:gd name="connsiteX3" fmla="*/ 0 w 151318"/>
                <a:gd name="connsiteY3" fmla="*/ 5934 h 344175"/>
                <a:gd name="connsiteX4" fmla="*/ 5934 w 151318"/>
                <a:gd name="connsiteY4" fmla="*/ 0 h 344175"/>
                <a:gd name="connsiteX5" fmla="*/ 5934 w 151318"/>
                <a:gd name="connsiteY5" fmla="*/ 0 h 344175"/>
                <a:gd name="connsiteX6" fmla="*/ 11868 w 151318"/>
                <a:gd name="connsiteY6" fmla="*/ 5934 h 344175"/>
                <a:gd name="connsiteX7" fmla="*/ 44505 w 151318"/>
                <a:gd name="connsiteY7" fmla="*/ 261099 h 344175"/>
                <a:gd name="connsiteX8" fmla="*/ 148352 w 151318"/>
                <a:gd name="connsiteY8" fmla="*/ 335275 h 344175"/>
                <a:gd name="connsiteX9" fmla="*/ 151319 w 151318"/>
                <a:gd name="connsiteY9" fmla="*/ 344176 h 344175"/>
                <a:gd name="connsiteX10" fmla="*/ 142417 w 151318"/>
                <a:gd name="connsiteY10" fmla="*/ 344176 h 34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1318" h="344175">
                  <a:moveTo>
                    <a:pt x="142417" y="344176"/>
                  </a:moveTo>
                  <a:cubicBezTo>
                    <a:pt x="142417" y="344176"/>
                    <a:pt x="139451" y="344176"/>
                    <a:pt x="139451" y="344176"/>
                  </a:cubicBezTo>
                  <a:cubicBezTo>
                    <a:pt x="130549" y="338242"/>
                    <a:pt x="44505" y="281868"/>
                    <a:pt x="32638" y="267033"/>
                  </a:cubicBezTo>
                  <a:cubicBezTo>
                    <a:pt x="20770" y="252198"/>
                    <a:pt x="2967" y="47472"/>
                    <a:pt x="0" y="5934"/>
                  </a:cubicBezTo>
                  <a:cubicBezTo>
                    <a:pt x="0" y="2967"/>
                    <a:pt x="2967" y="0"/>
                    <a:pt x="5934" y="0"/>
                  </a:cubicBezTo>
                  <a:cubicBezTo>
                    <a:pt x="5934" y="0"/>
                    <a:pt x="5934" y="0"/>
                    <a:pt x="5934" y="0"/>
                  </a:cubicBezTo>
                  <a:cubicBezTo>
                    <a:pt x="8901" y="0"/>
                    <a:pt x="11868" y="2967"/>
                    <a:pt x="11868" y="5934"/>
                  </a:cubicBezTo>
                  <a:cubicBezTo>
                    <a:pt x="20770" y="97912"/>
                    <a:pt x="35605" y="249231"/>
                    <a:pt x="44505" y="261099"/>
                  </a:cubicBezTo>
                  <a:cubicBezTo>
                    <a:pt x="53406" y="270000"/>
                    <a:pt x="109781" y="311538"/>
                    <a:pt x="148352" y="335275"/>
                  </a:cubicBezTo>
                  <a:cubicBezTo>
                    <a:pt x="151319" y="338242"/>
                    <a:pt x="151319" y="341209"/>
                    <a:pt x="151319" y="344176"/>
                  </a:cubicBezTo>
                  <a:cubicBezTo>
                    <a:pt x="145384" y="344176"/>
                    <a:pt x="145384" y="344176"/>
                    <a:pt x="142417" y="344176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E4C70017-5D86-4E52-BB4E-600D2D8A5246}"/>
                </a:ext>
              </a:extLst>
            </p:cNvPr>
            <p:cNvSpPr/>
            <p:nvPr/>
          </p:nvSpPr>
          <p:spPr>
            <a:xfrm>
              <a:off x="15755739" y="2547459"/>
              <a:ext cx="784427" cy="913846"/>
            </a:xfrm>
            <a:custGeom>
              <a:avLst/>
              <a:gdLst>
                <a:gd name="connsiteX0" fmla="*/ 0 w 784427"/>
                <a:gd name="connsiteY0" fmla="*/ 637912 h 913846"/>
                <a:gd name="connsiteX1" fmla="*/ 566703 w 784427"/>
                <a:gd name="connsiteY1" fmla="*/ 531099 h 913846"/>
                <a:gd name="connsiteX2" fmla="*/ 584505 w 784427"/>
                <a:gd name="connsiteY2" fmla="*/ 0 h 913846"/>
                <a:gd name="connsiteX3" fmla="*/ 715054 w 784427"/>
                <a:gd name="connsiteY3" fmla="*/ 44505 h 913846"/>
                <a:gd name="connsiteX4" fmla="*/ 774395 w 784427"/>
                <a:gd name="connsiteY4" fmla="*/ 700220 h 913846"/>
                <a:gd name="connsiteX5" fmla="*/ 71209 w 784427"/>
                <a:gd name="connsiteY5" fmla="*/ 913846 h 913846"/>
                <a:gd name="connsiteX6" fmla="*/ 0 w 784427"/>
                <a:gd name="connsiteY6" fmla="*/ 637912 h 91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4427" h="913846">
                  <a:moveTo>
                    <a:pt x="0" y="637912"/>
                  </a:moveTo>
                  <a:lnTo>
                    <a:pt x="566703" y="531099"/>
                  </a:lnTo>
                  <a:lnTo>
                    <a:pt x="584505" y="0"/>
                  </a:lnTo>
                  <a:lnTo>
                    <a:pt x="715054" y="44505"/>
                  </a:lnTo>
                  <a:cubicBezTo>
                    <a:pt x="715054" y="44505"/>
                    <a:pt x="815934" y="584506"/>
                    <a:pt x="774395" y="700220"/>
                  </a:cubicBezTo>
                  <a:cubicBezTo>
                    <a:pt x="732857" y="818901"/>
                    <a:pt x="71209" y="913846"/>
                    <a:pt x="71209" y="913846"/>
                  </a:cubicBezTo>
                  <a:lnTo>
                    <a:pt x="0" y="637912"/>
                  </a:ln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E2F28982-7665-4DEE-820D-E8F047743574}"/>
                </a:ext>
              </a:extLst>
            </p:cNvPr>
            <p:cNvSpPr/>
            <p:nvPr/>
          </p:nvSpPr>
          <p:spPr>
            <a:xfrm>
              <a:off x="15729035" y="3075591"/>
              <a:ext cx="626044" cy="133516"/>
            </a:xfrm>
            <a:custGeom>
              <a:avLst/>
              <a:gdLst>
                <a:gd name="connsiteX0" fmla="*/ 5934 w 626044"/>
                <a:gd name="connsiteY0" fmla="*/ 133516 h 133516"/>
                <a:gd name="connsiteX1" fmla="*/ 0 w 626044"/>
                <a:gd name="connsiteY1" fmla="*/ 130549 h 133516"/>
                <a:gd name="connsiteX2" fmla="*/ 2967 w 626044"/>
                <a:gd name="connsiteY2" fmla="*/ 124615 h 133516"/>
                <a:gd name="connsiteX3" fmla="*/ 587473 w 626044"/>
                <a:gd name="connsiteY3" fmla="*/ 0 h 133516"/>
                <a:gd name="connsiteX4" fmla="*/ 593407 w 626044"/>
                <a:gd name="connsiteY4" fmla="*/ 2967 h 133516"/>
                <a:gd name="connsiteX5" fmla="*/ 626044 w 626044"/>
                <a:gd name="connsiteY5" fmla="*/ 44505 h 133516"/>
                <a:gd name="connsiteX6" fmla="*/ 623077 w 626044"/>
                <a:gd name="connsiteY6" fmla="*/ 50440 h 133516"/>
                <a:gd name="connsiteX7" fmla="*/ 617143 w 626044"/>
                <a:gd name="connsiteY7" fmla="*/ 47473 h 133516"/>
                <a:gd name="connsiteX8" fmla="*/ 587473 w 626044"/>
                <a:gd name="connsiteY8" fmla="*/ 11868 h 133516"/>
                <a:gd name="connsiteX9" fmla="*/ 5934 w 626044"/>
                <a:gd name="connsiteY9" fmla="*/ 133516 h 133516"/>
                <a:gd name="connsiteX10" fmla="*/ 5934 w 626044"/>
                <a:gd name="connsiteY10" fmla="*/ 133516 h 13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6044" h="133516">
                  <a:moveTo>
                    <a:pt x="5934" y="133516"/>
                  </a:moveTo>
                  <a:cubicBezTo>
                    <a:pt x="2967" y="133516"/>
                    <a:pt x="0" y="130549"/>
                    <a:pt x="0" y="130549"/>
                  </a:cubicBezTo>
                  <a:cubicBezTo>
                    <a:pt x="0" y="127582"/>
                    <a:pt x="0" y="124615"/>
                    <a:pt x="2967" y="124615"/>
                  </a:cubicBezTo>
                  <a:cubicBezTo>
                    <a:pt x="8902" y="124615"/>
                    <a:pt x="483627" y="17802"/>
                    <a:pt x="587473" y="0"/>
                  </a:cubicBezTo>
                  <a:cubicBezTo>
                    <a:pt x="590440" y="0"/>
                    <a:pt x="590440" y="0"/>
                    <a:pt x="593407" y="2967"/>
                  </a:cubicBezTo>
                  <a:cubicBezTo>
                    <a:pt x="593407" y="2967"/>
                    <a:pt x="617143" y="26703"/>
                    <a:pt x="626044" y="44505"/>
                  </a:cubicBezTo>
                  <a:cubicBezTo>
                    <a:pt x="626044" y="47473"/>
                    <a:pt x="626044" y="50440"/>
                    <a:pt x="623077" y="50440"/>
                  </a:cubicBezTo>
                  <a:cubicBezTo>
                    <a:pt x="620111" y="50440"/>
                    <a:pt x="617143" y="50440"/>
                    <a:pt x="617143" y="47473"/>
                  </a:cubicBezTo>
                  <a:cubicBezTo>
                    <a:pt x="611209" y="32637"/>
                    <a:pt x="593407" y="17802"/>
                    <a:pt x="587473" y="11868"/>
                  </a:cubicBezTo>
                  <a:cubicBezTo>
                    <a:pt x="480660" y="26703"/>
                    <a:pt x="11869" y="133516"/>
                    <a:pt x="5934" y="133516"/>
                  </a:cubicBezTo>
                  <a:cubicBezTo>
                    <a:pt x="8902" y="133516"/>
                    <a:pt x="8902" y="133516"/>
                    <a:pt x="5934" y="133516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912A2BEC-89F8-42F1-8BE9-22941C60D727}"/>
                </a:ext>
              </a:extLst>
            </p:cNvPr>
            <p:cNvSpPr/>
            <p:nvPr/>
          </p:nvSpPr>
          <p:spPr>
            <a:xfrm>
              <a:off x="15340896" y="3087459"/>
              <a:ext cx="585869" cy="422435"/>
            </a:xfrm>
            <a:custGeom>
              <a:avLst/>
              <a:gdLst>
                <a:gd name="connsiteX0" fmla="*/ 583964 w 585869"/>
                <a:gd name="connsiteY0" fmla="*/ 400549 h 422435"/>
                <a:gd name="connsiteX1" fmla="*/ 5392 w 585869"/>
                <a:gd name="connsiteY1" fmla="*/ 308571 h 422435"/>
                <a:gd name="connsiteX2" fmla="*/ 489019 w 585869"/>
                <a:gd name="connsiteY2" fmla="*/ 0 h 422435"/>
                <a:gd name="connsiteX3" fmla="*/ 583964 w 585869"/>
                <a:gd name="connsiteY3" fmla="*/ 400549 h 42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5869" h="422435">
                  <a:moveTo>
                    <a:pt x="583964" y="400549"/>
                  </a:moveTo>
                  <a:cubicBezTo>
                    <a:pt x="583964" y="400549"/>
                    <a:pt x="85502" y="489560"/>
                    <a:pt x="5392" y="308571"/>
                  </a:cubicBezTo>
                  <a:cubicBezTo>
                    <a:pt x="-59882" y="157253"/>
                    <a:pt x="489019" y="0"/>
                    <a:pt x="489019" y="0"/>
                  </a:cubicBezTo>
                  <a:cubicBezTo>
                    <a:pt x="489019" y="0"/>
                    <a:pt x="601766" y="192857"/>
                    <a:pt x="583964" y="400549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E9043D82-E82C-4776-9B35-195C47172859}"/>
                </a:ext>
              </a:extLst>
            </p:cNvPr>
            <p:cNvSpPr/>
            <p:nvPr/>
          </p:nvSpPr>
          <p:spPr>
            <a:xfrm>
              <a:off x="15343295" y="3081525"/>
              <a:ext cx="548927" cy="320439"/>
            </a:xfrm>
            <a:custGeom>
              <a:avLst/>
              <a:gdLst>
                <a:gd name="connsiteX0" fmla="*/ 5961 w 548927"/>
                <a:gd name="connsiteY0" fmla="*/ 320440 h 320439"/>
                <a:gd name="connsiteX1" fmla="*/ 26 w 548927"/>
                <a:gd name="connsiteY1" fmla="*/ 314505 h 320439"/>
                <a:gd name="connsiteX2" fmla="*/ 160247 w 548927"/>
                <a:gd name="connsiteY2" fmla="*/ 127582 h 320439"/>
                <a:gd name="connsiteX3" fmla="*/ 486621 w 548927"/>
                <a:gd name="connsiteY3" fmla="*/ 0 h 320439"/>
                <a:gd name="connsiteX4" fmla="*/ 489587 w 548927"/>
                <a:gd name="connsiteY4" fmla="*/ 0 h 320439"/>
                <a:gd name="connsiteX5" fmla="*/ 492554 w 548927"/>
                <a:gd name="connsiteY5" fmla="*/ 2967 h 320439"/>
                <a:gd name="connsiteX6" fmla="*/ 548927 w 548927"/>
                <a:gd name="connsiteY6" fmla="*/ 124615 h 320439"/>
                <a:gd name="connsiteX7" fmla="*/ 545961 w 548927"/>
                <a:gd name="connsiteY7" fmla="*/ 130549 h 320439"/>
                <a:gd name="connsiteX8" fmla="*/ 540027 w 548927"/>
                <a:gd name="connsiteY8" fmla="*/ 127582 h 320439"/>
                <a:gd name="connsiteX9" fmla="*/ 489587 w 548927"/>
                <a:gd name="connsiteY9" fmla="*/ 11868 h 320439"/>
                <a:gd name="connsiteX10" fmla="*/ 166180 w 548927"/>
                <a:gd name="connsiteY10" fmla="*/ 136483 h 320439"/>
                <a:gd name="connsiteX11" fmla="*/ 11895 w 548927"/>
                <a:gd name="connsiteY11" fmla="*/ 314505 h 320439"/>
                <a:gd name="connsiteX12" fmla="*/ 5961 w 548927"/>
                <a:gd name="connsiteY12" fmla="*/ 320440 h 320439"/>
                <a:gd name="connsiteX13" fmla="*/ 5961 w 548927"/>
                <a:gd name="connsiteY13" fmla="*/ 320440 h 320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48927" h="320439">
                  <a:moveTo>
                    <a:pt x="5961" y="320440"/>
                  </a:moveTo>
                  <a:cubicBezTo>
                    <a:pt x="2994" y="320440"/>
                    <a:pt x="26" y="317473"/>
                    <a:pt x="26" y="314505"/>
                  </a:cubicBezTo>
                  <a:cubicBezTo>
                    <a:pt x="26" y="308571"/>
                    <a:pt x="-5907" y="198791"/>
                    <a:pt x="160247" y="127582"/>
                  </a:cubicBezTo>
                  <a:cubicBezTo>
                    <a:pt x="323434" y="56374"/>
                    <a:pt x="486621" y="0"/>
                    <a:pt x="486621" y="0"/>
                  </a:cubicBezTo>
                  <a:lnTo>
                    <a:pt x="489587" y="0"/>
                  </a:lnTo>
                  <a:lnTo>
                    <a:pt x="492554" y="2967"/>
                  </a:lnTo>
                  <a:cubicBezTo>
                    <a:pt x="492554" y="2967"/>
                    <a:pt x="531126" y="62308"/>
                    <a:pt x="548927" y="124615"/>
                  </a:cubicBezTo>
                  <a:cubicBezTo>
                    <a:pt x="548927" y="127582"/>
                    <a:pt x="548927" y="130549"/>
                    <a:pt x="545961" y="130549"/>
                  </a:cubicBezTo>
                  <a:cubicBezTo>
                    <a:pt x="542994" y="130549"/>
                    <a:pt x="540027" y="130549"/>
                    <a:pt x="540027" y="127582"/>
                  </a:cubicBezTo>
                  <a:cubicBezTo>
                    <a:pt x="525192" y="74176"/>
                    <a:pt x="495521" y="26703"/>
                    <a:pt x="489587" y="11868"/>
                  </a:cubicBezTo>
                  <a:cubicBezTo>
                    <a:pt x="462884" y="20769"/>
                    <a:pt x="314532" y="71209"/>
                    <a:pt x="166180" y="136483"/>
                  </a:cubicBezTo>
                  <a:cubicBezTo>
                    <a:pt x="5961" y="207692"/>
                    <a:pt x="11895" y="311538"/>
                    <a:pt x="11895" y="314505"/>
                  </a:cubicBezTo>
                  <a:cubicBezTo>
                    <a:pt x="11895" y="317473"/>
                    <a:pt x="8928" y="320440"/>
                    <a:pt x="5961" y="320440"/>
                  </a:cubicBezTo>
                  <a:cubicBezTo>
                    <a:pt x="5961" y="320440"/>
                    <a:pt x="5961" y="320440"/>
                    <a:pt x="5961" y="320440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5" name="图形 1">
              <a:extLst>
                <a:ext uri="{FF2B5EF4-FFF2-40B4-BE49-F238E27FC236}">
                  <a16:creationId xmlns:a16="http://schemas.microsoft.com/office/drawing/2014/main" id="{1998A979-423B-4164-9193-A3AB92808F8E}"/>
                </a:ext>
              </a:extLst>
            </p:cNvPr>
            <p:cNvGrpSpPr/>
            <p:nvPr/>
          </p:nvGrpSpPr>
          <p:grpSpPr>
            <a:xfrm>
              <a:off x="13648209" y="2985791"/>
              <a:ext cx="287417" cy="336764"/>
              <a:chOff x="13648209" y="2985791"/>
              <a:chExt cx="287417" cy="336764"/>
            </a:xfrm>
          </p:grpSpPr>
          <p:grpSp>
            <p:nvGrpSpPr>
              <p:cNvPr id="119" name="图形 1">
                <a:extLst>
                  <a:ext uri="{FF2B5EF4-FFF2-40B4-BE49-F238E27FC236}">
                    <a16:creationId xmlns:a16="http://schemas.microsoft.com/office/drawing/2014/main" id="{5514090A-530A-4CCA-A435-CB4DCC4B4CA2}"/>
                  </a:ext>
                </a:extLst>
              </p:cNvPr>
              <p:cNvGrpSpPr/>
              <p:nvPr/>
            </p:nvGrpSpPr>
            <p:grpSpPr>
              <a:xfrm>
                <a:off x="13656684" y="2985791"/>
                <a:ext cx="278943" cy="336764"/>
                <a:chOff x="13656684" y="2985791"/>
                <a:chExt cx="278943" cy="336764"/>
              </a:xfrm>
            </p:grpSpPr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4E40065B-80D1-41A4-B849-0426B2CBF892}"/>
                    </a:ext>
                  </a:extLst>
                </p:cNvPr>
                <p:cNvSpPr/>
                <p:nvPr/>
              </p:nvSpPr>
              <p:spPr>
                <a:xfrm>
                  <a:off x="13656684" y="2996965"/>
                  <a:ext cx="278943" cy="325590"/>
                </a:xfrm>
                <a:custGeom>
                  <a:avLst/>
                  <a:gdLst>
                    <a:gd name="connsiteX0" fmla="*/ 57736 w 278943"/>
                    <a:gd name="connsiteY0" fmla="*/ 206209 h 325590"/>
                    <a:gd name="connsiteX1" fmla="*/ 143780 w 278943"/>
                    <a:gd name="connsiteY1" fmla="*/ 318956 h 325590"/>
                    <a:gd name="connsiteX2" fmla="*/ 250593 w 278943"/>
                    <a:gd name="connsiteY2" fmla="*/ 301154 h 325590"/>
                    <a:gd name="connsiteX3" fmla="*/ 250593 w 278943"/>
                    <a:gd name="connsiteY3" fmla="*/ 295220 h 325590"/>
                    <a:gd name="connsiteX4" fmla="*/ 250593 w 278943"/>
                    <a:gd name="connsiteY4" fmla="*/ 295220 h 325590"/>
                    <a:gd name="connsiteX5" fmla="*/ 238725 w 278943"/>
                    <a:gd name="connsiteY5" fmla="*/ 105330 h 325590"/>
                    <a:gd name="connsiteX6" fmla="*/ 212022 w 278943"/>
                    <a:gd name="connsiteY6" fmla="*/ 123132 h 325590"/>
                    <a:gd name="connsiteX7" fmla="*/ 220923 w 278943"/>
                    <a:gd name="connsiteY7" fmla="*/ 194341 h 325590"/>
                    <a:gd name="connsiteX8" fmla="*/ 131912 w 278943"/>
                    <a:gd name="connsiteY8" fmla="*/ 22253 h 325590"/>
                    <a:gd name="connsiteX9" fmla="*/ 99275 w 278943"/>
                    <a:gd name="connsiteY9" fmla="*/ 13352 h 325590"/>
                    <a:gd name="connsiteX10" fmla="*/ 114110 w 278943"/>
                    <a:gd name="connsiteY10" fmla="*/ 57857 h 325590"/>
                    <a:gd name="connsiteX11" fmla="*/ 137847 w 278943"/>
                    <a:gd name="connsiteY11" fmla="*/ 114231 h 325590"/>
                    <a:gd name="connsiteX12" fmla="*/ 87407 w 278943"/>
                    <a:gd name="connsiteY12" fmla="*/ 48956 h 325590"/>
                    <a:gd name="connsiteX13" fmla="*/ 48836 w 278943"/>
                    <a:gd name="connsiteY13" fmla="*/ 4451 h 325590"/>
                    <a:gd name="connsiteX14" fmla="*/ 19165 w 278943"/>
                    <a:gd name="connsiteY14" fmla="*/ 4451 h 325590"/>
                    <a:gd name="connsiteX15" fmla="*/ 16198 w 278943"/>
                    <a:gd name="connsiteY15" fmla="*/ 34121 h 325590"/>
                    <a:gd name="connsiteX16" fmla="*/ 13231 w 278943"/>
                    <a:gd name="connsiteY16" fmla="*/ 34121 h 325590"/>
                    <a:gd name="connsiteX17" fmla="*/ 1363 w 278943"/>
                    <a:gd name="connsiteY17" fmla="*/ 37088 h 325590"/>
                    <a:gd name="connsiteX18" fmla="*/ 19165 w 278943"/>
                    <a:gd name="connsiteY18" fmla="*/ 84560 h 325590"/>
                    <a:gd name="connsiteX19" fmla="*/ 36968 w 278943"/>
                    <a:gd name="connsiteY19" fmla="*/ 108297 h 325590"/>
                    <a:gd name="connsiteX20" fmla="*/ 31033 w 278943"/>
                    <a:gd name="connsiteY20" fmla="*/ 105330 h 325590"/>
                    <a:gd name="connsiteX21" fmla="*/ 10264 w 278943"/>
                    <a:gd name="connsiteY21" fmla="*/ 105330 h 325590"/>
                    <a:gd name="connsiteX22" fmla="*/ 57736 w 278943"/>
                    <a:gd name="connsiteY22" fmla="*/ 206209 h 3255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78943" h="325590">
                      <a:moveTo>
                        <a:pt x="57736" y="206209"/>
                      </a:moveTo>
                      <a:cubicBezTo>
                        <a:pt x="81473" y="244780"/>
                        <a:pt x="96308" y="301154"/>
                        <a:pt x="143780" y="318956"/>
                      </a:cubicBezTo>
                      <a:cubicBezTo>
                        <a:pt x="173450" y="330824"/>
                        <a:pt x="235758" y="327857"/>
                        <a:pt x="250593" y="301154"/>
                      </a:cubicBezTo>
                      <a:cubicBezTo>
                        <a:pt x="250593" y="298187"/>
                        <a:pt x="250593" y="298187"/>
                        <a:pt x="250593" y="295220"/>
                      </a:cubicBezTo>
                      <a:cubicBezTo>
                        <a:pt x="250593" y="295220"/>
                        <a:pt x="250593" y="295220"/>
                        <a:pt x="250593" y="295220"/>
                      </a:cubicBezTo>
                      <a:cubicBezTo>
                        <a:pt x="298066" y="238846"/>
                        <a:pt x="280264" y="152802"/>
                        <a:pt x="238725" y="105330"/>
                      </a:cubicBezTo>
                      <a:cubicBezTo>
                        <a:pt x="235758" y="102363"/>
                        <a:pt x="209055" y="108297"/>
                        <a:pt x="212022" y="123132"/>
                      </a:cubicBezTo>
                      <a:cubicBezTo>
                        <a:pt x="220923" y="149835"/>
                        <a:pt x="223890" y="173571"/>
                        <a:pt x="220923" y="194341"/>
                      </a:cubicBezTo>
                      <a:cubicBezTo>
                        <a:pt x="185319" y="137967"/>
                        <a:pt x="176418" y="72692"/>
                        <a:pt x="131912" y="22253"/>
                      </a:cubicBezTo>
                      <a:cubicBezTo>
                        <a:pt x="123011" y="13352"/>
                        <a:pt x="102242" y="-7417"/>
                        <a:pt x="99275" y="13352"/>
                      </a:cubicBezTo>
                      <a:cubicBezTo>
                        <a:pt x="96308" y="25220"/>
                        <a:pt x="111143" y="45989"/>
                        <a:pt x="114110" y="57857"/>
                      </a:cubicBezTo>
                      <a:cubicBezTo>
                        <a:pt x="123011" y="75659"/>
                        <a:pt x="128945" y="96429"/>
                        <a:pt x="137847" y="114231"/>
                      </a:cubicBezTo>
                      <a:cubicBezTo>
                        <a:pt x="120044" y="93462"/>
                        <a:pt x="102242" y="72692"/>
                        <a:pt x="87407" y="48956"/>
                      </a:cubicBezTo>
                      <a:cubicBezTo>
                        <a:pt x="75539" y="34121"/>
                        <a:pt x="63671" y="13352"/>
                        <a:pt x="48836" y="4451"/>
                      </a:cubicBezTo>
                      <a:cubicBezTo>
                        <a:pt x="36968" y="-1484"/>
                        <a:pt x="28066" y="-1484"/>
                        <a:pt x="19165" y="4451"/>
                      </a:cubicBezTo>
                      <a:cubicBezTo>
                        <a:pt x="13231" y="13352"/>
                        <a:pt x="13231" y="22253"/>
                        <a:pt x="16198" y="34121"/>
                      </a:cubicBezTo>
                      <a:cubicBezTo>
                        <a:pt x="16198" y="34121"/>
                        <a:pt x="13231" y="34121"/>
                        <a:pt x="13231" y="34121"/>
                      </a:cubicBezTo>
                      <a:cubicBezTo>
                        <a:pt x="10264" y="34121"/>
                        <a:pt x="1363" y="34121"/>
                        <a:pt x="1363" y="37088"/>
                      </a:cubicBezTo>
                      <a:cubicBezTo>
                        <a:pt x="-4572" y="51923"/>
                        <a:pt x="10264" y="66758"/>
                        <a:pt x="19165" y="84560"/>
                      </a:cubicBezTo>
                      <a:cubicBezTo>
                        <a:pt x="25099" y="93462"/>
                        <a:pt x="31033" y="99396"/>
                        <a:pt x="36968" y="108297"/>
                      </a:cubicBezTo>
                      <a:cubicBezTo>
                        <a:pt x="34000" y="105330"/>
                        <a:pt x="34000" y="105330"/>
                        <a:pt x="31033" y="105330"/>
                      </a:cubicBezTo>
                      <a:cubicBezTo>
                        <a:pt x="22132" y="102363"/>
                        <a:pt x="16198" y="99396"/>
                        <a:pt x="10264" y="105330"/>
                      </a:cubicBezTo>
                      <a:cubicBezTo>
                        <a:pt x="-7538" y="111264"/>
                        <a:pt x="39934" y="182473"/>
                        <a:pt x="57736" y="206209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FE1DCE4D-9EF3-44A9-959B-CE46106519AE}"/>
                    </a:ext>
                  </a:extLst>
                </p:cNvPr>
                <p:cNvSpPr/>
                <p:nvPr/>
              </p:nvSpPr>
              <p:spPr>
                <a:xfrm>
                  <a:off x="13829188" y="3193044"/>
                  <a:ext cx="31845" cy="60569"/>
                </a:xfrm>
                <a:custGeom>
                  <a:avLst/>
                  <a:gdLst>
                    <a:gd name="connsiteX0" fmla="*/ 9848 w 31845"/>
                    <a:gd name="connsiteY0" fmla="*/ 60570 h 60569"/>
                    <a:gd name="connsiteX1" fmla="*/ 3914 w 31845"/>
                    <a:gd name="connsiteY1" fmla="*/ 57603 h 60569"/>
                    <a:gd name="connsiteX2" fmla="*/ 21716 w 31845"/>
                    <a:gd name="connsiteY2" fmla="*/ 1229 h 60569"/>
                    <a:gd name="connsiteX3" fmla="*/ 30617 w 31845"/>
                    <a:gd name="connsiteY3" fmla="*/ 4196 h 60569"/>
                    <a:gd name="connsiteX4" fmla="*/ 27651 w 31845"/>
                    <a:gd name="connsiteY4" fmla="*/ 13097 h 60569"/>
                    <a:gd name="connsiteX5" fmla="*/ 15782 w 31845"/>
                    <a:gd name="connsiteY5" fmla="*/ 57603 h 60569"/>
                    <a:gd name="connsiteX6" fmla="*/ 9848 w 31845"/>
                    <a:gd name="connsiteY6" fmla="*/ 60570 h 60569"/>
                    <a:gd name="connsiteX7" fmla="*/ 9848 w 31845"/>
                    <a:gd name="connsiteY7" fmla="*/ 60570 h 60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845" h="60569">
                      <a:moveTo>
                        <a:pt x="9848" y="60570"/>
                      </a:moveTo>
                      <a:cubicBezTo>
                        <a:pt x="6881" y="60570"/>
                        <a:pt x="6881" y="60570"/>
                        <a:pt x="3914" y="57603"/>
                      </a:cubicBezTo>
                      <a:cubicBezTo>
                        <a:pt x="-7954" y="27932"/>
                        <a:pt x="9848" y="7163"/>
                        <a:pt x="21716" y="1229"/>
                      </a:cubicBezTo>
                      <a:cubicBezTo>
                        <a:pt x="24683" y="-1738"/>
                        <a:pt x="27651" y="1229"/>
                        <a:pt x="30617" y="4196"/>
                      </a:cubicBezTo>
                      <a:cubicBezTo>
                        <a:pt x="33584" y="7163"/>
                        <a:pt x="30617" y="10130"/>
                        <a:pt x="27651" y="13097"/>
                      </a:cubicBezTo>
                      <a:cubicBezTo>
                        <a:pt x="27651" y="13097"/>
                        <a:pt x="3914" y="27932"/>
                        <a:pt x="15782" y="57603"/>
                      </a:cubicBezTo>
                      <a:cubicBezTo>
                        <a:pt x="15782" y="57603"/>
                        <a:pt x="12815" y="60570"/>
                        <a:pt x="9848" y="60570"/>
                      </a:cubicBezTo>
                      <a:cubicBezTo>
                        <a:pt x="9848" y="60570"/>
                        <a:pt x="9848" y="60570"/>
                        <a:pt x="9848" y="60570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52956F03-E573-49C0-9045-FCEAF18BEFCC}"/>
                    </a:ext>
                  </a:extLst>
                </p:cNvPr>
                <p:cNvSpPr/>
                <p:nvPr/>
              </p:nvSpPr>
              <p:spPr>
                <a:xfrm>
                  <a:off x="13668431" y="2985791"/>
                  <a:ext cx="130295" cy="125404"/>
                </a:xfrm>
                <a:custGeom>
                  <a:avLst/>
                  <a:gdLst>
                    <a:gd name="connsiteX0" fmla="*/ 126099 w 130295"/>
                    <a:gd name="connsiteY0" fmla="*/ 125405 h 125404"/>
                    <a:gd name="connsiteX1" fmla="*/ 123132 w 130295"/>
                    <a:gd name="connsiteY1" fmla="*/ 122438 h 125404"/>
                    <a:gd name="connsiteX2" fmla="*/ 28187 w 130295"/>
                    <a:gd name="connsiteY2" fmla="*/ 12657 h 125404"/>
                    <a:gd name="connsiteX3" fmla="*/ 13352 w 130295"/>
                    <a:gd name="connsiteY3" fmla="*/ 18591 h 125404"/>
                    <a:gd name="connsiteX4" fmla="*/ 13352 w 130295"/>
                    <a:gd name="connsiteY4" fmla="*/ 36394 h 125404"/>
                    <a:gd name="connsiteX5" fmla="*/ 10385 w 130295"/>
                    <a:gd name="connsiteY5" fmla="*/ 42328 h 125404"/>
                    <a:gd name="connsiteX6" fmla="*/ 4451 w 130295"/>
                    <a:gd name="connsiteY6" fmla="*/ 39361 h 125404"/>
                    <a:gd name="connsiteX7" fmla="*/ 4451 w 130295"/>
                    <a:gd name="connsiteY7" fmla="*/ 9690 h 125404"/>
                    <a:gd name="connsiteX8" fmla="*/ 28187 w 130295"/>
                    <a:gd name="connsiteY8" fmla="*/ 789 h 125404"/>
                    <a:gd name="connsiteX9" fmla="*/ 102363 w 130295"/>
                    <a:gd name="connsiteY9" fmla="*/ 77932 h 125404"/>
                    <a:gd name="connsiteX10" fmla="*/ 81594 w 130295"/>
                    <a:gd name="connsiteY10" fmla="*/ 21558 h 125404"/>
                    <a:gd name="connsiteX11" fmla="*/ 84561 w 130295"/>
                    <a:gd name="connsiteY11" fmla="*/ 15624 h 125404"/>
                    <a:gd name="connsiteX12" fmla="*/ 90495 w 130295"/>
                    <a:gd name="connsiteY12" fmla="*/ 18591 h 125404"/>
                    <a:gd name="connsiteX13" fmla="*/ 129067 w 130295"/>
                    <a:gd name="connsiteY13" fmla="*/ 119470 h 125404"/>
                    <a:gd name="connsiteX14" fmla="*/ 126099 w 130295"/>
                    <a:gd name="connsiteY14" fmla="*/ 125405 h 125404"/>
                    <a:gd name="connsiteX15" fmla="*/ 126099 w 130295"/>
                    <a:gd name="connsiteY15" fmla="*/ 125405 h 1254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30295" h="125404">
                      <a:moveTo>
                        <a:pt x="126099" y="125405"/>
                      </a:moveTo>
                      <a:cubicBezTo>
                        <a:pt x="123132" y="125405"/>
                        <a:pt x="123132" y="125405"/>
                        <a:pt x="123132" y="122438"/>
                      </a:cubicBezTo>
                      <a:cubicBezTo>
                        <a:pt x="84561" y="69031"/>
                        <a:pt x="37088" y="12657"/>
                        <a:pt x="28187" y="12657"/>
                      </a:cubicBezTo>
                      <a:cubicBezTo>
                        <a:pt x="22253" y="12657"/>
                        <a:pt x="16319" y="12657"/>
                        <a:pt x="13352" y="18591"/>
                      </a:cubicBezTo>
                      <a:cubicBezTo>
                        <a:pt x="10385" y="21558"/>
                        <a:pt x="10385" y="30459"/>
                        <a:pt x="13352" y="36394"/>
                      </a:cubicBezTo>
                      <a:cubicBezTo>
                        <a:pt x="13352" y="39361"/>
                        <a:pt x="13352" y="42328"/>
                        <a:pt x="10385" y="42328"/>
                      </a:cubicBezTo>
                      <a:cubicBezTo>
                        <a:pt x="7418" y="42328"/>
                        <a:pt x="4451" y="42328"/>
                        <a:pt x="4451" y="39361"/>
                      </a:cubicBezTo>
                      <a:cubicBezTo>
                        <a:pt x="-1484" y="27493"/>
                        <a:pt x="-1484" y="18591"/>
                        <a:pt x="4451" y="9690"/>
                      </a:cubicBezTo>
                      <a:cubicBezTo>
                        <a:pt x="10385" y="3756"/>
                        <a:pt x="19286" y="-2178"/>
                        <a:pt x="28187" y="789"/>
                      </a:cubicBezTo>
                      <a:cubicBezTo>
                        <a:pt x="40056" y="789"/>
                        <a:pt x="75659" y="45295"/>
                        <a:pt x="102363" y="77932"/>
                      </a:cubicBezTo>
                      <a:cubicBezTo>
                        <a:pt x="90495" y="48262"/>
                        <a:pt x="81594" y="21558"/>
                        <a:pt x="81594" y="21558"/>
                      </a:cubicBezTo>
                      <a:cubicBezTo>
                        <a:pt x="81594" y="18591"/>
                        <a:pt x="81594" y="15624"/>
                        <a:pt x="84561" y="15624"/>
                      </a:cubicBezTo>
                      <a:cubicBezTo>
                        <a:pt x="87527" y="15624"/>
                        <a:pt x="90495" y="15624"/>
                        <a:pt x="90495" y="18591"/>
                      </a:cubicBezTo>
                      <a:cubicBezTo>
                        <a:pt x="90495" y="18591"/>
                        <a:pt x="111264" y="83866"/>
                        <a:pt x="129067" y="119470"/>
                      </a:cubicBezTo>
                      <a:cubicBezTo>
                        <a:pt x="132033" y="119470"/>
                        <a:pt x="129067" y="122438"/>
                        <a:pt x="126099" y="125405"/>
                      </a:cubicBezTo>
                      <a:cubicBezTo>
                        <a:pt x="126099" y="125405"/>
                        <a:pt x="126099" y="125405"/>
                        <a:pt x="126099" y="125405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D80FDF07-4C79-459B-BEFA-648A1EE94A78}"/>
                  </a:ext>
                </a:extLst>
              </p:cNvPr>
              <p:cNvSpPr/>
              <p:nvPr/>
            </p:nvSpPr>
            <p:spPr>
              <a:xfrm>
                <a:off x="13657484" y="3081525"/>
                <a:ext cx="97733" cy="115714"/>
              </a:xfrm>
              <a:custGeom>
                <a:avLst/>
                <a:gdLst>
                  <a:gd name="connsiteX0" fmla="*/ 48036 w 97733"/>
                  <a:gd name="connsiteY0" fmla="*/ 115714 h 115714"/>
                  <a:gd name="connsiteX1" fmla="*/ 42101 w 97733"/>
                  <a:gd name="connsiteY1" fmla="*/ 112747 h 115714"/>
                  <a:gd name="connsiteX2" fmla="*/ 3530 w 97733"/>
                  <a:gd name="connsiteY2" fmla="*/ 8901 h 115714"/>
                  <a:gd name="connsiteX3" fmla="*/ 18366 w 97733"/>
                  <a:gd name="connsiteY3" fmla="*/ 0 h 115714"/>
                  <a:gd name="connsiteX4" fmla="*/ 42101 w 97733"/>
                  <a:gd name="connsiteY4" fmla="*/ 14835 h 115714"/>
                  <a:gd name="connsiteX5" fmla="*/ 65838 w 97733"/>
                  <a:gd name="connsiteY5" fmla="*/ 47472 h 115714"/>
                  <a:gd name="connsiteX6" fmla="*/ 95509 w 97733"/>
                  <a:gd name="connsiteY6" fmla="*/ 89011 h 115714"/>
                  <a:gd name="connsiteX7" fmla="*/ 95509 w 97733"/>
                  <a:gd name="connsiteY7" fmla="*/ 97912 h 115714"/>
                  <a:gd name="connsiteX8" fmla="*/ 86607 w 97733"/>
                  <a:gd name="connsiteY8" fmla="*/ 97912 h 115714"/>
                  <a:gd name="connsiteX9" fmla="*/ 56937 w 97733"/>
                  <a:gd name="connsiteY9" fmla="*/ 53407 h 115714"/>
                  <a:gd name="connsiteX10" fmla="*/ 36168 w 97733"/>
                  <a:gd name="connsiteY10" fmla="*/ 20769 h 115714"/>
                  <a:gd name="connsiteX11" fmla="*/ 18366 w 97733"/>
                  <a:gd name="connsiteY11" fmla="*/ 8901 h 115714"/>
                  <a:gd name="connsiteX12" fmla="*/ 18366 w 97733"/>
                  <a:gd name="connsiteY12" fmla="*/ 8901 h 115714"/>
                  <a:gd name="connsiteX13" fmla="*/ 12431 w 97733"/>
                  <a:gd name="connsiteY13" fmla="*/ 11868 h 115714"/>
                  <a:gd name="connsiteX14" fmla="*/ 51003 w 97733"/>
                  <a:gd name="connsiteY14" fmla="*/ 100879 h 115714"/>
                  <a:gd name="connsiteX15" fmla="*/ 48036 w 97733"/>
                  <a:gd name="connsiteY15" fmla="*/ 115714 h 115714"/>
                  <a:gd name="connsiteX16" fmla="*/ 48036 w 97733"/>
                  <a:gd name="connsiteY16" fmla="*/ 115714 h 115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7733" h="115714">
                    <a:moveTo>
                      <a:pt x="48036" y="115714"/>
                    </a:moveTo>
                    <a:cubicBezTo>
                      <a:pt x="45069" y="115714"/>
                      <a:pt x="45069" y="115714"/>
                      <a:pt x="42101" y="112747"/>
                    </a:cubicBezTo>
                    <a:cubicBezTo>
                      <a:pt x="24299" y="86044"/>
                      <a:pt x="-11305" y="26703"/>
                      <a:pt x="3530" y="8901"/>
                    </a:cubicBezTo>
                    <a:cubicBezTo>
                      <a:pt x="9464" y="2967"/>
                      <a:pt x="15398" y="0"/>
                      <a:pt x="18366" y="0"/>
                    </a:cubicBezTo>
                    <a:cubicBezTo>
                      <a:pt x="27266" y="0"/>
                      <a:pt x="36168" y="5934"/>
                      <a:pt x="42101" y="14835"/>
                    </a:cubicBezTo>
                    <a:cubicBezTo>
                      <a:pt x="48036" y="20769"/>
                      <a:pt x="53969" y="35604"/>
                      <a:pt x="65838" y="47472"/>
                    </a:cubicBezTo>
                    <a:cubicBezTo>
                      <a:pt x="77706" y="65275"/>
                      <a:pt x="89574" y="83077"/>
                      <a:pt x="95509" y="89011"/>
                    </a:cubicBezTo>
                    <a:cubicBezTo>
                      <a:pt x="98475" y="91978"/>
                      <a:pt x="98475" y="94945"/>
                      <a:pt x="95509" y="97912"/>
                    </a:cubicBezTo>
                    <a:cubicBezTo>
                      <a:pt x="92541" y="100879"/>
                      <a:pt x="89574" y="100879"/>
                      <a:pt x="86607" y="97912"/>
                    </a:cubicBezTo>
                    <a:cubicBezTo>
                      <a:pt x="80673" y="91978"/>
                      <a:pt x="68805" y="71209"/>
                      <a:pt x="56937" y="53407"/>
                    </a:cubicBezTo>
                    <a:cubicBezTo>
                      <a:pt x="48036" y="38571"/>
                      <a:pt x="39134" y="26703"/>
                      <a:pt x="36168" y="20769"/>
                    </a:cubicBezTo>
                    <a:cubicBezTo>
                      <a:pt x="30234" y="11868"/>
                      <a:pt x="24299" y="8901"/>
                      <a:pt x="18366" y="8901"/>
                    </a:cubicBezTo>
                    <a:cubicBezTo>
                      <a:pt x="18366" y="8901"/>
                      <a:pt x="18366" y="8901"/>
                      <a:pt x="18366" y="8901"/>
                    </a:cubicBezTo>
                    <a:cubicBezTo>
                      <a:pt x="15398" y="8901"/>
                      <a:pt x="12431" y="8901"/>
                      <a:pt x="12431" y="11868"/>
                    </a:cubicBezTo>
                    <a:cubicBezTo>
                      <a:pt x="6498" y="17802"/>
                      <a:pt x="24299" y="59341"/>
                      <a:pt x="51003" y="100879"/>
                    </a:cubicBezTo>
                    <a:cubicBezTo>
                      <a:pt x="53969" y="109780"/>
                      <a:pt x="53969" y="112747"/>
                      <a:pt x="48036" y="115714"/>
                    </a:cubicBezTo>
                    <a:cubicBezTo>
                      <a:pt x="51003" y="112747"/>
                      <a:pt x="48036" y="115714"/>
                      <a:pt x="48036" y="115714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6D192C89-C0AB-40F9-B246-9FE28F0925ED}"/>
                  </a:ext>
                </a:extLst>
              </p:cNvPr>
              <p:cNvSpPr/>
              <p:nvPr/>
            </p:nvSpPr>
            <p:spPr>
              <a:xfrm>
                <a:off x="13648209" y="3018446"/>
                <a:ext cx="127777" cy="134288"/>
              </a:xfrm>
              <a:custGeom>
                <a:avLst/>
                <a:gdLst>
                  <a:gd name="connsiteX0" fmla="*/ 122584 w 127777"/>
                  <a:gd name="connsiteY0" fmla="*/ 131321 h 134288"/>
                  <a:gd name="connsiteX1" fmla="*/ 119618 w 127777"/>
                  <a:gd name="connsiteY1" fmla="*/ 128354 h 134288"/>
                  <a:gd name="connsiteX2" fmla="*/ 81046 w 127777"/>
                  <a:gd name="connsiteY2" fmla="*/ 80882 h 134288"/>
                  <a:gd name="connsiteX3" fmla="*/ 75113 w 127777"/>
                  <a:gd name="connsiteY3" fmla="*/ 71981 h 134288"/>
                  <a:gd name="connsiteX4" fmla="*/ 39508 w 127777"/>
                  <a:gd name="connsiteY4" fmla="*/ 18574 h 134288"/>
                  <a:gd name="connsiteX5" fmla="*/ 15772 w 127777"/>
                  <a:gd name="connsiteY5" fmla="*/ 9673 h 134288"/>
                  <a:gd name="connsiteX6" fmla="*/ 12805 w 127777"/>
                  <a:gd name="connsiteY6" fmla="*/ 12640 h 134288"/>
                  <a:gd name="connsiteX7" fmla="*/ 39508 w 127777"/>
                  <a:gd name="connsiteY7" fmla="*/ 66046 h 134288"/>
                  <a:gd name="connsiteX8" fmla="*/ 39508 w 127777"/>
                  <a:gd name="connsiteY8" fmla="*/ 74948 h 134288"/>
                  <a:gd name="connsiteX9" fmla="*/ 30607 w 127777"/>
                  <a:gd name="connsiteY9" fmla="*/ 74948 h 134288"/>
                  <a:gd name="connsiteX10" fmla="*/ 937 w 127777"/>
                  <a:gd name="connsiteY10" fmla="*/ 9673 h 134288"/>
                  <a:gd name="connsiteX11" fmla="*/ 12805 w 127777"/>
                  <a:gd name="connsiteY11" fmla="*/ 772 h 134288"/>
                  <a:gd name="connsiteX12" fmla="*/ 45442 w 127777"/>
                  <a:gd name="connsiteY12" fmla="*/ 12640 h 134288"/>
                  <a:gd name="connsiteX13" fmla="*/ 84013 w 127777"/>
                  <a:gd name="connsiteY13" fmla="*/ 69014 h 134288"/>
                  <a:gd name="connsiteX14" fmla="*/ 89948 w 127777"/>
                  <a:gd name="connsiteY14" fmla="*/ 77915 h 134288"/>
                  <a:gd name="connsiteX15" fmla="*/ 125552 w 127777"/>
                  <a:gd name="connsiteY15" fmla="*/ 125387 h 134288"/>
                  <a:gd name="connsiteX16" fmla="*/ 125552 w 127777"/>
                  <a:gd name="connsiteY16" fmla="*/ 134288 h 134288"/>
                  <a:gd name="connsiteX17" fmla="*/ 122584 w 127777"/>
                  <a:gd name="connsiteY17" fmla="*/ 131321 h 134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7777" h="134288">
                    <a:moveTo>
                      <a:pt x="122584" y="131321"/>
                    </a:moveTo>
                    <a:cubicBezTo>
                      <a:pt x="119618" y="131321"/>
                      <a:pt x="119618" y="131321"/>
                      <a:pt x="119618" y="128354"/>
                    </a:cubicBezTo>
                    <a:cubicBezTo>
                      <a:pt x="119618" y="125387"/>
                      <a:pt x="86981" y="89783"/>
                      <a:pt x="81046" y="80882"/>
                    </a:cubicBezTo>
                    <a:cubicBezTo>
                      <a:pt x="81046" y="77915"/>
                      <a:pt x="78079" y="74948"/>
                      <a:pt x="75113" y="71981"/>
                    </a:cubicBezTo>
                    <a:cubicBezTo>
                      <a:pt x="66211" y="57145"/>
                      <a:pt x="48409" y="24508"/>
                      <a:pt x="39508" y="18574"/>
                    </a:cubicBezTo>
                    <a:cubicBezTo>
                      <a:pt x="33573" y="12640"/>
                      <a:pt x="21706" y="9673"/>
                      <a:pt x="15772" y="9673"/>
                    </a:cubicBezTo>
                    <a:cubicBezTo>
                      <a:pt x="12805" y="9673"/>
                      <a:pt x="12805" y="9673"/>
                      <a:pt x="12805" y="12640"/>
                    </a:cubicBezTo>
                    <a:cubicBezTo>
                      <a:pt x="9838" y="18574"/>
                      <a:pt x="24673" y="42310"/>
                      <a:pt x="39508" y="66046"/>
                    </a:cubicBezTo>
                    <a:cubicBezTo>
                      <a:pt x="42475" y="69014"/>
                      <a:pt x="39508" y="71981"/>
                      <a:pt x="39508" y="74948"/>
                    </a:cubicBezTo>
                    <a:cubicBezTo>
                      <a:pt x="36541" y="77915"/>
                      <a:pt x="33573" y="74948"/>
                      <a:pt x="30607" y="74948"/>
                    </a:cubicBezTo>
                    <a:cubicBezTo>
                      <a:pt x="18738" y="60113"/>
                      <a:pt x="-4998" y="24508"/>
                      <a:pt x="937" y="9673"/>
                    </a:cubicBezTo>
                    <a:cubicBezTo>
                      <a:pt x="3903" y="3739"/>
                      <a:pt x="6870" y="772"/>
                      <a:pt x="12805" y="772"/>
                    </a:cubicBezTo>
                    <a:cubicBezTo>
                      <a:pt x="24673" y="-2195"/>
                      <a:pt x="36541" y="3739"/>
                      <a:pt x="45442" y="12640"/>
                    </a:cubicBezTo>
                    <a:cubicBezTo>
                      <a:pt x="54343" y="21541"/>
                      <a:pt x="69178" y="45277"/>
                      <a:pt x="84013" y="69014"/>
                    </a:cubicBezTo>
                    <a:cubicBezTo>
                      <a:pt x="86981" y="74948"/>
                      <a:pt x="89948" y="77915"/>
                      <a:pt x="89948" y="77915"/>
                    </a:cubicBezTo>
                    <a:cubicBezTo>
                      <a:pt x="92914" y="83849"/>
                      <a:pt x="116651" y="113519"/>
                      <a:pt x="125552" y="125387"/>
                    </a:cubicBezTo>
                    <a:cubicBezTo>
                      <a:pt x="128519" y="128354"/>
                      <a:pt x="128519" y="131321"/>
                      <a:pt x="125552" y="134288"/>
                    </a:cubicBezTo>
                    <a:cubicBezTo>
                      <a:pt x="125552" y="131321"/>
                      <a:pt x="125552" y="131321"/>
                      <a:pt x="122584" y="131321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6" name="图形 1">
              <a:extLst>
                <a:ext uri="{FF2B5EF4-FFF2-40B4-BE49-F238E27FC236}">
                  <a16:creationId xmlns:a16="http://schemas.microsoft.com/office/drawing/2014/main" id="{BA4D518A-EA50-45F2-A01B-5AE1D96C8822}"/>
                </a:ext>
              </a:extLst>
            </p:cNvPr>
            <p:cNvGrpSpPr/>
            <p:nvPr/>
          </p:nvGrpSpPr>
          <p:grpSpPr>
            <a:xfrm>
              <a:off x="14913101" y="2135042"/>
              <a:ext cx="320440" cy="398949"/>
              <a:chOff x="14913101" y="2135042"/>
              <a:chExt cx="320440" cy="398949"/>
            </a:xfrm>
          </p:grpSpPr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ED1C9BEF-E2D3-4826-BEDF-5F205C93139D}"/>
                  </a:ext>
                </a:extLst>
              </p:cNvPr>
              <p:cNvSpPr/>
              <p:nvPr/>
            </p:nvSpPr>
            <p:spPr>
              <a:xfrm>
                <a:off x="14913101" y="2135042"/>
                <a:ext cx="320440" cy="398949"/>
              </a:xfrm>
              <a:custGeom>
                <a:avLst/>
                <a:gdLst>
                  <a:gd name="connsiteX0" fmla="*/ 0 w 320440"/>
                  <a:gd name="connsiteY0" fmla="*/ 376813 h 398949"/>
                  <a:gd name="connsiteX1" fmla="*/ 148352 w 320440"/>
                  <a:gd name="connsiteY1" fmla="*/ 0 h 398949"/>
                  <a:gd name="connsiteX2" fmla="*/ 320440 w 320440"/>
                  <a:gd name="connsiteY2" fmla="*/ 350110 h 398949"/>
                  <a:gd name="connsiteX3" fmla="*/ 0 w 320440"/>
                  <a:gd name="connsiteY3" fmla="*/ 376813 h 398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0440" h="398949">
                    <a:moveTo>
                      <a:pt x="0" y="376813"/>
                    </a:moveTo>
                    <a:lnTo>
                      <a:pt x="148352" y="0"/>
                    </a:lnTo>
                    <a:lnTo>
                      <a:pt x="320440" y="350110"/>
                    </a:lnTo>
                    <a:cubicBezTo>
                      <a:pt x="320440" y="350110"/>
                      <a:pt x="216594" y="439121"/>
                      <a:pt x="0" y="376813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D932375B-29E8-497A-97A2-5CA7086A98C4}"/>
                  </a:ext>
                </a:extLst>
              </p:cNvPr>
              <p:cNvSpPr/>
              <p:nvPr/>
            </p:nvSpPr>
            <p:spPr>
              <a:xfrm>
                <a:off x="15061306" y="2274263"/>
                <a:ext cx="29964" cy="30107"/>
              </a:xfrm>
              <a:custGeom>
                <a:avLst/>
                <a:gdLst>
                  <a:gd name="connsiteX0" fmla="*/ 17949 w 29964"/>
                  <a:gd name="connsiteY0" fmla="*/ 229 h 30107"/>
                  <a:gd name="connsiteX1" fmla="*/ 12015 w 29964"/>
                  <a:gd name="connsiteY1" fmla="*/ 29900 h 30107"/>
                  <a:gd name="connsiteX2" fmla="*/ 17949 w 29964"/>
                  <a:gd name="connsiteY2" fmla="*/ 229 h 30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964" h="30107">
                    <a:moveTo>
                      <a:pt x="17949" y="229"/>
                    </a:moveTo>
                    <a:cubicBezTo>
                      <a:pt x="147" y="-2738"/>
                      <a:pt x="-8754" y="23966"/>
                      <a:pt x="12015" y="29900"/>
                    </a:cubicBezTo>
                    <a:cubicBezTo>
                      <a:pt x="29817" y="32867"/>
                      <a:pt x="38719" y="3196"/>
                      <a:pt x="17949" y="229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FD7C6A94-3458-4C01-B066-836AFEFF7B59}"/>
                  </a:ext>
                </a:extLst>
              </p:cNvPr>
              <p:cNvSpPr/>
              <p:nvPr/>
            </p:nvSpPr>
            <p:spPr>
              <a:xfrm>
                <a:off x="15022735" y="2336571"/>
                <a:ext cx="28698" cy="30107"/>
              </a:xfrm>
              <a:custGeom>
                <a:avLst/>
                <a:gdLst>
                  <a:gd name="connsiteX0" fmla="*/ 17949 w 28698"/>
                  <a:gd name="connsiteY0" fmla="*/ 229 h 30107"/>
                  <a:gd name="connsiteX1" fmla="*/ 12015 w 28698"/>
                  <a:gd name="connsiteY1" fmla="*/ 29900 h 30107"/>
                  <a:gd name="connsiteX2" fmla="*/ 17949 w 28698"/>
                  <a:gd name="connsiteY2" fmla="*/ 229 h 30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698" h="30107">
                    <a:moveTo>
                      <a:pt x="17949" y="229"/>
                    </a:moveTo>
                    <a:cubicBezTo>
                      <a:pt x="147" y="-2738"/>
                      <a:pt x="-8754" y="23966"/>
                      <a:pt x="12015" y="29900"/>
                    </a:cubicBezTo>
                    <a:cubicBezTo>
                      <a:pt x="29817" y="32867"/>
                      <a:pt x="35752" y="3196"/>
                      <a:pt x="17949" y="229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933517E9-D62A-487F-AD85-408C5BF46158}"/>
                  </a:ext>
                </a:extLst>
              </p:cNvPr>
              <p:cNvSpPr/>
              <p:nvPr/>
            </p:nvSpPr>
            <p:spPr>
              <a:xfrm>
                <a:off x="15111746" y="2389977"/>
                <a:ext cx="29963" cy="30107"/>
              </a:xfrm>
              <a:custGeom>
                <a:avLst/>
                <a:gdLst>
                  <a:gd name="connsiteX0" fmla="*/ 17949 w 29963"/>
                  <a:gd name="connsiteY0" fmla="*/ 229 h 30107"/>
                  <a:gd name="connsiteX1" fmla="*/ 12015 w 29963"/>
                  <a:gd name="connsiteY1" fmla="*/ 29900 h 30107"/>
                  <a:gd name="connsiteX2" fmla="*/ 17949 w 29963"/>
                  <a:gd name="connsiteY2" fmla="*/ 229 h 30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963" h="30107">
                    <a:moveTo>
                      <a:pt x="17949" y="229"/>
                    </a:moveTo>
                    <a:cubicBezTo>
                      <a:pt x="147" y="-2738"/>
                      <a:pt x="-8754" y="23966"/>
                      <a:pt x="12015" y="29900"/>
                    </a:cubicBezTo>
                    <a:cubicBezTo>
                      <a:pt x="29817" y="32867"/>
                      <a:pt x="38718" y="3196"/>
                      <a:pt x="17949" y="229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9849A53C-7DB2-44A2-9DA9-7BD756F0B044}"/>
                  </a:ext>
                </a:extLst>
              </p:cNvPr>
              <p:cNvSpPr/>
              <p:nvPr/>
            </p:nvSpPr>
            <p:spPr>
              <a:xfrm>
                <a:off x="14996032" y="2419648"/>
                <a:ext cx="28698" cy="30107"/>
              </a:xfrm>
              <a:custGeom>
                <a:avLst/>
                <a:gdLst>
                  <a:gd name="connsiteX0" fmla="*/ 17950 w 28698"/>
                  <a:gd name="connsiteY0" fmla="*/ 229 h 30107"/>
                  <a:gd name="connsiteX1" fmla="*/ 12015 w 28698"/>
                  <a:gd name="connsiteY1" fmla="*/ 29900 h 30107"/>
                  <a:gd name="connsiteX2" fmla="*/ 17950 w 28698"/>
                  <a:gd name="connsiteY2" fmla="*/ 229 h 30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698" h="30107">
                    <a:moveTo>
                      <a:pt x="17950" y="229"/>
                    </a:moveTo>
                    <a:cubicBezTo>
                      <a:pt x="147" y="-2738"/>
                      <a:pt x="-8755" y="23966"/>
                      <a:pt x="12015" y="29900"/>
                    </a:cubicBezTo>
                    <a:cubicBezTo>
                      <a:pt x="29817" y="32867"/>
                      <a:pt x="35751" y="3196"/>
                      <a:pt x="17950" y="229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99C90354-3D0C-4DC4-9722-B2DAA3744781}"/>
                  </a:ext>
                </a:extLst>
              </p:cNvPr>
              <p:cNvSpPr/>
              <p:nvPr/>
            </p:nvSpPr>
            <p:spPr>
              <a:xfrm>
                <a:off x="15067241" y="2470087"/>
                <a:ext cx="28698" cy="30679"/>
              </a:xfrm>
              <a:custGeom>
                <a:avLst/>
                <a:gdLst>
                  <a:gd name="connsiteX0" fmla="*/ 17949 w 28698"/>
                  <a:gd name="connsiteY0" fmla="*/ 229 h 30679"/>
                  <a:gd name="connsiteX1" fmla="*/ 12015 w 28698"/>
                  <a:gd name="connsiteY1" fmla="*/ 29900 h 30679"/>
                  <a:gd name="connsiteX2" fmla="*/ 17949 w 28698"/>
                  <a:gd name="connsiteY2" fmla="*/ 229 h 30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698" h="30679">
                    <a:moveTo>
                      <a:pt x="17949" y="229"/>
                    </a:moveTo>
                    <a:cubicBezTo>
                      <a:pt x="147" y="-2738"/>
                      <a:pt x="-8754" y="23966"/>
                      <a:pt x="12015" y="29900"/>
                    </a:cubicBezTo>
                    <a:cubicBezTo>
                      <a:pt x="29817" y="35834"/>
                      <a:pt x="35752" y="6163"/>
                      <a:pt x="17949" y="229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DA06BD14-81CD-416D-B1C1-88112C67CCB4}"/>
                </a:ext>
              </a:extLst>
            </p:cNvPr>
            <p:cNvSpPr/>
            <p:nvPr/>
          </p:nvSpPr>
          <p:spPr>
            <a:xfrm>
              <a:off x="16329529" y="2338991"/>
              <a:ext cx="233984" cy="291545"/>
            </a:xfrm>
            <a:custGeom>
              <a:avLst/>
              <a:gdLst>
                <a:gd name="connsiteX0" fmla="*/ 227310 w 233984"/>
                <a:gd name="connsiteY0" fmla="*/ 160996 h 291545"/>
                <a:gd name="connsiteX1" fmla="*/ 233243 w 233984"/>
                <a:gd name="connsiteY1" fmla="*/ 107589 h 291545"/>
                <a:gd name="connsiteX2" fmla="*/ 230276 w 233984"/>
                <a:gd name="connsiteY2" fmla="*/ 71985 h 291545"/>
                <a:gd name="connsiteX3" fmla="*/ 188738 w 233984"/>
                <a:gd name="connsiteY3" fmla="*/ 36380 h 291545"/>
                <a:gd name="connsiteX4" fmla="*/ 156100 w 233984"/>
                <a:gd name="connsiteY4" fmla="*/ 776 h 291545"/>
                <a:gd name="connsiteX5" fmla="*/ 7748 w 233984"/>
                <a:gd name="connsiteY5" fmla="*/ 229238 h 291545"/>
                <a:gd name="connsiteX6" fmla="*/ 108628 w 233984"/>
                <a:gd name="connsiteY6" fmla="*/ 291545 h 291545"/>
                <a:gd name="connsiteX7" fmla="*/ 209507 w 233984"/>
                <a:gd name="connsiteY7" fmla="*/ 199567 h 291545"/>
                <a:gd name="connsiteX8" fmla="*/ 227310 w 233984"/>
                <a:gd name="connsiteY8" fmla="*/ 160996 h 29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3984" h="291545">
                  <a:moveTo>
                    <a:pt x="227310" y="160996"/>
                  </a:moveTo>
                  <a:cubicBezTo>
                    <a:pt x="224342" y="152095"/>
                    <a:pt x="233243" y="125391"/>
                    <a:pt x="233243" y="107589"/>
                  </a:cubicBezTo>
                  <a:cubicBezTo>
                    <a:pt x="233243" y="104622"/>
                    <a:pt x="236210" y="80886"/>
                    <a:pt x="230276" y="71985"/>
                  </a:cubicBezTo>
                  <a:cubicBezTo>
                    <a:pt x="224342" y="60117"/>
                    <a:pt x="176870" y="51216"/>
                    <a:pt x="188738" y="36380"/>
                  </a:cubicBezTo>
                  <a:cubicBezTo>
                    <a:pt x="194672" y="24512"/>
                    <a:pt x="165002" y="-5158"/>
                    <a:pt x="156100" y="776"/>
                  </a:cubicBezTo>
                  <a:cubicBezTo>
                    <a:pt x="102694" y="36380"/>
                    <a:pt x="-33790" y="116490"/>
                    <a:pt x="7748" y="229238"/>
                  </a:cubicBezTo>
                  <a:cubicBezTo>
                    <a:pt x="16650" y="250007"/>
                    <a:pt x="75991" y="291545"/>
                    <a:pt x="108628" y="291545"/>
                  </a:cubicBezTo>
                  <a:cubicBezTo>
                    <a:pt x="156100" y="291545"/>
                    <a:pt x="176870" y="229238"/>
                    <a:pt x="209507" y="199567"/>
                  </a:cubicBezTo>
                  <a:cubicBezTo>
                    <a:pt x="227310" y="181765"/>
                    <a:pt x="233243" y="175831"/>
                    <a:pt x="227310" y="160996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8" name="图形 1">
              <a:extLst>
                <a:ext uri="{FF2B5EF4-FFF2-40B4-BE49-F238E27FC236}">
                  <a16:creationId xmlns:a16="http://schemas.microsoft.com/office/drawing/2014/main" id="{E7B3C473-3541-4ED7-86A8-C523FD47EB36}"/>
                </a:ext>
              </a:extLst>
            </p:cNvPr>
            <p:cNvGrpSpPr/>
            <p:nvPr/>
          </p:nvGrpSpPr>
          <p:grpSpPr>
            <a:xfrm>
              <a:off x="16340244" y="1823503"/>
              <a:ext cx="308571" cy="821868"/>
              <a:chOff x="16340244" y="1823503"/>
              <a:chExt cx="308571" cy="821868"/>
            </a:xfrm>
          </p:grpSpPr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6B84A2FD-9DFD-4371-A414-3E6118D6FDB0}"/>
                  </a:ext>
                </a:extLst>
              </p:cNvPr>
              <p:cNvSpPr/>
              <p:nvPr/>
            </p:nvSpPr>
            <p:spPr>
              <a:xfrm>
                <a:off x="16464860" y="2247789"/>
                <a:ext cx="59340" cy="367912"/>
              </a:xfrm>
              <a:custGeom>
                <a:avLst/>
                <a:gdLst>
                  <a:gd name="connsiteX0" fmla="*/ 0 w 59340"/>
                  <a:gd name="connsiteY0" fmla="*/ 0 h 367912"/>
                  <a:gd name="connsiteX1" fmla="*/ 59341 w 59340"/>
                  <a:gd name="connsiteY1" fmla="*/ 0 h 367912"/>
                  <a:gd name="connsiteX2" fmla="*/ 59341 w 59340"/>
                  <a:gd name="connsiteY2" fmla="*/ 367912 h 367912"/>
                  <a:gd name="connsiteX3" fmla="*/ 0 w 59340"/>
                  <a:gd name="connsiteY3" fmla="*/ 367912 h 36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340" h="367912">
                    <a:moveTo>
                      <a:pt x="0" y="0"/>
                    </a:moveTo>
                    <a:lnTo>
                      <a:pt x="59341" y="0"/>
                    </a:lnTo>
                    <a:lnTo>
                      <a:pt x="59341" y="367912"/>
                    </a:lnTo>
                    <a:lnTo>
                      <a:pt x="0" y="367912"/>
                    </a:ln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AF71D74E-8DC5-4F01-9C4E-38B2E8E8927A}"/>
                  </a:ext>
                </a:extLst>
              </p:cNvPr>
              <p:cNvSpPr/>
              <p:nvPr/>
            </p:nvSpPr>
            <p:spPr>
              <a:xfrm>
                <a:off x="16340244" y="2586031"/>
                <a:ext cx="308571" cy="59340"/>
              </a:xfrm>
              <a:custGeom>
                <a:avLst/>
                <a:gdLst>
                  <a:gd name="connsiteX0" fmla="*/ 308571 w 308571"/>
                  <a:gd name="connsiteY0" fmla="*/ 29670 h 59340"/>
                  <a:gd name="connsiteX1" fmla="*/ 154286 w 308571"/>
                  <a:gd name="connsiteY1" fmla="*/ 59341 h 59340"/>
                  <a:gd name="connsiteX2" fmla="*/ 0 w 308571"/>
                  <a:gd name="connsiteY2" fmla="*/ 29670 h 59340"/>
                  <a:gd name="connsiteX3" fmla="*/ 154286 w 308571"/>
                  <a:gd name="connsiteY3" fmla="*/ 0 h 59340"/>
                  <a:gd name="connsiteX4" fmla="*/ 308571 w 308571"/>
                  <a:gd name="connsiteY4" fmla="*/ 29670 h 59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1" h="59340">
                    <a:moveTo>
                      <a:pt x="308571" y="29670"/>
                    </a:moveTo>
                    <a:cubicBezTo>
                      <a:pt x="308571" y="44505"/>
                      <a:pt x="240330" y="59341"/>
                      <a:pt x="154286" y="59341"/>
                    </a:cubicBezTo>
                    <a:cubicBezTo>
                      <a:pt x="68242" y="59341"/>
                      <a:pt x="0" y="47473"/>
                      <a:pt x="0" y="29670"/>
                    </a:cubicBezTo>
                    <a:cubicBezTo>
                      <a:pt x="0" y="14835"/>
                      <a:pt x="68242" y="0"/>
                      <a:pt x="154286" y="0"/>
                    </a:cubicBezTo>
                    <a:cubicBezTo>
                      <a:pt x="237363" y="2967"/>
                      <a:pt x="308571" y="14835"/>
                      <a:pt x="308571" y="2967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F8A722F6-173F-4A48-9F97-84DFC1B2029F}"/>
                  </a:ext>
                </a:extLst>
              </p:cNvPr>
              <p:cNvSpPr/>
              <p:nvPr/>
            </p:nvSpPr>
            <p:spPr>
              <a:xfrm>
                <a:off x="16349146" y="1853174"/>
                <a:ext cx="290768" cy="450988"/>
              </a:xfrm>
              <a:custGeom>
                <a:avLst/>
                <a:gdLst>
                  <a:gd name="connsiteX0" fmla="*/ 145384 w 290768"/>
                  <a:gd name="connsiteY0" fmla="*/ 450989 h 450988"/>
                  <a:gd name="connsiteX1" fmla="*/ 145384 w 290768"/>
                  <a:gd name="connsiteY1" fmla="*/ 450989 h 450988"/>
                  <a:gd name="connsiteX2" fmla="*/ 0 w 290768"/>
                  <a:gd name="connsiteY2" fmla="*/ 305604 h 450988"/>
                  <a:gd name="connsiteX3" fmla="*/ 0 w 290768"/>
                  <a:gd name="connsiteY3" fmla="*/ 0 h 450988"/>
                  <a:gd name="connsiteX4" fmla="*/ 290769 w 290768"/>
                  <a:gd name="connsiteY4" fmla="*/ 0 h 450988"/>
                  <a:gd name="connsiteX5" fmla="*/ 290769 w 290768"/>
                  <a:gd name="connsiteY5" fmla="*/ 308571 h 450988"/>
                  <a:gd name="connsiteX6" fmla="*/ 145384 w 290768"/>
                  <a:gd name="connsiteY6" fmla="*/ 450989 h 450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0768" h="450988">
                    <a:moveTo>
                      <a:pt x="145384" y="450989"/>
                    </a:moveTo>
                    <a:lnTo>
                      <a:pt x="145384" y="450989"/>
                    </a:lnTo>
                    <a:cubicBezTo>
                      <a:pt x="65274" y="450989"/>
                      <a:pt x="0" y="385714"/>
                      <a:pt x="0" y="305604"/>
                    </a:cubicBezTo>
                    <a:lnTo>
                      <a:pt x="0" y="0"/>
                    </a:lnTo>
                    <a:lnTo>
                      <a:pt x="290769" y="0"/>
                    </a:lnTo>
                    <a:lnTo>
                      <a:pt x="290769" y="308571"/>
                    </a:lnTo>
                    <a:cubicBezTo>
                      <a:pt x="287802" y="388681"/>
                      <a:pt x="225494" y="450989"/>
                      <a:pt x="145384" y="450989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2B808498-FDDE-4B48-9883-9CF1D05A4FFF}"/>
                  </a:ext>
                </a:extLst>
              </p:cNvPr>
              <p:cNvSpPr/>
              <p:nvPr/>
            </p:nvSpPr>
            <p:spPr>
              <a:xfrm>
                <a:off x="16372882" y="2043064"/>
                <a:ext cx="246263" cy="234395"/>
              </a:xfrm>
              <a:custGeom>
                <a:avLst/>
                <a:gdLst>
                  <a:gd name="connsiteX0" fmla="*/ 121649 w 246263"/>
                  <a:gd name="connsiteY0" fmla="*/ 234396 h 234395"/>
                  <a:gd name="connsiteX1" fmla="*/ 121649 w 246263"/>
                  <a:gd name="connsiteY1" fmla="*/ 234396 h 234395"/>
                  <a:gd name="connsiteX2" fmla="*/ 0 w 246263"/>
                  <a:gd name="connsiteY2" fmla="*/ 112747 h 234395"/>
                  <a:gd name="connsiteX3" fmla="*/ 0 w 246263"/>
                  <a:gd name="connsiteY3" fmla="*/ 0 h 234395"/>
                  <a:gd name="connsiteX4" fmla="*/ 246263 w 246263"/>
                  <a:gd name="connsiteY4" fmla="*/ 0 h 234395"/>
                  <a:gd name="connsiteX5" fmla="*/ 246263 w 246263"/>
                  <a:gd name="connsiteY5" fmla="*/ 112747 h 234395"/>
                  <a:gd name="connsiteX6" fmla="*/ 121649 w 246263"/>
                  <a:gd name="connsiteY6" fmla="*/ 234396 h 234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6263" h="234395">
                    <a:moveTo>
                      <a:pt x="121649" y="234396"/>
                    </a:moveTo>
                    <a:lnTo>
                      <a:pt x="121649" y="234396"/>
                    </a:lnTo>
                    <a:cubicBezTo>
                      <a:pt x="53406" y="234396"/>
                      <a:pt x="0" y="180989"/>
                      <a:pt x="0" y="112747"/>
                    </a:cubicBezTo>
                    <a:lnTo>
                      <a:pt x="0" y="0"/>
                    </a:lnTo>
                    <a:lnTo>
                      <a:pt x="246263" y="0"/>
                    </a:lnTo>
                    <a:lnTo>
                      <a:pt x="246263" y="112747"/>
                    </a:lnTo>
                    <a:cubicBezTo>
                      <a:pt x="243297" y="180989"/>
                      <a:pt x="186923" y="234396"/>
                      <a:pt x="121649" y="234396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FF46B84B-9FEE-43CB-B73C-4A325A7B73FA}"/>
                  </a:ext>
                </a:extLst>
              </p:cNvPr>
              <p:cNvSpPr/>
              <p:nvPr/>
            </p:nvSpPr>
            <p:spPr>
              <a:xfrm>
                <a:off x="16346179" y="1823503"/>
                <a:ext cx="290768" cy="59340"/>
              </a:xfrm>
              <a:custGeom>
                <a:avLst/>
                <a:gdLst>
                  <a:gd name="connsiteX0" fmla="*/ 290769 w 290768"/>
                  <a:gd name="connsiteY0" fmla="*/ 29670 h 59340"/>
                  <a:gd name="connsiteX1" fmla="*/ 145384 w 290768"/>
                  <a:gd name="connsiteY1" fmla="*/ 59341 h 59340"/>
                  <a:gd name="connsiteX2" fmla="*/ 0 w 290768"/>
                  <a:gd name="connsiteY2" fmla="*/ 29670 h 59340"/>
                  <a:gd name="connsiteX3" fmla="*/ 145384 w 290768"/>
                  <a:gd name="connsiteY3" fmla="*/ 0 h 59340"/>
                  <a:gd name="connsiteX4" fmla="*/ 290769 w 290768"/>
                  <a:gd name="connsiteY4" fmla="*/ 29670 h 59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768" h="59340">
                    <a:moveTo>
                      <a:pt x="290769" y="29670"/>
                    </a:moveTo>
                    <a:cubicBezTo>
                      <a:pt x="290769" y="44505"/>
                      <a:pt x="225495" y="59341"/>
                      <a:pt x="145384" y="59341"/>
                    </a:cubicBezTo>
                    <a:cubicBezTo>
                      <a:pt x="65274" y="59341"/>
                      <a:pt x="0" y="47473"/>
                      <a:pt x="0" y="29670"/>
                    </a:cubicBezTo>
                    <a:cubicBezTo>
                      <a:pt x="0" y="14835"/>
                      <a:pt x="65274" y="0"/>
                      <a:pt x="145384" y="0"/>
                    </a:cubicBezTo>
                    <a:cubicBezTo>
                      <a:pt x="228461" y="0"/>
                      <a:pt x="290769" y="11868"/>
                      <a:pt x="290769" y="29670"/>
                    </a:cubicBezTo>
                    <a:close/>
                  </a:path>
                </a:pathLst>
              </a:custGeom>
              <a:solidFill>
                <a:srgbClr val="E5CDA5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9" name="图形 1">
              <a:extLst>
                <a:ext uri="{FF2B5EF4-FFF2-40B4-BE49-F238E27FC236}">
                  <a16:creationId xmlns:a16="http://schemas.microsoft.com/office/drawing/2014/main" id="{51B6E055-4E3D-408C-A7F8-D14CA0029615}"/>
                </a:ext>
              </a:extLst>
            </p:cNvPr>
            <p:cNvGrpSpPr/>
            <p:nvPr/>
          </p:nvGrpSpPr>
          <p:grpSpPr>
            <a:xfrm>
              <a:off x="16421096" y="2321737"/>
              <a:ext cx="165412" cy="226609"/>
              <a:chOff x="16421096" y="2321737"/>
              <a:chExt cx="165412" cy="226609"/>
            </a:xfrm>
          </p:grpSpPr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7B8688D6-9042-4DBD-B930-7BF6D6E0077C}"/>
                  </a:ext>
                </a:extLst>
              </p:cNvPr>
              <p:cNvSpPr/>
              <p:nvPr/>
            </p:nvSpPr>
            <p:spPr>
              <a:xfrm>
                <a:off x="16425878" y="2321737"/>
                <a:ext cx="143396" cy="112118"/>
              </a:xfrm>
              <a:custGeom>
                <a:avLst/>
                <a:gdLst>
                  <a:gd name="connsiteX0" fmla="*/ 122059 w 143396"/>
                  <a:gd name="connsiteY0" fmla="*/ 228 h 112118"/>
                  <a:gd name="connsiteX1" fmla="*/ 33048 w 143396"/>
                  <a:gd name="connsiteY1" fmla="*/ 41766 h 112118"/>
                  <a:gd name="connsiteX2" fmla="*/ 18212 w 143396"/>
                  <a:gd name="connsiteY2" fmla="*/ 47700 h 112118"/>
                  <a:gd name="connsiteX3" fmla="*/ 6345 w 143396"/>
                  <a:gd name="connsiteY3" fmla="*/ 59568 h 112118"/>
                  <a:gd name="connsiteX4" fmla="*/ 9312 w 143396"/>
                  <a:gd name="connsiteY4" fmla="*/ 107041 h 112118"/>
                  <a:gd name="connsiteX5" fmla="*/ 53817 w 143396"/>
                  <a:gd name="connsiteY5" fmla="*/ 101107 h 112118"/>
                  <a:gd name="connsiteX6" fmla="*/ 110191 w 143396"/>
                  <a:gd name="connsiteY6" fmla="*/ 68469 h 112118"/>
                  <a:gd name="connsiteX7" fmla="*/ 142828 w 143396"/>
                  <a:gd name="connsiteY7" fmla="*/ 32865 h 112118"/>
                  <a:gd name="connsiteX8" fmla="*/ 122059 w 143396"/>
                  <a:gd name="connsiteY8" fmla="*/ 228 h 11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396" h="112118">
                    <a:moveTo>
                      <a:pt x="122059" y="228"/>
                    </a:moveTo>
                    <a:cubicBezTo>
                      <a:pt x="92388" y="-2739"/>
                      <a:pt x="62718" y="23964"/>
                      <a:pt x="33048" y="41766"/>
                    </a:cubicBezTo>
                    <a:cubicBezTo>
                      <a:pt x="30080" y="44733"/>
                      <a:pt x="21180" y="44733"/>
                      <a:pt x="18212" y="47700"/>
                    </a:cubicBezTo>
                    <a:cubicBezTo>
                      <a:pt x="15245" y="50667"/>
                      <a:pt x="9312" y="53634"/>
                      <a:pt x="6345" y="59568"/>
                    </a:cubicBezTo>
                    <a:cubicBezTo>
                      <a:pt x="-2556" y="74403"/>
                      <a:pt x="-2556" y="95173"/>
                      <a:pt x="9312" y="107041"/>
                    </a:cubicBezTo>
                    <a:cubicBezTo>
                      <a:pt x="21180" y="118909"/>
                      <a:pt x="41949" y="107041"/>
                      <a:pt x="53817" y="101107"/>
                    </a:cubicBezTo>
                    <a:cubicBezTo>
                      <a:pt x="71620" y="92206"/>
                      <a:pt x="92388" y="80338"/>
                      <a:pt x="110191" y="68469"/>
                    </a:cubicBezTo>
                    <a:cubicBezTo>
                      <a:pt x="122059" y="59568"/>
                      <a:pt x="139861" y="50667"/>
                      <a:pt x="142828" y="32865"/>
                    </a:cubicBezTo>
                    <a:cubicBezTo>
                      <a:pt x="145795" y="15063"/>
                      <a:pt x="136894" y="228"/>
                      <a:pt x="122059" y="228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1AD73867-8136-4367-B588-956DFDCBC89E}"/>
                  </a:ext>
                </a:extLst>
              </p:cNvPr>
              <p:cNvSpPr/>
              <p:nvPr/>
            </p:nvSpPr>
            <p:spPr>
              <a:xfrm>
                <a:off x="16428845" y="2373863"/>
                <a:ext cx="143397" cy="113400"/>
              </a:xfrm>
              <a:custGeom>
                <a:avLst/>
                <a:gdLst>
                  <a:gd name="connsiteX0" fmla="*/ 122059 w 143397"/>
                  <a:gd name="connsiteY0" fmla="*/ 1509 h 113400"/>
                  <a:gd name="connsiteX1" fmla="*/ 24148 w 143397"/>
                  <a:gd name="connsiteY1" fmla="*/ 43047 h 113400"/>
                  <a:gd name="connsiteX2" fmla="*/ 18213 w 143397"/>
                  <a:gd name="connsiteY2" fmla="*/ 48981 h 113400"/>
                  <a:gd name="connsiteX3" fmla="*/ 6345 w 143397"/>
                  <a:gd name="connsiteY3" fmla="*/ 60849 h 113400"/>
                  <a:gd name="connsiteX4" fmla="*/ 9312 w 143397"/>
                  <a:gd name="connsiteY4" fmla="*/ 108322 h 113400"/>
                  <a:gd name="connsiteX5" fmla="*/ 53818 w 143397"/>
                  <a:gd name="connsiteY5" fmla="*/ 102388 h 113400"/>
                  <a:gd name="connsiteX6" fmla="*/ 110191 w 143397"/>
                  <a:gd name="connsiteY6" fmla="*/ 69751 h 113400"/>
                  <a:gd name="connsiteX7" fmla="*/ 142829 w 143397"/>
                  <a:gd name="connsiteY7" fmla="*/ 34146 h 113400"/>
                  <a:gd name="connsiteX8" fmla="*/ 122059 w 143397"/>
                  <a:gd name="connsiteY8" fmla="*/ 1509 h 11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397" h="113400">
                    <a:moveTo>
                      <a:pt x="122059" y="1509"/>
                    </a:moveTo>
                    <a:cubicBezTo>
                      <a:pt x="86455" y="-7392"/>
                      <a:pt x="56784" y="25245"/>
                      <a:pt x="24148" y="43047"/>
                    </a:cubicBezTo>
                    <a:cubicBezTo>
                      <a:pt x="21180" y="46014"/>
                      <a:pt x="18213" y="46014"/>
                      <a:pt x="18213" y="48981"/>
                    </a:cubicBezTo>
                    <a:cubicBezTo>
                      <a:pt x="15246" y="51948"/>
                      <a:pt x="9312" y="54915"/>
                      <a:pt x="6345" y="60849"/>
                    </a:cubicBezTo>
                    <a:cubicBezTo>
                      <a:pt x="-2556" y="75685"/>
                      <a:pt x="-2556" y="96454"/>
                      <a:pt x="9312" y="108322"/>
                    </a:cubicBezTo>
                    <a:cubicBezTo>
                      <a:pt x="21180" y="120190"/>
                      <a:pt x="41949" y="108322"/>
                      <a:pt x="53818" y="102388"/>
                    </a:cubicBezTo>
                    <a:cubicBezTo>
                      <a:pt x="71619" y="93487"/>
                      <a:pt x="92389" y="81619"/>
                      <a:pt x="110191" y="69751"/>
                    </a:cubicBezTo>
                    <a:cubicBezTo>
                      <a:pt x="122059" y="60849"/>
                      <a:pt x="139862" y="51948"/>
                      <a:pt x="142829" y="34146"/>
                    </a:cubicBezTo>
                    <a:cubicBezTo>
                      <a:pt x="145795" y="16344"/>
                      <a:pt x="136894" y="4476"/>
                      <a:pt x="122059" y="150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1170F9E4-C0AE-4244-B438-73BA51A125A2}"/>
                  </a:ext>
                </a:extLst>
              </p:cNvPr>
              <p:cNvSpPr/>
              <p:nvPr/>
            </p:nvSpPr>
            <p:spPr>
              <a:xfrm>
                <a:off x="16455548" y="2424177"/>
                <a:ext cx="130960" cy="101657"/>
              </a:xfrm>
              <a:custGeom>
                <a:avLst/>
                <a:gdLst>
                  <a:gd name="connsiteX0" fmla="*/ 107223 w 130960"/>
                  <a:gd name="connsiteY0" fmla="*/ 1634 h 101657"/>
                  <a:gd name="connsiteX1" fmla="*/ 21180 w 130960"/>
                  <a:gd name="connsiteY1" fmla="*/ 37239 h 101657"/>
                  <a:gd name="connsiteX2" fmla="*/ 15245 w 130960"/>
                  <a:gd name="connsiteY2" fmla="*/ 43173 h 101657"/>
                  <a:gd name="connsiteX3" fmla="*/ 6345 w 130960"/>
                  <a:gd name="connsiteY3" fmla="*/ 55041 h 101657"/>
                  <a:gd name="connsiteX4" fmla="*/ 9312 w 130960"/>
                  <a:gd name="connsiteY4" fmla="*/ 96579 h 101657"/>
                  <a:gd name="connsiteX5" fmla="*/ 50850 w 130960"/>
                  <a:gd name="connsiteY5" fmla="*/ 90645 h 101657"/>
                  <a:gd name="connsiteX6" fmla="*/ 101290 w 130960"/>
                  <a:gd name="connsiteY6" fmla="*/ 63942 h 101657"/>
                  <a:gd name="connsiteX7" fmla="*/ 130960 w 130960"/>
                  <a:gd name="connsiteY7" fmla="*/ 34272 h 101657"/>
                  <a:gd name="connsiteX8" fmla="*/ 107223 w 130960"/>
                  <a:gd name="connsiteY8" fmla="*/ 1634 h 101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0960" h="101657">
                    <a:moveTo>
                      <a:pt x="107223" y="1634"/>
                    </a:moveTo>
                    <a:cubicBezTo>
                      <a:pt x="74586" y="-7267"/>
                      <a:pt x="47883" y="22404"/>
                      <a:pt x="21180" y="37239"/>
                    </a:cubicBezTo>
                    <a:cubicBezTo>
                      <a:pt x="18212" y="37239"/>
                      <a:pt x="18212" y="40206"/>
                      <a:pt x="15245" y="43173"/>
                    </a:cubicBezTo>
                    <a:cubicBezTo>
                      <a:pt x="12279" y="46140"/>
                      <a:pt x="6345" y="49107"/>
                      <a:pt x="6345" y="55041"/>
                    </a:cubicBezTo>
                    <a:cubicBezTo>
                      <a:pt x="-2556" y="66909"/>
                      <a:pt x="-2556" y="84711"/>
                      <a:pt x="9312" y="96579"/>
                    </a:cubicBezTo>
                    <a:cubicBezTo>
                      <a:pt x="21180" y="108448"/>
                      <a:pt x="38982" y="96579"/>
                      <a:pt x="50850" y="90645"/>
                    </a:cubicBezTo>
                    <a:cubicBezTo>
                      <a:pt x="68652" y="81744"/>
                      <a:pt x="83488" y="72843"/>
                      <a:pt x="101290" y="63942"/>
                    </a:cubicBezTo>
                    <a:cubicBezTo>
                      <a:pt x="113158" y="58008"/>
                      <a:pt x="127993" y="49107"/>
                      <a:pt x="130960" y="34272"/>
                    </a:cubicBezTo>
                    <a:cubicBezTo>
                      <a:pt x="127993" y="13503"/>
                      <a:pt x="119091" y="4601"/>
                      <a:pt x="107223" y="1634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38E3398D-C436-4F65-9E3B-44C662FDE57F}"/>
                  </a:ext>
                </a:extLst>
              </p:cNvPr>
              <p:cNvSpPr/>
              <p:nvPr/>
            </p:nvSpPr>
            <p:spPr>
              <a:xfrm>
                <a:off x="16484461" y="2475206"/>
                <a:ext cx="93918" cy="73140"/>
              </a:xfrm>
              <a:custGeom>
                <a:avLst/>
                <a:gdLst>
                  <a:gd name="connsiteX0" fmla="*/ 81278 w 93918"/>
                  <a:gd name="connsiteY0" fmla="*/ 1044 h 73140"/>
                  <a:gd name="connsiteX1" fmla="*/ 16003 w 93918"/>
                  <a:gd name="connsiteY1" fmla="*/ 27748 h 73140"/>
                  <a:gd name="connsiteX2" fmla="*/ 13037 w 93918"/>
                  <a:gd name="connsiteY2" fmla="*/ 30715 h 73140"/>
                  <a:gd name="connsiteX3" fmla="*/ 4135 w 93918"/>
                  <a:gd name="connsiteY3" fmla="*/ 39616 h 73140"/>
                  <a:gd name="connsiteX4" fmla="*/ 7102 w 93918"/>
                  <a:gd name="connsiteY4" fmla="*/ 69286 h 73140"/>
                  <a:gd name="connsiteX5" fmla="*/ 36773 w 93918"/>
                  <a:gd name="connsiteY5" fmla="*/ 66319 h 73140"/>
                  <a:gd name="connsiteX6" fmla="*/ 72378 w 93918"/>
                  <a:gd name="connsiteY6" fmla="*/ 45550 h 73140"/>
                  <a:gd name="connsiteX7" fmla="*/ 93146 w 93918"/>
                  <a:gd name="connsiteY7" fmla="*/ 24781 h 73140"/>
                  <a:gd name="connsiteX8" fmla="*/ 81278 w 93918"/>
                  <a:gd name="connsiteY8" fmla="*/ 1044 h 73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918" h="73140">
                    <a:moveTo>
                      <a:pt x="81278" y="1044"/>
                    </a:moveTo>
                    <a:cubicBezTo>
                      <a:pt x="57542" y="-4890"/>
                      <a:pt x="36773" y="15879"/>
                      <a:pt x="16003" y="27748"/>
                    </a:cubicBezTo>
                    <a:cubicBezTo>
                      <a:pt x="13037" y="27748"/>
                      <a:pt x="13037" y="30715"/>
                      <a:pt x="13037" y="30715"/>
                    </a:cubicBezTo>
                    <a:cubicBezTo>
                      <a:pt x="10070" y="33682"/>
                      <a:pt x="7102" y="36649"/>
                      <a:pt x="4135" y="39616"/>
                    </a:cubicBezTo>
                    <a:cubicBezTo>
                      <a:pt x="-1798" y="48517"/>
                      <a:pt x="-1798" y="63352"/>
                      <a:pt x="7102" y="69286"/>
                    </a:cubicBezTo>
                    <a:cubicBezTo>
                      <a:pt x="16003" y="78187"/>
                      <a:pt x="27872" y="69286"/>
                      <a:pt x="36773" y="66319"/>
                    </a:cubicBezTo>
                    <a:cubicBezTo>
                      <a:pt x="48641" y="60385"/>
                      <a:pt x="60509" y="54451"/>
                      <a:pt x="72378" y="45550"/>
                    </a:cubicBezTo>
                    <a:cubicBezTo>
                      <a:pt x="81278" y="39616"/>
                      <a:pt x="90179" y="36649"/>
                      <a:pt x="93146" y="24781"/>
                    </a:cubicBezTo>
                    <a:cubicBezTo>
                      <a:pt x="96113" y="9945"/>
                      <a:pt x="90179" y="1044"/>
                      <a:pt x="81278" y="1044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E09D905A-1135-4752-B30B-F3A488D86106}"/>
                  </a:ext>
                </a:extLst>
              </p:cNvPr>
              <p:cNvSpPr/>
              <p:nvPr/>
            </p:nvSpPr>
            <p:spPr>
              <a:xfrm>
                <a:off x="16421096" y="2327899"/>
                <a:ext cx="157322" cy="163186"/>
              </a:xfrm>
              <a:custGeom>
                <a:avLst/>
                <a:gdLst>
                  <a:gd name="connsiteX0" fmla="*/ 28929 w 157322"/>
                  <a:gd name="connsiteY0" fmla="*/ 163187 h 163186"/>
                  <a:gd name="connsiteX1" fmla="*/ 8159 w 157322"/>
                  <a:gd name="connsiteY1" fmla="*/ 151319 h 163186"/>
                  <a:gd name="connsiteX2" fmla="*/ 11126 w 157322"/>
                  <a:gd name="connsiteY2" fmla="*/ 100879 h 163186"/>
                  <a:gd name="connsiteX3" fmla="*/ 11126 w 157322"/>
                  <a:gd name="connsiteY3" fmla="*/ 100879 h 163186"/>
                  <a:gd name="connsiteX4" fmla="*/ 2225 w 157322"/>
                  <a:gd name="connsiteY4" fmla="*/ 89011 h 163186"/>
                  <a:gd name="connsiteX5" fmla="*/ 2225 w 157322"/>
                  <a:gd name="connsiteY5" fmla="*/ 68242 h 163186"/>
                  <a:gd name="connsiteX6" fmla="*/ 91236 w 157322"/>
                  <a:gd name="connsiteY6" fmla="*/ 0 h 163186"/>
                  <a:gd name="connsiteX7" fmla="*/ 100137 w 157322"/>
                  <a:gd name="connsiteY7" fmla="*/ 2967 h 163186"/>
                  <a:gd name="connsiteX8" fmla="*/ 97170 w 157322"/>
                  <a:gd name="connsiteY8" fmla="*/ 11868 h 163186"/>
                  <a:gd name="connsiteX9" fmla="*/ 14093 w 157322"/>
                  <a:gd name="connsiteY9" fmla="*/ 74176 h 163186"/>
                  <a:gd name="connsiteX10" fmla="*/ 14093 w 157322"/>
                  <a:gd name="connsiteY10" fmla="*/ 86044 h 163186"/>
                  <a:gd name="connsiteX11" fmla="*/ 25961 w 157322"/>
                  <a:gd name="connsiteY11" fmla="*/ 97912 h 163186"/>
                  <a:gd name="connsiteX12" fmla="*/ 129807 w 157322"/>
                  <a:gd name="connsiteY12" fmla="*/ 47473 h 163186"/>
                  <a:gd name="connsiteX13" fmla="*/ 144643 w 157322"/>
                  <a:gd name="connsiteY13" fmla="*/ 44505 h 163186"/>
                  <a:gd name="connsiteX14" fmla="*/ 156511 w 157322"/>
                  <a:gd name="connsiteY14" fmla="*/ 62308 h 163186"/>
                  <a:gd name="connsiteX15" fmla="*/ 79368 w 157322"/>
                  <a:gd name="connsiteY15" fmla="*/ 145385 h 163186"/>
                  <a:gd name="connsiteX16" fmla="*/ 28929 w 157322"/>
                  <a:gd name="connsiteY16" fmla="*/ 163187 h 163186"/>
                  <a:gd name="connsiteX17" fmla="*/ 20027 w 157322"/>
                  <a:gd name="connsiteY17" fmla="*/ 106813 h 163186"/>
                  <a:gd name="connsiteX18" fmla="*/ 17061 w 157322"/>
                  <a:gd name="connsiteY18" fmla="*/ 145385 h 163186"/>
                  <a:gd name="connsiteX19" fmla="*/ 73434 w 157322"/>
                  <a:gd name="connsiteY19" fmla="*/ 133516 h 163186"/>
                  <a:gd name="connsiteX20" fmla="*/ 144643 w 157322"/>
                  <a:gd name="connsiteY20" fmla="*/ 62308 h 163186"/>
                  <a:gd name="connsiteX21" fmla="*/ 138708 w 157322"/>
                  <a:gd name="connsiteY21" fmla="*/ 50440 h 163186"/>
                  <a:gd name="connsiteX22" fmla="*/ 135742 w 157322"/>
                  <a:gd name="connsiteY22" fmla="*/ 50440 h 163186"/>
                  <a:gd name="connsiteX23" fmla="*/ 20027 w 157322"/>
                  <a:gd name="connsiteY23" fmla="*/ 106813 h 163186"/>
                  <a:gd name="connsiteX24" fmla="*/ 20027 w 157322"/>
                  <a:gd name="connsiteY24" fmla="*/ 106813 h 163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57322" h="163186">
                    <a:moveTo>
                      <a:pt x="28929" y="163187"/>
                    </a:moveTo>
                    <a:cubicBezTo>
                      <a:pt x="20027" y="163187"/>
                      <a:pt x="14093" y="160220"/>
                      <a:pt x="8159" y="151319"/>
                    </a:cubicBezTo>
                    <a:cubicBezTo>
                      <a:pt x="-742" y="133516"/>
                      <a:pt x="11126" y="100879"/>
                      <a:pt x="11126" y="100879"/>
                    </a:cubicBezTo>
                    <a:cubicBezTo>
                      <a:pt x="11126" y="100879"/>
                      <a:pt x="11126" y="100879"/>
                      <a:pt x="11126" y="100879"/>
                    </a:cubicBezTo>
                    <a:cubicBezTo>
                      <a:pt x="8159" y="97912"/>
                      <a:pt x="5192" y="91978"/>
                      <a:pt x="2225" y="89011"/>
                    </a:cubicBezTo>
                    <a:cubicBezTo>
                      <a:pt x="-742" y="83077"/>
                      <a:pt x="-742" y="74176"/>
                      <a:pt x="2225" y="68242"/>
                    </a:cubicBezTo>
                    <a:cubicBezTo>
                      <a:pt x="14093" y="35604"/>
                      <a:pt x="88269" y="2967"/>
                      <a:pt x="91236" y="0"/>
                    </a:cubicBezTo>
                    <a:cubicBezTo>
                      <a:pt x="94203" y="0"/>
                      <a:pt x="97170" y="0"/>
                      <a:pt x="100137" y="2967"/>
                    </a:cubicBezTo>
                    <a:cubicBezTo>
                      <a:pt x="100137" y="5934"/>
                      <a:pt x="100137" y="8901"/>
                      <a:pt x="97170" y="11868"/>
                    </a:cubicBezTo>
                    <a:cubicBezTo>
                      <a:pt x="76401" y="20769"/>
                      <a:pt x="22994" y="50440"/>
                      <a:pt x="14093" y="74176"/>
                    </a:cubicBezTo>
                    <a:cubicBezTo>
                      <a:pt x="14093" y="77143"/>
                      <a:pt x="14093" y="83077"/>
                      <a:pt x="14093" y="86044"/>
                    </a:cubicBezTo>
                    <a:cubicBezTo>
                      <a:pt x="17061" y="91978"/>
                      <a:pt x="20027" y="94945"/>
                      <a:pt x="25961" y="97912"/>
                    </a:cubicBezTo>
                    <a:cubicBezTo>
                      <a:pt x="43764" y="100879"/>
                      <a:pt x="76401" y="83077"/>
                      <a:pt x="129807" y="47473"/>
                    </a:cubicBezTo>
                    <a:cubicBezTo>
                      <a:pt x="129807" y="47473"/>
                      <a:pt x="135742" y="41538"/>
                      <a:pt x="144643" y="44505"/>
                    </a:cubicBezTo>
                    <a:cubicBezTo>
                      <a:pt x="150577" y="47473"/>
                      <a:pt x="156511" y="53407"/>
                      <a:pt x="156511" y="62308"/>
                    </a:cubicBezTo>
                    <a:cubicBezTo>
                      <a:pt x="162445" y="89011"/>
                      <a:pt x="135742" y="115714"/>
                      <a:pt x="79368" y="145385"/>
                    </a:cubicBezTo>
                    <a:cubicBezTo>
                      <a:pt x="61566" y="154286"/>
                      <a:pt x="40796" y="163187"/>
                      <a:pt x="28929" y="163187"/>
                    </a:cubicBezTo>
                    <a:close/>
                    <a:moveTo>
                      <a:pt x="20027" y="106813"/>
                    </a:moveTo>
                    <a:cubicBezTo>
                      <a:pt x="17061" y="115714"/>
                      <a:pt x="11126" y="136484"/>
                      <a:pt x="17061" y="145385"/>
                    </a:cubicBezTo>
                    <a:cubicBezTo>
                      <a:pt x="22994" y="157253"/>
                      <a:pt x="34862" y="154286"/>
                      <a:pt x="73434" y="133516"/>
                    </a:cubicBezTo>
                    <a:cubicBezTo>
                      <a:pt x="123873" y="106813"/>
                      <a:pt x="147610" y="83077"/>
                      <a:pt x="144643" y="62308"/>
                    </a:cubicBezTo>
                    <a:cubicBezTo>
                      <a:pt x="141675" y="53407"/>
                      <a:pt x="138708" y="50440"/>
                      <a:pt x="138708" y="50440"/>
                    </a:cubicBezTo>
                    <a:cubicBezTo>
                      <a:pt x="135742" y="50440"/>
                      <a:pt x="135742" y="50440"/>
                      <a:pt x="135742" y="50440"/>
                    </a:cubicBezTo>
                    <a:cubicBezTo>
                      <a:pt x="61566" y="106813"/>
                      <a:pt x="34862" y="109780"/>
                      <a:pt x="20027" y="106813"/>
                    </a:cubicBezTo>
                    <a:cubicBezTo>
                      <a:pt x="20027" y="106813"/>
                      <a:pt x="20027" y="106813"/>
                      <a:pt x="20027" y="106813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207D7978-9ED0-4B84-9D45-A223EB940A08}"/>
                  </a:ext>
                </a:extLst>
              </p:cNvPr>
              <p:cNvSpPr/>
              <p:nvPr/>
            </p:nvSpPr>
            <p:spPr>
              <a:xfrm>
                <a:off x="16443848" y="2416910"/>
                <a:ext cx="141642" cy="109780"/>
              </a:xfrm>
              <a:custGeom>
                <a:avLst/>
                <a:gdLst>
                  <a:gd name="connsiteX0" fmla="*/ 29913 w 141642"/>
                  <a:gd name="connsiteY0" fmla="*/ 109780 h 109780"/>
                  <a:gd name="connsiteX1" fmla="*/ 12110 w 141642"/>
                  <a:gd name="connsiteY1" fmla="*/ 103846 h 109780"/>
                  <a:gd name="connsiteX2" fmla="*/ 242 w 141642"/>
                  <a:gd name="connsiteY2" fmla="*/ 68242 h 109780"/>
                  <a:gd name="connsiteX3" fmla="*/ 6177 w 141642"/>
                  <a:gd name="connsiteY3" fmla="*/ 62308 h 109780"/>
                  <a:gd name="connsiteX4" fmla="*/ 6177 w 141642"/>
                  <a:gd name="connsiteY4" fmla="*/ 62308 h 109780"/>
                  <a:gd name="connsiteX5" fmla="*/ 12110 w 141642"/>
                  <a:gd name="connsiteY5" fmla="*/ 68242 h 109780"/>
                  <a:gd name="connsiteX6" fmla="*/ 21012 w 141642"/>
                  <a:gd name="connsiteY6" fmla="*/ 91978 h 109780"/>
                  <a:gd name="connsiteX7" fmla="*/ 41781 w 141642"/>
                  <a:gd name="connsiteY7" fmla="*/ 91978 h 109780"/>
                  <a:gd name="connsiteX8" fmla="*/ 130792 w 141642"/>
                  <a:gd name="connsiteY8" fmla="*/ 38571 h 109780"/>
                  <a:gd name="connsiteX9" fmla="*/ 130792 w 141642"/>
                  <a:gd name="connsiteY9" fmla="*/ 26703 h 109780"/>
                  <a:gd name="connsiteX10" fmla="*/ 118924 w 141642"/>
                  <a:gd name="connsiteY10" fmla="*/ 11868 h 109780"/>
                  <a:gd name="connsiteX11" fmla="*/ 112990 w 141642"/>
                  <a:gd name="connsiteY11" fmla="*/ 5934 h 109780"/>
                  <a:gd name="connsiteX12" fmla="*/ 118924 w 141642"/>
                  <a:gd name="connsiteY12" fmla="*/ 0 h 109780"/>
                  <a:gd name="connsiteX13" fmla="*/ 139693 w 141642"/>
                  <a:gd name="connsiteY13" fmla="*/ 20769 h 109780"/>
                  <a:gd name="connsiteX14" fmla="*/ 136726 w 141642"/>
                  <a:gd name="connsiteY14" fmla="*/ 44505 h 109780"/>
                  <a:gd name="connsiteX15" fmla="*/ 44748 w 141642"/>
                  <a:gd name="connsiteY15" fmla="*/ 100879 h 109780"/>
                  <a:gd name="connsiteX16" fmla="*/ 29913 w 141642"/>
                  <a:gd name="connsiteY16" fmla="*/ 109780 h 109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1642" h="109780">
                    <a:moveTo>
                      <a:pt x="29913" y="109780"/>
                    </a:moveTo>
                    <a:cubicBezTo>
                      <a:pt x="23979" y="109780"/>
                      <a:pt x="18045" y="106813"/>
                      <a:pt x="12110" y="103846"/>
                    </a:cubicBezTo>
                    <a:cubicBezTo>
                      <a:pt x="-2725" y="91978"/>
                      <a:pt x="242" y="71209"/>
                      <a:pt x="242" y="68242"/>
                    </a:cubicBezTo>
                    <a:cubicBezTo>
                      <a:pt x="242" y="65275"/>
                      <a:pt x="3209" y="62308"/>
                      <a:pt x="6177" y="62308"/>
                    </a:cubicBezTo>
                    <a:lnTo>
                      <a:pt x="6177" y="62308"/>
                    </a:lnTo>
                    <a:cubicBezTo>
                      <a:pt x="9144" y="62308"/>
                      <a:pt x="12110" y="65275"/>
                      <a:pt x="12110" y="68242"/>
                    </a:cubicBezTo>
                    <a:cubicBezTo>
                      <a:pt x="12110" y="74176"/>
                      <a:pt x="12110" y="86044"/>
                      <a:pt x="21012" y="91978"/>
                    </a:cubicBezTo>
                    <a:cubicBezTo>
                      <a:pt x="26945" y="94945"/>
                      <a:pt x="32880" y="94945"/>
                      <a:pt x="41781" y="91978"/>
                    </a:cubicBezTo>
                    <a:cubicBezTo>
                      <a:pt x="80352" y="80110"/>
                      <a:pt x="118924" y="50440"/>
                      <a:pt x="130792" y="38571"/>
                    </a:cubicBezTo>
                    <a:cubicBezTo>
                      <a:pt x="133759" y="35604"/>
                      <a:pt x="133759" y="29670"/>
                      <a:pt x="130792" y="26703"/>
                    </a:cubicBezTo>
                    <a:cubicBezTo>
                      <a:pt x="127825" y="17802"/>
                      <a:pt x="121891" y="11868"/>
                      <a:pt x="118924" y="11868"/>
                    </a:cubicBezTo>
                    <a:cubicBezTo>
                      <a:pt x="115956" y="11868"/>
                      <a:pt x="112990" y="8901"/>
                      <a:pt x="112990" y="5934"/>
                    </a:cubicBezTo>
                    <a:cubicBezTo>
                      <a:pt x="112990" y="2967"/>
                      <a:pt x="115956" y="0"/>
                      <a:pt x="118924" y="0"/>
                    </a:cubicBezTo>
                    <a:cubicBezTo>
                      <a:pt x="127825" y="0"/>
                      <a:pt x="136726" y="11868"/>
                      <a:pt x="139693" y="20769"/>
                    </a:cubicBezTo>
                    <a:cubicBezTo>
                      <a:pt x="142660" y="29670"/>
                      <a:pt x="142660" y="38571"/>
                      <a:pt x="136726" y="44505"/>
                    </a:cubicBezTo>
                    <a:cubicBezTo>
                      <a:pt x="124858" y="56374"/>
                      <a:pt x="86286" y="89011"/>
                      <a:pt x="44748" y="100879"/>
                    </a:cubicBezTo>
                    <a:cubicBezTo>
                      <a:pt x="41781" y="109780"/>
                      <a:pt x="35847" y="109780"/>
                      <a:pt x="29913" y="10978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FB1689A9-F4FE-4097-886F-5A4D11596AC0}"/>
                </a:ext>
              </a:extLst>
            </p:cNvPr>
            <p:cNvSpPr/>
            <p:nvPr/>
          </p:nvSpPr>
          <p:spPr>
            <a:xfrm>
              <a:off x="16353903" y="2410825"/>
              <a:ext cx="149986" cy="134124"/>
            </a:xfrm>
            <a:custGeom>
              <a:avLst/>
              <a:gdLst>
                <a:gd name="connsiteX0" fmla="*/ 87221 w 149986"/>
                <a:gd name="connsiteY0" fmla="*/ 151 h 134124"/>
                <a:gd name="connsiteX1" fmla="*/ 1177 w 149986"/>
                <a:gd name="connsiteY1" fmla="*/ 65425 h 134124"/>
                <a:gd name="connsiteX2" fmla="*/ 36782 w 149986"/>
                <a:gd name="connsiteY2" fmla="*/ 133667 h 134124"/>
                <a:gd name="connsiteX3" fmla="*/ 60518 w 149986"/>
                <a:gd name="connsiteY3" fmla="*/ 77293 h 134124"/>
                <a:gd name="connsiteX4" fmla="*/ 119858 w 149986"/>
                <a:gd name="connsiteY4" fmla="*/ 50590 h 134124"/>
                <a:gd name="connsiteX5" fmla="*/ 149529 w 149986"/>
                <a:gd name="connsiteY5" fmla="*/ 50590 h 134124"/>
                <a:gd name="connsiteX6" fmla="*/ 87221 w 149986"/>
                <a:gd name="connsiteY6" fmla="*/ 151 h 134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986" h="134124">
                  <a:moveTo>
                    <a:pt x="87221" y="151"/>
                  </a:moveTo>
                  <a:cubicBezTo>
                    <a:pt x="51617" y="-2816"/>
                    <a:pt x="13045" y="38722"/>
                    <a:pt x="1177" y="65425"/>
                  </a:cubicBezTo>
                  <a:cubicBezTo>
                    <a:pt x="-7724" y="86195"/>
                    <a:pt x="36782" y="139601"/>
                    <a:pt x="36782" y="133667"/>
                  </a:cubicBezTo>
                  <a:cubicBezTo>
                    <a:pt x="42715" y="121799"/>
                    <a:pt x="51617" y="89162"/>
                    <a:pt x="60518" y="77293"/>
                  </a:cubicBezTo>
                  <a:cubicBezTo>
                    <a:pt x="75353" y="56524"/>
                    <a:pt x="93155" y="53557"/>
                    <a:pt x="119858" y="50590"/>
                  </a:cubicBezTo>
                  <a:cubicBezTo>
                    <a:pt x="128760" y="50590"/>
                    <a:pt x="146561" y="59491"/>
                    <a:pt x="149529" y="50590"/>
                  </a:cubicBezTo>
                  <a:cubicBezTo>
                    <a:pt x="155463" y="29821"/>
                    <a:pt x="102056" y="151"/>
                    <a:pt x="87221" y="151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6841227A-B085-4C9A-AE57-57D878D46C9B}"/>
                </a:ext>
              </a:extLst>
            </p:cNvPr>
            <p:cNvSpPr/>
            <p:nvPr/>
          </p:nvSpPr>
          <p:spPr>
            <a:xfrm>
              <a:off x="16349146" y="2404301"/>
              <a:ext cx="162168" cy="137224"/>
            </a:xfrm>
            <a:custGeom>
              <a:avLst/>
              <a:gdLst>
                <a:gd name="connsiteX0" fmla="*/ 74176 w 162168"/>
                <a:gd name="connsiteY0" fmla="*/ 137224 h 137224"/>
                <a:gd name="connsiteX1" fmla="*/ 74176 w 162168"/>
                <a:gd name="connsiteY1" fmla="*/ 137224 h 137224"/>
                <a:gd name="connsiteX2" fmla="*/ 68241 w 162168"/>
                <a:gd name="connsiteY2" fmla="*/ 128323 h 137224"/>
                <a:gd name="connsiteX3" fmla="*/ 62307 w 162168"/>
                <a:gd name="connsiteY3" fmla="*/ 83818 h 137224"/>
                <a:gd name="connsiteX4" fmla="*/ 62307 w 162168"/>
                <a:gd name="connsiteY4" fmla="*/ 77884 h 137224"/>
                <a:gd name="connsiteX5" fmla="*/ 130549 w 162168"/>
                <a:gd name="connsiteY5" fmla="*/ 54148 h 137224"/>
                <a:gd name="connsiteX6" fmla="*/ 151318 w 162168"/>
                <a:gd name="connsiteY6" fmla="*/ 51180 h 137224"/>
                <a:gd name="connsiteX7" fmla="*/ 151318 w 162168"/>
                <a:gd name="connsiteY7" fmla="*/ 45246 h 137224"/>
                <a:gd name="connsiteX8" fmla="*/ 91977 w 162168"/>
                <a:gd name="connsiteY8" fmla="*/ 9642 h 137224"/>
                <a:gd name="connsiteX9" fmla="*/ 11868 w 162168"/>
                <a:gd name="connsiteY9" fmla="*/ 74917 h 137224"/>
                <a:gd name="connsiteX10" fmla="*/ 2966 w 162168"/>
                <a:gd name="connsiteY10" fmla="*/ 77884 h 137224"/>
                <a:gd name="connsiteX11" fmla="*/ 0 w 162168"/>
                <a:gd name="connsiteY11" fmla="*/ 68983 h 137224"/>
                <a:gd name="connsiteX12" fmla="*/ 91977 w 162168"/>
                <a:gd name="connsiteY12" fmla="*/ 741 h 137224"/>
                <a:gd name="connsiteX13" fmla="*/ 160220 w 162168"/>
                <a:gd name="connsiteY13" fmla="*/ 45246 h 137224"/>
                <a:gd name="connsiteX14" fmla="*/ 157252 w 162168"/>
                <a:gd name="connsiteY14" fmla="*/ 63049 h 137224"/>
                <a:gd name="connsiteX15" fmla="*/ 127582 w 162168"/>
                <a:gd name="connsiteY15" fmla="*/ 68983 h 137224"/>
                <a:gd name="connsiteX16" fmla="*/ 71209 w 162168"/>
                <a:gd name="connsiteY16" fmla="*/ 86785 h 137224"/>
                <a:gd name="connsiteX17" fmla="*/ 77142 w 162168"/>
                <a:gd name="connsiteY17" fmla="*/ 137224 h 137224"/>
                <a:gd name="connsiteX18" fmla="*/ 74176 w 162168"/>
                <a:gd name="connsiteY18" fmla="*/ 137224 h 13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2168" h="137224">
                  <a:moveTo>
                    <a:pt x="74176" y="137224"/>
                  </a:moveTo>
                  <a:cubicBezTo>
                    <a:pt x="74176" y="137224"/>
                    <a:pt x="71209" y="137224"/>
                    <a:pt x="74176" y="137224"/>
                  </a:cubicBezTo>
                  <a:cubicBezTo>
                    <a:pt x="68241" y="134257"/>
                    <a:pt x="68241" y="131290"/>
                    <a:pt x="68241" y="128323"/>
                  </a:cubicBezTo>
                  <a:cubicBezTo>
                    <a:pt x="74176" y="110521"/>
                    <a:pt x="62307" y="86785"/>
                    <a:pt x="62307" y="83818"/>
                  </a:cubicBezTo>
                  <a:cubicBezTo>
                    <a:pt x="62307" y="80851"/>
                    <a:pt x="62307" y="80851"/>
                    <a:pt x="62307" y="77884"/>
                  </a:cubicBezTo>
                  <a:cubicBezTo>
                    <a:pt x="83077" y="51180"/>
                    <a:pt x="109780" y="51180"/>
                    <a:pt x="130549" y="54148"/>
                  </a:cubicBezTo>
                  <a:cubicBezTo>
                    <a:pt x="139450" y="54148"/>
                    <a:pt x="148352" y="54148"/>
                    <a:pt x="151318" y="51180"/>
                  </a:cubicBezTo>
                  <a:cubicBezTo>
                    <a:pt x="151318" y="51180"/>
                    <a:pt x="154285" y="48213"/>
                    <a:pt x="151318" y="45246"/>
                  </a:cubicBezTo>
                  <a:cubicBezTo>
                    <a:pt x="145384" y="30411"/>
                    <a:pt x="121648" y="15576"/>
                    <a:pt x="91977" y="9642"/>
                  </a:cubicBezTo>
                  <a:cubicBezTo>
                    <a:pt x="53406" y="3708"/>
                    <a:pt x="11868" y="71950"/>
                    <a:pt x="11868" y="74917"/>
                  </a:cubicBezTo>
                  <a:cubicBezTo>
                    <a:pt x="8901" y="77884"/>
                    <a:pt x="5934" y="77884"/>
                    <a:pt x="2966" y="77884"/>
                  </a:cubicBezTo>
                  <a:cubicBezTo>
                    <a:pt x="0" y="74917"/>
                    <a:pt x="0" y="71950"/>
                    <a:pt x="0" y="68983"/>
                  </a:cubicBezTo>
                  <a:cubicBezTo>
                    <a:pt x="2966" y="66016"/>
                    <a:pt x="44505" y="-8160"/>
                    <a:pt x="91977" y="741"/>
                  </a:cubicBezTo>
                  <a:cubicBezTo>
                    <a:pt x="127582" y="6675"/>
                    <a:pt x="154285" y="27444"/>
                    <a:pt x="160220" y="45246"/>
                  </a:cubicBezTo>
                  <a:cubicBezTo>
                    <a:pt x="163187" y="51180"/>
                    <a:pt x="163187" y="57115"/>
                    <a:pt x="157252" y="63049"/>
                  </a:cubicBezTo>
                  <a:cubicBezTo>
                    <a:pt x="151318" y="68983"/>
                    <a:pt x="139450" y="68983"/>
                    <a:pt x="127582" y="68983"/>
                  </a:cubicBezTo>
                  <a:cubicBezTo>
                    <a:pt x="109780" y="68983"/>
                    <a:pt x="89011" y="66016"/>
                    <a:pt x="71209" y="86785"/>
                  </a:cubicBezTo>
                  <a:cubicBezTo>
                    <a:pt x="74176" y="95686"/>
                    <a:pt x="86044" y="119422"/>
                    <a:pt x="77142" y="137224"/>
                  </a:cubicBezTo>
                  <a:cubicBezTo>
                    <a:pt x="77142" y="137224"/>
                    <a:pt x="77142" y="137224"/>
                    <a:pt x="74176" y="137224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0384620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F8981AD6-5DF0-4B92-A2FA-3B21188FECFA}"/>
              </a:ext>
            </a:extLst>
          </p:cNvPr>
          <p:cNvGrpSpPr/>
          <p:nvPr/>
        </p:nvGrpSpPr>
        <p:grpSpPr>
          <a:xfrm>
            <a:off x="2968008" y="1701297"/>
            <a:ext cx="2689183" cy="5156703"/>
            <a:chOff x="18893808" y="1888778"/>
            <a:chExt cx="2689183" cy="5156703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9998EC2D-AFAC-4E41-9E2F-14D98A331E0D}"/>
                </a:ext>
              </a:extLst>
            </p:cNvPr>
            <p:cNvGrpSpPr/>
            <p:nvPr/>
          </p:nvGrpSpPr>
          <p:grpSpPr>
            <a:xfrm>
              <a:off x="18893808" y="6446141"/>
              <a:ext cx="382528" cy="560908"/>
              <a:chOff x="18893808" y="6446141"/>
              <a:chExt cx="382528" cy="560908"/>
            </a:xfrm>
          </p:grpSpPr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8AD80A79-71B5-4B1E-9D74-E4EDDFD6F88E}"/>
                  </a:ext>
                </a:extLst>
              </p:cNvPr>
              <p:cNvSpPr/>
              <p:nvPr/>
            </p:nvSpPr>
            <p:spPr>
              <a:xfrm>
                <a:off x="18989805" y="6446141"/>
                <a:ext cx="267032" cy="249231"/>
              </a:xfrm>
              <a:custGeom>
                <a:avLst/>
                <a:gdLst>
                  <a:gd name="connsiteX0" fmla="*/ 17801 w 267032"/>
                  <a:gd name="connsiteY0" fmla="*/ 133516 h 249231"/>
                  <a:gd name="connsiteX1" fmla="*/ 139451 w 267032"/>
                  <a:gd name="connsiteY1" fmla="*/ 0 h 249231"/>
                  <a:gd name="connsiteX2" fmla="*/ 267033 w 267032"/>
                  <a:gd name="connsiteY2" fmla="*/ 121649 h 249231"/>
                  <a:gd name="connsiteX3" fmla="*/ 124616 w 267032"/>
                  <a:gd name="connsiteY3" fmla="*/ 249231 h 249231"/>
                  <a:gd name="connsiteX4" fmla="*/ 0 w 267032"/>
                  <a:gd name="connsiteY4" fmla="*/ 169121 h 249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7032" h="249231">
                    <a:moveTo>
                      <a:pt x="17801" y="133516"/>
                    </a:moveTo>
                    <a:lnTo>
                      <a:pt x="139451" y="0"/>
                    </a:lnTo>
                    <a:lnTo>
                      <a:pt x="267033" y="121649"/>
                    </a:lnTo>
                    <a:lnTo>
                      <a:pt x="124616" y="249231"/>
                    </a:lnTo>
                    <a:lnTo>
                      <a:pt x="0" y="169121"/>
                    </a:ln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D1F971B5-9D08-4E16-9DF6-2608CF6FD9D9}"/>
                  </a:ext>
                </a:extLst>
              </p:cNvPr>
              <p:cNvSpPr/>
              <p:nvPr/>
            </p:nvSpPr>
            <p:spPr>
              <a:xfrm>
                <a:off x="18921564" y="6567789"/>
                <a:ext cx="354771" cy="406483"/>
              </a:xfrm>
              <a:custGeom>
                <a:avLst/>
                <a:gdLst>
                  <a:gd name="connsiteX0" fmla="*/ 77142 w 354771"/>
                  <a:gd name="connsiteY0" fmla="*/ 0 h 406483"/>
                  <a:gd name="connsiteX1" fmla="*/ 240329 w 354771"/>
                  <a:gd name="connsiteY1" fmla="*/ 91978 h 406483"/>
                  <a:gd name="connsiteX2" fmla="*/ 278900 w 354771"/>
                  <a:gd name="connsiteY2" fmla="*/ 237363 h 406483"/>
                  <a:gd name="connsiteX3" fmla="*/ 344175 w 354771"/>
                  <a:gd name="connsiteY3" fmla="*/ 406483 h 406483"/>
                  <a:gd name="connsiteX4" fmla="*/ 0 w 354771"/>
                  <a:gd name="connsiteY4" fmla="*/ 77143 h 406483"/>
                  <a:gd name="connsiteX5" fmla="*/ 77142 w 354771"/>
                  <a:gd name="connsiteY5" fmla="*/ 0 h 406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4771" h="406483">
                    <a:moveTo>
                      <a:pt x="77142" y="0"/>
                    </a:moveTo>
                    <a:cubicBezTo>
                      <a:pt x="77142" y="0"/>
                      <a:pt x="151318" y="97912"/>
                      <a:pt x="240329" y="91978"/>
                    </a:cubicBezTo>
                    <a:cubicBezTo>
                      <a:pt x="240329" y="91978"/>
                      <a:pt x="255164" y="201758"/>
                      <a:pt x="278900" y="237363"/>
                    </a:cubicBezTo>
                    <a:cubicBezTo>
                      <a:pt x="305604" y="272967"/>
                      <a:pt x="382746" y="347143"/>
                      <a:pt x="344175" y="406483"/>
                    </a:cubicBezTo>
                    <a:lnTo>
                      <a:pt x="0" y="77143"/>
                    </a:lnTo>
                    <a:cubicBezTo>
                      <a:pt x="0" y="80110"/>
                      <a:pt x="29670" y="23736"/>
                      <a:pt x="77142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CADC2D24-AAC6-4448-9E74-D3D6355D42C5}"/>
                  </a:ext>
                </a:extLst>
              </p:cNvPr>
              <p:cNvSpPr/>
              <p:nvPr/>
            </p:nvSpPr>
            <p:spPr>
              <a:xfrm rot="-2778520">
                <a:off x="19058563" y="6589616"/>
                <a:ext cx="44507" cy="474743"/>
              </a:xfrm>
              <a:custGeom>
                <a:avLst/>
                <a:gdLst>
                  <a:gd name="connsiteX0" fmla="*/ 0 w 44507"/>
                  <a:gd name="connsiteY0" fmla="*/ 0 h 474743"/>
                  <a:gd name="connsiteX1" fmla="*/ 44507 w 44507"/>
                  <a:gd name="connsiteY1" fmla="*/ 0 h 474743"/>
                  <a:gd name="connsiteX2" fmla="*/ 44507 w 44507"/>
                  <a:gd name="connsiteY2" fmla="*/ 474744 h 474743"/>
                  <a:gd name="connsiteX3" fmla="*/ 0 w 44507"/>
                  <a:gd name="connsiteY3" fmla="*/ 474744 h 47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507" h="474743">
                    <a:moveTo>
                      <a:pt x="0" y="0"/>
                    </a:moveTo>
                    <a:lnTo>
                      <a:pt x="44507" y="0"/>
                    </a:lnTo>
                    <a:lnTo>
                      <a:pt x="44507" y="474744"/>
                    </a:lnTo>
                    <a:lnTo>
                      <a:pt x="0" y="474744"/>
                    </a:lnTo>
                    <a:close/>
                  </a:path>
                </a:pathLst>
              </a:custGeom>
              <a:solidFill>
                <a:srgbClr val="38333D"/>
              </a:solidFill>
              <a:ln w="296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D3D51AA1-DA49-43CC-909A-E67117B50D50}"/>
                  </a:ext>
                </a:extLst>
              </p:cNvPr>
              <p:cNvSpPr/>
              <p:nvPr/>
            </p:nvSpPr>
            <p:spPr>
              <a:xfrm>
                <a:off x="18991453" y="6560536"/>
                <a:ext cx="173405" cy="105164"/>
              </a:xfrm>
              <a:custGeom>
                <a:avLst/>
                <a:gdLst>
                  <a:gd name="connsiteX0" fmla="*/ 167473 w 173405"/>
                  <a:gd name="connsiteY0" fmla="*/ 105165 h 105164"/>
                  <a:gd name="connsiteX1" fmla="*/ 167473 w 173405"/>
                  <a:gd name="connsiteY1" fmla="*/ 105165 h 105164"/>
                  <a:gd name="connsiteX2" fmla="*/ 1318 w 173405"/>
                  <a:gd name="connsiteY2" fmla="*/ 10220 h 105164"/>
                  <a:gd name="connsiteX3" fmla="*/ 1318 w 173405"/>
                  <a:gd name="connsiteY3" fmla="*/ 1319 h 105164"/>
                  <a:gd name="connsiteX4" fmla="*/ 10219 w 173405"/>
                  <a:gd name="connsiteY4" fmla="*/ 1319 h 105164"/>
                  <a:gd name="connsiteX5" fmla="*/ 167473 w 173405"/>
                  <a:gd name="connsiteY5" fmla="*/ 90330 h 105164"/>
                  <a:gd name="connsiteX6" fmla="*/ 173406 w 173405"/>
                  <a:gd name="connsiteY6" fmla="*/ 96264 h 105164"/>
                  <a:gd name="connsiteX7" fmla="*/ 167473 w 173405"/>
                  <a:gd name="connsiteY7" fmla="*/ 105165 h 105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3405" h="105164">
                    <a:moveTo>
                      <a:pt x="167473" y="105165"/>
                    </a:moveTo>
                    <a:cubicBezTo>
                      <a:pt x="167473" y="105165"/>
                      <a:pt x="167473" y="105165"/>
                      <a:pt x="167473" y="105165"/>
                    </a:cubicBezTo>
                    <a:cubicBezTo>
                      <a:pt x="72528" y="102198"/>
                      <a:pt x="4286" y="13187"/>
                      <a:pt x="1318" y="10220"/>
                    </a:cubicBezTo>
                    <a:cubicBezTo>
                      <a:pt x="-1648" y="7253"/>
                      <a:pt x="1318" y="4286"/>
                      <a:pt x="1318" y="1319"/>
                    </a:cubicBezTo>
                    <a:cubicBezTo>
                      <a:pt x="4286" y="-1648"/>
                      <a:pt x="7253" y="1319"/>
                      <a:pt x="10219" y="1319"/>
                    </a:cubicBezTo>
                    <a:cubicBezTo>
                      <a:pt x="10219" y="1319"/>
                      <a:pt x="78462" y="87363"/>
                      <a:pt x="167473" y="90330"/>
                    </a:cubicBezTo>
                    <a:cubicBezTo>
                      <a:pt x="170440" y="90330"/>
                      <a:pt x="173406" y="93297"/>
                      <a:pt x="173406" y="96264"/>
                    </a:cubicBezTo>
                    <a:cubicBezTo>
                      <a:pt x="173406" y="105165"/>
                      <a:pt x="170440" y="105165"/>
                      <a:pt x="167473" y="10516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87D7BEEB-4278-405B-9E70-9D010F8638F0}"/>
                  </a:ext>
                </a:extLst>
              </p:cNvPr>
              <p:cNvSpPr/>
              <p:nvPr/>
            </p:nvSpPr>
            <p:spPr>
              <a:xfrm>
                <a:off x="19126288" y="6698338"/>
                <a:ext cx="47473" cy="11868"/>
              </a:xfrm>
              <a:custGeom>
                <a:avLst/>
                <a:gdLst>
                  <a:gd name="connsiteX0" fmla="*/ 5934 w 47473"/>
                  <a:gd name="connsiteY0" fmla="*/ 11868 h 11868"/>
                  <a:gd name="connsiteX1" fmla="*/ 0 w 47473"/>
                  <a:gd name="connsiteY1" fmla="*/ 5934 h 11868"/>
                  <a:gd name="connsiteX2" fmla="*/ 5934 w 47473"/>
                  <a:gd name="connsiteY2" fmla="*/ 0 h 11868"/>
                  <a:gd name="connsiteX3" fmla="*/ 41539 w 47473"/>
                  <a:gd name="connsiteY3" fmla="*/ 0 h 11868"/>
                  <a:gd name="connsiteX4" fmla="*/ 41539 w 47473"/>
                  <a:gd name="connsiteY4" fmla="*/ 0 h 11868"/>
                  <a:gd name="connsiteX5" fmla="*/ 47474 w 47473"/>
                  <a:gd name="connsiteY5" fmla="*/ 5934 h 11868"/>
                  <a:gd name="connsiteX6" fmla="*/ 41539 w 47473"/>
                  <a:gd name="connsiteY6" fmla="*/ 11868 h 11868"/>
                  <a:gd name="connsiteX7" fmla="*/ 5934 w 47473"/>
                  <a:gd name="connsiteY7" fmla="*/ 11868 h 11868"/>
                  <a:gd name="connsiteX8" fmla="*/ 5934 w 47473"/>
                  <a:gd name="connsiteY8" fmla="*/ 11868 h 11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473" h="11868">
                    <a:moveTo>
                      <a:pt x="5934" y="11868"/>
                    </a:moveTo>
                    <a:cubicBezTo>
                      <a:pt x="2968" y="11868"/>
                      <a:pt x="0" y="8901"/>
                      <a:pt x="0" y="5934"/>
                    </a:cubicBezTo>
                    <a:cubicBezTo>
                      <a:pt x="0" y="2967"/>
                      <a:pt x="2968" y="0"/>
                      <a:pt x="5934" y="0"/>
                    </a:cubicBezTo>
                    <a:lnTo>
                      <a:pt x="41539" y="0"/>
                    </a:lnTo>
                    <a:lnTo>
                      <a:pt x="41539" y="0"/>
                    </a:lnTo>
                    <a:cubicBezTo>
                      <a:pt x="44505" y="0"/>
                      <a:pt x="47474" y="2967"/>
                      <a:pt x="47474" y="5934"/>
                    </a:cubicBezTo>
                    <a:cubicBezTo>
                      <a:pt x="47474" y="8901"/>
                      <a:pt x="44505" y="11868"/>
                      <a:pt x="41539" y="11868"/>
                    </a:cubicBezTo>
                    <a:lnTo>
                      <a:pt x="5934" y="11868"/>
                    </a:lnTo>
                    <a:lnTo>
                      <a:pt x="5934" y="11868"/>
                    </a:ln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F4B92EF4-27F6-42E3-8EB7-40D8BEA77BFD}"/>
                  </a:ext>
                </a:extLst>
              </p:cNvPr>
              <p:cNvSpPr/>
              <p:nvPr/>
            </p:nvSpPr>
            <p:spPr>
              <a:xfrm>
                <a:off x="19135189" y="6742844"/>
                <a:ext cx="47473" cy="11868"/>
              </a:xfrm>
              <a:custGeom>
                <a:avLst/>
                <a:gdLst>
                  <a:gd name="connsiteX0" fmla="*/ 5934 w 47473"/>
                  <a:gd name="connsiteY0" fmla="*/ 11868 h 11868"/>
                  <a:gd name="connsiteX1" fmla="*/ 0 w 47473"/>
                  <a:gd name="connsiteY1" fmla="*/ 5934 h 11868"/>
                  <a:gd name="connsiteX2" fmla="*/ 5934 w 47473"/>
                  <a:gd name="connsiteY2" fmla="*/ 0 h 11868"/>
                  <a:gd name="connsiteX3" fmla="*/ 41539 w 47473"/>
                  <a:gd name="connsiteY3" fmla="*/ 0 h 11868"/>
                  <a:gd name="connsiteX4" fmla="*/ 47474 w 47473"/>
                  <a:gd name="connsiteY4" fmla="*/ 5934 h 11868"/>
                  <a:gd name="connsiteX5" fmla="*/ 41539 w 47473"/>
                  <a:gd name="connsiteY5" fmla="*/ 11868 h 11868"/>
                  <a:gd name="connsiteX6" fmla="*/ 5934 w 47473"/>
                  <a:gd name="connsiteY6" fmla="*/ 11868 h 11868"/>
                  <a:gd name="connsiteX7" fmla="*/ 5934 w 47473"/>
                  <a:gd name="connsiteY7" fmla="*/ 11868 h 11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473" h="11868">
                    <a:moveTo>
                      <a:pt x="5934" y="11868"/>
                    </a:moveTo>
                    <a:cubicBezTo>
                      <a:pt x="2968" y="11868"/>
                      <a:pt x="0" y="8901"/>
                      <a:pt x="0" y="5934"/>
                    </a:cubicBezTo>
                    <a:cubicBezTo>
                      <a:pt x="0" y="2967"/>
                      <a:pt x="2968" y="0"/>
                      <a:pt x="5934" y="0"/>
                    </a:cubicBezTo>
                    <a:lnTo>
                      <a:pt x="41539" y="0"/>
                    </a:lnTo>
                    <a:cubicBezTo>
                      <a:pt x="44505" y="0"/>
                      <a:pt x="47474" y="2967"/>
                      <a:pt x="47474" y="5934"/>
                    </a:cubicBezTo>
                    <a:cubicBezTo>
                      <a:pt x="47474" y="8901"/>
                      <a:pt x="44505" y="11868"/>
                      <a:pt x="41539" y="11868"/>
                    </a:cubicBezTo>
                    <a:lnTo>
                      <a:pt x="5934" y="11868"/>
                    </a:lnTo>
                    <a:lnTo>
                      <a:pt x="5934" y="11868"/>
                    </a:ln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272EACC0-F59F-4BDF-A858-7F57A382201B}"/>
                </a:ext>
              </a:extLst>
            </p:cNvPr>
            <p:cNvGrpSpPr/>
            <p:nvPr/>
          </p:nvGrpSpPr>
          <p:grpSpPr>
            <a:xfrm>
              <a:off x="20008486" y="6710207"/>
              <a:ext cx="482637" cy="335274"/>
              <a:chOff x="20008486" y="6710207"/>
              <a:chExt cx="482637" cy="335274"/>
            </a:xfrm>
          </p:grpSpPr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32D46DC6-C4A9-4F34-8D97-4CC2B58EF99A}"/>
                  </a:ext>
                </a:extLst>
              </p:cNvPr>
              <p:cNvSpPr/>
              <p:nvPr/>
            </p:nvSpPr>
            <p:spPr>
              <a:xfrm>
                <a:off x="20025299" y="6710207"/>
                <a:ext cx="178021" cy="219560"/>
              </a:xfrm>
              <a:custGeom>
                <a:avLst/>
                <a:gdLst>
                  <a:gd name="connsiteX0" fmla="*/ 5934 w 178021"/>
                  <a:gd name="connsiteY0" fmla="*/ 180989 h 219560"/>
                  <a:gd name="connsiteX1" fmla="*/ 0 w 178021"/>
                  <a:gd name="connsiteY1" fmla="*/ 0 h 219560"/>
                  <a:gd name="connsiteX2" fmla="*/ 178022 w 178021"/>
                  <a:gd name="connsiteY2" fmla="*/ 0 h 219560"/>
                  <a:gd name="connsiteX3" fmla="*/ 163187 w 178021"/>
                  <a:gd name="connsiteY3" fmla="*/ 189890 h 219560"/>
                  <a:gd name="connsiteX4" fmla="*/ 17803 w 178021"/>
                  <a:gd name="connsiteY4" fmla="*/ 219560 h 21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8021" h="219560">
                    <a:moveTo>
                      <a:pt x="5934" y="180989"/>
                    </a:moveTo>
                    <a:lnTo>
                      <a:pt x="0" y="0"/>
                    </a:lnTo>
                    <a:lnTo>
                      <a:pt x="178022" y="0"/>
                    </a:lnTo>
                    <a:lnTo>
                      <a:pt x="163187" y="189890"/>
                    </a:lnTo>
                    <a:lnTo>
                      <a:pt x="17803" y="219560"/>
                    </a:ln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6D40749F-CB78-4E7D-BC2F-19A880063563}"/>
                  </a:ext>
                </a:extLst>
              </p:cNvPr>
              <p:cNvSpPr/>
              <p:nvPr/>
            </p:nvSpPr>
            <p:spPr>
              <a:xfrm>
                <a:off x="20008486" y="6846690"/>
                <a:ext cx="482637" cy="154286"/>
              </a:xfrm>
              <a:custGeom>
                <a:avLst/>
                <a:gdLst>
                  <a:gd name="connsiteX0" fmla="*/ 7912 w 482637"/>
                  <a:gd name="connsiteY0" fmla="*/ 44505 h 154286"/>
                  <a:gd name="connsiteX1" fmla="*/ 188902 w 482637"/>
                  <a:gd name="connsiteY1" fmla="*/ 0 h 154286"/>
                  <a:gd name="connsiteX2" fmla="*/ 319450 w 482637"/>
                  <a:gd name="connsiteY2" fmla="*/ 77143 h 154286"/>
                  <a:gd name="connsiteX3" fmla="*/ 482637 w 482637"/>
                  <a:gd name="connsiteY3" fmla="*/ 154286 h 154286"/>
                  <a:gd name="connsiteX4" fmla="*/ 7912 w 482637"/>
                  <a:gd name="connsiteY4" fmla="*/ 154286 h 154286"/>
                  <a:gd name="connsiteX5" fmla="*/ 7912 w 482637"/>
                  <a:gd name="connsiteY5" fmla="*/ 44505 h 154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2637" h="154286">
                    <a:moveTo>
                      <a:pt x="7912" y="44505"/>
                    </a:moveTo>
                    <a:cubicBezTo>
                      <a:pt x="7912" y="44505"/>
                      <a:pt x="129561" y="62308"/>
                      <a:pt x="188902" y="0"/>
                    </a:cubicBezTo>
                    <a:cubicBezTo>
                      <a:pt x="188902" y="0"/>
                      <a:pt x="274945" y="68242"/>
                      <a:pt x="319450" y="77143"/>
                    </a:cubicBezTo>
                    <a:cubicBezTo>
                      <a:pt x="363956" y="86044"/>
                      <a:pt x="470770" y="83077"/>
                      <a:pt x="482637" y="154286"/>
                    </a:cubicBezTo>
                    <a:lnTo>
                      <a:pt x="7912" y="154286"/>
                    </a:lnTo>
                    <a:cubicBezTo>
                      <a:pt x="7912" y="154286"/>
                      <a:pt x="-9890" y="94945"/>
                      <a:pt x="7912" y="4450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52F34708-F821-4F4F-A05E-B9DCEAD05029}"/>
                  </a:ext>
                </a:extLst>
              </p:cNvPr>
              <p:cNvSpPr/>
              <p:nvPr/>
            </p:nvSpPr>
            <p:spPr>
              <a:xfrm>
                <a:off x="20016398" y="7000976"/>
                <a:ext cx="474725" cy="44505"/>
              </a:xfrm>
              <a:custGeom>
                <a:avLst/>
                <a:gdLst>
                  <a:gd name="connsiteX0" fmla="*/ 0 w 474725"/>
                  <a:gd name="connsiteY0" fmla="*/ 0 h 44505"/>
                  <a:gd name="connsiteX1" fmla="*/ 474725 w 474725"/>
                  <a:gd name="connsiteY1" fmla="*/ 0 h 44505"/>
                  <a:gd name="connsiteX2" fmla="*/ 474725 w 474725"/>
                  <a:gd name="connsiteY2" fmla="*/ 44506 h 44505"/>
                  <a:gd name="connsiteX3" fmla="*/ 0 w 474725"/>
                  <a:gd name="connsiteY3" fmla="*/ 44506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725" h="44505">
                    <a:moveTo>
                      <a:pt x="0" y="0"/>
                    </a:moveTo>
                    <a:lnTo>
                      <a:pt x="474725" y="0"/>
                    </a:lnTo>
                    <a:lnTo>
                      <a:pt x="474725" y="44506"/>
                    </a:lnTo>
                    <a:lnTo>
                      <a:pt x="0" y="44506"/>
                    </a:ln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C2542824-51E8-4B9D-AC86-C2D6920152DA}"/>
                  </a:ext>
                </a:extLst>
              </p:cNvPr>
              <p:cNvSpPr/>
              <p:nvPr/>
            </p:nvSpPr>
            <p:spPr>
              <a:xfrm>
                <a:off x="20010464" y="6838531"/>
                <a:ext cx="195083" cy="61565"/>
              </a:xfrm>
              <a:custGeom>
                <a:avLst/>
                <a:gdLst>
                  <a:gd name="connsiteX0" fmla="*/ 41539 w 195083"/>
                  <a:gd name="connsiteY0" fmla="*/ 61566 h 61565"/>
                  <a:gd name="connsiteX1" fmla="*/ 5934 w 195083"/>
                  <a:gd name="connsiteY1" fmla="*/ 58599 h 61565"/>
                  <a:gd name="connsiteX2" fmla="*/ 0 w 195083"/>
                  <a:gd name="connsiteY2" fmla="*/ 52665 h 61565"/>
                  <a:gd name="connsiteX3" fmla="*/ 5934 w 195083"/>
                  <a:gd name="connsiteY3" fmla="*/ 46731 h 61565"/>
                  <a:gd name="connsiteX4" fmla="*/ 183956 w 195083"/>
                  <a:gd name="connsiteY4" fmla="*/ 2225 h 61565"/>
                  <a:gd name="connsiteX5" fmla="*/ 192857 w 195083"/>
                  <a:gd name="connsiteY5" fmla="*/ 2225 h 61565"/>
                  <a:gd name="connsiteX6" fmla="*/ 192857 w 195083"/>
                  <a:gd name="connsiteY6" fmla="*/ 11126 h 61565"/>
                  <a:gd name="connsiteX7" fmla="*/ 41539 w 195083"/>
                  <a:gd name="connsiteY7" fmla="*/ 61566 h 61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083" h="61565">
                    <a:moveTo>
                      <a:pt x="41539" y="61566"/>
                    </a:moveTo>
                    <a:cubicBezTo>
                      <a:pt x="20770" y="61566"/>
                      <a:pt x="8903" y="58599"/>
                      <a:pt x="5934" y="58599"/>
                    </a:cubicBezTo>
                    <a:cubicBezTo>
                      <a:pt x="2968" y="58599"/>
                      <a:pt x="0" y="55632"/>
                      <a:pt x="0" y="52665"/>
                    </a:cubicBezTo>
                    <a:cubicBezTo>
                      <a:pt x="0" y="49698"/>
                      <a:pt x="2968" y="46731"/>
                      <a:pt x="5934" y="46731"/>
                    </a:cubicBezTo>
                    <a:cubicBezTo>
                      <a:pt x="5934" y="46731"/>
                      <a:pt x="115715" y="61566"/>
                      <a:pt x="183956" y="2225"/>
                    </a:cubicBezTo>
                    <a:cubicBezTo>
                      <a:pt x="186925" y="-742"/>
                      <a:pt x="189891" y="-742"/>
                      <a:pt x="192857" y="2225"/>
                    </a:cubicBezTo>
                    <a:cubicBezTo>
                      <a:pt x="195825" y="5192"/>
                      <a:pt x="195825" y="8159"/>
                      <a:pt x="192857" y="11126"/>
                    </a:cubicBezTo>
                    <a:cubicBezTo>
                      <a:pt x="145385" y="52665"/>
                      <a:pt x="80110" y="61566"/>
                      <a:pt x="41539" y="6156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2D78B11C-918D-4AF2-9A0B-5CB9E321F68B}"/>
                  </a:ext>
                </a:extLst>
              </p:cNvPr>
              <p:cNvSpPr/>
              <p:nvPr/>
            </p:nvSpPr>
            <p:spPr>
              <a:xfrm>
                <a:off x="20201096" y="6862267"/>
                <a:ext cx="37087" cy="40796"/>
              </a:xfrm>
              <a:custGeom>
                <a:avLst/>
                <a:gdLst>
                  <a:gd name="connsiteX0" fmla="*/ 5193 w 37087"/>
                  <a:gd name="connsiteY0" fmla="*/ 40797 h 40796"/>
                  <a:gd name="connsiteX1" fmla="*/ 2225 w 37087"/>
                  <a:gd name="connsiteY1" fmla="*/ 37830 h 40796"/>
                  <a:gd name="connsiteX2" fmla="*/ 2225 w 37087"/>
                  <a:gd name="connsiteY2" fmla="*/ 28929 h 40796"/>
                  <a:gd name="connsiteX3" fmla="*/ 25962 w 37087"/>
                  <a:gd name="connsiteY3" fmla="*/ 2225 h 40796"/>
                  <a:gd name="connsiteX4" fmla="*/ 34863 w 37087"/>
                  <a:gd name="connsiteY4" fmla="*/ 2225 h 40796"/>
                  <a:gd name="connsiteX5" fmla="*/ 34863 w 37087"/>
                  <a:gd name="connsiteY5" fmla="*/ 11127 h 40796"/>
                  <a:gd name="connsiteX6" fmla="*/ 11127 w 37087"/>
                  <a:gd name="connsiteY6" fmla="*/ 37830 h 40796"/>
                  <a:gd name="connsiteX7" fmla="*/ 5193 w 37087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87" h="40796">
                    <a:moveTo>
                      <a:pt x="5193" y="40797"/>
                    </a:moveTo>
                    <a:cubicBezTo>
                      <a:pt x="5193" y="40797"/>
                      <a:pt x="2225" y="40797"/>
                      <a:pt x="2225" y="37830"/>
                    </a:cubicBezTo>
                    <a:cubicBezTo>
                      <a:pt x="-742" y="34863"/>
                      <a:pt x="-742" y="31896"/>
                      <a:pt x="2225" y="28929"/>
                    </a:cubicBezTo>
                    <a:lnTo>
                      <a:pt x="25962" y="2225"/>
                    </a:lnTo>
                    <a:cubicBezTo>
                      <a:pt x="28929" y="-742"/>
                      <a:pt x="31895" y="-742"/>
                      <a:pt x="34863" y="2225"/>
                    </a:cubicBezTo>
                    <a:cubicBezTo>
                      <a:pt x="37829" y="5193"/>
                      <a:pt x="37829" y="8159"/>
                      <a:pt x="34863" y="11127"/>
                    </a:cubicBezTo>
                    <a:lnTo>
                      <a:pt x="11127" y="37830"/>
                    </a:lnTo>
                    <a:cubicBezTo>
                      <a:pt x="8159" y="40797"/>
                      <a:pt x="8159" y="40797"/>
                      <a:pt x="5193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3874D0FB-DCBA-48FD-AC30-43A1F54EA0D5}"/>
                  </a:ext>
                </a:extLst>
              </p:cNvPr>
              <p:cNvSpPr/>
              <p:nvPr/>
            </p:nvSpPr>
            <p:spPr>
              <a:xfrm>
                <a:off x="20239668" y="6888970"/>
                <a:ext cx="40055" cy="40796"/>
              </a:xfrm>
              <a:custGeom>
                <a:avLst/>
                <a:gdLst>
                  <a:gd name="connsiteX0" fmla="*/ 5192 w 40055"/>
                  <a:gd name="connsiteY0" fmla="*/ 40797 h 40796"/>
                  <a:gd name="connsiteX1" fmla="*/ 2226 w 40055"/>
                  <a:gd name="connsiteY1" fmla="*/ 37830 h 40796"/>
                  <a:gd name="connsiteX2" fmla="*/ 2226 w 40055"/>
                  <a:gd name="connsiteY2" fmla="*/ 28929 h 40796"/>
                  <a:gd name="connsiteX3" fmla="*/ 28928 w 40055"/>
                  <a:gd name="connsiteY3" fmla="*/ 2225 h 40796"/>
                  <a:gd name="connsiteX4" fmla="*/ 37829 w 40055"/>
                  <a:gd name="connsiteY4" fmla="*/ 2225 h 40796"/>
                  <a:gd name="connsiteX5" fmla="*/ 37829 w 40055"/>
                  <a:gd name="connsiteY5" fmla="*/ 11126 h 40796"/>
                  <a:gd name="connsiteX6" fmla="*/ 11127 w 40055"/>
                  <a:gd name="connsiteY6" fmla="*/ 37830 h 40796"/>
                  <a:gd name="connsiteX7" fmla="*/ 5192 w 40055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5" h="40796">
                    <a:moveTo>
                      <a:pt x="5192" y="40797"/>
                    </a:moveTo>
                    <a:cubicBezTo>
                      <a:pt x="5192" y="40797"/>
                      <a:pt x="2226" y="40797"/>
                      <a:pt x="2226" y="37830"/>
                    </a:cubicBezTo>
                    <a:cubicBezTo>
                      <a:pt x="-742" y="34863"/>
                      <a:pt x="-742" y="31895"/>
                      <a:pt x="2226" y="28929"/>
                    </a:cubicBezTo>
                    <a:lnTo>
                      <a:pt x="28928" y="2225"/>
                    </a:lnTo>
                    <a:cubicBezTo>
                      <a:pt x="31896" y="-742"/>
                      <a:pt x="34863" y="-742"/>
                      <a:pt x="37829" y="2225"/>
                    </a:cubicBezTo>
                    <a:cubicBezTo>
                      <a:pt x="40797" y="5192"/>
                      <a:pt x="40797" y="8159"/>
                      <a:pt x="37829" y="11126"/>
                    </a:cubicBezTo>
                    <a:lnTo>
                      <a:pt x="11127" y="37830"/>
                    </a:lnTo>
                    <a:cubicBezTo>
                      <a:pt x="8159" y="40797"/>
                      <a:pt x="5192" y="40797"/>
                      <a:pt x="5192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255D5FC9-B4FA-42AA-98CA-48EF8AF9B43B}"/>
                </a:ext>
              </a:extLst>
            </p:cNvPr>
            <p:cNvSpPr/>
            <p:nvPr/>
          </p:nvSpPr>
          <p:spPr>
            <a:xfrm>
              <a:off x="18992772" y="4556141"/>
              <a:ext cx="1351817" cy="2234175"/>
            </a:xfrm>
            <a:custGeom>
              <a:avLst/>
              <a:gdLst>
                <a:gd name="connsiteX0" fmla="*/ 1344066 w 1351817"/>
                <a:gd name="connsiteY0" fmla="*/ 20769 h 2234175"/>
                <a:gd name="connsiteX1" fmla="*/ 1332199 w 1351817"/>
                <a:gd name="connsiteY1" fmla="*/ 1367802 h 2234175"/>
                <a:gd name="connsiteX2" fmla="*/ 1263957 w 1351817"/>
                <a:gd name="connsiteY2" fmla="*/ 2234176 h 2234175"/>
                <a:gd name="connsiteX3" fmla="*/ 976155 w 1351817"/>
                <a:gd name="connsiteY3" fmla="*/ 2234176 h 2234175"/>
                <a:gd name="connsiteX4" fmla="*/ 937584 w 1351817"/>
                <a:gd name="connsiteY4" fmla="*/ 1391539 h 2234175"/>
                <a:gd name="connsiteX5" fmla="*/ 857473 w 1351817"/>
                <a:gd name="connsiteY5" fmla="*/ 489560 h 2234175"/>
                <a:gd name="connsiteX6" fmla="*/ 818902 w 1351817"/>
                <a:gd name="connsiteY6" fmla="*/ 1373736 h 2234175"/>
                <a:gd name="connsiteX7" fmla="*/ 783297 w 1351817"/>
                <a:gd name="connsiteY7" fmla="*/ 1468681 h 2234175"/>
                <a:gd name="connsiteX8" fmla="*/ 278902 w 1351817"/>
                <a:gd name="connsiteY8" fmla="*/ 2121429 h 2234175"/>
                <a:gd name="connsiteX9" fmla="*/ 0 w 1351817"/>
                <a:gd name="connsiteY9" fmla="*/ 1887033 h 2234175"/>
                <a:gd name="connsiteX10" fmla="*/ 421319 w 1351817"/>
                <a:gd name="connsiteY10" fmla="*/ 1305495 h 2234175"/>
                <a:gd name="connsiteX11" fmla="*/ 344177 w 1351817"/>
                <a:gd name="connsiteY11" fmla="*/ 0 h 2234175"/>
                <a:gd name="connsiteX12" fmla="*/ 1344066 w 1351817"/>
                <a:gd name="connsiteY12" fmla="*/ 20769 h 223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51817" h="2234175">
                  <a:moveTo>
                    <a:pt x="1344066" y="20769"/>
                  </a:moveTo>
                  <a:cubicBezTo>
                    <a:pt x="1344066" y="20769"/>
                    <a:pt x="1367803" y="1065165"/>
                    <a:pt x="1332199" y="1367802"/>
                  </a:cubicBezTo>
                  <a:cubicBezTo>
                    <a:pt x="1302528" y="1631868"/>
                    <a:pt x="1263957" y="2234176"/>
                    <a:pt x="1263957" y="2234176"/>
                  </a:cubicBezTo>
                  <a:lnTo>
                    <a:pt x="976155" y="2234176"/>
                  </a:lnTo>
                  <a:cubicBezTo>
                    <a:pt x="976155" y="2234176"/>
                    <a:pt x="943516" y="1486484"/>
                    <a:pt x="937584" y="1391539"/>
                  </a:cubicBezTo>
                  <a:cubicBezTo>
                    <a:pt x="931649" y="1255055"/>
                    <a:pt x="872308" y="519231"/>
                    <a:pt x="857473" y="489560"/>
                  </a:cubicBezTo>
                  <a:cubicBezTo>
                    <a:pt x="845604" y="465824"/>
                    <a:pt x="824835" y="1171978"/>
                    <a:pt x="818902" y="1373736"/>
                  </a:cubicBezTo>
                  <a:cubicBezTo>
                    <a:pt x="818902" y="1409341"/>
                    <a:pt x="807033" y="1441978"/>
                    <a:pt x="783297" y="1468681"/>
                  </a:cubicBezTo>
                  <a:lnTo>
                    <a:pt x="278902" y="2121429"/>
                  </a:lnTo>
                  <a:lnTo>
                    <a:pt x="0" y="1887033"/>
                  </a:lnTo>
                  <a:lnTo>
                    <a:pt x="421319" y="1305495"/>
                  </a:lnTo>
                  <a:cubicBezTo>
                    <a:pt x="421319" y="1305495"/>
                    <a:pt x="302638" y="94945"/>
                    <a:pt x="344177" y="0"/>
                  </a:cubicBezTo>
                  <a:cubicBezTo>
                    <a:pt x="1029561" y="32638"/>
                    <a:pt x="1344066" y="20769"/>
                    <a:pt x="1344066" y="20769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7E72171C-582E-48DD-BB91-5D8941D427F6}"/>
                </a:ext>
              </a:extLst>
            </p:cNvPr>
            <p:cNvSpPr/>
            <p:nvPr/>
          </p:nvSpPr>
          <p:spPr>
            <a:xfrm>
              <a:off x="19847277" y="4695591"/>
              <a:ext cx="68243" cy="356043"/>
            </a:xfrm>
            <a:custGeom>
              <a:avLst/>
              <a:gdLst>
                <a:gd name="connsiteX0" fmla="*/ 5934 w 68243"/>
                <a:gd name="connsiteY0" fmla="*/ 356044 h 356043"/>
                <a:gd name="connsiteX1" fmla="*/ 5934 w 68243"/>
                <a:gd name="connsiteY1" fmla="*/ 356044 h 356043"/>
                <a:gd name="connsiteX2" fmla="*/ 0 w 68243"/>
                <a:gd name="connsiteY2" fmla="*/ 347143 h 356043"/>
                <a:gd name="connsiteX3" fmla="*/ 56374 w 68243"/>
                <a:gd name="connsiteY3" fmla="*/ 5934 h 356043"/>
                <a:gd name="connsiteX4" fmla="*/ 62309 w 68243"/>
                <a:gd name="connsiteY4" fmla="*/ 0 h 356043"/>
                <a:gd name="connsiteX5" fmla="*/ 68243 w 68243"/>
                <a:gd name="connsiteY5" fmla="*/ 5934 h 356043"/>
                <a:gd name="connsiteX6" fmla="*/ 11869 w 68243"/>
                <a:gd name="connsiteY6" fmla="*/ 350110 h 356043"/>
                <a:gd name="connsiteX7" fmla="*/ 5934 w 68243"/>
                <a:gd name="connsiteY7" fmla="*/ 356044 h 356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243" h="356043">
                  <a:moveTo>
                    <a:pt x="5934" y="356044"/>
                  </a:moveTo>
                  <a:cubicBezTo>
                    <a:pt x="5934" y="356044"/>
                    <a:pt x="5934" y="356044"/>
                    <a:pt x="5934" y="356044"/>
                  </a:cubicBezTo>
                  <a:cubicBezTo>
                    <a:pt x="0" y="353077"/>
                    <a:pt x="0" y="350110"/>
                    <a:pt x="0" y="347143"/>
                  </a:cubicBezTo>
                  <a:cubicBezTo>
                    <a:pt x="47474" y="237363"/>
                    <a:pt x="56374" y="8901"/>
                    <a:pt x="56374" y="5934"/>
                  </a:cubicBezTo>
                  <a:cubicBezTo>
                    <a:pt x="56374" y="2967"/>
                    <a:pt x="59341" y="0"/>
                    <a:pt x="62309" y="0"/>
                  </a:cubicBezTo>
                  <a:cubicBezTo>
                    <a:pt x="65275" y="0"/>
                    <a:pt x="68243" y="2967"/>
                    <a:pt x="68243" y="5934"/>
                  </a:cubicBezTo>
                  <a:cubicBezTo>
                    <a:pt x="68243" y="14835"/>
                    <a:pt x="59341" y="237363"/>
                    <a:pt x="11869" y="350110"/>
                  </a:cubicBezTo>
                  <a:cubicBezTo>
                    <a:pt x="8903" y="356044"/>
                    <a:pt x="8903" y="356044"/>
                    <a:pt x="5934" y="356044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9EAA339B-349F-4888-A308-4F20E8B3C496}"/>
                </a:ext>
              </a:extLst>
            </p:cNvPr>
            <p:cNvSpPr/>
            <p:nvPr/>
          </p:nvSpPr>
          <p:spPr>
            <a:xfrm>
              <a:off x="19875718" y="4627349"/>
              <a:ext cx="152548" cy="347142"/>
            </a:xfrm>
            <a:custGeom>
              <a:avLst/>
              <a:gdLst>
                <a:gd name="connsiteX0" fmla="*/ 7163 w 152548"/>
                <a:gd name="connsiteY0" fmla="*/ 347143 h 347142"/>
                <a:gd name="connsiteX1" fmla="*/ 1229 w 152548"/>
                <a:gd name="connsiteY1" fmla="*/ 344176 h 347142"/>
                <a:gd name="connsiteX2" fmla="*/ 4197 w 152548"/>
                <a:gd name="connsiteY2" fmla="*/ 335275 h 347142"/>
                <a:gd name="connsiteX3" fmla="*/ 108043 w 152548"/>
                <a:gd name="connsiteY3" fmla="*/ 261099 h 347142"/>
                <a:gd name="connsiteX4" fmla="*/ 140680 w 152548"/>
                <a:gd name="connsiteY4" fmla="*/ 5934 h 347142"/>
                <a:gd name="connsiteX5" fmla="*/ 146614 w 152548"/>
                <a:gd name="connsiteY5" fmla="*/ 0 h 347142"/>
                <a:gd name="connsiteX6" fmla="*/ 152548 w 152548"/>
                <a:gd name="connsiteY6" fmla="*/ 5934 h 347142"/>
                <a:gd name="connsiteX7" fmla="*/ 119910 w 152548"/>
                <a:gd name="connsiteY7" fmla="*/ 267033 h 347142"/>
                <a:gd name="connsiteX8" fmla="*/ 13097 w 152548"/>
                <a:gd name="connsiteY8" fmla="*/ 344176 h 347142"/>
                <a:gd name="connsiteX9" fmla="*/ 7163 w 152548"/>
                <a:gd name="connsiteY9" fmla="*/ 347143 h 34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548" h="347142">
                  <a:moveTo>
                    <a:pt x="7163" y="347143"/>
                  </a:moveTo>
                  <a:cubicBezTo>
                    <a:pt x="4197" y="347143"/>
                    <a:pt x="4197" y="347143"/>
                    <a:pt x="1229" y="344176"/>
                  </a:cubicBezTo>
                  <a:cubicBezTo>
                    <a:pt x="-1738" y="341209"/>
                    <a:pt x="1229" y="338242"/>
                    <a:pt x="4197" y="335275"/>
                  </a:cubicBezTo>
                  <a:cubicBezTo>
                    <a:pt x="42768" y="311538"/>
                    <a:pt x="99142" y="270000"/>
                    <a:pt x="108043" y="261099"/>
                  </a:cubicBezTo>
                  <a:cubicBezTo>
                    <a:pt x="116944" y="249231"/>
                    <a:pt x="131779" y="97912"/>
                    <a:pt x="140680" y="5934"/>
                  </a:cubicBezTo>
                  <a:cubicBezTo>
                    <a:pt x="140680" y="2967"/>
                    <a:pt x="143648" y="0"/>
                    <a:pt x="146614" y="0"/>
                  </a:cubicBezTo>
                  <a:cubicBezTo>
                    <a:pt x="149580" y="0"/>
                    <a:pt x="152548" y="2967"/>
                    <a:pt x="152548" y="5934"/>
                  </a:cubicBezTo>
                  <a:cubicBezTo>
                    <a:pt x="149580" y="47472"/>
                    <a:pt x="128813" y="252198"/>
                    <a:pt x="119910" y="267033"/>
                  </a:cubicBezTo>
                  <a:cubicBezTo>
                    <a:pt x="108043" y="281868"/>
                    <a:pt x="21998" y="338242"/>
                    <a:pt x="13097" y="344176"/>
                  </a:cubicBezTo>
                  <a:cubicBezTo>
                    <a:pt x="7163" y="347143"/>
                    <a:pt x="7163" y="347143"/>
                    <a:pt x="7163" y="347143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97FB20F9-7F62-40E9-BD5D-894BCDAEA309}"/>
                </a:ext>
              </a:extLst>
            </p:cNvPr>
            <p:cNvSpPr/>
            <p:nvPr/>
          </p:nvSpPr>
          <p:spPr>
            <a:xfrm>
              <a:off x="20214330" y="3444642"/>
              <a:ext cx="879100" cy="845801"/>
            </a:xfrm>
            <a:custGeom>
              <a:avLst/>
              <a:gdLst>
                <a:gd name="connsiteX0" fmla="*/ 21629 w 879100"/>
                <a:gd name="connsiteY0" fmla="*/ 274796 h 845801"/>
                <a:gd name="connsiteX1" fmla="*/ 95805 w 879100"/>
                <a:gd name="connsiteY1" fmla="*/ 1829 h 845801"/>
                <a:gd name="connsiteX2" fmla="*/ 339102 w 879100"/>
                <a:gd name="connsiteY2" fmla="*/ 280730 h 845801"/>
                <a:gd name="connsiteX3" fmla="*/ 484485 w 879100"/>
                <a:gd name="connsiteY3" fmla="*/ 571499 h 845801"/>
                <a:gd name="connsiteX4" fmla="*/ 834595 w 879100"/>
                <a:gd name="connsiteY4" fmla="*/ 245126 h 845801"/>
                <a:gd name="connsiteX5" fmla="*/ 879100 w 879100"/>
                <a:gd name="connsiteY5" fmla="*/ 381609 h 845801"/>
                <a:gd name="connsiteX6" fmla="*/ 398442 w 879100"/>
                <a:gd name="connsiteY6" fmla="*/ 841499 h 845801"/>
                <a:gd name="connsiteX7" fmla="*/ 21629 w 879100"/>
                <a:gd name="connsiteY7" fmla="*/ 274796 h 84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100" h="845801">
                  <a:moveTo>
                    <a:pt x="21629" y="274796"/>
                  </a:moveTo>
                  <a:cubicBezTo>
                    <a:pt x="-31777" y="141279"/>
                    <a:pt x="21629" y="-18940"/>
                    <a:pt x="95805" y="1829"/>
                  </a:cubicBezTo>
                  <a:cubicBezTo>
                    <a:pt x="181847" y="25565"/>
                    <a:pt x="282727" y="117543"/>
                    <a:pt x="339102" y="280730"/>
                  </a:cubicBezTo>
                  <a:cubicBezTo>
                    <a:pt x="371738" y="375675"/>
                    <a:pt x="466684" y="574466"/>
                    <a:pt x="484485" y="571499"/>
                  </a:cubicBezTo>
                  <a:cubicBezTo>
                    <a:pt x="490420" y="571499"/>
                    <a:pt x="834595" y="245126"/>
                    <a:pt x="834595" y="245126"/>
                  </a:cubicBezTo>
                  <a:cubicBezTo>
                    <a:pt x="834595" y="304466"/>
                    <a:pt x="879100" y="381609"/>
                    <a:pt x="879100" y="381609"/>
                  </a:cubicBezTo>
                  <a:cubicBezTo>
                    <a:pt x="879100" y="381609"/>
                    <a:pt x="585365" y="897873"/>
                    <a:pt x="398442" y="841499"/>
                  </a:cubicBezTo>
                  <a:cubicBezTo>
                    <a:pt x="300529" y="811829"/>
                    <a:pt x="86904" y="440950"/>
                    <a:pt x="21629" y="274796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E18A4017-C6FD-425A-8FFF-62A5AE3DA202}"/>
                </a:ext>
              </a:extLst>
            </p:cNvPr>
            <p:cNvSpPr/>
            <p:nvPr/>
          </p:nvSpPr>
          <p:spPr>
            <a:xfrm>
              <a:off x="19322113" y="4565042"/>
              <a:ext cx="142417" cy="234395"/>
            </a:xfrm>
            <a:custGeom>
              <a:avLst/>
              <a:gdLst>
                <a:gd name="connsiteX0" fmla="*/ 5933 w 142417"/>
                <a:gd name="connsiteY0" fmla="*/ 234396 h 234395"/>
                <a:gd name="connsiteX1" fmla="*/ 0 w 142417"/>
                <a:gd name="connsiteY1" fmla="*/ 228461 h 234395"/>
                <a:gd name="connsiteX2" fmla="*/ 5933 w 142417"/>
                <a:gd name="connsiteY2" fmla="*/ 222527 h 234395"/>
                <a:gd name="connsiteX3" fmla="*/ 118681 w 142417"/>
                <a:gd name="connsiteY3" fmla="*/ 195824 h 234395"/>
                <a:gd name="connsiteX4" fmla="*/ 130548 w 142417"/>
                <a:gd name="connsiteY4" fmla="*/ 5934 h 234395"/>
                <a:gd name="connsiteX5" fmla="*/ 136483 w 142417"/>
                <a:gd name="connsiteY5" fmla="*/ 0 h 234395"/>
                <a:gd name="connsiteX6" fmla="*/ 136483 w 142417"/>
                <a:gd name="connsiteY6" fmla="*/ 0 h 234395"/>
                <a:gd name="connsiteX7" fmla="*/ 142417 w 142417"/>
                <a:gd name="connsiteY7" fmla="*/ 5934 h 234395"/>
                <a:gd name="connsiteX8" fmla="*/ 127582 w 142417"/>
                <a:gd name="connsiteY8" fmla="*/ 198791 h 234395"/>
                <a:gd name="connsiteX9" fmla="*/ 5933 w 142417"/>
                <a:gd name="connsiteY9" fmla="*/ 234396 h 234395"/>
                <a:gd name="connsiteX10" fmla="*/ 5933 w 142417"/>
                <a:gd name="connsiteY10" fmla="*/ 234396 h 23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2417" h="234395">
                  <a:moveTo>
                    <a:pt x="5933" y="234396"/>
                  </a:moveTo>
                  <a:cubicBezTo>
                    <a:pt x="2966" y="234396"/>
                    <a:pt x="0" y="231429"/>
                    <a:pt x="0" y="228461"/>
                  </a:cubicBezTo>
                  <a:cubicBezTo>
                    <a:pt x="0" y="225494"/>
                    <a:pt x="2966" y="222527"/>
                    <a:pt x="5933" y="222527"/>
                  </a:cubicBezTo>
                  <a:cubicBezTo>
                    <a:pt x="56373" y="216594"/>
                    <a:pt x="115713" y="204725"/>
                    <a:pt x="118681" y="195824"/>
                  </a:cubicBezTo>
                  <a:cubicBezTo>
                    <a:pt x="124614" y="183956"/>
                    <a:pt x="130548" y="74176"/>
                    <a:pt x="130548" y="5934"/>
                  </a:cubicBezTo>
                  <a:cubicBezTo>
                    <a:pt x="130548" y="2967"/>
                    <a:pt x="133516" y="0"/>
                    <a:pt x="136483" y="0"/>
                  </a:cubicBezTo>
                  <a:lnTo>
                    <a:pt x="136483" y="0"/>
                  </a:lnTo>
                  <a:cubicBezTo>
                    <a:pt x="139449" y="0"/>
                    <a:pt x="142417" y="2967"/>
                    <a:pt x="142417" y="5934"/>
                  </a:cubicBezTo>
                  <a:cubicBezTo>
                    <a:pt x="142417" y="23736"/>
                    <a:pt x="139449" y="180989"/>
                    <a:pt x="127582" y="198791"/>
                  </a:cubicBezTo>
                  <a:cubicBezTo>
                    <a:pt x="118681" y="219560"/>
                    <a:pt x="32637" y="231429"/>
                    <a:pt x="5933" y="234396"/>
                  </a:cubicBezTo>
                  <a:cubicBezTo>
                    <a:pt x="5933" y="234396"/>
                    <a:pt x="5933" y="234396"/>
                    <a:pt x="5933" y="234396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C963CB0-49A6-4CA8-B885-D678D6718854}"/>
                </a:ext>
              </a:extLst>
            </p:cNvPr>
            <p:cNvSpPr/>
            <p:nvPr/>
          </p:nvSpPr>
          <p:spPr>
            <a:xfrm>
              <a:off x="20247826" y="4579877"/>
              <a:ext cx="89010" cy="201758"/>
            </a:xfrm>
            <a:custGeom>
              <a:avLst/>
              <a:gdLst>
                <a:gd name="connsiteX0" fmla="*/ 77144 w 89010"/>
                <a:gd name="connsiteY0" fmla="*/ 198791 h 201758"/>
                <a:gd name="connsiteX1" fmla="*/ 20770 w 89010"/>
                <a:gd name="connsiteY1" fmla="*/ 175055 h 201758"/>
                <a:gd name="connsiteX2" fmla="*/ 0 w 89010"/>
                <a:gd name="connsiteY2" fmla="*/ 5934 h 201758"/>
                <a:gd name="connsiteX3" fmla="*/ 5934 w 89010"/>
                <a:gd name="connsiteY3" fmla="*/ 0 h 201758"/>
                <a:gd name="connsiteX4" fmla="*/ 5934 w 89010"/>
                <a:gd name="connsiteY4" fmla="*/ 0 h 201758"/>
                <a:gd name="connsiteX5" fmla="*/ 11869 w 89010"/>
                <a:gd name="connsiteY5" fmla="*/ 5934 h 201758"/>
                <a:gd name="connsiteX6" fmla="*/ 29670 w 89010"/>
                <a:gd name="connsiteY6" fmla="*/ 172088 h 201758"/>
                <a:gd name="connsiteX7" fmla="*/ 83078 w 89010"/>
                <a:gd name="connsiteY7" fmla="*/ 189890 h 201758"/>
                <a:gd name="connsiteX8" fmla="*/ 89011 w 89010"/>
                <a:gd name="connsiteY8" fmla="*/ 195824 h 201758"/>
                <a:gd name="connsiteX9" fmla="*/ 83078 w 89010"/>
                <a:gd name="connsiteY9" fmla="*/ 201758 h 201758"/>
                <a:gd name="connsiteX10" fmla="*/ 77144 w 89010"/>
                <a:gd name="connsiteY10" fmla="*/ 198791 h 20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010" h="201758">
                  <a:moveTo>
                    <a:pt x="77144" y="198791"/>
                  </a:moveTo>
                  <a:cubicBezTo>
                    <a:pt x="62309" y="198791"/>
                    <a:pt x="32638" y="195824"/>
                    <a:pt x="20770" y="175055"/>
                  </a:cubicBezTo>
                  <a:cubicBezTo>
                    <a:pt x="5934" y="148352"/>
                    <a:pt x="0" y="20769"/>
                    <a:pt x="0" y="5934"/>
                  </a:cubicBezTo>
                  <a:cubicBezTo>
                    <a:pt x="0" y="2967"/>
                    <a:pt x="2968" y="0"/>
                    <a:pt x="5934" y="0"/>
                  </a:cubicBezTo>
                  <a:cubicBezTo>
                    <a:pt x="5934" y="0"/>
                    <a:pt x="5934" y="0"/>
                    <a:pt x="5934" y="0"/>
                  </a:cubicBezTo>
                  <a:cubicBezTo>
                    <a:pt x="8903" y="0"/>
                    <a:pt x="11869" y="2967"/>
                    <a:pt x="11869" y="5934"/>
                  </a:cubicBezTo>
                  <a:cubicBezTo>
                    <a:pt x="14835" y="44505"/>
                    <a:pt x="20770" y="151319"/>
                    <a:pt x="29670" y="172088"/>
                  </a:cubicBezTo>
                  <a:cubicBezTo>
                    <a:pt x="41539" y="192857"/>
                    <a:pt x="80110" y="189890"/>
                    <a:pt x="83078" y="189890"/>
                  </a:cubicBezTo>
                  <a:cubicBezTo>
                    <a:pt x="86045" y="189890"/>
                    <a:pt x="89011" y="192857"/>
                    <a:pt x="89011" y="195824"/>
                  </a:cubicBezTo>
                  <a:cubicBezTo>
                    <a:pt x="89011" y="198791"/>
                    <a:pt x="86045" y="201758"/>
                    <a:pt x="83078" y="201758"/>
                  </a:cubicBezTo>
                  <a:cubicBezTo>
                    <a:pt x="83078" y="198791"/>
                    <a:pt x="80110" y="198791"/>
                    <a:pt x="77144" y="198791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717BF887-BAAB-432A-B84F-7605C4453097}"/>
                </a:ext>
              </a:extLst>
            </p:cNvPr>
            <p:cNvSpPr/>
            <p:nvPr/>
          </p:nvSpPr>
          <p:spPr>
            <a:xfrm>
              <a:off x="19719695" y="2930207"/>
              <a:ext cx="243297" cy="251317"/>
            </a:xfrm>
            <a:custGeom>
              <a:avLst/>
              <a:gdLst>
                <a:gd name="connsiteX0" fmla="*/ 243297 w 243297"/>
                <a:gd name="connsiteY0" fmla="*/ 38571 h 251317"/>
                <a:gd name="connsiteX1" fmla="*/ 237363 w 243297"/>
                <a:gd name="connsiteY1" fmla="*/ 207692 h 251317"/>
                <a:gd name="connsiteX2" fmla="*/ 0 w 243297"/>
                <a:gd name="connsiteY2" fmla="*/ 198791 h 251317"/>
                <a:gd name="connsiteX3" fmla="*/ 14835 w 243297"/>
                <a:gd name="connsiteY3" fmla="*/ 0 h 251317"/>
                <a:gd name="connsiteX4" fmla="*/ 243297 w 243297"/>
                <a:gd name="connsiteY4" fmla="*/ 38571 h 251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297" h="251317">
                  <a:moveTo>
                    <a:pt x="243297" y="38571"/>
                  </a:moveTo>
                  <a:cubicBezTo>
                    <a:pt x="243297" y="38571"/>
                    <a:pt x="237363" y="136483"/>
                    <a:pt x="237363" y="207692"/>
                  </a:cubicBezTo>
                  <a:cubicBezTo>
                    <a:pt x="237363" y="207692"/>
                    <a:pt x="145385" y="311538"/>
                    <a:pt x="0" y="198791"/>
                  </a:cubicBezTo>
                  <a:cubicBezTo>
                    <a:pt x="0" y="139450"/>
                    <a:pt x="11869" y="62308"/>
                    <a:pt x="14835" y="0"/>
                  </a:cubicBezTo>
                  <a:cubicBezTo>
                    <a:pt x="11869" y="0"/>
                    <a:pt x="192857" y="50439"/>
                    <a:pt x="243297" y="38571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6BB3AE17-55DB-44FF-98E9-384B93129737}"/>
                </a:ext>
              </a:extLst>
            </p:cNvPr>
            <p:cNvSpPr/>
            <p:nvPr/>
          </p:nvSpPr>
          <p:spPr>
            <a:xfrm>
              <a:off x="19630684" y="2814492"/>
              <a:ext cx="68241" cy="133516"/>
            </a:xfrm>
            <a:custGeom>
              <a:avLst/>
              <a:gdLst>
                <a:gd name="connsiteX0" fmla="*/ 0 w 68241"/>
                <a:gd name="connsiteY0" fmla="*/ 0 h 133516"/>
                <a:gd name="connsiteX1" fmla="*/ 65275 w 68241"/>
                <a:gd name="connsiteY1" fmla="*/ 133516 h 133516"/>
                <a:gd name="connsiteX2" fmla="*/ 68241 w 68241"/>
                <a:gd name="connsiteY2" fmla="*/ 50440 h 133516"/>
                <a:gd name="connsiteX3" fmla="*/ 0 w 68241"/>
                <a:gd name="connsiteY3" fmla="*/ 0 h 13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241" h="133516">
                  <a:moveTo>
                    <a:pt x="0" y="0"/>
                  </a:moveTo>
                  <a:cubicBezTo>
                    <a:pt x="0" y="0"/>
                    <a:pt x="14835" y="115714"/>
                    <a:pt x="65275" y="133516"/>
                  </a:cubicBezTo>
                  <a:lnTo>
                    <a:pt x="68241" y="504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BB960E21-E7AD-4EC6-9801-E2CACDAC853B}"/>
                </a:ext>
              </a:extLst>
            </p:cNvPr>
            <p:cNvSpPr/>
            <p:nvPr/>
          </p:nvSpPr>
          <p:spPr>
            <a:xfrm>
              <a:off x="19977387" y="2609767"/>
              <a:ext cx="99882" cy="231441"/>
            </a:xfrm>
            <a:custGeom>
              <a:avLst/>
              <a:gdLst>
                <a:gd name="connsiteX0" fmla="*/ 92417 w 99882"/>
                <a:gd name="connsiteY0" fmla="*/ 0 h 231441"/>
                <a:gd name="connsiteX1" fmla="*/ 53846 w 99882"/>
                <a:gd name="connsiteY1" fmla="*/ 228462 h 231441"/>
                <a:gd name="connsiteX2" fmla="*/ 440 w 99882"/>
                <a:gd name="connsiteY2" fmla="*/ 14835 h 231441"/>
                <a:gd name="connsiteX3" fmla="*/ 92417 w 99882"/>
                <a:gd name="connsiteY3" fmla="*/ 0 h 231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882" h="231441">
                  <a:moveTo>
                    <a:pt x="92417" y="0"/>
                  </a:moveTo>
                  <a:cubicBezTo>
                    <a:pt x="92417" y="0"/>
                    <a:pt x="125055" y="189890"/>
                    <a:pt x="53846" y="228462"/>
                  </a:cubicBezTo>
                  <a:cubicBezTo>
                    <a:pt x="-8461" y="261099"/>
                    <a:pt x="440" y="14835"/>
                    <a:pt x="440" y="14835"/>
                  </a:cubicBezTo>
                  <a:lnTo>
                    <a:pt x="92417" y="0"/>
                  </a:lnTo>
                  <a:close/>
                </a:path>
              </a:pathLst>
            </a:custGeom>
            <a:solidFill>
              <a:srgbClr val="664241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40EA9011-BA87-450A-9A4E-F01888C622D4}"/>
                </a:ext>
              </a:extLst>
            </p:cNvPr>
            <p:cNvSpPr/>
            <p:nvPr/>
          </p:nvSpPr>
          <p:spPr>
            <a:xfrm>
              <a:off x="19630684" y="2477890"/>
              <a:ext cx="412036" cy="553783"/>
            </a:xfrm>
            <a:custGeom>
              <a:avLst/>
              <a:gdLst>
                <a:gd name="connsiteX0" fmla="*/ 400549 w 412036"/>
                <a:gd name="connsiteY0" fmla="*/ 176383 h 553783"/>
                <a:gd name="connsiteX1" fmla="*/ 403518 w 412036"/>
                <a:gd name="connsiteY1" fmla="*/ 419679 h 553783"/>
                <a:gd name="connsiteX2" fmla="*/ 249232 w 412036"/>
                <a:gd name="connsiteY2" fmla="*/ 553196 h 553783"/>
                <a:gd name="connsiteX3" fmla="*/ 38571 w 412036"/>
                <a:gd name="connsiteY3" fmla="*/ 416712 h 553783"/>
                <a:gd name="connsiteX4" fmla="*/ 0 w 412036"/>
                <a:gd name="connsiteY4" fmla="*/ 197152 h 553783"/>
                <a:gd name="connsiteX5" fmla="*/ 204726 w 412036"/>
                <a:gd name="connsiteY5" fmla="*/ 1328 h 553783"/>
                <a:gd name="connsiteX6" fmla="*/ 400549 w 412036"/>
                <a:gd name="connsiteY6" fmla="*/ 176383 h 553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036" h="553783">
                  <a:moveTo>
                    <a:pt x="400549" y="176383"/>
                  </a:moveTo>
                  <a:cubicBezTo>
                    <a:pt x="400549" y="176383"/>
                    <a:pt x="424285" y="348471"/>
                    <a:pt x="403518" y="419679"/>
                  </a:cubicBezTo>
                  <a:cubicBezTo>
                    <a:pt x="385714" y="484954"/>
                    <a:pt x="299671" y="547262"/>
                    <a:pt x="249232" y="553196"/>
                  </a:cubicBezTo>
                  <a:cubicBezTo>
                    <a:pt x="183956" y="559130"/>
                    <a:pt x="68241" y="520559"/>
                    <a:pt x="38571" y="416712"/>
                  </a:cubicBezTo>
                  <a:cubicBezTo>
                    <a:pt x="17803" y="345504"/>
                    <a:pt x="0" y="247591"/>
                    <a:pt x="0" y="197152"/>
                  </a:cubicBezTo>
                  <a:cubicBezTo>
                    <a:pt x="0" y="105174"/>
                    <a:pt x="26704" y="28031"/>
                    <a:pt x="204726" y="1328"/>
                  </a:cubicBezTo>
                  <a:cubicBezTo>
                    <a:pt x="287803" y="-13507"/>
                    <a:pt x="379780" y="99240"/>
                    <a:pt x="400549" y="176383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467C0278-B260-4F8D-A10D-8AB725F008C9}"/>
                </a:ext>
              </a:extLst>
            </p:cNvPr>
            <p:cNvSpPr/>
            <p:nvPr/>
          </p:nvSpPr>
          <p:spPr>
            <a:xfrm>
              <a:off x="19853211" y="2731415"/>
              <a:ext cx="56374" cy="136483"/>
            </a:xfrm>
            <a:custGeom>
              <a:avLst/>
              <a:gdLst>
                <a:gd name="connsiteX0" fmla="*/ 26704 w 56374"/>
                <a:gd name="connsiteY0" fmla="*/ 136483 h 136483"/>
                <a:gd name="connsiteX1" fmla="*/ 5934 w 56374"/>
                <a:gd name="connsiteY1" fmla="*/ 133516 h 136483"/>
                <a:gd name="connsiteX2" fmla="*/ 0 w 56374"/>
                <a:gd name="connsiteY2" fmla="*/ 127582 h 136483"/>
                <a:gd name="connsiteX3" fmla="*/ 5934 w 56374"/>
                <a:gd name="connsiteY3" fmla="*/ 121648 h 136483"/>
                <a:gd name="connsiteX4" fmla="*/ 44505 w 56374"/>
                <a:gd name="connsiteY4" fmla="*/ 118681 h 136483"/>
                <a:gd name="connsiteX5" fmla="*/ 44505 w 56374"/>
                <a:gd name="connsiteY5" fmla="*/ 115714 h 136483"/>
                <a:gd name="connsiteX6" fmla="*/ 26704 w 56374"/>
                <a:gd name="connsiteY6" fmla="*/ 5934 h 136483"/>
                <a:gd name="connsiteX7" fmla="*/ 32638 w 56374"/>
                <a:gd name="connsiteY7" fmla="*/ 0 h 136483"/>
                <a:gd name="connsiteX8" fmla="*/ 38571 w 56374"/>
                <a:gd name="connsiteY8" fmla="*/ 5934 h 136483"/>
                <a:gd name="connsiteX9" fmla="*/ 56374 w 56374"/>
                <a:gd name="connsiteY9" fmla="*/ 115714 h 136483"/>
                <a:gd name="connsiteX10" fmla="*/ 50440 w 56374"/>
                <a:gd name="connsiteY10" fmla="*/ 127582 h 136483"/>
                <a:gd name="connsiteX11" fmla="*/ 26704 w 56374"/>
                <a:gd name="connsiteY11" fmla="*/ 136483 h 13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374" h="136483">
                  <a:moveTo>
                    <a:pt x="26704" y="136483"/>
                  </a:moveTo>
                  <a:cubicBezTo>
                    <a:pt x="17803" y="136483"/>
                    <a:pt x="8901" y="133516"/>
                    <a:pt x="5934" y="133516"/>
                  </a:cubicBezTo>
                  <a:cubicBezTo>
                    <a:pt x="2968" y="133516"/>
                    <a:pt x="0" y="130549"/>
                    <a:pt x="0" y="127582"/>
                  </a:cubicBezTo>
                  <a:cubicBezTo>
                    <a:pt x="0" y="124615"/>
                    <a:pt x="2968" y="121648"/>
                    <a:pt x="5934" y="121648"/>
                  </a:cubicBezTo>
                  <a:cubicBezTo>
                    <a:pt x="17803" y="124615"/>
                    <a:pt x="38571" y="124615"/>
                    <a:pt x="44505" y="118681"/>
                  </a:cubicBezTo>
                  <a:cubicBezTo>
                    <a:pt x="44505" y="118681"/>
                    <a:pt x="44505" y="115714"/>
                    <a:pt x="44505" y="115714"/>
                  </a:cubicBezTo>
                  <a:cubicBezTo>
                    <a:pt x="44505" y="97912"/>
                    <a:pt x="26704" y="8901"/>
                    <a:pt x="26704" y="5934"/>
                  </a:cubicBezTo>
                  <a:cubicBezTo>
                    <a:pt x="26704" y="2967"/>
                    <a:pt x="26704" y="0"/>
                    <a:pt x="32638" y="0"/>
                  </a:cubicBezTo>
                  <a:cubicBezTo>
                    <a:pt x="35605" y="0"/>
                    <a:pt x="38571" y="0"/>
                    <a:pt x="38571" y="5934"/>
                  </a:cubicBezTo>
                  <a:cubicBezTo>
                    <a:pt x="38571" y="8901"/>
                    <a:pt x="56374" y="97912"/>
                    <a:pt x="56374" y="115714"/>
                  </a:cubicBezTo>
                  <a:cubicBezTo>
                    <a:pt x="56374" y="121648"/>
                    <a:pt x="53406" y="124615"/>
                    <a:pt x="50440" y="127582"/>
                  </a:cubicBezTo>
                  <a:cubicBezTo>
                    <a:pt x="44505" y="133516"/>
                    <a:pt x="35605" y="136483"/>
                    <a:pt x="26704" y="136483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09E79C60-D0ED-4A40-9963-D6AB1AFA8374}"/>
                </a:ext>
              </a:extLst>
            </p:cNvPr>
            <p:cNvSpPr/>
            <p:nvPr/>
          </p:nvSpPr>
          <p:spPr>
            <a:xfrm>
              <a:off x="19938499" y="2710064"/>
              <a:ext cx="39909" cy="39735"/>
            </a:xfrm>
            <a:custGeom>
              <a:avLst/>
              <a:gdLst>
                <a:gd name="connsiteX0" fmla="*/ 757 w 39909"/>
                <a:gd name="connsiteY0" fmla="*/ 24318 h 39735"/>
                <a:gd name="connsiteX1" fmla="*/ 24492 w 39909"/>
                <a:gd name="connsiteY1" fmla="*/ 39153 h 39735"/>
                <a:gd name="connsiteX2" fmla="*/ 39328 w 39909"/>
                <a:gd name="connsiteY2" fmla="*/ 15417 h 39735"/>
                <a:gd name="connsiteX3" fmla="*/ 15592 w 39909"/>
                <a:gd name="connsiteY3" fmla="*/ 582 h 39735"/>
                <a:gd name="connsiteX4" fmla="*/ 757 w 39909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39735">
                  <a:moveTo>
                    <a:pt x="757" y="24318"/>
                  </a:moveTo>
                  <a:cubicBezTo>
                    <a:pt x="3723" y="33219"/>
                    <a:pt x="12624" y="42120"/>
                    <a:pt x="24492" y="39153"/>
                  </a:cubicBezTo>
                  <a:cubicBezTo>
                    <a:pt x="33393" y="36186"/>
                    <a:pt x="42294" y="27285"/>
                    <a:pt x="39328" y="15417"/>
                  </a:cubicBezTo>
                  <a:cubicBezTo>
                    <a:pt x="36361" y="6516"/>
                    <a:pt x="27459" y="-2385"/>
                    <a:pt x="15592" y="582"/>
                  </a:cubicBezTo>
                  <a:cubicBezTo>
                    <a:pt x="3723" y="3549"/>
                    <a:pt x="-2212" y="15417"/>
                    <a:pt x="757" y="24318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8A7C0A68-C6C2-4E6E-A8AE-322957B9DFA4}"/>
                </a:ext>
              </a:extLst>
            </p:cNvPr>
            <p:cNvSpPr/>
            <p:nvPr/>
          </p:nvSpPr>
          <p:spPr>
            <a:xfrm>
              <a:off x="19760477" y="2730833"/>
              <a:ext cx="39909" cy="39735"/>
            </a:xfrm>
            <a:custGeom>
              <a:avLst/>
              <a:gdLst>
                <a:gd name="connsiteX0" fmla="*/ 757 w 39909"/>
                <a:gd name="connsiteY0" fmla="*/ 24318 h 39735"/>
                <a:gd name="connsiteX1" fmla="*/ 24492 w 39909"/>
                <a:gd name="connsiteY1" fmla="*/ 39153 h 39735"/>
                <a:gd name="connsiteX2" fmla="*/ 39328 w 39909"/>
                <a:gd name="connsiteY2" fmla="*/ 15417 h 39735"/>
                <a:gd name="connsiteX3" fmla="*/ 15592 w 39909"/>
                <a:gd name="connsiteY3" fmla="*/ 582 h 39735"/>
                <a:gd name="connsiteX4" fmla="*/ 757 w 39909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39735">
                  <a:moveTo>
                    <a:pt x="757" y="24318"/>
                  </a:moveTo>
                  <a:cubicBezTo>
                    <a:pt x="3723" y="33219"/>
                    <a:pt x="12624" y="42120"/>
                    <a:pt x="24492" y="39153"/>
                  </a:cubicBezTo>
                  <a:cubicBezTo>
                    <a:pt x="33393" y="36186"/>
                    <a:pt x="42294" y="27285"/>
                    <a:pt x="39328" y="15417"/>
                  </a:cubicBezTo>
                  <a:cubicBezTo>
                    <a:pt x="36361" y="6516"/>
                    <a:pt x="27459" y="-2385"/>
                    <a:pt x="15592" y="582"/>
                  </a:cubicBezTo>
                  <a:cubicBezTo>
                    <a:pt x="3723" y="3549"/>
                    <a:pt x="-2212" y="12450"/>
                    <a:pt x="757" y="24318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6FB6A242-4586-43F3-8828-BDCEFD318CC1}"/>
                </a:ext>
              </a:extLst>
            </p:cNvPr>
            <p:cNvSpPr/>
            <p:nvPr/>
          </p:nvSpPr>
          <p:spPr>
            <a:xfrm>
              <a:off x="19908356" y="2663174"/>
              <a:ext cx="89498" cy="32637"/>
            </a:xfrm>
            <a:custGeom>
              <a:avLst/>
              <a:gdLst>
                <a:gd name="connsiteX0" fmla="*/ 84306 w 89498"/>
                <a:gd name="connsiteY0" fmla="*/ 32637 h 32637"/>
                <a:gd name="connsiteX1" fmla="*/ 78372 w 89498"/>
                <a:gd name="connsiteY1" fmla="*/ 29670 h 32637"/>
                <a:gd name="connsiteX2" fmla="*/ 13097 w 89498"/>
                <a:gd name="connsiteY2" fmla="*/ 23736 h 32637"/>
                <a:gd name="connsiteX3" fmla="*/ 1229 w 89498"/>
                <a:gd name="connsiteY3" fmla="*/ 20769 h 32637"/>
                <a:gd name="connsiteX4" fmla="*/ 4196 w 89498"/>
                <a:gd name="connsiteY4" fmla="*/ 8901 h 32637"/>
                <a:gd name="connsiteX5" fmla="*/ 87272 w 89498"/>
                <a:gd name="connsiteY5" fmla="*/ 17802 h 32637"/>
                <a:gd name="connsiteX6" fmla="*/ 87272 w 89498"/>
                <a:gd name="connsiteY6" fmla="*/ 29670 h 32637"/>
                <a:gd name="connsiteX7" fmla="*/ 84306 w 89498"/>
                <a:gd name="connsiteY7" fmla="*/ 32637 h 32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2637">
                  <a:moveTo>
                    <a:pt x="84306" y="32637"/>
                  </a:moveTo>
                  <a:cubicBezTo>
                    <a:pt x="81340" y="32637"/>
                    <a:pt x="81340" y="32637"/>
                    <a:pt x="78372" y="29670"/>
                  </a:cubicBezTo>
                  <a:cubicBezTo>
                    <a:pt x="51669" y="2967"/>
                    <a:pt x="13097" y="23736"/>
                    <a:pt x="13097" y="23736"/>
                  </a:cubicBezTo>
                  <a:cubicBezTo>
                    <a:pt x="10130" y="26703"/>
                    <a:pt x="4196" y="23736"/>
                    <a:pt x="1229" y="20769"/>
                  </a:cubicBezTo>
                  <a:cubicBezTo>
                    <a:pt x="-1739" y="17802"/>
                    <a:pt x="1229" y="11868"/>
                    <a:pt x="4196" y="8901"/>
                  </a:cubicBezTo>
                  <a:cubicBezTo>
                    <a:pt x="21999" y="0"/>
                    <a:pt x="60570" y="-8901"/>
                    <a:pt x="87272" y="17802"/>
                  </a:cubicBezTo>
                  <a:cubicBezTo>
                    <a:pt x="90240" y="20769"/>
                    <a:pt x="90240" y="26703"/>
                    <a:pt x="87272" y="29670"/>
                  </a:cubicBezTo>
                  <a:cubicBezTo>
                    <a:pt x="90240" y="32637"/>
                    <a:pt x="87272" y="32637"/>
                    <a:pt x="84306" y="32637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BDBC7A77-F328-4F69-8E3C-6BCB158FD39C}"/>
                </a:ext>
              </a:extLst>
            </p:cNvPr>
            <p:cNvSpPr/>
            <p:nvPr/>
          </p:nvSpPr>
          <p:spPr>
            <a:xfrm>
              <a:off x="19726371" y="2663476"/>
              <a:ext cx="89498" cy="35302"/>
            </a:xfrm>
            <a:custGeom>
              <a:avLst/>
              <a:gdLst>
                <a:gd name="connsiteX0" fmla="*/ 8159 w 89498"/>
                <a:gd name="connsiteY0" fmla="*/ 35302 h 35302"/>
                <a:gd name="connsiteX1" fmla="*/ 2225 w 89498"/>
                <a:gd name="connsiteY1" fmla="*/ 32335 h 35302"/>
                <a:gd name="connsiteX2" fmla="*/ 2225 w 89498"/>
                <a:gd name="connsiteY2" fmla="*/ 20467 h 35302"/>
                <a:gd name="connsiteX3" fmla="*/ 85303 w 89498"/>
                <a:gd name="connsiteY3" fmla="*/ 11566 h 35302"/>
                <a:gd name="connsiteX4" fmla="*/ 88269 w 89498"/>
                <a:gd name="connsiteY4" fmla="*/ 23434 h 35302"/>
                <a:gd name="connsiteX5" fmla="*/ 76401 w 89498"/>
                <a:gd name="connsiteY5" fmla="*/ 26401 h 35302"/>
                <a:gd name="connsiteX6" fmla="*/ 11127 w 89498"/>
                <a:gd name="connsiteY6" fmla="*/ 32335 h 35302"/>
                <a:gd name="connsiteX7" fmla="*/ 8159 w 89498"/>
                <a:gd name="connsiteY7" fmla="*/ 35302 h 35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302">
                  <a:moveTo>
                    <a:pt x="8159" y="35302"/>
                  </a:moveTo>
                  <a:cubicBezTo>
                    <a:pt x="5193" y="35302"/>
                    <a:pt x="5193" y="35302"/>
                    <a:pt x="2225" y="32335"/>
                  </a:cubicBezTo>
                  <a:cubicBezTo>
                    <a:pt x="-742" y="29368"/>
                    <a:pt x="-742" y="23434"/>
                    <a:pt x="2225" y="20467"/>
                  </a:cubicBezTo>
                  <a:cubicBezTo>
                    <a:pt x="14094" y="5632"/>
                    <a:pt x="49698" y="-12170"/>
                    <a:pt x="85303" y="11566"/>
                  </a:cubicBezTo>
                  <a:cubicBezTo>
                    <a:pt x="88269" y="14533"/>
                    <a:pt x="91236" y="17500"/>
                    <a:pt x="88269" y="23434"/>
                  </a:cubicBezTo>
                  <a:cubicBezTo>
                    <a:pt x="85303" y="26401"/>
                    <a:pt x="82335" y="29368"/>
                    <a:pt x="76401" y="26401"/>
                  </a:cubicBezTo>
                  <a:cubicBezTo>
                    <a:pt x="40798" y="2665"/>
                    <a:pt x="14094" y="32335"/>
                    <a:pt x="11127" y="32335"/>
                  </a:cubicBezTo>
                  <a:cubicBezTo>
                    <a:pt x="11127" y="35302"/>
                    <a:pt x="11127" y="35302"/>
                    <a:pt x="8159" y="35302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6201E69B-D309-4345-86AC-AD1659AD40EA}"/>
                </a:ext>
              </a:extLst>
            </p:cNvPr>
            <p:cNvSpPr/>
            <p:nvPr/>
          </p:nvSpPr>
          <p:spPr>
            <a:xfrm>
              <a:off x="19722663" y="2974712"/>
              <a:ext cx="224752" cy="62307"/>
            </a:xfrm>
            <a:custGeom>
              <a:avLst/>
              <a:gdLst>
                <a:gd name="connsiteX0" fmla="*/ 145384 w 224752"/>
                <a:gd name="connsiteY0" fmla="*/ 62308 h 62307"/>
                <a:gd name="connsiteX1" fmla="*/ 2966 w 224752"/>
                <a:gd name="connsiteY1" fmla="*/ 11868 h 62307"/>
                <a:gd name="connsiteX2" fmla="*/ 0 w 224752"/>
                <a:gd name="connsiteY2" fmla="*/ 2967 h 62307"/>
                <a:gd name="connsiteX3" fmla="*/ 8901 w 224752"/>
                <a:gd name="connsiteY3" fmla="*/ 0 h 62307"/>
                <a:gd name="connsiteX4" fmla="*/ 145384 w 224752"/>
                <a:gd name="connsiteY4" fmla="*/ 47472 h 62307"/>
                <a:gd name="connsiteX5" fmla="*/ 145384 w 224752"/>
                <a:gd name="connsiteY5" fmla="*/ 47472 h 62307"/>
                <a:gd name="connsiteX6" fmla="*/ 213625 w 224752"/>
                <a:gd name="connsiteY6" fmla="*/ 23736 h 62307"/>
                <a:gd name="connsiteX7" fmla="*/ 222527 w 224752"/>
                <a:gd name="connsiteY7" fmla="*/ 23736 h 62307"/>
                <a:gd name="connsiteX8" fmla="*/ 222527 w 224752"/>
                <a:gd name="connsiteY8" fmla="*/ 32637 h 62307"/>
                <a:gd name="connsiteX9" fmla="*/ 145384 w 224752"/>
                <a:gd name="connsiteY9" fmla="*/ 62308 h 62307"/>
                <a:gd name="connsiteX10" fmla="*/ 145384 w 224752"/>
                <a:gd name="connsiteY10" fmla="*/ 62308 h 6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752" h="62307">
                  <a:moveTo>
                    <a:pt x="145384" y="62308"/>
                  </a:moveTo>
                  <a:cubicBezTo>
                    <a:pt x="94944" y="62308"/>
                    <a:pt x="8901" y="14835"/>
                    <a:pt x="2966" y="11868"/>
                  </a:cubicBezTo>
                  <a:cubicBezTo>
                    <a:pt x="0" y="8901"/>
                    <a:pt x="0" y="5934"/>
                    <a:pt x="0" y="2967"/>
                  </a:cubicBezTo>
                  <a:cubicBezTo>
                    <a:pt x="2966" y="0"/>
                    <a:pt x="5933" y="0"/>
                    <a:pt x="8901" y="0"/>
                  </a:cubicBezTo>
                  <a:cubicBezTo>
                    <a:pt x="8901" y="0"/>
                    <a:pt x="97912" y="47472"/>
                    <a:pt x="145384" y="47472"/>
                  </a:cubicBezTo>
                  <a:cubicBezTo>
                    <a:pt x="145384" y="47472"/>
                    <a:pt x="145384" y="47472"/>
                    <a:pt x="145384" y="47472"/>
                  </a:cubicBezTo>
                  <a:cubicBezTo>
                    <a:pt x="183955" y="47472"/>
                    <a:pt x="213625" y="23736"/>
                    <a:pt x="213625" y="23736"/>
                  </a:cubicBezTo>
                  <a:cubicBezTo>
                    <a:pt x="216593" y="20769"/>
                    <a:pt x="219559" y="20769"/>
                    <a:pt x="222527" y="23736"/>
                  </a:cubicBezTo>
                  <a:cubicBezTo>
                    <a:pt x="225494" y="26703"/>
                    <a:pt x="225494" y="29670"/>
                    <a:pt x="222527" y="32637"/>
                  </a:cubicBezTo>
                  <a:cubicBezTo>
                    <a:pt x="219559" y="35604"/>
                    <a:pt x="186923" y="59341"/>
                    <a:pt x="145384" y="62308"/>
                  </a:cubicBezTo>
                  <a:cubicBezTo>
                    <a:pt x="145384" y="62308"/>
                    <a:pt x="145384" y="62308"/>
                    <a:pt x="145384" y="62308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675195E5-00BC-4DFC-92F1-CB826A7FD5A1}"/>
                </a:ext>
              </a:extLst>
            </p:cNvPr>
            <p:cNvSpPr/>
            <p:nvPr/>
          </p:nvSpPr>
          <p:spPr>
            <a:xfrm>
              <a:off x="19591805" y="2499987"/>
              <a:ext cx="110088" cy="261098"/>
            </a:xfrm>
            <a:custGeom>
              <a:avLst/>
              <a:gdLst>
                <a:gd name="connsiteX0" fmla="*/ 110088 w 110088"/>
                <a:gd name="connsiteY0" fmla="*/ 124615 h 261098"/>
                <a:gd name="connsiteX1" fmla="*/ 62614 w 110088"/>
                <a:gd name="connsiteY1" fmla="*/ 261099 h 261098"/>
                <a:gd name="connsiteX2" fmla="*/ 6242 w 110088"/>
                <a:gd name="connsiteY2" fmla="*/ 163187 h 261098"/>
                <a:gd name="connsiteX3" fmla="*/ 62614 w 110088"/>
                <a:gd name="connsiteY3" fmla="*/ 0 h 261098"/>
                <a:gd name="connsiteX4" fmla="*/ 110088 w 110088"/>
                <a:gd name="connsiteY4" fmla="*/ 124615 h 26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088" h="261098">
                  <a:moveTo>
                    <a:pt x="110088" y="124615"/>
                  </a:moveTo>
                  <a:cubicBezTo>
                    <a:pt x="110088" y="124615"/>
                    <a:pt x="56682" y="231429"/>
                    <a:pt x="62614" y="261099"/>
                  </a:cubicBezTo>
                  <a:cubicBezTo>
                    <a:pt x="62614" y="261099"/>
                    <a:pt x="21077" y="216593"/>
                    <a:pt x="6242" y="163187"/>
                  </a:cubicBezTo>
                  <a:cubicBezTo>
                    <a:pt x="-8593" y="106813"/>
                    <a:pt x="308" y="14835"/>
                    <a:pt x="62614" y="0"/>
                  </a:cubicBezTo>
                  <a:cubicBezTo>
                    <a:pt x="62614" y="0"/>
                    <a:pt x="71517" y="106813"/>
                    <a:pt x="110088" y="124615"/>
                  </a:cubicBezTo>
                  <a:close/>
                </a:path>
              </a:pathLst>
            </a:custGeom>
            <a:solidFill>
              <a:srgbClr val="664241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24A52A19-5763-4E84-924E-1C5C7808CCE9}"/>
                </a:ext>
              </a:extLst>
            </p:cNvPr>
            <p:cNvSpPr/>
            <p:nvPr/>
          </p:nvSpPr>
          <p:spPr>
            <a:xfrm>
              <a:off x="19644739" y="2382609"/>
              <a:ext cx="487373" cy="250924"/>
            </a:xfrm>
            <a:custGeom>
              <a:avLst/>
              <a:gdLst>
                <a:gd name="connsiteX0" fmla="*/ 57154 w 487373"/>
                <a:gd name="connsiteY0" fmla="*/ 241993 h 250924"/>
                <a:gd name="connsiteX1" fmla="*/ 175835 w 487373"/>
                <a:gd name="connsiteY1" fmla="*/ 203421 h 250924"/>
                <a:gd name="connsiteX2" fmla="*/ 487374 w 487373"/>
                <a:gd name="connsiteY2" fmla="*/ 191553 h 250924"/>
                <a:gd name="connsiteX3" fmla="*/ 395395 w 487373"/>
                <a:gd name="connsiteY3" fmla="*/ 132213 h 250924"/>
                <a:gd name="connsiteX4" fmla="*/ 125395 w 487373"/>
                <a:gd name="connsiteY4" fmla="*/ 10564 h 250924"/>
                <a:gd name="connsiteX5" fmla="*/ 9680 w 487373"/>
                <a:gd name="connsiteY5" fmla="*/ 114410 h 250924"/>
                <a:gd name="connsiteX6" fmla="*/ 57154 w 487373"/>
                <a:gd name="connsiteY6" fmla="*/ 241993 h 250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373" h="250924">
                  <a:moveTo>
                    <a:pt x="57154" y="241993"/>
                  </a:moveTo>
                  <a:cubicBezTo>
                    <a:pt x="57154" y="241993"/>
                    <a:pt x="149131" y="203421"/>
                    <a:pt x="175835" y="203421"/>
                  </a:cubicBezTo>
                  <a:cubicBezTo>
                    <a:pt x="273747" y="206388"/>
                    <a:pt x="398363" y="316169"/>
                    <a:pt x="487374" y="191553"/>
                  </a:cubicBezTo>
                  <a:cubicBezTo>
                    <a:pt x="436934" y="203421"/>
                    <a:pt x="413198" y="155949"/>
                    <a:pt x="395395" y="132213"/>
                  </a:cubicBezTo>
                  <a:cubicBezTo>
                    <a:pt x="353857" y="72872"/>
                    <a:pt x="285616" y="-33941"/>
                    <a:pt x="125395" y="10564"/>
                  </a:cubicBezTo>
                  <a:cubicBezTo>
                    <a:pt x="48253" y="31334"/>
                    <a:pt x="15615" y="78806"/>
                    <a:pt x="9680" y="114410"/>
                  </a:cubicBezTo>
                  <a:cubicBezTo>
                    <a:pt x="9680" y="117377"/>
                    <a:pt x="-31857" y="230125"/>
                    <a:pt x="57154" y="241993"/>
                  </a:cubicBezTo>
                  <a:close/>
                </a:path>
              </a:pathLst>
            </a:custGeom>
            <a:solidFill>
              <a:srgbClr val="664241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33232DF4-455A-4BCC-93FE-0364FD1584CC}"/>
                </a:ext>
              </a:extLst>
            </p:cNvPr>
            <p:cNvSpPr/>
            <p:nvPr/>
          </p:nvSpPr>
          <p:spPr>
            <a:xfrm>
              <a:off x="19591091" y="2731230"/>
              <a:ext cx="76515" cy="107539"/>
            </a:xfrm>
            <a:custGeom>
              <a:avLst/>
              <a:gdLst>
                <a:gd name="connsiteX0" fmla="*/ 63329 w 76515"/>
                <a:gd name="connsiteY0" fmla="*/ 15021 h 107539"/>
                <a:gd name="connsiteX1" fmla="*/ 6957 w 76515"/>
                <a:gd name="connsiteY1" fmla="*/ 6120 h 107539"/>
                <a:gd name="connsiteX2" fmla="*/ 63329 w 76515"/>
                <a:gd name="connsiteY2" fmla="*/ 104032 h 107539"/>
                <a:gd name="connsiteX3" fmla="*/ 63329 w 76515"/>
                <a:gd name="connsiteY3" fmla="*/ 15021 h 10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515" h="107539">
                  <a:moveTo>
                    <a:pt x="63329" y="15021"/>
                  </a:moveTo>
                  <a:cubicBezTo>
                    <a:pt x="63329" y="15021"/>
                    <a:pt x="30692" y="-11683"/>
                    <a:pt x="6957" y="6120"/>
                  </a:cubicBezTo>
                  <a:cubicBezTo>
                    <a:pt x="-16779" y="23922"/>
                    <a:pt x="24758" y="127768"/>
                    <a:pt x="63329" y="104032"/>
                  </a:cubicBezTo>
                  <a:cubicBezTo>
                    <a:pt x="92999" y="86229"/>
                    <a:pt x="63329" y="15021"/>
                    <a:pt x="63329" y="15021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94D797C9-A07D-40E3-B9A8-82CF705C811A}"/>
                </a:ext>
              </a:extLst>
            </p:cNvPr>
            <p:cNvSpPr/>
            <p:nvPr/>
          </p:nvSpPr>
          <p:spPr>
            <a:xfrm>
              <a:off x="19637178" y="2516560"/>
              <a:ext cx="70649" cy="235624"/>
            </a:xfrm>
            <a:custGeom>
              <a:avLst/>
              <a:gdLst>
                <a:gd name="connsiteX0" fmla="*/ 17242 w 70649"/>
                <a:gd name="connsiteY0" fmla="*/ 235625 h 235624"/>
                <a:gd name="connsiteX1" fmla="*/ 17242 w 70649"/>
                <a:gd name="connsiteY1" fmla="*/ 235625 h 235624"/>
                <a:gd name="connsiteX2" fmla="*/ 11309 w 70649"/>
                <a:gd name="connsiteY2" fmla="*/ 229691 h 235624"/>
                <a:gd name="connsiteX3" fmla="*/ 55814 w 70649"/>
                <a:gd name="connsiteY3" fmla="*/ 111009 h 235624"/>
                <a:gd name="connsiteX4" fmla="*/ 8341 w 70649"/>
                <a:gd name="connsiteY4" fmla="*/ 69471 h 235624"/>
                <a:gd name="connsiteX5" fmla="*/ 5374 w 70649"/>
                <a:gd name="connsiteY5" fmla="*/ 4196 h 235624"/>
                <a:gd name="connsiteX6" fmla="*/ 11309 w 70649"/>
                <a:gd name="connsiteY6" fmla="*/ 1229 h 235624"/>
                <a:gd name="connsiteX7" fmla="*/ 14275 w 70649"/>
                <a:gd name="connsiteY7" fmla="*/ 7163 h 235624"/>
                <a:gd name="connsiteX8" fmla="*/ 14275 w 70649"/>
                <a:gd name="connsiteY8" fmla="*/ 63537 h 235624"/>
                <a:gd name="connsiteX9" fmla="*/ 61747 w 70649"/>
                <a:gd name="connsiteY9" fmla="*/ 102108 h 235624"/>
                <a:gd name="connsiteX10" fmla="*/ 70650 w 70649"/>
                <a:gd name="connsiteY10" fmla="*/ 105075 h 235624"/>
                <a:gd name="connsiteX11" fmla="*/ 64715 w 70649"/>
                <a:gd name="connsiteY11" fmla="*/ 111009 h 235624"/>
                <a:gd name="connsiteX12" fmla="*/ 20210 w 70649"/>
                <a:gd name="connsiteY12" fmla="*/ 229691 h 235624"/>
                <a:gd name="connsiteX13" fmla="*/ 17242 w 70649"/>
                <a:gd name="connsiteY13" fmla="*/ 235625 h 23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649" h="235624">
                  <a:moveTo>
                    <a:pt x="17242" y="235625"/>
                  </a:moveTo>
                  <a:lnTo>
                    <a:pt x="17242" y="235625"/>
                  </a:lnTo>
                  <a:cubicBezTo>
                    <a:pt x="14275" y="235625"/>
                    <a:pt x="11309" y="232658"/>
                    <a:pt x="11309" y="229691"/>
                  </a:cubicBezTo>
                  <a:cubicBezTo>
                    <a:pt x="14275" y="179251"/>
                    <a:pt x="43946" y="128811"/>
                    <a:pt x="55814" y="111009"/>
                  </a:cubicBezTo>
                  <a:cubicBezTo>
                    <a:pt x="43946" y="105075"/>
                    <a:pt x="20210" y="93207"/>
                    <a:pt x="8341" y="69471"/>
                  </a:cubicBezTo>
                  <a:cubicBezTo>
                    <a:pt x="-560" y="51669"/>
                    <a:pt x="-3526" y="27932"/>
                    <a:pt x="5374" y="4196"/>
                  </a:cubicBezTo>
                  <a:cubicBezTo>
                    <a:pt x="5374" y="1229"/>
                    <a:pt x="8341" y="-1738"/>
                    <a:pt x="11309" y="1229"/>
                  </a:cubicBezTo>
                  <a:cubicBezTo>
                    <a:pt x="14275" y="1229"/>
                    <a:pt x="17242" y="4196"/>
                    <a:pt x="14275" y="7163"/>
                  </a:cubicBezTo>
                  <a:cubicBezTo>
                    <a:pt x="8341" y="27932"/>
                    <a:pt x="8341" y="45734"/>
                    <a:pt x="14275" y="63537"/>
                  </a:cubicBezTo>
                  <a:cubicBezTo>
                    <a:pt x="29110" y="90240"/>
                    <a:pt x="61747" y="102108"/>
                    <a:pt x="61747" y="102108"/>
                  </a:cubicBezTo>
                  <a:lnTo>
                    <a:pt x="70650" y="105075"/>
                  </a:lnTo>
                  <a:lnTo>
                    <a:pt x="64715" y="111009"/>
                  </a:lnTo>
                  <a:cubicBezTo>
                    <a:pt x="64715" y="111009"/>
                    <a:pt x="23176" y="170350"/>
                    <a:pt x="20210" y="229691"/>
                  </a:cubicBezTo>
                  <a:cubicBezTo>
                    <a:pt x="23176" y="232658"/>
                    <a:pt x="23176" y="235625"/>
                    <a:pt x="17242" y="235625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E32BD52F-6818-4D51-9A98-ADE95F2D6AD1}"/>
                </a:ext>
              </a:extLst>
            </p:cNvPr>
            <p:cNvSpPr/>
            <p:nvPr/>
          </p:nvSpPr>
          <p:spPr>
            <a:xfrm>
              <a:off x="19814640" y="2553902"/>
              <a:ext cx="189148" cy="38062"/>
            </a:xfrm>
            <a:custGeom>
              <a:avLst/>
              <a:gdLst>
                <a:gd name="connsiteX0" fmla="*/ 5934 w 189148"/>
                <a:gd name="connsiteY0" fmla="*/ 38063 h 38062"/>
                <a:gd name="connsiteX1" fmla="*/ 0 w 189148"/>
                <a:gd name="connsiteY1" fmla="*/ 35096 h 38062"/>
                <a:gd name="connsiteX2" fmla="*/ 2966 w 189148"/>
                <a:gd name="connsiteY2" fmla="*/ 26194 h 38062"/>
                <a:gd name="connsiteX3" fmla="*/ 186923 w 189148"/>
                <a:gd name="connsiteY3" fmla="*/ 20260 h 38062"/>
                <a:gd name="connsiteX4" fmla="*/ 186923 w 189148"/>
                <a:gd name="connsiteY4" fmla="*/ 29161 h 38062"/>
                <a:gd name="connsiteX5" fmla="*/ 178022 w 189148"/>
                <a:gd name="connsiteY5" fmla="*/ 29161 h 38062"/>
                <a:gd name="connsiteX6" fmla="*/ 5934 w 189148"/>
                <a:gd name="connsiteY6" fmla="*/ 38063 h 38062"/>
                <a:gd name="connsiteX7" fmla="*/ 5934 w 189148"/>
                <a:gd name="connsiteY7" fmla="*/ 38063 h 38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148" h="38062">
                  <a:moveTo>
                    <a:pt x="5934" y="38063"/>
                  </a:moveTo>
                  <a:cubicBezTo>
                    <a:pt x="2966" y="38063"/>
                    <a:pt x="2966" y="38063"/>
                    <a:pt x="0" y="35096"/>
                  </a:cubicBezTo>
                  <a:cubicBezTo>
                    <a:pt x="0" y="32128"/>
                    <a:pt x="0" y="29161"/>
                    <a:pt x="2966" y="26194"/>
                  </a:cubicBezTo>
                  <a:cubicBezTo>
                    <a:pt x="8901" y="23227"/>
                    <a:pt x="118681" y="-27212"/>
                    <a:pt x="186923" y="20260"/>
                  </a:cubicBezTo>
                  <a:cubicBezTo>
                    <a:pt x="189891" y="23227"/>
                    <a:pt x="189891" y="26194"/>
                    <a:pt x="186923" y="29161"/>
                  </a:cubicBezTo>
                  <a:cubicBezTo>
                    <a:pt x="183956" y="32128"/>
                    <a:pt x="180988" y="32128"/>
                    <a:pt x="178022" y="29161"/>
                  </a:cubicBezTo>
                  <a:cubicBezTo>
                    <a:pt x="118681" y="-12377"/>
                    <a:pt x="8901" y="38063"/>
                    <a:pt x="5934" y="38063"/>
                  </a:cubicBezTo>
                  <a:cubicBezTo>
                    <a:pt x="8901" y="38063"/>
                    <a:pt x="5934" y="38063"/>
                    <a:pt x="5934" y="38063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73EA2058-0829-42D1-8426-773AA4AE2895}"/>
                </a:ext>
              </a:extLst>
            </p:cNvPr>
            <p:cNvSpPr/>
            <p:nvPr/>
          </p:nvSpPr>
          <p:spPr>
            <a:xfrm>
              <a:off x="19316179" y="3087459"/>
              <a:ext cx="1042223" cy="1524875"/>
            </a:xfrm>
            <a:custGeom>
              <a:avLst/>
              <a:gdLst>
                <a:gd name="connsiteX0" fmla="*/ 385714 w 1042223"/>
                <a:gd name="connsiteY0" fmla="*/ 0 h 1524875"/>
                <a:gd name="connsiteX1" fmla="*/ 667582 w 1042223"/>
                <a:gd name="connsiteY1" fmla="*/ 0 h 1524875"/>
                <a:gd name="connsiteX2" fmla="*/ 958351 w 1042223"/>
                <a:gd name="connsiteY2" fmla="*/ 127582 h 1524875"/>
                <a:gd name="connsiteX3" fmla="*/ 1041428 w 1042223"/>
                <a:gd name="connsiteY3" fmla="*/ 1495385 h 1524875"/>
                <a:gd name="connsiteX4" fmla="*/ 0 w 1042223"/>
                <a:gd name="connsiteY4" fmla="*/ 1471648 h 1524875"/>
                <a:gd name="connsiteX5" fmla="*/ 112747 w 1042223"/>
                <a:gd name="connsiteY5" fmla="*/ 100879 h 1524875"/>
                <a:gd name="connsiteX6" fmla="*/ 385714 w 1042223"/>
                <a:gd name="connsiteY6" fmla="*/ 0 h 152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2223" h="1524875">
                  <a:moveTo>
                    <a:pt x="385714" y="0"/>
                  </a:moveTo>
                  <a:cubicBezTo>
                    <a:pt x="385714" y="0"/>
                    <a:pt x="554836" y="53407"/>
                    <a:pt x="667582" y="0"/>
                  </a:cubicBezTo>
                  <a:cubicBezTo>
                    <a:pt x="667582" y="0"/>
                    <a:pt x="934615" y="94945"/>
                    <a:pt x="958351" y="127582"/>
                  </a:cubicBezTo>
                  <a:cubicBezTo>
                    <a:pt x="982087" y="157253"/>
                    <a:pt x="1050329" y="1430110"/>
                    <a:pt x="1041428" y="1495385"/>
                  </a:cubicBezTo>
                  <a:cubicBezTo>
                    <a:pt x="1041428" y="1495385"/>
                    <a:pt x="563736" y="1575495"/>
                    <a:pt x="0" y="1471648"/>
                  </a:cubicBezTo>
                  <a:cubicBezTo>
                    <a:pt x="0" y="1124505"/>
                    <a:pt x="71208" y="130549"/>
                    <a:pt x="112747" y="100879"/>
                  </a:cubicBezTo>
                  <a:cubicBezTo>
                    <a:pt x="154286" y="71209"/>
                    <a:pt x="385714" y="0"/>
                    <a:pt x="385714" y="0"/>
                  </a:cubicBezTo>
                  <a:close/>
                </a:path>
              </a:pathLst>
            </a:custGeom>
            <a:solidFill>
              <a:srgbClr val="7F95BC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BFC7333D-2A3C-40D8-B8CB-ACD12131A221}"/>
                </a:ext>
              </a:extLst>
            </p:cNvPr>
            <p:cNvSpPr/>
            <p:nvPr/>
          </p:nvSpPr>
          <p:spPr>
            <a:xfrm>
              <a:off x="20120847" y="3174948"/>
              <a:ext cx="438517" cy="594928"/>
            </a:xfrm>
            <a:custGeom>
              <a:avLst/>
              <a:gdLst>
                <a:gd name="connsiteX0" fmla="*/ 61706 w 438517"/>
                <a:gd name="connsiteY0" fmla="*/ 594929 h 594928"/>
                <a:gd name="connsiteX1" fmla="*/ 49837 w 438517"/>
                <a:gd name="connsiteY1" fmla="*/ 10424 h 594928"/>
                <a:gd name="connsiteX2" fmla="*/ 438517 w 438517"/>
                <a:gd name="connsiteY2" fmla="*/ 431742 h 594928"/>
                <a:gd name="connsiteX3" fmla="*/ 61706 w 438517"/>
                <a:gd name="connsiteY3" fmla="*/ 594929 h 59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517" h="594928">
                  <a:moveTo>
                    <a:pt x="61706" y="594929"/>
                  </a:moveTo>
                  <a:cubicBezTo>
                    <a:pt x="61706" y="594929"/>
                    <a:pt x="-68845" y="87566"/>
                    <a:pt x="49837" y="10424"/>
                  </a:cubicBezTo>
                  <a:cubicBezTo>
                    <a:pt x="189288" y="-78587"/>
                    <a:pt x="438517" y="431742"/>
                    <a:pt x="438517" y="431742"/>
                  </a:cubicBezTo>
                  <a:cubicBezTo>
                    <a:pt x="438517" y="431742"/>
                    <a:pt x="269398" y="577127"/>
                    <a:pt x="61706" y="594929"/>
                  </a:cubicBezTo>
                  <a:close/>
                </a:path>
              </a:pathLst>
            </a:custGeom>
            <a:solidFill>
              <a:srgbClr val="7F95BC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FD3CB172-86B4-4B3E-BFE4-27B90570851E}"/>
                </a:ext>
              </a:extLst>
            </p:cNvPr>
            <p:cNvSpPr/>
            <p:nvPr/>
          </p:nvSpPr>
          <p:spPr>
            <a:xfrm>
              <a:off x="20268596" y="3209108"/>
              <a:ext cx="51668" cy="537033"/>
            </a:xfrm>
            <a:custGeom>
              <a:avLst/>
              <a:gdLst>
                <a:gd name="connsiteX0" fmla="*/ 47474 w 51668"/>
                <a:gd name="connsiteY0" fmla="*/ 537033 h 537033"/>
                <a:gd name="connsiteX1" fmla="*/ 41539 w 51668"/>
                <a:gd name="connsiteY1" fmla="*/ 531099 h 537033"/>
                <a:gd name="connsiteX2" fmla="*/ 0 w 51668"/>
                <a:gd name="connsiteY2" fmla="*/ 5934 h 537033"/>
                <a:gd name="connsiteX3" fmla="*/ 2968 w 51668"/>
                <a:gd name="connsiteY3" fmla="*/ 0 h 537033"/>
                <a:gd name="connsiteX4" fmla="*/ 8901 w 51668"/>
                <a:gd name="connsiteY4" fmla="*/ 2967 h 537033"/>
                <a:gd name="connsiteX5" fmla="*/ 50440 w 51668"/>
                <a:gd name="connsiteY5" fmla="*/ 531099 h 537033"/>
                <a:gd name="connsiteX6" fmla="*/ 47474 w 51668"/>
                <a:gd name="connsiteY6" fmla="*/ 537033 h 537033"/>
                <a:gd name="connsiteX7" fmla="*/ 47474 w 51668"/>
                <a:gd name="connsiteY7" fmla="*/ 537033 h 537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68" h="537033">
                  <a:moveTo>
                    <a:pt x="47474" y="537033"/>
                  </a:moveTo>
                  <a:cubicBezTo>
                    <a:pt x="44505" y="537033"/>
                    <a:pt x="41539" y="534066"/>
                    <a:pt x="41539" y="531099"/>
                  </a:cubicBezTo>
                  <a:cubicBezTo>
                    <a:pt x="41539" y="525165"/>
                    <a:pt x="5934" y="44505"/>
                    <a:pt x="0" y="5934"/>
                  </a:cubicBezTo>
                  <a:cubicBezTo>
                    <a:pt x="0" y="2967"/>
                    <a:pt x="0" y="0"/>
                    <a:pt x="2968" y="0"/>
                  </a:cubicBezTo>
                  <a:cubicBezTo>
                    <a:pt x="5934" y="0"/>
                    <a:pt x="8901" y="0"/>
                    <a:pt x="8901" y="2967"/>
                  </a:cubicBezTo>
                  <a:cubicBezTo>
                    <a:pt x="17803" y="41539"/>
                    <a:pt x="50440" y="510330"/>
                    <a:pt x="50440" y="531099"/>
                  </a:cubicBezTo>
                  <a:cubicBezTo>
                    <a:pt x="53406" y="534066"/>
                    <a:pt x="50440" y="537033"/>
                    <a:pt x="47474" y="537033"/>
                  </a:cubicBezTo>
                  <a:cubicBezTo>
                    <a:pt x="47474" y="537033"/>
                    <a:pt x="47474" y="537033"/>
                    <a:pt x="47474" y="537033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DE32E05D-B334-42F6-BC7C-0160F65423D3}"/>
                </a:ext>
              </a:extLst>
            </p:cNvPr>
            <p:cNvSpPr/>
            <p:nvPr/>
          </p:nvSpPr>
          <p:spPr>
            <a:xfrm>
              <a:off x="19826509" y="2919080"/>
              <a:ext cx="117032" cy="28928"/>
            </a:xfrm>
            <a:custGeom>
              <a:avLst/>
              <a:gdLst>
                <a:gd name="connsiteX0" fmla="*/ 65273 w 117032"/>
                <a:gd name="connsiteY0" fmla="*/ 28929 h 28928"/>
                <a:gd name="connsiteX1" fmla="*/ 2966 w 117032"/>
                <a:gd name="connsiteY1" fmla="*/ 14093 h 28928"/>
                <a:gd name="connsiteX2" fmla="*/ 0 w 117032"/>
                <a:gd name="connsiteY2" fmla="*/ 5192 h 28928"/>
                <a:gd name="connsiteX3" fmla="*/ 8901 w 117032"/>
                <a:gd name="connsiteY3" fmla="*/ 2225 h 28928"/>
                <a:gd name="connsiteX4" fmla="*/ 106812 w 117032"/>
                <a:gd name="connsiteY4" fmla="*/ 2225 h 28928"/>
                <a:gd name="connsiteX5" fmla="*/ 115713 w 117032"/>
                <a:gd name="connsiteY5" fmla="*/ 2225 h 28928"/>
                <a:gd name="connsiteX6" fmla="*/ 115713 w 117032"/>
                <a:gd name="connsiteY6" fmla="*/ 11126 h 28928"/>
                <a:gd name="connsiteX7" fmla="*/ 65273 w 117032"/>
                <a:gd name="connsiteY7" fmla="*/ 28929 h 28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032" h="28928">
                  <a:moveTo>
                    <a:pt x="65273" y="28929"/>
                  </a:moveTo>
                  <a:cubicBezTo>
                    <a:pt x="32637" y="28929"/>
                    <a:pt x="5933" y="14093"/>
                    <a:pt x="2966" y="14093"/>
                  </a:cubicBezTo>
                  <a:cubicBezTo>
                    <a:pt x="0" y="14093"/>
                    <a:pt x="0" y="8159"/>
                    <a:pt x="0" y="5192"/>
                  </a:cubicBezTo>
                  <a:cubicBezTo>
                    <a:pt x="0" y="2225"/>
                    <a:pt x="5933" y="2225"/>
                    <a:pt x="8901" y="2225"/>
                  </a:cubicBezTo>
                  <a:cubicBezTo>
                    <a:pt x="8901" y="2225"/>
                    <a:pt x="71208" y="31896"/>
                    <a:pt x="106812" y="2225"/>
                  </a:cubicBezTo>
                  <a:cubicBezTo>
                    <a:pt x="109779" y="-742"/>
                    <a:pt x="112747" y="-742"/>
                    <a:pt x="115713" y="2225"/>
                  </a:cubicBezTo>
                  <a:cubicBezTo>
                    <a:pt x="118681" y="5192"/>
                    <a:pt x="115713" y="8159"/>
                    <a:pt x="115713" y="11126"/>
                  </a:cubicBezTo>
                  <a:cubicBezTo>
                    <a:pt x="100878" y="25962"/>
                    <a:pt x="83077" y="28929"/>
                    <a:pt x="65273" y="28929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A9DB8B3F-B0C7-4B9C-A74B-FCFEFE282D00}"/>
                </a:ext>
              </a:extLst>
            </p:cNvPr>
            <p:cNvSpPr/>
            <p:nvPr/>
          </p:nvSpPr>
          <p:spPr>
            <a:xfrm>
              <a:off x="19698123" y="3074811"/>
              <a:ext cx="292374" cy="52703"/>
            </a:xfrm>
            <a:custGeom>
              <a:avLst/>
              <a:gdLst>
                <a:gd name="connsiteX0" fmla="*/ 18605 w 292374"/>
                <a:gd name="connsiteY0" fmla="*/ 780 h 52703"/>
                <a:gd name="connsiteX1" fmla="*/ 273769 w 292374"/>
                <a:gd name="connsiteY1" fmla="*/ 780 h 52703"/>
                <a:gd name="connsiteX2" fmla="*/ 282670 w 292374"/>
                <a:gd name="connsiteY2" fmla="*/ 30451 h 52703"/>
                <a:gd name="connsiteX3" fmla="*/ 9705 w 292374"/>
                <a:gd name="connsiteY3" fmla="*/ 30451 h 52703"/>
                <a:gd name="connsiteX4" fmla="*/ 18605 w 292374"/>
                <a:gd name="connsiteY4" fmla="*/ 780 h 5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2374" h="52703">
                  <a:moveTo>
                    <a:pt x="18605" y="780"/>
                  </a:moveTo>
                  <a:cubicBezTo>
                    <a:pt x="104648" y="27484"/>
                    <a:pt x="190693" y="27484"/>
                    <a:pt x="273769" y="780"/>
                  </a:cubicBezTo>
                  <a:cubicBezTo>
                    <a:pt x="291573" y="-5154"/>
                    <a:pt x="300473" y="24517"/>
                    <a:pt x="282670" y="30451"/>
                  </a:cubicBezTo>
                  <a:cubicBezTo>
                    <a:pt x="193659" y="60121"/>
                    <a:pt x="101682" y="60121"/>
                    <a:pt x="9705" y="30451"/>
                  </a:cubicBezTo>
                  <a:cubicBezTo>
                    <a:pt x="-8099" y="24517"/>
                    <a:pt x="802" y="-5154"/>
                    <a:pt x="18605" y="780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5D1041D3-26FD-468F-A38A-CBE0629776FA}"/>
                </a:ext>
              </a:extLst>
            </p:cNvPr>
            <p:cNvSpPr/>
            <p:nvPr/>
          </p:nvSpPr>
          <p:spPr>
            <a:xfrm>
              <a:off x="20300431" y="3592685"/>
              <a:ext cx="277312" cy="154237"/>
            </a:xfrm>
            <a:custGeom>
              <a:avLst/>
              <a:gdLst>
                <a:gd name="connsiteX0" fmla="*/ 9704 w 277312"/>
                <a:gd name="connsiteY0" fmla="*/ 126752 h 154237"/>
                <a:gd name="connsiteX1" fmla="*/ 253001 w 277312"/>
                <a:gd name="connsiteY1" fmla="*/ 5104 h 154237"/>
                <a:gd name="connsiteX2" fmla="*/ 273769 w 277312"/>
                <a:gd name="connsiteY2" fmla="*/ 25873 h 154237"/>
                <a:gd name="connsiteX3" fmla="*/ 18605 w 277312"/>
                <a:gd name="connsiteY3" fmla="*/ 153455 h 154237"/>
                <a:gd name="connsiteX4" fmla="*/ 9704 w 277312"/>
                <a:gd name="connsiteY4" fmla="*/ 126752 h 15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312" h="154237">
                  <a:moveTo>
                    <a:pt x="9704" y="126752"/>
                  </a:moveTo>
                  <a:cubicBezTo>
                    <a:pt x="98715" y="100049"/>
                    <a:pt x="187726" y="73345"/>
                    <a:pt x="253001" y="5104"/>
                  </a:cubicBezTo>
                  <a:cubicBezTo>
                    <a:pt x="264868" y="-9731"/>
                    <a:pt x="285638" y="11038"/>
                    <a:pt x="273769" y="25873"/>
                  </a:cubicBezTo>
                  <a:cubicBezTo>
                    <a:pt x="205528" y="97082"/>
                    <a:pt x="110582" y="126752"/>
                    <a:pt x="18605" y="153455"/>
                  </a:cubicBezTo>
                  <a:cubicBezTo>
                    <a:pt x="803" y="159389"/>
                    <a:pt x="-8099" y="129719"/>
                    <a:pt x="9704" y="126752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A14A753C-3C62-44EC-A912-6F1039BD6382}"/>
                </a:ext>
              </a:extLst>
            </p:cNvPr>
            <p:cNvSpPr/>
            <p:nvPr/>
          </p:nvSpPr>
          <p:spPr>
            <a:xfrm>
              <a:off x="20648376" y="4010207"/>
              <a:ext cx="56374" cy="94944"/>
            </a:xfrm>
            <a:custGeom>
              <a:avLst/>
              <a:gdLst>
                <a:gd name="connsiteX0" fmla="*/ 5934 w 56374"/>
                <a:gd name="connsiteY0" fmla="*/ 94945 h 94944"/>
                <a:gd name="connsiteX1" fmla="*/ 5934 w 56374"/>
                <a:gd name="connsiteY1" fmla="*/ 94945 h 94944"/>
                <a:gd name="connsiteX2" fmla="*/ 0 w 56374"/>
                <a:gd name="connsiteY2" fmla="*/ 86044 h 94944"/>
                <a:gd name="connsiteX3" fmla="*/ 44505 w 56374"/>
                <a:gd name="connsiteY3" fmla="*/ 2967 h 94944"/>
                <a:gd name="connsiteX4" fmla="*/ 53408 w 56374"/>
                <a:gd name="connsiteY4" fmla="*/ 0 h 94944"/>
                <a:gd name="connsiteX5" fmla="*/ 56374 w 56374"/>
                <a:gd name="connsiteY5" fmla="*/ 8901 h 94944"/>
                <a:gd name="connsiteX6" fmla="*/ 11869 w 56374"/>
                <a:gd name="connsiteY6" fmla="*/ 91978 h 94944"/>
                <a:gd name="connsiteX7" fmla="*/ 5934 w 56374"/>
                <a:gd name="connsiteY7" fmla="*/ 94945 h 94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374" h="94944">
                  <a:moveTo>
                    <a:pt x="5934" y="94945"/>
                  </a:moveTo>
                  <a:cubicBezTo>
                    <a:pt x="5934" y="94945"/>
                    <a:pt x="2968" y="91978"/>
                    <a:pt x="5934" y="94945"/>
                  </a:cubicBezTo>
                  <a:cubicBezTo>
                    <a:pt x="0" y="91978"/>
                    <a:pt x="0" y="89011"/>
                    <a:pt x="0" y="86044"/>
                  </a:cubicBezTo>
                  <a:lnTo>
                    <a:pt x="44505" y="2967"/>
                  </a:lnTo>
                  <a:cubicBezTo>
                    <a:pt x="44505" y="0"/>
                    <a:pt x="50440" y="0"/>
                    <a:pt x="53408" y="0"/>
                  </a:cubicBezTo>
                  <a:cubicBezTo>
                    <a:pt x="56374" y="0"/>
                    <a:pt x="56374" y="5934"/>
                    <a:pt x="56374" y="8901"/>
                  </a:cubicBezTo>
                  <a:lnTo>
                    <a:pt x="11869" y="91978"/>
                  </a:lnTo>
                  <a:cubicBezTo>
                    <a:pt x="8903" y="91978"/>
                    <a:pt x="8903" y="94945"/>
                    <a:pt x="5934" y="94945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A36D8674-69F6-46FD-9793-F4686ECE16E6}"/>
                </a:ext>
              </a:extLst>
            </p:cNvPr>
            <p:cNvSpPr/>
            <p:nvPr/>
          </p:nvSpPr>
          <p:spPr>
            <a:xfrm>
              <a:off x="19412862" y="5857439"/>
              <a:ext cx="130040" cy="33866"/>
            </a:xfrm>
            <a:custGeom>
              <a:avLst/>
              <a:gdLst>
                <a:gd name="connsiteX0" fmla="*/ 125844 w 130040"/>
                <a:gd name="connsiteY0" fmla="*/ 33866 h 33866"/>
                <a:gd name="connsiteX1" fmla="*/ 125844 w 130040"/>
                <a:gd name="connsiteY1" fmla="*/ 33866 h 33866"/>
                <a:gd name="connsiteX2" fmla="*/ 4195 w 130040"/>
                <a:gd name="connsiteY2" fmla="*/ 10130 h 33866"/>
                <a:gd name="connsiteX3" fmla="*/ 1229 w 130040"/>
                <a:gd name="connsiteY3" fmla="*/ 4196 h 33866"/>
                <a:gd name="connsiteX4" fmla="*/ 7163 w 130040"/>
                <a:gd name="connsiteY4" fmla="*/ 1229 h 33866"/>
                <a:gd name="connsiteX5" fmla="*/ 125844 w 130040"/>
                <a:gd name="connsiteY5" fmla="*/ 24965 h 33866"/>
                <a:gd name="connsiteX6" fmla="*/ 128811 w 130040"/>
                <a:gd name="connsiteY6" fmla="*/ 30899 h 33866"/>
                <a:gd name="connsiteX7" fmla="*/ 125844 w 130040"/>
                <a:gd name="connsiteY7" fmla="*/ 33866 h 33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0040" h="33866">
                  <a:moveTo>
                    <a:pt x="125844" y="33866"/>
                  </a:moveTo>
                  <a:cubicBezTo>
                    <a:pt x="125844" y="33866"/>
                    <a:pt x="125844" y="33866"/>
                    <a:pt x="125844" y="33866"/>
                  </a:cubicBezTo>
                  <a:lnTo>
                    <a:pt x="4195" y="10130"/>
                  </a:lnTo>
                  <a:cubicBezTo>
                    <a:pt x="1229" y="10130"/>
                    <a:pt x="-1738" y="7163"/>
                    <a:pt x="1229" y="4196"/>
                  </a:cubicBezTo>
                  <a:cubicBezTo>
                    <a:pt x="1229" y="1229"/>
                    <a:pt x="4195" y="-1738"/>
                    <a:pt x="7163" y="1229"/>
                  </a:cubicBezTo>
                  <a:lnTo>
                    <a:pt x="125844" y="24965"/>
                  </a:lnTo>
                  <a:cubicBezTo>
                    <a:pt x="128811" y="24965"/>
                    <a:pt x="131779" y="27932"/>
                    <a:pt x="128811" y="30899"/>
                  </a:cubicBezTo>
                  <a:cubicBezTo>
                    <a:pt x="131779" y="33866"/>
                    <a:pt x="128811" y="33866"/>
                    <a:pt x="125844" y="33866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3B44AEC7-2462-4BCF-8062-C06621C0A599}"/>
                </a:ext>
              </a:extLst>
            </p:cNvPr>
            <p:cNvSpPr/>
            <p:nvPr/>
          </p:nvSpPr>
          <p:spPr>
            <a:xfrm>
              <a:off x="19915508" y="3612397"/>
              <a:ext cx="169274" cy="204952"/>
            </a:xfrm>
            <a:custGeom>
              <a:avLst/>
              <a:gdLst>
                <a:gd name="connsiteX0" fmla="*/ 12 w 169274"/>
                <a:gd name="connsiteY0" fmla="*/ 204953 h 204952"/>
                <a:gd name="connsiteX1" fmla="*/ 83089 w 169274"/>
                <a:gd name="connsiteY1" fmla="*/ 32865 h 204952"/>
                <a:gd name="connsiteX2" fmla="*/ 163199 w 169274"/>
                <a:gd name="connsiteY2" fmla="*/ 3195 h 204952"/>
                <a:gd name="connsiteX3" fmla="*/ 91990 w 169274"/>
                <a:gd name="connsiteY3" fmla="*/ 107041 h 204952"/>
                <a:gd name="connsiteX4" fmla="*/ 12 w 169274"/>
                <a:gd name="connsiteY4" fmla="*/ 204953 h 20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274" h="204952">
                  <a:moveTo>
                    <a:pt x="12" y="204953"/>
                  </a:moveTo>
                  <a:cubicBezTo>
                    <a:pt x="12" y="204953"/>
                    <a:pt x="-2956" y="86272"/>
                    <a:pt x="83089" y="32865"/>
                  </a:cubicBezTo>
                  <a:cubicBezTo>
                    <a:pt x="109791" y="15063"/>
                    <a:pt x="151330" y="-8674"/>
                    <a:pt x="163199" y="3195"/>
                  </a:cubicBezTo>
                  <a:cubicBezTo>
                    <a:pt x="195836" y="32865"/>
                    <a:pt x="86055" y="71436"/>
                    <a:pt x="91990" y="107041"/>
                  </a:cubicBezTo>
                  <a:cubicBezTo>
                    <a:pt x="91990" y="124843"/>
                    <a:pt x="12" y="204953"/>
                    <a:pt x="12" y="204953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5" name="图形 1">
              <a:extLst>
                <a:ext uri="{FF2B5EF4-FFF2-40B4-BE49-F238E27FC236}">
                  <a16:creationId xmlns:a16="http://schemas.microsoft.com/office/drawing/2014/main" id="{C8DBF00A-895F-42E3-AA68-5939F328665E}"/>
                </a:ext>
              </a:extLst>
            </p:cNvPr>
            <p:cNvGrpSpPr/>
            <p:nvPr/>
          </p:nvGrpSpPr>
          <p:grpSpPr>
            <a:xfrm>
              <a:off x="19835308" y="3147887"/>
              <a:ext cx="424484" cy="827567"/>
              <a:chOff x="19835308" y="3147887"/>
              <a:chExt cx="424484" cy="827567"/>
            </a:xfrm>
          </p:grpSpPr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EC7E6324-94EC-4382-AF6B-686FC0DDBB14}"/>
                  </a:ext>
                </a:extLst>
              </p:cNvPr>
              <p:cNvSpPr/>
              <p:nvPr/>
            </p:nvSpPr>
            <p:spPr>
              <a:xfrm rot="-576782">
                <a:off x="20046999" y="3574345"/>
                <a:ext cx="59343" cy="367927"/>
              </a:xfrm>
              <a:custGeom>
                <a:avLst/>
                <a:gdLst>
                  <a:gd name="connsiteX0" fmla="*/ 0 w 59343"/>
                  <a:gd name="connsiteY0" fmla="*/ 0 h 367927"/>
                  <a:gd name="connsiteX1" fmla="*/ 59343 w 59343"/>
                  <a:gd name="connsiteY1" fmla="*/ 0 h 367927"/>
                  <a:gd name="connsiteX2" fmla="*/ 59343 w 59343"/>
                  <a:gd name="connsiteY2" fmla="*/ 367928 h 367927"/>
                  <a:gd name="connsiteX3" fmla="*/ 0 w 59343"/>
                  <a:gd name="connsiteY3" fmla="*/ 367928 h 367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343" h="367927">
                    <a:moveTo>
                      <a:pt x="0" y="0"/>
                    </a:moveTo>
                    <a:lnTo>
                      <a:pt x="59343" y="0"/>
                    </a:lnTo>
                    <a:lnTo>
                      <a:pt x="59343" y="367928"/>
                    </a:lnTo>
                    <a:lnTo>
                      <a:pt x="0" y="367928"/>
                    </a:lnTo>
                    <a:close/>
                  </a:path>
                </a:pathLst>
              </a:custGeom>
              <a:solidFill>
                <a:srgbClr val="F1DDBA"/>
              </a:solidFill>
              <a:ln w="296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0C642D3C-6CDF-4F30-881F-211BD5D52540}"/>
                  </a:ext>
                </a:extLst>
              </p:cNvPr>
              <p:cNvSpPr/>
              <p:nvPr/>
            </p:nvSpPr>
            <p:spPr>
              <a:xfrm>
                <a:off x="19953994" y="3899574"/>
                <a:ext cx="305798" cy="75880"/>
              </a:xfrm>
              <a:custGeom>
                <a:avLst/>
                <a:gdLst>
                  <a:gd name="connsiteX0" fmla="*/ 305701 w 305798"/>
                  <a:gd name="connsiteY0" fmla="*/ 12720 h 75880"/>
                  <a:gd name="connsiteX1" fmla="*/ 157350 w 305798"/>
                  <a:gd name="connsiteY1" fmla="*/ 66127 h 75880"/>
                  <a:gd name="connsiteX2" fmla="*/ 97 w 305798"/>
                  <a:gd name="connsiteY2" fmla="*/ 63160 h 75880"/>
                  <a:gd name="connsiteX3" fmla="*/ 148449 w 305798"/>
                  <a:gd name="connsiteY3" fmla="*/ 9753 h 75880"/>
                  <a:gd name="connsiteX4" fmla="*/ 305701 w 305798"/>
                  <a:gd name="connsiteY4" fmla="*/ 12720 h 75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5798" h="75880">
                    <a:moveTo>
                      <a:pt x="305701" y="12720"/>
                    </a:moveTo>
                    <a:cubicBezTo>
                      <a:pt x="308668" y="27556"/>
                      <a:pt x="243394" y="51292"/>
                      <a:pt x="157350" y="66127"/>
                    </a:cubicBezTo>
                    <a:cubicBezTo>
                      <a:pt x="74273" y="80962"/>
                      <a:pt x="3064" y="77995"/>
                      <a:pt x="97" y="63160"/>
                    </a:cubicBezTo>
                    <a:cubicBezTo>
                      <a:pt x="-2871" y="48325"/>
                      <a:pt x="62404" y="24589"/>
                      <a:pt x="148449" y="9753"/>
                    </a:cubicBezTo>
                    <a:cubicBezTo>
                      <a:pt x="231526" y="-5082"/>
                      <a:pt x="302735" y="-2115"/>
                      <a:pt x="305701" y="1272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251A8647-490C-4C4E-9378-7FEEE2856551}"/>
                  </a:ext>
                </a:extLst>
              </p:cNvPr>
              <p:cNvSpPr/>
              <p:nvPr/>
            </p:nvSpPr>
            <p:spPr>
              <a:xfrm>
                <a:off x="19838376" y="3158668"/>
                <a:ext cx="336925" cy="473483"/>
              </a:xfrm>
              <a:custGeom>
                <a:avLst/>
                <a:gdLst>
                  <a:gd name="connsiteX0" fmla="*/ 216593 w 336925"/>
                  <a:gd name="connsiteY0" fmla="*/ 471758 h 473483"/>
                  <a:gd name="connsiteX1" fmla="*/ 216593 w 336925"/>
                  <a:gd name="connsiteY1" fmla="*/ 471758 h 473483"/>
                  <a:gd name="connsiteX2" fmla="*/ 50440 w 336925"/>
                  <a:gd name="connsiteY2" fmla="*/ 353077 h 473483"/>
                  <a:gd name="connsiteX3" fmla="*/ 0 w 336925"/>
                  <a:gd name="connsiteY3" fmla="*/ 47473 h 473483"/>
                  <a:gd name="connsiteX4" fmla="*/ 284836 w 336925"/>
                  <a:gd name="connsiteY4" fmla="*/ 0 h 473483"/>
                  <a:gd name="connsiteX5" fmla="*/ 335274 w 336925"/>
                  <a:gd name="connsiteY5" fmla="*/ 305605 h 473483"/>
                  <a:gd name="connsiteX6" fmla="*/ 216593 w 336925"/>
                  <a:gd name="connsiteY6" fmla="*/ 471758 h 473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6925" h="473483">
                    <a:moveTo>
                      <a:pt x="216593" y="471758"/>
                    </a:moveTo>
                    <a:lnTo>
                      <a:pt x="216593" y="471758"/>
                    </a:lnTo>
                    <a:cubicBezTo>
                      <a:pt x="136485" y="483626"/>
                      <a:pt x="62309" y="433187"/>
                      <a:pt x="50440" y="353077"/>
                    </a:cubicBezTo>
                    <a:lnTo>
                      <a:pt x="0" y="47473"/>
                    </a:lnTo>
                    <a:lnTo>
                      <a:pt x="284836" y="0"/>
                    </a:lnTo>
                    <a:lnTo>
                      <a:pt x="335274" y="305605"/>
                    </a:lnTo>
                    <a:cubicBezTo>
                      <a:pt x="347143" y="385714"/>
                      <a:pt x="293737" y="459890"/>
                      <a:pt x="216593" y="47175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61DE9BC0-D972-4B8C-9994-E2399A29A043}"/>
                  </a:ext>
                </a:extLst>
              </p:cNvPr>
              <p:cNvSpPr/>
              <p:nvPr/>
            </p:nvSpPr>
            <p:spPr>
              <a:xfrm>
                <a:off x="19888816" y="3348558"/>
                <a:ext cx="260987" cy="257078"/>
              </a:xfrm>
              <a:custGeom>
                <a:avLst/>
                <a:gdLst>
                  <a:gd name="connsiteX0" fmla="*/ 160221 w 260987"/>
                  <a:gd name="connsiteY0" fmla="*/ 255165 h 257078"/>
                  <a:gd name="connsiteX1" fmla="*/ 160221 w 260987"/>
                  <a:gd name="connsiteY1" fmla="*/ 255165 h 257078"/>
                  <a:gd name="connsiteX2" fmla="*/ 17801 w 260987"/>
                  <a:gd name="connsiteY2" fmla="*/ 154286 h 257078"/>
                  <a:gd name="connsiteX3" fmla="*/ 0 w 260987"/>
                  <a:gd name="connsiteY3" fmla="*/ 41539 h 257078"/>
                  <a:gd name="connsiteX4" fmla="*/ 240329 w 260987"/>
                  <a:gd name="connsiteY4" fmla="*/ 0 h 257078"/>
                  <a:gd name="connsiteX5" fmla="*/ 258132 w 260987"/>
                  <a:gd name="connsiteY5" fmla="*/ 112747 h 257078"/>
                  <a:gd name="connsiteX6" fmla="*/ 160221 w 260987"/>
                  <a:gd name="connsiteY6" fmla="*/ 255165 h 257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0987" h="257078">
                    <a:moveTo>
                      <a:pt x="160221" y="255165"/>
                    </a:moveTo>
                    <a:lnTo>
                      <a:pt x="160221" y="255165"/>
                    </a:lnTo>
                    <a:cubicBezTo>
                      <a:pt x="94945" y="267033"/>
                      <a:pt x="29670" y="222527"/>
                      <a:pt x="17801" y="154286"/>
                    </a:cubicBezTo>
                    <a:lnTo>
                      <a:pt x="0" y="41539"/>
                    </a:lnTo>
                    <a:lnTo>
                      <a:pt x="240329" y="0"/>
                    </a:lnTo>
                    <a:lnTo>
                      <a:pt x="258132" y="112747"/>
                    </a:lnTo>
                    <a:cubicBezTo>
                      <a:pt x="272967" y="180989"/>
                      <a:pt x="228462" y="243297"/>
                      <a:pt x="160221" y="255165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C9B096C4-BABB-42F3-B908-56671593307C}"/>
                  </a:ext>
                </a:extLst>
              </p:cNvPr>
              <p:cNvSpPr/>
              <p:nvPr/>
            </p:nvSpPr>
            <p:spPr>
              <a:xfrm>
                <a:off x="19835308" y="3147887"/>
                <a:ext cx="285038" cy="75715"/>
              </a:xfrm>
              <a:custGeom>
                <a:avLst/>
                <a:gdLst>
                  <a:gd name="connsiteX0" fmla="*/ 284936 w 285038"/>
                  <a:gd name="connsiteY0" fmla="*/ 13748 h 75715"/>
                  <a:gd name="connsiteX1" fmla="*/ 148453 w 285038"/>
                  <a:gd name="connsiteY1" fmla="*/ 67154 h 75715"/>
                  <a:gd name="connsiteX2" fmla="*/ 102 w 285038"/>
                  <a:gd name="connsiteY2" fmla="*/ 64187 h 75715"/>
                  <a:gd name="connsiteX3" fmla="*/ 136585 w 285038"/>
                  <a:gd name="connsiteY3" fmla="*/ 10781 h 75715"/>
                  <a:gd name="connsiteX4" fmla="*/ 284936 w 285038"/>
                  <a:gd name="connsiteY4" fmla="*/ 13748 h 7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038" h="75715">
                    <a:moveTo>
                      <a:pt x="284936" y="13748"/>
                    </a:moveTo>
                    <a:cubicBezTo>
                      <a:pt x="287904" y="28583"/>
                      <a:pt x="225596" y="52319"/>
                      <a:pt x="148453" y="67154"/>
                    </a:cubicBezTo>
                    <a:cubicBezTo>
                      <a:pt x="68343" y="79023"/>
                      <a:pt x="3068" y="79023"/>
                      <a:pt x="102" y="64187"/>
                    </a:cubicBezTo>
                    <a:cubicBezTo>
                      <a:pt x="-2866" y="49352"/>
                      <a:pt x="59442" y="25616"/>
                      <a:pt x="136585" y="10781"/>
                    </a:cubicBezTo>
                    <a:cubicBezTo>
                      <a:pt x="216695" y="-4054"/>
                      <a:pt x="281970" y="-4054"/>
                      <a:pt x="284936" y="13748"/>
                    </a:cubicBezTo>
                    <a:close/>
                  </a:path>
                </a:pathLst>
              </a:custGeom>
              <a:solidFill>
                <a:srgbClr val="E5CDA5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2A7D7964-87E3-4CBF-B64B-FB6CAD81E3ED}"/>
                </a:ext>
              </a:extLst>
            </p:cNvPr>
            <p:cNvGrpSpPr/>
            <p:nvPr/>
          </p:nvGrpSpPr>
          <p:grpSpPr>
            <a:xfrm>
              <a:off x="19873755" y="3668998"/>
              <a:ext cx="276888" cy="298910"/>
              <a:chOff x="19873755" y="3668998"/>
              <a:chExt cx="276888" cy="298910"/>
            </a:xfrm>
          </p:grpSpPr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D6F1C520-7F3D-424D-86B7-9BABE1F459D3}"/>
                  </a:ext>
                </a:extLst>
              </p:cNvPr>
              <p:cNvSpPr/>
              <p:nvPr/>
            </p:nvSpPr>
            <p:spPr>
              <a:xfrm>
                <a:off x="19873755" y="3676020"/>
                <a:ext cx="276888" cy="291888"/>
              </a:xfrm>
              <a:custGeom>
                <a:avLst/>
                <a:gdLst>
                  <a:gd name="connsiteX0" fmla="*/ 166379 w 276888"/>
                  <a:gd name="connsiteY0" fmla="*/ 242208 h 291888"/>
                  <a:gd name="connsiteX1" fmla="*/ 252424 w 276888"/>
                  <a:gd name="connsiteY1" fmla="*/ 227373 h 291888"/>
                  <a:gd name="connsiteX2" fmla="*/ 255390 w 276888"/>
                  <a:gd name="connsiteY2" fmla="*/ 171000 h 291888"/>
                  <a:gd name="connsiteX3" fmla="*/ 276160 w 276888"/>
                  <a:gd name="connsiteY3" fmla="*/ 135395 h 291888"/>
                  <a:gd name="connsiteX4" fmla="*/ 258358 w 276888"/>
                  <a:gd name="connsiteY4" fmla="*/ 105725 h 291888"/>
                  <a:gd name="connsiteX5" fmla="*/ 237589 w 276888"/>
                  <a:gd name="connsiteY5" fmla="*/ 52319 h 291888"/>
                  <a:gd name="connsiteX6" fmla="*/ 231654 w 276888"/>
                  <a:gd name="connsiteY6" fmla="*/ 13747 h 291888"/>
                  <a:gd name="connsiteX7" fmla="*/ 166379 w 276888"/>
                  <a:gd name="connsiteY7" fmla="*/ 16714 h 291888"/>
                  <a:gd name="connsiteX8" fmla="*/ 226 w 276888"/>
                  <a:gd name="connsiteY8" fmla="*/ 206604 h 291888"/>
                  <a:gd name="connsiteX9" fmla="*/ 53632 w 276888"/>
                  <a:gd name="connsiteY9" fmla="*/ 280780 h 291888"/>
                  <a:gd name="connsiteX10" fmla="*/ 166379 w 276888"/>
                  <a:gd name="connsiteY10" fmla="*/ 242208 h 29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6888" h="291888">
                    <a:moveTo>
                      <a:pt x="166379" y="242208"/>
                    </a:moveTo>
                    <a:cubicBezTo>
                      <a:pt x="199017" y="230340"/>
                      <a:pt x="219787" y="242208"/>
                      <a:pt x="252424" y="227373"/>
                    </a:cubicBezTo>
                    <a:cubicBezTo>
                      <a:pt x="276160" y="215505"/>
                      <a:pt x="273193" y="188802"/>
                      <a:pt x="255390" y="171000"/>
                    </a:cubicBezTo>
                    <a:cubicBezTo>
                      <a:pt x="273193" y="165066"/>
                      <a:pt x="279128" y="153197"/>
                      <a:pt x="276160" y="135395"/>
                    </a:cubicBezTo>
                    <a:cubicBezTo>
                      <a:pt x="276160" y="126494"/>
                      <a:pt x="264293" y="108692"/>
                      <a:pt x="258358" y="105725"/>
                    </a:cubicBezTo>
                    <a:cubicBezTo>
                      <a:pt x="273193" y="96824"/>
                      <a:pt x="261324" y="55285"/>
                      <a:pt x="237589" y="52319"/>
                    </a:cubicBezTo>
                    <a:cubicBezTo>
                      <a:pt x="249457" y="37483"/>
                      <a:pt x="237589" y="22648"/>
                      <a:pt x="231654" y="13747"/>
                    </a:cubicBezTo>
                    <a:cubicBezTo>
                      <a:pt x="210885" y="-15923"/>
                      <a:pt x="181214" y="10780"/>
                      <a:pt x="166379" y="16714"/>
                    </a:cubicBezTo>
                    <a:cubicBezTo>
                      <a:pt x="77368" y="49351"/>
                      <a:pt x="20995" y="147263"/>
                      <a:pt x="226" y="206604"/>
                    </a:cubicBezTo>
                    <a:cubicBezTo>
                      <a:pt x="-2740" y="203637"/>
                      <a:pt x="23962" y="248143"/>
                      <a:pt x="53632" y="280780"/>
                    </a:cubicBezTo>
                    <a:cubicBezTo>
                      <a:pt x="77368" y="301549"/>
                      <a:pt x="121874" y="295615"/>
                      <a:pt x="166379" y="242208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4B8D45B0-5BCC-41AD-B369-39309BF0D223}"/>
                  </a:ext>
                </a:extLst>
              </p:cNvPr>
              <p:cNvSpPr/>
              <p:nvPr/>
            </p:nvSpPr>
            <p:spPr>
              <a:xfrm>
                <a:off x="19960767" y="3668998"/>
                <a:ext cx="157994" cy="77142"/>
              </a:xfrm>
              <a:custGeom>
                <a:avLst/>
                <a:gdLst>
                  <a:gd name="connsiteX0" fmla="*/ 5191 w 157994"/>
                  <a:gd name="connsiteY0" fmla="*/ 77143 h 77142"/>
                  <a:gd name="connsiteX1" fmla="*/ 2225 w 157994"/>
                  <a:gd name="connsiteY1" fmla="*/ 74176 h 77142"/>
                  <a:gd name="connsiteX2" fmla="*/ 2225 w 157994"/>
                  <a:gd name="connsiteY2" fmla="*/ 65275 h 77142"/>
                  <a:gd name="connsiteX3" fmla="*/ 123872 w 157994"/>
                  <a:gd name="connsiteY3" fmla="*/ 0 h 77142"/>
                  <a:gd name="connsiteX4" fmla="*/ 123872 w 157994"/>
                  <a:gd name="connsiteY4" fmla="*/ 0 h 77142"/>
                  <a:gd name="connsiteX5" fmla="*/ 150576 w 157994"/>
                  <a:gd name="connsiteY5" fmla="*/ 11868 h 77142"/>
                  <a:gd name="connsiteX6" fmla="*/ 156511 w 157994"/>
                  <a:gd name="connsiteY6" fmla="*/ 59341 h 77142"/>
                  <a:gd name="connsiteX7" fmla="*/ 150576 w 157994"/>
                  <a:gd name="connsiteY7" fmla="*/ 62308 h 77142"/>
                  <a:gd name="connsiteX8" fmla="*/ 147610 w 157994"/>
                  <a:gd name="connsiteY8" fmla="*/ 56373 h 77142"/>
                  <a:gd name="connsiteX9" fmla="*/ 144642 w 157994"/>
                  <a:gd name="connsiteY9" fmla="*/ 17802 h 77142"/>
                  <a:gd name="connsiteX10" fmla="*/ 126840 w 157994"/>
                  <a:gd name="connsiteY10" fmla="*/ 11868 h 77142"/>
                  <a:gd name="connsiteX11" fmla="*/ 126840 w 157994"/>
                  <a:gd name="connsiteY11" fmla="*/ 11868 h 77142"/>
                  <a:gd name="connsiteX12" fmla="*/ 11125 w 157994"/>
                  <a:gd name="connsiteY12" fmla="*/ 74176 h 77142"/>
                  <a:gd name="connsiteX13" fmla="*/ 5191 w 157994"/>
                  <a:gd name="connsiteY13" fmla="*/ 77143 h 77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7994" h="77142">
                    <a:moveTo>
                      <a:pt x="5191" y="77143"/>
                    </a:moveTo>
                    <a:cubicBezTo>
                      <a:pt x="2225" y="77143"/>
                      <a:pt x="2225" y="77143"/>
                      <a:pt x="2225" y="74176"/>
                    </a:cubicBezTo>
                    <a:cubicBezTo>
                      <a:pt x="-742" y="71209"/>
                      <a:pt x="-742" y="68242"/>
                      <a:pt x="2225" y="65275"/>
                    </a:cubicBezTo>
                    <a:cubicBezTo>
                      <a:pt x="5191" y="62308"/>
                      <a:pt x="76401" y="0"/>
                      <a:pt x="123872" y="0"/>
                    </a:cubicBezTo>
                    <a:cubicBezTo>
                      <a:pt x="123872" y="0"/>
                      <a:pt x="123872" y="0"/>
                      <a:pt x="123872" y="0"/>
                    </a:cubicBezTo>
                    <a:cubicBezTo>
                      <a:pt x="135741" y="0"/>
                      <a:pt x="144642" y="2967"/>
                      <a:pt x="150576" y="11868"/>
                    </a:cubicBezTo>
                    <a:cubicBezTo>
                      <a:pt x="162445" y="29670"/>
                      <a:pt x="156511" y="56373"/>
                      <a:pt x="156511" y="59341"/>
                    </a:cubicBezTo>
                    <a:cubicBezTo>
                      <a:pt x="156511" y="62308"/>
                      <a:pt x="153543" y="65275"/>
                      <a:pt x="150576" y="62308"/>
                    </a:cubicBezTo>
                    <a:cubicBezTo>
                      <a:pt x="147610" y="62308"/>
                      <a:pt x="144642" y="59341"/>
                      <a:pt x="147610" y="56373"/>
                    </a:cubicBezTo>
                    <a:cubicBezTo>
                      <a:pt x="147610" y="56373"/>
                      <a:pt x="153543" y="32637"/>
                      <a:pt x="144642" y="17802"/>
                    </a:cubicBezTo>
                    <a:cubicBezTo>
                      <a:pt x="141676" y="11868"/>
                      <a:pt x="135741" y="11868"/>
                      <a:pt x="126840" y="11868"/>
                    </a:cubicBezTo>
                    <a:lnTo>
                      <a:pt x="126840" y="11868"/>
                    </a:lnTo>
                    <a:cubicBezTo>
                      <a:pt x="82335" y="11868"/>
                      <a:pt x="14094" y="74176"/>
                      <a:pt x="11125" y="74176"/>
                    </a:cubicBezTo>
                    <a:cubicBezTo>
                      <a:pt x="8159" y="77143"/>
                      <a:pt x="5191" y="77143"/>
                      <a:pt x="5191" y="77143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F2D1D37E-4875-4B21-ABA1-8996D4ADDF80}"/>
                  </a:ext>
                </a:extLst>
              </p:cNvPr>
              <p:cNvSpPr/>
              <p:nvPr/>
            </p:nvSpPr>
            <p:spPr>
              <a:xfrm>
                <a:off x="20075739" y="3755042"/>
                <a:ext cx="19031" cy="97912"/>
              </a:xfrm>
              <a:custGeom>
                <a:avLst/>
                <a:gdLst>
                  <a:gd name="connsiteX0" fmla="*/ 14835 w 19031"/>
                  <a:gd name="connsiteY0" fmla="*/ 97912 h 97912"/>
                  <a:gd name="connsiteX1" fmla="*/ 8901 w 19031"/>
                  <a:gd name="connsiteY1" fmla="*/ 91978 h 97912"/>
                  <a:gd name="connsiteX2" fmla="*/ 0 w 19031"/>
                  <a:gd name="connsiteY2" fmla="*/ 5934 h 97912"/>
                  <a:gd name="connsiteX3" fmla="*/ 2968 w 19031"/>
                  <a:gd name="connsiteY3" fmla="*/ 0 h 97912"/>
                  <a:gd name="connsiteX4" fmla="*/ 8901 w 19031"/>
                  <a:gd name="connsiteY4" fmla="*/ 2967 h 97912"/>
                  <a:gd name="connsiteX5" fmla="*/ 17803 w 19031"/>
                  <a:gd name="connsiteY5" fmla="*/ 91978 h 97912"/>
                  <a:gd name="connsiteX6" fmla="*/ 14835 w 19031"/>
                  <a:gd name="connsiteY6" fmla="*/ 97912 h 97912"/>
                  <a:gd name="connsiteX7" fmla="*/ 14835 w 19031"/>
                  <a:gd name="connsiteY7" fmla="*/ 97912 h 9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031" h="97912">
                    <a:moveTo>
                      <a:pt x="14835" y="97912"/>
                    </a:moveTo>
                    <a:cubicBezTo>
                      <a:pt x="11869" y="97912"/>
                      <a:pt x="8901" y="94945"/>
                      <a:pt x="8901" y="91978"/>
                    </a:cubicBezTo>
                    <a:cubicBezTo>
                      <a:pt x="8901" y="74176"/>
                      <a:pt x="5934" y="23736"/>
                      <a:pt x="0" y="5934"/>
                    </a:cubicBezTo>
                    <a:cubicBezTo>
                      <a:pt x="0" y="2967"/>
                      <a:pt x="0" y="0"/>
                      <a:pt x="2968" y="0"/>
                    </a:cubicBezTo>
                    <a:cubicBezTo>
                      <a:pt x="5934" y="0"/>
                      <a:pt x="8901" y="0"/>
                      <a:pt x="8901" y="2967"/>
                    </a:cubicBezTo>
                    <a:cubicBezTo>
                      <a:pt x="17803" y="23736"/>
                      <a:pt x="17803" y="89011"/>
                      <a:pt x="17803" y="91978"/>
                    </a:cubicBezTo>
                    <a:cubicBezTo>
                      <a:pt x="20770" y="94945"/>
                      <a:pt x="17803" y="97912"/>
                      <a:pt x="14835" y="97912"/>
                    </a:cubicBezTo>
                    <a:lnTo>
                      <a:pt x="14835" y="97912"/>
                    </a:ln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5643E375-09FA-4407-81D8-DA7609BB10C1}"/>
                </a:ext>
              </a:extLst>
            </p:cNvPr>
            <p:cNvSpPr/>
            <p:nvPr/>
          </p:nvSpPr>
          <p:spPr>
            <a:xfrm>
              <a:off x="19159525" y="3636360"/>
              <a:ext cx="287201" cy="679433"/>
            </a:xfrm>
            <a:custGeom>
              <a:avLst/>
              <a:gdLst>
                <a:gd name="connsiteX0" fmla="*/ 287202 w 287201"/>
                <a:gd name="connsiteY0" fmla="*/ 26703 h 679433"/>
                <a:gd name="connsiteX1" fmla="*/ 221929 w 287201"/>
                <a:gd name="connsiteY1" fmla="*/ 540000 h 679433"/>
                <a:gd name="connsiteX2" fmla="*/ 52807 w 287201"/>
                <a:gd name="connsiteY2" fmla="*/ 661648 h 679433"/>
                <a:gd name="connsiteX3" fmla="*/ 23137 w 287201"/>
                <a:gd name="connsiteY3" fmla="*/ 0 h 679433"/>
                <a:gd name="connsiteX4" fmla="*/ 287202 w 287201"/>
                <a:gd name="connsiteY4" fmla="*/ 26703 h 679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7201" h="679433">
                  <a:moveTo>
                    <a:pt x="287202" y="26703"/>
                  </a:moveTo>
                  <a:lnTo>
                    <a:pt x="221929" y="540000"/>
                  </a:lnTo>
                  <a:cubicBezTo>
                    <a:pt x="221929" y="540000"/>
                    <a:pt x="150719" y="738791"/>
                    <a:pt x="52807" y="661648"/>
                  </a:cubicBezTo>
                  <a:cubicBezTo>
                    <a:pt x="-45104" y="584506"/>
                    <a:pt x="23137" y="0"/>
                    <a:pt x="23137" y="0"/>
                  </a:cubicBezTo>
                  <a:lnTo>
                    <a:pt x="287202" y="26703"/>
                  </a:ln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E42D0526-A349-48B7-B1FC-E2E6C493EDF9}"/>
                </a:ext>
              </a:extLst>
            </p:cNvPr>
            <p:cNvSpPr/>
            <p:nvPr/>
          </p:nvSpPr>
          <p:spPr>
            <a:xfrm>
              <a:off x="19123322" y="3188338"/>
              <a:ext cx="417927" cy="568125"/>
            </a:xfrm>
            <a:custGeom>
              <a:avLst/>
              <a:gdLst>
                <a:gd name="connsiteX0" fmla="*/ 0 w 417927"/>
                <a:gd name="connsiteY0" fmla="*/ 498462 h 568125"/>
                <a:gd name="connsiteX1" fmla="*/ 302638 w 417927"/>
                <a:gd name="connsiteY1" fmla="*/ 0 h 568125"/>
                <a:gd name="connsiteX2" fmla="*/ 406484 w 417927"/>
                <a:gd name="connsiteY2" fmla="*/ 563736 h 568125"/>
                <a:gd name="connsiteX3" fmla="*/ 0 w 417927"/>
                <a:gd name="connsiteY3" fmla="*/ 498462 h 56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7927" h="568125">
                  <a:moveTo>
                    <a:pt x="0" y="498462"/>
                  </a:moveTo>
                  <a:cubicBezTo>
                    <a:pt x="0" y="498462"/>
                    <a:pt x="160219" y="0"/>
                    <a:pt x="302638" y="0"/>
                  </a:cubicBezTo>
                  <a:cubicBezTo>
                    <a:pt x="468791" y="0"/>
                    <a:pt x="406484" y="563736"/>
                    <a:pt x="406484" y="563736"/>
                  </a:cubicBezTo>
                  <a:cubicBezTo>
                    <a:pt x="406484" y="563736"/>
                    <a:pt x="186923" y="593407"/>
                    <a:pt x="0" y="498462"/>
                  </a:cubicBezTo>
                  <a:close/>
                </a:path>
              </a:pathLst>
            </a:custGeom>
            <a:solidFill>
              <a:srgbClr val="7F95BC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3421447B-E793-4052-BB0A-6A229AE3EB38}"/>
                </a:ext>
              </a:extLst>
            </p:cNvPr>
            <p:cNvSpPr/>
            <p:nvPr/>
          </p:nvSpPr>
          <p:spPr>
            <a:xfrm>
              <a:off x="19114273" y="3674152"/>
              <a:ext cx="431849" cy="89791"/>
            </a:xfrm>
            <a:custGeom>
              <a:avLst/>
              <a:gdLst>
                <a:gd name="connsiteX0" fmla="*/ 17949 w 431849"/>
                <a:gd name="connsiteY0" fmla="*/ 780 h 89791"/>
                <a:gd name="connsiteX1" fmla="*/ 418499 w 431849"/>
                <a:gd name="connsiteY1" fmla="*/ 60121 h 89791"/>
                <a:gd name="connsiteX2" fmla="*/ 418499 w 431849"/>
                <a:gd name="connsiteY2" fmla="*/ 89791 h 89791"/>
                <a:gd name="connsiteX3" fmla="*/ 12015 w 431849"/>
                <a:gd name="connsiteY3" fmla="*/ 30451 h 89791"/>
                <a:gd name="connsiteX4" fmla="*/ 17949 w 431849"/>
                <a:gd name="connsiteY4" fmla="*/ 780 h 89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1849" h="89791">
                  <a:moveTo>
                    <a:pt x="17949" y="780"/>
                  </a:moveTo>
                  <a:cubicBezTo>
                    <a:pt x="148499" y="42319"/>
                    <a:pt x="282016" y="60121"/>
                    <a:pt x="418499" y="60121"/>
                  </a:cubicBezTo>
                  <a:cubicBezTo>
                    <a:pt x="436300" y="60121"/>
                    <a:pt x="436300" y="89791"/>
                    <a:pt x="418499" y="89791"/>
                  </a:cubicBezTo>
                  <a:cubicBezTo>
                    <a:pt x="279048" y="89791"/>
                    <a:pt x="145531" y="71989"/>
                    <a:pt x="12015" y="30451"/>
                  </a:cubicBezTo>
                  <a:cubicBezTo>
                    <a:pt x="-8755" y="24517"/>
                    <a:pt x="148" y="-5154"/>
                    <a:pt x="17949" y="780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5AD533E7-13D1-4D1F-8F78-20E7635F2073}"/>
                </a:ext>
              </a:extLst>
            </p:cNvPr>
            <p:cNvSpPr/>
            <p:nvPr/>
          </p:nvSpPr>
          <p:spPr>
            <a:xfrm>
              <a:off x="19422991" y="3184143"/>
              <a:ext cx="119287" cy="556064"/>
            </a:xfrm>
            <a:custGeom>
              <a:avLst/>
              <a:gdLst>
                <a:gd name="connsiteX0" fmla="*/ 109781 w 119287"/>
                <a:gd name="connsiteY0" fmla="*/ 556064 h 556064"/>
                <a:gd name="connsiteX1" fmla="*/ 109781 w 119287"/>
                <a:gd name="connsiteY1" fmla="*/ 556064 h 556064"/>
                <a:gd name="connsiteX2" fmla="*/ 103846 w 119287"/>
                <a:gd name="connsiteY2" fmla="*/ 550130 h 556064"/>
                <a:gd name="connsiteX3" fmla="*/ 109781 w 119287"/>
                <a:gd name="connsiteY3" fmla="*/ 217822 h 556064"/>
                <a:gd name="connsiteX4" fmla="*/ 2968 w 119287"/>
                <a:gd name="connsiteY4" fmla="*/ 10130 h 556064"/>
                <a:gd name="connsiteX5" fmla="*/ 0 w 119287"/>
                <a:gd name="connsiteY5" fmla="*/ 4196 h 556064"/>
                <a:gd name="connsiteX6" fmla="*/ 5934 w 119287"/>
                <a:gd name="connsiteY6" fmla="*/ 1229 h 556064"/>
                <a:gd name="connsiteX7" fmla="*/ 118681 w 119287"/>
                <a:gd name="connsiteY7" fmla="*/ 220789 h 556064"/>
                <a:gd name="connsiteX8" fmla="*/ 112747 w 119287"/>
                <a:gd name="connsiteY8" fmla="*/ 553097 h 556064"/>
                <a:gd name="connsiteX9" fmla="*/ 109781 w 119287"/>
                <a:gd name="connsiteY9" fmla="*/ 556064 h 55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287" h="556064">
                  <a:moveTo>
                    <a:pt x="109781" y="556064"/>
                  </a:moveTo>
                  <a:cubicBezTo>
                    <a:pt x="109781" y="556064"/>
                    <a:pt x="109781" y="556064"/>
                    <a:pt x="109781" y="556064"/>
                  </a:cubicBezTo>
                  <a:cubicBezTo>
                    <a:pt x="106814" y="556064"/>
                    <a:pt x="103846" y="553097"/>
                    <a:pt x="103846" y="550130"/>
                  </a:cubicBezTo>
                  <a:cubicBezTo>
                    <a:pt x="103846" y="547163"/>
                    <a:pt x="112747" y="395844"/>
                    <a:pt x="109781" y="217822"/>
                  </a:cubicBezTo>
                  <a:cubicBezTo>
                    <a:pt x="106814" y="45734"/>
                    <a:pt x="5934" y="10130"/>
                    <a:pt x="2968" y="10130"/>
                  </a:cubicBezTo>
                  <a:cubicBezTo>
                    <a:pt x="0" y="10130"/>
                    <a:pt x="0" y="7163"/>
                    <a:pt x="0" y="4196"/>
                  </a:cubicBezTo>
                  <a:cubicBezTo>
                    <a:pt x="0" y="1229"/>
                    <a:pt x="2968" y="-1738"/>
                    <a:pt x="5934" y="1229"/>
                  </a:cubicBezTo>
                  <a:cubicBezTo>
                    <a:pt x="11869" y="1229"/>
                    <a:pt x="115715" y="39800"/>
                    <a:pt x="118681" y="220789"/>
                  </a:cubicBezTo>
                  <a:cubicBezTo>
                    <a:pt x="121649" y="398811"/>
                    <a:pt x="112747" y="553097"/>
                    <a:pt x="112747" y="553097"/>
                  </a:cubicBezTo>
                  <a:cubicBezTo>
                    <a:pt x="112747" y="553097"/>
                    <a:pt x="112747" y="556064"/>
                    <a:pt x="109781" y="556064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82D3FCFB-93E0-4E1B-92C6-81F250AE4094}"/>
                </a:ext>
              </a:extLst>
            </p:cNvPr>
            <p:cNvSpPr/>
            <p:nvPr/>
          </p:nvSpPr>
          <p:spPr>
            <a:xfrm>
              <a:off x="19177952" y="3849987"/>
              <a:ext cx="788005" cy="492999"/>
            </a:xfrm>
            <a:custGeom>
              <a:avLst/>
              <a:gdLst>
                <a:gd name="connsiteX0" fmla="*/ 788006 w 788005"/>
                <a:gd name="connsiteY0" fmla="*/ 118681 h 492999"/>
                <a:gd name="connsiteX1" fmla="*/ 132292 w 788005"/>
                <a:gd name="connsiteY1" fmla="*/ 492527 h 492999"/>
                <a:gd name="connsiteX2" fmla="*/ 22512 w 788005"/>
                <a:gd name="connsiteY2" fmla="*/ 290769 h 492999"/>
                <a:gd name="connsiteX3" fmla="*/ 725699 w 788005"/>
                <a:gd name="connsiteY3" fmla="*/ 0 h 492999"/>
                <a:gd name="connsiteX4" fmla="*/ 788006 w 788005"/>
                <a:gd name="connsiteY4" fmla="*/ 118681 h 492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8005" h="492999">
                  <a:moveTo>
                    <a:pt x="788006" y="118681"/>
                  </a:moveTo>
                  <a:cubicBezTo>
                    <a:pt x="788006" y="118681"/>
                    <a:pt x="218337" y="483626"/>
                    <a:pt x="132292" y="492527"/>
                  </a:cubicBezTo>
                  <a:cubicBezTo>
                    <a:pt x="46248" y="501429"/>
                    <a:pt x="-42763" y="382747"/>
                    <a:pt x="22512" y="290769"/>
                  </a:cubicBezTo>
                  <a:cubicBezTo>
                    <a:pt x="138227" y="130549"/>
                    <a:pt x="604051" y="47472"/>
                    <a:pt x="725699" y="0"/>
                  </a:cubicBezTo>
                  <a:cubicBezTo>
                    <a:pt x="719765" y="2967"/>
                    <a:pt x="788006" y="118681"/>
                    <a:pt x="788006" y="118681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58876462-7C2D-4C7F-9D49-B2A5A496F9A0}"/>
                </a:ext>
              </a:extLst>
            </p:cNvPr>
            <p:cNvSpPr/>
            <p:nvPr/>
          </p:nvSpPr>
          <p:spPr>
            <a:xfrm>
              <a:off x="19281316" y="3983503"/>
              <a:ext cx="109039" cy="86044"/>
            </a:xfrm>
            <a:custGeom>
              <a:avLst/>
              <a:gdLst>
                <a:gd name="connsiteX0" fmla="*/ 5193 w 109039"/>
                <a:gd name="connsiteY0" fmla="*/ 86044 h 86044"/>
                <a:gd name="connsiteX1" fmla="*/ 2225 w 109039"/>
                <a:gd name="connsiteY1" fmla="*/ 83077 h 86044"/>
                <a:gd name="connsiteX2" fmla="*/ 2225 w 109039"/>
                <a:gd name="connsiteY2" fmla="*/ 74176 h 86044"/>
                <a:gd name="connsiteX3" fmla="*/ 100138 w 109039"/>
                <a:gd name="connsiteY3" fmla="*/ 0 h 86044"/>
                <a:gd name="connsiteX4" fmla="*/ 109039 w 109039"/>
                <a:gd name="connsiteY4" fmla="*/ 2967 h 86044"/>
                <a:gd name="connsiteX5" fmla="*/ 106071 w 109039"/>
                <a:gd name="connsiteY5" fmla="*/ 11868 h 86044"/>
                <a:gd name="connsiteX6" fmla="*/ 11127 w 109039"/>
                <a:gd name="connsiteY6" fmla="*/ 83077 h 86044"/>
                <a:gd name="connsiteX7" fmla="*/ 5193 w 109039"/>
                <a:gd name="connsiteY7" fmla="*/ 86044 h 86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9039" h="86044">
                  <a:moveTo>
                    <a:pt x="5193" y="86044"/>
                  </a:moveTo>
                  <a:cubicBezTo>
                    <a:pt x="5193" y="86044"/>
                    <a:pt x="2225" y="86044"/>
                    <a:pt x="2225" y="83077"/>
                  </a:cubicBezTo>
                  <a:cubicBezTo>
                    <a:pt x="-742" y="80110"/>
                    <a:pt x="-742" y="77143"/>
                    <a:pt x="2225" y="74176"/>
                  </a:cubicBezTo>
                  <a:cubicBezTo>
                    <a:pt x="49698" y="23736"/>
                    <a:pt x="100138" y="2967"/>
                    <a:pt x="100138" y="0"/>
                  </a:cubicBezTo>
                  <a:cubicBezTo>
                    <a:pt x="103105" y="0"/>
                    <a:pt x="106071" y="0"/>
                    <a:pt x="109039" y="2967"/>
                  </a:cubicBezTo>
                  <a:cubicBezTo>
                    <a:pt x="109039" y="5934"/>
                    <a:pt x="109039" y="8901"/>
                    <a:pt x="106071" y="11868"/>
                  </a:cubicBezTo>
                  <a:cubicBezTo>
                    <a:pt x="106071" y="11868"/>
                    <a:pt x="58599" y="32637"/>
                    <a:pt x="11127" y="83077"/>
                  </a:cubicBezTo>
                  <a:cubicBezTo>
                    <a:pt x="8159" y="86044"/>
                    <a:pt x="5193" y="86044"/>
                    <a:pt x="5193" y="86044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F18A8413-EDE3-4799-9738-038B7346EE25}"/>
                </a:ext>
              </a:extLst>
            </p:cNvPr>
            <p:cNvSpPr/>
            <p:nvPr/>
          </p:nvSpPr>
          <p:spPr>
            <a:xfrm>
              <a:off x="20990629" y="3540639"/>
              <a:ext cx="242994" cy="294512"/>
            </a:xfrm>
            <a:custGeom>
              <a:avLst/>
              <a:gdLst>
                <a:gd name="connsiteX0" fmla="*/ 236318 w 242994"/>
                <a:gd name="connsiteY0" fmla="*/ 160996 h 294512"/>
                <a:gd name="connsiteX1" fmla="*/ 242252 w 242994"/>
                <a:gd name="connsiteY1" fmla="*/ 107589 h 294512"/>
                <a:gd name="connsiteX2" fmla="*/ 239286 w 242994"/>
                <a:gd name="connsiteY2" fmla="*/ 71985 h 294512"/>
                <a:gd name="connsiteX3" fmla="*/ 197747 w 242994"/>
                <a:gd name="connsiteY3" fmla="*/ 36380 h 294512"/>
                <a:gd name="connsiteX4" fmla="*/ 165110 w 242994"/>
                <a:gd name="connsiteY4" fmla="*/ 776 h 294512"/>
                <a:gd name="connsiteX5" fmla="*/ 4890 w 242994"/>
                <a:gd name="connsiteY5" fmla="*/ 214402 h 294512"/>
                <a:gd name="connsiteX6" fmla="*/ 117637 w 242994"/>
                <a:gd name="connsiteY6" fmla="*/ 294512 h 294512"/>
                <a:gd name="connsiteX7" fmla="*/ 218517 w 242994"/>
                <a:gd name="connsiteY7" fmla="*/ 202534 h 294512"/>
                <a:gd name="connsiteX8" fmla="*/ 236318 w 242994"/>
                <a:gd name="connsiteY8" fmla="*/ 160996 h 294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2994" h="294512">
                  <a:moveTo>
                    <a:pt x="236318" y="160996"/>
                  </a:moveTo>
                  <a:cubicBezTo>
                    <a:pt x="233352" y="152095"/>
                    <a:pt x="242252" y="125391"/>
                    <a:pt x="242252" y="107589"/>
                  </a:cubicBezTo>
                  <a:cubicBezTo>
                    <a:pt x="242252" y="104622"/>
                    <a:pt x="245221" y="80886"/>
                    <a:pt x="239286" y="71985"/>
                  </a:cubicBezTo>
                  <a:cubicBezTo>
                    <a:pt x="233352" y="60117"/>
                    <a:pt x="185880" y="51215"/>
                    <a:pt x="197747" y="36380"/>
                  </a:cubicBezTo>
                  <a:cubicBezTo>
                    <a:pt x="203681" y="24512"/>
                    <a:pt x="174011" y="-5158"/>
                    <a:pt x="165110" y="776"/>
                  </a:cubicBezTo>
                  <a:cubicBezTo>
                    <a:pt x="111704" y="36380"/>
                    <a:pt x="-27747" y="137259"/>
                    <a:pt x="4890" y="214402"/>
                  </a:cubicBezTo>
                  <a:cubicBezTo>
                    <a:pt x="4890" y="214402"/>
                    <a:pt x="85000" y="291545"/>
                    <a:pt x="117637" y="294512"/>
                  </a:cubicBezTo>
                  <a:cubicBezTo>
                    <a:pt x="165110" y="294512"/>
                    <a:pt x="185880" y="232205"/>
                    <a:pt x="218517" y="202534"/>
                  </a:cubicBezTo>
                  <a:cubicBezTo>
                    <a:pt x="236318" y="181765"/>
                    <a:pt x="242252" y="175831"/>
                    <a:pt x="236318" y="160996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4" name="图形 1">
              <a:extLst>
                <a:ext uri="{FF2B5EF4-FFF2-40B4-BE49-F238E27FC236}">
                  <a16:creationId xmlns:a16="http://schemas.microsoft.com/office/drawing/2014/main" id="{1FE2DA73-FC2C-4F8A-B818-D6F3E095CD69}"/>
                </a:ext>
              </a:extLst>
            </p:cNvPr>
            <p:cNvGrpSpPr/>
            <p:nvPr/>
          </p:nvGrpSpPr>
          <p:grpSpPr>
            <a:xfrm>
              <a:off x="20657278" y="1888778"/>
              <a:ext cx="925712" cy="1074255"/>
              <a:chOff x="20657278" y="1888778"/>
              <a:chExt cx="925712" cy="1074255"/>
            </a:xfrm>
          </p:grpSpPr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3437C643-7729-4E44-B7D7-263C37E112E1}"/>
                  </a:ext>
                </a:extLst>
              </p:cNvPr>
              <p:cNvSpPr/>
              <p:nvPr/>
            </p:nvSpPr>
            <p:spPr>
              <a:xfrm>
                <a:off x="20657278" y="1888778"/>
                <a:ext cx="925712" cy="961318"/>
              </a:xfrm>
              <a:custGeom>
                <a:avLst/>
                <a:gdLst>
                  <a:gd name="connsiteX0" fmla="*/ 925713 w 925712"/>
                  <a:gd name="connsiteY0" fmla="*/ 480659 h 961318"/>
                  <a:gd name="connsiteX1" fmla="*/ 462856 w 925712"/>
                  <a:gd name="connsiteY1" fmla="*/ 961319 h 961318"/>
                  <a:gd name="connsiteX2" fmla="*/ 0 w 925712"/>
                  <a:gd name="connsiteY2" fmla="*/ 480659 h 961318"/>
                  <a:gd name="connsiteX3" fmla="*/ 462856 w 925712"/>
                  <a:gd name="connsiteY3" fmla="*/ 0 h 961318"/>
                  <a:gd name="connsiteX4" fmla="*/ 925713 w 925712"/>
                  <a:gd name="connsiteY4" fmla="*/ 480659 h 961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5712" h="961318">
                    <a:moveTo>
                      <a:pt x="925713" y="480659"/>
                    </a:moveTo>
                    <a:cubicBezTo>
                      <a:pt x="925713" y="744725"/>
                      <a:pt x="623077" y="961319"/>
                      <a:pt x="462856" y="961319"/>
                    </a:cubicBezTo>
                    <a:cubicBezTo>
                      <a:pt x="299670" y="961319"/>
                      <a:pt x="0" y="747692"/>
                      <a:pt x="0" y="480659"/>
                    </a:cubicBezTo>
                    <a:cubicBezTo>
                      <a:pt x="0" y="216593"/>
                      <a:pt x="207692" y="0"/>
                      <a:pt x="462856" y="0"/>
                    </a:cubicBezTo>
                    <a:cubicBezTo>
                      <a:pt x="718021" y="0"/>
                      <a:pt x="925713" y="216593"/>
                      <a:pt x="925713" y="480659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CD8C2594-BFA0-41B5-B27F-2A0BDCDE2BB7}"/>
                  </a:ext>
                </a:extLst>
              </p:cNvPr>
              <p:cNvSpPr/>
              <p:nvPr/>
            </p:nvSpPr>
            <p:spPr>
              <a:xfrm>
                <a:off x="21018483" y="2814492"/>
                <a:ext cx="205826" cy="148541"/>
              </a:xfrm>
              <a:custGeom>
                <a:avLst/>
                <a:gdLst>
                  <a:gd name="connsiteX0" fmla="*/ 202531 w 205826"/>
                  <a:gd name="connsiteY0" fmla="*/ 106813 h 148541"/>
                  <a:gd name="connsiteX1" fmla="*/ 137256 w 205826"/>
                  <a:gd name="connsiteY1" fmla="*/ 17802 h 148541"/>
                  <a:gd name="connsiteX2" fmla="*/ 101651 w 205826"/>
                  <a:gd name="connsiteY2" fmla="*/ 0 h 148541"/>
                  <a:gd name="connsiteX3" fmla="*/ 77915 w 205826"/>
                  <a:gd name="connsiteY3" fmla="*/ 14835 h 148541"/>
                  <a:gd name="connsiteX4" fmla="*/ 71981 w 205826"/>
                  <a:gd name="connsiteY4" fmla="*/ 17802 h 148541"/>
                  <a:gd name="connsiteX5" fmla="*/ 771 w 205826"/>
                  <a:gd name="connsiteY5" fmla="*/ 109780 h 148541"/>
                  <a:gd name="connsiteX6" fmla="*/ 12640 w 205826"/>
                  <a:gd name="connsiteY6" fmla="*/ 124615 h 148541"/>
                  <a:gd name="connsiteX7" fmla="*/ 69015 w 205826"/>
                  <a:gd name="connsiteY7" fmla="*/ 100879 h 148541"/>
                  <a:gd name="connsiteX8" fmla="*/ 98685 w 205826"/>
                  <a:gd name="connsiteY8" fmla="*/ 133516 h 148541"/>
                  <a:gd name="connsiteX9" fmla="*/ 116486 w 205826"/>
                  <a:gd name="connsiteY9" fmla="*/ 127582 h 148541"/>
                  <a:gd name="connsiteX10" fmla="*/ 128355 w 205826"/>
                  <a:gd name="connsiteY10" fmla="*/ 103846 h 148541"/>
                  <a:gd name="connsiteX11" fmla="*/ 184728 w 205826"/>
                  <a:gd name="connsiteY11" fmla="*/ 148352 h 148541"/>
                  <a:gd name="connsiteX12" fmla="*/ 202531 w 205826"/>
                  <a:gd name="connsiteY12" fmla="*/ 106813 h 148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5826" h="148541">
                    <a:moveTo>
                      <a:pt x="202531" y="106813"/>
                    </a:moveTo>
                    <a:cubicBezTo>
                      <a:pt x="190662" y="71209"/>
                      <a:pt x="166926" y="41539"/>
                      <a:pt x="137256" y="17802"/>
                    </a:cubicBezTo>
                    <a:cubicBezTo>
                      <a:pt x="128355" y="11868"/>
                      <a:pt x="113520" y="0"/>
                      <a:pt x="101651" y="0"/>
                    </a:cubicBezTo>
                    <a:cubicBezTo>
                      <a:pt x="89782" y="0"/>
                      <a:pt x="83850" y="8901"/>
                      <a:pt x="77915" y="14835"/>
                    </a:cubicBezTo>
                    <a:cubicBezTo>
                      <a:pt x="74947" y="14835"/>
                      <a:pt x="74947" y="17802"/>
                      <a:pt x="71981" y="17802"/>
                    </a:cubicBezTo>
                    <a:cubicBezTo>
                      <a:pt x="45277" y="44505"/>
                      <a:pt x="9674" y="71209"/>
                      <a:pt x="771" y="109780"/>
                    </a:cubicBezTo>
                    <a:cubicBezTo>
                      <a:pt x="-2195" y="118681"/>
                      <a:pt x="3740" y="127582"/>
                      <a:pt x="12640" y="124615"/>
                    </a:cubicBezTo>
                    <a:cubicBezTo>
                      <a:pt x="36376" y="124615"/>
                      <a:pt x="51211" y="109780"/>
                      <a:pt x="69015" y="100879"/>
                    </a:cubicBezTo>
                    <a:cubicBezTo>
                      <a:pt x="74947" y="112747"/>
                      <a:pt x="83850" y="124615"/>
                      <a:pt x="98685" y="133516"/>
                    </a:cubicBezTo>
                    <a:cubicBezTo>
                      <a:pt x="104618" y="136483"/>
                      <a:pt x="113520" y="133516"/>
                      <a:pt x="116486" y="127582"/>
                    </a:cubicBezTo>
                    <a:cubicBezTo>
                      <a:pt x="122421" y="118681"/>
                      <a:pt x="125387" y="109780"/>
                      <a:pt x="128355" y="103846"/>
                    </a:cubicBezTo>
                    <a:cubicBezTo>
                      <a:pt x="146157" y="118681"/>
                      <a:pt x="155058" y="151319"/>
                      <a:pt x="184728" y="148352"/>
                    </a:cubicBezTo>
                    <a:cubicBezTo>
                      <a:pt x="208464" y="148352"/>
                      <a:pt x="208464" y="124615"/>
                      <a:pt x="202531" y="106813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6EFA452B-EE77-44A5-86C3-F34C2E12BA0B}"/>
                  </a:ext>
                </a:extLst>
              </p:cNvPr>
              <p:cNvSpPr/>
              <p:nvPr/>
            </p:nvSpPr>
            <p:spPr>
              <a:xfrm>
                <a:off x="21253968" y="2015763"/>
                <a:ext cx="222675" cy="234992"/>
              </a:xfrm>
              <a:custGeom>
                <a:avLst/>
                <a:gdLst>
                  <a:gd name="connsiteX0" fmla="*/ 222211 w 222675"/>
                  <a:gd name="connsiteY0" fmla="*/ 214224 h 234992"/>
                  <a:gd name="connsiteX1" fmla="*/ 204409 w 222675"/>
                  <a:gd name="connsiteY1" fmla="*/ 148949 h 234992"/>
                  <a:gd name="connsiteX2" fmla="*/ 189574 w 222675"/>
                  <a:gd name="connsiteY2" fmla="*/ 119278 h 234992"/>
                  <a:gd name="connsiteX3" fmla="*/ 145069 w 222675"/>
                  <a:gd name="connsiteY3" fmla="*/ 54004 h 234992"/>
                  <a:gd name="connsiteX4" fmla="*/ 73859 w 222675"/>
                  <a:gd name="connsiteY4" fmla="*/ 9498 h 234992"/>
                  <a:gd name="connsiteX5" fmla="*/ 17485 w 222675"/>
                  <a:gd name="connsiteY5" fmla="*/ 597 h 234992"/>
                  <a:gd name="connsiteX6" fmla="*/ 5618 w 222675"/>
                  <a:gd name="connsiteY6" fmla="*/ 6531 h 234992"/>
                  <a:gd name="connsiteX7" fmla="*/ 5618 w 222675"/>
                  <a:gd name="connsiteY7" fmla="*/ 6531 h 234992"/>
                  <a:gd name="connsiteX8" fmla="*/ 5618 w 222675"/>
                  <a:gd name="connsiteY8" fmla="*/ 36202 h 234992"/>
                  <a:gd name="connsiteX9" fmla="*/ 35288 w 222675"/>
                  <a:gd name="connsiteY9" fmla="*/ 51037 h 234992"/>
                  <a:gd name="connsiteX10" fmla="*/ 106496 w 222675"/>
                  <a:gd name="connsiteY10" fmla="*/ 101476 h 234992"/>
                  <a:gd name="connsiteX11" fmla="*/ 159904 w 222675"/>
                  <a:gd name="connsiteY11" fmla="*/ 190487 h 234992"/>
                  <a:gd name="connsiteX12" fmla="*/ 180672 w 222675"/>
                  <a:gd name="connsiteY12" fmla="*/ 223125 h 234992"/>
                  <a:gd name="connsiteX13" fmla="*/ 186606 w 222675"/>
                  <a:gd name="connsiteY13" fmla="*/ 226092 h 234992"/>
                  <a:gd name="connsiteX14" fmla="*/ 192540 w 222675"/>
                  <a:gd name="connsiteY14" fmla="*/ 229059 h 234992"/>
                  <a:gd name="connsiteX15" fmla="*/ 204409 w 222675"/>
                  <a:gd name="connsiteY15" fmla="*/ 234993 h 234992"/>
                  <a:gd name="connsiteX16" fmla="*/ 216276 w 222675"/>
                  <a:gd name="connsiteY16" fmla="*/ 229059 h 234992"/>
                  <a:gd name="connsiteX17" fmla="*/ 216276 w 222675"/>
                  <a:gd name="connsiteY17" fmla="*/ 229059 h 234992"/>
                  <a:gd name="connsiteX18" fmla="*/ 222211 w 222675"/>
                  <a:gd name="connsiteY18" fmla="*/ 214224 h 234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675" h="234992">
                    <a:moveTo>
                      <a:pt x="222211" y="214224"/>
                    </a:moveTo>
                    <a:cubicBezTo>
                      <a:pt x="225177" y="190487"/>
                      <a:pt x="213310" y="169718"/>
                      <a:pt x="204409" y="148949"/>
                    </a:cubicBezTo>
                    <a:cubicBezTo>
                      <a:pt x="198475" y="137081"/>
                      <a:pt x="195507" y="128180"/>
                      <a:pt x="189574" y="119278"/>
                    </a:cubicBezTo>
                    <a:cubicBezTo>
                      <a:pt x="174739" y="95542"/>
                      <a:pt x="159904" y="71806"/>
                      <a:pt x="145069" y="54004"/>
                    </a:cubicBezTo>
                    <a:cubicBezTo>
                      <a:pt x="127265" y="30267"/>
                      <a:pt x="100563" y="18399"/>
                      <a:pt x="73859" y="9498"/>
                    </a:cubicBezTo>
                    <a:cubicBezTo>
                      <a:pt x="61990" y="6531"/>
                      <a:pt x="35288" y="-2370"/>
                      <a:pt x="17485" y="597"/>
                    </a:cubicBezTo>
                    <a:cubicBezTo>
                      <a:pt x="11552" y="597"/>
                      <a:pt x="8584" y="3564"/>
                      <a:pt x="5618" y="6531"/>
                    </a:cubicBezTo>
                    <a:cubicBezTo>
                      <a:pt x="5618" y="6531"/>
                      <a:pt x="5618" y="6531"/>
                      <a:pt x="5618" y="6531"/>
                    </a:cubicBezTo>
                    <a:cubicBezTo>
                      <a:pt x="-3283" y="15432"/>
                      <a:pt x="-317" y="27300"/>
                      <a:pt x="5618" y="36202"/>
                    </a:cubicBezTo>
                    <a:cubicBezTo>
                      <a:pt x="11552" y="45103"/>
                      <a:pt x="26387" y="48070"/>
                      <a:pt x="35288" y="51037"/>
                    </a:cubicBezTo>
                    <a:cubicBezTo>
                      <a:pt x="64958" y="62905"/>
                      <a:pt x="85728" y="77740"/>
                      <a:pt x="106496" y="101476"/>
                    </a:cubicBezTo>
                    <a:cubicBezTo>
                      <a:pt x="127265" y="128180"/>
                      <a:pt x="142101" y="160817"/>
                      <a:pt x="159904" y="190487"/>
                    </a:cubicBezTo>
                    <a:cubicBezTo>
                      <a:pt x="165836" y="202355"/>
                      <a:pt x="171771" y="214224"/>
                      <a:pt x="180672" y="223125"/>
                    </a:cubicBezTo>
                    <a:cubicBezTo>
                      <a:pt x="180672" y="223125"/>
                      <a:pt x="183640" y="226092"/>
                      <a:pt x="186606" y="226092"/>
                    </a:cubicBezTo>
                    <a:cubicBezTo>
                      <a:pt x="189574" y="226092"/>
                      <a:pt x="189574" y="229059"/>
                      <a:pt x="192540" y="229059"/>
                    </a:cubicBezTo>
                    <a:cubicBezTo>
                      <a:pt x="195507" y="232026"/>
                      <a:pt x="198475" y="234993"/>
                      <a:pt x="204409" y="234993"/>
                    </a:cubicBezTo>
                    <a:cubicBezTo>
                      <a:pt x="210342" y="234993"/>
                      <a:pt x="213310" y="232026"/>
                      <a:pt x="216276" y="229059"/>
                    </a:cubicBezTo>
                    <a:cubicBezTo>
                      <a:pt x="216276" y="229059"/>
                      <a:pt x="216276" y="229059"/>
                      <a:pt x="216276" y="229059"/>
                    </a:cubicBezTo>
                    <a:cubicBezTo>
                      <a:pt x="222211" y="226092"/>
                      <a:pt x="222211" y="220158"/>
                      <a:pt x="222211" y="214224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58099ECB-CFF6-431B-A9B5-166F525B1852}"/>
                  </a:ext>
                </a:extLst>
              </p:cNvPr>
              <p:cNvSpPr/>
              <p:nvPr/>
            </p:nvSpPr>
            <p:spPr>
              <a:xfrm>
                <a:off x="21452443" y="2275251"/>
                <a:ext cx="49894" cy="84454"/>
              </a:xfrm>
              <a:custGeom>
                <a:avLst/>
                <a:gdLst>
                  <a:gd name="connsiteX0" fmla="*/ 38571 w 49894"/>
                  <a:gd name="connsiteY0" fmla="*/ 5175 h 84454"/>
                  <a:gd name="connsiteX1" fmla="*/ 5934 w 49894"/>
                  <a:gd name="connsiteY1" fmla="*/ 11110 h 84454"/>
                  <a:gd name="connsiteX2" fmla="*/ 0 w 49894"/>
                  <a:gd name="connsiteY2" fmla="*/ 20011 h 84454"/>
                  <a:gd name="connsiteX3" fmla="*/ 14835 w 49894"/>
                  <a:gd name="connsiteY3" fmla="*/ 79351 h 84454"/>
                  <a:gd name="connsiteX4" fmla="*/ 47472 w 49894"/>
                  <a:gd name="connsiteY4" fmla="*/ 58582 h 84454"/>
                  <a:gd name="connsiteX5" fmla="*/ 38571 w 49894"/>
                  <a:gd name="connsiteY5" fmla="*/ 5175 h 84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894" h="84454">
                    <a:moveTo>
                      <a:pt x="38571" y="5175"/>
                    </a:moveTo>
                    <a:cubicBezTo>
                      <a:pt x="26702" y="-3726"/>
                      <a:pt x="8901" y="-759"/>
                      <a:pt x="5934" y="11110"/>
                    </a:cubicBezTo>
                    <a:cubicBezTo>
                      <a:pt x="2966" y="14077"/>
                      <a:pt x="0" y="17044"/>
                      <a:pt x="0" y="20011"/>
                    </a:cubicBezTo>
                    <a:cubicBezTo>
                      <a:pt x="0" y="34846"/>
                      <a:pt x="0" y="67483"/>
                      <a:pt x="14835" y="79351"/>
                    </a:cubicBezTo>
                    <a:cubicBezTo>
                      <a:pt x="32637" y="94186"/>
                      <a:pt x="44505" y="73417"/>
                      <a:pt x="47472" y="58582"/>
                    </a:cubicBezTo>
                    <a:cubicBezTo>
                      <a:pt x="50440" y="43747"/>
                      <a:pt x="53406" y="17044"/>
                      <a:pt x="38571" y="517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8C55D8DD-DD84-436F-8BD1-6850E8A3114E}"/>
                </a:ext>
              </a:extLst>
            </p:cNvPr>
            <p:cNvSpPr/>
            <p:nvPr/>
          </p:nvSpPr>
          <p:spPr>
            <a:xfrm>
              <a:off x="21071433" y="2839967"/>
              <a:ext cx="102107" cy="16064"/>
            </a:xfrm>
            <a:custGeom>
              <a:avLst/>
              <a:gdLst>
                <a:gd name="connsiteX0" fmla="*/ 51668 w 102107"/>
                <a:gd name="connsiteY0" fmla="*/ 16064 h 16064"/>
                <a:gd name="connsiteX1" fmla="*/ 4196 w 102107"/>
                <a:gd name="connsiteY1" fmla="*/ 10130 h 16064"/>
                <a:gd name="connsiteX2" fmla="*/ 1229 w 102107"/>
                <a:gd name="connsiteY2" fmla="*/ 4196 h 16064"/>
                <a:gd name="connsiteX3" fmla="*/ 7162 w 102107"/>
                <a:gd name="connsiteY3" fmla="*/ 1229 h 16064"/>
                <a:gd name="connsiteX4" fmla="*/ 96173 w 102107"/>
                <a:gd name="connsiteY4" fmla="*/ 1229 h 16064"/>
                <a:gd name="connsiteX5" fmla="*/ 102108 w 102107"/>
                <a:gd name="connsiteY5" fmla="*/ 4196 h 16064"/>
                <a:gd name="connsiteX6" fmla="*/ 99141 w 102107"/>
                <a:gd name="connsiteY6" fmla="*/ 10130 h 16064"/>
                <a:gd name="connsiteX7" fmla="*/ 51668 w 102107"/>
                <a:gd name="connsiteY7" fmla="*/ 16064 h 1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107" h="16064">
                  <a:moveTo>
                    <a:pt x="51668" y="16064"/>
                  </a:moveTo>
                  <a:cubicBezTo>
                    <a:pt x="24965" y="16064"/>
                    <a:pt x="7162" y="13097"/>
                    <a:pt x="4196" y="10130"/>
                  </a:cubicBezTo>
                  <a:cubicBezTo>
                    <a:pt x="1229" y="10130"/>
                    <a:pt x="-1739" y="7163"/>
                    <a:pt x="1229" y="4196"/>
                  </a:cubicBezTo>
                  <a:cubicBezTo>
                    <a:pt x="1229" y="1229"/>
                    <a:pt x="4196" y="-1738"/>
                    <a:pt x="7162" y="1229"/>
                  </a:cubicBezTo>
                  <a:cubicBezTo>
                    <a:pt x="7162" y="1229"/>
                    <a:pt x="54636" y="13097"/>
                    <a:pt x="96173" y="1229"/>
                  </a:cubicBezTo>
                  <a:cubicBezTo>
                    <a:pt x="99141" y="1229"/>
                    <a:pt x="102108" y="1229"/>
                    <a:pt x="102108" y="4196"/>
                  </a:cubicBezTo>
                  <a:cubicBezTo>
                    <a:pt x="102108" y="7163"/>
                    <a:pt x="102108" y="10130"/>
                    <a:pt x="99141" y="10130"/>
                  </a:cubicBezTo>
                  <a:cubicBezTo>
                    <a:pt x="84306" y="13097"/>
                    <a:pt x="66503" y="16064"/>
                    <a:pt x="51668" y="16064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C48E8103-53C6-458F-AA1F-8E272016B265}"/>
                </a:ext>
              </a:extLst>
            </p:cNvPr>
            <p:cNvSpPr/>
            <p:nvPr/>
          </p:nvSpPr>
          <p:spPr>
            <a:xfrm>
              <a:off x="21106735" y="2746251"/>
              <a:ext cx="129114" cy="1815824"/>
            </a:xfrm>
            <a:custGeom>
              <a:avLst/>
              <a:gdLst>
                <a:gd name="connsiteX0" fmla="*/ 123180 w 129114"/>
                <a:gd name="connsiteY0" fmla="*/ 1815824 h 1815824"/>
                <a:gd name="connsiteX1" fmla="*/ 123180 w 129114"/>
                <a:gd name="connsiteY1" fmla="*/ 1815824 h 1815824"/>
                <a:gd name="connsiteX2" fmla="*/ 117246 w 129114"/>
                <a:gd name="connsiteY2" fmla="*/ 1809890 h 1815824"/>
                <a:gd name="connsiteX3" fmla="*/ 46036 w 129114"/>
                <a:gd name="connsiteY3" fmla="*/ 996923 h 1815824"/>
                <a:gd name="connsiteX4" fmla="*/ 7465 w 129114"/>
                <a:gd name="connsiteY4" fmla="*/ 5934 h 1815824"/>
                <a:gd name="connsiteX5" fmla="*/ 13399 w 129114"/>
                <a:gd name="connsiteY5" fmla="*/ 0 h 1815824"/>
                <a:gd name="connsiteX6" fmla="*/ 13399 w 129114"/>
                <a:gd name="connsiteY6" fmla="*/ 0 h 1815824"/>
                <a:gd name="connsiteX7" fmla="*/ 19334 w 129114"/>
                <a:gd name="connsiteY7" fmla="*/ 5934 h 1815824"/>
                <a:gd name="connsiteX8" fmla="*/ 57905 w 129114"/>
                <a:gd name="connsiteY8" fmla="*/ 993956 h 1815824"/>
                <a:gd name="connsiteX9" fmla="*/ 129114 w 129114"/>
                <a:gd name="connsiteY9" fmla="*/ 1809890 h 1815824"/>
                <a:gd name="connsiteX10" fmla="*/ 123180 w 129114"/>
                <a:gd name="connsiteY10" fmla="*/ 1815824 h 1815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9114" h="1815824">
                  <a:moveTo>
                    <a:pt x="123180" y="1815824"/>
                  </a:moveTo>
                  <a:lnTo>
                    <a:pt x="123180" y="1815824"/>
                  </a:lnTo>
                  <a:cubicBezTo>
                    <a:pt x="120212" y="1815824"/>
                    <a:pt x="117246" y="1812857"/>
                    <a:pt x="117246" y="1809890"/>
                  </a:cubicBezTo>
                  <a:cubicBezTo>
                    <a:pt x="117246" y="1803956"/>
                    <a:pt x="120212" y="1305494"/>
                    <a:pt x="46036" y="996923"/>
                  </a:cubicBezTo>
                  <a:cubicBezTo>
                    <a:pt x="-25172" y="688352"/>
                    <a:pt x="7465" y="11868"/>
                    <a:pt x="7465" y="5934"/>
                  </a:cubicBezTo>
                  <a:cubicBezTo>
                    <a:pt x="7465" y="2967"/>
                    <a:pt x="10433" y="0"/>
                    <a:pt x="13399" y="0"/>
                  </a:cubicBezTo>
                  <a:lnTo>
                    <a:pt x="13399" y="0"/>
                  </a:lnTo>
                  <a:cubicBezTo>
                    <a:pt x="16366" y="0"/>
                    <a:pt x="19334" y="2967"/>
                    <a:pt x="19334" y="5934"/>
                  </a:cubicBezTo>
                  <a:cubicBezTo>
                    <a:pt x="19334" y="11868"/>
                    <a:pt x="-16271" y="688352"/>
                    <a:pt x="57905" y="993956"/>
                  </a:cubicBezTo>
                  <a:cubicBezTo>
                    <a:pt x="129114" y="1302527"/>
                    <a:pt x="129114" y="1803956"/>
                    <a:pt x="129114" y="1809890"/>
                  </a:cubicBezTo>
                  <a:cubicBezTo>
                    <a:pt x="129114" y="1812857"/>
                    <a:pt x="126146" y="1815824"/>
                    <a:pt x="123180" y="1815824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7" name="图形 1">
              <a:extLst>
                <a:ext uri="{FF2B5EF4-FFF2-40B4-BE49-F238E27FC236}">
                  <a16:creationId xmlns:a16="http://schemas.microsoft.com/office/drawing/2014/main" id="{C3FBA095-F7FE-4A11-882D-FBBB27E1675A}"/>
                </a:ext>
              </a:extLst>
            </p:cNvPr>
            <p:cNvGrpSpPr/>
            <p:nvPr/>
          </p:nvGrpSpPr>
          <p:grpSpPr>
            <a:xfrm>
              <a:off x="21088240" y="3523386"/>
              <a:ext cx="167359" cy="226609"/>
              <a:chOff x="21088240" y="3523386"/>
              <a:chExt cx="167359" cy="226609"/>
            </a:xfrm>
          </p:grpSpPr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9EE65D7A-FD08-4EB3-BC6A-10F5BAAA2BE1}"/>
                  </a:ext>
                </a:extLst>
              </p:cNvPr>
              <p:cNvSpPr/>
              <p:nvPr/>
            </p:nvSpPr>
            <p:spPr>
              <a:xfrm>
                <a:off x="21095987" y="3523386"/>
                <a:ext cx="143289" cy="112118"/>
              </a:xfrm>
              <a:custGeom>
                <a:avLst/>
                <a:gdLst>
                  <a:gd name="connsiteX0" fmla="*/ 122059 w 143289"/>
                  <a:gd name="connsiteY0" fmla="*/ 228 h 112118"/>
                  <a:gd name="connsiteX1" fmla="*/ 33048 w 143289"/>
                  <a:gd name="connsiteY1" fmla="*/ 41766 h 112118"/>
                  <a:gd name="connsiteX2" fmla="*/ 18213 w 143289"/>
                  <a:gd name="connsiteY2" fmla="*/ 47700 h 112118"/>
                  <a:gd name="connsiteX3" fmla="*/ 6346 w 143289"/>
                  <a:gd name="connsiteY3" fmla="*/ 59568 h 112118"/>
                  <a:gd name="connsiteX4" fmla="*/ 9312 w 143289"/>
                  <a:gd name="connsiteY4" fmla="*/ 107041 h 112118"/>
                  <a:gd name="connsiteX5" fmla="*/ 53818 w 143289"/>
                  <a:gd name="connsiteY5" fmla="*/ 101107 h 112118"/>
                  <a:gd name="connsiteX6" fmla="*/ 110192 w 143289"/>
                  <a:gd name="connsiteY6" fmla="*/ 68469 h 112118"/>
                  <a:gd name="connsiteX7" fmla="*/ 142829 w 143289"/>
                  <a:gd name="connsiteY7" fmla="*/ 32865 h 112118"/>
                  <a:gd name="connsiteX8" fmla="*/ 122059 w 143289"/>
                  <a:gd name="connsiteY8" fmla="*/ 228 h 11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289" h="112118">
                    <a:moveTo>
                      <a:pt x="122059" y="228"/>
                    </a:moveTo>
                    <a:cubicBezTo>
                      <a:pt x="92389" y="-2739"/>
                      <a:pt x="62719" y="23964"/>
                      <a:pt x="33048" y="41766"/>
                    </a:cubicBezTo>
                    <a:cubicBezTo>
                      <a:pt x="30082" y="44733"/>
                      <a:pt x="21181" y="44733"/>
                      <a:pt x="18213" y="47700"/>
                    </a:cubicBezTo>
                    <a:cubicBezTo>
                      <a:pt x="15247" y="50667"/>
                      <a:pt x="9312" y="53634"/>
                      <a:pt x="6346" y="59568"/>
                    </a:cubicBezTo>
                    <a:cubicBezTo>
                      <a:pt x="-2557" y="74403"/>
                      <a:pt x="-2557" y="95173"/>
                      <a:pt x="9312" y="107041"/>
                    </a:cubicBezTo>
                    <a:cubicBezTo>
                      <a:pt x="21181" y="118909"/>
                      <a:pt x="41949" y="107041"/>
                      <a:pt x="53818" y="101107"/>
                    </a:cubicBezTo>
                    <a:cubicBezTo>
                      <a:pt x="71619" y="92206"/>
                      <a:pt x="92389" y="80337"/>
                      <a:pt x="110192" y="68469"/>
                    </a:cubicBezTo>
                    <a:cubicBezTo>
                      <a:pt x="122059" y="59568"/>
                      <a:pt x="139862" y="50667"/>
                      <a:pt x="142829" y="32865"/>
                    </a:cubicBezTo>
                    <a:cubicBezTo>
                      <a:pt x="145795" y="15063"/>
                      <a:pt x="133928" y="228"/>
                      <a:pt x="122059" y="228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CFC4AA36-383F-485A-A131-549D3283C729}"/>
                  </a:ext>
                </a:extLst>
              </p:cNvPr>
              <p:cNvSpPr/>
              <p:nvPr/>
            </p:nvSpPr>
            <p:spPr>
              <a:xfrm>
                <a:off x="21098955" y="3575511"/>
                <a:ext cx="143288" cy="113400"/>
              </a:xfrm>
              <a:custGeom>
                <a:avLst/>
                <a:gdLst>
                  <a:gd name="connsiteX0" fmla="*/ 122060 w 143288"/>
                  <a:gd name="connsiteY0" fmla="*/ 1509 h 113400"/>
                  <a:gd name="connsiteX1" fmla="*/ 24146 w 143288"/>
                  <a:gd name="connsiteY1" fmla="*/ 43047 h 113400"/>
                  <a:gd name="connsiteX2" fmla="*/ 18213 w 143288"/>
                  <a:gd name="connsiteY2" fmla="*/ 48981 h 113400"/>
                  <a:gd name="connsiteX3" fmla="*/ 6345 w 143288"/>
                  <a:gd name="connsiteY3" fmla="*/ 60849 h 113400"/>
                  <a:gd name="connsiteX4" fmla="*/ 9311 w 143288"/>
                  <a:gd name="connsiteY4" fmla="*/ 108322 h 113400"/>
                  <a:gd name="connsiteX5" fmla="*/ 53816 w 143288"/>
                  <a:gd name="connsiteY5" fmla="*/ 102388 h 113400"/>
                  <a:gd name="connsiteX6" fmla="*/ 110191 w 143288"/>
                  <a:gd name="connsiteY6" fmla="*/ 69751 h 113400"/>
                  <a:gd name="connsiteX7" fmla="*/ 142827 w 143288"/>
                  <a:gd name="connsiteY7" fmla="*/ 34146 h 113400"/>
                  <a:gd name="connsiteX8" fmla="*/ 122060 w 143288"/>
                  <a:gd name="connsiteY8" fmla="*/ 1509 h 11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288" h="113400">
                    <a:moveTo>
                      <a:pt x="122060" y="1509"/>
                    </a:moveTo>
                    <a:cubicBezTo>
                      <a:pt x="86455" y="-7392"/>
                      <a:pt x="56785" y="25245"/>
                      <a:pt x="24146" y="43047"/>
                    </a:cubicBezTo>
                    <a:cubicBezTo>
                      <a:pt x="21180" y="46014"/>
                      <a:pt x="18213" y="46014"/>
                      <a:pt x="18213" y="48981"/>
                    </a:cubicBezTo>
                    <a:cubicBezTo>
                      <a:pt x="15245" y="51948"/>
                      <a:pt x="9311" y="54915"/>
                      <a:pt x="6345" y="60849"/>
                    </a:cubicBezTo>
                    <a:cubicBezTo>
                      <a:pt x="-2556" y="75685"/>
                      <a:pt x="-2556" y="96454"/>
                      <a:pt x="9311" y="108322"/>
                    </a:cubicBezTo>
                    <a:cubicBezTo>
                      <a:pt x="21180" y="120190"/>
                      <a:pt x="41949" y="108322"/>
                      <a:pt x="53816" y="102388"/>
                    </a:cubicBezTo>
                    <a:cubicBezTo>
                      <a:pt x="71620" y="93487"/>
                      <a:pt x="92389" y="81619"/>
                      <a:pt x="110191" y="69751"/>
                    </a:cubicBezTo>
                    <a:cubicBezTo>
                      <a:pt x="122060" y="60849"/>
                      <a:pt x="139861" y="51948"/>
                      <a:pt x="142827" y="34146"/>
                    </a:cubicBezTo>
                    <a:cubicBezTo>
                      <a:pt x="145796" y="16344"/>
                      <a:pt x="133927" y="4476"/>
                      <a:pt x="122060" y="150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FE3DD744-9F09-4B57-B884-27A6B5921DBD}"/>
                  </a:ext>
                </a:extLst>
              </p:cNvPr>
              <p:cNvSpPr/>
              <p:nvPr/>
            </p:nvSpPr>
            <p:spPr>
              <a:xfrm>
                <a:off x="21122691" y="3625825"/>
                <a:ext cx="130960" cy="101657"/>
              </a:xfrm>
              <a:custGeom>
                <a:avLst/>
                <a:gdLst>
                  <a:gd name="connsiteX0" fmla="*/ 107224 w 130960"/>
                  <a:gd name="connsiteY0" fmla="*/ 1634 h 101657"/>
                  <a:gd name="connsiteX1" fmla="*/ 21180 w 130960"/>
                  <a:gd name="connsiteY1" fmla="*/ 37239 h 101657"/>
                  <a:gd name="connsiteX2" fmla="*/ 15245 w 130960"/>
                  <a:gd name="connsiteY2" fmla="*/ 43173 h 101657"/>
                  <a:gd name="connsiteX3" fmla="*/ 6344 w 130960"/>
                  <a:gd name="connsiteY3" fmla="*/ 55041 h 101657"/>
                  <a:gd name="connsiteX4" fmla="*/ 9313 w 130960"/>
                  <a:gd name="connsiteY4" fmla="*/ 96579 h 101657"/>
                  <a:gd name="connsiteX5" fmla="*/ 50850 w 130960"/>
                  <a:gd name="connsiteY5" fmla="*/ 90645 h 101657"/>
                  <a:gd name="connsiteX6" fmla="*/ 101290 w 130960"/>
                  <a:gd name="connsiteY6" fmla="*/ 63942 h 101657"/>
                  <a:gd name="connsiteX7" fmla="*/ 130960 w 130960"/>
                  <a:gd name="connsiteY7" fmla="*/ 34272 h 101657"/>
                  <a:gd name="connsiteX8" fmla="*/ 107224 w 130960"/>
                  <a:gd name="connsiteY8" fmla="*/ 1634 h 101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0960" h="101657">
                    <a:moveTo>
                      <a:pt x="107224" y="1634"/>
                    </a:moveTo>
                    <a:cubicBezTo>
                      <a:pt x="74586" y="-7267"/>
                      <a:pt x="47884" y="22404"/>
                      <a:pt x="21180" y="37239"/>
                    </a:cubicBezTo>
                    <a:cubicBezTo>
                      <a:pt x="18213" y="37239"/>
                      <a:pt x="18213" y="40206"/>
                      <a:pt x="15245" y="43173"/>
                    </a:cubicBezTo>
                    <a:cubicBezTo>
                      <a:pt x="12279" y="46140"/>
                      <a:pt x="6344" y="49107"/>
                      <a:pt x="6344" y="55041"/>
                    </a:cubicBezTo>
                    <a:cubicBezTo>
                      <a:pt x="-2556" y="66909"/>
                      <a:pt x="-2556" y="84711"/>
                      <a:pt x="9313" y="96579"/>
                    </a:cubicBezTo>
                    <a:cubicBezTo>
                      <a:pt x="21180" y="108448"/>
                      <a:pt x="38983" y="96579"/>
                      <a:pt x="50850" y="90645"/>
                    </a:cubicBezTo>
                    <a:cubicBezTo>
                      <a:pt x="68653" y="81744"/>
                      <a:pt x="83488" y="72843"/>
                      <a:pt x="101290" y="63942"/>
                    </a:cubicBezTo>
                    <a:cubicBezTo>
                      <a:pt x="113159" y="58008"/>
                      <a:pt x="127994" y="49107"/>
                      <a:pt x="130960" y="34272"/>
                    </a:cubicBezTo>
                    <a:cubicBezTo>
                      <a:pt x="127994" y="13503"/>
                      <a:pt x="119091" y="4601"/>
                      <a:pt x="107224" y="1634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29807EBD-D815-472C-AD7F-CB0147058CA2}"/>
                  </a:ext>
                </a:extLst>
              </p:cNvPr>
              <p:cNvSpPr/>
              <p:nvPr/>
            </p:nvSpPr>
            <p:spPr>
              <a:xfrm>
                <a:off x="21154570" y="3676855"/>
                <a:ext cx="93736" cy="73140"/>
              </a:xfrm>
              <a:custGeom>
                <a:avLst/>
                <a:gdLst>
                  <a:gd name="connsiteX0" fmla="*/ 81280 w 93736"/>
                  <a:gd name="connsiteY0" fmla="*/ 1044 h 73140"/>
                  <a:gd name="connsiteX1" fmla="*/ 16005 w 93736"/>
                  <a:gd name="connsiteY1" fmla="*/ 27748 h 73140"/>
                  <a:gd name="connsiteX2" fmla="*/ 13037 w 93736"/>
                  <a:gd name="connsiteY2" fmla="*/ 30715 h 73140"/>
                  <a:gd name="connsiteX3" fmla="*/ 4136 w 93736"/>
                  <a:gd name="connsiteY3" fmla="*/ 39616 h 73140"/>
                  <a:gd name="connsiteX4" fmla="*/ 7104 w 93736"/>
                  <a:gd name="connsiteY4" fmla="*/ 69286 h 73140"/>
                  <a:gd name="connsiteX5" fmla="*/ 36774 w 93736"/>
                  <a:gd name="connsiteY5" fmla="*/ 66319 h 73140"/>
                  <a:gd name="connsiteX6" fmla="*/ 72377 w 93736"/>
                  <a:gd name="connsiteY6" fmla="*/ 45550 h 73140"/>
                  <a:gd name="connsiteX7" fmla="*/ 93147 w 93736"/>
                  <a:gd name="connsiteY7" fmla="*/ 24781 h 73140"/>
                  <a:gd name="connsiteX8" fmla="*/ 81280 w 93736"/>
                  <a:gd name="connsiteY8" fmla="*/ 1044 h 73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736" h="73140">
                    <a:moveTo>
                      <a:pt x="81280" y="1044"/>
                    </a:moveTo>
                    <a:cubicBezTo>
                      <a:pt x="57542" y="-4890"/>
                      <a:pt x="36774" y="15879"/>
                      <a:pt x="16005" y="27748"/>
                    </a:cubicBezTo>
                    <a:cubicBezTo>
                      <a:pt x="13037" y="27748"/>
                      <a:pt x="13037" y="30715"/>
                      <a:pt x="13037" y="30715"/>
                    </a:cubicBezTo>
                    <a:cubicBezTo>
                      <a:pt x="10070" y="33682"/>
                      <a:pt x="7104" y="36649"/>
                      <a:pt x="4136" y="39616"/>
                    </a:cubicBezTo>
                    <a:cubicBezTo>
                      <a:pt x="-1799" y="48517"/>
                      <a:pt x="-1799" y="63352"/>
                      <a:pt x="7104" y="69286"/>
                    </a:cubicBezTo>
                    <a:cubicBezTo>
                      <a:pt x="16005" y="78187"/>
                      <a:pt x="27872" y="69286"/>
                      <a:pt x="36774" y="66319"/>
                    </a:cubicBezTo>
                    <a:cubicBezTo>
                      <a:pt x="48641" y="60385"/>
                      <a:pt x="60510" y="54451"/>
                      <a:pt x="72377" y="45550"/>
                    </a:cubicBezTo>
                    <a:cubicBezTo>
                      <a:pt x="81280" y="39616"/>
                      <a:pt x="90181" y="36649"/>
                      <a:pt x="93147" y="24781"/>
                    </a:cubicBezTo>
                    <a:cubicBezTo>
                      <a:pt x="96115" y="9945"/>
                      <a:pt x="87212" y="1044"/>
                      <a:pt x="81280" y="1044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B35365C6-109D-429C-9EBA-4AC8BFBC0D30}"/>
                  </a:ext>
                </a:extLst>
              </p:cNvPr>
              <p:cNvSpPr/>
              <p:nvPr/>
            </p:nvSpPr>
            <p:spPr>
              <a:xfrm>
                <a:off x="21088240" y="3529547"/>
                <a:ext cx="157322" cy="163186"/>
              </a:xfrm>
              <a:custGeom>
                <a:avLst/>
                <a:gdLst>
                  <a:gd name="connsiteX0" fmla="*/ 28929 w 157322"/>
                  <a:gd name="connsiteY0" fmla="*/ 163187 h 163186"/>
                  <a:gd name="connsiteX1" fmla="*/ 8159 w 157322"/>
                  <a:gd name="connsiteY1" fmla="*/ 151319 h 163186"/>
                  <a:gd name="connsiteX2" fmla="*/ 11125 w 157322"/>
                  <a:gd name="connsiteY2" fmla="*/ 100879 h 163186"/>
                  <a:gd name="connsiteX3" fmla="*/ 11125 w 157322"/>
                  <a:gd name="connsiteY3" fmla="*/ 100879 h 163186"/>
                  <a:gd name="connsiteX4" fmla="*/ 2225 w 157322"/>
                  <a:gd name="connsiteY4" fmla="*/ 89011 h 163186"/>
                  <a:gd name="connsiteX5" fmla="*/ 2225 w 157322"/>
                  <a:gd name="connsiteY5" fmla="*/ 68242 h 163186"/>
                  <a:gd name="connsiteX6" fmla="*/ 91236 w 157322"/>
                  <a:gd name="connsiteY6" fmla="*/ 0 h 163186"/>
                  <a:gd name="connsiteX7" fmla="*/ 100136 w 157322"/>
                  <a:gd name="connsiteY7" fmla="*/ 2967 h 163186"/>
                  <a:gd name="connsiteX8" fmla="*/ 97170 w 157322"/>
                  <a:gd name="connsiteY8" fmla="*/ 11868 h 163186"/>
                  <a:gd name="connsiteX9" fmla="*/ 14094 w 157322"/>
                  <a:gd name="connsiteY9" fmla="*/ 74176 h 163186"/>
                  <a:gd name="connsiteX10" fmla="*/ 14094 w 157322"/>
                  <a:gd name="connsiteY10" fmla="*/ 86044 h 163186"/>
                  <a:gd name="connsiteX11" fmla="*/ 25961 w 157322"/>
                  <a:gd name="connsiteY11" fmla="*/ 97912 h 163186"/>
                  <a:gd name="connsiteX12" fmla="*/ 129807 w 157322"/>
                  <a:gd name="connsiteY12" fmla="*/ 47472 h 163186"/>
                  <a:gd name="connsiteX13" fmla="*/ 144642 w 157322"/>
                  <a:gd name="connsiteY13" fmla="*/ 44505 h 163186"/>
                  <a:gd name="connsiteX14" fmla="*/ 156511 w 157322"/>
                  <a:gd name="connsiteY14" fmla="*/ 62308 h 163186"/>
                  <a:gd name="connsiteX15" fmla="*/ 79367 w 157322"/>
                  <a:gd name="connsiteY15" fmla="*/ 145385 h 163186"/>
                  <a:gd name="connsiteX16" fmla="*/ 28929 w 157322"/>
                  <a:gd name="connsiteY16" fmla="*/ 163187 h 163186"/>
                  <a:gd name="connsiteX17" fmla="*/ 20026 w 157322"/>
                  <a:gd name="connsiteY17" fmla="*/ 106813 h 163186"/>
                  <a:gd name="connsiteX18" fmla="*/ 17060 w 157322"/>
                  <a:gd name="connsiteY18" fmla="*/ 145385 h 163186"/>
                  <a:gd name="connsiteX19" fmla="*/ 73434 w 157322"/>
                  <a:gd name="connsiteY19" fmla="*/ 133516 h 163186"/>
                  <a:gd name="connsiteX20" fmla="*/ 144642 w 157322"/>
                  <a:gd name="connsiteY20" fmla="*/ 62308 h 163186"/>
                  <a:gd name="connsiteX21" fmla="*/ 138708 w 157322"/>
                  <a:gd name="connsiteY21" fmla="*/ 50440 h 163186"/>
                  <a:gd name="connsiteX22" fmla="*/ 135741 w 157322"/>
                  <a:gd name="connsiteY22" fmla="*/ 50440 h 163186"/>
                  <a:gd name="connsiteX23" fmla="*/ 20026 w 157322"/>
                  <a:gd name="connsiteY23" fmla="*/ 106813 h 163186"/>
                  <a:gd name="connsiteX24" fmla="*/ 20026 w 157322"/>
                  <a:gd name="connsiteY24" fmla="*/ 106813 h 163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57322" h="163186">
                    <a:moveTo>
                      <a:pt x="28929" y="163187"/>
                    </a:moveTo>
                    <a:cubicBezTo>
                      <a:pt x="20026" y="163187"/>
                      <a:pt x="14094" y="160220"/>
                      <a:pt x="8159" y="151319"/>
                    </a:cubicBezTo>
                    <a:cubicBezTo>
                      <a:pt x="-742" y="133516"/>
                      <a:pt x="11125" y="100879"/>
                      <a:pt x="11125" y="100879"/>
                    </a:cubicBezTo>
                    <a:cubicBezTo>
                      <a:pt x="11125" y="100879"/>
                      <a:pt x="11125" y="100879"/>
                      <a:pt x="11125" y="100879"/>
                    </a:cubicBezTo>
                    <a:cubicBezTo>
                      <a:pt x="8159" y="97912"/>
                      <a:pt x="5191" y="91978"/>
                      <a:pt x="2225" y="89011"/>
                    </a:cubicBezTo>
                    <a:cubicBezTo>
                      <a:pt x="-742" y="83077"/>
                      <a:pt x="-742" y="74176"/>
                      <a:pt x="2225" y="68242"/>
                    </a:cubicBezTo>
                    <a:cubicBezTo>
                      <a:pt x="14094" y="35605"/>
                      <a:pt x="88269" y="2967"/>
                      <a:pt x="91236" y="0"/>
                    </a:cubicBezTo>
                    <a:cubicBezTo>
                      <a:pt x="94202" y="0"/>
                      <a:pt x="97170" y="0"/>
                      <a:pt x="100136" y="2967"/>
                    </a:cubicBezTo>
                    <a:cubicBezTo>
                      <a:pt x="100136" y="5934"/>
                      <a:pt x="100136" y="8901"/>
                      <a:pt x="97170" y="11868"/>
                    </a:cubicBezTo>
                    <a:cubicBezTo>
                      <a:pt x="76401" y="20769"/>
                      <a:pt x="22994" y="50440"/>
                      <a:pt x="14094" y="74176"/>
                    </a:cubicBezTo>
                    <a:cubicBezTo>
                      <a:pt x="14094" y="77143"/>
                      <a:pt x="14094" y="83077"/>
                      <a:pt x="14094" y="86044"/>
                    </a:cubicBezTo>
                    <a:cubicBezTo>
                      <a:pt x="17060" y="91978"/>
                      <a:pt x="20026" y="94945"/>
                      <a:pt x="25961" y="97912"/>
                    </a:cubicBezTo>
                    <a:cubicBezTo>
                      <a:pt x="43764" y="100879"/>
                      <a:pt x="76401" y="83077"/>
                      <a:pt x="129807" y="47472"/>
                    </a:cubicBezTo>
                    <a:cubicBezTo>
                      <a:pt x="129807" y="47472"/>
                      <a:pt x="135741" y="44505"/>
                      <a:pt x="144642" y="44505"/>
                    </a:cubicBezTo>
                    <a:cubicBezTo>
                      <a:pt x="150576" y="47472"/>
                      <a:pt x="156511" y="53407"/>
                      <a:pt x="156511" y="62308"/>
                    </a:cubicBezTo>
                    <a:cubicBezTo>
                      <a:pt x="162445" y="89011"/>
                      <a:pt x="135741" y="115714"/>
                      <a:pt x="79367" y="145385"/>
                    </a:cubicBezTo>
                    <a:cubicBezTo>
                      <a:pt x="61565" y="154286"/>
                      <a:pt x="43764" y="163187"/>
                      <a:pt x="28929" y="163187"/>
                    </a:cubicBezTo>
                    <a:close/>
                    <a:moveTo>
                      <a:pt x="20026" y="106813"/>
                    </a:moveTo>
                    <a:cubicBezTo>
                      <a:pt x="17060" y="115714"/>
                      <a:pt x="11125" y="136483"/>
                      <a:pt x="17060" y="145385"/>
                    </a:cubicBezTo>
                    <a:cubicBezTo>
                      <a:pt x="22994" y="157253"/>
                      <a:pt x="34861" y="154286"/>
                      <a:pt x="73434" y="133516"/>
                    </a:cubicBezTo>
                    <a:cubicBezTo>
                      <a:pt x="123872" y="106813"/>
                      <a:pt x="147610" y="83077"/>
                      <a:pt x="144642" y="62308"/>
                    </a:cubicBezTo>
                    <a:cubicBezTo>
                      <a:pt x="141676" y="53407"/>
                      <a:pt x="138708" y="50440"/>
                      <a:pt x="138708" y="50440"/>
                    </a:cubicBezTo>
                    <a:cubicBezTo>
                      <a:pt x="135741" y="50440"/>
                      <a:pt x="135741" y="50440"/>
                      <a:pt x="135741" y="50440"/>
                    </a:cubicBezTo>
                    <a:cubicBezTo>
                      <a:pt x="61565" y="106813"/>
                      <a:pt x="34861" y="109780"/>
                      <a:pt x="20026" y="106813"/>
                    </a:cubicBezTo>
                    <a:cubicBezTo>
                      <a:pt x="22994" y="106813"/>
                      <a:pt x="20026" y="106813"/>
                      <a:pt x="20026" y="106813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20138014-2105-4811-961C-9A9BBBAB7794}"/>
                  </a:ext>
                </a:extLst>
              </p:cNvPr>
              <p:cNvSpPr/>
              <p:nvPr/>
            </p:nvSpPr>
            <p:spPr>
              <a:xfrm>
                <a:off x="21113958" y="3618558"/>
                <a:ext cx="141641" cy="109780"/>
              </a:xfrm>
              <a:custGeom>
                <a:avLst/>
                <a:gdLst>
                  <a:gd name="connsiteX0" fmla="*/ 29912 w 141641"/>
                  <a:gd name="connsiteY0" fmla="*/ 109780 h 109780"/>
                  <a:gd name="connsiteX1" fmla="*/ 12111 w 141641"/>
                  <a:gd name="connsiteY1" fmla="*/ 103846 h 109780"/>
                  <a:gd name="connsiteX2" fmla="*/ 242 w 141641"/>
                  <a:gd name="connsiteY2" fmla="*/ 68242 h 109780"/>
                  <a:gd name="connsiteX3" fmla="*/ 6176 w 141641"/>
                  <a:gd name="connsiteY3" fmla="*/ 62308 h 109780"/>
                  <a:gd name="connsiteX4" fmla="*/ 6176 w 141641"/>
                  <a:gd name="connsiteY4" fmla="*/ 62308 h 109780"/>
                  <a:gd name="connsiteX5" fmla="*/ 12111 w 141641"/>
                  <a:gd name="connsiteY5" fmla="*/ 68242 h 109780"/>
                  <a:gd name="connsiteX6" fmla="*/ 21012 w 141641"/>
                  <a:gd name="connsiteY6" fmla="*/ 91978 h 109780"/>
                  <a:gd name="connsiteX7" fmla="*/ 41781 w 141641"/>
                  <a:gd name="connsiteY7" fmla="*/ 91978 h 109780"/>
                  <a:gd name="connsiteX8" fmla="*/ 130792 w 141641"/>
                  <a:gd name="connsiteY8" fmla="*/ 38572 h 109780"/>
                  <a:gd name="connsiteX9" fmla="*/ 130792 w 141641"/>
                  <a:gd name="connsiteY9" fmla="*/ 26703 h 109780"/>
                  <a:gd name="connsiteX10" fmla="*/ 118923 w 141641"/>
                  <a:gd name="connsiteY10" fmla="*/ 11868 h 109780"/>
                  <a:gd name="connsiteX11" fmla="*/ 112989 w 141641"/>
                  <a:gd name="connsiteY11" fmla="*/ 5934 h 109780"/>
                  <a:gd name="connsiteX12" fmla="*/ 118923 w 141641"/>
                  <a:gd name="connsiteY12" fmla="*/ 0 h 109780"/>
                  <a:gd name="connsiteX13" fmla="*/ 139693 w 141641"/>
                  <a:gd name="connsiteY13" fmla="*/ 20769 h 109780"/>
                  <a:gd name="connsiteX14" fmla="*/ 136727 w 141641"/>
                  <a:gd name="connsiteY14" fmla="*/ 44505 h 109780"/>
                  <a:gd name="connsiteX15" fmla="*/ 44748 w 141641"/>
                  <a:gd name="connsiteY15" fmla="*/ 100879 h 109780"/>
                  <a:gd name="connsiteX16" fmla="*/ 29912 w 141641"/>
                  <a:gd name="connsiteY16" fmla="*/ 109780 h 109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1641" h="109780">
                    <a:moveTo>
                      <a:pt x="29912" y="109780"/>
                    </a:moveTo>
                    <a:cubicBezTo>
                      <a:pt x="23978" y="109780"/>
                      <a:pt x="18045" y="106813"/>
                      <a:pt x="12111" y="103846"/>
                    </a:cubicBezTo>
                    <a:cubicBezTo>
                      <a:pt x="-2724" y="91978"/>
                      <a:pt x="242" y="71209"/>
                      <a:pt x="242" y="68242"/>
                    </a:cubicBezTo>
                    <a:cubicBezTo>
                      <a:pt x="242" y="65275"/>
                      <a:pt x="3210" y="62308"/>
                      <a:pt x="6176" y="62308"/>
                    </a:cubicBezTo>
                    <a:lnTo>
                      <a:pt x="6176" y="62308"/>
                    </a:lnTo>
                    <a:cubicBezTo>
                      <a:pt x="9143" y="62308"/>
                      <a:pt x="12111" y="65275"/>
                      <a:pt x="12111" y="68242"/>
                    </a:cubicBezTo>
                    <a:cubicBezTo>
                      <a:pt x="12111" y="74176"/>
                      <a:pt x="12111" y="86044"/>
                      <a:pt x="21012" y="91978"/>
                    </a:cubicBezTo>
                    <a:cubicBezTo>
                      <a:pt x="26946" y="94945"/>
                      <a:pt x="32881" y="94945"/>
                      <a:pt x="41781" y="91978"/>
                    </a:cubicBezTo>
                    <a:cubicBezTo>
                      <a:pt x="80352" y="80110"/>
                      <a:pt x="118923" y="50440"/>
                      <a:pt x="130792" y="38572"/>
                    </a:cubicBezTo>
                    <a:cubicBezTo>
                      <a:pt x="133759" y="35605"/>
                      <a:pt x="133759" y="29670"/>
                      <a:pt x="130792" y="26703"/>
                    </a:cubicBezTo>
                    <a:cubicBezTo>
                      <a:pt x="127824" y="17802"/>
                      <a:pt x="121892" y="11868"/>
                      <a:pt x="118923" y="11868"/>
                    </a:cubicBezTo>
                    <a:cubicBezTo>
                      <a:pt x="115957" y="11868"/>
                      <a:pt x="112989" y="8901"/>
                      <a:pt x="112989" y="5934"/>
                    </a:cubicBezTo>
                    <a:cubicBezTo>
                      <a:pt x="112989" y="2967"/>
                      <a:pt x="115957" y="0"/>
                      <a:pt x="118923" y="0"/>
                    </a:cubicBezTo>
                    <a:cubicBezTo>
                      <a:pt x="127824" y="0"/>
                      <a:pt x="136727" y="11868"/>
                      <a:pt x="139693" y="20769"/>
                    </a:cubicBezTo>
                    <a:cubicBezTo>
                      <a:pt x="142659" y="29670"/>
                      <a:pt x="142659" y="38572"/>
                      <a:pt x="136727" y="44505"/>
                    </a:cubicBezTo>
                    <a:cubicBezTo>
                      <a:pt x="124858" y="56374"/>
                      <a:pt x="86287" y="89011"/>
                      <a:pt x="44748" y="100879"/>
                    </a:cubicBezTo>
                    <a:cubicBezTo>
                      <a:pt x="38813" y="106813"/>
                      <a:pt x="32881" y="109780"/>
                      <a:pt x="29912" y="10978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719CADA7-0CB1-47A1-89A0-B225F03F5FF5}"/>
                </a:ext>
              </a:extLst>
            </p:cNvPr>
            <p:cNvSpPr/>
            <p:nvPr/>
          </p:nvSpPr>
          <p:spPr>
            <a:xfrm>
              <a:off x="21021046" y="3612474"/>
              <a:ext cx="150521" cy="134124"/>
            </a:xfrm>
            <a:custGeom>
              <a:avLst/>
              <a:gdLst>
                <a:gd name="connsiteX0" fmla="*/ 87220 w 150521"/>
                <a:gd name="connsiteY0" fmla="*/ 151 h 134124"/>
                <a:gd name="connsiteX1" fmla="*/ 1177 w 150521"/>
                <a:gd name="connsiteY1" fmla="*/ 65425 h 134124"/>
                <a:gd name="connsiteX2" fmla="*/ 36782 w 150521"/>
                <a:gd name="connsiteY2" fmla="*/ 133667 h 134124"/>
                <a:gd name="connsiteX3" fmla="*/ 60518 w 150521"/>
                <a:gd name="connsiteY3" fmla="*/ 77293 h 134124"/>
                <a:gd name="connsiteX4" fmla="*/ 119858 w 150521"/>
                <a:gd name="connsiteY4" fmla="*/ 50590 h 134124"/>
                <a:gd name="connsiteX5" fmla="*/ 149529 w 150521"/>
                <a:gd name="connsiteY5" fmla="*/ 50590 h 134124"/>
                <a:gd name="connsiteX6" fmla="*/ 87220 w 150521"/>
                <a:gd name="connsiteY6" fmla="*/ 151 h 134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521" h="134124">
                  <a:moveTo>
                    <a:pt x="87220" y="151"/>
                  </a:moveTo>
                  <a:cubicBezTo>
                    <a:pt x="51617" y="-2816"/>
                    <a:pt x="13044" y="38722"/>
                    <a:pt x="1177" y="65425"/>
                  </a:cubicBezTo>
                  <a:cubicBezTo>
                    <a:pt x="-7724" y="86195"/>
                    <a:pt x="36782" y="139601"/>
                    <a:pt x="36782" y="133667"/>
                  </a:cubicBezTo>
                  <a:cubicBezTo>
                    <a:pt x="42714" y="121799"/>
                    <a:pt x="51617" y="89162"/>
                    <a:pt x="60518" y="77293"/>
                  </a:cubicBezTo>
                  <a:cubicBezTo>
                    <a:pt x="75353" y="56524"/>
                    <a:pt x="93154" y="53557"/>
                    <a:pt x="119858" y="50590"/>
                  </a:cubicBezTo>
                  <a:cubicBezTo>
                    <a:pt x="128759" y="50590"/>
                    <a:pt x="146560" y="59491"/>
                    <a:pt x="149529" y="50590"/>
                  </a:cubicBezTo>
                  <a:cubicBezTo>
                    <a:pt x="158429" y="26854"/>
                    <a:pt x="105023" y="151"/>
                    <a:pt x="87220" y="151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C62287B4-59C9-4D27-B378-4C0A2A25ECC1}"/>
                </a:ext>
              </a:extLst>
            </p:cNvPr>
            <p:cNvSpPr/>
            <p:nvPr/>
          </p:nvSpPr>
          <p:spPr>
            <a:xfrm>
              <a:off x="21016289" y="3605949"/>
              <a:ext cx="162168" cy="137224"/>
            </a:xfrm>
            <a:custGeom>
              <a:avLst/>
              <a:gdLst>
                <a:gd name="connsiteX0" fmla="*/ 74176 w 162168"/>
                <a:gd name="connsiteY0" fmla="*/ 137225 h 137224"/>
                <a:gd name="connsiteX1" fmla="*/ 74176 w 162168"/>
                <a:gd name="connsiteY1" fmla="*/ 137225 h 137224"/>
                <a:gd name="connsiteX2" fmla="*/ 68241 w 162168"/>
                <a:gd name="connsiteY2" fmla="*/ 128323 h 137224"/>
                <a:gd name="connsiteX3" fmla="*/ 62307 w 162168"/>
                <a:gd name="connsiteY3" fmla="*/ 83818 h 137224"/>
                <a:gd name="connsiteX4" fmla="*/ 62307 w 162168"/>
                <a:gd name="connsiteY4" fmla="*/ 77884 h 137224"/>
                <a:gd name="connsiteX5" fmla="*/ 130550 w 162168"/>
                <a:gd name="connsiteY5" fmla="*/ 54148 h 137224"/>
                <a:gd name="connsiteX6" fmla="*/ 151318 w 162168"/>
                <a:gd name="connsiteY6" fmla="*/ 51181 h 137224"/>
                <a:gd name="connsiteX7" fmla="*/ 151318 w 162168"/>
                <a:gd name="connsiteY7" fmla="*/ 45246 h 137224"/>
                <a:gd name="connsiteX8" fmla="*/ 91977 w 162168"/>
                <a:gd name="connsiteY8" fmla="*/ 9642 h 137224"/>
                <a:gd name="connsiteX9" fmla="*/ 86045 w 162168"/>
                <a:gd name="connsiteY9" fmla="*/ 9642 h 137224"/>
                <a:gd name="connsiteX10" fmla="*/ 11869 w 162168"/>
                <a:gd name="connsiteY10" fmla="*/ 74917 h 137224"/>
                <a:gd name="connsiteX11" fmla="*/ 2966 w 162168"/>
                <a:gd name="connsiteY11" fmla="*/ 77884 h 137224"/>
                <a:gd name="connsiteX12" fmla="*/ 0 w 162168"/>
                <a:gd name="connsiteY12" fmla="*/ 68983 h 137224"/>
                <a:gd name="connsiteX13" fmla="*/ 91977 w 162168"/>
                <a:gd name="connsiteY13" fmla="*/ 741 h 137224"/>
                <a:gd name="connsiteX14" fmla="*/ 160221 w 162168"/>
                <a:gd name="connsiteY14" fmla="*/ 45246 h 137224"/>
                <a:gd name="connsiteX15" fmla="*/ 157252 w 162168"/>
                <a:gd name="connsiteY15" fmla="*/ 63049 h 137224"/>
                <a:gd name="connsiteX16" fmla="*/ 127582 w 162168"/>
                <a:gd name="connsiteY16" fmla="*/ 68983 h 137224"/>
                <a:gd name="connsiteX17" fmla="*/ 71210 w 162168"/>
                <a:gd name="connsiteY17" fmla="*/ 86785 h 137224"/>
                <a:gd name="connsiteX18" fmla="*/ 77142 w 162168"/>
                <a:gd name="connsiteY18" fmla="*/ 137225 h 137224"/>
                <a:gd name="connsiteX19" fmla="*/ 74176 w 162168"/>
                <a:gd name="connsiteY19" fmla="*/ 137225 h 13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2168" h="137224">
                  <a:moveTo>
                    <a:pt x="74176" y="137225"/>
                  </a:moveTo>
                  <a:cubicBezTo>
                    <a:pt x="74176" y="137225"/>
                    <a:pt x="74176" y="137225"/>
                    <a:pt x="74176" y="137225"/>
                  </a:cubicBezTo>
                  <a:cubicBezTo>
                    <a:pt x="68241" y="134257"/>
                    <a:pt x="68241" y="131290"/>
                    <a:pt x="68241" y="128323"/>
                  </a:cubicBezTo>
                  <a:cubicBezTo>
                    <a:pt x="74176" y="113488"/>
                    <a:pt x="65275" y="92719"/>
                    <a:pt x="62307" y="83818"/>
                  </a:cubicBezTo>
                  <a:cubicBezTo>
                    <a:pt x="62307" y="80851"/>
                    <a:pt x="62307" y="80851"/>
                    <a:pt x="62307" y="77884"/>
                  </a:cubicBezTo>
                  <a:cubicBezTo>
                    <a:pt x="83077" y="51181"/>
                    <a:pt x="109781" y="51181"/>
                    <a:pt x="130550" y="54148"/>
                  </a:cubicBezTo>
                  <a:cubicBezTo>
                    <a:pt x="139451" y="54148"/>
                    <a:pt x="148352" y="54148"/>
                    <a:pt x="151318" y="51181"/>
                  </a:cubicBezTo>
                  <a:cubicBezTo>
                    <a:pt x="151318" y="51181"/>
                    <a:pt x="154286" y="48214"/>
                    <a:pt x="151318" y="45246"/>
                  </a:cubicBezTo>
                  <a:cubicBezTo>
                    <a:pt x="145385" y="30411"/>
                    <a:pt x="121648" y="15576"/>
                    <a:pt x="91977" y="9642"/>
                  </a:cubicBezTo>
                  <a:cubicBezTo>
                    <a:pt x="89011" y="9642"/>
                    <a:pt x="89011" y="9642"/>
                    <a:pt x="86045" y="9642"/>
                  </a:cubicBezTo>
                  <a:cubicBezTo>
                    <a:pt x="47472" y="9642"/>
                    <a:pt x="11869" y="71950"/>
                    <a:pt x="11869" y="74917"/>
                  </a:cubicBezTo>
                  <a:cubicBezTo>
                    <a:pt x="8901" y="77884"/>
                    <a:pt x="5934" y="77884"/>
                    <a:pt x="2966" y="77884"/>
                  </a:cubicBezTo>
                  <a:cubicBezTo>
                    <a:pt x="0" y="74917"/>
                    <a:pt x="0" y="71950"/>
                    <a:pt x="0" y="68983"/>
                  </a:cubicBezTo>
                  <a:cubicBezTo>
                    <a:pt x="2966" y="66016"/>
                    <a:pt x="44505" y="-8160"/>
                    <a:pt x="91977" y="741"/>
                  </a:cubicBezTo>
                  <a:cubicBezTo>
                    <a:pt x="127582" y="6675"/>
                    <a:pt x="154286" y="27444"/>
                    <a:pt x="160221" y="45246"/>
                  </a:cubicBezTo>
                  <a:cubicBezTo>
                    <a:pt x="163187" y="51181"/>
                    <a:pt x="163187" y="57115"/>
                    <a:pt x="157252" y="63049"/>
                  </a:cubicBezTo>
                  <a:cubicBezTo>
                    <a:pt x="151318" y="68983"/>
                    <a:pt x="139451" y="68983"/>
                    <a:pt x="127582" y="68983"/>
                  </a:cubicBezTo>
                  <a:cubicBezTo>
                    <a:pt x="109781" y="68983"/>
                    <a:pt x="89011" y="66016"/>
                    <a:pt x="71210" y="86785"/>
                  </a:cubicBezTo>
                  <a:cubicBezTo>
                    <a:pt x="74176" y="95686"/>
                    <a:pt x="86045" y="119422"/>
                    <a:pt x="77142" y="137225"/>
                  </a:cubicBezTo>
                  <a:cubicBezTo>
                    <a:pt x="80110" y="137225"/>
                    <a:pt x="77142" y="137225"/>
                    <a:pt x="74176" y="137225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80" name="图形 1">
            <a:extLst>
              <a:ext uri="{FF2B5EF4-FFF2-40B4-BE49-F238E27FC236}">
                <a16:creationId xmlns:a16="http://schemas.microsoft.com/office/drawing/2014/main" id="{D85A4BA4-9620-4D90-99F3-99C32D0691D2}"/>
              </a:ext>
            </a:extLst>
          </p:cNvPr>
          <p:cNvGrpSpPr/>
          <p:nvPr/>
        </p:nvGrpSpPr>
        <p:grpSpPr>
          <a:xfrm>
            <a:off x="6814851" y="2038220"/>
            <a:ext cx="1842011" cy="4818547"/>
            <a:chOff x="22740651" y="2225701"/>
            <a:chExt cx="1842011" cy="4818547"/>
          </a:xfrm>
        </p:grpSpPr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7570C8B5-9094-4F59-8E54-4C5ABB87EF69}"/>
                </a:ext>
              </a:extLst>
            </p:cNvPr>
            <p:cNvSpPr/>
            <p:nvPr/>
          </p:nvSpPr>
          <p:spPr>
            <a:xfrm>
              <a:off x="23140273" y="2701541"/>
              <a:ext cx="463803" cy="780247"/>
            </a:xfrm>
            <a:custGeom>
              <a:avLst/>
              <a:gdLst>
                <a:gd name="connsiteX0" fmla="*/ 9313 w 463803"/>
                <a:gd name="connsiteY0" fmla="*/ 741962 h 780247"/>
                <a:gd name="connsiteX1" fmla="*/ 228872 w 463803"/>
                <a:gd name="connsiteY1" fmla="*/ 753830 h 780247"/>
                <a:gd name="connsiteX2" fmla="*/ 311948 w 463803"/>
                <a:gd name="connsiteY2" fmla="*/ 552072 h 780247"/>
                <a:gd name="connsiteX3" fmla="*/ 395027 w 463803"/>
                <a:gd name="connsiteY3" fmla="*/ 593610 h 780247"/>
                <a:gd name="connsiteX4" fmla="*/ 347553 w 463803"/>
                <a:gd name="connsiteY4" fmla="*/ 335478 h 780247"/>
                <a:gd name="connsiteX5" fmla="*/ 395027 w 463803"/>
                <a:gd name="connsiteY5" fmla="*/ 196028 h 780247"/>
                <a:gd name="connsiteX6" fmla="*/ 421729 w 463803"/>
                <a:gd name="connsiteY6" fmla="*/ 118885 h 780247"/>
                <a:gd name="connsiteX7" fmla="*/ 457334 w 463803"/>
                <a:gd name="connsiteY7" fmla="*/ 101083 h 780247"/>
                <a:gd name="connsiteX8" fmla="*/ 451399 w 463803"/>
                <a:gd name="connsiteY8" fmla="*/ 74380 h 780247"/>
                <a:gd name="connsiteX9" fmla="*/ 311948 w 463803"/>
                <a:gd name="connsiteY9" fmla="*/ 204 h 780247"/>
                <a:gd name="connsiteX10" fmla="*/ 249642 w 463803"/>
                <a:gd name="connsiteY10" fmla="*/ 23940 h 780247"/>
                <a:gd name="connsiteX11" fmla="*/ 228872 w 463803"/>
                <a:gd name="connsiteY11" fmla="*/ 50643 h 780247"/>
                <a:gd name="connsiteX12" fmla="*/ 133927 w 463803"/>
                <a:gd name="connsiteY12" fmla="*/ 145588 h 780247"/>
                <a:gd name="connsiteX13" fmla="*/ 80520 w 463803"/>
                <a:gd name="connsiteY13" fmla="*/ 237566 h 780247"/>
                <a:gd name="connsiteX14" fmla="*/ 86455 w 463803"/>
                <a:gd name="connsiteY14" fmla="*/ 252402 h 780247"/>
                <a:gd name="connsiteX15" fmla="*/ 68653 w 463803"/>
                <a:gd name="connsiteY15" fmla="*/ 338445 h 780247"/>
                <a:gd name="connsiteX16" fmla="*/ 47884 w 463803"/>
                <a:gd name="connsiteY16" fmla="*/ 460094 h 780247"/>
                <a:gd name="connsiteX17" fmla="*/ 24148 w 463803"/>
                <a:gd name="connsiteY17" fmla="*/ 578775 h 780247"/>
                <a:gd name="connsiteX18" fmla="*/ 18213 w 463803"/>
                <a:gd name="connsiteY18" fmla="*/ 667786 h 780247"/>
                <a:gd name="connsiteX19" fmla="*/ 6344 w 463803"/>
                <a:gd name="connsiteY19" fmla="*/ 694489 h 780247"/>
                <a:gd name="connsiteX20" fmla="*/ 9313 w 463803"/>
                <a:gd name="connsiteY20" fmla="*/ 741962 h 780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63803" h="780247">
                  <a:moveTo>
                    <a:pt x="9313" y="741962"/>
                  </a:moveTo>
                  <a:cubicBezTo>
                    <a:pt x="44916" y="801303"/>
                    <a:pt x="178432" y="780533"/>
                    <a:pt x="228872" y="753830"/>
                  </a:cubicBezTo>
                  <a:cubicBezTo>
                    <a:pt x="317883" y="709325"/>
                    <a:pt x="332718" y="629215"/>
                    <a:pt x="311948" y="552072"/>
                  </a:cubicBezTo>
                  <a:cubicBezTo>
                    <a:pt x="397993" y="623281"/>
                    <a:pt x="386124" y="644050"/>
                    <a:pt x="395027" y="593610"/>
                  </a:cubicBezTo>
                  <a:cubicBezTo>
                    <a:pt x="403928" y="552072"/>
                    <a:pt x="341619" y="385918"/>
                    <a:pt x="347553" y="335478"/>
                  </a:cubicBezTo>
                  <a:cubicBezTo>
                    <a:pt x="356454" y="285039"/>
                    <a:pt x="371289" y="240533"/>
                    <a:pt x="395027" y="196028"/>
                  </a:cubicBezTo>
                  <a:cubicBezTo>
                    <a:pt x="403928" y="175259"/>
                    <a:pt x="412828" y="145588"/>
                    <a:pt x="421729" y="118885"/>
                  </a:cubicBezTo>
                  <a:cubicBezTo>
                    <a:pt x="433598" y="112951"/>
                    <a:pt x="445465" y="107017"/>
                    <a:pt x="457334" y="101083"/>
                  </a:cubicBezTo>
                  <a:cubicBezTo>
                    <a:pt x="469203" y="92182"/>
                    <a:pt x="463268" y="77347"/>
                    <a:pt x="451399" y="74380"/>
                  </a:cubicBezTo>
                  <a:cubicBezTo>
                    <a:pt x="433598" y="26907"/>
                    <a:pt x="368323" y="-2763"/>
                    <a:pt x="311948" y="204"/>
                  </a:cubicBezTo>
                  <a:cubicBezTo>
                    <a:pt x="297113" y="204"/>
                    <a:pt x="270411" y="9105"/>
                    <a:pt x="249642" y="23940"/>
                  </a:cubicBezTo>
                  <a:cubicBezTo>
                    <a:pt x="240741" y="29874"/>
                    <a:pt x="234806" y="38775"/>
                    <a:pt x="228872" y="50643"/>
                  </a:cubicBezTo>
                  <a:cubicBezTo>
                    <a:pt x="169531" y="44709"/>
                    <a:pt x="125026" y="86248"/>
                    <a:pt x="133927" y="145588"/>
                  </a:cubicBezTo>
                  <a:cubicBezTo>
                    <a:pt x="89421" y="145588"/>
                    <a:pt x="71620" y="193061"/>
                    <a:pt x="80520" y="237566"/>
                  </a:cubicBezTo>
                  <a:cubicBezTo>
                    <a:pt x="83488" y="246467"/>
                    <a:pt x="83488" y="249434"/>
                    <a:pt x="86455" y="252402"/>
                  </a:cubicBezTo>
                  <a:cubicBezTo>
                    <a:pt x="62719" y="276138"/>
                    <a:pt x="53818" y="308775"/>
                    <a:pt x="68653" y="338445"/>
                  </a:cubicBezTo>
                  <a:cubicBezTo>
                    <a:pt x="27114" y="359215"/>
                    <a:pt x="24148" y="421522"/>
                    <a:pt x="47884" y="460094"/>
                  </a:cubicBezTo>
                  <a:cubicBezTo>
                    <a:pt x="6344" y="486797"/>
                    <a:pt x="6344" y="534270"/>
                    <a:pt x="24148" y="578775"/>
                  </a:cubicBezTo>
                  <a:cubicBezTo>
                    <a:pt x="-8491" y="599544"/>
                    <a:pt x="-2556" y="638116"/>
                    <a:pt x="18213" y="667786"/>
                  </a:cubicBezTo>
                  <a:cubicBezTo>
                    <a:pt x="9313" y="676687"/>
                    <a:pt x="6344" y="685588"/>
                    <a:pt x="6344" y="694489"/>
                  </a:cubicBezTo>
                  <a:cubicBezTo>
                    <a:pt x="-2556" y="709325"/>
                    <a:pt x="-2556" y="724160"/>
                    <a:pt x="9313" y="741962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F7C2DB09-35F5-4B0D-B915-795B0DCE47F1}"/>
                </a:ext>
              </a:extLst>
            </p:cNvPr>
            <p:cNvSpPr/>
            <p:nvPr/>
          </p:nvSpPr>
          <p:spPr>
            <a:xfrm>
              <a:off x="22740651" y="3434282"/>
              <a:ext cx="636359" cy="795523"/>
            </a:xfrm>
            <a:custGeom>
              <a:avLst/>
              <a:gdLst>
                <a:gd name="connsiteX0" fmla="*/ 598824 w 636359"/>
                <a:gd name="connsiteY0" fmla="*/ 12189 h 795523"/>
                <a:gd name="connsiteX1" fmla="*/ 222010 w 636359"/>
                <a:gd name="connsiteY1" fmla="*/ 222848 h 795523"/>
                <a:gd name="connsiteX2" fmla="*/ 2451 w 636359"/>
                <a:gd name="connsiteY2" fmla="*/ 733178 h 795523"/>
                <a:gd name="connsiteX3" fmla="*/ 76627 w 636359"/>
                <a:gd name="connsiteY3" fmla="*/ 795485 h 795523"/>
                <a:gd name="connsiteX4" fmla="*/ 355527 w 636359"/>
                <a:gd name="connsiteY4" fmla="*/ 492848 h 795523"/>
                <a:gd name="connsiteX5" fmla="*/ 598824 w 636359"/>
                <a:gd name="connsiteY5" fmla="*/ 12189 h 795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6359" h="795523">
                  <a:moveTo>
                    <a:pt x="598824" y="12189"/>
                  </a:moveTo>
                  <a:cubicBezTo>
                    <a:pt x="509813" y="-50119"/>
                    <a:pt x="287286" y="142738"/>
                    <a:pt x="222010" y="222848"/>
                  </a:cubicBezTo>
                  <a:cubicBezTo>
                    <a:pt x="132999" y="335595"/>
                    <a:pt x="-21285" y="584826"/>
                    <a:pt x="2451" y="733178"/>
                  </a:cubicBezTo>
                  <a:cubicBezTo>
                    <a:pt x="8386" y="765815"/>
                    <a:pt x="5417" y="792518"/>
                    <a:pt x="76627" y="795485"/>
                  </a:cubicBezTo>
                  <a:cubicBezTo>
                    <a:pt x="121132" y="798453"/>
                    <a:pt x="242780" y="626365"/>
                    <a:pt x="355527" y="492848"/>
                  </a:cubicBezTo>
                  <a:cubicBezTo>
                    <a:pt x="521682" y="294057"/>
                    <a:pt x="720473" y="95266"/>
                    <a:pt x="598824" y="12189"/>
                  </a:cubicBezTo>
                  <a:close/>
                </a:path>
              </a:pathLst>
            </a:custGeom>
            <a:solidFill>
              <a:srgbClr val="F1DDB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8570C874-3EBA-44C2-B50F-7766434CA520}"/>
                </a:ext>
              </a:extLst>
            </p:cNvPr>
            <p:cNvSpPr/>
            <p:nvPr/>
          </p:nvSpPr>
          <p:spPr>
            <a:xfrm>
              <a:off x="23491553" y="2706186"/>
              <a:ext cx="585835" cy="941254"/>
            </a:xfrm>
            <a:custGeom>
              <a:avLst/>
              <a:gdLst>
                <a:gd name="connsiteX0" fmla="*/ 46713 w 585835"/>
                <a:gd name="connsiteY0" fmla="*/ 256658 h 941254"/>
                <a:gd name="connsiteX1" fmla="*/ 67483 w 585835"/>
                <a:gd name="connsiteY1" fmla="*/ 87537 h 941254"/>
                <a:gd name="connsiteX2" fmla="*/ 64515 w 585835"/>
                <a:gd name="connsiteY2" fmla="*/ 72702 h 941254"/>
                <a:gd name="connsiteX3" fmla="*/ 224735 w 585835"/>
                <a:gd name="connsiteY3" fmla="*/ 51933 h 941254"/>
                <a:gd name="connsiteX4" fmla="*/ 313746 w 585835"/>
                <a:gd name="connsiteY4" fmla="*/ 96438 h 941254"/>
                <a:gd name="connsiteX5" fmla="*/ 310780 w 585835"/>
                <a:gd name="connsiteY5" fmla="*/ 158746 h 941254"/>
                <a:gd name="connsiteX6" fmla="*/ 310780 w 585835"/>
                <a:gd name="connsiteY6" fmla="*/ 158746 h 941254"/>
                <a:gd name="connsiteX7" fmla="*/ 387922 w 585835"/>
                <a:gd name="connsiteY7" fmla="*/ 247757 h 941254"/>
                <a:gd name="connsiteX8" fmla="*/ 423527 w 585835"/>
                <a:gd name="connsiteY8" fmla="*/ 280394 h 941254"/>
                <a:gd name="connsiteX9" fmla="*/ 414626 w 585835"/>
                <a:gd name="connsiteY9" fmla="*/ 330834 h 941254"/>
                <a:gd name="connsiteX10" fmla="*/ 456163 w 585835"/>
                <a:gd name="connsiteY10" fmla="*/ 396109 h 941254"/>
                <a:gd name="connsiteX11" fmla="*/ 450229 w 585835"/>
                <a:gd name="connsiteY11" fmla="*/ 437647 h 941254"/>
                <a:gd name="connsiteX12" fmla="*/ 530339 w 585835"/>
                <a:gd name="connsiteY12" fmla="*/ 511823 h 941254"/>
                <a:gd name="connsiteX13" fmla="*/ 503637 w 585835"/>
                <a:gd name="connsiteY13" fmla="*/ 580065 h 941254"/>
                <a:gd name="connsiteX14" fmla="*/ 545174 w 585835"/>
                <a:gd name="connsiteY14" fmla="*/ 746219 h 941254"/>
                <a:gd name="connsiteX15" fmla="*/ 568910 w 585835"/>
                <a:gd name="connsiteY15" fmla="*/ 867867 h 941254"/>
                <a:gd name="connsiteX16" fmla="*/ 497703 w 585835"/>
                <a:gd name="connsiteY16" fmla="*/ 870834 h 941254"/>
                <a:gd name="connsiteX17" fmla="*/ 393856 w 585835"/>
                <a:gd name="connsiteY17" fmla="*/ 939076 h 941254"/>
                <a:gd name="connsiteX18" fmla="*/ 328581 w 585835"/>
                <a:gd name="connsiteY18" fmla="*/ 811493 h 941254"/>
                <a:gd name="connsiteX19" fmla="*/ 292977 w 585835"/>
                <a:gd name="connsiteY19" fmla="*/ 778856 h 941254"/>
                <a:gd name="connsiteX20" fmla="*/ 257372 w 585835"/>
                <a:gd name="connsiteY20" fmla="*/ 764021 h 941254"/>
                <a:gd name="connsiteX21" fmla="*/ 97153 w 585835"/>
                <a:gd name="connsiteY21" fmla="*/ 701713 h 941254"/>
                <a:gd name="connsiteX22" fmla="*/ 28912 w 585835"/>
                <a:gd name="connsiteY22" fmla="*/ 648307 h 941254"/>
                <a:gd name="connsiteX23" fmla="*/ 46713 w 585835"/>
                <a:gd name="connsiteY23" fmla="*/ 479186 h 941254"/>
                <a:gd name="connsiteX24" fmla="*/ 46713 w 585835"/>
                <a:gd name="connsiteY24" fmla="*/ 256658 h 94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85835" h="941254">
                  <a:moveTo>
                    <a:pt x="46713" y="256658"/>
                  </a:moveTo>
                  <a:cubicBezTo>
                    <a:pt x="-9661" y="212153"/>
                    <a:pt x="37812" y="137977"/>
                    <a:pt x="67483" y="87537"/>
                  </a:cubicBezTo>
                  <a:cubicBezTo>
                    <a:pt x="64515" y="84570"/>
                    <a:pt x="61548" y="78636"/>
                    <a:pt x="64515" y="72702"/>
                  </a:cubicBezTo>
                  <a:cubicBezTo>
                    <a:pt x="85284" y="-7408"/>
                    <a:pt x="227701" y="-31144"/>
                    <a:pt x="224735" y="51933"/>
                  </a:cubicBezTo>
                  <a:cubicBezTo>
                    <a:pt x="260340" y="54900"/>
                    <a:pt x="295945" y="63801"/>
                    <a:pt x="313746" y="96438"/>
                  </a:cubicBezTo>
                  <a:cubicBezTo>
                    <a:pt x="325615" y="117208"/>
                    <a:pt x="322647" y="140944"/>
                    <a:pt x="310780" y="158746"/>
                  </a:cubicBezTo>
                  <a:cubicBezTo>
                    <a:pt x="310780" y="158746"/>
                    <a:pt x="310780" y="158746"/>
                    <a:pt x="310780" y="158746"/>
                  </a:cubicBezTo>
                  <a:cubicBezTo>
                    <a:pt x="355285" y="170614"/>
                    <a:pt x="393856" y="197318"/>
                    <a:pt x="387922" y="247757"/>
                  </a:cubicBezTo>
                  <a:cubicBezTo>
                    <a:pt x="405723" y="250724"/>
                    <a:pt x="417592" y="259625"/>
                    <a:pt x="423527" y="280394"/>
                  </a:cubicBezTo>
                  <a:cubicBezTo>
                    <a:pt x="429461" y="298197"/>
                    <a:pt x="411658" y="318966"/>
                    <a:pt x="414626" y="330834"/>
                  </a:cubicBezTo>
                  <a:cubicBezTo>
                    <a:pt x="441328" y="339735"/>
                    <a:pt x="453197" y="366438"/>
                    <a:pt x="456163" y="396109"/>
                  </a:cubicBezTo>
                  <a:cubicBezTo>
                    <a:pt x="459131" y="413911"/>
                    <a:pt x="456163" y="425779"/>
                    <a:pt x="450229" y="437647"/>
                  </a:cubicBezTo>
                  <a:cubicBezTo>
                    <a:pt x="485834" y="449515"/>
                    <a:pt x="524405" y="470285"/>
                    <a:pt x="530339" y="511823"/>
                  </a:cubicBezTo>
                  <a:cubicBezTo>
                    <a:pt x="536274" y="541493"/>
                    <a:pt x="524405" y="565230"/>
                    <a:pt x="503637" y="580065"/>
                  </a:cubicBezTo>
                  <a:cubicBezTo>
                    <a:pt x="548142" y="624570"/>
                    <a:pt x="607483" y="716548"/>
                    <a:pt x="545174" y="746219"/>
                  </a:cubicBezTo>
                  <a:cubicBezTo>
                    <a:pt x="577813" y="778856"/>
                    <a:pt x="604515" y="829296"/>
                    <a:pt x="568910" y="867867"/>
                  </a:cubicBezTo>
                  <a:cubicBezTo>
                    <a:pt x="545174" y="891603"/>
                    <a:pt x="515504" y="888636"/>
                    <a:pt x="497703" y="870834"/>
                  </a:cubicBezTo>
                  <a:cubicBezTo>
                    <a:pt x="476933" y="912372"/>
                    <a:pt x="444296" y="950944"/>
                    <a:pt x="393856" y="939076"/>
                  </a:cubicBezTo>
                  <a:cubicBezTo>
                    <a:pt x="334516" y="924241"/>
                    <a:pt x="322647" y="864900"/>
                    <a:pt x="328581" y="811493"/>
                  </a:cubicBezTo>
                  <a:cubicBezTo>
                    <a:pt x="313746" y="805559"/>
                    <a:pt x="301877" y="793691"/>
                    <a:pt x="292977" y="778856"/>
                  </a:cubicBezTo>
                  <a:cubicBezTo>
                    <a:pt x="281109" y="775889"/>
                    <a:pt x="269241" y="769955"/>
                    <a:pt x="257372" y="764021"/>
                  </a:cubicBezTo>
                  <a:cubicBezTo>
                    <a:pt x="209900" y="847098"/>
                    <a:pt x="85284" y="799625"/>
                    <a:pt x="97153" y="701713"/>
                  </a:cubicBezTo>
                  <a:cubicBezTo>
                    <a:pt x="58582" y="698746"/>
                    <a:pt x="43747" y="698746"/>
                    <a:pt x="28912" y="648307"/>
                  </a:cubicBezTo>
                  <a:cubicBezTo>
                    <a:pt x="14076" y="591933"/>
                    <a:pt x="22977" y="532592"/>
                    <a:pt x="46713" y="479186"/>
                  </a:cubicBezTo>
                  <a:cubicBezTo>
                    <a:pt x="-33397" y="419845"/>
                    <a:pt x="5174" y="333801"/>
                    <a:pt x="46713" y="256658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4" name="图形 1">
              <a:extLst>
                <a:ext uri="{FF2B5EF4-FFF2-40B4-BE49-F238E27FC236}">
                  <a16:creationId xmlns:a16="http://schemas.microsoft.com/office/drawing/2014/main" id="{5BC429B4-4FA2-43BC-9FB0-04F7C8FB8F73}"/>
                </a:ext>
              </a:extLst>
            </p:cNvPr>
            <p:cNvGrpSpPr/>
            <p:nvPr/>
          </p:nvGrpSpPr>
          <p:grpSpPr>
            <a:xfrm>
              <a:off x="23039363" y="6692404"/>
              <a:ext cx="386157" cy="351843"/>
              <a:chOff x="23039363" y="6692404"/>
              <a:chExt cx="386157" cy="351843"/>
            </a:xfrm>
          </p:grpSpPr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03A239CD-1BF7-4818-91A9-61961BD4DDFE}"/>
                  </a:ext>
                </a:extLst>
              </p:cNvPr>
              <p:cNvSpPr/>
              <p:nvPr/>
            </p:nvSpPr>
            <p:spPr>
              <a:xfrm>
                <a:off x="23039363" y="6814053"/>
                <a:ext cx="384672" cy="230195"/>
              </a:xfrm>
              <a:custGeom>
                <a:avLst/>
                <a:gdLst>
                  <a:gd name="connsiteX0" fmla="*/ 279343 w 384672"/>
                  <a:gd name="connsiteY0" fmla="*/ 0 h 230195"/>
                  <a:gd name="connsiteX1" fmla="*/ 125059 w 384672"/>
                  <a:gd name="connsiteY1" fmla="*/ 121648 h 230195"/>
                  <a:gd name="connsiteX2" fmla="*/ 314948 w 384672"/>
                  <a:gd name="connsiteY2" fmla="*/ 74176 h 230195"/>
                  <a:gd name="connsiteX3" fmla="*/ 383189 w 384672"/>
                  <a:gd name="connsiteY3" fmla="*/ 50439 h 230195"/>
                  <a:gd name="connsiteX4" fmla="*/ 377256 w 384672"/>
                  <a:gd name="connsiteY4" fmla="*/ 154286 h 230195"/>
                  <a:gd name="connsiteX5" fmla="*/ 151761 w 384672"/>
                  <a:gd name="connsiteY5" fmla="*/ 225494 h 230195"/>
                  <a:gd name="connsiteX6" fmla="*/ 18244 w 384672"/>
                  <a:gd name="connsiteY6" fmla="*/ 225494 h 230195"/>
                  <a:gd name="connsiteX7" fmla="*/ 12310 w 384672"/>
                  <a:gd name="connsiteY7" fmla="*/ 172088 h 230195"/>
                  <a:gd name="connsiteX8" fmla="*/ 279343 w 384672"/>
                  <a:gd name="connsiteY8" fmla="*/ 0 h 230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4672" h="230195">
                    <a:moveTo>
                      <a:pt x="279343" y="0"/>
                    </a:moveTo>
                    <a:cubicBezTo>
                      <a:pt x="279343" y="0"/>
                      <a:pt x="110223" y="109780"/>
                      <a:pt x="125059" y="121648"/>
                    </a:cubicBezTo>
                    <a:cubicBezTo>
                      <a:pt x="136926" y="136483"/>
                      <a:pt x="314948" y="74176"/>
                      <a:pt x="314948" y="74176"/>
                    </a:cubicBezTo>
                    <a:lnTo>
                      <a:pt x="383189" y="50439"/>
                    </a:lnTo>
                    <a:cubicBezTo>
                      <a:pt x="383189" y="50439"/>
                      <a:pt x="389123" y="130549"/>
                      <a:pt x="377256" y="154286"/>
                    </a:cubicBezTo>
                    <a:cubicBezTo>
                      <a:pt x="306047" y="189890"/>
                      <a:pt x="222970" y="213626"/>
                      <a:pt x="151761" y="225494"/>
                    </a:cubicBezTo>
                    <a:cubicBezTo>
                      <a:pt x="107255" y="234395"/>
                      <a:pt x="27145" y="228461"/>
                      <a:pt x="18244" y="225494"/>
                    </a:cubicBezTo>
                    <a:cubicBezTo>
                      <a:pt x="9344" y="222527"/>
                      <a:pt x="-14392" y="198791"/>
                      <a:pt x="12310" y="172088"/>
                    </a:cubicBezTo>
                    <a:cubicBezTo>
                      <a:pt x="74619" y="109780"/>
                      <a:pt x="279343" y="0"/>
                      <a:pt x="279343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FDC646FB-4C6A-4859-8E89-371C7A264DCC}"/>
                  </a:ext>
                </a:extLst>
              </p:cNvPr>
              <p:cNvSpPr/>
              <p:nvPr/>
            </p:nvSpPr>
            <p:spPr>
              <a:xfrm>
                <a:off x="23166096" y="6692404"/>
                <a:ext cx="259423" cy="247261"/>
              </a:xfrm>
              <a:custGeom>
                <a:avLst/>
                <a:gdLst>
                  <a:gd name="connsiteX0" fmla="*/ 140743 w 259423"/>
                  <a:gd name="connsiteY0" fmla="*/ 0 h 247261"/>
                  <a:gd name="connsiteX1" fmla="*/ 155578 w 259423"/>
                  <a:gd name="connsiteY1" fmla="*/ 121649 h 247261"/>
                  <a:gd name="connsiteX2" fmla="*/ 1292 w 259423"/>
                  <a:gd name="connsiteY2" fmla="*/ 243297 h 247261"/>
                  <a:gd name="connsiteX3" fmla="*/ 232720 w 259423"/>
                  <a:gd name="connsiteY3" fmla="*/ 201758 h 247261"/>
                  <a:gd name="connsiteX4" fmla="*/ 259424 w 259423"/>
                  <a:gd name="connsiteY4" fmla="*/ 172088 h 247261"/>
                  <a:gd name="connsiteX5" fmla="*/ 259424 w 259423"/>
                  <a:gd name="connsiteY5" fmla="*/ 41539 h 247261"/>
                  <a:gd name="connsiteX6" fmla="*/ 140743 w 259423"/>
                  <a:gd name="connsiteY6" fmla="*/ 0 h 247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9423" h="247261">
                    <a:moveTo>
                      <a:pt x="140743" y="0"/>
                    </a:moveTo>
                    <a:lnTo>
                      <a:pt x="155578" y="121649"/>
                    </a:lnTo>
                    <a:cubicBezTo>
                      <a:pt x="155578" y="121649"/>
                      <a:pt x="-16510" y="222527"/>
                      <a:pt x="1292" y="243297"/>
                    </a:cubicBezTo>
                    <a:cubicBezTo>
                      <a:pt x="13161" y="258132"/>
                      <a:pt x="164478" y="228461"/>
                      <a:pt x="232720" y="201758"/>
                    </a:cubicBezTo>
                    <a:cubicBezTo>
                      <a:pt x="256456" y="192857"/>
                      <a:pt x="259424" y="172088"/>
                      <a:pt x="259424" y="172088"/>
                    </a:cubicBezTo>
                    <a:lnTo>
                      <a:pt x="259424" y="41539"/>
                    </a:lnTo>
                    <a:lnTo>
                      <a:pt x="140743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5" name="图形 1">
              <a:extLst>
                <a:ext uri="{FF2B5EF4-FFF2-40B4-BE49-F238E27FC236}">
                  <a16:creationId xmlns:a16="http://schemas.microsoft.com/office/drawing/2014/main" id="{D0EF236A-12CC-400A-872F-BF4A9002DD8B}"/>
                </a:ext>
              </a:extLst>
            </p:cNvPr>
            <p:cNvGrpSpPr/>
            <p:nvPr/>
          </p:nvGrpSpPr>
          <p:grpSpPr>
            <a:xfrm>
              <a:off x="24288926" y="6380866"/>
              <a:ext cx="293736" cy="470157"/>
              <a:chOff x="24288926" y="6380866"/>
              <a:chExt cx="293736" cy="470157"/>
            </a:xfrm>
          </p:grpSpPr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1320D14C-E01B-4491-B9FD-A145049FA724}"/>
                  </a:ext>
                </a:extLst>
              </p:cNvPr>
              <p:cNvSpPr/>
              <p:nvPr/>
            </p:nvSpPr>
            <p:spPr>
              <a:xfrm>
                <a:off x="24382350" y="6449108"/>
                <a:ext cx="200312" cy="401916"/>
              </a:xfrm>
              <a:custGeom>
                <a:avLst/>
                <a:gdLst>
                  <a:gd name="connsiteX0" fmla="*/ 16356 w 200312"/>
                  <a:gd name="connsiteY0" fmla="*/ 59341 h 401916"/>
                  <a:gd name="connsiteX1" fmla="*/ 31191 w 200312"/>
                  <a:gd name="connsiteY1" fmla="*/ 255165 h 401916"/>
                  <a:gd name="connsiteX2" fmla="*/ 99432 w 200312"/>
                  <a:gd name="connsiteY2" fmla="*/ 71209 h 401916"/>
                  <a:gd name="connsiteX3" fmla="*/ 117236 w 200312"/>
                  <a:gd name="connsiteY3" fmla="*/ 0 h 401916"/>
                  <a:gd name="connsiteX4" fmla="*/ 200312 w 200312"/>
                  <a:gd name="connsiteY4" fmla="*/ 62308 h 401916"/>
                  <a:gd name="connsiteX5" fmla="*/ 132071 w 200312"/>
                  <a:gd name="connsiteY5" fmla="*/ 287802 h 401916"/>
                  <a:gd name="connsiteX6" fmla="*/ 54927 w 200312"/>
                  <a:gd name="connsiteY6" fmla="*/ 397582 h 401916"/>
                  <a:gd name="connsiteX7" fmla="*/ 4487 w 200312"/>
                  <a:gd name="connsiteY7" fmla="*/ 370879 h 401916"/>
                  <a:gd name="connsiteX8" fmla="*/ 16356 w 200312"/>
                  <a:gd name="connsiteY8" fmla="*/ 59341 h 401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0312" h="401916">
                    <a:moveTo>
                      <a:pt x="16356" y="59341"/>
                    </a:moveTo>
                    <a:cubicBezTo>
                      <a:pt x="16356" y="59341"/>
                      <a:pt x="13389" y="261099"/>
                      <a:pt x="31191" y="255165"/>
                    </a:cubicBezTo>
                    <a:cubicBezTo>
                      <a:pt x="48992" y="252198"/>
                      <a:pt x="99432" y="71209"/>
                      <a:pt x="99432" y="71209"/>
                    </a:cubicBezTo>
                    <a:lnTo>
                      <a:pt x="117236" y="0"/>
                    </a:lnTo>
                    <a:cubicBezTo>
                      <a:pt x="117236" y="0"/>
                      <a:pt x="185477" y="41538"/>
                      <a:pt x="200312" y="62308"/>
                    </a:cubicBezTo>
                    <a:cubicBezTo>
                      <a:pt x="191411" y="139450"/>
                      <a:pt x="161741" y="222527"/>
                      <a:pt x="132071" y="287802"/>
                    </a:cubicBezTo>
                    <a:cubicBezTo>
                      <a:pt x="114268" y="329341"/>
                      <a:pt x="63828" y="394615"/>
                      <a:pt x="54927" y="397582"/>
                    </a:cubicBezTo>
                    <a:cubicBezTo>
                      <a:pt x="46026" y="403517"/>
                      <a:pt x="13389" y="409451"/>
                      <a:pt x="4487" y="370879"/>
                    </a:cubicBezTo>
                    <a:cubicBezTo>
                      <a:pt x="-10348" y="293736"/>
                      <a:pt x="16356" y="59341"/>
                      <a:pt x="16356" y="59341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8B177495-4755-44A1-AF9D-2E9216A45370}"/>
                  </a:ext>
                </a:extLst>
              </p:cNvPr>
              <p:cNvSpPr/>
              <p:nvPr/>
            </p:nvSpPr>
            <p:spPr>
              <a:xfrm>
                <a:off x="24288926" y="6380866"/>
                <a:ext cx="220772" cy="326406"/>
              </a:xfrm>
              <a:custGeom>
                <a:avLst/>
                <a:gdLst>
                  <a:gd name="connsiteX0" fmla="*/ 0 w 220772"/>
                  <a:gd name="connsiteY0" fmla="*/ 74176 h 326406"/>
                  <a:gd name="connsiteX1" fmla="*/ 106814 w 220772"/>
                  <a:gd name="connsiteY1" fmla="*/ 130550 h 326406"/>
                  <a:gd name="connsiteX2" fmla="*/ 121649 w 220772"/>
                  <a:gd name="connsiteY2" fmla="*/ 326374 h 326406"/>
                  <a:gd name="connsiteX3" fmla="*/ 219561 w 220772"/>
                  <a:gd name="connsiteY3" fmla="*/ 112747 h 326406"/>
                  <a:gd name="connsiteX4" fmla="*/ 207692 w 220772"/>
                  <a:gd name="connsiteY4" fmla="*/ 74176 h 326406"/>
                  <a:gd name="connsiteX5" fmla="*/ 100880 w 220772"/>
                  <a:gd name="connsiteY5" fmla="*/ 0 h 326406"/>
                  <a:gd name="connsiteX6" fmla="*/ 0 w 220772"/>
                  <a:gd name="connsiteY6" fmla="*/ 74176 h 326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0772" h="326406">
                    <a:moveTo>
                      <a:pt x="0" y="74176"/>
                    </a:moveTo>
                    <a:lnTo>
                      <a:pt x="106814" y="130550"/>
                    </a:lnTo>
                    <a:cubicBezTo>
                      <a:pt x="106814" y="130550"/>
                      <a:pt x="94945" y="329341"/>
                      <a:pt x="121649" y="326374"/>
                    </a:cubicBezTo>
                    <a:cubicBezTo>
                      <a:pt x="142417" y="326374"/>
                      <a:pt x="201758" y="183956"/>
                      <a:pt x="219561" y="112747"/>
                    </a:cubicBezTo>
                    <a:cubicBezTo>
                      <a:pt x="225496" y="89011"/>
                      <a:pt x="207692" y="74176"/>
                      <a:pt x="207692" y="74176"/>
                    </a:cubicBezTo>
                    <a:lnTo>
                      <a:pt x="100880" y="0"/>
                    </a:lnTo>
                    <a:lnTo>
                      <a:pt x="0" y="74176"/>
                    </a:ln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E2F42CA2-7477-4CE5-B17F-7F2DE21B2B4C}"/>
                </a:ext>
              </a:extLst>
            </p:cNvPr>
            <p:cNvSpPr/>
            <p:nvPr/>
          </p:nvSpPr>
          <p:spPr>
            <a:xfrm>
              <a:off x="23092051" y="4330646"/>
              <a:ext cx="1342259" cy="2435934"/>
            </a:xfrm>
            <a:custGeom>
              <a:avLst/>
              <a:gdLst>
                <a:gd name="connsiteX0" fmla="*/ 766655 w 1342259"/>
                <a:gd name="connsiteY0" fmla="*/ 0 h 2435934"/>
                <a:gd name="connsiteX1" fmla="*/ 116876 w 1342259"/>
                <a:gd name="connsiteY1" fmla="*/ 0 h 2435934"/>
                <a:gd name="connsiteX2" fmla="*/ 1161 w 1342259"/>
                <a:gd name="connsiteY2" fmla="*/ 448022 h 2435934"/>
                <a:gd name="connsiteX3" fmla="*/ 176216 w 1342259"/>
                <a:gd name="connsiteY3" fmla="*/ 2418132 h 2435934"/>
                <a:gd name="connsiteX4" fmla="*/ 369073 w 1342259"/>
                <a:gd name="connsiteY4" fmla="*/ 2435934 h 2435934"/>
                <a:gd name="connsiteX5" fmla="*/ 449182 w 1342259"/>
                <a:gd name="connsiteY5" fmla="*/ 789231 h 2435934"/>
                <a:gd name="connsiteX6" fmla="*/ 538193 w 1342259"/>
                <a:gd name="connsiteY6" fmla="*/ 1709011 h 2435934"/>
                <a:gd name="connsiteX7" fmla="*/ 1241380 w 1342259"/>
                <a:gd name="connsiteY7" fmla="*/ 2213407 h 2435934"/>
                <a:gd name="connsiteX8" fmla="*/ 1342260 w 1342259"/>
                <a:gd name="connsiteY8" fmla="*/ 2029451 h 2435934"/>
                <a:gd name="connsiteX9" fmla="*/ 861600 w 1342259"/>
                <a:gd name="connsiteY9" fmla="*/ 1611099 h 2435934"/>
                <a:gd name="connsiteX10" fmla="*/ 897205 w 1342259"/>
                <a:gd name="connsiteY10" fmla="*/ 403516 h 2435934"/>
                <a:gd name="connsiteX11" fmla="*/ 766655 w 1342259"/>
                <a:gd name="connsiteY11" fmla="*/ 0 h 2435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42259" h="2435934">
                  <a:moveTo>
                    <a:pt x="766655" y="0"/>
                  </a:moveTo>
                  <a:lnTo>
                    <a:pt x="116876" y="0"/>
                  </a:lnTo>
                  <a:cubicBezTo>
                    <a:pt x="116876" y="0"/>
                    <a:pt x="21930" y="296703"/>
                    <a:pt x="1161" y="448022"/>
                  </a:cubicBezTo>
                  <a:cubicBezTo>
                    <a:pt x="-16641" y="596374"/>
                    <a:pt x="176216" y="2418132"/>
                    <a:pt x="176216" y="2418132"/>
                  </a:cubicBezTo>
                  <a:lnTo>
                    <a:pt x="369073" y="2435934"/>
                  </a:lnTo>
                  <a:lnTo>
                    <a:pt x="449182" y="789231"/>
                  </a:lnTo>
                  <a:cubicBezTo>
                    <a:pt x="449182" y="789231"/>
                    <a:pt x="532260" y="1694176"/>
                    <a:pt x="538193" y="1709011"/>
                  </a:cubicBezTo>
                  <a:lnTo>
                    <a:pt x="1241380" y="2213407"/>
                  </a:lnTo>
                  <a:lnTo>
                    <a:pt x="1342260" y="2029451"/>
                  </a:lnTo>
                  <a:lnTo>
                    <a:pt x="861600" y="1611099"/>
                  </a:lnTo>
                  <a:cubicBezTo>
                    <a:pt x="861600" y="1611099"/>
                    <a:pt x="891271" y="465824"/>
                    <a:pt x="897205" y="403516"/>
                  </a:cubicBezTo>
                  <a:cubicBezTo>
                    <a:pt x="906106" y="287802"/>
                    <a:pt x="766655" y="0"/>
                    <a:pt x="766655" y="0"/>
                  </a:cubicBezTo>
                  <a:close/>
                </a:path>
              </a:pathLst>
            </a:custGeom>
            <a:solidFill>
              <a:srgbClr val="7F95BC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B6140ADD-4D5B-4B80-9A69-4B052FFD443C}"/>
                </a:ext>
              </a:extLst>
            </p:cNvPr>
            <p:cNvSpPr/>
            <p:nvPr/>
          </p:nvSpPr>
          <p:spPr>
            <a:xfrm>
              <a:off x="23493761" y="4707459"/>
              <a:ext cx="844862" cy="1845494"/>
            </a:xfrm>
            <a:custGeom>
              <a:avLst/>
              <a:gdLst>
                <a:gd name="connsiteX0" fmla="*/ 839670 w 844862"/>
                <a:gd name="connsiteY0" fmla="*/ 1842527 h 1845494"/>
                <a:gd name="connsiteX1" fmla="*/ 836704 w 844862"/>
                <a:gd name="connsiteY1" fmla="*/ 1842527 h 1845494"/>
                <a:gd name="connsiteX2" fmla="*/ 133516 w 844862"/>
                <a:gd name="connsiteY2" fmla="*/ 1338132 h 1845494"/>
                <a:gd name="connsiteX3" fmla="*/ 130550 w 844862"/>
                <a:gd name="connsiteY3" fmla="*/ 1335165 h 1845494"/>
                <a:gd name="connsiteX4" fmla="*/ 41539 w 844862"/>
                <a:gd name="connsiteY4" fmla="*/ 412417 h 1845494"/>
                <a:gd name="connsiteX5" fmla="*/ 0 w 844862"/>
                <a:gd name="connsiteY5" fmla="*/ 5934 h 1845494"/>
                <a:gd name="connsiteX6" fmla="*/ 5934 w 844862"/>
                <a:gd name="connsiteY6" fmla="*/ 0 h 1845494"/>
                <a:gd name="connsiteX7" fmla="*/ 11869 w 844862"/>
                <a:gd name="connsiteY7" fmla="*/ 5934 h 1845494"/>
                <a:gd name="connsiteX8" fmla="*/ 53406 w 844862"/>
                <a:gd name="connsiteY8" fmla="*/ 412417 h 1845494"/>
                <a:gd name="connsiteX9" fmla="*/ 142417 w 844862"/>
                <a:gd name="connsiteY9" fmla="*/ 1332198 h 1845494"/>
                <a:gd name="connsiteX10" fmla="*/ 842638 w 844862"/>
                <a:gd name="connsiteY10" fmla="*/ 1836593 h 1845494"/>
                <a:gd name="connsiteX11" fmla="*/ 842638 w 844862"/>
                <a:gd name="connsiteY11" fmla="*/ 1845494 h 1845494"/>
                <a:gd name="connsiteX12" fmla="*/ 839670 w 844862"/>
                <a:gd name="connsiteY12" fmla="*/ 1842527 h 1845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44862" h="1845494">
                  <a:moveTo>
                    <a:pt x="839670" y="1842527"/>
                  </a:moveTo>
                  <a:cubicBezTo>
                    <a:pt x="839670" y="1842527"/>
                    <a:pt x="836704" y="1842527"/>
                    <a:pt x="836704" y="1842527"/>
                  </a:cubicBezTo>
                  <a:lnTo>
                    <a:pt x="133516" y="1338132"/>
                  </a:lnTo>
                  <a:cubicBezTo>
                    <a:pt x="133516" y="1338132"/>
                    <a:pt x="130550" y="1338132"/>
                    <a:pt x="130550" y="1335165"/>
                  </a:cubicBezTo>
                  <a:cubicBezTo>
                    <a:pt x="124616" y="1317363"/>
                    <a:pt x="50440" y="504396"/>
                    <a:pt x="41539" y="412417"/>
                  </a:cubicBezTo>
                  <a:lnTo>
                    <a:pt x="0" y="5934"/>
                  </a:lnTo>
                  <a:cubicBezTo>
                    <a:pt x="0" y="2967"/>
                    <a:pt x="2966" y="0"/>
                    <a:pt x="5934" y="0"/>
                  </a:cubicBezTo>
                  <a:cubicBezTo>
                    <a:pt x="8901" y="0"/>
                    <a:pt x="11869" y="2967"/>
                    <a:pt x="11869" y="5934"/>
                  </a:cubicBezTo>
                  <a:lnTo>
                    <a:pt x="53406" y="412417"/>
                  </a:lnTo>
                  <a:cubicBezTo>
                    <a:pt x="80110" y="718022"/>
                    <a:pt x="133516" y="1293626"/>
                    <a:pt x="142417" y="1332198"/>
                  </a:cubicBezTo>
                  <a:lnTo>
                    <a:pt x="842638" y="1836593"/>
                  </a:lnTo>
                  <a:cubicBezTo>
                    <a:pt x="845604" y="1839561"/>
                    <a:pt x="845604" y="1842527"/>
                    <a:pt x="842638" y="1845494"/>
                  </a:cubicBezTo>
                  <a:cubicBezTo>
                    <a:pt x="842638" y="1842527"/>
                    <a:pt x="842638" y="1842527"/>
                    <a:pt x="839670" y="1842527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30642855-3843-42EE-9763-DA9962868D37}"/>
                </a:ext>
              </a:extLst>
            </p:cNvPr>
            <p:cNvSpPr/>
            <p:nvPr/>
          </p:nvSpPr>
          <p:spPr>
            <a:xfrm>
              <a:off x="23811234" y="4481965"/>
              <a:ext cx="176283" cy="183956"/>
            </a:xfrm>
            <a:custGeom>
              <a:avLst/>
              <a:gdLst>
                <a:gd name="connsiteX0" fmla="*/ 172088 w 176283"/>
                <a:gd name="connsiteY0" fmla="*/ 183956 h 183956"/>
                <a:gd name="connsiteX1" fmla="*/ 172088 w 176283"/>
                <a:gd name="connsiteY1" fmla="*/ 183956 h 183956"/>
                <a:gd name="connsiteX2" fmla="*/ 0 w 176283"/>
                <a:gd name="connsiteY2" fmla="*/ 5934 h 183956"/>
                <a:gd name="connsiteX3" fmla="*/ 2966 w 176283"/>
                <a:gd name="connsiteY3" fmla="*/ 0 h 183956"/>
                <a:gd name="connsiteX4" fmla="*/ 8901 w 176283"/>
                <a:gd name="connsiteY4" fmla="*/ 2967 h 183956"/>
                <a:gd name="connsiteX5" fmla="*/ 172088 w 176283"/>
                <a:gd name="connsiteY5" fmla="*/ 175055 h 183956"/>
                <a:gd name="connsiteX6" fmla="*/ 175054 w 176283"/>
                <a:gd name="connsiteY6" fmla="*/ 180989 h 183956"/>
                <a:gd name="connsiteX7" fmla="*/ 172088 w 176283"/>
                <a:gd name="connsiteY7" fmla="*/ 183956 h 183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283" h="183956">
                  <a:moveTo>
                    <a:pt x="172088" y="183956"/>
                  </a:moveTo>
                  <a:cubicBezTo>
                    <a:pt x="169121" y="183956"/>
                    <a:pt x="169121" y="180989"/>
                    <a:pt x="172088" y="183956"/>
                  </a:cubicBezTo>
                  <a:cubicBezTo>
                    <a:pt x="56373" y="151319"/>
                    <a:pt x="2966" y="11868"/>
                    <a:pt x="0" y="5934"/>
                  </a:cubicBezTo>
                  <a:cubicBezTo>
                    <a:pt x="0" y="2967"/>
                    <a:pt x="0" y="0"/>
                    <a:pt x="2966" y="0"/>
                  </a:cubicBezTo>
                  <a:cubicBezTo>
                    <a:pt x="5934" y="0"/>
                    <a:pt x="8901" y="0"/>
                    <a:pt x="8901" y="2967"/>
                  </a:cubicBezTo>
                  <a:cubicBezTo>
                    <a:pt x="8901" y="2967"/>
                    <a:pt x="62307" y="145385"/>
                    <a:pt x="172088" y="175055"/>
                  </a:cubicBezTo>
                  <a:cubicBezTo>
                    <a:pt x="175054" y="175055"/>
                    <a:pt x="178022" y="178022"/>
                    <a:pt x="175054" y="180989"/>
                  </a:cubicBezTo>
                  <a:cubicBezTo>
                    <a:pt x="175054" y="180989"/>
                    <a:pt x="172088" y="183956"/>
                    <a:pt x="172088" y="183956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8BDC11FD-F8FB-4961-82FB-9AA93D139D42}"/>
                </a:ext>
              </a:extLst>
            </p:cNvPr>
            <p:cNvSpPr/>
            <p:nvPr/>
          </p:nvSpPr>
          <p:spPr>
            <a:xfrm>
              <a:off x="23111013" y="4481965"/>
              <a:ext cx="169121" cy="186923"/>
            </a:xfrm>
            <a:custGeom>
              <a:avLst/>
              <a:gdLst>
                <a:gd name="connsiteX0" fmla="*/ 5934 w 169121"/>
                <a:gd name="connsiteY0" fmla="*/ 186923 h 186923"/>
                <a:gd name="connsiteX1" fmla="*/ 0 w 169121"/>
                <a:gd name="connsiteY1" fmla="*/ 183956 h 186923"/>
                <a:gd name="connsiteX2" fmla="*/ 2968 w 169121"/>
                <a:gd name="connsiteY2" fmla="*/ 178022 h 186923"/>
                <a:gd name="connsiteX3" fmla="*/ 157254 w 169121"/>
                <a:gd name="connsiteY3" fmla="*/ 2967 h 186923"/>
                <a:gd name="connsiteX4" fmla="*/ 166155 w 169121"/>
                <a:gd name="connsiteY4" fmla="*/ 0 h 186923"/>
                <a:gd name="connsiteX5" fmla="*/ 169121 w 169121"/>
                <a:gd name="connsiteY5" fmla="*/ 8901 h 186923"/>
                <a:gd name="connsiteX6" fmla="*/ 5934 w 169121"/>
                <a:gd name="connsiteY6" fmla="*/ 186923 h 186923"/>
                <a:gd name="connsiteX7" fmla="*/ 5934 w 169121"/>
                <a:gd name="connsiteY7" fmla="*/ 186923 h 18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121" h="186923">
                  <a:moveTo>
                    <a:pt x="5934" y="186923"/>
                  </a:moveTo>
                  <a:cubicBezTo>
                    <a:pt x="2968" y="186923"/>
                    <a:pt x="2968" y="186923"/>
                    <a:pt x="0" y="183956"/>
                  </a:cubicBezTo>
                  <a:cubicBezTo>
                    <a:pt x="0" y="180989"/>
                    <a:pt x="0" y="178022"/>
                    <a:pt x="2968" y="178022"/>
                  </a:cubicBezTo>
                  <a:cubicBezTo>
                    <a:pt x="80110" y="148352"/>
                    <a:pt x="157254" y="2967"/>
                    <a:pt x="157254" y="2967"/>
                  </a:cubicBezTo>
                  <a:cubicBezTo>
                    <a:pt x="157254" y="0"/>
                    <a:pt x="163187" y="0"/>
                    <a:pt x="166155" y="0"/>
                  </a:cubicBezTo>
                  <a:cubicBezTo>
                    <a:pt x="169121" y="0"/>
                    <a:pt x="169121" y="5934"/>
                    <a:pt x="169121" y="8901"/>
                  </a:cubicBezTo>
                  <a:cubicBezTo>
                    <a:pt x="163187" y="11868"/>
                    <a:pt x="86045" y="154286"/>
                    <a:pt x="5934" y="186923"/>
                  </a:cubicBezTo>
                  <a:cubicBezTo>
                    <a:pt x="5934" y="186923"/>
                    <a:pt x="5934" y="186923"/>
                    <a:pt x="5934" y="186923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61F30254-1A57-401B-9F16-5ACADB92AD1D}"/>
                </a:ext>
              </a:extLst>
            </p:cNvPr>
            <p:cNvSpPr/>
            <p:nvPr/>
          </p:nvSpPr>
          <p:spPr>
            <a:xfrm>
              <a:off x="23109124" y="3397620"/>
              <a:ext cx="798578" cy="959817"/>
            </a:xfrm>
            <a:custGeom>
              <a:avLst/>
              <a:gdLst>
                <a:gd name="connsiteX0" fmla="*/ 755516 w 798578"/>
                <a:gd name="connsiteY0" fmla="*/ 381158 h 959817"/>
                <a:gd name="connsiteX1" fmla="*/ 740681 w 798578"/>
                <a:gd name="connsiteY1" fmla="*/ 66653 h 959817"/>
                <a:gd name="connsiteX2" fmla="*/ 381670 w 798578"/>
                <a:gd name="connsiteY2" fmla="*/ 4345 h 959817"/>
                <a:gd name="connsiteX3" fmla="*/ 87933 w 798578"/>
                <a:gd name="connsiteY3" fmla="*/ 102257 h 959817"/>
                <a:gd name="connsiteX4" fmla="*/ 49362 w 798578"/>
                <a:gd name="connsiteY4" fmla="*/ 636323 h 959817"/>
                <a:gd name="connsiteX5" fmla="*/ 90900 w 798578"/>
                <a:gd name="connsiteY5" fmla="*/ 953796 h 959817"/>
                <a:gd name="connsiteX6" fmla="*/ 749581 w 798578"/>
                <a:gd name="connsiteY6" fmla="*/ 938960 h 959817"/>
                <a:gd name="connsiteX7" fmla="*/ 755516 w 798578"/>
                <a:gd name="connsiteY7" fmla="*/ 381158 h 959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8578" h="959817">
                  <a:moveTo>
                    <a:pt x="755516" y="381158"/>
                  </a:moveTo>
                  <a:cubicBezTo>
                    <a:pt x="764417" y="351488"/>
                    <a:pt x="856396" y="128960"/>
                    <a:pt x="740681" y="66653"/>
                  </a:cubicBezTo>
                  <a:cubicBezTo>
                    <a:pt x="639801" y="13246"/>
                    <a:pt x="497384" y="-10490"/>
                    <a:pt x="381670" y="4345"/>
                  </a:cubicBezTo>
                  <a:cubicBezTo>
                    <a:pt x="254087" y="19180"/>
                    <a:pt x="126504" y="39949"/>
                    <a:pt x="87933" y="102257"/>
                  </a:cubicBezTo>
                  <a:cubicBezTo>
                    <a:pt x="-21847" y="283246"/>
                    <a:pt x="-21847" y="443466"/>
                    <a:pt x="49362" y="636323"/>
                  </a:cubicBezTo>
                  <a:cubicBezTo>
                    <a:pt x="70132" y="692697"/>
                    <a:pt x="76065" y="823246"/>
                    <a:pt x="90900" y="953796"/>
                  </a:cubicBezTo>
                  <a:cubicBezTo>
                    <a:pt x="90900" y="953796"/>
                    <a:pt x="366835" y="974565"/>
                    <a:pt x="749581" y="938960"/>
                  </a:cubicBezTo>
                  <a:cubicBezTo>
                    <a:pt x="722879" y="725334"/>
                    <a:pt x="749581" y="404894"/>
                    <a:pt x="755516" y="381158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6A940612-FDCA-4EDA-9E12-2973AE691D30}"/>
                </a:ext>
              </a:extLst>
            </p:cNvPr>
            <p:cNvSpPr/>
            <p:nvPr/>
          </p:nvSpPr>
          <p:spPr>
            <a:xfrm>
              <a:off x="23383980" y="3223943"/>
              <a:ext cx="299671" cy="317472"/>
            </a:xfrm>
            <a:custGeom>
              <a:avLst/>
              <a:gdLst>
                <a:gd name="connsiteX0" fmla="*/ 53406 w 299671"/>
                <a:gd name="connsiteY0" fmla="*/ 59341 h 317472"/>
                <a:gd name="connsiteX1" fmla="*/ 0 w 299671"/>
                <a:gd name="connsiteY1" fmla="*/ 195824 h 317472"/>
                <a:gd name="connsiteX2" fmla="*/ 38571 w 299671"/>
                <a:gd name="connsiteY2" fmla="*/ 317473 h 317472"/>
                <a:gd name="connsiteX3" fmla="*/ 299671 w 299671"/>
                <a:gd name="connsiteY3" fmla="*/ 180989 h 317472"/>
                <a:gd name="connsiteX4" fmla="*/ 249232 w 299671"/>
                <a:gd name="connsiteY4" fmla="*/ 0 h 317472"/>
                <a:gd name="connsiteX5" fmla="*/ 53406 w 299671"/>
                <a:gd name="connsiteY5" fmla="*/ 59341 h 317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671" h="317472">
                  <a:moveTo>
                    <a:pt x="53406" y="59341"/>
                  </a:moveTo>
                  <a:cubicBezTo>
                    <a:pt x="53406" y="59341"/>
                    <a:pt x="59341" y="166154"/>
                    <a:pt x="0" y="195824"/>
                  </a:cubicBezTo>
                  <a:lnTo>
                    <a:pt x="38571" y="317473"/>
                  </a:lnTo>
                  <a:cubicBezTo>
                    <a:pt x="38571" y="317473"/>
                    <a:pt x="249232" y="210659"/>
                    <a:pt x="299671" y="180989"/>
                  </a:cubicBezTo>
                  <a:cubicBezTo>
                    <a:pt x="246263" y="139451"/>
                    <a:pt x="249232" y="59341"/>
                    <a:pt x="249232" y="0"/>
                  </a:cubicBezTo>
                  <a:cubicBezTo>
                    <a:pt x="252198" y="0"/>
                    <a:pt x="106814" y="68242"/>
                    <a:pt x="53406" y="59341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FAED5DAB-BF12-4482-86C4-5B5857C7A908}"/>
                </a:ext>
              </a:extLst>
            </p:cNvPr>
            <p:cNvSpPr/>
            <p:nvPr/>
          </p:nvSpPr>
          <p:spPr>
            <a:xfrm>
              <a:off x="23110209" y="3496910"/>
              <a:ext cx="98717" cy="539999"/>
            </a:xfrm>
            <a:custGeom>
              <a:avLst/>
              <a:gdLst>
                <a:gd name="connsiteX0" fmla="*/ 54212 w 98717"/>
                <a:gd name="connsiteY0" fmla="*/ 540000 h 539999"/>
                <a:gd name="connsiteX1" fmla="*/ 48278 w 98717"/>
                <a:gd name="connsiteY1" fmla="*/ 537033 h 539999"/>
                <a:gd name="connsiteX2" fmla="*/ 33443 w 98717"/>
                <a:gd name="connsiteY2" fmla="*/ 483626 h 539999"/>
                <a:gd name="connsiteX3" fmla="*/ 804 w 98717"/>
                <a:gd name="connsiteY3" fmla="*/ 338242 h 539999"/>
                <a:gd name="connsiteX4" fmla="*/ 86849 w 98717"/>
                <a:gd name="connsiteY4" fmla="*/ 2967 h 539999"/>
                <a:gd name="connsiteX5" fmla="*/ 95750 w 98717"/>
                <a:gd name="connsiteY5" fmla="*/ 0 h 539999"/>
                <a:gd name="connsiteX6" fmla="*/ 98718 w 98717"/>
                <a:gd name="connsiteY6" fmla="*/ 8901 h 539999"/>
                <a:gd name="connsiteX7" fmla="*/ 12673 w 98717"/>
                <a:gd name="connsiteY7" fmla="*/ 338242 h 539999"/>
                <a:gd name="connsiteX8" fmla="*/ 45310 w 98717"/>
                <a:gd name="connsiteY8" fmla="*/ 483626 h 539999"/>
                <a:gd name="connsiteX9" fmla="*/ 60145 w 98717"/>
                <a:gd name="connsiteY9" fmla="*/ 537033 h 539999"/>
                <a:gd name="connsiteX10" fmla="*/ 54212 w 98717"/>
                <a:gd name="connsiteY10" fmla="*/ 540000 h 539999"/>
                <a:gd name="connsiteX11" fmla="*/ 54212 w 98717"/>
                <a:gd name="connsiteY11" fmla="*/ 540000 h 53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8717" h="539999">
                  <a:moveTo>
                    <a:pt x="54212" y="540000"/>
                  </a:moveTo>
                  <a:cubicBezTo>
                    <a:pt x="51244" y="540000"/>
                    <a:pt x="48278" y="537033"/>
                    <a:pt x="48278" y="537033"/>
                  </a:cubicBezTo>
                  <a:cubicBezTo>
                    <a:pt x="42344" y="519231"/>
                    <a:pt x="39377" y="501429"/>
                    <a:pt x="33443" y="483626"/>
                  </a:cubicBezTo>
                  <a:cubicBezTo>
                    <a:pt x="18608" y="433187"/>
                    <a:pt x="3773" y="382747"/>
                    <a:pt x="804" y="338242"/>
                  </a:cubicBezTo>
                  <a:cubicBezTo>
                    <a:pt x="-5128" y="216594"/>
                    <a:pt x="21574" y="103846"/>
                    <a:pt x="86849" y="2967"/>
                  </a:cubicBezTo>
                  <a:cubicBezTo>
                    <a:pt x="89815" y="0"/>
                    <a:pt x="92784" y="0"/>
                    <a:pt x="95750" y="0"/>
                  </a:cubicBezTo>
                  <a:cubicBezTo>
                    <a:pt x="98718" y="2967"/>
                    <a:pt x="98718" y="5934"/>
                    <a:pt x="98718" y="8901"/>
                  </a:cubicBezTo>
                  <a:cubicBezTo>
                    <a:pt x="36409" y="109780"/>
                    <a:pt x="6739" y="219560"/>
                    <a:pt x="12673" y="338242"/>
                  </a:cubicBezTo>
                  <a:cubicBezTo>
                    <a:pt x="15640" y="382747"/>
                    <a:pt x="30475" y="433187"/>
                    <a:pt x="45310" y="483626"/>
                  </a:cubicBezTo>
                  <a:cubicBezTo>
                    <a:pt x="51244" y="501429"/>
                    <a:pt x="57179" y="519231"/>
                    <a:pt x="60145" y="537033"/>
                  </a:cubicBezTo>
                  <a:cubicBezTo>
                    <a:pt x="60145" y="537033"/>
                    <a:pt x="57179" y="540000"/>
                    <a:pt x="54212" y="540000"/>
                  </a:cubicBezTo>
                  <a:cubicBezTo>
                    <a:pt x="54212" y="540000"/>
                    <a:pt x="54212" y="540000"/>
                    <a:pt x="54212" y="540000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E35E1D4F-556A-458C-AAFD-F1244E7A8012}"/>
                </a:ext>
              </a:extLst>
            </p:cNvPr>
            <p:cNvSpPr/>
            <p:nvPr/>
          </p:nvSpPr>
          <p:spPr>
            <a:xfrm>
              <a:off x="23226728" y="3924352"/>
              <a:ext cx="389910" cy="35415"/>
            </a:xfrm>
            <a:custGeom>
              <a:avLst/>
              <a:gdLst>
                <a:gd name="connsiteX0" fmla="*/ 5934 w 389910"/>
                <a:gd name="connsiteY0" fmla="*/ 35416 h 35415"/>
                <a:gd name="connsiteX1" fmla="*/ 0 w 389910"/>
                <a:gd name="connsiteY1" fmla="*/ 32449 h 35415"/>
                <a:gd name="connsiteX2" fmla="*/ 2966 w 389910"/>
                <a:gd name="connsiteY2" fmla="*/ 26515 h 35415"/>
                <a:gd name="connsiteX3" fmla="*/ 385714 w 389910"/>
                <a:gd name="connsiteY3" fmla="*/ 14646 h 35415"/>
                <a:gd name="connsiteX4" fmla="*/ 388681 w 389910"/>
                <a:gd name="connsiteY4" fmla="*/ 20580 h 35415"/>
                <a:gd name="connsiteX5" fmla="*/ 382748 w 389910"/>
                <a:gd name="connsiteY5" fmla="*/ 23547 h 35415"/>
                <a:gd name="connsiteX6" fmla="*/ 5934 w 389910"/>
                <a:gd name="connsiteY6" fmla="*/ 35416 h 35415"/>
                <a:gd name="connsiteX7" fmla="*/ 5934 w 389910"/>
                <a:gd name="connsiteY7" fmla="*/ 35416 h 3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9910" h="35415">
                  <a:moveTo>
                    <a:pt x="5934" y="35416"/>
                  </a:moveTo>
                  <a:cubicBezTo>
                    <a:pt x="2966" y="35416"/>
                    <a:pt x="2966" y="35416"/>
                    <a:pt x="0" y="32449"/>
                  </a:cubicBezTo>
                  <a:cubicBezTo>
                    <a:pt x="0" y="29482"/>
                    <a:pt x="0" y="26515"/>
                    <a:pt x="2966" y="26515"/>
                  </a:cubicBezTo>
                  <a:cubicBezTo>
                    <a:pt x="86045" y="-3156"/>
                    <a:pt x="287803" y="-9090"/>
                    <a:pt x="385714" y="14646"/>
                  </a:cubicBezTo>
                  <a:cubicBezTo>
                    <a:pt x="388681" y="14646"/>
                    <a:pt x="391649" y="17613"/>
                    <a:pt x="388681" y="20580"/>
                  </a:cubicBezTo>
                  <a:cubicBezTo>
                    <a:pt x="388681" y="23547"/>
                    <a:pt x="385714" y="26515"/>
                    <a:pt x="382748" y="23547"/>
                  </a:cubicBezTo>
                  <a:cubicBezTo>
                    <a:pt x="290769" y="-189"/>
                    <a:pt x="89011" y="5745"/>
                    <a:pt x="5934" y="35416"/>
                  </a:cubicBezTo>
                  <a:cubicBezTo>
                    <a:pt x="8901" y="35416"/>
                    <a:pt x="5934" y="35416"/>
                    <a:pt x="5934" y="35416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83BA11C7-7037-445E-8CBF-D8554F85F2AC}"/>
                </a:ext>
              </a:extLst>
            </p:cNvPr>
            <p:cNvSpPr/>
            <p:nvPr/>
          </p:nvSpPr>
          <p:spPr>
            <a:xfrm>
              <a:off x="23200024" y="4324712"/>
              <a:ext cx="305605" cy="29670"/>
            </a:xfrm>
            <a:custGeom>
              <a:avLst/>
              <a:gdLst>
                <a:gd name="connsiteX0" fmla="*/ 5934 w 305605"/>
                <a:gd name="connsiteY0" fmla="*/ 29670 h 29670"/>
                <a:gd name="connsiteX1" fmla="*/ 0 w 305605"/>
                <a:gd name="connsiteY1" fmla="*/ 23736 h 29670"/>
                <a:gd name="connsiteX2" fmla="*/ 5934 w 305605"/>
                <a:gd name="connsiteY2" fmla="*/ 17802 h 29670"/>
                <a:gd name="connsiteX3" fmla="*/ 299671 w 305605"/>
                <a:gd name="connsiteY3" fmla="*/ 0 h 29670"/>
                <a:gd name="connsiteX4" fmla="*/ 305606 w 305605"/>
                <a:gd name="connsiteY4" fmla="*/ 2967 h 29670"/>
                <a:gd name="connsiteX5" fmla="*/ 302638 w 305605"/>
                <a:gd name="connsiteY5" fmla="*/ 8901 h 29670"/>
                <a:gd name="connsiteX6" fmla="*/ 5934 w 305605"/>
                <a:gd name="connsiteY6" fmla="*/ 29670 h 29670"/>
                <a:gd name="connsiteX7" fmla="*/ 5934 w 305605"/>
                <a:gd name="connsiteY7" fmla="*/ 29670 h 29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5605" h="29670">
                  <a:moveTo>
                    <a:pt x="5934" y="29670"/>
                  </a:moveTo>
                  <a:cubicBezTo>
                    <a:pt x="2968" y="29670"/>
                    <a:pt x="0" y="26703"/>
                    <a:pt x="0" y="23736"/>
                  </a:cubicBezTo>
                  <a:cubicBezTo>
                    <a:pt x="0" y="20769"/>
                    <a:pt x="2968" y="17802"/>
                    <a:pt x="5934" y="17802"/>
                  </a:cubicBezTo>
                  <a:cubicBezTo>
                    <a:pt x="8903" y="17802"/>
                    <a:pt x="210660" y="14835"/>
                    <a:pt x="299671" y="0"/>
                  </a:cubicBezTo>
                  <a:cubicBezTo>
                    <a:pt x="302638" y="0"/>
                    <a:pt x="305606" y="0"/>
                    <a:pt x="305606" y="2967"/>
                  </a:cubicBezTo>
                  <a:cubicBezTo>
                    <a:pt x="305606" y="5934"/>
                    <a:pt x="305606" y="8901"/>
                    <a:pt x="302638" y="8901"/>
                  </a:cubicBezTo>
                  <a:cubicBezTo>
                    <a:pt x="210660" y="26703"/>
                    <a:pt x="8903" y="29670"/>
                    <a:pt x="5934" y="29670"/>
                  </a:cubicBezTo>
                  <a:lnTo>
                    <a:pt x="5934" y="29670"/>
                  </a:ln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2AE02DC7-62C2-4599-B8B3-84ED9E71BB39}"/>
                </a:ext>
              </a:extLst>
            </p:cNvPr>
            <p:cNvSpPr/>
            <p:nvPr/>
          </p:nvSpPr>
          <p:spPr>
            <a:xfrm>
              <a:off x="23488831" y="3393064"/>
              <a:ext cx="645808" cy="1566593"/>
            </a:xfrm>
            <a:custGeom>
              <a:avLst/>
              <a:gdLst>
                <a:gd name="connsiteX0" fmla="*/ 22731 w 645808"/>
                <a:gd name="connsiteY0" fmla="*/ 299670 h 1566593"/>
                <a:gd name="connsiteX1" fmla="*/ 73171 w 645808"/>
                <a:gd name="connsiteY1" fmla="*/ 1008791 h 1566593"/>
                <a:gd name="connsiteX2" fmla="*/ 218557 w 645808"/>
                <a:gd name="connsiteY2" fmla="*/ 1566594 h 1566593"/>
                <a:gd name="connsiteX3" fmla="*/ 645808 w 645808"/>
                <a:gd name="connsiteY3" fmla="*/ 1347033 h 1566593"/>
                <a:gd name="connsiteX4" fmla="*/ 438116 w 645808"/>
                <a:gd name="connsiteY4" fmla="*/ 836703 h 1566593"/>
                <a:gd name="connsiteX5" fmla="*/ 438116 w 645808"/>
                <a:gd name="connsiteY5" fmla="*/ 379780 h 1566593"/>
                <a:gd name="connsiteX6" fmla="*/ 438116 w 645808"/>
                <a:gd name="connsiteY6" fmla="*/ 115714 h 1566593"/>
                <a:gd name="connsiteX7" fmla="*/ 182952 w 645808"/>
                <a:gd name="connsiteY7" fmla="*/ 0 h 1566593"/>
                <a:gd name="connsiteX8" fmla="*/ 22731 w 645808"/>
                <a:gd name="connsiteY8" fmla="*/ 299670 h 156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808" h="1566593">
                  <a:moveTo>
                    <a:pt x="22731" y="299670"/>
                  </a:moveTo>
                  <a:cubicBezTo>
                    <a:pt x="-36609" y="528132"/>
                    <a:pt x="34600" y="771429"/>
                    <a:pt x="73171" y="1008791"/>
                  </a:cubicBezTo>
                  <a:cubicBezTo>
                    <a:pt x="105810" y="1198681"/>
                    <a:pt x="150315" y="1388572"/>
                    <a:pt x="218557" y="1566594"/>
                  </a:cubicBezTo>
                  <a:cubicBezTo>
                    <a:pt x="408446" y="1539890"/>
                    <a:pt x="550865" y="1462747"/>
                    <a:pt x="645808" y="1347033"/>
                  </a:cubicBezTo>
                  <a:cubicBezTo>
                    <a:pt x="586468" y="1222418"/>
                    <a:pt x="464820" y="973187"/>
                    <a:pt x="438116" y="836703"/>
                  </a:cubicBezTo>
                  <a:cubicBezTo>
                    <a:pt x="408446" y="685385"/>
                    <a:pt x="399545" y="531099"/>
                    <a:pt x="438116" y="379780"/>
                  </a:cubicBezTo>
                  <a:cubicBezTo>
                    <a:pt x="461854" y="290769"/>
                    <a:pt x="497457" y="198791"/>
                    <a:pt x="438116" y="115714"/>
                  </a:cubicBezTo>
                  <a:cubicBezTo>
                    <a:pt x="387678" y="47472"/>
                    <a:pt x="260094" y="11868"/>
                    <a:pt x="182952" y="0"/>
                  </a:cubicBezTo>
                  <a:cubicBezTo>
                    <a:pt x="177017" y="2967"/>
                    <a:pt x="46469" y="201758"/>
                    <a:pt x="22731" y="299670"/>
                  </a:cubicBezTo>
                  <a:close/>
                </a:path>
              </a:pathLst>
            </a:custGeom>
            <a:solidFill>
              <a:srgbClr val="F1DDB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2075A9DC-AF75-4EFF-886B-32E293D38DCC}"/>
                </a:ext>
              </a:extLst>
            </p:cNvPr>
            <p:cNvSpPr/>
            <p:nvPr/>
          </p:nvSpPr>
          <p:spPr>
            <a:xfrm>
              <a:off x="23030814" y="3404932"/>
              <a:ext cx="379870" cy="1508128"/>
            </a:xfrm>
            <a:custGeom>
              <a:avLst/>
              <a:gdLst>
                <a:gd name="connsiteX0" fmla="*/ 90 w 379870"/>
                <a:gd name="connsiteY0" fmla="*/ 1480550 h 1508128"/>
                <a:gd name="connsiteX1" fmla="*/ 74266 w 379870"/>
                <a:gd name="connsiteY1" fmla="*/ 1504286 h 1508128"/>
                <a:gd name="connsiteX2" fmla="*/ 74266 w 379870"/>
                <a:gd name="connsiteY2" fmla="*/ 1403407 h 1508128"/>
                <a:gd name="connsiteX3" fmla="*/ 172178 w 379870"/>
                <a:gd name="connsiteY3" fmla="*/ 1050330 h 1508128"/>
                <a:gd name="connsiteX4" fmla="*/ 189979 w 379870"/>
                <a:gd name="connsiteY4" fmla="*/ 715055 h 1508128"/>
                <a:gd name="connsiteX5" fmla="*/ 356134 w 379870"/>
                <a:gd name="connsiteY5" fmla="*/ 17802 h 1508128"/>
                <a:gd name="connsiteX6" fmla="*/ 379870 w 379870"/>
                <a:gd name="connsiteY6" fmla="*/ 0 h 1508128"/>
                <a:gd name="connsiteX7" fmla="*/ 56463 w 379870"/>
                <a:gd name="connsiteY7" fmla="*/ 477692 h 1508128"/>
                <a:gd name="connsiteX8" fmla="*/ 86133 w 379870"/>
                <a:gd name="connsiteY8" fmla="*/ 703187 h 1508128"/>
                <a:gd name="connsiteX9" fmla="*/ 83167 w 379870"/>
                <a:gd name="connsiteY9" fmla="*/ 928681 h 1508128"/>
                <a:gd name="connsiteX10" fmla="*/ 90 w 379870"/>
                <a:gd name="connsiteY10" fmla="*/ 1480550 h 1508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9870" h="1508128">
                  <a:moveTo>
                    <a:pt x="90" y="1480550"/>
                  </a:moveTo>
                  <a:cubicBezTo>
                    <a:pt x="-2878" y="1498352"/>
                    <a:pt x="68332" y="1516154"/>
                    <a:pt x="74266" y="1504286"/>
                  </a:cubicBezTo>
                  <a:cubicBezTo>
                    <a:pt x="77232" y="1501319"/>
                    <a:pt x="74266" y="1409341"/>
                    <a:pt x="74266" y="1403407"/>
                  </a:cubicBezTo>
                  <a:cubicBezTo>
                    <a:pt x="92068" y="1275824"/>
                    <a:pt x="127672" y="1169011"/>
                    <a:pt x="172178" y="1050330"/>
                  </a:cubicBezTo>
                  <a:cubicBezTo>
                    <a:pt x="210749" y="940549"/>
                    <a:pt x="201848" y="830769"/>
                    <a:pt x="189979" y="715055"/>
                  </a:cubicBezTo>
                  <a:cubicBezTo>
                    <a:pt x="163277" y="465824"/>
                    <a:pt x="201848" y="222527"/>
                    <a:pt x="356134" y="17802"/>
                  </a:cubicBezTo>
                  <a:cubicBezTo>
                    <a:pt x="359101" y="14835"/>
                    <a:pt x="368001" y="14835"/>
                    <a:pt x="379870" y="0"/>
                  </a:cubicBezTo>
                  <a:cubicBezTo>
                    <a:pt x="130639" y="5934"/>
                    <a:pt x="32727" y="272967"/>
                    <a:pt x="56463" y="477692"/>
                  </a:cubicBezTo>
                  <a:cubicBezTo>
                    <a:pt x="65364" y="554835"/>
                    <a:pt x="83167" y="626044"/>
                    <a:pt x="86133" y="703187"/>
                  </a:cubicBezTo>
                  <a:cubicBezTo>
                    <a:pt x="89101" y="777363"/>
                    <a:pt x="86133" y="854505"/>
                    <a:pt x="83167" y="928681"/>
                  </a:cubicBezTo>
                  <a:cubicBezTo>
                    <a:pt x="74266" y="1085934"/>
                    <a:pt x="17892" y="1320330"/>
                    <a:pt x="90" y="1480550"/>
                  </a:cubicBezTo>
                  <a:close/>
                </a:path>
              </a:pathLst>
            </a:custGeom>
            <a:solidFill>
              <a:srgbClr val="F1DDB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47A578F2-D83D-4431-8539-B1279DEEA97D}"/>
                </a:ext>
              </a:extLst>
            </p:cNvPr>
            <p:cNvSpPr/>
            <p:nvPr/>
          </p:nvSpPr>
          <p:spPr>
            <a:xfrm>
              <a:off x="23070941" y="3582954"/>
              <a:ext cx="66776" cy="732857"/>
            </a:xfrm>
            <a:custGeom>
              <a:avLst/>
              <a:gdLst>
                <a:gd name="connsiteX0" fmla="*/ 40072 w 66776"/>
                <a:gd name="connsiteY0" fmla="*/ 732857 h 732857"/>
                <a:gd name="connsiteX1" fmla="*/ 40072 w 66776"/>
                <a:gd name="connsiteY1" fmla="*/ 732857 h 732857"/>
                <a:gd name="connsiteX2" fmla="*/ 34139 w 66776"/>
                <a:gd name="connsiteY2" fmla="*/ 726923 h 732857"/>
                <a:gd name="connsiteX3" fmla="*/ 10402 w 66776"/>
                <a:gd name="connsiteY3" fmla="*/ 320439 h 732857"/>
                <a:gd name="connsiteX4" fmla="*/ 1501 w 66776"/>
                <a:gd name="connsiteY4" fmla="*/ 258132 h 732857"/>
                <a:gd name="connsiteX5" fmla="*/ 54907 w 66776"/>
                <a:gd name="connsiteY5" fmla="*/ 2967 h 732857"/>
                <a:gd name="connsiteX6" fmla="*/ 63810 w 66776"/>
                <a:gd name="connsiteY6" fmla="*/ 0 h 732857"/>
                <a:gd name="connsiteX7" fmla="*/ 66776 w 66776"/>
                <a:gd name="connsiteY7" fmla="*/ 8901 h 732857"/>
                <a:gd name="connsiteX8" fmla="*/ 13370 w 66776"/>
                <a:gd name="connsiteY8" fmla="*/ 258132 h 732857"/>
                <a:gd name="connsiteX9" fmla="*/ 22271 w 66776"/>
                <a:gd name="connsiteY9" fmla="*/ 320439 h 732857"/>
                <a:gd name="connsiteX10" fmla="*/ 46006 w 66776"/>
                <a:gd name="connsiteY10" fmla="*/ 729890 h 732857"/>
                <a:gd name="connsiteX11" fmla="*/ 40072 w 66776"/>
                <a:gd name="connsiteY11" fmla="*/ 732857 h 73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776" h="732857">
                  <a:moveTo>
                    <a:pt x="40072" y="732857"/>
                  </a:moveTo>
                  <a:cubicBezTo>
                    <a:pt x="40072" y="732857"/>
                    <a:pt x="40072" y="732857"/>
                    <a:pt x="40072" y="732857"/>
                  </a:cubicBezTo>
                  <a:cubicBezTo>
                    <a:pt x="37106" y="732857"/>
                    <a:pt x="34139" y="729890"/>
                    <a:pt x="34139" y="726923"/>
                  </a:cubicBezTo>
                  <a:cubicBezTo>
                    <a:pt x="46006" y="611209"/>
                    <a:pt x="25237" y="436154"/>
                    <a:pt x="10402" y="320439"/>
                  </a:cubicBezTo>
                  <a:cubicBezTo>
                    <a:pt x="7435" y="296703"/>
                    <a:pt x="4469" y="275934"/>
                    <a:pt x="1501" y="258132"/>
                  </a:cubicBezTo>
                  <a:cubicBezTo>
                    <a:pt x="-10366" y="154286"/>
                    <a:pt x="51941" y="8901"/>
                    <a:pt x="54907" y="2967"/>
                  </a:cubicBezTo>
                  <a:cubicBezTo>
                    <a:pt x="54907" y="0"/>
                    <a:pt x="60842" y="0"/>
                    <a:pt x="63810" y="0"/>
                  </a:cubicBezTo>
                  <a:cubicBezTo>
                    <a:pt x="66776" y="0"/>
                    <a:pt x="66776" y="5934"/>
                    <a:pt x="66776" y="8901"/>
                  </a:cubicBezTo>
                  <a:cubicBezTo>
                    <a:pt x="66776" y="8901"/>
                    <a:pt x="1501" y="157253"/>
                    <a:pt x="13370" y="258132"/>
                  </a:cubicBezTo>
                  <a:cubicBezTo>
                    <a:pt x="16336" y="275934"/>
                    <a:pt x="19304" y="296703"/>
                    <a:pt x="22271" y="320439"/>
                  </a:cubicBezTo>
                  <a:cubicBezTo>
                    <a:pt x="37106" y="436154"/>
                    <a:pt x="60842" y="611209"/>
                    <a:pt x="46006" y="729890"/>
                  </a:cubicBezTo>
                  <a:cubicBezTo>
                    <a:pt x="46006" y="729890"/>
                    <a:pt x="43040" y="732857"/>
                    <a:pt x="40072" y="732857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EDF20F40-7635-48F5-9D36-F04B2A357155}"/>
                </a:ext>
              </a:extLst>
            </p:cNvPr>
            <p:cNvSpPr/>
            <p:nvPr/>
          </p:nvSpPr>
          <p:spPr>
            <a:xfrm>
              <a:off x="23325790" y="2780989"/>
              <a:ext cx="411267" cy="553045"/>
            </a:xfrm>
            <a:custGeom>
              <a:avLst/>
              <a:gdLst>
                <a:gd name="connsiteX0" fmla="*/ 7750 w 411267"/>
                <a:gd name="connsiteY0" fmla="*/ 178888 h 553045"/>
                <a:gd name="connsiteX1" fmla="*/ 19619 w 411267"/>
                <a:gd name="connsiteY1" fmla="*/ 428119 h 553045"/>
                <a:gd name="connsiteX2" fmla="*/ 165005 w 411267"/>
                <a:gd name="connsiteY2" fmla="*/ 552734 h 553045"/>
                <a:gd name="connsiteX3" fmla="*/ 375663 w 411267"/>
                <a:gd name="connsiteY3" fmla="*/ 413283 h 553045"/>
                <a:gd name="connsiteX4" fmla="*/ 411268 w 411267"/>
                <a:gd name="connsiteY4" fmla="*/ 193723 h 553045"/>
                <a:gd name="connsiteX5" fmla="*/ 203576 w 411267"/>
                <a:gd name="connsiteY5" fmla="*/ 866 h 553045"/>
                <a:gd name="connsiteX6" fmla="*/ 7750 w 411267"/>
                <a:gd name="connsiteY6" fmla="*/ 178888 h 553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1267" h="553045">
                  <a:moveTo>
                    <a:pt x="7750" y="178888"/>
                  </a:moveTo>
                  <a:cubicBezTo>
                    <a:pt x="7750" y="178888"/>
                    <a:pt x="-15986" y="362844"/>
                    <a:pt x="19619" y="428119"/>
                  </a:cubicBezTo>
                  <a:cubicBezTo>
                    <a:pt x="55224" y="493393"/>
                    <a:pt x="114565" y="549767"/>
                    <a:pt x="165005" y="552734"/>
                  </a:cubicBezTo>
                  <a:cubicBezTo>
                    <a:pt x="230278" y="558668"/>
                    <a:pt x="340058" y="478558"/>
                    <a:pt x="375663" y="413283"/>
                  </a:cubicBezTo>
                  <a:cubicBezTo>
                    <a:pt x="411268" y="348009"/>
                    <a:pt x="411268" y="244162"/>
                    <a:pt x="411268" y="193723"/>
                  </a:cubicBezTo>
                  <a:cubicBezTo>
                    <a:pt x="408300" y="101745"/>
                    <a:pt x="381598" y="24602"/>
                    <a:pt x="203576" y="866"/>
                  </a:cubicBezTo>
                  <a:cubicBezTo>
                    <a:pt x="117531" y="-11002"/>
                    <a:pt x="25554" y="101745"/>
                    <a:pt x="7750" y="178888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BBE202CB-35BD-4DDC-9456-A007468F07F4}"/>
                </a:ext>
              </a:extLst>
            </p:cNvPr>
            <p:cNvSpPr/>
            <p:nvPr/>
          </p:nvSpPr>
          <p:spPr>
            <a:xfrm>
              <a:off x="23458156" y="3041725"/>
              <a:ext cx="53406" cy="128811"/>
            </a:xfrm>
            <a:custGeom>
              <a:avLst/>
              <a:gdLst>
                <a:gd name="connsiteX0" fmla="*/ 29670 w 53406"/>
                <a:gd name="connsiteY0" fmla="*/ 128811 h 128811"/>
                <a:gd name="connsiteX1" fmla="*/ 5934 w 53406"/>
                <a:gd name="connsiteY1" fmla="*/ 122877 h 128811"/>
                <a:gd name="connsiteX2" fmla="*/ 0 w 53406"/>
                <a:gd name="connsiteY2" fmla="*/ 111009 h 128811"/>
                <a:gd name="connsiteX3" fmla="*/ 26704 w 53406"/>
                <a:gd name="connsiteY3" fmla="*/ 4196 h 128811"/>
                <a:gd name="connsiteX4" fmla="*/ 32638 w 53406"/>
                <a:gd name="connsiteY4" fmla="*/ 1229 h 128811"/>
                <a:gd name="connsiteX5" fmla="*/ 35605 w 53406"/>
                <a:gd name="connsiteY5" fmla="*/ 7163 h 128811"/>
                <a:gd name="connsiteX6" fmla="*/ 8901 w 53406"/>
                <a:gd name="connsiteY6" fmla="*/ 111009 h 128811"/>
                <a:gd name="connsiteX7" fmla="*/ 8901 w 53406"/>
                <a:gd name="connsiteY7" fmla="*/ 113976 h 128811"/>
                <a:gd name="connsiteX8" fmla="*/ 47474 w 53406"/>
                <a:gd name="connsiteY8" fmla="*/ 113976 h 128811"/>
                <a:gd name="connsiteX9" fmla="*/ 53406 w 53406"/>
                <a:gd name="connsiteY9" fmla="*/ 119910 h 128811"/>
                <a:gd name="connsiteX10" fmla="*/ 47474 w 53406"/>
                <a:gd name="connsiteY10" fmla="*/ 125844 h 128811"/>
                <a:gd name="connsiteX11" fmla="*/ 29670 w 53406"/>
                <a:gd name="connsiteY11" fmla="*/ 128811 h 128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406" h="128811">
                  <a:moveTo>
                    <a:pt x="29670" y="128811"/>
                  </a:moveTo>
                  <a:cubicBezTo>
                    <a:pt x="20770" y="128811"/>
                    <a:pt x="11869" y="128811"/>
                    <a:pt x="5934" y="122877"/>
                  </a:cubicBezTo>
                  <a:cubicBezTo>
                    <a:pt x="2968" y="119910"/>
                    <a:pt x="0" y="116943"/>
                    <a:pt x="0" y="111009"/>
                  </a:cubicBezTo>
                  <a:cubicBezTo>
                    <a:pt x="0" y="90240"/>
                    <a:pt x="26704" y="7163"/>
                    <a:pt x="26704" y="4196"/>
                  </a:cubicBezTo>
                  <a:cubicBezTo>
                    <a:pt x="26704" y="1229"/>
                    <a:pt x="29670" y="-1738"/>
                    <a:pt x="32638" y="1229"/>
                  </a:cubicBezTo>
                  <a:cubicBezTo>
                    <a:pt x="35605" y="1229"/>
                    <a:pt x="38571" y="4196"/>
                    <a:pt x="35605" y="7163"/>
                  </a:cubicBezTo>
                  <a:cubicBezTo>
                    <a:pt x="29670" y="30899"/>
                    <a:pt x="8901" y="93207"/>
                    <a:pt x="8901" y="111009"/>
                  </a:cubicBezTo>
                  <a:cubicBezTo>
                    <a:pt x="8901" y="111009"/>
                    <a:pt x="8901" y="113976"/>
                    <a:pt x="8901" y="113976"/>
                  </a:cubicBezTo>
                  <a:cubicBezTo>
                    <a:pt x="14835" y="119910"/>
                    <a:pt x="35605" y="116943"/>
                    <a:pt x="47474" y="113976"/>
                  </a:cubicBezTo>
                  <a:cubicBezTo>
                    <a:pt x="50440" y="113976"/>
                    <a:pt x="53406" y="113976"/>
                    <a:pt x="53406" y="119910"/>
                  </a:cubicBezTo>
                  <a:cubicBezTo>
                    <a:pt x="53406" y="122877"/>
                    <a:pt x="53406" y="125844"/>
                    <a:pt x="47474" y="125844"/>
                  </a:cubicBezTo>
                  <a:cubicBezTo>
                    <a:pt x="50440" y="128811"/>
                    <a:pt x="38571" y="128811"/>
                    <a:pt x="29670" y="128811"/>
                  </a:cubicBezTo>
                  <a:close/>
                </a:path>
              </a:pathLst>
            </a:custGeom>
            <a:solidFill>
              <a:srgbClr val="E58777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D523FCD3-E942-4936-8F30-8ECD23C75B85}"/>
                </a:ext>
              </a:extLst>
            </p:cNvPr>
            <p:cNvSpPr/>
            <p:nvPr/>
          </p:nvSpPr>
          <p:spPr>
            <a:xfrm>
              <a:off x="23440355" y="3220976"/>
              <a:ext cx="103846" cy="53406"/>
            </a:xfrm>
            <a:custGeom>
              <a:avLst/>
              <a:gdLst>
                <a:gd name="connsiteX0" fmla="*/ 103846 w 103846"/>
                <a:gd name="connsiteY0" fmla="*/ 0 h 53406"/>
                <a:gd name="connsiteX1" fmla="*/ 0 w 103846"/>
                <a:gd name="connsiteY1" fmla="*/ 0 h 53406"/>
                <a:gd name="connsiteX2" fmla="*/ 50440 w 103846"/>
                <a:gd name="connsiteY2" fmla="*/ 53407 h 53406"/>
                <a:gd name="connsiteX3" fmla="*/ 103846 w 103846"/>
                <a:gd name="connsiteY3" fmla="*/ 0 h 53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46" h="53406">
                  <a:moveTo>
                    <a:pt x="103846" y="0"/>
                  </a:moveTo>
                  <a:cubicBezTo>
                    <a:pt x="50440" y="23736"/>
                    <a:pt x="0" y="0"/>
                    <a:pt x="0" y="0"/>
                  </a:cubicBezTo>
                  <a:cubicBezTo>
                    <a:pt x="0" y="0"/>
                    <a:pt x="14835" y="53407"/>
                    <a:pt x="50440" y="53407"/>
                  </a:cubicBezTo>
                  <a:cubicBezTo>
                    <a:pt x="89011" y="50440"/>
                    <a:pt x="103846" y="0"/>
                    <a:pt x="103846" y="0"/>
                  </a:cubicBezTo>
                  <a:close/>
                </a:path>
              </a:pathLst>
            </a:custGeom>
            <a:solidFill>
              <a:srgbClr val="FFFFFF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76506DB8-3956-4E79-8B51-6134FEAE2DB3}"/>
                </a:ext>
              </a:extLst>
            </p:cNvPr>
            <p:cNvSpPr/>
            <p:nvPr/>
          </p:nvSpPr>
          <p:spPr>
            <a:xfrm>
              <a:off x="23389159" y="3015669"/>
              <a:ext cx="39326" cy="39735"/>
            </a:xfrm>
            <a:custGeom>
              <a:avLst/>
              <a:gdLst>
                <a:gd name="connsiteX0" fmla="*/ 39327 w 39326"/>
                <a:gd name="connsiteY0" fmla="*/ 24318 h 39735"/>
                <a:gd name="connsiteX1" fmla="*/ 15591 w 39326"/>
                <a:gd name="connsiteY1" fmla="*/ 39153 h 39735"/>
                <a:gd name="connsiteX2" fmla="*/ 756 w 39326"/>
                <a:gd name="connsiteY2" fmla="*/ 15417 h 39735"/>
                <a:gd name="connsiteX3" fmla="*/ 24492 w 39326"/>
                <a:gd name="connsiteY3" fmla="*/ 582 h 39735"/>
                <a:gd name="connsiteX4" fmla="*/ 39327 w 39326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6" h="39735">
                  <a:moveTo>
                    <a:pt x="39327" y="24318"/>
                  </a:moveTo>
                  <a:cubicBezTo>
                    <a:pt x="36361" y="33219"/>
                    <a:pt x="27460" y="42120"/>
                    <a:pt x="15591" y="39153"/>
                  </a:cubicBezTo>
                  <a:cubicBezTo>
                    <a:pt x="3722" y="36186"/>
                    <a:pt x="-2210" y="27285"/>
                    <a:pt x="756" y="15417"/>
                  </a:cubicBezTo>
                  <a:cubicBezTo>
                    <a:pt x="3722" y="6516"/>
                    <a:pt x="12625" y="-2385"/>
                    <a:pt x="24492" y="582"/>
                  </a:cubicBezTo>
                  <a:cubicBezTo>
                    <a:pt x="33393" y="3549"/>
                    <a:pt x="39327" y="15417"/>
                    <a:pt x="39327" y="24318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1975F04E-1D50-49F3-95EA-A4FFC815A5E2}"/>
                </a:ext>
              </a:extLst>
            </p:cNvPr>
            <p:cNvSpPr/>
            <p:nvPr/>
          </p:nvSpPr>
          <p:spPr>
            <a:xfrm>
              <a:off x="23573115" y="3021603"/>
              <a:ext cx="39909" cy="39735"/>
            </a:xfrm>
            <a:custGeom>
              <a:avLst/>
              <a:gdLst>
                <a:gd name="connsiteX0" fmla="*/ 39328 w 39909"/>
                <a:gd name="connsiteY0" fmla="*/ 24318 h 39735"/>
                <a:gd name="connsiteX1" fmla="*/ 15592 w 39909"/>
                <a:gd name="connsiteY1" fmla="*/ 39153 h 39735"/>
                <a:gd name="connsiteX2" fmla="*/ 757 w 39909"/>
                <a:gd name="connsiteY2" fmla="*/ 15417 h 39735"/>
                <a:gd name="connsiteX3" fmla="*/ 24492 w 39909"/>
                <a:gd name="connsiteY3" fmla="*/ 582 h 39735"/>
                <a:gd name="connsiteX4" fmla="*/ 39328 w 39909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39735">
                  <a:moveTo>
                    <a:pt x="39328" y="24318"/>
                  </a:moveTo>
                  <a:cubicBezTo>
                    <a:pt x="36361" y="33219"/>
                    <a:pt x="27459" y="42120"/>
                    <a:pt x="15592" y="39153"/>
                  </a:cubicBezTo>
                  <a:cubicBezTo>
                    <a:pt x="3723" y="36186"/>
                    <a:pt x="-2212" y="27285"/>
                    <a:pt x="757" y="15417"/>
                  </a:cubicBezTo>
                  <a:cubicBezTo>
                    <a:pt x="3723" y="6516"/>
                    <a:pt x="12624" y="-2385"/>
                    <a:pt x="24492" y="582"/>
                  </a:cubicBezTo>
                  <a:cubicBezTo>
                    <a:pt x="33393" y="3549"/>
                    <a:pt x="42294" y="15417"/>
                    <a:pt x="39328" y="24318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750BB2B2-1632-4DBF-A45B-D21D3A3BF810}"/>
                </a:ext>
              </a:extLst>
            </p:cNvPr>
            <p:cNvSpPr/>
            <p:nvPr/>
          </p:nvSpPr>
          <p:spPr>
            <a:xfrm>
              <a:off x="23363953" y="2967295"/>
              <a:ext cx="89498" cy="34120"/>
            </a:xfrm>
            <a:custGeom>
              <a:avLst/>
              <a:gdLst>
                <a:gd name="connsiteX0" fmla="*/ 8161 w 89498"/>
                <a:gd name="connsiteY0" fmla="*/ 34121 h 34120"/>
                <a:gd name="connsiteX1" fmla="*/ 2226 w 89498"/>
                <a:gd name="connsiteY1" fmla="*/ 31154 h 34120"/>
                <a:gd name="connsiteX2" fmla="*/ 2226 w 89498"/>
                <a:gd name="connsiteY2" fmla="*/ 19286 h 34120"/>
                <a:gd name="connsiteX3" fmla="*/ 85303 w 89498"/>
                <a:gd name="connsiteY3" fmla="*/ 7418 h 34120"/>
                <a:gd name="connsiteX4" fmla="*/ 88269 w 89498"/>
                <a:gd name="connsiteY4" fmla="*/ 16319 h 34120"/>
                <a:gd name="connsiteX5" fmla="*/ 79368 w 89498"/>
                <a:gd name="connsiteY5" fmla="*/ 19286 h 34120"/>
                <a:gd name="connsiteX6" fmla="*/ 14093 w 89498"/>
                <a:gd name="connsiteY6" fmla="*/ 25220 h 34120"/>
                <a:gd name="connsiteX7" fmla="*/ 8161 w 89498"/>
                <a:gd name="connsiteY7" fmla="*/ 34121 h 34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4120">
                  <a:moveTo>
                    <a:pt x="8161" y="34121"/>
                  </a:moveTo>
                  <a:cubicBezTo>
                    <a:pt x="5192" y="34121"/>
                    <a:pt x="5192" y="34121"/>
                    <a:pt x="2226" y="31154"/>
                  </a:cubicBezTo>
                  <a:cubicBezTo>
                    <a:pt x="-742" y="28187"/>
                    <a:pt x="-742" y="22253"/>
                    <a:pt x="2226" y="19286"/>
                  </a:cubicBezTo>
                  <a:cubicBezTo>
                    <a:pt x="28928" y="-10385"/>
                    <a:pt x="67501" y="1484"/>
                    <a:pt x="85303" y="7418"/>
                  </a:cubicBezTo>
                  <a:cubicBezTo>
                    <a:pt x="88269" y="10385"/>
                    <a:pt x="91237" y="13352"/>
                    <a:pt x="88269" y="16319"/>
                  </a:cubicBezTo>
                  <a:cubicBezTo>
                    <a:pt x="85303" y="19286"/>
                    <a:pt x="82336" y="22253"/>
                    <a:pt x="79368" y="19286"/>
                  </a:cubicBezTo>
                  <a:cubicBezTo>
                    <a:pt x="76402" y="19286"/>
                    <a:pt x="37831" y="-1484"/>
                    <a:pt x="14093" y="25220"/>
                  </a:cubicBezTo>
                  <a:cubicBezTo>
                    <a:pt x="11127" y="34121"/>
                    <a:pt x="8161" y="34121"/>
                    <a:pt x="8161" y="34121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D496E1A5-FE2D-493A-B4B4-A270357DBEBF}"/>
                </a:ext>
              </a:extLst>
            </p:cNvPr>
            <p:cNvSpPr/>
            <p:nvPr/>
          </p:nvSpPr>
          <p:spPr>
            <a:xfrm>
              <a:off x="23545939" y="2966113"/>
              <a:ext cx="89498" cy="35302"/>
            </a:xfrm>
            <a:custGeom>
              <a:avLst/>
              <a:gdLst>
                <a:gd name="connsiteX0" fmla="*/ 84305 w 89498"/>
                <a:gd name="connsiteY0" fmla="*/ 35302 h 35302"/>
                <a:gd name="connsiteX1" fmla="*/ 78373 w 89498"/>
                <a:gd name="connsiteY1" fmla="*/ 32335 h 35302"/>
                <a:gd name="connsiteX2" fmla="*/ 13097 w 89498"/>
                <a:gd name="connsiteY2" fmla="*/ 26401 h 35302"/>
                <a:gd name="connsiteX3" fmla="*/ 1229 w 89498"/>
                <a:gd name="connsiteY3" fmla="*/ 23434 h 35302"/>
                <a:gd name="connsiteX4" fmla="*/ 4197 w 89498"/>
                <a:gd name="connsiteY4" fmla="*/ 11566 h 35302"/>
                <a:gd name="connsiteX5" fmla="*/ 87273 w 89498"/>
                <a:gd name="connsiteY5" fmla="*/ 20467 h 35302"/>
                <a:gd name="connsiteX6" fmla="*/ 87273 w 89498"/>
                <a:gd name="connsiteY6" fmla="*/ 32335 h 35302"/>
                <a:gd name="connsiteX7" fmla="*/ 84305 w 89498"/>
                <a:gd name="connsiteY7" fmla="*/ 35302 h 35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302">
                  <a:moveTo>
                    <a:pt x="84305" y="35302"/>
                  </a:moveTo>
                  <a:cubicBezTo>
                    <a:pt x="81339" y="35302"/>
                    <a:pt x="81339" y="35302"/>
                    <a:pt x="78373" y="32335"/>
                  </a:cubicBezTo>
                  <a:cubicBezTo>
                    <a:pt x="78373" y="32335"/>
                    <a:pt x="48702" y="2665"/>
                    <a:pt x="13097" y="26401"/>
                  </a:cubicBezTo>
                  <a:cubicBezTo>
                    <a:pt x="10129" y="29368"/>
                    <a:pt x="4197" y="26401"/>
                    <a:pt x="1229" y="23434"/>
                  </a:cubicBezTo>
                  <a:cubicBezTo>
                    <a:pt x="-1738" y="20467"/>
                    <a:pt x="1229" y="14533"/>
                    <a:pt x="4197" y="11566"/>
                  </a:cubicBezTo>
                  <a:cubicBezTo>
                    <a:pt x="39800" y="-12170"/>
                    <a:pt x="75404" y="5632"/>
                    <a:pt x="87273" y="20467"/>
                  </a:cubicBezTo>
                  <a:cubicBezTo>
                    <a:pt x="90240" y="23434"/>
                    <a:pt x="90240" y="29368"/>
                    <a:pt x="87273" y="32335"/>
                  </a:cubicBezTo>
                  <a:cubicBezTo>
                    <a:pt x="87273" y="35302"/>
                    <a:pt x="87273" y="35302"/>
                    <a:pt x="84305" y="35302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C3BF8036-FE16-4A91-ABE4-8BAA03DF7FB1}"/>
                </a:ext>
              </a:extLst>
            </p:cNvPr>
            <p:cNvSpPr/>
            <p:nvPr/>
          </p:nvSpPr>
          <p:spPr>
            <a:xfrm>
              <a:off x="23306704" y="2749529"/>
              <a:ext cx="269202" cy="251886"/>
            </a:xfrm>
            <a:custGeom>
              <a:avLst/>
              <a:gdLst>
                <a:gd name="connsiteX0" fmla="*/ 267168 w 269202"/>
                <a:gd name="connsiteY0" fmla="*/ 2656 h 251886"/>
                <a:gd name="connsiteX1" fmla="*/ 231563 w 269202"/>
                <a:gd name="connsiteY1" fmla="*/ 127271 h 251886"/>
                <a:gd name="connsiteX2" fmla="*/ 135 w 269202"/>
                <a:gd name="connsiteY2" fmla="*/ 251886 h 251886"/>
                <a:gd name="connsiteX3" fmla="*/ 267168 w 269202"/>
                <a:gd name="connsiteY3" fmla="*/ 2656 h 251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202" h="251886">
                  <a:moveTo>
                    <a:pt x="267168" y="2656"/>
                  </a:moveTo>
                  <a:cubicBezTo>
                    <a:pt x="267168" y="2656"/>
                    <a:pt x="282003" y="88700"/>
                    <a:pt x="231563" y="127271"/>
                  </a:cubicBezTo>
                  <a:cubicBezTo>
                    <a:pt x="231563" y="127271"/>
                    <a:pt x="26837" y="168810"/>
                    <a:pt x="135" y="251886"/>
                  </a:cubicBezTo>
                  <a:cubicBezTo>
                    <a:pt x="135" y="248919"/>
                    <a:pt x="-14701" y="-29982"/>
                    <a:pt x="267168" y="2656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E58339AF-84BF-45C5-BDEC-01160A0FF42A}"/>
                </a:ext>
              </a:extLst>
            </p:cNvPr>
            <p:cNvSpPr/>
            <p:nvPr/>
          </p:nvSpPr>
          <p:spPr>
            <a:xfrm>
              <a:off x="23541233" y="2752185"/>
              <a:ext cx="218243" cy="306085"/>
            </a:xfrm>
            <a:custGeom>
              <a:avLst/>
              <a:gdLst>
                <a:gd name="connsiteX0" fmla="*/ 0 w 218243"/>
                <a:gd name="connsiteY0" fmla="*/ 124615 h 306085"/>
                <a:gd name="connsiteX1" fmla="*/ 136485 w 218243"/>
                <a:gd name="connsiteY1" fmla="*/ 178022 h 306085"/>
                <a:gd name="connsiteX2" fmla="*/ 192857 w 218243"/>
                <a:gd name="connsiteY2" fmla="*/ 293736 h 306085"/>
                <a:gd name="connsiteX3" fmla="*/ 216595 w 218243"/>
                <a:gd name="connsiteY3" fmla="*/ 290769 h 306085"/>
                <a:gd name="connsiteX4" fmla="*/ 32638 w 218243"/>
                <a:gd name="connsiteY4" fmla="*/ 0 h 306085"/>
                <a:gd name="connsiteX5" fmla="*/ 0 w 218243"/>
                <a:gd name="connsiteY5" fmla="*/ 124615 h 306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8243" h="306085">
                  <a:moveTo>
                    <a:pt x="0" y="124615"/>
                  </a:moveTo>
                  <a:cubicBezTo>
                    <a:pt x="0" y="124615"/>
                    <a:pt x="89011" y="172088"/>
                    <a:pt x="136485" y="178022"/>
                  </a:cubicBezTo>
                  <a:cubicBezTo>
                    <a:pt x="186925" y="183956"/>
                    <a:pt x="192857" y="293736"/>
                    <a:pt x="192857" y="293736"/>
                  </a:cubicBezTo>
                  <a:cubicBezTo>
                    <a:pt x="192857" y="293736"/>
                    <a:pt x="213627" y="323407"/>
                    <a:pt x="216595" y="290769"/>
                  </a:cubicBezTo>
                  <a:cubicBezTo>
                    <a:pt x="222527" y="213626"/>
                    <a:pt x="222527" y="20769"/>
                    <a:pt x="32638" y="0"/>
                  </a:cubicBezTo>
                  <a:cubicBezTo>
                    <a:pt x="32638" y="0"/>
                    <a:pt x="20770" y="118681"/>
                    <a:pt x="0" y="124615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C1B9C986-0C4B-4797-BDBE-AD21DCA4385D}"/>
                </a:ext>
              </a:extLst>
            </p:cNvPr>
            <p:cNvSpPr/>
            <p:nvPr/>
          </p:nvSpPr>
          <p:spPr>
            <a:xfrm>
              <a:off x="23535300" y="2793723"/>
              <a:ext cx="151317" cy="139450"/>
            </a:xfrm>
            <a:custGeom>
              <a:avLst/>
              <a:gdLst>
                <a:gd name="connsiteX0" fmla="*/ 142417 w 151317"/>
                <a:gd name="connsiteY0" fmla="*/ 139451 h 139450"/>
                <a:gd name="connsiteX1" fmla="*/ 142417 w 151317"/>
                <a:gd name="connsiteY1" fmla="*/ 139451 h 139450"/>
                <a:gd name="connsiteX2" fmla="*/ 47472 w 151317"/>
                <a:gd name="connsiteY2" fmla="*/ 106813 h 139450"/>
                <a:gd name="connsiteX3" fmla="*/ 2966 w 151317"/>
                <a:gd name="connsiteY3" fmla="*/ 83077 h 139450"/>
                <a:gd name="connsiteX4" fmla="*/ 0 w 151317"/>
                <a:gd name="connsiteY4" fmla="*/ 80110 h 139450"/>
                <a:gd name="connsiteX5" fmla="*/ 0 w 151317"/>
                <a:gd name="connsiteY5" fmla="*/ 74176 h 139450"/>
                <a:gd name="connsiteX6" fmla="*/ 26702 w 151317"/>
                <a:gd name="connsiteY6" fmla="*/ 5934 h 139450"/>
                <a:gd name="connsiteX7" fmla="*/ 32637 w 151317"/>
                <a:gd name="connsiteY7" fmla="*/ 0 h 139450"/>
                <a:gd name="connsiteX8" fmla="*/ 32637 w 151317"/>
                <a:gd name="connsiteY8" fmla="*/ 0 h 139450"/>
                <a:gd name="connsiteX9" fmla="*/ 38571 w 151317"/>
                <a:gd name="connsiteY9" fmla="*/ 5934 h 139450"/>
                <a:gd name="connsiteX10" fmla="*/ 14835 w 151317"/>
                <a:gd name="connsiteY10" fmla="*/ 74176 h 139450"/>
                <a:gd name="connsiteX11" fmla="*/ 53406 w 151317"/>
                <a:gd name="connsiteY11" fmla="*/ 94945 h 139450"/>
                <a:gd name="connsiteX12" fmla="*/ 145384 w 151317"/>
                <a:gd name="connsiteY12" fmla="*/ 124615 h 139450"/>
                <a:gd name="connsiteX13" fmla="*/ 151318 w 151317"/>
                <a:gd name="connsiteY13" fmla="*/ 130549 h 139450"/>
                <a:gd name="connsiteX14" fmla="*/ 142417 w 151317"/>
                <a:gd name="connsiteY14" fmla="*/ 139451 h 13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1317" h="139450">
                  <a:moveTo>
                    <a:pt x="142417" y="139451"/>
                  </a:moveTo>
                  <a:cubicBezTo>
                    <a:pt x="142417" y="139451"/>
                    <a:pt x="142417" y="139451"/>
                    <a:pt x="142417" y="139451"/>
                  </a:cubicBezTo>
                  <a:cubicBezTo>
                    <a:pt x="112747" y="136484"/>
                    <a:pt x="80108" y="124615"/>
                    <a:pt x="47472" y="106813"/>
                  </a:cubicBezTo>
                  <a:cubicBezTo>
                    <a:pt x="20768" y="94945"/>
                    <a:pt x="2966" y="83077"/>
                    <a:pt x="2966" y="83077"/>
                  </a:cubicBezTo>
                  <a:cubicBezTo>
                    <a:pt x="2966" y="83077"/>
                    <a:pt x="0" y="80110"/>
                    <a:pt x="0" y="80110"/>
                  </a:cubicBezTo>
                  <a:cubicBezTo>
                    <a:pt x="0" y="77143"/>
                    <a:pt x="0" y="77143"/>
                    <a:pt x="0" y="74176"/>
                  </a:cubicBezTo>
                  <a:cubicBezTo>
                    <a:pt x="5933" y="68242"/>
                    <a:pt x="23736" y="29670"/>
                    <a:pt x="26702" y="5934"/>
                  </a:cubicBezTo>
                  <a:cubicBezTo>
                    <a:pt x="26702" y="2967"/>
                    <a:pt x="29670" y="0"/>
                    <a:pt x="32637" y="0"/>
                  </a:cubicBezTo>
                  <a:cubicBezTo>
                    <a:pt x="32637" y="0"/>
                    <a:pt x="32637" y="0"/>
                    <a:pt x="32637" y="0"/>
                  </a:cubicBezTo>
                  <a:cubicBezTo>
                    <a:pt x="35603" y="0"/>
                    <a:pt x="38571" y="2967"/>
                    <a:pt x="38571" y="5934"/>
                  </a:cubicBezTo>
                  <a:cubicBezTo>
                    <a:pt x="38571" y="29670"/>
                    <a:pt x="23736" y="62308"/>
                    <a:pt x="14835" y="74176"/>
                  </a:cubicBezTo>
                  <a:cubicBezTo>
                    <a:pt x="20768" y="77143"/>
                    <a:pt x="35603" y="86044"/>
                    <a:pt x="53406" y="94945"/>
                  </a:cubicBezTo>
                  <a:cubicBezTo>
                    <a:pt x="77142" y="106813"/>
                    <a:pt x="112747" y="121648"/>
                    <a:pt x="145384" y="124615"/>
                  </a:cubicBezTo>
                  <a:cubicBezTo>
                    <a:pt x="148352" y="124615"/>
                    <a:pt x="151318" y="127582"/>
                    <a:pt x="151318" y="130549"/>
                  </a:cubicBezTo>
                  <a:cubicBezTo>
                    <a:pt x="148352" y="139451"/>
                    <a:pt x="145384" y="139451"/>
                    <a:pt x="142417" y="139451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01CD847B-32E7-4101-86D8-64D2AFF9DAF8}"/>
                </a:ext>
              </a:extLst>
            </p:cNvPr>
            <p:cNvSpPr/>
            <p:nvPr/>
          </p:nvSpPr>
          <p:spPr>
            <a:xfrm>
              <a:off x="23423294" y="3261285"/>
              <a:ext cx="217081" cy="78371"/>
            </a:xfrm>
            <a:custGeom>
              <a:avLst/>
              <a:gdLst>
                <a:gd name="connsiteX0" fmla="*/ 70467 w 217081"/>
                <a:gd name="connsiteY0" fmla="*/ 78372 h 78371"/>
                <a:gd name="connsiteX1" fmla="*/ 2226 w 217081"/>
                <a:gd name="connsiteY1" fmla="*/ 51669 h 78371"/>
                <a:gd name="connsiteX2" fmla="*/ 2226 w 217081"/>
                <a:gd name="connsiteY2" fmla="*/ 42767 h 78371"/>
                <a:gd name="connsiteX3" fmla="*/ 11127 w 217081"/>
                <a:gd name="connsiteY3" fmla="*/ 42767 h 78371"/>
                <a:gd name="connsiteX4" fmla="*/ 79368 w 217081"/>
                <a:gd name="connsiteY4" fmla="*/ 66504 h 78371"/>
                <a:gd name="connsiteX5" fmla="*/ 206950 w 217081"/>
                <a:gd name="connsiteY5" fmla="*/ 1229 h 78371"/>
                <a:gd name="connsiteX6" fmla="*/ 215853 w 217081"/>
                <a:gd name="connsiteY6" fmla="*/ 4196 h 78371"/>
                <a:gd name="connsiteX7" fmla="*/ 212885 w 217081"/>
                <a:gd name="connsiteY7" fmla="*/ 13097 h 78371"/>
                <a:gd name="connsiteX8" fmla="*/ 79368 w 217081"/>
                <a:gd name="connsiteY8" fmla="*/ 78372 h 78371"/>
                <a:gd name="connsiteX9" fmla="*/ 70467 w 217081"/>
                <a:gd name="connsiteY9" fmla="*/ 78372 h 78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081" h="78371">
                  <a:moveTo>
                    <a:pt x="70467" y="78372"/>
                  </a:moveTo>
                  <a:cubicBezTo>
                    <a:pt x="31896" y="78372"/>
                    <a:pt x="5192" y="51669"/>
                    <a:pt x="2226" y="51669"/>
                  </a:cubicBezTo>
                  <a:cubicBezTo>
                    <a:pt x="-742" y="48702"/>
                    <a:pt x="-742" y="45734"/>
                    <a:pt x="2226" y="42767"/>
                  </a:cubicBezTo>
                  <a:cubicBezTo>
                    <a:pt x="5192" y="39800"/>
                    <a:pt x="8161" y="39800"/>
                    <a:pt x="11127" y="42767"/>
                  </a:cubicBezTo>
                  <a:cubicBezTo>
                    <a:pt x="11127" y="42767"/>
                    <a:pt x="43763" y="72438"/>
                    <a:pt x="79368" y="66504"/>
                  </a:cubicBezTo>
                  <a:cubicBezTo>
                    <a:pt x="117939" y="60570"/>
                    <a:pt x="206950" y="1229"/>
                    <a:pt x="206950" y="1229"/>
                  </a:cubicBezTo>
                  <a:cubicBezTo>
                    <a:pt x="209918" y="-1738"/>
                    <a:pt x="212885" y="1229"/>
                    <a:pt x="215853" y="4196"/>
                  </a:cubicBezTo>
                  <a:cubicBezTo>
                    <a:pt x="218819" y="7163"/>
                    <a:pt x="215853" y="10130"/>
                    <a:pt x="212885" y="13097"/>
                  </a:cubicBezTo>
                  <a:cubicBezTo>
                    <a:pt x="209918" y="16064"/>
                    <a:pt x="120907" y="75405"/>
                    <a:pt x="79368" y="78372"/>
                  </a:cubicBezTo>
                  <a:cubicBezTo>
                    <a:pt x="76402" y="78372"/>
                    <a:pt x="73434" y="78372"/>
                    <a:pt x="70467" y="78372"/>
                  </a:cubicBezTo>
                  <a:close/>
                </a:path>
              </a:pathLst>
            </a:custGeom>
            <a:solidFill>
              <a:srgbClr val="E58777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9765FC7F-2F2A-4EE7-A91A-CC12111AFB9C}"/>
                </a:ext>
              </a:extLst>
            </p:cNvPr>
            <p:cNvSpPr/>
            <p:nvPr/>
          </p:nvSpPr>
          <p:spPr>
            <a:xfrm>
              <a:off x="23697167" y="3029641"/>
              <a:ext cx="76821" cy="110991"/>
            </a:xfrm>
            <a:custGeom>
              <a:avLst/>
              <a:gdLst>
                <a:gd name="connsiteX0" fmla="*/ 13187 w 76821"/>
                <a:gd name="connsiteY0" fmla="*/ 16280 h 110991"/>
                <a:gd name="connsiteX1" fmla="*/ 69561 w 76821"/>
                <a:gd name="connsiteY1" fmla="*/ 7379 h 110991"/>
                <a:gd name="connsiteX2" fmla="*/ 13187 w 76821"/>
                <a:gd name="connsiteY2" fmla="*/ 108258 h 110991"/>
                <a:gd name="connsiteX3" fmla="*/ 13187 w 76821"/>
                <a:gd name="connsiteY3" fmla="*/ 16280 h 11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821" h="110991">
                  <a:moveTo>
                    <a:pt x="13187" y="16280"/>
                  </a:moveTo>
                  <a:cubicBezTo>
                    <a:pt x="13187" y="16280"/>
                    <a:pt x="45825" y="-13390"/>
                    <a:pt x="69561" y="7379"/>
                  </a:cubicBezTo>
                  <a:cubicBezTo>
                    <a:pt x="93297" y="25181"/>
                    <a:pt x="54726" y="129027"/>
                    <a:pt x="13187" y="108258"/>
                  </a:cubicBezTo>
                  <a:cubicBezTo>
                    <a:pt x="-16484" y="90456"/>
                    <a:pt x="13187" y="16280"/>
                    <a:pt x="13187" y="16280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750F30EC-52EE-4E7D-8C1B-F58E5C3DE0A3}"/>
                </a:ext>
              </a:extLst>
            </p:cNvPr>
            <p:cNvSpPr/>
            <p:nvPr/>
          </p:nvSpPr>
          <p:spPr>
            <a:xfrm>
              <a:off x="23300904" y="2867899"/>
              <a:ext cx="246263" cy="154285"/>
            </a:xfrm>
            <a:custGeom>
              <a:avLst/>
              <a:gdLst>
                <a:gd name="connsiteX0" fmla="*/ 5934 w 246263"/>
                <a:gd name="connsiteY0" fmla="*/ 154286 h 154285"/>
                <a:gd name="connsiteX1" fmla="*/ 5934 w 246263"/>
                <a:gd name="connsiteY1" fmla="*/ 154286 h 154285"/>
                <a:gd name="connsiteX2" fmla="*/ 0 w 246263"/>
                <a:gd name="connsiteY2" fmla="*/ 148352 h 154285"/>
                <a:gd name="connsiteX3" fmla="*/ 106812 w 246263"/>
                <a:gd name="connsiteY3" fmla="*/ 44505 h 154285"/>
                <a:gd name="connsiteX4" fmla="*/ 237363 w 246263"/>
                <a:gd name="connsiteY4" fmla="*/ 0 h 154285"/>
                <a:gd name="connsiteX5" fmla="*/ 246263 w 246263"/>
                <a:gd name="connsiteY5" fmla="*/ 2967 h 154285"/>
                <a:gd name="connsiteX6" fmla="*/ 243297 w 246263"/>
                <a:gd name="connsiteY6" fmla="*/ 11868 h 154285"/>
                <a:gd name="connsiteX7" fmla="*/ 112747 w 246263"/>
                <a:gd name="connsiteY7" fmla="*/ 56374 h 154285"/>
                <a:gd name="connsiteX8" fmla="*/ 14835 w 246263"/>
                <a:gd name="connsiteY8" fmla="*/ 151319 h 154285"/>
                <a:gd name="connsiteX9" fmla="*/ 5934 w 246263"/>
                <a:gd name="connsiteY9" fmla="*/ 154286 h 154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263" h="154285">
                  <a:moveTo>
                    <a:pt x="5934" y="154286"/>
                  </a:moveTo>
                  <a:cubicBezTo>
                    <a:pt x="5934" y="154286"/>
                    <a:pt x="5934" y="154286"/>
                    <a:pt x="5934" y="154286"/>
                  </a:cubicBezTo>
                  <a:cubicBezTo>
                    <a:pt x="2966" y="154286"/>
                    <a:pt x="0" y="151319"/>
                    <a:pt x="0" y="148352"/>
                  </a:cubicBezTo>
                  <a:cubicBezTo>
                    <a:pt x="11869" y="80110"/>
                    <a:pt x="59341" y="59341"/>
                    <a:pt x="106812" y="44505"/>
                  </a:cubicBezTo>
                  <a:cubicBezTo>
                    <a:pt x="172088" y="26703"/>
                    <a:pt x="234396" y="0"/>
                    <a:pt x="237363" y="0"/>
                  </a:cubicBezTo>
                  <a:cubicBezTo>
                    <a:pt x="240329" y="0"/>
                    <a:pt x="243297" y="0"/>
                    <a:pt x="246263" y="2967"/>
                  </a:cubicBezTo>
                  <a:cubicBezTo>
                    <a:pt x="246263" y="5934"/>
                    <a:pt x="246263" y="8901"/>
                    <a:pt x="243297" y="11868"/>
                  </a:cubicBezTo>
                  <a:cubicBezTo>
                    <a:pt x="243297" y="11868"/>
                    <a:pt x="178022" y="35604"/>
                    <a:pt x="112747" y="56374"/>
                  </a:cubicBezTo>
                  <a:cubicBezTo>
                    <a:pt x="59341" y="71209"/>
                    <a:pt x="23736" y="94945"/>
                    <a:pt x="14835" y="151319"/>
                  </a:cubicBezTo>
                  <a:cubicBezTo>
                    <a:pt x="11869" y="151319"/>
                    <a:pt x="8901" y="154286"/>
                    <a:pt x="5934" y="154286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1" name="图形 1">
              <a:extLst>
                <a:ext uri="{FF2B5EF4-FFF2-40B4-BE49-F238E27FC236}">
                  <a16:creationId xmlns:a16="http://schemas.microsoft.com/office/drawing/2014/main" id="{09DD5948-3BD3-4836-B307-DA34B0A74BFF}"/>
                </a:ext>
              </a:extLst>
            </p:cNvPr>
            <p:cNvGrpSpPr/>
            <p:nvPr/>
          </p:nvGrpSpPr>
          <p:grpSpPr>
            <a:xfrm>
              <a:off x="23369145" y="2375372"/>
              <a:ext cx="320439" cy="399591"/>
              <a:chOff x="23369145" y="2375372"/>
              <a:chExt cx="320439" cy="399591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8F37D7C9-38CB-49CF-B970-CFC9DE5EB23D}"/>
                  </a:ext>
                </a:extLst>
              </p:cNvPr>
              <p:cNvSpPr/>
              <p:nvPr/>
            </p:nvSpPr>
            <p:spPr>
              <a:xfrm>
                <a:off x="23369145" y="2375372"/>
                <a:ext cx="320439" cy="399591"/>
              </a:xfrm>
              <a:custGeom>
                <a:avLst/>
                <a:gdLst>
                  <a:gd name="connsiteX0" fmla="*/ 0 w 320439"/>
                  <a:gd name="connsiteY0" fmla="*/ 373846 h 399591"/>
                  <a:gd name="connsiteX1" fmla="*/ 154286 w 320439"/>
                  <a:gd name="connsiteY1" fmla="*/ 0 h 399591"/>
                  <a:gd name="connsiteX2" fmla="*/ 320439 w 320439"/>
                  <a:gd name="connsiteY2" fmla="*/ 353077 h 399591"/>
                  <a:gd name="connsiteX3" fmla="*/ 0 w 320439"/>
                  <a:gd name="connsiteY3" fmla="*/ 373846 h 399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0439" h="399591">
                    <a:moveTo>
                      <a:pt x="0" y="373846"/>
                    </a:moveTo>
                    <a:lnTo>
                      <a:pt x="154286" y="0"/>
                    </a:lnTo>
                    <a:lnTo>
                      <a:pt x="320439" y="353077"/>
                    </a:lnTo>
                    <a:cubicBezTo>
                      <a:pt x="320439" y="353077"/>
                      <a:pt x="216593" y="442088"/>
                      <a:pt x="0" y="373846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AD752CD1-B394-44A5-983C-E4E6427B74B7}"/>
                  </a:ext>
                </a:extLst>
              </p:cNvPr>
              <p:cNvSpPr/>
              <p:nvPr/>
            </p:nvSpPr>
            <p:spPr>
              <a:xfrm>
                <a:off x="23525596" y="2514042"/>
                <a:ext cx="28308" cy="30679"/>
              </a:xfrm>
              <a:custGeom>
                <a:avLst/>
                <a:gdLst>
                  <a:gd name="connsiteX0" fmla="*/ 18605 w 28308"/>
                  <a:gd name="connsiteY0" fmla="*/ 780 h 30679"/>
                  <a:gd name="connsiteX1" fmla="*/ 9705 w 28308"/>
                  <a:gd name="connsiteY1" fmla="*/ 30451 h 30679"/>
                  <a:gd name="connsiteX2" fmla="*/ 18605 w 28308"/>
                  <a:gd name="connsiteY2" fmla="*/ 780 h 30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308" h="30679">
                    <a:moveTo>
                      <a:pt x="18605" y="780"/>
                    </a:moveTo>
                    <a:cubicBezTo>
                      <a:pt x="802" y="-5154"/>
                      <a:pt x="-8099" y="24517"/>
                      <a:pt x="9705" y="30451"/>
                    </a:cubicBezTo>
                    <a:cubicBezTo>
                      <a:pt x="27506" y="33418"/>
                      <a:pt x="36407" y="6714"/>
                      <a:pt x="18605" y="78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0049E4BF-403B-435A-A2FA-525D70E48CEA}"/>
                  </a:ext>
                </a:extLst>
              </p:cNvPr>
              <p:cNvSpPr/>
              <p:nvPr/>
            </p:nvSpPr>
            <p:spPr>
              <a:xfrm>
                <a:off x="23484058" y="2576349"/>
                <a:ext cx="28308" cy="30658"/>
              </a:xfrm>
              <a:custGeom>
                <a:avLst/>
                <a:gdLst>
                  <a:gd name="connsiteX0" fmla="*/ 18604 w 28308"/>
                  <a:gd name="connsiteY0" fmla="*/ 780 h 30658"/>
                  <a:gd name="connsiteX1" fmla="*/ 9703 w 28308"/>
                  <a:gd name="connsiteY1" fmla="*/ 30451 h 30658"/>
                  <a:gd name="connsiteX2" fmla="*/ 18604 w 28308"/>
                  <a:gd name="connsiteY2" fmla="*/ 780 h 30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308" h="30658">
                    <a:moveTo>
                      <a:pt x="18604" y="780"/>
                    </a:moveTo>
                    <a:cubicBezTo>
                      <a:pt x="803" y="-5154"/>
                      <a:pt x="-8098" y="24517"/>
                      <a:pt x="9703" y="30451"/>
                    </a:cubicBezTo>
                    <a:cubicBezTo>
                      <a:pt x="27505" y="33418"/>
                      <a:pt x="36407" y="3747"/>
                      <a:pt x="18604" y="78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26922035-BB5B-438A-93FF-7C34AD5D559B}"/>
                  </a:ext>
                </a:extLst>
              </p:cNvPr>
              <p:cNvSpPr/>
              <p:nvPr/>
            </p:nvSpPr>
            <p:spPr>
              <a:xfrm>
                <a:off x="23573069" y="2629756"/>
                <a:ext cx="29145" cy="30679"/>
              </a:xfrm>
              <a:custGeom>
                <a:avLst/>
                <a:gdLst>
                  <a:gd name="connsiteX0" fmla="*/ 18604 w 29145"/>
                  <a:gd name="connsiteY0" fmla="*/ 780 h 30679"/>
                  <a:gd name="connsiteX1" fmla="*/ 9703 w 29145"/>
                  <a:gd name="connsiteY1" fmla="*/ 30451 h 30679"/>
                  <a:gd name="connsiteX2" fmla="*/ 18604 w 29145"/>
                  <a:gd name="connsiteY2" fmla="*/ 780 h 30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145" h="30679">
                    <a:moveTo>
                      <a:pt x="18604" y="780"/>
                    </a:moveTo>
                    <a:cubicBezTo>
                      <a:pt x="803" y="-5154"/>
                      <a:pt x="-8098" y="24517"/>
                      <a:pt x="9703" y="30451"/>
                    </a:cubicBezTo>
                    <a:cubicBezTo>
                      <a:pt x="30473" y="33418"/>
                      <a:pt x="36407" y="6714"/>
                      <a:pt x="18604" y="78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0BE333D7-9A17-4038-99E7-5C7F0BAA8CED}"/>
                  </a:ext>
                </a:extLst>
              </p:cNvPr>
              <p:cNvSpPr/>
              <p:nvPr/>
            </p:nvSpPr>
            <p:spPr>
              <a:xfrm>
                <a:off x="23454387" y="2659426"/>
                <a:ext cx="29145" cy="30658"/>
              </a:xfrm>
              <a:custGeom>
                <a:avLst/>
                <a:gdLst>
                  <a:gd name="connsiteX0" fmla="*/ 18604 w 29145"/>
                  <a:gd name="connsiteY0" fmla="*/ 780 h 30658"/>
                  <a:gd name="connsiteX1" fmla="*/ 9703 w 29145"/>
                  <a:gd name="connsiteY1" fmla="*/ 30451 h 30658"/>
                  <a:gd name="connsiteX2" fmla="*/ 18604 w 29145"/>
                  <a:gd name="connsiteY2" fmla="*/ 780 h 30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145" h="30658">
                    <a:moveTo>
                      <a:pt x="18604" y="780"/>
                    </a:moveTo>
                    <a:cubicBezTo>
                      <a:pt x="803" y="-5154"/>
                      <a:pt x="-8098" y="24517"/>
                      <a:pt x="9703" y="30451"/>
                    </a:cubicBezTo>
                    <a:cubicBezTo>
                      <a:pt x="30473" y="33418"/>
                      <a:pt x="36407" y="3747"/>
                      <a:pt x="18604" y="78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82A15CE5-ED46-4C54-8EE5-6B282D50752C}"/>
                  </a:ext>
                </a:extLst>
              </p:cNvPr>
              <p:cNvSpPr/>
              <p:nvPr/>
            </p:nvSpPr>
            <p:spPr>
              <a:xfrm>
                <a:off x="23525596" y="2709866"/>
                <a:ext cx="28308" cy="31230"/>
              </a:xfrm>
              <a:custGeom>
                <a:avLst/>
                <a:gdLst>
                  <a:gd name="connsiteX0" fmla="*/ 18605 w 28308"/>
                  <a:gd name="connsiteY0" fmla="*/ 780 h 31230"/>
                  <a:gd name="connsiteX1" fmla="*/ 9705 w 28308"/>
                  <a:gd name="connsiteY1" fmla="*/ 30451 h 31230"/>
                  <a:gd name="connsiteX2" fmla="*/ 18605 w 28308"/>
                  <a:gd name="connsiteY2" fmla="*/ 780 h 31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308" h="31230">
                    <a:moveTo>
                      <a:pt x="18605" y="780"/>
                    </a:moveTo>
                    <a:cubicBezTo>
                      <a:pt x="802" y="-5154"/>
                      <a:pt x="-8099" y="24517"/>
                      <a:pt x="9705" y="30451"/>
                    </a:cubicBezTo>
                    <a:cubicBezTo>
                      <a:pt x="27506" y="36385"/>
                      <a:pt x="36407" y="6714"/>
                      <a:pt x="18605" y="78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2" name="图形 1">
              <a:extLst>
                <a:ext uri="{FF2B5EF4-FFF2-40B4-BE49-F238E27FC236}">
                  <a16:creationId xmlns:a16="http://schemas.microsoft.com/office/drawing/2014/main" id="{8E007286-D231-4E3E-B6BA-B84030746A88}"/>
                </a:ext>
              </a:extLst>
            </p:cNvPr>
            <p:cNvGrpSpPr/>
            <p:nvPr/>
          </p:nvGrpSpPr>
          <p:grpSpPr>
            <a:xfrm>
              <a:off x="24173099" y="2225701"/>
              <a:ext cx="332419" cy="210419"/>
              <a:chOff x="24173099" y="2225701"/>
              <a:chExt cx="332419" cy="210419"/>
            </a:xfrm>
          </p:grpSpPr>
          <p:grpSp>
            <p:nvGrpSpPr>
              <p:cNvPr id="124" name="图形 1">
                <a:extLst>
                  <a:ext uri="{FF2B5EF4-FFF2-40B4-BE49-F238E27FC236}">
                    <a16:creationId xmlns:a16="http://schemas.microsoft.com/office/drawing/2014/main" id="{6DF2486D-3189-4E5D-8795-4E989361617D}"/>
                  </a:ext>
                </a:extLst>
              </p:cNvPr>
              <p:cNvGrpSpPr/>
              <p:nvPr/>
            </p:nvGrpSpPr>
            <p:grpSpPr>
              <a:xfrm>
                <a:off x="24173099" y="2225701"/>
                <a:ext cx="332419" cy="210419"/>
                <a:chOff x="24173099" y="2225701"/>
                <a:chExt cx="332419" cy="210419"/>
              </a:xfrm>
            </p:grpSpPr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326EB279-716D-4F7E-AFD2-0573E1524FA1}"/>
                    </a:ext>
                  </a:extLst>
                </p:cNvPr>
                <p:cNvSpPr/>
                <p:nvPr/>
              </p:nvSpPr>
              <p:spPr>
                <a:xfrm>
                  <a:off x="24173099" y="2226278"/>
                  <a:ext cx="326486" cy="209842"/>
                </a:xfrm>
                <a:custGeom>
                  <a:avLst/>
                  <a:gdLst>
                    <a:gd name="connsiteX0" fmla="*/ 279013 w 326486"/>
                    <a:gd name="connsiteY0" fmla="*/ 104588 h 209842"/>
                    <a:gd name="connsiteX1" fmla="*/ 264178 w 326486"/>
                    <a:gd name="connsiteY1" fmla="*/ 95687 h 209842"/>
                    <a:gd name="connsiteX2" fmla="*/ 258243 w 326486"/>
                    <a:gd name="connsiteY2" fmla="*/ 95687 h 209842"/>
                    <a:gd name="connsiteX3" fmla="*/ 281981 w 326486"/>
                    <a:gd name="connsiteY3" fmla="*/ 86786 h 209842"/>
                    <a:gd name="connsiteX4" fmla="*/ 320552 w 326486"/>
                    <a:gd name="connsiteY4" fmla="*/ 63049 h 209842"/>
                    <a:gd name="connsiteX5" fmla="*/ 314618 w 326486"/>
                    <a:gd name="connsiteY5" fmla="*/ 57115 h 209842"/>
                    <a:gd name="connsiteX6" fmla="*/ 311652 w 326486"/>
                    <a:gd name="connsiteY6" fmla="*/ 57115 h 209842"/>
                    <a:gd name="connsiteX7" fmla="*/ 326487 w 326486"/>
                    <a:gd name="connsiteY7" fmla="*/ 36346 h 209842"/>
                    <a:gd name="connsiteX8" fmla="*/ 308683 w 326486"/>
                    <a:gd name="connsiteY8" fmla="*/ 24478 h 209842"/>
                    <a:gd name="connsiteX9" fmla="*/ 258243 w 326486"/>
                    <a:gd name="connsiteY9" fmla="*/ 39313 h 209842"/>
                    <a:gd name="connsiteX10" fmla="*/ 187036 w 326486"/>
                    <a:gd name="connsiteY10" fmla="*/ 63049 h 209842"/>
                    <a:gd name="connsiteX11" fmla="*/ 234508 w 326486"/>
                    <a:gd name="connsiteY11" fmla="*/ 33379 h 209842"/>
                    <a:gd name="connsiteX12" fmla="*/ 270112 w 326486"/>
                    <a:gd name="connsiteY12" fmla="*/ 9643 h 209842"/>
                    <a:gd name="connsiteX13" fmla="*/ 240442 w 326486"/>
                    <a:gd name="connsiteY13" fmla="*/ 3709 h 209842"/>
                    <a:gd name="connsiteX14" fmla="*/ 83190 w 326486"/>
                    <a:gd name="connsiteY14" fmla="*/ 86786 h 209842"/>
                    <a:gd name="connsiteX15" fmla="*/ 95057 w 326486"/>
                    <a:gd name="connsiteY15" fmla="*/ 21511 h 209842"/>
                    <a:gd name="connsiteX16" fmla="*/ 65386 w 326486"/>
                    <a:gd name="connsiteY16" fmla="*/ 6676 h 209842"/>
                    <a:gd name="connsiteX17" fmla="*/ 113 w 326486"/>
                    <a:gd name="connsiteY17" fmla="*/ 149093 h 209842"/>
                    <a:gd name="connsiteX18" fmla="*/ 62420 w 326486"/>
                    <a:gd name="connsiteY18" fmla="*/ 208434 h 209842"/>
                    <a:gd name="connsiteX19" fmla="*/ 181101 w 326486"/>
                    <a:gd name="connsiteY19" fmla="*/ 166896 h 209842"/>
                    <a:gd name="connsiteX20" fmla="*/ 279013 w 326486"/>
                    <a:gd name="connsiteY20" fmla="*/ 104588 h 209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26486" h="209842">
                      <a:moveTo>
                        <a:pt x="279013" y="104588"/>
                      </a:moveTo>
                      <a:cubicBezTo>
                        <a:pt x="279013" y="98654"/>
                        <a:pt x="273079" y="95687"/>
                        <a:pt x="264178" y="95687"/>
                      </a:cubicBezTo>
                      <a:cubicBezTo>
                        <a:pt x="261212" y="95687"/>
                        <a:pt x="261212" y="95687"/>
                        <a:pt x="258243" y="95687"/>
                      </a:cubicBezTo>
                      <a:cubicBezTo>
                        <a:pt x="267146" y="92720"/>
                        <a:pt x="273079" y="89753"/>
                        <a:pt x="281981" y="86786"/>
                      </a:cubicBezTo>
                      <a:cubicBezTo>
                        <a:pt x="296816" y="80852"/>
                        <a:pt x="314618" y="74918"/>
                        <a:pt x="320552" y="63049"/>
                      </a:cubicBezTo>
                      <a:cubicBezTo>
                        <a:pt x="320552" y="63049"/>
                        <a:pt x="314618" y="57115"/>
                        <a:pt x="314618" y="57115"/>
                      </a:cubicBezTo>
                      <a:cubicBezTo>
                        <a:pt x="314618" y="57115"/>
                        <a:pt x="314618" y="57115"/>
                        <a:pt x="311652" y="57115"/>
                      </a:cubicBezTo>
                      <a:cubicBezTo>
                        <a:pt x="320552" y="51181"/>
                        <a:pt x="326487" y="42280"/>
                        <a:pt x="326487" y="36346"/>
                      </a:cubicBezTo>
                      <a:cubicBezTo>
                        <a:pt x="326487" y="27445"/>
                        <a:pt x="317584" y="24478"/>
                        <a:pt x="308683" y="24478"/>
                      </a:cubicBezTo>
                      <a:cubicBezTo>
                        <a:pt x="290882" y="24478"/>
                        <a:pt x="273079" y="33379"/>
                        <a:pt x="258243" y="39313"/>
                      </a:cubicBezTo>
                      <a:cubicBezTo>
                        <a:pt x="234508" y="48214"/>
                        <a:pt x="210772" y="54148"/>
                        <a:pt x="187036" y="63049"/>
                      </a:cubicBezTo>
                      <a:cubicBezTo>
                        <a:pt x="201871" y="54148"/>
                        <a:pt x="219672" y="42280"/>
                        <a:pt x="234508" y="33379"/>
                      </a:cubicBezTo>
                      <a:cubicBezTo>
                        <a:pt x="243408" y="27445"/>
                        <a:pt x="264178" y="18544"/>
                        <a:pt x="270112" y="9643"/>
                      </a:cubicBezTo>
                      <a:cubicBezTo>
                        <a:pt x="279013" y="-5192"/>
                        <a:pt x="252311" y="742"/>
                        <a:pt x="240442" y="3709"/>
                      </a:cubicBezTo>
                      <a:cubicBezTo>
                        <a:pt x="181101" y="18544"/>
                        <a:pt x="139562" y="60082"/>
                        <a:pt x="83190" y="86786"/>
                      </a:cubicBezTo>
                      <a:cubicBezTo>
                        <a:pt x="89124" y="68984"/>
                        <a:pt x="95057" y="45247"/>
                        <a:pt x="95057" y="21511"/>
                      </a:cubicBezTo>
                      <a:cubicBezTo>
                        <a:pt x="95057" y="742"/>
                        <a:pt x="68354" y="-5192"/>
                        <a:pt x="65386" y="6676"/>
                      </a:cubicBezTo>
                      <a:cubicBezTo>
                        <a:pt x="53519" y="66016"/>
                        <a:pt x="-2855" y="110522"/>
                        <a:pt x="113" y="149093"/>
                      </a:cubicBezTo>
                      <a:cubicBezTo>
                        <a:pt x="3079" y="175797"/>
                        <a:pt x="35716" y="202500"/>
                        <a:pt x="62420" y="208434"/>
                      </a:cubicBezTo>
                      <a:cubicBezTo>
                        <a:pt x="103959" y="217335"/>
                        <a:pt x="145497" y="181731"/>
                        <a:pt x="181101" y="166896"/>
                      </a:cubicBezTo>
                      <a:cubicBezTo>
                        <a:pt x="207805" y="152060"/>
                        <a:pt x="281981" y="119423"/>
                        <a:pt x="279013" y="104588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40AD7655-828B-4168-9623-561A202E6592}"/>
                    </a:ext>
                  </a:extLst>
                </p:cNvPr>
                <p:cNvSpPr/>
                <p:nvPr/>
              </p:nvSpPr>
              <p:spPr>
                <a:xfrm>
                  <a:off x="24240224" y="2316031"/>
                  <a:ext cx="32776" cy="56373"/>
                </a:xfrm>
                <a:custGeom>
                  <a:avLst/>
                  <a:gdLst>
                    <a:gd name="connsiteX0" fmla="*/ 7164 w 32776"/>
                    <a:gd name="connsiteY0" fmla="*/ 56374 h 56373"/>
                    <a:gd name="connsiteX1" fmla="*/ 1229 w 32776"/>
                    <a:gd name="connsiteY1" fmla="*/ 53407 h 56373"/>
                    <a:gd name="connsiteX2" fmla="*/ 4196 w 32776"/>
                    <a:gd name="connsiteY2" fmla="*/ 44505 h 56373"/>
                    <a:gd name="connsiteX3" fmla="*/ 19031 w 32776"/>
                    <a:gd name="connsiteY3" fmla="*/ 8901 h 56373"/>
                    <a:gd name="connsiteX4" fmla="*/ 21999 w 32776"/>
                    <a:gd name="connsiteY4" fmla="*/ 0 h 56373"/>
                    <a:gd name="connsiteX5" fmla="*/ 30900 w 32776"/>
                    <a:gd name="connsiteY5" fmla="*/ 2967 h 56373"/>
                    <a:gd name="connsiteX6" fmla="*/ 10130 w 32776"/>
                    <a:gd name="connsiteY6" fmla="*/ 50440 h 56373"/>
                    <a:gd name="connsiteX7" fmla="*/ 7164 w 32776"/>
                    <a:gd name="connsiteY7" fmla="*/ 56374 h 56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776" h="56373">
                      <a:moveTo>
                        <a:pt x="7164" y="56374"/>
                      </a:moveTo>
                      <a:cubicBezTo>
                        <a:pt x="4196" y="56374"/>
                        <a:pt x="4196" y="56374"/>
                        <a:pt x="1229" y="53407"/>
                      </a:cubicBezTo>
                      <a:cubicBezTo>
                        <a:pt x="-1739" y="50440"/>
                        <a:pt x="1229" y="47472"/>
                        <a:pt x="4196" y="44505"/>
                      </a:cubicBezTo>
                      <a:cubicBezTo>
                        <a:pt x="27932" y="29670"/>
                        <a:pt x="19031" y="11868"/>
                        <a:pt x="19031" y="8901"/>
                      </a:cubicBezTo>
                      <a:cubicBezTo>
                        <a:pt x="19031" y="5934"/>
                        <a:pt x="19031" y="2967"/>
                        <a:pt x="21999" y="0"/>
                      </a:cubicBezTo>
                      <a:cubicBezTo>
                        <a:pt x="24965" y="0"/>
                        <a:pt x="27932" y="0"/>
                        <a:pt x="30900" y="2967"/>
                      </a:cubicBezTo>
                      <a:cubicBezTo>
                        <a:pt x="33866" y="11868"/>
                        <a:pt x="36834" y="35604"/>
                        <a:pt x="10130" y="50440"/>
                      </a:cubicBezTo>
                      <a:cubicBezTo>
                        <a:pt x="10130" y="56374"/>
                        <a:pt x="10130" y="56374"/>
                        <a:pt x="7164" y="56374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B5B27717-F3C7-48A3-B61F-98CC66C0E679}"/>
                    </a:ext>
                  </a:extLst>
                </p:cNvPr>
                <p:cNvSpPr/>
                <p:nvPr/>
              </p:nvSpPr>
              <p:spPr>
                <a:xfrm>
                  <a:off x="24351234" y="2225701"/>
                  <a:ext cx="154284" cy="66593"/>
                </a:xfrm>
                <a:custGeom>
                  <a:avLst/>
                  <a:gdLst>
                    <a:gd name="connsiteX0" fmla="*/ 5933 w 154284"/>
                    <a:gd name="connsiteY0" fmla="*/ 66593 h 66593"/>
                    <a:gd name="connsiteX1" fmla="*/ 0 w 154284"/>
                    <a:gd name="connsiteY1" fmla="*/ 63626 h 66593"/>
                    <a:gd name="connsiteX2" fmla="*/ 2966 w 154284"/>
                    <a:gd name="connsiteY2" fmla="*/ 54725 h 66593"/>
                    <a:gd name="connsiteX3" fmla="*/ 86043 w 154284"/>
                    <a:gd name="connsiteY3" fmla="*/ 1319 h 66593"/>
                    <a:gd name="connsiteX4" fmla="*/ 94944 w 154284"/>
                    <a:gd name="connsiteY4" fmla="*/ 1319 h 66593"/>
                    <a:gd name="connsiteX5" fmla="*/ 94944 w 154284"/>
                    <a:gd name="connsiteY5" fmla="*/ 10220 h 66593"/>
                    <a:gd name="connsiteX6" fmla="*/ 59341 w 154284"/>
                    <a:gd name="connsiteY6" fmla="*/ 33956 h 66593"/>
                    <a:gd name="connsiteX7" fmla="*/ 142417 w 154284"/>
                    <a:gd name="connsiteY7" fmla="*/ 16154 h 66593"/>
                    <a:gd name="connsiteX8" fmla="*/ 154284 w 154284"/>
                    <a:gd name="connsiteY8" fmla="*/ 33956 h 66593"/>
                    <a:gd name="connsiteX9" fmla="*/ 136483 w 154284"/>
                    <a:gd name="connsiteY9" fmla="*/ 57692 h 66593"/>
                    <a:gd name="connsiteX10" fmla="*/ 127582 w 154284"/>
                    <a:gd name="connsiteY10" fmla="*/ 54725 h 66593"/>
                    <a:gd name="connsiteX11" fmla="*/ 130548 w 154284"/>
                    <a:gd name="connsiteY11" fmla="*/ 45824 h 66593"/>
                    <a:gd name="connsiteX12" fmla="*/ 142417 w 154284"/>
                    <a:gd name="connsiteY12" fmla="*/ 33956 h 66593"/>
                    <a:gd name="connsiteX13" fmla="*/ 136483 w 154284"/>
                    <a:gd name="connsiteY13" fmla="*/ 28022 h 66593"/>
                    <a:gd name="connsiteX14" fmla="*/ 5933 w 154284"/>
                    <a:gd name="connsiteY14" fmla="*/ 66593 h 66593"/>
                    <a:gd name="connsiteX15" fmla="*/ 5933 w 154284"/>
                    <a:gd name="connsiteY15" fmla="*/ 66593 h 665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54284" h="66593">
                      <a:moveTo>
                        <a:pt x="5933" y="66593"/>
                      </a:moveTo>
                      <a:cubicBezTo>
                        <a:pt x="2966" y="66593"/>
                        <a:pt x="2966" y="66593"/>
                        <a:pt x="0" y="63626"/>
                      </a:cubicBezTo>
                      <a:cubicBezTo>
                        <a:pt x="0" y="60659"/>
                        <a:pt x="0" y="57692"/>
                        <a:pt x="2966" y="54725"/>
                      </a:cubicBezTo>
                      <a:cubicBezTo>
                        <a:pt x="35603" y="36923"/>
                        <a:pt x="83077" y="1319"/>
                        <a:pt x="86043" y="1319"/>
                      </a:cubicBezTo>
                      <a:cubicBezTo>
                        <a:pt x="89011" y="-1648"/>
                        <a:pt x="91977" y="1319"/>
                        <a:pt x="94944" y="1319"/>
                      </a:cubicBezTo>
                      <a:cubicBezTo>
                        <a:pt x="97912" y="4286"/>
                        <a:pt x="94944" y="7253"/>
                        <a:pt x="94944" y="10220"/>
                      </a:cubicBezTo>
                      <a:cubicBezTo>
                        <a:pt x="94944" y="10220"/>
                        <a:pt x="77142" y="22088"/>
                        <a:pt x="59341" y="33956"/>
                      </a:cubicBezTo>
                      <a:cubicBezTo>
                        <a:pt x="94944" y="22088"/>
                        <a:pt x="133516" y="10220"/>
                        <a:pt x="142417" y="16154"/>
                      </a:cubicBezTo>
                      <a:cubicBezTo>
                        <a:pt x="154284" y="22088"/>
                        <a:pt x="154284" y="28022"/>
                        <a:pt x="154284" y="33956"/>
                      </a:cubicBezTo>
                      <a:cubicBezTo>
                        <a:pt x="154284" y="42857"/>
                        <a:pt x="148352" y="51758"/>
                        <a:pt x="136483" y="57692"/>
                      </a:cubicBezTo>
                      <a:cubicBezTo>
                        <a:pt x="133516" y="60659"/>
                        <a:pt x="130548" y="57692"/>
                        <a:pt x="127582" y="54725"/>
                      </a:cubicBezTo>
                      <a:cubicBezTo>
                        <a:pt x="124614" y="51758"/>
                        <a:pt x="127582" y="48791"/>
                        <a:pt x="130548" y="45824"/>
                      </a:cubicBezTo>
                      <a:cubicBezTo>
                        <a:pt x="136483" y="42857"/>
                        <a:pt x="142417" y="36923"/>
                        <a:pt x="142417" y="33956"/>
                      </a:cubicBezTo>
                      <a:cubicBezTo>
                        <a:pt x="142417" y="30989"/>
                        <a:pt x="139449" y="28022"/>
                        <a:pt x="136483" y="28022"/>
                      </a:cubicBezTo>
                      <a:cubicBezTo>
                        <a:pt x="124614" y="25055"/>
                        <a:pt x="62307" y="45824"/>
                        <a:pt x="5933" y="66593"/>
                      </a:cubicBezTo>
                      <a:cubicBezTo>
                        <a:pt x="8901" y="66593"/>
                        <a:pt x="5933" y="66593"/>
                        <a:pt x="5933" y="66593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536AE34E-1ACF-4392-94E3-301B9B741789}"/>
                  </a:ext>
                </a:extLst>
              </p:cNvPr>
              <p:cNvSpPr/>
              <p:nvPr/>
            </p:nvSpPr>
            <p:spPr>
              <a:xfrm>
                <a:off x="24342332" y="2316773"/>
                <a:ext cx="110236" cy="70467"/>
              </a:xfrm>
              <a:custGeom>
                <a:avLst/>
                <a:gdLst>
                  <a:gd name="connsiteX0" fmla="*/ 29670 w 110236"/>
                  <a:gd name="connsiteY0" fmla="*/ 70467 h 70467"/>
                  <a:gd name="connsiteX1" fmla="*/ 23738 w 110236"/>
                  <a:gd name="connsiteY1" fmla="*/ 67500 h 70467"/>
                  <a:gd name="connsiteX2" fmla="*/ 26704 w 110236"/>
                  <a:gd name="connsiteY2" fmla="*/ 58599 h 70467"/>
                  <a:gd name="connsiteX3" fmla="*/ 103846 w 110236"/>
                  <a:gd name="connsiteY3" fmla="*/ 14093 h 70467"/>
                  <a:gd name="connsiteX4" fmla="*/ 100880 w 110236"/>
                  <a:gd name="connsiteY4" fmla="*/ 11126 h 70467"/>
                  <a:gd name="connsiteX5" fmla="*/ 83078 w 110236"/>
                  <a:gd name="connsiteY5" fmla="*/ 11126 h 70467"/>
                  <a:gd name="connsiteX6" fmla="*/ 50440 w 110236"/>
                  <a:gd name="connsiteY6" fmla="*/ 25962 h 70467"/>
                  <a:gd name="connsiteX7" fmla="*/ 5934 w 110236"/>
                  <a:gd name="connsiteY7" fmla="*/ 43764 h 70467"/>
                  <a:gd name="connsiteX8" fmla="*/ 0 w 110236"/>
                  <a:gd name="connsiteY8" fmla="*/ 40797 h 70467"/>
                  <a:gd name="connsiteX9" fmla="*/ 2968 w 110236"/>
                  <a:gd name="connsiteY9" fmla="*/ 34863 h 70467"/>
                  <a:gd name="connsiteX10" fmla="*/ 44505 w 110236"/>
                  <a:gd name="connsiteY10" fmla="*/ 17060 h 70467"/>
                  <a:gd name="connsiteX11" fmla="*/ 77144 w 110236"/>
                  <a:gd name="connsiteY11" fmla="*/ 2225 h 70467"/>
                  <a:gd name="connsiteX12" fmla="*/ 103846 w 110236"/>
                  <a:gd name="connsiteY12" fmla="*/ 2225 h 70467"/>
                  <a:gd name="connsiteX13" fmla="*/ 109781 w 110236"/>
                  <a:gd name="connsiteY13" fmla="*/ 14093 h 70467"/>
                  <a:gd name="connsiteX14" fmla="*/ 29670 w 110236"/>
                  <a:gd name="connsiteY14" fmla="*/ 70467 h 70467"/>
                  <a:gd name="connsiteX15" fmla="*/ 29670 w 110236"/>
                  <a:gd name="connsiteY15" fmla="*/ 70467 h 70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0236" h="70467">
                    <a:moveTo>
                      <a:pt x="29670" y="70467"/>
                    </a:moveTo>
                    <a:cubicBezTo>
                      <a:pt x="26704" y="70467"/>
                      <a:pt x="26704" y="70467"/>
                      <a:pt x="23738" y="67500"/>
                    </a:cubicBezTo>
                    <a:cubicBezTo>
                      <a:pt x="23738" y="64533"/>
                      <a:pt x="23738" y="61566"/>
                      <a:pt x="26704" y="58599"/>
                    </a:cubicBezTo>
                    <a:cubicBezTo>
                      <a:pt x="68243" y="40797"/>
                      <a:pt x="100880" y="20027"/>
                      <a:pt x="103846" y="14093"/>
                    </a:cubicBezTo>
                    <a:cubicBezTo>
                      <a:pt x="103846" y="11126"/>
                      <a:pt x="103846" y="11126"/>
                      <a:pt x="100880" y="11126"/>
                    </a:cubicBezTo>
                    <a:cubicBezTo>
                      <a:pt x="100880" y="11126"/>
                      <a:pt x="94945" y="8159"/>
                      <a:pt x="83078" y="11126"/>
                    </a:cubicBezTo>
                    <a:cubicBezTo>
                      <a:pt x="77144" y="14093"/>
                      <a:pt x="65275" y="20027"/>
                      <a:pt x="50440" y="25962"/>
                    </a:cubicBezTo>
                    <a:cubicBezTo>
                      <a:pt x="32638" y="34863"/>
                      <a:pt x="14835" y="40797"/>
                      <a:pt x="5934" y="43764"/>
                    </a:cubicBezTo>
                    <a:cubicBezTo>
                      <a:pt x="2968" y="43764"/>
                      <a:pt x="0" y="43764"/>
                      <a:pt x="0" y="40797"/>
                    </a:cubicBezTo>
                    <a:cubicBezTo>
                      <a:pt x="0" y="37830"/>
                      <a:pt x="0" y="34863"/>
                      <a:pt x="2968" y="34863"/>
                    </a:cubicBezTo>
                    <a:cubicBezTo>
                      <a:pt x="8903" y="31896"/>
                      <a:pt x="29670" y="25962"/>
                      <a:pt x="44505" y="17060"/>
                    </a:cubicBezTo>
                    <a:cubicBezTo>
                      <a:pt x="59341" y="11126"/>
                      <a:pt x="71210" y="5192"/>
                      <a:pt x="77144" y="2225"/>
                    </a:cubicBezTo>
                    <a:cubicBezTo>
                      <a:pt x="89011" y="-742"/>
                      <a:pt x="97914" y="-742"/>
                      <a:pt x="103846" y="2225"/>
                    </a:cubicBezTo>
                    <a:cubicBezTo>
                      <a:pt x="106814" y="5192"/>
                      <a:pt x="109781" y="8159"/>
                      <a:pt x="109781" y="14093"/>
                    </a:cubicBezTo>
                    <a:cubicBezTo>
                      <a:pt x="115715" y="31896"/>
                      <a:pt x="62309" y="55632"/>
                      <a:pt x="29670" y="70467"/>
                    </a:cubicBezTo>
                    <a:cubicBezTo>
                      <a:pt x="29670" y="70467"/>
                      <a:pt x="29670" y="70467"/>
                      <a:pt x="29670" y="7046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B7118E6D-12CA-4F32-8499-5EF44E154298}"/>
                  </a:ext>
                </a:extLst>
              </p:cNvPr>
              <p:cNvSpPr/>
              <p:nvPr/>
            </p:nvSpPr>
            <p:spPr>
              <a:xfrm>
                <a:off x="24345300" y="2273328"/>
                <a:ext cx="151317" cy="54570"/>
              </a:xfrm>
              <a:custGeom>
                <a:avLst/>
                <a:gdLst>
                  <a:gd name="connsiteX0" fmla="*/ 5934 w 151317"/>
                  <a:gd name="connsiteY0" fmla="*/ 54571 h 54570"/>
                  <a:gd name="connsiteX1" fmla="*/ 0 w 151317"/>
                  <a:gd name="connsiteY1" fmla="*/ 51604 h 54570"/>
                  <a:gd name="connsiteX2" fmla="*/ 2966 w 151317"/>
                  <a:gd name="connsiteY2" fmla="*/ 45669 h 54570"/>
                  <a:gd name="connsiteX3" fmla="*/ 53406 w 151317"/>
                  <a:gd name="connsiteY3" fmla="*/ 27867 h 54570"/>
                  <a:gd name="connsiteX4" fmla="*/ 62307 w 151317"/>
                  <a:gd name="connsiteY4" fmla="*/ 24900 h 54570"/>
                  <a:gd name="connsiteX5" fmla="*/ 118681 w 151317"/>
                  <a:gd name="connsiteY5" fmla="*/ 1164 h 54570"/>
                  <a:gd name="connsiteX6" fmla="*/ 148352 w 151317"/>
                  <a:gd name="connsiteY6" fmla="*/ 7098 h 54570"/>
                  <a:gd name="connsiteX7" fmla="*/ 151318 w 151317"/>
                  <a:gd name="connsiteY7" fmla="*/ 18966 h 54570"/>
                  <a:gd name="connsiteX8" fmla="*/ 94945 w 151317"/>
                  <a:gd name="connsiteY8" fmla="*/ 51604 h 54570"/>
                  <a:gd name="connsiteX9" fmla="*/ 86043 w 151317"/>
                  <a:gd name="connsiteY9" fmla="*/ 48637 h 54570"/>
                  <a:gd name="connsiteX10" fmla="*/ 89011 w 151317"/>
                  <a:gd name="connsiteY10" fmla="*/ 39735 h 54570"/>
                  <a:gd name="connsiteX11" fmla="*/ 136483 w 151317"/>
                  <a:gd name="connsiteY11" fmla="*/ 13032 h 54570"/>
                  <a:gd name="connsiteX12" fmla="*/ 136483 w 151317"/>
                  <a:gd name="connsiteY12" fmla="*/ 10065 h 54570"/>
                  <a:gd name="connsiteX13" fmla="*/ 115713 w 151317"/>
                  <a:gd name="connsiteY13" fmla="*/ 7098 h 54570"/>
                  <a:gd name="connsiteX14" fmla="*/ 62307 w 151317"/>
                  <a:gd name="connsiteY14" fmla="*/ 30834 h 54570"/>
                  <a:gd name="connsiteX15" fmla="*/ 53406 w 151317"/>
                  <a:gd name="connsiteY15" fmla="*/ 33801 h 54570"/>
                  <a:gd name="connsiteX16" fmla="*/ 5934 w 151317"/>
                  <a:gd name="connsiteY16" fmla="*/ 54571 h 54570"/>
                  <a:gd name="connsiteX17" fmla="*/ 5934 w 151317"/>
                  <a:gd name="connsiteY17" fmla="*/ 54571 h 54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1317" h="54570">
                    <a:moveTo>
                      <a:pt x="5934" y="54571"/>
                    </a:moveTo>
                    <a:cubicBezTo>
                      <a:pt x="2966" y="54571"/>
                      <a:pt x="0" y="51604"/>
                      <a:pt x="0" y="51604"/>
                    </a:cubicBezTo>
                    <a:cubicBezTo>
                      <a:pt x="0" y="48637"/>
                      <a:pt x="0" y="45669"/>
                      <a:pt x="2966" y="45669"/>
                    </a:cubicBezTo>
                    <a:cubicBezTo>
                      <a:pt x="14835" y="42702"/>
                      <a:pt x="47472" y="30834"/>
                      <a:pt x="53406" y="27867"/>
                    </a:cubicBezTo>
                    <a:cubicBezTo>
                      <a:pt x="56373" y="27867"/>
                      <a:pt x="59341" y="24900"/>
                      <a:pt x="62307" y="24900"/>
                    </a:cubicBezTo>
                    <a:cubicBezTo>
                      <a:pt x="86043" y="13032"/>
                      <a:pt x="109781" y="4131"/>
                      <a:pt x="118681" y="1164"/>
                    </a:cubicBezTo>
                    <a:cubicBezTo>
                      <a:pt x="130548" y="-1803"/>
                      <a:pt x="142417" y="1164"/>
                      <a:pt x="148352" y="7098"/>
                    </a:cubicBezTo>
                    <a:cubicBezTo>
                      <a:pt x="151318" y="10065"/>
                      <a:pt x="151318" y="15999"/>
                      <a:pt x="151318" y="18966"/>
                    </a:cubicBezTo>
                    <a:cubicBezTo>
                      <a:pt x="148352" y="30834"/>
                      <a:pt x="112747" y="45669"/>
                      <a:pt x="94945" y="51604"/>
                    </a:cubicBezTo>
                    <a:cubicBezTo>
                      <a:pt x="91977" y="51604"/>
                      <a:pt x="89011" y="51604"/>
                      <a:pt x="86043" y="48637"/>
                    </a:cubicBezTo>
                    <a:cubicBezTo>
                      <a:pt x="86043" y="45669"/>
                      <a:pt x="86043" y="42702"/>
                      <a:pt x="89011" y="39735"/>
                    </a:cubicBezTo>
                    <a:cubicBezTo>
                      <a:pt x="112747" y="30834"/>
                      <a:pt x="136483" y="18966"/>
                      <a:pt x="136483" y="13032"/>
                    </a:cubicBezTo>
                    <a:cubicBezTo>
                      <a:pt x="136483" y="13032"/>
                      <a:pt x="136483" y="13032"/>
                      <a:pt x="136483" y="10065"/>
                    </a:cubicBezTo>
                    <a:cubicBezTo>
                      <a:pt x="133516" y="7098"/>
                      <a:pt x="124616" y="4131"/>
                      <a:pt x="115713" y="7098"/>
                    </a:cubicBezTo>
                    <a:cubicBezTo>
                      <a:pt x="106812" y="10065"/>
                      <a:pt x="77142" y="21933"/>
                      <a:pt x="62307" y="30834"/>
                    </a:cubicBezTo>
                    <a:cubicBezTo>
                      <a:pt x="59341" y="33801"/>
                      <a:pt x="53406" y="33801"/>
                      <a:pt x="53406" y="33801"/>
                    </a:cubicBezTo>
                    <a:cubicBezTo>
                      <a:pt x="50440" y="39735"/>
                      <a:pt x="8901" y="54571"/>
                      <a:pt x="5934" y="54571"/>
                    </a:cubicBezTo>
                    <a:cubicBezTo>
                      <a:pt x="5934" y="54571"/>
                      <a:pt x="5934" y="54571"/>
                      <a:pt x="5934" y="54571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163601D3-34F9-459C-AC23-E8AC6E5424FD}"/>
                </a:ext>
              </a:extLst>
            </p:cNvPr>
            <p:cNvSpPr/>
            <p:nvPr/>
          </p:nvSpPr>
          <p:spPr>
            <a:xfrm>
              <a:off x="24193980" y="2381306"/>
              <a:ext cx="127583" cy="139450"/>
            </a:xfrm>
            <a:custGeom>
              <a:avLst/>
              <a:gdLst>
                <a:gd name="connsiteX0" fmla="*/ 124616 w 127583"/>
                <a:gd name="connsiteY0" fmla="*/ 2967 h 139450"/>
                <a:gd name="connsiteX1" fmla="*/ 127584 w 127583"/>
                <a:gd name="connsiteY1" fmla="*/ 112747 h 139450"/>
                <a:gd name="connsiteX2" fmla="*/ 17803 w 127583"/>
                <a:gd name="connsiteY2" fmla="*/ 139451 h 139450"/>
                <a:gd name="connsiteX3" fmla="*/ 0 w 127583"/>
                <a:gd name="connsiteY3" fmla="*/ 0 h 139450"/>
                <a:gd name="connsiteX4" fmla="*/ 74176 w 127583"/>
                <a:gd name="connsiteY4" fmla="*/ 14835 h 13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583" h="139450">
                  <a:moveTo>
                    <a:pt x="124616" y="2967"/>
                  </a:moveTo>
                  <a:lnTo>
                    <a:pt x="127584" y="112747"/>
                  </a:lnTo>
                  <a:lnTo>
                    <a:pt x="17803" y="139451"/>
                  </a:lnTo>
                  <a:lnTo>
                    <a:pt x="0" y="0"/>
                  </a:lnTo>
                  <a:lnTo>
                    <a:pt x="74176" y="14835"/>
                  </a:ln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91A3D989-5D02-472A-AFDC-A569E2658063}"/>
                </a:ext>
              </a:extLst>
            </p:cNvPr>
            <p:cNvSpPr/>
            <p:nvPr/>
          </p:nvSpPr>
          <p:spPr>
            <a:xfrm>
              <a:off x="23744648" y="2449547"/>
              <a:ext cx="741048" cy="1269606"/>
            </a:xfrm>
            <a:custGeom>
              <a:avLst/>
              <a:gdLst>
                <a:gd name="connsiteX0" fmla="*/ 33947 w 741048"/>
                <a:gd name="connsiteY0" fmla="*/ 1151209 h 1269606"/>
                <a:gd name="connsiteX1" fmla="*/ 78453 w 741048"/>
                <a:gd name="connsiteY1" fmla="*/ 940550 h 1269606"/>
                <a:gd name="connsiteX2" fmla="*/ 455266 w 741048"/>
                <a:gd name="connsiteY2" fmla="*/ 634945 h 1269606"/>
                <a:gd name="connsiteX3" fmla="*/ 425596 w 741048"/>
                <a:gd name="connsiteY3" fmla="*/ 23736 h 1269606"/>
                <a:gd name="connsiteX4" fmla="*/ 603618 w 741048"/>
                <a:gd name="connsiteY4" fmla="*/ 0 h 1269606"/>
                <a:gd name="connsiteX5" fmla="*/ 725267 w 741048"/>
                <a:gd name="connsiteY5" fmla="*/ 774396 h 1269606"/>
                <a:gd name="connsiteX6" fmla="*/ 211969 w 741048"/>
                <a:gd name="connsiteY6" fmla="*/ 1255055 h 1269606"/>
                <a:gd name="connsiteX7" fmla="*/ 33947 w 741048"/>
                <a:gd name="connsiteY7" fmla="*/ 1151209 h 126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1048" h="1269606">
                  <a:moveTo>
                    <a:pt x="33947" y="1151209"/>
                  </a:moveTo>
                  <a:cubicBezTo>
                    <a:pt x="-10558" y="1100769"/>
                    <a:pt x="-25394" y="1047363"/>
                    <a:pt x="78453" y="940550"/>
                  </a:cubicBezTo>
                  <a:cubicBezTo>
                    <a:pt x="223838" y="792198"/>
                    <a:pt x="455266" y="634945"/>
                    <a:pt x="455266" y="634945"/>
                  </a:cubicBezTo>
                  <a:lnTo>
                    <a:pt x="425596" y="23736"/>
                  </a:lnTo>
                  <a:lnTo>
                    <a:pt x="603618" y="0"/>
                  </a:lnTo>
                  <a:cubicBezTo>
                    <a:pt x="603618" y="0"/>
                    <a:pt x="796475" y="670549"/>
                    <a:pt x="725267" y="774396"/>
                  </a:cubicBezTo>
                  <a:cubicBezTo>
                    <a:pt x="671859" y="851539"/>
                    <a:pt x="461201" y="1062198"/>
                    <a:pt x="211969" y="1255055"/>
                  </a:cubicBezTo>
                  <a:cubicBezTo>
                    <a:pt x="143728" y="1305494"/>
                    <a:pt x="90321" y="1213516"/>
                    <a:pt x="33947" y="1151209"/>
                  </a:cubicBezTo>
                  <a:close/>
                </a:path>
              </a:pathLst>
            </a:custGeom>
            <a:solidFill>
              <a:srgbClr val="F1DDB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231167C4-773D-456E-B9A7-8B18C7702737}"/>
                </a:ext>
              </a:extLst>
            </p:cNvPr>
            <p:cNvSpPr/>
            <p:nvPr/>
          </p:nvSpPr>
          <p:spPr>
            <a:xfrm>
              <a:off x="23765409" y="3078558"/>
              <a:ext cx="508681" cy="359010"/>
            </a:xfrm>
            <a:custGeom>
              <a:avLst/>
              <a:gdLst>
                <a:gd name="connsiteX0" fmla="*/ 7254 w 508681"/>
                <a:gd name="connsiteY0" fmla="*/ 359011 h 359010"/>
                <a:gd name="connsiteX1" fmla="*/ 1319 w 508681"/>
                <a:gd name="connsiteY1" fmla="*/ 356044 h 359010"/>
                <a:gd name="connsiteX2" fmla="*/ 1319 w 508681"/>
                <a:gd name="connsiteY2" fmla="*/ 347143 h 359010"/>
                <a:gd name="connsiteX3" fmla="*/ 84396 w 508681"/>
                <a:gd name="connsiteY3" fmla="*/ 267033 h 359010"/>
                <a:gd name="connsiteX4" fmla="*/ 425605 w 508681"/>
                <a:gd name="connsiteY4" fmla="*/ 0 h 359010"/>
                <a:gd name="connsiteX5" fmla="*/ 428571 w 508681"/>
                <a:gd name="connsiteY5" fmla="*/ 0 h 359010"/>
                <a:gd name="connsiteX6" fmla="*/ 502747 w 508681"/>
                <a:gd name="connsiteY6" fmla="*/ 5934 h 359010"/>
                <a:gd name="connsiteX7" fmla="*/ 508681 w 508681"/>
                <a:gd name="connsiteY7" fmla="*/ 11868 h 359010"/>
                <a:gd name="connsiteX8" fmla="*/ 502747 w 508681"/>
                <a:gd name="connsiteY8" fmla="*/ 17802 h 359010"/>
                <a:gd name="connsiteX9" fmla="*/ 431539 w 508681"/>
                <a:gd name="connsiteY9" fmla="*/ 11868 h 359010"/>
                <a:gd name="connsiteX10" fmla="*/ 93296 w 508681"/>
                <a:gd name="connsiteY10" fmla="*/ 275934 h 359010"/>
                <a:gd name="connsiteX11" fmla="*/ 7254 w 508681"/>
                <a:gd name="connsiteY11" fmla="*/ 359011 h 359010"/>
                <a:gd name="connsiteX12" fmla="*/ 7254 w 508681"/>
                <a:gd name="connsiteY12" fmla="*/ 359011 h 359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8681" h="359010">
                  <a:moveTo>
                    <a:pt x="7254" y="359011"/>
                  </a:moveTo>
                  <a:cubicBezTo>
                    <a:pt x="4285" y="359011"/>
                    <a:pt x="4285" y="359011"/>
                    <a:pt x="1319" y="356044"/>
                  </a:cubicBezTo>
                  <a:cubicBezTo>
                    <a:pt x="-1649" y="353077"/>
                    <a:pt x="1319" y="350110"/>
                    <a:pt x="1319" y="347143"/>
                  </a:cubicBezTo>
                  <a:cubicBezTo>
                    <a:pt x="45825" y="314505"/>
                    <a:pt x="84396" y="267033"/>
                    <a:pt x="84396" y="267033"/>
                  </a:cubicBezTo>
                  <a:cubicBezTo>
                    <a:pt x="120000" y="228461"/>
                    <a:pt x="413736" y="8901"/>
                    <a:pt x="425605" y="0"/>
                  </a:cubicBezTo>
                  <a:cubicBezTo>
                    <a:pt x="425605" y="0"/>
                    <a:pt x="428571" y="0"/>
                    <a:pt x="428571" y="0"/>
                  </a:cubicBezTo>
                  <a:lnTo>
                    <a:pt x="502747" y="5934"/>
                  </a:lnTo>
                  <a:cubicBezTo>
                    <a:pt x="505715" y="5934"/>
                    <a:pt x="508681" y="8901"/>
                    <a:pt x="508681" y="11868"/>
                  </a:cubicBezTo>
                  <a:cubicBezTo>
                    <a:pt x="508681" y="14835"/>
                    <a:pt x="505715" y="17802"/>
                    <a:pt x="502747" y="17802"/>
                  </a:cubicBezTo>
                  <a:lnTo>
                    <a:pt x="431539" y="11868"/>
                  </a:lnTo>
                  <a:cubicBezTo>
                    <a:pt x="407803" y="29670"/>
                    <a:pt x="128901" y="240330"/>
                    <a:pt x="93296" y="275934"/>
                  </a:cubicBezTo>
                  <a:cubicBezTo>
                    <a:pt x="93296" y="275934"/>
                    <a:pt x="51759" y="323407"/>
                    <a:pt x="7254" y="359011"/>
                  </a:cubicBezTo>
                  <a:cubicBezTo>
                    <a:pt x="10220" y="359011"/>
                    <a:pt x="10220" y="359011"/>
                    <a:pt x="7254" y="359011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F2DFEE74-9C92-403D-9313-CDBAEE3B6D87}"/>
                </a:ext>
              </a:extLst>
            </p:cNvPr>
            <p:cNvSpPr/>
            <p:nvPr/>
          </p:nvSpPr>
          <p:spPr>
            <a:xfrm>
              <a:off x="23845609" y="3679637"/>
              <a:ext cx="116942" cy="268261"/>
            </a:xfrm>
            <a:custGeom>
              <a:avLst/>
              <a:gdLst>
                <a:gd name="connsiteX0" fmla="*/ 57602 w 116942"/>
                <a:gd name="connsiteY0" fmla="*/ 268262 h 268261"/>
                <a:gd name="connsiteX1" fmla="*/ 51668 w 116942"/>
                <a:gd name="connsiteY1" fmla="*/ 262328 h 268261"/>
                <a:gd name="connsiteX2" fmla="*/ 102108 w 116942"/>
                <a:gd name="connsiteY2" fmla="*/ 27932 h 268261"/>
                <a:gd name="connsiteX3" fmla="*/ 4196 w 116942"/>
                <a:gd name="connsiteY3" fmla="*/ 10130 h 268261"/>
                <a:gd name="connsiteX4" fmla="*/ 1229 w 116942"/>
                <a:gd name="connsiteY4" fmla="*/ 4196 h 268261"/>
                <a:gd name="connsiteX5" fmla="*/ 7162 w 116942"/>
                <a:gd name="connsiteY5" fmla="*/ 1229 h 268261"/>
                <a:gd name="connsiteX6" fmla="*/ 108042 w 116942"/>
                <a:gd name="connsiteY6" fmla="*/ 19031 h 268261"/>
                <a:gd name="connsiteX7" fmla="*/ 111008 w 116942"/>
                <a:gd name="connsiteY7" fmla="*/ 19031 h 268261"/>
                <a:gd name="connsiteX8" fmla="*/ 116943 w 116942"/>
                <a:gd name="connsiteY8" fmla="*/ 21998 h 268261"/>
                <a:gd name="connsiteX9" fmla="*/ 116943 w 116942"/>
                <a:gd name="connsiteY9" fmla="*/ 27932 h 268261"/>
                <a:gd name="connsiteX10" fmla="*/ 63536 w 116942"/>
                <a:gd name="connsiteY10" fmla="*/ 265295 h 268261"/>
                <a:gd name="connsiteX11" fmla="*/ 57602 w 116942"/>
                <a:gd name="connsiteY11" fmla="*/ 268262 h 26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942" h="268261">
                  <a:moveTo>
                    <a:pt x="57602" y="268262"/>
                  </a:moveTo>
                  <a:cubicBezTo>
                    <a:pt x="54636" y="268262"/>
                    <a:pt x="51668" y="265295"/>
                    <a:pt x="51668" y="262328"/>
                  </a:cubicBezTo>
                  <a:cubicBezTo>
                    <a:pt x="51668" y="155515"/>
                    <a:pt x="90240" y="54636"/>
                    <a:pt x="102108" y="27932"/>
                  </a:cubicBezTo>
                  <a:cubicBezTo>
                    <a:pt x="66503" y="24965"/>
                    <a:pt x="7162" y="10130"/>
                    <a:pt x="4196" y="10130"/>
                  </a:cubicBezTo>
                  <a:cubicBezTo>
                    <a:pt x="1229" y="10130"/>
                    <a:pt x="-1739" y="7163"/>
                    <a:pt x="1229" y="4196"/>
                  </a:cubicBezTo>
                  <a:cubicBezTo>
                    <a:pt x="1229" y="1229"/>
                    <a:pt x="4196" y="-1738"/>
                    <a:pt x="7162" y="1229"/>
                  </a:cubicBezTo>
                  <a:cubicBezTo>
                    <a:pt x="7162" y="1229"/>
                    <a:pt x="78372" y="19031"/>
                    <a:pt x="108042" y="19031"/>
                  </a:cubicBezTo>
                  <a:cubicBezTo>
                    <a:pt x="108042" y="19031"/>
                    <a:pt x="108042" y="19031"/>
                    <a:pt x="111008" y="19031"/>
                  </a:cubicBezTo>
                  <a:cubicBezTo>
                    <a:pt x="113976" y="19031"/>
                    <a:pt x="113976" y="19031"/>
                    <a:pt x="116943" y="21998"/>
                  </a:cubicBezTo>
                  <a:cubicBezTo>
                    <a:pt x="116943" y="24965"/>
                    <a:pt x="116943" y="24965"/>
                    <a:pt x="116943" y="27932"/>
                  </a:cubicBezTo>
                  <a:cubicBezTo>
                    <a:pt x="116943" y="27932"/>
                    <a:pt x="63536" y="140680"/>
                    <a:pt x="63536" y="265295"/>
                  </a:cubicBezTo>
                  <a:cubicBezTo>
                    <a:pt x="63536" y="265295"/>
                    <a:pt x="60570" y="268262"/>
                    <a:pt x="57602" y="268262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6B9C595D-4ABF-43D0-961F-02F840A299E5}"/>
                </a:ext>
              </a:extLst>
            </p:cNvPr>
            <p:cNvSpPr/>
            <p:nvPr/>
          </p:nvSpPr>
          <p:spPr>
            <a:xfrm>
              <a:off x="23416619" y="3952915"/>
              <a:ext cx="182603" cy="95863"/>
            </a:xfrm>
            <a:custGeom>
              <a:avLst/>
              <a:gdLst>
                <a:gd name="connsiteX0" fmla="*/ 0 w 182603"/>
                <a:gd name="connsiteY0" fmla="*/ 95863 h 95863"/>
                <a:gd name="connsiteX1" fmla="*/ 109779 w 182603"/>
                <a:gd name="connsiteY1" fmla="*/ 6852 h 95863"/>
                <a:gd name="connsiteX2" fmla="*/ 180988 w 182603"/>
                <a:gd name="connsiteY2" fmla="*/ 6852 h 95863"/>
                <a:gd name="connsiteX3" fmla="*/ 94944 w 182603"/>
                <a:gd name="connsiteY3" fmla="*/ 66193 h 95863"/>
                <a:gd name="connsiteX4" fmla="*/ 0 w 182603"/>
                <a:gd name="connsiteY4" fmla="*/ 95863 h 9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603" h="95863">
                  <a:moveTo>
                    <a:pt x="0" y="95863"/>
                  </a:moveTo>
                  <a:cubicBezTo>
                    <a:pt x="0" y="95863"/>
                    <a:pt x="47472" y="18720"/>
                    <a:pt x="109779" y="6852"/>
                  </a:cubicBezTo>
                  <a:cubicBezTo>
                    <a:pt x="136483" y="918"/>
                    <a:pt x="175054" y="-5016"/>
                    <a:pt x="180988" y="6852"/>
                  </a:cubicBezTo>
                  <a:cubicBezTo>
                    <a:pt x="195823" y="39489"/>
                    <a:pt x="103846" y="36522"/>
                    <a:pt x="94944" y="66193"/>
                  </a:cubicBezTo>
                  <a:cubicBezTo>
                    <a:pt x="91977" y="81028"/>
                    <a:pt x="0" y="95863"/>
                    <a:pt x="0" y="95863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8" name="图形 1">
              <a:extLst>
                <a:ext uri="{FF2B5EF4-FFF2-40B4-BE49-F238E27FC236}">
                  <a16:creationId xmlns:a16="http://schemas.microsoft.com/office/drawing/2014/main" id="{341C7E74-FA1D-497E-9C5A-AC271ECBD726}"/>
                </a:ext>
              </a:extLst>
            </p:cNvPr>
            <p:cNvGrpSpPr/>
            <p:nvPr/>
          </p:nvGrpSpPr>
          <p:grpSpPr>
            <a:xfrm>
              <a:off x="23345440" y="4000119"/>
              <a:ext cx="256534" cy="197403"/>
              <a:chOff x="23345440" y="4000119"/>
              <a:chExt cx="256534" cy="197403"/>
            </a:xfrm>
          </p:grpSpPr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D954001B-2B77-419D-966B-517738D414AE}"/>
                  </a:ext>
                </a:extLst>
              </p:cNvPr>
              <p:cNvSpPr/>
              <p:nvPr/>
            </p:nvSpPr>
            <p:spPr>
              <a:xfrm>
                <a:off x="23345440" y="4009465"/>
                <a:ext cx="255529" cy="188057"/>
              </a:xfrm>
              <a:custGeom>
                <a:avLst/>
                <a:gdLst>
                  <a:gd name="connsiteX0" fmla="*/ 23705 w 255529"/>
                  <a:gd name="connsiteY0" fmla="*/ 163929 h 188057"/>
                  <a:gd name="connsiteX1" fmla="*/ 133485 w 255529"/>
                  <a:gd name="connsiteY1" fmla="*/ 175797 h 188057"/>
                  <a:gd name="connsiteX2" fmla="*/ 204695 w 255529"/>
                  <a:gd name="connsiteY2" fmla="*/ 187665 h 188057"/>
                  <a:gd name="connsiteX3" fmla="*/ 222496 w 255529"/>
                  <a:gd name="connsiteY3" fmla="*/ 146126 h 188057"/>
                  <a:gd name="connsiteX4" fmla="*/ 249200 w 255529"/>
                  <a:gd name="connsiteY4" fmla="*/ 125357 h 188057"/>
                  <a:gd name="connsiteX5" fmla="*/ 243266 w 255529"/>
                  <a:gd name="connsiteY5" fmla="*/ 98654 h 188057"/>
                  <a:gd name="connsiteX6" fmla="*/ 243266 w 255529"/>
                  <a:gd name="connsiteY6" fmla="*/ 51181 h 188057"/>
                  <a:gd name="connsiteX7" fmla="*/ 249200 w 255529"/>
                  <a:gd name="connsiteY7" fmla="*/ 18544 h 188057"/>
                  <a:gd name="connsiteX8" fmla="*/ 198761 w 255529"/>
                  <a:gd name="connsiteY8" fmla="*/ 3709 h 188057"/>
                  <a:gd name="connsiteX9" fmla="*/ 8870 w 255529"/>
                  <a:gd name="connsiteY9" fmla="*/ 48214 h 188057"/>
                  <a:gd name="connsiteX10" fmla="*/ 5903 w 255529"/>
                  <a:gd name="connsiteY10" fmla="*/ 155027 h 188057"/>
                  <a:gd name="connsiteX11" fmla="*/ 23705 w 255529"/>
                  <a:gd name="connsiteY11" fmla="*/ 163929 h 188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5529" h="188057">
                    <a:moveTo>
                      <a:pt x="23705" y="163929"/>
                    </a:moveTo>
                    <a:cubicBezTo>
                      <a:pt x="53375" y="163929"/>
                      <a:pt x="65244" y="175797"/>
                      <a:pt x="133485" y="175797"/>
                    </a:cubicBezTo>
                    <a:cubicBezTo>
                      <a:pt x="163156" y="175797"/>
                      <a:pt x="175025" y="190632"/>
                      <a:pt x="204695" y="187665"/>
                    </a:cubicBezTo>
                    <a:cubicBezTo>
                      <a:pt x="225463" y="184698"/>
                      <a:pt x="231397" y="163929"/>
                      <a:pt x="222496" y="146126"/>
                    </a:cubicBezTo>
                    <a:cubicBezTo>
                      <a:pt x="240298" y="146126"/>
                      <a:pt x="246232" y="140192"/>
                      <a:pt x="249200" y="125357"/>
                    </a:cubicBezTo>
                    <a:cubicBezTo>
                      <a:pt x="252167" y="119423"/>
                      <a:pt x="246232" y="101621"/>
                      <a:pt x="243266" y="98654"/>
                    </a:cubicBezTo>
                    <a:cubicBezTo>
                      <a:pt x="258101" y="95687"/>
                      <a:pt x="261068" y="60082"/>
                      <a:pt x="243266" y="51181"/>
                    </a:cubicBezTo>
                    <a:cubicBezTo>
                      <a:pt x="258101" y="42280"/>
                      <a:pt x="252167" y="27445"/>
                      <a:pt x="249200" y="18544"/>
                    </a:cubicBezTo>
                    <a:cubicBezTo>
                      <a:pt x="240298" y="-11126"/>
                      <a:pt x="210628" y="3709"/>
                      <a:pt x="198761" y="3709"/>
                    </a:cubicBezTo>
                    <a:cubicBezTo>
                      <a:pt x="118650" y="3709"/>
                      <a:pt x="86014" y="36346"/>
                      <a:pt x="8870" y="48214"/>
                    </a:cubicBezTo>
                    <a:cubicBezTo>
                      <a:pt x="8870" y="45247"/>
                      <a:pt x="-8932" y="122390"/>
                      <a:pt x="5903" y="155027"/>
                    </a:cubicBezTo>
                    <a:cubicBezTo>
                      <a:pt x="17770" y="172830"/>
                      <a:pt x="2935" y="160961"/>
                      <a:pt x="23705" y="163929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9A8A03F2-46D4-4C4B-AA6A-354BCC5290F6}"/>
                  </a:ext>
                </a:extLst>
              </p:cNvPr>
              <p:cNvSpPr/>
              <p:nvPr/>
            </p:nvSpPr>
            <p:spPr>
              <a:xfrm>
                <a:off x="23464091" y="4000119"/>
                <a:ext cx="137884" cy="63494"/>
              </a:xfrm>
              <a:custGeom>
                <a:avLst/>
                <a:gdLst>
                  <a:gd name="connsiteX0" fmla="*/ 124616 w 137884"/>
                  <a:gd name="connsiteY0" fmla="*/ 63495 h 63494"/>
                  <a:gd name="connsiteX1" fmla="*/ 121648 w 137884"/>
                  <a:gd name="connsiteY1" fmla="*/ 63495 h 63494"/>
                  <a:gd name="connsiteX2" fmla="*/ 118681 w 137884"/>
                  <a:gd name="connsiteY2" fmla="*/ 54594 h 63494"/>
                  <a:gd name="connsiteX3" fmla="*/ 127582 w 137884"/>
                  <a:gd name="connsiteY3" fmla="*/ 24923 h 63494"/>
                  <a:gd name="connsiteX4" fmla="*/ 115715 w 137884"/>
                  <a:gd name="connsiteY4" fmla="*/ 16022 h 63494"/>
                  <a:gd name="connsiteX5" fmla="*/ 8901 w 137884"/>
                  <a:gd name="connsiteY5" fmla="*/ 30857 h 63494"/>
                  <a:gd name="connsiteX6" fmla="*/ 0 w 137884"/>
                  <a:gd name="connsiteY6" fmla="*/ 27890 h 63494"/>
                  <a:gd name="connsiteX7" fmla="*/ 2966 w 137884"/>
                  <a:gd name="connsiteY7" fmla="*/ 18989 h 63494"/>
                  <a:gd name="connsiteX8" fmla="*/ 118681 w 137884"/>
                  <a:gd name="connsiteY8" fmla="*/ 4154 h 63494"/>
                  <a:gd name="connsiteX9" fmla="*/ 136483 w 137884"/>
                  <a:gd name="connsiteY9" fmla="*/ 21956 h 63494"/>
                  <a:gd name="connsiteX10" fmla="*/ 127582 w 137884"/>
                  <a:gd name="connsiteY10" fmla="*/ 60528 h 63494"/>
                  <a:gd name="connsiteX11" fmla="*/ 124616 w 137884"/>
                  <a:gd name="connsiteY11" fmla="*/ 63495 h 63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7884" h="63494">
                    <a:moveTo>
                      <a:pt x="124616" y="63495"/>
                    </a:moveTo>
                    <a:cubicBezTo>
                      <a:pt x="124616" y="63495"/>
                      <a:pt x="121648" y="63495"/>
                      <a:pt x="121648" y="63495"/>
                    </a:cubicBezTo>
                    <a:cubicBezTo>
                      <a:pt x="118681" y="60528"/>
                      <a:pt x="118681" y="57561"/>
                      <a:pt x="118681" y="54594"/>
                    </a:cubicBezTo>
                    <a:cubicBezTo>
                      <a:pt x="121648" y="48659"/>
                      <a:pt x="130550" y="33824"/>
                      <a:pt x="127582" y="24923"/>
                    </a:cubicBezTo>
                    <a:cubicBezTo>
                      <a:pt x="127582" y="21956"/>
                      <a:pt x="121648" y="16022"/>
                      <a:pt x="115715" y="16022"/>
                    </a:cubicBezTo>
                    <a:cubicBezTo>
                      <a:pt x="83077" y="4154"/>
                      <a:pt x="8901" y="30857"/>
                      <a:pt x="8901" y="30857"/>
                    </a:cubicBezTo>
                    <a:cubicBezTo>
                      <a:pt x="5934" y="30857"/>
                      <a:pt x="2966" y="30857"/>
                      <a:pt x="0" y="27890"/>
                    </a:cubicBezTo>
                    <a:cubicBezTo>
                      <a:pt x="0" y="24923"/>
                      <a:pt x="0" y="21956"/>
                      <a:pt x="2966" y="18989"/>
                    </a:cubicBezTo>
                    <a:cubicBezTo>
                      <a:pt x="5934" y="18989"/>
                      <a:pt x="80110" y="-10681"/>
                      <a:pt x="118681" y="4154"/>
                    </a:cubicBezTo>
                    <a:cubicBezTo>
                      <a:pt x="127582" y="7121"/>
                      <a:pt x="133516" y="13055"/>
                      <a:pt x="136483" y="21956"/>
                    </a:cubicBezTo>
                    <a:cubicBezTo>
                      <a:pt x="142417" y="39758"/>
                      <a:pt x="127582" y="60528"/>
                      <a:pt x="127582" y="60528"/>
                    </a:cubicBezTo>
                    <a:cubicBezTo>
                      <a:pt x="130550" y="63495"/>
                      <a:pt x="127582" y="63495"/>
                      <a:pt x="124616" y="63495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8BD790C5-0032-4F19-A1AF-C473D4129586}"/>
                  </a:ext>
                </a:extLst>
              </p:cNvPr>
              <p:cNvSpPr/>
              <p:nvPr/>
            </p:nvSpPr>
            <p:spPr>
              <a:xfrm>
                <a:off x="23532332" y="4066580"/>
                <a:ext cx="29670" cy="83077"/>
              </a:xfrm>
              <a:custGeom>
                <a:avLst/>
                <a:gdLst>
                  <a:gd name="connsiteX0" fmla="*/ 5934 w 29670"/>
                  <a:gd name="connsiteY0" fmla="*/ 83077 h 83077"/>
                  <a:gd name="connsiteX1" fmla="*/ 5934 w 29670"/>
                  <a:gd name="connsiteY1" fmla="*/ 83077 h 83077"/>
                  <a:gd name="connsiteX2" fmla="*/ 0 w 29670"/>
                  <a:gd name="connsiteY2" fmla="*/ 74176 h 83077"/>
                  <a:gd name="connsiteX3" fmla="*/ 17803 w 29670"/>
                  <a:gd name="connsiteY3" fmla="*/ 5934 h 83077"/>
                  <a:gd name="connsiteX4" fmla="*/ 23736 w 29670"/>
                  <a:gd name="connsiteY4" fmla="*/ 0 h 83077"/>
                  <a:gd name="connsiteX5" fmla="*/ 23736 w 29670"/>
                  <a:gd name="connsiteY5" fmla="*/ 0 h 83077"/>
                  <a:gd name="connsiteX6" fmla="*/ 29670 w 29670"/>
                  <a:gd name="connsiteY6" fmla="*/ 5934 h 83077"/>
                  <a:gd name="connsiteX7" fmla="*/ 11869 w 29670"/>
                  <a:gd name="connsiteY7" fmla="*/ 77143 h 83077"/>
                  <a:gd name="connsiteX8" fmla="*/ 5934 w 29670"/>
                  <a:gd name="connsiteY8" fmla="*/ 83077 h 8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670" h="83077">
                    <a:moveTo>
                      <a:pt x="5934" y="83077"/>
                    </a:moveTo>
                    <a:cubicBezTo>
                      <a:pt x="5934" y="83077"/>
                      <a:pt x="5934" y="83077"/>
                      <a:pt x="5934" y="83077"/>
                    </a:cubicBezTo>
                    <a:cubicBezTo>
                      <a:pt x="0" y="83077"/>
                      <a:pt x="0" y="77143"/>
                      <a:pt x="0" y="74176"/>
                    </a:cubicBezTo>
                    <a:cubicBezTo>
                      <a:pt x="5934" y="59341"/>
                      <a:pt x="17803" y="20769"/>
                      <a:pt x="17803" y="5934"/>
                    </a:cubicBezTo>
                    <a:cubicBezTo>
                      <a:pt x="17803" y="2967"/>
                      <a:pt x="20770" y="0"/>
                      <a:pt x="23736" y="0"/>
                    </a:cubicBezTo>
                    <a:cubicBezTo>
                      <a:pt x="23736" y="0"/>
                      <a:pt x="23736" y="0"/>
                      <a:pt x="23736" y="0"/>
                    </a:cubicBezTo>
                    <a:cubicBezTo>
                      <a:pt x="26704" y="0"/>
                      <a:pt x="29670" y="2967"/>
                      <a:pt x="29670" y="5934"/>
                    </a:cubicBezTo>
                    <a:cubicBezTo>
                      <a:pt x="29670" y="23736"/>
                      <a:pt x="11869" y="74176"/>
                      <a:pt x="11869" y="77143"/>
                    </a:cubicBezTo>
                    <a:cubicBezTo>
                      <a:pt x="11869" y="83077"/>
                      <a:pt x="8901" y="83077"/>
                      <a:pt x="5934" y="8307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92C197CF-6BC9-43F4-A3B9-57F10BA146B9}"/>
                </a:ext>
              </a:extLst>
            </p:cNvPr>
            <p:cNvSpPr/>
            <p:nvPr/>
          </p:nvSpPr>
          <p:spPr>
            <a:xfrm>
              <a:off x="22742746" y="4035999"/>
              <a:ext cx="638268" cy="220489"/>
            </a:xfrm>
            <a:custGeom>
              <a:avLst/>
              <a:gdLst>
                <a:gd name="connsiteX0" fmla="*/ 356 w 638268"/>
                <a:gd name="connsiteY0" fmla="*/ 131460 h 220489"/>
                <a:gd name="connsiteX1" fmla="*/ 276290 w 638268"/>
                <a:gd name="connsiteY1" fmla="*/ 211570 h 220489"/>
                <a:gd name="connsiteX2" fmla="*/ 632334 w 638268"/>
                <a:gd name="connsiteY2" fmla="*/ 143328 h 220489"/>
                <a:gd name="connsiteX3" fmla="*/ 638268 w 638268"/>
                <a:gd name="connsiteY3" fmla="*/ 3878 h 220489"/>
                <a:gd name="connsiteX4" fmla="*/ 356 w 638268"/>
                <a:gd name="connsiteY4" fmla="*/ 131460 h 220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8268" h="220489">
                  <a:moveTo>
                    <a:pt x="356" y="131460"/>
                  </a:moveTo>
                  <a:cubicBezTo>
                    <a:pt x="12223" y="241240"/>
                    <a:pt x="172444" y="223438"/>
                    <a:pt x="276290" y="211570"/>
                  </a:cubicBezTo>
                  <a:cubicBezTo>
                    <a:pt x="368267" y="202669"/>
                    <a:pt x="632334" y="143328"/>
                    <a:pt x="632334" y="143328"/>
                  </a:cubicBezTo>
                  <a:lnTo>
                    <a:pt x="638268" y="3878"/>
                  </a:lnTo>
                  <a:cubicBezTo>
                    <a:pt x="638268" y="3878"/>
                    <a:pt x="-17447" y="-34694"/>
                    <a:pt x="356" y="131460"/>
                  </a:cubicBezTo>
                  <a:close/>
                </a:path>
              </a:pathLst>
            </a:custGeom>
            <a:solidFill>
              <a:srgbClr val="F1DDB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A5EB8F9E-AC1A-4682-A51D-60241542484C}"/>
                </a:ext>
              </a:extLst>
            </p:cNvPr>
            <p:cNvSpPr/>
            <p:nvPr/>
          </p:nvSpPr>
          <p:spPr>
            <a:xfrm>
              <a:off x="22808377" y="4033393"/>
              <a:ext cx="578571" cy="229011"/>
            </a:xfrm>
            <a:custGeom>
              <a:avLst/>
              <a:gdLst>
                <a:gd name="connsiteX0" fmla="*/ 115713 w 578571"/>
                <a:gd name="connsiteY0" fmla="*/ 229011 h 229011"/>
                <a:gd name="connsiteX1" fmla="*/ 68241 w 578571"/>
                <a:gd name="connsiteY1" fmla="*/ 226044 h 229011"/>
                <a:gd name="connsiteX2" fmla="*/ 62307 w 578571"/>
                <a:gd name="connsiteY2" fmla="*/ 220110 h 229011"/>
                <a:gd name="connsiteX3" fmla="*/ 68241 w 578571"/>
                <a:gd name="connsiteY3" fmla="*/ 214176 h 229011"/>
                <a:gd name="connsiteX4" fmla="*/ 557802 w 578571"/>
                <a:gd name="connsiteY4" fmla="*/ 142967 h 229011"/>
                <a:gd name="connsiteX5" fmla="*/ 563736 w 578571"/>
                <a:gd name="connsiteY5" fmla="*/ 12418 h 229011"/>
                <a:gd name="connsiteX6" fmla="*/ 5933 w 578571"/>
                <a:gd name="connsiteY6" fmla="*/ 39121 h 229011"/>
                <a:gd name="connsiteX7" fmla="*/ 0 w 578571"/>
                <a:gd name="connsiteY7" fmla="*/ 36154 h 229011"/>
                <a:gd name="connsiteX8" fmla="*/ 2966 w 578571"/>
                <a:gd name="connsiteY8" fmla="*/ 30220 h 229011"/>
                <a:gd name="connsiteX9" fmla="*/ 572637 w 578571"/>
                <a:gd name="connsiteY9" fmla="*/ 3516 h 229011"/>
                <a:gd name="connsiteX10" fmla="*/ 575603 w 578571"/>
                <a:gd name="connsiteY10" fmla="*/ 6484 h 229011"/>
                <a:gd name="connsiteX11" fmla="*/ 578571 w 578571"/>
                <a:gd name="connsiteY11" fmla="*/ 9451 h 229011"/>
                <a:gd name="connsiteX12" fmla="*/ 572637 w 578571"/>
                <a:gd name="connsiteY12" fmla="*/ 148901 h 229011"/>
                <a:gd name="connsiteX13" fmla="*/ 569669 w 578571"/>
                <a:gd name="connsiteY13" fmla="*/ 154835 h 229011"/>
                <a:gd name="connsiteX14" fmla="*/ 115713 w 578571"/>
                <a:gd name="connsiteY14" fmla="*/ 229011 h 22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8571" h="229011">
                  <a:moveTo>
                    <a:pt x="115713" y="229011"/>
                  </a:moveTo>
                  <a:cubicBezTo>
                    <a:pt x="97912" y="229011"/>
                    <a:pt x="83077" y="229011"/>
                    <a:pt x="68241" y="226044"/>
                  </a:cubicBezTo>
                  <a:cubicBezTo>
                    <a:pt x="65273" y="226044"/>
                    <a:pt x="62307" y="223077"/>
                    <a:pt x="62307" y="220110"/>
                  </a:cubicBezTo>
                  <a:cubicBezTo>
                    <a:pt x="62307" y="217143"/>
                    <a:pt x="65273" y="214176"/>
                    <a:pt x="68241" y="214176"/>
                  </a:cubicBezTo>
                  <a:cubicBezTo>
                    <a:pt x="213625" y="229011"/>
                    <a:pt x="519231" y="151868"/>
                    <a:pt x="557802" y="142967"/>
                  </a:cubicBezTo>
                  <a:lnTo>
                    <a:pt x="563736" y="12418"/>
                  </a:lnTo>
                  <a:cubicBezTo>
                    <a:pt x="510328" y="9451"/>
                    <a:pt x="115713" y="-2418"/>
                    <a:pt x="5933" y="39121"/>
                  </a:cubicBezTo>
                  <a:cubicBezTo>
                    <a:pt x="2966" y="39121"/>
                    <a:pt x="0" y="39121"/>
                    <a:pt x="0" y="36154"/>
                  </a:cubicBezTo>
                  <a:cubicBezTo>
                    <a:pt x="0" y="33187"/>
                    <a:pt x="0" y="30220"/>
                    <a:pt x="2966" y="30220"/>
                  </a:cubicBezTo>
                  <a:cubicBezTo>
                    <a:pt x="121648" y="-14286"/>
                    <a:pt x="551867" y="3516"/>
                    <a:pt x="572637" y="3516"/>
                  </a:cubicBezTo>
                  <a:cubicBezTo>
                    <a:pt x="575603" y="3516"/>
                    <a:pt x="575603" y="3516"/>
                    <a:pt x="575603" y="6484"/>
                  </a:cubicBezTo>
                  <a:cubicBezTo>
                    <a:pt x="575603" y="6484"/>
                    <a:pt x="578571" y="9451"/>
                    <a:pt x="578571" y="9451"/>
                  </a:cubicBezTo>
                  <a:lnTo>
                    <a:pt x="572637" y="148901"/>
                  </a:lnTo>
                  <a:cubicBezTo>
                    <a:pt x="572637" y="151868"/>
                    <a:pt x="569669" y="154835"/>
                    <a:pt x="569669" y="154835"/>
                  </a:cubicBezTo>
                  <a:cubicBezTo>
                    <a:pt x="554834" y="154835"/>
                    <a:pt x="284834" y="229011"/>
                    <a:pt x="115713" y="229011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7085099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6A74CB47-9936-45A0-855B-2A45321377A9}"/>
              </a:ext>
            </a:extLst>
          </p:cNvPr>
          <p:cNvGrpSpPr/>
          <p:nvPr/>
        </p:nvGrpSpPr>
        <p:grpSpPr>
          <a:xfrm>
            <a:off x="6096000" y="3054264"/>
            <a:ext cx="3588108" cy="3803736"/>
            <a:chOff x="7088829" y="8638778"/>
            <a:chExt cx="3588108" cy="3803736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C9354206-AB15-40F0-93A8-EA169C4A4876}"/>
                </a:ext>
              </a:extLst>
            </p:cNvPr>
            <p:cNvGrpSpPr/>
            <p:nvPr/>
          </p:nvGrpSpPr>
          <p:grpSpPr>
            <a:xfrm>
              <a:off x="8120135" y="9870088"/>
              <a:ext cx="2556801" cy="2536011"/>
              <a:chOff x="8120135" y="9870088"/>
              <a:chExt cx="2556801" cy="2536011"/>
            </a:xfrm>
          </p:grpSpPr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287FE352-5C3D-480A-8429-7EA42643C053}"/>
                  </a:ext>
                </a:extLst>
              </p:cNvPr>
              <p:cNvSpPr/>
              <p:nvPr/>
            </p:nvSpPr>
            <p:spPr>
              <a:xfrm>
                <a:off x="8120135" y="9870088"/>
                <a:ext cx="2556801" cy="2536011"/>
              </a:xfrm>
              <a:custGeom>
                <a:avLst/>
                <a:gdLst>
                  <a:gd name="connsiteX0" fmla="*/ 2484835 w 2556801"/>
                  <a:gd name="connsiteY0" fmla="*/ 1895943 h 2536011"/>
                  <a:gd name="connsiteX1" fmla="*/ 229889 w 2556801"/>
                  <a:gd name="connsiteY1" fmla="*/ 2222317 h 2536011"/>
                  <a:gd name="connsiteX2" fmla="*/ 259560 w 2556801"/>
                  <a:gd name="connsiteY2" fmla="*/ 1154185 h 2536011"/>
                  <a:gd name="connsiteX3" fmla="*/ 259560 w 2556801"/>
                  <a:gd name="connsiteY3" fmla="*/ 1154185 h 2536011"/>
                  <a:gd name="connsiteX4" fmla="*/ 603735 w 2556801"/>
                  <a:gd name="connsiteY4" fmla="*/ 916822 h 2536011"/>
                  <a:gd name="connsiteX5" fmla="*/ 1209010 w 2556801"/>
                  <a:gd name="connsiteY5" fmla="*/ 91987 h 2536011"/>
                  <a:gd name="connsiteX6" fmla="*/ 1410768 w 2556801"/>
                  <a:gd name="connsiteY6" fmla="*/ 8 h 2536011"/>
                  <a:gd name="connsiteX7" fmla="*/ 2484835 w 2556801"/>
                  <a:gd name="connsiteY7" fmla="*/ 1895943 h 2536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56801" h="2536011">
                    <a:moveTo>
                      <a:pt x="2484835" y="1895943"/>
                    </a:moveTo>
                    <a:cubicBezTo>
                      <a:pt x="2191098" y="2809789"/>
                      <a:pt x="612637" y="2578361"/>
                      <a:pt x="229889" y="2222317"/>
                    </a:cubicBezTo>
                    <a:cubicBezTo>
                      <a:pt x="39999" y="2047261"/>
                      <a:pt x="-188462" y="1572536"/>
                      <a:pt x="259560" y="1154185"/>
                    </a:cubicBezTo>
                    <a:cubicBezTo>
                      <a:pt x="259560" y="1154185"/>
                      <a:pt x="259560" y="1154185"/>
                      <a:pt x="259560" y="1154185"/>
                    </a:cubicBezTo>
                    <a:cubicBezTo>
                      <a:pt x="348571" y="1071108"/>
                      <a:pt x="461318" y="990998"/>
                      <a:pt x="603735" y="916822"/>
                    </a:cubicBezTo>
                    <a:cubicBezTo>
                      <a:pt x="841098" y="792207"/>
                      <a:pt x="989450" y="299679"/>
                      <a:pt x="1209010" y="91987"/>
                    </a:cubicBezTo>
                    <a:cubicBezTo>
                      <a:pt x="1268351" y="35613"/>
                      <a:pt x="1336592" y="8"/>
                      <a:pt x="1410768" y="8"/>
                    </a:cubicBezTo>
                    <a:cubicBezTo>
                      <a:pt x="1760878" y="-2958"/>
                      <a:pt x="2843846" y="777371"/>
                      <a:pt x="2484835" y="1895943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A059F305-FE97-4D0C-848E-377F7523827B}"/>
                  </a:ext>
                </a:extLst>
              </p:cNvPr>
              <p:cNvSpPr/>
              <p:nvPr/>
            </p:nvSpPr>
            <p:spPr>
              <a:xfrm>
                <a:off x="8795080" y="10721635"/>
                <a:ext cx="909230" cy="421319"/>
              </a:xfrm>
              <a:custGeom>
                <a:avLst/>
                <a:gdLst>
                  <a:gd name="connsiteX0" fmla="*/ 904945 w 909230"/>
                  <a:gd name="connsiteY0" fmla="*/ 421319 h 421319"/>
                  <a:gd name="connsiteX1" fmla="*/ 899011 w 909230"/>
                  <a:gd name="connsiteY1" fmla="*/ 418352 h 421319"/>
                  <a:gd name="connsiteX2" fmla="*/ 5934 w 909230"/>
                  <a:gd name="connsiteY2" fmla="*/ 11868 h 421319"/>
                  <a:gd name="connsiteX3" fmla="*/ 0 w 909230"/>
                  <a:gd name="connsiteY3" fmla="*/ 5934 h 421319"/>
                  <a:gd name="connsiteX4" fmla="*/ 5934 w 909230"/>
                  <a:gd name="connsiteY4" fmla="*/ 0 h 421319"/>
                  <a:gd name="connsiteX5" fmla="*/ 5934 w 909230"/>
                  <a:gd name="connsiteY5" fmla="*/ 0 h 421319"/>
                  <a:gd name="connsiteX6" fmla="*/ 907912 w 909230"/>
                  <a:gd name="connsiteY6" fmla="*/ 409450 h 421319"/>
                  <a:gd name="connsiteX7" fmla="*/ 907912 w 909230"/>
                  <a:gd name="connsiteY7" fmla="*/ 418352 h 421319"/>
                  <a:gd name="connsiteX8" fmla="*/ 904945 w 909230"/>
                  <a:gd name="connsiteY8" fmla="*/ 421319 h 421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09230" h="421319">
                    <a:moveTo>
                      <a:pt x="904945" y="421319"/>
                    </a:moveTo>
                    <a:cubicBezTo>
                      <a:pt x="901978" y="421319"/>
                      <a:pt x="901978" y="421319"/>
                      <a:pt x="899011" y="418352"/>
                    </a:cubicBezTo>
                    <a:cubicBezTo>
                      <a:pt x="608242" y="20770"/>
                      <a:pt x="11868" y="11868"/>
                      <a:pt x="5934" y="11868"/>
                    </a:cubicBezTo>
                    <a:cubicBezTo>
                      <a:pt x="2967" y="11868"/>
                      <a:pt x="0" y="8901"/>
                      <a:pt x="0" y="5934"/>
                    </a:cubicBezTo>
                    <a:cubicBezTo>
                      <a:pt x="0" y="2967"/>
                      <a:pt x="2967" y="0"/>
                      <a:pt x="5934" y="0"/>
                    </a:cubicBezTo>
                    <a:lnTo>
                      <a:pt x="5934" y="0"/>
                    </a:lnTo>
                    <a:cubicBezTo>
                      <a:pt x="11868" y="0"/>
                      <a:pt x="617143" y="8901"/>
                      <a:pt x="907912" y="409450"/>
                    </a:cubicBezTo>
                    <a:cubicBezTo>
                      <a:pt x="910879" y="412417"/>
                      <a:pt x="907912" y="415385"/>
                      <a:pt x="907912" y="418352"/>
                    </a:cubicBezTo>
                    <a:cubicBezTo>
                      <a:pt x="907912" y="421319"/>
                      <a:pt x="907912" y="421319"/>
                      <a:pt x="904945" y="42131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EB46CFAC-2960-4A94-A316-84614733199A}"/>
                  </a:ext>
                </a:extLst>
              </p:cNvPr>
              <p:cNvSpPr/>
              <p:nvPr/>
            </p:nvSpPr>
            <p:spPr>
              <a:xfrm>
                <a:off x="9436700" y="11194135"/>
                <a:ext cx="205874" cy="539258"/>
              </a:xfrm>
              <a:custGeom>
                <a:avLst/>
                <a:gdLst>
                  <a:gd name="connsiteX0" fmla="*/ 189149 w 205874"/>
                  <a:gd name="connsiteY0" fmla="*/ 539259 h 539258"/>
                  <a:gd name="connsiteX1" fmla="*/ 189149 w 205874"/>
                  <a:gd name="connsiteY1" fmla="*/ 539259 h 539258"/>
                  <a:gd name="connsiteX2" fmla="*/ 183214 w 205874"/>
                  <a:gd name="connsiteY2" fmla="*/ 533324 h 539258"/>
                  <a:gd name="connsiteX3" fmla="*/ 2225 w 205874"/>
                  <a:gd name="connsiteY3" fmla="*/ 11126 h 539258"/>
                  <a:gd name="connsiteX4" fmla="*/ 2225 w 205874"/>
                  <a:gd name="connsiteY4" fmla="*/ 2225 h 539258"/>
                  <a:gd name="connsiteX5" fmla="*/ 11127 w 205874"/>
                  <a:gd name="connsiteY5" fmla="*/ 2225 h 539258"/>
                  <a:gd name="connsiteX6" fmla="*/ 198049 w 205874"/>
                  <a:gd name="connsiteY6" fmla="*/ 533324 h 539258"/>
                  <a:gd name="connsiteX7" fmla="*/ 189149 w 205874"/>
                  <a:gd name="connsiteY7" fmla="*/ 539259 h 539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5874" h="539258">
                    <a:moveTo>
                      <a:pt x="189149" y="539259"/>
                    </a:moveTo>
                    <a:cubicBezTo>
                      <a:pt x="189149" y="539259"/>
                      <a:pt x="189149" y="539259"/>
                      <a:pt x="189149" y="539259"/>
                    </a:cubicBezTo>
                    <a:cubicBezTo>
                      <a:pt x="186181" y="539259"/>
                      <a:pt x="183214" y="536291"/>
                      <a:pt x="183214" y="533324"/>
                    </a:cubicBezTo>
                    <a:cubicBezTo>
                      <a:pt x="236621" y="239588"/>
                      <a:pt x="2225" y="14093"/>
                      <a:pt x="2225" y="11126"/>
                    </a:cubicBezTo>
                    <a:cubicBezTo>
                      <a:pt x="-742" y="8160"/>
                      <a:pt x="-742" y="5193"/>
                      <a:pt x="2225" y="2225"/>
                    </a:cubicBezTo>
                    <a:cubicBezTo>
                      <a:pt x="5192" y="-742"/>
                      <a:pt x="8159" y="-742"/>
                      <a:pt x="11127" y="2225"/>
                    </a:cubicBezTo>
                    <a:cubicBezTo>
                      <a:pt x="14093" y="5193"/>
                      <a:pt x="251456" y="233654"/>
                      <a:pt x="198049" y="533324"/>
                    </a:cubicBezTo>
                    <a:cubicBezTo>
                      <a:pt x="195083" y="536291"/>
                      <a:pt x="192115" y="539259"/>
                      <a:pt x="189149" y="53925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8EA4B7F3-65B8-4A21-9F18-9D22672A43EF}"/>
                  </a:ext>
                </a:extLst>
              </p:cNvPr>
              <p:cNvSpPr/>
              <p:nvPr/>
            </p:nvSpPr>
            <p:spPr>
              <a:xfrm>
                <a:off x="9246810" y="11237899"/>
                <a:ext cx="94437" cy="406483"/>
              </a:xfrm>
              <a:custGeom>
                <a:avLst/>
                <a:gdLst>
                  <a:gd name="connsiteX0" fmla="*/ 5192 w 94437"/>
                  <a:gd name="connsiteY0" fmla="*/ 406484 h 406483"/>
                  <a:gd name="connsiteX1" fmla="*/ 2225 w 94437"/>
                  <a:gd name="connsiteY1" fmla="*/ 403517 h 406483"/>
                  <a:gd name="connsiteX2" fmla="*/ 2225 w 94437"/>
                  <a:gd name="connsiteY2" fmla="*/ 394616 h 406483"/>
                  <a:gd name="connsiteX3" fmla="*/ 82335 w 94437"/>
                  <a:gd name="connsiteY3" fmla="*/ 5934 h 406483"/>
                  <a:gd name="connsiteX4" fmla="*/ 88269 w 94437"/>
                  <a:gd name="connsiteY4" fmla="*/ 0 h 406483"/>
                  <a:gd name="connsiteX5" fmla="*/ 88269 w 94437"/>
                  <a:gd name="connsiteY5" fmla="*/ 0 h 406483"/>
                  <a:gd name="connsiteX6" fmla="*/ 94203 w 94437"/>
                  <a:gd name="connsiteY6" fmla="*/ 5934 h 406483"/>
                  <a:gd name="connsiteX7" fmla="*/ 11126 w 94437"/>
                  <a:gd name="connsiteY7" fmla="*/ 403517 h 406483"/>
                  <a:gd name="connsiteX8" fmla="*/ 5192 w 94437"/>
                  <a:gd name="connsiteY8" fmla="*/ 406484 h 406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437" h="406483">
                    <a:moveTo>
                      <a:pt x="5192" y="406484"/>
                    </a:moveTo>
                    <a:cubicBezTo>
                      <a:pt x="2225" y="406484"/>
                      <a:pt x="2225" y="406484"/>
                      <a:pt x="2225" y="403517"/>
                    </a:cubicBezTo>
                    <a:cubicBezTo>
                      <a:pt x="-742" y="400549"/>
                      <a:pt x="-742" y="397582"/>
                      <a:pt x="2225" y="394616"/>
                    </a:cubicBezTo>
                    <a:cubicBezTo>
                      <a:pt x="91236" y="317473"/>
                      <a:pt x="82335" y="8902"/>
                      <a:pt x="82335" y="5934"/>
                    </a:cubicBezTo>
                    <a:cubicBezTo>
                      <a:pt x="82335" y="2967"/>
                      <a:pt x="85302" y="0"/>
                      <a:pt x="88269" y="0"/>
                    </a:cubicBezTo>
                    <a:cubicBezTo>
                      <a:pt x="88269" y="0"/>
                      <a:pt x="88269" y="0"/>
                      <a:pt x="88269" y="0"/>
                    </a:cubicBezTo>
                    <a:cubicBezTo>
                      <a:pt x="91236" y="0"/>
                      <a:pt x="94203" y="2967"/>
                      <a:pt x="94203" y="5934"/>
                    </a:cubicBezTo>
                    <a:cubicBezTo>
                      <a:pt x="94203" y="17802"/>
                      <a:pt x="103104" y="323406"/>
                      <a:pt x="11126" y="403517"/>
                    </a:cubicBezTo>
                    <a:cubicBezTo>
                      <a:pt x="8159" y="406484"/>
                      <a:pt x="5192" y="406484"/>
                      <a:pt x="5192" y="406484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68B6E78E-4310-495E-9CF8-4364A699CCA8}"/>
                  </a:ext>
                </a:extLst>
              </p:cNvPr>
              <p:cNvSpPr/>
              <p:nvPr/>
            </p:nvSpPr>
            <p:spPr>
              <a:xfrm>
                <a:off x="9691124" y="10887789"/>
                <a:ext cx="447280" cy="204725"/>
              </a:xfrm>
              <a:custGeom>
                <a:avLst/>
                <a:gdLst>
                  <a:gd name="connsiteX0" fmla="*/ 445055 w 447280"/>
                  <a:gd name="connsiteY0" fmla="*/ 204725 h 204725"/>
                  <a:gd name="connsiteX1" fmla="*/ 439121 w 447280"/>
                  <a:gd name="connsiteY1" fmla="*/ 201758 h 204725"/>
                  <a:gd name="connsiteX2" fmla="*/ 5934 w 447280"/>
                  <a:gd name="connsiteY2" fmla="*/ 11868 h 204725"/>
                  <a:gd name="connsiteX3" fmla="*/ 0 w 447280"/>
                  <a:gd name="connsiteY3" fmla="*/ 5934 h 204725"/>
                  <a:gd name="connsiteX4" fmla="*/ 5934 w 447280"/>
                  <a:gd name="connsiteY4" fmla="*/ 0 h 204725"/>
                  <a:gd name="connsiteX5" fmla="*/ 445055 w 447280"/>
                  <a:gd name="connsiteY5" fmla="*/ 195824 h 204725"/>
                  <a:gd name="connsiteX6" fmla="*/ 445055 w 447280"/>
                  <a:gd name="connsiteY6" fmla="*/ 204725 h 204725"/>
                  <a:gd name="connsiteX7" fmla="*/ 445055 w 447280"/>
                  <a:gd name="connsiteY7" fmla="*/ 204725 h 20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7280" h="204725">
                    <a:moveTo>
                      <a:pt x="445055" y="204725"/>
                    </a:moveTo>
                    <a:cubicBezTo>
                      <a:pt x="442088" y="204725"/>
                      <a:pt x="442088" y="204725"/>
                      <a:pt x="439121" y="201758"/>
                    </a:cubicBezTo>
                    <a:cubicBezTo>
                      <a:pt x="308571" y="38571"/>
                      <a:pt x="8901" y="11868"/>
                      <a:pt x="5934" y="11868"/>
                    </a:cubicBezTo>
                    <a:cubicBezTo>
                      <a:pt x="2967" y="11868"/>
                      <a:pt x="0" y="8901"/>
                      <a:pt x="0" y="5934"/>
                    </a:cubicBezTo>
                    <a:cubicBezTo>
                      <a:pt x="0" y="2967"/>
                      <a:pt x="2967" y="0"/>
                      <a:pt x="5934" y="0"/>
                    </a:cubicBezTo>
                    <a:cubicBezTo>
                      <a:pt x="8901" y="0"/>
                      <a:pt x="311538" y="29670"/>
                      <a:pt x="445055" y="195824"/>
                    </a:cubicBezTo>
                    <a:cubicBezTo>
                      <a:pt x="448022" y="198791"/>
                      <a:pt x="448022" y="201758"/>
                      <a:pt x="445055" y="204725"/>
                    </a:cubicBezTo>
                    <a:cubicBezTo>
                      <a:pt x="448022" y="204725"/>
                      <a:pt x="448022" y="204725"/>
                      <a:pt x="445055" y="20472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268CA69D-EAAD-465C-8EB3-D6125E7390CD}"/>
                  </a:ext>
                </a:extLst>
              </p:cNvPr>
              <p:cNvSpPr/>
              <p:nvPr/>
            </p:nvSpPr>
            <p:spPr>
              <a:xfrm>
                <a:off x="10281563" y="11528669"/>
                <a:ext cx="118073" cy="667582"/>
              </a:xfrm>
              <a:custGeom>
                <a:avLst/>
                <a:gdLst>
                  <a:gd name="connsiteX0" fmla="*/ 5934 w 118073"/>
                  <a:gd name="connsiteY0" fmla="*/ 667582 h 667582"/>
                  <a:gd name="connsiteX1" fmla="*/ 5934 w 118073"/>
                  <a:gd name="connsiteY1" fmla="*/ 667582 h 667582"/>
                  <a:gd name="connsiteX2" fmla="*/ 0 w 118073"/>
                  <a:gd name="connsiteY2" fmla="*/ 658681 h 667582"/>
                  <a:gd name="connsiteX3" fmla="*/ 77143 w 118073"/>
                  <a:gd name="connsiteY3" fmla="*/ 5934 h 667582"/>
                  <a:gd name="connsiteX4" fmla="*/ 80110 w 118073"/>
                  <a:gd name="connsiteY4" fmla="*/ 0 h 667582"/>
                  <a:gd name="connsiteX5" fmla="*/ 86044 w 118073"/>
                  <a:gd name="connsiteY5" fmla="*/ 2966 h 667582"/>
                  <a:gd name="connsiteX6" fmla="*/ 8901 w 118073"/>
                  <a:gd name="connsiteY6" fmla="*/ 664615 h 667582"/>
                  <a:gd name="connsiteX7" fmla="*/ 5934 w 118073"/>
                  <a:gd name="connsiteY7" fmla="*/ 667582 h 667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8073" h="667582">
                    <a:moveTo>
                      <a:pt x="5934" y="667582"/>
                    </a:moveTo>
                    <a:cubicBezTo>
                      <a:pt x="5934" y="667582"/>
                      <a:pt x="2967" y="667582"/>
                      <a:pt x="5934" y="667582"/>
                    </a:cubicBezTo>
                    <a:cubicBezTo>
                      <a:pt x="0" y="664615"/>
                      <a:pt x="0" y="661648"/>
                      <a:pt x="0" y="658681"/>
                    </a:cubicBezTo>
                    <a:cubicBezTo>
                      <a:pt x="183956" y="311538"/>
                      <a:pt x="77143" y="8901"/>
                      <a:pt x="77143" y="5934"/>
                    </a:cubicBezTo>
                    <a:cubicBezTo>
                      <a:pt x="77143" y="2966"/>
                      <a:pt x="77143" y="0"/>
                      <a:pt x="80110" y="0"/>
                    </a:cubicBezTo>
                    <a:cubicBezTo>
                      <a:pt x="83077" y="0"/>
                      <a:pt x="86044" y="0"/>
                      <a:pt x="86044" y="2966"/>
                    </a:cubicBezTo>
                    <a:cubicBezTo>
                      <a:pt x="86044" y="5934"/>
                      <a:pt x="195824" y="311538"/>
                      <a:pt x="8901" y="664615"/>
                    </a:cubicBezTo>
                    <a:cubicBezTo>
                      <a:pt x="8901" y="667582"/>
                      <a:pt x="8901" y="667582"/>
                      <a:pt x="5934" y="6675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4273558D-CB74-4574-9F83-F07052345F9F}"/>
                </a:ext>
              </a:extLst>
            </p:cNvPr>
            <p:cNvGrpSpPr/>
            <p:nvPr/>
          </p:nvGrpSpPr>
          <p:grpSpPr>
            <a:xfrm>
              <a:off x="8103620" y="12101306"/>
              <a:ext cx="433327" cy="341208"/>
              <a:chOff x="8103620" y="12101306"/>
              <a:chExt cx="433327" cy="341208"/>
            </a:xfrm>
          </p:grpSpPr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08DB4756-97BA-4888-A1C0-894C61848B38}"/>
                  </a:ext>
                </a:extLst>
              </p:cNvPr>
              <p:cNvSpPr/>
              <p:nvPr/>
            </p:nvSpPr>
            <p:spPr>
              <a:xfrm>
                <a:off x="8103620" y="12184382"/>
                <a:ext cx="387338" cy="258132"/>
              </a:xfrm>
              <a:custGeom>
                <a:avLst/>
                <a:gdLst>
                  <a:gd name="connsiteX0" fmla="*/ 284976 w 387338"/>
                  <a:gd name="connsiteY0" fmla="*/ 0 h 258132"/>
                  <a:gd name="connsiteX1" fmla="*/ 124756 w 387338"/>
                  <a:gd name="connsiteY1" fmla="*/ 115715 h 258132"/>
                  <a:gd name="connsiteX2" fmla="*/ 362119 w 387338"/>
                  <a:gd name="connsiteY2" fmla="*/ 68242 h 258132"/>
                  <a:gd name="connsiteX3" fmla="*/ 385855 w 387338"/>
                  <a:gd name="connsiteY3" fmla="*/ 59341 h 258132"/>
                  <a:gd name="connsiteX4" fmla="*/ 379921 w 387338"/>
                  <a:gd name="connsiteY4" fmla="*/ 136484 h 258132"/>
                  <a:gd name="connsiteX5" fmla="*/ 323547 w 387338"/>
                  <a:gd name="connsiteY5" fmla="*/ 258132 h 258132"/>
                  <a:gd name="connsiteX6" fmla="*/ 299811 w 387338"/>
                  <a:gd name="connsiteY6" fmla="*/ 249232 h 258132"/>
                  <a:gd name="connsiteX7" fmla="*/ 320580 w 387338"/>
                  <a:gd name="connsiteY7" fmla="*/ 142418 h 258132"/>
                  <a:gd name="connsiteX8" fmla="*/ 148492 w 387338"/>
                  <a:gd name="connsiteY8" fmla="*/ 219561 h 258132"/>
                  <a:gd name="connsiteX9" fmla="*/ 3108 w 387338"/>
                  <a:gd name="connsiteY9" fmla="*/ 172088 h 258132"/>
                  <a:gd name="connsiteX10" fmla="*/ 17943 w 387338"/>
                  <a:gd name="connsiteY10" fmla="*/ 130550 h 258132"/>
                  <a:gd name="connsiteX11" fmla="*/ 284976 w 387338"/>
                  <a:gd name="connsiteY11" fmla="*/ 0 h 258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7338" h="258132">
                    <a:moveTo>
                      <a:pt x="284976" y="0"/>
                    </a:moveTo>
                    <a:cubicBezTo>
                      <a:pt x="284976" y="0"/>
                      <a:pt x="112888" y="100880"/>
                      <a:pt x="124756" y="115715"/>
                    </a:cubicBezTo>
                    <a:cubicBezTo>
                      <a:pt x="136624" y="130550"/>
                      <a:pt x="362119" y="68242"/>
                      <a:pt x="362119" y="68242"/>
                    </a:cubicBezTo>
                    <a:lnTo>
                      <a:pt x="385855" y="59341"/>
                    </a:lnTo>
                    <a:cubicBezTo>
                      <a:pt x="385855" y="59341"/>
                      <a:pt x="391789" y="112748"/>
                      <a:pt x="379921" y="136484"/>
                    </a:cubicBezTo>
                    <a:cubicBezTo>
                      <a:pt x="368053" y="160221"/>
                      <a:pt x="323547" y="258132"/>
                      <a:pt x="323547" y="258132"/>
                    </a:cubicBezTo>
                    <a:lnTo>
                      <a:pt x="299811" y="249232"/>
                    </a:lnTo>
                    <a:lnTo>
                      <a:pt x="320580" y="142418"/>
                    </a:lnTo>
                    <a:cubicBezTo>
                      <a:pt x="320580" y="142418"/>
                      <a:pt x="169262" y="219561"/>
                      <a:pt x="148492" y="219561"/>
                    </a:cubicBezTo>
                    <a:cubicBezTo>
                      <a:pt x="127723" y="216594"/>
                      <a:pt x="12009" y="178022"/>
                      <a:pt x="3108" y="172088"/>
                    </a:cubicBezTo>
                    <a:cubicBezTo>
                      <a:pt x="-5793" y="169121"/>
                      <a:pt x="6075" y="130550"/>
                      <a:pt x="17943" y="130550"/>
                    </a:cubicBezTo>
                    <a:cubicBezTo>
                      <a:pt x="101020" y="112748"/>
                      <a:pt x="284976" y="0"/>
                      <a:pt x="284976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FD08458C-569F-4F4D-802A-57ECB76B2AC2}"/>
                  </a:ext>
                </a:extLst>
              </p:cNvPr>
              <p:cNvSpPr/>
              <p:nvPr/>
            </p:nvSpPr>
            <p:spPr>
              <a:xfrm>
                <a:off x="8227484" y="12101306"/>
                <a:ext cx="309463" cy="207688"/>
              </a:xfrm>
              <a:custGeom>
                <a:avLst/>
                <a:gdLst>
                  <a:gd name="connsiteX0" fmla="*/ 187816 w 309463"/>
                  <a:gd name="connsiteY0" fmla="*/ 0 h 207688"/>
                  <a:gd name="connsiteX1" fmla="*/ 161112 w 309463"/>
                  <a:gd name="connsiteY1" fmla="*/ 86044 h 207688"/>
                  <a:gd name="connsiteX2" fmla="*/ 892 w 309463"/>
                  <a:gd name="connsiteY2" fmla="*/ 201758 h 207688"/>
                  <a:gd name="connsiteX3" fmla="*/ 264958 w 309463"/>
                  <a:gd name="connsiteY3" fmla="*/ 145384 h 207688"/>
                  <a:gd name="connsiteX4" fmla="*/ 309464 w 309463"/>
                  <a:gd name="connsiteY4" fmla="*/ 8901 h 207688"/>
                  <a:gd name="connsiteX5" fmla="*/ 187816 w 309463"/>
                  <a:gd name="connsiteY5" fmla="*/ 0 h 207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9463" h="207688">
                    <a:moveTo>
                      <a:pt x="187816" y="0"/>
                    </a:moveTo>
                    <a:lnTo>
                      <a:pt x="161112" y="86044"/>
                    </a:lnTo>
                    <a:cubicBezTo>
                      <a:pt x="161112" y="86044"/>
                      <a:pt x="-13943" y="178022"/>
                      <a:pt x="892" y="201758"/>
                    </a:cubicBezTo>
                    <a:cubicBezTo>
                      <a:pt x="15727" y="225495"/>
                      <a:pt x="253090" y="172088"/>
                      <a:pt x="264958" y="145384"/>
                    </a:cubicBezTo>
                    <a:cubicBezTo>
                      <a:pt x="282760" y="100879"/>
                      <a:pt x="309464" y="8901"/>
                      <a:pt x="309464" y="8901"/>
                    </a:cubicBezTo>
                    <a:lnTo>
                      <a:pt x="187816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A9AB0328-1535-4132-BDD1-27A0CE30DA8D}"/>
                </a:ext>
              </a:extLst>
            </p:cNvPr>
            <p:cNvGrpSpPr/>
            <p:nvPr/>
          </p:nvGrpSpPr>
          <p:grpSpPr>
            <a:xfrm>
              <a:off x="7088829" y="11489047"/>
              <a:ext cx="492734" cy="291819"/>
              <a:chOff x="7088829" y="11489047"/>
              <a:chExt cx="492734" cy="291819"/>
            </a:xfrm>
          </p:grpSpPr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6E408180-90C2-4AFB-95E7-DA6B22A02FF3}"/>
                  </a:ext>
                </a:extLst>
              </p:cNvPr>
              <p:cNvSpPr/>
              <p:nvPr/>
            </p:nvSpPr>
            <p:spPr>
              <a:xfrm>
                <a:off x="7088829" y="11489047"/>
                <a:ext cx="371086" cy="291819"/>
              </a:xfrm>
              <a:custGeom>
                <a:avLst/>
                <a:gdLst>
                  <a:gd name="connsiteX0" fmla="*/ 326581 w 371086"/>
                  <a:gd name="connsiteY0" fmla="*/ 69292 h 291819"/>
                  <a:gd name="connsiteX1" fmla="*/ 130757 w 371086"/>
                  <a:gd name="connsiteY1" fmla="*/ 54457 h 291819"/>
                  <a:gd name="connsiteX2" fmla="*/ 347350 w 371086"/>
                  <a:gd name="connsiteY2" fmla="*/ 167203 h 291819"/>
                  <a:gd name="connsiteX3" fmla="*/ 371086 w 371086"/>
                  <a:gd name="connsiteY3" fmla="*/ 176104 h 291819"/>
                  <a:gd name="connsiteX4" fmla="*/ 317680 w 371086"/>
                  <a:gd name="connsiteY4" fmla="*/ 232479 h 291819"/>
                  <a:gd name="connsiteX5" fmla="*/ 196031 w 371086"/>
                  <a:gd name="connsiteY5" fmla="*/ 291819 h 291819"/>
                  <a:gd name="connsiteX6" fmla="*/ 184163 w 371086"/>
                  <a:gd name="connsiteY6" fmla="*/ 271050 h 291819"/>
                  <a:gd name="connsiteX7" fmla="*/ 267240 w 371086"/>
                  <a:gd name="connsiteY7" fmla="*/ 202808 h 291819"/>
                  <a:gd name="connsiteX8" fmla="*/ 83284 w 371086"/>
                  <a:gd name="connsiteY8" fmla="*/ 152368 h 291819"/>
                  <a:gd name="connsiteX9" fmla="*/ 207 w 371086"/>
                  <a:gd name="connsiteY9" fmla="*/ 24786 h 291819"/>
                  <a:gd name="connsiteX10" fmla="*/ 38778 w 371086"/>
                  <a:gd name="connsiteY10" fmla="*/ 1049 h 291819"/>
                  <a:gd name="connsiteX11" fmla="*/ 326581 w 371086"/>
                  <a:gd name="connsiteY11" fmla="*/ 69292 h 291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1086" h="291819">
                    <a:moveTo>
                      <a:pt x="326581" y="69292"/>
                    </a:moveTo>
                    <a:cubicBezTo>
                      <a:pt x="326581" y="69292"/>
                      <a:pt x="127789" y="36654"/>
                      <a:pt x="130757" y="54457"/>
                    </a:cubicBezTo>
                    <a:cubicBezTo>
                      <a:pt x="130757" y="72258"/>
                      <a:pt x="347350" y="167203"/>
                      <a:pt x="347350" y="167203"/>
                    </a:cubicBezTo>
                    <a:lnTo>
                      <a:pt x="371086" y="176104"/>
                    </a:lnTo>
                    <a:cubicBezTo>
                      <a:pt x="371086" y="176104"/>
                      <a:pt x="341416" y="220610"/>
                      <a:pt x="317680" y="232479"/>
                    </a:cubicBezTo>
                    <a:cubicBezTo>
                      <a:pt x="293943" y="241379"/>
                      <a:pt x="196031" y="291819"/>
                      <a:pt x="196031" y="291819"/>
                    </a:cubicBezTo>
                    <a:lnTo>
                      <a:pt x="184163" y="271050"/>
                    </a:lnTo>
                    <a:lnTo>
                      <a:pt x="267240" y="202808"/>
                    </a:lnTo>
                    <a:cubicBezTo>
                      <a:pt x="267240" y="202808"/>
                      <a:pt x="101086" y="167203"/>
                      <a:pt x="83284" y="152368"/>
                    </a:cubicBezTo>
                    <a:cubicBezTo>
                      <a:pt x="68449" y="137533"/>
                      <a:pt x="3174" y="33687"/>
                      <a:pt x="207" y="24786"/>
                    </a:cubicBezTo>
                    <a:cubicBezTo>
                      <a:pt x="-2760" y="15885"/>
                      <a:pt x="26910" y="-4884"/>
                      <a:pt x="38778" y="1049"/>
                    </a:cubicBezTo>
                    <a:cubicBezTo>
                      <a:pt x="112954" y="39621"/>
                      <a:pt x="326581" y="69292"/>
                      <a:pt x="326581" y="69292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6C62E497-6DD8-425C-BAB5-3E88B323BD9D}"/>
                  </a:ext>
                </a:extLst>
              </p:cNvPr>
              <p:cNvSpPr/>
              <p:nvPr/>
            </p:nvSpPr>
            <p:spPr>
              <a:xfrm>
                <a:off x="7219555" y="11510866"/>
                <a:ext cx="362008" cy="159148"/>
              </a:xfrm>
              <a:custGeom>
                <a:avLst/>
                <a:gdLst>
                  <a:gd name="connsiteX0" fmla="*/ 270030 w 362008"/>
                  <a:gd name="connsiteY0" fmla="*/ 0 h 159148"/>
                  <a:gd name="connsiteX1" fmla="*/ 195855 w 362008"/>
                  <a:gd name="connsiteY1" fmla="*/ 50439 h 159148"/>
                  <a:gd name="connsiteX2" fmla="*/ 30 w 362008"/>
                  <a:gd name="connsiteY2" fmla="*/ 35604 h 159148"/>
                  <a:gd name="connsiteX3" fmla="*/ 240360 w 362008"/>
                  <a:gd name="connsiteY3" fmla="*/ 157252 h 159148"/>
                  <a:gd name="connsiteX4" fmla="*/ 362008 w 362008"/>
                  <a:gd name="connsiteY4" fmla="*/ 77143 h 159148"/>
                  <a:gd name="connsiteX5" fmla="*/ 270030 w 362008"/>
                  <a:gd name="connsiteY5" fmla="*/ 0 h 159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2008" h="159148">
                    <a:moveTo>
                      <a:pt x="270030" y="0"/>
                    </a:moveTo>
                    <a:lnTo>
                      <a:pt x="195855" y="50439"/>
                    </a:lnTo>
                    <a:cubicBezTo>
                      <a:pt x="195855" y="50439"/>
                      <a:pt x="30" y="8901"/>
                      <a:pt x="30" y="35604"/>
                    </a:cubicBezTo>
                    <a:cubicBezTo>
                      <a:pt x="-2937" y="62308"/>
                      <a:pt x="213656" y="175055"/>
                      <a:pt x="240360" y="157252"/>
                    </a:cubicBezTo>
                    <a:cubicBezTo>
                      <a:pt x="281898" y="133516"/>
                      <a:pt x="362008" y="77143"/>
                      <a:pt x="362008" y="77143"/>
                    </a:cubicBezTo>
                    <a:lnTo>
                      <a:pt x="270030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2C14120E-E4EF-4362-AE99-EFDB0A292C52}"/>
                </a:ext>
              </a:extLst>
            </p:cNvPr>
            <p:cNvSpPr/>
            <p:nvPr/>
          </p:nvSpPr>
          <p:spPr>
            <a:xfrm>
              <a:off x="9475098" y="8846470"/>
              <a:ext cx="616575" cy="992644"/>
            </a:xfrm>
            <a:custGeom>
              <a:avLst/>
              <a:gdLst>
                <a:gd name="connsiteX0" fmla="*/ 153718 w 616575"/>
                <a:gd name="connsiteY0" fmla="*/ 976154 h 992644"/>
                <a:gd name="connsiteX1" fmla="*/ 49872 w 616575"/>
                <a:gd name="connsiteY1" fmla="*/ 750659 h 992644"/>
                <a:gd name="connsiteX2" fmla="*/ 423718 w 616575"/>
                <a:gd name="connsiteY2" fmla="*/ 522198 h 992644"/>
                <a:gd name="connsiteX3" fmla="*/ 399982 w 616575"/>
                <a:gd name="connsiteY3" fmla="*/ 8901 h 992644"/>
                <a:gd name="connsiteX4" fmla="*/ 512729 w 616575"/>
                <a:gd name="connsiteY4" fmla="*/ 0 h 992644"/>
                <a:gd name="connsiteX5" fmla="*/ 616575 w 616575"/>
                <a:gd name="connsiteY5" fmla="*/ 596373 h 992644"/>
                <a:gd name="connsiteX6" fmla="*/ 153718 w 616575"/>
                <a:gd name="connsiteY6" fmla="*/ 976154 h 992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6575" h="992644">
                  <a:moveTo>
                    <a:pt x="153718" y="976154"/>
                  </a:moveTo>
                  <a:cubicBezTo>
                    <a:pt x="-6501" y="1053296"/>
                    <a:pt x="-42106" y="839670"/>
                    <a:pt x="49872" y="750659"/>
                  </a:cubicBezTo>
                  <a:cubicBezTo>
                    <a:pt x="141850" y="664616"/>
                    <a:pt x="358444" y="569670"/>
                    <a:pt x="423718" y="522198"/>
                  </a:cubicBezTo>
                  <a:cubicBezTo>
                    <a:pt x="453389" y="433187"/>
                    <a:pt x="399982" y="8901"/>
                    <a:pt x="399982" y="8901"/>
                  </a:cubicBezTo>
                  <a:cubicBezTo>
                    <a:pt x="429652" y="2967"/>
                    <a:pt x="512729" y="0"/>
                    <a:pt x="512729" y="0"/>
                  </a:cubicBezTo>
                  <a:cubicBezTo>
                    <a:pt x="512729" y="0"/>
                    <a:pt x="616575" y="465824"/>
                    <a:pt x="616575" y="596373"/>
                  </a:cubicBezTo>
                  <a:cubicBezTo>
                    <a:pt x="616575" y="664616"/>
                    <a:pt x="322839" y="893077"/>
                    <a:pt x="153718" y="976154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664B9CDC-5B63-4BAE-90D9-FCFC4526F7DC}"/>
                </a:ext>
              </a:extLst>
            </p:cNvPr>
            <p:cNvGrpSpPr/>
            <p:nvPr/>
          </p:nvGrpSpPr>
          <p:grpSpPr>
            <a:xfrm>
              <a:off x="9856836" y="8658178"/>
              <a:ext cx="261540" cy="223897"/>
              <a:chOff x="9856836" y="8658178"/>
              <a:chExt cx="261540" cy="223897"/>
            </a:xfrm>
          </p:grpSpPr>
          <p:grpSp>
            <p:nvGrpSpPr>
              <p:cNvPr id="67" name="图形 1">
                <a:extLst>
                  <a:ext uri="{FF2B5EF4-FFF2-40B4-BE49-F238E27FC236}">
                    <a16:creationId xmlns:a16="http://schemas.microsoft.com/office/drawing/2014/main" id="{FDBD2539-7225-4D02-A584-09F6112F468B}"/>
                  </a:ext>
                </a:extLst>
              </p:cNvPr>
              <p:cNvGrpSpPr/>
              <p:nvPr/>
            </p:nvGrpSpPr>
            <p:grpSpPr>
              <a:xfrm>
                <a:off x="9856836" y="8658178"/>
                <a:ext cx="259686" cy="223897"/>
                <a:chOff x="9856836" y="8658178"/>
                <a:chExt cx="259686" cy="223897"/>
              </a:xfrm>
            </p:grpSpPr>
            <p:sp>
              <p:nvSpPr>
                <p:cNvPr id="70" name="任意多边形: 形状 69">
                  <a:extLst>
                    <a:ext uri="{FF2B5EF4-FFF2-40B4-BE49-F238E27FC236}">
                      <a16:creationId xmlns:a16="http://schemas.microsoft.com/office/drawing/2014/main" id="{F6EAFA34-53F9-4222-B4BB-EAD186DCF6ED}"/>
                    </a:ext>
                  </a:extLst>
                </p:cNvPr>
                <p:cNvSpPr/>
                <p:nvPr/>
              </p:nvSpPr>
              <p:spPr>
                <a:xfrm>
                  <a:off x="9856836" y="8658178"/>
                  <a:ext cx="255606" cy="223897"/>
                </a:xfrm>
                <a:custGeom>
                  <a:avLst/>
                  <a:gdLst>
                    <a:gd name="connsiteX0" fmla="*/ 231870 w 255606"/>
                    <a:gd name="connsiteY0" fmla="*/ 90381 h 223897"/>
                    <a:gd name="connsiteX1" fmla="*/ 217035 w 255606"/>
                    <a:gd name="connsiteY1" fmla="*/ 84447 h 223897"/>
                    <a:gd name="connsiteX2" fmla="*/ 211101 w 255606"/>
                    <a:gd name="connsiteY2" fmla="*/ 87413 h 223897"/>
                    <a:gd name="connsiteX3" fmla="*/ 228903 w 255606"/>
                    <a:gd name="connsiteY3" fmla="*/ 72578 h 223897"/>
                    <a:gd name="connsiteX4" fmla="*/ 255607 w 255606"/>
                    <a:gd name="connsiteY4" fmla="*/ 42908 h 223897"/>
                    <a:gd name="connsiteX5" fmla="*/ 246705 w 255606"/>
                    <a:gd name="connsiteY5" fmla="*/ 39941 h 223897"/>
                    <a:gd name="connsiteX6" fmla="*/ 243739 w 255606"/>
                    <a:gd name="connsiteY6" fmla="*/ 39941 h 223897"/>
                    <a:gd name="connsiteX7" fmla="*/ 249673 w 255606"/>
                    <a:gd name="connsiteY7" fmla="*/ 19172 h 223897"/>
                    <a:gd name="connsiteX8" fmla="*/ 231870 w 255606"/>
                    <a:gd name="connsiteY8" fmla="*/ 13238 h 223897"/>
                    <a:gd name="connsiteX9" fmla="*/ 193299 w 255606"/>
                    <a:gd name="connsiteY9" fmla="*/ 36974 h 223897"/>
                    <a:gd name="connsiteX10" fmla="*/ 139892 w 255606"/>
                    <a:gd name="connsiteY10" fmla="*/ 72578 h 223897"/>
                    <a:gd name="connsiteX11" fmla="*/ 172530 w 255606"/>
                    <a:gd name="connsiteY11" fmla="*/ 36974 h 223897"/>
                    <a:gd name="connsiteX12" fmla="*/ 196266 w 255606"/>
                    <a:gd name="connsiteY12" fmla="*/ 7304 h 223897"/>
                    <a:gd name="connsiteX13" fmla="*/ 169563 w 255606"/>
                    <a:gd name="connsiteY13" fmla="*/ 7304 h 223897"/>
                    <a:gd name="connsiteX14" fmla="*/ 56815 w 255606"/>
                    <a:gd name="connsiteY14" fmla="*/ 114117 h 223897"/>
                    <a:gd name="connsiteX15" fmla="*/ 53848 w 255606"/>
                    <a:gd name="connsiteY15" fmla="*/ 54776 h 223897"/>
                    <a:gd name="connsiteX16" fmla="*/ 24178 w 255606"/>
                    <a:gd name="connsiteY16" fmla="*/ 51809 h 223897"/>
                    <a:gd name="connsiteX17" fmla="*/ 3409 w 255606"/>
                    <a:gd name="connsiteY17" fmla="*/ 188293 h 223897"/>
                    <a:gd name="connsiteX18" fmla="*/ 71651 w 255606"/>
                    <a:gd name="connsiteY18" fmla="*/ 223897 h 223897"/>
                    <a:gd name="connsiteX19" fmla="*/ 163628 w 255606"/>
                    <a:gd name="connsiteY19" fmla="*/ 158622 h 223897"/>
                    <a:gd name="connsiteX20" fmla="*/ 231870 w 255606"/>
                    <a:gd name="connsiteY20" fmla="*/ 90381 h 2238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55606" h="223897">
                      <a:moveTo>
                        <a:pt x="231870" y="90381"/>
                      </a:moveTo>
                      <a:cubicBezTo>
                        <a:pt x="228903" y="84447"/>
                        <a:pt x="222969" y="84447"/>
                        <a:pt x="217035" y="84447"/>
                      </a:cubicBezTo>
                      <a:cubicBezTo>
                        <a:pt x="214068" y="84447"/>
                        <a:pt x="214068" y="84447"/>
                        <a:pt x="211101" y="87413"/>
                      </a:cubicBezTo>
                      <a:cubicBezTo>
                        <a:pt x="217035" y="84447"/>
                        <a:pt x="222969" y="78513"/>
                        <a:pt x="228903" y="72578"/>
                      </a:cubicBezTo>
                      <a:cubicBezTo>
                        <a:pt x="240771" y="63677"/>
                        <a:pt x="255607" y="54776"/>
                        <a:pt x="255607" y="42908"/>
                      </a:cubicBezTo>
                      <a:cubicBezTo>
                        <a:pt x="255607" y="42908"/>
                        <a:pt x="249673" y="39941"/>
                        <a:pt x="246705" y="39941"/>
                      </a:cubicBezTo>
                      <a:cubicBezTo>
                        <a:pt x="246705" y="39941"/>
                        <a:pt x="246705" y="39941"/>
                        <a:pt x="243739" y="39941"/>
                      </a:cubicBezTo>
                      <a:cubicBezTo>
                        <a:pt x="249673" y="34007"/>
                        <a:pt x="252639" y="25106"/>
                        <a:pt x="249673" y="19172"/>
                      </a:cubicBezTo>
                      <a:cubicBezTo>
                        <a:pt x="246705" y="13238"/>
                        <a:pt x="240771" y="10271"/>
                        <a:pt x="231870" y="13238"/>
                      </a:cubicBezTo>
                      <a:cubicBezTo>
                        <a:pt x="217035" y="19172"/>
                        <a:pt x="205167" y="31040"/>
                        <a:pt x="193299" y="36974"/>
                      </a:cubicBezTo>
                      <a:cubicBezTo>
                        <a:pt x="175497" y="48842"/>
                        <a:pt x="157694" y="60710"/>
                        <a:pt x="139892" y="72578"/>
                      </a:cubicBezTo>
                      <a:cubicBezTo>
                        <a:pt x="151760" y="60710"/>
                        <a:pt x="163628" y="48842"/>
                        <a:pt x="172530" y="36974"/>
                      </a:cubicBezTo>
                      <a:cubicBezTo>
                        <a:pt x="178464" y="28073"/>
                        <a:pt x="193299" y="19172"/>
                        <a:pt x="196266" y="7304"/>
                      </a:cubicBezTo>
                      <a:cubicBezTo>
                        <a:pt x="199233" y="-7532"/>
                        <a:pt x="178464" y="4337"/>
                        <a:pt x="169563" y="7304"/>
                      </a:cubicBezTo>
                      <a:cubicBezTo>
                        <a:pt x="122090" y="34007"/>
                        <a:pt x="95387" y="81479"/>
                        <a:pt x="56815" y="114117"/>
                      </a:cubicBezTo>
                      <a:cubicBezTo>
                        <a:pt x="59782" y="99282"/>
                        <a:pt x="56815" y="75545"/>
                        <a:pt x="53848" y="54776"/>
                      </a:cubicBezTo>
                      <a:cubicBezTo>
                        <a:pt x="50881" y="36974"/>
                        <a:pt x="24178" y="36974"/>
                        <a:pt x="24178" y="51809"/>
                      </a:cubicBezTo>
                      <a:cubicBezTo>
                        <a:pt x="27145" y="105216"/>
                        <a:pt x="-11426" y="158622"/>
                        <a:pt x="3409" y="188293"/>
                      </a:cubicBezTo>
                      <a:cubicBezTo>
                        <a:pt x="12310" y="209062"/>
                        <a:pt x="47914" y="223897"/>
                        <a:pt x="71651" y="223897"/>
                      </a:cubicBezTo>
                      <a:cubicBezTo>
                        <a:pt x="107255" y="220930"/>
                        <a:pt x="136925" y="182359"/>
                        <a:pt x="163628" y="158622"/>
                      </a:cubicBezTo>
                      <a:cubicBezTo>
                        <a:pt x="184398" y="146754"/>
                        <a:pt x="237804" y="105216"/>
                        <a:pt x="231870" y="90381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: 形状 70">
                  <a:extLst>
                    <a:ext uri="{FF2B5EF4-FFF2-40B4-BE49-F238E27FC236}">
                      <a16:creationId xmlns:a16="http://schemas.microsoft.com/office/drawing/2014/main" id="{F11E5250-9FF2-4661-976E-5E5F5F97592E}"/>
                    </a:ext>
                  </a:extLst>
                </p:cNvPr>
                <p:cNvSpPr/>
                <p:nvPr/>
              </p:nvSpPr>
              <p:spPr>
                <a:xfrm>
                  <a:off x="9917360" y="8782844"/>
                  <a:ext cx="20027" cy="51758"/>
                </a:xfrm>
                <a:custGeom>
                  <a:avLst/>
                  <a:gdLst>
                    <a:gd name="connsiteX0" fmla="*/ 5193 w 20027"/>
                    <a:gd name="connsiteY0" fmla="*/ 51758 h 51758"/>
                    <a:gd name="connsiteX1" fmla="*/ 2225 w 20027"/>
                    <a:gd name="connsiteY1" fmla="*/ 51758 h 51758"/>
                    <a:gd name="connsiteX2" fmla="*/ 2225 w 20027"/>
                    <a:gd name="connsiteY2" fmla="*/ 42857 h 51758"/>
                    <a:gd name="connsiteX3" fmla="*/ 5193 w 20027"/>
                    <a:gd name="connsiteY3" fmla="*/ 10220 h 51758"/>
                    <a:gd name="connsiteX4" fmla="*/ 5193 w 20027"/>
                    <a:gd name="connsiteY4" fmla="*/ 1319 h 51758"/>
                    <a:gd name="connsiteX5" fmla="*/ 14093 w 20027"/>
                    <a:gd name="connsiteY5" fmla="*/ 1319 h 51758"/>
                    <a:gd name="connsiteX6" fmla="*/ 8159 w 20027"/>
                    <a:gd name="connsiteY6" fmla="*/ 48791 h 51758"/>
                    <a:gd name="connsiteX7" fmla="*/ 5193 w 20027"/>
                    <a:gd name="connsiteY7" fmla="*/ 51758 h 517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027" h="51758">
                      <a:moveTo>
                        <a:pt x="5193" y="51758"/>
                      </a:moveTo>
                      <a:cubicBezTo>
                        <a:pt x="5193" y="51758"/>
                        <a:pt x="2225" y="51758"/>
                        <a:pt x="2225" y="51758"/>
                      </a:cubicBezTo>
                      <a:cubicBezTo>
                        <a:pt x="-742" y="48791"/>
                        <a:pt x="-742" y="45824"/>
                        <a:pt x="2225" y="42857"/>
                      </a:cubicBezTo>
                      <a:cubicBezTo>
                        <a:pt x="17061" y="25055"/>
                        <a:pt x="8159" y="10220"/>
                        <a:pt x="5193" y="10220"/>
                      </a:cubicBezTo>
                      <a:cubicBezTo>
                        <a:pt x="2225" y="7253"/>
                        <a:pt x="5193" y="4286"/>
                        <a:pt x="5193" y="1319"/>
                      </a:cubicBezTo>
                      <a:cubicBezTo>
                        <a:pt x="8159" y="-1648"/>
                        <a:pt x="11127" y="1319"/>
                        <a:pt x="14093" y="1319"/>
                      </a:cubicBezTo>
                      <a:cubicBezTo>
                        <a:pt x="20028" y="10220"/>
                        <a:pt x="25962" y="28022"/>
                        <a:pt x="8159" y="48791"/>
                      </a:cubicBezTo>
                      <a:cubicBezTo>
                        <a:pt x="8159" y="51758"/>
                        <a:pt x="8159" y="51758"/>
                        <a:pt x="5193" y="51758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: 形状 71">
                  <a:extLst>
                    <a:ext uri="{FF2B5EF4-FFF2-40B4-BE49-F238E27FC236}">
                      <a16:creationId xmlns:a16="http://schemas.microsoft.com/office/drawing/2014/main" id="{BFFED3C8-A3A5-4D5D-8727-B58C35AA1B89}"/>
                    </a:ext>
                  </a:extLst>
                </p:cNvPr>
                <p:cNvSpPr/>
                <p:nvPr/>
              </p:nvSpPr>
              <p:spPr>
                <a:xfrm>
                  <a:off x="9991536" y="8660289"/>
                  <a:ext cx="124986" cy="79367"/>
                </a:xfrm>
                <a:custGeom>
                  <a:avLst/>
                  <a:gdLst>
                    <a:gd name="connsiteX0" fmla="*/ 5193 w 124986"/>
                    <a:gd name="connsiteY0" fmla="*/ 79368 h 79367"/>
                    <a:gd name="connsiteX1" fmla="*/ 2225 w 124986"/>
                    <a:gd name="connsiteY1" fmla="*/ 76401 h 79367"/>
                    <a:gd name="connsiteX2" fmla="*/ 2225 w 124986"/>
                    <a:gd name="connsiteY2" fmla="*/ 67500 h 79367"/>
                    <a:gd name="connsiteX3" fmla="*/ 58599 w 124986"/>
                    <a:gd name="connsiteY3" fmla="*/ 2225 h 79367"/>
                    <a:gd name="connsiteX4" fmla="*/ 67500 w 124986"/>
                    <a:gd name="connsiteY4" fmla="*/ 2225 h 79367"/>
                    <a:gd name="connsiteX5" fmla="*/ 67500 w 124986"/>
                    <a:gd name="connsiteY5" fmla="*/ 11126 h 79367"/>
                    <a:gd name="connsiteX6" fmla="*/ 46731 w 124986"/>
                    <a:gd name="connsiteY6" fmla="*/ 37830 h 79367"/>
                    <a:gd name="connsiteX7" fmla="*/ 109039 w 124986"/>
                    <a:gd name="connsiteY7" fmla="*/ 5192 h 79367"/>
                    <a:gd name="connsiteX8" fmla="*/ 123874 w 124986"/>
                    <a:gd name="connsiteY8" fmla="*/ 17061 h 79367"/>
                    <a:gd name="connsiteX9" fmla="*/ 114973 w 124986"/>
                    <a:gd name="connsiteY9" fmla="*/ 40796 h 79367"/>
                    <a:gd name="connsiteX10" fmla="*/ 106072 w 124986"/>
                    <a:gd name="connsiteY10" fmla="*/ 40796 h 79367"/>
                    <a:gd name="connsiteX11" fmla="*/ 106072 w 124986"/>
                    <a:gd name="connsiteY11" fmla="*/ 31896 h 79367"/>
                    <a:gd name="connsiteX12" fmla="*/ 112006 w 124986"/>
                    <a:gd name="connsiteY12" fmla="*/ 20027 h 79367"/>
                    <a:gd name="connsiteX13" fmla="*/ 106072 w 124986"/>
                    <a:gd name="connsiteY13" fmla="*/ 17061 h 79367"/>
                    <a:gd name="connsiteX14" fmla="*/ 8159 w 124986"/>
                    <a:gd name="connsiteY14" fmla="*/ 79368 h 79367"/>
                    <a:gd name="connsiteX15" fmla="*/ 5193 w 124986"/>
                    <a:gd name="connsiteY15" fmla="*/ 79368 h 793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24986" h="79367">
                      <a:moveTo>
                        <a:pt x="5193" y="79368"/>
                      </a:moveTo>
                      <a:cubicBezTo>
                        <a:pt x="2225" y="79368"/>
                        <a:pt x="2225" y="79368"/>
                        <a:pt x="2225" y="76401"/>
                      </a:cubicBezTo>
                      <a:cubicBezTo>
                        <a:pt x="-742" y="73434"/>
                        <a:pt x="-742" y="70467"/>
                        <a:pt x="2225" y="67500"/>
                      </a:cubicBezTo>
                      <a:cubicBezTo>
                        <a:pt x="25962" y="46731"/>
                        <a:pt x="58599" y="2225"/>
                        <a:pt x="58599" y="2225"/>
                      </a:cubicBezTo>
                      <a:cubicBezTo>
                        <a:pt x="61566" y="-742"/>
                        <a:pt x="64533" y="-742"/>
                        <a:pt x="67500" y="2225"/>
                      </a:cubicBezTo>
                      <a:cubicBezTo>
                        <a:pt x="70467" y="5192"/>
                        <a:pt x="70467" y="8159"/>
                        <a:pt x="67500" y="11126"/>
                      </a:cubicBezTo>
                      <a:cubicBezTo>
                        <a:pt x="67500" y="11126"/>
                        <a:pt x="58599" y="22995"/>
                        <a:pt x="46731" y="37830"/>
                      </a:cubicBezTo>
                      <a:cubicBezTo>
                        <a:pt x="73434" y="20027"/>
                        <a:pt x="100138" y="5192"/>
                        <a:pt x="109039" y="5192"/>
                      </a:cubicBezTo>
                      <a:cubicBezTo>
                        <a:pt x="120907" y="8159"/>
                        <a:pt x="123874" y="14093"/>
                        <a:pt x="123874" y="17061"/>
                      </a:cubicBezTo>
                      <a:cubicBezTo>
                        <a:pt x="126841" y="25961"/>
                        <a:pt x="123874" y="34863"/>
                        <a:pt x="114973" y="40796"/>
                      </a:cubicBezTo>
                      <a:cubicBezTo>
                        <a:pt x="112006" y="43764"/>
                        <a:pt x="109039" y="43764"/>
                        <a:pt x="106072" y="40796"/>
                      </a:cubicBezTo>
                      <a:cubicBezTo>
                        <a:pt x="103104" y="37830"/>
                        <a:pt x="103104" y="34863"/>
                        <a:pt x="106072" y="31896"/>
                      </a:cubicBezTo>
                      <a:cubicBezTo>
                        <a:pt x="112006" y="25961"/>
                        <a:pt x="112006" y="22995"/>
                        <a:pt x="112006" y="20027"/>
                      </a:cubicBezTo>
                      <a:cubicBezTo>
                        <a:pt x="112006" y="17061"/>
                        <a:pt x="109039" y="17061"/>
                        <a:pt x="106072" y="17061"/>
                      </a:cubicBezTo>
                      <a:cubicBezTo>
                        <a:pt x="97170" y="17061"/>
                        <a:pt x="49698" y="49698"/>
                        <a:pt x="8159" y="79368"/>
                      </a:cubicBezTo>
                      <a:cubicBezTo>
                        <a:pt x="8159" y="79368"/>
                        <a:pt x="8159" y="79368"/>
                        <a:pt x="5193" y="79368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A9DBEB3A-3C62-408B-BD9E-1245DB809397}"/>
                  </a:ext>
                </a:extLst>
              </p:cNvPr>
              <p:cNvSpPr/>
              <p:nvPr/>
            </p:nvSpPr>
            <p:spPr>
              <a:xfrm>
                <a:off x="9995499" y="8735526"/>
                <a:ext cx="96747" cy="81273"/>
              </a:xfrm>
              <a:custGeom>
                <a:avLst/>
                <a:gdLst>
                  <a:gd name="connsiteX0" fmla="*/ 36833 w 96747"/>
                  <a:gd name="connsiteY0" fmla="*/ 81274 h 81273"/>
                  <a:gd name="connsiteX1" fmla="*/ 30899 w 96747"/>
                  <a:gd name="connsiteY1" fmla="*/ 78307 h 81273"/>
                  <a:gd name="connsiteX2" fmla="*/ 30899 w 96747"/>
                  <a:gd name="connsiteY2" fmla="*/ 69405 h 81273"/>
                  <a:gd name="connsiteX3" fmla="*/ 84306 w 96747"/>
                  <a:gd name="connsiteY3" fmla="*/ 13032 h 81273"/>
                  <a:gd name="connsiteX4" fmla="*/ 81339 w 96747"/>
                  <a:gd name="connsiteY4" fmla="*/ 10065 h 81273"/>
                  <a:gd name="connsiteX5" fmla="*/ 66504 w 96747"/>
                  <a:gd name="connsiteY5" fmla="*/ 15999 h 81273"/>
                  <a:gd name="connsiteX6" fmla="*/ 42767 w 96747"/>
                  <a:gd name="connsiteY6" fmla="*/ 36768 h 81273"/>
                  <a:gd name="connsiteX7" fmla="*/ 10130 w 96747"/>
                  <a:gd name="connsiteY7" fmla="*/ 63471 h 81273"/>
                  <a:gd name="connsiteX8" fmla="*/ 1229 w 96747"/>
                  <a:gd name="connsiteY8" fmla="*/ 60505 h 81273"/>
                  <a:gd name="connsiteX9" fmla="*/ 4196 w 96747"/>
                  <a:gd name="connsiteY9" fmla="*/ 51604 h 81273"/>
                  <a:gd name="connsiteX10" fmla="*/ 36833 w 96747"/>
                  <a:gd name="connsiteY10" fmla="*/ 27867 h 81273"/>
                  <a:gd name="connsiteX11" fmla="*/ 63536 w 96747"/>
                  <a:gd name="connsiteY11" fmla="*/ 7098 h 81273"/>
                  <a:gd name="connsiteX12" fmla="*/ 87273 w 96747"/>
                  <a:gd name="connsiteY12" fmla="*/ 1164 h 81273"/>
                  <a:gd name="connsiteX13" fmla="*/ 96174 w 96747"/>
                  <a:gd name="connsiteY13" fmla="*/ 10065 h 81273"/>
                  <a:gd name="connsiteX14" fmla="*/ 36833 w 96747"/>
                  <a:gd name="connsiteY14" fmla="*/ 78307 h 81273"/>
                  <a:gd name="connsiteX15" fmla="*/ 36833 w 96747"/>
                  <a:gd name="connsiteY15" fmla="*/ 81274 h 81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6747" h="81273">
                    <a:moveTo>
                      <a:pt x="36833" y="81274"/>
                    </a:moveTo>
                    <a:cubicBezTo>
                      <a:pt x="33866" y="81274"/>
                      <a:pt x="33866" y="81274"/>
                      <a:pt x="30899" y="78307"/>
                    </a:cubicBezTo>
                    <a:cubicBezTo>
                      <a:pt x="27932" y="75340"/>
                      <a:pt x="27932" y="72373"/>
                      <a:pt x="30899" y="69405"/>
                    </a:cubicBezTo>
                    <a:cubicBezTo>
                      <a:pt x="60570" y="45670"/>
                      <a:pt x="84306" y="18966"/>
                      <a:pt x="84306" y="13032"/>
                    </a:cubicBezTo>
                    <a:cubicBezTo>
                      <a:pt x="84306" y="10065"/>
                      <a:pt x="81339" y="10065"/>
                      <a:pt x="81339" y="10065"/>
                    </a:cubicBezTo>
                    <a:cubicBezTo>
                      <a:pt x="78372" y="10065"/>
                      <a:pt x="75405" y="10065"/>
                      <a:pt x="66504" y="15999"/>
                    </a:cubicBezTo>
                    <a:cubicBezTo>
                      <a:pt x="60570" y="18966"/>
                      <a:pt x="51669" y="27867"/>
                      <a:pt x="42767" y="36768"/>
                    </a:cubicBezTo>
                    <a:cubicBezTo>
                      <a:pt x="27932" y="48636"/>
                      <a:pt x="16064" y="60505"/>
                      <a:pt x="10130" y="63471"/>
                    </a:cubicBezTo>
                    <a:cubicBezTo>
                      <a:pt x="7163" y="63471"/>
                      <a:pt x="4196" y="63471"/>
                      <a:pt x="1229" y="60505"/>
                    </a:cubicBezTo>
                    <a:cubicBezTo>
                      <a:pt x="-1738" y="57538"/>
                      <a:pt x="1229" y="54570"/>
                      <a:pt x="4196" y="51604"/>
                    </a:cubicBezTo>
                    <a:cubicBezTo>
                      <a:pt x="10130" y="48636"/>
                      <a:pt x="24965" y="36768"/>
                      <a:pt x="36833" y="27867"/>
                    </a:cubicBezTo>
                    <a:cubicBezTo>
                      <a:pt x="48701" y="18966"/>
                      <a:pt x="57603" y="10065"/>
                      <a:pt x="63536" y="7098"/>
                    </a:cubicBezTo>
                    <a:cubicBezTo>
                      <a:pt x="72438" y="1164"/>
                      <a:pt x="81339" y="-1803"/>
                      <a:pt x="87273" y="1164"/>
                    </a:cubicBezTo>
                    <a:cubicBezTo>
                      <a:pt x="90240" y="1164"/>
                      <a:pt x="93207" y="4131"/>
                      <a:pt x="96174" y="10065"/>
                    </a:cubicBezTo>
                    <a:cubicBezTo>
                      <a:pt x="102108" y="24900"/>
                      <a:pt x="60570" y="60505"/>
                      <a:pt x="36833" y="78307"/>
                    </a:cubicBezTo>
                    <a:cubicBezTo>
                      <a:pt x="39800" y="81274"/>
                      <a:pt x="39800" y="81274"/>
                      <a:pt x="36833" y="81274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8B1EE74A-85F7-4D18-A2BE-71EFA52016F5}"/>
                  </a:ext>
                </a:extLst>
              </p:cNvPr>
              <p:cNvSpPr/>
              <p:nvPr/>
            </p:nvSpPr>
            <p:spPr>
              <a:xfrm>
                <a:off x="9992532" y="8691726"/>
                <a:ext cx="125844" cy="80568"/>
              </a:xfrm>
              <a:custGeom>
                <a:avLst/>
                <a:gdLst>
                  <a:gd name="connsiteX0" fmla="*/ 7163 w 125844"/>
                  <a:gd name="connsiteY0" fmla="*/ 80569 h 80568"/>
                  <a:gd name="connsiteX1" fmla="*/ 1229 w 125844"/>
                  <a:gd name="connsiteY1" fmla="*/ 77602 h 80568"/>
                  <a:gd name="connsiteX2" fmla="*/ 4196 w 125844"/>
                  <a:gd name="connsiteY2" fmla="*/ 68701 h 80568"/>
                  <a:gd name="connsiteX3" fmla="*/ 42767 w 125844"/>
                  <a:gd name="connsiteY3" fmla="*/ 41997 h 80568"/>
                  <a:gd name="connsiteX4" fmla="*/ 48702 w 125844"/>
                  <a:gd name="connsiteY4" fmla="*/ 36063 h 80568"/>
                  <a:gd name="connsiteX5" fmla="*/ 93207 w 125844"/>
                  <a:gd name="connsiteY5" fmla="*/ 3426 h 80568"/>
                  <a:gd name="connsiteX6" fmla="*/ 119910 w 125844"/>
                  <a:gd name="connsiteY6" fmla="*/ 3426 h 80568"/>
                  <a:gd name="connsiteX7" fmla="*/ 125844 w 125844"/>
                  <a:gd name="connsiteY7" fmla="*/ 15294 h 80568"/>
                  <a:gd name="connsiteX8" fmla="*/ 87273 w 125844"/>
                  <a:gd name="connsiteY8" fmla="*/ 56833 h 80568"/>
                  <a:gd name="connsiteX9" fmla="*/ 78372 w 125844"/>
                  <a:gd name="connsiteY9" fmla="*/ 56833 h 80568"/>
                  <a:gd name="connsiteX10" fmla="*/ 78372 w 125844"/>
                  <a:gd name="connsiteY10" fmla="*/ 47931 h 80568"/>
                  <a:gd name="connsiteX11" fmla="*/ 113976 w 125844"/>
                  <a:gd name="connsiteY11" fmla="*/ 15294 h 80568"/>
                  <a:gd name="connsiteX12" fmla="*/ 96174 w 125844"/>
                  <a:gd name="connsiteY12" fmla="*/ 15294 h 80568"/>
                  <a:gd name="connsiteX13" fmla="*/ 54636 w 125844"/>
                  <a:gd name="connsiteY13" fmla="*/ 47931 h 80568"/>
                  <a:gd name="connsiteX14" fmla="*/ 48702 w 125844"/>
                  <a:gd name="connsiteY14" fmla="*/ 53865 h 80568"/>
                  <a:gd name="connsiteX15" fmla="*/ 7163 w 125844"/>
                  <a:gd name="connsiteY15" fmla="*/ 80569 h 80568"/>
                  <a:gd name="connsiteX16" fmla="*/ 7163 w 125844"/>
                  <a:gd name="connsiteY16" fmla="*/ 80569 h 80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5844" h="80568">
                    <a:moveTo>
                      <a:pt x="7163" y="80569"/>
                    </a:moveTo>
                    <a:cubicBezTo>
                      <a:pt x="4196" y="80569"/>
                      <a:pt x="4196" y="80569"/>
                      <a:pt x="1229" y="77602"/>
                    </a:cubicBezTo>
                    <a:cubicBezTo>
                      <a:pt x="-1738" y="74635"/>
                      <a:pt x="1229" y="71668"/>
                      <a:pt x="4196" y="68701"/>
                    </a:cubicBezTo>
                    <a:cubicBezTo>
                      <a:pt x="13097" y="62767"/>
                      <a:pt x="39801" y="44965"/>
                      <a:pt x="42767" y="41997"/>
                    </a:cubicBezTo>
                    <a:cubicBezTo>
                      <a:pt x="42767" y="41997"/>
                      <a:pt x="45735" y="39030"/>
                      <a:pt x="48702" y="36063"/>
                    </a:cubicBezTo>
                    <a:cubicBezTo>
                      <a:pt x="66504" y="21228"/>
                      <a:pt x="84306" y="6393"/>
                      <a:pt x="93207" y="3426"/>
                    </a:cubicBezTo>
                    <a:cubicBezTo>
                      <a:pt x="102108" y="459"/>
                      <a:pt x="113976" y="-2508"/>
                      <a:pt x="119910" y="3426"/>
                    </a:cubicBezTo>
                    <a:cubicBezTo>
                      <a:pt x="122878" y="6393"/>
                      <a:pt x="125844" y="9360"/>
                      <a:pt x="125844" y="15294"/>
                    </a:cubicBezTo>
                    <a:cubicBezTo>
                      <a:pt x="125844" y="27162"/>
                      <a:pt x="102108" y="44965"/>
                      <a:pt x="87273" y="56833"/>
                    </a:cubicBezTo>
                    <a:cubicBezTo>
                      <a:pt x="84306" y="59800"/>
                      <a:pt x="81339" y="56833"/>
                      <a:pt x="78372" y="56833"/>
                    </a:cubicBezTo>
                    <a:cubicBezTo>
                      <a:pt x="75405" y="53865"/>
                      <a:pt x="78372" y="50899"/>
                      <a:pt x="78372" y="47931"/>
                    </a:cubicBezTo>
                    <a:cubicBezTo>
                      <a:pt x="96174" y="33096"/>
                      <a:pt x="111009" y="18261"/>
                      <a:pt x="113976" y="15294"/>
                    </a:cubicBezTo>
                    <a:cubicBezTo>
                      <a:pt x="111009" y="12327"/>
                      <a:pt x="102108" y="12327"/>
                      <a:pt x="96174" y="15294"/>
                    </a:cubicBezTo>
                    <a:cubicBezTo>
                      <a:pt x="90240" y="18261"/>
                      <a:pt x="66504" y="39030"/>
                      <a:pt x="54636" y="47931"/>
                    </a:cubicBezTo>
                    <a:cubicBezTo>
                      <a:pt x="51669" y="50899"/>
                      <a:pt x="48702" y="53865"/>
                      <a:pt x="48702" y="53865"/>
                    </a:cubicBezTo>
                    <a:cubicBezTo>
                      <a:pt x="42767" y="59800"/>
                      <a:pt x="10130" y="80569"/>
                      <a:pt x="7163" y="80569"/>
                    </a:cubicBezTo>
                    <a:cubicBezTo>
                      <a:pt x="10130" y="80569"/>
                      <a:pt x="10130" y="80569"/>
                      <a:pt x="7163" y="80569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6CF2F40C-EC6C-458F-80EC-C0A153D0ACCF}"/>
                </a:ext>
              </a:extLst>
            </p:cNvPr>
            <p:cNvSpPr/>
            <p:nvPr/>
          </p:nvSpPr>
          <p:spPr>
            <a:xfrm>
              <a:off x="7768434" y="9650415"/>
              <a:ext cx="946858" cy="405887"/>
            </a:xfrm>
            <a:custGeom>
              <a:avLst/>
              <a:gdLst>
                <a:gd name="connsiteX0" fmla="*/ 815986 w 946858"/>
                <a:gd name="connsiteY0" fmla="*/ 115835 h 405887"/>
                <a:gd name="connsiteX1" fmla="*/ 394667 w 946858"/>
                <a:gd name="connsiteY1" fmla="*/ 207814 h 405887"/>
                <a:gd name="connsiteX2" fmla="*/ 44557 w 946858"/>
                <a:gd name="connsiteY2" fmla="*/ 121 h 405887"/>
                <a:gd name="connsiteX3" fmla="*/ 52 w 946858"/>
                <a:gd name="connsiteY3" fmla="*/ 92100 h 405887"/>
                <a:gd name="connsiteX4" fmla="*/ 332359 w 946858"/>
                <a:gd name="connsiteY4" fmla="*/ 391770 h 405887"/>
                <a:gd name="connsiteX5" fmla="*/ 884228 w 946858"/>
                <a:gd name="connsiteY5" fmla="*/ 373968 h 405887"/>
                <a:gd name="connsiteX6" fmla="*/ 815986 w 946858"/>
                <a:gd name="connsiteY6" fmla="*/ 115835 h 40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6858" h="405887">
                  <a:moveTo>
                    <a:pt x="815986" y="115835"/>
                  </a:moveTo>
                  <a:cubicBezTo>
                    <a:pt x="729942" y="124737"/>
                    <a:pt x="394667" y="207814"/>
                    <a:pt x="394667" y="207814"/>
                  </a:cubicBezTo>
                  <a:cubicBezTo>
                    <a:pt x="394667" y="207814"/>
                    <a:pt x="50491" y="-5812"/>
                    <a:pt x="44557" y="121"/>
                  </a:cubicBezTo>
                  <a:cubicBezTo>
                    <a:pt x="-14783" y="35726"/>
                    <a:pt x="20821" y="26824"/>
                    <a:pt x="52" y="92100"/>
                  </a:cubicBezTo>
                  <a:cubicBezTo>
                    <a:pt x="-2915" y="101000"/>
                    <a:pt x="121700" y="261221"/>
                    <a:pt x="332359" y="391770"/>
                  </a:cubicBezTo>
                  <a:cubicBezTo>
                    <a:pt x="388733" y="427374"/>
                    <a:pt x="741810" y="385836"/>
                    <a:pt x="884228" y="373968"/>
                  </a:cubicBezTo>
                  <a:cubicBezTo>
                    <a:pt x="970272" y="365067"/>
                    <a:pt x="985107" y="98034"/>
                    <a:pt x="815986" y="115835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78C93987-9E05-4301-B976-37F50EC06663}"/>
                </a:ext>
              </a:extLst>
            </p:cNvPr>
            <p:cNvSpPr/>
            <p:nvPr/>
          </p:nvSpPr>
          <p:spPr>
            <a:xfrm>
              <a:off x="8474640" y="9631206"/>
              <a:ext cx="503393" cy="434714"/>
            </a:xfrm>
            <a:custGeom>
              <a:avLst/>
              <a:gdLst>
                <a:gd name="connsiteX0" fmla="*/ 195824 w 503393"/>
                <a:gd name="connsiteY0" fmla="*/ 434715 h 434714"/>
                <a:gd name="connsiteX1" fmla="*/ 498462 w 503393"/>
                <a:gd name="connsiteY1" fmla="*/ 43067 h 434714"/>
                <a:gd name="connsiteX2" fmla="*/ 0 w 503393"/>
                <a:gd name="connsiteY2" fmla="*/ 129111 h 434714"/>
                <a:gd name="connsiteX3" fmla="*/ 59341 w 503393"/>
                <a:gd name="connsiteY3" fmla="*/ 238890 h 434714"/>
                <a:gd name="connsiteX4" fmla="*/ 195824 w 503393"/>
                <a:gd name="connsiteY4" fmla="*/ 434715 h 43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3393" h="434714">
                  <a:moveTo>
                    <a:pt x="195824" y="434715"/>
                  </a:moveTo>
                  <a:cubicBezTo>
                    <a:pt x="195824" y="434715"/>
                    <a:pt x="548901" y="158781"/>
                    <a:pt x="498462" y="43067"/>
                  </a:cubicBezTo>
                  <a:cubicBezTo>
                    <a:pt x="439121" y="-90450"/>
                    <a:pt x="0" y="129111"/>
                    <a:pt x="0" y="129111"/>
                  </a:cubicBezTo>
                  <a:cubicBezTo>
                    <a:pt x="0" y="129111"/>
                    <a:pt x="20769" y="188451"/>
                    <a:pt x="59341" y="238890"/>
                  </a:cubicBezTo>
                  <a:cubicBezTo>
                    <a:pt x="74176" y="304166"/>
                    <a:pt x="121648" y="387242"/>
                    <a:pt x="195824" y="434715"/>
                  </a:cubicBezTo>
                  <a:close/>
                </a:path>
              </a:pathLst>
            </a:custGeom>
            <a:solidFill>
              <a:srgbClr val="D16156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FCE75859-93A4-45E4-B7A1-3BA54FC069E3}"/>
                </a:ext>
              </a:extLst>
            </p:cNvPr>
            <p:cNvSpPr/>
            <p:nvPr/>
          </p:nvSpPr>
          <p:spPr>
            <a:xfrm>
              <a:off x="9094750" y="9306360"/>
              <a:ext cx="281868" cy="267032"/>
            </a:xfrm>
            <a:custGeom>
              <a:avLst/>
              <a:gdLst>
                <a:gd name="connsiteX0" fmla="*/ 0 w 281868"/>
                <a:gd name="connsiteY0" fmla="*/ 267033 h 267032"/>
                <a:gd name="connsiteX1" fmla="*/ 272967 w 281868"/>
                <a:gd name="connsiteY1" fmla="*/ 264067 h 267032"/>
                <a:gd name="connsiteX2" fmla="*/ 281868 w 281868"/>
                <a:gd name="connsiteY2" fmla="*/ 124616 h 267032"/>
                <a:gd name="connsiteX3" fmla="*/ 275934 w 281868"/>
                <a:gd name="connsiteY3" fmla="*/ 17802 h 267032"/>
                <a:gd name="connsiteX4" fmla="*/ 204726 w 281868"/>
                <a:gd name="connsiteY4" fmla="*/ 0 h 267032"/>
                <a:gd name="connsiteX5" fmla="*/ 50439 w 281868"/>
                <a:gd name="connsiteY5" fmla="*/ 86045 h 267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1868" h="267032">
                  <a:moveTo>
                    <a:pt x="0" y="267033"/>
                  </a:moveTo>
                  <a:lnTo>
                    <a:pt x="272967" y="264067"/>
                  </a:lnTo>
                  <a:lnTo>
                    <a:pt x="281868" y="124616"/>
                  </a:lnTo>
                  <a:lnTo>
                    <a:pt x="275934" y="17802"/>
                  </a:lnTo>
                  <a:lnTo>
                    <a:pt x="204726" y="0"/>
                  </a:lnTo>
                  <a:lnTo>
                    <a:pt x="50439" y="86045"/>
                  </a:lnTo>
                  <a:close/>
                </a:path>
              </a:pathLst>
            </a:custGeom>
            <a:solidFill>
              <a:srgbClr val="664241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D11D82A-1814-45CF-B757-446A3AF9A1F1}"/>
                </a:ext>
              </a:extLst>
            </p:cNvPr>
            <p:cNvSpPr/>
            <p:nvPr/>
          </p:nvSpPr>
          <p:spPr>
            <a:xfrm>
              <a:off x="8747607" y="8953253"/>
              <a:ext cx="457300" cy="645206"/>
            </a:xfrm>
            <a:custGeom>
              <a:avLst/>
              <a:gdLst>
                <a:gd name="connsiteX0" fmla="*/ 391648 w 457300"/>
                <a:gd name="connsiteY0" fmla="*/ 456954 h 645206"/>
                <a:gd name="connsiteX1" fmla="*/ 382747 w 457300"/>
                <a:gd name="connsiteY1" fmla="*/ 299701 h 645206"/>
                <a:gd name="connsiteX2" fmla="*/ 424286 w 457300"/>
                <a:gd name="connsiteY2" fmla="*/ 157283 h 645206"/>
                <a:gd name="connsiteX3" fmla="*/ 456923 w 457300"/>
                <a:gd name="connsiteY3" fmla="*/ 8932 h 645206"/>
                <a:gd name="connsiteX4" fmla="*/ 139450 w 457300"/>
                <a:gd name="connsiteY4" fmla="*/ 172119 h 645206"/>
                <a:gd name="connsiteX5" fmla="*/ 0 w 457300"/>
                <a:gd name="connsiteY5" fmla="*/ 566734 h 645206"/>
                <a:gd name="connsiteX6" fmla="*/ 412417 w 457300"/>
                <a:gd name="connsiteY6" fmla="*/ 620140 h 645206"/>
                <a:gd name="connsiteX7" fmla="*/ 391648 w 457300"/>
                <a:gd name="connsiteY7" fmla="*/ 456954 h 645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7300" h="645206">
                  <a:moveTo>
                    <a:pt x="391648" y="456954"/>
                  </a:moveTo>
                  <a:cubicBezTo>
                    <a:pt x="382747" y="406515"/>
                    <a:pt x="376813" y="353107"/>
                    <a:pt x="382747" y="299701"/>
                  </a:cubicBezTo>
                  <a:cubicBezTo>
                    <a:pt x="388682" y="249262"/>
                    <a:pt x="403517" y="201789"/>
                    <a:pt x="424286" y="157283"/>
                  </a:cubicBezTo>
                  <a:cubicBezTo>
                    <a:pt x="445055" y="109811"/>
                    <a:pt x="459890" y="8932"/>
                    <a:pt x="456923" y="8932"/>
                  </a:cubicBezTo>
                  <a:cubicBezTo>
                    <a:pt x="344176" y="-26673"/>
                    <a:pt x="166154" y="47503"/>
                    <a:pt x="139450" y="172119"/>
                  </a:cubicBezTo>
                  <a:cubicBezTo>
                    <a:pt x="127583" y="234426"/>
                    <a:pt x="118681" y="403547"/>
                    <a:pt x="0" y="566734"/>
                  </a:cubicBezTo>
                  <a:cubicBezTo>
                    <a:pt x="100879" y="640910"/>
                    <a:pt x="403517" y="670580"/>
                    <a:pt x="412417" y="620140"/>
                  </a:cubicBezTo>
                  <a:cubicBezTo>
                    <a:pt x="421319" y="578602"/>
                    <a:pt x="397582" y="498493"/>
                    <a:pt x="391648" y="456954"/>
                  </a:cubicBezTo>
                  <a:close/>
                </a:path>
              </a:pathLst>
            </a:custGeom>
            <a:solidFill>
              <a:srgbClr val="664241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00E44CFB-A3D5-4957-B63B-B24DC574424D}"/>
                </a:ext>
              </a:extLst>
            </p:cNvPr>
            <p:cNvSpPr/>
            <p:nvPr/>
          </p:nvSpPr>
          <p:spPr>
            <a:xfrm>
              <a:off x="8352992" y="10596360"/>
              <a:ext cx="1145218" cy="1596923"/>
            </a:xfrm>
            <a:custGeom>
              <a:avLst/>
              <a:gdLst>
                <a:gd name="connsiteX0" fmla="*/ 1103736 w 1145218"/>
                <a:gd name="connsiteY0" fmla="*/ 6593 h 1596923"/>
                <a:gd name="connsiteX1" fmla="*/ 1133407 w 1145218"/>
                <a:gd name="connsiteY1" fmla="*/ 294396 h 1596923"/>
                <a:gd name="connsiteX2" fmla="*/ 495494 w 1145218"/>
                <a:gd name="connsiteY2" fmla="*/ 674176 h 1596923"/>
                <a:gd name="connsiteX3" fmla="*/ 198791 w 1145218"/>
                <a:gd name="connsiteY3" fmla="*/ 1596923 h 1596923"/>
                <a:gd name="connsiteX4" fmla="*/ 0 w 1145218"/>
                <a:gd name="connsiteY4" fmla="*/ 1552418 h 1596923"/>
                <a:gd name="connsiteX5" fmla="*/ 148352 w 1145218"/>
                <a:gd name="connsiteY5" fmla="*/ 525824 h 1596923"/>
                <a:gd name="connsiteX6" fmla="*/ 807033 w 1145218"/>
                <a:gd name="connsiteY6" fmla="*/ 6593 h 1596923"/>
                <a:gd name="connsiteX7" fmla="*/ 1103736 w 1145218"/>
                <a:gd name="connsiteY7" fmla="*/ 6593 h 159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5218" h="1596923">
                  <a:moveTo>
                    <a:pt x="1103736" y="6593"/>
                  </a:moveTo>
                  <a:cubicBezTo>
                    <a:pt x="1103736" y="6593"/>
                    <a:pt x="1171978" y="184615"/>
                    <a:pt x="1133407" y="294396"/>
                  </a:cubicBezTo>
                  <a:cubicBezTo>
                    <a:pt x="1091868" y="404176"/>
                    <a:pt x="519231" y="620770"/>
                    <a:pt x="495494" y="674176"/>
                  </a:cubicBezTo>
                  <a:cubicBezTo>
                    <a:pt x="471759" y="727582"/>
                    <a:pt x="198791" y="1596923"/>
                    <a:pt x="198791" y="1596923"/>
                  </a:cubicBezTo>
                  <a:cubicBezTo>
                    <a:pt x="198791" y="1596923"/>
                    <a:pt x="86044" y="1579121"/>
                    <a:pt x="0" y="1552418"/>
                  </a:cubicBezTo>
                  <a:cubicBezTo>
                    <a:pt x="0" y="1552418"/>
                    <a:pt x="91978" y="691978"/>
                    <a:pt x="148352" y="525824"/>
                  </a:cubicBezTo>
                  <a:cubicBezTo>
                    <a:pt x="198791" y="386373"/>
                    <a:pt x="750659" y="21429"/>
                    <a:pt x="807033" y="6593"/>
                  </a:cubicBezTo>
                  <a:cubicBezTo>
                    <a:pt x="863407" y="-8242"/>
                    <a:pt x="1103736" y="6593"/>
                    <a:pt x="1103736" y="6593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3CCDB329-4E2E-46E9-9211-53DF04989730}"/>
                </a:ext>
              </a:extLst>
            </p:cNvPr>
            <p:cNvSpPr/>
            <p:nvPr/>
          </p:nvSpPr>
          <p:spPr>
            <a:xfrm>
              <a:off x="7427277" y="10596360"/>
              <a:ext cx="1732747" cy="1042087"/>
            </a:xfrm>
            <a:custGeom>
              <a:avLst/>
              <a:gdLst>
                <a:gd name="connsiteX0" fmla="*/ 1732747 w 1732747"/>
                <a:gd name="connsiteY0" fmla="*/ 6593 h 1042087"/>
                <a:gd name="connsiteX1" fmla="*/ 1599231 w 1732747"/>
                <a:gd name="connsiteY1" fmla="*/ 294396 h 1042087"/>
                <a:gd name="connsiteX2" fmla="*/ 964286 w 1732747"/>
                <a:gd name="connsiteY2" fmla="*/ 602967 h 1042087"/>
                <a:gd name="connsiteX3" fmla="*/ 103846 w 1732747"/>
                <a:gd name="connsiteY3" fmla="*/ 1042088 h 1042087"/>
                <a:gd name="connsiteX4" fmla="*/ 0 w 1732747"/>
                <a:gd name="connsiteY4" fmla="*/ 935274 h 1042087"/>
                <a:gd name="connsiteX5" fmla="*/ 611209 w 1732747"/>
                <a:gd name="connsiteY5" fmla="*/ 445714 h 1042087"/>
                <a:gd name="connsiteX6" fmla="*/ 1275824 w 1732747"/>
                <a:gd name="connsiteY6" fmla="*/ 6593 h 1042087"/>
                <a:gd name="connsiteX7" fmla="*/ 1732747 w 1732747"/>
                <a:gd name="connsiteY7" fmla="*/ 6593 h 1042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2747" h="1042087">
                  <a:moveTo>
                    <a:pt x="1732747" y="6593"/>
                  </a:moveTo>
                  <a:cubicBezTo>
                    <a:pt x="1732747" y="6593"/>
                    <a:pt x="1640769" y="184615"/>
                    <a:pt x="1599231" y="294396"/>
                  </a:cubicBezTo>
                  <a:cubicBezTo>
                    <a:pt x="1557692" y="404176"/>
                    <a:pt x="1017692" y="582198"/>
                    <a:pt x="964286" y="602967"/>
                  </a:cubicBezTo>
                  <a:cubicBezTo>
                    <a:pt x="685385" y="709781"/>
                    <a:pt x="103846" y="1042088"/>
                    <a:pt x="103846" y="1042088"/>
                  </a:cubicBezTo>
                  <a:cubicBezTo>
                    <a:pt x="103846" y="1042088"/>
                    <a:pt x="50439" y="991649"/>
                    <a:pt x="0" y="935274"/>
                  </a:cubicBezTo>
                  <a:cubicBezTo>
                    <a:pt x="0" y="935274"/>
                    <a:pt x="409451" y="585165"/>
                    <a:pt x="611209" y="445714"/>
                  </a:cubicBezTo>
                  <a:cubicBezTo>
                    <a:pt x="824835" y="297362"/>
                    <a:pt x="1216484" y="21429"/>
                    <a:pt x="1275824" y="6593"/>
                  </a:cubicBezTo>
                  <a:cubicBezTo>
                    <a:pt x="1332198" y="-8242"/>
                    <a:pt x="1732747" y="6593"/>
                    <a:pt x="1732747" y="6593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D654325-7FA9-4A01-80E0-D5BB7688B604}"/>
                </a:ext>
              </a:extLst>
            </p:cNvPr>
            <p:cNvSpPr/>
            <p:nvPr/>
          </p:nvSpPr>
          <p:spPr>
            <a:xfrm>
              <a:off x="8444970" y="10797459"/>
              <a:ext cx="422637" cy="556153"/>
            </a:xfrm>
            <a:custGeom>
              <a:avLst/>
              <a:gdLst>
                <a:gd name="connsiteX0" fmla="*/ 5934 w 422637"/>
                <a:gd name="connsiteY0" fmla="*/ 556153 h 556153"/>
                <a:gd name="connsiteX1" fmla="*/ 5934 w 422637"/>
                <a:gd name="connsiteY1" fmla="*/ 556153 h 556153"/>
                <a:gd name="connsiteX2" fmla="*/ 0 w 422637"/>
                <a:gd name="connsiteY2" fmla="*/ 550220 h 556153"/>
                <a:gd name="connsiteX3" fmla="*/ 8901 w 422637"/>
                <a:gd name="connsiteY3" fmla="*/ 505714 h 556153"/>
                <a:gd name="connsiteX4" fmla="*/ 62307 w 422637"/>
                <a:gd name="connsiteY4" fmla="*/ 303956 h 556153"/>
                <a:gd name="connsiteX5" fmla="*/ 412417 w 422637"/>
                <a:gd name="connsiteY5" fmla="*/ 1319 h 556153"/>
                <a:gd name="connsiteX6" fmla="*/ 421319 w 422637"/>
                <a:gd name="connsiteY6" fmla="*/ 1319 h 556153"/>
                <a:gd name="connsiteX7" fmla="*/ 421319 w 422637"/>
                <a:gd name="connsiteY7" fmla="*/ 10219 h 556153"/>
                <a:gd name="connsiteX8" fmla="*/ 74176 w 422637"/>
                <a:gd name="connsiteY8" fmla="*/ 309890 h 556153"/>
                <a:gd name="connsiteX9" fmla="*/ 23736 w 422637"/>
                <a:gd name="connsiteY9" fmla="*/ 505714 h 556153"/>
                <a:gd name="connsiteX10" fmla="*/ 14835 w 422637"/>
                <a:gd name="connsiteY10" fmla="*/ 550220 h 556153"/>
                <a:gd name="connsiteX11" fmla="*/ 5934 w 422637"/>
                <a:gd name="connsiteY11" fmla="*/ 556153 h 55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22637" h="556153">
                  <a:moveTo>
                    <a:pt x="5934" y="556153"/>
                  </a:moveTo>
                  <a:cubicBezTo>
                    <a:pt x="5934" y="556153"/>
                    <a:pt x="5934" y="556153"/>
                    <a:pt x="5934" y="556153"/>
                  </a:cubicBezTo>
                  <a:cubicBezTo>
                    <a:pt x="2967" y="556153"/>
                    <a:pt x="0" y="553187"/>
                    <a:pt x="0" y="550220"/>
                  </a:cubicBezTo>
                  <a:cubicBezTo>
                    <a:pt x="2967" y="535385"/>
                    <a:pt x="5934" y="520550"/>
                    <a:pt x="8901" y="505714"/>
                  </a:cubicBezTo>
                  <a:cubicBezTo>
                    <a:pt x="23736" y="422637"/>
                    <a:pt x="38572" y="333626"/>
                    <a:pt x="62307" y="303956"/>
                  </a:cubicBezTo>
                  <a:cubicBezTo>
                    <a:pt x="121648" y="220879"/>
                    <a:pt x="243297" y="117033"/>
                    <a:pt x="412417" y="1319"/>
                  </a:cubicBezTo>
                  <a:cubicBezTo>
                    <a:pt x="415385" y="-1648"/>
                    <a:pt x="418351" y="1319"/>
                    <a:pt x="421319" y="1319"/>
                  </a:cubicBezTo>
                  <a:cubicBezTo>
                    <a:pt x="424286" y="4286"/>
                    <a:pt x="421319" y="7252"/>
                    <a:pt x="421319" y="10219"/>
                  </a:cubicBezTo>
                  <a:cubicBezTo>
                    <a:pt x="255165" y="125934"/>
                    <a:pt x="133516" y="229780"/>
                    <a:pt x="74176" y="309890"/>
                  </a:cubicBezTo>
                  <a:cubicBezTo>
                    <a:pt x="53407" y="336593"/>
                    <a:pt x="38572" y="425604"/>
                    <a:pt x="23736" y="505714"/>
                  </a:cubicBezTo>
                  <a:cubicBezTo>
                    <a:pt x="20769" y="520550"/>
                    <a:pt x="17802" y="535385"/>
                    <a:pt x="14835" y="550220"/>
                  </a:cubicBezTo>
                  <a:cubicBezTo>
                    <a:pt x="11868" y="553187"/>
                    <a:pt x="8901" y="556153"/>
                    <a:pt x="5934" y="556153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9371E50D-DB60-41C4-A27A-9029CCBBD4D1}"/>
                </a:ext>
              </a:extLst>
            </p:cNvPr>
            <p:cNvSpPr/>
            <p:nvPr/>
          </p:nvSpPr>
          <p:spPr>
            <a:xfrm>
              <a:off x="8766899" y="9589641"/>
              <a:ext cx="775319" cy="880817"/>
            </a:xfrm>
            <a:custGeom>
              <a:avLst/>
              <a:gdLst>
                <a:gd name="connsiteX0" fmla="*/ 25214 w 775319"/>
                <a:gd name="connsiteY0" fmla="*/ 829356 h 880817"/>
                <a:gd name="connsiteX1" fmla="*/ 615653 w 775319"/>
                <a:gd name="connsiteY1" fmla="*/ 870896 h 880817"/>
                <a:gd name="connsiteX2" fmla="*/ 722467 w 775319"/>
                <a:gd name="connsiteY2" fmla="*/ 396170 h 880817"/>
                <a:gd name="connsiteX3" fmla="*/ 722467 w 775319"/>
                <a:gd name="connsiteY3" fmla="*/ 81665 h 880817"/>
                <a:gd name="connsiteX4" fmla="*/ 366423 w 775319"/>
                <a:gd name="connsiteY4" fmla="*/ 1554 h 880817"/>
                <a:gd name="connsiteX5" fmla="*/ 45983 w 775319"/>
                <a:gd name="connsiteY5" fmla="*/ 114302 h 880817"/>
                <a:gd name="connsiteX6" fmla="*/ 25214 w 775319"/>
                <a:gd name="connsiteY6" fmla="*/ 829356 h 880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5319" h="880817">
                  <a:moveTo>
                    <a:pt x="25214" y="829356"/>
                  </a:moveTo>
                  <a:cubicBezTo>
                    <a:pt x="25214" y="835291"/>
                    <a:pt x="381258" y="906500"/>
                    <a:pt x="615653" y="870896"/>
                  </a:cubicBezTo>
                  <a:cubicBezTo>
                    <a:pt x="612687" y="784851"/>
                    <a:pt x="698730" y="461445"/>
                    <a:pt x="722467" y="396170"/>
                  </a:cubicBezTo>
                  <a:cubicBezTo>
                    <a:pt x="734335" y="366500"/>
                    <a:pt x="835214" y="146939"/>
                    <a:pt x="722467" y="81665"/>
                  </a:cubicBezTo>
                  <a:cubicBezTo>
                    <a:pt x="624555" y="22324"/>
                    <a:pt x="482137" y="-7346"/>
                    <a:pt x="366423" y="1554"/>
                  </a:cubicBezTo>
                  <a:cubicBezTo>
                    <a:pt x="238840" y="10456"/>
                    <a:pt x="81587" y="49027"/>
                    <a:pt x="45983" y="114302"/>
                  </a:cubicBezTo>
                  <a:cubicBezTo>
                    <a:pt x="-69731" y="330895"/>
                    <a:pt x="75654" y="485181"/>
                    <a:pt x="25214" y="829356"/>
                  </a:cubicBezTo>
                  <a:close/>
                </a:path>
              </a:pathLst>
            </a:custGeom>
            <a:solidFill>
              <a:srgbClr val="D16156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857228B3-1183-44A7-BDC7-75B0309557A7}"/>
                </a:ext>
              </a:extLst>
            </p:cNvPr>
            <p:cNvSpPr/>
            <p:nvPr/>
          </p:nvSpPr>
          <p:spPr>
            <a:xfrm>
              <a:off x="9017607" y="9419108"/>
              <a:ext cx="308571" cy="239604"/>
            </a:xfrm>
            <a:custGeom>
              <a:avLst/>
              <a:gdLst>
                <a:gd name="connsiteX0" fmla="*/ 68241 w 308571"/>
                <a:gd name="connsiteY0" fmla="*/ 50439 h 239604"/>
                <a:gd name="connsiteX1" fmla="*/ 0 w 308571"/>
                <a:gd name="connsiteY1" fmla="*/ 189890 h 239604"/>
                <a:gd name="connsiteX2" fmla="*/ 308571 w 308571"/>
                <a:gd name="connsiteY2" fmla="*/ 183956 h 239604"/>
                <a:gd name="connsiteX3" fmla="*/ 267033 w 308571"/>
                <a:gd name="connsiteY3" fmla="*/ 0 h 239604"/>
                <a:gd name="connsiteX4" fmla="*/ 68241 w 308571"/>
                <a:gd name="connsiteY4" fmla="*/ 50439 h 239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1" h="239604">
                  <a:moveTo>
                    <a:pt x="68241" y="50439"/>
                  </a:moveTo>
                  <a:cubicBezTo>
                    <a:pt x="68241" y="50439"/>
                    <a:pt x="71209" y="160220"/>
                    <a:pt x="0" y="189890"/>
                  </a:cubicBezTo>
                  <a:cubicBezTo>
                    <a:pt x="0" y="189890"/>
                    <a:pt x="169121" y="305604"/>
                    <a:pt x="308571" y="183956"/>
                  </a:cubicBezTo>
                  <a:cubicBezTo>
                    <a:pt x="258132" y="139450"/>
                    <a:pt x="264066" y="59341"/>
                    <a:pt x="267033" y="0"/>
                  </a:cubicBezTo>
                  <a:cubicBezTo>
                    <a:pt x="270000" y="0"/>
                    <a:pt x="121648" y="62308"/>
                    <a:pt x="68241" y="50439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052C649D-858D-4CC2-B647-306DCCAFE5C1}"/>
                </a:ext>
              </a:extLst>
            </p:cNvPr>
            <p:cNvSpPr/>
            <p:nvPr/>
          </p:nvSpPr>
          <p:spPr>
            <a:xfrm>
              <a:off x="8703102" y="10416031"/>
              <a:ext cx="754567" cy="232552"/>
            </a:xfrm>
            <a:custGeom>
              <a:avLst/>
              <a:gdLst>
                <a:gd name="connsiteX0" fmla="*/ 0 w 754567"/>
                <a:gd name="connsiteY0" fmla="*/ 186923 h 232552"/>
                <a:gd name="connsiteX1" fmla="*/ 74176 w 754567"/>
                <a:gd name="connsiteY1" fmla="*/ 11868 h 232552"/>
                <a:gd name="connsiteX2" fmla="*/ 670550 w 754567"/>
                <a:gd name="connsiteY2" fmla="*/ 0 h 232552"/>
                <a:gd name="connsiteX3" fmla="*/ 753626 w 754567"/>
                <a:gd name="connsiteY3" fmla="*/ 186923 h 232552"/>
                <a:gd name="connsiteX4" fmla="*/ 344176 w 754567"/>
                <a:gd name="connsiteY4" fmla="*/ 222527 h 232552"/>
                <a:gd name="connsiteX5" fmla="*/ 0 w 754567"/>
                <a:gd name="connsiteY5" fmla="*/ 186923 h 232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4567" h="232552">
                  <a:moveTo>
                    <a:pt x="0" y="186923"/>
                  </a:moveTo>
                  <a:cubicBezTo>
                    <a:pt x="0" y="186923"/>
                    <a:pt x="59341" y="65274"/>
                    <a:pt x="74176" y="11868"/>
                  </a:cubicBezTo>
                  <a:cubicBezTo>
                    <a:pt x="74176" y="11868"/>
                    <a:pt x="442088" y="44505"/>
                    <a:pt x="670550" y="0"/>
                  </a:cubicBezTo>
                  <a:cubicBezTo>
                    <a:pt x="670550" y="0"/>
                    <a:pt x="729890" y="115714"/>
                    <a:pt x="753626" y="186923"/>
                  </a:cubicBezTo>
                  <a:cubicBezTo>
                    <a:pt x="777363" y="261099"/>
                    <a:pt x="344176" y="222527"/>
                    <a:pt x="344176" y="222527"/>
                  </a:cubicBezTo>
                  <a:lnTo>
                    <a:pt x="0" y="186923"/>
                  </a:lnTo>
                  <a:close/>
                </a:path>
              </a:pathLst>
            </a:custGeom>
            <a:solidFill>
              <a:srgbClr val="D16156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637F2B32-7CBC-459E-9CEC-6A35AB31C880}"/>
                </a:ext>
              </a:extLst>
            </p:cNvPr>
            <p:cNvSpPr/>
            <p:nvPr/>
          </p:nvSpPr>
          <p:spPr>
            <a:xfrm>
              <a:off x="8780132" y="9638668"/>
              <a:ext cx="115826" cy="554835"/>
            </a:xfrm>
            <a:custGeom>
              <a:avLst/>
              <a:gdLst>
                <a:gd name="connsiteX0" fmla="*/ 32749 w 115826"/>
                <a:gd name="connsiteY0" fmla="*/ 554836 h 554835"/>
                <a:gd name="connsiteX1" fmla="*/ 26815 w 115826"/>
                <a:gd name="connsiteY1" fmla="*/ 548901 h 554835"/>
                <a:gd name="connsiteX2" fmla="*/ 112 w 115826"/>
                <a:gd name="connsiteY2" fmla="*/ 361978 h 554835"/>
                <a:gd name="connsiteX3" fmla="*/ 103958 w 115826"/>
                <a:gd name="connsiteY3" fmla="*/ 2967 h 554835"/>
                <a:gd name="connsiteX4" fmla="*/ 112859 w 115826"/>
                <a:gd name="connsiteY4" fmla="*/ 0 h 554835"/>
                <a:gd name="connsiteX5" fmla="*/ 115826 w 115826"/>
                <a:gd name="connsiteY5" fmla="*/ 8901 h 554835"/>
                <a:gd name="connsiteX6" fmla="*/ 11980 w 115826"/>
                <a:gd name="connsiteY6" fmla="*/ 361978 h 554835"/>
                <a:gd name="connsiteX7" fmla="*/ 38683 w 115826"/>
                <a:gd name="connsiteY7" fmla="*/ 545934 h 554835"/>
                <a:gd name="connsiteX8" fmla="*/ 32749 w 115826"/>
                <a:gd name="connsiteY8" fmla="*/ 554836 h 554835"/>
                <a:gd name="connsiteX9" fmla="*/ 32749 w 115826"/>
                <a:gd name="connsiteY9" fmla="*/ 554836 h 554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5826" h="554835">
                  <a:moveTo>
                    <a:pt x="32749" y="554836"/>
                  </a:moveTo>
                  <a:cubicBezTo>
                    <a:pt x="29783" y="554836"/>
                    <a:pt x="26815" y="551868"/>
                    <a:pt x="26815" y="548901"/>
                  </a:cubicBezTo>
                  <a:cubicBezTo>
                    <a:pt x="14947" y="489560"/>
                    <a:pt x="112" y="424285"/>
                    <a:pt x="112" y="361978"/>
                  </a:cubicBezTo>
                  <a:cubicBezTo>
                    <a:pt x="-2855" y="228462"/>
                    <a:pt x="53519" y="97912"/>
                    <a:pt x="103958" y="2967"/>
                  </a:cubicBezTo>
                  <a:cubicBezTo>
                    <a:pt x="103958" y="0"/>
                    <a:pt x="109892" y="0"/>
                    <a:pt x="112859" y="0"/>
                  </a:cubicBezTo>
                  <a:cubicBezTo>
                    <a:pt x="115826" y="0"/>
                    <a:pt x="115826" y="5934"/>
                    <a:pt x="115826" y="8901"/>
                  </a:cubicBezTo>
                  <a:cubicBezTo>
                    <a:pt x="68354" y="103846"/>
                    <a:pt x="11980" y="231428"/>
                    <a:pt x="11980" y="361978"/>
                  </a:cubicBezTo>
                  <a:cubicBezTo>
                    <a:pt x="11980" y="424285"/>
                    <a:pt x="26815" y="486593"/>
                    <a:pt x="38683" y="545934"/>
                  </a:cubicBezTo>
                  <a:cubicBezTo>
                    <a:pt x="38683" y="551868"/>
                    <a:pt x="38683" y="554836"/>
                    <a:pt x="32749" y="554836"/>
                  </a:cubicBezTo>
                  <a:cubicBezTo>
                    <a:pt x="32749" y="554836"/>
                    <a:pt x="32749" y="554836"/>
                    <a:pt x="32749" y="554836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EEFF5247-47BA-408F-B28F-1084A4B7BA32}"/>
                </a:ext>
              </a:extLst>
            </p:cNvPr>
            <p:cNvSpPr/>
            <p:nvPr/>
          </p:nvSpPr>
          <p:spPr>
            <a:xfrm>
              <a:off x="8913761" y="10056694"/>
              <a:ext cx="309800" cy="44831"/>
            </a:xfrm>
            <a:custGeom>
              <a:avLst/>
              <a:gdLst>
                <a:gd name="connsiteX0" fmla="*/ 302637 w 309800"/>
                <a:gd name="connsiteY0" fmla="*/ 44831 h 44831"/>
                <a:gd name="connsiteX1" fmla="*/ 302637 w 309800"/>
                <a:gd name="connsiteY1" fmla="*/ 44831 h 44831"/>
                <a:gd name="connsiteX2" fmla="*/ 5934 w 309800"/>
                <a:gd name="connsiteY2" fmla="*/ 15161 h 44831"/>
                <a:gd name="connsiteX3" fmla="*/ 0 w 309800"/>
                <a:gd name="connsiteY3" fmla="*/ 9227 h 44831"/>
                <a:gd name="connsiteX4" fmla="*/ 5934 w 309800"/>
                <a:gd name="connsiteY4" fmla="*/ 3293 h 44831"/>
                <a:gd name="connsiteX5" fmla="*/ 305604 w 309800"/>
                <a:gd name="connsiteY5" fmla="*/ 32964 h 44831"/>
                <a:gd name="connsiteX6" fmla="*/ 308571 w 309800"/>
                <a:gd name="connsiteY6" fmla="*/ 38897 h 44831"/>
                <a:gd name="connsiteX7" fmla="*/ 302637 w 309800"/>
                <a:gd name="connsiteY7" fmla="*/ 44831 h 4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9800" h="44831">
                  <a:moveTo>
                    <a:pt x="302637" y="44831"/>
                  </a:moveTo>
                  <a:cubicBezTo>
                    <a:pt x="302637" y="44831"/>
                    <a:pt x="302637" y="44831"/>
                    <a:pt x="302637" y="44831"/>
                  </a:cubicBezTo>
                  <a:cubicBezTo>
                    <a:pt x="207692" y="15161"/>
                    <a:pt x="103846" y="6259"/>
                    <a:pt x="5934" y="15161"/>
                  </a:cubicBezTo>
                  <a:cubicBezTo>
                    <a:pt x="2967" y="15161"/>
                    <a:pt x="0" y="12194"/>
                    <a:pt x="0" y="9227"/>
                  </a:cubicBezTo>
                  <a:cubicBezTo>
                    <a:pt x="0" y="6259"/>
                    <a:pt x="2967" y="3293"/>
                    <a:pt x="5934" y="3293"/>
                  </a:cubicBezTo>
                  <a:cubicBezTo>
                    <a:pt x="106813" y="-5608"/>
                    <a:pt x="210659" y="3293"/>
                    <a:pt x="305604" y="32964"/>
                  </a:cubicBezTo>
                  <a:cubicBezTo>
                    <a:pt x="308571" y="32964"/>
                    <a:pt x="311538" y="35930"/>
                    <a:pt x="308571" y="38897"/>
                  </a:cubicBezTo>
                  <a:cubicBezTo>
                    <a:pt x="308571" y="44831"/>
                    <a:pt x="305604" y="44831"/>
                    <a:pt x="302637" y="44831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89C0D021-2D4C-4D7F-9F0D-9363817A2CE3}"/>
                </a:ext>
              </a:extLst>
            </p:cNvPr>
            <p:cNvSpPr/>
            <p:nvPr/>
          </p:nvSpPr>
          <p:spPr>
            <a:xfrm>
              <a:off x="8661563" y="10211305"/>
              <a:ext cx="836703" cy="480901"/>
            </a:xfrm>
            <a:custGeom>
              <a:avLst/>
              <a:gdLst>
                <a:gd name="connsiteX0" fmla="*/ 139450 w 836703"/>
                <a:gd name="connsiteY0" fmla="*/ 148352 h 480901"/>
                <a:gd name="connsiteX1" fmla="*/ 0 w 836703"/>
                <a:gd name="connsiteY1" fmla="*/ 385714 h 480901"/>
                <a:gd name="connsiteX2" fmla="*/ 836703 w 836703"/>
                <a:gd name="connsiteY2" fmla="*/ 477693 h 480901"/>
                <a:gd name="connsiteX3" fmla="*/ 732857 w 836703"/>
                <a:gd name="connsiteY3" fmla="*/ 133516 h 480901"/>
                <a:gd name="connsiteX4" fmla="*/ 700220 w 836703"/>
                <a:gd name="connsiteY4" fmla="*/ 0 h 480901"/>
                <a:gd name="connsiteX5" fmla="*/ 139450 w 836703"/>
                <a:gd name="connsiteY5" fmla="*/ 148352 h 480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6703" h="480901">
                  <a:moveTo>
                    <a:pt x="139450" y="148352"/>
                  </a:moveTo>
                  <a:cubicBezTo>
                    <a:pt x="121648" y="180989"/>
                    <a:pt x="0" y="385714"/>
                    <a:pt x="0" y="385714"/>
                  </a:cubicBezTo>
                  <a:cubicBezTo>
                    <a:pt x="0" y="385714"/>
                    <a:pt x="418351" y="501429"/>
                    <a:pt x="836703" y="477693"/>
                  </a:cubicBezTo>
                  <a:cubicBezTo>
                    <a:pt x="836703" y="477693"/>
                    <a:pt x="723956" y="213627"/>
                    <a:pt x="732857" y="133516"/>
                  </a:cubicBezTo>
                  <a:cubicBezTo>
                    <a:pt x="741758" y="56374"/>
                    <a:pt x="700220" y="0"/>
                    <a:pt x="700220" y="0"/>
                  </a:cubicBezTo>
                  <a:cubicBezTo>
                    <a:pt x="700220" y="0"/>
                    <a:pt x="189890" y="56374"/>
                    <a:pt x="139450" y="148352"/>
                  </a:cubicBezTo>
                  <a:close/>
                </a:path>
              </a:pathLst>
            </a:custGeom>
            <a:solidFill>
              <a:srgbClr val="D16156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EF943D7A-1053-45A3-B586-107FF9767473}"/>
                </a:ext>
              </a:extLst>
            </p:cNvPr>
            <p:cNvSpPr/>
            <p:nvPr/>
          </p:nvSpPr>
          <p:spPr>
            <a:xfrm>
              <a:off x="8967069" y="8996963"/>
              <a:ext cx="405327" cy="552769"/>
            </a:xfrm>
            <a:custGeom>
              <a:avLst/>
              <a:gdLst>
                <a:gd name="connsiteX0" fmla="*/ 3065 w 405327"/>
                <a:gd name="connsiteY0" fmla="*/ 184783 h 552769"/>
                <a:gd name="connsiteX1" fmla="*/ 23834 w 405327"/>
                <a:gd name="connsiteY1" fmla="*/ 434013 h 552769"/>
                <a:gd name="connsiteX2" fmla="*/ 172186 w 405327"/>
                <a:gd name="connsiteY2" fmla="*/ 552694 h 552769"/>
                <a:gd name="connsiteX3" fmla="*/ 376911 w 405327"/>
                <a:gd name="connsiteY3" fmla="*/ 404343 h 552769"/>
                <a:gd name="connsiteX4" fmla="*/ 403615 w 405327"/>
                <a:gd name="connsiteY4" fmla="*/ 184783 h 552769"/>
                <a:gd name="connsiteX5" fmla="*/ 187021 w 405327"/>
                <a:gd name="connsiteY5" fmla="*/ 826 h 552769"/>
                <a:gd name="connsiteX6" fmla="*/ 3065 w 405327"/>
                <a:gd name="connsiteY6" fmla="*/ 184783 h 552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5327" h="552769">
                  <a:moveTo>
                    <a:pt x="3065" y="184783"/>
                  </a:moveTo>
                  <a:cubicBezTo>
                    <a:pt x="3065" y="184783"/>
                    <a:pt x="-11770" y="368738"/>
                    <a:pt x="23834" y="434013"/>
                  </a:cubicBezTo>
                  <a:cubicBezTo>
                    <a:pt x="62406" y="499288"/>
                    <a:pt x="124714" y="552694"/>
                    <a:pt x="172186" y="552694"/>
                  </a:cubicBezTo>
                  <a:cubicBezTo>
                    <a:pt x="237461" y="555662"/>
                    <a:pt x="344274" y="469618"/>
                    <a:pt x="376911" y="404343"/>
                  </a:cubicBezTo>
                  <a:cubicBezTo>
                    <a:pt x="409549" y="339068"/>
                    <a:pt x="406582" y="232255"/>
                    <a:pt x="403615" y="184783"/>
                  </a:cubicBezTo>
                  <a:cubicBezTo>
                    <a:pt x="397681" y="92804"/>
                    <a:pt x="368010" y="18628"/>
                    <a:pt x="187021" y="826"/>
                  </a:cubicBezTo>
                  <a:cubicBezTo>
                    <a:pt x="106911" y="-11042"/>
                    <a:pt x="20868" y="107639"/>
                    <a:pt x="3065" y="184783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A87BE11C-17E6-4BB0-8062-7FF3617ACEFB}"/>
                </a:ext>
              </a:extLst>
            </p:cNvPr>
            <p:cNvSpPr/>
            <p:nvPr/>
          </p:nvSpPr>
          <p:spPr>
            <a:xfrm>
              <a:off x="9103651" y="9257659"/>
              <a:ext cx="56373" cy="128811"/>
            </a:xfrm>
            <a:custGeom>
              <a:avLst/>
              <a:gdLst>
                <a:gd name="connsiteX0" fmla="*/ 26703 w 56373"/>
                <a:gd name="connsiteY0" fmla="*/ 128811 h 128811"/>
                <a:gd name="connsiteX1" fmla="*/ 5934 w 56373"/>
                <a:gd name="connsiteY1" fmla="*/ 122877 h 128811"/>
                <a:gd name="connsiteX2" fmla="*/ 0 w 56373"/>
                <a:gd name="connsiteY2" fmla="*/ 111009 h 128811"/>
                <a:gd name="connsiteX3" fmla="*/ 23736 w 56373"/>
                <a:gd name="connsiteY3" fmla="*/ 4195 h 128811"/>
                <a:gd name="connsiteX4" fmla="*/ 29670 w 56373"/>
                <a:gd name="connsiteY4" fmla="*/ 1229 h 128811"/>
                <a:gd name="connsiteX5" fmla="*/ 32638 w 56373"/>
                <a:gd name="connsiteY5" fmla="*/ 7163 h 128811"/>
                <a:gd name="connsiteX6" fmla="*/ 8901 w 56373"/>
                <a:gd name="connsiteY6" fmla="*/ 111009 h 128811"/>
                <a:gd name="connsiteX7" fmla="*/ 11868 w 56373"/>
                <a:gd name="connsiteY7" fmla="*/ 113976 h 128811"/>
                <a:gd name="connsiteX8" fmla="*/ 50439 w 56373"/>
                <a:gd name="connsiteY8" fmla="*/ 113976 h 128811"/>
                <a:gd name="connsiteX9" fmla="*/ 56373 w 56373"/>
                <a:gd name="connsiteY9" fmla="*/ 116943 h 128811"/>
                <a:gd name="connsiteX10" fmla="*/ 53407 w 56373"/>
                <a:gd name="connsiteY10" fmla="*/ 122877 h 128811"/>
                <a:gd name="connsiteX11" fmla="*/ 26703 w 56373"/>
                <a:gd name="connsiteY11" fmla="*/ 128811 h 128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373" h="128811">
                  <a:moveTo>
                    <a:pt x="26703" y="128811"/>
                  </a:moveTo>
                  <a:cubicBezTo>
                    <a:pt x="17802" y="128811"/>
                    <a:pt x="11868" y="128811"/>
                    <a:pt x="5934" y="122877"/>
                  </a:cubicBezTo>
                  <a:cubicBezTo>
                    <a:pt x="2967" y="119910"/>
                    <a:pt x="0" y="116943"/>
                    <a:pt x="0" y="111009"/>
                  </a:cubicBezTo>
                  <a:cubicBezTo>
                    <a:pt x="0" y="90240"/>
                    <a:pt x="20769" y="7163"/>
                    <a:pt x="23736" y="4195"/>
                  </a:cubicBezTo>
                  <a:cubicBezTo>
                    <a:pt x="23736" y="1229"/>
                    <a:pt x="26703" y="-1738"/>
                    <a:pt x="29670" y="1229"/>
                  </a:cubicBezTo>
                  <a:cubicBezTo>
                    <a:pt x="32638" y="1229"/>
                    <a:pt x="35604" y="4195"/>
                    <a:pt x="32638" y="7163"/>
                  </a:cubicBezTo>
                  <a:cubicBezTo>
                    <a:pt x="26703" y="30899"/>
                    <a:pt x="8901" y="96174"/>
                    <a:pt x="8901" y="111009"/>
                  </a:cubicBezTo>
                  <a:cubicBezTo>
                    <a:pt x="8901" y="111009"/>
                    <a:pt x="8901" y="113976"/>
                    <a:pt x="11868" y="113976"/>
                  </a:cubicBezTo>
                  <a:cubicBezTo>
                    <a:pt x="17802" y="119910"/>
                    <a:pt x="38572" y="116943"/>
                    <a:pt x="50439" y="113976"/>
                  </a:cubicBezTo>
                  <a:cubicBezTo>
                    <a:pt x="53407" y="113976"/>
                    <a:pt x="56373" y="113976"/>
                    <a:pt x="56373" y="116943"/>
                  </a:cubicBezTo>
                  <a:cubicBezTo>
                    <a:pt x="56373" y="119910"/>
                    <a:pt x="56373" y="122877"/>
                    <a:pt x="53407" y="122877"/>
                  </a:cubicBezTo>
                  <a:cubicBezTo>
                    <a:pt x="50439" y="125844"/>
                    <a:pt x="38572" y="128811"/>
                    <a:pt x="26703" y="128811"/>
                  </a:cubicBezTo>
                  <a:close/>
                </a:path>
              </a:pathLst>
            </a:custGeom>
            <a:solidFill>
              <a:srgbClr val="E58777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5BC33DA0-7DF5-46D5-8787-09847F577C02}"/>
                </a:ext>
              </a:extLst>
            </p:cNvPr>
            <p:cNvSpPr/>
            <p:nvPr/>
          </p:nvSpPr>
          <p:spPr>
            <a:xfrm>
              <a:off x="9088816" y="9430976"/>
              <a:ext cx="103846" cy="53525"/>
            </a:xfrm>
            <a:custGeom>
              <a:avLst/>
              <a:gdLst>
                <a:gd name="connsiteX0" fmla="*/ 103846 w 103846"/>
                <a:gd name="connsiteY0" fmla="*/ 0 h 53525"/>
                <a:gd name="connsiteX1" fmla="*/ 0 w 103846"/>
                <a:gd name="connsiteY1" fmla="*/ 2967 h 53525"/>
                <a:gd name="connsiteX2" fmla="*/ 50439 w 103846"/>
                <a:gd name="connsiteY2" fmla="*/ 53406 h 53525"/>
                <a:gd name="connsiteX3" fmla="*/ 103846 w 103846"/>
                <a:gd name="connsiteY3" fmla="*/ 0 h 5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46" h="53525">
                  <a:moveTo>
                    <a:pt x="103846" y="0"/>
                  </a:moveTo>
                  <a:cubicBezTo>
                    <a:pt x="50439" y="26703"/>
                    <a:pt x="0" y="2967"/>
                    <a:pt x="0" y="2967"/>
                  </a:cubicBezTo>
                  <a:cubicBezTo>
                    <a:pt x="0" y="2967"/>
                    <a:pt x="14835" y="56373"/>
                    <a:pt x="50439" y="53406"/>
                  </a:cubicBezTo>
                  <a:cubicBezTo>
                    <a:pt x="91978" y="53406"/>
                    <a:pt x="103846" y="0"/>
                    <a:pt x="103846" y="0"/>
                  </a:cubicBezTo>
                  <a:close/>
                </a:path>
              </a:pathLst>
            </a:custGeom>
            <a:solidFill>
              <a:srgbClr val="FFFFFF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149901C7-7558-46C2-912E-B700C605CFA4}"/>
                </a:ext>
              </a:extLst>
            </p:cNvPr>
            <p:cNvSpPr/>
            <p:nvPr/>
          </p:nvSpPr>
          <p:spPr>
            <a:xfrm>
              <a:off x="9028719" y="9231429"/>
              <a:ext cx="39909" cy="40083"/>
            </a:xfrm>
            <a:custGeom>
              <a:avLst/>
              <a:gdLst>
                <a:gd name="connsiteX0" fmla="*/ 39328 w 39909"/>
                <a:gd name="connsiteY0" fmla="*/ 24493 h 40083"/>
                <a:gd name="connsiteX1" fmla="*/ 15591 w 39909"/>
                <a:gd name="connsiteY1" fmla="*/ 39328 h 40083"/>
                <a:gd name="connsiteX2" fmla="*/ 756 w 39909"/>
                <a:gd name="connsiteY2" fmla="*/ 15591 h 40083"/>
                <a:gd name="connsiteX3" fmla="*/ 24493 w 39909"/>
                <a:gd name="connsiteY3" fmla="*/ 756 h 40083"/>
                <a:gd name="connsiteX4" fmla="*/ 39328 w 39909"/>
                <a:gd name="connsiteY4" fmla="*/ 24493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40083">
                  <a:moveTo>
                    <a:pt x="39328" y="24493"/>
                  </a:moveTo>
                  <a:cubicBezTo>
                    <a:pt x="36360" y="36360"/>
                    <a:pt x="27459" y="42295"/>
                    <a:pt x="15591" y="39328"/>
                  </a:cubicBezTo>
                  <a:cubicBezTo>
                    <a:pt x="3723" y="36360"/>
                    <a:pt x="-2211" y="27460"/>
                    <a:pt x="756" y="15591"/>
                  </a:cubicBezTo>
                  <a:cubicBezTo>
                    <a:pt x="3723" y="3723"/>
                    <a:pt x="12624" y="-2211"/>
                    <a:pt x="24493" y="756"/>
                  </a:cubicBezTo>
                  <a:cubicBezTo>
                    <a:pt x="33394" y="6690"/>
                    <a:pt x="42294" y="15591"/>
                    <a:pt x="39328" y="24493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769BD212-3A5F-4DEB-9481-76905A5784E5}"/>
                </a:ext>
              </a:extLst>
            </p:cNvPr>
            <p:cNvSpPr/>
            <p:nvPr/>
          </p:nvSpPr>
          <p:spPr>
            <a:xfrm>
              <a:off x="9215642" y="9231429"/>
              <a:ext cx="39327" cy="40083"/>
            </a:xfrm>
            <a:custGeom>
              <a:avLst/>
              <a:gdLst>
                <a:gd name="connsiteX0" fmla="*/ 39328 w 39327"/>
                <a:gd name="connsiteY0" fmla="*/ 24493 h 40083"/>
                <a:gd name="connsiteX1" fmla="*/ 15591 w 39327"/>
                <a:gd name="connsiteY1" fmla="*/ 39328 h 40083"/>
                <a:gd name="connsiteX2" fmla="*/ 756 w 39327"/>
                <a:gd name="connsiteY2" fmla="*/ 15591 h 40083"/>
                <a:gd name="connsiteX3" fmla="*/ 24493 w 39327"/>
                <a:gd name="connsiteY3" fmla="*/ 756 h 40083"/>
                <a:gd name="connsiteX4" fmla="*/ 39328 w 39327"/>
                <a:gd name="connsiteY4" fmla="*/ 24493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7" h="40083">
                  <a:moveTo>
                    <a:pt x="39328" y="24493"/>
                  </a:moveTo>
                  <a:cubicBezTo>
                    <a:pt x="36360" y="36360"/>
                    <a:pt x="27459" y="42295"/>
                    <a:pt x="15591" y="39328"/>
                  </a:cubicBezTo>
                  <a:cubicBezTo>
                    <a:pt x="3723" y="36360"/>
                    <a:pt x="-2211" y="27460"/>
                    <a:pt x="756" y="15591"/>
                  </a:cubicBezTo>
                  <a:cubicBezTo>
                    <a:pt x="3723" y="3723"/>
                    <a:pt x="12624" y="-2211"/>
                    <a:pt x="24493" y="756"/>
                  </a:cubicBezTo>
                  <a:cubicBezTo>
                    <a:pt x="33393" y="3723"/>
                    <a:pt x="39328" y="12624"/>
                    <a:pt x="39328" y="24493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24642318-BCE4-4E73-AD95-8562D69021A4}"/>
                </a:ext>
              </a:extLst>
            </p:cNvPr>
            <p:cNvSpPr/>
            <p:nvPr/>
          </p:nvSpPr>
          <p:spPr>
            <a:xfrm>
              <a:off x="9003514" y="9184616"/>
              <a:ext cx="89498" cy="35700"/>
            </a:xfrm>
            <a:custGeom>
              <a:avLst/>
              <a:gdLst>
                <a:gd name="connsiteX0" fmla="*/ 8159 w 89498"/>
                <a:gd name="connsiteY0" fmla="*/ 35700 h 35700"/>
                <a:gd name="connsiteX1" fmla="*/ 2225 w 89498"/>
                <a:gd name="connsiteY1" fmla="*/ 32734 h 35700"/>
                <a:gd name="connsiteX2" fmla="*/ 2225 w 89498"/>
                <a:gd name="connsiteY2" fmla="*/ 20865 h 35700"/>
                <a:gd name="connsiteX3" fmla="*/ 85302 w 89498"/>
                <a:gd name="connsiteY3" fmla="*/ 6030 h 35700"/>
                <a:gd name="connsiteX4" fmla="*/ 88269 w 89498"/>
                <a:gd name="connsiteY4" fmla="*/ 14931 h 35700"/>
                <a:gd name="connsiteX5" fmla="*/ 79368 w 89498"/>
                <a:gd name="connsiteY5" fmla="*/ 17898 h 35700"/>
                <a:gd name="connsiteX6" fmla="*/ 14093 w 89498"/>
                <a:gd name="connsiteY6" fmla="*/ 26800 h 35700"/>
                <a:gd name="connsiteX7" fmla="*/ 8159 w 89498"/>
                <a:gd name="connsiteY7" fmla="*/ 35700 h 35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700">
                  <a:moveTo>
                    <a:pt x="8159" y="35700"/>
                  </a:moveTo>
                  <a:cubicBezTo>
                    <a:pt x="5192" y="35700"/>
                    <a:pt x="5192" y="35700"/>
                    <a:pt x="2225" y="32734"/>
                  </a:cubicBezTo>
                  <a:cubicBezTo>
                    <a:pt x="-742" y="29766"/>
                    <a:pt x="-742" y="23832"/>
                    <a:pt x="2225" y="20865"/>
                  </a:cubicBezTo>
                  <a:cubicBezTo>
                    <a:pt x="25961" y="-8805"/>
                    <a:pt x="67500" y="96"/>
                    <a:pt x="85302" y="6030"/>
                  </a:cubicBezTo>
                  <a:cubicBezTo>
                    <a:pt x="88269" y="8997"/>
                    <a:pt x="91236" y="11964"/>
                    <a:pt x="88269" y="14931"/>
                  </a:cubicBezTo>
                  <a:cubicBezTo>
                    <a:pt x="85302" y="17898"/>
                    <a:pt x="82335" y="20865"/>
                    <a:pt x="79368" y="17898"/>
                  </a:cubicBezTo>
                  <a:cubicBezTo>
                    <a:pt x="76401" y="17898"/>
                    <a:pt x="37829" y="96"/>
                    <a:pt x="14093" y="26800"/>
                  </a:cubicBezTo>
                  <a:cubicBezTo>
                    <a:pt x="11126" y="35700"/>
                    <a:pt x="8159" y="35700"/>
                    <a:pt x="8159" y="35700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FC1705CA-069F-4F32-A212-C55867486B70}"/>
                </a:ext>
              </a:extLst>
            </p:cNvPr>
            <p:cNvSpPr/>
            <p:nvPr/>
          </p:nvSpPr>
          <p:spPr>
            <a:xfrm>
              <a:off x="9184779" y="9176877"/>
              <a:ext cx="90218" cy="34538"/>
            </a:xfrm>
            <a:custGeom>
              <a:avLst/>
              <a:gdLst>
                <a:gd name="connsiteX0" fmla="*/ 85026 w 90218"/>
                <a:gd name="connsiteY0" fmla="*/ 34538 h 34538"/>
                <a:gd name="connsiteX1" fmla="*/ 79092 w 90218"/>
                <a:gd name="connsiteY1" fmla="*/ 31571 h 34538"/>
                <a:gd name="connsiteX2" fmla="*/ 13817 w 90218"/>
                <a:gd name="connsiteY2" fmla="*/ 28604 h 34538"/>
                <a:gd name="connsiteX3" fmla="*/ 1949 w 90218"/>
                <a:gd name="connsiteY3" fmla="*/ 25637 h 34538"/>
                <a:gd name="connsiteX4" fmla="*/ 4916 w 90218"/>
                <a:gd name="connsiteY4" fmla="*/ 13769 h 34538"/>
                <a:gd name="connsiteX5" fmla="*/ 87993 w 90218"/>
                <a:gd name="connsiteY5" fmla="*/ 19703 h 34538"/>
                <a:gd name="connsiteX6" fmla="*/ 87993 w 90218"/>
                <a:gd name="connsiteY6" fmla="*/ 31571 h 34538"/>
                <a:gd name="connsiteX7" fmla="*/ 85026 w 90218"/>
                <a:gd name="connsiteY7" fmla="*/ 34538 h 34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218" h="34538">
                  <a:moveTo>
                    <a:pt x="85026" y="34538"/>
                  </a:moveTo>
                  <a:cubicBezTo>
                    <a:pt x="82059" y="34538"/>
                    <a:pt x="82059" y="34538"/>
                    <a:pt x="79092" y="31571"/>
                  </a:cubicBezTo>
                  <a:cubicBezTo>
                    <a:pt x="79092" y="31571"/>
                    <a:pt x="49421" y="4868"/>
                    <a:pt x="13817" y="28604"/>
                  </a:cubicBezTo>
                  <a:cubicBezTo>
                    <a:pt x="10850" y="31571"/>
                    <a:pt x="4916" y="31571"/>
                    <a:pt x="1949" y="25637"/>
                  </a:cubicBezTo>
                  <a:cubicBezTo>
                    <a:pt x="-1018" y="22670"/>
                    <a:pt x="-1018" y="16736"/>
                    <a:pt x="4916" y="13769"/>
                  </a:cubicBezTo>
                  <a:cubicBezTo>
                    <a:pt x="40521" y="-12934"/>
                    <a:pt x="76125" y="4868"/>
                    <a:pt x="87993" y="19703"/>
                  </a:cubicBezTo>
                  <a:cubicBezTo>
                    <a:pt x="90960" y="22670"/>
                    <a:pt x="90960" y="28604"/>
                    <a:pt x="87993" y="31571"/>
                  </a:cubicBezTo>
                  <a:cubicBezTo>
                    <a:pt x="87993" y="34538"/>
                    <a:pt x="87993" y="34538"/>
                    <a:pt x="85026" y="34538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F8415EB4-CE69-47FA-98B2-1656AAD019EB}"/>
                </a:ext>
              </a:extLst>
            </p:cNvPr>
            <p:cNvSpPr/>
            <p:nvPr/>
          </p:nvSpPr>
          <p:spPr>
            <a:xfrm>
              <a:off x="8947403" y="8961367"/>
              <a:ext cx="261363" cy="258972"/>
            </a:xfrm>
            <a:custGeom>
              <a:avLst/>
              <a:gdLst>
                <a:gd name="connsiteX0" fmla="*/ 257127 w 261363"/>
                <a:gd name="connsiteY0" fmla="*/ 817 h 258972"/>
                <a:gd name="connsiteX1" fmla="*/ 227457 w 261363"/>
                <a:gd name="connsiteY1" fmla="*/ 125433 h 258972"/>
                <a:gd name="connsiteX2" fmla="*/ 1963 w 261363"/>
                <a:gd name="connsiteY2" fmla="*/ 258949 h 258972"/>
                <a:gd name="connsiteX3" fmla="*/ 257127 w 261363"/>
                <a:gd name="connsiteY3" fmla="*/ 817 h 258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363" h="258972">
                  <a:moveTo>
                    <a:pt x="257127" y="817"/>
                  </a:moveTo>
                  <a:cubicBezTo>
                    <a:pt x="257127" y="817"/>
                    <a:pt x="277897" y="86862"/>
                    <a:pt x="227457" y="125433"/>
                  </a:cubicBezTo>
                  <a:cubicBezTo>
                    <a:pt x="227457" y="125433"/>
                    <a:pt x="25699" y="175873"/>
                    <a:pt x="1963" y="258949"/>
                  </a:cubicBezTo>
                  <a:cubicBezTo>
                    <a:pt x="-1005" y="261916"/>
                    <a:pt x="-27708" y="-16985"/>
                    <a:pt x="257127" y="817"/>
                  </a:cubicBezTo>
                  <a:close/>
                </a:path>
              </a:pathLst>
            </a:custGeom>
            <a:solidFill>
              <a:srgbClr val="664241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14583D29-5024-416A-9D81-0AC6C740BA86}"/>
                </a:ext>
              </a:extLst>
            </p:cNvPr>
            <p:cNvSpPr/>
            <p:nvPr/>
          </p:nvSpPr>
          <p:spPr>
            <a:xfrm>
              <a:off x="9174860" y="8965098"/>
              <a:ext cx="225892" cy="299445"/>
            </a:xfrm>
            <a:custGeom>
              <a:avLst/>
              <a:gdLst>
                <a:gd name="connsiteX0" fmla="*/ 0 w 225892"/>
                <a:gd name="connsiteY0" fmla="*/ 124669 h 299445"/>
                <a:gd name="connsiteX1" fmla="*/ 139451 w 225892"/>
                <a:gd name="connsiteY1" fmla="*/ 172141 h 299445"/>
                <a:gd name="connsiteX2" fmla="*/ 201758 w 225892"/>
                <a:gd name="connsiteY2" fmla="*/ 287856 h 299445"/>
                <a:gd name="connsiteX3" fmla="*/ 225495 w 225892"/>
                <a:gd name="connsiteY3" fmla="*/ 281922 h 299445"/>
                <a:gd name="connsiteX4" fmla="*/ 29670 w 225892"/>
                <a:gd name="connsiteY4" fmla="*/ 53 h 299445"/>
                <a:gd name="connsiteX5" fmla="*/ 0 w 225892"/>
                <a:gd name="connsiteY5" fmla="*/ 124669 h 299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5892" h="299445">
                  <a:moveTo>
                    <a:pt x="0" y="124669"/>
                  </a:moveTo>
                  <a:cubicBezTo>
                    <a:pt x="0" y="124669"/>
                    <a:pt x="89011" y="166207"/>
                    <a:pt x="139451" y="172141"/>
                  </a:cubicBezTo>
                  <a:cubicBezTo>
                    <a:pt x="189890" y="175108"/>
                    <a:pt x="201758" y="287856"/>
                    <a:pt x="201758" y="287856"/>
                  </a:cubicBezTo>
                  <a:cubicBezTo>
                    <a:pt x="201758" y="287856"/>
                    <a:pt x="222527" y="317526"/>
                    <a:pt x="225495" y="281922"/>
                  </a:cubicBezTo>
                  <a:cubicBezTo>
                    <a:pt x="228462" y="204779"/>
                    <a:pt x="219561" y="11921"/>
                    <a:pt x="29670" y="53"/>
                  </a:cubicBezTo>
                  <a:cubicBezTo>
                    <a:pt x="29670" y="-2914"/>
                    <a:pt x="23736" y="118735"/>
                    <a:pt x="0" y="124669"/>
                  </a:cubicBezTo>
                  <a:close/>
                </a:path>
              </a:pathLst>
            </a:custGeom>
            <a:solidFill>
              <a:srgbClr val="664241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3F44430B-7331-4D8E-91CD-39F82B077E73}"/>
                </a:ext>
              </a:extLst>
            </p:cNvPr>
            <p:cNvSpPr/>
            <p:nvPr/>
          </p:nvSpPr>
          <p:spPr>
            <a:xfrm>
              <a:off x="9165959" y="8962185"/>
              <a:ext cx="152547" cy="178021"/>
            </a:xfrm>
            <a:custGeom>
              <a:avLst/>
              <a:gdLst>
                <a:gd name="connsiteX0" fmla="*/ 148352 w 152547"/>
                <a:gd name="connsiteY0" fmla="*/ 178022 h 178021"/>
                <a:gd name="connsiteX1" fmla="*/ 148352 w 152547"/>
                <a:gd name="connsiteY1" fmla="*/ 178022 h 178021"/>
                <a:gd name="connsiteX2" fmla="*/ 50439 w 152547"/>
                <a:gd name="connsiteY2" fmla="*/ 151319 h 178021"/>
                <a:gd name="connsiteX3" fmla="*/ 5934 w 152547"/>
                <a:gd name="connsiteY3" fmla="*/ 130550 h 178021"/>
                <a:gd name="connsiteX4" fmla="*/ 0 w 152547"/>
                <a:gd name="connsiteY4" fmla="*/ 127583 h 178021"/>
                <a:gd name="connsiteX5" fmla="*/ 2967 w 152547"/>
                <a:gd name="connsiteY5" fmla="*/ 121649 h 178021"/>
                <a:gd name="connsiteX6" fmla="*/ 17802 w 152547"/>
                <a:gd name="connsiteY6" fmla="*/ 97912 h 178021"/>
                <a:gd name="connsiteX7" fmla="*/ 26703 w 152547"/>
                <a:gd name="connsiteY7" fmla="*/ 59341 h 178021"/>
                <a:gd name="connsiteX8" fmla="*/ 29670 w 152547"/>
                <a:gd name="connsiteY8" fmla="*/ 32638 h 178021"/>
                <a:gd name="connsiteX9" fmla="*/ 32637 w 152547"/>
                <a:gd name="connsiteY9" fmla="*/ 5934 h 178021"/>
                <a:gd name="connsiteX10" fmla="*/ 38571 w 152547"/>
                <a:gd name="connsiteY10" fmla="*/ 0 h 178021"/>
                <a:gd name="connsiteX11" fmla="*/ 44505 w 152547"/>
                <a:gd name="connsiteY11" fmla="*/ 5934 h 178021"/>
                <a:gd name="connsiteX12" fmla="*/ 41538 w 152547"/>
                <a:gd name="connsiteY12" fmla="*/ 32638 h 178021"/>
                <a:gd name="connsiteX13" fmla="*/ 38571 w 152547"/>
                <a:gd name="connsiteY13" fmla="*/ 59341 h 178021"/>
                <a:gd name="connsiteX14" fmla="*/ 29670 w 152547"/>
                <a:gd name="connsiteY14" fmla="*/ 103846 h 178021"/>
                <a:gd name="connsiteX15" fmla="*/ 14835 w 152547"/>
                <a:gd name="connsiteY15" fmla="*/ 124615 h 178021"/>
                <a:gd name="connsiteX16" fmla="*/ 53406 w 152547"/>
                <a:gd name="connsiteY16" fmla="*/ 142418 h 178021"/>
                <a:gd name="connsiteX17" fmla="*/ 145384 w 152547"/>
                <a:gd name="connsiteY17" fmla="*/ 169121 h 178021"/>
                <a:gd name="connsiteX18" fmla="*/ 151318 w 152547"/>
                <a:gd name="connsiteY18" fmla="*/ 175055 h 178021"/>
                <a:gd name="connsiteX19" fmla="*/ 148352 w 152547"/>
                <a:gd name="connsiteY19" fmla="*/ 178022 h 178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2547" h="178021">
                  <a:moveTo>
                    <a:pt x="148352" y="178022"/>
                  </a:moveTo>
                  <a:cubicBezTo>
                    <a:pt x="148352" y="178022"/>
                    <a:pt x="148352" y="178022"/>
                    <a:pt x="148352" y="178022"/>
                  </a:cubicBezTo>
                  <a:cubicBezTo>
                    <a:pt x="118681" y="175055"/>
                    <a:pt x="86044" y="166154"/>
                    <a:pt x="50439" y="151319"/>
                  </a:cubicBezTo>
                  <a:cubicBezTo>
                    <a:pt x="23736" y="139450"/>
                    <a:pt x="5934" y="130550"/>
                    <a:pt x="5934" y="130550"/>
                  </a:cubicBezTo>
                  <a:lnTo>
                    <a:pt x="0" y="127583"/>
                  </a:lnTo>
                  <a:lnTo>
                    <a:pt x="2967" y="121649"/>
                  </a:lnTo>
                  <a:cubicBezTo>
                    <a:pt x="8901" y="115715"/>
                    <a:pt x="14835" y="106813"/>
                    <a:pt x="17802" y="97912"/>
                  </a:cubicBezTo>
                  <a:cubicBezTo>
                    <a:pt x="23736" y="86044"/>
                    <a:pt x="23736" y="71209"/>
                    <a:pt x="26703" y="59341"/>
                  </a:cubicBezTo>
                  <a:cubicBezTo>
                    <a:pt x="26703" y="53407"/>
                    <a:pt x="26703" y="41539"/>
                    <a:pt x="29670" y="32638"/>
                  </a:cubicBezTo>
                  <a:cubicBezTo>
                    <a:pt x="29670" y="20769"/>
                    <a:pt x="32637" y="11868"/>
                    <a:pt x="32637" y="5934"/>
                  </a:cubicBezTo>
                  <a:cubicBezTo>
                    <a:pt x="32637" y="2967"/>
                    <a:pt x="35604" y="0"/>
                    <a:pt x="38571" y="0"/>
                  </a:cubicBezTo>
                  <a:cubicBezTo>
                    <a:pt x="41538" y="0"/>
                    <a:pt x="44505" y="2967"/>
                    <a:pt x="44505" y="5934"/>
                  </a:cubicBezTo>
                  <a:cubicBezTo>
                    <a:pt x="44505" y="11868"/>
                    <a:pt x="44505" y="23736"/>
                    <a:pt x="41538" y="32638"/>
                  </a:cubicBezTo>
                  <a:cubicBezTo>
                    <a:pt x="41538" y="44505"/>
                    <a:pt x="38571" y="53407"/>
                    <a:pt x="38571" y="59341"/>
                  </a:cubicBezTo>
                  <a:cubicBezTo>
                    <a:pt x="38571" y="74176"/>
                    <a:pt x="35604" y="89011"/>
                    <a:pt x="29670" y="103846"/>
                  </a:cubicBezTo>
                  <a:cubicBezTo>
                    <a:pt x="26703" y="112747"/>
                    <a:pt x="20769" y="118681"/>
                    <a:pt x="14835" y="124615"/>
                  </a:cubicBezTo>
                  <a:cubicBezTo>
                    <a:pt x="20769" y="127583"/>
                    <a:pt x="35604" y="136484"/>
                    <a:pt x="53406" y="142418"/>
                  </a:cubicBezTo>
                  <a:cubicBezTo>
                    <a:pt x="89011" y="157253"/>
                    <a:pt x="118681" y="166154"/>
                    <a:pt x="145384" y="169121"/>
                  </a:cubicBezTo>
                  <a:cubicBezTo>
                    <a:pt x="148352" y="169121"/>
                    <a:pt x="151318" y="172088"/>
                    <a:pt x="151318" y="175055"/>
                  </a:cubicBezTo>
                  <a:cubicBezTo>
                    <a:pt x="154286" y="175055"/>
                    <a:pt x="151318" y="178022"/>
                    <a:pt x="148352" y="178022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2CC41C03-B871-4217-BF32-121DCBBE3C78}"/>
                </a:ext>
              </a:extLst>
            </p:cNvPr>
            <p:cNvSpPr/>
            <p:nvPr/>
          </p:nvSpPr>
          <p:spPr>
            <a:xfrm>
              <a:off x="9257937" y="9083131"/>
              <a:ext cx="249231" cy="528574"/>
            </a:xfrm>
            <a:custGeom>
              <a:avLst/>
              <a:gdLst>
                <a:gd name="connsiteX0" fmla="*/ 47473 w 249231"/>
                <a:gd name="connsiteY0" fmla="*/ 57076 h 528574"/>
                <a:gd name="connsiteX1" fmla="*/ 0 w 249231"/>
                <a:gd name="connsiteY1" fmla="*/ 508065 h 528574"/>
                <a:gd name="connsiteX2" fmla="*/ 249231 w 249231"/>
                <a:gd name="connsiteY2" fmla="*/ 490263 h 528574"/>
                <a:gd name="connsiteX3" fmla="*/ 118681 w 249231"/>
                <a:gd name="connsiteY3" fmla="*/ 3669 h 528574"/>
                <a:gd name="connsiteX4" fmla="*/ 47473 w 249231"/>
                <a:gd name="connsiteY4" fmla="*/ 57076 h 528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231" h="528574">
                  <a:moveTo>
                    <a:pt x="47473" y="57076"/>
                  </a:moveTo>
                  <a:cubicBezTo>
                    <a:pt x="47473" y="57076"/>
                    <a:pt x="157253" y="243999"/>
                    <a:pt x="0" y="508065"/>
                  </a:cubicBezTo>
                  <a:cubicBezTo>
                    <a:pt x="0" y="508065"/>
                    <a:pt x="133516" y="564438"/>
                    <a:pt x="249231" y="490263"/>
                  </a:cubicBezTo>
                  <a:cubicBezTo>
                    <a:pt x="249231" y="490263"/>
                    <a:pt x="240330" y="246966"/>
                    <a:pt x="118681" y="3669"/>
                  </a:cubicBezTo>
                  <a:cubicBezTo>
                    <a:pt x="109780" y="-17100"/>
                    <a:pt x="47473" y="57076"/>
                    <a:pt x="47473" y="57076"/>
                  </a:cubicBezTo>
                  <a:close/>
                </a:path>
              </a:pathLst>
            </a:custGeom>
            <a:solidFill>
              <a:srgbClr val="664241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863D5748-B11C-4514-9D98-D8DC48067187}"/>
                </a:ext>
              </a:extLst>
            </p:cNvPr>
            <p:cNvSpPr/>
            <p:nvPr/>
          </p:nvSpPr>
          <p:spPr>
            <a:xfrm>
              <a:off x="8916728" y="9128339"/>
              <a:ext cx="136483" cy="166153"/>
            </a:xfrm>
            <a:custGeom>
              <a:avLst/>
              <a:gdLst>
                <a:gd name="connsiteX0" fmla="*/ 5934 w 136483"/>
                <a:gd name="connsiteY0" fmla="*/ 166154 h 166153"/>
                <a:gd name="connsiteX1" fmla="*/ 5934 w 136483"/>
                <a:gd name="connsiteY1" fmla="*/ 166154 h 166153"/>
                <a:gd name="connsiteX2" fmla="*/ 0 w 136483"/>
                <a:gd name="connsiteY2" fmla="*/ 160220 h 166153"/>
                <a:gd name="connsiteX3" fmla="*/ 130550 w 136483"/>
                <a:gd name="connsiteY3" fmla="*/ 0 h 166153"/>
                <a:gd name="connsiteX4" fmla="*/ 136484 w 136483"/>
                <a:gd name="connsiteY4" fmla="*/ 2967 h 166153"/>
                <a:gd name="connsiteX5" fmla="*/ 133516 w 136483"/>
                <a:gd name="connsiteY5" fmla="*/ 8901 h 166153"/>
                <a:gd name="connsiteX6" fmla="*/ 11868 w 136483"/>
                <a:gd name="connsiteY6" fmla="*/ 160220 h 166153"/>
                <a:gd name="connsiteX7" fmla="*/ 5934 w 136483"/>
                <a:gd name="connsiteY7" fmla="*/ 166154 h 16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6483" h="166153">
                  <a:moveTo>
                    <a:pt x="5934" y="166154"/>
                  </a:moveTo>
                  <a:cubicBezTo>
                    <a:pt x="5934" y="166154"/>
                    <a:pt x="5934" y="166154"/>
                    <a:pt x="5934" y="166154"/>
                  </a:cubicBezTo>
                  <a:cubicBezTo>
                    <a:pt x="2967" y="166154"/>
                    <a:pt x="0" y="163186"/>
                    <a:pt x="0" y="160220"/>
                  </a:cubicBezTo>
                  <a:cubicBezTo>
                    <a:pt x="20769" y="35604"/>
                    <a:pt x="127583" y="0"/>
                    <a:pt x="130550" y="0"/>
                  </a:cubicBezTo>
                  <a:cubicBezTo>
                    <a:pt x="133516" y="0"/>
                    <a:pt x="136484" y="0"/>
                    <a:pt x="136484" y="2967"/>
                  </a:cubicBezTo>
                  <a:cubicBezTo>
                    <a:pt x="136484" y="5934"/>
                    <a:pt x="136484" y="8901"/>
                    <a:pt x="133516" y="8901"/>
                  </a:cubicBezTo>
                  <a:cubicBezTo>
                    <a:pt x="133516" y="8901"/>
                    <a:pt x="29670" y="41538"/>
                    <a:pt x="11868" y="160220"/>
                  </a:cubicBezTo>
                  <a:cubicBezTo>
                    <a:pt x="11868" y="166154"/>
                    <a:pt x="8901" y="166154"/>
                    <a:pt x="5934" y="166154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017EE58A-C6F9-4CE1-857E-6CFC1C68FE07}"/>
                </a:ext>
              </a:extLst>
            </p:cNvPr>
            <p:cNvSpPr/>
            <p:nvPr/>
          </p:nvSpPr>
          <p:spPr>
            <a:xfrm>
              <a:off x="8813624" y="9336030"/>
              <a:ext cx="85302" cy="183956"/>
            </a:xfrm>
            <a:custGeom>
              <a:avLst/>
              <a:gdLst>
                <a:gd name="connsiteX0" fmla="*/ 5192 w 85302"/>
                <a:gd name="connsiteY0" fmla="*/ 183956 h 183956"/>
                <a:gd name="connsiteX1" fmla="*/ 2225 w 85302"/>
                <a:gd name="connsiteY1" fmla="*/ 180989 h 183956"/>
                <a:gd name="connsiteX2" fmla="*/ 2225 w 85302"/>
                <a:gd name="connsiteY2" fmla="*/ 172088 h 183956"/>
                <a:gd name="connsiteX3" fmla="*/ 73434 w 85302"/>
                <a:gd name="connsiteY3" fmla="*/ 5934 h 183956"/>
                <a:gd name="connsiteX4" fmla="*/ 79368 w 85302"/>
                <a:gd name="connsiteY4" fmla="*/ 0 h 183956"/>
                <a:gd name="connsiteX5" fmla="*/ 85302 w 85302"/>
                <a:gd name="connsiteY5" fmla="*/ 5934 h 183956"/>
                <a:gd name="connsiteX6" fmla="*/ 14093 w 85302"/>
                <a:gd name="connsiteY6" fmla="*/ 175056 h 183956"/>
                <a:gd name="connsiteX7" fmla="*/ 5192 w 85302"/>
                <a:gd name="connsiteY7" fmla="*/ 183956 h 183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302" h="183956">
                  <a:moveTo>
                    <a:pt x="5192" y="183956"/>
                  </a:moveTo>
                  <a:cubicBezTo>
                    <a:pt x="5192" y="183956"/>
                    <a:pt x="2225" y="183956"/>
                    <a:pt x="2225" y="180989"/>
                  </a:cubicBezTo>
                  <a:cubicBezTo>
                    <a:pt x="-742" y="178022"/>
                    <a:pt x="-742" y="175056"/>
                    <a:pt x="2225" y="172088"/>
                  </a:cubicBezTo>
                  <a:cubicBezTo>
                    <a:pt x="52665" y="118681"/>
                    <a:pt x="70467" y="8902"/>
                    <a:pt x="73434" y="5934"/>
                  </a:cubicBezTo>
                  <a:cubicBezTo>
                    <a:pt x="73434" y="2967"/>
                    <a:pt x="76401" y="0"/>
                    <a:pt x="79368" y="0"/>
                  </a:cubicBezTo>
                  <a:cubicBezTo>
                    <a:pt x="82335" y="0"/>
                    <a:pt x="85302" y="2967"/>
                    <a:pt x="85302" y="5934"/>
                  </a:cubicBezTo>
                  <a:cubicBezTo>
                    <a:pt x="85302" y="11869"/>
                    <a:pt x="64533" y="121649"/>
                    <a:pt x="14093" y="175056"/>
                  </a:cubicBezTo>
                  <a:cubicBezTo>
                    <a:pt x="8159" y="180989"/>
                    <a:pt x="8159" y="183956"/>
                    <a:pt x="5192" y="183956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E5B2F5CC-9261-45AB-9584-9AB723CD54DD}"/>
                </a:ext>
              </a:extLst>
            </p:cNvPr>
            <p:cNvSpPr/>
            <p:nvPr/>
          </p:nvSpPr>
          <p:spPr>
            <a:xfrm>
              <a:off x="8858129" y="9413173"/>
              <a:ext cx="68729" cy="124615"/>
            </a:xfrm>
            <a:custGeom>
              <a:avLst/>
              <a:gdLst>
                <a:gd name="connsiteX0" fmla="*/ 5192 w 68729"/>
                <a:gd name="connsiteY0" fmla="*/ 124616 h 124615"/>
                <a:gd name="connsiteX1" fmla="*/ 2225 w 68729"/>
                <a:gd name="connsiteY1" fmla="*/ 121649 h 124615"/>
                <a:gd name="connsiteX2" fmla="*/ 2225 w 68729"/>
                <a:gd name="connsiteY2" fmla="*/ 112748 h 124615"/>
                <a:gd name="connsiteX3" fmla="*/ 58599 w 68729"/>
                <a:gd name="connsiteY3" fmla="*/ 2967 h 124615"/>
                <a:gd name="connsiteX4" fmla="*/ 64533 w 68729"/>
                <a:gd name="connsiteY4" fmla="*/ 0 h 124615"/>
                <a:gd name="connsiteX5" fmla="*/ 67500 w 68729"/>
                <a:gd name="connsiteY5" fmla="*/ 5934 h 124615"/>
                <a:gd name="connsiteX6" fmla="*/ 5192 w 68729"/>
                <a:gd name="connsiteY6" fmla="*/ 121649 h 124615"/>
                <a:gd name="connsiteX7" fmla="*/ 5192 w 68729"/>
                <a:gd name="connsiteY7" fmla="*/ 124616 h 12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729" h="124615">
                  <a:moveTo>
                    <a:pt x="5192" y="124616"/>
                  </a:moveTo>
                  <a:cubicBezTo>
                    <a:pt x="2225" y="124616"/>
                    <a:pt x="2225" y="124616"/>
                    <a:pt x="2225" y="121649"/>
                  </a:cubicBezTo>
                  <a:cubicBezTo>
                    <a:pt x="-742" y="118681"/>
                    <a:pt x="-742" y="115714"/>
                    <a:pt x="2225" y="112748"/>
                  </a:cubicBezTo>
                  <a:cubicBezTo>
                    <a:pt x="31896" y="86044"/>
                    <a:pt x="58599" y="2967"/>
                    <a:pt x="58599" y="2967"/>
                  </a:cubicBezTo>
                  <a:cubicBezTo>
                    <a:pt x="58599" y="0"/>
                    <a:pt x="61566" y="0"/>
                    <a:pt x="64533" y="0"/>
                  </a:cubicBezTo>
                  <a:cubicBezTo>
                    <a:pt x="67500" y="0"/>
                    <a:pt x="70467" y="2967"/>
                    <a:pt x="67500" y="5934"/>
                  </a:cubicBezTo>
                  <a:cubicBezTo>
                    <a:pt x="67500" y="8902"/>
                    <a:pt x="40797" y="94945"/>
                    <a:pt x="5192" y="121649"/>
                  </a:cubicBezTo>
                  <a:cubicBezTo>
                    <a:pt x="8159" y="124616"/>
                    <a:pt x="8159" y="124616"/>
                    <a:pt x="5192" y="124616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06702D3E-AFF3-4832-A35C-D0257DFAB6D3}"/>
                </a:ext>
              </a:extLst>
            </p:cNvPr>
            <p:cNvSpPr/>
            <p:nvPr/>
          </p:nvSpPr>
          <p:spPr>
            <a:xfrm>
              <a:off x="9254970" y="9127020"/>
              <a:ext cx="93659" cy="467142"/>
            </a:xfrm>
            <a:custGeom>
              <a:avLst/>
              <a:gdLst>
                <a:gd name="connsiteX0" fmla="*/ 5934 w 93659"/>
                <a:gd name="connsiteY0" fmla="*/ 467143 h 467142"/>
                <a:gd name="connsiteX1" fmla="*/ 5934 w 93659"/>
                <a:gd name="connsiteY1" fmla="*/ 467143 h 467142"/>
                <a:gd name="connsiteX2" fmla="*/ 0 w 93659"/>
                <a:gd name="connsiteY2" fmla="*/ 458242 h 467142"/>
                <a:gd name="connsiteX3" fmla="*/ 77143 w 93659"/>
                <a:gd name="connsiteY3" fmla="*/ 128901 h 467142"/>
                <a:gd name="connsiteX4" fmla="*/ 35604 w 93659"/>
                <a:gd name="connsiteY4" fmla="*/ 10220 h 467142"/>
                <a:gd name="connsiteX5" fmla="*/ 35604 w 93659"/>
                <a:gd name="connsiteY5" fmla="*/ 1319 h 467142"/>
                <a:gd name="connsiteX6" fmla="*/ 44505 w 93659"/>
                <a:gd name="connsiteY6" fmla="*/ 1319 h 467142"/>
                <a:gd name="connsiteX7" fmla="*/ 89011 w 93659"/>
                <a:gd name="connsiteY7" fmla="*/ 122967 h 467142"/>
                <a:gd name="connsiteX8" fmla="*/ 11868 w 93659"/>
                <a:gd name="connsiteY8" fmla="*/ 461208 h 467142"/>
                <a:gd name="connsiteX9" fmla="*/ 5934 w 93659"/>
                <a:gd name="connsiteY9" fmla="*/ 467143 h 46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659" h="467142">
                  <a:moveTo>
                    <a:pt x="5934" y="467143"/>
                  </a:moveTo>
                  <a:cubicBezTo>
                    <a:pt x="5934" y="467143"/>
                    <a:pt x="5934" y="467143"/>
                    <a:pt x="5934" y="467143"/>
                  </a:cubicBezTo>
                  <a:cubicBezTo>
                    <a:pt x="0" y="464176"/>
                    <a:pt x="0" y="461208"/>
                    <a:pt x="0" y="458242"/>
                  </a:cubicBezTo>
                  <a:cubicBezTo>
                    <a:pt x="80110" y="312857"/>
                    <a:pt x="86044" y="197143"/>
                    <a:pt x="77143" y="128901"/>
                  </a:cubicBezTo>
                  <a:cubicBezTo>
                    <a:pt x="65275" y="51758"/>
                    <a:pt x="35604" y="10220"/>
                    <a:pt x="35604" y="10220"/>
                  </a:cubicBezTo>
                  <a:cubicBezTo>
                    <a:pt x="32637" y="7253"/>
                    <a:pt x="35604" y="4286"/>
                    <a:pt x="35604" y="1319"/>
                  </a:cubicBezTo>
                  <a:cubicBezTo>
                    <a:pt x="38571" y="-1648"/>
                    <a:pt x="41538" y="1319"/>
                    <a:pt x="44505" y="1319"/>
                  </a:cubicBezTo>
                  <a:cubicBezTo>
                    <a:pt x="44505" y="4286"/>
                    <a:pt x="77143" y="45824"/>
                    <a:pt x="89011" y="122967"/>
                  </a:cubicBezTo>
                  <a:cubicBezTo>
                    <a:pt x="100879" y="194175"/>
                    <a:pt x="94945" y="312857"/>
                    <a:pt x="11868" y="461208"/>
                  </a:cubicBezTo>
                  <a:cubicBezTo>
                    <a:pt x="11868" y="464176"/>
                    <a:pt x="8901" y="467143"/>
                    <a:pt x="5934" y="467143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2AC27BB8-A533-4793-875D-7DABDFEFA2D8}"/>
                </a:ext>
              </a:extLst>
            </p:cNvPr>
            <p:cNvSpPr/>
            <p:nvPr/>
          </p:nvSpPr>
          <p:spPr>
            <a:xfrm>
              <a:off x="9088816" y="8983943"/>
              <a:ext cx="116943" cy="18042"/>
            </a:xfrm>
            <a:custGeom>
              <a:avLst/>
              <a:gdLst>
                <a:gd name="connsiteX0" fmla="*/ 5934 w 116943"/>
                <a:gd name="connsiteY0" fmla="*/ 16813 h 18042"/>
                <a:gd name="connsiteX1" fmla="*/ 0 w 116943"/>
                <a:gd name="connsiteY1" fmla="*/ 13846 h 18042"/>
                <a:gd name="connsiteX2" fmla="*/ 2967 w 116943"/>
                <a:gd name="connsiteY2" fmla="*/ 7912 h 18042"/>
                <a:gd name="connsiteX3" fmla="*/ 112747 w 116943"/>
                <a:gd name="connsiteY3" fmla="*/ 7912 h 18042"/>
                <a:gd name="connsiteX4" fmla="*/ 115714 w 116943"/>
                <a:gd name="connsiteY4" fmla="*/ 13846 h 18042"/>
                <a:gd name="connsiteX5" fmla="*/ 109780 w 116943"/>
                <a:gd name="connsiteY5" fmla="*/ 16813 h 18042"/>
                <a:gd name="connsiteX6" fmla="*/ 5934 w 116943"/>
                <a:gd name="connsiteY6" fmla="*/ 16813 h 18042"/>
                <a:gd name="connsiteX7" fmla="*/ 5934 w 116943"/>
                <a:gd name="connsiteY7" fmla="*/ 16813 h 1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943" h="18042">
                  <a:moveTo>
                    <a:pt x="5934" y="16813"/>
                  </a:moveTo>
                  <a:cubicBezTo>
                    <a:pt x="2967" y="16813"/>
                    <a:pt x="2967" y="16813"/>
                    <a:pt x="0" y="13846"/>
                  </a:cubicBezTo>
                  <a:cubicBezTo>
                    <a:pt x="0" y="10879"/>
                    <a:pt x="0" y="7912"/>
                    <a:pt x="2967" y="7912"/>
                  </a:cubicBezTo>
                  <a:cubicBezTo>
                    <a:pt x="50439" y="-9890"/>
                    <a:pt x="112747" y="7912"/>
                    <a:pt x="112747" y="7912"/>
                  </a:cubicBezTo>
                  <a:cubicBezTo>
                    <a:pt x="115714" y="7912"/>
                    <a:pt x="118681" y="10879"/>
                    <a:pt x="115714" y="13846"/>
                  </a:cubicBezTo>
                  <a:cubicBezTo>
                    <a:pt x="115714" y="16813"/>
                    <a:pt x="112747" y="19780"/>
                    <a:pt x="109780" y="16813"/>
                  </a:cubicBezTo>
                  <a:cubicBezTo>
                    <a:pt x="112747" y="13846"/>
                    <a:pt x="53407" y="-989"/>
                    <a:pt x="5934" y="16813"/>
                  </a:cubicBezTo>
                  <a:cubicBezTo>
                    <a:pt x="8901" y="16813"/>
                    <a:pt x="8901" y="16813"/>
                    <a:pt x="5934" y="16813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578C83B8-A202-41C5-ABEB-02538FCCAE5C}"/>
                </a:ext>
              </a:extLst>
            </p:cNvPr>
            <p:cNvSpPr/>
            <p:nvPr/>
          </p:nvSpPr>
          <p:spPr>
            <a:xfrm>
              <a:off x="9079915" y="9470289"/>
              <a:ext cx="212884" cy="85302"/>
            </a:xfrm>
            <a:custGeom>
              <a:avLst/>
              <a:gdLst>
                <a:gd name="connsiteX0" fmla="*/ 71209 w 212884"/>
                <a:gd name="connsiteY0" fmla="*/ 85303 h 85302"/>
                <a:gd name="connsiteX1" fmla="*/ 62308 w 212884"/>
                <a:gd name="connsiteY1" fmla="*/ 85303 h 85302"/>
                <a:gd name="connsiteX2" fmla="*/ 2967 w 212884"/>
                <a:gd name="connsiteY2" fmla="*/ 64533 h 85302"/>
                <a:gd name="connsiteX3" fmla="*/ 0 w 212884"/>
                <a:gd name="connsiteY3" fmla="*/ 55633 h 85302"/>
                <a:gd name="connsiteX4" fmla="*/ 8901 w 212884"/>
                <a:gd name="connsiteY4" fmla="*/ 52665 h 85302"/>
                <a:gd name="connsiteX5" fmla="*/ 65275 w 212884"/>
                <a:gd name="connsiteY5" fmla="*/ 70468 h 85302"/>
                <a:gd name="connsiteX6" fmla="*/ 201758 w 212884"/>
                <a:gd name="connsiteY6" fmla="*/ 2225 h 85302"/>
                <a:gd name="connsiteX7" fmla="*/ 210660 w 212884"/>
                <a:gd name="connsiteY7" fmla="*/ 2225 h 85302"/>
                <a:gd name="connsiteX8" fmla="*/ 210660 w 212884"/>
                <a:gd name="connsiteY8" fmla="*/ 11127 h 85302"/>
                <a:gd name="connsiteX9" fmla="*/ 71209 w 212884"/>
                <a:gd name="connsiteY9" fmla="*/ 85303 h 85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2884" h="85302">
                  <a:moveTo>
                    <a:pt x="71209" y="85303"/>
                  </a:moveTo>
                  <a:cubicBezTo>
                    <a:pt x="68242" y="85303"/>
                    <a:pt x="65275" y="85303"/>
                    <a:pt x="62308" y="85303"/>
                  </a:cubicBezTo>
                  <a:cubicBezTo>
                    <a:pt x="41539" y="82336"/>
                    <a:pt x="20769" y="76401"/>
                    <a:pt x="2967" y="64533"/>
                  </a:cubicBezTo>
                  <a:cubicBezTo>
                    <a:pt x="0" y="61566"/>
                    <a:pt x="0" y="58599"/>
                    <a:pt x="0" y="55633"/>
                  </a:cubicBezTo>
                  <a:cubicBezTo>
                    <a:pt x="2967" y="52665"/>
                    <a:pt x="5934" y="52665"/>
                    <a:pt x="8901" y="52665"/>
                  </a:cubicBezTo>
                  <a:cubicBezTo>
                    <a:pt x="26704" y="64533"/>
                    <a:pt x="44505" y="70468"/>
                    <a:pt x="65275" y="70468"/>
                  </a:cubicBezTo>
                  <a:cubicBezTo>
                    <a:pt x="124615" y="76401"/>
                    <a:pt x="201758" y="2225"/>
                    <a:pt x="201758" y="2225"/>
                  </a:cubicBezTo>
                  <a:cubicBezTo>
                    <a:pt x="204726" y="-742"/>
                    <a:pt x="207692" y="-742"/>
                    <a:pt x="210660" y="2225"/>
                  </a:cubicBezTo>
                  <a:cubicBezTo>
                    <a:pt x="213626" y="5193"/>
                    <a:pt x="213626" y="8160"/>
                    <a:pt x="210660" y="11127"/>
                  </a:cubicBezTo>
                  <a:cubicBezTo>
                    <a:pt x="204726" y="14093"/>
                    <a:pt x="133516" y="85303"/>
                    <a:pt x="71209" y="85303"/>
                  </a:cubicBezTo>
                  <a:close/>
                </a:path>
              </a:pathLst>
            </a:custGeom>
            <a:solidFill>
              <a:srgbClr val="E58777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B673DF5B-2152-4230-88EC-ED51EF7137F9}"/>
                </a:ext>
              </a:extLst>
            </p:cNvPr>
            <p:cNvSpPr/>
            <p:nvPr/>
          </p:nvSpPr>
          <p:spPr>
            <a:xfrm>
              <a:off x="8780245" y="11195131"/>
              <a:ext cx="77142" cy="81339"/>
            </a:xfrm>
            <a:custGeom>
              <a:avLst/>
              <a:gdLst>
                <a:gd name="connsiteX0" fmla="*/ 77143 w 77142"/>
                <a:gd name="connsiteY0" fmla="*/ 81339 h 81339"/>
                <a:gd name="connsiteX1" fmla="*/ 5934 w 77142"/>
                <a:gd name="connsiteY1" fmla="*/ 81339 h 81339"/>
                <a:gd name="connsiteX2" fmla="*/ 0 w 77142"/>
                <a:gd name="connsiteY2" fmla="*/ 75405 h 81339"/>
                <a:gd name="connsiteX3" fmla="*/ 5934 w 77142"/>
                <a:gd name="connsiteY3" fmla="*/ 69470 h 81339"/>
                <a:gd name="connsiteX4" fmla="*/ 59341 w 77142"/>
                <a:gd name="connsiteY4" fmla="*/ 69470 h 81339"/>
                <a:gd name="connsiteX5" fmla="*/ 20769 w 77142"/>
                <a:gd name="connsiteY5" fmla="*/ 10130 h 81339"/>
                <a:gd name="connsiteX6" fmla="*/ 17802 w 77142"/>
                <a:gd name="connsiteY6" fmla="*/ 4196 h 81339"/>
                <a:gd name="connsiteX7" fmla="*/ 23736 w 77142"/>
                <a:gd name="connsiteY7" fmla="*/ 1229 h 81339"/>
                <a:gd name="connsiteX8" fmla="*/ 71209 w 77142"/>
                <a:gd name="connsiteY8" fmla="*/ 75405 h 81339"/>
                <a:gd name="connsiteX9" fmla="*/ 77143 w 77142"/>
                <a:gd name="connsiteY9" fmla="*/ 81339 h 81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142" h="81339">
                  <a:moveTo>
                    <a:pt x="77143" y="81339"/>
                  </a:moveTo>
                  <a:lnTo>
                    <a:pt x="5934" y="81339"/>
                  </a:lnTo>
                  <a:cubicBezTo>
                    <a:pt x="2967" y="81339"/>
                    <a:pt x="0" y="78372"/>
                    <a:pt x="0" y="75405"/>
                  </a:cubicBezTo>
                  <a:cubicBezTo>
                    <a:pt x="0" y="72438"/>
                    <a:pt x="2967" y="69470"/>
                    <a:pt x="5934" y="69470"/>
                  </a:cubicBezTo>
                  <a:lnTo>
                    <a:pt x="59341" y="69470"/>
                  </a:lnTo>
                  <a:cubicBezTo>
                    <a:pt x="44505" y="39800"/>
                    <a:pt x="29670" y="13097"/>
                    <a:pt x="20769" y="10130"/>
                  </a:cubicBezTo>
                  <a:cubicBezTo>
                    <a:pt x="17802" y="10130"/>
                    <a:pt x="14835" y="7163"/>
                    <a:pt x="17802" y="4196"/>
                  </a:cubicBezTo>
                  <a:cubicBezTo>
                    <a:pt x="17802" y="1229"/>
                    <a:pt x="20769" y="-1738"/>
                    <a:pt x="23736" y="1229"/>
                  </a:cubicBezTo>
                  <a:cubicBezTo>
                    <a:pt x="38571" y="4196"/>
                    <a:pt x="62307" y="54635"/>
                    <a:pt x="71209" y="75405"/>
                  </a:cubicBezTo>
                  <a:lnTo>
                    <a:pt x="77143" y="81339"/>
                  </a:ln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FCB232A3-9EF9-47F5-B40C-073107D4EAEB}"/>
                </a:ext>
              </a:extLst>
            </p:cNvPr>
            <p:cNvSpPr/>
            <p:nvPr/>
          </p:nvSpPr>
          <p:spPr>
            <a:xfrm>
              <a:off x="9358531" y="9460646"/>
              <a:ext cx="498746" cy="457992"/>
            </a:xfrm>
            <a:custGeom>
              <a:avLst/>
              <a:gdLst>
                <a:gd name="connsiteX0" fmla="*/ 285120 w 498746"/>
                <a:gd name="connsiteY0" fmla="*/ 0 h 457992"/>
                <a:gd name="connsiteX1" fmla="*/ 21054 w 498746"/>
                <a:gd name="connsiteY1" fmla="*/ 421319 h 457992"/>
                <a:gd name="connsiteX2" fmla="*/ 498746 w 498746"/>
                <a:gd name="connsiteY2" fmla="*/ 302638 h 457992"/>
                <a:gd name="connsiteX3" fmla="*/ 285120 w 498746"/>
                <a:gd name="connsiteY3" fmla="*/ 0 h 457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8746" h="457992">
                  <a:moveTo>
                    <a:pt x="285120" y="0"/>
                  </a:moveTo>
                  <a:cubicBezTo>
                    <a:pt x="285120" y="0"/>
                    <a:pt x="-91693" y="237363"/>
                    <a:pt x="21054" y="421319"/>
                  </a:cubicBezTo>
                  <a:cubicBezTo>
                    <a:pt x="101164" y="548901"/>
                    <a:pt x="498746" y="302638"/>
                    <a:pt x="498746" y="302638"/>
                  </a:cubicBezTo>
                  <a:cubicBezTo>
                    <a:pt x="498746" y="302638"/>
                    <a:pt x="433472" y="112747"/>
                    <a:pt x="285120" y="0"/>
                  </a:cubicBezTo>
                  <a:close/>
                </a:path>
              </a:pathLst>
            </a:custGeom>
            <a:solidFill>
              <a:srgbClr val="D16156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3A54A02E-8A4E-4939-9D83-0A627B388612}"/>
                </a:ext>
              </a:extLst>
            </p:cNvPr>
            <p:cNvSpPr/>
            <p:nvPr/>
          </p:nvSpPr>
          <p:spPr>
            <a:xfrm>
              <a:off x="9377360" y="9643374"/>
              <a:ext cx="494752" cy="280130"/>
            </a:xfrm>
            <a:custGeom>
              <a:avLst/>
              <a:gdLst>
                <a:gd name="connsiteX0" fmla="*/ 109038 w 494752"/>
                <a:gd name="connsiteY0" fmla="*/ 280130 h 280130"/>
                <a:gd name="connsiteX1" fmla="*/ 2225 w 494752"/>
                <a:gd name="connsiteY1" fmla="*/ 241558 h 280130"/>
                <a:gd name="connsiteX2" fmla="*/ 2225 w 494752"/>
                <a:gd name="connsiteY2" fmla="*/ 232657 h 280130"/>
                <a:gd name="connsiteX3" fmla="*/ 11127 w 494752"/>
                <a:gd name="connsiteY3" fmla="*/ 232657 h 280130"/>
                <a:gd name="connsiteX4" fmla="*/ 215852 w 494752"/>
                <a:gd name="connsiteY4" fmla="*/ 241558 h 280130"/>
                <a:gd name="connsiteX5" fmla="*/ 479917 w 494752"/>
                <a:gd name="connsiteY5" fmla="*/ 113976 h 280130"/>
                <a:gd name="connsiteX6" fmla="*/ 432445 w 494752"/>
                <a:gd name="connsiteY6" fmla="*/ 10130 h 280130"/>
                <a:gd name="connsiteX7" fmla="*/ 435412 w 494752"/>
                <a:gd name="connsiteY7" fmla="*/ 1229 h 280130"/>
                <a:gd name="connsiteX8" fmla="*/ 444313 w 494752"/>
                <a:gd name="connsiteY8" fmla="*/ 4195 h 280130"/>
                <a:gd name="connsiteX9" fmla="*/ 494753 w 494752"/>
                <a:gd name="connsiteY9" fmla="*/ 113976 h 280130"/>
                <a:gd name="connsiteX10" fmla="*/ 494753 w 494752"/>
                <a:gd name="connsiteY10" fmla="*/ 116943 h 280130"/>
                <a:gd name="connsiteX11" fmla="*/ 491786 w 494752"/>
                <a:gd name="connsiteY11" fmla="*/ 119910 h 280130"/>
                <a:gd name="connsiteX12" fmla="*/ 224753 w 494752"/>
                <a:gd name="connsiteY12" fmla="*/ 250460 h 280130"/>
                <a:gd name="connsiteX13" fmla="*/ 109038 w 494752"/>
                <a:gd name="connsiteY13" fmla="*/ 280130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4752" h="280130">
                  <a:moveTo>
                    <a:pt x="109038" y="280130"/>
                  </a:moveTo>
                  <a:cubicBezTo>
                    <a:pt x="40797" y="280130"/>
                    <a:pt x="5192" y="244525"/>
                    <a:pt x="2225" y="241558"/>
                  </a:cubicBezTo>
                  <a:cubicBezTo>
                    <a:pt x="-742" y="238592"/>
                    <a:pt x="-742" y="235625"/>
                    <a:pt x="2225" y="232657"/>
                  </a:cubicBezTo>
                  <a:cubicBezTo>
                    <a:pt x="5192" y="229690"/>
                    <a:pt x="8159" y="229690"/>
                    <a:pt x="11127" y="232657"/>
                  </a:cubicBezTo>
                  <a:cubicBezTo>
                    <a:pt x="14093" y="235625"/>
                    <a:pt x="79368" y="300899"/>
                    <a:pt x="215852" y="241558"/>
                  </a:cubicBezTo>
                  <a:cubicBezTo>
                    <a:pt x="340467" y="188152"/>
                    <a:pt x="456182" y="125844"/>
                    <a:pt x="479917" y="113976"/>
                  </a:cubicBezTo>
                  <a:cubicBezTo>
                    <a:pt x="473983" y="99141"/>
                    <a:pt x="459148" y="51668"/>
                    <a:pt x="432445" y="10130"/>
                  </a:cubicBezTo>
                  <a:cubicBezTo>
                    <a:pt x="429478" y="7163"/>
                    <a:pt x="432445" y="4195"/>
                    <a:pt x="435412" y="1229"/>
                  </a:cubicBezTo>
                  <a:cubicBezTo>
                    <a:pt x="438379" y="-1738"/>
                    <a:pt x="441346" y="1229"/>
                    <a:pt x="444313" y="4195"/>
                  </a:cubicBezTo>
                  <a:cubicBezTo>
                    <a:pt x="476951" y="54635"/>
                    <a:pt x="494753" y="111009"/>
                    <a:pt x="494753" y="113976"/>
                  </a:cubicBezTo>
                  <a:lnTo>
                    <a:pt x="494753" y="116943"/>
                  </a:lnTo>
                  <a:lnTo>
                    <a:pt x="491786" y="119910"/>
                  </a:lnTo>
                  <a:cubicBezTo>
                    <a:pt x="491786" y="119910"/>
                    <a:pt x="361236" y="191119"/>
                    <a:pt x="224753" y="250460"/>
                  </a:cubicBezTo>
                  <a:cubicBezTo>
                    <a:pt x="174313" y="274196"/>
                    <a:pt x="138709" y="280130"/>
                    <a:pt x="109038" y="280130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8209EEA9-BD4A-4C45-B584-4D238CDC0982}"/>
                </a:ext>
              </a:extLst>
            </p:cNvPr>
            <p:cNvSpPr/>
            <p:nvPr/>
          </p:nvSpPr>
          <p:spPr>
            <a:xfrm>
              <a:off x="7622271" y="9504944"/>
              <a:ext cx="216147" cy="238110"/>
            </a:xfrm>
            <a:custGeom>
              <a:avLst/>
              <a:gdLst>
                <a:gd name="connsiteX0" fmla="*/ 33468 w 216147"/>
                <a:gd name="connsiteY0" fmla="*/ 178230 h 238110"/>
                <a:gd name="connsiteX1" fmla="*/ 146215 w 216147"/>
                <a:gd name="connsiteY1" fmla="*/ 237571 h 238110"/>
                <a:gd name="connsiteX2" fmla="*/ 214457 w 216147"/>
                <a:gd name="connsiteY2" fmla="*/ 163395 h 238110"/>
                <a:gd name="connsiteX3" fmla="*/ 54237 w 216147"/>
                <a:gd name="connsiteY3" fmla="*/ 208 h 238110"/>
                <a:gd name="connsiteX4" fmla="*/ 30501 w 216147"/>
                <a:gd name="connsiteY4" fmla="*/ 32846 h 238110"/>
                <a:gd name="connsiteX5" fmla="*/ 831 w 216147"/>
                <a:gd name="connsiteY5" fmla="*/ 68449 h 238110"/>
                <a:gd name="connsiteX6" fmla="*/ 3798 w 216147"/>
                <a:gd name="connsiteY6" fmla="*/ 101087 h 238110"/>
                <a:gd name="connsiteX7" fmla="*/ 15666 w 216147"/>
                <a:gd name="connsiteY7" fmla="*/ 145592 h 238110"/>
                <a:gd name="connsiteX8" fmla="*/ 33468 w 216147"/>
                <a:gd name="connsiteY8" fmla="*/ 178230 h 238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147" h="238110">
                  <a:moveTo>
                    <a:pt x="33468" y="178230"/>
                  </a:moveTo>
                  <a:cubicBezTo>
                    <a:pt x="63138" y="199000"/>
                    <a:pt x="107644" y="243505"/>
                    <a:pt x="146215" y="237571"/>
                  </a:cubicBezTo>
                  <a:cubicBezTo>
                    <a:pt x="172918" y="231636"/>
                    <a:pt x="214457" y="163395"/>
                    <a:pt x="214457" y="163395"/>
                  </a:cubicBezTo>
                  <a:cubicBezTo>
                    <a:pt x="232259" y="95153"/>
                    <a:pt x="104677" y="23944"/>
                    <a:pt x="54237" y="208"/>
                  </a:cubicBezTo>
                  <a:cubicBezTo>
                    <a:pt x="45336" y="-2759"/>
                    <a:pt x="24567" y="26911"/>
                    <a:pt x="30501" y="32846"/>
                  </a:cubicBezTo>
                  <a:cubicBezTo>
                    <a:pt x="42369" y="44713"/>
                    <a:pt x="3798" y="59549"/>
                    <a:pt x="831" y="68449"/>
                  </a:cubicBezTo>
                  <a:cubicBezTo>
                    <a:pt x="-2136" y="77351"/>
                    <a:pt x="3798" y="98120"/>
                    <a:pt x="3798" y="101087"/>
                  </a:cubicBezTo>
                  <a:cubicBezTo>
                    <a:pt x="3798" y="118889"/>
                    <a:pt x="15666" y="139659"/>
                    <a:pt x="15666" y="145592"/>
                  </a:cubicBezTo>
                  <a:cubicBezTo>
                    <a:pt x="9732" y="160428"/>
                    <a:pt x="15666" y="163395"/>
                    <a:pt x="33468" y="178230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2" name="图形 1">
              <a:extLst>
                <a:ext uri="{FF2B5EF4-FFF2-40B4-BE49-F238E27FC236}">
                  <a16:creationId xmlns:a16="http://schemas.microsoft.com/office/drawing/2014/main" id="{C6A89F61-008B-4121-8987-E4298C51E190}"/>
                </a:ext>
              </a:extLst>
            </p:cNvPr>
            <p:cNvGrpSpPr/>
            <p:nvPr/>
          </p:nvGrpSpPr>
          <p:grpSpPr>
            <a:xfrm>
              <a:off x="7525190" y="8971086"/>
              <a:ext cx="308571" cy="821868"/>
              <a:chOff x="7525190" y="8971086"/>
              <a:chExt cx="308571" cy="821868"/>
            </a:xfrm>
          </p:grpSpPr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0D22418C-10EB-42FD-8782-5410A82F37ED}"/>
                  </a:ext>
                </a:extLst>
              </p:cNvPr>
              <p:cNvSpPr/>
              <p:nvPr/>
            </p:nvSpPr>
            <p:spPr>
              <a:xfrm>
                <a:off x="7646838" y="9398339"/>
                <a:ext cx="59340" cy="367912"/>
              </a:xfrm>
              <a:custGeom>
                <a:avLst/>
                <a:gdLst>
                  <a:gd name="connsiteX0" fmla="*/ 0 w 59340"/>
                  <a:gd name="connsiteY0" fmla="*/ 0 h 367912"/>
                  <a:gd name="connsiteX1" fmla="*/ 59340 w 59340"/>
                  <a:gd name="connsiteY1" fmla="*/ 0 h 367912"/>
                  <a:gd name="connsiteX2" fmla="*/ 59340 w 59340"/>
                  <a:gd name="connsiteY2" fmla="*/ 367912 h 367912"/>
                  <a:gd name="connsiteX3" fmla="*/ 0 w 59340"/>
                  <a:gd name="connsiteY3" fmla="*/ 367912 h 36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340" h="367912">
                    <a:moveTo>
                      <a:pt x="0" y="0"/>
                    </a:moveTo>
                    <a:lnTo>
                      <a:pt x="59340" y="0"/>
                    </a:lnTo>
                    <a:lnTo>
                      <a:pt x="59340" y="367912"/>
                    </a:lnTo>
                    <a:lnTo>
                      <a:pt x="0" y="367912"/>
                    </a:ln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AE28588C-AECF-4F47-A371-C39FCCA5A2F2}"/>
                  </a:ext>
                </a:extLst>
              </p:cNvPr>
              <p:cNvSpPr/>
              <p:nvPr/>
            </p:nvSpPr>
            <p:spPr>
              <a:xfrm>
                <a:off x="7525190" y="9733614"/>
                <a:ext cx="308571" cy="59340"/>
              </a:xfrm>
              <a:custGeom>
                <a:avLst/>
                <a:gdLst>
                  <a:gd name="connsiteX0" fmla="*/ 308571 w 308571"/>
                  <a:gd name="connsiteY0" fmla="*/ 29670 h 59340"/>
                  <a:gd name="connsiteX1" fmla="*/ 154286 w 308571"/>
                  <a:gd name="connsiteY1" fmla="*/ 59341 h 59340"/>
                  <a:gd name="connsiteX2" fmla="*/ 0 w 308571"/>
                  <a:gd name="connsiteY2" fmla="*/ 29670 h 59340"/>
                  <a:gd name="connsiteX3" fmla="*/ 154286 w 308571"/>
                  <a:gd name="connsiteY3" fmla="*/ 0 h 59340"/>
                  <a:gd name="connsiteX4" fmla="*/ 308571 w 308571"/>
                  <a:gd name="connsiteY4" fmla="*/ 29670 h 59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1" h="59340">
                    <a:moveTo>
                      <a:pt x="308571" y="29670"/>
                    </a:moveTo>
                    <a:cubicBezTo>
                      <a:pt x="308571" y="44505"/>
                      <a:pt x="240329" y="59341"/>
                      <a:pt x="154286" y="59341"/>
                    </a:cubicBezTo>
                    <a:cubicBezTo>
                      <a:pt x="68242" y="59341"/>
                      <a:pt x="0" y="47472"/>
                      <a:pt x="0" y="29670"/>
                    </a:cubicBezTo>
                    <a:cubicBezTo>
                      <a:pt x="0" y="11868"/>
                      <a:pt x="68242" y="0"/>
                      <a:pt x="154286" y="0"/>
                    </a:cubicBezTo>
                    <a:cubicBezTo>
                      <a:pt x="237363" y="2966"/>
                      <a:pt x="308571" y="14835"/>
                      <a:pt x="308571" y="2967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0CDD0D4B-20B3-4E1B-83BA-96C423F37928}"/>
                  </a:ext>
                </a:extLst>
              </p:cNvPr>
              <p:cNvSpPr/>
              <p:nvPr/>
            </p:nvSpPr>
            <p:spPr>
              <a:xfrm>
                <a:off x="7531124" y="9000756"/>
                <a:ext cx="290769" cy="453955"/>
              </a:xfrm>
              <a:custGeom>
                <a:avLst/>
                <a:gdLst>
                  <a:gd name="connsiteX0" fmla="*/ 145384 w 290769"/>
                  <a:gd name="connsiteY0" fmla="*/ 453956 h 453955"/>
                  <a:gd name="connsiteX1" fmla="*/ 145384 w 290769"/>
                  <a:gd name="connsiteY1" fmla="*/ 453956 h 453955"/>
                  <a:gd name="connsiteX2" fmla="*/ 0 w 290769"/>
                  <a:gd name="connsiteY2" fmla="*/ 308571 h 453955"/>
                  <a:gd name="connsiteX3" fmla="*/ 0 w 290769"/>
                  <a:gd name="connsiteY3" fmla="*/ 0 h 453955"/>
                  <a:gd name="connsiteX4" fmla="*/ 290769 w 290769"/>
                  <a:gd name="connsiteY4" fmla="*/ 0 h 453955"/>
                  <a:gd name="connsiteX5" fmla="*/ 290769 w 290769"/>
                  <a:gd name="connsiteY5" fmla="*/ 308571 h 453955"/>
                  <a:gd name="connsiteX6" fmla="*/ 145384 w 290769"/>
                  <a:gd name="connsiteY6" fmla="*/ 453956 h 453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0769" h="453955">
                    <a:moveTo>
                      <a:pt x="145384" y="453956"/>
                    </a:moveTo>
                    <a:lnTo>
                      <a:pt x="145384" y="453956"/>
                    </a:lnTo>
                    <a:cubicBezTo>
                      <a:pt x="65275" y="453956"/>
                      <a:pt x="0" y="388682"/>
                      <a:pt x="0" y="308571"/>
                    </a:cubicBezTo>
                    <a:lnTo>
                      <a:pt x="0" y="0"/>
                    </a:lnTo>
                    <a:lnTo>
                      <a:pt x="290769" y="0"/>
                    </a:lnTo>
                    <a:lnTo>
                      <a:pt x="290769" y="308571"/>
                    </a:lnTo>
                    <a:cubicBezTo>
                      <a:pt x="290769" y="388682"/>
                      <a:pt x="225495" y="453956"/>
                      <a:pt x="145384" y="453956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7D052865-143D-46FC-B168-4A095D389A9A}"/>
                  </a:ext>
                </a:extLst>
              </p:cNvPr>
              <p:cNvSpPr/>
              <p:nvPr/>
            </p:nvSpPr>
            <p:spPr>
              <a:xfrm>
                <a:off x="7554860" y="9190646"/>
                <a:ext cx="246263" cy="234395"/>
              </a:xfrm>
              <a:custGeom>
                <a:avLst/>
                <a:gdLst>
                  <a:gd name="connsiteX0" fmla="*/ 121648 w 246263"/>
                  <a:gd name="connsiteY0" fmla="*/ 234395 h 234395"/>
                  <a:gd name="connsiteX1" fmla="*/ 121648 w 246263"/>
                  <a:gd name="connsiteY1" fmla="*/ 234395 h 234395"/>
                  <a:gd name="connsiteX2" fmla="*/ 0 w 246263"/>
                  <a:gd name="connsiteY2" fmla="*/ 112748 h 234395"/>
                  <a:gd name="connsiteX3" fmla="*/ 0 w 246263"/>
                  <a:gd name="connsiteY3" fmla="*/ 0 h 234395"/>
                  <a:gd name="connsiteX4" fmla="*/ 246264 w 246263"/>
                  <a:gd name="connsiteY4" fmla="*/ 0 h 234395"/>
                  <a:gd name="connsiteX5" fmla="*/ 246264 w 246263"/>
                  <a:gd name="connsiteY5" fmla="*/ 112748 h 234395"/>
                  <a:gd name="connsiteX6" fmla="*/ 121648 w 246263"/>
                  <a:gd name="connsiteY6" fmla="*/ 234395 h 234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6263" h="234395">
                    <a:moveTo>
                      <a:pt x="121648" y="234395"/>
                    </a:moveTo>
                    <a:lnTo>
                      <a:pt x="121648" y="234395"/>
                    </a:lnTo>
                    <a:cubicBezTo>
                      <a:pt x="53407" y="234395"/>
                      <a:pt x="0" y="180989"/>
                      <a:pt x="0" y="112748"/>
                    </a:cubicBezTo>
                    <a:lnTo>
                      <a:pt x="0" y="0"/>
                    </a:lnTo>
                    <a:lnTo>
                      <a:pt x="246264" y="0"/>
                    </a:lnTo>
                    <a:lnTo>
                      <a:pt x="246264" y="112748"/>
                    </a:lnTo>
                    <a:cubicBezTo>
                      <a:pt x="246264" y="180989"/>
                      <a:pt x="189890" y="234395"/>
                      <a:pt x="121648" y="234395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00F9F6C4-3A34-4718-B314-60D2ED64CC60}"/>
                  </a:ext>
                </a:extLst>
              </p:cNvPr>
              <p:cNvSpPr/>
              <p:nvPr/>
            </p:nvSpPr>
            <p:spPr>
              <a:xfrm>
                <a:off x="7531124" y="8971086"/>
                <a:ext cx="290769" cy="59340"/>
              </a:xfrm>
              <a:custGeom>
                <a:avLst/>
                <a:gdLst>
                  <a:gd name="connsiteX0" fmla="*/ 290769 w 290769"/>
                  <a:gd name="connsiteY0" fmla="*/ 29670 h 59340"/>
                  <a:gd name="connsiteX1" fmla="*/ 145384 w 290769"/>
                  <a:gd name="connsiteY1" fmla="*/ 59341 h 59340"/>
                  <a:gd name="connsiteX2" fmla="*/ 0 w 290769"/>
                  <a:gd name="connsiteY2" fmla="*/ 29670 h 59340"/>
                  <a:gd name="connsiteX3" fmla="*/ 145384 w 290769"/>
                  <a:gd name="connsiteY3" fmla="*/ 0 h 59340"/>
                  <a:gd name="connsiteX4" fmla="*/ 290769 w 290769"/>
                  <a:gd name="connsiteY4" fmla="*/ 29670 h 59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769" h="59340">
                    <a:moveTo>
                      <a:pt x="290769" y="29670"/>
                    </a:moveTo>
                    <a:cubicBezTo>
                      <a:pt x="290769" y="44505"/>
                      <a:pt x="225495" y="59341"/>
                      <a:pt x="145384" y="59341"/>
                    </a:cubicBezTo>
                    <a:cubicBezTo>
                      <a:pt x="65275" y="59341"/>
                      <a:pt x="0" y="47473"/>
                      <a:pt x="0" y="29670"/>
                    </a:cubicBezTo>
                    <a:cubicBezTo>
                      <a:pt x="0" y="11868"/>
                      <a:pt x="65275" y="0"/>
                      <a:pt x="145384" y="0"/>
                    </a:cubicBezTo>
                    <a:cubicBezTo>
                      <a:pt x="225495" y="0"/>
                      <a:pt x="290769" y="14835"/>
                      <a:pt x="290769" y="29670"/>
                    </a:cubicBezTo>
                    <a:close/>
                  </a:path>
                </a:pathLst>
              </a:custGeom>
              <a:solidFill>
                <a:srgbClr val="E5CDA5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F4F8C177-7C6F-4379-8225-FD217EE88157}"/>
                </a:ext>
              </a:extLst>
            </p:cNvPr>
            <p:cNvGrpSpPr/>
            <p:nvPr/>
          </p:nvGrpSpPr>
          <p:grpSpPr>
            <a:xfrm>
              <a:off x="7602332" y="9498168"/>
              <a:ext cx="144056" cy="186740"/>
              <a:chOff x="7602332" y="9498168"/>
              <a:chExt cx="144056" cy="186740"/>
            </a:xfrm>
          </p:grpSpPr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07721021-00DB-4F19-AAD9-62887305D0CA}"/>
                  </a:ext>
                </a:extLst>
              </p:cNvPr>
              <p:cNvSpPr/>
              <p:nvPr/>
            </p:nvSpPr>
            <p:spPr>
              <a:xfrm>
                <a:off x="7607510" y="9498168"/>
                <a:ext cx="127778" cy="84190"/>
              </a:xfrm>
              <a:custGeom>
                <a:avLst/>
                <a:gdLst>
                  <a:gd name="connsiteX0" fmla="*/ 15591 w 127778"/>
                  <a:gd name="connsiteY0" fmla="*/ 1049 h 84190"/>
                  <a:gd name="connsiteX1" fmla="*/ 95701 w 127778"/>
                  <a:gd name="connsiteY1" fmla="*/ 24786 h 84190"/>
                  <a:gd name="connsiteX2" fmla="*/ 107569 w 127778"/>
                  <a:gd name="connsiteY2" fmla="*/ 27753 h 84190"/>
                  <a:gd name="connsiteX3" fmla="*/ 119438 w 127778"/>
                  <a:gd name="connsiteY3" fmla="*/ 36654 h 84190"/>
                  <a:gd name="connsiteX4" fmla="*/ 122404 w 127778"/>
                  <a:gd name="connsiteY4" fmla="*/ 78192 h 84190"/>
                  <a:gd name="connsiteX5" fmla="*/ 83833 w 127778"/>
                  <a:gd name="connsiteY5" fmla="*/ 78192 h 84190"/>
                  <a:gd name="connsiteX6" fmla="*/ 33393 w 127778"/>
                  <a:gd name="connsiteY6" fmla="*/ 57424 h 84190"/>
                  <a:gd name="connsiteX7" fmla="*/ 756 w 127778"/>
                  <a:gd name="connsiteY7" fmla="*/ 30720 h 84190"/>
                  <a:gd name="connsiteX8" fmla="*/ 15591 w 127778"/>
                  <a:gd name="connsiteY8" fmla="*/ 1049 h 84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778" h="84190">
                    <a:moveTo>
                      <a:pt x="15591" y="1049"/>
                    </a:moveTo>
                    <a:cubicBezTo>
                      <a:pt x="39327" y="-4884"/>
                      <a:pt x="68998" y="15885"/>
                      <a:pt x="95701" y="24786"/>
                    </a:cubicBezTo>
                    <a:cubicBezTo>
                      <a:pt x="98668" y="24786"/>
                      <a:pt x="107569" y="27753"/>
                      <a:pt x="107569" y="27753"/>
                    </a:cubicBezTo>
                    <a:cubicBezTo>
                      <a:pt x="110536" y="30720"/>
                      <a:pt x="116470" y="33687"/>
                      <a:pt x="119438" y="36654"/>
                    </a:cubicBezTo>
                    <a:cubicBezTo>
                      <a:pt x="128338" y="48522"/>
                      <a:pt x="131305" y="66324"/>
                      <a:pt x="122404" y="78192"/>
                    </a:cubicBezTo>
                    <a:cubicBezTo>
                      <a:pt x="113503" y="90060"/>
                      <a:pt x="95701" y="81160"/>
                      <a:pt x="83833" y="78192"/>
                    </a:cubicBezTo>
                    <a:cubicBezTo>
                      <a:pt x="66031" y="72259"/>
                      <a:pt x="48228" y="66324"/>
                      <a:pt x="33393" y="57424"/>
                    </a:cubicBezTo>
                    <a:cubicBezTo>
                      <a:pt x="21525" y="51489"/>
                      <a:pt x="6690" y="45555"/>
                      <a:pt x="756" y="30720"/>
                    </a:cubicBezTo>
                    <a:cubicBezTo>
                      <a:pt x="-2211" y="15885"/>
                      <a:pt x="3723" y="4017"/>
                      <a:pt x="15591" y="1049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45F9AA98-CAC5-4DFB-BF28-B4AA9B9DBDC6}"/>
                  </a:ext>
                </a:extLst>
              </p:cNvPr>
              <p:cNvSpPr/>
              <p:nvPr/>
            </p:nvSpPr>
            <p:spPr>
              <a:xfrm>
                <a:off x="7612279" y="9543455"/>
                <a:ext cx="128944" cy="86375"/>
              </a:xfrm>
              <a:custGeom>
                <a:avLst/>
                <a:gdLst>
                  <a:gd name="connsiteX0" fmla="*/ 13789 w 128944"/>
                  <a:gd name="connsiteY0" fmla="*/ 3235 h 86375"/>
                  <a:gd name="connsiteX1" fmla="*/ 102800 w 128944"/>
                  <a:gd name="connsiteY1" fmla="*/ 26971 h 86375"/>
                  <a:gd name="connsiteX2" fmla="*/ 108734 w 128944"/>
                  <a:gd name="connsiteY2" fmla="*/ 29938 h 86375"/>
                  <a:gd name="connsiteX3" fmla="*/ 120603 w 128944"/>
                  <a:gd name="connsiteY3" fmla="*/ 38839 h 86375"/>
                  <a:gd name="connsiteX4" fmla="*/ 123569 w 128944"/>
                  <a:gd name="connsiteY4" fmla="*/ 80378 h 86375"/>
                  <a:gd name="connsiteX5" fmla="*/ 84998 w 128944"/>
                  <a:gd name="connsiteY5" fmla="*/ 80378 h 86375"/>
                  <a:gd name="connsiteX6" fmla="*/ 34558 w 128944"/>
                  <a:gd name="connsiteY6" fmla="*/ 59608 h 86375"/>
                  <a:gd name="connsiteX7" fmla="*/ 1921 w 128944"/>
                  <a:gd name="connsiteY7" fmla="*/ 32905 h 86375"/>
                  <a:gd name="connsiteX8" fmla="*/ 13789 w 128944"/>
                  <a:gd name="connsiteY8" fmla="*/ 3235 h 8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8944" h="86375">
                    <a:moveTo>
                      <a:pt x="13789" y="3235"/>
                    </a:moveTo>
                    <a:cubicBezTo>
                      <a:pt x="43460" y="-8633"/>
                      <a:pt x="73130" y="15102"/>
                      <a:pt x="102800" y="26971"/>
                    </a:cubicBezTo>
                    <a:cubicBezTo>
                      <a:pt x="105768" y="26971"/>
                      <a:pt x="108734" y="29938"/>
                      <a:pt x="108734" y="29938"/>
                    </a:cubicBezTo>
                    <a:cubicBezTo>
                      <a:pt x="111702" y="32905"/>
                      <a:pt x="117635" y="35872"/>
                      <a:pt x="120603" y="38839"/>
                    </a:cubicBezTo>
                    <a:cubicBezTo>
                      <a:pt x="129504" y="50707"/>
                      <a:pt x="132471" y="68510"/>
                      <a:pt x="123569" y="80378"/>
                    </a:cubicBezTo>
                    <a:cubicBezTo>
                      <a:pt x="114669" y="92246"/>
                      <a:pt x="96866" y="83345"/>
                      <a:pt x="84998" y="80378"/>
                    </a:cubicBezTo>
                    <a:cubicBezTo>
                      <a:pt x="67196" y="74443"/>
                      <a:pt x="49394" y="68510"/>
                      <a:pt x="34558" y="59608"/>
                    </a:cubicBezTo>
                    <a:cubicBezTo>
                      <a:pt x="22691" y="53674"/>
                      <a:pt x="7855" y="47740"/>
                      <a:pt x="1921" y="32905"/>
                    </a:cubicBezTo>
                    <a:cubicBezTo>
                      <a:pt x="-4013" y="18070"/>
                      <a:pt x="4888" y="6202"/>
                      <a:pt x="13789" y="3235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AA4040EA-CCF7-4C37-982D-8868958320F4}"/>
                  </a:ext>
                </a:extLst>
              </p:cNvPr>
              <p:cNvSpPr/>
              <p:nvPr/>
            </p:nvSpPr>
            <p:spPr>
              <a:xfrm>
                <a:off x="7610462" y="9584657"/>
                <a:ext cx="111720" cy="74844"/>
              </a:xfrm>
              <a:custGeom>
                <a:avLst/>
                <a:gdLst>
                  <a:gd name="connsiteX0" fmla="*/ 12640 w 111720"/>
                  <a:gd name="connsiteY0" fmla="*/ 3572 h 74844"/>
                  <a:gd name="connsiteX1" fmla="*/ 89783 w 111720"/>
                  <a:gd name="connsiteY1" fmla="*/ 21374 h 74844"/>
                  <a:gd name="connsiteX2" fmla="*/ 95717 w 111720"/>
                  <a:gd name="connsiteY2" fmla="*/ 24341 h 74844"/>
                  <a:gd name="connsiteX3" fmla="*/ 104618 w 111720"/>
                  <a:gd name="connsiteY3" fmla="*/ 33242 h 74844"/>
                  <a:gd name="connsiteX4" fmla="*/ 107585 w 111720"/>
                  <a:gd name="connsiteY4" fmla="*/ 68847 h 74844"/>
                  <a:gd name="connsiteX5" fmla="*/ 71981 w 111720"/>
                  <a:gd name="connsiteY5" fmla="*/ 68847 h 74844"/>
                  <a:gd name="connsiteX6" fmla="*/ 27475 w 111720"/>
                  <a:gd name="connsiteY6" fmla="*/ 51044 h 74844"/>
                  <a:gd name="connsiteX7" fmla="*/ 772 w 111720"/>
                  <a:gd name="connsiteY7" fmla="*/ 30276 h 74844"/>
                  <a:gd name="connsiteX8" fmla="*/ 12640 w 111720"/>
                  <a:gd name="connsiteY8" fmla="*/ 3572 h 7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720" h="74844">
                    <a:moveTo>
                      <a:pt x="12640" y="3572"/>
                    </a:moveTo>
                    <a:cubicBezTo>
                      <a:pt x="39343" y="-8296"/>
                      <a:pt x="66046" y="12473"/>
                      <a:pt x="89783" y="21374"/>
                    </a:cubicBezTo>
                    <a:cubicBezTo>
                      <a:pt x="92750" y="21374"/>
                      <a:pt x="92750" y="24341"/>
                      <a:pt x="95717" y="24341"/>
                    </a:cubicBezTo>
                    <a:cubicBezTo>
                      <a:pt x="98684" y="27308"/>
                      <a:pt x="101651" y="27308"/>
                      <a:pt x="104618" y="33242"/>
                    </a:cubicBezTo>
                    <a:cubicBezTo>
                      <a:pt x="113519" y="42143"/>
                      <a:pt x="113519" y="59946"/>
                      <a:pt x="107585" y="68847"/>
                    </a:cubicBezTo>
                    <a:cubicBezTo>
                      <a:pt x="98684" y="80715"/>
                      <a:pt x="83849" y="71814"/>
                      <a:pt x="71981" y="68847"/>
                    </a:cubicBezTo>
                    <a:cubicBezTo>
                      <a:pt x="57146" y="62912"/>
                      <a:pt x="42310" y="59946"/>
                      <a:pt x="27475" y="51044"/>
                    </a:cubicBezTo>
                    <a:cubicBezTo>
                      <a:pt x="18574" y="48077"/>
                      <a:pt x="3739" y="42143"/>
                      <a:pt x="772" y="30276"/>
                    </a:cubicBezTo>
                    <a:cubicBezTo>
                      <a:pt x="-2195" y="18407"/>
                      <a:pt x="3739" y="6539"/>
                      <a:pt x="12640" y="3572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2A2F546A-1572-48F7-98C7-33CD83749D99}"/>
                  </a:ext>
                </a:extLst>
              </p:cNvPr>
              <p:cNvSpPr/>
              <p:nvPr/>
            </p:nvSpPr>
            <p:spPr>
              <a:xfrm>
                <a:off x="7614201" y="9627023"/>
                <a:ext cx="83344" cy="57885"/>
              </a:xfrm>
              <a:custGeom>
                <a:avLst/>
                <a:gdLst>
                  <a:gd name="connsiteX0" fmla="*/ 11868 w 83344"/>
                  <a:gd name="connsiteY0" fmla="*/ 2745 h 57885"/>
                  <a:gd name="connsiteX1" fmla="*/ 68242 w 83344"/>
                  <a:gd name="connsiteY1" fmla="*/ 17580 h 57885"/>
                  <a:gd name="connsiteX2" fmla="*/ 71209 w 83344"/>
                  <a:gd name="connsiteY2" fmla="*/ 20546 h 57885"/>
                  <a:gd name="connsiteX3" fmla="*/ 77143 w 83344"/>
                  <a:gd name="connsiteY3" fmla="*/ 26481 h 57885"/>
                  <a:gd name="connsiteX4" fmla="*/ 80110 w 83344"/>
                  <a:gd name="connsiteY4" fmla="*/ 53184 h 57885"/>
                  <a:gd name="connsiteX5" fmla="*/ 53407 w 83344"/>
                  <a:gd name="connsiteY5" fmla="*/ 53184 h 57885"/>
                  <a:gd name="connsiteX6" fmla="*/ 20769 w 83344"/>
                  <a:gd name="connsiteY6" fmla="*/ 41316 h 57885"/>
                  <a:gd name="connsiteX7" fmla="*/ 0 w 83344"/>
                  <a:gd name="connsiteY7" fmla="*/ 23514 h 57885"/>
                  <a:gd name="connsiteX8" fmla="*/ 11868 w 83344"/>
                  <a:gd name="connsiteY8" fmla="*/ 2745 h 57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344" h="57885">
                    <a:moveTo>
                      <a:pt x="11868" y="2745"/>
                    </a:moveTo>
                    <a:cubicBezTo>
                      <a:pt x="32637" y="-6157"/>
                      <a:pt x="50439" y="8678"/>
                      <a:pt x="68242" y="17580"/>
                    </a:cubicBezTo>
                    <a:cubicBezTo>
                      <a:pt x="71209" y="17580"/>
                      <a:pt x="71209" y="20546"/>
                      <a:pt x="71209" y="20546"/>
                    </a:cubicBezTo>
                    <a:cubicBezTo>
                      <a:pt x="74176" y="20546"/>
                      <a:pt x="77143" y="23514"/>
                      <a:pt x="77143" y="26481"/>
                    </a:cubicBezTo>
                    <a:cubicBezTo>
                      <a:pt x="83077" y="32415"/>
                      <a:pt x="86044" y="44283"/>
                      <a:pt x="80110" y="53184"/>
                    </a:cubicBezTo>
                    <a:cubicBezTo>
                      <a:pt x="74176" y="62086"/>
                      <a:pt x="62307" y="56151"/>
                      <a:pt x="53407" y="53184"/>
                    </a:cubicBezTo>
                    <a:cubicBezTo>
                      <a:pt x="41538" y="50217"/>
                      <a:pt x="29670" y="44283"/>
                      <a:pt x="20769" y="41316"/>
                    </a:cubicBezTo>
                    <a:cubicBezTo>
                      <a:pt x="14835" y="38349"/>
                      <a:pt x="2967" y="35382"/>
                      <a:pt x="0" y="23514"/>
                    </a:cubicBezTo>
                    <a:cubicBezTo>
                      <a:pt x="0" y="14613"/>
                      <a:pt x="5934" y="5711"/>
                      <a:pt x="11868" y="2745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7B793767-3793-4EB6-BFAA-B2FD29D04528}"/>
                  </a:ext>
                </a:extLst>
              </p:cNvPr>
              <p:cNvSpPr/>
              <p:nvPr/>
            </p:nvSpPr>
            <p:spPr>
              <a:xfrm>
                <a:off x="7608043" y="9500955"/>
                <a:ext cx="138345" cy="131778"/>
              </a:xfrm>
              <a:custGeom>
                <a:avLst/>
                <a:gdLst>
                  <a:gd name="connsiteX0" fmla="*/ 115937 w 138345"/>
                  <a:gd name="connsiteY0" fmla="*/ 131778 h 131778"/>
                  <a:gd name="connsiteX1" fmla="*/ 74399 w 138345"/>
                  <a:gd name="connsiteY1" fmla="*/ 119910 h 131778"/>
                  <a:gd name="connsiteX2" fmla="*/ 223 w 138345"/>
                  <a:gd name="connsiteY2" fmla="*/ 57603 h 131778"/>
                  <a:gd name="connsiteX3" fmla="*/ 9124 w 138345"/>
                  <a:gd name="connsiteY3" fmla="*/ 39801 h 131778"/>
                  <a:gd name="connsiteX4" fmla="*/ 20992 w 138345"/>
                  <a:gd name="connsiteY4" fmla="*/ 39801 h 131778"/>
                  <a:gd name="connsiteX5" fmla="*/ 115937 w 138345"/>
                  <a:gd name="connsiteY5" fmla="*/ 72438 h 131778"/>
                  <a:gd name="connsiteX6" fmla="*/ 124839 w 138345"/>
                  <a:gd name="connsiteY6" fmla="*/ 60570 h 131778"/>
                  <a:gd name="connsiteX7" fmla="*/ 124839 w 138345"/>
                  <a:gd name="connsiteY7" fmla="*/ 51669 h 131778"/>
                  <a:gd name="connsiteX8" fmla="*/ 47696 w 138345"/>
                  <a:gd name="connsiteY8" fmla="*/ 10131 h 131778"/>
                  <a:gd name="connsiteX9" fmla="*/ 44729 w 138345"/>
                  <a:gd name="connsiteY9" fmla="*/ 4196 h 131778"/>
                  <a:gd name="connsiteX10" fmla="*/ 50663 w 138345"/>
                  <a:gd name="connsiteY10" fmla="*/ 1229 h 131778"/>
                  <a:gd name="connsiteX11" fmla="*/ 133740 w 138345"/>
                  <a:gd name="connsiteY11" fmla="*/ 48702 h 131778"/>
                  <a:gd name="connsiteX12" fmla="*/ 133740 w 138345"/>
                  <a:gd name="connsiteY12" fmla="*/ 66504 h 131778"/>
                  <a:gd name="connsiteX13" fmla="*/ 127805 w 138345"/>
                  <a:gd name="connsiteY13" fmla="*/ 75405 h 131778"/>
                  <a:gd name="connsiteX14" fmla="*/ 136707 w 138345"/>
                  <a:gd name="connsiteY14" fmla="*/ 116943 h 131778"/>
                  <a:gd name="connsiteX15" fmla="*/ 115937 w 138345"/>
                  <a:gd name="connsiteY15" fmla="*/ 131778 h 131778"/>
                  <a:gd name="connsiteX16" fmla="*/ 15058 w 138345"/>
                  <a:gd name="connsiteY16" fmla="*/ 48702 h 131778"/>
                  <a:gd name="connsiteX17" fmla="*/ 15058 w 138345"/>
                  <a:gd name="connsiteY17" fmla="*/ 48702 h 131778"/>
                  <a:gd name="connsiteX18" fmla="*/ 9124 w 138345"/>
                  <a:gd name="connsiteY18" fmla="*/ 57603 h 131778"/>
                  <a:gd name="connsiteX19" fmla="*/ 77366 w 138345"/>
                  <a:gd name="connsiteY19" fmla="*/ 108042 h 131778"/>
                  <a:gd name="connsiteX20" fmla="*/ 124839 w 138345"/>
                  <a:gd name="connsiteY20" fmla="*/ 111010 h 131778"/>
                  <a:gd name="connsiteX21" fmla="*/ 118905 w 138345"/>
                  <a:gd name="connsiteY21" fmla="*/ 78372 h 131778"/>
                  <a:gd name="connsiteX22" fmla="*/ 118905 w 138345"/>
                  <a:gd name="connsiteY22" fmla="*/ 78372 h 131778"/>
                  <a:gd name="connsiteX23" fmla="*/ 15058 w 138345"/>
                  <a:gd name="connsiteY23" fmla="*/ 48702 h 131778"/>
                  <a:gd name="connsiteX24" fmla="*/ 15058 w 138345"/>
                  <a:gd name="connsiteY24" fmla="*/ 48702 h 131778"/>
                  <a:gd name="connsiteX25" fmla="*/ 15058 w 138345"/>
                  <a:gd name="connsiteY25" fmla="*/ 48702 h 131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38345" h="131778">
                    <a:moveTo>
                      <a:pt x="115937" y="131778"/>
                    </a:moveTo>
                    <a:cubicBezTo>
                      <a:pt x="104069" y="131778"/>
                      <a:pt x="89234" y="125845"/>
                      <a:pt x="74399" y="119910"/>
                    </a:cubicBezTo>
                    <a:cubicBezTo>
                      <a:pt x="23959" y="102108"/>
                      <a:pt x="-2744" y="78372"/>
                      <a:pt x="223" y="57603"/>
                    </a:cubicBezTo>
                    <a:cubicBezTo>
                      <a:pt x="223" y="48702"/>
                      <a:pt x="3190" y="42767"/>
                      <a:pt x="9124" y="39801"/>
                    </a:cubicBezTo>
                    <a:cubicBezTo>
                      <a:pt x="15058" y="36834"/>
                      <a:pt x="20992" y="39801"/>
                      <a:pt x="20992" y="39801"/>
                    </a:cubicBezTo>
                    <a:cubicBezTo>
                      <a:pt x="68465" y="66504"/>
                      <a:pt x="101102" y="75405"/>
                      <a:pt x="115937" y="72438"/>
                    </a:cubicBezTo>
                    <a:cubicBezTo>
                      <a:pt x="121871" y="69471"/>
                      <a:pt x="121871" y="66504"/>
                      <a:pt x="124839" y="60570"/>
                    </a:cubicBezTo>
                    <a:cubicBezTo>
                      <a:pt x="124839" y="57603"/>
                      <a:pt x="124839" y="54636"/>
                      <a:pt x="124839" y="51669"/>
                    </a:cubicBezTo>
                    <a:cubicBezTo>
                      <a:pt x="115937" y="33867"/>
                      <a:pt x="65498" y="16064"/>
                      <a:pt x="47696" y="10131"/>
                    </a:cubicBezTo>
                    <a:cubicBezTo>
                      <a:pt x="44729" y="10131"/>
                      <a:pt x="41762" y="7163"/>
                      <a:pt x="44729" y="4196"/>
                    </a:cubicBezTo>
                    <a:cubicBezTo>
                      <a:pt x="44729" y="1229"/>
                      <a:pt x="47696" y="-1738"/>
                      <a:pt x="50663" y="1229"/>
                    </a:cubicBezTo>
                    <a:cubicBezTo>
                      <a:pt x="56597" y="4196"/>
                      <a:pt x="121871" y="21999"/>
                      <a:pt x="133740" y="48702"/>
                    </a:cubicBezTo>
                    <a:cubicBezTo>
                      <a:pt x="136707" y="54636"/>
                      <a:pt x="136707" y="60570"/>
                      <a:pt x="133740" y="66504"/>
                    </a:cubicBezTo>
                    <a:cubicBezTo>
                      <a:pt x="133740" y="69471"/>
                      <a:pt x="130773" y="72438"/>
                      <a:pt x="127805" y="75405"/>
                    </a:cubicBezTo>
                    <a:cubicBezTo>
                      <a:pt x="130773" y="78372"/>
                      <a:pt x="142641" y="102108"/>
                      <a:pt x="136707" y="116943"/>
                    </a:cubicBezTo>
                    <a:cubicBezTo>
                      <a:pt x="130773" y="128812"/>
                      <a:pt x="124839" y="131778"/>
                      <a:pt x="115937" y="131778"/>
                    </a:cubicBezTo>
                    <a:close/>
                    <a:moveTo>
                      <a:pt x="15058" y="48702"/>
                    </a:moveTo>
                    <a:cubicBezTo>
                      <a:pt x="15058" y="48702"/>
                      <a:pt x="12091" y="48702"/>
                      <a:pt x="15058" y="48702"/>
                    </a:cubicBezTo>
                    <a:cubicBezTo>
                      <a:pt x="12091" y="48702"/>
                      <a:pt x="12091" y="51669"/>
                      <a:pt x="9124" y="57603"/>
                    </a:cubicBezTo>
                    <a:cubicBezTo>
                      <a:pt x="6157" y="75405"/>
                      <a:pt x="32860" y="93207"/>
                      <a:pt x="77366" y="108042"/>
                    </a:cubicBezTo>
                    <a:cubicBezTo>
                      <a:pt x="110003" y="119910"/>
                      <a:pt x="121871" y="119910"/>
                      <a:pt x="124839" y="111010"/>
                    </a:cubicBezTo>
                    <a:cubicBezTo>
                      <a:pt x="127805" y="102108"/>
                      <a:pt x="121871" y="84307"/>
                      <a:pt x="118905" y="78372"/>
                    </a:cubicBezTo>
                    <a:cubicBezTo>
                      <a:pt x="118905" y="78372"/>
                      <a:pt x="118905" y="78372"/>
                      <a:pt x="118905" y="78372"/>
                    </a:cubicBezTo>
                    <a:cubicBezTo>
                      <a:pt x="107036" y="87273"/>
                      <a:pt x="83300" y="87273"/>
                      <a:pt x="15058" y="48702"/>
                    </a:cubicBezTo>
                    <a:cubicBezTo>
                      <a:pt x="15058" y="48702"/>
                      <a:pt x="15058" y="48702"/>
                      <a:pt x="15058" y="48702"/>
                    </a:cubicBezTo>
                    <a:cubicBezTo>
                      <a:pt x="15058" y="48702"/>
                      <a:pt x="15058" y="48702"/>
                      <a:pt x="15058" y="4870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EB7D0C9D-60E1-4EC7-A3AC-D485BF53CF1B}"/>
                  </a:ext>
                </a:extLst>
              </p:cNvPr>
              <p:cNvSpPr/>
              <p:nvPr/>
            </p:nvSpPr>
            <p:spPr>
              <a:xfrm>
                <a:off x="7602332" y="9585262"/>
                <a:ext cx="128057" cy="80109"/>
              </a:xfrm>
              <a:custGeom>
                <a:avLst/>
                <a:gdLst>
                  <a:gd name="connsiteX0" fmla="*/ 100879 w 128057"/>
                  <a:gd name="connsiteY0" fmla="*/ 80109 h 80109"/>
                  <a:gd name="connsiteX1" fmla="*/ 91978 w 128057"/>
                  <a:gd name="connsiteY1" fmla="*/ 80109 h 80109"/>
                  <a:gd name="connsiteX2" fmla="*/ 5934 w 128057"/>
                  <a:gd name="connsiteY2" fmla="*/ 41538 h 80109"/>
                  <a:gd name="connsiteX3" fmla="*/ 0 w 128057"/>
                  <a:gd name="connsiteY3" fmla="*/ 20769 h 80109"/>
                  <a:gd name="connsiteX4" fmla="*/ 17802 w 128057"/>
                  <a:gd name="connsiteY4" fmla="*/ 0 h 80109"/>
                  <a:gd name="connsiteX5" fmla="*/ 23736 w 128057"/>
                  <a:gd name="connsiteY5" fmla="*/ 2966 h 80109"/>
                  <a:gd name="connsiteX6" fmla="*/ 20770 w 128057"/>
                  <a:gd name="connsiteY6" fmla="*/ 8901 h 80109"/>
                  <a:gd name="connsiteX7" fmla="*/ 11868 w 128057"/>
                  <a:gd name="connsiteY7" fmla="*/ 20769 h 80109"/>
                  <a:gd name="connsiteX8" fmla="*/ 14835 w 128057"/>
                  <a:gd name="connsiteY8" fmla="*/ 29670 h 80109"/>
                  <a:gd name="connsiteX9" fmla="*/ 94945 w 128057"/>
                  <a:gd name="connsiteY9" fmla="*/ 65274 h 80109"/>
                  <a:gd name="connsiteX10" fmla="*/ 112747 w 128057"/>
                  <a:gd name="connsiteY10" fmla="*/ 62307 h 80109"/>
                  <a:gd name="connsiteX11" fmla="*/ 115715 w 128057"/>
                  <a:gd name="connsiteY11" fmla="*/ 41538 h 80109"/>
                  <a:gd name="connsiteX12" fmla="*/ 121649 w 128057"/>
                  <a:gd name="connsiteY12" fmla="*/ 35604 h 80109"/>
                  <a:gd name="connsiteX13" fmla="*/ 127583 w 128057"/>
                  <a:gd name="connsiteY13" fmla="*/ 41538 h 80109"/>
                  <a:gd name="connsiteX14" fmla="*/ 121649 w 128057"/>
                  <a:gd name="connsiteY14" fmla="*/ 74176 h 80109"/>
                  <a:gd name="connsiteX15" fmla="*/ 100879 w 128057"/>
                  <a:gd name="connsiteY15" fmla="*/ 80109 h 80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8057" h="80109">
                    <a:moveTo>
                      <a:pt x="100879" y="80109"/>
                    </a:moveTo>
                    <a:cubicBezTo>
                      <a:pt x="97912" y="80109"/>
                      <a:pt x="94945" y="80109"/>
                      <a:pt x="91978" y="80109"/>
                    </a:cubicBezTo>
                    <a:cubicBezTo>
                      <a:pt x="56374" y="74176"/>
                      <a:pt x="14835" y="50439"/>
                      <a:pt x="5934" y="41538"/>
                    </a:cubicBezTo>
                    <a:cubicBezTo>
                      <a:pt x="0" y="35604"/>
                      <a:pt x="0" y="29670"/>
                      <a:pt x="0" y="20769"/>
                    </a:cubicBezTo>
                    <a:cubicBezTo>
                      <a:pt x="2967" y="11868"/>
                      <a:pt x="8901" y="2966"/>
                      <a:pt x="17802" y="0"/>
                    </a:cubicBezTo>
                    <a:cubicBezTo>
                      <a:pt x="20770" y="0"/>
                      <a:pt x="23736" y="0"/>
                      <a:pt x="23736" y="2966"/>
                    </a:cubicBezTo>
                    <a:cubicBezTo>
                      <a:pt x="23736" y="5934"/>
                      <a:pt x="23736" y="8901"/>
                      <a:pt x="20770" y="8901"/>
                    </a:cubicBezTo>
                    <a:cubicBezTo>
                      <a:pt x="17802" y="8901"/>
                      <a:pt x="14835" y="14835"/>
                      <a:pt x="11868" y="20769"/>
                    </a:cubicBezTo>
                    <a:cubicBezTo>
                      <a:pt x="11868" y="23736"/>
                      <a:pt x="11868" y="26703"/>
                      <a:pt x="14835" y="29670"/>
                    </a:cubicBezTo>
                    <a:cubicBezTo>
                      <a:pt x="23736" y="38571"/>
                      <a:pt x="62308" y="59341"/>
                      <a:pt x="94945" y="65274"/>
                    </a:cubicBezTo>
                    <a:cubicBezTo>
                      <a:pt x="103846" y="65274"/>
                      <a:pt x="109781" y="65274"/>
                      <a:pt x="112747" y="62307"/>
                    </a:cubicBezTo>
                    <a:cubicBezTo>
                      <a:pt x="118681" y="56373"/>
                      <a:pt x="118681" y="44505"/>
                      <a:pt x="115715" y="41538"/>
                    </a:cubicBezTo>
                    <a:cubicBezTo>
                      <a:pt x="115715" y="38571"/>
                      <a:pt x="115715" y="35604"/>
                      <a:pt x="121649" y="35604"/>
                    </a:cubicBezTo>
                    <a:cubicBezTo>
                      <a:pt x="124616" y="35604"/>
                      <a:pt x="127583" y="35604"/>
                      <a:pt x="127583" y="41538"/>
                    </a:cubicBezTo>
                    <a:cubicBezTo>
                      <a:pt x="127583" y="41538"/>
                      <a:pt x="130550" y="62307"/>
                      <a:pt x="121649" y="74176"/>
                    </a:cubicBezTo>
                    <a:cubicBezTo>
                      <a:pt x="115715" y="77142"/>
                      <a:pt x="109781" y="80109"/>
                      <a:pt x="100879" y="80109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34648261-90D7-4859-A4CF-14500E63065A}"/>
                </a:ext>
              </a:extLst>
            </p:cNvPr>
            <p:cNvSpPr/>
            <p:nvPr/>
          </p:nvSpPr>
          <p:spPr>
            <a:xfrm>
              <a:off x="7675931" y="9557848"/>
              <a:ext cx="129818" cy="110615"/>
            </a:xfrm>
            <a:custGeom>
              <a:avLst/>
              <a:gdLst>
                <a:gd name="connsiteX0" fmla="*/ 577 w 129818"/>
                <a:gd name="connsiteY0" fmla="*/ 54117 h 110615"/>
                <a:gd name="connsiteX1" fmla="*/ 24313 w 129818"/>
                <a:gd name="connsiteY1" fmla="*/ 51149 h 110615"/>
                <a:gd name="connsiteX2" fmla="*/ 77720 w 129818"/>
                <a:gd name="connsiteY2" fmla="*/ 65985 h 110615"/>
                <a:gd name="connsiteX3" fmla="*/ 104423 w 129818"/>
                <a:gd name="connsiteY3" fmla="*/ 110490 h 110615"/>
                <a:gd name="connsiteX4" fmla="*/ 128159 w 129818"/>
                <a:gd name="connsiteY4" fmla="*/ 48182 h 110615"/>
                <a:gd name="connsiteX5" fmla="*/ 48049 w 129818"/>
                <a:gd name="connsiteY5" fmla="*/ 709 h 110615"/>
                <a:gd name="connsiteX6" fmla="*/ 577 w 129818"/>
                <a:gd name="connsiteY6" fmla="*/ 54117 h 110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818" h="110615">
                  <a:moveTo>
                    <a:pt x="577" y="54117"/>
                  </a:moveTo>
                  <a:cubicBezTo>
                    <a:pt x="3544" y="63017"/>
                    <a:pt x="18379" y="51149"/>
                    <a:pt x="24313" y="51149"/>
                  </a:cubicBezTo>
                  <a:cubicBezTo>
                    <a:pt x="45082" y="48182"/>
                    <a:pt x="59917" y="51149"/>
                    <a:pt x="77720" y="65985"/>
                  </a:cubicBezTo>
                  <a:cubicBezTo>
                    <a:pt x="86621" y="74885"/>
                    <a:pt x="98489" y="101589"/>
                    <a:pt x="104423" y="110490"/>
                  </a:cubicBezTo>
                  <a:cubicBezTo>
                    <a:pt x="107390" y="113457"/>
                    <a:pt x="137060" y="63017"/>
                    <a:pt x="128159" y="48182"/>
                  </a:cubicBezTo>
                  <a:cubicBezTo>
                    <a:pt x="113324" y="27413"/>
                    <a:pt x="77720" y="-5224"/>
                    <a:pt x="48049" y="709"/>
                  </a:cubicBezTo>
                  <a:cubicBezTo>
                    <a:pt x="36181" y="6644"/>
                    <a:pt x="-5357" y="36314"/>
                    <a:pt x="577" y="54117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781ECAEA-22D2-4195-95C4-3EEE19F85BBD}"/>
                </a:ext>
              </a:extLst>
            </p:cNvPr>
            <p:cNvSpPr/>
            <p:nvPr/>
          </p:nvSpPr>
          <p:spPr>
            <a:xfrm>
              <a:off x="7669345" y="9554022"/>
              <a:ext cx="141998" cy="117283"/>
            </a:xfrm>
            <a:custGeom>
              <a:avLst/>
              <a:gdLst>
                <a:gd name="connsiteX0" fmla="*/ 84306 w 141998"/>
                <a:gd name="connsiteY0" fmla="*/ 117284 h 117283"/>
                <a:gd name="connsiteX1" fmla="*/ 78372 w 141998"/>
                <a:gd name="connsiteY1" fmla="*/ 114316 h 117283"/>
                <a:gd name="connsiteX2" fmla="*/ 78372 w 141998"/>
                <a:gd name="connsiteY2" fmla="*/ 72778 h 117283"/>
                <a:gd name="connsiteX3" fmla="*/ 30899 w 141998"/>
                <a:gd name="connsiteY3" fmla="*/ 63876 h 117283"/>
                <a:gd name="connsiteX4" fmla="*/ 4196 w 141998"/>
                <a:gd name="connsiteY4" fmla="*/ 60910 h 117283"/>
                <a:gd name="connsiteX5" fmla="*/ 1229 w 141998"/>
                <a:gd name="connsiteY5" fmla="*/ 46075 h 117283"/>
                <a:gd name="connsiteX6" fmla="*/ 54636 w 141998"/>
                <a:gd name="connsiteY6" fmla="*/ 1570 h 117283"/>
                <a:gd name="connsiteX7" fmla="*/ 140679 w 141998"/>
                <a:gd name="connsiteY7" fmla="*/ 49041 h 117283"/>
                <a:gd name="connsiteX8" fmla="*/ 140679 w 141998"/>
                <a:gd name="connsiteY8" fmla="*/ 57943 h 117283"/>
                <a:gd name="connsiteX9" fmla="*/ 131779 w 141998"/>
                <a:gd name="connsiteY9" fmla="*/ 57943 h 117283"/>
                <a:gd name="connsiteX10" fmla="*/ 57603 w 141998"/>
                <a:gd name="connsiteY10" fmla="*/ 13437 h 117283"/>
                <a:gd name="connsiteX11" fmla="*/ 13097 w 141998"/>
                <a:gd name="connsiteY11" fmla="*/ 49041 h 117283"/>
                <a:gd name="connsiteX12" fmla="*/ 13097 w 141998"/>
                <a:gd name="connsiteY12" fmla="*/ 54976 h 117283"/>
                <a:gd name="connsiteX13" fmla="*/ 30899 w 141998"/>
                <a:gd name="connsiteY13" fmla="*/ 54976 h 117283"/>
                <a:gd name="connsiteX14" fmla="*/ 90240 w 141998"/>
                <a:gd name="connsiteY14" fmla="*/ 69811 h 117283"/>
                <a:gd name="connsiteX15" fmla="*/ 90240 w 141998"/>
                <a:gd name="connsiteY15" fmla="*/ 75745 h 117283"/>
                <a:gd name="connsiteX16" fmla="*/ 90240 w 141998"/>
                <a:gd name="connsiteY16" fmla="*/ 111349 h 117283"/>
                <a:gd name="connsiteX17" fmla="*/ 84306 w 141998"/>
                <a:gd name="connsiteY17" fmla="*/ 117284 h 117283"/>
                <a:gd name="connsiteX18" fmla="*/ 84306 w 141998"/>
                <a:gd name="connsiteY18" fmla="*/ 117284 h 117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1998" h="117283">
                  <a:moveTo>
                    <a:pt x="84306" y="117284"/>
                  </a:moveTo>
                  <a:cubicBezTo>
                    <a:pt x="81339" y="117284"/>
                    <a:pt x="81339" y="117284"/>
                    <a:pt x="78372" y="114316"/>
                  </a:cubicBezTo>
                  <a:cubicBezTo>
                    <a:pt x="69471" y="99481"/>
                    <a:pt x="75405" y="78712"/>
                    <a:pt x="78372" y="72778"/>
                  </a:cubicBezTo>
                  <a:cubicBezTo>
                    <a:pt x="63537" y="57943"/>
                    <a:pt x="45734" y="60910"/>
                    <a:pt x="30899" y="63876"/>
                  </a:cubicBezTo>
                  <a:cubicBezTo>
                    <a:pt x="19031" y="66844"/>
                    <a:pt x="10130" y="66844"/>
                    <a:pt x="4196" y="60910"/>
                  </a:cubicBezTo>
                  <a:cubicBezTo>
                    <a:pt x="1229" y="57943"/>
                    <a:pt x="-1738" y="52009"/>
                    <a:pt x="1229" y="46075"/>
                  </a:cubicBezTo>
                  <a:cubicBezTo>
                    <a:pt x="4196" y="31240"/>
                    <a:pt x="24965" y="10470"/>
                    <a:pt x="54636" y="1570"/>
                  </a:cubicBezTo>
                  <a:cubicBezTo>
                    <a:pt x="93207" y="-10299"/>
                    <a:pt x="140679" y="49041"/>
                    <a:pt x="140679" y="49041"/>
                  </a:cubicBezTo>
                  <a:cubicBezTo>
                    <a:pt x="143647" y="52009"/>
                    <a:pt x="140679" y="54976"/>
                    <a:pt x="140679" y="57943"/>
                  </a:cubicBezTo>
                  <a:cubicBezTo>
                    <a:pt x="137713" y="60910"/>
                    <a:pt x="134745" y="57943"/>
                    <a:pt x="131779" y="57943"/>
                  </a:cubicBezTo>
                  <a:cubicBezTo>
                    <a:pt x="119910" y="43108"/>
                    <a:pt x="84306" y="4536"/>
                    <a:pt x="57603" y="13437"/>
                  </a:cubicBezTo>
                  <a:cubicBezTo>
                    <a:pt x="30899" y="22338"/>
                    <a:pt x="13097" y="40141"/>
                    <a:pt x="13097" y="49041"/>
                  </a:cubicBezTo>
                  <a:cubicBezTo>
                    <a:pt x="13097" y="52009"/>
                    <a:pt x="13097" y="54976"/>
                    <a:pt x="13097" y="54976"/>
                  </a:cubicBezTo>
                  <a:cubicBezTo>
                    <a:pt x="16064" y="57943"/>
                    <a:pt x="21998" y="54976"/>
                    <a:pt x="30899" y="54976"/>
                  </a:cubicBezTo>
                  <a:cubicBezTo>
                    <a:pt x="45734" y="52009"/>
                    <a:pt x="72438" y="49041"/>
                    <a:pt x="90240" y="69811"/>
                  </a:cubicBezTo>
                  <a:cubicBezTo>
                    <a:pt x="93207" y="72778"/>
                    <a:pt x="93207" y="72778"/>
                    <a:pt x="90240" y="75745"/>
                  </a:cubicBezTo>
                  <a:cubicBezTo>
                    <a:pt x="87273" y="81679"/>
                    <a:pt x="81339" y="102448"/>
                    <a:pt x="90240" y="111349"/>
                  </a:cubicBezTo>
                  <a:cubicBezTo>
                    <a:pt x="90240" y="111349"/>
                    <a:pt x="90240" y="117284"/>
                    <a:pt x="84306" y="117284"/>
                  </a:cubicBezTo>
                  <a:cubicBezTo>
                    <a:pt x="87273" y="117284"/>
                    <a:pt x="87273" y="117284"/>
                    <a:pt x="84306" y="117284"/>
                  </a:cubicBezTo>
                  <a:close/>
                </a:path>
              </a:pathLst>
            </a:custGeom>
            <a:solidFill>
              <a:srgbClr val="E58777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6" name="图形 1">
              <a:extLst>
                <a:ext uri="{FF2B5EF4-FFF2-40B4-BE49-F238E27FC236}">
                  <a16:creationId xmlns:a16="http://schemas.microsoft.com/office/drawing/2014/main" id="{FFDDAA45-FB6C-4E00-A02A-B38638B209BF}"/>
                </a:ext>
              </a:extLst>
            </p:cNvPr>
            <p:cNvGrpSpPr/>
            <p:nvPr/>
          </p:nvGrpSpPr>
          <p:grpSpPr>
            <a:xfrm>
              <a:off x="8987937" y="8638778"/>
              <a:ext cx="320439" cy="398636"/>
              <a:chOff x="8987937" y="8638778"/>
              <a:chExt cx="320439" cy="398636"/>
            </a:xfrm>
          </p:grpSpPr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1CE73BA5-7BB0-4055-9963-A74FECB644D2}"/>
                  </a:ext>
                </a:extLst>
              </p:cNvPr>
              <p:cNvSpPr/>
              <p:nvPr/>
            </p:nvSpPr>
            <p:spPr>
              <a:xfrm>
                <a:off x="8987937" y="8638778"/>
                <a:ext cx="320439" cy="398636"/>
              </a:xfrm>
              <a:custGeom>
                <a:avLst/>
                <a:gdLst>
                  <a:gd name="connsiteX0" fmla="*/ 0 w 320439"/>
                  <a:gd name="connsiteY0" fmla="*/ 350110 h 398636"/>
                  <a:gd name="connsiteX1" fmla="*/ 204725 w 320439"/>
                  <a:gd name="connsiteY1" fmla="*/ 0 h 398636"/>
                  <a:gd name="connsiteX2" fmla="*/ 320439 w 320439"/>
                  <a:gd name="connsiteY2" fmla="*/ 373846 h 398636"/>
                  <a:gd name="connsiteX3" fmla="*/ 0 w 320439"/>
                  <a:gd name="connsiteY3" fmla="*/ 350110 h 398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0439" h="398636">
                    <a:moveTo>
                      <a:pt x="0" y="350110"/>
                    </a:moveTo>
                    <a:lnTo>
                      <a:pt x="204725" y="0"/>
                    </a:lnTo>
                    <a:lnTo>
                      <a:pt x="320439" y="373846"/>
                    </a:lnTo>
                    <a:cubicBezTo>
                      <a:pt x="320439" y="370879"/>
                      <a:pt x="204725" y="445055"/>
                      <a:pt x="0" y="35011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1D8A44DB-2D5F-48B9-AA38-5FA9B703E184}"/>
                  </a:ext>
                </a:extLst>
              </p:cNvPr>
              <p:cNvSpPr/>
              <p:nvPr/>
            </p:nvSpPr>
            <p:spPr>
              <a:xfrm>
                <a:off x="9171988" y="8780341"/>
                <a:ext cx="29480" cy="28412"/>
              </a:xfrm>
              <a:custGeom>
                <a:avLst/>
                <a:gdLst>
                  <a:gd name="connsiteX0" fmla="*/ 20674 w 29480"/>
                  <a:gd name="connsiteY0" fmla="*/ 855 h 28412"/>
                  <a:gd name="connsiteX1" fmla="*/ 8806 w 29480"/>
                  <a:gd name="connsiteY1" fmla="*/ 27558 h 28412"/>
                  <a:gd name="connsiteX2" fmla="*/ 20674 w 29480"/>
                  <a:gd name="connsiteY2" fmla="*/ 855 h 28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480" h="28412">
                    <a:moveTo>
                      <a:pt x="20674" y="855"/>
                    </a:moveTo>
                    <a:cubicBezTo>
                      <a:pt x="2872" y="-5080"/>
                      <a:pt x="-8996" y="21624"/>
                      <a:pt x="8806" y="27558"/>
                    </a:cubicBezTo>
                    <a:cubicBezTo>
                      <a:pt x="26608" y="33492"/>
                      <a:pt x="38477" y="6789"/>
                      <a:pt x="20674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127BA466-10BA-4175-8E8C-4FA897F6A7C8}"/>
                  </a:ext>
                </a:extLst>
              </p:cNvPr>
              <p:cNvSpPr/>
              <p:nvPr/>
            </p:nvSpPr>
            <p:spPr>
              <a:xfrm>
                <a:off x="9121548" y="8833747"/>
                <a:ext cx="29480" cy="29349"/>
              </a:xfrm>
              <a:custGeom>
                <a:avLst/>
                <a:gdLst>
                  <a:gd name="connsiteX0" fmla="*/ 20675 w 29480"/>
                  <a:gd name="connsiteY0" fmla="*/ 855 h 29349"/>
                  <a:gd name="connsiteX1" fmla="*/ 8806 w 29480"/>
                  <a:gd name="connsiteY1" fmla="*/ 27558 h 29349"/>
                  <a:gd name="connsiteX2" fmla="*/ 20675 w 29480"/>
                  <a:gd name="connsiteY2" fmla="*/ 855 h 29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480" h="29349">
                    <a:moveTo>
                      <a:pt x="20675" y="855"/>
                    </a:moveTo>
                    <a:cubicBezTo>
                      <a:pt x="2872" y="-5079"/>
                      <a:pt x="-8996" y="21624"/>
                      <a:pt x="8806" y="27558"/>
                    </a:cubicBezTo>
                    <a:cubicBezTo>
                      <a:pt x="26609" y="36459"/>
                      <a:pt x="38476" y="9756"/>
                      <a:pt x="20675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3E942514-E6B8-4C9F-A17A-7712BA505BCA}"/>
                  </a:ext>
                </a:extLst>
              </p:cNvPr>
              <p:cNvSpPr/>
              <p:nvPr/>
            </p:nvSpPr>
            <p:spPr>
              <a:xfrm>
                <a:off x="9204625" y="8901989"/>
                <a:ext cx="29480" cy="28412"/>
              </a:xfrm>
              <a:custGeom>
                <a:avLst/>
                <a:gdLst>
                  <a:gd name="connsiteX0" fmla="*/ 20675 w 29480"/>
                  <a:gd name="connsiteY0" fmla="*/ 855 h 28412"/>
                  <a:gd name="connsiteX1" fmla="*/ 8806 w 29480"/>
                  <a:gd name="connsiteY1" fmla="*/ 27558 h 28412"/>
                  <a:gd name="connsiteX2" fmla="*/ 20675 w 29480"/>
                  <a:gd name="connsiteY2" fmla="*/ 855 h 28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480" h="28412">
                    <a:moveTo>
                      <a:pt x="20675" y="855"/>
                    </a:moveTo>
                    <a:cubicBezTo>
                      <a:pt x="2872" y="-5079"/>
                      <a:pt x="-8996" y="21624"/>
                      <a:pt x="8806" y="27558"/>
                    </a:cubicBezTo>
                    <a:cubicBezTo>
                      <a:pt x="26609" y="33492"/>
                      <a:pt x="38476" y="6789"/>
                      <a:pt x="20675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B8E7ABF0-77DB-4A01-97C9-7FA035162BDE}"/>
                  </a:ext>
                </a:extLst>
              </p:cNvPr>
              <p:cNvSpPr/>
              <p:nvPr/>
            </p:nvSpPr>
            <p:spPr>
              <a:xfrm>
                <a:off x="9082977" y="8913858"/>
                <a:ext cx="29480" cy="28412"/>
              </a:xfrm>
              <a:custGeom>
                <a:avLst/>
                <a:gdLst>
                  <a:gd name="connsiteX0" fmla="*/ 20674 w 29480"/>
                  <a:gd name="connsiteY0" fmla="*/ 855 h 28412"/>
                  <a:gd name="connsiteX1" fmla="*/ 8806 w 29480"/>
                  <a:gd name="connsiteY1" fmla="*/ 27558 h 28412"/>
                  <a:gd name="connsiteX2" fmla="*/ 20674 w 29480"/>
                  <a:gd name="connsiteY2" fmla="*/ 855 h 28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480" h="28412">
                    <a:moveTo>
                      <a:pt x="20674" y="855"/>
                    </a:moveTo>
                    <a:cubicBezTo>
                      <a:pt x="2872" y="-5080"/>
                      <a:pt x="-8996" y="21624"/>
                      <a:pt x="8806" y="27558"/>
                    </a:cubicBezTo>
                    <a:cubicBezTo>
                      <a:pt x="26608" y="33492"/>
                      <a:pt x="38477" y="6789"/>
                      <a:pt x="20674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801EF633-A1B0-4755-8A8F-05893B9193FA}"/>
                  </a:ext>
                </a:extLst>
              </p:cNvPr>
              <p:cNvSpPr/>
              <p:nvPr/>
            </p:nvSpPr>
            <p:spPr>
              <a:xfrm>
                <a:off x="9145284" y="8976165"/>
                <a:ext cx="29480" cy="28412"/>
              </a:xfrm>
              <a:custGeom>
                <a:avLst/>
                <a:gdLst>
                  <a:gd name="connsiteX0" fmla="*/ 20675 w 29480"/>
                  <a:gd name="connsiteY0" fmla="*/ 855 h 28412"/>
                  <a:gd name="connsiteX1" fmla="*/ 8806 w 29480"/>
                  <a:gd name="connsiteY1" fmla="*/ 27558 h 28412"/>
                  <a:gd name="connsiteX2" fmla="*/ 20675 w 29480"/>
                  <a:gd name="connsiteY2" fmla="*/ 855 h 28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480" h="28412">
                    <a:moveTo>
                      <a:pt x="20675" y="855"/>
                    </a:moveTo>
                    <a:cubicBezTo>
                      <a:pt x="2872" y="-5079"/>
                      <a:pt x="-8996" y="21624"/>
                      <a:pt x="8806" y="27558"/>
                    </a:cubicBezTo>
                    <a:cubicBezTo>
                      <a:pt x="26609" y="33492"/>
                      <a:pt x="38476" y="6789"/>
                      <a:pt x="20675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CBDEB838-4197-45FD-ABB1-CF31832CC286}"/>
                </a:ext>
              </a:extLst>
            </p:cNvPr>
            <p:cNvSpPr/>
            <p:nvPr/>
          </p:nvSpPr>
          <p:spPr>
            <a:xfrm>
              <a:off x="8462561" y="9736574"/>
              <a:ext cx="225913" cy="357690"/>
            </a:xfrm>
            <a:custGeom>
              <a:avLst/>
              <a:gdLst>
                <a:gd name="connsiteX0" fmla="*/ 199002 w 225913"/>
                <a:gd name="connsiteY0" fmla="*/ 293743 h 357690"/>
                <a:gd name="connsiteX1" fmla="*/ 190101 w 225913"/>
                <a:gd name="connsiteY1" fmla="*/ 287809 h 357690"/>
                <a:gd name="connsiteX2" fmla="*/ 151529 w 225913"/>
                <a:gd name="connsiteY2" fmla="*/ 275941 h 357690"/>
                <a:gd name="connsiteX3" fmla="*/ 148562 w 225913"/>
                <a:gd name="connsiteY3" fmla="*/ 272973 h 357690"/>
                <a:gd name="connsiteX4" fmla="*/ 151529 w 225913"/>
                <a:gd name="connsiteY4" fmla="*/ 264073 h 357690"/>
                <a:gd name="connsiteX5" fmla="*/ 154497 w 225913"/>
                <a:gd name="connsiteY5" fmla="*/ 249237 h 357690"/>
                <a:gd name="connsiteX6" fmla="*/ 121859 w 225913"/>
                <a:gd name="connsiteY6" fmla="*/ 195830 h 357690"/>
                <a:gd name="connsiteX7" fmla="*/ 98123 w 225913"/>
                <a:gd name="connsiteY7" fmla="*/ 172094 h 357690"/>
                <a:gd name="connsiteX8" fmla="*/ 98123 w 225913"/>
                <a:gd name="connsiteY8" fmla="*/ 142424 h 357690"/>
                <a:gd name="connsiteX9" fmla="*/ 77354 w 225913"/>
                <a:gd name="connsiteY9" fmla="*/ 109787 h 357690"/>
                <a:gd name="connsiteX10" fmla="*/ 50650 w 225913"/>
                <a:gd name="connsiteY10" fmla="*/ 74182 h 357690"/>
                <a:gd name="connsiteX11" fmla="*/ 50650 w 225913"/>
                <a:gd name="connsiteY11" fmla="*/ 44511 h 357690"/>
                <a:gd name="connsiteX12" fmla="*/ 20980 w 225913"/>
                <a:gd name="connsiteY12" fmla="*/ 2973 h 357690"/>
                <a:gd name="connsiteX13" fmla="*/ 6145 w 225913"/>
                <a:gd name="connsiteY13" fmla="*/ 29676 h 357690"/>
                <a:gd name="connsiteX14" fmla="*/ 23947 w 225913"/>
                <a:gd name="connsiteY14" fmla="*/ 59347 h 357690"/>
                <a:gd name="connsiteX15" fmla="*/ 23947 w 225913"/>
                <a:gd name="connsiteY15" fmla="*/ 89017 h 357690"/>
                <a:gd name="connsiteX16" fmla="*/ 56584 w 225913"/>
                <a:gd name="connsiteY16" fmla="*/ 130556 h 357690"/>
                <a:gd name="connsiteX17" fmla="*/ 71420 w 225913"/>
                <a:gd name="connsiteY17" fmla="*/ 157259 h 357690"/>
                <a:gd name="connsiteX18" fmla="*/ 71420 w 225913"/>
                <a:gd name="connsiteY18" fmla="*/ 186930 h 357690"/>
                <a:gd name="connsiteX19" fmla="*/ 107024 w 225913"/>
                <a:gd name="connsiteY19" fmla="*/ 228468 h 357690"/>
                <a:gd name="connsiteX20" fmla="*/ 124826 w 225913"/>
                <a:gd name="connsiteY20" fmla="*/ 264073 h 357690"/>
                <a:gd name="connsiteX21" fmla="*/ 124826 w 225913"/>
                <a:gd name="connsiteY21" fmla="*/ 290776 h 357690"/>
                <a:gd name="connsiteX22" fmla="*/ 181200 w 225913"/>
                <a:gd name="connsiteY22" fmla="*/ 317479 h 357690"/>
                <a:gd name="connsiteX23" fmla="*/ 196035 w 225913"/>
                <a:gd name="connsiteY23" fmla="*/ 347149 h 357690"/>
                <a:gd name="connsiteX24" fmla="*/ 225705 w 225913"/>
                <a:gd name="connsiteY24" fmla="*/ 338248 h 357690"/>
                <a:gd name="connsiteX25" fmla="*/ 199002 w 225913"/>
                <a:gd name="connsiteY25" fmla="*/ 293743 h 357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25913" h="357690">
                  <a:moveTo>
                    <a:pt x="199002" y="293743"/>
                  </a:moveTo>
                  <a:cubicBezTo>
                    <a:pt x="196035" y="290776"/>
                    <a:pt x="193068" y="287809"/>
                    <a:pt x="190101" y="287809"/>
                  </a:cubicBezTo>
                  <a:cubicBezTo>
                    <a:pt x="181200" y="287809"/>
                    <a:pt x="160431" y="284841"/>
                    <a:pt x="151529" y="275941"/>
                  </a:cubicBezTo>
                  <a:cubicBezTo>
                    <a:pt x="151529" y="275941"/>
                    <a:pt x="148562" y="275941"/>
                    <a:pt x="148562" y="272973"/>
                  </a:cubicBezTo>
                  <a:cubicBezTo>
                    <a:pt x="148562" y="270006"/>
                    <a:pt x="151529" y="267039"/>
                    <a:pt x="151529" y="264073"/>
                  </a:cubicBezTo>
                  <a:cubicBezTo>
                    <a:pt x="151529" y="258138"/>
                    <a:pt x="154497" y="255171"/>
                    <a:pt x="154497" y="249237"/>
                  </a:cubicBezTo>
                  <a:cubicBezTo>
                    <a:pt x="154497" y="231435"/>
                    <a:pt x="124826" y="198798"/>
                    <a:pt x="121859" y="195830"/>
                  </a:cubicBezTo>
                  <a:cubicBezTo>
                    <a:pt x="109991" y="189897"/>
                    <a:pt x="98123" y="186930"/>
                    <a:pt x="98123" y="172094"/>
                  </a:cubicBezTo>
                  <a:cubicBezTo>
                    <a:pt x="98123" y="163193"/>
                    <a:pt x="101090" y="151325"/>
                    <a:pt x="98123" y="142424"/>
                  </a:cubicBezTo>
                  <a:cubicBezTo>
                    <a:pt x="95156" y="127589"/>
                    <a:pt x="89221" y="115721"/>
                    <a:pt x="77354" y="109787"/>
                  </a:cubicBezTo>
                  <a:cubicBezTo>
                    <a:pt x="77354" y="106819"/>
                    <a:pt x="47683" y="94951"/>
                    <a:pt x="50650" y="74182"/>
                  </a:cubicBezTo>
                  <a:cubicBezTo>
                    <a:pt x="50650" y="65281"/>
                    <a:pt x="53617" y="53413"/>
                    <a:pt x="50650" y="44511"/>
                  </a:cubicBezTo>
                  <a:cubicBezTo>
                    <a:pt x="47683" y="26710"/>
                    <a:pt x="35815" y="14841"/>
                    <a:pt x="20980" y="2973"/>
                  </a:cubicBezTo>
                  <a:cubicBezTo>
                    <a:pt x="6145" y="-8895"/>
                    <a:pt x="-8690" y="17808"/>
                    <a:pt x="6145" y="29676"/>
                  </a:cubicBezTo>
                  <a:cubicBezTo>
                    <a:pt x="18013" y="38578"/>
                    <a:pt x="23947" y="44511"/>
                    <a:pt x="23947" y="59347"/>
                  </a:cubicBezTo>
                  <a:cubicBezTo>
                    <a:pt x="23947" y="68248"/>
                    <a:pt x="20980" y="80116"/>
                    <a:pt x="23947" y="89017"/>
                  </a:cubicBezTo>
                  <a:cubicBezTo>
                    <a:pt x="26914" y="103852"/>
                    <a:pt x="41749" y="130556"/>
                    <a:pt x="56584" y="130556"/>
                  </a:cubicBezTo>
                  <a:cubicBezTo>
                    <a:pt x="71420" y="130556"/>
                    <a:pt x="74386" y="142424"/>
                    <a:pt x="71420" y="157259"/>
                  </a:cubicBezTo>
                  <a:cubicBezTo>
                    <a:pt x="71420" y="166160"/>
                    <a:pt x="68452" y="175062"/>
                    <a:pt x="71420" y="186930"/>
                  </a:cubicBezTo>
                  <a:cubicBezTo>
                    <a:pt x="74386" y="204732"/>
                    <a:pt x="104057" y="225501"/>
                    <a:pt x="107024" y="228468"/>
                  </a:cubicBezTo>
                  <a:cubicBezTo>
                    <a:pt x="121859" y="237369"/>
                    <a:pt x="127793" y="246270"/>
                    <a:pt x="124826" y="264073"/>
                  </a:cubicBezTo>
                  <a:cubicBezTo>
                    <a:pt x="121859" y="272973"/>
                    <a:pt x="121859" y="281874"/>
                    <a:pt x="124826" y="290776"/>
                  </a:cubicBezTo>
                  <a:cubicBezTo>
                    <a:pt x="133727" y="308578"/>
                    <a:pt x="163397" y="314512"/>
                    <a:pt x="181200" y="317479"/>
                  </a:cubicBezTo>
                  <a:cubicBezTo>
                    <a:pt x="190101" y="326380"/>
                    <a:pt x="193068" y="335281"/>
                    <a:pt x="196035" y="347149"/>
                  </a:cubicBezTo>
                  <a:cubicBezTo>
                    <a:pt x="199002" y="364952"/>
                    <a:pt x="228672" y="359017"/>
                    <a:pt x="225705" y="338248"/>
                  </a:cubicBezTo>
                  <a:cubicBezTo>
                    <a:pt x="219771" y="320446"/>
                    <a:pt x="210870" y="305611"/>
                    <a:pt x="199002" y="293743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96B14435-7CBE-458F-A13E-7488A8F6FEC1}"/>
                </a:ext>
              </a:extLst>
            </p:cNvPr>
            <p:cNvSpPr/>
            <p:nvPr/>
          </p:nvSpPr>
          <p:spPr>
            <a:xfrm>
              <a:off x="9634542" y="9438237"/>
              <a:ext cx="239751" cy="327183"/>
            </a:xfrm>
            <a:custGeom>
              <a:avLst/>
              <a:gdLst>
                <a:gd name="connsiteX0" fmla="*/ 234604 w 239751"/>
                <a:gd name="connsiteY0" fmla="*/ 301310 h 327183"/>
                <a:gd name="connsiteX1" fmla="*/ 216802 w 239751"/>
                <a:gd name="connsiteY1" fmla="*/ 268672 h 327183"/>
                <a:gd name="connsiteX2" fmla="*/ 219769 w 239751"/>
                <a:gd name="connsiteY2" fmla="*/ 250871 h 327183"/>
                <a:gd name="connsiteX3" fmla="*/ 204934 w 239751"/>
                <a:gd name="connsiteY3" fmla="*/ 224167 h 327183"/>
                <a:gd name="connsiteX4" fmla="*/ 190099 w 239751"/>
                <a:gd name="connsiteY4" fmla="*/ 218233 h 327183"/>
                <a:gd name="connsiteX5" fmla="*/ 175263 w 239751"/>
                <a:gd name="connsiteY5" fmla="*/ 194497 h 327183"/>
                <a:gd name="connsiteX6" fmla="*/ 166362 w 239751"/>
                <a:gd name="connsiteY6" fmla="*/ 164826 h 327183"/>
                <a:gd name="connsiteX7" fmla="*/ 166362 w 239751"/>
                <a:gd name="connsiteY7" fmla="*/ 161860 h 327183"/>
                <a:gd name="connsiteX8" fmla="*/ 151527 w 239751"/>
                <a:gd name="connsiteY8" fmla="*/ 149991 h 327183"/>
                <a:gd name="connsiteX9" fmla="*/ 124824 w 239751"/>
                <a:gd name="connsiteY9" fmla="*/ 120321 h 327183"/>
                <a:gd name="connsiteX10" fmla="*/ 104054 w 239751"/>
                <a:gd name="connsiteY10" fmla="*/ 90650 h 327183"/>
                <a:gd name="connsiteX11" fmla="*/ 77351 w 239751"/>
                <a:gd name="connsiteY11" fmla="*/ 72849 h 327183"/>
                <a:gd name="connsiteX12" fmla="*/ 80318 w 239751"/>
                <a:gd name="connsiteY12" fmla="*/ 49112 h 327183"/>
                <a:gd name="connsiteX13" fmla="*/ 29879 w 239751"/>
                <a:gd name="connsiteY13" fmla="*/ 10541 h 327183"/>
                <a:gd name="connsiteX14" fmla="*/ 208 w 239751"/>
                <a:gd name="connsiteY14" fmla="*/ 19442 h 327183"/>
                <a:gd name="connsiteX15" fmla="*/ 18011 w 239751"/>
                <a:gd name="connsiteY15" fmla="*/ 49112 h 327183"/>
                <a:gd name="connsiteX16" fmla="*/ 44714 w 239751"/>
                <a:gd name="connsiteY16" fmla="*/ 60980 h 327183"/>
                <a:gd name="connsiteX17" fmla="*/ 44714 w 239751"/>
                <a:gd name="connsiteY17" fmla="*/ 72849 h 327183"/>
                <a:gd name="connsiteX18" fmla="*/ 44714 w 239751"/>
                <a:gd name="connsiteY18" fmla="*/ 81750 h 327183"/>
                <a:gd name="connsiteX19" fmla="*/ 56582 w 239751"/>
                <a:gd name="connsiteY19" fmla="*/ 105486 h 327183"/>
                <a:gd name="connsiteX20" fmla="*/ 80318 w 239751"/>
                <a:gd name="connsiteY20" fmla="*/ 114387 h 327183"/>
                <a:gd name="connsiteX21" fmla="*/ 95154 w 239751"/>
                <a:gd name="connsiteY21" fmla="*/ 126255 h 327183"/>
                <a:gd name="connsiteX22" fmla="*/ 98120 w 239751"/>
                <a:gd name="connsiteY22" fmla="*/ 138123 h 327183"/>
                <a:gd name="connsiteX23" fmla="*/ 115923 w 239751"/>
                <a:gd name="connsiteY23" fmla="*/ 161860 h 327183"/>
                <a:gd name="connsiteX24" fmla="*/ 139659 w 239751"/>
                <a:gd name="connsiteY24" fmla="*/ 173728 h 327183"/>
                <a:gd name="connsiteX25" fmla="*/ 142626 w 239751"/>
                <a:gd name="connsiteY25" fmla="*/ 179661 h 327183"/>
                <a:gd name="connsiteX26" fmla="*/ 154494 w 239751"/>
                <a:gd name="connsiteY26" fmla="*/ 227134 h 327183"/>
                <a:gd name="connsiteX27" fmla="*/ 184165 w 239751"/>
                <a:gd name="connsiteY27" fmla="*/ 244936 h 327183"/>
                <a:gd name="connsiteX28" fmla="*/ 190099 w 239751"/>
                <a:gd name="connsiteY28" fmla="*/ 286475 h 327183"/>
                <a:gd name="connsiteX29" fmla="*/ 216802 w 239751"/>
                <a:gd name="connsiteY29" fmla="*/ 322080 h 327183"/>
                <a:gd name="connsiteX30" fmla="*/ 234604 w 239751"/>
                <a:gd name="connsiteY30" fmla="*/ 301310 h 327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39751" h="327183">
                  <a:moveTo>
                    <a:pt x="234604" y="301310"/>
                  </a:moveTo>
                  <a:cubicBezTo>
                    <a:pt x="222736" y="292409"/>
                    <a:pt x="216802" y="283508"/>
                    <a:pt x="216802" y="268672"/>
                  </a:cubicBezTo>
                  <a:cubicBezTo>
                    <a:pt x="216802" y="262739"/>
                    <a:pt x="219769" y="256804"/>
                    <a:pt x="219769" y="250871"/>
                  </a:cubicBezTo>
                  <a:cubicBezTo>
                    <a:pt x="219769" y="239002"/>
                    <a:pt x="213835" y="230101"/>
                    <a:pt x="204934" y="224167"/>
                  </a:cubicBezTo>
                  <a:cubicBezTo>
                    <a:pt x="199000" y="221201"/>
                    <a:pt x="193065" y="221201"/>
                    <a:pt x="190099" y="218233"/>
                  </a:cubicBezTo>
                  <a:cubicBezTo>
                    <a:pt x="178230" y="212299"/>
                    <a:pt x="175263" y="206365"/>
                    <a:pt x="175263" y="194497"/>
                  </a:cubicBezTo>
                  <a:cubicBezTo>
                    <a:pt x="172296" y="182629"/>
                    <a:pt x="172296" y="173728"/>
                    <a:pt x="166362" y="164826"/>
                  </a:cubicBezTo>
                  <a:cubicBezTo>
                    <a:pt x="166362" y="164826"/>
                    <a:pt x="166362" y="164826"/>
                    <a:pt x="166362" y="161860"/>
                  </a:cubicBezTo>
                  <a:cubicBezTo>
                    <a:pt x="160428" y="155925"/>
                    <a:pt x="157461" y="152958"/>
                    <a:pt x="151527" y="149991"/>
                  </a:cubicBezTo>
                  <a:cubicBezTo>
                    <a:pt x="136692" y="138123"/>
                    <a:pt x="130758" y="141090"/>
                    <a:pt x="124824" y="120321"/>
                  </a:cubicBezTo>
                  <a:cubicBezTo>
                    <a:pt x="121857" y="105486"/>
                    <a:pt x="118890" y="96585"/>
                    <a:pt x="104054" y="90650"/>
                  </a:cubicBezTo>
                  <a:cubicBezTo>
                    <a:pt x="92186" y="84717"/>
                    <a:pt x="80318" y="90650"/>
                    <a:pt x="77351" y="72849"/>
                  </a:cubicBezTo>
                  <a:cubicBezTo>
                    <a:pt x="74384" y="66914"/>
                    <a:pt x="83285" y="58014"/>
                    <a:pt x="80318" y="49112"/>
                  </a:cubicBezTo>
                  <a:cubicBezTo>
                    <a:pt x="71417" y="25376"/>
                    <a:pt x="35813" y="34277"/>
                    <a:pt x="29879" y="10541"/>
                  </a:cubicBezTo>
                  <a:cubicBezTo>
                    <a:pt x="26912" y="-7261"/>
                    <a:pt x="-2759" y="-1327"/>
                    <a:pt x="208" y="19442"/>
                  </a:cubicBezTo>
                  <a:cubicBezTo>
                    <a:pt x="3175" y="31310"/>
                    <a:pt x="9109" y="40211"/>
                    <a:pt x="18011" y="49112"/>
                  </a:cubicBezTo>
                  <a:cubicBezTo>
                    <a:pt x="23945" y="55047"/>
                    <a:pt x="38780" y="55047"/>
                    <a:pt x="44714" y="60980"/>
                  </a:cubicBezTo>
                  <a:cubicBezTo>
                    <a:pt x="50648" y="66914"/>
                    <a:pt x="44714" y="60980"/>
                    <a:pt x="44714" y="72849"/>
                  </a:cubicBezTo>
                  <a:cubicBezTo>
                    <a:pt x="44714" y="75815"/>
                    <a:pt x="44714" y="78782"/>
                    <a:pt x="44714" y="81750"/>
                  </a:cubicBezTo>
                  <a:cubicBezTo>
                    <a:pt x="44714" y="90650"/>
                    <a:pt x="50648" y="99552"/>
                    <a:pt x="56582" y="105486"/>
                  </a:cubicBezTo>
                  <a:cubicBezTo>
                    <a:pt x="62516" y="111420"/>
                    <a:pt x="71417" y="111420"/>
                    <a:pt x="80318" y="114387"/>
                  </a:cubicBezTo>
                  <a:cubicBezTo>
                    <a:pt x="92186" y="120321"/>
                    <a:pt x="89219" y="111420"/>
                    <a:pt x="95154" y="126255"/>
                  </a:cubicBezTo>
                  <a:cubicBezTo>
                    <a:pt x="95154" y="129222"/>
                    <a:pt x="95154" y="135156"/>
                    <a:pt x="98120" y="138123"/>
                  </a:cubicBezTo>
                  <a:cubicBezTo>
                    <a:pt x="101088" y="147025"/>
                    <a:pt x="107022" y="155925"/>
                    <a:pt x="115923" y="161860"/>
                  </a:cubicBezTo>
                  <a:cubicBezTo>
                    <a:pt x="121857" y="167793"/>
                    <a:pt x="133725" y="167793"/>
                    <a:pt x="139659" y="173728"/>
                  </a:cubicBezTo>
                  <a:cubicBezTo>
                    <a:pt x="139659" y="176695"/>
                    <a:pt x="142626" y="176695"/>
                    <a:pt x="142626" y="179661"/>
                  </a:cubicBezTo>
                  <a:cubicBezTo>
                    <a:pt x="154494" y="188563"/>
                    <a:pt x="145593" y="215266"/>
                    <a:pt x="154494" y="227134"/>
                  </a:cubicBezTo>
                  <a:cubicBezTo>
                    <a:pt x="163395" y="239002"/>
                    <a:pt x="175263" y="236036"/>
                    <a:pt x="184165" y="244936"/>
                  </a:cubicBezTo>
                  <a:cubicBezTo>
                    <a:pt x="199000" y="256804"/>
                    <a:pt x="187131" y="271640"/>
                    <a:pt x="190099" y="286475"/>
                  </a:cubicBezTo>
                  <a:cubicBezTo>
                    <a:pt x="193065" y="301310"/>
                    <a:pt x="204934" y="313178"/>
                    <a:pt x="216802" y="322080"/>
                  </a:cubicBezTo>
                  <a:cubicBezTo>
                    <a:pt x="228670" y="336915"/>
                    <a:pt x="249439" y="316145"/>
                    <a:pt x="234604" y="301310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5DC1B443-E843-42C2-A098-F85CA4694236}"/>
                </a:ext>
              </a:extLst>
            </p:cNvPr>
            <p:cNvSpPr/>
            <p:nvPr/>
          </p:nvSpPr>
          <p:spPr>
            <a:xfrm>
              <a:off x="9000670" y="9595961"/>
              <a:ext cx="340552" cy="78311"/>
            </a:xfrm>
            <a:custGeom>
              <a:avLst/>
              <a:gdLst>
                <a:gd name="connsiteX0" fmla="*/ 310674 w 340552"/>
                <a:gd name="connsiteY0" fmla="*/ 13037 h 78311"/>
                <a:gd name="connsiteX1" fmla="*/ 266168 w 340552"/>
                <a:gd name="connsiteY1" fmla="*/ 13037 h 78311"/>
                <a:gd name="connsiteX2" fmla="*/ 242432 w 340552"/>
                <a:gd name="connsiteY2" fmla="*/ 27872 h 78311"/>
                <a:gd name="connsiteX3" fmla="*/ 215729 w 340552"/>
                <a:gd name="connsiteY3" fmla="*/ 42707 h 78311"/>
                <a:gd name="connsiteX4" fmla="*/ 200893 w 340552"/>
                <a:gd name="connsiteY4" fmla="*/ 36773 h 78311"/>
                <a:gd name="connsiteX5" fmla="*/ 197926 w 340552"/>
                <a:gd name="connsiteY5" fmla="*/ 33806 h 78311"/>
                <a:gd name="connsiteX6" fmla="*/ 191992 w 340552"/>
                <a:gd name="connsiteY6" fmla="*/ 33806 h 78311"/>
                <a:gd name="connsiteX7" fmla="*/ 189025 w 340552"/>
                <a:gd name="connsiteY7" fmla="*/ 33806 h 78311"/>
                <a:gd name="connsiteX8" fmla="*/ 177157 w 340552"/>
                <a:gd name="connsiteY8" fmla="*/ 36773 h 78311"/>
                <a:gd name="connsiteX9" fmla="*/ 138586 w 340552"/>
                <a:gd name="connsiteY9" fmla="*/ 42707 h 78311"/>
                <a:gd name="connsiteX10" fmla="*/ 97047 w 340552"/>
                <a:gd name="connsiteY10" fmla="*/ 24905 h 78311"/>
                <a:gd name="connsiteX11" fmla="*/ 85179 w 340552"/>
                <a:gd name="connsiteY11" fmla="*/ 30839 h 78311"/>
                <a:gd name="connsiteX12" fmla="*/ 46608 w 340552"/>
                <a:gd name="connsiteY12" fmla="*/ 7102 h 78311"/>
                <a:gd name="connsiteX13" fmla="*/ 8036 w 340552"/>
                <a:gd name="connsiteY13" fmla="*/ 4136 h 78311"/>
                <a:gd name="connsiteX14" fmla="*/ 22872 w 340552"/>
                <a:gd name="connsiteY14" fmla="*/ 30839 h 78311"/>
                <a:gd name="connsiteX15" fmla="*/ 64410 w 340552"/>
                <a:gd name="connsiteY15" fmla="*/ 63477 h 78311"/>
                <a:gd name="connsiteX16" fmla="*/ 102981 w 340552"/>
                <a:gd name="connsiteY16" fmla="*/ 57542 h 78311"/>
                <a:gd name="connsiteX17" fmla="*/ 132652 w 340552"/>
                <a:gd name="connsiteY17" fmla="*/ 75345 h 78311"/>
                <a:gd name="connsiteX18" fmla="*/ 147487 w 340552"/>
                <a:gd name="connsiteY18" fmla="*/ 78312 h 78311"/>
                <a:gd name="connsiteX19" fmla="*/ 168256 w 340552"/>
                <a:gd name="connsiteY19" fmla="*/ 75345 h 78311"/>
                <a:gd name="connsiteX20" fmla="*/ 186058 w 340552"/>
                <a:gd name="connsiteY20" fmla="*/ 60509 h 78311"/>
                <a:gd name="connsiteX21" fmla="*/ 230564 w 340552"/>
                <a:gd name="connsiteY21" fmla="*/ 75345 h 78311"/>
                <a:gd name="connsiteX22" fmla="*/ 260234 w 340552"/>
                <a:gd name="connsiteY22" fmla="*/ 51608 h 78311"/>
                <a:gd name="connsiteX23" fmla="*/ 319575 w 340552"/>
                <a:gd name="connsiteY23" fmla="*/ 45674 h 78311"/>
                <a:gd name="connsiteX24" fmla="*/ 340344 w 340552"/>
                <a:gd name="connsiteY24" fmla="*/ 16004 h 78311"/>
                <a:gd name="connsiteX25" fmla="*/ 310674 w 340552"/>
                <a:gd name="connsiteY25" fmla="*/ 13037 h 7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0552" h="78311">
                  <a:moveTo>
                    <a:pt x="310674" y="13037"/>
                  </a:moveTo>
                  <a:cubicBezTo>
                    <a:pt x="310674" y="18971"/>
                    <a:pt x="272102" y="10070"/>
                    <a:pt x="266168" y="13037"/>
                  </a:cubicBezTo>
                  <a:cubicBezTo>
                    <a:pt x="257267" y="16004"/>
                    <a:pt x="248366" y="18971"/>
                    <a:pt x="242432" y="27872"/>
                  </a:cubicBezTo>
                  <a:cubicBezTo>
                    <a:pt x="230564" y="39740"/>
                    <a:pt x="233531" y="51608"/>
                    <a:pt x="215729" y="42707"/>
                  </a:cubicBezTo>
                  <a:cubicBezTo>
                    <a:pt x="209795" y="39740"/>
                    <a:pt x="203860" y="36773"/>
                    <a:pt x="200893" y="36773"/>
                  </a:cubicBezTo>
                  <a:cubicBezTo>
                    <a:pt x="200893" y="36773"/>
                    <a:pt x="197926" y="36773"/>
                    <a:pt x="197926" y="33806"/>
                  </a:cubicBezTo>
                  <a:cubicBezTo>
                    <a:pt x="194960" y="33806"/>
                    <a:pt x="191992" y="33806"/>
                    <a:pt x="191992" y="33806"/>
                  </a:cubicBezTo>
                  <a:cubicBezTo>
                    <a:pt x="191992" y="33806"/>
                    <a:pt x="189025" y="33806"/>
                    <a:pt x="189025" y="33806"/>
                  </a:cubicBezTo>
                  <a:cubicBezTo>
                    <a:pt x="183091" y="33806"/>
                    <a:pt x="180124" y="33806"/>
                    <a:pt x="177157" y="36773"/>
                  </a:cubicBezTo>
                  <a:cubicBezTo>
                    <a:pt x="165289" y="42707"/>
                    <a:pt x="156388" y="48642"/>
                    <a:pt x="138586" y="42707"/>
                  </a:cubicBezTo>
                  <a:cubicBezTo>
                    <a:pt x="123750" y="36773"/>
                    <a:pt x="117816" y="18971"/>
                    <a:pt x="97047" y="24905"/>
                  </a:cubicBezTo>
                  <a:cubicBezTo>
                    <a:pt x="94080" y="24905"/>
                    <a:pt x="88146" y="30839"/>
                    <a:pt x="85179" y="30839"/>
                  </a:cubicBezTo>
                  <a:cubicBezTo>
                    <a:pt x="61443" y="33806"/>
                    <a:pt x="61443" y="16004"/>
                    <a:pt x="46608" y="7102"/>
                  </a:cubicBezTo>
                  <a:cubicBezTo>
                    <a:pt x="34739" y="-1798"/>
                    <a:pt x="22872" y="-1798"/>
                    <a:pt x="8036" y="4136"/>
                  </a:cubicBezTo>
                  <a:cubicBezTo>
                    <a:pt x="-9766" y="13037"/>
                    <a:pt x="5069" y="36773"/>
                    <a:pt x="22872" y="30839"/>
                  </a:cubicBezTo>
                  <a:cubicBezTo>
                    <a:pt x="19904" y="30839"/>
                    <a:pt x="58476" y="60509"/>
                    <a:pt x="64410" y="63477"/>
                  </a:cubicBezTo>
                  <a:cubicBezTo>
                    <a:pt x="79245" y="66443"/>
                    <a:pt x="91113" y="54575"/>
                    <a:pt x="102981" y="57542"/>
                  </a:cubicBezTo>
                  <a:cubicBezTo>
                    <a:pt x="108915" y="57542"/>
                    <a:pt x="126718" y="75345"/>
                    <a:pt x="132652" y="75345"/>
                  </a:cubicBezTo>
                  <a:cubicBezTo>
                    <a:pt x="138586" y="78312"/>
                    <a:pt x="144520" y="78312"/>
                    <a:pt x="147487" y="78312"/>
                  </a:cubicBezTo>
                  <a:cubicBezTo>
                    <a:pt x="153421" y="78312"/>
                    <a:pt x="162322" y="78312"/>
                    <a:pt x="168256" y="75345"/>
                  </a:cubicBezTo>
                  <a:cubicBezTo>
                    <a:pt x="168256" y="75345"/>
                    <a:pt x="186058" y="63477"/>
                    <a:pt x="186058" y="60509"/>
                  </a:cubicBezTo>
                  <a:cubicBezTo>
                    <a:pt x="203860" y="63477"/>
                    <a:pt x="212761" y="78312"/>
                    <a:pt x="230564" y="75345"/>
                  </a:cubicBezTo>
                  <a:cubicBezTo>
                    <a:pt x="248366" y="72377"/>
                    <a:pt x="248366" y="60509"/>
                    <a:pt x="260234" y="51608"/>
                  </a:cubicBezTo>
                  <a:cubicBezTo>
                    <a:pt x="278036" y="33806"/>
                    <a:pt x="298806" y="54575"/>
                    <a:pt x="319575" y="45674"/>
                  </a:cubicBezTo>
                  <a:cubicBezTo>
                    <a:pt x="334410" y="39740"/>
                    <a:pt x="337377" y="30839"/>
                    <a:pt x="340344" y="16004"/>
                  </a:cubicBezTo>
                  <a:cubicBezTo>
                    <a:pt x="343311" y="-4766"/>
                    <a:pt x="313641" y="-4766"/>
                    <a:pt x="310674" y="13037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83" name="图形 1">
            <a:extLst>
              <a:ext uri="{FF2B5EF4-FFF2-40B4-BE49-F238E27FC236}">
                <a16:creationId xmlns:a16="http://schemas.microsoft.com/office/drawing/2014/main" id="{26149D55-0B95-4918-BAD3-2BB96DA6E0C6}"/>
              </a:ext>
            </a:extLst>
          </p:cNvPr>
          <p:cNvGrpSpPr/>
          <p:nvPr/>
        </p:nvGrpSpPr>
        <p:grpSpPr>
          <a:xfrm>
            <a:off x="1850754" y="2906000"/>
            <a:ext cx="3650096" cy="3951527"/>
            <a:chOff x="2843583" y="8490514"/>
            <a:chExt cx="3650096" cy="3951527"/>
          </a:xfrm>
        </p:grpSpPr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AA250C83-6981-4634-A895-807E8BBB0D20}"/>
                </a:ext>
              </a:extLst>
            </p:cNvPr>
            <p:cNvSpPr/>
            <p:nvPr/>
          </p:nvSpPr>
          <p:spPr>
            <a:xfrm>
              <a:off x="4880036" y="9012624"/>
              <a:ext cx="915289" cy="739308"/>
            </a:xfrm>
            <a:custGeom>
              <a:avLst/>
              <a:gdLst>
                <a:gd name="connsiteX0" fmla="*/ 176582 w 915289"/>
                <a:gd name="connsiteY0" fmla="*/ 629011 h 739308"/>
                <a:gd name="connsiteX1" fmla="*/ 22297 w 915289"/>
                <a:gd name="connsiteY1" fmla="*/ 391649 h 739308"/>
                <a:gd name="connsiteX2" fmla="*/ 390209 w 915289"/>
                <a:gd name="connsiteY2" fmla="*/ 394616 h 739308"/>
                <a:gd name="connsiteX3" fmla="*/ 704714 w 915289"/>
                <a:gd name="connsiteY3" fmla="*/ 477693 h 739308"/>
                <a:gd name="connsiteX4" fmla="*/ 692846 w 915289"/>
                <a:gd name="connsiteY4" fmla="*/ 0 h 739308"/>
                <a:gd name="connsiteX5" fmla="*/ 823396 w 915289"/>
                <a:gd name="connsiteY5" fmla="*/ 56374 h 739308"/>
                <a:gd name="connsiteX6" fmla="*/ 847132 w 915289"/>
                <a:gd name="connsiteY6" fmla="*/ 720990 h 739308"/>
                <a:gd name="connsiteX7" fmla="*/ 176582 w 915289"/>
                <a:gd name="connsiteY7" fmla="*/ 629011 h 739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289" h="739308">
                  <a:moveTo>
                    <a:pt x="176582" y="629011"/>
                  </a:moveTo>
                  <a:cubicBezTo>
                    <a:pt x="43066" y="581539"/>
                    <a:pt x="-42978" y="436154"/>
                    <a:pt x="22297" y="391649"/>
                  </a:cubicBezTo>
                  <a:cubicBezTo>
                    <a:pt x="96473" y="341209"/>
                    <a:pt x="232956" y="329341"/>
                    <a:pt x="390209" y="394616"/>
                  </a:cubicBezTo>
                  <a:cubicBezTo>
                    <a:pt x="482187" y="433187"/>
                    <a:pt x="695813" y="492528"/>
                    <a:pt x="704714" y="477693"/>
                  </a:cubicBezTo>
                  <a:cubicBezTo>
                    <a:pt x="710648" y="471758"/>
                    <a:pt x="692846" y="0"/>
                    <a:pt x="692846" y="0"/>
                  </a:cubicBezTo>
                  <a:cubicBezTo>
                    <a:pt x="737352" y="38572"/>
                    <a:pt x="823396" y="56374"/>
                    <a:pt x="823396" y="56374"/>
                  </a:cubicBezTo>
                  <a:cubicBezTo>
                    <a:pt x="823396" y="56374"/>
                    <a:pt x="1013286" y="617143"/>
                    <a:pt x="847132" y="720990"/>
                  </a:cubicBezTo>
                  <a:cubicBezTo>
                    <a:pt x="761088" y="777363"/>
                    <a:pt x="342736" y="691319"/>
                    <a:pt x="176582" y="629011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A378C4DD-79D1-4503-A08B-93D900EF67B7}"/>
                </a:ext>
              </a:extLst>
            </p:cNvPr>
            <p:cNvSpPr/>
            <p:nvPr/>
          </p:nvSpPr>
          <p:spPr>
            <a:xfrm>
              <a:off x="5578816" y="9487349"/>
              <a:ext cx="44505" cy="100878"/>
            </a:xfrm>
            <a:custGeom>
              <a:avLst/>
              <a:gdLst>
                <a:gd name="connsiteX0" fmla="*/ 38572 w 44505"/>
                <a:gd name="connsiteY0" fmla="*/ 100879 h 100878"/>
                <a:gd name="connsiteX1" fmla="*/ 32638 w 44505"/>
                <a:gd name="connsiteY1" fmla="*/ 97913 h 100878"/>
                <a:gd name="connsiteX2" fmla="*/ 0 w 44505"/>
                <a:gd name="connsiteY2" fmla="*/ 8902 h 100878"/>
                <a:gd name="connsiteX3" fmla="*/ 2967 w 44505"/>
                <a:gd name="connsiteY3" fmla="*/ 0 h 100878"/>
                <a:gd name="connsiteX4" fmla="*/ 11868 w 44505"/>
                <a:gd name="connsiteY4" fmla="*/ 2967 h 100878"/>
                <a:gd name="connsiteX5" fmla="*/ 44505 w 44505"/>
                <a:gd name="connsiteY5" fmla="*/ 91978 h 100878"/>
                <a:gd name="connsiteX6" fmla="*/ 38572 w 44505"/>
                <a:gd name="connsiteY6" fmla="*/ 100879 h 100878"/>
                <a:gd name="connsiteX7" fmla="*/ 38572 w 44505"/>
                <a:gd name="connsiteY7" fmla="*/ 100879 h 100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505" h="100878">
                  <a:moveTo>
                    <a:pt x="38572" y="100879"/>
                  </a:moveTo>
                  <a:cubicBezTo>
                    <a:pt x="35605" y="100879"/>
                    <a:pt x="32638" y="100879"/>
                    <a:pt x="32638" y="97913"/>
                  </a:cubicBezTo>
                  <a:lnTo>
                    <a:pt x="0" y="8902"/>
                  </a:lnTo>
                  <a:cubicBezTo>
                    <a:pt x="0" y="5934"/>
                    <a:pt x="0" y="2967"/>
                    <a:pt x="2967" y="0"/>
                  </a:cubicBezTo>
                  <a:cubicBezTo>
                    <a:pt x="5934" y="0"/>
                    <a:pt x="8901" y="0"/>
                    <a:pt x="11868" y="2967"/>
                  </a:cubicBezTo>
                  <a:lnTo>
                    <a:pt x="44505" y="91978"/>
                  </a:lnTo>
                  <a:cubicBezTo>
                    <a:pt x="44505" y="94945"/>
                    <a:pt x="44505" y="97913"/>
                    <a:pt x="38572" y="100879"/>
                  </a:cubicBezTo>
                  <a:cubicBezTo>
                    <a:pt x="38572" y="100879"/>
                    <a:pt x="38572" y="100879"/>
                    <a:pt x="38572" y="100879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6" name="图形 1">
              <a:extLst>
                <a:ext uri="{FF2B5EF4-FFF2-40B4-BE49-F238E27FC236}">
                  <a16:creationId xmlns:a16="http://schemas.microsoft.com/office/drawing/2014/main" id="{B577E4E8-8644-48AD-B89D-5309665783FB}"/>
                </a:ext>
              </a:extLst>
            </p:cNvPr>
            <p:cNvGrpSpPr/>
            <p:nvPr/>
          </p:nvGrpSpPr>
          <p:grpSpPr>
            <a:xfrm>
              <a:off x="5380660" y="8815437"/>
              <a:ext cx="323381" cy="357928"/>
              <a:chOff x="5380660" y="8815437"/>
              <a:chExt cx="323381" cy="357928"/>
            </a:xfrm>
          </p:grpSpPr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5F1B96F8-740A-4278-837A-5FE095FEC940}"/>
                  </a:ext>
                </a:extLst>
              </p:cNvPr>
              <p:cNvSpPr/>
              <p:nvPr/>
            </p:nvSpPr>
            <p:spPr>
              <a:xfrm>
                <a:off x="5380660" y="8828668"/>
                <a:ext cx="323381" cy="344698"/>
              </a:xfrm>
              <a:custGeom>
                <a:avLst/>
                <a:gdLst>
                  <a:gd name="connsiteX0" fmla="*/ 171453 w 323381"/>
                  <a:gd name="connsiteY0" fmla="*/ 20769 h 344698"/>
                  <a:gd name="connsiteX1" fmla="*/ 159585 w 323381"/>
                  <a:gd name="connsiteY1" fmla="*/ 41539 h 344698"/>
                  <a:gd name="connsiteX2" fmla="*/ 159585 w 323381"/>
                  <a:gd name="connsiteY2" fmla="*/ 50439 h 344698"/>
                  <a:gd name="connsiteX3" fmla="*/ 141783 w 323381"/>
                  <a:gd name="connsiteY3" fmla="*/ 26704 h 344698"/>
                  <a:gd name="connsiteX4" fmla="*/ 94310 w 323381"/>
                  <a:gd name="connsiteY4" fmla="*/ 0 h 344698"/>
                  <a:gd name="connsiteX5" fmla="*/ 88376 w 323381"/>
                  <a:gd name="connsiteY5" fmla="*/ 5934 h 344698"/>
                  <a:gd name="connsiteX6" fmla="*/ 88376 w 323381"/>
                  <a:gd name="connsiteY6" fmla="*/ 8901 h 344698"/>
                  <a:gd name="connsiteX7" fmla="*/ 52772 w 323381"/>
                  <a:gd name="connsiteY7" fmla="*/ 2967 h 344698"/>
                  <a:gd name="connsiteX8" fmla="*/ 34969 w 323381"/>
                  <a:gd name="connsiteY8" fmla="*/ 29670 h 344698"/>
                  <a:gd name="connsiteX9" fmla="*/ 64639 w 323381"/>
                  <a:gd name="connsiteY9" fmla="*/ 83077 h 344698"/>
                  <a:gd name="connsiteX10" fmla="*/ 109145 w 323381"/>
                  <a:gd name="connsiteY10" fmla="*/ 157253 h 344698"/>
                  <a:gd name="connsiteX11" fmla="*/ 55739 w 323381"/>
                  <a:gd name="connsiteY11" fmla="*/ 112747 h 344698"/>
                  <a:gd name="connsiteX12" fmla="*/ 14200 w 323381"/>
                  <a:gd name="connsiteY12" fmla="*/ 83077 h 344698"/>
                  <a:gd name="connsiteX13" fmla="*/ 8266 w 323381"/>
                  <a:gd name="connsiteY13" fmla="*/ 118681 h 344698"/>
                  <a:gd name="connsiteX14" fmla="*/ 156618 w 323381"/>
                  <a:gd name="connsiteY14" fmla="*/ 267033 h 344698"/>
                  <a:gd name="connsiteX15" fmla="*/ 46837 w 323381"/>
                  <a:gd name="connsiteY15" fmla="*/ 249231 h 344698"/>
                  <a:gd name="connsiteX16" fmla="*/ 34969 w 323381"/>
                  <a:gd name="connsiteY16" fmla="*/ 270000 h 344698"/>
                  <a:gd name="connsiteX17" fmla="*/ 257497 w 323381"/>
                  <a:gd name="connsiteY17" fmla="*/ 335275 h 344698"/>
                  <a:gd name="connsiteX18" fmla="*/ 260464 w 323381"/>
                  <a:gd name="connsiteY18" fmla="*/ 335275 h 344698"/>
                  <a:gd name="connsiteX19" fmla="*/ 266398 w 323381"/>
                  <a:gd name="connsiteY19" fmla="*/ 338242 h 344698"/>
                  <a:gd name="connsiteX20" fmla="*/ 322771 w 323381"/>
                  <a:gd name="connsiteY20" fmla="*/ 249231 h 344698"/>
                  <a:gd name="connsiteX21" fmla="*/ 260464 w 323381"/>
                  <a:gd name="connsiteY21" fmla="*/ 124615 h 344698"/>
                  <a:gd name="connsiteX22" fmla="*/ 207057 w 323381"/>
                  <a:gd name="connsiteY22" fmla="*/ 53407 h 344698"/>
                  <a:gd name="connsiteX23" fmla="*/ 171453 w 323381"/>
                  <a:gd name="connsiteY23" fmla="*/ 20769 h 344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23381" h="344698">
                    <a:moveTo>
                      <a:pt x="171453" y="20769"/>
                    </a:moveTo>
                    <a:cubicBezTo>
                      <a:pt x="162552" y="23736"/>
                      <a:pt x="159585" y="32638"/>
                      <a:pt x="159585" y="41539"/>
                    </a:cubicBezTo>
                    <a:cubicBezTo>
                      <a:pt x="159585" y="44505"/>
                      <a:pt x="159585" y="47473"/>
                      <a:pt x="159585" y="50439"/>
                    </a:cubicBezTo>
                    <a:cubicBezTo>
                      <a:pt x="153650" y="41539"/>
                      <a:pt x="147716" y="32638"/>
                      <a:pt x="141783" y="26704"/>
                    </a:cubicBezTo>
                    <a:cubicBezTo>
                      <a:pt x="129914" y="8901"/>
                      <a:pt x="115079" y="0"/>
                      <a:pt x="94310" y="0"/>
                    </a:cubicBezTo>
                    <a:cubicBezTo>
                      <a:pt x="91343" y="0"/>
                      <a:pt x="88376" y="2967"/>
                      <a:pt x="88376" y="5934"/>
                    </a:cubicBezTo>
                    <a:cubicBezTo>
                      <a:pt x="88376" y="5934"/>
                      <a:pt x="88376" y="8901"/>
                      <a:pt x="88376" y="8901"/>
                    </a:cubicBezTo>
                    <a:cubicBezTo>
                      <a:pt x="76508" y="2967"/>
                      <a:pt x="64639" y="-2967"/>
                      <a:pt x="52772" y="2967"/>
                    </a:cubicBezTo>
                    <a:cubicBezTo>
                      <a:pt x="40903" y="5934"/>
                      <a:pt x="34969" y="17802"/>
                      <a:pt x="34969" y="29670"/>
                    </a:cubicBezTo>
                    <a:cubicBezTo>
                      <a:pt x="37936" y="50439"/>
                      <a:pt x="55739" y="68242"/>
                      <a:pt x="64639" y="83077"/>
                    </a:cubicBezTo>
                    <a:cubicBezTo>
                      <a:pt x="79475" y="106813"/>
                      <a:pt x="94310" y="130550"/>
                      <a:pt x="109145" y="157253"/>
                    </a:cubicBezTo>
                    <a:cubicBezTo>
                      <a:pt x="91343" y="142418"/>
                      <a:pt x="73541" y="127583"/>
                      <a:pt x="55739" y="112747"/>
                    </a:cubicBezTo>
                    <a:cubicBezTo>
                      <a:pt x="43870" y="103846"/>
                      <a:pt x="29035" y="83077"/>
                      <a:pt x="14200" y="83077"/>
                    </a:cubicBezTo>
                    <a:cubicBezTo>
                      <a:pt x="-9536" y="80110"/>
                      <a:pt x="2332" y="109780"/>
                      <a:pt x="8266" y="118681"/>
                    </a:cubicBezTo>
                    <a:cubicBezTo>
                      <a:pt x="40903" y="180989"/>
                      <a:pt x="112112" y="213626"/>
                      <a:pt x="156618" y="267033"/>
                    </a:cubicBezTo>
                    <a:cubicBezTo>
                      <a:pt x="121013" y="287802"/>
                      <a:pt x="85409" y="252198"/>
                      <a:pt x="46837" y="249231"/>
                    </a:cubicBezTo>
                    <a:cubicBezTo>
                      <a:pt x="40903" y="249231"/>
                      <a:pt x="32002" y="264066"/>
                      <a:pt x="34969" y="270000"/>
                    </a:cubicBezTo>
                    <a:cubicBezTo>
                      <a:pt x="67607" y="329341"/>
                      <a:pt x="168486" y="361978"/>
                      <a:pt x="257497" y="335275"/>
                    </a:cubicBezTo>
                    <a:cubicBezTo>
                      <a:pt x="257497" y="335275"/>
                      <a:pt x="257497" y="335275"/>
                      <a:pt x="260464" y="335275"/>
                    </a:cubicBezTo>
                    <a:cubicBezTo>
                      <a:pt x="260464" y="338242"/>
                      <a:pt x="263431" y="338242"/>
                      <a:pt x="266398" y="338242"/>
                    </a:cubicBezTo>
                    <a:cubicBezTo>
                      <a:pt x="307936" y="332308"/>
                      <a:pt x="316837" y="281868"/>
                      <a:pt x="322771" y="249231"/>
                    </a:cubicBezTo>
                    <a:cubicBezTo>
                      <a:pt x="328705" y="198791"/>
                      <a:pt x="290134" y="160220"/>
                      <a:pt x="260464" y="124615"/>
                    </a:cubicBezTo>
                    <a:cubicBezTo>
                      <a:pt x="242661" y="100879"/>
                      <a:pt x="224859" y="77143"/>
                      <a:pt x="207057" y="53407"/>
                    </a:cubicBezTo>
                    <a:cubicBezTo>
                      <a:pt x="198156" y="35604"/>
                      <a:pt x="189255" y="17802"/>
                      <a:pt x="171453" y="2076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96287BCC-A91E-4572-865B-B18F6D681B96}"/>
                  </a:ext>
                </a:extLst>
              </p:cNvPr>
              <p:cNvSpPr/>
              <p:nvPr/>
            </p:nvSpPr>
            <p:spPr>
              <a:xfrm>
                <a:off x="5559785" y="9056308"/>
                <a:ext cx="80597" cy="24557"/>
              </a:xfrm>
              <a:custGeom>
                <a:avLst/>
                <a:gdLst>
                  <a:gd name="connsiteX0" fmla="*/ 72438 w 80597"/>
                  <a:gd name="connsiteY0" fmla="*/ 24558 h 24557"/>
                  <a:gd name="connsiteX1" fmla="*/ 69471 w 80597"/>
                  <a:gd name="connsiteY1" fmla="*/ 24558 h 24557"/>
                  <a:gd name="connsiteX2" fmla="*/ 10130 w 80597"/>
                  <a:gd name="connsiteY2" fmla="*/ 21591 h 24557"/>
                  <a:gd name="connsiteX3" fmla="*/ 1229 w 80597"/>
                  <a:gd name="connsiteY3" fmla="*/ 18624 h 24557"/>
                  <a:gd name="connsiteX4" fmla="*/ 4196 w 80597"/>
                  <a:gd name="connsiteY4" fmla="*/ 9722 h 24557"/>
                  <a:gd name="connsiteX5" fmla="*/ 78372 w 80597"/>
                  <a:gd name="connsiteY5" fmla="*/ 12690 h 24557"/>
                  <a:gd name="connsiteX6" fmla="*/ 78372 w 80597"/>
                  <a:gd name="connsiteY6" fmla="*/ 21591 h 24557"/>
                  <a:gd name="connsiteX7" fmla="*/ 72438 w 80597"/>
                  <a:gd name="connsiteY7" fmla="*/ 24558 h 24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0597" h="24557">
                    <a:moveTo>
                      <a:pt x="72438" y="24558"/>
                    </a:moveTo>
                    <a:cubicBezTo>
                      <a:pt x="72438" y="24558"/>
                      <a:pt x="69471" y="24558"/>
                      <a:pt x="69471" y="24558"/>
                    </a:cubicBezTo>
                    <a:cubicBezTo>
                      <a:pt x="42767" y="3788"/>
                      <a:pt x="10130" y="21591"/>
                      <a:pt x="10130" y="21591"/>
                    </a:cubicBezTo>
                    <a:cubicBezTo>
                      <a:pt x="7163" y="24558"/>
                      <a:pt x="4196" y="21591"/>
                      <a:pt x="1229" y="18624"/>
                    </a:cubicBezTo>
                    <a:cubicBezTo>
                      <a:pt x="-1738" y="15656"/>
                      <a:pt x="1229" y="12690"/>
                      <a:pt x="4196" y="9722"/>
                    </a:cubicBezTo>
                    <a:cubicBezTo>
                      <a:pt x="7163" y="9722"/>
                      <a:pt x="45734" y="-14014"/>
                      <a:pt x="78372" y="12690"/>
                    </a:cubicBezTo>
                    <a:cubicBezTo>
                      <a:pt x="81339" y="15656"/>
                      <a:pt x="81339" y="18624"/>
                      <a:pt x="78372" y="21591"/>
                    </a:cubicBezTo>
                    <a:cubicBezTo>
                      <a:pt x="78372" y="24558"/>
                      <a:pt x="75405" y="24558"/>
                      <a:pt x="72438" y="24558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FB852E18-235B-4DDB-B78E-7BA05BDAC05F}"/>
                  </a:ext>
                </a:extLst>
              </p:cNvPr>
              <p:cNvSpPr/>
              <p:nvPr/>
            </p:nvSpPr>
            <p:spPr>
              <a:xfrm>
                <a:off x="5395602" y="8818995"/>
                <a:ext cx="151895" cy="166925"/>
              </a:xfrm>
              <a:custGeom>
                <a:avLst/>
                <a:gdLst>
                  <a:gd name="connsiteX0" fmla="*/ 97170 w 151895"/>
                  <a:gd name="connsiteY0" fmla="*/ 166926 h 166925"/>
                  <a:gd name="connsiteX1" fmla="*/ 94203 w 151895"/>
                  <a:gd name="connsiteY1" fmla="*/ 163959 h 166925"/>
                  <a:gd name="connsiteX2" fmla="*/ 2225 w 151895"/>
                  <a:gd name="connsiteY2" fmla="*/ 89783 h 166925"/>
                  <a:gd name="connsiteX3" fmla="*/ 2225 w 151895"/>
                  <a:gd name="connsiteY3" fmla="*/ 80882 h 166925"/>
                  <a:gd name="connsiteX4" fmla="*/ 11126 w 151895"/>
                  <a:gd name="connsiteY4" fmla="*/ 80882 h 166925"/>
                  <a:gd name="connsiteX5" fmla="*/ 70467 w 151895"/>
                  <a:gd name="connsiteY5" fmla="*/ 125387 h 166925"/>
                  <a:gd name="connsiteX6" fmla="*/ 20027 w 151895"/>
                  <a:gd name="connsiteY6" fmla="*/ 18574 h 166925"/>
                  <a:gd name="connsiteX7" fmla="*/ 43764 w 151895"/>
                  <a:gd name="connsiteY7" fmla="*/ 772 h 166925"/>
                  <a:gd name="connsiteX8" fmla="*/ 76401 w 151895"/>
                  <a:gd name="connsiteY8" fmla="*/ 12640 h 166925"/>
                  <a:gd name="connsiteX9" fmla="*/ 150577 w 151895"/>
                  <a:gd name="connsiteY9" fmla="*/ 107585 h 166925"/>
                  <a:gd name="connsiteX10" fmla="*/ 150577 w 151895"/>
                  <a:gd name="connsiteY10" fmla="*/ 116486 h 166925"/>
                  <a:gd name="connsiteX11" fmla="*/ 141676 w 151895"/>
                  <a:gd name="connsiteY11" fmla="*/ 116486 h 166925"/>
                  <a:gd name="connsiteX12" fmla="*/ 67500 w 151895"/>
                  <a:gd name="connsiteY12" fmla="*/ 21541 h 166925"/>
                  <a:gd name="connsiteX13" fmla="*/ 43764 w 151895"/>
                  <a:gd name="connsiteY13" fmla="*/ 12640 h 166925"/>
                  <a:gd name="connsiteX14" fmla="*/ 28929 w 151895"/>
                  <a:gd name="connsiteY14" fmla="*/ 24508 h 166925"/>
                  <a:gd name="connsiteX15" fmla="*/ 103104 w 151895"/>
                  <a:gd name="connsiteY15" fmla="*/ 155058 h 166925"/>
                  <a:gd name="connsiteX16" fmla="*/ 103104 w 151895"/>
                  <a:gd name="connsiteY16" fmla="*/ 163959 h 166925"/>
                  <a:gd name="connsiteX17" fmla="*/ 97170 w 151895"/>
                  <a:gd name="connsiteY17" fmla="*/ 166926 h 166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1895" h="166925">
                    <a:moveTo>
                      <a:pt x="97170" y="166926"/>
                    </a:moveTo>
                    <a:cubicBezTo>
                      <a:pt x="97170" y="166926"/>
                      <a:pt x="94203" y="166926"/>
                      <a:pt x="94203" y="163959"/>
                    </a:cubicBezTo>
                    <a:cubicBezTo>
                      <a:pt x="64533" y="134288"/>
                      <a:pt x="2225" y="89783"/>
                      <a:pt x="2225" y="89783"/>
                    </a:cubicBezTo>
                    <a:cubicBezTo>
                      <a:pt x="-742" y="86816"/>
                      <a:pt x="-742" y="83849"/>
                      <a:pt x="2225" y="80882"/>
                    </a:cubicBezTo>
                    <a:cubicBezTo>
                      <a:pt x="5192" y="77915"/>
                      <a:pt x="8159" y="77915"/>
                      <a:pt x="11126" y="80882"/>
                    </a:cubicBezTo>
                    <a:cubicBezTo>
                      <a:pt x="14093" y="80882"/>
                      <a:pt x="43764" y="104618"/>
                      <a:pt x="70467" y="125387"/>
                    </a:cubicBezTo>
                    <a:cubicBezTo>
                      <a:pt x="43764" y="83849"/>
                      <a:pt x="14093" y="33409"/>
                      <a:pt x="20027" y="18574"/>
                    </a:cubicBezTo>
                    <a:cubicBezTo>
                      <a:pt x="25962" y="9673"/>
                      <a:pt x="31896" y="772"/>
                      <a:pt x="43764" y="772"/>
                    </a:cubicBezTo>
                    <a:cubicBezTo>
                      <a:pt x="55632" y="-2195"/>
                      <a:pt x="67500" y="3739"/>
                      <a:pt x="76401" y="12640"/>
                    </a:cubicBezTo>
                    <a:cubicBezTo>
                      <a:pt x="91236" y="27475"/>
                      <a:pt x="147610" y="104618"/>
                      <a:pt x="150577" y="107585"/>
                    </a:cubicBezTo>
                    <a:cubicBezTo>
                      <a:pt x="153544" y="110552"/>
                      <a:pt x="150577" y="113519"/>
                      <a:pt x="150577" y="116486"/>
                    </a:cubicBezTo>
                    <a:cubicBezTo>
                      <a:pt x="147610" y="119453"/>
                      <a:pt x="144643" y="116486"/>
                      <a:pt x="141676" y="116486"/>
                    </a:cubicBezTo>
                    <a:cubicBezTo>
                      <a:pt x="141676" y="116486"/>
                      <a:pt x="82335" y="36376"/>
                      <a:pt x="67500" y="21541"/>
                    </a:cubicBezTo>
                    <a:cubicBezTo>
                      <a:pt x="61566" y="15607"/>
                      <a:pt x="52665" y="12640"/>
                      <a:pt x="43764" y="12640"/>
                    </a:cubicBezTo>
                    <a:cubicBezTo>
                      <a:pt x="37830" y="12640"/>
                      <a:pt x="31896" y="18574"/>
                      <a:pt x="28929" y="24508"/>
                    </a:cubicBezTo>
                    <a:cubicBezTo>
                      <a:pt x="25962" y="36376"/>
                      <a:pt x="64533" y="101651"/>
                      <a:pt x="103104" y="155058"/>
                    </a:cubicBezTo>
                    <a:cubicBezTo>
                      <a:pt x="106071" y="158025"/>
                      <a:pt x="103104" y="160992"/>
                      <a:pt x="103104" y="163959"/>
                    </a:cubicBezTo>
                    <a:cubicBezTo>
                      <a:pt x="100137" y="166926"/>
                      <a:pt x="97170" y="166926"/>
                      <a:pt x="97170" y="16692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71BD1D9F-F3D7-4342-916C-E16418ED1FC0}"/>
                  </a:ext>
                </a:extLst>
              </p:cNvPr>
              <p:cNvSpPr/>
              <p:nvPr/>
            </p:nvSpPr>
            <p:spPr>
              <a:xfrm>
                <a:off x="5457168" y="8815437"/>
                <a:ext cx="130549" cy="134879"/>
              </a:xfrm>
              <a:custGeom>
                <a:avLst/>
                <a:gdLst>
                  <a:gd name="connsiteX0" fmla="*/ 121648 w 130549"/>
                  <a:gd name="connsiteY0" fmla="*/ 134879 h 134879"/>
                  <a:gd name="connsiteX1" fmla="*/ 80110 w 130549"/>
                  <a:gd name="connsiteY1" fmla="*/ 69605 h 134879"/>
                  <a:gd name="connsiteX2" fmla="*/ 29670 w 130549"/>
                  <a:gd name="connsiteY2" fmla="*/ 13231 h 134879"/>
                  <a:gd name="connsiteX3" fmla="*/ 11868 w 130549"/>
                  <a:gd name="connsiteY3" fmla="*/ 25099 h 134879"/>
                  <a:gd name="connsiteX4" fmla="*/ 2967 w 130549"/>
                  <a:gd name="connsiteY4" fmla="*/ 28066 h 134879"/>
                  <a:gd name="connsiteX5" fmla="*/ 0 w 130549"/>
                  <a:gd name="connsiteY5" fmla="*/ 19165 h 134879"/>
                  <a:gd name="connsiteX6" fmla="*/ 32637 w 130549"/>
                  <a:gd name="connsiteY6" fmla="*/ 1363 h 134879"/>
                  <a:gd name="connsiteX7" fmla="*/ 89011 w 130549"/>
                  <a:gd name="connsiteY7" fmla="*/ 60703 h 134879"/>
                  <a:gd name="connsiteX8" fmla="*/ 130550 w 130549"/>
                  <a:gd name="connsiteY8" fmla="*/ 125978 h 134879"/>
                  <a:gd name="connsiteX9" fmla="*/ 121648 w 130549"/>
                  <a:gd name="connsiteY9" fmla="*/ 134879 h 134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0549" h="134879">
                    <a:moveTo>
                      <a:pt x="121648" y="134879"/>
                    </a:moveTo>
                    <a:cubicBezTo>
                      <a:pt x="121648" y="134879"/>
                      <a:pt x="86044" y="78505"/>
                      <a:pt x="80110" y="69605"/>
                    </a:cubicBezTo>
                    <a:cubicBezTo>
                      <a:pt x="74176" y="57736"/>
                      <a:pt x="41539" y="19165"/>
                      <a:pt x="29670" y="13231"/>
                    </a:cubicBezTo>
                    <a:cubicBezTo>
                      <a:pt x="20769" y="10264"/>
                      <a:pt x="11868" y="25099"/>
                      <a:pt x="11868" y="25099"/>
                    </a:cubicBezTo>
                    <a:cubicBezTo>
                      <a:pt x="8901" y="28066"/>
                      <a:pt x="5934" y="28066"/>
                      <a:pt x="2967" y="28066"/>
                    </a:cubicBezTo>
                    <a:cubicBezTo>
                      <a:pt x="0" y="25099"/>
                      <a:pt x="0" y="22132"/>
                      <a:pt x="0" y="19165"/>
                    </a:cubicBezTo>
                    <a:cubicBezTo>
                      <a:pt x="5934" y="10264"/>
                      <a:pt x="17802" y="-4571"/>
                      <a:pt x="32637" y="1363"/>
                    </a:cubicBezTo>
                    <a:cubicBezTo>
                      <a:pt x="50440" y="7297"/>
                      <a:pt x="83077" y="54769"/>
                      <a:pt x="89011" y="60703"/>
                    </a:cubicBezTo>
                    <a:cubicBezTo>
                      <a:pt x="94945" y="72571"/>
                      <a:pt x="130550" y="125978"/>
                      <a:pt x="130550" y="125978"/>
                    </a:cubicBezTo>
                    <a:lnTo>
                      <a:pt x="121648" y="134879"/>
                    </a:ln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7" name="图形 1">
              <a:extLst>
                <a:ext uri="{FF2B5EF4-FFF2-40B4-BE49-F238E27FC236}">
                  <a16:creationId xmlns:a16="http://schemas.microsoft.com/office/drawing/2014/main" id="{20627A5D-5AA2-4DDF-986C-541C6DEF553C}"/>
                </a:ext>
              </a:extLst>
            </p:cNvPr>
            <p:cNvGrpSpPr/>
            <p:nvPr/>
          </p:nvGrpSpPr>
          <p:grpSpPr>
            <a:xfrm>
              <a:off x="2843583" y="9650536"/>
              <a:ext cx="2829572" cy="2592363"/>
              <a:chOff x="2843583" y="9650536"/>
              <a:chExt cx="2829572" cy="2592363"/>
            </a:xfrm>
          </p:grpSpPr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6DE9799D-0640-4CB0-8D55-248A365B27F8}"/>
                  </a:ext>
                </a:extLst>
              </p:cNvPr>
              <p:cNvSpPr/>
              <p:nvPr/>
            </p:nvSpPr>
            <p:spPr>
              <a:xfrm>
                <a:off x="2843583" y="9650536"/>
                <a:ext cx="2829572" cy="2592363"/>
              </a:xfrm>
              <a:custGeom>
                <a:avLst/>
                <a:gdLst>
                  <a:gd name="connsiteX0" fmla="*/ 79738 w 2829572"/>
                  <a:gd name="connsiteY0" fmla="*/ 1940439 h 2592363"/>
                  <a:gd name="connsiteX1" fmla="*/ 2575013 w 2829572"/>
                  <a:gd name="connsiteY1" fmla="*/ 2272748 h 2592363"/>
                  <a:gd name="connsiteX2" fmla="*/ 2542375 w 2829572"/>
                  <a:gd name="connsiteY2" fmla="*/ 1180880 h 2592363"/>
                  <a:gd name="connsiteX3" fmla="*/ 2542375 w 2829572"/>
                  <a:gd name="connsiteY3" fmla="*/ 1180880 h 2592363"/>
                  <a:gd name="connsiteX4" fmla="*/ 2159628 w 2829572"/>
                  <a:gd name="connsiteY4" fmla="*/ 937583 h 2592363"/>
                  <a:gd name="connsiteX5" fmla="*/ 1489079 w 2829572"/>
                  <a:gd name="connsiteY5" fmla="*/ 94945 h 2592363"/>
                  <a:gd name="connsiteX6" fmla="*/ 1266551 w 2829572"/>
                  <a:gd name="connsiteY6" fmla="*/ 0 h 2592363"/>
                  <a:gd name="connsiteX7" fmla="*/ 79738 w 2829572"/>
                  <a:gd name="connsiteY7" fmla="*/ 1940439 h 2592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29572" h="2592363">
                    <a:moveTo>
                      <a:pt x="79738" y="1940439"/>
                    </a:moveTo>
                    <a:cubicBezTo>
                      <a:pt x="403145" y="2872089"/>
                      <a:pt x="2150727" y="2634726"/>
                      <a:pt x="2575013" y="2272748"/>
                    </a:cubicBezTo>
                    <a:cubicBezTo>
                      <a:pt x="2785672" y="2091758"/>
                      <a:pt x="3037870" y="1611100"/>
                      <a:pt x="2542375" y="1180880"/>
                    </a:cubicBezTo>
                    <a:cubicBezTo>
                      <a:pt x="2542375" y="1180880"/>
                      <a:pt x="2542375" y="1180880"/>
                      <a:pt x="2542375" y="1180880"/>
                    </a:cubicBezTo>
                    <a:cubicBezTo>
                      <a:pt x="2444463" y="1097802"/>
                      <a:pt x="2319848" y="1014726"/>
                      <a:pt x="2159628" y="937583"/>
                    </a:cubicBezTo>
                    <a:cubicBezTo>
                      <a:pt x="1898529" y="812967"/>
                      <a:pt x="1735342" y="308571"/>
                      <a:pt x="1489079" y="94945"/>
                    </a:cubicBezTo>
                    <a:cubicBezTo>
                      <a:pt x="1420837" y="35605"/>
                      <a:pt x="1349628" y="0"/>
                      <a:pt x="1266551" y="0"/>
                    </a:cubicBezTo>
                    <a:cubicBezTo>
                      <a:pt x="880837" y="2967"/>
                      <a:pt x="-317844" y="801099"/>
                      <a:pt x="79738" y="1940439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1DC2A802-1B99-4CD5-A8FA-8A836D0431FF}"/>
                  </a:ext>
                </a:extLst>
              </p:cNvPr>
              <p:cNvSpPr/>
              <p:nvPr/>
            </p:nvSpPr>
            <p:spPr>
              <a:xfrm>
                <a:off x="3918019" y="10528778"/>
                <a:ext cx="1005082" cy="427252"/>
              </a:xfrm>
              <a:custGeom>
                <a:avLst/>
                <a:gdLst>
                  <a:gd name="connsiteX0" fmla="*/ 5192 w 1005082"/>
                  <a:gd name="connsiteY0" fmla="*/ 427253 h 427252"/>
                  <a:gd name="connsiteX1" fmla="*/ 2225 w 1005082"/>
                  <a:gd name="connsiteY1" fmla="*/ 427253 h 427252"/>
                  <a:gd name="connsiteX2" fmla="*/ 2225 w 1005082"/>
                  <a:gd name="connsiteY2" fmla="*/ 418352 h 427252"/>
                  <a:gd name="connsiteX3" fmla="*/ 999148 w 1005082"/>
                  <a:gd name="connsiteY3" fmla="*/ 0 h 427252"/>
                  <a:gd name="connsiteX4" fmla="*/ 999148 w 1005082"/>
                  <a:gd name="connsiteY4" fmla="*/ 0 h 427252"/>
                  <a:gd name="connsiteX5" fmla="*/ 1005082 w 1005082"/>
                  <a:gd name="connsiteY5" fmla="*/ 5934 h 427252"/>
                  <a:gd name="connsiteX6" fmla="*/ 999148 w 1005082"/>
                  <a:gd name="connsiteY6" fmla="*/ 11868 h 427252"/>
                  <a:gd name="connsiteX7" fmla="*/ 11126 w 1005082"/>
                  <a:gd name="connsiteY7" fmla="*/ 424285 h 427252"/>
                  <a:gd name="connsiteX8" fmla="*/ 5192 w 1005082"/>
                  <a:gd name="connsiteY8" fmla="*/ 427253 h 427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5082" h="427252">
                    <a:moveTo>
                      <a:pt x="5192" y="427253"/>
                    </a:moveTo>
                    <a:cubicBezTo>
                      <a:pt x="5192" y="427253"/>
                      <a:pt x="2225" y="427253"/>
                      <a:pt x="2225" y="427253"/>
                    </a:cubicBezTo>
                    <a:cubicBezTo>
                      <a:pt x="-742" y="424285"/>
                      <a:pt x="-742" y="421319"/>
                      <a:pt x="2225" y="418352"/>
                    </a:cubicBezTo>
                    <a:cubicBezTo>
                      <a:pt x="325632" y="8901"/>
                      <a:pt x="990247" y="0"/>
                      <a:pt x="999148" y="0"/>
                    </a:cubicBezTo>
                    <a:lnTo>
                      <a:pt x="999148" y="0"/>
                    </a:lnTo>
                    <a:cubicBezTo>
                      <a:pt x="1002115" y="0"/>
                      <a:pt x="1005082" y="2967"/>
                      <a:pt x="1005082" y="5934"/>
                    </a:cubicBezTo>
                    <a:cubicBezTo>
                      <a:pt x="1005082" y="8901"/>
                      <a:pt x="1002115" y="11868"/>
                      <a:pt x="999148" y="11868"/>
                    </a:cubicBezTo>
                    <a:cubicBezTo>
                      <a:pt x="993214" y="11868"/>
                      <a:pt x="331566" y="20770"/>
                      <a:pt x="11126" y="424285"/>
                    </a:cubicBezTo>
                    <a:cubicBezTo>
                      <a:pt x="8159" y="424285"/>
                      <a:pt x="5192" y="427253"/>
                      <a:pt x="5192" y="4272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04CAFEEF-72A1-4372-A5AE-943D750D5EB3}"/>
                  </a:ext>
                </a:extLst>
              </p:cNvPr>
              <p:cNvSpPr/>
              <p:nvPr/>
            </p:nvSpPr>
            <p:spPr>
              <a:xfrm>
                <a:off x="3987875" y="11004245"/>
                <a:ext cx="225363" cy="551126"/>
              </a:xfrm>
              <a:custGeom>
                <a:avLst/>
                <a:gdLst>
                  <a:gd name="connsiteX0" fmla="*/ 15446 w 225363"/>
                  <a:gd name="connsiteY0" fmla="*/ 551127 h 551126"/>
                  <a:gd name="connsiteX1" fmla="*/ 9512 w 225363"/>
                  <a:gd name="connsiteY1" fmla="*/ 545192 h 551126"/>
                  <a:gd name="connsiteX2" fmla="*/ 214238 w 225363"/>
                  <a:gd name="connsiteY2" fmla="*/ 2225 h 551126"/>
                  <a:gd name="connsiteX3" fmla="*/ 223139 w 225363"/>
                  <a:gd name="connsiteY3" fmla="*/ 2225 h 551126"/>
                  <a:gd name="connsiteX4" fmla="*/ 223139 w 225363"/>
                  <a:gd name="connsiteY4" fmla="*/ 11126 h 551126"/>
                  <a:gd name="connsiteX5" fmla="*/ 21380 w 225363"/>
                  <a:gd name="connsiteY5" fmla="*/ 542225 h 551126"/>
                  <a:gd name="connsiteX6" fmla="*/ 15446 w 225363"/>
                  <a:gd name="connsiteY6" fmla="*/ 551127 h 551126"/>
                  <a:gd name="connsiteX7" fmla="*/ 15446 w 225363"/>
                  <a:gd name="connsiteY7" fmla="*/ 551127 h 551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5363" h="551126">
                    <a:moveTo>
                      <a:pt x="15446" y="551127"/>
                    </a:moveTo>
                    <a:cubicBezTo>
                      <a:pt x="12479" y="551127"/>
                      <a:pt x="9512" y="548159"/>
                      <a:pt x="9512" y="545192"/>
                    </a:cubicBezTo>
                    <a:cubicBezTo>
                      <a:pt x="-52795" y="239588"/>
                      <a:pt x="211271" y="5193"/>
                      <a:pt x="214238" y="2225"/>
                    </a:cubicBezTo>
                    <a:cubicBezTo>
                      <a:pt x="217205" y="-742"/>
                      <a:pt x="220172" y="-742"/>
                      <a:pt x="223139" y="2225"/>
                    </a:cubicBezTo>
                    <a:cubicBezTo>
                      <a:pt x="226106" y="5193"/>
                      <a:pt x="226106" y="8159"/>
                      <a:pt x="223139" y="11126"/>
                    </a:cubicBezTo>
                    <a:cubicBezTo>
                      <a:pt x="220172" y="14093"/>
                      <a:pt x="-37960" y="242555"/>
                      <a:pt x="21380" y="542225"/>
                    </a:cubicBezTo>
                    <a:cubicBezTo>
                      <a:pt x="21380" y="548159"/>
                      <a:pt x="21380" y="551127"/>
                      <a:pt x="15446" y="551127"/>
                    </a:cubicBezTo>
                    <a:cubicBezTo>
                      <a:pt x="18413" y="551127"/>
                      <a:pt x="15446" y="551127"/>
                      <a:pt x="15446" y="55112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83F85E3D-0BFC-472E-ABCF-1EB640CDD4C6}"/>
                  </a:ext>
                </a:extLst>
              </p:cNvPr>
              <p:cNvSpPr/>
              <p:nvPr/>
            </p:nvSpPr>
            <p:spPr>
              <a:xfrm>
                <a:off x="4323561" y="11056910"/>
                <a:ext cx="100337" cy="412418"/>
              </a:xfrm>
              <a:custGeom>
                <a:avLst/>
                <a:gdLst>
                  <a:gd name="connsiteX0" fmla="*/ 95145 w 100337"/>
                  <a:gd name="connsiteY0" fmla="*/ 412418 h 412418"/>
                  <a:gd name="connsiteX1" fmla="*/ 92178 w 100337"/>
                  <a:gd name="connsiteY1" fmla="*/ 412418 h 412418"/>
                  <a:gd name="connsiteX2" fmla="*/ 200 w 100337"/>
                  <a:gd name="connsiteY2" fmla="*/ 5934 h 412418"/>
                  <a:gd name="connsiteX3" fmla="*/ 6134 w 100337"/>
                  <a:gd name="connsiteY3" fmla="*/ 0 h 412418"/>
                  <a:gd name="connsiteX4" fmla="*/ 12068 w 100337"/>
                  <a:gd name="connsiteY4" fmla="*/ 5934 h 412418"/>
                  <a:gd name="connsiteX5" fmla="*/ 98112 w 100337"/>
                  <a:gd name="connsiteY5" fmla="*/ 400549 h 412418"/>
                  <a:gd name="connsiteX6" fmla="*/ 98112 w 100337"/>
                  <a:gd name="connsiteY6" fmla="*/ 409451 h 412418"/>
                  <a:gd name="connsiteX7" fmla="*/ 95145 w 100337"/>
                  <a:gd name="connsiteY7" fmla="*/ 412418 h 412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0337" h="412418">
                    <a:moveTo>
                      <a:pt x="95145" y="412418"/>
                    </a:moveTo>
                    <a:cubicBezTo>
                      <a:pt x="95145" y="412418"/>
                      <a:pt x="92178" y="412418"/>
                      <a:pt x="92178" y="412418"/>
                    </a:cubicBezTo>
                    <a:cubicBezTo>
                      <a:pt x="-8701" y="329341"/>
                      <a:pt x="200" y="20770"/>
                      <a:pt x="200" y="5934"/>
                    </a:cubicBezTo>
                    <a:cubicBezTo>
                      <a:pt x="200" y="2967"/>
                      <a:pt x="3167" y="0"/>
                      <a:pt x="6134" y="0"/>
                    </a:cubicBezTo>
                    <a:cubicBezTo>
                      <a:pt x="9101" y="0"/>
                      <a:pt x="12068" y="2967"/>
                      <a:pt x="12068" y="5934"/>
                    </a:cubicBezTo>
                    <a:cubicBezTo>
                      <a:pt x="12068" y="8902"/>
                      <a:pt x="3167" y="323407"/>
                      <a:pt x="98112" y="400549"/>
                    </a:cubicBezTo>
                    <a:cubicBezTo>
                      <a:pt x="101079" y="403517"/>
                      <a:pt x="101079" y="406484"/>
                      <a:pt x="98112" y="409451"/>
                    </a:cubicBezTo>
                    <a:cubicBezTo>
                      <a:pt x="98112" y="409451"/>
                      <a:pt x="98112" y="412418"/>
                      <a:pt x="95145" y="412418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0DBED30C-24CD-4538-B6E7-BC3793F13164}"/>
                  </a:ext>
                </a:extLst>
              </p:cNvPr>
              <p:cNvSpPr/>
              <p:nvPr/>
            </p:nvSpPr>
            <p:spPr>
              <a:xfrm>
                <a:off x="3434393" y="10697899"/>
                <a:ext cx="494752" cy="207692"/>
              </a:xfrm>
              <a:custGeom>
                <a:avLst/>
                <a:gdLst>
                  <a:gd name="connsiteX0" fmla="*/ 5192 w 494752"/>
                  <a:gd name="connsiteY0" fmla="*/ 207692 h 207692"/>
                  <a:gd name="connsiteX1" fmla="*/ 2225 w 494752"/>
                  <a:gd name="connsiteY1" fmla="*/ 207692 h 207692"/>
                  <a:gd name="connsiteX2" fmla="*/ 2225 w 494752"/>
                  <a:gd name="connsiteY2" fmla="*/ 198791 h 207692"/>
                  <a:gd name="connsiteX3" fmla="*/ 488819 w 494752"/>
                  <a:gd name="connsiteY3" fmla="*/ 0 h 207692"/>
                  <a:gd name="connsiteX4" fmla="*/ 494753 w 494752"/>
                  <a:gd name="connsiteY4" fmla="*/ 5934 h 207692"/>
                  <a:gd name="connsiteX5" fmla="*/ 488819 w 494752"/>
                  <a:gd name="connsiteY5" fmla="*/ 11868 h 207692"/>
                  <a:gd name="connsiteX6" fmla="*/ 11126 w 494752"/>
                  <a:gd name="connsiteY6" fmla="*/ 207692 h 207692"/>
                  <a:gd name="connsiteX7" fmla="*/ 5192 w 494752"/>
                  <a:gd name="connsiteY7" fmla="*/ 207692 h 207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4752" h="207692">
                    <a:moveTo>
                      <a:pt x="5192" y="207692"/>
                    </a:moveTo>
                    <a:cubicBezTo>
                      <a:pt x="5192" y="207692"/>
                      <a:pt x="2225" y="207692"/>
                      <a:pt x="2225" y="207692"/>
                    </a:cubicBezTo>
                    <a:cubicBezTo>
                      <a:pt x="-742" y="204725"/>
                      <a:pt x="-742" y="201758"/>
                      <a:pt x="2225" y="198791"/>
                    </a:cubicBezTo>
                    <a:cubicBezTo>
                      <a:pt x="150577" y="29670"/>
                      <a:pt x="485852" y="0"/>
                      <a:pt x="488819" y="0"/>
                    </a:cubicBezTo>
                    <a:cubicBezTo>
                      <a:pt x="491786" y="0"/>
                      <a:pt x="494753" y="2966"/>
                      <a:pt x="494753" y="5934"/>
                    </a:cubicBezTo>
                    <a:cubicBezTo>
                      <a:pt x="494753" y="8901"/>
                      <a:pt x="491786" y="11868"/>
                      <a:pt x="488819" y="11868"/>
                    </a:cubicBezTo>
                    <a:cubicBezTo>
                      <a:pt x="485852" y="11868"/>
                      <a:pt x="156511" y="41538"/>
                      <a:pt x="11126" y="207692"/>
                    </a:cubicBezTo>
                    <a:cubicBezTo>
                      <a:pt x="8159" y="204725"/>
                      <a:pt x="8159" y="207692"/>
                      <a:pt x="5192" y="20769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0E317970-BCCC-451B-AA92-A0E74B10907B}"/>
                  </a:ext>
                </a:extLst>
              </p:cNvPr>
              <p:cNvSpPr/>
              <p:nvPr/>
            </p:nvSpPr>
            <p:spPr>
              <a:xfrm>
                <a:off x="3147240" y="11347679"/>
                <a:ext cx="133288" cy="682417"/>
              </a:xfrm>
              <a:custGeom>
                <a:avLst/>
                <a:gdLst>
                  <a:gd name="connsiteX0" fmla="*/ 126191 w 133288"/>
                  <a:gd name="connsiteY0" fmla="*/ 682418 h 682417"/>
                  <a:gd name="connsiteX1" fmla="*/ 120257 w 133288"/>
                  <a:gd name="connsiteY1" fmla="*/ 679450 h 682417"/>
                  <a:gd name="connsiteX2" fmla="*/ 34213 w 133288"/>
                  <a:gd name="connsiteY2" fmla="*/ 2967 h 682417"/>
                  <a:gd name="connsiteX3" fmla="*/ 43114 w 133288"/>
                  <a:gd name="connsiteY3" fmla="*/ 0 h 682417"/>
                  <a:gd name="connsiteX4" fmla="*/ 46081 w 133288"/>
                  <a:gd name="connsiteY4" fmla="*/ 8901 h 682417"/>
                  <a:gd name="connsiteX5" fmla="*/ 132125 w 133288"/>
                  <a:gd name="connsiteY5" fmla="*/ 673516 h 682417"/>
                  <a:gd name="connsiteX6" fmla="*/ 126191 w 133288"/>
                  <a:gd name="connsiteY6" fmla="*/ 682418 h 682417"/>
                  <a:gd name="connsiteX7" fmla="*/ 126191 w 133288"/>
                  <a:gd name="connsiteY7" fmla="*/ 682418 h 682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3288" h="682417">
                    <a:moveTo>
                      <a:pt x="126191" y="682418"/>
                    </a:moveTo>
                    <a:cubicBezTo>
                      <a:pt x="123224" y="682418"/>
                      <a:pt x="123224" y="682418"/>
                      <a:pt x="120257" y="679450"/>
                    </a:cubicBezTo>
                    <a:cubicBezTo>
                      <a:pt x="-84468" y="320439"/>
                      <a:pt x="34213" y="5934"/>
                      <a:pt x="34213" y="2967"/>
                    </a:cubicBezTo>
                    <a:cubicBezTo>
                      <a:pt x="34213" y="0"/>
                      <a:pt x="40147" y="0"/>
                      <a:pt x="43114" y="0"/>
                    </a:cubicBezTo>
                    <a:cubicBezTo>
                      <a:pt x="46081" y="0"/>
                      <a:pt x="46081" y="5934"/>
                      <a:pt x="46081" y="8901"/>
                    </a:cubicBezTo>
                    <a:cubicBezTo>
                      <a:pt x="46081" y="11868"/>
                      <a:pt x="-72600" y="320439"/>
                      <a:pt x="132125" y="673516"/>
                    </a:cubicBezTo>
                    <a:cubicBezTo>
                      <a:pt x="135092" y="676483"/>
                      <a:pt x="132125" y="679450"/>
                      <a:pt x="126191" y="682418"/>
                    </a:cubicBezTo>
                    <a:cubicBezTo>
                      <a:pt x="129158" y="682418"/>
                      <a:pt x="129158" y="682418"/>
                      <a:pt x="126191" y="682418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8" name="图形 1">
              <a:extLst>
                <a:ext uri="{FF2B5EF4-FFF2-40B4-BE49-F238E27FC236}">
                  <a16:creationId xmlns:a16="http://schemas.microsoft.com/office/drawing/2014/main" id="{1962047C-C72C-4874-8351-64658EDAD7B9}"/>
                </a:ext>
              </a:extLst>
            </p:cNvPr>
            <p:cNvGrpSpPr/>
            <p:nvPr/>
          </p:nvGrpSpPr>
          <p:grpSpPr>
            <a:xfrm>
              <a:off x="5851783" y="11780866"/>
              <a:ext cx="641896" cy="396624"/>
              <a:chOff x="5851783" y="11780866"/>
              <a:chExt cx="641896" cy="396624"/>
            </a:xfrm>
          </p:grpSpPr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D23CD7E8-B039-4C8A-B289-9F75F004B836}"/>
                  </a:ext>
                </a:extLst>
              </p:cNvPr>
              <p:cNvSpPr/>
              <p:nvPr/>
            </p:nvSpPr>
            <p:spPr>
              <a:xfrm>
                <a:off x="5851783" y="11780866"/>
                <a:ext cx="272966" cy="275933"/>
              </a:xfrm>
              <a:custGeom>
                <a:avLst/>
                <a:gdLst>
                  <a:gd name="connsiteX0" fmla="*/ 106813 w 272966"/>
                  <a:gd name="connsiteY0" fmla="*/ 243296 h 275933"/>
                  <a:gd name="connsiteX1" fmla="*/ 0 w 272966"/>
                  <a:gd name="connsiteY1" fmla="*/ 74176 h 275933"/>
                  <a:gd name="connsiteX2" fmla="*/ 157253 w 272966"/>
                  <a:gd name="connsiteY2" fmla="*/ 0 h 275933"/>
                  <a:gd name="connsiteX3" fmla="*/ 272967 w 272966"/>
                  <a:gd name="connsiteY3" fmla="*/ 178022 h 275933"/>
                  <a:gd name="connsiteX4" fmla="*/ 136483 w 272966"/>
                  <a:gd name="connsiteY4" fmla="*/ 275934 h 275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2966" h="275933">
                    <a:moveTo>
                      <a:pt x="106813" y="243296"/>
                    </a:moveTo>
                    <a:lnTo>
                      <a:pt x="0" y="74176"/>
                    </a:lnTo>
                    <a:lnTo>
                      <a:pt x="157253" y="0"/>
                    </a:lnTo>
                    <a:lnTo>
                      <a:pt x="272967" y="178022"/>
                    </a:lnTo>
                    <a:lnTo>
                      <a:pt x="136483" y="275934"/>
                    </a:ln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3E22F58B-9374-451C-BCA1-DEA0C853A24C}"/>
                  </a:ext>
                </a:extLst>
              </p:cNvPr>
              <p:cNvSpPr/>
              <p:nvPr/>
            </p:nvSpPr>
            <p:spPr>
              <a:xfrm>
                <a:off x="5958596" y="11886826"/>
                <a:ext cx="513296" cy="247116"/>
              </a:xfrm>
              <a:custGeom>
                <a:avLst/>
                <a:gdLst>
                  <a:gd name="connsiteX0" fmla="*/ 0 w 513296"/>
                  <a:gd name="connsiteY0" fmla="*/ 137336 h 247116"/>
                  <a:gd name="connsiteX1" fmla="*/ 145385 w 513296"/>
                  <a:gd name="connsiteY1" fmla="*/ 12721 h 247116"/>
                  <a:gd name="connsiteX2" fmla="*/ 311538 w 513296"/>
                  <a:gd name="connsiteY2" fmla="*/ 30523 h 247116"/>
                  <a:gd name="connsiteX3" fmla="*/ 513297 w 513296"/>
                  <a:gd name="connsiteY3" fmla="*/ 30523 h 247116"/>
                  <a:gd name="connsiteX4" fmla="*/ 50439 w 513296"/>
                  <a:gd name="connsiteY4" fmla="*/ 247117 h 247116"/>
                  <a:gd name="connsiteX5" fmla="*/ 0 w 513296"/>
                  <a:gd name="connsiteY5" fmla="*/ 137336 h 247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3296" h="247116">
                    <a:moveTo>
                      <a:pt x="0" y="137336"/>
                    </a:moveTo>
                    <a:cubicBezTo>
                      <a:pt x="0" y="137336"/>
                      <a:pt x="115714" y="104699"/>
                      <a:pt x="145385" y="12721"/>
                    </a:cubicBezTo>
                    <a:cubicBezTo>
                      <a:pt x="145385" y="12721"/>
                      <a:pt x="264066" y="42392"/>
                      <a:pt x="311538" y="30523"/>
                    </a:cubicBezTo>
                    <a:cubicBezTo>
                      <a:pt x="359011" y="18655"/>
                      <a:pt x="465824" y="-31784"/>
                      <a:pt x="513297" y="30523"/>
                    </a:cubicBezTo>
                    <a:lnTo>
                      <a:pt x="50439" y="247117"/>
                    </a:lnTo>
                    <a:cubicBezTo>
                      <a:pt x="53407" y="247117"/>
                      <a:pt x="5934" y="193710"/>
                      <a:pt x="0" y="137336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2DF07342-044E-4E09-AD93-28F838AE8B9D}"/>
                  </a:ext>
                </a:extLst>
              </p:cNvPr>
              <p:cNvSpPr/>
              <p:nvPr/>
            </p:nvSpPr>
            <p:spPr>
              <a:xfrm rot="-1502571">
                <a:off x="5997286" y="12024238"/>
                <a:ext cx="510334" cy="47472"/>
              </a:xfrm>
              <a:custGeom>
                <a:avLst/>
                <a:gdLst>
                  <a:gd name="connsiteX0" fmla="*/ 0 w 510334"/>
                  <a:gd name="connsiteY0" fmla="*/ 0 h 47472"/>
                  <a:gd name="connsiteX1" fmla="*/ 510335 w 510334"/>
                  <a:gd name="connsiteY1" fmla="*/ 0 h 47472"/>
                  <a:gd name="connsiteX2" fmla="*/ 510335 w 510334"/>
                  <a:gd name="connsiteY2" fmla="*/ 47473 h 47472"/>
                  <a:gd name="connsiteX3" fmla="*/ 0 w 510334"/>
                  <a:gd name="connsiteY3" fmla="*/ 47473 h 47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334" h="47472">
                    <a:moveTo>
                      <a:pt x="0" y="0"/>
                    </a:moveTo>
                    <a:lnTo>
                      <a:pt x="510335" y="0"/>
                    </a:lnTo>
                    <a:lnTo>
                      <a:pt x="510335" y="47473"/>
                    </a:lnTo>
                    <a:lnTo>
                      <a:pt x="0" y="47473"/>
                    </a:ln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14723479-7998-4B2B-BB74-974825C6D568}"/>
                  </a:ext>
                </a:extLst>
              </p:cNvPr>
              <p:cNvSpPr/>
              <p:nvPr/>
            </p:nvSpPr>
            <p:spPr>
              <a:xfrm>
                <a:off x="5952662" y="11893613"/>
                <a:ext cx="158481" cy="136483"/>
              </a:xfrm>
              <a:custGeom>
                <a:avLst/>
                <a:gdLst>
                  <a:gd name="connsiteX0" fmla="*/ 5934 w 158481"/>
                  <a:gd name="connsiteY0" fmla="*/ 136484 h 136483"/>
                  <a:gd name="connsiteX1" fmla="*/ 0 w 158481"/>
                  <a:gd name="connsiteY1" fmla="*/ 133516 h 136483"/>
                  <a:gd name="connsiteX2" fmla="*/ 2967 w 158481"/>
                  <a:gd name="connsiteY2" fmla="*/ 124616 h 136483"/>
                  <a:gd name="connsiteX3" fmla="*/ 145384 w 158481"/>
                  <a:gd name="connsiteY3" fmla="*/ 2967 h 136483"/>
                  <a:gd name="connsiteX4" fmla="*/ 154286 w 158481"/>
                  <a:gd name="connsiteY4" fmla="*/ 0 h 136483"/>
                  <a:gd name="connsiteX5" fmla="*/ 157253 w 158481"/>
                  <a:gd name="connsiteY5" fmla="*/ 8901 h 136483"/>
                  <a:gd name="connsiteX6" fmla="*/ 5934 w 158481"/>
                  <a:gd name="connsiteY6" fmla="*/ 136484 h 136483"/>
                  <a:gd name="connsiteX7" fmla="*/ 5934 w 158481"/>
                  <a:gd name="connsiteY7" fmla="*/ 136484 h 136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8481" h="136483">
                    <a:moveTo>
                      <a:pt x="5934" y="136484"/>
                    </a:moveTo>
                    <a:cubicBezTo>
                      <a:pt x="2967" y="136484"/>
                      <a:pt x="0" y="133516"/>
                      <a:pt x="0" y="133516"/>
                    </a:cubicBezTo>
                    <a:cubicBezTo>
                      <a:pt x="0" y="130549"/>
                      <a:pt x="0" y="127582"/>
                      <a:pt x="2967" y="124616"/>
                    </a:cubicBezTo>
                    <a:cubicBezTo>
                      <a:pt x="2967" y="124616"/>
                      <a:pt x="106813" y="94945"/>
                      <a:pt x="145384" y="2967"/>
                    </a:cubicBezTo>
                    <a:cubicBezTo>
                      <a:pt x="145384" y="0"/>
                      <a:pt x="151319" y="0"/>
                      <a:pt x="154286" y="0"/>
                    </a:cubicBezTo>
                    <a:cubicBezTo>
                      <a:pt x="157253" y="0"/>
                      <a:pt x="160220" y="5934"/>
                      <a:pt x="157253" y="8901"/>
                    </a:cubicBezTo>
                    <a:cubicBezTo>
                      <a:pt x="118681" y="103846"/>
                      <a:pt x="11868" y="133516"/>
                      <a:pt x="5934" y="136484"/>
                    </a:cubicBezTo>
                    <a:cubicBezTo>
                      <a:pt x="8901" y="136484"/>
                      <a:pt x="5934" y="136484"/>
                      <a:pt x="5934" y="136484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DD82884A-544F-42B4-894C-CE8EDEC746C0}"/>
                  </a:ext>
                </a:extLst>
              </p:cNvPr>
              <p:cNvSpPr/>
              <p:nvPr/>
            </p:nvSpPr>
            <p:spPr>
              <a:xfrm>
                <a:off x="6133651" y="11901285"/>
                <a:ext cx="24965" cy="51668"/>
              </a:xfrm>
              <a:custGeom>
                <a:avLst/>
                <a:gdLst>
                  <a:gd name="connsiteX0" fmla="*/ 5934 w 24965"/>
                  <a:gd name="connsiteY0" fmla="*/ 51669 h 51668"/>
                  <a:gd name="connsiteX1" fmla="*/ 5934 w 24965"/>
                  <a:gd name="connsiteY1" fmla="*/ 51669 h 51668"/>
                  <a:gd name="connsiteX2" fmla="*/ 0 w 24965"/>
                  <a:gd name="connsiteY2" fmla="*/ 42768 h 51668"/>
                  <a:gd name="connsiteX3" fmla="*/ 11868 w 24965"/>
                  <a:gd name="connsiteY3" fmla="*/ 4196 h 51668"/>
                  <a:gd name="connsiteX4" fmla="*/ 20769 w 24965"/>
                  <a:gd name="connsiteY4" fmla="*/ 1229 h 51668"/>
                  <a:gd name="connsiteX5" fmla="*/ 23736 w 24965"/>
                  <a:gd name="connsiteY5" fmla="*/ 10130 h 51668"/>
                  <a:gd name="connsiteX6" fmla="*/ 11868 w 24965"/>
                  <a:gd name="connsiteY6" fmla="*/ 48701 h 51668"/>
                  <a:gd name="connsiteX7" fmla="*/ 5934 w 24965"/>
                  <a:gd name="connsiteY7" fmla="*/ 51669 h 51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965" h="51668">
                    <a:moveTo>
                      <a:pt x="5934" y="51669"/>
                    </a:moveTo>
                    <a:cubicBezTo>
                      <a:pt x="5934" y="51669"/>
                      <a:pt x="5934" y="51669"/>
                      <a:pt x="5934" y="51669"/>
                    </a:cubicBezTo>
                    <a:cubicBezTo>
                      <a:pt x="0" y="51669"/>
                      <a:pt x="0" y="45734"/>
                      <a:pt x="0" y="42768"/>
                    </a:cubicBezTo>
                    <a:lnTo>
                      <a:pt x="11868" y="4196"/>
                    </a:lnTo>
                    <a:cubicBezTo>
                      <a:pt x="11868" y="1229"/>
                      <a:pt x="17802" y="-1738"/>
                      <a:pt x="20769" y="1229"/>
                    </a:cubicBezTo>
                    <a:cubicBezTo>
                      <a:pt x="23736" y="1229"/>
                      <a:pt x="26703" y="7163"/>
                      <a:pt x="23736" y="10130"/>
                    </a:cubicBezTo>
                    <a:lnTo>
                      <a:pt x="11868" y="48701"/>
                    </a:lnTo>
                    <a:cubicBezTo>
                      <a:pt x="11868" y="51669"/>
                      <a:pt x="8901" y="51669"/>
                      <a:pt x="5934" y="5166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54AD60A9-006E-4E37-8A7E-68B8FA7EE029}"/>
                  </a:ext>
                </a:extLst>
              </p:cNvPr>
              <p:cNvSpPr/>
              <p:nvPr/>
            </p:nvSpPr>
            <p:spPr>
              <a:xfrm>
                <a:off x="6184091" y="11910187"/>
                <a:ext cx="24965" cy="51668"/>
              </a:xfrm>
              <a:custGeom>
                <a:avLst/>
                <a:gdLst>
                  <a:gd name="connsiteX0" fmla="*/ 5934 w 24965"/>
                  <a:gd name="connsiteY0" fmla="*/ 51668 h 51668"/>
                  <a:gd name="connsiteX1" fmla="*/ 5934 w 24965"/>
                  <a:gd name="connsiteY1" fmla="*/ 51668 h 51668"/>
                  <a:gd name="connsiteX2" fmla="*/ 0 w 24965"/>
                  <a:gd name="connsiteY2" fmla="*/ 42767 h 51668"/>
                  <a:gd name="connsiteX3" fmla="*/ 11868 w 24965"/>
                  <a:gd name="connsiteY3" fmla="*/ 4196 h 51668"/>
                  <a:gd name="connsiteX4" fmla="*/ 20769 w 24965"/>
                  <a:gd name="connsiteY4" fmla="*/ 1229 h 51668"/>
                  <a:gd name="connsiteX5" fmla="*/ 23736 w 24965"/>
                  <a:gd name="connsiteY5" fmla="*/ 10130 h 51668"/>
                  <a:gd name="connsiteX6" fmla="*/ 11868 w 24965"/>
                  <a:gd name="connsiteY6" fmla="*/ 48702 h 51668"/>
                  <a:gd name="connsiteX7" fmla="*/ 5934 w 24965"/>
                  <a:gd name="connsiteY7" fmla="*/ 51668 h 51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965" h="51668">
                    <a:moveTo>
                      <a:pt x="5934" y="51668"/>
                    </a:moveTo>
                    <a:cubicBezTo>
                      <a:pt x="2967" y="51668"/>
                      <a:pt x="2967" y="51668"/>
                      <a:pt x="5934" y="51668"/>
                    </a:cubicBezTo>
                    <a:cubicBezTo>
                      <a:pt x="0" y="51668"/>
                      <a:pt x="0" y="45735"/>
                      <a:pt x="0" y="42767"/>
                    </a:cubicBezTo>
                    <a:lnTo>
                      <a:pt x="11868" y="4196"/>
                    </a:lnTo>
                    <a:cubicBezTo>
                      <a:pt x="11868" y="1229"/>
                      <a:pt x="17802" y="-1738"/>
                      <a:pt x="20769" y="1229"/>
                    </a:cubicBezTo>
                    <a:cubicBezTo>
                      <a:pt x="23736" y="1229"/>
                      <a:pt x="26703" y="7163"/>
                      <a:pt x="23736" y="10130"/>
                    </a:cubicBezTo>
                    <a:lnTo>
                      <a:pt x="11868" y="48702"/>
                    </a:lnTo>
                    <a:cubicBezTo>
                      <a:pt x="8901" y="51668"/>
                      <a:pt x="8901" y="51668"/>
                      <a:pt x="5934" y="516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9" name="图形 1">
              <a:extLst>
                <a:ext uri="{FF2B5EF4-FFF2-40B4-BE49-F238E27FC236}">
                  <a16:creationId xmlns:a16="http://schemas.microsoft.com/office/drawing/2014/main" id="{33000AD7-0E64-4ABA-B8A9-1E5A7C7E5CF4}"/>
                </a:ext>
              </a:extLst>
            </p:cNvPr>
            <p:cNvGrpSpPr/>
            <p:nvPr/>
          </p:nvGrpSpPr>
          <p:grpSpPr>
            <a:xfrm>
              <a:off x="4963003" y="11967789"/>
              <a:ext cx="508999" cy="474252"/>
              <a:chOff x="4963003" y="11967789"/>
              <a:chExt cx="508999" cy="474252"/>
            </a:xfrm>
          </p:grpSpPr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8E6326AD-514D-4F05-B960-3A31BB754CE3}"/>
                  </a:ext>
                </a:extLst>
              </p:cNvPr>
              <p:cNvSpPr/>
              <p:nvPr/>
            </p:nvSpPr>
            <p:spPr>
              <a:xfrm>
                <a:off x="4997277" y="11967789"/>
                <a:ext cx="189890" cy="249230"/>
              </a:xfrm>
              <a:custGeom>
                <a:avLst/>
                <a:gdLst>
                  <a:gd name="connsiteX0" fmla="*/ 0 w 189890"/>
                  <a:gd name="connsiteY0" fmla="*/ 198792 h 249230"/>
                  <a:gd name="connsiteX1" fmla="*/ 17802 w 189890"/>
                  <a:gd name="connsiteY1" fmla="*/ 0 h 249230"/>
                  <a:gd name="connsiteX2" fmla="*/ 189890 w 189890"/>
                  <a:gd name="connsiteY2" fmla="*/ 38571 h 249230"/>
                  <a:gd name="connsiteX3" fmla="*/ 169121 w 189890"/>
                  <a:gd name="connsiteY3" fmla="*/ 249231 h 249230"/>
                  <a:gd name="connsiteX4" fmla="*/ 5934 w 189890"/>
                  <a:gd name="connsiteY4" fmla="*/ 243297 h 24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890" h="249230">
                    <a:moveTo>
                      <a:pt x="0" y="198792"/>
                    </a:moveTo>
                    <a:lnTo>
                      <a:pt x="17802" y="0"/>
                    </a:lnTo>
                    <a:lnTo>
                      <a:pt x="189890" y="38571"/>
                    </a:lnTo>
                    <a:lnTo>
                      <a:pt x="169121" y="249231"/>
                    </a:lnTo>
                    <a:lnTo>
                      <a:pt x="5934" y="243297"/>
                    </a:ln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6DC129BB-9CFC-4427-8266-07451F56095F}"/>
                  </a:ext>
                </a:extLst>
              </p:cNvPr>
              <p:cNvSpPr/>
              <p:nvPr/>
            </p:nvSpPr>
            <p:spPr>
              <a:xfrm>
                <a:off x="4971752" y="12157679"/>
                <a:ext cx="500250" cy="237362"/>
              </a:xfrm>
              <a:custGeom>
                <a:avLst/>
                <a:gdLst>
                  <a:gd name="connsiteX0" fmla="*/ 25525 w 500250"/>
                  <a:gd name="connsiteY0" fmla="*/ 8902 h 237362"/>
                  <a:gd name="connsiteX1" fmla="*/ 218383 w 500250"/>
                  <a:gd name="connsiteY1" fmla="*/ 0 h 237362"/>
                  <a:gd name="connsiteX2" fmla="*/ 340031 w 500250"/>
                  <a:gd name="connsiteY2" fmla="*/ 115714 h 237362"/>
                  <a:gd name="connsiteX3" fmla="*/ 500251 w 500250"/>
                  <a:gd name="connsiteY3" fmla="*/ 237363 h 237362"/>
                  <a:gd name="connsiteX4" fmla="*/ 1789 w 500250"/>
                  <a:gd name="connsiteY4" fmla="*/ 127583 h 237362"/>
                  <a:gd name="connsiteX5" fmla="*/ 25525 w 500250"/>
                  <a:gd name="connsiteY5" fmla="*/ 8902 h 237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250" h="237362">
                    <a:moveTo>
                      <a:pt x="25525" y="8902"/>
                    </a:moveTo>
                    <a:cubicBezTo>
                      <a:pt x="25525" y="8902"/>
                      <a:pt x="138273" y="53407"/>
                      <a:pt x="218383" y="0"/>
                    </a:cubicBezTo>
                    <a:cubicBezTo>
                      <a:pt x="218383" y="0"/>
                      <a:pt x="295525" y="94945"/>
                      <a:pt x="340031" y="115714"/>
                    </a:cubicBezTo>
                    <a:cubicBezTo>
                      <a:pt x="384536" y="136484"/>
                      <a:pt x="500251" y="160220"/>
                      <a:pt x="500251" y="237363"/>
                    </a:cubicBezTo>
                    <a:lnTo>
                      <a:pt x="1789" y="127583"/>
                    </a:lnTo>
                    <a:cubicBezTo>
                      <a:pt x="-1178" y="127583"/>
                      <a:pt x="-4145" y="59341"/>
                      <a:pt x="25525" y="8902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E229080B-1693-4823-ABA1-2ABCED16DD62}"/>
                  </a:ext>
                </a:extLst>
              </p:cNvPr>
              <p:cNvSpPr/>
              <p:nvPr/>
            </p:nvSpPr>
            <p:spPr>
              <a:xfrm rot="-4651217">
                <a:off x="5193539" y="12108552"/>
                <a:ext cx="47473" cy="510344"/>
              </a:xfrm>
              <a:custGeom>
                <a:avLst/>
                <a:gdLst>
                  <a:gd name="connsiteX0" fmla="*/ 0 w 47473"/>
                  <a:gd name="connsiteY0" fmla="*/ 0 h 510344"/>
                  <a:gd name="connsiteX1" fmla="*/ 47474 w 47473"/>
                  <a:gd name="connsiteY1" fmla="*/ 0 h 510344"/>
                  <a:gd name="connsiteX2" fmla="*/ 47474 w 47473"/>
                  <a:gd name="connsiteY2" fmla="*/ 510344 h 510344"/>
                  <a:gd name="connsiteX3" fmla="*/ 0 w 47473"/>
                  <a:gd name="connsiteY3" fmla="*/ 510344 h 510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73" h="510344">
                    <a:moveTo>
                      <a:pt x="0" y="0"/>
                    </a:moveTo>
                    <a:lnTo>
                      <a:pt x="47474" y="0"/>
                    </a:lnTo>
                    <a:lnTo>
                      <a:pt x="47474" y="510344"/>
                    </a:lnTo>
                    <a:lnTo>
                      <a:pt x="0" y="510344"/>
                    </a:lnTo>
                    <a:close/>
                  </a:path>
                </a:pathLst>
              </a:custGeom>
              <a:solidFill>
                <a:srgbClr val="38333D"/>
              </a:solidFill>
              <a:ln w="296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5A1A5746-59BB-4BF5-852F-A805E1FC4686}"/>
                  </a:ext>
                </a:extLst>
              </p:cNvPr>
              <p:cNvSpPr/>
              <p:nvPr/>
            </p:nvSpPr>
            <p:spPr>
              <a:xfrm>
                <a:off x="4993081" y="12150516"/>
                <a:ext cx="207183" cy="39800"/>
              </a:xfrm>
              <a:custGeom>
                <a:avLst/>
                <a:gdLst>
                  <a:gd name="connsiteX0" fmla="*/ 96174 w 207183"/>
                  <a:gd name="connsiteY0" fmla="*/ 39800 h 39800"/>
                  <a:gd name="connsiteX1" fmla="*/ 4196 w 207183"/>
                  <a:gd name="connsiteY1" fmla="*/ 21998 h 39800"/>
                  <a:gd name="connsiteX2" fmla="*/ 1229 w 207183"/>
                  <a:gd name="connsiteY2" fmla="*/ 13097 h 39800"/>
                  <a:gd name="connsiteX3" fmla="*/ 10130 w 207183"/>
                  <a:gd name="connsiteY3" fmla="*/ 10130 h 39800"/>
                  <a:gd name="connsiteX4" fmla="*/ 197053 w 207183"/>
                  <a:gd name="connsiteY4" fmla="*/ 1229 h 39800"/>
                  <a:gd name="connsiteX5" fmla="*/ 205954 w 207183"/>
                  <a:gd name="connsiteY5" fmla="*/ 4195 h 39800"/>
                  <a:gd name="connsiteX6" fmla="*/ 202987 w 207183"/>
                  <a:gd name="connsiteY6" fmla="*/ 13097 h 39800"/>
                  <a:gd name="connsiteX7" fmla="*/ 96174 w 207183"/>
                  <a:gd name="connsiteY7" fmla="*/ 39800 h 39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7183" h="39800">
                    <a:moveTo>
                      <a:pt x="96174" y="39800"/>
                    </a:moveTo>
                    <a:cubicBezTo>
                      <a:pt x="45734" y="39800"/>
                      <a:pt x="7163" y="24965"/>
                      <a:pt x="4196" y="21998"/>
                    </a:cubicBezTo>
                    <a:cubicBezTo>
                      <a:pt x="1229" y="21998"/>
                      <a:pt x="-1738" y="16064"/>
                      <a:pt x="1229" y="13097"/>
                    </a:cubicBezTo>
                    <a:cubicBezTo>
                      <a:pt x="1229" y="10130"/>
                      <a:pt x="7163" y="7163"/>
                      <a:pt x="10130" y="10130"/>
                    </a:cubicBezTo>
                    <a:cubicBezTo>
                      <a:pt x="10130" y="10130"/>
                      <a:pt x="111009" y="48701"/>
                      <a:pt x="197053" y="1229"/>
                    </a:cubicBezTo>
                    <a:cubicBezTo>
                      <a:pt x="200020" y="-1738"/>
                      <a:pt x="202987" y="1229"/>
                      <a:pt x="205954" y="4195"/>
                    </a:cubicBezTo>
                    <a:cubicBezTo>
                      <a:pt x="208921" y="7163"/>
                      <a:pt x="205954" y="10130"/>
                      <a:pt x="202987" y="13097"/>
                    </a:cubicBezTo>
                    <a:cubicBezTo>
                      <a:pt x="164416" y="33866"/>
                      <a:pt x="128811" y="39800"/>
                      <a:pt x="96174" y="398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0CF303C4-A3BB-4472-8ECB-CAE8E5E3E431}"/>
                  </a:ext>
                </a:extLst>
              </p:cNvPr>
              <p:cNvSpPr/>
              <p:nvPr/>
            </p:nvSpPr>
            <p:spPr>
              <a:xfrm>
                <a:off x="5180005" y="12189087"/>
                <a:ext cx="46963" cy="33866"/>
              </a:xfrm>
              <a:custGeom>
                <a:avLst/>
                <a:gdLst>
                  <a:gd name="connsiteX0" fmla="*/ 7163 w 46963"/>
                  <a:gd name="connsiteY0" fmla="*/ 33867 h 33866"/>
                  <a:gd name="connsiteX1" fmla="*/ 1229 w 46963"/>
                  <a:gd name="connsiteY1" fmla="*/ 30899 h 33866"/>
                  <a:gd name="connsiteX2" fmla="*/ 4196 w 46963"/>
                  <a:gd name="connsiteY2" fmla="*/ 21999 h 33866"/>
                  <a:gd name="connsiteX3" fmla="*/ 36833 w 46963"/>
                  <a:gd name="connsiteY3" fmla="*/ 1229 h 33866"/>
                  <a:gd name="connsiteX4" fmla="*/ 45735 w 46963"/>
                  <a:gd name="connsiteY4" fmla="*/ 4196 h 33866"/>
                  <a:gd name="connsiteX5" fmla="*/ 42767 w 46963"/>
                  <a:gd name="connsiteY5" fmla="*/ 13097 h 33866"/>
                  <a:gd name="connsiteX6" fmla="*/ 10130 w 46963"/>
                  <a:gd name="connsiteY6" fmla="*/ 33867 h 33866"/>
                  <a:gd name="connsiteX7" fmla="*/ 7163 w 46963"/>
                  <a:gd name="connsiteY7" fmla="*/ 33867 h 33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963" h="33866">
                    <a:moveTo>
                      <a:pt x="7163" y="33867"/>
                    </a:moveTo>
                    <a:cubicBezTo>
                      <a:pt x="4196" y="33867"/>
                      <a:pt x="4196" y="33867"/>
                      <a:pt x="1229" y="30899"/>
                    </a:cubicBezTo>
                    <a:cubicBezTo>
                      <a:pt x="-1738" y="27932"/>
                      <a:pt x="1229" y="24965"/>
                      <a:pt x="4196" y="21999"/>
                    </a:cubicBezTo>
                    <a:lnTo>
                      <a:pt x="36833" y="1229"/>
                    </a:lnTo>
                    <a:cubicBezTo>
                      <a:pt x="39800" y="-1738"/>
                      <a:pt x="42767" y="1229"/>
                      <a:pt x="45735" y="4196"/>
                    </a:cubicBezTo>
                    <a:cubicBezTo>
                      <a:pt x="48702" y="7163"/>
                      <a:pt x="45735" y="10130"/>
                      <a:pt x="42767" y="13097"/>
                    </a:cubicBezTo>
                    <a:lnTo>
                      <a:pt x="10130" y="33867"/>
                    </a:lnTo>
                    <a:cubicBezTo>
                      <a:pt x="10130" y="33867"/>
                      <a:pt x="10130" y="33867"/>
                      <a:pt x="7163" y="3386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31F75BB9-8A01-4E22-BD3F-965B710D89CC}"/>
                  </a:ext>
                </a:extLst>
              </p:cNvPr>
              <p:cNvSpPr/>
              <p:nvPr/>
            </p:nvSpPr>
            <p:spPr>
              <a:xfrm>
                <a:off x="5215609" y="12224692"/>
                <a:ext cx="46963" cy="33865"/>
              </a:xfrm>
              <a:custGeom>
                <a:avLst/>
                <a:gdLst>
                  <a:gd name="connsiteX0" fmla="*/ 7163 w 46963"/>
                  <a:gd name="connsiteY0" fmla="*/ 33866 h 33865"/>
                  <a:gd name="connsiteX1" fmla="*/ 1229 w 46963"/>
                  <a:gd name="connsiteY1" fmla="*/ 30899 h 33865"/>
                  <a:gd name="connsiteX2" fmla="*/ 4196 w 46963"/>
                  <a:gd name="connsiteY2" fmla="*/ 21998 h 33865"/>
                  <a:gd name="connsiteX3" fmla="*/ 36833 w 46963"/>
                  <a:gd name="connsiteY3" fmla="*/ 1229 h 33865"/>
                  <a:gd name="connsiteX4" fmla="*/ 45734 w 46963"/>
                  <a:gd name="connsiteY4" fmla="*/ 4195 h 33865"/>
                  <a:gd name="connsiteX5" fmla="*/ 42767 w 46963"/>
                  <a:gd name="connsiteY5" fmla="*/ 13097 h 33865"/>
                  <a:gd name="connsiteX6" fmla="*/ 10130 w 46963"/>
                  <a:gd name="connsiteY6" fmla="*/ 33866 h 33865"/>
                  <a:gd name="connsiteX7" fmla="*/ 7163 w 46963"/>
                  <a:gd name="connsiteY7" fmla="*/ 33866 h 33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963" h="33865">
                    <a:moveTo>
                      <a:pt x="7163" y="33866"/>
                    </a:moveTo>
                    <a:cubicBezTo>
                      <a:pt x="4196" y="33866"/>
                      <a:pt x="4196" y="33866"/>
                      <a:pt x="1229" y="30899"/>
                    </a:cubicBezTo>
                    <a:cubicBezTo>
                      <a:pt x="-1738" y="27932"/>
                      <a:pt x="1229" y="24965"/>
                      <a:pt x="4196" y="21998"/>
                    </a:cubicBezTo>
                    <a:lnTo>
                      <a:pt x="36833" y="1229"/>
                    </a:lnTo>
                    <a:cubicBezTo>
                      <a:pt x="39800" y="-1738"/>
                      <a:pt x="42767" y="1229"/>
                      <a:pt x="45734" y="4195"/>
                    </a:cubicBezTo>
                    <a:cubicBezTo>
                      <a:pt x="48701" y="7163"/>
                      <a:pt x="45734" y="10130"/>
                      <a:pt x="42767" y="13097"/>
                    </a:cubicBezTo>
                    <a:lnTo>
                      <a:pt x="10130" y="33866"/>
                    </a:lnTo>
                    <a:cubicBezTo>
                      <a:pt x="7163" y="33866"/>
                      <a:pt x="7163" y="33866"/>
                      <a:pt x="7163" y="3386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9BBFDC3C-D157-467A-9039-953872224F16}"/>
                </a:ext>
              </a:extLst>
            </p:cNvPr>
            <p:cNvSpPr/>
            <p:nvPr/>
          </p:nvSpPr>
          <p:spPr>
            <a:xfrm>
              <a:off x="4135711" y="10484273"/>
              <a:ext cx="1192126" cy="1617032"/>
            </a:xfrm>
            <a:custGeom>
              <a:avLst/>
              <a:gdLst>
                <a:gd name="connsiteX0" fmla="*/ 18930 w 1192126"/>
                <a:gd name="connsiteY0" fmla="*/ 0 h 1617032"/>
                <a:gd name="connsiteX1" fmla="*/ 21897 w 1192126"/>
                <a:gd name="connsiteY1" fmla="*/ 332308 h 1617032"/>
                <a:gd name="connsiteX2" fmla="*/ 778490 w 1192126"/>
                <a:gd name="connsiteY2" fmla="*/ 664615 h 1617032"/>
                <a:gd name="connsiteX3" fmla="*/ 805193 w 1192126"/>
                <a:gd name="connsiteY3" fmla="*/ 1617033 h 1617032"/>
                <a:gd name="connsiteX4" fmla="*/ 1104864 w 1192126"/>
                <a:gd name="connsiteY4" fmla="*/ 1578462 h 1617032"/>
                <a:gd name="connsiteX5" fmla="*/ 1187941 w 1192126"/>
                <a:gd name="connsiteY5" fmla="*/ 572637 h 1617032"/>
                <a:gd name="connsiteX6" fmla="*/ 508490 w 1192126"/>
                <a:gd name="connsiteY6" fmla="*/ 59341 h 1617032"/>
                <a:gd name="connsiteX7" fmla="*/ 18930 w 1192126"/>
                <a:gd name="connsiteY7" fmla="*/ 0 h 1617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2126" h="1617032">
                  <a:moveTo>
                    <a:pt x="18930" y="0"/>
                  </a:moveTo>
                  <a:cubicBezTo>
                    <a:pt x="18930" y="0"/>
                    <a:pt x="-25576" y="222527"/>
                    <a:pt x="21897" y="332308"/>
                  </a:cubicBezTo>
                  <a:cubicBezTo>
                    <a:pt x="66402" y="442088"/>
                    <a:pt x="751787" y="611209"/>
                    <a:pt x="778490" y="664615"/>
                  </a:cubicBezTo>
                  <a:cubicBezTo>
                    <a:pt x="805193" y="718022"/>
                    <a:pt x="805193" y="1617033"/>
                    <a:pt x="805193" y="1617033"/>
                  </a:cubicBezTo>
                  <a:cubicBezTo>
                    <a:pt x="805193" y="1617033"/>
                    <a:pt x="1033655" y="1599231"/>
                    <a:pt x="1104864" y="1578462"/>
                  </a:cubicBezTo>
                  <a:cubicBezTo>
                    <a:pt x="1104864" y="1578462"/>
                    <a:pt x="1214644" y="712088"/>
                    <a:pt x="1187941" y="572637"/>
                  </a:cubicBezTo>
                  <a:cubicBezTo>
                    <a:pt x="1161237" y="433187"/>
                    <a:pt x="570798" y="74176"/>
                    <a:pt x="508490" y="59341"/>
                  </a:cubicBezTo>
                  <a:cubicBezTo>
                    <a:pt x="440248" y="44505"/>
                    <a:pt x="18930" y="0"/>
                    <a:pt x="18930" y="0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64B0075E-5E9F-4623-BE56-FD7BEB83AC8D}"/>
                </a:ext>
              </a:extLst>
            </p:cNvPr>
            <p:cNvSpPr/>
            <p:nvPr/>
          </p:nvSpPr>
          <p:spPr>
            <a:xfrm>
              <a:off x="4513651" y="10461002"/>
              <a:ext cx="1581428" cy="1524589"/>
            </a:xfrm>
            <a:custGeom>
              <a:avLst/>
              <a:gdLst>
                <a:gd name="connsiteX0" fmla="*/ 0 w 1581428"/>
                <a:gd name="connsiteY0" fmla="*/ 67776 h 1524589"/>
                <a:gd name="connsiteX1" fmla="*/ 148352 w 1581428"/>
                <a:gd name="connsiteY1" fmla="*/ 355578 h 1524589"/>
                <a:gd name="connsiteX2" fmla="*/ 904945 w 1581428"/>
                <a:gd name="connsiteY2" fmla="*/ 569204 h 1524589"/>
                <a:gd name="connsiteX3" fmla="*/ 1314396 w 1581428"/>
                <a:gd name="connsiteY3" fmla="*/ 1524589 h 1524589"/>
                <a:gd name="connsiteX4" fmla="*/ 1581429 w 1581428"/>
                <a:gd name="connsiteY4" fmla="*/ 1367336 h 1524589"/>
                <a:gd name="connsiteX5" fmla="*/ 1186813 w 1581428"/>
                <a:gd name="connsiteY5" fmla="*/ 325908 h 1524589"/>
                <a:gd name="connsiteX6" fmla="*/ 534066 w 1581428"/>
                <a:gd name="connsiteY6" fmla="*/ 2501 h 1524589"/>
                <a:gd name="connsiteX7" fmla="*/ 0 w 1581428"/>
                <a:gd name="connsiteY7" fmla="*/ 67776 h 1524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1428" h="1524589">
                  <a:moveTo>
                    <a:pt x="0" y="67776"/>
                  </a:moveTo>
                  <a:cubicBezTo>
                    <a:pt x="0" y="67776"/>
                    <a:pt x="103846" y="245798"/>
                    <a:pt x="148352" y="355578"/>
                  </a:cubicBezTo>
                  <a:cubicBezTo>
                    <a:pt x="192857" y="465358"/>
                    <a:pt x="878242" y="515798"/>
                    <a:pt x="904945" y="569204"/>
                  </a:cubicBezTo>
                  <a:cubicBezTo>
                    <a:pt x="931648" y="622611"/>
                    <a:pt x="1314396" y="1524589"/>
                    <a:pt x="1314396" y="1524589"/>
                  </a:cubicBezTo>
                  <a:cubicBezTo>
                    <a:pt x="1314396" y="1524589"/>
                    <a:pt x="1501319" y="1447446"/>
                    <a:pt x="1581429" y="1367336"/>
                  </a:cubicBezTo>
                  <a:cubicBezTo>
                    <a:pt x="1581429" y="1367336"/>
                    <a:pt x="1284725" y="527666"/>
                    <a:pt x="1186813" y="325908"/>
                  </a:cubicBezTo>
                  <a:cubicBezTo>
                    <a:pt x="1124505" y="198325"/>
                    <a:pt x="596374" y="14370"/>
                    <a:pt x="534066" y="2501"/>
                  </a:cubicBezTo>
                  <a:cubicBezTo>
                    <a:pt x="471758" y="-15301"/>
                    <a:pt x="0" y="67776"/>
                    <a:pt x="0" y="67776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47412837-DEE3-492E-8727-35926E545627}"/>
                </a:ext>
              </a:extLst>
            </p:cNvPr>
            <p:cNvSpPr/>
            <p:nvPr/>
          </p:nvSpPr>
          <p:spPr>
            <a:xfrm>
              <a:off x="4905299" y="10659327"/>
              <a:ext cx="433186" cy="456922"/>
            </a:xfrm>
            <a:custGeom>
              <a:avLst/>
              <a:gdLst>
                <a:gd name="connsiteX0" fmla="*/ 427253 w 433186"/>
                <a:gd name="connsiteY0" fmla="*/ 456923 h 456922"/>
                <a:gd name="connsiteX1" fmla="*/ 421319 w 433186"/>
                <a:gd name="connsiteY1" fmla="*/ 450989 h 456922"/>
                <a:gd name="connsiteX2" fmla="*/ 367912 w 433186"/>
                <a:gd name="connsiteY2" fmla="*/ 326374 h 456922"/>
                <a:gd name="connsiteX3" fmla="*/ 2967 w 433186"/>
                <a:gd name="connsiteY3" fmla="*/ 11868 h 456922"/>
                <a:gd name="connsiteX4" fmla="*/ 0 w 433186"/>
                <a:gd name="connsiteY4" fmla="*/ 2967 h 456922"/>
                <a:gd name="connsiteX5" fmla="*/ 8901 w 433186"/>
                <a:gd name="connsiteY5" fmla="*/ 0 h 456922"/>
                <a:gd name="connsiteX6" fmla="*/ 376813 w 433186"/>
                <a:gd name="connsiteY6" fmla="*/ 317473 h 456922"/>
                <a:gd name="connsiteX7" fmla="*/ 433187 w 433186"/>
                <a:gd name="connsiteY7" fmla="*/ 445055 h 456922"/>
                <a:gd name="connsiteX8" fmla="*/ 427253 w 433186"/>
                <a:gd name="connsiteY8" fmla="*/ 456923 h 456922"/>
                <a:gd name="connsiteX9" fmla="*/ 427253 w 433186"/>
                <a:gd name="connsiteY9" fmla="*/ 456923 h 456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3186" h="456922">
                  <a:moveTo>
                    <a:pt x="427253" y="456923"/>
                  </a:moveTo>
                  <a:cubicBezTo>
                    <a:pt x="424286" y="456923"/>
                    <a:pt x="421319" y="453957"/>
                    <a:pt x="421319" y="450989"/>
                  </a:cubicBezTo>
                  <a:cubicBezTo>
                    <a:pt x="412418" y="406484"/>
                    <a:pt x="391648" y="356044"/>
                    <a:pt x="367912" y="326374"/>
                  </a:cubicBezTo>
                  <a:cubicBezTo>
                    <a:pt x="364945" y="323406"/>
                    <a:pt x="201758" y="124616"/>
                    <a:pt x="2967" y="11868"/>
                  </a:cubicBezTo>
                  <a:cubicBezTo>
                    <a:pt x="0" y="8902"/>
                    <a:pt x="0" y="5934"/>
                    <a:pt x="0" y="2967"/>
                  </a:cubicBezTo>
                  <a:cubicBezTo>
                    <a:pt x="2967" y="0"/>
                    <a:pt x="5934" y="0"/>
                    <a:pt x="8901" y="0"/>
                  </a:cubicBezTo>
                  <a:cubicBezTo>
                    <a:pt x="210659" y="112748"/>
                    <a:pt x="376813" y="314506"/>
                    <a:pt x="376813" y="317473"/>
                  </a:cubicBezTo>
                  <a:cubicBezTo>
                    <a:pt x="400549" y="347143"/>
                    <a:pt x="424286" y="400549"/>
                    <a:pt x="433187" y="445055"/>
                  </a:cubicBezTo>
                  <a:cubicBezTo>
                    <a:pt x="433187" y="453957"/>
                    <a:pt x="430220" y="456923"/>
                    <a:pt x="427253" y="456923"/>
                  </a:cubicBezTo>
                  <a:cubicBezTo>
                    <a:pt x="427253" y="456923"/>
                    <a:pt x="427253" y="456923"/>
                    <a:pt x="427253" y="456923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0EB52901-E6F1-449E-8C49-37BB1F82D6D0}"/>
                </a:ext>
              </a:extLst>
            </p:cNvPr>
            <p:cNvSpPr/>
            <p:nvPr/>
          </p:nvSpPr>
          <p:spPr>
            <a:xfrm>
              <a:off x="4240684" y="9068998"/>
              <a:ext cx="252197" cy="232444"/>
            </a:xfrm>
            <a:custGeom>
              <a:avLst/>
              <a:gdLst>
                <a:gd name="connsiteX0" fmla="*/ 231429 w 252197"/>
                <a:gd name="connsiteY0" fmla="*/ 2967 h 232444"/>
                <a:gd name="connsiteX1" fmla="*/ 252198 w 252197"/>
                <a:gd name="connsiteY1" fmla="*/ 172088 h 232444"/>
                <a:gd name="connsiteX2" fmla="*/ 14835 w 252197"/>
                <a:gd name="connsiteY2" fmla="*/ 198791 h 232444"/>
                <a:gd name="connsiteX3" fmla="*/ 0 w 252197"/>
                <a:gd name="connsiteY3" fmla="*/ 0 h 232444"/>
                <a:gd name="connsiteX4" fmla="*/ 231429 w 252197"/>
                <a:gd name="connsiteY4" fmla="*/ 2967 h 232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197" h="232444">
                  <a:moveTo>
                    <a:pt x="231429" y="2967"/>
                  </a:moveTo>
                  <a:cubicBezTo>
                    <a:pt x="231429" y="2967"/>
                    <a:pt x="240330" y="100879"/>
                    <a:pt x="252198" y="172088"/>
                  </a:cubicBezTo>
                  <a:cubicBezTo>
                    <a:pt x="252198" y="172088"/>
                    <a:pt x="178022" y="287802"/>
                    <a:pt x="14835" y="198791"/>
                  </a:cubicBezTo>
                  <a:cubicBezTo>
                    <a:pt x="5934" y="139450"/>
                    <a:pt x="5934" y="62307"/>
                    <a:pt x="0" y="0"/>
                  </a:cubicBezTo>
                  <a:cubicBezTo>
                    <a:pt x="0" y="0"/>
                    <a:pt x="183956" y="20769"/>
                    <a:pt x="231429" y="2967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4B74BBA9-386B-48D6-88FD-014813F27536}"/>
                </a:ext>
              </a:extLst>
            </p:cNvPr>
            <p:cNvSpPr/>
            <p:nvPr/>
          </p:nvSpPr>
          <p:spPr>
            <a:xfrm>
              <a:off x="3968057" y="9208448"/>
              <a:ext cx="1153859" cy="1501914"/>
            </a:xfrm>
            <a:custGeom>
              <a:avLst/>
              <a:gdLst>
                <a:gd name="connsiteX0" fmla="*/ 284495 w 1153859"/>
                <a:gd name="connsiteY0" fmla="*/ 23736 h 1501914"/>
                <a:gd name="connsiteX1" fmla="*/ 521858 w 1153859"/>
                <a:gd name="connsiteY1" fmla="*/ 0 h 1501914"/>
                <a:gd name="connsiteX2" fmla="*/ 851199 w 1153859"/>
                <a:gd name="connsiteY2" fmla="*/ 59341 h 1501914"/>
                <a:gd name="connsiteX3" fmla="*/ 1153836 w 1153859"/>
                <a:gd name="connsiteY3" fmla="*/ 1249121 h 1501914"/>
                <a:gd name="connsiteX4" fmla="*/ 82737 w 1153859"/>
                <a:gd name="connsiteY4" fmla="*/ 1501319 h 1501914"/>
                <a:gd name="connsiteX5" fmla="*/ 11528 w 1153859"/>
                <a:gd name="connsiteY5" fmla="*/ 163187 h 1501914"/>
                <a:gd name="connsiteX6" fmla="*/ 284495 w 1153859"/>
                <a:gd name="connsiteY6" fmla="*/ 23736 h 1501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3859" h="1501914">
                  <a:moveTo>
                    <a:pt x="284495" y="23736"/>
                  </a:moveTo>
                  <a:cubicBezTo>
                    <a:pt x="284495" y="23736"/>
                    <a:pt x="423946" y="100879"/>
                    <a:pt x="521858" y="0"/>
                  </a:cubicBezTo>
                  <a:cubicBezTo>
                    <a:pt x="521858" y="0"/>
                    <a:pt x="824495" y="32638"/>
                    <a:pt x="851199" y="59341"/>
                  </a:cubicBezTo>
                  <a:cubicBezTo>
                    <a:pt x="880869" y="86044"/>
                    <a:pt x="1156803" y="1183846"/>
                    <a:pt x="1153836" y="1249121"/>
                  </a:cubicBezTo>
                  <a:cubicBezTo>
                    <a:pt x="1153836" y="1249121"/>
                    <a:pt x="652408" y="1516154"/>
                    <a:pt x="82737" y="1501319"/>
                  </a:cubicBezTo>
                  <a:cubicBezTo>
                    <a:pt x="29331" y="1160110"/>
                    <a:pt x="-24076" y="198792"/>
                    <a:pt x="11528" y="163187"/>
                  </a:cubicBezTo>
                  <a:cubicBezTo>
                    <a:pt x="47133" y="124616"/>
                    <a:pt x="284495" y="23736"/>
                    <a:pt x="284495" y="23736"/>
                  </a:cubicBezTo>
                  <a:close/>
                </a:path>
              </a:pathLst>
            </a:custGeom>
            <a:solidFill>
              <a:srgbClr val="7F95BC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5752E42B-D34B-4C1C-B038-019F8BD5E5FD}"/>
                </a:ext>
              </a:extLst>
            </p:cNvPr>
            <p:cNvSpPr/>
            <p:nvPr/>
          </p:nvSpPr>
          <p:spPr>
            <a:xfrm>
              <a:off x="4639544" y="9248040"/>
              <a:ext cx="577294" cy="473704"/>
            </a:xfrm>
            <a:custGeom>
              <a:avLst/>
              <a:gdLst>
                <a:gd name="connsiteX0" fmla="*/ 420041 w 577294"/>
                <a:gd name="connsiteY0" fmla="*/ 473704 h 473704"/>
                <a:gd name="connsiteX1" fmla="*/ 1690 w 577294"/>
                <a:gd name="connsiteY1" fmla="*/ 64254 h 473704"/>
                <a:gd name="connsiteX2" fmla="*/ 577294 w 577294"/>
                <a:gd name="connsiteY2" fmla="*/ 93925 h 473704"/>
                <a:gd name="connsiteX3" fmla="*/ 420041 w 577294"/>
                <a:gd name="connsiteY3" fmla="*/ 473704 h 473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7294" h="473704">
                  <a:moveTo>
                    <a:pt x="420041" y="473704"/>
                  </a:moveTo>
                  <a:cubicBezTo>
                    <a:pt x="420041" y="473704"/>
                    <a:pt x="-30948" y="206671"/>
                    <a:pt x="1690" y="64254"/>
                  </a:cubicBezTo>
                  <a:cubicBezTo>
                    <a:pt x="40261" y="-95965"/>
                    <a:pt x="577294" y="93925"/>
                    <a:pt x="577294" y="93925"/>
                  </a:cubicBezTo>
                  <a:cubicBezTo>
                    <a:pt x="577294" y="93925"/>
                    <a:pt x="556525" y="316452"/>
                    <a:pt x="420041" y="473704"/>
                  </a:cubicBezTo>
                  <a:close/>
                </a:path>
              </a:pathLst>
            </a:custGeom>
            <a:solidFill>
              <a:srgbClr val="7F95BC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6A134A6C-20FA-49DA-BCC1-A10892A9BDA1}"/>
                </a:ext>
              </a:extLst>
            </p:cNvPr>
            <p:cNvSpPr/>
            <p:nvPr/>
          </p:nvSpPr>
          <p:spPr>
            <a:xfrm>
              <a:off x="4813321" y="9264822"/>
              <a:ext cx="131778" cy="522197"/>
            </a:xfrm>
            <a:custGeom>
              <a:avLst/>
              <a:gdLst>
                <a:gd name="connsiteX0" fmla="*/ 127582 w 131778"/>
                <a:gd name="connsiteY0" fmla="*/ 522198 h 522197"/>
                <a:gd name="connsiteX1" fmla="*/ 121648 w 131778"/>
                <a:gd name="connsiteY1" fmla="*/ 519231 h 522197"/>
                <a:gd name="connsiteX2" fmla="*/ 0 w 131778"/>
                <a:gd name="connsiteY2" fmla="*/ 5934 h 522197"/>
                <a:gd name="connsiteX3" fmla="*/ 2967 w 131778"/>
                <a:gd name="connsiteY3" fmla="*/ 0 h 522197"/>
                <a:gd name="connsiteX4" fmla="*/ 8901 w 131778"/>
                <a:gd name="connsiteY4" fmla="*/ 2967 h 522197"/>
                <a:gd name="connsiteX5" fmla="*/ 130550 w 131778"/>
                <a:gd name="connsiteY5" fmla="*/ 516264 h 522197"/>
                <a:gd name="connsiteX6" fmla="*/ 127582 w 131778"/>
                <a:gd name="connsiteY6" fmla="*/ 522198 h 522197"/>
                <a:gd name="connsiteX7" fmla="*/ 127582 w 131778"/>
                <a:gd name="connsiteY7" fmla="*/ 522198 h 522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1778" h="522197">
                  <a:moveTo>
                    <a:pt x="127582" y="522198"/>
                  </a:moveTo>
                  <a:cubicBezTo>
                    <a:pt x="124615" y="522198"/>
                    <a:pt x="121648" y="519231"/>
                    <a:pt x="121648" y="519231"/>
                  </a:cubicBezTo>
                  <a:cubicBezTo>
                    <a:pt x="121648" y="513297"/>
                    <a:pt x="14835" y="41538"/>
                    <a:pt x="0" y="5934"/>
                  </a:cubicBezTo>
                  <a:cubicBezTo>
                    <a:pt x="0" y="2967"/>
                    <a:pt x="0" y="0"/>
                    <a:pt x="2967" y="0"/>
                  </a:cubicBezTo>
                  <a:cubicBezTo>
                    <a:pt x="5934" y="0"/>
                    <a:pt x="8901" y="0"/>
                    <a:pt x="8901" y="2967"/>
                  </a:cubicBezTo>
                  <a:cubicBezTo>
                    <a:pt x="23736" y="41538"/>
                    <a:pt x="127582" y="498462"/>
                    <a:pt x="130550" y="516264"/>
                  </a:cubicBezTo>
                  <a:cubicBezTo>
                    <a:pt x="133516" y="519231"/>
                    <a:pt x="130550" y="522198"/>
                    <a:pt x="127582" y="522198"/>
                  </a:cubicBezTo>
                  <a:cubicBezTo>
                    <a:pt x="127582" y="522198"/>
                    <a:pt x="127582" y="522198"/>
                    <a:pt x="127582" y="522198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CDD73B16-1B72-4F9A-9DC2-EB2D3ABC7B8C}"/>
                </a:ext>
              </a:extLst>
            </p:cNvPr>
            <p:cNvSpPr/>
            <p:nvPr/>
          </p:nvSpPr>
          <p:spPr>
            <a:xfrm>
              <a:off x="4148706" y="8947349"/>
              <a:ext cx="68241" cy="133516"/>
            </a:xfrm>
            <a:custGeom>
              <a:avLst/>
              <a:gdLst>
                <a:gd name="connsiteX0" fmla="*/ 0 w 68241"/>
                <a:gd name="connsiteY0" fmla="*/ 0 h 133516"/>
                <a:gd name="connsiteX1" fmla="*/ 68242 w 68241"/>
                <a:gd name="connsiteY1" fmla="*/ 133516 h 133516"/>
                <a:gd name="connsiteX2" fmla="*/ 68242 w 68241"/>
                <a:gd name="connsiteY2" fmla="*/ 50439 h 133516"/>
                <a:gd name="connsiteX3" fmla="*/ 0 w 68241"/>
                <a:gd name="connsiteY3" fmla="*/ 0 h 13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241" h="133516">
                  <a:moveTo>
                    <a:pt x="0" y="0"/>
                  </a:moveTo>
                  <a:cubicBezTo>
                    <a:pt x="0" y="0"/>
                    <a:pt x="17802" y="115715"/>
                    <a:pt x="68242" y="133516"/>
                  </a:cubicBezTo>
                  <a:lnTo>
                    <a:pt x="68242" y="504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EB746E38-E559-4C3F-AC8A-2223687F9D0F}"/>
                </a:ext>
              </a:extLst>
            </p:cNvPr>
            <p:cNvSpPr/>
            <p:nvPr/>
          </p:nvSpPr>
          <p:spPr>
            <a:xfrm>
              <a:off x="4486948" y="8730756"/>
              <a:ext cx="105374" cy="234909"/>
            </a:xfrm>
            <a:custGeom>
              <a:avLst/>
              <a:gdLst>
                <a:gd name="connsiteX0" fmla="*/ 94945 w 105374"/>
                <a:gd name="connsiteY0" fmla="*/ 0 h 234909"/>
                <a:gd name="connsiteX1" fmla="*/ 62308 w 105374"/>
                <a:gd name="connsiteY1" fmla="*/ 231429 h 234909"/>
                <a:gd name="connsiteX2" fmla="*/ 0 w 105374"/>
                <a:gd name="connsiteY2" fmla="*/ 17802 h 234909"/>
                <a:gd name="connsiteX3" fmla="*/ 94945 w 105374"/>
                <a:gd name="connsiteY3" fmla="*/ 0 h 23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374" h="234909">
                  <a:moveTo>
                    <a:pt x="94945" y="0"/>
                  </a:moveTo>
                  <a:cubicBezTo>
                    <a:pt x="94945" y="0"/>
                    <a:pt x="133516" y="189890"/>
                    <a:pt x="62308" y="231429"/>
                  </a:cubicBezTo>
                  <a:cubicBezTo>
                    <a:pt x="2967" y="267033"/>
                    <a:pt x="0" y="17802"/>
                    <a:pt x="0" y="17802"/>
                  </a:cubicBezTo>
                  <a:lnTo>
                    <a:pt x="94945" y="0"/>
                  </a:ln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E1128115-D791-4078-9C80-5E0AE3008B69}"/>
                </a:ext>
              </a:extLst>
            </p:cNvPr>
            <p:cNvSpPr/>
            <p:nvPr/>
          </p:nvSpPr>
          <p:spPr>
            <a:xfrm>
              <a:off x="4145510" y="8607140"/>
              <a:ext cx="415367" cy="552181"/>
            </a:xfrm>
            <a:custGeom>
              <a:avLst/>
              <a:gdLst>
                <a:gd name="connsiteX0" fmla="*/ 397811 w 415367"/>
                <a:gd name="connsiteY0" fmla="*/ 168121 h 552181"/>
                <a:gd name="connsiteX1" fmla="*/ 409679 w 415367"/>
                <a:gd name="connsiteY1" fmla="*/ 411418 h 552181"/>
                <a:gd name="connsiteX2" fmla="*/ 261328 w 415367"/>
                <a:gd name="connsiteY2" fmla="*/ 550869 h 552181"/>
                <a:gd name="connsiteX3" fmla="*/ 44734 w 415367"/>
                <a:gd name="connsiteY3" fmla="*/ 420319 h 552181"/>
                <a:gd name="connsiteX4" fmla="*/ 229 w 415367"/>
                <a:gd name="connsiteY4" fmla="*/ 203726 h 552181"/>
                <a:gd name="connsiteX5" fmla="*/ 199020 w 415367"/>
                <a:gd name="connsiteY5" fmla="*/ 1968 h 552181"/>
                <a:gd name="connsiteX6" fmla="*/ 397811 w 415367"/>
                <a:gd name="connsiteY6" fmla="*/ 168121 h 552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5367" h="552181">
                  <a:moveTo>
                    <a:pt x="397811" y="168121"/>
                  </a:moveTo>
                  <a:cubicBezTo>
                    <a:pt x="397811" y="168121"/>
                    <a:pt x="427482" y="340209"/>
                    <a:pt x="409679" y="411418"/>
                  </a:cubicBezTo>
                  <a:cubicBezTo>
                    <a:pt x="394844" y="476693"/>
                    <a:pt x="308800" y="544935"/>
                    <a:pt x="261328" y="550869"/>
                  </a:cubicBezTo>
                  <a:cubicBezTo>
                    <a:pt x="196053" y="559770"/>
                    <a:pt x="80339" y="524165"/>
                    <a:pt x="44734" y="420319"/>
                  </a:cubicBezTo>
                  <a:cubicBezTo>
                    <a:pt x="20998" y="349111"/>
                    <a:pt x="229" y="251198"/>
                    <a:pt x="229" y="203726"/>
                  </a:cubicBezTo>
                  <a:cubicBezTo>
                    <a:pt x="-2738" y="111748"/>
                    <a:pt x="20998" y="34605"/>
                    <a:pt x="199020" y="1968"/>
                  </a:cubicBezTo>
                  <a:cubicBezTo>
                    <a:pt x="279130" y="-15835"/>
                    <a:pt x="377042" y="90979"/>
                    <a:pt x="397811" y="168121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99863714-A4FC-4D0A-9509-505403260829}"/>
                </a:ext>
              </a:extLst>
            </p:cNvPr>
            <p:cNvSpPr/>
            <p:nvPr/>
          </p:nvSpPr>
          <p:spPr>
            <a:xfrm>
              <a:off x="4371233" y="8864272"/>
              <a:ext cx="53406" cy="130549"/>
            </a:xfrm>
            <a:custGeom>
              <a:avLst/>
              <a:gdLst>
                <a:gd name="connsiteX0" fmla="*/ 23736 w 53406"/>
                <a:gd name="connsiteY0" fmla="*/ 130550 h 130549"/>
                <a:gd name="connsiteX1" fmla="*/ 5934 w 53406"/>
                <a:gd name="connsiteY1" fmla="*/ 130550 h 130549"/>
                <a:gd name="connsiteX2" fmla="*/ 0 w 53406"/>
                <a:gd name="connsiteY2" fmla="*/ 124616 h 130549"/>
                <a:gd name="connsiteX3" fmla="*/ 5934 w 53406"/>
                <a:gd name="connsiteY3" fmla="*/ 118681 h 130549"/>
                <a:gd name="connsiteX4" fmla="*/ 44505 w 53406"/>
                <a:gd name="connsiteY4" fmla="*/ 115715 h 130549"/>
                <a:gd name="connsiteX5" fmla="*/ 44505 w 53406"/>
                <a:gd name="connsiteY5" fmla="*/ 112747 h 130549"/>
                <a:gd name="connsiteX6" fmla="*/ 23736 w 53406"/>
                <a:gd name="connsiteY6" fmla="*/ 5934 h 130549"/>
                <a:gd name="connsiteX7" fmla="*/ 26703 w 53406"/>
                <a:gd name="connsiteY7" fmla="*/ 0 h 130549"/>
                <a:gd name="connsiteX8" fmla="*/ 32637 w 53406"/>
                <a:gd name="connsiteY8" fmla="*/ 2967 h 130549"/>
                <a:gd name="connsiteX9" fmla="*/ 53407 w 53406"/>
                <a:gd name="connsiteY9" fmla="*/ 112747 h 130549"/>
                <a:gd name="connsiteX10" fmla="*/ 47472 w 53406"/>
                <a:gd name="connsiteY10" fmla="*/ 124616 h 130549"/>
                <a:gd name="connsiteX11" fmla="*/ 23736 w 53406"/>
                <a:gd name="connsiteY11" fmla="*/ 130550 h 130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406" h="130549">
                  <a:moveTo>
                    <a:pt x="23736" y="130550"/>
                  </a:moveTo>
                  <a:cubicBezTo>
                    <a:pt x="14835" y="130550"/>
                    <a:pt x="8901" y="130550"/>
                    <a:pt x="5934" y="130550"/>
                  </a:cubicBezTo>
                  <a:cubicBezTo>
                    <a:pt x="2967" y="130550"/>
                    <a:pt x="0" y="127583"/>
                    <a:pt x="0" y="124616"/>
                  </a:cubicBezTo>
                  <a:cubicBezTo>
                    <a:pt x="0" y="121649"/>
                    <a:pt x="2967" y="118681"/>
                    <a:pt x="5934" y="118681"/>
                  </a:cubicBezTo>
                  <a:cubicBezTo>
                    <a:pt x="17802" y="121649"/>
                    <a:pt x="38571" y="121649"/>
                    <a:pt x="44505" y="115715"/>
                  </a:cubicBezTo>
                  <a:cubicBezTo>
                    <a:pt x="44505" y="115715"/>
                    <a:pt x="44505" y="112747"/>
                    <a:pt x="44505" y="112747"/>
                  </a:cubicBezTo>
                  <a:cubicBezTo>
                    <a:pt x="44505" y="94945"/>
                    <a:pt x="23736" y="5934"/>
                    <a:pt x="23736" y="5934"/>
                  </a:cubicBezTo>
                  <a:cubicBezTo>
                    <a:pt x="23736" y="2967"/>
                    <a:pt x="23736" y="0"/>
                    <a:pt x="26703" y="0"/>
                  </a:cubicBezTo>
                  <a:cubicBezTo>
                    <a:pt x="29670" y="0"/>
                    <a:pt x="32637" y="0"/>
                    <a:pt x="32637" y="2967"/>
                  </a:cubicBezTo>
                  <a:cubicBezTo>
                    <a:pt x="32637" y="5934"/>
                    <a:pt x="53407" y="91978"/>
                    <a:pt x="53407" y="112747"/>
                  </a:cubicBezTo>
                  <a:cubicBezTo>
                    <a:pt x="53407" y="118681"/>
                    <a:pt x="53407" y="121649"/>
                    <a:pt x="47472" y="124616"/>
                  </a:cubicBezTo>
                  <a:cubicBezTo>
                    <a:pt x="47472" y="127583"/>
                    <a:pt x="35604" y="130550"/>
                    <a:pt x="23736" y="130550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D82E934A-6223-4E3F-AC6D-4B70DAA49525}"/>
                </a:ext>
              </a:extLst>
            </p:cNvPr>
            <p:cNvSpPr/>
            <p:nvPr/>
          </p:nvSpPr>
          <p:spPr>
            <a:xfrm>
              <a:off x="4453554" y="8834020"/>
              <a:ext cx="39909" cy="39735"/>
            </a:xfrm>
            <a:custGeom>
              <a:avLst/>
              <a:gdLst>
                <a:gd name="connsiteX0" fmla="*/ 756 w 39909"/>
                <a:gd name="connsiteY0" fmla="*/ 24318 h 39735"/>
                <a:gd name="connsiteX1" fmla="*/ 24492 w 39909"/>
                <a:gd name="connsiteY1" fmla="*/ 39153 h 39735"/>
                <a:gd name="connsiteX2" fmla="*/ 39327 w 39909"/>
                <a:gd name="connsiteY2" fmla="*/ 15417 h 39735"/>
                <a:gd name="connsiteX3" fmla="*/ 15591 w 39909"/>
                <a:gd name="connsiteY3" fmla="*/ 582 h 39735"/>
                <a:gd name="connsiteX4" fmla="*/ 756 w 39909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39735">
                  <a:moveTo>
                    <a:pt x="756" y="24318"/>
                  </a:moveTo>
                  <a:cubicBezTo>
                    <a:pt x="3723" y="33219"/>
                    <a:pt x="12624" y="42121"/>
                    <a:pt x="24492" y="39153"/>
                  </a:cubicBezTo>
                  <a:cubicBezTo>
                    <a:pt x="33394" y="36187"/>
                    <a:pt x="42295" y="27285"/>
                    <a:pt x="39327" y="15417"/>
                  </a:cubicBezTo>
                  <a:cubicBezTo>
                    <a:pt x="36361" y="6516"/>
                    <a:pt x="27459" y="-2385"/>
                    <a:pt x="15591" y="582"/>
                  </a:cubicBezTo>
                  <a:cubicBezTo>
                    <a:pt x="3723" y="3549"/>
                    <a:pt x="-2211" y="15417"/>
                    <a:pt x="756" y="24318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49D2AD04-C87D-49BD-A9F7-AD149C536DE1}"/>
                </a:ext>
              </a:extLst>
            </p:cNvPr>
            <p:cNvSpPr/>
            <p:nvPr/>
          </p:nvSpPr>
          <p:spPr>
            <a:xfrm>
              <a:off x="4275532" y="8860724"/>
              <a:ext cx="39909" cy="39735"/>
            </a:xfrm>
            <a:custGeom>
              <a:avLst/>
              <a:gdLst>
                <a:gd name="connsiteX0" fmla="*/ 756 w 39909"/>
                <a:gd name="connsiteY0" fmla="*/ 24318 h 39735"/>
                <a:gd name="connsiteX1" fmla="*/ 24492 w 39909"/>
                <a:gd name="connsiteY1" fmla="*/ 39154 h 39735"/>
                <a:gd name="connsiteX2" fmla="*/ 39327 w 39909"/>
                <a:gd name="connsiteY2" fmla="*/ 15417 h 39735"/>
                <a:gd name="connsiteX3" fmla="*/ 15591 w 39909"/>
                <a:gd name="connsiteY3" fmla="*/ 582 h 39735"/>
                <a:gd name="connsiteX4" fmla="*/ 756 w 39909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39735">
                  <a:moveTo>
                    <a:pt x="756" y="24318"/>
                  </a:moveTo>
                  <a:cubicBezTo>
                    <a:pt x="3723" y="33219"/>
                    <a:pt x="12624" y="42120"/>
                    <a:pt x="24492" y="39154"/>
                  </a:cubicBezTo>
                  <a:cubicBezTo>
                    <a:pt x="33394" y="36186"/>
                    <a:pt x="42295" y="27285"/>
                    <a:pt x="39327" y="15417"/>
                  </a:cubicBezTo>
                  <a:cubicBezTo>
                    <a:pt x="36361" y="6516"/>
                    <a:pt x="27459" y="-2385"/>
                    <a:pt x="15591" y="582"/>
                  </a:cubicBezTo>
                  <a:cubicBezTo>
                    <a:pt x="3723" y="3549"/>
                    <a:pt x="-2211" y="12450"/>
                    <a:pt x="756" y="24318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57027140-81C7-4FE3-8D8C-E98337B3FB0F}"/>
                </a:ext>
              </a:extLst>
            </p:cNvPr>
            <p:cNvSpPr/>
            <p:nvPr/>
          </p:nvSpPr>
          <p:spPr>
            <a:xfrm>
              <a:off x="4423411" y="8785556"/>
              <a:ext cx="89498" cy="31243"/>
            </a:xfrm>
            <a:custGeom>
              <a:avLst/>
              <a:gdLst>
                <a:gd name="connsiteX0" fmla="*/ 84306 w 89498"/>
                <a:gd name="connsiteY0" fmla="*/ 31244 h 31243"/>
                <a:gd name="connsiteX1" fmla="*/ 78372 w 89498"/>
                <a:gd name="connsiteY1" fmla="*/ 28277 h 31243"/>
                <a:gd name="connsiteX2" fmla="*/ 13097 w 89498"/>
                <a:gd name="connsiteY2" fmla="*/ 25310 h 31243"/>
                <a:gd name="connsiteX3" fmla="*/ 1229 w 89498"/>
                <a:gd name="connsiteY3" fmla="*/ 22343 h 31243"/>
                <a:gd name="connsiteX4" fmla="*/ 4196 w 89498"/>
                <a:gd name="connsiteY4" fmla="*/ 10475 h 31243"/>
                <a:gd name="connsiteX5" fmla="*/ 87273 w 89498"/>
                <a:gd name="connsiteY5" fmla="*/ 16409 h 31243"/>
                <a:gd name="connsiteX6" fmla="*/ 87273 w 89498"/>
                <a:gd name="connsiteY6" fmla="*/ 28277 h 31243"/>
                <a:gd name="connsiteX7" fmla="*/ 84306 w 89498"/>
                <a:gd name="connsiteY7" fmla="*/ 31244 h 31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1243">
                  <a:moveTo>
                    <a:pt x="84306" y="31244"/>
                  </a:moveTo>
                  <a:cubicBezTo>
                    <a:pt x="81339" y="31244"/>
                    <a:pt x="81339" y="31244"/>
                    <a:pt x="78372" y="28277"/>
                  </a:cubicBezTo>
                  <a:cubicBezTo>
                    <a:pt x="51669" y="1574"/>
                    <a:pt x="16064" y="22343"/>
                    <a:pt x="13097" y="25310"/>
                  </a:cubicBezTo>
                  <a:cubicBezTo>
                    <a:pt x="10130" y="28277"/>
                    <a:pt x="4196" y="25310"/>
                    <a:pt x="1229" y="22343"/>
                  </a:cubicBezTo>
                  <a:cubicBezTo>
                    <a:pt x="-1738" y="19375"/>
                    <a:pt x="1229" y="13441"/>
                    <a:pt x="4196" y="10475"/>
                  </a:cubicBezTo>
                  <a:cubicBezTo>
                    <a:pt x="21998" y="1574"/>
                    <a:pt x="60570" y="-10295"/>
                    <a:pt x="87273" y="16409"/>
                  </a:cubicBezTo>
                  <a:cubicBezTo>
                    <a:pt x="90240" y="19375"/>
                    <a:pt x="90240" y="25310"/>
                    <a:pt x="87273" y="28277"/>
                  </a:cubicBezTo>
                  <a:cubicBezTo>
                    <a:pt x="87273" y="31244"/>
                    <a:pt x="87273" y="31244"/>
                    <a:pt x="84306" y="31244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6138B57E-8277-4E82-99B9-ACFA7C26C2AF}"/>
                </a:ext>
              </a:extLst>
            </p:cNvPr>
            <p:cNvSpPr/>
            <p:nvPr/>
          </p:nvSpPr>
          <p:spPr>
            <a:xfrm>
              <a:off x="4241426" y="8794160"/>
              <a:ext cx="89498" cy="37475"/>
            </a:xfrm>
            <a:custGeom>
              <a:avLst/>
              <a:gdLst>
                <a:gd name="connsiteX0" fmla="*/ 8159 w 89498"/>
                <a:gd name="connsiteY0" fmla="*/ 37476 h 37475"/>
                <a:gd name="connsiteX1" fmla="*/ 2225 w 89498"/>
                <a:gd name="connsiteY1" fmla="*/ 34508 h 37475"/>
                <a:gd name="connsiteX2" fmla="*/ 2225 w 89498"/>
                <a:gd name="connsiteY2" fmla="*/ 22640 h 37475"/>
                <a:gd name="connsiteX3" fmla="*/ 85302 w 89498"/>
                <a:gd name="connsiteY3" fmla="*/ 10772 h 37475"/>
                <a:gd name="connsiteX4" fmla="*/ 88269 w 89498"/>
                <a:gd name="connsiteY4" fmla="*/ 22640 h 37475"/>
                <a:gd name="connsiteX5" fmla="*/ 76401 w 89498"/>
                <a:gd name="connsiteY5" fmla="*/ 25607 h 37475"/>
                <a:gd name="connsiteX6" fmla="*/ 11126 w 89498"/>
                <a:gd name="connsiteY6" fmla="*/ 34508 h 37475"/>
                <a:gd name="connsiteX7" fmla="*/ 8159 w 89498"/>
                <a:gd name="connsiteY7" fmla="*/ 37476 h 37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7475">
                  <a:moveTo>
                    <a:pt x="8159" y="37476"/>
                  </a:moveTo>
                  <a:cubicBezTo>
                    <a:pt x="5192" y="37476"/>
                    <a:pt x="5192" y="37476"/>
                    <a:pt x="2225" y="34508"/>
                  </a:cubicBezTo>
                  <a:cubicBezTo>
                    <a:pt x="-742" y="31542"/>
                    <a:pt x="-742" y="25607"/>
                    <a:pt x="2225" y="22640"/>
                  </a:cubicBezTo>
                  <a:cubicBezTo>
                    <a:pt x="14093" y="7805"/>
                    <a:pt x="46731" y="-12964"/>
                    <a:pt x="85302" y="10772"/>
                  </a:cubicBezTo>
                  <a:cubicBezTo>
                    <a:pt x="88269" y="13739"/>
                    <a:pt x="91236" y="16706"/>
                    <a:pt x="88269" y="22640"/>
                  </a:cubicBezTo>
                  <a:cubicBezTo>
                    <a:pt x="85302" y="25607"/>
                    <a:pt x="82335" y="28574"/>
                    <a:pt x="76401" y="25607"/>
                  </a:cubicBezTo>
                  <a:cubicBezTo>
                    <a:pt x="40797" y="4838"/>
                    <a:pt x="14093" y="34508"/>
                    <a:pt x="11126" y="34508"/>
                  </a:cubicBezTo>
                  <a:cubicBezTo>
                    <a:pt x="11126" y="37476"/>
                    <a:pt x="11126" y="37476"/>
                    <a:pt x="8159" y="37476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19E1FCE0-2FD7-425F-9AF1-9C73D763B768}"/>
                </a:ext>
              </a:extLst>
            </p:cNvPr>
            <p:cNvSpPr/>
            <p:nvPr/>
          </p:nvSpPr>
          <p:spPr>
            <a:xfrm>
              <a:off x="4246618" y="9107569"/>
              <a:ext cx="224752" cy="56373"/>
            </a:xfrm>
            <a:custGeom>
              <a:avLst/>
              <a:gdLst>
                <a:gd name="connsiteX0" fmla="*/ 142418 w 224752"/>
                <a:gd name="connsiteY0" fmla="*/ 56373 h 56373"/>
                <a:gd name="connsiteX1" fmla="*/ 2967 w 224752"/>
                <a:gd name="connsiteY1" fmla="*/ 11868 h 56373"/>
                <a:gd name="connsiteX2" fmla="*/ 0 w 224752"/>
                <a:gd name="connsiteY2" fmla="*/ 2967 h 56373"/>
                <a:gd name="connsiteX3" fmla="*/ 8901 w 224752"/>
                <a:gd name="connsiteY3" fmla="*/ 0 h 56373"/>
                <a:gd name="connsiteX4" fmla="*/ 142418 w 224752"/>
                <a:gd name="connsiteY4" fmla="*/ 44505 h 56373"/>
                <a:gd name="connsiteX5" fmla="*/ 145385 w 224752"/>
                <a:gd name="connsiteY5" fmla="*/ 44505 h 56373"/>
                <a:gd name="connsiteX6" fmla="*/ 213626 w 224752"/>
                <a:gd name="connsiteY6" fmla="*/ 17802 h 56373"/>
                <a:gd name="connsiteX7" fmla="*/ 222527 w 224752"/>
                <a:gd name="connsiteY7" fmla="*/ 17802 h 56373"/>
                <a:gd name="connsiteX8" fmla="*/ 222527 w 224752"/>
                <a:gd name="connsiteY8" fmla="*/ 26703 h 56373"/>
                <a:gd name="connsiteX9" fmla="*/ 148352 w 224752"/>
                <a:gd name="connsiteY9" fmla="*/ 56373 h 56373"/>
                <a:gd name="connsiteX10" fmla="*/ 142418 w 224752"/>
                <a:gd name="connsiteY10" fmla="*/ 56373 h 56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752" h="56373">
                  <a:moveTo>
                    <a:pt x="142418" y="56373"/>
                  </a:moveTo>
                  <a:cubicBezTo>
                    <a:pt x="91978" y="56373"/>
                    <a:pt x="5934" y="11868"/>
                    <a:pt x="2967" y="11868"/>
                  </a:cubicBezTo>
                  <a:cubicBezTo>
                    <a:pt x="0" y="11868"/>
                    <a:pt x="0" y="5934"/>
                    <a:pt x="0" y="2967"/>
                  </a:cubicBezTo>
                  <a:cubicBezTo>
                    <a:pt x="0" y="0"/>
                    <a:pt x="5934" y="0"/>
                    <a:pt x="8901" y="0"/>
                  </a:cubicBezTo>
                  <a:cubicBezTo>
                    <a:pt x="8901" y="0"/>
                    <a:pt x="94945" y="44505"/>
                    <a:pt x="142418" y="44505"/>
                  </a:cubicBezTo>
                  <a:cubicBezTo>
                    <a:pt x="142418" y="44505"/>
                    <a:pt x="145385" y="44505"/>
                    <a:pt x="145385" y="44505"/>
                  </a:cubicBezTo>
                  <a:cubicBezTo>
                    <a:pt x="183956" y="41538"/>
                    <a:pt x="213626" y="17802"/>
                    <a:pt x="213626" y="17802"/>
                  </a:cubicBezTo>
                  <a:cubicBezTo>
                    <a:pt x="216593" y="14835"/>
                    <a:pt x="219560" y="14835"/>
                    <a:pt x="222527" y="17802"/>
                  </a:cubicBezTo>
                  <a:cubicBezTo>
                    <a:pt x="225495" y="20769"/>
                    <a:pt x="225495" y="23736"/>
                    <a:pt x="222527" y="26703"/>
                  </a:cubicBezTo>
                  <a:cubicBezTo>
                    <a:pt x="222527" y="26703"/>
                    <a:pt x="189890" y="53406"/>
                    <a:pt x="148352" y="56373"/>
                  </a:cubicBezTo>
                  <a:cubicBezTo>
                    <a:pt x="145385" y="56373"/>
                    <a:pt x="145385" y="56373"/>
                    <a:pt x="142418" y="56373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763ED3E7-93EF-4323-9425-DA77DEF6BFE6}"/>
                </a:ext>
              </a:extLst>
            </p:cNvPr>
            <p:cNvSpPr/>
            <p:nvPr/>
          </p:nvSpPr>
          <p:spPr>
            <a:xfrm>
              <a:off x="4106451" y="8865265"/>
              <a:ext cx="79178" cy="109413"/>
            </a:xfrm>
            <a:custGeom>
              <a:avLst/>
              <a:gdLst>
                <a:gd name="connsiteX0" fmla="*/ 65992 w 79178"/>
                <a:gd name="connsiteY0" fmla="*/ 13843 h 109413"/>
                <a:gd name="connsiteX1" fmla="*/ 6651 w 79178"/>
                <a:gd name="connsiteY1" fmla="*/ 7909 h 109413"/>
                <a:gd name="connsiteX2" fmla="*/ 65992 w 79178"/>
                <a:gd name="connsiteY2" fmla="*/ 105821 h 109413"/>
                <a:gd name="connsiteX3" fmla="*/ 65992 w 79178"/>
                <a:gd name="connsiteY3" fmla="*/ 13843 h 109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78" h="109413">
                  <a:moveTo>
                    <a:pt x="65992" y="13843"/>
                  </a:moveTo>
                  <a:cubicBezTo>
                    <a:pt x="65992" y="13843"/>
                    <a:pt x="33354" y="-12860"/>
                    <a:pt x="6651" y="7909"/>
                  </a:cubicBezTo>
                  <a:cubicBezTo>
                    <a:pt x="-17085" y="28678"/>
                    <a:pt x="27420" y="129557"/>
                    <a:pt x="65992" y="105821"/>
                  </a:cubicBezTo>
                  <a:cubicBezTo>
                    <a:pt x="95662" y="85052"/>
                    <a:pt x="65992" y="13843"/>
                    <a:pt x="65992" y="13843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E0F645C6-CA77-4701-96D6-514174A7A6DA}"/>
                </a:ext>
              </a:extLst>
            </p:cNvPr>
            <p:cNvSpPr/>
            <p:nvPr/>
          </p:nvSpPr>
          <p:spPr>
            <a:xfrm>
              <a:off x="4103649" y="8490514"/>
              <a:ext cx="502220" cy="406395"/>
            </a:xfrm>
            <a:custGeom>
              <a:avLst/>
              <a:gdLst>
                <a:gd name="connsiteX0" fmla="*/ 9453 w 502220"/>
                <a:gd name="connsiteY0" fmla="*/ 311451 h 406395"/>
                <a:gd name="connsiteX1" fmla="*/ 68794 w 502220"/>
                <a:gd name="connsiteY1" fmla="*/ 406396 h 406395"/>
                <a:gd name="connsiteX2" fmla="*/ 110332 w 502220"/>
                <a:gd name="connsiteY2" fmla="*/ 266945 h 406395"/>
                <a:gd name="connsiteX3" fmla="*/ 119233 w 502220"/>
                <a:gd name="connsiteY3" fmla="*/ 263978 h 406395"/>
                <a:gd name="connsiteX4" fmla="*/ 193409 w 502220"/>
                <a:gd name="connsiteY4" fmla="*/ 234308 h 406395"/>
                <a:gd name="connsiteX5" fmla="*/ 205277 w 502220"/>
                <a:gd name="connsiteY5" fmla="*/ 231341 h 406395"/>
                <a:gd name="connsiteX6" fmla="*/ 240882 w 502220"/>
                <a:gd name="connsiteY6" fmla="*/ 252110 h 406395"/>
                <a:gd name="connsiteX7" fmla="*/ 255717 w 502220"/>
                <a:gd name="connsiteY7" fmla="*/ 240242 h 406395"/>
                <a:gd name="connsiteX8" fmla="*/ 306156 w 502220"/>
                <a:gd name="connsiteY8" fmla="*/ 255077 h 406395"/>
                <a:gd name="connsiteX9" fmla="*/ 341761 w 502220"/>
                <a:gd name="connsiteY9" fmla="*/ 261011 h 406395"/>
                <a:gd name="connsiteX10" fmla="*/ 353629 w 502220"/>
                <a:gd name="connsiteY10" fmla="*/ 258044 h 406395"/>
                <a:gd name="connsiteX11" fmla="*/ 365497 w 502220"/>
                <a:gd name="connsiteY11" fmla="*/ 255077 h 406395"/>
                <a:gd name="connsiteX12" fmla="*/ 374398 w 502220"/>
                <a:gd name="connsiteY12" fmla="*/ 258044 h 406395"/>
                <a:gd name="connsiteX13" fmla="*/ 380332 w 502220"/>
                <a:gd name="connsiteY13" fmla="*/ 261011 h 406395"/>
                <a:gd name="connsiteX14" fmla="*/ 386266 w 502220"/>
                <a:gd name="connsiteY14" fmla="*/ 261011 h 406395"/>
                <a:gd name="connsiteX15" fmla="*/ 395167 w 502220"/>
                <a:gd name="connsiteY15" fmla="*/ 263978 h 406395"/>
                <a:gd name="connsiteX16" fmla="*/ 401101 w 502220"/>
                <a:gd name="connsiteY16" fmla="*/ 272879 h 406395"/>
                <a:gd name="connsiteX17" fmla="*/ 418903 w 502220"/>
                <a:gd name="connsiteY17" fmla="*/ 293648 h 406395"/>
                <a:gd name="connsiteX18" fmla="*/ 448574 w 502220"/>
                <a:gd name="connsiteY18" fmla="*/ 302550 h 406395"/>
                <a:gd name="connsiteX19" fmla="*/ 469343 w 502220"/>
                <a:gd name="connsiteY19" fmla="*/ 355956 h 406395"/>
                <a:gd name="connsiteX20" fmla="*/ 475277 w 502220"/>
                <a:gd name="connsiteY20" fmla="*/ 326286 h 406395"/>
                <a:gd name="connsiteX21" fmla="*/ 484178 w 502220"/>
                <a:gd name="connsiteY21" fmla="*/ 323319 h 406395"/>
                <a:gd name="connsiteX22" fmla="*/ 496046 w 502220"/>
                <a:gd name="connsiteY22" fmla="*/ 228374 h 406395"/>
                <a:gd name="connsiteX23" fmla="*/ 475277 w 502220"/>
                <a:gd name="connsiteY23" fmla="*/ 186835 h 406395"/>
                <a:gd name="connsiteX24" fmla="*/ 478244 w 502220"/>
                <a:gd name="connsiteY24" fmla="*/ 151231 h 406395"/>
                <a:gd name="connsiteX25" fmla="*/ 469343 w 502220"/>
                <a:gd name="connsiteY25" fmla="*/ 118594 h 406395"/>
                <a:gd name="connsiteX26" fmla="*/ 448574 w 502220"/>
                <a:gd name="connsiteY26" fmla="*/ 91890 h 406395"/>
                <a:gd name="connsiteX27" fmla="*/ 430772 w 502220"/>
                <a:gd name="connsiteY27" fmla="*/ 50352 h 406395"/>
                <a:gd name="connsiteX28" fmla="*/ 371431 w 502220"/>
                <a:gd name="connsiteY28" fmla="*/ 32549 h 406395"/>
                <a:gd name="connsiteX29" fmla="*/ 249783 w 502220"/>
                <a:gd name="connsiteY29" fmla="*/ 2879 h 406395"/>
                <a:gd name="connsiteX30" fmla="*/ 237915 w 502220"/>
                <a:gd name="connsiteY30" fmla="*/ 8813 h 406395"/>
                <a:gd name="connsiteX31" fmla="*/ 184508 w 502220"/>
                <a:gd name="connsiteY31" fmla="*/ 23649 h 406395"/>
                <a:gd name="connsiteX32" fmla="*/ 151871 w 502220"/>
                <a:gd name="connsiteY32" fmla="*/ 26615 h 406395"/>
                <a:gd name="connsiteX33" fmla="*/ 125167 w 502220"/>
                <a:gd name="connsiteY33" fmla="*/ 59253 h 406395"/>
                <a:gd name="connsiteX34" fmla="*/ 113299 w 502220"/>
                <a:gd name="connsiteY34" fmla="*/ 80022 h 406395"/>
                <a:gd name="connsiteX35" fmla="*/ 83629 w 502220"/>
                <a:gd name="connsiteY35" fmla="*/ 100791 h 406395"/>
                <a:gd name="connsiteX36" fmla="*/ 71761 w 502220"/>
                <a:gd name="connsiteY36" fmla="*/ 97824 h 406395"/>
                <a:gd name="connsiteX37" fmla="*/ 56926 w 502220"/>
                <a:gd name="connsiteY37" fmla="*/ 139363 h 406395"/>
                <a:gd name="connsiteX38" fmla="*/ 9453 w 502220"/>
                <a:gd name="connsiteY38" fmla="*/ 311451 h 40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02220" h="406395">
                  <a:moveTo>
                    <a:pt x="9453" y="311451"/>
                  </a:moveTo>
                  <a:cubicBezTo>
                    <a:pt x="24288" y="364857"/>
                    <a:pt x="68794" y="406396"/>
                    <a:pt x="68794" y="406396"/>
                  </a:cubicBezTo>
                  <a:cubicBezTo>
                    <a:pt x="59893" y="376725"/>
                    <a:pt x="110332" y="266945"/>
                    <a:pt x="110332" y="266945"/>
                  </a:cubicBezTo>
                  <a:cubicBezTo>
                    <a:pt x="110332" y="266945"/>
                    <a:pt x="113299" y="266945"/>
                    <a:pt x="119233" y="263978"/>
                  </a:cubicBezTo>
                  <a:cubicBezTo>
                    <a:pt x="145937" y="261011"/>
                    <a:pt x="172640" y="252110"/>
                    <a:pt x="193409" y="234308"/>
                  </a:cubicBezTo>
                  <a:cubicBezTo>
                    <a:pt x="196376" y="234308"/>
                    <a:pt x="202310" y="231341"/>
                    <a:pt x="205277" y="231341"/>
                  </a:cubicBezTo>
                  <a:cubicBezTo>
                    <a:pt x="214178" y="243209"/>
                    <a:pt x="226046" y="255077"/>
                    <a:pt x="240882" y="252110"/>
                  </a:cubicBezTo>
                  <a:cubicBezTo>
                    <a:pt x="246816" y="249143"/>
                    <a:pt x="249783" y="243209"/>
                    <a:pt x="255717" y="240242"/>
                  </a:cubicBezTo>
                  <a:cubicBezTo>
                    <a:pt x="276486" y="231341"/>
                    <a:pt x="288354" y="246176"/>
                    <a:pt x="306156" y="255077"/>
                  </a:cubicBezTo>
                  <a:cubicBezTo>
                    <a:pt x="318024" y="261011"/>
                    <a:pt x="329893" y="263978"/>
                    <a:pt x="341761" y="261011"/>
                  </a:cubicBezTo>
                  <a:cubicBezTo>
                    <a:pt x="344728" y="261011"/>
                    <a:pt x="350662" y="258044"/>
                    <a:pt x="353629" y="258044"/>
                  </a:cubicBezTo>
                  <a:cubicBezTo>
                    <a:pt x="359563" y="255077"/>
                    <a:pt x="362530" y="255077"/>
                    <a:pt x="365497" y="255077"/>
                  </a:cubicBezTo>
                  <a:cubicBezTo>
                    <a:pt x="368464" y="255077"/>
                    <a:pt x="371431" y="258044"/>
                    <a:pt x="374398" y="258044"/>
                  </a:cubicBezTo>
                  <a:cubicBezTo>
                    <a:pt x="377365" y="258044"/>
                    <a:pt x="377365" y="261011"/>
                    <a:pt x="380332" y="261011"/>
                  </a:cubicBezTo>
                  <a:cubicBezTo>
                    <a:pt x="383299" y="261011"/>
                    <a:pt x="383299" y="261011"/>
                    <a:pt x="386266" y="261011"/>
                  </a:cubicBezTo>
                  <a:cubicBezTo>
                    <a:pt x="389233" y="261011"/>
                    <a:pt x="392200" y="263978"/>
                    <a:pt x="395167" y="263978"/>
                  </a:cubicBezTo>
                  <a:cubicBezTo>
                    <a:pt x="398134" y="266945"/>
                    <a:pt x="401101" y="269912"/>
                    <a:pt x="401101" y="272879"/>
                  </a:cubicBezTo>
                  <a:cubicBezTo>
                    <a:pt x="407035" y="281780"/>
                    <a:pt x="410002" y="287714"/>
                    <a:pt x="418903" y="293648"/>
                  </a:cubicBezTo>
                  <a:cubicBezTo>
                    <a:pt x="424838" y="296616"/>
                    <a:pt x="436706" y="299582"/>
                    <a:pt x="448574" y="302550"/>
                  </a:cubicBezTo>
                  <a:cubicBezTo>
                    <a:pt x="463409" y="320352"/>
                    <a:pt x="472310" y="338154"/>
                    <a:pt x="469343" y="355956"/>
                  </a:cubicBezTo>
                  <a:cubicBezTo>
                    <a:pt x="469343" y="355956"/>
                    <a:pt x="472310" y="344088"/>
                    <a:pt x="475277" y="326286"/>
                  </a:cubicBezTo>
                  <a:cubicBezTo>
                    <a:pt x="478244" y="329253"/>
                    <a:pt x="481211" y="329253"/>
                    <a:pt x="484178" y="323319"/>
                  </a:cubicBezTo>
                  <a:cubicBezTo>
                    <a:pt x="501981" y="293648"/>
                    <a:pt x="507914" y="261011"/>
                    <a:pt x="496046" y="228374"/>
                  </a:cubicBezTo>
                  <a:cubicBezTo>
                    <a:pt x="490112" y="213539"/>
                    <a:pt x="484178" y="201671"/>
                    <a:pt x="475277" y="186835"/>
                  </a:cubicBezTo>
                  <a:cubicBezTo>
                    <a:pt x="466376" y="169033"/>
                    <a:pt x="475277" y="169033"/>
                    <a:pt x="478244" y="151231"/>
                  </a:cubicBezTo>
                  <a:cubicBezTo>
                    <a:pt x="478244" y="139363"/>
                    <a:pt x="475277" y="127495"/>
                    <a:pt x="469343" y="118594"/>
                  </a:cubicBezTo>
                  <a:cubicBezTo>
                    <a:pt x="463409" y="109692"/>
                    <a:pt x="457475" y="100791"/>
                    <a:pt x="448574" y="91890"/>
                  </a:cubicBezTo>
                  <a:cubicBezTo>
                    <a:pt x="436706" y="77055"/>
                    <a:pt x="436706" y="65187"/>
                    <a:pt x="430772" y="50352"/>
                  </a:cubicBezTo>
                  <a:cubicBezTo>
                    <a:pt x="418903" y="23649"/>
                    <a:pt x="395167" y="29583"/>
                    <a:pt x="371431" y="32549"/>
                  </a:cubicBezTo>
                  <a:cubicBezTo>
                    <a:pt x="329893" y="35517"/>
                    <a:pt x="291321" y="-11956"/>
                    <a:pt x="249783" y="2879"/>
                  </a:cubicBezTo>
                  <a:cubicBezTo>
                    <a:pt x="243849" y="5846"/>
                    <a:pt x="240882" y="8813"/>
                    <a:pt x="237915" y="8813"/>
                  </a:cubicBezTo>
                  <a:cubicBezTo>
                    <a:pt x="220112" y="17714"/>
                    <a:pt x="205277" y="23649"/>
                    <a:pt x="184508" y="23649"/>
                  </a:cubicBezTo>
                  <a:cubicBezTo>
                    <a:pt x="172640" y="23649"/>
                    <a:pt x="163739" y="20681"/>
                    <a:pt x="151871" y="26615"/>
                  </a:cubicBezTo>
                  <a:cubicBezTo>
                    <a:pt x="140002" y="32549"/>
                    <a:pt x="131101" y="47385"/>
                    <a:pt x="125167" y="59253"/>
                  </a:cubicBezTo>
                  <a:cubicBezTo>
                    <a:pt x="122200" y="65187"/>
                    <a:pt x="116266" y="74088"/>
                    <a:pt x="113299" y="80022"/>
                  </a:cubicBezTo>
                  <a:cubicBezTo>
                    <a:pt x="101431" y="88923"/>
                    <a:pt x="92530" y="94857"/>
                    <a:pt x="83629" y="100791"/>
                  </a:cubicBezTo>
                  <a:cubicBezTo>
                    <a:pt x="83629" y="97824"/>
                    <a:pt x="86596" y="85956"/>
                    <a:pt x="71761" y="97824"/>
                  </a:cubicBezTo>
                  <a:cubicBezTo>
                    <a:pt x="56926" y="109692"/>
                    <a:pt x="53958" y="121560"/>
                    <a:pt x="56926" y="139363"/>
                  </a:cubicBezTo>
                  <a:cubicBezTo>
                    <a:pt x="-5382" y="169033"/>
                    <a:pt x="-8349" y="255077"/>
                    <a:pt x="9453" y="311451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1D866D03-1D31-4B7B-99E9-C0E19E0FC5AF}"/>
                </a:ext>
              </a:extLst>
            </p:cNvPr>
            <p:cNvSpPr/>
            <p:nvPr/>
          </p:nvSpPr>
          <p:spPr>
            <a:xfrm>
              <a:off x="4146299" y="8653613"/>
              <a:ext cx="70649" cy="231428"/>
            </a:xfrm>
            <a:custGeom>
              <a:avLst/>
              <a:gdLst>
                <a:gd name="connsiteX0" fmla="*/ 26144 w 70649"/>
                <a:gd name="connsiteY0" fmla="*/ 231429 h 231428"/>
                <a:gd name="connsiteX1" fmla="*/ 26144 w 70649"/>
                <a:gd name="connsiteY1" fmla="*/ 231429 h 231428"/>
                <a:gd name="connsiteX2" fmla="*/ 20210 w 70649"/>
                <a:gd name="connsiteY2" fmla="*/ 225494 h 231428"/>
                <a:gd name="connsiteX3" fmla="*/ 58781 w 70649"/>
                <a:gd name="connsiteY3" fmla="*/ 106813 h 231428"/>
                <a:gd name="connsiteX4" fmla="*/ 8342 w 70649"/>
                <a:gd name="connsiteY4" fmla="*/ 68242 h 231428"/>
                <a:gd name="connsiteX5" fmla="*/ 5374 w 70649"/>
                <a:gd name="connsiteY5" fmla="*/ 2967 h 231428"/>
                <a:gd name="connsiteX6" fmla="*/ 11308 w 70649"/>
                <a:gd name="connsiteY6" fmla="*/ 0 h 231428"/>
                <a:gd name="connsiteX7" fmla="*/ 14276 w 70649"/>
                <a:gd name="connsiteY7" fmla="*/ 5934 h 231428"/>
                <a:gd name="connsiteX8" fmla="*/ 17243 w 70649"/>
                <a:gd name="connsiteY8" fmla="*/ 62307 h 231428"/>
                <a:gd name="connsiteX9" fmla="*/ 67682 w 70649"/>
                <a:gd name="connsiteY9" fmla="*/ 97912 h 231428"/>
                <a:gd name="connsiteX10" fmla="*/ 70649 w 70649"/>
                <a:gd name="connsiteY10" fmla="*/ 100879 h 231428"/>
                <a:gd name="connsiteX11" fmla="*/ 70649 w 70649"/>
                <a:gd name="connsiteY11" fmla="*/ 106813 h 231428"/>
                <a:gd name="connsiteX12" fmla="*/ 29111 w 70649"/>
                <a:gd name="connsiteY12" fmla="*/ 225494 h 231428"/>
                <a:gd name="connsiteX13" fmla="*/ 26144 w 70649"/>
                <a:gd name="connsiteY13" fmla="*/ 231429 h 23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649" h="231428">
                  <a:moveTo>
                    <a:pt x="26144" y="231429"/>
                  </a:moveTo>
                  <a:cubicBezTo>
                    <a:pt x="26144" y="231429"/>
                    <a:pt x="26144" y="231429"/>
                    <a:pt x="26144" y="231429"/>
                  </a:cubicBezTo>
                  <a:cubicBezTo>
                    <a:pt x="23177" y="231429"/>
                    <a:pt x="20210" y="228461"/>
                    <a:pt x="20210" y="225494"/>
                  </a:cubicBezTo>
                  <a:cubicBezTo>
                    <a:pt x="23177" y="172088"/>
                    <a:pt x="49880" y="124615"/>
                    <a:pt x="58781" y="106813"/>
                  </a:cubicBezTo>
                  <a:cubicBezTo>
                    <a:pt x="46913" y="100879"/>
                    <a:pt x="23177" y="91978"/>
                    <a:pt x="8342" y="68242"/>
                  </a:cubicBezTo>
                  <a:cubicBezTo>
                    <a:pt x="-560" y="50439"/>
                    <a:pt x="-3527" y="26703"/>
                    <a:pt x="5374" y="2967"/>
                  </a:cubicBezTo>
                  <a:cubicBezTo>
                    <a:pt x="5374" y="0"/>
                    <a:pt x="8342" y="0"/>
                    <a:pt x="11308" y="0"/>
                  </a:cubicBezTo>
                  <a:cubicBezTo>
                    <a:pt x="14276" y="0"/>
                    <a:pt x="17243" y="2967"/>
                    <a:pt x="14276" y="5934"/>
                  </a:cubicBezTo>
                  <a:cubicBezTo>
                    <a:pt x="8342" y="26703"/>
                    <a:pt x="8342" y="47472"/>
                    <a:pt x="17243" y="62307"/>
                  </a:cubicBezTo>
                  <a:cubicBezTo>
                    <a:pt x="32078" y="89011"/>
                    <a:pt x="64715" y="97912"/>
                    <a:pt x="67682" y="97912"/>
                  </a:cubicBezTo>
                  <a:cubicBezTo>
                    <a:pt x="70649" y="97912"/>
                    <a:pt x="70649" y="100879"/>
                    <a:pt x="70649" y="100879"/>
                  </a:cubicBezTo>
                  <a:cubicBezTo>
                    <a:pt x="70649" y="103846"/>
                    <a:pt x="70649" y="103846"/>
                    <a:pt x="70649" y="106813"/>
                  </a:cubicBezTo>
                  <a:cubicBezTo>
                    <a:pt x="70649" y="106813"/>
                    <a:pt x="32078" y="166154"/>
                    <a:pt x="29111" y="225494"/>
                  </a:cubicBezTo>
                  <a:cubicBezTo>
                    <a:pt x="32078" y="228461"/>
                    <a:pt x="29111" y="231429"/>
                    <a:pt x="26144" y="231429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F6A733D5-95F4-4ADF-BF8D-2764DDD8265F}"/>
                </a:ext>
              </a:extLst>
            </p:cNvPr>
            <p:cNvSpPr/>
            <p:nvPr/>
          </p:nvSpPr>
          <p:spPr>
            <a:xfrm>
              <a:off x="4329695" y="9036360"/>
              <a:ext cx="103846" cy="65393"/>
            </a:xfrm>
            <a:custGeom>
              <a:avLst/>
              <a:gdLst>
                <a:gd name="connsiteX0" fmla="*/ 0 w 103846"/>
                <a:gd name="connsiteY0" fmla="*/ 0 h 65393"/>
                <a:gd name="connsiteX1" fmla="*/ 103846 w 103846"/>
                <a:gd name="connsiteY1" fmla="*/ 14835 h 65393"/>
                <a:gd name="connsiteX2" fmla="*/ 44505 w 103846"/>
                <a:gd name="connsiteY2" fmla="*/ 65275 h 65393"/>
                <a:gd name="connsiteX3" fmla="*/ 0 w 103846"/>
                <a:gd name="connsiteY3" fmla="*/ 0 h 65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46" h="65393">
                  <a:moveTo>
                    <a:pt x="0" y="0"/>
                  </a:moveTo>
                  <a:cubicBezTo>
                    <a:pt x="50440" y="20769"/>
                    <a:pt x="103846" y="14835"/>
                    <a:pt x="103846" y="14835"/>
                  </a:cubicBezTo>
                  <a:cubicBezTo>
                    <a:pt x="103846" y="14835"/>
                    <a:pt x="83077" y="68242"/>
                    <a:pt x="44505" y="65275"/>
                  </a:cubicBezTo>
                  <a:cubicBezTo>
                    <a:pt x="20769" y="65275"/>
                    <a:pt x="8901" y="32638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0254DCD3-CD25-4D65-A317-09BDC0032EED}"/>
                </a:ext>
              </a:extLst>
            </p:cNvPr>
            <p:cNvSpPr/>
            <p:nvPr/>
          </p:nvSpPr>
          <p:spPr>
            <a:xfrm>
              <a:off x="4254290" y="8623823"/>
              <a:ext cx="253426" cy="74296"/>
            </a:xfrm>
            <a:custGeom>
              <a:avLst/>
              <a:gdLst>
                <a:gd name="connsiteX0" fmla="*/ 244526 w 253426"/>
                <a:gd name="connsiteY0" fmla="*/ 74296 h 74296"/>
                <a:gd name="connsiteX1" fmla="*/ 244526 w 253426"/>
                <a:gd name="connsiteY1" fmla="*/ 74296 h 74296"/>
                <a:gd name="connsiteX2" fmla="*/ 191119 w 253426"/>
                <a:gd name="connsiteY2" fmla="*/ 53527 h 74296"/>
                <a:gd name="connsiteX3" fmla="*/ 182218 w 253426"/>
                <a:gd name="connsiteY3" fmla="*/ 44626 h 74296"/>
                <a:gd name="connsiteX4" fmla="*/ 152548 w 253426"/>
                <a:gd name="connsiteY4" fmla="*/ 26823 h 74296"/>
                <a:gd name="connsiteX5" fmla="*/ 152548 w 253426"/>
                <a:gd name="connsiteY5" fmla="*/ 26823 h 74296"/>
                <a:gd name="connsiteX6" fmla="*/ 128811 w 253426"/>
                <a:gd name="connsiteY6" fmla="*/ 35725 h 74296"/>
                <a:gd name="connsiteX7" fmla="*/ 96174 w 253426"/>
                <a:gd name="connsiteY7" fmla="*/ 44626 h 74296"/>
                <a:gd name="connsiteX8" fmla="*/ 69471 w 253426"/>
                <a:gd name="connsiteY8" fmla="*/ 26823 h 74296"/>
                <a:gd name="connsiteX9" fmla="*/ 51669 w 253426"/>
                <a:gd name="connsiteY9" fmla="*/ 11988 h 74296"/>
                <a:gd name="connsiteX10" fmla="*/ 24965 w 253426"/>
                <a:gd name="connsiteY10" fmla="*/ 17922 h 74296"/>
                <a:gd name="connsiteX11" fmla="*/ 10130 w 253426"/>
                <a:gd name="connsiteY11" fmla="*/ 44626 h 74296"/>
                <a:gd name="connsiteX12" fmla="*/ 4196 w 253426"/>
                <a:gd name="connsiteY12" fmla="*/ 47593 h 74296"/>
                <a:gd name="connsiteX13" fmla="*/ 1229 w 253426"/>
                <a:gd name="connsiteY13" fmla="*/ 41659 h 74296"/>
                <a:gd name="connsiteX14" fmla="*/ 19031 w 253426"/>
                <a:gd name="connsiteY14" fmla="*/ 9022 h 74296"/>
                <a:gd name="connsiteX15" fmla="*/ 57603 w 253426"/>
                <a:gd name="connsiteY15" fmla="*/ 3087 h 74296"/>
                <a:gd name="connsiteX16" fmla="*/ 78372 w 253426"/>
                <a:gd name="connsiteY16" fmla="*/ 17922 h 74296"/>
                <a:gd name="connsiteX17" fmla="*/ 99141 w 253426"/>
                <a:gd name="connsiteY17" fmla="*/ 32757 h 74296"/>
                <a:gd name="connsiteX18" fmla="*/ 125844 w 253426"/>
                <a:gd name="connsiteY18" fmla="*/ 23857 h 74296"/>
                <a:gd name="connsiteX19" fmla="*/ 155515 w 253426"/>
                <a:gd name="connsiteY19" fmla="*/ 14956 h 74296"/>
                <a:gd name="connsiteX20" fmla="*/ 155515 w 253426"/>
                <a:gd name="connsiteY20" fmla="*/ 14956 h 74296"/>
                <a:gd name="connsiteX21" fmla="*/ 191119 w 253426"/>
                <a:gd name="connsiteY21" fmla="*/ 35725 h 74296"/>
                <a:gd name="connsiteX22" fmla="*/ 200020 w 253426"/>
                <a:gd name="connsiteY22" fmla="*/ 41659 h 74296"/>
                <a:gd name="connsiteX23" fmla="*/ 247493 w 253426"/>
                <a:gd name="connsiteY23" fmla="*/ 59461 h 74296"/>
                <a:gd name="connsiteX24" fmla="*/ 253427 w 253426"/>
                <a:gd name="connsiteY24" fmla="*/ 65395 h 74296"/>
                <a:gd name="connsiteX25" fmla="*/ 244526 w 253426"/>
                <a:gd name="connsiteY25" fmla="*/ 74296 h 7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53426" h="74296">
                  <a:moveTo>
                    <a:pt x="244526" y="74296"/>
                  </a:moveTo>
                  <a:cubicBezTo>
                    <a:pt x="244526" y="74296"/>
                    <a:pt x="244526" y="74296"/>
                    <a:pt x="244526" y="74296"/>
                  </a:cubicBezTo>
                  <a:cubicBezTo>
                    <a:pt x="223756" y="74296"/>
                    <a:pt x="205954" y="65395"/>
                    <a:pt x="191119" y="53527"/>
                  </a:cubicBezTo>
                  <a:cubicBezTo>
                    <a:pt x="188152" y="50560"/>
                    <a:pt x="185185" y="47593"/>
                    <a:pt x="182218" y="44626"/>
                  </a:cubicBezTo>
                  <a:cubicBezTo>
                    <a:pt x="173317" y="35725"/>
                    <a:pt x="164416" y="26823"/>
                    <a:pt x="152548" y="26823"/>
                  </a:cubicBezTo>
                  <a:cubicBezTo>
                    <a:pt x="152548" y="26823"/>
                    <a:pt x="152548" y="26823"/>
                    <a:pt x="152548" y="26823"/>
                  </a:cubicBezTo>
                  <a:cubicBezTo>
                    <a:pt x="143647" y="26823"/>
                    <a:pt x="137713" y="29791"/>
                    <a:pt x="128811" y="35725"/>
                  </a:cubicBezTo>
                  <a:cubicBezTo>
                    <a:pt x="119910" y="41659"/>
                    <a:pt x="108042" y="47593"/>
                    <a:pt x="96174" y="44626"/>
                  </a:cubicBezTo>
                  <a:cubicBezTo>
                    <a:pt x="84306" y="41659"/>
                    <a:pt x="78372" y="35725"/>
                    <a:pt x="69471" y="26823"/>
                  </a:cubicBezTo>
                  <a:cubicBezTo>
                    <a:pt x="63537" y="20890"/>
                    <a:pt x="57603" y="14956"/>
                    <a:pt x="51669" y="11988"/>
                  </a:cubicBezTo>
                  <a:cubicBezTo>
                    <a:pt x="42767" y="9022"/>
                    <a:pt x="33866" y="11988"/>
                    <a:pt x="24965" y="17922"/>
                  </a:cubicBezTo>
                  <a:cubicBezTo>
                    <a:pt x="19031" y="23857"/>
                    <a:pt x="13097" y="32757"/>
                    <a:pt x="10130" y="44626"/>
                  </a:cubicBezTo>
                  <a:cubicBezTo>
                    <a:pt x="10130" y="47593"/>
                    <a:pt x="7163" y="50560"/>
                    <a:pt x="4196" y="47593"/>
                  </a:cubicBezTo>
                  <a:cubicBezTo>
                    <a:pt x="1229" y="47593"/>
                    <a:pt x="-1738" y="44626"/>
                    <a:pt x="1229" y="41659"/>
                  </a:cubicBezTo>
                  <a:cubicBezTo>
                    <a:pt x="4196" y="26823"/>
                    <a:pt x="10130" y="17922"/>
                    <a:pt x="19031" y="9022"/>
                  </a:cubicBezTo>
                  <a:cubicBezTo>
                    <a:pt x="30899" y="120"/>
                    <a:pt x="45734" y="-2847"/>
                    <a:pt x="57603" y="3087"/>
                  </a:cubicBezTo>
                  <a:cubicBezTo>
                    <a:pt x="66504" y="6054"/>
                    <a:pt x="72438" y="11988"/>
                    <a:pt x="78372" y="17922"/>
                  </a:cubicBezTo>
                  <a:cubicBezTo>
                    <a:pt x="84306" y="23857"/>
                    <a:pt x="90240" y="29791"/>
                    <a:pt x="99141" y="32757"/>
                  </a:cubicBezTo>
                  <a:cubicBezTo>
                    <a:pt x="108042" y="32757"/>
                    <a:pt x="116943" y="29791"/>
                    <a:pt x="125844" y="23857"/>
                  </a:cubicBezTo>
                  <a:cubicBezTo>
                    <a:pt x="134745" y="17922"/>
                    <a:pt x="143647" y="14956"/>
                    <a:pt x="155515" y="14956"/>
                  </a:cubicBezTo>
                  <a:cubicBezTo>
                    <a:pt x="155515" y="14956"/>
                    <a:pt x="155515" y="14956"/>
                    <a:pt x="155515" y="14956"/>
                  </a:cubicBezTo>
                  <a:cubicBezTo>
                    <a:pt x="170350" y="14956"/>
                    <a:pt x="182218" y="23857"/>
                    <a:pt x="191119" y="35725"/>
                  </a:cubicBezTo>
                  <a:cubicBezTo>
                    <a:pt x="194086" y="38692"/>
                    <a:pt x="197053" y="41659"/>
                    <a:pt x="200020" y="41659"/>
                  </a:cubicBezTo>
                  <a:cubicBezTo>
                    <a:pt x="211888" y="53527"/>
                    <a:pt x="229691" y="59461"/>
                    <a:pt x="247493" y="59461"/>
                  </a:cubicBezTo>
                  <a:cubicBezTo>
                    <a:pt x="250460" y="59461"/>
                    <a:pt x="253427" y="62428"/>
                    <a:pt x="253427" y="65395"/>
                  </a:cubicBezTo>
                  <a:cubicBezTo>
                    <a:pt x="250460" y="71329"/>
                    <a:pt x="247493" y="74296"/>
                    <a:pt x="244526" y="74296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56E7F092-66AA-4C81-99EB-F3C72C2A4644}"/>
                </a:ext>
              </a:extLst>
            </p:cNvPr>
            <p:cNvSpPr/>
            <p:nvPr/>
          </p:nvSpPr>
          <p:spPr>
            <a:xfrm>
              <a:off x="4241426" y="8537317"/>
              <a:ext cx="281585" cy="77724"/>
            </a:xfrm>
            <a:custGeom>
              <a:avLst/>
              <a:gdLst>
                <a:gd name="connsiteX0" fmla="*/ 278159 w 281585"/>
                <a:gd name="connsiteY0" fmla="*/ 77725 h 77724"/>
                <a:gd name="connsiteX1" fmla="*/ 272225 w 281585"/>
                <a:gd name="connsiteY1" fmla="*/ 71791 h 77724"/>
                <a:gd name="connsiteX2" fmla="*/ 260357 w 281585"/>
                <a:gd name="connsiteY2" fmla="*/ 53989 h 77724"/>
                <a:gd name="connsiteX3" fmla="*/ 209918 w 281585"/>
                <a:gd name="connsiteY3" fmla="*/ 45087 h 77724"/>
                <a:gd name="connsiteX4" fmla="*/ 162445 w 281585"/>
                <a:gd name="connsiteY4" fmla="*/ 27285 h 77724"/>
                <a:gd name="connsiteX5" fmla="*/ 138709 w 281585"/>
                <a:gd name="connsiteY5" fmla="*/ 15417 h 77724"/>
                <a:gd name="connsiteX6" fmla="*/ 94203 w 281585"/>
                <a:gd name="connsiteY6" fmla="*/ 27285 h 77724"/>
                <a:gd name="connsiteX7" fmla="*/ 55632 w 281585"/>
                <a:gd name="connsiteY7" fmla="*/ 36187 h 77724"/>
                <a:gd name="connsiteX8" fmla="*/ 11126 w 281585"/>
                <a:gd name="connsiteY8" fmla="*/ 53989 h 77724"/>
                <a:gd name="connsiteX9" fmla="*/ 2225 w 281585"/>
                <a:gd name="connsiteY9" fmla="*/ 53989 h 77724"/>
                <a:gd name="connsiteX10" fmla="*/ 2225 w 281585"/>
                <a:gd name="connsiteY10" fmla="*/ 45087 h 77724"/>
                <a:gd name="connsiteX11" fmla="*/ 58599 w 281585"/>
                <a:gd name="connsiteY11" fmla="*/ 21351 h 77724"/>
                <a:gd name="connsiteX12" fmla="*/ 85302 w 281585"/>
                <a:gd name="connsiteY12" fmla="*/ 15417 h 77724"/>
                <a:gd name="connsiteX13" fmla="*/ 135742 w 281585"/>
                <a:gd name="connsiteY13" fmla="*/ 582 h 77724"/>
                <a:gd name="connsiteX14" fmla="*/ 165412 w 281585"/>
                <a:gd name="connsiteY14" fmla="*/ 15417 h 77724"/>
                <a:gd name="connsiteX15" fmla="*/ 203984 w 281585"/>
                <a:gd name="connsiteY15" fmla="*/ 33219 h 77724"/>
                <a:gd name="connsiteX16" fmla="*/ 263324 w 281585"/>
                <a:gd name="connsiteY16" fmla="*/ 45087 h 77724"/>
                <a:gd name="connsiteX17" fmla="*/ 278159 w 281585"/>
                <a:gd name="connsiteY17" fmla="*/ 71791 h 77724"/>
                <a:gd name="connsiteX18" fmla="*/ 278159 w 281585"/>
                <a:gd name="connsiteY18" fmla="*/ 77725 h 77724"/>
                <a:gd name="connsiteX19" fmla="*/ 278159 w 281585"/>
                <a:gd name="connsiteY19" fmla="*/ 77725 h 77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1585" h="77724">
                  <a:moveTo>
                    <a:pt x="278159" y="77725"/>
                  </a:moveTo>
                  <a:cubicBezTo>
                    <a:pt x="275192" y="77725"/>
                    <a:pt x="272225" y="74758"/>
                    <a:pt x="272225" y="71791"/>
                  </a:cubicBezTo>
                  <a:cubicBezTo>
                    <a:pt x="272225" y="62890"/>
                    <a:pt x="266291" y="56956"/>
                    <a:pt x="260357" y="53989"/>
                  </a:cubicBezTo>
                  <a:cubicBezTo>
                    <a:pt x="245522" y="45087"/>
                    <a:pt x="221786" y="42121"/>
                    <a:pt x="209918" y="45087"/>
                  </a:cubicBezTo>
                  <a:cubicBezTo>
                    <a:pt x="195082" y="48055"/>
                    <a:pt x="177280" y="36187"/>
                    <a:pt x="162445" y="27285"/>
                  </a:cubicBezTo>
                  <a:cubicBezTo>
                    <a:pt x="153544" y="21351"/>
                    <a:pt x="144643" y="15417"/>
                    <a:pt x="138709" y="15417"/>
                  </a:cubicBezTo>
                  <a:cubicBezTo>
                    <a:pt x="117940" y="12450"/>
                    <a:pt x="106071" y="21351"/>
                    <a:pt x="94203" y="27285"/>
                  </a:cubicBezTo>
                  <a:cubicBezTo>
                    <a:pt x="82335" y="33219"/>
                    <a:pt x="70467" y="42121"/>
                    <a:pt x="55632" y="36187"/>
                  </a:cubicBezTo>
                  <a:cubicBezTo>
                    <a:pt x="34863" y="27285"/>
                    <a:pt x="11126" y="53989"/>
                    <a:pt x="11126" y="53989"/>
                  </a:cubicBezTo>
                  <a:cubicBezTo>
                    <a:pt x="8159" y="56956"/>
                    <a:pt x="5192" y="56956"/>
                    <a:pt x="2225" y="53989"/>
                  </a:cubicBezTo>
                  <a:cubicBezTo>
                    <a:pt x="-742" y="51022"/>
                    <a:pt x="-742" y="48055"/>
                    <a:pt x="2225" y="45087"/>
                  </a:cubicBezTo>
                  <a:cubicBezTo>
                    <a:pt x="2225" y="45087"/>
                    <a:pt x="28929" y="9483"/>
                    <a:pt x="58599" y="21351"/>
                  </a:cubicBezTo>
                  <a:cubicBezTo>
                    <a:pt x="67500" y="24318"/>
                    <a:pt x="73434" y="21351"/>
                    <a:pt x="85302" y="15417"/>
                  </a:cubicBezTo>
                  <a:cubicBezTo>
                    <a:pt x="97170" y="6516"/>
                    <a:pt x="112006" y="-2385"/>
                    <a:pt x="135742" y="582"/>
                  </a:cubicBezTo>
                  <a:cubicBezTo>
                    <a:pt x="144643" y="582"/>
                    <a:pt x="153544" y="6516"/>
                    <a:pt x="165412" y="15417"/>
                  </a:cubicBezTo>
                  <a:cubicBezTo>
                    <a:pt x="177280" y="24318"/>
                    <a:pt x="195082" y="33219"/>
                    <a:pt x="203984" y="33219"/>
                  </a:cubicBezTo>
                  <a:cubicBezTo>
                    <a:pt x="218819" y="30252"/>
                    <a:pt x="245522" y="30252"/>
                    <a:pt x="263324" y="45087"/>
                  </a:cubicBezTo>
                  <a:cubicBezTo>
                    <a:pt x="272225" y="51022"/>
                    <a:pt x="278159" y="59923"/>
                    <a:pt x="278159" y="71791"/>
                  </a:cubicBezTo>
                  <a:cubicBezTo>
                    <a:pt x="284093" y="74758"/>
                    <a:pt x="281126" y="77725"/>
                    <a:pt x="278159" y="77725"/>
                  </a:cubicBezTo>
                  <a:cubicBezTo>
                    <a:pt x="278159" y="77725"/>
                    <a:pt x="278159" y="77725"/>
                    <a:pt x="278159" y="77725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5F418B6B-A89D-40A3-B646-C352E8C1C233}"/>
                </a:ext>
              </a:extLst>
            </p:cNvPr>
            <p:cNvSpPr/>
            <p:nvPr/>
          </p:nvSpPr>
          <p:spPr>
            <a:xfrm>
              <a:off x="4222882" y="9208448"/>
              <a:ext cx="302637" cy="77687"/>
            </a:xfrm>
            <a:custGeom>
              <a:avLst/>
              <a:gdLst>
                <a:gd name="connsiteX0" fmla="*/ 29670 w 302637"/>
                <a:gd name="connsiteY0" fmla="*/ 23736 h 77687"/>
                <a:gd name="connsiteX1" fmla="*/ 160220 w 302637"/>
                <a:gd name="connsiteY1" fmla="*/ 50440 h 77687"/>
                <a:gd name="connsiteX2" fmla="*/ 267033 w 302637"/>
                <a:gd name="connsiteY2" fmla="*/ 0 h 77687"/>
                <a:gd name="connsiteX3" fmla="*/ 302637 w 302637"/>
                <a:gd name="connsiteY3" fmla="*/ 2967 h 77687"/>
                <a:gd name="connsiteX4" fmla="*/ 166154 w 302637"/>
                <a:gd name="connsiteY4" fmla="*/ 77143 h 77687"/>
                <a:gd name="connsiteX5" fmla="*/ 0 w 302637"/>
                <a:gd name="connsiteY5" fmla="*/ 38572 h 77687"/>
                <a:gd name="connsiteX6" fmla="*/ 29670 w 302637"/>
                <a:gd name="connsiteY6" fmla="*/ 23736 h 7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2637" h="77687">
                  <a:moveTo>
                    <a:pt x="29670" y="23736"/>
                  </a:moveTo>
                  <a:cubicBezTo>
                    <a:pt x="29670" y="23736"/>
                    <a:pt x="103846" y="56373"/>
                    <a:pt x="160220" y="50440"/>
                  </a:cubicBezTo>
                  <a:cubicBezTo>
                    <a:pt x="216593" y="44505"/>
                    <a:pt x="267033" y="0"/>
                    <a:pt x="267033" y="0"/>
                  </a:cubicBezTo>
                  <a:lnTo>
                    <a:pt x="302637" y="2967"/>
                  </a:lnTo>
                  <a:cubicBezTo>
                    <a:pt x="302637" y="2967"/>
                    <a:pt x="231429" y="71209"/>
                    <a:pt x="166154" y="77143"/>
                  </a:cubicBezTo>
                  <a:cubicBezTo>
                    <a:pt x="100879" y="83077"/>
                    <a:pt x="0" y="38572"/>
                    <a:pt x="0" y="38572"/>
                  </a:cubicBezTo>
                  <a:lnTo>
                    <a:pt x="29670" y="23736"/>
                  </a:ln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55A51B38-9413-49D4-9F43-6E7B280E4114}"/>
                </a:ext>
              </a:extLst>
            </p:cNvPr>
            <p:cNvSpPr/>
            <p:nvPr/>
          </p:nvSpPr>
          <p:spPr>
            <a:xfrm>
              <a:off x="4353431" y="9837755"/>
              <a:ext cx="196945" cy="177726"/>
            </a:xfrm>
            <a:custGeom>
              <a:avLst/>
              <a:gdLst>
                <a:gd name="connsiteX0" fmla="*/ 0 w 196945"/>
                <a:gd name="connsiteY0" fmla="*/ 177726 h 177726"/>
                <a:gd name="connsiteX1" fmla="*/ 109780 w 196945"/>
                <a:gd name="connsiteY1" fmla="*/ 20473 h 177726"/>
                <a:gd name="connsiteX2" fmla="*/ 192857 w 196945"/>
                <a:gd name="connsiteY2" fmla="*/ 5638 h 177726"/>
                <a:gd name="connsiteX3" fmla="*/ 103846 w 196945"/>
                <a:gd name="connsiteY3" fmla="*/ 97616 h 177726"/>
                <a:gd name="connsiteX4" fmla="*/ 0 w 196945"/>
                <a:gd name="connsiteY4" fmla="*/ 177726 h 177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945" h="177726">
                  <a:moveTo>
                    <a:pt x="0" y="177726"/>
                  </a:moveTo>
                  <a:cubicBezTo>
                    <a:pt x="0" y="177726"/>
                    <a:pt x="14835" y="59045"/>
                    <a:pt x="109780" y="20473"/>
                  </a:cubicBezTo>
                  <a:cubicBezTo>
                    <a:pt x="139450" y="8605"/>
                    <a:pt x="183956" y="-9197"/>
                    <a:pt x="192857" y="5638"/>
                  </a:cubicBezTo>
                  <a:cubicBezTo>
                    <a:pt x="219560" y="41243"/>
                    <a:pt x="106813" y="59045"/>
                    <a:pt x="103846" y="97616"/>
                  </a:cubicBezTo>
                  <a:cubicBezTo>
                    <a:pt x="100879" y="112451"/>
                    <a:pt x="0" y="177726"/>
                    <a:pt x="0" y="177726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4" name="图形 1">
              <a:extLst>
                <a:ext uri="{FF2B5EF4-FFF2-40B4-BE49-F238E27FC236}">
                  <a16:creationId xmlns:a16="http://schemas.microsoft.com/office/drawing/2014/main" id="{9649BB3C-BA63-4EB1-8A01-AD689B4F674A}"/>
                </a:ext>
              </a:extLst>
            </p:cNvPr>
            <p:cNvGrpSpPr/>
            <p:nvPr/>
          </p:nvGrpSpPr>
          <p:grpSpPr>
            <a:xfrm>
              <a:off x="4365299" y="9371635"/>
              <a:ext cx="308571" cy="821868"/>
              <a:chOff x="4365299" y="9371635"/>
              <a:chExt cx="308571" cy="821868"/>
            </a:xfrm>
          </p:grpSpPr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68E710A3-E66E-4D3B-B7A7-FA50F0E09130}"/>
                  </a:ext>
                </a:extLst>
              </p:cNvPr>
              <p:cNvSpPr/>
              <p:nvPr/>
            </p:nvSpPr>
            <p:spPr>
              <a:xfrm>
                <a:off x="4489915" y="9795921"/>
                <a:ext cx="59340" cy="367912"/>
              </a:xfrm>
              <a:custGeom>
                <a:avLst/>
                <a:gdLst>
                  <a:gd name="connsiteX0" fmla="*/ 0 w 59340"/>
                  <a:gd name="connsiteY0" fmla="*/ 0 h 367912"/>
                  <a:gd name="connsiteX1" fmla="*/ 59341 w 59340"/>
                  <a:gd name="connsiteY1" fmla="*/ 0 h 367912"/>
                  <a:gd name="connsiteX2" fmla="*/ 59341 w 59340"/>
                  <a:gd name="connsiteY2" fmla="*/ 367912 h 367912"/>
                  <a:gd name="connsiteX3" fmla="*/ 0 w 59340"/>
                  <a:gd name="connsiteY3" fmla="*/ 367912 h 36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340" h="367912">
                    <a:moveTo>
                      <a:pt x="0" y="0"/>
                    </a:moveTo>
                    <a:lnTo>
                      <a:pt x="59341" y="0"/>
                    </a:lnTo>
                    <a:lnTo>
                      <a:pt x="59341" y="367912"/>
                    </a:lnTo>
                    <a:lnTo>
                      <a:pt x="0" y="367912"/>
                    </a:ln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E68E47A8-6F47-457E-AC9C-30738FFE65B6}"/>
                  </a:ext>
                </a:extLst>
              </p:cNvPr>
              <p:cNvSpPr/>
              <p:nvPr/>
            </p:nvSpPr>
            <p:spPr>
              <a:xfrm>
                <a:off x="4365299" y="10134163"/>
                <a:ext cx="308571" cy="59340"/>
              </a:xfrm>
              <a:custGeom>
                <a:avLst/>
                <a:gdLst>
                  <a:gd name="connsiteX0" fmla="*/ 308571 w 308571"/>
                  <a:gd name="connsiteY0" fmla="*/ 29670 h 59340"/>
                  <a:gd name="connsiteX1" fmla="*/ 154286 w 308571"/>
                  <a:gd name="connsiteY1" fmla="*/ 59341 h 59340"/>
                  <a:gd name="connsiteX2" fmla="*/ 0 w 308571"/>
                  <a:gd name="connsiteY2" fmla="*/ 29670 h 59340"/>
                  <a:gd name="connsiteX3" fmla="*/ 154286 w 308571"/>
                  <a:gd name="connsiteY3" fmla="*/ 0 h 59340"/>
                  <a:gd name="connsiteX4" fmla="*/ 308571 w 308571"/>
                  <a:gd name="connsiteY4" fmla="*/ 29670 h 59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1" h="59340">
                    <a:moveTo>
                      <a:pt x="308571" y="29670"/>
                    </a:moveTo>
                    <a:cubicBezTo>
                      <a:pt x="308571" y="44505"/>
                      <a:pt x="240330" y="59341"/>
                      <a:pt x="154286" y="59341"/>
                    </a:cubicBezTo>
                    <a:cubicBezTo>
                      <a:pt x="68242" y="59341"/>
                      <a:pt x="0" y="47472"/>
                      <a:pt x="0" y="29670"/>
                    </a:cubicBezTo>
                    <a:cubicBezTo>
                      <a:pt x="0" y="11868"/>
                      <a:pt x="68242" y="0"/>
                      <a:pt x="154286" y="0"/>
                    </a:cubicBezTo>
                    <a:cubicBezTo>
                      <a:pt x="237363" y="2966"/>
                      <a:pt x="308571" y="14835"/>
                      <a:pt x="308571" y="2967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2B51BB24-7025-472C-8C5B-0A5DC1AD0358}"/>
                  </a:ext>
                </a:extLst>
              </p:cNvPr>
              <p:cNvSpPr/>
              <p:nvPr/>
            </p:nvSpPr>
            <p:spPr>
              <a:xfrm>
                <a:off x="4374200" y="9401306"/>
                <a:ext cx="290769" cy="453955"/>
              </a:xfrm>
              <a:custGeom>
                <a:avLst/>
                <a:gdLst>
                  <a:gd name="connsiteX0" fmla="*/ 145385 w 290769"/>
                  <a:gd name="connsiteY0" fmla="*/ 453956 h 453955"/>
                  <a:gd name="connsiteX1" fmla="*/ 145385 w 290769"/>
                  <a:gd name="connsiteY1" fmla="*/ 453956 h 453955"/>
                  <a:gd name="connsiteX2" fmla="*/ 0 w 290769"/>
                  <a:gd name="connsiteY2" fmla="*/ 308571 h 453955"/>
                  <a:gd name="connsiteX3" fmla="*/ 0 w 290769"/>
                  <a:gd name="connsiteY3" fmla="*/ 0 h 453955"/>
                  <a:gd name="connsiteX4" fmla="*/ 290769 w 290769"/>
                  <a:gd name="connsiteY4" fmla="*/ 0 h 453955"/>
                  <a:gd name="connsiteX5" fmla="*/ 290769 w 290769"/>
                  <a:gd name="connsiteY5" fmla="*/ 308571 h 453955"/>
                  <a:gd name="connsiteX6" fmla="*/ 145385 w 290769"/>
                  <a:gd name="connsiteY6" fmla="*/ 453956 h 453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0769" h="453955">
                    <a:moveTo>
                      <a:pt x="145385" y="453956"/>
                    </a:moveTo>
                    <a:lnTo>
                      <a:pt x="145385" y="453956"/>
                    </a:lnTo>
                    <a:cubicBezTo>
                      <a:pt x="65275" y="453956"/>
                      <a:pt x="0" y="388682"/>
                      <a:pt x="0" y="308571"/>
                    </a:cubicBezTo>
                    <a:lnTo>
                      <a:pt x="0" y="0"/>
                    </a:lnTo>
                    <a:lnTo>
                      <a:pt x="290769" y="0"/>
                    </a:lnTo>
                    <a:lnTo>
                      <a:pt x="290769" y="308571"/>
                    </a:lnTo>
                    <a:cubicBezTo>
                      <a:pt x="287802" y="388682"/>
                      <a:pt x="225495" y="453956"/>
                      <a:pt x="145385" y="453956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A6E8E708-CFC9-4F92-B59D-8DD9B60BC5BD}"/>
                  </a:ext>
                </a:extLst>
              </p:cNvPr>
              <p:cNvSpPr/>
              <p:nvPr/>
            </p:nvSpPr>
            <p:spPr>
              <a:xfrm>
                <a:off x="4397937" y="9591195"/>
                <a:ext cx="246263" cy="234395"/>
              </a:xfrm>
              <a:custGeom>
                <a:avLst/>
                <a:gdLst>
                  <a:gd name="connsiteX0" fmla="*/ 121648 w 246263"/>
                  <a:gd name="connsiteY0" fmla="*/ 234395 h 234395"/>
                  <a:gd name="connsiteX1" fmla="*/ 121648 w 246263"/>
                  <a:gd name="connsiteY1" fmla="*/ 234395 h 234395"/>
                  <a:gd name="connsiteX2" fmla="*/ 0 w 246263"/>
                  <a:gd name="connsiteY2" fmla="*/ 112748 h 234395"/>
                  <a:gd name="connsiteX3" fmla="*/ 0 w 246263"/>
                  <a:gd name="connsiteY3" fmla="*/ 0 h 234395"/>
                  <a:gd name="connsiteX4" fmla="*/ 246264 w 246263"/>
                  <a:gd name="connsiteY4" fmla="*/ 0 h 234395"/>
                  <a:gd name="connsiteX5" fmla="*/ 246264 w 246263"/>
                  <a:gd name="connsiteY5" fmla="*/ 112748 h 234395"/>
                  <a:gd name="connsiteX6" fmla="*/ 121648 w 246263"/>
                  <a:gd name="connsiteY6" fmla="*/ 234395 h 234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6263" h="234395">
                    <a:moveTo>
                      <a:pt x="121648" y="234395"/>
                    </a:moveTo>
                    <a:lnTo>
                      <a:pt x="121648" y="234395"/>
                    </a:lnTo>
                    <a:cubicBezTo>
                      <a:pt x="53407" y="234395"/>
                      <a:pt x="0" y="180989"/>
                      <a:pt x="0" y="112748"/>
                    </a:cubicBezTo>
                    <a:lnTo>
                      <a:pt x="0" y="0"/>
                    </a:lnTo>
                    <a:lnTo>
                      <a:pt x="246264" y="0"/>
                    </a:lnTo>
                    <a:lnTo>
                      <a:pt x="246264" y="112748"/>
                    </a:lnTo>
                    <a:cubicBezTo>
                      <a:pt x="243297" y="180989"/>
                      <a:pt x="186923" y="234395"/>
                      <a:pt x="121648" y="234395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B39DADF1-73BF-4071-962E-87FC8B1721D1}"/>
                  </a:ext>
                </a:extLst>
              </p:cNvPr>
              <p:cNvSpPr/>
              <p:nvPr/>
            </p:nvSpPr>
            <p:spPr>
              <a:xfrm>
                <a:off x="4371233" y="9371635"/>
                <a:ext cx="290769" cy="59340"/>
              </a:xfrm>
              <a:custGeom>
                <a:avLst/>
                <a:gdLst>
                  <a:gd name="connsiteX0" fmla="*/ 290769 w 290769"/>
                  <a:gd name="connsiteY0" fmla="*/ 29670 h 59340"/>
                  <a:gd name="connsiteX1" fmla="*/ 145385 w 290769"/>
                  <a:gd name="connsiteY1" fmla="*/ 59341 h 59340"/>
                  <a:gd name="connsiteX2" fmla="*/ 0 w 290769"/>
                  <a:gd name="connsiteY2" fmla="*/ 29670 h 59340"/>
                  <a:gd name="connsiteX3" fmla="*/ 145385 w 290769"/>
                  <a:gd name="connsiteY3" fmla="*/ 0 h 59340"/>
                  <a:gd name="connsiteX4" fmla="*/ 290769 w 290769"/>
                  <a:gd name="connsiteY4" fmla="*/ 29670 h 59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769" h="59340">
                    <a:moveTo>
                      <a:pt x="290769" y="29670"/>
                    </a:moveTo>
                    <a:cubicBezTo>
                      <a:pt x="290769" y="44505"/>
                      <a:pt x="225494" y="59341"/>
                      <a:pt x="145385" y="59341"/>
                    </a:cubicBezTo>
                    <a:cubicBezTo>
                      <a:pt x="65275" y="59341"/>
                      <a:pt x="0" y="47473"/>
                      <a:pt x="0" y="29670"/>
                    </a:cubicBezTo>
                    <a:cubicBezTo>
                      <a:pt x="0" y="11868"/>
                      <a:pt x="65275" y="0"/>
                      <a:pt x="145385" y="0"/>
                    </a:cubicBezTo>
                    <a:cubicBezTo>
                      <a:pt x="228462" y="0"/>
                      <a:pt x="290769" y="11868"/>
                      <a:pt x="290769" y="29670"/>
                    </a:cubicBezTo>
                    <a:close/>
                  </a:path>
                </a:pathLst>
              </a:custGeom>
              <a:solidFill>
                <a:srgbClr val="E5CDA5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5" name="图形 1">
              <a:extLst>
                <a:ext uri="{FF2B5EF4-FFF2-40B4-BE49-F238E27FC236}">
                  <a16:creationId xmlns:a16="http://schemas.microsoft.com/office/drawing/2014/main" id="{127C32AF-94ED-40CE-B188-C6060768D62C}"/>
                </a:ext>
              </a:extLst>
            </p:cNvPr>
            <p:cNvGrpSpPr/>
            <p:nvPr/>
          </p:nvGrpSpPr>
          <p:grpSpPr>
            <a:xfrm>
              <a:off x="4299702" y="9893320"/>
              <a:ext cx="282190" cy="278016"/>
              <a:chOff x="4299702" y="9893320"/>
              <a:chExt cx="282190" cy="278016"/>
            </a:xfrm>
          </p:grpSpPr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80F6AEC7-289A-4843-BAF5-AC6598C4A0AB}"/>
                  </a:ext>
                </a:extLst>
              </p:cNvPr>
              <p:cNvSpPr/>
              <p:nvPr/>
            </p:nvSpPr>
            <p:spPr>
              <a:xfrm>
                <a:off x="4299702" y="9903493"/>
                <a:ext cx="282190" cy="267843"/>
              </a:xfrm>
              <a:custGeom>
                <a:avLst/>
                <a:gdLst>
                  <a:gd name="connsiteX0" fmla="*/ 157575 w 282190"/>
                  <a:gd name="connsiteY0" fmla="*/ 230670 h 267843"/>
                  <a:gd name="connsiteX1" fmla="*/ 243619 w 282190"/>
                  <a:gd name="connsiteY1" fmla="*/ 227703 h 267843"/>
                  <a:gd name="connsiteX2" fmla="*/ 255487 w 282190"/>
                  <a:gd name="connsiteY2" fmla="*/ 174295 h 267843"/>
                  <a:gd name="connsiteX3" fmla="*/ 282190 w 282190"/>
                  <a:gd name="connsiteY3" fmla="*/ 141659 h 267843"/>
                  <a:gd name="connsiteX4" fmla="*/ 267355 w 282190"/>
                  <a:gd name="connsiteY4" fmla="*/ 111988 h 267843"/>
                  <a:gd name="connsiteX5" fmla="*/ 255487 w 282190"/>
                  <a:gd name="connsiteY5" fmla="*/ 55614 h 267843"/>
                  <a:gd name="connsiteX6" fmla="*/ 258454 w 282190"/>
                  <a:gd name="connsiteY6" fmla="*/ 17043 h 267843"/>
                  <a:gd name="connsiteX7" fmla="*/ 196147 w 282190"/>
                  <a:gd name="connsiteY7" fmla="*/ 11109 h 267843"/>
                  <a:gd name="connsiteX8" fmla="*/ 322 w 282190"/>
                  <a:gd name="connsiteY8" fmla="*/ 171329 h 267843"/>
                  <a:gd name="connsiteX9" fmla="*/ 41861 w 282190"/>
                  <a:gd name="connsiteY9" fmla="*/ 254406 h 267843"/>
                  <a:gd name="connsiteX10" fmla="*/ 157575 w 282190"/>
                  <a:gd name="connsiteY10" fmla="*/ 230670 h 267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82190" h="267843">
                    <a:moveTo>
                      <a:pt x="157575" y="230670"/>
                    </a:moveTo>
                    <a:cubicBezTo>
                      <a:pt x="193180" y="224735"/>
                      <a:pt x="210982" y="239571"/>
                      <a:pt x="243619" y="227703"/>
                    </a:cubicBezTo>
                    <a:cubicBezTo>
                      <a:pt x="270322" y="218801"/>
                      <a:pt x="270322" y="192098"/>
                      <a:pt x="255487" y="174295"/>
                    </a:cubicBezTo>
                    <a:cubicBezTo>
                      <a:pt x="276257" y="171329"/>
                      <a:pt x="282190" y="162427"/>
                      <a:pt x="282190" y="141659"/>
                    </a:cubicBezTo>
                    <a:cubicBezTo>
                      <a:pt x="282190" y="132757"/>
                      <a:pt x="273289" y="114955"/>
                      <a:pt x="267355" y="111988"/>
                    </a:cubicBezTo>
                    <a:cubicBezTo>
                      <a:pt x="285158" y="106054"/>
                      <a:pt x="279224" y="61549"/>
                      <a:pt x="255487" y="55614"/>
                    </a:cubicBezTo>
                    <a:cubicBezTo>
                      <a:pt x="270322" y="43746"/>
                      <a:pt x="261421" y="25944"/>
                      <a:pt x="258454" y="17043"/>
                    </a:cubicBezTo>
                    <a:cubicBezTo>
                      <a:pt x="243619" y="-15594"/>
                      <a:pt x="208015" y="8142"/>
                      <a:pt x="196147" y="11109"/>
                    </a:cubicBezTo>
                    <a:cubicBezTo>
                      <a:pt x="104169" y="28911"/>
                      <a:pt x="29993" y="117922"/>
                      <a:pt x="322" y="171329"/>
                    </a:cubicBezTo>
                    <a:cubicBezTo>
                      <a:pt x="-2645" y="168362"/>
                      <a:pt x="15158" y="218801"/>
                      <a:pt x="41861" y="254406"/>
                    </a:cubicBezTo>
                    <a:cubicBezTo>
                      <a:pt x="59663" y="275175"/>
                      <a:pt x="104169" y="275175"/>
                      <a:pt x="157575" y="230670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C13F3057-63DD-4D53-925D-767E226ACC59}"/>
                  </a:ext>
                </a:extLst>
              </p:cNvPr>
              <p:cNvSpPr/>
              <p:nvPr/>
            </p:nvSpPr>
            <p:spPr>
              <a:xfrm>
                <a:off x="4405609" y="9893320"/>
                <a:ext cx="162437" cy="71721"/>
              </a:xfrm>
              <a:custGeom>
                <a:avLst/>
                <a:gdLst>
                  <a:gd name="connsiteX0" fmla="*/ 152548 w 162437"/>
                  <a:gd name="connsiteY0" fmla="*/ 71721 h 71721"/>
                  <a:gd name="connsiteX1" fmla="*/ 152548 w 162437"/>
                  <a:gd name="connsiteY1" fmla="*/ 71721 h 71721"/>
                  <a:gd name="connsiteX2" fmla="*/ 146614 w 162437"/>
                  <a:gd name="connsiteY2" fmla="*/ 62821 h 71721"/>
                  <a:gd name="connsiteX3" fmla="*/ 149581 w 162437"/>
                  <a:gd name="connsiteY3" fmla="*/ 24249 h 71721"/>
                  <a:gd name="connsiteX4" fmla="*/ 134746 w 162437"/>
                  <a:gd name="connsiteY4" fmla="*/ 15348 h 71721"/>
                  <a:gd name="connsiteX5" fmla="*/ 10130 w 162437"/>
                  <a:gd name="connsiteY5" fmla="*/ 56886 h 71721"/>
                  <a:gd name="connsiteX6" fmla="*/ 1229 w 162437"/>
                  <a:gd name="connsiteY6" fmla="*/ 53919 h 71721"/>
                  <a:gd name="connsiteX7" fmla="*/ 4196 w 162437"/>
                  <a:gd name="connsiteY7" fmla="*/ 45018 h 71721"/>
                  <a:gd name="connsiteX8" fmla="*/ 134746 w 162437"/>
                  <a:gd name="connsiteY8" fmla="*/ 513 h 71721"/>
                  <a:gd name="connsiteX9" fmla="*/ 158482 w 162437"/>
                  <a:gd name="connsiteY9" fmla="*/ 15348 h 71721"/>
                  <a:gd name="connsiteX10" fmla="*/ 158482 w 162437"/>
                  <a:gd name="connsiteY10" fmla="*/ 62821 h 71721"/>
                  <a:gd name="connsiteX11" fmla="*/ 152548 w 162437"/>
                  <a:gd name="connsiteY11" fmla="*/ 71721 h 7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2437" h="71721">
                    <a:moveTo>
                      <a:pt x="152548" y="71721"/>
                    </a:moveTo>
                    <a:cubicBezTo>
                      <a:pt x="152548" y="71721"/>
                      <a:pt x="152548" y="71721"/>
                      <a:pt x="152548" y="71721"/>
                    </a:cubicBezTo>
                    <a:cubicBezTo>
                      <a:pt x="146614" y="68754"/>
                      <a:pt x="146614" y="65787"/>
                      <a:pt x="146614" y="62821"/>
                    </a:cubicBezTo>
                    <a:cubicBezTo>
                      <a:pt x="146614" y="62821"/>
                      <a:pt x="155515" y="39084"/>
                      <a:pt x="149581" y="24249"/>
                    </a:cubicBezTo>
                    <a:cubicBezTo>
                      <a:pt x="146614" y="18315"/>
                      <a:pt x="140680" y="15348"/>
                      <a:pt x="134746" y="15348"/>
                    </a:cubicBezTo>
                    <a:cubicBezTo>
                      <a:pt x="93207" y="6446"/>
                      <a:pt x="10130" y="56886"/>
                      <a:pt x="10130" y="56886"/>
                    </a:cubicBezTo>
                    <a:cubicBezTo>
                      <a:pt x="7163" y="59853"/>
                      <a:pt x="4196" y="56886"/>
                      <a:pt x="1229" y="53919"/>
                    </a:cubicBezTo>
                    <a:cubicBezTo>
                      <a:pt x="-1738" y="50952"/>
                      <a:pt x="1229" y="47985"/>
                      <a:pt x="4196" y="45018"/>
                    </a:cubicBezTo>
                    <a:cubicBezTo>
                      <a:pt x="7163" y="42051"/>
                      <a:pt x="90240" y="-5422"/>
                      <a:pt x="134746" y="513"/>
                    </a:cubicBezTo>
                    <a:cubicBezTo>
                      <a:pt x="146614" y="3480"/>
                      <a:pt x="152548" y="6446"/>
                      <a:pt x="158482" y="15348"/>
                    </a:cubicBezTo>
                    <a:cubicBezTo>
                      <a:pt x="167383" y="33150"/>
                      <a:pt x="158482" y="62821"/>
                      <a:pt x="158482" y="62821"/>
                    </a:cubicBezTo>
                    <a:cubicBezTo>
                      <a:pt x="155515" y="71721"/>
                      <a:pt x="155515" y="71721"/>
                      <a:pt x="152548" y="71721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890F9E3C-1211-402F-83E4-0E6D13EAC4DB}"/>
                  </a:ext>
                </a:extLst>
              </p:cNvPr>
              <p:cNvSpPr/>
              <p:nvPr/>
            </p:nvSpPr>
            <p:spPr>
              <a:xfrm>
                <a:off x="4513651" y="9979877"/>
                <a:ext cx="16496" cy="97911"/>
              </a:xfrm>
              <a:custGeom>
                <a:avLst/>
                <a:gdLst>
                  <a:gd name="connsiteX0" fmla="*/ 5934 w 16496"/>
                  <a:gd name="connsiteY0" fmla="*/ 97912 h 97911"/>
                  <a:gd name="connsiteX1" fmla="*/ 5934 w 16496"/>
                  <a:gd name="connsiteY1" fmla="*/ 97912 h 97911"/>
                  <a:gd name="connsiteX2" fmla="*/ 0 w 16496"/>
                  <a:gd name="connsiteY2" fmla="*/ 91978 h 97911"/>
                  <a:gd name="connsiteX3" fmla="*/ 5934 w 16496"/>
                  <a:gd name="connsiteY3" fmla="*/ 5934 h 97911"/>
                  <a:gd name="connsiteX4" fmla="*/ 8901 w 16496"/>
                  <a:gd name="connsiteY4" fmla="*/ 0 h 97911"/>
                  <a:gd name="connsiteX5" fmla="*/ 14835 w 16496"/>
                  <a:gd name="connsiteY5" fmla="*/ 2967 h 97911"/>
                  <a:gd name="connsiteX6" fmla="*/ 8901 w 16496"/>
                  <a:gd name="connsiteY6" fmla="*/ 91978 h 97911"/>
                  <a:gd name="connsiteX7" fmla="*/ 5934 w 16496"/>
                  <a:gd name="connsiteY7" fmla="*/ 97912 h 97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96" h="97911">
                    <a:moveTo>
                      <a:pt x="5934" y="97912"/>
                    </a:moveTo>
                    <a:cubicBezTo>
                      <a:pt x="5934" y="97912"/>
                      <a:pt x="2967" y="97912"/>
                      <a:pt x="5934" y="97912"/>
                    </a:cubicBezTo>
                    <a:cubicBezTo>
                      <a:pt x="2967" y="97912"/>
                      <a:pt x="0" y="94945"/>
                      <a:pt x="0" y="91978"/>
                    </a:cubicBezTo>
                    <a:cubicBezTo>
                      <a:pt x="2967" y="74176"/>
                      <a:pt x="8901" y="23736"/>
                      <a:pt x="5934" y="5934"/>
                    </a:cubicBezTo>
                    <a:cubicBezTo>
                      <a:pt x="5934" y="2967"/>
                      <a:pt x="5934" y="0"/>
                      <a:pt x="8901" y="0"/>
                    </a:cubicBezTo>
                    <a:cubicBezTo>
                      <a:pt x="11868" y="0"/>
                      <a:pt x="14835" y="0"/>
                      <a:pt x="14835" y="2967"/>
                    </a:cubicBezTo>
                    <a:cubicBezTo>
                      <a:pt x="20769" y="23736"/>
                      <a:pt x="8901" y="89011"/>
                      <a:pt x="8901" y="91978"/>
                    </a:cubicBezTo>
                    <a:cubicBezTo>
                      <a:pt x="8901" y="97912"/>
                      <a:pt x="8901" y="97912"/>
                      <a:pt x="5934" y="97912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31A698C8-2ECE-4B57-AC11-ECDF159D2A59}"/>
                </a:ext>
              </a:extLst>
            </p:cNvPr>
            <p:cNvSpPr/>
            <p:nvPr/>
          </p:nvSpPr>
          <p:spPr>
            <a:xfrm>
              <a:off x="3867003" y="9655291"/>
              <a:ext cx="321867" cy="860103"/>
            </a:xfrm>
            <a:custGeom>
              <a:avLst/>
              <a:gdLst>
                <a:gd name="connsiteX0" fmla="*/ 20604 w 321867"/>
                <a:gd name="connsiteY0" fmla="*/ 1179 h 860103"/>
                <a:gd name="connsiteX1" fmla="*/ 2802 w 321867"/>
                <a:gd name="connsiteY1" fmla="*/ 315685 h 860103"/>
                <a:gd name="connsiteX2" fmla="*/ 82912 w 321867"/>
                <a:gd name="connsiteY2" fmla="*/ 852717 h 860103"/>
                <a:gd name="connsiteX3" fmla="*/ 320275 w 321867"/>
                <a:gd name="connsiteY3" fmla="*/ 624256 h 860103"/>
                <a:gd name="connsiteX4" fmla="*/ 20604 w 321867"/>
                <a:gd name="connsiteY4" fmla="*/ 1179 h 860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1867" h="860103">
                  <a:moveTo>
                    <a:pt x="20604" y="1179"/>
                  </a:moveTo>
                  <a:cubicBezTo>
                    <a:pt x="20604" y="1179"/>
                    <a:pt x="-9066" y="211839"/>
                    <a:pt x="2802" y="315685"/>
                  </a:cubicBezTo>
                  <a:cubicBezTo>
                    <a:pt x="14670" y="419531"/>
                    <a:pt x="53242" y="796344"/>
                    <a:pt x="82912" y="852717"/>
                  </a:cubicBezTo>
                  <a:cubicBezTo>
                    <a:pt x="112582" y="909091"/>
                    <a:pt x="320275" y="624256"/>
                    <a:pt x="320275" y="624256"/>
                  </a:cubicBezTo>
                  <a:cubicBezTo>
                    <a:pt x="320275" y="624256"/>
                    <a:pt x="361813" y="-31458"/>
                    <a:pt x="20604" y="1179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7516992A-E001-4480-90CB-3BF17864E17B}"/>
                </a:ext>
              </a:extLst>
            </p:cNvPr>
            <p:cNvSpPr/>
            <p:nvPr/>
          </p:nvSpPr>
          <p:spPr>
            <a:xfrm>
              <a:off x="3935229" y="10045152"/>
              <a:ext cx="457087" cy="522854"/>
            </a:xfrm>
            <a:custGeom>
              <a:avLst/>
              <a:gdLst>
                <a:gd name="connsiteX0" fmla="*/ 382598 w 457087"/>
                <a:gd name="connsiteY0" fmla="*/ 0 h 522854"/>
                <a:gd name="connsiteX1" fmla="*/ 5785 w 457087"/>
                <a:gd name="connsiteY1" fmla="*/ 364945 h 522854"/>
                <a:gd name="connsiteX2" fmla="*/ 136334 w 457087"/>
                <a:gd name="connsiteY2" fmla="*/ 510329 h 522854"/>
                <a:gd name="connsiteX3" fmla="*/ 456774 w 457087"/>
                <a:gd name="connsiteY3" fmla="*/ 106812 h 522854"/>
                <a:gd name="connsiteX4" fmla="*/ 382598 w 457087"/>
                <a:gd name="connsiteY4" fmla="*/ 0 h 522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087" h="522854">
                  <a:moveTo>
                    <a:pt x="382598" y="0"/>
                  </a:moveTo>
                  <a:cubicBezTo>
                    <a:pt x="382598" y="0"/>
                    <a:pt x="29521" y="281868"/>
                    <a:pt x="5785" y="364945"/>
                  </a:cubicBezTo>
                  <a:cubicBezTo>
                    <a:pt x="-17951" y="448021"/>
                    <a:pt x="32488" y="560769"/>
                    <a:pt x="136334" y="510329"/>
                  </a:cubicBezTo>
                  <a:cubicBezTo>
                    <a:pt x="240180" y="459890"/>
                    <a:pt x="450840" y="112747"/>
                    <a:pt x="456774" y="106812"/>
                  </a:cubicBezTo>
                  <a:cubicBezTo>
                    <a:pt x="462708" y="100879"/>
                    <a:pt x="382598" y="0"/>
                    <a:pt x="382598" y="0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F5DE15AF-7630-4E69-93A0-EA91F1845424}"/>
                </a:ext>
              </a:extLst>
            </p:cNvPr>
            <p:cNvSpPr/>
            <p:nvPr/>
          </p:nvSpPr>
          <p:spPr>
            <a:xfrm>
              <a:off x="3813431" y="9360536"/>
              <a:ext cx="409450" cy="575745"/>
            </a:xfrm>
            <a:custGeom>
              <a:avLst/>
              <a:gdLst>
                <a:gd name="connsiteX0" fmla="*/ 0 w 409450"/>
                <a:gd name="connsiteY0" fmla="*/ 562968 h 575745"/>
                <a:gd name="connsiteX1" fmla="*/ 166154 w 409450"/>
                <a:gd name="connsiteY1" fmla="*/ 2199 h 575745"/>
                <a:gd name="connsiteX2" fmla="*/ 409451 w 409450"/>
                <a:gd name="connsiteY2" fmla="*/ 521430 h 575745"/>
                <a:gd name="connsiteX3" fmla="*/ 0 w 409450"/>
                <a:gd name="connsiteY3" fmla="*/ 562968 h 575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450" h="575745">
                  <a:moveTo>
                    <a:pt x="0" y="562968"/>
                  </a:moveTo>
                  <a:cubicBezTo>
                    <a:pt x="0" y="562968"/>
                    <a:pt x="26703" y="40770"/>
                    <a:pt x="166154" y="2199"/>
                  </a:cubicBezTo>
                  <a:cubicBezTo>
                    <a:pt x="326374" y="-39340"/>
                    <a:pt x="409451" y="521430"/>
                    <a:pt x="409451" y="521430"/>
                  </a:cubicBezTo>
                  <a:cubicBezTo>
                    <a:pt x="409451" y="521430"/>
                    <a:pt x="201758" y="607473"/>
                    <a:pt x="0" y="562968"/>
                  </a:cubicBezTo>
                  <a:close/>
                </a:path>
              </a:pathLst>
            </a:custGeom>
            <a:solidFill>
              <a:srgbClr val="7F95BC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C9437952-4D01-4D43-BFFA-FAFAB50D975B}"/>
                </a:ext>
              </a:extLst>
            </p:cNvPr>
            <p:cNvSpPr/>
            <p:nvPr/>
          </p:nvSpPr>
          <p:spPr>
            <a:xfrm>
              <a:off x="3973651" y="9356800"/>
              <a:ext cx="255164" cy="569670"/>
            </a:xfrm>
            <a:custGeom>
              <a:avLst/>
              <a:gdLst>
                <a:gd name="connsiteX0" fmla="*/ 121648 w 255164"/>
                <a:gd name="connsiteY0" fmla="*/ 569671 h 569670"/>
                <a:gd name="connsiteX1" fmla="*/ 115714 w 255164"/>
                <a:gd name="connsiteY1" fmla="*/ 563736 h 569670"/>
                <a:gd name="connsiteX2" fmla="*/ 121648 w 255164"/>
                <a:gd name="connsiteY2" fmla="*/ 557802 h 569670"/>
                <a:gd name="connsiteX3" fmla="*/ 243297 w 255164"/>
                <a:gd name="connsiteY3" fmla="*/ 522198 h 569670"/>
                <a:gd name="connsiteX4" fmla="*/ 160220 w 255164"/>
                <a:gd name="connsiteY4" fmla="*/ 186923 h 569670"/>
                <a:gd name="connsiteX5" fmla="*/ 5934 w 255164"/>
                <a:gd name="connsiteY5" fmla="*/ 11868 h 569670"/>
                <a:gd name="connsiteX6" fmla="*/ 0 w 255164"/>
                <a:gd name="connsiteY6" fmla="*/ 5934 h 569670"/>
                <a:gd name="connsiteX7" fmla="*/ 5934 w 255164"/>
                <a:gd name="connsiteY7" fmla="*/ 0 h 569670"/>
                <a:gd name="connsiteX8" fmla="*/ 172088 w 255164"/>
                <a:gd name="connsiteY8" fmla="*/ 183956 h 569670"/>
                <a:gd name="connsiteX9" fmla="*/ 255165 w 255164"/>
                <a:gd name="connsiteY9" fmla="*/ 525165 h 569670"/>
                <a:gd name="connsiteX10" fmla="*/ 255165 w 255164"/>
                <a:gd name="connsiteY10" fmla="*/ 528132 h 569670"/>
                <a:gd name="connsiteX11" fmla="*/ 252198 w 255164"/>
                <a:gd name="connsiteY11" fmla="*/ 531099 h 569670"/>
                <a:gd name="connsiteX12" fmla="*/ 121648 w 255164"/>
                <a:gd name="connsiteY12" fmla="*/ 569671 h 569670"/>
                <a:gd name="connsiteX13" fmla="*/ 121648 w 255164"/>
                <a:gd name="connsiteY13" fmla="*/ 569671 h 569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5164" h="569670">
                  <a:moveTo>
                    <a:pt x="121648" y="569671"/>
                  </a:moveTo>
                  <a:cubicBezTo>
                    <a:pt x="118681" y="569671"/>
                    <a:pt x="115714" y="566704"/>
                    <a:pt x="115714" y="563736"/>
                  </a:cubicBezTo>
                  <a:cubicBezTo>
                    <a:pt x="115714" y="560769"/>
                    <a:pt x="118681" y="557802"/>
                    <a:pt x="121648" y="557802"/>
                  </a:cubicBezTo>
                  <a:cubicBezTo>
                    <a:pt x="175055" y="548901"/>
                    <a:pt x="228462" y="528132"/>
                    <a:pt x="243297" y="522198"/>
                  </a:cubicBezTo>
                  <a:cubicBezTo>
                    <a:pt x="237363" y="495495"/>
                    <a:pt x="207692" y="341209"/>
                    <a:pt x="160220" y="186923"/>
                  </a:cubicBezTo>
                  <a:cubicBezTo>
                    <a:pt x="112747" y="20770"/>
                    <a:pt x="5934" y="11868"/>
                    <a:pt x="5934" y="11868"/>
                  </a:cubicBezTo>
                  <a:cubicBezTo>
                    <a:pt x="2967" y="11868"/>
                    <a:pt x="0" y="8901"/>
                    <a:pt x="0" y="5934"/>
                  </a:cubicBezTo>
                  <a:cubicBezTo>
                    <a:pt x="0" y="2967"/>
                    <a:pt x="2967" y="0"/>
                    <a:pt x="5934" y="0"/>
                  </a:cubicBezTo>
                  <a:cubicBezTo>
                    <a:pt x="11868" y="0"/>
                    <a:pt x="121648" y="8901"/>
                    <a:pt x="172088" y="183956"/>
                  </a:cubicBezTo>
                  <a:cubicBezTo>
                    <a:pt x="222527" y="353077"/>
                    <a:pt x="255165" y="522198"/>
                    <a:pt x="255165" y="525165"/>
                  </a:cubicBezTo>
                  <a:lnTo>
                    <a:pt x="255165" y="528132"/>
                  </a:lnTo>
                  <a:lnTo>
                    <a:pt x="252198" y="531099"/>
                  </a:lnTo>
                  <a:cubicBezTo>
                    <a:pt x="249231" y="531099"/>
                    <a:pt x="186923" y="560769"/>
                    <a:pt x="121648" y="569671"/>
                  </a:cubicBezTo>
                  <a:cubicBezTo>
                    <a:pt x="121648" y="569671"/>
                    <a:pt x="121648" y="569671"/>
                    <a:pt x="121648" y="569671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A60EF089-B332-4F7A-A2DA-10DD4676CCAE}"/>
                </a:ext>
              </a:extLst>
            </p:cNvPr>
            <p:cNvSpPr/>
            <p:nvPr/>
          </p:nvSpPr>
          <p:spPr>
            <a:xfrm>
              <a:off x="4021865" y="10138868"/>
              <a:ext cx="181476" cy="152547"/>
            </a:xfrm>
            <a:custGeom>
              <a:avLst/>
              <a:gdLst>
                <a:gd name="connsiteX0" fmla="*/ 5192 w 181476"/>
                <a:gd name="connsiteY0" fmla="*/ 152548 h 152547"/>
                <a:gd name="connsiteX1" fmla="*/ 2225 w 181476"/>
                <a:gd name="connsiteY1" fmla="*/ 152548 h 152547"/>
                <a:gd name="connsiteX2" fmla="*/ 2225 w 181476"/>
                <a:gd name="connsiteY2" fmla="*/ 143647 h 152547"/>
                <a:gd name="connsiteX3" fmla="*/ 171346 w 181476"/>
                <a:gd name="connsiteY3" fmla="*/ 1229 h 152547"/>
                <a:gd name="connsiteX4" fmla="*/ 180247 w 181476"/>
                <a:gd name="connsiteY4" fmla="*/ 4196 h 152547"/>
                <a:gd name="connsiteX5" fmla="*/ 177280 w 181476"/>
                <a:gd name="connsiteY5" fmla="*/ 13097 h 152547"/>
                <a:gd name="connsiteX6" fmla="*/ 11126 w 181476"/>
                <a:gd name="connsiteY6" fmla="*/ 152548 h 152547"/>
                <a:gd name="connsiteX7" fmla="*/ 5192 w 181476"/>
                <a:gd name="connsiteY7" fmla="*/ 152548 h 152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476" h="152547">
                  <a:moveTo>
                    <a:pt x="5192" y="152548"/>
                  </a:moveTo>
                  <a:cubicBezTo>
                    <a:pt x="5192" y="152548"/>
                    <a:pt x="2225" y="152548"/>
                    <a:pt x="2225" y="152548"/>
                  </a:cubicBezTo>
                  <a:cubicBezTo>
                    <a:pt x="-742" y="149581"/>
                    <a:pt x="-742" y="146614"/>
                    <a:pt x="2225" y="143647"/>
                  </a:cubicBezTo>
                  <a:cubicBezTo>
                    <a:pt x="49698" y="84307"/>
                    <a:pt x="165412" y="4196"/>
                    <a:pt x="171346" y="1229"/>
                  </a:cubicBezTo>
                  <a:cubicBezTo>
                    <a:pt x="174313" y="-1738"/>
                    <a:pt x="177280" y="1229"/>
                    <a:pt x="180247" y="4196"/>
                  </a:cubicBezTo>
                  <a:cubicBezTo>
                    <a:pt x="183214" y="7163"/>
                    <a:pt x="180247" y="10131"/>
                    <a:pt x="177280" y="13097"/>
                  </a:cubicBezTo>
                  <a:cubicBezTo>
                    <a:pt x="177280" y="13097"/>
                    <a:pt x="58599" y="93207"/>
                    <a:pt x="11126" y="152548"/>
                  </a:cubicBezTo>
                  <a:cubicBezTo>
                    <a:pt x="8159" y="152548"/>
                    <a:pt x="8159" y="152548"/>
                    <a:pt x="5192" y="152548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8980007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D043B49D-9BC7-423D-964B-004B007C82BF}"/>
              </a:ext>
            </a:extLst>
          </p:cNvPr>
          <p:cNvGrpSpPr/>
          <p:nvPr/>
        </p:nvGrpSpPr>
        <p:grpSpPr>
          <a:xfrm>
            <a:off x="6709928" y="2174793"/>
            <a:ext cx="2321331" cy="4683207"/>
            <a:chOff x="15396728" y="7760536"/>
            <a:chExt cx="2321331" cy="4683207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94B1F32C-7594-478D-88CA-8CA3D1AC90E9}"/>
                </a:ext>
              </a:extLst>
            </p:cNvPr>
            <p:cNvGrpSpPr/>
            <p:nvPr/>
          </p:nvGrpSpPr>
          <p:grpSpPr>
            <a:xfrm>
              <a:off x="15476049" y="9619702"/>
              <a:ext cx="281100" cy="173252"/>
              <a:chOff x="15476049" y="9619702"/>
              <a:chExt cx="281100" cy="173252"/>
            </a:xfrm>
          </p:grpSpPr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DDF4B147-AFA6-4B4A-9C76-E888D76DCCBC}"/>
                  </a:ext>
                </a:extLst>
              </p:cNvPr>
              <p:cNvSpPr/>
              <p:nvPr/>
            </p:nvSpPr>
            <p:spPr>
              <a:xfrm>
                <a:off x="15476049" y="9619702"/>
                <a:ext cx="281100" cy="173252"/>
              </a:xfrm>
              <a:custGeom>
                <a:avLst/>
                <a:gdLst>
                  <a:gd name="connsiteX0" fmla="*/ 226284 w 281100"/>
                  <a:gd name="connsiteY0" fmla="*/ 13032 h 173252"/>
                  <a:gd name="connsiteX1" fmla="*/ 152108 w 281100"/>
                  <a:gd name="connsiteY1" fmla="*/ 1164 h 173252"/>
                  <a:gd name="connsiteX2" fmla="*/ 98702 w 281100"/>
                  <a:gd name="connsiteY2" fmla="*/ 7098 h 173252"/>
                  <a:gd name="connsiteX3" fmla="*/ 77932 w 281100"/>
                  <a:gd name="connsiteY3" fmla="*/ 30834 h 173252"/>
                  <a:gd name="connsiteX4" fmla="*/ 125405 w 281100"/>
                  <a:gd name="connsiteY4" fmla="*/ 36769 h 173252"/>
                  <a:gd name="connsiteX5" fmla="*/ 161009 w 281100"/>
                  <a:gd name="connsiteY5" fmla="*/ 66439 h 173252"/>
                  <a:gd name="connsiteX6" fmla="*/ 15624 w 281100"/>
                  <a:gd name="connsiteY6" fmla="*/ 69406 h 173252"/>
                  <a:gd name="connsiteX7" fmla="*/ 3756 w 281100"/>
                  <a:gd name="connsiteY7" fmla="*/ 84242 h 173252"/>
                  <a:gd name="connsiteX8" fmla="*/ 9691 w 281100"/>
                  <a:gd name="connsiteY8" fmla="*/ 87208 h 173252"/>
                  <a:gd name="connsiteX9" fmla="*/ 789 w 281100"/>
                  <a:gd name="connsiteY9" fmla="*/ 99077 h 173252"/>
                  <a:gd name="connsiteX10" fmla="*/ 24526 w 281100"/>
                  <a:gd name="connsiteY10" fmla="*/ 140615 h 173252"/>
                  <a:gd name="connsiteX11" fmla="*/ 143207 w 281100"/>
                  <a:gd name="connsiteY11" fmla="*/ 173253 h 173252"/>
                  <a:gd name="connsiteX12" fmla="*/ 276724 w 281100"/>
                  <a:gd name="connsiteY12" fmla="*/ 116878 h 173252"/>
                  <a:gd name="connsiteX13" fmla="*/ 279691 w 281100"/>
                  <a:gd name="connsiteY13" fmla="*/ 107977 h 173252"/>
                  <a:gd name="connsiteX14" fmla="*/ 226284 w 281100"/>
                  <a:gd name="connsiteY14" fmla="*/ 13032 h 173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1100" h="173252">
                    <a:moveTo>
                      <a:pt x="226284" y="13032"/>
                    </a:moveTo>
                    <a:cubicBezTo>
                      <a:pt x="199580" y="10066"/>
                      <a:pt x="175845" y="4131"/>
                      <a:pt x="152108" y="1164"/>
                    </a:cubicBezTo>
                    <a:cubicBezTo>
                      <a:pt x="122437" y="-1803"/>
                      <a:pt x="131339" y="1164"/>
                      <a:pt x="98702" y="7098"/>
                    </a:cubicBezTo>
                    <a:cubicBezTo>
                      <a:pt x="95734" y="7098"/>
                      <a:pt x="74965" y="27867"/>
                      <a:pt x="77932" y="30834"/>
                    </a:cubicBezTo>
                    <a:cubicBezTo>
                      <a:pt x="77932" y="36769"/>
                      <a:pt x="89800" y="45670"/>
                      <a:pt x="125405" y="36769"/>
                    </a:cubicBezTo>
                    <a:cubicBezTo>
                      <a:pt x="140240" y="42702"/>
                      <a:pt x="155075" y="60505"/>
                      <a:pt x="161009" y="66439"/>
                    </a:cubicBezTo>
                    <a:cubicBezTo>
                      <a:pt x="143207" y="99077"/>
                      <a:pt x="24526" y="48637"/>
                      <a:pt x="15624" y="69406"/>
                    </a:cubicBezTo>
                    <a:cubicBezTo>
                      <a:pt x="15624" y="72373"/>
                      <a:pt x="789" y="81274"/>
                      <a:pt x="3756" y="84242"/>
                    </a:cubicBezTo>
                    <a:cubicBezTo>
                      <a:pt x="3756" y="84242"/>
                      <a:pt x="9691" y="87208"/>
                      <a:pt x="9691" y="87208"/>
                    </a:cubicBezTo>
                    <a:cubicBezTo>
                      <a:pt x="3756" y="90175"/>
                      <a:pt x="-2177" y="87208"/>
                      <a:pt x="789" y="99077"/>
                    </a:cubicBezTo>
                    <a:cubicBezTo>
                      <a:pt x="3756" y="107977"/>
                      <a:pt x="12658" y="131713"/>
                      <a:pt x="24526" y="140615"/>
                    </a:cubicBezTo>
                    <a:cubicBezTo>
                      <a:pt x="51229" y="158417"/>
                      <a:pt x="113537" y="173253"/>
                      <a:pt x="143207" y="173253"/>
                    </a:cubicBezTo>
                    <a:cubicBezTo>
                      <a:pt x="187713" y="173253"/>
                      <a:pt x="244086" y="143582"/>
                      <a:pt x="276724" y="116878"/>
                    </a:cubicBezTo>
                    <a:cubicBezTo>
                      <a:pt x="279691" y="113912"/>
                      <a:pt x="279691" y="110945"/>
                      <a:pt x="279691" y="107977"/>
                    </a:cubicBezTo>
                    <a:cubicBezTo>
                      <a:pt x="285624" y="63472"/>
                      <a:pt x="273756" y="15999"/>
                      <a:pt x="226284" y="13032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95C81284-F5D1-424B-9643-18DC81BC15C8}"/>
                  </a:ext>
                </a:extLst>
              </p:cNvPr>
              <p:cNvSpPr/>
              <p:nvPr/>
            </p:nvSpPr>
            <p:spPr>
              <a:xfrm>
                <a:off x="15481453" y="9673109"/>
                <a:ext cx="159800" cy="34390"/>
              </a:xfrm>
              <a:custGeom>
                <a:avLst/>
                <a:gdLst>
                  <a:gd name="connsiteX0" fmla="*/ 7253 w 159800"/>
                  <a:gd name="connsiteY0" fmla="*/ 33801 h 34390"/>
                  <a:gd name="connsiteX1" fmla="*/ 1319 w 159800"/>
                  <a:gd name="connsiteY1" fmla="*/ 30834 h 34390"/>
                  <a:gd name="connsiteX2" fmla="*/ 1319 w 159800"/>
                  <a:gd name="connsiteY2" fmla="*/ 15999 h 34390"/>
                  <a:gd name="connsiteX3" fmla="*/ 19121 w 159800"/>
                  <a:gd name="connsiteY3" fmla="*/ 1164 h 34390"/>
                  <a:gd name="connsiteX4" fmla="*/ 60659 w 159800"/>
                  <a:gd name="connsiteY4" fmla="*/ 7098 h 34390"/>
                  <a:gd name="connsiteX5" fmla="*/ 122967 w 159800"/>
                  <a:gd name="connsiteY5" fmla="*/ 18966 h 34390"/>
                  <a:gd name="connsiteX6" fmla="*/ 149670 w 159800"/>
                  <a:gd name="connsiteY6" fmla="*/ 7098 h 34390"/>
                  <a:gd name="connsiteX7" fmla="*/ 158571 w 159800"/>
                  <a:gd name="connsiteY7" fmla="*/ 10065 h 34390"/>
                  <a:gd name="connsiteX8" fmla="*/ 155605 w 159800"/>
                  <a:gd name="connsiteY8" fmla="*/ 18966 h 34390"/>
                  <a:gd name="connsiteX9" fmla="*/ 122967 w 159800"/>
                  <a:gd name="connsiteY9" fmla="*/ 33801 h 34390"/>
                  <a:gd name="connsiteX10" fmla="*/ 54725 w 159800"/>
                  <a:gd name="connsiteY10" fmla="*/ 21933 h 34390"/>
                  <a:gd name="connsiteX11" fmla="*/ 22088 w 159800"/>
                  <a:gd name="connsiteY11" fmla="*/ 15999 h 34390"/>
                  <a:gd name="connsiteX12" fmla="*/ 13187 w 159800"/>
                  <a:gd name="connsiteY12" fmla="*/ 21933 h 34390"/>
                  <a:gd name="connsiteX13" fmla="*/ 13187 w 159800"/>
                  <a:gd name="connsiteY13" fmla="*/ 27867 h 34390"/>
                  <a:gd name="connsiteX14" fmla="*/ 7253 w 159800"/>
                  <a:gd name="connsiteY14" fmla="*/ 33801 h 34390"/>
                  <a:gd name="connsiteX15" fmla="*/ 7253 w 159800"/>
                  <a:gd name="connsiteY15" fmla="*/ 33801 h 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9800" h="34390">
                    <a:moveTo>
                      <a:pt x="7253" y="33801"/>
                    </a:moveTo>
                    <a:cubicBezTo>
                      <a:pt x="4286" y="33801"/>
                      <a:pt x="4286" y="33801"/>
                      <a:pt x="1319" y="30834"/>
                    </a:cubicBezTo>
                    <a:cubicBezTo>
                      <a:pt x="1319" y="30834"/>
                      <a:pt x="-1648" y="21933"/>
                      <a:pt x="1319" y="15999"/>
                    </a:cubicBezTo>
                    <a:cubicBezTo>
                      <a:pt x="4286" y="10065"/>
                      <a:pt x="10219" y="4130"/>
                      <a:pt x="19121" y="1164"/>
                    </a:cubicBezTo>
                    <a:cubicBezTo>
                      <a:pt x="30989" y="-1803"/>
                      <a:pt x="45824" y="1164"/>
                      <a:pt x="60659" y="7098"/>
                    </a:cubicBezTo>
                    <a:cubicBezTo>
                      <a:pt x="78462" y="13032"/>
                      <a:pt x="99230" y="18966"/>
                      <a:pt x="122967" y="18966"/>
                    </a:cubicBezTo>
                    <a:cubicBezTo>
                      <a:pt x="131868" y="18966"/>
                      <a:pt x="146703" y="10065"/>
                      <a:pt x="149670" y="7098"/>
                    </a:cubicBezTo>
                    <a:cubicBezTo>
                      <a:pt x="152638" y="4130"/>
                      <a:pt x="155605" y="7098"/>
                      <a:pt x="158571" y="10065"/>
                    </a:cubicBezTo>
                    <a:cubicBezTo>
                      <a:pt x="161538" y="13032"/>
                      <a:pt x="158571" y="15999"/>
                      <a:pt x="155605" y="18966"/>
                    </a:cubicBezTo>
                    <a:cubicBezTo>
                      <a:pt x="155605" y="18966"/>
                      <a:pt x="137802" y="30834"/>
                      <a:pt x="122967" y="33801"/>
                    </a:cubicBezTo>
                    <a:cubicBezTo>
                      <a:pt x="96264" y="36768"/>
                      <a:pt x="72527" y="27867"/>
                      <a:pt x="54725" y="21933"/>
                    </a:cubicBezTo>
                    <a:cubicBezTo>
                      <a:pt x="39890" y="15999"/>
                      <a:pt x="28022" y="13032"/>
                      <a:pt x="22088" y="15999"/>
                    </a:cubicBezTo>
                    <a:cubicBezTo>
                      <a:pt x="16154" y="18966"/>
                      <a:pt x="13187" y="18966"/>
                      <a:pt x="13187" y="21933"/>
                    </a:cubicBezTo>
                    <a:cubicBezTo>
                      <a:pt x="13187" y="24900"/>
                      <a:pt x="13187" y="27867"/>
                      <a:pt x="13187" y="27867"/>
                    </a:cubicBezTo>
                    <a:cubicBezTo>
                      <a:pt x="16154" y="27867"/>
                      <a:pt x="13187" y="30834"/>
                      <a:pt x="7253" y="33801"/>
                    </a:cubicBezTo>
                    <a:cubicBezTo>
                      <a:pt x="10219" y="33801"/>
                      <a:pt x="10219" y="33801"/>
                      <a:pt x="7253" y="33801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C3339604-62BE-47C7-9EF7-4028F183F8E1}"/>
                </a:ext>
              </a:extLst>
            </p:cNvPr>
            <p:cNvSpPr/>
            <p:nvPr/>
          </p:nvSpPr>
          <p:spPr>
            <a:xfrm>
              <a:off x="15502455" y="9009586"/>
              <a:ext cx="790764" cy="769042"/>
            </a:xfrm>
            <a:custGeom>
              <a:avLst/>
              <a:gdLst>
                <a:gd name="connsiteX0" fmla="*/ 606361 w 790764"/>
                <a:gd name="connsiteY0" fmla="*/ 44577 h 769042"/>
                <a:gd name="connsiteX1" fmla="*/ 428339 w 790764"/>
                <a:gd name="connsiteY1" fmla="*/ 578642 h 769042"/>
                <a:gd name="connsiteX2" fmla="*/ 4053 w 790764"/>
                <a:gd name="connsiteY2" fmla="*/ 643917 h 769042"/>
                <a:gd name="connsiteX3" fmla="*/ 66361 w 790764"/>
                <a:gd name="connsiteY3" fmla="*/ 721060 h 769042"/>
                <a:gd name="connsiteX4" fmla="*/ 514383 w 790764"/>
                <a:gd name="connsiteY4" fmla="*/ 750731 h 769042"/>
                <a:gd name="connsiteX5" fmla="*/ 787350 w 790764"/>
                <a:gd name="connsiteY5" fmla="*/ 249302 h 769042"/>
                <a:gd name="connsiteX6" fmla="*/ 606361 w 790764"/>
                <a:gd name="connsiteY6" fmla="*/ 44577 h 769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0764" h="769042">
                  <a:moveTo>
                    <a:pt x="606361" y="44577"/>
                  </a:moveTo>
                  <a:cubicBezTo>
                    <a:pt x="558888" y="145456"/>
                    <a:pt x="428339" y="578642"/>
                    <a:pt x="428339" y="578642"/>
                  </a:cubicBezTo>
                  <a:cubicBezTo>
                    <a:pt x="428339" y="578642"/>
                    <a:pt x="4053" y="637983"/>
                    <a:pt x="4053" y="643917"/>
                  </a:cubicBezTo>
                  <a:cubicBezTo>
                    <a:pt x="-13749" y="709192"/>
                    <a:pt x="30757" y="712159"/>
                    <a:pt x="66361" y="721060"/>
                  </a:cubicBezTo>
                  <a:cubicBezTo>
                    <a:pt x="75262" y="724028"/>
                    <a:pt x="271086" y="804137"/>
                    <a:pt x="514383" y="750731"/>
                  </a:cubicBezTo>
                  <a:cubicBezTo>
                    <a:pt x="579658" y="735895"/>
                    <a:pt x="733943" y="388752"/>
                    <a:pt x="787350" y="249302"/>
                  </a:cubicBezTo>
                  <a:cubicBezTo>
                    <a:pt x="814053" y="169192"/>
                    <a:pt x="677570" y="-106742"/>
                    <a:pt x="606361" y="44577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1EEEECAF-A73F-4716-B967-C9EEDE748EA7}"/>
                </a:ext>
              </a:extLst>
            </p:cNvPr>
            <p:cNvSpPr/>
            <p:nvPr/>
          </p:nvSpPr>
          <p:spPr>
            <a:xfrm>
              <a:off x="16375849" y="8528144"/>
              <a:ext cx="145384" cy="199645"/>
            </a:xfrm>
            <a:custGeom>
              <a:avLst/>
              <a:gdLst>
                <a:gd name="connsiteX0" fmla="*/ 0 w 145384"/>
                <a:gd name="connsiteY0" fmla="*/ 854 h 199645"/>
                <a:gd name="connsiteX1" fmla="*/ 38571 w 145384"/>
                <a:gd name="connsiteY1" fmla="*/ 184810 h 199645"/>
                <a:gd name="connsiteX2" fmla="*/ 100879 w 145384"/>
                <a:gd name="connsiteY2" fmla="*/ 199645 h 199645"/>
                <a:gd name="connsiteX3" fmla="*/ 145384 w 145384"/>
                <a:gd name="connsiteY3" fmla="*/ 104700 h 199645"/>
                <a:gd name="connsiteX4" fmla="*/ 0 w 145384"/>
                <a:gd name="connsiteY4" fmla="*/ 854 h 199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384" h="199645">
                  <a:moveTo>
                    <a:pt x="0" y="854"/>
                  </a:moveTo>
                  <a:lnTo>
                    <a:pt x="38571" y="184810"/>
                  </a:lnTo>
                  <a:lnTo>
                    <a:pt x="100879" y="199645"/>
                  </a:lnTo>
                  <a:lnTo>
                    <a:pt x="145384" y="104700"/>
                  </a:lnTo>
                  <a:cubicBezTo>
                    <a:pt x="145384" y="104700"/>
                    <a:pt x="94945" y="-11014"/>
                    <a:pt x="0" y="854"/>
                  </a:cubicBez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CCEADD1D-CDFC-42B8-B448-3F6595AE24FD}"/>
                </a:ext>
              </a:extLst>
            </p:cNvPr>
            <p:cNvGrpSpPr/>
            <p:nvPr/>
          </p:nvGrpSpPr>
          <p:grpSpPr>
            <a:xfrm>
              <a:off x="17366838" y="11700756"/>
              <a:ext cx="351222" cy="486341"/>
              <a:chOff x="17366838" y="11700756"/>
              <a:chExt cx="351222" cy="486341"/>
            </a:xfrm>
          </p:grpSpPr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010934C8-C8A7-48AC-B062-0B0F6CC9B63B}"/>
                  </a:ext>
                </a:extLst>
              </p:cNvPr>
              <p:cNvSpPr/>
              <p:nvPr/>
            </p:nvSpPr>
            <p:spPr>
              <a:xfrm>
                <a:off x="17461783" y="11792492"/>
                <a:ext cx="256276" cy="394605"/>
              </a:xfrm>
              <a:custGeom>
                <a:avLst/>
                <a:gdLst>
                  <a:gd name="connsiteX0" fmla="*/ 0 w 256276"/>
                  <a:gd name="connsiteY0" fmla="*/ 95187 h 394605"/>
                  <a:gd name="connsiteX1" fmla="*/ 100879 w 256276"/>
                  <a:gd name="connsiteY1" fmla="*/ 264308 h 394605"/>
                  <a:gd name="connsiteX2" fmla="*/ 71209 w 256276"/>
                  <a:gd name="connsiteY2" fmla="*/ 23978 h 394605"/>
                  <a:gd name="connsiteX3" fmla="*/ 65274 w 256276"/>
                  <a:gd name="connsiteY3" fmla="*/ 242 h 394605"/>
                  <a:gd name="connsiteX4" fmla="*/ 142417 w 256276"/>
                  <a:gd name="connsiteY4" fmla="*/ 12110 h 394605"/>
                  <a:gd name="connsiteX5" fmla="*/ 246263 w 256276"/>
                  <a:gd name="connsiteY5" fmla="*/ 68484 h 394605"/>
                  <a:gd name="connsiteX6" fmla="*/ 255164 w 256276"/>
                  <a:gd name="connsiteY6" fmla="*/ 92220 h 394605"/>
                  <a:gd name="connsiteX7" fmla="*/ 207692 w 256276"/>
                  <a:gd name="connsiteY7" fmla="*/ 249473 h 394605"/>
                  <a:gd name="connsiteX8" fmla="*/ 151318 w 256276"/>
                  <a:gd name="connsiteY8" fmla="*/ 391890 h 394605"/>
                  <a:gd name="connsiteX9" fmla="*/ 109780 w 256276"/>
                  <a:gd name="connsiteY9" fmla="*/ 374089 h 394605"/>
                  <a:gd name="connsiteX10" fmla="*/ 0 w 256276"/>
                  <a:gd name="connsiteY10" fmla="*/ 95187 h 394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6276" h="394605">
                    <a:moveTo>
                      <a:pt x="0" y="95187"/>
                    </a:moveTo>
                    <a:cubicBezTo>
                      <a:pt x="0" y="95187"/>
                      <a:pt x="86044" y="276176"/>
                      <a:pt x="100879" y="264308"/>
                    </a:cubicBezTo>
                    <a:cubicBezTo>
                      <a:pt x="115714" y="252440"/>
                      <a:pt x="71209" y="23978"/>
                      <a:pt x="71209" y="23978"/>
                    </a:cubicBezTo>
                    <a:lnTo>
                      <a:pt x="65274" y="242"/>
                    </a:lnTo>
                    <a:cubicBezTo>
                      <a:pt x="65274" y="242"/>
                      <a:pt x="118681" y="-2725"/>
                      <a:pt x="142417" y="12110"/>
                    </a:cubicBezTo>
                    <a:cubicBezTo>
                      <a:pt x="160220" y="23978"/>
                      <a:pt x="219560" y="53648"/>
                      <a:pt x="246263" y="68484"/>
                    </a:cubicBezTo>
                    <a:cubicBezTo>
                      <a:pt x="255164" y="74418"/>
                      <a:pt x="258131" y="83319"/>
                      <a:pt x="255164" y="92220"/>
                    </a:cubicBezTo>
                    <a:cubicBezTo>
                      <a:pt x="243296" y="127824"/>
                      <a:pt x="216593" y="219803"/>
                      <a:pt x="207692" y="249473"/>
                    </a:cubicBezTo>
                    <a:cubicBezTo>
                      <a:pt x="201758" y="270242"/>
                      <a:pt x="154285" y="382989"/>
                      <a:pt x="151318" y="391890"/>
                    </a:cubicBezTo>
                    <a:cubicBezTo>
                      <a:pt x="145384" y="400792"/>
                      <a:pt x="112747" y="385957"/>
                      <a:pt x="109780" y="374089"/>
                    </a:cubicBezTo>
                    <a:cubicBezTo>
                      <a:pt x="97912" y="288044"/>
                      <a:pt x="0" y="95187"/>
                      <a:pt x="0" y="95187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BCA9FEEC-A173-4F79-BB7C-6383FAF90137}"/>
                  </a:ext>
                </a:extLst>
              </p:cNvPr>
              <p:cNvSpPr/>
              <p:nvPr/>
            </p:nvSpPr>
            <p:spPr>
              <a:xfrm>
                <a:off x="17366838" y="11700756"/>
                <a:ext cx="203993" cy="356603"/>
              </a:xfrm>
              <a:custGeom>
                <a:avLst/>
                <a:gdLst>
                  <a:gd name="connsiteX0" fmla="*/ 0 w 203993"/>
                  <a:gd name="connsiteY0" fmla="*/ 94945 h 356603"/>
                  <a:gd name="connsiteX1" fmla="*/ 94945 w 203993"/>
                  <a:gd name="connsiteY1" fmla="*/ 186923 h 356603"/>
                  <a:gd name="connsiteX2" fmla="*/ 195824 w 203993"/>
                  <a:gd name="connsiteY2" fmla="*/ 356044 h 356603"/>
                  <a:gd name="connsiteX3" fmla="*/ 157252 w 203993"/>
                  <a:gd name="connsiteY3" fmla="*/ 89011 h 356603"/>
                  <a:gd name="connsiteX4" fmla="*/ 38571 w 203993"/>
                  <a:gd name="connsiteY4" fmla="*/ 0 h 356603"/>
                  <a:gd name="connsiteX5" fmla="*/ 0 w 203993"/>
                  <a:gd name="connsiteY5" fmla="*/ 94945 h 356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3993" h="356603">
                    <a:moveTo>
                      <a:pt x="0" y="94945"/>
                    </a:moveTo>
                    <a:lnTo>
                      <a:pt x="94945" y="186923"/>
                    </a:lnTo>
                    <a:cubicBezTo>
                      <a:pt x="94945" y="186923"/>
                      <a:pt x="172088" y="367912"/>
                      <a:pt x="195824" y="356044"/>
                    </a:cubicBezTo>
                    <a:cubicBezTo>
                      <a:pt x="219560" y="344176"/>
                      <a:pt x="186923" y="100879"/>
                      <a:pt x="157252" y="89011"/>
                    </a:cubicBezTo>
                    <a:cubicBezTo>
                      <a:pt x="112747" y="68241"/>
                      <a:pt x="38571" y="0"/>
                      <a:pt x="38571" y="0"/>
                    </a:cubicBezTo>
                    <a:lnTo>
                      <a:pt x="0" y="94945"/>
                    </a:ln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1131E865-30EF-4E48-BECF-0B7A10B47792}"/>
                </a:ext>
              </a:extLst>
            </p:cNvPr>
            <p:cNvSpPr/>
            <p:nvPr/>
          </p:nvSpPr>
          <p:spPr>
            <a:xfrm>
              <a:off x="17622003" y="11822405"/>
              <a:ext cx="36832" cy="175054"/>
            </a:xfrm>
            <a:custGeom>
              <a:avLst/>
              <a:gdLst>
                <a:gd name="connsiteX0" fmla="*/ 32638 w 36832"/>
                <a:gd name="connsiteY0" fmla="*/ 175055 h 175054"/>
                <a:gd name="connsiteX1" fmla="*/ 26703 w 36832"/>
                <a:gd name="connsiteY1" fmla="*/ 169120 h 175054"/>
                <a:gd name="connsiteX2" fmla="*/ 0 w 36832"/>
                <a:gd name="connsiteY2" fmla="*/ 5934 h 175054"/>
                <a:gd name="connsiteX3" fmla="*/ 2967 w 36832"/>
                <a:gd name="connsiteY3" fmla="*/ 0 h 175054"/>
                <a:gd name="connsiteX4" fmla="*/ 8901 w 36832"/>
                <a:gd name="connsiteY4" fmla="*/ 2967 h 175054"/>
                <a:gd name="connsiteX5" fmla="*/ 35604 w 36832"/>
                <a:gd name="connsiteY5" fmla="*/ 169120 h 175054"/>
                <a:gd name="connsiteX6" fmla="*/ 32638 w 36832"/>
                <a:gd name="connsiteY6" fmla="*/ 175055 h 175054"/>
                <a:gd name="connsiteX7" fmla="*/ 32638 w 36832"/>
                <a:gd name="connsiteY7" fmla="*/ 175055 h 175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832" h="175054">
                  <a:moveTo>
                    <a:pt x="32638" y="175055"/>
                  </a:moveTo>
                  <a:cubicBezTo>
                    <a:pt x="29670" y="175055"/>
                    <a:pt x="26703" y="172088"/>
                    <a:pt x="26703" y="169120"/>
                  </a:cubicBezTo>
                  <a:cubicBezTo>
                    <a:pt x="23736" y="130549"/>
                    <a:pt x="0" y="5934"/>
                    <a:pt x="0" y="5934"/>
                  </a:cubicBezTo>
                  <a:cubicBezTo>
                    <a:pt x="0" y="2967"/>
                    <a:pt x="0" y="0"/>
                    <a:pt x="2967" y="0"/>
                  </a:cubicBezTo>
                  <a:cubicBezTo>
                    <a:pt x="5934" y="0"/>
                    <a:pt x="8901" y="0"/>
                    <a:pt x="8901" y="2967"/>
                  </a:cubicBezTo>
                  <a:cubicBezTo>
                    <a:pt x="8901" y="8901"/>
                    <a:pt x="32638" y="127582"/>
                    <a:pt x="35604" y="169120"/>
                  </a:cubicBezTo>
                  <a:cubicBezTo>
                    <a:pt x="38571" y="172088"/>
                    <a:pt x="35604" y="175055"/>
                    <a:pt x="32638" y="175055"/>
                  </a:cubicBezTo>
                  <a:cubicBezTo>
                    <a:pt x="32638" y="175055"/>
                    <a:pt x="32638" y="175055"/>
                    <a:pt x="32638" y="175055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A9C11F91-89CB-4F04-9EEC-717270B6EBF3}"/>
                </a:ext>
              </a:extLst>
            </p:cNvPr>
            <p:cNvGrpSpPr/>
            <p:nvPr/>
          </p:nvGrpSpPr>
          <p:grpSpPr>
            <a:xfrm>
              <a:off x="16090272" y="12053833"/>
              <a:ext cx="354771" cy="389910"/>
              <a:chOff x="16090272" y="12053833"/>
              <a:chExt cx="354771" cy="389910"/>
            </a:xfrm>
          </p:grpSpPr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861BE957-F6DC-4195-89E0-9B8262E24F58}"/>
                  </a:ext>
                </a:extLst>
              </p:cNvPr>
              <p:cNvSpPr/>
              <p:nvPr/>
            </p:nvSpPr>
            <p:spPr>
              <a:xfrm>
                <a:off x="16090272" y="12187349"/>
                <a:ext cx="354771" cy="256394"/>
              </a:xfrm>
              <a:custGeom>
                <a:avLst/>
                <a:gdLst>
                  <a:gd name="connsiteX0" fmla="*/ 220302 w 354771"/>
                  <a:gd name="connsiteY0" fmla="*/ 0 h 256394"/>
                  <a:gd name="connsiteX1" fmla="*/ 104588 w 354771"/>
                  <a:gd name="connsiteY1" fmla="*/ 160220 h 256394"/>
                  <a:gd name="connsiteX2" fmla="*/ 315247 w 354771"/>
                  <a:gd name="connsiteY2" fmla="*/ 35605 h 256394"/>
                  <a:gd name="connsiteX3" fmla="*/ 336016 w 354771"/>
                  <a:gd name="connsiteY3" fmla="*/ 20770 h 256394"/>
                  <a:gd name="connsiteX4" fmla="*/ 353819 w 354771"/>
                  <a:gd name="connsiteY4" fmla="*/ 94945 h 256394"/>
                  <a:gd name="connsiteX5" fmla="*/ 341951 w 354771"/>
                  <a:gd name="connsiteY5" fmla="*/ 213627 h 256394"/>
                  <a:gd name="connsiteX6" fmla="*/ 324148 w 354771"/>
                  <a:gd name="connsiteY6" fmla="*/ 231429 h 256394"/>
                  <a:gd name="connsiteX7" fmla="*/ 160961 w 354771"/>
                  <a:gd name="connsiteY7" fmla="*/ 252198 h 256394"/>
                  <a:gd name="connsiteX8" fmla="*/ 6676 w 354771"/>
                  <a:gd name="connsiteY8" fmla="*/ 255165 h 256394"/>
                  <a:gd name="connsiteX9" fmla="*/ 6676 w 354771"/>
                  <a:gd name="connsiteY9" fmla="*/ 210660 h 256394"/>
                  <a:gd name="connsiteX10" fmla="*/ 220302 w 354771"/>
                  <a:gd name="connsiteY10" fmla="*/ 0 h 256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4771" h="256394">
                    <a:moveTo>
                      <a:pt x="220302" y="0"/>
                    </a:moveTo>
                    <a:cubicBezTo>
                      <a:pt x="220302" y="0"/>
                      <a:pt x="89753" y="151319"/>
                      <a:pt x="104588" y="160220"/>
                    </a:cubicBezTo>
                    <a:cubicBezTo>
                      <a:pt x="122390" y="169121"/>
                      <a:pt x="315247" y="35605"/>
                      <a:pt x="315247" y="35605"/>
                    </a:cubicBezTo>
                    <a:lnTo>
                      <a:pt x="336016" y="20770"/>
                    </a:lnTo>
                    <a:cubicBezTo>
                      <a:pt x="336016" y="20770"/>
                      <a:pt x="359753" y="68242"/>
                      <a:pt x="353819" y="94945"/>
                    </a:cubicBezTo>
                    <a:cubicBezTo>
                      <a:pt x="350851" y="115714"/>
                      <a:pt x="344918" y="180989"/>
                      <a:pt x="341951" y="213627"/>
                    </a:cubicBezTo>
                    <a:cubicBezTo>
                      <a:pt x="341951" y="222527"/>
                      <a:pt x="333050" y="231429"/>
                      <a:pt x="324148" y="231429"/>
                    </a:cubicBezTo>
                    <a:cubicBezTo>
                      <a:pt x="285577" y="234395"/>
                      <a:pt x="193599" y="246264"/>
                      <a:pt x="160961" y="252198"/>
                    </a:cubicBezTo>
                    <a:cubicBezTo>
                      <a:pt x="140193" y="255165"/>
                      <a:pt x="18544" y="258132"/>
                      <a:pt x="6676" y="255165"/>
                    </a:cubicBezTo>
                    <a:cubicBezTo>
                      <a:pt x="-2225" y="255165"/>
                      <a:pt x="-2225" y="216594"/>
                      <a:pt x="6676" y="210660"/>
                    </a:cubicBezTo>
                    <a:cubicBezTo>
                      <a:pt x="83818" y="166154"/>
                      <a:pt x="220302" y="0"/>
                      <a:pt x="220302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ED7C5438-7048-435C-8DD9-AD75CCA1437F}"/>
                  </a:ext>
                </a:extLst>
              </p:cNvPr>
              <p:cNvSpPr/>
              <p:nvPr/>
            </p:nvSpPr>
            <p:spPr>
              <a:xfrm>
                <a:off x="16195676" y="12053833"/>
                <a:ext cx="233579" cy="295431"/>
              </a:xfrm>
              <a:custGeom>
                <a:avLst/>
                <a:gdLst>
                  <a:gd name="connsiteX0" fmla="*/ 108964 w 233579"/>
                  <a:gd name="connsiteY0" fmla="*/ 0 h 295431"/>
                  <a:gd name="connsiteX1" fmla="*/ 117865 w 233579"/>
                  <a:gd name="connsiteY1" fmla="*/ 133516 h 295431"/>
                  <a:gd name="connsiteX2" fmla="*/ 2151 w 233579"/>
                  <a:gd name="connsiteY2" fmla="*/ 293736 h 295431"/>
                  <a:gd name="connsiteX3" fmla="*/ 230612 w 233579"/>
                  <a:gd name="connsiteY3" fmla="*/ 154286 h 295431"/>
                  <a:gd name="connsiteX4" fmla="*/ 233579 w 233579"/>
                  <a:gd name="connsiteY4" fmla="*/ 0 h 295431"/>
                  <a:gd name="connsiteX5" fmla="*/ 108964 w 233579"/>
                  <a:gd name="connsiteY5" fmla="*/ 0 h 295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3579" h="295431">
                    <a:moveTo>
                      <a:pt x="108964" y="0"/>
                    </a:moveTo>
                    <a:lnTo>
                      <a:pt x="117865" y="133516"/>
                    </a:lnTo>
                    <a:cubicBezTo>
                      <a:pt x="117865" y="133516"/>
                      <a:pt x="-18619" y="278901"/>
                      <a:pt x="2151" y="293736"/>
                    </a:cubicBezTo>
                    <a:cubicBezTo>
                      <a:pt x="22920" y="311538"/>
                      <a:pt x="233579" y="183956"/>
                      <a:pt x="230612" y="154286"/>
                    </a:cubicBezTo>
                    <a:cubicBezTo>
                      <a:pt x="230612" y="106813"/>
                      <a:pt x="233579" y="0"/>
                      <a:pt x="233579" y="0"/>
                    </a:cubicBezTo>
                    <a:lnTo>
                      <a:pt x="108964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DBE12F72-FF85-4AA1-B81E-08BD002A5982}"/>
                </a:ext>
              </a:extLst>
            </p:cNvPr>
            <p:cNvSpPr/>
            <p:nvPr/>
          </p:nvSpPr>
          <p:spPr>
            <a:xfrm>
              <a:off x="16051274" y="9695042"/>
              <a:ext cx="1440179" cy="2445687"/>
            </a:xfrm>
            <a:custGeom>
              <a:avLst/>
              <a:gdLst>
                <a:gd name="connsiteX0" fmla="*/ 873476 w 1440179"/>
                <a:gd name="connsiteY0" fmla="*/ 0 h 2445687"/>
                <a:gd name="connsiteX1" fmla="*/ 223696 w 1440179"/>
                <a:gd name="connsiteY1" fmla="*/ 0 h 2445687"/>
                <a:gd name="connsiteX2" fmla="*/ 107981 w 1440179"/>
                <a:gd name="connsiteY2" fmla="*/ 448022 h 2445687"/>
                <a:gd name="connsiteX3" fmla="*/ 4135 w 1440179"/>
                <a:gd name="connsiteY3" fmla="*/ 1314396 h 2445687"/>
                <a:gd name="connsiteX4" fmla="*/ 7102 w 1440179"/>
                <a:gd name="connsiteY4" fmla="*/ 1486484 h 2445687"/>
                <a:gd name="connsiteX5" fmla="*/ 232597 w 1440179"/>
                <a:gd name="connsiteY5" fmla="*/ 2432967 h 2445687"/>
                <a:gd name="connsiteX6" fmla="*/ 380949 w 1440179"/>
                <a:gd name="connsiteY6" fmla="*/ 2435934 h 2445687"/>
                <a:gd name="connsiteX7" fmla="*/ 410619 w 1440179"/>
                <a:gd name="connsiteY7" fmla="*/ 1513187 h 2445687"/>
                <a:gd name="connsiteX8" fmla="*/ 425454 w 1440179"/>
                <a:gd name="connsiteY8" fmla="*/ 1358902 h 2445687"/>
                <a:gd name="connsiteX9" fmla="*/ 556004 w 1440179"/>
                <a:gd name="connsiteY9" fmla="*/ 795165 h 2445687"/>
                <a:gd name="connsiteX10" fmla="*/ 603476 w 1440179"/>
                <a:gd name="connsiteY10" fmla="*/ 1605165 h 2445687"/>
                <a:gd name="connsiteX11" fmla="*/ 645015 w 1440179"/>
                <a:gd name="connsiteY11" fmla="*/ 1706044 h 2445687"/>
                <a:gd name="connsiteX12" fmla="*/ 1363037 w 1440179"/>
                <a:gd name="connsiteY12" fmla="*/ 2189671 h 2445687"/>
                <a:gd name="connsiteX13" fmla="*/ 1440180 w 1440179"/>
                <a:gd name="connsiteY13" fmla="*/ 2062088 h 2445687"/>
                <a:gd name="connsiteX14" fmla="*/ 965455 w 1440179"/>
                <a:gd name="connsiteY14" fmla="*/ 1533956 h 2445687"/>
                <a:gd name="connsiteX15" fmla="*/ 998091 w 1440179"/>
                <a:gd name="connsiteY15" fmla="*/ 465825 h 2445687"/>
                <a:gd name="connsiteX16" fmla="*/ 873476 w 1440179"/>
                <a:gd name="connsiteY16" fmla="*/ 0 h 2445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40179" h="2445687">
                  <a:moveTo>
                    <a:pt x="873476" y="0"/>
                  </a:moveTo>
                  <a:lnTo>
                    <a:pt x="223696" y="0"/>
                  </a:lnTo>
                  <a:cubicBezTo>
                    <a:pt x="223696" y="0"/>
                    <a:pt x="128751" y="296703"/>
                    <a:pt x="107981" y="448022"/>
                  </a:cubicBezTo>
                  <a:cubicBezTo>
                    <a:pt x="102048" y="504396"/>
                    <a:pt x="30839" y="1091869"/>
                    <a:pt x="4135" y="1314396"/>
                  </a:cubicBezTo>
                  <a:cubicBezTo>
                    <a:pt x="-1798" y="1370770"/>
                    <a:pt x="-1798" y="1430110"/>
                    <a:pt x="7102" y="1486484"/>
                  </a:cubicBezTo>
                  <a:cubicBezTo>
                    <a:pt x="48641" y="1735714"/>
                    <a:pt x="164356" y="2430000"/>
                    <a:pt x="232597" y="2432967"/>
                  </a:cubicBezTo>
                  <a:cubicBezTo>
                    <a:pt x="312707" y="2447802"/>
                    <a:pt x="348311" y="2450770"/>
                    <a:pt x="380949" y="2435934"/>
                  </a:cubicBezTo>
                  <a:cubicBezTo>
                    <a:pt x="425454" y="2415165"/>
                    <a:pt x="413586" y="1744616"/>
                    <a:pt x="410619" y="1513187"/>
                  </a:cubicBezTo>
                  <a:cubicBezTo>
                    <a:pt x="410619" y="1459781"/>
                    <a:pt x="413586" y="1409341"/>
                    <a:pt x="425454" y="1358902"/>
                  </a:cubicBezTo>
                  <a:lnTo>
                    <a:pt x="556004" y="795165"/>
                  </a:lnTo>
                  <a:cubicBezTo>
                    <a:pt x="556004" y="795165"/>
                    <a:pt x="582707" y="1453846"/>
                    <a:pt x="603476" y="1605165"/>
                  </a:cubicBezTo>
                  <a:cubicBezTo>
                    <a:pt x="609411" y="1649671"/>
                    <a:pt x="633147" y="1694176"/>
                    <a:pt x="645015" y="1706044"/>
                  </a:cubicBezTo>
                  <a:cubicBezTo>
                    <a:pt x="793366" y="1851428"/>
                    <a:pt x="1235454" y="2246044"/>
                    <a:pt x="1363037" y="2189671"/>
                  </a:cubicBezTo>
                  <a:cubicBezTo>
                    <a:pt x="1401608" y="2154066"/>
                    <a:pt x="1428311" y="2112528"/>
                    <a:pt x="1440180" y="2062088"/>
                  </a:cubicBezTo>
                  <a:cubicBezTo>
                    <a:pt x="1440180" y="1898901"/>
                    <a:pt x="965455" y="1533956"/>
                    <a:pt x="965455" y="1533956"/>
                  </a:cubicBezTo>
                  <a:cubicBezTo>
                    <a:pt x="965455" y="1533956"/>
                    <a:pt x="1015894" y="637912"/>
                    <a:pt x="998091" y="465825"/>
                  </a:cubicBezTo>
                  <a:cubicBezTo>
                    <a:pt x="974355" y="216594"/>
                    <a:pt x="873476" y="0"/>
                    <a:pt x="873476" y="0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C57107E8-639F-4F6F-B314-8339F4D3A9EA}"/>
                </a:ext>
              </a:extLst>
            </p:cNvPr>
            <p:cNvSpPr/>
            <p:nvPr/>
          </p:nvSpPr>
          <p:spPr>
            <a:xfrm>
              <a:off x="16559805" y="10074822"/>
              <a:ext cx="103846" cy="1041427"/>
            </a:xfrm>
            <a:custGeom>
              <a:avLst/>
              <a:gdLst>
                <a:gd name="connsiteX0" fmla="*/ 97913 w 103846"/>
                <a:gd name="connsiteY0" fmla="*/ 1041428 h 1041427"/>
                <a:gd name="connsiteX1" fmla="*/ 91978 w 103846"/>
                <a:gd name="connsiteY1" fmla="*/ 1038462 h 1041427"/>
                <a:gd name="connsiteX2" fmla="*/ 41539 w 103846"/>
                <a:gd name="connsiteY2" fmla="*/ 412417 h 1041427"/>
                <a:gd name="connsiteX3" fmla="*/ 0 w 103846"/>
                <a:gd name="connsiteY3" fmla="*/ 5934 h 1041427"/>
                <a:gd name="connsiteX4" fmla="*/ 5934 w 103846"/>
                <a:gd name="connsiteY4" fmla="*/ 0 h 1041427"/>
                <a:gd name="connsiteX5" fmla="*/ 11869 w 103846"/>
                <a:gd name="connsiteY5" fmla="*/ 5934 h 1041427"/>
                <a:gd name="connsiteX6" fmla="*/ 53407 w 103846"/>
                <a:gd name="connsiteY6" fmla="*/ 412417 h 1041427"/>
                <a:gd name="connsiteX7" fmla="*/ 103846 w 103846"/>
                <a:gd name="connsiteY7" fmla="*/ 1035494 h 1041427"/>
                <a:gd name="connsiteX8" fmla="*/ 97913 w 103846"/>
                <a:gd name="connsiteY8" fmla="*/ 1041428 h 1041427"/>
                <a:gd name="connsiteX9" fmla="*/ 97913 w 103846"/>
                <a:gd name="connsiteY9" fmla="*/ 1041428 h 1041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3846" h="1041427">
                  <a:moveTo>
                    <a:pt x="97913" y="1041428"/>
                  </a:moveTo>
                  <a:cubicBezTo>
                    <a:pt x="94945" y="1041428"/>
                    <a:pt x="94945" y="1041428"/>
                    <a:pt x="91978" y="1038462"/>
                  </a:cubicBezTo>
                  <a:cubicBezTo>
                    <a:pt x="86045" y="1020659"/>
                    <a:pt x="44505" y="474725"/>
                    <a:pt x="41539" y="412417"/>
                  </a:cubicBezTo>
                  <a:lnTo>
                    <a:pt x="0" y="5934"/>
                  </a:lnTo>
                  <a:cubicBezTo>
                    <a:pt x="0" y="2966"/>
                    <a:pt x="2967" y="0"/>
                    <a:pt x="5934" y="0"/>
                  </a:cubicBezTo>
                  <a:cubicBezTo>
                    <a:pt x="8902" y="0"/>
                    <a:pt x="11869" y="2966"/>
                    <a:pt x="11869" y="5934"/>
                  </a:cubicBezTo>
                  <a:lnTo>
                    <a:pt x="53407" y="412417"/>
                  </a:lnTo>
                  <a:cubicBezTo>
                    <a:pt x="71210" y="655714"/>
                    <a:pt x="97913" y="1020659"/>
                    <a:pt x="103846" y="1035494"/>
                  </a:cubicBezTo>
                  <a:cubicBezTo>
                    <a:pt x="103846" y="1038462"/>
                    <a:pt x="103846" y="1041428"/>
                    <a:pt x="97913" y="1041428"/>
                  </a:cubicBezTo>
                  <a:cubicBezTo>
                    <a:pt x="100880" y="1041428"/>
                    <a:pt x="97913" y="1041428"/>
                    <a:pt x="97913" y="1041428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CCC11F83-BAA6-404D-8D82-9E7F49886C77}"/>
                </a:ext>
              </a:extLst>
            </p:cNvPr>
            <p:cNvSpPr/>
            <p:nvPr/>
          </p:nvSpPr>
          <p:spPr>
            <a:xfrm>
              <a:off x="16666618" y="8377679"/>
              <a:ext cx="240336" cy="356043"/>
            </a:xfrm>
            <a:custGeom>
              <a:avLst/>
              <a:gdLst>
                <a:gd name="connsiteX0" fmla="*/ 240330 w 240336"/>
                <a:gd name="connsiteY0" fmla="*/ 0 h 356043"/>
                <a:gd name="connsiteX1" fmla="*/ 121649 w 240336"/>
                <a:gd name="connsiteY1" fmla="*/ 350110 h 356043"/>
                <a:gd name="connsiteX2" fmla="*/ 44505 w 240336"/>
                <a:gd name="connsiteY2" fmla="*/ 356044 h 356043"/>
                <a:gd name="connsiteX3" fmla="*/ 0 w 240336"/>
                <a:gd name="connsiteY3" fmla="*/ 243297 h 356043"/>
                <a:gd name="connsiteX4" fmla="*/ 89011 w 240336"/>
                <a:gd name="connsiteY4" fmla="*/ 109780 h 356043"/>
                <a:gd name="connsiteX5" fmla="*/ 240330 w 240336"/>
                <a:gd name="connsiteY5" fmla="*/ 0 h 356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0336" h="356043">
                  <a:moveTo>
                    <a:pt x="240330" y="0"/>
                  </a:moveTo>
                  <a:cubicBezTo>
                    <a:pt x="240330" y="0"/>
                    <a:pt x="243297" y="178022"/>
                    <a:pt x="121649" y="350110"/>
                  </a:cubicBezTo>
                  <a:lnTo>
                    <a:pt x="44505" y="356044"/>
                  </a:lnTo>
                  <a:lnTo>
                    <a:pt x="0" y="243297"/>
                  </a:lnTo>
                  <a:lnTo>
                    <a:pt x="89011" y="109780"/>
                  </a:lnTo>
                  <a:lnTo>
                    <a:pt x="240330" y="0"/>
                  </a:ln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49CBB789-CD89-419D-A4CD-DB1F977ECFAA}"/>
                </a:ext>
              </a:extLst>
            </p:cNvPr>
            <p:cNvSpPr/>
            <p:nvPr/>
          </p:nvSpPr>
          <p:spPr>
            <a:xfrm>
              <a:off x="16046508" y="8813836"/>
              <a:ext cx="391237" cy="409447"/>
            </a:xfrm>
            <a:custGeom>
              <a:avLst/>
              <a:gdLst>
                <a:gd name="connsiteX0" fmla="*/ 341209 w 391237"/>
                <a:gd name="connsiteY0" fmla="*/ 409447 h 409447"/>
                <a:gd name="connsiteX1" fmla="*/ 335274 w 391237"/>
                <a:gd name="connsiteY1" fmla="*/ 14832 h 409447"/>
                <a:gd name="connsiteX2" fmla="*/ 0 w 391237"/>
                <a:gd name="connsiteY2" fmla="*/ 284832 h 409447"/>
                <a:gd name="connsiteX3" fmla="*/ 341209 w 391237"/>
                <a:gd name="connsiteY3" fmla="*/ 409447 h 409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1237" h="409447">
                  <a:moveTo>
                    <a:pt x="341209" y="409447"/>
                  </a:moveTo>
                  <a:cubicBezTo>
                    <a:pt x="421319" y="249228"/>
                    <a:pt x="394615" y="62304"/>
                    <a:pt x="335274" y="14832"/>
                  </a:cubicBezTo>
                  <a:cubicBezTo>
                    <a:pt x="255165" y="-47476"/>
                    <a:pt x="68241" y="94941"/>
                    <a:pt x="0" y="284832"/>
                  </a:cubicBezTo>
                  <a:cubicBezTo>
                    <a:pt x="41538" y="347139"/>
                    <a:pt x="243297" y="397579"/>
                    <a:pt x="341209" y="409447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81A07A6F-101E-4929-B1DF-A6C3B81A0B0B}"/>
                </a:ext>
              </a:extLst>
            </p:cNvPr>
            <p:cNvSpPr/>
            <p:nvPr/>
          </p:nvSpPr>
          <p:spPr>
            <a:xfrm>
              <a:off x="16181102" y="8764983"/>
              <a:ext cx="798577" cy="959817"/>
            </a:xfrm>
            <a:custGeom>
              <a:avLst/>
              <a:gdLst>
                <a:gd name="connsiteX0" fmla="*/ 755516 w 798577"/>
                <a:gd name="connsiteY0" fmla="*/ 381158 h 959817"/>
                <a:gd name="connsiteX1" fmla="*/ 740681 w 798577"/>
                <a:gd name="connsiteY1" fmla="*/ 66653 h 959817"/>
                <a:gd name="connsiteX2" fmla="*/ 381669 w 798577"/>
                <a:gd name="connsiteY2" fmla="*/ 4345 h 959817"/>
                <a:gd name="connsiteX3" fmla="*/ 87933 w 798577"/>
                <a:gd name="connsiteY3" fmla="*/ 102257 h 959817"/>
                <a:gd name="connsiteX4" fmla="*/ 49362 w 798577"/>
                <a:gd name="connsiteY4" fmla="*/ 636323 h 959817"/>
                <a:gd name="connsiteX5" fmla="*/ 90901 w 798577"/>
                <a:gd name="connsiteY5" fmla="*/ 953796 h 959817"/>
                <a:gd name="connsiteX6" fmla="*/ 749581 w 798577"/>
                <a:gd name="connsiteY6" fmla="*/ 938961 h 959817"/>
                <a:gd name="connsiteX7" fmla="*/ 755516 w 798577"/>
                <a:gd name="connsiteY7" fmla="*/ 381158 h 959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8577" h="959817">
                  <a:moveTo>
                    <a:pt x="755516" y="381158"/>
                  </a:moveTo>
                  <a:cubicBezTo>
                    <a:pt x="764417" y="351488"/>
                    <a:pt x="856395" y="128960"/>
                    <a:pt x="740681" y="66653"/>
                  </a:cubicBezTo>
                  <a:cubicBezTo>
                    <a:pt x="639802" y="13246"/>
                    <a:pt x="497384" y="-10490"/>
                    <a:pt x="381669" y="4345"/>
                  </a:cubicBezTo>
                  <a:cubicBezTo>
                    <a:pt x="254087" y="19180"/>
                    <a:pt x="126504" y="39949"/>
                    <a:pt x="87933" y="102257"/>
                  </a:cubicBezTo>
                  <a:cubicBezTo>
                    <a:pt x="-21847" y="283246"/>
                    <a:pt x="-21847" y="443466"/>
                    <a:pt x="49362" y="636323"/>
                  </a:cubicBezTo>
                  <a:cubicBezTo>
                    <a:pt x="70131" y="692696"/>
                    <a:pt x="76065" y="823246"/>
                    <a:pt x="90901" y="953796"/>
                  </a:cubicBezTo>
                  <a:cubicBezTo>
                    <a:pt x="90901" y="953796"/>
                    <a:pt x="366834" y="974565"/>
                    <a:pt x="749581" y="938961"/>
                  </a:cubicBezTo>
                  <a:cubicBezTo>
                    <a:pt x="719911" y="725334"/>
                    <a:pt x="746615" y="401928"/>
                    <a:pt x="755516" y="381158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438DC3DF-B8DC-4DD7-A9E7-D2F0FB4FB67B}"/>
                </a:ext>
              </a:extLst>
            </p:cNvPr>
            <p:cNvSpPr/>
            <p:nvPr/>
          </p:nvSpPr>
          <p:spPr>
            <a:xfrm>
              <a:off x="16335845" y="8090203"/>
              <a:ext cx="313346" cy="573962"/>
            </a:xfrm>
            <a:custGeom>
              <a:avLst/>
              <a:gdLst>
                <a:gd name="connsiteX0" fmla="*/ 229894 w 313346"/>
                <a:gd name="connsiteY0" fmla="*/ 311212 h 573962"/>
                <a:gd name="connsiteX1" fmla="*/ 277367 w 313346"/>
                <a:gd name="connsiteY1" fmla="*/ 171762 h 573962"/>
                <a:gd name="connsiteX2" fmla="*/ 312971 w 313346"/>
                <a:gd name="connsiteY2" fmla="*/ 8575 h 573962"/>
                <a:gd name="connsiteX3" fmla="*/ 1432 w 313346"/>
                <a:gd name="connsiteY3" fmla="*/ 225168 h 573962"/>
                <a:gd name="connsiteX4" fmla="*/ 173520 w 313346"/>
                <a:gd name="connsiteY4" fmla="*/ 560443 h 573962"/>
                <a:gd name="connsiteX5" fmla="*/ 229894 w 313346"/>
                <a:gd name="connsiteY5" fmla="*/ 311212 h 573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3346" h="573962">
                  <a:moveTo>
                    <a:pt x="229894" y="311212"/>
                  </a:moveTo>
                  <a:cubicBezTo>
                    <a:pt x="238795" y="260773"/>
                    <a:pt x="253630" y="216267"/>
                    <a:pt x="277367" y="171762"/>
                  </a:cubicBezTo>
                  <a:cubicBezTo>
                    <a:pt x="301103" y="124289"/>
                    <a:pt x="315938" y="8575"/>
                    <a:pt x="312971" y="8575"/>
                  </a:cubicBezTo>
                  <a:cubicBezTo>
                    <a:pt x="203191" y="-29996"/>
                    <a:pt x="22202" y="64949"/>
                    <a:pt x="1432" y="225168"/>
                  </a:cubicBezTo>
                  <a:cubicBezTo>
                    <a:pt x="-7469" y="290443"/>
                    <a:pt x="22202" y="533740"/>
                    <a:pt x="173520" y="560443"/>
                  </a:cubicBezTo>
                  <a:cubicBezTo>
                    <a:pt x="268465" y="637586"/>
                    <a:pt x="220993" y="361652"/>
                    <a:pt x="229894" y="311212"/>
                  </a:cubicBez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BEDCFC73-9D7C-48FB-B0B5-FFB7D76BF687}"/>
                </a:ext>
              </a:extLst>
            </p:cNvPr>
            <p:cNvSpPr/>
            <p:nvPr/>
          </p:nvSpPr>
          <p:spPr>
            <a:xfrm>
              <a:off x="16400736" y="8145385"/>
              <a:ext cx="411266" cy="553045"/>
            </a:xfrm>
            <a:custGeom>
              <a:avLst/>
              <a:gdLst>
                <a:gd name="connsiteX0" fmla="*/ 7751 w 411266"/>
                <a:gd name="connsiteY0" fmla="*/ 178888 h 553045"/>
                <a:gd name="connsiteX1" fmla="*/ 19619 w 411266"/>
                <a:gd name="connsiteY1" fmla="*/ 428119 h 553045"/>
                <a:gd name="connsiteX2" fmla="*/ 165003 w 411266"/>
                <a:gd name="connsiteY2" fmla="*/ 552734 h 553045"/>
                <a:gd name="connsiteX3" fmla="*/ 375663 w 411266"/>
                <a:gd name="connsiteY3" fmla="*/ 413284 h 553045"/>
                <a:gd name="connsiteX4" fmla="*/ 411267 w 411266"/>
                <a:gd name="connsiteY4" fmla="*/ 193723 h 553045"/>
                <a:gd name="connsiteX5" fmla="*/ 203574 w 411266"/>
                <a:gd name="connsiteY5" fmla="*/ 866 h 553045"/>
                <a:gd name="connsiteX6" fmla="*/ 7751 w 411266"/>
                <a:gd name="connsiteY6" fmla="*/ 178888 h 553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1266" h="553045">
                  <a:moveTo>
                    <a:pt x="7751" y="178888"/>
                  </a:moveTo>
                  <a:cubicBezTo>
                    <a:pt x="7751" y="178888"/>
                    <a:pt x="-15986" y="362844"/>
                    <a:pt x="19619" y="428119"/>
                  </a:cubicBezTo>
                  <a:cubicBezTo>
                    <a:pt x="55223" y="493394"/>
                    <a:pt x="114563" y="549767"/>
                    <a:pt x="165003" y="552734"/>
                  </a:cubicBezTo>
                  <a:cubicBezTo>
                    <a:pt x="230278" y="558668"/>
                    <a:pt x="340058" y="478558"/>
                    <a:pt x="375663" y="413284"/>
                  </a:cubicBezTo>
                  <a:cubicBezTo>
                    <a:pt x="411267" y="348009"/>
                    <a:pt x="411267" y="244162"/>
                    <a:pt x="411267" y="193723"/>
                  </a:cubicBezTo>
                  <a:cubicBezTo>
                    <a:pt x="408300" y="101745"/>
                    <a:pt x="381596" y="24602"/>
                    <a:pt x="203574" y="866"/>
                  </a:cubicBezTo>
                  <a:cubicBezTo>
                    <a:pt x="120498" y="-11002"/>
                    <a:pt x="28520" y="101745"/>
                    <a:pt x="7751" y="178888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F2EEF508-0480-46C0-9032-B4C9A1E83266}"/>
                </a:ext>
              </a:extLst>
            </p:cNvPr>
            <p:cNvSpPr/>
            <p:nvPr/>
          </p:nvSpPr>
          <p:spPr>
            <a:xfrm>
              <a:off x="16533101" y="8406120"/>
              <a:ext cx="53407" cy="128811"/>
            </a:xfrm>
            <a:custGeom>
              <a:avLst/>
              <a:gdLst>
                <a:gd name="connsiteX0" fmla="*/ 29670 w 53407"/>
                <a:gd name="connsiteY0" fmla="*/ 128812 h 128811"/>
                <a:gd name="connsiteX1" fmla="*/ 5934 w 53407"/>
                <a:gd name="connsiteY1" fmla="*/ 122878 h 128811"/>
                <a:gd name="connsiteX2" fmla="*/ 0 w 53407"/>
                <a:gd name="connsiteY2" fmla="*/ 111009 h 128811"/>
                <a:gd name="connsiteX3" fmla="*/ 26703 w 53407"/>
                <a:gd name="connsiteY3" fmla="*/ 4196 h 128811"/>
                <a:gd name="connsiteX4" fmla="*/ 32638 w 53407"/>
                <a:gd name="connsiteY4" fmla="*/ 1229 h 128811"/>
                <a:gd name="connsiteX5" fmla="*/ 35605 w 53407"/>
                <a:gd name="connsiteY5" fmla="*/ 7163 h 128811"/>
                <a:gd name="connsiteX6" fmla="*/ 8902 w 53407"/>
                <a:gd name="connsiteY6" fmla="*/ 111009 h 128811"/>
                <a:gd name="connsiteX7" fmla="*/ 8902 w 53407"/>
                <a:gd name="connsiteY7" fmla="*/ 113976 h 128811"/>
                <a:gd name="connsiteX8" fmla="*/ 47473 w 53407"/>
                <a:gd name="connsiteY8" fmla="*/ 113976 h 128811"/>
                <a:gd name="connsiteX9" fmla="*/ 53407 w 53407"/>
                <a:gd name="connsiteY9" fmla="*/ 119910 h 128811"/>
                <a:gd name="connsiteX10" fmla="*/ 47473 w 53407"/>
                <a:gd name="connsiteY10" fmla="*/ 125844 h 128811"/>
                <a:gd name="connsiteX11" fmla="*/ 29670 w 53407"/>
                <a:gd name="connsiteY11" fmla="*/ 128812 h 128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407" h="128811">
                  <a:moveTo>
                    <a:pt x="29670" y="128812"/>
                  </a:moveTo>
                  <a:cubicBezTo>
                    <a:pt x="20770" y="128812"/>
                    <a:pt x="11868" y="128812"/>
                    <a:pt x="5934" y="122878"/>
                  </a:cubicBezTo>
                  <a:cubicBezTo>
                    <a:pt x="2967" y="119910"/>
                    <a:pt x="0" y="116943"/>
                    <a:pt x="0" y="111009"/>
                  </a:cubicBezTo>
                  <a:cubicBezTo>
                    <a:pt x="0" y="90240"/>
                    <a:pt x="26703" y="7163"/>
                    <a:pt x="26703" y="4196"/>
                  </a:cubicBezTo>
                  <a:cubicBezTo>
                    <a:pt x="26703" y="1229"/>
                    <a:pt x="29670" y="-1738"/>
                    <a:pt x="32638" y="1229"/>
                  </a:cubicBezTo>
                  <a:cubicBezTo>
                    <a:pt x="35605" y="1229"/>
                    <a:pt x="38572" y="4196"/>
                    <a:pt x="35605" y="7163"/>
                  </a:cubicBezTo>
                  <a:cubicBezTo>
                    <a:pt x="29670" y="30899"/>
                    <a:pt x="8902" y="93207"/>
                    <a:pt x="8902" y="111009"/>
                  </a:cubicBezTo>
                  <a:cubicBezTo>
                    <a:pt x="8902" y="111009"/>
                    <a:pt x="8902" y="113976"/>
                    <a:pt x="8902" y="113976"/>
                  </a:cubicBezTo>
                  <a:cubicBezTo>
                    <a:pt x="14835" y="119910"/>
                    <a:pt x="35605" y="116943"/>
                    <a:pt x="47473" y="113976"/>
                  </a:cubicBezTo>
                  <a:cubicBezTo>
                    <a:pt x="50440" y="113976"/>
                    <a:pt x="53407" y="113976"/>
                    <a:pt x="53407" y="119910"/>
                  </a:cubicBezTo>
                  <a:cubicBezTo>
                    <a:pt x="53407" y="122878"/>
                    <a:pt x="53407" y="125844"/>
                    <a:pt x="47473" y="125844"/>
                  </a:cubicBezTo>
                  <a:cubicBezTo>
                    <a:pt x="50440" y="125844"/>
                    <a:pt x="41538" y="128812"/>
                    <a:pt x="29670" y="128812"/>
                  </a:cubicBezTo>
                  <a:close/>
                </a:path>
              </a:pathLst>
            </a:custGeom>
            <a:solidFill>
              <a:srgbClr val="E58777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656F94FC-1C62-4634-B2CF-59B7937E3026}"/>
                </a:ext>
              </a:extLst>
            </p:cNvPr>
            <p:cNvSpPr/>
            <p:nvPr/>
          </p:nvSpPr>
          <p:spPr>
            <a:xfrm>
              <a:off x="16515299" y="8582404"/>
              <a:ext cx="103846" cy="53406"/>
            </a:xfrm>
            <a:custGeom>
              <a:avLst/>
              <a:gdLst>
                <a:gd name="connsiteX0" fmla="*/ 103846 w 103846"/>
                <a:gd name="connsiteY0" fmla="*/ 0 h 53406"/>
                <a:gd name="connsiteX1" fmla="*/ 0 w 103846"/>
                <a:gd name="connsiteY1" fmla="*/ 0 h 53406"/>
                <a:gd name="connsiteX2" fmla="*/ 50440 w 103846"/>
                <a:gd name="connsiteY2" fmla="*/ 53407 h 53406"/>
                <a:gd name="connsiteX3" fmla="*/ 103846 w 103846"/>
                <a:gd name="connsiteY3" fmla="*/ 0 h 53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46" h="53406">
                  <a:moveTo>
                    <a:pt x="103846" y="0"/>
                  </a:moveTo>
                  <a:cubicBezTo>
                    <a:pt x="50440" y="23736"/>
                    <a:pt x="0" y="0"/>
                    <a:pt x="0" y="0"/>
                  </a:cubicBezTo>
                  <a:cubicBezTo>
                    <a:pt x="0" y="0"/>
                    <a:pt x="14835" y="53407"/>
                    <a:pt x="50440" y="53407"/>
                  </a:cubicBezTo>
                  <a:cubicBezTo>
                    <a:pt x="91978" y="53407"/>
                    <a:pt x="103846" y="0"/>
                    <a:pt x="103846" y="0"/>
                  </a:cubicBezTo>
                  <a:close/>
                </a:path>
              </a:pathLst>
            </a:custGeom>
            <a:solidFill>
              <a:srgbClr val="FFFFFF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1B38C91A-7795-407C-85F4-149AB9D6D8F5}"/>
                </a:ext>
              </a:extLst>
            </p:cNvPr>
            <p:cNvSpPr/>
            <p:nvPr/>
          </p:nvSpPr>
          <p:spPr>
            <a:xfrm>
              <a:off x="16464104" y="8379890"/>
              <a:ext cx="39909" cy="39909"/>
            </a:xfrm>
            <a:custGeom>
              <a:avLst/>
              <a:gdLst>
                <a:gd name="connsiteX0" fmla="*/ 39327 w 39909"/>
                <a:gd name="connsiteY0" fmla="*/ 24492 h 39909"/>
                <a:gd name="connsiteX1" fmla="*/ 15591 w 39909"/>
                <a:gd name="connsiteY1" fmla="*/ 39327 h 39909"/>
                <a:gd name="connsiteX2" fmla="*/ 756 w 39909"/>
                <a:gd name="connsiteY2" fmla="*/ 15591 h 39909"/>
                <a:gd name="connsiteX3" fmla="*/ 24492 w 39909"/>
                <a:gd name="connsiteY3" fmla="*/ 756 h 39909"/>
                <a:gd name="connsiteX4" fmla="*/ 39327 w 39909"/>
                <a:gd name="connsiteY4" fmla="*/ 24492 h 3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39909">
                  <a:moveTo>
                    <a:pt x="39327" y="24492"/>
                  </a:moveTo>
                  <a:cubicBezTo>
                    <a:pt x="36360" y="33393"/>
                    <a:pt x="27459" y="42294"/>
                    <a:pt x="15591" y="39327"/>
                  </a:cubicBezTo>
                  <a:cubicBezTo>
                    <a:pt x="3723" y="36360"/>
                    <a:pt x="-2211" y="27459"/>
                    <a:pt x="756" y="15591"/>
                  </a:cubicBezTo>
                  <a:cubicBezTo>
                    <a:pt x="3723" y="3723"/>
                    <a:pt x="12624" y="-2211"/>
                    <a:pt x="24492" y="756"/>
                  </a:cubicBezTo>
                  <a:cubicBezTo>
                    <a:pt x="33394" y="3723"/>
                    <a:pt x="42294" y="12624"/>
                    <a:pt x="39327" y="24492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7E7D0761-5A92-429D-B315-092B4B6999A3}"/>
                </a:ext>
              </a:extLst>
            </p:cNvPr>
            <p:cNvSpPr/>
            <p:nvPr/>
          </p:nvSpPr>
          <p:spPr>
            <a:xfrm>
              <a:off x="16648234" y="8385998"/>
              <a:ext cx="39909" cy="39735"/>
            </a:xfrm>
            <a:custGeom>
              <a:avLst/>
              <a:gdLst>
                <a:gd name="connsiteX0" fmla="*/ 39154 w 39909"/>
                <a:gd name="connsiteY0" fmla="*/ 24318 h 39735"/>
                <a:gd name="connsiteX1" fmla="*/ 15417 w 39909"/>
                <a:gd name="connsiteY1" fmla="*/ 39154 h 39735"/>
                <a:gd name="connsiteX2" fmla="*/ 582 w 39909"/>
                <a:gd name="connsiteY2" fmla="*/ 15417 h 39735"/>
                <a:gd name="connsiteX3" fmla="*/ 24319 w 39909"/>
                <a:gd name="connsiteY3" fmla="*/ 582 h 39735"/>
                <a:gd name="connsiteX4" fmla="*/ 39154 w 39909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39735">
                  <a:moveTo>
                    <a:pt x="39154" y="24318"/>
                  </a:moveTo>
                  <a:cubicBezTo>
                    <a:pt x="36187" y="33219"/>
                    <a:pt x="27286" y="42120"/>
                    <a:pt x="15417" y="39154"/>
                  </a:cubicBezTo>
                  <a:cubicBezTo>
                    <a:pt x="6516" y="36186"/>
                    <a:pt x="-2385" y="27285"/>
                    <a:pt x="582" y="15417"/>
                  </a:cubicBezTo>
                  <a:cubicBezTo>
                    <a:pt x="3549" y="6516"/>
                    <a:pt x="12451" y="-2385"/>
                    <a:pt x="24319" y="582"/>
                  </a:cubicBezTo>
                  <a:cubicBezTo>
                    <a:pt x="36187" y="3549"/>
                    <a:pt x="42121" y="12450"/>
                    <a:pt x="39154" y="24318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77D8D859-4877-4898-B923-C7CF3CB7CD4F}"/>
                </a:ext>
              </a:extLst>
            </p:cNvPr>
            <p:cNvSpPr/>
            <p:nvPr/>
          </p:nvSpPr>
          <p:spPr>
            <a:xfrm>
              <a:off x="16438899" y="8331690"/>
              <a:ext cx="89498" cy="34120"/>
            </a:xfrm>
            <a:custGeom>
              <a:avLst/>
              <a:gdLst>
                <a:gd name="connsiteX0" fmla="*/ 8159 w 89498"/>
                <a:gd name="connsiteY0" fmla="*/ 34121 h 34120"/>
                <a:gd name="connsiteX1" fmla="*/ 2225 w 89498"/>
                <a:gd name="connsiteY1" fmla="*/ 31154 h 34120"/>
                <a:gd name="connsiteX2" fmla="*/ 2225 w 89498"/>
                <a:gd name="connsiteY2" fmla="*/ 19286 h 34120"/>
                <a:gd name="connsiteX3" fmla="*/ 85302 w 89498"/>
                <a:gd name="connsiteY3" fmla="*/ 7417 h 34120"/>
                <a:gd name="connsiteX4" fmla="*/ 88269 w 89498"/>
                <a:gd name="connsiteY4" fmla="*/ 16319 h 34120"/>
                <a:gd name="connsiteX5" fmla="*/ 79368 w 89498"/>
                <a:gd name="connsiteY5" fmla="*/ 19286 h 34120"/>
                <a:gd name="connsiteX6" fmla="*/ 14094 w 89498"/>
                <a:gd name="connsiteY6" fmla="*/ 25220 h 34120"/>
                <a:gd name="connsiteX7" fmla="*/ 8159 w 89498"/>
                <a:gd name="connsiteY7" fmla="*/ 34121 h 34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4120">
                  <a:moveTo>
                    <a:pt x="8159" y="34121"/>
                  </a:moveTo>
                  <a:cubicBezTo>
                    <a:pt x="5192" y="34121"/>
                    <a:pt x="5192" y="34121"/>
                    <a:pt x="2225" y="31154"/>
                  </a:cubicBezTo>
                  <a:cubicBezTo>
                    <a:pt x="-742" y="28187"/>
                    <a:pt x="-742" y="22253"/>
                    <a:pt x="2225" y="19286"/>
                  </a:cubicBezTo>
                  <a:cubicBezTo>
                    <a:pt x="28929" y="-10385"/>
                    <a:pt x="67500" y="1483"/>
                    <a:pt x="85302" y="7417"/>
                  </a:cubicBezTo>
                  <a:cubicBezTo>
                    <a:pt x="88269" y="10385"/>
                    <a:pt x="91236" y="13351"/>
                    <a:pt x="88269" y="16319"/>
                  </a:cubicBezTo>
                  <a:cubicBezTo>
                    <a:pt x="85302" y="19286"/>
                    <a:pt x="82335" y="22253"/>
                    <a:pt x="79368" y="19286"/>
                  </a:cubicBezTo>
                  <a:cubicBezTo>
                    <a:pt x="76401" y="19286"/>
                    <a:pt x="37829" y="-1484"/>
                    <a:pt x="14094" y="25220"/>
                  </a:cubicBezTo>
                  <a:cubicBezTo>
                    <a:pt x="14094" y="31154"/>
                    <a:pt x="11126" y="34121"/>
                    <a:pt x="8159" y="34121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F7FDCE92-1874-4477-80C8-A7BDAAED195B}"/>
                </a:ext>
              </a:extLst>
            </p:cNvPr>
            <p:cNvSpPr/>
            <p:nvPr/>
          </p:nvSpPr>
          <p:spPr>
            <a:xfrm>
              <a:off x="16620883" y="8330509"/>
              <a:ext cx="89498" cy="35302"/>
            </a:xfrm>
            <a:custGeom>
              <a:avLst/>
              <a:gdLst>
                <a:gd name="connsiteX0" fmla="*/ 84307 w 89498"/>
                <a:gd name="connsiteY0" fmla="*/ 35303 h 35302"/>
                <a:gd name="connsiteX1" fmla="*/ 78372 w 89498"/>
                <a:gd name="connsiteY1" fmla="*/ 32335 h 35302"/>
                <a:gd name="connsiteX2" fmla="*/ 13097 w 89498"/>
                <a:gd name="connsiteY2" fmla="*/ 26401 h 35302"/>
                <a:gd name="connsiteX3" fmla="*/ 1229 w 89498"/>
                <a:gd name="connsiteY3" fmla="*/ 23434 h 35302"/>
                <a:gd name="connsiteX4" fmla="*/ 4196 w 89498"/>
                <a:gd name="connsiteY4" fmla="*/ 11566 h 35302"/>
                <a:gd name="connsiteX5" fmla="*/ 87273 w 89498"/>
                <a:gd name="connsiteY5" fmla="*/ 20467 h 35302"/>
                <a:gd name="connsiteX6" fmla="*/ 87273 w 89498"/>
                <a:gd name="connsiteY6" fmla="*/ 32335 h 35302"/>
                <a:gd name="connsiteX7" fmla="*/ 84307 w 89498"/>
                <a:gd name="connsiteY7" fmla="*/ 35303 h 35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302">
                  <a:moveTo>
                    <a:pt x="84307" y="35303"/>
                  </a:moveTo>
                  <a:cubicBezTo>
                    <a:pt x="81339" y="35303"/>
                    <a:pt x="81339" y="35303"/>
                    <a:pt x="78372" y="32335"/>
                  </a:cubicBezTo>
                  <a:cubicBezTo>
                    <a:pt x="78372" y="32335"/>
                    <a:pt x="48702" y="2665"/>
                    <a:pt x="13097" y="26401"/>
                  </a:cubicBezTo>
                  <a:cubicBezTo>
                    <a:pt x="10131" y="29368"/>
                    <a:pt x="4196" y="26401"/>
                    <a:pt x="1229" y="23434"/>
                  </a:cubicBezTo>
                  <a:cubicBezTo>
                    <a:pt x="-1738" y="20467"/>
                    <a:pt x="1229" y="14533"/>
                    <a:pt x="4196" y="11566"/>
                  </a:cubicBezTo>
                  <a:cubicBezTo>
                    <a:pt x="39801" y="-12170"/>
                    <a:pt x="75405" y="5632"/>
                    <a:pt x="87273" y="20467"/>
                  </a:cubicBezTo>
                  <a:cubicBezTo>
                    <a:pt x="90240" y="23434"/>
                    <a:pt x="90240" y="29368"/>
                    <a:pt x="87273" y="32335"/>
                  </a:cubicBezTo>
                  <a:cubicBezTo>
                    <a:pt x="90240" y="35303"/>
                    <a:pt x="87273" y="35303"/>
                    <a:pt x="84307" y="35303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270C12EC-BE7E-4759-92E3-64C42E7F4872}"/>
                </a:ext>
              </a:extLst>
            </p:cNvPr>
            <p:cNvSpPr/>
            <p:nvPr/>
          </p:nvSpPr>
          <p:spPr>
            <a:xfrm>
              <a:off x="16384413" y="8096271"/>
              <a:ext cx="267450" cy="269540"/>
            </a:xfrm>
            <a:custGeom>
              <a:avLst/>
              <a:gdLst>
                <a:gd name="connsiteX0" fmla="*/ 264402 w 267450"/>
                <a:gd name="connsiteY0" fmla="*/ 2507 h 269540"/>
                <a:gd name="connsiteX1" fmla="*/ 231766 w 267450"/>
                <a:gd name="connsiteY1" fmla="*/ 144925 h 269540"/>
                <a:gd name="connsiteX2" fmla="*/ 336 w 267450"/>
                <a:gd name="connsiteY2" fmla="*/ 269540 h 269540"/>
                <a:gd name="connsiteX3" fmla="*/ 264402 w 267450"/>
                <a:gd name="connsiteY3" fmla="*/ 2507 h 269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450" h="269540">
                  <a:moveTo>
                    <a:pt x="264402" y="2507"/>
                  </a:moveTo>
                  <a:cubicBezTo>
                    <a:pt x="264402" y="2507"/>
                    <a:pt x="282205" y="106354"/>
                    <a:pt x="231766" y="144925"/>
                  </a:cubicBezTo>
                  <a:cubicBezTo>
                    <a:pt x="231766" y="144925"/>
                    <a:pt x="27040" y="186463"/>
                    <a:pt x="336" y="269540"/>
                  </a:cubicBezTo>
                  <a:cubicBezTo>
                    <a:pt x="336" y="266573"/>
                    <a:pt x="-20432" y="-30130"/>
                    <a:pt x="264402" y="2507"/>
                  </a:cubicBez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FFD0E0B9-09C8-4DC8-9E6C-961315C454F2}"/>
                </a:ext>
              </a:extLst>
            </p:cNvPr>
            <p:cNvSpPr/>
            <p:nvPr/>
          </p:nvSpPr>
          <p:spPr>
            <a:xfrm>
              <a:off x="16616179" y="8098778"/>
              <a:ext cx="289156" cy="341656"/>
            </a:xfrm>
            <a:custGeom>
              <a:avLst/>
              <a:gdLst>
                <a:gd name="connsiteX0" fmla="*/ 0 w 289156"/>
                <a:gd name="connsiteY0" fmla="*/ 142417 h 341656"/>
                <a:gd name="connsiteX1" fmla="*/ 136483 w 289156"/>
                <a:gd name="connsiteY1" fmla="*/ 195824 h 341656"/>
                <a:gd name="connsiteX2" fmla="*/ 192857 w 289156"/>
                <a:gd name="connsiteY2" fmla="*/ 311538 h 341656"/>
                <a:gd name="connsiteX3" fmla="*/ 278901 w 289156"/>
                <a:gd name="connsiteY3" fmla="*/ 332308 h 341656"/>
                <a:gd name="connsiteX4" fmla="*/ 29670 w 289156"/>
                <a:gd name="connsiteY4" fmla="*/ 0 h 341656"/>
                <a:gd name="connsiteX5" fmla="*/ 0 w 289156"/>
                <a:gd name="connsiteY5" fmla="*/ 142417 h 341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156" h="341656">
                  <a:moveTo>
                    <a:pt x="0" y="142417"/>
                  </a:moveTo>
                  <a:cubicBezTo>
                    <a:pt x="0" y="142417"/>
                    <a:pt x="89011" y="189890"/>
                    <a:pt x="136483" y="195824"/>
                  </a:cubicBezTo>
                  <a:cubicBezTo>
                    <a:pt x="186923" y="201758"/>
                    <a:pt x="192857" y="311538"/>
                    <a:pt x="192857" y="311538"/>
                  </a:cubicBezTo>
                  <a:cubicBezTo>
                    <a:pt x="192857" y="311538"/>
                    <a:pt x="264066" y="361978"/>
                    <a:pt x="278901" y="332308"/>
                  </a:cubicBezTo>
                  <a:cubicBezTo>
                    <a:pt x="311538" y="267033"/>
                    <a:pt x="275934" y="0"/>
                    <a:pt x="29670" y="0"/>
                  </a:cubicBezTo>
                  <a:cubicBezTo>
                    <a:pt x="32637" y="0"/>
                    <a:pt x="23736" y="136483"/>
                    <a:pt x="0" y="142417"/>
                  </a:cubicBez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571AB727-9E7F-40FD-9CA7-96357A0FACF1}"/>
                </a:ext>
              </a:extLst>
            </p:cNvPr>
            <p:cNvSpPr/>
            <p:nvPr/>
          </p:nvSpPr>
          <p:spPr>
            <a:xfrm>
              <a:off x="16610245" y="8092844"/>
              <a:ext cx="148351" cy="204725"/>
            </a:xfrm>
            <a:custGeom>
              <a:avLst/>
              <a:gdLst>
                <a:gd name="connsiteX0" fmla="*/ 142417 w 148351"/>
                <a:gd name="connsiteY0" fmla="*/ 204726 h 204725"/>
                <a:gd name="connsiteX1" fmla="*/ 142417 w 148351"/>
                <a:gd name="connsiteY1" fmla="*/ 204726 h 204725"/>
                <a:gd name="connsiteX2" fmla="*/ 47473 w 148351"/>
                <a:gd name="connsiteY2" fmla="*/ 172088 h 204725"/>
                <a:gd name="connsiteX3" fmla="*/ 2967 w 148351"/>
                <a:gd name="connsiteY3" fmla="*/ 148352 h 204725"/>
                <a:gd name="connsiteX4" fmla="*/ 0 w 148351"/>
                <a:gd name="connsiteY4" fmla="*/ 145385 h 204725"/>
                <a:gd name="connsiteX5" fmla="*/ 0 w 148351"/>
                <a:gd name="connsiteY5" fmla="*/ 142418 h 204725"/>
                <a:gd name="connsiteX6" fmla="*/ 17802 w 148351"/>
                <a:gd name="connsiteY6" fmla="*/ 118681 h 204725"/>
                <a:gd name="connsiteX7" fmla="*/ 26703 w 148351"/>
                <a:gd name="connsiteY7" fmla="*/ 80110 h 204725"/>
                <a:gd name="connsiteX8" fmla="*/ 29670 w 148351"/>
                <a:gd name="connsiteY8" fmla="*/ 44505 h 204725"/>
                <a:gd name="connsiteX9" fmla="*/ 32638 w 148351"/>
                <a:gd name="connsiteY9" fmla="*/ 5934 h 204725"/>
                <a:gd name="connsiteX10" fmla="*/ 38571 w 148351"/>
                <a:gd name="connsiteY10" fmla="*/ 0 h 204725"/>
                <a:gd name="connsiteX11" fmla="*/ 44505 w 148351"/>
                <a:gd name="connsiteY11" fmla="*/ 5934 h 204725"/>
                <a:gd name="connsiteX12" fmla="*/ 41538 w 148351"/>
                <a:gd name="connsiteY12" fmla="*/ 41539 h 204725"/>
                <a:gd name="connsiteX13" fmla="*/ 38571 w 148351"/>
                <a:gd name="connsiteY13" fmla="*/ 80110 h 204725"/>
                <a:gd name="connsiteX14" fmla="*/ 26703 w 148351"/>
                <a:gd name="connsiteY14" fmla="*/ 121649 h 204725"/>
                <a:gd name="connsiteX15" fmla="*/ 11868 w 148351"/>
                <a:gd name="connsiteY15" fmla="*/ 142418 h 204725"/>
                <a:gd name="connsiteX16" fmla="*/ 50440 w 148351"/>
                <a:gd name="connsiteY16" fmla="*/ 163187 h 204725"/>
                <a:gd name="connsiteX17" fmla="*/ 142417 w 148351"/>
                <a:gd name="connsiteY17" fmla="*/ 192857 h 204725"/>
                <a:gd name="connsiteX18" fmla="*/ 148352 w 148351"/>
                <a:gd name="connsiteY18" fmla="*/ 198792 h 204725"/>
                <a:gd name="connsiteX19" fmla="*/ 142417 w 148351"/>
                <a:gd name="connsiteY19" fmla="*/ 204726 h 204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8351" h="204725">
                  <a:moveTo>
                    <a:pt x="142417" y="204726"/>
                  </a:moveTo>
                  <a:cubicBezTo>
                    <a:pt x="142417" y="204726"/>
                    <a:pt x="142417" y="204726"/>
                    <a:pt x="142417" y="204726"/>
                  </a:cubicBezTo>
                  <a:cubicBezTo>
                    <a:pt x="112747" y="201758"/>
                    <a:pt x="80110" y="189890"/>
                    <a:pt x="47473" y="172088"/>
                  </a:cubicBezTo>
                  <a:cubicBezTo>
                    <a:pt x="20770" y="160220"/>
                    <a:pt x="2967" y="148352"/>
                    <a:pt x="2967" y="148352"/>
                  </a:cubicBezTo>
                  <a:cubicBezTo>
                    <a:pt x="2967" y="148352"/>
                    <a:pt x="0" y="145385"/>
                    <a:pt x="0" y="145385"/>
                  </a:cubicBezTo>
                  <a:cubicBezTo>
                    <a:pt x="0" y="142418"/>
                    <a:pt x="0" y="142418"/>
                    <a:pt x="0" y="142418"/>
                  </a:cubicBezTo>
                  <a:cubicBezTo>
                    <a:pt x="5934" y="136484"/>
                    <a:pt x="11868" y="127583"/>
                    <a:pt x="17802" y="118681"/>
                  </a:cubicBezTo>
                  <a:cubicBezTo>
                    <a:pt x="23736" y="106813"/>
                    <a:pt x="26703" y="91978"/>
                    <a:pt x="26703" y="80110"/>
                  </a:cubicBezTo>
                  <a:cubicBezTo>
                    <a:pt x="26703" y="74176"/>
                    <a:pt x="26703" y="59341"/>
                    <a:pt x="29670" y="44505"/>
                  </a:cubicBezTo>
                  <a:cubicBezTo>
                    <a:pt x="29670" y="29670"/>
                    <a:pt x="29670" y="14835"/>
                    <a:pt x="32638" y="5934"/>
                  </a:cubicBezTo>
                  <a:cubicBezTo>
                    <a:pt x="32638" y="2967"/>
                    <a:pt x="35605" y="0"/>
                    <a:pt x="38571" y="0"/>
                  </a:cubicBezTo>
                  <a:cubicBezTo>
                    <a:pt x="41538" y="0"/>
                    <a:pt x="44505" y="2967"/>
                    <a:pt x="44505" y="5934"/>
                  </a:cubicBezTo>
                  <a:cubicBezTo>
                    <a:pt x="44505" y="11868"/>
                    <a:pt x="44505" y="26704"/>
                    <a:pt x="41538" y="41539"/>
                  </a:cubicBezTo>
                  <a:cubicBezTo>
                    <a:pt x="41538" y="56374"/>
                    <a:pt x="41538" y="71209"/>
                    <a:pt x="38571" y="80110"/>
                  </a:cubicBezTo>
                  <a:cubicBezTo>
                    <a:pt x="35605" y="94945"/>
                    <a:pt x="35605" y="109781"/>
                    <a:pt x="26703" y="121649"/>
                  </a:cubicBezTo>
                  <a:cubicBezTo>
                    <a:pt x="23736" y="127583"/>
                    <a:pt x="17802" y="136484"/>
                    <a:pt x="11868" y="142418"/>
                  </a:cubicBezTo>
                  <a:cubicBezTo>
                    <a:pt x="17802" y="145385"/>
                    <a:pt x="32638" y="154286"/>
                    <a:pt x="50440" y="163187"/>
                  </a:cubicBezTo>
                  <a:cubicBezTo>
                    <a:pt x="83077" y="178022"/>
                    <a:pt x="115714" y="189890"/>
                    <a:pt x="142417" y="192857"/>
                  </a:cubicBezTo>
                  <a:cubicBezTo>
                    <a:pt x="145384" y="192857"/>
                    <a:pt x="148352" y="195824"/>
                    <a:pt x="148352" y="198792"/>
                  </a:cubicBezTo>
                  <a:cubicBezTo>
                    <a:pt x="148352" y="201758"/>
                    <a:pt x="145384" y="204726"/>
                    <a:pt x="142417" y="204726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8944DD8C-F210-4215-8EFA-6A1C8AC9394F}"/>
                </a:ext>
              </a:extLst>
            </p:cNvPr>
            <p:cNvSpPr/>
            <p:nvPr/>
          </p:nvSpPr>
          <p:spPr>
            <a:xfrm>
              <a:off x="16452992" y="8591211"/>
              <a:ext cx="302636" cy="317566"/>
            </a:xfrm>
            <a:custGeom>
              <a:avLst/>
              <a:gdLst>
                <a:gd name="connsiteX0" fmla="*/ 53406 w 302636"/>
                <a:gd name="connsiteY0" fmla="*/ 59435 h 317566"/>
                <a:gd name="connsiteX1" fmla="*/ 0 w 302636"/>
                <a:gd name="connsiteY1" fmla="*/ 195918 h 317566"/>
                <a:gd name="connsiteX2" fmla="*/ 112747 w 302636"/>
                <a:gd name="connsiteY2" fmla="*/ 317567 h 317566"/>
                <a:gd name="connsiteX3" fmla="*/ 302637 w 302636"/>
                <a:gd name="connsiteY3" fmla="*/ 181083 h 317566"/>
                <a:gd name="connsiteX4" fmla="*/ 252198 w 302636"/>
                <a:gd name="connsiteY4" fmla="*/ 94 h 317566"/>
                <a:gd name="connsiteX5" fmla="*/ 53406 w 302636"/>
                <a:gd name="connsiteY5" fmla="*/ 59435 h 317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636" h="317566">
                  <a:moveTo>
                    <a:pt x="53406" y="59435"/>
                  </a:moveTo>
                  <a:cubicBezTo>
                    <a:pt x="53406" y="59435"/>
                    <a:pt x="59341" y="166248"/>
                    <a:pt x="0" y="195918"/>
                  </a:cubicBezTo>
                  <a:lnTo>
                    <a:pt x="112747" y="317567"/>
                  </a:lnTo>
                  <a:cubicBezTo>
                    <a:pt x="112747" y="317567"/>
                    <a:pt x="249231" y="210754"/>
                    <a:pt x="302637" y="181083"/>
                  </a:cubicBezTo>
                  <a:cubicBezTo>
                    <a:pt x="249231" y="139545"/>
                    <a:pt x="252198" y="59435"/>
                    <a:pt x="252198" y="94"/>
                  </a:cubicBezTo>
                  <a:cubicBezTo>
                    <a:pt x="252198" y="-2873"/>
                    <a:pt x="106812" y="65369"/>
                    <a:pt x="53406" y="59435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C8452BCC-EDB4-43E7-B0F1-E32543372B0F}"/>
                </a:ext>
              </a:extLst>
            </p:cNvPr>
            <p:cNvSpPr/>
            <p:nvPr/>
          </p:nvSpPr>
          <p:spPr>
            <a:xfrm>
              <a:off x="16498239" y="8625681"/>
              <a:ext cx="217080" cy="78371"/>
            </a:xfrm>
            <a:custGeom>
              <a:avLst/>
              <a:gdLst>
                <a:gd name="connsiteX0" fmla="*/ 70467 w 217080"/>
                <a:gd name="connsiteY0" fmla="*/ 78372 h 78371"/>
                <a:gd name="connsiteX1" fmla="*/ 2225 w 217080"/>
                <a:gd name="connsiteY1" fmla="*/ 51669 h 78371"/>
                <a:gd name="connsiteX2" fmla="*/ 2225 w 217080"/>
                <a:gd name="connsiteY2" fmla="*/ 42768 h 78371"/>
                <a:gd name="connsiteX3" fmla="*/ 11126 w 217080"/>
                <a:gd name="connsiteY3" fmla="*/ 42768 h 78371"/>
                <a:gd name="connsiteX4" fmla="*/ 79368 w 217080"/>
                <a:gd name="connsiteY4" fmla="*/ 66504 h 78371"/>
                <a:gd name="connsiteX5" fmla="*/ 206951 w 217080"/>
                <a:gd name="connsiteY5" fmla="*/ 1229 h 78371"/>
                <a:gd name="connsiteX6" fmla="*/ 215851 w 217080"/>
                <a:gd name="connsiteY6" fmla="*/ 4196 h 78371"/>
                <a:gd name="connsiteX7" fmla="*/ 212884 w 217080"/>
                <a:gd name="connsiteY7" fmla="*/ 13097 h 78371"/>
                <a:gd name="connsiteX8" fmla="*/ 79368 w 217080"/>
                <a:gd name="connsiteY8" fmla="*/ 78372 h 78371"/>
                <a:gd name="connsiteX9" fmla="*/ 70467 w 217080"/>
                <a:gd name="connsiteY9" fmla="*/ 78372 h 78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080" h="78371">
                  <a:moveTo>
                    <a:pt x="70467" y="78372"/>
                  </a:moveTo>
                  <a:cubicBezTo>
                    <a:pt x="31895" y="78372"/>
                    <a:pt x="5192" y="51669"/>
                    <a:pt x="2225" y="51669"/>
                  </a:cubicBezTo>
                  <a:cubicBezTo>
                    <a:pt x="-742" y="48702"/>
                    <a:pt x="-742" y="45734"/>
                    <a:pt x="2225" y="42768"/>
                  </a:cubicBezTo>
                  <a:cubicBezTo>
                    <a:pt x="5192" y="39800"/>
                    <a:pt x="8159" y="39800"/>
                    <a:pt x="11126" y="42768"/>
                  </a:cubicBezTo>
                  <a:cubicBezTo>
                    <a:pt x="11126" y="42768"/>
                    <a:pt x="43764" y="72438"/>
                    <a:pt x="79368" y="66504"/>
                  </a:cubicBezTo>
                  <a:cubicBezTo>
                    <a:pt x="117940" y="60570"/>
                    <a:pt x="206951" y="1229"/>
                    <a:pt x="206951" y="1229"/>
                  </a:cubicBezTo>
                  <a:cubicBezTo>
                    <a:pt x="209917" y="-1738"/>
                    <a:pt x="212884" y="1229"/>
                    <a:pt x="215851" y="4196"/>
                  </a:cubicBezTo>
                  <a:cubicBezTo>
                    <a:pt x="218819" y="7163"/>
                    <a:pt x="215851" y="10130"/>
                    <a:pt x="212884" y="13097"/>
                  </a:cubicBezTo>
                  <a:cubicBezTo>
                    <a:pt x="209917" y="16064"/>
                    <a:pt x="120906" y="75405"/>
                    <a:pt x="79368" y="78372"/>
                  </a:cubicBezTo>
                  <a:cubicBezTo>
                    <a:pt x="76401" y="78372"/>
                    <a:pt x="73434" y="78372"/>
                    <a:pt x="70467" y="78372"/>
                  </a:cubicBezTo>
                  <a:close/>
                </a:path>
              </a:pathLst>
            </a:custGeom>
            <a:solidFill>
              <a:srgbClr val="E58777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9F61D49C-F59B-47B5-812A-694DCDA94AA3}"/>
                </a:ext>
              </a:extLst>
            </p:cNvPr>
            <p:cNvSpPr/>
            <p:nvPr/>
          </p:nvSpPr>
          <p:spPr>
            <a:xfrm>
              <a:off x="16179220" y="8861306"/>
              <a:ext cx="98716" cy="542967"/>
            </a:xfrm>
            <a:custGeom>
              <a:avLst/>
              <a:gdLst>
                <a:gd name="connsiteX0" fmla="*/ 54211 w 98716"/>
                <a:gd name="connsiteY0" fmla="*/ 542967 h 542967"/>
                <a:gd name="connsiteX1" fmla="*/ 48278 w 98716"/>
                <a:gd name="connsiteY1" fmla="*/ 540000 h 542967"/>
                <a:gd name="connsiteX2" fmla="*/ 33442 w 98716"/>
                <a:gd name="connsiteY2" fmla="*/ 486594 h 542967"/>
                <a:gd name="connsiteX3" fmla="*/ 805 w 98716"/>
                <a:gd name="connsiteY3" fmla="*/ 338242 h 542967"/>
                <a:gd name="connsiteX4" fmla="*/ 86849 w 98716"/>
                <a:gd name="connsiteY4" fmla="*/ 2967 h 542967"/>
                <a:gd name="connsiteX5" fmla="*/ 95750 w 98716"/>
                <a:gd name="connsiteY5" fmla="*/ 0 h 542967"/>
                <a:gd name="connsiteX6" fmla="*/ 98717 w 98716"/>
                <a:gd name="connsiteY6" fmla="*/ 8901 h 542967"/>
                <a:gd name="connsiteX7" fmla="*/ 12673 w 98716"/>
                <a:gd name="connsiteY7" fmla="*/ 338242 h 542967"/>
                <a:gd name="connsiteX8" fmla="*/ 45310 w 98716"/>
                <a:gd name="connsiteY8" fmla="*/ 483626 h 542967"/>
                <a:gd name="connsiteX9" fmla="*/ 60146 w 98716"/>
                <a:gd name="connsiteY9" fmla="*/ 537033 h 542967"/>
                <a:gd name="connsiteX10" fmla="*/ 54211 w 98716"/>
                <a:gd name="connsiteY10" fmla="*/ 542967 h 542967"/>
                <a:gd name="connsiteX11" fmla="*/ 54211 w 98716"/>
                <a:gd name="connsiteY11" fmla="*/ 542967 h 542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8716" h="542967">
                  <a:moveTo>
                    <a:pt x="54211" y="542967"/>
                  </a:moveTo>
                  <a:cubicBezTo>
                    <a:pt x="51245" y="542967"/>
                    <a:pt x="48278" y="540000"/>
                    <a:pt x="48278" y="540000"/>
                  </a:cubicBezTo>
                  <a:cubicBezTo>
                    <a:pt x="42343" y="522198"/>
                    <a:pt x="39376" y="504395"/>
                    <a:pt x="33442" y="486594"/>
                  </a:cubicBezTo>
                  <a:cubicBezTo>
                    <a:pt x="18607" y="436154"/>
                    <a:pt x="3772" y="385714"/>
                    <a:pt x="805" y="338242"/>
                  </a:cubicBezTo>
                  <a:cubicBezTo>
                    <a:pt x="-5130" y="216594"/>
                    <a:pt x="21574" y="103846"/>
                    <a:pt x="86849" y="2967"/>
                  </a:cubicBezTo>
                  <a:cubicBezTo>
                    <a:pt x="89816" y="0"/>
                    <a:pt x="92783" y="0"/>
                    <a:pt x="95750" y="0"/>
                  </a:cubicBezTo>
                  <a:cubicBezTo>
                    <a:pt x="98717" y="2967"/>
                    <a:pt x="98717" y="5934"/>
                    <a:pt x="98717" y="8901"/>
                  </a:cubicBezTo>
                  <a:cubicBezTo>
                    <a:pt x="36410" y="109780"/>
                    <a:pt x="6739" y="219560"/>
                    <a:pt x="12673" y="338242"/>
                  </a:cubicBezTo>
                  <a:cubicBezTo>
                    <a:pt x="15640" y="382747"/>
                    <a:pt x="30475" y="433187"/>
                    <a:pt x="45310" y="483626"/>
                  </a:cubicBezTo>
                  <a:cubicBezTo>
                    <a:pt x="51245" y="501429"/>
                    <a:pt x="57178" y="519230"/>
                    <a:pt x="60146" y="537033"/>
                  </a:cubicBezTo>
                  <a:cubicBezTo>
                    <a:pt x="60146" y="537033"/>
                    <a:pt x="57178" y="540000"/>
                    <a:pt x="54211" y="542967"/>
                  </a:cubicBezTo>
                  <a:cubicBezTo>
                    <a:pt x="54211" y="542967"/>
                    <a:pt x="54211" y="542967"/>
                    <a:pt x="54211" y="542967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65C52CDD-0B4C-4E47-8DD6-F436B58D347B}"/>
                </a:ext>
              </a:extLst>
            </p:cNvPr>
            <p:cNvSpPr/>
            <p:nvPr/>
          </p:nvSpPr>
          <p:spPr>
            <a:xfrm>
              <a:off x="16298706" y="9291714"/>
              <a:ext cx="389910" cy="35415"/>
            </a:xfrm>
            <a:custGeom>
              <a:avLst/>
              <a:gdLst>
                <a:gd name="connsiteX0" fmla="*/ 5934 w 389910"/>
                <a:gd name="connsiteY0" fmla="*/ 35416 h 35415"/>
                <a:gd name="connsiteX1" fmla="*/ 0 w 389910"/>
                <a:gd name="connsiteY1" fmla="*/ 32448 h 35415"/>
                <a:gd name="connsiteX2" fmla="*/ 2967 w 389910"/>
                <a:gd name="connsiteY2" fmla="*/ 26515 h 35415"/>
                <a:gd name="connsiteX3" fmla="*/ 385714 w 389910"/>
                <a:gd name="connsiteY3" fmla="*/ 14646 h 35415"/>
                <a:gd name="connsiteX4" fmla="*/ 388682 w 389910"/>
                <a:gd name="connsiteY4" fmla="*/ 20580 h 35415"/>
                <a:gd name="connsiteX5" fmla="*/ 382747 w 389910"/>
                <a:gd name="connsiteY5" fmla="*/ 23548 h 35415"/>
                <a:gd name="connsiteX6" fmla="*/ 5934 w 389910"/>
                <a:gd name="connsiteY6" fmla="*/ 35416 h 35415"/>
                <a:gd name="connsiteX7" fmla="*/ 5934 w 389910"/>
                <a:gd name="connsiteY7" fmla="*/ 35416 h 3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9910" h="35415">
                  <a:moveTo>
                    <a:pt x="5934" y="35416"/>
                  </a:moveTo>
                  <a:cubicBezTo>
                    <a:pt x="2967" y="35416"/>
                    <a:pt x="2967" y="35416"/>
                    <a:pt x="0" y="32448"/>
                  </a:cubicBezTo>
                  <a:cubicBezTo>
                    <a:pt x="0" y="29481"/>
                    <a:pt x="0" y="26515"/>
                    <a:pt x="2967" y="26515"/>
                  </a:cubicBezTo>
                  <a:cubicBezTo>
                    <a:pt x="86044" y="-3156"/>
                    <a:pt x="287803" y="-9090"/>
                    <a:pt x="385714" y="14646"/>
                  </a:cubicBezTo>
                  <a:cubicBezTo>
                    <a:pt x="388682" y="14646"/>
                    <a:pt x="391649" y="17613"/>
                    <a:pt x="388682" y="20580"/>
                  </a:cubicBezTo>
                  <a:cubicBezTo>
                    <a:pt x="388682" y="23548"/>
                    <a:pt x="385714" y="26515"/>
                    <a:pt x="382747" y="23548"/>
                  </a:cubicBezTo>
                  <a:cubicBezTo>
                    <a:pt x="287803" y="-189"/>
                    <a:pt x="86044" y="5745"/>
                    <a:pt x="5934" y="35416"/>
                  </a:cubicBezTo>
                  <a:cubicBezTo>
                    <a:pt x="5934" y="35416"/>
                    <a:pt x="5934" y="35416"/>
                    <a:pt x="5934" y="35416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6BC35E63-DAAC-4745-AE4B-795F7E49A7EC}"/>
                </a:ext>
              </a:extLst>
            </p:cNvPr>
            <p:cNvSpPr/>
            <p:nvPr/>
          </p:nvSpPr>
          <p:spPr>
            <a:xfrm>
              <a:off x="16773431" y="8394037"/>
              <a:ext cx="75502" cy="110990"/>
            </a:xfrm>
            <a:custGeom>
              <a:avLst/>
              <a:gdLst>
                <a:gd name="connsiteX0" fmla="*/ 11868 w 75502"/>
                <a:gd name="connsiteY0" fmla="*/ 16280 h 110990"/>
                <a:gd name="connsiteX1" fmla="*/ 68242 w 75502"/>
                <a:gd name="connsiteY1" fmla="*/ 7379 h 110990"/>
                <a:gd name="connsiteX2" fmla="*/ 11868 w 75502"/>
                <a:gd name="connsiteY2" fmla="*/ 108258 h 110990"/>
                <a:gd name="connsiteX3" fmla="*/ 11868 w 75502"/>
                <a:gd name="connsiteY3" fmla="*/ 16280 h 110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502" h="110990">
                  <a:moveTo>
                    <a:pt x="11868" y="16280"/>
                  </a:moveTo>
                  <a:cubicBezTo>
                    <a:pt x="11868" y="16280"/>
                    <a:pt x="44506" y="-13390"/>
                    <a:pt x="68242" y="7379"/>
                  </a:cubicBezTo>
                  <a:cubicBezTo>
                    <a:pt x="91978" y="25181"/>
                    <a:pt x="53406" y="129027"/>
                    <a:pt x="11868" y="108258"/>
                  </a:cubicBezTo>
                  <a:cubicBezTo>
                    <a:pt x="-14835" y="87489"/>
                    <a:pt x="11868" y="16280"/>
                    <a:pt x="11868" y="16280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4F2016FC-442A-4768-BB06-B78A1860B373}"/>
                </a:ext>
              </a:extLst>
            </p:cNvPr>
            <p:cNvSpPr/>
            <p:nvPr/>
          </p:nvSpPr>
          <p:spPr>
            <a:xfrm>
              <a:off x="16352112" y="8276800"/>
              <a:ext cx="142418" cy="160219"/>
            </a:xfrm>
            <a:custGeom>
              <a:avLst/>
              <a:gdLst>
                <a:gd name="connsiteX0" fmla="*/ 5934 w 142418"/>
                <a:gd name="connsiteY0" fmla="*/ 160220 h 160219"/>
                <a:gd name="connsiteX1" fmla="*/ 5934 w 142418"/>
                <a:gd name="connsiteY1" fmla="*/ 160220 h 160219"/>
                <a:gd name="connsiteX2" fmla="*/ 0 w 142418"/>
                <a:gd name="connsiteY2" fmla="*/ 154286 h 160219"/>
                <a:gd name="connsiteX3" fmla="*/ 136484 w 142418"/>
                <a:gd name="connsiteY3" fmla="*/ 0 h 160219"/>
                <a:gd name="connsiteX4" fmla="*/ 142418 w 142418"/>
                <a:gd name="connsiteY4" fmla="*/ 2967 h 160219"/>
                <a:gd name="connsiteX5" fmla="*/ 139451 w 142418"/>
                <a:gd name="connsiteY5" fmla="*/ 8901 h 160219"/>
                <a:gd name="connsiteX6" fmla="*/ 11869 w 142418"/>
                <a:gd name="connsiteY6" fmla="*/ 154286 h 160219"/>
                <a:gd name="connsiteX7" fmla="*/ 5934 w 142418"/>
                <a:gd name="connsiteY7" fmla="*/ 160220 h 160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418" h="160219">
                  <a:moveTo>
                    <a:pt x="5934" y="160220"/>
                  </a:moveTo>
                  <a:cubicBezTo>
                    <a:pt x="2967" y="160220"/>
                    <a:pt x="2967" y="160220"/>
                    <a:pt x="5934" y="160220"/>
                  </a:cubicBezTo>
                  <a:cubicBezTo>
                    <a:pt x="2967" y="160220"/>
                    <a:pt x="0" y="157252"/>
                    <a:pt x="0" y="154286"/>
                  </a:cubicBezTo>
                  <a:cubicBezTo>
                    <a:pt x="23737" y="29670"/>
                    <a:pt x="136484" y="0"/>
                    <a:pt x="136484" y="0"/>
                  </a:cubicBezTo>
                  <a:cubicBezTo>
                    <a:pt x="139451" y="0"/>
                    <a:pt x="142418" y="0"/>
                    <a:pt x="142418" y="2967"/>
                  </a:cubicBezTo>
                  <a:cubicBezTo>
                    <a:pt x="142418" y="5934"/>
                    <a:pt x="142418" y="8901"/>
                    <a:pt x="139451" y="8901"/>
                  </a:cubicBezTo>
                  <a:cubicBezTo>
                    <a:pt x="139451" y="8901"/>
                    <a:pt x="35605" y="38571"/>
                    <a:pt x="11869" y="154286"/>
                  </a:cubicBezTo>
                  <a:cubicBezTo>
                    <a:pt x="8902" y="157252"/>
                    <a:pt x="5934" y="160220"/>
                    <a:pt x="5934" y="160220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278A4BB1-89C6-4162-B1E8-3BE1AF291352}"/>
                </a:ext>
              </a:extLst>
            </p:cNvPr>
            <p:cNvSpPr/>
            <p:nvPr/>
          </p:nvSpPr>
          <p:spPr>
            <a:xfrm>
              <a:off x="16705190" y="8223394"/>
              <a:ext cx="108041" cy="180988"/>
            </a:xfrm>
            <a:custGeom>
              <a:avLst/>
              <a:gdLst>
                <a:gd name="connsiteX0" fmla="*/ 103846 w 108041"/>
                <a:gd name="connsiteY0" fmla="*/ 180989 h 180988"/>
                <a:gd name="connsiteX1" fmla="*/ 97912 w 108041"/>
                <a:gd name="connsiteY1" fmla="*/ 175055 h 180988"/>
                <a:gd name="connsiteX2" fmla="*/ 53406 w 108041"/>
                <a:gd name="connsiteY2" fmla="*/ 71209 h 180988"/>
                <a:gd name="connsiteX3" fmla="*/ 0 w 108041"/>
                <a:gd name="connsiteY3" fmla="*/ 5934 h 180988"/>
                <a:gd name="connsiteX4" fmla="*/ 2966 w 108041"/>
                <a:gd name="connsiteY4" fmla="*/ 0 h 180988"/>
                <a:gd name="connsiteX5" fmla="*/ 8901 w 108041"/>
                <a:gd name="connsiteY5" fmla="*/ 2967 h 180988"/>
                <a:gd name="connsiteX6" fmla="*/ 56373 w 108041"/>
                <a:gd name="connsiteY6" fmla="*/ 65275 h 180988"/>
                <a:gd name="connsiteX7" fmla="*/ 106812 w 108041"/>
                <a:gd name="connsiteY7" fmla="*/ 175055 h 180988"/>
                <a:gd name="connsiteX8" fmla="*/ 103846 w 108041"/>
                <a:gd name="connsiteY8" fmla="*/ 180989 h 180988"/>
                <a:gd name="connsiteX9" fmla="*/ 103846 w 108041"/>
                <a:gd name="connsiteY9" fmla="*/ 180989 h 180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041" h="180988">
                  <a:moveTo>
                    <a:pt x="103846" y="180989"/>
                  </a:moveTo>
                  <a:cubicBezTo>
                    <a:pt x="100879" y="180989"/>
                    <a:pt x="97912" y="178022"/>
                    <a:pt x="97912" y="175055"/>
                  </a:cubicBezTo>
                  <a:cubicBezTo>
                    <a:pt x="97912" y="163187"/>
                    <a:pt x="89011" y="97912"/>
                    <a:pt x="53406" y="71209"/>
                  </a:cubicBezTo>
                  <a:cubicBezTo>
                    <a:pt x="20769" y="47472"/>
                    <a:pt x="2966" y="5934"/>
                    <a:pt x="0" y="5934"/>
                  </a:cubicBezTo>
                  <a:cubicBezTo>
                    <a:pt x="0" y="2967"/>
                    <a:pt x="0" y="0"/>
                    <a:pt x="2966" y="0"/>
                  </a:cubicBezTo>
                  <a:cubicBezTo>
                    <a:pt x="5934" y="0"/>
                    <a:pt x="8901" y="0"/>
                    <a:pt x="8901" y="2967"/>
                  </a:cubicBezTo>
                  <a:cubicBezTo>
                    <a:pt x="8901" y="2967"/>
                    <a:pt x="26703" y="41538"/>
                    <a:pt x="56373" y="65275"/>
                  </a:cubicBezTo>
                  <a:cubicBezTo>
                    <a:pt x="94945" y="91978"/>
                    <a:pt x="103846" y="163187"/>
                    <a:pt x="106812" y="175055"/>
                  </a:cubicBezTo>
                  <a:cubicBezTo>
                    <a:pt x="109780" y="178022"/>
                    <a:pt x="106812" y="180989"/>
                    <a:pt x="103846" y="180989"/>
                  </a:cubicBezTo>
                  <a:cubicBezTo>
                    <a:pt x="103846" y="180989"/>
                    <a:pt x="103846" y="180989"/>
                    <a:pt x="103846" y="180989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DEBACAB5-CB43-4F8D-827E-4C3CE4CBDAE8}"/>
                </a:ext>
              </a:extLst>
            </p:cNvPr>
            <p:cNvSpPr/>
            <p:nvPr/>
          </p:nvSpPr>
          <p:spPr>
            <a:xfrm>
              <a:off x="16429255" y="8775261"/>
              <a:ext cx="350110" cy="151318"/>
            </a:xfrm>
            <a:custGeom>
              <a:avLst/>
              <a:gdLst>
                <a:gd name="connsiteX0" fmla="*/ 35605 w 350110"/>
                <a:gd name="connsiteY0" fmla="*/ 5934 h 151318"/>
                <a:gd name="connsiteX1" fmla="*/ 136484 w 350110"/>
                <a:gd name="connsiteY1" fmla="*/ 118681 h 151318"/>
                <a:gd name="connsiteX2" fmla="*/ 326374 w 350110"/>
                <a:gd name="connsiteY2" fmla="*/ 0 h 151318"/>
                <a:gd name="connsiteX3" fmla="*/ 350110 w 350110"/>
                <a:gd name="connsiteY3" fmla="*/ 8901 h 151318"/>
                <a:gd name="connsiteX4" fmla="*/ 133516 w 350110"/>
                <a:gd name="connsiteY4" fmla="*/ 151319 h 151318"/>
                <a:gd name="connsiteX5" fmla="*/ 0 w 350110"/>
                <a:gd name="connsiteY5" fmla="*/ 14835 h 151318"/>
                <a:gd name="connsiteX6" fmla="*/ 35605 w 350110"/>
                <a:gd name="connsiteY6" fmla="*/ 5934 h 151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110" h="151318">
                  <a:moveTo>
                    <a:pt x="35605" y="5934"/>
                  </a:moveTo>
                  <a:lnTo>
                    <a:pt x="136484" y="118681"/>
                  </a:lnTo>
                  <a:cubicBezTo>
                    <a:pt x="136484" y="118681"/>
                    <a:pt x="264066" y="20770"/>
                    <a:pt x="326374" y="0"/>
                  </a:cubicBezTo>
                  <a:lnTo>
                    <a:pt x="350110" y="8901"/>
                  </a:lnTo>
                  <a:lnTo>
                    <a:pt x="133516" y="151319"/>
                  </a:lnTo>
                  <a:lnTo>
                    <a:pt x="0" y="14835"/>
                  </a:lnTo>
                  <a:cubicBezTo>
                    <a:pt x="0" y="11868"/>
                    <a:pt x="14835" y="5934"/>
                    <a:pt x="35605" y="5934"/>
                  </a:cubicBezTo>
                  <a:close/>
                </a:path>
              </a:pathLst>
            </a:custGeom>
            <a:solidFill>
              <a:srgbClr val="D16156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AED2C46E-391B-40B6-B7F0-CF60F4A8FB9C}"/>
                </a:ext>
              </a:extLst>
            </p:cNvPr>
            <p:cNvSpPr/>
            <p:nvPr/>
          </p:nvSpPr>
          <p:spPr>
            <a:xfrm>
              <a:off x="16174090" y="9674273"/>
              <a:ext cx="869341" cy="263364"/>
            </a:xfrm>
            <a:custGeom>
              <a:avLst/>
              <a:gdLst>
                <a:gd name="connsiteX0" fmla="*/ 756593 w 869341"/>
                <a:gd name="connsiteY0" fmla="*/ 0 h 263364"/>
                <a:gd name="connsiteX1" fmla="*/ 869341 w 869341"/>
                <a:gd name="connsiteY1" fmla="*/ 178022 h 263364"/>
                <a:gd name="connsiteX2" fmla="*/ 0 w 869341"/>
                <a:gd name="connsiteY2" fmla="*/ 201758 h 263364"/>
                <a:gd name="connsiteX3" fmla="*/ 100880 w 869341"/>
                <a:gd name="connsiteY3" fmla="*/ 44505 h 263364"/>
                <a:gd name="connsiteX4" fmla="*/ 756593 w 869341"/>
                <a:gd name="connsiteY4" fmla="*/ 0 h 263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9341" h="263364">
                  <a:moveTo>
                    <a:pt x="756593" y="0"/>
                  </a:moveTo>
                  <a:lnTo>
                    <a:pt x="869341" y="178022"/>
                  </a:lnTo>
                  <a:cubicBezTo>
                    <a:pt x="869341" y="178022"/>
                    <a:pt x="391649" y="353077"/>
                    <a:pt x="0" y="201758"/>
                  </a:cubicBezTo>
                  <a:lnTo>
                    <a:pt x="100880" y="44505"/>
                  </a:lnTo>
                  <a:cubicBezTo>
                    <a:pt x="100880" y="41538"/>
                    <a:pt x="667582" y="23736"/>
                    <a:pt x="756593" y="0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ABADB8BA-7CD5-4207-9DEA-9A8251E05E2D}"/>
                </a:ext>
              </a:extLst>
            </p:cNvPr>
            <p:cNvSpPr/>
            <p:nvPr/>
          </p:nvSpPr>
          <p:spPr>
            <a:xfrm>
              <a:off x="16269036" y="9689108"/>
              <a:ext cx="305604" cy="29670"/>
            </a:xfrm>
            <a:custGeom>
              <a:avLst/>
              <a:gdLst>
                <a:gd name="connsiteX0" fmla="*/ 5934 w 305604"/>
                <a:gd name="connsiteY0" fmla="*/ 29670 h 29670"/>
                <a:gd name="connsiteX1" fmla="*/ 0 w 305604"/>
                <a:gd name="connsiteY1" fmla="*/ 23736 h 29670"/>
                <a:gd name="connsiteX2" fmla="*/ 5934 w 305604"/>
                <a:gd name="connsiteY2" fmla="*/ 17801 h 29670"/>
                <a:gd name="connsiteX3" fmla="*/ 299671 w 305604"/>
                <a:gd name="connsiteY3" fmla="*/ 0 h 29670"/>
                <a:gd name="connsiteX4" fmla="*/ 305604 w 305604"/>
                <a:gd name="connsiteY4" fmla="*/ 2966 h 29670"/>
                <a:gd name="connsiteX5" fmla="*/ 302638 w 305604"/>
                <a:gd name="connsiteY5" fmla="*/ 8901 h 29670"/>
                <a:gd name="connsiteX6" fmla="*/ 5934 w 305604"/>
                <a:gd name="connsiteY6" fmla="*/ 29670 h 29670"/>
                <a:gd name="connsiteX7" fmla="*/ 5934 w 305604"/>
                <a:gd name="connsiteY7" fmla="*/ 29670 h 29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5604" h="29670">
                  <a:moveTo>
                    <a:pt x="5934" y="29670"/>
                  </a:moveTo>
                  <a:cubicBezTo>
                    <a:pt x="2967" y="29670"/>
                    <a:pt x="0" y="26703"/>
                    <a:pt x="0" y="23736"/>
                  </a:cubicBezTo>
                  <a:cubicBezTo>
                    <a:pt x="0" y="20769"/>
                    <a:pt x="2967" y="17801"/>
                    <a:pt x="5934" y="17801"/>
                  </a:cubicBezTo>
                  <a:cubicBezTo>
                    <a:pt x="8901" y="17801"/>
                    <a:pt x="210660" y="14835"/>
                    <a:pt x="299671" y="0"/>
                  </a:cubicBezTo>
                  <a:cubicBezTo>
                    <a:pt x="302638" y="0"/>
                    <a:pt x="305604" y="0"/>
                    <a:pt x="305604" y="2966"/>
                  </a:cubicBezTo>
                  <a:cubicBezTo>
                    <a:pt x="305604" y="5934"/>
                    <a:pt x="305604" y="8901"/>
                    <a:pt x="302638" y="8901"/>
                  </a:cubicBezTo>
                  <a:cubicBezTo>
                    <a:pt x="210660" y="29670"/>
                    <a:pt x="8901" y="29670"/>
                    <a:pt x="5934" y="29670"/>
                  </a:cubicBezTo>
                  <a:cubicBezTo>
                    <a:pt x="5934" y="29670"/>
                    <a:pt x="5934" y="29670"/>
                    <a:pt x="5934" y="29670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854D108A-12A1-4942-A6D1-76490181E4FB}"/>
                </a:ext>
              </a:extLst>
            </p:cNvPr>
            <p:cNvSpPr/>
            <p:nvPr/>
          </p:nvSpPr>
          <p:spPr>
            <a:xfrm>
              <a:off x="16552338" y="8689218"/>
              <a:ext cx="232961" cy="400549"/>
            </a:xfrm>
            <a:custGeom>
              <a:avLst/>
              <a:gdLst>
                <a:gd name="connsiteX0" fmla="*/ 200324 w 232961"/>
                <a:gd name="connsiteY0" fmla="*/ 0 h 400549"/>
                <a:gd name="connsiteX1" fmla="*/ 28237 w 232961"/>
                <a:gd name="connsiteY1" fmla="*/ 189890 h 400549"/>
                <a:gd name="connsiteX2" fmla="*/ 10434 w 232961"/>
                <a:gd name="connsiteY2" fmla="*/ 379780 h 400549"/>
                <a:gd name="connsiteX3" fmla="*/ 54940 w 232961"/>
                <a:gd name="connsiteY3" fmla="*/ 379780 h 400549"/>
                <a:gd name="connsiteX4" fmla="*/ 129115 w 232961"/>
                <a:gd name="connsiteY4" fmla="*/ 400549 h 400549"/>
                <a:gd name="connsiteX5" fmla="*/ 170654 w 232961"/>
                <a:gd name="connsiteY5" fmla="*/ 373846 h 400549"/>
                <a:gd name="connsiteX6" fmla="*/ 232962 w 232961"/>
                <a:gd name="connsiteY6" fmla="*/ 35604 h 400549"/>
                <a:gd name="connsiteX7" fmla="*/ 200324 w 232961"/>
                <a:gd name="connsiteY7" fmla="*/ 0 h 400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2961" h="400549">
                  <a:moveTo>
                    <a:pt x="200324" y="0"/>
                  </a:moveTo>
                  <a:cubicBezTo>
                    <a:pt x="200324" y="0"/>
                    <a:pt x="63841" y="89011"/>
                    <a:pt x="28237" y="189890"/>
                  </a:cubicBezTo>
                  <a:cubicBezTo>
                    <a:pt x="-7368" y="293736"/>
                    <a:pt x="-4401" y="370879"/>
                    <a:pt x="10434" y="379780"/>
                  </a:cubicBezTo>
                  <a:cubicBezTo>
                    <a:pt x="25269" y="388682"/>
                    <a:pt x="37137" y="370879"/>
                    <a:pt x="54940" y="379780"/>
                  </a:cubicBezTo>
                  <a:cubicBezTo>
                    <a:pt x="72742" y="388682"/>
                    <a:pt x="117247" y="400549"/>
                    <a:pt x="129115" y="400549"/>
                  </a:cubicBezTo>
                  <a:cubicBezTo>
                    <a:pt x="143951" y="400549"/>
                    <a:pt x="176588" y="385714"/>
                    <a:pt x="170654" y="373846"/>
                  </a:cubicBezTo>
                  <a:cubicBezTo>
                    <a:pt x="164720" y="361978"/>
                    <a:pt x="209226" y="62308"/>
                    <a:pt x="232962" y="35604"/>
                  </a:cubicBezTo>
                  <a:lnTo>
                    <a:pt x="200324" y="0"/>
                  </a:ln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A5B6B797-BDF1-4592-95E6-7AD6CDC628D9}"/>
                </a:ext>
              </a:extLst>
            </p:cNvPr>
            <p:cNvSpPr/>
            <p:nvPr/>
          </p:nvSpPr>
          <p:spPr>
            <a:xfrm>
              <a:off x="16598377" y="8725564"/>
              <a:ext cx="144642" cy="257389"/>
            </a:xfrm>
            <a:custGeom>
              <a:avLst/>
              <a:gdLst>
                <a:gd name="connsiteX0" fmla="*/ 5934 w 144642"/>
                <a:gd name="connsiteY0" fmla="*/ 257390 h 257389"/>
                <a:gd name="connsiteX1" fmla="*/ 5934 w 144642"/>
                <a:gd name="connsiteY1" fmla="*/ 257390 h 257389"/>
                <a:gd name="connsiteX2" fmla="*/ 0 w 144642"/>
                <a:gd name="connsiteY2" fmla="*/ 251456 h 257389"/>
                <a:gd name="connsiteX3" fmla="*/ 133516 w 144642"/>
                <a:gd name="connsiteY3" fmla="*/ 2225 h 257389"/>
                <a:gd name="connsiteX4" fmla="*/ 142417 w 144642"/>
                <a:gd name="connsiteY4" fmla="*/ 2225 h 257389"/>
                <a:gd name="connsiteX5" fmla="*/ 142417 w 144642"/>
                <a:gd name="connsiteY5" fmla="*/ 11127 h 257389"/>
                <a:gd name="connsiteX6" fmla="*/ 11868 w 144642"/>
                <a:gd name="connsiteY6" fmla="*/ 254423 h 257389"/>
                <a:gd name="connsiteX7" fmla="*/ 5934 w 144642"/>
                <a:gd name="connsiteY7" fmla="*/ 257390 h 25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642" h="257389">
                  <a:moveTo>
                    <a:pt x="5934" y="257390"/>
                  </a:moveTo>
                  <a:lnTo>
                    <a:pt x="5934" y="257390"/>
                  </a:lnTo>
                  <a:cubicBezTo>
                    <a:pt x="2967" y="257390"/>
                    <a:pt x="0" y="254423"/>
                    <a:pt x="0" y="251456"/>
                  </a:cubicBezTo>
                  <a:cubicBezTo>
                    <a:pt x="5934" y="135742"/>
                    <a:pt x="127582" y="8159"/>
                    <a:pt x="133516" y="2225"/>
                  </a:cubicBezTo>
                  <a:cubicBezTo>
                    <a:pt x="136484" y="-742"/>
                    <a:pt x="139450" y="-742"/>
                    <a:pt x="142417" y="2225"/>
                  </a:cubicBezTo>
                  <a:cubicBezTo>
                    <a:pt x="145384" y="5192"/>
                    <a:pt x="145384" y="8159"/>
                    <a:pt x="142417" y="11127"/>
                  </a:cubicBezTo>
                  <a:cubicBezTo>
                    <a:pt x="142417" y="11127"/>
                    <a:pt x="17802" y="141676"/>
                    <a:pt x="11868" y="254423"/>
                  </a:cubicBezTo>
                  <a:cubicBezTo>
                    <a:pt x="11868" y="254423"/>
                    <a:pt x="8901" y="257390"/>
                    <a:pt x="5934" y="257390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E9BBEF67-358C-443D-BEA4-77ED1D6BAA88}"/>
                </a:ext>
              </a:extLst>
            </p:cNvPr>
            <p:cNvSpPr/>
            <p:nvPr/>
          </p:nvSpPr>
          <p:spPr>
            <a:xfrm>
              <a:off x="16699256" y="8673800"/>
              <a:ext cx="102224" cy="76721"/>
            </a:xfrm>
            <a:custGeom>
              <a:avLst/>
              <a:gdLst>
                <a:gd name="connsiteX0" fmla="*/ 0 w 102224"/>
                <a:gd name="connsiteY0" fmla="*/ 15417 h 76721"/>
                <a:gd name="connsiteX1" fmla="*/ 17802 w 102224"/>
                <a:gd name="connsiteY1" fmla="*/ 582 h 76721"/>
                <a:gd name="connsiteX2" fmla="*/ 91978 w 102224"/>
                <a:gd name="connsiteY2" fmla="*/ 24318 h 76721"/>
                <a:gd name="connsiteX3" fmla="*/ 97912 w 102224"/>
                <a:gd name="connsiteY3" fmla="*/ 51022 h 76721"/>
                <a:gd name="connsiteX4" fmla="*/ 80110 w 102224"/>
                <a:gd name="connsiteY4" fmla="*/ 74758 h 76721"/>
                <a:gd name="connsiteX5" fmla="*/ 14835 w 102224"/>
                <a:gd name="connsiteY5" fmla="*/ 53989 h 76721"/>
                <a:gd name="connsiteX6" fmla="*/ 5934 w 102224"/>
                <a:gd name="connsiteY6" fmla="*/ 39154 h 76721"/>
                <a:gd name="connsiteX7" fmla="*/ 0 w 102224"/>
                <a:gd name="connsiteY7" fmla="*/ 15417 h 7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224" h="76721">
                  <a:moveTo>
                    <a:pt x="0" y="15417"/>
                  </a:moveTo>
                  <a:cubicBezTo>
                    <a:pt x="0" y="6516"/>
                    <a:pt x="8901" y="-2385"/>
                    <a:pt x="17802" y="582"/>
                  </a:cubicBezTo>
                  <a:cubicBezTo>
                    <a:pt x="41538" y="9483"/>
                    <a:pt x="68241" y="15417"/>
                    <a:pt x="91978" y="24318"/>
                  </a:cubicBezTo>
                  <a:cubicBezTo>
                    <a:pt x="103846" y="27285"/>
                    <a:pt x="103846" y="45088"/>
                    <a:pt x="97912" y="51022"/>
                  </a:cubicBezTo>
                  <a:cubicBezTo>
                    <a:pt x="109781" y="59923"/>
                    <a:pt x="94945" y="83659"/>
                    <a:pt x="80110" y="74758"/>
                  </a:cubicBezTo>
                  <a:cubicBezTo>
                    <a:pt x="59341" y="62890"/>
                    <a:pt x="38571" y="56955"/>
                    <a:pt x="14835" y="53989"/>
                  </a:cubicBezTo>
                  <a:cubicBezTo>
                    <a:pt x="5934" y="53989"/>
                    <a:pt x="2967" y="45088"/>
                    <a:pt x="5934" y="39154"/>
                  </a:cubicBezTo>
                  <a:cubicBezTo>
                    <a:pt x="2967" y="33220"/>
                    <a:pt x="0" y="24318"/>
                    <a:pt x="0" y="15417"/>
                  </a:cubicBezTo>
                  <a:close/>
                </a:path>
              </a:pathLst>
            </a:custGeom>
            <a:solidFill>
              <a:srgbClr val="7F95BC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99284720-F22F-4660-BDF6-C76784357D46}"/>
                </a:ext>
              </a:extLst>
            </p:cNvPr>
            <p:cNvSpPr/>
            <p:nvPr/>
          </p:nvSpPr>
          <p:spPr>
            <a:xfrm>
              <a:off x="16240799" y="8689218"/>
              <a:ext cx="232961" cy="400549"/>
            </a:xfrm>
            <a:custGeom>
              <a:avLst/>
              <a:gdLst>
                <a:gd name="connsiteX0" fmla="*/ 200324 w 232961"/>
                <a:gd name="connsiteY0" fmla="*/ 0 h 400549"/>
                <a:gd name="connsiteX1" fmla="*/ 28237 w 232961"/>
                <a:gd name="connsiteY1" fmla="*/ 189890 h 400549"/>
                <a:gd name="connsiteX2" fmla="*/ 10434 w 232961"/>
                <a:gd name="connsiteY2" fmla="*/ 379780 h 400549"/>
                <a:gd name="connsiteX3" fmla="*/ 54940 w 232961"/>
                <a:gd name="connsiteY3" fmla="*/ 379780 h 400549"/>
                <a:gd name="connsiteX4" fmla="*/ 129115 w 232961"/>
                <a:gd name="connsiteY4" fmla="*/ 400549 h 400549"/>
                <a:gd name="connsiteX5" fmla="*/ 170654 w 232961"/>
                <a:gd name="connsiteY5" fmla="*/ 373846 h 400549"/>
                <a:gd name="connsiteX6" fmla="*/ 232962 w 232961"/>
                <a:gd name="connsiteY6" fmla="*/ 35604 h 400549"/>
                <a:gd name="connsiteX7" fmla="*/ 200324 w 232961"/>
                <a:gd name="connsiteY7" fmla="*/ 0 h 400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2961" h="400549">
                  <a:moveTo>
                    <a:pt x="200324" y="0"/>
                  </a:moveTo>
                  <a:cubicBezTo>
                    <a:pt x="200324" y="0"/>
                    <a:pt x="63841" y="89011"/>
                    <a:pt x="28237" y="189890"/>
                  </a:cubicBezTo>
                  <a:cubicBezTo>
                    <a:pt x="-7368" y="293736"/>
                    <a:pt x="-4401" y="370879"/>
                    <a:pt x="10434" y="379780"/>
                  </a:cubicBezTo>
                  <a:cubicBezTo>
                    <a:pt x="25269" y="388682"/>
                    <a:pt x="37137" y="370879"/>
                    <a:pt x="54940" y="379780"/>
                  </a:cubicBezTo>
                  <a:cubicBezTo>
                    <a:pt x="72742" y="388682"/>
                    <a:pt x="117247" y="400549"/>
                    <a:pt x="129115" y="400549"/>
                  </a:cubicBezTo>
                  <a:cubicBezTo>
                    <a:pt x="143951" y="400549"/>
                    <a:pt x="176588" y="385714"/>
                    <a:pt x="170654" y="373846"/>
                  </a:cubicBezTo>
                  <a:cubicBezTo>
                    <a:pt x="164720" y="361978"/>
                    <a:pt x="209226" y="62308"/>
                    <a:pt x="232962" y="35604"/>
                  </a:cubicBezTo>
                  <a:lnTo>
                    <a:pt x="200324" y="0"/>
                  </a:ln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0BB4E58F-E516-491D-ACB5-45AF9C627E1A}"/>
                </a:ext>
              </a:extLst>
            </p:cNvPr>
            <p:cNvSpPr/>
            <p:nvPr/>
          </p:nvSpPr>
          <p:spPr>
            <a:xfrm>
              <a:off x="16286838" y="8725564"/>
              <a:ext cx="144642" cy="257389"/>
            </a:xfrm>
            <a:custGeom>
              <a:avLst/>
              <a:gdLst>
                <a:gd name="connsiteX0" fmla="*/ 5934 w 144642"/>
                <a:gd name="connsiteY0" fmla="*/ 257390 h 257389"/>
                <a:gd name="connsiteX1" fmla="*/ 5934 w 144642"/>
                <a:gd name="connsiteY1" fmla="*/ 257390 h 257389"/>
                <a:gd name="connsiteX2" fmla="*/ 0 w 144642"/>
                <a:gd name="connsiteY2" fmla="*/ 251456 h 257389"/>
                <a:gd name="connsiteX3" fmla="*/ 133516 w 144642"/>
                <a:gd name="connsiteY3" fmla="*/ 2225 h 257389"/>
                <a:gd name="connsiteX4" fmla="*/ 142417 w 144642"/>
                <a:gd name="connsiteY4" fmla="*/ 2225 h 257389"/>
                <a:gd name="connsiteX5" fmla="*/ 142417 w 144642"/>
                <a:gd name="connsiteY5" fmla="*/ 11127 h 257389"/>
                <a:gd name="connsiteX6" fmla="*/ 11868 w 144642"/>
                <a:gd name="connsiteY6" fmla="*/ 254423 h 257389"/>
                <a:gd name="connsiteX7" fmla="*/ 5934 w 144642"/>
                <a:gd name="connsiteY7" fmla="*/ 257390 h 25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642" h="257389">
                  <a:moveTo>
                    <a:pt x="5934" y="257390"/>
                  </a:moveTo>
                  <a:cubicBezTo>
                    <a:pt x="5934" y="257390"/>
                    <a:pt x="5934" y="257390"/>
                    <a:pt x="5934" y="257390"/>
                  </a:cubicBezTo>
                  <a:cubicBezTo>
                    <a:pt x="2967" y="257390"/>
                    <a:pt x="0" y="254423"/>
                    <a:pt x="0" y="251456"/>
                  </a:cubicBezTo>
                  <a:cubicBezTo>
                    <a:pt x="5934" y="135742"/>
                    <a:pt x="127582" y="8159"/>
                    <a:pt x="133516" y="2225"/>
                  </a:cubicBezTo>
                  <a:cubicBezTo>
                    <a:pt x="136484" y="-742"/>
                    <a:pt x="139450" y="-742"/>
                    <a:pt x="142417" y="2225"/>
                  </a:cubicBezTo>
                  <a:cubicBezTo>
                    <a:pt x="145384" y="5192"/>
                    <a:pt x="145384" y="8159"/>
                    <a:pt x="142417" y="11127"/>
                  </a:cubicBezTo>
                  <a:cubicBezTo>
                    <a:pt x="142417" y="11127"/>
                    <a:pt x="17802" y="141676"/>
                    <a:pt x="11868" y="254423"/>
                  </a:cubicBezTo>
                  <a:cubicBezTo>
                    <a:pt x="11868" y="254423"/>
                    <a:pt x="8901" y="257390"/>
                    <a:pt x="5934" y="257390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8CDA351D-9C47-492B-A02C-008FD113AE55}"/>
                </a:ext>
              </a:extLst>
            </p:cNvPr>
            <p:cNvSpPr/>
            <p:nvPr/>
          </p:nvSpPr>
          <p:spPr>
            <a:xfrm>
              <a:off x="16387717" y="8673800"/>
              <a:ext cx="102224" cy="76721"/>
            </a:xfrm>
            <a:custGeom>
              <a:avLst/>
              <a:gdLst>
                <a:gd name="connsiteX0" fmla="*/ 0 w 102224"/>
                <a:gd name="connsiteY0" fmla="*/ 15417 h 76721"/>
                <a:gd name="connsiteX1" fmla="*/ 17802 w 102224"/>
                <a:gd name="connsiteY1" fmla="*/ 582 h 76721"/>
                <a:gd name="connsiteX2" fmla="*/ 91978 w 102224"/>
                <a:gd name="connsiteY2" fmla="*/ 24318 h 76721"/>
                <a:gd name="connsiteX3" fmla="*/ 97912 w 102224"/>
                <a:gd name="connsiteY3" fmla="*/ 51022 h 76721"/>
                <a:gd name="connsiteX4" fmla="*/ 80110 w 102224"/>
                <a:gd name="connsiteY4" fmla="*/ 74758 h 76721"/>
                <a:gd name="connsiteX5" fmla="*/ 14835 w 102224"/>
                <a:gd name="connsiteY5" fmla="*/ 53989 h 76721"/>
                <a:gd name="connsiteX6" fmla="*/ 5934 w 102224"/>
                <a:gd name="connsiteY6" fmla="*/ 39154 h 76721"/>
                <a:gd name="connsiteX7" fmla="*/ 0 w 102224"/>
                <a:gd name="connsiteY7" fmla="*/ 15417 h 7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224" h="76721">
                  <a:moveTo>
                    <a:pt x="0" y="15417"/>
                  </a:moveTo>
                  <a:cubicBezTo>
                    <a:pt x="0" y="6516"/>
                    <a:pt x="8901" y="-2385"/>
                    <a:pt x="17802" y="582"/>
                  </a:cubicBezTo>
                  <a:cubicBezTo>
                    <a:pt x="41538" y="9483"/>
                    <a:pt x="68241" y="15417"/>
                    <a:pt x="91978" y="24318"/>
                  </a:cubicBezTo>
                  <a:cubicBezTo>
                    <a:pt x="103846" y="27285"/>
                    <a:pt x="103846" y="45088"/>
                    <a:pt x="97912" y="51022"/>
                  </a:cubicBezTo>
                  <a:cubicBezTo>
                    <a:pt x="109781" y="59923"/>
                    <a:pt x="94945" y="83659"/>
                    <a:pt x="80110" y="74758"/>
                  </a:cubicBezTo>
                  <a:cubicBezTo>
                    <a:pt x="59341" y="62890"/>
                    <a:pt x="38571" y="56955"/>
                    <a:pt x="14835" y="53989"/>
                  </a:cubicBezTo>
                  <a:cubicBezTo>
                    <a:pt x="5934" y="53989"/>
                    <a:pt x="2967" y="45088"/>
                    <a:pt x="5934" y="39154"/>
                  </a:cubicBezTo>
                  <a:cubicBezTo>
                    <a:pt x="2967" y="33220"/>
                    <a:pt x="0" y="24318"/>
                    <a:pt x="0" y="15417"/>
                  </a:cubicBezTo>
                  <a:close/>
                </a:path>
              </a:pathLst>
            </a:custGeom>
            <a:solidFill>
              <a:srgbClr val="7F95BC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20154975-39ED-430A-B30A-066587FEF147}"/>
                </a:ext>
              </a:extLst>
            </p:cNvPr>
            <p:cNvSpPr/>
            <p:nvPr/>
          </p:nvSpPr>
          <p:spPr>
            <a:xfrm>
              <a:off x="16286838" y="12310646"/>
              <a:ext cx="152637" cy="99230"/>
            </a:xfrm>
            <a:custGeom>
              <a:avLst/>
              <a:gdLst>
                <a:gd name="connsiteX0" fmla="*/ 5934 w 152637"/>
                <a:gd name="connsiteY0" fmla="*/ 99230 h 99230"/>
                <a:gd name="connsiteX1" fmla="*/ 0 w 152637"/>
                <a:gd name="connsiteY1" fmla="*/ 96263 h 99230"/>
                <a:gd name="connsiteX2" fmla="*/ 2967 w 152637"/>
                <a:gd name="connsiteY2" fmla="*/ 90330 h 99230"/>
                <a:gd name="connsiteX3" fmla="*/ 142417 w 152637"/>
                <a:gd name="connsiteY3" fmla="*/ 1319 h 99230"/>
                <a:gd name="connsiteX4" fmla="*/ 151319 w 152637"/>
                <a:gd name="connsiteY4" fmla="*/ 1319 h 99230"/>
                <a:gd name="connsiteX5" fmla="*/ 151319 w 152637"/>
                <a:gd name="connsiteY5" fmla="*/ 10219 h 99230"/>
                <a:gd name="connsiteX6" fmla="*/ 5934 w 152637"/>
                <a:gd name="connsiteY6" fmla="*/ 99230 h 99230"/>
                <a:gd name="connsiteX7" fmla="*/ 5934 w 152637"/>
                <a:gd name="connsiteY7" fmla="*/ 99230 h 9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637" h="99230">
                  <a:moveTo>
                    <a:pt x="5934" y="99230"/>
                  </a:moveTo>
                  <a:cubicBezTo>
                    <a:pt x="2967" y="99230"/>
                    <a:pt x="2967" y="99230"/>
                    <a:pt x="0" y="96263"/>
                  </a:cubicBezTo>
                  <a:cubicBezTo>
                    <a:pt x="0" y="93297"/>
                    <a:pt x="0" y="90330"/>
                    <a:pt x="2967" y="90330"/>
                  </a:cubicBezTo>
                  <a:cubicBezTo>
                    <a:pt x="38571" y="72527"/>
                    <a:pt x="142417" y="1319"/>
                    <a:pt x="142417" y="1319"/>
                  </a:cubicBezTo>
                  <a:cubicBezTo>
                    <a:pt x="145384" y="-1648"/>
                    <a:pt x="148352" y="1319"/>
                    <a:pt x="151319" y="1319"/>
                  </a:cubicBezTo>
                  <a:cubicBezTo>
                    <a:pt x="154285" y="4286"/>
                    <a:pt x="151319" y="7252"/>
                    <a:pt x="151319" y="10219"/>
                  </a:cubicBezTo>
                  <a:cubicBezTo>
                    <a:pt x="142417" y="13187"/>
                    <a:pt x="44505" y="81428"/>
                    <a:pt x="5934" y="99230"/>
                  </a:cubicBezTo>
                  <a:cubicBezTo>
                    <a:pt x="5934" y="99230"/>
                    <a:pt x="5934" y="99230"/>
                    <a:pt x="5934" y="99230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0A0D0407-CB59-4F67-ADE7-2C16B9267719}"/>
                </a:ext>
              </a:extLst>
            </p:cNvPr>
            <p:cNvSpPr/>
            <p:nvPr/>
          </p:nvSpPr>
          <p:spPr>
            <a:xfrm>
              <a:off x="16914530" y="11217130"/>
              <a:ext cx="111098" cy="38571"/>
            </a:xfrm>
            <a:custGeom>
              <a:avLst/>
              <a:gdLst>
                <a:gd name="connsiteX0" fmla="*/ 4286 w 111098"/>
                <a:gd name="connsiteY0" fmla="*/ 38571 h 38571"/>
                <a:gd name="connsiteX1" fmla="*/ 1318 w 111098"/>
                <a:gd name="connsiteY1" fmla="*/ 35604 h 38571"/>
                <a:gd name="connsiteX2" fmla="*/ 1318 w 111098"/>
                <a:gd name="connsiteY2" fmla="*/ 26703 h 38571"/>
                <a:gd name="connsiteX3" fmla="*/ 105165 w 111098"/>
                <a:gd name="connsiteY3" fmla="*/ 0 h 38571"/>
                <a:gd name="connsiteX4" fmla="*/ 111099 w 111098"/>
                <a:gd name="connsiteY4" fmla="*/ 5934 h 38571"/>
                <a:gd name="connsiteX5" fmla="*/ 105165 w 111098"/>
                <a:gd name="connsiteY5" fmla="*/ 11868 h 38571"/>
                <a:gd name="connsiteX6" fmla="*/ 7253 w 111098"/>
                <a:gd name="connsiteY6" fmla="*/ 35604 h 38571"/>
                <a:gd name="connsiteX7" fmla="*/ 4286 w 111098"/>
                <a:gd name="connsiteY7" fmla="*/ 38571 h 38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1098" h="38571">
                  <a:moveTo>
                    <a:pt x="4286" y="38571"/>
                  </a:moveTo>
                  <a:cubicBezTo>
                    <a:pt x="1318" y="38571"/>
                    <a:pt x="1318" y="38571"/>
                    <a:pt x="1318" y="35604"/>
                  </a:cubicBezTo>
                  <a:cubicBezTo>
                    <a:pt x="-1648" y="32637"/>
                    <a:pt x="1318" y="29670"/>
                    <a:pt x="1318" y="26703"/>
                  </a:cubicBezTo>
                  <a:cubicBezTo>
                    <a:pt x="30989" y="5934"/>
                    <a:pt x="102198" y="0"/>
                    <a:pt x="105165" y="0"/>
                  </a:cubicBezTo>
                  <a:cubicBezTo>
                    <a:pt x="108132" y="0"/>
                    <a:pt x="111099" y="2966"/>
                    <a:pt x="111099" y="5934"/>
                  </a:cubicBezTo>
                  <a:cubicBezTo>
                    <a:pt x="111099" y="8901"/>
                    <a:pt x="108132" y="11868"/>
                    <a:pt x="105165" y="11868"/>
                  </a:cubicBezTo>
                  <a:cubicBezTo>
                    <a:pt x="105165" y="11868"/>
                    <a:pt x="33956" y="17801"/>
                    <a:pt x="7253" y="35604"/>
                  </a:cubicBezTo>
                  <a:cubicBezTo>
                    <a:pt x="7253" y="38571"/>
                    <a:pt x="4286" y="38571"/>
                    <a:pt x="4286" y="38571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0371291F-85C8-4E4D-BC94-71AEC3E8155B}"/>
                </a:ext>
              </a:extLst>
            </p:cNvPr>
            <p:cNvGrpSpPr/>
            <p:nvPr/>
          </p:nvGrpSpPr>
          <p:grpSpPr>
            <a:xfrm>
              <a:off x="16426288" y="7760536"/>
              <a:ext cx="317534" cy="400178"/>
              <a:chOff x="16426288" y="7760536"/>
              <a:chExt cx="317534" cy="400178"/>
            </a:xfrm>
          </p:grpSpPr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84638580-6BB8-43B8-B2E3-37EF8E5CD9FB}"/>
                  </a:ext>
                </a:extLst>
              </p:cNvPr>
              <p:cNvSpPr/>
              <p:nvPr/>
            </p:nvSpPr>
            <p:spPr>
              <a:xfrm>
                <a:off x="16426288" y="7760536"/>
                <a:ext cx="317534" cy="400178"/>
              </a:xfrm>
              <a:custGeom>
                <a:avLst/>
                <a:gdLst>
                  <a:gd name="connsiteX0" fmla="*/ 0 w 317534"/>
                  <a:gd name="connsiteY0" fmla="*/ 379780 h 400178"/>
                  <a:gd name="connsiteX1" fmla="*/ 142418 w 317534"/>
                  <a:gd name="connsiteY1" fmla="*/ 0 h 400178"/>
                  <a:gd name="connsiteX2" fmla="*/ 317473 w 317534"/>
                  <a:gd name="connsiteY2" fmla="*/ 350110 h 400178"/>
                  <a:gd name="connsiteX3" fmla="*/ 0 w 317534"/>
                  <a:gd name="connsiteY3" fmla="*/ 379780 h 400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534" h="400178">
                    <a:moveTo>
                      <a:pt x="0" y="379780"/>
                    </a:moveTo>
                    <a:lnTo>
                      <a:pt x="142418" y="0"/>
                    </a:lnTo>
                    <a:lnTo>
                      <a:pt x="317473" y="350110"/>
                    </a:lnTo>
                    <a:cubicBezTo>
                      <a:pt x="320440" y="350110"/>
                      <a:pt x="216594" y="439121"/>
                      <a:pt x="0" y="37978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17A61E05-12CC-4F6A-A764-17A98CFACC48}"/>
                  </a:ext>
                </a:extLst>
              </p:cNvPr>
              <p:cNvSpPr/>
              <p:nvPr/>
            </p:nvSpPr>
            <p:spPr>
              <a:xfrm>
                <a:off x="16574493" y="7899757"/>
                <a:ext cx="28697" cy="30679"/>
              </a:xfrm>
              <a:custGeom>
                <a:avLst/>
                <a:gdLst>
                  <a:gd name="connsiteX0" fmla="*/ 17949 w 28697"/>
                  <a:gd name="connsiteY0" fmla="*/ 229 h 30679"/>
                  <a:gd name="connsiteX1" fmla="*/ 12015 w 28697"/>
                  <a:gd name="connsiteY1" fmla="*/ 29900 h 30679"/>
                  <a:gd name="connsiteX2" fmla="*/ 17949 w 28697"/>
                  <a:gd name="connsiteY2" fmla="*/ 229 h 30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697" h="30679">
                    <a:moveTo>
                      <a:pt x="17949" y="229"/>
                    </a:moveTo>
                    <a:cubicBezTo>
                      <a:pt x="147" y="-2738"/>
                      <a:pt x="-8754" y="23966"/>
                      <a:pt x="12015" y="29900"/>
                    </a:cubicBezTo>
                    <a:cubicBezTo>
                      <a:pt x="29817" y="35834"/>
                      <a:pt x="35751" y="6164"/>
                      <a:pt x="17949" y="229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E5938547-04D5-4181-A71C-F481F8DC484A}"/>
                  </a:ext>
                </a:extLst>
              </p:cNvPr>
              <p:cNvSpPr/>
              <p:nvPr/>
            </p:nvSpPr>
            <p:spPr>
              <a:xfrm>
                <a:off x="16535922" y="7965032"/>
                <a:ext cx="28698" cy="30107"/>
              </a:xfrm>
              <a:custGeom>
                <a:avLst/>
                <a:gdLst>
                  <a:gd name="connsiteX0" fmla="*/ 17949 w 28698"/>
                  <a:gd name="connsiteY0" fmla="*/ 229 h 30107"/>
                  <a:gd name="connsiteX1" fmla="*/ 12015 w 28698"/>
                  <a:gd name="connsiteY1" fmla="*/ 29900 h 30107"/>
                  <a:gd name="connsiteX2" fmla="*/ 17949 w 28698"/>
                  <a:gd name="connsiteY2" fmla="*/ 229 h 30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698" h="30107">
                    <a:moveTo>
                      <a:pt x="17949" y="229"/>
                    </a:moveTo>
                    <a:cubicBezTo>
                      <a:pt x="147" y="-2738"/>
                      <a:pt x="-8754" y="23965"/>
                      <a:pt x="12015" y="29900"/>
                    </a:cubicBezTo>
                    <a:cubicBezTo>
                      <a:pt x="29817" y="32866"/>
                      <a:pt x="35752" y="3196"/>
                      <a:pt x="17949" y="229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646C77B7-52AE-4496-8B28-4A9ABDE27A87}"/>
                  </a:ext>
                </a:extLst>
              </p:cNvPr>
              <p:cNvSpPr/>
              <p:nvPr/>
            </p:nvSpPr>
            <p:spPr>
              <a:xfrm>
                <a:off x="16626199" y="8015472"/>
                <a:ext cx="27432" cy="30107"/>
              </a:xfrm>
              <a:custGeom>
                <a:avLst/>
                <a:gdLst>
                  <a:gd name="connsiteX0" fmla="*/ 16683 w 27432"/>
                  <a:gd name="connsiteY0" fmla="*/ 229 h 30107"/>
                  <a:gd name="connsiteX1" fmla="*/ 10749 w 27432"/>
                  <a:gd name="connsiteY1" fmla="*/ 29900 h 30107"/>
                  <a:gd name="connsiteX2" fmla="*/ 16683 w 27432"/>
                  <a:gd name="connsiteY2" fmla="*/ 229 h 30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432" h="30107">
                    <a:moveTo>
                      <a:pt x="16683" y="229"/>
                    </a:moveTo>
                    <a:cubicBezTo>
                      <a:pt x="-1119" y="-2738"/>
                      <a:pt x="-7053" y="23966"/>
                      <a:pt x="10749" y="29900"/>
                    </a:cubicBezTo>
                    <a:cubicBezTo>
                      <a:pt x="28551" y="32866"/>
                      <a:pt x="34486" y="3196"/>
                      <a:pt x="16683" y="229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69429B6E-8CB3-4CA4-AD78-68401D336C24}"/>
                  </a:ext>
                </a:extLst>
              </p:cNvPr>
              <p:cNvSpPr/>
              <p:nvPr/>
            </p:nvSpPr>
            <p:spPr>
              <a:xfrm>
                <a:off x="16509218" y="8048109"/>
                <a:ext cx="28698" cy="30107"/>
              </a:xfrm>
              <a:custGeom>
                <a:avLst/>
                <a:gdLst>
                  <a:gd name="connsiteX0" fmla="*/ 17950 w 28698"/>
                  <a:gd name="connsiteY0" fmla="*/ 229 h 30107"/>
                  <a:gd name="connsiteX1" fmla="*/ 12015 w 28698"/>
                  <a:gd name="connsiteY1" fmla="*/ 29900 h 30107"/>
                  <a:gd name="connsiteX2" fmla="*/ 17950 w 28698"/>
                  <a:gd name="connsiteY2" fmla="*/ 229 h 30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698" h="30107">
                    <a:moveTo>
                      <a:pt x="17950" y="229"/>
                    </a:moveTo>
                    <a:cubicBezTo>
                      <a:pt x="147" y="-2738"/>
                      <a:pt x="-8755" y="23966"/>
                      <a:pt x="12015" y="29900"/>
                    </a:cubicBezTo>
                    <a:cubicBezTo>
                      <a:pt x="29817" y="32867"/>
                      <a:pt x="35751" y="3196"/>
                      <a:pt x="17950" y="229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05BA0DAA-63C1-46BD-86B1-64A9EECAD687}"/>
                  </a:ext>
                </a:extLst>
              </p:cNvPr>
              <p:cNvSpPr/>
              <p:nvPr/>
            </p:nvSpPr>
            <p:spPr>
              <a:xfrm>
                <a:off x="16580427" y="8098549"/>
                <a:ext cx="28698" cy="30107"/>
              </a:xfrm>
              <a:custGeom>
                <a:avLst/>
                <a:gdLst>
                  <a:gd name="connsiteX0" fmla="*/ 17949 w 28698"/>
                  <a:gd name="connsiteY0" fmla="*/ 229 h 30107"/>
                  <a:gd name="connsiteX1" fmla="*/ 12015 w 28698"/>
                  <a:gd name="connsiteY1" fmla="*/ 29900 h 30107"/>
                  <a:gd name="connsiteX2" fmla="*/ 17949 w 28698"/>
                  <a:gd name="connsiteY2" fmla="*/ 229 h 30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698" h="30107">
                    <a:moveTo>
                      <a:pt x="17949" y="229"/>
                    </a:moveTo>
                    <a:cubicBezTo>
                      <a:pt x="147" y="-2738"/>
                      <a:pt x="-8754" y="23965"/>
                      <a:pt x="12015" y="29900"/>
                    </a:cubicBezTo>
                    <a:cubicBezTo>
                      <a:pt x="29817" y="32866"/>
                      <a:pt x="35752" y="3196"/>
                      <a:pt x="17949" y="229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9962480A-4CD6-4614-B0BC-5BE4AFBC8331}"/>
                </a:ext>
              </a:extLst>
            </p:cNvPr>
            <p:cNvSpPr/>
            <p:nvPr/>
          </p:nvSpPr>
          <p:spPr>
            <a:xfrm>
              <a:off x="17410114" y="11747000"/>
              <a:ext cx="88501" cy="140679"/>
            </a:xfrm>
            <a:custGeom>
              <a:avLst/>
              <a:gdLst>
                <a:gd name="connsiteX0" fmla="*/ 7163 w 88501"/>
                <a:gd name="connsiteY0" fmla="*/ 140679 h 140679"/>
                <a:gd name="connsiteX1" fmla="*/ 1229 w 88501"/>
                <a:gd name="connsiteY1" fmla="*/ 137713 h 140679"/>
                <a:gd name="connsiteX2" fmla="*/ 4196 w 88501"/>
                <a:gd name="connsiteY2" fmla="*/ 128811 h 140679"/>
                <a:gd name="connsiteX3" fmla="*/ 78372 w 88501"/>
                <a:gd name="connsiteY3" fmla="*/ 4196 h 140679"/>
                <a:gd name="connsiteX4" fmla="*/ 84306 w 88501"/>
                <a:gd name="connsiteY4" fmla="*/ 1229 h 140679"/>
                <a:gd name="connsiteX5" fmla="*/ 87273 w 88501"/>
                <a:gd name="connsiteY5" fmla="*/ 7163 h 140679"/>
                <a:gd name="connsiteX6" fmla="*/ 7163 w 88501"/>
                <a:gd name="connsiteY6" fmla="*/ 140679 h 140679"/>
                <a:gd name="connsiteX7" fmla="*/ 7163 w 88501"/>
                <a:gd name="connsiteY7" fmla="*/ 140679 h 140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01" h="140679">
                  <a:moveTo>
                    <a:pt x="7163" y="140679"/>
                  </a:moveTo>
                  <a:cubicBezTo>
                    <a:pt x="4196" y="140679"/>
                    <a:pt x="4196" y="140679"/>
                    <a:pt x="1229" y="137713"/>
                  </a:cubicBezTo>
                  <a:cubicBezTo>
                    <a:pt x="-1738" y="134746"/>
                    <a:pt x="1229" y="131778"/>
                    <a:pt x="4196" y="128811"/>
                  </a:cubicBezTo>
                  <a:cubicBezTo>
                    <a:pt x="54635" y="99141"/>
                    <a:pt x="78372" y="4196"/>
                    <a:pt x="78372" y="4196"/>
                  </a:cubicBezTo>
                  <a:cubicBezTo>
                    <a:pt x="78372" y="1229"/>
                    <a:pt x="81339" y="-1738"/>
                    <a:pt x="84306" y="1229"/>
                  </a:cubicBezTo>
                  <a:cubicBezTo>
                    <a:pt x="87273" y="1229"/>
                    <a:pt x="90240" y="4196"/>
                    <a:pt x="87273" y="7163"/>
                  </a:cubicBezTo>
                  <a:cubicBezTo>
                    <a:pt x="87273" y="13097"/>
                    <a:pt x="63537" y="105075"/>
                    <a:pt x="7163" y="140679"/>
                  </a:cubicBezTo>
                  <a:cubicBezTo>
                    <a:pt x="7163" y="140679"/>
                    <a:pt x="7163" y="140679"/>
                    <a:pt x="7163" y="140679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ACB44FFE-C16A-457B-8534-F49784D2AB7C}"/>
                </a:ext>
              </a:extLst>
            </p:cNvPr>
            <p:cNvSpPr/>
            <p:nvPr/>
          </p:nvSpPr>
          <p:spPr>
            <a:xfrm>
              <a:off x="16277936" y="12123813"/>
              <a:ext cx="157253" cy="21998"/>
            </a:xfrm>
            <a:custGeom>
              <a:avLst/>
              <a:gdLst>
                <a:gd name="connsiteX0" fmla="*/ 86045 w 157253"/>
                <a:gd name="connsiteY0" fmla="*/ 21998 h 21998"/>
                <a:gd name="connsiteX1" fmla="*/ 2967 w 157253"/>
                <a:gd name="connsiteY1" fmla="*/ 10130 h 21998"/>
                <a:gd name="connsiteX2" fmla="*/ 0 w 157253"/>
                <a:gd name="connsiteY2" fmla="*/ 4196 h 21998"/>
                <a:gd name="connsiteX3" fmla="*/ 5934 w 157253"/>
                <a:gd name="connsiteY3" fmla="*/ 1229 h 21998"/>
                <a:gd name="connsiteX4" fmla="*/ 151319 w 157253"/>
                <a:gd name="connsiteY4" fmla="*/ 4196 h 21998"/>
                <a:gd name="connsiteX5" fmla="*/ 157253 w 157253"/>
                <a:gd name="connsiteY5" fmla="*/ 7163 h 21998"/>
                <a:gd name="connsiteX6" fmla="*/ 154286 w 157253"/>
                <a:gd name="connsiteY6" fmla="*/ 13098 h 21998"/>
                <a:gd name="connsiteX7" fmla="*/ 86045 w 157253"/>
                <a:gd name="connsiteY7" fmla="*/ 21998 h 2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53" h="21998">
                  <a:moveTo>
                    <a:pt x="86045" y="21998"/>
                  </a:moveTo>
                  <a:cubicBezTo>
                    <a:pt x="41539" y="21998"/>
                    <a:pt x="5934" y="10130"/>
                    <a:pt x="2967" y="10130"/>
                  </a:cubicBezTo>
                  <a:cubicBezTo>
                    <a:pt x="0" y="10130"/>
                    <a:pt x="0" y="7163"/>
                    <a:pt x="0" y="4196"/>
                  </a:cubicBezTo>
                  <a:cubicBezTo>
                    <a:pt x="0" y="1229"/>
                    <a:pt x="2967" y="-1738"/>
                    <a:pt x="5934" y="1229"/>
                  </a:cubicBezTo>
                  <a:cubicBezTo>
                    <a:pt x="5934" y="1229"/>
                    <a:pt x="83077" y="27933"/>
                    <a:pt x="151319" y="4196"/>
                  </a:cubicBezTo>
                  <a:cubicBezTo>
                    <a:pt x="154286" y="4196"/>
                    <a:pt x="157253" y="4196"/>
                    <a:pt x="157253" y="7163"/>
                  </a:cubicBezTo>
                  <a:cubicBezTo>
                    <a:pt x="157253" y="10130"/>
                    <a:pt x="157253" y="13098"/>
                    <a:pt x="154286" y="13098"/>
                  </a:cubicBezTo>
                  <a:cubicBezTo>
                    <a:pt x="133516" y="19031"/>
                    <a:pt x="109781" y="21998"/>
                    <a:pt x="86045" y="21998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6" name="图形 1">
              <a:extLst>
                <a:ext uri="{FF2B5EF4-FFF2-40B4-BE49-F238E27FC236}">
                  <a16:creationId xmlns:a16="http://schemas.microsoft.com/office/drawing/2014/main" id="{3E617B30-017A-4612-A3F4-6A01D1193F1E}"/>
                </a:ext>
              </a:extLst>
            </p:cNvPr>
            <p:cNvGrpSpPr/>
            <p:nvPr/>
          </p:nvGrpSpPr>
          <p:grpSpPr>
            <a:xfrm>
              <a:off x="15396728" y="9114593"/>
              <a:ext cx="925713" cy="619020"/>
              <a:chOff x="15396728" y="9114593"/>
              <a:chExt cx="925713" cy="619020"/>
            </a:xfrm>
          </p:grpSpPr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8F23209D-D449-4ACF-B041-44DB38EB718C}"/>
                  </a:ext>
                </a:extLst>
              </p:cNvPr>
              <p:cNvSpPr/>
              <p:nvPr/>
            </p:nvSpPr>
            <p:spPr>
              <a:xfrm>
                <a:off x="15565107" y="9114593"/>
                <a:ext cx="87237" cy="148745"/>
              </a:xfrm>
              <a:custGeom>
                <a:avLst/>
                <a:gdLst>
                  <a:gd name="connsiteX0" fmla="*/ 57116 w 87237"/>
                  <a:gd name="connsiteY0" fmla="*/ 4844 h 148745"/>
                  <a:gd name="connsiteX1" fmla="*/ 30412 w 87237"/>
                  <a:gd name="connsiteY1" fmla="*/ 19679 h 148745"/>
                  <a:gd name="connsiteX2" fmla="*/ 12610 w 87237"/>
                  <a:gd name="connsiteY2" fmla="*/ 55284 h 148745"/>
                  <a:gd name="connsiteX3" fmla="*/ 741 w 87237"/>
                  <a:gd name="connsiteY3" fmla="*/ 87921 h 148745"/>
                  <a:gd name="connsiteX4" fmla="*/ 18544 w 87237"/>
                  <a:gd name="connsiteY4" fmla="*/ 144295 h 148745"/>
                  <a:gd name="connsiteX5" fmla="*/ 39313 w 87237"/>
                  <a:gd name="connsiteY5" fmla="*/ 144295 h 148745"/>
                  <a:gd name="connsiteX6" fmla="*/ 45247 w 87237"/>
                  <a:gd name="connsiteY6" fmla="*/ 144295 h 148745"/>
                  <a:gd name="connsiteX7" fmla="*/ 86786 w 87237"/>
                  <a:gd name="connsiteY7" fmla="*/ 87921 h 148745"/>
                  <a:gd name="connsiteX8" fmla="*/ 57116 w 87237"/>
                  <a:gd name="connsiteY8" fmla="*/ 4844 h 148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7237" h="148745">
                    <a:moveTo>
                      <a:pt x="57116" y="4844"/>
                    </a:moveTo>
                    <a:cubicBezTo>
                      <a:pt x="48214" y="-7024"/>
                      <a:pt x="27446" y="4844"/>
                      <a:pt x="30412" y="19679"/>
                    </a:cubicBezTo>
                    <a:cubicBezTo>
                      <a:pt x="33379" y="34514"/>
                      <a:pt x="18544" y="43416"/>
                      <a:pt x="12610" y="55284"/>
                    </a:cubicBezTo>
                    <a:cubicBezTo>
                      <a:pt x="6676" y="64185"/>
                      <a:pt x="741" y="76053"/>
                      <a:pt x="741" y="87921"/>
                    </a:cubicBezTo>
                    <a:cubicBezTo>
                      <a:pt x="-2225" y="108690"/>
                      <a:pt x="3709" y="129459"/>
                      <a:pt x="18544" y="144295"/>
                    </a:cubicBezTo>
                    <a:cubicBezTo>
                      <a:pt x="24478" y="150228"/>
                      <a:pt x="33379" y="150228"/>
                      <a:pt x="39313" y="144295"/>
                    </a:cubicBezTo>
                    <a:cubicBezTo>
                      <a:pt x="42281" y="144295"/>
                      <a:pt x="42281" y="144295"/>
                      <a:pt x="45247" y="144295"/>
                    </a:cubicBezTo>
                    <a:cubicBezTo>
                      <a:pt x="77885" y="141328"/>
                      <a:pt x="83819" y="114624"/>
                      <a:pt x="86786" y="87921"/>
                    </a:cubicBezTo>
                    <a:cubicBezTo>
                      <a:pt x="89752" y="58251"/>
                      <a:pt x="77885" y="28580"/>
                      <a:pt x="57116" y="4844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15BE6198-E07B-4C63-ABC8-8CD535282BA7}"/>
                  </a:ext>
                </a:extLst>
              </p:cNvPr>
              <p:cNvSpPr/>
              <p:nvPr/>
            </p:nvSpPr>
            <p:spPr>
              <a:xfrm>
                <a:off x="15592553" y="9213641"/>
                <a:ext cx="20768" cy="104734"/>
              </a:xfrm>
              <a:custGeom>
                <a:avLst/>
                <a:gdLst>
                  <a:gd name="connsiteX0" fmla="*/ 20769 w 20768"/>
                  <a:gd name="connsiteY0" fmla="*/ 15577 h 104734"/>
                  <a:gd name="connsiteX1" fmla="*/ 0 w 20768"/>
                  <a:gd name="connsiteY1" fmla="*/ 15577 h 104734"/>
                  <a:gd name="connsiteX2" fmla="*/ 0 w 20768"/>
                  <a:gd name="connsiteY2" fmla="*/ 92719 h 104734"/>
                  <a:gd name="connsiteX3" fmla="*/ 17801 w 20768"/>
                  <a:gd name="connsiteY3" fmla="*/ 86786 h 104734"/>
                  <a:gd name="connsiteX4" fmla="*/ 20769 w 20768"/>
                  <a:gd name="connsiteY4" fmla="*/ 15577 h 10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768" h="104734">
                    <a:moveTo>
                      <a:pt x="20769" y="15577"/>
                    </a:moveTo>
                    <a:cubicBezTo>
                      <a:pt x="20769" y="-5192"/>
                      <a:pt x="2966" y="-5192"/>
                      <a:pt x="0" y="15577"/>
                    </a:cubicBezTo>
                    <a:cubicBezTo>
                      <a:pt x="0" y="42280"/>
                      <a:pt x="0" y="66016"/>
                      <a:pt x="0" y="92719"/>
                    </a:cubicBezTo>
                    <a:cubicBezTo>
                      <a:pt x="0" y="113489"/>
                      <a:pt x="20769" y="104588"/>
                      <a:pt x="17801" y="86786"/>
                    </a:cubicBezTo>
                    <a:cubicBezTo>
                      <a:pt x="20769" y="60083"/>
                      <a:pt x="20769" y="36346"/>
                      <a:pt x="20769" y="15577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9B50C69C-069F-49CE-B697-61871604F974}"/>
                  </a:ext>
                </a:extLst>
              </p:cNvPr>
              <p:cNvSpPr/>
              <p:nvPr/>
            </p:nvSpPr>
            <p:spPr>
              <a:xfrm>
                <a:off x="15571783" y="9279657"/>
                <a:ext cx="68241" cy="189890"/>
              </a:xfrm>
              <a:custGeom>
                <a:avLst/>
                <a:gdLst>
                  <a:gd name="connsiteX0" fmla="*/ 0 w 68241"/>
                  <a:gd name="connsiteY0" fmla="*/ 0 h 189890"/>
                  <a:gd name="connsiteX1" fmla="*/ 68241 w 68241"/>
                  <a:gd name="connsiteY1" fmla="*/ 0 h 189890"/>
                  <a:gd name="connsiteX2" fmla="*/ 68241 w 68241"/>
                  <a:gd name="connsiteY2" fmla="*/ 189890 h 189890"/>
                  <a:gd name="connsiteX3" fmla="*/ 0 w 68241"/>
                  <a:gd name="connsiteY3" fmla="*/ 189890 h 189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241" h="189890">
                    <a:moveTo>
                      <a:pt x="0" y="0"/>
                    </a:moveTo>
                    <a:lnTo>
                      <a:pt x="68241" y="0"/>
                    </a:lnTo>
                    <a:lnTo>
                      <a:pt x="68241" y="189890"/>
                    </a:lnTo>
                    <a:lnTo>
                      <a:pt x="0" y="189890"/>
                    </a:ln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9948D8D3-4446-4A9D-B603-C678B50CFB9D}"/>
                  </a:ext>
                </a:extLst>
              </p:cNvPr>
              <p:cNvSpPr/>
              <p:nvPr/>
            </p:nvSpPr>
            <p:spPr>
              <a:xfrm>
                <a:off x="15734228" y="9114593"/>
                <a:ext cx="86785" cy="148745"/>
              </a:xfrm>
              <a:custGeom>
                <a:avLst/>
                <a:gdLst>
                  <a:gd name="connsiteX0" fmla="*/ 57115 w 86785"/>
                  <a:gd name="connsiteY0" fmla="*/ 4844 h 148745"/>
                  <a:gd name="connsiteX1" fmla="*/ 30412 w 86785"/>
                  <a:gd name="connsiteY1" fmla="*/ 19679 h 148745"/>
                  <a:gd name="connsiteX2" fmla="*/ 12610 w 86785"/>
                  <a:gd name="connsiteY2" fmla="*/ 55284 h 148745"/>
                  <a:gd name="connsiteX3" fmla="*/ 742 w 86785"/>
                  <a:gd name="connsiteY3" fmla="*/ 87921 h 148745"/>
                  <a:gd name="connsiteX4" fmla="*/ 18544 w 86785"/>
                  <a:gd name="connsiteY4" fmla="*/ 144295 h 148745"/>
                  <a:gd name="connsiteX5" fmla="*/ 39313 w 86785"/>
                  <a:gd name="connsiteY5" fmla="*/ 144295 h 148745"/>
                  <a:gd name="connsiteX6" fmla="*/ 45247 w 86785"/>
                  <a:gd name="connsiteY6" fmla="*/ 144295 h 148745"/>
                  <a:gd name="connsiteX7" fmla="*/ 86786 w 86785"/>
                  <a:gd name="connsiteY7" fmla="*/ 87921 h 148745"/>
                  <a:gd name="connsiteX8" fmla="*/ 57115 w 86785"/>
                  <a:gd name="connsiteY8" fmla="*/ 4844 h 148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785" h="148745">
                    <a:moveTo>
                      <a:pt x="57115" y="4844"/>
                    </a:moveTo>
                    <a:cubicBezTo>
                      <a:pt x="48215" y="-7024"/>
                      <a:pt x="27445" y="4844"/>
                      <a:pt x="30412" y="19679"/>
                    </a:cubicBezTo>
                    <a:cubicBezTo>
                      <a:pt x="33379" y="34514"/>
                      <a:pt x="18544" y="43416"/>
                      <a:pt x="12610" y="55284"/>
                    </a:cubicBezTo>
                    <a:cubicBezTo>
                      <a:pt x="6676" y="64185"/>
                      <a:pt x="742" y="76053"/>
                      <a:pt x="742" y="87921"/>
                    </a:cubicBezTo>
                    <a:cubicBezTo>
                      <a:pt x="-2225" y="108690"/>
                      <a:pt x="3709" y="129459"/>
                      <a:pt x="18544" y="144295"/>
                    </a:cubicBezTo>
                    <a:cubicBezTo>
                      <a:pt x="24478" y="150228"/>
                      <a:pt x="33379" y="150228"/>
                      <a:pt x="39313" y="144295"/>
                    </a:cubicBezTo>
                    <a:cubicBezTo>
                      <a:pt x="42280" y="144295"/>
                      <a:pt x="42280" y="144295"/>
                      <a:pt x="45247" y="144295"/>
                    </a:cubicBezTo>
                    <a:cubicBezTo>
                      <a:pt x="77885" y="141328"/>
                      <a:pt x="83818" y="114624"/>
                      <a:pt x="86786" y="87921"/>
                    </a:cubicBezTo>
                    <a:cubicBezTo>
                      <a:pt x="86786" y="58251"/>
                      <a:pt x="74918" y="28580"/>
                      <a:pt x="57115" y="4844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86DD2BF0-8B53-4412-BAFF-866F3EC10380}"/>
                  </a:ext>
                </a:extLst>
              </p:cNvPr>
              <p:cNvSpPr/>
              <p:nvPr/>
            </p:nvSpPr>
            <p:spPr>
              <a:xfrm>
                <a:off x="15761673" y="9213641"/>
                <a:ext cx="20769" cy="104734"/>
              </a:xfrm>
              <a:custGeom>
                <a:avLst/>
                <a:gdLst>
                  <a:gd name="connsiteX0" fmla="*/ 20770 w 20769"/>
                  <a:gd name="connsiteY0" fmla="*/ 15577 h 104734"/>
                  <a:gd name="connsiteX1" fmla="*/ 0 w 20769"/>
                  <a:gd name="connsiteY1" fmla="*/ 15577 h 104734"/>
                  <a:gd name="connsiteX2" fmla="*/ 0 w 20769"/>
                  <a:gd name="connsiteY2" fmla="*/ 92719 h 104734"/>
                  <a:gd name="connsiteX3" fmla="*/ 17802 w 20769"/>
                  <a:gd name="connsiteY3" fmla="*/ 86786 h 104734"/>
                  <a:gd name="connsiteX4" fmla="*/ 20770 w 20769"/>
                  <a:gd name="connsiteY4" fmla="*/ 15577 h 10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769" h="104734">
                    <a:moveTo>
                      <a:pt x="20770" y="15577"/>
                    </a:moveTo>
                    <a:cubicBezTo>
                      <a:pt x="20770" y="-5192"/>
                      <a:pt x="2967" y="-5192"/>
                      <a:pt x="0" y="15577"/>
                    </a:cubicBezTo>
                    <a:cubicBezTo>
                      <a:pt x="0" y="42280"/>
                      <a:pt x="0" y="66016"/>
                      <a:pt x="0" y="92719"/>
                    </a:cubicBezTo>
                    <a:cubicBezTo>
                      <a:pt x="0" y="113489"/>
                      <a:pt x="20770" y="104588"/>
                      <a:pt x="17802" y="86786"/>
                    </a:cubicBezTo>
                    <a:cubicBezTo>
                      <a:pt x="17802" y="60083"/>
                      <a:pt x="17802" y="36346"/>
                      <a:pt x="20770" y="15577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22844617-BD98-4167-8A9B-367532A86CE1}"/>
                  </a:ext>
                </a:extLst>
              </p:cNvPr>
              <p:cNvSpPr/>
              <p:nvPr/>
            </p:nvSpPr>
            <p:spPr>
              <a:xfrm>
                <a:off x="15737937" y="9279657"/>
                <a:ext cx="68241" cy="189890"/>
              </a:xfrm>
              <a:custGeom>
                <a:avLst/>
                <a:gdLst>
                  <a:gd name="connsiteX0" fmla="*/ 0 w 68241"/>
                  <a:gd name="connsiteY0" fmla="*/ 0 h 189890"/>
                  <a:gd name="connsiteX1" fmla="*/ 68242 w 68241"/>
                  <a:gd name="connsiteY1" fmla="*/ 0 h 189890"/>
                  <a:gd name="connsiteX2" fmla="*/ 68242 w 68241"/>
                  <a:gd name="connsiteY2" fmla="*/ 189890 h 189890"/>
                  <a:gd name="connsiteX3" fmla="*/ 0 w 68241"/>
                  <a:gd name="connsiteY3" fmla="*/ 189890 h 189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241" h="189890">
                    <a:moveTo>
                      <a:pt x="0" y="0"/>
                    </a:moveTo>
                    <a:lnTo>
                      <a:pt x="68242" y="0"/>
                    </a:lnTo>
                    <a:lnTo>
                      <a:pt x="68242" y="189890"/>
                    </a:lnTo>
                    <a:lnTo>
                      <a:pt x="0" y="189890"/>
                    </a:ln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5A66456D-7A08-4CCF-9B13-92B52F0B4219}"/>
                  </a:ext>
                </a:extLst>
              </p:cNvPr>
              <p:cNvSpPr/>
              <p:nvPr/>
            </p:nvSpPr>
            <p:spPr>
              <a:xfrm>
                <a:off x="15900382" y="9114593"/>
                <a:ext cx="86785" cy="148745"/>
              </a:xfrm>
              <a:custGeom>
                <a:avLst/>
                <a:gdLst>
                  <a:gd name="connsiteX0" fmla="*/ 57115 w 86785"/>
                  <a:gd name="connsiteY0" fmla="*/ 4844 h 148745"/>
                  <a:gd name="connsiteX1" fmla="*/ 30412 w 86785"/>
                  <a:gd name="connsiteY1" fmla="*/ 19679 h 148745"/>
                  <a:gd name="connsiteX2" fmla="*/ 12610 w 86785"/>
                  <a:gd name="connsiteY2" fmla="*/ 55284 h 148745"/>
                  <a:gd name="connsiteX3" fmla="*/ 742 w 86785"/>
                  <a:gd name="connsiteY3" fmla="*/ 87921 h 148745"/>
                  <a:gd name="connsiteX4" fmla="*/ 18544 w 86785"/>
                  <a:gd name="connsiteY4" fmla="*/ 144295 h 148745"/>
                  <a:gd name="connsiteX5" fmla="*/ 39313 w 86785"/>
                  <a:gd name="connsiteY5" fmla="*/ 144295 h 148745"/>
                  <a:gd name="connsiteX6" fmla="*/ 45247 w 86785"/>
                  <a:gd name="connsiteY6" fmla="*/ 144295 h 148745"/>
                  <a:gd name="connsiteX7" fmla="*/ 86786 w 86785"/>
                  <a:gd name="connsiteY7" fmla="*/ 87921 h 148745"/>
                  <a:gd name="connsiteX8" fmla="*/ 57115 w 86785"/>
                  <a:gd name="connsiteY8" fmla="*/ 4844 h 148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785" h="148745">
                    <a:moveTo>
                      <a:pt x="57115" y="4844"/>
                    </a:moveTo>
                    <a:cubicBezTo>
                      <a:pt x="48215" y="-7024"/>
                      <a:pt x="27445" y="4844"/>
                      <a:pt x="30412" y="19679"/>
                    </a:cubicBezTo>
                    <a:cubicBezTo>
                      <a:pt x="33379" y="34514"/>
                      <a:pt x="18544" y="43416"/>
                      <a:pt x="12610" y="55284"/>
                    </a:cubicBezTo>
                    <a:cubicBezTo>
                      <a:pt x="6675" y="64185"/>
                      <a:pt x="742" y="76053"/>
                      <a:pt x="742" y="87921"/>
                    </a:cubicBezTo>
                    <a:cubicBezTo>
                      <a:pt x="-2225" y="108690"/>
                      <a:pt x="3709" y="129459"/>
                      <a:pt x="18544" y="144295"/>
                    </a:cubicBezTo>
                    <a:cubicBezTo>
                      <a:pt x="24478" y="150228"/>
                      <a:pt x="33379" y="150228"/>
                      <a:pt x="39313" y="144295"/>
                    </a:cubicBezTo>
                    <a:cubicBezTo>
                      <a:pt x="42280" y="144295"/>
                      <a:pt x="42280" y="144295"/>
                      <a:pt x="45247" y="144295"/>
                    </a:cubicBezTo>
                    <a:cubicBezTo>
                      <a:pt x="77885" y="141328"/>
                      <a:pt x="83818" y="114624"/>
                      <a:pt x="86786" y="87921"/>
                    </a:cubicBezTo>
                    <a:cubicBezTo>
                      <a:pt x="86786" y="58251"/>
                      <a:pt x="77885" y="28580"/>
                      <a:pt x="57115" y="4844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1CD926C4-2F12-42BC-BD56-F246838B17EE}"/>
                  </a:ext>
                </a:extLst>
              </p:cNvPr>
              <p:cNvSpPr/>
              <p:nvPr/>
            </p:nvSpPr>
            <p:spPr>
              <a:xfrm>
                <a:off x="15927827" y="9213641"/>
                <a:ext cx="20769" cy="104734"/>
              </a:xfrm>
              <a:custGeom>
                <a:avLst/>
                <a:gdLst>
                  <a:gd name="connsiteX0" fmla="*/ 20770 w 20769"/>
                  <a:gd name="connsiteY0" fmla="*/ 15577 h 104734"/>
                  <a:gd name="connsiteX1" fmla="*/ 0 w 20769"/>
                  <a:gd name="connsiteY1" fmla="*/ 15577 h 104734"/>
                  <a:gd name="connsiteX2" fmla="*/ 0 w 20769"/>
                  <a:gd name="connsiteY2" fmla="*/ 92719 h 104734"/>
                  <a:gd name="connsiteX3" fmla="*/ 17802 w 20769"/>
                  <a:gd name="connsiteY3" fmla="*/ 86786 h 104734"/>
                  <a:gd name="connsiteX4" fmla="*/ 20770 w 20769"/>
                  <a:gd name="connsiteY4" fmla="*/ 15577 h 10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769" h="104734">
                    <a:moveTo>
                      <a:pt x="20770" y="15577"/>
                    </a:moveTo>
                    <a:cubicBezTo>
                      <a:pt x="20770" y="-5192"/>
                      <a:pt x="2967" y="-5192"/>
                      <a:pt x="0" y="15577"/>
                    </a:cubicBezTo>
                    <a:cubicBezTo>
                      <a:pt x="0" y="42280"/>
                      <a:pt x="0" y="66016"/>
                      <a:pt x="0" y="92719"/>
                    </a:cubicBezTo>
                    <a:cubicBezTo>
                      <a:pt x="0" y="113489"/>
                      <a:pt x="20770" y="104588"/>
                      <a:pt x="17802" y="86786"/>
                    </a:cubicBezTo>
                    <a:cubicBezTo>
                      <a:pt x="20770" y="60083"/>
                      <a:pt x="20770" y="36346"/>
                      <a:pt x="20770" y="15577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369E61B6-1734-45D0-88CA-629E3965E0A4}"/>
                  </a:ext>
                </a:extLst>
              </p:cNvPr>
              <p:cNvSpPr/>
              <p:nvPr/>
            </p:nvSpPr>
            <p:spPr>
              <a:xfrm>
                <a:off x="15904091" y="9279657"/>
                <a:ext cx="68241" cy="189890"/>
              </a:xfrm>
              <a:custGeom>
                <a:avLst/>
                <a:gdLst>
                  <a:gd name="connsiteX0" fmla="*/ 0 w 68241"/>
                  <a:gd name="connsiteY0" fmla="*/ 0 h 189890"/>
                  <a:gd name="connsiteX1" fmla="*/ 68242 w 68241"/>
                  <a:gd name="connsiteY1" fmla="*/ 0 h 189890"/>
                  <a:gd name="connsiteX2" fmla="*/ 68242 w 68241"/>
                  <a:gd name="connsiteY2" fmla="*/ 189890 h 189890"/>
                  <a:gd name="connsiteX3" fmla="*/ 0 w 68241"/>
                  <a:gd name="connsiteY3" fmla="*/ 189890 h 189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241" h="189890">
                    <a:moveTo>
                      <a:pt x="0" y="0"/>
                    </a:moveTo>
                    <a:lnTo>
                      <a:pt x="68242" y="0"/>
                    </a:lnTo>
                    <a:lnTo>
                      <a:pt x="68242" y="189890"/>
                    </a:lnTo>
                    <a:lnTo>
                      <a:pt x="0" y="189890"/>
                    </a:ln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7BC9CFFB-11F9-430A-8B80-320433A609F4}"/>
                  </a:ext>
                </a:extLst>
              </p:cNvPr>
              <p:cNvSpPr/>
              <p:nvPr/>
            </p:nvSpPr>
            <p:spPr>
              <a:xfrm>
                <a:off x="16066536" y="9114593"/>
                <a:ext cx="87236" cy="148745"/>
              </a:xfrm>
              <a:custGeom>
                <a:avLst/>
                <a:gdLst>
                  <a:gd name="connsiteX0" fmla="*/ 57115 w 87236"/>
                  <a:gd name="connsiteY0" fmla="*/ 4844 h 148745"/>
                  <a:gd name="connsiteX1" fmla="*/ 30412 w 87236"/>
                  <a:gd name="connsiteY1" fmla="*/ 19679 h 148745"/>
                  <a:gd name="connsiteX2" fmla="*/ 12610 w 87236"/>
                  <a:gd name="connsiteY2" fmla="*/ 55284 h 148745"/>
                  <a:gd name="connsiteX3" fmla="*/ 742 w 87236"/>
                  <a:gd name="connsiteY3" fmla="*/ 87921 h 148745"/>
                  <a:gd name="connsiteX4" fmla="*/ 18543 w 87236"/>
                  <a:gd name="connsiteY4" fmla="*/ 144295 h 148745"/>
                  <a:gd name="connsiteX5" fmla="*/ 39313 w 87236"/>
                  <a:gd name="connsiteY5" fmla="*/ 144295 h 148745"/>
                  <a:gd name="connsiteX6" fmla="*/ 45247 w 87236"/>
                  <a:gd name="connsiteY6" fmla="*/ 144295 h 148745"/>
                  <a:gd name="connsiteX7" fmla="*/ 86786 w 87236"/>
                  <a:gd name="connsiteY7" fmla="*/ 87921 h 148745"/>
                  <a:gd name="connsiteX8" fmla="*/ 57115 w 87236"/>
                  <a:gd name="connsiteY8" fmla="*/ 4844 h 148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7236" h="148745">
                    <a:moveTo>
                      <a:pt x="57115" y="4844"/>
                    </a:moveTo>
                    <a:cubicBezTo>
                      <a:pt x="48214" y="-7024"/>
                      <a:pt x="27445" y="4844"/>
                      <a:pt x="30412" y="19679"/>
                    </a:cubicBezTo>
                    <a:cubicBezTo>
                      <a:pt x="33379" y="34514"/>
                      <a:pt x="18543" y="43416"/>
                      <a:pt x="12610" y="55284"/>
                    </a:cubicBezTo>
                    <a:cubicBezTo>
                      <a:pt x="6675" y="64185"/>
                      <a:pt x="742" y="76053"/>
                      <a:pt x="742" y="87921"/>
                    </a:cubicBezTo>
                    <a:cubicBezTo>
                      <a:pt x="-2225" y="108690"/>
                      <a:pt x="3708" y="129459"/>
                      <a:pt x="18543" y="144295"/>
                    </a:cubicBezTo>
                    <a:cubicBezTo>
                      <a:pt x="24478" y="150228"/>
                      <a:pt x="33379" y="150228"/>
                      <a:pt x="39313" y="144295"/>
                    </a:cubicBezTo>
                    <a:cubicBezTo>
                      <a:pt x="42280" y="144295"/>
                      <a:pt x="42280" y="144295"/>
                      <a:pt x="45247" y="144295"/>
                    </a:cubicBezTo>
                    <a:cubicBezTo>
                      <a:pt x="77884" y="141328"/>
                      <a:pt x="83818" y="114624"/>
                      <a:pt x="86786" y="87921"/>
                    </a:cubicBezTo>
                    <a:cubicBezTo>
                      <a:pt x="89753" y="58251"/>
                      <a:pt x="77884" y="28580"/>
                      <a:pt x="57115" y="4844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B9738AF8-952C-4966-8B06-5287C44B5210}"/>
                  </a:ext>
                </a:extLst>
              </p:cNvPr>
              <p:cNvSpPr/>
              <p:nvPr/>
            </p:nvSpPr>
            <p:spPr>
              <a:xfrm>
                <a:off x="16093981" y="9213641"/>
                <a:ext cx="20768" cy="104734"/>
              </a:xfrm>
              <a:custGeom>
                <a:avLst/>
                <a:gdLst>
                  <a:gd name="connsiteX0" fmla="*/ 20769 w 20768"/>
                  <a:gd name="connsiteY0" fmla="*/ 15577 h 104734"/>
                  <a:gd name="connsiteX1" fmla="*/ 0 w 20768"/>
                  <a:gd name="connsiteY1" fmla="*/ 15577 h 104734"/>
                  <a:gd name="connsiteX2" fmla="*/ 0 w 20768"/>
                  <a:gd name="connsiteY2" fmla="*/ 92719 h 104734"/>
                  <a:gd name="connsiteX3" fmla="*/ 17802 w 20768"/>
                  <a:gd name="connsiteY3" fmla="*/ 86786 h 104734"/>
                  <a:gd name="connsiteX4" fmla="*/ 20769 w 20768"/>
                  <a:gd name="connsiteY4" fmla="*/ 15577 h 10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768" h="104734">
                    <a:moveTo>
                      <a:pt x="20769" y="15577"/>
                    </a:moveTo>
                    <a:cubicBezTo>
                      <a:pt x="20769" y="-5192"/>
                      <a:pt x="2967" y="-5192"/>
                      <a:pt x="0" y="15577"/>
                    </a:cubicBezTo>
                    <a:cubicBezTo>
                      <a:pt x="0" y="42280"/>
                      <a:pt x="0" y="66016"/>
                      <a:pt x="0" y="92719"/>
                    </a:cubicBezTo>
                    <a:cubicBezTo>
                      <a:pt x="0" y="113489"/>
                      <a:pt x="20769" y="104588"/>
                      <a:pt x="17802" y="86786"/>
                    </a:cubicBezTo>
                    <a:cubicBezTo>
                      <a:pt x="20769" y="60083"/>
                      <a:pt x="20769" y="36346"/>
                      <a:pt x="20769" y="15577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8AA719B7-55A3-44A4-9FD3-772606D094F8}"/>
                  </a:ext>
                </a:extLst>
              </p:cNvPr>
              <p:cNvSpPr/>
              <p:nvPr/>
            </p:nvSpPr>
            <p:spPr>
              <a:xfrm>
                <a:off x="16073212" y="9279657"/>
                <a:ext cx="68241" cy="189890"/>
              </a:xfrm>
              <a:custGeom>
                <a:avLst/>
                <a:gdLst>
                  <a:gd name="connsiteX0" fmla="*/ 0 w 68241"/>
                  <a:gd name="connsiteY0" fmla="*/ 0 h 189890"/>
                  <a:gd name="connsiteX1" fmla="*/ 68241 w 68241"/>
                  <a:gd name="connsiteY1" fmla="*/ 0 h 189890"/>
                  <a:gd name="connsiteX2" fmla="*/ 68241 w 68241"/>
                  <a:gd name="connsiteY2" fmla="*/ 189890 h 189890"/>
                  <a:gd name="connsiteX3" fmla="*/ 0 w 68241"/>
                  <a:gd name="connsiteY3" fmla="*/ 189890 h 189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241" h="189890">
                    <a:moveTo>
                      <a:pt x="0" y="0"/>
                    </a:moveTo>
                    <a:lnTo>
                      <a:pt x="68241" y="0"/>
                    </a:lnTo>
                    <a:lnTo>
                      <a:pt x="68241" y="189890"/>
                    </a:lnTo>
                    <a:lnTo>
                      <a:pt x="0" y="189890"/>
                    </a:ln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0A384277-19E4-4B63-879C-229D8C1B5ED2}"/>
                  </a:ext>
                </a:extLst>
              </p:cNvPr>
              <p:cNvSpPr/>
              <p:nvPr/>
            </p:nvSpPr>
            <p:spPr>
              <a:xfrm>
                <a:off x="15479805" y="9650536"/>
                <a:ext cx="756593" cy="53406"/>
              </a:xfrm>
              <a:custGeom>
                <a:avLst/>
                <a:gdLst>
                  <a:gd name="connsiteX0" fmla="*/ 0 w 756593"/>
                  <a:gd name="connsiteY0" fmla="*/ 0 h 53406"/>
                  <a:gd name="connsiteX1" fmla="*/ 756593 w 756593"/>
                  <a:gd name="connsiteY1" fmla="*/ 0 h 53406"/>
                  <a:gd name="connsiteX2" fmla="*/ 756593 w 756593"/>
                  <a:gd name="connsiteY2" fmla="*/ 53406 h 53406"/>
                  <a:gd name="connsiteX3" fmla="*/ 0 w 756593"/>
                  <a:gd name="connsiteY3" fmla="*/ 53406 h 53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6593" h="53406">
                    <a:moveTo>
                      <a:pt x="0" y="0"/>
                    </a:moveTo>
                    <a:lnTo>
                      <a:pt x="756593" y="0"/>
                    </a:lnTo>
                    <a:lnTo>
                      <a:pt x="756593" y="53406"/>
                    </a:lnTo>
                    <a:lnTo>
                      <a:pt x="0" y="53406"/>
                    </a:lnTo>
                    <a:close/>
                  </a:path>
                </a:pathLst>
              </a:custGeom>
              <a:solidFill>
                <a:srgbClr val="7F95BC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255C70D1-45F8-43A4-9F8A-69F743EE13F9}"/>
                  </a:ext>
                </a:extLst>
              </p:cNvPr>
              <p:cNvSpPr/>
              <p:nvPr/>
            </p:nvSpPr>
            <p:spPr>
              <a:xfrm>
                <a:off x="15479805" y="9600097"/>
                <a:ext cx="756593" cy="53406"/>
              </a:xfrm>
              <a:custGeom>
                <a:avLst/>
                <a:gdLst>
                  <a:gd name="connsiteX0" fmla="*/ 0 w 756593"/>
                  <a:gd name="connsiteY0" fmla="*/ 0 h 53406"/>
                  <a:gd name="connsiteX1" fmla="*/ 756593 w 756593"/>
                  <a:gd name="connsiteY1" fmla="*/ 0 h 53406"/>
                  <a:gd name="connsiteX2" fmla="*/ 756593 w 756593"/>
                  <a:gd name="connsiteY2" fmla="*/ 53407 h 53406"/>
                  <a:gd name="connsiteX3" fmla="*/ 0 w 756593"/>
                  <a:gd name="connsiteY3" fmla="*/ 53407 h 53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6593" h="53406">
                    <a:moveTo>
                      <a:pt x="0" y="0"/>
                    </a:moveTo>
                    <a:lnTo>
                      <a:pt x="756593" y="0"/>
                    </a:lnTo>
                    <a:lnTo>
                      <a:pt x="756593" y="53407"/>
                    </a:lnTo>
                    <a:lnTo>
                      <a:pt x="0" y="53407"/>
                    </a:ln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B51A26BD-C89B-4E28-9F3A-2045F854D622}"/>
                  </a:ext>
                </a:extLst>
              </p:cNvPr>
              <p:cNvSpPr/>
              <p:nvPr/>
            </p:nvSpPr>
            <p:spPr>
              <a:xfrm>
                <a:off x="15479805" y="9546690"/>
                <a:ext cx="756593" cy="53406"/>
              </a:xfrm>
              <a:custGeom>
                <a:avLst/>
                <a:gdLst>
                  <a:gd name="connsiteX0" fmla="*/ 0 w 756593"/>
                  <a:gd name="connsiteY0" fmla="*/ 0 h 53406"/>
                  <a:gd name="connsiteX1" fmla="*/ 756593 w 756593"/>
                  <a:gd name="connsiteY1" fmla="*/ 0 h 53406"/>
                  <a:gd name="connsiteX2" fmla="*/ 756593 w 756593"/>
                  <a:gd name="connsiteY2" fmla="*/ 53406 h 53406"/>
                  <a:gd name="connsiteX3" fmla="*/ 0 w 756593"/>
                  <a:gd name="connsiteY3" fmla="*/ 53406 h 53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6593" h="53406">
                    <a:moveTo>
                      <a:pt x="0" y="0"/>
                    </a:moveTo>
                    <a:lnTo>
                      <a:pt x="756593" y="0"/>
                    </a:lnTo>
                    <a:lnTo>
                      <a:pt x="756593" y="53406"/>
                    </a:lnTo>
                    <a:lnTo>
                      <a:pt x="0" y="53406"/>
                    </a:lnTo>
                    <a:close/>
                  </a:path>
                </a:pathLst>
              </a:custGeom>
              <a:solidFill>
                <a:srgbClr val="7F95BC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E8027C7D-F998-4BAD-92E1-900897012055}"/>
                  </a:ext>
                </a:extLst>
              </p:cNvPr>
              <p:cNvSpPr/>
              <p:nvPr/>
            </p:nvSpPr>
            <p:spPr>
              <a:xfrm>
                <a:off x="15479805" y="9496251"/>
                <a:ext cx="756593" cy="53406"/>
              </a:xfrm>
              <a:custGeom>
                <a:avLst/>
                <a:gdLst>
                  <a:gd name="connsiteX0" fmla="*/ 0 w 756593"/>
                  <a:gd name="connsiteY0" fmla="*/ 0 h 53406"/>
                  <a:gd name="connsiteX1" fmla="*/ 756593 w 756593"/>
                  <a:gd name="connsiteY1" fmla="*/ 0 h 53406"/>
                  <a:gd name="connsiteX2" fmla="*/ 756593 w 756593"/>
                  <a:gd name="connsiteY2" fmla="*/ 53407 h 53406"/>
                  <a:gd name="connsiteX3" fmla="*/ 0 w 756593"/>
                  <a:gd name="connsiteY3" fmla="*/ 53407 h 53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6593" h="53406">
                    <a:moveTo>
                      <a:pt x="0" y="0"/>
                    </a:moveTo>
                    <a:lnTo>
                      <a:pt x="756593" y="0"/>
                    </a:lnTo>
                    <a:lnTo>
                      <a:pt x="756593" y="53407"/>
                    </a:lnTo>
                    <a:lnTo>
                      <a:pt x="0" y="53407"/>
                    </a:ln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9F4B8F0C-EDC2-4231-A6F2-3D51D62DDB09}"/>
                  </a:ext>
                </a:extLst>
              </p:cNvPr>
              <p:cNvSpPr/>
              <p:nvPr/>
            </p:nvSpPr>
            <p:spPr>
              <a:xfrm>
                <a:off x="15479805" y="9445811"/>
                <a:ext cx="756593" cy="53406"/>
              </a:xfrm>
              <a:custGeom>
                <a:avLst/>
                <a:gdLst>
                  <a:gd name="connsiteX0" fmla="*/ 0 w 756593"/>
                  <a:gd name="connsiteY0" fmla="*/ 0 h 53406"/>
                  <a:gd name="connsiteX1" fmla="*/ 756593 w 756593"/>
                  <a:gd name="connsiteY1" fmla="*/ 0 h 53406"/>
                  <a:gd name="connsiteX2" fmla="*/ 756593 w 756593"/>
                  <a:gd name="connsiteY2" fmla="*/ 53406 h 53406"/>
                  <a:gd name="connsiteX3" fmla="*/ 0 w 756593"/>
                  <a:gd name="connsiteY3" fmla="*/ 53406 h 53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6593" h="53406">
                    <a:moveTo>
                      <a:pt x="0" y="0"/>
                    </a:moveTo>
                    <a:lnTo>
                      <a:pt x="756593" y="0"/>
                    </a:lnTo>
                    <a:lnTo>
                      <a:pt x="756593" y="53406"/>
                    </a:lnTo>
                    <a:lnTo>
                      <a:pt x="0" y="53406"/>
                    </a:lnTo>
                    <a:close/>
                  </a:path>
                </a:pathLst>
              </a:custGeom>
              <a:solidFill>
                <a:srgbClr val="7F95BC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D08813BE-2360-4910-AC49-3849A15477D7}"/>
                  </a:ext>
                </a:extLst>
              </p:cNvPr>
              <p:cNvSpPr/>
              <p:nvPr/>
            </p:nvSpPr>
            <p:spPr>
              <a:xfrm>
                <a:off x="15479805" y="9395371"/>
                <a:ext cx="759560" cy="53407"/>
              </a:xfrm>
              <a:custGeom>
                <a:avLst/>
                <a:gdLst>
                  <a:gd name="connsiteX0" fmla="*/ 756593 w 759560"/>
                  <a:gd name="connsiteY0" fmla="*/ 53407 h 53407"/>
                  <a:gd name="connsiteX1" fmla="*/ 0 w 759560"/>
                  <a:gd name="connsiteY1" fmla="*/ 53407 h 53407"/>
                  <a:gd name="connsiteX2" fmla="*/ 0 w 759560"/>
                  <a:gd name="connsiteY2" fmla="*/ 32638 h 53407"/>
                  <a:gd name="connsiteX3" fmla="*/ 32638 w 759560"/>
                  <a:gd name="connsiteY3" fmla="*/ 0 h 53407"/>
                  <a:gd name="connsiteX4" fmla="*/ 726923 w 759560"/>
                  <a:gd name="connsiteY4" fmla="*/ 0 h 53407"/>
                  <a:gd name="connsiteX5" fmla="*/ 759561 w 759560"/>
                  <a:gd name="connsiteY5" fmla="*/ 32638 h 53407"/>
                  <a:gd name="connsiteX6" fmla="*/ 759561 w 759560"/>
                  <a:gd name="connsiteY6" fmla="*/ 53407 h 53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9560" h="53407">
                    <a:moveTo>
                      <a:pt x="756593" y="53407"/>
                    </a:moveTo>
                    <a:lnTo>
                      <a:pt x="0" y="53407"/>
                    </a:lnTo>
                    <a:lnTo>
                      <a:pt x="0" y="32638"/>
                    </a:lnTo>
                    <a:cubicBezTo>
                      <a:pt x="0" y="14835"/>
                      <a:pt x="14835" y="0"/>
                      <a:pt x="32638" y="0"/>
                    </a:cubicBezTo>
                    <a:lnTo>
                      <a:pt x="726923" y="0"/>
                    </a:lnTo>
                    <a:cubicBezTo>
                      <a:pt x="744725" y="0"/>
                      <a:pt x="759561" y="14835"/>
                      <a:pt x="759561" y="32638"/>
                    </a:cubicBezTo>
                    <a:lnTo>
                      <a:pt x="759561" y="53407"/>
                    </a:ln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0CC3DBC1-7B71-4FA7-B807-351CC293F8F1}"/>
                  </a:ext>
                </a:extLst>
              </p:cNvPr>
              <p:cNvSpPr/>
              <p:nvPr/>
            </p:nvSpPr>
            <p:spPr>
              <a:xfrm>
                <a:off x="15396728" y="9677239"/>
                <a:ext cx="925713" cy="56374"/>
              </a:xfrm>
              <a:custGeom>
                <a:avLst/>
                <a:gdLst>
                  <a:gd name="connsiteX0" fmla="*/ 887143 w 925713"/>
                  <a:gd name="connsiteY0" fmla="*/ 56374 h 56374"/>
                  <a:gd name="connsiteX1" fmla="*/ 38571 w 925713"/>
                  <a:gd name="connsiteY1" fmla="*/ 56374 h 56374"/>
                  <a:gd name="connsiteX2" fmla="*/ 0 w 925713"/>
                  <a:gd name="connsiteY2" fmla="*/ 17802 h 56374"/>
                  <a:gd name="connsiteX3" fmla="*/ 0 w 925713"/>
                  <a:gd name="connsiteY3" fmla="*/ 0 h 56374"/>
                  <a:gd name="connsiteX4" fmla="*/ 925714 w 925713"/>
                  <a:gd name="connsiteY4" fmla="*/ 0 h 56374"/>
                  <a:gd name="connsiteX5" fmla="*/ 925714 w 925713"/>
                  <a:gd name="connsiteY5" fmla="*/ 17802 h 56374"/>
                  <a:gd name="connsiteX6" fmla="*/ 887143 w 925713"/>
                  <a:gd name="connsiteY6" fmla="*/ 56374 h 56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5713" h="56374">
                    <a:moveTo>
                      <a:pt x="887143" y="56374"/>
                    </a:moveTo>
                    <a:lnTo>
                      <a:pt x="38571" y="56374"/>
                    </a:lnTo>
                    <a:cubicBezTo>
                      <a:pt x="17802" y="56374"/>
                      <a:pt x="0" y="38572"/>
                      <a:pt x="0" y="17802"/>
                    </a:cubicBezTo>
                    <a:lnTo>
                      <a:pt x="0" y="0"/>
                    </a:lnTo>
                    <a:lnTo>
                      <a:pt x="925714" y="0"/>
                    </a:lnTo>
                    <a:lnTo>
                      <a:pt x="925714" y="17802"/>
                    </a:lnTo>
                    <a:cubicBezTo>
                      <a:pt x="925714" y="38572"/>
                      <a:pt x="907912" y="56374"/>
                      <a:pt x="887143" y="56374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B11E5EED-9FCE-4307-A068-413CAE9D8666}"/>
                </a:ext>
              </a:extLst>
            </p:cNvPr>
            <p:cNvSpPr/>
            <p:nvPr/>
          </p:nvSpPr>
          <p:spPr>
            <a:xfrm>
              <a:off x="16340244" y="8977765"/>
              <a:ext cx="704368" cy="806287"/>
            </a:xfrm>
            <a:custGeom>
              <a:avLst/>
              <a:gdLst>
                <a:gd name="connsiteX0" fmla="*/ 655715 w 704368"/>
                <a:gd name="connsiteY0" fmla="*/ 61562 h 806287"/>
                <a:gd name="connsiteX1" fmla="*/ 430220 w 704368"/>
                <a:gd name="connsiteY1" fmla="*/ 162441 h 806287"/>
                <a:gd name="connsiteX2" fmla="*/ 424286 w 704368"/>
                <a:gd name="connsiteY2" fmla="*/ 577826 h 806287"/>
                <a:gd name="connsiteX3" fmla="*/ 0 w 704368"/>
                <a:gd name="connsiteY3" fmla="*/ 684639 h 806287"/>
                <a:gd name="connsiteX4" fmla="*/ 11868 w 704368"/>
                <a:gd name="connsiteY4" fmla="*/ 806287 h 806287"/>
                <a:gd name="connsiteX5" fmla="*/ 602308 w 704368"/>
                <a:gd name="connsiteY5" fmla="*/ 693540 h 806287"/>
                <a:gd name="connsiteX6" fmla="*/ 655715 w 704368"/>
                <a:gd name="connsiteY6" fmla="*/ 61562 h 80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4368" h="806287">
                  <a:moveTo>
                    <a:pt x="655715" y="61562"/>
                  </a:moveTo>
                  <a:cubicBezTo>
                    <a:pt x="537033" y="-71954"/>
                    <a:pt x="418352" y="34859"/>
                    <a:pt x="430220" y="162441"/>
                  </a:cubicBezTo>
                  <a:cubicBezTo>
                    <a:pt x="442088" y="287057"/>
                    <a:pt x="439121" y="551122"/>
                    <a:pt x="424286" y="577826"/>
                  </a:cubicBezTo>
                  <a:cubicBezTo>
                    <a:pt x="370879" y="601562"/>
                    <a:pt x="0" y="684639"/>
                    <a:pt x="0" y="684639"/>
                  </a:cubicBezTo>
                  <a:cubicBezTo>
                    <a:pt x="17802" y="711343"/>
                    <a:pt x="11868" y="806287"/>
                    <a:pt x="11868" y="806287"/>
                  </a:cubicBezTo>
                  <a:cubicBezTo>
                    <a:pt x="11868" y="806287"/>
                    <a:pt x="519231" y="791452"/>
                    <a:pt x="602308" y="693540"/>
                  </a:cubicBezTo>
                  <a:cubicBezTo>
                    <a:pt x="643847" y="640133"/>
                    <a:pt x="774396" y="195079"/>
                    <a:pt x="655715" y="61562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8" name="图形 1">
              <a:extLst>
                <a:ext uri="{FF2B5EF4-FFF2-40B4-BE49-F238E27FC236}">
                  <a16:creationId xmlns:a16="http://schemas.microsoft.com/office/drawing/2014/main" id="{3491A283-2D0F-412D-B226-AF89FB774EA8}"/>
                </a:ext>
              </a:extLst>
            </p:cNvPr>
            <p:cNvGrpSpPr/>
            <p:nvPr/>
          </p:nvGrpSpPr>
          <p:grpSpPr>
            <a:xfrm>
              <a:off x="16111783" y="9629293"/>
              <a:ext cx="286211" cy="172230"/>
              <a:chOff x="16111783" y="9629293"/>
              <a:chExt cx="286211" cy="172230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625EB1B4-02F3-4EBF-BD0A-C4522417CE9E}"/>
                  </a:ext>
                </a:extLst>
              </p:cNvPr>
              <p:cNvSpPr/>
              <p:nvPr/>
            </p:nvSpPr>
            <p:spPr>
              <a:xfrm>
                <a:off x="16114750" y="9629293"/>
                <a:ext cx="283245" cy="172230"/>
              </a:xfrm>
              <a:custGeom>
                <a:avLst/>
                <a:gdLst>
                  <a:gd name="connsiteX0" fmla="*/ 243297 w 283245"/>
                  <a:gd name="connsiteY0" fmla="*/ 33111 h 172230"/>
                  <a:gd name="connsiteX1" fmla="*/ 175056 w 283245"/>
                  <a:gd name="connsiteY1" fmla="*/ 6408 h 172230"/>
                  <a:gd name="connsiteX2" fmla="*/ 121649 w 283245"/>
                  <a:gd name="connsiteY2" fmla="*/ 475 h 172230"/>
                  <a:gd name="connsiteX3" fmla="*/ 94945 w 283245"/>
                  <a:gd name="connsiteY3" fmla="*/ 21244 h 172230"/>
                  <a:gd name="connsiteX4" fmla="*/ 139451 w 283245"/>
                  <a:gd name="connsiteY4" fmla="*/ 36079 h 172230"/>
                  <a:gd name="connsiteX5" fmla="*/ 166154 w 283245"/>
                  <a:gd name="connsiteY5" fmla="*/ 71683 h 172230"/>
                  <a:gd name="connsiteX6" fmla="*/ 23737 w 283245"/>
                  <a:gd name="connsiteY6" fmla="*/ 42013 h 172230"/>
                  <a:gd name="connsiteX7" fmla="*/ 8902 w 283245"/>
                  <a:gd name="connsiteY7" fmla="*/ 53881 h 172230"/>
                  <a:gd name="connsiteX8" fmla="*/ 11869 w 283245"/>
                  <a:gd name="connsiteY8" fmla="*/ 56848 h 172230"/>
                  <a:gd name="connsiteX9" fmla="*/ 0 w 283245"/>
                  <a:gd name="connsiteY9" fmla="*/ 65749 h 172230"/>
                  <a:gd name="connsiteX10" fmla="*/ 20770 w 283245"/>
                  <a:gd name="connsiteY10" fmla="*/ 89486 h 172230"/>
                  <a:gd name="connsiteX11" fmla="*/ 59341 w 283245"/>
                  <a:gd name="connsiteY11" fmla="*/ 110254 h 172230"/>
                  <a:gd name="connsiteX12" fmla="*/ 23737 w 283245"/>
                  <a:gd name="connsiteY12" fmla="*/ 101354 h 172230"/>
                  <a:gd name="connsiteX13" fmla="*/ 14835 w 283245"/>
                  <a:gd name="connsiteY13" fmla="*/ 113222 h 172230"/>
                  <a:gd name="connsiteX14" fmla="*/ 124616 w 283245"/>
                  <a:gd name="connsiteY14" fmla="*/ 169595 h 172230"/>
                  <a:gd name="connsiteX15" fmla="*/ 267033 w 283245"/>
                  <a:gd name="connsiteY15" fmla="*/ 142892 h 172230"/>
                  <a:gd name="connsiteX16" fmla="*/ 270000 w 283245"/>
                  <a:gd name="connsiteY16" fmla="*/ 133991 h 172230"/>
                  <a:gd name="connsiteX17" fmla="*/ 243297 w 283245"/>
                  <a:gd name="connsiteY17" fmla="*/ 33111 h 172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83245" h="172230">
                    <a:moveTo>
                      <a:pt x="243297" y="33111"/>
                    </a:moveTo>
                    <a:cubicBezTo>
                      <a:pt x="219561" y="24211"/>
                      <a:pt x="195824" y="15310"/>
                      <a:pt x="175056" y="6408"/>
                    </a:cubicBezTo>
                    <a:cubicBezTo>
                      <a:pt x="148352" y="-2492"/>
                      <a:pt x="154286" y="475"/>
                      <a:pt x="121649" y="475"/>
                    </a:cubicBezTo>
                    <a:cubicBezTo>
                      <a:pt x="115715" y="475"/>
                      <a:pt x="94945" y="15310"/>
                      <a:pt x="94945" y="21244"/>
                    </a:cubicBezTo>
                    <a:cubicBezTo>
                      <a:pt x="94945" y="27178"/>
                      <a:pt x="103846" y="39046"/>
                      <a:pt x="139451" y="36079"/>
                    </a:cubicBezTo>
                    <a:cubicBezTo>
                      <a:pt x="154286" y="44980"/>
                      <a:pt x="163187" y="65749"/>
                      <a:pt x="166154" y="71683"/>
                    </a:cubicBezTo>
                    <a:cubicBezTo>
                      <a:pt x="142418" y="101354"/>
                      <a:pt x="35605" y="24211"/>
                      <a:pt x="23737" y="42013"/>
                    </a:cubicBezTo>
                    <a:cubicBezTo>
                      <a:pt x="20770" y="44980"/>
                      <a:pt x="5934" y="47947"/>
                      <a:pt x="8902" y="53881"/>
                    </a:cubicBezTo>
                    <a:cubicBezTo>
                      <a:pt x="8902" y="53881"/>
                      <a:pt x="11869" y="56848"/>
                      <a:pt x="11869" y="56848"/>
                    </a:cubicBezTo>
                    <a:cubicBezTo>
                      <a:pt x="2967" y="56848"/>
                      <a:pt x="0" y="56848"/>
                      <a:pt x="0" y="65749"/>
                    </a:cubicBezTo>
                    <a:cubicBezTo>
                      <a:pt x="0" y="74651"/>
                      <a:pt x="11869" y="80584"/>
                      <a:pt x="20770" y="89486"/>
                    </a:cubicBezTo>
                    <a:cubicBezTo>
                      <a:pt x="29670" y="98387"/>
                      <a:pt x="47473" y="101354"/>
                      <a:pt x="59341" y="110254"/>
                    </a:cubicBezTo>
                    <a:cubicBezTo>
                      <a:pt x="53407" y="110254"/>
                      <a:pt x="29670" y="98387"/>
                      <a:pt x="23737" y="101354"/>
                    </a:cubicBezTo>
                    <a:cubicBezTo>
                      <a:pt x="20770" y="104321"/>
                      <a:pt x="14835" y="107287"/>
                      <a:pt x="14835" y="113222"/>
                    </a:cubicBezTo>
                    <a:cubicBezTo>
                      <a:pt x="14835" y="128057"/>
                      <a:pt x="94945" y="163662"/>
                      <a:pt x="124616" y="169595"/>
                    </a:cubicBezTo>
                    <a:cubicBezTo>
                      <a:pt x="169121" y="178497"/>
                      <a:pt x="228462" y="163662"/>
                      <a:pt x="267033" y="142892"/>
                    </a:cubicBezTo>
                    <a:cubicBezTo>
                      <a:pt x="270000" y="139925"/>
                      <a:pt x="272967" y="136958"/>
                      <a:pt x="270000" y="133991"/>
                    </a:cubicBezTo>
                    <a:cubicBezTo>
                      <a:pt x="290770" y="98387"/>
                      <a:pt x="290770" y="47947"/>
                      <a:pt x="243297" y="33111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2BC530E8-FD4E-47E9-89A2-1F0F34AEBF61}"/>
                  </a:ext>
                </a:extLst>
              </p:cNvPr>
              <p:cNvSpPr/>
              <p:nvPr/>
            </p:nvSpPr>
            <p:spPr>
              <a:xfrm>
                <a:off x="16111783" y="9675059"/>
                <a:ext cx="130549" cy="91191"/>
              </a:xfrm>
              <a:custGeom>
                <a:avLst/>
                <a:gdLst>
                  <a:gd name="connsiteX0" fmla="*/ 97912 w 130549"/>
                  <a:gd name="connsiteY0" fmla="*/ 91192 h 91191"/>
                  <a:gd name="connsiteX1" fmla="*/ 97912 w 130549"/>
                  <a:gd name="connsiteY1" fmla="*/ 91192 h 91191"/>
                  <a:gd name="connsiteX2" fmla="*/ 23736 w 130549"/>
                  <a:gd name="connsiteY2" fmla="*/ 49653 h 91191"/>
                  <a:gd name="connsiteX3" fmla="*/ 0 w 130549"/>
                  <a:gd name="connsiteY3" fmla="*/ 17016 h 91191"/>
                  <a:gd name="connsiteX4" fmla="*/ 8901 w 130549"/>
                  <a:gd name="connsiteY4" fmla="*/ 2181 h 91191"/>
                  <a:gd name="connsiteX5" fmla="*/ 50439 w 130549"/>
                  <a:gd name="connsiteY5" fmla="*/ 22950 h 91191"/>
                  <a:gd name="connsiteX6" fmla="*/ 124615 w 130549"/>
                  <a:gd name="connsiteY6" fmla="*/ 64489 h 91191"/>
                  <a:gd name="connsiteX7" fmla="*/ 130549 w 130549"/>
                  <a:gd name="connsiteY7" fmla="*/ 70423 h 91191"/>
                  <a:gd name="connsiteX8" fmla="*/ 124615 w 130549"/>
                  <a:gd name="connsiteY8" fmla="*/ 76357 h 91191"/>
                  <a:gd name="connsiteX9" fmla="*/ 47472 w 130549"/>
                  <a:gd name="connsiteY9" fmla="*/ 31851 h 91191"/>
                  <a:gd name="connsiteX10" fmla="*/ 20769 w 130549"/>
                  <a:gd name="connsiteY10" fmla="*/ 14050 h 91191"/>
                  <a:gd name="connsiteX11" fmla="*/ 17801 w 130549"/>
                  <a:gd name="connsiteY11" fmla="*/ 19983 h 91191"/>
                  <a:gd name="connsiteX12" fmla="*/ 38571 w 130549"/>
                  <a:gd name="connsiteY12" fmla="*/ 43720 h 91191"/>
                  <a:gd name="connsiteX13" fmla="*/ 106812 w 130549"/>
                  <a:gd name="connsiteY13" fmla="*/ 82291 h 91191"/>
                  <a:gd name="connsiteX14" fmla="*/ 109780 w 130549"/>
                  <a:gd name="connsiteY14" fmla="*/ 91192 h 91191"/>
                  <a:gd name="connsiteX15" fmla="*/ 97912 w 130549"/>
                  <a:gd name="connsiteY15" fmla="*/ 91192 h 9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0549" h="91191">
                    <a:moveTo>
                      <a:pt x="97912" y="91192"/>
                    </a:moveTo>
                    <a:cubicBezTo>
                      <a:pt x="97912" y="91192"/>
                      <a:pt x="97912" y="91192"/>
                      <a:pt x="97912" y="91192"/>
                    </a:cubicBezTo>
                    <a:cubicBezTo>
                      <a:pt x="91977" y="88225"/>
                      <a:pt x="44505" y="64489"/>
                      <a:pt x="23736" y="49653"/>
                    </a:cubicBezTo>
                    <a:cubicBezTo>
                      <a:pt x="8901" y="37785"/>
                      <a:pt x="0" y="28885"/>
                      <a:pt x="0" y="17016"/>
                    </a:cubicBezTo>
                    <a:cubicBezTo>
                      <a:pt x="0" y="11082"/>
                      <a:pt x="2966" y="5148"/>
                      <a:pt x="8901" y="2181"/>
                    </a:cubicBezTo>
                    <a:cubicBezTo>
                      <a:pt x="14835" y="-3753"/>
                      <a:pt x="23736" y="2181"/>
                      <a:pt x="50439" y="22950"/>
                    </a:cubicBezTo>
                    <a:cubicBezTo>
                      <a:pt x="74176" y="40753"/>
                      <a:pt x="103846" y="61521"/>
                      <a:pt x="124615" y="64489"/>
                    </a:cubicBezTo>
                    <a:cubicBezTo>
                      <a:pt x="127582" y="64489"/>
                      <a:pt x="130549" y="67456"/>
                      <a:pt x="130549" y="70423"/>
                    </a:cubicBezTo>
                    <a:cubicBezTo>
                      <a:pt x="130549" y="73390"/>
                      <a:pt x="127582" y="76357"/>
                      <a:pt x="124615" y="76357"/>
                    </a:cubicBezTo>
                    <a:cubicBezTo>
                      <a:pt x="100879" y="73390"/>
                      <a:pt x="71209" y="49653"/>
                      <a:pt x="47472" y="31851"/>
                    </a:cubicBezTo>
                    <a:cubicBezTo>
                      <a:pt x="38571" y="22950"/>
                      <a:pt x="26703" y="14050"/>
                      <a:pt x="20769" y="14050"/>
                    </a:cubicBezTo>
                    <a:cubicBezTo>
                      <a:pt x="17801" y="17016"/>
                      <a:pt x="17801" y="19983"/>
                      <a:pt x="17801" y="19983"/>
                    </a:cubicBezTo>
                    <a:cubicBezTo>
                      <a:pt x="17801" y="25918"/>
                      <a:pt x="32637" y="37785"/>
                      <a:pt x="38571" y="43720"/>
                    </a:cubicBezTo>
                    <a:cubicBezTo>
                      <a:pt x="56373" y="58555"/>
                      <a:pt x="106812" y="82291"/>
                      <a:pt x="106812" y="82291"/>
                    </a:cubicBezTo>
                    <a:cubicBezTo>
                      <a:pt x="109780" y="82291"/>
                      <a:pt x="109780" y="88225"/>
                      <a:pt x="109780" y="91192"/>
                    </a:cubicBezTo>
                    <a:cubicBezTo>
                      <a:pt x="103846" y="91192"/>
                      <a:pt x="100879" y="91192"/>
                      <a:pt x="97912" y="9119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3EAB6563-D2B7-4B17-AA59-5CB97F542516}"/>
                  </a:ext>
                </a:extLst>
              </p:cNvPr>
              <p:cNvSpPr/>
              <p:nvPr/>
            </p:nvSpPr>
            <p:spPr>
              <a:xfrm>
                <a:off x="16131810" y="9664789"/>
                <a:ext cx="160961" cy="48054"/>
              </a:xfrm>
              <a:custGeom>
                <a:avLst/>
                <a:gdLst>
                  <a:gd name="connsiteX0" fmla="*/ 122390 w 160961"/>
                  <a:gd name="connsiteY0" fmla="*/ 48055 h 48054"/>
                  <a:gd name="connsiteX1" fmla="*/ 119423 w 160961"/>
                  <a:gd name="connsiteY1" fmla="*/ 48055 h 48054"/>
                  <a:gd name="connsiteX2" fmla="*/ 54149 w 160961"/>
                  <a:gd name="connsiteY2" fmla="*/ 21352 h 48054"/>
                  <a:gd name="connsiteX3" fmla="*/ 21511 w 160961"/>
                  <a:gd name="connsiteY3" fmla="*/ 9484 h 48054"/>
                  <a:gd name="connsiteX4" fmla="*/ 9643 w 160961"/>
                  <a:gd name="connsiteY4" fmla="*/ 15417 h 48054"/>
                  <a:gd name="connsiteX5" fmla="*/ 9643 w 160961"/>
                  <a:gd name="connsiteY5" fmla="*/ 21352 h 48054"/>
                  <a:gd name="connsiteX6" fmla="*/ 6676 w 160961"/>
                  <a:gd name="connsiteY6" fmla="*/ 27285 h 48054"/>
                  <a:gd name="connsiteX7" fmla="*/ 742 w 160961"/>
                  <a:gd name="connsiteY7" fmla="*/ 24319 h 48054"/>
                  <a:gd name="connsiteX8" fmla="*/ 3709 w 160961"/>
                  <a:gd name="connsiteY8" fmla="*/ 9484 h 48054"/>
                  <a:gd name="connsiteX9" fmla="*/ 24479 w 160961"/>
                  <a:gd name="connsiteY9" fmla="*/ 582 h 48054"/>
                  <a:gd name="connsiteX10" fmla="*/ 63050 w 160961"/>
                  <a:gd name="connsiteY10" fmla="*/ 15417 h 48054"/>
                  <a:gd name="connsiteX11" fmla="*/ 122390 w 160961"/>
                  <a:gd name="connsiteY11" fmla="*/ 39154 h 48054"/>
                  <a:gd name="connsiteX12" fmla="*/ 152061 w 160961"/>
                  <a:gd name="connsiteY12" fmla="*/ 33220 h 48054"/>
                  <a:gd name="connsiteX13" fmla="*/ 160961 w 160961"/>
                  <a:gd name="connsiteY13" fmla="*/ 36187 h 48054"/>
                  <a:gd name="connsiteX14" fmla="*/ 157995 w 160961"/>
                  <a:gd name="connsiteY14" fmla="*/ 45088 h 48054"/>
                  <a:gd name="connsiteX15" fmla="*/ 122390 w 160961"/>
                  <a:gd name="connsiteY15" fmla="*/ 48055 h 48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0961" h="48054">
                    <a:moveTo>
                      <a:pt x="122390" y="48055"/>
                    </a:moveTo>
                    <a:cubicBezTo>
                      <a:pt x="122390" y="48055"/>
                      <a:pt x="119423" y="48055"/>
                      <a:pt x="119423" y="48055"/>
                    </a:cubicBezTo>
                    <a:cubicBezTo>
                      <a:pt x="92720" y="45088"/>
                      <a:pt x="71950" y="33220"/>
                      <a:pt x="54149" y="21352"/>
                    </a:cubicBezTo>
                    <a:cubicBezTo>
                      <a:pt x="42280" y="12450"/>
                      <a:pt x="30412" y="6516"/>
                      <a:pt x="21511" y="9484"/>
                    </a:cubicBezTo>
                    <a:cubicBezTo>
                      <a:pt x="15577" y="9484"/>
                      <a:pt x="12610" y="12450"/>
                      <a:pt x="9643" y="15417"/>
                    </a:cubicBezTo>
                    <a:cubicBezTo>
                      <a:pt x="6676" y="18384"/>
                      <a:pt x="9643" y="21352"/>
                      <a:pt x="9643" y="21352"/>
                    </a:cubicBezTo>
                    <a:cubicBezTo>
                      <a:pt x="9643" y="24319"/>
                      <a:pt x="9643" y="27285"/>
                      <a:pt x="6676" y="27285"/>
                    </a:cubicBezTo>
                    <a:cubicBezTo>
                      <a:pt x="3709" y="27285"/>
                      <a:pt x="742" y="27285"/>
                      <a:pt x="742" y="24319"/>
                    </a:cubicBezTo>
                    <a:cubicBezTo>
                      <a:pt x="742" y="24319"/>
                      <a:pt x="-2225" y="15417"/>
                      <a:pt x="3709" y="9484"/>
                    </a:cubicBezTo>
                    <a:cubicBezTo>
                      <a:pt x="6676" y="3549"/>
                      <a:pt x="12610" y="582"/>
                      <a:pt x="24479" y="582"/>
                    </a:cubicBezTo>
                    <a:cubicBezTo>
                      <a:pt x="36347" y="-2385"/>
                      <a:pt x="48215" y="6516"/>
                      <a:pt x="63050" y="15417"/>
                    </a:cubicBezTo>
                    <a:cubicBezTo>
                      <a:pt x="80852" y="24319"/>
                      <a:pt x="98654" y="36187"/>
                      <a:pt x="122390" y="39154"/>
                    </a:cubicBezTo>
                    <a:cubicBezTo>
                      <a:pt x="131291" y="39154"/>
                      <a:pt x="146126" y="36187"/>
                      <a:pt x="152061" y="33220"/>
                    </a:cubicBezTo>
                    <a:cubicBezTo>
                      <a:pt x="155028" y="33220"/>
                      <a:pt x="157995" y="33220"/>
                      <a:pt x="160961" y="36187"/>
                    </a:cubicBezTo>
                    <a:cubicBezTo>
                      <a:pt x="160961" y="39154"/>
                      <a:pt x="160961" y="42120"/>
                      <a:pt x="157995" y="45088"/>
                    </a:cubicBezTo>
                    <a:cubicBezTo>
                      <a:pt x="152061" y="39154"/>
                      <a:pt x="134258" y="48055"/>
                      <a:pt x="122390" y="48055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C7CFCFBA-4E33-496B-83F0-DA698512A9EC}"/>
                </a:ext>
              </a:extLst>
            </p:cNvPr>
            <p:cNvSpPr/>
            <p:nvPr/>
          </p:nvSpPr>
          <p:spPr>
            <a:xfrm>
              <a:off x="16208466" y="9620866"/>
              <a:ext cx="155515" cy="86043"/>
            </a:xfrm>
            <a:custGeom>
              <a:avLst/>
              <a:gdLst>
                <a:gd name="connsiteX0" fmla="*/ 75405 w 155515"/>
                <a:gd name="connsiteY0" fmla="*/ 86044 h 86043"/>
                <a:gd name="connsiteX1" fmla="*/ 72438 w 155515"/>
                <a:gd name="connsiteY1" fmla="*/ 83077 h 86043"/>
                <a:gd name="connsiteX2" fmla="*/ 63537 w 155515"/>
                <a:gd name="connsiteY2" fmla="*/ 68242 h 86043"/>
                <a:gd name="connsiteX3" fmla="*/ 48702 w 155515"/>
                <a:gd name="connsiteY3" fmla="*/ 50440 h 86043"/>
                <a:gd name="connsiteX4" fmla="*/ 30899 w 155515"/>
                <a:gd name="connsiteY4" fmla="*/ 47473 h 86043"/>
                <a:gd name="connsiteX5" fmla="*/ 1229 w 155515"/>
                <a:gd name="connsiteY5" fmla="*/ 35605 h 86043"/>
                <a:gd name="connsiteX6" fmla="*/ 4196 w 155515"/>
                <a:gd name="connsiteY6" fmla="*/ 17802 h 86043"/>
                <a:gd name="connsiteX7" fmla="*/ 60570 w 155515"/>
                <a:gd name="connsiteY7" fmla="*/ 0 h 86043"/>
                <a:gd name="connsiteX8" fmla="*/ 60570 w 155515"/>
                <a:gd name="connsiteY8" fmla="*/ 0 h 86043"/>
                <a:gd name="connsiteX9" fmla="*/ 152548 w 155515"/>
                <a:gd name="connsiteY9" fmla="*/ 35605 h 86043"/>
                <a:gd name="connsiteX10" fmla="*/ 155515 w 155515"/>
                <a:gd name="connsiteY10" fmla="*/ 44505 h 86043"/>
                <a:gd name="connsiteX11" fmla="*/ 146614 w 155515"/>
                <a:gd name="connsiteY11" fmla="*/ 47473 h 86043"/>
                <a:gd name="connsiteX12" fmla="*/ 60570 w 155515"/>
                <a:gd name="connsiteY12" fmla="*/ 11868 h 86043"/>
                <a:gd name="connsiteX13" fmla="*/ 60570 w 155515"/>
                <a:gd name="connsiteY13" fmla="*/ 11868 h 86043"/>
                <a:gd name="connsiteX14" fmla="*/ 16064 w 155515"/>
                <a:gd name="connsiteY14" fmla="*/ 26703 h 86043"/>
                <a:gd name="connsiteX15" fmla="*/ 16064 w 155515"/>
                <a:gd name="connsiteY15" fmla="*/ 32638 h 86043"/>
                <a:gd name="connsiteX16" fmla="*/ 36834 w 155515"/>
                <a:gd name="connsiteY16" fmla="*/ 35605 h 86043"/>
                <a:gd name="connsiteX17" fmla="*/ 57603 w 155515"/>
                <a:gd name="connsiteY17" fmla="*/ 38572 h 86043"/>
                <a:gd name="connsiteX18" fmla="*/ 81339 w 155515"/>
                <a:gd name="connsiteY18" fmla="*/ 62308 h 86043"/>
                <a:gd name="connsiteX19" fmla="*/ 90240 w 155515"/>
                <a:gd name="connsiteY19" fmla="*/ 74176 h 86043"/>
                <a:gd name="connsiteX20" fmla="*/ 90240 w 155515"/>
                <a:gd name="connsiteY20" fmla="*/ 83077 h 86043"/>
                <a:gd name="connsiteX21" fmla="*/ 75405 w 155515"/>
                <a:gd name="connsiteY21" fmla="*/ 86044 h 86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5515" h="86043">
                  <a:moveTo>
                    <a:pt x="75405" y="86044"/>
                  </a:moveTo>
                  <a:cubicBezTo>
                    <a:pt x="72438" y="86044"/>
                    <a:pt x="72438" y="86044"/>
                    <a:pt x="72438" y="83077"/>
                  </a:cubicBezTo>
                  <a:cubicBezTo>
                    <a:pt x="69470" y="80110"/>
                    <a:pt x="66504" y="74176"/>
                    <a:pt x="63537" y="68242"/>
                  </a:cubicBezTo>
                  <a:cubicBezTo>
                    <a:pt x="57603" y="59341"/>
                    <a:pt x="54635" y="50440"/>
                    <a:pt x="48702" y="50440"/>
                  </a:cubicBezTo>
                  <a:cubicBezTo>
                    <a:pt x="45735" y="50440"/>
                    <a:pt x="39800" y="47473"/>
                    <a:pt x="30899" y="47473"/>
                  </a:cubicBezTo>
                  <a:cubicBezTo>
                    <a:pt x="16064" y="47473"/>
                    <a:pt x="4196" y="47473"/>
                    <a:pt x="1229" y="35605"/>
                  </a:cubicBezTo>
                  <a:cubicBezTo>
                    <a:pt x="-1738" y="29670"/>
                    <a:pt x="1229" y="23737"/>
                    <a:pt x="4196" y="17802"/>
                  </a:cubicBezTo>
                  <a:cubicBezTo>
                    <a:pt x="13097" y="2967"/>
                    <a:pt x="42767" y="0"/>
                    <a:pt x="60570" y="0"/>
                  </a:cubicBezTo>
                  <a:cubicBezTo>
                    <a:pt x="60570" y="0"/>
                    <a:pt x="60570" y="0"/>
                    <a:pt x="60570" y="0"/>
                  </a:cubicBezTo>
                  <a:cubicBezTo>
                    <a:pt x="81339" y="0"/>
                    <a:pt x="143646" y="32638"/>
                    <a:pt x="152548" y="35605"/>
                  </a:cubicBezTo>
                  <a:cubicBezTo>
                    <a:pt x="155515" y="35605"/>
                    <a:pt x="155515" y="41538"/>
                    <a:pt x="155515" y="44505"/>
                  </a:cubicBezTo>
                  <a:cubicBezTo>
                    <a:pt x="155515" y="47473"/>
                    <a:pt x="149581" y="47473"/>
                    <a:pt x="146614" y="47473"/>
                  </a:cubicBezTo>
                  <a:cubicBezTo>
                    <a:pt x="128811" y="38572"/>
                    <a:pt x="75405" y="11868"/>
                    <a:pt x="60570" y="11868"/>
                  </a:cubicBezTo>
                  <a:cubicBezTo>
                    <a:pt x="60570" y="11868"/>
                    <a:pt x="60570" y="11868"/>
                    <a:pt x="60570" y="11868"/>
                  </a:cubicBezTo>
                  <a:cubicBezTo>
                    <a:pt x="42767" y="11868"/>
                    <a:pt x="21999" y="17802"/>
                    <a:pt x="16064" y="26703"/>
                  </a:cubicBezTo>
                  <a:cubicBezTo>
                    <a:pt x="16064" y="29670"/>
                    <a:pt x="13097" y="29670"/>
                    <a:pt x="16064" y="32638"/>
                  </a:cubicBezTo>
                  <a:cubicBezTo>
                    <a:pt x="16064" y="35605"/>
                    <a:pt x="30899" y="35605"/>
                    <a:pt x="36834" y="35605"/>
                  </a:cubicBezTo>
                  <a:cubicBezTo>
                    <a:pt x="42767" y="35605"/>
                    <a:pt x="51669" y="35605"/>
                    <a:pt x="57603" y="38572"/>
                  </a:cubicBezTo>
                  <a:cubicBezTo>
                    <a:pt x="69470" y="41538"/>
                    <a:pt x="75405" y="53407"/>
                    <a:pt x="81339" y="62308"/>
                  </a:cubicBezTo>
                  <a:cubicBezTo>
                    <a:pt x="84306" y="68242"/>
                    <a:pt x="87273" y="71209"/>
                    <a:pt x="90240" y="74176"/>
                  </a:cubicBezTo>
                  <a:cubicBezTo>
                    <a:pt x="93207" y="77143"/>
                    <a:pt x="93207" y="80110"/>
                    <a:pt x="90240" y="83077"/>
                  </a:cubicBezTo>
                  <a:cubicBezTo>
                    <a:pt x="75405" y="83077"/>
                    <a:pt x="75405" y="86044"/>
                    <a:pt x="75405" y="86044"/>
                  </a:cubicBezTo>
                  <a:close/>
                </a:path>
              </a:pathLst>
            </a:custGeom>
            <a:solidFill>
              <a:srgbClr val="E58777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F530A2E8-A5B7-4D52-8867-41F86EF69BE3}"/>
                </a:ext>
              </a:extLst>
            </p:cNvPr>
            <p:cNvSpPr/>
            <p:nvPr/>
          </p:nvSpPr>
          <p:spPr>
            <a:xfrm>
              <a:off x="16747083" y="8833163"/>
              <a:ext cx="364654" cy="420060"/>
            </a:xfrm>
            <a:custGeom>
              <a:avLst/>
              <a:gdLst>
                <a:gd name="connsiteX0" fmla="*/ 364590 w 364654"/>
                <a:gd name="connsiteY0" fmla="*/ 401988 h 420060"/>
                <a:gd name="connsiteX1" fmla="*/ 189536 w 364654"/>
                <a:gd name="connsiteY1" fmla="*/ 1439 h 420060"/>
                <a:gd name="connsiteX2" fmla="*/ 2613 w 364654"/>
                <a:gd name="connsiteY2" fmla="*/ 390120 h 420060"/>
                <a:gd name="connsiteX3" fmla="*/ 364590 w 364654"/>
                <a:gd name="connsiteY3" fmla="*/ 401988 h 420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654" h="420060">
                  <a:moveTo>
                    <a:pt x="364590" y="401988"/>
                  </a:moveTo>
                  <a:cubicBezTo>
                    <a:pt x="367558" y="223966"/>
                    <a:pt x="266679" y="19241"/>
                    <a:pt x="189536" y="1439"/>
                  </a:cubicBezTo>
                  <a:cubicBezTo>
                    <a:pt x="88657" y="-19330"/>
                    <a:pt x="-18157" y="188362"/>
                    <a:pt x="2613" y="390120"/>
                  </a:cubicBezTo>
                  <a:cubicBezTo>
                    <a:pt x="67887" y="422758"/>
                    <a:pt x="269646" y="431659"/>
                    <a:pt x="364590" y="401988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C4AFF360-F71D-4E49-8F72-1665B5DBA785}"/>
                </a:ext>
              </a:extLst>
            </p:cNvPr>
            <p:cNvSpPr/>
            <p:nvPr/>
          </p:nvSpPr>
          <p:spPr>
            <a:xfrm>
              <a:off x="16741907" y="8825701"/>
              <a:ext cx="185810" cy="430219"/>
            </a:xfrm>
            <a:custGeom>
              <a:avLst/>
              <a:gdLst>
                <a:gd name="connsiteX0" fmla="*/ 150205 w 185810"/>
                <a:gd name="connsiteY0" fmla="*/ 430220 h 430219"/>
                <a:gd name="connsiteX1" fmla="*/ 150205 w 185810"/>
                <a:gd name="connsiteY1" fmla="*/ 430220 h 430219"/>
                <a:gd name="connsiteX2" fmla="*/ 4821 w 185810"/>
                <a:gd name="connsiteY2" fmla="*/ 400549 h 430219"/>
                <a:gd name="connsiteX3" fmla="*/ 1854 w 185810"/>
                <a:gd name="connsiteY3" fmla="*/ 397582 h 430219"/>
                <a:gd name="connsiteX4" fmla="*/ 55260 w 185810"/>
                <a:gd name="connsiteY4" fmla="*/ 106813 h 430219"/>
                <a:gd name="connsiteX5" fmla="*/ 61194 w 185810"/>
                <a:gd name="connsiteY5" fmla="*/ 97912 h 430219"/>
                <a:gd name="connsiteX6" fmla="*/ 179876 w 185810"/>
                <a:gd name="connsiteY6" fmla="*/ 0 h 430219"/>
                <a:gd name="connsiteX7" fmla="*/ 185810 w 185810"/>
                <a:gd name="connsiteY7" fmla="*/ 5934 h 430219"/>
                <a:gd name="connsiteX8" fmla="*/ 179876 w 185810"/>
                <a:gd name="connsiteY8" fmla="*/ 11868 h 430219"/>
                <a:gd name="connsiteX9" fmla="*/ 70095 w 185810"/>
                <a:gd name="connsiteY9" fmla="*/ 106813 h 430219"/>
                <a:gd name="connsiteX10" fmla="*/ 64162 w 185810"/>
                <a:gd name="connsiteY10" fmla="*/ 115714 h 430219"/>
                <a:gd name="connsiteX11" fmla="*/ 10755 w 185810"/>
                <a:gd name="connsiteY11" fmla="*/ 394615 h 430219"/>
                <a:gd name="connsiteX12" fmla="*/ 150205 w 185810"/>
                <a:gd name="connsiteY12" fmla="*/ 421319 h 430219"/>
                <a:gd name="connsiteX13" fmla="*/ 156140 w 185810"/>
                <a:gd name="connsiteY13" fmla="*/ 427253 h 430219"/>
                <a:gd name="connsiteX14" fmla="*/ 150205 w 185810"/>
                <a:gd name="connsiteY14" fmla="*/ 430220 h 430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5810" h="430219">
                  <a:moveTo>
                    <a:pt x="150205" y="430220"/>
                  </a:moveTo>
                  <a:lnTo>
                    <a:pt x="150205" y="430220"/>
                  </a:lnTo>
                  <a:cubicBezTo>
                    <a:pt x="73062" y="430220"/>
                    <a:pt x="28557" y="412417"/>
                    <a:pt x="4821" y="400549"/>
                  </a:cubicBezTo>
                  <a:cubicBezTo>
                    <a:pt x="4821" y="400549"/>
                    <a:pt x="1854" y="397582"/>
                    <a:pt x="1854" y="397582"/>
                  </a:cubicBezTo>
                  <a:cubicBezTo>
                    <a:pt x="-4081" y="364945"/>
                    <a:pt x="1854" y="198791"/>
                    <a:pt x="55260" y="106813"/>
                  </a:cubicBezTo>
                  <a:cubicBezTo>
                    <a:pt x="55260" y="103846"/>
                    <a:pt x="58227" y="100879"/>
                    <a:pt x="61194" y="97912"/>
                  </a:cubicBezTo>
                  <a:cubicBezTo>
                    <a:pt x="78997" y="68241"/>
                    <a:pt x="114601" y="5934"/>
                    <a:pt x="179876" y="0"/>
                  </a:cubicBezTo>
                  <a:cubicBezTo>
                    <a:pt x="182843" y="0"/>
                    <a:pt x="185810" y="2967"/>
                    <a:pt x="185810" y="5934"/>
                  </a:cubicBezTo>
                  <a:cubicBezTo>
                    <a:pt x="185810" y="8901"/>
                    <a:pt x="182843" y="11868"/>
                    <a:pt x="179876" y="11868"/>
                  </a:cubicBezTo>
                  <a:cubicBezTo>
                    <a:pt x="120535" y="17802"/>
                    <a:pt x="87898" y="77143"/>
                    <a:pt x="70095" y="106813"/>
                  </a:cubicBezTo>
                  <a:cubicBezTo>
                    <a:pt x="67129" y="109780"/>
                    <a:pt x="67129" y="112747"/>
                    <a:pt x="64162" y="115714"/>
                  </a:cubicBezTo>
                  <a:cubicBezTo>
                    <a:pt x="13722" y="198791"/>
                    <a:pt x="4821" y="359011"/>
                    <a:pt x="10755" y="394615"/>
                  </a:cubicBezTo>
                  <a:cubicBezTo>
                    <a:pt x="34491" y="406483"/>
                    <a:pt x="78997" y="421319"/>
                    <a:pt x="150205" y="421319"/>
                  </a:cubicBezTo>
                  <a:cubicBezTo>
                    <a:pt x="153173" y="421319"/>
                    <a:pt x="156140" y="424285"/>
                    <a:pt x="156140" y="427253"/>
                  </a:cubicBezTo>
                  <a:cubicBezTo>
                    <a:pt x="156140" y="427253"/>
                    <a:pt x="153173" y="430220"/>
                    <a:pt x="150205" y="430220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86" name="图形 1">
            <a:extLst>
              <a:ext uri="{FF2B5EF4-FFF2-40B4-BE49-F238E27FC236}">
                <a16:creationId xmlns:a16="http://schemas.microsoft.com/office/drawing/2014/main" id="{2B07E265-303B-4459-9184-1D5E7AA0B4D6}"/>
              </a:ext>
            </a:extLst>
          </p:cNvPr>
          <p:cNvGrpSpPr/>
          <p:nvPr/>
        </p:nvGrpSpPr>
        <p:grpSpPr>
          <a:xfrm>
            <a:off x="2933323" y="1865183"/>
            <a:ext cx="2919132" cy="4991587"/>
            <a:chOff x="11620123" y="7450926"/>
            <a:chExt cx="2919132" cy="4991587"/>
          </a:xfrm>
        </p:grpSpPr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6FEF858D-1B68-4501-A129-D750B7CF4476}"/>
                </a:ext>
              </a:extLst>
            </p:cNvPr>
            <p:cNvSpPr/>
            <p:nvPr/>
          </p:nvSpPr>
          <p:spPr>
            <a:xfrm>
              <a:off x="11655299" y="7745701"/>
              <a:ext cx="169121" cy="180989"/>
            </a:xfrm>
            <a:custGeom>
              <a:avLst/>
              <a:gdLst>
                <a:gd name="connsiteX0" fmla="*/ 157252 w 169121"/>
                <a:gd name="connsiteY0" fmla="*/ 0 h 180989"/>
                <a:gd name="connsiteX1" fmla="*/ 169121 w 169121"/>
                <a:gd name="connsiteY1" fmla="*/ 139450 h 180989"/>
                <a:gd name="connsiteX2" fmla="*/ 26703 w 169121"/>
                <a:gd name="connsiteY2" fmla="*/ 180989 h 180989"/>
                <a:gd name="connsiteX3" fmla="*/ 0 w 169121"/>
                <a:gd name="connsiteY3" fmla="*/ 11868 h 180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121" h="180989">
                  <a:moveTo>
                    <a:pt x="157252" y="0"/>
                  </a:moveTo>
                  <a:lnTo>
                    <a:pt x="169121" y="139450"/>
                  </a:lnTo>
                  <a:lnTo>
                    <a:pt x="26703" y="180989"/>
                  </a:lnTo>
                  <a:lnTo>
                    <a:pt x="0" y="11868"/>
                  </a:ln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F6D27ECD-ECC6-4CF8-ABF3-0D53015D6633}"/>
                </a:ext>
              </a:extLst>
            </p:cNvPr>
            <p:cNvSpPr/>
            <p:nvPr/>
          </p:nvSpPr>
          <p:spPr>
            <a:xfrm>
              <a:off x="11627856" y="7501086"/>
              <a:ext cx="203514" cy="277113"/>
            </a:xfrm>
            <a:custGeom>
              <a:avLst/>
              <a:gdLst>
                <a:gd name="connsiteX0" fmla="*/ 3708 w 203514"/>
                <a:gd name="connsiteY0" fmla="*/ 134835 h 277113"/>
                <a:gd name="connsiteX1" fmla="*/ 30411 w 203514"/>
                <a:gd name="connsiteY1" fmla="*/ 268352 h 277113"/>
                <a:gd name="connsiteX2" fmla="*/ 166894 w 203514"/>
                <a:gd name="connsiteY2" fmla="*/ 271319 h 277113"/>
                <a:gd name="connsiteX3" fmla="*/ 163927 w 203514"/>
                <a:gd name="connsiteY3" fmla="*/ 4286 h 277113"/>
                <a:gd name="connsiteX4" fmla="*/ 116454 w 203514"/>
                <a:gd name="connsiteY4" fmla="*/ 13187 h 277113"/>
                <a:gd name="connsiteX5" fmla="*/ 63048 w 203514"/>
                <a:gd name="connsiteY5" fmla="*/ 19121 h 277113"/>
                <a:gd name="connsiteX6" fmla="*/ 39311 w 203514"/>
                <a:gd name="connsiteY6" fmla="*/ 45824 h 277113"/>
                <a:gd name="connsiteX7" fmla="*/ 12608 w 203514"/>
                <a:gd name="connsiteY7" fmla="*/ 93297 h 277113"/>
                <a:gd name="connsiteX8" fmla="*/ 3708 w 203514"/>
                <a:gd name="connsiteY8" fmla="*/ 134835 h 277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514" h="277113">
                  <a:moveTo>
                    <a:pt x="3708" y="134835"/>
                  </a:moveTo>
                  <a:cubicBezTo>
                    <a:pt x="12608" y="176373"/>
                    <a:pt x="-8161" y="241648"/>
                    <a:pt x="30411" y="268352"/>
                  </a:cubicBezTo>
                  <a:cubicBezTo>
                    <a:pt x="57114" y="286154"/>
                    <a:pt x="166894" y="271319"/>
                    <a:pt x="166894" y="271319"/>
                  </a:cubicBezTo>
                  <a:cubicBezTo>
                    <a:pt x="238103" y="226813"/>
                    <a:pt x="187663" y="63626"/>
                    <a:pt x="163927" y="4286"/>
                  </a:cubicBezTo>
                  <a:cubicBezTo>
                    <a:pt x="160960" y="-4615"/>
                    <a:pt x="119422" y="1319"/>
                    <a:pt x="116454" y="13187"/>
                  </a:cubicBezTo>
                  <a:cubicBezTo>
                    <a:pt x="116454" y="33956"/>
                    <a:pt x="71949" y="13187"/>
                    <a:pt x="63048" y="19121"/>
                  </a:cubicBezTo>
                  <a:cubicBezTo>
                    <a:pt x="51179" y="25055"/>
                    <a:pt x="39311" y="45824"/>
                    <a:pt x="39311" y="45824"/>
                  </a:cubicBezTo>
                  <a:cubicBezTo>
                    <a:pt x="27444" y="60659"/>
                    <a:pt x="18543" y="87362"/>
                    <a:pt x="12608" y="93297"/>
                  </a:cubicBezTo>
                  <a:cubicBezTo>
                    <a:pt x="-2227" y="99231"/>
                    <a:pt x="-2227" y="108132"/>
                    <a:pt x="3708" y="134835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9" name="图形 1">
              <a:extLst>
                <a:ext uri="{FF2B5EF4-FFF2-40B4-BE49-F238E27FC236}">
                  <a16:creationId xmlns:a16="http://schemas.microsoft.com/office/drawing/2014/main" id="{1356DC34-DBB8-4869-A880-22839A1D1819}"/>
                </a:ext>
              </a:extLst>
            </p:cNvPr>
            <p:cNvGrpSpPr/>
            <p:nvPr/>
          </p:nvGrpSpPr>
          <p:grpSpPr>
            <a:xfrm>
              <a:off x="11620123" y="7450926"/>
              <a:ext cx="193759" cy="217632"/>
              <a:chOff x="11620123" y="7450926"/>
              <a:chExt cx="193759" cy="217632"/>
            </a:xfrm>
          </p:grpSpPr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C89370F7-2DE1-4EB1-BE79-7A040EFB2136}"/>
                  </a:ext>
                </a:extLst>
              </p:cNvPr>
              <p:cNvSpPr/>
              <p:nvPr/>
            </p:nvSpPr>
            <p:spPr>
              <a:xfrm>
                <a:off x="11707907" y="7450926"/>
                <a:ext cx="101678" cy="161512"/>
              </a:xfrm>
              <a:custGeom>
                <a:avLst/>
                <a:gdLst>
                  <a:gd name="connsiteX0" fmla="*/ 42337 w 101678"/>
                  <a:gd name="connsiteY0" fmla="*/ 4005 h 161512"/>
                  <a:gd name="connsiteX1" fmla="*/ 89809 w 101678"/>
                  <a:gd name="connsiteY1" fmla="*/ 90050 h 161512"/>
                  <a:gd name="connsiteX2" fmla="*/ 98711 w 101678"/>
                  <a:gd name="connsiteY2" fmla="*/ 104885 h 161512"/>
                  <a:gd name="connsiteX3" fmla="*/ 101678 w 101678"/>
                  <a:gd name="connsiteY3" fmla="*/ 122687 h 161512"/>
                  <a:gd name="connsiteX4" fmla="*/ 69041 w 101678"/>
                  <a:gd name="connsiteY4" fmla="*/ 161258 h 161512"/>
                  <a:gd name="connsiteX5" fmla="*/ 36403 w 101678"/>
                  <a:gd name="connsiteY5" fmla="*/ 128621 h 161512"/>
                  <a:gd name="connsiteX6" fmla="*/ 9700 w 101678"/>
                  <a:gd name="connsiteY6" fmla="*/ 69280 h 161512"/>
                  <a:gd name="connsiteX7" fmla="*/ 3766 w 101678"/>
                  <a:gd name="connsiteY7" fmla="*/ 21808 h 161512"/>
                  <a:gd name="connsiteX8" fmla="*/ 42337 w 101678"/>
                  <a:gd name="connsiteY8" fmla="*/ 4005 h 161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678" h="161512">
                    <a:moveTo>
                      <a:pt x="42337" y="4005"/>
                    </a:moveTo>
                    <a:cubicBezTo>
                      <a:pt x="66073" y="18840"/>
                      <a:pt x="74974" y="57412"/>
                      <a:pt x="89809" y="90050"/>
                    </a:cubicBezTo>
                    <a:cubicBezTo>
                      <a:pt x="89809" y="93016"/>
                      <a:pt x="98711" y="101917"/>
                      <a:pt x="98711" y="104885"/>
                    </a:cubicBezTo>
                    <a:cubicBezTo>
                      <a:pt x="101678" y="110819"/>
                      <a:pt x="101678" y="116753"/>
                      <a:pt x="101678" y="122687"/>
                    </a:cubicBezTo>
                    <a:cubicBezTo>
                      <a:pt x="98711" y="140489"/>
                      <a:pt x="86843" y="158291"/>
                      <a:pt x="69041" y="161258"/>
                    </a:cubicBezTo>
                    <a:cubicBezTo>
                      <a:pt x="51238" y="164225"/>
                      <a:pt x="42337" y="140489"/>
                      <a:pt x="36403" y="128621"/>
                    </a:cubicBezTo>
                    <a:cubicBezTo>
                      <a:pt x="27502" y="110819"/>
                      <a:pt x="18601" y="90050"/>
                      <a:pt x="9700" y="69280"/>
                    </a:cubicBezTo>
                    <a:cubicBezTo>
                      <a:pt x="3766" y="54445"/>
                      <a:pt x="-5135" y="39610"/>
                      <a:pt x="3766" y="21808"/>
                    </a:cubicBezTo>
                    <a:cubicBezTo>
                      <a:pt x="15633" y="1039"/>
                      <a:pt x="33436" y="-4895"/>
                      <a:pt x="42337" y="4005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8C30C4B1-374A-429C-A614-CF201AD3A7BB}"/>
                  </a:ext>
                </a:extLst>
              </p:cNvPr>
              <p:cNvSpPr/>
              <p:nvPr/>
            </p:nvSpPr>
            <p:spPr>
              <a:xfrm>
                <a:off x="11675270" y="7493771"/>
                <a:ext cx="101678" cy="160206"/>
              </a:xfrm>
              <a:custGeom>
                <a:avLst/>
                <a:gdLst>
                  <a:gd name="connsiteX0" fmla="*/ 42337 w 101678"/>
                  <a:gd name="connsiteY0" fmla="*/ 2700 h 160206"/>
                  <a:gd name="connsiteX1" fmla="*/ 95744 w 101678"/>
                  <a:gd name="connsiteY1" fmla="*/ 94678 h 160206"/>
                  <a:gd name="connsiteX2" fmla="*/ 98711 w 101678"/>
                  <a:gd name="connsiteY2" fmla="*/ 103579 h 160206"/>
                  <a:gd name="connsiteX3" fmla="*/ 101678 w 101678"/>
                  <a:gd name="connsiteY3" fmla="*/ 121381 h 160206"/>
                  <a:gd name="connsiteX4" fmla="*/ 69041 w 101678"/>
                  <a:gd name="connsiteY4" fmla="*/ 159953 h 160206"/>
                  <a:gd name="connsiteX5" fmla="*/ 36403 w 101678"/>
                  <a:gd name="connsiteY5" fmla="*/ 127315 h 160206"/>
                  <a:gd name="connsiteX6" fmla="*/ 9700 w 101678"/>
                  <a:gd name="connsiteY6" fmla="*/ 67974 h 160206"/>
                  <a:gd name="connsiteX7" fmla="*/ 3766 w 101678"/>
                  <a:gd name="connsiteY7" fmla="*/ 20502 h 160206"/>
                  <a:gd name="connsiteX8" fmla="*/ 42337 w 101678"/>
                  <a:gd name="connsiteY8" fmla="*/ 2700 h 160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678" h="160206">
                    <a:moveTo>
                      <a:pt x="42337" y="2700"/>
                    </a:moveTo>
                    <a:cubicBezTo>
                      <a:pt x="77941" y="17535"/>
                      <a:pt x="80909" y="62040"/>
                      <a:pt x="95744" y="94678"/>
                    </a:cubicBezTo>
                    <a:cubicBezTo>
                      <a:pt x="95744" y="97645"/>
                      <a:pt x="98711" y="100612"/>
                      <a:pt x="98711" y="103579"/>
                    </a:cubicBezTo>
                    <a:cubicBezTo>
                      <a:pt x="101678" y="109513"/>
                      <a:pt x="101678" y="115447"/>
                      <a:pt x="101678" y="121381"/>
                    </a:cubicBezTo>
                    <a:cubicBezTo>
                      <a:pt x="98711" y="139183"/>
                      <a:pt x="86843" y="156985"/>
                      <a:pt x="69041" y="159953"/>
                    </a:cubicBezTo>
                    <a:cubicBezTo>
                      <a:pt x="51238" y="162919"/>
                      <a:pt x="42337" y="139183"/>
                      <a:pt x="36403" y="127315"/>
                    </a:cubicBezTo>
                    <a:cubicBezTo>
                      <a:pt x="27502" y="109513"/>
                      <a:pt x="18601" y="88744"/>
                      <a:pt x="9700" y="67974"/>
                    </a:cubicBezTo>
                    <a:cubicBezTo>
                      <a:pt x="3766" y="53139"/>
                      <a:pt x="-5135" y="38304"/>
                      <a:pt x="3766" y="20502"/>
                    </a:cubicBezTo>
                    <a:cubicBezTo>
                      <a:pt x="15634" y="-267"/>
                      <a:pt x="30470" y="-3234"/>
                      <a:pt x="42337" y="2700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4" name="任意多边形: 形状 163">
                <a:extLst>
                  <a:ext uri="{FF2B5EF4-FFF2-40B4-BE49-F238E27FC236}">
                    <a16:creationId xmlns:a16="http://schemas.microsoft.com/office/drawing/2014/main" id="{5A0B891C-5456-4C51-8C80-5D117CF450DD}"/>
                  </a:ext>
                </a:extLst>
              </p:cNvPr>
              <p:cNvSpPr/>
              <p:nvPr/>
            </p:nvSpPr>
            <p:spPr>
              <a:xfrm>
                <a:off x="11646907" y="7528074"/>
                <a:ext cx="88502" cy="137804"/>
              </a:xfrm>
              <a:custGeom>
                <a:avLst/>
                <a:gdLst>
                  <a:gd name="connsiteX0" fmla="*/ 32128 w 88502"/>
                  <a:gd name="connsiteY0" fmla="*/ 1034 h 137804"/>
                  <a:gd name="connsiteX1" fmla="*/ 82568 w 88502"/>
                  <a:gd name="connsiteY1" fmla="*/ 81144 h 137804"/>
                  <a:gd name="connsiteX2" fmla="*/ 85535 w 88502"/>
                  <a:gd name="connsiteY2" fmla="*/ 90045 h 137804"/>
                  <a:gd name="connsiteX3" fmla="*/ 88502 w 88502"/>
                  <a:gd name="connsiteY3" fmla="*/ 104880 h 137804"/>
                  <a:gd name="connsiteX4" fmla="*/ 61798 w 88502"/>
                  <a:gd name="connsiteY4" fmla="*/ 137518 h 137804"/>
                  <a:gd name="connsiteX5" fmla="*/ 32128 w 88502"/>
                  <a:gd name="connsiteY5" fmla="*/ 107847 h 137804"/>
                  <a:gd name="connsiteX6" fmla="*/ 8392 w 88502"/>
                  <a:gd name="connsiteY6" fmla="*/ 57408 h 137804"/>
                  <a:gd name="connsiteX7" fmla="*/ 2458 w 88502"/>
                  <a:gd name="connsiteY7" fmla="*/ 15869 h 137804"/>
                  <a:gd name="connsiteX8" fmla="*/ 32128 w 88502"/>
                  <a:gd name="connsiteY8" fmla="*/ 1034 h 137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8502" h="137804">
                    <a:moveTo>
                      <a:pt x="32128" y="1034"/>
                    </a:moveTo>
                    <a:cubicBezTo>
                      <a:pt x="64766" y="12902"/>
                      <a:pt x="67733" y="51474"/>
                      <a:pt x="82568" y="81144"/>
                    </a:cubicBezTo>
                    <a:cubicBezTo>
                      <a:pt x="82568" y="84111"/>
                      <a:pt x="85535" y="87078"/>
                      <a:pt x="85535" y="90045"/>
                    </a:cubicBezTo>
                    <a:cubicBezTo>
                      <a:pt x="85535" y="95979"/>
                      <a:pt x="88502" y="98946"/>
                      <a:pt x="88502" y="104880"/>
                    </a:cubicBezTo>
                    <a:cubicBezTo>
                      <a:pt x="88502" y="119715"/>
                      <a:pt x="76634" y="134550"/>
                      <a:pt x="61798" y="137518"/>
                    </a:cubicBezTo>
                    <a:cubicBezTo>
                      <a:pt x="46963" y="140485"/>
                      <a:pt x="38062" y="119715"/>
                      <a:pt x="32128" y="107847"/>
                    </a:cubicBezTo>
                    <a:cubicBezTo>
                      <a:pt x="23227" y="93012"/>
                      <a:pt x="14327" y="75210"/>
                      <a:pt x="8392" y="57408"/>
                    </a:cubicBezTo>
                    <a:cubicBezTo>
                      <a:pt x="2458" y="45539"/>
                      <a:pt x="-3476" y="30704"/>
                      <a:pt x="2458" y="15869"/>
                    </a:cubicBezTo>
                    <a:cubicBezTo>
                      <a:pt x="8392" y="1034"/>
                      <a:pt x="20260" y="-1933"/>
                      <a:pt x="32128" y="1034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F9448415-8D3E-4388-A271-D203AECFC5C0}"/>
                  </a:ext>
                </a:extLst>
              </p:cNvPr>
              <p:cNvSpPr/>
              <p:nvPr/>
            </p:nvSpPr>
            <p:spPr>
              <a:xfrm>
                <a:off x="11620123" y="7566129"/>
                <a:ext cx="64846" cy="102429"/>
              </a:xfrm>
              <a:custGeom>
                <a:avLst/>
                <a:gdLst>
                  <a:gd name="connsiteX0" fmla="*/ 26276 w 64846"/>
                  <a:gd name="connsiteY0" fmla="*/ 1550 h 102429"/>
                  <a:gd name="connsiteX1" fmla="*/ 61879 w 64846"/>
                  <a:gd name="connsiteY1" fmla="*/ 60891 h 102429"/>
                  <a:gd name="connsiteX2" fmla="*/ 61879 w 64846"/>
                  <a:gd name="connsiteY2" fmla="*/ 66825 h 102429"/>
                  <a:gd name="connsiteX3" fmla="*/ 64847 w 64846"/>
                  <a:gd name="connsiteY3" fmla="*/ 78693 h 102429"/>
                  <a:gd name="connsiteX4" fmla="*/ 44077 w 64846"/>
                  <a:gd name="connsiteY4" fmla="*/ 102430 h 102429"/>
                  <a:gd name="connsiteX5" fmla="*/ 23308 w 64846"/>
                  <a:gd name="connsiteY5" fmla="*/ 81660 h 102429"/>
                  <a:gd name="connsiteX6" fmla="*/ 5506 w 64846"/>
                  <a:gd name="connsiteY6" fmla="*/ 43089 h 102429"/>
                  <a:gd name="connsiteX7" fmla="*/ 2539 w 64846"/>
                  <a:gd name="connsiteY7" fmla="*/ 13419 h 102429"/>
                  <a:gd name="connsiteX8" fmla="*/ 26276 w 64846"/>
                  <a:gd name="connsiteY8" fmla="*/ 1550 h 102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846" h="102429">
                    <a:moveTo>
                      <a:pt x="26276" y="1550"/>
                    </a:moveTo>
                    <a:cubicBezTo>
                      <a:pt x="50012" y="10451"/>
                      <a:pt x="52979" y="40122"/>
                      <a:pt x="61879" y="60891"/>
                    </a:cubicBezTo>
                    <a:cubicBezTo>
                      <a:pt x="61879" y="63858"/>
                      <a:pt x="61879" y="63858"/>
                      <a:pt x="61879" y="66825"/>
                    </a:cubicBezTo>
                    <a:cubicBezTo>
                      <a:pt x="61879" y="69792"/>
                      <a:pt x="64847" y="72759"/>
                      <a:pt x="64847" y="78693"/>
                    </a:cubicBezTo>
                    <a:cubicBezTo>
                      <a:pt x="64847" y="90561"/>
                      <a:pt x="55946" y="99462"/>
                      <a:pt x="44077" y="102430"/>
                    </a:cubicBezTo>
                    <a:cubicBezTo>
                      <a:pt x="32209" y="102430"/>
                      <a:pt x="26276" y="90561"/>
                      <a:pt x="23308" y="81660"/>
                    </a:cubicBezTo>
                    <a:cubicBezTo>
                      <a:pt x="17374" y="69792"/>
                      <a:pt x="11440" y="57924"/>
                      <a:pt x="5506" y="43089"/>
                    </a:cubicBezTo>
                    <a:cubicBezTo>
                      <a:pt x="2539" y="34188"/>
                      <a:pt x="-3395" y="22319"/>
                      <a:pt x="2539" y="13419"/>
                    </a:cubicBezTo>
                    <a:cubicBezTo>
                      <a:pt x="8473" y="-1417"/>
                      <a:pt x="20341" y="-1417"/>
                      <a:pt x="26276" y="1550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4095E73D-6E70-44D0-97D7-D6426531035F}"/>
                  </a:ext>
                </a:extLst>
              </p:cNvPr>
              <p:cNvSpPr/>
              <p:nvPr/>
            </p:nvSpPr>
            <p:spPr>
              <a:xfrm>
                <a:off x="11675448" y="7477439"/>
                <a:ext cx="138434" cy="179250"/>
              </a:xfrm>
              <a:custGeom>
                <a:avLst/>
                <a:gdLst>
                  <a:gd name="connsiteX0" fmla="*/ 68863 w 138434"/>
                  <a:gd name="connsiteY0" fmla="*/ 179251 h 179250"/>
                  <a:gd name="connsiteX1" fmla="*/ 24357 w 138434"/>
                  <a:gd name="connsiteY1" fmla="*/ 128811 h 179250"/>
                  <a:gd name="connsiteX2" fmla="*/ 12489 w 138434"/>
                  <a:gd name="connsiteY2" fmla="*/ 16064 h 179250"/>
                  <a:gd name="connsiteX3" fmla="*/ 33258 w 138434"/>
                  <a:gd name="connsiteY3" fmla="*/ 7163 h 179250"/>
                  <a:gd name="connsiteX4" fmla="*/ 42160 w 138434"/>
                  <a:gd name="connsiteY4" fmla="*/ 16064 h 179250"/>
                  <a:gd name="connsiteX5" fmla="*/ 95566 w 138434"/>
                  <a:gd name="connsiteY5" fmla="*/ 119910 h 179250"/>
                  <a:gd name="connsiteX6" fmla="*/ 113368 w 138434"/>
                  <a:gd name="connsiteY6" fmla="*/ 116943 h 179250"/>
                  <a:gd name="connsiteX7" fmla="*/ 122269 w 138434"/>
                  <a:gd name="connsiteY7" fmla="*/ 108042 h 179250"/>
                  <a:gd name="connsiteX8" fmla="*/ 92599 w 138434"/>
                  <a:gd name="connsiteY8" fmla="*/ 10130 h 179250"/>
                  <a:gd name="connsiteX9" fmla="*/ 95566 w 138434"/>
                  <a:gd name="connsiteY9" fmla="*/ 1229 h 179250"/>
                  <a:gd name="connsiteX10" fmla="*/ 104468 w 138434"/>
                  <a:gd name="connsiteY10" fmla="*/ 4196 h 179250"/>
                  <a:gd name="connsiteX11" fmla="*/ 137104 w 138434"/>
                  <a:gd name="connsiteY11" fmla="*/ 111009 h 179250"/>
                  <a:gd name="connsiteX12" fmla="*/ 122269 w 138434"/>
                  <a:gd name="connsiteY12" fmla="*/ 125844 h 179250"/>
                  <a:gd name="connsiteX13" fmla="*/ 110401 w 138434"/>
                  <a:gd name="connsiteY13" fmla="*/ 128811 h 179250"/>
                  <a:gd name="connsiteX14" fmla="*/ 110401 w 138434"/>
                  <a:gd name="connsiteY14" fmla="*/ 128811 h 179250"/>
                  <a:gd name="connsiteX15" fmla="*/ 83698 w 138434"/>
                  <a:gd name="connsiteY15" fmla="*/ 170350 h 179250"/>
                  <a:gd name="connsiteX16" fmla="*/ 68863 w 138434"/>
                  <a:gd name="connsiteY16" fmla="*/ 179251 h 179250"/>
                  <a:gd name="connsiteX17" fmla="*/ 33258 w 138434"/>
                  <a:gd name="connsiteY17" fmla="*/ 19031 h 179250"/>
                  <a:gd name="connsiteX18" fmla="*/ 21390 w 138434"/>
                  <a:gd name="connsiteY18" fmla="*/ 24965 h 179250"/>
                  <a:gd name="connsiteX19" fmla="*/ 36225 w 138434"/>
                  <a:gd name="connsiteY19" fmla="*/ 122877 h 179250"/>
                  <a:gd name="connsiteX20" fmla="*/ 74797 w 138434"/>
                  <a:gd name="connsiteY20" fmla="*/ 164416 h 179250"/>
                  <a:gd name="connsiteX21" fmla="*/ 95566 w 138434"/>
                  <a:gd name="connsiteY21" fmla="*/ 131779 h 179250"/>
                  <a:gd name="connsiteX22" fmla="*/ 95566 w 138434"/>
                  <a:gd name="connsiteY22" fmla="*/ 131779 h 179250"/>
                  <a:gd name="connsiteX23" fmla="*/ 36225 w 138434"/>
                  <a:gd name="connsiteY23" fmla="*/ 21998 h 179250"/>
                  <a:gd name="connsiteX24" fmla="*/ 36225 w 138434"/>
                  <a:gd name="connsiteY24" fmla="*/ 21998 h 179250"/>
                  <a:gd name="connsiteX25" fmla="*/ 33258 w 138434"/>
                  <a:gd name="connsiteY25" fmla="*/ 19031 h 179250"/>
                  <a:gd name="connsiteX26" fmla="*/ 33258 w 138434"/>
                  <a:gd name="connsiteY26" fmla="*/ 19031 h 179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8434" h="179250">
                    <a:moveTo>
                      <a:pt x="68863" y="179251"/>
                    </a:moveTo>
                    <a:cubicBezTo>
                      <a:pt x="51060" y="179251"/>
                      <a:pt x="39192" y="152548"/>
                      <a:pt x="24357" y="128811"/>
                    </a:cubicBezTo>
                    <a:cubicBezTo>
                      <a:pt x="-2346" y="72438"/>
                      <a:pt x="-8280" y="33866"/>
                      <a:pt x="12489" y="16064"/>
                    </a:cubicBezTo>
                    <a:cubicBezTo>
                      <a:pt x="21390" y="10130"/>
                      <a:pt x="27325" y="7163"/>
                      <a:pt x="33258" y="7163"/>
                    </a:cubicBezTo>
                    <a:cubicBezTo>
                      <a:pt x="42160" y="10130"/>
                      <a:pt x="42160" y="16064"/>
                      <a:pt x="42160" y="16064"/>
                    </a:cubicBezTo>
                    <a:cubicBezTo>
                      <a:pt x="62928" y="78372"/>
                      <a:pt x="80731" y="113976"/>
                      <a:pt x="95566" y="119910"/>
                    </a:cubicBezTo>
                    <a:cubicBezTo>
                      <a:pt x="101500" y="122877"/>
                      <a:pt x="104468" y="119910"/>
                      <a:pt x="113368" y="116943"/>
                    </a:cubicBezTo>
                    <a:cubicBezTo>
                      <a:pt x="116336" y="113976"/>
                      <a:pt x="119303" y="111009"/>
                      <a:pt x="122269" y="108042"/>
                    </a:cubicBezTo>
                    <a:cubicBezTo>
                      <a:pt x="131171" y="84306"/>
                      <a:pt x="101500" y="27932"/>
                      <a:pt x="92599" y="10130"/>
                    </a:cubicBezTo>
                    <a:cubicBezTo>
                      <a:pt x="89632" y="7163"/>
                      <a:pt x="92599" y="4196"/>
                      <a:pt x="95566" y="1229"/>
                    </a:cubicBezTo>
                    <a:cubicBezTo>
                      <a:pt x="98533" y="-1738"/>
                      <a:pt x="101500" y="1229"/>
                      <a:pt x="104468" y="4196"/>
                    </a:cubicBezTo>
                    <a:cubicBezTo>
                      <a:pt x="107434" y="7163"/>
                      <a:pt x="146006" y="78372"/>
                      <a:pt x="137104" y="111009"/>
                    </a:cubicBezTo>
                    <a:cubicBezTo>
                      <a:pt x="134138" y="119910"/>
                      <a:pt x="131171" y="122877"/>
                      <a:pt x="122269" y="125844"/>
                    </a:cubicBezTo>
                    <a:cubicBezTo>
                      <a:pt x="119303" y="125844"/>
                      <a:pt x="113368" y="128811"/>
                      <a:pt x="110401" y="128811"/>
                    </a:cubicBezTo>
                    <a:cubicBezTo>
                      <a:pt x="110401" y="128811"/>
                      <a:pt x="110401" y="128811"/>
                      <a:pt x="110401" y="128811"/>
                    </a:cubicBezTo>
                    <a:cubicBezTo>
                      <a:pt x="110401" y="128811"/>
                      <a:pt x="101500" y="161449"/>
                      <a:pt x="83698" y="170350"/>
                    </a:cubicBezTo>
                    <a:cubicBezTo>
                      <a:pt x="77764" y="176284"/>
                      <a:pt x="71830" y="179251"/>
                      <a:pt x="68863" y="179251"/>
                    </a:cubicBezTo>
                    <a:close/>
                    <a:moveTo>
                      <a:pt x="33258" y="19031"/>
                    </a:moveTo>
                    <a:cubicBezTo>
                      <a:pt x="30292" y="19031"/>
                      <a:pt x="27325" y="19031"/>
                      <a:pt x="21390" y="24965"/>
                    </a:cubicBezTo>
                    <a:cubicBezTo>
                      <a:pt x="6555" y="36833"/>
                      <a:pt x="12489" y="72438"/>
                      <a:pt x="36225" y="122877"/>
                    </a:cubicBezTo>
                    <a:cubicBezTo>
                      <a:pt x="54028" y="161449"/>
                      <a:pt x="62928" y="170350"/>
                      <a:pt x="74797" y="164416"/>
                    </a:cubicBezTo>
                    <a:cubicBezTo>
                      <a:pt x="86665" y="158482"/>
                      <a:pt x="92599" y="137713"/>
                      <a:pt x="95566" y="131779"/>
                    </a:cubicBezTo>
                    <a:cubicBezTo>
                      <a:pt x="95566" y="131779"/>
                      <a:pt x="95566" y="131779"/>
                      <a:pt x="95566" y="131779"/>
                    </a:cubicBezTo>
                    <a:cubicBezTo>
                      <a:pt x="83698" y="125844"/>
                      <a:pt x="62928" y="108042"/>
                      <a:pt x="36225" y="21998"/>
                    </a:cubicBezTo>
                    <a:lnTo>
                      <a:pt x="36225" y="21998"/>
                    </a:lnTo>
                    <a:cubicBezTo>
                      <a:pt x="36225" y="19031"/>
                      <a:pt x="36225" y="19031"/>
                      <a:pt x="33258" y="19031"/>
                    </a:cubicBezTo>
                    <a:cubicBezTo>
                      <a:pt x="33258" y="19031"/>
                      <a:pt x="33258" y="19031"/>
                      <a:pt x="33258" y="19031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2FE1F469-69FF-4EB6-ABDA-C6CC0F79AC6E}"/>
                  </a:ext>
                </a:extLst>
              </p:cNvPr>
              <p:cNvSpPr/>
              <p:nvPr/>
            </p:nvSpPr>
            <p:spPr>
              <a:xfrm>
                <a:off x="11637497" y="7522010"/>
                <a:ext cx="100878" cy="146548"/>
              </a:xfrm>
              <a:custGeom>
                <a:avLst/>
                <a:gdLst>
                  <a:gd name="connsiteX0" fmla="*/ 68242 w 100878"/>
                  <a:gd name="connsiteY0" fmla="*/ 146549 h 146548"/>
                  <a:gd name="connsiteX1" fmla="*/ 41538 w 100878"/>
                  <a:gd name="connsiteY1" fmla="*/ 128746 h 146548"/>
                  <a:gd name="connsiteX2" fmla="*/ 0 w 100878"/>
                  <a:gd name="connsiteY2" fmla="*/ 27867 h 146548"/>
                  <a:gd name="connsiteX3" fmla="*/ 11868 w 100878"/>
                  <a:gd name="connsiteY3" fmla="*/ 7098 h 146548"/>
                  <a:gd name="connsiteX4" fmla="*/ 41538 w 100878"/>
                  <a:gd name="connsiteY4" fmla="*/ 1164 h 146548"/>
                  <a:gd name="connsiteX5" fmla="*/ 44505 w 100878"/>
                  <a:gd name="connsiteY5" fmla="*/ 10065 h 146548"/>
                  <a:gd name="connsiteX6" fmla="*/ 35605 w 100878"/>
                  <a:gd name="connsiteY6" fmla="*/ 13032 h 146548"/>
                  <a:gd name="connsiteX7" fmla="*/ 17802 w 100878"/>
                  <a:gd name="connsiteY7" fmla="*/ 15999 h 146548"/>
                  <a:gd name="connsiteX8" fmla="*/ 11868 w 100878"/>
                  <a:gd name="connsiteY8" fmla="*/ 27867 h 146548"/>
                  <a:gd name="connsiteX9" fmla="*/ 50440 w 100878"/>
                  <a:gd name="connsiteY9" fmla="*/ 122812 h 146548"/>
                  <a:gd name="connsiteX10" fmla="*/ 68242 w 100878"/>
                  <a:gd name="connsiteY10" fmla="*/ 134680 h 146548"/>
                  <a:gd name="connsiteX11" fmla="*/ 89011 w 100878"/>
                  <a:gd name="connsiteY11" fmla="*/ 119845 h 146548"/>
                  <a:gd name="connsiteX12" fmla="*/ 97913 w 100878"/>
                  <a:gd name="connsiteY12" fmla="*/ 116878 h 146548"/>
                  <a:gd name="connsiteX13" fmla="*/ 100879 w 100878"/>
                  <a:gd name="connsiteY13" fmla="*/ 125779 h 146548"/>
                  <a:gd name="connsiteX14" fmla="*/ 68242 w 100878"/>
                  <a:gd name="connsiteY14" fmla="*/ 146549 h 146548"/>
                  <a:gd name="connsiteX15" fmla="*/ 68242 w 100878"/>
                  <a:gd name="connsiteY15" fmla="*/ 146549 h 14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0878" h="146548">
                    <a:moveTo>
                      <a:pt x="68242" y="146549"/>
                    </a:moveTo>
                    <a:cubicBezTo>
                      <a:pt x="59341" y="146549"/>
                      <a:pt x="50440" y="140614"/>
                      <a:pt x="41538" y="128746"/>
                    </a:cubicBezTo>
                    <a:cubicBezTo>
                      <a:pt x="14835" y="93142"/>
                      <a:pt x="0" y="42703"/>
                      <a:pt x="0" y="27867"/>
                    </a:cubicBezTo>
                    <a:cubicBezTo>
                      <a:pt x="0" y="18966"/>
                      <a:pt x="2967" y="13032"/>
                      <a:pt x="11868" y="7098"/>
                    </a:cubicBezTo>
                    <a:cubicBezTo>
                      <a:pt x="20770" y="1164"/>
                      <a:pt x="35605" y="-1803"/>
                      <a:pt x="41538" y="1164"/>
                    </a:cubicBezTo>
                    <a:cubicBezTo>
                      <a:pt x="44505" y="1164"/>
                      <a:pt x="44505" y="7098"/>
                      <a:pt x="44505" y="10065"/>
                    </a:cubicBezTo>
                    <a:cubicBezTo>
                      <a:pt x="44505" y="13032"/>
                      <a:pt x="38572" y="13032"/>
                      <a:pt x="35605" y="13032"/>
                    </a:cubicBezTo>
                    <a:cubicBezTo>
                      <a:pt x="32638" y="13032"/>
                      <a:pt x="23737" y="13032"/>
                      <a:pt x="17802" y="15999"/>
                    </a:cubicBezTo>
                    <a:cubicBezTo>
                      <a:pt x="14835" y="18966"/>
                      <a:pt x="11868" y="21933"/>
                      <a:pt x="11868" y="27867"/>
                    </a:cubicBezTo>
                    <a:cubicBezTo>
                      <a:pt x="11868" y="42703"/>
                      <a:pt x="26703" y="90175"/>
                      <a:pt x="50440" y="122812"/>
                    </a:cubicBezTo>
                    <a:cubicBezTo>
                      <a:pt x="56373" y="131714"/>
                      <a:pt x="62308" y="134680"/>
                      <a:pt x="68242" y="134680"/>
                    </a:cubicBezTo>
                    <a:cubicBezTo>
                      <a:pt x="77143" y="134680"/>
                      <a:pt x="86044" y="122812"/>
                      <a:pt x="89011" y="119845"/>
                    </a:cubicBezTo>
                    <a:cubicBezTo>
                      <a:pt x="91978" y="116878"/>
                      <a:pt x="94945" y="116878"/>
                      <a:pt x="97913" y="116878"/>
                    </a:cubicBezTo>
                    <a:cubicBezTo>
                      <a:pt x="100879" y="119845"/>
                      <a:pt x="100879" y="122812"/>
                      <a:pt x="100879" y="125779"/>
                    </a:cubicBezTo>
                    <a:cubicBezTo>
                      <a:pt x="100879" y="125779"/>
                      <a:pt x="89011" y="146549"/>
                      <a:pt x="68242" y="146549"/>
                    </a:cubicBezTo>
                    <a:cubicBezTo>
                      <a:pt x="68242" y="146549"/>
                      <a:pt x="68242" y="146549"/>
                      <a:pt x="68242" y="146549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695238A1-622B-4D59-B8EF-C9E448F69F86}"/>
                </a:ext>
              </a:extLst>
            </p:cNvPr>
            <p:cNvSpPr/>
            <p:nvPr/>
          </p:nvSpPr>
          <p:spPr>
            <a:xfrm>
              <a:off x="11705599" y="7579401"/>
              <a:ext cx="110808" cy="127729"/>
            </a:xfrm>
            <a:custGeom>
              <a:avLst/>
              <a:gdLst>
                <a:gd name="connsiteX0" fmla="*/ 109920 w 110808"/>
                <a:gd name="connsiteY0" fmla="*/ 115861 h 127729"/>
                <a:gd name="connsiteX1" fmla="*/ 80250 w 110808"/>
                <a:gd name="connsiteY1" fmla="*/ 12015 h 127729"/>
                <a:gd name="connsiteX2" fmla="*/ 141 w 110808"/>
                <a:gd name="connsiteY2" fmla="*/ 17949 h 127729"/>
                <a:gd name="connsiteX3" fmla="*/ 53547 w 110808"/>
                <a:gd name="connsiteY3" fmla="*/ 92125 h 127729"/>
                <a:gd name="connsiteX4" fmla="*/ 17942 w 110808"/>
                <a:gd name="connsiteY4" fmla="*/ 127729 h 127729"/>
                <a:gd name="connsiteX5" fmla="*/ 109920 w 110808"/>
                <a:gd name="connsiteY5" fmla="*/ 115861 h 127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808" h="127729">
                  <a:moveTo>
                    <a:pt x="109920" y="115861"/>
                  </a:moveTo>
                  <a:cubicBezTo>
                    <a:pt x="109920" y="115861"/>
                    <a:pt x="118822" y="29817"/>
                    <a:pt x="80250" y="12015"/>
                  </a:cubicBezTo>
                  <a:cubicBezTo>
                    <a:pt x="41679" y="-8754"/>
                    <a:pt x="-2826" y="147"/>
                    <a:pt x="141" y="17949"/>
                  </a:cubicBezTo>
                  <a:cubicBezTo>
                    <a:pt x="141" y="35751"/>
                    <a:pt x="53547" y="41685"/>
                    <a:pt x="53547" y="92125"/>
                  </a:cubicBezTo>
                  <a:cubicBezTo>
                    <a:pt x="53547" y="92125"/>
                    <a:pt x="23877" y="106960"/>
                    <a:pt x="17942" y="127729"/>
                  </a:cubicBezTo>
                  <a:lnTo>
                    <a:pt x="109920" y="115861"/>
                  </a:ln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CB15D3B2-C052-41BE-91CD-AC2074305FC4}"/>
                </a:ext>
              </a:extLst>
            </p:cNvPr>
            <p:cNvSpPr/>
            <p:nvPr/>
          </p:nvSpPr>
          <p:spPr>
            <a:xfrm>
              <a:off x="11696838" y="7572469"/>
              <a:ext cx="122449" cy="134660"/>
            </a:xfrm>
            <a:custGeom>
              <a:avLst/>
              <a:gdLst>
                <a:gd name="connsiteX0" fmla="*/ 29670 w 122449"/>
                <a:gd name="connsiteY0" fmla="*/ 134660 h 134660"/>
                <a:gd name="connsiteX1" fmla="*/ 29670 w 122449"/>
                <a:gd name="connsiteY1" fmla="*/ 134660 h 134660"/>
                <a:gd name="connsiteX2" fmla="*/ 23737 w 122449"/>
                <a:gd name="connsiteY2" fmla="*/ 128726 h 134660"/>
                <a:gd name="connsiteX3" fmla="*/ 56373 w 122449"/>
                <a:gd name="connsiteY3" fmla="*/ 93122 h 134660"/>
                <a:gd name="connsiteX4" fmla="*/ 20770 w 122449"/>
                <a:gd name="connsiteY4" fmla="*/ 45649 h 134660"/>
                <a:gd name="connsiteX5" fmla="*/ 0 w 122449"/>
                <a:gd name="connsiteY5" fmla="*/ 21913 h 134660"/>
                <a:gd name="connsiteX6" fmla="*/ 8902 w 122449"/>
                <a:gd name="connsiteY6" fmla="*/ 7078 h 134660"/>
                <a:gd name="connsiteX7" fmla="*/ 89011 w 122449"/>
                <a:gd name="connsiteY7" fmla="*/ 13012 h 134660"/>
                <a:gd name="connsiteX8" fmla="*/ 121649 w 122449"/>
                <a:gd name="connsiteY8" fmla="*/ 122792 h 134660"/>
                <a:gd name="connsiteX9" fmla="*/ 115714 w 122449"/>
                <a:gd name="connsiteY9" fmla="*/ 128726 h 134660"/>
                <a:gd name="connsiteX10" fmla="*/ 109781 w 122449"/>
                <a:gd name="connsiteY10" fmla="*/ 122792 h 134660"/>
                <a:gd name="connsiteX11" fmla="*/ 83077 w 122449"/>
                <a:gd name="connsiteY11" fmla="*/ 24880 h 134660"/>
                <a:gd name="connsiteX12" fmla="*/ 14835 w 122449"/>
                <a:gd name="connsiteY12" fmla="*/ 18946 h 134660"/>
                <a:gd name="connsiteX13" fmla="*/ 11868 w 122449"/>
                <a:gd name="connsiteY13" fmla="*/ 24880 h 134660"/>
                <a:gd name="connsiteX14" fmla="*/ 26703 w 122449"/>
                <a:gd name="connsiteY14" fmla="*/ 39715 h 134660"/>
                <a:gd name="connsiteX15" fmla="*/ 65275 w 122449"/>
                <a:gd name="connsiteY15" fmla="*/ 99056 h 134660"/>
                <a:gd name="connsiteX16" fmla="*/ 62308 w 122449"/>
                <a:gd name="connsiteY16" fmla="*/ 104990 h 134660"/>
                <a:gd name="connsiteX17" fmla="*/ 29670 w 122449"/>
                <a:gd name="connsiteY17" fmla="*/ 134660 h 134660"/>
                <a:gd name="connsiteX18" fmla="*/ 29670 w 122449"/>
                <a:gd name="connsiteY18" fmla="*/ 134660 h 134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2449" h="134660">
                  <a:moveTo>
                    <a:pt x="29670" y="134660"/>
                  </a:moveTo>
                  <a:cubicBezTo>
                    <a:pt x="29670" y="134660"/>
                    <a:pt x="29670" y="134660"/>
                    <a:pt x="29670" y="134660"/>
                  </a:cubicBezTo>
                  <a:cubicBezTo>
                    <a:pt x="26703" y="134660"/>
                    <a:pt x="23737" y="131693"/>
                    <a:pt x="23737" y="128726"/>
                  </a:cubicBezTo>
                  <a:cubicBezTo>
                    <a:pt x="29670" y="110924"/>
                    <a:pt x="50440" y="96089"/>
                    <a:pt x="56373" y="93122"/>
                  </a:cubicBezTo>
                  <a:cubicBezTo>
                    <a:pt x="53407" y="69386"/>
                    <a:pt x="35605" y="54550"/>
                    <a:pt x="20770" y="45649"/>
                  </a:cubicBezTo>
                  <a:cubicBezTo>
                    <a:pt x="11868" y="39715"/>
                    <a:pt x="0" y="33781"/>
                    <a:pt x="0" y="21913"/>
                  </a:cubicBezTo>
                  <a:cubicBezTo>
                    <a:pt x="0" y="15979"/>
                    <a:pt x="2967" y="10045"/>
                    <a:pt x="8902" y="7078"/>
                  </a:cubicBezTo>
                  <a:cubicBezTo>
                    <a:pt x="23737" y="-1823"/>
                    <a:pt x="59341" y="-4790"/>
                    <a:pt x="89011" y="13012"/>
                  </a:cubicBezTo>
                  <a:cubicBezTo>
                    <a:pt x="130549" y="33781"/>
                    <a:pt x="121649" y="119825"/>
                    <a:pt x="121649" y="122792"/>
                  </a:cubicBezTo>
                  <a:cubicBezTo>
                    <a:pt x="121649" y="125759"/>
                    <a:pt x="118681" y="128726"/>
                    <a:pt x="115714" y="128726"/>
                  </a:cubicBezTo>
                  <a:cubicBezTo>
                    <a:pt x="112748" y="128726"/>
                    <a:pt x="109781" y="125759"/>
                    <a:pt x="109781" y="122792"/>
                  </a:cubicBezTo>
                  <a:cubicBezTo>
                    <a:pt x="109781" y="122792"/>
                    <a:pt x="118681" y="42682"/>
                    <a:pt x="83077" y="24880"/>
                  </a:cubicBezTo>
                  <a:cubicBezTo>
                    <a:pt x="56373" y="10045"/>
                    <a:pt x="26703" y="10045"/>
                    <a:pt x="14835" y="18946"/>
                  </a:cubicBezTo>
                  <a:cubicBezTo>
                    <a:pt x="11868" y="21913"/>
                    <a:pt x="11868" y="24880"/>
                    <a:pt x="11868" y="24880"/>
                  </a:cubicBezTo>
                  <a:cubicBezTo>
                    <a:pt x="11868" y="27847"/>
                    <a:pt x="20770" y="33781"/>
                    <a:pt x="26703" y="39715"/>
                  </a:cubicBezTo>
                  <a:cubicBezTo>
                    <a:pt x="44505" y="51584"/>
                    <a:pt x="65275" y="66419"/>
                    <a:pt x="65275" y="99056"/>
                  </a:cubicBezTo>
                  <a:cubicBezTo>
                    <a:pt x="65275" y="102023"/>
                    <a:pt x="65275" y="102023"/>
                    <a:pt x="62308" y="104990"/>
                  </a:cubicBezTo>
                  <a:cubicBezTo>
                    <a:pt x="62308" y="104990"/>
                    <a:pt x="35605" y="116858"/>
                    <a:pt x="29670" y="134660"/>
                  </a:cubicBezTo>
                  <a:cubicBezTo>
                    <a:pt x="32638" y="134660"/>
                    <a:pt x="32638" y="134660"/>
                    <a:pt x="29670" y="134660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8A4960CF-DF4F-44AC-A74A-CFD354914B73}"/>
                </a:ext>
              </a:extLst>
            </p:cNvPr>
            <p:cNvSpPr/>
            <p:nvPr/>
          </p:nvSpPr>
          <p:spPr>
            <a:xfrm>
              <a:off x="14126838" y="9003723"/>
              <a:ext cx="210659" cy="222527"/>
            </a:xfrm>
            <a:custGeom>
              <a:avLst/>
              <a:gdLst>
                <a:gd name="connsiteX0" fmla="*/ 91978 w 210659"/>
                <a:gd name="connsiteY0" fmla="*/ 0 h 222527"/>
                <a:gd name="connsiteX1" fmla="*/ 0 w 210659"/>
                <a:gd name="connsiteY1" fmla="*/ 106813 h 222527"/>
                <a:gd name="connsiteX2" fmla="*/ 89011 w 210659"/>
                <a:gd name="connsiteY2" fmla="*/ 222527 h 222527"/>
                <a:gd name="connsiteX3" fmla="*/ 210660 w 210659"/>
                <a:gd name="connsiteY3" fmla="*/ 100879 h 222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659" h="222527">
                  <a:moveTo>
                    <a:pt x="91978" y="0"/>
                  </a:moveTo>
                  <a:lnTo>
                    <a:pt x="0" y="106813"/>
                  </a:lnTo>
                  <a:lnTo>
                    <a:pt x="89011" y="222527"/>
                  </a:lnTo>
                  <a:lnTo>
                    <a:pt x="210660" y="100879"/>
                  </a:ln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52821DBD-756C-434F-87DC-88318200FB86}"/>
                </a:ext>
              </a:extLst>
            </p:cNvPr>
            <p:cNvSpPr/>
            <p:nvPr/>
          </p:nvSpPr>
          <p:spPr>
            <a:xfrm>
              <a:off x="13175197" y="8581736"/>
              <a:ext cx="1129662" cy="1104405"/>
            </a:xfrm>
            <a:custGeom>
              <a:avLst/>
              <a:gdLst>
                <a:gd name="connsiteX0" fmla="*/ 70432 w 1129662"/>
                <a:gd name="connsiteY0" fmla="*/ 6603 h 1104405"/>
                <a:gd name="connsiteX1" fmla="*/ 414608 w 1129662"/>
                <a:gd name="connsiteY1" fmla="*/ 347812 h 1104405"/>
                <a:gd name="connsiteX2" fmla="*/ 604498 w 1129662"/>
                <a:gd name="connsiteY2" fmla="*/ 786932 h 1104405"/>
                <a:gd name="connsiteX3" fmla="*/ 990212 w 1129662"/>
                <a:gd name="connsiteY3" fmla="*/ 424954 h 1104405"/>
                <a:gd name="connsiteX4" fmla="*/ 1129662 w 1129662"/>
                <a:gd name="connsiteY4" fmla="*/ 582207 h 1104405"/>
                <a:gd name="connsiteX5" fmla="*/ 589663 w 1129662"/>
                <a:gd name="connsiteY5" fmla="*/ 1104405 h 1104405"/>
                <a:gd name="connsiteX6" fmla="*/ 70432 w 1129662"/>
                <a:gd name="connsiteY6" fmla="*/ 6603 h 1104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9662" h="1104405">
                  <a:moveTo>
                    <a:pt x="70432" y="6603"/>
                  </a:moveTo>
                  <a:cubicBezTo>
                    <a:pt x="192080" y="-46804"/>
                    <a:pt x="352300" y="238031"/>
                    <a:pt x="414608" y="347812"/>
                  </a:cubicBezTo>
                  <a:cubicBezTo>
                    <a:pt x="470981" y="445723"/>
                    <a:pt x="604498" y="786932"/>
                    <a:pt x="604498" y="786932"/>
                  </a:cubicBezTo>
                  <a:lnTo>
                    <a:pt x="990212" y="424954"/>
                  </a:lnTo>
                  <a:lnTo>
                    <a:pt x="1129662" y="582207"/>
                  </a:lnTo>
                  <a:cubicBezTo>
                    <a:pt x="1129662" y="582207"/>
                    <a:pt x="714278" y="1101438"/>
                    <a:pt x="589663" y="1104405"/>
                  </a:cubicBezTo>
                  <a:cubicBezTo>
                    <a:pt x="379003" y="1104405"/>
                    <a:pt x="-199568" y="125284"/>
                    <a:pt x="70432" y="6603"/>
                  </a:cubicBezTo>
                  <a:close/>
                </a:path>
              </a:pathLst>
            </a:custGeom>
            <a:solidFill>
              <a:srgbClr val="708686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4" name="图形 1">
              <a:extLst>
                <a:ext uri="{FF2B5EF4-FFF2-40B4-BE49-F238E27FC236}">
                  <a16:creationId xmlns:a16="http://schemas.microsoft.com/office/drawing/2014/main" id="{441A1FF1-44CC-4FDE-A81D-1FE5383B4B23}"/>
                </a:ext>
              </a:extLst>
            </p:cNvPr>
            <p:cNvGrpSpPr/>
            <p:nvPr/>
          </p:nvGrpSpPr>
          <p:grpSpPr>
            <a:xfrm>
              <a:off x="13681783" y="12009327"/>
              <a:ext cx="548405" cy="378786"/>
              <a:chOff x="13681783" y="12009327"/>
              <a:chExt cx="548405" cy="378786"/>
            </a:xfrm>
          </p:grpSpPr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EFE7D1A2-487B-4843-8BB5-C3EF01F2D3A5}"/>
                  </a:ext>
                </a:extLst>
              </p:cNvPr>
              <p:cNvSpPr/>
              <p:nvPr/>
            </p:nvSpPr>
            <p:spPr>
              <a:xfrm>
                <a:off x="13681783" y="12009327"/>
                <a:ext cx="216593" cy="261099"/>
              </a:xfrm>
              <a:custGeom>
                <a:avLst/>
                <a:gdLst>
                  <a:gd name="connsiteX0" fmla="*/ 62308 w 216593"/>
                  <a:gd name="connsiteY0" fmla="*/ 228462 h 261099"/>
                  <a:gd name="connsiteX1" fmla="*/ 0 w 216593"/>
                  <a:gd name="connsiteY1" fmla="*/ 59341 h 261099"/>
                  <a:gd name="connsiteX2" fmla="*/ 166154 w 216593"/>
                  <a:gd name="connsiteY2" fmla="*/ 0 h 261099"/>
                  <a:gd name="connsiteX3" fmla="*/ 216594 w 216593"/>
                  <a:gd name="connsiteY3" fmla="*/ 183956 h 261099"/>
                  <a:gd name="connsiteX4" fmla="*/ 89011 w 216593"/>
                  <a:gd name="connsiteY4" fmla="*/ 261099 h 261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6593" h="261099">
                    <a:moveTo>
                      <a:pt x="62308" y="228462"/>
                    </a:moveTo>
                    <a:lnTo>
                      <a:pt x="0" y="59341"/>
                    </a:lnTo>
                    <a:lnTo>
                      <a:pt x="166154" y="0"/>
                    </a:lnTo>
                    <a:lnTo>
                      <a:pt x="216594" y="183956"/>
                    </a:lnTo>
                    <a:lnTo>
                      <a:pt x="89011" y="261099"/>
                    </a:ln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261FA2F4-4FCF-432C-AEEA-2283C65C95B2}"/>
                  </a:ext>
                </a:extLst>
              </p:cNvPr>
              <p:cNvSpPr/>
              <p:nvPr/>
            </p:nvSpPr>
            <p:spPr>
              <a:xfrm>
                <a:off x="13732223" y="12136910"/>
                <a:ext cx="483626" cy="207692"/>
              </a:xfrm>
              <a:custGeom>
                <a:avLst/>
                <a:gdLst>
                  <a:gd name="connsiteX0" fmla="*/ 0 w 483626"/>
                  <a:gd name="connsiteY0" fmla="*/ 103846 h 207692"/>
                  <a:gd name="connsiteX1" fmla="*/ 154286 w 483626"/>
                  <a:gd name="connsiteY1" fmla="*/ 0 h 207692"/>
                  <a:gd name="connsiteX2" fmla="*/ 302638 w 483626"/>
                  <a:gd name="connsiteY2" fmla="*/ 29670 h 207692"/>
                  <a:gd name="connsiteX3" fmla="*/ 483626 w 483626"/>
                  <a:gd name="connsiteY3" fmla="*/ 47472 h 207692"/>
                  <a:gd name="connsiteX4" fmla="*/ 35605 w 483626"/>
                  <a:gd name="connsiteY4" fmla="*/ 207692 h 207692"/>
                  <a:gd name="connsiteX5" fmla="*/ 0 w 483626"/>
                  <a:gd name="connsiteY5" fmla="*/ 103846 h 207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3626" h="207692">
                    <a:moveTo>
                      <a:pt x="0" y="103846"/>
                    </a:moveTo>
                    <a:cubicBezTo>
                      <a:pt x="0" y="103846"/>
                      <a:pt x="118681" y="80109"/>
                      <a:pt x="154286" y="0"/>
                    </a:cubicBezTo>
                    <a:cubicBezTo>
                      <a:pt x="154286" y="0"/>
                      <a:pt x="258132" y="35604"/>
                      <a:pt x="302638" y="29670"/>
                    </a:cubicBezTo>
                    <a:cubicBezTo>
                      <a:pt x="347143" y="23736"/>
                      <a:pt x="448022" y="-14835"/>
                      <a:pt x="483626" y="47472"/>
                    </a:cubicBezTo>
                    <a:lnTo>
                      <a:pt x="35605" y="207692"/>
                    </a:lnTo>
                    <a:cubicBezTo>
                      <a:pt x="38571" y="207692"/>
                      <a:pt x="0" y="157252"/>
                      <a:pt x="0" y="103846"/>
                    </a:cubicBezTo>
                    <a:close/>
                  </a:path>
                </a:pathLst>
              </a:custGeom>
              <a:solidFill>
                <a:srgbClr val="7E94B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A8EF9789-11E4-4D2B-8343-2E311FF2510E}"/>
                  </a:ext>
                </a:extLst>
              </p:cNvPr>
              <p:cNvSpPr/>
              <p:nvPr/>
            </p:nvSpPr>
            <p:spPr>
              <a:xfrm rot="-1175460">
                <a:off x="13761748" y="12265309"/>
                <a:ext cx="474720" cy="44505"/>
              </a:xfrm>
              <a:custGeom>
                <a:avLst/>
                <a:gdLst>
                  <a:gd name="connsiteX0" fmla="*/ 0 w 474720"/>
                  <a:gd name="connsiteY0" fmla="*/ 0 h 44505"/>
                  <a:gd name="connsiteX1" fmla="*/ 474720 w 474720"/>
                  <a:gd name="connsiteY1" fmla="*/ 0 h 44505"/>
                  <a:gd name="connsiteX2" fmla="*/ 474720 w 474720"/>
                  <a:gd name="connsiteY2" fmla="*/ 44505 h 44505"/>
                  <a:gd name="connsiteX3" fmla="*/ 0 w 474720"/>
                  <a:gd name="connsiteY3" fmla="*/ 44505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720" h="44505">
                    <a:moveTo>
                      <a:pt x="0" y="0"/>
                    </a:moveTo>
                    <a:lnTo>
                      <a:pt x="474720" y="0"/>
                    </a:lnTo>
                    <a:lnTo>
                      <a:pt x="474720" y="44505"/>
                    </a:lnTo>
                    <a:lnTo>
                      <a:pt x="0" y="44505"/>
                    </a:ln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471E141B-E418-49D7-8D89-6E38B50671EF}"/>
                  </a:ext>
                </a:extLst>
              </p:cNvPr>
              <p:cNvSpPr/>
              <p:nvPr/>
            </p:nvSpPr>
            <p:spPr>
              <a:xfrm>
                <a:off x="13726288" y="12133943"/>
                <a:ext cx="166154" cy="112746"/>
              </a:xfrm>
              <a:custGeom>
                <a:avLst/>
                <a:gdLst>
                  <a:gd name="connsiteX0" fmla="*/ 5934 w 166154"/>
                  <a:gd name="connsiteY0" fmla="*/ 112747 h 112746"/>
                  <a:gd name="connsiteX1" fmla="*/ 0 w 166154"/>
                  <a:gd name="connsiteY1" fmla="*/ 109780 h 112746"/>
                  <a:gd name="connsiteX2" fmla="*/ 2967 w 166154"/>
                  <a:gd name="connsiteY2" fmla="*/ 103846 h 112746"/>
                  <a:gd name="connsiteX3" fmla="*/ 154286 w 166154"/>
                  <a:gd name="connsiteY3" fmla="*/ 2967 h 112746"/>
                  <a:gd name="connsiteX4" fmla="*/ 163187 w 166154"/>
                  <a:gd name="connsiteY4" fmla="*/ 0 h 112746"/>
                  <a:gd name="connsiteX5" fmla="*/ 166154 w 166154"/>
                  <a:gd name="connsiteY5" fmla="*/ 8901 h 112746"/>
                  <a:gd name="connsiteX6" fmla="*/ 5934 w 166154"/>
                  <a:gd name="connsiteY6" fmla="*/ 112747 h 112746"/>
                  <a:gd name="connsiteX7" fmla="*/ 5934 w 166154"/>
                  <a:gd name="connsiteY7" fmla="*/ 112747 h 112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6154" h="112746">
                    <a:moveTo>
                      <a:pt x="5934" y="112747"/>
                    </a:moveTo>
                    <a:cubicBezTo>
                      <a:pt x="2967" y="112747"/>
                      <a:pt x="0" y="109780"/>
                      <a:pt x="0" y="109780"/>
                    </a:cubicBezTo>
                    <a:cubicBezTo>
                      <a:pt x="0" y="106813"/>
                      <a:pt x="0" y="103846"/>
                      <a:pt x="2967" y="103846"/>
                    </a:cubicBezTo>
                    <a:cubicBezTo>
                      <a:pt x="2967" y="103846"/>
                      <a:pt x="112748" y="80109"/>
                      <a:pt x="154286" y="2967"/>
                    </a:cubicBezTo>
                    <a:cubicBezTo>
                      <a:pt x="154286" y="0"/>
                      <a:pt x="160221" y="0"/>
                      <a:pt x="163187" y="0"/>
                    </a:cubicBezTo>
                    <a:cubicBezTo>
                      <a:pt x="166154" y="0"/>
                      <a:pt x="166154" y="5934"/>
                      <a:pt x="166154" y="8901"/>
                    </a:cubicBezTo>
                    <a:cubicBezTo>
                      <a:pt x="121649" y="89011"/>
                      <a:pt x="11869" y="112747"/>
                      <a:pt x="5934" y="112747"/>
                    </a:cubicBezTo>
                    <a:cubicBezTo>
                      <a:pt x="5934" y="112747"/>
                      <a:pt x="5934" y="112747"/>
                      <a:pt x="5934" y="11274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A5769E32-C36C-4236-B5D2-422D9050B60D}"/>
                  </a:ext>
                </a:extLst>
              </p:cNvPr>
              <p:cNvSpPr/>
              <p:nvPr/>
            </p:nvSpPr>
            <p:spPr>
              <a:xfrm>
                <a:off x="13907277" y="12145811"/>
                <a:ext cx="23736" cy="44505"/>
              </a:xfrm>
              <a:custGeom>
                <a:avLst/>
                <a:gdLst>
                  <a:gd name="connsiteX0" fmla="*/ 5934 w 23736"/>
                  <a:gd name="connsiteY0" fmla="*/ 44505 h 44505"/>
                  <a:gd name="connsiteX1" fmla="*/ 5934 w 23736"/>
                  <a:gd name="connsiteY1" fmla="*/ 44505 h 44505"/>
                  <a:gd name="connsiteX2" fmla="*/ 0 w 23736"/>
                  <a:gd name="connsiteY2" fmla="*/ 35605 h 44505"/>
                  <a:gd name="connsiteX3" fmla="*/ 14835 w 23736"/>
                  <a:gd name="connsiteY3" fmla="*/ 2967 h 44505"/>
                  <a:gd name="connsiteX4" fmla="*/ 20770 w 23736"/>
                  <a:gd name="connsiteY4" fmla="*/ 0 h 44505"/>
                  <a:gd name="connsiteX5" fmla="*/ 23737 w 23736"/>
                  <a:gd name="connsiteY5" fmla="*/ 5934 h 44505"/>
                  <a:gd name="connsiteX6" fmla="*/ 8902 w 23736"/>
                  <a:gd name="connsiteY6" fmla="*/ 38571 h 44505"/>
                  <a:gd name="connsiteX7" fmla="*/ 5934 w 23736"/>
                  <a:gd name="connsiteY7" fmla="*/ 44505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736" h="44505">
                    <a:moveTo>
                      <a:pt x="5934" y="44505"/>
                    </a:moveTo>
                    <a:cubicBezTo>
                      <a:pt x="5934" y="44505"/>
                      <a:pt x="5934" y="44505"/>
                      <a:pt x="5934" y="44505"/>
                    </a:cubicBezTo>
                    <a:cubicBezTo>
                      <a:pt x="0" y="41538"/>
                      <a:pt x="0" y="38571"/>
                      <a:pt x="0" y="35605"/>
                    </a:cubicBezTo>
                    <a:lnTo>
                      <a:pt x="14835" y="2967"/>
                    </a:lnTo>
                    <a:cubicBezTo>
                      <a:pt x="14835" y="0"/>
                      <a:pt x="20770" y="0"/>
                      <a:pt x="20770" y="0"/>
                    </a:cubicBezTo>
                    <a:cubicBezTo>
                      <a:pt x="23737" y="0"/>
                      <a:pt x="23737" y="5934"/>
                      <a:pt x="23737" y="5934"/>
                    </a:cubicBezTo>
                    <a:lnTo>
                      <a:pt x="8902" y="38571"/>
                    </a:lnTo>
                    <a:cubicBezTo>
                      <a:pt x="11868" y="41538"/>
                      <a:pt x="8902" y="44505"/>
                      <a:pt x="5934" y="4450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325F3EF2-35AA-4626-9FD2-90E6798BF075}"/>
                  </a:ext>
                </a:extLst>
              </p:cNvPr>
              <p:cNvSpPr/>
              <p:nvPr/>
            </p:nvSpPr>
            <p:spPr>
              <a:xfrm>
                <a:off x="13951783" y="12157679"/>
                <a:ext cx="23736" cy="44505"/>
              </a:xfrm>
              <a:custGeom>
                <a:avLst/>
                <a:gdLst>
                  <a:gd name="connsiteX0" fmla="*/ 5934 w 23736"/>
                  <a:gd name="connsiteY0" fmla="*/ 44505 h 44505"/>
                  <a:gd name="connsiteX1" fmla="*/ 5934 w 23736"/>
                  <a:gd name="connsiteY1" fmla="*/ 44505 h 44505"/>
                  <a:gd name="connsiteX2" fmla="*/ 0 w 23736"/>
                  <a:gd name="connsiteY2" fmla="*/ 35605 h 44505"/>
                  <a:gd name="connsiteX3" fmla="*/ 14835 w 23736"/>
                  <a:gd name="connsiteY3" fmla="*/ 2967 h 44505"/>
                  <a:gd name="connsiteX4" fmla="*/ 20770 w 23736"/>
                  <a:gd name="connsiteY4" fmla="*/ 0 h 44505"/>
                  <a:gd name="connsiteX5" fmla="*/ 23737 w 23736"/>
                  <a:gd name="connsiteY5" fmla="*/ 5934 h 44505"/>
                  <a:gd name="connsiteX6" fmla="*/ 8902 w 23736"/>
                  <a:gd name="connsiteY6" fmla="*/ 38572 h 44505"/>
                  <a:gd name="connsiteX7" fmla="*/ 5934 w 23736"/>
                  <a:gd name="connsiteY7" fmla="*/ 44505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736" h="44505">
                    <a:moveTo>
                      <a:pt x="5934" y="44505"/>
                    </a:moveTo>
                    <a:cubicBezTo>
                      <a:pt x="5934" y="44505"/>
                      <a:pt x="5934" y="44505"/>
                      <a:pt x="5934" y="44505"/>
                    </a:cubicBezTo>
                    <a:cubicBezTo>
                      <a:pt x="0" y="41538"/>
                      <a:pt x="0" y="38572"/>
                      <a:pt x="0" y="35605"/>
                    </a:cubicBezTo>
                    <a:lnTo>
                      <a:pt x="14835" y="2967"/>
                    </a:lnTo>
                    <a:cubicBezTo>
                      <a:pt x="14835" y="0"/>
                      <a:pt x="20770" y="0"/>
                      <a:pt x="20770" y="0"/>
                    </a:cubicBezTo>
                    <a:cubicBezTo>
                      <a:pt x="23737" y="0"/>
                      <a:pt x="23737" y="5934"/>
                      <a:pt x="23737" y="5934"/>
                    </a:cubicBezTo>
                    <a:lnTo>
                      <a:pt x="8902" y="38572"/>
                    </a:lnTo>
                    <a:cubicBezTo>
                      <a:pt x="8902" y="44505"/>
                      <a:pt x="8902" y="44505"/>
                      <a:pt x="5934" y="4450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5" name="图形 1">
              <a:extLst>
                <a:ext uri="{FF2B5EF4-FFF2-40B4-BE49-F238E27FC236}">
                  <a16:creationId xmlns:a16="http://schemas.microsoft.com/office/drawing/2014/main" id="{34F76526-7C6D-4853-AE42-629FE21DF42B}"/>
                </a:ext>
              </a:extLst>
            </p:cNvPr>
            <p:cNvGrpSpPr/>
            <p:nvPr/>
          </p:nvGrpSpPr>
          <p:grpSpPr>
            <a:xfrm>
              <a:off x="12513761" y="12110206"/>
              <a:ext cx="482637" cy="332308"/>
              <a:chOff x="12513761" y="12110206"/>
              <a:chExt cx="482637" cy="332308"/>
            </a:xfrm>
          </p:grpSpPr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C310ABC8-B54C-4CD5-AB9F-386A37C65C7B}"/>
                  </a:ext>
                </a:extLst>
              </p:cNvPr>
              <p:cNvSpPr/>
              <p:nvPr/>
            </p:nvSpPr>
            <p:spPr>
              <a:xfrm>
                <a:off x="12533541" y="12110206"/>
                <a:ext cx="178021" cy="216593"/>
              </a:xfrm>
              <a:custGeom>
                <a:avLst/>
                <a:gdLst>
                  <a:gd name="connsiteX0" fmla="*/ 2967 w 178021"/>
                  <a:gd name="connsiteY0" fmla="*/ 180989 h 216593"/>
                  <a:gd name="connsiteX1" fmla="*/ 0 w 178021"/>
                  <a:gd name="connsiteY1" fmla="*/ 0 h 216593"/>
                  <a:gd name="connsiteX2" fmla="*/ 178022 w 178021"/>
                  <a:gd name="connsiteY2" fmla="*/ 0 h 216593"/>
                  <a:gd name="connsiteX3" fmla="*/ 160220 w 178021"/>
                  <a:gd name="connsiteY3" fmla="*/ 189891 h 216593"/>
                  <a:gd name="connsiteX4" fmla="*/ 14835 w 178021"/>
                  <a:gd name="connsiteY4" fmla="*/ 216594 h 216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8021" h="216593">
                    <a:moveTo>
                      <a:pt x="2967" y="180989"/>
                    </a:moveTo>
                    <a:lnTo>
                      <a:pt x="0" y="0"/>
                    </a:lnTo>
                    <a:lnTo>
                      <a:pt x="178022" y="0"/>
                    </a:lnTo>
                    <a:lnTo>
                      <a:pt x="160220" y="189891"/>
                    </a:lnTo>
                    <a:lnTo>
                      <a:pt x="14835" y="216594"/>
                    </a:ln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86BB9449-F933-4893-A8FC-A227783F6D32}"/>
                  </a:ext>
                </a:extLst>
              </p:cNvPr>
              <p:cNvSpPr/>
              <p:nvPr/>
            </p:nvSpPr>
            <p:spPr>
              <a:xfrm>
                <a:off x="12513761" y="12246690"/>
                <a:ext cx="482637" cy="154286"/>
              </a:xfrm>
              <a:custGeom>
                <a:avLst/>
                <a:gdLst>
                  <a:gd name="connsiteX0" fmla="*/ 7912 w 482637"/>
                  <a:gd name="connsiteY0" fmla="*/ 44505 h 154286"/>
                  <a:gd name="connsiteX1" fmla="*/ 188900 w 482637"/>
                  <a:gd name="connsiteY1" fmla="*/ 0 h 154286"/>
                  <a:gd name="connsiteX2" fmla="*/ 319451 w 482637"/>
                  <a:gd name="connsiteY2" fmla="*/ 77143 h 154286"/>
                  <a:gd name="connsiteX3" fmla="*/ 482637 w 482637"/>
                  <a:gd name="connsiteY3" fmla="*/ 154286 h 154286"/>
                  <a:gd name="connsiteX4" fmla="*/ 7912 w 482637"/>
                  <a:gd name="connsiteY4" fmla="*/ 154286 h 154286"/>
                  <a:gd name="connsiteX5" fmla="*/ 7912 w 482637"/>
                  <a:gd name="connsiteY5" fmla="*/ 44505 h 154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2637" h="154286">
                    <a:moveTo>
                      <a:pt x="7912" y="44505"/>
                    </a:moveTo>
                    <a:cubicBezTo>
                      <a:pt x="7912" y="44505"/>
                      <a:pt x="129560" y="62308"/>
                      <a:pt x="188900" y="0"/>
                    </a:cubicBezTo>
                    <a:cubicBezTo>
                      <a:pt x="188900" y="0"/>
                      <a:pt x="274945" y="68242"/>
                      <a:pt x="319451" y="77143"/>
                    </a:cubicBezTo>
                    <a:cubicBezTo>
                      <a:pt x="363956" y="86044"/>
                      <a:pt x="470769" y="83077"/>
                      <a:pt x="482637" y="154286"/>
                    </a:cubicBezTo>
                    <a:lnTo>
                      <a:pt x="7912" y="154286"/>
                    </a:lnTo>
                    <a:cubicBezTo>
                      <a:pt x="7912" y="151319"/>
                      <a:pt x="-9890" y="91978"/>
                      <a:pt x="7912" y="44505"/>
                    </a:cubicBezTo>
                    <a:close/>
                  </a:path>
                </a:pathLst>
              </a:custGeom>
              <a:solidFill>
                <a:srgbClr val="7E94B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E233393E-BF5C-4F2B-A38A-6716B13CB5F8}"/>
                  </a:ext>
                </a:extLst>
              </p:cNvPr>
              <p:cNvSpPr/>
              <p:nvPr/>
            </p:nvSpPr>
            <p:spPr>
              <a:xfrm>
                <a:off x="12521673" y="12398009"/>
                <a:ext cx="474725" cy="44505"/>
              </a:xfrm>
              <a:custGeom>
                <a:avLst/>
                <a:gdLst>
                  <a:gd name="connsiteX0" fmla="*/ 0 w 474725"/>
                  <a:gd name="connsiteY0" fmla="*/ 0 h 44505"/>
                  <a:gd name="connsiteX1" fmla="*/ 474726 w 474725"/>
                  <a:gd name="connsiteY1" fmla="*/ 0 h 44505"/>
                  <a:gd name="connsiteX2" fmla="*/ 474726 w 474725"/>
                  <a:gd name="connsiteY2" fmla="*/ 44505 h 44505"/>
                  <a:gd name="connsiteX3" fmla="*/ 0 w 474725"/>
                  <a:gd name="connsiteY3" fmla="*/ 44505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725" h="44505">
                    <a:moveTo>
                      <a:pt x="0" y="0"/>
                    </a:moveTo>
                    <a:lnTo>
                      <a:pt x="474726" y="0"/>
                    </a:lnTo>
                    <a:lnTo>
                      <a:pt x="474726" y="44505"/>
                    </a:lnTo>
                    <a:lnTo>
                      <a:pt x="0" y="44505"/>
                    </a:ln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E666D87E-AA2B-4DBD-86B5-8309FA4FF5A3}"/>
                  </a:ext>
                </a:extLst>
              </p:cNvPr>
              <p:cNvSpPr/>
              <p:nvPr/>
            </p:nvSpPr>
            <p:spPr>
              <a:xfrm>
                <a:off x="12515739" y="12235564"/>
                <a:ext cx="195082" cy="61566"/>
              </a:xfrm>
              <a:custGeom>
                <a:avLst/>
                <a:gdLst>
                  <a:gd name="connsiteX0" fmla="*/ 41538 w 195082"/>
                  <a:gd name="connsiteY0" fmla="*/ 61566 h 61566"/>
                  <a:gd name="connsiteX1" fmla="*/ 5934 w 195082"/>
                  <a:gd name="connsiteY1" fmla="*/ 58599 h 61566"/>
                  <a:gd name="connsiteX2" fmla="*/ 0 w 195082"/>
                  <a:gd name="connsiteY2" fmla="*/ 52664 h 61566"/>
                  <a:gd name="connsiteX3" fmla="*/ 5934 w 195082"/>
                  <a:gd name="connsiteY3" fmla="*/ 46731 h 61566"/>
                  <a:gd name="connsiteX4" fmla="*/ 183956 w 195082"/>
                  <a:gd name="connsiteY4" fmla="*/ 2225 h 61566"/>
                  <a:gd name="connsiteX5" fmla="*/ 192857 w 195082"/>
                  <a:gd name="connsiteY5" fmla="*/ 2225 h 61566"/>
                  <a:gd name="connsiteX6" fmla="*/ 192857 w 195082"/>
                  <a:gd name="connsiteY6" fmla="*/ 11126 h 61566"/>
                  <a:gd name="connsiteX7" fmla="*/ 41538 w 195082"/>
                  <a:gd name="connsiteY7" fmla="*/ 61566 h 61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082" h="61566">
                    <a:moveTo>
                      <a:pt x="41538" y="61566"/>
                    </a:moveTo>
                    <a:cubicBezTo>
                      <a:pt x="20770" y="61566"/>
                      <a:pt x="8901" y="58599"/>
                      <a:pt x="5934" y="58599"/>
                    </a:cubicBezTo>
                    <a:cubicBezTo>
                      <a:pt x="2967" y="58599"/>
                      <a:pt x="0" y="55632"/>
                      <a:pt x="0" y="52664"/>
                    </a:cubicBezTo>
                    <a:cubicBezTo>
                      <a:pt x="0" y="49698"/>
                      <a:pt x="2967" y="46731"/>
                      <a:pt x="5934" y="46731"/>
                    </a:cubicBezTo>
                    <a:cubicBezTo>
                      <a:pt x="5934" y="46731"/>
                      <a:pt x="115714" y="61566"/>
                      <a:pt x="183956" y="2225"/>
                    </a:cubicBezTo>
                    <a:cubicBezTo>
                      <a:pt x="186923" y="-742"/>
                      <a:pt x="189890" y="-742"/>
                      <a:pt x="192857" y="2225"/>
                    </a:cubicBezTo>
                    <a:cubicBezTo>
                      <a:pt x="195824" y="5193"/>
                      <a:pt x="195824" y="8159"/>
                      <a:pt x="192857" y="11126"/>
                    </a:cubicBezTo>
                    <a:cubicBezTo>
                      <a:pt x="145384" y="55632"/>
                      <a:pt x="80110" y="61566"/>
                      <a:pt x="41538" y="6156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D23ADA16-9064-4431-AC14-AB38F8D2A907}"/>
                  </a:ext>
                </a:extLst>
              </p:cNvPr>
              <p:cNvSpPr/>
              <p:nvPr/>
            </p:nvSpPr>
            <p:spPr>
              <a:xfrm>
                <a:off x="12706371" y="12262267"/>
                <a:ext cx="40054" cy="40796"/>
              </a:xfrm>
              <a:custGeom>
                <a:avLst/>
                <a:gdLst>
                  <a:gd name="connsiteX0" fmla="*/ 5193 w 40054"/>
                  <a:gd name="connsiteY0" fmla="*/ 40796 h 40796"/>
                  <a:gd name="connsiteX1" fmla="*/ 2225 w 40054"/>
                  <a:gd name="connsiteY1" fmla="*/ 37830 h 40796"/>
                  <a:gd name="connsiteX2" fmla="*/ 2225 w 40054"/>
                  <a:gd name="connsiteY2" fmla="*/ 28929 h 40796"/>
                  <a:gd name="connsiteX3" fmla="*/ 28929 w 40054"/>
                  <a:gd name="connsiteY3" fmla="*/ 2225 h 40796"/>
                  <a:gd name="connsiteX4" fmla="*/ 37830 w 40054"/>
                  <a:gd name="connsiteY4" fmla="*/ 2225 h 40796"/>
                  <a:gd name="connsiteX5" fmla="*/ 37830 w 40054"/>
                  <a:gd name="connsiteY5" fmla="*/ 11126 h 40796"/>
                  <a:gd name="connsiteX6" fmla="*/ 11126 w 40054"/>
                  <a:gd name="connsiteY6" fmla="*/ 37830 h 40796"/>
                  <a:gd name="connsiteX7" fmla="*/ 5193 w 40054"/>
                  <a:gd name="connsiteY7" fmla="*/ 40796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4" h="40796">
                    <a:moveTo>
                      <a:pt x="5193" y="40796"/>
                    </a:moveTo>
                    <a:cubicBezTo>
                      <a:pt x="5193" y="40796"/>
                      <a:pt x="2225" y="40796"/>
                      <a:pt x="2225" y="37830"/>
                    </a:cubicBezTo>
                    <a:cubicBezTo>
                      <a:pt x="-742" y="34863"/>
                      <a:pt x="-742" y="31896"/>
                      <a:pt x="2225" y="28929"/>
                    </a:cubicBezTo>
                    <a:lnTo>
                      <a:pt x="28929" y="2225"/>
                    </a:lnTo>
                    <a:cubicBezTo>
                      <a:pt x="31896" y="-742"/>
                      <a:pt x="34863" y="-742"/>
                      <a:pt x="37830" y="2225"/>
                    </a:cubicBezTo>
                    <a:cubicBezTo>
                      <a:pt x="40796" y="5193"/>
                      <a:pt x="40796" y="8160"/>
                      <a:pt x="37830" y="11126"/>
                    </a:cubicBezTo>
                    <a:lnTo>
                      <a:pt x="11126" y="37830"/>
                    </a:lnTo>
                    <a:cubicBezTo>
                      <a:pt x="8160" y="37830"/>
                      <a:pt x="8160" y="40796"/>
                      <a:pt x="5193" y="407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A260F9D9-B106-4E93-95E2-4FC4D4FB9B72}"/>
                  </a:ext>
                </a:extLst>
              </p:cNvPr>
              <p:cNvSpPr/>
              <p:nvPr/>
            </p:nvSpPr>
            <p:spPr>
              <a:xfrm>
                <a:off x="12744942" y="12286004"/>
                <a:ext cx="40054" cy="40796"/>
              </a:xfrm>
              <a:custGeom>
                <a:avLst/>
                <a:gdLst>
                  <a:gd name="connsiteX0" fmla="*/ 5192 w 40054"/>
                  <a:gd name="connsiteY0" fmla="*/ 40797 h 40796"/>
                  <a:gd name="connsiteX1" fmla="*/ 2225 w 40054"/>
                  <a:gd name="connsiteY1" fmla="*/ 37829 h 40796"/>
                  <a:gd name="connsiteX2" fmla="*/ 2225 w 40054"/>
                  <a:gd name="connsiteY2" fmla="*/ 28929 h 40796"/>
                  <a:gd name="connsiteX3" fmla="*/ 28929 w 40054"/>
                  <a:gd name="connsiteY3" fmla="*/ 2225 h 40796"/>
                  <a:gd name="connsiteX4" fmla="*/ 37829 w 40054"/>
                  <a:gd name="connsiteY4" fmla="*/ 2225 h 40796"/>
                  <a:gd name="connsiteX5" fmla="*/ 37829 w 40054"/>
                  <a:gd name="connsiteY5" fmla="*/ 11126 h 40796"/>
                  <a:gd name="connsiteX6" fmla="*/ 11126 w 40054"/>
                  <a:gd name="connsiteY6" fmla="*/ 37829 h 40796"/>
                  <a:gd name="connsiteX7" fmla="*/ 5192 w 40054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4" h="40796">
                    <a:moveTo>
                      <a:pt x="5192" y="40797"/>
                    </a:moveTo>
                    <a:cubicBezTo>
                      <a:pt x="5192" y="40797"/>
                      <a:pt x="2225" y="40797"/>
                      <a:pt x="2225" y="37829"/>
                    </a:cubicBezTo>
                    <a:cubicBezTo>
                      <a:pt x="-742" y="34862"/>
                      <a:pt x="-742" y="31895"/>
                      <a:pt x="2225" y="28929"/>
                    </a:cubicBezTo>
                    <a:lnTo>
                      <a:pt x="28929" y="2225"/>
                    </a:lnTo>
                    <a:cubicBezTo>
                      <a:pt x="31895" y="-742"/>
                      <a:pt x="34862" y="-742"/>
                      <a:pt x="37829" y="2225"/>
                    </a:cubicBezTo>
                    <a:cubicBezTo>
                      <a:pt x="40797" y="5192"/>
                      <a:pt x="40797" y="8159"/>
                      <a:pt x="37829" y="11126"/>
                    </a:cubicBezTo>
                    <a:lnTo>
                      <a:pt x="11126" y="37829"/>
                    </a:lnTo>
                    <a:cubicBezTo>
                      <a:pt x="8159" y="40797"/>
                      <a:pt x="5192" y="40797"/>
                      <a:pt x="5192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DE221A9C-00F3-4B90-9780-BDC8B91EDC8A}"/>
                </a:ext>
              </a:extLst>
            </p:cNvPr>
            <p:cNvSpPr/>
            <p:nvPr/>
          </p:nvSpPr>
          <p:spPr>
            <a:xfrm>
              <a:off x="12422302" y="9956141"/>
              <a:ext cx="1484974" cy="2222307"/>
            </a:xfrm>
            <a:custGeom>
              <a:avLst/>
              <a:gdLst>
                <a:gd name="connsiteX0" fmla="*/ 1007282 w 1484974"/>
                <a:gd name="connsiteY0" fmla="*/ 17801 h 2222307"/>
                <a:gd name="connsiteX1" fmla="*/ 1318821 w 1484974"/>
                <a:gd name="connsiteY1" fmla="*/ 1097802 h 2222307"/>
                <a:gd name="connsiteX2" fmla="*/ 1484975 w 1484974"/>
                <a:gd name="connsiteY2" fmla="*/ 2070989 h 2222307"/>
                <a:gd name="connsiteX3" fmla="*/ 1203107 w 1484974"/>
                <a:gd name="connsiteY3" fmla="*/ 2183736 h 2222307"/>
                <a:gd name="connsiteX4" fmla="*/ 912338 w 1484974"/>
                <a:gd name="connsiteY4" fmla="*/ 1299560 h 2222307"/>
                <a:gd name="connsiteX5" fmla="*/ 523656 w 1484974"/>
                <a:gd name="connsiteY5" fmla="*/ 489560 h 2222307"/>
                <a:gd name="connsiteX6" fmla="*/ 479151 w 1484974"/>
                <a:gd name="connsiteY6" fmla="*/ 1436044 h 2222307"/>
                <a:gd name="connsiteX7" fmla="*/ 336734 w 1484974"/>
                <a:gd name="connsiteY7" fmla="*/ 2213406 h 2222307"/>
                <a:gd name="connsiteX8" fmla="*/ 57832 w 1484974"/>
                <a:gd name="connsiteY8" fmla="*/ 2222308 h 2222307"/>
                <a:gd name="connsiteX9" fmla="*/ 87502 w 1484974"/>
                <a:gd name="connsiteY9" fmla="*/ 1418241 h 2222307"/>
                <a:gd name="connsiteX10" fmla="*/ 10360 w 1484974"/>
                <a:gd name="connsiteY10" fmla="*/ 0 h 2222307"/>
                <a:gd name="connsiteX11" fmla="*/ 1007282 w 1484974"/>
                <a:gd name="connsiteY11" fmla="*/ 17801 h 222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84974" h="2222307">
                  <a:moveTo>
                    <a:pt x="1007282" y="17801"/>
                  </a:moveTo>
                  <a:lnTo>
                    <a:pt x="1318821" y="1097802"/>
                  </a:lnTo>
                  <a:lnTo>
                    <a:pt x="1484975" y="2070989"/>
                  </a:lnTo>
                  <a:lnTo>
                    <a:pt x="1203107" y="2183736"/>
                  </a:lnTo>
                  <a:lnTo>
                    <a:pt x="912338" y="1299560"/>
                  </a:lnTo>
                  <a:cubicBezTo>
                    <a:pt x="912338" y="1299560"/>
                    <a:pt x="532557" y="504396"/>
                    <a:pt x="523656" y="489560"/>
                  </a:cubicBezTo>
                  <a:cubicBezTo>
                    <a:pt x="508821" y="459890"/>
                    <a:pt x="479151" y="1436044"/>
                    <a:pt x="479151" y="1436044"/>
                  </a:cubicBezTo>
                  <a:lnTo>
                    <a:pt x="336734" y="2213406"/>
                  </a:lnTo>
                  <a:lnTo>
                    <a:pt x="57832" y="2222308"/>
                  </a:lnTo>
                  <a:cubicBezTo>
                    <a:pt x="57832" y="2222308"/>
                    <a:pt x="93437" y="1516153"/>
                    <a:pt x="87502" y="1418241"/>
                  </a:cubicBezTo>
                  <a:cubicBezTo>
                    <a:pt x="78601" y="1269890"/>
                    <a:pt x="-34145" y="94945"/>
                    <a:pt x="10360" y="0"/>
                  </a:cubicBezTo>
                  <a:cubicBezTo>
                    <a:pt x="692778" y="29670"/>
                    <a:pt x="1007282" y="17801"/>
                    <a:pt x="1007282" y="17801"/>
                  </a:cubicBez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7E1355E1-2554-42B6-92A1-82362C5ECD06}"/>
                </a:ext>
              </a:extLst>
            </p:cNvPr>
            <p:cNvSpPr/>
            <p:nvPr/>
          </p:nvSpPr>
          <p:spPr>
            <a:xfrm>
              <a:off x="12940024" y="10095591"/>
              <a:ext cx="68242" cy="356043"/>
            </a:xfrm>
            <a:custGeom>
              <a:avLst/>
              <a:gdLst>
                <a:gd name="connsiteX0" fmla="*/ 5934 w 68242"/>
                <a:gd name="connsiteY0" fmla="*/ 356044 h 356043"/>
                <a:gd name="connsiteX1" fmla="*/ 5934 w 68242"/>
                <a:gd name="connsiteY1" fmla="*/ 356044 h 356043"/>
                <a:gd name="connsiteX2" fmla="*/ 0 w 68242"/>
                <a:gd name="connsiteY2" fmla="*/ 347143 h 356043"/>
                <a:gd name="connsiteX3" fmla="*/ 56374 w 68242"/>
                <a:gd name="connsiteY3" fmla="*/ 5934 h 356043"/>
                <a:gd name="connsiteX4" fmla="*/ 62308 w 68242"/>
                <a:gd name="connsiteY4" fmla="*/ 0 h 356043"/>
                <a:gd name="connsiteX5" fmla="*/ 68242 w 68242"/>
                <a:gd name="connsiteY5" fmla="*/ 5934 h 356043"/>
                <a:gd name="connsiteX6" fmla="*/ 11869 w 68242"/>
                <a:gd name="connsiteY6" fmla="*/ 350110 h 356043"/>
                <a:gd name="connsiteX7" fmla="*/ 5934 w 68242"/>
                <a:gd name="connsiteY7" fmla="*/ 356044 h 356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242" h="356043">
                  <a:moveTo>
                    <a:pt x="5934" y="356044"/>
                  </a:moveTo>
                  <a:cubicBezTo>
                    <a:pt x="5934" y="356044"/>
                    <a:pt x="5934" y="356044"/>
                    <a:pt x="5934" y="356044"/>
                  </a:cubicBezTo>
                  <a:cubicBezTo>
                    <a:pt x="0" y="353077"/>
                    <a:pt x="0" y="350110"/>
                    <a:pt x="0" y="347143"/>
                  </a:cubicBezTo>
                  <a:cubicBezTo>
                    <a:pt x="47473" y="237363"/>
                    <a:pt x="56374" y="8902"/>
                    <a:pt x="56374" y="5934"/>
                  </a:cubicBezTo>
                  <a:cubicBezTo>
                    <a:pt x="56374" y="2967"/>
                    <a:pt x="59341" y="0"/>
                    <a:pt x="62308" y="0"/>
                  </a:cubicBezTo>
                  <a:cubicBezTo>
                    <a:pt x="65275" y="0"/>
                    <a:pt x="68242" y="2967"/>
                    <a:pt x="68242" y="5934"/>
                  </a:cubicBezTo>
                  <a:cubicBezTo>
                    <a:pt x="68242" y="14835"/>
                    <a:pt x="59341" y="237363"/>
                    <a:pt x="11869" y="350110"/>
                  </a:cubicBezTo>
                  <a:cubicBezTo>
                    <a:pt x="11869" y="353077"/>
                    <a:pt x="8902" y="356044"/>
                    <a:pt x="5934" y="356044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BE98B701-9611-4315-B2C8-D888F674295D}"/>
                </a:ext>
              </a:extLst>
            </p:cNvPr>
            <p:cNvSpPr/>
            <p:nvPr/>
          </p:nvSpPr>
          <p:spPr>
            <a:xfrm>
              <a:off x="12968466" y="10027350"/>
              <a:ext cx="152547" cy="347142"/>
            </a:xfrm>
            <a:custGeom>
              <a:avLst/>
              <a:gdLst>
                <a:gd name="connsiteX0" fmla="*/ 7163 w 152547"/>
                <a:gd name="connsiteY0" fmla="*/ 347142 h 347142"/>
                <a:gd name="connsiteX1" fmla="*/ 1229 w 152547"/>
                <a:gd name="connsiteY1" fmla="*/ 344176 h 347142"/>
                <a:gd name="connsiteX2" fmla="*/ 4196 w 152547"/>
                <a:gd name="connsiteY2" fmla="*/ 335274 h 347142"/>
                <a:gd name="connsiteX3" fmla="*/ 108042 w 152547"/>
                <a:gd name="connsiteY3" fmla="*/ 261099 h 347142"/>
                <a:gd name="connsiteX4" fmla="*/ 140680 w 152547"/>
                <a:gd name="connsiteY4" fmla="*/ 5934 h 347142"/>
                <a:gd name="connsiteX5" fmla="*/ 146614 w 152547"/>
                <a:gd name="connsiteY5" fmla="*/ 0 h 347142"/>
                <a:gd name="connsiteX6" fmla="*/ 152548 w 152547"/>
                <a:gd name="connsiteY6" fmla="*/ 5934 h 347142"/>
                <a:gd name="connsiteX7" fmla="*/ 119910 w 152547"/>
                <a:gd name="connsiteY7" fmla="*/ 267033 h 347142"/>
                <a:gd name="connsiteX8" fmla="*/ 13098 w 152547"/>
                <a:gd name="connsiteY8" fmla="*/ 344176 h 347142"/>
                <a:gd name="connsiteX9" fmla="*/ 7163 w 152547"/>
                <a:gd name="connsiteY9" fmla="*/ 347142 h 34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547" h="347142">
                  <a:moveTo>
                    <a:pt x="7163" y="347142"/>
                  </a:moveTo>
                  <a:cubicBezTo>
                    <a:pt x="4196" y="347142"/>
                    <a:pt x="4196" y="347142"/>
                    <a:pt x="1229" y="344176"/>
                  </a:cubicBezTo>
                  <a:cubicBezTo>
                    <a:pt x="-1738" y="341209"/>
                    <a:pt x="1229" y="338242"/>
                    <a:pt x="4196" y="335274"/>
                  </a:cubicBezTo>
                  <a:cubicBezTo>
                    <a:pt x="42768" y="311538"/>
                    <a:pt x="99141" y="270000"/>
                    <a:pt x="108042" y="261099"/>
                  </a:cubicBezTo>
                  <a:cubicBezTo>
                    <a:pt x="116944" y="249231"/>
                    <a:pt x="131779" y="97912"/>
                    <a:pt x="140680" y="5934"/>
                  </a:cubicBezTo>
                  <a:cubicBezTo>
                    <a:pt x="140680" y="2967"/>
                    <a:pt x="143647" y="0"/>
                    <a:pt x="146614" y="0"/>
                  </a:cubicBezTo>
                  <a:cubicBezTo>
                    <a:pt x="149580" y="0"/>
                    <a:pt x="152548" y="2967"/>
                    <a:pt x="152548" y="5934"/>
                  </a:cubicBezTo>
                  <a:cubicBezTo>
                    <a:pt x="149580" y="47473"/>
                    <a:pt x="128812" y="252198"/>
                    <a:pt x="119910" y="267033"/>
                  </a:cubicBezTo>
                  <a:cubicBezTo>
                    <a:pt x="108042" y="281868"/>
                    <a:pt x="21998" y="338242"/>
                    <a:pt x="13098" y="344176"/>
                  </a:cubicBezTo>
                  <a:cubicBezTo>
                    <a:pt x="10130" y="347142"/>
                    <a:pt x="7163" y="347142"/>
                    <a:pt x="7163" y="347142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E7D7EA69-1C34-4B31-8C4B-83017C3A9515}"/>
                </a:ext>
              </a:extLst>
            </p:cNvPr>
            <p:cNvSpPr/>
            <p:nvPr/>
          </p:nvSpPr>
          <p:spPr>
            <a:xfrm>
              <a:off x="12405958" y="8493393"/>
              <a:ext cx="1042224" cy="1515975"/>
            </a:xfrm>
            <a:custGeom>
              <a:avLst/>
              <a:gdLst>
                <a:gd name="connsiteX0" fmla="*/ 403517 w 1042224"/>
                <a:gd name="connsiteY0" fmla="*/ 0 h 1515975"/>
                <a:gd name="connsiteX1" fmla="*/ 640879 w 1042224"/>
                <a:gd name="connsiteY1" fmla="*/ 8901 h 1515975"/>
                <a:gd name="connsiteX2" fmla="*/ 958352 w 1042224"/>
                <a:gd name="connsiteY2" fmla="*/ 118681 h 1515975"/>
                <a:gd name="connsiteX3" fmla="*/ 1041429 w 1042224"/>
                <a:gd name="connsiteY3" fmla="*/ 1486484 h 1515975"/>
                <a:gd name="connsiteX4" fmla="*/ 0 w 1042224"/>
                <a:gd name="connsiteY4" fmla="*/ 1462748 h 1515975"/>
                <a:gd name="connsiteX5" fmla="*/ 112748 w 1042224"/>
                <a:gd name="connsiteY5" fmla="*/ 91978 h 1515975"/>
                <a:gd name="connsiteX6" fmla="*/ 403517 w 1042224"/>
                <a:gd name="connsiteY6" fmla="*/ 0 h 1515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2224" h="1515975">
                  <a:moveTo>
                    <a:pt x="403517" y="0"/>
                  </a:moveTo>
                  <a:cubicBezTo>
                    <a:pt x="403517" y="0"/>
                    <a:pt x="528132" y="65275"/>
                    <a:pt x="640879" y="8901"/>
                  </a:cubicBezTo>
                  <a:cubicBezTo>
                    <a:pt x="640879" y="8901"/>
                    <a:pt x="916814" y="62308"/>
                    <a:pt x="958352" y="118681"/>
                  </a:cubicBezTo>
                  <a:cubicBezTo>
                    <a:pt x="982088" y="151319"/>
                    <a:pt x="1050330" y="1421209"/>
                    <a:pt x="1041429" y="1486484"/>
                  </a:cubicBezTo>
                  <a:cubicBezTo>
                    <a:pt x="1041429" y="1486484"/>
                    <a:pt x="563736" y="1566594"/>
                    <a:pt x="0" y="1462748"/>
                  </a:cubicBezTo>
                  <a:cubicBezTo>
                    <a:pt x="0" y="1115605"/>
                    <a:pt x="71210" y="121649"/>
                    <a:pt x="112748" y="91978"/>
                  </a:cubicBezTo>
                  <a:cubicBezTo>
                    <a:pt x="180989" y="44505"/>
                    <a:pt x="403517" y="0"/>
                    <a:pt x="403517" y="0"/>
                  </a:cubicBezTo>
                  <a:close/>
                </a:path>
              </a:pathLst>
            </a:custGeom>
            <a:solidFill>
              <a:srgbClr val="708686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8A2F90B5-03B2-404C-8D5A-7780265DFDBF}"/>
                </a:ext>
              </a:extLst>
            </p:cNvPr>
            <p:cNvSpPr/>
            <p:nvPr/>
          </p:nvSpPr>
          <p:spPr>
            <a:xfrm>
              <a:off x="13361343" y="8609108"/>
              <a:ext cx="51668" cy="720989"/>
            </a:xfrm>
            <a:custGeom>
              <a:avLst/>
              <a:gdLst>
                <a:gd name="connsiteX0" fmla="*/ 47473 w 51668"/>
                <a:gd name="connsiteY0" fmla="*/ 720989 h 720989"/>
                <a:gd name="connsiteX1" fmla="*/ 41538 w 51668"/>
                <a:gd name="connsiteY1" fmla="*/ 715055 h 720989"/>
                <a:gd name="connsiteX2" fmla="*/ 0 w 51668"/>
                <a:gd name="connsiteY2" fmla="*/ 5934 h 720989"/>
                <a:gd name="connsiteX3" fmla="*/ 2967 w 51668"/>
                <a:gd name="connsiteY3" fmla="*/ 0 h 720989"/>
                <a:gd name="connsiteX4" fmla="*/ 8901 w 51668"/>
                <a:gd name="connsiteY4" fmla="*/ 2967 h 720989"/>
                <a:gd name="connsiteX5" fmla="*/ 50440 w 51668"/>
                <a:gd name="connsiteY5" fmla="*/ 715055 h 720989"/>
                <a:gd name="connsiteX6" fmla="*/ 47473 w 51668"/>
                <a:gd name="connsiteY6" fmla="*/ 720989 h 720989"/>
                <a:gd name="connsiteX7" fmla="*/ 47473 w 51668"/>
                <a:gd name="connsiteY7" fmla="*/ 720989 h 720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68" h="720989">
                  <a:moveTo>
                    <a:pt x="47473" y="720989"/>
                  </a:moveTo>
                  <a:cubicBezTo>
                    <a:pt x="44505" y="720989"/>
                    <a:pt x="41538" y="718022"/>
                    <a:pt x="41538" y="715055"/>
                  </a:cubicBezTo>
                  <a:cubicBezTo>
                    <a:pt x="41538" y="709121"/>
                    <a:pt x="5934" y="44505"/>
                    <a:pt x="0" y="5934"/>
                  </a:cubicBezTo>
                  <a:cubicBezTo>
                    <a:pt x="0" y="2967"/>
                    <a:pt x="0" y="0"/>
                    <a:pt x="2967" y="0"/>
                  </a:cubicBezTo>
                  <a:cubicBezTo>
                    <a:pt x="5934" y="0"/>
                    <a:pt x="8901" y="0"/>
                    <a:pt x="8901" y="2967"/>
                  </a:cubicBezTo>
                  <a:cubicBezTo>
                    <a:pt x="17802" y="41538"/>
                    <a:pt x="50440" y="688352"/>
                    <a:pt x="50440" y="715055"/>
                  </a:cubicBezTo>
                  <a:cubicBezTo>
                    <a:pt x="53406" y="718022"/>
                    <a:pt x="50440" y="720989"/>
                    <a:pt x="47473" y="720989"/>
                  </a:cubicBezTo>
                  <a:lnTo>
                    <a:pt x="47473" y="720989"/>
                  </a:ln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6CF2B590-1CBD-4AFC-8069-92E5DE64F1F7}"/>
                </a:ext>
              </a:extLst>
            </p:cNvPr>
            <p:cNvSpPr/>
            <p:nvPr/>
          </p:nvSpPr>
          <p:spPr>
            <a:xfrm>
              <a:off x="14210959" y="8821958"/>
              <a:ext cx="242994" cy="294512"/>
            </a:xfrm>
            <a:custGeom>
              <a:avLst/>
              <a:gdLst>
                <a:gd name="connsiteX0" fmla="*/ 236319 w 242994"/>
                <a:gd name="connsiteY0" fmla="*/ 160996 h 294512"/>
                <a:gd name="connsiteX1" fmla="*/ 242252 w 242994"/>
                <a:gd name="connsiteY1" fmla="*/ 107589 h 294512"/>
                <a:gd name="connsiteX2" fmla="*/ 239286 w 242994"/>
                <a:gd name="connsiteY2" fmla="*/ 71985 h 294512"/>
                <a:gd name="connsiteX3" fmla="*/ 197747 w 242994"/>
                <a:gd name="connsiteY3" fmla="*/ 36380 h 294512"/>
                <a:gd name="connsiteX4" fmla="*/ 165110 w 242994"/>
                <a:gd name="connsiteY4" fmla="*/ 776 h 294512"/>
                <a:gd name="connsiteX5" fmla="*/ 4890 w 242994"/>
                <a:gd name="connsiteY5" fmla="*/ 214402 h 294512"/>
                <a:gd name="connsiteX6" fmla="*/ 117638 w 242994"/>
                <a:gd name="connsiteY6" fmla="*/ 294512 h 294512"/>
                <a:gd name="connsiteX7" fmla="*/ 218517 w 242994"/>
                <a:gd name="connsiteY7" fmla="*/ 202534 h 294512"/>
                <a:gd name="connsiteX8" fmla="*/ 236319 w 242994"/>
                <a:gd name="connsiteY8" fmla="*/ 160996 h 294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2994" h="294512">
                  <a:moveTo>
                    <a:pt x="236319" y="160996"/>
                  </a:moveTo>
                  <a:cubicBezTo>
                    <a:pt x="233352" y="152095"/>
                    <a:pt x="242252" y="125391"/>
                    <a:pt x="242252" y="107589"/>
                  </a:cubicBezTo>
                  <a:cubicBezTo>
                    <a:pt x="242252" y="104622"/>
                    <a:pt x="245220" y="80886"/>
                    <a:pt x="239286" y="71985"/>
                  </a:cubicBezTo>
                  <a:cubicBezTo>
                    <a:pt x="233352" y="60117"/>
                    <a:pt x="185879" y="51215"/>
                    <a:pt x="197747" y="36380"/>
                  </a:cubicBezTo>
                  <a:cubicBezTo>
                    <a:pt x="203681" y="24512"/>
                    <a:pt x="174011" y="-5158"/>
                    <a:pt x="165110" y="776"/>
                  </a:cubicBezTo>
                  <a:cubicBezTo>
                    <a:pt x="111703" y="36380"/>
                    <a:pt x="-27747" y="137260"/>
                    <a:pt x="4890" y="214402"/>
                  </a:cubicBezTo>
                  <a:cubicBezTo>
                    <a:pt x="4890" y="214402"/>
                    <a:pt x="85000" y="291545"/>
                    <a:pt x="117638" y="294512"/>
                  </a:cubicBezTo>
                  <a:cubicBezTo>
                    <a:pt x="165110" y="294512"/>
                    <a:pt x="185879" y="232205"/>
                    <a:pt x="218517" y="202534"/>
                  </a:cubicBezTo>
                  <a:cubicBezTo>
                    <a:pt x="239286" y="181765"/>
                    <a:pt x="242252" y="175831"/>
                    <a:pt x="236319" y="160996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7C22A34E-0E2F-48AE-9425-87C66E03C85B}"/>
                </a:ext>
              </a:extLst>
            </p:cNvPr>
            <p:cNvSpPr/>
            <p:nvPr/>
          </p:nvSpPr>
          <p:spPr>
            <a:xfrm>
              <a:off x="11646399" y="7813943"/>
              <a:ext cx="1075552" cy="1113121"/>
            </a:xfrm>
            <a:custGeom>
              <a:avLst/>
              <a:gdLst>
                <a:gd name="connsiteX0" fmla="*/ 1071098 w 1075552"/>
                <a:gd name="connsiteY0" fmla="*/ 913846 h 1113121"/>
                <a:gd name="connsiteX1" fmla="*/ 910879 w 1075552"/>
                <a:gd name="connsiteY1" fmla="*/ 738791 h 1113121"/>
                <a:gd name="connsiteX2" fmla="*/ 421318 w 1075552"/>
                <a:gd name="connsiteY2" fmla="*/ 593407 h 1113121"/>
                <a:gd name="connsiteX3" fmla="*/ 180988 w 1075552"/>
                <a:gd name="connsiteY3" fmla="*/ 0 h 1113121"/>
                <a:gd name="connsiteX4" fmla="*/ 0 w 1075552"/>
                <a:gd name="connsiteY4" fmla="*/ 2967 h 1113121"/>
                <a:gd name="connsiteX5" fmla="*/ 154285 w 1075552"/>
                <a:gd name="connsiteY5" fmla="*/ 836703 h 1113121"/>
                <a:gd name="connsiteX6" fmla="*/ 961319 w 1075552"/>
                <a:gd name="connsiteY6" fmla="*/ 1112637 h 1113121"/>
                <a:gd name="connsiteX7" fmla="*/ 1071098 w 1075552"/>
                <a:gd name="connsiteY7" fmla="*/ 913846 h 1113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5552" h="1113121">
                  <a:moveTo>
                    <a:pt x="1071098" y="913846"/>
                  </a:moveTo>
                  <a:cubicBezTo>
                    <a:pt x="1085933" y="839670"/>
                    <a:pt x="1071098" y="780330"/>
                    <a:pt x="910879" y="738791"/>
                  </a:cubicBezTo>
                  <a:cubicBezTo>
                    <a:pt x="688351" y="676484"/>
                    <a:pt x="421318" y="593407"/>
                    <a:pt x="421318" y="593407"/>
                  </a:cubicBezTo>
                  <a:lnTo>
                    <a:pt x="180988" y="0"/>
                  </a:lnTo>
                  <a:lnTo>
                    <a:pt x="0" y="2967"/>
                  </a:lnTo>
                  <a:cubicBezTo>
                    <a:pt x="0" y="2967"/>
                    <a:pt x="80109" y="735824"/>
                    <a:pt x="154285" y="836703"/>
                  </a:cubicBezTo>
                  <a:cubicBezTo>
                    <a:pt x="213626" y="919780"/>
                    <a:pt x="614175" y="1068132"/>
                    <a:pt x="961319" y="1112637"/>
                  </a:cubicBezTo>
                  <a:cubicBezTo>
                    <a:pt x="1053297" y="1121539"/>
                    <a:pt x="1053297" y="1005824"/>
                    <a:pt x="1071098" y="913846"/>
                  </a:cubicBezTo>
                  <a:close/>
                </a:path>
              </a:pathLst>
            </a:custGeom>
            <a:solidFill>
              <a:srgbClr val="708686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A8FF9767-3CFF-4872-91E6-BAE175080828}"/>
                </a:ext>
              </a:extLst>
            </p:cNvPr>
            <p:cNvSpPr/>
            <p:nvPr/>
          </p:nvSpPr>
          <p:spPr>
            <a:xfrm>
              <a:off x="11995189" y="8401416"/>
              <a:ext cx="639230" cy="169120"/>
            </a:xfrm>
            <a:custGeom>
              <a:avLst/>
              <a:gdLst>
                <a:gd name="connsiteX0" fmla="*/ 633296 w 639230"/>
                <a:gd name="connsiteY0" fmla="*/ 169121 h 169120"/>
                <a:gd name="connsiteX1" fmla="*/ 633296 w 639230"/>
                <a:gd name="connsiteY1" fmla="*/ 169121 h 169120"/>
                <a:gd name="connsiteX2" fmla="*/ 505714 w 639230"/>
                <a:gd name="connsiteY2" fmla="*/ 139450 h 169120"/>
                <a:gd name="connsiteX3" fmla="*/ 72527 w 639230"/>
                <a:gd name="connsiteY3" fmla="*/ 11868 h 169120"/>
                <a:gd name="connsiteX4" fmla="*/ 10219 w 639230"/>
                <a:gd name="connsiteY4" fmla="*/ 56373 h 169120"/>
                <a:gd name="connsiteX5" fmla="*/ 1319 w 639230"/>
                <a:gd name="connsiteY5" fmla="*/ 56373 h 169120"/>
                <a:gd name="connsiteX6" fmla="*/ 1319 w 639230"/>
                <a:gd name="connsiteY6" fmla="*/ 47472 h 169120"/>
                <a:gd name="connsiteX7" fmla="*/ 69560 w 639230"/>
                <a:gd name="connsiteY7" fmla="*/ 0 h 169120"/>
                <a:gd name="connsiteX8" fmla="*/ 72527 w 639230"/>
                <a:gd name="connsiteY8" fmla="*/ 0 h 169120"/>
                <a:gd name="connsiteX9" fmla="*/ 508682 w 639230"/>
                <a:gd name="connsiteY9" fmla="*/ 130549 h 169120"/>
                <a:gd name="connsiteX10" fmla="*/ 633296 w 639230"/>
                <a:gd name="connsiteY10" fmla="*/ 160220 h 169120"/>
                <a:gd name="connsiteX11" fmla="*/ 639231 w 639230"/>
                <a:gd name="connsiteY11" fmla="*/ 166154 h 169120"/>
                <a:gd name="connsiteX12" fmla="*/ 633296 w 639230"/>
                <a:gd name="connsiteY12" fmla="*/ 169121 h 169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9230" h="169120">
                  <a:moveTo>
                    <a:pt x="633296" y="169121"/>
                  </a:moveTo>
                  <a:cubicBezTo>
                    <a:pt x="633296" y="169121"/>
                    <a:pt x="633296" y="169121"/>
                    <a:pt x="633296" y="169121"/>
                  </a:cubicBezTo>
                  <a:cubicBezTo>
                    <a:pt x="568022" y="163187"/>
                    <a:pt x="505714" y="139450"/>
                    <a:pt x="505714" y="139450"/>
                  </a:cubicBezTo>
                  <a:cubicBezTo>
                    <a:pt x="452308" y="124615"/>
                    <a:pt x="108132" y="20769"/>
                    <a:pt x="72527" y="11868"/>
                  </a:cubicBezTo>
                  <a:lnTo>
                    <a:pt x="10219" y="56373"/>
                  </a:lnTo>
                  <a:cubicBezTo>
                    <a:pt x="7253" y="59341"/>
                    <a:pt x="4286" y="56373"/>
                    <a:pt x="1319" y="56373"/>
                  </a:cubicBezTo>
                  <a:cubicBezTo>
                    <a:pt x="-1648" y="53407"/>
                    <a:pt x="1319" y="50439"/>
                    <a:pt x="1319" y="47472"/>
                  </a:cubicBezTo>
                  <a:lnTo>
                    <a:pt x="69560" y="0"/>
                  </a:lnTo>
                  <a:lnTo>
                    <a:pt x="72527" y="0"/>
                  </a:lnTo>
                  <a:cubicBezTo>
                    <a:pt x="75495" y="0"/>
                    <a:pt x="452308" y="112747"/>
                    <a:pt x="508682" y="130549"/>
                  </a:cubicBezTo>
                  <a:cubicBezTo>
                    <a:pt x="508682" y="130549"/>
                    <a:pt x="573956" y="154286"/>
                    <a:pt x="633296" y="160220"/>
                  </a:cubicBezTo>
                  <a:cubicBezTo>
                    <a:pt x="636264" y="160220"/>
                    <a:pt x="639231" y="163187"/>
                    <a:pt x="639231" y="166154"/>
                  </a:cubicBezTo>
                  <a:cubicBezTo>
                    <a:pt x="639231" y="166154"/>
                    <a:pt x="636264" y="169121"/>
                    <a:pt x="633296" y="169121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4" name="图形 1">
              <a:extLst>
                <a:ext uri="{FF2B5EF4-FFF2-40B4-BE49-F238E27FC236}">
                  <a16:creationId xmlns:a16="http://schemas.microsoft.com/office/drawing/2014/main" id="{D710E94F-7A7A-46EB-9CB5-EDEABC617CF5}"/>
                </a:ext>
              </a:extLst>
            </p:cNvPr>
            <p:cNvGrpSpPr/>
            <p:nvPr/>
          </p:nvGrpSpPr>
          <p:grpSpPr>
            <a:xfrm>
              <a:off x="14230684" y="8303503"/>
              <a:ext cx="308572" cy="824835"/>
              <a:chOff x="14230684" y="8303503"/>
              <a:chExt cx="308572" cy="824835"/>
            </a:xfrm>
          </p:grpSpPr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14DD8D5E-C6B0-4490-A325-2F139C7DFF1C}"/>
                  </a:ext>
                </a:extLst>
              </p:cNvPr>
              <p:cNvSpPr/>
              <p:nvPr/>
            </p:nvSpPr>
            <p:spPr>
              <a:xfrm>
                <a:off x="14355299" y="8730756"/>
                <a:ext cx="59340" cy="367912"/>
              </a:xfrm>
              <a:custGeom>
                <a:avLst/>
                <a:gdLst>
                  <a:gd name="connsiteX0" fmla="*/ 0 w 59340"/>
                  <a:gd name="connsiteY0" fmla="*/ 0 h 367912"/>
                  <a:gd name="connsiteX1" fmla="*/ 59341 w 59340"/>
                  <a:gd name="connsiteY1" fmla="*/ 0 h 367912"/>
                  <a:gd name="connsiteX2" fmla="*/ 59341 w 59340"/>
                  <a:gd name="connsiteY2" fmla="*/ 367912 h 367912"/>
                  <a:gd name="connsiteX3" fmla="*/ 0 w 59340"/>
                  <a:gd name="connsiteY3" fmla="*/ 367912 h 36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340" h="367912">
                    <a:moveTo>
                      <a:pt x="0" y="0"/>
                    </a:moveTo>
                    <a:lnTo>
                      <a:pt x="59341" y="0"/>
                    </a:lnTo>
                    <a:lnTo>
                      <a:pt x="59341" y="367912"/>
                    </a:lnTo>
                    <a:lnTo>
                      <a:pt x="0" y="367912"/>
                    </a:ln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ECF1942D-6125-4E63-900B-1574C2D1F4C2}"/>
                  </a:ext>
                </a:extLst>
              </p:cNvPr>
              <p:cNvSpPr/>
              <p:nvPr/>
            </p:nvSpPr>
            <p:spPr>
              <a:xfrm>
                <a:off x="14230684" y="9068998"/>
                <a:ext cx="308572" cy="59340"/>
              </a:xfrm>
              <a:custGeom>
                <a:avLst/>
                <a:gdLst>
                  <a:gd name="connsiteX0" fmla="*/ 308572 w 308572"/>
                  <a:gd name="connsiteY0" fmla="*/ 29670 h 59340"/>
                  <a:gd name="connsiteX1" fmla="*/ 154286 w 308572"/>
                  <a:gd name="connsiteY1" fmla="*/ 59341 h 59340"/>
                  <a:gd name="connsiteX2" fmla="*/ 0 w 308572"/>
                  <a:gd name="connsiteY2" fmla="*/ 29670 h 59340"/>
                  <a:gd name="connsiteX3" fmla="*/ 154286 w 308572"/>
                  <a:gd name="connsiteY3" fmla="*/ 0 h 59340"/>
                  <a:gd name="connsiteX4" fmla="*/ 308572 w 308572"/>
                  <a:gd name="connsiteY4" fmla="*/ 29670 h 59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2" h="59340">
                    <a:moveTo>
                      <a:pt x="308572" y="29670"/>
                    </a:moveTo>
                    <a:cubicBezTo>
                      <a:pt x="308572" y="44505"/>
                      <a:pt x="240330" y="59341"/>
                      <a:pt x="154286" y="59341"/>
                    </a:cubicBezTo>
                    <a:cubicBezTo>
                      <a:pt x="68242" y="59341"/>
                      <a:pt x="0" y="47472"/>
                      <a:pt x="0" y="29670"/>
                    </a:cubicBezTo>
                    <a:cubicBezTo>
                      <a:pt x="0" y="14835"/>
                      <a:pt x="68242" y="0"/>
                      <a:pt x="154286" y="0"/>
                    </a:cubicBezTo>
                    <a:cubicBezTo>
                      <a:pt x="240330" y="0"/>
                      <a:pt x="308572" y="14835"/>
                      <a:pt x="308572" y="2967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30C8B756-742D-4F62-9BFB-A99907D642CB}"/>
                  </a:ext>
                </a:extLst>
              </p:cNvPr>
              <p:cNvSpPr/>
              <p:nvPr/>
            </p:nvSpPr>
            <p:spPr>
              <a:xfrm>
                <a:off x="14239585" y="8333174"/>
                <a:ext cx="290768" cy="453956"/>
              </a:xfrm>
              <a:custGeom>
                <a:avLst/>
                <a:gdLst>
                  <a:gd name="connsiteX0" fmla="*/ 145384 w 290768"/>
                  <a:gd name="connsiteY0" fmla="*/ 453956 h 453956"/>
                  <a:gd name="connsiteX1" fmla="*/ 145384 w 290768"/>
                  <a:gd name="connsiteY1" fmla="*/ 453956 h 453956"/>
                  <a:gd name="connsiteX2" fmla="*/ 0 w 290768"/>
                  <a:gd name="connsiteY2" fmla="*/ 308571 h 453956"/>
                  <a:gd name="connsiteX3" fmla="*/ 0 w 290768"/>
                  <a:gd name="connsiteY3" fmla="*/ 0 h 453956"/>
                  <a:gd name="connsiteX4" fmla="*/ 290769 w 290768"/>
                  <a:gd name="connsiteY4" fmla="*/ 0 h 453956"/>
                  <a:gd name="connsiteX5" fmla="*/ 290769 w 290768"/>
                  <a:gd name="connsiteY5" fmla="*/ 308571 h 453956"/>
                  <a:gd name="connsiteX6" fmla="*/ 145384 w 290768"/>
                  <a:gd name="connsiteY6" fmla="*/ 453956 h 453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0768" h="453956">
                    <a:moveTo>
                      <a:pt x="145384" y="453956"/>
                    </a:moveTo>
                    <a:lnTo>
                      <a:pt x="145384" y="453956"/>
                    </a:lnTo>
                    <a:cubicBezTo>
                      <a:pt x="65274" y="453956"/>
                      <a:pt x="0" y="388682"/>
                      <a:pt x="0" y="308571"/>
                    </a:cubicBezTo>
                    <a:lnTo>
                      <a:pt x="0" y="0"/>
                    </a:lnTo>
                    <a:lnTo>
                      <a:pt x="290769" y="0"/>
                    </a:lnTo>
                    <a:lnTo>
                      <a:pt x="290769" y="308571"/>
                    </a:lnTo>
                    <a:cubicBezTo>
                      <a:pt x="290769" y="388682"/>
                      <a:pt x="225495" y="453956"/>
                      <a:pt x="145384" y="453956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0FD08D92-3CF0-4C76-9DC1-5D44D3EAE758}"/>
                  </a:ext>
                </a:extLst>
              </p:cNvPr>
              <p:cNvSpPr/>
              <p:nvPr/>
            </p:nvSpPr>
            <p:spPr>
              <a:xfrm>
                <a:off x="14263321" y="8526031"/>
                <a:ext cx="246264" cy="234395"/>
              </a:xfrm>
              <a:custGeom>
                <a:avLst/>
                <a:gdLst>
                  <a:gd name="connsiteX0" fmla="*/ 121649 w 246264"/>
                  <a:gd name="connsiteY0" fmla="*/ 234395 h 234395"/>
                  <a:gd name="connsiteX1" fmla="*/ 121649 w 246264"/>
                  <a:gd name="connsiteY1" fmla="*/ 234395 h 234395"/>
                  <a:gd name="connsiteX2" fmla="*/ 0 w 246264"/>
                  <a:gd name="connsiteY2" fmla="*/ 112747 h 234395"/>
                  <a:gd name="connsiteX3" fmla="*/ 0 w 246264"/>
                  <a:gd name="connsiteY3" fmla="*/ 0 h 234395"/>
                  <a:gd name="connsiteX4" fmla="*/ 246264 w 246264"/>
                  <a:gd name="connsiteY4" fmla="*/ 0 h 234395"/>
                  <a:gd name="connsiteX5" fmla="*/ 246264 w 246264"/>
                  <a:gd name="connsiteY5" fmla="*/ 112747 h 234395"/>
                  <a:gd name="connsiteX6" fmla="*/ 121649 w 246264"/>
                  <a:gd name="connsiteY6" fmla="*/ 234395 h 234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6264" h="234395">
                    <a:moveTo>
                      <a:pt x="121649" y="234395"/>
                    </a:moveTo>
                    <a:lnTo>
                      <a:pt x="121649" y="234395"/>
                    </a:lnTo>
                    <a:cubicBezTo>
                      <a:pt x="53407" y="234395"/>
                      <a:pt x="0" y="180989"/>
                      <a:pt x="0" y="112747"/>
                    </a:cubicBezTo>
                    <a:lnTo>
                      <a:pt x="0" y="0"/>
                    </a:lnTo>
                    <a:lnTo>
                      <a:pt x="246264" y="0"/>
                    </a:lnTo>
                    <a:lnTo>
                      <a:pt x="246264" y="112747"/>
                    </a:lnTo>
                    <a:cubicBezTo>
                      <a:pt x="243297" y="178022"/>
                      <a:pt x="189890" y="234395"/>
                      <a:pt x="121649" y="234395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D59A5438-2C4B-4F88-9AE8-68F17D09FAA2}"/>
                  </a:ext>
                </a:extLst>
              </p:cNvPr>
              <p:cNvSpPr/>
              <p:nvPr/>
            </p:nvSpPr>
            <p:spPr>
              <a:xfrm>
                <a:off x="14239585" y="8303503"/>
                <a:ext cx="290769" cy="59340"/>
              </a:xfrm>
              <a:custGeom>
                <a:avLst/>
                <a:gdLst>
                  <a:gd name="connsiteX0" fmla="*/ 290769 w 290769"/>
                  <a:gd name="connsiteY0" fmla="*/ 29670 h 59340"/>
                  <a:gd name="connsiteX1" fmla="*/ 145385 w 290769"/>
                  <a:gd name="connsiteY1" fmla="*/ 59341 h 59340"/>
                  <a:gd name="connsiteX2" fmla="*/ 0 w 290769"/>
                  <a:gd name="connsiteY2" fmla="*/ 29670 h 59340"/>
                  <a:gd name="connsiteX3" fmla="*/ 145385 w 290769"/>
                  <a:gd name="connsiteY3" fmla="*/ 0 h 59340"/>
                  <a:gd name="connsiteX4" fmla="*/ 290769 w 290769"/>
                  <a:gd name="connsiteY4" fmla="*/ 29670 h 59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769" h="59340">
                    <a:moveTo>
                      <a:pt x="290769" y="29670"/>
                    </a:moveTo>
                    <a:cubicBezTo>
                      <a:pt x="290769" y="46057"/>
                      <a:pt x="225678" y="59341"/>
                      <a:pt x="145385" y="59341"/>
                    </a:cubicBezTo>
                    <a:cubicBezTo>
                      <a:pt x="65091" y="59341"/>
                      <a:pt x="0" y="46057"/>
                      <a:pt x="0" y="29670"/>
                    </a:cubicBezTo>
                    <a:cubicBezTo>
                      <a:pt x="0" y="13284"/>
                      <a:pt x="65091" y="0"/>
                      <a:pt x="145385" y="0"/>
                    </a:cubicBezTo>
                    <a:cubicBezTo>
                      <a:pt x="225679" y="0"/>
                      <a:pt x="290769" y="13284"/>
                      <a:pt x="290769" y="29670"/>
                    </a:cubicBezTo>
                    <a:close/>
                  </a:path>
                </a:pathLst>
              </a:custGeom>
              <a:solidFill>
                <a:srgbClr val="E5CDA5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5" name="图形 1">
              <a:extLst>
                <a:ext uri="{FF2B5EF4-FFF2-40B4-BE49-F238E27FC236}">
                  <a16:creationId xmlns:a16="http://schemas.microsoft.com/office/drawing/2014/main" id="{9375C09F-87D7-47B4-8E4C-400EB350CA77}"/>
                </a:ext>
              </a:extLst>
            </p:cNvPr>
            <p:cNvGrpSpPr/>
            <p:nvPr/>
          </p:nvGrpSpPr>
          <p:grpSpPr>
            <a:xfrm>
              <a:off x="12981564" y="8662515"/>
              <a:ext cx="83076" cy="1136373"/>
              <a:chOff x="12981564" y="8662515"/>
              <a:chExt cx="83076" cy="1136373"/>
            </a:xfrm>
            <a:solidFill>
              <a:srgbClr val="38333D"/>
            </a:solidFill>
          </p:grpSpPr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0520174C-670B-45BE-9DFB-067763183929}"/>
                  </a:ext>
                </a:extLst>
              </p:cNvPr>
              <p:cNvSpPr/>
              <p:nvPr/>
            </p:nvSpPr>
            <p:spPr>
              <a:xfrm>
                <a:off x="12981564" y="8662515"/>
                <a:ext cx="53406" cy="53406"/>
              </a:xfrm>
              <a:custGeom>
                <a:avLst/>
                <a:gdLst>
                  <a:gd name="connsiteX0" fmla="*/ 0 w 53406"/>
                  <a:gd name="connsiteY0" fmla="*/ 26703 h 53406"/>
                  <a:gd name="connsiteX1" fmla="*/ 26703 w 53406"/>
                  <a:gd name="connsiteY1" fmla="*/ 53406 h 53406"/>
                  <a:gd name="connsiteX2" fmla="*/ 53406 w 53406"/>
                  <a:gd name="connsiteY2" fmla="*/ 26703 h 53406"/>
                  <a:gd name="connsiteX3" fmla="*/ 26703 w 53406"/>
                  <a:gd name="connsiteY3" fmla="*/ 0 h 53406"/>
                  <a:gd name="connsiteX4" fmla="*/ 0 w 53406"/>
                  <a:gd name="connsiteY4" fmla="*/ 26703 h 53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406" h="53406">
                    <a:moveTo>
                      <a:pt x="0" y="26703"/>
                    </a:moveTo>
                    <a:cubicBezTo>
                      <a:pt x="0" y="41538"/>
                      <a:pt x="11868" y="53406"/>
                      <a:pt x="26703" y="53406"/>
                    </a:cubicBezTo>
                    <a:cubicBezTo>
                      <a:pt x="41538" y="53406"/>
                      <a:pt x="53406" y="41538"/>
                      <a:pt x="53406" y="26703"/>
                    </a:cubicBezTo>
                    <a:cubicBezTo>
                      <a:pt x="53406" y="11868"/>
                      <a:pt x="41538" y="0"/>
                      <a:pt x="26703" y="0"/>
                    </a:cubicBezTo>
                    <a:cubicBezTo>
                      <a:pt x="11868" y="0"/>
                      <a:pt x="0" y="11868"/>
                      <a:pt x="0" y="26703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DAF739A6-8270-4BA6-B4F1-36824AB5D904}"/>
                  </a:ext>
                </a:extLst>
              </p:cNvPr>
              <p:cNvSpPr/>
              <p:nvPr/>
            </p:nvSpPr>
            <p:spPr>
              <a:xfrm>
                <a:off x="13011234" y="9089385"/>
                <a:ext cx="53406" cy="53788"/>
              </a:xfrm>
              <a:custGeom>
                <a:avLst/>
                <a:gdLst>
                  <a:gd name="connsiteX0" fmla="*/ 0 w 53406"/>
                  <a:gd name="connsiteY0" fmla="*/ 27085 h 53788"/>
                  <a:gd name="connsiteX1" fmla="*/ 26703 w 53406"/>
                  <a:gd name="connsiteY1" fmla="*/ 53789 h 53788"/>
                  <a:gd name="connsiteX2" fmla="*/ 53406 w 53406"/>
                  <a:gd name="connsiteY2" fmla="*/ 27085 h 53788"/>
                  <a:gd name="connsiteX3" fmla="*/ 26703 w 53406"/>
                  <a:gd name="connsiteY3" fmla="*/ 382 h 53788"/>
                  <a:gd name="connsiteX4" fmla="*/ 0 w 53406"/>
                  <a:gd name="connsiteY4" fmla="*/ 27085 h 53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406" h="53788">
                    <a:moveTo>
                      <a:pt x="0" y="27085"/>
                    </a:moveTo>
                    <a:cubicBezTo>
                      <a:pt x="0" y="41920"/>
                      <a:pt x="11868" y="53789"/>
                      <a:pt x="26703" y="53789"/>
                    </a:cubicBezTo>
                    <a:cubicBezTo>
                      <a:pt x="41538" y="53789"/>
                      <a:pt x="53406" y="41920"/>
                      <a:pt x="53406" y="27085"/>
                    </a:cubicBezTo>
                    <a:cubicBezTo>
                      <a:pt x="53406" y="12250"/>
                      <a:pt x="41538" y="382"/>
                      <a:pt x="26703" y="382"/>
                    </a:cubicBezTo>
                    <a:cubicBezTo>
                      <a:pt x="11868" y="-2585"/>
                      <a:pt x="0" y="12250"/>
                      <a:pt x="0" y="27085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9C408C16-4B3D-4769-A60F-123A9953CC48}"/>
                  </a:ext>
                </a:extLst>
              </p:cNvPr>
              <p:cNvSpPr/>
              <p:nvPr/>
            </p:nvSpPr>
            <p:spPr>
              <a:xfrm>
                <a:off x="13011234" y="9745482"/>
                <a:ext cx="53406" cy="53406"/>
              </a:xfrm>
              <a:custGeom>
                <a:avLst/>
                <a:gdLst>
                  <a:gd name="connsiteX0" fmla="*/ 0 w 53406"/>
                  <a:gd name="connsiteY0" fmla="*/ 26703 h 53406"/>
                  <a:gd name="connsiteX1" fmla="*/ 26703 w 53406"/>
                  <a:gd name="connsiteY1" fmla="*/ 53406 h 53406"/>
                  <a:gd name="connsiteX2" fmla="*/ 53406 w 53406"/>
                  <a:gd name="connsiteY2" fmla="*/ 26703 h 53406"/>
                  <a:gd name="connsiteX3" fmla="*/ 26703 w 53406"/>
                  <a:gd name="connsiteY3" fmla="*/ 0 h 53406"/>
                  <a:gd name="connsiteX4" fmla="*/ 0 w 53406"/>
                  <a:gd name="connsiteY4" fmla="*/ 26703 h 53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406" h="53406">
                    <a:moveTo>
                      <a:pt x="0" y="26703"/>
                    </a:moveTo>
                    <a:cubicBezTo>
                      <a:pt x="0" y="41538"/>
                      <a:pt x="11868" y="53406"/>
                      <a:pt x="26703" y="53406"/>
                    </a:cubicBezTo>
                    <a:cubicBezTo>
                      <a:pt x="41538" y="53406"/>
                      <a:pt x="53406" y="41538"/>
                      <a:pt x="53406" y="26703"/>
                    </a:cubicBezTo>
                    <a:cubicBezTo>
                      <a:pt x="53406" y="11868"/>
                      <a:pt x="41538" y="0"/>
                      <a:pt x="26703" y="0"/>
                    </a:cubicBezTo>
                    <a:cubicBezTo>
                      <a:pt x="11868" y="0"/>
                      <a:pt x="0" y="11868"/>
                      <a:pt x="0" y="26703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DC0AE6ED-12AC-4863-AAFF-0E377509CF5D}"/>
                  </a:ext>
                </a:extLst>
              </p:cNvPr>
              <p:cNvSpPr/>
              <p:nvPr/>
            </p:nvSpPr>
            <p:spPr>
              <a:xfrm>
                <a:off x="13005299" y="8864273"/>
                <a:ext cx="53406" cy="53406"/>
              </a:xfrm>
              <a:custGeom>
                <a:avLst/>
                <a:gdLst>
                  <a:gd name="connsiteX0" fmla="*/ 53406 w 53406"/>
                  <a:gd name="connsiteY0" fmla="*/ 26703 h 53406"/>
                  <a:gd name="connsiteX1" fmla="*/ 26703 w 53406"/>
                  <a:gd name="connsiteY1" fmla="*/ 53407 h 53406"/>
                  <a:gd name="connsiteX2" fmla="*/ 0 w 53406"/>
                  <a:gd name="connsiteY2" fmla="*/ 26703 h 53406"/>
                  <a:gd name="connsiteX3" fmla="*/ 26703 w 53406"/>
                  <a:gd name="connsiteY3" fmla="*/ 0 h 53406"/>
                  <a:gd name="connsiteX4" fmla="*/ 53406 w 53406"/>
                  <a:gd name="connsiteY4" fmla="*/ 26703 h 53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406" h="53406">
                    <a:moveTo>
                      <a:pt x="53406" y="26703"/>
                    </a:moveTo>
                    <a:cubicBezTo>
                      <a:pt x="53406" y="41451"/>
                      <a:pt x="41450" y="53407"/>
                      <a:pt x="26703" y="53407"/>
                    </a:cubicBezTo>
                    <a:cubicBezTo>
                      <a:pt x="11955" y="53407"/>
                      <a:pt x="0" y="41451"/>
                      <a:pt x="0" y="26703"/>
                    </a:cubicBezTo>
                    <a:cubicBezTo>
                      <a:pt x="0" y="11956"/>
                      <a:pt x="11956" y="0"/>
                      <a:pt x="26703" y="0"/>
                    </a:cubicBezTo>
                    <a:cubicBezTo>
                      <a:pt x="41451" y="0"/>
                      <a:pt x="53406" y="11956"/>
                      <a:pt x="53406" y="26703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BA9F167B-E67F-4C37-91C5-D598BC498965}"/>
                  </a:ext>
                </a:extLst>
              </p:cNvPr>
              <p:cNvSpPr/>
              <p:nvPr/>
            </p:nvSpPr>
            <p:spPr>
              <a:xfrm>
                <a:off x="13011234" y="9534822"/>
                <a:ext cx="53406" cy="53406"/>
              </a:xfrm>
              <a:custGeom>
                <a:avLst/>
                <a:gdLst>
                  <a:gd name="connsiteX0" fmla="*/ 0 w 53406"/>
                  <a:gd name="connsiteY0" fmla="*/ 26703 h 53406"/>
                  <a:gd name="connsiteX1" fmla="*/ 26703 w 53406"/>
                  <a:gd name="connsiteY1" fmla="*/ 53406 h 53406"/>
                  <a:gd name="connsiteX2" fmla="*/ 53406 w 53406"/>
                  <a:gd name="connsiteY2" fmla="*/ 26703 h 53406"/>
                  <a:gd name="connsiteX3" fmla="*/ 26703 w 53406"/>
                  <a:gd name="connsiteY3" fmla="*/ 0 h 53406"/>
                  <a:gd name="connsiteX4" fmla="*/ 0 w 53406"/>
                  <a:gd name="connsiteY4" fmla="*/ 26703 h 53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406" h="53406">
                    <a:moveTo>
                      <a:pt x="0" y="26703"/>
                    </a:moveTo>
                    <a:cubicBezTo>
                      <a:pt x="0" y="41538"/>
                      <a:pt x="11868" y="53406"/>
                      <a:pt x="26703" y="53406"/>
                    </a:cubicBezTo>
                    <a:cubicBezTo>
                      <a:pt x="41538" y="53406"/>
                      <a:pt x="53406" y="41538"/>
                      <a:pt x="53406" y="26703"/>
                    </a:cubicBezTo>
                    <a:cubicBezTo>
                      <a:pt x="53406" y="11868"/>
                      <a:pt x="41538" y="0"/>
                      <a:pt x="26703" y="0"/>
                    </a:cubicBezTo>
                    <a:cubicBezTo>
                      <a:pt x="11868" y="0"/>
                      <a:pt x="0" y="11868"/>
                      <a:pt x="0" y="26703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3F5AD7AF-DC37-4EDB-9D9C-8C99B160A1D2}"/>
                  </a:ext>
                </a:extLst>
              </p:cNvPr>
              <p:cNvSpPr/>
              <p:nvPr/>
            </p:nvSpPr>
            <p:spPr>
              <a:xfrm>
                <a:off x="13011234" y="9312295"/>
                <a:ext cx="53406" cy="53406"/>
              </a:xfrm>
              <a:custGeom>
                <a:avLst/>
                <a:gdLst>
                  <a:gd name="connsiteX0" fmla="*/ 0 w 53406"/>
                  <a:gd name="connsiteY0" fmla="*/ 26703 h 53406"/>
                  <a:gd name="connsiteX1" fmla="*/ 26703 w 53406"/>
                  <a:gd name="connsiteY1" fmla="*/ 53406 h 53406"/>
                  <a:gd name="connsiteX2" fmla="*/ 53406 w 53406"/>
                  <a:gd name="connsiteY2" fmla="*/ 26703 h 53406"/>
                  <a:gd name="connsiteX3" fmla="*/ 26703 w 53406"/>
                  <a:gd name="connsiteY3" fmla="*/ 0 h 53406"/>
                  <a:gd name="connsiteX4" fmla="*/ 0 w 53406"/>
                  <a:gd name="connsiteY4" fmla="*/ 26703 h 53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406" h="53406">
                    <a:moveTo>
                      <a:pt x="0" y="26703"/>
                    </a:moveTo>
                    <a:cubicBezTo>
                      <a:pt x="0" y="41538"/>
                      <a:pt x="11868" y="53406"/>
                      <a:pt x="26703" y="53406"/>
                    </a:cubicBezTo>
                    <a:cubicBezTo>
                      <a:pt x="41538" y="53406"/>
                      <a:pt x="53406" y="41538"/>
                      <a:pt x="53406" y="26703"/>
                    </a:cubicBezTo>
                    <a:cubicBezTo>
                      <a:pt x="53406" y="11868"/>
                      <a:pt x="41538" y="0"/>
                      <a:pt x="26703" y="0"/>
                    </a:cubicBezTo>
                    <a:cubicBezTo>
                      <a:pt x="11868" y="0"/>
                      <a:pt x="0" y="11868"/>
                      <a:pt x="0" y="26703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BC2FE0C9-E98F-4918-A0B2-2A5CE49568F5}"/>
                </a:ext>
              </a:extLst>
            </p:cNvPr>
            <p:cNvSpPr/>
            <p:nvPr/>
          </p:nvSpPr>
          <p:spPr>
            <a:xfrm>
              <a:off x="12812442" y="8327240"/>
              <a:ext cx="243297" cy="218680"/>
            </a:xfrm>
            <a:custGeom>
              <a:avLst/>
              <a:gdLst>
                <a:gd name="connsiteX0" fmla="*/ 243297 w 243297"/>
                <a:gd name="connsiteY0" fmla="*/ 38572 h 218680"/>
                <a:gd name="connsiteX1" fmla="*/ 237363 w 243297"/>
                <a:gd name="connsiteY1" fmla="*/ 175055 h 218680"/>
                <a:gd name="connsiteX2" fmla="*/ 0 w 243297"/>
                <a:gd name="connsiteY2" fmla="*/ 166154 h 218680"/>
                <a:gd name="connsiteX3" fmla="*/ 14835 w 243297"/>
                <a:gd name="connsiteY3" fmla="*/ 0 h 218680"/>
                <a:gd name="connsiteX4" fmla="*/ 243297 w 243297"/>
                <a:gd name="connsiteY4" fmla="*/ 38572 h 218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297" h="218680">
                  <a:moveTo>
                    <a:pt x="243297" y="38572"/>
                  </a:moveTo>
                  <a:cubicBezTo>
                    <a:pt x="243297" y="38572"/>
                    <a:pt x="237363" y="103846"/>
                    <a:pt x="237363" y="175055"/>
                  </a:cubicBezTo>
                  <a:cubicBezTo>
                    <a:pt x="237363" y="175055"/>
                    <a:pt x="145384" y="278901"/>
                    <a:pt x="0" y="166154"/>
                  </a:cubicBezTo>
                  <a:cubicBezTo>
                    <a:pt x="0" y="106813"/>
                    <a:pt x="11868" y="62307"/>
                    <a:pt x="14835" y="0"/>
                  </a:cubicBezTo>
                  <a:cubicBezTo>
                    <a:pt x="11868" y="0"/>
                    <a:pt x="192857" y="50439"/>
                    <a:pt x="243297" y="38572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D93B5E82-D7D6-4CDF-8D50-18EDD9A7AC00}"/>
                </a:ext>
              </a:extLst>
            </p:cNvPr>
            <p:cNvSpPr/>
            <p:nvPr/>
          </p:nvSpPr>
          <p:spPr>
            <a:xfrm>
              <a:off x="12723431" y="8211525"/>
              <a:ext cx="68241" cy="133516"/>
            </a:xfrm>
            <a:custGeom>
              <a:avLst/>
              <a:gdLst>
                <a:gd name="connsiteX0" fmla="*/ 0 w 68241"/>
                <a:gd name="connsiteY0" fmla="*/ 0 h 133516"/>
                <a:gd name="connsiteX1" fmla="*/ 65275 w 68241"/>
                <a:gd name="connsiteY1" fmla="*/ 133516 h 133516"/>
                <a:gd name="connsiteX2" fmla="*/ 68241 w 68241"/>
                <a:gd name="connsiteY2" fmla="*/ 50440 h 133516"/>
                <a:gd name="connsiteX3" fmla="*/ 0 w 68241"/>
                <a:gd name="connsiteY3" fmla="*/ 0 h 13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241" h="133516">
                  <a:moveTo>
                    <a:pt x="0" y="0"/>
                  </a:moveTo>
                  <a:cubicBezTo>
                    <a:pt x="0" y="0"/>
                    <a:pt x="14835" y="115715"/>
                    <a:pt x="65275" y="133516"/>
                  </a:cubicBezTo>
                  <a:lnTo>
                    <a:pt x="68241" y="504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CDC767F4-CA68-427F-A4E3-6235375076B4}"/>
                </a:ext>
              </a:extLst>
            </p:cNvPr>
            <p:cNvSpPr/>
            <p:nvPr/>
          </p:nvSpPr>
          <p:spPr>
            <a:xfrm>
              <a:off x="13070135" y="8009767"/>
              <a:ext cx="99882" cy="231440"/>
            </a:xfrm>
            <a:custGeom>
              <a:avLst/>
              <a:gdLst>
                <a:gd name="connsiteX0" fmla="*/ 92417 w 99882"/>
                <a:gd name="connsiteY0" fmla="*/ 0 h 231440"/>
                <a:gd name="connsiteX1" fmla="*/ 53846 w 99882"/>
                <a:gd name="connsiteY1" fmla="*/ 228461 h 231440"/>
                <a:gd name="connsiteX2" fmla="*/ 440 w 99882"/>
                <a:gd name="connsiteY2" fmla="*/ 14835 h 231440"/>
                <a:gd name="connsiteX3" fmla="*/ 92417 w 99882"/>
                <a:gd name="connsiteY3" fmla="*/ 0 h 23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882" h="231440">
                  <a:moveTo>
                    <a:pt x="92417" y="0"/>
                  </a:moveTo>
                  <a:cubicBezTo>
                    <a:pt x="92417" y="0"/>
                    <a:pt x="125054" y="189890"/>
                    <a:pt x="53846" y="228461"/>
                  </a:cubicBezTo>
                  <a:cubicBezTo>
                    <a:pt x="-8462" y="261099"/>
                    <a:pt x="440" y="14835"/>
                    <a:pt x="440" y="14835"/>
                  </a:cubicBezTo>
                  <a:lnTo>
                    <a:pt x="92417" y="0"/>
                  </a:ln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4803485C-99D6-4CBC-8E4B-3420F994011E}"/>
                </a:ext>
              </a:extLst>
            </p:cNvPr>
            <p:cNvSpPr/>
            <p:nvPr/>
          </p:nvSpPr>
          <p:spPr>
            <a:xfrm>
              <a:off x="12723431" y="7875364"/>
              <a:ext cx="412036" cy="553342"/>
            </a:xfrm>
            <a:custGeom>
              <a:avLst/>
              <a:gdLst>
                <a:gd name="connsiteX0" fmla="*/ 400549 w 412036"/>
                <a:gd name="connsiteY0" fmla="*/ 175942 h 553342"/>
                <a:gd name="connsiteX1" fmla="*/ 403517 w 412036"/>
                <a:gd name="connsiteY1" fmla="*/ 419239 h 553342"/>
                <a:gd name="connsiteX2" fmla="*/ 249231 w 412036"/>
                <a:gd name="connsiteY2" fmla="*/ 552755 h 553342"/>
                <a:gd name="connsiteX3" fmla="*/ 38571 w 412036"/>
                <a:gd name="connsiteY3" fmla="*/ 416272 h 553342"/>
                <a:gd name="connsiteX4" fmla="*/ 0 w 412036"/>
                <a:gd name="connsiteY4" fmla="*/ 196711 h 553342"/>
                <a:gd name="connsiteX5" fmla="*/ 204725 w 412036"/>
                <a:gd name="connsiteY5" fmla="*/ 887 h 553342"/>
                <a:gd name="connsiteX6" fmla="*/ 400549 w 412036"/>
                <a:gd name="connsiteY6" fmla="*/ 175942 h 553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036" h="553342">
                  <a:moveTo>
                    <a:pt x="400549" y="175942"/>
                  </a:moveTo>
                  <a:cubicBezTo>
                    <a:pt x="400549" y="175942"/>
                    <a:pt x="424285" y="348030"/>
                    <a:pt x="403517" y="419239"/>
                  </a:cubicBezTo>
                  <a:cubicBezTo>
                    <a:pt x="385714" y="484513"/>
                    <a:pt x="299671" y="546821"/>
                    <a:pt x="249231" y="552755"/>
                  </a:cubicBezTo>
                  <a:cubicBezTo>
                    <a:pt x="183956" y="558689"/>
                    <a:pt x="68241" y="520118"/>
                    <a:pt x="38571" y="416272"/>
                  </a:cubicBezTo>
                  <a:cubicBezTo>
                    <a:pt x="17802" y="345063"/>
                    <a:pt x="0" y="247151"/>
                    <a:pt x="0" y="196711"/>
                  </a:cubicBezTo>
                  <a:cubicBezTo>
                    <a:pt x="0" y="104733"/>
                    <a:pt x="26703" y="27590"/>
                    <a:pt x="204725" y="887"/>
                  </a:cubicBezTo>
                  <a:cubicBezTo>
                    <a:pt x="287803" y="-10981"/>
                    <a:pt x="379780" y="98799"/>
                    <a:pt x="400549" y="175942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FDC29604-CEAC-47AB-A2E2-91CF7A21C69C}"/>
                </a:ext>
              </a:extLst>
            </p:cNvPr>
            <p:cNvSpPr/>
            <p:nvPr/>
          </p:nvSpPr>
          <p:spPr>
            <a:xfrm>
              <a:off x="12945959" y="8128449"/>
              <a:ext cx="56373" cy="136483"/>
            </a:xfrm>
            <a:custGeom>
              <a:avLst/>
              <a:gdLst>
                <a:gd name="connsiteX0" fmla="*/ 26703 w 56373"/>
                <a:gd name="connsiteY0" fmla="*/ 136483 h 136483"/>
                <a:gd name="connsiteX1" fmla="*/ 5934 w 56373"/>
                <a:gd name="connsiteY1" fmla="*/ 133516 h 136483"/>
                <a:gd name="connsiteX2" fmla="*/ 0 w 56373"/>
                <a:gd name="connsiteY2" fmla="*/ 127582 h 136483"/>
                <a:gd name="connsiteX3" fmla="*/ 5934 w 56373"/>
                <a:gd name="connsiteY3" fmla="*/ 121648 h 136483"/>
                <a:gd name="connsiteX4" fmla="*/ 44505 w 56373"/>
                <a:gd name="connsiteY4" fmla="*/ 118681 h 136483"/>
                <a:gd name="connsiteX5" fmla="*/ 44505 w 56373"/>
                <a:gd name="connsiteY5" fmla="*/ 115714 h 136483"/>
                <a:gd name="connsiteX6" fmla="*/ 26703 w 56373"/>
                <a:gd name="connsiteY6" fmla="*/ 5934 h 136483"/>
                <a:gd name="connsiteX7" fmla="*/ 32638 w 56373"/>
                <a:gd name="connsiteY7" fmla="*/ 0 h 136483"/>
                <a:gd name="connsiteX8" fmla="*/ 38571 w 56373"/>
                <a:gd name="connsiteY8" fmla="*/ 5934 h 136483"/>
                <a:gd name="connsiteX9" fmla="*/ 56373 w 56373"/>
                <a:gd name="connsiteY9" fmla="*/ 115714 h 136483"/>
                <a:gd name="connsiteX10" fmla="*/ 50440 w 56373"/>
                <a:gd name="connsiteY10" fmla="*/ 127582 h 136483"/>
                <a:gd name="connsiteX11" fmla="*/ 26703 w 56373"/>
                <a:gd name="connsiteY11" fmla="*/ 136483 h 13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373" h="136483">
                  <a:moveTo>
                    <a:pt x="26703" y="136483"/>
                  </a:moveTo>
                  <a:cubicBezTo>
                    <a:pt x="17802" y="136483"/>
                    <a:pt x="8901" y="133516"/>
                    <a:pt x="5934" y="133516"/>
                  </a:cubicBezTo>
                  <a:cubicBezTo>
                    <a:pt x="2967" y="133516"/>
                    <a:pt x="0" y="130549"/>
                    <a:pt x="0" y="127582"/>
                  </a:cubicBezTo>
                  <a:cubicBezTo>
                    <a:pt x="0" y="124615"/>
                    <a:pt x="2967" y="121648"/>
                    <a:pt x="5934" y="121648"/>
                  </a:cubicBezTo>
                  <a:cubicBezTo>
                    <a:pt x="17802" y="124615"/>
                    <a:pt x="38571" y="124615"/>
                    <a:pt x="44505" y="118681"/>
                  </a:cubicBezTo>
                  <a:cubicBezTo>
                    <a:pt x="44505" y="118681"/>
                    <a:pt x="44505" y="115714"/>
                    <a:pt x="44505" y="115714"/>
                  </a:cubicBezTo>
                  <a:cubicBezTo>
                    <a:pt x="44505" y="97912"/>
                    <a:pt x="26703" y="8901"/>
                    <a:pt x="26703" y="5934"/>
                  </a:cubicBezTo>
                  <a:cubicBezTo>
                    <a:pt x="26703" y="2967"/>
                    <a:pt x="26703" y="0"/>
                    <a:pt x="32638" y="0"/>
                  </a:cubicBezTo>
                  <a:cubicBezTo>
                    <a:pt x="35605" y="0"/>
                    <a:pt x="38571" y="0"/>
                    <a:pt x="38571" y="5934"/>
                  </a:cubicBezTo>
                  <a:cubicBezTo>
                    <a:pt x="38571" y="8901"/>
                    <a:pt x="56373" y="97912"/>
                    <a:pt x="56373" y="115714"/>
                  </a:cubicBezTo>
                  <a:cubicBezTo>
                    <a:pt x="56373" y="121648"/>
                    <a:pt x="53406" y="124615"/>
                    <a:pt x="50440" y="127582"/>
                  </a:cubicBezTo>
                  <a:cubicBezTo>
                    <a:pt x="47473" y="136483"/>
                    <a:pt x="35605" y="136483"/>
                    <a:pt x="26703" y="136483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DBECEC71-807E-48AC-9030-A2C50F8D99C4}"/>
                </a:ext>
              </a:extLst>
            </p:cNvPr>
            <p:cNvSpPr/>
            <p:nvPr/>
          </p:nvSpPr>
          <p:spPr>
            <a:xfrm>
              <a:off x="13031246" y="8110064"/>
              <a:ext cx="39909" cy="39735"/>
            </a:xfrm>
            <a:custGeom>
              <a:avLst/>
              <a:gdLst>
                <a:gd name="connsiteX0" fmla="*/ 756 w 39909"/>
                <a:gd name="connsiteY0" fmla="*/ 24318 h 39735"/>
                <a:gd name="connsiteX1" fmla="*/ 24493 w 39909"/>
                <a:gd name="connsiteY1" fmla="*/ 39154 h 39735"/>
                <a:gd name="connsiteX2" fmla="*/ 39328 w 39909"/>
                <a:gd name="connsiteY2" fmla="*/ 15417 h 39735"/>
                <a:gd name="connsiteX3" fmla="*/ 15591 w 39909"/>
                <a:gd name="connsiteY3" fmla="*/ 582 h 39735"/>
                <a:gd name="connsiteX4" fmla="*/ 756 w 39909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39735">
                  <a:moveTo>
                    <a:pt x="756" y="24318"/>
                  </a:moveTo>
                  <a:cubicBezTo>
                    <a:pt x="3723" y="33220"/>
                    <a:pt x="12624" y="42120"/>
                    <a:pt x="24493" y="39154"/>
                  </a:cubicBezTo>
                  <a:cubicBezTo>
                    <a:pt x="33394" y="36186"/>
                    <a:pt x="42294" y="27285"/>
                    <a:pt x="39328" y="15417"/>
                  </a:cubicBezTo>
                  <a:cubicBezTo>
                    <a:pt x="36361" y="6516"/>
                    <a:pt x="27459" y="-2385"/>
                    <a:pt x="15591" y="582"/>
                  </a:cubicBezTo>
                  <a:cubicBezTo>
                    <a:pt x="3723" y="3549"/>
                    <a:pt x="-2211" y="12450"/>
                    <a:pt x="756" y="24318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3643E653-DC65-49C2-B7CE-A6765ED7852A}"/>
                </a:ext>
              </a:extLst>
            </p:cNvPr>
            <p:cNvSpPr/>
            <p:nvPr/>
          </p:nvSpPr>
          <p:spPr>
            <a:xfrm>
              <a:off x="12853224" y="8127867"/>
              <a:ext cx="39909" cy="39735"/>
            </a:xfrm>
            <a:custGeom>
              <a:avLst/>
              <a:gdLst>
                <a:gd name="connsiteX0" fmla="*/ 756 w 39909"/>
                <a:gd name="connsiteY0" fmla="*/ 24318 h 39735"/>
                <a:gd name="connsiteX1" fmla="*/ 24493 w 39909"/>
                <a:gd name="connsiteY1" fmla="*/ 39153 h 39735"/>
                <a:gd name="connsiteX2" fmla="*/ 39328 w 39909"/>
                <a:gd name="connsiteY2" fmla="*/ 15417 h 39735"/>
                <a:gd name="connsiteX3" fmla="*/ 15591 w 39909"/>
                <a:gd name="connsiteY3" fmla="*/ 582 h 39735"/>
                <a:gd name="connsiteX4" fmla="*/ 756 w 39909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39735">
                  <a:moveTo>
                    <a:pt x="756" y="24318"/>
                  </a:moveTo>
                  <a:cubicBezTo>
                    <a:pt x="3723" y="33219"/>
                    <a:pt x="12624" y="42120"/>
                    <a:pt x="24493" y="39153"/>
                  </a:cubicBezTo>
                  <a:cubicBezTo>
                    <a:pt x="33394" y="36186"/>
                    <a:pt x="42294" y="27285"/>
                    <a:pt x="39328" y="15417"/>
                  </a:cubicBezTo>
                  <a:cubicBezTo>
                    <a:pt x="36361" y="6516"/>
                    <a:pt x="27459" y="-2385"/>
                    <a:pt x="15591" y="582"/>
                  </a:cubicBezTo>
                  <a:cubicBezTo>
                    <a:pt x="3723" y="3549"/>
                    <a:pt x="-2211" y="15417"/>
                    <a:pt x="756" y="24318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B111A0A7-6B6D-47B0-854B-A8D0F3DA8561}"/>
                </a:ext>
              </a:extLst>
            </p:cNvPr>
            <p:cNvSpPr/>
            <p:nvPr/>
          </p:nvSpPr>
          <p:spPr>
            <a:xfrm>
              <a:off x="13001103" y="8060207"/>
              <a:ext cx="89498" cy="32637"/>
            </a:xfrm>
            <a:custGeom>
              <a:avLst/>
              <a:gdLst>
                <a:gd name="connsiteX0" fmla="*/ 84307 w 89498"/>
                <a:gd name="connsiteY0" fmla="*/ 32637 h 32637"/>
                <a:gd name="connsiteX1" fmla="*/ 78372 w 89498"/>
                <a:gd name="connsiteY1" fmla="*/ 29670 h 32637"/>
                <a:gd name="connsiteX2" fmla="*/ 13097 w 89498"/>
                <a:gd name="connsiteY2" fmla="*/ 23736 h 32637"/>
                <a:gd name="connsiteX3" fmla="*/ 1229 w 89498"/>
                <a:gd name="connsiteY3" fmla="*/ 20769 h 32637"/>
                <a:gd name="connsiteX4" fmla="*/ 4196 w 89498"/>
                <a:gd name="connsiteY4" fmla="*/ 8901 h 32637"/>
                <a:gd name="connsiteX5" fmla="*/ 87273 w 89498"/>
                <a:gd name="connsiteY5" fmla="*/ 17802 h 32637"/>
                <a:gd name="connsiteX6" fmla="*/ 87273 w 89498"/>
                <a:gd name="connsiteY6" fmla="*/ 29670 h 32637"/>
                <a:gd name="connsiteX7" fmla="*/ 84307 w 89498"/>
                <a:gd name="connsiteY7" fmla="*/ 32637 h 32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2637">
                  <a:moveTo>
                    <a:pt x="84307" y="32637"/>
                  </a:moveTo>
                  <a:cubicBezTo>
                    <a:pt x="81339" y="32637"/>
                    <a:pt x="81339" y="32637"/>
                    <a:pt x="78372" y="29670"/>
                  </a:cubicBezTo>
                  <a:cubicBezTo>
                    <a:pt x="51669" y="2967"/>
                    <a:pt x="13097" y="23736"/>
                    <a:pt x="13097" y="23736"/>
                  </a:cubicBezTo>
                  <a:cubicBezTo>
                    <a:pt x="10131" y="26703"/>
                    <a:pt x="4196" y="23736"/>
                    <a:pt x="1229" y="20769"/>
                  </a:cubicBezTo>
                  <a:cubicBezTo>
                    <a:pt x="-1738" y="17802"/>
                    <a:pt x="1229" y="11868"/>
                    <a:pt x="4196" y="8901"/>
                  </a:cubicBezTo>
                  <a:cubicBezTo>
                    <a:pt x="21999" y="0"/>
                    <a:pt x="60570" y="-8901"/>
                    <a:pt x="87273" y="17802"/>
                  </a:cubicBezTo>
                  <a:cubicBezTo>
                    <a:pt x="90240" y="20769"/>
                    <a:pt x="90240" y="26703"/>
                    <a:pt x="87273" y="29670"/>
                  </a:cubicBezTo>
                  <a:cubicBezTo>
                    <a:pt x="90240" y="32637"/>
                    <a:pt x="87273" y="32637"/>
                    <a:pt x="84307" y="32637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FBF4A073-49A7-433E-A490-C88A2C99977D}"/>
                </a:ext>
              </a:extLst>
            </p:cNvPr>
            <p:cNvSpPr/>
            <p:nvPr/>
          </p:nvSpPr>
          <p:spPr>
            <a:xfrm>
              <a:off x="12819118" y="8063476"/>
              <a:ext cx="89498" cy="35302"/>
            </a:xfrm>
            <a:custGeom>
              <a:avLst/>
              <a:gdLst>
                <a:gd name="connsiteX0" fmla="*/ 8159 w 89498"/>
                <a:gd name="connsiteY0" fmla="*/ 35303 h 35302"/>
                <a:gd name="connsiteX1" fmla="*/ 2225 w 89498"/>
                <a:gd name="connsiteY1" fmla="*/ 32335 h 35302"/>
                <a:gd name="connsiteX2" fmla="*/ 2225 w 89498"/>
                <a:gd name="connsiteY2" fmla="*/ 20467 h 35302"/>
                <a:gd name="connsiteX3" fmla="*/ 85302 w 89498"/>
                <a:gd name="connsiteY3" fmla="*/ 11566 h 35302"/>
                <a:gd name="connsiteX4" fmla="*/ 88269 w 89498"/>
                <a:gd name="connsiteY4" fmla="*/ 23434 h 35302"/>
                <a:gd name="connsiteX5" fmla="*/ 76401 w 89498"/>
                <a:gd name="connsiteY5" fmla="*/ 26401 h 35302"/>
                <a:gd name="connsiteX6" fmla="*/ 11126 w 89498"/>
                <a:gd name="connsiteY6" fmla="*/ 32335 h 35302"/>
                <a:gd name="connsiteX7" fmla="*/ 8159 w 89498"/>
                <a:gd name="connsiteY7" fmla="*/ 35303 h 35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302">
                  <a:moveTo>
                    <a:pt x="8159" y="35303"/>
                  </a:moveTo>
                  <a:cubicBezTo>
                    <a:pt x="5192" y="35303"/>
                    <a:pt x="5192" y="35303"/>
                    <a:pt x="2225" y="32335"/>
                  </a:cubicBezTo>
                  <a:cubicBezTo>
                    <a:pt x="-742" y="29368"/>
                    <a:pt x="-742" y="23434"/>
                    <a:pt x="2225" y="20467"/>
                  </a:cubicBezTo>
                  <a:cubicBezTo>
                    <a:pt x="14094" y="5632"/>
                    <a:pt x="49697" y="-12170"/>
                    <a:pt x="85302" y="11566"/>
                  </a:cubicBezTo>
                  <a:cubicBezTo>
                    <a:pt x="88269" y="14533"/>
                    <a:pt x="91236" y="17500"/>
                    <a:pt x="88269" y="23434"/>
                  </a:cubicBezTo>
                  <a:cubicBezTo>
                    <a:pt x="85302" y="26401"/>
                    <a:pt x="82335" y="29368"/>
                    <a:pt x="76401" y="26401"/>
                  </a:cubicBezTo>
                  <a:cubicBezTo>
                    <a:pt x="40797" y="2665"/>
                    <a:pt x="14094" y="32335"/>
                    <a:pt x="11126" y="32335"/>
                  </a:cubicBezTo>
                  <a:cubicBezTo>
                    <a:pt x="11126" y="35303"/>
                    <a:pt x="11126" y="35303"/>
                    <a:pt x="8159" y="35303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09607142-CCBF-4B4C-BA64-F856E4DA9A8D}"/>
                </a:ext>
              </a:extLst>
            </p:cNvPr>
            <p:cNvSpPr/>
            <p:nvPr/>
          </p:nvSpPr>
          <p:spPr>
            <a:xfrm>
              <a:off x="12815410" y="8371745"/>
              <a:ext cx="224752" cy="62307"/>
            </a:xfrm>
            <a:custGeom>
              <a:avLst/>
              <a:gdLst>
                <a:gd name="connsiteX0" fmla="*/ 145384 w 224752"/>
                <a:gd name="connsiteY0" fmla="*/ 62307 h 62307"/>
                <a:gd name="connsiteX1" fmla="*/ 2967 w 224752"/>
                <a:gd name="connsiteY1" fmla="*/ 11868 h 62307"/>
                <a:gd name="connsiteX2" fmla="*/ 0 w 224752"/>
                <a:gd name="connsiteY2" fmla="*/ 2967 h 62307"/>
                <a:gd name="connsiteX3" fmla="*/ 8901 w 224752"/>
                <a:gd name="connsiteY3" fmla="*/ 0 h 62307"/>
                <a:gd name="connsiteX4" fmla="*/ 145384 w 224752"/>
                <a:gd name="connsiteY4" fmla="*/ 47472 h 62307"/>
                <a:gd name="connsiteX5" fmla="*/ 145384 w 224752"/>
                <a:gd name="connsiteY5" fmla="*/ 47472 h 62307"/>
                <a:gd name="connsiteX6" fmla="*/ 213626 w 224752"/>
                <a:gd name="connsiteY6" fmla="*/ 23736 h 62307"/>
                <a:gd name="connsiteX7" fmla="*/ 222527 w 224752"/>
                <a:gd name="connsiteY7" fmla="*/ 23736 h 62307"/>
                <a:gd name="connsiteX8" fmla="*/ 222527 w 224752"/>
                <a:gd name="connsiteY8" fmla="*/ 32637 h 62307"/>
                <a:gd name="connsiteX9" fmla="*/ 145384 w 224752"/>
                <a:gd name="connsiteY9" fmla="*/ 62307 h 62307"/>
                <a:gd name="connsiteX10" fmla="*/ 145384 w 224752"/>
                <a:gd name="connsiteY10" fmla="*/ 62307 h 6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752" h="62307">
                  <a:moveTo>
                    <a:pt x="145384" y="62307"/>
                  </a:moveTo>
                  <a:cubicBezTo>
                    <a:pt x="94945" y="62307"/>
                    <a:pt x="8901" y="14835"/>
                    <a:pt x="2967" y="11868"/>
                  </a:cubicBezTo>
                  <a:cubicBezTo>
                    <a:pt x="0" y="8901"/>
                    <a:pt x="0" y="5934"/>
                    <a:pt x="0" y="2967"/>
                  </a:cubicBezTo>
                  <a:cubicBezTo>
                    <a:pt x="2967" y="0"/>
                    <a:pt x="5934" y="0"/>
                    <a:pt x="8901" y="0"/>
                  </a:cubicBezTo>
                  <a:cubicBezTo>
                    <a:pt x="8901" y="0"/>
                    <a:pt x="97912" y="47472"/>
                    <a:pt x="145384" y="47472"/>
                  </a:cubicBezTo>
                  <a:cubicBezTo>
                    <a:pt x="145384" y="47472"/>
                    <a:pt x="145384" y="47472"/>
                    <a:pt x="145384" y="47472"/>
                  </a:cubicBezTo>
                  <a:cubicBezTo>
                    <a:pt x="183956" y="47472"/>
                    <a:pt x="213626" y="23736"/>
                    <a:pt x="213626" y="23736"/>
                  </a:cubicBezTo>
                  <a:cubicBezTo>
                    <a:pt x="216593" y="20769"/>
                    <a:pt x="219560" y="20769"/>
                    <a:pt x="222527" y="23736"/>
                  </a:cubicBezTo>
                  <a:cubicBezTo>
                    <a:pt x="225495" y="26703"/>
                    <a:pt x="225495" y="29670"/>
                    <a:pt x="222527" y="32637"/>
                  </a:cubicBezTo>
                  <a:cubicBezTo>
                    <a:pt x="219560" y="35604"/>
                    <a:pt x="186923" y="62307"/>
                    <a:pt x="145384" y="62307"/>
                  </a:cubicBezTo>
                  <a:cubicBezTo>
                    <a:pt x="145384" y="62307"/>
                    <a:pt x="145384" y="62307"/>
                    <a:pt x="145384" y="62307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F4156753-FC7C-4648-ADB1-7AFF38E8672F}"/>
                </a:ext>
              </a:extLst>
            </p:cNvPr>
            <p:cNvSpPr/>
            <p:nvPr/>
          </p:nvSpPr>
          <p:spPr>
            <a:xfrm>
              <a:off x="12684552" y="7899987"/>
              <a:ext cx="110087" cy="261098"/>
            </a:xfrm>
            <a:custGeom>
              <a:avLst/>
              <a:gdLst>
                <a:gd name="connsiteX0" fmla="*/ 110088 w 110087"/>
                <a:gd name="connsiteY0" fmla="*/ 124616 h 261098"/>
                <a:gd name="connsiteX1" fmla="*/ 62615 w 110087"/>
                <a:gd name="connsiteY1" fmla="*/ 261099 h 261098"/>
                <a:gd name="connsiteX2" fmla="*/ 6242 w 110087"/>
                <a:gd name="connsiteY2" fmla="*/ 163187 h 261098"/>
                <a:gd name="connsiteX3" fmla="*/ 62615 w 110087"/>
                <a:gd name="connsiteY3" fmla="*/ 0 h 261098"/>
                <a:gd name="connsiteX4" fmla="*/ 110088 w 110087"/>
                <a:gd name="connsiteY4" fmla="*/ 124616 h 26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087" h="261098">
                  <a:moveTo>
                    <a:pt x="110088" y="124616"/>
                  </a:moveTo>
                  <a:cubicBezTo>
                    <a:pt x="110088" y="124616"/>
                    <a:pt x="56682" y="231429"/>
                    <a:pt x="62615" y="261099"/>
                  </a:cubicBezTo>
                  <a:cubicBezTo>
                    <a:pt x="62615" y="261099"/>
                    <a:pt x="21077" y="216594"/>
                    <a:pt x="6242" y="163187"/>
                  </a:cubicBezTo>
                  <a:cubicBezTo>
                    <a:pt x="-8593" y="106813"/>
                    <a:pt x="308" y="14835"/>
                    <a:pt x="62615" y="0"/>
                  </a:cubicBezTo>
                  <a:cubicBezTo>
                    <a:pt x="62615" y="0"/>
                    <a:pt x="71517" y="103846"/>
                    <a:pt x="110088" y="124616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96A45C4E-DE76-4F25-9186-DC6F582D2B48}"/>
                </a:ext>
              </a:extLst>
            </p:cNvPr>
            <p:cNvSpPr/>
            <p:nvPr/>
          </p:nvSpPr>
          <p:spPr>
            <a:xfrm>
              <a:off x="12737487" y="7785902"/>
              <a:ext cx="487373" cy="247631"/>
            </a:xfrm>
            <a:custGeom>
              <a:avLst/>
              <a:gdLst>
                <a:gd name="connsiteX0" fmla="*/ 57153 w 487373"/>
                <a:gd name="connsiteY0" fmla="*/ 238700 h 247631"/>
                <a:gd name="connsiteX1" fmla="*/ 175835 w 487373"/>
                <a:gd name="connsiteY1" fmla="*/ 200129 h 247631"/>
                <a:gd name="connsiteX2" fmla="*/ 487373 w 487373"/>
                <a:gd name="connsiteY2" fmla="*/ 188260 h 247631"/>
                <a:gd name="connsiteX3" fmla="*/ 125396 w 487373"/>
                <a:gd name="connsiteY3" fmla="*/ 10238 h 247631"/>
                <a:gd name="connsiteX4" fmla="*/ 9681 w 487373"/>
                <a:gd name="connsiteY4" fmla="*/ 114084 h 247631"/>
                <a:gd name="connsiteX5" fmla="*/ 57153 w 487373"/>
                <a:gd name="connsiteY5" fmla="*/ 238700 h 247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373" h="247631">
                  <a:moveTo>
                    <a:pt x="57153" y="238700"/>
                  </a:moveTo>
                  <a:cubicBezTo>
                    <a:pt x="57153" y="238700"/>
                    <a:pt x="149132" y="200129"/>
                    <a:pt x="175835" y="200129"/>
                  </a:cubicBezTo>
                  <a:cubicBezTo>
                    <a:pt x="273747" y="203095"/>
                    <a:pt x="398362" y="312876"/>
                    <a:pt x="487373" y="188260"/>
                  </a:cubicBezTo>
                  <a:cubicBezTo>
                    <a:pt x="442868" y="90349"/>
                    <a:pt x="285615" y="-37234"/>
                    <a:pt x="125396" y="10238"/>
                  </a:cubicBezTo>
                  <a:cubicBezTo>
                    <a:pt x="48253" y="31008"/>
                    <a:pt x="15615" y="78480"/>
                    <a:pt x="9681" y="114084"/>
                  </a:cubicBezTo>
                  <a:cubicBezTo>
                    <a:pt x="9681" y="114084"/>
                    <a:pt x="-31858" y="226832"/>
                    <a:pt x="57153" y="238700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6F95C93A-3B56-42E6-B309-361D617B82C1}"/>
                </a:ext>
              </a:extLst>
            </p:cNvPr>
            <p:cNvSpPr/>
            <p:nvPr/>
          </p:nvSpPr>
          <p:spPr>
            <a:xfrm>
              <a:off x="12686805" y="8128263"/>
              <a:ext cx="75197" cy="107624"/>
            </a:xfrm>
            <a:custGeom>
              <a:avLst/>
              <a:gdLst>
                <a:gd name="connsiteX0" fmla="*/ 63330 w 75197"/>
                <a:gd name="connsiteY0" fmla="*/ 15021 h 107624"/>
                <a:gd name="connsiteX1" fmla="*/ 6956 w 75197"/>
                <a:gd name="connsiteY1" fmla="*/ 6120 h 107624"/>
                <a:gd name="connsiteX2" fmla="*/ 63330 w 75197"/>
                <a:gd name="connsiteY2" fmla="*/ 104032 h 107624"/>
                <a:gd name="connsiteX3" fmla="*/ 63330 w 75197"/>
                <a:gd name="connsiteY3" fmla="*/ 15021 h 10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197" h="107624">
                  <a:moveTo>
                    <a:pt x="63330" y="15021"/>
                  </a:moveTo>
                  <a:cubicBezTo>
                    <a:pt x="63330" y="15021"/>
                    <a:pt x="30692" y="-11683"/>
                    <a:pt x="6956" y="6120"/>
                  </a:cubicBezTo>
                  <a:cubicBezTo>
                    <a:pt x="-16779" y="26889"/>
                    <a:pt x="24759" y="127768"/>
                    <a:pt x="63330" y="104032"/>
                  </a:cubicBezTo>
                  <a:cubicBezTo>
                    <a:pt x="90033" y="89197"/>
                    <a:pt x="63330" y="15021"/>
                    <a:pt x="63330" y="15021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B44D8BA4-5021-4E51-9A2D-859D5B15BA77}"/>
                </a:ext>
              </a:extLst>
            </p:cNvPr>
            <p:cNvSpPr/>
            <p:nvPr/>
          </p:nvSpPr>
          <p:spPr>
            <a:xfrm>
              <a:off x="12732892" y="7913593"/>
              <a:ext cx="73615" cy="235624"/>
            </a:xfrm>
            <a:custGeom>
              <a:avLst/>
              <a:gdLst>
                <a:gd name="connsiteX0" fmla="*/ 17242 w 73615"/>
                <a:gd name="connsiteY0" fmla="*/ 235625 h 235624"/>
                <a:gd name="connsiteX1" fmla="*/ 17242 w 73615"/>
                <a:gd name="connsiteY1" fmla="*/ 235625 h 235624"/>
                <a:gd name="connsiteX2" fmla="*/ 11309 w 73615"/>
                <a:gd name="connsiteY2" fmla="*/ 229691 h 235624"/>
                <a:gd name="connsiteX3" fmla="*/ 55814 w 73615"/>
                <a:gd name="connsiteY3" fmla="*/ 111009 h 235624"/>
                <a:gd name="connsiteX4" fmla="*/ 8342 w 73615"/>
                <a:gd name="connsiteY4" fmla="*/ 69471 h 235624"/>
                <a:gd name="connsiteX5" fmla="*/ 5374 w 73615"/>
                <a:gd name="connsiteY5" fmla="*/ 4196 h 235624"/>
                <a:gd name="connsiteX6" fmla="*/ 11309 w 73615"/>
                <a:gd name="connsiteY6" fmla="*/ 1229 h 235624"/>
                <a:gd name="connsiteX7" fmla="*/ 14275 w 73615"/>
                <a:gd name="connsiteY7" fmla="*/ 7163 h 235624"/>
                <a:gd name="connsiteX8" fmla="*/ 17242 w 73615"/>
                <a:gd name="connsiteY8" fmla="*/ 63537 h 235624"/>
                <a:gd name="connsiteX9" fmla="*/ 64715 w 73615"/>
                <a:gd name="connsiteY9" fmla="*/ 102108 h 235624"/>
                <a:gd name="connsiteX10" fmla="*/ 73616 w 73615"/>
                <a:gd name="connsiteY10" fmla="*/ 105075 h 235624"/>
                <a:gd name="connsiteX11" fmla="*/ 67682 w 73615"/>
                <a:gd name="connsiteY11" fmla="*/ 111009 h 235624"/>
                <a:gd name="connsiteX12" fmla="*/ 23177 w 73615"/>
                <a:gd name="connsiteY12" fmla="*/ 229691 h 235624"/>
                <a:gd name="connsiteX13" fmla="*/ 17242 w 73615"/>
                <a:gd name="connsiteY13" fmla="*/ 235625 h 23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615" h="235624">
                  <a:moveTo>
                    <a:pt x="17242" y="235625"/>
                  </a:moveTo>
                  <a:lnTo>
                    <a:pt x="17242" y="235625"/>
                  </a:lnTo>
                  <a:cubicBezTo>
                    <a:pt x="14275" y="235625"/>
                    <a:pt x="11309" y="232658"/>
                    <a:pt x="11309" y="229691"/>
                  </a:cubicBezTo>
                  <a:cubicBezTo>
                    <a:pt x="14275" y="179251"/>
                    <a:pt x="43945" y="128811"/>
                    <a:pt x="55814" y="111009"/>
                  </a:cubicBezTo>
                  <a:cubicBezTo>
                    <a:pt x="43945" y="105075"/>
                    <a:pt x="20210" y="93207"/>
                    <a:pt x="8342" y="69471"/>
                  </a:cubicBezTo>
                  <a:cubicBezTo>
                    <a:pt x="-560" y="51669"/>
                    <a:pt x="-3526" y="27932"/>
                    <a:pt x="5374" y="4196"/>
                  </a:cubicBezTo>
                  <a:cubicBezTo>
                    <a:pt x="5374" y="1229"/>
                    <a:pt x="8342" y="-1738"/>
                    <a:pt x="11309" y="1229"/>
                  </a:cubicBezTo>
                  <a:cubicBezTo>
                    <a:pt x="14275" y="1229"/>
                    <a:pt x="17242" y="4196"/>
                    <a:pt x="14275" y="7163"/>
                  </a:cubicBezTo>
                  <a:cubicBezTo>
                    <a:pt x="8342" y="27932"/>
                    <a:pt x="8342" y="45734"/>
                    <a:pt x="17242" y="63537"/>
                  </a:cubicBezTo>
                  <a:cubicBezTo>
                    <a:pt x="32078" y="90240"/>
                    <a:pt x="64715" y="102108"/>
                    <a:pt x="64715" y="102108"/>
                  </a:cubicBezTo>
                  <a:lnTo>
                    <a:pt x="73616" y="105075"/>
                  </a:lnTo>
                  <a:lnTo>
                    <a:pt x="67682" y="111009"/>
                  </a:lnTo>
                  <a:cubicBezTo>
                    <a:pt x="67682" y="111009"/>
                    <a:pt x="26144" y="170350"/>
                    <a:pt x="23177" y="229691"/>
                  </a:cubicBezTo>
                  <a:cubicBezTo>
                    <a:pt x="20210" y="235625"/>
                    <a:pt x="20210" y="235625"/>
                    <a:pt x="17242" y="235625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DF3E5261-C440-45D3-BA72-25BBAF50259F}"/>
                </a:ext>
              </a:extLst>
            </p:cNvPr>
            <p:cNvSpPr/>
            <p:nvPr/>
          </p:nvSpPr>
          <p:spPr>
            <a:xfrm>
              <a:off x="12907388" y="7953902"/>
              <a:ext cx="189148" cy="38062"/>
            </a:xfrm>
            <a:custGeom>
              <a:avLst/>
              <a:gdLst>
                <a:gd name="connsiteX0" fmla="*/ 5934 w 189148"/>
                <a:gd name="connsiteY0" fmla="*/ 38063 h 38062"/>
                <a:gd name="connsiteX1" fmla="*/ 0 w 189148"/>
                <a:gd name="connsiteY1" fmla="*/ 35095 h 38062"/>
                <a:gd name="connsiteX2" fmla="*/ 2966 w 189148"/>
                <a:gd name="connsiteY2" fmla="*/ 26195 h 38062"/>
                <a:gd name="connsiteX3" fmla="*/ 186923 w 189148"/>
                <a:gd name="connsiteY3" fmla="*/ 20260 h 38062"/>
                <a:gd name="connsiteX4" fmla="*/ 186923 w 189148"/>
                <a:gd name="connsiteY4" fmla="*/ 29161 h 38062"/>
                <a:gd name="connsiteX5" fmla="*/ 178022 w 189148"/>
                <a:gd name="connsiteY5" fmla="*/ 29161 h 38062"/>
                <a:gd name="connsiteX6" fmla="*/ 5934 w 189148"/>
                <a:gd name="connsiteY6" fmla="*/ 38063 h 38062"/>
                <a:gd name="connsiteX7" fmla="*/ 5934 w 189148"/>
                <a:gd name="connsiteY7" fmla="*/ 38063 h 38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148" h="38062">
                  <a:moveTo>
                    <a:pt x="5934" y="38063"/>
                  </a:moveTo>
                  <a:cubicBezTo>
                    <a:pt x="2966" y="38063"/>
                    <a:pt x="2966" y="38063"/>
                    <a:pt x="0" y="35095"/>
                  </a:cubicBezTo>
                  <a:cubicBezTo>
                    <a:pt x="0" y="32129"/>
                    <a:pt x="0" y="29161"/>
                    <a:pt x="2966" y="26195"/>
                  </a:cubicBezTo>
                  <a:cubicBezTo>
                    <a:pt x="8901" y="23227"/>
                    <a:pt x="118681" y="-27212"/>
                    <a:pt x="186923" y="20260"/>
                  </a:cubicBezTo>
                  <a:cubicBezTo>
                    <a:pt x="189890" y="23227"/>
                    <a:pt x="189890" y="26195"/>
                    <a:pt x="186923" y="29161"/>
                  </a:cubicBezTo>
                  <a:cubicBezTo>
                    <a:pt x="183956" y="32129"/>
                    <a:pt x="180988" y="32129"/>
                    <a:pt x="178022" y="29161"/>
                  </a:cubicBezTo>
                  <a:cubicBezTo>
                    <a:pt x="118681" y="-12377"/>
                    <a:pt x="8901" y="38063"/>
                    <a:pt x="5934" y="38063"/>
                  </a:cubicBezTo>
                  <a:cubicBezTo>
                    <a:pt x="8901" y="38063"/>
                    <a:pt x="5934" y="38063"/>
                    <a:pt x="5934" y="38063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0D00264D-6654-48A5-86A9-12D13D02CAEF}"/>
                </a:ext>
              </a:extLst>
            </p:cNvPr>
            <p:cNvSpPr/>
            <p:nvPr/>
          </p:nvSpPr>
          <p:spPr>
            <a:xfrm>
              <a:off x="12922223" y="8319080"/>
              <a:ext cx="117032" cy="28928"/>
            </a:xfrm>
            <a:custGeom>
              <a:avLst/>
              <a:gdLst>
                <a:gd name="connsiteX0" fmla="*/ 65274 w 117032"/>
                <a:gd name="connsiteY0" fmla="*/ 28929 h 28928"/>
                <a:gd name="connsiteX1" fmla="*/ 2966 w 117032"/>
                <a:gd name="connsiteY1" fmla="*/ 14093 h 28928"/>
                <a:gd name="connsiteX2" fmla="*/ 0 w 117032"/>
                <a:gd name="connsiteY2" fmla="*/ 5192 h 28928"/>
                <a:gd name="connsiteX3" fmla="*/ 8901 w 117032"/>
                <a:gd name="connsiteY3" fmla="*/ 2225 h 28928"/>
                <a:gd name="connsiteX4" fmla="*/ 106812 w 117032"/>
                <a:gd name="connsiteY4" fmla="*/ 2225 h 28928"/>
                <a:gd name="connsiteX5" fmla="*/ 115714 w 117032"/>
                <a:gd name="connsiteY5" fmla="*/ 2225 h 28928"/>
                <a:gd name="connsiteX6" fmla="*/ 115714 w 117032"/>
                <a:gd name="connsiteY6" fmla="*/ 11126 h 28928"/>
                <a:gd name="connsiteX7" fmla="*/ 65274 w 117032"/>
                <a:gd name="connsiteY7" fmla="*/ 28929 h 28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032" h="28928">
                  <a:moveTo>
                    <a:pt x="65274" y="28929"/>
                  </a:moveTo>
                  <a:cubicBezTo>
                    <a:pt x="32637" y="28929"/>
                    <a:pt x="5934" y="14093"/>
                    <a:pt x="2966" y="14093"/>
                  </a:cubicBezTo>
                  <a:cubicBezTo>
                    <a:pt x="0" y="14093"/>
                    <a:pt x="0" y="8159"/>
                    <a:pt x="0" y="5192"/>
                  </a:cubicBezTo>
                  <a:cubicBezTo>
                    <a:pt x="0" y="2225"/>
                    <a:pt x="5934" y="2225"/>
                    <a:pt x="8901" y="2225"/>
                  </a:cubicBezTo>
                  <a:cubicBezTo>
                    <a:pt x="8901" y="2225"/>
                    <a:pt x="71209" y="31896"/>
                    <a:pt x="106812" y="2225"/>
                  </a:cubicBezTo>
                  <a:cubicBezTo>
                    <a:pt x="109780" y="-742"/>
                    <a:pt x="112747" y="-742"/>
                    <a:pt x="115714" y="2225"/>
                  </a:cubicBezTo>
                  <a:cubicBezTo>
                    <a:pt x="118681" y="5192"/>
                    <a:pt x="115714" y="8159"/>
                    <a:pt x="115714" y="11126"/>
                  </a:cubicBezTo>
                  <a:cubicBezTo>
                    <a:pt x="97912" y="25961"/>
                    <a:pt x="80109" y="28929"/>
                    <a:pt x="65274" y="28929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2" name="图形 1">
              <a:extLst>
                <a:ext uri="{FF2B5EF4-FFF2-40B4-BE49-F238E27FC236}">
                  <a16:creationId xmlns:a16="http://schemas.microsoft.com/office/drawing/2014/main" id="{E3AE1897-5380-45AC-81D3-7EA7B9A0F74D}"/>
                </a:ext>
              </a:extLst>
            </p:cNvPr>
            <p:cNvGrpSpPr/>
            <p:nvPr/>
          </p:nvGrpSpPr>
          <p:grpSpPr>
            <a:xfrm>
              <a:off x="12842043" y="7487569"/>
              <a:ext cx="311607" cy="401107"/>
              <a:chOff x="12842043" y="7487569"/>
              <a:chExt cx="311607" cy="401107"/>
            </a:xfrm>
          </p:grpSpPr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0E1D0040-6CC0-421D-96EF-DE713054331F}"/>
                  </a:ext>
                </a:extLst>
              </p:cNvPr>
              <p:cNvSpPr/>
              <p:nvPr/>
            </p:nvSpPr>
            <p:spPr>
              <a:xfrm>
                <a:off x="12842043" y="7487569"/>
                <a:ext cx="311607" cy="401107"/>
              </a:xfrm>
              <a:custGeom>
                <a:avLst/>
                <a:gdLst>
                  <a:gd name="connsiteX0" fmla="*/ 311608 w 311607"/>
                  <a:gd name="connsiteY0" fmla="*/ 394615 h 401107"/>
                  <a:gd name="connsiteX1" fmla="*/ 216662 w 311607"/>
                  <a:gd name="connsiteY1" fmla="*/ 0 h 401107"/>
                  <a:gd name="connsiteX2" fmla="*/ 69 w 311607"/>
                  <a:gd name="connsiteY2" fmla="*/ 323406 h 401107"/>
                  <a:gd name="connsiteX3" fmla="*/ 311608 w 311607"/>
                  <a:gd name="connsiteY3" fmla="*/ 394615 h 401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1607" h="401107">
                    <a:moveTo>
                      <a:pt x="311608" y="394615"/>
                    </a:moveTo>
                    <a:lnTo>
                      <a:pt x="216662" y="0"/>
                    </a:lnTo>
                    <a:lnTo>
                      <a:pt x="69" y="323406"/>
                    </a:lnTo>
                    <a:cubicBezTo>
                      <a:pt x="-2898" y="326374"/>
                      <a:pt x="89080" y="427253"/>
                      <a:pt x="311608" y="394615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E2A13E35-41A7-4625-8819-B60D7F3B560B}"/>
                  </a:ext>
                </a:extLst>
              </p:cNvPr>
              <p:cNvSpPr/>
              <p:nvPr/>
            </p:nvSpPr>
            <p:spPr>
              <a:xfrm>
                <a:off x="13005962" y="7623845"/>
                <a:ext cx="29100" cy="30086"/>
              </a:xfrm>
              <a:custGeom>
                <a:avLst/>
                <a:gdLst>
                  <a:gd name="connsiteX0" fmla="*/ 14173 w 29100"/>
                  <a:gd name="connsiteY0" fmla="*/ 208 h 30086"/>
                  <a:gd name="connsiteX1" fmla="*/ 17140 w 29100"/>
                  <a:gd name="connsiteY1" fmla="*/ 29879 h 30086"/>
                  <a:gd name="connsiteX2" fmla="*/ 14173 w 29100"/>
                  <a:gd name="connsiteY2" fmla="*/ 208 h 30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100" h="30086">
                    <a:moveTo>
                      <a:pt x="14173" y="208"/>
                    </a:moveTo>
                    <a:cubicBezTo>
                      <a:pt x="31975" y="-2759"/>
                      <a:pt x="34942" y="26911"/>
                      <a:pt x="17140" y="29879"/>
                    </a:cubicBezTo>
                    <a:cubicBezTo>
                      <a:pt x="-3630" y="32845"/>
                      <a:pt x="-6597" y="3175"/>
                      <a:pt x="14173" y="20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F723FB72-E38B-4916-8F96-057ACE7794EA}"/>
                  </a:ext>
                </a:extLst>
              </p:cNvPr>
              <p:cNvSpPr/>
              <p:nvPr/>
            </p:nvSpPr>
            <p:spPr>
              <a:xfrm>
                <a:off x="13037844" y="7692086"/>
                <a:ext cx="26888" cy="30086"/>
              </a:xfrm>
              <a:custGeom>
                <a:avLst/>
                <a:gdLst>
                  <a:gd name="connsiteX0" fmla="*/ 11960 w 26888"/>
                  <a:gd name="connsiteY0" fmla="*/ 208 h 30086"/>
                  <a:gd name="connsiteX1" fmla="*/ 14928 w 26888"/>
                  <a:gd name="connsiteY1" fmla="*/ 29879 h 30086"/>
                  <a:gd name="connsiteX2" fmla="*/ 11960 w 26888"/>
                  <a:gd name="connsiteY2" fmla="*/ 208 h 30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888" h="30086">
                    <a:moveTo>
                      <a:pt x="11960" y="208"/>
                    </a:moveTo>
                    <a:cubicBezTo>
                      <a:pt x="29763" y="-2759"/>
                      <a:pt x="32730" y="26912"/>
                      <a:pt x="14928" y="29879"/>
                    </a:cubicBezTo>
                    <a:cubicBezTo>
                      <a:pt x="-2875" y="32846"/>
                      <a:pt x="-5842" y="3175"/>
                      <a:pt x="11960" y="20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3A2C7778-42DC-47F0-8377-B4B8A6A573A6}"/>
                  </a:ext>
                </a:extLst>
              </p:cNvPr>
              <p:cNvSpPr/>
              <p:nvPr/>
            </p:nvSpPr>
            <p:spPr>
              <a:xfrm>
                <a:off x="12940687" y="7730658"/>
                <a:ext cx="29099" cy="30086"/>
              </a:xfrm>
              <a:custGeom>
                <a:avLst/>
                <a:gdLst>
                  <a:gd name="connsiteX0" fmla="*/ 14172 w 29099"/>
                  <a:gd name="connsiteY0" fmla="*/ 208 h 30086"/>
                  <a:gd name="connsiteX1" fmla="*/ 17139 w 29099"/>
                  <a:gd name="connsiteY1" fmla="*/ 29879 h 30086"/>
                  <a:gd name="connsiteX2" fmla="*/ 14172 w 29099"/>
                  <a:gd name="connsiteY2" fmla="*/ 208 h 30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099" h="30086">
                    <a:moveTo>
                      <a:pt x="14172" y="208"/>
                    </a:moveTo>
                    <a:cubicBezTo>
                      <a:pt x="31975" y="-2759"/>
                      <a:pt x="34942" y="26912"/>
                      <a:pt x="17139" y="29879"/>
                    </a:cubicBezTo>
                    <a:cubicBezTo>
                      <a:pt x="-3629" y="32846"/>
                      <a:pt x="-6597" y="3175"/>
                      <a:pt x="14172" y="20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C2D4EEC4-11D2-44B5-A96C-151AD0656214}"/>
                  </a:ext>
                </a:extLst>
              </p:cNvPr>
              <p:cNvSpPr/>
              <p:nvPr/>
            </p:nvSpPr>
            <p:spPr>
              <a:xfrm>
                <a:off x="13053435" y="7778130"/>
                <a:ext cx="29100" cy="30086"/>
              </a:xfrm>
              <a:custGeom>
                <a:avLst/>
                <a:gdLst>
                  <a:gd name="connsiteX0" fmla="*/ 14173 w 29100"/>
                  <a:gd name="connsiteY0" fmla="*/ 208 h 30086"/>
                  <a:gd name="connsiteX1" fmla="*/ 17140 w 29100"/>
                  <a:gd name="connsiteY1" fmla="*/ 29879 h 30086"/>
                  <a:gd name="connsiteX2" fmla="*/ 14173 w 29100"/>
                  <a:gd name="connsiteY2" fmla="*/ 208 h 30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100" h="30086">
                    <a:moveTo>
                      <a:pt x="14173" y="208"/>
                    </a:moveTo>
                    <a:cubicBezTo>
                      <a:pt x="31975" y="-2759"/>
                      <a:pt x="34941" y="26911"/>
                      <a:pt x="17140" y="29879"/>
                    </a:cubicBezTo>
                    <a:cubicBezTo>
                      <a:pt x="-3630" y="32845"/>
                      <a:pt x="-6597" y="3175"/>
                      <a:pt x="14173" y="20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AD758347-9C8F-4512-87E3-FE03DF685991}"/>
                  </a:ext>
                </a:extLst>
              </p:cNvPr>
              <p:cNvSpPr/>
              <p:nvPr/>
            </p:nvSpPr>
            <p:spPr>
              <a:xfrm>
                <a:off x="12975537" y="7819669"/>
                <a:ext cx="26888" cy="30086"/>
              </a:xfrm>
              <a:custGeom>
                <a:avLst/>
                <a:gdLst>
                  <a:gd name="connsiteX0" fmla="*/ 11960 w 26888"/>
                  <a:gd name="connsiteY0" fmla="*/ 208 h 30086"/>
                  <a:gd name="connsiteX1" fmla="*/ 14928 w 26888"/>
                  <a:gd name="connsiteY1" fmla="*/ 29879 h 30086"/>
                  <a:gd name="connsiteX2" fmla="*/ 11960 w 26888"/>
                  <a:gd name="connsiteY2" fmla="*/ 208 h 30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888" h="30086">
                    <a:moveTo>
                      <a:pt x="11960" y="208"/>
                    </a:moveTo>
                    <a:cubicBezTo>
                      <a:pt x="29763" y="-2759"/>
                      <a:pt x="32730" y="26912"/>
                      <a:pt x="14928" y="29879"/>
                    </a:cubicBezTo>
                    <a:cubicBezTo>
                      <a:pt x="-2875" y="32846"/>
                      <a:pt x="-5842" y="3175"/>
                      <a:pt x="11960" y="20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CEB40206-916B-48D8-BACD-334CD43916C9}"/>
                </a:ext>
              </a:extLst>
            </p:cNvPr>
            <p:cNvSpPr/>
            <p:nvPr/>
          </p:nvSpPr>
          <p:spPr>
            <a:xfrm>
              <a:off x="12441563" y="8858338"/>
              <a:ext cx="38571" cy="329340"/>
            </a:xfrm>
            <a:custGeom>
              <a:avLst/>
              <a:gdLst>
                <a:gd name="connsiteX0" fmla="*/ 5934 w 38571"/>
                <a:gd name="connsiteY0" fmla="*/ 329341 h 329340"/>
                <a:gd name="connsiteX1" fmla="*/ 5934 w 38571"/>
                <a:gd name="connsiteY1" fmla="*/ 329341 h 329340"/>
                <a:gd name="connsiteX2" fmla="*/ 0 w 38571"/>
                <a:gd name="connsiteY2" fmla="*/ 323407 h 329340"/>
                <a:gd name="connsiteX3" fmla="*/ 26703 w 38571"/>
                <a:gd name="connsiteY3" fmla="*/ 5934 h 329340"/>
                <a:gd name="connsiteX4" fmla="*/ 32638 w 38571"/>
                <a:gd name="connsiteY4" fmla="*/ 0 h 329340"/>
                <a:gd name="connsiteX5" fmla="*/ 38571 w 38571"/>
                <a:gd name="connsiteY5" fmla="*/ 5934 h 329340"/>
                <a:gd name="connsiteX6" fmla="*/ 11868 w 38571"/>
                <a:gd name="connsiteY6" fmla="*/ 323407 h 329340"/>
                <a:gd name="connsiteX7" fmla="*/ 5934 w 38571"/>
                <a:gd name="connsiteY7" fmla="*/ 329341 h 32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571" h="329340">
                  <a:moveTo>
                    <a:pt x="5934" y="329341"/>
                  </a:moveTo>
                  <a:cubicBezTo>
                    <a:pt x="5934" y="329341"/>
                    <a:pt x="5934" y="329341"/>
                    <a:pt x="5934" y="329341"/>
                  </a:cubicBezTo>
                  <a:cubicBezTo>
                    <a:pt x="2967" y="329341"/>
                    <a:pt x="0" y="326374"/>
                    <a:pt x="0" y="323407"/>
                  </a:cubicBezTo>
                  <a:cubicBezTo>
                    <a:pt x="5934" y="249231"/>
                    <a:pt x="26703" y="8901"/>
                    <a:pt x="26703" y="5934"/>
                  </a:cubicBezTo>
                  <a:cubicBezTo>
                    <a:pt x="26703" y="2967"/>
                    <a:pt x="29670" y="0"/>
                    <a:pt x="32638" y="0"/>
                  </a:cubicBezTo>
                  <a:cubicBezTo>
                    <a:pt x="35605" y="0"/>
                    <a:pt x="38571" y="2967"/>
                    <a:pt x="38571" y="5934"/>
                  </a:cubicBezTo>
                  <a:cubicBezTo>
                    <a:pt x="38571" y="8901"/>
                    <a:pt x="14835" y="249231"/>
                    <a:pt x="11868" y="323407"/>
                  </a:cubicBezTo>
                  <a:cubicBezTo>
                    <a:pt x="11868" y="326374"/>
                    <a:pt x="8901" y="329341"/>
                    <a:pt x="5934" y="329341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4" name="图形 1">
              <a:extLst>
                <a:ext uri="{FF2B5EF4-FFF2-40B4-BE49-F238E27FC236}">
                  <a16:creationId xmlns:a16="http://schemas.microsoft.com/office/drawing/2014/main" id="{576570C6-C37E-4DCF-AEC5-13B90FB01530}"/>
                </a:ext>
              </a:extLst>
            </p:cNvPr>
            <p:cNvGrpSpPr/>
            <p:nvPr/>
          </p:nvGrpSpPr>
          <p:grpSpPr>
            <a:xfrm>
              <a:off x="14311536" y="8804704"/>
              <a:ext cx="165412" cy="223642"/>
              <a:chOff x="14311536" y="8804704"/>
              <a:chExt cx="165412" cy="223642"/>
            </a:xfrm>
          </p:grpSpPr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94A611E6-EEF3-4F10-B225-5235042A948C}"/>
                  </a:ext>
                </a:extLst>
              </p:cNvPr>
              <p:cNvSpPr/>
              <p:nvPr/>
            </p:nvSpPr>
            <p:spPr>
              <a:xfrm>
                <a:off x="14319285" y="8804704"/>
                <a:ext cx="142828" cy="112118"/>
              </a:xfrm>
              <a:custGeom>
                <a:avLst/>
                <a:gdLst>
                  <a:gd name="connsiteX0" fmla="*/ 122059 w 142828"/>
                  <a:gd name="connsiteY0" fmla="*/ 228 h 112118"/>
                  <a:gd name="connsiteX1" fmla="*/ 33048 w 142828"/>
                  <a:gd name="connsiteY1" fmla="*/ 41766 h 112118"/>
                  <a:gd name="connsiteX2" fmla="*/ 18212 w 142828"/>
                  <a:gd name="connsiteY2" fmla="*/ 47700 h 112118"/>
                  <a:gd name="connsiteX3" fmla="*/ 6345 w 142828"/>
                  <a:gd name="connsiteY3" fmla="*/ 59568 h 112118"/>
                  <a:gd name="connsiteX4" fmla="*/ 9312 w 142828"/>
                  <a:gd name="connsiteY4" fmla="*/ 107041 h 112118"/>
                  <a:gd name="connsiteX5" fmla="*/ 53817 w 142828"/>
                  <a:gd name="connsiteY5" fmla="*/ 101107 h 112118"/>
                  <a:gd name="connsiteX6" fmla="*/ 110191 w 142828"/>
                  <a:gd name="connsiteY6" fmla="*/ 68469 h 112118"/>
                  <a:gd name="connsiteX7" fmla="*/ 142828 w 142828"/>
                  <a:gd name="connsiteY7" fmla="*/ 32865 h 112118"/>
                  <a:gd name="connsiteX8" fmla="*/ 122059 w 142828"/>
                  <a:gd name="connsiteY8" fmla="*/ 228 h 11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2828" h="112118">
                    <a:moveTo>
                      <a:pt x="122059" y="228"/>
                    </a:moveTo>
                    <a:cubicBezTo>
                      <a:pt x="92388" y="-2739"/>
                      <a:pt x="62718" y="23964"/>
                      <a:pt x="33048" y="41766"/>
                    </a:cubicBezTo>
                    <a:cubicBezTo>
                      <a:pt x="30080" y="44733"/>
                      <a:pt x="21180" y="44733"/>
                      <a:pt x="18212" y="47700"/>
                    </a:cubicBezTo>
                    <a:cubicBezTo>
                      <a:pt x="12279" y="50667"/>
                      <a:pt x="9312" y="53634"/>
                      <a:pt x="6345" y="59568"/>
                    </a:cubicBezTo>
                    <a:cubicBezTo>
                      <a:pt x="-2556" y="74403"/>
                      <a:pt x="-2556" y="95173"/>
                      <a:pt x="9312" y="107041"/>
                    </a:cubicBezTo>
                    <a:cubicBezTo>
                      <a:pt x="21180" y="118909"/>
                      <a:pt x="41949" y="107041"/>
                      <a:pt x="53817" y="101107"/>
                    </a:cubicBezTo>
                    <a:cubicBezTo>
                      <a:pt x="71620" y="92206"/>
                      <a:pt x="92388" y="80338"/>
                      <a:pt x="110191" y="68469"/>
                    </a:cubicBezTo>
                    <a:cubicBezTo>
                      <a:pt x="122059" y="59568"/>
                      <a:pt x="139861" y="50667"/>
                      <a:pt x="142828" y="32865"/>
                    </a:cubicBezTo>
                    <a:cubicBezTo>
                      <a:pt x="142828" y="15063"/>
                      <a:pt x="133927" y="228"/>
                      <a:pt x="122059" y="228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03389D5A-DBEC-439C-9C81-06CD598062FC}"/>
                  </a:ext>
                </a:extLst>
              </p:cNvPr>
              <p:cNvSpPr/>
              <p:nvPr/>
            </p:nvSpPr>
            <p:spPr>
              <a:xfrm>
                <a:off x="14322251" y="8856830"/>
                <a:ext cx="142828" cy="113400"/>
              </a:xfrm>
              <a:custGeom>
                <a:avLst/>
                <a:gdLst>
                  <a:gd name="connsiteX0" fmla="*/ 122059 w 142828"/>
                  <a:gd name="connsiteY0" fmla="*/ 1509 h 113400"/>
                  <a:gd name="connsiteX1" fmla="*/ 24148 w 142828"/>
                  <a:gd name="connsiteY1" fmla="*/ 43048 h 113400"/>
                  <a:gd name="connsiteX2" fmla="*/ 18213 w 142828"/>
                  <a:gd name="connsiteY2" fmla="*/ 48981 h 113400"/>
                  <a:gd name="connsiteX3" fmla="*/ 6345 w 142828"/>
                  <a:gd name="connsiteY3" fmla="*/ 60849 h 113400"/>
                  <a:gd name="connsiteX4" fmla="*/ 9312 w 142828"/>
                  <a:gd name="connsiteY4" fmla="*/ 108322 h 113400"/>
                  <a:gd name="connsiteX5" fmla="*/ 53818 w 142828"/>
                  <a:gd name="connsiteY5" fmla="*/ 102388 h 113400"/>
                  <a:gd name="connsiteX6" fmla="*/ 110191 w 142828"/>
                  <a:gd name="connsiteY6" fmla="*/ 69751 h 113400"/>
                  <a:gd name="connsiteX7" fmla="*/ 142829 w 142828"/>
                  <a:gd name="connsiteY7" fmla="*/ 34146 h 113400"/>
                  <a:gd name="connsiteX8" fmla="*/ 122059 w 142828"/>
                  <a:gd name="connsiteY8" fmla="*/ 1509 h 11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2828" h="113400">
                    <a:moveTo>
                      <a:pt x="122059" y="1509"/>
                    </a:moveTo>
                    <a:cubicBezTo>
                      <a:pt x="86455" y="-7392"/>
                      <a:pt x="56784" y="25245"/>
                      <a:pt x="24148" y="43048"/>
                    </a:cubicBezTo>
                    <a:cubicBezTo>
                      <a:pt x="21180" y="46014"/>
                      <a:pt x="18213" y="46014"/>
                      <a:pt x="18213" y="48981"/>
                    </a:cubicBezTo>
                    <a:cubicBezTo>
                      <a:pt x="15246" y="51948"/>
                      <a:pt x="9312" y="54915"/>
                      <a:pt x="6345" y="60849"/>
                    </a:cubicBezTo>
                    <a:cubicBezTo>
                      <a:pt x="-2556" y="75685"/>
                      <a:pt x="-2556" y="96454"/>
                      <a:pt x="9312" y="108322"/>
                    </a:cubicBezTo>
                    <a:cubicBezTo>
                      <a:pt x="21180" y="120190"/>
                      <a:pt x="41949" y="108322"/>
                      <a:pt x="53818" y="102388"/>
                    </a:cubicBezTo>
                    <a:cubicBezTo>
                      <a:pt x="71619" y="93487"/>
                      <a:pt x="92389" y="81619"/>
                      <a:pt x="110191" y="69751"/>
                    </a:cubicBezTo>
                    <a:cubicBezTo>
                      <a:pt x="122059" y="60849"/>
                      <a:pt x="139862" y="51948"/>
                      <a:pt x="142829" y="34146"/>
                    </a:cubicBezTo>
                    <a:cubicBezTo>
                      <a:pt x="142829" y="16344"/>
                      <a:pt x="133927" y="4476"/>
                      <a:pt x="122059" y="150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49A181E4-F417-459C-9A4C-63D7E1AFDB0E}"/>
                  </a:ext>
                </a:extLst>
              </p:cNvPr>
              <p:cNvSpPr/>
              <p:nvPr/>
            </p:nvSpPr>
            <p:spPr>
              <a:xfrm>
                <a:off x="14345988" y="8907144"/>
                <a:ext cx="130960" cy="101657"/>
              </a:xfrm>
              <a:custGeom>
                <a:avLst/>
                <a:gdLst>
                  <a:gd name="connsiteX0" fmla="*/ 107223 w 130960"/>
                  <a:gd name="connsiteY0" fmla="*/ 1634 h 101657"/>
                  <a:gd name="connsiteX1" fmla="*/ 21180 w 130960"/>
                  <a:gd name="connsiteY1" fmla="*/ 37239 h 101657"/>
                  <a:gd name="connsiteX2" fmla="*/ 15246 w 130960"/>
                  <a:gd name="connsiteY2" fmla="*/ 43173 h 101657"/>
                  <a:gd name="connsiteX3" fmla="*/ 6345 w 130960"/>
                  <a:gd name="connsiteY3" fmla="*/ 55041 h 101657"/>
                  <a:gd name="connsiteX4" fmla="*/ 9312 w 130960"/>
                  <a:gd name="connsiteY4" fmla="*/ 96580 h 101657"/>
                  <a:gd name="connsiteX5" fmla="*/ 50850 w 130960"/>
                  <a:gd name="connsiteY5" fmla="*/ 90645 h 101657"/>
                  <a:gd name="connsiteX6" fmla="*/ 101290 w 130960"/>
                  <a:gd name="connsiteY6" fmla="*/ 63942 h 101657"/>
                  <a:gd name="connsiteX7" fmla="*/ 130960 w 130960"/>
                  <a:gd name="connsiteY7" fmla="*/ 34272 h 101657"/>
                  <a:gd name="connsiteX8" fmla="*/ 107223 w 130960"/>
                  <a:gd name="connsiteY8" fmla="*/ 1634 h 101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0960" h="101657">
                    <a:moveTo>
                      <a:pt x="107223" y="1634"/>
                    </a:moveTo>
                    <a:cubicBezTo>
                      <a:pt x="74587" y="-7266"/>
                      <a:pt x="47883" y="22404"/>
                      <a:pt x="21180" y="37239"/>
                    </a:cubicBezTo>
                    <a:cubicBezTo>
                      <a:pt x="18212" y="37239"/>
                      <a:pt x="18212" y="40206"/>
                      <a:pt x="15246" y="43173"/>
                    </a:cubicBezTo>
                    <a:cubicBezTo>
                      <a:pt x="12279" y="46140"/>
                      <a:pt x="6345" y="49107"/>
                      <a:pt x="6345" y="55041"/>
                    </a:cubicBezTo>
                    <a:cubicBezTo>
                      <a:pt x="-2556" y="66909"/>
                      <a:pt x="-2556" y="84711"/>
                      <a:pt x="9312" y="96580"/>
                    </a:cubicBezTo>
                    <a:cubicBezTo>
                      <a:pt x="21180" y="108448"/>
                      <a:pt x="38982" y="96580"/>
                      <a:pt x="50850" y="90645"/>
                    </a:cubicBezTo>
                    <a:cubicBezTo>
                      <a:pt x="68652" y="81745"/>
                      <a:pt x="83488" y="72843"/>
                      <a:pt x="101290" y="63942"/>
                    </a:cubicBezTo>
                    <a:cubicBezTo>
                      <a:pt x="113158" y="58008"/>
                      <a:pt x="127993" y="49107"/>
                      <a:pt x="130960" y="34272"/>
                    </a:cubicBezTo>
                    <a:cubicBezTo>
                      <a:pt x="127993" y="13503"/>
                      <a:pt x="119092" y="4601"/>
                      <a:pt x="107223" y="1634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DB64684B-B683-46AD-9B08-D9ADFEE9768A}"/>
                  </a:ext>
                </a:extLst>
              </p:cNvPr>
              <p:cNvSpPr/>
              <p:nvPr/>
            </p:nvSpPr>
            <p:spPr>
              <a:xfrm>
                <a:off x="14374900" y="8955206"/>
                <a:ext cx="95067" cy="73140"/>
              </a:xfrm>
              <a:custGeom>
                <a:avLst/>
                <a:gdLst>
                  <a:gd name="connsiteX0" fmla="*/ 81278 w 95067"/>
                  <a:gd name="connsiteY0" fmla="*/ 1044 h 73140"/>
                  <a:gd name="connsiteX1" fmla="*/ 16004 w 95067"/>
                  <a:gd name="connsiteY1" fmla="*/ 27747 h 73140"/>
                  <a:gd name="connsiteX2" fmla="*/ 13037 w 95067"/>
                  <a:gd name="connsiteY2" fmla="*/ 30715 h 73140"/>
                  <a:gd name="connsiteX3" fmla="*/ 4135 w 95067"/>
                  <a:gd name="connsiteY3" fmla="*/ 39616 h 73140"/>
                  <a:gd name="connsiteX4" fmla="*/ 7102 w 95067"/>
                  <a:gd name="connsiteY4" fmla="*/ 69286 h 73140"/>
                  <a:gd name="connsiteX5" fmla="*/ 36773 w 95067"/>
                  <a:gd name="connsiteY5" fmla="*/ 66319 h 73140"/>
                  <a:gd name="connsiteX6" fmla="*/ 72378 w 95067"/>
                  <a:gd name="connsiteY6" fmla="*/ 45550 h 73140"/>
                  <a:gd name="connsiteX7" fmla="*/ 93146 w 95067"/>
                  <a:gd name="connsiteY7" fmla="*/ 24781 h 73140"/>
                  <a:gd name="connsiteX8" fmla="*/ 81278 w 95067"/>
                  <a:gd name="connsiteY8" fmla="*/ 1044 h 73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067" h="73140">
                    <a:moveTo>
                      <a:pt x="81278" y="1044"/>
                    </a:moveTo>
                    <a:cubicBezTo>
                      <a:pt x="57542" y="-4890"/>
                      <a:pt x="36773" y="15879"/>
                      <a:pt x="16004" y="27747"/>
                    </a:cubicBezTo>
                    <a:cubicBezTo>
                      <a:pt x="13037" y="27747"/>
                      <a:pt x="13037" y="30715"/>
                      <a:pt x="13037" y="30715"/>
                    </a:cubicBezTo>
                    <a:cubicBezTo>
                      <a:pt x="10070" y="33682"/>
                      <a:pt x="7102" y="36649"/>
                      <a:pt x="4135" y="39616"/>
                    </a:cubicBezTo>
                    <a:cubicBezTo>
                      <a:pt x="-1798" y="48517"/>
                      <a:pt x="-1798" y="63352"/>
                      <a:pt x="7102" y="69286"/>
                    </a:cubicBezTo>
                    <a:cubicBezTo>
                      <a:pt x="16004" y="78187"/>
                      <a:pt x="27872" y="69286"/>
                      <a:pt x="36773" y="66319"/>
                    </a:cubicBezTo>
                    <a:cubicBezTo>
                      <a:pt x="48641" y="60385"/>
                      <a:pt x="60510" y="54451"/>
                      <a:pt x="72378" y="45550"/>
                    </a:cubicBezTo>
                    <a:cubicBezTo>
                      <a:pt x="81278" y="39616"/>
                      <a:pt x="90180" y="36649"/>
                      <a:pt x="93146" y="24781"/>
                    </a:cubicBezTo>
                    <a:cubicBezTo>
                      <a:pt x="99081" y="12912"/>
                      <a:pt x="90180" y="4011"/>
                      <a:pt x="81278" y="1044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A6D843D9-BC26-40F9-ACC7-3C0CE67828BF}"/>
                  </a:ext>
                </a:extLst>
              </p:cNvPr>
              <p:cNvSpPr/>
              <p:nvPr/>
            </p:nvSpPr>
            <p:spPr>
              <a:xfrm>
                <a:off x="14311536" y="8810866"/>
                <a:ext cx="157599" cy="163186"/>
              </a:xfrm>
              <a:custGeom>
                <a:avLst/>
                <a:gdLst>
                  <a:gd name="connsiteX0" fmla="*/ 28929 w 157599"/>
                  <a:gd name="connsiteY0" fmla="*/ 163187 h 163186"/>
                  <a:gd name="connsiteX1" fmla="*/ 8159 w 157599"/>
                  <a:gd name="connsiteY1" fmla="*/ 151318 h 163186"/>
                  <a:gd name="connsiteX2" fmla="*/ 11126 w 157599"/>
                  <a:gd name="connsiteY2" fmla="*/ 100879 h 163186"/>
                  <a:gd name="connsiteX3" fmla="*/ 11126 w 157599"/>
                  <a:gd name="connsiteY3" fmla="*/ 100879 h 163186"/>
                  <a:gd name="connsiteX4" fmla="*/ 2225 w 157599"/>
                  <a:gd name="connsiteY4" fmla="*/ 89011 h 163186"/>
                  <a:gd name="connsiteX5" fmla="*/ 2225 w 157599"/>
                  <a:gd name="connsiteY5" fmla="*/ 68241 h 163186"/>
                  <a:gd name="connsiteX6" fmla="*/ 91236 w 157599"/>
                  <a:gd name="connsiteY6" fmla="*/ 0 h 163186"/>
                  <a:gd name="connsiteX7" fmla="*/ 100137 w 157599"/>
                  <a:gd name="connsiteY7" fmla="*/ 2967 h 163186"/>
                  <a:gd name="connsiteX8" fmla="*/ 97170 w 157599"/>
                  <a:gd name="connsiteY8" fmla="*/ 11868 h 163186"/>
                  <a:gd name="connsiteX9" fmla="*/ 14093 w 157599"/>
                  <a:gd name="connsiteY9" fmla="*/ 74176 h 163186"/>
                  <a:gd name="connsiteX10" fmla="*/ 14093 w 157599"/>
                  <a:gd name="connsiteY10" fmla="*/ 86044 h 163186"/>
                  <a:gd name="connsiteX11" fmla="*/ 25961 w 157599"/>
                  <a:gd name="connsiteY11" fmla="*/ 97912 h 163186"/>
                  <a:gd name="connsiteX12" fmla="*/ 129807 w 157599"/>
                  <a:gd name="connsiteY12" fmla="*/ 47472 h 163186"/>
                  <a:gd name="connsiteX13" fmla="*/ 144643 w 157599"/>
                  <a:gd name="connsiteY13" fmla="*/ 44505 h 163186"/>
                  <a:gd name="connsiteX14" fmla="*/ 156511 w 157599"/>
                  <a:gd name="connsiteY14" fmla="*/ 62307 h 163186"/>
                  <a:gd name="connsiteX15" fmla="*/ 79368 w 157599"/>
                  <a:gd name="connsiteY15" fmla="*/ 145384 h 163186"/>
                  <a:gd name="connsiteX16" fmla="*/ 28929 w 157599"/>
                  <a:gd name="connsiteY16" fmla="*/ 163187 h 163186"/>
                  <a:gd name="connsiteX17" fmla="*/ 20028 w 157599"/>
                  <a:gd name="connsiteY17" fmla="*/ 106813 h 163186"/>
                  <a:gd name="connsiteX18" fmla="*/ 17061 w 157599"/>
                  <a:gd name="connsiteY18" fmla="*/ 145384 h 163186"/>
                  <a:gd name="connsiteX19" fmla="*/ 73434 w 157599"/>
                  <a:gd name="connsiteY19" fmla="*/ 133516 h 163186"/>
                  <a:gd name="connsiteX20" fmla="*/ 144643 w 157599"/>
                  <a:gd name="connsiteY20" fmla="*/ 62307 h 163186"/>
                  <a:gd name="connsiteX21" fmla="*/ 138709 w 157599"/>
                  <a:gd name="connsiteY21" fmla="*/ 50439 h 163186"/>
                  <a:gd name="connsiteX22" fmla="*/ 135742 w 157599"/>
                  <a:gd name="connsiteY22" fmla="*/ 50439 h 163186"/>
                  <a:gd name="connsiteX23" fmla="*/ 20028 w 157599"/>
                  <a:gd name="connsiteY23" fmla="*/ 106813 h 163186"/>
                  <a:gd name="connsiteX24" fmla="*/ 20028 w 157599"/>
                  <a:gd name="connsiteY24" fmla="*/ 106813 h 163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57599" h="163186">
                    <a:moveTo>
                      <a:pt x="28929" y="163187"/>
                    </a:moveTo>
                    <a:cubicBezTo>
                      <a:pt x="20028" y="163187"/>
                      <a:pt x="14093" y="160220"/>
                      <a:pt x="8159" y="151318"/>
                    </a:cubicBezTo>
                    <a:cubicBezTo>
                      <a:pt x="-742" y="133516"/>
                      <a:pt x="11126" y="100879"/>
                      <a:pt x="11126" y="100879"/>
                    </a:cubicBezTo>
                    <a:cubicBezTo>
                      <a:pt x="11126" y="100879"/>
                      <a:pt x="11126" y="100879"/>
                      <a:pt x="11126" y="100879"/>
                    </a:cubicBezTo>
                    <a:cubicBezTo>
                      <a:pt x="8159" y="97912"/>
                      <a:pt x="5193" y="91978"/>
                      <a:pt x="2225" y="89011"/>
                    </a:cubicBezTo>
                    <a:cubicBezTo>
                      <a:pt x="-742" y="83077"/>
                      <a:pt x="-742" y="74176"/>
                      <a:pt x="2225" y="68241"/>
                    </a:cubicBezTo>
                    <a:cubicBezTo>
                      <a:pt x="14093" y="35604"/>
                      <a:pt x="88269" y="2967"/>
                      <a:pt x="91236" y="0"/>
                    </a:cubicBezTo>
                    <a:cubicBezTo>
                      <a:pt x="94204" y="0"/>
                      <a:pt x="97170" y="0"/>
                      <a:pt x="100137" y="2967"/>
                    </a:cubicBezTo>
                    <a:cubicBezTo>
                      <a:pt x="100137" y="5934"/>
                      <a:pt x="100137" y="8901"/>
                      <a:pt x="97170" y="11868"/>
                    </a:cubicBezTo>
                    <a:cubicBezTo>
                      <a:pt x="76401" y="20769"/>
                      <a:pt x="22994" y="50439"/>
                      <a:pt x="14093" y="74176"/>
                    </a:cubicBezTo>
                    <a:cubicBezTo>
                      <a:pt x="14093" y="77143"/>
                      <a:pt x="14093" y="83077"/>
                      <a:pt x="14093" y="86044"/>
                    </a:cubicBezTo>
                    <a:cubicBezTo>
                      <a:pt x="17061" y="91978"/>
                      <a:pt x="20028" y="94945"/>
                      <a:pt x="25961" y="97912"/>
                    </a:cubicBezTo>
                    <a:cubicBezTo>
                      <a:pt x="43764" y="100879"/>
                      <a:pt x="76401" y="83077"/>
                      <a:pt x="129807" y="47472"/>
                    </a:cubicBezTo>
                    <a:cubicBezTo>
                      <a:pt x="129807" y="47472"/>
                      <a:pt x="135742" y="44505"/>
                      <a:pt x="144643" y="44505"/>
                    </a:cubicBezTo>
                    <a:cubicBezTo>
                      <a:pt x="150577" y="47472"/>
                      <a:pt x="156511" y="53406"/>
                      <a:pt x="156511" y="62307"/>
                    </a:cubicBezTo>
                    <a:cubicBezTo>
                      <a:pt x="165412" y="94945"/>
                      <a:pt x="117940" y="124615"/>
                      <a:pt x="79368" y="145384"/>
                    </a:cubicBezTo>
                    <a:cubicBezTo>
                      <a:pt x="61566" y="154286"/>
                      <a:pt x="43764" y="163187"/>
                      <a:pt x="28929" y="163187"/>
                    </a:cubicBezTo>
                    <a:close/>
                    <a:moveTo>
                      <a:pt x="20028" y="106813"/>
                    </a:moveTo>
                    <a:cubicBezTo>
                      <a:pt x="17061" y="115714"/>
                      <a:pt x="11126" y="136483"/>
                      <a:pt x="17061" y="145384"/>
                    </a:cubicBezTo>
                    <a:cubicBezTo>
                      <a:pt x="22994" y="157252"/>
                      <a:pt x="34863" y="154286"/>
                      <a:pt x="73434" y="133516"/>
                    </a:cubicBezTo>
                    <a:cubicBezTo>
                      <a:pt x="123874" y="106813"/>
                      <a:pt x="147610" y="83077"/>
                      <a:pt x="144643" y="62307"/>
                    </a:cubicBezTo>
                    <a:cubicBezTo>
                      <a:pt x="141675" y="53406"/>
                      <a:pt x="138709" y="50439"/>
                      <a:pt x="138709" y="50439"/>
                    </a:cubicBezTo>
                    <a:cubicBezTo>
                      <a:pt x="135742" y="50439"/>
                      <a:pt x="135742" y="50439"/>
                      <a:pt x="135742" y="50439"/>
                    </a:cubicBezTo>
                    <a:cubicBezTo>
                      <a:pt x="61566" y="106813"/>
                      <a:pt x="34863" y="109780"/>
                      <a:pt x="20028" y="106813"/>
                    </a:cubicBezTo>
                    <a:cubicBezTo>
                      <a:pt x="20028" y="106813"/>
                      <a:pt x="20028" y="106813"/>
                      <a:pt x="20028" y="106813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58D8781D-7A16-40A6-B736-CEA60498883D}"/>
                  </a:ext>
                </a:extLst>
              </p:cNvPr>
              <p:cNvSpPr/>
              <p:nvPr/>
            </p:nvSpPr>
            <p:spPr>
              <a:xfrm>
                <a:off x="14334288" y="8899877"/>
                <a:ext cx="141642" cy="109780"/>
              </a:xfrm>
              <a:custGeom>
                <a:avLst/>
                <a:gdLst>
                  <a:gd name="connsiteX0" fmla="*/ 29912 w 141642"/>
                  <a:gd name="connsiteY0" fmla="*/ 109780 h 109780"/>
                  <a:gd name="connsiteX1" fmla="*/ 12111 w 141642"/>
                  <a:gd name="connsiteY1" fmla="*/ 103846 h 109780"/>
                  <a:gd name="connsiteX2" fmla="*/ 242 w 141642"/>
                  <a:gd name="connsiteY2" fmla="*/ 68241 h 109780"/>
                  <a:gd name="connsiteX3" fmla="*/ 6176 w 141642"/>
                  <a:gd name="connsiteY3" fmla="*/ 62307 h 109780"/>
                  <a:gd name="connsiteX4" fmla="*/ 6176 w 141642"/>
                  <a:gd name="connsiteY4" fmla="*/ 62307 h 109780"/>
                  <a:gd name="connsiteX5" fmla="*/ 12111 w 141642"/>
                  <a:gd name="connsiteY5" fmla="*/ 68241 h 109780"/>
                  <a:gd name="connsiteX6" fmla="*/ 21012 w 141642"/>
                  <a:gd name="connsiteY6" fmla="*/ 91978 h 109780"/>
                  <a:gd name="connsiteX7" fmla="*/ 41781 w 141642"/>
                  <a:gd name="connsiteY7" fmla="*/ 91978 h 109780"/>
                  <a:gd name="connsiteX8" fmla="*/ 130792 w 141642"/>
                  <a:gd name="connsiteY8" fmla="*/ 38571 h 109780"/>
                  <a:gd name="connsiteX9" fmla="*/ 130792 w 141642"/>
                  <a:gd name="connsiteY9" fmla="*/ 26703 h 109780"/>
                  <a:gd name="connsiteX10" fmla="*/ 118923 w 141642"/>
                  <a:gd name="connsiteY10" fmla="*/ 11868 h 109780"/>
                  <a:gd name="connsiteX11" fmla="*/ 112990 w 141642"/>
                  <a:gd name="connsiteY11" fmla="*/ 5934 h 109780"/>
                  <a:gd name="connsiteX12" fmla="*/ 118923 w 141642"/>
                  <a:gd name="connsiteY12" fmla="*/ 0 h 109780"/>
                  <a:gd name="connsiteX13" fmla="*/ 139693 w 141642"/>
                  <a:gd name="connsiteY13" fmla="*/ 20769 h 109780"/>
                  <a:gd name="connsiteX14" fmla="*/ 136726 w 141642"/>
                  <a:gd name="connsiteY14" fmla="*/ 44505 h 109780"/>
                  <a:gd name="connsiteX15" fmla="*/ 44748 w 141642"/>
                  <a:gd name="connsiteY15" fmla="*/ 100879 h 109780"/>
                  <a:gd name="connsiteX16" fmla="*/ 29912 w 141642"/>
                  <a:gd name="connsiteY16" fmla="*/ 109780 h 109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1642" h="109780">
                    <a:moveTo>
                      <a:pt x="29912" y="109780"/>
                    </a:moveTo>
                    <a:cubicBezTo>
                      <a:pt x="23979" y="109780"/>
                      <a:pt x="18044" y="106813"/>
                      <a:pt x="12111" y="103846"/>
                    </a:cubicBezTo>
                    <a:cubicBezTo>
                      <a:pt x="-2724" y="91978"/>
                      <a:pt x="242" y="71209"/>
                      <a:pt x="242" y="68241"/>
                    </a:cubicBezTo>
                    <a:cubicBezTo>
                      <a:pt x="242" y="65275"/>
                      <a:pt x="3209" y="62307"/>
                      <a:pt x="6176" y="62307"/>
                    </a:cubicBezTo>
                    <a:cubicBezTo>
                      <a:pt x="6176" y="62307"/>
                      <a:pt x="6176" y="62307"/>
                      <a:pt x="6176" y="62307"/>
                    </a:cubicBezTo>
                    <a:cubicBezTo>
                      <a:pt x="9144" y="62307"/>
                      <a:pt x="12111" y="65275"/>
                      <a:pt x="12111" y="68241"/>
                    </a:cubicBezTo>
                    <a:cubicBezTo>
                      <a:pt x="12111" y="74176"/>
                      <a:pt x="12111" y="86044"/>
                      <a:pt x="21012" y="91978"/>
                    </a:cubicBezTo>
                    <a:cubicBezTo>
                      <a:pt x="26946" y="94945"/>
                      <a:pt x="32880" y="94945"/>
                      <a:pt x="41781" y="91978"/>
                    </a:cubicBezTo>
                    <a:cubicBezTo>
                      <a:pt x="80352" y="80110"/>
                      <a:pt x="118923" y="50439"/>
                      <a:pt x="130792" y="38571"/>
                    </a:cubicBezTo>
                    <a:cubicBezTo>
                      <a:pt x="133759" y="35604"/>
                      <a:pt x="133759" y="29670"/>
                      <a:pt x="130792" y="26703"/>
                    </a:cubicBezTo>
                    <a:cubicBezTo>
                      <a:pt x="127825" y="17802"/>
                      <a:pt x="121891" y="11868"/>
                      <a:pt x="118923" y="11868"/>
                    </a:cubicBezTo>
                    <a:cubicBezTo>
                      <a:pt x="115957" y="11868"/>
                      <a:pt x="112990" y="8901"/>
                      <a:pt x="112990" y="5934"/>
                    </a:cubicBezTo>
                    <a:cubicBezTo>
                      <a:pt x="112990" y="2967"/>
                      <a:pt x="115957" y="0"/>
                      <a:pt x="118923" y="0"/>
                    </a:cubicBezTo>
                    <a:cubicBezTo>
                      <a:pt x="127825" y="0"/>
                      <a:pt x="136726" y="11868"/>
                      <a:pt x="139693" y="20769"/>
                    </a:cubicBezTo>
                    <a:cubicBezTo>
                      <a:pt x="142660" y="29670"/>
                      <a:pt x="142660" y="38571"/>
                      <a:pt x="136726" y="44505"/>
                    </a:cubicBezTo>
                    <a:cubicBezTo>
                      <a:pt x="124858" y="56373"/>
                      <a:pt x="86287" y="89011"/>
                      <a:pt x="44748" y="100879"/>
                    </a:cubicBezTo>
                    <a:cubicBezTo>
                      <a:pt x="41781" y="106813"/>
                      <a:pt x="35847" y="109780"/>
                      <a:pt x="29912" y="10978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8EAA510F-27C9-4162-BB0B-105CEDB5A7DE}"/>
                </a:ext>
              </a:extLst>
            </p:cNvPr>
            <p:cNvSpPr/>
            <p:nvPr/>
          </p:nvSpPr>
          <p:spPr>
            <a:xfrm>
              <a:off x="14244342" y="8893792"/>
              <a:ext cx="149986" cy="134124"/>
            </a:xfrm>
            <a:custGeom>
              <a:avLst/>
              <a:gdLst>
                <a:gd name="connsiteX0" fmla="*/ 87222 w 149986"/>
                <a:gd name="connsiteY0" fmla="*/ 151 h 134124"/>
                <a:gd name="connsiteX1" fmla="*/ 1177 w 149986"/>
                <a:gd name="connsiteY1" fmla="*/ 65426 h 134124"/>
                <a:gd name="connsiteX2" fmla="*/ 36782 w 149986"/>
                <a:gd name="connsiteY2" fmla="*/ 133667 h 134124"/>
                <a:gd name="connsiteX3" fmla="*/ 60518 w 149986"/>
                <a:gd name="connsiteY3" fmla="*/ 77294 h 134124"/>
                <a:gd name="connsiteX4" fmla="*/ 119858 w 149986"/>
                <a:gd name="connsiteY4" fmla="*/ 50591 h 134124"/>
                <a:gd name="connsiteX5" fmla="*/ 149529 w 149986"/>
                <a:gd name="connsiteY5" fmla="*/ 50591 h 134124"/>
                <a:gd name="connsiteX6" fmla="*/ 87222 w 149986"/>
                <a:gd name="connsiteY6" fmla="*/ 151 h 134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986" h="134124">
                  <a:moveTo>
                    <a:pt x="87222" y="151"/>
                  </a:moveTo>
                  <a:cubicBezTo>
                    <a:pt x="51617" y="-2816"/>
                    <a:pt x="13046" y="38722"/>
                    <a:pt x="1177" y="65426"/>
                  </a:cubicBezTo>
                  <a:cubicBezTo>
                    <a:pt x="-7724" y="86195"/>
                    <a:pt x="36782" y="139602"/>
                    <a:pt x="36782" y="133667"/>
                  </a:cubicBezTo>
                  <a:cubicBezTo>
                    <a:pt x="42716" y="121799"/>
                    <a:pt x="51617" y="89162"/>
                    <a:pt x="60518" y="77294"/>
                  </a:cubicBezTo>
                  <a:cubicBezTo>
                    <a:pt x="75353" y="56524"/>
                    <a:pt x="93155" y="53557"/>
                    <a:pt x="119858" y="50591"/>
                  </a:cubicBezTo>
                  <a:cubicBezTo>
                    <a:pt x="128760" y="50591"/>
                    <a:pt x="146562" y="59491"/>
                    <a:pt x="149529" y="50591"/>
                  </a:cubicBezTo>
                  <a:cubicBezTo>
                    <a:pt x="155463" y="26854"/>
                    <a:pt x="102057" y="151"/>
                    <a:pt x="87222" y="151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84A05B0C-D788-48D9-9D3D-9AE676F784BA}"/>
                </a:ext>
              </a:extLst>
            </p:cNvPr>
            <p:cNvSpPr/>
            <p:nvPr/>
          </p:nvSpPr>
          <p:spPr>
            <a:xfrm>
              <a:off x="14239585" y="8887268"/>
              <a:ext cx="162168" cy="137224"/>
            </a:xfrm>
            <a:custGeom>
              <a:avLst/>
              <a:gdLst>
                <a:gd name="connsiteX0" fmla="*/ 74176 w 162168"/>
                <a:gd name="connsiteY0" fmla="*/ 137225 h 137224"/>
                <a:gd name="connsiteX1" fmla="*/ 74176 w 162168"/>
                <a:gd name="connsiteY1" fmla="*/ 137225 h 137224"/>
                <a:gd name="connsiteX2" fmla="*/ 68241 w 162168"/>
                <a:gd name="connsiteY2" fmla="*/ 128323 h 137224"/>
                <a:gd name="connsiteX3" fmla="*/ 62308 w 162168"/>
                <a:gd name="connsiteY3" fmla="*/ 83818 h 137224"/>
                <a:gd name="connsiteX4" fmla="*/ 62308 w 162168"/>
                <a:gd name="connsiteY4" fmla="*/ 77884 h 137224"/>
                <a:gd name="connsiteX5" fmla="*/ 130549 w 162168"/>
                <a:gd name="connsiteY5" fmla="*/ 54148 h 137224"/>
                <a:gd name="connsiteX6" fmla="*/ 151319 w 162168"/>
                <a:gd name="connsiteY6" fmla="*/ 51180 h 137224"/>
                <a:gd name="connsiteX7" fmla="*/ 151319 w 162168"/>
                <a:gd name="connsiteY7" fmla="*/ 45246 h 137224"/>
                <a:gd name="connsiteX8" fmla="*/ 91978 w 162168"/>
                <a:gd name="connsiteY8" fmla="*/ 9642 h 137224"/>
                <a:gd name="connsiteX9" fmla="*/ 11868 w 162168"/>
                <a:gd name="connsiteY9" fmla="*/ 74917 h 137224"/>
                <a:gd name="connsiteX10" fmla="*/ 2967 w 162168"/>
                <a:gd name="connsiteY10" fmla="*/ 77884 h 137224"/>
                <a:gd name="connsiteX11" fmla="*/ 0 w 162168"/>
                <a:gd name="connsiteY11" fmla="*/ 68983 h 137224"/>
                <a:gd name="connsiteX12" fmla="*/ 91978 w 162168"/>
                <a:gd name="connsiteY12" fmla="*/ 741 h 137224"/>
                <a:gd name="connsiteX13" fmla="*/ 160220 w 162168"/>
                <a:gd name="connsiteY13" fmla="*/ 45246 h 137224"/>
                <a:gd name="connsiteX14" fmla="*/ 157252 w 162168"/>
                <a:gd name="connsiteY14" fmla="*/ 63049 h 137224"/>
                <a:gd name="connsiteX15" fmla="*/ 127582 w 162168"/>
                <a:gd name="connsiteY15" fmla="*/ 68983 h 137224"/>
                <a:gd name="connsiteX16" fmla="*/ 71209 w 162168"/>
                <a:gd name="connsiteY16" fmla="*/ 86785 h 137224"/>
                <a:gd name="connsiteX17" fmla="*/ 77143 w 162168"/>
                <a:gd name="connsiteY17" fmla="*/ 137225 h 137224"/>
                <a:gd name="connsiteX18" fmla="*/ 74176 w 162168"/>
                <a:gd name="connsiteY18" fmla="*/ 137225 h 13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2168" h="137224">
                  <a:moveTo>
                    <a:pt x="74176" y="137225"/>
                  </a:moveTo>
                  <a:cubicBezTo>
                    <a:pt x="74176" y="137225"/>
                    <a:pt x="74176" y="137225"/>
                    <a:pt x="74176" y="137225"/>
                  </a:cubicBezTo>
                  <a:cubicBezTo>
                    <a:pt x="68241" y="134257"/>
                    <a:pt x="68241" y="131291"/>
                    <a:pt x="68241" y="128323"/>
                  </a:cubicBezTo>
                  <a:cubicBezTo>
                    <a:pt x="74176" y="113488"/>
                    <a:pt x="65274" y="92719"/>
                    <a:pt x="62308" y="83818"/>
                  </a:cubicBezTo>
                  <a:cubicBezTo>
                    <a:pt x="62308" y="80851"/>
                    <a:pt x="62308" y="80851"/>
                    <a:pt x="62308" y="77884"/>
                  </a:cubicBezTo>
                  <a:cubicBezTo>
                    <a:pt x="83077" y="51180"/>
                    <a:pt x="109780" y="51180"/>
                    <a:pt x="130549" y="54148"/>
                  </a:cubicBezTo>
                  <a:cubicBezTo>
                    <a:pt x="139450" y="54148"/>
                    <a:pt x="148352" y="54148"/>
                    <a:pt x="151319" y="51180"/>
                  </a:cubicBezTo>
                  <a:cubicBezTo>
                    <a:pt x="151319" y="51180"/>
                    <a:pt x="154285" y="48214"/>
                    <a:pt x="151319" y="45246"/>
                  </a:cubicBezTo>
                  <a:cubicBezTo>
                    <a:pt x="145384" y="30411"/>
                    <a:pt x="121649" y="15576"/>
                    <a:pt x="91978" y="9642"/>
                  </a:cubicBezTo>
                  <a:cubicBezTo>
                    <a:pt x="53406" y="3708"/>
                    <a:pt x="11868" y="71950"/>
                    <a:pt x="11868" y="74917"/>
                  </a:cubicBezTo>
                  <a:cubicBezTo>
                    <a:pt x="8901" y="77884"/>
                    <a:pt x="5934" y="77884"/>
                    <a:pt x="2967" y="77884"/>
                  </a:cubicBezTo>
                  <a:cubicBezTo>
                    <a:pt x="0" y="74917"/>
                    <a:pt x="0" y="71950"/>
                    <a:pt x="0" y="68983"/>
                  </a:cubicBezTo>
                  <a:cubicBezTo>
                    <a:pt x="2967" y="66016"/>
                    <a:pt x="44505" y="-8160"/>
                    <a:pt x="91978" y="741"/>
                  </a:cubicBezTo>
                  <a:cubicBezTo>
                    <a:pt x="127582" y="6675"/>
                    <a:pt x="154285" y="27445"/>
                    <a:pt x="160220" y="45246"/>
                  </a:cubicBezTo>
                  <a:cubicBezTo>
                    <a:pt x="163187" y="51180"/>
                    <a:pt x="163187" y="57115"/>
                    <a:pt x="157252" y="63049"/>
                  </a:cubicBezTo>
                  <a:cubicBezTo>
                    <a:pt x="151319" y="68983"/>
                    <a:pt x="139450" y="68983"/>
                    <a:pt x="127582" y="68983"/>
                  </a:cubicBezTo>
                  <a:cubicBezTo>
                    <a:pt x="109780" y="68983"/>
                    <a:pt x="89011" y="66016"/>
                    <a:pt x="71209" y="86785"/>
                  </a:cubicBezTo>
                  <a:cubicBezTo>
                    <a:pt x="74176" y="95686"/>
                    <a:pt x="86044" y="119422"/>
                    <a:pt x="77143" y="137225"/>
                  </a:cubicBezTo>
                  <a:cubicBezTo>
                    <a:pt x="77143" y="137225"/>
                    <a:pt x="77143" y="137225"/>
                    <a:pt x="74176" y="137225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1910947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0E0FBA15-A4F4-4F9B-A38B-5827AA29F893}"/>
              </a:ext>
            </a:extLst>
          </p:cNvPr>
          <p:cNvGrpSpPr/>
          <p:nvPr/>
        </p:nvGrpSpPr>
        <p:grpSpPr>
          <a:xfrm>
            <a:off x="2704522" y="1802177"/>
            <a:ext cx="2864123" cy="5055823"/>
            <a:chOff x="18592222" y="7386690"/>
            <a:chExt cx="2864123" cy="5055823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0D98ECEF-38CE-4883-A6AD-D2C75F895C5D}"/>
                </a:ext>
              </a:extLst>
            </p:cNvPr>
            <p:cNvSpPr/>
            <p:nvPr/>
          </p:nvSpPr>
          <p:spPr>
            <a:xfrm>
              <a:off x="20306446" y="8475591"/>
              <a:ext cx="991944" cy="700768"/>
            </a:xfrm>
            <a:custGeom>
              <a:avLst/>
              <a:gdLst>
                <a:gd name="connsiteX0" fmla="*/ 15556 w 991944"/>
                <a:gd name="connsiteY0" fmla="*/ 124615 h 700768"/>
                <a:gd name="connsiteX1" fmla="*/ 427974 w 991944"/>
                <a:gd name="connsiteY1" fmla="*/ 213626 h 700768"/>
                <a:gd name="connsiteX2" fmla="*/ 772149 w 991944"/>
                <a:gd name="connsiteY2" fmla="*/ 445055 h 700768"/>
                <a:gd name="connsiteX3" fmla="*/ 887864 w 991944"/>
                <a:gd name="connsiteY3" fmla="*/ 0 h 700768"/>
                <a:gd name="connsiteX4" fmla="*/ 991710 w 991944"/>
                <a:gd name="connsiteY4" fmla="*/ 83077 h 700768"/>
                <a:gd name="connsiteX5" fmla="*/ 908634 w 991944"/>
                <a:gd name="connsiteY5" fmla="*/ 685384 h 700768"/>
                <a:gd name="connsiteX6" fmla="*/ 15556 w 991944"/>
                <a:gd name="connsiteY6" fmla="*/ 124615 h 70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1944" h="700768">
                  <a:moveTo>
                    <a:pt x="15556" y="124615"/>
                  </a:moveTo>
                  <a:cubicBezTo>
                    <a:pt x="77864" y="29670"/>
                    <a:pt x="330062" y="163187"/>
                    <a:pt x="427974" y="213626"/>
                  </a:cubicBezTo>
                  <a:cubicBezTo>
                    <a:pt x="514019" y="258132"/>
                    <a:pt x="772149" y="445055"/>
                    <a:pt x="772149" y="445055"/>
                  </a:cubicBezTo>
                  <a:lnTo>
                    <a:pt x="887864" y="0"/>
                  </a:lnTo>
                  <a:lnTo>
                    <a:pt x="991710" y="83077"/>
                  </a:lnTo>
                  <a:cubicBezTo>
                    <a:pt x="991710" y="83077"/>
                    <a:pt x="1000611" y="626044"/>
                    <a:pt x="908634" y="685384"/>
                  </a:cubicBezTo>
                  <a:cubicBezTo>
                    <a:pt x="751381" y="789231"/>
                    <a:pt x="-126862" y="341209"/>
                    <a:pt x="15556" y="124615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34160AC5-228D-419A-8C05-F43311F33701}"/>
                </a:ext>
              </a:extLst>
            </p:cNvPr>
            <p:cNvSpPr/>
            <p:nvPr/>
          </p:nvSpPr>
          <p:spPr>
            <a:xfrm>
              <a:off x="20187562" y="8453680"/>
              <a:ext cx="561693" cy="529273"/>
            </a:xfrm>
            <a:custGeom>
              <a:avLst/>
              <a:gdLst>
                <a:gd name="connsiteX0" fmla="*/ 327297 w 561693"/>
                <a:gd name="connsiteY0" fmla="*/ 529273 h 529273"/>
                <a:gd name="connsiteX1" fmla="*/ 6858 w 561693"/>
                <a:gd name="connsiteY1" fmla="*/ 42680 h 529273"/>
                <a:gd name="connsiteX2" fmla="*/ 561694 w 561693"/>
                <a:gd name="connsiteY2" fmla="*/ 191032 h 529273"/>
                <a:gd name="connsiteX3" fmla="*/ 327297 w 561693"/>
                <a:gd name="connsiteY3" fmla="*/ 529273 h 529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1693" h="529273">
                  <a:moveTo>
                    <a:pt x="327297" y="529273"/>
                  </a:moveTo>
                  <a:cubicBezTo>
                    <a:pt x="327297" y="529273"/>
                    <a:pt x="-55449" y="170263"/>
                    <a:pt x="6858" y="42680"/>
                  </a:cubicBezTo>
                  <a:cubicBezTo>
                    <a:pt x="78068" y="-108639"/>
                    <a:pt x="561694" y="191032"/>
                    <a:pt x="561694" y="191032"/>
                  </a:cubicBezTo>
                  <a:cubicBezTo>
                    <a:pt x="561694" y="191032"/>
                    <a:pt x="493452" y="401691"/>
                    <a:pt x="327297" y="529273"/>
                  </a:cubicBez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CF81E918-9AB0-4165-932E-B5987D1066AA}"/>
                </a:ext>
              </a:extLst>
            </p:cNvPr>
            <p:cNvGrpSpPr/>
            <p:nvPr/>
          </p:nvGrpSpPr>
          <p:grpSpPr>
            <a:xfrm>
              <a:off x="21171895" y="8229328"/>
              <a:ext cx="284451" cy="333007"/>
              <a:chOff x="21171895" y="8229328"/>
              <a:chExt cx="284451" cy="333007"/>
            </a:xfrm>
          </p:grpSpPr>
          <p:grpSp>
            <p:nvGrpSpPr>
              <p:cNvPr id="60" name="图形 1">
                <a:extLst>
                  <a:ext uri="{FF2B5EF4-FFF2-40B4-BE49-F238E27FC236}">
                    <a16:creationId xmlns:a16="http://schemas.microsoft.com/office/drawing/2014/main" id="{46757741-9296-4DCE-858E-8D751CF7567B}"/>
                  </a:ext>
                </a:extLst>
              </p:cNvPr>
              <p:cNvGrpSpPr/>
              <p:nvPr/>
            </p:nvGrpSpPr>
            <p:grpSpPr>
              <a:xfrm>
                <a:off x="21171895" y="8229328"/>
                <a:ext cx="279158" cy="333007"/>
                <a:chOff x="21171895" y="8229328"/>
                <a:chExt cx="279158" cy="333007"/>
              </a:xfrm>
            </p:grpSpPr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63A98889-9881-49DB-A622-BC18220DB659}"/>
                    </a:ext>
                  </a:extLst>
                </p:cNvPr>
                <p:cNvSpPr/>
                <p:nvPr/>
              </p:nvSpPr>
              <p:spPr>
                <a:xfrm>
                  <a:off x="21171895" y="8234520"/>
                  <a:ext cx="279158" cy="327815"/>
                </a:xfrm>
                <a:custGeom>
                  <a:avLst/>
                  <a:gdLst>
                    <a:gd name="connsiteX0" fmla="*/ 268679 w 279158"/>
                    <a:gd name="connsiteY0" fmla="*/ 107555 h 327815"/>
                    <a:gd name="connsiteX1" fmla="*/ 247909 w 279158"/>
                    <a:gd name="connsiteY1" fmla="*/ 107555 h 327815"/>
                    <a:gd name="connsiteX2" fmla="*/ 241977 w 279158"/>
                    <a:gd name="connsiteY2" fmla="*/ 110522 h 327815"/>
                    <a:gd name="connsiteX3" fmla="*/ 259778 w 279158"/>
                    <a:gd name="connsiteY3" fmla="*/ 86786 h 327815"/>
                    <a:gd name="connsiteX4" fmla="*/ 277580 w 279158"/>
                    <a:gd name="connsiteY4" fmla="*/ 39313 h 327815"/>
                    <a:gd name="connsiteX5" fmla="*/ 265713 w 279158"/>
                    <a:gd name="connsiteY5" fmla="*/ 36346 h 327815"/>
                    <a:gd name="connsiteX6" fmla="*/ 262745 w 279158"/>
                    <a:gd name="connsiteY6" fmla="*/ 36346 h 327815"/>
                    <a:gd name="connsiteX7" fmla="*/ 259778 w 279158"/>
                    <a:gd name="connsiteY7" fmla="*/ 6676 h 327815"/>
                    <a:gd name="connsiteX8" fmla="*/ 230108 w 279158"/>
                    <a:gd name="connsiteY8" fmla="*/ 6676 h 327815"/>
                    <a:gd name="connsiteX9" fmla="*/ 191537 w 279158"/>
                    <a:gd name="connsiteY9" fmla="*/ 51181 h 327815"/>
                    <a:gd name="connsiteX10" fmla="*/ 141097 w 279158"/>
                    <a:gd name="connsiteY10" fmla="*/ 116456 h 327815"/>
                    <a:gd name="connsiteX11" fmla="*/ 164833 w 279158"/>
                    <a:gd name="connsiteY11" fmla="*/ 60082 h 327815"/>
                    <a:gd name="connsiteX12" fmla="*/ 179668 w 279158"/>
                    <a:gd name="connsiteY12" fmla="*/ 15577 h 327815"/>
                    <a:gd name="connsiteX13" fmla="*/ 147031 w 279158"/>
                    <a:gd name="connsiteY13" fmla="*/ 24478 h 327815"/>
                    <a:gd name="connsiteX14" fmla="*/ 58020 w 279158"/>
                    <a:gd name="connsiteY14" fmla="*/ 196566 h 327815"/>
                    <a:gd name="connsiteX15" fmla="*/ 66921 w 279158"/>
                    <a:gd name="connsiteY15" fmla="*/ 125357 h 327815"/>
                    <a:gd name="connsiteX16" fmla="*/ 40217 w 279158"/>
                    <a:gd name="connsiteY16" fmla="*/ 107555 h 327815"/>
                    <a:gd name="connsiteX17" fmla="*/ 28350 w 279158"/>
                    <a:gd name="connsiteY17" fmla="*/ 297445 h 327815"/>
                    <a:gd name="connsiteX18" fmla="*/ 28350 w 279158"/>
                    <a:gd name="connsiteY18" fmla="*/ 297445 h 327815"/>
                    <a:gd name="connsiteX19" fmla="*/ 28350 w 279158"/>
                    <a:gd name="connsiteY19" fmla="*/ 303379 h 327815"/>
                    <a:gd name="connsiteX20" fmla="*/ 135163 w 279158"/>
                    <a:gd name="connsiteY20" fmla="*/ 321181 h 327815"/>
                    <a:gd name="connsiteX21" fmla="*/ 221207 w 279158"/>
                    <a:gd name="connsiteY21" fmla="*/ 208434 h 327815"/>
                    <a:gd name="connsiteX22" fmla="*/ 268679 w 279158"/>
                    <a:gd name="connsiteY22" fmla="*/ 107555 h 327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79158" h="327815">
                      <a:moveTo>
                        <a:pt x="268679" y="107555"/>
                      </a:moveTo>
                      <a:cubicBezTo>
                        <a:pt x="262745" y="101621"/>
                        <a:pt x="256812" y="101621"/>
                        <a:pt x="247909" y="107555"/>
                      </a:cubicBezTo>
                      <a:cubicBezTo>
                        <a:pt x="244943" y="107555"/>
                        <a:pt x="244943" y="110522"/>
                        <a:pt x="241977" y="110522"/>
                      </a:cubicBezTo>
                      <a:cubicBezTo>
                        <a:pt x="247909" y="101621"/>
                        <a:pt x="253844" y="95687"/>
                        <a:pt x="259778" y="86786"/>
                      </a:cubicBezTo>
                      <a:cubicBezTo>
                        <a:pt x="271647" y="71951"/>
                        <a:pt x="283514" y="57115"/>
                        <a:pt x="277580" y="39313"/>
                      </a:cubicBezTo>
                      <a:cubicBezTo>
                        <a:pt x="277580" y="36346"/>
                        <a:pt x="265713" y="36346"/>
                        <a:pt x="265713" y="36346"/>
                      </a:cubicBezTo>
                      <a:cubicBezTo>
                        <a:pt x="265713" y="36346"/>
                        <a:pt x="262745" y="36346"/>
                        <a:pt x="262745" y="36346"/>
                      </a:cubicBezTo>
                      <a:cubicBezTo>
                        <a:pt x="265713" y="24478"/>
                        <a:pt x="265713" y="15577"/>
                        <a:pt x="259778" y="6676"/>
                      </a:cubicBezTo>
                      <a:cubicBezTo>
                        <a:pt x="253844" y="-2225"/>
                        <a:pt x="241977" y="-2225"/>
                        <a:pt x="230108" y="6676"/>
                      </a:cubicBezTo>
                      <a:cubicBezTo>
                        <a:pt x="215273" y="18544"/>
                        <a:pt x="203404" y="36346"/>
                        <a:pt x="191537" y="51181"/>
                      </a:cubicBezTo>
                      <a:cubicBezTo>
                        <a:pt x="173734" y="71951"/>
                        <a:pt x="155932" y="92720"/>
                        <a:pt x="141097" y="116456"/>
                      </a:cubicBezTo>
                      <a:cubicBezTo>
                        <a:pt x="149998" y="98654"/>
                        <a:pt x="155932" y="77885"/>
                        <a:pt x="164833" y="60082"/>
                      </a:cubicBezTo>
                      <a:cubicBezTo>
                        <a:pt x="170767" y="48214"/>
                        <a:pt x="182636" y="27445"/>
                        <a:pt x="179668" y="15577"/>
                      </a:cubicBezTo>
                      <a:cubicBezTo>
                        <a:pt x="176702" y="-2225"/>
                        <a:pt x="152966" y="18544"/>
                        <a:pt x="147031" y="24478"/>
                      </a:cubicBezTo>
                      <a:cubicBezTo>
                        <a:pt x="99558" y="74917"/>
                        <a:pt x="90657" y="140192"/>
                        <a:pt x="58020" y="196566"/>
                      </a:cubicBezTo>
                      <a:cubicBezTo>
                        <a:pt x="52086" y="175797"/>
                        <a:pt x="58020" y="152060"/>
                        <a:pt x="66921" y="125357"/>
                      </a:cubicBezTo>
                      <a:cubicBezTo>
                        <a:pt x="69887" y="110522"/>
                        <a:pt x="46152" y="104588"/>
                        <a:pt x="40217" y="107555"/>
                      </a:cubicBezTo>
                      <a:cubicBezTo>
                        <a:pt x="-1320" y="155027"/>
                        <a:pt x="-19124" y="244038"/>
                        <a:pt x="28350" y="297445"/>
                      </a:cubicBezTo>
                      <a:cubicBezTo>
                        <a:pt x="28350" y="297445"/>
                        <a:pt x="28350" y="297445"/>
                        <a:pt x="28350" y="297445"/>
                      </a:cubicBezTo>
                      <a:cubicBezTo>
                        <a:pt x="28350" y="297445"/>
                        <a:pt x="25382" y="300412"/>
                        <a:pt x="28350" y="303379"/>
                      </a:cubicBezTo>
                      <a:cubicBezTo>
                        <a:pt x="43185" y="330082"/>
                        <a:pt x="105492" y="333049"/>
                        <a:pt x="135163" y="321181"/>
                      </a:cubicBezTo>
                      <a:cubicBezTo>
                        <a:pt x="182636" y="303379"/>
                        <a:pt x="197471" y="247005"/>
                        <a:pt x="221207" y="208434"/>
                      </a:cubicBezTo>
                      <a:cubicBezTo>
                        <a:pt x="239009" y="193599"/>
                        <a:pt x="283514" y="119423"/>
                        <a:pt x="268679" y="107555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43F4BA98-34B1-411E-9FBB-370430AB3949}"/>
                    </a:ext>
                  </a:extLst>
                </p:cNvPr>
                <p:cNvSpPr/>
                <p:nvPr/>
              </p:nvSpPr>
              <p:spPr>
                <a:xfrm>
                  <a:off x="21247717" y="8437020"/>
                  <a:ext cx="30617" cy="65274"/>
                </a:xfrm>
                <a:custGeom>
                  <a:avLst/>
                  <a:gdLst>
                    <a:gd name="connsiteX0" fmla="*/ 20770 w 30617"/>
                    <a:gd name="connsiteY0" fmla="*/ 65275 h 65274"/>
                    <a:gd name="connsiteX1" fmla="*/ 20770 w 30617"/>
                    <a:gd name="connsiteY1" fmla="*/ 65275 h 65274"/>
                    <a:gd name="connsiteX2" fmla="*/ 14835 w 30617"/>
                    <a:gd name="connsiteY2" fmla="*/ 56373 h 65274"/>
                    <a:gd name="connsiteX3" fmla="*/ 2968 w 30617"/>
                    <a:gd name="connsiteY3" fmla="*/ 11868 h 65274"/>
                    <a:gd name="connsiteX4" fmla="*/ 0 w 30617"/>
                    <a:gd name="connsiteY4" fmla="*/ 2967 h 65274"/>
                    <a:gd name="connsiteX5" fmla="*/ 8901 w 30617"/>
                    <a:gd name="connsiteY5" fmla="*/ 0 h 65274"/>
                    <a:gd name="connsiteX6" fmla="*/ 26704 w 30617"/>
                    <a:gd name="connsiteY6" fmla="*/ 56373 h 65274"/>
                    <a:gd name="connsiteX7" fmla="*/ 20770 w 30617"/>
                    <a:gd name="connsiteY7" fmla="*/ 65275 h 65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617" h="65274">
                      <a:moveTo>
                        <a:pt x="20770" y="65275"/>
                      </a:moveTo>
                      <a:cubicBezTo>
                        <a:pt x="20770" y="65275"/>
                        <a:pt x="20770" y="65275"/>
                        <a:pt x="20770" y="65275"/>
                      </a:cubicBezTo>
                      <a:cubicBezTo>
                        <a:pt x="14835" y="62308"/>
                        <a:pt x="14835" y="59341"/>
                        <a:pt x="14835" y="56373"/>
                      </a:cubicBezTo>
                      <a:cubicBezTo>
                        <a:pt x="26704" y="29670"/>
                        <a:pt x="2968" y="11868"/>
                        <a:pt x="2968" y="11868"/>
                      </a:cubicBezTo>
                      <a:cubicBezTo>
                        <a:pt x="0" y="8901"/>
                        <a:pt x="0" y="5934"/>
                        <a:pt x="0" y="2967"/>
                      </a:cubicBezTo>
                      <a:cubicBezTo>
                        <a:pt x="2968" y="0"/>
                        <a:pt x="5934" y="0"/>
                        <a:pt x="8901" y="0"/>
                      </a:cubicBezTo>
                      <a:cubicBezTo>
                        <a:pt x="20770" y="5934"/>
                        <a:pt x="38571" y="26703"/>
                        <a:pt x="26704" y="56373"/>
                      </a:cubicBezTo>
                      <a:cubicBezTo>
                        <a:pt x="26704" y="62308"/>
                        <a:pt x="23736" y="65275"/>
                        <a:pt x="20770" y="65275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08946EF8-CDCA-4A7C-9257-7FED323073C8}"/>
                    </a:ext>
                  </a:extLst>
                </p:cNvPr>
                <p:cNvSpPr/>
                <p:nvPr/>
              </p:nvSpPr>
              <p:spPr>
                <a:xfrm>
                  <a:off x="21307057" y="8229328"/>
                  <a:ext cx="129066" cy="127582"/>
                </a:xfrm>
                <a:custGeom>
                  <a:avLst/>
                  <a:gdLst>
                    <a:gd name="connsiteX0" fmla="*/ 5934 w 129066"/>
                    <a:gd name="connsiteY0" fmla="*/ 127583 h 127582"/>
                    <a:gd name="connsiteX1" fmla="*/ 5934 w 129066"/>
                    <a:gd name="connsiteY1" fmla="*/ 127583 h 127582"/>
                    <a:gd name="connsiteX2" fmla="*/ 0 w 129066"/>
                    <a:gd name="connsiteY2" fmla="*/ 118681 h 127582"/>
                    <a:gd name="connsiteX3" fmla="*/ 38571 w 129066"/>
                    <a:gd name="connsiteY3" fmla="*/ 17802 h 127582"/>
                    <a:gd name="connsiteX4" fmla="*/ 44505 w 129066"/>
                    <a:gd name="connsiteY4" fmla="*/ 14835 h 127582"/>
                    <a:gd name="connsiteX5" fmla="*/ 47474 w 129066"/>
                    <a:gd name="connsiteY5" fmla="*/ 20769 h 127582"/>
                    <a:gd name="connsiteX6" fmla="*/ 26704 w 129066"/>
                    <a:gd name="connsiteY6" fmla="*/ 77143 h 127582"/>
                    <a:gd name="connsiteX7" fmla="*/ 100880 w 129066"/>
                    <a:gd name="connsiteY7" fmla="*/ 0 h 127582"/>
                    <a:gd name="connsiteX8" fmla="*/ 124616 w 129066"/>
                    <a:gd name="connsiteY8" fmla="*/ 8901 h 127582"/>
                    <a:gd name="connsiteX9" fmla="*/ 124616 w 129066"/>
                    <a:gd name="connsiteY9" fmla="*/ 38572 h 127582"/>
                    <a:gd name="connsiteX10" fmla="*/ 118681 w 129066"/>
                    <a:gd name="connsiteY10" fmla="*/ 41538 h 127582"/>
                    <a:gd name="connsiteX11" fmla="*/ 115715 w 129066"/>
                    <a:gd name="connsiteY11" fmla="*/ 35604 h 127582"/>
                    <a:gd name="connsiteX12" fmla="*/ 115715 w 129066"/>
                    <a:gd name="connsiteY12" fmla="*/ 17802 h 127582"/>
                    <a:gd name="connsiteX13" fmla="*/ 100880 w 129066"/>
                    <a:gd name="connsiteY13" fmla="*/ 11868 h 127582"/>
                    <a:gd name="connsiteX14" fmla="*/ 5934 w 129066"/>
                    <a:gd name="connsiteY14" fmla="*/ 121649 h 127582"/>
                    <a:gd name="connsiteX15" fmla="*/ 5934 w 129066"/>
                    <a:gd name="connsiteY15" fmla="*/ 127583 h 127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29066" h="127582">
                      <a:moveTo>
                        <a:pt x="5934" y="127583"/>
                      </a:moveTo>
                      <a:cubicBezTo>
                        <a:pt x="5934" y="127583"/>
                        <a:pt x="5934" y="127583"/>
                        <a:pt x="5934" y="127583"/>
                      </a:cubicBezTo>
                      <a:cubicBezTo>
                        <a:pt x="0" y="124615"/>
                        <a:pt x="0" y="121649"/>
                        <a:pt x="0" y="118681"/>
                      </a:cubicBezTo>
                      <a:cubicBezTo>
                        <a:pt x="17803" y="83077"/>
                        <a:pt x="38571" y="20769"/>
                        <a:pt x="38571" y="17802"/>
                      </a:cubicBezTo>
                      <a:cubicBezTo>
                        <a:pt x="38571" y="14835"/>
                        <a:pt x="41539" y="11868"/>
                        <a:pt x="44505" y="14835"/>
                      </a:cubicBezTo>
                      <a:cubicBezTo>
                        <a:pt x="47474" y="14835"/>
                        <a:pt x="47474" y="17802"/>
                        <a:pt x="47474" y="20769"/>
                      </a:cubicBezTo>
                      <a:cubicBezTo>
                        <a:pt x="47474" y="23736"/>
                        <a:pt x="38571" y="50439"/>
                        <a:pt x="26704" y="77143"/>
                      </a:cubicBezTo>
                      <a:cubicBezTo>
                        <a:pt x="53406" y="41538"/>
                        <a:pt x="89011" y="0"/>
                        <a:pt x="100880" y="0"/>
                      </a:cubicBezTo>
                      <a:cubicBezTo>
                        <a:pt x="112747" y="0"/>
                        <a:pt x="121649" y="2967"/>
                        <a:pt x="124616" y="8901"/>
                      </a:cubicBezTo>
                      <a:cubicBezTo>
                        <a:pt x="130550" y="17802"/>
                        <a:pt x="130550" y="26703"/>
                        <a:pt x="124616" y="38572"/>
                      </a:cubicBezTo>
                      <a:cubicBezTo>
                        <a:pt x="124616" y="41538"/>
                        <a:pt x="118681" y="41538"/>
                        <a:pt x="118681" y="41538"/>
                      </a:cubicBezTo>
                      <a:cubicBezTo>
                        <a:pt x="115715" y="41538"/>
                        <a:pt x="115715" y="35604"/>
                        <a:pt x="115715" y="35604"/>
                      </a:cubicBezTo>
                      <a:cubicBezTo>
                        <a:pt x="118681" y="29670"/>
                        <a:pt x="118681" y="20769"/>
                        <a:pt x="115715" y="17802"/>
                      </a:cubicBezTo>
                      <a:cubicBezTo>
                        <a:pt x="112747" y="11868"/>
                        <a:pt x="106814" y="11868"/>
                        <a:pt x="100880" y="11868"/>
                      </a:cubicBezTo>
                      <a:cubicBezTo>
                        <a:pt x="91979" y="14835"/>
                        <a:pt x="44505" y="71209"/>
                        <a:pt x="5934" y="121649"/>
                      </a:cubicBezTo>
                      <a:cubicBezTo>
                        <a:pt x="8901" y="127583"/>
                        <a:pt x="8901" y="127583"/>
                        <a:pt x="5934" y="12758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ADEFFAD7-D2B8-4462-86BD-91840DFB3D8B}"/>
                  </a:ext>
                </a:extLst>
              </p:cNvPr>
              <p:cNvSpPr/>
              <p:nvPr/>
            </p:nvSpPr>
            <p:spPr>
              <a:xfrm>
                <a:off x="21349338" y="8333174"/>
                <a:ext cx="94572" cy="112747"/>
              </a:xfrm>
              <a:custGeom>
                <a:avLst/>
                <a:gdLst>
                  <a:gd name="connsiteX0" fmla="*/ 52665 w 94572"/>
                  <a:gd name="connsiteY0" fmla="*/ 109780 h 112747"/>
                  <a:gd name="connsiteX1" fmla="*/ 52665 w 94572"/>
                  <a:gd name="connsiteY1" fmla="*/ 109780 h 112747"/>
                  <a:gd name="connsiteX2" fmla="*/ 46730 w 94572"/>
                  <a:gd name="connsiteY2" fmla="*/ 100879 h 112747"/>
                  <a:gd name="connsiteX3" fmla="*/ 85301 w 94572"/>
                  <a:gd name="connsiteY3" fmla="*/ 11868 h 112747"/>
                  <a:gd name="connsiteX4" fmla="*/ 79369 w 94572"/>
                  <a:gd name="connsiteY4" fmla="*/ 8901 h 112747"/>
                  <a:gd name="connsiteX5" fmla="*/ 61565 w 94572"/>
                  <a:gd name="connsiteY5" fmla="*/ 20769 h 112747"/>
                  <a:gd name="connsiteX6" fmla="*/ 40796 w 94572"/>
                  <a:gd name="connsiteY6" fmla="*/ 53407 h 112747"/>
                  <a:gd name="connsiteX7" fmla="*/ 11125 w 94572"/>
                  <a:gd name="connsiteY7" fmla="*/ 97912 h 112747"/>
                  <a:gd name="connsiteX8" fmla="*/ 2225 w 94572"/>
                  <a:gd name="connsiteY8" fmla="*/ 97912 h 112747"/>
                  <a:gd name="connsiteX9" fmla="*/ 2225 w 94572"/>
                  <a:gd name="connsiteY9" fmla="*/ 89011 h 112747"/>
                  <a:gd name="connsiteX10" fmla="*/ 31895 w 94572"/>
                  <a:gd name="connsiteY10" fmla="*/ 47473 h 112747"/>
                  <a:gd name="connsiteX11" fmla="*/ 52665 w 94572"/>
                  <a:gd name="connsiteY11" fmla="*/ 14835 h 112747"/>
                  <a:gd name="connsiteX12" fmla="*/ 76401 w 94572"/>
                  <a:gd name="connsiteY12" fmla="*/ 0 h 112747"/>
                  <a:gd name="connsiteX13" fmla="*/ 76401 w 94572"/>
                  <a:gd name="connsiteY13" fmla="*/ 0 h 112747"/>
                  <a:gd name="connsiteX14" fmla="*/ 91236 w 94572"/>
                  <a:gd name="connsiteY14" fmla="*/ 8901 h 112747"/>
                  <a:gd name="connsiteX15" fmla="*/ 52665 w 94572"/>
                  <a:gd name="connsiteY15" fmla="*/ 112747 h 112747"/>
                  <a:gd name="connsiteX16" fmla="*/ 52665 w 94572"/>
                  <a:gd name="connsiteY16" fmla="*/ 109780 h 112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4572" h="112747">
                    <a:moveTo>
                      <a:pt x="52665" y="109780"/>
                    </a:moveTo>
                    <a:cubicBezTo>
                      <a:pt x="52665" y="109780"/>
                      <a:pt x="49698" y="109780"/>
                      <a:pt x="52665" y="109780"/>
                    </a:cubicBezTo>
                    <a:cubicBezTo>
                      <a:pt x="46730" y="106813"/>
                      <a:pt x="46730" y="103846"/>
                      <a:pt x="46730" y="100879"/>
                    </a:cubicBezTo>
                    <a:cubicBezTo>
                      <a:pt x="73434" y="59341"/>
                      <a:pt x="91236" y="17802"/>
                      <a:pt x="85301" y="11868"/>
                    </a:cubicBezTo>
                    <a:cubicBezTo>
                      <a:pt x="82335" y="8901"/>
                      <a:pt x="79369" y="5934"/>
                      <a:pt x="79369" y="8901"/>
                    </a:cubicBezTo>
                    <a:cubicBezTo>
                      <a:pt x="73434" y="8901"/>
                      <a:pt x="67500" y="11868"/>
                      <a:pt x="61565" y="20769"/>
                    </a:cubicBezTo>
                    <a:cubicBezTo>
                      <a:pt x="55631" y="26703"/>
                      <a:pt x="49698" y="38572"/>
                      <a:pt x="40796" y="53407"/>
                    </a:cubicBezTo>
                    <a:cubicBezTo>
                      <a:pt x="28929" y="71209"/>
                      <a:pt x="17060" y="91978"/>
                      <a:pt x="11125" y="97912"/>
                    </a:cubicBezTo>
                    <a:cubicBezTo>
                      <a:pt x="8159" y="100879"/>
                      <a:pt x="5193" y="100879"/>
                      <a:pt x="2225" y="97912"/>
                    </a:cubicBezTo>
                    <a:cubicBezTo>
                      <a:pt x="-742" y="94945"/>
                      <a:pt x="-742" y="91978"/>
                      <a:pt x="2225" y="89011"/>
                    </a:cubicBezTo>
                    <a:cubicBezTo>
                      <a:pt x="8159" y="83077"/>
                      <a:pt x="20028" y="65275"/>
                      <a:pt x="31895" y="47473"/>
                    </a:cubicBezTo>
                    <a:cubicBezTo>
                      <a:pt x="40796" y="32638"/>
                      <a:pt x="49698" y="20769"/>
                      <a:pt x="52665" y="14835"/>
                    </a:cubicBezTo>
                    <a:cubicBezTo>
                      <a:pt x="61565" y="2967"/>
                      <a:pt x="70466" y="0"/>
                      <a:pt x="76401" y="0"/>
                    </a:cubicBezTo>
                    <a:lnTo>
                      <a:pt x="76401" y="0"/>
                    </a:lnTo>
                    <a:cubicBezTo>
                      <a:pt x="79369" y="0"/>
                      <a:pt x="85301" y="0"/>
                      <a:pt x="91236" y="8901"/>
                    </a:cubicBezTo>
                    <a:cubicBezTo>
                      <a:pt x="106071" y="26703"/>
                      <a:pt x="67500" y="86044"/>
                      <a:pt x="52665" y="112747"/>
                    </a:cubicBezTo>
                    <a:cubicBezTo>
                      <a:pt x="55631" y="109780"/>
                      <a:pt x="55631" y="109780"/>
                      <a:pt x="52665" y="10978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0F282CF0-1FCE-489E-BBD5-B833B3700353}"/>
                  </a:ext>
                </a:extLst>
              </p:cNvPr>
              <p:cNvSpPr/>
              <p:nvPr/>
            </p:nvSpPr>
            <p:spPr>
              <a:xfrm>
                <a:off x="21328569" y="8264160"/>
                <a:ext cx="127777" cy="134288"/>
              </a:xfrm>
              <a:custGeom>
                <a:avLst/>
                <a:gdLst>
                  <a:gd name="connsiteX0" fmla="*/ 5193 w 127777"/>
                  <a:gd name="connsiteY0" fmla="*/ 134288 h 134288"/>
                  <a:gd name="connsiteX1" fmla="*/ 2225 w 127777"/>
                  <a:gd name="connsiteY1" fmla="*/ 134288 h 134288"/>
                  <a:gd name="connsiteX2" fmla="*/ 2225 w 127777"/>
                  <a:gd name="connsiteY2" fmla="*/ 125387 h 134288"/>
                  <a:gd name="connsiteX3" fmla="*/ 37829 w 127777"/>
                  <a:gd name="connsiteY3" fmla="*/ 77915 h 134288"/>
                  <a:gd name="connsiteX4" fmla="*/ 43764 w 127777"/>
                  <a:gd name="connsiteY4" fmla="*/ 69014 h 134288"/>
                  <a:gd name="connsiteX5" fmla="*/ 82335 w 127777"/>
                  <a:gd name="connsiteY5" fmla="*/ 12640 h 134288"/>
                  <a:gd name="connsiteX6" fmla="*/ 114973 w 127777"/>
                  <a:gd name="connsiteY6" fmla="*/ 772 h 134288"/>
                  <a:gd name="connsiteX7" fmla="*/ 126840 w 127777"/>
                  <a:gd name="connsiteY7" fmla="*/ 9673 h 134288"/>
                  <a:gd name="connsiteX8" fmla="*/ 97170 w 127777"/>
                  <a:gd name="connsiteY8" fmla="*/ 74948 h 134288"/>
                  <a:gd name="connsiteX9" fmla="*/ 88269 w 127777"/>
                  <a:gd name="connsiteY9" fmla="*/ 74948 h 134288"/>
                  <a:gd name="connsiteX10" fmla="*/ 88269 w 127777"/>
                  <a:gd name="connsiteY10" fmla="*/ 66046 h 134288"/>
                  <a:gd name="connsiteX11" fmla="*/ 114973 w 127777"/>
                  <a:gd name="connsiteY11" fmla="*/ 12640 h 134288"/>
                  <a:gd name="connsiteX12" fmla="*/ 112005 w 127777"/>
                  <a:gd name="connsiteY12" fmla="*/ 9673 h 134288"/>
                  <a:gd name="connsiteX13" fmla="*/ 88269 w 127777"/>
                  <a:gd name="connsiteY13" fmla="*/ 18574 h 134288"/>
                  <a:gd name="connsiteX14" fmla="*/ 52665 w 127777"/>
                  <a:gd name="connsiteY14" fmla="*/ 71981 h 134288"/>
                  <a:gd name="connsiteX15" fmla="*/ 46730 w 127777"/>
                  <a:gd name="connsiteY15" fmla="*/ 80882 h 134288"/>
                  <a:gd name="connsiteX16" fmla="*/ 8159 w 127777"/>
                  <a:gd name="connsiteY16" fmla="*/ 128354 h 134288"/>
                  <a:gd name="connsiteX17" fmla="*/ 5193 w 127777"/>
                  <a:gd name="connsiteY17" fmla="*/ 134288 h 134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7777" h="134288">
                    <a:moveTo>
                      <a:pt x="5193" y="134288"/>
                    </a:moveTo>
                    <a:cubicBezTo>
                      <a:pt x="5193" y="134288"/>
                      <a:pt x="2225" y="134288"/>
                      <a:pt x="2225" y="134288"/>
                    </a:cubicBezTo>
                    <a:cubicBezTo>
                      <a:pt x="-742" y="131321"/>
                      <a:pt x="-742" y="128354"/>
                      <a:pt x="2225" y="125387"/>
                    </a:cubicBezTo>
                    <a:cubicBezTo>
                      <a:pt x="14094" y="110552"/>
                      <a:pt x="34863" y="83849"/>
                      <a:pt x="37829" y="77915"/>
                    </a:cubicBezTo>
                    <a:cubicBezTo>
                      <a:pt x="37829" y="74948"/>
                      <a:pt x="40798" y="71981"/>
                      <a:pt x="43764" y="69014"/>
                    </a:cubicBezTo>
                    <a:cubicBezTo>
                      <a:pt x="58599" y="45277"/>
                      <a:pt x="73434" y="18574"/>
                      <a:pt x="82335" y="12640"/>
                    </a:cubicBezTo>
                    <a:cubicBezTo>
                      <a:pt x="91236" y="3739"/>
                      <a:pt x="106071" y="-2195"/>
                      <a:pt x="114973" y="772"/>
                    </a:cubicBezTo>
                    <a:cubicBezTo>
                      <a:pt x="120906" y="772"/>
                      <a:pt x="123874" y="6706"/>
                      <a:pt x="126840" y="9673"/>
                    </a:cubicBezTo>
                    <a:cubicBezTo>
                      <a:pt x="132775" y="24508"/>
                      <a:pt x="109039" y="60112"/>
                      <a:pt x="97170" y="74948"/>
                    </a:cubicBezTo>
                    <a:cubicBezTo>
                      <a:pt x="94204" y="77915"/>
                      <a:pt x="91236" y="77915"/>
                      <a:pt x="88269" y="74948"/>
                    </a:cubicBezTo>
                    <a:cubicBezTo>
                      <a:pt x="85303" y="71981"/>
                      <a:pt x="85303" y="69014"/>
                      <a:pt x="88269" y="66046"/>
                    </a:cubicBezTo>
                    <a:cubicBezTo>
                      <a:pt x="106071" y="42310"/>
                      <a:pt x="117940" y="18574"/>
                      <a:pt x="114973" y="12640"/>
                    </a:cubicBezTo>
                    <a:cubicBezTo>
                      <a:pt x="114973" y="9673"/>
                      <a:pt x="112005" y="9673"/>
                      <a:pt x="112005" y="9673"/>
                    </a:cubicBezTo>
                    <a:cubicBezTo>
                      <a:pt x="106071" y="9673"/>
                      <a:pt x="94204" y="12640"/>
                      <a:pt x="88269" y="18574"/>
                    </a:cubicBezTo>
                    <a:cubicBezTo>
                      <a:pt x="79369" y="24508"/>
                      <a:pt x="61565" y="57146"/>
                      <a:pt x="52665" y="71981"/>
                    </a:cubicBezTo>
                    <a:cubicBezTo>
                      <a:pt x="49698" y="77915"/>
                      <a:pt x="46730" y="80882"/>
                      <a:pt x="46730" y="80882"/>
                    </a:cubicBezTo>
                    <a:cubicBezTo>
                      <a:pt x="40798" y="89783"/>
                      <a:pt x="11127" y="128354"/>
                      <a:pt x="8159" y="128354"/>
                    </a:cubicBezTo>
                    <a:cubicBezTo>
                      <a:pt x="11127" y="131321"/>
                      <a:pt x="8159" y="134288"/>
                      <a:pt x="5193" y="1342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C727BFB4-54CF-4A46-A8C5-4E85886D83E8}"/>
                </a:ext>
              </a:extLst>
            </p:cNvPr>
            <p:cNvGrpSpPr/>
            <p:nvPr/>
          </p:nvGrpSpPr>
          <p:grpSpPr>
            <a:xfrm>
              <a:off x="20090574" y="11958888"/>
              <a:ext cx="471758" cy="332307"/>
              <a:chOff x="20090574" y="11958888"/>
              <a:chExt cx="471758" cy="332307"/>
            </a:xfrm>
          </p:grpSpPr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4B10D2B8-4F52-436F-ABA2-EBB8703C126D}"/>
                  </a:ext>
                </a:extLst>
              </p:cNvPr>
              <p:cNvSpPr/>
              <p:nvPr/>
            </p:nvSpPr>
            <p:spPr>
              <a:xfrm>
                <a:off x="20099475" y="11958888"/>
                <a:ext cx="204726" cy="216593"/>
              </a:xfrm>
              <a:custGeom>
                <a:avLst/>
                <a:gdLst>
                  <a:gd name="connsiteX0" fmla="*/ 0 w 204726"/>
                  <a:gd name="connsiteY0" fmla="*/ 178022 h 216593"/>
                  <a:gd name="connsiteX1" fmla="*/ 8903 w 204726"/>
                  <a:gd name="connsiteY1" fmla="*/ 0 h 216593"/>
                  <a:gd name="connsiteX2" fmla="*/ 204726 w 204726"/>
                  <a:gd name="connsiteY2" fmla="*/ 0 h 216593"/>
                  <a:gd name="connsiteX3" fmla="*/ 157254 w 204726"/>
                  <a:gd name="connsiteY3" fmla="*/ 189890 h 216593"/>
                  <a:gd name="connsiteX4" fmla="*/ 11869 w 204726"/>
                  <a:gd name="connsiteY4" fmla="*/ 216593 h 216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4726" h="216593">
                    <a:moveTo>
                      <a:pt x="0" y="178022"/>
                    </a:moveTo>
                    <a:lnTo>
                      <a:pt x="8903" y="0"/>
                    </a:lnTo>
                    <a:lnTo>
                      <a:pt x="204726" y="0"/>
                    </a:lnTo>
                    <a:lnTo>
                      <a:pt x="157254" y="189890"/>
                    </a:lnTo>
                    <a:lnTo>
                      <a:pt x="11869" y="216593"/>
                    </a:lnTo>
                    <a:close/>
                  </a:path>
                </a:pathLst>
              </a:custGeom>
              <a:solidFill>
                <a:srgbClr val="F49F84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8261907F-E066-4AAB-96F7-B918768FC275}"/>
                  </a:ext>
                </a:extLst>
              </p:cNvPr>
              <p:cNvSpPr/>
              <p:nvPr/>
            </p:nvSpPr>
            <p:spPr>
              <a:xfrm>
                <a:off x="20091563" y="12092405"/>
                <a:ext cx="470769" cy="154285"/>
              </a:xfrm>
              <a:custGeom>
                <a:avLst/>
                <a:gdLst>
                  <a:gd name="connsiteX0" fmla="*/ 7912 w 470769"/>
                  <a:gd name="connsiteY0" fmla="*/ 44505 h 154285"/>
                  <a:gd name="connsiteX1" fmla="*/ 177033 w 470769"/>
                  <a:gd name="connsiteY1" fmla="*/ 0 h 154285"/>
                  <a:gd name="connsiteX2" fmla="*/ 307583 w 470769"/>
                  <a:gd name="connsiteY2" fmla="*/ 77142 h 154285"/>
                  <a:gd name="connsiteX3" fmla="*/ 470770 w 470769"/>
                  <a:gd name="connsiteY3" fmla="*/ 154285 h 154285"/>
                  <a:gd name="connsiteX4" fmla="*/ 7912 w 470769"/>
                  <a:gd name="connsiteY4" fmla="*/ 154285 h 154285"/>
                  <a:gd name="connsiteX5" fmla="*/ 7912 w 470769"/>
                  <a:gd name="connsiteY5" fmla="*/ 44505 h 154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0769" h="154285">
                    <a:moveTo>
                      <a:pt x="7912" y="44505"/>
                    </a:moveTo>
                    <a:cubicBezTo>
                      <a:pt x="7912" y="44505"/>
                      <a:pt x="114726" y="62307"/>
                      <a:pt x="177033" y="0"/>
                    </a:cubicBezTo>
                    <a:cubicBezTo>
                      <a:pt x="177033" y="0"/>
                      <a:pt x="263078" y="68241"/>
                      <a:pt x="307583" y="77142"/>
                    </a:cubicBezTo>
                    <a:cubicBezTo>
                      <a:pt x="352089" y="86044"/>
                      <a:pt x="458901" y="83077"/>
                      <a:pt x="470770" y="154285"/>
                    </a:cubicBezTo>
                    <a:lnTo>
                      <a:pt x="7912" y="154285"/>
                    </a:lnTo>
                    <a:cubicBezTo>
                      <a:pt x="7912" y="154285"/>
                      <a:pt x="-9890" y="94945"/>
                      <a:pt x="7912" y="44505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85D41ADF-AF57-4A15-8207-0B6494631502}"/>
                  </a:ext>
                </a:extLst>
              </p:cNvPr>
              <p:cNvSpPr/>
              <p:nvPr/>
            </p:nvSpPr>
            <p:spPr>
              <a:xfrm>
                <a:off x="20099475" y="12246690"/>
                <a:ext cx="462857" cy="44505"/>
              </a:xfrm>
              <a:custGeom>
                <a:avLst/>
                <a:gdLst>
                  <a:gd name="connsiteX0" fmla="*/ -1 w 462857"/>
                  <a:gd name="connsiteY0" fmla="*/ 0 h 44505"/>
                  <a:gd name="connsiteX1" fmla="*/ 462856 w 462857"/>
                  <a:gd name="connsiteY1" fmla="*/ 0 h 44505"/>
                  <a:gd name="connsiteX2" fmla="*/ 462856 w 462857"/>
                  <a:gd name="connsiteY2" fmla="*/ 44505 h 44505"/>
                  <a:gd name="connsiteX3" fmla="*/ -1 w 462857"/>
                  <a:gd name="connsiteY3" fmla="*/ 44505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2857" h="44505">
                    <a:moveTo>
                      <a:pt x="-1" y="0"/>
                    </a:moveTo>
                    <a:lnTo>
                      <a:pt x="462856" y="0"/>
                    </a:lnTo>
                    <a:lnTo>
                      <a:pt x="462856" y="44505"/>
                    </a:lnTo>
                    <a:lnTo>
                      <a:pt x="-1" y="44505"/>
                    </a:lnTo>
                    <a:close/>
                  </a:path>
                </a:pathLst>
              </a:custGeom>
              <a:solidFill>
                <a:srgbClr val="38333D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1C4533A4-5961-43AD-8398-EB44084E63A6}"/>
                  </a:ext>
                </a:extLst>
              </p:cNvPr>
              <p:cNvSpPr/>
              <p:nvPr/>
            </p:nvSpPr>
            <p:spPr>
              <a:xfrm>
                <a:off x="20090574" y="12084245"/>
                <a:ext cx="180248" cy="61566"/>
              </a:xfrm>
              <a:custGeom>
                <a:avLst/>
                <a:gdLst>
                  <a:gd name="connsiteX0" fmla="*/ 38571 w 180248"/>
                  <a:gd name="connsiteY0" fmla="*/ 61566 h 61566"/>
                  <a:gd name="connsiteX1" fmla="*/ 5934 w 180248"/>
                  <a:gd name="connsiteY1" fmla="*/ 58599 h 61566"/>
                  <a:gd name="connsiteX2" fmla="*/ 0 w 180248"/>
                  <a:gd name="connsiteY2" fmla="*/ 52665 h 61566"/>
                  <a:gd name="connsiteX3" fmla="*/ 5934 w 180248"/>
                  <a:gd name="connsiteY3" fmla="*/ 46731 h 61566"/>
                  <a:gd name="connsiteX4" fmla="*/ 169121 w 180248"/>
                  <a:gd name="connsiteY4" fmla="*/ 2225 h 61566"/>
                  <a:gd name="connsiteX5" fmla="*/ 178022 w 180248"/>
                  <a:gd name="connsiteY5" fmla="*/ 2225 h 61566"/>
                  <a:gd name="connsiteX6" fmla="*/ 178022 w 180248"/>
                  <a:gd name="connsiteY6" fmla="*/ 11126 h 61566"/>
                  <a:gd name="connsiteX7" fmla="*/ 38571 w 180248"/>
                  <a:gd name="connsiteY7" fmla="*/ 61566 h 61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0248" h="61566">
                    <a:moveTo>
                      <a:pt x="38571" y="61566"/>
                    </a:moveTo>
                    <a:cubicBezTo>
                      <a:pt x="20770" y="61566"/>
                      <a:pt x="8901" y="58599"/>
                      <a:pt x="5934" y="58599"/>
                    </a:cubicBezTo>
                    <a:cubicBezTo>
                      <a:pt x="2968" y="58599"/>
                      <a:pt x="0" y="55632"/>
                      <a:pt x="0" y="52665"/>
                    </a:cubicBezTo>
                    <a:cubicBezTo>
                      <a:pt x="0" y="49698"/>
                      <a:pt x="2968" y="46731"/>
                      <a:pt x="5934" y="46731"/>
                    </a:cubicBezTo>
                    <a:cubicBezTo>
                      <a:pt x="5934" y="46731"/>
                      <a:pt x="103846" y="61566"/>
                      <a:pt x="169121" y="2225"/>
                    </a:cubicBezTo>
                    <a:cubicBezTo>
                      <a:pt x="172088" y="-742"/>
                      <a:pt x="175056" y="-742"/>
                      <a:pt x="178022" y="2225"/>
                    </a:cubicBezTo>
                    <a:cubicBezTo>
                      <a:pt x="180990" y="5193"/>
                      <a:pt x="180990" y="8160"/>
                      <a:pt x="178022" y="11126"/>
                    </a:cubicBezTo>
                    <a:cubicBezTo>
                      <a:pt x="133516" y="52665"/>
                      <a:pt x="74176" y="61566"/>
                      <a:pt x="38571" y="6156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B4911D54-F045-4D6B-AA10-2AB8F55D8B5C}"/>
                  </a:ext>
                </a:extLst>
              </p:cNvPr>
              <p:cNvSpPr/>
              <p:nvPr/>
            </p:nvSpPr>
            <p:spPr>
              <a:xfrm>
                <a:off x="20269338" y="12107982"/>
                <a:ext cx="37087" cy="40796"/>
              </a:xfrm>
              <a:custGeom>
                <a:avLst/>
                <a:gdLst>
                  <a:gd name="connsiteX0" fmla="*/ 5192 w 37087"/>
                  <a:gd name="connsiteY0" fmla="*/ 40797 h 40796"/>
                  <a:gd name="connsiteX1" fmla="*/ 2226 w 37087"/>
                  <a:gd name="connsiteY1" fmla="*/ 37829 h 40796"/>
                  <a:gd name="connsiteX2" fmla="*/ 2226 w 37087"/>
                  <a:gd name="connsiteY2" fmla="*/ 28929 h 40796"/>
                  <a:gd name="connsiteX3" fmla="*/ 25962 w 37087"/>
                  <a:gd name="connsiteY3" fmla="*/ 2225 h 40796"/>
                  <a:gd name="connsiteX4" fmla="*/ 34863 w 37087"/>
                  <a:gd name="connsiteY4" fmla="*/ 2225 h 40796"/>
                  <a:gd name="connsiteX5" fmla="*/ 34863 w 37087"/>
                  <a:gd name="connsiteY5" fmla="*/ 11126 h 40796"/>
                  <a:gd name="connsiteX6" fmla="*/ 11127 w 37087"/>
                  <a:gd name="connsiteY6" fmla="*/ 37829 h 40796"/>
                  <a:gd name="connsiteX7" fmla="*/ 5192 w 37087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87" h="40796">
                    <a:moveTo>
                      <a:pt x="5192" y="40797"/>
                    </a:moveTo>
                    <a:cubicBezTo>
                      <a:pt x="5192" y="40797"/>
                      <a:pt x="2226" y="40797"/>
                      <a:pt x="2226" y="37829"/>
                    </a:cubicBezTo>
                    <a:cubicBezTo>
                      <a:pt x="-742" y="34862"/>
                      <a:pt x="-742" y="31895"/>
                      <a:pt x="2226" y="28929"/>
                    </a:cubicBezTo>
                    <a:lnTo>
                      <a:pt x="25962" y="2225"/>
                    </a:lnTo>
                    <a:cubicBezTo>
                      <a:pt x="28928" y="-742"/>
                      <a:pt x="31896" y="-742"/>
                      <a:pt x="34863" y="2225"/>
                    </a:cubicBezTo>
                    <a:cubicBezTo>
                      <a:pt x="37829" y="5192"/>
                      <a:pt x="37829" y="8159"/>
                      <a:pt x="34863" y="11126"/>
                    </a:cubicBezTo>
                    <a:lnTo>
                      <a:pt x="11127" y="37829"/>
                    </a:lnTo>
                    <a:cubicBezTo>
                      <a:pt x="8159" y="40797"/>
                      <a:pt x="8159" y="40797"/>
                      <a:pt x="5192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A43BF951-E482-4FF9-BD37-4D6A3AE649D7}"/>
                  </a:ext>
                </a:extLst>
              </p:cNvPr>
              <p:cNvSpPr/>
              <p:nvPr/>
            </p:nvSpPr>
            <p:spPr>
              <a:xfrm>
                <a:off x="20307909" y="12134685"/>
                <a:ext cx="40055" cy="40796"/>
              </a:xfrm>
              <a:custGeom>
                <a:avLst/>
                <a:gdLst>
                  <a:gd name="connsiteX0" fmla="*/ 5192 w 40055"/>
                  <a:gd name="connsiteY0" fmla="*/ 40796 h 40796"/>
                  <a:gd name="connsiteX1" fmla="*/ 2226 w 40055"/>
                  <a:gd name="connsiteY1" fmla="*/ 37829 h 40796"/>
                  <a:gd name="connsiteX2" fmla="*/ 2226 w 40055"/>
                  <a:gd name="connsiteY2" fmla="*/ 28929 h 40796"/>
                  <a:gd name="connsiteX3" fmla="*/ 28928 w 40055"/>
                  <a:gd name="connsiteY3" fmla="*/ 2225 h 40796"/>
                  <a:gd name="connsiteX4" fmla="*/ 37831 w 40055"/>
                  <a:gd name="connsiteY4" fmla="*/ 2225 h 40796"/>
                  <a:gd name="connsiteX5" fmla="*/ 37831 w 40055"/>
                  <a:gd name="connsiteY5" fmla="*/ 11126 h 40796"/>
                  <a:gd name="connsiteX6" fmla="*/ 11127 w 40055"/>
                  <a:gd name="connsiteY6" fmla="*/ 37829 h 40796"/>
                  <a:gd name="connsiteX7" fmla="*/ 5192 w 40055"/>
                  <a:gd name="connsiteY7" fmla="*/ 40796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5" h="40796">
                    <a:moveTo>
                      <a:pt x="5192" y="40796"/>
                    </a:moveTo>
                    <a:cubicBezTo>
                      <a:pt x="5192" y="40796"/>
                      <a:pt x="2226" y="40796"/>
                      <a:pt x="2226" y="37829"/>
                    </a:cubicBezTo>
                    <a:cubicBezTo>
                      <a:pt x="-742" y="34862"/>
                      <a:pt x="-742" y="31896"/>
                      <a:pt x="2226" y="28929"/>
                    </a:cubicBezTo>
                    <a:lnTo>
                      <a:pt x="28928" y="2225"/>
                    </a:lnTo>
                    <a:cubicBezTo>
                      <a:pt x="31896" y="-742"/>
                      <a:pt x="34863" y="-742"/>
                      <a:pt x="37831" y="2225"/>
                    </a:cubicBezTo>
                    <a:cubicBezTo>
                      <a:pt x="40797" y="5192"/>
                      <a:pt x="40797" y="8159"/>
                      <a:pt x="37831" y="11126"/>
                    </a:cubicBezTo>
                    <a:lnTo>
                      <a:pt x="11127" y="37829"/>
                    </a:lnTo>
                    <a:cubicBezTo>
                      <a:pt x="8161" y="40796"/>
                      <a:pt x="5192" y="40796"/>
                      <a:pt x="5192" y="407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22BEAF5D-E5DF-4040-85C9-8B5213B4BE22}"/>
                </a:ext>
              </a:extLst>
            </p:cNvPr>
            <p:cNvSpPr/>
            <p:nvPr/>
          </p:nvSpPr>
          <p:spPr>
            <a:xfrm>
              <a:off x="19865080" y="8199657"/>
              <a:ext cx="243297" cy="251317"/>
            </a:xfrm>
            <a:custGeom>
              <a:avLst/>
              <a:gdLst>
                <a:gd name="connsiteX0" fmla="*/ 243297 w 243297"/>
                <a:gd name="connsiteY0" fmla="*/ 38572 h 251317"/>
                <a:gd name="connsiteX1" fmla="*/ 237363 w 243297"/>
                <a:gd name="connsiteY1" fmla="*/ 207692 h 251317"/>
                <a:gd name="connsiteX2" fmla="*/ 0 w 243297"/>
                <a:gd name="connsiteY2" fmla="*/ 198791 h 251317"/>
                <a:gd name="connsiteX3" fmla="*/ 14835 w 243297"/>
                <a:gd name="connsiteY3" fmla="*/ 0 h 251317"/>
                <a:gd name="connsiteX4" fmla="*/ 243297 w 243297"/>
                <a:gd name="connsiteY4" fmla="*/ 38572 h 251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297" h="251317">
                  <a:moveTo>
                    <a:pt x="243297" y="38572"/>
                  </a:moveTo>
                  <a:cubicBezTo>
                    <a:pt x="243297" y="38572"/>
                    <a:pt x="237363" y="136484"/>
                    <a:pt x="237363" y="207692"/>
                  </a:cubicBezTo>
                  <a:cubicBezTo>
                    <a:pt x="237363" y="207692"/>
                    <a:pt x="145384" y="311538"/>
                    <a:pt x="0" y="198791"/>
                  </a:cubicBezTo>
                  <a:cubicBezTo>
                    <a:pt x="0" y="139450"/>
                    <a:pt x="11867" y="62308"/>
                    <a:pt x="14835" y="0"/>
                  </a:cubicBezTo>
                  <a:cubicBezTo>
                    <a:pt x="11867" y="0"/>
                    <a:pt x="189889" y="50439"/>
                    <a:pt x="243297" y="38572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042FAB2D-811F-41C5-BE97-3EC618DFC542}"/>
                </a:ext>
              </a:extLst>
            </p:cNvPr>
            <p:cNvSpPr/>
            <p:nvPr/>
          </p:nvSpPr>
          <p:spPr>
            <a:xfrm>
              <a:off x="19773101" y="8083943"/>
              <a:ext cx="68243" cy="133516"/>
            </a:xfrm>
            <a:custGeom>
              <a:avLst/>
              <a:gdLst>
                <a:gd name="connsiteX0" fmla="*/ 0 w 68243"/>
                <a:gd name="connsiteY0" fmla="*/ 0 h 133516"/>
                <a:gd name="connsiteX1" fmla="*/ 65275 w 68243"/>
                <a:gd name="connsiteY1" fmla="*/ 133516 h 133516"/>
                <a:gd name="connsiteX2" fmla="*/ 68243 w 68243"/>
                <a:gd name="connsiteY2" fmla="*/ 50439 h 133516"/>
                <a:gd name="connsiteX3" fmla="*/ 0 w 68243"/>
                <a:gd name="connsiteY3" fmla="*/ 0 h 13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243" h="133516">
                  <a:moveTo>
                    <a:pt x="0" y="0"/>
                  </a:moveTo>
                  <a:cubicBezTo>
                    <a:pt x="0" y="0"/>
                    <a:pt x="14835" y="115714"/>
                    <a:pt x="65275" y="133516"/>
                  </a:cubicBezTo>
                  <a:lnTo>
                    <a:pt x="68243" y="504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527688B9-7B56-47B5-80DD-94CC27985FAF}"/>
                </a:ext>
              </a:extLst>
            </p:cNvPr>
            <p:cNvSpPr/>
            <p:nvPr/>
          </p:nvSpPr>
          <p:spPr>
            <a:xfrm>
              <a:off x="20122773" y="7879218"/>
              <a:ext cx="99882" cy="231440"/>
            </a:xfrm>
            <a:custGeom>
              <a:avLst/>
              <a:gdLst>
                <a:gd name="connsiteX0" fmla="*/ 92417 w 99882"/>
                <a:gd name="connsiteY0" fmla="*/ 0 h 231440"/>
                <a:gd name="connsiteX1" fmla="*/ 53846 w 99882"/>
                <a:gd name="connsiteY1" fmla="*/ 228461 h 231440"/>
                <a:gd name="connsiteX2" fmla="*/ 440 w 99882"/>
                <a:gd name="connsiteY2" fmla="*/ 14835 h 231440"/>
                <a:gd name="connsiteX3" fmla="*/ 92417 w 99882"/>
                <a:gd name="connsiteY3" fmla="*/ 0 h 23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882" h="231440">
                  <a:moveTo>
                    <a:pt x="92417" y="0"/>
                  </a:moveTo>
                  <a:cubicBezTo>
                    <a:pt x="92417" y="0"/>
                    <a:pt x="125054" y="189890"/>
                    <a:pt x="53846" y="228461"/>
                  </a:cubicBezTo>
                  <a:cubicBezTo>
                    <a:pt x="-8463" y="261099"/>
                    <a:pt x="440" y="14835"/>
                    <a:pt x="440" y="14835"/>
                  </a:cubicBezTo>
                  <a:lnTo>
                    <a:pt x="92417" y="0"/>
                  </a:ln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B43DE0D4-93B7-448D-893B-30D260369B6E}"/>
                </a:ext>
              </a:extLst>
            </p:cNvPr>
            <p:cNvSpPr/>
            <p:nvPr/>
          </p:nvSpPr>
          <p:spPr>
            <a:xfrm>
              <a:off x="19776069" y="7747341"/>
              <a:ext cx="412035" cy="553783"/>
            </a:xfrm>
            <a:custGeom>
              <a:avLst/>
              <a:gdLst>
                <a:gd name="connsiteX0" fmla="*/ 400549 w 412035"/>
                <a:gd name="connsiteY0" fmla="*/ 176383 h 553783"/>
                <a:gd name="connsiteX1" fmla="*/ 403516 w 412035"/>
                <a:gd name="connsiteY1" fmla="*/ 419679 h 553783"/>
                <a:gd name="connsiteX2" fmla="*/ 249230 w 412035"/>
                <a:gd name="connsiteY2" fmla="*/ 553196 h 553783"/>
                <a:gd name="connsiteX3" fmla="*/ 38571 w 412035"/>
                <a:gd name="connsiteY3" fmla="*/ 416712 h 553783"/>
                <a:gd name="connsiteX4" fmla="*/ 0 w 412035"/>
                <a:gd name="connsiteY4" fmla="*/ 197152 h 553783"/>
                <a:gd name="connsiteX5" fmla="*/ 204724 w 412035"/>
                <a:gd name="connsiteY5" fmla="*/ 1328 h 553783"/>
                <a:gd name="connsiteX6" fmla="*/ 400549 w 412035"/>
                <a:gd name="connsiteY6" fmla="*/ 176383 h 553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035" h="553783">
                  <a:moveTo>
                    <a:pt x="400549" y="176383"/>
                  </a:moveTo>
                  <a:cubicBezTo>
                    <a:pt x="400549" y="176383"/>
                    <a:pt x="424285" y="348471"/>
                    <a:pt x="403516" y="419679"/>
                  </a:cubicBezTo>
                  <a:cubicBezTo>
                    <a:pt x="385714" y="484954"/>
                    <a:pt x="299670" y="547262"/>
                    <a:pt x="249230" y="553196"/>
                  </a:cubicBezTo>
                  <a:cubicBezTo>
                    <a:pt x="183956" y="559130"/>
                    <a:pt x="68241" y="520559"/>
                    <a:pt x="38571" y="416712"/>
                  </a:cubicBezTo>
                  <a:cubicBezTo>
                    <a:pt x="17801" y="345503"/>
                    <a:pt x="0" y="247592"/>
                    <a:pt x="0" y="197152"/>
                  </a:cubicBezTo>
                  <a:cubicBezTo>
                    <a:pt x="0" y="105174"/>
                    <a:pt x="26702" y="28031"/>
                    <a:pt x="204724" y="1328"/>
                  </a:cubicBezTo>
                  <a:cubicBezTo>
                    <a:pt x="287803" y="-13507"/>
                    <a:pt x="379780" y="99240"/>
                    <a:pt x="400549" y="176383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555689D3-6F6C-49FB-B558-58F900D854F7}"/>
                </a:ext>
              </a:extLst>
            </p:cNvPr>
            <p:cNvSpPr/>
            <p:nvPr/>
          </p:nvSpPr>
          <p:spPr>
            <a:xfrm>
              <a:off x="19995628" y="8000866"/>
              <a:ext cx="56374" cy="136483"/>
            </a:xfrm>
            <a:custGeom>
              <a:avLst/>
              <a:gdLst>
                <a:gd name="connsiteX0" fmla="*/ 26704 w 56374"/>
                <a:gd name="connsiteY0" fmla="*/ 136483 h 136483"/>
                <a:gd name="connsiteX1" fmla="*/ 5934 w 56374"/>
                <a:gd name="connsiteY1" fmla="*/ 133516 h 136483"/>
                <a:gd name="connsiteX2" fmla="*/ 0 w 56374"/>
                <a:gd name="connsiteY2" fmla="*/ 127583 h 136483"/>
                <a:gd name="connsiteX3" fmla="*/ 5934 w 56374"/>
                <a:gd name="connsiteY3" fmla="*/ 121648 h 136483"/>
                <a:gd name="connsiteX4" fmla="*/ 44505 w 56374"/>
                <a:gd name="connsiteY4" fmla="*/ 118681 h 136483"/>
                <a:gd name="connsiteX5" fmla="*/ 44505 w 56374"/>
                <a:gd name="connsiteY5" fmla="*/ 115714 h 136483"/>
                <a:gd name="connsiteX6" fmla="*/ 26704 w 56374"/>
                <a:gd name="connsiteY6" fmla="*/ 5934 h 136483"/>
                <a:gd name="connsiteX7" fmla="*/ 32638 w 56374"/>
                <a:gd name="connsiteY7" fmla="*/ 0 h 136483"/>
                <a:gd name="connsiteX8" fmla="*/ 38573 w 56374"/>
                <a:gd name="connsiteY8" fmla="*/ 5934 h 136483"/>
                <a:gd name="connsiteX9" fmla="*/ 56374 w 56374"/>
                <a:gd name="connsiteY9" fmla="*/ 115714 h 136483"/>
                <a:gd name="connsiteX10" fmla="*/ 50440 w 56374"/>
                <a:gd name="connsiteY10" fmla="*/ 127583 h 136483"/>
                <a:gd name="connsiteX11" fmla="*/ 26704 w 56374"/>
                <a:gd name="connsiteY11" fmla="*/ 136483 h 13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374" h="136483">
                  <a:moveTo>
                    <a:pt x="26704" y="136483"/>
                  </a:moveTo>
                  <a:cubicBezTo>
                    <a:pt x="17803" y="136483"/>
                    <a:pt x="8903" y="133516"/>
                    <a:pt x="5934" y="133516"/>
                  </a:cubicBezTo>
                  <a:cubicBezTo>
                    <a:pt x="2968" y="133516"/>
                    <a:pt x="0" y="130549"/>
                    <a:pt x="0" y="127583"/>
                  </a:cubicBezTo>
                  <a:cubicBezTo>
                    <a:pt x="0" y="124615"/>
                    <a:pt x="2968" y="121648"/>
                    <a:pt x="5934" y="121648"/>
                  </a:cubicBezTo>
                  <a:cubicBezTo>
                    <a:pt x="17803" y="124615"/>
                    <a:pt x="38573" y="124615"/>
                    <a:pt x="44505" y="118681"/>
                  </a:cubicBezTo>
                  <a:cubicBezTo>
                    <a:pt x="44505" y="118681"/>
                    <a:pt x="44505" y="115714"/>
                    <a:pt x="44505" y="115714"/>
                  </a:cubicBezTo>
                  <a:cubicBezTo>
                    <a:pt x="44505" y="97912"/>
                    <a:pt x="26704" y="8901"/>
                    <a:pt x="26704" y="5934"/>
                  </a:cubicBezTo>
                  <a:cubicBezTo>
                    <a:pt x="26704" y="2967"/>
                    <a:pt x="26704" y="0"/>
                    <a:pt x="32638" y="0"/>
                  </a:cubicBezTo>
                  <a:cubicBezTo>
                    <a:pt x="35605" y="0"/>
                    <a:pt x="38573" y="0"/>
                    <a:pt x="38573" y="5934"/>
                  </a:cubicBezTo>
                  <a:cubicBezTo>
                    <a:pt x="38573" y="8901"/>
                    <a:pt x="56374" y="97912"/>
                    <a:pt x="56374" y="115714"/>
                  </a:cubicBezTo>
                  <a:cubicBezTo>
                    <a:pt x="56374" y="121648"/>
                    <a:pt x="53408" y="124615"/>
                    <a:pt x="50440" y="127583"/>
                  </a:cubicBezTo>
                  <a:cubicBezTo>
                    <a:pt x="47474" y="133516"/>
                    <a:pt x="38573" y="136483"/>
                    <a:pt x="26704" y="136483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75724370-B60A-4DC3-B6BF-873F14564B01}"/>
                </a:ext>
              </a:extLst>
            </p:cNvPr>
            <p:cNvSpPr/>
            <p:nvPr/>
          </p:nvSpPr>
          <p:spPr>
            <a:xfrm>
              <a:off x="19968926" y="8184822"/>
              <a:ext cx="103846" cy="50558"/>
            </a:xfrm>
            <a:custGeom>
              <a:avLst/>
              <a:gdLst>
                <a:gd name="connsiteX0" fmla="*/ 103846 w 103846"/>
                <a:gd name="connsiteY0" fmla="*/ 0 h 50558"/>
                <a:gd name="connsiteX1" fmla="*/ 0 w 103846"/>
                <a:gd name="connsiteY1" fmla="*/ 0 h 50558"/>
                <a:gd name="connsiteX2" fmla="*/ 50440 w 103846"/>
                <a:gd name="connsiteY2" fmla="*/ 50439 h 50558"/>
                <a:gd name="connsiteX3" fmla="*/ 103846 w 103846"/>
                <a:gd name="connsiteY3" fmla="*/ 0 h 50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46" h="50558">
                  <a:moveTo>
                    <a:pt x="103846" y="0"/>
                  </a:moveTo>
                  <a:cubicBezTo>
                    <a:pt x="103846" y="0"/>
                    <a:pt x="50440" y="14835"/>
                    <a:pt x="0" y="0"/>
                  </a:cubicBezTo>
                  <a:cubicBezTo>
                    <a:pt x="0" y="0"/>
                    <a:pt x="2966" y="50439"/>
                    <a:pt x="50440" y="50439"/>
                  </a:cubicBezTo>
                  <a:cubicBezTo>
                    <a:pt x="91977" y="53407"/>
                    <a:pt x="103846" y="0"/>
                    <a:pt x="103846" y="0"/>
                  </a:cubicBezTo>
                  <a:close/>
                </a:path>
              </a:pathLst>
            </a:custGeom>
            <a:solidFill>
              <a:srgbClr val="FFFFFF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C6D89133-3AED-49F6-AF87-66E592025498}"/>
                </a:ext>
              </a:extLst>
            </p:cNvPr>
            <p:cNvSpPr/>
            <p:nvPr/>
          </p:nvSpPr>
          <p:spPr>
            <a:xfrm>
              <a:off x="20083884" y="7979515"/>
              <a:ext cx="39910" cy="39735"/>
            </a:xfrm>
            <a:custGeom>
              <a:avLst/>
              <a:gdLst>
                <a:gd name="connsiteX0" fmla="*/ 756 w 39910"/>
                <a:gd name="connsiteY0" fmla="*/ 24318 h 39735"/>
                <a:gd name="connsiteX1" fmla="*/ 24493 w 39910"/>
                <a:gd name="connsiteY1" fmla="*/ 39153 h 39735"/>
                <a:gd name="connsiteX2" fmla="*/ 39329 w 39910"/>
                <a:gd name="connsiteY2" fmla="*/ 15417 h 39735"/>
                <a:gd name="connsiteX3" fmla="*/ 15591 w 39910"/>
                <a:gd name="connsiteY3" fmla="*/ 582 h 39735"/>
                <a:gd name="connsiteX4" fmla="*/ 756 w 39910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10" h="39735">
                  <a:moveTo>
                    <a:pt x="756" y="24318"/>
                  </a:moveTo>
                  <a:cubicBezTo>
                    <a:pt x="3724" y="33219"/>
                    <a:pt x="12625" y="42120"/>
                    <a:pt x="24493" y="39153"/>
                  </a:cubicBezTo>
                  <a:cubicBezTo>
                    <a:pt x="33394" y="36186"/>
                    <a:pt x="42295" y="27285"/>
                    <a:pt x="39329" y="15417"/>
                  </a:cubicBezTo>
                  <a:cubicBezTo>
                    <a:pt x="36361" y="6516"/>
                    <a:pt x="27460" y="-2385"/>
                    <a:pt x="15591" y="582"/>
                  </a:cubicBezTo>
                  <a:cubicBezTo>
                    <a:pt x="3724" y="3549"/>
                    <a:pt x="-2211" y="15417"/>
                    <a:pt x="756" y="24318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4EAB6762-D68C-4D73-8398-1EA59466688A}"/>
                </a:ext>
              </a:extLst>
            </p:cNvPr>
            <p:cNvSpPr/>
            <p:nvPr/>
          </p:nvSpPr>
          <p:spPr>
            <a:xfrm>
              <a:off x="19905862" y="8000284"/>
              <a:ext cx="39910" cy="39735"/>
            </a:xfrm>
            <a:custGeom>
              <a:avLst/>
              <a:gdLst>
                <a:gd name="connsiteX0" fmla="*/ 756 w 39910"/>
                <a:gd name="connsiteY0" fmla="*/ 24318 h 39735"/>
                <a:gd name="connsiteX1" fmla="*/ 24493 w 39910"/>
                <a:gd name="connsiteY1" fmla="*/ 39154 h 39735"/>
                <a:gd name="connsiteX2" fmla="*/ 39329 w 39910"/>
                <a:gd name="connsiteY2" fmla="*/ 15417 h 39735"/>
                <a:gd name="connsiteX3" fmla="*/ 15591 w 39910"/>
                <a:gd name="connsiteY3" fmla="*/ 582 h 39735"/>
                <a:gd name="connsiteX4" fmla="*/ 756 w 39910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10" h="39735">
                  <a:moveTo>
                    <a:pt x="756" y="24318"/>
                  </a:moveTo>
                  <a:cubicBezTo>
                    <a:pt x="3724" y="33219"/>
                    <a:pt x="12625" y="42120"/>
                    <a:pt x="24493" y="39154"/>
                  </a:cubicBezTo>
                  <a:cubicBezTo>
                    <a:pt x="33394" y="36186"/>
                    <a:pt x="42295" y="27285"/>
                    <a:pt x="39329" y="15417"/>
                  </a:cubicBezTo>
                  <a:cubicBezTo>
                    <a:pt x="36361" y="6516"/>
                    <a:pt x="27460" y="-2385"/>
                    <a:pt x="15591" y="582"/>
                  </a:cubicBezTo>
                  <a:cubicBezTo>
                    <a:pt x="3724" y="3549"/>
                    <a:pt x="-2211" y="12450"/>
                    <a:pt x="756" y="24318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0E25FC6E-9811-4035-8DE7-9F2FCFF32BED}"/>
                </a:ext>
              </a:extLst>
            </p:cNvPr>
            <p:cNvSpPr/>
            <p:nvPr/>
          </p:nvSpPr>
          <p:spPr>
            <a:xfrm>
              <a:off x="20053740" y="7932624"/>
              <a:ext cx="89498" cy="32637"/>
            </a:xfrm>
            <a:custGeom>
              <a:avLst/>
              <a:gdLst>
                <a:gd name="connsiteX0" fmla="*/ 84307 w 89498"/>
                <a:gd name="connsiteY0" fmla="*/ 32638 h 32637"/>
                <a:gd name="connsiteX1" fmla="*/ 78373 w 89498"/>
                <a:gd name="connsiteY1" fmla="*/ 29670 h 32637"/>
                <a:gd name="connsiteX2" fmla="*/ 13097 w 89498"/>
                <a:gd name="connsiteY2" fmla="*/ 23736 h 32637"/>
                <a:gd name="connsiteX3" fmla="*/ 1229 w 89498"/>
                <a:gd name="connsiteY3" fmla="*/ 20769 h 32637"/>
                <a:gd name="connsiteX4" fmla="*/ 4197 w 89498"/>
                <a:gd name="connsiteY4" fmla="*/ 8901 h 32637"/>
                <a:gd name="connsiteX5" fmla="*/ 87273 w 89498"/>
                <a:gd name="connsiteY5" fmla="*/ 17802 h 32637"/>
                <a:gd name="connsiteX6" fmla="*/ 87273 w 89498"/>
                <a:gd name="connsiteY6" fmla="*/ 29670 h 32637"/>
                <a:gd name="connsiteX7" fmla="*/ 84307 w 89498"/>
                <a:gd name="connsiteY7" fmla="*/ 32638 h 32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2637">
                  <a:moveTo>
                    <a:pt x="84307" y="32638"/>
                  </a:moveTo>
                  <a:cubicBezTo>
                    <a:pt x="81339" y="32638"/>
                    <a:pt x="81339" y="32638"/>
                    <a:pt x="78373" y="29670"/>
                  </a:cubicBezTo>
                  <a:cubicBezTo>
                    <a:pt x="51669" y="2967"/>
                    <a:pt x="13097" y="23736"/>
                    <a:pt x="13097" y="23736"/>
                  </a:cubicBezTo>
                  <a:cubicBezTo>
                    <a:pt x="10131" y="26703"/>
                    <a:pt x="4197" y="23736"/>
                    <a:pt x="1229" y="20769"/>
                  </a:cubicBezTo>
                  <a:cubicBezTo>
                    <a:pt x="-1738" y="17802"/>
                    <a:pt x="1229" y="11868"/>
                    <a:pt x="4197" y="8901"/>
                  </a:cubicBezTo>
                  <a:cubicBezTo>
                    <a:pt x="21998" y="0"/>
                    <a:pt x="60569" y="-8901"/>
                    <a:pt x="87273" y="17802"/>
                  </a:cubicBezTo>
                  <a:cubicBezTo>
                    <a:pt x="90240" y="20769"/>
                    <a:pt x="90240" y="26703"/>
                    <a:pt x="87273" y="29670"/>
                  </a:cubicBezTo>
                  <a:cubicBezTo>
                    <a:pt x="87273" y="32638"/>
                    <a:pt x="87273" y="32638"/>
                    <a:pt x="84307" y="32638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FD093167-2749-4678-88CE-D8838D0CB78B}"/>
                </a:ext>
              </a:extLst>
            </p:cNvPr>
            <p:cNvSpPr/>
            <p:nvPr/>
          </p:nvSpPr>
          <p:spPr>
            <a:xfrm>
              <a:off x="19871756" y="7935893"/>
              <a:ext cx="89498" cy="35302"/>
            </a:xfrm>
            <a:custGeom>
              <a:avLst/>
              <a:gdLst>
                <a:gd name="connsiteX0" fmla="*/ 8159 w 89498"/>
                <a:gd name="connsiteY0" fmla="*/ 35303 h 35302"/>
                <a:gd name="connsiteX1" fmla="*/ 2225 w 89498"/>
                <a:gd name="connsiteY1" fmla="*/ 32335 h 35302"/>
                <a:gd name="connsiteX2" fmla="*/ 2225 w 89498"/>
                <a:gd name="connsiteY2" fmla="*/ 20467 h 35302"/>
                <a:gd name="connsiteX3" fmla="*/ 85301 w 89498"/>
                <a:gd name="connsiteY3" fmla="*/ 11566 h 35302"/>
                <a:gd name="connsiteX4" fmla="*/ 88269 w 89498"/>
                <a:gd name="connsiteY4" fmla="*/ 23434 h 35302"/>
                <a:gd name="connsiteX5" fmla="*/ 76401 w 89498"/>
                <a:gd name="connsiteY5" fmla="*/ 26401 h 35302"/>
                <a:gd name="connsiteX6" fmla="*/ 11125 w 89498"/>
                <a:gd name="connsiteY6" fmla="*/ 32335 h 35302"/>
                <a:gd name="connsiteX7" fmla="*/ 8159 w 89498"/>
                <a:gd name="connsiteY7" fmla="*/ 35303 h 35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302">
                  <a:moveTo>
                    <a:pt x="8159" y="35303"/>
                  </a:moveTo>
                  <a:cubicBezTo>
                    <a:pt x="5191" y="35303"/>
                    <a:pt x="5191" y="35303"/>
                    <a:pt x="2225" y="32335"/>
                  </a:cubicBezTo>
                  <a:cubicBezTo>
                    <a:pt x="-742" y="29369"/>
                    <a:pt x="-742" y="23434"/>
                    <a:pt x="2225" y="20467"/>
                  </a:cubicBezTo>
                  <a:cubicBezTo>
                    <a:pt x="14094" y="5632"/>
                    <a:pt x="49697" y="-12170"/>
                    <a:pt x="85301" y="11566"/>
                  </a:cubicBezTo>
                  <a:cubicBezTo>
                    <a:pt x="88269" y="14533"/>
                    <a:pt x="91236" y="17500"/>
                    <a:pt x="88269" y="23434"/>
                  </a:cubicBezTo>
                  <a:cubicBezTo>
                    <a:pt x="85301" y="26401"/>
                    <a:pt x="82335" y="29369"/>
                    <a:pt x="76401" y="26401"/>
                  </a:cubicBezTo>
                  <a:cubicBezTo>
                    <a:pt x="40796" y="5632"/>
                    <a:pt x="14094" y="32335"/>
                    <a:pt x="11125" y="32335"/>
                  </a:cubicBezTo>
                  <a:cubicBezTo>
                    <a:pt x="11125" y="32335"/>
                    <a:pt x="8159" y="35303"/>
                    <a:pt x="8159" y="35303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8F73AEB5-92B1-4734-916F-09263EA78C2E}"/>
                </a:ext>
              </a:extLst>
            </p:cNvPr>
            <p:cNvSpPr/>
            <p:nvPr/>
          </p:nvSpPr>
          <p:spPr>
            <a:xfrm>
              <a:off x="19865080" y="8244163"/>
              <a:ext cx="224752" cy="62307"/>
            </a:xfrm>
            <a:custGeom>
              <a:avLst/>
              <a:gdLst>
                <a:gd name="connsiteX0" fmla="*/ 145384 w 224752"/>
                <a:gd name="connsiteY0" fmla="*/ 62308 h 62307"/>
                <a:gd name="connsiteX1" fmla="*/ 2966 w 224752"/>
                <a:gd name="connsiteY1" fmla="*/ 11868 h 62307"/>
                <a:gd name="connsiteX2" fmla="*/ 0 w 224752"/>
                <a:gd name="connsiteY2" fmla="*/ 2967 h 62307"/>
                <a:gd name="connsiteX3" fmla="*/ 8901 w 224752"/>
                <a:gd name="connsiteY3" fmla="*/ 0 h 62307"/>
                <a:gd name="connsiteX4" fmla="*/ 145384 w 224752"/>
                <a:gd name="connsiteY4" fmla="*/ 47473 h 62307"/>
                <a:gd name="connsiteX5" fmla="*/ 145384 w 224752"/>
                <a:gd name="connsiteY5" fmla="*/ 47473 h 62307"/>
                <a:gd name="connsiteX6" fmla="*/ 213627 w 224752"/>
                <a:gd name="connsiteY6" fmla="*/ 23736 h 62307"/>
                <a:gd name="connsiteX7" fmla="*/ 222527 w 224752"/>
                <a:gd name="connsiteY7" fmla="*/ 23736 h 62307"/>
                <a:gd name="connsiteX8" fmla="*/ 222527 w 224752"/>
                <a:gd name="connsiteY8" fmla="*/ 32638 h 62307"/>
                <a:gd name="connsiteX9" fmla="*/ 145384 w 224752"/>
                <a:gd name="connsiteY9" fmla="*/ 62308 h 62307"/>
                <a:gd name="connsiteX10" fmla="*/ 145384 w 224752"/>
                <a:gd name="connsiteY10" fmla="*/ 62308 h 6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752" h="62307">
                  <a:moveTo>
                    <a:pt x="145384" y="62308"/>
                  </a:moveTo>
                  <a:cubicBezTo>
                    <a:pt x="94945" y="62308"/>
                    <a:pt x="8901" y="14835"/>
                    <a:pt x="2966" y="11868"/>
                  </a:cubicBezTo>
                  <a:cubicBezTo>
                    <a:pt x="0" y="8901"/>
                    <a:pt x="0" y="5934"/>
                    <a:pt x="0" y="2967"/>
                  </a:cubicBezTo>
                  <a:cubicBezTo>
                    <a:pt x="2966" y="0"/>
                    <a:pt x="5934" y="0"/>
                    <a:pt x="8901" y="0"/>
                  </a:cubicBezTo>
                  <a:cubicBezTo>
                    <a:pt x="8901" y="0"/>
                    <a:pt x="97912" y="47473"/>
                    <a:pt x="145384" y="47473"/>
                  </a:cubicBezTo>
                  <a:cubicBezTo>
                    <a:pt x="145384" y="47473"/>
                    <a:pt x="145384" y="47473"/>
                    <a:pt x="145384" y="47473"/>
                  </a:cubicBezTo>
                  <a:cubicBezTo>
                    <a:pt x="183956" y="47473"/>
                    <a:pt x="213627" y="23736"/>
                    <a:pt x="213627" y="23736"/>
                  </a:cubicBezTo>
                  <a:cubicBezTo>
                    <a:pt x="216593" y="20769"/>
                    <a:pt x="219559" y="20769"/>
                    <a:pt x="222527" y="23736"/>
                  </a:cubicBezTo>
                  <a:cubicBezTo>
                    <a:pt x="225494" y="26703"/>
                    <a:pt x="225494" y="29670"/>
                    <a:pt x="222527" y="32638"/>
                  </a:cubicBezTo>
                  <a:cubicBezTo>
                    <a:pt x="222527" y="35604"/>
                    <a:pt x="189889" y="62308"/>
                    <a:pt x="145384" y="62308"/>
                  </a:cubicBezTo>
                  <a:cubicBezTo>
                    <a:pt x="145384" y="62308"/>
                    <a:pt x="145384" y="62308"/>
                    <a:pt x="145384" y="62308"/>
                  </a:cubicBezTo>
                  <a:close/>
                </a:path>
              </a:pathLst>
            </a:custGeom>
            <a:solidFill>
              <a:srgbClr val="E87952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C16B56D0-7A98-4975-BA09-4D16B65BE96B}"/>
                </a:ext>
              </a:extLst>
            </p:cNvPr>
            <p:cNvSpPr/>
            <p:nvPr/>
          </p:nvSpPr>
          <p:spPr>
            <a:xfrm>
              <a:off x="19737189" y="7769437"/>
              <a:ext cx="110087" cy="261098"/>
            </a:xfrm>
            <a:custGeom>
              <a:avLst/>
              <a:gdLst>
                <a:gd name="connsiteX0" fmla="*/ 110088 w 110087"/>
                <a:gd name="connsiteY0" fmla="*/ 124615 h 261098"/>
                <a:gd name="connsiteX1" fmla="*/ 62616 w 110087"/>
                <a:gd name="connsiteY1" fmla="*/ 261099 h 261098"/>
                <a:gd name="connsiteX2" fmla="*/ 6242 w 110087"/>
                <a:gd name="connsiteY2" fmla="*/ 163187 h 261098"/>
                <a:gd name="connsiteX3" fmla="*/ 62616 w 110087"/>
                <a:gd name="connsiteY3" fmla="*/ 0 h 261098"/>
                <a:gd name="connsiteX4" fmla="*/ 110088 w 110087"/>
                <a:gd name="connsiteY4" fmla="*/ 124615 h 26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087" h="261098">
                  <a:moveTo>
                    <a:pt x="110088" y="124615"/>
                  </a:moveTo>
                  <a:cubicBezTo>
                    <a:pt x="110088" y="124615"/>
                    <a:pt x="56682" y="231429"/>
                    <a:pt x="62616" y="261099"/>
                  </a:cubicBezTo>
                  <a:cubicBezTo>
                    <a:pt x="62616" y="261099"/>
                    <a:pt x="21077" y="216594"/>
                    <a:pt x="6242" y="163187"/>
                  </a:cubicBezTo>
                  <a:cubicBezTo>
                    <a:pt x="-8594" y="106813"/>
                    <a:pt x="309" y="14835"/>
                    <a:pt x="62616" y="0"/>
                  </a:cubicBezTo>
                  <a:cubicBezTo>
                    <a:pt x="62616" y="2967"/>
                    <a:pt x="71517" y="106813"/>
                    <a:pt x="110088" y="124615"/>
                  </a:cubicBez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BCC7B289-D740-4BF8-9059-3BD644ED51FF}"/>
                </a:ext>
              </a:extLst>
            </p:cNvPr>
            <p:cNvSpPr/>
            <p:nvPr/>
          </p:nvSpPr>
          <p:spPr>
            <a:xfrm>
              <a:off x="19790124" y="7657207"/>
              <a:ext cx="425656" cy="340691"/>
            </a:xfrm>
            <a:custGeom>
              <a:avLst/>
              <a:gdLst>
                <a:gd name="connsiteX0" fmla="*/ 57153 w 425656"/>
                <a:gd name="connsiteY0" fmla="*/ 236845 h 340691"/>
                <a:gd name="connsiteX1" fmla="*/ 175834 w 425656"/>
                <a:gd name="connsiteY1" fmla="*/ 198274 h 340691"/>
                <a:gd name="connsiteX2" fmla="*/ 410231 w 425656"/>
                <a:gd name="connsiteY2" fmla="*/ 340692 h 340691"/>
                <a:gd name="connsiteX3" fmla="*/ 413197 w 425656"/>
                <a:gd name="connsiteY3" fmla="*/ 177505 h 340691"/>
                <a:gd name="connsiteX4" fmla="*/ 324186 w 425656"/>
                <a:gd name="connsiteY4" fmla="*/ 32120 h 340691"/>
                <a:gd name="connsiteX5" fmla="*/ 128362 w 425656"/>
                <a:gd name="connsiteY5" fmla="*/ 17285 h 340691"/>
                <a:gd name="connsiteX6" fmla="*/ 9681 w 425656"/>
                <a:gd name="connsiteY6" fmla="*/ 109263 h 340691"/>
                <a:gd name="connsiteX7" fmla="*/ 57153 w 425656"/>
                <a:gd name="connsiteY7" fmla="*/ 236845 h 340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5656" h="340691">
                  <a:moveTo>
                    <a:pt x="57153" y="236845"/>
                  </a:moveTo>
                  <a:cubicBezTo>
                    <a:pt x="57153" y="236845"/>
                    <a:pt x="149132" y="198274"/>
                    <a:pt x="175834" y="198274"/>
                  </a:cubicBezTo>
                  <a:cubicBezTo>
                    <a:pt x="273748" y="201241"/>
                    <a:pt x="425066" y="269483"/>
                    <a:pt x="410231" y="340692"/>
                  </a:cubicBezTo>
                  <a:cubicBezTo>
                    <a:pt x="410231" y="340692"/>
                    <a:pt x="442867" y="239813"/>
                    <a:pt x="413197" y="177505"/>
                  </a:cubicBezTo>
                  <a:cubicBezTo>
                    <a:pt x="413197" y="177505"/>
                    <a:pt x="413197" y="55857"/>
                    <a:pt x="324186" y="32120"/>
                  </a:cubicBezTo>
                  <a:cubicBezTo>
                    <a:pt x="235175" y="8384"/>
                    <a:pt x="196604" y="-18319"/>
                    <a:pt x="128362" y="17285"/>
                  </a:cubicBezTo>
                  <a:cubicBezTo>
                    <a:pt x="60121" y="55857"/>
                    <a:pt x="15616" y="73659"/>
                    <a:pt x="9681" y="109263"/>
                  </a:cubicBezTo>
                  <a:cubicBezTo>
                    <a:pt x="9681" y="115197"/>
                    <a:pt x="-31858" y="224977"/>
                    <a:pt x="57153" y="236845"/>
                  </a:cubicBez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ED3CC7DE-FEC2-43C7-B39F-83941C955481}"/>
                </a:ext>
              </a:extLst>
            </p:cNvPr>
            <p:cNvSpPr/>
            <p:nvPr/>
          </p:nvSpPr>
          <p:spPr>
            <a:xfrm>
              <a:off x="19736474" y="8000680"/>
              <a:ext cx="76517" cy="107539"/>
            </a:xfrm>
            <a:custGeom>
              <a:avLst/>
              <a:gdLst>
                <a:gd name="connsiteX0" fmla="*/ 63331 w 76517"/>
                <a:gd name="connsiteY0" fmla="*/ 15021 h 107539"/>
                <a:gd name="connsiteX1" fmla="*/ 6956 w 76517"/>
                <a:gd name="connsiteY1" fmla="*/ 6120 h 107539"/>
                <a:gd name="connsiteX2" fmla="*/ 63331 w 76517"/>
                <a:gd name="connsiteY2" fmla="*/ 104032 h 107539"/>
                <a:gd name="connsiteX3" fmla="*/ 63331 w 76517"/>
                <a:gd name="connsiteY3" fmla="*/ 15021 h 10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517" h="107539">
                  <a:moveTo>
                    <a:pt x="63331" y="15021"/>
                  </a:moveTo>
                  <a:cubicBezTo>
                    <a:pt x="63331" y="15021"/>
                    <a:pt x="30694" y="-11683"/>
                    <a:pt x="6956" y="6120"/>
                  </a:cubicBezTo>
                  <a:cubicBezTo>
                    <a:pt x="-16780" y="23922"/>
                    <a:pt x="24760" y="127768"/>
                    <a:pt x="63331" y="104032"/>
                  </a:cubicBezTo>
                  <a:cubicBezTo>
                    <a:pt x="93001" y="86229"/>
                    <a:pt x="63331" y="15021"/>
                    <a:pt x="63331" y="15021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475699F6-B155-4346-AB4C-36A7329ECB61}"/>
                </a:ext>
              </a:extLst>
            </p:cNvPr>
            <p:cNvSpPr/>
            <p:nvPr/>
          </p:nvSpPr>
          <p:spPr>
            <a:xfrm>
              <a:off x="19782562" y="7786011"/>
              <a:ext cx="64714" cy="235624"/>
            </a:xfrm>
            <a:custGeom>
              <a:avLst/>
              <a:gdLst>
                <a:gd name="connsiteX0" fmla="*/ 17243 w 64714"/>
                <a:gd name="connsiteY0" fmla="*/ 235625 h 235624"/>
                <a:gd name="connsiteX1" fmla="*/ 17243 w 64714"/>
                <a:gd name="connsiteY1" fmla="*/ 235625 h 235624"/>
                <a:gd name="connsiteX2" fmla="*/ 11308 w 64714"/>
                <a:gd name="connsiteY2" fmla="*/ 229691 h 235624"/>
                <a:gd name="connsiteX3" fmla="*/ 55814 w 64714"/>
                <a:gd name="connsiteY3" fmla="*/ 111009 h 235624"/>
                <a:gd name="connsiteX4" fmla="*/ 8342 w 64714"/>
                <a:gd name="connsiteY4" fmla="*/ 69470 h 235624"/>
                <a:gd name="connsiteX5" fmla="*/ 5374 w 64714"/>
                <a:gd name="connsiteY5" fmla="*/ 4196 h 235624"/>
                <a:gd name="connsiteX6" fmla="*/ 11308 w 64714"/>
                <a:gd name="connsiteY6" fmla="*/ 1229 h 235624"/>
                <a:gd name="connsiteX7" fmla="*/ 14276 w 64714"/>
                <a:gd name="connsiteY7" fmla="*/ 7163 h 235624"/>
                <a:gd name="connsiteX8" fmla="*/ 14276 w 64714"/>
                <a:gd name="connsiteY8" fmla="*/ 63536 h 235624"/>
                <a:gd name="connsiteX9" fmla="*/ 61748 w 64714"/>
                <a:gd name="connsiteY9" fmla="*/ 102108 h 235624"/>
                <a:gd name="connsiteX10" fmla="*/ 64714 w 64714"/>
                <a:gd name="connsiteY10" fmla="*/ 105075 h 235624"/>
                <a:gd name="connsiteX11" fmla="*/ 64714 w 64714"/>
                <a:gd name="connsiteY11" fmla="*/ 111009 h 235624"/>
                <a:gd name="connsiteX12" fmla="*/ 20209 w 64714"/>
                <a:gd name="connsiteY12" fmla="*/ 229691 h 235624"/>
                <a:gd name="connsiteX13" fmla="*/ 17243 w 64714"/>
                <a:gd name="connsiteY13" fmla="*/ 235625 h 23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714" h="235624">
                  <a:moveTo>
                    <a:pt x="17243" y="235625"/>
                  </a:moveTo>
                  <a:cubicBezTo>
                    <a:pt x="17243" y="235625"/>
                    <a:pt x="17243" y="235625"/>
                    <a:pt x="17243" y="235625"/>
                  </a:cubicBezTo>
                  <a:cubicBezTo>
                    <a:pt x="14276" y="235625"/>
                    <a:pt x="11308" y="232657"/>
                    <a:pt x="11308" y="229691"/>
                  </a:cubicBezTo>
                  <a:cubicBezTo>
                    <a:pt x="14276" y="179251"/>
                    <a:pt x="43947" y="128811"/>
                    <a:pt x="55814" y="111009"/>
                  </a:cubicBezTo>
                  <a:cubicBezTo>
                    <a:pt x="43947" y="105075"/>
                    <a:pt x="20209" y="93207"/>
                    <a:pt x="8342" y="69470"/>
                  </a:cubicBezTo>
                  <a:cubicBezTo>
                    <a:pt x="-559" y="51669"/>
                    <a:pt x="-3527" y="27932"/>
                    <a:pt x="5374" y="4196"/>
                  </a:cubicBezTo>
                  <a:cubicBezTo>
                    <a:pt x="5374" y="1229"/>
                    <a:pt x="8342" y="-1738"/>
                    <a:pt x="11308" y="1229"/>
                  </a:cubicBezTo>
                  <a:cubicBezTo>
                    <a:pt x="14276" y="1229"/>
                    <a:pt x="17243" y="4196"/>
                    <a:pt x="14276" y="7163"/>
                  </a:cubicBezTo>
                  <a:cubicBezTo>
                    <a:pt x="8342" y="27932"/>
                    <a:pt x="8342" y="45735"/>
                    <a:pt x="14276" y="63536"/>
                  </a:cubicBezTo>
                  <a:cubicBezTo>
                    <a:pt x="29111" y="90240"/>
                    <a:pt x="61748" y="102108"/>
                    <a:pt x="61748" y="102108"/>
                  </a:cubicBezTo>
                  <a:cubicBezTo>
                    <a:pt x="64714" y="102108"/>
                    <a:pt x="64714" y="105075"/>
                    <a:pt x="64714" y="105075"/>
                  </a:cubicBezTo>
                  <a:cubicBezTo>
                    <a:pt x="64714" y="108042"/>
                    <a:pt x="64714" y="108042"/>
                    <a:pt x="64714" y="111009"/>
                  </a:cubicBezTo>
                  <a:cubicBezTo>
                    <a:pt x="64714" y="111009"/>
                    <a:pt x="23177" y="170350"/>
                    <a:pt x="20209" y="229691"/>
                  </a:cubicBezTo>
                  <a:cubicBezTo>
                    <a:pt x="23177" y="232657"/>
                    <a:pt x="20209" y="235625"/>
                    <a:pt x="17243" y="235625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68F4B0DE-744D-4797-BD58-56BE790E3385}"/>
                </a:ext>
              </a:extLst>
            </p:cNvPr>
            <p:cNvSpPr/>
            <p:nvPr/>
          </p:nvSpPr>
          <p:spPr>
            <a:xfrm>
              <a:off x="19565409" y="11926251"/>
              <a:ext cx="195825" cy="246263"/>
            </a:xfrm>
            <a:custGeom>
              <a:avLst/>
              <a:gdLst>
                <a:gd name="connsiteX0" fmla="*/ 0 w 195825"/>
                <a:gd name="connsiteY0" fmla="*/ 210660 h 246263"/>
                <a:gd name="connsiteX1" fmla="*/ 0 w 195825"/>
                <a:gd name="connsiteY1" fmla="*/ 0 h 246263"/>
                <a:gd name="connsiteX2" fmla="*/ 195825 w 195825"/>
                <a:gd name="connsiteY2" fmla="*/ 0 h 246263"/>
                <a:gd name="connsiteX3" fmla="*/ 157254 w 195825"/>
                <a:gd name="connsiteY3" fmla="*/ 219560 h 246263"/>
                <a:gd name="connsiteX4" fmla="*/ 11869 w 195825"/>
                <a:gd name="connsiteY4" fmla="*/ 246263 h 246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825" h="246263">
                  <a:moveTo>
                    <a:pt x="0" y="210660"/>
                  </a:moveTo>
                  <a:lnTo>
                    <a:pt x="0" y="0"/>
                  </a:lnTo>
                  <a:lnTo>
                    <a:pt x="195825" y="0"/>
                  </a:lnTo>
                  <a:lnTo>
                    <a:pt x="157254" y="219560"/>
                  </a:lnTo>
                  <a:lnTo>
                    <a:pt x="11869" y="246263"/>
                  </a:ln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EE6C945F-2C75-4AF8-A674-ACBA44E5073A}"/>
                </a:ext>
              </a:extLst>
            </p:cNvPr>
            <p:cNvSpPr/>
            <p:nvPr/>
          </p:nvSpPr>
          <p:spPr>
            <a:xfrm>
              <a:off x="19465735" y="9828558"/>
              <a:ext cx="1118427" cy="2195604"/>
            </a:xfrm>
            <a:custGeom>
              <a:avLst/>
              <a:gdLst>
                <a:gd name="connsiteX0" fmla="*/ 1016487 w 1118427"/>
                <a:gd name="connsiteY0" fmla="*/ 17802 h 2195604"/>
                <a:gd name="connsiteX1" fmla="*/ 1111433 w 1118427"/>
                <a:gd name="connsiteY1" fmla="*/ 1352967 h 2195604"/>
                <a:gd name="connsiteX2" fmla="*/ 838465 w 1118427"/>
                <a:gd name="connsiteY2" fmla="*/ 2195605 h 2195604"/>
                <a:gd name="connsiteX3" fmla="*/ 559563 w 1118427"/>
                <a:gd name="connsiteY3" fmla="*/ 2195605 h 2195604"/>
                <a:gd name="connsiteX4" fmla="*/ 707915 w 1118427"/>
                <a:gd name="connsiteY4" fmla="*/ 1222418 h 2195604"/>
                <a:gd name="connsiteX5" fmla="*/ 532861 w 1118427"/>
                <a:gd name="connsiteY5" fmla="*/ 486593 h 2195604"/>
                <a:gd name="connsiteX6" fmla="*/ 503191 w 1118427"/>
                <a:gd name="connsiteY6" fmla="*/ 1207583 h 2195604"/>
                <a:gd name="connsiteX7" fmla="*/ 342970 w 1118427"/>
                <a:gd name="connsiteY7" fmla="*/ 2189671 h 2195604"/>
                <a:gd name="connsiteX8" fmla="*/ 43301 w 1118427"/>
                <a:gd name="connsiteY8" fmla="*/ 2174836 h 2195604"/>
                <a:gd name="connsiteX9" fmla="*/ 25497 w 1118427"/>
                <a:gd name="connsiteY9" fmla="*/ 1130440 h 2195604"/>
                <a:gd name="connsiteX10" fmla="*/ 22531 w 1118427"/>
                <a:gd name="connsiteY10" fmla="*/ 0 h 2195604"/>
                <a:gd name="connsiteX11" fmla="*/ 1016487 w 1118427"/>
                <a:gd name="connsiteY11" fmla="*/ 17802 h 2195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18427" h="2195604">
                  <a:moveTo>
                    <a:pt x="1016487" y="17802"/>
                  </a:moveTo>
                  <a:cubicBezTo>
                    <a:pt x="1016487" y="17802"/>
                    <a:pt x="1150004" y="1252088"/>
                    <a:pt x="1111433" y="1352967"/>
                  </a:cubicBezTo>
                  <a:cubicBezTo>
                    <a:pt x="1075828" y="1456813"/>
                    <a:pt x="838465" y="2195605"/>
                    <a:pt x="838465" y="2195605"/>
                  </a:cubicBezTo>
                  <a:lnTo>
                    <a:pt x="559563" y="2195605"/>
                  </a:lnTo>
                  <a:cubicBezTo>
                    <a:pt x="559563" y="2195605"/>
                    <a:pt x="701982" y="1317363"/>
                    <a:pt x="707915" y="1222418"/>
                  </a:cubicBezTo>
                  <a:cubicBezTo>
                    <a:pt x="713849" y="1127473"/>
                    <a:pt x="547696" y="516264"/>
                    <a:pt x="532861" y="486593"/>
                  </a:cubicBezTo>
                  <a:cubicBezTo>
                    <a:pt x="518026" y="456923"/>
                    <a:pt x="503191" y="1207583"/>
                    <a:pt x="503191" y="1207583"/>
                  </a:cubicBezTo>
                  <a:lnTo>
                    <a:pt x="342970" y="2189671"/>
                  </a:lnTo>
                  <a:lnTo>
                    <a:pt x="43301" y="2174836"/>
                  </a:lnTo>
                  <a:cubicBezTo>
                    <a:pt x="43301" y="2174836"/>
                    <a:pt x="40333" y="1225385"/>
                    <a:pt x="25497" y="1130440"/>
                  </a:cubicBezTo>
                  <a:cubicBezTo>
                    <a:pt x="10662" y="1035494"/>
                    <a:pt x="-21974" y="94945"/>
                    <a:pt x="22531" y="0"/>
                  </a:cubicBezTo>
                  <a:cubicBezTo>
                    <a:pt x="699014" y="29670"/>
                    <a:pt x="1016487" y="17802"/>
                    <a:pt x="1016487" y="17802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E8876A91-1BF7-43F2-B323-2699FEDE6147}"/>
                </a:ext>
              </a:extLst>
            </p:cNvPr>
            <p:cNvSpPr/>
            <p:nvPr/>
          </p:nvSpPr>
          <p:spPr>
            <a:xfrm>
              <a:off x="19960025" y="7826320"/>
              <a:ext cx="189147" cy="38062"/>
            </a:xfrm>
            <a:custGeom>
              <a:avLst/>
              <a:gdLst>
                <a:gd name="connsiteX0" fmla="*/ 5933 w 189147"/>
                <a:gd name="connsiteY0" fmla="*/ 38062 h 38062"/>
                <a:gd name="connsiteX1" fmla="*/ 0 w 189147"/>
                <a:gd name="connsiteY1" fmla="*/ 35096 h 38062"/>
                <a:gd name="connsiteX2" fmla="*/ 2966 w 189147"/>
                <a:gd name="connsiteY2" fmla="*/ 26194 h 38062"/>
                <a:gd name="connsiteX3" fmla="*/ 186923 w 189147"/>
                <a:gd name="connsiteY3" fmla="*/ 20260 h 38062"/>
                <a:gd name="connsiteX4" fmla="*/ 186923 w 189147"/>
                <a:gd name="connsiteY4" fmla="*/ 29161 h 38062"/>
                <a:gd name="connsiteX5" fmla="*/ 178022 w 189147"/>
                <a:gd name="connsiteY5" fmla="*/ 29161 h 38062"/>
                <a:gd name="connsiteX6" fmla="*/ 5933 w 189147"/>
                <a:gd name="connsiteY6" fmla="*/ 38062 h 38062"/>
                <a:gd name="connsiteX7" fmla="*/ 5933 w 189147"/>
                <a:gd name="connsiteY7" fmla="*/ 38062 h 38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147" h="38062">
                  <a:moveTo>
                    <a:pt x="5933" y="38062"/>
                  </a:moveTo>
                  <a:cubicBezTo>
                    <a:pt x="2966" y="38062"/>
                    <a:pt x="2966" y="38062"/>
                    <a:pt x="0" y="35096"/>
                  </a:cubicBezTo>
                  <a:cubicBezTo>
                    <a:pt x="0" y="32128"/>
                    <a:pt x="0" y="29161"/>
                    <a:pt x="2966" y="26194"/>
                  </a:cubicBezTo>
                  <a:cubicBezTo>
                    <a:pt x="8901" y="23227"/>
                    <a:pt x="118681" y="-27212"/>
                    <a:pt x="186923" y="20260"/>
                  </a:cubicBezTo>
                  <a:cubicBezTo>
                    <a:pt x="189889" y="23227"/>
                    <a:pt x="189889" y="26194"/>
                    <a:pt x="186923" y="29161"/>
                  </a:cubicBezTo>
                  <a:cubicBezTo>
                    <a:pt x="183955" y="32128"/>
                    <a:pt x="180988" y="32128"/>
                    <a:pt x="178022" y="29161"/>
                  </a:cubicBezTo>
                  <a:cubicBezTo>
                    <a:pt x="118681" y="-12377"/>
                    <a:pt x="8901" y="35096"/>
                    <a:pt x="5933" y="38062"/>
                  </a:cubicBezTo>
                  <a:cubicBezTo>
                    <a:pt x="5933" y="38062"/>
                    <a:pt x="5933" y="38062"/>
                    <a:pt x="5933" y="38062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DF9F2501-9EFC-484F-ACF4-16B0B5112C16}"/>
                </a:ext>
              </a:extLst>
            </p:cNvPr>
            <p:cNvSpPr/>
            <p:nvPr/>
          </p:nvSpPr>
          <p:spPr>
            <a:xfrm>
              <a:off x="19461562" y="8359877"/>
              <a:ext cx="1042225" cy="1524875"/>
            </a:xfrm>
            <a:custGeom>
              <a:avLst/>
              <a:gdLst>
                <a:gd name="connsiteX0" fmla="*/ 385714 w 1042225"/>
                <a:gd name="connsiteY0" fmla="*/ 0 h 1524875"/>
                <a:gd name="connsiteX1" fmla="*/ 667582 w 1042225"/>
                <a:gd name="connsiteY1" fmla="*/ 0 h 1524875"/>
                <a:gd name="connsiteX2" fmla="*/ 958353 w 1042225"/>
                <a:gd name="connsiteY2" fmla="*/ 127583 h 1524875"/>
                <a:gd name="connsiteX3" fmla="*/ 1041430 w 1042225"/>
                <a:gd name="connsiteY3" fmla="*/ 1495384 h 1524875"/>
                <a:gd name="connsiteX4" fmla="*/ 0 w 1042225"/>
                <a:gd name="connsiteY4" fmla="*/ 1471649 h 1524875"/>
                <a:gd name="connsiteX5" fmla="*/ 112749 w 1042225"/>
                <a:gd name="connsiteY5" fmla="*/ 100879 h 1524875"/>
                <a:gd name="connsiteX6" fmla="*/ 385714 w 1042225"/>
                <a:gd name="connsiteY6" fmla="*/ 0 h 152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2225" h="1524875">
                  <a:moveTo>
                    <a:pt x="385714" y="0"/>
                  </a:moveTo>
                  <a:cubicBezTo>
                    <a:pt x="385714" y="0"/>
                    <a:pt x="554836" y="53407"/>
                    <a:pt x="667582" y="0"/>
                  </a:cubicBezTo>
                  <a:cubicBezTo>
                    <a:pt x="667582" y="0"/>
                    <a:pt x="934615" y="94945"/>
                    <a:pt x="958353" y="127583"/>
                  </a:cubicBezTo>
                  <a:cubicBezTo>
                    <a:pt x="982089" y="157253"/>
                    <a:pt x="1050330" y="1430110"/>
                    <a:pt x="1041430" y="1495384"/>
                  </a:cubicBezTo>
                  <a:cubicBezTo>
                    <a:pt x="1041430" y="1495384"/>
                    <a:pt x="563736" y="1575495"/>
                    <a:pt x="0" y="1471649"/>
                  </a:cubicBezTo>
                  <a:cubicBezTo>
                    <a:pt x="0" y="1124505"/>
                    <a:pt x="71210" y="130550"/>
                    <a:pt x="112749" y="100879"/>
                  </a:cubicBezTo>
                  <a:cubicBezTo>
                    <a:pt x="151320" y="68242"/>
                    <a:pt x="385714" y="0"/>
                    <a:pt x="385714" y="0"/>
                  </a:cubicBez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03B90556-E095-4174-B08D-EFE21D40A00F}"/>
                </a:ext>
              </a:extLst>
            </p:cNvPr>
            <p:cNvSpPr/>
            <p:nvPr/>
          </p:nvSpPr>
          <p:spPr>
            <a:xfrm>
              <a:off x="19844310" y="8359877"/>
              <a:ext cx="175055" cy="115714"/>
            </a:xfrm>
            <a:custGeom>
              <a:avLst/>
              <a:gdLst>
                <a:gd name="connsiteX0" fmla="*/ 175056 w 175055"/>
                <a:gd name="connsiteY0" fmla="*/ 20770 h 115714"/>
                <a:gd name="connsiteX1" fmla="*/ 148352 w 175055"/>
                <a:gd name="connsiteY1" fmla="*/ 115715 h 115714"/>
                <a:gd name="connsiteX2" fmla="*/ 0 w 175055"/>
                <a:gd name="connsiteY2" fmla="*/ 0 h 115714"/>
                <a:gd name="connsiteX3" fmla="*/ 175056 w 175055"/>
                <a:gd name="connsiteY3" fmla="*/ 20770 h 11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055" h="115714">
                  <a:moveTo>
                    <a:pt x="175056" y="20770"/>
                  </a:moveTo>
                  <a:lnTo>
                    <a:pt x="148352" y="115715"/>
                  </a:lnTo>
                  <a:lnTo>
                    <a:pt x="0" y="0"/>
                  </a:lnTo>
                  <a:cubicBezTo>
                    <a:pt x="2966" y="0"/>
                    <a:pt x="133516" y="20770"/>
                    <a:pt x="175056" y="20770"/>
                  </a:cubicBezTo>
                  <a:close/>
                </a:path>
              </a:pathLst>
            </a:custGeom>
            <a:solidFill>
              <a:srgbClr val="FFFFFF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292FA840-59BE-4251-AF4A-03A3BB6C7714}"/>
                </a:ext>
              </a:extLst>
            </p:cNvPr>
            <p:cNvSpPr/>
            <p:nvPr/>
          </p:nvSpPr>
          <p:spPr>
            <a:xfrm>
              <a:off x="20019366" y="8359877"/>
              <a:ext cx="106812" cy="112747"/>
            </a:xfrm>
            <a:custGeom>
              <a:avLst/>
              <a:gdLst>
                <a:gd name="connsiteX0" fmla="*/ 0 w 106812"/>
                <a:gd name="connsiteY0" fmla="*/ 20770 h 112747"/>
                <a:gd name="connsiteX1" fmla="*/ 35603 w 106812"/>
                <a:gd name="connsiteY1" fmla="*/ 112747 h 112747"/>
                <a:gd name="connsiteX2" fmla="*/ 106812 w 106812"/>
                <a:gd name="connsiteY2" fmla="*/ 0 h 112747"/>
                <a:gd name="connsiteX3" fmla="*/ 0 w 106812"/>
                <a:gd name="connsiteY3" fmla="*/ 20770 h 112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812" h="112747">
                  <a:moveTo>
                    <a:pt x="0" y="20770"/>
                  </a:moveTo>
                  <a:lnTo>
                    <a:pt x="35603" y="112747"/>
                  </a:lnTo>
                  <a:lnTo>
                    <a:pt x="106812" y="0"/>
                  </a:lnTo>
                  <a:cubicBezTo>
                    <a:pt x="106812" y="0"/>
                    <a:pt x="41537" y="20770"/>
                    <a:pt x="0" y="20770"/>
                  </a:cubicBezTo>
                  <a:close/>
                </a:path>
              </a:pathLst>
            </a:custGeom>
            <a:solidFill>
              <a:srgbClr val="FFFFFF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C50B9CA5-3F02-4E3C-B6B7-25F85941ADB4}"/>
                </a:ext>
              </a:extLst>
            </p:cNvPr>
            <p:cNvSpPr/>
            <p:nvPr/>
          </p:nvSpPr>
          <p:spPr>
            <a:xfrm>
              <a:off x="20413981" y="8481525"/>
              <a:ext cx="50439" cy="537033"/>
            </a:xfrm>
            <a:custGeom>
              <a:avLst/>
              <a:gdLst>
                <a:gd name="connsiteX0" fmla="*/ 47472 w 50439"/>
                <a:gd name="connsiteY0" fmla="*/ 537033 h 537033"/>
                <a:gd name="connsiteX1" fmla="*/ 41537 w 50439"/>
                <a:gd name="connsiteY1" fmla="*/ 531099 h 537033"/>
                <a:gd name="connsiteX2" fmla="*/ 0 w 50439"/>
                <a:gd name="connsiteY2" fmla="*/ 5934 h 537033"/>
                <a:gd name="connsiteX3" fmla="*/ 2966 w 50439"/>
                <a:gd name="connsiteY3" fmla="*/ 0 h 537033"/>
                <a:gd name="connsiteX4" fmla="*/ 8901 w 50439"/>
                <a:gd name="connsiteY4" fmla="*/ 2967 h 537033"/>
                <a:gd name="connsiteX5" fmla="*/ 50440 w 50439"/>
                <a:gd name="connsiteY5" fmla="*/ 531099 h 537033"/>
                <a:gd name="connsiteX6" fmla="*/ 47472 w 50439"/>
                <a:gd name="connsiteY6" fmla="*/ 537033 h 537033"/>
                <a:gd name="connsiteX7" fmla="*/ 47472 w 50439"/>
                <a:gd name="connsiteY7" fmla="*/ 537033 h 537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439" h="537033">
                  <a:moveTo>
                    <a:pt x="47472" y="537033"/>
                  </a:moveTo>
                  <a:cubicBezTo>
                    <a:pt x="44505" y="537033"/>
                    <a:pt x="41537" y="534066"/>
                    <a:pt x="41537" y="531099"/>
                  </a:cubicBezTo>
                  <a:cubicBezTo>
                    <a:pt x="41537" y="525165"/>
                    <a:pt x="5934" y="44505"/>
                    <a:pt x="0" y="5934"/>
                  </a:cubicBezTo>
                  <a:cubicBezTo>
                    <a:pt x="0" y="2967"/>
                    <a:pt x="0" y="0"/>
                    <a:pt x="2966" y="0"/>
                  </a:cubicBezTo>
                  <a:cubicBezTo>
                    <a:pt x="5934" y="0"/>
                    <a:pt x="8901" y="0"/>
                    <a:pt x="8901" y="2967"/>
                  </a:cubicBezTo>
                  <a:cubicBezTo>
                    <a:pt x="17801" y="41538"/>
                    <a:pt x="50440" y="510330"/>
                    <a:pt x="50440" y="531099"/>
                  </a:cubicBezTo>
                  <a:cubicBezTo>
                    <a:pt x="50440" y="534066"/>
                    <a:pt x="50440" y="537033"/>
                    <a:pt x="47472" y="537033"/>
                  </a:cubicBezTo>
                  <a:cubicBezTo>
                    <a:pt x="47472" y="537033"/>
                    <a:pt x="47472" y="537033"/>
                    <a:pt x="47472" y="537033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6D9003AD-75F1-49C7-9508-BB9E329DFEFD}"/>
                </a:ext>
              </a:extLst>
            </p:cNvPr>
            <p:cNvSpPr/>
            <p:nvPr/>
          </p:nvSpPr>
          <p:spPr>
            <a:xfrm>
              <a:off x="19992662" y="9965042"/>
              <a:ext cx="68241" cy="356043"/>
            </a:xfrm>
            <a:custGeom>
              <a:avLst/>
              <a:gdLst>
                <a:gd name="connsiteX0" fmla="*/ 5934 w 68241"/>
                <a:gd name="connsiteY0" fmla="*/ 356044 h 356043"/>
                <a:gd name="connsiteX1" fmla="*/ 5934 w 68241"/>
                <a:gd name="connsiteY1" fmla="*/ 356044 h 356043"/>
                <a:gd name="connsiteX2" fmla="*/ 0 w 68241"/>
                <a:gd name="connsiteY2" fmla="*/ 347143 h 356043"/>
                <a:gd name="connsiteX3" fmla="*/ 56374 w 68241"/>
                <a:gd name="connsiteY3" fmla="*/ 5934 h 356043"/>
                <a:gd name="connsiteX4" fmla="*/ 62307 w 68241"/>
                <a:gd name="connsiteY4" fmla="*/ 0 h 356043"/>
                <a:gd name="connsiteX5" fmla="*/ 62307 w 68241"/>
                <a:gd name="connsiteY5" fmla="*/ 0 h 356043"/>
                <a:gd name="connsiteX6" fmla="*/ 68241 w 68241"/>
                <a:gd name="connsiteY6" fmla="*/ 5934 h 356043"/>
                <a:gd name="connsiteX7" fmla="*/ 11869 w 68241"/>
                <a:gd name="connsiteY7" fmla="*/ 350110 h 356043"/>
                <a:gd name="connsiteX8" fmla="*/ 5934 w 68241"/>
                <a:gd name="connsiteY8" fmla="*/ 356044 h 356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241" h="356043">
                  <a:moveTo>
                    <a:pt x="5934" y="356044"/>
                  </a:moveTo>
                  <a:cubicBezTo>
                    <a:pt x="5934" y="356044"/>
                    <a:pt x="2966" y="356044"/>
                    <a:pt x="5934" y="356044"/>
                  </a:cubicBezTo>
                  <a:cubicBezTo>
                    <a:pt x="0" y="353077"/>
                    <a:pt x="0" y="350110"/>
                    <a:pt x="0" y="347143"/>
                  </a:cubicBezTo>
                  <a:cubicBezTo>
                    <a:pt x="47472" y="237363"/>
                    <a:pt x="56374" y="8901"/>
                    <a:pt x="56374" y="5934"/>
                  </a:cubicBezTo>
                  <a:cubicBezTo>
                    <a:pt x="56374" y="2967"/>
                    <a:pt x="59341" y="0"/>
                    <a:pt x="62307" y="0"/>
                  </a:cubicBezTo>
                  <a:lnTo>
                    <a:pt x="62307" y="0"/>
                  </a:lnTo>
                  <a:cubicBezTo>
                    <a:pt x="65275" y="0"/>
                    <a:pt x="68241" y="2967"/>
                    <a:pt x="68241" y="5934"/>
                  </a:cubicBezTo>
                  <a:cubicBezTo>
                    <a:pt x="68241" y="14835"/>
                    <a:pt x="59341" y="237363"/>
                    <a:pt x="11869" y="350110"/>
                  </a:cubicBezTo>
                  <a:cubicBezTo>
                    <a:pt x="8901" y="356044"/>
                    <a:pt x="8901" y="356044"/>
                    <a:pt x="5934" y="356044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6646E63F-EE15-491A-9829-2A298F6A452A}"/>
                </a:ext>
              </a:extLst>
            </p:cNvPr>
            <p:cNvSpPr/>
            <p:nvPr/>
          </p:nvSpPr>
          <p:spPr>
            <a:xfrm>
              <a:off x="20018137" y="9899767"/>
              <a:ext cx="152547" cy="347143"/>
            </a:xfrm>
            <a:custGeom>
              <a:avLst/>
              <a:gdLst>
                <a:gd name="connsiteX0" fmla="*/ 7162 w 152547"/>
                <a:gd name="connsiteY0" fmla="*/ 347143 h 347143"/>
                <a:gd name="connsiteX1" fmla="*/ 1229 w 152547"/>
                <a:gd name="connsiteY1" fmla="*/ 344176 h 347143"/>
                <a:gd name="connsiteX2" fmla="*/ 4196 w 152547"/>
                <a:gd name="connsiteY2" fmla="*/ 335275 h 347143"/>
                <a:gd name="connsiteX3" fmla="*/ 108042 w 152547"/>
                <a:gd name="connsiteY3" fmla="*/ 261099 h 347143"/>
                <a:gd name="connsiteX4" fmla="*/ 140679 w 152547"/>
                <a:gd name="connsiteY4" fmla="*/ 5934 h 347143"/>
                <a:gd name="connsiteX5" fmla="*/ 146613 w 152547"/>
                <a:gd name="connsiteY5" fmla="*/ 0 h 347143"/>
                <a:gd name="connsiteX6" fmla="*/ 152547 w 152547"/>
                <a:gd name="connsiteY6" fmla="*/ 5934 h 347143"/>
                <a:gd name="connsiteX7" fmla="*/ 119911 w 152547"/>
                <a:gd name="connsiteY7" fmla="*/ 267033 h 347143"/>
                <a:gd name="connsiteX8" fmla="*/ 13097 w 152547"/>
                <a:gd name="connsiteY8" fmla="*/ 344176 h 347143"/>
                <a:gd name="connsiteX9" fmla="*/ 7162 w 152547"/>
                <a:gd name="connsiteY9" fmla="*/ 347143 h 34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547" h="347143">
                  <a:moveTo>
                    <a:pt x="7162" y="347143"/>
                  </a:moveTo>
                  <a:cubicBezTo>
                    <a:pt x="4196" y="347143"/>
                    <a:pt x="4196" y="347143"/>
                    <a:pt x="1229" y="344176"/>
                  </a:cubicBezTo>
                  <a:cubicBezTo>
                    <a:pt x="-1739" y="341209"/>
                    <a:pt x="1229" y="338242"/>
                    <a:pt x="4196" y="335275"/>
                  </a:cubicBezTo>
                  <a:cubicBezTo>
                    <a:pt x="42767" y="311538"/>
                    <a:pt x="99141" y="270000"/>
                    <a:pt x="108042" y="261099"/>
                  </a:cubicBezTo>
                  <a:cubicBezTo>
                    <a:pt x="116943" y="249232"/>
                    <a:pt x="131778" y="97913"/>
                    <a:pt x="140679" y="5934"/>
                  </a:cubicBezTo>
                  <a:cubicBezTo>
                    <a:pt x="140679" y="2967"/>
                    <a:pt x="143647" y="0"/>
                    <a:pt x="146613" y="0"/>
                  </a:cubicBezTo>
                  <a:cubicBezTo>
                    <a:pt x="149581" y="0"/>
                    <a:pt x="152547" y="2967"/>
                    <a:pt x="152547" y="5934"/>
                  </a:cubicBezTo>
                  <a:cubicBezTo>
                    <a:pt x="149581" y="47473"/>
                    <a:pt x="128812" y="252198"/>
                    <a:pt x="119911" y="267033"/>
                  </a:cubicBezTo>
                  <a:cubicBezTo>
                    <a:pt x="108042" y="281868"/>
                    <a:pt x="21997" y="338242"/>
                    <a:pt x="13097" y="344176"/>
                  </a:cubicBezTo>
                  <a:cubicBezTo>
                    <a:pt x="10130" y="347143"/>
                    <a:pt x="10130" y="347143"/>
                    <a:pt x="7162" y="347143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82E43072-72C7-4068-A39D-B21D05728EF6}"/>
                </a:ext>
              </a:extLst>
            </p:cNvPr>
            <p:cNvSpPr/>
            <p:nvPr/>
          </p:nvSpPr>
          <p:spPr>
            <a:xfrm>
              <a:off x="19482663" y="12116141"/>
              <a:ext cx="278324" cy="326373"/>
            </a:xfrm>
            <a:custGeom>
              <a:avLst/>
              <a:gdLst>
                <a:gd name="connsiteX0" fmla="*/ 2638 w 278324"/>
                <a:gd name="connsiteY0" fmla="*/ 219560 h 326373"/>
                <a:gd name="connsiteX1" fmla="*/ 2638 w 278324"/>
                <a:gd name="connsiteY1" fmla="*/ 272967 h 326373"/>
                <a:gd name="connsiteX2" fmla="*/ 133186 w 278324"/>
                <a:gd name="connsiteY2" fmla="*/ 326374 h 326373"/>
                <a:gd name="connsiteX3" fmla="*/ 272637 w 278324"/>
                <a:gd name="connsiteY3" fmla="*/ 272967 h 326373"/>
                <a:gd name="connsiteX4" fmla="*/ 260768 w 278324"/>
                <a:gd name="connsiteY4" fmla="*/ 38571 h 326373"/>
                <a:gd name="connsiteX5" fmla="*/ 245933 w 278324"/>
                <a:gd name="connsiteY5" fmla="*/ 0 h 326373"/>
                <a:gd name="connsiteX6" fmla="*/ 228131 w 278324"/>
                <a:gd name="connsiteY6" fmla="*/ 219560 h 326373"/>
                <a:gd name="connsiteX7" fmla="*/ 2638 w 278324"/>
                <a:gd name="connsiteY7" fmla="*/ 219560 h 326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8324" h="326373">
                  <a:moveTo>
                    <a:pt x="2638" y="219560"/>
                  </a:moveTo>
                  <a:cubicBezTo>
                    <a:pt x="2638" y="219560"/>
                    <a:pt x="-3297" y="261099"/>
                    <a:pt x="2638" y="272967"/>
                  </a:cubicBezTo>
                  <a:cubicBezTo>
                    <a:pt x="11538" y="290769"/>
                    <a:pt x="70879" y="326374"/>
                    <a:pt x="133186" y="326374"/>
                  </a:cubicBezTo>
                  <a:cubicBezTo>
                    <a:pt x="207362" y="326374"/>
                    <a:pt x="257802" y="290769"/>
                    <a:pt x="272637" y="272967"/>
                  </a:cubicBezTo>
                  <a:cubicBezTo>
                    <a:pt x="290438" y="255165"/>
                    <a:pt x="260768" y="38571"/>
                    <a:pt x="260768" y="38571"/>
                  </a:cubicBezTo>
                  <a:lnTo>
                    <a:pt x="245933" y="0"/>
                  </a:lnTo>
                  <a:lnTo>
                    <a:pt x="228131" y="219560"/>
                  </a:lnTo>
                  <a:lnTo>
                    <a:pt x="2638" y="219560"/>
                  </a:ln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8E97F426-86F9-4CA5-AA23-699F919A76A2}"/>
                </a:ext>
              </a:extLst>
            </p:cNvPr>
            <p:cNvSpPr/>
            <p:nvPr/>
          </p:nvSpPr>
          <p:spPr>
            <a:xfrm>
              <a:off x="19484503" y="12101306"/>
              <a:ext cx="263893" cy="302842"/>
            </a:xfrm>
            <a:custGeom>
              <a:avLst/>
              <a:gdLst>
                <a:gd name="connsiteX0" fmla="*/ 74973 w 263893"/>
                <a:gd name="connsiteY0" fmla="*/ 0 h 302842"/>
                <a:gd name="connsiteX1" fmla="*/ 247061 w 263893"/>
                <a:gd name="connsiteY1" fmla="*/ 14835 h 302842"/>
                <a:gd name="connsiteX2" fmla="*/ 261896 w 263893"/>
                <a:gd name="connsiteY2" fmla="*/ 243297 h 302842"/>
                <a:gd name="connsiteX3" fmla="*/ 125412 w 263893"/>
                <a:gd name="connsiteY3" fmla="*/ 302638 h 302842"/>
                <a:gd name="connsiteX4" fmla="*/ 798 w 263893"/>
                <a:gd name="connsiteY4" fmla="*/ 240330 h 302842"/>
                <a:gd name="connsiteX5" fmla="*/ 74973 w 263893"/>
                <a:gd name="connsiteY5" fmla="*/ 0 h 302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3893" h="302842">
                  <a:moveTo>
                    <a:pt x="74973" y="0"/>
                  </a:moveTo>
                  <a:cubicBezTo>
                    <a:pt x="74973" y="0"/>
                    <a:pt x="134314" y="68241"/>
                    <a:pt x="247061" y="14835"/>
                  </a:cubicBezTo>
                  <a:cubicBezTo>
                    <a:pt x="247061" y="14835"/>
                    <a:pt x="270797" y="210660"/>
                    <a:pt x="261896" y="243297"/>
                  </a:cubicBezTo>
                  <a:cubicBezTo>
                    <a:pt x="250027" y="275934"/>
                    <a:pt x="163984" y="305604"/>
                    <a:pt x="125412" y="302638"/>
                  </a:cubicBezTo>
                  <a:cubicBezTo>
                    <a:pt x="86841" y="299671"/>
                    <a:pt x="12665" y="264066"/>
                    <a:pt x="798" y="240330"/>
                  </a:cubicBezTo>
                  <a:cubicBezTo>
                    <a:pt x="-8105" y="219560"/>
                    <a:pt x="60138" y="50440"/>
                    <a:pt x="74973" y="0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3F7055B9-8C19-4668-A056-718C8CE84F18}"/>
                </a:ext>
              </a:extLst>
            </p:cNvPr>
            <p:cNvSpPr/>
            <p:nvPr/>
          </p:nvSpPr>
          <p:spPr>
            <a:xfrm>
              <a:off x="19552312" y="12094142"/>
              <a:ext cx="185185" cy="48701"/>
            </a:xfrm>
            <a:custGeom>
              <a:avLst/>
              <a:gdLst>
                <a:gd name="connsiteX0" fmla="*/ 90240 w 185185"/>
                <a:gd name="connsiteY0" fmla="*/ 48701 h 48701"/>
                <a:gd name="connsiteX1" fmla="*/ 1229 w 185185"/>
                <a:gd name="connsiteY1" fmla="*/ 10130 h 48701"/>
                <a:gd name="connsiteX2" fmla="*/ 4196 w 185185"/>
                <a:gd name="connsiteY2" fmla="*/ 1229 h 48701"/>
                <a:gd name="connsiteX3" fmla="*/ 13097 w 185185"/>
                <a:gd name="connsiteY3" fmla="*/ 4196 h 48701"/>
                <a:gd name="connsiteX4" fmla="*/ 179251 w 185185"/>
                <a:gd name="connsiteY4" fmla="*/ 16064 h 48701"/>
                <a:gd name="connsiteX5" fmla="*/ 185186 w 185185"/>
                <a:gd name="connsiteY5" fmla="*/ 19031 h 48701"/>
                <a:gd name="connsiteX6" fmla="*/ 182218 w 185185"/>
                <a:gd name="connsiteY6" fmla="*/ 24965 h 48701"/>
                <a:gd name="connsiteX7" fmla="*/ 90240 w 185185"/>
                <a:gd name="connsiteY7" fmla="*/ 48701 h 48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5185" h="48701">
                  <a:moveTo>
                    <a:pt x="90240" y="48701"/>
                  </a:moveTo>
                  <a:cubicBezTo>
                    <a:pt x="27932" y="48701"/>
                    <a:pt x="4196" y="13098"/>
                    <a:pt x="1229" y="10130"/>
                  </a:cubicBezTo>
                  <a:cubicBezTo>
                    <a:pt x="-1739" y="7163"/>
                    <a:pt x="1229" y="4196"/>
                    <a:pt x="4196" y="1229"/>
                  </a:cubicBezTo>
                  <a:cubicBezTo>
                    <a:pt x="7164" y="-1738"/>
                    <a:pt x="10130" y="1229"/>
                    <a:pt x="13097" y="4196"/>
                  </a:cubicBezTo>
                  <a:cubicBezTo>
                    <a:pt x="16065" y="7163"/>
                    <a:pt x="57602" y="69471"/>
                    <a:pt x="179251" y="16064"/>
                  </a:cubicBezTo>
                  <a:cubicBezTo>
                    <a:pt x="182218" y="16064"/>
                    <a:pt x="185186" y="16064"/>
                    <a:pt x="185186" y="19031"/>
                  </a:cubicBezTo>
                  <a:cubicBezTo>
                    <a:pt x="185186" y="21998"/>
                    <a:pt x="185186" y="24965"/>
                    <a:pt x="182218" y="24965"/>
                  </a:cubicBezTo>
                  <a:cubicBezTo>
                    <a:pt x="146613" y="42768"/>
                    <a:pt x="116943" y="48701"/>
                    <a:pt x="90240" y="48701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CB911338-C30A-44BB-960D-9BE8563B6AE4}"/>
                </a:ext>
              </a:extLst>
            </p:cNvPr>
            <p:cNvSpPr/>
            <p:nvPr/>
          </p:nvSpPr>
          <p:spPr>
            <a:xfrm>
              <a:off x="19571343" y="12169547"/>
              <a:ext cx="118681" cy="26704"/>
            </a:xfrm>
            <a:custGeom>
              <a:avLst/>
              <a:gdLst>
                <a:gd name="connsiteX0" fmla="*/ 77144 w 118681"/>
                <a:gd name="connsiteY0" fmla="*/ 26704 h 26704"/>
                <a:gd name="connsiteX1" fmla="*/ 2968 w 118681"/>
                <a:gd name="connsiteY1" fmla="*/ 8902 h 26704"/>
                <a:gd name="connsiteX2" fmla="*/ 0 w 118681"/>
                <a:gd name="connsiteY2" fmla="*/ 2967 h 26704"/>
                <a:gd name="connsiteX3" fmla="*/ 5934 w 118681"/>
                <a:gd name="connsiteY3" fmla="*/ 0 h 26704"/>
                <a:gd name="connsiteX4" fmla="*/ 112747 w 118681"/>
                <a:gd name="connsiteY4" fmla="*/ 11869 h 26704"/>
                <a:gd name="connsiteX5" fmla="*/ 118681 w 118681"/>
                <a:gd name="connsiteY5" fmla="*/ 14835 h 26704"/>
                <a:gd name="connsiteX6" fmla="*/ 115715 w 118681"/>
                <a:gd name="connsiteY6" fmla="*/ 20770 h 26704"/>
                <a:gd name="connsiteX7" fmla="*/ 77144 w 118681"/>
                <a:gd name="connsiteY7" fmla="*/ 26704 h 26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681" h="26704">
                  <a:moveTo>
                    <a:pt x="77144" y="26704"/>
                  </a:moveTo>
                  <a:cubicBezTo>
                    <a:pt x="32638" y="26704"/>
                    <a:pt x="2968" y="11869"/>
                    <a:pt x="2968" y="8902"/>
                  </a:cubicBezTo>
                  <a:cubicBezTo>
                    <a:pt x="0" y="8902"/>
                    <a:pt x="0" y="2967"/>
                    <a:pt x="0" y="2967"/>
                  </a:cubicBezTo>
                  <a:cubicBezTo>
                    <a:pt x="0" y="0"/>
                    <a:pt x="5934" y="0"/>
                    <a:pt x="5934" y="0"/>
                  </a:cubicBezTo>
                  <a:cubicBezTo>
                    <a:pt x="5934" y="0"/>
                    <a:pt x="53406" y="23737"/>
                    <a:pt x="112747" y="11869"/>
                  </a:cubicBezTo>
                  <a:cubicBezTo>
                    <a:pt x="115715" y="11869"/>
                    <a:pt x="118681" y="11869"/>
                    <a:pt x="118681" y="14835"/>
                  </a:cubicBezTo>
                  <a:cubicBezTo>
                    <a:pt x="118681" y="17802"/>
                    <a:pt x="118681" y="20770"/>
                    <a:pt x="115715" y="20770"/>
                  </a:cubicBezTo>
                  <a:cubicBezTo>
                    <a:pt x="100880" y="23737"/>
                    <a:pt x="89011" y="26704"/>
                    <a:pt x="77144" y="26704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B7989DE8-4544-4CA7-9ED0-E47C759280A9}"/>
                </a:ext>
              </a:extLst>
            </p:cNvPr>
            <p:cNvSpPr/>
            <p:nvPr/>
          </p:nvSpPr>
          <p:spPr>
            <a:xfrm>
              <a:off x="19559476" y="12222954"/>
              <a:ext cx="121647" cy="26703"/>
            </a:xfrm>
            <a:custGeom>
              <a:avLst/>
              <a:gdLst>
                <a:gd name="connsiteX0" fmla="*/ 77142 w 121647"/>
                <a:gd name="connsiteY0" fmla="*/ 26703 h 26703"/>
                <a:gd name="connsiteX1" fmla="*/ 2966 w 121647"/>
                <a:gd name="connsiteY1" fmla="*/ 8901 h 26703"/>
                <a:gd name="connsiteX2" fmla="*/ 0 w 121647"/>
                <a:gd name="connsiteY2" fmla="*/ 2967 h 26703"/>
                <a:gd name="connsiteX3" fmla="*/ 8901 w 121647"/>
                <a:gd name="connsiteY3" fmla="*/ 0 h 26703"/>
                <a:gd name="connsiteX4" fmla="*/ 115713 w 121647"/>
                <a:gd name="connsiteY4" fmla="*/ 11868 h 26703"/>
                <a:gd name="connsiteX5" fmla="*/ 121648 w 121647"/>
                <a:gd name="connsiteY5" fmla="*/ 14835 h 26703"/>
                <a:gd name="connsiteX6" fmla="*/ 118681 w 121647"/>
                <a:gd name="connsiteY6" fmla="*/ 20769 h 26703"/>
                <a:gd name="connsiteX7" fmla="*/ 77142 w 121647"/>
                <a:gd name="connsiteY7" fmla="*/ 26703 h 26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647" h="26703">
                  <a:moveTo>
                    <a:pt x="77142" y="26703"/>
                  </a:moveTo>
                  <a:cubicBezTo>
                    <a:pt x="32637" y="26703"/>
                    <a:pt x="2966" y="11868"/>
                    <a:pt x="2966" y="8901"/>
                  </a:cubicBezTo>
                  <a:cubicBezTo>
                    <a:pt x="0" y="8901"/>
                    <a:pt x="0" y="2967"/>
                    <a:pt x="0" y="2967"/>
                  </a:cubicBezTo>
                  <a:cubicBezTo>
                    <a:pt x="0" y="0"/>
                    <a:pt x="5933" y="0"/>
                    <a:pt x="8901" y="0"/>
                  </a:cubicBezTo>
                  <a:cubicBezTo>
                    <a:pt x="8901" y="0"/>
                    <a:pt x="56373" y="23736"/>
                    <a:pt x="115713" y="11868"/>
                  </a:cubicBezTo>
                  <a:cubicBezTo>
                    <a:pt x="118681" y="11868"/>
                    <a:pt x="121648" y="11868"/>
                    <a:pt x="121648" y="14835"/>
                  </a:cubicBezTo>
                  <a:cubicBezTo>
                    <a:pt x="121648" y="17802"/>
                    <a:pt x="121648" y="20769"/>
                    <a:pt x="118681" y="20769"/>
                  </a:cubicBezTo>
                  <a:cubicBezTo>
                    <a:pt x="100878" y="23736"/>
                    <a:pt x="89011" y="26703"/>
                    <a:pt x="77142" y="26703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4586E69D-3A50-4A95-84DF-A1BF6F27AE92}"/>
                </a:ext>
              </a:extLst>
            </p:cNvPr>
            <p:cNvGrpSpPr/>
            <p:nvPr/>
          </p:nvGrpSpPr>
          <p:grpSpPr>
            <a:xfrm>
              <a:off x="18592222" y="7457893"/>
              <a:ext cx="376903" cy="251821"/>
              <a:chOff x="18592222" y="7457893"/>
              <a:chExt cx="376903" cy="251821"/>
            </a:xfrm>
          </p:grpSpPr>
          <p:grpSp>
            <p:nvGrpSpPr>
              <p:cNvPr id="48" name="图形 1">
                <a:extLst>
                  <a:ext uri="{FF2B5EF4-FFF2-40B4-BE49-F238E27FC236}">
                    <a16:creationId xmlns:a16="http://schemas.microsoft.com/office/drawing/2014/main" id="{1C22B6AE-850E-4CE2-9918-5CB124B72C87}"/>
                  </a:ext>
                </a:extLst>
              </p:cNvPr>
              <p:cNvGrpSpPr/>
              <p:nvPr/>
            </p:nvGrpSpPr>
            <p:grpSpPr>
              <a:xfrm>
                <a:off x="18592222" y="7457893"/>
                <a:ext cx="376903" cy="251821"/>
                <a:chOff x="18592222" y="7457893"/>
                <a:chExt cx="376903" cy="251821"/>
              </a:xfrm>
            </p:grpSpPr>
            <p:sp>
              <p:nvSpPr>
                <p:cNvPr id="51" name="任意多边形: 形状 50">
                  <a:extLst>
                    <a:ext uri="{FF2B5EF4-FFF2-40B4-BE49-F238E27FC236}">
                      <a16:creationId xmlns:a16="http://schemas.microsoft.com/office/drawing/2014/main" id="{5F77E9F2-A17B-4F45-8970-1C364EAF0F02}"/>
                    </a:ext>
                  </a:extLst>
                </p:cNvPr>
                <p:cNvSpPr/>
                <p:nvPr/>
              </p:nvSpPr>
              <p:spPr>
                <a:xfrm>
                  <a:off x="18592222" y="7457893"/>
                  <a:ext cx="376903" cy="251821"/>
                </a:xfrm>
                <a:custGeom>
                  <a:avLst/>
                  <a:gdLst>
                    <a:gd name="connsiteX0" fmla="*/ 172088 w 376903"/>
                    <a:gd name="connsiteY0" fmla="*/ 222533 h 251821"/>
                    <a:gd name="connsiteX1" fmla="*/ 311538 w 376903"/>
                    <a:gd name="connsiteY1" fmla="*/ 246270 h 251821"/>
                    <a:gd name="connsiteX2" fmla="*/ 376814 w 376903"/>
                    <a:gd name="connsiteY2" fmla="*/ 163193 h 251821"/>
                    <a:gd name="connsiteX3" fmla="*/ 290769 w 376903"/>
                    <a:gd name="connsiteY3" fmla="*/ 5940 h 251821"/>
                    <a:gd name="connsiteX4" fmla="*/ 258132 w 376903"/>
                    <a:gd name="connsiteY4" fmla="*/ 29676 h 251821"/>
                    <a:gd name="connsiteX5" fmla="*/ 278902 w 376903"/>
                    <a:gd name="connsiteY5" fmla="*/ 103852 h 251821"/>
                    <a:gd name="connsiteX6" fmla="*/ 94945 w 376903"/>
                    <a:gd name="connsiteY6" fmla="*/ 38577 h 251821"/>
                    <a:gd name="connsiteX7" fmla="*/ 62309 w 376903"/>
                    <a:gd name="connsiteY7" fmla="*/ 53412 h 251821"/>
                    <a:gd name="connsiteX8" fmla="*/ 103846 w 376903"/>
                    <a:gd name="connsiteY8" fmla="*/ 74182 h 251821"/>
                    <a:gd name="connsiteX9" fmla="*/ 160221 w 376903"/>
                    <a:gd name="connsiteY9" fmla="*/ 100885 h 251821"/>
                    <a:gd name="connsiteX10" fmla="*/ 80110 w 376903"/>
                    <a:gd name="connsiteY10" fmla="*/ 89017 h 251821"/>
                    <a:gd name="connsiteX11" fmla="*/ 20770 w 376903"/>
                    <a:gd name="connsiteY11" fmla="*/ 83083 h 251821"/>
                    <a:gd name="connsiteX12" fmla="*/ 0 w 376903"/>
                    <a:gd name="connsiteY12" fmla="*/ 103852 h 251821"/>
                    <a:gd name="connsiteX13" fmla="*/ 17803 w 376903"/>
                    <a:gd name="connsiteY13" fmla="*/ 127588 h 251821"/>
                    <a:gd name="connsiteX14" fmla="*/ 14835 w 376903"/>
                    <a:gd name="connsiteY14" fmla="*/ 127588 h 251821"/>
                    <a:gd name="connsiteX15" fmla="*/ 5934 w 376903"/>
                    <a:gd name="connsiteY15" fmla="*/ 136489 h 251821"/>
                    <a:gd name="connsiteX16" fmla="*/ 50440 w 376903"/>
                    <a:gd name="connsiteY16" fmla="*/ 157259 h 251821"/>
                    <a:gd name="connsiteX17" fmla="*/ 77144 w 376903"/>
                    <a:gd name="connsiteY17" fmla="*/ 163193 h 251821"/>
                    <a:gd name="connsiteX18" fmla="*/ 68241 w 376903"/>
                    <a:gd name="connsiteY18" fmla="*/ 163193 h 251821"/>
                    <a:gd name="connsiteX19" fmla="*/ 53406 w 376903"/>
                    <a:gd name="connsiteY19" fmla="*/ 178028 h 251821"/>
                    <a:gd name="connsiteX20" fmla="*/ 172088 w 376903"/>
                    <a:gd name="connsiteY20" fmla="*/ 222533 h 251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76903" h="251821">
                      <a:moveTo>
                        <a:pt x="172088" y="222533"/>
                      </a:moveTo>
                      <a:cubicBezTo>
                        <a:pt x="216593" y="234401"/>
                        <a:pt x="267033" y="264072"/>
                        <a:pt x="311538" y="246270"/>
                      </a:cubicBezTo>
                      <a:cubicBezTo>
                        <a:pt x="341209" y="234401"/>
                        <a:pt x="376814" y="195830"/>
                        <a:pt x="376814" y="163193"/>
                      </a:cubicBezTo>
                      <a:cubicBezTo>
                        <a:pt x="379780" y="115720"/>
                        <a:pt x="308572" y="74182"/>
                        <a:pt x="290769" y="5940"/>
                      </a:cubicBezTo>
                      <a:cubicBezTo>
                        <a:pt x="287803" y="-8895"/>
                        <a:pt x="255166" y="5940"/>
                        <a:pt x="258132" y="29676"/>
                      </a:cubicBezTo>
                      <a:cubicBezTo>
                        <a:pt x="261099" y="59346"/>
                        <a:pt x="270001" y="86050"/>
                        <a:pt x="278902" y="103852"/>
                      </a:cubicBezTo>
                      <a:cubicBezTo>
                        <a:pt x="216593" y="86050"/>
                        <a:pt x="163187" y="44511"/>
                        <a:pt x="94945" y="38577"/>
                      </a:cubicBezTo>
                      <a:cubicBezTo>
                        <a:pt x="83077" y="38577"/>
                        <a:pt x="53406" y="38577"/>
                        <a:pt x="62309" y="53412"/>
                      </a:cubicBezTo>
                      <a:cubicBezTo>
                        <a:pt x="68241" y="62314"/>
                        <a:pt x="91979" y="68248"/>
                        <a:pt x="103846" y="74182"/>
                      </a:cubicBezTo>
                      <a:cubicBezTo>
                        <a:pt x="121649" y="83083"/>
                        <a:pt x="142417" y="91984"/>
                        <a:pt x="160221" y="100885"/>
                      </a:cubicBezTo>
                      <a:cubicBezTo>
                        <a:pt x="133516" y="97918"/>
                        <a:pt x="106814" y="91984"/>
                        <a:pt x="80110" y="89017"/>
                      </a:cubicBezTo>
                      <a:cubicBezTo>
                        <a:pt x="62309" y="86050"/>
                        <a:pt x="41539" y="80116"/>
                        <a:pt x="20770" y="83083"/>
                      </a:cubicBezTo>
                      <a:cubicBezTo>
                        <a:pt x="8901" y="86050"/>
                        <a:pt x="0" y="91984"/>
                        <a:pt x="0" y="103852"/>
                      </a:cubicBezTo>
                      <a:cubicBezTo>
                        <a:pt x="0" y="115720"/>
                        <a:pt x="8901" y="121654"/>
                        <a:pt x="17803" y="127588"/>
                      </a:cubicBezTo>
                      <a:cubicBezTo>
                        <a:pt x="17803" y="127588"/>
                        <a:pt x="14835" y="127588"/>
                        <a:pt x="14835" y="127588"/>
                      </a:cubicBezTo>
                      <a:cubicBezTo>
                        <a:pt x="11869" y="127588"/>
                        <a:pt x="5934" y="136489"/>
                        <a:pt x="5934" y="136489"/>
                      </a:cubicBezTo>
                      <a:cubicBezTo>
                        <a:pt x="11869" y="151325"/>
                        <a:pt x="32638" y="154291"/>
                        <a:pt x="50440" y="157259"/>
                      </a:cubicBezTo>
                      <a:cubicBezTo>
                        <a:pt x="59341" y="160225"/>
                        <a:pt x="68241" y="160225"/>
                        <a:pt x="77144" y="163193"/>
                      </a:cubicBezTo>
                      <a:cubicBezTo>
                        <a:pt x="74176" y="163193"/>
                        <a:pt x="71210" y="163193"/>
                        <a:pt x="68241" y="163193"/>
                      </a:cubicBezTo>
                      <a:cubicBezTo>
                        <a:pt x="59341" y="166160"/>
                        <a:pt x="53406" y="169127"/>
                        <a:pt x="53406" y="178028"/>
                      </a:cubicBezTo>
                      <a:cubicBezTo>
                        <a:pt x="62309" y="195830"/>
                        <a:pt x="145385" y="216599"/>
                        <a:pt x="172088" y="222533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7C0CF35F-C33A-424D-BD94-F08AF39C8135}"/>
                    </a:ext>
                  </a:extLst>
                </p:cNvPr>
                <p:cNvSpPr/>
                <p:nvPr/>
              </p:nvSpPr>
              <p:spPr>
                <a:xfrm>
                  <a:off x="18858349" y="7581285"/>
                  <a:ext cx="33544" cy="57602"/>
                </a:xfrm>
                <a:custGeom>
                  <a:avLst/>
                  <a:gdLst>
                    <a:gd name="connsiteX0" fmla="*/ 30576 w 33544"/>
                    <a:gd name="connsiteY0" fmla="*/ 57603 h 57602"/>
                    <a:gd name="connsiteX1" fmla="*/ 30576 w 33544"/>
                    <a:gd name="connsiteY1" fmla="*/ 57603 h 57602"/>
                    <a:gd name="connsiteX2" fmla="*/ 906 w 33544"/>
                    <a:gd name="connsiteY2" fmla="*/ 4196 h 57602"/>
                    <a:gd name="connsiteX3" fmla="*/ 6840 w 33544"/>
                    <a:gd name="connsiteY3" fmla="*/ 1229 h 57602"/>
                    <a:gd name="connsiteX4" fmla="*/ 9807 w 33544"/>
                    <a:gd name="connsiteY4" fmla="*/ 7163 h 57602"/>
                    <a:gd name="connsiteX5" fmla="*/ 30576 w 33544"/>
                    <a:gd name="connsiteY5" fmla="*/ 48702 h 57602"/>
                    <a:gd name="connsiteX6" fmla="*/ 33544 w 33544"/>
                    <a:gd name="connsiteY6" fmla="*/ 54636 h 57602"/>
                    <a:gd name="connsiteX7" fmla="*/ 30576 w 33544"/>
                    <a:gd name="connsiteY7" fmla="*/ 57603 h 57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544" h="57602">
                      <a:moveTo>
                        <a:pt x="30576" y="57603"/>
                      </a:moveTo>
                      <a:cubicBezTo>
                        <a:pt x="27610" y="57603"/>
                        <a:pt x="27610" y="54636"/>
                        <a:pt x="30576" y="57603"/>
                      </a:cubicBezTo>
                      <a:cubicBezTo>
                        <a:pt x="906" y="42768"/>
                        <a:pt x="-2060" y="16064"/>
                        <a:pt x="906" y="4196"/>
                      </a:cubicBezTo>
                      <a:cubicBezTo>
                        <a:pt x="906" y="1229"/>
                        <a:pt x="3874" y="-1738"/>
                        <a:pt x="6840" y="1229"/>
                      </a:cubicBezTo>
                      <a:cubicBezTo>
                        <a:pt x="9807" y="1229"/>
                        <a:pt x="12775" y="4196"/>
                        <a:pt x="9807" y="7163"/>
                      </a:cubicBezTo>
                      <a:cubicBezTo>
                        <a:pt x="9807" y="7163"/>
                        <a:pt x="3874" y="33866"/>
                        <a:pt x="30576" y="48702"/>
                      </a:cubicBezTo>
                      <a:cubicBezTo>
                        <a:pt x="33544" y="48702"/>
                        <a:pt x="33544" y="54636"/>
                        <a:pt x="33544" y="54636"/>
                      </a:cubicBezTo>
                      <a:cubicBezTo>
                        <a:pt x="33544" y="54636"/>
                        <a:pt x="30576" y="57603"/>
                        <a:pt x="30576" y="5760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83C834F7-9388-4763-B69D-4C725FB60390}"/>
                    </a:ext>
                  </a:extLst>
                </p:cNvPr>
                <p:cNvSpPr/>
                <p:nvPr/>
              </p:nvSpPr>
              <p:spPr>
                <a:xfrm>
                  <a:off x="18595190" y="7502404"/>
                  <a:ext cx="172087" cy="77143"/>
                </a:xfrm>
                <a:custGeom>
                  <a:avLst/>
                  <a:gdLst>
                    <a:gd name="connsiteX0" fmla="*/ 20768 w 172087"/>
                    <a:gd name="connsiteY0" fmla="*/ 77143 h 77143"/>
                    <a:gd name="connsiteX1" fmla="*/ 20768 w 172087"/>
                    <a:gd name="connsiteY1" fmla="*/ 77143 h 77143"/>
                    <a:gd name="connsiteX2" fmla="*/ 0 w 172087"/>
                    <a:gd name="connsiteY2" fmla="*/ 56373 h 77143"/>
                    <a:gd name="connsiteX3" fmla="*/ 11867 w 172087"/>
                    <a:gd name="connsiteY3" fmla="*/ 32638 h 77143"/>
                    <a:gd name="connsiteX4" fmla="*/ 118681 w 172087"/>
                    <a:gd name="connsiteY4" fmla="*/ 38572 h 77143"/>
                    <a:gd name="connsiteX5" fmla="*/ 65273 w 172087"/>
                    <a:gd name="connsiteY5" fmla="*/ 11868 h 77143"/>
                    <a:gd name="connsiteX6" fmla="*/ 62307 w 172087"/>
                    <a:gd name="connsiteY6" fmla="*/ 2967 h 77143"/>
                    <a:gd name="connsiteX7" fmla="*/ 71208 w 172087"/>
                    <a:gd name="connsiteY7" fmla="*/ 0 h 77143"/>
                    <a:gd name="connsiteX8" fmla="*/ 169119 w 172087"/>
                    <a:gd name="connsiteY8" fmla="*/ 47473 h 77143"/>
                    <a:gd name="connsiteX9" fmla="*/ 172088 w 172087"/>
                    <a:gd name="connsiteY9" fmla="*/ 53407 h 77143"/>
                    <a:gd name="connsiteX10" fmla="*/ 166153 w 172087"/>
                    <a:gd name="connsiteY10" fmla="*/ 56373 h 77143"/>
                    <a:gd name="connsiteX11" fmla="*/ 20768 w 172087"/>
                    <a:gd name="connsiteY11" fmla="*/ 38572 h 77143"/>
                    <a:gd name="connsiteX12" fmla="*/ 14835 w 172087"/>
                    <a:gd name="connsiteY12" fmla="*/ 50439 h 77143"/>
                    <a:gd name="connsiteX13" fmla="*/ 26702 w 172087"/>
                    <a:gd name="connsiteY13" fmla="*/ 62308 h 77143"/>
                    <a:gd name="connsiteX14" fmla="*/ 29670 w 172087"/>
                    <a:gd name="connsiteY14" fmla="*/ 68242 h 77143"/>
                    <a:gd name="connsiteX15" fmla="*/ 20768 w 172087"/>
                    <a:gd name="connsiteY15" fmla="*/ 77143 h 77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72087" h="77143">
                      <a:moveTo>
                        <a:pt x="20768" y="77143"/>
                      </a:moveTo>
                      <a:cubicBezTo>
                        <a:pt x="20768" y="77143"/>
                        <a:pt x="17801" y="77143"/>
                        <a:pt x="20768" y="77143"/>
                      </a:cubicBezTo>
                      <a:cubicBezTo>
                        <a:pt x="8901" y="71209"/>
                        <a:pt x="0" y="65275"/>
                        <a:pt x="0" y="56373"/>
                      </a:cubicBezTo>
                      <a:cubicBezTo>
                        <a:pt x="0" y="47473"/>
                        <a:pt x="2966" y="38572"/>
                        <a:pt x="11867" y="32638"/>
                      </a:cubicBezTo>
                      <a:cubicBezTo>
                        <a:pt x="20768" y="23736"/>
                        <a:pt x="74176" y="32638"/>
                        <a:pt x="118681" y="38572"/>
                      </a:cubicBezTo>
                      <a:cubicBezTo>
                        <a:pt x="91977" y="26703"/>
                        <a:pt x="65273" y="11868"/>
                        <a:pt x="65273" y="11868"/>
                      </a:cubicBezTo>
                      <a:cubicBezTo>
                        <a:pt x="62307" y="11868"/>
                        <a:pt x="62307" y="5934"/>
                        <a:pt x="62307" y="2967"/>
                      </a:cubicBezTo>
                      <a:cubicBezTo>
                        <a:pt x="62307" y="0"/>
                        <a:pt x="68241" y="0"/>
                        <a:pt x="71208" y="0"/>
                      </a:cubicBezTo>
                      <a:cubicBezTo>
                        <a:pt x="71208" y="0"/>
                        <a:pt x="130548" y="32638"/>
                        <a:pt x="169119" y="47473"/>
                      </a:cubicBezTo>
                      <a:cubicBezTo>
                        <a:pt x="172088" y="47473"/>
                        <a:pt x="172088" y="50439"/>
                        <a:pt x="172088" y="53407"/>
                      </a:cubicBezTo>
                      <a:cubicBezTo>
                        <a:pt x="172088" y="56373"/>
                        <a:pt x="169119" y="59341"/>
                        <a:pt x="166153" y="56373"/>
                      </a:cubicBezTo>
                      <a:cubicBezTo>
                        <a:pt x="100878" y="44505"/>
                        <a:pt x="29670" y="32638"/>
                        <a:pt x="20768" y="38572"/>
                      </a:cubicBezTo>
                      <a:cubicBezTo>
                        <a:pt x="17801" y="41538"/>
                        <a:pt x="11867" y="44505"/>
                        <a:pt x="14835" y="50439"/>
                      </a:cubicBezTo>
                      <a:cubicBezTo>
                        <a:pt x="14835" y="56373"/>
                        <a:pt x="20768" y="59341"/>
                        <a:pt x="26702" y="62308"/>
                      </a:cubicBezTo>
                      <a:cubicBezTo>
                        <a:pt x="29670" y="62308"/>
                        <a:pt x="29670" y="65275"/>
                        <a:pt x="29670" y="68242"/>
                      </a:cubicBezTo>
                      <a:cubicBezTo>
                        <a:pt x="23736" y="77143"/>
                        <a:pt x="23736" y="77143"/>
                        <a:pt x="20768" y="7714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FB078518-A152-4BAF-9E6C-72FBA2B49046}"/>
                  </a:ext>
                </a:extLst>
              </p:cNvPr>
              <p:cNvSpPr/>
              <p:nvPr/>
            </p:nvSpPr>
            <p:spPr>
              <a:xfrm>
                <a:off x="18651563" y="7612185"/>
                <a:ext cx="130550" cy="71209"/>
              </a:xfrm>
              <a:custGeom>
                <a:avLst/>
                <a:gdLst>
                  <a:gd name="connsiteX0" fmla="*/ 100880 w 130550"/>
                  <a:gd name="connsiteY0" fmla="*/ 71209 h 71209"/>
                  <a:gd name="connsiteX1" fmla="*/ 100880 w 130550"/>
                  <a:gd name="connsiteY1" fmla="*/ 71209 h 71209"/>
                  <a:gd name="connsiteX2" fmla="*/ 0 w 130550"/>
                  <a:gd name="connsiteY2" fmla="*/ 20769 h 71209"/>
                  <a:gd name="connsiteX3" fmla="*/ 5934 w 130550"/>
                  <a:gd name="connsiteY3" fmla="*/ 5934 h 71209"/>
                  <a:gd name="connsiteX4" fmla="*/ 35605 w 130550"/>
                  <a:gd name="connsiteY4" fmla="*/ 0 h 71209"/>
                  <a:gd name="connsiteX5" fmla="*/ 74176 w 130550"/>
                  <a:gd name="connsiteY5" fmla="*/ 8901 h 71209"/>
                  <a:gd name="connsiteX6" fmla="*/ 124616 w 130550"/>
                  <a:gd name="connsiteY6" fmla="*/ 20769 h 71209"/>
                  <a:gd name="connsiteX7" fmla="*/ 130550 w 130550"/>
                  <a:gd name="connsiteY7" fmla="*/ 26704 h 71209"/>
                  <a:gd name="connsiteX8" fmla="*/ 124616 w 130550"/>
                  <a:gd name="connsiteY8" fmla="*/ 32638 h 71209"/>
                  <a:gd name="connsiteX9" fmla="*/ 74176 w 130550"/>
                  <a:gd name="connsiteY9" fmla="*/ 20769 h 71209"/>
                  <a:gd name="connsiteX10" fmla="*/ 35605 w 130550"/>
                  <a:gd name="connsiteY10" fmla="*/ 11868 h 71209"/>
                  <a:gd name="connsiteX11" fmla="*/ 14835 w 130550"/>
                  <a:gd name="connsiteY11" fmla="*/ 14835 h 71209"/>
                  <a:gd name="connsiteX12" fmla="*/ 11869 w 130550"/>
                  <a:gd name="connsiteY12" fmla="*/ 23736 h 71209"/>
                  <a:gd name="connsiteX13" fmla="*/ 103846 w 130550"/>
                  <a:gd name="connsiteY13" fmla="*/ 62308 h 71209"/>
                  <a:gd name="connsiteX14" fmla="*/ 106814 w 130550"/>
                  <a:gd name="connsiteY14" fmla="*/ 68242 h 71209"/>
                  <a:gd name="connsiteX15" fmla="*/ 100880 w 130550"/>
                  <a:gd name="connsiteY15" fmla="*/ 71209 h 7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0550" h="71209">
                    <a:moveTo>
                      <a:pt x="100880" y="71209"/>
                    </a:moveTo>
                    <a:cubicBezTo>
                      <a:pt x="100880" y="71209"/>
                      <a:pt x="97912" y="71209"/>
                      <a:pt x="100880" y="71209"/>
                    </a:cubicBezTo>
                    <a:cubicBezTo>
                      <a:pt x="71210" y="62308"/>
                      <a:pt x="2968" y="44505"/>
                      <a:pt x="0" y="20769"/>
                    </a:cubicBezTo>
                    <a:cubicBezTo>
                      <a:pt x="0" y="11868"/>
                      <a:pt x="2968" y="5934"/>
                      <a:pt x="5934" y="5934"/>
                    </a:cubicBezTo>
                    <a:cubicBezTo>
                      <a:pt x="11869" y="0"/>
                      <a:pt x="20770" y="0"/>
                      <a:pt x="35605" y="0"/>
                    </a:cubicBezTo>
                    <a:cubicBezTo>
                      <a:pt x="44505" y="0"/>
                      <a:pt x="59341" y="5934"/>
                      <a:pt x="74176" y="8901"/>
                    </a:cubicBezTo>
                    <a:cubicBezTo>
                      <a:pt x="94945" y="14835"/>
                      <a:pt x="115715" y="20769"/>
                      <a:pt x="124616" y="20769"/>
                    </a:cubicBezTo>
                    <a:cubicBezTo>
                      <a:pt x="127582" y="20769"/>
                      <a:pt x="130550" y="23736"/>
                      <a:pt x="130550" y="26704"/>
                    </a:cubicBezTo>
                    <a:cubicBezTo>
                      <a:pt x="130550" y="29670"/>
                      <a:pt x="127582" y="32638"/>
                      <a:pt x="124616" y="32638"/>
                    </a:cubicBezTo>
                    <a:cubicBezTo>
                      <a:pt x="115715" y="32638"/>
                      <a:pt x="94945" y="26704"/>
                      <a:pt x="74176" y="20769"/>
                    </a:cubicBezTo>
                    <a:cubicBezTo>
                      <a:pt x="59341" y="17802"/>
                      <a:pt x="44505" y="11868"/>
                      <a:pt x="35605" y="11868"/>
                    </a:cubicBezTo>
                    <a:cubicBezTo>
                      <a:pt x="26704" y="11868"/>
                      <a:pt x="17803" y="11868"/>
                      <a:pt x="14835" y="14835"/>
                    </a:cubicBezTo>
                    <a:cubicBezTo>
                      <a:pt x="14835" y="14835"/>
                      <a:pt x="11869" y="17802"/>
                      <a:pt x="11869" y="23736"/>
                    </a:cubicBezTo>
                    <a:cubicBezTo>
                      <a:pt x="11869" y="32638"/>
                      <a:pt x="53406" y="50439"/>
                      <a:pt x="103846" y="62308"/>
                    </a:cubicBezTo>
                    <a:cubicBezTo>
                      <a:pt x="106814" y="62308"/>
                      <a:pt x="109781" y="65275"/>
                      <a:pt x="106814" y="68242"/>
                    </a:cubicBezTo>
                    <a:cubicBezTo>
                      <a:pt x="103846" y="68242"/>
                      <a:pt x="100880" y="71209"/>
                      <a:pt x="100880" y="71209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1A535A05-12FC-4B47-B2AB-A4556891261D}"/>
                  </a:ext>
                </a:extLst>
              </p:cNvPr>
              <p:cNvSpPr/>
              <p:nvPr/>
            </p:nvSpPr>
            <p:spPr>
              <a:xfrm>
                <a:off x="18599805" y="7564712"/>
                <a:ext cx="176374" cy="56373"/>
              </a:xfrm>
              <a:custGeom>
                <a:avLst/>
                <a:gdLst>
                  <a:gd name="connsiteX0" fmla="*/ 66593 w 176374"/>
                  <a:gd name="connsiteY0" fmla="*/ 56373 h 56373"/>
                  <a:gd name="connsiteX1" fmla="*/ 66593 w 176374"/>
                  <a:gd name="connsiteY1" fmla="*/ 56373 h 56373"/>
                  <a:gd name="connsiteX2" fmla="*/ 1318 w 176374"/>
                  <a:gd name="connsiteY2" fmla="*/ 29670 h 56373"/>
                  <a:gd name="connsiteX3" fmla="*/ 1318 w 176374"/>
                  <a:gd name="connsiteY3" fmla="*/ 14835 h 56373"/>
                  <a:gd name="connsiteX4" fmla="*/ 33957 w 176374"/>
                  <a:gd name="connsiteY4" fmla="*/ 0 h 56373"/>
                  <a:gd name="connsiteX5" fmla="*/ 33957 w 176374"/>
                  <a:gd name="connsiteY5" fmla="*/ 0 h 56373"/>
                  <a:gd name="connsiteX6" fmla="*/ 99232 w 176374"/>
                  <a:gd name="connsiteY6" fmla="*/ 14835 h 56373"/>
                  <a:gd name="connsiteX7" fmla="*/ 111099 w 176374"/>
                  <a:gd name="connsiteY7" fmla="*/ 17802 h 56373"/>
                  <a:gd name="connsiteX8" fmla="*/ 170440 w 176374"/>
                  <a:gd name="connsiteY8" fmla="*/ 26703 h 56373"/>
                  <a:gd name="connsiteX9" fmla="*/ 176374 w 176374"/>
                  <a:gd name="connsiteY9" fmla="*/ 32637 h 56373"/>
                  <a:gd name="connsiteX10" fmla="*/ 170440 w 176374"/>
                  <a:gd name="connsiteY10" fmla="*/ 38571 h 56373"/>
                  <a:gd name="connsiteX11" fmla="*/ 111099 w 176374"/>
                  <a:gd name="connsiteY11" fmla="*/ 29670 h 56373"/>
                  <a:gd name="connsiteX12" fmla="*/ 99232 w 176374"/>
                  <a:gd name="connsiteY12" fmla="*/ 26703 h 56373"/>
                  <a:gd name="connsiteX13" fmla="*/ 36923 w 176374"/>
                  <a:gd name="connsiteY13" fmla="*/ 11868 h 56373"/>
                  <a:gd name="connsiteX14" fmla="*/ 36923 w 176374"/>
                  <a:gd name="connsiteY14" fmla="*/ 11868 h 56373"/>
                  <a:gd name="connsiteX15" fmla="*/ 13187 w 176374"/>
                  <a:gd name="connsiteY15" fmla="*/ 20769 h 56373"/>
                  <a:gd name="connsiteX16" fmla="*/ 13187 w 176374"/>
                  <a:gd name="connsiteY16" fmla="*/ 23736 h 56373"/>
                  <a:gd name="connsiteX17" fmla="*/ 69562 w 176374"/>
                  <a:gd name="connsiteY17" fmla="*/ 44505 h 56373"/>
                  <a:gd name="connsiteX18" fmla="*/ 72528 w 176374"/>
                  <a:gd name="connsiteY18" fmla="*/ 50439 h 56373"/>
                  <a:gd name="connsiteX19" fmla="*/ 66593 w 176374"/>
                  <a:gd name="connsiteY19" fmla="*/ 56373 h 56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76374" h="56373">
                    <a:moveTo>
                      <a:pt x="66593" y="56373"/>
                    </a:moveTo>
                    <a:cubicBezTo>
                      <a:pt x="66593" y="56373"/>
                      <a:pt x="66593" y="56373"/>
                      <a:pt x="66593" y="56373"/>
                    </a:cubicBezTo>
                    <a:cubicBezTo>
                      <a:pt x="48792" y="53406"/>
                      <a:pt x="7253" y="41538"/>
                      <a:pt x="1318" y="29670"/>
                    </a:cubicBezTo>
                    <a:cubicBezTo>
                      <a:pt x="-1648" y="23736"/>
                      <a:pt x="1318" y="20769"/>
                      <a:pt x="1318" y="14835"/>
                    </a:cubicBezTo>
                    <a:cubicBezTo>
                      <a:pt x="7253" y="5934"/>
                      <a:pt x="22088" y="0"/>
                      <a:pt x="33957" y="0"/>
                    </a:cubicBezTo>
                    <a:lnTo>
                      <a:pt x="33957" y="0"/>
                    </a:lnTo>
                    <a:cubicBezTo>
                      <a:pt x="45824" y="0"/>
                      <a:pt x="72528" y="8901"/>
                      <a:pt x="99232" y="14835"/>
                    </a:cubicBezTo>
                    <a:cubicBezTo>
                      <a:pt x="105165" y="17802"/>
                      <a:pt x="108133" y="17802"/>
                      <a:pt x="111099" y="17802"/>
                    </a:cubicBezTo>
                    <a:cubicBezTo>
                      <a:pt x="117033" y="20769"/>
                      <a:pt x="155604" y="26703"/>
                      <a:pt x="170440" y="26703"/>
                    </a:cubicBezTo>
                    <a:cubicBezTo>
                      <a:pt x="173408" y="26703"/>
                      <a:pt x="176374" y="29670"/>
                      <a:pt x="176374" y="32637"/>
                    </a:cubicBezTo>
                    <a:cubicBezTo>
                      <a:pt x="176374" y="35604"/>
                      <a:pt x="173408" y="38571"/>
                      <a:pt x="170440" y="38571"/>
                    </a:cubicBezTo>
                    <a:cubicBezTo>
                      <a:pt x="167473" y="38571"/>
                      <a:pt x="120000" y="29670"/>
                      <a:pt x="111099" y="29670"/>
                    </a:cubicBezTo>
                    <a:cubicBezTo>
                      <a:pt x="108133" y="29670"/>
                      <a:pt x="105165" y="26703"/>
                      <a:pt x="99232" y="26703"/>
                    </a:cubicBezTo>
                    <a:cubicBezTo>
                      <a:pt x="81429" y="20769"/>
                      <a:pt x="45824" y="11868"/>
                      <a:pt x="36923" y="11868"/>
                    </a:cubicBezTo>
                    <a:cubicBezTo>
                      <a:pt x="36923" y="11868"/>
                      <a:pt x="36923" y="11868"/>
                      <a:pt x="36923" y="11868"/>
                    </a:cubicBezTo>
                    <a:cubicBezTo>
                      <a:pt x="28022" y="11868"/>
                      <a:pt x="16154" y="14835"/>
                      <a:pt x="13187" y="20769"/>
                    </a:cubicBezTo>
                    <a:cubicBezTo>
                      <a:pt x="13187" y="20769"/>
                      <a:pt x="13187" y="23736"/>
                      <a:pt x="13187" y="23736"/>
                    </a:cubicBezTo>
                    <a:cubicBezTo>
                      <a:pt x="16154" y="29670"/>
                      <a:pt x="42858" y="38571"/>
                      <a:pt x="69562" y="44505"/>
                    </a:cubicBezTo>
                    <a:cubicBezTo>
                      <a:pt x="72528" y="44505"/>
                      <a:pt x="75494" y="47472"/>
                      <a:pt x="72528" y="50439"/>
                    </a:cubicBezTo>
                    <a:cubicBezTo>
                      <a:pt x="72528" y="53406"/>
                      <a:pt x="69562" y="56373"/>
                      <a:pt x="66593" y="56373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20089419-F6B4-471A-86BE-AC1A7CBC111C}"/>
                </a:ext>
              </a:extLst>
            </p:cNvPr>
            <p:cNvSpPr/>
            <p:nvPr/>
          </p:nvSpPr>
          <p:spPr>
            <a:xfrm>
              <a:off x="18748993" y="7632954"/>
              <a:ext cx="1001288" cy="1043350"/>
            </a:xfrm>
            <a:custGeom>
              <a:avLst/>
              <a:gdLst>
                <a:gd name="connsiteX0" fmla="*/ 988505 w 1001288"/>
                <a:gd name="connsiteY0" fmla="*/ 946484 h 1043350"/>
                <a:gd name="connsiteX1" fmla="*/ 754108 w 1001288"/>
                <a:gd name="connsiteY1" fmla="*/ 741758 h 1043350"/>
                <a:gd name="connsiteX2" fmla="*/ 243778 w 1001288"/>
                <a:gd name="connsiteY2" fmla="*/ 605275 h 1043350"/>
                <a:gd name="connsiteX3" fmla="*/ 214108 w 1001288"/>
                <a:gd name="connsiteY3" fmla="*/ 0 h 1043350"/>
                <a:gd name="connsiteX4" fmla="*/ 53889 w 1001288"/>
                <a:gd name="connsiteY4" fmla="*/ 50440 h 1043350"/>
                <a:gd name="connsiteX5" fmla="*/ 18285 w 1001288"/>
                <a:gd name="connsiteY5" fmla="*/ 795165 h 1043350"/>
                <a:gd name="connsiteX6" fmla="*/ 780812 w 1001288"/>
                <a:gd name="connsiteY6" fmla="*/ 1041429 h 1043350"/>
                <a:gd name="connsiteX7" fmla="*/ 988505 w 1001288"/>
                <a:gd name="connsiteY7" fmla="*/ 946484 h 104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1288" h="1043350">
                  <a:moveTo>
                    <a:pt x="988505" y="946484"/>
                  </a:moveTo>
                  <a:cubicBezTo>
                    <a:pt x="1044877" y="893077"/>
                    <a:pt x="905426" y="789231"/>
                    <a:pt x="754108" y="741758"/>
                  </a:cubicBezTo>
                  <a:cubicBezTo>
                    <a:pt x="513779" y="664616"/>
                    <a:pt x="243778" y="605275"/>
                    <a:pt x="243778" y="605275"/>
                  </a:cubicBezTo>
                  <a:lnTo>
                    <a:pt x="214108" y="0"/>
                  </a:lnTo>
                  <a:lnTo>
                    <a:pt x="53889" y="50440"/>
                  </a:lnTo>
                  <a:cubicBezTo>
                    <a:pt x="53889" y="50440"/>
                    <a:pt x="-38090" y="694286"/>
                    <a:pt x="18285" y="795165"/>
                  </a:cubicBezTo>
                  <a:cubicBezTo>
                    <a:pt x="68724" y="884176"/>
                    <a:pt x="427735" y="985055"/>
                    <a:pt x="780812" y="1041429"/>
                  </a:cubicBezTo>
                  <a:cubicBezTo>
                    <a:pt x="878724" y="1053297"/>
                    <a:pt x="920261" y="1008791"/>
                    <a:pt x="988505" y="946484"/>
                  </a:cubicBezTo>
                  <a:close/>
                </a:path>
              </a:pathLst>
            </a:custGeom>
            <a:solidFill>
              <a:srgbClr val="F49F84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8" name="图形 1">
              <a:extLst>
                <a:ext uri="{FF2B5EF4-FFF2-40B4-BE49-F238E27FC236}">
                  <a16:creationId xmlns:a16="http://schemas.microsoft.com/office/drawing/2014/main" id="{73B0C30B-EEA0-4A6B-9A70-68C8A3E8BF3D}"/>
                </a:ext>
              </a:extLst>
            </p:cNvPr>
            <p:cNvGrpSpPr/>
            <p:nvPr/>
          </p:nvGrpSpPr>
          <p:grpSpPr>
            <a:xfrm>
              <a:off x="19779035" y="7386690"/>
              <a:ext cx="308572" cy="402502"/>
              <a:chOff x="19779035" y="7386690"/>
              <a:chExt cx="308572" cy="402502"/>
            </a:xfrm>
          </p:grpSpPr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7F401D9D-8709-4C3C-A7FB-A10AFE674CFB}"/>
                  </a:ext>
                </a:extLst>
              </p:cNvPr>
              <p:cNvSpPr/>
              <p:nvPr/>
            </p:nvSpPr>
            <p:spPr>
              <a:xfrm>
                <a:off x="19779035" y="7386690"/>
                <a:ext cx="308572" cy="402502"/>
              </a:xfrm>
              <a:custGeom>
                <a:avLst/>
                <a:gdLst>
                  <a:gd name="connsiteX0" fmla="*/ 0 w 308572"/>
                  <a:gd name="connsiteY0" fmla="*/ 400549 h 402502"/>
                  <a:gd name="connsiteX1" fmla="*/ 71210 w 308572"/>
                  <a:gd name="connsiteY1" fmla="*/ 0 h 402502"/>
                  <a:gd name="connsiteX2" fmla="*/ 308572 w 308572"/>
                  <a:gd name="connsiteY2" fmla="*/ 308571 h 402502"/>
                  <a:gd name="connsiteX3" fmla="*/ 0 w 308572"/>
                  <a:gd name="connsiteY3" fmla="*/ 400549 h 402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8572" h="402502">
                    <a:moveTo>
                      <a:pt x="0" y="400549"/>
                    </a:moveTo>
                    <a:lnTo>
                      <a:pt x="71210" y="0"/>
                    </a:lnTo>
                    <a:lnTo>
                      <a:pt x="308572" y="308571"/>
                    </a:lnTo>
                    <a:cubicBezTo>
                      <a:pt x="308572" y="308571"/>
                      <a:pt x="225496" y="418351"/>
                      <a:pt x="0" y="400549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7A2AB256-2A85-4A6B-8AD7-7994D60CBDD4}"/>
                  </a:ext>
                </a:extLst>
              </p:cNvPr>
              <p:cNvSpPr/>
              <p:nvPr/>
            </p:nvSpPr>
            <p:spPr>
              <a:xfrm>
                <a:off x="19883231" y="7520207"/>
                <a:ext cx="27837" cy="29670"/>
              </a:xfrm>
              <a:custGeom>
                <a:avLst/>
                <a:gdLst>
                  <a:gd name="connsiteX0" fmla="*/ 14486 w 27837"/>
                  <a:gd name="connsiteY0" fmla="*/ 0 h 29670"/>
                  <a:gd name="connsiteX1" fmla="*/ 14486 w 27837"/>
                  <a:gd name="connsiteY1" fmla="*/ 29670 h 29670"/>
                  <a:gd name="connsiteX2" fmla="*/ 14486 w 27837"/>
                  <a:gd name="connsiteY2" fmla="*/ 0 h 2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837" h="29670">
                    <a:moveTo>
                      <a:pt x="14486" y="0"/>
                    </a:moveTo>
                    <a:cubicBezTo>
                      <a:pt x="-3316" y="0"/>
                      <a:pt x="-6284" y="29670"/>
                      <a:pt x="14486" y="29670"/>
                    </a:cubicBezTo>
                    <a:cubicBezTo>
                      <a:pt x="32289" y="29670"/>
                      <a:pt x="32289" y="0"/>
                      <a:pt x="14486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43CB47B5-7707-4D89-B008-37FE74EAB78F}"/>
                  </a:ext>
                </a:extLst>
              </p:cNvPr>
              <p:cNvSpPr/>
              <p:nvPr/>
            </p:nvSpPr>
            <p:spPr>
              <a:xfrm>
                <a:off x="19856528" y="7588448"/>
                <a:ext cx="27837" cy="29878"/>
              </a:xfrm>
              <a:custGeom>
                <a:avLst/>
                <a:gdLst>
                  <a:gd name="connsiteX0" fmla="*/ 14486 w 27837"/>
                  <a:gd name="connsiteY0" fmla="*/ 0 h 29878"/>
                  <a:gd name="connsiteX1" fmla="*/ 14486 w 27837"/>
                  <a:gd name="connsiteY1" fmla="*/ 29670 h 29878"/>
                  <a:gd name="connsiteX2" fmla="*/ 14486 w 27837"/>
                  <a:gd name="connsiteY2" fmla="*/ 0 h 29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837" h="29878">
                    <a:moveTo>
                      <a:pt x="14486" y="0"/>
                    </a:moveTo>
                    <a:cubicBezTo>
                      <a:pt x="-3317" y="0"/>
                      <a:pt x="-6283" y="29670"/>
                      <a:pt x="14486" y="29670"/>
                    </a:cubicBezTo>
                    <a:cubicBezTo>
                      <a:pt x="32288" y="32638"/>
                      <a:pt x="32288" y="2967"/>
                      <a:pt x="14486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AD34BCC5-1FF1-44B8-A528-AB306703C79F}"/>
                  </a:ext>
                </a:extLst>
              </p:cNvPr>
              <p:cNvSpPr/>
              <p:nvPr/>
            </p:nvSpPr>
            <p:spPr>
              <a:xfrm>
                <a:off x="19954440" y="7624053"/>
                <a:ext cx="28971" cy="29670"/>
              </a:xfrm>
              <a:custGeom>
                <a:avLst/>
                <a:gdLst>
                  <a:gd name="connsiteX0" fmla="*/ 14486 w 28971"/>
                  <a:gd name="connsiteY0" fmla="*/ 0 h 29670"/>
                  <a:gd name="connsiteX1" fmla="*/ 14486 w 28971"/>
                  <a:gd name="connsiteY1" fmla="*/ 29670 h 29670"/>
                  <a:gd name="connsiteX2" fmla="*/ 14486 w 28971"/>
                  <a:gd name="connsiteY2" fmla="*/ 0 h 2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971" h="29670">
                    <a:moveTo>
                      <a:pt x="14486" y="0"/>
                    </a:moveTo>
                    <a:cubicBezTo>
                      <a:pt x="-3317" y="0"/>
                      <a:pt x="-6283" y="29670"/>
                      <a:pt x="14486" y="29670"/>
                    </a:cubicBezTo>
                    <a:cubicBezTo>
                      <a:pt x="32288" y="29670"/>
                      <a:pt x="35256" y="0"/>
                      <a:pt x="14486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EE1E0DA3-392A-4159-9570-A689CC161815}"/>
                  </a:ext>
                </a:extLst>
              </p:cNvPr>
              <p:cNvSpPr/>
              <p:nvPr/>
            </p:nvSpPr>
            <p:spPr>
              <a:xfrm>
                <a:off x="19844660" y="7677459"/>
                <a:ext cx="30062" cy="29670"/>
              </a:xfrm>
              <a:custGeom>
                <a:avLst/>
                <a:gdLst>
                  <a:gd name="connsiteX0" fmla="*/ 14486 w 30062"/>
                  <a:gd name="connsiteY0" fmla="*/ 0 h 29670"/>
                  <a:gd name="connsiteX1" fmla="*/ 14486 w 30062"/>
                  <a:gd name="connsiteY1" fmla="*/ 29670 h 29670"/>
                  <a:gd name="connsiteX2" fmla="*/ 14486 w 30062"/>
                  <a:gd name="connsiteY2" fmla="*/ 0 h 2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062" h="29670">
                    <a:moveTo>
                      <a:pt x="14486" y="0"/>
                    </a:moveTo>
                    <a:cubicBezTo>
                      <a:pt x="-3316" y="0"/>
                      <a:pt x="-6284" y="29670"/>
                      <a:pt x="14486" y="29670"/>
                    </a:cubicBezTo>
                    <a:cubicBezTo>
                      <a:pt x="35255" y="29670"/>
                      <a:pt x="35255" y="0"/>
                      <a:pt x="14486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91DD3D7F-830F-49B9-A5F4-5B149141F1A3}"/>
                  </a:ext>
                </a:extLst>
              </p:cNvPr>
              <p:cNvSpPr/>
              <p:nvPr/>
            </p:nvSpPr>
            <p:spPr>
              <a:xfrm>
                <a:off x="19927737" y="7713064"/>
                <a:ext cx="27837" cy="29670"/>
              </a:xfrm>
              <a:custGeom>
                <a:avLst/>
                <a:gdLst>
                  <a:gd name="connsiteX0" fmla="*/ 14486 w 27837"/>
                  <a:gd name="connsiteY0" fmla="*/ 0 h 29670"/>
                  <a:gd name="connsiteX1" fmla="*/ 14486 w 27837"/>
                  <a:gd name="connsiteY1" fmla="*/ 29670 h 29670"/>
                  <a:gd name="connsiteX2" fmla="*/ 14486 w 27837"/>
                  <a:gd name="connsiteY2" fmla="*/ 0 h 2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837" h="29670">
                    <a:moveTo>
                      <a:pt x="14486" y="0"/>
                    </a:moveTo>
                    <a:cubicBezTo>
                      <a:pt x="-3316" y="0"/>
                      <a:pt x="-6284" y="29670"/>
                      <a:pt x="14486" y="29670"/>
                    </a:cubicBezTo>
                    <a:cubicBezTo>
                      <a:pt x="32289" y="29670"/>
                      <a:pt x="32289" y="0"/>
                      <a:pt x="14486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5E75174C-22ED-4ECD-9D6B-49DDB5AE7499}"/>
                </a:ext>
              </a:extLst>
            </p:cNvPr>
            <p:cNvSpPr/>
            <p:nvPr/>
          </p:nvSpPr>
          <p:spPr>
            <a:xfrm>
              <a:off x="19233102" y="8256031"/>
              <a:ext cx="585949" cy="446376"/>
            </a:xfrm>
            <a:custGeom>
              <a:avLst/>
              <a:gdLst>
                <a:gd name="connsiteX0" fmla="*/ 86043 w 585949"/>
                <a:gd name="connsiteY0" fmla="*/ 0 h 446376"/>
                <a:gd name="connsiteX1" fmla="*/ 584504 w 585949"/>
                <a:gd name="connsiteY1" fmla="*/ 258132 h 446376"/>
                <a:gd name="connsiteX2" fmla="*/ 0 w 585949"/>
                <a:gd name="connsiteY2" fmla="*/ 400549 h 446376"/>
                <a:gd name="connsiteX3" fmla="*/ 86043 w 585949"/>
                <a:gd name="connsiteY3" fmla="*/ 0 h 446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5949" h="446376">
                  <a:moveTo>
                    <a:pt x="86043" y="0"/>
                  </a:moveTo>
                  <a:cubicBezTo>
                    <a:pt x="86043" y="0"/>
                    <a:pt x="617143" y="118681"/>
                    <a:pt x="584504" y="258132"/>
                  </a:cubicBezTo>
                  <a:cubicBezTo>
                    <a:pt x="510328" y="569671"/>
                    <a:pt x="0" y="400549"/>
                    <a:pt x="0" y="400549"/>
                  </a:cubicBezTo>
                  <a:cubicBezTo>
                    <a:pt x="0" y="400549"/>
                    <a:pt x="0" y="195824"/>
                    <a:pt x="86043" y="0"/>
                  </a:cubicBezTo>
                  <a:close/>
                </a:path>
              </a:pathLst>
            </a:custGeom>
            <a:solidFill>
              <a:srgbClr val="F1DDBA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A74BCE6D-705A-4149-A158-3D9996E66225}"/>
                </a:ext>
              </a:extLst>
            </p:cNvPr>
            <p:cNvSpPr/>
            <p:nvPr/>
          </p:nvSpPr>
          <p:spPr>
            <a:xfrm>
              <a:off x="19506068" y="8635811"/>
              <a:ext cx="44505" cy="335274"/>
            </a:xfrm>
            <a:custGeom>
              <a:avLst/>
              <a:gdLst>
                <a:gd name="connsiteX0" fmla="*/ 5934 w 44505"/>
                <a:gd name="connsiteY0" fmla="*/ 335275 h 335274"/>
                <a:gd name="connsiteX1" fmla="*/ 5934 w 44505"/>
                <a:gd name="connsiteY1" fmla="*/ 335275 h 335274"/>
                <a:gd name="connsiteX2" fmla="*/ 0 w 44505"/>
                <a:gd name="connsiteY2" fmla="*/ 329341 h 335274"/>
                <a:gd name="connsiteX3" fmla="*/ 32638 w 44505"/>
                <a:gd name="connsiteY3" fmla="*/ 5934 h 335274"/>
                <a:gd name="connsiteX4" fmla="*/ 38573 w 44505"/>
                <a:gd name="connsiteY4" fmla="*/ 0 h 335274"/>
                <a:gd name="connsiteX5" fmla="*/ 44505 w 44505"/>
                <a:gd name="connsiteY5" fmla="*/ 5934 h 335274"/>
                <a:gd name="connsiteX6" fmla="*/ 11869 w 44505"/>
                <a:gd name="connsiteY6" fmla="*/ 329341 h 335274"/>
                <a:gd name="connsiteX7" fmla="*/ 5934 w 44505"/>
                <a:gd name="connsiteY7" fmla="*/ 335275 h 335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505" h="335274">
                  <a:moveTo>
                    <a:pt x="5934" y="335275"/>
                  </a:moveTo>
                  <a:cubicBezTo>
                    <a:pt x="5934" y="335275"/>
                    <a:pt x="5934" y="335275"/>
                    <a:pt x="5934" y="335275"/>
                  </a:cubicBezTo>
                  <a:cubicBezTo>
                    <a:pt x="2968" y="335275"/>
                    <a:pt x="0" y="332308"/>
                    <a:pt x="0" y="329341"/>
                  </a:cubicBezTo>
                  <a:cubicBezTo>
                    <a:pt x="5934" y="234396"/>
                    <a:pt x="32638" y="8901"/>
                    <a:pt x="32638" y="5934"/>
                  </a:cubicBezTo>
                  <a:cubicBezTo>
                    <a:pt x="32638" y="2967"/>
                    <a:pt x="35605" y="0"/>
                    <a:pt x="38573" y="0"/>
                  </a:cubicBezTo>
                  <a:cubicBezTo>
                    <a:pt x="41539" y="0"/>
                    <a:pt x="44505" y="2967"/>
                    <a:pt x="44505" y="5934"/>
                  </a:cubicBezTo>
                  <a:cubicBezTo>
                    <a:pt x="44505" y="8901"/>
                    <a:pt x="17803" y="231429"/>
                    <a:pt x="11869" y="329341"/>
                  </a:cubicBezTo>
                  <a:cubicBezTo>
                    <a:pt x="11869" y="332308"/>
                    <a:pt x="8903" y="335275"/>
                    <a:pt x="5934" y="335275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63CBD442-EEF2-4959-B4A8-9A3F1ABDE27B}"/>
                </a:ext>
              </a:extLst>
            </p:cNvPr>
            <p:cNvSpPr/>
            <p:nvPr/>
          </p:nvSpPr>
          <p:spPr>
            <a:xfrm>
              <a:off x="19311982" y="8251835"/>
              <a:ext cx="436641" cy="164415"/>
            </a:xfrm>
            <a:custGeom>
              <a:avLst/>
              <a:gdLst>
                <a:gd name="connsiteX0" fmla="*/ 431448 w 436641"/>
                <a:gd name="connsiteY0" fmla="*/ 164416 h 164415"/>
                <a:gd name="connsiteX1" fmla="*/ 428482 w 436641"/>
                <a:gd name="connsiteY1" fmla="*/ 164416 h 164415"/>
                <a:gd name="connsiteX2" fmla="*/ 4197 w 436641"/>
                <a:gd name="connsiteY2" fmla="*/ 10130 h 164415"/>
                <a:gd name="connsiteX3" fmla="*/ 1229 w 436641"/>
                <a:gd name="connsiteY3" fmla="*/ 4196 h 164415"/>
                <a:gd name="connsiteX4" fmla="*/ 7163 w 436641"/>
                <a:gd name="connsiteY4" fmla="*/ 1229 h 164415"/>
                <a:gd name="connsiteX5" fmla="*/ 434417 w 436641"/>
                <a:gd name="connsiteY5" fmla="*/ 155515 h 164415"/>
                <a:gd name="connsiteX6" fmla="*/ 434417 w 436641"/>
                <a:gd name="connsiteY6" fmla="*/ 164416 h 164415"/>
                <a:gd name="connsiteX7" fmla="*/ 431448 w 436641"/>
                <a:gd name="connsiteY7" fmla="*/ 164416 h 16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6641" h="164415">
                  <a:moveTo>
                    <a:pt x="431448" y="164416"/>
                  </a:moveTo>
                  <a:cubicBezTo>
                    <a:pt x="431448" y="164416"/>
                    <a:pt x="428482" y="164416"/>
                    <a:pt x="428482" y="164416"/>
                  </a:cubicBezTo>
                  <a:cubicBezTo>
                    <a:pt x="324636" y="90240"/>
                    <a:pt x="10131" y="13097"/>
                    <a:pt x="4197" y="10130"/>
                  </a:cubicBezTo>
                  <a:cubicBezTo>
                    <a:pt x="1229" y="10130"/>
                    <a:pt x="-1738" y="7163"/>
                    <a:pt x="1229" y="4196"/>
                  </a:cubicBezTo>
                  <a:cubicBezTo>
                    <a:pt x="1229" y="1229"/>
                    <a:pt x="4197" y="-1738"/>
                    <a:pt x="7163" y="1229"/>
                  </a:cubicBezTo>
                  <a:cubicBezTo>
                    <a:pt x="19032" y="4196"/>
                    <a:pt x="330570" y="81339"/>
                    <a:pt x="434417" y="155515"/>
                  </a:cubicBezTo>
                  <a:cubicBezTo>
                    <a:pt x="437383" y="158482"/>
                    <a:pt x="437383" y="161449"/>
                    <a:pt x="434417" y="164416"/>
                  </a:cubicBezTo>
                  <a:cubicBezTo>
                    <a:pt x="434417" y="161449"/>
                    <a:pt x="434417" y="164416"/>
                    <a:pt x="431448" y="164416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6" name="图形 1">
            <a:extLst>
              <a:ext uri="{FF2B5EF4-FFF2-40B4-BE49-F238E27FC236}">
                <a16:creationId xmlns:a16="http://schemas.microsoft.com/office/drawing/2014/main" id="{5515881F-F2E2-4D72-945F-74B67AAF7709}"/>
              </a:ext>
            </a:extLst>
          </p:cNvPr>
          <p:cNvGrpSpPr/>
          <p:nvPr/>
        </p:nvGrpSpPr>
        <p:grpSpPr>
          <a:xfrm>
            <a:off x="6401446" y="2238331"/>
            <a:ext cx="2968196" cy="4618652"/>
            <a:chOff x="22289146" y="7822844"/>
            <a:chExt cx="2968196" cy="4618652"/>
          </a:xfrm>
        </p:grpSpPr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5C19BDD5-C337-4789-A772-876AD49BB8F9}"/>
                </a:ext>
              </a:extLst>
            </p:cNvPr>
            <p:cNvSpPr/>
            <p:nvPr/>
          </p:nvSpPr>
          <p:spPr>
            <a:xfrm>
              <a:off x="23265821" y="8112299"/>
              <a:ext cx="548703" cy="734291"/>
            </a:xfrm>
            <a:custGeom>
              <a:avLst/>
              <a:gdLst>
                <a:gd name="connsiteX0" fmla="*/ 462336 w 548703"/>
                <a:gd name="connsiteY0" fmla="*/ 452304 h 734291"/>
                <a:gd name="connsiteX1" fmla="*/ 462336 w 548703"/>
                <a:gd name="connsiteY1" fmla="*/ 295051 h 734291"/>
                <a:gd name="connsiteX2" fmla="*/ 509808 w 548703"/>
                <a:gd name="connsiteY2" fmla="*/ 155600 h 734291"/>
                <a:gd name="connsiteX3" fmla="*/ 548379 w 548703"/>
                <a:gd name="connsiteY3" fmla="*/ 10216 h 734291"/>
                <a:gd name="connsiteX4" fmla="*/ 239809 w 548703"/>
                <a:gd name="connsiteY4" fmla="*/ 173402 h 734291"/>
                <a:gd name="connsiteX5" fmla="*/ 236841 w 548703"/>
                <a:gd name="connsiteY5" fmla="*/ 229776 h 734291"/>
                <a:gd name="connsiteX6" fmla="*/ 189369 w 548703"/>
                <a:gd name="connsiteY6" fmla="*/ 283183 h 734291"/>
                <a:gd name="connsiteX7" fmla="*/ 135963 w 548703"/>
                <a:gd name="connsiteY7" fmla="*/ 348458 h 734291"/>
                <a:gd name="connsiteX8" fmla="*/ 132995 w 548703"/>
                <a:gd name="connsiteY8" fmla="*/ 434501 h 734291"/>
                <a:gd name="connsiteX9" fmla="*/ 109259 w 548703"/>
                <a:gd name="connsiteY9" fmla="*/ 505710 h 734291"/>
                <a:gd name="connsiteX10" fmla="*/ 55853 w 548703"/>
                <a:gd name="connsiteY10" fmla="*/ 538348 h 734291"/>
                <a:gd name="connsiteX11" fmla="*/ 17282 w 548703"/>
                <a:gd name="connsiteY11" fmla="*/ 657029 h 734291"/>
                <a:gd name="connsiteX12" fmla="*/ 216071 w 548703"/>
                <a:gd name="connsiteY12" fmla="*/ 689666 h 734291"/>
                <a:gd name="connsiteX13" fmla="*/ 287281 w 548703"/>
                <a:gd name="connsiteY13" fmla="*/ 731205 h 734291"/>
                <a:gd name="connsiteX14" fmla="*/ 379258 w 548703"/>
                <a:gd name="connsiteY14" fmla="*/ 725271 h 734291"/>
                <a:gd name="connsiteX15" fmla="*/ 474204 w 548703"/>
                <a:gd name="connsiteY15" fmla="*/ 573952 h 734291"/>
                <a:gd name="connsiteX16" fmla="*/ 462336 w 548703"/>
                <a:gd name="connsiteY16" fmla="*/ 452304 h 734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8703" h="734291">
                  <a:moveTo>
                    <a:pt x="462336" y="452304"/>
                  </a:moveTo>
                  <a:cubicBezTo>
                    <a:pt x="456402" y="401864"/>
                    <a:pt x="453434" y="348458"/>
                    <a:pt x="462336" y="295051"/>
                  </a:cubicBezTo>
                  <a:cubicBezTo>
                    <a:pt x="471237" y="244611"/>
                    <a:pt x="486072" y="200106"/>
                    <a:pt x="509808" y="155600"/>
                  </a:cubicBezTo>
                  <a:cubicBezTo>
                    <a:pt x="533544" y="108128"/>
                    <a:pt x="551347" y="10216"/>
                    <a:pt x="548379" y="10216"/>
                  </a:cubicBezTo>
                  <a:cubicBezTo>
                    <a:pt x="438599" y="-28356"/>
                    <a:pt x="239809" y="45820"/>
                    <a:pt x="239809" y="173402"/>
                  </a:cubicBezTo>
                  <a:cubicBezTo>
                    <a:pt x="239809" y="194172"/>
                    <a:pt x="242775" y="211974"/>
                    <a:pt x="236841" y="229776"/>
                  </a:cubicBezTo>
                  <a:cubicBezTo>
                    <a:pt x="230906" y="259447"/>
                    <a:pt x="210139" y="268348"/>
                    <a:pt x="189369" y="283183"/>
                  </a:cubicBezTo>
                  <a:cubicBezTo>
                    <a:pt x="165633" y="298018"/>
                    <a:pt x="144864" y="318787"/>
                    <a:pt x="135963" y="348458"/>
                  </a:cubicBezTo>
                  <a:cubicBezTo>
                    <a:pt x="124094" y="378128"/>
                    <a:pt x="130028" y="404831"/>
                    <a:pt x="132995" y="434501"/>
                  </a:cubicBezTo>
                  <a:cubicBezTo>
                    <a:pt x="138929" y="467139"/>
                    <a:pt x="135963" y="487908"/>
                    <a:pt x="109259" y="505710"/>
                  </a:cubicBezTo>
                  <a:cubicBezTo>
                    <a:pt x="91457" y="517578"/>
                    <a:pt x="73654" y="526480"/>
                    <a:pt x="55853" y="538348"/>
                  </a:cubicBezTo>
                  <a:cubicBezTo>
                    <a:pt x="17282" y="562084"/>
                    <a:pt x="-24258" y="615491"/>
                    <a:pt x="17282" y="657029"/>
                  </a:cubicBezTo>
                  <a:cubicBezTo>
                    <a:pt x="70688" y="713403"/>
                    <a:pt x="156731" y="651095"/>
                    <a:pt x="216071" y="689666"/>
                  </a:cubicBezTo>
                  <a:cubicBezTo>
                    <a:pt x="239809" y="704502"/>
                    <a:pt x="257610" y="725271"/>
                    <a:pt x="287281" y="731205"/>
                  </a:cubicBezTo>
                  <a:cubicBezTo>
                    <a:pt x="313985" y="737139"/>
                    <a:pt x="352556" y="734172"/>
                    <a:pt x="379258" y="725271"/>
                  </a:cubicBezTo>
                  <a:cubicBezTo>
                    <a:pt x="432666" y="707468"/>
                    <a:pt x="465303" y="624392"/>
                    <a:pt x="474204" y="573952"/>
                  </a:cubicBezTo>
                  <a:cubicBezTo>
                    <a:pt x="477172" y="535381"/>
                    <a:pt x="468269" y="493842"/>
                    <a:pt x="462336" y="452304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22C08C56-1532-49C7-99E1-CFA3904B667B}"/>
                </a:ext>
              </a:extLst>
            </p:cNvPr>
            <p:cNvSpPr/>
            <p:nvPr/>
          </p:nvSpPr>
          <p:spPr>
            <a:xfrm>
              <a:off x="23787957" y="8422064"/>
              <a:ext cx="270138" cy="432320"/>
            </a:xfrm>
            <a:custGeom>
              <a:avLst/>
              <a:gdLst>
                <a:gd name="connsiteX0" fmla="*/ 260640 w 270138"/>
                <a:gd name="connsiteY0" fmla="*/ 338362 h 432320"/>
                <a:gd name="connsiteX1" fmla="*/ 210200 w 270138"/>
                <a:gd name="connsiteY1" fmla="*/ 281988 h 432320"/>
                <a:gd name="connsiteX2" fmla="*/ 219101 w 270138"/>
                <a:gd name="connsiteY2" fmla="*/ 190010 h 432320"/>
                <a:gd name="connsiteX3" fmla="*/ 186464 w 270138"/>
                <a:gd name="connsiteY3" fmla="*/ 20889 h 432320"/>
                <a:gd name="connsiteX4" fmla="*/ 189430 w 270138"/>
                <a:gd name="connsiteY4" fmla="*/ 9021 h 432320"/>
                <a:gd name="connsiteX5" fmla="*/ 177563 w 270138"/>
                <a:gd name="connsiteY5" fmla="*/ 3087 h 432320"/>
                <a:gd name="connsiteX6" fmla="*/ 168661 w 270138"/>
                <a:gd name="connsiteY6" fmla="*/ 11988 h 432320"/>
                <a:gd name="connsiteX7" fmla="*/ 171629 w 270138"/>
                <a:gd name="connsiteY7" fmla="*/ 23857 h 432320"/>
                <a:gd name="connsiteX8" fmla="*/ 121189 w 270138"/>
                <a:gd name="connsiteY8" fmla="*/ 89131 h 432320"/>
                <a:gd name="connsiteX9" fmla="*/ 82618 w 270138"/>
                <a:gd name="connsiteY9" fmla="*/ 157373 h 432320"/>
                <a:gd name="connsiteX10" fmla="*/ 5474 w 270138"/>
                <a:gd name="connsiteY10" fmla="*/ 308692 h 432320"/>
                <a:gd name="connsiteX11" fmla="*/ 118223 w 270138"/>
                <a:gd name="connsiteY11" fmla="*/ 427373 h 432320"/>
                <a:gd name="connsiteX12" fmla="*/ 213166 w 270138"/>
                <a:gd name="connsiteY12" fmla="*/ 430340 h 432320"/>
                <a:gd name="connsiteX13" fmla="*/ 254705 w 270138"/>
                <a:gd name="connsiteY13" fmla="*/ 412538 h 432320"/>
                <a:gd name="connsiteX14" fmla="*/ 260640 w 270138"/>
                <a:gd name="connsiteY14" fmla="*/ 338362 h 432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0138" h="432320">
                  <a:moveTo>
                    <a:pt x="260640" y="338362"/>
                  </a:moveTo>
                  <a:cubicBezTo>
                    <a:pt x="248771" y="317593"/>
                    <a:pt x="222069" y="305725"/>
                    <a:pt x="210200" y="281988"/>
                  </a:cubicBezTo>
                  <a:cubicBezTo>
                    <a:pt x="198331" y="252318"/>
                    <a:pt x="216134" y="219681"/>
                    <a:pt x="219101" y="190010"/>
                  </a:cubicBezTo>
                  <a:cubicBezTo>
                    <a:pt x="225035" y="136604"/>
                    <a:pt x="201299" y="74296"/>
                    <a:pt x="186464" y="20889"/>
                  </a:cubicBezTo>
                  <a:cubicBezTo>
                    <a:pt x="186464" y="17923"/>
                    <a:pt x="189430" y="11988"/>
                    <a:pt x="189430" y="9021"/>
                  </a:cubicBezTo>
                  <a:cubicBezTo>
                    <a:pt x="189430" y="120"/>
                    <a:pt x="180530" y="-2847"/>
                    <a:pt x="177563" y="3087"/>
                  </a:cubicBezTo>
                  <a:cubicBezTo>
                    <a:pt x="171629" y="3087"/>
                    <a:pt x="165694" y="6054"/>
                    <a:pt x="168661" y="11988"/>
                  </a:cubicBezTo>
                  <a:cubicBezTo>
                    <a:pt x="168661" y="14955"/>
                    <a:pt x="171629" y="17923"/>
                    <a:pt x="171629" y="23857"/>
                  </a:cubicBezTo>
                  <a:cubicBezTo>
                    <a:pt x="162728" y="50560"/>
                    <a:pt x="138990" y="68362"/>
                    <a:pt x="121189" y="89131"/>
                  </a:cubicBezTo>
                  <a:cubicBezTo>
                    <a:pt x="103387" y="109900"/>
                    <a:pt x="94485" y="133637"/>
                    <a:pt x="82618" y="157373"/>
                  </a:cubicBezTo>
                  <a:cubicBezTo>
                    <a:pt x="58882" y="207813"/>
                    <a:pt x="20309" y="255285"/>
                    <a:pt x="5474" y="308692"/>
                  </a:cubicBezTo>
                  <a:cubicBezTo>
                    <a:pt x="-18262" y="385835"/>
                    <a:pt x="38112" y="451109"/>
                    <a:pt x="118223" y="427373"/>
                  </a:cubicBezTo>
                  <a:cubicBezTo>
                    <a:pt x="156794" y="415505"/>
                    <a:pt x="177563" y="430340"/>
                    <a:pt x="213166" y="430340"/>
                  </a:cubicBezTo>
                  <a:cubicBezTo>
                    <a:pt x="228001" y="430340"/>
                    <a:pt x="242837" y="424406"/>
                    <a:pt x="254705" y="412538"/>
                  </a:cubicBezTo>
                  <a:cubicBezTo>
                    <a:pt x="272507" y="388802"/>
                    <a:pt x="275475" y="359131"/>
                    <a:pt x="260640" y="338362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03CB75ED-6A93-45FA-85CB-57008FD5927B}"/>
                </a:ext>
              </a:extLst>
            </p:cNvPr>
            <p:cNvSpPr/>
            <p:nvPr/>
          </p:nvSpPr>
          <p:spPr>
            <a:xfrm>
              <a:off x="22535377" y="8996318"/>
              <a:ext cx="915986" cy="407084"/>
            </a:xfrm>
            <a:custGeom>
              <a:avLst/>
              <a:gdLst>
                <a:gd name="connsiteX0" fmla="*/ 756626 w 915986"/>
                <a:gd name="connsiteY0" fmla="*/ 1471 h 407084"/>
                <a:gd name="connsiteX1" fmla="*/ 394647 w 915986"/>
                <a:gd name="connsiteY1" fmla="*/ 209163 h 407084"/>
                <a:gd name="connsiteX2" fmla="*/ 44538 w 915986"/>
                <a:gd name="connsiteY2" fmla="*/ 1471 h 407084"/>
                <a:gd name="connsiteX3" fmla="*/ 32 w 915986"/>
                <a:gd name="connsiteY3" fmla="*/ 93449 h 407084"/>
                <a:gd name="connsiteX4" fmla="*/ 409483 w 915986"/>
                <a:gd name="connsiteY4" fmla="*/ 404987 h 407084"/>
                <a:gd name="connsiteX5" fmla="*/ 887174 w 915986"/>
                <a:gd name="connsiteY5" fmla="*/ 200262 h 407084"/>
                <a:gd name="connsiteX6" fmla="*/ 756626 w 915986"/>
                <a:gd name="connsiteY6" fmla="*/ 1471 h 407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5986" h="407084">
                  <a:moveTo>
                    <a:pt x="756626" y="1471"/>
                  </a:moveTo>
                  <a:cubicBezTo>
                    <a:pt x="670581" y="10372"/>
                    <a:pt x="394647" y="209163"/>
                    <a:pt x="394647" y="209163"/>
                  </a:cubicBezTo>
                  <a:cubicBezTo>
                    <a:pt x="394647" y="209163"/>
                    <a:pt x="50472" y="-4463"/>
                    <a:pt x="44538" y="1471"/>
                  </a:cubicBezTo>
                  <a:cubicBezTo>
                    <a:pt x="-14803" y="37076"/>
                    <a:pt x="20802" y="28174"/>
                    <a:pt x="32" y="93449"/>
                  </a:cubicBezTo>
                  <a:cubicBezTo>
                    <a:pt x="-2936" y="102350"/>
                    <a:pt x="198824" y="345647"/>
                    <a:pt x="409483" y="404987"/>
                  </a:cubicBezTo>
                  <a:cubicBezTo>
                    <a:pt x="471790" y="422790"/>
                    <a:pt x="780362" y="324877"/>
                    <a:pt x="887174" y="200262"/>
                  </a:cubicBezTo>
                  <a:cubicBezTo>
                    <a:pt x="943549" y="132021"/>
                    <a:pt x="925747" y="-16331"/>
                    <a:pt x="756626" y="1471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F2D9EA5C-5E4A-436F-95FC-81651505A5B7}"/>
                </a:ext>
              </a:extLst>
            </p:cNvPr>
            <p:cNvSpPr/>
            <p:nvPr/>
          </p:nvSpPr>
          <p:spPr>
            <a:xfrm>
              <a:off x="22389194" y="8849229"/>
              <a:ext cx="216146" cy="238110"/>
            </a:xfrm>
            <a:custGeom>
              <a:avLst/>
              <a:gdLst>
                <a:gd name="connsiteX0" fmla="*/ 33469 w 216146"/>
                <a:gd name="connsiteY0" fmla="*/ 178230 h 238110"/>
                <a:gd name="connsiteX1" fmla="*/ 146216 w 216146"/>
                <a:gd name="connsiteY1" fmla="*/ 237571 h 238110"/>
                <a:gd name="connsiteX2" fmla="*/ 214457 w 216146"/>
                <a:gd name="connsiteY2" fmla="*/ 163395 h 238110"/>
                <a:gd name="connsiteX3" fmla="*/ 54237 w 216146"/>
                <a:gd name="connsiteY3" fmla="*/ 208 h 238110"/>
                <a:gd name="connsiteX4" fmla="*/ 30501 w 216146"/>
                <a:gd name="connsiteY4" fmla="*/ 32845 h 238110"/>
                <a:gd name="connsiteX5" fmla="*/ 830 w 216146"/>
                <a:gd name="connsiteY5" fmla="*/ 68450 h 238110"/>
                <a:gd name="connsiteX6" fmla="*/ 3798 w 216146"/>
                <a:gd name="connsiteY6" fmla="*/ 101087 h 238110"/>
                <a:gd name="connsiteX7" fmla="*/ 15666 w 216146"/>
                <a:gd name="connsiteY7" fmla="*/ 145593 h 238110"/>
                <a:gd name="connsiteX8" fmla="*/ 33469 w 216146"/>
                <a:gd name="connsiteY8" fmla="*/ 178230 h 238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146" h="238110">
                  <a:moveTo>
                    <a:pt x="33469" y="178230"/>
                  </a:moveTo>
                  <a:cubicBezTo>
                    <a:pt x="63139" y="198999"/>
                    <a:pt x="107645" y="243505"/>
                    <a:pt x="146216" y="237571"/>
                  </a:cubicBezTo>
                  <a:cubicBezTo>
                    <a:pt x="172918" y="231637"/>
                    <a:pt x="214457" y="163395"/>
                    <a:pt x="214457" y="163395"/>
                  </a:cubicBezTo>
                  <a:cubicBezTo>
                    <a:pt x="232259" y="95153"/>
                    <a:pt x="104677" y="23944"/>
                    <a:pt x="54237" y="208"/>
                  </a:cubicBezTo>
                  <a:cubicBezTo>
                    <a:pt x="45336" y="-2759"/>
                    <a:pt x="24566" y="26911"/>
                    <a:pt x="30501" y="32845"/>
                  </a:cubicBezTo>
                  <a:cubicBezTo>
                    <a:pt x="42370" y="44713"/>
                    <a:pt x="3798" y="59549"/>
                    <a:pt x="830" y="68450"/>
                  </a:cubicBezTo>
                  <a:cubicBezTo>
                    <a:pt x="-2136" y="77351"/>
                    <a:pt x="3798" y="98120"/>
                    <a:pt x="3798" y="101087"/>
                  </a:cubicBezTo>
                  <a:cubicBezTo>
                    <a:pt x="3798" y="118889"/>
                    <a:pt x="15666" y="139659"/>
                    <a:pt x="15666" y="145593"/>
                  </a:cubicBezTo>
                  <a:cubicBezTo>
                    <a:pt x="9731" y="163395"/>
                    <a:pt x="12699" y="166362"/>
                    <a:pt x="33469" y="178230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1" name="图形 1">
              <a:extLst>
                <a:ext uri="{FF2B5EF4-FFF2-40B4-BE49-F238E27FC236}">
                  <a16:creationId xmlns:a16="http://schemas.microsoft.com/office/drawing/2014/main" id="{90166239-1C36-40BD-A60D-368A562FE813}"/>
                </a:ext>
              </a:extLst>
            </p:cNvPr>
            <p:cNvGrpSpPr/>
            <p:nvPr/>
          </p:nvGrpSpPr>
          <p:grpSpPr>
            <a:xfrm>
              <a:off x="22289146" y="8315371"/>
              <a:ext cx="308570" cy="824835"/>
              <a:chOff x="22289146" y="8315371"/>
              <a:chExt cx="308570" cy="824835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0953EB59-E15E-4CD0-83A2-8C6D5F64B361}"/>
                  </a:ext>
                </a:extLst>
              </p:cNvPr>
              <p:cNvSpPr/>
              <p:nvPr/>
            </p:nvSpPr>
            <p:spPr>
              <a:xfrm>
                <a:off x="22413761" y="8742624"/>
                <a:ext cx="59340" cy="367912"/>
              </a:xfrm>
              <a:custGeom>
                <a:avLst/>
                <a:gdLst>
                  <a:gd name="connsiteX0" fmla="*/ -1 w 59340"/>
                  <a:gd name="connsiteY0" fmla="*/ 0 h 367912"/>
                  <a:gd name="connsiteX1" fmla="*/ 59340 w 59340"/>
                  <a:gd name="connsiteY1" fmla="*/ 0 h 367912"/>
                  <a:gd name="connsiteX2" fmla="*/ 59340 w 59340"/>
                  <a:gd name="connsiteY2" fmla="*/ 367912 h 367912"/>
                  <a:gd name="connsiteX3" fmla="*/ -1 w 59340"/>
                  <a:gd name="connsiteY3" fmla="*/ 367912 h 36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340" h="367912">
                    <a:moveTo>
                      <a:pt x="-1" y="0"/>
                    </a:moveTo>
                    <a:lnTo>
                      <a:pt x="59340" y="0"/>
                    </a:lnTo>
                    <a:lnTo>
                      <a:pt x="59340" y="367912"/>
                    </a:lnTo>
                    <a:lnTo>
                      <a:pt x="-1" y="367912"/>
                    </a:ln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196FAE7E-C39C-4B2A-B3D6-F00C777147D1}"/>
                  </a:ext>
                </a:extLst>
              </p:cNvPr>
              <p:cNvSpPr/>
              <p:nvPr/>
            </p:nvSpPr>
            <p:spPr>
              <a:xfrm>
                <a:off x="22289146" y="9080866"/>
                <a:ext cx="308570" cy="59340"/>
              </a:xfrm>
              <a:custGeom>
                <a:avLst/>
                <a:gdLst>
                  <a:gd name="connsiteX0" fmla="*/ 308570 w 308570"/>
                  <a:gd name="connsiteY0" fmla="*/ 29670 h 59340"/>
                  <a:gd name="connsiteX1" fmla="*/ 154284 w 308570"/>
                  <a:gd name="connsiteY1" fmla="*/ 59341 h 59340"/>
                  <a:gd name="connsiteX2" fmla="*/ 0 w 308570"/>
                  <a:gd name="connsiteY2" fmla="*/ 29670 h 59340"/>
                  <a:gd name="connsiteX3" fmla="*/ 154284 w 308570"/>
                  <a:gd name="connsiteY3" fmla="*/ 0 h 59340"/>
                  <a:gd name="connsiteX4" fmla="*/ 308570 w 308570"/>
                  <a:gd name="connsiteY4" fmla="*/ 29670 h 59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0" h="59340">
                    <a:moveTo>
                      <a:pt x="308570" y="29670"/>
                    </a:moveTo>
                    <a:cubicBezTo>
                      <a:pt x="308570" y="44505"/>
                      <a:pt x="240329" y="59341"/>
                      <a:pt x="154284" y="59341"/>
                    </a:cubicBezTo>
                    <a:cubicBezTo>
                      <a:pt x="68241" y="59341"/>
                      <a:pt x="0" y="47473"/>
                      <a:pt x="0" y="29670"/>
                    </a:cubicBezTo>
                    <a:cubicBezTo>
                      <a:pt x="0" y="14835"/>
                      <a:pt x="68241" y="0"/>
                      <a:pt x="154284" y="0"/>
                    </a:cubicBezTo>
                    <a:cubicBezTo>
                      <a:pt x="240329" y="0"/>
                      <a:pt x="308570" y="14835"/>
                      <a:pt x="308570" y="2967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CF223251-87F4-4430-B930-3BBEB424CF3F}"/>
                  </a:ext>
                </a:extLst>
              </p:cNvPr>
              <p:cNvSpPr/>
              <p:nvPr/>
            </p:nvSpPr>
            <p:spPr>
              <a:xfrm>
                <a:off x="22298047" y="8345042"/>
                <a:ext cx="290768" cy="453956"/>
              </a:xfrm>
              <a:custGeom>
                <a:avLst/>
                <a:gdLst>
                  <a:gd name="connsiteX0" fmla="*/ 145384 w 290768"/>
                  <a:gd name="connsiteY0" fmla="*/ 453956 h 453956"/>
                  <a:gd name="connsiteX1" fmla="*/ 145384 w 290768"/>
                  <a:gd name="connsiteY1" fmla="*/ 453956 h 453956"/>
                  <a:gd name="connsiteX2" fmla="*/ 0 w 290768"/>
                  <a:gd name="connsiteY2" fmla="*/ 308572 h 453956"/>
                  <a:gd name="connsiteX3" fmla="*/ 0 w 290768"/>
                  <a:gd name="connsiteY3" fmla="*/ 0 h 453956"/>
                  <a:gd name="connsiteX4" fmla="*/ 290769 w 290768"/>
                  <a:gd name="connsiteY4" fmla="*/ 0 h 453956"/>
                  <a:gd name="connsiteX5" fmla="*/ 290769 w 290768"/>
                  <a:gd name="connsiteY5" fmla="*/ 308572 h 453956"/>
                  <a:gd name="connsiteX6" fmla="*/ 145384 w 290768"/>
                  <a:gd name="connsiteY6" fmla="*/ 453956 h 453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0768" h="453956">
                    <a:moveTo>
                      <a:pt x="145384" y="453956"/>
                    </a:moveTo>
                    <a:lnTo>
                      <a:pt x="145384" y="453956"/>
                    </a:lnTo>
                    <a:cubicBezTo>
                      <a:pt x="65275" y="453956"/>
                      <a:pt x="0" y="388682"/>
                      <a:pt x="0" y="308572"/>
                    </a:cubicBezTo>
                    <a:lnTo>
                      <a:pt x="0" y="0"/>
                    </a:lnTo>
                    <a:lnTo>
                      <a:pt x="290769" y="0"/>
                    </a:lnTo>
                    <a:lnTo>
                      <a:pt x="290769" y="308572"/>
                    </a:lnTo>
                    <a:cubicBezTo>
                      <a:pt x="290769" y="388682"/>
                      <a:pt x="225494" y="453956"/>
                      <a:pt x="145384" y="453956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B88856DE-8D21-4E17-B2E7-8129B9F35EC5}"/>
                  </a:ext>
                </a:extLst>
              </p:cNvPr>
              <p:cNvSpPr/>
              <p:nvPr/>
            </p:nvSpPr>
            <p:spPr>
              <a:xfrm>
                <a:off x="22321783" y="8537899"/>
                <a:ext cx="246263" cy="234395"/>
              </a:xfrm>
              <a:custGeom>
                <a:avLst/>
                <a:gdLst>
                  <a:gd name="connsiteX0" fmla="*/ 121648 w 246263"/>
                  <a:gd name="connsiteY0" fmla="*/ 234396 h 234395"/>
                  <a:gd name="connsiteX1" fmla="*/ 121648 w 246263"/>
                  <a:gd name="connsiteY1" fmla="*/ 234396 h 234395"/>
                  <a:gd name="connsiteX2" fmla="*/ 0 w 246263"/>
                  <a:gd name="connsiteY2" fmla="*/ 112747 h 234395"/>
                  <a:gd name="connsiteX3" fmla="*/ 0 w 246263"/>
                  <a:gd name="connsiteY3" fmla="*/ 0 h 234395"/>
                  <a:gd name="connsiteX4" fmla="*/ 246263 w 246263"/>
                  <a:gd name="connsiteY4" fmla="*/ 0 h 234395"/>
                  <a:gd name="connsiteX5" fmla="*/ 246263 w 246263"/>
                  <a:gd name="connsiteY5" fmla="*/ 112747 h 234395"/>
                  <a:gd name="connsiteX6" fmla="*/ 121648 w 246263"/>
                  <a:gd name="connsiteY6" fmla="*/ 234396 h 234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6263" h="234395">
                    <a:moveTo>
                      <a:pt x="121648" y="234396"/>
                    </a:moveTo>
                    <a:lnTo>
                      <a:pt x="121648" y="234396"/>
                    </a:lnTo>
                    <a:cubicBezTo>
                      <a:pt x="53406" y="234396"/>
                      <a:pt x="0" y="180989"/>
                      <a:pt x="0" y="112747"/>
                    </a:cubicBezTo>
                    <a:lnTo>
                      <a:pt x="0" y="0"/>
                    </a:lnTo>
                    <a:lnTo>
                      <a:pt x="246263" y="0"/>
                    </a:lnTo>
                    <a:lnTo>
                      <a:pt x="246263" y="112747"/>
                    </a:lnTo>
                    <a:cubicBezTo>
                      <a:pt x="243297" y="178022"/>
                      <a:pt x="189891" y="234396"/>
                      <a:pt x="121648" y="234396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0F8CCA4A-300D-43E3-8A32-FDB95F0453C7}"/>
                  </a:ext>
                </a:extLst>
              </p:cNvPr>
              <p:cNvSpPr/>
              <p:nvPr/>
            </p:nvSpPr>
            <p:spPr>
              <a:xfrm>
                <a:off x="22298047" y="8315371"/>
                <a:ext cx="290769" cy="59340"/>
              </a:xfrm>
              <a:custGeom>
                <a:avLst/>
                <a:gdLst>
                  <a:gd name="connsiteX0" fmla="*/ 290769 w 290769"/>
                  <a:gd name="connsiteY0" fmla="*/ 29670 h 59340"/>
                  <a:gd name="connsiteX1" fmla="*/ 145384 w 290769"/>
                  <a:gd name="connsiteY1" fmla="*/ 59340 h 59340"/>
                  <a:gd name="connsiteX2" fmla="*/ -1 w 290769"/>
                  <a:gd name="connsiteY2" fmla="*/ 29670 h 59340"/>
                  <a:gd name="connsiteX3" fmla="*/ 145384 w 290769"/>
                  <a:gd name="connsiteY3" fmla="*/ 0 h 59340"/>
                  <a:gd name="connsiteX4" fmla="*/ 290769 w 290769"/>
                  <a:gd name="connsiteY4" fmla="*/ 29670 h 59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769" h="59340">
                    <a:moveTo>
                      <a:pt x="290769" y="29670"/>
                    </a:moveTo>
                    <a:cubicBezTo>
                      <a:pt x="290769" y="46057"/>
                      <a:pt x="225679" y="59340"/>
                      <a:pt x="145384" y="59340"/>
                    </a:cubicBezTo>
                    <a:cubicBezTo>
                      <a:pt x="65091" y="59340"/>
                      <a:pt x="-1" y="46057"/>
                      <a:pt x="-1" y="29670"/>
                    </a:cubicBezTo>
                    <a:cubicBezTo>
                      <a:pt x="-1" y="13283"/>
                      <a:pt x="65089" y="0"/>
                      <a:pt x="145384" y="0"/>
                    </a:cubicBezTo>
                    <a:cubicBezTo>
                      <a:pt x="225677" y="0"/>
                      <a:pt x="290769" y="13283"/>
                      <a:pt x="290769" y="29670"/>
                    </a:cubicBezTo>
                    <a:close/>
                  </a:path>
                </a:pathLst>
              </a:custGeom>
              <a:solidFill>
                <a:srgbClr val="E5CDA5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2" name="图形 1">
              <a:extLst>
                <a:ext uri="{FF2B5EF4-FFF2-40B4-BE49-F238E27FC236}">
                  <a16:creationId xmlns:a16="http://schemas.microsoft.com/office/drawing/2014/main" id="{D2E78A2E-BD9F-4D18-97EC-231D9DFD0CE6}"/>
                </a:ext>
              </a:extLst>
            </p:cNvPr>
            <p:cNvGrpSpPr/>
            <p:nvPr/>
          </p:nvGrpSpPr>
          <p:grpSpPr>
            <a:xfrm>
              <a:off x="22369255" y="8845292"/>
              <a:ext cx="141089" cy="186868"/>
              <a:chOff x="22369255" y="8845292"/>
              <a:chExt cx="141089" cy="186868"/>
            </a:xfrm>
          </p:grpSpPr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C046C60E-63D9-4AE4-95DE-54CCDE1709A8}"/>
                  </a:ext>
                </a:extLst>
              </p:cNvPr>
              <p:cNvSpPr/>
              <p:nvPr/>
            </p:nvSpPr>
            <p:spPr>
              <a:xfrm>
                <a:off x="22371641" y="8845292"/>
                <a:ext cx="127604" cy="84319"/>
              </a:xfrm>
              <a:custGeom>
                <a:avLst/>
                <a:gdLst>
                  <a:gd name="connsiteX0" fmla="*/ 15417 w 127604"/>
                  <a:gd name="connsiteY0" fmla="*/ 1179 h 84319"/>
                  <a:gd name="connsiteX1" fmla="*/ 95528 w 127604"/>
                  <a:gd name="connsiteY1" fmla="*/ 24915 h 84319"/>
                  <a:gd name="connsiteX2" fmla="*/ 107395 w 127604"/>
                  <a:gd name="connsiteY2" fmla="*/ 27882 h 84319"/>
                  <a:gd name="connsiteX3" fmla="*/ 119264 w 127604"/>
                  <a:gd name="connsiteY3" fmla="*/ 36783 h 84319"/>
                  <a:gd name="connsiteX4" fmla="*/ 122230 w 127604"/>
                  <a:gd name="connsiteY4" fmla="*/ 78321 h 84319"/>
                  <a:gd name="connsiteX5" fmla="*/ 83659 w 127604"/>
                  <a:gd name="connsiteY5" fmla="*/ 78321 h 84319"/>
                  <a:gd name="connsiteX6" fmla="*/ 33219 w 127604"/>
                  <a:gd name="connsiteY6" fmla="*/ 57552 h 84319"/>
                  <a:gd name="connsiteX7" fmla="*/ 582 w 127604"/>
                  <a:gd name="connsiteY7" fmla="*/ 30849 h 84319"/>
                  <a:gd name="connsiteX8" fmla="*/ 15417 w 127604"/>
                  <a:gd name="connsiteY8" fmla="*/ 1179 h 84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604" h="84319">
                    <a:moveTo>
                      <a:pt x="15417" y="1179"/>
                    </a:moveTo>
                    <a:cubicBezTo>
                      <a:pt x="39153" y="-4755"/>
                      <a:pt x="68824" y="13047"/>
                      <a:pt x="95528" y="24915"/>
                    </a:cubicBezTo>
                    <a:cubicBezTo>
                      <a:pt x="98494" y="24915"/>
                      <a:pt x="107395" y="27882"/>
                      <a:pt x="107395" y="27882"/>
                    </a:cubicBezTo>
                    <a:cubicBezTo>
                      <a:pt x="110363" y="30849"/>
                      <a:pt x="116296" y="33816"/>
                      <a:pt x="119264" y="36783"/>
                    </a:cubicBezTo>
                    <a:cubicBezTo>
                      <a:pt x="128164" y="48651"/>
                      <a:pt x="131131" y="66453"/>
                      <a:pt x="122230" y="78321"/>
                    </a:cubicBezTo>
                    <a:cubicBezTo>
                      <a:pt x="113329" y="90190"/>
                      <a:pt x="95528" y="81288"/>
                      <a:pt x="83659" y="78321"/>
                    </a:cubicBezTo>
                    <a:cubicBezTo>
                      <a:pt x="65857" y="72387"/>
                      <a:pt x="48054" y="66453"/>
                      <a:pt x="33219" y="57552"/>
                    </a:cubicBezTo>
                    <a:cubicBezTo>
                      <a:pt x="21352" y="51618"/>
                      <a:pt x="6517" y="45684"/>
                      <a:pt x="582" y="30849"/>
                    </a:cubicBezTo>
                    <a:cubicBezTo>
                      <a:pt x="-2386" y="16014"/>
                      <a:pt x="6517" y="1179"/>
                      <a:pt x="15417" y="1179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B3B435F0-F315-4CB8-9824-7EABC2CBD6F1}"/>
                  </a:ext>
                </a:extLst>
              </p:cNvPr>
              <p:cNvSpPr/>
              <p:nvPr/>
            </p:nvSpPr>
            <p:spPr>
              <a:xfrm>
                <a:off x="22376236" y="8887741"/>
                <a:ext cx="128943" cy="86375"/>
              </a:xfrm>
              <a:custGeom>
                <a:avLst/>
                <a:gdLst>
                  <a:gd name="connsiteX0" fmla="*/ 13789 w 128943"/>
                  <a:gd name="connsiteY0" fmla="*/ 3235 h 86375"/>
                  <a:gd name="connsiteX1" fmla="*/ 102800 w 128943"/>
                  <a:gd name="connsiteY1" fmla="*/ 26971 h 86375"/>
                  <a:gd name="connsiteX2" fmla="*/ 108734 w 128943"/>
                  <a:gd name="connsiteY2" fmla="*/ 29938 h 86375"/>
                  <a:gd name="connsiteX3" fmla="*/ 120603 w 128943"/>
                  <a:gd name="connsiteY3" fmla="*/ 38839 h 86375"/>
                  <a:gd name="connsiteX4" fmla="*/ 123569 w 128943"/>
                  <a:gd name="connsiteY4" fmla="*/ 80377 h 86375"/>
                  <a:gd name="connsiteX5" fmla="*/ 84998 w 128943"/>
                  <a:gd name="connsiteY5" fmla="*/ 80377 h 86375"/>
                  <a:gd name="connsiteX6" fmla="*/ 34558 w 128943"/>
                  <a:gd name="connsiteY6" fmla="*/ 59608 h 86375"/>
                  <a:gd name="connsiteX7" fmla="*/ 1922 w 128943"/>
                  <a:gd name="connsiteY7" fmla="*/ 32905 h 86375"/>
                  <a:gd name="connsiteX8" fmla="*/ 13789 w 128943"/>
                  <a:gd name="connsiteY8" fmla="*/ 3235 h 8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8943" h="86375">
                    <a:moveTo>
                      <a:pt x="13789" y="3235"/>
                    </a:moveTo>
                    <a:cubicBezTo>
                      <a:pt x="43459" y="-8634"/>
                      <a:pt x="73129" y="15103"/>
                      <a:pt x="102800" y="26971"/>
                    </a:cubicBezTo>
                    <a:cubicBezTo>
                      <a:pt x="105768" y="26971"/>
                      <a:pt x="108734" y="29938"/>
                      <a:pt x="108734" y="29938"/>
                    </a:cubicBezTo>
                    <a:cubicBezTo>
                      <a:pt x="111700" y="32905"/>
                      <a:pt x="117635" y="35872"/>
                      <a:pt x="120603" y="38839"/>
                    </a:cubicBezTo>
                    <a:cubicBezTo>
                      <a:pt x="129504" y="50707"/>
                      <a:pt x="132470" y="68509"/>
                      <a:pt x="123569" y="80377"/>
                    </a:cubicBezTo>
                    <a:cubicBezTo>
                      <a:pt x="114669" y="92246"/>
                      <a:pt x="96865" y="83344"/>
                      <a:pt x="84998" y="80377"/>
                    </a:cubicBezTo>
                    <a:cubicBezTo>
                      <a:pt x="67195" y="74443"/>
                      <a:pt x="49393" y="68509"/>
                      <a:pt x="34558" y="59608"/>
                    </a:cubicBezTo>
                    <a:cubicBezTo>
                      <a:pt x="22689" y="53674"/>
                      <a:pt x="7854" y="47740"/>
                      <a:pt x="1922" y="32905"/>
                    </a:cubicBezTo>
                    <a:cubicBezTo>
                      <a:pt x="-4013" y="18070"/>
                      <a:pt x="4888" y="9169"/>
                      <a:pt x="13789" y="3235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FE6102C7-0EA7-4FCF-B5E8-617A19B550CC}"/>
                  </a:ext>
                </a:extLst>
              </p:cNvPr>
              <p:cNvSpPr/>
              <p:nvPr/>
            </p:nvSpPr>
            <p:spPr>
              <a:xfrm>
                <a:off x="22374418" y="8931910"/>
                <a:ext cx="111720" cy="74844"/>
              </a:xfrm>
              <a:custGeom>
                <a:avLst/>
                <a:gdLst>
                  <a:gd name="connsiteX0" fmla="*/ 12640 w 111720"/>
                  <a:gd name="connsiteY0" fmla="*/ 3572 h 74844"/>
                  <a:gd name="connsiteX1" fmla="*/ 89782 w 111720"/>
                  <a:gd name="connsiteY1" fmla="*/ 21374 h 74844"/>
                  <a:gd name="connsiteX2" fmla="*/ 95717 w 111720"/>
                  <a:gd name="connsiteY2" fmla="*/ 24341 h 74844"/>
                  <a:gd name="connsiteX3" fmla="*/ 104618 w 111720"/>
                  <a:gd name="connsiteY3" fmla="*/ 33242 h 74844"/>
                  <a:gd name="connsiteX4" fmla="*/ 107586 w 111720"/>
                  <a:gd name="connsiteY4" fmla="*/ 68846 h 74844"/>
                  <a:gd name="connsiteX5" fmla="*/ 71981 w 111720"/>
                  <a:gd name="connsiteY5" fmla="*/ 68846 h 74844"/>
                  <a:gd name="connsiteX6" fmla="*/ 27475 w 111720"/>
                  <a:gd name="connsiteY6" fmla="*/ 51044 h 74844"/>
                  <a:gd name="connsiteX7" fmla="*/ 771 w 111720"/>
                  <a:gd name="connsiteY7" fmla="*/ 30275 h 74844"/>
                  <a:gd name="connsiteX8" fmla="*/ 12640 w 111720"/>
                  <a:gd name="connsiteY8" fmla="*/ 3572 h 7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720" h="74844">
                    <a:moveTo>
                      <a:pt x="12640" y="3572"/>
                    </a:moveTo>
                    <a:cubicBezTo>
                      <a:pt x="39343" y="-8297"/>
                      <a:pt x="66047" y="12473"/>
                      <a:pt x="89782" y="21374"/>
                    </a:cubicBezTo>
                    <a:cubicBezTo>
                      <a:pt x="92751" y="21374"/>
                      <a:pt x="92751" y="24341"/>
                      <a:pt x="95717" y="24341"/>
                    </a:cubicBezTo>
                    <a:cubicBezTo>
                      <a:pt x="98683" y="27308"/>
                      <a:pt x="101651" y="27308"/>
                      <a:pt x="104618" y="33242"/>
                    </a:cubicBezTo>
                    <a:cubicBezTo>
                      <a:pt x="113518" y="42143"/>
                      <a:pt x="113518" y="59945"/>
                      <a:pt x="107586" y="68846"/>
                    </a:cubicBezTo>
                    <a:cubicBezTo>
                      <a:pt x="98683" y="80714"/>
                      <a:pt x="83848" y="71814"/>
                      <a:pt x="71981" y="68846"/>
                    </a:cubicBezTo>
                    <a:cubicBezTo>
                      <a:pt x="57146" y="62912"/>
                      <a:pt x="42311" y="59945"/>
                      <a:pt x="27475" y="51044"/>
                    </a:cubicBezTo>
                    <a:cubicBezTo>
                      <a:pt x="18575" y="48077"/>
                      <a:pt x="3740" y="42143"/>
                      <a:pt x="771" y="30275"/>
                    </a:cubicBezTo>
                    <a:cubicBezTo>
                      <a:pt x="-2195" y="15440"/>
                      <a:pt x="3740" y="6539"/>
                      <a:pt x="12640" y="3572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16EF6823-8389-43A1-B211-CE7CDDE3DDDA}"/>
                  </a:ext>
                </a:extLst>
              </p:cNvPr>
              <p:cNvSpPr/>
              <p:nvPr/>
            </p:nvSpPr>
            <p:spPr>
              <a:xfrm>
                <a:off x="22378157" y="8974275"/>
                <a:ext cx="83343" cy="57885"/>
              </a:xfrm>
              <a:custGeom>
                <a:avLst/>
                <a:gdLst>
                  <a:gd name="connsiteX0" fmla="*/ 11867 w 83343"/>
                  <a:gd name="connsiteY0" fmla="*/ 2745 h 57885"/>
                  <a:gd name="connsiteX1" fmla="*/ 68241 w 83343"/>
                  <a:gd name="connsiteY1" fmla="*/ 17580 h 57885"/>
                  <a:gd name="connsiteX2" fmla="*/ 71208 w 83343"/>
                  <a:gd name="connsiteY2" fmla="*/ 20547 h 57885"/>
                  <a:gd name="connsiteX3" fmla="*/ 77142 w 83343"/>
                  <a:gd name="connsiteY3" fmla="*/ 26481 h 57885"/>
                  <a:gd name="connsiteX4" fmla="*/ 80108 w 83343"/>
                  <a:gd name="connsiteY4" fmla="*/ 53184 h 57885"/>
                  <a:gd name="connsiteX5" fmla="*/ 53406 w 83343"/>
                  <a:gd name="connsiteY5" fmla="*/ 53184 h 57885"/>
                  <a:gd name="connsiteX6" fmla="*/ 20768 w 83343"/>
                  <a:gd name="connsiteY6" fmla="*/ 41316 h 57885"/>
                  <a:gd name="connsiteX7" fmla="*/ 0 w 83343"/>
                  <a:gd name="connsiteY7" fmla="*/ 23514 h 57885"/>
                  <a:gd name="connsiteX8" fmla="*/ 11867 w 83343"/>
                  <a:gd name="connsiteY8" fmla="*/ 2745 h 57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343" h="57885">
                    <a:moveTo>
                      <a:pt x="11867" y="2745"/>
                    </a:moveTo>
                    <a:cubicBezTo>
                      <a:pt x="32637" y="-6156"/>
                      <a:pt x="50438" y="8679"/>
                      <a:pt x="68241" y="17580"/>
                    </a:cubicBezTo>
                    <a:cubicBezTo>
                      <a:pt x="71208" y="17580"/>
                      <a:pt x="71208" y="20547"/>
                      <a:pt x="71208" y="20547"/>
                    </a:cubicBezTo>
                    <a:cubicBezTo>
                      <a:pt x="74176" y="20547"/>
                      <a:pt x="77142" y="23514"/>
                      <a:pt x="77142" y="26481"/>
                    </a:cubicBezTo>
                    <a:cubicBezTo>
                      <a:pt x="83077" y="32415"/>
                      <a:pt x="86043" y="44283"/>
                      <a:pt x="80108" y="53184"/>
                    </a:cubicBezTo>
                    <a:cubicBezTo>
                      <a:pt x="74176" y="62085"/>
                      <a:pt x="62307" y="56151"/>
                      <a:pt x="53406" y="53184"/>
                    </a:cubicBezTo>
                    <a:cubicBezTo>
                      <a:pt x="41537" y="50217"/>
                      <a:pt x="32637" y="44283"/>
                      <a:pt x="20768" y="41316"/>
                    </a:cubicBezTo>
                    <a:cubicBezTo>
                      <a:pt x="14835" y="38349"/>
                      <a:pt x="2966" y="35382"/>
                      <a:pt x="0" y="23514"/>
                    </a:cubicBezTo>
                    <a:cubicBezTo>
                      <a:pt x="0" y="11646"/>
                      <a:pt x="5933" y="5712"/>
                      <a:pt x="11867" y="2745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10CE3D90-2250-4CB7-93AD-BA9D76820064}"/>
                  </a:ext>
                </a:extLst>
              </p:cNvPr>
              <p:cNvSpPr/>
              <p:nvPr/>
            </p:nvSpPr>
            <p:spPr>
              <a:xfrm>
                <a:off x="22372073" y="8848208"/>
                <a:ext cx="138271" cy="131778"/>
              </a:xfrm>
              <a:custGeom>
                <a:avLst/>
                <a:gdLst>
                  <a:gd name="connsiteX0" fmla="*/ 115864 w 138271"/>
                  <a:gd name="connsiteY0" fmla="*/ 131779 h 131778"/>
                  <a:gd name="connsiteX1" fmla="*/ 74326 w 138271"/>
                  <a:gd name="connsiteY1" fmla="*/ 119910 h 131778"/>
                  <a:gd name="connsiteX2" fmla="*/ 150 w 138271"/>
                  <a:gd name="connsiteY2" fmla="*/ 57603 h 131778"/>
                  <a:gd name="connsiteX3" fmla="*/ 9051 w 138271"/>
                  <a:gd name="connsiteY3" fmla="*/ 39800 h 131778"/>
                  <a:gd name="connsiteX4" fmla="*/ 20920 w 138271"/>
                  <a:gd name="connsiteY4" fmla="*/ 39800 h 131778"/>
                  <a:gd name="connsiteX5" fmla="*/ 115864 w 138271"/>
                  <a:gd name="connsiteY5" fmla="*/ 72438 h 131778"/>
                  <a:gd name="connsiteX6" fmla="*/ 124766 w 138271"/>
                  <a:gd name="connsiteY6" fmla="*/ 60570 h 131778"/>
                  <a:gd name="connsiteX7" fmla="*/ 124766 w 138271"/>
                  <a:gd name="connsiteY7" fmla="*/ 51669 h 131778"/>
                  <a:gd name="connsiteX8" fmla="*/ 47622 w 138271"/>
                  <a:gd name="connsiteY8" fmla="*/ 10130 h 131778"/>
                  <a:gd name="connsiteX9" fmla="*/ 44656 w 138271"/>
                  <a:gd name="connsiteY9" fmla="*/ 4196 h 131778"/>
                  <a:gd name="connsiteX10" fmla="*/ 50590 w 138271"/>
                  <a:gd name="connsiteY10" fmla="*/ 1229 h 131778"/>
                  <a:gd name="connsiteX11" fmla="*/ 133667 w 138271"/>
                  <a:gd name="connsiteY11" fmla="*/ 48702 h 131778"/>
                  <a:gd name="connsiteX12" fmla="*/ 133667 w 138271"/>
                  <a:gd name="connsiteY12" fmla="*/ 66504 h 131778"/>
                  <a:gd name="connsiteX13" fmla="*/ 127732 w 138271"/>
                  <a:gd name="connsiteY13" fmla="*/ 75405 h 131778"/>
                  <a:gd name="connsiteX14" fmla="*/ 136633 w 138271"/>
                  <a:gd name="connsiteY14" fmla="*/ 116943 h 131778"/>
                  <a:gd name="connsiteX15" fmla="*/ 115864 w 138271"/>
                  <a:gd name="connsiteY15" fmla="*/ 131779 h 131778"/>
                  <a:gd name="connsiteX16" fmla="*/ 14986 w 138271"/>
                  <a:gd name="connsiteY16" fmla="*/ 48702 h 131778"/>
                  <a:gd name="connsiteX17" fmla="*/ 14986 w 138271"/>
                  <a:gd name="connsiteY17" fmla="*/ 48702 h 131778"/>
                  <a:gd name="connsiteX18" fmla="*/ 9051 w 138271"/>
                  <a:gd name="connsiteY18" fmla="*/ 57603 h 131778"/>
                  <a:gd name="connsiteX19" fmla="*/ 77293 w 138271"/>
                  <a:gd name="connsiteY19" fmla="*/ 108042 h 131778"/>
                  <a:gd name="connsiteX20" fmla="*/ 124766 w 138271"/>
                  <a:gd name="connsiteY20" fmla="*/ 111009 h 131778"/>
                  <a:gd name="connsiteX21" fmla="*/ 118832 w 138271"/>
                  <a:gd name="connsiteY21" fmla="*/ 78372 h 131778"/>
                  <a:gd name="connsiteX22" fmla="*/ 118832 w 138271"/>
                  <a:gd name="connsiteY22" fmla="*/ 78372 h 131778"/>
                  <a:gd name="connsiteX23" fmla="*/ 14986 w 138271"/>
                  <a:gd name="connsiteY23" fmla="*/ 48702 h 131778"/>
                  <a:gd name="connsiteX24" fmla="*/ 14986 w 138271"/>
                  <a:gd name="connsiteY24" fmla="*/ 48702 h 131778"/>
                  <a:gd name="connsiteX25" fmla="*/ 14986 w 138271"/>
                  <a:gd name="connsiteY25" fmla="*/ 48702 h 131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38271" h="131778">
                    <a:moveTo>
                      <a:pt x="115864" y="131779"/>
                    </a:moveTo>
                    <a:cubicBezTo>
                      <a:pt x="103997" y="131779"/>
                      <a:pt x="89161" y="125845"/>
                      <a:pt x="74326" y="119910"/>
                    </a:cubicBezTo>
                    <a:cubicBezTo>
                      <a:pt x="38721" y="108042"/>
                      <a:pt x="-2818" y="84306"/>
                      <a:pt x="150" y="57603"/>
                    </a:cubicBezTo>
                    <a:cubicBezTo>
                      <a:pt x="150" y="48702"/>
                      <a:pt x="3117" y="42768"/>
                      <a:pt x="9051" y="39800"/>
                    </a:cubicBezTo>
                    <a:cubicBezTo>
                      <a:pt x="14986" y="36834"/>
                      <a:pt x="20920" y="39800"/>
                      <a:pt x="20920" y="39800"/>
                    </a:cubicBezTo>
                    <a:cubicBezTo>
                      <a:pt x="68392" y="66504"/>
                      <a:pt x="101028" y="75405"/>
                      <a:pt x="115864" y="72438"/>
                    </a:cubicBezTo>
                    <a:cubicBezTo>
                      <a:pt x="121798" y="69471"/>
                      <a:pt x="121798" y="66504"/>
                      <a:pt x="124766" y="60570"/>
                    </a:cubicBezTo>
                    <a:cubicBezTo>
                      <a:pt x="124766" y="57603"/>
                      <a:pt x="124766" y="54636"/>
                      <a:pt x="124766" y="51669"/>
                    </a:cubicBezTo>
                    <a:cubicBezTo>
                      <a:pt x="115864" y="33866"/>
                      <a:pt x="65425" y="16064"/>
                      <a:pt x="47622" y="10130"/>
                    </a:cubicBezTo>
                    <a:cubicBezTo>
                      <a:pt x="44656" y="10130"/>
                      <a:pt x="41688" y="7163"/>
                      <a:pt x="44656" y="4196"/>
                    </a:cubicBezTo>
                    <a:cubicBezTo>
                      <a:pt x="44656" y="1229"/>
                      <a:pt x="47622" y="-1738"/>
                      <a:pt x="50590" y="1229"/>
                    </a:cubicBezTo>
                    <a:cubicBezTo>
                      <a:pt x="56523" y="4196"/>
                      <a:pt x="121798" y="21998"/>
                      <a:pt x="133667" y="48702"/>
                    </a:cubicBezTo>
                    <a:cubicBezTo>
                      <a:pt x="136633" y="54636"/>
                      <a:pt x="136633" y="60570"/>
                      <a:pt x="133667" y="66504"/>
                    </a:cubicBezTo>
                    <a:cubicBezTo>
                      <a:pt x="133667" y="69471"/>
                      <a:pt x="130699" y="72438"/>
                      <a:pt x="127732" y="75405"/>
                    </a:cubicBezTo>
                    <a:cubicBezTo>
                      <a:pt x="130699" y="78372"/>
                      <a:pt x="142568" y="102108"/>
                      <a:pt x="136633" y="116943"/>
                    </a:cubicBezTo>
                    <a:cubicBezTo>
                      <a:pt x="133667" y="125845"/>
                      <a:pt x="124766" y="131779"/>
                      <a:pt x="115864" y="131779"/>
                    </a:cubicBezTo>
                    <a:close/>
                    <a:moveTo>
                      <a:pt x="14986" y="48702"/>
                    </a:moveTo>
                    <a:cubicBezTo>
                      <a:pt x="14986" y="48702"/>
                      <a:pt x="14986" y="48702"/>
                      <a:pt x="14986" y="48702"/>
                    </a:cubicBezTo>
                    <a:cubicBezTo>
                      <a:pt x="12017" y="48702"/>
                      <a:pt x="12017" y="51669"/>
                      <a:pt x="9051" y="57603"/>
                    </a:cubicBezTo>
                    <a:cubicBezTo>
                      <a:pt x="6085" y="75405"/>
                      <a:pt x="32787" y="93207"/>
                      <a:pt x="77293" y="108042"/>
                    </a:cubicBezTo>
                    <a:cubicBezTo>
                      <a:pt x="109931" y="119910"/>
                      <a:pt x="121798" y="119910"/>
                      <a:pt x="124766" y="111009"/>
                    </a:cubicBezTo>
                    <a:cubicBezTo>
                      <a:pt x="127732" y="102108"/>
                      <a:pt x="121798" y="84306"/>
                      <a:pt x="118832" y="78372"/>
                    </a:cubicBezTo>
                    <a:cubicBezTo>
                      <a:pt x="118832" y="78372"/>
                      <a:pt x="118832" y="78372"/>
                      <a:pt x="118832" y="78372"/>
                    </a:cubicBezTo>
                    <a:cubicBezTo>
                      <a:pt x="109931" y="84306"/>
                      <a:pt x="86193" y="87273"/>
                      <a:pt x="14986" y="48702"/>
                    </a:cubicBezTo>
                    <a:cubicBezTo>
                      <a:pt x="14986" y="48702"/>
                      <a:pt x="14986" y="48702"/>
                      <a:pt x="14986" y="48702"/>
                    </a:cubicBezTo>
                    <a:cubicBezTo>
                      <a:pt x="14986" y="48702"/>
                      <a:pt x="14986" y="48702"/>
                      <a:pt x="14986" y="4870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BB83DE88-2B47-42CA-A311-5BB2AC7F9BCA}"/>
                  </a:ext>
                </a:extLst>
              </p:cNvPr>
              <p:cNvSpPr/>
              <p:nvPr/>
            </p:nvSpPr>
            <p:spPr>
              <a:xfrm>
                <a:off x="22369255" y="8929547"/>
                <a:ext cx="128058" cy="80109"/>
              </a:xfrm>
              <a:custGeom>
                <a:avLst/>
                <a:gdLst>
                  <a:gd name="connsiteX0" fmla="*/ 100880 w 128058"/>
                  <a:gd name="connsiteY0" fmla="*/ 80110 h 80109"/>
                  <a:gd name="connsiteX1" fmla="*/ 91979 w 128058"/>
                  <a:gd name="connsiteY1" fmla="*/ 80110 h 80109"/>
                  <a:gd name="connsiteX2" fmla="*/ 5934 w 128058"/>
                  <a:gd name="connsiteY2" fmla="*/ 41538 h 80109"/>
                  <a:gd name="connsiteX3" fmla="*/ 0 w 128058"/>
                  <a:gd name="connsiteY3" fmla="*/ 20769 h 80109"/>
                  <a:gd name="connsiteX4" fmla="*/ 17803 w 128058"/>
                  <a:gd name="connsiteY4" fmla="*/ 0 h 80109"/>
                  <a:gd name="connsiteX5" fmla="*/ 23738 w 128058"/>
                  <a:gd name="connsiteY5" fmla="*/ 2967 h 80109"/>
                  <a:gd name="connsiteX6" fmla="*/ 20770 w 128058"/>
                  <a:gd name="connsiteY6" fmla="*/ 8901 h 80109"/>
                  <a:gd name="connsiteX7" fmla="*/ 11869 w 128058"/>
                  <a:gd name="connsiteY7" fmla="*/ 20769 h 80109"/>
                  <a:gd name="connsiteX8" fmla="*/ 14835 w 128058"/>
                  <a:gd name="connsiteY8" fmla="*/ 29670 h 80109"/>
                  <a:gd name="connsiteX9" fmla="*/ 94945 w 128058"/>
                  <a:gd name="connsiteY9" fmla="*/ 65275 h 80109"/>
                  <a:gd name="connsiteX10" fmla="*/ 112749 w 128058"/>
                  <a:gd name="connsiteY10" fmla="*/ 62307 h 80109"/>
                  <a:gd name="connsiteX11" fmla="*/ 115715 w 128058"/>
                  <a:gd name="connsiteY11" fmla="*/ 41538 h 80109"/>
                  <a:gd name="connsiteX12" fmla="*/ 121649 w 128058"/>
                  <a:gd name="connsiteY12" fmla="*/ 35604 h 80109"/>
                  <a:gd name="connsiteX13" fmla="*/ 127584 w 128058"/>
                  <a:gd name="connsiteY13" fmla="*/ 41538 h 80109"/>
                  <a:gd name="connsiteX14" fmla="*/ 121649 w 128058"/>
                  <a:gd name="connsiteY14" fmla="*/ 74176 h 80109"/>
                  <a:gd name="connsiteX15" fmla="*/ 100880 w 128058"/>
                  <a:gd name="connsiteY15" fmla="*/ 80110 h 80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8058" h="80109">
                    <a:moveTo>
                      <a:pt x="100880" y="80110"/>
                    </a:moveTo>
                    <a:cubicBezTo>
                      <a:pt x="97914" y="80110"/>
                      <a:pt x="94945" y="80110"/>
                      <a:pt x="91979" y="80110"/>
                    </a:cubicBezTo>
                    <a:cubicBezTo>
                      <a:pt x="56374" y="74176"/>
                      <a:pt x="14835" y="50439"/>
                      <a:pt x="5934" y="41538"/>
                    </a:cubicBezTo>
                    <a:cubicBezTo>
                      <a:pt x="0" y="35604"/>
                      <a:pt x="0" y="29670"/>
                      <a:pt x="0" y="20769"/>
                    </a:cubicBezTo>
                    <a:cubicBezTo>
                      <a:pt x="2968" y="11868"/>
                      <a:pt x="8903" y="2967"/>
                      <a:pt x="17803" y="0"/>
                    </a:cubicBezTo>
                    <a:cubicBezTo>
                      <a:pt x="20770" y="0"/>
                      <a:pt x="23738" y="0"/>
                      <a:pt x="23738" y="2967"/>
                    </a:cubicBezTo>
                    <a:cubicBezTo>
                      <a:pt x="23738" y="5934"/>
                      <a:pt x="23738" y="8901"/>
                      <a:pt x="20770" y="8901"/>
                    </a:cubicBezTo>
                    <a:cubicBezTo>
                      <a:pt x="17803" y="8901"/>
                      <a:pt x="14835" y="14835"/>
                      <a:pt x="11869" y="20769"/>
                    </a:cubicBezTo>
                    <a:cubicBezTo>
                      <a:pt x="11869" y="23736"/>
                      <a:pt x="11869" y="26703"/>
                      <a:pt x="14835" y="29670"/>
                    </a:cubicBezTo>
                    <a:cubicBezTo>
                      <a:pt x="23738" y="38571"/>
                      <a:pt x="62309" y="59341"/>
                      <a:pt x="94945" y="65275"/>
                    </a:cubicBezTo>
                    <a:cubicBezTo>
                      <a:pt x="103846" y="65275"/>
                      <a:pt x="109781" y="65275"/>
                      <a:pt x="112749" y="62307"/>
                    </a:cubicBezTo>
                    <a:cubicBezTo>
                      <a:pt x="118681" y="56373"/>
                      <a:pt x="115715" y="41538"/>
                      <a:pt x="115715" y="41538"/>
                    </a:cubicBezTo>
                    <a:cubicBezTo>
                      <a:pt x="115715" y="38571"/>
                      <a:pt x="115715" y="35604"/>
                      <a:pt x="121649" y="35604"/>
                    </a:cubicBezTo>
                    <a:cubicBezTo>
                      <a:pt x="124616" y="35604"/>
                      <a:pt x="127584" y="35604"/>
                      <a:pt x="127584" y="41538"/>
                    </a:cubicBezTo>
                    <a:cubicBezTo>
                      <a:pt x="127584" y="41538"/>
                      <a:pt x="130550" y="62307"/>
                      <a:pt x="121649" y="74176"/>
                    </a:cubicBezTo>
                    <a:cubicBezTo>
                      <a:pt x="115715" y="80110"/>
                      <a:pt x="106814" y="80110"/>
                      <a:pt x="100880" y="80110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204AAD1A-7942-4DE3-8374-20ADEE3882C3}"/>
                </a:ext>
              </a:extLst>
            </p:cNvPr>
            <p:cNvSpPr/>
            <p:nvPr/>
          </p:nvSpPr>
          <p:spPr>
            <a:xfrm>
              <a:off x="22442193" y="8905102"/>
              <a:ext cx="130480" cy="110615"/>
            </a:xfrm>
            <a:custGeom>
              <a:avLst/>
              <a:gdLst>
                <a:gd name="connsiteX0" fmla="*/ 1237 w 130480"/>
                <a:gd name="connsiteY0" fmla="*/ 54116 h 110615"/>
                <a:gd name="connsiteX1" fmla="*/ 24975 w 130480"/>
                <a:gd name="connsiteY1" fmla="*/ 51149 h 110615"/>
                <a:gd name="connsiteX2" fmla="*/ 78381 w 130480"/>
                <a:gd name="connsiteY2" fmla="*/ 65984 h 110615"/>
                <a:gd name="connsiteX3" fmla="*/ 105083 w 130480"/>
                <a:gd name="connsiteY3" fmla="*/ 110490 h 110615"/>
                <a:gd name="connsiteX4" fmla="*/ 128821 w 130480"/>
                <a:gd name="connsiteY4" fmla="*/ 48182 h 110615"/>
                <a:gd name="connsiteX5" fmla="*/ 48711 w 130480"/>
                <a:gd name="connsiteY5" fmla="*/ 710 h 110615"/>
                <a:gd name="connsiteX6" fmla="*/ 1237 w 130480"/>
                <a:gd name="connsiteY6" fmla="*/ 54116 h 110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0480" h="110615">
                  <a:moveTo>
                    <a:pt x="1237" y="54116"/>
                  </a:moveTo>
                  <a:cubicBezTo>
                    <a:pt x="4205" y="63017"/>
                    <a:pt x="19040" y="51149"/>
                    <a:pt x="24975" y="51149"/>
                  </a:cubicBezTo>
                  <a:cubicBezTo>
                    <a:pt x="45743" y="48182"/>
                    <a:pt x="60578" y="51149"/>
                    <a:pt x="78381" y="65984"/>
                  </a:cubicBezTo>
                  <a:cubicBezTo>
                    <a:pt x="87282" y="74885"/>
                    <a:pt x="99151" y="101589"/>
                    <a:pt x="105083" y="110490"/>
                  </a:cubicBezTo>
                  <a:cubicBezTo>
                    <a:pt x="108051" y="113457"/>
                    <a:pt x="137722" y="63017"/>
                    <a:pt x="128821" y="48182"/>
                  </a:cubicBezTo>
                  <a:cubicBezTo>
                    <a:pt x="113986" y="27413"/>
                    <a:pt x="78381" y="-5224"/>
                    <a:pt x="48711" y="710"/>
                  </a:cubicBezTo>
                  <a:cubicBezTo>
                    <a:pt x="33876" y="3676"/>
                    <a:pt x="-7664" y="36314"/>
                    <a:pt x="1237" y="54116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656EF0A3-6B51-45CA-94E1-0C92DA829510}"/>
                </a:ext>
              </a:extLst>
            </p:cNvPr>
            <p:cNvSpPr/>
            <p:nvPr/>
          </p:nvSpPr>
          <p:spPr>
            <a:xfrm>
              <a:off x="22436269" y="8901205"/>
              <a:ext cx="141997" cy="117353"/>
            </a:xfrm>
            <a:custGeom>
              <a:avLst/>
              <a:gdLst>
                <a:gd name="connsiteX0" fmla="*/ 84306 w 141997"/>
                <a:gd name="connsiteY0" fmla="*/ 117354 h 117353"/>
                <a:gd name="connsiteX1" fmla="*/ 78372 w 141997"/>
                <a:gd name="connsiteY1" fmla="*/ 114386 h 117353"/>
                <a:gd name="connsiteX2" fmla="*/ 78372 w 141997"/>
                <a:gd name="connsiteY2" fmla="*/ 72848 h 117353"/>
                <a:gd name="connsiteX3" fmla="*/ 30900 w 141997"/>
                <a:gd name="connsiteY3" fmla="*/ 63947 h 117353"/>
                <a:gd name="connsiteX4" fmla="*/ 4196 w 141997"/>
                <a:gd name="connsiteY4" fmla="*/ 60980 h 117353"/>
                <a:gd name="connsiteX5" fmla="*/ 1229 w 141997"/>
                <a:gd name="connsiteY5" fmla="*/ 46145 h 117353"/>
                <a:gd name="connsiteX6" fmla="*/ 54636 w 141997"/>
                <a:gd name="connsiteY6" fmla="*/ 1639 h 117353"/>
                <a:gd name="connsiteX7" fmla="*/ 140679 w 141997"/>
                <a:gd name="connsiteY7" fmla="*/ 49112 h 117353"/>
                <a:gd name="connsiteX8" fmla="*/ 140679 w 141997"/>
                <a:gd name="connsiteY8" fmla="*/ 58013 h 117353"/>
                <a:gd name="connsiteX9" fmla="*/ 131778 w 141997"/>
                <a:gd name="connsiteY9" fmla="*/ 58013 h 117353"/>
                <a:gd name="connsiteX10" fmla="*/ 57602 w 141997"/>
                <a:gd name="connsiteY10" fmla="*/ 13507 h 117353"/>
                <a:gd name="connsiteX11" fmla="*/ 13097 w 141997"/>
                <a:gd name="connsiteY11" fmla="*/ 49112 h 117353"/>
                <a:gd name="connsiteX12" fmla="*/ 13097 w 141997"/>
                <a:gd name="connsiteY12" fmla="*/ 55046 h 117353"/>
                <a:gd name="connsiteX13" fmla="*/ 30900 w 141997"/>
                <a:gd name="connsiteY13" fmla="*/ 55046 h 117353"/>
                <a:gd name="connsiteX14" fmla="*/ 90240 w 141997"/>
                <a:gd name="connsiteY14" fmla="*/ 69881 h 117353"/>
                <a:gd name="connsiteX15" fmla="*/ 90240 w 141997"/>
                <a:gd name="connsiteY15" fmla="*/ 75815 h 117353"/>
                <a:gd name="connsiteX16" fmla="*/ 90240 w 141997"/>
                <a:gd name="connsiteY16" fmla="*/ 111419 h 117353"/>
                <a:gd name="connsiteX17" fmla="*/ 84306 w 141997"/>
                <a:gd name="connsiteY17" fmla="*/ 117354 h 117353"/>
                <a:gd name="connsiteX18" fmla="*/ 84306 w 141997"/>
                <a:gd name="connsiteY18" fmla="*/ 117354 h 117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1997" h="117353">
                  <a:moveTo>
                    <a:pt x="84306" y="117354"/>
                  </a:moveTo>
                  <a:cubicBezTo>
                    <a:pt x="81338" y="117354"/>
                    <a:pt x="81338" y="117354"/>
                    <a:pt x="78372" y="114386"/>
                  </a:cubicBezTo>
                  <a:cubicBezTo>
                    <a:pt x="69471" y="99551"/>
                    <a:pt x="75405" y="78782"/>
                    <a:pt x="78372" y="72848"/>
                  </a:cubicBezTo>
                  <a:cubicBezTo>
                    <a:pt x="63536" y="58013"/>
                    <a:pt x="45735" y="60980"/>
                    <a:pt x="30900" y="63947"/>
                  </a:cubicBezTo>
                  <a:cubicBezTo>
                    <a:pt x="19031" y="66914"/>
                    <a:pt x="10130" y="66914"/>
                    <a:pt x="4196" y="60980"/>
                  </a:cubicBezTo>
                  <a:cubicBezTo>
                    <a:pt x="1229" y="58013"/>
                    <a:pt x="-1739" y="52078"/>
                    <a:pt x="1229" y="46145"/>
                  </a:cubicBezTo>
                  <a:cubicBezTo>
                    <a:pt x="4196" y="31309"/>
                    <a:pt x="24965" y="10540"/>
                    <a:pt x="54636" y="1639"/>
                  </a:cubicBezTo>
                  <a:cubicBezTo>
                    <a:pt x="93207" y="-10229"/>
                    <a:pt x="140679" y="46145"/>
                    <a:pt x="140679" y="49112"/>
                  </a:cubicBezTo>
                  <a:cubicBezTo>
                    <a:pt x="143647" y="52078"/>
                    <a:pt x="140679" y="55046"/>
                    <a:pt x="140679" y="58013"/>
                  </a:cubicBezTo>
                  <a:cubicBezTo>
                    <a:pt x="137712" y="60980"/>
                    <a:pt x="134746" y="58013"/>
                    <a:pt x="131778" y="58013"/>
                  </a:cubicBezTo>
                  <a:cubicBezTo>
                    <a:pt x="119911" y="43178"/>
                    <a:pt x="84306" y="4606"/>
                    <a:pt x="57602" y="13507"/>
                  </a:cubicBezTo>
                  <a:cubicBezTo>
                    <a:pt x="30900" y="22408"/>
                    <a:pt x="13097" y="40211"/>
                    <a:pt x="13097" y="49112"/>
                  </a:cubicBezTo>
                  <a:cubicBezTo>
                    <a:pt x="13097" y="52078"/>
                    <a:pt x="13097" y="55046"/>
                    <a:pt x="13097" y="55046"/>
                  </a:cubicBezTo>
                  <a:cubicBezTo>
                    <a:pt x="16065" y="58013"/>
                    <a:pt x="21997" y="55046"/>
                    <a:pt x="30900" y="55046"/>
                  </a:cubicBezTo>
                  <a:cubicBezTo>
                    <a:pt x="45735" y="52078"/>
                    <a:pt x="72437" y="49112"/>
                    <a:pt x="90240" y="69881"/>
                  </a:cubicBezTo>
                  <a:cubicBezTo>
                    <a:pt x="93207" y="72848"/>
                    <a:pt x="93207" y="72848"/>
                    <a:pt x="90240" y="75815"/>
                  </a:cubicBezTo>
                  <a:cubicBezTo>
                    <a:pt x="87272" y="81749"/>
                    <a:pt x="81338" y="102518"/>
                    <a:pt x="90240" y="111419"/>
                  </a:cubicBezTo>
                  <a:cubicBezTo>
                    <a:pt x="90240" y="111419"/>
                    <a:pt x="90240" y="114386"/>
                    <a:pt x="84306" y="117354"/>
                  </a:cubicBezTo>
                  <a:cubicBezTo>
                    <a:pt x="84306" y="117354"/>
                    <a:pt x="84306" y="117354"/>
                    <a:pt x="84306" y="117354"/>
                  </a:cubicBezTo>
                  <a:close/>
                </a:path>
              </a:pathLst>
            </a:custGeom>
            <a:solidFill>
              <a:srgbClr val="E58777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ACF034AE-A1A2-47A6-ACD7-CAB4667B0B91}"/>
                </a:ext>
              </a:extLst>
            </p:cNvPr>
            <p:cNvSpPr/>
            <p:nvPr/>
          </p:nvSpPr>
          <p:spPr>
            <a:xfrm>
              <a:off x="23197058" y="8818030"/>
              <a:ext cx="429397" cy="458659"/>
            </a:xfrm>
            <a:custGeom>
              <a:avLst/>
              <a:gdLst>
                <a:gd name="connsiteX0" fmla="*/ 195823 w 429397"/>
                <a:gd name="connsiteY0" fmla="*/ 458659 h 458659"/>
                <a:gd name="connsiteX1" fmla="*/ 421319 w 429397"/>
                <a:gd name="connsiteY1" fmla="*/ 28440 h 458659"/>
                <a:gd name="connsiteX2" fmla="*/ 0 w 429397"/>
                <a:gd name="connsiteY2" fmla="*/ 188660 h 458659"/>
                <a:gd name="connsiteX3" fmla="*/ 195823 w 429397"/>
                <a:gd name="connsiteY3" fmla="*/ 458659 h 458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9397" h="458659">
                  <a:moveTo>
                    <a:pt x="195823" y="458659"/>
                  </a:moveTo>
                  <a:cubicBezTo>
                    <a:pt x="317473" y="328110"/>
                    <a:pt x="465825" y="93715"/>
                    <a:pt x="421319" y="28440"/>
                  </a:cubicBezTo>
                  <a:cubicBezTo>
                    <a:pt x="361978" y="-54637"/>
                    <a:pt x="109781" y="58110"/>
                    <a:pt x="0" y="188660"/>
                  </a:cubicBezTo>
                  <a:cubicBezTo>
                    <a:pt x="23736" y="259869"/>
                    <a:pt x="106812" y="417121"/>
                    <a:pt x="195823" y="458659"/>
                  </a:cubicBezTo>
                  <a:close/>
                </a:path>
              </a:pathLst>
            </a:custGeom>
            <a:solidFill>
              <a:srgbClr val="D16156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43416F6A-FA28-4F65-B4E8-6444FB617FD7}"/>
                </a:ext>
              </a:extLst>
            </p:cNvPr>
            <p:cNvGrpSpPr/>
            <p:nvPr/>
          </p:nvGrpSpPr>
          <p:grpSpPr>
            <a:xfrm>
              <a:off x="23245072" y="11549437"/>
              <a:ext cx="308029" cy="477882"/>
              <a:chOff x="23245072" y="11549437"/>
              <a:chExt cx="308029" cy="477882"/>
            </a:xfrm>
          </p:grpSpPr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68616BDB-D1A7-4517-AFB9-D2FE0180C2E7}"/>
                  </a:ext>
                </a:extLst>
              </p:cNvPr>
              <p:cNvSpPr/>
              <p:nvPr/>
            </p:nvSpPr>
            <p:spPr>
              <a:xfrm>
                <a:off x="23245072" y="11674053"/>
                <a:ext cx="308029" cy="353266"/>
              </a:xfrm>
              <a:custGeom>
                <a:avLst/>
                <a:gdLst>
                  <a:gd name="connsiteX0" fmla="*/ 94403 w 308029"/>
                  <a:gd name="connsiteY0" fmla="*/ 29670 h 353266"/>
                  <a:gd name="connsiteX1" fmla="*/ 61766 w 308029"/>
                  <a:gd name="connsiteY1" fmla="*/ 225495 h 353266"/>
                  <a:gd name="connsiteX2" fmla="*/ 198249 w 308029"/>
                  <a:gd name="connsiteY2" fmla="*/ 23736 h 353266"/>
                  <a:gd name="connsiteX3" fmla="*/ 210118 w 308029"/>
                  <a:gd name="connsiteY3" fmla="*/ 0 h 353266"/>
                  <a:gd name="connsiteX4" fmla="*/ 260558 w 308029"/>
                  <a:gd name="connsiteY4" fmla="*/ 59341 h 353266"/>
                  <a:gd name="connsiteX5" fmla="*/ 308030 w 308029"/>
                  <a:gd name="connsiteY5" fmla="*/ 186923 h 353266"/>
                  <a:gd name="connsiteX6" fmla="*/ 284294 w 308029"/>
                  <a:gd name="connsiteY6" fmla="*/ 198791 h 353266"/>
                  <a:gd name="connsiteX7" fmla="*/ 224953 w 308029"/>
                  <a:gd name="connsiteY7" fmla="*/ 109780 h 353266"/>
                  <a:gd name="connsiteX8" fmla="*/ 156712 w 308029"/>
                  <a:gd name="connsiteY8" fmla="*/ 284835 h 353266"/>
                  <a:gd name="connsiteX9" fmla="*/ 20227 w 308029"/>
                  <a:gd name="connsiteY9" fmla="*/ 353077 h 353266"/>
                  <a:gd name="connsiteX10" fmla="*/ 2426 w 308029"/>
                  <a:gd name="connsiteY10" fmla="*/ 311538 h 353266"/>
                  <a:gd name="connsiteX11" fmla="*/ 94403 w 308029"/>
                  <a:gd name="connsiteY11" fmla="*/ 29670 h 353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8029" h="353266">
                    <a:moveTo>
                      <a:pt x="94403" y="29670"/>
                    </a:moveTo>
                    <a:cubicBezTo>
                      <a:pt x="94403" y="29670"/>
                      <a:pt x="40997" y="222527"/>
                      <a:pt x="61766" y="225495"/>
                    </a:cubicBezTo>
                    <a:cubicBezTo>
                      <a:pt x="79568" y="225495"/>
                      <a:pt x="198249" y="23736"/>
                      <a:pt x="198249" y="23736"/>
                    </a:cubicBezTo>
                    <a:lnTo>
                      <a:pt x="210118" y="0"/>
                    </a:lnTo>
                    <a:cubicBezTo>
                      <a:pt x="210118" y="0"/>
                      <a:pt x="251656" y="35604"/>
                      <a:pt x="260558" y="59341"/>
                    </a:cubicBezTo>
                    <a:cubicBezTo>
                      <a:pt x="266491" y="86044"/>
                      <a:pt x="308030" y="186923"/>
                      <a:pt x="308030" y="186923"/>
                    </a:cubicBezTo>
                    <a:lnTo>
                      <a:pt x="284294" y="198791"/>
                    </a:lnTo>
                    <a:lnTo>
                      <a:pt x="224953" y="109780"/>
                    </a:lnTo>
                    <a:cubicBezTo>
                      <a:pt x="224953" y="109780"/>
                      <a:pt x="171547" y="272967"/>
                      <a:pt x="156712" y="284835"/>
                    </a:cubicBezTo>
                    <a:cubicBezTo>
                      <a:pt x="138909" y="299671"/>
                      <a:pt x="29128" y="350110"/>
                      <a:pt x="20227" y="353077"/>
                    </a:cubicBezTo>
                    <a:cubicBezTo>
                      <a:pt x="11327" y="356044"/>
                      <a:pt x="-6475" y="323406"/>
                      <a:pt x="2426" y="311538"/>
                    </a:cubicBezTo>
                    <a:cubicBezTo>
                      <a:pt x="40997" y="237363"/>
                      <a:pt x="94403" y="29670"/>
                      <a:pt x="94403" y="2967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550F9761-579B-438B-8DC1-CB156E4C3AD5}"/>
                  </a:ext>
                </a:extLst>
              </p:cNvPr>
              <p:cNvSpPr/>
              <p:nvPr/>
            </p:nvSpPr>
            <p:spPr>
              <a:xfrm>
                <a:off x="23286069" y="11549437"/>
                <a:ext cx="167299" cy="350236"/>
              </a:xfrm>
              <a:custGeom>
                <a:avLst/>
                <a:gdLst>
                  <a:gd name="connsiteX0" fmla="*/ 0 w 167299"/>
                  <a:gd name="connsiteY0" fmla="*/ 41538 h 350236"/>
                  <a:gd name="connsiteX1" fmla="*/ 53406 w 167299"/>
                  <a:gd name="connsiteY1" fmla="*/ 154286 h 350236"/>
                  <a:gd name="connsiteX2" fmla="*/ 20770 w 167299"/>
                  <a:gd name="connsiteY2" fmla="*/ 350110 h 350236"/>
                  <a:gd name="connsiteX3" fmla="*/ 166153 w 167299"/>
                  <a:gd name="connsiteY3" fmla="*/ 124616 h 350236"/>
                  <a:gd name="connsiteX4" fmla="*/ 91977 w 167299"/>
                  <a:gd name="connsiteY4" fmla="*/ 0 h 350236"/>
                  <a:gd name="connsiteX5" fmla="*/ 0 w 167299"/>
                  <a:gd name="connsiteY5" fmla="*/ 41538 h 350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7299" h="350236">
                    <a:moveTo>
                      <a:pt x="0" y="41538"/>
                    </a:moveTo>
                    <a:lnTo>
                      <a:pt x="53406" y="154286"/>
                    </a:lnTo>
                    <a:cubicBezTo>
                      <a:pt x="53406" y="154286"/>
                      <a:pt x="-5934" y="344176"/>
                      <a:pt x="20770" y="350110"/>
                    </a:cubicBezTo>
                    <a:cubicBezTo>
                      <a:pt x="47472" y="356044"/>
                      <a:pt x="180988" y="151319"/>
                      <a:pt x="166153" y="124616"/>
                    </a:cubicBezTo>
                    <a:cubicBezTo>
                      <a:pt x="145385" y="80110"/>
                      <a:pt x="91977" y="0"/>
                      <a:pt x="91977" y="0"/>
                    </a:cubicBezTo>
                    <a:lnTo>
                      <a:pt x="0" y="41538"/>
                    </a:ln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C8015F07-A69B-4CFA-9070-6C425D0576AC}"/>
                </a:ext>
              </a:extLst>
            </p:cNvPr>
            <p:cNvGrpSpPr/>
            <p:nvPr/>
          </p:nvGrpSpPr>
          <p:grpSpPr>
            <a:xfrm>
              <a:off x="23715547" y="12062734"/>
              <a:ext cx="354770" cy="378761"/>
              <a:chOff x="23715547" y="12062734"/>
              <a:chExt cx="354770" cy="378761"/>
            </a:xfrm>
          </p:grpSpPr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0B310CA0-51CB-402B-BAAE-DF68EE0B4E06}"/>
                  </a:ext>
                </a:extLst>
              </p:cNvPr>
              <p:cNvSpPr/>
              <p:nvPr/>
            </p:nvSpPr>
            <p:spPr>
              <a:xfrm>
                <a:off x="23715547" y="12187349"/>
                <a:ext cx="354770" cy="254146"/>
              </a:xfrm>
              <a:custGeom>
                <a:avLst/>
                <a:gdLst>
                  <a:gd name="connsiteX0" fmla="*/ 220302 w 354770"/>
                  <a:gd name="connsiteY0" fmla="*/ 0 h 254146"/>
                  <a:gd name="connsiteX1" fmla="*/ 104587 w 354770"/>
                  <a:gd name="connsiteY1" fmla="*/ 160220 h 254146"/>
                  <a:gd name="connsiteX2" fmla="*/ 315246 w 354770"/>
                  <a:gd name="connsiteY2" fmla="*/ 35605 h 254146"/>
                  <a:gd name="connsiteX3" fmla="*/ 336016 w 354770"/>
                  <a:gd name="connsiteY3" fmla="*/ 20770 h 254146"/>
                  <a:gd name="connsiteX4" fmla="*/ 353819 w 354770"/>
                  <a:gd name="connsiteY4" fmla="*/ 94945 h 254146"/>
                  <a:gd name="connsiteX5" fmla="*/ 341950 w 354770"/>
                  <a:gd name="connsiteY5" fmla="*/ 228462 h 254146"/>
                  <a:gd name="connsiteX6" fmla="*/ 315246 w 354770"/>
                  <a:gd name="connsiteY6" fmla="*/ 228462 h 254146"/>
                  <a:gd name="connsiteX7" fmla="*/ 300411 w 354770"/>
                  <a:gd name="connsiteY7" fmla="*/ 121649 h 254146"/>
                  <a:gd name="connsiteX8" fmla="*/ 160962 w 354770"/>
                  <a:gd name="connsiteY8" fmla="*/ 249231 h 254146"/>
                  <a:gd name="connsiteX9" fmla="*/ 6676 w 354770"/>
                  <a:gd name="connsiteY9" fmla="*/ 252198 h 254146"/>
                  <a:gd name="connsiteX10" fmla="*/ 6676 w 354770"/>
                  <a:gd name="connsiteY10" fmla="*/ 207692 h 254146"/>
                  <a:gd name="connsiteX11" fmla="*/ 220302 w 354770"/>
                  <a:gd name="connsiteY11" fmla="*/ 0 h 254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4770" h="254146">
                    <a:moveTo>
                      <a:pt x="220302" y="0"/>
                    </a:moveTo>
                    <a:cubicBezTo>
                      <a:pt x="220302" y="0"/>
                      <a:pt x="89752" y="151319"/>
                      <a:pt x="104587" y="160220"/>
                    </a:cubicBezTo>
                    <a:cubicBezTo>
                      <a:pt x="122389" y="169121"/>
                      <a:pt x="315246" y="35605"/>
                      <a:pt x="315246" y="35605"/>
                    </a:cubicBezTo>
                    <a:lnTo>
                      <a:pt x="336016" y="20770"/>
                    </a:lnTo>
                    <a:cubicBezTo>
                      <a:pt x="336016" y="20770"/>
                      <a:pt x="359751" y="68242"/>
                      <a:pt x="353819" y="94945"/>
                    </a:cubicBezTo>
                    <a:cubicBezTo>
                      <a:pt x="347884" y="121649"/>
                      <a:pt x="341950" y="228462"/>
                      <a:pt x="341950" y="228462"/>
                    </a:cubicBezTo>
                    <a:lnTo>
                      <a:pt x="315246" y="228462"/>
                    </a:lnTo>
                    <a:lnTo>
                      <a:pt x="300411" y="121649"/>
                    </a:lnTo>
                    <a:cubicBezTo>
                      <a:pt x="300411" y="121649"/>
                      <a:pt x="181729" y="246264"/>
                      <a:pt x="160962" y="249231"/>
                    </a:cubicBezTo>
                    <a:cubicBezTo>
                      <a:pt x="140192" y="255165"/>
                      <a:pt x="18543" y="255165"/>
                      <a:pt x="6676" y="252198"/>
                    </a:cubicBezTo>
                    <a:cubicBezTo>
                      <a:pt x="-2225" y="252198"/>
                      <a:pt x="-2225" y="213627"/>
                      <a:pt x="6676" y="207692"/>
                    </a:cubicBezTo>
                    <a:cubicBezTo>
                      <a:pt x="83818" y="166154"/>
                      <a:pt x="220302" y="0"/>
                      <a:pt x="220302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6A1AA389-CACB-45C1-A1E3-05F0337D733A}"/>
                  </a:ext>
                </a:extLst>
              </p:cNvPr>
              <p:cNvSpPr/>
              <p:nvPr/>
            </p:nvSpPr>
            <p:spPr>
              <a:xfrm>
                <a:off x="23817984" y="12062734"/>
                <a:ext cx="230643" cy="286529"/>
              </a:xfrm>
              <a:custGeom>
                <a:avLst/>
                <a:gdLst>
                  <a:gd name="connsiteX0" fmla="*/ 120832 w 230643"/>
                  <a:gd name="connsiteY0" fmla="*/ 0 h 286529"/>
                  <a:gd name="connsiteX1" fmla="*/ 117866 w 230643"/>
                  <a:gd name="connsiteY1" fmla="*/ 124615 h 286529"/>
                  <a:gd name="connsiteX2" fmla="*/ 2151 w 230643"/>
                  <a:gd name="connsiteY2" fmla="*/ 284834 h 286529"/>
                  <a:gd name="connsiteX3" fmla="*/ 230613 w 230643"/>
                  <a:gd name="connsiteY3" fmla="*/ 145384 h 286529"/>
                  <a:gd name="connsiteX4" fmla="*/ 230613 w 230643"/>
                  <a:gd name="connsiteY4" fmla="*/ 0 h 286529"/>
                  <a:gd name="connsiteX5" fmla="*/ 120832 w 230643"/>
                  <a:gd name="connsiteY5" fmla="*/ 0 h 286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0643" h="286529">
                    <a:moveTo>
                      <a:pt x="120832" y="0"/>
                    </a:moveTo>
                    <a:lnTo>
                      <a:pt x="117866" y="124615"/>
                    </a:lnTo>
                    <a:cubicBezTo>
                      <a:pt x="117866" y="124615"/>
                      <a:pt x="-18619" y="269999"/>
                      <a:pt x="2151" y="284834"/>
                    </a:cubicBezTo>
                    <a:cubicBezTo>
                      <a:pt x="22921" y="302637"/>
                      <a:pt x="233579" y="175055"/>
                      <a:pt x="230613" y="145384"/>
                    </a:cubicBezTo>
                    <a:cubicBezTo>
                      <a:pt x="230613" y="97912"/>
                      <a:pt x="230613" y="0"/>
                      <a:pt x="230613" y="0"/>
                    </a:cubicBezTo>
                    <a:lnTo>
                      <a:pt x="120832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D9132CC3-D5B2-4B30-9D96-FDC857AB4553}"/>
                </a:ext>
              </a:extLst>
            </p:cNvPr>
            <p:cNvSpPr/>
            <p:nvPr/>
          </p:nvSpPr>
          <p:spPr>
            <a:xfrm>
              <a:off x="22905281" y="9695042"/>
              <a:ext cx="1319086" cy="2444834"/>
            </a:xfrm>
            <a:custGeom>
              <a:avLst/>
              <a:gdLst>
                <a:gd name="connsiteX0" fmla="*/ 1190787 w 1319086"/>
                <a:gd name="connsiteY0" fmla="*/ 0 h 2444834"/>
                <a:gd name="connsiteX1" fmla="*/ 549909 w 1319086"/>
                <a:gd name="connsiteY1" fmla="*/ 11868 h 2444834"/>
                <a:gd name="connsiteX2" fmla="*/ 18809 w 1319086"/>
                <a:gd name="connsiteY2" fmla="*/ 904945 h 2444834"/>
                <a:gd name="connsiteX3" fmla="*/ 6942 w 1319086"/>
                <a:gd name="connsiteY3" fmla="*/ 1011758 h 2444834"/>
                <a:gd name="connsiteX4" fmla="*/ 360018 w 1319086"/>
                <a:gd name="connsiteY4" fmla="*/ 1996814 h 2444834"/>
                <a:gd name="connsiteX5" fmla="*/ 538040 w 1319086"/>
                <a:gd name="connsiteY5" fmla="*/ 1904836 h 2444834"/>
                <a:gd name="connsiteX6" fmla="*/ 362986 w 1319086"/>
                <a:gd name="connsiteY6" fmla="*/ 1044396 h 2444834"/>
                <a:gd name="connsiteX7" fmla="*/ 763536 w 1319086"/>
                <a:gd name="connsiteY7" fmla="*/ 676484 h 2444834"/>
                <a:gd name="connsiteX8" fmla="*/ 977161 w 1319086"/>
                <a:gd name="connsiteY8" fmla="*/ 2444835 h 2444834"/>
                <a:gd name="connsiteX9" fmla="*/ 1167052 w 1319086"/>
                <a:gd name="connsiteY9" fmla="*/ 2444835 h 2444834"/>
                <a:gd name="connsiteX10" fmla="*/ 1318370 w 1319086"/>
                <a:gd name="connsiteY10" fmla="*/ 406484 h 2444834"/>
                <a:gd name="connsiteX11" fmla="*/ 1190787 w 1319086"/>
                <a:gd name="connsiteY11" fmla="*/ 0 h 2444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19086" h="2444834">
                  <a:moveTo>
                    <a:pt x="1190787" y="0"/>
                  </a:moveTo>
                  <a:lnTo>
                    <a:pt x="549909" y="11868"/>
                  </a:lnTo>
                  <a:lnTo>
                    <a:pt x="18809" y="904945"/>
                  </a:lnTo>
                  <a:cubicBezTo>
                    <a:pt x="-1960" y="937583"/>
                    <a:pt x="-4927" y="976154"/>
                    <a:pt x="6942" y="1011758"/>
                  </a:cubicBezTo>
                  <a:lnTo>
                    <a:pt x="360018" y="1996814"/>
                  </a:lnTo>
                  <a:lnTo>
                    <a:pt x="538040" y="1904836"/>
                  </a:lnTo>
                  <a:lnTo>
                    <a:pt x="362986" y="1044396"/>
                  </a:lnTo>
                  <a:lnTo>
                    <a:pt x="763536" y="676484"/>
                  </a:lnTo>
                  <a:lnTo>
                    <a:pt x="977161" y="2444835"/>
                  </a:lnTo>
                  <a:lnTo>
                    <a:pt x="1167052" y="2444835"/>
                  </a:lnTo>
                  <a:cubicBezTo>
                    <a:pt x="1167052" y="2444835"/>
                    <a:pt x="1309469" y="522198"/>
                    <a:pt x="1318370" y="406484"/>
                  </a:cubicBezTo>
                  <a:cubicBezTo>
                    <a:pt x="1330238" y="287803"/>
                    <a:pt x="1190787" y="0"/>
                    <a:pt x="1190787" y="0"/>
                  </a:cubicBezTo>
                  <a:close/>
                </a:path>
              </a:pathLst>
            </a:custGeom>
            <a:solidFill>
              <a:srgbClr val="7F95BC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442F5DEC-084E-4BC6-9DE9-B07E7CCDFAD9}"/>
                </a:ext>
              </a:extLst>
            </p:cNvPr>
            <p:cNvSpPr/>
            <p:nvPr/>
          </p:nvSpPr>
          <p:spPr>
            <a:xfrm>
              <a:off x="23662882" y="10166800"/>
              <a:ext cx="225493" cy="1979011"/>
            </a:xfrm>
            <a:custGeom>
              <a:avLst/>
              <a:gdLst>
                <a:gd name="connsiteX0" fmla="*/ 219559 w 225493"/>
                <a:gd name="connsiteY0" fmla="*/ 1979011 h 1979011"/>
                <a:gd name="connsiteX1" fmla="*/ 213627 w 225493"/>
                <a:gd name="connsiteY1" fmla="*/ 1973077 h 1979011"/>
                <a:gd name="connsiteX2" fmla="*/ 0 w 225493"/>
                <a:gd name="connsiteY2" fmla="*/ 204726 h 1979011"/>
                <a:gd name="connsiteX3" fmla="*/ 11867 w 225493"/>
                <a:gd name="connsiteY3" fmla="*/ 5934 h 1979011"/>
                <a:gd name="connsiteX4" fmla="*/ 17801 w 225493"/>
                <a:gd name="connsiteY4" fmla="*/ 0 h 1979011"/>
                <a:gd name="connsiteX5" fmla="*/ 23736 w 225493"/>
                <a:gd name="connsiteY5" fmla="*/ 5934 h 1979011"/>
                <a:gd name="connsiteX6" fmla="*/ 11867 w 225493"/>
                <a:gd name="connsiteY6" fmla="*/ 201759 h 1979011"/>
                <a:gd name="connsiteX7" fmla="*/ 225494 w 225493"/>
                <a:gd name="connsiteY7" fmla="*/ 1970111 h 1979011"/>
                <a:gd name="connsiteX8" fmla="*/ 219559 w 225493"/>
                <a:gd name="connsiteY8" fmla="*/ 1979011 h 1979011"/>
                <a:gd name="connsiteX9" fmla="*/ 219559 w 225493"/>
                <a:gd name="connsiteY9" fmla="*/ 1979011 h 197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493" h="1979011">
                  <a:moveTo>
                    <a:pt x="219559" y="1979011"/>
                  </a:moveTo>
                  <a:cubicBezTo>
                    <a:pt x="216593" y="1979011"/>
                    <a:pt x="213627" y="1976044"/>
                    <a:pt x="213627" y="1973077"/>
                  </a:cubicBezTo>
                  <a:lnTo>
                    <a:pt x="0" y="204726"/>
                  </a:lnTo>
                  <a:lnTo>
                    <a:pt x="11867" y="5934"/>
                  </a:lnTo>
                  <a:cubicBezTo>
                    <a:pt x="11867" y="2967"/>
                    <a:pt x="14835" y="0"/>
                    <a:pt x="17801" y="0"/>
                  </a:cubicBezTo>
                  <a:cubicBezTo>
                    <a:pt x="20770" y="0"/>
                    <a:pt x="23736" y="2967"/>
                    <a:pt x="23736" y="5934"/>
                  </a:cubicBezTo>
                  <a:lnTo>
                    <a:pt x="11867" y="201759"/>
                  </a:lnTo>
                  <a:lnTo>
                    <a:pt x="225494" y="1970111"/>
                  </a:lnTo>
                  <a:cubicBezTo>
                    <a:pt x="225494" y="1976044"/>
                    <a:pt x="225494" y="1979011"/>
                    <a:pt x="219559" y="1979011"/>
                  </a:cubicBezTo>
                  <a:cubicBezTo>
                    <a:pt x="219559" y="1979011"/>
                    <a:pt x="219559" y="1979011"/>
                    <a:pt x="219559" y="1979011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191F93E6-954C-4D9C-8BDF-4C61CAB29DF7}"/>
                </a:ext>
              </a:extLst>
            </p:cNvPr>
            <p:cNvSpPr/>
            <p:nvPr/>
          </p:nvSpPr>
          <p:spPr>
            <a:xfrm>
              <a:off x="23355388" y="8767950"/>
              <a:ext cx="798578" cy="959816"/>
            </a:xfrm>
            <a:custGeom>
              <a:avLst/>
              <a:gdLst>
                <a:gd name="connsiteX0" fmla="*/ 755516 w 798578"/>
                <a:gd name="connsiteY0" fmla="*/ 381158 h 959816"/>
                <a:gd name="connsiteX1" fmla="*/ 740681 w 798578"/>
                <a:gd name="connsiteY1" fmla="*/ 66652 h 959816"/>
                <a:gd name="connsiteX2" fmla="*/ 381670 w 798578"/>
                <a:gd name="connsiteY2" fmla="*/ 4345 h 959816"/>
                <a:gd name="connsiteX3" fmla="*/ 87933 w 798578"/>
                <a:gd name="connsiteY3" fmla="*/ 102257 h 959816"/>
                <a:gd name="connsiteX4" fmla="*/ 49362 w 798578"/>
                <a:gd name="connsiteY4" fmla="*/ 636323 h 959816"/>
                <a:gd name="connsiteX5" fmla="*/ 90901 w 798578"/>
                <a:gd name="connsiteY5" fmla="*/ 953795 h 959816"/>
                <a:gd name="connsiteX6" fmla="*/ 749581 w 798578"/>
                <a:gd name="connsiteY6" fmla="*/ 938960 h 959816"/>
                <a:gd name="connsiteX7" fmla="*/ 755516 w 798578"/>
                <a:gd name="connsiteY7" fmla="*/ 381158 h 959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8578" h="959816">
                  <a:moveTo>
                    <a:pt x="755516" y="381158"/>
                  </a:moveTo>
                  <a:cubicBezTo>
                    <a:pt x="764417" y="351488"/>
                    <a:pt x="856396" y="128960"/>
                    <a:pt x="740681" y="66652"/>
                  </a:cubicBezTo>
                  <a:cubicBezTo>
                    <a:pt x="639803" y="13246"/>
                    <a:pt x="497384" y="-10490"/>
                    <a:pt x="381670" y="4345"/>
                  </a:cubicBezTo>
                  <a:cubicBezTo>
                    <a:pt x="254088" y="19180"/>
                    <a:pt x="126504" y="39949"/>
                    <a:pt x="87933" y="102257"/>
                  </a:cubicBezTo>
                  <a:cubicBezTo>
                    <a:pt x="-21847" y="283246"/>
                    <a:pt x="-21847" y="443466"/>
                    <a:pt x="49362" y="636323"/>
                  </a:cubicBezTo>
                  <a:cubicBezTo>
                    <a:pt x="70132" y="692696"/>
                    <a:pt x="76066" y="823246"/>
                    <a:pt x="90901" y="953795"/>
                  </a:cubicBezTo>
                  <a:cubicBezTo>
                    <a:pt x="90901" y="953795"/>
                    <a:pt x="366835" y="974565"/>
                    <a:pt x="749581" y="938960"/>
                  </a:cubicBezTo>
                  <a:cubicBezTo>
                    <a:pt x="719911" y="725334"/>
                    <a:pt x="749581" y="401927"/>
                    <a:pt x="755516" y="381158"/>
                  </a:cubicBezTo>
                  <a:close/>
                </a:path>
              </a:pathLst>
            </a:custGeom>
            <a:solidFill>
              <a:srgbClr val="D16156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22525C78-9FF6-43D4-A17F-05DD8BDB20CF}"/>
                </a:ext>
              </a:extLst>
            </p:cNvPr>
            <p:cNvSpPr/>
            <p:nvPr/>
          </p:nvSpPr>
          <p:spPr>
            <a:xfrm>
              <a:off x="23630244" y="8594179"/>
              <a:ext cx="299671" cy="218390"/>
            </a:xfrm>
            <a:custGeom>
              <a:avLst/>
              <a:gdLst>
                <a:gd name="connsiteX0" fmla="*/ 53408 w 299671"/>
                <a:gd name="connsiteY0" fmla="*/ 59435 h 218390"/>
                <a:gd name="connsiteX1" fmla="*/ 0 w 299671"/>
                <a:gd name="connsiteY1" fmla="*/ 195918 h 218390"/>
                <a:gd name="connsiteX2" fmla="*/ 299671 w 299671"/>
                <a:gd name="connsiteY2" fmla="*/ 181083 h 218390"/>
                <a:gd name="connsiteX3" fmla="*/ 249232 w 299671"/>
                <a:gd name="connsiteY3" fmla="*/ 94 h 218390"/>
                <a:gd name="connsiteX4" fmla="*/ 53408 w 299671"/>
                <a:gd name="connsiteY4" fmla="*/ 59435 h 218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671" h="218390">
                  <a:moveTo>
                    <a:pt x="53408" y="59435"/>
                  </a:moveTo>
                  <a:cubicBezTo>
                    <a:pt x="53408" y="59435"/>
                    <a:pt x="59341" y="166248"/>
                    <a:pt x="0" y="195918"/>
                  </a:cubicBezTo>
                  <a:cubicBezTo>
                    <a:pt x="0" y="195918"/>
                    <a:pt x="175056" y="255259"/>
                    <a:pt x="299671" y="181083"/>
                  </a:cubicBezTo>
                  <a:cubicBezTo>
                    <a:pt x="246265" y="139545"/>
                    <a:pt x="249232" y="59435"/>
                    <a:pt x="249232" y="94"/>
                  </a:cubicBezTo>
                  <a:cubicBezTo>
                    <a:pt x="249232" y="-2873"/>
                    <a:pt x="106814" y="65369"/>
                    <a:pt x="53408" y="59435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1BA3CDD0-5480-4193-8398-2330423E8C52}"/>
                </a:ext>
              </a:extLst>
            </p:cNvPr>
            <p:cNvSpPr/>
            <p:nvPr/>
          </p:nvSpPr>
          <p:spPr>
            <a:xfrm>
              <a:off x="23353505" y="8867240"/>
              <a:ext cx="98716" cy="540000"/>
            </a:xfrm>
            <a:custGeom>
              <a:avLst/>
              <a:gdLst>
                <a:gd name="connsiteX0" fmla="*/ 54211 w 98716"/>
                <a:gd name="connsiteY0" fmla="*/ 540000 h 540000"/>
                <a:gd name="connsiteX1" fmla="*/ 48278 w 98716"/>
                <a:gd name="connsiteY1" fmla="*/ 537033 h 540000"/>
                <a:gd name="connsiteX2" fmla="*/ 33443 w 98716"/>
                <a:gd name="connsiteY2" fmla="*/ 483626 h 540000"/>
                <a:gd name="connsiteX3" fmla="*/ 805 w 98716"/>
                <a:gd name="connsiteY3" fmla="*/ 338242 h 540000"/>
                <a:gd name="connsiteX4" fmla="*/ 86850 w 98716"/>
                <a:gd name="connsiteY4" fmla="*/ 2967 h 540000"/>
                <a:gd name="connsiteX5" fmla="*/ 95750 w 98716"/>
                <a:gd name="connsiteY5" fmla="*/ 0 h 540000"/>
                <a:gd name="connsiteX6" fmla="*/ 98717 w 98716"/>
                <a:gd name="connsiteY6" fmla="*/ 8901 h 540000"/>
                <a:gd name="connsiteX7" fmla="*/ 12674 w 98716"/>
                <a:gd name="connsiteY7" fmla="*/ 338242 h 540000"/>
                <a:gd name="connsiteX8" fmla="*/ 45310 w 98716"/>
                <a:gd name="connsiteY8" fmla="*/ 483626 h 540000"/>
                <a:gd name="connsiteX9" fmla="*/ 60146 w 98716"/>
                <a:gd name="connsiteY9" fmla="*/ 537033 h 540000"/>
                <a:gd name="connsiteX10" fmla="*/ 54211 w 98716"/>
                <a:gd name="connsiteY10" fmla="*/ 540000 h 540000"/>
                <a:gd name="connsiteX11" fmla="*/ 54211 w 98716"/>
                <a:gd name="connsiteY11" fmla="*/ 540000 h 5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8716" h="540000">
                  <a:moveTo>
                    <a:pt x="54211" y="540000"/>
                  </a:moveTo>
                  <a:cubicBezTo>
                    <a:pt x="51245" y="540000"/>
                    <a:pt x="48278" y="537033"/>
                    <a:pt x="48278" y="537033"/>
                  </a:cubicBezTo>
                  <a:cubicBezTo>
                    <a:pt x="42344" y="519231"/>
                    <a:pt x="39376" y="501428"/>
                    <a:pt x="33443" y="483626"/>
                  </a:cubicBezTo>
                  <a:cubicBezTo>
                    <a:pt x="18608" y="433187"/>
                    <a:pt x="3773" y="382747"/>
                    <a:pt x="805" y="338242"/>
                  </a:cubicBezTo>
                  <a:cubicBezTo>
                    <a:pt x="-5130" y="216594"/>
                    <a:pt x="21574" y="103846"/>
                    <a:pt x="86850" y="2967"/>
                  </a:cubicBezTo>
                  <a:cubicBezTo>
                    <a:pt x="89816" y="0"/>
                    <a:pt x="92784" y="0"/>
                    <a:pt x="95750" y="0"/>
                  </a:cubicBezTo>
                  <a:cubicBezTo>
                    <a:pt x="98717" y="2967"/>
                    <a:pt x="98717" y="5934"/>
                    <a:pt x="98717" y="8901"/>
                  </a:cubicBezTo>
                  <a:cubicBezTo>
                    <a:pt x="36410" y="109780"/>
                    <a:pt x="6739" y="219560"/>
                    <a:pt x="12674" y="338242"/>
                  </a:cubicBezTo>
                  <a:cubicBezTo>
                    <a:pt x="15640" y="382747"/>
                    <a:pt x="30475" y="433187"/>
                    <a:pt x="45310" y="483626"/>
                  </a:cubicBezTo>
                  <a:cubicBezTo>
                    <a:pt x="51245" y="501428"/>
                    <a:pt x="57179" y="519231"/>
                    <a:pt x="60146" y="537033"/>
                  </a:cubicBezTo>
                  <a:cubicBezTo>
                    <a:pt x="63114" y="534066"/>
                    <a:pt x="60146" y="537033"/>
                    <a:pt x="54211" y="540000"/>
                  </a:cubicBezTo>
                  <a:cubicBezTo>
                    <a:pt x="57179" y="540000"/>
                    <a:pt x="57179" y="540000"/>
                    <a:pt x="54211" y="540000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BB56C452-4842-489A-94CE-BBDE5F7391A9}"/>
                </a:ext>
              </a:extLst>
            </p:cNvPr>
            <p:cNvSpPr/>
            <p:nvPr/>
          </p:nvSpPr>
          <p:spPr>
            <a:xfrm>
              <a:off x="23472991" y="9294681"/>
              <a:ext cx="389911" cy="35415"/>
            </a:xfrm>
            <a:custGeom>
              <a:avLst/>
              <a:gdLst>
                <a:gd name="connsiteX0" fmla="*/ 5934 w 389911"/>
                <a:gd name="connsiteY0" fmla="*/ 35416 h 35415"/>
                <a:gd name="connsiteX1" fmla="*/ 0 w 389911"/>
                <a:gd name="connsiteY1" fmla="*/ 32449 h 35415"/>
                <a:gd name="connsiteX2" fmla="*/ 2968 w 389911"/>
                <a:gd name="connsiteY2" fmla="*/ 26514 h 35415"/>
                <a:gd name="connsiteX3" fmla="*/ 385714 w 389911"/>
                <a:gd name="connsiteY3" fmla="*/ 14646 h 35415"/>
                <a:gd name="connsiteX4" fmla="*/ 388682 w 389911"/>
                <a:gd name="connsiteY4" fmla="*/ 20581 h 35415"/>
                <a:gd name="connsiteX5" fmla="*/ 382748 w 389911"/>
                <a:gd name="connsiteY5" fmla="*/ 23548 h 35415"/>
                <a:gd name="connsiteX6" fmla="*/ 5934 w 389911"/>
                <a:gd name="connsiteY6" fmla="*/ 35416 h 35415"/>
                <a:gd name="connsiteX7" fmla="*/ 5934 w 389911"/>
                <a:gd name="connsiteY7" fmla="*/ 35416 h 3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9911" h="35415">
                  <a:moveTo>
                    <a:pt x="5934" y="35416"/>
                  </a:moveTo>
                  <a:cubicBezTo>
                    <a:pt x="2968" y="35416"/>
                    <a:pt x="2968" y="35416"/>
                    <a:pt x="0" y="32449"/>
                  </a:cubicBezTo>
                  <a:cubicBezTo>
                    <a:pt x="0" y="29481"/>
                    <a:pt x="0" y="26514"/>
                    <a:pt x="2968" y="26514"/>
                  </a:cubicBezTo>
                  <a:cubicBezTo>
                    <a:pt x="86045" y="-3156"/>
                    <a:pt x="287803" y="-9090"/>
                    <a:pt x="385714" y="14646"/>
                  </a:cubicBezTo>
                  <a:cubicBezTo>
                    <a:pt x="388682" y="14646"/>
                    <a:pt x="391649" y="17613"/>
                    <a:pt x="388682" y="20581"/>
                  </a:cubicBezTo>
                  <a:cubicBezTo>
                    <a:pt x="388682" y="23548"/>
                    <a:pt x="385714" y="26514"/>
                    <a:pt x="382748" y="23548"/>
                  </a:cubicBezTo>
                  <a:cubicBezTo>
                    <a:pt x="287803" y="-189"/>
                    <a:pt x="89011" y="5746"/>
                    <a:pt x="5934" y="35416"/>
                  </a:cubicBezTo>
                  <a:cubicBezTo>
                    <a:pt x="5934" y="35416"/>
                    <a:pt x="5934" y="35416"/>
                    <a:pt x="5934" y="35416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2D34E500-8F45-4DCF-A596-4D1916D5E595}"/>
                </a:ext>
              </a:extLst>
            </p:cNvPr>
            <p:cNvSpPr/>
            <p:nvPr/>
          </p:nvSpPr>
          <p:spPr>
            <a:xfrm>
              <a:off x="23606508" y="8775261"/>
              <a:ext cx="350109" cy="62307"/>
            </a:xfrm>
            <a:custGeom>
              <a:avLst/>
              <a:gdLst>
                <a:gd name="connsiteX0" fmla="*/ 35605 w 350109"/>
                <a:gd name="connsiteY0" fmla="*/ 8901 h 62307"/>
                <a:gd name="connsiteX1" fmla="*/ 326374 w 350109"/>
                <a:gd name="connsiteY1" fmla="*/ 0 h 62307"/>
                <a:gd name="connsiteX2" fmla="*/ 350110 w 350109"/>
                <a:gd name="connsiteY2" fmla="*/ 8901 h 62307"/>
                <a:gd name="connsiteX3" fmla="*/ 166155 w 350109"/>
                <a:gd name="connsiteY3" fmla="*/ 62308 h 62307"/>
                <a:gd name="connsiteX4" fmla="*/ 0 w 350109"/>
                <a:gd name="connsiteY4" fmla="*/ 14835 h 62307"/>
                <a:gd name="connsiteX5" fmla="*/ 35605 w 350109"/>
                <a:gd name="connsiteY5" fmla="*/ 8901 h 6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109" h="62307">
                  <a:moveTo>
                    <a:pt x="35605" y="8901"/>
                  </a:moveTo>
                  <a:cubicBezTo>
                    <a:pt x="35605" y="8901"/>
                    <a:pt x="145385" y="65275"/>
                    <a:pt x="326374" y="0"/>
                  </a:cubicBezTo>
                  <a:lnTo>
                    <a:pt x="350110" y="8901"/>
                  </a:lnTo>
                  <a:cubicBezTo>
                    <a:pt x="350110" y="8901"/>
                    <a:pt x="272967" y="62308"/>
                    <a:pt x="166155" y="62308"/>
                  </a:cubicBezTo>
                  <a:cubicBezTo>
                    <a:pt x="65275" y="62308"/>
                    <a:pt x="0" y="14835"/>
                    <a:pt x="0" y="14835"/>
                  </a:cubicBezTo>
                  <a:cubicBezTo>
                    <a:pt x="0" y="14835"/>
                    <a:pt x="14835" y="8901"/>
                    <a:pt x="35605" y="8901"/>
                  </a:cubicBezTo>
                  <a:close/>
                </a:path>
              </a:pathLst>
            </a:custGeom>
            <a:solidFill>
              <a:srgbClr val="F6EBE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7878C237-C87D-4AAE-9D99-1CF6636E1BE2}"/>
                </a:ext>
              </a:extLst>
            </p:cNvPr>
            <p:cNvSpPr/>
            <p:nvPr/>
          </p:nvSpPr>
          <p:spPr>
            <a:xfrm>
              <a:off x="24040570" y="8901359"/>
              <a:ext cx="936707" cy="614027"/>
            </a:xfrm>
            <a:custGeom>
              <a:avLst/>
              <a:gdLst>
                <a:gd name="connsiteX0" fmla="*/ 5058 w 936707"/>
                <a:gd name="connsiteY0" fmla="*/ 111265 h 614027"/>
                <a:gd name="connsiteX1" fmla="*/ 200883 w 936707"/>
                <a:gd name="connsiteY1" fmla="*/ 87529 h 614027"/>
                <a:gd name="connsiteX2" fmla="*/ 512422 w 936707"/>
                <a:gd name="connsiteY2" fmla="*/ 425771 h 614027"/>
                <a:gd name="connsiteX3" fmla="*/ 895168 w 936707"/>
                <a:gd name="connsiteY3" fmla="*/ 402035 h 614027"/>
                <a:gd name="connsiteX4" fmla="*/ 936707 w 936707"/>
                <a:gd name="connsiteY4" fmla="*/ 514782 h 614027"/>
                <a:gd name="connsiteX5" fmla="*/ 399675 w 936707"/>
                <a:gd name="connsiteY5" fmla="*/ 600826 h 614027"/>
                <a:gd name="connsiteX6" fmla="*/ 5058 w 936707"/>
                <a:gd name="connsiteY6" fmla="*/ 111265 h 614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6707" h="614027">
                  <a:moveTo>
                    <a:pt x="5058" y="111265"/>
                  </a:moveTo>
                  <a:cubicBezTo>
                    <a:pt x="58466" y="-60822"/>
                    <a:pt x="114839" y="-4449"/>
                    <a:pt x="200883" y="87529"/>
                  </a:cubicBezTo>
                  <a:cubicBezTo>
                    <a:pt x="289894" y="185441"/>
                    <a:pt x="485718" y="410936"/>
                    <a:pt x="512422" y="425771"/>
                  </a:cubicBezTo>
                  <a:cubicBezTo>
                    <a:pt x="571763" y="422804"/>
                    <a:pt x="895168" y="402035"/>
                    <a:pt x="895168" y="402035"/>
                  </a:cubicBezTo>
                  <a:cubicBezTo>
                    <a:pt x="889235" y="431705"/>
                    <a:pt x="936707" y="514782"/>
                    <a:pt x="936707" y="514782"/>
                  </a:cubicBezTo>
                  <a:cubicBezTo>
                    <a:pt x="936707" y="514782"/>
                    <a:pt x="518356" y="657199"/>
                    <a:pt x="399675" y="600826"/>
                  </a:cubicBezTo>
                  <a:cubicBezTo>
                    <a:pt x="337366" y="577090"/>
                    <a:pt x="-48348" y="283353"/>
                    <a:pt x="5058" y="111265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A6E0860A-4BC0-475A-B148-B551BA41DAE5}"/>
                </a:ext>
              </a:extLst>
            </p:cNvPr>
            <p:cNvSpPr/>
            <p:nvPr/>
          </p:nvSpPr>
          <p:spPr>
            <a:xfrm>
              <a:off x="23949652" y="8812901"/>
              <a:ext cx="392679" cy="434119"/>
            </a:xfrm>
            <a:custGeom>
              <a:avLst/>
              <a:gdLst>
                <a:gd name="connsiteX0" fmla="*/ 392680 w 392679"/>
                <a:gd name="connsiteY0" fmla="*/ 223460 h 434119"/>
                <a:gd name="connsiteX1" fmla="*/ 66306 w 392679"/>
                <a:gd name="connsiteY1" fmla="*/ 3899 h 434119"/>
                <a:gd name="connsiteX2" fmla="*/ 93010 w 392679"/>
                <a:gd name="connsiteY2" fmla="*/ 434119 h 434119"/>
                <a:gd name="connsiteX3" fmla="*/ 392680 w 392679"/>
                <a:gd name="connsiteY3" fmla="*/ 223460 h 434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2679" h="434119">
                  <a:moveTo>
                    <a:pt x="392680" y="223460"/>
                  </a:moveTo>
                  <a:cubicBezTo>
                    <a:pt x="306637" y="66207"/>
                    <a:pt x="140482" y="-19837"/>
                    <a:pt x="66306" y="3899"/>
                  </a:cubicBezTo>
                  <a:cubicBezTo>
                    <a:pt x="-31605" y="33570"/>
                    <a:pt x="-19737" y="267965"/>
                    <a:pt x="93010" y="434119"/>
                  </a:cubicBezTo>
                  <a:cubicBezTo>
                    <a:pt x="167186" y="431152"/>
                    <a:pt x="324439" y="297635"/>
                    <a:pt x="392680" y="223460"/>
                  </a:cubicBezTo>
                  <a:close/>
                </a:path>
              </a:pathLst>
            </a:custGeom>
            <a:solidFill>
              <a:srgbClr val="D16156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F8CE7DE8-9B07-4FEF-9BF4-912E50C9DD32}"/>
                </a:ext>
              </a:extLst>
            </p:cNvPr>
            <p:cNvSpPr/>
            <p:nvPr/>
          </p:nvSpPr>
          <p:spPr>
            <a:xfrm>
              <a:off x="23949071" y="8827439"/>
              <a:ext cx="228425" cy="425514"/>
            </a:xfrm>
            <a:custGeom>
              <a:avLst/>
              <a:gdLst>
                <a:gd name="connsiteX0" fmla="*/ 99525 w 228425"/>
                <a:gd name="connsiteY0" fmla="*/ 425515 h 425514"/>
                <a:gd name="connsiteX1" fmla="*/ 93591 w 228425"/>
                <a:gd name="connsiteY1" fmla="*/ 425515 h 425514"/>
                <a:gd name="connsiteX2" fmla="*/ 93591 w 228425"/>
                <a:gd name="connsiteY2" fmla="*/ 425515 h 425514"/>
                <a:gd name="connsiteX3" fmla="*/ 93591 w 228425"/>
                <a:gd name="connsiteY3" fmla="*/ 425515 h 425514"/>
                <a:gd name="connsiteX4" fmla="*/ 4580 w 228425"/>
                <a:gd name="connsiteY4" fmla="*/ 60570 h 425514"/>
                <a:gd name="connsiteX5" fmla="*/ 40185 w 228425"/>
                <a:gd name="connsiteY5" fmla="*/ 1229 h 425514"/>
                <a:gd name="connsiteX6" fmla="*/ 49085 w 228425"/>
                <a:gd name="connsiteY6" fmla="*/ 4196 h 425514"/>
                <a:gd name="connsiteX7" fmla="*/ 46119 w 228425"/>
                <a:gd name="connsiteY7" fmla="*/ 13097 h 425514"/>
                <a:gd name="connsiteX8" fmla="*/ 13481 w 228425"/>
                <a:gd name="connsiteY8" fmla="*/ 66504 h 425514"/>
                <a:gd name="connsiteX9" fmla="*/ 99525 w 228425"/>
                <a:gd name="connsiteY9" fmla="*/ 419581 h 425514"/>
                <a:gd name="connsiteX10" fmla="*/ 99525 w 228425"/>
                <a:gd name="connsiteY10" fmla="*/ 419581 h 425514"/>
                <a:gd name="connsiteX11" fmla="*/ 218207 w 228425"/>
                <a:gd name="connsiteY11" fmla="*/ 354306 h 425514"/>
                <a:gd name="connsiteX12" fmla="*/ 227107 w 228425"/>
                <a:gd name="connsiteY12" fmla="*/ 354306 h 425514"/>
                <a:gd name="connsiteX13" fmla="*/ 227107 w 228425"/>
                <a:gd name="connsiteY13" fmla="*/ 363207 h 425514"/>
                <a:gd name="connsiteX14" fmla="*/ 99525 w 228425"/>
                <a:gd name="connsiteY14" fmla="*/ 425515 h 425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425" h="425514">
                  <a:moveTo>
                    <a:pt x="99525" y="425515"/>
                  </a:moveTo>
                  <a:cubicBezTo>
                    <a:pt x="96557" y="425515"/>
                    <a:pt x="93591" y="425515"/>
                    <a:pt x="93591" y="425515"/>
                  </a:cubicBezTo>
                  <a:lnTo>
                    <a:pt x="93591" y="425515"/>
                  </a:lnTo>
                  <a:lnTo>
                    <a:pt x="93591" y="425515"/>
                  </a:lnTo>
                  <a:cubicBezTo>
                    <a:pt x="37217" y="345405"/>
                    <a:pt x="-16190" y="161449"/>
                    <a:pt x="4580" y="60570"/>
                  </a:cubicBezTo>
                  <a:cubicBezTo>
                    <a:pt x="10514" y="30899"/>
                    <a:pt x="22381" y="10130"/>
                    <a:pt x="40185" y="1229"/>
                  </a:cubicBezTo>
                  <a:cubicBezTo>
                    <a:pt x="43151" y="-1738"/>
                    <a:pt x="46119" y="1229"/>
                    <a:pt x="49085" y="4196"/>
                  </a:cubicBezTo>
                  <a:cubicBezTo>
                    <a:pt x="52052" y="7163"/>
                    <a:pt x="49085" y="10130"/>
                    <a:pt x="46119" y="13097"/>
                  </a:cubicBezTo>
                  <a:cubicBezTo>
                    <a:pt x="31284" y="21998"/>
                    <a:pt x="19415" y="39800"/>
                    <a:pt x="13481" y="66504"/>
                  </a:cubicBezTo>
                  <a:cubicBezTo>
                    <a:pt x="-7289" y="161449"/>
                    <a:pt x="43151" y="339471"/>
                    <a:pt x="99525" y="419581"/>
                  </a:cubicBezTo>
                  <a:cubicBezTo>
                    <a:pt x="99525" y="419581"/>
                    <a:pt x="99525" y="419581"/>
                    <a:pt x="99525" y="419581"/>
                  </a:cubicBezTo>
                  <a:cubicBezTo>
                    <a:pt x="105460" y="419581"/>
                    <a:pt x="138096" y="416613"/>
                    <a:pt x="218207" y="354306"/>
                  </a:cubicBezTo>
                  <a:cubicBezTo>
                    <a:pt x="221173" y="351339"/>
                    <a:pt x="224141" y="354306"/>
                    <a:pt x="227107" y="354306"/>
                  </a:cubicBezTo>
                  <a:cubicBezTo>
                    <a:pt x="230074" y="357273"/>
                    <a:pt x="227107" y="360240"/>
                    <a:pt x="227107" y="363207"/>
                  </a:cubicBezTo>
                  <a:cubicBezTo>
                    <a:pt x="146997" y="416613"/>
                    <a:pt x="111392" y="425515"/>
                    <a:pt x="99525" y="425515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A83EA4B4-D62F-457F-8F71-15D8135C12D0}"/>
                </a:ext>
              </a:extLst>
            </p:cNvPr>
            <p:cNvSpPr/>
            <p:nvPr/>
          </p:nvSpPr>
          <p:spPr>
            <a:xfrm>
              <a:off x="24048597" y="9846360"/>
              <a:ext cx="176283" cy="183956"/>
            </a:xfrm>
            <a:custGeom>
              <a:avLst/>
              <a:gdLst>
                <a:gd name="connsiteX0" fmla="*/ 169121 w 176283"/>
                <a:gd name="connsiteY0" fmla="*/ 183956 h 183956"/>
                <a:gd name="connsiteX1" fmla="*/ 169121 w 176283"/>
                <a:gd name="connsiteY1" fmla="*/ 183956 h 183956"/>
                <a:gd name="connsiteX2" fmla="*/ 0 w 176283"/>
                <a:gd name="connsiteY2" fmla="*/ 5934 h 183956"/>
                <a:gd name="connsiteX3" fmla="*/ 2966 w 176283"/>
                <a:gd name="connsiteY3" fmla="*/ 0 h 183956"/>
                <a:gd name="connsiteX4" fmla="*/ 8901 w 176283"/>
                <a:gd name="connsiteY4" fmla="*/ 2967 h 183956"/>
                <a:gd name="connsiteX5" fmla="*/ 172088 w 176283"/>
                <a:gd name="connsiteY5" fmla="*/ 175055 h 183956"/>
                <a:gd name="connsiteX6" fmla="*/ 175054 w 176283"/>
                <a:gd name="connsiteY6" fmla="*/ 180989 h 183956"/>
                <a:gd name="connsiteX7" fmla="*/ 169121 w 176283"/>
                <a:gd name="connsiteY7" fmla="*/ 183956 h 183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283" h="183956">
                  <a:moveTo>
                    <a:pt x="169121" y="183956"/>
                  </a:moveTo>
                  <a:cubicBezTo>
                    <a:pt x="169121" y="183956"/>
                    <a:pt x="169121" y="183956"/>
                    <a:pt x="169121" y="183956"/>
                  </a:cubicBezTo>
                  <a:cubicBezTo>
                    <a:pt x="53406" y="151319"/>
                    <a:pt x="0" y="11868"/>
                    <a:pt x="0" y="5934"/>
                  </a:cubicBezTo>
                  <a:cubicBezTo>
                    <a:pt x="0" y="2967"/>
                    <a:pt x="0" y="0"/>
                    <a:pt x="2966" y="0"/>
                  </a:cubicBezTo>
                  <a:cubicBezTo>
                    <a:pt x="5934" y="0"/>
                    <a:pt x="8901" y="0"/>
                    <a:pt x="8901" y="2967"/>
                  </a:cubicBezTo>
                  <a:cubicBezTo>
                    <a:pt x="8901" y="2967"/>
                    <a:pt x="62307" y="145384"/>
                    <a:pt x="172088" y="175055"/>
                  </a:cubicBezTo>
                  <a:cubicBezTo>
                    <a:pt x="175054" y="175055"/>
                    <a:pt x="178022" y="178022"/>
                    <a:pt x="175054" y="180989"/>
                  </a:cubicBezTo>
                  <a:cubicBezTo>
                    <a:pt x="175054" y="180989"/>
                    <a:pt x="172088" y="183956"/>
                    <a:pt x="169121" y="183956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E34E924F-FA6C-4D3B-9662-5C3BC144AF36}"/>
                </a:ext>
              </a:extLst>
            </p:cNvPr>
            <p:cNvSpPr/>
            <p:nvPr/>
          </p:nvSpPr>
          <p:spPr>
            <a:xfrm>
              <a:off x="23302642" y="9825591"/>
              <a:ext cx="182218" cy="124615"/>
            </a:xfrm>
            <a:custGeom>
              <a:avLst/>
              <a:gdLst>
                <a:gd name="connsiteX0" fmla="*/ 36833 w 182218"/>
                <a:gd name="connsiteY0" fmla="*/ 124616 h 124615"/>
                <a:gd name="connsiteX1" fmla="*/ 4197 w 182218"/>
                <a:gd name="connsiteY1" fmla="*/ 118681 h 124615"/>
                <a:gd name="connsiteX2" fmla="*/ 1229 w 182218"/>
                <a:gd name="connsiteY2" fmla="*/ 112748 h 124615"/>
                <a:gd name="connsiteX3" fmla="*/ 7163 w 182218"/>
                <a:gd name="connsiteY3" fmla="*/ 109781 h 124615"/>
                <a:gd name="connsiteX4" fmla="*/ 173318 w 182218"/>
                <a:gd name="connsiteY4" fmla="*/ 2967 h 124615"/>
                <a:gd name="connsiteX5" fmla="*/ 179251 w 182218"/>
                <a:gd name="connsiteY5" fmla="*/ 0 h 124615"/>
                <a:gd name="connsiteX6" fmla="*/ 182219 w 182218"/>
                <a:gd name="connsiteY6" fmla="*/ 5934 h 124615"/>
                <a:gd name="connsiteX7" fmla="*/ 36833 w 182218"/>
                <a:gd name="connsiteY7" fmla="*/ 124616 h 12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218" h="124615">
                  <a:moveTo>
                    <a:pt x="36833" y="124616"/>
                  </a:moveTo>
                  <a:cubicBezTo>
                    <a:pt x="24966" y="124616"/>
                    <a:pt x="16064" y="124616"/>
                    <a:pt x="4197" y="118681"/>
                  </a:cubicBezTo>
                  <a:cubicBezTo>
                    <a:pt x="1229" y="118681"/>
                    <a:pt x="-1738" y="115715"/>
                    <a:pt x="1229" y="112748"/>
                  </a:cubicBezTo>
                  <a:cubicBezTo>
                    <a:pt x="1229" y="109781"/>
                    <a:pt x="4197" y="106813"/>
                    <a:pt x="7163" y="109781"/>
                  </a:cubicBezTo>
                  <a:cubicBezTo>
                    <a:pt x="116944" y="139451"/>
                    <a:pt x="170350" y="2967"/>
                    <a:pt x="173318" y="2967"/>
                  </a:cubicBezTo>
                  <a:cubicBezTo>
                    <a:pt x="173318" y="0"/>
                    <a:pt x="176284" y="0"/>
                    <a:pt x="179251" y="0"/>
                  </a:cubicBezTo>
                  <a:cubicBezTo>
                    <a:pt x="182219" y="0"/>
                    <a:pt x="182219" y="2967"/>
                    <a:pt x="182219" y="5934"/>
                  </a:cubicBezTo>
                  <a:cubicBezTo>
                    <a:pt x="182219" y="8902"/>
                    <a:pt x="131779" y="124616"/>
                    <a:pt x="36833" y="124616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0" name="图形 1">
              <a:extLst>
                <a:ext uri="{FF2B5EF4-FFF2-40B4-BE49-F238E27FC236}">
                  <a16:creationId xmlns:a16="http://schemas.microsoft.com/office/drawing/2014/main" id="{873AD65F-6C33-4384-87D0-BF58E2EFCBC7}"/>
                </a:ext>
              </a:extLst>
            </p:cNvPr>
            <p:cNvGrpSpPr/>
            <p:nvPr/>
          </p:nvGrpSpPr>
          <p:grpSpPr>
            <a:xfrm>
              <a:off x="24911080" y="9197492"/>
              <a:ext cx="346262" cy="230516"/>
              <a:chOff x="24911080" y="9197492"/>
              <a:chExt cx="346262" cy="230516"/>
            </a:xfrm>
          </p:grpSpPr>
          <p:grpSp>
            <p:nvGrpSpPr>
              <p:cNvPr id="114" name="图形 1">
                <a:extLst>
                  <a:ext uri="{FF2B5EF4-FFF2-40B4-BE49-F238E27FC236}">
                    <a16:creationId xmlns:a16="http://schemas.microsoft.com/office/drawing/2014/main" id="{4B123B3F-152A-4114-838D-1FF15FBAAFA2}"/>
                  </a:ext>
                </a:extLst>
              </p:cNvPr>
              <p:cNvGrpSpPr/>
              <p:nvPr/>
            </p:nvGrpSpPr>
            <p:grpSpPr>
              <a:xfrm>
                <a:off x="24911080" y="9197492"/>
                <a:ext cx="346262" cy="230026"/>
                <a:chOff x="24911080" y="9197492"/>
                <a:chExt cx="346262" cy="230026"/>
              </a:xfrm>
            </p:grpSpPr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AAC7E282-B4DC-4218-89B4-4C98320B4962}"/>
                    </a:ext>
                  </a:extLst>
                </p:cNvPr>
                <p:cNvSpPr/>
                <p:nvPr/>
              </p:nvSpPr>
              <p:spPr>
                <a:xfrm>
                  <a:off x="24911080" y="9197492"/>
                  <a:ext cx="339936" cy="230026"/>
                </a:xfrm>
                <a:custGeom>
                  <a:avLst/>
                  <a:gdLst>
                    <a:gd name="connsiteX0" fmla="*/ 270923 w 339936"/>
                    <a:gd name="connsiteY0" fmla="*/ 200846 h 230026"/>
                    <a:gd name="connsiteX1" fmla="*/ 262021 w 339936"/>
                    <a:gd name="connsiteY1" fmla="*/ 186011 h 230026"/>
                    <a:gd name="connsiteX2" fmla="*/ 256088 w 339936"/>
                    <a:gd name="connsiteY2" fmla="*/ 183044 h 230026"/>
                    <a:gd name="connsiteX3" fmla="*/ 282790 w 339936"/>
                    <a:gd name="connsiteY3" fmla="*/ 183044 h 230026"/>
                    <a:gd name="connsiteX4" fmla="*/ 327296 w 339936"/>
                    <a:gd name="connsiteY4" fmla="*/ 171176 h 230026"/>
                    <a:gd name="connsiteX5" fmla="*/ 321362 w 339936"/>
                    <a:gd name="connsiteY5" fmla="*/ 159308 h 230026"/>
                    <a:gd name="connsiteX6" fmla="*/ 318395 w 339936"/>
                    <a:gd name="connsiteY6" fmla="*/ 159308 h 230026"/>
                    <a:gd name="connsiteX7" fmla="*/ 339165 w 339936"/>
                    <a:gd name="connsiteY7" fmla="*/ 141505 h 230026"/>
                    <a:gd name="connsiteX8" fmla="*/ 327296 w 339936"/>
                    <a:gd name="connsiteY8" fmla="*/ 120737 h 230026"/>
                    <a:gd name="connsiteX9" fmla="*/ 273890 w 339936"/>
                    <a:gd name="connsiteY9" fmla="*/ 117770 h 230026"/>
                    <a:gd name="connsiteX10" fmla="*/ 199714 w 339936"/>
                    <a:gd name="connsiteY10" fmla="*/ 114802 h 230026"/>
                    <a:gd name="connsiteX11" fmla="*/ 253120 w 339936"/>
                    <a:gd name="connsiteY11" fmla="*/ 99967 h 230026"/>
                    <a:gd name="connsiteX12" fmla="*/ 294659 w 339936"/>
                    <a:gd name="connsiteY12" fmla="*/ 88099 h 230026"/>
                    <a:gd name="connsiteX13" fmla="*/ 270923 w 339936"/>
                    <a:gd name="connsiteY13" fmla="*/ 70297 h 230026"/>
                    <a:gd name="connsiteX14" fmla="*/ 95868 w 339936"/>
                    <a:gd name="connsiteY14" fmla="*/ 97000 h 230026"/>
                    <a:gd name="connsiteX15" fmla="*/ 131472 w 339936"/>
                    <a:gd name="connsiteY15" fmla="*/ 31725 h 230026"/>
                    <a:gd name="connsiteX16" fmla="*/ 107737 w 339936"/>
                    <a:gd name="connsiteY16" fmla="*/ 5022 h 230026"/>
                    <a:gd name="connsiteX17" fmla="*/ 922 w 339936"/>
                    <a:gd name="connsiteY17" fmla="*/ 132605 h 230026"/>
                    <a:gd name="connsiteX18" fmla="*/ 42462 w 339936"/>
                    <a:gd name="connsiteY18" fmla="*/ 218649 h 230026"/>
                    <a:gd name="connsiteX19" fmla="*/ 170044 w 339936"/>
                    <a:gd name="connsiteY19" fmla="*/ 221616 h 230026"/>
                    <a:gd name="connsiteX20" fmla="*/ 270923 w 339936"/>
                    <a:gd name="connsiteY20" fmla="*/ 200846 h 2300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39936" h="230026">
                      <a:moveTo>
                        <a:pt x="270923" y="200846"/>
                      </a:moveTo>
                      <a:cubicBezTo>
                        <a:pt x="270923" y="194913"/>
                        <a:pt x="267955" y="188978"/>
                        <a:pt x="262021" y="186011"/>
                      </a:cubicBezTo>
                      <a:cubicBezTo>
                        <a:pt x="259055" y="186011"/>
                        <a:pt x="259055" y="183044"/>
                        <a:pt x="256088" y="183044"/>
                      </a:cubicBezTo>
                      <a:cubicBezTo>
                        <a:pt x="264989" y="183044"/>
                        <a:pt x="273890" y="183044"/>
                        <a:pt x="282790" y="183044"/>
                      </a:cubicBezTo>
                      <a:cubicBezTo>
                        <a:pt x="300594" y="183044"/>
                        <a:pt x="318395" y="183044"/>
                        <a:pt x="327296" y="171176"/>
                      </a:cubicBezTo>
                      <a:cubicBezTo>
                        <a:pt x="327296" y="171176"/>
                        <a:pt x="324330" y="162275"/>
                        <a:pt x="321362" y="159308"/>
                      </a:cubicBezTo>
                      <a:cubicBezTo>
                        <a:pt x="321362" y="159308"/>
                        <a:pt x="321362" y="159308"/>
                        <a:pt x="318395" y="159308"/>
                      </a:cubicBezTo>
                      <a:cubicBezTo>
                        <a:pt x="327296" y="156341"/>
                        <a:pt x="336197" y="150407"/>
                        <a:pt x="339165" y="141505"/>
                      </a:cubicBezTo>
                      <a:cubicBezTo>
                        <a:pt x="342131" y="132605"/>
                        <a:pt x="336197" y="123703"/>
                        <a:pt x="327296" y="120737"/>
                      </a:cubicBezTo>
                      <a:cubicBezTo>
                        <a:pt x="312461" y="114802"/>
                        <a:pt x="291691" y="117770"/>
                        <a:pt x="273890" y="117770"/>
                      </a:cubicBezTo>
                      <a:cubicBezTo>
                        <a:pt x="250154" y="117770"/>
                        <a:pt x="223450" y="114802"/>
                        <a:pt x="199714" y="114802"/>
                      </a:cubicBezTo>
                      <a:cubicBezTo>
                        <a:pt x="217515" y="108868"/>
                        <a:pt x="235319" y="105902"/>
                        <a:pt x="253120" y="99967"/>
                      </a:cubicBezTo>
                      <a:cubicBezTo>
                        <a:pt x="264989" y="97000"/>
                        <a:pt x="285759" y="97000"/>
                        <a:pt x="294659" y="88099"/>
                      </a:cubicBezTo>
                      <a:cubicBezTo>
                        <a:pt x="306526" y="76231"/>
                        <a:pt x="279824" y="70297"/>
                        <a:pt x="270923" y="70297"/>
                      </a:cubicBezTo>
                      <a:cubicBezTo>
                        <a:pt x="208615" y="64362"/>
                        <a:pt x="155208" y="94033"/>
                        <a:pt x="95868" y="97000"/>
                      </a:cubicBezTo>
                      <a:cubicBezTo>
                        <a:pt x="107737" y="82165"/>
                        <a:pt x="122572" y="58429"/>
                        <a:pt x="131472" y="31725"/>
                      </a:cubicBezTo>
                      <a:cubicBezTo>
                        <a:pt x="137407" y="10956"/>
                        <a:pt x="113669" y="-9813"/>
                        <a:pt x="107737" y="5022"/>
                      </a:cubicBezTo>
                      <a:cubicBezTo>
                        <a:pt x="78066" y="64362"/>
                        <a:pt x="6857" y="91066"/>
                        <a:pt x="922" y="132605"/>
                      </a:cubicBezTo>
                      <a:cubicBezTo>
                        <a:pt x="-5012" y="162275"/>
                        <a:pt x="18726" y="203813"/>
                        <a:pt x="42462" y="218649"/>
                      </a:cubicBezTo>
                      <a:cubicBezTo>
                        <a:pt x="78066" y="242384"/>
                        <a:pt x="128504" y="221616"/>
                        <a:pt x="170044" y="221616"/>
                      </a:cubicBezTo>
                      <a:cubicBezTo>
                        <a:pt x="190813" y="224583"/>
                        <a:pt x="267955" y="218649"/>
                        <a:pt x="270923" y="200846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9AE0FD70-0E8B-4527-A4E3-F3E5B2BC36E0}"/>
                    </a:ext>
                  </a:extLst>
                </p:cNvPr>
                <p:cNvSpPr/>
                <p:nvPr/>
              </p:nvSpPr>
              <p:spPr>
                <a:xfrm>
                  <a:off x="24974311" y="9318229"/>
                  <a:ext cx="41537" cy="47471"/>
                </a:xfrm>
                <a:custGeom>
                  <a:avLst/>
                  <a:gdLst>
                    <a:gd name="connsiteX0" fmla="*/ 5933 w 41537"/>
                    <a:gd name="connsiteY0" fmla="*/ 47472 h 47471"/>
                    <a:gd name="connsiteX1" fmla="*/ 0 w 41537"/>
                    <a:gd name="connsiteY1" fmla="*/ 44505 h 47471"/>
                    <a:gd name="connsiteX2" fmla="*/ 2966 w 41537"/>
                    <a:gd name="connsiteY2" fmla="*/ 38571 h 47471"/>
                    <a:gd name="connsiteX3" fmla="*/ 29670 w 41537"/>
                    <a:gd name="connsiteY3" fmla="*/ 5934 h 47471"/>
                    <a:gd name="connsiteX4" fmla="*/ 35603 w 41537"/>
                    <a:gd name="connsiteY4" fmla="*/ 0 h 47471"/>
                    <a:gd name="connsiteX5" fmla="*/ 35603 w 41537"/>
                    <a:gd name="connsiteY5" fmla="*/ 0 h 47471"/>
                    <a:gd name="connsiteX6" fmla="*/ 41537 w 41537"/>
                    <a:gd name="connsiteY6" fmla="*/ 5934 h 47471"/>
                    <a:gd name="connsiteX7" fmla="*/ 5933 w 41537"/>
                    <a:gd name="connsiteY7" fmla="*/ 47472 h 47471"/>
                    <a:gd name="connsiteX8" fmla="*/ 5933 w 41537"/>
                    <a:gd name="connsiteY8" fmla="*/ 47472 h 47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1537" h="47471">
                      <a:moveTo>
                        <a:pt x="5933" y="47472"/>
                      </a:moveTo>
                      <a:cubicBezTo>
                        <a:pt x="2966" y="47472"/>
                        <a:pt x="0" y="44505"/>
                        <a:pt x="0" y="44505"/>
                      </a:cubicBezTo>
                      <a:cubicBezTo>
                        <a:pt x="0" y="41538"/>
                        <a:pt x="0" y="38571"/>
                        <a:pt x="2966" y="38571"/>
                      </a:cubicBezTo>
                      <a:cubicBezTo>
                        <a:pt x="29670" y="32637"/>
                        <a:pt x="29670" y="5934"/>
                        <a:pt x="29670" y="5934"/>
                      </a:cubicBezTo>
                      <a:cubicBezTo>
                        <a:pt x="29670" y="2966"/>
                        <a:pt x="32637" y="0"/>
                        <a:pt x="35603" y="0"/>
                      </a:cubicBezTo>
                      <a:lnTo>
                        <a:pt x="35603" y="0"/>
                      </a:lnTo>
                      <a:cubicBezTo>
                        <a:pt x="38571" y="0"/>
                        <a:pt x="41537" y="2966"/>
                        <a:pt x="41537" y="5934"/>
                      </a:cubicBezTo>
                      <a:cubicBezTo>
                        <a:pt x="41537" y="14835"/>
                        <a:pt x="35603" y="38571"/>
                        <a:pt x="5933" y="47472"/>
                      </a:cubicBezTo>
                      <a:cubicBezTo>
                        <a:pt x="5933" y="47472"/>
                        <a:pt x="5933" y="47472"/>
                        <a:pt x="5933" y="47472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F5C4165D-AE2F-4D71-83CB-7DC5BC038B25}"/>
                    </a:ext>
                  </a:extLst>
                </p:cNvPr>
                <p:cNvSpPr/>
                <p:nvPr/>
              </p:nvSpPr>
              <p:spPr>
                <a:xfrm>
                  <a:off x="25104860" y="9279657"/>
                  <a:ext cx="152483" cy="80110"/>
                </a:xfrm>
                <a:custGeom>
                  <a:avLst/>
                  <a:gdLst>
                    <a:gd name="connsiteX0" fmla="*/ 124616 w 152483"/>
                    <a:gd name="connsiteY0" fmla="*/ 80110 h 80110"/>
                    <a:gd name="connsiteX1" fmla="*/ 118681 w 152483"/>
                    <a:gd name="connsiteY1" fmla="*/ 74176 h 80110"/>
                    <a:gd name="connsiteX2" fmla="*/ 124616 w 152483"/>
                    <a:gd name="connsiteY2" fmla="*/ 68242 h 80110"/>
                    <a:gd name="connsiteX3" fmla="*/ 139451 w 152483"/>
                    <a:gd name="connsiteY3" fmla="*/ 59341 h 80110"/>
                    <a:gd name="connsiteX4" fmla="*/ 136485 w 152483"/>
                    <a:gd name="connsiteY4" fmla="*/ 47473 h 80110"/>
                    <a:gd name="connsiteX5" fmla="*/ 5934 w 152483"/>
                    <a:gd name="connsiteY5" fmla="*/ 38572 h 80110"/>
                    <a:gd name="connsiteX6" fmla="*/ 5934 w 152483"/>
                    <a:gd name="connsiteY6" fmla="*/ 38572 h 80110"/>
                    <a:gd name="connsiteX7" fmla="*/ 0 w 152483"/>
                    <a:gd name="connsiteY7" fmla="*/ 32638 h 80110"/>
                    <a:gd name="connsiteX8" fmla="*/ 5934 w 152483"/>
                    <a:gd name="connsiteY8" fmla="*/ 26703 h 80110"/>
                    <a:gd name="connsiteX9" fmla="*/ 100880 w 152483"/>
                    <a:gd name="connsiteY9" fmla="*/ 0 h 80110"/>
                    <a:gd name="connsiteX10" fmla="*/ 106814 w 152483"/>
                    <a:gd name="connsiteY10" fmla="*/ 2967 h 80110"/>
                    <a:gd name="connsiteX11" fmla="*/ 103846 w 152483"/>
                    <a:gd name="connsiteY11" fmla="*/ 8902 h 80110"/>
                    <a:gd name="connsiteX12" fmla="*/ 56374 w 152483"/>
                    <a:gd name="connsiteY12" fmla="*/ 23737 h 80110"/>
                    <a:gd name="connsiteX13" fmla="*/ 145385 w 152483"/>
                    <a:gd name="connsiteY13" fmla="*/ 35605 h 80110"/>
                    <a:gd name="connsiteX14" fmla="*/ 151320 w 152483"/>
                    <a:gd name="connsiteY14" fmla="*/ 59341 h 80110"/>
                    <a:gd name="connsiteX15" fmla="*/ 124616 w 152483"/>
                    <a:gd name="connsiteY15" fmla="*/ 80110 h 80110"/>
                    <a:gd name="connsiteX16" fmla="*/ 124616 w 152483"/>
                    <a:gd name="connsiteY16" fmla="*/ 80110 h 80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2483" h="80110">
                      <a:moveTo>
                        <a:pt x="124616" y="80110"/>
                      </a:moveTo>
                      <a:cubicBezTo>
                        <a:pt x="121649" y="80110"/>
                        <a:pt x="118681" y="77143"/>
                        <a:pt x="118681" y="74176"/>
                      </a:cubicBezTo>
                      <a:cubicBezTo>
                        <a:pt x="118681" y="71209"/>
                        <a:pt x="121649" y="68242"/>
                        <a:pt x="124616" y="68242"/>
                      </a:cubicBezTo>
                      <a:cubicBezTo>
                        <a:pt x="130550" y="68242"/>
                        <a:pt x="136485" y="62308"/>
                        <a:pt x="139451" y="59341"/>
                      </a:cubicBezTo>
                      <a:cubicBezTo>
                        <a:pt x="142417" y="56373"/>
                        <a:pt x="139451" y="50440"/>
                        <a:pt x="136485" y="47473"/>
                      </a:cubicBezTo>
                      <a:cubicBezTo>
                        <a:pt x="130550" y="41538"/>
                        <a:pt x="62309" y="38572"/>
                        <a:pt x="5934" y="38572"/>
                      </a:cubicBezTo>
                      <a:lnTo>
                        <a:pt x="5934" y="38572"/>
                      </a:lnTo>
                      <a:cubicBezTo>
                        <a:pt x="2968" y="38572"/>
                        <a:pt x="0" y="35605"/>
                        <a:pt x="0" y="32638"/>
                      </a:cubicBezTo>
                      <a:cubicBezTo>
                        <a:pt x="0" y="29670"/>
                        <a:pt x="2968" y="26703"/>
                        <a:pt x="5934" y="26703"/>
                      </a:cubicBezTo>
                      <a:cubicBezTo>
                        <a:pt x="41539" y="20770"/>
                        <a:pt x="100880" y="2967"/>
                        <a:pt x="100880" y="0"/>
                      </a:cubicBezTo>
                      <a:cubicBezTo>
                        <a:pt x="103846" y="0"/>
                        <a:pt x="106814" y="0"/>
                        <a:pt x="106814" y="2967"/>
                      </a:cubicBezTo>
                      <a:cubicBezTo>
                        <a:pt x="106814" y="5934"/>
                        <a:pt x="106814" y="8902"/>
                        <a:pt x="103846" y="8902"/>
                      </a:cubicBezTo>
                      <a:cubicBezTo>
                        <a:pt x="103846" y="8902"/>
                        <a:pt x="80110" y="17802"/>
                        <a:pt x="56374" y="23737"/>
                      </a:cubicBezTo>
                      <a:cubicBezTo>
                        <a:pt x="94945" y="23737"/>
                        <a:pt x="139451" y="26703"/>
                        <a:pt x="145385" y="35605"/>
                      </a:cubicBezTo>
                      <a:cubicBezTo>
                        <a:pt x="151320" y="41538"/>
                        <a:pt x="154286" y="50440"/>
                        <a:pt x="151320" y="59341"/>
                      </a:cubicBezTo>
                      <a:cubicBezTo>
                        <a:pt x="145385" y="71209"/>
                        <a:pt x="136485" y="77143"/>
                        <a:pt x="124616" y="80110"/>
                      </a:cubicBezTo>
                      <a:cubicBezTo>
                        <a:pt x="127582" y="80110"/>
                        <a:pt x="124616" y="80110"/>
                        <a:pt x="124616" y="80110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6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990D343A-2278-4379-ABE4-F983E674DB05}"/>
                  </a:ext>
                </a:extLst>
              </p:cNvPr>
              <p:cNvSpPr/>
              <p:nvPr/>
            </p:nvSpPr>
            <p:spPr>
              <a:xfrm>
                <a:off x="25072223" y="9371635"/>
                <a:ext cx="113975" cy="56373"/>
              </a:xfrm>
              <a:custGeom>
                <a:avLst/>
                <a:gdLst>
                  <a:gd name="connsiteX0" fmla="*/ 17801 w 113975"/>
                  <a:gd name="connsiteY0" fmla="*/ 56373 h 56373"/>
                  <a:gd name="connsiteX1" fmla="*/ 11867 w 113975"/>
                  <a:gd name="connsiteY1" fmla="*/ 50440 h 56373"/>
                  <a:gd name="connsiteX2" fmla="*/ 17801 w 113975"/>
                  <a:gd name="connsiteY2" fmla="*/ 44505 h 56373"/>
                  <a:gd name="connsiteX3" fmla="*/ 103846 w 113975"/>
                  <a:gd name="connsiteY3" fmla="*/ 23736 h 56373"/>
                  <a:gd name="connsiteX4" fmla="*/ 103846 w 113975"/>
                  <a:gd name="connsiteY4" fmla="*/ 17802 h 56373"/>
                  <a:gd name="connsiteX5" fmla="*/ 89011 w 113975"/>
                  <a:gd name="connsiteY5" fmla="*/ 11868 h 56373"/>
                  <a:gd name="connsiteX6" fmla="*/ 53406 w 113975"/>
                  <a:gd name="connsiteY6" fmla="*/ 14835 h 56373"/>
                  <a:gd name="connsiteX7" fmla="*/ 5934 w 113975"/>
                  <a:gd name="connsiteY7" fmla="*/ 17802 h 56373"/>
                  <a:gd name="connsiteX8" fmla="*/ 0 w 113975"/>
                  <a:gd name="connsiteY8" fmla="*/ 11868 h 56373"/>
                  <a:gd name="connsiteX9" fmla="*/ 5934 w 113975"/>
                  <a:gd name="connsiteY9" fmla="*/ 5934 h 56373"/>
                  <a:gd name="connsiteX10" fmla="*/ 50440 w 113975"/>
                  <a:gd name="connsiteY10" fmla="*/ 2967 h 56373"/>
                  <a:gd name="connsiteX11" fmla="*/ 86043 w 113975"/>
                  <a:gd name="connsiteY11" fmla="*/ 0 h 56373"/>
                  <a:gd name="connsiteX12" fmla="*/ 109781 w 113975"/>
                  <a:gd name="connsiteY12" fmla="*/ 8901 h 56373"/>
                  <a:gd name="connsiteX13" fmla="*/ 112747 w 113975"/>
                  <a:gd name="connsiteY13" fmla="*/ 26703 h 56373"/>
                  <a:gd name="connsiteX14" fmla="*/ 17801 w 113975"/>
                  <a:gd name="connsiteY14" fmla="*/ 56373 h 56373"/>
                  <a:gd name="connsiteX15" fmla="*/ 17801 w 113975"/>
                  <a:gd name="connsiteY15" fmla="*/ 56373 h 56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3975" h="56373">
                    <a:moveTo>
                      <a:pt x="17801" y="56373"/>
                    </a:moveTo>
                    <a:cubicBezTo>
                      <a:pt x="14835" y="56373"/>
                      <a:pt x="11867" y="53406"/>
                      <a:pt x="11867" y="50440"/>
                    </a:cubicBezTo>
                    <a:cubicBezTo>
                      <a:pt x="11867" y="47473"/>
                      <a:pt x="14835" y="44505"/>
                      <a:pt x="17801" y="44505"/>
                    </a:cubicBezTo>
                    <a:cubicBezTo>
                      <a:pt x="62307" y="41538"/>
                      <a:pt x="103846" y="32638"/>
                      <a:pt x="103846" y="23736"/>
                    </a:cubicBezTo>
                    <a:cubicBezTo>
                      <a:pt x="103846" y="17802"/>
                      <a:pt x="103846" y="17802"/>
                      <a:pt x="103846" y="17802"/>
                    </a:cubicBezTo>
                    <a:cubicBezTo>
                      <a:pt x="100878" y="14835"/>
                      <a:pt x="94945" y="11868"/>
                      <a:pt x="89011" y="11868"/>
                    </a:cubicBezTo>
                    <a:cubicBezTo>
                      <a:pt x="83077" y="11868"/>
                      <a:pt x="68241" y="11868"/>
                      <a:pt x="53406" y="14835"/>
                    </a:cubicBezTo>
                    <a:cubicBezTo>
                      <a:pt x="32637" y="17802"/>
                      <a:pt x="14835" y="17802"/>
                      <a:pt x="5934" y="17802"/>
                    </a:cubicBezTo>
                    <a:cubicBezTo>
                      <a:pt x="2966" y="17802"/>
                      <a:pt x="0" y="14835"/>
                      <a:pt x="0" y="11868"/>
                    </a:cubicBezTo>
                    <a:cubicBezTo>
                      <a:pt x="0" y="8901"/>
                      <a:pt x="2966" y="5934"/>
                      <a:pt x="5934" y="5934"/>
                    </a:cubicBezTo>
                    <a:cubicBezTo>
                      <a:pt x="11867" y="5934"/>
                      <a:pt x="32637" y="5934"/>
                      <a:pt x="50440" y="2967"/>
                    </a:cubicBezTo>
                    <a:cubicBezTo>
                      <a:pt x="65275" y="2967"/>
                      <a:pt x="80110" y="0"/>
                      <a:pt x="86043" y="0"/>
                    </a:cubicBezTo>
                    <a:cubicBezTo>
                      <a:pt x="97912" y="0"/>
                      <a:pt x="106812" y="2967"/>
                      <a:pt x="109781" y="8901"/>
                    </a:cubicBezTo>
                    <a:cubicBezTo>
                      <a:pt x="112747" y="11868"/>
                      <a:pt x="115713" y="17802"/>
                      <a:pt x="112747" y="26703"/>
                    </a:cubicBezTo>
                    <a:cubicBezTo>
                      <a:pt x="109781" y="47473"/>
                      <a:pt x="44505" y="56373"/>
                      <a:pt x="17801" y="56373"/>
                    </a:cubicBezTo>
                    <a:lnTo>
                      <a:pt x="17801" y="56373"/>
                    </a:ln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AAC105EA-03B2-41F0-9EE7-8F7980A3B19C}"/>
                  </a:ext>
                </a:extLst>
              </p:cNvPr>
              <p:cNvSpPr/>
              <p:nvPr/>
            </p:nvSpPr>
            <p:spPr>
              <a:xfrm>
                <a:off x="25084090" y="9337769"/>
                <a:ext cx="159478" cy="48701"/>
              </a:xfrm>
              <a:custGeom>
                <a:avLst/>
                <a:gdLst>
                  <a:gd name="connsiteX0" fmla="*/ 91979 w 159478"/>
                  <a:gd name="connsiteY0" fmla="*/ 48702 h 48701"/>
                  <a:gd name="connsiteX1" fmla="*/ 86045 w 159478"/>
                  <a:gd name="connsiteY1" fmla="*/ 42767 h 48701"/>
                  <a:gd name="connsiteX2" fmla="*/ 91979 w 159478"/>
                  <a:gd name="connsiteY2" fmla="*/ 36834 h 48701"/>
                  <a:gd name="connsiteX3" fmla="*/ 145385 w 159478"/>
                  <a:gd name="connsiteY3" fmla="*/ 27932 h 48701"/>
                  <a:gd name="connsiteX4" fmla="*/ 145385 w 159478"/>
                  <a:gd name="connsiteY4" fmla="*/ 24966 h 48701"/>
                  <a:gd name="connsiteX5" fmla="*/ 127584 w 159478"/>
                  <a:gd name="connsiteY5" fmla="*/ 13097 h 48701"/>
                  <a:gd name="connsiteX6" fmla="*/ 68243 w 159478"/>
                  <a:gd name="connsiteY6" fmla="*/ 16064 h 48701"/>
                  <a:gd name="connsiteX7" fmla="*/ 59341 w 159478"/>
                  <a:gd name="connsiteY7" fmla="*/ 16064 h 48701"/>
                  <a:gd name="connsiteX8" fmla="*/ 5934 w 159478"/>
                  <a:gd name="connsiteY8" fmla="*/ 16064 h 48701"/>
                  <a:gd name="connsiteX9" fmla="*/ 0 w 159478"/>
                  <a:gd name="connsiteY9" fmla="*/ 10131 h 48701"/>
                  <a:gd name="connsiteX10" fmla="*/ 5934 w 159478"/>
                  <a:gd name="connsiteY10" fmla="*/ 4196 h 48701"/>
                  <a:gd name="connsiteX11" fmla="*/ 59341 w 159478"/>
                  <a:gd name="connsiteY11" fmla="*/ 4196 h 48701"/>
                  <a:gd name="connsiteX12" fmla="*/ 68243 w 159478"/>
                  <a:gd name="connsiteY12" fmla="*/ 4196 h 48701"/>
                  <a:gd name="connsiteX13" fmla="*/ 130550 w 159478"/>
                  <a:gd name="connsiteY13" fmla="*/ 1229 h 48701"/>
                  <a:gd name="connsiteX14" fmla="*/ 157254 w 159478"/>
                  <a:gd name="connsiteY14" fmla="*/ 19031 h 48701"/>
                  <a:gd name="connsiteX15" fmla="*/ 157254 w 159478"/>
                  <a:gd name="connsiteY15" fmla="*/ 33867 h 48701"/>
                  <a:gd name="connsiteX16" fmla="*/ 91979 w 159478"/>
                  <a:gd name="connsiteY16" fmla="*/ 48702 h 48701"/>
                  <a:gd name="connsiteX17" fmla="*/ 91979 w 159478"/>
                  <a:gd name="connsiteY17" fmla="*/ 48702 h 48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9478" h="48701">
                    <a:moveTo>
                      <a:pt x="91979" y="48702"/>
                    </a:moveTo>
                    <a:cubicBezTo>
                      <a:pt x="89011" y="48702"/>
                      <a:pt x="86045" y="45735"/>
                      <a:pt x="86045" y="42767"/>
                    </a:cubicBezTo>
                    <a:cubicBezTo>
                      <a:pt x="86045" y="39801"/>
                      <a:pt x="89011" y="36834"/>
                      <a:pt x="91979" y="36834"/>
                    </a:cubicBezTo>
                    <a:cubicBezTo>
                      <a:pt x="118681" y="36834"/>
                      <a:pt x="142419" y="30899"/>
                      <a:pt x="145385" y="27932"/>
                    </a:cubicBezTo>
                    <a:cubicBezTo>
                      <a:pt x="145385" y="27932"/>
                      <a:pt x="145385" y="24966"/>
                      <a:pt x="145385" y="24966"/>
                    </a:cubicBezTo>
                    <a:cubicBezTo>
                      <a:pt x="142419" y="19031"/>
                      <a:pt x="136485" y="16064"/>
                      <a:pt x="127584" y="13097"/>
                    </a:cubicBezTo>
                    <a:cubicBezTo>
                      <a:pt x="118681" y="10131"/>
                      <a:pt x="83078" y="16064"/>
                      <a:pt x="68243" y="16064"/>
                    </a:cubicBezTo>
                    <a:cubicBezTo>
                      <a:pt x="62309" y="16064"/>
                      <a:pt x="59341" y="16064"/>
                      <a:pt x="59341" y="16064"/>
                    </a:cubicBezTo>
                    <a:cubicBezTo>
                      <a:pt x="50440" y="16064"/>
                      <a:pt x="5934" y="16064"/>
                      <a:pt x="5934" y="16064"/>
                    </a:cubicBezTo>
                    <a:cubicBezTo>
                      <a:pt x="2968" y="16064"/>
                      <a:pt x="0" y="13097"/>
                      <a:pt x="0" y="10131"/>
                    </a:cubicBezTo>
                    <a:cubicBezTo>
                      <a:pt x="0" y="7163"/>
                      <a:pt x="2968" y="4196"/>
                      <a:pt x="5934" y="4196"/>
                    </a:cubicBezTo>
                    <a:cubicBezTo>
                      <a:pt x="17803" y="4196"/>
                      <a:pt x="53408" y="7163"/>
                      <a:pt x="59341" y="4196"/>
                    </a:cubicBezTo>
                    <a:cubicBezTo>
                      <a:pt x="62309" y="4196"/>
                      <a:pt x="65275" y="4196"/>
                      <a:pt x="68243" y="4196"/>
                    </a:cubicBezTo>
                    <a:cubicBezTo>
                      <a:pt x="91979" y="1229"/>
                      <a:pt x="121649" y="-1738"/>
                      <a:pt x="130550" y="1229"/>
                    </a:cubicBezTo>
                    <a:cubicBezTo>
                      <a:pt x="139451" y="4196"/>
                      <a:pt x="151320" y="10131"/>
                      <a:pt x="157254" y="19031"/>
                    </a:cubicBezTo>
                    <a:cubicBezTo>
                      <a:pt x="160221" y="24966"/>
                      <a:pt x="160221" y="27932"/>
                      <a:pt x="157254" y="33867"/>
                    </a:cubicBezTo>
                    <a:cubicBezTo>
                      <a:pt x="148352" y="45735"/>
                      <a:pt x="109781" y="48702"/>
                      <a:pt x="91979" y="48702"/>
                    </a:cubicBezTo>
                    <a:lnTo>
                      <a:pt x="91979" y="48702"/>
                    </a:lnTo>
                    <a:close/>
                  </a:path>
                </a:pathLst>
              </a:custGeom>
              <a:solidFill>
                <a:srgbClr val="E58777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1D7746BB-12E2-454D-BA32-4273309CD818}"/>
                </a:ext>
              </a:extLst>
            </p:cNvPr>
            <p:cNvSpPr/>
            <p:nvPr/>
          </p:nvSpPr>
          <p:spPr>
            <a:xfrm>
              <a:off x="23446289" y="9698009"/>
              <a:ext cx="670548" cy="32637"/>
            </a:xfrm>
            <a:custGeom>
              <a:avLst/>
              <a:gdLst>
                <a:gd name="connsiteX0" fmla="*/ 237363 w 670548"/>
                <a:gd name="connsiteY0" fmla="*/ 32638 h 32637"/>
                <a:gd name="connsiteX1" fmla="*/ 5933 w 670548"/>
                <a:gd name="connsiteY1" fmla="*/ 26703 h 32637"/>
                <a:gd name="connsiteX2" fmla="*/ 0 w 670548"/>
                <a:gd name="connsiteY2" fmla="*/ 20770 h 32637"/>
                <a:gd name="connsiteX3" fmla="*/ 5933 w 670548"/>
                <a:gd name="connsiteY3" fmla="*/ 14835 h 32637"/>
                <a:gd name="connsiteX4" fmla="*/ 664614 w 670548"/>
                <a:gd name="connsiteY4" fmla="*/ 0 h 32637"/>
                <a:gd name="connsiteX5" fmla="*/ 670549 w 670548"/>
                <a:gd name="connsiteY5" fmla="*/ 5934 h 32637"/>
                <a:gd name="connsiteX6" fmla="*/ 664614 w 670548"/>
                <a:gd name="connsiteY6" fmla="*/ 11868 h 32637"/>
                <a:gd name="connsiteX7" fmla="*/ 237363 w 670548"/>
                <a:gd name="connsiteY7" fmla="*/ 32638 h 32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0548" h="32637">
                  <a:moveTo>
                    <a:pt x="237363" y="32638"/>
                  </a:moveTo>
                  <a:cubicBezTo>
                    <a:pt x="97912" y="32638"/>
                    <a:pt x="8901" y="26703"/>
                    <a:pt x="5933" y="26703"/>
                  </a:cubicBezTo>
                  <a:cubicBezTo>
                    <a:pt x="2966" y="26703"/>
                    <a:pt x="0" y="23736"/>
                    <a:pt x="0" y="20770"/>
                  </a:cubicBezTo>
                  <a:cubicBezTo>
                    <a:pt x="0" y="17802"/>
                    <a:pt x="2966" y="14835"/>
                    <a:pt x="5933" y="14835"/>
                  </a:cubicBezTo>
                  <a:cubicBezTo>
                    <a:pt x="8901" y="14835"/>
                    <a:pt x="305604" y="38571"/>
                    <a:pt x="664614" y="0"/>
                  </a:cubicBezTo>
                  <a:cubicBezTo>
                    <a:pt x="667582" y="0"/>
                    <a:pt x="670549" y="2967"/>
                    <a:pt x="670549" y="5934"/>
                  </a:cubicBezTo>
                  <a:cubicBezTo>
                    <a:pt x="670549" y="8901"/>
                    <a:pt x="667582" y="11868"/>
                    <a:pt x="664614" y="11868"/>
                  </a:cubicBezTo>
                  <a:cubicBezTo>
                    <a:pt x="501428" y="26703"/>
                    <a:pt x="353076" y="32638"/>
                    <a:pt x="237363" y="32638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6D096B1D-E1EB-4CA5-B93C-570F0092E7DA}"/>
                </a:ext>
              </a:extLst>
            </p:cNvPr>
            <p:cNvSpPr/>
            <p:nvPr/>
          </p:nvSpPr>
          <p:spPr>
            <a:xfrm>
              <a:off x="23200024" y="10709767"/>
              <a:ext cx="72438" cy="35603"/>
            </a:xfrm>
            <a:custGeom>
              <a:avLst/>
              <a:gdLst>
                <a:gd name="connsiteX0" fmla="*/ 68243 w 72438"/>
                <a:gd name="connsiteY0" fmla="*/ 35604 h 35603"/>
                <a:gd name="connsiteX1" fmla="*/ 68243 w 72438"/>
                <a:gd name="connsiteY1" fmla="*/ 35604 h 35603"/>
                <a:gd name="connsiteX2" fmla="*/ 2968 w 72438"/>
                <a:gd name="connsiteY2" fmla="*/ 8901 h 35603"/>
                <a:gd name="connsiteX3" fmla="*/ 0 w 72438"/>
                <a:gd name="connsiteY3" fmla="*/ 2967 h 35603"/>
                <a:gd name="connsiteX4" fmla="*/ 5934 w 72438"/>
                <a:gd name="connsiteY4" fmla="*/ 0 h 35603"/>
                <a:gd name="connsiteX5" fmla="*/ 68243 w 72438"/>
                <a:gd name="connsiteY5" fmla="*/ 26703 h 35603"/>
                <a:gd name="connsiteX6" fmla="*/ 71210 w 72438"/>
                <a:gd name="connsiteY6" fmla="*/ 32638 h 35603"/>
                <a:gd name="connsiteX7" fmla="*/ 68243 w 72438"/>
                <a:gd name="connsiteY7" fmla="*/ 35604 h 35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438" h="35603">
                  <a:moveTo>
                    <a:pt x="68243" y="35604"/>
                  </a:moveTo>
                  <a:cubicBezTo>
                    <a:pt x="68243" y="35604"/>
                    <a:pt x="68243" y="35604"/>
                    <a:pt x="68243" y="35604"/>
                  </a:cubicBezTo>
                  <a:lnTo>
                    <a:pt x="2968" y="8901"/>
                  </a:lnTo>
                  <a:cubicBezTo>
                    <a:pt x="0" y="8901"/>
                    <a:pt x="0" y="5934"/>
                    <a:pt x="0" y="2967"/>
                  </a:cubicBezTo>
                  <a:cubicBezTo>
                    <a:pt x="0" y="0"/>
                    <a:pt x="2968" y="0"/>
                    <a:pt x="5934" y="0"/>
                  </a:cubicBezTo>
                  <a:lnTo>
                    <a:pt x="68243" y="26703"/>
                  </a:lnTo>
                  <a:cubicBezTo>
                    <a:pt x="71210" y="26703"/>
                    <a:pt x="71210" y="29670"/>
                    <a:pt x="71210" y="32638"/>
                  </a:cubicBezTo>
                  <a:cubicBezTo>
                    <a:pt x="74176" y="32638"/>
                    <a:pt x="71210" y="35604"/>
                    <a:pt x="68243" y="35604"/>
                  </a:cubicBezTo>
                  <a:close/>
                </a:path>
              </a:pathLst>
            </a:custGeom>
            <a:solidFill>
              <a:srgbClr val="38343B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CCA55606-EC74-4DF9-8986-6CF229827B0E}"/>
                </a:ext>
              </a:extLst>
            </p:cNvPr>
            <p:cNvSpPr/>
            <p:nvPr/>
          </p:nvSpPr>
          <p:spPr>
            <a:xfrm>
              <a:off x="23563153" y="8150857"/>
              <a:ext cx="411267" cy="553507"/>
            </a:xfrm>
            <a:custGeom>
              <a:avLst/>
              <a:gdLst>
                <a:gd name="connsiteX0" fmla="*/ 7750 w 411267"/>
                <a:gd name="connsiteY0" fmla="*/ 176383 h 553507"/>
                <a:gd name="connsiteX1" fmla="*/ 19619 w 411267"/>
                <a:gd name="connsiteY1" fmla="*/ 425614 h 553507"/>
                <a:gd name="connsiteX2" fmla="*/ 165005 w 411267"/>
                <a:gd name="connsiteY2" fmla="*/ 553196 h 553507"/>
                <a:gd name="connsiteX3" fmla="*/ 375663 w 411267"/>
                <a:gd name="connsiteY3" fmla="*/ 413746 h 553507"/>
                <a:gd name="connsiteX4" fmla="*/ 411268 w 411267"/>
                <a:gd name="connsiteY4" fmla="*/ 194185 h 553507"/>
                <a:gd name="connsiteX5" fmla="*/ 203576 w 411267"/>
                <a:gd name="connsiteY5" fmla="*/ 1328 h 553507"/>
                <a:gd name="connsiteX6" fmla="*/ 7750 w 411267"/>
                <a:gd name="connsiteY6" fmla="*/ 176383 h 553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1267" h="553507">
                  <a:moveTo>
                    <a:pt x="7750" y="176383"/>
                  </a:moveTo>
                  <a:cubicBezTo>
                    <a:pt x="7750" y="176383"/>
                    <a:pt x="-15986" y="360339"/>
                    <a:pt x="19619" y="425614"/>
                  </a:cubicBezTo>
                  <a:cubicBezTo>
                    <a:pt x="55224" y="490888"/>
                    <a:pt x="114565" y="547262"/>
                    <a:pt x="165005" y="553196"/>
                  </a:cubicBezTo>
                  <a:cubicBezTo>
                    <a:pt x="230278" y="559130"/>
                    <a:pt x="340058" y="479020"/>
                    <a:pt x="375663" y="413746"/>
                  </a:cubicBezTo>
                  <a:cubicBezTo>
                    <a:pt x="411268" y="348471"/>
                    <a:pt x="411268" y="244625"/>
                    <a:pt x="411268" y="194185"/>
                  </a:cubicBezTo>
                  <a:cubicBezTo>
                    <a:pt x="408300" y="102207"/>
                    <a:pt x="384564" y="25064"/>
                    <a:pt x="203576" y="1328"/>
                  </a:cubicBezTo>
                  <a:cubicBezTo>
                    <a:pt x="117531" y="-13507"/>
                    <a:pt x="25554" y="99240"/>
                    <a:pt x="7750" y="176383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B1A0F2D1-185A-48D7-9504-88E000724015}"/>
                </a:ext>
              </a:extLst>
            </p:cNvPr>
            <p:cNvSpPr/>
            <p:nvPr/>
          </p:nvSpPr>
          <p:spPr>
            <a:xfrm>
              <a:off x="23695519" y="8412055"/>
              <a:ext cx="53406" cy="128811"/>
            </a:xfrm>
            <a:custGeom>
              <a:avLst/>
              <a:gdLst>
                <a:gd name="connsiteX0" fmla="*/ 29670 w 53406"/>
                <a:gd name="connsiteY0" fmla="*/ 128811 h 128811"/>
                <a:gd name="connsiteX1" fmla="*/ 5934 w 53406"/>
                <a:gd name="connsiteY1" fmla="*/ 122877 h 128811"/>
                <a:gd name="connsiteX2" fmla="*/ 0 w 53406"/>
                <a:gd name="connsiteY2" fmla="*/ 111009 h 128811"/>
                <a:gd name="connsiteX3" fmla="*/ 26704 w 53406"/>
                <a:gd name="connsiteY3" fmla="*/ 4196 h 128811"/>
                <a:gd name="connsiteX4" fmla="*/ 32638 w 53406"/>
                <a:gd name="connsiteY4" fmla="*/ 1229 h 128811"/>
                <a:gd name="connsiteX5" fmla="*/ 35605 w 53406"/>
                <a:gd name="connsiteY5" fmla="*/ 7163 h 128811"/>
                <a:gd name="connsiteX6" fmla="*/ 8901 w 53406"/>
                <a:gd name="connsiteY6" fmla="*/ 111009 h 128811"/>
                <a:gd name="connsiteX7" fmla="*/ 8901 w 53406"/>
                <a:gd name="connsiteY7" fmla="*/ 113976 h 128811"/>
                <a:gd name="connsiteX8" fmla="*/ 47474 w 53406"/>
                <a:gd name="connsiteY8" fmla="*/ 113976 h 128811"/>
                <a:gd name="connsiteX9" fmla="*/ 53406 w 53406"/>
                <a:gd name="connsiteY9" fmla="*/ 119910 h 128811"/>
                <a:gd name="connsiteX10" fmla="*/ 47474 w 53406"/>
                <a:gd name="connsiteY10" fmla="*/ 125844 h 128811"/>
                <a:gd name="connsiteX11" fmla="*/ 29670 w 53406"/>
                <a:gd name="connsiteY11" fmla="*/ 128811 h 128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406" h="128811">
                  <a:moveTo>
                    <a:pt x="29670" y="128811"/>
                  </a:moveTo>
                  <a:cubicBezTo>
                    <a:pt x="20770" y="128811"/>
                    <a:pt x="11869" y="128811"/>
                    <a:pt x="5934" y="122877"/>
                  </a:cubicBezTo>
                  <a:cubicBezTo>
                    <a:pt x="2968" y="119910"/>
                    <a:pt x="0" y="116943"/>
                    <a:pt x="0" y="111009"/>
                  </a:cubicBezTo>
                  <a:cubicBezTo>
                    <a:pt x="0" y="90240"/>
                    <a:pt x="26704" y="7163"/>
                    <a:pt x="26704" y="4196"/>
                  </a:cubicBezTo>
                  <a:cubicBezTo>
                    <a:pt x="26704" y="1229"/>
                    <a:pt x="29670" y="-1738"/>
                    <a:pt x="32638" y="1229"/>
                  </a:cubicBezTo>
                  <a:cubicBezTo>
                    <a:pt x="35605" y="1229"/>
                    <a:pt x="38571" y="4196"/>
                    <a:pt x="35605" y="7163"/>
                  </a:cubicBezTo>
                  <a:cubicBezTo>
                    <a:pt x="29670" y="30899"/>
                    <a:pt x="8901" y="93207"/>
                    <a:pt x="8901" y="111009"/>
                  </a:cubicBezTo>
                  <a:cubicBezTo>
                    <a:pt x="8901" y="111009"/>
                    <a:pt x="8901" y="113976"/>
                    <a:pt x="8901" y="113976"/>
                  </a:cubicBezTo>
                  <a:cubicBezTo>
                    <a:pt x="14835" y="119910"/>
                    <a:pt x="35605" y="116943"/>
                    <a:pt x="47474" y="113976"/>
                  </a:cubicBezTo>
                  <a:cubicBezTo>
                    <a:pt x="50440" y="113976"/>
                    <a:pt x="53406" y="116943"/>
                    <a:pt x="53406" y="119910"/>
                  </a:cubicBezTo>
                  <a:cubicBezTo>
                    <a:pt x="53406" y="122877"/>
                    <a:pt x="53406" y="125844"/>
                    <a:pt x="47474" y="125844"/>
                  </a:cubicBezTo>
                  <a:cubicBezTo>
                    <a:pt x="47474" y="125844"/>
                    <a:pt x="38571" y="128811"/>
                    <a:pt x="29670" y="128811"/>
                  </a:cubicBezTo>
                  <a:close/>
                </a:path>
              </a:pathLst>
            </a:custGeom>
            <a:solidFill>
              <a:srgbClr val="E58777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52E0AD8D-CACC-4CD5-860B-6EB43B297BC0}"/>
                </a:ext>
              </a:extLst>
            </p:cNvPr>
            <p:cNvSpPr/>
            <p:nvPr/>
          </p:nvSpPr>
          <p:spPr>
            <a:xfrm>
              <a:off x="23671783" y="8579438"/>
              <a:ext cx="116943" cy="26703"/>
            </a:xfrm>
            <a:custGeom>
              <a:avLst/>
              <a:gdLst>
                <a:gd name="connsiteX0" fmla="*/ 59341 w 116943"/>
                <a:gd name="connsiteY0" fmla="*/ 26703 h 26703"/>
                <a:gd name="connsiteX1" fmla="*/ 2966 w 116943"/>
                <a:gd name="connsiteY1" fmla="*/ 11868 h 26703"/>
                <a:gd name="connsiteX2" fmla="*/ 0 w 116943"/>
                <a:gd name="connsiteY2" fmla="*/ 2967 h 26703"/>
                <a:gd name="connsiteX3" fmla="*/ 8901 w 116943"/>
                <a:gd name="connsiteY3" fmla="*/ 0 h 26703"/>
                <a:gd name="connsiteX4" fmla="*/ 106812 w 116943"/>
                <a:gd name="connsiteY4" fmla="*/ 0 h 26703"/>
                <a:gd name="connsiteX5" fmla="*/ 115715 w 116943"/>
                <a:gd name="connsiteY5" fmla="*/ 2967 h 26703"/>
                <a:gd name="connsiteX6" fmla="*/ 112747 w 116943"/>
                <a:gd name="connsiteY6" fmla="*/ 11868 h 26703"/>
                <a:gd name="connsiteX7" fmla="*/ 59341 w 116943"/>
                <a:gd name="connsiteY7" fmla="*/ 26703 h 26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943" h="26703">
                  <a:moveTo>
                    <a:pt x="59341" y="26703"/>
                  </a:moveTo>
                  <a:cubicBezTo>
                    <a:pt x="26704" y="26703"/>
                    <a:pt x="5934" y="14835"/>
                    <a:pt x="2966" y="11868"/>
                  </a:cubicBezTo>
                  <a:cubicBezTo>
                    <a:pt x="0" y="8901"/>
                    <a:pt x="0" y="5934"/>
                    <a:pt x="0" y="2967"/>
                  </a:cubicBezTo>
                  <a:cubicBezTo>
                    <a:pt x="2966" y="0"/>
                    <a:pt x="5934" y="0"/>
                    <a:pt x="8901" y="0"/>
                  </a:cubicBezTo>
                  <a:cubicBezTo>
                    <a:pt x="8901" y="0"/>
                    <a:pt x="59341" y="26703"/>
                    <a:pt x="106812" y="0"/>
                  </a:cubicBezTo>
                  <a:cubicBezTo>
                    <a:pt x="109781" y="0"/>
                    <a:pt x="112747" y="0"/>
                    <a:pt x="115715" y="2967"/>
                  </a:cubicBezTo>
                  <a:cubicBezTo>
                    <a:pt x="118681" y="5934"/>
                    <a:pt x="115715" y="8901"/>
                    <a:pt x="112747" y="11868"/>
                  </a:cubicBezTo>
                  <a:cubicBezTo>
                    <a:pt x="94945" y="23736"/>
                    <a:pt x="74176" y="26703"/>
                    <a:pt x="59341" y="26703"/>
                  </a:cubicBezTo>
                  <a:close/>
                </a:path>
              </a:pathLst>
            </a:custGeom>
            <a:solidFill>
              <a:srgbClr val="E58777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2FEACD2B-C035-4EAA-8931-FA5DF42D76A9}"/>
                </a:ext>
              </a:extLst>
            </p:cNvPr>
            <p:cNvSpPr/>
            <p:nvPr/>
          </p:nvSpPr>
          <p:spPr>
            <a:xfrm>
              <a:off x="23623729" y="8383031"/>
              <a:ext cx="39909" cy="39735"/>
            </a:xfrm>
            <a:custGeom>
              <a:avLst/>
              <a:gdLst>
                <a:gd name="connsiteX0" fmla="*/ 39153 w 39909"/>
                <a:gd name="connsiteY0" fmla="*/ 24318 h 39735"/>
                <a:gd name="connsiteX1" fmla="*/ 15418 w 39909"/>
                <a:gd name="connsiteY1" fmla="*/ 39153 h 39735"/>
                <a:gd name="connsiteX2" fmla="*/ 582 w 39909"/>
                <a:gd name="connsiteY2" fmla="*/ 15417 h 39735"/>
                <a:gd name="connsiteX3" fmla="*/ 24318 w 39909"/>
                <a:gd name="connsiteY3" fmla="*/ 582 h 39735"/>
                <a:gd name="connsiteX4" fmla="*/ 39153 w 39909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39735">
                  <a:moveTo>
                    <a:pt x="39153" y="24318"/>
                  </a:moveTo>
                  <a:cubicBezTo>
                    <a:pt x="36185" y="33219"/>
                    <a:pt x="27285" y="42121"/>
                    <a:pt x="15418" y="39153"/>
                  </a:cubicBezTo>
                  <a:cubicBezTo>
                    <a:pt x="6515" y="36186"/>
                    <a:pt x="-2386" y="27285"/>
                    <a:pt x="582" y="15417"/>
                  </a:cubicBezTo>
                  <a:cubicBezTo>
                    <a:pt x="3549" y="6516"/>
                    <a:pt x="12449" y="-2385"/>
                    <a:pt x="24318" y="582"/>
                  </a:cubicBezTo>
                  <a:cubicBezTo>
                    <a:pt x="36185" y="3549"/>
                    <a:pt x="42120" y="15417"/>
                    <a:pt x="39153" y="24318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C417C9FA-C5D7-4EE8-9A04-810C0032289A}"/>
                </a:ext>
              </a:extLst>
            </p:cNvPr>
            <p:cNvSpPr/>
            <p:nvPr/>
          </p:nvSpPr>
          <p:spPr>
            <a:xfrm>
              <a:off x="23810652" y="8391932"/>
              <a:ext cx="39735" cy="39735"/>
            </a:xfrm>
            <a:custGeom>
              <a:avLst/>
              <a:gdLst>
                <a:gd name="connsiteX0" fmla="*/ 39153 w 39735"/>
                <a:gd name="connsiteY0" fmla="*/ 24318 h 39735"/>
                <a:gd name="connsiteX1" fmla="*/ 15417 w 39735"/>
                <a:gd name="connsiteY1" fmla="*/ 39154 h 39735"/>
                <a:gd name="connsiteX2" fmla="*/ 582 w 39735"/>
                <a:gd name="connsiteY2" fmla="*/ 15417 h 39735"/>
                <a:gd name="connsiteX3" fmla="*/ 24318 w 39735"/>
                <a:gd name="connsiteY3" fmla="*/ 582 h 39735"/>
                <a:gd name="connsiteX4" fmla="*/ 39153 w 39735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735" h="39735">
                  <a:moveTo>
                    <a:pt x="39153" y="24318"/>
                  </a:moveTo>
                  <a:cubicBezTo>
                    <a:pt x="36187" y="33220"/>
                    <a:pt x="27285" y="42120"/>
                    <a:pt x="15417" y="39154"/>
                  </a:cubicBezTo>
                  <a:cubicBezTo>
                    <a:pt x="6517" y="36186"/>
                    <a:pt x="-2386" y="27285"/>
                    <a:pt x="582" y="15417"/>
                  </a:cubicBezTo>
                  <a:cubicBezTo>
                    <a:pt x="3549" y="6516"/>
                    <a:pt x="12449" y="-2385"/>
                    <a:pt x="24318" y="582"/>
                  </a:cubicBezTo>
                  <a:cubicBezTo>
                    <a:pt x="33219" y="3549"/>
                    <a:pt x="42120" y="12450"/>
                    <a:pt x="39153" y="24318"/>
                  </a:cubicBezTo>
                  <a:close/>
                </a:path>
              </a:pathLst>
            </a:custGeom>
            <a:solidFill>
              <a:srgbClr val="38333D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C61CF1BE-0160-49EF-A8A8-25BE4C213D5B}"/>
                </a:ext>
              </a:extLst>
            </p:cNvPr>
            <p:cNvSpPr/>
            <p:nvPr/>
          </p:nvSpPr>
          <p:spPr>
            <a:xfrm>
              <a:off x="23601316" y="8335007"/>
              <a:ext cx="89498" cy="33771"/>
            </a:xfrm>
            <a:custGeom>
              <a:avLst/>
              <a:gdLst>
                <a:gd name="connsiteX0" fmla="*/ 8161 w 89498"/>
                <a:gd name="connsiteY0" fmla="*/ 33771 h 33771"/>
                <a:gd name="connsiteX1" fmla="*/ 2226 w 89498"/>
                <a:gd name="connsiteY1" fmla="*/ 30804 h 33771"/>
                <a:gd name="connsiteX2" fmla="*/ 2226 w 89498"/>
                <a:gd name="connsiteY2" fmla="*/ 18936 h 33771"/>
                <a:gd name="connsiteX3" fmla="*/ 85303 w 89498"/>
                <a:gd name="connsiteY3" fmla="*/ 10035 h 33771"/>
                <a:gd name="connsiteX4" fmla="*/ 88269 w 89498"/>
                <a:gd name="connsiteY4" fmla="*/ 18936 h 33771"/>
                <a:gd name="connsiteX5" fmla="*/ 79368 w 89498"/>
                <a:gd name="connsiteY5" fmla="*/ 21903 h 33771"/>
                <a:gd name="connsiteX6" fmla="*/ 14093 w 89498"/>
                <a:gd name="connsiteY6" fmla="*/ 27837 h 33771"/>
                <a:gd name="connsiteX7" fmla="*/ 8161 w 89498"/>
                <a:gd name="connsiteY7" fmla="*/ 33771 h 3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3771">
                  <a:moveTo>
                    <a:pt x="8161" y="33771"/>
                  </a:moveTo>
                  <a:cubicBezTo>
                    <a:pt x="5192" y="33771"/>
                    <a:pt x="5192" y="33771"/>
                    <a:pt x="2226" y="30804"/>
                  </a:cubicBezTo>
                  <a:cubicBezTo>
                    <a:pt x="-742" y="27837"/>
                    <a:pt x="-742" y="21903"/>
                    <a:pt x="2226" y="18936"/>
                  </a:cubicBezTo>
                  <a:cubicBezTo>
                    <a:pt x="28928" y="-10734"/>
                    <a:pt x="67501" y="1134"/>
                    <a:pt x="85303" y="10035"/>
                  </a:cubicBezTo>
                  <a:cubicBezTo>
                    <a:pt x="88269" y="13002"/>
                    <a:pt x="91237" y="15969"/>
                    <a:pt x="88269" y="18936"/>
                  </a:cubicBezTo>
                  <a:cubicBezTo>
                    <a:pt x="85303" y="21903"/>
                    <a:pt x="82336" y="24870"/>
                    <a:pt x="79368" y="21903"/>
                  </a:cubicBezTo>
                  <a:cubicBezTo>
                    <a:pt x="76402" y="21903"/>
                    <a:pt x="37831" y="1134"/>
                    <a:pt x="14093" y="27837"/>
                  </a:cubicBezTo>
                  <a:cubicBezTo>
                    <a:pt x="11127" y="33771"/>
                    <a:pt x="8161" y="33771"/>
                    <a:pt x="8161" y="33771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525E7776-A4C2-43BA-B8C8-B4881567F3E3}"/>
                </a:ext>
              </a:extLst>
            </p:cNvPr>
            <p:cNvSpPr/>
            <p:nvPr/>
          </p:nvSpPr>
          <p:spPr>
            <a:xfrm>
              <a:off x="23783301" y="8336443"/>
              <a:ext cx="89498" cy="35302"/>
            </a:xfrm>
            <a:custGeom>
              <a:avLst/>
              <a:gdLst>
                <a:gd name="connsiteX0" fmla="*/ 84305 w 89498"/>
                <a:gd name="connsiteY0" fmla="*/ 35303 h 35302"/>
                <a:gd name="connsiteX1" fmla="*/ 78373 w 89498"/>
                <a:gd name="connsiteY1" fmla="*/ 32335 h 35302"/>
                <a:gd name="connsiteX2" fmla="*/ 13097 w 89498"/>
                <a:gd name="connsiteY2" fmla="*/ 26401 h 35302"/>
                <a:gd name="connsiteX3" fmla="*/ 1229 w 89498"/>
                <a:gd name="connsiteY3" fmla="*/ 23434 h 35302"/>
                <a:gd name="connsiteX4" fmla="*/ 4197 w 89498"/>
                <a:gd name="connsiteY4" fmla="*/ 11566 h 35302"/>
                <a:gd name="connsiteX5" fmla="*/ 87273 w 89498"/>
                <a:gd name="connsiteY5" fmla="*/ 20467 h 35302"/>
                <a:gd name="connsiteX6" fmla="*/ 87273 w 89498"/>
                <a:gd name="connsiteY6" fmla="*/ 32335 h 35302"/>
                <a:gd name="connsiteX7" fmla="*/ 84305 w 89498"/>
                <a:gd name="connsiteY7" fmla="*/ 35303 h 35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302">
                  <a:moveTo>
                    <a:pt x="84305" y="35303"/>
                  </a:moveTo>
                  <a:cubicBezTo>
                    <a:pt x="81339" y="35303"/>
                    <a:pt x="81339" y="35303"/>
                    <a:pt x="78373" y="32335"/>
                  </a:cubicBezTo>
                  <a:cubicBezTo>
                    <a:pt x="78373" y="32335"/>
                    <a:pt x="48702" y="2665"/>
                    <a:pt x="13097" y="26401"/>
                  </a:cubicBezTo>
                  <a:cubicBezTo>
                    <a:pt x="10129" y="29369"/>
                    <a:pt x="4197" y="26401"/>
                    <a:pt x="1229" y="23434"/>
                  </a:cubicBezTo>
                  <a:cubicBezTo>
                    <a:pt x="-1738" y="20467"/>
                    <a:pt x="1229" y="14533"/>
                    <a:pt x="4197" y="11566"/>
                  </a:cubicBezTo>
                  <a:cubicBezTo>
                    <a:pt x="39800" y="-12170"/>
                    <a:pt x="75404" y="5632"/>
                    <a:pt x="87273" y="20467"/>
                  </a:cubicBezTo>
                  <a:cubicBezTo>
                    <a:pt x="90240" y="23434"/>
                    <a:pt x="90240" y="29369"/>
                    <a:pt x="87273" y="32335"/>
                  </a:cubicBezTo>
                  <a:cubicBezTo>
                    <a:pt x="87273" y="35303"/>
                    <a:pt x="87273" y="35303"/>
                    <a:pt x="84305" y="35303"/>
                  </a:cubicBezTo>
                  <a:close/>
                </a:path>
              </a:pathLst>
            </a:custGeom>
            <a:solidFill>
              <a:srgbClr val="664540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07C7B1B1-43BC-4B84-A663-9B1AF00F88F0}"/>
                </a:ext>
              </a:extLst>
            </p:cNvPr>
            <p:cNvSpPr/>
            <p:nvPr/>
          </p:nvSpPr>
          <p:spPr>
            <a:xfrm>
              <a:off x="23544066" y="8117337"/>
              <a:ext cx="269202" cy="248497"/>
            </a:xfrm>
            <a:custGeom>
              <a:avLst/>
              <a:gdLst>
                <a:gd name="connsiteX0" fmla="*/ 267168 w 269202"/>
                <a:gd name="connsiteY0" fmla="*/ 2210 h 248497"/>
                <a:gd name="connsiteX1" fmla="*/ 231563 w 269202"/>
                <a:gd name="connsiteY1" fmla="*/ 126826 h 248497"/>
                <a:gd name="connsiteX2" fmla="*/ 135 w 269202"/>
                <a:gd name="connsiteY2" fmla="*/ 248474 h 248497"/>
                <a:gd name="connsiteX3" fmla="*/ 267168 w 269202"/>
                <a:gd name="connsiteY3" fmla="*/ 2210 h 24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202" h="248497">
                  <a:moveTo>
                    <a:pt x="267168" y="2210"/>
                  </a:moveTo>
                  <a:cubicBezTo>
                    <a:pt x="267168" y="2210"/>
                    <a:pt x="282003" y="88254"/>
                    <a:pt x="231563" y="126826"/>
                  </a:cubicBezTo>
                  <a:cubicBezTo>
                    <a:pt x="231563" y="126826"/>
                    <a:pt x="26837" y="168364"/>
                    <a:pt x="135" y="248474"/>
                  </a:cubicBezTo>
                  <a:cubicBezTo>
                    <a:pt x="135" y="251441"/>
                    <a:pt x="-14701" y="-27460"/>
                    <a:pt x="267168" y="2210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12F4D942-72EC-475E-A045-23CCCF106DC4}"/>
                </a:ext>
              </a:extLst>
            </p:cNvPr>
            <p:cNvSpPr/>
            <p:nvPr/>
          </p:nvSpPr>
          <p:spPr>
            <a:xfrm>
              <a:off x="23778595" y="8122459"/>
              <a:ext cx="219245" cy="306140"/>
            </a:xfrm>
            <a:custGeom>
              <a:avLst/>
              <a:gdLst>
                <a:gd name="connsiteX0" fmla="*/ 0 w 219245"/>
                <a:gd name="connsiteY0" fmla="*/ 121703 h 306140"/>
                <a:gd name="connsiteX1" fmla="*/ 136485 w 219245"/>
                <a:gd name="connsiteY1" fmla="*/ 175110 h 306140"/>
                <a:gd name="connsiteX2" fmla="*/ 192857 w 219245"/>
                <a:gd name="connsiteY2" fmla="*/ 293791 h 306140"/>
                <a:gd name="connsiteX3" fmla="*/ 216595 w 219245"/>
                <a:gd name="connsiteY3" fmla="*/ 290824 h 306140"/>
                <a:gd name="connsiteX4" fmla="*/ 32638 w 219245"/>
                <a:gd name="connsiteY4" fmla="*/ 55 h 306140"/>
                <a:gd name="connsiteX5" fmla="*/ 0 w 219245"/>
                <a:gd name="connsiteY5" fmla="*/ 121703 h 30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245" h="306140">
                  <a:moveTo>
                    <a:pt x="0" y="121703"/>
                  </a:moveTo>
                  <a:cubicBezTo>
                    <a:pt x="0" y="121703"/>
                    <a:pt x="86045" y="169176"/>
                    <a:pt x="136485" y="175110"/>
                  </a:cubicBezTo>
                  <a:cubicBezTo>
                    <a:pt x="186925" y="181044"/>
                    <a:pt x="192857" y="293791"/>
                    <a:pt x="192857" y="293791"/>
                  </a:cubicBezTo>
                  <a:cubicBezTo>
                    <a:pt x="192857" y="293791"/>
                    <a:pt x="213627" y="323462"/>
                    <a:pt x="216595" y="290824"/>
                  </a:cubicBezTo>
                  <a:cubicBezTo>
                    <a:pt x="225496" y="213681"/>
                    <a:pt x="222527" y="20824"/>
                    <a:pt x="32638" y="55"/>
                  </a:cubicBezTo>
                  <a:cubicBezTo>
                    <a:pt x="32638" y="-2912"/>
                    <a:pt x="20770" y="115769"/>
                    <a:pt x="0" y="121703"/>
                  </a:cubicBezTo>
                  <a:close/>
                </a:path>
              </a:pathLst>
            </a:custGeom>
            <a:solidFill>
              <a:srgbClr val="D3977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F92CC33D-D29F-4D88-9458-6EDB2032F8D2}"/>
                </a:ext>
              </a:extLst>
            </p:cNvPr>
            <p:cNvSpPr/>
            <p:nvPr/>
          </p:nvSpPr>
          <p:spPr>
            <a:xfrm>
              <a:off x="23934530" y="8399971"/>
              <a:ext cx="76821" cy="110991"/>
            </a:xfrm>
            <a:custGeom>
              <a:avLst/>
              <a:gdLst>
                <a:gd name="connsiteX0" fmla="*/ 13187 w 76821"/>
                <a:gd name="connsiteY0" fmla="*/ 16280 h 110991"/>
                <a:gd name="connsiteX1" fmla="*/ 69561 w 76821"/>
                <a:gd name="connsiteY1" fmla="*/ 7379 h 110991"/>
                <a:gd name="connsiteX2" fmla="*/ 13187 w 76821"/>
                <a:gd name="connsiteY2" fmla="*/ 108258 h 110991"/>
                <a:gd name="connsiteX3" fmla="*/ 13187 w 76821"/>
                <a:gd name="connsiteY3" fmla="*/ 16280 h 11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821" h="110991">
                  <a:moveTo>
                    <a:pt x="13187" y="16280"/>
                  </a:moveTo>
                  <a:cubicBezTo>
                    <a:pt x="13187" y="16280"/>
                    <a:pt x="45825" y="-13390"/>
                    <a:pt x="69561" y="7379"/>
                  </a:cubicBezTo>
                  <a:cubicBezTo>
                    <a:pt x="93297" y="25181"/>
                    <a:pt x="54726" y="129027"/>
                    <a:pt x="13187" y="108258"/>
                  </a:cubicBezTo>
                  <a:cubicBezTo>
                    <a:pt x="-16484" y="87489"/>
                    <a:pt x="13187" y="16280"/>
                    <a:pt x="13187" y="16280"/>
                  </a:cubicBezTo>
                  <a:close/>
                </a:path>
              </a:pathLst>
            </a:custGeom>
            <a:solidFill>
              <a:srgbClr val="F5A39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521AC442-FB49-4B76-B4CE-77953E71E9CF}"/>
                </a:ext>
              </a:extLst>
            </p:cNvPr>
            <p:cNvSpPr/>
            <p:nvPr/>
          </p:nvSpPr>
          <p:spPr>
            <a:xfrm>
              <a:off x="23769695" y="8116580"/>
              <a:ext cx="203707" cy="293736"/>
            </a:xfrm>
            <a:custGeom>
              <a:avLst/>
              <a:gdLst>
                <a:gd name="connsiteX0" fmla="*/ 198792 w 203707"/>
                <a:gd name="connsiteY0" fmla="*/ 293737 h 293736"/>
                <a:gd name="connsiteX1" fmla="*/ 192857 w 203707"/>
                <a:gd name="connsiteY1" fmla="*/ 287802 h 293736"/>
                <a:gd name="connsiteX2" fmla="*/ 142417 w 203707"/>
                <a:gd name="connsiteY2" fmla="*/ 186923 h 293736"/>
                <a:gd name="connsiteX3" fmla="*/ 2968 w 203707"/>
                <a:gd name="connsiteY3" fmla="*/ 130550 h 293736"/>
                <a:gd name="connsiteX4" fmla="*/ 0 w 203707"/>
                <a:gd name="connsiteY4" fmla="*/ 127583 h 293736"/>
                <a:gd name="connsiteX5" fmla="*/ 0 w 203707"/>
                <a:gd name="connsiteY5" fmla="*/ 121649 h 293736"/>
                <a:gd name="connsiteX6" fmla="*/ 17803 w 203707"/>
                <a:gd name="connsiteY6" fmla="*/ 97912 h 293736"/>
                <a:gd name="connsiteX7" fmla="*/ 26704 w 203707"/>
                <a:gd name="connsiteY7" fmla="*/ 59341 h 293736"/>
                <a:gd name="connsiteX8" fmla="*/ 29670 w 203707"/>
                <a:gd name="connsiteY8" fmla="*/ 32638 h 293736"/>
                <a:gd name="connsiteX9" fmla="*/ 32638 w 203707"/>
                <a:gd name="connsiteY9" fmla="*/ 5934 h 293736"/>
                <a:gd name="connsiteX10" fmla="*/ 38571 w 203707"/>
                <a:gd name="connsiteY10" fmla="*/ 0 h 293736"/>
                <a:gd name="connsiteX11" fmla="*/ 44505 w 203707"/>
                <a:gd name="connsiteY11" fmla="*/ 5934 h 293736"/>
                <a:gd name="connsiteX12" fmla="*/ 41539 w 203707"/>
                <a:gd name="connsiteY12" fmla="*/ 32638 h 293736"/>
                <a:gd name="connsiteX13" fmla="*/ 38571 w 203707"/>
                <a:gd name="connsiteY13" fmla="*/ 59341 h 293736"/>
                <a:gd name="connsiteX14" fmla="*/ 26704 w 203707"/>
                <a:gd name="connsiteY14" fmla="*/ 100879 h 293736"/>
                <a:gd name="connsiteX15" fmla="*/ 11869 w 203707"/>
                <a:gd name="connsiteY15" fmla="*/ 121649 h 293736"/>
                <a:gd name="connsiteX16" fmla="*/ 142417 w 203707"/>
                <a:gd name="connsiteY16" fmla="*/ 172088 h 293736"/>
                <a:gd name="connsiteX17" fmla="*/ 201758 w 203707"/>
                <a:gd name="connsiteY17" fmla="*/ 284835 h 293736"/>
                <a:gd name="connsiteX18" fmla="*/ 198792 w 203707"/>
                <a:gd name="connsiteY18" fmla="*/ 293737 h 293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3707" h="293736">
                  <a:moveTo>
                    <a:pt x="198792" y="293737"/>
                  </a:moveTo>
                  <a:cubicBezTo>
                    <a:pt x="195825" y="293737"/>
                    <a:pt x="192857" y="290769"/>
                    <a:pt x="192857" y="287802"/>
                  </a:cubicBezTo>
                  <a:cubicBezTo>
                    <a:pt x="192857" y="287802"/>
                    <a:pt x="192857" y="195824"/>
                    <a:pt x="142417" y="186923"/>
                  </a:cubicBezTo>
                  <a:cubicBezTo>
                    <a:pt x="74176" y="178022"/>
                    <a:pt x="5934" y="133516"/>
                    <a:pt x="2968" y="130550"/>
                  </a:cubicBezTo>
                  <a:cubicBezTo>
                    <a:pt x="2968" y="130550"/>
                    <a:pt x="0" y="127583"/>
                    <a:pt x="0" y="127583"/>
                  </a:cubicBezTo>
                  <a:cubicBezTo>
                    <a:pt x="0" y="124615"/>
                    <a:pt x="0" y="124615"/>
                    <a:pt x="0" y="121649"/>
                  </a:cubicBezTo>
                  <a:cubicBezTo>
                    <a:pt x="5934" y="115715"/>
                    <a:pt x="11869" y="106813"/>
                    <a:pt x="17803" y="97912"/>
                  </a:cubicBezTo>
                  <a:cubicBezTo>
                    <a:pt x="23736" y="86044"/>
                    <a:pt x="26704" y="71209"/>
                    <a:pt x="26704" y="59341"/>
                  </a:cubicBezTo>
                  <a:cubicBezTo>
                    <a:pt x="26704" y="53407"/>
                    <a:pt x="29670" y="41539"/>
                    <a:pt x="29670" y="32638"/>
                  </a:cubicBezTo>
                  <a:cubicBezTo>
                    <a:pt x="29670" y="20769"/>
                    <a:pt x="32638" y="11868"/>
                    <a:pt x="32638" y="5934"/>
                  </a:cubicBezTo>
                  <a:cubicBezTo>
                    <a:pt x="32638" y="2967"/>
                    <a:pt x="35605" y="0"/>
                    <a:pt x="38571" y="0"/>
                  </a:cubicBezTo>
                  <a:cubicBezTo>
                    <a:pt x="41539" y="0"/>
                    <a:pt x="44505" y="2967"/>
                    <a:pt x="44505" y="5934"/>
                  </a:cubicBezTo>
                  <a:cubicBezTo>
                    <a:pt x="44505" y="11868"/>
                    <a:pt x="41539" y="23736"/>
                    <a:pt x="41539" y="32638"/>
                  </a:cubicBezTo>
                  <a:cubicBezTo>
                    <a:pt x="41539" y="44505"/>
                    <a:pt x="38571" y="53407"/>
                    <a:pt x="38571" y="59341"/>
                  </a:cubicBezTo>
                  <a:cubicBezTo>
                    <a:pt x="35605" y="74176"/>
                    <a:pt x="35605" y="89011"/>
                    <a:pt x="26704" y="100879"/>
                  </a:cubicBezTo>
                  <a:cubicBezTo>
                    <a:pt x="23736" y="106813"/>
                    <a:pt x="17803" y="115715"/>
                    <a:pt x="11869" y="121649"/>
                  </a:cubicBezTo>
                  <a:cubicBezTo>
                    <a:pt x="29670" y="133516"/>
                    <a:pt x="86045" y="163187"/>
                    <a:pt x="142417" y="172088"/>
                  </a:cubicBezTo>
                  <a:cubicBezTo>
                    <a:pt x="198792" y="180989"/>
                    <a:pt x="201758" y="278901"/>
                    <a:pt x="201758" y="284835"/>
                  </a:cubicBezTo>
                  <a:cubicBezTo>
                    <a:pt x="204726" y="290769"/>
                    <a:pt x="204726" y="293737"/>
                    <a:pt x="198792" y="293737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5256F904-0630-43CD-8364-8E6F33BB844E}"/>
                </a:ext>
              </a:extLst>
            </p:cNvPr>
            <p:cNvSpPr/>
            <p:nvPr/>
          </p:nvSpPr>
          <p:spPr>
            <a:xfrm>
              <a:off x="23451897" y="8256031"/>
              <a:ext cx="270325" cy="278901"/>
            </a:xfrm>
            <a:custGeom>
              <a:avLst/>
              <a:gdLst>
                <a:gd name="connsiteX0" fmla="*/ 6259 w 270325"/>
                <a:gd name="connsiteY0" fmla="*/ 278901 h 278901"/>
                <a:gd name="connsiteX1" fmla="*/ 325 w 270325"/>
                <a:gd name="connsiteY1" fmla="*/ 272967 h 278901"/>
                <a:gd name="connsiteX2" fmla="*/ 35929 w 270325"/>
                <a:gd name="connsiteY2" fmla="*/ 210660 h 278901"/>
                <a:gd name="connsiteX3" fmla="*/ 86369 w 270325"/>
                <a:gd name="connsiteY3" fmla="*/ 127583 h 278901"/>
                <a:gd name="connsiteX4" fmla="*/ 264391 w 270325"/>
                <a:gd name="connsiteY4" fmla="*/ 0 h 278901"/>
                <a:gd name="connsiteX5" fmla="*/ 270326 w 270325"/>
                <a:gd name="connsiteY5" fmla="*/ 5934 h 278901"/>
                <a:gd name="connsiteX6" fmla="*/ 264391 w 270325"/>
                <a:gd name="connsiteY6" fmla="*/ 11868 h 278901"/>
                <a:gd name="connsiteX7" fmla="*/ 95270 w 270325"/>
                <a:gd name="connsiteY7" fmla="*/ 130550 h 278901"/>
                <a:gd name="connsiteX8" fmla="*/ 41864 w 270325"/>
                <a:gd name="connsiteY8" fmla="*/ 222527 h 278901"/>
                <a:gd name="connsiteX9" fmla="*/ 12193 w 270325"/>
                <a:gd name="connsiteY9" fmla="*/ 275934 h 278901"/>
                <a:gd name="connsiteX10" fmla="*/ 6259 w 270325"/>
                <a:gd name="connsiteY10" fmla="*/ 278901 h 278901"/>
                <a:gd name="connsiteX11" fmla="*/ 6259 w 270325"/>
                <a:gd name="connsiteY11" fmla="*/ 278901 h 27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0325" h="278901">
                  <a:moveTo>
                    <a:pt x="6259" y="278901"/>
                  </a:moveTo>
                  <a:cubicBezTo>
                    <a:pt x="3293" y="278901"/>
                    <a:pt x="325" y="275934"/>
                    <a:pt x="325" y="272967"/>
                  </a:cubicBezTo>
                  <a:cubicBezTo>
                    <a:pt x="-2642" y="237363"/>
                    <a:pt x="15160" y="225495"/>
                    <a:pt x="35929" y="210660"/>
                  </a:cubicBezTo>
                  <a:cubicBezTo>
                    <a:pt x="56699" y="195824"/>
                    <a:pt x="80435" y="178022"/>
                    <a:pt x="86369" y="127583"/>
                  </a:cubicBezTo>
                  <a:cubicBezTo>
                    <a:pt x="95270" y="23736"/>
                    <a:pt x="258457" y="0"/>
                    <a:pt x="264391" y="0"/>
                  </a:cubicBezTo>
                  <a:cubicBezTo>
                    <a:pt x="267358" y="0"/>
                    <a:pt x="270326" y="2967"/>
                    <a:pt x="270326" y="5934"/>
                  </a:cubicBezTo>
                  <a:cubicBezTo>
                    <a:pt x="270326" y="8901"/>
                    <a:pt x="267358" y="11868"/>
                    <a:pt x="264391" y="11868"/>
                  </a:cubicBezTo>
                  <a:cubicBezTo>
                    <a:pt x="261425" y="11868"/>
                    <a:pt x="104171" y="35605"/>
                    <a:pt x="95270" y="130550"/>
                  </a:cubicBezTo>
                  <a:cubicBezTo>
                    <a:pt x="92304" y="186923"/>
                    <a:pt x="62633" y="207692"/>
                    <a:pt x="41864" y="222527"/>
                  </a:cubicBezTo>
                  <a:cubicBezTo>
                    <a:pt x="24062" y="237363"/>
                    <a:pt x="9227" y="246264"/>
                    <a:pt x="12193" y="275934"/>
                  </a:cubicBezTo>
                  <a:cubicBezTo>
                    <a:pt x="12193" y="275934"/>
                    <a:pt x="9227" y="278901"/>
                    <a:pt x="6259" y="278901"/>
                  </a:cubicBezTo>
                  <a:lnTo>
                    <a:pt x="6259" y="278901"/>
                  </a:ln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23D5154D-54EF-427C-9A33-1ECEA265EC6B}"/>
                </a:ext>
              </a:extLst>
            </p:cNvPr>
            <p:cNvSpPr/>
            <p:nvPr/>
          </p:nvSpPr>
          <p:spPr>
            <a:xfrm>
              <a:off x="23322266" y="8633586"/>
              <a:ext cx="117346" cy="114972"/>
            </a:xfrm>
            <a:custGeom>
              <a:avLst/>
              <a:gdLst>
                <a:gd name="connsiteX0" fmla="*/ 8308 w 117346"/>
                <a:gd name="connsiteY0" fmla="*/ 114972 h 114972"/>
                <a:gd name="connsiteX1" fmla="*/ 2374 w 117346"/>
                <a:gd name="connsiteY1" fmla="*/ 112005 h 114972"/>
                <a:gd name="connsiteX2" fmla="*/ 32044 w 117346"/>
                <a:gd name="connsiteY2" fmla="*/ 52665 h 114972"/>
                <a:gd name="connsiteX3" fmla="*/ 106220 w 117346"/>
                <a:gd name="connsiteY3" fmla="*/ 2225 h 114972"/>
                <a:gd name="connsiteX4" fmla="*/ 115121 w 117346"/>
                <a:gd name="connsiteY4" fmla="*/ 2225 h 114972"/>
                <a:gd name="connsiteX5" fmla="*/ 115121 w 117346"/>
                <a:gd name="connsiteY5" fmla="*/ 11126 h 114972"/>
                <a:gd name="connsiteX6" fmla="*/ 37978 w 117346"/>
                <a:gd name="connsiteY6" fmla="*/ 64533 h 114972"/>
                <a:gd name="connsiteX7" fmla="*/ 14242 w 117346"/>
                <a:gd name="connsiteY7" fmla="*/ 109038 h 114972"/>
                <a:gd name="connsiteX8" fmla="*/ 8308 w 117346"/>
                <a:gd name="connsiteY8" fmla="*/ 114972 h 114972"/>
                <a:gd name="connsiteX9" fmla="*/ 8308 w 117346"/>
                <a:gd name="connsiteY9" fmla="*/ 114972 h 114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346" h="114972">
                  <a:moveTo>
                    <a:pt x="8308" y="114972"/>
                  </a:moveTo>
                  <a:cubicBezTo>
                    <a:pt x="5342" y="114972"/>
                    <a:pt x="2374" y="112005"/>
                    <a:pt x="2374" y="112005"/>
                  </a:cubicBezTo>
                  <a:cubicBezTo>
                    <a:pt x="2374" y="112005"/>
                    <a:pt x="-12462" y="70467"/>
                    <a:pt x="32044" y="52665"/>
                  </a:cubicBezTo>
                  <a:cubicBezTo>
                    <a:pt x="70615" y="34863"/>
                    <a:pt x="106220" y="2225"/>
                    <a:pt x="106220" y="2225"/>
                  </a:cubicBezTo>
                  <a:cubicBezTo>
                    <a:pt x="109188" y="-742"/>
                    <a:pt x="112154" y="-742"/>
                    <a:pt x="115121" y="2225"/>
                  </a:cubicBezTo>
                  <a:cubicBezTo>
                    <a:pt x="118089" y="5192"/>
                    <a:pt x="118089" y="8159"/>
                    <a:pt x="115121" y="11126"/>
                  </a:cubicBezTo>
                  <a:cubicBezTo>
                    <a:pt x="112154" y="11126"/>
                    <a:pt x="76549" y="46731"/>
                    <a:pt x="37978" y="64533"/>
                  </a:cubicBezTo>
                  <a:cubicBezTo>
                    <a:pt x="2374" y="79368"/>
                    <a:pt x="14242" y="109038"/>
                    <a:pt x="14242" y="109038"/>
                  </a:cubicBezTo>
                  <a:cubicBezTo>
                    <a:pt x="17209" y="109038"/>
                    <a:pt x="14242" y="112005"/>
                    <a:pt x="8308" y="114972"/>
                  </a:cubicBezTo>
                  <a:cubicBezTo>
                    <a:pt x="11274" y="114972"/>
                    <a:pt x="11274" y="114972"/>
                    <a:pt x="8308" y="114972"/>
                  </a:cubicBezTo>
                  <a:close/>
                </a:path>
              </a:pathLst>
            </a:custGeom>
            <a:solidFill>
              <a:srgbClr val="6C5D68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37043BD9-90C4-4DFD-A0C7-F1189747FB38}"/>
                </a:ext>
              </a:extLst>
            </p:cNvPr>
            <p:cNvSpPr/>
            <p:nvPr/>
          </p:nvSpPr>
          <p:spPr>
            <a:xfrm>
              <a:off x="23657689" y="8631615"/>
              <a:ext cx="217080" cy="78371"/>
            </a:xfrm>
            <a:custGeom>
              <a:avLst/>
              <a:gdLst>
                <a:gd name="connsiteX0" fmla="*/ 70468 w 217080"/>
                <a:gd name="connsiteY0" fmla="*/ 78372 h 78371"/>
                <a:gd name="connsiteX1" fmla="*/ 2225 w 217080"/>
                <a:gd name="connsiteY1" fmla="*/ 51669 h 78371"/>
                <a:gd name="connsiteX2" fmla="*/ 2225 w 217080"/>
                <a:gd name="connsiteY2" fmla="*/ 42767 h 78371"/>
                <a:gd name="connsiteX3" fmla="*/ 11127 w 217080"/>
                <a:gd name="connsiteY3" fmla="*/ 42767 h 78371"/>
                <a:gd name="connsiteX4" fmla="*/ 79369 w 217080"/>
                <a:gd name="connsiteY4" fmla="*/ 66504 h 78371"/>
                <a:gd name="connsiteX5" fmla="*/ 206951 w 217080"/>
                <a:gd name="connsiteY5" fmla="*/ 1229 h 78371"/>
                <a:gd name="connsiteX6" fmla="*/ 215851 w 217080"/>
                <a:gd name="connsiteY6" fmla="*/ 4196 h 78371"/>
                <a:gd name="connsiteX7" fmla="*/ 212885 w 217080"/>
                <a:gd name="connsiteY7" fmla="*/ 13097 h 78371"/>
                <a:gd name="connsiteX8" fmla="*/ 79369 w 217080"/>
                <a:gd name="connsiteY8" fmla="*/ 78372 h 78371"/>
                <a:gd name="connsiteX9" fmla="*/ 70468 w 217080"/>
                <a:gd name="connsiteY9" fmla="*/ 78372 h 78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080" h="78371">
                  <a:moveTo>
                    <a:pt x="70468" y="78372"/>
                  </a:moveTo>
                  <a:cubicBezTo>
                    <a:pt x="31895" y="78372"/>
                    <a:pt x="5193" y="51669"/>
                    <a:pt x="2225" y="51669"/>
                  </a:cubicBezTo>
                  <a:cubicBezTo>
                    <a:pt x="-742" y="48701"/>
                    <a:pt x="-742" y="45735"/>
                    <a:pt x="2225" y="42767"/>
                  </a:cubicBezTo>
                  <a:cubicBezTo>
                    <a:pt x="5193" y="39800"/>
                    <a:pt x="8159" y="39800"/>
                    <a:pt x="11127" y="42767"/>
                  </a:cubicBezTo>
                  <a:cubicBezTo>
                    <a:pt x="11127" y="42767"/>
                    <a:pt x="40798" y="72438"/>
                    <a:pt x="79369" y="66504"/>
                  </a:cubicBezTo>
                  <a:cubicBezTo>
                    <a:pt x="117940" y="60570"/>
                    <a:pt x="206951" y="1229"/>
                    <a:pt x="206951" y="1229"/>
                  </a:cubicBezTo>
                  <a:cubicBezTo>
                    <a:pt x="209917" y="-1738"/>
                    <a:pt x="212885" y="1229"/>
                    <a:pt x="215851" y="4196"/>
                  </a:cubicBezTo>
                  <a:cubicBezTo>
                    <a:pt x="218820" y="7163"/>
                    <a:pt x="215851" y="10130"/>
                    <a:pt x="212885" y="13097"/>
                  </a:cubicBezTo>
                  <a:cubicBezTo>
                    <a:pt x="209917" y="16064"/>
                    <a:pt x="120906" y="75405"/>
                    <a:pt x="79369" y="78372"/>
                  </a:cubicBezTo>
                  <a:cubicBezTo>
                    <a:pt x="79369" y="78372"/>
                    <a:pt x="76401" y="78372"/>
                    <a:pt x="70468" y="78372"/>
                  </a:cubicBezTo>
                  <a:close/>
                </a:path>
              </a:pathLst>
            </a:custGeom>
            <a:solidFill>
              <a:srgbClr val="E58777"/>
            </a:solidFill>
            <a:ln w="296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7" name="图形 1">
              <a:extLst>
                <a:ext uri="{FF2B5EF4-FFF2-40B4-BE49-F238E27FC236}">
                  <a16:creationId xmlns:a16="http://schemas.microsoft.com/office/drawing/2014/main" id="{613F2D05-B2F9-442C-8886-CECF87A2ACC0}"/>
                </a:ext>
              </a:extLst>
            </p:cNvPr>
            <p:cNvGrpSpPr/>
            <p:nvPr/>
          </p:nvGrpSpPr>
          <p:grpSpPr>
            <a:xfrm>
              <a:off x="23609476" y="7822844"/>
              <a:ext cx="320439" cy="399481"/>
              <a:chOff x="23609476" y="7822844"/>
              <a:chExt cx="320439" cy="399481"/>
            </a:xfrm>
          </p:grpSpPr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1DA20920-1FA1-461E-A306-398B2CFC211D}"/>
                  </a:ext>
                </a:extLst>
              </p:cNvPr>
              <p:cNvSpPr/>
              <p:nvPr/>
            </p:nvSpPr>
            <p:spPr>
              <a:xfrm>
                <a:off x="23609476" y="7822844"/>
                <a:ext cx="320439" cy="399481"/>
              </a:xfrm>
              <a:custGeom>
                <a:avLst/>
                <a:gdLst>
                  <a:gd name="connsiteX0" fmla="*/ 0 w 320439"/>
                  <a:gd name="connsiteY0" fmla="*/ 350110 h 399481"/>
                  <a:gd name="connsiteX1" fmla="*/ 207692 w 320439"/>
                  <a:gd name="connsiteY1" fmla="*/ 0 h 399481"/>
                  <a:gd name="connsiteX2" fmla="*/ 320439 w 320439"/>
                  <a:gd name="connsiteY2" fmla="*/ 373846 h 399481"/>
                  <a:gd name="connsiteX3" fmla="*/ 0 w 320439"/>
                  <a:gd name="connsiteY3" fmla="*/ 350110 h 399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0439" h="399481">
                    <a:moveTo>
                      <a:pt x="0" y="350110"/>
                    </a:moveTo>
                    <a:lnTo>
                      <a:pt x="207692" y="0"/>
                    </a:lnTo>
                    <a:lnTo>
                      <a:pt x="320439" y="373846"/>
                    </a:lnTo>
                    <a:cubicBezTo>
                      <a:pt x="320439" y="373846"/>
                      <a:pt x="204724" y="445055"/>
                      <a:pt x="0" y="35011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49CC2D01-00A9-43D0-A3C3-7ACAEE11E5AB}"/>
                  </a:ext>
                </a:extLst>
              </p:cNvPr>
              <p:cNvSpPr/>
              <p:nvPr/>
            </p:nvSpPr>
            <p:spPr>
              <a:xfrm>
                <a:off x="23793526" y="7964407"/>
                <a:ext cx="29480" cy="28412"/>
              </a:xfrm>
              <a:custGeom>
                <a:avLst/>
                <a:gdLst>
                  <a:gd name="connsiteX0" fmla="*/ 20674 w 29480"/>
                  <a:gd name="connsiteY0" fmla="*/ 855 h 28412"/>
                  <a:gd name="connsiteX1" fmla="*/ 8807 w 29480"/>
                  <a:gd name="connsiteY1" fmla="*/ 27558 h 28412"/>
                  <a:gd name="connsiteX2" fmla="*/ 20674 w 29480"/>
                  <a:gd name="connsiteY2" fmla="*/ 855 h 28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480" h="28412">
                    <a:moveTo>
                      <a:pt x="20674" y="855"/>
                    </a:moveTo>
                    <a:cubicBezTo>
                      <a:pt x="2872" y="-5080"/>
                      <a:pt x="-8996" y="21624"/>
                      <a:pt x="8807" y="27558"/>
                    </a:cubicBezTo>
                    <a:cubicBezTo>
                      <a:pt x="26608" y="33492"/>
                      <a:pt x="38477" y="6789"/>
                      <a:pt x="20674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140C0119-B394-4A60-A61E-0C48C24681CC}"/>
                  </a:ext>
                </a:extLst>
              </p:cNvPr>
              <p:cNvSpPr/>
              <p:nvPr/>
            </p:nvSpPr>
            <p:spPr>
              <a:xfrm>
                <a:off x="23743086" y="8020781"/>
                <a:ext cx="29480" cy="28412"/>
              </a:xfrm>
              <a:custGeom>
                <a:avLst/>
                <a:gdLst>
                  <a:gd name="connsiteX0" fmla="*/ 20674 w 29480"/>
                  <a:gd name="connsiteY0" fmla="*/ 855 h 28412"/>
                  <a:gd name="connsiteX1" fmla="*/ 8807 w 29480"/>
                  <a:gd name="connsiteY1" fmla="*/ 27558 h 28412"/>
                  <a:gd name="connsiteX2" fmla="*/ 20674 w 29480"/>
                  <a:gd name="connsiteY2" fmla="*/ 855 h 28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480" h="28412">
                    <a:moveTo>
                      <a:pt x="20674" y="855"/>
                    </a:moveTo>
                    <a:cubicBezTo>
                      <a:pt x="2872" y="-5079"/>
                      <a:pt x="-8996" y="21624"/>
                      <a:pt x="8807" y="27558"/>
                    </a:cubicBezTo>
                    <a:cubicBezTo>
                      <a:pt x="26608" y="33492"/>
                      <a:pt x="38477" y="6789"/>
                      <a:pt x="20674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7BE4614F-FD48-4A7B-A3B0-F1C4BA35DFB9}"/>
                  </a:ext>
                </a:extLst>
              </p:cNvPr>
              <p:cNvSpPr/>
              <p:nvPr/>
            </p:nvSpPr>
            <p:spPr>
              <a:xfrm>
                <a:off x="23823197" y="8085257"/>
                <a:ext cx="30219" cy="29211"/>
              </a:xfrm>
              <a:custGeom>
                <a:avLst/>
                <a:gdLst>
                  <a:gd name="connsiteX0" fmla="*/ 20674 w 30219"/>
                  <a:gd name="connsiteY0" fmla="*/ 1653 h 29211"/>
                  <a:gd name="connsiteX1" fmla="*/ 8807 w 30219"/>
                  <a:gd name="connsiteY1" fmla="*/ 28356 h 29211"/>
                  <a:gd name="connsiteX2" fmla="*/ 20674 w 30219"/>
                  <a:gd name="connsiteY2" fmla="*/ 1653 h 29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219" h="29211">
                    <a:moveTo>
                      <a:pt x="20674" y="1653"/>
                    </a:moveTo>
                    <a:cubicBezTo>
                      <a:pt x="2872" y="-7248"/>
                      <a:pt x="-8996" y="22422"/>
                      <a:pt x="8807" y="28356"/>
                    </a:cubicBezTo>
                    <a:cubicBezTo>
                      <a:pt x="29575" y="34290"/>
                      <a:pt x="38477" y="7587"/>
                      <a:pt x="20674" y="1653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1C251EE3-F403-45D5-A258-2D3F2C4FDA6C}"/>
                  </a:ext>
                </a:extLst>
              </p:cNvPr>
              <p:cNvSpPr/>
              <p:nvPr/>
            </p:nvSpPr>
            <p:spPr>
              <a:xfrm>
                <a:off x="23704515" y="8097924"/>
                <a:ext cx="28164" cy="28412"/>
              </a:xfrm>
              <a:custGeom>
                <a:avLst/>
                <a:gdLst>
                  <a:gd name="connsiteX0" fmla="*/ 20674 w 28164"/>
                  <a:gd name="connsiteY0" fmla="*/ 855 h 28412"/>
                  <a:gd name="connsiteX1" fmla="*/ 8807 w 28164"/>
                  <a:gd name="connsiteY1" fmla="*/ 27558 h 28412"/>
                  <a:gd name="connsiteX2" fmla="*/ 20674 w 28164"/>
                  <a:gd name="connsiteY2" fmla="*/ 855 h 28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164" h="28412">
                    <a:moveTo>
                      <a:pt x="20674" y="855"/>
                    </a:moveTo>
                    <a:cubicBezTo>
                      <a:pt x="2872" y="-5080"/>
                      <a:pt x="-8996" y="21624"/>
                      <a:pt x="8807" y="27558"/>
                    </a:cubicBezTo>
                    <a:cubicBezTo>
                      <a:pt x="26608" y="33492"/>
                      <a:pt x="35509" y="6789"/>
                      <a:pt x="20674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A5414743-45A7-403E-B9BA-94B1E5F7918E}"/>
                  </a:ext>
                </a:extLst>
              </p:cNvPr>
              <p:cNvSpPr/>
              <p:nvPr/>
            </p:nvSpPr>
            <p:spPr>
              <a:xfrm>
                <a:off x="23766823" y="8160231"/>
                <a:ext cx="28164" cy="28412"/>
              </a:xfrm>
              <a:custGeom>
                <a:avLst/>
                <a:gdLst>
                  <a:gd name="connsiteX0" fmla="*/ 20675 w 28164"/>
                  <a:gd name="connsiteY0" fmla="*/ 855 h 28412"/>
                  <a:gd name="connsiteX1" fmla="*/ 8806 w 28164"/>
                  <a:gd name="connsiteY1" fmla="*/ 27558 h 28412"/>
                  <a:gd name="connsiteX2" fmla="*/ 20675 w 28164"/>
                  <a:gd name="connsiteY2" fmla="*/ 855 h 28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164" h="28412">
                    <a:moveTo>
                      <a:pt x="20675" y="855"/>
                    </a:moveTo>
                    <a:cubicBezTo>
                      <a:pt x="2872" y="-5079"/>
                      <a:pt x="-8995" y="21624"/>
                      <a:pt x="8806" y="27558"/>
                    </a:cubicBezTo>
                    <a:cubicBezTo>
                      <a:pt x="26607" y="33492"/>
                      <a:pt x="35510" y="6789"/>
                      <a:pt x="20675" y="85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9369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5" name="图形 892">
            <a:extLst>
              <a:ext uri="{FF2B5EF4-FFF2-40B4-BE49-F238E27FC236}">
                <a16:creationId xmlns:a16="http://schemas.microsoft.com/office/drawing/2014/main" id="{3BC22526-4280-4D80-8B97-C87957251B0A}"/>
              </a:ext>
            </a:extLst>
          </p:cNvPr>
          <p:cNvGrpSpPr/>
          <p:nvPr/>
        </p:nvGrpSpPr>
        <p:grpSpPr>
          <a:xfrm>
            <a:off x="2948822" y="1849332"/>
            <a:ext cx="6049470" cy="4934424"/>
            <a:chOff x="2948822" y="1849332"/>
            <a:chExt cx="6049470" cy="4934424"/>
          </a:xfrm>
        </p:grpSpPr>
        <p:grpSp>
          <p:nvGrpSpPr>
            <p:cNvPr id="896" name="图形 892">
              <a:extLst>
                <a:ext uri="{FF2B5EF4-FFF2-40B4-BE49-F238E27FC236}">
                  <a16:creationId xmlns:a16="http://schemas.microsoft.com/office/drawing/2014/main" id="{3BC22526-4280-4D80-8B97-C87957251B0A}"/>
                </a:ext>
              </a:extLst>
            </p:cNvPr>
            <p:cNvGrpSpPr/>
            <p:nvPr/>
          </p:nvGrpSpPr>
          <p:grpSpPr>
            <a:xfrm>
              <a:off x="3836933" y="6282000"/>
              <a:ext cx="486458" cy="345722"/>
              <a:chOff x="3836933" y="6282000"/>
              <a:chExt cx="486458" cy="345722"/>
            </a:xfrm>
          </p:grpSpPr>
          <p:sp>
            <p:nvSpPr>
              <p:cNvPr id="897" name="任意多边形: 形状 896">
                <a:extLst>
                  <a:ext uri="{FF2B5EF4-FFF2-40B4-BE49-F238E27FC236}">
                    <a16:creationId xmlns:a16="http://schemas.microsoft.com/office/drawing/2014/main" id="{FF897ABB-C63C-47B6-88C5-93D1BB99C36F}"/>
                  </a:ext>
                </a:extLst>
              </p:cNvPr>
              <p:cNvSpPr/>
              <p:nvPr/>
            </p:nvSpPr>
            <p:spPr>
              <a:xfrm>
                <a:off x="3846111" y="6282000"/>
                <a:ext cx="211104" cy="226402"/>
              </a:xfrm>
              <a:custGeom>
                <a:avLst/>
                <a:gdLst>
                  <a:gd name="connsiteX0" fmla="*/ 0 w 211104"/>
                  <a:gd name="connsiteY0" fmla="*/ 186629 h 226402"/>
                  <a:gd name="connsiteX1" fmla="*/ 9178 w 211104"/>
                  <a:gd name="connsiteY1" fmla="*/ 0 h 226402"/>
                  <a:gd name="connsiteX2" fmla="*/ 211105 w 211104"/>
                  <a:gd name="connsiteY2" fmla="*/ 0 h 226402"/>
                  <a:gd name="connsiteX3" fmla="*/ 162153 w 211104"/>
                  <a:gd name="connsiteY3" fmla="*/ 195808 h 226402"/>
                  <a:gd name="connsiteX4" fmla="*/ 12238 w 211104"/>
                  <a:gd name="connsiteY4" fmla="*/ 226403 h 226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104" h="226402">
                    <a:moveTo>
                      <a:pt x="0" y="186629"/>
                    </a:moveTo>
                    <a:lnTo>
                      <a:pt x="9178" y="0"/>
                    </a:lnTo>
                    <a:lnTo>
                      <a:pt x="211105" y="0"/>
                    </a:lnTo>
                    <a:lnTo>
                      <a:pt x="162153" y="195808"/>
                    </a:lnTo>
                    <a:lnTo>
                      <a:pt x="12238" y="226403"/>
                    </a:ln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8" name="任意多边形: 形状 897">
                <a:extLst>
                  <a:ext uri="{FF2B5EF4-FFF2-40B4-BE49-F238E27FC236}">
                    <a16:creationId xmlns:a16="http://schemas.microsoft.com/office/drawing/2014/main" id="{83FEDF6B-A2D7-46C7-B652-16A57B1E9D50}"/>
                  </a:ext>
                </a:extLst>
              </p:cNvPr>
              <p:cNvSpPr/>
              <p:nvPr/>
            </p:nvSpPr>
            <p:spPr>
              <a:xfrm>
                <a:off x="3837953" y="6422736"/>
                <a:ext cx="485439" cy="159093"/>
              </a:xfrm>
              <a:custGeom>
                <a:avLst/>
                <a:gdLst>
                  <a:gd name="connsiteX0" fmla="*/ 8159 w 485439"/>
                  <a:gd name="connsiteY0" fmla="*/ 45892 h 159093"/>
                  <a:gd name="connsiteX1" fmla="*/ 182550 w 485439"/>
                  <a:gd name="connsiteY1" fmla="*/ 0 h 159093"/>
                  <a:gd name="connsiteX2" fmla="*/ 317167 w 485439"/>
                  <a:gd name="connsiteY2" fmla="*/ 79546 h 159093"/>
                  <a:gd name="connsiteX3" fmla="*/ 485439 w 485439"/>
                  <a:gd name="connsiteY3" fmla="*/ 159093 h 159093"/>
                  <a:gd name="connsiteX4" fmla="*/ 8159 w 485439"/>
                  <a:gd name="connsiteY4" fmla="*/ 159093 h 159093"/>
                  <a:gd name="connsiteX5" fmla="*/ 8159 w 485439"/>
                  <a:gd name="connsiteY5" fmla="*/ 45892 h 15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5439" h="159093">
                    <a:moveTo>
                      <a:pt x="8159" y="45892"/>
                    </a:moveTo>
                    <a:cubicBezTo>
                      <a:pt x="8159" y="45892"/>
                      <a:pt x="118300" y="64249"/>
                      <a:pt x="182550" y="0"/>
                    </a:cubicBezTo>
                    <a:cubicBezTo>
                      <a:pt x="182550" y="0"/>
                      <a:pt x="271275" y="70368"/>
                      <a:pt x="317167" y="79546"/>
                    </a:cubicBezTo>
                    <a:cubicBezTo>
                      <a:pt x="363059" y="88725"/>
                      <a:pt x="473201" y="85666"/>
                      <a:pt x="485439" y="159093"/>
                    </a:cubicBezTo>
                    <a:lnTo>
                      <a:pt x="8159" y="159093"/>
                    </a:lnTo>
                    <a:cubicBezTo>
                      <a:pt x="8159" y="159093"/>
                      <a:pt x="-10198" y="97904"/>
                      <a:pt x="8159" y="45892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9" name="任意多边形: 形状 898">
                <a:extLst>
                  <a:ext uri="{FF2B5EF4-FFF2-40B4-BE49-F238E27FC236}">
                    <a16:creationId xmlns:a16="http://schemas.microsoft.com/office/drawing/2014/main" id="{1161A24B-DF12-4988-A1B9-554577B23A85}"/>
                  </a:ext>
                </a:extLst>
              </p:cNvPr>
              <p:cNvSpPr/>
              <p:nvPr/>
            </p:nvSpPr>
            <p:spPr>
              <a:xfrm>
                <a:off x="3846111" y="6581830"/>
                <a:ext cx="477280" cy="45892"/>
              </a:xfrm>
              <a:custGeom>
                <a:avLst/>
                <a:gdLst>
                  <a:gd name="connsiteX0" fmla="*/ 0 w 477280"/>
                  <a:gd name="connsiteY0" fmla="*/ 0 h 45892"/>
                  <a:gd name="connsiteX1" fmla="*/ 477280 w 477280"/>
                  <a:gd name="connsiteY1" fmla="*/ 0 h 45892"/>
                  <a:gd name="connsiteX2" fmla="*/ 477280 w 477280"/>
                  <a:gd name="connsiteY2" fmla="*/ 45892 h 45892"/>
                  <a:gd name="connsiteX3" fmla="*/ 0 w 477280"/>
                  <a:gd name="connsiteY3" fmla="*/ 45892 h 45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7280" h="45892">
                    <a:moveTo>
                      <a:pt x="0" y="0"/>
                    </a:moveTo>
                    <a:lnTo>
                      <a:pt x="477280" y="0"/>
                    </a:lnTo>
                    <a:lnTo>
                      <a:pt x="477280" y="45892"/>
                    </a:lnTo>
                    <a:lnTo>
                      <a:pt x="0" y="45892"/>
                    </a:ln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0" name="任意多边形: 形状 899">
                <a:extLst>
                  <a:ext uri="{FF2B5EF4-FFF2-40B4-BE49-F238E27FC236}">
                    <a16:creationId xmlns:a16="http://schemas.microsoft.com/office/drawing/2014/main" id="{2FE0D20D-BF79-409F-BCCE-34B865A06C53}"/>
                  </a:ext>
                </a:extLst>
              </p:cNvPr>
              <p:cNvSpPr/>
              <p:nvPr/>
            </p:nvSpPr>
            <p:spPr>
              <a:xfrm>
                <a:off x="3836933" y="6414323"/>
                <a:ext cx="185863" cy="63484"/>
              </a:xfrm>
              <a:custGeom>
                <a:avLst/>
                <a:gdLst>
                  <a:gd name="connsiteX0" fmla="*/ 39773 w 185863"/>
                  <a:gd name="connsiteY0" fmla="*/ 63485 h 63484"/>
                  <a:gd name="connsiteX1" fmla="*/ 6119 w 185863"/>
                  <a:gd name="connsiteY1" fmla="*/ 60425 h 63484"/>
                  <a:gd name="connsiteX2" fmla="*/ 0 w 185863"/>
                  <a:gd name="connsiteY2" fmla="*/ 54306 h 63484"/>
                  <a:gd name="connsiteX3" fmla="*/ 6119 w 185863"/>
                  <a:gd name="connsiteY3" fmla="*/ 48187 h 63484"/>
                  <a:gd name="connsiteX4" fmla="*/ 174391 w 185863"/>
                  <a:gd name="connsiteY4" fmla="*/ 2295 h 63484"/>
                  <a:gd name="connsiteX5" fmla="*/ 183569 w 185863"/>
                  <a:gd name="connsiteY5" fmla="*/ 2295 h 63484"/>
                  <a:gd name="connsiteX6" fmla="*/ 183569 w 185863"/>
                  <a:gd name="connsiteY6" fmla="*/ 11473 h 63484"/>
                  <a:gd name="connsiteX7" fmla="*/ 39773 w 185863"/>
                  <a:gd name="connsiteY7" fmla="*/ 63485 h 63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5863" h="63484">
                    <a:moveTo>
                      <a:pt x="39773" y="63485"/>
                    </a:moveTo>
                    <a:cubicBezTo>
                      <a:pt x="21416" y="63485"/>
                      <a:pt x="9178" y="60425"/>
                      <a:pt x="6119" y="60425"/>
                    </a:cubicBezTo>
                    <a:cubicBezTo>
                      <a:pt x="3059" y="60425"/>
                      <a:pt x="0" y="57365"/>
                      <a:pt x="0" y="54306"/>
                    </a:cubicBezTo>
                    <a:cubicBezTo>
                      <a:pt x="0" y="51246"/>
                      <a:pt x="3059" y="48187"/>
                      <a:pt x="6119" y="48187"/>
                    </a:cubicBezTo>
                    <a:cubicBezTo>
                      <a:pt x="6119" y="48187"/>
                      <a:pt x="107082" y="63485"/>
                      <a:pt x="174391" y="2295"/>
                    </a:cubicBezTo>
                    <a:cubicBezTo>
                      <a:pt x="177450" y="-765"/>
                      <a:pt x="180510" y="-765"/>
                      <a:pt x="183569" y="2295"/>
                    </a:cubicBezTo>
                    <a:cubicBezTo>
                      <a:pt x="186629" y="5354"/>
                      <a:pt x="186629" y="8414"/>
                      <a:pt x="183569" y="11473"/>
                    </a:cubicBezTo>
                    <a:cubicBezTo>
                      <a:pt x="137677" y="54306"/>
                      <a:pt x="76487" y="63485"/>
                      <a:pt x="39773" y="6348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1" name="任意多边形: 形状 900">
                <a:extLst>
                  <a:ext uri="{FF2B5EF4-FFF2-40B4-BE49-F238E27FC236}">
                    <a16:creationId xmlns:a16="http://schemas.microsoft.com/office/drawing/2014/main" id="{12E90182-BE7D-498C-B3CB-B980ACED9DD0}"/>
                  </a:ext>
                </a:extLst>
              </p:cNvPr>
              <p:cNvSpPr/>
              <p:nvPr/>
            </p:nvSpPr>
            <p:spPr>
              <a:xfrm>
                <a:off x="4021267" y="6438799"/>
                <a:ext cx="38243" cy="42067"/>
              </a:xfrm>
              <a:custGeom>
                <a:avLst/>
                <a:gdLst>
                  <a:gd name="connsiteX0" fmla="*/ 5354 w 38243"/>
                  <a:gd name="connsiteY0" fmla="*/ 42068 h 42067"/>
                  <a:gd name="connsiteX1" fmla="*/ 2295 w 38243"/>
                  <a:gd name="connsiteY1" fmla="*/ 39009 h 42067"/>
                  <a:gd name="connsiteX2" fmla="*/ 2295 w 38243"/>
                  <a:gd name="connsiteY2" fmla="*/ 29830 h 42067"/>
                  <a:gd name="connsiteX3" fmla="*/ 26770 w 38243"/>
                  <a:gd name="connsiteY3" fmla="*/ 2294 h 42067"/>
                  <a:gd name="connsiteX4" fmla="*/ 35949 w 38243"/>
                  <a:gd name="connsiteY4" fmla="*/ 2294 h 42067"/>
                  <a:gd name="connsiteX5" fmla="*/ 35949 w 38243"/>
                  <a:gd name="connsiteY5" fmla="*/ 11473 h 42067"/>
                  <a:gd name="connsiteX6" fmla="*/ 11473 w 38243"/>
                  <a:gd name="connsiteY6" fmla="*/ 39009 h 42067"/>
                  <a:gd name="connsiteX7" fmla="*/ 5354 w 38243"/>
                  <a:gd name="connsiteY7" fmla="*/ 42068 h 42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243" h="42067">
                    <a:moveTo>
                      <a:pt x="5354" y="42068"/>
                    </a:moveTo>
                    <a:cubicBezTo>
                      <a:pt x="5354" y="42068"/>
                      <a:pt x="2295" y="42068"/>
                      <a:pt x="2295" y="39009"/>
                    </a:cubicBezTo>
                    <a:cubicBezTo>
                      <a:pt x="-765" y="35949"/>
                      <a:pt x="-765" y="32889"/>
                      <a:pt x="2295" y="29830"/>
                    </a:cubicBezTo>
                    <a:lnTo>
                      <a:pt x="26770" y="2294"/>
                    </a:lnTo>
                    <a:cubicBezTo>
                      <a:pt x="29830" y="-765"/>
                      <a:pt x="32889" y="-765"/>
                      <a:pt x="35949" y="2294"/>
                    </a:cubicBezTo>
                    <a:cubicBezTo>
                      <a:pt x="39008" y="5354"/>
                      <a:pt x="39008" y="8414"/>
                      <a:pt x="35949" y="11473"/>
                    </a:cubicBezTo>
                    <a:lnTo>
                      <a:pt x="11473" y="39009"/>
                    </a:lnTo>
                    <a:cubicBezTo>
                      <a:pt x="8414" y="42068"/>
                      <a:pt x="8414" y="42068"/>
                      <a:pt x="5354" y="420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2" name="任意多边形: 形状 901">
                <a:extLst>
                  <a:ext uri="{FF2B5EF4-FFF2-40B4-BE49-F238E27FC236}">
                    <a16:creationId xmlns:a16="http://schemas.microsoft.com/office/drawing/2014/main" id="{277618A5-1628-4485-9A13-FCB9250E762A}"/>
                  </a:ext>
                </a:extLst>
              </p:cNvPr>
              <p:cNvSpPr/>
              <p:nvPr/>
            </p:nvSpPr>
            <p:spPr>
              <a:xfrm>
                <a:off x="4061041" y="6466334"/>
                <a:ext cx="41303" cy="42068"/>
              </a:xfrm>
              <a:custGeom>
                <a:avLst/>
                <a:gdLst>
                  <a:gd name="connsiteX0" fmla="*/ 5354 w 41303"/>
                  <a:gd name="connsiteY0" fmla="*/ 42068 h 42068"/>
                  <a:gd name="connsiteX1" fmla="*/ 2295 w 41303"/>
                  <a:gd name="connsiteY1" fmla="*/ 39009 h 42068"/>
                  <a:gd name="connsiteX2" fmla="*/ 2295 w 41303"/>
                  <a:gd name="connsiteY2" fmla="*/ 29830 h 42068"/>
                  <a:gd name="connsiteX3" fmla="*/ 29830 w 41303"/>
                  <a:gd name="connsiteY3" fmla="*/ 2295 h 42068"/>
                  <a:gd name="connsiteX4" fmla="*/ 39008 w 41303"/>
                  <a:gd name="connsiteY4" fmla="*/ 2295 h 42068"/>
                  <a:gd name="connsiteX5" fmla="*/ 39008 w 41303"/>
                  <a:gd name="connsiteY5" fmla="*/ 11473 h 42068"/>
                  <a:gd name="connsiteX6" fmla="*/ 11473 w 41303"/>
                  <a:gd name="connsiteY6" fmla="*/ 39009 h 42068"/>
                  <a:gd name="connsiteX7" fmla="*/ 5354 w 41303"/>
                  <a:gd name="connsiteY7" fmla="*/ 42068 h 42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303" h="42068">
                    <a:moveTo>
                      <a:pt x="5354" y="42068"/>
                    </a:moveTo>
                    <a:cubicBezTo>
                      <a:pt x="5354" y="42068"/>
                      <a:pt x="2295" y="42068"/>
                      <a:pt x="2295" y="39009"/>
                    </a:cubicBezTo>
                    <a:cubicBezTo>
                      <a:pt x="-765" y="35949"/>
                      <a:pt x="-765" y="32890"/>
                      <a:pt x="2295" y="29830"/>
                    </a:cubicBezTo>
                    <a:lnTo>
                      <a:pt x="29830" y="2295"/>
                    </a:lnTo>
                    <a:cubicBezTo>
                      <a:pt x="32889" y="-765"/>
                      <a:pt x="35949" y="-765"/>
                      <a:pt x="39008" y="2295"/>
                    </a:cubicBezTo>
                    <a:cubicBezTo>
                      <a:pt x="42068" y="5354"/>
                      <a:pt x="42068" y="8414"/>
                      <a:pt x="39008" y="11473"/>
                    </a:cubicBezTo>
                    <a:lnTo>
                      <a:pt x="11473" y="39009"/>
                    </a:lnTo>
                    <a:cubicBezTo>
                      <a:pt x="8414" y="42068"/>
                      <a:pt x="5354" y="42068"/>
                      <a:pt x="5354" y="420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03" name="图形 892">
              <a:extLst>
                <a:ext uri="{FF2B5EF4-FFF2-40B4-BE49-F238E27FC236}">
                  <a16:creationId xmlns:a16="http://schemas.microsoft.com/office/drawing/2014/main" id="{3BC22526-4280-4D80-8B97-C87957251B0A}"/>
                </a:ext>
              </a:extLst>
            </p:cNvPr>
            <p:cNvGrpSpPr/>
            <p:nvPr/>
          </p:nvGrpSpPr>
          <p:grpSpPr>
            <a:xfrm>
              <a:off x="7404298" y="3855824"/>
              <a:ext cx="1267582" cy="2716827"/>
              <a:chOff x="7404298" y="3855824"/>
              <a:chExt cx="1267582" cy="2716827"/>
            </a:xfrm>
          </p:grpSpPr>
          <p:sp>
            <p:nvSpPr>
              <p:cNvPr id="904" name="任意多边形: 形状 903">
                <a:extLst>
                  <a:ext uri="{FF2B5EF4-FFF2-40B4-BE49-F238E27FC236}">
                    <a16:creationId xmlns:a16="http://schemas.microsoft.com/office/drawing/2014/main" id="{F5CB1A29-4D5D-42F4-80C4-70F600DE0BC0}"/>
                  </a:ext>
                </a:extLst>
              </p:cNvPr>
              <p:cNvSpPr/>
              <p:nvPr/>
            </p:nvSpPr>
            <p:spPr>
              <a:xfrm>
                <a:off x="7902995" y="5263190"/>
                <a:ext cx="122379" cy="1281926"/>
              </a:xfrm>
              <a:custGeom>
                <a:avLst/>
                <a:gdLst>
                  <a:gd name="connsiteX0" fmla="*/ 0 w 122379"/>
                  <a:gd name="connsiteY0" fmla="*/ 0 h 1281926"/>
                  <a:gd name="connsiteX1" fmla="*/ 122380 w 122379"/>
                  <a:gd name="connsiteY1" fmla="*/ 0 h 1281926"/>
                  <a:gd name="connsiteX2" fmla="*/ 122380 w 122379"/>
                  <a:gd name="connsiteY2" fmla="*/ 1281927 h 1281926"/>
                  <a:gd name="connsiteX3" fmla="*/ 0 w 122379"/>
                  <a:gd name="connsiteY3" fmla="*/ 1281927 h 1281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2379" h="1281926">
                    <a:moveTo>
                      <a:pt x="0" y="0"/>
                    </a:moveTo>
                    <a:lnTo>
                      <a:pt x="122380" y="0"/>
                    </a:lnTo>
                    <a:lnTo>
                      <a:pt x="122380" y="1281927"/>
                    </a:lnTo>
                    <a:lnTo>
                      <a:pt x="0" y="1281927"/>
                    </a:lnTo>
                    <a:close/>
                  </a:path>
                </a:pathLst>
              </a:custGeom>
              <a:solidFill>
                <a:srgbClr val="6C5D6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5" name="任意多边形: 形状 904">
                <a:extLst>
                  <a:ext uri="{FF2B5EF4-FFF2-40B4-BE49-F238E27FC236}">
                    <a16:creationId xmlns:a16="http://schemas.microsoft.com/office/drawing/2014/main" id="{9D8C1ABC-67C0-4D1F-BA9A-C532B7F1148D}"/>
                  </a:ext>
                </a:extLst>
              </p:cNvPr>
              <p:cNvSpPr/>
              <p:nvPr/>
            </p:nvSpPr>
            <p:spPr>
              <a:xfrm>
                <a:off x="7636820" y="6517581"/>
                <a:ext cx="657790" cy="55070"/>
              </a:xfrm>
              <a:custGeom>
                <a:avLst/>
                <a:gdLst>
                  <a:gd name="connsiteX0" fmla="*/ 0 w 657790"/>
                  <a:gd name="connsiteY0" fmla="*/ 0 h 55070"/>
                  <a:gd name="connsiteX1" fmla="*/ 657791 w 657790"/>
                  <a:gd name="connsiteY1" fmla="*/ 0 h 55070"/>
                  <a:gd name="connsiteX2" fmla="*/ 657791 w 657790"/>
                  <a:gd name="connsiteY2" fmla="*/ 55071 h 55070"/>
                  <a:gd name="connsiteX3" fmla="*/ 0 w 657790"/>
                  <a:gd name="connsiteY3" fmla="*/ 55071 h 55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790" h="55070">
                    <a:moveTo>
                      <a:pt x="0" y="0"/>
                    </a:moveTo>
                    <a:lnTo>
                      <a:pt x="657791" y="0"/>
                    </a:lnTo>
                    <a:lnTo>
                      <a:pt x="657791" y="55071"/>
                    </a:lnTo>
                    <a:lnTo>
                      <a:pt x="0" y="55071"/>
                    </a:lnTo>
                    <a:close/>
                  </a:path>
                </a:pathLst>
              </a:custGeom>
              <a:solidFill>
                <a:srgbClr val="6C5D6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6" name="任意多边形: 形状 905">
                <a:extLst>
                  <a:ext uri="{FF2B5EF4-FFF2-40B4-BE49-F238E27FC236}">
                    <a16:creationId xmlns:a16="http://schemas.microsoft.com/office/drawing/2014/main" id="{A9A14E25-C3EC-4E57-B2E5-7E96C89302AB}"/>
                  </a:ext>
                </a:extLst>
              </p:cNvPr>
              <p:cNvSpPr/>
              <p:nvPr/>
            </p:nvSpPr>
            <p:spPr>
              <a:xfrm>
                <a:off x="7707188" y="3855824"/>
                <a:ext cx="964693" cy="1398186"/>
              </a:xfrm>
              <a:custGeom>
                <a:avLst/>
                <a:gdLst>
                  <a:gd name="connsiteX0" fmla="*/ 777111 w 964693"/>
                  <a:gd name="connsiteY0" fmla="*/ 1398187 h 1398186"/>
                  <a:gd name="connsiteX1" fmla="*/ 0 w 964693"/>
                  <a:gd name="connsiteY1" fmla="*/ 1398187 h 1398186"/>
                  <a:gd name="connsiteX2" fmla="*/ 189689 w 964693"/>
                  <a:gd name="connsiteY2" fmla="*/ 110142 h 1398186"/>
                  <a:gd name="connsiteX3" fmla="*/ 318187 w 964693"/>
                  <a:gd name="connsiteY3" fmla="*/ 0 h 1398186"/>
                  <a:gd name="connsiteX4" fmla="*/ 835241 w 964693"/>
                  <a:gd name="connsiteY4" fmla="*/ 0 h 1398186"/>
                  <a:gd name="connsiteX5" fmla="*/ 963739 w 964693"/>
                  <a:gd name="connsiteY5" fmla="*/ 146855 h 1398186"/>
                  <a:gd name="connsiteX6" fmla="*/ 777111 w 964693"/>
                  <a:gd name="connsiteY6" fmla="*/ 1398187 h 1398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64693" h="1398186">
                    <a:moveTo>
                      <a:pt x="777111" y="1398187"/>
                    </a:moveTo>
                    <a:lnTo>
                      <a:pt x="0" y="1398187"/>
                    </a:lnTo>
                    <a:lnTo>
                      <a:pt x="189689" y="110142"/>
                    </a:lnTo>
                    <a:cubicBezTo>
                      <a:pt x="198867" y="45892"/>
                      <a:pt x="253938" y="0"/>
                      <a:pt x="318187" y="0"/>
                    </a:cubicBezTo>
                    <a:lnTo>
                      <a:pt x="835241" y="0"/>
                    </a:lnTo>
                    <a:cubicBezTo>
                      <a:pt x="914788" y="0"/>
                      <a:pt x="972918" y="70368"/>
                      <a:pt x="963739" y="146855"/>
                    </a:cubicBezTo>
                    <a:lnTo>
                      <a:pt x="777111" y="1398187"/>
                    </a:lnTo>
                    <a:close/>
                  </a:path>
                </a:pathLst>
              </a:custGeom>
              <a:solidFill>
                <a:srgbClr val="F1DDB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7" name="任意多边形: 形状 906">
                <a:extLst>
                  <a:ext uri="{FF2B5EF4-FFF2-40B4-BE49-F238E27FC236}">
                    <a16:creationId xmlns:a16="http://schemas.microsoft.com/office/drawing/2014/main" id="{1F0061BC-34EC-48E4-AD6D-F099916E594E}"/>
                  </a:ext>
                </a:extLst>
              </p:cNvPr>
              <p:cNvSpPr/>
              <p:nvPr/>
            </p:nvSpPr>
            <p:spPr>
              <a:xfrm>
                <a:off x="7636820" y="3855824"/>
                <a:ext cx="964693" cy="1398186"/>
              </a:xfrm>
              <a:custGeom>
                <a:avLst/>
                <a:gdLst>
                  <a:gd name="connsiteX0" fmla="*/ 777110 w 964693"/>
                  <a:gd name="connsiteY0" fmla="*/ 1398187 h 1398186"/>
                  <a:gd name="connsiteX1" fmla="*/ 0 w 964693"/>
                  <a:gd name="connsiteY1" fmla="*/ 1398187 h 1398186"/>
                  <a:gd name="connsiteX2" fmla="*/ 189688 w 964693"/>
                  <a:gd name="connsiteY2" fmla="*/ 110142 h 1398186"/>
                  <a:gd name="connsiteX3" fmla="*/ 318187 w 964693"/>
                  <a:gd name="connsiteY3" fmla="*/ 0 h 1398186"/>
                  <a:gd name="connsiteX4" fmla="*/ 835240 w 964693"/>
                  <a:gd name="connsiteY4" fmla="*/ 0 h 1398186"/>
                  <a:gd name="connsiteX5" fmla="*/ 963739 w 964693"/>
                  <a:gd name="connsiteY5" fmla="*/ 146855 h 1398186"/>
                  <a:gd name="connsiteX6" fmla="*/ 777110 w 964693"/>
                  <a:gd name="connsiteY6" fmla="*/ 1398187 h 1398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64693" h="1398186">
                    <a:moveTo>
                      <a:pt x="777110" y="1398187"/>
                    </a:moveTo>
                    <a:lnTo>
                      <a:pt x="0" y="1398187"/>
                    </a:lnTo>
                    <a:lnTo>
                      <a:pt x="189688" y="110142"/>
                    </a:lnTo>
                    <a:cubicBezTo>
                      <a:pt x="198867" y="45892"/>
                      <a:pt x="253937" y="0"/>
                      <a:pt x="318187" y="0"/>
                    </a:cubicBezTo>
                    <a:lnTo>
                      <a:pt x="835240" y="0"/>
                    </a:lnTo>
                    <a:cubicBezTo>
                      <a:pt x="914787" y="0"/>
                      <a:pt x="972918" y="70368"/>
                      <a:pt x="963739" y="146855"/>
                    </a:cubicBezTo>
                    <a:lnTo>
                      <a:pt x="777110" y="1398187"/>
                    </a:lnTo>
                    <a:close/>
                  </a:path>
                </a:pathLst>
              </a:custGeom>
              <a:solidFill>
                <a:srgbClr val="D3977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8" name="任意多边形: 形状 907">
                <a:extLst>
                  <a:ext uri="{FF2B5EF4-FFF2-40B4-BE49-F238E27FC236}">
                    <a16:creationId xmlns:a16="http://schemas.microsoft.com/office/drawing/2014/main" id="{58BCFF8A-4023-463D-908E-20D63E5B1285}"/>
                  </a:ext>
                </a:extLst>
              </p:cNvPr>
              <p:cNvSpPr/>
              <p:nvPr/>
            </p:nvSpPr>
            <p:spPr>
              <a:xfrm>
                <a:off x="7465488" y="5125513"/>
                <a:ext cx="1122832" cy="214164"/>
              </a:xfrm>
              <a:custGeom>
                <a:avLst/>
                <a:gdLst>
                  <a:gd name="connsiteX0" fmla="*/ 1015751 w 1122832"/>
                  <a:gd name="connsiteY0" fmla="*/ 214164 h 214164"/>
                  <a:gd name="connsiteX1" fmla="*/ 107082 w 1122832"/>
                  <a:gd name="connsiteY1" fmla="*/ 214164 h 214164"/>
                  <a:gd name="connsiteX2" fmla="*/ 0 w 1122832"/>
                  <a:gd name="connsiteY2" fmla="*/ 107082 h 214164"/>
                  <a:gd name="connsiteX3" fmla="*/ 0 w 1122832"/>
                  <a:gd name="connsiteY3" fmla="*/ 107082 h 214164"/>
                  <a:gd name="connsiteX4" fmla="*/ 107082 w 1122832"/>
                  <a:gd name="connsiteY4" fmla="*/ 0 h 214164"/>
                  <a:gd name="connsiteX5" fmla="*/ 1015751 w 1122832"/>
                  <a:gd name="connsiteY5" fmla="*/ 0 h 214164"/>
                  <a:gd name="connsiteX6" fmla="*/ 1122833 w 1122832"/>
                  <a:gd name="connsiteY6" fmla="*/ 107082 h 214164"/>
                  <a:gd name="connsiteX7" fmla="*/ 1122833 w 1122832"/>
                  <a:gd name="connsiteY7" fmla="*/ 107082 h 214164"/>
                  <a:gd name="connsiteX8" fmla="*/ 1015751 w 1122832"/>
                  <a:gd name="connsiteY8" fmla="*/ 214164 h 214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2832" h="214164">
                    <a:moveTo>
                      <a:pt x="1015751" y="214164"/>
                    </a:moveTo>
                    <a:lnTo>
                      <a:pt x="107082" y="214164"/>
                    </a:lnTo>
                    <a:cubicBezTo>
                      <a:pt x="48952" y="214164"/>
                      <a:pt x="0" y="165213"/>
                      <a:pt x="0" y="107082"/>
                    </a:cubicBezTo>
                    <a:lnTo>
                      <a:pt x="0" y="107082"/>
                    </a:lnTo>
                    <a:cubicBezTo>
                      <a:pt x="0" y="48952"/>
                      <a:pt x="48952" y="0"/>
                      <a:pt x="107082" y="0"/>
                    </a:cubicBezTo>
                    <a:lnTo>
                      <a:pt x="1015751" y="0"/>
                    </a:lnTo>
                    <a:cubicBezTo>
                      <a:pt x="1073881" y="0"/>
                      <a:pt x="1122833" y="48952"/>
                      <a:pt x="1122833" y="107082"/>
                    </a:cubicBezTo>
                    <a:lnTo>
                      <a:pt x="1122833" y="107082"/>
                    </a:lnTo>
                    <a:cubicBezTo>
                      <a:pt x="1122833" y="168272"/>
                      <a:pt x="1076940" y="214164"/>
                      <a:pt x="1015751" y="214164"/>
                    </a:cubicBezTo>
                    <a:close/>
                  </a:path>
                </a:pathLst>
              </a:custGeom>
              <a:solidFill>
                <a:srgbClr val="F1DDB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9" name="任意多边形: 形状 908">
                <a:extLst>
                  <a:ext uri="{FF2B5EF4-FFF2-40B4-BE49-F238E27FC236}">
                    <a16:creationId xmlns:a16="http://schemas.microsoft.com/office/drawing/2014/main" id="{61E1B806-990A-400A-A64B-AB43AC502304}"/>
                  </a:ext>
                </a:extLst>
              </p:cNvPr>
              <p:cNvSpPr/>
              <p:nvPr/>
            </p:nvSpPr>
            <p:spPr>
              <a:xfrm>
                <a:off x="7404298" y="5125513"/>
                <a:ext cx="1122832" cy="214164"/>
              </a:xfrm>
              <a:custGeom>
                <a:avLst/>
                <a:gdLst>
                  <a:gd name="connsiteX0" fmla="*/ 1015751 w 1122832"/>
                  <a:gd name="connsiteY0" fmla="*/ 214164 h 214164"/>
                  <a:gd name="connsiteX1" fmla="*/ 107082 w 1122832"/>
                  <a:gd name="connsiteY1" fmla="*/ 214164 h 214164"/>
                  <a:gd name="connsiteX2" fmla="*/ 0 w 1122832"/>
                  <a:gd name="connsiteY2" fmla="*/ 107082 h 214164"/>
                  <a:gd name="connsiteX3" fmla="*/ 0 w 1122832"/>
                  <a:gd name="connsiteY3" fmla="*/ 107082 h 214164"/>
                  <a:gd name="connsiteX4" fmla="*/ 107082 w 1122832"/>
                  <a:gd name="connsiteY4" fmla="*/ 0 h 214164"/>
                  <a:gd name="connsiteX5" fmla="*/ 1015751 w 1122832"/>
                  <a:gd name="connsiteY5" fmla="*/ 0 h 214164"/>
                  <a:gd name="connsiteX6" fmla="*/ 1122833 w 1122832"/>
                  <a:gd name="connsiteY6" fmla="*/ 107082 h 214164"/>
                  <a:gd name="connsiteX7" fmla="*/ 1122833 w 1122832"/>
                  <a:gd name="connsiteY7" fmla="*/ 107082 h 214164"/>
                  <a:gd name="connsiteX8" fmla="*/ 1015751 w 1122832"/>
                  <a:gd name="connsiteY8" fmla="*/ 214164 h 214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2832" h="214164">
                    <a:moveTo>
                      <a:pt x="1015751" y="214164"/>
                    </a:moveTo>
                    <a:lnTo>
                      <a:pt x="107082" y="214164"/>
                    </a:lnTo>
                    <a:cubicBezTo>
                      <a:pt x="48952" y="214164"/>
                      <a:pt x="0" y="165213"/>
                      <a:pt x="0" y="107082"/>
                    </a:cubicBezTo>
                    <a:lnTo>
                      <a:pt x="0" y="107082"/>
                    </a:lnTo>
                    <a:cubicBezTo>
                      <a:pt x="0" y="48952"/>
                      <a:pt x="48952" y="0"/>
                      <a:pt x="107082" y="0"/>
                    </a:cubicBezTo>
                    <a:lnTo>
                      <a:pt x="1015751" y="0"/>
                    </a:lnTo>
                    <a:cubicBezTo>
                      <a:pt x="1073881" y="0"/>
                      <a:pt x="1122833" y="48952"/>
                      <a:pt x="1122833" y="107082"/>
                    </a:cubicBezTo>
                    <a:lnTo>
                      <a:pt x="1122833" y="107082"/>
                    </a:lnTo>
                    <a:cubicBezTo>
                      <a:pt x="1122833" y="168272"/>
                      <a:pt x="1073881" y="214164"/>
                      <a:pt x="1015751" y="214164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10" name="任意多边形: 形状 909">
              <a:extLst>
                <a:ext uri="{FF2B5EF4-FFF2-40B4-BE49-F238E27FC236}">
                  <a16:creationId xmlns:a16="http://schemas.microsoft.com/office/drawing/2014/main" id="{FC7BFB37-2F43-486A-A406-2D0EE6490047}"/>
                </a:ext>
              </a:extLst>
            </p:cNvPr>
            <p:cNvSpPr/>
            <p:nvPr/>
          </p:nvSpPr>
          <p:spPr>
            <a:xfrm>
              <a:off x="7645735" y="6282000"/>
              <a:ext cx="226665" cy="410772"/>
            </a:xfrm>
            <a:custGeom>
              <a:avLst/>
              <a:gdLst>
                <a:gd name="connsiteX0" fmla="*/ 9441 w 226665"/>
                <a:gd name="connsiteY0" fmla="*/ 61190 h 410772"/>
                <a:gd name="connsiteX1" fmla="*/ 30858 w 226665"/>
                <a:gd name="connsiteY1" fmla="*/ 263116 h 410772"/>
                <a:gd name="connsiteX2" fmla="*/ 125702 w 226665"/>
                <a:gd name="connsiteY2" fmla="*/ 21416 h 410772"/>
                <a:gd name="connsiteX3" fmla="*/ 113464 w 226665"/>
                <a:gd name="connsiteY3" fmla="*/ 0 h 410772"/>
                <a:gd name="connsiteX4" fmla="*/ 177713 w 226665"/>
                <a:gd name="connsiteY4" fmla="*/ 45892 h 410772"/>
                <a:gd name="connsiteX5" fmla="*/ 226665 w 226665"/>
                <a:gd name="connsiteY5" fmla="*/ 125439 h 410772"/>
                <a:gd name="connsiteX6" fmla="*/ 208308 w 226665"/>
                <a:gd name="connsiteY6" fmla="*/ 143796 h 410772"/>
                <a:gd name="connsiteX7" fmla="*/ 156297 w 226665"/>
                <a:gd name="connsiteY7" fmla="*/ 104023 h 410772"/>
                <a:gd name="connsiteX8" fmla="*/ 137940 w 226665"/>
                <a:gd name="connsiteY8" fmla="*/ 299830 h 410772"/>
                <a:gd name="connsiteX9" fmla="*/ 30858 w 226665"/>
                <a:gd name="connsiteY9" fmla="*/ 409972 h 410772"/>
                <a:gd name="connsiteX10" fmla="*/ 263 w 226665"/>
                <a:gd name="connsiteY10" fmla="*/ 373258 h 410772"/>
                <a:gd name="connsiteX11" fmla="*/ 9441 w 226665"/>
                <a:gd name="connsiteY11" fmla="*/ 61190 h 41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665" h="410772">
                  <a:moveTo>
                    <a:pt x="9441" y="61190"/>
                  </a:moveTo>
                  <a:cubicBezTo>
                    <a:pt x="9441" y="61190"/>
                    <a:pt x="9441" y="269235"/>
                    <a:pt x="30858" y="263116"/>
                  </a:cubicBezTo>
                  <a:cubicBezTo>
                    <a:pt x="49215" y="260057"/>
                    <a:pt x="125702" y="21416"/>
                    <a:pt x="125702" y="21416"/>
                  </a:cubicBezTo>
                  <a:lnTo>
                    <a:pt x="113464" y="0"/>
                  </a:lnTo>
                  <a:cubicBezTo>
                    <a:pt x="113464" y="0"/>
                    <a:pt x="165476" y="21416"/>
                    <a:pt x="177713" y="45892"/>
                  </a:cubicBezTo>
                  <a:cubicBezTo>
                    <a:pt x="193011" y="70368"/>
                    <a:pt x="226665" y="125439"/>
                    <a:pt x="226665" y="125439"/>
                  </a:cubicBezTo>
                  <a:lnTo>
                    <a:pt x="208308" y="143796"/>
                  </a:lnTo>
                  <a:lnTo>
                    <a:pt x="156297" y="104023"/>
                  </a:lnTo>
                  <a:cubicBezTo>
                    <a:pt x="156297" y="104023"/>
                    <a:pt x="150178" y="281473"/>
                    <a:pt x="137940" y="299830"/>
                  </a:cubicBezTo>
                  <a:cubicBezTo>
                    <a:pt x="125702" y="318187"/>
                    <a:pt x="36977" y="403853"/>
                    <a:pt x="30858" y="409972"/>
                  </a:cubicBezTo>
                  <a:cubicBezTo>
                    <a:pt x="21680" y="416091"/>
                    <a:pt x="-2796" y="385496"/>
                    <a:pt x="263" y="373258"/>
                  </a:cubicBezTo>
                  <a:cubicBezTo>
                    <a:pt x="24739" y="287592"/>
                    <a:pt x="9441" y="61190"/>
                    <a:pt x="9441" y="61190"/>
                  </a:cubicBezTo>
                  <a:close/>
                </a:path>
              </a:pathLst>
            </a:custGeom>
            <a:solidFill>
              <a:srgbClr val="D16156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1" name="任意多边形: 形状 910">
              <a:extLst>
                <a:ext uri="{FF2B5EF4-FFF2-40B4-BE49-F238E27FC236}">
                  <a16:creationId xmlns:a16="http://schemas.microsoft.com/office/drawing/2014/main" id="{C405A50D-A603-4ACB-9D8E-7B13DB218D0F}"/>
                </a:ext>
              </a:extLst>
            </p:cNvPr>
            <p:cNvSpPr/>
            <p:nvPr/>
          </p:nvSpPr>
          <p:spPr>
            <a:xfrm>
              <a:off x="7606225" y="6187156"/>
              <a:ext cx="165212" cy="357994"/>
            </a:xfrm>
            <a:custGeom>
              <a:avLst/>
              <a:gdLst>
                <a:gd name="connsiteX0" fmla="*/ 0 w 165212"/>
                <a:gd name="connsiteY0" fmla="*/ 82606 h 357994"/>
                <a:gd name="connsiteX1" fmla="*/ 48952 w 165212"/>
                <a:gd name="connsiteY1" fmla="*/ 156034 h 357994"/>
                <a:gd name="connsiteX2" fmla="*/ 70368 w 165212"/>
                <a:gd name="connsiteY2" fmla="*/ 357960 h 357994"/>
                <a:gd name="connsiteX3" fmla="*/ 165212 w 165212"/>
                <a:gd name="connsiteY3" fmla="*/ 116260 h 357994"/>
                <a:gd name="connsiteX4" fmla="*/ 104022 w 165212"/>
                <a:gd name="connsiteY4" fmla="*/ 0 h 357994"/>
                <a:gd name="connsiteX5" fmla="*/ 0 w 165212"/>
                <a:gd name="connsiteY5" fmla="*/ 82606 h 35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5212" h="357994">
                  <a:moveTo>
                    <a:pt x="0" y="82606"/>
                  </a:moveTo>
                  <a:lnTo>
                    <a:pt x="48952" y="156034"/>
                  </a:lnTo>
                  <a:cubicBezTo>
                    <a:pt x="48952" y="156034"/>
                    <a:pt x="42833" y="361019"/>
                    <a:pt x="70368" y="357960"/>
                  </a:cubicBezTo>
                  <a:cubicBezTo>
                    <a:pt x="97904" y="354901"/>
                    <a:pt x="165212" y="116260"/>
                    <a:pt x="165212" y="116260"/>
                  </a:cubicBezTo>
                  <a:lnTo>
                    <a:pt x="104022" y="0"/>
                  </a:lnTo>
                  <a:lnTo>
                    <a:pt x="0" y="82606"/>
                  </a:ln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2" name="任意多边形: 形状 911">
              <a:extLst>
                <a:ext uri="{FF2B5EF4-FFF2-40B4-BE49-F238E27FC236}">
                  <a16:creationId xmlns:a16="http://schemas.microsoft.com/office/drawing/2014/main" id="{F3555340-A4FD-40A9-A9CF-CD8FEC98FE8E}"/>
                </a:ext>
              </a:extLst>
            </p:cNvPr>
            <p:cNvSpPr/>
            <p:nvPr/>
          </p:nvSpPr>
          <p:spPr>
            <a:xfrm>
              <a:off x="7911911" y="6229988"/>
              <a:ext cx="226664" cy="410771"/>
            </a:xfrm>
            <a:custGeom>
              <a:avLst/>
              <a:gdLst>
                <a:gd name="connsiteX0" fmla="*/ 9441 w 226664"/>
                <a:gd name="connsiteY0" fmla="*/ 61190 h 410771"/>
                <a:gd name="connsiteX1" fmla="*/ 30858 w 226664"/>
                <a:gd name="connsiteY1" fmla="*/ 263116 h 410771"/>
                <a:gd name="connsiteX2" fmla="*/ 125702 w 226664"/>
                <a:gd name="connsiteY2" fmla="*/ 21416 h 410771"/>
                <a:gd name="connsiteX3" fmla="*/ 113464 w 226664"/>
                <a:gd name="connsiteY3" fmla="*/ 0 h 410771"/>
                <a:gd name="connsiteX4" fmla="*/ 177713 w 226664"/>
                <a:gd name="connsiteY4" fmla="*/ 45892 h 410771"/>
                <a:gd name="connsiteX5" fmla="*/ 226665 w 226664"/>
                <a:gd name="connsiteY5" fmla="*/ 125439 h 410771"/>
                <a:gd name="connsiteX6" fmla="*/ 208308 w 226664"/>
                <a:gd name="connsiteY6" fmla="*/ 143796 h 410771"/>
                <a:gd name="connsiteX7" fmla="*/ 156297 w 226664"/>
                <a:gd name="connsiteY7" fmla="*/ 104022 h 410771"/>
                <a:gd name="connsiteX8" fmla="*/ 137940 w 226664"/>
                <a:gd name="connsiteY8" fmla="*/ 299830 h 410771"/>
                <a:gd name="connsiteX9" fmla="*/ 30858 w 226664"/>
                <a:gd name="connsiteY9" fmla="*/ 409972 h 410771"/>
                <a:gd name="connsiteX10" fmla="*/ 263 w 226664"/>
                <a:gd name="connsiteY10" fmla="*/ 373258 h 410771"/>
                <a:gd name="connsiteX11" fmla="*/ 9441 w 226664"/>
                <a:gd name="connsiteY11" fmla="*/ 61190 h 41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664" h="410771">
                  <a:moveTo>
                    <a:pt x="9441" y="61190"/>
                  </a:moveTo>
                  <a:cubicBezTo>
                    <a:pt x="9441" y="61190"/>
                    <a:pt x="9441" y="269235"/>
                    <a:pt x="30858" y="263116"/>
                  </a:cubicBezTo>
                  <a:cubicBezTo>
                    <a:pt x="49214" y="260057"/>
                    <a:pt x="125702" y="21416"/>
                    <a:pt x="125702" y="21416"/>
                  </a:cubicBezTo>
                  <a:lnTo>
                    <a:pt x="113464" y="0"/>
                  </a:lnTo>
                  <a:cubicBezTo>
                    <a:pt x="113464" y="0"/>
                    <a:pt x="165475" y="21416"/>
                    <a:pt x="177713" y="45892"/>
                  </a:cubicBezTo>
                  <a:cubicBezTo>
                    <a:pt x="193010" y="70368"/>
                    <a:pt x="226665" y="125439"/>
                    <a:pt x="226665" y="125439"/>
                  </a:cubicBezTo>
                  <a:lnTo>
                    <a:pt x="208308" y="143796"/>
                  </a:lnTo>
                  <a:lnTo>
                    <a:pt x="156297" y="104022"/>
                  </a:lnTo>
                  <a:cubicBezTo>
                    <a:pt x="156297" y="104022"/>
                    <a:pt x="150178" y="281473"/>
                    <a:pt x="137940" y="299830"/>
                  </a:cubicBezTo>
                  <a:cubicBezTo>
                    <a:pt x="125702" y="318187"/>
                    <a:pt x="36977" y="403853"/>
                    <a:pt x="30858" y="409972"/>
                  </a:cubicBezTo>
                  <a:cubicBezTo>
                    <a:pt x="21679" y="416091"/>
                    <a:pt x="-2797" y="385496"/>
                    <a:pt x="263" y="373258"/>
                  </a:cubicBezTo>
                  <a:cubicBezTo>
                    <a:pt x="24738" y="284533"/>
                    <a:pt x="9441" y="61190"/>
                    <a:pt x="9441" y="61190"/>
                  </a:cubicBezTo>
                  <a:close/>
                </a:path>
              </a:pathLst>
            </a:custGeom>
            <a:solidFill>
              <a:srgbClr val="D16156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3" name="任意多边形: 形状 912">
              <a:extLst>
                <a:ext uri="{FF2B5EF4-FFF2-40B4-BE49-F238E27FC236}">
                  <a16:creationId xmlns:a16="http://schemas.microsoft.com/office/drawing/2014/main" id="{1C0C03FC-E2E2-4CED-9D57-F9776FB1FCCB}"/>
                </a:ext>
              </a:extLst>
            </p:cNvPr>
            <p:cNvSpPr/>
            <p:nvPr/>
          </p:nvSpPr>
          <p:spPr>
            <a:xfrm>
              <a:off x="7872401" y="6135144"/>
              <a:ext cx="165212" cy="357994"/>
            </a:xfrm>
            <a:custGeom>
              <a:avLst/>
              <a:gdLst>
                <a:gd name="connsiteX0" fmla="*/ 0 w 165212"/>
                <a:gd name="connsiteY0" fmla="*/ 82607 h 357994"/>
                <a:gd name="connsiteX1" fmla="*/ 48952 w 165212"/>
                <a:gd name="connsiteY1" fmla="*/ 156034 h 357994"/>
                <a:gd name="connsiteX2" fmla="*/ 70368 w 165212"/>
                <a:gd name="connsiteY2" fmla="*/ 357961 h 357994"/>
                <a:gd name="connsiteX3" fmla="*/ 165212 w 165212"/>
                <a:gd name="connsiteY3" fmla="*/ 116261 h 357994"/>
                <a:gd name="connsiteX4" fmla="*/ 104022 w 165212"/>
                <a:gd name="connsiteY4" fmla="*/ 0 h 357994"/>
                <a:gd name="connsiteX5" fmla="*/ 0 w 165212"/>
                <a:gd name="connsiteY5" fmla="*/ 82607 h 35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5212" h="357994">
                  <a:moveTo>
                    <a:pt x="0" y="82607"/>
                  </a:moveTo>
                  <a:lnTo>
                    <a:pt x="48952" y="156034"/>
                  </a:lnTo>
                  <a:cubicBezTo>
                    <a:pt x="48952" y="156034"/>
                    <a:pt x="42833" y="361020"/>
                    <a:pt x="70368" y="357961"/>
                  </a:cubicBezTo>
                  <a:cubicBezTo>
                    <a:pt x="97904" y="354901"/>
                    <a:pt x="165212" y="116261"/>
                    <a:pt x="165212" y="116261"/>
                  </a:cubicBezTo>
                  <a:lnTo>
                    <a:pt x="104022" y="0"/>
                  </a:lnTo>
                  <a:lnTo>
                    <a:pt x="0" y="82607"/>
                  </a:ln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4" name="任意多边形: 形状 913">
              <a:extLst>
                <a:ext uri="{FF2B5EF4-FFF2-40B4-BE49-F238E27FC236}">
                  <a16:creationId xmlns:a16="http://schemas.microsoft.com/office/drawing/2014/main" id="{57FB333F-B775-46C1-8587-011D4AA62D13}"/>
                </a:ext>
              </a:extLst>
            </p:cNvPr>
            <p:cNvSpPr/>
            <p:nvPr/>
          </p:nvSpPr>
          <p:spPr>
            <a:xfrm>
              <a:off x="6633307" y="3811106"/>
              <a:ext cx="915673" cy="766389"/>
            </a:xfrm>
            <a:custGeom>
              <a:avLst/>
              <a:gdLst>
                <a:gd name="connsiteX0" fmla="*/ 893371 w 915673"/>
                <a:gd name="connsiteY0" fmla="*/ 283359 h 766389"/>
                <a:gd name="connsiteX1" fmla="*/ 816884 w 915673"/>
                <a:gd name="connsiteY1" fmla="*/ 1886 h 766389"/>
                <a:gd name="connsiteX2" fmla="*/ 566006 w 915673"/>
                <a:gd name="connsiteY2" fmla="*/ 289478 h 766389"/>
                <a:gd name="connsiteX3" fmla="*/ 416090 w 915673"/>
                <a:gd name="connsiteY3" fmla="*/ 589308 h 766389"/>
                <a:gd name="connsiteX4" fmla="*/ 394674 w 915673"/>
                <a:gd name="connsiteY4" fmla="*/ 589308 h 766389"/>
                <a:gd name="connsiteX5" fmla="*/ 348782 w 915673"/>
                <a:gd name="connsiteY5" fmla="*/ 589308 h 766389"/>
                <a:gd name="connsiteX6" fmla="*/ 250878 w 915673"/>
                <a:gd name="connsiteY6" fmla="*/ 598486 h 766389"/>
                <a:gd name="connsiteX7" fmla="*/ 52011 w 915673"/>
                <a:gd name="connsiteY7" fmla="*/ 610724 h 766389"/>
                <a:gd name="connsiteX8" fmla="*/ 45892 w 915673"/>
                <a:gd name="connsiteY8" fmla="*/ 613784 h 766389"/>
                <a:gd name="connsiteX9" fmla="*/ 0 w 915673"/>
                <a:gd name="connsiteY9" fmla="*/ 613784 h 766389"/>
                <a:gd name="connsiteX10" fmla="*/ 12238 w 915673"/>
                <a:gd name="connsiteY10" fmla="*/ 757580 h 766389"/>
                <a:gd name="connsiteX11" fmla="*/ 685326 w 915673"/>
                <a:gd name="connsiteY11" fmla="*/ 726985 h 766389"/>
                <a:gd name="connsiteX12" fmla="*/ 893371 w 915673"/>
                <a:gd name="connsiteY12" fmla="*/ 283359 h 76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15673" h="766389">
                  <a:moveTo>
                    <a:pt x="893371" y="283359"/>
                  </a:moveTo>
                  <a:cubicBezTo>
                    <a:pt x="948442" y="145682"/>
                    <a:pt x="893371" y="-19531"/>
                    <a:pt x="816884" y="1886"/>
                  </a:cubicBezTo>
                  <a:cubicBezTo>
                    <a:pt x="728159" y="26362"/>
                    <a:pt x="624136" y="121206"/>
                    <a:pt x="566006" y="289478"/>
                  </a:cubicBezTo>
                  <a:cubicBezTo>
                    <a:pt x="532351" y="387382"/>
                    <a:pt x="434448" y="592368"/>
                    <a:pt x="416090" y="589308"/>
                  </a:cubicBezTo>
                  <a:cubicBezTo>
                    <a:pt x="406912" y="589308"/>
                    <a:pt x="400793" y="589308"/>
                    <a:pt x="394674" y="589308"/>
                  </a:cubicBezTo>
                  <a:cubicBezTo>
                    <a:pt x="379377" y="589308"/>
                    <a:pt x="364079" y="589308"/>
                    <a:pt x="348782" y="589308"/>
                  </a:cubicBezTo>
                  <a:cubicBezTo>
                    <a:pt x="315128" y="592368"/>
                    <a:pt x="281473" y="595427"/>
                    <a:pt x="250878" y="598486"/>
                  </a:cubicBezTo>
                  <a:cubicBezTo>
                    <a:pt x="183569" y="604605"/>
                    <a:pt x="119320" y="613784"/>
                    <a:pt x="52011" y="610724"/>
                  </a:cubicBezTo>
                  <a:cubicBezTo>
                    <a:pt x="48952" y="610724"/>
                    <a:pt x="45892" y="613784"/>
                    <a:pt x="45892" y="613784"/>
                  </a:cubicBezTo>
                  <a:cubicBezTo>
                    <a:pt x="18357" y="613784"/>
                    <a:pt x="0" y="613784"/>
                    <a:pt x="0" y="613784"/>
                  </a:cubicBezTo>
                  <a:cubicBezTo>
                    <a:pt x="15297" y="641319"/>
                    <a:pt x="12238" y="757580"/>
                    <a:pt x="12238" y="757580"/>
                  </a:cubicBezTo>
                  <a:cubicBezTo>
                    <a:pt x="12238" y="757580"/>
                    <a:pt x="630255" y="791234"/>
                    <a:pt x="685326" y="726985"/>
                  </a:cubicBezTo>
                  <a:cubicBezTo>
                    <a:pt x="728159" y="671914"/>
                    <a:pt x="826062" y="454690"/>
                    <a:pt x="893371" y="283359"/>
                  </a:cubicBezTo>
                  <a:close/>
                </a:path>
              </a:pathLst>
            </a:custGeom>
            <a:solidFill>
              <a:srgbClr val="F1DDBA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5" name="任意多边形: 形状 914">
              <a:extLst>
                <a:ext uri="{FF2B5EF4-FFF2-40B4-BE49-F238E27FC236}">
                  <a16:creationId xmlns:a16="http://schemas.microsoft.com/office/drawing/2014/main" id="{2602AA18-49C3-4370-B192-31E978276570}"/>
                </a:ext>
              </a:extLst>
            </p:cNvPr>
            <p:cNvSpPr/>
            <p:nvPr/>
          </p:nvSpPr>
          <p:spPr>
            <a:xfrm>
              <a:off x="7433954" y="4800527"/>
              <a:ext cx="713742" cy="1453937"/>
            </a:xfrm>
            <a:custGeom>
              <a:avLst/>
              <a:gdLst>
                <a:gd name="connsiteX0" fmla="*/ 670967 w 713742"/>
                <a:gd name="connsiteY0" fmla="*/ 6799 h 1453937"/>
                <a:gd name="connsiteX1" fmla="*/ 701562 w 713742"/>
                <a:gd name="connsiteY1" fmla="*/ 303569 h 1453937"/>
                <a:gd name="connsiteX2" fmla="*/ 334424 w 713742"/>
                <a:gd name="connsiteY2" fmla="*/ 496317 h 1453937"/>
                <a:gd name="connsiteX3" fmla="*/ 600600 w 713742"/>
                <a:gd name="connsiteY3" fmla="*/ 1380510 h 1453937"/>
                <a:gd name="connsiteX4" fmla="*/ 438447 w 713742"/>
                <a:gd name="connsiteY4" fmla="*/ 1453938 h 1453937"/>
                <a:gd name="connsiteX5" fmla="*/ 939 w 713742"/>
                <a:gd name="connsiteY5" fmla="*/ 432068 h 1453937"/>
                <a:gd name="connsiteX6" fmla="*/ 368078 w 713742"/>
                <a:gd name="connsiteY6" fmla="*/ 6799 h 1453937"/>
                <a:gd name="connsiteX7" fmla="*/ 670967 w 713742"/>
                <a:gd name="connsiteY7" fmla="*/ 6799 h 1453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3742" h="1453937">
                  <a:moveTo>
                    <a:pt x="670967" y="6799"/>
                  </a:moveTo>
                  <a:cubicBezTo>
                    <a:pt x="670967" y="6799"/>
                    <a:pt x="741336" y="190368"/>
                    <a:pt x="701562" y="303569"/>
                  </a:cubicBezTo>
                  <a:cubicBezTo>
                    <a:pt x="658730" y="416771"/>
                    <a:pt x="358900" y="444306"/>
                    <a:pt x="334424" y="496317"/>
                  </a:cubicBezTo>
                  <a:cubicBezTo>
                    <a:pt x="309948" y="551388"/>
                    <a:pt x="600600" y="1380510"/>
                    <a:pt x="600600" y="1380510"/>
                  </a:cubicBezTo>
                  <a:cubicBezTo>
                    <a:pt x="600600" y="1380510"/>
                    <a:pt x="517993" y="1444759"/>
                    <a:pt x="438447" y="1453938"/>
                  </a:cubicBezTo>
                  <a:cubicBezTo>
                    <a:pt x="438447" y="1453938"/>
                    <a:pt x="-23537" y="575864"/>
                    <a:pt x="939" y="432068"/>
                  </a:cubicBezTo>
                  <a:cubicBezTo>
                    <a:pt x="25415" y="288272"/>
                    <a:pt x="309948" y="19037"/>
                    <a:pt x="368078" y="6799"/>
                  </a:cubicBezTo>
                  <a:cubicBezTo>
                    <a:pt x="426208" y="-8499"/>
                    <a:pt x="670967" y="6799"/>
                    <a:pt x="670967" y="6799"/>
                  </a:cubicBezTo>
                  <a:close/>
                </a:path>
              </a:pathLst>
            </a:custGeom>
            <a:solidFill>
              <a:srgbClr val="7F95BC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6" name="任意多边形: 形状 915">
              <a:extLst>
                <a:ext uri="{FF2B5EF4-FFF2-40B4-BE49-F238E27FC236}">
                  <a16:creationId xmlns:a16="http://schemas.microsoft.com/office/drawing/2014/main" id="{1FF51D11-5682-410B-9612-9DC7FC89D5EB}"/>
                </a:ext>
              </a:extLst>
            </p:cNvPr>
            <p:cNvSpPr/>
            <p:nvPr/>
          </p:nvSpPr>
          <p:spPr>
            <a:xfrm>
              <a:off x="6955388" y="4799521"/>
              <a:ext cx="843584" cy="1491657"/>
            </a:xfrm>
            <a:custGeom>
              <a:avLst/>
              <a:gdLst>
                <a:gd name="connsiteX0" fmla="*/ 843585 w 843584"/>
                <a:gd name="connsiteY0" fmla="*/ 7805 h 1491657"/>
                <a:gd name="connsiteX1" fmla="*/ 705908 w 843584"/>
                <a:gd name="connsiteY1" fmla="*/ 304575 h 1491657"/>
                <a:gd name="connsiteX2" fmla="*/ 372424 w 843584"/>
                <a:gd name="connsiteY2" fmla="*/ 433074 h 1491657"/>
                <a:gd name="connsiteX3" fmla="*/ 797693 w 843584"/>
                <a:gd name="connsiteY3" fmla="*/ 1418230 h 1491657"/>
                <a:gd name="connsiteX4" fmla="*/ 635540 w 843584"/>
                <a:gd name="connsiteY4" fmla="*/ 1491658 h 1491657"/>
                <a:gd name="connsiteX5" fmla="*/ 2225 w 843584"/>
                <a:gd name="connsiteY5" fmla="*/ 322932 h 1491657"/>
                <a:gd name="connsiteX6" fmla="*/ 375483 w 843584"/>
                <a:gd name="connsiteY6" fmla="*/ 4745 h 1491657"/>
                <a:gd name="connsiteX7" fmla="*/ 843585 w 843584"/>
                <a:gd name="connsiteY7" fmla="*/ 7805 h 1491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3584" h="1491657">
                  <a:moveTo>
                    <a:pt x="843585" y="7805"/>
                  </a:moveTo>
                  <a:cubicBezTo>
                    <a:pt x="843585" y="7805"/>
                    <a:pt x="748741" y="191374"/>
                    <a:pt x="705908" y="304575"/>
                  </a:cubicBezTo>
                  <a:cubicBezTo>
                    <a:pt x="663075" y="417777"/>
                    <a:pt x="396900" y="381063"/>
                    <a:pt x="372424" y="433074"/>
                  </a:cubicBezTo>
                  <a:cubicBezTo>
                    <a:pt x="347948" y="488145"/>
                    <a:pt x="797693" y="1418230"/>
                    <a:pt x="797693" y="1418230"/>
                  </a:cubicBezTo>
                  <a:cubicBezTo>
                    <a:pt x="797693" y="1418230"/>
                    <a:pt x="715086" y="1482479"/>
                    <a:pt x="635540" y="1491658"/>
                  </a:cubicBezTo>
                  <a:cubicBezTo>
                    <a:pt x="635540" y="1491658"/>
                    <a:pt x="-43667" y="573811"/>
                    <a:pt x="2225" y="322932"/>
                  </a:cubicBezTo>
                  <a:cubicBezTo>
                    <a:pt x="26701" y="179136"/>
                    <a:pt x="317353" y="20043"/>
                    <a:pt x="375483" y="4745"/>
                  </a:cubicBezTo>
                  <a:cubicBezTo>
                    <a:pt x="430554" y="-7493"/>
                    <a:pt x="843585" y="7805"/>
                    <a:pt x="843585" y="7805"/>
                  </a:cubicBezTo>
                  <a:close/>
                </a:path>
              </a:pathLst>
            </a:custGeom>
            <a:solidFill>
              <a:srgbClr val="7F95BC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7" name="任意多边形: 形状 916">
              <a:extLst>
                <a:ext uri="{FF2B5EF4-FFF2-40B4-BE49-F238E27FC236}">
                  <a16:creationId xmlns:a16="http://schemas.microsoft.com/office/drawing/2014/main" id="{ABBD1F19-9F3E-45F8-B0D4-8C9D83FF922A}"/>
                </a:ext>
              </a:extLst>
            </p:cNvPr>
            <p:cNvSpPr/>
            <p:nvPr/>
          </p:nvSpPr>
          <p:spPr>
            <a:xfrm>
              <a:off x="7502202" y="4918232"/>
              <a:ext cx="170566" cy="296005"/>
            </a:xfrm>
            <a:custGeom>
              <a:avLst/>
              <a:gdLst>
                <a:gd name="connsiteX0" fmla="*/ 6119 w 170566"/>
                <a:gd name="connsiteY0" fmla="*/ 296006 h 296005"/>
                <a:gd name="connsiteX1" fmla="*/ 6119 w 170566"/>
                <a:gd name="connsiteY1" fmla="*/ 296006 h 296005"/>
                <a:gd name="connsiteX2" fmla="*/ 0 w 170566"/>
                <a:gd name="connsiteY2" fmla="*/ 289887 h 296005"/>
                <a:gd name="connsiteX3" fmla="*/ 159093 w 170566"/>
                <a:gd name="connsiteY3" fmla="*/ 2295 h 296005"/>
                <a:gd name="connsiteX4" fmla="*/ 168272 w 170566"/>
                <a:gd name="connsiteY4" fmla="*/ 2295 h 296005"/>
                <a:gd name="connsiteX5" fmla="*/ 168272 w 170566"/>
                <a:gd name="connsiteY5" fmla="*/ 11473 h 296005"/>
                <a:gd name="connsiteX6" fmla="*/ 15297 w 170566"/>
                <a:gd name="connsiteY6" fmla="*/ 289887 h 296005"/>
                <a:gd name="connsiteX7" fmla="*/ 6119 w 170566"/>
                <a:gd name="connsiteY7" fmla="*/ 296006 h 296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566" h="296005">
                  <a:moveTo>
                    <a:pt x="6119" y="296006"/>
                  </a:moveTo>
                  <a:cubicBezTo>
                    <a:pt x="6119" y="296006"/>
                    <a:pt x="6119" y="296006"/>
                    <a:pt x="6119" y="296006"/>
                  </a:cubicBezTo>
                  <a:cubicBezTo>
                    <a:pt x="3060" y="296006"/>
                    <a:pt x="0" y="292946"/>
                    <a:pt x="0" y="289887"/>
                  </a:cubicBezTo>
                  <a:cubicBezTo>
                    <a:pt x="0" y="286827"/>
                    <a:pt x="21416" y="118555"/>
                    <a:pt x="159093" y="2295"/>
                  </a:cubicBezTo>
                  <a:cubicBezTo>
                    <a:pt x="162153" y="-765"/>
                    <a:pt x="165213" y="-765"/>
                    <a:pt x="168272" y="2295"/>
                  </a:cubicBezTo>
                  <a:cubicBezTo>
                    <a:pt x="171332" y="5354"/>
                    <a:pt x="171332" y="8414"/>
                    <a:pt x="168272" y="11473"/>
                  </a:cubicBezTo>
                  <a:cubicBezTo>
                    <a:pt x="33655" y="124674"/>
                    <a:pt x="15297" y="289887"/>
                    <a:pt x="15297" y="289887"/>
                  </a:cubicBezTo>
                  <a:cubicBezTo>
                    <a:pt x="12238" y="292946"/>
                    <a:pt x="9179" y="296006"/>
                    <a:pt x="6119" y="296006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8" name="任意多边形: 形状 917">
              <a:extLst>
                <a:ext uri="{FF2B5EF4-FFF2-40B4-BE49-F238E27FC236}">
                  <a16:creationId xmlns:a16="http://schemas.microsoft.com/office/drawing/2014/main" id="{06E89899-28D0-4B42-9423-7578153B6C97}"/>
                </a:ext>
              </a:extLst>
            </p:cNvPr>
            <p:cNvSpPr/>
            <p:nvPr/>
          </p:nvSpPr>
          <p:spPr>
            <a:xfrm>
              <a:off x="7306395" y="5569139"/>
              <a:ext cx="365346" cy="706742"/>
            </a:xfrm>
            <a:custGeom>
              <a:avLst/>
              <a:gdLst>
                <a:gd name="connsiteX0" fmla="*/ 357960 w 365346"/>
                <a:gd name="connsiteY0" fmla="*/ 706742 h 706742"/>
                <a:gd name="connsiteX1" fmla="*/ 351841 w 365346"/>
                <a:gd name="connsiteY1" fmla="*/ 703683 h 706742"/>
                <a:gd name="connsiteX2" fmla="*/ 0 w 365346"/>
                <a:gd name="connsiteY2" fmla="*/ 9178 h 706742"/>
                <a:gd name="connsiteX3" fmla="*/ 3059 w 365346"/>
                <a:gd name="connsiteY3" fmla="*/ 0 h 706742"/>
                <a:gd name="connsiteX4" fmla="*/ 12238 w 365346"/>
                <a:gd name="connsiteY4" fmla="*/ 3059 h 706742"/>
                <a:gd name="connsiteX5" fmla="*/ 364079 w 365346"/>
                <a:gd name="connsiteY5" fmla="*/ 697564 h 706742"/>
                <a:gd name="connsiteX6" fmla="*/ 361020 w 365346"/>
                <a:gd name="connsiteY6" fmla="*/ 706742 h 706742"/>
                <a:gd name="connsiteX7" fmla="*/ 357960 w 365346"/>
                <a:gd name="connsiteY7" fmla="*/ 706742 h 706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5346" h="706742">
                  <a:moveTo>
                    <a:pt x="357960" y="706742"/>
                  </a:moveTo>
                  <a:cubicBezTo>
                    <a:pt x="354901" y="706742"/>
                    <a:pt x="354901" y="706742"/>
                    <a:pt x="351841" y="703683"/>
                  </a:cubicBezTo>
                  <a:cubicBezTo>
                    <a:pt x="229462" y="520113"/>
                    <a:pt x="3059" y="15297"/>
                    <a:pt x="0" y="9178"/>
                  </a:cubicBezTo>
                  <a:cubicBezTo>
                    <a:pt x="0" y="6119"/>
                    <a:pt x="0" y="3059"/>
                    <a:pt x="3059" y="0"/>
                  </a:cubicBezTo>
                  <a:cubicBezTo>
                    <a:pt x="6119" y="0"/>
                    <a:pt x="9179" y="0"/>
                    <a:pt x="12238" y="3059"/>
                  </a:cubicBezTo>
                  <a:cubicBezTo>
                    <a:pt x="15297" y="9178"/>
                    <a:pt x="241700" y="513994"/>
                    <a:pt x="364079" y="697564"/>
                  </a:cubicBezTo>
                  <a:cubicBezTo>
                    <a:pt x="367139" y="700623"/>
                    <a:pt x="364079" y="703683"/>
                    <a:pt x="361020" y="706742"/>
                  </a:cubicBezTo>
                  <a:cubicBezTo>
                    <a:pt x="361020" y="706742"/>
                    <a:pt x="357960" y="706742"/>
                    <a:pt x="357960" y="706742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9" name="任意多边形: 形状 918">
              <a:extLst>
                <a:ext uri="{FF2B5EF4-FFF2-40B4-BE49-F238E27FC236}">
                  <a16:creationId xmlns:a16="http://schemas.microsoft.com/office/drawing/2014/main" id="{AAFB92D7-D61D-4DC9-835F-BDF3A5D621B6}"/>
                </a:ext>
              </a:extLst>
            </p:cNvPr>
            <p:cNvSpPr/>
            <p:nvPr/>
          </p:nvSpPr>
          <p:spPr>
            <a:xfrm>
              <a:off x="7627641" y="5370272"/>
              <a:ext cx="304899" cy="875014"/>
            </a:xfrm>
            <a:custGeom>
              <a:avLst/>
              <a:gdLst>
                <a:gd name="connsiteX0" fmla="*/ 299830 w 304899"/>
                <a:gd name="connsiteY0" fmla="*/ 875014 h 875014"/>
                <a:gd name="connsiteX1" fmla="*/ 293711 w 304899"/>
                <a:gd name="connsiteY1" fmla="*/ 871954 h 875014"/>
                <a:gd name="connsiteX2" fmla="*/ 0 w 304899"/>
                <a:gd name="connsiteY2" fmla="*/ 6119 h 875014"/>
                <a:gd name="connsiteX3" fmla="*/ 3059 w 304899"/>
                <a:gd name="connsiteY3" fmla="*/ 0 h 875014"/>
                <a:gd name="connsiteX4" fmla="*/ 9179 w 304899"/>
                <a:gd name="connsiteY4" fmla="*/ 3059 h 875014"/>
                <a:gd name="connsiteX5" fmla="*/ 302889 w 304899"/>
                <a:gd name="connsiteY5" fmla="*/ 868895 h 875014"/>
                <a:gd name="connsiteX6" fmla="*/ 299830 w 304899"/>
                <a:gd name="connsiteY6" fmla="*/ 875014 h 875014"/>
                <a:gd name="connsiteX7" fmla="*/ 299830 w 304899"/>
                <a:gd name="connsiteY7" fmla="*/ 875014 h 875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4899" h="875014">
                  <a:moveTo>
                    <a:pt x="299830" y="875014"/>
                  </a:moveTo>
                  <a:cubicBezTo>
                    <a:pt x="296770" y="875014"/>
                    <a:pt x="296770" y="875014"/>
                    <a:pt x="293711" y="871954"/>
                  </a:cubicBezTo>
                  <a:cubicBezTo>
                    <a:pt x="168272" y="605779"/>
                    <a:pt x="0" y="12238"/>
                    <a:pt x="0" y="6119"/>
                  </a:cubicBezTo>
                  <a:cubicBezTo>
                    <a:pt x="0" y="3059"/>
                    <a:pt x="0" y="0"/>
                    <a:pt x="3059" y="0"/>
                  </a:cubicBezTo>
                  <a:cubicBezTo>
                    <a:pt x="6119" y="0"/>
                    <a:pt x="9179" y="0"/>
                    <a:pt x="9179" y="3059"/>
                  </a:cubicBezTo>
                  <a:cubicBezTo>
                    <a:pt x="12238" y="9178"/>
                    <a:pt x="177451" y="602720"/>
                    <a:pt x="302889" y="868895"/>
                  </a:cubicBezTo>
                  <a:cubicBezTo>
                    <a:pt x="305949" y="871954"/>
                    <a:pt x="305949" y="875014"/>
                    <a:pt x="299830" y="875014"/>
                  </a:cubicBezTo>
                  <a:cubicBezTo>
                    <a:pt x="302889" y="875014"/>
                    <a:pt x="299830" y="875014"/>
                    <a:pt x="299830" y="875014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0" name="任意多边形: 形状 919">
              <a:extLst>
                <a:ext uri="{FF2B5EF4-FFF2-40B4-BE49-F238E27FC236}">
                  <a16:creationId xmlns:a16="http://schemas.microsoft.com/office/drawing/2014/main" id="{7D4412FD-5AB0-4963-A18B-2C13CF346911}"/>
                </a:ext>
              </a:extLst>
            </p:cNvPr>
            <p:cNvSpPr/>
            <p:nvPr/>
          </p:nvSpPr>
          <p:spPr>
            <a:xfrm>
              <a:off x="7222970" y="3065086"/>
              <a:ext cx="484969" cy="781560"/>
            </a:xfrm>
            <a:custGeom>
              <a:avLst/>
              <a:gdLst>
                <a:gd name="connsiteX0" fmla="*/ 453623 w 484969"/>
                <a:gd name="connsiteY0" fmla="*/ 466433 h 781560"/>
                <a:gd name="connsiteX1" fmla="*/ 432207 w 484969"/>
                <a:gd name="connsiteY1" fmla="*/ 307339 h 781560"/>
                <a:gd name="connsiteX2" fmla="*/ 462802 w 484969"/>
                <a:gd name="connsiteY2" fmla="*/ 157424 h 781560"/>
                <a:gd name="connsiteX3" fmla="*/ 484218 w 484969"/>
                <a:gd name="connsiteY3" fmla="*/ 4450 h 781560"/>
                <a:gd name="connsiteX4" fmla="*/ 187448 w 484969"/>
                <a:gd name="connsiteY4" fmla="*/ 212495 h 781560"/>
                <a:gd name="connsiteX5" fmla="*/ 193567 w 484969"/>
                <a:gd name="connsiteY5" fmla="*/ 270625 h 781560"/>
                <a:gd name="connsiteX6" fmla="*/ 150734 w 484969"/>
                <a:gd name="connsiteY6" fmla="*/ 331815 h 781560"/>
                <a:gd name="connsiteX7" fmla="*/ 104842 w 484969"/>
                <a:gd name="connsiteY7" fmla="*/ 405243 h 781560"/>
                <a:gd name="connsiteX8" fmla="*/ 114020 w 484969"/>
                <a:gd name="connsiteY8" fmla="*/ 493968 h 781560"/>
                <a:gd name="connsiteX9" fmla="*/ 98723 w 484969"/>
                <a:gd name="connsiteY9" fmla="*/ 570455 h 781560"/>
                <a:gd name="connsiteX10" fmla="*/ 46712 w 484969"/>
                <a:gd name="connsiteY10" fmla="*/ 610229 h 781560"/>
                <a:gd name="connsiteX11" fmla="*/ 22236 w 484969"/>
                <a:gd name="connsiteY11" fmla="*/ 738727 h 781560"/>
                <a:gd name="connsiteX12" fmla="*/ 230281 w 484969"/>
                <a:gd name="connsiteY12" fmla="*/ 747906 h 781560"/>
                <a:gd name="connsiteX13" fmla="*/ 306768 w 484969"/>
                <a:gd name="connsiteY13" fmla="*/ 781560 h 781560"/>
                <a:gd name="connsiteX14" fmla="*/ 398553 w 484969"/>
                <a:gd name="connsiteY14" fmla="*/ 763203 h 781560"/>
                <a:gd name="connsiteX15" fmla="*/ 475040 w 484969"/>
                <a:gd name="connsiteY15" fmla="*/ 594931 h 781560"/>
                <a:gd name="connsiteX16" fmla="*/ 453623 w 484969"/>
                <a:gd name="connsiteY16" fmla="*/ 466433 h 781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84969" h="781560">
                  <a:moveTo>
                    <a:pt x="453623" y="466433"/>
                  </a:moveTo>
                  <a:cubicBezTo>
                    <a:pt x="441386" y="414421"/>
                    <a:pt x="429148" y="359351"/>
                    <a:pt x="432207" y="307339"/>
                  </a:cubicBezTo>
                  <a:cubicBezTo>
                    <a:pt x="435267" y="255328"/>
                    <a:pt x="444445" y="206376"/>
                    <a:pt x="462802" y="157424"/>
                  </a:cubicBezTo>
                  <a:cubicBezTo>
                    <a:pt x="481159" y="105413"/>
                    <a:pt x="487278" y="1390"/>
                    <a:pt x="484218" y="4450"/>
                  </a:cubicBezTo>
                  <a:cubicBezTo>
                    <a:pt x="364898" y="-23086"/>
                    <a:pt x="175210" y="80937"/>
                    <a:pt x="187448" y="212495"/>
                  </a:cubicBezTo>
                  <a:cubicBezTo>
                    <a:pt x="190507" y="230852"/>
                    <a:pt x="193567" y="252268"/>
                    <a:pt x="193567" y="270625"/>
                  </a:cubicBezTo>
                  <a:cubicBezTo>
                    <a:pt x="190507" y="301220"/>
                    <a:pt x="172150" y="313458"/>
                    <a:pt x="150734" y="331815"/>
                  </a:cubicBezTo>
                  <a:cubicBezTo>
                    <a:pt x="129318" y="350172"/>
                    <a:pt x="110961" y="374648"/>
                    <a:pt x="104842" y="405243"/>
                  </a:cubicBezTo>
                  <a:cubicBezTo>
                    <a:pt x="95663" y="438897"/>
                    <a:pt x="104842" y="463373"/>
                    <a:pt x="114020" y="493968"/>
                  </a:cubicBezTo>
                  <a:cubicBezTo>
                    <a:pt x="123199" y="524563"/>
                    <a:pt x="123199" y="545980"/>
                    <a:pt x="98723" y="570455"/>
                  </a:cubicBezTo>
                  <a:cubicBezTo>
                    <a:pt x="83425" y="585753"/>
                    <a:pt x="65068" y="597991"/>
                    <a:pt x="46712" y="610229"/>
                  </a:cubicBezTo>
                  <a:cubicBezTo>
                    <a:pt x="9997" y="640824"/>
                    <a:pt x="-23657" y="698954"/>
                    <a:pt x="22236" y="738727"/>
                  </a:cubicBezTo>
                  <a:cubicBezTo>
                    <a:pt x="83425" y="790739"/>
                    <a:pt x="162972" y="714251"/>
                    <a:pt x="230281" y="747906"/>
                  </a:cubicBezTo>
                  <a:cubicBezTo>
                    <a:pt x="257816" y="760144"/>
                    <a:pt x="276173" y="778501"/>
                    <a:pt x="306768" y="781560"/>
                  </a:cubicBezTo>
                  <a:cubicBezTo>
                    <a:pt x="334303" y="781560"/>
                    <a:pt x="374077" y="775441"/>
                    <a:pt x="398553" y="763203"/>
                  </a:cubicBezTo>
                  <a:cubicBezTo>
                    <a:pt x="450564" y="735668"/>
                    <a:pt x="471980" y="650002"/>
                    <a:pt x="475040" y="594931"/>
                  </a:cubicBezTo>
                  <a:cubicBezTo>
                    <a:pt x="478099" y="552098"/>
                    <a:pt x="462802" y="509266"/>
                    <a:pt x="453623" y="466433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1" name="任意多边形: 形状 920">
              <a:extLst>
                <a:ext uri="{FF2B5EF4-FFF2-40B4-BE49-F238E27FC236}">
                  <a16:creationId xmlns:a16="http://schemas.microsoft.com/office/drawing/2014/main" id="{6BB50990-46CC-46EC-9659-69520CC816AB}"/>
                </a:ext>
              </a:extLst>
            </p:cNvPr>
            <p:cNvSpPr/>
            <p:nvPr/>
          </p:nvSpPr>
          <p:spPr>
            <a:xfrm>
              <a:off x="7763817" y="3355297"/>
              <a:ext cx="280794" cy="450232"/>
            </a:xfrm>
            <a:custGeom>
              <a:avLst/>
              <a:gdLst>
                <a:gd name="connsiteX0" fmla="*/ 267677 w 280794"/>
                <a:gd name="connsiteY0" fmla="*/ 335314 h 450232"/>
                <a:gd name="connsiteX1" fmla="*/ 209547 w 280794"/>
                <a:gd name="connsiteY1" fmla="*/ 286362 h 450232"/>
                <a:gd name="connsiteX2" fmla="*/ 209547 w 280794"/>
                <a:gd name="connsiteY2" fmla="*/ 191518 h 450232"/>
                <a:gd name="connsiteX3" fmla="*/ 154476 w 280794"/>
                <a:gd name="connsiteY3" fmla="*/ 23246 h 450232"/>
                <a:gd name="connsiteX4" fmla="*/ 157535 w 280794"/>
                <a:gd name="connsiteY4" fmla="*/ 7949 h 450232"/>
                <a:gd name="connsiteX5" fmla="*/ 142238 w 280794"/>
                <a:gd name="connsiteY5" fmla="*/ 1830 h 450232"/>
                <a:gd name="connsiteX6" fmla="*/ 133060 w 280794"/>
                <a:gd name="connsiteY6" fmla="*/ 11008 h 450232"/>
                <a:gd name="connsiteX7" fmla="*/ 136119 w 280794"/>
                <a:gd name="connsiteY7" fmla="*/ 20187 h 450232"/>
                <a:gd name="connsiteX8" fmla="*/ 93286 w 280794"/>
                <a:gd name="connsiteY8" fmla="*/ 93614 h 450232"/>
                <a:gd name="connsiteX9" fmla="*/ 62691 w 280794"/>
                <a:gd name="connsiteY9" fmla="*/ 167042 h 450232"/>
                <a:gd name="connsiteX10" fmla="*/ 1502 w 280794"/>
                <a:gd name="connsiteY10" fmla="*/ 332255 h 450232"/>
                <a:gd name="connsiteX11" fmla="*/ 133060 w 280794"/>
                <a:gd name="connsiteY11" fmla="*/ 439337 h 450232"/>
                <a:gd name="connsiteX12" fmla="*/ 230963 w 280794"/>
                <a:gd name="connsiteY12" fmla="*/ 427099 h 450232"/>
                <a:gd name="connsiteX13" fmla="*/ 270737 w 280794"/>
                <a:gd name="connsiteY13" fmla="*/ 402623 h 450232"/>
                <a:gd name="connsiteX14" fmla="*/ 267677 w 280794"/>
                <a:gd name="connsiteY14" fmla="*/ 335314 h 450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0794" h="450232">
                  <a:moveTo>
                    <a:pt x="267677" y="335314"/>
                  </a:moveTo>
                  <a:cubicBezTo>
                    <a:pt x="252380" y="316957"/>
                    <a:pt x="221785" y="307779"/>
                    <a:pt x="209547" y="286362"/>
                  </a:cubicBezTo>
                  <a:cubicBezTo>
                    <a:pt x="194250" y="258827"/>
                    <a:pt x="209547" y="222113"/>
                    <a:pt x="209547" y="191518"/>
                  </a:cubicBezTo>
                  <a:cubicBezTo>
                    <a:pt x="206487" y="136447"/>
                    <a:pt x="175892" y="75258"/>
                    <a:pt x="154476" y="23246"/>
                  </a:cubicBezTo>
                  <a:cubicBezTo>
                    <a:pt x="154476" y="20187"/>
                    <a:pt x="154476" y="14068"/>
                    <a:pt x="157535" y="7949"/>
                  </a:cubicBezTo>
                  <a:cubicBezTo>
                    <a:pt x="157535" y="-1230"/>
                    <a:pt x="148357" y="-1230"/>
                    <a:pt x="142238" y="1830"/>
                  </a:cubicBezTo>
                  <a:cubicBezTo>
                    <a:pt x="136119" y="1830"/>
                    <a:pt x="133060" y="4889"/>
                    <a:pt x="133060" y="11008"/>
                  </a:cubicBezTo>
                  <a:cubicBezTo>
                    <a:pt x="133060" y="14068"/>
                    <a:pt x="136119" y="17127"/>
                    <a:pt x="136119" y="20187"/>
                  </a:cubicBezTo>
                  <a:cubicBezTo>
                    <a:pt x="130000" y="47722"/>
                    <a:pt x="108584" y="69139"/>
                    <a:pt x="93286" y="93614"/>
                  </a:cubicBezTo>
                  <a:cubicBezTo>
                    <a:pt x="77989" y="118090"/>
                    <a:pt x="68810" y="142566"/>
                    <a:pt x="62691" y="167042"/>
                  </a:cubicBezTo>
                  <a:cubicBezTo>
                    <a:pt x="47394" y="222113"/>
                    <a:pt x="10680" y="274124"/>
                    <a:pt x="1502" y="332255"/>
                  </a:cubicBezTo>
                  <a:cubicBezTo>
                    <a:pt x="-10737" y="414861"/>
                    <a:pt x="53513" y="476051"/>
                    <a:pt x="133060" y="439337"/>
                  </a:cubicBezTo>
                  <a:cubicBezTo>
                    <a:pt x="169774" y="420980"/>
                    <a:pt x="194250" y="433218"/>
                    <a:pt x="230963" y="427099"/>
                  </a:cubicBezTo>
                  <a:cubicBezTo>
                    <a:pt x="246261" y="424040"/>
                    <a:pt x="261558" y="417920"/>
                    <a:pt x="270737" y="402623"/>
                  </a:cubicBezTo>
                  <a:cubicBezTo>
                    <a:pt x="286034" y="387325"/>
                    <a:pt x="282975" y="356731"/>
                    <a:pt x="267677" y="335314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2" name="任意多边形: 形状 921">
              <a:extLst>
                <a:ext uri="{FF2B5EF4-FFF2-40B4-BE49-F238E27FC236}">
                  <a16:creationId xmlns:a16="http://schemas.microsoft.com/office/drawing/2014/main" id="{F8498ED3-A477-4BF7-AE83-0120E6513927}"/>
                </a:ext>
              </a:extLst>
            </p:cNvPr>
            <p:cNvSpPr/>
            <p:nvPr/>
          </p:nvSpPr>
          <p:spPr>
            <a:xfrm>
              <a:off x="7337276" y="3732631"/>
              <a:ext cx="788722" cy="910731"/>
            </a:xfrm>
            <a:custGeom>
              <a:avLst/>
              <a:gdLst>
                <a:gd name="connsiteX0" fmla="*/ 73142 w 788722"/>
                <a:gd name="connsiteY0" fmla="*/ 891125 h 910731"/>
                <a:gd name="connsiteX1" fmla="*/ 685040 w 788722"/>
                <a:gd name="connsiteY1" fmla="*/ 881947 h 910731"/>
                <a:gd name="connsiteX2" fmla="*/ 752348 w 788722"/>
                <a:gd name="connsiteY2" fmla="*/ 383250 h 910731"/>
                <a:gd name="connsiteX3" fmla="*/ 724813 w 788722"/>
                <a:gd name="connsiteY3" fmla="*/ 58944 h 910731"/>
                <a:gd name="connsiteX4" fmla="*/ 354615 w 788722"/>
                <a:gd name="connsiteY4" fmla="*/ 6932 h 910731"/>
                <a:gd name="connsiteX5" fmla="*/ 36428 w 788722"/>
                <a:gd name="connsiteY5" fmla="*/ 150729 h 910731"/>
                <a:gd name="connsiteX6" fmla="*/ 73142 w 788722"/>
                <a:gd name="connsiteY6" fmla="*/ 891125 h 910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8722" h="910731">
                  <a:moveTo>
                    <a:pt x="73142" y="891125"/>
                  </a:moveTo>
                  <a:cubicBezTo>
                    <a:pt x="73142" y="897244"/>
                    <a:pt x="446399" y="937017"/>
                    <a:pt x="685040" y="881947"/>
                  </a:cubicBezTo>
                  <a:cubicBezTo>
                    <a:pt x="672802" y="793222"/>
                    <a:pt x="733992" y="453618"/>
                    <a:pt x="752348" y="383250"/>
                  </a:cubicBezTo>
                  <a:cubicBezTo>
                    <a:pt x="761527" y="349595"/>
                    <a:pt x="844133" y="117074"/>
                    <a:pt x="724813" y="58944"/>
                  </a:cubicBezTo>
                  <a:cubicBezTo>
                    <a:pt x="617731" y="6932"/>
                    <a:pt x="470875" y="-11424"/>
                    <a:pt x="354615" y="6932"/>
                  </a:cubicBezTo>
                  <a:cubicBezTo>
                    <a:pt x="223057" y="28349"/>
                    <a:pt x="67023" y="83420"/>
                    <a:pt x="36428" y="150729"/>
                  </a:cubicBezTo>
                  <a:cubicBezTo>
                    <a:pt x="-70654" y="386309"/>
                    <a:pt x="94558" y="533165"/>
                    <a:pt x="73142" y="891125"/>
                  </a:cubicBezTo>
                  <a:close/>
                </a:path>
              </a:pathLst>
            </a:custGeom>
            <a:solidFill>
              <a:srgbClr val="F1DDBA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3" name="任意多边形: 形状 922">
              <a:extLst>
                <a:ext uri="{FF2B5EF4-FFF2-40B4-BE49-F238E27FC236}">
                  <a16:creationId xmlns:a16="http://schemas.microsoft.com/office/drawing/2014/main" id="{CD9FEFEE-43E7-44BF-B000-ED7982FE8A6A}"/>
                </a:ext>
              </a:extLst>
            </p:cNvPr>
            <p:cNvSpPr/>
            <p:nvPr/>
          </p:nvSpPr>
          <p:spPr>
            <a:xfrm>
              <a:off x="7483845" y="3103190"/>
              <a:ext cx="418028" cy="572260"/>
            </a:xfrm>
            <a:custGeom>
              <a:avLst/>
              <a:gdLst>
                <a:gd name="connsiteX0" fmla="*/ 0 w 418028"/>
                <a:gd name="connsiteY0" fmla="*/ 208045 h 572260"/>
                <a:gd name="connsiteX1" fmla="*/ 42833 w 418028"/>
                <a:gd name="connsiteY1" fmla="*/ 461983 h 572260"/>
                <a:gd name="connsiteX2" fmla="*/ 204986 w 418028"/>
                <a:gd name="connsiteY2" fmla="*/ 572125 h 572260"/>
                <a:gd name="connsiteX3" fmla="*/ 400793 w 418028"/>
                <a:gd name="connsiteY3" fmla="*/ 400793 h 572260"/>
                <a:gd name="connsiteX4" fmla="*/ 409971 w 418028"/>
                <a:gd name="connsiteY4" fmla="*/ 171332 h 572260"/>
                <a:gd name="connsiteX5" fmla="*/ 171331 w 418028"/>
                <a:gd name="connsiteY5" fmla="*/ 0 h 572260"/>
                <a:gd name="connsiteX6" fmla="*/ 0 w 418028"/>
                <a:gd name="connsiteY6" fmla="*/ 208045 h 572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028" h="572260">
                  <a:moveTo>
                    <a:pt x="0" y="208045"/>
                  </a:moveTo>
                  <a:cubicBezTo>
                    <a:pt x="0" y="208045"/>
                    <a:pt x="0" y="397734"/>
                    <a:pt x="42833" y="461983"/>
                  </a:cubicBezTo>
                  <a:cubicBezTo>
                    <a:pt x="88725" y="526232"/>
                    <a:pt x="156034" y="575184"/>
                    <a:pt x="204986" y="572125"/>
                  </a:cubicBezTo>
                  <a:cubicBezTo>
                    <a:pt x="272294" y="569065"/>
                    <a:pt x="373258" y="471162"/>
                    <a:pt x="400793" y="400793"/>
                  </a:cubicBezTo>
                  <a:cubicBezTo>
                    <a:pt x="428329" y="330425"/>
                    <a:pt x="416090" y="223343"/>
                    <a:pt x="409971" y="171332"/>
                  </a:cubicBezTo>
                  <a:cubicBezTo>
                    <a:pt x="397734" y="76487"/>
                    <a:pt x="361019" y="3060"/>
                    <a:pt x="171331" y="0"/>
                  </a:cubicBezTo>
                  <a:cubicBezTo>
                    <a:pt x="88725" y="0"/>
                    <a:pt x="9178" y="128499"/>
                    <a:pt x="0" y="208045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4" name="任意多边形: 形状 923">
              <a:extLst>
                <a:ext uri="{FF2B5EF4-FFF2-40B4-BE49-F238E27FC236}">
                  <a16:creationId xmlns:a16="http://schemas.microsoft.com/office/drawing/2014/main" id="{D5E6221A-EB41-4B12-BCFB-C1521D31EEBD}"/>
                </a:ext>
              </a:extLst>
            </p:cNvPr>
            <p:cNvSpPr/>
            <p:nvPr/>
          </p:nvSpPr>
          <p:spPr>
            <a:xfrm>
              <a:off x="7633358" y="3375484"/>
              <a:ext cx="61592" cy="134617"/>
            </a:xfrm>
            <a:custGeom>
              <a:avLst/>
              <a:gdLst>
                <a:gd name="connsiteX0" fmla="*/ 24878 w 61592"/>
                <a:gd name="connsiteY0" fmla="*/ 134618 h 134617"/>
                <a:gd name="connsiteX1" fmla="*/ 6521 w 61592"/>
                <a:gd name="connsiteY1" fmla="*/ 131558 h 134617"/>
                <a:gd name="connsiteX2" fmla="*/ 402 w 61592"/>
                <a:gd name="connsiteY2" fmla="*/ 119320 h 134617"/>
                <a:gd name="connsiteX3" fmla="*/ 15700 w 61592"/>
                <a:gd name="connsiteY3" fmla="*/ 6119 h 134617"/>
                <a:gd name="connsiteX4" fmla="*/ 21819 w 61592"/>
                <a:gd name="connsiteY4" fmla="*/ 0 h 134617"/>
                <a:gd name="connsiteX5" fmla="*/ 27938 w 61592"/>
                <a:gd name="connsiteY5" fmla="*/ 6119 h 134617"/>
                <a:gd name="connsiteX6" fmla="*/ 12640 w 61592"/>
                <a:gd name="connsiteY6" fmla="*/ 113201 h 134617"/>
                <a:gd name="connsiteX7" fmla="*/ 15700 w 61592"/>
                <a:gd name="connsiteY7" fmla="*/ 116261 h 134617"/>
                <a:gd name="connsiteX8" fmla="*/ 55473 w 61592"/>
                <a:gd name="connsiteY8" fmla="*/ 113201 h 134617"/>
                <a:gd name="connsiteX9" fmla="*/ 61592 w 61592"/>
                <a:gd name="connsiteY9" fmla="*/ 116261 h 134617"/>
                <a:gd name="connsiteX10" fmla="*/ 58532 w 61592"/>
                <a:gd name="connsiteY10" fmla="*/ 122380 h 134617"/>
                <a:gd name="connsiteX11" fmla="*/ 24878 w 61592"/>
                <a:gd name="connsiteY11" fmla="*/ 134618 h 134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592" h="134617">
                  <a:moveTo>
                    <a:pt x="24878" y="134618"/>
                  </a:moveTo>
                  <a:cubicBezTo>
                    <a:pt x="18759" y="134618"/>
                    <a:pt x="12640" y="134618"/>
                    <a:pt x="6521" y="131558"/>
                  </a:cubicBezTo>
                  <a:cubicBezTo>
                    <a:pt x="3462" y="128499"/>
                    <a:pt x="402" y="125439"/>
                    <a:pt x="402" y="119320"/>
                  </a:cubicBezTo>
                  <a:cubicBezTo>
                    <a:pt x="-2657" y="97904"/>
                    <a:pt x="12640" y="12238"/>
                    <a:pt x="15700" y="6119"/>
                  </a:cubicBezTo>
                  <a:cubicBezTo>
                    <a:pt x="15700" y="3059"/>
                    <a:pt x="18759" y="0"/>
                    <a:pt x="21819" y="0"/>
                  </a:cubicBezTo>
                  <a:cubicBezTo>
                    <a:pt x="24878" y="0"/>
                    <a:pt x="27938" y="3059"/>
                    <a:pt x="27938" y="6119"/>
                  </a:cubicBezTo>
                  <a:cubicBezTo>
                    <a:pt x="24878" y="30595"/>
                    <a:pt x="12640" y="97904"/>
                    <a:pt x="12640" y="113201"/>
                  </a:cubicBezTo>
                  <a:cubicBezTo>
                    <a:pt x="12640" y="113201"/>
                    <a:pt x="12640" y="116261"/>
                    <a:pt x="15700" y="116261"/>
                  </a:cubicBezTo>
                  <a:cubicBezTo>
                    <a:pt x="21819" y="119320"/>
                    <a:pt x="43235" y="116261"/>
                    <a:pt x="55473" y="113201"/>
                  </a:cubicBezTo>
                  <a:cubicBezTo>
                    <a:pt x="58532" y="113201"/>
                    <a:pt x="61592" y="113201"/>
                    <a:pt x="61592" y="116261"/>
                  </a:cubicBezTo>
                  <a:cubicBezTo>
                    <a:pt x="61592" y="119320"/>
                    <a:pt x="61592" y="122380"/>
                    <a:pt x="58532" y="122380"/>
                  </a:cubicBezTo>
                  <a:cubicBezTo>
                    <a:pt x="55473" y="128499"/>
                    <a:pt x="40176" y="134618"/>
                    <a:pt x="24878" y="134618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5" name="任意多边形: 形状 924">
              <a:extLst>
                <a:ext uri="{FF2B5EF4-FFF2-40B4-BE49-F238E27FC236}">
                  <a16:creationId xmlns:a16="http://schemas.microsoft.com/office/drawing/2014/main" id="{38A4F4DE-D91D-457B-BD83-E09DD62E31D1}"/>
                </a:ext>
              </a:extLst>
            </p:cNvPr>
            <p:cNvSpPr/>
            <p:nvPr/>
          </p:nvSpPr>
          <p:spPr>
            <a:xfrm>
              <a:off x="7624582" y="3545456"/>
              <a:ext cx="120680" cy="31954"/>
            </a:xfrm>
            <a:custGeom>
              <a:avLst/>
              <a:gdLst>
                <a:gd name="connsiteX0" fmla="*/ 45892 w 120680"/>
                <a:gd name="connsiteY0" fmla="*/ 31955 h 31954"/>
                <a:gd name="connsiteX1" fmla="*/ 3060 w 120680"/>
                <a:gd name="connsiteY1" fmla="*/ 25836 h 31954"/>
                <a:gd name="connsiteX2" fmla="*/ 0 w 120680"/>
                <a:gd name="connsiteY2" fmla="*/ 16657 h 31954"/>
                <a:gd name="connsiteX3" fmla="*/ 9179 w 120680"/>
                <a:gd name="connsiteY3" fmla="*/ 13598 h 31954"/>
                <a:gd name="connsiteX4" fmla="*/ 110142 w 120680"/>
                <a:gd name="connsiteY4" fmla="*/ 1360 h 31954"/>
                <a:gd name="connsiteX5" fmla="*/ 119320 w 120680"/>
                <a:gd name="connsiteY5" fmla="*/ 1360 h 31954"/>
                <a:gd name="connsiteX6" fmla="*/ 119320 w 120680"/>
                <a:gd name="connsiteY6" fmla="*/ 10538 h 31954"/>
                <a:gd name="connsiteX7" fmla="*/ 45892 w 120680"/>
                <a:gd name="connsiteY7" fmla="*/ 31955 h 3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680" h="31954">
                  <a:moveTo>
                    <a:pt x="45892" y="31955"/>
                  </a:moveTo>
                  <a:cubicBezTo>
                    <a:pt x="21416" y="31955"/>
                    <a:pt x="3060" y="25836"/>
                    <a:pt x="3060" y="25836"/>
                  </a:cubicBezTo>
                  <a:cubicBezTo>
                    <a:pt x="0" y="25836"/>
                    <a:pt x="0" y="19717"/>
                    <a:pt x="0" y="16657"/>
                  </a:cubicBezTo>
                  <a:cubicBezTo>
                    <a:pt x="0" y="13598"/>
                    <a:pt x="6119" y="13598"/>
                    <a:pt x="9179" y="13598"/>
                  </a:cubicBezTo>
                  <a:cubicBezTo>
                    <a:pt x="9179" y="13598"/>
                    <a:pt x="64249" y="35014"/>
                    <a:pt x="110142" y="1360"/>
                  </a:cubicBezTo>
                  <a:cubicBezTo>
                    <a:pt x="113201" y="-1700"/>
                    <a:pt x="116261" y="1360"/>
                    <a:pt x="119320" y="1360"/>
                  </a:cubicBezTo>
                  <a:cubicBezTo>
                    <a:pt x="122380" y="4419"/>
                    <a:pt x="119320" y="7479"/>
                    <a:pt x="119320" y="10538"/>
                  </a:cubicBezTo>
                  <a:cubicBezTo>
                    <a:pt x="88725" y="28895"/>
                    <a:pt x="64249" y="31955"/>
                    <a:pt x="45892" y="31955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6" name="任意多边形: 形状 925">
              <a:extLst>
                <a:ext uri="{FF2B5EF4-FFF2-40B4-BE49-F238E27FC236}">
                  <a16:creationId xmlns:a16="http://schemas.microsoft.com/office/drawing/2014/main" id="{230FC4E3-9CEF-42AF-8DD3-F64D992C4D06}"/>
                </a:ext>
              </a:extLst>
            </p:cNvPr>
            <p:cNvSpPr/>
            <p:nvPr/>
          </p:nvSpPr>
          <p:spPr>
            <a:xfrm>
              <a:off x="7551154" y="3360187"/>
              <a:ext cx="39773" cy="39773"/>
            </a:xfrm>
            <a:custGeom>
              <a:avLst/>
              <a:gdLst>
                <a:gd name="connsiteX0" fmla="*/ 39773 w 39773"/>
                <a:gd name="connsiteY0" fmla="*/ 21416 h 39773"/>
                <a:gd name="connsiteX1" fmla="*/ 18357 w 39773"/>
                <a:gd name="connsiteY1" fmla="*/ 39773 h 39773"/>
                <a:gd name="connsiteX2" fmla="*/ 0 w 39773"/>
                <a:gd name="connsiteY2" fmla="*/ 18357 h 39773"/>
                <a:gd name="connsiteX3" fmla="*/ 21416 w 39773"/>
                <a:gd name="connsiteY3" fmla="*/ 0 h 39773"/>
                <a:gd name="connsiteX4" fmla="*/ 39773 w 39773"/>
                <a:gd name="connsiteY4" fmla="*/ 21416 h 39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773" h="39773">
                  <a:moveTo>
                    <a:pt x="39773" y="21416"/>
                  </a:moveTo>
                  <a:cubicBezTo>
                    <a:pt x="39773" y="33654"/>
                    <a:pt x="30595" y="39773"/>
                    <a:pt x="18357" y="39773"/>
                  </a:cubicBezTo>
                  <a:cubicBezTo>
                    <a:pt x="6119" y="39773"/>
                    <a:pt x="0" y="30595"/>
                    <a:pt x="0" y="18357"/>
                  </a:cubicBezTo>
                  <a:cubicBezTo>
                    <a:pt x="0" y="6119"/>
                    <a:pt x="9179" y="0"/>
                    <a:pt x="21416" y="0"/>
                  </a:cubicBezTo>
                  <a:cubicBezTo>
                    <a:pt x="30595" y="3059"/>
                    <a:pt x="39773" y="12238"/>
                    <a:pt x="39773" y="2141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7" name="任意多边形: 形状 926">
              <a:extLst>
                <a:ext uri="{FF2B5EF4-FFF2-40B4-BE49-F238E27FC236}">
                  <a16:creationId xmlns:a16="http://schemas.microsoft.com/office/drawing/2014/main" id="{B235CBA0-8991-4C0A-B2B1-52BA15A42A2B}"/>
                </a:ext>
              </a:extLst>
            </p:cNvPr>
            <p:cNvSpPr/>
            <p:nvPr/>
          </p:nvSpPr>
          <p:spPr>
            <a:xfrm>
              <a:off x="7740842" y="3344889"/>
              <a:ext cx="39773" cy="39773"/>
            </a:xfrm>
            <a:custGeom>
              <a:avLst/>
              <a:gdLst>
                <a:gd name="connsiteX0" fmla="*/ 39773 w 39773"/>
                <a:gd name="connsiteY0" fmla="*/ 21416 h 39773"/>
                <a:gd name="connsiteX1" fmla="*/ 18357 w 39773"/>
                <a:gd name="connsiteY1" fmla="*/ 39773 h 39773"/>
                <a:gd name="connsiteX2" fmla="*/ 0 w 39773"/>
                <a:gd name="connsiteY2" fmla="*/ 18357 h 39773"/>
                <a:gd name="connsiteX3" fmla="*/ 21416 w 39773"/>
                <a:gd name="connsiteY3" fmla="*/ 0 h 39773"/>
                <a:gd name="connsiteX4" fmla="*/ 39773 w 39773"/>
                <a:gd name="connsiteY4" fmla="*/ 21416 h 39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773" h="39773">
                  <a:moveTo>
                    <a:pt x="39773" y="21416"/>
                  </a:moveTo>
                  <a:cubicBezTo>
                    <a:pt x="39773" y="33654"/>
                    <a:pt x="30595" y="39773"/>
                    <a:pt x="18357" y="39773"/>
                  </a:cubicBezTo>
                  <a:cubicBezTo>
                    <a:pt x="6119" y="39773"/>
                    <a:pt x="0" y="30595"/>
                    <a:pt x="0" y="18357"/>
                  </a:cubicBezTo>
                  <a:cubicBezTo>
                    <a:pt x="0" y="6119"/>
                    <a:pt x="9179" y="0"/>
                    <a:pt x="21416" y="0"/>
                  </a:cubicBezTo>
                  <a:cubicBezTo>
                    <a:pt x="33655" y="0"/>
                    <a:pt x="39773" y="9178"/>
                    <a:pt x="39773" y="2141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8" name="任意多边形: 形状 927">
              <a:extLst>
                <a:ext uri="{FF2B5EF4-FFF2-40B4-BE49-F238E27FC236}">
                  <a16:creationId xmlns:a16="http://schemas.microsoft.com/office/drawing/2014/main" id="{DA757232-4EC2-4094-BC1B-73D1ED0EBD80}"/>
                </a:ext>
              </a:extLst>
            </p:cNvPr>
            <p:cNvSpPr/>
            <p:nvPr/>
          </p:nvSpPr>
          <p:spPr>
            <a:xfrm>
              <a:off x="7517499" y="3312554"/>
              <a:ext cx="88725" cy="38454"/>
            </a:xfrm>
            <a:custGeom>
              <a:avLst/>
              <a:gdLst>
                <a:gd name="connsiteX0" fmla="*/ 9179 w 88725"/>
                <a:gd name="connsiteY0" fmla="*/ 38455 h 38454"/>
                <a:gd name="connsiteX1" fmla="*/ 3060 w 88725"/>
                <a:gd name="connsiteY1" fmla="*/ 38455 h 38454"/>
                <a:gd name="connsiteX2" fmla="*/ 0 w 88725"/>
                <a:gd name="connsiteY2" fmla="*/ 26217 h 38454"/>
                <a:gd name="connsiteX3" fmla="*/ 82606 w 88725"/>
                <a:gd name="connsiteY3" fmla="*/ 4800 h 38454"/>
                <a:gd name="connsiteX4" fmla="*/ 88725 w 88725"/>
                <a:gd name="connsiteY4" fmla="*/ 13979 h 38454"/>
                <a:gd name="connsiteX5" fmla="*/ 79547 w 88725"/>
                <a:gd name="connsiteY5" fmla="*/ 20098 h 38454"/>
                <a:gd name="connsiteX6" fmla="*/ 15297 w 88725"/>
                <a:gd name="connsiteY6" fmla="*/ 35395 h 38454"/>
                <a:gd name="connsiteX7" fmla="*/ 9179 w 88725"/>
                <a:gd name="connsiteY7" fmla="*/ 38455 h 38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725" h="38454">
                  <a:moveTo>
                    <a:pt x="9179" y="38455"/>
                  </a:moveTo>
                  <a:cubicBezTo>
                    <a:pt x="6119" y="38455"/>
                    <a:pt x="6119" y="38455"/>
                    <a:pt x="3060" y="38455"/>
                  </a:cubicBezTo>
                  <a:cubicBezTo>
                    <a:pt x="0" y="35395"/>
                    <a:pt x="0" y="32336"/>
                    <a:pt x="0" y="26217"/>
                  </a:cubicBezTo>
                  <a:cubicBezTo>
                    <a:pt x="24476" y="-7438"/>
                    <a:pt x="64249" y="-1319"/>
                    <a:pt x="82606" y="4800"/>
                  </a:cubicBezTo>
                  <a:cubicBezTo>
                    <a:pt x="85666" y="4800"/>
                    <a:pt x="88725" y="10919"/>
                    <a:pt x="88725" y="13979"/>
                  </a:cubicBezTo>
                  <a:cubicBezTo>
                    <a:pt x="88725" y="17038"/>
                    <a:pt x="82606" y="20098"/>
                    <a:pt x="79547" y="20098"/>
                  </a:cubicBezTo>
                  <a:cubicBezTo>
                    <a:pt x="76487" y="20098"/>
                    <a:pt x="36714" y="4800"/>
                    <a:pt x="15297" y="35395"/>
                  </a:cubicBezTo>
                  <a:cubicBezTo>
                    <a:pt x="15297" y="35395"/>
                    <a:pt x="12238" y="38455"/>
                    <a:pt x="9179" y="38455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9" name="任意多边形: 形状 928">
              <a:extLst>
                <a:ext uri="{FF2B5EF4-FFF2-40B4-BE49-F238E27FC236}">
                  <a16:creationId xmlns:a16="http://schemas.microsoft.com/office/drawing/2014/main" id="{782EA95F-CE82-494F-94FB-3BF77F459F2A}"/>
                </a:ext>
              </a:extLst>
            </p:cNvPr>
            <p:cNvSpPr/>
            <p:nvPr/>
          </p:nvSpPr>
          <p:spPr>
            <a:xfrm>
              <a:off x="7707953" y="3288480"/>
              <a:ext cx="90254" cy="31933"/>
            </a:xfrm>
            <a:custGeom>
              <a:avLst/>
              <a:gdLst>
                <a:gd name="connsiteX0" fmla="*/ 8414 w 90254"/>
                <a:gd name="connsiteY0" fmla="*/ 31934 h 31933"/>
                <a:gd name="connsiteX1" fmla="*/ 2295 w 90254"/>
                <a:gd name="connsiteY1" fmla="*/ 28874 h 31933"/>
                <a:gd name="connsiteX2" fmla="*/ 2295 w 90254"/>
                <a:gd name="connsiteY2" fmla="*/ 16636 h 31933"/>
                <a:gd name="connsiteX3" fmla="*/ 87961 w 90254"/>
                <a:gd name="connsiteY3" fmla="*/ 13577 h 31933"/>
                <a:gd name="connsiteX4" fmla="*/ 87961 w 90254"/>
                <a:gd name="connsiteY4" fmla="*/ 25815 h 31933"/>
                <a:gd name="connsiteX5" fmla="*/ 75722 w 90254"/>
                <a:gd name="connsiteY5" fmla="*/ 25815 h 31933"/>
                <a:gd name="connsiteX6" fmla="*/ 8414 w 90254"/>
                <a:gd name="connsiteY6" fmla="*/ 28874 h 31933"/>
                <a:gd name="connsiteX7" fmla="*/ 8414 w 90254"/>
                <a:gd name="connsiteY7" fmla="*/ 31934 h 31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254" h="31933">
                  <a:moveTo>
                    <a:pt x="8414" y="31934"/>
                  </a:moveTo>
                  <a:cubicBezTo>
                    <a:pt x="5354" y="31934"/>
                    <a:pt x="5354" y="31934"/>
                    <a:pt x="2295" y="28874"/>
                  </a:cubicBezTo>
                  <a:cubicBezTo>
                    <a:pt x="-765" y="25815"/>
                    <a:pt x="-765" y="19696"/>
                    <a:pt x="2295" y="16636"/>
                  </a:cubicBezTo>
                  <a:cubicBezTo>
                    <a:pt x="35949" y="-10899"/>
                    <a:pt x="75722" y="1339"/>
                    <a:pt x="87961" y="13577"/>
                  </a:cubicBezTo>
                  <a:cubicBezTo>
                    <a:pt x="91020" y="16636"/>
                    <a:pt x="91020" y="22755"/>
                    <a:pt x="87961" y="25815"/>
                  </a:cubicBezTo>
                  <a:cubicBezTo>
                    <a:pt x="84901" y="28874"/>
                    <a:pt x="78782" y="28874"/>
                    <a:pt x="75722" y="25815"/>
                  </a:cubicBezTo>
                  <a:cubicBezTo>
                    <a:pt x="75722" y="25815"/>
                    <a:pt x="42068" y="-1721"/>
                    <a:pt x="8414" y="28874"/>
                  </a:cubicBezTo>
                  <a:cubicBezTo>
                    <a:pt x="11473" y="31934"/>
                    <a:pt x="8414" y="31934"/>
                    <a:pt x="8414" y="31934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0" name="任意多边形: 形状 929">
              <a:extLst>
                <a:ext uri="{FF2B5EF4-FFF2-40B4-BE49-F238E27FC236}">
                  <a16:creationId xmlns:a16="http://schemas.microsoft.com/office/drawing/2014/main" id="{203097AE-6290-4306-A5B3-110F23343B93}"/>
                </a:ext>
              </a:extLst>
            </p:cNvPr>
            <p:cNvSpPr/>
            <p:nvPr/>
          </p:nvSpPr>
          <p:spPr>
            <a:xfrm>
              <a:off x="7460066" y="3069535"/>
              <a:ext cx="252254" cy="287591"/>
            </a:xfrm>
            <a:custGeom>
              <a:avLst/>
              <a:gdLst>
                <a:gd name="connsiteX0" fmla="*/ 244063 w 252254"/>
                <a:gd name="connsiteY0" fmla="*/ 0 h 287591"/>
                <a:gd name="connsiteX1" fmla="*/ 225706 w 252254"/>
                <a:gd name="connsiteY1" fmla="*/ 131558 h 287591"/>
                <a:gd name="connsiteX2" fmla="*/ 5422 w 252254"/>
                <a:gd name="connsiteY2" fmla="*/ 287592 h 287591"/>
                <a:gd name="connsiteX3" fmla="*/ 244063 w 252254"/>
                <a:gd name="connsiteY3" fmla="*/ 0 h 287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254" h="287591">
                  <a:moveTo>
                    <a:pt x="244063" y="0"/>
                  </a:moveTo>
                  <a:cubicBezTo>
                    <a:pt x="244063" y="0"/>
                    <a:pt x="271598" y="85666"/>
                    <a:pt x="225706" y="131558"/>
                  </a:cubicBezTo>
                  <a:cubicBezTo>
                    <a:pt x="225706" y="131558"/>
                    <a:pt x="20720" y="201926"/>
                    <a:pt x="5422" y="287592"/>
                  </a:cubicBezTo>
                  <a:cubicBezTo>
                    <a:pt x="2363" y="287592"/>
                    <a:pt x="-49649" y="3059"/>
                    <a:pt x="244063" y="0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1" name="任意多边形: 形状 930">
              <a:extLst>
                <a:ext uri="{FF2B5EF4-FFF2-40B4-BE49-F238E27FC236}">
                  <a16:creationId xmlns:a16="http://schemas.microsoft.com/office/drawing/2014/main" id="{3D7A3CA7-669D-4806-9ED0-0C847A2375D7}"/>
                </a:ext>
              </a:extLst>
            </p:cNvPr>
            <p:cNvSpPr/>
            <p:nvPr/>
          </p:nvSpPr>
          <p:spPr>
            <a:xfrm>
              <a:off x="7685771" y="3072457"/>
              <a:ext cx="244759" cy="289159"/>
            </a:xfrm>
            <a:custGeom>
              <a:avLst/>
              <a:gdLst>
                <a:gd name="connsiteX0" fmla="*/ 0 w 244759"/>
                <a:gd name="connsiteY0" fmla="*/ 128637 h 289159"/>
                <a:gd name="connsiteX1" fmla="*/ 146856 w 244759"/>
                <a:gd name="connsiteY1" fmla="*/ 165351 h 289159"/>
                <a:gd name="connsiteX2" fmla="*/ 220283 w 244759"/>
                <a:gd name="connsiteY2" fmla="*/ 278552 h 289159"/>
                <a:gd name="connsiteX3" fmla="*/ 244759 w 244759"/>
                <a:gd name="connsiteY3" fmla="*/ 272433 h 289159"/>
                <a:gd name="connsiteX4" fmla="*/ 18357 w 244759"/>
                <a:gd name="connsiteY4" fmla="*/ 138 h 289159"/>
                <a:gd name="connsiteX5" fmla="*/ 0 w 244759"/>
                <a:gd name="connsiteY5" fmla="*/ 128637 h 289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4759" h="289159">
                  <a:moveTo>
                    <a:pt x="0" y="128637"/>
                  </a:moveTo>
                  <a:cubicBezTo>
                    <a:pt x="0" y="128637"/>
                    <a:pt x="94844" y="165351"/>
                    <a:pt x="146856" y="165351"/>
                  </a:cubicBezTo>
                  <a:cubicBezTo>
                    <a:pt x="198867" y="165351"/>
                    <a:pt x="220283" y="278552"/>
                    <a:pt x="220283" y="278552"/>
                  </a:cubicBezTo>
                  <a:cubicBezTo>
                    <a:pt x="220283" y="278552"/>
                    <a:pt x="244759" y="306087"/>
                    <a:pt x="244759" y="272433"/>
                  </a:cubicBezTo>
                  <a:cubicBezTo>
                    <a:pt x="241700" y="192886"/>
                    <a:pt x="217224" y="-5981"/>
                    <a:pt x="18357" y="138"/>
                  </a:cubicBezTo>
                  <a:cubicBezTo>
                    <a:pt x="18357" y="-2921"/>
                    <a:pt x="21416" y="119458"/>
                    <a:pt x="0" y="128637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2" name="任意多边形: 形状 931">
              <a:extLst>
                <a:ext uri="{FF2B5EF4-FFF2-40B4-BE49-F238E27FC236}">
                  <a16:creationId xmlns:a16="http://schemas.microsoft.com/office/drawing/2014/main" id="{5A5DC48F-2766-48E4-9FDE-3E919A0426F7}"/>
                </a:ext>
              </a:extLst>
            </p:cNvPr>
            <p:cNvSpPr/>
            <p:nvPr/>
          </p:nvSpPr>
          <p:spPr>
            <a:xfrm>
              <a:off x="7875369" y="3331724"/>
              <a:ext cx="75390" cy="116135"/>
            </a:xfrm>
            <a:custGeom>
              <a:avLst/>
              <a:gdLst>
                <a:gd name="connsiteX0" fmla="*/ 6210 w 75390"/>
                <a:gd name="connsiteY0" fmla="*/ 22344 h 116135"/>
                <a:gd name="connsiteX1" fmla="*/ 64340 w 75390"/>
                <a:gd name="connsiteY1" fmla="*/ 3987 h 116135"/>
                <a:gd name="connsiteX2" fmla="*/ 21507 w 75390"/>
                <a:gd name="connsiteY2" fmla="*/ 114129 h 116135"/>
                <a:gd name="connsiteX3" fmla="*/ 6210 w 75390"/>
                <a:gd name="connsiteY3" fmla="*/ 22344 h 116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390" h="116135">
                  <a:moveTo>
                    <a:pt x="6210" y="22344"/>
                  </a:moveTo>
                  <a:cubicBezTo>
                    <a:pt x="6210" y="22344"/>
                    <a:pt x="36805" y="-11310"/>
                    <a:pt x="64340" y="3987"/>
                  </a:cubicBezTo>
                  <a:cubicBezTo>
                    <a:pt x="91875" y="19284"/>
                    <a:pt x="64340" y="132485"/>
                    <a:pt x="21507" y="114129"/>
                  </a:cubicBezTo>
                  <a:cubicBezTo>
                    <a:pt x="-15207" y="98831"/>
                    <a:pt x="6210" y="22344"/>
                    <a:pt x="6210" y="22344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3" name="任意多边形: 形状 932">
              <a:extLst>
                <a:ext uri="{FF2B5EF4-FFF2-40B4-BE49-F238E27FC236}">
                  <a16:creationId xmlns:a16="http://schemas.microsoft.com/office/drawing/2014/main" id="{78DD434D-8686-4BA7-835D-1170CE148487}"/>
                </a:ext>
              </a:extLst>
            </p:cNvPr>
            <p:cNvSpPr/>
            <p:nvPr/>
          </p:nvSpPr>
          <p:spPr>
            <a:xfrm>
              <a:off x="7679653" y="3063416"/>
              <a:ext cx="227669" cy="281473"/>
            </a:xfrm>
            <a:custGeom>
              <a:avLst/>
              <a:gdLst>
                <a:gd name="connsiteX0" fmla="*/ 223343 w 227669"/>
                <a:gd name="connsiteY0" fmla="*/ 281473 h 281473"/>
                <a:gd name="connsiteX1" fmla="*/ 217224 w 227669"/>
                <a:gd name="connsiteY1" fmla="*/ 275354 h 281473"/>
                <a:gd name="connsiteX2" fmla="*/ 152975 w 227669"/>
                <a:gd name="connsiteY2" fmla="*/ 180510 h 281473"/>
                <a:gd name="connsiteX3" fmla="*/ 3060 w 227669"/>
                <a:gd name="connsiteY3" fmla="*/ 140737 h 281473"/>
                <a:gd name="connsiteX4" fmla="*/ 0 w 227669"/>
                <a:gd name="connsiteY4" fmla="*/ 137677 h 281473"/>
                <a:gd name="connsiteX5" fmla="*/ 0 w 227669"/>
                <a:gd name="connsiteY5" fmla="*/ 131558 h 281473"/>
                <a:gd name="connsiteX6" fmla="*/ 15297 w 227669"/>
                <a:gd name="connsiteY6" fmla="*/ 107082 h 281473"/>
                <a:gd name="connsiteX7" fmla="*/ 21416 w 227669"/>
                <a:gd name="connsiteY7" fmla="*/ 64249 h 281473"/>
                <a:gd name="connsiteX8" fmla="*/ 21416 w 227669"/>
                <a:gd name="connsiteY8" fmla="*/ 36714 h 281473"/>
                <a:gd name="connsiteX9" fmla="*/ 21416 w 227669"/>
                <a:gd name="connsiteY9" fmla="*/ 6119 h 281473"/>
                <a:gd name="connsiteX10" fmla="*/ 27535 w 227669"/>
                <a:gd name="connsiteY10" fmla="*/ 0 h 281473"/>
                <a:gd name="connsiteX11" fmla="*/ 27535 w 227669"/>
                <a:gd name="connsiteY11" fmla="*/ 0 h 281473"/>
                <a:gd name="connsiteX12" fmla="*/ 33655 w 227669"/>
                <a:gd name="connsiteY12" fmla="*/ 6119 h 281473"/>
                <a:gd name="connsiteX13" fmla="*/ 33655 w 227669"/>
                <a:gd name="connsiteY13" fmla="*/ 36714 h 281473"/>
                <a:gd name="connsiteX14" fmla="*/ 33655 w 227669"/>
                <a:gd name="connsiteY14" fmla="*/ 64249 h 281473"/>
                <a:gd name="connsiteX15" fmla="*/ 27535 w 227669"/>
                <a:gd name="connsiteY15" fmla="*/ 110142 h 281473"/>
                <a:gd name="connsiteX16" fmla="*/ 15297 w 227669"/>
                <a:gd name="connsiteY16" fmla="*/ 131558 h 281473"/>
                <a:gd name="connsiteX17" fmla="*/ 152975 w 227669"/>
                <a:gd name="connsiteY17" fmla="*/ 168272 h 281473"/>
                <a:gd name="connsiteX18" fmla="*/ 226402 w 227669"/>
                <a:gd name="connsiteY18" fmla="*/ 275354 h 281473"/>
                <a:gd name="connsiteX19" fmla="*/ 223343 w 227669"/>
                <a:gd name="connsiteY19" fmla="*/ 281473 h 281473"/>
                <a:gd name="connsiteX20" fmla="*/ 223343 w 227669"/>
                <a:gd name="connsiteY20" fmla="*/ 281473 h 281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7669" h="281473">
                  <a:moveTo>
                    <a:pt x="223343" y="281473"/>
                  </a:moveTo>
                  <a:cubicBezTo>
                    <a:pt x="220283" y="281473"/>
                    <a:pt x="217224" y="278414"/>
                    <a:pt x="217224" y="275354"/>
                  </a:cubicBezTo>
                  <a:cubicBezTo>
                    <a:pt x="217224" y="275354"/>
                    <a:pt x="204986" y="180510"/>
                    <a:pt x="152975" y="180510"/>
                  </a:cubicBezTo>
                  <a:cubicBezTo>
                    <a:pt x="82606" y="177450"/>
                    <a:pt x="6119" y="143796"/>
                    <a:pt x="3060" y="140737"/>
                  </a:cubicBezTo>
                  <a:cubicBezTo>
                    <a:pt x="0" y="140737"/>
                    <a:pt x="0" y="137677"/>
                    <a:pt x="0" y="137677"/>
                  </a:cubicBezTo>
                  <a:cubicBezTo>
                    <a:pt x="0" y="134618"/>
                    <a:pt x="0" y="134618"/>
                    <a:pt x="0" y="131558"/>
                  </a:cubicBezTo>
                  <a:cubicBezTo>
                    <a:pt x="6119" y="122380"/>
                    <a:pt x="12238" y="116261"/>
                    <a:pt x="15297" y="107082"/>
                  </a:cubicBezTo>
                  <a:cubicBezTo>
                    <a:pt x="21416" y="94844"/>
                    <a:pt x="21416" y="79547"/>
                    <a:pt x="21416" y="64249"/>
                  </a:cubicBezTo>
                  <a:cubicBezTo>
                    <a:pt x="21416" y="58130"/>
                    <a:pt x="21416" y="45892"/>
                    <a:pt x="21416" y="36714"/>
                  </a:cubicBezTo>
                  <a:cubicBezTo>
                    <a:pt x="21416" y="24476"/>
                    <a:pt x="21416" y="15297"/>
                    <a:pt x="21416" y="6119"/>
                  </a:cubicBezTo>
                  <a:cubicBezTo>
                    <a:pt x="21416" y="3059"/>
                    <a:pt x="24476" y="0"/>
                    <a:pt x="27535" y="0"/>
                  </a:cubicBezTo>
                  <a:cubicBezTo>
                    <a:pt x="27535" y="0"/>
                    <a:pt x="27535" y="0"/>
                    <a:pt x="27535" y="0"/>
                  </a:cubicBezTo>
                  <a:cubicBezTo>
                    <a:pt x="30595" y="0"/>
                    <a:pt x="33655" y="3059"/>
                    <a:pt x="33655" y="6119"/>
                  </a:cubicBezTo>
                  <a:cubicBezTo>
                    <a:pt x="33655" y="12238"/>
                    <a:pt x="33655" y="24476"/>
                    <a:pt x="33655" y="36714"/>
                  </a:cubicBezTo>
                  <a:cubicBezTo>
                    <a:pt x="33655" y="48952"/>
                    <a:pt x="33655" y="58130"/>
                    <a:pt x="33655" y="64249"/>
                  </a:cubicBezTo>
                  <a:cubicBezTo>
                    <a:pt x="33655" y="79547"/>
                    <a:pt x="33655" y="94844"/>
                    <a:pt x="27535" y="110142"/>
                  </a:cubicBezTo>
                  <a:cubicBezTo>
                    <a:pt x="24476" y="119320"/>
                    <a:pt x="21416" y="125439"/>
                    <a:pt x="15297" y="131558"/>
                  </a:cubicBezTo>
                  <a:cubicBezTo>
                    <a:pt x="33655" y="140737"/>
                    <a:pt x="97904" y="165213"/>
                    <a:pt x="152975" y="168272"/>
                  </a:cubicBezTo>
                  <a:cubicBezTo>
                    <a:pt x="214164" y="168272"/>
                    <a:pt x="226402" y="269235"/>
                    <a:pt x="226402" y="275354"/>
                  </a:cubicBezTo>
                  <a:cubicBezTo>
                    <a:pt x="229462" y="275354"/>
                    <a:pt x="226402" y="278414"/>
                    <a:pt x="223343" y="281473"/>
                  </a:cubicBezTo>
                  <a:cubicBezTo>
                    <a:pt x="223343" y="281473"/>
                    <a:pt x="223343" y="281473"/>
                    <a:pt x="223343" y="281473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4" name="任意多边形: 形状 933">
              <a:extLst>
                <a:ext uri="{FF2B5EF4-FFF2-40B4-BE49-F238E27FC236}">
                  <a16:creationId xmlns:a16="http://schemas.microsoft.com/office/drawing/2014/main" id="{D6D9C656-EBAE-40F3-BFD5-234655E99D3D}"/>
                </a:ext>
              </a:extLst>
            </p:cNvPr>
            <p:cNvSpPr/>
            <p:nvPr/>
          </p:nvSpPr>
          <p:spPr>
            <a:xfrm>
              <a:off x="7387631" y="3219450"/>
              <a:ext cx="240010" cy="318187"/>
            </a:xfrm>
            <a:custGeom>
              <a:avLst/>
              <a:gdLst>
                <a:gd name="connsiteX0" fmla="*/ 7489 w 240010"/>
                <a:gd name="connsiteY0" fmla="*/ 318187 h 318187"/>
                <a:gd name="connsiteX1" fmla="*/ 1370 w 240010"/>
                <a:gd name="connsiteY1" fmla="*/ 312068 h 318187"/>
                <a:gd name="connsiteX2" fmla="*/ 28906 w 240010"/>
                <a:gd name="connsiteY2" fmla="*/ 244759 h 318187"/>
                <a:gd name="connsiteX3" fmla="*/ 68679 w 240010"/>
                <a:gd name="connsiteY3" fmla="*/ 152975 h 318187"/>
                <a:gd name="connsiteX4" fmla="*/ 233892 w 240010"/>
                <a:gd name="connsiteY4" fmla="*/ 0 h 318187"/>
                <a:gd name="connsiteX5" fmla="*/ 240011 w 240010"/>
                <a:gd name="connsiteY5" fmla="*/ 3060 h 318187"/>
                <a:gd name="connsiteX6" fmla="*/ 236951 w 240010"/>
                <a:gd name="connsiteY6" fmla="*/ 9179 h 318187"/>
                <a:gd name="connsiteX7" fmla="*/ 80917 w 240010"/>
                <a:gd name="connsiteY7" fmla="*/ 149915 h 318187"/>
                <a:gd name="connsiteX8" fmla="*/ 38084 w 240010"/>
                <a:gd name="connsiteY8" fmla="*/ 250878 h 318187"/>
                <a:gd name="connsiteX9" fmla="*/ 13608 w 240010"/>
                <a:gd name="connsiteY9" fmla="*/ 309009 h 318187"/>
                <a:gd name="connsiteX10" fmla="*/ 7489 w 240010"/>
                <a:gd name="connsiteY10" fmla="*/ 318187 h 318187"/>
                <a:gd name="connsiteX11" fmla="*/ 7489 w 240010"/>
                <a:gd name="connsiteY11" fmla="*/ 318187 h 31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0010" h="318187">
                  <a:moveTo>
                    <a:pt x="7489" y="318187"/>
                  </a:moveTo>
                  <a:cubicBezTo>
                    <a:pt x="4430" y="318187"/>
                    <a:pt x="1370" y="315128"/>
                    <a:pt x="1370" y="312068"/>
                  </a:cubicBezTo>
                  <a:cubicBezTo>
                    <a:pt x="-4749" y="278414"/>
                    <a:pt x="10549" y="260057"/>
                    <a:pt x="28906" y="244759"/>
                  </a:cubicBezTo>
                  <a:cubicBezTo>
                    <a:pt x="47263" y="226402"/>
                    <a:pt x="71739" y="204986"/>
                    <a:pt x="68679" y="152975"/>
                  </a:cubicBezTo>
                  <a:cubicBezTo>
                    <a:pt x="62560" y="45892"/>
                    <a:pt x="227772" y="0"/>
                    <a:pt x="233892" y="0"/>
                  </a:cubicBezTo>
                  <a:cubicBezTo>
                    <a:pt x="236951" y="0"/>
                    <a:pt x="240011" y="0"/>
                    <a:pt x="240011" y="3060"/>
                  </a:cubicBezTo>
                  <a:cubicBezTo>
                    <a:pt x="240011" y="6119"/>
                    <a:pt x="240011" y="9179"/>
                    <a:pt x="236951" y="9179"/>
                  </a:cubicBezTo>
                  <a:cubicBezTo>
                    <a:pt x="233892" y="9179"/>
                    <a:pt x="74798" y="55071"/>
                    <a:pt x="80917" y="149915"/>
                  </a:cubicBezTo>
                  <a:cubicBezTo>
                    <a:pt x="83976" y="208045"/>
                    <a:pt x="59500" y="232521"/>
                    <a:pt x="38084" y="250878"/>
                  </a:cubicBezTo>
                  <a:cubicBezTo>
                    <a:pt x="19727" y="269235"/>
                    <a:pt x="7489" y="278414"/>
                    <a:pt x="13608" y="309009"/>
                  </a:cubicBezTo>
                  <a:cubicBezTo>
                    <a:pt x="13608" y="315128"/>
                    <a:pt x="13608" y="318187"/>
                    <a:pt x="7489" y="318187"/>
                  </a:cubicBezTo>
                  <a:cubicBezTo>
                    <a:pt x="7489" y="318187"/>
                    <a:pt x="7489" y="318187"/>
                    <a:pt x="7489" y="318187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5" name="任意多边形: 形状 934">
              <a:extLst>
                <a:ext uri="{FF2B5EF4-FFF2-40B4-BE49-F238E27FC236}">
                  <a16:creationId xmlns:a16="http://schemas.microsoft.com/office/drawing/2014/main" id="{42313542-FE56-4AF7-953A-7CD645DA55D0}"/>
                </a:ext>
              </a:extLst>
            </p:cNvPr>
            <p:cNvSpPr/>
            <p:nvPr/>
          </p:nvSpPr>
          <p:spPr>
            <a:xfrm>
              <a:off x="7284127" y="3642425"/>
              <a:ext cx="110227" cy="130793"/>
            </a:xfrm>
            <a:custGeom>
              <a:avLst/>
              <a:gdLst>
                <a:gd name="connsiteX0" fmla="*/ 10029 w 110227"/>
                <a:gd name="connsiteY0" fmla="*/ 130793 h 130793"/>
                <a:gd name="connsiteX1" fmla="*/ 3910 w 110227"/>
                <a:gd name="connsiteY1" fmla="*/ 127734 h 130793"/>
                <a:gd name="connsiteX2" fmla="*/ 28386 w 110227"/>
                <a:gd name="connsiteY2" fmla="*/ 63484 h 130793"/>
                <a:gd name="connsiteX3" fmla="*/ 98755 w 110227"/>
                <a:gd name="connsiteY3" fmla="*/ 2295 h 130793"/>
                <a:gd name="connsiteX4" fmla="*/ 107933 w 110227"/>
                <a:gd name="connsiteY4" fmla="*/ 2295 h 130793"/>
                <a:gd name="connsiteX5" fmla="*/ 107933 w 110227"/>
                <a:gd name="connsiteY5" fmla="*/ 11473 h 130793"/>
                <a:gd name="connsiteX6" fmla="*/ 34505 w 110227"/>
                <a:gd name="connsiteY6" fmla="*/ 75722 h 130793"/>
                <a:gd name="connsiteX7" fmla="*/ 16148 w 110227"/>
                <a:gd name="connsiteY7" fmla="*/ 124674 h 130793"/>
                <a:gd name="connsiteX8" fmla="*/ 10029 w 110227"/>
                <a:gd name="connsiteY8" fmla="*/ 130793 h 130793"/>
                <a:gd name="connsiteX9" fmla="*/ 10029 w 110227"/>
                <a:gd name="connsiteY9" fmla="*/ 130793 h 13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227" h="130793">
                  <a:moveTo>
                    <a:pt x="10029" y="130793"/>
                  </a:moveTo>
                  <a:cubicBezTo>
                    <a:pt x="6970" y="130793"/>
                    <a:pt x="6970" y="130793"/>
                    <a:pt x="3910" y="127734"/>
                  </a:cubicBezTo>
                  <a:cubicBezTo>
                    <a:pt x="3910" y="127734"/>
                    <a:pt x="-14446" y="87960"/>
                    <a:pt x="28386" y="63484"/>
                  </a:cubicBezTo>
                  <a:cubicBezTo>
                    <a:pt x="65100" y="42068"/>
                    <a:pt x="98755" y="2295"/>
                    <a:pt x="98755" y="2295"/>
                  </a:cubicBezTo>
                  <a:cubicBezTo>
                    <a:pt x="101814" y="-765"/>
                    <a:pt x="104874" y="-765"/>
                    <a:pt x="107933" y="2295"/>
                  </a:cubicBezTo>
                  <a:cubicBezTo>
                    <a:pt x="110992" y="5354"/>
                    <a:pt x="110992" y="8414"/>
                    <a:pt x="107933" y="11473"/>
                  </a:cubicBezTo>
                  <a:cubicBezTo>
                    <a:pt x="107933" y="14533"/>
                    <a:pt x="74279" y="51246"/>
                    <a:pt x="34505" y="75722"/>
                  </a:cubicBezTo>
                  <a:cubicBezTo>
                    <a:pt x="851" y="94079"/>
                    <a:pt x="16148" y="124674"/>
                    <a:pt x="16148" y="124674"/>
                  </a:cubicBezTo>
                  <a:cubicBezTo>
                    <a:pt x="16148" y="124674"/>
                    <a:pt x="16148" y="127734"/>
                    <a:pt x="10029" y="130793"/>
                  </a:cubicBezTo>
                  <a:cubicBezTo>
                    <a:pt x="10029" y="130793"/>
                    <a:pt x="10029" y="130793"/>
                    <a:pt x="10029" y="130793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6" name="任意多边形: 形状 935">
              <a:extLst>
                <a:ext uri="{FF2B5EF4-FFF2-40B4-BE49-F238E27FC236}">
                  <a16:creationId xmlns:a16="http://schemas.microsoft.com/office/drawing/2014/main" id="{D19C8499-9E6B-4F35-84DD-F3A36144ED14}"/>
                </a:ext>
              </a:extLst>
            </p:cNvPr>
            <p:cNvSpPr/>
            <p:nvPr/>
          </p:nvSpPr>
          <p:spPr>
            <a:xfrm>
              <a:off x="7569511" y="3552935"/>
              <a:ext cx="318187" cy="257952"/>
            </a:xfrm>
            <a:custGeom>
              <a:avLst/>
              <a:gdLst>
                <a:gd name="connsiteX0" fmla="*/ 58131 w 318187"/>
                <a:gd name="connsiteY0" fmla="*/ 70368 h 257952"/>
                <a:gd name="connsiteX1" fmla="*/ 0 w 318187"/>
                <a:gd name="connsiteY1" fmla="*/ 220283 h 257952"/>
                <a:gd name="connsiteX2" fmla="*/ 318187 w 318187"/>
                <a:gd name="connsiteY2" fmla="*/ 186629 h 257952"/>
                <a:gd name="connsiteX3" fmla="*/ 260057 w 318187"/>
                <a:gd name="connsiteY3" fmla="*/ 0 h 257952"/>
                <a:gd name="connsiteX4" fmla="*/ 58131 w 318187"/>
                <a:gd name="connsiteY4" fmla="*/ 70368 h 25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8187" h="257952">
                  <a:moveTo>
                    <a:pt x="58131" y="70368"/>
                  </a:moveTo>
                  <a:cubicBezTo>
                    <a:pt x="58131" y="70368"/>
                    <a:pt x="70368" y="183569"/>
                    <a:pt x="0" y="220283"/>
                  </a:cubicBezTo>
                  <a:cubicBezTo>
                    <a:pt x="0" y="220283"/>
                    <a:pt x="183569" y="324306"/>
                    <a:pt x="318187" y="186629"/>
                  </a:cubicBezTo>
                  <a:cubicBezTo>
                    <a:pt x="260057" y="146856"/>
                    <a:pt x="260057" y="64249"/>
                    <a:pt x="260057" y="0"/>
                  </a:cubicBezTo>
                  <a:cubicBezTo>
                    <a:pt x="260057" y="0"/>
                    <a:pt x="113202" y="73428"/>
                    <a:pt x="58131" y="70368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7" name="任意多边形: 形状 936">
              <a:extLst>
                <a:ext uri="{FF2B5EF4-FFF2-40B4-BE49-F238E27FC236}">
                  <a16:creationId xmlns:a16="http://schemas.microsoft.com/office/drawing/2014/main" id="{C65AD085-4853-420B-B5F7-C8395ED266E5}"/>
                </a:ext>
              </a:extLst>
            </p:cNvPr>
            <p:cNvSpPr/>
            <p:nvPr/>
          </p:nvSpPr>
          <p:spPr>
            <a:xfrm>
              <a:off x="7622287" y="3581235"/>
              <a:ext cx="218753" cy="100198"/>
            </a:xfrm>
            <a:custGeom>
              <a:avLst/>
              <a:gdLst>
                <a:gd name="connsiteX0" fmla="*/ 63484 w 218753"/>
                <a:gd name="connsiteY0" fmla="*/ 100198 h 100198"/>
                <a:gd name="connsiteX1" fmla="*/ 2294 w 218753"/>
                <a:gd name="connsiteY1" fmla="*/ 78782 h 100198"/>
                <a:gd name="connsiteX2" fmla="*/ 2294 w 218753"/>
                <a:gd name="connsiteY2" fmla="*/ 69603 h 100198"/>
                <a:gd name="connsiteX3" fmla="*/ 11473 w 218753"/>
                <a:gd name="connsiteY3" fmla="*/ 69603 h 100198"/>
                <a:gd name="connsiteX4" fmla="*/ 84901 w 218753"/>
                <a:gd name="connsiteY4" fmla="*/ 84901 h 100198"/>
                <a:gd name="connsiteX5" fmla="*/ 207280 w 218753"/>
                <a:gd name="connsiteY5" fmla="*/ 2295 h 100198"/>
                <a:gd name="connsiteX6" fmla="*/ 216459 w 218753"/>
                <a:gd name="connsiteY6" fmla="*/ 2295 h 100198"/>
                <a:gd name="connsiteX7" fmla="*/ 216459 w 218753"/>
                <a:gd name="connsiteY7" fmla="*/ 11473 h 100198"/>
                <a:gd name="connsiteX8" fmla="*/ 87960 w 218753"/>
                <a:gd name="connsiteY8" fmla="*/ 97139 h 100198"/>
                <a:gd name="connsiteX9" fmla="*/ 63484 w 218753"/>
                <a:gd name="connsiteY9" fmla="*/ 100198 h 10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53" h="100198">
                  <a:moveTo>
                    <a:pt x="63484" y="100198"/>
                  </a:moveTo>
                  <a:cubicBezTo>
                    <a:pt x="29830" y="100198"/>
                    <a:pt x="2294" y="81841"/>
                    <a:pt x="2294" y="78782"/>
                  </a:cubicBezTo>
                  <a:cubicBezTo>
                    <a:pt x="-765" y="75722"/>
                    <a:pt x="-765" y="72663"/>
                    <a:pt x="2294" y="69603"/>
                  </a:cubicBezTo>
                  <a:cubicBezTo>
                    <a:pt x="5354" y="66544"/>
                    <a:pt x="8413" y="66544"/>
                    <a:pt x="11473" y="69603"/>
                  </a:cubicBezTo>
                  <a:cubicBezTo>
                    <a:pt x="11473" y="69603"/>
                    <a:pt x="48187" y="94079"/>
                    <a:pt x="84901" y="84901"/>
                  </a:cubicBezTo>
                  <a:cubicBezTo>
                    <a:pt x="124674" y="75722"/>
                    <a:pt x="207280" y="2295"/>
                    <a:pt x="207280" y="2295"/>
                  </a:cubicBezTo>
                  <a:cubicBezTo>
                    <a:pt x="210340" y="-765"/>
                    <a:pt x="213400" y="-765"/>
                    <a:pt x="216459" y="2295"/>
                  </a:cubicBezTo>
                  <a:cubicBezTo>
                    <a:pt x="219518" y="5354"/>
                    <a:pt x="219518" y="8414"/>
                    <a:pt x="216459" y="11473"/>
                  </a:cubicBezTo>
                  <a:cubicBezTo>
                    <a:pt x="213400" y="14533"/>
                    <a:pt x="127734" y="84901"/>
                    <a:pt x="87960" y="97139"/>
                  </a:cubicBezTo>
                  <a:cubicBezTo>
                    <a:pt x="75722" y="100198"/>
                    <a:pt x="69603" y="100198"/>
                    <a:pt x="63484" y="100198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8" name="任意多边形: 形状 937">
              <a:extLst>
                <a:ext uri="{FF2B5EF4-FFF2-40B4-BE49-F238E27FC236}">
                  <a16:creationId xmlns:a16="http://schemas.microsoft.com/office/drawing/2014/main" id="{D5E5EF73-28CB-4EE9-AA44-8FFCFAD3CE97}"/>
                </a:ext>
              </a:extLst>
            </p:cNvPr>
            <p:cNvSpPr/>
            <p:nvPr/>
          </p:nvSpPr>
          <p:spPr>
            <a:xfrm>
              <a:off x="7327811" y="4614578"/>
              <a:ext cx="778080" cy="239798"/>
            </a:xfrm>
            <a:custGeom>
              <a:avLst/>
              <a:gdLst>
                <a:gd name="connsiteX0" fmla="*/ 0 w 778080"/>
                <a:gd name="connsiteY0" fmla="*/ 192748 h 239798"/>
                <a:gd name="connsiteX1" fmla="*/ 76487 w 778080"/>
                <a:gd name="connsiteY1" fmla="*/ 12238 h 239798"/>
                <a:gd name="connsiteX2" fmla="*/ 691445 w 778080"/>
                <a:gd name="connsiteY2" fmla="*/ 0 h 239798"/>
                <a:gd name="connsiteX3" fmla="*/ 777110 w 778080"/>
                <a:gd name="connsiteY3" fmla="*/ 192748 h 239798"/>
                <a:gd name="connsiteX4" fmla="*/ 354901 w 778080"/>
                <a:gd name="connsiteY4" fmla="*/ 229462 h 239798"/>
                <a:gd name="connsiteX5" fmla="*/ 0 w 778080"/>
                <a:gd name="connsiteY5" fmla="*/ 192748 h 239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8080" h="239798">
                  <a:moveTo>
                    <a:pt x="0" y="192748"/>
                  </a:moveTo>
                  <a:cubicBezTo>
                    <a:pt x="0" y="192748"/>
                    <a:pt x="61190" y="67309"/>
                    <a:pt x="76487" y="12238"/>
                  </a:cubicBezTo>
                  <a:cubicBezTo>
                    <a:pt x="76487" y="12238"/>
                    <a:pt x="455864" y="45892"/>
                    <a:pt x="691445" y="0"/>
                  </a:cubicBezTo>
                  <a:cubicBezTo>
                    <a:pt x="691445" y="0"/>
                    <a:pt x="752635" y="119320"/>
                    <a:pt x="777110" y="192748"/>
                  </a:cubicBezTo>
                  <a:cubicBezTo>
                    <a:pt x="801586" y="269235"/>
                    <a:pt x="354901" y="229462"/>
                    <a:pt x="354901" y="229462"/>
                  </a:cubicBezTo>
                  <a:lnTo>
                    <a:pt x="0" y="192748"/>
                  </a:lnTo>
                  <a:close/>
                </a:path>
              </a:pathLst>
            </a:custGeom>
            <a:solidFill>
              <a:srgbClr val="7F95BC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9" name="任意多边形: 形状 938">
              <a:extLst>
                <a:ext uri="{FF2B5EF4-FFF2-40B4-BE49-F238E27FC236}">
                  <a16:creationId xmlns:a16="http://schemas.microsoft.com/office/drawing/2014/main" id="{80E29135-4733-497A-B6D1-6F40D5B8F9B4}"/>
                </a:ext>
              </a:extLst>
            </p:cNvPr>
            <p:cNvSpPr/>
            <p:nvPr/>
          </p:nvSpPr>
          <p:spPr>
            <a:xfrm>
              <a:off x="7328388" y="4768982"/>
              <a:ext cx="248006" cy="41745"/>
            </a:xfrm>
            <a:custGeom>
              <a:avLst/>
              <a:gdLst>
                <a:gd name="connsiteX0" fmla="*/ 241123 w 248006"/>
                <a:gd name="connsiteY0" fmla="*/ 4689 h 41745"/>
                <a:gd name="connsiteX1" fmla="*/ 5542 w 248006"/>
                <a:gd name="connsiteY1" fmla="*/ 23046 h 41745"/>
                <a:gd name="connsiteX2" fmla="*/ 8602 w 248006"/>
                <a:gd name="connsiteY2" fmla="*/ 41403 h 41745"/>
                <a:gd name="connsiteX3" fmla="*/ 241123 w 248006"/>
                <a:gd name="connsiteY3" fmla="*/ 26106 h 41745"/>
                <a:gd name="connsiteX4" fmla="*/ 241123 w 248006"/>
                <a:gd name="connsiteY4" fmla="*/ 4689 h 41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006" h="41745">
                  <a:moveTo>
                    <a:pt x="241123" y="4689"/>
                  </a:moveTo>
                  <a:cubicBezTo>
                    <a:pt x="164635" y="1630"/>
                    <a:pt x="78970" y="-10608"/>
                    <a:pt x="5542" y="23046"/>
                  </a:cubicBezTo>
                  <a:cubicBezTo>
                    <a:pt x="-3637" y="26106"/>
                    <a:pt x="-577" y="44462"/>
                    <a:pt x="8602" y="41403"/>
                  </a:cubicBezTo>
                  <a:cubicBezTo>
                    <a:pt x="78970" y="10808"/>
                    <a:pt x="167695" y="23046"/>
                    <a:pt x="241123" y="26106"/>
                  </a:cubicBezTo>
                  <a:cubicBezTo>
                    <a:pt x="250301" y="26106"/>
                    <a:pt x="250301" y="4689"/>
                    <a:pt x="241123" y="4689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40" name="图形 892">
              <a:extLst>
                <a:ext uri="{FF2B5EF4-FFF2-40B4-BE49-F238E27FC236}">
                  <a16:creationId xmlns:a16="http://schemas.microsoft.com/office/drawing/2014/main" id="{3BC22526-4280-4D80-8B97-C87957251B0A}"/>
                </a:ext>
              </a:extLst>
            </p:cNvPr>
            <p:cNvGrpSpPr/>
            <p:nvPr/>
          </p:nvGrpSpPr>
          <p:grpSpPr>
            <a:xfrm>
              <a:off x="5865375" y="3999620"/>
              <a:ext cx="3132918" cy="2661756"/>
              <a:chOff x="5865375" y="3999620"/>
              <a:chExt cx="3132918" cy="2661756"/>
            </a:xfrm>
          </p:grpSpPr>
          <p:grpSp>
            <p:nvGrpSpPr>
              <p:cNvPr id="941" name="图形 892">
                <a:extLst>
                  <a:ext uri="{FF2B5EF4-FFF2-40B4-BE49-F238E27FC236}">
                    <a16:creationId xmlns:a16="http://schemas.microsoft.com/office/drawing/2014/main" id="{3BC22526-4280-4D80-8B97-C87957251B0A}"/>
                  </a:ext>
                </a:extLst>
              </p:cNvPr>
              <p:cNvGrpSpPr/>
              <p:nvPr/>
            </p:nvGrpSpPr>
            <p:grpSpPr>
              <a:xfrm>
                <a:off x="5865375" y="4568685"/>
                <a:ext cx="3132918" cy="2092691"/>
                <a:chOff x="5865375" y="4568685"/>
                <a:chExt cx="3132918" cy="2092691"/>
              </a:xfrm>
            </p:grpSpPr>
            <p:grpSp>
              <p:nvGrpSpPr>
                <p:cNvPr id="942" name="图形 892">
                  <a:extLst>
                    <a:ext uri="{FF2B5EF4-FFF2-40B4-BE49-F238E27FC236}">
                      <a16:creationId xmlns:a16="http://schemas.microsoft.com/office/drawing/2014/main" id="{3BC22526-4280-4D80-8B97-C87957251B0A}"/>
                    </a:ext>
                  </a:extLst>
                </p:cNvPr>
                <p:cNvGrpSpPr/>
                <p:nvPr/>
              </p:nvGrpSpPr>
              <p:grpSpPr>
                <a:xfrm>
                  <a:off x="5865375" y="4669649"/>
                  <a:ext cx="3132918" cy="1991728"/>
                  <a:chOff x="5865375" y="4669649"/>
                  <a:chExt cx="3132918" cy="1991728"/>
                </a:xfrm>
                <a:solidFill>
                  <a:srgbClr val="38343B"/>
                </a:solidFill>
              </p:grpSpPr>
              <p:sp>
                <p:nvSpPr>
                  <p:cNvPr id="943" name="任意多边形: 形状 942">
                    <a:extLst>
                      <a:ext uri="{FF2B5EF4-FFF2-40B4-BE49-F238E27FC236}">
                        <a16:creationId xmlns:a16="http://schemas.microsoft.com/office/drawing/2014/main" id="{7E6D59AC-A8C1-4C1C-809F-99396AECDAA3}"/>
                      </a:ext>
                    </a:extLst>
                  </p:cNvPr>
                  <p:cNvSpPr/>
                  <p:nvPr/>
                </p:nvSpPr>
                <p:spPr>
                  <a:xfrm>
                    <a:off x="5865375" y="4669649"/>
                    <a:ext cx="434447" cy="1991728"/>
                  </a:xfrm>
                  <a:custGeom>
                    <a:avLst/>
                    <a:gdLst>
                      <a:gd name="connsiteX0" fmla="*/ 61190 w 434447"/>
                      <a:gd name="connsiteY0" fmla="*/ 1991728 h 1991728"/>
                      <a:gd name="connsiteX1" fmla="*/ 0 w 434447"/>
                      <a:gd name="connsiteY1" fmla="*/ 1991728 h 1991728"/>
                      <a:gd name="connsiteX2" fmla="*/ 373258 w 434447"/>
                      <a:gd name="connsiteY2" fmla="*/ 0 h 1991728"/>
                      <a:gd name="connsiteX3" fmla="*/ 434448 w 434447"/>
                      <a:gd name="connsiteY3" fmla="*/ 0 h 19917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4447" h="1991728">
                        <a:moveTo>
                          <a:pt x="61190" y="1991728"/>
                        </a:moveTo>
                        <a:lnTo>
                          <a:pt x="0" y="1991728"/>
                        </a:lnTo>
                        <a:lnTo>
                          <a:pt x="373258" y="0"/>
                        </a:lnTo>
                        <a:lnTo>
                          <a:pt x="434448" y="0"/>
                        </a:lnTo>
                        <a:close/>
                      </a:path>
                    </a:pathLst>
                  </a:custGeom>
                  <a:solidFill>
                    <a:srgbClr val="38343B"/>
                  </a:solidFill>
                  <a:ln w="305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44" name="任意多边形: 形状 943">
                    <a:extLst>
                      <a:ext uri="{FF2B5EF4-FFF2-40B4-BE49-F238E27FC236}">
                        <a16:creationId xmlns:a16="http://schemas.microsoft.com/office/drawing/2014/main" id="{A4C9126E-7022-4196-8EE0-76AA057DED89}"/>
                      </a:ext>
                    </a:extLst>
                  </p:cNvPr>
                  <p:cNvSpPr/>
                  <p:nvPr/>
                </p:nvSpPr>
                <p:spPr>
                  <a:xfrm>
                    <a:off x="8563845" y="4669649"/>
                    <a:ext cx="434447" cy="1991728"/>
                  </a:xfrm>
                  <a:custGeom>
                    <a:avLst/>
                    <a:gdLst>
                      <a:gd name="connsiteX0" fmla="*/ 373258 w 434447"/>
                      <a:gd name="connsiteY0" fmla="*/ 1991728 h 1991728"/>
                      <a:gd name="connsiteX1" fmla="*/ 434448 w 434447"/>
                      <a:gd name="connsiteY1" fmla="*/ 1991728 h 1991728"/>
                      <a:gd name="connsiteX2" fmla="*/ 61190 w 434447"/>
                      <a:gd name="connsiteY2" fmla="*/ 0 h 1991728"/>
                      <a:gd name="connsiteX3" fmla="*/ 0 w 434447"/>
                      <a:gd name="connsiteY3" fmla="*/ 0 h 19917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4447" h="1991728">
                        <a:moveTo>
                          <a:pt x="373258" y="1991728"/>
                        </a:moveTo>
                        <a:lnTo>
                          <a:pt x="434448" y="1991728"/>
                        </a:lnTo>
                        <a:lnTo>
                          <a:pt x="6119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38343B"/>
                  </a:solidFill>
                  <a:ln w="305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945" name="任意多边形: 形状 944">
                  <a:extLst>
                    <a:ext uri="{FF2B5EF4-FFF2-40B4-BE49-F238E27FC236}">
                      <a16:creationId xmlns:a16="http://schemas.microsoft.com/office/drawing/2014/main" id="{5D00F735-A15D-4549-8BF2-F9D62038D24B}"/>
                    </a:ext>
                  </a:extLst>
                </p:cNvPr>
                <p:cNvSpPr/>
                <p:nvPr/>
              </p:nvSpPr>
              <p:spPr>
                <a:xfrm>
                  <a:off x="5865375" y="4568685"/>
                  <a:ext cx="3129973" cy="128498"/>
                </a:xfrm>
                <a:custGeom>
                  <a:avLst/>
                  <a:gdLst>
                    <a:gd name="connsiteX0" fmla="*/ 3004419 w 3129973"/>
                    <a:gd name="connsiteY0" fmla="*/ 128499 h 128498"/>
                    <a:gd name="connsiteX1" fmla="*/ 128499 w 3129973"/>
                    <a:gd name="connsiteY1" fmla="*/ 128499 h 128498"/>
                    <a:gd name="connsiteX2" fmla="*/ 0 w 3129973"/>
                    <a:gd name="connsiteY2" fmla="*/ 0 h 128498"/>
                    <a:gd name="connsiteX3" fmla="*/ 0 w 3129973"/>
                    <a:gd name="connsiteY3" fmla="*/ 0 h 128498"/>
                    <a:gd name="connsiteX4" fmla="*/ 3129859 w 3129973"/>
                    <a:gd name="connsiteY4" fmla="*/ 0 h 128498"/>
                    <a:gd name="connsiteX5" fmla="*/ 3129859 w 3129973"/>
                    <a:gd name="connsiteY5" fmla="*/ 0 h 128498"/>
                    <a:gd name="connsiteX6" fmla="*/ 3004419 w 3129973"/>
                    <a:gd name="connsiteY6" fmla="*/ 128499 h 128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29973" h="128498">
                      <a:moveTo>
                        <a:pt x="3004419" y="128499"/>
                      </a:moveTo>
                      <a:lnTo>
                        <a:pt x="128499" y="128499"/>
                      </a:lnTo>
                      <a:cubicBezTo>
                        <a:pt x="58130" y="128499"/>
                        <a:pt x="0" y="70368"/>
                        <a:pt x="0" y="0"/>
                      </a:cubicBezTo>
                      <a:lnTo>
                        <a:pt x="0" y="0"/>
                      </a:lnTo>
                      <a:lnTo>
                        <a:pt x="3129859" y="0"/>
                      </a:lnTo>
                      <a:lnTo>
                        <a:pt x="3129859" y="0"/>
                      </a:lnTo>
                      <a:cubicBezTo>
                        <a:pt x="3132918" y="70368"/>
                        <a:pt x="3074788" y="128499"/>
                        <a:pt x="3004419" y="128499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46" name="图形 892">
                <a:extLst>
                  <a:ext uri="{FF2B5EF4-FFF2-40B4-BE49-F238E27FC236}">
                    <a16:creationId xmlns:a16="http://schemas.microsoft.com/office/drawing/2014/main" id="{3BC22526-4280-4D80-8B97-C87957251B0A}"/>
                  </a:ext>
                </a:extLst>
              </p:cNvPr>
              <p:cNvGrpSpPr/>
              <p:nvPr/>
            </p:nvGrpSpPr>
            <p:grpSpPr>
              <a:xfrm>
                <a:off x="6146974" y="3999620"/>
                <a:ext cx="1428655" cy="569065"/>
                <a:chOff x="6146974" y="3999620"/>
                <a:chExt cx="1428655" cy="569065"/>
              </a:xfrm>
            </p:grpSpPr>
            <p:sp>
              <p:nvSpPr>
                <p:cNvPr id="947" name="任意多边形: 形状 946">
                  <a:extLst>
                    <a:ext uri="{FF2B5EF4-FFF2-40B4-BE49-F238E27FC236}">
                      <a16:creationId xmlns:a16="http://schemas.microsoft.com/office/drawing/2014/main" id="{7EFB4649-6CB5-4EC9-B7D9-47FE27470692}"/>
                    </a:ext>
                  </a:extLst>
                </p:cNvPr>
                <p:cNvSpPr/>
                <p:nvPr/>
              </p:nvSpPr>
              <p:spPr>
                <a:xfrm>
                  <a:off x="6146974" y="3999620"/>
                  <a:ext cx="1125766" cy="529291"/>
                </a:xfrm>
                <a:custGeom>
                  <a:avLst/>
                  <a:gdLst>
                    <a:gd name="connsiteX0" fmla="*/ 1125766 w 1125766"/>
                    <a:gd name="connsiteY0" fmla="*/ 529292 h 529291"/>
                    <a:gd name="connsiteX1" fmla="*/ 152848 w 1125766"/>
                    <a:gd name="connsiteY1" fmla="*/ 529292 h 529291"/>
                    <a:gd name="connsiteX2" fmla="*/ 2933 w 1125766"/>
                    <a:gd name="connsiteY2" fmla="*/ 76487 h 529291"/>
                    <a:gd name="connsiteX3" fmla="*/ 58004 w 1125766"/>
                    <a:gd name="connsiteY3" fmla="*/ 0 h 529291"/>
                    <a:gd name="connsiteX4" fmla="*/ 911602 w 1125766"/>
                    <a:gd name="connsiteY4" fmla="*/ 0 h 529291"/>
                    <a:gd name="connsiteX5" fmla="*/ 966673 w 1125766"/>
                    <a:gd name="connsiteY5" fmla="*/ 39773 h 529291"/>
                    <a:gd name="connsiteX6" fmla="*/ 1125766 w 1125766"/>
                    <a:gd name="connsiteY6" fmla="*/ 529292 h 5292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25766" h="529291">
                      <a:moveTo>
                        <a:pt x="1125766" y="529292"/>
                      </a:moveTo>
                      <a:lnTo>
                        <a:pt x="152848" y="529292"/>
                      </a:lnTo>
                      <a:lnTo>
                        <a:pt x="2933" y="76487"/>
                      </a:lnTo>
                      <a:cubicBezTo>
                        <a:pt x="-9305" y="39773"/>
                        <a:pt x="18231" y="0"/>
                        <a:pt x="58004" y="0"/>
                      </a:cubicBezTo>
                      <a:lnTo>
                        <a:pt x="911602" y="0"/>
                      </a:lnTo>
                      <a:cubicBezTo>
                        <a:pt x="936078" y="0"/>
                        <a:pt x="957494" y="15297"/>
                        <a:pt x="966673" y="39773"/>
                      </a:cubicBezTo>
                      <a:lnTo>
                        <a:pt x="1125766" y="529292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48" name="任意多边形: 形状 947">
                  <a:extLst>
                    <a:ext uri="{FF2B5EF4-FFF2-40B4-BE49-F238E27FC236}">
                      <a16:creationId xmlns:a16="http://schemas.microsoft.com/office/drawing/2014/main" id="{EAB22E96-014F-42BB-866D-85616FA0C268}"/>
                    </a:ext>
                  </a:extLst>
                </p:cNvPr>
                <p:cNvSpPr/>
                <p:nvPr/>
              </p:nvSpPr>
              <p:spPr>
                <a:xfrm>
                  <a:off x="6299823" y="4528912"/>
                  <a:ext cx="972917" cy="39773"/>
                </a:xfrm>
                <a:custGeom>
                  <a:avLst/>
                  <a:gdLst>
                    <a:gd name="connsiteX0" fmla="*/ 0 w 972917"/>
                    <a:gd name="connsiteY0" fmla="*/ 0 h 39773"/>
                    <a:gd name="connsiteX1" fmla="*/ 972918 w 972917"/>
                    <a:gd name="connsiteY1" fmla="*/ 0 h 39773"/>
                    <a:gd name="connsiteX2" fmla="*/ 972918 w 972917"/>
                    <a:gd name="connsiteY2" fmla="*/ 39774 h 39773"/>
                    <a:gd name="connsiteX3" fmla="*/ 0 w 972917"/>
                    <a:gd name="connsiteY3" fmla="*/ 39774 h 397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2917" h="39773">
                      <a:moveTo>
                        <a:pt x="0" y="0"/>
                      </a:moveTo>
                      <a:lnTo>
                        <a:pt x="972918" y="0"/>
                      </a:lnTo>
                      <a:lnTo>
                        <a:pt x="972918" y="39774"/>
                      </a:lnTo>
                      <a:lnTo>
                        <a:pt x="0" y="39774"/>
                      </a:lnTo>
                      <a:close/>
                    </a:path>
                  </a:pathLst>
                </a:custGeom>
                <a:solidFill>
                  <a:srgbClr val="E5D1D1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49" name="任意多边形: 形状 948">
                  <a:extLst>
                    <a:ext uri="{FF2B5EF4-FFF2-40B4-BE49-F238E27FC236}">
                      <a16:creationId xmlns:a16="http://schemas.microsoft.com/office/drawing/2014/main" id="{6E51F59A-BC2F-4A79-9C4A-04C3D227ABAF}"/>
                    </a:ext>
                  </a:extLst>
                </p:cNvPr>
                <p:cNvSpPr/>
                <p:nvPr/>
              </p:nvSpPr>
              <p:spPr>
                <a:xfrm>
                  <a:off x="7272740" y="4528912"/>
                  <a:ext cx="302889" cy="39773"/>
                </a:xfrm>
                <a:custGeom>
                  <a:avLst/>
                  <a:gdLst>
                    <a:gd name="connsiteX0" fmla="*/ 0 w 302889"/>
                    <a:gd name="connsiteY0" fmla="*/ 0 h 39773"/>
                    <a:gd name="connsiteX1" fmla="*/ 302889 w 302889"/>
                    <a:gd name="connsiteY1" fmla="*/ 0 h 39773"/>
                    <a:gd name="connsiteX2" fmla="*/ 302889 w 302889"/>
                    <a:gd name="connsiteY2" fmla="*/ 39774 h 39773"/>
                    <a:gd name="connsiteX3" fmla="*/ 0 w 302889"/>
                    <a:gd name="connsiteY3" fmla="*/ 39774 h 397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2889" h="39773">
                      <a:moveTo>
                        <a:pt x="0" y="0"/>
                      </a:moveTo>
                      <a:lnTo>
                        <a:pt x="302889" y="0"/>
                      </a:lnTo>
                      <a:lnTo>
                        <a:pt x="302889" y="39774"/>
                      </a:lnTo>
                      <a:lnTo>
                        <a:pt x="0" y="39774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950" name="任意多边形: 形状 949">
              <a:extLst>
                <a:ext uri="{FF2B5EF4-FFF2-40B4-BE49-F238E27FC236}">
                  <a16:creationId xmlns:a16="http://schemas.microsoft.com/office/drawing/2014/main" id="{6F4984F6-DA04-4D73-AB2A-34A95FA83A0C}"/>
                </a:ext>
              </a:extLst>
            </p:cNvPr>
            <p:cNvSpPr/>
            <p:nvPr/>
          </p:nvSpPr>
          <p:spPr>
            <a:xfrm>
              <a:off x="7746961" y="3798630"/>
              <a:ext cx="693772" cy="778864"/>
            </a:xfrm>
            <a:custGeom>
              <a:avLst/>
              <a:gdLst>
                <a:gd name="connsiteX0" fmla="*/ 489518 w 693772"/>
                <a:gd name="connsiteY0" fmla="*/ 173455 h 778864"/>
                <a:gd name="connsiteX1" fmla="*/ 266176 w 693772"/>
                <a:gd name="connsiteY1" fmla="*/ 5183 h 778864"/>
                <a:gd name="connsiteX2" fmla="*/ 256997 w 693772"/>
                <a:gd name="connsiteY2" fmla="*/ 283597 h 778864"/>
                <a:gd name="connsiteX3" fmla="*/ 434448 w 693772"/>
                <a:gd name="connsiteY3" fmla="*/ 583427 h 778864"/>
                <a:gd name="connsiteX4" fmla="*/ 434448 w 693772"/>
                <a:gd name="connsiteY4" fmla="*/ 583427 h 778864"/>
                <a:gd name="connsiteX5" fmla="*/ 416091 w 693772"/>
                <a:gd name="connsiteY5" fmla="*/ 601783 h 778864"/>
                <a:gd name="connsiteX6" fmla="*/ 394675 w 693772"/>
                <a:gd name="connsiteY6" fmla="*/ 601783 h 778864"/>
                <a:gd name="connsiteX7" fmla="*/ 348782 w 693772"/>
                <a:gd name="connsiteY7" fmla="*/ 601783 h 778864"/>
                <a:gd name="connsiteX8" fmla="*/ 250878 w 693772"/>
                <a:gd name="connsiteY8" fmla="*/ 610962 h 778864"/>
                <a:gd name="connsiteX9" fmla="*/ 52011 w 693772"/>
                <a:gd name="connsiteY9" fmla="*/ 623200 h 778864"/>
                <a:gd name="connsiteX10" fmla="*/ 45892 w 693772"/>
                <a:gd name="connsiteY10" fmla="*/ 626259 h 778864"/>
                <a:gd name="connsiteX11" fmla="*/ 0 w 693772"/>
                <a:gd name="connsiteY11" fmla="*/ 626259 h 778864"/>
                <a:gd name="connsiteX12" fmla="*/ 12238 w 693772"/>
                <a:gd name="connsiteY12" fmla="*/ 770055 h 778864"/>
                <a:gd name="connsiteX13" fmla="*/ 685326 w 693772"/>
                <a:gd name="connsiteY13" fmla="*/ 739461 h 778864"/>
                <a:gd name="connsiteX14" fmla="*/ 489518 w 693772"/>
                <a:gd name="connsiteY14" fmla="*/ 173455 h 778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3772" h="778864">
                  <a:moveTo>
                    <a:pt x="489518" y="173455"/>
                  </a:moveTo>
                  <a:cubicBezTo>
                    <a:pt x="379377" y="26599"/>
                    <a:pt x="345722" y="-16233"/>
                    <a:pt x="266176" y="5183"/>
                  </a:cubicBezTo>
                  <a:cubicBezTo>
                    <a:pt x="177451" y="29659"/>
                    <a:pt x="195808" y="167336"/>
                    <a:pt x="256997" y="283597"/>
                  </a:cubicBezTo>
                  <a:cubicBezTo>
                    <a:pt x="302890" y="375381"/>
                    <a:pt x="394675" y="522237"/>
                    <a:pt x="434448" y="583427"/>
                  </a:cubicBezTo>
                  <a:cubicBezTo>
                    <a:pt x="434448" y="583427"/>
                    <a:pt x="434448" y="583427"/>
                    <a:pt x="434448" y="583427"/>
                  </a:cubicBezTo>
                  <a:cubicBezTo>
                    <a:pt x="437507" y="601783"/>
                    <a:pt x="431388" y="607903"/>
                    <a:pt x="416091" y="601783"/>
                  </a:cubicBezTo>
                  <a:cubicBezTo>
                    <a:pt x="409972" y="601783"/>
                    <a:pt x="400793" y="601783"/>
                    <a:pt x="394675" y="601783"/>
                  </a:cubicBezTo>
                  <a:cubicBezTo>
                    <a:pt x="379377" y="601783"/>
                    <a:pt x="364080" y="601783"/>
                    <a:pt x="348782" y="601783"/>
                  </a:cubicBezTo>
                  <a:cubicBezTo>
                    <a:pt x="315128" y="604843"/>
                    <a:pt x="281473" y="607903"/>
                    <a:pt x="250878" y="610962"/>
                  </a:cubicBezTo>
                  <a:cubicBezTo>
                    <a:pt x="183569" y="617081"/>
                    <a:pt x="119320" y="626259"/>
                    <a:pt x="52011" y="623200"/>
                  </a:cubicBezTo>
                  <a:cubicBezTo>
                    <a:pt x="48952" y="623200"/>
                    <a:pt x="45892" y="626259"/>
                    <a:pt x="45892" y="626259"/>
                  </a:cubicBezTo>
                  <a:cubicBezTo>
                    <a:pt x="18357" y="626259"/>
                    <a:pt x="0" y="626259"/>
                    <a:pt x="0" y="626259"/>
                  </a:cubicBezTo>
                  <a:cubicBezTo>
                    <a:pt x="15297" y="653795"/>
                    <a:pt x="12238" y="770055"/>
                    <a:pt x="12238" y="770055"/>
                  </a:cubicBezTo>
                  <a:cubicBezTo>
                    <a:pt x="12238" y="770055"/>
                    <a:pt x="630255" y="803710"/>
                    <a:pt x="685326" y="739461"/>
                  </a:cubicBezTo>
                  <a:cubicBezTo>
                    <a:pt x="728159" y="684390"/>
                    <a:pt x="599660" y="320310"/>
                    <a:pt x="489518" y="173455"/>
                  </a:cubicBezTo>
                  <a:close/>
                </a:path>
              </a:pathLst>
            </a:custGeom>
            <a:solidFill>
              <a:srgbClr val="F1DDBA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1" name="任意多边形: 形状 950">
              <a:extLst>
                <a:ext uri="{FF2B5EF4-FFF2-40B4-BE49-F238E27FC236}">
                  <a16:creationId xmlns:a16="http://schemas.microsoft.com/office/drawing/2014/main" id="{590CFAEE-34AB-4404-A3DB-47B2CDAF8AD5}"/>
                </a:ext>
              </a:extLst>
            </p:cNvPr>
            <p:cNvSpPr/>
            <p:nvPr/>
          </p:nvSpPr>
          <p:spPr>
            <a:xfrm>
              <a:off x="7945014" y="3805605"/>
              <a:ext cx="127612" cy="402060"/>
            </a:xfrm>
            <a:custGeom>
              <a:avLst/>
              <a:gdLst>
                <a:gd name="connsiteX0" fmla="*/ 123193 w 127612"/>
                <a:gd name="connsiteY0" fmla="*/ 402061 h 402060"/>
                <a:gd name="connsiteX1" fmla="*/ 117074 w 127612"/>
                <a:gd name="connsiteY1" fmla="*/ 399001 h 402060"/>
                <a:gd name="connsiteX2" fmla="*/ 9992 w 127612"/>
                <a:gd name="connsiteY2" fmla="*/ 169539 h 402060"/>
                <a:gd name="connsiteX3" fmla="*/ 814 w 127612"/>
                <a:gd name="connsiteY3" fmla="*/ 80814 h 402060"/>
                <a:gd name="connsiteX4" fmla="*/ 43647 w 127612"/>
                <a:gd name="connsiteY4" fmla="*/ 1267 h 402060"/>
                <a:gd name="connsiteX5" fmla="*/ 52825 w 127612"/>
                <a:gd name="connsiteY5" fmla="*/ 4327 h 402060"/>
                <a:gd name="connsiteX6" fmla="*/ 49766 w 127612"/>
                <a:gd name="connsiteY6" fmla="*/ 13505 h 402060"/>
                <a:gd name="connsiteX7" fmla="*/ 9992 w 127612"/>
                <a:gd name="connsiteY7" fmla="*/ 83874 h 402060"/>
                <a:gd name="connsiteX8" fmla="*/ 19171 w 127612"/>
                <a:gd name="connsiteY8" fmla="*/ 169539 h 402060"/>
                <a:gd name="connsiteX9" fmla="*/ 126253 w 127612"/>
                <a:gd name="connsiteY9" fmla="*/ 392882 h 402060"/>
                <a:gd name="connsiteX10" fmla="*/ 126253 w 127612"/>
                <a:gd name="connsiteY10" fmla="*/ 402061 h 402060"/>
                <a:gd name="connsiteX11" fmla="*/ 123193 w 127612"/>
                <a:gd name="connsiteY11" fmla="*/ 402061 h 402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7612" h="402060">
                  <a:moveTo>
                    <a:pt x="123193" y="402061"/>
                  </a:moveTo>
                  <a:cubicBezTo>
                    <a:pt x="120134" y="402061"/>
                    <a:pt x="120134" y="402061"/>
                    <a:pt x="117074" y="399001"/>
                  </a:cubicBezTo>
                  <a:cubicBezTo>
                    <a:pt x="68122" y="328633"/>
                    <a:pt x="31409" y="252145"/>
                    <a:pt x="9992" y="169539"/>
                  </a:cubicBezTo>
                  <a:cubicBezTo>
                    <a:pt x="3873" y="142004"/>
                    <a:pt x="-2246" y="111409"/>
                    <a:pt x="814" y="80814"/>
                  </a:cubicBezTo>
                  <a:cubicBezTo>
                    <a:pt x="3873" y="47160"/>
                    <a:pt x="22230" y="16565"/>
                    <a:pt x="43647" y="1267"/>
                  </a:cubicBezTo>
                  <a:cubicBezTo>
                    <a:pt x="46706" y="-1792"/>
                    <a:pt x="49766" y="1267"/>
                    <a:pt x="52825" y="4327"/>
                  </a:cubicBezTo>
                  <a:cubicBezTo>
                    <a:pt x="55885" y="7386"/>
                    <a:pt x="52825" y="10446"/>
                    <a:pt x="49766" y="13505"/>
                  </a:cubicBezTo>
                  <a:cubicBezTo>
                    <a:pt x="28349" y="28803"/>
                    <a:pt x="13052" y="53279"/>
                    <a:pt x="9992" y="83874"/>
                  </a:cubicBezTo>
                  <a:cubicBezTo>
                    <a:pt x="6933" y="114468"/>
                    <a:pt x="13052" y="142004"/>
                    <a:pt x="19171" y="169539"/>
                  </a:cubicBezTo>
                  <a:cubicBezTo>
                    <a:pt x="40587" y="249086"/>
                    <a:pt x="77301" y="325573"/>
                    <a:pt x="126253" y="392882"/>
                  </a:cubicBezTo>
                  <a:cubicBezTo>
                    <a:pt x="129312" y="395941"/>
                    <a:pt x="126253" y="399001"/>
                    <a:pt x="126253" y="402061"/>
                  </a:cubicBezTo>
                  <a:cubicBezTo>
                    <a:pt x="126253" y="402061"/>
                    <a:pt x="123193" y="402061"/>
                    <a:pt x="123193" y="402061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2" name="任意多边形: 形状 951">
              <a:extLst>
                <a:ext uri="{FF2B5EF4-FFF2-40B4-BE49-F238E27FC236}">
                  <a16:creationId xmlns:a16="http://schemas.microsoft.com/office/drawing/2014/main" id="{487994E0-A110-445A-9F7E-4FEC4B770323}"/>
                </a:ext>
              </a:extLst>
            </p:cNvPr>
            <p:cNvSpPr/>
            <p:nvPr/>
          </p:nvSpPr>
          <p:spPr>
            <a:xfrm>
              <a:off x="7817330" y="4389875"/>
              <a:ext cx="458923" cy="38073"/>
            </a:xfrm>
            <a:custGeom>
              <a:avLst/>
              <a:gdLst>
                <a:gd name="connsiteX0" fmla="*/ 6119 w 458923"/>
                <a:gd name="connsiteY0" fmla="*/ 38074 h 38073"/>
                <a:gd name="connsiteX1" fmla="*/ 0 w 458923"/>
                <a:gd name="connsiteY1" fmla="*/ 31955 h 38073"/>
                <a:gd name="connsiteX2" fmla="*/ 6119 w 458923"/>
                <a:gd name="connsiteY2" fmla="*/ 25836 h 38073"/>
                <a:gd name="connsiteX3" fmla="*/ 342663 w 458923"/>
                <a:gd name="connsiteY3" fmla="*/ 1360 h 38073"/>
                <a:gd name="connsiteX4" fmla="*/ 385496 w 458923"/>
                <a:gd name="connsiteY4" fmla="*/ 1360 h 38073"/>
                <a:gd name="connsiteX5" fmla="*/ 455864 w 458923"/>
                <a:gd name="connsiteY5" fmla="*/ 25836 h 38073"/>
                <a:gd name="connsiteX6" fmla="*/ 458924 w 458923"/>
                <a:gd name="connsiteY6" fmla="*/ 35014 h 38073"/>
                <a:gd name="connsiteX7" fmla="*/ 449745 w 458923"/>
                <a:gd name="connsiteY7" fmla="*/ 38074 h 38073"/>
                <a:gd name="connsiteX8" fmla="*/ 382436 w 458923"/>
                <a:gd name="connsiteY8" fmla="*/ 16657 h 38073"/>
                <a:gd name="connsiteX9" fmla="*/ 342663 w 458923"/>
                <a:gd name="connsiteY9" fmla="*/ 16657 h 38073"/>
                <a:gd name="connsiteX10" fmla="*/ 6119 w 458923"/>
                <a:gd name="connsiteY10" fmla="*/ 38074 h 38073"/>
                <a:gd name="connsiteX11" fmla="*/ 6119 w 458923"/>
                <a:gd name="connsiteY11" fmla="*/ 38074 h 3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8923" h="38073">
                  <a:moveTo>
                    <a:pt x="6119" y="38074"/>
                  </a:moveTo>
                  <a:cubicBezTo>
                    <a:pt x="3060" y="38074"/>
                    <a:pt x="0" y="35014"/>
                    <a:pt x="0" y="31955"/>
                  </a:cubicBezTo>
                  <a:cubicBezTo>
                    <a:pt x="0" y="28895"/>
                    <a:pt x="3060" y="25836"/>
                    <a:pt x="6119" y="25836"/>
                  </a:cubicBezTo>
                  <a:lnTo>
                    <a:pt x="342663" y="1360"/>
                  </a:lnTo>
                  <a:cubicBezTo>
                    <a:pt x="357960" y="1360"/>
                    <a:pt x="370199" y="-1700"/>
                    <a:pt x="385496" y="1360"/>
                  </a:cubicBezTo>
                  <a:cubicBezTo>
                    <a:pt x="406912" y="4419"/>
                    <a:pt x="428329" y="10538"/>
                    <a:pt x="455864" y="25836"/>
                  </a:cubicBezTo>
                  <a:cubicBezTo>
                    <a:pt x="458924" y="25836"/>
                    <a:pt x="458924" y="31955"/>
                    <a:pt x="458924" y="35014"/>
                  </a:cubicBezTo>
                  <a:cubicBezTo>
                    <a:pt x="455864" y="38074"/>
                    <a:pt x="452805" y="38074"/>
                    <a:pt x="449745" y="38074"/>
                  </a:cubicBezTo>
                  <a:cubicBezTo>
                    <a:pt x="422210" y="25836"/>
                    <a:pt x="403853" y="16657"/>
                    <a:pt x="382436" y="16657"/>
                  </a:cubicBezTo>
                  <a:cubicBezTo>
                    <a:pt x="370199" y="16657"/>
                    <a:pt x="354901" y="16657"/>
                    <a:pt x="342663" y="16657"/>
                  </a:cubicBezTo>
                  <a:lnTo>
                    <a:pt x="6119" y="38074"/>
                  </a:lnTo>
                  <a:cubicBezTo>
                    <a:pt x="9179" y="38074"/>
                    <a:pt x="6119" y="38074"/>
                    <a:pt x="6119" y="38074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3" name="任意多边形: 形状 952">
              <a:extLst>
                <a:ext uri="{FF2B5EF4-FFF2-40B4-BE49-F238E27FC236}">
                  <a16:creationId xmlns:a16="http://schemas.microsoft.com/office/drawing/2014/main" id="{A385FD3A-CDE9-4B75-B86D-CE61B0F63604}"/>
                </a:ext>
              </a:extLst>
            </p:cNvPr>
            <p:cNvSpPr/>
            <p:nvPr/>
          </p:nvSpPr>
          <p:spPr>
            <a:xfrm>
              <a:off x="7641579" y="4458544"/>
              <a:ext cx="141767" cy="111501"/>
            </a:xfrm>
            <a:custGeom>
              <a:avLst/>
              <a:gdLst>
                <a:gd name="connsiteX0" fmla="*/ 139037 w 141767"/>
                <a:gd name="connsiteY0" fmla="*/ 0 h 111501"/>
                <a:gd name="connsiteX1" fmla="*/ 71728 w 141767"/>
                <a:gd name="connsiteY1" fmla="*/ 9179 h 111501"/>
                <a:gd name="connsiteX2" fmla="*/ 7479 w 141767"/>
                <a:gd name="connsiteY2" fmla="*/ 12238 h 111501"/>
                <a:gd name="connsiteX3" fmla="*/ 1360 w 141767"/>
                <a:gd name="connsiteY3" fmla="*/ 18357 h 111501"/>
                <a:gd name="connsiteX4" fmla="*/ 1360 w 141767"/>
                <a:gd name="connsiteY4" fmla="*/ 61190 h 111501"/>
                <a:gd name="connsiteX5" fmla="*/ 7479 w 141767"/>
                <a:gd name="connsiteY5" fmla="*/ 110142 h 111501"/>
                <a:gd name="connsiteX6" fmla="*/ 132918 w 141767"/>
                <a:gd name="connsiteY6" fmla="*/ 110142 h 111501"/>
                <a:gd name="connsiteX7" fmla="*/ 139037 w 141767"/>
                <a:gd name="connsiteY7" fmla="*/ 0 h 111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1767" h="111501">
                  <a:moveTo>
                    <a:pt x="139037" y="0"/>
                  </a:moveTo>
                  <a:cubicBezTo>
                    <a:pt x="117621" y="6119"/>
                    <a:pt x="93145" y="9179"/>
                    <a:pt x="71728" y="9179"/>
                  </a:cubicBezTo>
                  <a:cubicBezTo>
                    <a:pt x="53371" y="9179"/>
                    <a:pt x="35014" y="12238"/>
                    <a:pt x="7479" y="12238"/>
                  </a:cubicBezTo>
                  <a:cubicBezTo>
                    <a:pt x="4419" y="12238"/>
                    <a:pt x="1360" y="15297"/>
                    <a:pt x="1360" y="18357"/>
                  </a:cubicBezTo>
                  <a:cubicBezTo>
                    <a:pt x="-1700" y="30595"/>
                    <a:pt x="1360" y="45892"/>
                    <a:pt x="1360" y="61190"/>
                  </a:cubicBezTo>
                  <a:cubicBezTo>
                    <a:pt x="1360" y="70368"/>
                    <a:pt x="-1700" y="100963"/>
                    <a:pt x="7479" y="110142"/>
                  </a:cubicBezTo>
                  <a:cubicBezTo>
                    <a:pt x="38074" y="113201"/>
                    <a:pt x="117621" y="110142"/>
                    <a:pt x="132918" y="110142"/>
                  </a:cubicBezTo>
                  <a:cubicBezTo>
                    <a:pt x="148215" y="107082"/>
                    <a:pt x="139037" y="0"/>
                    <a:pt x="139037" y="0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4" name="任意多边形: 形状 953">
              <a:extLst>
                <a:ext uri="{FF2B5EF4-FFF2-40B4-BE49-F238E27FC236}">
                  <a16:creationId xmlns:a16="http://schemas.microsoft.com/office/drawing/2014/main" id="{FF3FDEEF-291E-443D-ABFF-CFA6601C4209}"/>
                </a:ext>
              </a:extLst>
            </p:cNvPr>
            <p:cNvSpPr/>
            <p:nvPr/>
          </p:nvSpPr>
          <p:spPr>
            <a:xfrm>
              <a:off x="7729950" y="4405352"/>
              <a:ext cx="112037" cy="186879"/>
            </a:xfrm>
            <a:custGeom>
              <a:avLst/>
              <a:gdLst>
                <a:gd name="connsiteX0" fmla="*/ 96558 w 112037"/>
                <a:gd name="connsiteY0" fmla="*/ 10358 h 186879"/>
                <a:gd name="connsiteX1" fmla="*/ 87379 w 112037"/>
                <a:gd name="connsiteY1" fmla="*/ 4240 h 186879"/>
                <a:gd name="connsiteX2" fmla="*/ 1713 w 112037"/>
                <a:gd name="connsiteY2" fmla="*/ 16478 h 186879"/>
                <a:gd name="connsiteX3" fmla="*/ 7832 w 112037"/>
                <a:gd name="connsiteY3" fmla="*/ 89905 h 186879"/>
                <a:gd name="connsiteX4" fmla="*/ 10892 w 112037"/>
                <a:gd name="connsiteY4" fmla="*/ 172512 h 186879"/>
                <a:gd name="connsiteX5" fmla="*/ 23130 w 112037"/>
                <a:gd name="connsiteY5" fmla="*/ 178630 h 186879"/>
                <a:gd name="connsiteX6" fmla="*/ 102677 w 112037"/>
                <a:gd name="connsiteY6" fmla="*/ 169452 h 186879"/>
                <a:gd name="connsiteX7" fmla="*/ 96558 w 112037"/>
                <a:gd name="connsiteY7" fmla="*/ 10358 h 186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037" h="186879">
                  <a:moveTo>
                    <a:pt x="96558" y="10358"/>
                  </a:moveTo>
                  <a:cubicBezTo>
                    <a:pt x="96558" y="7299"/>
                    <a:pt x="93498" y="4240"/>
                    <a:pt x="87379" y="4240"/>
                  </a:cubicBezTo>
                  <a:cubicBezTo>
                    <a:pt x="65963" y="1180"/>
                    <a:pt x="13952" y="-7998"/>
                    <a:pt x="1713" y="16478"/>
                  </a:cubicBezTo>
                  <a:cubicBezTo>
                    <a:pt x="-4406" y="31775"/>
                    <a:pt x="7832" y="71548"/>
                    <a:pt x="7832" y="89905"/>
                  </a:cubicBezTo>
                  <a:cubicBezTo>
                    <a:pt x="10892" y="117441"/>
                    <a:pt x="13952" y="144976"/>
                    <a:pt x="10892" y="172512"/>
                  </a:cubicBezTo>
                  <a:cubicBezTo>
                    <a:pt x="10892" y="178630"/>
                    <a:pt x="17011" y="181690"/>
                    <a:pt x="23130" y="178630"/>
                  </a:cubicBezTo>
                  <a:cubicBezTo>
                    <a:pt x="47606" y="181690"/>
                    <a:pt x="93498" y="200047"/>
                    <a:pt x="102677" y="169452"/>
                  </a:cubicBezTo>
                  <a:cubicBezTo>
                    <a:pt x="121034" y="120500"/>
                    <a:pt x="108795" y="56251"/>
                    <a:pt x="96558" y="10358"/>
                  </a:cubicBezTo>
                  <a:close/>
                </a:path>
              </a:pathLst>
            </a:custGeom>
            <a:solidFill>
              <a:srgbClr val="FCEAD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5" name="任意多边形: 形状 954">
              <a:extLst>
                <a:ext uri="{FF2B5EF4-FFF2-40B4-BE49-F238E27FC236}">
                  <a16:creationId xmlns:a16="http://schemas.microsoft.com/office/drawing/2014/main" id="{466DB476-0911-4F5E-9622-DC2343512D53}"/>
                </a:ext>
              </a:extLst>
            </p:cNvPr>
            <p:cNvSpPr/>
            <p:nvPr/>
          </p:nvSpPr>
          <p:spPr>
            <a:xfrm>
              <a:off x="3604412" y="2408685"/>
              <a:ext cx="250878" cy="259149"/>
            </a:xfrm>
            <a:custGeom>
              <a:avLst/>
              <a:gdLst>
                <a:gd name="connsiteX0" fmla="*/ 250878 w 250878"/>
                <a:gd name="connsiteY0" fmla="*/ 39773 h 259149"/>
                <a:gd name="connsiteX1" fmla="*/ 244759 w 250878"/>
                <a:gd name="connsiteY1" fmla="*/ 214164 h 259149"/>
                <a:gd name="connsiteX2" fmla="*/ 0 w 250878"/>
                <a:gd name="connsiteY2" fmla="*/ 204986 h 259149"/>
                <a:gd name="connsiteX3" fmla="*/ 15297 w 250878"/>
                <a:gd name="connsiteY3" fmla="*/ 0 h 259149"/>
                <a:gd name="connsiteX4" fmla="*/ 250878 w 250878"/>
                <a:gd name="connsiteY4" fmla="*/ 39773 h 25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878" h="259149">
                  <a:moveTo>
                    <a:pt x="250878" y="39773"/>
                  </a:moveTo>
                  <a:cubicBezTo>
                    <a:pt x="250878" y="39773"/>
                    <a:pt x="244759" y="140737"/>
                    <a:pt x="244759" y="214164"/>
                  </a:cubicBezTo>
                  <a:cubicBezTo>
                    <a:pt x="244759" y="214164"/>
                    <a:pt x="149915" y="321246"/>
                    <a:pt x="0" y="204986"/>
                  </a:cubicBezTo>
                  <a:cubicBezTo>
                    <a:pt x="0" y="143796"/>
                    <a:pt x="12238" y="64249"/>
                    <a:pt x="15297" y="0"/>
                  </a:cubicBezTo>
                  <a:cubicBezTo>
                    <a:pt x="12238" y="0"/>
                    <a:pt x="195807" y="52011"/>
                    <a:pt x="250878" y="39773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6" name="任意多边形: 形状 955">
              <a:extLst>
                <a:ext uri="{FF2B5EF4-FFF2-40B4-BE49-F238E27FC236}">
                  <a16:creationId xmlns:a16="http://schemas.microsoft.com/office/drawing/2014/main" id="{49ED772A-1DDC-4E3C-BBCC-9B454894F6E3}"/>
                </a:ext>
              </a:extLst>
            </p:cNvPr>
            <p:cNvSpPr/>
            <p:nvPr/>
          </p:nvSpPr>
          <p:spPr>
            <a:xfrm>
              <a:off x="7402886" y="4460465"/>
              <a:ext cx="284895" cy="109917"/>
            </a:xfrm>
            <a:custGeom>
              <a:avLst/>
              <a:gdLst>
                <a:gd name="connsiteX0" fmla="*/ 279826 w 284895"/>
                <a:gd name="connsiteY0" fmla="*/ 59268 h 109917"/>
                <a:gd name="connsiteX1" fmla="*/ 282885 w 284895"/>
                <a:gd name="connsiteY1" fmla="*/ 31733 h 109917"/>
                <a:gd name="connsiteX2" fmla="*/ 279826 w 284895"/>
                <a:gd name="connsiteY2" fmla="*/ 13376 h 109917"/>
                <a:gd name="connsiteX3" fmla="*/ 145208 w 284895"/>
                <a:gd name="connsiteY3" fmla="*/ 7257 h 109917"/>
                <a:gd name="connsiteX4" fmla="*/ 71781 w 284895"/>
                <a:gd name="connsiteY4" fmla="*/ 47030 h 109917"/>
                <a:gd name="connsiteX5" fmla="*/ 7531 w 284895"/>
                <a:gd name="connsiteY5" fmla="*/ 80685 h 109917"/>
                <a:gd name="connsiteX6" fmla="*/ 7531 w 284895"/>
                <a:gd name="connsiteY6" fmla="*/ 108220 h 109917"/>
                <a:gd name="connsiteX7" fmla="*/ 194160 w 284895"/>
                <a:gd name="connsiteY7" fmla="*/ 108220 h 109917"/>
                <a:gd name="connsiteX8" fmla="*/ 279826 w 284895"/>
                <a:gd name="connsiteY8" fmla="*/ 77625 h 109917"/>
                <a:gd name="connsiteX9" fmla="*/ 279826 w 284895"/>
                <a:gd name="connsiteY9" fmla="*/ 68447 h 109917"/>
                <a:gd name="connsiteX10" fmla="*/ 279826 w 284895"/>
                <a:gd name="connsiteY10" fmla="*/ 59268 h 10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4895" h="109917">
                  <a:moveTo>
                    <a:pt x="279826" y="59268"/>
                  </a:moveTo>
                  <a:cubicBezTo>
                    <a:pt x="282885" y="50090"/>
                    <a:pt x="285945" y="40911"/>
                    <a:pt x="282885" y="31733"/>
                  </a:cubicBezTo>
                  <a:cubicBezTo>
                    <a:pt x="285945" y="25614"/>
                    <a:pt x="285945" y="16435"/>
                    <a:pt x="279826" y="13376"/>
                  </a:cubicBezTo>
                  <a:cubicBezTo>
                    <a:pt x="236993" y="4198"/>
                    <a:pt x="191101" y="-8040"/>
                    <a:pt x="145208" y="7257"/>
                  </a:cubicBezTo>
                  <a:cubicBezTo>
                    <a:pt x="120732" y="16435"/>
                    <a:pt x="96257" y="31733"/>
                    <a:pt x="71781" y="47030"/>
                  </a:cubicBezTo>
                  <a:cubicBezTo>
                    <a:pt x="53423" y="53149"/>
                    <a:pt x="10591" y="77625"/>
                    <a:pt x="7531" y="80685"/>
                  </a:cubicBezTo>
                  <a:cubicBezTo>
                    <a:pt x="-7766" y="89863"/>
                    <a:pt x="4472" y="108220"/>
                    <a:pt x="7531" y="108220"/>
                  </a:cubicBezTo>
                  <a:cubicBezTo>
                    <a:pt x="13650" y="114339"/>
                    <a:pt x="111554" y="95982"/>
                    <a:pt x="194160" y="108220"/>
                  </a:cubicBezTo>
                  <a:cubicBezTo>
                    <a:pt x="215577" y="111280"/>
                    <a:pt x="273707" y="114339"/>
                    <a:pt x="279826" y="77625"/>
                  </a:cubicBezTo>
                  <a:cubicBezTo>
                    <a:pt x="279826" y="74566"/>
                    <a:pt x="279826" y="71506"/>
                    <a:pt x="279826" y="68447"/>
                  </a:cubicBezTo>
                  <a:cubicBezTo>
                    <a:pt x="279826" y="65388"/>
                    <a:pt x="279826" y="62328"/>
                    <a:pt x="279826" y="59268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7" name="任意多边形: 形状 956">
              <a:extLst>
                <a:ext uri="{FF2B5EF4-FFF2-40B4-BE49-F238E27FC236}">
                  <a16:creationId xmlns:a16="http://schemas.microsoft.com/office/drawing/2014/main" id="{C35EBBBC-2571-42F7-B6F1-1FDBD413FB6A}"/>
                </a:ext>
              </a:extLst>
            </p:cNvPr>
            <p:cNvSpPr/>
            <p:nvPr/>
          </p:nvSpPr>
          <p:spPr>
            <a:xfrm>
              <a:off x="3509568" y="2289365"/>
              <a:ext cx="70368" cy="137677"/>
            </a:xfrm>
            <a:custGeom>
              <a:avLst/>
              <a:gdLst>
                <a:gd name="connsiteX0" fmla="*/ 0 w 70368"/>
                <a:gd name="connsiteY0" fmla="*/ 0 h 137677"/>
                <a:gd name="connsiteX1" fmla="*/ 67309 w 70368"/>
                <a:gd name="connsiteY1" fmla="*/ 137677 h 137677"/>
                <a:gd name="connsiteX2" fmla="*/ 70368 w 70368"/>
                <a:gd name="connsiteY2" fmla="*/ 52011 h 137677"/>
                <a:gd name="connsiteX3" fmla="*/ 0 w 70368"/>
                <a:gd name="connsiteY3" fmla="*/ 0 h 137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368" h="137677">
                  <a:moveTo>
                    <a:pt x="0" y="0"/>
                  </a:moveTo>
                  <a:cubicBezTo>
                    <a:pt x="0" y="0"/>
                    <a:pt x="15297" y="119320"/>
                    <a:pt x="67309" y="137677"/>
                  </a:cubicBezTo>
                  <a:lnTo>
                    <a:pt x="70368" y="520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8" name="任意多边形: 形状 957">
              <a:extLst>
                <a:ext uri="{FF2B5EF4-FFF2-40B4-BE49-F238E27FC236}">
                  <a16:creationId xmlns:a16="http://schemas.microsoft.com/office/drawing/2014/main" id="{DFC53E4B-93D4-4D1F-BE4F-7DADC265CE24}"/>
                </a:ext>
              </a:extLst>
            </p:cNvPr>
            <p:cNvSpPr/>
            <p:nvPr/>
          </p:nvSpPr>
          <p:spPr>
            <a:xfrm>
              <a:off x="7355536" y="3812991"/>
              <a:ext cx="88536" cy="575184"/>
            </a:xfrm>
            <a:custGeom>
              <a:avLst/>
              <a:gdLst>
                <a:gd name="connsiteX0" fmla="*/ 54881 w 88536"/>
                <a:gd name="connsiteY0" fmla="*/ 575184 h 575184"/>
                <a:gd name="connsiteX1" fmla="*/ 48763 w 88536"/>
                <a:gd name="connsiteY1" fmla="*/ 572125 h 575184"/>
                <a:gd name="connsiteX2" fmla="*/ 2870 w 88536"/>
                <a:gd name="connsiteY2" fmla="*/ 382436 h 575184"/>
                <a:gd name="connsiteX3" fmla="*/ 76298 w 88536"/>
                <a:gd name="connsiteY3" fmla="*/ 3059 h 575184"/>
                <a:gd name="connsiteX4" fmla="*/ 85476 w 88536"/>
                <a:gd name="connsiteY4" fmla="*/ 0 h 575184"/>
                <a:gd name="connsiteX5" fmla="*/ 88536 w 88536"/>
                <a:gd name="connsiteY5" fmla="*/ 9179 h 575184"/>
                <a:gd name="connsiteX6" fmla="*/ 15108 w 88536"/>
                <a:gd name="connsiteY6" fmla="*/ 382436 h 575184"/>
                <a:gd name="connsiteX7" fmla="*/ 61000 w 88536"/>
                <a:gd name="connsiteY7" fmla="*/ 569065 h 575184"/>
                <a:gd name="connsiteX8" fmla="*/ 54881 w 88536"/>
                <a:gd name="connsiteY8" fmla="*/ 575184 h 575184"/>
                <a:gd name="connsiteX9" fmla="*/ 54881 w 88536"/>
                <a:gd name="connsiteY9" fmla="*/ 575184 h 575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536" h="575184">
                  <a:moveTo>
                    <a:pt x="54881" y="575184"/>
                  </a:moveTo>
                  <a:cubicBezTo>
                    <a:pt x="51822" y="575184"/>
                    <a:pt x="48763" y="572125"/>
                    <a:pt x="48763" y="572125"/>
                  </a:cubicBezTo>
                  <a:cubicBezTo>
                    <a:pt x="30405" y="510935"/>
                    <a:pt x="8989" y="446686"/>
                    <a:pt x="2870" y="382436"/>
                  </a:cubicBezTo>
                  <a:cubicBezTo>
                    <a:pt x="-12427" y="244759"/>
                    <a:pt x="36525" y="107082"/>
                    <a:pt x="76298" y="3059"/>
                  </a:cubicBezTo>
                  <a:cubicBezTo>
                    <a:pt x="76298" y="0"/>
                    <a:pt x="82417" y="0"/>
                    <a:pt x="85476" y="0"/>
                  </a:cubicBezTo>
                  <a:cubicBezTo>
                    <a:pt x="88536" y="0"/>
                    <a:pt x="88536" y="6119"/>
                    <a:pt x="88536" y="9179"/>
                  </a:cubicBezTo>
                  <a:cubicBezTo>
                    <a:pt x="45703" y="110142"/>
                    <a:pt x="-189" y="244759"/>
                    <a:pt x="15108" y="382436"/>
                  </a:cubicBezTo>
                  <a:cubicBezTo>
                    <a:pt x="21227" y="446686"/>
                    <a:pt x="39584" y="507875"/>
                    <a:pt x="61000" y="569065"/>
                  </a:cubicBezTo>
                  <a:cubicBezTo>
                    <a:pt x="61000" y="572125"/>
                    <a:pt x="61000" y="575184"/>
                    <a:pt x="54881" y="575184"/>
                  </a:cubicBezTo>
                  <a:cubicBezTo>
                    <a:pt x="54881" y="575184"/>
                    <a:pt x="54881" y="575184"/>
                    <a:pt x="54881" y="575184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9" name="任意多边形: 形状 958">
              <a:extLst>
                <a:ext uri="{FF2B5EF4-FFF2-40B4-BE49-F238E27FC236}">
                  <a16:creationId xmlns:a16="http://schemas.microsoft.com/office/drawing/2014/main" id="{B25A3B88-FB2A-4C26-A540-B168C460E1BA}"/>
                </a:ext>
              </a:extLst>
            </p:cNvPr>
            <p:cNvSpPr/>
            <p:nvPr/>
          </p:nvSpPr>
          <p:spPr>
            <a:xfrm>
              <a:off x="7505262" y="4230972"/>
              <a:ext cx="321246" cy="28704"/>
            </a:xfrm>
            <a:custGeom>
              <a:avLst/>
              <a:gdLst>
                <a:gd name="connsiteX0" fmla="*/ 312068 w 321246"/>
                <a:gd name="connsiteY0" fmla="*/ 28705 h 28704"/>
                <a:gd name="connsiteX1" fmla="*/ 312068 w 321246"/>
                <a:gd name="connsiteY1" fmla="*/ 28705 h 28704"/>
                <a:gd name="connsiteX2" fmla="*/ 6119 w 321246"/>
                <a:gd name="connsiteY2" fmla="*/ 25645 h 28704"/>
                <a:gd name="connsiteX3" fmla="*/ 0 w 321246"/>
                <a:gd name="connsiteY3" fmla="*/ 19526 h 28704"/>
                <a:gd name="connsiteX4" fmla="*/ 6119 w 321246"/>
                <a:gd name="connsiteY4" fmla="*/ 13407 h 28704"/>
                <a:gd name="connsiteX5" fmla="*/ 315128 w 321246"/>
                <a:gd name="connsiteY5" fmla="*/ 16467 h 28704"/>
                <a:gd name="connsiteX6" fmla="*/ 321246 w 321246"/>
                <a:gd name="connsiteY6" fmla="*/ 22586 h 28704"/>
                <a:gd name="connsiteX7" fmla="*/ 312068 w 321246"/>
                <a:gd name="connsiteY7" fmla="*/ 28705 h 28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1246" h="28704">
                  <a:moveTo>
                    <a:pt x="312068" y="28705"/>
                  </a:moveTo>
                  <a:cubicBezTo>
                    <a:pt x="312068" y="28705"/>
                    <a:pt x="312068" y="28705"/>
                    <a:pt x="312068" y="28705"/>
                  </a:cubicBezTo>
                  <a:cubicBezTo>
                    <a:pt x="211105" y="7288"/>
                    <a:pt x="104022" y="7288"/>
                    <a:pt x="6119" y="25645"/>
                  </a:cubicBezTo>
                  <a:cubicBezTo>
                    <a:pt x="3059" y="25645"/>
                    <a:pt x="0" y="25645"/>
                    <a:pt x="0" y="19526"/>
                  </a:cubicBezTo>
                  <a:cubicBezTo>
                    <a:pt x="0" y="16467"/>
                    <a:pt x="0" y="13407"/>
                    <a:pt x="6119" y="13407"/>
                  </a:cubicBezTo>
                  <a:cubicBezTo>
                    <a:pt x="107082" y="-4950"/>
                    <a:pt x="214164" y="-4950"/>
                    <a:pt x="315128" y="16467"/>
                  </a:cubicBezTo>
                  <a:cubicBezTo>
                    <a:pt x="318187" y="16467"/>
                    <a:pt x="321246" y="19526"/>
                    <a:pt x="321246" y="22586"/>
                  </a:cubicBezTo>
                  <a:cubicBezTo>
                    <a:pt x="318187" y="25645"/>
                    <a:pt x="315128" y="28705"/>
                    <a:pt x="312068" y="28705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0" name="任意多边形: 形状 959">
              <a:extLst>
                <a:ext uri="{FF2B5EF4-FFF2-40B4-BE49-F238E27FC236}">
                  <a16:creationId xmlns:a16="http://schemas.microsoft.com/office/drawing/2014/main" id="{55A29721-3271-4BFE-9E72-99B706803DF8}"/>
                </a:ext>
              </a:extLst>
            </p:cNvPr>
            <p:cNvSpPr/>
            <p:nvPr/>
          </p:nvSpPr>
          <p:spPr>
            <a:xfrm>
              <a:off x="7465488" y="4507495"/>
              <a:ext cx="131558" cy="67308"/>
            </a:xfrm>
            <a:custGeom>
              <a:avLst/>
              <a:gdLst>
                <a:gd name="connsiteX0" fmla="*/ 27535 w 131558"/>
                <a:gd name="connsiteY0" fmla="*/ 67309 h 67308"/>
                <a:gd name="connsiteX1" fmla="*/ 6119 w 131558"/>
                <a:gd name="connsiteY1" fmla="*/ 61190 h 67308"/>
                <a:gd name="connsiteX2" fmla="*/ 0 w 131558"/>
                <a:gd name="connsiteY2" fmla="*/ 45892 h 67308"/>
                <a:gd name="connsiteX3" fmla="*/ 125439 w 131558"/>
                <a:gd name="connsiteY3" fmla="*/ 0 h 67308"/>
                <a:gd name="connsiteX4" fmla="*/ 131558 w 131558"/>
                <a:gd name="connsiteY4" fmla="*/ 6119 h 67308"/>
                <a:gd name="connsiteX5" fmla="*/ 125439 w 131558"/>
                <a:gd name="connsiteY5" fmla="*/ 12238 h 67308"/>
                <a:gd name="connsiteX6" fmla="*/ 9179 w 131558"/>
                <a:gd name="connsiteY6" fmla="*/ 45892 h 67308"/>
                <a:gd name="connsiteX7" fmla="*/ 12238 w 131558"/>
                <a:gd name="connsiteY7" fmla="*/ 52011 h 67308"/>
                <a:gd name="connsiteX8" fmla="*/ 45892 w 131558"/>
                <a:gd name="connsiteY8" fmla="*/ 52011 h 67308"/>
                <a:gd name="connsiteX9" fmla="*/ 52011 w 131558"/>
                <a:gd name="connsiteY9" fmla="*/ 55071 h 67308"/>
                <a:gd name="connsiteX10" fmla="*/ 48952 w 131558"/>
                <a:gd name="connsiteY10" fmla="*/ 61190 h 67308"/>
                <a:gd name="connsiteX11" fmla="*/ 27535 w 131558"/>
                <a:gd name="connsiteY11" fmla="*/ 67309 h 6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1558" h="67308">
                  <a:moveTo>
                    <a:pt x="27535" y="67309"/>
                  </a:moveTo>
                  <a:cubicBezTo>
                    <a:pt x="18357" y="67309"/>
                    <a:pt x="12238" y="67309"/>
                    <a:pt x="6119" y="61190"/>
                  </a:cubicBezTo>
                  <a:cubicBezTo>
                    <a:pt x="0" y="58130"/>
                    <a:pt x="0" y="52011"/>
                    <a:pt x="0" y="45892"/>
                  </a:cubicBezTo>
                  <a:cubicBezTo>
                    <a:pt x="0" y="18357"/>
                    <a:pt x="88725" y="6119"/>
                    <a:pt x="125439" y="0"/>
                  </a:cubicBezTo>
                  <a:cubicBezTo>
                    <a:pt x="128498" y="0"/>
                    <a:pt x="131558" y="3060"/>
                    <a:pt x="131558" y="6119"/>
                  </a:cubicBezTo>
                  <a:cubicBezTo>
                    <a:pt x="131558" y="9179"/>
                    <a:pt x="128498" y="12238"/>
                    <a:pt x="125439" y="12238"/>
                  </a:cubicBezTo>
                  <a:cubicBezTo>
                    <a:pt x="64249" y="21417"/>
                    <a:pt x="9179" y="36714"/>
                    <a:pt x="9179" y="45892"/>
                  </a:cubicBezTo>
                  <a:cubicBezTo>
                    <a:pt x="9179" y="48952"/>
                    <a:pt x="9179" y="52011"/>
                    <a:pt x="12238" y="52011"/>
                  </a:cubicBezTo>
                  <a:cubicBezTo>
                    <a:pt x="18357" y="58130"/>
                    <a:pt x="36714" y="55071"/>
                    <a:pt x="45892" y="52011"/>
                  </a:cubicBezTo>
                  <a:cubicBezTo>
                    <a:pt x="48952" y="52011"/>
                    <a:pt x="52011" y="52011"/>
                    <a:pt x="52011" y="55071"/>
                  </a:cubicBezTo>
                  <a:cubicBezTo>
                    <a:pt x="52011" y="58130"/>
                    <a:pt x="52011" y="61190"/>
                    <a:pt x="48952" y="61190"/>
                  </a:cubicBezTo>
                  <a:cubicBezTo>
                    <a:pt x="48952" y="64249"/>
                    <a:pt x="39773" y="67309"/>
                    <a:pt x="27535" y="67309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1" name="任意多边形: 形状 960">
              <a:extLst>
                <a:ext uri="{FF2B5EF4-FFF2-40B4-BE49-F238E27FC236}">
                  <a16:creationId xmlns:a16="http://schemas.microsoft.com/office/drawing/2014/main" id="{A810652B-AF6C-4F9D-B12F-88C0480BF6F6}"/>
                </a:ext>
              </a:extLst>
            </p:cNvPr>
            <p:cNvSpPr/>
            <p:nvPr/>
          </p:nvSpPr>
          <p:spPr>
            <a:xfrm>
              <a:off x="3870134" y="2078260"/>
              <a:ext cx="102995" cy="238653"/>
            </a:xfrm>
            <a:custGeom>
              <a:avLst/>
              <a:gdLst>
                <a:gd name="connsiteX0" fmla="*/ 95297 w 102995"/>
                <a:gd name="connsiteY0" fmla="*/ 0 h 238653"/>
                <a:gd name="connsiteX1" fmla="*/ 55524 w 102995"/>
                <a:gd name="connsiteY1" fmla="*/ 235581 h 238653"/>
                <a:gd name="connsiteX2" fmla="*/ 453 w 102995"/>
                <a:gd name="connsiteY2" fmla="*/ 15297 h 238653"/>
                <a:gd name="connsiteX3" fmla="*/ 95297 w 102995"/>
                <a:gd name="connsiteY3" fmla="*/ 0 h 238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995" h="238653">
                  <a:moveTo>
                    <a:pt x="95297" y="0"/>
                  </a:moveTo>
                  <a:cubicBezTo>
                    <a:pt x="95297" y="0"/>
                    <a:pt x="128952" y="195807"/>
                    <a:pt x="55524" y="235581"/>
                  </a:cubicBezTo>
                  <a:cubicBezTo>
                    <a:pt x="-8725" y="269235"/>
                    <a:pt x="453" y="15297"/>
                    <a:pt x="453" y="15297"/>
                  </a:cubicBezTo>
                  <a:lnTo>
                    <a:pt x="95297" y="0"/>
                  </a:lnTo>
                  <a:close/>
                </a:path>
              </a:pathLst>
            </a:custGeom>
            <a:solidFill>
              <a:srgbClr val="664241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2" name="任意多边形: 形状 961">
              <a:extLst>
                <a:ext uri="{FF2B5EF4-FFF2-40B4-BE49-F238E27FC236}">
                  <a16:creationId xmlns:a16="http://schemas.microsoft.com/office/drawing/2014/main" id="{4C6B2E7F-E962-4628-B6D5-AFEFF4D2FD9C}"/>
                </a:ext>
              </a:extLst>
            </p:cNvPr>
            <p:cNvSpPr/>
            <p:nvPr/>
          </p:nvSpPr>
          <p:spPr>
            <a:xfrm>
              <a:off x="7419596" y="4492198"/>
              <a:ext cx="104022" cy="85665"/>
            </a:xfrm>
            <a:custGeom>
              <a:avLst/>
              <a:gdLst>
                <a:gd name="connsiteX0" fmla="*/ 30595 w 104022"/>
                <a:gd name="connsiteY0" fmla="*/ 85666 h 85665"/>
                <a:gd name="connsiteX1" fmla="*/ 3060 w 104022"/>
                <a:gd name="connsiteY1" fmla="*/ 73428 h 85665"/>
                <a:gd name="connsiteX2" fmla="*/ 0 w 104022"/>
                <a:gd name="connsiteY2" fmla="*/ 64249 h 85665"/>
                <a:gd name="connsiteX3" fmla="*/ 94844 w 104022"/>
                <a:gd name="connsiteY3" fmla="*/ 0 h 85665"/>
                <a:gd name="connsiteX4" fmla="*/ 104022 w 104022"/>
                <a:gd name="connsiteY4" fmla="*/ 3060 h 85665"/>
                <a:gd name="connsiteX5" fmla="*/ 100963 w 104022"/>
                <a:gd name="connsiteY5" fmla="*/ 12238 h 85665"/>
                <a:gd name="connsiteX6" fmla="*/ 15297 w 104022"/>
                <a:gd name="connsiteY6" fmla="*/ 70368 h 85665"/>
                <a:gd name="connsiteX7" fmla="*/ 48952 w 104022"/>
                <a:gd name="connsiteY7" fmla="*/ 76487 h 85665"/>
                <a:gd name="connsiteX8" fmla="*/ 55071 w 104022"/>
                <a:gd name="connsiteY8" fmla="*/ 79547 h 85665"/>
                <a:gd name="connsiteX9" fmla="*/ 52011 w 104022"/>
                <a:gd name="connsiteY9" fmla="*/ 85666 h 85665"/>
                <a:gd name="connsiteX10" fmla="*/ 30595 w 104022"/>
                <a:gd name="connsiteY10" fmla="*/ 85666 h 85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022" h="85665">
                  <a:moveTo>
                    <a:pt x="30595" y="85666"/>
                  </a:moveTo>
                  <a:cubicBezTo>
                    <a:pt x="21416" y="85666"/>
                    <a:pt x="9179" y="82606"/>
                    <a:pt x="3060" y="73428"/>
                  </a:cubicBezTo>
                  <a:cubicBezTo>
                    <a:pt x="0" y="70368"/>
                    <a:pt x="0" y="67309"/>
                    <a:pt x="0" y="64249"/>
                  </a:cubicBezTo>
                  <a:cubicBezTo>
                    <a:pt x="6119" y="42833"/>
                    <a:pt x="79547" y="6119"/>
                    <a:pt x="94844" y="0"/>
                  </a:cubicBezTo>
                  <a:cubicBezTo>
                    <a:pt x="97904" y="0"/>
                    <a:pt x="100963" y="0"/>
                    <a:pt x="104022" y="3060"/>
                  </a:cubicBezTo>
                  <a:cubicBezTo>
                    <a:pt x="104022" y="6119"/>
                    <a:pt x="104022" y="9179"/>
                    <a:pt x="100963" y="12238"/>
                  </a:cubicBezTo>
                  <a:cubicBezTo>
                    <a:pt x="52011" y="33655"/>
                    <a:pt x="12238" y="61190"/>
                    <a:pt x="15297" y="70368"/>
                  </a:cubicBezTo>
                  <a:cubicBezTo>
                    <a:pt x="24476" y="85666"/>
                    <a:pt x="48952" y="76487"/>
                    <a:pt x="48952" y="76487"/>
                  </a:cubicBezTo>
                  <a:cubicBezTo>
                    <a:pt x="52011" y="76487"/>
                    <a:pt x="55071" y="76487"/>
                    <a:pt x="55071" y="79547"/>
                  </a:cubicBezTo>
                  <a:cubicBezTo>
                    <a:pt x="55071" y="82606"/>
                    <a:pt x="55071" y="85666"/>
                    <a:pt x="52011" y="85666"/>
                  </a:cubicBezTo>
                  <a:cubicBezTo>
                    <a:pt x="45892" y="82606"/>
                    <a:pt x="39773" y="85666"/>
                    <a:pt x="30595" y="85666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3" name="任意多边形: 形状 962">
              <a:extLst>
                <a:ext uri="{FF2B5EF4-FFF2-40B4-BE49-F238E27FC236}">
                  <a16:creationId xmlns:a16="http://schemas.microsoft.com/office/drawing/2014/main" id="{BA6EB65D-758C-4B19-9BF7-2EBD12785101}"/>
                </a:ext>
              </a:extLst>
            </p:cNvPr>
            <p:cNvSpPr/>
            <p:nvPr/>
          </p:nvSpPr>
          <p:spPr>
            <a:xfrm>
              <a:off x="3512627" y="1942274"/>
              <a:ext cx="424875" cy="571039"/>
            </a:xfrm>
            <a:custGeom>
              <a:avLst/>
              <a:gdLst>
                <a:gd name="connsiteX0" fmla="*/ 413031 w 424875"/>
                <a:gd name="connsiteY0" fmla="*/ 181879 h 571039"/>
                <a:gd name="connsiteX1" fmla="*/ 416091 w 424875"/>
                <a:gd name="connsiteY1" fmla="*/ 432757 h 571039"/>
                <a:gd name="connsiteX2" fmla="*/ 256997 w 424875"/>
                <a:gd name="connsiteY2" fmla="*/ 570434 h 571039"/>
                <a:gd name="connsiteX3" fmla="*/ 39773 w 424875"/>
                <a:gd name="connsiteY3" fmla="*/ 429698 h 571039"/>
                <a:gd name="connsiteX4" fmla="*/ 0 w 424875"/>
                <a:gd name="connsiteY4" fmla="*/ 203295 h 571039"/>
                <a:gd name="connsiteX5" fmla="*/ 211105 w 424875"/>
                <a:gd name="connsiteY5" fmla="*/ 1369 h 571039"/>
                <a:gd name="connsiteX6" fmla="*/ 413031 w 424875"/>
                <a:gd name="connsiteY6" fmla="*/ 181879 h 57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875" h="571039">
                  <a:moveTo>
                    <a:pt x="413031" y="181879"/>
                  </a:moveTo>
                  <a:cubicBezTo>
                    <a:pt x="413031" y="181879"/>
                    <a:pt x="437507" y="359330"/>
                    <a:pt x="416091" y="432757"/>
                  </a:cubicBezTo>
                  <a:cubicBezTo>
                    <a:pt x="397734" y="500066"/>
                    <a:pt x="309009" y="564315"/>
                    <a:pt x="256997" y="570434"/>
                  </a:cubicBezTo>
                  <a:cubicBezTo>
                    <a:pt x="189688" y="576553"/>
                    <a:pt x="70368" y="536780"/>
                    <a:pt x="39773" y="429698"/>
                  </a:cubicBezTo>
                  <a:cubicBezTo>
                    <a:pt x="18357" y="356270"/>
                    <a:pt x="0" y="255307"/>
                    <a:pt x="0" y="203295"/>
                  </a:cubicBezTo>
                  <a:cubicBezTo>
                    <a:pt x="0" y="108451"/>
                    <a:pt x="27535" y="28905"/>
                    <a:pt x="211105" y="1369"/>
                  </a:cubicBezTo>
                  <a:cubicBezTo>
                    <a:pt x="296771" y="-13928"/>
                    <a:pt x="391615" y="102332"/>
                    <a:pt x="413031" y="181879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4" name="任意多边形: 形状 963">
              <a:extLst>
                <a:ext uri="{FF2B5EF4-FFF2-40B4-BE49-F238E27FC236}">
                  <a16:creationId xmlns:a16="http://schemas.microsoft.com/office/drawing/2014/main" id="{AFEBEB41-A3A2-4E61-9879-5AE7162902B9}"/>
                </a:ext>
              </a:extLst>
            </p:cNvPr>
            <p:cNvSpPr/>
            <p:nvPr/>
          </p:nvSpPr>
          <p:spPr>
            <a:xfrm>
              <a:off x="3739029" y="2203700"/>
              <a:ext cx="58130" cy="140736"/>
            </a:xfrm>
            <a:custGeom>
              <a:avLst/>
              <a:gdLst>
                <a:gd name="connsiteX0" fmla="*/ 27535 w 58130"/>
                <a:gd name="connsiteY0" fmla="*/ 140737 h 140736"/>
                <a:gd name="connsiteX1" fmla="*/ 6119 w 58130"/>
                <a:gd name="connsiteY1" fmla="*/ 137677 h 140736"/>
                <a:gd name="connsiteX2" fmla="*/ 0 w 58130"/>
                <a:gd name="connsiteY2" fmla="*/ 131558 h 140736"/>
                <a:gd name="connsiteX3" fmla="*/ 6119 w 58130"/>
                <a:gd name="connsiteY3" fmla="*/ 125439 h 140736"/>
                <a:gd name="connsiteX4" fmla="*/ 45892 w 58130"/>
                <a:gd name="connsiteY4" fmla="*/ 122380 h 140736"/>
                <a:gd name="connsiteX5" fmla="*/ 45892 w 58130"/>
                <a:gd name="connsiteY5" fmla="*/ 119320 h 140736"/>
                <a:gd name="connsiteX6" fmla="*/ 27535 w 58130"/>
                <a:gd name="connsiteY6" fmla="*/ 6119 h 140736"/>
                <a:gd name="connsiteX7" fmla="*/ 33654 w 58130"/>
                <a:gd name="connsiteY7" fmla="*/ 0 h 140736"/>
                <a:gd name="connsiteX8" fmla="*/ 39773 w 58130"/>
                <a:gd name="connsiteY8" fmla="*/ 6119 h 140736"/>
                <a:gd name="connsiteX9" fmla="*/ 58130 w 58130"/>
                <a:gd name="connsiteY9" fmla="*/ 119320 h 140736"/>
                <a:gd name="connsiteX10" fmla="*/ 52011 w 58130"/>
                <a:gd name="connsiteY10" fmla="*/ 131558 h 140736"/>
                <a:gd name="connsiteX11" fmla="*/ 27535 w 58130"/>
                <a:gd name="connsiteY11" fmla="*/ 140737 h 14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130" h="140736">
                  <a:moveTo>
                    <a:pt x="27535" y="140737"/>
                  </a:moveTo>
                  <a:cubicBezTo>
                    <a:pt x="18357" y="140737"/>
                    <a:pt x="9178" y="137677"/>
                    <a:pt x="6119" y="137677"/>
                  </a:cubicBezTo>
                  <a:cubicBezTo>
                    <a:pt x="3059" y="137677"/>
                    <a:pt x="0" y="134618"/>
                    <a:pt x="0" y="131558"/>
                  </a:cubicBezTo>
                  <a:cubicBezTo>
                    <a:pt x="0" y="128499"/>
                    <a:pt x="3059" y="125439"/>
                    <a:pt x="6119" y="125439"/>
                  </a:cubicBezTo>
                  <a:cubicBezTo>
                    <a:pt x="18357" y="128499"/>
                    <a:pt x="39773" y="128499"/>
                    <a:pt x="45892" y="122380"/>
                  </a:cubicBezTo>
                  <a:cubicBezTo>
                    <a:pt x="45892" y="122380"/>
                    <a:pt x="45892" y="119320"/>
                    <a:pt x="45892" y="119320"/>
                  </a:cubicBezTo>
                  <a:cubicBezTo>
                    <a:pt x="45892" y="100963"/>
                    <a:pt x="27535" y="9178"/>
                    <a:pt x="27535" y="6119"/>
                  </a:cubicBezTo>
                  <a:cubicBezTo>
                    <a:pt x="27535" y="3060"/>
                    <a:pt x="27535" y="0"/>
                    <a:pt x="33654" y="0"/>
                  </a:cubicBezTo>
                  <a:cubicBezTo>
                    <a:pt x="36714" y="0"/>
                    <a:pt x="39773" y="0"/>
                    <a:pt x="39773" y="6119"/>
                  </a:cubicBezTo>
                  <a:cubicBezTo>
                    <a:pt x="39773" y="9178"/>
                    <a:pt x="58130" y="100963"/>
                    <a:pt x="58130" y="119320"/>
                  </a:cubicBezTo>
                  <a:cubicBezTo>
                    <a:pt x="58130" y="125439"/>
                    <a:pt x="55071" y="128499"/>
                    <a:pt x="52011" y="131558"/>
                  </a:cubicBezTo>
                  <a:cubicBezTo>
                    <a:pt x="48952" y="137677"/>
                    <a:pt x="39773" y="140737"/>
                    <a:pt x="27535" y="140737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5" name="任意多边形: 形状 964">
              <a:extLst>
                <a:ext uri="{FF2B5EF4-FFF2-40B4-BE49-F238E27FC236}">
                  <a16:creationId xmlns:a16="http://schemas.microsoft.com/office/drawing/2014/main" id="{FCAACD08-2341-42C3-A3DD-B8BB8E3A2AF9}"/>
                </a:ext>
              </a:extLst>
            </p:cNvPr>
            <p:cNvSpPr/>
            <p:nvPr/>
          </p:nvSpPr>
          <p:spPr>
            <a:xfrm>
              <a:off x="3711494" y="2393388"/>
              <a:ext cx="107082" cy="52134"/>
            </a:xfrm>
            <a:custGeom>
              <a:avLst/>
              <a:gdLst>
                <a:gd name="connsiteX0" fmla="*/ 107082 w 107082"/>
                <a:gd name="connsiteY0" fmla="*/ 0 h 52134"/>
                <a:gd name="connsiteX1" fmla="*/ 0 w 107082"/>
                <a:gd name="connsiteY1" fmla="*/ 0 h 52134"/>
                <a:gd name="connsiteX2" fmla="*/ 52011 w 107082"/>
                <a:gd name="connsiteY2" fmla="*/ 52011 h 52134"/>
                <a:gd name="connsiteX3" fmla="*/ 107082 w 107082"/>
                <a:gd name="connsiteY3" fmla="*/ 0 h 52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82" h="52134">
                  <a:moveTo>
                    <a:pt x="107082" y="0"/>
                  </a:moveTo>
                  <a:cubicBezTo>
                    <a:pt x="107082" y="0"/>
                    <a:pt x="52011" y="15297"/>
                    <a:pt x="0" y="0"/>
                  </a:cubicBezTo>
                  <a:cubicBezTo>
                    <a:pt x="0" y="0"/>
                    <a:pt x="3060" y="52011"/>
                    <a:pt x="52011" y="52011"/>
                  </a:cubicBezTo>
                  <a:cubicBezTo>
                    <a:pt x="94844" y="55071"/>
                    <a:pt x="107082" y="0"/>
                    <a:pt x="107082" y="0"/>
                  </a:cubicBezTo>
                  <a:close/>
                </a:path>
              </a:pathLst>
            </a:custGeom>
            <a:solidFill>
              <a:srgbClr val="FFFFFF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6" name="任意多边形: 形状 965">
              <a:extLst>
                <a:ext uri="{FF2B5EF4-FFF2-40B4-BE49-F238E27FC236}">
                  <a16:creationId xmlns:a16="http://schemas.microsoft.com/office/drawing/2014/main" id="{3976539C-E806-41D8-AE39-9A376DAC11C8}"/>
                </a:ext>
              </a:extLst>
            </p:cNvPr>
            <p:cNvSpPr/>
            <p:nvPr/>
          </p:nvSpPr>
          <p:spPr>
            <a:xfrm>
              <a:off x="3830034" y="2181683"/>
              <a:ext cx="41153" cy="40973"/>
            </a:xfrm>
            <a:custGeom>
              <a:avLst/>
              <a:gdLst>
                <a:gd name="connsiteX0" fmla="*/ 780 w 41153"/>
                <a:gd name="connsiteY0" fmla="*/ 25076 h 40973"/>
                <a:gd name="connsiteX1" fmla="*/ 25256 w 41153"/>
                <a:gd name="connsiteY1" fmla="*/ 40374 h 40973"/>
                <a:gd name="connsiteX2" fmla="*/ 40553 w 41153"/>
                <a:gd name="connsiteY2" fmla="*/ 15898 h 40973"/>
                <a:gd name="connsiteX3" fmla="*/ 16077 w 41153"/>
                <a:gd name="connsiteY3" fmla="*/ 600 h 40973"/>
                <a:gd name="connsiteX4" fmla="*/ 780 w 41153"/>
                <a:gd name="connsiteY4" fmla="*/ 25076 h 40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53" h="40973">
                  <a:moveTo>
                    <a:pt x="780" y="25076"/>
                  </a:moveTo>
                  <a:cubicBezTo>
                    <a:pt x="3839" y="34255"/>
                    <a:pt x="13018" y="43433"/>
                    <a:pt x="25256" y="40374"/>
                  </a:cubicBezTo>
                  <a:cubicBezTo>
                    <a:pt x="34434" y="37314"/>
                    <a:pt x="43612" y="28136"/>
                    <a:pt x="40553" y="15898"/>
                  </a:cubicBezTo>
                  <a:cubicBezTo>
                    <a:pt x="37494" y="6719"/>
                    <a:pt x="28315" y="-2459"/>
                    <a:pt x="16077" y="600"/>
                  </a:cubicBezTo>
                  <a:cubicBezTo>
                    <a:pt x="3839" y="3660"/>
                    <a:pt x="-2280" y="12838"/>
                    <a:pt x="780" y="2507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7" name="任意多边形: 形状 966">
              <a:extLst>
                <a:ext uri="{FF2B5EF4-FFF2-40B4-BE49-F238E27FC236}">
                  <a16:creationId xmlns:a16="http://schemas.microsoft.com/office/drawing/2014/main" id="{044E11DB-2064-4DA5-8AAB-84F5D78CBDE7}"/>
                </a:ext>
              </a:extLst>
            </p:cNvPr>
            <p:cNvSpPr/>
            <p:nvPr/>
          </p:nvSpPr>
          <p:spPr>
            <a:xfrm>
              <a:off x="3646465" y="2200040"/>
              <a:ext cx="41153" cy="40973"/>
            </a:xfrm>
            <a:custGeom>
              <a:avLst/>
              <a:gdLst>
                <a:gd name="connsiteX0" fmla="*/ 780 w 41153"/>
                <a:gd name="connsiteY0" fmla="*/ 25076 h 40973"/>
                <a:gd name="connsiteX1" fmla="*/ 25256 w 41153"/>
                <a:gd name="connsiteY1" fmla="*/ 40374 h 40973"/>
                <a:gd name="connsiteX2" fmla="*/ 40553 w 41153"/>
                <a:gd name="connsiteY2" fmla="*/ 15898 h 40973"/>
                <a:gd name="connsiteX3" fmla="*/ 16077 w 41153"/>
                <a:gd name="connsiteY3" fmla="*/ 600 h 40973"/>
                <a:gd name="connsiteX4" fmla="*/ 780 w 41153"/>
                <a:gd name="connsiteY4" fmla="*/ 25076 h 40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53" h="40973">
                  <a:moveTo>
                    <a:pt x="780" y="25076"/>
                  </a:moveTo>
                  <a:cubicBezTo>
                    <a:pt x="3839" y="34255"/>
                    <a:pt x="13018" y="43433"/>
                    <a:pt x="25256" y="40374"/>
                  </a:cubicBezTo>
                  <a:cubicBezTo>
                    <a:pt x="34434" y="37314"/>
                    <a:pt x="43612" y="28136"/>
                    <a:pt x="40553" y="15898"/>
                  </a:cubicBezTo>
                  <a:cubicBezTo>
                    <a:pt x="37494" y="6719"/>
                    <a:pt x="28315" y="-2459"/>
                    <a:pt x="16077" y="600"/>
                  </a:cubicBezTo>
                  <a:cubicBezTo>
                    <a:pt x="3839" y="3660"/>
                    <a:pt x="-2280" y="15898"/>
                    <a:pt x="780" y="2507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8" name="任意多边形: 形状 967">
              <a:extLst>
                <a:ext uri="{FF2B5EF4-FFF2-40B4-BE49-F238E27FC236}">
                  <a16:creationId xmlns:a16="http://schemas.microsoft.com/office/drawing/2014/main" id="{A0A7E9EA-14E2-415D-A50B-0AD08B6FBC6F}"/>
                </a:ext>
              </a:extLst>
            </p:cNvPr>
            <p:cNvSpPr/>
            <p:nvPr/>
          </p:nvSpPr>
          <p:spPr>
            <a:xfrm>
              <a:off x="3798952" y="2133331"/>
              <a:ext cx="92287" cy="33654"/>
            </a:xfrm>
            <a:custGeom>
              <a:avLst/>
              <a:gdLst>
                <a:gd name="connsiteX0" fmla="*/ 86933 w 92287"/>
                <a:gd name="connsiteY0" fmla="*/ 33654 h 33654"/>
                <a:gd name="connsiteX1" fmla="*/ 80814 w 92287"/>
                <a:gd name="connsiteY1" fmla="*/ 30595 h 33654"/>
                <a:gd name="connsiteX2" fmla="*/ 13505 w 92287"/>
                <a:gd name="connsiteY2" fmla="*/ 24476 h 33654"/>
                <a:gd name="connsiteX3" fmla="*/ 1267 w 92287"/>
                <a:gd name="connsiteY3" fmla="*/ 21416 h 33654"/>
                <a:gd name="connsiteX4" fmla="*/ 4327 w 92287"/>
                <a:gd name="connsiteY4" fmla="*/ 9178 h 33654"/>
                <a:gd name="connsiteX5" fmla="*/ 89992 w 92287"/>
                <a:gd name="connsiteY5" fmla="*/ 18357 h 33654"/>
                <a:gd name="connsiteX6" fmla="*/ 89992 w 92287"/>
                <a:gd name="connsiteY6" fmla="*/ 30595 h 33654"/>
                <a:gd name="connsiteX7" fmla="*/ 86933 w 92287"/>
                <a:gd name="connsiteY7" fmla="*/ 33654 h 33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87" h="33654">
                  <a:moveTo>
                    <a:pt x="86933" y="33654"/>
                  </a:moveTo>
                  <a:cubicBezTo>
                    <a:pt x="83874" y="33654"/>
                    <a:pt x="83874" y="33654"/>
                    <a:pt x="80814" y="30595"/>
                  </a:cubicBezTo>
                  <a:cubicBezTo>
                    <a:pt x="53279" y="3059"/>
                    <a:pt x="13505" y="24476"/>
                    <a:pt x="13505" y="24476"/>
                  </a:cubicBezTo>
                  <a:cubicBezTo>
                    <a:pt x="10446" y="27535"/>
                    <a:pt x="4327" y="24476"/>
                    <a:pt x="1267" y="21416"/>
                  </a:cubicBezTo>
                  <a:cubicBezTo>
                    <a:pt x="-1792" y="18357"/>
                    <a:pt x="1267" y="12238"/>
                    <a:pt x="4327" y="9178"/>
                  </a:cubicBezTo>
                  <a:cubicBezTo>
                    <a:pt x="22684" y="0"/>
                    <a:pt x="62457" y="-9178"/>
                    <a:pt x="89992" y="18357"/>
                  </a:cubicBezTo>
                  <a:cubicBezTo>
                    <a:pt x="93052" y="21416"/>
                    <a:pt x="93052" y="27535"/>
                    <a:pt x="89992" y="30595"/>
                  </a:cubicBezTo>
                  <a:cubicBezTo>
                    <a:pt x="89992" y="30595"/>
                    <a:pt x="89992" y="33654"/>
                    <a:pt x="86933" y="33654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9" name="任意多边形: 形状 968">
              <a:extLst>
                <a:ext uri="{FF2B5EF4-FFF2-40B4-BE49-F238E27FC236}">
                  <a16:creationId xmlns:a16="http://schemas.microsoft.com/office/drawing/2014/main" id="{3D168CD0-0898-4372-B9AB-D8A589DCE1D4}"/>
                </a:ext>
              </a:extLst>
            </p:cNvPr>
            <p:cNvSpPr/>
            <p:nvPr/>
          </p:nvSpPr>
          <p:spPr>
            <a:xfrm>
              <a:off x="3611296" y="2133643"/>
              <a:ext cx="92287" cy="36402"/>
            </a:xfrm>
            <a:custGeom>
              <a:avLst/>
              <a:gdLst>
                <a:gd name="connsiteX0" fmla="*/ 8414 w 92287"/>
                <a:gd name="connsiteY0" fmla="*/ 36403 h 36402"/>
                <a:gd name="connsiteX1" fmla="*/ 2295 w 92287"/>
                <a:gd name="connsiteY1" fmla="*/ 33343 h 36402"/>
                <a:gd name="connsiteX2" fmla="*/ 2295 w 92287"/>
                <a:gd name="connsiteY2" fmla="*/ 21105 h 36402"/>
                <a:gd name="connsiteX3" fmla="*/ 87960 w 92287"/>
                <a:gd name="connsiteY3" fmla="*/ 11927 h 36402"/>
                <a:gd name="connsiteX4" fmla="*/ 91020 w 92287"/>
                <a:gd name="connsiteY4" fmla="*/ 24165 h 36402"/>
                <a:gd name="connsiteX5" fmla="*/ 78782 w 92287"/>
                <a:gd name="connsiteY5" fmla="*/ 27224 h 36402"/>
                <a:gd name="connsiteX6" fmla="*/ 11473 w 92287"/>
                <a:gd name="connsiteY6" fmla="*/ 33343 h 36402"/>
                <a:gd name="connsiteX7" fmla="*/ 8414 w 92287"/>
                <a:gd name="connsiteY7" fmla="*/ 36403 h 3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87" h="36402">
                  <a:moveTo>
                    <a:pt x="8414" y="36403"/>
                  </a:moveTo>
                  <a:cubicBezTo>
                    <a:pt x="5354" y="36403"/>
                    <a:pt x="5354" y="36403"/>
                    <a:pt x="2295" y="33343"/>
                  </a:cubicBezTo>
                  <a:cubicBezTo>
                    <a:pt x="-765" y="30284"/>
                    <a:pt x="-765" y="24165"/>
                    <a:pt x="2295" y="21105"/>
                  </a:cubicBezTo>
                  <a:cubicBezTo>
                    <a:pt x="14533" y="5808"/>
                    <a:pt x="51246" y="-12549"/>
                    <a:pt x="87960" y="11927"/>
                  </a:cubicBezTo>
                  <a:cubicBezTo>
                    <a:pt x="91020" y="14986"/>
                    <a:pt x="94079" y="18046"/>
                    <a:pt x="91020" y="24165"/>
                  </a:cubicBezTo>
                  <a:cubicBezTo>
                    <a:pt x="87960" y="27224"/>
                    <a:pt x="84901" y="30284"/>
                    <a:pt x="78782" y="27224"/>
                  </a:cubicBezTo>
                  <a:cubicBezTo>
                    <a:pt x="42068" y="2748"/>
                    <a:pt x="14533" y="33343"/>
                    <a:pt x="11473" y="33343"/>
                  </a:cubicBezTo>
                  <a:cubicBezTo>
                    <a:pt x="11473" y="36403"/>
                    <a:pt x="8414" y="36403"/>
                    <a:pt x="8414" y="36403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0" name="任意多边形: 形状 969">
              <a:extLst>
                <a:ext uri="{FF2B5EF4-FFF2-40B4-BE49-F238E27FC236}">
                  <a16:creationId xmlns:a16="http://schemas.microsoft.com/office/drawing/2014/main" id="{A878949E-538E-4A80-A104-D66CB7D8FC43}"/>
                </a:ext>
              </a:extLst>
            </p:cNvPr>
            <p:cNvSpPr/>
            <p:nvPr/>
          </p:nvSpPr>
          <p:spPr>
            <a:xfrm>
              <a:off x="3604412" y="2451518"/>
              <a:ext cx="231756" cy="64249"/>
            </a:xfrm>
            <a:custGeom>
              <a:avLst/>
              <a:gdLst>
                <a:gd name="connsiteX0" fmla="*/ 149915 w 231756"/>
                <a:gd name="connsiteY0" fmla="*/ 64249 h 64249"/>
                <a:gd name="connsiteX1" fmla="*/ 3060 w 231756"/>
                <a:gd name="connsiteY1" fmla="*/ 12238 h 64249"/>
                <a:gd name="connsiteX2" fmla="*/ 0 w 231756"/>
                <a:gd name="connsiteY2" fmla="*/ 3060 h 64249"/>
                <a:gd name="connsiteX3" fmla="*/ 9178 w 231756"/>
                <a:gd name="connsiteY3" fmla="*/ 0 h 64249"/>
                <a:gd name="connsiteX4" fmla="*/ 149915 w 231756"/>
                <a:gd name="connsiteY4" fmla="*/ 48952 h 64249"/>
                <a:gd name="connsiteX5" fmla="*/ 149915 w 231756"/>
                <a:gd name="connsiteY5" fmla="*/ 48952 h 64249"/>
                <a:gd name="connsiteX6" fmla="*/ 220283 w 231756"/>
                <a:gd name="connsiteY6" fmla="*/ 24476 h 64249"/>
                <a:gd name="connsiteX7" fmla="*/ 229462 w 231756"/>
                <a:gd name="connsiteY7" fmla="*/ 24476 h 64249"/>
                <a:gd name="connsiteX8" fmla="*/ 229462 w 231756"/>
                <a:gd name="connsiteY8" fmla="*/ 33654 h 64249"/>
                <a:gd name="connsiteX9" fmla="*/ 149915 w 231756"/>
                <a:gd name="connsiteY9" fmla="*/ 64249 h 64249"/>
                <a:gd name="connsiteX10" fmla="*/ 149915 w 231756"/>
                <a:gd name="connsiteY10" fmla="*/ 64249 h 6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1756" h="64249">
                  <a:moveTo>
                    <a:pt x="149915" y="64249"/>
                  </a:moveTo>
                  <a:cubicBezTo>
                    <a:pt x="97904" y="64249"/>
                    <a:pt x="9178" y="15297"/>
                    <a:pt x="3060" y="12238"/>
                  </a:cubicBezTo>
                  <a:cubicBezTo>
                    <a:pt x="0" y="9178"/>
                    <a:pt x="0" y="6119"/>
                    <a:pt x="0" y="3060"/>
                  </a:cubicBezTo>
                  <a:cubicBezTo>
                    <a:pt x="3060" y="0"/>
                    <a:pt x="6119" y="0"/>
                    <a:pt x="9178" y="0"/>
                  </a:cubicBezTo>
                  <a:cubicBezTo>
                    <a:pt x="9178" y="0"/>
                    <a:pt x="100963" y="48952"/>
                    <a:pt x="149915" y="48952"/>
                  </a:cubicBezTo>
                  <a:cubicBezTo>
                    <a:pt x="149915" y="48952"/>
                    <a:pt x="149915" y="48952"/>
                    <a:pt x="149915" y="48952"/>
                  </a:cubicBezTo>
                  <a:cubicBezTo>
                    <a:pt x="189688" y="48952"/>
                    <a:pt x="220283" y="24476"/>
                    <a:pt x="220283" y="24476"/>
                  </a:cubicBezTo>
                  <a:cubicBezTo>
                    <a:pt x="223343" y="21416"/>
                    <a:pt x="226402" y="21416"/>
                    <a:pt x="229462" y="24476"/>
                  </a:cubicBezTo>
                  <a:cubicBezTo>
                    <a:pt x="232521" y="27535"/>
                    <a:pt x="232521" y="30595"/>
                    <a:pt x="229462" y="33654"/>
                  </a:cubicBezTo>
                  <a:cubicBezTo>
                    <a:pt x="229462" y="39773"/>
                    <a:pt x="195807" y="64249"/>
                    <a:pt x="149915" y="64249"/>
                  </a:cubicBezTo>
                  <a:cubicBezTo>
                    <a:pt x="149915" y="64249"/>
                    <a:pt x="149915" y="64249"/>
                    <a:pt x="149915" y="64249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1" name="任意多边形: 形状 970">
              <a:extLst>
                <a:ext uri="{FF2B5EF4-FFF2-40B4-BE49-F238E27FC236}">
                  <a16:creationId xmlns:a16="http://schemas.microsoft.com/office/drawing/2014/main" id="{5359BB0C-4BB4-477A-A75F-EB3F4CFAC3BF}"/>
                </a:ext>
              </a:extLst>
            </p:cNvPr>
            <p:cNvSpPr/>
            <p:nvPr/>
          </p:nvSpPr>
          <p:spPr>
            <a:xfrm>
              <a:off x="3472536" y="1965059"/>
              <a:ext cx="113518" cy="269235"/>
            </a:xfrm>
            <a:custGeom>
              <a:avLst/>
              <a:gdLst>
                <a:gd name="connsiteX0" fmla="*/ 113519 w 113518"/>
                <a:gd name="connsiteY0" fmla="*/ 128499 h 269235"/>
                <a:gd name="connsiteX1" fmla="*/ 64567 w 113518"/>
                <a:gd name="connsiteY1" fmla="*/ 269235 h 269235"/>
                <a:gd name="connsiteX2" fmla="*/ 6436 w 113518"/>
                <a:gd name="connsiteY2" fmla="*/ 168272 h 269235"/>
                <a:gd name="connsiteX3" fmla="*/ 64567 w 113518"/>
                <a:gd name="connsiteY3" fmla="*/ 0 h 269235"/>
                <a:gd name="connsiteX4" fmla="*/ 113519 w 113518"/>
                <a:gd name="connsiteY4" fmla="*/ 128499 h 269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518" h="269235">
                  <a:moveTo>
                    <a:pt x="113519" y="128499"/>
                  </a:moveTo>
                  <a:cubicBezTo>
                    <a:pt x="113519" y="128499"/>
                    <a:pt x="58448" y="238640"/>
                    <a:pt x="64567" y="269235"/>
                  </a:cubicBezTo>
                  <a:cubicBezTo>
                    <a:pt x="64567" y="269235"/>
                    <a:pt x="21734" y="223343"/>
                    <a:pt x="6436" y="168272"/>
                  </a:cubicBezTo>
                  <a:cubicBezTo>
                    <a:pt x="-8861" y="110142"/>
                    <a:pt x="317" y="15297"/>
                    <a:pt x="64567" y="0"/>
                  </a:cubicBezTo>
                  <a:cubicBezTo>
                    <a:pt x="64567" y="0"/>
                    <a:pt x="73745" y="110142"/>
                    <a:pt x="113519" y="128499"/>
                  </a:cubicBezTo>
                  <a:close/>
                </a:path>
              </a:pathLst>
            </a:custGeom>
            <a:solidFill>
              <a:srgbClr val="664241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2" name="任意多边形: 形状 971">
              <a:extLst>
                <a:ext uri="{FF2B5EF4-FFF2-40B4-BE49-F238E27FC236}">
                  <a16:creationId xmlns:a16="http://schemas.microsoft.com/office/drawing/2014/main" id="{A8622A9E-285E-4C72-AD2D-DFE027E3BCBD}"/>
                </a:ext>
              </a:extLst>
            </p:cNvPr>
            <p:cNvSpPr/>
            <p:nvPr/>
          </p:nvSpPr>
          <p:spPr>
            <a:xfrm>
              <a:off x="3527121" y="1849332"/>
              <a:ext cx="438920" cy="351308"/>
            </a:xfrm>
            <a:custGeom>
              <a:avLst/>
              <a:gdLst>
                <a:gd name="connsiteX0" fmla="*/ 58934 w 438920"/>
                <a:gd name="connsiteY0" fmla="*/ 244226 h 351308"/>
                <a:gd name="connsiteX1" fmla="*/ 181314 w 438920"/>
                <a:gd name="connsiteY1" fmla="*/ 204453 h 351308"/>
                <a:gd name="connsiteX2" fmla="*/ 423014 w 438920"/>
                <a:gd name="connsiteY2" fmla="*/ 351308 h 351308"/>
                <a:gd name="connsiteX3" fmla="*/ 426073 w 438920"/>
                <a:gd name="connsiteY3" fmla="*/ 183036 h 351308"/>
                <a:gd name="connsiteX4" fmla="*/ 334288 w 438920"/>
                <a:gd name="connsiteY4" fmla="*/ 33121 h 351308"/>
                <a:gd name="connsiteX5" fmla="*/ 132362 w 438920"/>
                <a:gd name="connsiteY5" fmla="*/ 17824 h 351308"/>
                <a:gd name="connsiteX6" fmla="*/ 9982 w 438920"/>
                <a:gd name="connsiteY6" fmla="*/ 112668 h 351308"/>
                <a:gd name="connsiteX7" fmla="*/ 58934 w 438920"/>
                <a:gd name="connsiteY7" fmla="*/ 244226 h 351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8920" h="351308">
                  <a:moveTo>
                    <a:pt x="58934" y="244226"/>
                  </a:moveTo>
                  <a:cubicBezTo>
                    <a:pt x="58934" y="244226"/>
                    <a:pt x="153778" y="204453"/>
                    <a:pt x="181314" y="204453"/>
                  </a:cubicBezTo>
                  <a:cubicBezTo>
                    <a:pt x="282277" y="207512"/>
                    <a:pt x="438311" y="277880"/>
                    <a:pt x="423014" y="351308"/>
                  </a:cubicBezTo>
                  <a:cubicBezTo>
                    <a:pt x="423014" y="351308"/>
                    <a:pt x="456668" y="247286"/>
                    <a:pt x="426073" y="183036"/>
                  </a:cubicBezTo>
                  <a:cubicBezTo>
                    <a:pt x="426073" y="183036"/>
                    <a:pt x="426073" y="57597"/>
                    <a:pt x="334288" y="33121"/>
                  </a:cubicBezTo>
                  <a:cubicBezTo>
                    <a:pt x="242504" y="8645"/>
                    <a:pt x="202730" y="-18890"/>
                    <a:pt x="132362" y="17824"/>
                  </a:cubicBezTo>
                  <a:cubicBezTo>
                    <a:pt x="61994" y="57597"/>
                    <a:pt x="16101" y="75954"/>
                    <a:pt x="9982" y="112668"/>
                  </a:cubicBezTo>
                  <a:cubicBezTo>
                    <a:pt x="9982" y="115728"/>
                    <a:pt x="-32850" y="231988"/>
                    <a:pt x="58934" y="244226"/>
                  </a:cubicBezTo>
                  <a:close/>
                </a:path>
              </a:pathLst>
            </a:custGeom>
            <a:solidFill>
              <a:srgbClr val="664241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3" name="任意多边形: 形状 972">
              <a:extLst>
                <a:ext uri="{FF2B5EF4-FFF2-40B4-BE49-F238E27FC236}">
                  <a16:creationId xmlns:a16="http://schemas.microsoft.com/office/drawing/2014/main" id="{C38B2A88-75A3-42AE-8A1D-6786799FED0F}"/>
                </a:ext>
              </a:extLst>
            </p:cNvPr>
            <p:cNvSpPr/>
            <p:nvPr/>
          </p:nvSpPr>
          <p:spPr>
            <a:xfrm>
              <a:off x="3471799" y="2203508"/>
              <a:ext cx="78901" cy="110890"/>
            </a:xfrm>
            <a:custGeom>
              <a:avLst/>
              <a:gdLst>
                <a:gd name="connsiteX0" fmla="*/ 65304 w 78901"/>
                <a:gd name="connsiteY0" fmla="*/ 15489 h 110890"/>
                <a:gd name="connsiteX1" fmla="*/ 7173 w 78901"/>
                <a:gd name="connsiteY1" fmla="*/ 6310 h 110890"/>
                <a:gd name="connsiteX2" fmla="*/ 65304 w 78901"/>
                <a:gd name="connsiteY2" fmla="*/ 107273 h 110890"/>
                <a:gd name="connsiteX3" fmla="*/ 65304 w 78901"/>
                <a:gd name="connsiteY3" fmla="*/ 15489 h 110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01" h="110890">
                  <a:moveTo>
                    <a:pt x="65304" y="15489"/>
                  </a:moveTo>
                  <a:cubicBezTo>
                    <a:pt x="65304" y="15489"/>
                    <a:pt x="31649" y="-12047"/>
                    <a:pt x="7173" y="6310"/>
                  </a:cubicBezTo>
                  <a:cubicBezTo>
                    <a:pt x="-17303" y="24667"/>
                    <a:pt x="25530" y="131749"/>
                    <a:pt x="65304" y="107273"/>
                  </a:cubicBezTo>
                  <a:cubicBezTo>
                    <a:pt x="95898" y="88916"/>
                    <a:pt x="65304" y="15489"/>
                    <a:pt x="65304" y="15489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4" name="任意多边形: 形状 973">
              <a:extLst>
                <a:ext uri="{FF2B5EF4-FFF2-40B4-BE49-F238E27FC236}">
                  <a16:creationId xmlns:a16="http://schemas.microsoft.com/office/drawing/2014/main" id="{9B52E849-86FC-4E59-B819-DB862D2BADBA}"/>
                </a:ext>
              </a:extLst>
            </p:cNvPr>
            <p:cNvSpPr/>
            <p:nvPr/>
          </p:nvSpPr>
          <p:spPr>
            <a:xfrm>
              <a:off x="3519323" y="1982149"/>
              <a:ext cx="75910" cy="242967"/>
            </a:xfrm>
            <a:custGeom>
              <a:avLst/>
              <a:gdLst>
                <a:gd name="connsiteX0" fmla="*/ 17780 w 75910"/>
                <a:gd name="connsiteY0" fmla="*/ 242967 h 242967"/>
                <a:gd name="connsiteX1" fmla="*/ 17780 w 75910"/>
                <a:gd name="connsiteY1" fmla="*/ 242967 h 242967"/>
                <a:gd name="connsiteX2" fmla="*/ 11661 w 75910"/>
                <a:gd name="connsiteY2" fmla="*/ 236848 h 242967"/>
                <a:gd name="connsiteX3" fmla="*/ 57553 w 75910"/>
                <a:gd name="connsiteY3" fmla="*/ 114468 h 242967"/>
                <a:gd name="connsiteX4" fmla="*/ 8601 w 75910"/>
                <a:gd name="connsiteY4" fmla="*/ 71636 h 242967"/>
                <a:gd name="connsiteX5" fmla="*/ 5542 w 75910"/>
                <a:gd name="connsiteY5" fmla="*/ 4327 h 242967"/>
                <a:gd name="connsiteX6" fmla="*/ 11661 w 75910"/>
                <a:gd name="connsiteY6" fmla="*/ 1267 h 242967"/>
                <a:gd name="connsiteX7" fmla="*/ 14720 w 75910"/>
                <a:gd name="connsiteY7" fmla="*/ 7386 h 242967"/>
                <a:gd name="connsiteX8" fmla="*/ 17780 w 75910"/>
                <a:gd name="connsiteY8" fmla="*/ 65517 h 242967"/>
                <a:gd name="connsiteX9" fmla="*/ 66732 w 75910"/>
                <a:gd name="connsiteY9" fmla="*/ 105290 h 242967"/>
                <a:gd name="connsiteX10" fmla="*/ 75910 w 75910"/>
                <a:gd name="connsiteY10" fmla="*/ 108349 h 242967"/>
                <a:gd name="connsiteX11" fmla="*/ 69791 w 75910"/>
                <a:gd name="connsiteY11" fmla="*/ 114468 h 242967"/>
                <a:gd name="connsiteX12" fmla="*/ 23899 w 75910"/>
                <a:gd name="connsiteY12" fmla="*/ 236848 h 242967"/>
                <a:gd name="connsiteX13" fmla="*/ 17780 w 75910"/>
                <a:gd name="connsiteY13" fmla="*/ 242967 h 242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5910" h="242967">
                  <a:moveTo>
                    <a:pt x="17780" y="242967"/>
                  </a:moveTo>
                  <a:cubicBezTo>
                    <a:pt x="17780" y="242967"/>
                    <a:pt x="17780" y="242967"/>
                    <a:pt x="17780" y="242967"/>
                  </a:cubicBezTo>
                  <a:cubicBezTo>
                    <a:pt x="14720" y="242967"/>
                    <a:pt x="11661" y="239908"/>
                    <a:pt x="11661" y="236848"/>
                  </a:cubicBezTo>
                  <a:cubicBezTo>
                    <a:pt x="14720" y="184837"/>
                    <a:pt x="45315" y="132825"/>
                    <a:pt x="57553" y="114468"/>
                  </a:cubicBezTo>
                  <a:cubicBezTo>
                    <a:pt x="45315" y="108349"/>
                    <a:pt x="20839" y="96111"/>
                    <a:pt x="8601" y="71636"/>
                  </a:cubicBezTo>
                  <a:cubicBezTo>
                    <a:pt x="-577" y="53279"/>
                    <a:pt x="-3637" y="28803"/>
                    <a:pt x="5542" y="4327"/>
                  </a:cubicBezTo>
                  <a:cubicBezTo>
                    <a:pt x="5542" y="1267"/>
                    <a:pt x="8601" y="-1792"/>
                    <a:pt x="11661" y="1267"/>
                  </a:cubicBezTo>
                  <a:cubicBezTo>
                    <a:pt x="14720" y="1267"/>
                    <a:pt x="17780" y="4327"/>
                    <a:pt x="14720" y="7386"/>
                  </a:cubicBezTo>
                  <a:cubicBezTo>
                    <a:pt x="8601" y="28803"/>
                    <a:pt x="8601" y="47160"/>
                    <a:pt x="17780" y="65517"/>
                  </a:cubicBezTo>
                  <a:cubicBezTo>
                    <a:pt x="33077" y="93052"/>
                    <a:pt x="66732" y="105290"/>
                    <a:pt x="66732" y="105290"/>
                  </a:cubicBezTo>
                  <a:lnTo>
                    <a:pt x="75910" y="108349"/>
                  </a:lnTo>
                  <a:lnTo>
                    <a:pt x="69791" y="114468"/>
                  </a:lnTo>
                  <a:cubicBezTo>
                    <a:pt x="69791" y="114468"/>
                    <a:pt x="26958" y="175658"/>
                    <a:pt x="23899" y="236848"/>
                  </a:cubicBezTo>
                  <a:cubicBezTo>
                    <a:pt x="23899" y="239908"/>
                    <a:pt x="20839" y="242967"/>
                    <a:pt x="17780" y="242967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5" name="任意多边形: 形状 974">
              <a:extLst>
                <a:ext uri="{FF2B5EF4-FFF2-40B4-BE49-F238E27FC236}">
                  <a16:creationId xmlns:a16="http://schemas.microsoft.com/office/drawing/2014/main" id="{D3FE4303-7FFB-4FD2-9891-DE504A10D892}"/>
                </a:ext>
              </a:extLst>
            </p:cNvPr>
            <p:cNvSpPr/>
            <p:nvPr/>
          </p:nvSpPr>
          <p:spPr>
            <a:xfrm>
              <a:off x="3292344" y="6251405"/>
              <a:ext cx="204985" cy="253937"/>
            </a:xfrm>
            <a:custGeom>
              <a:avLst/>
              <a:gdLst>
                <a:gd name="connsiteX0" fmla="*/ 0 w 204985"/>
                <a:gd name="connsiteY0" fmla="*/ 214164 h 253937"/>
                <a:gd name="connsiteX1" fmla="*/ 0 w 204985"/>
                <a:gd name="connsiteY1" fmla="*/ 0 h 253937"/>
                <a:gd name="connsiteX2" fmla="*/ 204986 w 204985"/>
                <a:gd name="connsiteY2" fmla="*/ 0 h 253937"/>
                <a:gd name="connsiteX3" fmla="*/ 165212 w 204985"/>
                <a:gd name="connsiteY3" fmla="*/ 226403 h 253937"/>
                <a:gd name="connsiteX4" fmla="*/ 15297 w 204985"/>
                <a:gd name="connsiteY4" fmla="*/ 253938 h 253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985" h="253937">
                  <a:moveTo>
                    <a:pt x="0" y="214164"/>
                  </a:moveTo>
                  <a:lnTo>
                    <a:pt x="0" y="0"/>
                  </a:lnTo>
                  <a:lnTo>
                    <a:pt x="204986" y="0"/>
                  </a:lnTo>
                  <a:lnTo>
                    <a:pt x="165212" y="226403"/>
                  </a:lnTo>
                  <a:lnTo>
                    <a:pt x="15297" y="253938"/>
                  </a:ln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6" name="任意多边形: 形状 975">
              <a:extLst>
                <a:ext uri="{FF2B5EF4-FFF2-40B4-BE49-F238E27FC236}">
                  <a16:creationId xmlns:a16="http://schemas.microsoft.com/office/drawing/2014/main" id="{5C011532-4BF4-45E0-BF0E-814A1ED8C7C0}"/>
                </a:ext>
              </a:extLst>
            </p:cNvPr>
            <p:cNvSpPr/>
            <p:nvPr/>
          </p:nvSpPr>
          <p:spPr>
            <a:xfrm>
              <a:off x="3192624" y="4088345"/>
              <a:ext cx="1153278" cy="2264022"/>
            </a:xfrm>
            <a:custGeom>
              <a:avLst/>
              <a:gdLst>
                <a:gd name="connsiteX0" fmla="*/ 1048162 w 1153278"/>
                <a:gd name="connsiteY0" fmla="*/ 18357 h 2264022"/>
                <a:gd name="connsiteX1" fmla="*/ 1146066 w 1153278"/>
                <a:gd name="connsiteY1" fmla="*/ 1395127 h 2264022"/>
                <a:gd name="connsiteX2" fmla="*/ 864593 w 1153278"/>
                <a:gd name="connsiteY2" fmla="*/ 2264023 h 2264022"/>
                <a:gd name="connsiteX3" fmla="*/ 577001 w 1153278"/>
                <a:gd name="connsiteY3" fmla="*/ 2264023 h 2264022"/>
                <a:gd name="connsiteX4" fmla="*/ 729975 w 1153278"/>
                <a:gd name="connsiteY4" fmla="*/ 1260510 h 2264022"/>
                <a:gd name="connsiteX5" fmla="*/ 549465 w 1153278"/>
                <a:gd name="connsiteY5" fmla="*/ 501756 h 2264022"/>
                <a:gd name="connsiteX6" fmla="*/ 518870 w 1153278"/>
                <a:gd name="connsiteY6" fmla="*/ 1245212 h 2264022"/>
                <a:gd name="connsiteX7" fmla="*/ 353658 w 1153278"/>
                <a:gd name="connsiteY7" fmla="*/ 2257904 h 2264022"/>
                <a:gd name="connsiteX8" fmla="*/ 44649 w 1153278"/>
                <a:gd name="connsiteY8" fmla="*/ 2242606 h 2264022"/>
                <a:gd name="connsiteX9" fmla="*/ 26293 w 1153278"/>
                <a:gd name="connsiteY9" fmla="*/ 1165666 h 2264022"/>
                <a:gd name="connsiteX10" fmla="*/ 23233 w 1153278"/>
                <a:gd name="connsiteY10" fmla="*/ 0 h 2264022"/>
                <a:gd name="connsiteX11" fmla="*/ 1048162 w 1153278"/>
                <a:gd name="connsiteY11" fmla="*/ 18357 h 2264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53278" h="2264022">
                  <a:moveTo>
                    <a:pt x="1048162" y="18357"/>
                  </a:moveTo>
                  <a:cubicBezTo>
                    <a:pt x="1048162" y="18357"/>
                    <a:pt x="1185839" y="1291105"/>
                    <a:pt x="1146066" y="1395127"/>
                  </a:cubicBezTo>
                  <a:cubicBezTo>
                    <a:pt x="1109352" y="1502210"/>
                    <a:pt x="864593" y="2264023"/>
                    <a:pt x="864593" y="2264023"/>
                  </a:cubicBezTo>
                  <a:lnTo>
                    <a:pt x="577001" y="2264023"/>
                  </a:lnTo>
                  <a:cubicBezTo>
                    <a:pt x="577001" y="2264023"/>
                    <a:pt x="723856" y="1358414"/>
                    <a:pt x="729975" y="1260510"/>
                  </a:cubicBezTo>
                  <a:cubicBezTo>
                    <a:pt x="736094" y="1162606"/>
                    <a:pt x="564763" y="532351"/>
                    <a:pt x="549465" y="501756"/>
                  </a:cubicBezTo>
                  <a:cubicBezTo>
                    <a:pt x="534168" y="471162"/>
                    <a:pt x="518870" y="1245212"/>
                    <a:pt x="518870" y="1245212"/>
                  </a:cubicBezTo>
                  <a:lnTo>
                    <a:pt x="353658" y="2257904"/>
                  </a:lnTo>
                  <a:lnTo>
                    <a:pt x="44649" y="2242606"/>
                  </a:lnTo>
                  <a:cubicBezTo>
                    <a:pt x="44649" y="2242606"/>
                    <a:pt x="41590" y="1263570"/>
                    <a:pt x="26293" y="1165666"/>
                  </a:cubicBezTo>
                  <a:cubicBezTo>
                    <a:pt x="10995" y="1067762"/>
                    <a:pt x="-22659" y="97904"/>
                    <a:pt x="23233" y="0"/>
                  </a:cubicBezTo>
                  <a:cubicBezTo>
                    <a:pt x="720797" y="30595"/>
                    <a:pt x="1048162" y="18357"/>
                    <a:pt x="1048162" y="18357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7" name="任意多边形: 形状 976">
              <a:extLst>
                <a:ext uri="{FF2B5EF4-FFF2-40B4-BE49-F238E27FC236}">
                  <a16:creationId xmlns:a16="http://schemas.microsoft.com/office/drawing/2014/main" id="{F8E4FD92-4F6B-465A-B982-6B4004002004}"/>
                </a:ext>
              </a:extLst>
            </p:cNvPr>
            <p:cNvSpPr/>
            <p:nvPr/>
          </p:nvSpPr>
          <p:spPr>
            <a:xfrm>
              <a:off x="3702315" y="2020655"/>
              <a:ext cx="195042" cy="39248"/>
            </a:xfrm>
            <a:custGeom>
              <a:avLst/>
              <a:gdLst>
                <a:gd name="connsiteX0" fmla="*/ 6119 w 195042"/>
                <a:gd name="connsiteY0" fmla="*/ 39249 h 39248"/>
                <a:gd name="connsiteX1" fmla="*/ 0 w 195042"/>
                <a:gd name="connsiteY1" fmla="*/ 36189 h 39248"/>
                <a:gd name="connsiteX2" fmla="*/ 3059 w 195042"/>
                <a:gd name="connsiteY2" fmla="*/ 27011 h 39248"/>
                <a:gd name="connsiteX3" fmla="*/ 192748 w 195042"/>
                <a:gd name="connsiteY3" fmla="*/ 20892 h 39248"/>
                <a:gd name="connsiteX4" fmla="*/ 192748 w 195042"/>
                <a:gd name="connsiteY4" fmla="*/ 30070 h 39248"/>
                <a:gd name="connsiteX5" fmla="*/ 183569 w 195042"/>
                <a:gd name="connsiteY5" fmla="*/ 30070 h 39248"/>
                <a:gd name="connsiteX6" fmla="*/ 6119 w 195042"/>
                <a:gd name="connsiteY6" fmla="*/ 39249 h 39248"/>
                <a:gd name="connsiteX7" fmla="*/ 6119 w 195042"/>
                <a:gd name="connsiteY7" fmla="*/ 39249 h 39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42" h="39248">
                  <a:moveTo>
                    <a:pt x="6119" y="39249"/>
                  </a:moveTo>
                  <a:cubicBezTo>
                    <a:pt x="3059" y="39249"/>
                    <a:pt x="3059" y="39249"/>
                    <a:pt x="0" y="36189"/>
                  </a:cubicBezTo>
                  <a:cubicBezTo>
                    <a:pt x="0" y="33130"/>
                    <a:pt x="0" y="30070"/>
                    <a:pt x="3059" y="27011"/>
                  </a:cubicBezTo>
                  <a:cubicBezTo>
                    <a:pt x="9178" y="23951"/>
                    <a:pt x="122380" y="-28060"/>
                    <a:pt x="192748" y="20892"/>
                  </a:cubicBezTo>
                  <a:cubicBezTo>
                    <a:pt x="195807" y="23951"/>
                    <a:pt x="195807" y="27011"/>
                    <a:pt x="192748" y="30070"/>
                  </a:cubicBezTo>
                  <a:cubicBezTo>
                    <a:pt x="189688" y="33130"/>
                    <a:pt x="186629" y="33130"/>
                    <a:pt x="183569" y="30070"/>
                  </a:cubicBezTo>
                  <a:cubicBezTo>
                    <a:pt x="122380" y="-12763"/>
                    <a:pt x="9178" y="39249"/>
                    <a:pt x="6119" y="39249"/>
                  </a:cubicBezTo>
                  <a:cubicBezTo>
                    <a:pt x="6119" y="39249"/>
                    <a:pt x="6119" y="39249"/>
                    <a:pt x="6119" y="39249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8" name="任意多边形: 形状 977">
              <a:extLst>
                <a:ext uri="{FF2B5EF4-FFF2-40B4-BE49-F238E27FC236}">
                  <a16:creationId xmlns:a16="http://schemas.microsoft.com/office/drawing/2014/main" id="{2D76884F-360B-4BAA-A288-4FB6B97D91ED}"/>
                </a:ext>
              </a:extLst>
            </p:cNvPr>
            <p:cNvSpPr/>
            <p:nvPr/>
          </p:nvSpPr>
          <p:spPr>
            <a:xfrm>
              <a:off x="3188321" y="2570838"/>
              <a:ext cx="1074701" cy="1572393"/>
            </a:xfrm>
            <a:custGeom>
              <a:avLst/>
              <a:gdLst>
                <a:gd name="connsiteX0" fmla="*/ 397734 w 1074701"/>
                <a:gd name="connsiteY0" fmla="*/ 0 h 1572393"/>
                <a:gd name="connsiteX1" fmla="*/ 688385 w 1074701"/>
                <a:gd name="connsiteY1" fmla="*/ 0 h 1572393"/>
                <a:gd name="connsiteX2" fmla="*/ 988215 w 1074701"/>
                <a:gd name="connsiteY2" fmla="*/ 131558 h 1572393"/>
                <a:gd name="connsiteX3" fmla="*/ 1073881 w 1074701"/>
                <a:gd name="connsiteY3" fmla="*/ 1541983 h 1572393"/>
                <a:gd name="connsiteX4" fmla="*/ 0 w 1074701"/>
                <a:gd name="connsiteY4" fmla="*/ 1517507 h 1572393"/>
                <a:gd name="connsiteX5" fmla="*/ 116261 w 1074701"/>
                <a:gd name="connsiteY5" fmla="*/ 104023 h 1572393"/>
                <a:gd name="connsiteX6" fmla="*/ 397734 w 1074701"/>
                <a:gd name="connsiteY6" fmla="*/ 0 h 1572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4701" h="1572393">
                  <a:moveTo>
                    <a:pt x="397734" y="0"/>
                  </a:moveTo>
                  <a:cubicBezTo>
                    <a:pt x="397734" y="0"/>
                    <a:pt x="572125" y="55071"/>
                    <a:pt x="688385" y="0"/>
                  </a:cubicBezTo>
                  <a:cubicBezTo>
                    <a:pt x="688385" y="0"/>
                    <a:pt x="963739" y="97904"/>
                    <a:pt x="988215" y="131558"/>
                  </a:cubicBezTo>
                  <a:cubicBezTo>
                    <a:pt x="1012691" y="162153"/>
                    <a:pt x="1083059" y="1474674"/>
                    <a:pt x="1073881" y="1541983"/>
                  </a:cubicBezTo>
                  <a:cubicBezTo>
                    <a:pt x="1073881" y="1541983"/>
                    <a:pt x="581303" y="1624589"/>
                    <a:pt x="0" y="1517507"/>
                  </a:cubicBezTo>
                  <a:cubicBezTo>
                    <a:pt x="0" y="1159547"/>
                    <a:pt x="73428" y="134618"/>
                    <a:pt x="116261" y="104023"/>
                  </a:cubicBezTo>
                  <a:cubicBezTo>
                    <a:pt x="156034" y="70368"/>
                    <a:pt x="397734" y="0"/>
                    <a:pt x="397734" y="0"/>
                  </a:cubicBezTo>
                  <a:close/>
                </a:path>
              </a:pathLst>
            </a:custGeom>
            <a:solidFill>
              <a:srgbClr val="F6EBE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" name="任意多边形: 形状 978">
              <a:extLst>
                <a:ext uri="{FF2B5EF4-FFF2-40B4-BE49-F238E27FC236}">
                  <a16:creationId xmlns:a16="http://schemas.microsoft.com/office/drawing/2014/main" id="{EB249233-8E2A-4919-ABA5-8D4CDE9456C8}"/>
                </a:ext>
              </a:extLst>
            </p:cNvPr>
            <p:cNvSpPr/>
            <p:nvPr/>
          </p:nvSpPr>
          <p:spPr>
            <a:xfrm>
              <a:off x="3582995" y="2573600"/>
              <a:ext cx="180509" cy="119618"/>
            </a:xfrm>
            <a:custGeom>
              <a:avLst/>
              <a:gdLst>
                <a:gd name="connsiteX0" fmla="*/ 180510 w 180509"/>
                <a:gd name="connsiteY0" fmla="*/ 21715 h 119618"/>
                <a:gd name="connsiteX1" fmla="*/ 152975 w 180509"/>
                <a:gd name="connsiteY1" fmla="*/ 119618 h 119618"/>
                <a:gd name="connsiteX2" fmla="*/ 0 w 180509"/>
                <a:gd name="connsiteY2" fmla="*/ 298 h 119618"/>
                <a:gd name="connsiteX3" fmla="*/ 180510 w 180509"/>
                <a:gd name="connsiteY3" fmla="*/ 21715 h 11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509" h="119618">
                  <a:moveTo>
                    <a:pt x="180510" y="21715"/>
                  </a:moveTo>
                  <a:lnTo>
                    <a:pt x="152975" y="119618"/>
                  </a:lnTo>
                  <a:lnTo>
                    <a:pt x="0" y="298"/>
                  </a:lnTo>
                  <a:cubicBezTo>
                    <a:pt x="3060" y="-2761"/>
                    <a:pt x="137677" y="18655"/>
                    <a:pt x="180510" y="21715"/>
                  </a:cubicBezTo>
                  <a:close/>
                </a:path>
              </a:pathLst>
            </a:custGeom>
            <a:solidFill>
              <a:srgbClr val="FFFFFF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" name="任意多边形: 形状 979">
              <a:extLst>
                <a:ext uri="{FF2B5EF4-FFF2-40B4-BE49-F238E27FC236}">
                  <a16:creationId xmlns:a16="http://schemas.microsoft.com/office/drawing/2014/main" id="{E4F42622-4FC2-4ACE-A87C-7C46ECA67200}"/>
                </a:ext>
              </a:extLst>
            </p:cNvPr>
            <p:cNvSpPr/>
            <p:nvPr/>
          </p:nvSpPr>
          <p:spPr>
            <a:xfrm>
              <a:off x="3763505" y="2573633"/>
              <a:ext cx="110141" cy="116525"/>
            </a:xfrm>
            <a:custGeom>
              <a:avLst/>
              <a:gdLst>
                <a:gd name="connsiteX0" fmla="*/ 0 w 110141"/>
                <a:gd name="connsiteY0" fmla="*/ 21681 h 116525"/>
                <a:gd name="connsiteX1" fmla="*/ 36714 w 110141"/>
                <a:gd name="connsiteY1" fmla="*/ 116525 h 116525"/>
                <a:gd name="connsiteX2" fmla="*/ 110142 w 110141"/>
                <a:gd name="connsiteY2" fmla="*/ 265 h 116525"/>
                <a:gd name="connsiteX3" fmla="*/ 0 w 110141"/>
                <a:gd name="connsiteY3" fmla="*/ 21681 h 116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41" h="116525">
                  <a:moveTo>
                    <a:pt x="0" y="21681"/>
                  </a:moveTo>
                  <a:lnTo>
                    <a:pt x="36714" y="116525"/>
                  </a:lnTo>
                  <a:lnTo>
                    <a:pt x="110142" y="265"/>
                  </a:lnTo>
                  <a:cubicBezTo>
                    <a:pt x="110142" y="-2795"/>
                    <a:pt x="42833" y="21681"/>
                    <a:pt x="0" y="21681"/>
                  </a:cubicBezTo>
                  <a:close/>
                </a:path>
              </a:pathLst>
            </a:custGeom>
            <a:solidFill>
              <a:srgbClr val="FFFFFF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" name="任意多边形: 形状 980">
              <a:extLst>
                <a:ext uri="{FF2B5EF4-FFF2-40B4-BE49-F238E27FC236}">
                  <a16:creationId xmlns:a16="http://schemas.microsoft.com/office/drawing/2014/main" id="{E5319F7C-DAB8-4D94-B5D1-E4D06B565974}"/>
                </a:ext>
              </a:extLst>
            </p:cNvPr>
            <p:cNvSpPr/>
            <p:nvPr/>
          </p:nvSpPr>
          <p:spPr>
            <a:xfrm>
              <a:off x="4018064" y="2661053"/>
              <a:ext cx="452183" cy="613467"/>
            </a:xfrm>
            <a:custGeom>
              <a:avLst/>
              <a:gdLst>
                <a:gd name="connsiteX0" fmla="*/ 63628 w 452183"/>
                <a:gd name="connsiteY0" fmla="*/ 613468 h 613467"/>
                <a:gd name="connsiteX1" fmla="*/ 51390 w 452183"/>
                <a:gd name="connsiteY1" fmla="*/ 10748 h 613467"/>
                <a:gd name="connsiteX2" fmla="*/ 452183 w 452183"/>
                <a:gd name="connsiteY2" fmla="*/ 445196 h 613467"/>
                <a:gd name="connsiteX3" fmla="*/ 63628 w 452183"/>
                <a:gd name="connsiteY3" fmla="*/ 613468 h 61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2183" h="613467">
                  <a:moveTo>
                    <a:pt x="63628" y="613468"/>
                  </a:moveTo>
                  <a:cubicBezTo>
                    <a:pt x="63628" y="613468"/>
                    <a:pt x="-70990" y="90295"/>
                    <a:pt x="51390" y="10748"/>
                  </a:cubicBezTo>
                  <a:cubicBezTo>
                    <a:pt x="195186" y="-81036"/>
                    <a:pt x="452183" y="445196"/>
                    <a:pt x="452183" y="445196"/>
                  </a:cubicBezTo>
                  <a:cubicBezTo>
                    <a:pt x="452183" y="445196"/>
                    <a:pt x="277792" y="595111"/>
                    <a:pt x="63628" y="613468"/>
                  </a:cubicBezTo>
                  <a:close/>
                </a:path>
              </a:pathLst>
            </a:custGeom>
            <a:solidFill>
              <a:srgbClr val="F6EBE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" name="任意多边形: 形状 981">
              <a:extLst>
                <a:ext uri="{FF2B5EF4-FFF2-40B4-BE49-F238E27FC236}">
                  <a16:creationId xmlns:a16="http://schemas.microsoft.com/office/drawing/2014/main" id="{3E42530B-BFB6-4D6E-8E75-AB675981ADDC}"/>
                </a:ext>
              </a:extLst>
            </p:cNvPr>
            <p:cNvSpPr/>
            <p:nvPr/>
          </p:nvSpPr>
          <p:spPr>
            <a:xfrm>
              <a:off x="4167358" y="2696277"/>
              <a:ext cx="54020" cy="553767"/>
            </a:xfrm>
            <a:custGeom>
              <a:avLst/>
              <a:gdLst>
                <a:gd name="connsiteX0" fmla="*/ 48952 w 54020"/>
                <a:gd name="connsiteY0" fmla="*/ 553768 h 553767"/>
                <a:gd name="connsiteX1" fmla="*/ 42833 w 54020"/>
                <a:gd name="connsiteY1" fmla="*/ 547649 h 553767"/>
                <a:gd name="connsiteX2" fmla="*/ 0 w 54020"/>
                <a:gd name="connsiteY2" fmla="*/ 6119 h 553767"/>
                <a:gd name="connsiteX3" fmla="*/ 3059 w 54020"/>
                <a:gd name="connsiteY3" fmla="*/ 0 h 553767"/>
                <a:gd name="connsiteX4" fmla="*/ 9178 w 54020"/>
                <a:gd name="connsiteY4" fmla="*/ 3060 h 553767"/>
                <a:gd name="connsiteX5" fmla="*/ 52011 w 54020"/>
                <a:gd name="connsiteY5" fmla="*/ 547649 h 553767"/>
                <a:gd name="connsiteX6" fmla="*/ 48952 w 54020"/>
                <a:gd name="connsiteY6" fmla="*/ 553768 h 553767"/>
                <a:gd name="connsiteX7" fmla="*/ 48952 w 54020"/>
                <a:gd name="connsiteY7" fmla="*/ 553768 h 553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020" h="553767">
                  <a:moveTo>
                    <a:pt x="48952" y="553768"/>
                  </a:moveTo>
                  <a:cubicBezTo>
                    <a:pt x="45892" y="553768"/>
                    <a:pt x="42833" y="550708"/>
                    <a:pt x="42833" y="547649"/>
                  </a:cubicBezTo>
                  <a:cubicBezTo>
                    <a:pt x="42833" y="541530"/>
                    <a:pt x="6119" y="45892"/>
                    <a:pt x="0" y="6119"/>
                  </a:cubicBezTo>
                  <a:cubicBezTo>
                    <a:pt x="0" y="3060"/>
                    <a:pt x="0" y="0"/>
                    <a:pt x="3059" y="0"/>
                  </a:cubicBezTo>
                  <a:cubicBezTo>
                    <a:pt x="6119" y="0"/>
                    <a:pt x="9178" y="0"/>
                    <a:pt x="9178" y="3060"/>
                  </a:cubicBezTo>
                  <a:cubicBezTo>
                    <a:pt x="18357" y="42833"/>
                    <a:pt x="52011" y="526232"/>
                    <a:pt x="52011" y="547649"/>
                  </a:cubicBezTo>
                  <a:cubicBezTo>
                    <a:pt x="55071" y="550708"/>
                    <a:pt x="55071" y="553768"/>
                    <a:pt x="48952" y="553768"/>
                  </a:cubicBezTo>
                  <a:cubicBezTo>
                    <a:pt x="52011" y="553768"/>
                    <a:pt x="52011" y="553768"/>
                    <a:pt x="48952" y="553768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" name="任意多边形: 形状 982">
              <a:extLst>
                <a:ext uri="{FF2B5EF4-FFF2-40B4-BE49-F238E27FC236}">
                  <a16:creationId xmlns:a16="http://schemas.microsoft.com/office/drawing/2014/main" id="{93EB49E9-6CC3-440D-B4FE-E51DA64D339A}"/>
                </a:ext>
              </a:extLst>
            </p:cNvPr>
            <p:cNvSpPr/>
            <p:nvPr/>
          </p:nvSpPr>
          <p:spPr>
            <a:xfrm>
              <a:off x="3735970" y="4229082"/>
              <a:ext cx="70368" cy="367138"/>
            </a:xfrm>
            <a:custGeom>
              <a:avLst/>
              <a:gdLst>
                <a:gd name="connsiteX0" fmla="*/ 6119 w 70368"/>
                <a:gd name="connsiteY0" fmla="*/ 367139 h 367138"/>
                <a:gd name="connsiteX1" fmla="*/ 6119 w 70368"/>
                <a:gd name="connsiteY1" fmla="*/ 367139 h 367138"/>
                <a:gd name="connsiteX2" fmla="*/ 0 w 70368"/>
                <a:gd name="connsiteY2" fmla="*/ 357960 h 367138"/>
                <a:gd name="connsiteX3" fmla="*/ 58130 w 70368"/>
                <a:gd name="connsiteY3" fmla="*/ 6119 h 367138"/>
                <a:gd name="connsiteX4" fmla="*/ 64249 w 70368"/>
                <a:gd name="connsiteY4" fmla="*/ 0 h 367138"/>
                <a:gd name="connsiteX5" fmla="*/ 70368 w 70368"/>
                <a:gd name="connsiteY5" fmla="*/ 6119 h 367138"/>
                <a:gd name="connsiteX6" fmla="*/ 12238 w 70368"/>
                <a:gd name="connsiteY6" fmla="*/ 361020 h 367138"/>
                <a:gd name="connsiteX7" fmla="*/ 6119 w 70368"/>
                <a:gd name="connsiteY7" fmla="*/ 367139 h 367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368" h="367138">
                  <a:moveTo>
                    <a:pt x="6119" y="367139"/>
                  </a:moveTo>
                  <a:cubicBezTo>
                    <a:pt x="6119" y="367139"/>
                    <a:pt x="3060" y="367139"/>
                    <a:pt x="6119" y="367139"/>
                  </a:cubicBezTo>
                  <a:cubicBezTo>
                    <a:pt x="0" y="364079"/>
                    <a:pt x="0" y="361020"/>
                    <a:pt x="0" y="357960"/>
                  </a:cubicBezTo>
                  <a:cubicBezTo>
                    <a:pt x="48952" y="244759"/>
                    <a:pt x="58130" y="9179"/>
                    <a:pt x="58130" y="6119"/>
                  </a:cubicBezTo>
                  <a:cubicBezTo>
                    <a:pt x="58130" y="3059"/>
                    <a:pt x="61190" y="0"/>
                    <a:pt x="64249" y="0"/>
                  </a:cubicBezTo>
                  <a:cubicBezTo>
                    <a:pt x="67309" y="0"/>
                    <a:pt x="70368" y="3059"/>
                    <a:pt x="70368" y="6119"/>
                  </a:cubicBezTo>
                  <a:cubicBezTo>
                    <a:pt x="70368" y="15297"/>
                    <a:pt x="61190" y="244759"/>
                    <a:pt x="12238" y="361020"/>
                  </a:cubicBezTo>
                  <a:cubicBezTo>
                    <a:pt x="9179" y="367139"/>
                    <a:pt x="9179" y="367139"/>
                    <a:pt x="6119" y="367139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" name="任意多边形: 形状 983">
              <a:extLst>
                <a:ext uri="{FF2B5EF4-FFF2-40B4-BE49-F238E27FC236}">
                  <a16:creationId xmlns:a16="http://schemas.microsoft.com/office/drawing/2014/main" id="{22FD13E4-9F69-4CF3-9C36-28D5DD2D4F47}"/>
                </a:ext>
              </a:extLst>
            </p:cNvPr>
            <p:cNvSpPr/>
            <p:nvPr/>
          </p:nvSpPr>
          <p:spPr>
            <a:xfrm>
              <a:off x="3762238" y="4158714"/>
              <a:ext cx="157301" cy="357960"/>
            </a:xfrm>
            <a:custGeom>
              <a:avLst/>
              <a:gdLst>
                <a:gd name="connsiteX0" fmla="*/ 7386 w 157301"/>
                <a:gd name="connsiteY0" fmla="*/ 357960 h 357960"/>
                <a:gd name="connsiteX1" fmla="*/ 1267 w 157301"/>
                <a:gd name="connsiteY1" fmla="*/ 354901 h 357960"/>
                <a:gd name="connsiteX2" fmla="*/ 4327 w 157301"/>
                <a:gd name="connsiteY2" fmla="*/ 345722 h 357960"/>
                <a:gd name="connsiteX3" fmla="*/ 111409 w 157301"/>
                <a:gd name="connsiteY3" fmla="*/ 269235 h 357960"/>
                <a:gd name="connsiteX4" fmla="*/ 145063 w 157301"/>
                <a:gd name="connsiteY4" fmla="*/ 6119 h 357960"/>
                <a:gd name="connsiteX5" fmla="*/ 151182 w 157301"/>
                <a:gd name="connsiteY5" fmla="*/ 0 h 357960"/>
                <a:gd name="connsiteX6" fmla="*/ 157301 w 157301"/>
                <a:gd name="connsiteY6" fmla="*/ 6119 h 357960"/>
                <a:gd name="connsiteX7" fmla="*/ 123647 w 157301"/>
                <a:gd name="connsiteY7" fmla="*/ 275354 h 357960"/>
                <a:gd name="connsiteX8" fmla="*/ 13505 w 157301"/>
                <a:gd name="connsiteY8" fmla="*/ 354901 h 357960"/>
                <a:gd name="connsiteX9" fmla="*/ 7386 w 157301"/>
                <a:gd name="connsiteY9" fmla="*/ 357960 h 357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01" h="357960">
                  <a:moveTo>
                    <a:pt x="7386" y="357960"/>
                  </a:moveTo>
                  <a:cubicBezTo>
                    <a:pt x="4327" y="357960"/>
                    <a:pt x="4327" y="357960"/>
                    <a:pt x="1267" y="354901"/>
                  </a:cubicBezTo>
                  <a:cubicBezTo>
                    <a:pt x="-1792" y="351841"/>
                    <a:pt x="1267" y="348782"/>
                    <a:pt x="4327" y="345722"/>
                  </a:cubicBezTo>
                  <a:cubicBezTo>
                    <a:pt x="44100" y="321246"/>
                    <a:pt x="102230" y="278414"/>
                    <a:pt x="111409" y="269235"/>
                  </a:cubicBezTo>
                  <a:cubicBezTo>
                    <a:pt x="120587" y="256997"/>
                    <a:pt x="135885" y="100963"/>
                    <a:pt x="145063" y="6119"/>
                  </a:cubicBezTo>
                  <a:cubicBezTo>
                    <a:pt x="145063" y="3059"/>
                    <a:pt x="148123" y="0"/>
                    <a:pt x="151182" y="0"/>
                  </a:cubicBezTo>
                  <a:cubicBezTo>
                    <a:pt x="154242" y="0"/>
                    <a:pt x="157301" y="3059"/>
                    <a:pt x="157301" y="6119"/>
                  </a:cubicBezTo>
                  <a:cubicBezTo>
                    <a:pt x="154242" y="48952"/>
                    <a:pt x="132825" y="260057"/>
                    <a:pt x="123647" y="275354"/>
                  </a:cubicBezTo>
                  <a:cubicBezTo>
                    <a:pt x="111409" y="290652"/>
                    <a:pt x="22684" y="348782"/>
                    <a:pt x="13505" y="354901"/>
                  </a:cubicBezTo>
                  <a:cubicBezTo>
                    <a:pt x="10446" y="357960"/>
                    <a:pt x="10446" y="357960"/>
                    <a:pt x="7386" y="357960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" name="任意多边形: 形状 984">
              <a:extLst>
                <a:ext uri="{FF2B5EF4-FFF2-40B4-BE49-F238E27FC236}">
                  <a16:creationId xmlns:a16="http://schemas.microsoft.com/office/drawing/2014/main" id="{9BA09704-D922-41DD-8D98-BFB6127EEBF8}"/>
                </a:ext>
              </a:extLst>
            </p:cNvPr>
            <p:cNvSpPr/>
            <p:nvPr/>
          </p:nvSpPr>
          <p:spPr>
            <a:xfrm>
              <a:off x="3210077" y="6447212"/>
              <a:ext cx="286998" cy="336543"/>
            </a:xfrm>
            <a:custGeom>
              <a:avLst/>
              <a:gdLst>
                <a:gd name="connsiteX0" fmla="*/ 2720 w 286998"/>
                <a:gd name="connsiteY0" fmla="*/ 226402 h 336543"/>
                <a:gd name="connsiteX1" fmla="*/ 2720 w 286998"/>
                <a:gd name="connsiteY1" fmla="*/ 281473 h 336543"/>
                <a:gd name="connsiteX2" fmla="*/ 137337 w 286998"/>
                <a:gd name="connsiteY2" fmla="*/ 336544 h 336543"/>
                <a:gd name="connsiteX3" fmla="*/ 281133 w 286998"/>
                <a:gd name="connsiteY3" fmla="*/ 281473 h 336543"/>
                <a:gd name="connsiteX4" fmla="*/ 268895 w 286998"/>
                <a:gd name="connsiteY4" fmla="*/ 39773 h 336543"/>
                <a:gd name="connsiteX5" fmla="*/ 253598 w 286998"/>
                <a:gd name="connsiteY5" fmla="*/ 0 h 336543"/>
                <a:gd name="connsiteX6" fmla="*/ 235241 w 286998"/>
                <a:gd name="connsiteY6" fmla="*/ 226402 h 336543"/>
                <a:gd name="connsiteX7" fmla="*/ 2720 w 286998"/>
                <a:gd name="connsiteY7" fmla="*/ 226402 h 336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6998" h="336543">
                  <a:moveTo>
                    <a:pt x="2720" y="226402"/>
                  </a:moveTo>
                  <a:cubicBezTo>
                    <a:pt x="2720" y="226402"/>
                    <a:pt x="-3399" y="269235"/>
                    <a:pt x="2720" y="281473"/>
                  </a:cubicBezTo>
                  <a:cubicBezTo>
                    <a:pt x="11898" y="299830"/>
                    <a:pt x="73088" y="336544"/>
                    <a:pt x="137337" y="336544"/>
                  </a:cubicBezTo>
                  <a:cubicBezTo>
                    <a:pt x="213824" y="336544"/>
                    <a:pt x="265836" y="299830"/>
                    <a:pt x="281133" y="281473"/>
                  </a:cubicBezTo>
                  <a:cubicBezTo>
                    <a:pt x="299490" y="263116"/>
                    <a:pt x="268895" y="39773"/>
                    <a:pt x="268895" y="39773"/>
                  </a:cubicBezTo>
                  <a:lnTo>
                    <a:pt x="253598" y="0"/>
                  </a:lnTo>
                  <a:lnTo>
                    <a:pt x="235241" y="226402"/>
                  </a:lnTo>
                  <a:lnTo>
                    <a:pt x="2720" y="226402"/>
                  </a:ln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" name="任意多边形: 形状 985">
              <a:extLst>
                <a:ext uri="{FF2B5EF4-FFF2-40B4-BE49-F238E27FC236}">
                  <a16:creationId xmlns:a16="http://schemas.microsoft.com/office/drawing/2014/main" id="{E6B8D89C-B67B-4D37-B55F-123E3473124D}"/>
                </a:ext>
              </a:extLst>
            </p:cNvPr>
            <p:cNvSpPr/>
            <p:nvPr/>
          </p:nvSpPr>
          <p:spPr>
            <a:xfrm>
              <a:off x="3211975" y="6428855"/>
              <a:ext cx="272116" cy="312279"/>
            </a:xfrm>
            <a:custGeom>
              <a:avLst/>
              <a:gdLst>
                <a:gd name="connsiteX0" fmla="*/ 77309 w 272116"/>
                <a:gd name="connsiteY0" fmla="*/ 0 h 312279"/>
                <a:gd name="connsiteX1" fmla="*/ 254760 w 272116"/>
                <a:gd name="connsiteY1" fmla="*/ 15297 h 312279"/>
                <a:gd name="connsiteX2" fmla="*/ 270057 w 272116"/>
                <a:gd name="connsiteY2" fmla="*/ 250878 h 312279"/>
                <a:gd name="connsiteX3" fmla="*/ 129321 w 272116"/>
                <a:gd name="connsiteY3" fmla="*/ 312068 h 312279"/>
                <a:gd name="connsiteX4" fmla="*/ 822 w 272116"/>
                <a:gd name="connsiteY4" fmla="*/ 247819 h 312279"/>
                <a:gd name="connsiteX5" fmla="*/ 77309 w 272116"/>
                <a:gd name="connsiteY5" fmla="*/ 0 h 312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2116" h="312279">
                  <a:moveTo>
                    <a:pt x="77309" y="0"/>
                  </a:moveTo>
                  <a:cubicBezTo>
                    <a:pt x="77309" y="0"/>
                    <a:pt x="138499" y="70368"/>
                    <a:pt x="254760" y="15297"/>
                  </a:cubicBezTo>
                  <a:cubicBezTo>
                    <a:pt x="254760" y="15297"/>
                    <a:pt x="279236" y="217224"/>
                    <a:pt x="270057" y="250878"/>
                  </a:cubicBezTo>
                  <a:cubicBezTo>
                    <a:pt x="257819" y="284533"/>
                    <a:pt x="169094" y="315128"/>
                    <a:pt x="129321" y="312068"/>
                  </a:cubicBezTo>
                  <a:cubicBezTo>
                    <a:pt x="89547" y="309009"/>
                    <a:pt x="13060" y="272294"/>
                    <a:pt x="822" y="247819"/>
                  </a:cubicBezTo>
                  <a:cubicBezTo>
                    <a:pt x="-8356" y="229462"/>
                    <a:pt x="62012" y="55071"/>
                    <a:pt x="77309" y="0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" name="任意多边形: 形状 986">
              <a:extLst>
                <a:ext uri="{FF2B5EF4-FFF2-40B4-BE49-F238E27FC236}">
                  <a16:creationId xmlns:a16="http://schemas.microsoft.com/office/drawing/2014/main" id="{3D7D855E-8928-429D-9EFC-FA87B7142EFE}"/>
                </a:ext>
              </a:extLst>
            </p:cNvPr>
            <p:cNvSpPr/>
            <p:nvPr/>
          </p:nvSpPr>
          <p:spPr>
            <a:xfrm>
              <a:off x="3281898" y="6421469"/>
              <a:ext cx="190955" cy="50218"/>
            </a:xfrm>
            <a:custGeom>
              <a:avLst/>
              <a:gdLst>
                <a:gd name="connsiteX0" fmla="*/ 93052 w 190955"/>
                <a:gd name="connsiteY0" fmla="*/ 50219 h 50218"/>
                <a:gd name="connsiteX1" fmla="*/ 1267 w 190955"/>
                <a:gd name="connsiteY1" fmla="*/ 10446 h 50218"/>
                <a:gd name="connsiteX2" fmla="*/ 4327 w 190955"/>
                <a:gd name="connsiteY2" fmla="*/ 1267 h 50218"/>
                <a:gd name="connsiteX3" fmla="*/ 13505 w 190955"/>
                <a:gd name="connsiteY3" fmla="*/ 4327 h 50218"/>
                <a:gd name="connsiteX4" fmla="*/ 184837 w 190955"/>
                <a:gd name="connsiteY4" fmla="*/ 16565 h 50218"/>
                <a:gd name="connsiteX5" fmla="*/ 190956 w 190955"/>
                <a:gd name="connsiteY5" fmla="*/ 19624 h 50218"/>
                <a:gd name="connsiteX6" fmla="*/ 187896 w 190955"/>
                <a:gd name="connsiteY6" fmla="*/ 25743 h 50218"/>
                <a:gd name="connsiteX7" fmla="*/ 93052 w 190955"/>
                <a:gd name="connsiteY7" fmla="*/ 50219 h 5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955" h="50218">
                  <a:moveTo>
                    <a:pt x="93052" y="50219"/>
                  </a:moveTo>
                  <a:cubicBezTo>
                    <a:pt x="28803" y="50219"/>
                    <a:pt x="4327" y="13505"/>
                    <a:pt x="1267" y="10446"/>
                  </a:cubicBezTo>
                  <a:cubicBezTo>
                    <a:pt x="-1792" y="7386"/>
                    <a:pt x="1267" y="4327"/>
                    <a:pt x="4327" y="1267"/>
                  </a:cubicBezTo>
                  <a:cubicBezTo>
                    <a:pt x="7386" y="-1792"/>
                    <a:pt x="10446" y="1267"/>
                    <a:pt x="13505" y="4327"/>
                  </a:cubicBezTo>
                  <a:cubicBezTo>
                    <a:pt x="16565" y="7386"/>
                    <a:pt x="59398" y="71636"/>
                    <a:pt x="184837" y="16565"/>
                  </a:cubicBezTo>
                  <a:cubicBezTo>
                    <a:pt x="187896" y="16565"/>
                    <a:pt x="190956" y="16565"/>
                    <a:pt x="190956" y="19624"/>
                  </a:cubicBezTo>
                  <a:cubicBezTo>
                    <a:pt x="190956" y="22684"/>
                    <a:pt x="190956" y="25743"/>
                    <a:pt x="187896" y="25743"/>
                  </a:cubicBezTo>
                  <a:cubicBezTo>
                    <a:pt x="151182" y="44100"/>
                    <a:pt x="120587" y="50219"/>
                    <a:pt x="93052" y="50219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" name="任意多边形: 形状 987">
              <a:extLst>
                <a:ext uri="{FF2B5EF4-FFF2-40B4-BE49-F238E27FC236}">
                  <a16:creationId xmlns:a16="http://schemas.microsoft.com/office/drawing/2014/main" id="{97C803B5-2E6C-493F-8101-30176B04A7D5}"/>
                </a:ext>
              </a:extLst>
            </p:cNvPr>
            <p:cNvSpPr/>
            <p:nvPr/>
          </p:nvSpPr>
          <p:spPr>
            <a:xfrm>
              <a:off x="3301522" y="6499224"/>
              <a:ext cx="125439" cy="27535"/>
            </a:xfrm>
            <a:custGeom>
              <a:avLst/>
              <a:gdLst>
                <a:gd name="connsiteX0" fmla="*/ 79547 w 125439"/>
                <a:gd name="connsiteY0" fmla="*/ 27535 h 27535"/>
                <a:gd name="connsiteX1" fmla="*/ 3060 w 125439"/>
                <a:gd name="connsiteY1" fmla="*/ 9179 h 27535"/>
                <a:gd name="connsiteX2" fmla="*/ 0 w 125439"/>
                <a:gd name="connsiteY2" fmla="*/ 3059 h 27535"/>
                <a:gd name="connsiteX3" fmla="*/ 9179 w 125439"/>
                <a:gd name="connsiteY3" fmla="*/ 0 h 27535"/>
                <a:gd name="connsiteX4" fmla="*/ 119320 w 125439"/>
                <a:gd name="connsiteY4" fmla="*/ 12238 h 27535"/>
                <a:gd name="connsiteX5" fmla="*/ 125439 w 125439"/>
                <a:gd name="connsiteY5" fmla="*/ 15297 h 27535"/>
                <a:gd name="connsiteX6" fmla="*/ 122380 w 125439"/>
                <a:gd name="connsiteY6" fmla="*/ 21416 h 27535"/>
                <a:gd name="connsiteX7" fmla="*/ 79547 w 125439"/>
                <a:gd name="connsiteY7" fmla="*/ 27535 h 2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439" h="27535">
                  <a:moveTo>
                    <a:pt x="79547" y="27535"/>
                  </a:moveTo>
                  <a:cubicBezTo>
                    <a:pt x="33654" y="27535"/>
                    <a:pt x="3060" y="12238"/>
                    <a:pt x="3060" y="9179"/>
                  </a:cubicBezTo>
                  <a:cubicBezTo>
                    <a:pt x="0" y="9179"/>
                    <a:pt x="0" y="3059"/>
                    <a:pt x="0" y="3059"/>
                  </a:cubicBezTo>
                  <a:cubicBezTo>
                    <a:pt x="0" y="0"/>
                    <a:pt x="6119" y="0"/>
                    <a:pt x="9179" y="0"/>
                  </a:cubicBezTo>
                  <a:cubicBezTo>
                    <a:pt x="9179" y="0"/>
                    <a:pt x="58130" y="24476"/>
                    <a:pt x="119320" y="12238"/>
                  </a:cubicBezTo>
                  <a:cubicBezTo>
                    <a:pt x="122380" y="12238"/>
                    <a:pt x="125439" y="12238"/>
                    <a:pt x="125439" y="15297"/>
                  </a:cubicBezTo>
                  <a:cubicBezTo>
                    <a:pt x="125439" y="18357"/>
                    <a:pt x="125439" y="21416"/>
                    <a:pt x="122380" y="21416"/>
                  </a:cubicBezTo>
                  <a:cubicBezTo>
                    <a:pt x="104023" y="27535"/>
                    <a:pt x="91785" y="27535"/>
                    <a:pt x="79547" y="27535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" name="任意多边形: 形状 988">
              <a:extLst>
                <a:ext uri="{FF2B5EF4-FFF2-40B4-BE49-F238E27FC236}">
                  <a16:creationId xmlns:a16="http://schemas.microsoft.com/office/drawing/2014/main" id="{8F4BFE03-934C-4E0A-A737-2CCFEC18AC33}"/>
                </a:ext>
              </a:extLst>
            </p:cNvPr>
            <p:cNvSpPr/>
            <p:nvPr/>
          </p:nvSpPr>
          <p:spPr>
            <a:xfrm>
              <a:off x="3289284" y="6554295"/>
              <a:ext cx="122379" cy="27535"/>
            </a:xfrm>
            <a:custGeom>
              <a:avLst/>
              <a:gdLst>
                <a:gd name="connsiteX0" fmla="*/ 79547 w 122379"/>
                <a:gd name="connsiteY0" fmla="*/ 27535 h 27535"/>
                <a:gd name="connsiteX1" fmla="*/ 3060 w 122379"/>
                <a:gd name="connsiteY1" fmla="*/ 9178 h 27535"/>
                <a:gd name="connsiteX2" fmla="*/ 0 w 122379"/>
                <a:gd name="connsiteY2" fmla="*/ 3059 h 27535"/>
                <a:gd name="connsiteX3" fmla="*/ 6119 w 122379"/>
                <a:gd name="connsiteY3" fmla="*/ 0 h 27535"/>
                <a:gd name="connsiteX4" fmla="*/ 116261 w 122379"/>
                <a:gd name="connsiteY4" fmla="*/ 12238 h 27535"/>
                <a:gd name="connsiteX5" fmla="*/ 122380 w 122379"/>
                <a:gd name="connsiteY5" fmla="*/ 15297 h 27535"/>
                <a:gd name="connsiteX6" fmla="*/ 119320 w 122379"/>
                <a:gd name="connsiteY6" fmla="*/ 21416 h 27535"/>
                <a:gd name="connsiteX7" fmla="*/ 79547 w 122379"/>
                <a:gd name="connsiteY7" fmla="*/ 27535 h 2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379" h="27535">
                  <a:moveTo>
                    <a:pt x="79547" y="27535"/>
                  </a:moveTo>
                  <a:cubicBezTo>
                    <a:pt x="33654" y="27535"/>
                    <a:pt x="3060" y="12238"/>
                    <a:pt x="3060" y="9178"/>
                  </a:cubicBezTo>
                  <a:cubicBezTo>
                    <a:pt x="0" y="9178"/>
                    <a:pt x="0" y="3059"/>
                    <a:pt x="0" y="3059"/>
                  </a:cubicBezTo>
                  <a:cubicBezTo>
                    <a:pt x="0" y="0"/>
                    <a:pt x="6119" y="0"/>
                    <a:pt x="6119" y="0"/>
                  </a:cubicBezTo>
                  <a:cubicBezTo>
                    <a:pt x="6119" y="0"/>
                    <a:pt x="55071" y="24476"/>
                    <a:pt x="116261" y="12238"/>
                  </a:cubicBezTo>
                  <a:cubicBezTo>
                    <a:pt x="119320" y="12238"/>
                    <a:pt x="122380" y="12238"/>
                    <a:pt x="122380" y="15297"/>
                  </a:cubicBezTo>
                  <a:cubicBezTo>
                    <a:pt x="122380" y="18357"/>
                    <a:pt x="122380" y="21416"/>
                    <a:pt x="119320" y="21416"/>
                  </a:cubicBezTo>
                  <a:cubicBezTo>
                    <a:pt x="104023" y="27535"/>
                    <a:pt x="91785" y="27535"/>
                    <a:pt x="79547" y="27535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" name="任意多边形: 形状 989">
              <a:extLst>
                <a:ext uri="{FF2B5EF4-FFF2-40B4-BE49-F238E27FC236}">
                  <a16:creationId xmlns:a16="http://schemas.microsoft.com/office/drawing/2014/main" id="{49AC164E-1A87-4934-870D-67ABFFEE340E}"/>
                </a:ext>
              </a:extLst>
            </p:cNvPr>
            <p:cNvSpPr/>
            <p:nvPr/>
          </p:nvSpPr>
          <p:spPr>
            <a:xfrm>
              <a:off x="2948822" y="3139903"/>
              <a:ext cx="771850" cy="871954"/>
            </a:xfrm>
            <a:custGeom>
              <a:avLst/>
              <a:gdLst>
                <a:gd name="connsiteX0" fmla="*/ 374117 w 771850"/>
                <a:gd name="connsiteY0" fmla="*/ 24476 h 871954"/>
                <a:gd name="connsiteX1" fmla="*/ 267035 w 771850"/>
                <a:gd name="connsiteY1" fmla="*/ 559887 h 871954"/>
                <a:gd name="connsiteX2" fmla="*/ 771850 w 771850"/>
                <a:gd name="connsiteY2" fmla="*/ 734278 h 871954"/>
                <a:gd name="connsiteX3" fmla="*/ 689244 w 771850"/>
                <a:gd name="connsiteY3" fmla="*/ 871955 h 871954"/>
                <a:gd name="connsiteX4" fmla="*/ 31454 w 771850"/>
                <a:gd name="connsiteY4" fmla="*/ 700623 h 871954"/>
                <a:gd name="connsiteX5" fmla="*/ 104881 w 771850"/>
                <a:gd name="connsiteY5" fmla="*/ 0 h 871954"/>
                <a:gd name="connsiteX6" fmla="*/ 374117 w 771850"/>
                <a:gd name="connsiteY6" fmla="*/ 24476 h 87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1850" h="871954">
                  <a:moveTo>
                    <a:pt x="374117" y="24476"/>
                  </a:moveTo>
                  <a:lnTo>
                    <a:pt x="267035" y="559887"/>
                  </a:lnTo>
                  <a:lnTo>
                    <a:pt x="771850" y="734278"/>
                  </a:lnTo>
                  <a:lnTo>
                    <a:pt x="689244" y="871955"/>
                  </a:lnTo>
                  <a:cubicBezTo>
                    <a:pt x="689244" y="871955"/>
                    <a:pt x="132417" y="780170"/>
                    <a:pt x="31454" y="700623"/>
                  </a:cubicBezTo>
                  <a:cubicBezTo>
                    <a:pt x="-69509" y="621077"/>
                    <a:pt x="104881" y="0"/>
                    <a:pt x="104881" y="0"/>
                  </a:cubicBezTo>
                  <a:lnTo>
                    <a:pt x="374117" y="24476"/>
                  </a:ln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" name="任意多边形: 形状 990">
              <a:extLst>
                <a:ext uri="{FF2B5EF4-FFF2-40B4-BE49-F238E27FC236}">
                  <a16:creationId xmlns:a16="http://schemas.microsoft.com/office/drawing/2014/main" id="{583A4FE4-F356-49D2-A52E-5E0DD72020C1}"/>
                </a:ext>
              </a:extLst>
            </p:cNvPr>
            <p:cNvSpPr/>
            <p:nvPr/>
          </p:nvSpPr>
          <p:spPr>
            <a:xfrm>
              <a:off x="3607471" y="3861847"/>
              <a:ext cx="387334" cy="274645"/>
            </a:xfrm>
            <a:custGeom>
              <a:avLst/>
              <a:gdLst>
                <a:gd name="connsiteX0" fmla="*/ 30595 w 387334"/>
                <a:gd name="connsiteY0" fmla="*/ 150012 h 274645"/>
                <a:gd name="connsiteX1" fmla="*/ 116261 w 387334"/>
                <a:gd name="connsiteY1" fmla="*/ 195904 h 274645"/>
                <a:gd name="connsiteX2" fmla="*/ 198867 w 387334"/>
                <a:gd name="connsiteY2" fmla="*/ 254034 h 274645"/>
                <a:gd name="connsiteX3" fmla="*/ 250878 w 387334"/>
                <a:gd name="connsiteY3" fmla="*/ 272391 h 274645"/>
                <a:gd name="connsiteX4" fmla="*/ 220283 w 387334"/>
                <a:gd name="connsiteY4" fmla="*/ 214261 h 274645"/>
                <a:gd name="connsiteX5" fmla="*/ 269235 w 387334"/>
                <a:gd name="connsiteY5" fmla="*/ 241796 h 274645"/>
                <a:gd name="connsiteX6" fmla="*/ 345722 w 387334"/>
                <a:gd name="connsiteY6" fmla="*/ 257094 h 274645"/>
                <a:gd name="connsiteX7" fmla="*/ 351841 w 387334"/>
                <a:gd name="connsiteY7" fmla="*/ 241796 h 274645"/>
                <a:gd name="connsiteX8" fmla="*/ 385496 w 387334"/>
                <a:gd name="connsiteY8" fmla="*/ 238737 h 274645"/>
                <a:gd name="connsiteX9" fmla="*/ 354901 w 387334"/>
                <a:gd name="connsiteY9" fmla="*/ 177547 h 274645"/>
                <a:gd name="connsiteX10" fmla="*/ 305949 w 387334"/>
                <a:gd name="connsiteY10" fmla="*/ 137774 h 274645"/>
                <a:gd name="connsiteX11" fmla="*/ 348782 w 387334"/>
                <a:gd name="connsiteY11" fmla="*/ 150012 h 274645"/>
                <a:gd name="connsiteX12" fmla="*/ 370198 w 387334"/>
                <a:gd name="connsiteY12" fmla="*/ 146952 h 274645"/>
                <a:gd name="connsiteX13" fmla="*/ 318187 w 387334"/>
                <a:gd name="connsiteY13" fmla="*/ 88822 h 274645"/>
                <a:gd name="connsiteX14" fmla="*/ 67309 w 387334"/>
                <a:gd name="connsiteY14" fmla="*/ 97 h 274645"/>
                <a:gd name="connsiteX15" fmla="*/ 0 w 387334"/>
                <a:gd name="connsiteY15" fmla="*/ 110238 h 274645"/>
                <a:gd name="connsiteX16" fmla="*/ 30595 w 387334"/>
                <a:gd name="connsiteY16" fmla="*/ 150012 h 274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334" h="274645">
                  <a:moveTo>
                    <a:pt x="30595" y="150012"/>
                  </a:moveTo>
                  <a:cubicBezTo>
                    <a:pt x="58130" y="165309"/>
                    <a:pt x="88725" y="177547"/>
                    <a:pt x="116261" y="195904"/>
                  </a:cubicBezTo>
                  <a:cubicBezTo>
                    <a:pt x="143796" y="214261"/>
                    <a:pt x="171331" y="235677"/>
                    <a:pt x="198867" y="254034"/>
                  </a:cubicBezTo>
                  <a:cubicBezTo>
                    <a:pt x="208045" y="260153"/>
                    <a:pt x="238640" y="281570"/>
                    <a:pt x="250878" y="272391"/>
                  </a:cubicBezTo>
                  <a:cubicBezTo>
                    <a:pt x="269235" y="263213"/>
                    <a:pt x="244759" y="235677"/>
                    <a:pt x="220283" y="214261"/>
                  </a:cubicBezTo>
                  <a:cubicBezTo>
                    <a:pt x="235581" y="223439"/>
                    <a:pt x="253938" y="232618"/>
                    <a:pt x="269235" y="241796"/>
                  </a:cubicBezTo>
                  <a:cubicBezTo>
                    <a:pt x="287592" y="250975"/>
                    <a:pt x="324306" y="269332"/>
                    <a:pt x="345722" y="257094"/>
                  </a:cubicBezTo>
                  <a:cubicBezTo>
                    <a:pt x="351841" y="254034"/>
                    <a:pt x="354901" y="247915"/>
                    <a:pt x="351841" y="241796"/>
                  </a:cubicBezTo>
                  <a:cubicBezTo>
                    <a:pt x="367139" y="247915"/>
                    <a:pt x="379377" y="247915"/>
                    <a:pt x="385496" y="238737"/>
                  </a:cubicBezTo>
                  <a:cubicBezTo>
                    <a:pt x="394674" y="220380"/>
                    <a:pt x="367139" y="189785"/>
                    <a:pt x="354901" y="177547"/>
                  </a:cubicBezTo>
                  <a:cubicBezTo>
                    <a:pt x="339603" y="162250"/>
                    <a:pt x="324306" y="150012"/>
                    <a:pt x="305949" y="137774"/>
                  </a:cubicBezTo>
                  <a:cubicBezTo>
                    <a:pt x="321246" y="143893"/>
                    <a:pt x="336544" y="146952"/>
                    <a:pt x="348782" y="150012"/>
                  </a:cubicBezTo>
                  <a:cubicBezTo>
                    <a:pt x="357960" y="150012"/>
                    <a:pt x="364079" y="153071"/>
                    <a:pt x="370198" y="146952"/>
                  </a:cubicBezTo>
                  <a:cubicBezTo>
                    <a:pt x="388555" y="122476"/>
                    <a:pt x="330425" y="94941"/>
                    <a:pt x="318187" y="88822"/>
                  </a:cubicBezTo>
                  <a:cubicBezTo>
                    <a:pt x="238640" y="45989"/>
                    <a:pt x="152975" y="27632"/>
                    <a:pt x="67309" y="97"/>
                  </a:cubicBezTo>
                  <a:cubicBezTo>
                    <a:pt x="67309" y="-2963"/>
                    <a:pt x="3059" y="67405"/>
                    <a:pt x="0" y="110238"/>
                  </a:cubicBezTo>
                  <a:cubicBezTo>
                    <a:pt x="3059" y="131655"/>
                    <a:pt x="9178" y="134714"/>
                    <a:pt x="30595" y="150012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" name="任意多边形: 形状 991">
              <a:extLst>
                <a:ext uri="{FF2B5EF4-FFF2-40B4-BE49-F238E27FC236}">
                  <a16:creationId xmlns:a16="http://schemas.microsoft.com/office/drawing/2014/main" id="{FFBB2231-AAD6-4E66-A7DB-2A086B4B6934}"/>
                </a:ext>
              </a:extLst>
            </p:cNvPr>
            <p:cNvSpPr/>
            <p:nvPr/>
          </p:nvSpPr>
          <p:spPr>
            <a:xfrm>
              <a:off x="4231607" y="3614124"/>
              <a:ext cx="492577" cy="124949"/>
            </a:xfrm>
            <a:custGeom>
              <a:avLst/>
              <a:gdLst>
                <a:gd name="connsiteX0" fmla="*/ 492578 w 492577"/>
                <a:gd name="connsiteY0" fmla="*/ 113201 h 124949"/>
                <a:gd name="connsiteX1" fmla="*/ 6119 w 492577"/>
                <a:gd name="connsiteY1" fmla="*/ 122380 h 124949"/>
                <a:gd name="connsiteX2" fmla="*/ 0 w 492577"/>
                <a:gd name="connsiteY2" fmla="*/ 0 h 124949"/>
                <a:gd name="connsiteX3" fmla="*/ 367139 w 492577"/>
                <a:gd name="connsiteY3" fmla="*/ 12238 h 124949"/>
                <a:gd name="connsiteX4" fmla="*/ 492578 w 492577"/>
                <a:gd name="connsiteY4" fmla="*/ 113201 h 124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577" h="124949">
                  <a:moveTo>
                    <a:pt x="492578" y="113201"/>
                  </a:moveTo>
                  <a:cubicBezTo>
                    <a:pt x="492578" y="113201"/>
                    <a:pt x="140737" y="131558"/>
                    <a:pt x="6119" y="122380"/>
                  </a:cubicBezTo>
                  <a:lnTo>
                    <a:pt x="0" y="0"/>
                  </a:lnTo>
                  <a:lnTo>
                    <a:pt x="367139" y="12238"/>
                  </a:lnTo>
                  <a:lnTo>
                    <a:pt x="492578" y="113201"/>
                  </a:ln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93" name="图形 892">
              <a:extLst>
                <a:ext uri="{FF2B5EF4-FFF2-40B4-BE49-F238E27FC236}">
                  <a16:creationId xmlns:a16="http://schemas.microsoft.com/office/drawing/2014/main" id="{3BC22526-4280-4D80-8B97-C87957251B0A}"/>
                </a:ext>
              </a:extLst>
            </p:cNvPr>
            <p:cNvGrpSpPr/>
            <p:nvPr/>
          </p:nvGrpSpPr>
          <p:grpSpPr>
            <a:xfrm>
              <a:off x="3753302" y="3103190"/>
              <a:ext cx="1353206" cy="536695"/>
              <a:chOff x="3753302" y="3103190"/>
              <a:chExt cx="1353206" cy="536695"/>
            </a:xfrm>
          </p:grpSpPr>
          <p:sp>
            <p:nvSpPr>
              <p:cNvPr id="994" name="任意多边形: 形状 993">
                <a:extLst>
                  <a:ext uri="{FF2B5EF4-FFF2-40B4-BE49-F238E27FC236}">
                    <a16:creationId xmlns:a16="http://schemas.microsoft.com/office/drawing/2014/main" id="{E61BBC26-1004-427A-BD41-8D1B95464580}"/>
                  </a:ext>
                </a:extLst>
              </p:cNvPr>
              <p:cNvSpPr/>
              <p:nvPr/>
            </p:nvSpPr>
            <p:spPr>
              <a:xfrm>
                <a:off x="4038859" y="3103190"/>
                <a:ext cx="1067649" cy="501756"/>
              </a:xfrm>
              <a:custGeom>
                <a:avLst/>
                <a:gdLst>
                  <a:gd name="connsiteX0" fmla="*/ 0 w 1067649"/>
                  <a:gd name="connsiteY0" fmla="*/ 501756 h 501756"/>
                  <a:gd name="connsiteX1" fmla="*/ 923966 w 1067649"/>
                  <a:gd name="connsiteY1" fmla="*/ 501756 h 501756"/>
                  <a:gd name="connsiteX2" fmla="*/ 1064703 w 1067649"/>
                  <a:gd name="connsiteY2" fmla="*/ 73428 h 501756"/>
                  <a:gd name="connsiteX3" fmla="*/ 1012691 w 1067649"/>
                  <a:gd name="connsiteY3" fmla="*/ 0 h 501756"/>
                  <a:gd name="connsiteX4" fmla="*/ 204986 w 1067649"/>
                  <a:gd name="connsiteY4" fmla="*/ 0 h 501756"/>
                  <a:gd name="connsiteX5" fmla="*/ 152975 w 1067649"/>
                  <a:gd name="connsiteY5" fmla="*/ 36714 h 501756"/>
                  <a:gd name="connsiteX6" fmla="*/ 0 w 1067649"/>
                  <a:gd name="connsiteY6" fmla="*/ 501756 h 501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67649" h="501756">
                    <a:moveTo>
                      <a:pt x="0" y="501756"/>
                    </a:moveTo>
                    <a:lnTo>
                      <a:pt x="923966" y="501756"/>
                    </a:lnTo>
                    <a:lnTo>
                      <a:pt x="1064703" y="73428"/>
                    </a:lnTo>
                    <a:cubicBezTo>
                      <a:pt x="1076940" y="36714"/>
                      <a:pt x="1049405" y="0"/>
                      <a:pt x="1012691" y="0"/>
                    </a:cubicBezTo>
                    <a:lnTo>
                      <a:pt x="204986" y="0"/>
                    </a:lnTo>
                    <a:cubicBezTo>
                      <a:pt x="180510" y="0"/>
                      <a:pt x="159094" y="15297"/>
                      <a:pt x="152975" y="36714"/>
                    </a:cubicBezTo>
                    <a:lnTo>
                      <a:pt x="0" y="501756"/>
                    </a:lnTo>
                    <a:close/>
                  </a:path>
                </a:pathLst>
              </a:custGeom>
              <a:solidFill>
                <a:srgbClr val="7E94B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5" name="任意多边形: 形状 994">
                <a:extLst>
                  <a:ext uri="{FF2B5EF4-FFF2-40B4-BE49-F238E27FC236}">
                    <a16:creationId xmlns:a16="http://schemas.microsoft.com/office/drawing/2014/main" id="{75318AD2-F6F8-435B-B2C8-0AEB8F0CA7C6}"/>
                  </a:ext>
                </a:extLst>
              </p:cNvPr>
              <p:cNvSpPr/>
              <p:nvPr/>
            </p:nvSpPr>
            <p:spPr>
              <a:xfrm rot="-10800000">
                <a:off x="4035127" y="3603171"/>
                <a:ext cx="923966" cy="36713"/>
              </a:xfrm>
              <a:custGeom>
                <a:avLst/>
                <a:gdLst>
                  <a:gd name="connsiteX0" fmla="*/ 0 w 923966"/>
                  <a:gd name="connsiteY0" fmla="*/ 0 h 36713"/>
                  <a:gd name="connsiteX1" fmla="*/ 923966 w 923966"/>
                  <a:gd name="connsiteY1" fmla="*/ 0 h 36713"/>
                  <a:gd name="connsiteX2" fmla="*/ 923966 w 923966"/>
                  <a:gd name="connsiteY2" fmla="*/ 36714 h 36713"/>
                  <a:gd name="connsiteX3" fmla="*/ 0 w 923966"/>
                  <a:gd name="connsiteY3" fmla="*/ 36714 h 36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3966" h="36713">
                    <a:moveTo>
                      <a:pt x="0" y="0"/>
                    </a:moveTo>
                    <a:lnTo>
                      <a:pt x="923966" y="0"/>
                    </a:lnTo>
                    <a:lnTo>
                      <a:pt x="923966" y="36714"/>
                    </a:lnTo>
                    <a:lnTo>
                      <a:pt x="0" y="36714"/>
                    </a:lnTo>
                    <a:close/>
                  </a:path>
                </a:pathLst>
              </a:custGeom>
              <a:solidFill>
                <a:srgbClr val="6A83A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6" name="任意多边形: 形状 995">
                <a:extLst>
                  <a:ext uri="{FF2B5EF4-FFF2-40B4-BE49-F238E27FC236}">
                    <a16:creationId xmlns:a16="http://schemas.microsoft.com/office/drawing/2014/main" id="{0692F7AB-F8CF-4C32-9F4A-FE588892AE77}"/>
                  </a:ext>
                </a:extLst>
              </p:cNvPr>
              <p:cNvSpPr/>
              <p:nvPr/>
            </p:nvSpPr>
            <p:spPr>
              <a:xfrm rot="-10800000">
                <a:off x="3753302" y="3603171"/>
                <a:ext cx="284532" cy="36713"/>
              </a:xfrm>
              <a:custGeom>
                <a:avLst/>
                <a:gdLst>
                  <a:gd name="connsiteX0" fmla="*/ 0 w 284532"/>
                  <a:gd name="connsiteY0" fmla="*/ 0 h 36713"/>
                  <a:gd name="connsiteX1" fmla="*/ 284533 w 284532"/>
                  <a:gd name="connsiteY1" fmla="*/ 0 h 36713"/>
                  <a:gd name="connsiteX2" fmla="*/ 284533 w 284532"/>
                  <a:gd name="connsiteY2" fmla="*/ 36714 h 36713"/>
                  <a:gd name="connsiteX3" fmla="*/ 0 w 284532"/>
                  <a:gd name="connsiteY3" fmla="*/ 36714 h 36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4532" h="36713">
                    <a:moveTo>
                      <a:pt x="0" y="0"/>
                    </a:moveTo>
                    <a:lnTo>
                      <a:pt x="284533" y="0"/>
                    </a:lnTo>
                    <a:lnTo>
                      <a:pt x="284533" y="36714"/>
                    </a:lnTo>
                    <a:lnTo>
                      <a:pt x="0" y="36714"/>
                    </a:lnTo>
                    <a:close/>
                  </a:path>
                </a:pathLst>
              </a:custGeom>
              <a:solidFill>
                <a:srgbClr val="7E94B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97" name="任意多边形: 形状 996">
              <a:extLst>
                <a:ext uri="{FF2B5EF4-FFF2-40B4-BE49-F238E27FC236}">
                  <a16:creationId xmlns:a16="http://schemas.microsoft.com/office/drawing/2014/main" id="{602ADCB9-B5B1-4977-8C57-0C82765FBC91}"/>
                </a:ext>
              </a:extLst>
            </p:cNvPr>
            <p:cNvSpPr/>
            <p:nvPr/>
          </p:nvSpPr>
          <p:spPr>
            <a:xfrm>
              <a:off x="3826487" y="3903509"/>
              <a:ext cx="163420" cy="111408"/>
            </a:xfrm>
            <a:custGeom>
              <a:avLst/>
              <a:gdLst>
                <a:gd name="connsiteX0" fmla="*/ 135885 w 163420"/>
                <a:gd name="connsiteY0" fmla="*/ 111409 h 111408"/>
                <a:gd name="connsiteX1" fmla="*/ 86933 w 163420"/>
                <a:gd name="connsiteY1" fmla="*/ 96111 h 111408"/>
                <a:gd name="connsiteX2" fmla="*/ 13505 w 163420"/>
                <a:gd name="connsiteY2" fmla="*/ 62457 h 111408"/>
                <a:gd name="connsiteX3" fmla="*/ 7386 w 163420"/>
                <a:gd name="connsiteY3" fmla="*/ 56338 h 111408"/>
                <a:gd name="connsiteX4" fmla="*/ 13505 w 163420"/>
                <a:gd name="connsiteY4" fmla="*/ 50219 h 111408"/>
                <a:gd name="connsiteX5" fmla="*/ 93052 w 163420"/>
                <a:gd name="connsiteY5" fmla="*/ 86933 h 111408"/>
                <a:gd name="connsiteX6" fmla="*/ 151182 w 163420"/>
                <a:gd name="connsiteY6" fmla="*/ 96111 h 111408"/>
                <a:gd name="connsiteX7" fmla="*/ 151182 w 163420"/>
                <a:gd name="connsiteY7" fmla="*/ 93052 h 111408"/>
                <a:gd name="connsiteX8" fmla="*/ 4327 w 163420"/>
                <a:gd name="connsiteY8" fmla="*/ 10446 h 111408"/>
                <a:gd name="connsiteX9" fmla="*/ 1267 w 163420"/>
                <a:gd name="connsiteY9" fmla="*/ 4327 h 111408"/>
                <a:gd name="connsiteX10" fmla="*/ 7386 w 163420"/>
                <a:gd name="connsiteY10" fmla="*/ 1267 h 111408"/>
                <a:gd name="connsiteX11" fmla="*/ 163420 w 163420"/>
                <a:gd name="connsiteY11" fmla="*/ 93052 h 111408"/>
                <a:gd name="connsiteX12" fmla="*/ 157301 w 163420"/>
                <a:gd name="connsiteY12" fmla="*/ 108349 h 111408"/>
                <a:gd name="connsiteX13" fmla="*/ 135885 w 163420"/>
                <a:gd name="connsiteY13" fmla="*/ 111409 h 111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3420" h="111408">
                  <a:moveTo>
                    <a:pt x="135885" y="111409"/>
                  </a:moveTo>
                  <a:cubicBezTo>
                    <a:pt x="114468" y="111409"/>
                    <a:pt x="89993" y="99171"/>
                    <a:pt x="86933" y="96111"/>
                  </a:cubicBezTo>
                  <a:cubicBezTo>
                    <a:pt x="56338" y="77755"/>
                    <a:pt x="19624" y="59398"/>
                    <a:pt x="13505" y="62457"/>
                  </a:cubicBezTo>
                  <a:cubicBezTo>
                    <a:pt x="10446" y="62457"/>
                    <a:pt x="7386" y="59398"/>
                    <a:pt x="7386" y="56338"/>
                  </a:cubicBezTo>
                  <a:cubicBezTo>
                    <a:pt x="7386" y="53279"/>
                    <a:pt x="10446" y="50219"/>
                    <a:pt x="13505" y="50219"/>
                  </a:cubicBezTo>
                  <a:cubicBezTo>
                    <a:pt x="28803" y="47160"/>
                    <a:pt x="77755" y="77755"/>
                    <a:pt x="93052" y="86933"/>
                  </a:cubicBezTo>
                  <a:cubicBezTo>
                    <a:pt x="105290" y="93052"/>
                    <a:pt x="138944" y="105290"/>
                    <a:pt x="151182" y="96111"/>
                  </a:cubicBezTo>
                  <a:cubicBezTo>
                    <a:pt x="151182" y="96111"/>
                    <a:pt x="154242" y="93052"/>
                    <a:pt x="151182" y="93052"/>
                  </a:cubicBezTo>
                  <a:cubicBezTo>
                    <a:pt x="148123" y="77755"/>
                    <a:pt x="99171" y="41041"/>
                    <a:pt x="4327" y="10446"/>
                  </a:cubicBezTo>
                  <a:cubicBezTo>
                    <a:pt x="1267" y="10446"/>
                    <a:pt x="-1792" y="7386"/>
                    <a:pt x="1267" y="4327"/>
                  </a:cubicBezTo>
                  <a:cubicBezTo>
                    <a:pt x="1267" y="1267"/>
                    <a:pt x="4327" y="-1792"/>
                    <a:pt x="7386" y="1267"/>
                  </a:cubicBezTo>
                  <a:cubicBezTo>
                    <a:pt x="93052" y="28803"/>
                    <a:pt x="157301" y="65517"/>
                    <a:pt x="163420" y="93052"/>
                  </a:cubicBezTo>
                  <a:cubicBezTo>
                    <a:pt x="163420" y="99171"/>
                    <a:pt x="163420" y="105290"/>
                    <a:pt x="157301" y="108349"/>
                  </a:cubicBezTo>
                  <a:cubicBezTo>
                    <a:pt x="151182" y="111409"/>
                    <a:pt x="142004" y="111409"/>
                    <a:pt x="135885" y="111409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" name="任意多边形: 形状 997">
              <a:extLst>
                <a:ext uri="{FF2B5EF4-FFF2-40B4-BE49-F238E27FC236}">
                  <a16:creationId xmlns:a16="http://schemas.microsoft.com/office/drawing/2014/main" id="{137D994B-E483-44E2-96A7-573034019CDA}"/>
                </a:ext>
              </a:extLst>
            </p:cNvPr>
            <p:cNvSpPr/>
            <p:nvPr/>
          </p:nvSpPr>
          <p:spPr>
            <a:xfrm>
              <a:off x="3820368" y="4001412"/>
              <a:ext cx="144298" cy="108349"/>
            </a:xfrm>
            <a:custGeom>
              <a:avLst/>
              <a:gdLst>
                <a:gd name="connsiteX0" fmla="*/ 138944 w 144298"/>
                <a:gd name="connsiteY0" fmla="*/ 105290 h 108349"/>
                <a:gd name="connsiteX1" fmla="*/ 135885 w 144298"/>
                <a:gd name="connsiteY1" fmla="*/ 105290 h 108349"/>
                <a:gd name="connsiteX2" fmla="*/ 4327 w 144298"/>
                <a:gd name="connsiteY2" fmla="*/ 10446 h 108349"/>
                <a:gd name="connsiteX3" fmla="*/ 1267 w 144298"/>
                <a:gd name="connsiteY3" fmla="*/ 4327 h 108349"/>
                <a:gd name="connsiteX4" fmla="*/ 7386 w 144298"/>
                <a:gd name="connsiteY4" fmla="*/ 1267 h 108349"/>
                <a:gd name="connsiteX5" fmla="*/ 142004 w 144298"/>
                <a:gd name="connsiteY5" fmla="*/ 99171 h 108349"/>
                <a:gd name="connsiteX6" fmla="*/ 142004 w 144298"/>
                <a:gd name="connsiteY6" fmla="*/ 108349 h 108349"/>
                <a:gd name="connsiteX7" fmla="*/ 138944 w 144298"/>
                <a:gd name="connsiteY7" fmla="*/ 105290 h 108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298" h="108349">
                  <a:moveTo>
                    <a:pt x="138944" y="105290"/>
                  </a:moveTo>
                  <a:cubicBezTo>
                    <a:pt x="138944" y="105290"/>
                    <a:pt x="135885" y="105290"/>
                    <a:pt x="135885" y="105290"/>
                  </a:cubicBezTo>
                  <a:cubicBezTo>
                    <a:pt x="135885" y="105290"/>
                    <a:pt x="37981" y="19624"/>
                    <a:pt x="4327" y="10446"/>
                  </a:cubicBezTo>
                  <a:cubicBezTo>
                    <a:pt x="1267" y="10446"/>
                    <a:pt x="-1792" y="7386"/>
                    <a:pt x="1267" y="4327"/>
                  </a:cubicBezTo>
                  <a:cubicBezTo>
                    <a:pt x="1267" y="1267"/>
                    <a:pt x="4327" y="-1792"/>
                    <a:pt x="7386" y="1267"/>
                  </a:cubicBezTo>
                  <a:cubicBezTo>
                    <a:pt x="44100" y="10446"/>
                    <a:pt x="138944" y="96112"/>
                    <a:pt x="142004" y="99171"/>
                  </a:cubicBezTo>
                  <a:cubicBezTo>
                    <a:pt x="145063" y="102231"/>
                    <a:pt x="145063" y="105290"/>
                    <a:pt x="142004" y="108349"/>
                  </a:cubicBezTo>
                  <a:cubicBezTo>
                    <a:pt x="142004" y="105290"/>
                    <a:pt x="138944" y="105290"/>
                    <a:pt x="138944" y="105290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" name="任意多边形: 形状 998">
              <a:extLst>
                <a:ext uri="{FF2B5EF4-FFF2-40B4-BE49-F238E27FC236}">
                  <a16:creationId xmlns:a16="http://schemas.microsoft.com/office/drawing/2014/main" id="{99C326CE-EA3B-43B8-BB4E-953E37F62FF2}"/>
                </a:ext>
              </a:extLst>
            </p:cNvPr>
            <p:cNvSpPr/>
            <p:nvPr/>
          </p:nvSpPr>
          <p:spPr>
            <a:xfrm>
              <a:off x="3772684" y="4039394"/>
              <a:ext cx="61189" cy="39773"/>
            </a:xfrm>
            <a:custGeom>
              <a:avLst/>
              <a:gdLst>
                <a:gd name="connsiteX0" fmla="*/ 55071 w 61189"/>
                <a:gd name="connsiteY0" fmla="*/ 39773 h 39773"/>
                <a:gd name="connsiteX1" fmla="*/ 55071 w 61189"/>
                <a:gd name="connsiteY1" fmla="*/ 39773 h 39773"/>
                <a:gd name="connsiteX2" fmla="*/ 3060 w 61189"/>
                <a:gd name="connsiteY2" fmla="*/ 12238 h 39773"/>
                <a:gd name="connsiteX3" fmla="*/ 0 w 61189"/>
                <a:gd name="connsiteY3" fmla="*/ 3059 h 39773"/>
                <a:gd name="connsiteX4" fmla="*/ 9178 w 61189"/>
                <a:gd name="connsiteY4" fmla="*/ 0 h 39773"/>
                <a:gd name="connsiteX5" fmla="*/ 58130 w 61189"/>
                <a:gd name="connsiteY5" fmla="*/ 24476 h 39773"/>
                <a:gd name="connsiteX6" fmla="*/ 61190 w 61189"/>
                <a:gd name="connsiteY6" fmla="*/ 33654 h 39773"/>
                <a:gd name="connsiteX7" fmla="*/ 55071 w 61189"/>
                <a:gd name="connsiteY7" fmla="*/ 39773 h 39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189" h="39773">
                  <a:moveTo>
                    <a:pt x="55071" y="39773"/>
                  </a:moveTo>
                  <a:cubicBezTo>
                    <a:pt x="55071" y="39773"/>
                    <a:pt x="52011" y="39773"/>
                    <a:pt x="55071" y="39773"/>
                  </a:cubicBezTo>
                  <a:lnTo>
                    <a:pt x="3060" y="12238"/>
                  </a:lnTo>
                  <a:cubicBezTo>
                    <a:pt x="0" y="12238"/>
                    <a:pt x="0" y="6119"/>
                    <a:pt x="0" y="3059"/>
                  </a:cubicBezTo>
                  <a:cubicBezTo>
                    <a:pt x="0" y="0"/>
                    <a:pt x="6119" y="0"/>
                    <a:pt x="9178" y="0"/>
                  </a:cubicBezTo>
                  <a:lnTo>
                    <a:pt x="58130" y="24476"/>
                  </a:lnTo>
                  <a:cubicBezTo>
                    <a:pt x="61190" y="24476"/>
                    <a:pt x="61190" y="30595"/>
                    <a:pt x="61190" y="33654"/>
                  </a:cubicBezTo>
                  <a:cubicBezTo>
                    <a:pt x="58130" y="39773"/>
                    <a:pt x="58130" y="39773"/>
                    <a:pt x="55071" y="39773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" name="任意多边形: 形状 999">
              <a:extLst>
                <a:ext uri="{FF2B5EF4-FFF2-40B4-BE49-F238E27FC236}">
                  <a16:creationId xmlns:a16="http://schemas.microsoft.com/office/drawing/2014/main" id="{A8E30FB9-2A02-47CC-A0C9-D8E2AC6B3E9E}"/>
                </a:ext>
              </a:extLst>
            </p:cNvPr>
            <p:cNvSpPr/>
            <p:nvPr/>
          </p:nvSpPr>
          <p:spPr>
            <a:xfrm>
              <a:off x="3730616" y="3926192"/>
              <a:ext cx="57365" cy="104022"/>
            </a:xfrm>
            <a:custGeom>
              <a:avLst/>
              <a:gdLst>
                <a:gd name="connsiteX0" fmla="*/ 5354 w 57365"/>
                <a:gd name="connsiteY0" fmla="*/ 104023 h 104022"/>
                <a:gd name="connsiteX1" fmla="*/ 2295 w 57365"/>
                <a:gd name="connsiteY1" fmla="*/ 100963 h 104022"/>
                <a:gd name="connsiteX2" fmla="*/ 2295 w 57365"/>
                <a:gd name="connsiteY2" fmla="*/ 91785 h 104022"/>
                <a:gd name="connsiteX3" fmla="*/ 45127 w 57365"/>
                <a:gd name="connsiteY3" fmla="*/ 6119 h 104022"/>
                <a:gd name="connsiteX4" fmla="*/ 51246 w 57365"/>
                <a:gd name="connsiteY4" fmla="*/ 0 h 104022"/>
                <a:gd name="connsiteX5" fmla="*/ 57365 w 57365"/>
                <a:gd name="connsiteY5" fmla="*/ 6119 h 104022"/>
                <a:gd name="connsiteX6" fmla="*/ 11473 w 57365"/>
                <a:gd name="connsiteY6" fmla="*/ 100963 h 104022"/>
                <a:gd name="connsiteX7" fmla="*/ 5354 w 57365"/>
                <a:gd name="connsiteY7" fmla="*/ 104023 h 104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365" h="104022">
                  <a:moveTo>
                    <a:pt x="5354" y="104023"/>
                  </a:moveTo>
                  <a:cubicBezTo>
                    <a:pt x="2295" y="104023"/>
                    <a:pt x="2295" y="104023"/>
                    <a:pt x="2295" y="100963"/>
                  </a:cubicBezTo>
                  <a:cubicBezTo>
                    <a:pt x="-765" y="97904"/>
                    <a:pt x="-765" y="94844"/>
                    <a:pt x="2295" y="91785"/>
                  </a:cubicBezTo>
                  <a:cubicBezTo>
                    <a:pt x="42068" y="58130"/>
                    <a:pt x="45127" y="6119"/>
                    <a:pt x="45127" y="6119"/>
                  </a:cubicBezTo>
                  <a:cubicBezTo>
                    <a:pt x="45127" y="3060"/>
                    <a:pt x="48187" y="0"/>
                    <a:pt x="51246" y="0"/>
                  </a:cubicBezTo>
                  <a:cubicBezTo>
                    <a:pt x="54306" y="0"/>
                    <a:pt x="57365" y="3060"/>
                    <a:pt x="57365" y="6119"/>
                  </a:cubicBezTo>
                  <a:cubicBezTo>
                    <a:pt x="57365" y="9179"/>
                    <a:pt x="57365" y="64249"/>
                    <a:pt x="11473" y="100963"/>
                  </a:cubicBezTo>
                  <a:cubicBezTo>
                    <a:pt x="8414" y="104023"/>
                    <a:pt x="8414" y="104023"/>
                    <a:pt x="5354" y="104023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" name="任意多边形: 形状 1000">
              <a:extLst>
                <a:ext uri="{FF2B5EF4-FFF2-40B4-BE49-F238E27FC236}">
                  <a16:creationId xmlns:a16="http://schemas.microsoft.com/office/drawing/2014/main" id="{74D2C46A-7EF4-4494-B5CE-033730B3A7F2}"/>
                </a:ext>
              </a:extLst>
            </p:cNvPr>
            <p:cNvSpPr/>
            <p:nvPr/>
          </p:nvSpPr>
          <p:spPr>
            <a:xfrm>
              <a:off x="3148548" y="3265343"/>
              <a:ext cx="156034" cy="471161"/>
            </a:xfrm>
            <a:custGeom>
              <a:avLst/>
              <a:gdLst>
                <a:gd name="connsiteX0" fmla="*/ 6119 w 156034"/>
                <a:gd name="connsiteY0" fmla="*/ 471162 h 471161"/>
                <a:gd name="connsiteX1" fmla="*/ 0 w 156034"/>
                <a:gd name="connsiteY1" fmla="*/ 468102 h 471161"/>
                <a:gd name="connsiteX2" fmla="*/ 3060 w 156034"/>
                <a:gd name="connsiteY2" fmla="*/ 461983 h 471161"/>
                <a:gd name="connsiteX3" fmla="*/ 58130 w 156034"/>
                <a:gd name="connsiteY3" fmla="*/ 431388 h 471161"/>
                <a:gd name="connsiteX4" fmla="*/ 143796 w 156034"/>
                <a:gd name="connsiteY4" fmla="*/ 0 h 471161"/>
                <a:gd name="connsiteX5" fmla="*/ 156034 w 156034"/>
                <a:gd name="connsiteY5" fmla="*/ 3060 h 471161"/>
                <a:gd name="connsiteX6" fmla="*/ 70368 w 156034"/>
                <a:gd name="connsiteY6" fmla="*/ 437507 h 471161"/>
                <a:gd name="connsiteX7" fmla="*/ 67309 w 156034"/>
                <a:gd name="connsiteY7" fmla="*/ 440567 h 471161"/>
                <a:gd name="connsiteX8" fmla="*/ 6119 w 156034"/>
                <a:gd name="connsiteY8" fmla="*/ 471162 h 471161"/>
                <a:gd name="connsiteX9" fmla="*/ 6119 w 156034"/>
                <a:gd name="connsiteY9" fmla="*/ 471162 h 47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034" h="471161">
                  <a:moveTo>
                    <a:pt x="6119" y="471162"/>
                  </a:moveTo>
                  <a:cubicBezTo>
                    <a:pt x="3060" y="471162"/>
                    <a:pt x="3060" y="471162"/>
                    <a:pt x="0" y="468102"/>
                  </a:cubicBezTo>
                  <a:cubicBezTo>
                    <a:pt x="0" y="465043"/>
                    <a:pt x="0" y="461983"/>
                    <a:pt x="3060" y="461983"/>
                  </a:cubicBezTo>
                  <a:cubicBezTo>
                    <a:pt x="18357" y="455864"/>
                    <a:pt x="52011" y="437507"/>
                    <a:pt x="58130" y="431388"/>
                  </a:cubicBezTo>
                  <a:cubicBezTo>
                    <a:pt x="82606" y="312068"/>
                    <a:pt x="143796" y="0"/>
                    <a:pt x="143796" y="0"/>
                  </a:cubicBezTo>
                  <a:lnTo>
                    <a:pt x="156034" y="3060"/>
                  </a:lnTo>
                  <a:cubicBezTo>
                    <a:pt x="156034" y="3060"/>
                    <a:pt x="91785" y="321246"/>
                    <a:pt x="70368" y="437507"/>
                  </a:cubicBezTo>
                  <a:cubicBezTo>
                    <a:pt x="70368" y="437507"/>
                    <a:pt x="70368" y="440567"/>
                    <a:pt x="67309" y="440567"/>
                  </a:cubicBezTo>
                  <a:cubicBezTo>
                    <a:pt x="67309" y="437507"/>
                    <a:pt x="27535" y="461983"/>
                    <a:pt x="6119" y="471162"/>
                  </a:cubicBezTo>
                  <a:cubicBezTo>
                    <a:pt x="9179" y="471162"/>
                    <a:pt x="9179" y="471162"/>
                    <a:pt x="6119" y="471162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" name="任意多边形: 形状 1001">
              <a:extLst>
                <a:ext uri="{FF2B5EF4-FFF2-40B4-BE49-F238E27FC236}">
                  <a16:creationId xmlns:a16="http://schemas.microsoft.com/office/drawing/2014/main" id="{98B65B4F-EBA3-4BBA-9C74-71B7BEA7BD2B}"/>
                </a:ext>
              </a:extLst>
            </p:cNvPr>
            <p:cNvSpPr/>
            <p:nvPr/>
          </p:nvSpPr>
          <p:spPr>
            <a:xfrm>
              <a:off x="2989454" y="2674861"/>
              <a:ext cx="430950" cy="585828"/>
            </a:xfrm>
            <a:custGeom>
              <a:avLst/>
              <a:gdLst>
                <a:gd name="connsiteX0" fmla="*/ 0 w 430950"/>
                <a:gd name="connsiteY0" fmla="*/ 513994 h 585828"/>
                <a:gd name="connsiteX1" fmla="*/ 312068 w 430950"/>
                <a:gd name="connsiteY1" fmla="*/ 0 h 585828"/>
                <a:gd name="connsiteX2" fmla="*/ 419150 w 430950"/>
                <a:gd name="connsiteY2" fmla="*/ 581303 h 585828"/>
                <a:gd name="connsiteX3" fmla="*/ 0 w 430950"/>
                <a:gd name="connsiteY3" fmla="*/ 513994 h 585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950" h="585828">
                  <a:moveTo>
                    <a:pt x="0" y="513994"/>
                  </a:moveTo>
                  <a:cubicBezTo>
                    <a:pt x="0" y="513994"/>
                    <a:pt x="165212" y="0"/>
                    <a:pt x="312068" y="0"/>
                  </a:cubicBezTo>
                  <a:cubicBezTo>
                    <a:pt x="483399" y="0"/>
                    <a:pt x="419150" y="581303"/>
                    <a:pt x="419150" y="581303"/>
                  </a:cubicBezTo>
                  <a:cubicBezTo>
                    <a:pt x="419150" y="581303"/>
                    <a:pt x="192748" y="611898"/>
                    <a:pt x="0" y="513994"/>
                  </a:cubicBezTo>
                  <a:close/>
                </a:path>
              </a:pathLst>
            </a:custGeom>
            <a:solidFill>
              <a:srgbClr val="F6EBE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" name="任意多边形: 形状 1002">
              <a:extLst>
                <a:ext uri="{FF2B5EF4-FFF2-40B4-BE49-F238E27FC236}">
                  <a16:creationId xmlns:a16="http://schemas.microsoft.com/office/drawing/2014/main" id="{7356D7AB-F39B-4A4F-9683-87FF7D2DEA42}"/>
                </a:ext>
              </a:extLst>
            </p:cNvPr>
            <p:cNvSpPr/>
            <p:nvPr/>
          </p:nvSpPr>
          <p:spPr>
            <a:xfrm>
              <a:off x="3267868" y="2670534"/>
              <a:ext cx="153598" cy="597867"/>
            </a:xfrm>
            <a:custGeom>
              <a:avLst/>
              <a:gdLst>
                <a:gd name="connsiteX0" fmla="*/ 52011 w 153598"/>
                <a:gd name="connsiteY0" fmla="*/ 597868 h 597867"/>
                <a:gd name="connsiteX1" fmla="*/ 6119 w 153598"/>
                <a:gd name="connsiteY1" fmla="*/ 594808 h 597867"/>
                <a:gd name="connsiteX2" fmla="*/ 0 w 153598"/>
                <a:gd name="connsiteY2" fmla="*/ 588689 h 597867"/>
                <a:gd name="connsiteX3" fmla="*/ 6119 w 153598"/>
                <a:gd name="connsiteY3" fmla="*/ 582570 h 597867"/>
                <a:gd name="connsiteX4" fmla="*/ 137677 w 153598"/>
                <a:gd name="connsiteY4" fmla="*/ 579511 h 597867"/>
                <a:gd name="connsiteX5" fmla="*/ 143796 w 153598"/>
                <a:gd name="connsiteY5" fmla="*/ 224610 h 597867"/>
                <a:gd name="connsiteX6" fmla="*/ 33654 w 153598"/>
                <a:gd name="connsiteY6" fmla="*/ 10446 h 597867"/>
                <a:gd name="connsiteX7" fmla="*/ 30595 w 153598"/>
                <a:gd name="connsiteY7" fmla="*/ 4327 h 597867"/>
                <a:gd name="connsiteX8" fmla="*/ 36714 w 153598"/>
                <a:gd name="connsiteY8" fmla="*/ 1267 h 597867"/>
                <a:gd name="connsiteX9" fmla="*/ 152975 w 153598"/>
                <a:gd name="connsiteY9" fmla="*/ 227669 h 597867"/>
                <a:gd name="connsiteX10" fmla="*/ 146856 w 153598"/>
                <a:gd name="connsiteY10" fmla="*/ 588689 h 597867"/>
                <a:gd name="connsiteX11" fmla="*/ 146856 w 153598"/>
                <a:gd name="connsiteY11" fmla="*/ 591749 h 597867"/>
                <a:gd name="connsiteX12" fmla="*/ 143796 w 153598"/>
                <a:gd name="connsiteY12" fmla="*/ 591749 h 597867"/>
                <a:gd name="connsiteX13" fmla="*/ 52011 w 153598"/>
                <a:gd name="connsiteY13" fmla="*/ 597868 h 597867"/>
                <a:gd name="connsiteX14" fmla="*/ 140737 w 153598"/>
                <a:gd name="connsiteY14" fmla="*/ 585630 h 597867"/>
                <a:gd name="connsiteX15" fmla="*/ 140737 w 153598"/>
                <a:gd name="connsiteY15" fmla="*/ 585630 h 597867"/>
                <a:gd name="connsiteX16" fmla="*/ 140737 w 153598"/>
                <a:gd name="connsiteY16" fmla="*/ 585630 h 597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3598" h="597867">
                  <a:moveTo>
                    <a:pt x="52011" y="597868"/>
                  </a:moveTo>
                  <a:cubicBezTo>
                    <a:pt x="36714" y="597868"/>
                    <a:pt x="21416" y="597868"/>
                    <a:pt x="6119" y="594808"/>
                  </a:cubicBezTo>
                  <a:cubicBezTo>
                    <a:pt x="3060" y="594808"/>
                    <a:pt x="0" y="591749"/>
                    <a:pt x="0" y="588689"/>
                  </a:cubicBezTo>
                  <a:cubicBezTo>
                    <a:pt x="0" y="585630"/>
                    <a:pt x="3060" y="582570"/>
                    <a:pt x="6119" y="582570"/>
                  </a:cubicBezTo>
                  <a:cubicBezTo>
                    <a:pt x="61190" y="588689"/>
                    <a:pt x="119320" y="582570"/>
                    <a:pt x="137677" y="579511"/>
                  </a:cubicBezTo>
                  <a:cubicBezTo>
                    <a:pt x="140737" y="551976"/>
                    <a:pt x="149915" y="389823"/>
                    <a:pt x="143796" y="224610"/>
                  </a:cubicBezTo>
                  <a:cubicBezTo>
                    <a:pt x="140737" y="47160"/>
                    <a:pt x="36714" y="10446"/>
                    <a:pt x="33654" y="10446"/>
                  </a:cubicBezTo>
                  <a:cubicBezTo>
                    <a:pt x="30595" y="10446"/>
                    <a:pt x="30595" y="7386"/>
                    <a:pt x="30595" y="4327"/>
                  </a:cubicBezTo>
                  <a:cubicBezTo>
                    <a:pt x="30595" y="1267"/>
                    <a:pt x="33654" y="-1792"/>
                    <a:pt x="36714" y="1267"/>
                  </a:cubicBezTo>
                  <a:cubicBezTo>
                    <a:pt x="42833" y="1267"/>
                    <a:pt x="149915" y="41041"/>
                    <a:pt x="152975" y="227669"/>
                  </a:cubicBezTo>
                  <a:cubicBezTo>
                    <a:pt x="156034" y="411239"/>
                    <a:pt x="146856" y="588689"/>
                    <a:pt x="146856" y="588689"/>
                  </a:cubicBezTo>
                  <a:lnTo>
                    <a:pt x="146856" y="591749"/>
                  </a:lnTo>
                  <a:lnTo>
                    <a:pt x="143796" y="591749"/>
                  </a:lnTo>
                  <a:cubicBezTo>
                    <a:pt x="140737" y="591749"/>
                    <a:pt x="100963" y="597868"/>
                    <a:pt x="52011" y="597868"/>
                  </a:cubicBezTo>
                  <a:close/>
                  <a:moveTo>
                    <a:pt x="140737" y="585630"/>
                  </a:moveTo>
                  <a:lnTo>
                    <a:pt x="140737" y="585630"/>
                  </a:lnTo>
                  <a:lnTo>
                    <a:pt x="140737" y="585630"/>
                  </a:ln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" name="任意多边形: 形状 1003">
              <a:extLst>
                <a:ext uri="{FF2B5EF4-FFF2-40B4-BE49-F238E27FC236}">
                  <a16:creationId xmlns:a16="http://schemas.microsoft.com/office/drawing/2014/main" id="{C66675F0-C3E9-4C89-A007-E1A6328805BC}"/>
                </a:ext>
              </a:extLst>
            </p:cNvPr>
            <p:cNvSpPr/>
            <p:nvPr/>
          </p:nvSpPr>
          <p:spPr>
            <a:xfrm>
              <a:off x="4032740" y="3595768"/>
              <a:ext cx="936204" cy="12237"/>
            </a:xfrm>
            <a:custGeom>
              <a:avLst/>
              <a:gdLst>
                <a:gd name="connsiteX0" fmla="*/ 927026 w 936204"/>
                <a:gd name="connsiteY0" fmla="*/ 12238 h 12237"/>
                <a:gd name="connsiteX1" fmla="*/ 6119 w 936204"/>
                <a:gd name="connsiteY1" fmla="*/ 12238 h 12237"/>
                <a:gd name="connsiteX2" fmla="*/ 0 w 936204"/>
                <a:gd name="connsiteY2" fmla="*/ 6119 h 12237"/>
                <a:gd name="connsiteX3" fmla="*/ 6119 w 936204"/>
                <a:gd name="connsiteY3" fmla="*/ 0 h 12237"/>
                <a:gd name="connsiteX4" fmla="*/ 930085 w 936204"/>
                <a:gd name="connsiteY4" fmla="*/ 0 h 12237"/>
                <a:gd name="connsiteX5" fmla="*/ 936204 w 936204"/>
                <a:gd name="connsiteY5" fmla="*/ 6119 h 12237"/>
                <a:gd name="connsiteX6" fmla="*/ 927026 w 936204"/>
                <a:gd name="connsiteY6" fmla="*/ 12238 h 12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6204" h="12237">
                  <a:moveTo>
                    <a:pt x="927026" y="12238"/>
                  </a:moveTo>
                  <a:lnTo>
                    <a:pt x="6119" y="12238"/>
                  </a:lnTo>
                  <a:cubicBezTo>
                    <a:pt x="3060" y="12238"/>
                    <a:pt x="0" y="9178"/>
                    <a:pt x="0" y="6119"/>
                  </a:cubicBezTo>
                  <a:cubicBezTo>
                    <a:pt x="0" y="3059"/>
                    <a:pt x="3060" y="0"/>
                    <a:pt x="6119" y="0"/>
                  </a:cubicBezTo>
                  <a:lnTo>
                    <a:pt x="930085" y="0"/>
                  </a:lnTo>
                  <a:cubicBezTo>
                    <a:pt x="933145" y="0"/>
                    <a:pt x="936204" y="3059"/>
                    <a:pt x="936204" y="6119"/>
                  </a:cubicBezTo>
                  <a:cubicBezTo>
                    <a:pt x="933145" y="12238"/>
                    <a:pt x="930085" y="12238"/>
                    <a:pt x="927026" y="12238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" name="任意多边形: 形状 1004">
              <a:extLst>
                <a:ext uri="{FF2B5EF4-FFF2-40B4-BE49-F238E27FC236}">
                  <a16:creationId xmlns:a16="http://schemas.microsoft.com/office/drawing/2014/main" id="{C40B28D4-517A-42EF-9678-D29F905AB1D9}"/>
                </a:ext>
              </a:extLst>
            </p:cNvPr>
            <p:cNvSpPr/>
            <p:nvPr/>
          </p:nvSpPr>
          <p:spPr>
            <a:xfrm>
              <a:off x="4559077" y="3507331"/>
              <a:ext cx="206098" cy="226484"/>
            </a:xfrm>
            <a:custGeom>
              <a:avLst/>
              <a:gdLst>
                <a:gd name="connsiteX0" fmla="*/ 2955 w 206098"/>
                <a:gd name="connsiteY0" fmla="*/ 158805 h 226484"/>
                <a:gd name="connsiteX1" fmla="*/ 85561 w 206098"/>
                <a:gd name="connsiteY1" fmla="*/ 226114 h 226484"/>
                <a:gd name="connsiteX2" fmla="*/ 204881 w 206098"/>
                <a:gd name="connsiteY2" fmla="*/ 192459 h 226484"/>
                <a:gd name="connsiteX3" fmla="*/ 171227 w 206098"/>
                <a:gd name="connsiteY3" fmla="*/ 39485 h 226484"/>
                <a:gd name="connsiteX4" fmla="*/ 162048 w 206098"/>
                <a:gd name="connsiteY4" fmla="*/ 39485 h 226484"/>
                <a:gd name="connsiteX5" fmla="*/ 158989 w 206098"/>
                <a:gd name="connsiteY5" fmla="*/ 42544 h 226484"/>
                <a:gd name="connsiteX6" fmla="*/ 134513 w 206098"/>
                <a:gd name="connsiteY6" fmla="*/ 2771 h 226484"/>
                <a:gd name="connsiteX7" fmla="*/ 97799 w 206098"/>
                <a:gd name="connsiteY7" fmla="*/ 24187 h 226484"/>
                <a:gd name="connsiteX8" fmla="*/ 70264 w 206098"/>
                <a:gd name="connsiteY8" fmla="*/ 18068 h 226484"/>
                <a:gd name="connsiteX9" fmla="*/ 42728 w 206098"/>
                <a:gd name="connsiteY9" fmla="*/ 60901 h 226484"/>
                <a:gd name="connsiteX10" fmla="*/ 15193 w 206098"/>
                <a:gd name="connsiteY10" fmla="*/ 54782 h 226484"/>
                <a:gd name="connsiteX11" fmla="*/ 2955 w 206098"/>
                <a:gd name="connsiteY11" fmla="*/ 158805 h 226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098" h="226484">
                  <a:moveTo>
                    <a:pt x="2955" y="158805"/>
                  </a:moveTo>
                  <a:cubicBezTo>
                    <a:pt x="12133" y="213876"/>
                    <a:pt x="33550" y="229173"/>
                    <a:pt x="85561" y="226114"/>
                  </a:cubicBezTo>
                  <a:cubicBezTo>
                    <a:pt x="122275" y="223054"/>
                    <a:pt x="183465" y="226114"/>
                    <a:pt x="204881" y="192459"/>
                  </a:cubicBezTo>
                  <a:cubicBezTo>
                    <a:pt x="207941" y="192459"/>
                    <a:pt x="207941" y="67020"/>
                    <a:pt x="171227" y="39485"/>
                  </a:cubicBezTo>
                  <a:cubicBezTo>
                    <a:pt x="168167" y="36425"/>
                    <a:pt x="165108" y="36425"/>
                    <a:pt x="162048" y="39485"/>
                  </a:cubicBezTo>
                  <a:cubicBezTo>
                    <a:pt x="158989" y="39485"/>
                    <a:pt x="158989" y="42544"/>
                    <a:pt x="158989" y="42544"/>
                  </a:cubicBezTo>
                  <a:cubicBezTo>
                    <a:pt x="155929" y="24187"/>
                    <a:pt x="149810" y="8890"/>
                    <a:pt x="134513" y="2771"/>
                  </a:cubicBezTo>
                  <a:cubicBezTo>
                    <a:pt x="116156" y="-6407"/>
                    <a:pt x="103918" y="8890"/>
                    <a:pt x="97799" y="24187"/>
                  </a:cubicBezTo>
                  <a:cubicBezTo>
                    <a:pt x="91680" y="15009"/>
                    <a:pt x="82501" y="11950"/>
                    <a:pt x="70264" y="18068"/>
                  </a:cubicBezTo>
                  <a:cubicBezTo>
                    <a:pt x="54966" y="27247"/>
                    <a:pt x="45788" y="42544"/>
                    <a:pt x="42728" y="60901"/>
                  </a:cubicBezTo>
                  <a:cubicBezTo>
                    <a:pt x="36609" y="54782"/>
                    <a:pt x="27431" y="51723"/>
                    <a:pt x="15193" y="54782"/>
                  </a:cubicBezTo>
                  <a:cubicBezTo>
                    <a:pt x="-105" y="54782"/>
                    <a:pt x="-3164" y="131270"/>
                    <a:pt x="2955" y="158805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" name="任意多边形: 形状 1005">
              <a:extLst>
                <a:ext uri="{FF2B5EF4-FFF2-40B4-BE49-F238E27FC236}">
                  <a16:creationId xmlns:a16="http://schemas.microsoft.com/office/drawing/2014/main" id="{E2B98243-30CA-40D5-A379-DE7E97E5C412}"/>
                </a:ext>
              </a:extLst>
            </p:cNvPr>
            <p:cNvSpPr/>
            <p:nvPr/>
          </p:nvSpPr>
          <p:spPr>
            <a:xfrm>
              <a:off x="4649490" y="3499846"/>
              <a:ext cx="80813" cy="141813"/>
            </a:xfrm>
            <a:custGeom>
              <a:avLst/>
              <a:gdLst>
                <a:gd name="connsiteX0" fmla="*/ 74695 w 80813"/>
                <a:gd name="connsiteY0" fmla="*/ 141813 h 141813"/>
                <a:gd name="connsiteX1" fmla="*/ 68576 w 80813"/>
                <a:gd name="connsiteY1" fmla="*/ 135694 h 141813"/>
                <a:gd name="connsiteX2" fmla="*/ 34922 w 80813"/>
                <a:gd name="connsiteY2" fmla="*/ 13315 h 141813"/>
                <a:gd name="connsiteX3" fmla="*/ 10446 w 80813"/>
                <a:gd name="connsiteY3" fmla="*/ 31672 h 141813"/>
                <a:gd name="connsiteX4" fmla="*/ 4327 w 80813"/>
                <a:gd name="connsiteY4" fmla="*/ 34731 h 141813"/>
                <a:gd name="connsiteX5" fmla="*/ 1267 w 80813"/>
                <a:gd name="connsiteY5" fmla="*/ 28612 h 141813"/>
                <a:gd name="connsiteX6" fmla="*/ 37981 w 80813"/>
                <a:gd name="connsiteY6" fmla="*/ 1077 h 141813"/>
                <a:gd name="connsiteX7" fmla="*/ 80814 w 80813"/>
                <a:gd name="connsiteY7" fmla="*/ 135694 h 141813"/>
                <a:gd name="connsiteX8" fmla="*/ 74695 w 80813"/>
                <a:gd name="connsiteY8" fmla="*/ 141813 h 141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813" h="141813">
                  <a:moveTo>
                    <a:pt x="74695" y="141813"/>
                  </a:moveTo>
                  <a:cubicBezTo>
                    <a:pt x="71636" y="141813"/>
                    <a:pt x="68576" y="138754"/>
                    <a:pt x="68576" y="135694"/>
                  </a:cubicBezTo>
                  <a:cubicBezTo>
                    <a:pt x="68576" y="59207"/>
                    <a:pt x="56338" y="16374"/>
                    <a:pt x="34922" y="13315"/>
                  </a:cubicBezTo>
                  <a:cubicBezTo>
                    <a:pt x="19624" y="10255"/>
                    <a:pt x="10446" y="31672"/>
                    <a:pt x="10446" y="31672"/>
                  </a:cubicBezTo>
                  <a:cubicBezTo>
                    <a:pt x="10446" y="34731"/>
                    <a:pt x="7386" y="34731"/>
                    <a:pt x="4327" y="34731"/>
                  </a:cubicBezTo>
                  <a:cubicBezTo>
                    <a:pt x="1267" y="34731"/>
                    <a:pt x="-1792" y="31672"/>
                    <a:pt x="1267" y="28612"/>
                  </a:cubicBezTo>
                  <a:cubicBezTo>
                    <a:pt x="4327" y="16374"/>
                    <a:pt x="16565" y="-5042"/>
                    <a:pt x="37981" y="1077"/>
                  </a:cubicBezTo>
                  <a:cubicBezTo>
                    <a:pt x="65517" y="7196"/>
                    <a:pt x="80814" y="50029"/>
                    <a:pt x="80814" y="135694"/>
                  </a:cubicBezTo>
                  <a:cubicBezTo>
                    <a:pt x="80814" y="138754"/>
                    <a:pt x="77755" y="141813"/>
                    <a:pt x="74695" y="141813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" name="任意多边形: 形状 1006">
              <a:extLst>
                <a:ext uri="{FF2B5EF4-FFF2-40B4-BE49-F238E27FC236}">
                  <a16:creationId xmlns:a16="http://schemas.microsoft.com/office/drawing/2014/main" id="{5C081757-8632-4B16-94A6-ED60DD942FE1}"/>
                </a:ext>
              </a:extLst>
            </p:cNvPr>
            <p:cNvSpPr/>
            <p:nvPr/>
          </p:nvSpPr>
          <p:spPr>
            <a:xfrm>
              <a:off x="4589568" y="3513161"/>
              <a:ext cx="82606" cy="159093"/>
            </a:xfrm>
            <a:custGeom>
              <a:avLst/>
              <a:gdLst>
                <a:gd name="connsiteX0" fmla="*/ 15297 w 82606"/>
                <a:gd name="connsiteY0" fmla="*/ 159094 h 159093"/>
                <a:gd name="connsiteX1" fmla="*/ 15297 w 82606"/>
                <a:gd name="connsiteY1" fmla="*/ 159094 h 159093"/>
                <a:gd name="connsiteX2" fmla="*/ 9179 w 82606"/>
                <a:gd name="connsiteY2" fmla="*/ 152975 h 159093"/>
                <a:gd name="connsiteX3" fmla="*/ 0 w 82606"/>
                <a:gd name="connsiteY3" fmla="*/ 52011 h 159093"/>
                <a:gd name="connsiteX4" fmla="*/ 0 w 82606"/>
                <a:gd name="connsiteY4" fmla="*/ 48952 h 159093"/>
                <a:gd name="connsiteX5" fmla="*/ 39773 w 82606"/>
                <a:gd name="connsiteY5" fmla="*/ 0 h 159093"/>
                <a:gd name="connsiteX6" fmla="*/ 55071 w 82606"/>
                <a:gd name="connsiteY6" fmla="*/ 6119 h 159093"/>
                <a:gd name="connsiteX7" fmla="*/ 82606 w 82606"/>
                <a:gd name="connsiteY7" fmla="*/ 131558 h 159093"/>
                <a:gd name="connsiteX8" fmla="*/ 76487 w 82606"/>
                <a:gd name="connsiteY8" fmla="*/ 137677 h 159093"/>
                <a:gd name="connsiteX9" fmla="*/ 76487 w 82606"/>
                <a:gd name="connsiteY9" fmla="*/ 137677 h 159093"/>
                <a:gd name="connsiteX10" fmla="*/ 70368 w 82606"/>
                <a:gd name="connsiteY10" fmla="*/ 131558 h 159093"/>
                <a:gd name="connsiteX11" fmla="*/ 48952 w 82606"/>
                <a:gd name="connsiteY11" fmla="*/ 15297 h 159093"/>
                <a:gd name="connsiteX12" fmla="*/ 42833 w 82606"/>
                <a:gd name="connsiteY12" fmla="*/ 12238 h 159093"/>
                <a:gd name="connsiteX13" fmla="*/ 12238 w 82606"/>
                <a:gd name="connsiteY13" fmla="*/ 52011 h 159093"/>
                <a:gd name="connsiteX14" fmla="*/ 21416 w 82606"/>
                <a:gd name="connsiteY14" fmla="*/ 152975 h 159093"/>
                <a:gd name="connsiteX15" fmla="*/ 15297 w 82606"/>
                <a:gd name="connsiteY15" fmla="*/ 159094 h 15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2606" h="159093">
                  <a:moveTo>
                    <a:pt x="15297" y="159094"/>
                  </a:moveTo>
                  <a:cubicBezTo>
                    <a:pt x="15297" y="159094"/>
                    <a:pt x="15297" y="159094"/>
                    <a:pt x="15297" y="159094"/>
                  </a:cubicBezTo>
                  <a:cubicBezTo>
                    <a:pt x="12238" y="159094"/>
                    <a:pt x="9179" y="156034"/>
                    <a:pt x="9179" y="152975"/>
                  </a:cubicBezTo>
                  <a:cubicBezTo>
                    <a:pt x="12238" y="119320"/>
                    <a:pt x="0" y="55071"/>
                    <a:pt x="0" y="52011"/>
                  </a:cubicBezTo>
                  <a:cubicBezTo>
                    <a:pt x="0" y="52011"/>
                    <a:pt x="0" y="48952"/>
                    <a:pt x="0" y="48952"/>
                  </a:cubicBezTo>
                  <a:cubicBezTo>
                    <a:pt x="0" y="45892"/>
                    <a:pt x="12238" y="3059"/>
                    <a:pt x="39773" y="0"/>
                  </a:cubicBezTo>
                  <a:cubicBezTo>
                    <a:pt x="45892" y="0"/>
                    <a:pt x="52011" y="0"/>
                    <a:pt x="55071" y="6119"/>
                  </a:cubicBezTo>
                  <a:cubicBezTo>
                    <a:pt x="76487" y="24476"/>
                    <a:pt x="79547" y="82606"/>
                    <a:pt x="82606" y="131558"/>
                  </a:cubicBezTo>
                  <a:cubicBezTo>
                    <a:pt x="82606" y="134618"/>
                    <a:pt x="79547" y="137677"/>
                    <a:pt x="76487" y="137677"/>
                  </a:cubicBezTo>
                  <a:cubicBezTo>
                    <a:pt x="76487" y="137677"/>
                    <a:pt x="76487" y="137677"/>
                    <a:pt x="76487" y="137677"/>
                  </a:cubicBezTo>
                  <a:cubicBezTo>
                    <a:pt x="73428" y="137677"/>
                    <a:pt x="70368" y="134618"/>
                    <a:pt x="70368" y="131558"/>
                  </a:cubicBezTo>
                  <a:cubicBezTo>
                    <a:pt x="70368" y="70368"/>
                    <a:pt x="61190" y="27535"/>
                    <a:pt x="48952" y="15297"/>
                  </a:cubicBezTo>
                  <a:cubicBezTo>
                    <a:pt x="45892" y="12238"/>
                    <a:pt x="42833" y="12238"/>
                    <a:pt x="42833" y="12238"/>
                  </a:cubicBezTo>
                  <a:cubicBezTo>
                    <a:pt x="27535" y="15297"/>
                    <a:pt x="15297" y="39773"/>
                    <a:pt x="12238" y="52011"/>
                  </a:cubicBezTo>
                  <a:cubicBezTo>
                    <a:pt x="15297" y="61190"/>
                    <a:pt x="21416" y="119320"/>
                    <a:pt x="21416" y="152975"/>
                  </a:cubicBezTo>
                  <a:cubicBezTo>
                    <a:pt x="21416" y="156034"/>
                    <a:pt x="18357" y="159094"/>
                    <a:pt x="15297" y="159094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7846350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7" name="图形 1">
            <a:extLst>
              <a:ext uri="{FF2B5EF4-FFF2-40B4-BE49-F238E27FC236}">
                <a16:creationId xmlns:a16="http://schemas.microsoft.com/office/drawing/2014/main" id="{AEC0499B-714B-4CC0-9B71-89E1A71F612F}"/>
              </a:ext>
            </a:extLst>
          </p:cNvPr>
          <p:cNvGrpSpPr/>
          <p:nvPr/>
        </p:nvGrpSpPr>
        <p:grpSpPr>
          <a:xfrm>
            <a:off x="3016635" y="1962616"/>
            <a:ext cx="7204786" cy="4892307"/>
            <a:chOff x="7320649" y="2513664"/>
            <a:chExt cx="7204786" cy="4892307"/>
          </a:xfrm>
        </p:grpSpPr>
        <p:sp>
          <p:nvSpPr>
            <p:cNvPr id="728" name="任意多边形: 形状 727">
              <a:extLst>
                <a:ext uri="{FF2B5EF4-FFF2-40B4-BE49-F238E27FC236}">
                  <a16:creationId xmlns:a16="http://schemas.microsoft.com/office/drawing/2014/main" id="{7EF4833B-F413-4EDA-AE54-E848E6F7EECD}"/>
                </a:ext>
              </a:extLst>
            </p:cNvPr>
            <p:cNvSpPr/>
            <p:nvPr/>
          </p:nvSpPr>
          <p:spPr>
            <a:xfrm>
              <a:off x="11952884" y="4258279"/>
              <a:ext cx="1028635" cy="725891"/>
            </a:xfrm>
            <a:custGeom>
              <a:avLst/>
              <a:gdLst>
                <a:gd name="connsiteX0" fmla="*/ 1012551 w 1028635"/>
                <a:gd name="connsiteY0" fmla="*/ 129231 h 725891"/>
                <a:gd name="connsiteX1" fmla="*/ 584858 w 1028635"/>
                <a:gd name="connsiteY1" fmla="*/ 221538 h 725891"/>
                <a:gd name="connsiteX2" fmla="*/ 227936 w 1028635"/>
                <a:gd name="connsiteY2" fmla="*/ 461538 h 725891"/>
                <a:gd name="connsiteX3" fmla="*/ 107935 w 1028635"/>
                <a:gd name="connsiteY3" fmla="*/ 0 h 725891"/>
                <a:gd name="connsiteX4" fmla="*/ 243 w 1028635"/>
                <a:gd name="connsiteY4" fmla="*/ 86154 h 725891"/>
                <a:gd name="connsiteX5" fmla="*/ 86397 w 1028635"/>
                <a:gd name="connsiteY5" fmla="*/ 710769 h 725891"/>
                <a:gd name="connsiteX6" fmla="*/ 1012551 w 1028635"/>
                <a:gd name="connsiteY6" fmla="*/ 129231 h 72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8635" h="725891">
                  <a:moveTo>
                    <a:pt x="1012551" y="129231"/>
                  </a:moveTo>
                  <a:cubicBezTo>
                    <a:pt x="947936" y="30769"/>
                    <a:pt x="686397" y="169231"/>
                    <a:pt x="584858" y="221538"/>
                  </a:cubicBezTo>
                  <a:cubicBezTo>
                    <a:pt x="495628" y="267692"/>
                    <a:pt x="227936" y="461538"/>
                    <a:pt x="227936" y="461538"/>
                  </a:cubicBezTo>
                  <a:lnTo>
                    <a:pt x="107935" y="0"/>
                  </a:lnTo>
                  <a:lnTo>
                    <a:pt x="243" y="86154"/>
                  </a:lnTo>
                  <a:cubicBezTo>
                    <a:pt x="243" y="86154"/>
                    <a:pt x="-8988" y="649231"/>
                    <a:pt x="86397" y="710769"/>
                  </a:cubicBezTo>
                  <a:cubicBezTo>
                    <a:pt x="246397" y="815385"/>
                    <a:pt x="1160243" y="350769"/>
                    <a:pt x="1012551" y="129231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9" name="任意多边形: 形状 728">
              <a:extLst>
                <a:ext uri="{FF2B5EF4-FFF2-40B4-BE49-F238E27FC236}">
                  <a16:creationId xmlns:a16="http://schemas.microsoft.com/office/drawing/2014/main" id="{50FAA249-9D0E-4921-BF26-08E0E706B3D5}"/>
                </a:ext>
              </a:extLst>
            </p:cNvPr>
            <p:cNvSpPr/>
            <p:nvPr/>
          </p:nvSpPr>
          <p:spPr>
            <a:xfrm>
              <a:off x="12482358" y="4242235"/>
              <a:ext cx="574260" cy="560659"/>
            </a:xfrm>
            <a:custGeom>
              <a:avLst/>
              <a:gdLst>
                <a:gd name="connsiteX0" fmla="*/ 255384 w 574260"/>
                <a:gd name="connsiteY0" fmla="*/ 560660 h 560659"/>
                <a:gd name="connsiteX1" fmla="*/ 566154 w 574260"/>
                <a:gd name="connsiteY1" fmla="*/ 40660 h 560659"/>
                <a:gd name="connsiteX2" fmla="*/ 0 w 574260"/>
                <a:gd name="connsiteY2" fmla="*/ 219121 h 560659"/>
                <a:gd name="connsiteX3" fmla="*/ 255384 w 574260"/>
                <a:gd name="connsiteY3" fmla="*/ 560660 h 56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4260" h="560659">
                  <a:moveTo>
                    <a:pt x="255384" y="560660"/>
                  </a:moveTo>
                  <a:cubicBezTo>
                    <a:pt x="255384" y="560660"/>
                    <a:pt x="633846" y="172968"/>
                    <a:pt x="566154" y="40660"/>
                  </a:cubicBezTo>
                  <a:cubicBezTo>
                    <a:pt x="486153" y="-113186"/>
                    <a:pt x="0" y="219121"/>
                    <a:pt x="0" y="219121"/>
                  </a:cubicBezTo>
                  <a:cubicBezTo>
                    <a:pt x="0" y="219121"/>
                    <a:pt x="76923" y="437583"/>
                    <a:pt x="255384" y="560660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30" name="图形 1">
              <a:extLst>
                <a:ext uri="{FF2B5EF4-FFF2-40B4-BE49-F238E27FC236}">
                  <a16:creationId xmlns:a16="http://schemas.microsoft.com/office/drawing/2014/main" id="{AEC0499B-714B-4CC0-9B71-89E1A71F612F}"/>
                </a:ext>
              </a:extLst>
            </p:cNvPr>
            <p:cNvGrpSpPr/>
            <p:nvPr/>
          </p:nvGrpSpPr>
          <p:grpSpPr>
            <a:xfrm>
              <a:off x="11902925" y="4109768"/>
              <a:ext cx="294985" cy="349237"/>
              <a:chOff x="11902925" y="4109768"/>
              <a:chExt cx="294985" cy="349237"/>
            </a:xfrm>
          </p:grpSpPr>
          <p:grpSp>
            <p:nvGrpSpPr>
              <p:cNvPr id="731" name="图形 1">
                <a:extLst>
                  <a:ext uri="{FF2B5EF4-FFF2-40B4-BE49-F238E27FC236}">
                    <a16:creationId xmlns:a16="http://schemas.microsoft.com/office/drawing/2014/main" id="{AEC0499B-714B-4CC0-9B71-89E1A71F612F}"/>
                  </a:ext>
                </a:extLst>
              </p:cNvPr>
              <p:cNvGrpSpPr/>
              <p:nvPr/>
            </p:nvGrpSpPr>
            <p:grpSpPr>
              <a:xfrm>
                <a:off x="11908637" y="4109768"/>
                <a:ext cx="289273" cy="349237"/>
                <a:chOff x="11908637" y="4109768"/>
                <a:chExt cx="289273" cy="349237"/>
              </a:xfrm>
            </p:grpSpPr>
            <p:sp>
              <p:nvSpPr>
                <p:cNvPr id="732" name="任意多边形: 形状 731">
                  <a:extLst>
                    <a:ext uri="{FF2B5EF4-FFF2-40B4-BE49-F238E27FC236}">
                      <a16:creationId xmlns:a16="http://schemas.microsoft.com/office/drawing/2014/main" id="{E93CDD12-A881-46B1-9A45-7CA0A3581B17}"/>
                    </a:ext>
                  </a:extLst>
                </p:cNvPr>
                <p:cNvSpPr/>
                <p:nvPr/>
              </p:nvSpPr>
              <p:spPr>
                <a:xfrm>
                  <a:off x="11908637" y="4121356"/>
                  <a:ext cx="289273" cy="337649"/>
                </a:xfrm>
                <a:custGeom>
                  <a:avLst/>
                  <a:gdLst>
                    <a:gd name="connsiteX0" fmla="*/ 59874 w 289273"/>
                    <a:gd name="connsiteY0" fmla="*/ 213846 h 337649"/>
                    <a:gd name="connsiteX1" fmla="*/ 149106 w 289273"/>
                    <a:gd name="connsiteY1" fmla="*/ 330769 h 337649"/>
                    <a:gd name="connsiteX2" fmla="*/ 259874 w 289273"/>
                    <a:gd name="connsiteY2" fmla="*/ 312308 h 337649"/>
                    <a:gd name="connsiteX3" fmla="*/ 259874 w 289273"/>
                    <a:gd name="connsiteY3" fmla="*/ 306154 h 337649"/>
                    <a:gd name="connsiteX4" fmla="*/ 259874 w 289273"/>
                    <a:gd name="connsiteY4" fmla="*/ 306154 h 337649"/>
                    <a:gd name="connsiteX5" fmla="*/ 247567 w 289273"/>
                    <a:gd name="connsiteY5" fmla="*/ 109231 h 337649"/>
                    <a:gd name="connsiteX6" fmla="*/ 219875 w 289273"/>
                    <a:gd name="connsiteY6" fmla="*/ 127692 h 337649"/>
                    <a:gd name="connsiteX7" fmla="*/ 229105 w 289273"/>
                    <a:gd name="connsiteY7" fmla="*/ 201538 h 337649"/>
                    <a:gd name="connsiteX8" fmla="*/ 136797 w 289273"/>
                    <a:gd name="connsiteY8" fmla="*/ 23077 h 337649"/>
                    <a:gd name="connsiteX9" fmla="*/ 102952 w 289273"/>
                    <a:gd name="connsiteY9" fmla="*/ 13846 h 337649"/>
                    <a:gd name="connsiteX10" fmla="*/ 118337 w 289273"/>
                    <a:gd name="connsiteY10" fmla="*/ 60000 h 337649"/>
                    <a:gd name="connsiteX11" fmla="*/ 142952 w 289273"/>
                    <a:gd name="connsiteY11" fmla="*/ 118461 h 337649"/>
                    <a:gd name="connsiteX12" fmla="*/ 90644 w 289273"/>
                    <a:gd name="connsiteY12" fmla="*/ 50769 h 337649"/>
                    <a:gd name="connsiteX13" fmla="*/ 50644 w 289273"/>
                    <a:gd name="connsiteY13" fmla="*/ 4615 h 337649"/>
                    <a:gd name="connsiteX14" fmla="*/ 19875 w 289273"/>
                    <a:gd name="connsiteY14" fmla="*/ 4615 h 337649"/>
                    <a:gd name="connsiteX15" fmla="*/ 16798 w 289273"/>
                    <a:gd name="connsiteY15" fmla="*/ 35385 h 337649"/>
                    <a:gd name="connsiteX16" fmla="*/ 13720 w 289273"/>
                    <a:gd name="connsiteY16" fmla="*/ 35385 h 337649"/>
                    <a:gd name="connsiteX17" fmla="*/ 1413 w 289273"/>
                    <a:gd name="connsiteY17" fmla="*/ 38462 h 337649"/>
                    <a:gd name="connsiteX18" fmla="*/ 19875 w 289273"/>
                    <a:gd name="connsiteY18" fmla="*/ 87692 h 337649"/>
                    <a:gd name="connsiteX19" fmla="*/ 38336 w 289273"/>
                    <a:gd name="connsiteY19" fmla="*/ 112308 h 337649"/>
                    <a:gd name="connsiteX20" fmla="*/ 32182 w 289273"/>
                    <a:gd name="connsiteY20" fmla="*/ 109231 h 337649"/>
                    <a:gd name="connsiteX21" fmla="*/ 10644 w 289273"/>
                    <a:gd name="connsiteY21" fmla="*/ 109231 h 337649"/>
                    <a:gd name="connsiteX22" fmla="*/ 59874 w 289273"/>
                    <a:gd name="connsiteY22" fmla="*/ 213846 h 3376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89273" h="337649">
                      <a:moveTo>
                        <a:pt x="59874" y="213846"/>
                      </a:moveTo>
                      <a:cubicBezTo>
                        <a:pt x="84490" y="253846"/>
                        <a:pt x="99875" y="312308"/>
                        <a:pt x="149106" y="330769"/>
                      </a:cubicBezTo>
                      <a:cubicBezTo>
                        <a:pt x="179875" y="343077"/>
                        <a:pt x="244490" y="340000"/>
                        <a:pt x="259874" y="312308"/>
                      </a:cubicBezTo>
                      <a:cubicBezTo>
                        <a:pt x="259874" y="309231"/>
                        <a:pt x="259874" y="309231"/>
                        <a:pt x="259874" y="306154"/>
                      </a:cubicBezTo>
                      <a:cubicBezTo>
                        <a:pt x="259874" y="306154"/>
                        <a:pt x="259874" y="306154"/>
                        <a:pt x="259874" y="306154"/>
                      </a:cubicBezTo>
                      <a:cubicBezTo>
                        <a:pt x="309105" y="247692"/>
                        <a:pt x="290644" y="158462"/>
                        <a:pt x="247567" y="109231"/>
                      </a:cubicBezTo>
                      <a:cubicBezTo>
                        <a:pt x="244490" y="106154"/>
                        <a:pt x="216798" y="112308"/>
                        <a:pt x="219875" y="127692"/>
                      </a:cubicBezTo>
                      <a:cubicBezTo>
                        <a:pt x="229105" y="155385"/>
                        <a:pt x="232182" y="180000"/>
                        <a:pt x="229105" y="201538"/>
                      </a:cubicBezTo>
                      <a:cubicBezTo>
                        <a:pt x="192183" y="143077"/>
                        <a:pt x="182951" y="75385"/>
                        <a:pt x="136797" y="23077"/>
                      </a:cubicBezTo>
                      <a:cubicBezTo>
                        <a:pt x="127567" y="13846"/>
                        <a:pt x="106028" y="-7692"/>
                        <a:pt x="102952" y="13846"/>
                      </a:cubicBezTo>
                      <a:cubicBezTo>
                        <a:pt x="99875" y="26154"/>
                        <a:pt x="115259" y="47692"/>
                        <a:pt x="118337" y="60000"/>
                      </a:cubicBezTo>
                      <a:cubicBezTo>
                        <a:pt x="127567" y="78461"/>
                        <a:pt x="133721" y="100000"/>
                        <a:pt x="142952" y="118461"/>
                      </a:cubicBezTo>
                      <a:cubicBezTo>
                        <a:pt x="124490" y="96923"/>
                        <a:pt x="106028" y="75385"/>
                        <a:pt x="90644" y="50769"/>
                      </a:cubicBezTo>
                      <a:cubicBezTo>
                        <a:pt x="78336" y="35385"/>
                        <a:pt x="66029" y="13846"/>
                        <a:pt x="50644" y="4615"/>
                      </a:cubicBezTo>
                      <a:cubicBezTo>
                        <a:pt x="38336" y="-1538"/>
                        <a:pt x="29105" y="-1538"/>
                        <a:pt x="19875" y="4615"/>
                      </a:cubicBezTo>
                      <a:cubicBezTo>
                        <a:pt x="13720" y="13846"/>
                        <a:pt x="13720" y="23077"/>
                        <a:pt x="16798" y="35385"/>
                      </a:cubicBezTo>
                      <a:cubicBezTo>
                        <a:pt x="16798" y="35385"/>
                        <a:pt x="13720" y="35385"/>
                        <a:pt x="13720" y="35385"/>
                      </a:cubicBezTo>
                      <a:cubicBezTo>
                        <a:pt x="10644" y="35385"/>
                        <a:pt x="1413" y="35385"/>
                        <a:pt x="1413" y="38462"/>
                      </a:cubicBezTo>
                      <a:cubicBezTo>
                        <a:pt x="-4740" y="53846"/>
                        <a:pt x="10644" y="69231"/>
                        <a:pt x="19875" y="87692"/>
                      </a:cubicBezTo>
                      <a:cubicBezTo>
                        <a:pt x="26029" y="96923"/>
                        <a:pt x="32182" y="103077"/>
                        <a:pt x="38336" y="112308"/>
                      </a:cubicBezTo>
                      <a:cubicBezTo>
                        <a:pt x="35259" y="109231"/>
                        <a:pt x="35259" y="109231"/>
                        <a:pt x="32182" y="109231"/>
                      </a:cubicBezTo>
                      <a:cubicBezTo>
                        <a:pt x="22952" y="106154"/>
                        <a:pt x="16798" y="103077"/>
                        <a:pt x="10644" y="109231"/>
                      </a:cubicBezTo>
                      <a:cubicBezTo>
                        <a:pt x="-4740" y="115385"/>
                        <a:pt x="44490" y="189231"/>
                        <a:pt x="59874" y="213846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3" name="任意多边形: 形状 732">
                  <a:extLst>
                    <a:ext uri="{FF2B5EF4-FFF2-40B4-BE49-F238E27FC236}">
                      <a16:creationId xmlns:a16="http://schemas.microsoft.com/office/drawing/2014/main" id="{D6A26C7B-9268-4009-91DA-250CFA4FB99D}"/>
                    </a:ext>
                  </a:extLst>
                </p:cNvPr>
                <p:cNvSpPr/>
                <p:nvPr/>
              </p:nvSpPr>
              <p:spPr>
                <a:xfrm>
                  <a:off x="12090607" y="4324697"/>
                  <a:ext cx="33025" cy="62812"/>
                </a:xfrm>
                <a:custGeom>
                  <a:avLst/>
                  <a:gdLst>
                    <a:gd name="connsiteX0" fmla="*/ 10213 w 33025"/>
                    <a:gd name="connsiteY0" fmla="*/ 62813 h 62812"/>
                    <a:gd name="connsiteX1" fmla="*/ 4059 w 33025"/>
                    <a:gd name="connsiteY1" fmla="*/ 59736 h 62812"/>
                    <a:gd name="connsiteX2" fmla="*/ 22520 w 33025"/>
                    <a:gd name="connsiteY2" fmla="*/ 1275 h 62812"/>
                    <a:gd name="connsiteX3" fmla="*/ 31751 w 33025"/>
                    <a:gd name="connsiteY3" fmla="*/ 4351 h 62812"/>
                    <a:gd name="connsiteX4" fmla="*/ 28675 w 33025"/>
                    <a:gd name="connsiteY4" fmla="*/ 13582 h 62812"/>
                    <a:gd name="connsiteX5" fmla="*/ 16366 w 33025"/>
                    <a:gd name="connsiteY5" fmla="*/ 59736 h 62812"/>
                    <a:gd name="connsiteX6" fmla="*/ 10213 w 33025"/>
                    <a:gd name="connsiteY6" fmla="*/ 62813 h 62812"/>
                    <a:gd name="connsiteX7" fmla="*/ 10213 w 33025"/>
                    <a:gd name="connsiteY7" fmla="*/ 62813 h 62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025" h="62812">
                      <a:moveTo>
                        <a:pt x="10213" y="62813"/>
                      </a:moveTo>
                      <a:cubicBezTo>
                        <a:pt x="7136" y="62813"/>
                        <a:pt x="7136" y="62813"/>
                        <a:pt x="4059" y="59736"/>
                      </a:cubicBezTo>
                      <a:cubicBezTo>
                        <a:pt x="-8249" y="28967"/>
                        <a:pt x="10213" y="7428"/>
                        <a:pt x="22520" y="1275"/>
                      </a:cubicBezTo>
                      <a:cubicBezTo>
                        <a:pt x="25598" y="-1802"/>
                        <a:pt x="28675" y="1275"/>
                        <a:pt x="31751" y="4351"/>
                      </a:cubicBezTo>
                      <a:cubicBezTo>
                        <a:pt x="34828" y="7428"/>
                        <a:pt x="31751" y="10505"/>
                        <a:pt x="28675" y="13582"/>
                      </a:cubicBezTo>
                      <a:cubicBezTo>
                        <a:pt x="28675" y="13582"/>
                        <a:pt x="4059" y="28967"/>
                        <a:pt x="16366" y="59736"/>
                      </a:cubicBezTo>
                      <a:cubicBezTo>
                        <a:pt x="16366" y="59736"/>
                        <a:pt x="13290" y="62813"/>
                        <a:pt x="10213" y="62813"/>
                      </a:cubicBezTo>
                      <a:cubicBezTo>
                        <a:pt x="10213" y="62813"/>
                        <a:pt x="10213" y="62813"/>
                        <a:pt x="10213" y="6281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4" name="任意多边形: 形状 733">
                  <a:extLst>
                    <a:ext uri="{FF2B5EF4-FFF2-40B4-BE49-F238E27FC236}">
                      <a16:creationId xmlns:a16="http://schemas.microsoft.com/office/drawing/2014/main" id="{128740D8-252C-494E-8AFD-57F0CA7D43EA}"/>
                    </a:ext>
                  </a:extLst>
                </p:cNvPr>
                <p:cNvSpPr/>
                <p:nvPr/>
              </p:nvSpPr>
              <p:spPr>
                <a:xfrm>
                  <a:off x="11920820" y="4109768"/>
                  <a:ext cx="135867" cy="130049"/>
                </a:xfrm>
                <a:custGeom>
                  <a:avLst/>
                  <a:gdLst>
                    <a:gd name="connsiteX0" fmla="*/ 130769 w 135867"/>
                    <a:gd name="connsiteY0" fmla="*/ 130049 h 130049"/>
                    <a:gd name="connsiteX1" fmla="*/ 127692 w 135867"/>
                    <a:gd name="connsiteY1" fmla="*/ 126972 h 130049"/>
                    <a:gd name="connsiteX2" fmla="*/ 29231 w 135867"/>
                    <a:gd name="connsiteY2" fmla="*/ 13126 h 130049"/>
                    <a:gd name="connsiteX3" fmla="*/ 13846 w 135867"/>
                    <a:gd name="connsiteY3" fmla="*/ 19280 h 130049"/>
                    <a:gd name="connsiteX4" fmla="*/ 13846 w 135867"/>
                    <a:gd name="connsiteY4" fmla="*/ 37741 h 130049"/>
                    <a:gd name="connsiteX5" fmla="*/ 10769 w 135867"/>
                    <a:gd name="connsiteY5" fmla="*/ 43895 h 130049"/>
                    <a:gd name="connsiteX6" fmla="*/ 4615 w 135867"/>
                    <a:gd name="connsiteY6" fmla="*/ 40818 h 130049"/>
                    <a:gd name="connsiteX7" fmla="*/ 4615 w 135867"/>
                    <a:gd name="connsiteY7" fmla="*/ 10049 h 130049"/>
                    <a:gd name="connsiteX8" fmla="*/ 29231 w 135867"/>
                    <a:gd name="connsiteY8" fmla="*/ 818 h 130049"/>
                    <a:gd name="connsiteX9" fmla="*/ 106154 w 135867"/>
                    <a:gd name="connsiteY9" fmla="*/ 80818 h 130049"/>
                    <a:gd name="connsiteX10" fmla="*/ 84615 w 135867"/>
                    <a:gd name="connsiteY10" fmla="*/ 22357 h 130049"/>
                    <a:gd name="connsiteX11" fmla="*/ 87692 w 135867"/>
                    <a:gd name="connsiteY11" fmla="*/ 16203 h 130049"/>
                    <a:gd name="connsiteX12" fmla="*/ 93846 w 135867"/>
                    <a:gd name="connsiteY12" fmla="*/ 19280 h 130049"/>
                    <a:gd name="connsiteX13" fmla="*/ 133846 w 135867"/>
                    <a:gd name="connsiteY13" fmla="*/ 123895 h 130049"/>
                    <a:gd name="connsiteX14" fmla="*/ 130769 w 135867"/>
                    <a:gd name="connsiteY14" fmla="*/ 130049 h 130049"/>
                    <a:gd name="connsiteX15" fmla="*/ 130769 w 135867"/>
                    <a:gd name="connsiteY15" fmla="*/ 130049 h 130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35867" h="130049">
                      <a:moveTo>
                        <a:pt x="130769" y="130049"/>
                      </a:moveTo>
                      <a:cubicBezTo>
                        <a:pt x="127692" y="130049"/>
                        <a:pt x="127692" y="130049"/>
                        <a:pt x="127692" y="126972"/>
                      </a:cubicBezTo>
                      <a:cubicBezTo>
                        <a:pt x="87692" y="71588"/>
                        <a:pt x="38461" y="13126"/>
                        <a:pt x="29231" y="13126"/>
                      </a:cubicBezTo>
                      <a:cubicBezTo>
                        <a:pt x="23077" y="13126"/>
                        <a:pt x="16922" y="13126"/>
                        <a:pt x="13846" y="19280"/>
                      </a:cubicBezTo>
                      <a:cubicBezTo>
                        <a:pt x="10769" y="22357"/>
                        <a:pt x="10769" y="31588"/>
                        <a:pt x="13846" y="37741"/>
                      </a:cubicBezTo>
                      <a:cubicBezTo>
                        <a:pt x="13846" y="40818"/>
                        <a:pt x="13846" y="43895"/>
                        <a:pt x="10769" y="43895"/>
                      </a:cubicBezTo>
                      <a:cubicBezTo>
                        <a:pt x="7692" y="43895"/>
                        <a:pt x="4615" y="43895"/>
                        <a:pt x="4615" y="40818"/>
                      </a:cubicBezTo>
                      <a:cubicBezTo>
                        <a:pt x="-1538" y="28511"/>
                        <a:pt x="-1538" y="19280"/>
                        <a:pt x="4615" y="10049"/>
                      </a:cubicBezTo>
                      <a:cubicBezTo>
                        <a:pt x="10769" y="3895"/>
                        <a:pt x="20000" y="-2259"/>
                        <a:pt x="29231" y="818"/>
                      </a:cubicBezTo>
                      <a:cubicBezTo>
                        <a:pt x="41538" y="818"/>
                        <a:pt x="78461" y="46972"/>
                        <a:pt x="106154" y="80818"/>
                      </a:cubicBezTo>
                      <a:cubicBezTo>
                        <a:pt x="93846" y="50049"/>
                        <a:pt x="84615" y="22357"/>
                        <a:pt x="84615" y="22357"/>
                      </a:cubicBezTo>
                      <a:cubicBezTo>
                        <a:pt x="84615" y="19280"/>
                        <a:pt x="84615" y="16203"/>
                        <a:pt x="87692" y="16203"/>
                      </a:cubicBezTo>
                      <a:cubicBezTo>
                        <a:pt x="90769" y="16203"/>
                        <a:pt x="93846" y="16203"/>
                        <a:pt x="93846" y="19280"/>
                      </a:cubicBezTo>
                      <a:cubicBezTo>
                        <a:pt x="93846" y="19280"/>
                        <a:pt x="115384" y="86972"/>
                        <a:pt x="133846" y="123895"/>
                      </a:cubicBezTo>
                      <a:cubicBezTo>
                        <a:pt x="136923" y="123895"/>
                        <a:pt x="136923" y="126972"/>
                        <a:pt x="130769" y="130049"/>
                      </a:cubicBezTo>
                      <a:cubicBezTo>
                        <a:pt x="133846" y="130049"/>
                        <a:pt x="133846" y="130049"/>
                        <a:pt x="130769" y="130049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35" name="任意多边形: 形状 734">
                <a:extLst>
                  <a:ext uri="{FF2B5EF4-FFF2-40B4-BE49-F238E27FC236}">
                    <a16:creationId xmlns:a16="http://schemas.microsoft.com/office/drawing/2014/main" id="{90EF7361-C949-464D-95BE-F4DFBE4466FF}"/>
                  </a:ext>
                </a:extLst>
              </p:cNvPr>
              <p:cNvSpPr/>
              <p:nvPr/>
            </p:nvSpPr>
            <p:spPr>
              <a:xfrm>
                <a:off x="11912543" y="4205971"/>
                <a:ext cx="98276" cy="120000"/>
              </a:xfrm>
              <a:custGeom>
                <a:avLst/>
                <a:gdLst>
                  <a:gd name="connsiteX0" fmla="*/ 49815 w 98276"/>
                  <a:gd name="connsiteY0" fmla="*/ 120000 h 120000"/>
                  <a:gd name="connsiteX1" fmla="*/ 43661 w 98276"/>
                  <a:gd name="connsiteY1" fmla="*/ 116923 h 120000"/>
                  <a:gd name="connsiteX2" fmla="*/ 3661 w 98276"/>
                  <a:gd name="connsiteY2" fmla="*/ 9231 h 120000"/>
                  <a:gd name="connsiteX3" fmla="*/ 19046 w 98276"/>
                  <a:gd name="connsiteY3" fmla="*/ 0 h 120000"/>
                  <a:gd name="connsiteX4" fmla="*/ 43661 w 98276"/>
                  <a:gd name="connsiteY4" fmla="*/ 15385 h 120000"/>
                  <a:gd name="connsiteX5" fmla="*/ 65200 w 98276"/>
                  <a:gd name="connsiteY5" fmla="*/ 49231 h 120000"/>
                  <a:gd name="connsiteX6" fmla="*/ 95969 w 98276"/>
                  <a:gd name="connsiteY6" fmla="*/ 92308 h 120000"/>
                  <a:gd name="connsiteX7" fmla="*/ 95969 w 98276"/>
                  <a:gd name="connsiteY7" fmla="*/ 101538 h 120000"/>
                  <a:gd name="connsiteX8" fmla="*/ 86738 w 98276"/>
                  <a:gd name="connsiteY8" fmla="*/ 101538 h 120000"/>
                  <a:gd name="connsiteX9" fmla="*/ 55968 w 98276"/>
                  <a:gd name="connsiteY9" fmla="*/ 55385 h 120000"/>
                  <a:gd name="connsiteX10" fmla="*/ 34430 w 98276"/>
                  <a:gd name="connsiteY10" fmla="*/ 21538 h 120000"/>
                  <a:gd name="connsiteX11" fmla="*/ 15969 w 98276"/>
                  <a:gd name="connsiteY11" fmla="*/ 9231 h 120000"/>
                  <a:gd name="connsiteX12" fmla="*/ 15969 w 98276"/>
                  <a:gd name="connsiteY12" fmla="*/ 9231 h 120000"/>
                  <a:gd name="connsiteX13" fmla="*/ 9814 w 98276"/>
                  <a:gd name="connsiteY13" fmla="*/ 12308 h 120000"/>
                  <a:gd name="connsiteX14" fmla="*/ 52892 w 98276"/>
                  <a:gd name="connsiteY14" fmla="*/ 104615 h 120000"/>
                  <a:gd name="connsiteX15" fmla="*/ 49815 w 98276"/>
                  <a:gd name="connsiteY15" fmla="*/ 120000 h 120000"/>
                  <a:gd name="connsiteX16" fmla="*/ 49815 w 98276"/>
                  <a:gd name="connsiteY16" fmla="*/ 120000 h 12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8276" h="120000">
                    <a:moveTo>
                      <a:pt x="49815" y="120000"/>
                    </a:moveTo>
                    <a:cubicBezTo>
                      <a:pt x="46738" y="120000"/>
                      <a:pt x="46738" y="120000"/>
                      <a:pt x="43661" y="116923"/>
                    </a:cubicBezTo>
                    <a:cubicBezTo>
                      <a:pt x="25199" y="89231"/>
                      <a:pt x="-11723" y="27692"/>
                      <a:pt x="3661" y="9231"/>
                    </a:cubicBezTo>
                    <a:cubicBezTo>
                      <a:pt x="9814" y="3077"/>
                      <a:pt x="15969" y="0"/>
                      <a:pt x="19046" y="0"/>
                    </a:cubicBezTo>
                    <a:cubicBezTo>
                      <a:pt x="28276" y="0"/>
                      <a:pt x="37507" y="6154"/>
                      <a:pt x="43661" y="15385"/>
                    </a:cubicBezTo>
                    <a:cubicBezTo>
                      <a:pt x="49815" y="21538"/>
                      <a:pt x="55968" y="36923"/>
                      <a:pt x="65200" y="49231"/>
                    </a:cubicBezTo>
                    <a:cubicBezTo>
                      <a:pt x="77507" y="67692"/>
                      <a:pt x="89815" y="86154"/>
                      <a:pt x="95969" y="92308"/>
                    </a:cubicBezTo>
                    <a:cubicBezTo>
                      <a:pt x="99046" y="95385"/>
                      <a:pt x="99046" y="98462"/>
                      <a:pt x="95969" y="101538"/>
                    </a:cubicBezTo>
                    <a:cubicBezTo>
                      <a:pt x="92892" y="104615"/>
                      <a:pt x="89815" y="104615"/>
                      <a:pt x="86738" y="101538"/>
                    </a:cubicBezTo>
                    <a:cubicBezTo>
                      <a:pt x="80584" y="95385"/>
                      <a:pt x="68277" y="73846"/>
                      <a:pt x="55968" y="55385"/>
                    </a:cubicBezTo>
                    <a:cubicBezTo>
                      <a:pt x="46738" y="40000"/>
                      <a:pt x="37507" y="27692"/>
                      <a:pt x="34430" y="21538"/>
                    </a:cubicBezTo>
                    <a:cubicBezTo>
                      <a:pt x="28276" y="12308"/>
                      <a:pt x="22123" y="9231"/>
                      <a:pt x="15969" y="9231"/>
                    </a:cubicBezTo>
                    <a:cubicBezTo>
                      <a:pt x="15969" y="9231"/>
                      <a:pt x="15969" y="9231"/>
                      <a:pt x="15969" y="9231"/>
                    </a:cubicBezTo>
                    <a:cubicBezTo>
                      <a:pt x="12892" y="9231"/>
                      <a:pt x="9814" y="9231"/>
                      <a:pt x="9814" y="12308"/>
                    </a:cubicBezTo>
                    <a:cubicBezTo>
                      <a:pt x="3661" y="18461"/>
                      <a:pt x="22123" y="61538"/>
                      <a:pt x="52892" y="104615"/>
                    </a:cubicBezTo>
                    <a:cubicBezTo>
                      <a:pt x="55968" y="113846"/>
                      <a:pt x="52892" y="120000"/>
                      <a:pt x="49815" y="120000"/>
                    </a:cubicBezTo>
                    <a:cubicBezTo>
                      <a:pt x="49815" y="120000"/>
                      <a:pt x="49815" y="120000"/>
                      <a:pt x="49815" y="1200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6" name="任意多边形: 形状 735">
                <a:extLst>
                  <a:ext uri="{FF2B5EF4-FFF2-40B4-BE49-F238E27FC236}">
                    <a16:creationId xmlns:a16="http://schemas.microsoft.com/office/drawing/2014/main" id="{60327E59-46A5-4120-A5CA-D61A70910CFA}"/>
                  </a:ext>
                </a:extLst>
              </p:cNvPr>
              <p:cNvSpPr/>
              <p:nvPr/>
            </p:nvSpPr>
            <p:spPr>
              <a:xfrm>
                <a:off x="11902925" y="4143632"/>
                <a:ext cx="132509" cy="139261"/>
              </a:xfrm>
              <a:custGeom>
                <a:avLst/>
                <a:gdLst>
                  <a:gd name="connsiteX0" fmla="*/ 127125 w 132509"/>
                  <a:gd name="connsiteY0" fmla="*/ 136185 h 139261"/>
                  <a:gd name="connsiteX1" fmla="*/ 124048 w 132509"/>
                  <a:gd name="connsiteY1" fmla="*/ 133108 h 139261"/>
                  <a:gd name="connsiteX2" fmla="*/ 84048 w 132509"/>
                  <a:gd name="connsiteY2" fmla="*/ 83877 h 139261"/>
                  <a:gd name="connsiteX3" fmla="*/ 77895 w 132509"/>
                  <a:gd name="connsiteY3" fmla="*/ 74647 h 139261"/>
                  <a:gd name="connsiteX4" fmla="*/ 40971 w 132509"/>
                  <a:gd name="connsiteY4" fmla="*/ 19262 h 139261"/>
                  <a:gd name="connsiteX5" fmla="*/ 16356 w 132509"/>
                  <a:gd name="connsiteY5" fmla="*/ 10031 h 139261"/>
                  <a:gd name="connsiteX6" fmla="*/ 13279 w 132509"/>
                  <a:gd name="connsiteY6" fmla="*/ 13108 h 139261"/>
                  <a:gd name="connsiteX7" fmla="*/ 40971 w 132509"/>
                  <a:gd name="connsiteY7" fmla="*/ 68493 h 139261"/>
                  <a:gd name="connsiteX8" fmla="*/ 40971 w 132509"/>
                  <a:gd name="connsiteY8" fmla="*/ 77723 h 139261"/>
                  <a:gd name="connsiteX9" fmla="*/ 31741 w 132509"/>
                  <a:gd name="connsiteY9" fmla="*/ 77723 h 139261"/>
                  <a:gd name="connsiteX10" fmla="*/ 972 w 132509"/>
                  <a:gd name="connsiteY10" fmla="*/ 10031 h 139261"/>
                  <a:gd name="connsiteX11" fmla="*/ 13279 w 132509"/>
                  <a:gd name="connsiteY11" fmla="*/ 800 h 139261"/>
                  <a:gd name="connsiteX12" fmla="*/ 47125 w 132509"/>
                  <a:gd name="connsiteY12" fmla="*/ 13108 h 139261"/>
                  <a:gd name="connsiteX13" fmla="*/ 87125 w 132509"/>
                  <a:gd name="connsiteY13" fmla="*/ 71570 h 139261"/>
                  <a:gd name="connsiteX14" fmla="*/ 93279 w 132509"/>
                  <a:gd name="connsiteY14" fmla="*/ 80800 h 139261"/>
                  <a:gd name="connsiteX15" fmla="*/ 130202 w 132509"/>
                  <a:gd name="connsiteY15" fmla="*/ 130031 h 139261"/>
                  <a:gd name="connsiteX16" fmla="*/ 130202 w 132509"/>
                  <a:gd name="connsiteY16" fmla="*/ 139262 h 139261"/>
                  <a:gd name="connsiteX17" fmla="*/ 127125 w 132509"/>
                  <a:gd name="connsiteY17" fmla="*/ 136185 h 139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32509" h="139261">
                    <a:moveTo>
                      <a:pt x="127125" y="136185"/>
                    </a:moveTo>
                    <a:cubicBezTo>
                      <a:pt x="124048" y="136185"/>
                      <a:pt x="124048" y="136185"/>
                      <a:pt x="124048" y="133108"/>
                    </a:cubicBezTo>
                    <a:cubicBezTo>
                      <a:pt x="124048" y="130031"/>
                      <a:pt x="90202" y="93108"/>
                      <a:pt x="84048" y="83877"/>
                    </a:cubicBezTo>
                    <a:cubicBezTo>
                      <a:pt x="84048" y="80800"/>
                      <a:pt x="80971" y="77723"/>
                      <a:pt x="77895" y="74647"/>
                    </a:cubicBezTo>
                    <a:cubicBezTo>
                      <a:pt x="68663" y="59262"/>
                      <a:pt x="50202" y="25416"/>
                      <a:pt x="40971" y="19262"/>
                    </a:cubicBezTo>
                    <a:cubicBezTo>
                      <a:pt x="34817" y="13108"/>
                      <a:pt x="22509" y="10031"/>
                      <a:pt x="16356" y="10031"/>
                    </a:cubicBezTo>
                    <a:cubicBezTo>
                      <a:pt x="13279" y="10031"/>
                      <a:pt x="13279" y="10031"/>
                      <a:pt x="13279" y="13108"/>
                    </a:cubicBezTo>
                    <a:cubicBezTo>
                      <a:pt x="10202" y="19262"/>
                      <a:pt x="25587" y="43877"/>
                      <a:pt x="40971" y="68493"/>
                    </a:cubicBezTo>
                    <a:cubicBezTo>
                      <a:pt x="44048" y="71570"/>
                      <a:pt x="40971" y="74647"/>
                      <a:pt x="40971" y="77723"/>
                    </a:cubicBezTo>
                    <a:cubicBezTo>
                      <a:pt x="37894" y="80800"/>
                      <a:pt x="34817" y="77723"/>
                      <a:pt x="31741" y="77723"/>
                    </a:cubicBezTo>
                    <a:cubicBezTo>
                      <a:pt x="19432" y="62339"/>
                      <a:pt x="-5183" y="25416"/>
                      <a:pt x="972" y="10031"/>
                    </a:cubicBezTo>
                    <a:cubicBezTo>
                      <a:pt x="4048" y="3877"/>
                      <a:pt x="7125" y="800"/>
                      <a:pt x="13279" y="800"/>
                    </a:cubicBezTo>
                    <a:cubicBezTo>
                      <a:pt x="25587" y="-2276"/>
                      <a:pt x="37894" y="3877"/>
                      <a:pt x="47125" y="13108"/>
                    </a:cubicBezTo>
                    <a:cubicBezTo>
                      <a:pt x="56356" y="22339"/>
                      <a:pt x="71740" y="46954"/>
                      <a:pt x="87125" y="71570"/>
                    </a:cubicBezTo>
                    <a:cubicBezTo>
                      <a:pt x="90202" y="74647"/>
                      <a:pt x="93279" y="80800"/>
                      <a:pt x="93279" y="80800"/>
                    </a:cubicBezTo>
                    <a:cubicBezTo>
                      <a:pt x="96355" y="86954"/>
                      <a:pt x="120971" y="117723"/>
                      <a:pt x="130202" y="130031"/>
                    </a:cubicBezTo>
                    <a:cubicBezTo>
                      <a:pt x="133279" y="133108"/>
                      <a:pt x="133279" y="136185"/>
                      <a:pt x="130202" y="139262"/>
                    </a:cubicBezTo>
                    <a:cubicBezTo>
                      <a:pt x="130202" y="136185"/>
                      <a:pt x="130202" y="136185"/>
                      <a:pt x="127125" y="13618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37" name="图形 1">
              <a:extLst>
                <a:ext uri="{FF2B5EF4-FFF2-40B4-BE49-F238E27FC236}">
                  <a16:creationId xmlns:a16="http://schemas.microsoft.com/office/drawing/2014/main" id="{AEC0499B-714B-4CC0-9B71-89E1A71F612F}"/>
                </a:ext>
              </a:extLst>
            </p:cNvPr>
            <p:cNvGrpSpPr/>
            <p:nvPr/>
          </p:nvGrpSpPr>
          <p:grpSpPr>
            <a:xfrm>
              <a:off x="8220820" y="2513664"/>
              <a:ext cx="3058461" cy="1953846"/>
              <a:chOff x="8220820" y="2513664"/>
              <a:chExt cx="3058461" cy="1953846"/>
            </a:xfrm>
          </p:grpSpPr>
          <p:sp>
            <p:nvSpPr>
              <p:cNvPr id="738" name="任意多边形: 形状 737">
                <a:extLst>
                  <a:ext uri="{FF2B5EF4-FFF2-40B4-BE49-F238E27FC236}">
                    <a16:creationId xmlns:a16="http://schemas.microsoft.com/office/drawing/2014/main" id="{0E76AA50-DF24-49F8-A852-72CD0905F7CB}"/>
                  </a:ext>
                </a:extLst>
              </p:cNvPr>
              <p:cNvSpPr/>
              <p:nvPr/>
            </p:nvSpPr>
            <p:spPr>
              <a:xfrm>
                <a:off x="8220820" y="2513664"/>
                <a:ext cx="3058461" cy="1953846"/>
              </a:xfrm>
              <a:custGeom>
                <a:avLst/>
                <a:gdLst>
                  <a:gd name="connsiteX0" fmla="*/ 0 w 3058461"/>
                  <a:gd name="connsiteY0" fmla="*/ 0 h 1953846"/>
                  <a:gd name="connsiteX1" fmla="*/ 3058461 w 3058461"/>
                  <a:gd name="connsiteY1" fmla="*/ 0 h 1953846"/>
                  <a:gd name="connsiteX2" fmla="*/ 3058461 w 3058461"/>
                  <a:gd name="connsiteY2" fmla="*/ 1953846 h 1953846"/>
                  <a:gd name="connsiteX3" fmla="*/ 0 w 3058461"/>
                  <a:gd name="connsiteY3" fmla="*/ 1953846 h 195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58461" h="1953846">
                    <a:moveTo>
                      <a:pt x="0" y="0"/>
                    </a:moveTo>
                    <a:lnTo>
                      <a:pt x="3058461" y="0"/>
                    </a:lnTo>
                    <a:lnTo>
                      <a:pt x="3058461" y="1953846"/>
                    </a:lnTo>
                    <a:lnTo>
                      <a:pt x="0" y="1953846"/>
                    </a:ln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9" name="任意多边形: 形状 738">
                <a:extLst>
                  <a:ext uri="{FF2B5EF4-FFF2-40B4-BE49-F238E27FC236}">
                    <a16:creationId xmlns:a16="http://schemas.microsoft.com/office/drawing/2014/main" id="{9E587EEB-0121-4C82-8B5A-9E14F4634970}"/>
                  </a:ext>
                </a:extLst>
              </p:cNvPr>
              <p:cNvSpPr/>
              <p:nvPr/>
            </p:nvSpPr>
            <p:spPr>
              <a:xfrm>
                <a:off x="8220820" y="4393664"/>
                <a:ext cx="3058461" cy="73846"/>
              </a:xfrm>
              <a:custGeom>
                <a:avLst/>
                <a:gdLst>
                  <a:gd name="connsiteX0" fmla="*/ 0 w 3058461"/>
                  <a:gd name="connsiteY0" fmla="*/ 0 h 73846"/>
                  <a:gd name="connsiteX1" fmla="*/ 3058461 w 3058461"/>
                  <a:gd name="connsiteY1" fmla="*/ 0 h 73846"/>
                  <a:gd name="connsiteX2" fmla="*/ 3058461 w 3058461"/>
                  <a:gd name="connsiteY2" fmla="*/ 73846 h 73846"/>
                  <a:gd name="connsiteX3" fmla="*/ 0 w 3058461"/>
                  <a:gd name="connsiteY3" fmla="*/ 73846 h 7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58461" h="73846">
                    <a:moveTo>
                      <a:pt x="0" y="0"/>
                    </a:moveTo>
                    <a:lnTo>
                      <a:pt x="3058461" y="0"/>
                    </a:lnTo>
                    <a:lnTo>
                      <a:pt x="3058461" y="73846"/>
                    </a:lnTo>
                    <a:lnTo>
                      <a:pt x="0" y="73846"/>
                    </a:ln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0" name="任意多边形: 形状 739">
                <a:extLst>
                  <a:ext uri="{FF2B5EF4-FFF2-40B4-BE49-F238E27FC236}">
                    <a16:creationId xmlns:a16="http://schemas.microsoft.com/office/drawing/2014/main" id="{468AECD8-1476-4248-9159-AACE2B430014}"/>
                  </a:ext>
                </a:extLst>
              </p:cNvPr>
              <p:cNvSpPr/>
              <p:nvPr/>
            </p:nvSpPr>
            <p:spPr>
              <a:xfrm>
                <a:off x="8220820" y="2513664"/>
                <a:ext cx="3058461" cy="73846"/>
              </a:xfrm>
              <a:custGeom>
                <a:avLst/>
                <a:gdLst>
                  <a:gd name="connsiteX0" fmla="*/ 0 w 3058461"/>
                  <a:gd name="connsiteY0" fmla="*/ 0 h 73846"/>
                  <a:gd name="connsiteX1" fmla="*/ 3058461 w 3058461"/>
                  <a:gd name="connsiteY1" fmla="*/ 0 h 73846"/>
                  <a:gd name="connsiteX2" fmla="*/ 3058461 w 3058461"/>
                  <a:gd name="connsiteY2" fmla="*/ 73846 h 73846"/>
                  <a:gd name="connsiteX3" fmla="*/ 0 w 3058461"/>
                  <a:gd name="connsiteY3" fmla="*/ 73846 h 7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58461" h="73846">
                    <a:moveTo>
                      <a:pt x="0" y="0"/>
                    </a:moveTo>
                    <a:lnTo>
                      <a:pt x="3058461" y="0"/>
                    </a:lnTo>
                    <a:lnTo>
                      <a:pt x="3058461" y="73846"/>
                    </a:lnTo>
                    <a:lnTo>
                      <a:pt x="0" y="73846"/>
                    </a:ln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741" name="图形 1">
                <a:extLst>
                  <a:ext uri="{FF2B5EF4-FFF2-40B4-BE49-F238E27FC236}">
                    <a16:creationId xmlns:a16="http://schemas.microsoft.com/office/drawing/2014/main" id="{AEC0499B-714B-4CC0-9B71-89E1A71F612F}"/>
                  </a:ext>
                </a:extLst>
              </p:cNvPr>
              <p:cNvGrpSpPr/>
              <p:nvPr/>
            </p:nvGrpSpPr>
            <p:grpSpPr>
              <a:xfrm>
                <a:off x="8433127" y="4036741"/>
                <a:ext cx="2596922" cy="212307"/>
                <a:chOff x="8433127" y="4036741"/>
                <a:chExt cx="2596922" cy="212307"/>
              </a:xfrm>
              <a:solidFill>
                <a:srgbClr val="6C5D68"/>
              </a:solidFill>
            </p:grpSpPr>
            <p:sp>
              <p:nvSpPr>
                <p:cNvPr id="742" name="任意多边形: 形状 741">
                  <a:extLst>
                    <a:ext uri="{FF2B5EF4-FFF2-40B4-BE49-F238E27FC236}">
                      <a16:creationId xmlns:a16="http://schemas.microsoft.com/office/drawing/2014/main" id="{CF214B1A-5D58-478F-B6A0-A833043A3331}"/>
                    </a:ext>
                  </a:extLst>
                </p:cNvPr>
                <p:cNvSpPr/>
                <p:nvPr/>
              </p:nvSpPr>
              <p:spPr>
                <a:xfrm>
                  <a:off x="8433127" y="4036741"/>
                  <a:ext cx="1163077" cy="12307"/>
                </a:xfrm>
                <a:custGeom>
                  <a:avLst/>
                  <a:gdLst>
                    <a:gd name="connsiteX0" fmla="*/ 1156923 w 1163077"/>
                    <a:gd name="connsiteY0" fmla="*/ 12308 h 12307"/>
                    <a:gd name="connsiteX1" fmla="*/ 6154 w 1163077"/>
                    <a:gd name="connsiteY1" fmla="*/ 12308 h 12307"/>
                    <a:gd name="connsiteX2" fmla="*/ 0 w 1163077"/>
                    <a:gd name="connsiteY2" fmla="*/ 6154 h 12307"/>
                    <a:gd name="connsiteX3" fmla="*/ 6154 w 1163077"/>
                    <a:gd name="connsiteY3" fmla="*/ 0 h 12307"/>
                    <a:gd name="connsiteX4" fmla="*/ 1156923 w 1163077"/>
                    <a:gd name="connsiteY4" fmla="*/ 0 h 12307"/>
                    <a:gd name="connsiteX5" fmla="*/ 1163077 w 1163077"/>
                    <a:gd name="connsiteY5" fmla="*/ 6154 h 12307"/>
                    <a:gd name="connsiteX6" fmla="*/ 1156923 w 1163077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3077" h="12307">
                      <a:moveTo>
                        <a:pt x="1156923" y="12308"/>
                      </a:moveTo>
                      <a:lnTo>
                        <a:pt x="6154" y="12308"/>
                      </a:ln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1156923" y="0"/>
                      </a:lnTo>
                      <a:cubicBezTo>
                        <a:pt x="1160000" y="0"/>
                        <a:pt x="1163077" y="3077"/>
                        <a:pt x="1163077" y="6154"/>
                      </a:cubicBezTo>
                      <a:cubicBezTo>
                        <a:pt x="1163077" y="9231"/>
                        <a:pt x="1160000" y="12308"/>
                        <a:pt x="1156923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3" name="任意多边形: 形状 742">
                  <a:extLst>
                    <a:ext uri="{FF2B5EF4-FFF2-40B4-BE49-F238E27FC236}">
                      <a16:creationId xmlns:a16="http://schemas.microsoft.com/office/drawing/2014/main" id="{0AD3C148-848F-43C7-80BC-2F1E0F9126E3}"/>
                    </a:ext>
                  </a:extLst>
                </p:cNvPr>
                <p:cNvSpPr/>
                <p:nvPr/>
              </p:nvSpPr>
              <p:spPr>
                <a:xfrm>
                  <a:off x="8433127" y="4138279"/>
                  <a:ext cx="1163077" cy="12307"/>
                </a:xfrm>
                <a:custGeom>
                  <a:avLst/>
                  <a:gdLst>
                    <a:gd name="connsiteX0" fmla="*/ 1156923 w 1163077"/>
                    <a:gd name="connsiteY0" fmla="*/ 12308 h 12307"/>
                    <a:gd name="connsiteX1" fmla="*/ 6154 w 1163077"/>
                    <a:gd name="connsiteY1" fmla="*/ 12308 h 12307"/>
                    <a:gd name="connsiteX2" fmla="*/ 0 w 1163077"/>
                    <a:gd name="connsiteY2" fmla="*/ 6154 h 12307"/>
                    <a:gd name="connsiteX3" fmla="*/ 6154 w 1163077"/>
                    <a:gd name="connsiteY3" fmla="*/ 0 h 12307"/>
                    <a:gd name="connsiteX4" fmla="*/ 1156923 w 1163077"/>
                    <a:gd name="connsiteY4" fmla="*/ 0 h 12307"/>
                    <a:gd name="connsiteX5" fmla="*/ 1163077 w 1163077"/>
                    <a:gd name="connsiteY5" fmla="*/ 6154 h 12307"/>
                    <a:gd name="connsiteX6" fmla="*/ 1156923 w 1163077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3077" h="12307">
                      <a:moveTo>
                        <a:pt x="1156923" y="12308"/>
                      </a:moveTo>
                      <a:lnTo>
                        <a:pt x="6154" y="12308"/>
                      </a:ln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1156923" y="0"/>
                      </a:lnTo>
                      <a:cubicBezTo>
                        <a:pt x="1160000" y="0"/>
                        <a:pt x="1163077" y="3077"/>
                        <a:pt x="1163077" y="6154"/>
                      </a:cubicBezTo>
                      <a:cubicBezTo>
                        <a:pt x="1163077" y="9231"/>
                        <a:pt x="1160000" y="12308"/>
                        <a:pt x="1156923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4" name="任意多边形: 形状 743">
                  <a:extLst>
                    <a:ext uri="{FF2B5EF4-FFF2-40B4-BE49-F238E27FC236}">
                      <a16:creationId xmlns:a16="http://schemas.microsoft.com/office/drawing/2014/main" id="{6D6A2219-2689-4058-87EE-B8FDEE100DA9}"/>
                    </a:ext>
                  </a:extLst>
                </p:cNvPr>
                <p:cNvSpPr/>
                <p:nvPr/>
              </p:nvSpPr>
              <p:spPr>
                <a:xfrm>
                  <a:off x="8433127" y="4236741"/>
                  <a:ext cx="1163077" cy="12307"/>
                </a:xfrm>
                <a:custGeom>
                  <a:avLst/>
                  <a:gdLst>
                    <a:gd name="connsiteX0" fmla="*/ 1156923 w 1163077"/>
                    <a:gd name="connsiteY0" fmla="*/ 12308 h 12307"/>
                    <a:gd name="connsiteX1" fmla="*/ 6154 w 1163077"/>
                    <a:gd name="connsiteY1" fmla="*/ 12308 h 12307"/>
                    <a:gd name="connsiteX2" fmla="*/ 0 w 1163077"/>
                    <a:gd name="connsiteY2" fmla="*/ 6154 h 12307"/>
                    <a:gd name="connsiteX3" fmla="*/ 6154 w 1163077"/>
                    <a:gd name="connsiteY3" fmla="*/ 0 h 12307"/>
                    <a:gd name="connsiteX4" fmla="*/ 1156923 w 1163077"/>
                    <a:gd name="connsiteY4" fmla="*/ 0 h 12307"/>
                    <a:gd name="connsiteX5" fmla="*/ 1163077 w 1163077"/>
                    <a:gd name="connsiteY5" fmla="*/ 6154 h 12307"/>
                    <a:gd name="connsiteX6" fmla="*/ 1156923 w 1163077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3077" h="12307">
                      <a:moveTo>
                        <a:pt x="1156923" y="12308"/>
                      </a:moveTo>
                      <a:lnTo>
                        <a:pt x="6154" y="12308"/>
                      </a:ln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1156923" y="0"/>
                      </a:lnTo>
                      <a:cubicBezTo>
                        <a:pt x="1160000" y="0"/>
                        <a:pt x="1163077" y="3077"/>
                        <a:pt x="1163077" y="6154"/>
                      </a:cubicBezTo>
                      <a:cubicBezTo>
                        <a:pt x="1163077" y="9231"/>
                        <a:pt x="1160000" y="12308"/>
                        <a:pt x="1156923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5" name="任意多边形: 形状 744">
                  <a:extLst>
                    <a:ext uri="{FF2B5EF4-FFF2-40B4-BE49-F238E27FC236}">
                      <a16:creationId xmlns:a16="http://schemas.microsoft.com/office/drawing/2014/main" id="{007ADD8E-2C6A-4651-8CEA-E86A3A19D57D}"/>
                    </a:ext>
                  </a:extLst>
                </p:cNvPr>
                <p:cNvSpPr/>
                <p:nvPr/>
              </p:nvSpPr>
              <p:spPr>
                <a:xfrm>
                  <a:off x="9866973" y="4036741"/>
                  <a:ext cx="1163076" cy="12307"/>
                </a:xfrm>
                <a:custGeom>
                  <a:avLst/>
                  <a:gdLst>
                    <a:gd name="connsiteX0" fmla="*/ 1156923 w 1163076"/>
                    <a:gd name="connsiteY0" fmla="*/ 12308 h 12307"/>
                    <a:gd name="connsiteX1" fmla="*/ 6154 w 1163076"/>
                    <a:gd name="connsiteY1" fmla="*/ 12308 h 12307"/>
                    <a:gd name="connsiteX2" fmla="*/ 0 w 1163076"/>
                    <a:gd name="connsiteY2" fmla="*/ 6154 h 12307"/>
                    <a:gd name="connsiteX3" fmla="*/ 6154 w 1163076"/>
                    <a:gd name="connsiteY3" fmla="*/ 0 h 12307"/>
                    <a:gd name="connsiteX4" fmla="*/ 1156923 w 1163076"/>
                    <a:gd name="connsiteY4" fmla="*/ 0 h 12307"/>
                    <a:gd name="connsiteX5" fmla="*/ 1163077 w 1163076"/>
                    <a:gd name="connsiteY5" fmla="*/ 6154 h 12307"/>
                    <a:gd name="connsiteX6" fmla="*/ 1156923 w 1163076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3076" h="12307">
                      <a:moveTo>
                        <a:pt x="1156923" y="12308"/>
                      </a:moveTo>
                      <a:lnTo>
                        <a:pt x="6154" y="12308"/>
                      </a:ln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1156923" y="0"/>
                      </a:lnTo>
                      <a:cubicBezTo>
                        <a:pt x="1160000" y="0"/>
                        <a:pt x="1163077" y="3077"/>
                        <a:pt x="1163077" y="6154"/>
                      </a:cubicBezTo>
                      <a:cubicBezTo>
                        <a:pt x="1163077" y="9231"/>
                        <a:pt x="1160000" y="12308"/>
                        <a:pt x="1156923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6" name="任意多边形: 形状 745">
                  <a:extLst>
                    <a:ext uri="{FF2B5EF4-FFF2-40B4-BE49-F238E27FC236}">
                      <a16:creationId xmlns:a16="http://schemas.microsoft.com/office/drawing/2014/main" id="{6ED20C36-1F3C-475C-862D-AD2673F89048}"/>
                    </a:ext>
                  </a:extLst>
                </p:cNvPr>
                <p:cNvSpPr/>
                <p:nvPr/>
              </p:nvSpPr>
              <p:spPr>
                <a:xfrm>
                  <a:off x="9866973" y="4138279"/>
                  <a:ext cx="1163076" cy="12307"/>
                </a:xfrm>
                <a:custGeom>
                  <a:avLst/>
                  <a:gdLst>
                    <a:gd name="connsiteX0" fmla="*/ 1156923 w 1163076"/>
                    <a:gd name="connsiteY0" fmla="*/ 12308 h 12307"/>
                    <a:gd name="connsiteX1" fmla="*/ 6154 w 1163076"/>
                    <a:gd name="connsiteY1" fmla="*/ 12308 h 12307"/>
                    <a:gd name="connsiteX2" fmla="*/ 0 w 1163076"/>
                    <a:gd name="connsiteY2" fmla="*/ 6154 h 12307"/>
                    <a:gd name="connsiteX3" fmla="*/ 6154 w 1163076"/>
                    <a:gd name="connsiteY3" fmla="*/ 0 h 12307"/>
                    <a:gd name="connsiteX4" fmla="*/ 1156923 w 1163076"/>
                    <a:gd name="connsiteY4" fmla="*/ 0 h 12307"/>
                    <a:gd name="connsiteX5" fmla="*/ 1163077 w 1163076"/>
                    <a:gd name="connsiteY5" fmla="*/ 6154 h 12307"/>
                    <a:gd name="connsiteX6" fmla="*/ 1156923 w 1163076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3076" h="12307">
                      <a:moveTo>
                        <a:pt x="1156923" y="12308"/>
                      </a:moveTo>
                      <a:lnTo>
                        <a:pt x="6154" y="12308"/>
                      </a:ln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1156923" y="0"/>
                      </a:lnTo>
                      <a:cubicBezTo>
                        <a:pt x="1160000" y="0"/>
                        <a:pt x="1163077" y="3077"/>
                        <a:pt x="1163077" y="6154"/>
                      </a:cubicBezTo>
                      <a:cubicBezTo>
                        <a:pt x="1163077" y="9231"/>
                        <a:pt x="1160000" y="12308"/>
                        <a:pt x="1156923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7" name="任意多边形: 形状 746">
                  <a:extLst>
                    <a:ext uri="{FF2B5EF4-FFF2-40B4-BE49-F238E27FC236}">
                      <a16:creationId xmlns:a16="http://schemas.microsoft.com/office/drawing/2014/main" id="{979C1841-91DD-4647-924A-8D45603C9934}"/>
                    </a:ext>
                  </a:extLst>
                </p:cNvPr>
                <p:cNvSpPr/>
                <p:nvPr/>
              </p:nvSpPr>
              <p:spPr>
                <a:xfrm>
                  <a:off x="9866973" y="4236741"/>
                  <a:ext cx="1163076" cy="12307"/>
                </a:xfrm>
                <a:custGeom>
                  <a:avLst/>
                  <a:gdLst>
                    <a:gd name="connsiteX0" fmla="*/ 1156923 w 1163076"/>
                    <a:gd name="connsiteY0" fmla="*/ 12308 h 12307"/>
                    <a:gd name="connsiteX1" fmla="*/ 6154 w 1163076"/>
                    <a:gd name="connsiteY1" fmla="*/ 12308 h 12307"/>
                    <a:gd name="connsiteX2" fmla="*/ 0 w 1163076"/>
                    <a:gd name="connsiteY2" fmla="*/ 6154 h 12307"/>
                    <a:gd name="connsiteX3" fmla="*/ 6154 w 1163076"/>
                    <a:gd name="connsiteY3" fmla="*/ 0 h 12307"/>
                    <a:gd name="connsiteX4" fmla="*/ 1156923 w 1163076"/>
                    <a:gd name="connsiteY4" fmla="*/ 0 h 12307"/>
                    <a:gd name="connsiteX5" fmla="*/ 1163077 w 1163076"/>
                    <a:gd name="connsiteY5" fmla="*/ 6154 h 12307"/>
                    <a:gd name="connsiteX6" fmla="*/ 1156923 w 1163076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3076" h="12307">
                      <a:moveTo>
                        <a:pt x="1156923" y="12308"/>
                      </a:moveTo>
                      <a:lnTo>
                        <a:pt x="6154" y="12308"/>
                      </a:ln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1156923" y="0"/>
                      </a:lnTo>
                      <a:cubicBezTo>
                        <a:pt x="1160000" y="0"/>
                        <a:pt x="1163077" y="3077"/>
                        <a:pt x="1163077" y="6154"/>
                      </a:cubicBezTo>
                      <a:cubicBezTo>
                        <a:pt x="1163077" y="9231"/>
                        <a:pt x="1160000" y="12308"/>
                        <a:pt x="1156923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48" name="任意多边形: 形状 747">
                <a:extLst>
                  <a:ext uri="{FF2B5EF4-FFF2-40B4-BE49-F238E27FC236}">
                    <a16:creationId xmlns:a16="http://schemas.microsoft.com/office/drawing/2014/main" id="{5D1AA202-BB19-47E8-B5BF-F75D403E6D7B}"/>
                  </a:ext>
                </a:extLst>
              </p:cNvPr>
              <p:cNvSpPr/>
              <p:nvPr/>
            </p:nvSpPr>
            <p:spPr>
              <a:xfrm>
                <a:off x="8414666" y="2769048"/>
                <a:ext cx="2630768" cy="1123076"/>
              </a:xfrm>
              <a:custGeom>
                <a:avLst/>
                <a:gdLst>
                  <a:gd name="connsiteX0" fmla="*/ 2563077 w 2630768"/>
                  <a:gd name="connsiteY0" fmla="*/ 1123077 h 1123076"/>
                  <a:gd name="connsiteX1" fmla="*/ 67692 w 2630768"/>
                  <a:gd name="connsiteY1" fmla="*/ 1123077 h 1123076"/>
                  <a:gd name="connsiteX2" fmla="*/ 0 w 2630768"/>
                  <a:gd name="connsiteY2" fmla="*/ 1055385 h 1123076"/>
                  <a:gd name="connsiteX3" fmla="*/ 0 w 2630768"/>
                  <a:gd name="connsiteY3" fmla="*/ 67692 h 1123076"/>
                  <a:gd name="connsiteX4" fmla="*/ 67692 w 2630768"/>
                  <a:gd name="connsiteY4" fmla="*/ 0 h 1123076"/>
                  <a:gd name="connsiteX5" fmla="*/ 2563077 w 2630768"/>
                  <a:gd name="connsiteY5" fmla="*/ 0 h 1123076"/>
                  <a:gd name="connsiteX6" fmla="*/ 2630769 w 2630768"/>
                  <a:gd name="connsiteY6" fmla="*/ 67692 h 1123076"/>
                  <a:gd name="connsiteX7" fmla="*/ 2630769 w 2630768"/>
                  <a:gd name="connsiteY7" fmla="*/ 1058462 h 1123076"/>
                  <a:gd name="connsiteX8" fmla="*/ 2563077 w 2630768"/>
                  <a:gd name="connsiteY8" fmla="*/ 1123077 h 112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30768" h="1123076">
                    <a:moveTo>
                      <a:pt x="2563077" y="1123077"/>
                    </a:moveTo>
                    <a:lnTo>
                      <a:pt x="67692" y="1123077"/>
                    </a:lnTo>
                    <a:cubicBezTo>
                      <a:pt x="30769" y="1123077"/>
                      <a:pt x="0" y="1092308"/>
                      <a:pt x="0" y="1055385"/>
                    </a:cubicBezTo>
                    <a:lnTo>
                      <a:pt x="0" y="67692"/>
                    </a:lnTo>
                    <a:cubicBezTo>
                      <a:pt x="0" y="30769"/>
                      <a:pt x="30769" y="0"/>
                      <a:pt x="67692" y="0"/>
                    </a:cubicBezTo>
                    <a:lnTo>
                      <a:pt x="2563077" y="0"/>
                    </a:lnTo>
                    <a:cubicBezTo>
                      <a:pt x="2600000" y="0"/>
                      <a:pt x="2630769" y="30769"/>
                      <a:pt x="2630769" y="67692"/>
                    </a:cubicBezTo>
                    <a:lnTo>
                      <a:pt x="2630769" y="1058462"/>
                    </a:lnTo>
                    <a:cubicBezTo>
                      <a:pt x="2630769" y="1092308"/>
                      <a:pt x="2600000" y="1123077"/>
                      <a:pt x="2563077" y="1123077"/>
                    </a:cubicBezTo>
                    <a:close/>
                  </a:path>
                </a:pathLst>
              </a:custGeom>
              <a:solidFill>
                <a:srgbClr val="FFFFFF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9" name="任意多边形: 形状 748">
                <a:extLst>
                  <a:ext uri="{FF2B5EF4-FFF2-40B4-BE49-F238E27FC236}">
                    <a16:creationId xmlns:a16="http://schemas.microsoft.com/office/drawing/2014/main" id="{06436659-2DAD-4F44-8A2F-B30CBC7C24D5}"/>
                  </a:ext>
                </a:extLst>
              </p:cNvPr>
              <p:cNvSpPr/>
              <p:nvPr/>
            </p:nvSpPr>
            <p:spPr>
              <a:xfrm>
                <a:off x="8593127" y="3173928"/>
                <a:ext cx="1550769" cy="281274"/>
              </a:xfrm>
              <a:custGeom>
                <a:avLst/>
                <a:gdLst>
                  <a:gd name="connsiteX0" fmla="*/ 1178461 w 1550769"/>
                  <a:gd name="connsiteY0" fmla="*/ 281274 h 281274"/>
                  <a:gd name="connsiteX1" fmla="*/ 1178461 w 1550769"/>
                  <a:gd name="connsiteY1" fmla="*/ 281274 h 281274"/>
                  <a:gd name="connsiteX2" fmla="*/ 1169231 w 1550769"/>
                  <a:gd name="connsiteY2" fmla="*/ 275121 h 281274"/>
                  <a:gd name="connsiteX3" fmla="*/ 1138462 w 1550769"/>
                  <a:gd name="connsiteY3" fmla="*/ 53582 h 281274"/>
                  <a:gd name="connsiteX4" fmla="*/ 1098461 w 1550769"/>
                  <a:gd name="connsiteY4" fmla="*/ 133582 h 281274"/>
                  <a:gd name="connsiteX5" fmla="*/ 1092308 w 1550769"/>
                  <a:gd name="connsiteY5" fmla="*/ 136659 h 281274"/>
                  <a:gd name="connsiteX6" fmla="*/ 947692 w 1550769"/>
                  <a:gd name="connsiteY6" fmla="*/ 136659 h 281274"/>
                  <a:gd name="connsiteX7" fmla="*/ 923077 w 1550769"/>
                  <a:gd name="connsiteY7" fmla="*/ 213582 h 281274"/>
                  <a:gd name="connsiteX8" fmla="*/ 916923 w 1550769"/>
                  <a:gd name="connsiteY8" fmla="*/ 219736 h 281274"/>
                  <a:gd name="connsiteX9" fmla="*/ 907692 w 1550769"/>
                  <a:gd name="connsiteY9" fmla="*/ 213582 h 281274"/>
                  <a:gd name="connsiteX10" fmla="*/ 864615 w 1550769"/>
                  <a:gd name="connsiteY10" fmla="*/ 93582 h 281274"/>
                  <a:gd name="connsiteX11" fmla="*/ 843077 w 1550769"/>
                  <a:gd name="connsiteY11" fmla="*/ 130505 h 281274"/>
                  <a:gd name="connsiteX12" fmla="*/ 836923 w 1550769"/>
                  <a:gd name="connsiteY12" fmla="*/ 133582 h 281274"/>
                  <a:gd name="connsiteX13" fmla="*/ 763077 w 1550769"/>
                  <a:gd name="connsiteY13" fmla="*/ 133582 h 281274"/>
                  <a:gd name="connsiteX14" fmla="*/ 710769 w 1550769"/>
                  <a:gd name="connsiteY14" fmla="*/ 268967 h 281274"/>
                  <a:gd name="connsiteX15" fmla="*/ 701538 w 1550769"/>
                  <a:gd name="connsiteY15" fmla="*/ 275121 h 281274"/>
                  <a:gd name="connsiteX16" fmla="*/ 695384 w 1550769"/>
                  <a:gd name="connsiteY16" fmla="*/ 268967 h 281274"/>
                  <a:gd name="connsiteX17" fmla="*/ 664615 w 1550769"/>
                  <a:gd name="connsiteY17" fmla="*/ 47428 h 281274"/>
                  <a:gd name="connsiteX18" fmla="*/ 624615 w 1550769"/>
                  <a:gd name="connsiteY18" fmla="*/ 127428 h 281274"/>
                  <a:gd name="connsiteX19" fmla="*/ 618461 w 1550769"/>
                  <a:gd name="connsiteY19" fmla="*/ 130505 h 281274"/>
                  <a:gd name="connsiteX20" fmla="*/ 480000 w 1550769"/>
                  <a:gd name="connsiteY20" fmla="*/ 130505 h 281274"/>
                  <a:gd name="connsiteX21" fmla="*/ 455384 w 1550769"/>
                  <a:gd name="connsiteY21" fmla="*/ 207428 h 281274"/>
                  <a:gd name="connsiteX22" fmla="*/ 449230 w 1550769"/>
                  <a:gd name="connsiteY22" fmla="*/ 213582 h 281274"/>
                  <a:gd name="connsiteX23" fmla="*/ 440000 w 1550769"/>
                  <a:gd name="connsiteY23" fmla="*/ 207428 h 281274"/>
                  <a:gd name="connsiteX24" fmla="*/ 396923 w 1550769"/>
                  <a:gd name="connsiteY24" fmla="*/ 87428 h 281274"/>
                  <a:gd name="connsiteX25" fmla="*/ 375385 w 1550769"/>
                  <a:gd name="connsiteY25" fmla="*/ 124351 h 281274"/>
                  <a:gd name="connsiteX26" fmla="*/ 369231 w 1550769"/>
                  <a:gd name="connsiteY26" fmla="*/ 127428 h 281274"/>
                  <a:gd name="connsiteX27" fmla="*/ 295384 w 1550769"/>
                  <a:gd name="connsiteY27" fmla="*/ 127428 h 281274"/>
                  <a:gd name="connsiteX28" fmla="*/ 243077 w 1550769"/>
                  <a:gd name="connsiteY28" fmla="*/ 262813 h 281274"/>
                  <a:gd name="connsiteX29" fmla="*/ 233846 w 1550769"/>
                  <a:gd name="connsiteY29" fmla="*/ 268967 h 281274"/>
                  <a:gd name="connsiteX30" fmla="*/ 227692 w 1550769"/>
                  <a:gd name="connsiteY30" fmla="*/ 262813 h 281274"/>
                  <a:gd name="connsiteX31" fmla="*/ 196923 w 1550769"/>
                  <a:gd name="connsiteY31" fmla="*/ 41274 h 281274"/>
                  <a:gd name="connsiteX32" fmla="*/ 156923 w 1550769"/>
                  <a:gd name="connsiteY32" fmla="*/ 121275 h 281274"/>
                  <a:gd name="connsiteX33" fmla="*/ 150769 w 1550769"/>
                  <a:gd name="connsiteY33" fmla="*/ 124351 h 281274"/>
                  <a:gd name="connsiteX34" fmla="*/ 9230 w 1550769"/>
                  <a:gd name="connsiteY34" fmla="*/ 124351 h 281274"/>
                  <a:gd name="connsiteX35" fmla="*/ 0 w 1550769"/>
                  <a:gd name="connsiteY35" fmla="*/ 115121 h 281274"/>
                  <a:gd name="connsiteX36" fmla="*/ 9230 w 1550769"/>
                  <a:gd name="connsiteY36" fmla="*/ 105890 h 281274"/>
                  <a:gd name="connsiteX37" fmla="*/ 147692 w 1550769"/>
                  <a:gd name="connsiteY37" fmla="*/ 105890 h 281274"/>
                  <a:gd name="connsiteX38" fmla="*/ 196923 w 1550769"/>
                  <a:gd name="connsiteY38" fmla="*/ 4351 h 281274"/>
                  <a:gd name="connsiteX39" fmla="*/ 206154 w 1550769"/>
                  <a:gd name="connsiteY39" fmla="*/ 1275 h 281274"/>
                  <a:gd name="connsiteX40" fmla="*/ 212308 w 1550769"/>
                  <a:gd name="connsiteY40" fmla="*/ 7428 h 281274"/>
                  <a:gd name="connsiteX41" fmla="*/ 243077 w 1550769"/>
                  <a:gd name="connsiteY41" fmla="*/ 222813 h 281274"/>
                  <a:gd name="connsiteX42" fmla="*/ 286153 w 1550769"/>
                  <a:gd name="connsiteY42" fmla="*/ 112044 h 281274"/>
                  <a:gd name="connsiteX43" fmla="*/ 292308 w 1550769"/>
                  <a:gd name="connsiteY43" fmla="*/ 105890 h 281274"/>
                  <a:gd name="connsiteX44" fmla="*/ 366154 w 1550769"/>
                  <a:gd name="connsiteY44" fmla="*/ 105890 h 281274"/>
                  <a:gd name="connsiteX45" fmla="*/ 393846 w 1550769"/>
                  <a:gd name="connsiteY45" fmla="*/ 56659 h 281274"/>
                  <a:gd name="connsiteX46" fmla="*/ 403077 w 1550769"/>
                  <a:gd name="connsiteY46" fmla="*/ 53582 h 281274"/>
                  <a:gd name="connsiteX47" fmla="*/ 409230 w 1550769"/>
                  <a:gd name="connsiteY47" fmla="*/ 59736 h 281274"/>
                  <a:gd name="connsiteX48" fmla="*/ 449230 w 1550769"/>
                  <a:gd name="connsiteY48" fmla="*/ 173582 h 281274"/>
                  <a:gd name="connsiteX49" fmla="*/ 467692 w 1550769"/>
                  <a:gd name="connsiteY49" fmla="*/ 112044 h 281274"/>
                  <a:gd name="connsiteX50" fmla="*/ 473846 w 1550769"/>
                  <a:gd name="connsiteY50" fmla="*/ 105890 h 281274"/>
                  <a:gd name="connsiteX51" fmla="*/ 612308 w 1550769"/>
                  <a:gd name="connsiteY51" fmla="*/ 105890 h 281274"/>
                  <a:gd name="connsiteX52" fmla="*/ 661538 w 1550769"/>
                  <a:gd name="connsiteY52" fmla="*/ 4351 h 281274"/>
                  <a:gd name="connsiteX53" fmla="*/ 670769 w 1550769"/>
                  <a:gd name="connsiteY53" fmla="*/ 1275 h 281274"/>
                  <a:gd name="connsiteX54" fmla="*/ 676923 w 1550769"/>
                  <a:gd name="connsiteY54" fmla="*/ 7428 h 281274"/>
                  <a:gd name="connsiteX55" fmla="*/ 707692 w 1550769"/>
                  <a:gd name="connsiteY55" fmla="*/ 222813 h 281274"/>
                  <a:gd name="connsiteX56" fmla="*/ 750769 w 1550769"/>
                  <a:gd name="connsiteY56" fmla="*/ 112044 h 281274"/>
                  <a:gd name="connsiteX57" fmla="*/ 756923 w 1550769"/>
                  <a:gd name="connsiteY57" fmla="*/ 105890 h 281274"/>
                  <a:gd name="connsiteX58" fmla="*/ 830769 w 1550769"/>
                  <a:gd name="connsiteY58" fmla="*/ 105890 h 281274"/>
                  <a:gd name="connsiteX59" fmla="*/ 858461 w 1550769"/>
                  <a:gd name="connsiteY59" fmla="*/ 56659 h 281274"/>
                  <a:gd name="connsiteX60" fmla="*/ 867692 w 1550769"/>
                  <a:gd name="connsiteY60" fmla="*/ 53582 h 281274"/>
                  <a:gd name="connsiteX61" fmla="*/ 873846 w 1550769"/>
                  <a:gd name="connsiteY61" fmla="*/ 59736 h 281274"/>
                  <a:gd name="connsiteX62" fmla="*/ 913846 w 1550769"/>
                  <a:gd name="connsiteY62" fmla="*/ 173582 h 281274"/>
                  <a:gd name="connsiteX63" fmla="*/ 932307 w 1550769"/>
                  <a:gd name="connsiteY63" fmla="*/ 112044 h 281274"/>
                  <a:gd name="connsiteX64" fmla="*/ 938462 w 1550769"/>
                  <a:gd name="connsiteY64" fmla="*/ 105890 h 281274"/>
                  <a:gd name="connsiteX65" fmla="*/ 1086154 w 1550769"/>
                  <a:gd name="connsiteY65" fmla="*/ 105890 h 281274"/>
                  <a:gd name="connsiteX66" fmla="*/ 1135384 w 1550769"/>
                  <a:gd name="connsiteY66" fmla="*/ 4351 h 281274"/>
                  <a:gd name="connsiteX67" fmla="*/ 1144615 w 1550769"/>
                  <a:gd name="connsiteY67" fmla="*/ 1275 h 281274"/>
                  <a:gd name="connsiteX68" fmla="*/ 1150769 w 1550769"/>
                  <a:gd name="connsiteY68" fmla="*/ 7428 h 281274"/>
                  <a:gd name="connsiteX69" fmla="*/ 1181538 w 1550769"/>
                  <a:gd name="connsiteY69" fmla="*/ 222813 h 281274"/>
                  <a:gd name="connsiteX70" fmla="*/ 1224615 w 1550769"/>
                  <a:gd name="connsiteY70" fmla="*/ 112044 h 281274"/>
                  <a:gd name="connsiteX71" fmla="*/ 1230769 w 1550769"/>
                  <a:gd name="connsiteY71" fmla="*/ 105890 h 281274"/>
                  <a:gd name="connsiteX72" fmla="*/ 1304615 w 1550769"/>
                  <a:gd name="connsiteY72" fmla="*/ 105890 h 281274"/>
                  <a:gd name="connsiteX73" fmla="*/ 1332307 w 1550769"/>
                  <a:gd name="connsiteY73" fmla="*/ 56659 h 281274"/>
                  <a:gd name="connsiteX74" fmla="*/ 1341538 w 1550769"/>
                  <a:gd name="connsiteY74" fmla="*/ 53582 h 281274"/>
                  <a:gd name="connsiteX75" fmla="*/ 1347692 w 1550769"/>
                  <a:gd name="connsiteY75" fmla="*/ 59736 h 281274"/>
                  <a:gd name="connsiteX76" fmla="*/ 1387692 w 1550769"/>
                  <a:gd name="connsiteY76" fmla="*/ 173582 h 281274"/>
                  <a:gd name="connsiteX77" fmla="*/ 1406154 w 1550769"/>
                  <a:gd name="connsiteY77" fmla="*/ 112044 h 281274"/>
                  <a:gd name="connsiteX78" fmla="*/ 1412308 w 1550769"/>
                  <a:gd name="connsiteY78" fmla="*/ 105890 h 281274"/>
                  <a:gd name="connsiteX79" fmla="*/ 1541538 w 1550769"/>
                  <a:gd name="connsiteY79" fmla="*/ 105890 h 281274"/>
                  <a:gd name="connsiteX80" fmla="*/ 1550769 w 1550769"/>
                  <a:gd name="connsiteY80" fmla="*/ 115121 h 281274"/>
                  <a:gd name="connsiteX81" fmla="*/ 1541538 w 1550769"/>
                  <a:gd name="connsiteY81" fmla="*/ 124351 h 281274"/>
                  <a:gd name="connsiteX82" fmla="*/ 1418461 w 1550769"/>
                  <a:gd name="connsiteY82" fmla="*/ 124351 h 281274"/>
                  <a:gd name="connsiteX83" fmla="*/ 1393846 w 1550769"/>
                  <a:gd name="connsiteY83" fmla="*/ 201275 h 281274"/>
                  <a:gd name="connsiteX84" fmla="*/ 1387692 w 1550769"/>
                  <a:gd name="connsiteY84" fmla="*/ 207428 h 281274"/>
                  <a:gd name="connsiteX85" fmla="*/ 1378461 w 1550769"/>
                  <a:gd name="connsiteY85" fmla="*/ 201275 h 281274"/>
                  <a:gd name="connsiteX86" fmla="*/ 1335384 w 1550769"/>
                  <a:gd name="connsiteY86" fmla="*/ 81275 h 281274"/>
                  <a:gd name="connsiteX87" fmla="*/ 1313846 w 1550769"/>
                  <a:gd name="connsiteY87" fmla="*/ 118198 h 281274"/>
                  <a:gd name="connsiteX88" fmla="*/ 1307692 w 1550769"/>
                  <a:gd name="connsiteY88" fmla="*/ 121275 h 281274"/>
                  <a:gd name="connsiteX89" fmla="*/ 1233846 w 1550769"/>
                  <a:gd name="connsiteY89" fmla="*/ 121275 h 281274"/>
                  <a:gd name="connsiteX90" fmla="*/ 1181538 w 1550769"/>
                  <a:gd name="connsiteY90" fmla="*/ 256659 h 281274"/>
                  <a:gd name="connsiteX91" fmla="*/ 1178461 w 1550769"/>
                  <a:gd name="connsiteY91" fmla="*/ 281274 h 281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1550769" h="281274">
                    <a:moveTo>
                      <a:pt x="1178461" y="281274"/>
                    </a:moveTo>
                    <a:cubicBezTo>
                      <a:pt x="1175385" y="281274"/>
                      <a:pt x="1175385" y="281274"/>
                      <a:pt x="1178461" y="281274"/>
                    </a:cubicBezTo>
                    <a:cubicBezTo>
                      <a:pt x="1175385" y="281274"/>
                      <a:pt x="1172307" y="278198"/>
                      <a:pt x="1169231" y="275121"/>
                    </a:cubicBezTo>
                    <a:lnTo>
                      <a:pt x="1138462" y="53582"/>
                    </a:lnTo>
                    <a:lnTo>
                      <a:pt x="1098461" y="133582"/>
                    </a:lnTo>
                    <a:cubicBezTo>
                      <a:pt x="1098461" y="136659"/>
                      <a:pt x="1095384" y="136659"/>
                      <a:pt x="1092308" y="136659"/>
                    </a:cubicBezTo>
                    <a:lnTo>
                      <a:pt x="947692" y="136659"/>
                    </a:lnTo>
                    <a:lnTo>
                      <a:pt x="923077" y="213582"/>
                    </a:lnTo>
                    <a:cubicBezTo>
                      <a:pt x="923077" y="216659"/>
                      <a:pt x="920000" y="219736"/>
                      <a:pt x="916923" y="219736"/>
                    </a:cubicBezTo>
                    <a:cubicBezTo>
                      <a:pt x="913846" y="219736"/>
                      <a:pt x="910769" y="216659"/>
                      <a:pt x="907692" y="213582"/>
                    </a:cubicBezTo>
                    <a:lnTo>
                      <a:pt x="864615" y="93582"/>
                    </a:lnTo>
                    <a:lnTo>
                      <a:pt x="843077" y="130505"/>
                    </a:lnTo>
                    <a:cubicBezTo>
                      <a:pt x="843077" y="133582"/>
                      <a:pt x="840000" y="133582"/>
                      <a:pt x="836923" y="133582"/>
                    </a:cubicBezTo>
                    <a:lnTo>
                      <a:pt x="763077" y="133582"/>
                    </a:lnTo>
                    <a:lnTo>
                      <a:pt x="710769" y="268967"/>
                    </a:lnTo>
                    <a:cubicBezTo>
                      <a:pt x="710769" y="272044"/>
                      <a:pt x="704615" y="275121"/>
                      <a:pt x="701538" y="275121"/>
                    </a:cubicBezTo>
                    <a:cubicBezTo>
                      <a:pt x="698461" y="275121"/>
                      <a:pt x="695384" y="272044"/>
                      <a:pt x="695384" y="268967"/>
                    </a:cubicBezTo>
                    <a:lnTo>
                      <a:pt x="664615" y="47428"/>
                    </a:lnTo>
                    <a:lnTo>
                      <a:pt x="624615" y="127428"/>
                    </a:lnTo>
                    <a:cubicBezTo>
                      <a:pt x="624615" y="130505"/>
                      <a:pt x="621538" y="130505"/>
                      <a:pt x="618461" y="130505"/>
                    </a:cubicBezTo>
                    <a:lnTo>
                      <a:pt x="480000" y="130505"/>
                    </a:lnTo>
                    <a:lnTo>
                      <a:pt x="455384" y="207428"/>
                    </a:lnTo>
                    <a:cubicBezTo>
                      <a:pt x="455384" y="210505"/>
                      <a:pt x="452308" y="213582"/>
                      <a:pt x="449230" y="213582"/>
                    </a:cubicBezTo>
                    <a:cubicBezTo>
                      <a:pt x="446154" y="213582"/>
                      <a:pt x="443077" y="210505"/>
                      <a:pt x="440000" y="207428"/>
                    </a:cubicBezTo>
                    <a:lnTo>
                      <a:pt x="396923" y="87428"/>
                    </a:lnTo>
                    <a:lnTo>
                      <a:pt x="375385" y="124351"/>
                    </a:lnTo>
                    <a:cubicBezTo>
                      <a:pt x="375385" y="127428"/>
                      <a:pt x="372307" y="127428"/>
                      <a:pt x="369231" y="127428"/>
                    </a:cubicBezTo>
                    <a:lnTo>
                      <a:pt x="295384" y="127428"/>
                    </a:lnTo>
                    <a:lnTo>
                      <a:pt x="243077" y="262813"/>
                    </a:lnTo>
                    <a:cubicBezTo>
                      <a:pt x="243077" y="265890"/>
                      <a:pt x="236923" y="268967"/>
                      <a:pt x="233846" y="268967"/>
                    </a:cubicBezTo>
                    <a:cubicBezTo>
                      <a:pt x="230769" y="268967"/>
                      <a:pt x="227692" y="265890"/>
                      <a:pt x="227692" y="262813"/>
                    </a:cubicBezTo>
                    <a:lnTo>
                      <a:pt x="196923" y="41274"/>
                    </a:lnTo>
                    <a:lnTo>
                      <a:pt x="156923" y="121275"/>
                    </a:lnTo>
                    <a:cubicBezTo>
                      <a:pt x="156923" y="124351"/>
                      <a:pt x="153846" y="124351"/>
                      <a:pt x="150769" y="124351"/>
                    </a:cubicBezTo>
                    <a:lnTo>
                      <a:pt x="9230" y="124351"/>
                    </a:lnTo>
                    <a:cubicBezTo>
                      <a:pt x="6154" y="124351"/>
                      <a:pt x="0" y="121275"/>
                      <a:pt x="0" y="115121"/>
                    </a:cubicBezTo>
                    <a:cubicBezTo>
                      <a:pt x="0" y="112044"/>
                      <a:pt x="3077" y="105890"/>
                      <a:pt x="9230" y="105890"/>
                    </a:cubicBezTo>
                    <a:lnTo>
                      <a:pt x="147692" y="105890"/>
                    </a:lnTo>
                    <a:lnTo>
                      <a:pt x="196923" y="4351"/>
                    </a:lnTo>
                    <a:cubicBezTo>
                      <a:pt x="196923" y="1275"/>
                      <a:pt x="203077" y="-1802"/>
                      <a:pt x="206154" y="1275"/>
                    </a:cubicBezTo>
                    <a:cubicBezTo>
                      <a:pt x="209230" y="1275"/>
                      <a:pt x="212308" y="4351"/>
                      <a:pt x="212308" y="7428"/>
                    </a:cubicBezTo>
                    <a:lnTo>
                      <a:pt x="243077" y="222813"/>
                    </a:lnTo>
                    <a:lnTo>
                      <a:pt x="286153" y="112044"/>
                    </a:lnTo>
                    <a:cubicBezTo>
                      <a:pt x="286153" y="108967"/>
                      <a:pt x="289231" y="105890"/>
                      <a:pt x="292308" y="105890"/>
                    </a:cubicBezTo>
                    <a:lnTo>
                      <a:pt x="366154" y="105890"/>
                    </a:lnTo>
                    <a:lnTo>
                      <a:pt x="393846" y="56659"/>
                    </a:lnTo>
                    <a:cubicBezTo>
                      <a:pt x="396923" y="53582"/>
                      <a:pt x="396923" y="53582"/>
                      <a:pt x="403077" y="53582"/>
                    </a:cubicBezTo>
                    <a:cubicBezTo>
                      <a:pt x="406154" y="53582"/>
                      <a:pt x="409230" y="56659"/>
                      <a:pt x="409230" y="59736"/>
                    </a:cubicBezTo>
                    <a:lnTo>
                      <a:pt x="449230" y="173582"/>
                    </a:lnTo>
                    <a:lnTo>
                      <a:pt x="467692" y="112044"/>
                    </a:lnTo>
                    <a:cubicBezTo>
                      <a:pt x="467692" y="108967"/>
                      <a:pt x="470769" y="105890"/>
                      <a:pt x="473846" y="105890"/>
                    </a:cubicBezTo>
                    <a:lnTo>
                      <a:pt x="612308" y="105890"/>
                    </a:lnTo>
                    <a:lnTo>
                      <a:pt x="661538" y="4351"/>
                    </a:lnTo>
                    <a:cubicBezTo>
                      <a:pt x="661538" y="1275"/>
                      <a:pt x="667692" y="-1802"/>
                      <a:pt x="670769" y="1275"/>
                    </a:cubicBezTo>
                    <a:cubicBezTo>
                      <a:pt x="673846" y="1275"/>
                      <a:pt x="676923" y="4351"/>
                      <a:pt x="676923" y="7428"/>
                    </a:cubicBezTo>
                    <a:lnTo>
                      <a:pt x="707692" y="222813"/>
                    </a:lnTo>
                    <a:lnTo>
                      <a:pt x="750769" y="112044"/>
                    </a:lnTo>
                    <a:cubicBezTo>
                      <a:pt x="750769" y="108967"/>
                      <a:pt x="753846" y="105890"/>
                      <a:pt x="756923" y="105890"/>
                    </a:cubicBezTo>
                    <a:lnTo>
                      <a:pt x="830769" y="105890"/>
                    </a:lnTo>
                    <a:lnTo>
                      <a:pt x="858461" y="56659"/>
                    </a:lnTo>
                    <a:cubicBezTo>
                      <a:pt x="861538" y="53582"/>
                      <a:pt x="861538" y="53582"/>
                      <a:pt x="867692" y="53582"/>
                    </a:cubicBezTo>
                    <a:cubicBezTo>
                      <a:pt x="870769" y="53582"/>
                      <a:pt x="873846" y="56659"/>
                      <a:pt x="873846" y="59736"/>
                    </a:cubicBezTo>
                    <a:lnTo>
                      <a:pt x="913846" y="173582"/>
                    </a:lnTo>
                    <a:lnTo>
                      <a:pt x="932307" y="112044"/>
                    </a:lnTo>
                    <a:cubicBezTo>
                      <a:pt x="932307" y="108967"/>
                      <a:pt x="935384" y="105890"/>
                      <a:pt x="938462" y="105890"/>
                    </a:cubicBezTo>
                    <a:lnTo>
                      <a:pt x="1086154" y="105890"/>
                    </a:lnTo>
                    <a:lnTo>
                      <a:pt x="1135384" y="4351"/>
                    </a:lnTo>
                    <a:cubicBezTo>
                      <a:pt x="1135384" y="1275"/>
                      <a:pt x="1141538" y="-1802"/>
                      <a:pt x="1144615" y="1275"/>
                    </a:cubicBezTo>
                    <a:cubicBezTo>
                      <a:pt x="1147692" y="1275"/>
                      <a:pt x="1150769" y="4351"/>
                      <a:pt x="1150769" y="7428"/>
                    </a:cubicBezTo>
                    <a:lnTo>
                      <a:pt x="1181538" y="222813"/>
                    </a:lnTo>
                    <a:lnTo>
                      <a:pt x="1224615" y="112044"/>
                    </a:lnTo>
                    <a:cubicBezTo>
                      <a:pt x="1224615" y="108967"/>
                      <a:pt x="1227692" y="105890"/>
                      <a:pt x="1230769" y="105890"/>
                    </a:cubicBezTo>
                    <a:lnTo>
                      <a:pt x="1304615" y="105890"/>
                    </a:lnTo>
                    <a:lnTo>
                      <a:pt x="1332307" y="56659"/>
                    </a:lnTo>
                    <a:cubicBezTo>
                      <a:pt x="1335384" y="53582"/>
                      <a:pt x="1335384" y="53582"/>
                      <a:pt x="1341538" y="53582"/>
                    </a:cubicBezTo>
                    <a:cubicBezTo>
                      <a:pt x="1344615" y="53582"/>
                      <a:pt x="1347692" y="56659"/>
                      <a:pt x="1347692" y="59736"/>
                    </a:cubicBezTo>
                    <a:lnTo>
                      <a:pt x="1387692" y="173582"/>
                    </a:lnTo>
                    <a:lnTo>
                      <a:pt x="1406154" y="112044"/>
                    </a:lnTo>
                    <a:cubicBezTo>
                      <a:pt x="1406154" y="108967"/>
                      <a:pt x="1409230" y="105890"/>
                      <a:pt x="1412308" y="105890"/>
                    </a:cubicBezTo>
                    <a:lnTo>
                      <a:pt x="1541538" y="105890"/>
                    </a:lnTo>
                    <a:cubicBezTo>
                      <a:pt x="1544615" y="105890"/>
                      <a:pt x="1550769" y="108967"/>
                      <a:pt x="1550769" y="115121"/>
                    </a:cubicBezTo>
                    <a:cubicBezTo>
                      <a:pt x="1550769" y="118198"/>
                      <a:pt x="1547692" y="124351"/>
                      <a:pt x="1541538" y="124351"/>
                    </a:cubicBezTo>
                    <a:lnTo>
                      <a:pt x="1418461" y="124351"/>
                    </a:lnTo>
                    <a:lnTo>
                      <a:pt x="1393846" y="201275"/>
                    </a:lnTo>
                    <a:cubicBezTo>
                      <a:pt x="1393846" y="204351"/>
                      <a:pt x="1390769" y="207428"/>
                      <a:pt x="1387692" y="207428"/>
                    </a:cubicBezTo>
                    <a:cubicBezTo>
                      <a:pt x="1384615" y="207428"/>
                      <a:pt x="1381538" y="204351"/>
                      <a:pt x="1378461" y="201275"/>
                    </a:cubicBezTo>
                    <a:lnTo>
                      <a:pt x="1335384" y="81275"/>
                    </a:lnTo>
                    <a:lnTo>
                      <a:pt x="1313846" y="118198"/>
                    </a:lnTo>
                    <a:cubicBezTo>
                      <a:pt x="1313846" y="121275"/>
                      <a:pt x="1310769" y="121275"/>
                      <a:pt x="1307692" y="121275"/>
                    </a:cubicBezTo>
                    <a:lnTo>
                      <a:pt x="1233846" y="121275"/>
                    </a:lnTo>
                    <a:lnTo>
                      <a:pt x="1181538" y="256659"/>
                    </a:lnTo>
                    <a:cubicBezTo>
                      <a:pt x="1184615" y="278198"/>
                      <a:pt x="1181538" y="281274"/>
                      <a:pt x="1178461" y="281274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0" name="任意多边形: 形状 749">
                <a:extLst>
                  <a:ext uri="{FF2B5EF4-FFF2-40B4-BE49-F238E27FC236}">
                    <a16:creationId xmlns:a16="http://schemas.microsoft.com/office/drawing/2014/main" id="{AAABCEAD-1F7C-4C55-B95A-A3783CD2CD6C}"/>
                  </a:ext>
                </a:extLst>
              </p:cNvPr>
              <p:cNvSpPr/>
              <p:nvPr/>
            </p:nvSpPr>
            <p:spPr>
              <a:xfrm>
                <a:off x="8593127" y="3481620"/>
                <a:ext cx="1550769" cy="268966"/>
              </a:xfrm>
              <a:custGeom>
                <a:avLst/>
                <a:gdLst>
                  <a:gd name="connsiteX0" fmla="*/ 1178461 w 1550769"/>
                  <a:gd name="connsiteY0" fmla="*/ 268967 h 268966"/>
                  <a:gd name="connsiteX1" fmla="*/ 1178461 w 1550769"/>
                  <a:gd name="connsiteY1" fmla="*/ 268967 h 268966"/>
                  <a:gd name="connsiteX2" fmla="*/ 1169231 w 1550769"/>
                  <a:gd name="connsiteY2" fmla="*/ 262813 h 268966"/>
                  <a:gd name="connsiteX3" fmla="*/ 1138462 w 1550769"/>
                  <a:gd name="connsiteY3" fmla="*/ 41274 h 268966"/>
                  <a:gd name="connsiteX4" fmla="*/ 1098461 w 1550769"/>
                  <a:gd name="connsiteY4" fmla="*/ 121275 h 268966"/>
                  <a:gd name="connsiteX5" fmla="*/ 1092308 w 1550769"/>
                  <a:gd name="connsiteY5" fmla="*/ 124351 h 268966"/>
                  <a:gd name="connsiteX6" fmla="*/ 947692 w 1550769"/>
                  <a:gd name="connsiteY6" fmla="*/ 124351 h 268966"/>
                  <a:gd name="connsiteX7" fmla="*/ 923077 w 1550769"/>
                  <a:gd name="connsiteY7" fmla="*/ 201274 h 268966"/>
                  <a:gd name="connsiteX8" fmla="*/ 916923 w 1550769"/>
                  <a:gd name="connsiteY8" fmla="*/ 207428 h 268966"/>
                  <a:gd name="connsiteX9" fmla="*/ 907692 w 1550769"/>
                  <a:gd name="connsiteY9" fmla="*/ 201274 h 268966"/>
                  <a:gd name="connsiteX10" fmla="*/ 864615 w 1550769"/>
                  <a:gd name="connsiteY10" fmla="*/ 81274 h 268966"/>
                  <a:gd name="connsiteX11" fmla="*/ 843077 w 1550769"/>
                  <a:gd name="connsiteY11" fmla="*/ 118198 h 268966"/>
                  <a:gd name="connsiteX12" fmla="*/ 836923 w 1550769"/>
                  <a:gd name="connsiteY12" fmla="*/ 121275 h 268966"/>
                  <a:gd name="connsiteX13" fmla="*/ 763077 w 1550769"/>
                  <a:gd name="connsiteY13" fmla="*/ 121275 h 268966"/>
                  <a:gd name="connsiteX14" fmla="*/ 710769 w 1550769"/>
                  <a:gd name="connsiteY14" fmla="*/ 256659 h 268966"/>
                  <a:gd name="connsiteX15" fmla="*/ 701538 w 1550769"/>
                  <a:gd name="connsiteY15" fmla="*/ 262813 h 268966"/>
                  <a:gd name="connsiteX16" fmla="*/ 695384 w 1550769"/>
                  <a:gd name="connsiteY16" fmla="*/ 256659 h 268966"/>
                  <a:gd name="connsiteX17" fmla="*/ 664615 w 1550769"/>
                  <a:gd name="connsiteY17" fmla="*/ 35121 h 268966"/>
                  <a:gd name="connsiteX18" fmla="*/ 624615 w 1550769"/>
                  <a:gd name="connsiteY18" fmla="*/ 115121 h 268966"/>
                  <a:gd name="connsiteX19" fmla="*/ 618461 w 1550769"/>
                  <a:gd name="connsiteY19" fmla="*/ 118198 h 268966"/>
                  <a:gd name="connsiteX20" fmla="*/ 480000 w 1550769"/>
                  <a:gd name="connsiteY20" fmla="*/ 118198 h 268966"/>
                  <a:gd name="connsiteX21" fmla="*/ 455384 w 1550769"/>
                  <a:gd name="connsiteY21" fmla="*/ 195121 h 268966"/>
                  <a:gd name="connsiteX22" fmla="*/ 449230 w 1550769"/>
                  <a:gd name="connsiteY22" fmla="*/ 201274 h 268966"/>
                  <a:gd name="connsiteX23" fmla="*/ 440000 w 1550769"/>
                  <a:gd name="connsiteY23" fmla="*/ 195121 h 268966"/>
                  <a:gd name="connsiteX24" fmla="*/ 396923 w 1550769"/>
                  <a:gd name="connsiteY24" fmla="*/ 75121 h 268966"/>
                  <a:gd name="connsiteX25" fmla="*/ 375385 w 1550769"/>
                  <a:gd name="connsiteY25" fmla="*/ 112044 h 268966"/>
                  <a:gd name="connsiteX26" fmla="*/ 369231 w 1550769"/>
                  <a:gd name="connsiteY26" fmla="*/ 115121 h 268966"/>
                  <a:gd name="connsiteX27" fmla="*/ 295384 w 1550769"/>
                  <a:gd name="connsiteY27" fmla="*/ 115121 h 268966"/>
                  <a:gd name="connsiteX28" fmla="*/ 243077 w 1550769"/>
                  <a:gd name="connsiteY28" fmla="*/ 262813 h 268966"/>
                  <a:gd name="connsiteX29" fmla="*/ 233846 w 1550769"/>
                  <a:gd name="connsiteY29" fmla="*/ 268967 h 268966"/>
                  <a:gd name="connsiteX30" fmla="*/ 227692 w 1550769"/>
                  <a:gd name="connsiteY30" fmla="*/ 262813 h 268966"/>
                  <a:gd name="connsiteX31" fmla="*/ 196923 w 1550769"/>
                  <a:gd name="connsiteY31" fmla="*/ 41274 h 268966"/>
                  <a:gd name="connsiteX32" fmla="*/ 156923 w 1550769"/>
                  <a:gd name="connsiteY32" fmla="*/ 121275 h 268966"/>
                  <a:gd name="connsiteX33" fmla="*/ 150769 w 1550769"/>
                  <a:gd name="connsiteY33" fmla="*/ 124351 h 268966"/>
                  <a:gd name="connsiteX34" fmla="*/ 9230 w 1550769"/>
                  <a:gd name="connsiteY34" fmla="*/ 124351 h 268966"/>
                  <a:gd name="connsiteX35" fmla="*/ 0 w 1550769"/>
                  <a:gd name="connsiteY35" fmla="*/ 115121 h 268966"/>
                  <a:gd name="connsiteX36" fmla="*/ 9230 w 1550769"/>
                  <a:gd name="connsiteY36" fmla="*/ 105890 h 268966"/>
                  <a:gd name="connsiteX37" fmla="*/ 147692 w 1550769"/>
                  <a:gd name="connsiteY37" fmla="*/ 105890 h 268966"/>
                  <a:gd name="connsiteX38" fmla="*/ 196923 w 1550769"/>
                  <a:gd name="connsiteY38" fmla="*/ 4351 h 268966"/>
                  <a:gd name="connsiteX39" fmla="*/ 206154 w 1550769"/>
                  <a:gd name="connsiteY39" fmla="*/ 1274 h 268966"/>
                  <a:gd name="connsiteX40" fmla="*/ 212308 w 1550769"/>
                  <a:gd name="connsiteY40" fmla="*/ 7428 h 268966"/>
                  <a:gd name="connsiteX41" fmla="*/ 243077 w 1550769"/>
                  <a:gd name="connsiteY41" fmla="*/ 222813 h 268966"/>
                  <a:gd name="connsiteX42" fmla="*/ 286153 w 1550769"/>
                  <a:gd name="connsiteY42" fmla="*/ 112044 h 268966"/>
                  <a:gd name="connsiteX43" fmla="*/ 292308 w 1550769"/>
                  <a:gd name="connsiteY43" fmla="*/ 105890 h 268966"/>
                  <a:gd name="connsiteX44" fmla="*/ 366154 w 1550769"/>
                  <a:gd name="connsiteY44" fmla="*/ 105890 h 268966"/>
                  <a:gd name="connsiteX45" fmla="*/ 393846 w 1550769"/>
                  <a:gd name="connsiteY45" fmla="*/ 56659 h 268966"/>
                  <a:gd name="connsiteX46" fmla="*/ 403077 w 1550769"/>
                  <a:gd name="connsiteY46" fmla="*/ 53582 h 268966"/>
                  <a:gd name="connsiteX47" fmla="*/ 409230 w 1550769"/>
                  <a:gd name="connsiteY47" fmla="*/ 59736 h 268966"/>
                  <a:gd name="connsiteX48" fmla="*/ 449230 w 1550769"/>
                  <a:gd name="connsiteY48" fmla="*/ 173582 h 268966"/>
                  <a:gd name="connsiteX49" fmla="*/ 467692 w 1550769"/>
                  <a:gd name="connsiteY49" fmla="*/ 112044 h 268966"/>
                  <a:gd name="connsiteX50" fmla="*/ 473846 w 1550769"/>
                  <a:gd name="connsiteY50" fmla="*/ 105890 h 268966"/>
                  <a:gd name="connsiteX51" fmla="*/ 612308 w 1550769"/>
                  <a:gd name="connsiteY51" fmla="*/ 105890 h 268966"/>
                  <a:gd name="connsiteX52" fmla="*/ 661538 w 1550769"/>
                  <a:gd name="connsiteY52" fmla="*/ 4351 h 268966"/>
                  <a:gd name="connsiteX53" fmla="*/ 670769 w 1550769"/>
                  <a:gd name="connsiteY53" fmla="*/ 1274 h 268966"/>
                  <a:gd name="connsiteX54" fmla="*/ 676923 w 1550769"/>
                  <a:gd name="connsiteY54" fmla="*/ 7428 h 268966"/>
                  <a:gd name="connsiteX55" fmla="*/ 707692 w 1550769"/>
                  <a:gd name="connsiteY55" fmla="*/ 222813 h 268966"/>
                  <a:gd name="connsiteX56" fmla="*/ 750769 w 1550769"/>
                  <a:gd name="connsiteY56" fmla="*/ 112044 h 268966"/>
                  <a:gd name="connsiteX57" fmla="*/ 756923 w 1550769"/>
                  <a:gd name="connsiteY57" fmla="*/ 105890 h 268966"/>
                  <a:gd name="connsiteX58" fmla="*/ 830769 w 1550769"/>
                  <a:gd name="connsiteY58" fmla="*/ 105890 h 268966"/>
                  <a:gd name="connsiteX59" fmla="*/ 858461 w 1550769"/>
                  <a:gd name="connsiteY59" fmla="*/ 56659 h 268966"/>
                  <a:gd name="connsiteX60" fmla="*/ 867692 w 1550769"/>
                  <a:gd name="connsiteY60" fmla="*/ 53582 h 268966"/>
                  <a:gd name="connsiteX61" fmla="*/ 873846 w 1550769"/>
                  <a:gd name="connsiteY61" fmla="*/ 59736 h 268966"/>
                  <a:gd name="connsiteX62" fmla="*/ 913846 w 1550769"/>
                  <a:gd name="connsiteY62" fmla="*/ 173582 h 268966"/>
                  <a:gd name="connsiteX63" fmla="*/ 932307 w 1550769"/>
                  <a:gd name="connsiteY63" fmla="*/ 112044 h 268966"/>
                  <a:gd name="connsiteX64" fmla="*/ 938462 w 1550769"/>
                  <a:gd name="connsiteY64" fmla="*/ 105890 h 268966"/>
                  <a:gd name="connsiteX65" fmla="*/ 1086154 w 1550769"/>
                  <a:gd name="connsiteY65" fmla="*/ 105890 h 268966"/>
                  <a:gd name="connsiteX66" fmla="*/ 1135384 w 1550769"/>
                  <a:gd name="connsiteY66" fmla="*/ 4351 h 268966"/>
                  <a:gd name="connsiteX67" fmla="*/ 1144615 w 1550769"/>
                  <a:gd name="connsiteY67" fmla="*/ 1274 h 268966"/>
                  <a:gd name="connsiteX68" fmla="*/ 1150769 w 1550769"/>
                  <a:gd name="connsiteY68" fmla="*/ 7428 h 268966"/>
                  <a:gd name="connsiteX69" fmla="*/ 1181538 w 1550769"/>
                  <a:gd name="connsiteY69" fmla="*/ 222813 h 268966"/>
                  <a:gd name="connsiteX70" fmla="*/ 1224615 w 1550769"/>
                  <a:gd name="connsiteY70" fmla="*/ 112044 h 268966"/>
                  <a:gd name="connsiteX71" fmla="*/ 1230769 w 1550769"/>
                  <a:gd name="connsiteY71" fmla="*/ 105890 h 268966"/>
                  <a:gd name="connsiteX72" fmla="*/ 1304615 w 1550769"/>
                  <a:gd name="connsiteY72" fmla="*/ 105890 h 268966"/>
                  <a:gd name="connsiteX73" fmla="*/ 1332307 w 1550769"/>
                  <a:gd name="connsiteY73" fmla="*/ 56659 h 268966"/>
                  <a:gd name="connsiteX74" fmla="*/ 1341538 w 1550769"/>
                  <a:gd name="connsiteY74" fmla="*/ 53582 h 268966"/>
                  <a:gd name="connsiteX75" fmla="*/ 1347692 w 1550769"/>
                  <a:gd name="connsiteY75" fmla="*/ 59736 h 268966"/>
                  <a:gd name="connsiteX76" fmla="*/ 1387692 w 1550769"/>
                  <a:gd name="connsiteY76" fmla="*/ 173582 h 268966"/>
                  <a:gd name="connsiteX77" fmla="*/ 1406154 w 1550769"/>
                  <a:gd name="connsiteY77" fmla="*/ 112044 h 268966"/>
                  <a:gd name="connsiteX78" fmla="*/ 1412308 w 1550769"/>
                  <a:gd name="connsiteY78" fmla="*/ 105890 h 268966"/>
                  <a:gd name="connsiteX79" fmla="*/ 1541538 w 1550769"/>
                  <a:gd name="connsiteY79" fmla="*/ 105890 h 268966"/>
                  <a:gd name="connsiteX80" fmla="*/ 1550769 w 1550769"/>
                  <a:gd name="connsiteY80" fmla="*/ 115121 h 268966"/>
                  <a:gd name="connsiteX81" fmla="*/ 1541538 w 1550769"/>
                  <a:gd name="connsiteY81" fmla="*/ 124351 h 268966"/>
                  <a:gd name="connsiteX82" fmla="*/ 1418461 w 1550769"/>
                  <a:gd name="connsiteY82" fmla="*/ 124351 h 268966"/>
                  <a:gd name="connsiteX83" fmla="*/ 1393846 w 1550769"/>
                  <a:gd name="connsiteY83" fmla="*/ 201274 h 268966"/>
                  <a:gd name="connsiteX84" fmla="*/ 1387692 w 1550769"/>
                  <a:gd name="connsiteY84" fmla="*/ 207428 h 268966"/>
                  <a:gd name="connsiteX85" fmla="*/ 1378461 w 1550769"/>
                  <a:gd name="connsiteY85" fmla="*/ 201274 h 268966"/>
                  <a:gd name="connsiteX86" fmla="*/ 1335384 w 1550769"/>
                  <a:gd name="connsiteY86" fmla="*/ 81274 h 268966"/>
                  <a:gd name="connsiteX87" fmla="*/ 1313846 w 1550769"/>
                  <a:gd name="connsiteY87" fmla="*/ 118198 h 268966"/>
                  <a:gd name="connsiteX88" fmla="*/ 1307692 w 1550769"/>
                  <a:gd name="connsiteY88" fmla="*/ 121275 h 268966"/>
                  <a:gd name="connsiteX89" fmla="*/ 1233846 w 1550769"/>
                  <a:gd name="connsiteY89" fmla="*/ 121275 h 268966"/>
                  <a:gd name="connsiteX90" fmla="*/ 1181538 w 1550769"/>
                  <a:gd name="connsiteY90" fmla="*/ 256659 h 268966"/>
                  <a:gd name="connsiteX91" fmla="*/ 1178461 w 1550769"/>
                  <a:gd name="connsiteY91" fmla="*/ 268967 h 268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1550769" h="268966">
                    <a:moveTo>
                      <a:pt x="1178461" y="268967"/>
                    </a:moveTo>
                    <a:cubicBezTo>
                      <a:pt x="1175385" y="268967"/>
                      <a:pt x="1175385" y="268967"/>
                      <a:pt x="1178461" y="268967"/>
                    </a:cubicBezTo>
                    <a:cubicBezTo>
                      <a:pt x="1175385" y="268967"/>
                      <a:pt x="1172307" y="265890"/>
                      <a:pt x="1169231" y="262813"/>
                    </a:cubicBezTo>
                    <a:lnTo>
                      <a:pt x="1138462" y="41274"/>
                    </a:lnTo>
                    <a:lnTo>
                      <a:pt x="1098461" y="121275"/>
                    </a:lnTo>
                    <a:cubicBezTo>
                      <a:pt x="1098461" y="124351"/>
                      <a:pt x="1095384" y="124351"/>
                      <a:pt x="1092308" y="124351"/>
                    </a:cubicBezTo>
                    <a:lnTo>
                      <a:pt x="947692" y="124351"/>
                    </a:lnTo>
                    <a:lnTo>
                      <a:pt x="923077" y="201274"/>
                    </a:lnTo>
                    <a:cubicBezTo>
                      <a:pt x="923077" y="204351"/>
                      <a:pt x="920000" y="207428"/>
                      <a:pt x="916923" y="207428"/>
                    </a:cubicBezTo>
                    <a:cubicBezTo>
                      <a:pt x="913846" y="207428"/>
                      <a:pt x="910769" y="204351"/>
                      <a:pt x="907692" y="201274"/>
                    </a:cubicBezTo>
                    <a:lnTo>
                      <a:pt x="864615" y="81274"/>
                    </a:lnTo>
                    <a:lnTo>
                      <a:pt x="843077" y="118198"/>
                    </a:lnTo>
                    <a:cubicBezTo>
                      <a:pt x="843077" y="121275"/>
                      <a:pt x="840000" y="121275"/>
                      <a:pt x="836923" y="121275"/>
                    </a:cubicBezTo>
                    <a:lnTo>
                      <a:pt x="763077" y="121275"/>
                    </a:lnTo>
                    <a:lnTo>
                      <a:pt x="710769" y="256659"/>
                    </a:lnTo>
                    <a:cubicBezTo>
                      <a:pt x="710769" y="259736"/>
                      <a:pt x="704615" y="262813"/>
                      <a:pt x="701538" y="262813"/>
                    </a:cubicBezTo>
                    <a:cubicBezTo>
                      <a:pt x="698461" y="262813"/>
                      <a:pt x="695384" y="259736"/>
                      <a:pt x="695384" y="256659"/>
                    </a:cubicBezTo>
                    <a:lnTo>
                      <a:pt x="664615" y="35121"/>
                    </a:lnTo>
                    <a:lnTo>
                      <a:pt x="624615" y="115121"/>
                    </a:lnTo>
                    <a:cubicBezTo>
                      <a:pt x="624615" y="118198"/>
                      <a:pt x="621538" y="118198"/>
                      <a:pt x="618461" y="118198"/>
                    </a:cubicBezTo>
                    <a:lnTo>
                      <a:pt x="480000" y="118198"/>
                    </a:lnTo>
                    <a:lnTo>
                      <a:pt x="455384" y="195121"/>
                    </a:lnTo>
                    <a:cubicBezTo>
                      <a:pt x="455384" y="198198"/>
                      <a:pt x="452308" y="201274"/>
                      <a:pt x="449230" y="201274"/>
                    </a:cubicBezTo>
                    <a:cubicBezTo>
                      <a:pt x="446154" y="201274"/>
                      <a:pt x="443077" y="198198"/>
                      <a:pt x="440000" y="195121"/>
                    </a:cubicBezTo>
                    <a:lnTo>
                      <a:pt x="396923" y="75121"/>
                    </a:lnTo>
                    <a:lnTo>
                      <a:pt x="375385" y="112044"/>
                    </a:lnTo>
                    <a:cubicBezTo>
                      <a:pt x="375385" y="115121"/>
                      <a:pt x="372307" y="115121"/>
                      <a:pt x="369231" y="115121"/>
                    </a:cubicBezTo>
                    <a:lnTo>
                      <a:pt x="295384" y="115121"/>
                    </a:lnTo>
                    <a:lnTo>
                      <a:pt x="243077" y="262813"/>
                    </a:lnTo>
                    <a:cubicBezTo>
                      <a:pt x="243077" y="265890"/>
                      <a:pt x="236923" y="268967"/>
                      <a:pt x="233846" y="268967"/>
                    </a:cubicBezTo>
                    <a:cubicBezTo>
                      <a:pt x="230769" y="268967"/>
                      <a:pt x="227692" y="265890"/>
                      <a:pt x="227692" y="262813"/>
                    </a:cubicBezTo>
                    <a:lnTo>
                      <a:pt x="196923" y="41274"/>
                    </a:lnTo>
                    <a:lnTo>
                      <a:pt x="156923" y="121275"/>
                    </a:lnTo>
                    <a:cubicBezTo>
                      <a:pt x="156923" y="124351"/>
                      <a:pt x="153846" y="124351"/>
                      <a:pt x="150769" y="124351"/>
                    </a:cubicBezTo>
                    <a:lnTo>
                      <a:pt x="9230" y="124351"/>
                    </a:lnTo>
                    <a:cubicBezTo>
                      <a:pt x="6154" y="124351"/>
                      <a:pt x="0" y="121275"/>
                      <a:pt x="0" y="115121"/>
                    </a:cubicBezTo>
                    <a:cubicBezTo>
                      <a:pt x="0" y="112044"/>
                      <a:pt x="3077" y="105890"/>
                      <a:pt x="9230" y="105890"/>
                    </a:cubicBezTo>
                    <a:lnTo>
                      <a:pt x="147692" y="105890"/>
                    </a:lnTo>
                    <a:lnTo>
                      <a:pt x="196923" y="4351"/>
                    </a:lnTo>
                    <a:cubicBezTo>
                      <a:pt x="196923" y="1274"/>
                      <a:pt x="203077" y="-1802"/>
                      <a:pt x="206154" y="1274"/>
                    </a:cubicBezTo>
                    <a:cubicBezTo>
                      <a:pt x="209230" y="1274"/>
                      <a:pt x="212308" y="4351"/>
                      <a:pt x="212308" y="7428"/>
                    </a:cubicBezTo>
                    <a:lnTo>
                      <a:pt x="243077" y="222813"/>
                    </a:lnTo>
                    <a:lnTo>
                      <a:pt x="286153" y="112044"/>
                    </a:lnTo>
                    <a:cubicBezTo>
                      <a:pt x="286153" y="108967"/>
                      <a:pt x="289231" y="105890"/>
                      <a:pt x="292308" y="105890"/>
                    </a:cubicBezTo>
                    <a:lnTo>
                      <a:pt x="366154" y="105890"/>
                    </a:lnTo>
                    <a:lnTo>
                      <a:pt x="393846" y="56659"/>
                    </a:lnTo>
                    <a:cubicBezTo>
                      <a:pt x="396923" y="53582"/>
                      <a:pt x="396923" y="53582"/>
                      <a:pt x="403077" y="53582"/>
                    </a:cubicBezTo>
                    <a:cubicBezTo>
                      <a:pt x="406154" y="53582"/>
                      <a:pt x="409230" y="56659"/>
                      <a:pt x="409230" y="59736"/>
                    </a:cubicBezTo>
                    <a:lnTo>
                      <a:pt x="449230" y="173582"/>
                    </a:lnTo>
                    <a:lnTo>
                      <a:pt x="467692" y="112044"/>
                    </a:lnTo>
                    <a:cubicBezTo>
                      <a:pt x="467692" y="108967"/>
                      <a:pt x="470769" y="105890"/>
                      <a:pt x="473846" y="105890"/>
                    </a:cubicBezTo>
                    <a:lnTo>
                      <a:pt x="612308" y="105890"/>
                    </a:lnTo>
                    <a:lnTo>
                      <a:pt x="661538" y="4351"/>
                    </a:lnTo>
                    <a:cubicBezTo>
                      <a:pt x="661538" y="1274"/>
                      <a:pt x="667692" y="-1802"/>
                      <a:pt x="670769" y="1274"/>
                    </a:cubicBezTo>
                    <a:cubicBezTo>
                      <a:pt x="673846" y="1274"/>
                      <a:pt x="676923" y="4351"/>
                      <a:pt x="676923" y="7428"/>
                    </a:cubicBezTo>
                    <a:lnTo>
                      <a:pt x="707692" y="222813"/>
                    </a:lnTo>
                    <a:lnTo>
                      <a:pt x="750769" y="112044"/>
                    </a:lnTo>
                    <a:cubicBezTo>
                      <a:pt x="750769" y="108967"/>
                      <a:pt x="753846" y="105890"/>
                      <a:pt x="756923" y="105890"/>
                    </a:cubicBezTo>
                    <a:lnTo>
                      <a:pt x="830769" y="105890"/>
                    </a:lnTo>
                    <a:lnTo>
                      <a:pt x="858461" y="56659"/>
                    </a:lnTo>
                    <a:cubicBezTo>
                      <a:pt x="861538" y="53582"/>
                      <a:pt x="861538" y="53582"/>
                      <a:pt x="867692" y="53582"/>
                    </a:cubicBezTo>
                    <a:cubicBezTo>
                      <a:pt x="870769" y="53582"/>
                      <a:pt x="873846" y="56659"/>
                      <a:pt x="873846" y="59736"/>
                    </a:cubicBezTo>
                    <a:lnTo>
                      <a:pt x="913846" y="173582"/>
                    </a:lnTo>
                    <a:lnTo>
                      <a:pt x="932307" y="112044"/>
                    </a:lnTo>
                    <a:cubicBezTo>
                      <a:pt x="932307" y="108967"/>
                      <a:pt x="935384" y="105890"/>
                      <a:pt x="938462" y="105890"/>
                    </a:cubicBezTo>
                    <a:lnTo>
                      <a:pt x="1086154" y="105890"/>
                    </a:lnTo>
                    <a:lnTo>
                      <a:pt x="1135384" y="4351"/>
                    </a:lnTo>
                    <a:cubicBezTo>
                      <a:pt x="1135384" y="1274"/>
                      <a:pt x="1141538" y="-1802"/>
                      <a:pt x="1144615" y="1274"/>
                    </a:cubicBezTo>
                    <a:cubicBezTo>
                      <a:pt x="1147692" y="1274"/>
                      <a:pt x="1150769" y="4351"/>
                      <a:pt x="1150769" y="7428"/>
                    </a:cubicBezTo>
                    <a:lnTo>
                      <a:pt x="1181538" y="222813"/>
                    </a:lnTo>
                    <a:lnTo>
                      <a:pt x="1224615" y="112044"/>
                    </a:lnTo>
                    <a:cubicBezTo>
                      <a:pt x="1224615" y="108967"/>
                      <a:pt x="1227692" y="105890"/>
                      <a:pt x="1230769" y="105890"/>
                    </a:cubicBezTo>
                    <a:lnTo>
                      <a:pt x="1304615" y="105890"/>
                    </a:lnTo>
                    <a:lnTo>
                      <a:pt x="1332307" y="56659"/>
                    </a:lnTo>
                    <a:cubicBezTo>
                      <a:pt x="1335384" y="53582"/>
                      <a:pt x="1335384" y="53582"/>
                      <a:pt x="1341538" y="53582"/>
                    </a:cubicBezTo>
                    <a:cubicBezTo>
                      <a:pt x="1344615" y="53582"/>
                      <a:pt x="1347692" y="56659"/>
                      <a:pt x="1347692" y="59736"/>
                    </a:cubicBezTo>
                    <a:lnTo>
                      <a:pt x="1387692" y="173582"/>
                    </a:lnTo>
                    <a:lnTo>
                      <a:pt x="1406154" y="112044"/>
                    </a:lnTo>
                    <a:cubicBezTo>
                      <a:pt x="1406154" y="108967"/>
                      <a:pt x="1409230" y="105890"/>
                      <a:pt x="1412308" y="105890"/>
                    </a:cubicBezTo>
                    <a:lnTo>
                      <a:pt x="1541538" y="105890"/>
                    </a:lnTo>
                    <a:cubicBezTo>
                      <a:pt x="1544615" y="105890"/>
                      <a:pt x="1550769" y="108967"/>
                      <a:pt x="1550769" y="115121"/>
                    </a:cubicBezTo>
                    <a:cubicBezTo>
                      <a:pt x="1550769" y="118198"/>
                      <a:pt x="1547692" y="124351"/>
                      <a:pt x="1541538" y="124351"/>
                    </a:cubicBezTo>
                    <a:lnTo>
                      <a:pt x="1418461" y="124351"/>
                    </a:lnTo>
                    <a:lnTo>
                      <a:pt x="1393846" y="201274"/>
                    </a:lnTo>
                    <a:cubicBezTo>
                      <a:pt x="1393846" y="204351"/>
                      <a:pt x="1390769" y="207428"/>
                      <a:pt x="1387692" y="207428"/>
                    </a:cubicBezTo>
                    <a:cubicBezTo>
                      <a:pt x="1384615" y="207428"/>
                      <a:pt x="1381538" y="204351"/>
                      <a:pt x="1378461" y="201274"/>
                    </a:cubicBezTo>
                    <a:lnTo>
                      <a:pt x="1335384" y="81274"/>
                    </a:lnTo>
                    <a:lnTo>
                      <a:pt x="1313846" y="118198"/>
                    </a:lnTo>
                    <a:cubicBezTo>
                      <a:pt x="1313846" y="121275"/>
                      <a:pt x="1310769" y="121275"/>
                      <a:pt x="1307692" y="121275"/>
                    </a:cubicBezTo>
                    <a:lnTo>
                      <a:pt x="1233846" y="121275"/>
                    </a:lnTo>
                    <a:lnTo>
                      <a:pt x="1181538" y="256659"/>
                    </a:lnTo>
                    <a:cubicBezTo>
                      <a:pt x="1184615" y="265890"/>
                      <a:pt x="1181538" y="268967"/>
                      <a:pt x="1178461" y="268967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1" name="任意多边形: 形状 750">
                <a:extLst>
                  <a:ext uri="{FF2B5EF4-FFF2-40B4-BE49-F238E27FC236}">
                    <a16:creationId xmlns:a16="http://schemas.microsoft.com/office/drawing/2014/main" id="{2B02C643-3EE1-406D-9FB8-ABBA410F2ACF}"/>
                  </a:ext>
                </a:extLst>
              </p:cNvPr>
              <p:cNvSpPr/>
              <p:nvPr/>
            </p:nvSpPr>
            <p:spPr>
              <a:xfrm>
                <a:off x="9694666" y="2889048"/>
                <a:ext cx="456591" cy="12307"/>
              </a:xfrm>
              <a:custGeom>
                <a:avLst/>
                <a:gdLst>
                  <a:gd name="connsiteX0" fmla="*/ 449231 w 456591"/>
                  <a:gd name="connsiteY0" fmla="*/ 12308 h 12307"/>
                  <a:gd name="connsiteX1" fmla="*/ 6154 w 456591"/>
                  <a:gd name="connsiteY1" fmla="*/ 12308 h 12307"/>
                  <a:gd name="connsiteX2" fmla="*/ 0 w 456591"/>
                  <a:gd name="connsiteY2" fmla="*/ 6154 h 12307"/>
                  <a:gd name="connsiteX3" fmla="*/ 6154 w 456591"/>
                  <a:gd name="connsiteY3" fmla="*/ 0 h 12307"/>
                  <a:gd name="connsiteX4" fmla="*/ 449231 w 456591"/>
                  <a:gd name="connsiteY4" fmla="*/ 0 h 12307"/>
                  <a:gd name="connsiteX5" fmla="*/ 455385 w 456591"/>
                  <a:gd name="connsiteY5" fmla="*/ 6154 h 12307"/>
                  <a:gd name="connsiteX6" fmla="*/ 449231 w 456591"/>
                  <a:gd name="connsiteY6" fmla="*/ 12308 h 1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6591" h="12307">
                    <a:moveTo>
                      <a:pt x="449231" y="12308"/>
                    </a:moveTo>
                    <a:lnTo>
                      <a:pt x="6154" y="12308"/>
                    </a:lnTo>
                    <a:cubicBezTo>
                      <a:pt x="3077" y="12308"/>
                      <a:pt x="0" y="9231"/>
                      <a:pt x="0" y="6154"/>
                    </a:cubicBezTo>
                    <a:cubicBezTo>
                      <a:pt x="0" y="3077"/>
                      <a:pt x="3077" y="0"/>
                      <a:pt x="6154" y="0"/>
                    </a:cubicBezTo>
                    <a:lnTo>
                      <a:pt x="449231" y="0"/>
                    </a:lnTo>
                    <a:cubicBezTo>
                      <a:pt x="452308" y="0"/>
                      <a:pt x="455385" y="3077"/>
                      <a:pt x="455385" y="6154"/>
                    </a:cubicBezTo>
                    <a:cubicBezTo>
                      <a:pt x="458462" y="9231"/>
                      <a:pt x="455385" y="12308"/>
                      <a:pt x="449231" y="12308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2" name="任意多边形: 形状 751">
                <a:extLst>
                  <a:ext uri="{FF2B5EF4-FFF2-40B4-BE49-F238E27FC236}">
                    <a16:creationId xmlns:a16="http://schemas.microsoft.com/office/drawing/2014/main" id="{0F210B2C-4145-4E0A-A088-FEF4E92BC5C9}"/>
                  </a:ext>
                </a:extLst>
              </p:cNvPr>
              <p:cNvSpPr/>
              <p:nvPr/>
            </p:nvSpPr>
            <p:spPr>
              <a:xfrm>
                <a:off x="8922358" y="2889048"/>
                <a:ext cx="676923" cy="12307"/>
              </a:xfrm>
              <a:custGeom>
                <a:avLst/>
                <a:gdLst>
                  <a:gd name="connsiteX0" fmla="*/ 670769 w 676923"/>
                  <a:gd name="connsiteY0" fmla="*/ 12308 h 12307"/>
                  <a:gd name="connsiteX1" fmla="*/ 6154 w 676923"/>
                  <a:gd name="connsiteY1" fmla="*/ 12308 h 12307"/>
                  <a:gd name="connsiteX2" fmla="*/ 0 w 676923"/>
                  <a:gd name="connsiteY2" fmla="*/ 6154 h 12307"/>
                  <a:gd name="connsiteX3" fmla="*/ 6154 w 676923"/>
                  <a:gd name="connsiteY3" fmla="*/ 0 h 12307"/>
                  <a:gd name="connsiteX4" fmla="*/ 670769 w 676923"/>
                  <a:gd name="connsiteY4" fmla="*/ 0 h 12307"/>
                  <a:gd name="connsiteX5" fmla="*/ 676923 w 676923"/>
                  <a:gd name="connsiteY5" fmla="*/ 6154 h 12307"/>
                  <a:gd name="connsiteX6" fmla="*/ 670769 w 676923"/>
                  <a:gd name="connsiteY6" fmla="*/ 12308 h 1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6923" h="12307">
                    <a:moveTo>
                      <a:pt x="670769" y="12308"/>
                    </a:moveTo>
                    <a:lnTo>
                      <a:pt x="6154" y="12308"/>
                    </a:lnTo>
                    <a:cubicBezTo>
                      <a:pt x="3077" y="12308"/>
                      <a:pt x="0" y="9231"/>
                      <a:pt x="0" y="6154"/>
                    </a:cubicBezTo>
                    <a:cubicBezTo>
                      <a:pt x="0" y="3077"/>
                      <a:pt x="3077" y="0"/>
                      <a:pt x="6154" y="0"/>
                    </a:cubicBezTo>
                    <a:lnTo>
                      <a:pt x="670769" y="0"/>
                    </a:lnTo>
                    <a:cubicBezTo>
                      <a:pt x="673846" y="0"/>
                      <a:pt x="676923" y="3077"/>
                      <a:pt x="676923" y="6154"/>
                    </a:cubicBezTo>
                    <a:cubicBezTo>
                      <a:pt x="676923" y="9231"/>
                      <a:pt x="673846" y="12308"/>
                      <a:pt x="670769" y="12308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3" name="任意多边形: 形状 752">
                <a:extLst>
                  <a:ext uri="{FF2B5EF4-FFF2-40B4-BE49-F238E27FC236}">
                    <a16:creationId xmlns:a16="http://schemas.microsoft.com/office/drawing/2014/main" id="{A466BB55-42A9-4D46-AEB7-9380F5676597}"/>
                  </a:ext>
                </a:extLst>
              </p:cNvPr>
              <p:cNvSpPr/>
              <p:nvPr/>
            </p:nvSpPr>
            <p:spPr>
              <a:xfrm>
                <a:off x="8586973" y="2889048"/>
                <a:ext cx="267692" cy="12307"/>
              </a:xfrm>
              <a:custGeom>
                <a:avLst/>
                <a:gdLst>
                  <a:gd name="connsiteX0" fmla="*/ 261538 w 267692"/>
                  <a:gd name="connsiteY0" fmla="*/ 12308 h 12307"/>
                  <a:gd name="connsiteX1" fmla="*/ 6154 w 267692"/>
                  <a:gd name="connsiteY1" fmla="*/ 12308 h 12307"/>
                  <a:gd name="connsiteX2" fmla="*/ 0 w 267692"/>
                  <a:gd name="connsiteY2" fmla="*/ 6154 h 12307"/>
                  <a:gd name="connsiteX3" fmla="*/ 6154 w 267692"/>
                  <a:gd name="connsiteY3" fmla="*/ 0 h 12307"/>
                  <a:gd name="connsiteX4" fmla="*/ 261538 w 267692"/>
                  <a:gd name="connsiteY4" fmla="*/ 0 h 12307"/>
                  <a:gd name="connsiteX5" fmla="*/ 267693 w 267692"/>
                  <a:gd name="connsiteY5" fmla="*/ 6154 h 12307"/>
                  <a:gd name="connsiteX6" fmla="*/ 261538 w 267692"/>
                  <a:gd name="connsiteY6" fmla="*/ 12308 h 1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7692" h="12307">
                    <a:moveTo>
                      <a:pt x="261538" y="12308"/>
                    </a:moveTo>
                    <a:lnTo>
                      <a:pt x="6154" y="12308"/>
                    </a:lnTo>
                    <a:cubicBezTo>
                      <a:pt x="3077" y="12308"/>
                      <a:pt x="0" y="9231"/>
                      <a:pt x="0" y="6154"/>
                    </a:cubicBezTo>
                    <a:cubicBezTo>
                      <a:pt x="0" y="3077"/>
                      <a:pt x="3077" y="0"/>
                      <a:pt x="6154" y="0"/>
                    </a:cubicBezTo>
                    <a:lnTo>
                      <a:pt x="261538" y="0"/>
                    </a:lnTo>
                    <a:cubicBezTo>
                      <a:pt x="264616" y="0"/>
                      <a:pt x="267693" y="3077"/>
                      <a:pt x="267693" y="6154"/>
                    </a:cubicBezTo>
                    <a:cubicBezTo>
                      <a:pt x="267693" y="9231"/>
                      <a:pt x="264616" y="12308"/>
                      <a:pt x="261538" y="12308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4" name="任意多边形: 形状 753">
                <a:extLst>
                  <a:ext uri="{FF2B5EF4-FFF2-40B4-BE49-F238E27FC236}">
                    <a16:creationId xmlns:a16="http://schemas.microsoft.com/office/drawing/2014/main" id="{E65DC6E3-A077-4DEB-A79D-BC93B2E908E7}"/>
                  </a:ext>
                </a:extLst>
              </p:cNvPr>
              <p:cNvSpPr/>
              <p:nvPr/>
            </p:nvSpPr>
            <p:spPr>
              <a:xfrm>
                <a:off x="9531589" y="2981356"/>
                <a:ext cx="618461" cy="12307"/>
              </a:xfrm>
              <a:custGeom>
                <a:avLst/>
                <a:gdLst>
                  <a:gd name="connsiteX0" fmla="*/ 612308 w 618461"/>
                  <a:gd name="connsiteY0" fmla="*/ 12308 h 12307"/>
                  <a:gd name="connsiteX1" fmla="*/ 6154 w 618461"/>
                  <a:gd name="connsiteY1" fmla="*/ 12308 h 12307"/>
                  <a:gd name="connsiteX2" fmla="*/ 0 w 618461"/>
                  <a:gd name="connsiteY2" fmla="*/ 6154 h 12307"/>
                  <a:gd name="connsiteX3" fmla="*/ 6154 w 618461"/>
                  <a:gd name="connsiteY3" fmla="*/ 0 h 12307"/>
                  <a:gd name="connsiteX4" fmla="*/ 612308 w 618461"/>
                  <a:gd name="connsiteY4" fmla="*/ 0 h 12307"/>
                  <a:gd name="connsiteX5" fmla="*/ 618461 w 618461"/>
                  <a:gd name="connsiteY5" fmla="*/ 6154 h 12307"/>
                  <a:gd name="connsiteX6" fmla="*/ 612308 w 618461"/>
                  <a:gd name="connsiteY6" fmla="*/ 12308 h 1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18461" h="12307">
                    <a:moveTo>
                      <a:pt x="612308" y="12308"/>
                    </a:moveTo>
                    <a:lnTo>
                      <a:pt x="6154" y="12308"/>
                    </a:lnTo>
                    <a:cubicBezTo>
                      <a:pt x="3077" y="12308"/>
                      <a:pt x="0" y="9231"/>
                      <a:pt x="0" y="6154"/>
                    </a:cubicBezTo>
                    <a:cubicBezTo>
                      <a:pt x="0" y="3077"/>
                      <a:pt x="3077" y="0"/>
                      <a:pt x="6154" y="0"/>
                    </a:cubicBezTo>
                    <a:lnTo>
                      <a:pt x="612308" y="0"/>
                    </a:lnTo>
                    <a:cubicBezTo>
                      <a:pt x="615385" y="0"/>
                      <a:pt x="618461" y="3077"/>
                      <a:pt x="618461" y="6154"/>
                    </a:cubicBezTo>
                    <a:cubicBezTo>
                      <a:pt x="618461" y="9231"/>
                      <a:pt x="618461" y="12308"/>
                      <a:pt x="612308" y="12308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5" name="任意多边形: 形状 754">
                <a:extLst>
                  <a:ext uri="{FF2B5EF4-FFF2-40B4-BE49-F238E27FC236}">
                    <a16:creationId xmlns:a16="http://schemas.microsoft.com/office/drawing/2014/main" id="{0FB293B1-287F-4A70-B4E1-38575D681D68}"/>
                  </a:ext>
                </a:extLst>
              </p:cNvPr>
              <p:cNvSpPr/>
              <p:nvPr/>
            </p:nvSpPr>
            <p:spPr>
              <a:xfrm>
                <a:off x="8971589" y="2981356"/>
                <a:ext cx="421538" cy="12307"/>
              </a:xfrm>
              <a:custGeom>
                <a:avLst/>
                <a:gdLst>
                  <a:gd name="connsiteX0" fmla="*/ 415385 w 421538"/>
                  <a:gd name="connsiteY0" fmla="*/ 12308 h 12307"/>
                  <a:gd name="connsiteX1" fmla="*/ 6154 w 421538"/>
                  <a:gd name="connsiteY1" fmla="*/ 12308 h 12307"/>
                  <a:gd name="connsiteX2" fmla="*/ 0 w 421538"/>
                  <a:gd name="connsiteY2" fmla="*/ 6154 h 12307"/>
                  <a:gd name="connsiteX3" fmla="*/ 6154 w 421538"/>
                  <a:gd name="connsiteY3" fmla="*/ 0 h 12307"/>
                  <a:gd name="connsiteX4" fmla="*/ 415385 w 421538"/>
                  <a:gd name="connsiteY4" fmla="*/ 0 h 12307"/>
                  <a:gd name="connsiteX5" fmla="*/ 421539 w 421538"/>
                  <a:gd name="connsiteY5" fmla="*/ 6154 h 12307"/>
                  <a:gd name="connsiteX6" fmla="*/ 415385 w 421538"/>
                  <a:gd name="connsiteY6" fmla="*/ 12308 h 1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1538" h="12307">
                    <a:moveTo>
                      <a:pt x="415385" y="12308"/>
                    </a:moveTo>
                    <a:lnTo>
                      <a:pt x="6154" y="12308"/>
                    </a:lnTo>
                    <a:cubicBezTo>
                      <a:pt x="3077" y="12308"/>
                      <a:pt x="0" y="9231"/>
                      <a:pt x="0" y="6154"/>
                    </a:cubicBezTo>
                    <a:cubicBezTo>
                      <a:pt x="0" y="3077"/>
                      <a:pt x="3077" y="0"/>
                      <a:pt x="6154" y="0"/>
                    </a:cubicBezTo>
                    <a:lnTo>
                      <a:pt x="415385" y="0"/>
                    </a:lnTo>
                    <a:cubicBezTo>
                      <a:pt x="418462" y="0"/>
                      <a:pt x="421539" y="3077"/>
                      <a:pt x="421539" y="6154"/>
                    </a:cubicBezTo>
                    <a:cubicBezTo>
                      <a:pt x="421539" y="9231"/>
                      <a:pt x="418462" y="12308"/>
                      <a:pt x="415385" y="12308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6" name="任意多边形: 形状 755">
                <a:extLst>
                  <a:ext uri="{FF2B5EF4-FFF2-40B4-BE49-F238E27FC236}">
                    <a16:creationId xmlns:a16="http://schemas.microsoft.com/office/drawing/2014/main" id="{976EAE66-B2E2-4980-952E-1EA1E2F6B013}"/>
                  </a:ext>
                </a:extLst>
              </p:cNvPr>
              <p:cNvSpPr/>
              <p:nvPr/>
            </p:nvSpPr>
            <p:spPr>
              <a:xfrm>
                <a:off x="8586973" y="2981356"/>
                <a:ext cx="313846" cy="12307"/>
              </a:xfrm>
              <a:custGeom>
                <a:avLst/>
                <a:gdLst>
                  <a:gd name="connsiteX0" fmla="*/ 307692 w 313846"/>
                  <a:gd name="connsiteY0" fmla="*/ 12308 h 12307"/>
                  <a:gd name="connsiteX1" fmla="*/ 6154 w 313846"/>
                  <a:gd name="connsiteY1" fmla="*/ 12308 h 12307"/>
                  <a:gd name="connsiteX2" fmla="*/ 0 w 313846"/>
                  <a:gd name="connsiteY2" fmla="*/ 6154 h 12307"/>
                  <a:gd name="connsiteX3" fmla="*/ 6154 w 313846"/>
                  <a:gd name="connsiteY3" fmla="*/ 0 h 12307"/>
                  <a:gd name="connsiteX4" fmla="*/ 307692 w 313846"/>
                  <a:gd name="connsiteY4" fmla="*/ 0 h 12307"/>
                  <a:gd name="connsiteX5" fmla="*/ 313847 w 313846"/>
                  <a:gd name="connsiteY5" fmla="*/ 6154 h 12307"/>
                  <a:gd name="connsiteX6" fmla="*/ 307692 w 313846"/>
                  <a:gd name="connsiteY6" fmla="*/ 12308 h 1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846" h="12307">
                    <a:moveTo>
                      <a:pt x="307692" y="12308"/>
                    </a:moveTo>
                    <a:lnTo>
                      <a:pt x="6154" y="12308"/>
                    </a:lnTo>
                    <a:cubicBezTo>
                      <a:pt x="3077" y="12308"/>
                      <a:pt x="0" y="9231"/>
                      <a:pt x="0" y="6154"/>
                    </a:cubicBezTo>
                    <a:cubicBezTo>
                      <a:pt x="0" y="3077"/>
                      <a:pt x="3077" y="0"/>
                      <a:pt x="6154" y="0"/>
                    </a:cubicBezTo>
                    <a:lnTo>
                      <a:pt x="307692" y="0"/>
                    </a:lnTo>
                    <a:cubicBezTo>
                      <a:pt x="310769" y="0"/>
                      <a:pt x="313847" y="3077"/>
                      <a:pt x="313847" y="6154"/>
                    </a:cubicBezTo>
                    <a:cubicBezTo>
                      <a:pt x="313847" y="9231"/>
                      <a:pt x="310769" y="12308"/>
                      <a:pt x="307692" y="12308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757" name="图形 1">
                <a:extLst>
                  <a:ext uri="{FF2B5EF4-FFF2-40B4-BE49-F238E27FC236}">
                    <a16:creationId xmlns:a16="http://schemas.microsoft.com/office/drawing/2014/main" id="{AEC0499B-714B-4CC0-9B71-89E1A71F612F}"/>
                  </a:ext>
                </a:extLst>
              </p:cNvPr>
              <p:cNvGrpSpPr/>
              <p:nvPr/>
            </p:nvGrpSpPr>
            <p:grpSpPr>
              <a:xfrm>
                <a:off x="10294666" y="3165971"/>
                <a:ext cx="618461" cy="104615"/>
                <a:chOff x="10294666" y="3165971"/>
                <a:chExt cx="618461" cy="104615"/>
              </a:xfrm>
              <a:solidFill>
                <a:srgbClr val="6C5D68"/>
              </a:solidFill>
            </p:grpSpPr>
            <p:sp>
              <p:nvSpPr>
                <p:cNvPr id="758" name="任意多边形: 形状 757">
                  <a:extLst>
                    <a:ext uri="{FF2B5EF4-FFF2-40B4-BE49-F238E27FC236}">
                      <a16:creationId xmlns:a16="http://schemas.microsoft.com/office/drawing/2014/main" id="{466108E2-B528-44A7-AD0E-98FA81F13581}"/>
                    </a:ext>
                  </a:extLst>
                </p:cNvPr>
                <p:cNvSpPr/>
                <p:nvPr/>
              </p:nvSpPr>
              <p:spPr>
                <a:xfrm>
                  <a:off x="10550051" y="3165971"/>
                  <a:ext cx="363076" cy="12307"/>
                </a:xfrm>
                <a:custGeom>
                  <a:avLst/>
                  <a:gdLst>
                    <a:gd name="connsiteX0" fmla="*/ 356922 w 363076"/>
                    <a:gd name="connsiteY0" fmla="*/ 12308 h 12307"/>
                    <a:gd name="connsiteX1" fmla="*/ 6153 w 363076"/>
                    <a:gd name="connsiteY1" fmla="*/ 12308 h 12307"/>
                    <a:gd name="connsiteX2" fmla="*/ 0 w 363076"/>
                    <a:gd name="connsiteY2" fmla="*/ 6154 h 12307"/>
                    <a:gd name="connsiteX3" fmla="*/ 6153 w 363076"/>
                    <a:gd name="connsiteY3" fmla="*/ 0 h 12307"/>
                    <a:gd name="connsiteX4" fmla="*/ 356922 w 363076"/>
                    <a:gd name="connsiteY4" fmla="*/ 0 h 12307"/>
                    <a:gd name="connsiteX5" fmla="*/ 363077 w 363076"/>
                    <a:gd name="connsiteY5" fmla="*/ 6154 h 12307"/>
                    <a:gd name="connsiteX6" fmla="*/ 356922 w 363076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3076" h="12307">
                      <a:moveTo>
                        <a:pt x="356922" y="12308"/>
                      </a:moveTo>
                      <a:lnTo>
                        <a:pt x="6153" y="12308"/>
                      </a:lnTo>
                      <a:cubicBezTo>
                        <a:pt x="3076" y="12308"/>
                        <a:pt x="0" y="9231"/>
                        <a:pt x="0" y="6154"/>
                      </a:cubicBezTo>
                      <a:cubicBezTo>
                        <a:pt x="0" y="3077"/>
                        <a:pt x="3076" y="0"/>
                        <a:pt x="6153" y="0"/>
                      </a:cubicBezTo>
                      <a:lnTo>
                        <a:pt x="356922" y="0"/>
                      </a:lnTo>
                      <a:cubicBezTo>
                        <a:pt x="359999" y="0"/>
                        <a:pt x="363077" y="3077"/>
                        <a:pt x="363077" y="6154"/>
                      </a:cubicBezTo>
                      <a:cubicBezTo>
                        <a:pt x="363077" y="9231"/>
                        <a:pt x="359999" y="12308"/>
                        <a:pt x="356922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9" name="任意多边形: 形状 758">
                  <a:extLst>
                    <a:ext uri="{FF2B5EF4-FFF2-40B4-BE49-F238E27FC236}">
                      <a16:creationId xmlns:a16="http://schemas.microsoft.com/office/drawing/2014/main" id="{09DB42D8-123C-425D-BE01-9640F24543AA}"/>
                    </a:ext>
                  </a:extLst>
                </p:cNvPr>
                <p:cNvSpPr/>
                <p:nvPr/>
              </p:nvSpPr>
              <p:spPr>
                <a:xfrm>
                  <a:off x="10294666" y="3165971"/>
                  <a:ext cx="206154" cy="12307"/>
                </a:xfrm>
                <a:custGeom>
                  <a:avLst/>
                  <a:gdLst>
                    <a:gd name="connsiteX0" fmla="*/ 200000 w 206154"/>
                    <a:gd name="connsiteY0" fmla="*/ 12308 h 12307"/>
                    <a:gd name="connsiteX1" fmla="*/ 6154 w 206154"/>
                    <a:gd name="connsiteY1" fmla="*/ 12308 h 12307"/>
                    <a:gd name="connsiteX2" fmla="*/ 0 w 206154"/>
                    <a:gd name="connsiteY2" fmla="*/ 6154 h 12307"/>
                    <a:gd name="connsiteX3" fmla="*/ 6154 w 206154"/>
                    <a:gd name="connsiteY3" fmla="*/ 0 h 12307"/>
                    <a:gd name="connsiteX4" fmla="*/ 200000 w 206154"/>
                    <a:gd name="connsiteY4" fmla="*/ 0 h 12307"/>
                    <a:gd name="connsiteX5" fmla="*/ 206154 w 206154"/>
                    <a:gd name="connsiteY5" fmla="*/ 6154 h 12307"/>
                    <a:gd name="connsiteX6" fmla="*/ 200000 w 206154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6154" h="12307">
                      <a:moveTo>
                        <a:pt x="200000" y="12308"/>
                      </a:moveTo>
                      <a:lnTo>
                        <a:pt x="6154" y="12308"/>
                      </a:ln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200000" y="0"/>
                      </a:lnTo>
                      <a:cubicBezTo>
                        <a:pt x="203077" y="0"/>
                        <a:pt x="206154" y="3077"/>
                        <a:pt x="206154" y="6154"/>
                      </a:cubicBezTo>
                      <a:cubicBezTo>
                        <a:pt x="206154" y="9231"/>
                        <a:pt x="203077" y="12308"/>
                        <a:pt x="200000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0" name="任意多边形: 形状 759">
                  <a:extLst>
                    <a:ext uri="{FF2B5EF4-FFF2-40B4-BE49-F238E27FC236}">
                      <a16:creationId xmlns:a16="http://schemas.microsoft.com/office/drawing/2014/main" id="{2E204E39-E240-47D1-B5B0-47ED5C0ACAFC}"/>
                    </a:ext>
                  </a:extLst>
                </p:cNvPr>
                <p:cNvSpPr/>
                <p:nvPr/>
              </p:nvSpPr>
              <p:spPr>
                <a:xfrm>
                  <a:off x="10586973" y="3258279"/>
                  <a:ext cx="326154" cy="12307"/>
                </a:xfrm>
                <a:custGeom>
                  <a:avLst/>
                  <a:gdLst>
                    <a:gd name="connsiteX0" fmla="*/ 320000 w 326154"/>
                    <a:gd name="connsiteY0" fmla="*/ 12308 h 12307"/>
                    <a:gd name="connsiteX1" fmla="*/ 6154 w 326154"/>
                    <a:gd name="connsiteY1" fmla="*/ 12308 h 12307"/>
                    <a:gd name="connsiteX2" fmla="*/ 0 w 326154"/>
                    <a:gd name="connsiteY2" fmla="*/ 6154 h 12307"/>
                    <a:gd name="connsiteX3" fmla="*/ 6154 w 326154"/>
                    <a:gd name="connsiteY3" fmla="*/ 0 h 12307"/>
                    <a:gd name="connsiteX4" fmla="*/ 320000 w 326154"/>
                    <a:gd name="connsiteY4" fmla="*/ 0 h 12307"/>
                    <a:gd name="connsiteX5" fmla="*/ 326154 w 326154"/>
                    <a:gd name="connsiteY5" fmla="*/ 6154 h 12307"/>
                    <a:gd name="connsiteX6" fmla="*/ 320000 w 326154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6154" h="12307">
                      <a:moveTo>
                        <a:pt x="320000" y="12308"/>
                      </a:moveTo>
                      <a:lnTo>
                        <a:pt x="6154" y="12308"/>
                      </a:ln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320000" y="0"/>
                      </a:lnTo>
                      <a:cubicBezTo>
                        <a:pt x="323077" y="0"/>
                        <a:pt x="326154" y="3077"/>
                        <a:pt x="326154" y="6154"/>
                      </a:cubicBezTo>
                      <a:cubicBezTo>
                        <a:pt x="326154" y="9231"/>
                        <a:pt x="323077" y="12308"/>
                        <a:pt x="320000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1" name="任意多边形: 形状 760">
                  <a:extLst>
                    <a:ext uri="{FF2B5EF4-FFF2-40B4-BE49-F238E27FC236}">
                      <a16:creationId xmlns:a16="http://schemas.microsoft.com/office/drawing/2014/main" id="{42912A27-A2B1-400C-BF61-248AE847BAFA}"/>
                    </a:ext>
                  </a:extLst>
                </p:cNvPr>
                <p:cNvSpPr/>
                <p:nvPr/>
              </p:nvSpPr>
              <p:spPr>
                <a:xfrm>
                  <a:off x="10294666" y="3258279"/>
                  <a:ext cx="243076" cy="12307"/>
                </a:xfrm>
                <a:custGeom>
                  <a:avLst/>
                  <a:gdLst>
                    <a:gd name="connsiteX0" fmla="*/ 236923 w 243076"/>
                    <a:gd name="connsiteY0" fmla="*/ 12308 h 12307"/>
                    <a:gd name="connsiteX1" fmla="*/ 6154 w 243076"/>
                    <a:gd name="connsiteY1" fmla="*/ 12308 h 12307"/>
                    <a:gd name="connsiteX2" fmla="*/ 0 w 243076"/>
                    <a:gd name="connsiteY2" fmla="*/ 6154 h 12307"/>
                    <a:gd name="connsiteX3" fmla="*/ 6154 w 243076"/>
                    <a:gd name="connsiteY3" fmla="*/ 0 h 12307"/>
                    <a:gd name="connsiteX4" fmla="*/ 236923 w 243076"/>
                    <a:gd name="connsiteY4" fmla="*/ 0 h 12307"/>
                    <a:gd name="connsiteX5" fmla="*/ 243077 w 243076"/>
                    <a:gd name="connsiteY5" fmla="*/ 6154 h 12307"/>
                    <a:gd name="connsiteX6" fmla="*/ 236923 w 243076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43076" h="12307">
                      <a:moveTo>
                        <a:pt x="236923" y="12308"/>
                      </a:moveTo>
                      <a:lnTo>
                        <a:pt x="6154" y="12308"/>
                      </a:ln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236923" y="0"/>
                      </a:lnTo>
                      <a:cubicBezTo>
                        <a:pt x="240001" y="0"/>
                        <a:pt x="243077" y="3077"/>
                        <a:pt x="243077" y="6154"/>
                      </a:cubicBezTo>
                      <a:cubicBezTo>
                        <a:pt x="243077" y="9231"/>
                        <a:pt x="240001" y="12308"/>
                        <a:pt x="236923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762" name="图形 1">
                <a:extLst>
                  <a:ext uri="{FF2B5EF4-FFF2-40B4-BE49-F238E27FC236}">
                    <a16:creationId xmlns:a16="http://schemas.microsoft.com/office/drawing/2014/main" id="{AEC0499B-714B-4CC0-9B71-89E1A71F612F}"/>
                  </a:ext>
                </a:extLst>
              </p:cNvPr>
              <p:cNvGrpSpPr/>
              <p:nvPr/>
            </p:nvGrpSpPr>
            <p:grpSpPr>
              <a:xfrm>
                <a:off x="10294666" y="3356741"/>
                <a:ext cx="618461" cy="104615"/>
                <a:chOff x="10294666" y="3356741"/>
                <a:chExt cx="618461" cy="104615"/>
              </a:xfrm>
              <a:solidFill>
                <a:srgbClr val="6C5D68"/>
              </a:solidFill>
            </p:grpSpPr>
            <p:sp>
              <p:nvSpPr>
                <p:cNvPr id="763" name="任意多边形: 形状 762">
                  <a:extLst>
                    <a:ext uri="{FF2B5EF4-FFF2-40B4-BE49-F238E27FC236}">
                      <a16:creationId xmlns:a16="http://schemas.microsoft.com/office/drawing/2014/main" id="{02A93344-2AF7-49BD-B952-833B48C10F16}"/>
                    </a:ext>
                  </a:extLst>
                </p:cNvPr>
                <p:cNvSpPr/>
                <p:nvPr/>
              </p:nvSpPr>
              <p:spPr>
                <a:xfrm>
                  <a:off x="10771589" y="3356741"/>
                  <a:ext cx="141538" cy="12307"/>
                </a:xfrm>
                <a:custGeom>
                  <a:avLst/>
                  <a:gdLst>
                    <a:gd name="connsiteX0" fmla="*/ 135384 w 141538"/>
                    <a:gd name="connsiteY0" fmla="*/ 12308 h 12307"/>
                    <a:gd name="connsiteX1" fmla="*/ 6154 w 141538"/>
                    <a:gd name="connsiteY1" fmla="*/ 12308 h 12307"/>
                    <a:gd name="connsiteX2" fmla="*/ 0 w 141538"/>
                    <a:gd name="connsiteY2" fmla="*/ 6154 h 12307"/>
                    <a:gd name="connsiteX3" fmla="*/ 6154 w 141538"/>
                    <a:gd name="connsiteY3" fmla="*/ 0 h 12307"/>
                    <a:gd name="connsiteX4" fmla="*/ 135384 w 141538"/>
                    <a:gd name="connsiteY4" fmla="*/ 0 h 12307"/>
                    <a:gd name="connsiteX5" fmla="*/ 141539 w 141538"/>
                    <a:gd name="connsiteY5" fmla="*/ 6154 h 12307"/>
                    <a:gd name="connsiteX6" fmla="*/ 135384 w 141538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1538" h="12307">
                      <a:moveTo>
                        <a:pt x="135384" y="12308"/>
                      </a:moveTo>
                      <a:lnTo>
                        <a:pt x="6154" y="12308"/>
                      </a:ln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135384" y="0"/>
                      </a:lnTo>
                      <a:cubicBezTo>
                        <a:pt x="138462" y="0"/>
                        <a:pt x="141539" y="3077"/>
                        <a:pt x="141539" y="6154"/>
                      </a:cubicBezTo>
                      <a:cubicBezTo>
                        <a:pt x="141539" y="9231"/>
                        <a:pt x="138462" y="12308"/>
                        <a:pt x="135384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4" name="任意多边形: 形状 763">
                  <a:extLst>
                    <a:ext uri="{FF2B5EF4-FFF2-40B4-BE49-F238E27FC236}">
                      <a16:creationId xmlns:a16="http://schemas.microsoft.com/office/drawing/2014/main" id="{9CCFC37C-9E18-4180-9A71-E9A18EE0C202}"/>
                    </a:ext>
                  </a:extLst>
                </p:cNvPr>
                <p:cNvSpPr/>
                <p:nvPr/>
              </p:nvSpPr>
              <p:spPr>
                <a:xfrm>
                  <a:off x="10294666" y="3356741"/>
                  <a:ext cx="406154" cy="12307"/>
                </a:xfrm>
                <a:custGeom>
                  <a:avLst/>
                  <a:gdLst>
                    <a:gd name="connsiteX0" fmla="*/ 400000 w 406154"/>
                    <a:gd name="connsiteY0" fmla="*/ 12308 h 12307"/>
                    <a:gd name="connsiteX1" fmla="*/ 6154 w 406154"/>
                    <a:gd name="connsiteY1" fmla="*/ 12308 h 12307"/>
                    <a:gd name="connsiteX2" fmla="*/ 0 w 406154"/>
                    <a:gd name="connsiteY2" fmla="*/ 6154 h 12307"/>
                    <a:gd name="connsiteX3" fmla="*/ 6154 w 406154"/>
                    <a:gd name="connsiteY3" fmla="*/ 0 h 12307"/>
                    <a:gd name="connsiteX4" fmla="*/ 400000 w 406154"/>
                    <a:gd name="connsiteY4" fmla="*/ 0 h 12307"/>
                    <a:gd name="connsiteX5" fmla="*/ 406154 w 406154"/>
                    <a:gd name="connsiteY5" fmla="*/ 6154 h 12307"/>
                    <a:gd name="connsiteX6" fmla="*/ 400000 w 406154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06154" h="12307">
                      <a:moveTo>
                        <a:pt x="400000" y="12308"/>
                      </a:moveTo>
                      <a:lnTo>
                        <a:pt x="6154" y="12308"/>
                      </a:ln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400000" y="0"/>
                      </a:lnTo>
                      <a:cubicBezTo>
                        <a:pt x="403077" y="0"/>
                        <a:pt x="406154" y="3077"/>
                        <a:pt x="406154" y="6154"/>
                      </a:cubicBezTo>
                      <a:cubicBezTo>
                        <a:pt x="406154" y="9231"/>
                        <a:pt x="403077" y="12308"/>
                        <a:pt x="400000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5" name="任意多边形: 形状 764">
                  <a:extLst>
                    <a:ext uri="{FF2B5EF4-FFF2-40B4-BE49-F238E27FC236}">
                      <a16:creationId xmlns:a16="http://schemas.microsoft.com/office/drawing/2014/main" id="{904B5DF1-57C1-46D7-8525-7F0A0E9186B3}"/>
                    </a:ext>
                  </a:extLst>
                </p:cNvPr>
                <p:cNvSpPr/>
                <p:nvPr/>
              </p:nvSpPr>
              <p:spPr>
                <a:xfrm>
                  <a:off x="10586973" y="3449048"/>
                  <a:ext cx="326154" cy="12307"/>
                </a:xfrm>
                <a:custGeom>
                  <a:avLst/>
                  <a:gdLst>
                    <a:gd name="connsiteX0" fmla="*/ 320000 w 326154"/>
                    <a:gd name="connsiteY0" fmla="*/ 12308 h 12307"/>
                    <a:gd name="connsiteX1" fmla="*/ 6154 w 326154"/>
                    <a:gd name="connsiteY1" fmla="*/ 12308 h 12307"/>
                    <a:gd name="connsiteX2" fmla="*/ 0 w 326154"/>
                    <a:gd name="connsiteY2" fmla="*/ 6154 h 12307"/>
                    <a:gd name="connsiteX3" fmla="*/ 6154 w 326154"/>
                    <a:gd name="connsiteY3" fmla="*/ 0 h 12307"/>
                    <a:gd name="connsiteX4" fmla="*/ 320000 w 326154"/>
                    <a:gd name="connsiteY4" fmla="*/ 0 h 12307"/>
                    <a:gd name="connsiteX5" fmla="*/ 326154 w 326154"/>
                    <a:gd name="connsiteY5" fmla="*/ 6154 h 12307"/>
                    <a:gd name="connsiteX6" fmla="*/ 320000 w 326154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6154" h="12307">
                      <a:moveTo>
                        <a:pt x="320000" y="12308"/>
                      </a:moveTo>
                      <a:lnTo>
                        <a:pt x="6154" y="12308"/>
                      </a:ln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320000" y="0"/>
                      </a:lnTo>
                      <a:cubicBezTo>
                        <a:pt x="323077" y="0"/>
                        <a:pt x="326154" y="3077"/>
                        <a:pt x="326154" y="6154"/>
                      </a:cubicBezTo>
                      <a:cubicBezTo>
                        <a:pt x="326154" y="9231"/>
                        <a:pt x="323077" y="12308"/>
                        <a:pt x="320000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6" name="任意多边形: 形状 765">
                  <a:extLst>
                    <a:ext uri="{FF2B5EF4-FFF2-40B4-BE49-F238E27FC236}">
                      <a16:creationId xmlns:a16="http://schemas.microsoft.com/office/drawing/2014/main" id="{CDEC07C9-E4B9-485B-A7CE-EAC829815911}"/>
                    </a:ext>
                  </a:extLst>
                </p:cNvPr>
                <p:cNvSpPr/>
                <p:nvPr/>
              </p:nvSpPr>
              <p:spPr>
                <a:xfrm>
                  <a:off x="10294666" y="3449048"/>
                  <a:ext cx="243076" cy="12307"/>
                </a:xfrm>
                <a:custGeom>
                  <a:avLst/>
                  <a:gdLst>
                    <a:gd name="connsiteX0" fmla="*/ 236923 w 243076"/>
                    <a:gd name="connsiteY0" fmla="*/ 12308 h 12307"/>
                    <a:gd name="connsiteX1" fmla="*/ 6154 w 243076"/>
                    <a:gd name="connsiteY1" fmla="*/ 12308 h 12307"/>
                    <a:gd name="connsiteX2" fmla="*/ 0 w 243076"/>
                    <a:gd name="connsiteY2" fmla="*/ 6154 h 12307"/>
                    <a:gd name="connsiteX3" fmla="*/ 6154 w 243076"/>
                    <a:gd name="connsiteY3" fmla="*/ 0 h 12307"/>
                    <a:gd name="connsiteX4" fmla="*/ 236923 w 243076"/>
                    <a:gd name="connsiteY4" fmla="*/ 0 h 12307"/>
                    <a:gd name="connsiteX5" fmla="*/ 243077 w 243076"/>
                    <a:gd name="connsiteY5" fmla="*/ 6154 h 12307"/>
                    <a:gd name="connsiteX6" fmla="*/ 236923 w 243076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43076" h="12307">
                      <a:moveTo>
                        <a:pt x="236923" y="12308"/>
                      </a:moveTo>
                      <a:lnTo>
                        <a:pt x="6154" y="12308"/>
                      </a:ln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236923" y="0"/>
                      </a:lnTo>
                      <a:cubicBezTo>
                        <a:pt x="240001" y="0"/>
                        <a:pt x="243077" y="3077"/>
                        <a:pt x="243077" y="6154"/>
                      </a:cubicBezTo>
                      <a:cubicBezTo>
                        <a:pt x="243077" y="9231"/>
                        <a:pt x="240001" y="12308"/>
                        <a:pt x="236923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767" name="图形 1">
                <a:extLst>
                  <a:ext uri="{FF2B5EF4-FFF2-40B4-BE49-F238E27FC236}">
                    <a16:creationId xmlns:a16="http://schemas.microsoft.com/office/drawing/2014/main" id="{AEC0499B-714B-4CC0-9B71-89E1A71F612F}"/>
                  </a:ext>
                </a:extLst>
              </p:cNvPr>
              <p:cNvGrpSpPr/>
              <p:nvPr/>
            </p:nvGrpSpPr>
            <p:grpSpPr>
              <a:xfrm>
                <a:off x="10294666" y="3544433"/>
                <a:ext cx="618461" cy="104615"/>
                <a:chOff x="10294666" y="3544433"/>
                <a:chExt cx="618461" cy="104615"/>
              </a:xfrm>
              <a:solidFill>
                <a:srgbClr val="6C5D68"/>
              </a:solidFill>
            </p:grpSpPr>
            <p:sp>
              <p:nvSpPr>
                <p:cNvPr id="768" name="任意多边形: 形状 767">
                  <a:extLst>
                    <a:ext uri="{FF2B5EF4-FFF2-40B4-BE49-F238E27FC236}">
                      <a16:creationId xmlns:a16="http://schemas.microsoft.com/office/drawing/2014/main" id="{8D6BB92D-68F4-4BA4-9A9F-9DAF60023E97}"/>
                    </a:ext>
                  </a:extLst>
                </p:cNvPr>
                <p:cNvSpPr/>
                <p:nvPr/>
              </p:nvSpPr>
              <p:spPr>
                <a:xfrm>
                  <a:off x="10725435" y="3544433"/>
                  <a:ext cx="187692" cy="12307"/>
                </a:xfrm>
                <a:custGeom>
                  <a:avLst/>
                  <a:gdLst>
                    <a:gd name="connsiteX0" fmla="*/ 181538 w 187692"/>
                    <a:gd name="connsiteY0" fmla="*/ 12308 h 12307"/>
                    <a:gd name="connsiteX1" fmla="*/ 6154 w 187692"/>
                    <a:gd name="connsiteY1" fmla="*/ 12308 h 12307"/>
                    <a:gd name="connsiteX2" fmla="*/ 0 w 187692"/>
                    <a:gd name="connsiteY2" fmla="*/ 6154 h 12307"/>
                    <a:gd name="connsiteX3" fmla="*/ 6154 w 187692"/>
                    <a:gd name="connsiteY3" fmla="*/ 0 h 12307"/>
                    <a:gd name="connsiteX4" fmla="*/ 181538 w 187692"/>
                    <a:gd name="connsiteY4" fmla="*/ 0 h 12307"/>
                    <a:gd name="connsiteX5" fmla="*/ 187693 w 187692"/>
                    <a:gd name="connsiteY5" fmla="*/ 6154 h 12307"/>
                    <a:gd name="connsiteX6" fmla="*/ 181538 w 187692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7692" h="12307">
                      <a:moveTo>
                        <a:pt x="181538" y="12308"/>
                      </a:moveTo>
                      <a:lnTo>
                        <a:pt x="6154" y="12308"/>
                      </a:ln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181538" y="0"/>
                      </a:lnTo>
                      <a:cubicBezTo>
                        <a:pt x="184615" y="0"/>
                        <a:pt x="187693" y="3077"/>
                        <a:pt x="187693" y="6154"/>
                      </a:cubicBezTo>
                      <a:cubicBezTo>
                        <a:pt x="187693" y="9231"/>
                        <a:pt x="184615" y="12308"/>
                        <a:pt x="181538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9" name="任意多边形: 形状 768">
                  <a:extLst>
                    <a:ext uri="{FF2B5EF4-FFF2-40B4-BE49-F238E27FC236}">
                      <a16:creationId xmlns:a16="http://schemas.microsoft.com/office/drawing/2014/main" id="{0B60DE42-6013-4582-B8BD-767EF3F684B5}"/>
                    </a:ext>
                  </a:extLst>
                </p:cNvPr>
                <p:cNvSpPr/>
                <p:nvPr/>
              </p:nvSpPr>
              <p:spPr>
                <a:xfrm>
                  <a:off x="10294666" y="3544433"/>
                  <a:ext cx="350769" cy="12307"/>
                </a:xfrm>
                <a:custGeom>
                  <a:avLst/>
                  <a:gdLst>
                    <a:gd name="connsiteX0" fmla="*/ 344616 w 350769"/>
                    <a:gd name="connsiteY0" fmla="*/ 12308 h 12307"/>
                    <a:gd name="connsiteX1" fmla="*/ 6154 w 350769"/>
                    <a:gd name="connsiteY1" fmla="*/ 12308 h 12307"/>
                    <a:gd name="connsiteX2" fmla="*/ 0 w 350769"/>
                    <a:gd name="connsiteY2" fmla="*/ 6154 h 12307"/>
                    <a:gd name="connsiteX3" fmla="*/ 6154 w 350769"/>
                    <a:gd name="connsiteY3" fmla="*/ 0 h 12307"/>
                    <a:gd name="connsiteX4" fmla="*/ 344616 w 350769"/>
                    <a:gd name="connsiteY4" fmla="*/ 0 h 12307"/>
                    <a:gd name="connsiteX5" fmla="*/ 350769 w 350769"/>
                    <a:gd name="connsiteY5" fmla="*/ 6154 h 12307"/>
                    <a:gd name="connsiteX6" fmla="*/ 344616 w 350769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769" h="12307">
                      <a:moveTo>
                        <a:pt x="344616" y="12308"/>
                      </a:moveTo>
                      <a:lnTo>
                        <a:pt x="6154" y="12308"/>
                      </a:ln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344616" y="0"/>
                      </a:lnTo>
                      <a:cubicBezTo>
                        <a:pt x="347693" y="0"/>
                        <a:pt x="350769" y="3077"/>
                        <a:pt x="350769" y="6154"/>
                      </a:cubicBezTo>
                      <a:cubicBezTo>
                        <a:pt x="350769" y="9231"/>
                        <a:pt x="347693" y="12308"/>
                        <a:pt x="344616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0" name="任意多边形: 形状 769">
                  <a:extLst>
                    <a:ext uri="{FF2B5EF4-FFF2-40B4-BE49-F238E27FC236}">
                      <a16:creationId xmlns:a16="http://schemas.microsoft.com/office/drawing/2014/main" id="{F3E389C9-CEA3-4A08-A3AE-64931867C3FF}"/>
                    </a:ext>
                  </a:extLst>
                </p:cNvPr>
                <p:cNvSpPr/>
                <p:nvPr/>
              </p:nvSpPr>
              <p:spPr>
                <a:xfrm>
                  <a:off x="10586973" y="3636741"/>
                  <a:ext cx="326154" cy="12307"/>
                </a:xfrm>
                <a:custGeom>
                  <a:avLst/>
                  <a:gdLst>
                    <a:gd name="connsiteX0" fmla="*/ 320000 w 326154"/>
                    <a:gd name="connsiteY0" fmla="*/ 12308 h 12307"/>
                    <a:gd name="connsiteX1" fmla="*/ 6154 w 326154"/>
                    <a:gd name="connsiteY1" fmla="*/ 12308 h 12307"/>
                    <a:gd name="connsiteX2" fmla="*/ 0 w 326154"/>
                    <a:gd name="connsiteY2" fmla="*/ 6154 h 12307"/>
                    <a:gd name="connsiteX3" fmla="*/ 6154 w 326154"/>
                    <a:gd name="connsiteY3" fmla="*/ 0 h 12307"/>
                    <a:gd name="connsiteX4" fmla="*/ 320000 w 326154"/>
                    <a:gd name="connsiteY4" fmla="*/ 0 h 12307"/>
                    <a:gd name="connsiteX5" fmla="*/ 326154 w 326154"/>
                    <a:gd name="connsiteY5" fmla="*/ 6154 h 12307"/>
                    <a:gd name="connsiteX6" fmla="*/ 320000 w 326154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6154" h="12307">
                      <a:moveTo>
                        <a:pt x="320000" y="12308"/>
                      </a:moveTo>
                      <a:lnTo>
                        <a:pt x="6154" y="12308"/>
                      </a:ln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320000" y="0"/>
                      </a:lnTo>
                      <a:cubicBezTo>
                        <a:pt x="323077" y="0"/>
                        <a:pt x="326154" y="3077"/>
                        <a:pt x="326154" y="6154"/>
                      </a:cubicBezTo>
                      <a:cubicBezTo>
                        <a:pt x="326154" y="9231"/>
                        <a:pt x="323077" y="12308"/>
                        <a:pt x="320000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1" name="任意多边形: 形状 770">
                  <a:extLst>
                    <a:ext uri="{FF2B5EF4-FFF2-40B4-BE49-F238E27FC236}">
                      <a16:creationId xmlns:a16="http://schemas.microsoft.com/office/drawing/2014/main" id="{C5CE1F94-681D-4606-99F7-68B3E9940721}"/>
                    </a:ext>
                  </a:extLst>
                </p:cNvPr>
                <p:cNvSpPr/>
                <p:nvPr/>
              </p:nvSpPr>
              <p:spPr>
                <a:xfrm>
                  <a:off x="10294666" y="3636741"/>
                  <a:ext cx="243076" cy="12307"/>
                </a:xfrm>
                <a:custGeom>
                  <a:avLst/>
                  <a:gdLst>
                    <a:gd name="connsiteX0" fmla="*/ 236923 w 243076"/>
                    <a:gd name="connsiteY0" fmla="*/ 12308 h 12307"/>
                    <a:gd name="connsiteX1" fmla="*/ 6154 w 243076"/>
                    <a:gd name="connsiteY1" fmla="*/ 12308 h 12307"/>
                    <a:gd name="connsiteX2" fmla="*/ 0 w 243076"/>
                    <a:gd name="connsiteY2" fmla="*/ 6154 h 12307"/>
                    <a:gd name="connsiteX3" fmla="*/ 6154 w 243076"/>
                    <a:gd name="connsiteY3" fmla="*/ 0 h 12307"/>
                    <a:gd name="connsiteX4" fmla="*/ 236923 w 243076"/>
                    <a:gd name="connsiteY4" fmla="*/ 0 h 12307"/>
                    <a:gd name="connsiteX5" fmla="*/ 243077 w 243076"/>
                    <a:gd name="connsiteY5" fmla="*/ 6154 h 12307"/>
                    <a:gd name="connsiteX6" fmla="*/ 236923 w 243076"/>
                    <a:gd name="connsiteY6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43076" h="12307">
                      <a:moveTo>
                        <a:pt x="236923" y="12308"/>
                      </a:moveTo>
                      <a:lnTo>
                        <a:pt x="6154" y="12308"/>
                      </a:ln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236923" y="0"/>
                      </a:lnTo>
                      <a:cubicBezTo>
                        <a:pt x="240001" y="0"/>
                        <a:pt x="243077" y="3077"/>
                        <a:pt x="243077" y="6154"/>
                      </a:cubicBezTo>
                      <a:cubicBezTo>
                        <a:pt x="243077" y="9231"/>
                        <a:pt x="240001" y="12308"/>
                        <a:pt x="236923" y="1230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72" name="任意多边形: 形状 771">
                <a:extLst>
                  <a:ext uri="{FF2B5EF4-FFF2-40B4-BE49-F238E27FC236}">
                    <a16:creationId xmlns:a16="http://schemas.microsoft.com/office/drawing/2014/main" id="{57A93C0E-A2BB-45C3-81AF-EB7848B7BA42}"/>
                  </a:ext>
                </a:extLst>
              </p:cNvPr>
              <p:cNvSpPr/>
              <p:nvPr/>
            </p:nvSpPr>
            <p:spPr>
              <a:xfrm>
                <a:off x="10323684" y="2893451"/>
                <a:ext cx="204486" cy="158674"/>
              </a:xfrm>
              <a:custGeom>
                <a:avLst/>
                <a:gdLst>
                  <a:gd name="connsiteX0" fmla="*/ 177136 w 204486"/>
                  <a:gd name="connsiteY0" fmla="*/ 4828 h 158674"/>
                  <a:gd name="connsiteX1" fmla="*/ 106366 w 204486"/>
                  <a:gd name="connsiteY1" fmla="*/ 29444 h 158674"/>
                  <a:gd name="connsiteX2" fmla="*/ 103290 w 204486"/>
                  <a:gd name="connsiteY2" fmla="*/ 35598 h 158674"/>
                  <a:gd name="connsiteX3" fmla="*/ 100213 w 204486"/>
                  <a:gd name="connsiteY3" fmla="*/ 29444 h 158674"/>
                  <a:gd name="connsiteX4" fmla="*/ 29443 w 204486"/>
                  <a:gd name="connsiteY4" fmla="*/ 4828 h 158674"/>
                  <a:gd name="connsiteX5" fmla="*/ 4828 w 204486"/>
                  <a:gd name="connsiteY5" fmla="*/ 75598 h 158674"/>
                  <a:gd name="connsiteX6" fmla="*/ 100213 w 204486"/>
                  <a:gd name="connsiteY6" fmla="*/ 158675 h 158674"/>
                  <a:gd name="connsiteX7" fmla="*/ 195598 w 204486"/>
                  <a:gd name="connsiteY7" fmla="*/ 75598 h 158674"/>
                  <a:gd name="connsiteX8" fmla="*/ 177136 w 204486"/>
                  <a:gd name="connsiteY8" fmla="*/ 4828 h 15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4486" h="158674">
                    <a:moveTo>
                      <a:pt x="177136" y="4828"/>
                    </a:moveTo>
                    <a:cubicBezTo>
                      <a:pt x="152520" y="-7479"/>
                      <a:pt x="118675" y="4828"/>
                      <a:pt x="106366" y="29444"/>
                    </a:cubicBezTo>
                    <a:cubicBezTo>
                      <a:pt x="106366" y="32521"/>
                      <a:pt x="103290" y="32521"/>
                      <a:pt x="103290" y="35598"/>
                    </a:cubicBezTo>
                    <a:cubicBezTo>
                      <a:pt x="103290" y="32521"/>
                      <a:pt x="103290" y="29444"/>
                      <a:pt x="100213" y="29444"/>
                    </a:cubicBezTo>
                    <a:cubicBezTo>
                      <a:pt x="87906" y="4828"/>
                      <a:pt x="57136" y="-7479"/>
                      <a:pt x="29443" y="4828"/>
                    </a:cubicBezTo>
                    <a:cubicBezTo>
                      <a:pt x="4828" y="17136"/>
                      <a:pt x="-7479" y="47905"/>
                      <a:pt x="4828" y="75598"/>
                    </a:cubicBezTo>
                    <a:cubicBezTo>
                      <a:pt x="17136" y="100213"/>
                      <a:pt x="100213" y="158675"/>
                      <a:pt x="100213" y="158675"/>
                    </a:cubicBezTo>
                    <a:cubicBezTo>
                      <a:pt x="100213" y="158675"/>
                      <a:pt x="186367" y="100213"/>
                      <a:pt x="195598" y="75598"/>
                    </a:cubicBezTo>
                    <a:cubicBezTo>
                      <a:pt x="214059" y="47905"/>
                      <a:pt x="201751" y="17136"/>
                      <a:pt x="177136" y="4828"/>
                    </a:cubicBezTo>
                    <a:close/>
                  </a:path>
                </a:pathLst>
              </a:custGeom>
              <a:solidFill>
                <a:srgbClr val="DC6C66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3" name="任意多边形: 形状 772">
                <a:extLst>
                  <a:ext uri="{FF2B5EF4-FFF2-40B4-BE49-F238E27FC236}">
                    <a16:creationId xmlns:a16="http://schemas.microsoft.com/office/drawing/2014/main" id="{E20F988A-1D8A-4DFE-9FD4-5A789213C7D3}"/>
                  </a:ext>
                </a:extLst>
              </p:cNvPr>
              <p:cNvSpPr/>
              <p:nvPr/>
            </p:nvSpPr>
            <p:spPr>
              <a:xfrm>
                <a:off x="10634453" y="2893451"/>
                <a:ext cx="205201" cy="158674"/>
              </a:xfrm>
              <a:custGeom>
                <a:avLst/>
                <a:gdLst>
                  <a:gd name="connsiteX0" fmla="*/ 177136 w 205201"/>
                  <a:gd name="connsiteY0" fmla="*/ 4828 h 158674"/>
                  <a:gd name="connsiteX1" fmla="*/ 106366 w 205201"/>
                  <a:gd name="connsiteY1" fmla="*/ 29444 h 158674"/>
                  <a:gd name="connsiteX2" fmla="*/ 103289 w 205201"/>
                  <a:gd name="connsiteY2" fmla="*/ 35598 h 158674"/>
                  <a:gd name="connsiteX3" fmla="*/ 100213 w 205201"/>
                  <a:gd name="connsiteY3" fmla="*/ 29444 h 158674"/>
                  <a:gd name="connsiteX4" fmla="*/ 29443 w 205201"/>
                  <a:gd name="connsiteY4" fmla="*/ 4828 h 158674"/>
                  <a:gd name="connsiteX5" fmla="*/ 4828 w 205201"/>
                  <a:gd name="connsiteY5" fmla="*/ 75598 h 158674"/>
                  <a:gd name="connsiteX6" fmla="*/ 100213 w 205201"/>
                  <a:gd name="connsiteY6" fmla="*/ 158675 h 158674"/>
                  <a:gd name="connsiteX7" fmla="*/ 195597 w 205201"/>
                  <a:gd name="connsiteY7" fmla="*/ 75598 h 158674"/>
                  <a:gd name="connsiteX8" fmla="*/ 177136 w 205201"/>
                  <a:gd name="connsiteY8" fmla="*/ 4828 h 15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5201" h="158674">
                    <a:moveTo>
                      <a:pt x="177136" y="4828"/>
                    </a:moveTo>
                    <a:cubicBezTo>
                      <a:pt x="152520" y="-7479"/>
                      <a:pt x="118674" y="4828"/>
                      <a:pt x="106366" y="29444"/>
                    </a:cubicBezTo>
                    <a:cubicBezTo>
                      <a:pt x="106366" y="32521"/>
                      <a:pt x="103289" y="32521"/>
                      <a:pt x="103289" y="35598"/>
                    </a:cubicBezTo>
                    <a:cubicBezTo>
                      <a:pt x="103289" y="32521"/>
                      <a:pt x="103289" y="29444"/>
                      <a:pt x="100213" y="29444"/>
                    </a:cubicBezTo>
                    <a:cubicBezTo>
                      <a:pt x="87905" y="4828"/>
                      <a:pt x="57135" y="-7479"/>
                      <a:pt x="29443" y="4828"/>
                    </a:cubicBezTo>
                    <a:cubicBezTo>
                      <a:pt x="4828" y="17136"/>
                      <a:pt x="-7479" y="47905"/>
                      <a:pt x="4828" y="75598"/>
                    </a:cubicBezTo>
                    <a:cubicBezTo>
                      <a:pt x="17136" y="100213"/>
                      <a:pt x="100213" y="158675"/>
                      <a:pt x="100213" y="158675"/>
                    </a:cubicBezTo>
                    <a:cubicBezTo>
                      <a:pt x="100213" y="158675"/>
                      <a:pt x="186367" y="100213"/>
                      <a:pt x="195597" y="75598"/>
                    </a:cubicBezTo>
                    <a:cubicBezTo>
                      <a:pt x="214059" y="47905"/>
                      <a:pt x="204828" y="17136"/>
                      <a:pt x="177136" y="4828"/>
                    </a:cubicBezTo>
                    <a:close/>
                  </a:path>
                </a:pathLst>
              </a:custGeom>
              <a:solidFill>
                <a:srgbClr val="DC6C66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74" name="任意多边形: 形状 773">
              <a:extLst>
                <a:ext uri="{FF2B5EF4-FFF2-40B4-BE49-F238E27FC236}">
                  <a16:creationId xmlns:a16="http://schemas.microsoft.com/office/drawing/2014/main" id="{3FFEF442-F948-42A2-BCFC-D77199F4BF11}"/>
                </a:ext>
              </a:extLst>
            </p:cNvPr>
            <p:cNvSpPr/>
            <p:nvPr/>
          </p:nvSpPr>
          <p:spPr>
            <a:xfrm>
              <a:off x="7346974" y="5005971"/>
              <a:ext cx="1043076" cy="763077"/>
            </a:xfrm>
            <a:custGeom>
              <a:avLst/>
              <a:gdLst>
                <a:gd name="connsiteX0" fmla="*/ 0 w 1043076"/>
                <a:gd name="connsiteY0" fmla="*/ 763077 h 763077"/>
                <a:gd name="connsiteX1" fmla="*/ 1043077 w 1043076"/>
                <a:gd name="connsiteY1" fmla="*/ 723077 h 763077"/>
                <a:gd name="connsiteX2" fmla="*/ 969231 w 1043076"/>
                <a:gd name="connsiteY2" fmla="*/ 166154 h 763077"/>
                <a:gd name="connsiteX3" fmla="*/ 120000 w 1043076"/>
                <a:gd name="connsiteY3" fmla="*/ 0 h 76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3076" h="763077">
                  <a:moveTo>
                    <a:pt x="0" y="763077"/>
                  </a:moveTo>
                  <a:lnTo>
                    <a:pt x="1043077" y="723077"/>
                  </a:lnTo>
                  <a:lnTo>
                    <a:pt x="969231" y="166154"/>
                  </a:lnTo>
                  <a:lnTo>
                    <a:pt x="120000" y="0"/>
                  </a:ln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5" name="任意多边形: 形状 774">
              <a:extLst>
                <a:ext uri="{FF2B5EF4-FFF2-40B4-BE49-F238E27FC236}">
                  <a16:creationId xmlns:a16="http://schemas.microsoft.com/office/drawing/2014/main" id="{159E66FF-D2F0-427D-931B-836E1E7EAF0F}"/>
                </a:ext>
              </a:extLst>
            </p:cNvPr>
            <p:cNvSpPr/>
            <p:nvPr/>
          </p:nvSpPr>
          <p:spPr>
            <a:xfrm>
              <a:off x="7534659" y="3162894"/>
              <a:ext cx="249237" cy="369230"/>
            </a:xfrm>
            <a:custGeom>
              <a:avLst/>
              <a:gdLst>
                <a:gd name="connsiteX0" fmla="*/ 7 w 249237"/>
                <a:gd name="connsiteY0" fmla="*/ 0 h 369230"/>
                <a:gd name="connsiteX1" fmla="*/ 123084 w 249237"/>
                <a:gd name="connsiteY1" fmla="*/ 363077 h 369230"/>
                <a:gd name="connsiteX2" fmla="*/ 203084 w 249237"/>
                <a:gd name="connsiteY2" fmla="*/ 369231 h 369230"/>
                <a:gd name="connsiteX3" fmla="*/ 249238 w 249237"/>
                <a:gd name="connsiteY3" fmla="*/ 252308 h 369230"/>
                <a:gd name="connsiteX4" fmla="*/ 156930 w 249237"/>
                <a:gd name="connsiteY4" fmla="*/ 113846 h 369230"/>
                <a:gd name="connsiteX5" fmla="*/ 7 w 249237"/>
                <a:gd name="connsiteY5" fmla="*/ 0 h 36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237" h="369230">
                  <a:moveTo>
                    <a:pt x="7" y="0"/>
                  </a:moveTo>
                  <a:cubicBezTo>
                    <a:pt x="7" y="0"/>
                    <a:pt x="-3070" y="184615"/>
                    <a:pt x="123084" y="363077"/>
                  </a:cubicBezTo>
                  <a:lnTo>
                    <a:pt x="203084" y="369231"/>
                  </a:lnTo>
                  <a:lnTo>
                    <a:pt x="249238" y="252308"/>
                  </a:lnTo>
                  <a:lnTo>
                    <a:pt x="156930" y="113846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76" name="图形 1">
              <a:extLst>
                <a:ext uri="{FF2B5EF4-FFF2-40B4-BE49-F238E27FC236}">
                  <a16:creationId xmlns:a16="http://schemas.microsoft.com/office/drawing/2014/main" id="{AEC0499B-714B-4CC0-9B71-89E1A71F612F}"/>
                </a:ext>
              </a:extLst>
            </p:cNvPr>
            <p:cNvGrpSpPr/>
            <p:nvPr/>
          </p:nvGrpSpPr>
          <p:grpSpPr>
            <a:xfrm>
              <a:off x="7579832" y="6981356"/>
              <a:ext cx="367910" cy="401274"/>
              <a:chOff x="7579832" y="6981356"/>
              <a:chExt cx="367910" cy="401274"/>
            </a:xfrm>
          </p:grpSpPr>
          <p:grpSp>
            <p:nvGrpSpPr>
              <p:cNvPr id="777" name="图形 1">
                <a:extLst>
                  <a:ext uri="{FF2B5EF4-FFF2-40B4-BE49-F238E27FC236}">
                    <a16:creationId xmlns:a16="http://schemas.microsoft.com/office/drawing/2014/main" id="{AEC0499B-714B-4CC0-9B71-89E1A71F612F}"/>
                  </a:ext>
                </a:extLst>
              </p:cNvPr>
              <p:cNvGrpSpPr/>
              <p:nvPr/>
            </p:nvGrpSpPr>
            <p:grpSpPr>
              <a:xfrm>
                <a:off x="7579832" y="6981356"/>
                <a:ext cx="367910" cy="401274"/>
                <a:chOff x="7579832" y="6981356"/>
                <a:chExt cx="367910" cy="401274"/>
              </a:xfrm>
            </p:grpSpPr>
            <p:sp>
              <p:nvSpPr>
                <p:cNvPr id="778" name="任意多边形: 形状 777">
                  <a:extLst>
                    <a:ext uri="{FF2B5EF4-FFF2-40B4-BE49-F238E27FC236}">
                      <a16:creationId xmlns:a16="http://schemas.microsoft.com/office/drawing/2014/main" id="{E6CF0104-864A-4172-8C30-7FD37124C3E2}"/>
                    </a:ext>
                  </a:extLst>
                </p:cNvPr>
                <p:cNvSpPr/>
                <p:nvPr/>
              </p:nvSpPr>
              <p:spPr>
                <a:xfrm>
                  <a:off x="7579832" y="7116741"/>
                  <a:ext cx="367910" cy="265889"/>
                </a:xfrm>
                <a:custGeom>
                  <a:avLst/>
                  <a:gdLst>
                    <a:gd name="connsiteX0" fmla="*/ 139449 w 367910"/>
                    <a:gd name="connsiteY0" fmla="*/ 0 h 265889"/>
                    <a:gd name="connsiteX1" fmla="*/ 259449 w 367910"/>
                    <a:gd name="connsiteY1" fmla="*/ 166154 h 265889"/>
                    <a:gd name="connsiteX2" fmla="*/ 40988 w 367910"/>
                    <a:gd name="connsiteY2" fmla="*/ 36923 h 265889"/>
                    <a:gd name="connsiteX3" fmla="*/ 19449 w 367910"/>
                    <a:gd name="connsiteY3" fmla="*/ 21538 h 265889"/>
                    <a:gd name="connsiteX4" fmla="*/ 988 w 367910"/>
                    <a:gd name="connsiteY4" fmla="*/ 98461 h 265889"/>
                    <a:gd name="connsiteX5" fmla="*/ 13296 w 367910"/>
                    <a:gd name="connsiteY5" fmla="*/ 221538 h 265889"/>
                    <a:gd name="connsiteX6" fmla="*/ 31757 w 367910"/>
                    <a:gd name="connsiteY6" fmla="*/ 240000 h 265889"/>
                    <a:gd name="connsiteX7" fmla="*/ 200988 w 367910"/>
                    <a:gd name="connsiteY7" fmla="*/ 261538 h 265889"/>
                    <a:gd name="connsiteX8" fmla="*/ 360988 w 367910"/>
                    <a:gd name="connsiteY8" fmla="*/ 264615 h 265889"/>
                    <a:gd name="connsiteX9" fmla="*/ 360988 w 367910"/>
                    <a:gd name="connsiteY9" fmla="*/ 218461 h 265889"/>
                    <a:gd name="connsiteX10" fmla="*/ 139449 w 367910"/>
                    <a:gd name="connsiteY10" fmla="*/ 0 h 265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7910" h="265889">
                      <a:moveTo>
                        <a:pt x="139449" y="0"/>
                      </a:moveTo>
                      <a:cubicBezTo>
                        <a:pt x="139449" y="0"/>
                        <a:pt x="274834" y="156923"/>
                        <a:pt x="259449" y="166154"/>
                      </a:cubicBezTo>
                      <a:cubicBezTo>
                        <a:pt x="240988" y="175385"/>
                        <a:pt x="40988" y="36923"/>
                        <a:pt x="40988" y="36923"/>
                      </a:cubicBezTo>
                      <a:lnTo>
                        <a:pt x="19449" y="21538"/>
                      </a:lnTo>
                      <a:cubicBezTo>
                        <a:pt x="19449" y="21538"/>
                        <a:pt x="-5166" y="70769"/>
                        <a:pt x="988" y="98461"/>
                      </a:cubicBezTo>
                      <a:cubicBezTo>
                        <a:pt x="4065" y="120000"/>
                        <a:pt x="10218" y="187692"/>
                        <a:pt x="13296" y="221538"/>
                      </a:cubicBezTo>
                      <a:cubicBezTo>
                        <a:pt x="13296" y="230769"/>
                        <a:pt x="22526" y="240000"/>
                        <a:pt x="31757" y="240000"/>
                      </a:cubicBezTo>
                      <a:cubicBezTo>
                        <a:pt x="71757" y="243077"/>
                        <a:pt x="167142" y="255384"/>
                        <a:pt x="200988" y="261538"/>
                      </a:cubicBezTo>
                      <a:cubicBezTo>
                        <a:pt x="222526" y="264615"/>
                        <a:pt x="348680" y="267692"/>
                        <a:pt x="360988" y="264615"/>
                      </a:cubicBezTo>
                      <a:cubicBezTo>
                        <a:pt x="370218" y="264615"/>
                        <a:pt x="370218" y="224615"/>
                        <a:pt x="360988" y="218461"/>
                      </a:cubicBezTo>
                      <a:cubicBezTo>
                        <a:pt x="280988" y="172307"/>
                        <a:pt x="139449" y="0"/>
                        <a:pt x="139449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9" name="任意多边形: 形状 778">
                  <a:extLst>
                    <a:ext uri="{FF2B5EF4-FFF2-40B4-BE49-F238E27FC236}">
                      <a16:creationId xmlns:a16="http://schemas.microsoft.com/office/drawing/2014/main" id="{1978D229-6B20-49AA-BF5D-6DB5177CFC14}"/>
                    </a:ext>
                  </a:extLst>
                </p:cNvPr>
                <p:cNvSpPr/>
                <p:nvPr/>
              </p:nvSpPr>
              <p:spPr>
                <a:xfrm>
                  <a:off x="7596204" y="6981356"/>
                  <a:ext cx="242230" cy="303296"/>
                </a:xfrm>
                <a:custGeom>
                  <a:avLst/>
                  <a:gdLst>
                    <a:gd name="connsiteX0" fmla="*/ 120000 w 242230"/>
                    <a:gd name="connsiteY0" fmla="*/ 0 h 303296"/>
                    <a:gd name="connsiteX1" fmla="*/ 120000 w 242230"/>
                    <a:gd name="connsiteY1" fmla="*/ 135385 h 303296"/>
                    <a:gd name="connsiteX2" fmla="*/ 240000 w 242230"/>
                    <a:gd name="connsiteY2" fmla="*/ 301539 h 303296"/>
                    <a:gd name="connsiteX3" fmla="*/ 3077 w 242230"/>
                    <a:gd name="connsiteY3" fmla="*/ 156923 h 303296"/>
                    <a:gd name="connsiteX4" fmla="*/ 0 w 242230"/>
                    <a:gd name="connsiteY4" fmla="*/ 0 h 303296"/>
                    <a:gd name="connsiteX5" fmla="*/ 120000 w 242230"/>
                    <a:gd name="connsiteY5" fmla="*/ 0 h 3032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2230" h="303296">
                      <a:moveTo>
                        <a:pt x="120000" y="0"/>
                      </a:moveTo>
                      <a:lnTo>
                        <a:pt x="120000" y="135385"/>
                      </a:lnTo>
                      <a:cubicBezTo>
                        <a:pt x="120000" y="135385"/>
                        <a:pt x="261538" y="286154"/>
                        <a:pt x="240000" y="301539"/>
                      </a:cubicBezTo>
                      <a:cubicBezTo>
                        <a:pt x="218462" y="320000"/>
                        <a:pt x="0" y="187693"/>
                        <a:pt x="3077" y="156923"/>
                      </a:cubicBezTo>
                      <a:cubicBezTo>
                        <a:pt x="3077" y="107692"/>
                        <a:pt x="0" y="0"/>
                        <a:pt x="0" y="0"/>
                      </a:cubicBezTo>
                      <a:lnTo>
                        <a:pt x="120000" y="0"/>
                      </a:lnTo>
                      <a:close/>
                    </a:path>
                  </a:pathLst>
                </a:custGeom>
                <a:solidFill>
                  <a:srgbClr val="F5A39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80" name="任意多边形: 形状 779">
                <a:extLst>
                  <a:ext uri="{FF2B5EF4-FFF2-40B4-BE49-F238E27FC236}">
                    <a16:creationId xmlns:a16="http://schemas.microsoft.com/office/drawing/2014/main" id="{8A136A1C-0400-4008-9B3D-F68B26785BE7}"/>
                  </a:ext>
                </a:extLst>
              </p:cNvPr>
              <p:cNvSpPr/>
              <p:nvPr/>
            </p:nvSpPr>
            <p:spPr>
              <a:xfrm>
                <a:off x="7587743" y="7240587"/>
                <a:ext cx="159231" cy="106923"/>
              </a:xfrm>
              <a:custGeom>
                <a:avLst/>
                <a:gdLst>
                  <a:gd name="connsiteX0" fmla="*/ 150000 w 159231"/>
                  <a:gd name="connsiteY0" fmla="*/ 106923 h 106923"/>
                  <a:gd name="connsiteX1" fmla="*/ 150000 w 159231"/>
                  <a:gd name="connsiteY1" fmla="*/ 106923 h 106923"/>
                  <a:gd name="connsiteX2" fmla="*/ 2308 w 159231"/>
                  <a:gd name="connsiteY2" fmla="*/ 11538 h 106923"/>
                  <a:gd name="connsiteX3" fmla="*/ 2308 w 159231"/>
                  <a:gd name="connsiteY3" fmla="*/ 2307 h 106923"/>
                  <a:gd name="connsiteX4" fmla="*/ 11539 w 159231"/>
                  <a:gd name="connsiteY4" fmla="*/ 2307 h 106923"/>
                  <a:gd name="connsiteX5" fmla="*/ 156154 w 159231"/>
                  <a:gd name="connsiteY5" fmla="*/ 94615 h 106923"/>
                  <a:gd name="connsiteX6" fmla="*/ 159231 w 159231"/>
                  <a:gd name="connsiteY6" fmla="*/ 100769 h 106923"/>
                  <a:gd name="connsiteX7" fmla="*/ 150000 w 159231"/>
                  <a:gd name="connsiteY7" fmla="*/ 106923 h 10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9231" h="106923">
                    <a:moveTo>
                      <a:pt x="150000" y="106923"/>
                    </a:moveTo>
                    <a:cubicBezTo>
                      <a:pt x="150000" y="106923"/>
                      <a:pt x="146923" y="106923"/>
                      <a:pt x="150000" y="106923"/>
                    </a:cubicBezTo>
                    <a:cubicBezTo>
                      <a:pt x="110000" y="88461"/>
                      <a:pt x="5385" y="14615"/>
                      <a:pt x="2308" y="11538"/>
                    </a:cubicBezTo>
                    <a:cubicBezTo>
                      <a:pt x="-769" y="8461"/>
                      <a:pt x="-769" y="5385"/>
                      <a:pt x="2308" y="2307"/>
                    </a:cubicBezTo>
                    <a:cubicBezTo>
                      <a:pt x="5385" y="-769"/>
                      <a:pt x="8462" y="-769"/>
                      <a:pt x="11539" y="2307"/>
                    </a:cubicBezTo>
                    <a:cubicBezTo>
                      <a:pt x="11539" y="2307"/>
                      <a:pt x="119231" y="76154"/>
                      <a:pt x="156154" y="94615"/>
                    </a:cubicBezTo>
                    <a:cubicBezTo>
                      <a:pt x="159231" y="94615"/>
                      <a:pt x="159231" y="100769"/>
                      <a:pt x="159231" y="100769"/>
                    </a:cubicBezTo>
                    <a:cubicBezTo>
                      <a:pt x="153077" y="106923"/>
                      <a:pt x="153077" y="106923"/>
                      <a:pt x="150000" y="10692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81" name="图形 1">
              <a:extLst>
                <a:ext uri="{FF2B5EF4-FFF2-40B4-BE49-F238E27FC236}">
                  <a16:creationId xmlns:a16="http://schemas.microsoft.com/office/drawing/2014/main" id="{AEC0499B-714B-4CC0-9B71-89E1A71F612F}"/>
                </a:ext>
              </a:extLst>
            </p:cNvPr>
            <p:cNvGrpSpPr/>
            <p:nvPr/>
          </p:nvGrpSpPr>
          <p:grpSpPr>
            <a:xfrm>
              <a:off x="8291589" y="6987510"/>
              <a:ext cx="379230" cy="395120"/>
              <a:chOff x="8291589" y="6987510"/>
              <a:chExt cx="379230" cy="395120"/>
            </a:xfrm>
          </p:grpSpPr>
          <p:grpSp>
            <p:nvGrpSpPr>
              <p:cNvPr id="782" name="图形 1">
                <a:extLst>
                  <a:ext uri="{FF2B5EF4-FFF2-40B4-BE49-F238E27FC236}">
                    <a16:creationId xmlns:a16="http://schemas.microsoft.com/office/drawing/2014/main" id="{AEC0499B-714B-4CC0-9B71-89E1A71F612F}"/>
                  </a:ext>
                </a:extLst>
              </p:cNvPr>
              <p:cNvGrpSpPr/>
              <p:nvPr/>
            </p:nvGrpSpPr>
            <p:grpSpPr>
              <a:xfrm>
                <a:off x="8291589" y="6987510"/>
                <a:ext cx="379230" cy="395120"/>
                <a:chOff x="8291589" y="6987510"/>
                <a:chExt cx="379230" cy="395120"/>
              </a:xfrm>
            </p:grpSpPr>
            <p:sp>
              <p:nvSpPr>
                <p:cNvPr id="783" name="任意多边形: 形状 782">
                  <a:extLst>
                    <a:ext uri="{FF2B5EF4-FFF2-40B4-BE49-F238E27FC236}">
                      <a16:creationId xmlns:a16="http://schemas.microsoft.com/office/drawing/2014/main" id="{BBB1AA99-F501-42D0-921B-2CF92F341EEC}"/>
                    </a:ext>
                  </a:extLst>
                </p:cNvPr>
                <p:cNvSpPr/>
                <p:nvPr/>
              </p:nvSpPr>
              <p:spPr>
                <a:xfrm>
                  <a:off x="8302909" y="7116741"/>
                  <a:ext cx="367910" cy="265889"/>
                </a:xfrm>
                <a:custGeom>
                  <a:avLst/>
                  <a:gdLst>
                    <a:gd name="connsiteX0" fmla="*/ 139449 w 367910"/>
                    <a:gd name="connsiteY0" fmla="*/ 0 h 265889"/>
                    <a:gd name="connsiteX1" fmla="*/ 259449 w 367910"/>
                    <a:gd name="connsiteY1" fmla="*/ 166154 h 265889"/>
                    <a:gd name="connsiteX2" fmla="*/ 40988 w 367910"/>
                    <a:gd name="connsiteY2" fmla="*/ 36923 h 265889"/>
                    <a:gd name="connsiteX3" fmla="*/ 19449 w 367910"/>
                    <a:gd name="connsiteY3" fmla="*/ 21538 h 265889"/>
                    <a:gd name="connsiteX4" fmla="*/ 988 w 367910"/>
                    <a:gd name="connsiteY4" fmla="*/ 98461 h 265889"/>
                    <a:gd name="connsiteX5" fmla="*/ 13296 w 367910"/>
                    <a:gd name="connsiteY5" fmla="*/ 221538 h 265889"/>
                    <a:gd name="connsiteX6" fmla="*/ 31757 w 367910"/>
                    <a:gd name="connsiteY6" fmla="*/ 240000 h 265889"/>
                    <a:gd name="connsiteX7" fmla="*/ 200988 w 367910"/>
                    <a:gd name="connsiteY7" fmla="*/ 261538 h 265889"/>
                    <a:gd name="connsiteX8" fmla="*/ 360988 w 367910"/>
                    <a:gd name="connsiteY8" fmla="*/ 264615 h 265889"/>
                    <a:gd name="connsiteX9" fmla="*/ 360988 w 367910"/>
                    <a:gd name="connsiteY9" fmla="*/ 218461 h 265889"/>
                    <a:gd name="connsiteX10" fmla="*/ 139449 w 367910"/>
                    <a:gd name="connsiteY10" fmla="*/ 0 h 265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7910" h="265889">
                      <a:moveTo>
                        <a:pt x="139449" y="0"/>
                      </a:moveTo>
                      <a:cubicBezTo>
                        <a:pt x="139449" y="0"/>
                        <a:pt x="274834" y="156923"/>
                        <a:pt x="259449" y="166154"/>
                      </a:cubicBezTo>
                      <a:cubicBezTo>
                        <a:pt x="240988" y="175385"/>
                        <a:pt x="40988" y="36923"/>
                        <a:pt x="40988" y="36923"/>
                      </a:cubicBezTo>
                      <a:lnTo>
                        <a:pt x="19449" y="21538"/>
                      </a:lnTo>
                      <a:cubicBezTo>
                        <a:pt x="19449" y="21538"/>
                        <a:pt x="-5166" y="70769"/>
                        <a:pt x="988" y="98461"/>
                      </a:cubicBezTo>
                      <a:cubicBezTo>
                        <a:pt x="4065" y="120000"/>
                        <a:pt x="10218" y="187692"/>
                        <a:pt x="13296" y="221538"/>
                      </a:cubicBezTo>
                      <a:cubicBezTo>
                        <a:pt x="13296" y="230769"/>
                        <a:pt x="22526" y="240000"/>
                        <a:pt x="31757" y="240000"/>
                      </a:cubicBezTo>
                      <a:cubicBezTo>
                        <a:pt x="71757" y="243077"/>
                        <a:pt x="167142" y="255384"/>
                        <a:pt x="200988" y="261538"/>
                      </a:cubicBezTo>
                      <a:cubicBezTo>
                        <a:pt x="222526" y="264615"/>
                        <a:pt x="348680" y="267692"/>
                        <a:pt x="360988" y="264615"/>
                      </a:cubicBezTo>
                      <a:cubicBezTo>
                        <a:pt x="370218" y="264615"/>
                        <a:pt x="370218" y="224615"/>
                        <a:pt x="360988" y="218461"/>
                      </a:cubicBezTo>
                      <a:cubicBezTo>
                        <a:pt x="280988" y="172307"/>
                        <a:pt x="139449" y="0"/>
                        <a:pt x="139449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4" name="任意多边形: 形状 783">
                  <a:extLst>
                    <a:ext uri="{FF2B5EF4-FFF2-40B4-BE49-F238E27FC236}">
                      <a16:creationId xmlns:a16="http://schemas.microsoft.com/office/drawing/2014/main" id="{0C4432E6-274C-4174-B99B-220A663F0752}"/>
                    </a:ext>
                  </a:extLst>
                </p:cNvPr>
                <p:cNvSpPr/>
                <p:nvPr/>
              </p:nvSpPr>
              <p:spPr>
                <a:xfrm>
                  <a:off x="8291589" y="6987510"/>
                  <a:ext cx="272999" cy="294066"/>
                </a:xfrm>
                <a:custGeom>
                  <a:avLst/>
                  <a:gdLst>
                    <a:gd name="connsiteX0" fmla="*/ 120000 w 272999"/>
                    <a:gd name="connsiteY0" fmla="*/ 0 h 294066"/>
                    <a:gd name="connsiteX1" fmla="*/ 150769 w 272999"/>
                    <a:gd name="connsiteY1" fmla="*/ 126154 h 294066"/>
                    <a:gd name="connsiteX2" fmla="*/ 270769 w 272999"/>
                    <a:gd name="connsiteY2" fmla="*/ 292308 h 294066"/>
                    <a:gd name="connsiteX3" fmla="*/ 33846 w 272999"/>
                    <a:gd name="connsiteY3" fmla="*/ 147692 h 294066"/>
                    <a:gd name="connsiteX4" fmla="*/ 0 w 272999"/>
                    <a:gd name="connsiteY4" fmla="*/ 0 h 294066"/>
                    <a:gd name="connsiteX5" fmla="*/ 120000 w 272999"/>
                    <a:gd name="connsiteY5" fmla="*/ 0 h 2940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2999" h="294066">
                      <a:moveTo>
                        <a:pt x="120000" y="0"/>
                      </a:moveTo>
                      <a:lnTo>
                        <a:pt x="150769" y="126154"/>
                      </a:lnTo>
                      <a:cubicBezTo>
                        <a:pt x="150769" y="126154"/>
                        <a:pt x="292308" y="276923"/>
                        <a:pt x="270769" y="292308"/>
                      </a:cubicBezTo>
                      <a:cubicBezTo>
                        <a:pt x="249230" y="310769"/>
                        <a:pt x="30769" y="178462"/>
                        <a:pt x="33846" y="147692"/>
                      </a:cubicBezTo>
                      <a:cubicBezTo>
                        <a:pt x="15385" y="101539"/>
                        <a:pt x="0" y="0"/>
                        <a:pt x="0" y="0"/>
                      </a:cubicBezTo>
                      <a:lnTo>
                        <a:pt x="120000" y="0"/>
                      </a:lnTo>
                      <a:close/>
                    </a:path>
                  </a:pathLst>
                </a:custGeom>
                <a:solidFill>
                  <a:srgbClr val="F5A39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85" name="任意多边形: 形状 784">
                <a:extLst>
                  <a:ext uri="{FF2B5EF4-FFF2-40B4-BE49-F238E27FC236}">
                    <a16:creationId xmlns:a16="http://schemas.microsoft.com/office/drawing/2014/main" id="{539D2380-476E-48D2-B905-F38C0239EA2E}"/>
                  </a:ext>
                </a:extLst>
              </p:cNvPr>
              <p:cNvSpPr/>
              <p:nvPr/>
            </p:nvSpPr>
            <p:spPr>
              <a:xfrm>
                <a:off x="8313897" y="7240587"/>
                <a:ext cx="159230" cy="106923"/>
              </a:xfrm>
              <a:custGeom>
                <a:avLst/>
                <a:gdLst>
                  <a:gd name="connsiteX0" fmla="*/ 150000 w 159230"/>
                  <a:gd name="connsiteY0" fmla="*/ 106923 h 106923"/>
                  <a:gd name="connsiteX1" fmla="*/ 150000 w 159230"/>
                  <a:gd name="connsiteY1" fmla="*/ 106923 h 106923"/>
                  <a:gd name="connsiteX2" fmla="*/ 2308 w 159230"/>
                  <a:gd name="connsiteY2" fmla="*/ 11538 h 106923"/>
                  <a:gd name="connsiteX3" fmla="*/ 2308 w 159230"/>
                  <a:gd name="connsiteY3" fmla="*/ 2307 h 106923"/>
                  <a:gd name="connsiteX4" fmla="*/ 11538 w 159230"/>
                  <a:gd name="connsiteY4" fmla="*/ 2307 h 106923"/>
                  <a:gd name="connsiteX5" fmla="*/ 156154 w 159230"/>
                  <a:gd name="connsiteY5" fmla="*/ 94615 h 106923"/>
                  <a:gd name="connsiteX6" fmla="*/ 159231 w 159230"/>
                  <a:gd name="connsiteY6" fmla="*/ 100769 h 106923"/>
                  <a:gd name="connsiteX7" fmla="*/ 150000 w 159230"/>
                  <a:gd name="connsiteY7" fmla="*/ 106923 h 10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9230" h="106923">
                    <a:moveTo>
                      <a:pt x="150000" y="106923"/>
                    </a:moveTo>
                    <a:cubicBezTo>
                      <a:pt x="146923" y="106923"/>
                      <a:pt x="146923" y="106923"/>
                      <a:pt x="150000" y="106923"/>
                    </a:cubicBezTo>
                    <a:cubicBezTo>
                      <a:pt x="110000" y="88461"/>
                      <a:pt x="5384" y="14615"/>
                      <a:pt x="2308" y="11538"/>
                    </a:cubicBezTo>
                    <a:cubicBezTo>
                      <a:pt x="-769" y="8461"/>
                      <a:pt x="-769" y="5385"/>
                      <a:pt x="2308" y="2307"/>
                    </a:cubicBezTo>
                    <a:cubicBezTo>
                      <a:pt x="5384" y="-769"/>
                      <a:pt x="8462" y="-769"/>
                      <a:pt x="11538" y="2307"/>
                    </a:cubicBezTo>
                    <a:cubicBezTo>
                      <a:pt x="11538" y="2307"/>
                      <a:pt x="119231" y="76154"/>
                      <a:pt x="156154" y="94615"/>
                    </a:cubicBezTo>
                    <a:cubicBezTo>
                      <a:pt x="159231" y="94615"/>
                      <a:pt x="159231" y="100769"/>
                      <a:pt x="159231" y="100769"/>
                    </a:cubicBezTo>
                    <a:cubicBezTo>
                      <a:pt x="153077" y="106923"/>
                      <a:pt x="150000" y="106923"/>
                      <a:pt x="150000" y="10692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86" name="任意多边形: 形状 785">
              <a:extLst>
                <a:ext uri="{FF2B5EF4-FFF2-40B4-BE49-F238E27FC236}">
                  <a16:creationId xmlns:a16="http://schemas.microsoft.com/office/drawing/2014/main" id="{82FC31EC-8C12-4B2C-8327-2C80F1553555}"/>
                </a:ext>
              </a:extLst>
            </p:cNvPr>
            <p:cNvSpPr/>
            <p:nvPr/>
          </p:nvSpPr>
          <p:spPr>
            <a:xfrm>
              <a:off x="8141905" y="3748302"/>
              <a:ext cx="242071" cy="743507"/>
            </a:xfrm>
            <a:custGeom>
              <a:avLst/>
              <a:gdLst>
                <a:gd name="connsiteX0" fmla="*/ 35838 w 242071"/>
                <a:gd name="connsiteY0" fmla="*/ 300746 h 743507"/>
                <a:gd name="connsiteX1" fmla="*/ 32761 w 242071"/>
                <a:gd name="connsiteY1" fmla="*/ 5361 h 743507"/>
                <a:gd name="connsiteX2" fmla="*/ 223530 w 242071"/>
                <a:gd name="connsiteY2" fmla="*/ 236131 h 743507"/>
                <a:gd name="connsiteX3" fmla="*/ 241992 w 242071"/>
                <a:gd name="connsiteY3" fmla="*/ 617669 h 743507"/>
                <a:gd name="connsiteX4" fmla="*/ 75838 w 242071"/>
                <a:gd name="connsiteY4" fmla="*/ 700746 h 743507"/>
                <a:gd name="connsiteX5" fmla="*/ 35838 w 242071"/>
                <a:gd name="connsiteY5" fmla="*/ 300746 h 743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2071" h="743507">
                  <a:moveTo>
                    <a:pt x="35838" y="300746"/>
                  </a:moveTo>
                  <a:cubicBezTo>
                    <a:pt x="38915" y="116131"/>
                    <a:pt x="-44162" y="33054"/>
                    <a:pt x="32761" y="5361"/>
                  </a:cubicBezTo>
                  <a:cubicBezTo>
                    <a:pt x="118915" y="-28485"/>
                    <a:pt x="201992" y="103823"/>
                    <a:pt x="223530" y="236131"/>
                  </a:cubicBezTo>
                  <a:cubicBezTo>
                    <a:pt x="238915" y="337669"/>
                    <a:pt x="241992" y="617669"/>
                    <a:pt x="241992" y="617669"/>
                  </a:cubicBezTo>
                  <a:cubicBezTo>
                    <a:pt x="245068" y="722285"/>
                    <a:pt x="158915" y="793054"/>
                    <a:pt x="75838" y="700746"/>
                  </a:cubicBezTo>
                  <a:cubicBezTo>
                    <a:pt x="-4162" y="611515"/>
                    <a:pt x="32761" y="488438"/>
                    <a:pt x="35838" y="300746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7" name="任意多边形: 形状 786">
              <a:extLst>
                <a:ext uri="{FF2B5EF4-FFF2-40B4-BE49-F238E27FC236}">
                  <a16:creationId xmlns:a16="http://schemas.microsoft.com/office/drawing/2014/main" id="{BE2CA70E-AC7E-43E7-AC07-D15344CF5676}"/>
                </a:ext>
              </a:extLst>
            </p:cNvPr>
            <p:cNvSpPr/>
            <p:nvPr/>
          </p:nvSpPr>
          <p:spPr>
            <a:xfrm>
              <a:off x="8050289" y="3632761"/>
              <a:ext cx="388992" cy="437992"/>
            </a:xfrm>
            <a:custGeom>
              <a:avLst/>
              <a:gdLst>
                <a:gd name="connsiteX0" fmla="*/ 28992 w 388992"/>
                <a:gd name="connsiteY0" fmla="*/ 437826 h 437992"/>
                <a:gd name="connsiteX1" fmla="*/ 68992 w 388992"/>
                <a:gd name="connsiteY1" fmla="*/ 7057 h 437992"/>
                <a:gd name="connsiteX2" fmla="*/ 388992 w 388992"/>
                <a:gd name="connsiteY2" fmla="*/ 348595 h 437992"/>
                <a:gd name="connsiteX3" fmla="*/ 28992 w 388992"/>
                <a:gd name="connsiteY3" fmla="*/ 437826 h 437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8992" h="437992">
                  <a:moveTo>
                    <a:pt x="28992" y="437826"/>
                  </a:moveTo>
                  <a:cubicBezTo>
                    <a:pt x="-23316" y="259364"/>
                    <a:pt x="-1777" y="43980"/>
                    <a:pt x="68992" y="7057"/>
                  </a:cubicBezTo>
                  <a:cubicBezTo>
                    <a:pt x="161300" y="-42174"/>
                    <a:pt x="342839" y="176287"/>
                    <a:pt x="388992" y="348595"/>
                  </a:cubicBezTo>
                  <a:cubicBezTo>
                    <a:pt x="333608" y="400903"/>
                    <a:pt x="133608" y="440903"/>
                    <a:pt x="28992" y="437826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8" name="任意多边形: 形状 787">
              <a:extLst>
                <a:ext uri="{FF2B5EF4-FFF2-40B4-BE49-F238E27FC236}">
                  <a16:creationId xmlns:a16="http://schemas.microsoft.com/office/drawing/2014/main" id="{50BB1F03-8328-4998-AE10-67703987D20A}"/>
                </a:ext>
              </a:extLst>
            </p:cNvPr>
            <p:cNvSpPr/>
            <p:nvPr/>
          </p:nvSpPr>
          <p:spPr>
            <a:xfrm>
              <a:off x="7401615" y="4532125"/>
              <a:ext cx="1053051" cy="2544615"/>
            </a:xfrm>
            <a:custGeom>
              <a:avLst/>
              <a:gdLst>
                <a:gd name="connsiteX0" fmla="*/ 133051 w 1053051"/>
                <a:gd name="connsiteY0" fmla="*/ 0 h 2544615"/>
                <a:gd name="connsiteX1" fmla="*/ 806898 w 1053051"/>
                <a:gd name="connsiteY1" fmla="*/ 0 h 2544615"/>
                <a:gd name="connsiteX2" fmla="*/ 926897 w 1053051"/>
                <a:gd name="connsiteY2" fmla="*/ 464615 h 2544615"/>
                <a:gd name="connsiteX3" fmla="*/ 1053051 w 1053051"/>
                <a:gd name="connsiteY3" fmla="*/ 2507693 h 2544615"/>
                <a:gd name="connsiteX4" fmla="*/ 877666 w 1053051"/>
                <a:gd name="connsiteY4" fmla="*/ 2544616 h 2544615"/>
                <a:gd name="connsiteX5" fmla="*/ 505359 w 1053051"/>
                <a:gd name="connsiteY5" fmla="*/ 870769 h 2544615"/>
                <a:gd name="connsiteX6" fmla="*/ 354589 w 1053051"/>
                <a:gd name="connsiteY6" fmla="*/ 2535385 h 2544615"/>
                <a:gd name="connsiteX7" fmla="*/ 157667 w 1053051"/>
                <a:gd name="connsiteY7" fmla="*/ 2535385 h 2544615"/>
                <a:gd name="connsiteX8" fmla="*/ 743 w 1053051"/>
                <a:gd name="connsiteY8" fmla="*/ 421539 h 2544615"/>
                <a:gd name="connsiteX9" fmla="*/ 133051 w 1053051"/>
                <a:gd name="connsiteY9" fmla="*/ 0 h 254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53051" h="2544615">
                  <a:moveTo>
                    <a:pt x="133051" y="0"/>
                  </a:moveTo>
                  <a:lnTo>
                    <a:pt x="806898" y="0"/>
                  </a:lnTo>
                  <a:cubicBezTo>
                    <a:pt x="806898" y="0"/>
                    <a:pt x="905359" y="307692"/>
                    <a:pt x="926897" y="464615"/>
                  </a:cubicBezTo>
                  <a:cubicBezTo>
                    <a:pt x="945359" y="618462"/>
                    <a:pt x="1053051" y="2507693"/>
                    <a:pt x="1053051" y="2507693"/>
                  </a:cubicBezTo>
                  <a:lnTo>
                    <a:pt x="877666" y="2544616"/>
                  </a:lnTo>
                  <a:lnTo>
                    <a:pt x="505359" y="870769"/>
                  </a:lnTo>
                  <a:lnTo>
                    <a:pt x="354589" y="2535385"/>
                  </a:lnTo>
                  <a:lnTo>
                    <a:pt x="157667" y="2535385"/>
                  </a:lnTo>
                  <a:cubicBezTo>
                    <a:pt x="157667" y="2535385"/>
                    <a:pt x="9974" y="541538"/>
                    <a:pt x="743" y="421539"/>
                  </a:cubicBezTo>
                  <a:cubicBezTo>
                    <a:pt x="-11564" y="298462"/>
                    <a:pt x="133051" y="0"/>
                    <a:pt x="133051" y="0"/>
                  </a:cubicBezTo>
                  <a:close/>
                </a:path>
              </a:pathLst>
            </a:custGeom>
            <a:solidFill>
              <a:srgbClr val="F1DDBA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9" name="任意多边形: 形状 788">
              <a:extLst>
                <a:ext uri="{FF2B5EF4-FFF2-40B4-BE49-F238E27FC236}">
                  <a16:creationId xmlns:a16="http://schemas.microsoft.com/office/drawing/2014/main" id="{C2B34ABC-4A21-4794-A54D-FF53CA454F30}"/>
                </a:ext>
              </a:extLst>
            </p:cNvPr>
            <p:cNvSpPr/>
            <p:nvPr/>
          </p:nvSpPr>
          <p:spPr>
            <a:xfrm>
              <a:off x="7750050" y="4922895"/>
              <a:ext cx="163077" cy="2150769"/>
            </a:xfrm>
            <a:custGeom>
              <a:avLst/>
              <a:gdLst>
                <a:gd name="connsiteX0" fmla="*/ 6154 w 163077"/>
                <a:gd name="connsiteY0" fmla="*/ 2150769 h 2150769"/>
                <a:gd name="connsiteX1" fmla="*/ 6154 w 163077"/>
                <a:gd name="connsiteY1" fmla="*/ 2150769 h 2150769"/>
                <a:gd name="connsiteX2" fmla="*/ 0 w 163077"/>
                <a:gd name="connsiteY2" fmla="*/ 2144615 h 2150769"/>
                <a:gd name="connsiteX3" fmla="*/ 150770 w 163077"/>
                <a:gd name="connsiteY3" fmla="*/ 480000 h 2150769"/>
                <a:gd name="connsiteX4" fmla="*/ 150770 w 163077"/>
                <a:gd name="connsiteY4" fmla="*/ 6154 h 2150769"/>
                <a:gd name="connsiteX5" fmla="*/ 156923 w 163077"/>
                <a:gd name="connsiteY5" fmla="*/ 0 h 2150769"/>
                <a:gd name="connsiteX6" fmla="*/ 163077 w 163077"/>
                <a:gd name="connsiteY6" fmla="*/ 6154 h 2150769"/>
                <a:gd name="connsiteX7" fmla="*/ 163077 w 163077"/>
                <a:gd name="connsiteY7" fmla="*/ 480000 h 2150769"/>
                <a:gd name="connsiteX8" fmla="*/ 9231 w 163077"/>
                <a:gd name="connsiteY8" fmla="*/ 2144615 h 2150769"/>
                <a:gd name="connsiteX9" fmla="*/ 6154 w 163077"/>
                <a:gd name="connsiteY9" fmla="*/ 2150769 h 215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077" h="2150769">
                  <a:moveTo>
                    <a:pt x="6154" y="2150769"/>
                  </a:moveTo>
                  <a:cubicBezTo>
                    <a:pt x="6154" y="2150769"/>
                    <a:pt x="3077" y="2150769"/>
                    <a:pt x="6154" y="2150769"/>
                  </a:cubicBezTo>
                  <a:cubicBezTo>
                    <a:pt x="3077" y="2150769"/>
                    <a:pt x="0" y="2147693"/>
                    <a:pt x="0" y="2144615"/>
                  </a:cubicBezTo>
                  <a:lnTo>
                    <a:pt x="150770" y="480000"/>
                  </a:lnTo>
                  <a:lnTo>
                    <a:pt x="150770" y="6154"/>
                  </a:lnTo>
                  <a:cubicBezTo>
                    <a:pt x="150770" y="3077"/>
                    <a:pt x="153846" y="0"/>
                    <a:pt x="156923" y="0"/>
                  </a:cubicBezTo>
                  <a:cubicBezTo>
                    <a:pt x="160000" y="0"/>
                    <a:pt x="163077" y="3077"/>
                    <a:pt x="163077" y="6154"/>
                  </a:cubicBezTo>
                  <a:lnTo>
                    <a:pt x="163077" y="480000"/>
                  </a:lnTo>
                  <a:lnTo>
                    <a:pt x="9231" y="2144615"/>
                  </a:lnTo>
                  <a:cubicBezTo>
                    <a:pt x="9231" y="2147693"/>
                    <a:pt x="6154" y="2150769"/>
                    <a:pt x="6154" y="2150769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0" name="任意多边形: 形状 789">
              <a:extLst>
                <a:ext uri="{FF2B5EF4-FFF2-40B4-BE49-F238E27FC236}">
                  <a16:creationId xmlns:a16="http://schemas.microsoft.com/office/drawing/2014/main" id="{6CFF9224-E1C8-4096-9CF8-1D532D9979BE}"/>
                </a:ext>
              </a:extLst>
            </p:cNvPr>
            <p:cNvSpPr/>
            <p:nvPr/>
          </p:nvSpPr>
          <p:spPr>
            <a:xfrm>
              <a:off x="7474624" y="3567619"/>
              <a:ext cx="828154" cy="995366"/>
            </a:xfrm>
            <a:custGeom>
              <a:avLst/>
              <a:gdLst>
                <a:gd name="connsiteX0" fmla="*/ 44657 w 828154"/>
                <a:gd name="connsiteY0" fmla="*/ 395275 h 995366"/>
                <a:gd name="connsiteX1" fmla="*/ 60042 w 828154"/>
                <a:gd name="connsiteY1" fmla="*/ 69121 h 995366"/>
                <a:gd name="connsiteX2" fmla="*/ 432349 w 828154"/>
                <a:gd name="connsiteY2" fmla="*/ 4506 h 995366"/>
                <a:gd name="connsiteX3" fmla="*/ 736965 w 828154"/>
                <a:gd name="connsiteY3" fmla="*/ 106044 h 995366"/>
                <a:gd name="connsiteX4" fmla="*/ 776965 w 828154"/>
                <a:gd name="connsiteY4" fmla="*/ 659890 h 995366"/>
                <a:gd name="connsiteX5" fmla="*/ 733888 w 828154"/>
                <a:gd name="connsiteY5" fmla="*/ 989121 h 995366"/>
                <a:gd name="connsiteX6" fmla="*/ 50811 w 828154"/>
                <a:gd name="connsiteY6" fmla="*/ 973737 h 995366"/>
                <a:gd name="connsiteX7" fmla="*/ 44657 w 828154"/>
                <a:gd name="connsiteY7" fmla="*/ 395275 h 99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8154" h="995366">
                  <a:moveTo>
                    <a:pt x="44657" y="395275"/>
                  </a:moveTo>
                  <a:cubicBezTo>
                    <a:pt x="35426" y="364506"/>
                    <a:pt x="-59958" y="133736"/>
                    <a:pt x="60042" y="69121"/>
                  </a:cubicBezTo>
                  <a:cubicBezTo>
                    <a:pt x="164657" y="13737"/>
                    <a:pt x="312349" y="-10879"/>
                    <a:pt x="432349" y="4506"/>
                  </a:cubicBezTo>
                  <a:cubicBezTo>
                    <a:pt x="564657" y="19890"/>
                    <a:pt x="696965" y="41429"/>
                    <a:pt x="736965" y="106044"/>
                  </a:cubicBezTo>
                  <a:cubicBezTo>
                    <a:pt x="850811" y="293737"/>
                    <a:pt x="850811" y="459890"/>
                    <a:pt x="776965" y="659890"/>
                  </a:cubicBezTo>
                  <a:cubicBezTo>
                    <a:pt x="755426" y="718352"/>
                    <a:pt x="749273" y="853737"/>
                    <a:pt x="733888" y="989121"/>
                  </a:cubicBezTo>
                  <a:cubicBezTo>
                    <a:pt x="733888" y="989121"/>
                    <a:pt x="447734" y="1010660"/>
                    <a:pt x="50811" y="973737"/>
                  </a:cubicBezTo>
                  <a:cubicBezTo>
                    <a:pt x="81580" y="752198"/>
                    <a:pt x="50811" y="419890"/>
                    <a:pt x="44657" y="395275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1" name="任意多边形: 形状 790">
              <a:extLst>
                <a:ext uri="{FF2B5EF4-FFF2-40B4-BE49-F238E27FC236}">
                  <a16:creationId xmlns:a16="http://schemas.microsoft.com/office/drawing/2014/main" id="{067560BE-32D3-42C5-9B13-8EE29EFDE1A1}"/>
                </a:ext>
              </a:extLst>
            </p:cNvPr>
            <p:cNvSpPr/>
            <p:nvPr/>
          </p:nvSpPr>
          <p:spPr>
            <a:xfrm>
              <a:off x="7845435" y="3381356"/>
              <a:ext cx="107692" cy="55384"/>
            </a:xfrm>
            <a:custGeom>
              <a:avLst/>
              <a:gdLst>
                <a:gd name="connsiteX0" fmla="*/ 0 w 107692"/>
                <a:gd name="connsiteY0" fmla="*/ 0 h 55384"/>
                <a:gd name="connsiteX1" fmla="*/ 107692 w 107692"/>
                <a:gd name="connsiteY1" fmla="*/ 0 h 55384"/>
                <a:gd name="connsiteX2" fmla="*/ 55385 w 107692"/>
                <a:gd name="connsiteY2" fmla="*/ 55385 h 55384"/>
                <a:gd name="connsiteX3" fmla="*/ 0 w 107692"/>
                <a:gd name="connsiteY3" fmla="*/ 0 h 55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92" h="55384">
                  <a:moveTo>
                    <a:pt x="0" y="0"/>
                  </a:moveTo>
                  <a:cubicBezTo>
                    <a:pt x="55385" y="24615"/>
                    <a:pt x="107692" y="0"/>
                    <a:pt x="107692" y="0"/>
                  </a:cubicBezTo>
                  <a:cubicBezTo>
                    <a:pt x="107692" y="0"/>
                    <a:pt x="92308" y="55385"/>
                    <a:pt x="55385" y="55385"/>
                  </a:cubicBezTo>
                  <a:cubicBezTo>
                    <a:pt x="15385" y="55385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2" name="任意多边形: 形状 791">
              <a:extLst>
                <a:ext uri="{FF2B5EF4-FFF2-40B4-BE49-F238E27FC236}">
                  <a16:creationId xmlns:a16="http://schemas.microsoft.com/office/drawing/2014/main" id="{5E020844-60B1-49AF-9C58-F11408AEFBA8}"/>
                </a:ext>
              </a:extLst>
            </p:cNvPr>
            <p:cNvSpPr/>
            <p:nvPr/>
          </p:nvSpPr>
          <p:spPr>
            <a:xfrm>
              <a:off x="7706974" y="3390489"/>
              <a:ext cx="310768" cy="226478"/>
            </a:xfrm>
            <a:custGeom>
              <a:avLst/>
              <a:gdLst>
                <a:gd name="connsiteX0" fmla="*/ 255385 w 310768"/>
                <a:gd name="connsiteY0" fmla="*/ 61636 h 226478"/>
                <a:gd name="connsiteX1" fmla="*/ 310769 w 310768"/>
                <a:gd name="connsiteY1" fmla="*/ 203174 h 226478"/>
                <a:gd name="connsiteX2" fmla="*/ 0 w 310768"/>
                <a:gd name="connsiteY2" fmla="*/ 187790 h 226478"/>
                <a:gd name="connsiteX3" fmla="*/ 52308 w 310768"/>
                <a:gd name="connsiteY3" fmla="*/ 98 h 226478"/>
                <a:gd name="connsiteX4" fmla="*/ 255385 w 310768"/>
                <a:gd name="connsiteY4" fmla="*/ 61636 h 226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768" h="226478">
                  <a:moveTo>
                    <a:pt x="255385" y="61636"/>
                  </a:moveTo>
                  <a:cubicBezTo>
                    <a:pt x="255385" y="61636"/>
                    <a:pt x="249230" y="172405"/>
                    <a:pt x="310769" y="203174"/>
                  </a:cubicBezTo>
                  <a:cubicBezTo>
                    <a:pt x="310769" y="203174"/>
                    <a:pt x="129231" y="264713"/>
                    <a:pt x="0" y="187790"/>
                  </a:cubicBezTo>
                  <a:cubicBezTo>
                    <a:pt x="55385" y="144713"/>
                    <a:pt x="52308" y="61636"/>
                    <a:pt x="52308" y="98"/>
                  </a:cubicBezTo>
                  <a:cubicBezTo>
                    <a:pt x="49230" y="-2979"/>
                    <a:pt x="200000" y="67790"/>
                    <a:pt x="255385" y="61636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3" name="任意多边形: 形状 792">
              <a:extLst>
                <a:ext uri="{FF2B5EF4-FFF2-40B4-BE49-F238E27FC236}">
                  <a16:creationId xmlns:a16="http://schemas.microsoft.com/office/drawing/2014/main" id="{8DFB4FD3-DA90-454F-B10A-D637AD0F485C}"/>
                </a:ext>
              </a:extLst>
            </p:cNvPr>
            <p:cNvSpPr/>
            <p:nvPr/>
          </p:nvSpPr>
          <p:spPr>
            <a:xfrm>
              <a:off x="7774666" y="4113860"/>
              <a:ext cx="403077" cy="36727"/>
            </a:xfrm>
            <a:custGeom>
              <a:avLst/>
              <a:gdLst>
                <a:gd name="connsiteX0" fmla="*/ 400000 w 403077"/>
                <a:gd name="connsiteY0" fmla="*/ 36727 h 36727"/>
                <a:gd name="connsiteX1" fmla="*/ 400000 w 403077"/>
                <a:gd name="connsiteY1" fmla="*/ 36727 h 36727"/>
                <a:gd name="connsiteX2" fmla="*/ 6154 w 403077"/>
                <a:gd name="connsiteY2" fmla="*/ 24420 h 36727"/>
                <a:gd name="connsiteX3" fmla="*/ 0 w 403077"/>
                <a:gd name="connsiteY3" fmla="*/ 21343 h 36727"/>
                <a:gd name="connsiteX4" fmla="*/ 3077 w 403077"/>
                <a:gd name="connsiteY4" fmla="*/ 15189 h 36727"/>
                <a:gd name="connsiteX5" fmla="*/ 400000 w 403077"/>
                <a:gd name="connsiteY5" fmla="*/ 27497 h 36727"/>
                <a:gd name="connsiteX6" fmla="*/ 403077 w 403077"/>
                <a:gd name="connsiteY6" fmla="*/ 33650 h 36727"/>
                <a:gd name="connsiteX7" fmla="*/ 400000 w 403077"/>
                <a:gd name="connsiteY7" fmla="*/ 36727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077" h="36727">
                  <a:moveTo>
                    <a:pt x="400000" y="36727"/>
                  </a:moveTo>
                  <a:cubicBezTo>
                    <a:pt x="400000" y="36727"/>
                    <a:pt x="396923" y="36727"/>
                    <a:pt x="400000" y="36727"/>
                  </a:cubicBezTo>
                  <a:cubicBezTo>
                    <a:pt x="313846" y="5958"/>
                    <a:pt x="107692" y="-196"/>
                    <a:pt x="6154" y="24420"/>
                  </a:cubicBezTo>
                  <a:cubicBezTo>
                    <a:pt x="3077" y="24420"/>
                    <a:pt x="0" y="24420"/>
                    <a:pt x="0" y="21343"/>
                  </a:cubicBezTo>
                  <a:cubicBezTo>
                    <a:pt x="0" y="18266"/>
                    <a:pt x="0" y="15189"/>
                    <a:pt x="3077" y="15189"/>
                  </a:cubicBezTo>
                  <a:cubicBezTo>
                    <a:pt x="104615" y="-9427"/>
                    <a:pt x="313846" y="-3273"/>
                    <a:pt x="400000" y="27497"/>
                  </a:cubicBezTo>
                  <a:cubicBezTo>
                    <a:pt x="403077" y="27497"/>
                    <a:pt x="403077" y="30573"/>
                    <a:pt x="403077" y="33650"/>
                  </a:cubicBezTo>
                  <a:cubicBezTo>
                    <a:pt x="403077" y="36727"/>
                    <a:pt x="403077" y="36727"/>
                    <a:pt x="400000" y="36727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4" name="任意多边形: 形状 793">
              <a:extLst>
                <a:ext uri="{FF2B5EF4-FFF2-40B4-BE49-F238E27FC236}">
                  <a16:creationId xmlns:a16="http://schemas.microsoft.com/office/drawing/2014/main" id="{0F7776FD-15FA-4996-86CD-8CE95DF99B22}"/>
                </a:ext>
              </a:extLst>
            </p:cNvPr>
            <p:cNvSpPr/>
            <p:nvPr/>
          </p:nvSpPr>
          <p:spPr>
            <a:xfrm>
              <a:off x="8151853" y="4347510"/>
              <a:ext cx="156395" cy="92307"/>
            </a:xfrm>
            <a:custGeom>
              <a:avLst/>
              <a:gdLst>
                <a:gd name="connsiteX0" fmla="*/ 84351 w 156395"/>
                <a:gd name="connsiteY0" fmla="*/ 92308 h 92307"/>
                <a:gd name="connsiteX1" fmla="*/ 81274 w 156395"/>
                <a:gd name="connsiteY1" fmla="*/ 92308 h 92307"/>
                <a:gd name="connsiteX2" fmla="*/ 81274 w 156395"/>
                <a:gd name="connsiteY2" fmla="*/ 83077 h 92307"/>
                <a:gd name="connsiteX3" fmla="*/ 87429 w 156395"/>
                <a:gd name="connsiteY3" fmla="*/ 67692 h 92307"/>
                <a:gd name="connsiteX4" fmla="*/ 108967 w 156395"/>
                <a:gd name="connsiteY4" fmla="*/ 40000 h 92307"/>
                <a:gd name="connsiteX5" fmla="*/ 127428 w 156395"/>
                <a:gd name="connsiteY5" fmla="*/ 36923 h 92307"/>
                <a:gd name="connsiteX6" fmla="*/ 148967 w 156395"/>
                <a:gd name="connsiteY6" fmla="*/ 30769 h 92307"/>
                <a:gd name="connsiteX7" fmla="*/ 145890 w 156395"/>
                <a:gd name="connsiteY7" fmla="*/ 24615 h 92307"/>
                <a:gd name="connsiteX8" fmla="*/ 96659 w 156395"/>
                <a:gd name="connsiteY8" fmla="*/ 15385 h 92307"/>
                <a:gd name="connsiteX9" fmla="*/ 10505 w 156395"/>
                <a:gd name="connsiteY9" fmla="*/ 58462 h 92307"/>
                <a:gd name="connsiteX10" fmla="*/ 1275 w 156395"/>
                <a:gd name="connsiteY10" fmla="*/ 55385 h 92307"/>
                <a:gd name="connsiteX11" fmla="*/ 4351 w 156395"/>
                <a:gd name="connsiteY11" fmla="*/ 46154 h 92307"/>
                <a:gd name="connsiteX12" fmla="*/ 93582 w 156395"/>
                <a:gd name="connsiteY12" fmla="*/ 0 h 92307"/>
                <a:gd name="connsiteX13" fmla="*/ 152044 w 156395"/>
                <a:gd name="connsiteY13" fmla="*/ 15385 h 92307"/>
                <a:gd name="connsiteX14" fmla="*/ 155121 w 156395"/>
                <a:gd name="connsiteY14" fmla="*/ 33846 h 92307"/>
                <a:gd name="connsiteX15" fmla="*/ 124352 w 156395"/>
                <a:gd name="connsiteY15" fmla="*/ 49231 h 92307"/>
                <a:gd name="connsiteX16" fmla="*/ 108967 w 156395"/>
                <a:gd name="connsiteY16" fmla="*/ 52308 h 92307"/>
                <a:gd name="connsiteX17" fmla="*/ 93582 w 156395"/>
                <a:gd name="connsiteY17" fmla="*/ 73846 h 92307"/>
                <a:gd name="connsiteX18" fmla="*/ 84351 w 156395"/>
                <a:gd name="connsiteY18" fmla="*/ 89231 h 92307"/>
                <a:gd name="connsiteX19" fmla="*/ 84351 w 156395"/>
                <a:gd name="connsiteY19" fmla="*/ 92308 h 9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6395" h="92307">
                  <a:moveTo>
                    <a:pt x="84351" y="92308"/>
                  </a:moveTo>
                  <a:cubicBezTo>
                    <a:pt x="84351" y="92308"/>
                    <a:pt x="81274" y="92308"/>
                    <a:pt x="81274" y="92308"/>
                  </a:cubicBezTo>
                  <a:cubicBezTo>
                    <a:pt x="78198" y="89231"/>
                    <a:pt x="78198" y="86154"/>
                    <a:pt x="81274" y="83077"/>
                  </a:cubicBezTo>
                  <a:cubicBezTo>
                    <a:pt x="84351" y="80000"/>
                    <a:pt x="87429" y="73846"/>
                    <a:pt x="87429" y="67692"/>
                  </a:cubicBezTo>
                  <a:cubicBezTo>
                    <a:pt x="93582" y="55385"/>
                    <a:pt x="96659" y="46154"/>
                    <a:pt x="108967" y="40000"/>
                  </a:cubicBezTo>
                  <a:cubicBezTo>
                    <a:pt x="115121" y="36923"/>
                    <a:pt x="121274" y="36923"/>
                    <a:pt x="127428" y="36923"/>
                  </a:cubicBezTo>
                  <a:cubicBezTo>
                    <a:pt x="133582" y="36923"/>
                    <a:pt x="148967" y="33846"/>
                    <a:pt x="148967" y="30769"/>
                  </a:cubicBezTo>
                  <a:cubicBezTo>
                    <a:pt x="148967" y="27692"/>
                    <a:pt x="148967" y="27692"/>
                    <a:pt x="145890" y="24615"/>
                  </a:cubicBezTo>
                  <a:cubicBezTo>
                    <a:pt x="139736" y="15385"/>
                    <a:pt x="115121" y="12308"/>
                    <a:pt x="96659" y="15385"/>
                  </a:cubicBezTo>
                  <a:cubicBezTo>
                    <a:pt x="81274" y="15385"/>
                    <a:pt x="28967" y="46154"/>
                    <a:pt x="10505" y="58462"/>
                  </a:cubicBezTo>
                  <a:cubicBezTo>
                    <a:pt x="7428" y="61538"/>
                    <a:pt x="4351" y="58462"/>
                    <a:pt x="1275" y="55385"/>
                  </a:cubicBezTo>
                  <a:cubicBezTo>
                    <a:pt x="-1803" y="52308"/>
                    <a:pt x="1275" y="49231"/>
                    <a:pt x="4351" y="46154"/>
                  </a:cubicBezTo>
                  <a:cubicBezTo>
                    <a:pt x="10505" y="43077"/>
                    <a:pt x="72044" y="3077"/>
                    <a:pt x="93582" y="0"/>
                  </a:cubicBezTo>
                  <a:cubicBezTo>
                    <a:pt x="108967" y="0"/>
                    <a:pt x="139736" y="0"/>
                    <a:pt x="152044" y="15385"/>
                  </a:cubicBezTo>
                  <a:cubicBezTo>
                    <a:pt x="155121" y="21539"/>
                    <a:pt x="158197" y="27692"/>
                    <a:pt x="155121" y="33846"/>
                  </a:cubicBezTo>
                  <a:cubicBezTo>
                    <a:pt x="152044" y="46154"/>
                    <a:pt x="136659" y="46154"/>
                    <a:pt x="124352" y="49231"/>
                  </a:cubicBezTo>
                  <a:cubicBezTo>
                    <a:pt x="118198" y="49231"/>
                    <a:pt x="112044" y="52308"/>
                    <a:pt x="108967" y="52308"/>
                  </a:cubicBezTo>
                  <a:cubicBezTo>
                    <a:pt x="102813" y="55385"/>
                    <a:pt x="99736" y="64615"/>
                    <a:pt x="93582" y="73846"/>
                  </a:cubicBezTo>
                  <a:cubicBezTo>
                    <a:pt x="90505" y="80000"/>
                    <a:pt x="87429" y="86154"/>
                    <a:pt x="84351" y="89231"/>
                  </a:cubicBezTo>
                  <a:cubicBezTo>
                    <a:pt x="87429" y="92308"/>
                    <a:pt x="84351" y="92308"/>
                    <a:pt x="84351" y="92308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5" name="任意多边形: 形状 794">
              <a:extLst>
                <a:ext uri="{FF2B5EF4-FFF2-40B4-BE49-F238E27FC236}">
                  <a16:creationId xmlns:a16="http://schemas.microsoft.com/office/drawing/2014/main" id="{2615AE09-3C8E-454A-9DC5-96C20728AC76}"/>
                </a:ext>
              </a:extLst>
            </p:cNvPr>
            <p:cNvSpPr/>
            <p:nvPr/>
          </p:nvSpPr>
          <p:spPr>
            <a:xfrm>
              <a:off x="7402358" y="4689048"/>
              <a:ext cx="181538" cy="190769"/>
            </a:xfrm>
            <a:custGeom>
              <a:avLst/>
              <a:gdLst>
                <a:gd name="connsiteX0" fmla="*/ 6154 w 181538"/>
                <a:gd name="connsiteY0" fmla="*/ 190769 h 190769"/>
                <a:gd name="connsiteX1" fmla="*/ 0 w 181538"/>
                <a:gd name="connsiteY1" fmla="*/ 187693 h 190769"/>
                <a:gd name="connsiteX2" fmla="*/ 3077 w 181538"/>
                <a:gd name="connsiteY2" fmla="*/ 181539 h 190769"/>
                <a:gd name="connsiteX3" fmla="*/ 172308 w 181538"/>
                <a:gd name="connsiteY3" fmla="*/ 3077 h 190769"/>
                <a:gd name="connsiteX4" fmla="*/ 178462 w 181538"/>
                <a:gd name="connsiteY4" fmla="*/ 0 h 190769"/>
                <a:gd name="connsiteX5" fmla="*/ 181539 w 181538"/>
                <a:gd name="connsiteY5" fmla="*/ 6154 h 190769"/>
                <a:gd name="connsiteX6" fmla="*/ 6154 w 181538"/>
                <a:gd name="connsiteY6" fmla="*/ 190769 h 190769"/>
                <a:gd name="connsiteX7" fmla="*/ 6154 w 181538"/>
                <a:gd name="connsiteY7" fmla="*/ 190769 h 19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538" h="190769">
                  <a:moveTo>
                    <a:pt x="6154" y="190769"/>
                  </a:moveTo>
                  <a:cubicBezTo>
                    <a:pt x="3077" y="190769"/>
                    <a:pt x="0" y="187693"/>
                    <a:pt x="0" y="187693"/>
                  </a:cubicBezTo>
                  <a:cubicBezTo>
                    <a:pt x="0" y="184615"/>
                    <a:pt x="0" y="181539"/>
                    <a:pt x="3077" y="181539"/>
                  </a:cubicBezTo>
                  <a:cubicBezTo>
                    <a:pt x="116923" y="150769"/>
                    <a:pt x="169231" y="6154"/>
                    <a:pt x="172308" y="3077"/>
                  </a:cubicBezTo>
                  <a:cubicBezTo>
                    <a:pt x="172308" y="0"/>
                    <a:pt x="175385" y="0"/>
                    <a:pt x="178462" y="0"/>
                  </a:cubicBezTo>
                  <a:cubicBezTo>
                    <a:pt x="181539" y="0"/>
                    <a:pt x="181539" y="3077"/>
                    <a:pt x="181539" y="6154"/>
                  </a:cubicBezTo>
                  <a:cubicBezTo>
                    <a:pt x="178462" y="12308"/>
                    <a:pt x="126154" y="156923"/>
                    <a:pt x="6154" y="190769"/>
                  </a:cubicBezTo>
                  <a:cubicBezTo>
                    <a:pt x="6154" y="190769"/>
                    <a:pt x="6154" y="190769"/>
                    <a:pt x="6154" y="190769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6" name="任意多边形: 形状 795">
              <a:extLst>
                <a:ext uri="{FF2B5EF4-FFF2-40B4-BE49-F238E27FC236}">
                  <a16:creationId xmlns:a16="http://schemas.microsoft.com/office/drawing/2014/main" id="{08955F30-88CA-47CA-95A3-E7EE6D20613D}"/>
                </a:ext>
              </a:extLst>
            </p:cNvPr>
            <p:cNvSpPr/>
            <p:nvPr/>
          </p:nvSpPr>
          <p:spPr>
            <a:xfrm>
              <a:off x="7805045" y="2864771"/>
              <a:ext cx="324245" cy="595220"/>
            </a:xfrm>
            <a:custGeom>
              <a:avLst/>
              <a:gdLst>
                <a:gd name="connsiteX0" fmla="*/ 145005 w 324245"/>
                <a:gd name="connsiteY0" fmla="*/ 581200 h 595220"/>
                <a:gd name="connsiteX1" fmla="*/ 323467 w 324245"/>
                <a:gd name="connsiteY1" fmla="*/ 233508 h 595220"/>
                <a:gd name="connsiteX2" fmla="*/ 390 w 324245"/>
                <a:gd name="connsiteY2" fmla="*/ 8893 h 595220"/>
                <a:gd name="connsiteX3" fmla="*/ 37313 w 324245"/>
                <a:gd name="connsiteY3" fmla="*/ 178123 h 595220"/>
                <a:gd name="connsiteX4" fmla="*/ 86544 w 324245"/>
                <a:gd name="connsiteY4" fmla="*/ 322739 h 595220"/>
                <a:gd name="connsiteX5" fmla="*/ 145005 w 324245"/>
                <a:gd name="connsiteY5" fmla="*/ 581200 h 59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4245" h="595220">
                  <a:moveTo>
                    <a:pt x="145005" y="581200"/>
                  </a:moveTo>
                  <a:cubicBezTo>
                    <a:pt x="301929" y="550431"/>
                    <a:pt x="329621" y="298123"/>
                    <a:pt x="323467" y="233508"/>
                  </a:cubicBezTo>
                  <a:cubicBezTo>
                    <a:pt x="301929" y="67354"/>
                    <a:pt x="117313" y="-31107"/>
                    <a:pt x="390" y="8893"/>
                  </a:cubicBezTo>
                  <a:cubicBezTo>
                    <a:pt x="-2687" y="8893"/>
                    <a:pt x="12698" y="128893"/>
                    <a:pt x="37313" y="178123"/>
                  </a:cubicBezTo>
                  <a:cubicBezTo>
                    <a:pt x="58852" y="224277"/>
                    <a:pt x="77313" y="273508"/>
                    <a:pt x="86544" y="322739"/>
                  </a:cubicBezTo>
                  <a:cubicBezTo>
                    <a:pt x="95775" y="375047"/>
                    <a:pt x="46544" y="661200"/>
                    <a:pt x="145005" y="581200"/>
                  </a:cubicBez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7" name="任意多边形: 形状 796">
              <a:extLst>
                <a:ext uri="{FF2B5EF4-FFF2-40B4-BE49-F238E27FC236}">
                  <a16:creationId xmlns:a16="http://schemas.microsoft.com/office/drawing/2014/main" id="{613BB349-9008-4678-BE12-C0CAD186753B}"/>
                </a:ext>
              </a:extLst>
            </p:cNvPr>
            <p:cNvSpPr/>
            <p:nvPr/>
          </p:nvSpPr>
          <p:spPr>
            <a:xfrm>
              <a:off x="7633127" y="2918920"/>
              <a:ext cx="426499" cy="573528"/>
            </a:xfrm>
            <a:custGeom>
              <a:avLst/>
              <a:gdLst>
                <a:gd name="connsiteX0" fmla="*/ 418462 w 426499"/>
                <a:gd name="connsiteY0" fmla="*/ 185513 h 573528"/>
                <a:gd name="connsiteX1" fmla="*/ 406154 w 426499"/>
                <a:gd name="connsiteY1" fmla="*/ 443975 h 573528"/>
                <a:gd name="connsiteX2" fmla="*/ 255385 w 426499"/>
                <a:gd name="connsiteY2" fmla="*/ 573206 h 573528"/>
                <a:gd name="connsiteX3" fmla="*/ 36923 w 426499"/>
                <a:gd name="connsiteY3" fmla="*/ 428590 h 573528"/>
                <a:gd name="connsiteX4" fmla="*/ 0 w 426499"/>
                <a:gd name="connsiteY4" fmla="*/ 200898 h 573528"/>
                <a:gd name="connsiteX5" fmla="*/ 215385 w 426499"/>
                <a:gd name="connsiteY5" fmla="*/ 898 h 573528"/>
                <a:gd name="connsiteX6" fmla="*/ 418462 w 426499"/>
                <a:gd name="connsiteY6" fmla="*/ 185513 h 57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499" h="573528">
                  <a:moveTo>
                    <a:pt x="418462" y="185513"/>
                  </a:moveTo>
                  <a:cubicBezTo>
                    <a:pt x="418462" y="185513"/>
                    <a:pt x="443077" y="376283"/>
                    <a:pt x="406154" y="443975"/>
                  </a:cubicBezTo>
                  <a:cubicBezTo>
                    <a:pt x="369231" y="511667"/>
                    <a:pt x="307692" y="570129"/>
                    <a:pt x="255385" y="573206"/>
                  </a:cubicBezTo>
                  <a:cubicBezTo>
                    <a:pt x="187693" y="579359"/>
                    <a:pt x="73846" y="496283"/>
                    <a:pt x="36923" y="428590"/>
                  </a:cubicBezTo>
                  <a:cubicBezTo>
                    <a:pt x="0" y="360898"/>
                    <a:pt x="0" y="253206"/>
                    <a:pt x="0" y="200898"/>
                  </a:cubicBezTo>
                  <a:cubicBezTo>
                    <a:pt x="3077" y="105513"/>
                    <a:pt x="30769" y="25513"/>
                    <a:pt x="215385" y="898"/>
                  </a:cubicBezTo>
                  <a:cubicBezTo>
                    <a:pt x="304616" y="-11410"/>
                    <a:pt x="400000" y="105513"/>
                    <a:pt x="418462" y="185513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8" name="任意多边形: 形状 797">
              <a:extLst>
                <a:ext uri="{FF2B5EF4-FFF2-40B4-BE49-F238E27FC236}">
                  <a16:creationId xmlns:a16="http://schemas.microsoft.com/office/drawing/2014/main" id="{69B2E62F-449E-4535-BE78-10B8CBDCEC65}"/>
                </a:ext>
              </a:extLst>
            </p:cNvPr>
            <p:cNvSpPr/>
            <p:nvPr/>
          </p:nvSpPr>
          <p:spPr>
            <a:xfrm>
              <a:off x="7860820" y="3193664"/>
              <a:ext cx="55384" cy="132307"/>
            </a:xfrm>
            <a:custGeom>
              <a:avLst/>
              <a:gdLst>
                <a:gd name="connsiteX0" fmla="*/ 30769 w 55384"/>
                <a:gd name="connsiteY0" fmla="*/ 132308 h 132307"/>
                <a:gd name="connsiteX1" fmla="*/ 6154 w 55384"/>
                <a:gd name="connsiteY1" fmla="*/ 129231 h 132307"/>
                <a:gd name="connsiteX2" fmla="*/ 0 w 55384"/>
                <a:gd name="connsiteY2" fmla="*/ 123077 h 132307"/>
                <a:gd name="connsiteX3" fmla="*/ 6154 w 55384"/>
                <a:gd name="connsiteY3" fmla="*/ 116923 h 132307"/>
                <a:gd name="connsiteX4" fmla="*/ 46154 w 55384"/>
                <a:gd name="connsiteY4" fmla="*/ 116923 h 132307"/>
                <a:gd name="connsiteX5" fmla="*/ 46154 w 55384"/>
                <a:gd name="connsiteY5" fmla="*/ 113846 h 132307"/>
                <a:gd name="connsiteX6" fmla="*/ 18461 w 55384"/>
                <a:gd name="connsiteY6" fmla="*/ 6154 h 132307"/>
                <a:gd name="connsiteX7" fmla="*/ 21538 w 55384"/>
                <a:gd name="connsiteY7" fmla="*/ 0 h 132307"/>
                <a:gd name="connsiteX8" fmla="*/ 27692 w 55384"/>
                <a:gd name="connsiteY8" fmla="*/ 3077 h 132307"/>
                <a:gd name="connsiteX9" fmla="*/ 55385 w 55384"/>
                <a:gd name="connsiteY9" fmla="*/ 113846 h 132307"/>
                <a:gd name="connsiteX10" fmla="*/ 49230 w 55384"/>
                <a:gd name="connsiteY10" fmla="*/ 126154 h 132307"/>
                <a:gd name="connsiteX11" fmla="*/ 30769 w 55384"/>
                <a:gd name="connsiteY11" fmla="*/ 132308 h 1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384" h="132307">
                  <a:moveTo>
                    <a:pt x="30769" y="132308"/>
                  </a:moveTo>
                  <a:cubicBezTo>
                    <a:pt x="18461" y="132308"/>
                    <a:pt x="9231" y="129231"/>
                    <a:pt x="6154" y="129231"/>
                  </a:cubicBezTo>
                  <a:cubicBezTo>
                    <a:pt x="3077" y="129231"/>
                    <a:pt x="0" y="126154"/>
                    <a:pt x="0" y="123077"/>
                  </a:cubicBezTo>
                  <a:cubicBezTo>
                    <a:pt x="0" y="120000"/>
                    <a:pt x="3077" y="116923"/>
                    <a:pt x="6154" y="116923"/>
                  </a:cubicBezTo>
                  <a:cubicBezTo>
                    <a:pt x="18461" y="120000"/>
                    <a:pt x="40000" y="120000"/>
                    <a:pt x="46154" y="116923"/>
                  </a:cubicBezTo>
                  <a:cubicBezTo>
                    <a:pt x="46154" y="116923"/>
                    <a:pt x="46154" y="113846"/>
                    <a:pt x="46154" y="113846"/>
                  </a:cubicBezTo>
                  <a:cubicBezTo>
                    <a:pt x="46154" y="98462"/>
                    <a:pt x="24615" y="30769"/>
                    <a:pt x="18461" y="6154"/>
                  </a:cubicBezTo>
                  <a:cubicBezTo>
                    <a:pt x="18461" y="3077"/>
                    <a:pt x="18461" y="0"/>
                    <a:pt x="21538" y="0"/>
                  </a:cubicBezTo>
                  <a:cubicBezTo>
                    <a:pt x="24615" y="0"/>
                    <a:pt x="27692" y="0"/>
                    <a:pt x="27692" y="3077"/>
                  </a:cubicBezTo>
                  <a:cubicBezTo>
                    <a:pt x="27692" y="6154"/>
                    <a:pt x="55385" y="92308"/>
                    <a:pt x="55385" y="113846"/>
                  </a:cubicBezTo>
                  <a:cubicBezTo>
                    <a:pt x="55385" y="120000"/>
                    <a:pt x="52308" y="123077"/>
                    <a:pt x="49230" y="126154"/>
                  </a:cubicBezTo>
                  <a:cubicBezTo>
                    <a:pt x="52308" y="129231"/>
                    <a:pt x="43077" y="132308"/>
                    <a:pt x="30769" y="132308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9" name="任意多边形: 形状 798">
              <a:extLst>
                <a:ext uri="{FF2B5EF4-FFF2-40B4-BE49-F238E27FC236}">
                  <a16:creationId xmlns:a16="http://schemas.microsoft.com/office/drawing/2014/main" id="{C8B42C02-1703-400F-8519-31B3EF557F9E}"/>
                </a:ext>
              </a:extLst>
            </p:cNvPr>
            <p:cNvSpPr/>
            <p:nvPr/>
          </p:nvSpPr>
          <p:spPr>
            <a:xfrm>
              <a:off x="7833127" y="3375202"/>
              <a:ext cx="107692" cy="55384"/>
            </a:xfrm>
            <a:custGeom>
              <a:avLst/>
              <a:gdLst>
                <a:gd name="connsiteX0" fmla="*/ 0 w 107692"/>
                <a:gd name="connsiteY0" fmla="*/ 0 h 55384"/>
                <a:gd name="connsiteX1" fmla="*/ 107692 w 107692"/>
                <a:gd name="connsiteY1" fmla="*/ 0 h 55384"/>
                <a:gd name="connsiteX2" fmla="*/ 55385 w 107692"/>
                <a:gd name="connsiteY2" fmla="*/ 55385 h 55384"/>
                <a:gd name="connsiteX3" fmla="*/ 0 w 107692"/>
                <a:gd name="connsiteY3" fmla="*/ 0 h 55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92" h="55384">
                  <a:moveTo>
                    <a:pt x="0" y="0"/>
                  </a:moveTo>
                  <a:cubicBezTo>
                    <a:pt x="55385" y="24615"/>
                    <a:pt x="107692" y="0"/>
                    <a:pt x="107692" y="0"/>
                  </a:cubicBezTo>
                  <a:cubicBezTo>
                    <a:pt x="107692" y="0"/>
                    <a:pt x="92308" y="55385"/>
                    <a:pt x="55385" y="55385"/>
                  </a:cubicBezTo>
                  <a:cubicBezTo>
                    <a:pt x="15385" y="55385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0" name="任意多边形: 形状 799">
              <a:extLst>
                <a:ext uri="{FF2B5EF4-FFF2-40B4-BE49-F238E27FC236}">
                  <a16:creationId xmlns:a16="http://schemas.microsoft.com/office/drawing/2014/main" id="{2D68EF11-E715-499B-8ABC-44D7959A2A3A}"/>
                </a:ext>
              </a:extLst>
            </p:cNvPr>
            <p:cNvSpPr/>
            <p:nvPr/>
          </p:nvSpPr>
          <p:spPr>
            <a:xfrm>
              <a:off x="7955420" y="3162110"/>
              <a:ext cx="41568" cy="41568"/>
            </a:xfrm>
            <a:custGeom>
              <a:avLst/>
              <a:gdLst>
                <a:gd name="connsiteX0" fmla="*/ 784 w 41568"/>
                <a:gd name="connsiteY0" fmla="*/ 25399 h 41568"/>
                <a:gd name="connsiteX1" fmla="*/ 25399 w 41568"/>
                <a:gd name="connsiteY1" fmla="*/ 40784 h 41568"/>
                <a:gd name="connsiteX2" fmla="*/ 40784 w 41568"/>
                <a:gd name="connsiteY2" fmla="*/ 16169 h 41568"/>
                <a:gd name="connsiteX3" fmla="*/ 16169 w 41568"/>
                <a:gd name="connsiteY3" fmla="*/ 784 h 41568"/>
                <a:gd name="connsiteX4" fmla="*/ 784 w 41568"/>
                <a:gd name="connsiteY4" fmla="*/ 25399 h 41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68" h="41568">
                  <a:moveTo>
                    <a:pt x="784" y="25399"/>
                  </a:moveTo>
                  <a:cubicBezTo>
                    <a:pt x="3861" y="37707"/>
                    <a:pt x="13092" y="43861"/>
                    <a:pt x="25399" y="40784"/>
                  </a:cubicBezTo>
                  <a:cubicBezTo>
                    <a:pt x="37707" y="37707"/>
                    <a:pt x="43861" y="28476"/>
                    <a:pt x="40784" y="16169"/>
                  </a:cubicBezTo>
                  <a:cubicBezTo>
                    <a:pt x="37707" y="3861"/>
                    <a:pt x="28477" y="-2293"/>
                    <a:pt x="16169" y="784"/>
                  </a:cubicBezTo>
                  <a:cubicBezTo>
                    <a:pt x="3861" y="3861"/>
                    <a:pt x="-2293" y="16169"/>
                    <a:pt x="784" y="25399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1" name="任意多边形: 形状 800">
              <a:extLst>
                <a:ext uri="{FF2B5EF4-FFF2-40B4-BE49-F238E27FC236}">
                  <a16:creationId xmlns:a16="http://schemas.microsoft.com/office/drawing/2014/main" id="{41A69700-9E56-4FF9-945D-03982BD4419C}"/>
                </a:ext>
              </a:extLst>
            </p:cNvPr>
            <p:cNvSpPr/>
            <p:nvPr/>
          </p:nvSpPr>
          <p:spPr>
            <a:xfrm>
              <a:off x="7761755" y="3171341"/>
              <a:ext cx="41387" cy="41387"/>
            </a:xfrm>
            <a:custGeom>
              <a:avLst/>
              <a:gdLst>
                <a:gd name="connsiteX0" fmla="*/ 604 w 41387"/>
                <a:gd name="connsiteY0" fmla="*/ 25400 h 41387"/>
                <a:gd name="connsiteX1" fmla="*/ 25219 w 41387"/>
                <a:gd name="connsiteY1" fmla="*/ 40784 h 41387"/>
                <a:gd name="connsiteX2" fmla="*/ 40603 w 41387"/>
                <a:gd name="connsiteY2" fmla="*/ 16169 h 41387"/>
                <a:gd name="connsiteX3" fmla="*/ 15988 w 41387"/>
                <a:gd name="connsiteY3" fmla="*/ 784 h 41387"/>
                <a:gd name="connsiteX4" fmla="*/ 604 w 41387"/>
                <a:gd name="connsiteY4" fmla="*/ 25400 h 4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387">
                  <a:moveTo>
                    <a:pt x="604" y="25400"/>
                  </a:moveTo>
                  <a:cubicBezTo>
                    <a:pt x="3680" y="34630"/>
                    <a:pt x="12911" y="43861"/>
                    <a:pt x="25219" y="40784"/>
                  </a:cubicBezTo>
                  <a:cubicBezTo>
                    <a:pt x="37527" y="37707"/>
                    <a:pt x="43680" y="28476"/>
                    <a:pt x="40603" y="16169"/>
                  </a:cubicBezTo>
                  <a:cubicBezTo>
                    <a:pt x="37527" y="3861"/>
                    <a:pt x="28296" y="-2293"/>
                    <a:pt x="15988" y="784"/>
                  </a:cubicBezTo>
                  <a:cubicBezTo>
                    <a:pt x="6757" y="3861"/>
                    <a:pt x="-2474" y="13092"/>
                    <a:pt x="604" y="25400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2" name="任意多边形: 形状 801">
              <a:extLst>
                <a:ext uri="{FF2B5EF4-FFF2-40B4-BE49-F238E27FC236}">
                  <a16:creationId xmlns:a16="http://schemas.microsoft.com/office/drawing/2014/main" id="{452EB61F-7F09-42C3-AC4A-EC979786CF16}"/>
                </a:ext>
              </a:extLst>
            </p:cNvPr>
            <p:cNvSpPr/>
            <p:nvPr/>
          </p:nvSpPr>
          <p:spPr>
            <a:xfrm>
              <a:off x="7927237" y="3116741"/>
              <a:ext cx="92812" cy="30769"/>
            </a:xfrm>
            <a:custGeom>
              <a:avLst/>
              <a:gdLst>
                <a:gd name="connsiteX0" fmla="*/ 84351 w 92812"/>
                <a:gd name="connsiteY0" fmla="*/ 30769 h 30769"/>
                <a:gd name="connsiteX1" fmla="*/ 78198 w 92812"/>
                <a:gd name="connsiteY1" fmla="*/ 27692 h 30769"/>
                <a:gd name="connsiteX2" fmla="*/ 10505 w 92812"/>
                <a:gd name="connsiteY2" fmla="*/ 21538 h 30769"/>
                <a:gd name="connsiteX3" fmla="*/ 1275 w 92812"/>
                <a:gd name="connsiteY3" fmla="*/ 18462 h 30769"/>
                <a:gd name="connsiteX4" fmla="*/ 4352 w 92812"/>
                <a:gd name="connsiteY4" fmla="*/ 9231 h 30769"/>
                <a:gd name="connsiteX5" fmla="*/ 90505 w 92812"/>
                <a:gd name="connsiteY5" fmla="*/ 18462 h 30769"/>
                <a:gd name="connsiteX6" fmla="*/ 90505 w 92812"/>
                <a:gd name="connsiteY6" fmla="*/ 30769 h 30769"/>
                <a:gd name="connsiteX7" fmla="*/ 84351 w 92812"/>
                <a:gd name="connsiteY7" fmla="*/ 30769 h 3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0769">
                  <a:moveTo>
                    <a:pt x="84351" y="30769"/>
                  </a:moveTo>
                  <a:cubicBezTo>
                    <a:pt x="81275" y="30769"/>
                    <a:pt x="81275" y="30769"/>
                    <a:pt x="78198" y="27692"/>
                  </a:cubicBezTo>
                  <a:cubicBezTo>
                    <a:pt x="53582" y="0"/>
                    <a:pt x="10505" y="21538"/>
                    <a:pt x="10505" y="21538"/>
                  </a:cubicBezTo>
                  <a:cubicBezTo>
                    <a:pt x="7428" y="24615"/>
                    <a:pt x="1275" y="21538"/>
                    <a:pt x="1275" y="18462"/>
                  </a:cubicBezTo>
                  <a:cubicBezTo>
                    <a:pt x="-1803" y="15385"/>
                    <a:pt x="1275" y="9231"/>
                    <a:pt x="4352" y="9231"/>
                  </a:cubicBezTo>
                  <a:cubicBezTo>
                    <a:pt x="22813" y="0"/>
                    <a:pt x="62813" y="-9231"/>
                    <a:pt x="90505" y="18462"/>
                  </a:cubicBezTo>
                  <a:cubicBezTo>
                    <a:pt x="93582" y="21538"/>
                    <a:pt x="93582" y="27692"/>
                    <a:pt x="90505" y="30769"/>
                  </a:cubicBezTo>
                  <a:cubicBezTo>
                    <a:pt x="90505" y="30769"/>
                    <a:pt x="87429" y="30769"/>
                    <a:pt x="84351" y="30769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3" name="任意多边形: 形状 802">
              <a:extLst>
                <a:ext uri="{FF2B5EF4-FFF2-40B4-BE49-F238E27FC236}">
                  <a16:creationId xmlns:a16="http://schemas.microsoft.com/office/drawing/2014/main" id="{9139C05A-D244-42B2-8722-849DD1845F8C}"/>
                </a:ext>
              </a:extLst>
            </p:cNvPr>
            <p:cNvSpPr/>
            <p:nvPr/>
          </p:nvSpPr>
          <p:spPr>
            <a:xfrm>
              <a:off x="7735435" y="3114689"/>
              <a:ext cx="92813" cy="35897"/>
            </a:xfrm>
            <a:custGeom>
              <a:avLst/>
              <a:gdLst>
                <a:gd name="connsiteX0" fmla="*/ 8462 w 92813"/>
                <a:gd name="connsiteY0" fmla="*/ 35897 h 35897"/>
                <a:gd name="connsiteX1" fmla="*/ 2308 w 92813"/>
                <a:gd name="connsiteY1" fmla="*/ 32821 h 35897"/>
                <a:gd name="connsiteX2" fmla="*/ 2308 w 92813"/>
                <a:gd name="connsiteY2" fmla="*/ 20513 h 35897"/>
                <a:gd name="connsiteX3" fmla="*/ 88462 w 92813"/>
                <a:gd name="connsiteY3" fmla="*/ 11282 h 35897"/>
                <a:gd name="connsiteX4" fmla="*/ 91538 w 92813"/>
                <a:gd name="connsiteY4" fmla="*/ 23590 h 35897"/>
                <a:gd name="connsiteX5" fmla="*/ 79231 w 92813"/>
                <a:gd name="connsiteY5" fmla="*/ 26667 h 35897"/>
                <a:gd name="connsiteX6" fmla="*/ 11539 w 92813"/>
                <a:gd name="connsiteY6" fmla="*/ 32821 h 35897"/>
                <a:gd name="connsiteX7" fmla="*/ 8462 w 92813"/>
                <a:gd name="connsiteY7" fmla="*/ 35897 h 35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5897">
                  <a:moveTo>
                    <a:pt x="8462" y="35897"/>
                  </a:moveTo>
                  <a:cubicBezTo>
                    <a:pt x="5384" y="35897"/>
                    <a:pt x="5384" y="35897"/>
                    <a:pt x="2308" y="32821"/>
                  </a:cubicBezTo>
                  <a:cubicBezTo>
                    <a:pt x="-769" y="29744"/>
                    <a:pt x="-769" y="23590"/>
                    <a:pt x="2308" y="20513"/>
                  </a:cubicBezTo>
                  <a:cubicBezTo>
                    <a:pt x="14615" y="8205"/>
                    <a:pt x="51538" y="-13333"/>
                    <a:pt x="88462" y="11282"/>
                  </a:cubicBezTo>
                  <a:cubicBezTo>
                    <a:pt x="91538" y="14359"/>
                    <a:pt x="94616" y="17436"/>
                    <a:pt x="91538" y="23590"/>
                  </a:cubicBezTo>
                  <a:cubicBezTo>
                    <a:pt x="88462" y="26667"/>
                    <a:pt x="85385" y="29744"/>
                    <a:pt x="79231" y="26667"/>
                  </a:cubicBezTo>
                  <a:cubicBezTo>
                    <a:pt x="42308" y="2051"/>
                    <a:pt x="14615" y="32821"/>
                    <a:pt x="11539" y="32821"/>
                  </a:cubicBezTo>
                  <a:cubicBezTo>
                    <a:pt x="11539" y="35897"/>
                    <a:pt x="11539" y="35897"/>
                    <a:pt x="8462" y="35897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4" name="任意多边形: 形状 803">
              <a:extLst>
                <a:ext uri="{FF2B5EF4-FFF2-40B4-BE49-F238E27FC236}">
                  <a16:creationId xmlns:a16="http://schemas.microsoft.com/office/drawing/2014/main" id="{B375BAFA-E458-4649-8BD9-000EF5773500}"/>
                </a:ext>
              </a:extLst>
            </p:cNvPr>
            <p:cNvSpPr/>
            <p:nvPr/>
          </p:nvSpPr>
          <p:spPr>
            <a:xfrm>
              <a:off x="7802274" y="2868424"/>
              <a:ext cx="277239" cy="279085"/>
            </a:xfrm>
            <a:custGeom>
              <a:avLst/>
              <a:gdLst>
                <a:gd name="connsiteX0" fmla="*/ 3161 w 277239"/>
                <a:gd name="connsiteY0" fmla="*/ 2163 h 279085"/>
                <a:gd name="connsiteX1" fmla="*/ 37007 w 277239"/>
                <a:gd name="connsiteY1" fmla="*/ 149855 h 279085"/>
                <a:gd name="connsiteX2" fmla="*/ 277007 w 277239"/>
                <a:gd name="connsiteY2" fmla="*/ 279086 h 279085"/>
                <a:gd name="connsiteX3" fmla="*/ 3161 w 277239"/>
                <a:gd name="connsiteY3" fmla="*/ 2163 h 27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7239" h="279085">
                  <a:moveTo>
                    <a:pt x="3161" y="2163"/>
                  </a:moveTo>
                  <a:cubicBezTo>
                    <a:pt x="3161" y="2163"/>
                    <a:pt x="-15301" y="109855"/>
                    <a:pt x="37007" y="149855"/>
                  </a:cubicBezTo>
                  <a:cubicBezTo>
                    <a:pt x="37007" y="149855"/>
                    <a:pt x="249315" y="192932"/>
                    <a:pt x="277007" y="279086"/>
                  </a:cubicBezTo>
                  <a:cubicBezTo>
                    <a:pt x="277007" y="279086"/>
                    <a:pt x="295469" y="-28606"/>
                    <a:pt x="3161" y="2163"/>
                  </a:cubicBez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5" name="任意多边形: 形状 804">
              <a:extLst>
                <a:ext uri="{FF2B5EF4-FFF2-40B4-BE49-F238E27FC236}">
                  <a16:creationId xmlns:a16="http://schemas.microsoft.com/office/drawing/2014/main" id="{2B86FC04-7BF1-4595-9C81-9B110ECB2E20}"/>
                </a:ext>
              </a:extLst>
            </p:cNvPr>
            <p:cNvSpPr/>
            <p:nvPr/>
          </p:nvSpPr>
          <p:spPr>
            <a:xfrm>
              <a:off x="7539416" y="2870587"/>
              <a:ext cx="299865" cy="354310"/>
            </a:xfrm>
            <a:custGeom>
              <a:avLst/>
              <a:gdLst>
                <a:gd name="connsiteX0" fmla="*/ 299866 w 299865"/>
                <a:gd name="connsiteY0" fmla="*/ 147692 h 354310"/>
                <a:gd name="connsiteX1" fmla="*/ 158327 w 299865"/>
                <a:gd name="connsiteY1" fmla="*/ 203077 h 354310"/>
                <a:gd name="connsiteX2" fmla="*/ 99866 w 299865"/>
                <a:gd name="connsiteY2" fmla="*/ 323077 h 354310"/>
                <a:gd name="connsiteX3" fmla="*/ 10635 w 299865"/>
                <a:gd name="connsiteY3" fmla="*/ 344615 h 354310"/>
                <a:gd name="connsiteX4" fmla="*/ 269097 w 299865"/>
                <a:gd name="connsiteY4" fmla="*/ 0 h 354310"/>
                <a:gd name="connsiteX5" fmla="*/ 299866 w 299865"/>
                <a:gd name="connsiteY5" fmla="*/ 147692 h 35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865" h="354310">
                  <a:moveTo>
                    <a:pt x="299866" y="147692"/>
                  </a:moveTo>
                  <a:cubicBezTo>
                    <a:pt x="299866" y="147692"/>
                    <a:pt x="207558" y="196923"/>
                    <a:pt x="158327" y="203077"/>
                  </a:cubicBezTo>
                  <a:cubicBezTo>
                    <a:pt x="106020" y="209231"/>
                    <a:pt x="99866" y="323077"/>
                    <a:pt x="99866" y="323077"/>
                  </a:cubicBezTo>
                  <a:cubicBezTo>
                    <a:pt x="99866" y="323077"/>
                    <a:pt x="26019" y="375385"/>
                    <a:pt x="10635" y="344615"/>
                  </a:cubicBezTo>
                  <a:cubicBezTo>
                    <a:pt x="-23211" y="276923"/>
                    <a:pt x="13712" y="0"/>
                    <a:pt x="269097" y="0"/>
                  </a:cubicBezTo>
                  <a:cubicBezTo>
                    <a:pt x="266019" y="0"/>
                    <a:pt x="275250" y="141538"/>
                    <a:pt x="299866" y="147692"/>
                  </a:cubicBez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6" name="任意多边形: 形状 805">
              <a:extLst>
                <a:ext uri="{FF2B5EF4-FFF2-40B4-BE49-F238E27FC236}">
                  <a16:creationId xmlns:a16="http://schemas.microsoft.com/office/drawing/2014/main" id="{E96251A8-BEF8-4DF3-A7E0-745CDCF809D0}"/>
                </a:ext>
              </a:extLst>
            </p:cNvPr>
            <p:cNvSpPr/>
            <p:nvPr/>
          </p:nvSpPr>
          <p:spPr>
            <a:xfrm>
              <a:off x="7688512" y="2867510"/>
              <a:ext cx="156923" cy="212307"/>
            </a:xfrm>
            <a:custGeom>
              <a:avLst/>
              <a:gdLst>
                <a:gd name="connsiteX0" fmla="*/ 6154 w 156923"/>
                <a:gd name="connsiteY0" fmla="*/ 212308 h 212307"/>
                <a:gd name="connsiteX1" fmla="*/ 0 w 156923"/>
                <a:gd name="connsiteY1" fmla="*/ 206154 h 212307"/>
                <a:gd name="connsiteX2" fmla="*/ 6154 w 156923"/>
                <a:gd name="connsiteY2" fmla="*/ 200000 h 212307"/>
                <a:gd name="connsiteX3" fmla="*/ 101539 w 156923"/>
                <a:gd name="connsiteY3" fmla="*/ 169231 h 212307"/>
                <a:gd name="connsiteX4" fmla="*/ 141539 w 156923"/>
                <a:gd name="connsiteY4" fmla="*/ 147692 h 212307"/>
                <a:gd name="connsiteX5" fmla="*/ 126154 w 156923"/>
                <a:gd name="connsiteY5" fmla="*/ 126154 h 212307"/>
                <a:gd name="connsiteX6" fmla="*/ 113846 w 156923"/>
                <a:gd name="connsiteY6" fmla="*/ 83077 h 212307"/>
                <a:gd name="connsiteX7" fmla="*/ 110769 w 156923"/>
                <a:gd name="connsiteY7" fmla="*/ 43077 h 212307"/>
                <a:gd name="connsiteX8" fmla="*/ 107692 w 156923"/>
                <a:gd name="connsiteY8" fmla="*/ 6154 h 212307"/>
                <a:gd name="connsiteX9" fmla="*/ 113846 w 156923"/>
                <a:gd name="connsiteY9" fmla="*/ 0 h 212307"/>
                <a:gd name="connsiteX10" fmla="*/ 120000 w 156923"/>
                <a:gd name="connsiteY10" fmla="*/ 6154 h 212307"/>
                <a:gd name="connsiteX11" fmla="*/ 123077 w 156923"/>
                <a:gd name="connsiteY11" fmla="*/ 46154 h 212307"/>
                <a:gd name="connsiteX12" fmla="*/ 126154 w 156923"/>
                <a:gd name="connsiteY12" fmla="*/ 83077 h 212307"/>
                <a:gd name="connsiteX13" fmla="*/ 135385 w 156923"/>
                <a:gd name="connsiteY13" fmla="*/ 123077 h 212307"/>
                <a:gd name="connsiteX14" fmla="*/ 153846 w 156923"/>
                <a:gd name="connsiteY14" fmla="*/ 147692 h 212307"/>
                <a:gd name="connsiteX15" fmla="*/ 156923 w 156923"/>
                <a:gd name="connsiteY15" fmla="*/ 153846 h 212307"/>
                <a:gd name="connsiteX16" fmla="*/ 150770 w 156923"/>
                <a:gd name="connsiteY16" fmla="*/ 156923 h 212307"/>
                <a:gd name="connsiteX17" fmla="*/ 104616 w 156923"/>
                <a:gd name="connsiteY17" fmla="*/ 181538 h 212307"/>
                <a:gd name="connsiteX18" fmla="*/ 6154 w 156923"/>
                <a:gd name="connsiteY18" fmla="*/ 212308 h 212307"/>
                <a:gd name="connsiteX19" fmla="*/ 6154 w 156923"/>
                <a:gd name="connsiteY19" fmla="*/ 212308 h 21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6923" h="212307">
                  <a:moveTo>
                    <a:pt x="6154" y="212308"/>
                  </a:moveTo>
                  <a:cubicBezTo>
                    <a:pt x="3077" y="212308"/>
                    <a:pt x="0" y="209231"/>
                    <a:pt x="0" y="206154"/>
                  </a:cubicBezTo>
                  <a:cubicBezTo>
                    <a:pt x="0" y="203077"/>
                    <a:pt x="3077" y="200000"/>
                    <a:pt x="6154" y="200000"/>
                  </a:cubicBezTo>
                  <a:cubicBezTo>
                    <a:pt x="33846" y="196923"/>
                    <a:pt x="67692" y="184615"/>
                    <a:pt x="101539" y="169231"/>
                  </a:cubicBezTo>
                  <a:cubicBezTo>
                    <a:pt x="120000" y="160000"/>
                    <a:pt x="132308" y="153846"/>
                    <a:pt x="141539" y="147692"/>
                  </a:cubicBezTo>
                  <a:cubicBezTo>
                    <a:pt x="135385" y="141538"/>
                    <a:pt x="129231" y="135385"/>
                    <a:pt x="126154" y="126154"/>
                  </a:cubicBezTo>
                  <a:cubicBezTo>
                    <a:pt x="120000" y="110769"/>
                    <a:pt x="116923" y="95385"/>
                    <a:pt x="113846" y="83077"/>
                  </a:cubicBezTo>
                  <a:cubicBezTo>
                    <a:pt x="113846" y="76923"/>
                    <a:pt x="113846" y="61538"/>
                    <a:pt x="110769" y="43077"/>
                  </a:cubicBezTo>
                  <a:cubicBezTo>
                    <a:pt x="110769" y="27692"/>
                    <a:pt x="110769" y="12308"/>
                    <a:pt x="107692" y="6154"/>
                  </a:cubicBezTo>
                  <a:cubicBezTo>
                    <a:pt x="107692" y="3077"/>
                    <a:pt x="110769" y="0"/>
                    <a:pt x="113846" y="0"/>
                  </a:cubicBezTo>
                  <a:cubicBezTo>
                    <a:pt x="116923" y="0"/>
                    <a:pt x="120000" y="3077"/>
                    <a:pt x="120000" y="6154"/>
                  </a:cubicBezTo>
                  <a:cubicBezTo>
                    <a:pt x="120000" y="12308"/>
                    <a:pt x="120000" y="27692"/>
                    <a:pt x="123077" y="46154"/>
                  </a:cubicBezTo>
                  <a:cubicBezTo>
                    <a:pt x="123077" y="61538"/>
                    <a:pt x="123077" y="76923"/>
                    <a:pt x="126154" y="83077"/>
                  </a:cubicBezTo>
                  <a:cubicBezTo>
                    <a:pt x="129231" y="98462"/>
                    <a:pt x="129231" y="110769"/>
                    <a:pt x="135385" y="123077"/>
                  </a:cubicBezTo>
                  <a:cubicBezTo>
                    <a:pt x="138462" y="132308"/>
                    <a:pt x="147692" y="138462"/>
                    <a:pt x="153846" y="147692"/>
                  </a:cubicBezTo>
                  <a:lnTo>
                    <a:pt x="156923" y="153846"/>
                  </a:lnTo>
                  <a:lnTo>
                    <a:pt x="150770" y="156923"/>
                  </a:lnTo>
                  <a:cubicBezTo>
                    <a:pt x="150770" y="156923"/>
                    <a:pt x="132308" y="169231"/>
                    <a:pt x="104616" y="181538"/>
                  </a:cubicBezTo>
                  <a:cubicBezTo>
                    <a:pt x="70769" y="196923"/>
                    <a:pt x="36923" y="206154"/>
                    <a:pt x="6154" y="212308"/>
                  </a:cubicBezTo>
                  <a:cubicBezTo>
                    <a:pt x="6154" y="212308"/>
                    <a:pt x="6154" y="212308"/>
                    <a:pt x="6154" y="212308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7" name="任意多边形: 形状 806">
              <a:extLst>
                <a:ext uri="{FF2B5EF4-FFF2-40B4-BE49-F238E27FC236}">
                  <a16:creationId xmlns:a16="http://schemas.microsoft.com/office/drawing/2014/main" id="{9AB8B425-37B5-4168-BEAF-5D67DE2FFACC}"/>
                </a:ext>
              </a:extLst>
            </p:cNvPr>
            <p:cNvSpPr/>
            <p:nvPr/>
          </p:nvSpPr>
          <p:spPr>
            <a:xfrm>
              <a:off x="7734666" y="3421356"/>
              <a:ext cx="223846" cy="79999"/>
            </a:xfrm>
            <a:custGeom>
              <a:avLst/>
              <a:gdLst>
                <a:gd name="connsiteX0" fmla="*/ 150770 w 223846"/>
                <a:gd name="connsiteY0" fmla="*/ 80000 h 79999"/>
                <a:gd name="connsiteX1" fmla="*/ 141539 w 223846"/>
                <a:gd name="connsiteY1" fmla="*/ 80000 h 79999"/>
                <a:gd name="connsiteX2" fmla="*/ 3077 w 223846"/>
                <a:gd name="connsiteY2" fmla="*/ 12308 h 79999"/>
                <a:gd name="connsiteX3" fmla="*/ 0 w 223846"/>
                <a:gd name="connsiteY3" fmla="*/ 3077 h 79999"/>
                <a:gd name="connsiteX4" fmla="*/ 9231 w 223846"/>
                <a:gd name="connsiteY4" fmla="*/ 0 h 79999"/>
                <a:gd name="connsiteX5" fmla="*/ 141539 w 223846"/>
                <a:gd name="connsiteY5" fmla="*/ 67692 h 79999"/>
                <a:gd name="connsiteX6" fmla="*/ 212308 w 223846"/>
                <a:gd name="connsiteY6" fmla="*/ 43077 h 79999"/>
                <a:gd name="connsiteX7" fmla="*/ 221538 w 223846"/>
                <a:gd name="connsiteY7" fmla="*/ 43077 h 79999"/>
                <a:gd name="connsiteX8" fmla="*/ 221538 w 223846"/>
                <a:gd name="connsiteY8" fmla="*/ 52308 h 79999"/>
                <a:gd name="connsiteX9" fmla="*/ 150770 w 223846"/>
                <a:gd name="connsiteY9" fmla="*/ 80000 h 7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846" h="79999">
                  <a:moveTo>
                    <a:pt x="150770" y="80000"/>
                  </a:moveTo>
                  <a:cubicBezTo>
                    <a:pt x="147692" y="80000"/>
                    <a:pt x="144615" y="80000"/>
                    <a:pt x="141539" y="80000"/>
                  </a:cubicBezTo>
                  <a:cubicBezTo>
                    <a:pt x="98461" y="73846"/>
                    <a:pt x="6154" y="12308"/>
                    <a:pt x="3077" y="12308"/>
                  </a:cubicBezTo>
                  <a:cubicBezTo>
                    <a:pt x="0" y="9231"/>
                    <a:pt x="0" y="6154"/>
                    <a:pt x="0" y="3077"/>
                  </a:cubicBezTo>
                  <a:cubicBezTo>
                    <a:pt x="3077" y="0"/>
                    <a:pt x="6154" y="0"/>
                    <a:pt x="9231" y="0"/>
                  </a:cubicBezTo>
                  <a:cubicBezTo>
                    <a:pt x="9231" y="0"/>
                    <a:pt x="104616" y="61538"/>
                    <a:pt x="141539" y="67692"/>
                  </a:cubicBezTo>
                  <a:cubicBezTo>
                    <a:pt x="178462" y="73846"/>
                    <a:pt x="212308" y="43077"/>
                    <a:pt x="212308" y="43077"/>
                  </a:cubicBezTo>
                  <a:cubicBezTo>
                    <a:pt x="215385" y="40000"/>
                    <a:pt x="218462" y="40000"/>
                    <a:pt x="221538" y="43077"/>
                  </a:cubicBezTo>
                  <a:cubicBezTo>
                    <a:pt x="224615" y="46154"/>
                    <a:pt x="224615" y="49231"/>
                    <a:pt x="221538" y="52308"/>
                  </a:cubicBezTo>
                  <a:cubicBezTo>
                    <a:pt x="221538" y="52308"/>
                    <a:pt x="190769" y="80000"/>
                    <a:pt x="150770" y="80000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8" name="任意多边形: 形状 807">
              <a:extLst>
                <a:ext uri="{FF2B5EF4-FFF2-40B4-BE49-F238E27FC236}">
                  <a16:creationId xmlns:a16="http://schemas.microsoft.com/office/drawing/2014/main" id="{43AD4672-C4C3-4C24-A981-91EC011E6712}"/>
                </a:ext>
              </a:extLst>
            </p:cNvPr>
            <p:cNvSpPr/>
            <p:nvPr/>
          </p:nvSpPr>
          <p:spPr>
            <a:xfrm>
              <a:off x="7594828" y="3179858"/>
              <a:ext cx="79666" cy="115101"/>
            </a:xfrm>
            <a:custGeom>
              <a:avLst/>
              <a:gdLst>
                <a:gd name="connsiteX0" fmla="*/ 65991 w 79666"/>
                <a:gd name="connsiteY0" fmla="*/ 16883 h 115101"/>
                <a:gd name="connsiteX1" fmla="*/ 7529 w 79666"/>
                <a:gd name="connsiteY1" fmla="*/ 7652 h 115101"/>
                <a:gd name="connsiteX2" fmla="*/ 65991 w 79666"/>
                <a:gd name="connsiteY2" fmla="*/ 112268 h 115101"/>
                <a:gd name="connsiteX3" fmla="*/ 65991 w 79666"/>
                <a:gd name="connsiteY3" fmla="*/ 16883 h 115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666" h="115101">
                  <a:moveTo>
                    <a:pt x="65991" y="16883"/>
                  </a:moveTo>
                  <a:cubicBezTo>
                    <a:pt x="65991" y="16883"/>
                    <a:pt x="32145" y="-13886"/>
                    <a:pt x="7529" y="7652"/>
                  </a:cubicBezTo>
                  <a:cubicBezTo>
                    <a:pt x="-17086" y="26114"/>
                    <a:pt x="22914" y="133806"/>
                    <a:pt x="65991" y="112268"/>
                  </a:cubicBezTo>
                  <a:cubicBezTo>
                    <a:pt x="96760" y="90729"/>
                    <a:pt x="65991" y="16883"/>
                    <a:pt x="65991" y="16883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9" name="任意多边形: 形状 808">
              <a:extLst>
                <a:ext uri="{FF2B5EF4-FFF2-40B4-BE49-F238E27FC236}">
                  <a16:creationId xmlns:a16="http://schemas.microsoft.com/office/drawing/2014/main" id="{94BBFF78-91C3-4340-B736-D2F31FD04EB1}"/>
                </a:ext>
              </a:extLst>
            </p:cNvPr>
            <p:cNvSpPr/>
            <p:nvPr/>
          </p:nvSpPr>
          <p:spPr>
            <a:xfrm>
              <a:off x="7964160" y="3057005"/>
              <a:ext cx="148966" cy="164351"/>
            </a:xfrm>
            <a:custGeom>
              <a:avLst/>
              <a:gdLst>
                <a:gd name="connsiteX0" fmla="*/ 142813 w 148966"/>
                <a:gd name="connsiteY0" fmla="*/ 164351 h 164351"/>
                <a:gd name="connsiteX1" fmla="*/ 136659 w 148966"/>
                <a:gd name="connsiteY1" fmla="*/ 161274 h 164351"/>
                <a:gd name="connsiteX2" fmla="*/ 4351 w 148966"/>
                <a:gd name="connsiteY2" fmla="*/ 10505 h 164351"/>
                <a:gd name="connsiteX3" fmla="*/ 1274 w 148966"/>
                <a:gd name="connsiteY3" fmla="*/ 4351 h 164351"/>
                <a:gd name="connsiteX4" fmla="*/ 7428 w 148966"/>
                <a:gd name="connsiteY4" fmla="*/ 1275 h 164351"/>
                <a:gd name="connsiteX5" fmla="*/ 148967 w 148966"/>
                <a:gd name="connsiteY5" fmla="*/ 161274 h 164351"/>
                <a:gd name="connsiteX6" fmla="*/ 142813 w 148966"/>
                <a:gd name="connsiteY6" fmla="*/ 164351 h 164351"/>
                <a:gd name="connsiteX7" fmla="*/ 142813 w 148966"/>
                <a:gd name="connsiteY7" fmla="*/ 164351 h 164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966" h="164351">
                  <a:moveTo>
                    <a:pt x="142813" y="164351"/>
                  </a:moveTo>
                  <a:cubicBezTo>
                    <a:pt x="139736" y="164351"/>
                    <a:pt x="136659" y="161274"/>
                    <a:pt x="136659" y="161274"/>
                  </a:cubicBezTo>
                  <a:cubicBezTo>
                    <a:pt x="112044" y="38198"/>
                    <a:pt x="4351" y="10505"/>
                    <a:pt x="4351" y="10505"/>
                  </a:cubicBezTo>
                  <a:cubicBezTo>
                    <a:pt x="1274" y="10505"/>
                    <a:pt x="-1802" y="7428"/>
                    <a:pt x="1274" y="4351"/>
                  </a:cubicBezTo>
                  <a:cubicBezTo>
                    <a:pt x="1274" y="1275"/>
                    <a:pt x="4351" y="-1802"/>
                    <a:pt x="7428" y="1275"/>
                  </a:cubicBezTo>
                  <a:cubicBezTo>
                    <a:pt x="7428" y="1275"/>
                    <a:pt x="124351" y="32044"/>
                    <a:pt x="148967" y="161274"/>
                  </a:cubicBezTo>
                  <a:cubicBezTo>
                    <a:pt x="148967" y="161274"/>
                    <a:pt x="145890" y="164351"/>
                    <a:pt x="142813" y="164351"/>
                  </a:cubicBezTo>
                  <a:cubicBezTo>
                    <a:pt x="142813" y="164351"/>
                    <a:pt x="142813" y="164351"/>
                    <a:pt x="142813" y="164351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0" name="任意多边形: 形状 809">
              <a:extLst>
                <a:ext uri="{FF2B5EF4-FFF2-40B4-BE49-F238E27FC236}">
                  <a16:creationId xmlns:a16="http://schemas.microsoft.com/office/drawing/2014/main" id="{8C3B5687-6607-4408-9F0E-4840AB75C976}"/>
                </a:ext>
              </a:extLst>
            </p:cNvPr>
            <p:cNvSpPr/>
            <p:nvPr/>
          </p:nvSpPr>
          <p:spPr>
            <a:xfrm>
              <a:off x="7630050" y="3002894"/>
              <a:ext cx="110768" cy="187692"/>
            </a:xfrm>
            <a:custGeom>
              <a:avLst/>
              <a:gdLst>
                <a:gd name="connsiteX0" fmla="*/ 6154 w 110768"/>
                <a:gd name="connsiteY0" fmla="*/ 187692 h 187692"/>
                <a:gd name="connsiteX1" fmla="*/ 6154 w 110768"/>
                <a:gd name="connsiteY1" fmla="*/ 187692 h 187692"/>
                <a:gd name="connsiteX2" fmla="*/ 0 w 110768"/>
                <a:gd name="connsiteY2" fmla="*/ 181538 h 187692"/>
                <a:gd name="connsiteX3" fmla="*/ 52308 w 110768"/>
                <a:gd name="connsiteY3" fmla="*/ 67692 h 187692"/>
                <a:gd name="connsiteX4" fmla="*/ 101539 w 110768"/>
                <a:gd name="connsiteY4" fmla="*/ 3077 h 187692"/>
                <a:gd name="connsiteX5" fmla="*/ 107692 w 110768"/>
                <a:gd name="connsiteY5" fmla="*/ 0 h 187692"/>
                <a:gd name="connsiteX6" fmla="*/ 110769 w 110768"/>
                <a:gd name="connsiteY6" fmla="*/ 6154 h 187692"/>
                <a:gd name="connsiteX7" fmla="*/ 55385 w 110768"/>
                <a:gd name="connsiteY7" fmla="*/ 73846 h 187692"/>
                <a:gd name="connsiteX8" fmla="*/ 9231 w 110768"/>
                <a:gd name="connsiteY8" fmla="*/ 181538 h 187692"/>
                <a:gd name="connsiteX9" fmla="*/ 6154 w 110768"/>
                <a:gd name="connsiteY9" fmla="*/ 187692 h 18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768" h="187692">
                  <a:moveTo>
                    <a:pt x="6154" y="187692"/>
                  </a:moveTo>
                  <a:cubicBezTo>
                    <a:pt x="6154" y="187692"/>
                    <a:pt x="6154" y="187692"/>
                    <a:pt x="6154" y="187692"/>
                  </a:cubicBezTo>
                  <a:cubicBezTo>
                    <a:pt x="3077" y="187692"/>
                    <a:pt x="0" y="184615"/>
                    <a:pt x="0" y="181538"/>
                  </a:cubicBezTo>
                  <a:cubicBezTo>
                    <a:pt x="0" y="166154"/>
                    <a:pt x="12308" y="95385"/>
                    <a:pt x="52308" y="67692"/>
                  </a:cubicBezTo>
                  <a:cubicBezTo>
                    <a:pt x="83077" y="46154"/>
                    <a:pt x="101539" y="3077"/>
                    <a:pt x="101539" y="3077"/>
                  </a:cubicBezTo>
                  <a:cubicBezTo>
                    <a:pt x="101539" y="0"/>
                    <a:pt x="107692" y="0"/>
                    <a:pt x="107692" y="0"/>
                  </a:cubicBezTo>
                  <a:cubicBezTo>
                    <a:pt x="110769" y="0"/>
                    <a:pt x="110769" y="6154"/>
                    <a:pt x="110769" y="6154"/>
                  </a:cubicBezTo>
                  <a:cubicBezTo>
                    <a:pt x="110769" y="9231"/>
                    <a:pt x="89231" y="49231"/>
                    <a:pt x="55385" y="73846"/>
                  </a:cubicBezTo>
                  <a:cubicBezTo>
                    <a:pt x="18461" y="98462"/>
                    <a:pt x="9231" y="166154"/>
                    <a:pt x="9231" y="181538"/>
                  </a:cubicBezTo>
                  <a:cubicBezTo>
                    <a:pt x="12308" y="184615"/>
                    <a:pt x="9231" y="187692"/>
                    <a:pt x="6154" y="187692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11" name="图形 1">
              <a:extLst>
                <a:ext uri="{FF2B5EF4-FFF2-40B4-BE49-F238E27FC236}">
                  <a16:creationId xmlns:a16="http://schemas.microsoft.com/office/drawing/2014/main" id="{AEC0499B-714B-4CC0-9B71-89E1A71F612F}"/>
                </a:ext>
              </a:extLst>
            </p:cNvPr>
            <p:cNvGrpSpPr/>
            <p:nvPr/>
          </p:nvGrpSpPr>
          <p:grpSpPr>
            <a:xfrm>
              <a:off x="7491589" y="2717660"/>
              <a:ext cx="579829" cy="301986"/>
              <a:chOff x="7491589" y="2717660"/>
              <a:chExt cx="579829" cy="301986"/>
            </a:xfrm>
          </p:grpSpPr>
          <p:sp>
            <p:nvSpPr>
              <p:cNvPr id="812" name="任意多边形: 形状 811">
                <a:extLst>
                  <a:ext uri="{FF2B5EF4-FFF2-40B4-BE49-F238E27FC236}">
                    <a16:creationId xmlns:a16="http://schemas.microsoft.com/office/drawing/2014/main" id="{3AFE5DA7-F476-4BC7-8D4E-BFB1BFEBFEA2}"/>
                  </a:ext>
                </a:extLst>
              </p:cNvPr>
              <p:cNvSpPr/>
              <p:nvPr/>
            </p:nvSpPr>
            <p:spPr>
              <a:xfrm>
                <a:off x="7497743" y="2738279"/>
                <a:ext cx="566153" cy="281367"/>
              </a:xfrm>
              <a:custGeom>
                <a:avLst/>
                <a:gdLst>
                  <a:gd name="connsiteX0" fmla="*/ 566154 w 566153"/>
                  <a:gd name="connsiteY0" fmla="*/ 0 h 281367"/>
                  <a:gd name="connsiteX1" fmla="*/ 556923 w 566153"/>
                  <a:gd name="connsiteY1" fmla="*/ 193846 h 281367"/>
                  <a:gd name="connsiteX2" fmla="*/ 73846 w 566153"/>
                  <a:gd name="connsiteY2" fmla="*/ 276923 h 281367"/>
                  <a:gd name="connsiteX3" fmla="*/ 0 w 566153"/>
                  <a:gd name="connsiteY3" fmla="*/ 83077 h 281367"/>
                  <a:gd name="connsiteX4" fmla="*/ 566154 w 566153"/>
                  <a:gd name="connsiteY4" fmla="*/ 0 h 281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153" h="281367">
                    <a:moveTo>
                      <a:pt x="566154" y="0"/>
                    </a:moveTo>
                    <a:lnTo>
                      <a:pt x="556923" y="193846"/>
                    </a:lnTo>
                    <a:cubicBezTo>
                      <a:pt x="556923" y="193846"/>
                      <a:pt x="409231" y="304615"/>
                      <a:pt x="73846" y="276923"/>
                    </a:cubicBezTo>
                    <a:lnTo>
                      <a:pt x="0" y="83077"/>
                    </a:lnTo>
                    <a:cubicBezTo>
                      <a:pt x="0" y="86154"/>
                      <a:pt x="326154" y="120000"/>
                      <a:pt x="566154" y="0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3" name="任意多边形: 形状 812">
                <a:extLst>
                  <a:ext uri="{FF2B5EF4-FFF2-40B4-BE49-F238E27FC236}">
                    <a16:creationId xmlns:a16="http://schemas.microsoft.com/office/drawing/2014/main" id="{8C42C74E-1E67-4AE3-B08B-CBA9B3A85680}"/>
                  </a:ext>
                </a:extLst>
              </p:cNvPr>
              <p:cNvSpPr/>
              <p:nvPr/>
            </p:nvSpPr>
            <p:spPr>
              <a:xfrm>
                <a:off x="7497743" y="2717660"/>
                <a:ext cx="566153" cy="117551"/>
              </a:xfrm>
              <a:custGeom>
                <a:avLst/>
                <a:gdLst>
                  <a:gd name="connsiteX0" fmla="*/ 566154 w 566153"/>
                  <a:gd name="connsiteY0" fmla="*/ 20619 h 117551"/>
                  <a:gd name="connsiteX1" fmla="*/ 0 w 566153"/>
                  <a:gd name="connsiteY1" fmla="*/ 106773 h 117551"/>
                  <a:gd name="connsiteX2" fmla="*/ 566154 w 566153"/>
                  <a:gd name="connsiteY2" fmla="*/ 20619 h 117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6153" h="117551">
                    <a:moveTo>
                      <a:pt x="566154" y="20619"/>
                    </a:moveTo>
                    <a:cubicBezTo>
                      <a:pt x="566154" y="20619"/>
                      <a:pt x="360000" y="156004"/>
                      <a:pt x="0" y="106773"/>
                    </a:cubicBezTo>
                    <a:cubicBezTo>
                      <a:pt x="0" y="106773"/>
                      <a:pt x="255385" y="-56304"/>
                      <a:pt x="566154" y="20619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4" name="任意多边形: 形状 813">
                <a:extLst>
                  <a:ext uri="{FF2B5EF4-FFF2-40B4-BE49-F238E27FC236}">
                    <a16:creationId xmlns:a16="http://schemas.microsoft.com/office/drawing/2014/main" id="{12EF1328-A463-4892-9DA8-F95E072E306F}"/>
                  </a:ext>
                </a:extLst>
              </p:cNvPr>
              <p:cNvSpPr/>
              <p:nvPr/>
            </p:nvSpPr>
            <p:spPr>
              <a:xfrm>
                <a:off x="7491589" y="2730758"/>
                <a:ext cx="579829" cy="112136"/>
              </a:xfrm>
              <a:custGeom>
                <a:avLst/>
                <a:gdLst>
                  <a:gd name="connsiteX0" fmla="*/ 172307 w 579829"/>
                  <a:gd name="connsiteY0" fmla="*/ 112137 h 112136"/>
                  <a:gd name="connsiteX1" fmla="*/ 6154 w 579829"/>
                  <a:gd name="connsiteY1" fmla="*/ 99829 h 112136"/>
                  <a:gd name="connsiteX2" fmla="*/ 0 w 579829"/>
                  <a:gd name="connsiteY2" fmla="*/ 93675 h 112136"/>
                  <a:gd name="connsiteX3" fmla="*/ 6154 w 579829"/>
                  <a:gd name="connsiteY3" fmla="*/ 87521 h 112136"/>
                  <a:gd name="connsiteX4" fmla="*/ 569231 w 579829"/>
                  <a:gd name="connsiteY4" fmla="*/ 1368 h 112136"/>
                  <a:gd name="connsiteX5" fmla="*/ 578462 w 579829"/>
                  <a:gd name="connsiteY5" fmla="*/ 1368 h 112136"/>
                  <a:gd name="connsiteX6" fmla="*/ 578462 w 579829"/>
                  <a:gd name="connsiteY6" fmla="*/ 10598 h 112136"/>
                  <a:gd name="connsiteX7" fmla="*/ 172307 w 579829"/>
                  <a:gd name="connsiteY7" fmla="*/ 112137 h 112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9829" h="112136">
                    <a:moveTo>
                      <a:pt x="172307" y="112137"/>
                    </a:moveTo>
                    <a:cubicBezTo>
                      <a:pt x="120000" y="112137"/>
                      <a:pt x="64615" y="109060"/>
                      <a:pt x="6154" y="99829"/>
                    </a:cubicBezTo>
                    <a:cubicBezTo>
                      <a:pt x="3077" y="99829"/>
                      <a:pt x="0" y="96752"/>
                      <a:pt x="0" y="93675"/>
                    </a:cubicBezTo>
                    <a:cubicBezTo>
                      <a:pt x="0" y="90598"/>
                      <a:pt x="3077" y="87521"/>
                      <a:pt x="6154" y="87521"/>
                    </a:cubicBezTo>
                    <a:cubicBezTo>
                      <a:pt x="363077" y="142906"/>
                      <a:pt x="566154" y="4444"/>
                      <a:pt x="569231" y="1368"/>
                    </a:cubicBezTo>
                    <a:cubicBezTo>
                      <a:pt x="572307" y="-1709"/>
                      <a:pt x="575385" y="1368"/>
                      <a:pt x="578462" y="1368"/>
                    </a:cubicBezTo>
                    <a:cubicBezTo>
                      <a:pt x="581538" y="4444"/>
                      <a:pt x="578462" y="7521"/>
                      <a:pt x="578462" y="10598"/>
                    </a:cubicBezTo>
                    <a:cubicBezTo>
                      <a:pt x="575385" y="13675"/>
                      <a:pt x="430769" y="112137"/>
                      <a:pt x="172307" y="11213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5" name="任意多边形: 形状 814">
                <a:extLst>
                  <a:ext uri="{FF2B5EF4-FFF2-40B4-BE49-F238E27FC236}">
                    <a16:creationId xmlns:a16="http://schemas.microsoft.com/office/drawing/2014/main" id="{9EE74D5C-038F-428D-BA1B-252A3CE261A6}"/>
                  </a:ext>
                </a:extLst>
              </p:cNvPr>
              <p:cNvSpPr/>
              <p:nvPr/>
            </p:nvSpPr>
            <p:spPr>
              <a:xfrm>
                <a:off x="7759281" y="2849048"/>
                <a:ext cx="135384" cy="135384"/>
              </a:xfrm>
              <a:custGeom>
                <a:avLst/>
                <a:gdLst>
                  <a:gd name="connsiteX0" fmla="*/ 0 w 135384"/>
                  <a:gd name="connsiteY0" fmla="*/ 58462 h 135384"/>
                  <a:gd name="connsiteX1" fmla="*/ 49231 w 135384"/>
                  <a:gd name="connsiteY1" fmla="*/ 52308 h 135384"/>
                  <a:gd name="connsiteX2" fmla="*/ 43077 w 135384"/>
                  <a:gd name="connsiteY2" fmla="*/ 3077 h 135384"/>
                  <a:gd name="connsiteX3" fmla="*/ 76923 w 135384"/>
                  <a:gd name="connsiteY3" fmla="*/ 0 h 135384"/>
                  <a:gd name="connsiteX4" fmla="*/ 83077 w 135384"/>
                  <a:gd name="connsiteY4" fmla="*/ 49231 h 135384"/>
                  <a:gd name="connsiteX5" fmla="*/ 132308 w 135384"/>
                  <a:gd name="connsiteY5" fmla="*/ 40000 h 135384"/>
                  <a:gd name="connsiteX6" fmla="*/ 135384 w 135384"/>
                  <a:gd name="connsiteY6" fmla="*/ 76923 h 135384"/>
                  <a:gd name="connsiteX7" fmla="*/ 89231 w 135384"/>
                  <a:gd name="connsiteY7" fmla="*/ 83077 h 135384"/>
                  <a:gd name="connsiteX8" fmla="*/ 95385 w 135384"/>
                  <a:gd name="connsiteY8" fmla="*/ 132308 h 135384"/>
                  <a:gd name="connsiteX9" fmla="*/ 58461 w 135384"/>
                  <a:gd name="connsiteY9" fmla="*/ 135385 h 135384"/>
                  <a:gd name="connsiteX10" fmla="*/ 52308 w 135384"/>
                  <a:gd name="connsiteY10" fmla="*/ 86154 h 135384"/>
                  <a:gd name="connsiteX11" fmla="*/ 6154 w 135384"/>
                  <a:gd name="connsiteY11" fmla="*/ 95385 h 13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5384" h="135384">
                    <a:moveTo>
                      <a:pt x="0" y="58462"/>
                    </a:moveTo>
                    <a:lnTo>
                      <a:pt x="49231" y="52308"/>
                    </a:lnTo>
                    <a:lnTo>
                      <a:pt x="43077" y="3077"/>
                    </a:lnTo>
                    <a:lnTo>
                      <a:pt x="76923" y="0"/>
                    </a:lnTo>
                    <a:lnTo>
                      <a:pt x="83077" y="49231"/>
                    </a:lnTo>
                    <a:lnTo>
                      <a:pt x="132308" y="40000"/>
                    </a:lnTo>
                    <a:lnTo>
                      <a:pt x="135384" y="76923"/>
                    </a:lnTo>
                    <a:lnTo>
                      <a:pt x="89231" y="83077"/>
                    </a:lnTo>
                    <a:lnTo>
                      <a:pt x="95385" y="132308"/>
                    </a:lnTo>
                    <a:lnTo>
                      <a:pt x="58461" y="135385"/>
                    </a:lnTo>
                    <a:lnTo>
                      <a:pt x="52308" y="86154"/>
                    </a:lnTo>
                    <a:lnTo>
                      <a:pt x="6154" y="95385"/>
                    </a:ln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16" name="任意多边形: 形状 815">
              <a:extLst>
                <a:ext uri="{FF2B5EF4-FFF2-40B4-BE49-F238E27FC236}">
                  <a16:creationId xmlns:a16="http://schemas.microsoft.com/office/drawing/2014/main" id="{6F0F083F-C13B-489F-A6A3-8E7A49B29891}"/>
                </a:ext>
              </a:extLst>
            </p:cNvPr>
            <p:cNvSpPr/>
            <p:nvPr/>
          </p:nvSpPr>
          <p:spPr>
            <a:xfrm>
              <a:off x="7320649" y="3565971"/>
              <a:ext cx="594513" cy="2203076"/>
            </a:xfrm>
            <a:custGeom>
              <a:avLst/>
              <a:gdLst>
                <a:gd name="connsiteX0" fmla="*/ 404786 w 594513"/>
                <a:gd name="connsiteY0" fmla="*/ 0 h 2203076"/>
                <a:gd name="connsiteX1" fmla="*/ 140171 w 594513"/>
                <a:gd name="connsiteY1" fmla="*/ 120000 h 2203076"/>
                <a:gd name="connsiteX2" fmla="*/ 140171 w 594513"/>
                <a:gd name="connsiteY2" fmla="*/ 393846 h 2203076"/>
                <a:gd name="connsiteX3" fmla="*/ 158632 w 594513"/>
                <a:gd name="connsiteY3" fmla="*/ 864615 h 2203076"/>
                <a:gd name="connsiteX4" fmla="*/ 23248 w 594513"/>
                <a:gd name="connsiteY4" fmla="*/ 1341539 h 2203076"/>
                <a:gd name="connsiteX5" fmla="*/ 23248 w 594513"/>
                <a:gd name="connsiteY5" fmla="*/ 2203077 h 2203076"/>
                <a:gd name="connsiteX6" fmla="*/ 460171 w 594513"/>
                <a:gd name="connsiteY6" fmla="*/ 2203077 h 2203076"/>
                <a:gd name="connsiteX7" fmla="*/ 518633 w 594513"/>
                <a:gd name="connsiteY7" fmla="*/ 1043077 h 2203076"/>
                <a:gd name="connsiteX8" fmla="*/ 570940 w 594513"/>
                <a:gd name="connsiteY8" fmla="*/ 307692 h 2203076"/>
                <a:gd name="connsiteX9" fmla="*/ 404786 w 594513"/>
                <a:gd name="connsiteY9" fmla="*/ 0 h 220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513" h="2203076">
                  <a:moveTo>
                    <a:pt x="404786" y="0"/>
                  </a:moveTo>
                  <a:cubicBezTo>
                    <a:pt x="324786" y="9231"/>
                    <a:pt x="192479" y="46154"/>
                    <a:pt x="140171" y="120000"/>
                  </a:cubicBezTo>
                  <a:cubicBezTo>
                    <a:pt x="78633" y="206154"/>
                    <a:pt x="115556" y="301538"/>
                    <a:pt x="140171" y="393846"/>
                  </a:cubicBezTo>
                  <a:cubicBezTo>
                    <a:pt x="183248" y="550769"/>
                    <a:pt x="192479" y="707692"/>
                    <a:pt x="158632" y="864615"/>
                  </a:cubicBezTo>
                  <a:cubicBezTo>
                    <a:pt x="130940" y="1006154"/>
                    <a:pt x="60171" y="1178462"/>
                    <a:pt x="23248" y="1341539"/>
                  </a:cubicBezTo>
                  <a:cubicBezTo>
                    <a:pt x="-29060" y="1569231"/>
                    <a:pt x="23248" y="2203077"/>
                    <a:pt x="23248" y="2203077"/>
                  </a:cubicBezTo>
                  <a:lnTo>
                    <a:pt x="460171" y="2203077"/>
                  </a:lnTo>
                  <a:cubicBezTo>
                    <a:pt x="460171" y="2203077"/>
                    <a:pt x="484786" y="1240000"/>
                    <a:pt x="518633" y="1043077"/>
                  </a:cubicBezTo>
                  <a:cubicBezTo>
                    <a:pt x="558632" y="800000"/>
                    <a:pt x="632479" y="547692"/>
                    <a:pt x="570940" y="307692"/>
                  </a:cubicBezTo>
                  <a:cubicBezTo>
                    <a:pt x="549402" y="206154"/>
                    <a:pt x="414017" y="0"/>
                    <a:pt x="404786" y="0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7" name="任意多边形: 形状 816">
              <a:extLst>
                <a:ext uri="{FF2B5EF4-FFF2-40B4-BE49-F238E27FC236}">
                  <a16:creationId xmlns:a16="http://schemas.microsoft.com/office/drawing/2014/main" id="{DA239687-D9FC-45FE-A68E-0927ED5D02D5}"/>
                </a:ext>
              </a:extLst>
            </p:cNvPr>
            <p:cNvSpPr/>
            <p:nvPr/>
          </p:nvSpPr>
          <p:spPr>
            <a:xfrm>
              <a:off x="7959281" y="3565971"/>
              <a:ext cx="449230" cy="2193846"/>
            </a:xfrm>
            <a:custGeom>
              <a:avLst/>
              <a:gdLst>
                <a:gd name="connsiteX0" fmla="*/ 338462 w 449230"/>
                <a:gd name="connsiteY0" fmla="*/ 495385 h 2193846"/>
                <a:gd name="connsiteX1" fmla="*/ 307692 w 449230"/>
                <a:gd name="connsiteY1" fmla="*/ 729231 h 2193846"/>
                <a:gd name="connsiteX2" fmla="*/ 310769 w 449230"/>
                <a:gd name="connsiteY2" fmla="*/ 963077 h 2193846"/>
                <a:gd name="connsiteX3" fmla="*/ 341539 w 449230"/>
                <a:gd name="connsiteY3" fmla="*/ 1123077 h 2193846"/>
                <a:gd name="connsiteX4" fmla="*/ 449231 w 449230"/>
                <a:gd name="connsiteY4" fmla="*/ 2193846 h 2193846"/>
                <a:gd name="connsiteX5" fmla="*/ 212308 w 449230"/>
                <a:gd name="connsiteY5" fmla="*/ 2193846 h 2193846"/>
                <a:gd name="connsiteX6" fmla="*/ 215385 w 449230"/>
                <a:gd name="connsiteY6" fmla="*/ 1089231 h 2193846"/>
                <a:gd name="connsiteX7" fmla="*/ 196923 w 449230"/>
                <a:gd name="connsiteY7" fmla="*/ 741538 h 2193846"/>
                <a:gd name="connsiteX8" fmla="*/ 24615 w 449230"/>
                <a:gd name="connsiteY8" fmla="*/ 18461 h 2193846"/>
                <a:gd name="connsiteX9" fmla="*/ 0 w 449230"/>
                <a:gd name="connsiteY9" fmla="*/ 0 h 2193846"/>
                <a:gd name="connsiteX10" fmla="*/ 224615 w 449230"/>
                <a:gd name="connsiteY10" fmla="*/ 80000 h 2193846"/>
                <a:gd name="connsiteX11" fmla="*/ 338462 w 449230"/>
                <a:gd name="connsiteY11" fmla="*/ 495385 h 219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9230" h="2193846">
                  <a:moveTo>
                    <a:pt x="338462" y="495385"/>
                  </a:moveTo>
                  <a:cubicBezTo>
                    <a:pt x="329231" y="575385"/>
                    <a:pt x="310769" y="649231"/>
                    <a:pt x="307692" y="729231"/>
                  </a:cubicBezTo>
                  <a:cubicBezTo>
                    <a:pt x="304615" y="806154"/>
                    <a:pt x="307692" y="886154"/>
                    <a:pt x="310769" y="963077"/>
                  </a:cubicBezTo>
                  <a:cubicBezTo>
                    <a:pt x="313846" y="1015385"/>
                    <a:pt x="338462" y="1073846"/>
                    <a:pt x="341539" y="1123077"/>
                  </a:cubicBezTo>
                  <a:cubicBezTo>
                    <a:pt x="406154" y="1483077"/>
                    <a:pt x="449231" y="2193846"/>
                    <a:pt x="449231" y="2193846"/>
                  </a:cubicBezTo>
                  <a:lnTo>
                    <a:pt x="212308" y="2193846"/>
                  </a:lnTo>
                  <a:cubicBezTo>
                    <a:pt x="255385" y="1929231"/>
                    <a:pt x="215385" y="1089231"/>
                    <a:pt x="215385" y="1089231"/>
                  </a:cubicBezTo>
                  <a:cubicBezTo>
                    <a:pt x="175385" y="975385"/>
                    <a:pt x="184615" y="861538"/>
                    <a:pt x="196923" y="741538"/>
                  </a:cubicBezTo>
                  <a:cubicBezTo>
                    <a:pt x="224615" y="483077"/>
                    <a:pt x="184615" y="230769"/>
                    <a:pt x="24615" y="18461"/>
                  </a:cubicBezTo>
                  <a:cubicBezTo>
                    <a:pt x="21538" y="15385"/>
                    <a:pt x="12308" y="15385"/>
                    <a:pt x="0" y="0"/>
                  </a:cubicBezTo>
                  <a:cubicBezTo>
                    <a:pt x="86154" y="3077"/>
                    <a:pt x="169231" y="30769"/>
                    <a:pt x="224615" y="80000"/>
                  </a:cubicBezTo>
                  <a:cubicBezTo>
                    <a:pt x="329231" y="178462"/>
                    <a:pt x="353846" y="353846"/>
                    <a:pt x="338462" y="495385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8" name="任意多边形: 形状 817">
              <a:extLst>
                <a:ext uri="{FF2B5EF4-FFF2-40B4-BE49-F238E27FC236}">
                  <a16:creationId xmlns:a16="http://schemas.microsoft.com/office/drawing/2014/main" id="{E19D4534-ACA7-4661-B9AE-EB91A14FDA13}"/>
                </a:ext>
              </a:extLst>
            </p:cNvPr>
            <p:cNvSpPr/>
            <p:nvPr/>
          </p:nvSpPr>
          <p:spPr>
            <a:xfrm>
              <a:off x="7660820" y="3485971"/>
              <a:ext cx="241589" cy="415384"/>
            </a:xfrm>
            <a:custGeom>
              <a:avLst/>
              <a:gdLst>
                <a:gd name="connsiteX0" fmla="*/ 33846 w 241589"/>
                <a:gd name="connsiteY0" fmla="*/ 0 h 415384"/>
                <a:gd name="connsiteX1" fmla="*/ 212308 w 241589"/>
                <a:gd name="connsiteY1" fmla="*/ 196923 h 415384"/>
                <a:gd name="connsiteX2" fmla="*/ 230769 w 241589"/>
                <a:gd name="connsiteY2" fmla="*/ 393846 h 415384"/>
                <a:gd name="connsiteX3" fmla="*/ 184615 w 241589"/>
                <a:gd name="connsiteY3" fmla="*/ 393846 h 415384"/>
                <a:gd name="connsiteX4" fmla="*/ 107692 w 241589"/>
                <a:gd name="connsiteY4" fmla="*/ 415385 h 415384"/>
                <a:gd name="connsiteX5" fmla="*/ 64615 w 241589"/>
                <a:gd name="connsiteY5" fmla="*/ 387692 h 415384"/>
                <a:gd name="connsiteX6" fmla="*/ 0 w 241589"/>
                <a:gd name="connsiteY6" fmla="*/ 36923 h 415384"/>
                <a:gd name="connsiteX7" fmla="*/ 33846 w 241589"/>
                <a:gd name="connsiteY7" fmla="*/ 0 h 415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1589" h="415384">
                  <a:moveTo>
                    <a:pt x="33846" y="0"/>
                  </a:moveTo>
                  <a:cubicBezTo>
                    <a:pt x="33846" y="0"/>
                    <a:pt x="175385" y="92308"/>
                    <a:pt x="212308" y="196923"/>
                  </a:cubicBezTo>
                  <a:cubicBezTo>
                    <a:pt x="249230" y="304615"/>
                    <a:pt x="246154" y="384615"/>
                    <a:pt x="230769" y="393846"/>
                  </a:cubicBezTo>
                  <a:cubicBezTo>
                    <a:pt x="218461" y="403077"/>
                    <a:pt x="203077" y="384615"/>
                    <a:pt x="184615" y="393846"/>
                  </a:cubicBezTo>
                  <a:cubicBezTo>
                    <a:pt x="166154" y="403077"/>
                    <a:pt x="120000" y="415385"/>
                    <a:pt x="107692" y="415385"/>
                  </a:cubicBezTo>
                  <a:cubicBezTo>
                    <a:pt x="92308" y="415385"/>
                    <a:pt x="58461" y="400000"/>
                    <a:pt x="64615" y="387692"/>
                  </a:cubicBezTo>
                  <a:cubicBezTo>
                    <a:pt x="70769" y="375385"/>
                    <a:pt x="24615" y="64615"/>
                    <a:pt x="0" y="36923"/>
                  </a:cubicBezTo>
                  <a:lnTo>
                    <a:pt x="33846" y="0"/>
                  </a:ln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9" name="任意多边形: 形状 818">
              <a:extLst>
                <a:ext uri="{FF2B5EF4-FFF2-40B4-BE49-F238E27FC236}">
                  <a16:creationId xmlns:a16="http://schemas.microsoft.com/office/drawing/2014/main" id="{A45D2BB3-6D0A-49FE-8C43-C18743741BC9}"/>
                </a:ext>
              </a:extLst>
            </p:cNvPr>
            <p:cNvSpPr/>
            <p:nvPr/>
          </p:nvSpPr>
          <p:spPr>
            <a:xfrm>
              <a:off x="7704666" y="3520587"/>
              <a:ext cx="150000" cy="269999"/>
            </a:xfrm>
            <a:custGeom>
              <a:avLst/>
              <a:gdLst>
                <a:gd name="connsiteX0" fmla="*/ 143846 w 150000"/>
                <a:gd name="connsiteY0" fmla="*/ 270000 h 269999"/>
                <a:gd name="connsiteX1" fmla="*/ 137692 w 150000"/>
                <a:gd name="connsiteY1" fmla="*/ 263846 h 269999"/>
                <a:gd name="connsiteX2" fmla="*/ 2308 w 150000"/>
                <a:gd name="connsiteY2" fmla="*/ 11538 h 269999"/>
                <a:gd name="connsiteX3" fmla="*/ 2308 w 150000"/>
                <a:gd name="connsiteY3" fmla="*/ 2308 h 269999"/>
                <a:gd name="connsiteX4" fmla="*/ 11539 w 150000"/>
                <a:gd name="connsiteY4" fmla="*/ 2308 h 269999"/>
                <a:gd name="connsiteX5" fmla="*/ 150000 w 150000"/>
                <a:gd name="connsiteY5" fmla="*/ 260769 h 269999"/>
                <a:gd name="connsiteX6" fmla="*/ 143846 w 150000"/>
                <a:gd name="connsiteY6" fmla="*/ 270000 h 269999"/>
                <a:gd name="connsiteX7" fmla="*/ 143846 w 150000"/>
                <a:gd name="connsiteY7" fmla="*/ 270000 h 26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0000" h="269999">
                  <a:moveTo>
                    <a:pt x="143846" y="270000"/>
                  </a:moveTo>
                  <a:cubicBezTo>
                    <a:pt x="140769" y="270000"/>
                    <a:pt x="137692" y="266923"/>
                    <a:pt x="137692" y="263846"/>
                  </a:cubicBezTo>
                  <a:cubicBezTo>
                    <a:pt x="131539" y="146923"/>
                    <a:pt x="5384" y="11538"/>
                    <a:pt x="2308" y="11538"/>
                  </a:cubicBezTo>
                  <a:cubicBezTo>
                    <a:pt x="-769" y="8462"/>
                    <a:pt x="-769" y="5385"/>
                    <a:pt x="2308" y="2308"/>
                  </a:cubicBezTo>
                  <a:cubicBezTo>
                    <a:pt x="5384" y="-769"/>
                    <a:pt x="8462" y="-769"/>
                    <a:pt x="11539" y="2308"/>
                  </a:cubicBezTo>
                  <a:cubicBezTo>
                    <a:pt x="17692" y="8462"/>
                    <a:pt x="143846" y="140769"/>
                    <a:pt x="150000" y="260769"/>
                  </a:cubicBezTo>
                  <a:cubicBezTo>
                    <a:pt x="150000" y="266923"/>
                    <a:pt x="146923" y="270000"/>
                    <a:pt x="143846" y="270000"/>
                  </a:cubicBezTo>
                  <a:lnTo>
                    <a:pt x="143846" y="270000"/>
                  </a:ln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0" name="任意多边形: 形状 819">
              <a:extLst>
                <a:ext uri="{FF2B5EF4-FFF2-40B4-BE49-F238E27FC236}">
                  <a16:creationId xmlns:a16="http://schemas.microsoft.com/office/drawing/2014/main" id="{EBD94F99-E23A-4450-BC72-4A5ED2DA3173}"/>
                </a:ext>
              </a:extLst>
            </p:cNvPr>
            <p:cNvSpPr/>
            <p:nvPr/>
          </p:nvSpPr>
          <p:spPr>
            <a:xfrm>
              <a:off x="7647116" y="3469983"/>
              <a:ext cx="106010" cy="79562"/>
            </a:xfrm>
            <a:custGeom>
              <a:avLst/>
              <a:gdLst>
                <a:gd name="connsiteX0" fmla="*/ 106011 w 106010"/>
                <a:gd name="connsiteY0" fmla="*/ 15988 h 79562"/>
                <a:gd name="connsiteX1" fmla="*/ 87549 w 106010"/>
                <a:gd name="connsiteY1" fmla="*/ 604 h 79562"/>
                <a:gd name="connsiteX2" fmla="*/ 10626 w 106010"/>
                <a:gd name="connsiteY2" fmla="*/ 25219 h 79562"/>
                <a:gd name="connsiteX3" fmla="*/ 4472 w 106010"/>
                <a:gd name="connsiteY3" fmla="*/ 52911 h 79562"/>
                <a:gd name="connsiteX4" fmla="*/ 22934 w 106010"/>
                <a:gd name="connsiteY4" fmla="*/ 77527 h 79562"/>
                <a:gd name="connsiteX5" fmla="*/ 90626 w 106010"/>
                <a:gd name="connsiteY5" fmla="*/ 55988 h 79562"/>
                <a:gd name="connsiteX6" fmla="*/ 99857 w 106010"/>
                <a:gd name="connsiteY6" fmla="*/ 40604 h 79562"/>
                <a:gd name="connsiteX7" fmla="*/ 106011 w 106010"/>
                <a:gd name="connsiteY7" fmla="*/ 15988 h 7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010" h="79562">
                  <a:moveTo>
                    <a:pt x="106011" y="15988"/>
                  </a:moveTo>
                  <a:cubicBezTo>
                    <a:pt x="106011" y="6757"/>
                    <a:pt x="96780" y="-2473"/>
                    <a:pt x="87549" y="604"/>
                  </a:cubicBezTo>
                  <a:cubicBezTo>
                    <a:pt x="62934" y="9834"/>
                    <a:pt x="35242" y="15988"/>
                    <a:pt x="10626" y="25219"/>
                  </a:cubicBezTo>
                  <a:cubicBezTo>
                    <a:pt x="-1681" y="28296"/>
                    <a:pt x="-1681" y="46757"/>
                    <a:pt x="4472" y="52911"/>
                  </a:cubicBezTo>
                  <a:cubicBezTo>
                    <a:pt x="-7835" y="62142"/>
                    <a:pt x="7549" y="86757"/>
                    <a:pt x="22934" y="77527"/>
                  </a:cubicBezTo>
                  <a:cubicBezTo>
                    <a:pt x="44472" y="65219"/>
                    <a:pt x="66011" y="59065"/>
                    <a:pt x="90626" y="55988"/>
                  </a:cubicBezTo>
                  <a:cubicBezTo>
                    <a:pt x="99857" y="55988"/>
                    <a:pt x="102934" y="46757"/>
                    <a:pt x="99857" y="40604"/>
                  </a:cubicBezTo>
                  <a:cubicBezTo>
                    <a:pt x="102934" y="31373"/>
                    <a:pt x="106011" y="25219"/>
                    <a:pt x="106011" y="15988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1" name="任意多边形: 形状 820">
              <a:extLst>
                <a:ext uri="{FF2B5EF4-FFF2-40B4-BE49-F238E27FC236}">
                  <a16:creationId xmlns:a16="http://schemas.microsoft.com/office/drawing/2014/main" id="{28F8305A-DCA7-49C4-907A-B34632A8CE07}"/>
                </a:ext>
              </a:extLst>
            </p:cNvPr>
            <p:cNvSpPr/>
            <p:nvPr/>
          </p:nvSpPr>
          <p:spPr>
            <a:xfrm>
              <a:off x="8198007" y="3672389"/>
              <a:ext cx="101338" cy="582812"/>
            </a:xfrm>
            <a:custGeom>
              <a:avLst/>
              <a:gdLst>
                <a:gd name="connsiteX0" fmla="*/ 62813 w 101338"/>
                <a:gd name="connsiteY0" fmla="*/ 582813 h 582812"/>
                <a:gd name="connsiteX1" fmla="*/ 62813 w 101338"/>
                <a:gd name="connsiteY1" fmla="*/ 582813 h 582812"/>
                <a:gd name="connsiteX2" fmla="*/ 56659 w 101338"/>
                <a:gd name="connsiteY2" fmla="*/ 576659 h 582812"/>
                <a:gd name="connsiteX3" fmla="*/ 90505 w 101338"/>
                <a:gd name="connsiteY3" fmla="*/ 348967 h 582812"/>
                <a:gd name="connsiteX4" fmla="*/ 1275 w 101338"/>
                <a:gd name="connsiteY4" fmla="*/ 7428 h 582812"/>
                <a:gd name="connsiteX5" fmla="*/ 4351 w 101338"/>
                <a:gd name="connsiteY5" fmla="*/ 1275 h 582812"/>
                <a:gd name="connsiteX6" fmla="*/ 10505 w 101338"/>
                <a:gd name="connsiteY6" fmla="*/ 4351 h 582812"/>
                <a:gd name="connsiteX7" fmla="*/ 99736 w 101338"/>
                <a:gd name="connsiteY7" fmla="*/ 352044 h 582812"/>
                <a:gd name="connsiteX8" fmla="*/ 62813 w 101338"/>
                <a:gd name="connsiteY8" fmla="*/ 582813 h 582812"/>
                <a:gd name="connsiteX9" fmla="*/ 62813 w 101338"/>
                <a:gd name="connsiteY9" fmla="*/ 582813 h 582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1338" h="582812">
                  <a:moveTo>
                    <a:pt x="62813" y="582813"/>
                  </a:moveTo>
                  <a:cubicBezTo>
                    <a:pt x="62813" y="582813"/>
                    <a:pt x="62813" y="582813"/>
                    <a:pt x="62813" y="582813"/>
                  </a:cubicBezTo>
                  <a:cubicBezTo>
                    <a:pt x="59736" y="582813"/>
                    <a:pt x="56659" y="579736"/>
                    <a:pt x="56659" y="576659"/>
                  </a:cubicBezTo>
                  <a:cubicBezTo>
                    <a:pt x="75121" y="512044"/>
                    <a:pt x="87429" y="407428"/>
                    <a:pt x="90505" y="348967"/>
                  </a:cubicBezTo>
                  <a:cubicBezTo>
                    <a:pt x="96659" y="225890"/>
                    <a:pt x="68967" y="112044"/>
                    <a:pt x="1275" y="7428"/>
                  </a:cubicBezTo>
                  <a:cubicBezTo>
                    <a:pt x="-1803" y="4351"/>
                    <a:pt x="1275" y="1275"/>
                    <a:pt x="4351" y="1275"/>
                  </a:cubicBezTo>
                  <a:cubicBezTo>
                    <a:pt x="7428" y="-1802"/>
                    <a:pt x="10505" y="1275"/>
                    <a:pt x="10505" y="4351"/>
                  </a:cubicBezTo>
                  <a:cubicBezTo>
                    <a:pt x="78198" y="112044"/>
                    <a:pt x="108967" y="228967"/>
                    <a:pt x="99736" y="352044"/>
                  </a:cubicBezTo>
                  <a:cubicBezTo>
                    <a:pt x="96659" y="413582"/>
                    <a:pt x="81274" y="515121"/>
                    <a:pt x="62813" y="582813"/>
                  </a:cubicBezTo>
                  <a:cubicBezTo>
                    <a:pt x="68967" y="579736"/>
                    <a:pt x="65890" y="582813"/>
                    <a:pt x="62813" y="582813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22" name="图形 1">
              <a:extLst>
                <a:ext uri="{FF2B5EF4-FFF2-40B4-BE49-F238E27FC236}">
                  <a16:creationId xmlns:a16="http://schemas.microsoft.com/office/drawing/2014/main" id="{AEC0499B-714B-4CC0-9B71-89E1A71F612F}"/>
                </a:ext>
              </a:extLst>
            </p:cNvPr>
            <p:cNvGrpSpPr/>
            <p:nvPr/>
          </p:nvGrpSpPr>
          <p:grpSpPr>
            <a:xfrm>
              <a:off x="7820820" y="3419409"/>
              <a:ext cx="252307" cy="226562"/>
              <a:chOff x="7820820" y="3419409"/>
              <a:chExt cx="252307" cy="226562"/>
            </a:xfrm>
          </p:grpSpPr>
          <p:sp>
            <p:nvSpPr>
              <p:cNvPr id="823" name="任意多边形: 形状 822">
                <a:extLst>
                  <a:ext uri="{FF2B5EF4-FFF2-40B4-BE49-F238E27FC236}">
                    <a16:creationId xmlns:a16="http://schemas.microsoft.com/office/drawing/2014/main" id="{5EE4A95F-8D8A-436E-92B7-58F2CCB4BDB5}"/>
                  </a:ext>
                </a:extLst>
              </p:cNvPr>
              <p:cNvSpPr/>
              <p:nvPr/>
            </p:nvSpPr>
            <p:spPr>
              <a:xfrm>
                <a:off x="7826370" y="3426062"/>
                <a:ext cx="241789" cy="211228"/>
              </a:xfrm>
              <a:custGeom>
                <a:avLst/>
                <a:gdLst>
                  <a:gd name="connsiteX0" fmla="*/ 15988 w 241789"/>
                  <a:gd name="connsiteY0" fmla="*/ 167602 h 211228"/>
                  <a:gd name="connsiteX1" fmla="*/ 15988 w 241789"/>
                  <a:gd name="connsiteY1" fmla="*/ 167602 h 211228"/>
                  <a:gd name="connsiteX2" fmla="*/ 102142 w 241789"/>
                  <a:gd name="connsiteY2" fmla="*/ 210679 h 211228"/>
                  <a:gd name="connsiteX3" fmla="*/ 169834 w 241789"/>
                  <a:gd name="connsiteY3" fmla="*/ 179909 h 211228"/>
                  <a:gd name="connsiteX4" fmla="*/ 179065 w 241789"/>
                  <a:gd name="connsiteY4" fmla="*/ 115294 h 211228"/>
                  <a:gd name="connsiteX5" fmla="*/ 179065 w 241789"/>
                  <a:gd name="connsiteY5" fmla="*/ 112217 h 211228"/>
                  <a:gd name="connsiteX6" fmla="*/ 194450 w 241789"/>
                  <a:gd name="connsiteY6" fmla="*/ 66063 h 211228"/>
                  <a:gd name="connsiteX7" fmla="*/ 231373 w 241789"/>
                  <a:gd name="connsiteY7" fmla="*/ 38371 h 211228"/>
                  <a:gd name="connsiteX8" fmla="*/ 231373 w 241789"/>
                  <a:gd name="connsiteY8" fmla="*/ 4525 h 211228"/>
                  <a:gd name="connsiteX9" fmla="*/ 169834 w 241789"/>
                  <a:gd name="connsiteY9" fmla="*/ 19909 h 211228"/>
                  <a:gd name="connsiteX10" fmla="*/ 117527 w 241789"/>
                  <a:gd name="connsiteY10" fmla="*/ 81448 h 211228"/>
                  <a:gd name="connsiteX11" fmla="*/ 34450 w 241789"/>
                  <a:gd name="connsiteY11" fmla="*/ 53756 h 211228"/>
                  <a:gd name="connsiteX12" fmla="*/ 15988 w 241789"/>
                  <a:gd name="connsiteY12" fmla="*/ 78371 h 211228"/>
                  <a:gd name="connsiteX13" fmla="*/ 603 w 241789"/>
                  <a:gd name="connsiteY13" fmla="*/ 106063 h 211228"/>
                  <a:gd name="connsiteX14" fmla="*/ 9834 w 241789"/>
                  <a:gd name="connsiteY14" fmla="*/ 130679 h 211228"/>
                  <a:gd name="connsiteX15" fmla="*/ 15988 w 241789"/>
                  <a:gd name="connsiteY15" fmla="*/ 167602 h 211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1789" h="211228">
                    <a:moveTo>
                      <a:pt x="15988" y="167602"/>
                    </a:moveTo>
                    <a:cubicBezTo>
                      <a:pt x="15988" y="170679"/>
                      <a:pt x="15988" y="170679"/>
                      <a:pt x="15988" y="167602"/>
                    </a:cubicBezTo>
                    <a:cubicBezTo>
                      <a:pt x="6757" y="204525"/>
                      <a:pt x="77527" y="213756"/>
                      <a:pt x="102142" y="210679"/>
                    </a:cubicBezTo>
                    <a:cubicBezTo>
                      <a:pt x="126758" y="207602"/>
                      <a:pt x="154450" y="198371"/>
                      <a:pt x="169834" y="179909"/>
                    </a:cubicBezTo>
                    <a:cubicBezTo>
                      <a:pt x="185219" y="161448"/>
                      <a:pt x="182142" y="136832"/>
                      <a:pt x="179065" y="115294"/>
                    </a:cubicBezTo>
                    <a:cubicBezTo>
                      <a:pt x="179065" y="115294"/>
                      <a:pt x="179065" y="112217"/>
                      <a:pt x="179065" y="112217"/>
                    </a:cubicBezTo>
                    <a:cubicBezTo>
                      <a:pt x="179065" y="93756"/>
                      <a:pt x="185219" y="78371"/>
                      <a:pt x="194450" y="66063"/>
                    </a:cubicBezTo>
                    <a:cubicBezTo>
                      <a:pt x="206757" y="50679"/>
                      <a:pt x="219065" y="47602"/>
                      <a:pt x="231373" y="38371"/>
                    </a:cubicBezTo>
                    <a:cubicBezTo>
                      <a:pt x="243681" y="29140"/>
                      <a:pt x="246757" y="13756"/>
                      <a:pt x="231373" y="4525"/>
                    </a:cubicBezTo>
                    <a:cubicBezTo>
                      <a:pt x="212911" y="-7783"/>
                      <a:pt x="185219" y="7602"/>
                      <a:pt x="169834" y="19909"/>
                    </a:cubicBezTo>
                    <a:cubicBezTo>
                      <a:pt x="148296" y="35294"/>
                      <a:pt x="129834" y="56832"/>
                      <a:pt x="117527" y="81448"/>
                    </a:cubicBezTo>
                    <a:cubicBezTo>
                      <a:pt x="92911" y="66063"/>
                      <a:pt x="62142" y="47602"/>
                      <a:pt x="34450" y="53756"/>
                    </a:cubicBezTo>
                    <a:cubicBezTo>
                      <a:pt x="19065" y="56832"/>
                      <a:pt x="15988" y="69140"/>
                      <a:pt x="15988" y="78371"/>
                    </a:cubicBezTo>
                    <a:cubicBezTo>
                      <a:pt x="6757" y="81448"/>
                      <a:pt x="-2473" y="93756"/>
                      <a:pt x="603" y="106063"/>
                    </a:cubicBezTo>
                    <a:cubicBezTo>
                      <a:pt x="603" y="115294"/>
                      <a:pt x="3681" y="121448"/>
                      <a:pt x="9834" y="130679"/>
                    </a:cubicBezTo>
                    <a:cubicBezTo>
                      <a:pt x="603" y="139909"/>
                      <a:pt x="603" y="158371"/>
                      <a:pt x="15988" y="16760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4" name="任意多边形: 形状 823">
                <a:extLst>
                  <a:ext uri="{FF2B5EF4-FFF2-40B4-BE49-F238E27FC236}">
                    <a16:creationId xmlns:a16="http://schemas.microsoft.com/office/drawing/2014/main" id="{B74BDAFF-BF72-4B32-85C2-B3C098DFDFBC}"/>
                  </a:ext>
                </a:extLst>
              </p:cNvPr>
              <p:cNvSpPr/>
              <p:nvPr/>
            </p:nvSpPr>
            <p:spPr>
              <a:xfrm>
                <a:off x="7820820" y="3419409"/>
                <a:ext cx="252307" cy="226562"/>
              </a:xfrm>
              <a:custGeom>
                <a:avLst/>
                <a:gdLst>
                  <a:gd name="connsiteX0" fmla="*/ 95385 w 252307"/>
                  <a:gd name="connsiteY0" fmla="*/ 223485 h 226562"/>
                  <a:gd name="connsiteX1" fmla="*/ 21538 w 252307"/>
                  <a:gd name="connsiteY1" fmla="*/ 201947 h 226562"/>
                  <a:gd name="connsiteX2" fmla="*/ 15385 w 252307"/>
                  <a:gd name="connsiteY2" fmla="*/ 180408 h 226562"/>
                  <a:gd name="connsiteX3" fmla="*/ 3077 w 252307"/>
                  <a:gd name="connsiteY3" fmla="*/ 158870 h 226562"/>
                  <a:gd name="connsiteX4" fmla="*/ 6154 w 252307"/>
                  <a:gd name="connsiteY4" fmla="*/ 137331 h 226562"/>
                  <a:gd name="connsiteX5" fmla="*/ 0 w 252307"/>
                  <a:gd name="connsiteY5" fmla="*/ 112716 h 226562"/>
                  <a:gd name="connsiteX6" fmla="*/ 15385 w 252307"/>
                  <a:gd name="connsiteY6" fmla="*/ 81947 h 226562"/>
                  <a:gd name="connsiteX7" fmla="*/ 36923 w 252307"/>
                  <a:gd name="connsiteY7" fmla="*/ 54254 h 226562"/>
                  <a:gd name="connsiteX8" fmla="*/ 120000 w 252307"/>
                  <a:gd name="connsiteY8" fmla="*/ 78870 h 226562"/>
                  <a:gd name="connsiteX9" fmla="*/ 172308 w 252307"/>
                  <a:gd name="connsiteY9" fmla="*/ 20408 h 226562"/>
                  <a:gd name="connsiteX10" fmla="*/ 240000 w 252307"/>
                  <a:gd name="connsiteY10" fmla="*/ 5024 h 226562"/>
                  <a:gd name="connsiteX11" fmla="*/ 252308 w 252307"/>
                  <a:gd name="connsiteY11" fmla="*/ 23485 h 226562"/>
                  <a:gd name="connsiteX12" fmla="*/ 240000 w 252307"/>
                  <a:gd name="connsiteY12" fmla="*/ 48100 h 226562"/>
                  <a:gd name="connsiteX13" fmla="*/ 224615 w 252307"/>
                  <a:gd name="connsiteY13" fmla="*/ 57331 h 226562"/>
                  <a:gd name="connsiteX14" fmla="*/ 203077 w 252307"/>
                  <a:gd name="connsiteY14" fmla="*/ 72716 h 226562"/>
                  <a:gd name="connsiteX15" fmla="*/ 187693 w 252307"/>
                  <a:gd name="connsiteY15" fmla="*/ 115793 h 226562"/>
                  <a:gd name="connsiteX16" fmla="*/ 187693 w 252307"/>
                  <a:gd name="connsiteY16" fmla="*/ 121947 h 226562"/>
                  <a:gd name="connsiteX17" fmla="*/ 187693 w 252307"/>
                  <a:gd name="connsiteY17" fmla="*/ 134254 h 226562"/>
                  <a:gd name="connsiteX18" fmla="*/ 175385 w 252307"/>
                  <a:gd name="connsiteY18" fmla="*/ 192716 h 226562"/>
                  <a:gd name="connsiteX19" fmla="*/ 104615 w 252307"/>
                  <a:gd name="connsiteY19" fmla="*/ 226562 h 226562"/>
                  <a:gd name="connsiteX20" fmla="*/ 95385 w 252307"/>
                  <a:gd name="connsiteY20" fmla="*/ 223485 h 226562"/>
                  <a:gd name="connsiteX21" fmla="*/ 24615 w 252307"/>
                  <a:gd name="connsiteY21" fmla="*/ 171177 h 226562"/>
                  <a:gd name="connsiteX22" fmla="*/ 30769 w 252307"/>
                  <a:gd name="connsiteY22" fmla="*/ 174254 h 226562"/>
                  <a:gd name="connsiteX23" fmla="*/ 30769 w 252307"/>
                  <a:gd name="connsiteY23" fmla="*/ 177331 h 226562"/>
                  <a:gd name="connsiteX24" fmla="*/ 33846 w 252307"/>
                  <a:gd name="connsiteY24" fmla="*/ 192716 h 226562"/>
                  <a:gd name="connsiteX25" fmla="*/ 107692 w 252307"/>
                  <a:gd name="connsiteY25" fmla="*/ 211177 h 226562"/>
                  <a:gd name="connsiteX26" fmla="*/ 172308 w 252307"/>
                  <a:gd name="connsiteY26" fmla="*/ 183485 h 226562"/>
                  <a:gd name="connsiteX27" fmla="*/ 181538 w 252307"/>
                  <a:gd name="connsiteY27" fmla="*/ 134254 h 226562"/>
                  <a:gd name="connsiteX28" fmla="*/ 181538 w 252307"/>
                  <a:gd name="connsiteY28" fmla="*/ 121947 h 226562"/>
                  <a:gd name="connsiteX29" fmla="*/ 181538 w 252307"/>
                  <a:gd name="connsiteY29" fmla="*/ 118870 h 226562"/>
                  <a:gd name="connsiteX30" fmla="*/ 181538 w 252307"/>
                  <a:gd name="connsiteY30" fmla="*/ 115793 h 226562"/>
                  <a:gd name="connsiteX31" fmla="*/ 200000 w 252307"/>
                  <a:gd name="connsiteY31" fmla="*/ 66562 h 226562"/>
                  <a:gd name="connsiteX32" fmla="*/ 224615 w 252307"/>
                  <a:gd name="connsiteY32" fmla="*/ 48100 h 226562"/>
                  <a:gd name="connsiteX33" fmla="*/ 240000 w 252307"/>
                  <a:gd name="connsiteY33" fmla="*/ 38870 h 226562"/>
                  <a:gd name="connsiteX34" fmla="*/ 249231 w 252307"/>
                  <a:gd name="connsiteY34" fmla="*/ 23485 h 226562"/>
                  <a:gd name="connsiteX35" fmla="*/ 243077 w 252307"/>
                  <a:gd name="connsiteY35" fmla="*/ 14254 h 226562"/>
                  <a:gd name="connsiteX36" fmla="*/ 187693 w 252307"/>
                  <a:gd name="connsiteY36" fmla="*/ 29639 h 226562"/>
                  <a:gd name="connsiteX37" fmla="*/ 135384 w 252307"/>
                  <a:gd name="connsiteY37" fmla="*/ 88100 h 226562"/>
                  <a:gd name="connsiteX38" fmla="*/ 132308 w 252307"/>
                  <a:gd name="connsiteY38" fmla="*/ 94254 h 226562"/>
                  <a:gd name="connsiteX39" fmla="*/ 126154 w 252307"/>
                  <a:gd name="connsiteY39" fmla="*/ 91177 h 226562"/>
                  <a:gd name="connsiteX40" fmla="*/ 46154 w 252307"/>
                  <a:gd name="connsiteY40" fmla="*/ 66562 h 226562"/>
                  <a:gd name="connsiteX41" fmla="*/ 33846 w 252307"/>
                  <a:gd name="connsiteY41" fmla="*/ 85024 h 226562"/>
                  <a:gd name="connsiteX42" fmla="*/ 33846 w 252307"/>
                  <a:gd name="connsiteY42" fmla="*/ 91177 h 226562"/>
                  <a:gd name="connsiteX43" fmla="*/ 30769 w 252307"/>
                  <a:gd name="connsiteY43" fmla="*/ 94254 h 226562"/>
                  <a:gd name="connsiteX44" fmla="*/ 18462 w 252307"/>
                  <a:gd name="connsiteY44" fmla="*/ 115793 h 226562"/>
                  <a:gd name="connsiteX45" fmla="*/ 24615 w 252307"/>
                  <a:gd name="connsiteY45" fmla="*/ 134254 h 226562"/>
                  <a:gd name="connsiteX46" fmla="*/ 27692 w 252307"/>
                  <a:gd name="connsiteY46" fmla="*/ 137331 h 226562"/>
                  <a:gd name="connsiteX47" fmla="*/ 24615 w 252307"/>
                  <a:gd name="connsiteY47" fmla="*/ 140408 h 226562"/>
                  <a:gd name="connsiteX48" fmla="*/ 21538 w 252307"/>
                  <a:gd name="connsiteY48" fmla="*/ 158870 h 226562"/>
                  <a:gd name="connsiteX49" fmla="*/ 24615 w 252307"/>
                  <a:gd name="connsiteY49" fmla="*/ 171177 h 226562"/>
                  <a:gd name="connsiteX50" fmla="*/ 21538 w 252307"/>
                  <a:gd name="connsiteY50" fmla="*/ 174254 h 226562"/>
                  <a:gd name="connsiteX51" fmla="*/ 24615 w 252307"/>
                  <a:gd name="connsiteY51" fmla="*/ 171177 h 226562"/>
                  <a:gd name="connsiteX52" fmla="*/ 21538 w 252307"/>
                  <a:gd name="connsiteY52" fmla="*/ 174254 h 226562"/>
                  <a:gd name="connsiteX53" fmla="*/ 24615 w 252307"/>
                  <a:gd name="connsiteY53" fmla="*/ 171177 h 22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252307" h="226562">
                    <a:moveTo>
                      <a:pt x="95385" y="223485"/>
                    </a:moveTo>
                    <a:cubicBezTo>
                      <a:pt x="73846" y="223485"/>
                      <a:pt x="36923" y="217331"/>
                      <a:pt x="21538" y="201947"/>
                    </a:cubicBezTo>
                    <a:cubicBezTo>
                      <a:pt x="15385" y="195793"/>
                      <a:pt x="15385" y="186562"/>
                      <a:pt x="15385" y="180408"/>
                    </a:cubicBezTo>
                    <a:cubicBezTo>
                      <a:pt x="9231" y="174254"/>
                      <a:pt x="3077" y="168101"/>
                      <a:pt x="3077" y="158870"/>
                    </a:cubicBezTo>
                    <a:cubicBezTo>
                      <a:pt x="3077" y="149639"/>
                      <a:pt x="3077" y="143485"/>
                      <a:pt x="6154" y="137331"/>
                    </a:cubicBezTo>
                    <a:cubicBezTo>
                      <a:pt x="3077" y="131177"/>
                      <a:pt x="0" y="121947"/>
                      <a:pt x="0" y="112716"/>
                    </a:cubicBezTo>
                    <a:cubicBezTo>
                      <a:pt x="0" y="100408"/>
                      <a:pt x="6154" y="88100"/>
                      <a:pt x="15385" y="81947"/>
                    </a:cubicBezTo>
                    <a:cubicBezTo>
                      <a:pt x="15385" y="66562"/>
                      <a:pt x="21538" y="57331"/>
                      <a:pt x="36923" y="54254"/>
                    </a:cubicBezTo>
                    <a:cubicBezTo>
                      <a:pt x="64616" y="45024"/>
                      <a:pt x="95385" y="60408"/>
                      <a:pt x="120000" y="78870"/>
                    </a:cubicBezTo>
                    <a:cubicBezTo>
                      <a:pt x="132308" y="60408"/>
                      <a:pt x="147692" y="38870"/>
                      <a:pt x="172308" y="20408"/>
                    </a:cubicBezTo>
                    <a:cubicBezTo>
                      <a:pt x="190769" y="5024"/>
                      <a:pt x="218462" y="-7284"/>
                      <a:pt x="240000" y="5024"/>
                    </a:cubicBezTo>
                    <a:cubicBezTo>
                      <a:pt x="249231" y="11177"/>
                      <a:pt x="252308" y="17331"/>
                      <a:pt x="252308" y="23485"/>
                    </a:cubicBezTo>
                    <a:cubicBezTo>
                      <a:pt x="252308" y="32716"/>
                      <a:pt x="249231" y="41947"/>
                      <a:pt x="240000" y="48100"/>
                    </a:cubicBezTo>
                    <a:cubicBezTo>
                      <a:pt x="233846" y="51177"/>
                      <a:pt x="230769" y="54254"/>
                      <a:pt x="224615" y="57331"/>
                    </a:cubicBezTo>
                    <a:cubicBezTo>
                      <a:pt x="218462" y="63485"/>
                      <a:pt x="209231" y="66562"/>
                      <a:pt x="203077" y="72716"/>
                    </a:cubicBezTo>
                    <a:cubicBezTo>
                      <a:pt x="193846" y="85024"/>
                      <a:pt x="187693" y="97331"/>
                      <a:pt x="187693" y="115793"/>
                    </a:cubicBezTo>
                    <a:cubicBezTo>
                      <a:pt x="187693" y="118870"/>
                      <a:pt x="187693" y="118870"/>
                      <a:pt x="187693" y="121947"/>
                    </a:cubicBezTo>
                    <a:cubicBezTo>
                      <a:pt x="187693" y="125024"/>
                      <a:pt x="187693" y="128100"/>
                      <a:pt x="187693" y="134254"/>
                    </a:cubicBezTo>
                    <a:cubicBezTo>
                      <a:pt x="187693" y="152716"/>
                      <a:pt x="190769" y="177331"/>
                      <a:pt x="175385" y="192716"/>
                    </a:cubicBezTo>
                    <a:cubicBezTo>
                      <a:pt x="160000" y="208101"/>
                      <a:pt x="132308" y="220408"/>
                      <a:pt x="104615" y="226562"/>
                    </a:cubicBezTo>
                    <a:cubicBezTo>
                      <a:pt x="104615" y="223485"/>
                      <a:pt x="101539" y="223485"/>
                      <a:pt x="95385" y="223485"/>
                    </a:cubicBezTo>
                    <a:close/>
                    <a:moveTo>
                      <a:pt x="24615" y="171177"/>
                    </a:moveTo>
                    <a:lnTo>
                      <a:pt x="30769" y="174254"/>
                    </a:lnTo>
                    <a:lnTo>
                      <a:pt x="30769" y="177331"/>
                    </a:lnTo>
                    <a:cubicBezTo>
                      <a:pt x="27692" y="183485"/>
                      <a:pt x="30769" y="189639"/>
                      <a:pt x="33846" y="192716"/>
                    </a:cubicBezTo>
                    <a:cubicBezTo>
                      <a:pt x="46154" y="208101"/>
                      <a:pt x="89231" y="214254"/>
                      <a:pt x="107692" y="211177"/>
                    </a:cubicBezTo>
                    <a:cubicBezTo>
                      <a:pt x="135384" y="208101"/>
                      <a:pt x="160000" y="195793"/>
                      <a:pt x="172308" y="183485"/>
                    </a:cubicBezTo>
                    <a:cubicBezTo>
                      <a:pt x="184615" y="171177"/>
                      <a:pt x="181538" y="152716"/>
                      <a:pt x="181538" y="134254"/>
                    </a:cubicBezTo>
                    <a:cubicBezTo>
                      <a:pt x="181538" y="131177"/>
                      <a:pt x="181538" y="125024"/>
                      <a:pt x="181538" y="121947"/>
                    </a:cubicBezTo>
                    <a:lnTo>
                      <a:pt x="181538" y="118870"/>
                    </a:lnTo>
                    <a:lnTo>
                      <a:pt x="181538" y="115793"/>
                    </a:lnTo>
                    <a:cubicBezTo>
                      <a:pt x="181538" y="97331"/>
                      <a:pt x="187693" y="78870"/>
                      <a:pt x="200000" y="66562"/>
                    </a:cubicBezTo>
                    <a:cubicBezTo>
                      <a:pt x="206154" y="57331"/>
                      <a:pt x="215385" y="51177"/>
                      <a:pt x="224615" y="48100"/>
                    </a:cubicBezTo>
                    <a:cubicBezTo>
                      <a:pt x="227692" y="45024"/>
                      <a:pt x="233846" y="41947"/>
                      <a:pt x="240000" y="38870"/>
                    </a:cubicBezTo>
                    <a:cubicBezTo>
                      <a:pt x="246154" y="32716"/>
                      <a:pt x="249231" y="29639"/>
                      <a:pt x="249231" y="23485"/>
                    </a:cubicBezTo>
                    <a:cubicBezTo>
                      <a:pt x="249231" y="20408"/>
                      <a:pt x="246154" y="17331"/>
                      <a:pt x="243077" y="14254"/>
                    </a:cubicBezTo>
                    <a:cubicBezTo>
                      <a:pt x="224615" y="5024"/>
                      <a:pt x="200000" y="20408"/>
                      <a:pt x="187693" y="29639"/>
                    </a:cubicBezTo>
                    <a:cubicBezTo>
                      <a:pt x="163077" y="48100"/>
                      <a:pt x="147692" y="69639"/>
                      <a:pt x="135384" y="88100"/>
                    </a:cubicBezTo>
                    <a:lnTo>
                      <a:pt x="132308" y="94254"/>
                    </a:lnTo>
                    <a:lnTo>
                      <a:pt x="126154" y="91177"/>
                    </a:lnTo>
                    <a:cubicBezTo>
                      <a:pt x="101539" y="75793"/>
                      <a:pt x="73846" y="57331"/>
                      <a:pt x="46154" y="66562"/>
                    </a:cubicBezTo>
                    <a:cubicBezTo>
                      <a:pt x="36923" y="69639"/>
                      <a:pt x="30769" y="75793"/>
                      <a:pt x="33846" y="85024"/>
                    </a:cubicBezTo>
                    <a:lnTo>
                      <a:pt x="33846" y="91177"/>
                    </a:lnTo>
                    <a:lnTo>
                      <a:pt x="30769" y="94254"/>
                    </a:lnTo>
                    <a:cubicBezTo>
                      <a:pt x="24615" y="97331"/>
                      <a:pt x="18462" y="106562"/>
                      <a:pt x="18462" y="115793"/>
                    </a:cubicBezTo>
                    <a:cubicBezTo>
                      <a:pt x="18462" y="121947"/>
                      <a:pt x="21538" y="131177"/>
                      <a:pt x="24615" y="134254"/>
                    </a:cubicBezTo>
                    <a:lnTo>
                      <a:pt x="27692" y="137331"/>
                    </a:lnTo>
                    <a:lnTo>
                      <a:pt x="24615" y="140408"/>
                    </a:lnTo>
                    <a:cubicBezTo>
                      <a:pt x="21538" y="146562"/>
                      <a:pt x="18462" y="152716"/>
                      <a:pt x="21538" y="158870"/>
                    </a:cubicBezTo>
                    <a:cubicBezTo>
                      <a:pt x="15385" y="161947"/>
                      <a:pt x="18462" y="168101"/>
                      <a:pt x="24615" y="171177"/>
                    </a:cubicBezTo>
                    <a:lnTo>
                      <a:pt x="21538" y="174254"/>
                    </a:lnTo>
                    <a:lnTo>
                      <a:pt x="24615" y="171177"/>
                    </a:lnTo>
                    <a:lnTo>
                      <a:pt x="21538" y="174254"/>
                    </a:lnTo>
                    <a:lnTo>
                      <a:pt x="24615" y="171177"/>
                    </a:ln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25" name="任意多边形: 形状 824">
              <a:extLst>
                <a:ext uri="{FF2B5EF4-FFF2-40B4-BE49-F238E27FC236}">
                  <a16:creationId xmlns:a16="http://schemas.microsoft.com/office/drawing/2014/main" id="{95D70C41-0E14-4BB3-9593-3D2610FB865C}"/>
                </a:ext>
              </a:extLst>
            </p:cNvPr>
            <p:cNvSpPr/>
            <p:nvPr/>
          </p:nvSpPr>
          <p:spPr>
            <a:xfrm>
              <a:off x="7897743" y="3574625"/>
              <a:ext cx="436610" cy="911669"/>
            </a:xfrm>
            <a:custGeom>
              <a:avLst/>
              <a:gdLst>
                <a:gd name="connsiteX0" fmla="*/ 107692 w 436610"/>
                <a:gd name="connsiteY0" fmla="*/ 9808 h 911669"/>
                <a:gd name="connsiteX1" fmla="*/ 424615 w 436610"/>
                <a:gd name="connsiteY1" fmla="*/ 622116 h 911669"/>
                <a:gd name="connsiteX2" fmla="*/ 363077 w 436610"/>
                <a:gd name="connsiteY2" fmla="*/ 908270 h 911669"/>
                <a:gd name="connsiteX3" fmla="*/ 0 w 436610"/>
                <a:gd name="connsiteY3" fmla="*/ 40577 h 911669"/>
                <a:gd name="connsiteX4" fmla="*/ 107692 w 436610"/>
                <a:gd name="connsiteY4" fmla="*/ 9808 h 911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6610" h="911669">
                  <a:moveTo>
                    <a:pt x="107692" y="9808"/>
                  </a:moveTo>
                  <a:cubicBezTo>
                    <a:pt x="107692" y="9808"/>
                    <a:pt x="353846" y="508270"/>
                    <a:pt x="424615" y="622116"/>
                  </a:cubicBezTo>
                  <a:cubicBezTo>
                    <a:pt x="424615" y="622116"/>
                    <a:pt x="476923" y="948270"/>
                    <a:pt x="363077" y="908270"/>
                  </a:cubicBezTo>
                  <a:cubicBezTo>
                    <a:pt x="249231" y="868270"/>
                    <a:pt x="0" y="40577"/>
                    <a:pt x="0" y="40577"/>
                  </a:cubicBezTo>
                  <a:cubicBezTo>
                    <a:pt x="0" y="40577"/>
                    <a:pt x="64616" y="-24038"/>
                    <a:pt x="107692" y="9808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6" name="任意多边形: 形状 825">
              <a:extLst>
                <a:ext uri="{FF2B5EF4-FFF2-40B4-BE49-F238E27FC236}">
                  <a16:creationId xmlns:a16="http://schemas.microsoft.com/office/drawing/2014/main" id="{944DD0F2-9AF5-4CA7-BC8D-457FD9F69464}"/>
                </a:ext>
              </a:extLst>
            </p:cNvPr>
            <p:cNvSpPr/>
            <p:nvPr/>
          </p:nvSpPr>
          <p:spPr>
            <a:xfrm>
              <a:off x="7400583" y="3744552"/>
              <a:ext cx="774082" cy="786341"/>
            </a:xfrm>
            <a:custGeom>
              <a:avLst/>
              <a:gdLst>
                <a:gd name="connsiteX0" fmla="*/ 35621 w 774082"/>
                <a:gd name="connsiteY0" fmla="*/ 73727 h 786341"/>
                <a:gd name="connsiteX1" fmla="*/ 278698 w 774082"/>
                <a:gd name="connsiteY1" fmla="*/ 156803 h 786341"/>
                <a:gd name="connsiteX2" fmla="*/ 324852 w 774082"/>
                <a:gd name="connsiteY2" fmla="*/ 584496 h 786341"/>
                <a:gd name="connsiteX3" fmla="*/ 774083 w 774082"/>
                <a:gd name="connsiteY3" fmla="*/ 655265 h 786341"/>
                <a:gd name="connsiteX4" fmla="*/ 774083 w 774082"/>
                <a:gd name="connsiteY4" fmla="*/ 781419 h 786341"/>
                <a:gd name="connsiteX5" fmla="*/ 152545 w 774082"/>
                <a:gd name="connsiteY5" fmla="*/ 719880 h 786341"/>
                <a:gd name="connsiteX6" fmla="*/ 35621 w 774082"/>
                <a:gd name="connsiteY6" fmla="*/ 73727 h 786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4082" h="786341">
                  <a:moveTo>
                    <a:pt x="35621" y="73727"/>
                  </a:moveTo>
                  <a:cubicBezTo>
                    <a:pt x="146391" y="-73966"/>
                    <a:pt x="278698" y="24496"/>
                    <a:pt x="278698" y="156803"/>
                  </a:cubicBezTo>
                  <a:cubicBezTo>
                    <a:pt x="275622" y="286034"/>
                    <a:pt x="303314" y="556803"/>
                    <a:pt x="324852" y="584496"/>
                  </a:cubicBezTo>
                  <a:cubicBezTo>
                    <a:pt x="383314" y="602957"/>
                    <a:pt x="774083" y="655265"/>
                    <a:pt x="774083" y="655265"/>
                  </a:cubicBezTo>
                  <a:cubicBezTo>
                    <a:pt x="758698" y="682957"/>
                    <a:pt x="774083" y="781419"/>
                    <a:pt x="774083" y="781419"/>
                  </a:cubicBezTo>
                  <a:cubicBezTo>
                    <a:pt x="774083" y="781419"/>
                    <a:pt x="247929" y="812188"/>
                    <a:pt x="152545" y="719880"/>
                  </a:cubicBezTo>
                  <a:cubicBezTo>
                    <a:pt x="103314" y="670650"/>
                    <a:pt x="-75148" y="224496"/>
                    <a:pt x="35621" y="73727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7" name="任意多边形: 形状 826">
              <a:extLst>
                <a:ext uri="{FF2B5EF4-FFF2-40B4-BE49-F238E27FC236}">
                  <a16:creationId xmlns:a16="http://schemas.microsoft.com/office/drawing/2014/main" id="{438F2F63-4CC0-40C2-A470-9F412ED4EEC4}"/>
                </a:ext>
              </a:extLst>
            </p:cNvPr>
            <p:cNvSpPr/>
            <p:nvPr/>
          </p:nvSpPr>
          <p:spPr>
            <a:xfrm>
              <a:off x="7366211" y="3634538"/>
              <a:ext cx="386916" cy="403892"/>
            </a:xfrm>
            <a:custGeom>
              <a:avLst/>
              <a:gdLst>
                <a:gd name="connsiteX0" fmla="*/ 8455 w 386916"/>
                <a:gd name="connsiteY0" fmla="*/ 396049 h 403892"/>
                <a:gd name="connsiteX1" fmla="*/ 122301 w 386916"/>
                <a:gd name="connsiteY1" fmla="*/ 5279 h 403892"/>
                <a:gd name="connsiteX2" fmla="*/ 386916 w 386916"/>
                <a:gd name="connsiteY2" fmla="*/ 365279 h 403892"/>
                <a:gd name="connsiteX3" fmla="*/ 8455 w 386916"/>
                <a:gd name="connsiteY3" fmla="*/ 396049 h 403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6916" h="403892">
                  <a:moveTo>
                    <a:pt x="8455" y="396049"/>
                  </a:moveTo>
                  <a:cubicBezTo>
                    <a:pt x="-25392" y="214510"/>
                    <a:pt x="48455" y="36049"/>
                    <a:pt x="122301" y="5279"/>
                  </a:cubicBezTo>
                  <a:cubicBezTo>
                    <a:pt x="220762" y="-34721"/>
                    <a:pt x="368455" y="159126"/>
                    <a:pt x="386916" y="365279"/>
                  </a:cubicBezTo>
                  <a:cubicBezTo>
                    <a:pt x="325378" y="411433"/>
                    <a:pt x="109993" y="408356"/>
                    <a:pt x="8455" y="396049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28" name="图形 1">
              <a:extLst>
                <a:ext uri="{FF2B5EF4-FFF2-40B4-BE49-F238E27FC236}">
                  <a16:creationId xmlns:a16="http://schemas.microsoft.com/office/drawing/2014/main" id="{AEC0499B-714B-4CC0-9B71-89E1A71F612F}"/>
                </a:ext>
              </a:extLst>
            </p:cNvPr>
            <p:cNvGrpSpPr/>
            <p:nvPr/>
          </p:nvGrpSpPr>
          <p:grpSpPr>
            <a:xfrm>
              <a:off x="8116761" y="4356741"/>
              <a:ext cx="291750" cy="179377"/>
              <a:chOff x="8116761" y="4356741"/>
              <a:chExt cx="291750" cy="179377"/>
            </a:xfrm>
          </p:grpSpPr>
          <p:sp>
            <p:nvSpPr>
              <p:cNvPr id="829" name="任意多边形: 形状 828">
                <a:extLst>
                  <a:ext uri="{FF2B5EF4-FFF2-40B4-BE49-F238E27FC236}">
                    <a16:creationId xmlns:a16="http://schemas.microsoft.com/office/drawing/2014/main" id="{9183D25C-76B3-48FB-A1F9-2FBE838B1744}"/>
                  </a:ext>
                </a:extLst>
              </p:cNvPr>
              <p:cNvSpPr/>
              <p:nvPr/>
            </p:nvSpPr>
            <p:spPr>
              <a:xfrm>
                <a:off x="8116761" y="4356741"/>
                <a:ext cx="288673" cy="179377"/>
              </a:xfrm>
              <a:custGeom>
                <a:avLst/>
                <a:gdLst>
                  <a:gd name="connsiteX0" fmla="*/ 17904 w 288673"/>
                  <a:gd name="connsiteY0" fmla="*/ 150769 h 179377"/>
                  <a:gd name="connsiteX1" fmla="*/ 24058 w 288673"/>
                  <a:gd name="connsiteY1" fmla="*/ 160000 h 179377"/>
                  <a:gd name="connsiteX2" fmla="*/ 171751 w 288673"/>
                  <a:gd name="connsiteY2" fmla="*/ 172308 h 179377"/>
                  <a:gd name="connsiteX3" fmla="*/ 279443 w 288673"/>
                  <a:gd name="connsiteY3" fmla="*/ 104615 h 179377"/>
                  <a:gd name="connsiteX4" fmla="*/ 267135 w 288673"/>
                  <a:gd name="connsiteY4" fmla="*/ 95385 h 179377"/>
                  <a:gd name="connsiteX5" fmla="*/ 233289 w 288673"/>
                  <a:gd name="connsiteY5" fmla="*/ 107692 h 179377"/>
                  <a:gd name="connsiteX6" fmla="*/ 270212 w 288673"/>
                  <a:gd name="connsiteY6" fmla="*/ 83077 h 179377"/>
                  <a:gd name="connsiteX7" fmla="*/ 288674 w 288673"/>
                  <a:gd name="connsiteY7" fmla="*/ 58462 h 179377"/>
                  <a:gd name="connsiteX8" fmla="*/ 276366 w 288673"/>
                  <a:gd name="connsiteY8" fmla="*/ 49231 h 179377"/>
                  <a:gd name="connsiteX9" fmla="*/ 279443 w 288673"/>
                  <a:gd name="connsiteY9" fmla="*/ 46154 h 179377"/>
                  <a:gd name="connsiteX10" fmla="*/ 260982 w 288673"/>
                  <a:gd name="connsiteY10" fmla="*/ 36923 h 179377"/>
                  <a:gd name="connsiteX11" fmla="*/ 137905 w 288673"/>
                  <a:gd name="connsiteY11" fmla="*/ 40000 h 179377"/>
                  <a:gd name="connsiteX12" fmla="*/ 187135 w 288673"/>
                  <a:gd name="connsiteY12" fmla="*/ 18461 h 179377"/>
                  <a:gd name="connsiteX13" fmla="*/ 156366 w 288673"/>
                  <a:gd name="connsiteY13" fmla="*/ 0 h 179377"/>
                  <a:gd name="connsiteX14" fmla="*/ 100981 w 288673"/>
                  <a:gd name="connsiteY14" fmla="*/ 12308 h 179377"/>
                  <a:gd name="connsiteX15" fmla="*/ 33289 w 288673"/>
                  <a:gd name="connsiteY15" fmla="*/ 46154 h 179377"/>
                  <a:gd name="connsiteX16" fmla="*/ 17904 w 288673"/>
                  <a:gd name="connsiteY16" fmla="*/ 150769 h 179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8673" h="179377">
                    <a:moveTo>
                      <a:pt x="17904" y="150769"/>
                    </a:moveTo>
                    <a:cubicBezTo>
                      <a:pt x="17904" y="153846"/>
                      <a:pt x="17904" y="160000"/>
                      <a:pt x="24058" y="160000"/>
                    </a:cubicBezTo>
                    <a:cubicBezTo>
                      <a:pt x="64058" y="175385"/>
                      <a:pt x="128674" y="187692"/>
                      <a:pt x="171751" y="172308"/>
                    </a:cubicBezTo>
                    <a:cubicBezTo>
                      <a:pt x="202520" y="163077"/>
                      <a:pt x="282520" y="120000"/>
                      <a:pt x="279443" y="104615"/>
                    </a:cubicBezTo>
                    <a:cubicBezTo>
                      <a:pt x="279443" y="101538"/>
                      <a:pt x="273289" y="95385"/>
                      <a:pt x="267135" y="95385"/>
                    </a:cubicBezTo>
                    <a:cubicBezTo>
                      <a:pt x="260982" y="92308"/>
                      <a:pt x="239443" y="107692"/>
                      <a:pt x="233289" y="107692"/>
                    </a:cubicBezTo>
                    <a:cubicBezTo>
                      <a:pt x="245597" y="98461"/>
                      <a:pt x="260982" y="92308"/>
                      <a:pt x="270212" y="83077"/>
                    </a:cubicBezTo>
                    <a:cubicBezTo>
                      <a:pt x="279443" y="73846"/>
                      <a:pt x="288674" y="64615"/>
                      <a:pt x="288674" y="58462"/>
                    </a:cubicBezTo>
                    <a:cubicBezTo>
                      <a:pt x="288674" y="46154"/>
                      <a:pt x="282520" y="49231"/>
                      <a:pt x="276366" y="49231"/>
                    </a:cubicBezTo>
                    <a:cubicBezTo>
                      <a:pt x="276366" y="49231"/>
                      <a:pt x="279443" y="46154"/>
                      <a:pt x="279443" y="46154"/>
                    </a:cubicBezTo>
                    <a:cubicBezTo>
                      <a:pt x="282520" y="43077"/>
                      <a:pt x="264058" y="40000"/>
                      <a:pt x="260982" y="36923"/>
                    </a:cubicBezTo>
                    <a:cubicBezTo>
                      <a:pt x="245597" y="18461"/>
                      <a:pt x="165597" y="67692"/>
                      <a:pt x="137905" y="40000"/>
                    </a:cubicBezTo>
                    <a:cubicBezTo>
                      <a:pt x="140981" y="33846"/>
                      <a:pt x="190212" y="27692"/>
                      <a:pt x="187135" y="18461"/>
                    </a:cubicBezTo>
                    <a:cubicBezTo>
                      <a:pt x="187135" y="12308"/>
                      <a:pt x="162520" y="0"/>
                      <a:pt x="156366" y="0"/>
                    </a:cubicBezTo>
                    <a:cubicBezTo>
                      <a:pt x="122520" y="3077"/>
                      <a:pt x="128674" y="0"/>
                      <a:pt x="100981" y="12308"/>
                    </a:cubicBezTo>
                    <a:cubicBezTo>
                      <a:pt x="79443" y="24615"/>
                      <a:pt x="57905" y="36923"/>
                      <a:pt x="33289" y="46154"/>
                    </a:cubicBezTo>
                    <a:cubicBezTo>
                      <a:pt x="-9788" y="64615"/>
                      <a:pt x="-6711" y="116923"/>
                      <a:pt x="17904" y="15076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0" name="任意多边形: 形状 829">
                <a:extLst>
                  <a:ext uri="{FF2B5EF4-FFF2-40B4-BE49-F238E27FC236}">
                    <a16:creationId xmlns:a16="http://schemas.microsoft.com/office/drawing/2014/main" id="{D623339F-7762-4248-8CE6-73F09120C5B0}"/>
                  </a:ext>
                </a:extLst>
              </p:cNvPr>
              <p:cNvSpPr/>
              <p:nvPr/>
            </p:nvSpPr>
            <p:spPr>
              <a:xfrm>
                <a:off x="8285435" y="4391792"/>
                <a:ext cx="123076" cy="103410"/>
              </a:xfrm>
              <a:custGeom>
                <a:avLst/>
                <a:gdLst>
                  <a:gd name="connsiteX0" fmla="*/ 30769 w 123076"/>
                  <a:gd name="connsiteY0" fmla="*/ 103410 h 103410"/>
                  <a:gd name="connsiteX1" fmla="*/ 24615 w 123076"/>
                  <a:gd name="connsiteY1" fmla="*/ 100333 h 103410"/>
                  <a:gd name="connsiteX2" fmla="*/ 27692 w 123076"/>
                  <a:gd name="connsiteY2" fmla="*/ 91102 h 103410"/>
                  <a:gd name="connsiteX3" fmla="*/ 95384 w 123076"/>
                  <a:gd name="connsiteY3" fmla="*/ 44948 h 103410"/>
                  <a:gd name="connsiteX4" fmla="*/ 113846 w 123076"/>
                  <a:gd name="connsiteY4" fmla="*/ 20333 h 103410"/>
                  <a:gd name="connsiteX5" fmla="*/ 110769 w 123076"/>
                  <a:gd name="connsiteY5" fmla="*/ 14179 h 103410"/>
                  <a:gd name="connsiteX6" fmla="*/ 83077 w 123076"/>
                  <a:gd name="connsiteY6" fmla="*/ 35718 h 103410"/>
                  <a:gd name="connsiteX7" fmla="*/ 6154 w 123076"/>
                  <a:gd name="connsiteY7" fmla="*/ 88025 h 103410"/>
                  <a:gd name="connsiteX8" fmla="*/ 0 w 123076"/>
                  <a:gd name="connsiteY8" fmla="*/ 84949 h 103410"/>
                  <a:gd name="connsiteX9" fmla="*/ 3077 w 123076"/>
                  <a:gd name="connsiteY9" fmla="*/ 78795 h 103410"/>
                  <a:gd name="connsiteX10" fmla="*/ 73846 w 123076"/>
                  <a:gd name="connsiteY10" fmla="*/ 26487 h 103410"/>
                  <a:gd name="connsiteX11" fmla="*/ 113846 w 123076"/>
                  <a:gd name="connsiteY11" fmla="*/ 1872 h 103410"/>
                  <a:gd name="connsiteX12" fmla="*/ 123077 w 123076"/>
                  <a:gd name="connsiteY12" fmla="*/ 17256 h 103410"/>
                  <a:gd name="connsiteX13" fmla="*/ 101538 w 123076"/>
                  <a:gd name="connsiteY13" fmla="*/ 51102 h 103410"/>
                  <a:gd name="connsiteX14" fmla="*/ 33846 w 123076"/>
                  <a:gd name="connsiteY14" fmla="*/ 100333 h 103410"/>
                  <a:gd name="connsiteX15" fmla="*/ 30769 w 123076"/>
                  <a:gd name="connsiteY15" fmla="*/ 103410 h 103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3076" h="103410">
                    <a:moveTo>
                      <a:pt x="30769" y="103410"/>
                    </a:moveTo>
                    <a:cubicBezTo>
                      <a:pt x="27692" y="103410"/>
                      <a:pt x="27692" y="103410"/>
                      <a:pt x="24615" y="100333"/>
                    </a:cubicBezTo>
                    <a:cubicBezTo>
                      <a:pt x="21538" y="97256"/>
                      <a:pt x="24615" y="94179"/>
                      <a:pt x="27692" y="91102"/>
                    </a:cubicBezTo>
                    <a:cubicBezTo>
                      <a:pt x="27692" y="91102"/>
                      <a:pt x="76923" y="60333"/>
                      <a:pt x="95384" y="44948"/>
                    </a:cubicBezTo>
                    <a:cubicBezTo>
                      <a:pt x="101538" y="38795"/>
                      <a:pt x="113846" y="26487"/>
                      <a:pt x="113846" y="20333"/>
                    </a:cubicBezTo>
                    <a:cubicBezTo>
                      <a:pt x="113846" y="20333"/>
                      <a:pt x="113846" y="17256"/>
                      <a:pt x="110769" y="14179"/>
                    </a:cubicBezTo>
                    <a:cubicBezTo>
                      <a:pt x="104615" y="17256"/>
                      <a:pt x="95384" y="26487"/>
                      <a:pt x="83077" y="35718"/>
                    </a:cubicBezTo>
                    <a:cubicBezTo>
                      <a:pt x="58461" y="57256"/>
                      <a:pt x="30769" y="84949"/>
                      <a:pt x="6154" y="88025"/>
                    </a:cubicBezTo>
                    <a:cubicBezTo>
                      <a:pt x="3077" y="88025"/>
                      <a:pt x="0" y="88025"/>
                      <a:pt x="0" y="84949"/>
                    </a:cubicBezTo>
                    <a:cubicBezTo>
                      <a:pt x="0" y="81871"/>
                      <a:pt x="0" y="78795"/>
                      <a:pt x="3077" y="78795"/>
                    </a:cubicBezTo>
                    <a:cubicBezTo>
                      <a:pt x="21538" y="72641"/>
                      <a:pt x="52308" y="48025"/>
                      <a:pt x="73846" y="26487"/>
                    </a:cubicBezTo>
                    <a:cubicBezTo>
                      <a:pt x="98461" y="4948"/>
                      <a:pt x="107692" y="-4282"/>
                      <a:pt x="113846" y="1872"/>
                    </a:cubicBezTo>
                    <a:cubicBezTo>
                      <a:pt x="120000" y="4948"/>
                      <a:pt x="123077" y="11102"/>
                      <a:pt x="123077" y="17256"/>
                    </a:cubicBezTo>
                    <a:cubicBezTo>
                      <a:pt x="123077" y="26487"/>
                      <a:pt x="116923" y="38795"/>
                      <a:pt x="101538" y="51102"/>
                    </a:cubicBezTo>
                    <a:cubicBezTo>
                      <a:pt x="83077" y="69564"/>
                      <a:pt x="33846" y="97256"/>
                      <a:pt x="33846" y="100333"/>
                    </a:cubicBezTo>
                    <a:cubicBezTo>
                      <a:pt x="30769" y="103410"/>
                      <a:pt x="30769" y="103410"/>
                      <a:pt x="30769" y="10341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1" name="任意多边形: 形状 830">
                <a:extLst>
                  <a:ext uri="{FF2B5EF4-FFF2-40B4-BE49-F238E27FC236}">
                    <a16:creationId xmlns:a16="http://schemas.microsoft.com/office/drawing/2014/main" id="{5AB37FE2-2325-4D90-9698-03556C44DF7A}"/>
                  </a:ext>
                </a:extLst>
              </p:cNvPr>
              <p:cNvSpPr/>
              <p:nvPr/>
            </p:nvSpPr>
            <p:spPr>
              <a:xfrm>
                <a:off x="8228776" y="4387510"/>
                <a:ext cx="162043" cy="61538"/>
              </a:xfrm>
              <a:custGeom>
                <a:avLst/>
                <a:gdLst>
                  <a:gd name="connsiteX0" fmla="*/ 32044 w 162043"/>
                  <a:gd name="connsiteY0" fmla="*/ 58462 h 61538"/>
                  <a:gd name="connsiteX1" fmla="*/ 4351 w 162043"/>
                  <a:gd name="connsiteY1" fmla="*/ 55384 h 61538"/>
                  <a:gd name="connsiteX2" fmla="*/ 1275 w 162043"/>
                  <a:gd name="connsiteY2" fmla="*/ 49231 h 61538"/>
                  <a:gd name="connsiteX3" fmla="*/ 7428 w 162043"/>
                  <a:gd name="connsiteY3" fmla="*/ 46154 h 61538"/>
                  <a:gd name="connsiteX4" fmla="*/ 38198 w 162043"/>
                  <a:gd name="connsiteY4" fmla="*/ 49231 h 61538"/>
                  <a:gd name="connsiteX5" fmla="*/ 96659 w 162043"/>
                  <a:gd name="connsiteY5" fmla="*/ 18461 h 61538"/>
                  <a:gd name="connsiteX6" fmla="*/ 136659 w 162043"/>
                  <a:gd name="connsiteY6" fmla="*/ 0 h 61538"/>
                  <a:gd name="connsiteX7" fmla="*/ 136659 w 162043"/>
                  <a:gd name="connsiteY7" fmla="*/ 0 h 61538"/>
                  <a:gd name="connsiteX8" fmla="*/ 158197 w 162043"/>
                  <a:gd name="connsiteY8" fmla="*/ 9231 h 61538"/>
                  <a:gd name="connsiteX9" fmla="*/ 161275 w 162043"/>
                  <a:gd name="connsiteY9" fmla="*/ 24615 h 61538"/>
                  <a:gd name="connsiteX10" fmla="*/ 155121 w 162043"/>
                  <a:gd name="connsiteY10" fmla="*/ 27692 h 61538"/>
                  <a:gd name="connsiteX11" fmla="*/ 152044 w 162043"/>
                  <a:gd name="connsiteY11" fmla="*/ 21538 h 61538"/>
                  <a:gd name="connsiteX12" fmla="*/ 152044 w 162043"/>
                  <a:gd name="connsiteY12" fmla="*/ 15385 h 61538"/>
                  <a:gd name="connsiteX13" fmla="*/ 139736 w 162043"/>
                  <a:gd name="connsiteY13" fmla="*/ 12308 h 61538"/>
                  <a:gd name="connsiteX14" fmla="*/ 139736 w 162043"/>
                  <a:gd name="connsiteY14" fmla="*/ 12308 h 61538"/>
                  <a:gd name="connsiteX15" fmla="*/ 108967 w 162043"/>
                  <a:gd name="connsiteY15" fmla="*/ 27692 h 61538"/>
                  <a:gd name="connsiteX16" fmla="*/ 44351 w 162043"/>
                  <a:gd name="connsiteY16" fmla="*/ 61538 h 61538"/>
                  <a:gd name="connsiteX17" fmla="*/ 32044 w 162043"/>
                  <a:gd name="connsiteY17" fmla="*/ 58462 h 6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2043" h="61538">
                    <a:moveTo>
                      <a:pt x="32044" y="58462"/>
                    </a:moveTo>
                    <a:cubicBezTo>
                      <a:pt x="19736" y="58462"/>
                      <a:pt x="4351" y="55384"/>
                      <a:pt x="4351" y="55384"/>
                    </a:cubicBezTo>
                    <a:cubicBezTo>
                      <a:pt x="1275" y="55384"/>
                      <a:pt x="-1803" y="52308"/>
                      <a:pt x="1275" y="49231"/>
                    </a:cubicBezTo>
                    <a:cubicBezTo>
                      <a:pt x="1275" y="46154"/>
                      <a:pt x="4351" y="43077"/>
                      <a:pt x="7428" y="46154"/>
                    </a:cubicBezTo>
                    <a:cubicBezTo>
                      <a:pt x="13582" y="49231"/>
                      <a:pt x="28967" y="52308"/>
                      <a:pt x="38198" y="49231"/>
                    </a:cubicBezTo>
                    <a:cubicBezTo>
                      <a:pt x="62813" y="43077"/>
                      <a:pt x="81274" y="30769"/>
                      <a:pt x="96659" y="18461"/>
                    </a:cubicBezTo>
                    <a:cubicBezTo>
                      <a:pt x="112044" y="9231"/>
                      <a:pt x="124352" y="0"/>
                      <a:pt x="136659" y="0"/>
                    </a:cubicBezTo>
                    <a:cubicBezTo>
                      <a:pt x="136659" y="0"/>
                      <a:pt x="136659" y="0"/>
                      <a:pt x="136659" y="0"/>
                    </a:cubicBezTo>
                    <a:cubicBezTo>
                      <a:pt x="145890" y="0"/>
                      <a:pt x="152044" y="3077"/>
                      <a:pt x="158197" y="9231"/>
                    </a:cubicBezTo>
                    <a:cubicBezTo>
                      <a:pt x="164352" y="15385"/>
                      <a:pt x="161275" y="24615"/>
                      <a:pt x="161275" y="24615"/>
                    </a:cubicBezTo>
                    <a:cubicBezTo>
                      <a:pt x="161275" y="27692"/>
                      <a:pt x="158197" y="30769"/>
                      <a:pt x="155121" y="27692"/>
                    </a:cubicBezTo>
                    <a:cubicBezTo>
                      <a:pt x="152044" y="27692"/>
                      <a:pt x="148967" y="24615"/>
                      <a:pt x="152044" y="21538"/>
                    </a:cubicBezTo>
                    <a:cubicBezTo>
                      <a:pt x="152044" y="21538"/>
                      <a:pt x="152044" y="18461"/>
                      <a:pt x="152044" y="15385"/>
                    </a:cubicBezTo>
                    <a:cubicBezTo>
                      <a:pt x="148967" y="12308"/>
                      <a:pt x="145890" y="12308"/>
                      <a:pt x="139736" y="12308"/>
                    </a:cubicBezTo>
                    <a:lnTo>
                      <a:pt x="139736" y="12308"/>
                    </a:lnTo>
                    <a:cubicBezTo>
                      <a:pt x="130505" y="12308"/>
                      <a:pt x="121274" y="21538"/>
                      <a:pt x="108967" y="27692"/>
                    </a:cubicBezTo>
                    <a:cubicBezTo>
                      <a:pt x="93582" y="40000"/>
                      <a:pt x="72044" y="55384"/>
                      <a:pt x="44351" y="61538"/>
                    </a:cubicBezTo>
                    <a:cubicBezTo>
                      <a:pt x="38198" y="58462"/>
                      <a:pt x="35120" y="58462"/>
                      <a:pt x="32044" y="5846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32" name="任意多边形: 形状 831">
              <a:extLst>
                <a:ext uri="{FF2B5EF4-FFF2-40B4-BE49-F238E27FC236}">
                  <a16:creationId xmlns:a16="http://schemas.microsoft.com/office/drawing/2014/main" id="{601628E7-E3B4-46E7-86E7-D420AF6DDF99}"/>
                </a:ext>
              </a:extLst>
            </p:cNvPr>
            <p:cNvSpPr/>
            <p:nvPr/>
          </p:nvSpPr>
          <p:spPr>
            <a:xfrm>
              <a:off x="7510050" y="3626927"/>
              <a:ext cx="240341" cy="409813"/>
            </a:xfrm>
            <a:custGeom>
              <a:avLst/>
              <a:gdLst>
                <a:gd name="connsiteX0" fmla="*/ 95385 w 240341"/>
                <a:gd name="connsiteY0" fmla="*/ 409814 h 409813"/>
                <a:gd name="connsiteX1" fmla="*/ 89231 w 240341"/>
                <a:gd name="connsiteY1" fmla="*/ 403660 h 409813"/>
                <a:gd name="connsiteX2" fmla="*/ 95385 w 240341"/>
                <a:gd name="connsiteY2" fmla="*/ 397506 h 409813"/>
                <a:gd name="connsiteX3" fmla="*/ 233846 w 240341"/>
                <a:gd name="connsiteY3" fmla="*/ 369814 h 409813"/>
                <a:gd name="connsiteX4" fmla="*/ 67693 w 240341"/>
                <a:gd name="connsiteY4" fmla="*/ 31352 h 409813"/>
                <a:gd name="connsiteX5" fmla="*/ 6154 w 240341"/>
                <a:gd name="connsiteY5" fmla="*/ 9814 h 409813"/>
                <a:gd name="connsiteX6" fmla="*/ 0 w 240341"/>
                <a:gd name="connsiteY6" fmla="*/ 6737 h 409813"/>
                <a:gd name="connsiteX7" fmla="*/ 3077 w 240341"/>
                <a:gd name="connsiteY7" fmla="*/ 583 h 409813"/>
                <a:gd name="connsiteX8" fmla="*/ 70769 w 240341"/>
                <a:gd name="connsiteY8" fmla="*/ 25198 h 409813"/>
                <a:gd name="connsiteX9" fmla="*/ 240000 w 240341"/>
                <a:gd name="connsiteY9" fmla="*/ 372891 h 409813"/>
                <a:gd name="connsiteX10" fmla="*/ 240000 w 240341"/>
                <a:gd name="connsiteY10" fmla="*/ 372891 h 409813"/>
                <a:gd name="connsiteX11" fmla="*/ 240000 w 240341"/>
                <a:gd name="connsiteY11" fmla="*/ 372891 h 409813"/>
                <a:gd name="connsiteX12" fmla="*/ 95385 w 240341"/>
                <a:gd name="connsiteY12" fmla="*/ 409814 h 409813"/>
                <a:gd name="connsiteX13" fmla="*/ 95385 w 240341"/>
                <a:gd name="connsiteY13" fmla="*/ 409814 h 409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341" h="409813">
                  <a:moveTo>
                    <a:pt x="95385" y="409814"/>
                  </a:moveTo>
                  <a:cubicBezTo>
                    <a:pt x="92308" y="409814"/>
                    <a:pt x="89231" y="406737"/>
                    <a:pt x="89231" y="403660"/>
                  </a:cubicBezTo>
                  <a:cubicBezTo>
                    <a:pt x="89231" y="400583"/>
                    <a:pt x="92308" y="397506"/>
                    <a:pt x="95385" y="397506"/>
                  </a:cubicBezTo>
                  <a:cubicBezTo>
                    <a:pt x="203077" y="391352"/>
                    <a:pt x="230769" y="375968"/>
                    <a:pt x="233846" y="369814"/>
                  </a:cubicBezTo>
                  <a:cubicBezTo>
                    <a:pt x="224615" y="268275"/>
                    <a:pt x="147692" y="92891"/>
                    <a:pt x="67693" y="31352"/>
                  </a:cubicBezTo>
                  <a:cubicBezTo>
                    <a:pt x="46154" y="12891"/>
                    <a:pt x="24615" y="6737"/>
                    <a:pt x="6154" y="9814"/>
                  </a:cubicBezTo>
                  <a:cubicBezTo>
                    <a:pt x="3077" y="9814"/>
                    <a:pt x="0" y="6737"/>
                    <a:pt x="0" y="6737"/>
                  </a:cubicBezTo>
                  <a:cubicBezTo>
                    <a:pt x="0" y="3660"/>
                    <a:pt x="3077" y="583"/>
                    <a:pt x="3077" y="583"/>
                  </a:cubicBezTo>
                  <a:cubicBezTo>
                    <a:pt x="24615" y="-2494"/>
                    <a:pt x="46154" y="6737"/>
                    <a:pt x="70769" y="25198"/>
                  </a:cubicBezTo>
                  <a:cubicBezTo>
                    <a:pt x="153846" y="89814"/>
                    <a:pt x="233846" y="271352"/>
                    <a:pt x="240000" y="372891"/>
                  </a:cubicBezTo>
                  <a:lnTo>
                    <a:pt x="240000" y="372891"/>
                  </a:lnTo>
                  <a:lnTo>
                    <a:pt x="240000" y="372891"/>
                  </a:lnTo>
                  <a:cubicBezTo>
                    <a:pt x="243077" y="379045"/>
                    <a:pt x="227693" y="403660"/>
                    <a:pt x="95385" y="409814"/>
                  </a:cubicBezTo>
                  <a:lnTo>
                    <a:pt x="95385" y="409814"/>
                  </a:ln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33" name="图形 1">
              <a:extLst>
                <a:ext uri="{FF2B5EF4-FFF2-40B4-BE49-F238E27FC236}">
                  <a16:creationId xmlns:a16="http://schemas.microsoft.com/office/drawing/2014/main" id="{AEC0499B-714B-4CC0-9B71-89E1A71F612F}"/>
                </a:ext>
              </a:extLst>
            </p:cNvPr>
            <p:cNvGrpSpPr/>
            <p:nvPr/>
          </p:nvGrpSpPr>
          <p:grpSpPr>
            <a:xfrm>
              <a:off x="11903896" y="7021356"/>
              <a:ext cx="556922" cy="381538"/>
              <a:chOff x="11903896" y="7021356"/>
              <a:chExt cx="556922" cy="381538"/>
            </a:xfrm>
          </p:grpSpPr>
          <p:sp>
            <p:nvSpPr>
              <p:cNvPr id="834" name="任意多边形: 形状 833">
                <a:extLst>
                  <a:ext uri="{FF2B5EF4-FFF2-40B4-BE49-F238E27FC236}">
                    <a16:creationId xmlns:a16="http://schemas.microsoft.com/office/drawing/2014/main" id="{E98C7134-6555-4A9A-9B08-9BE54614DC08}"/>
                  </a:ext>
                </a:extLst>
              </p:cNvPr>
              <p:cNvSpPr/>
              <p:nvPr/>
            </p:nvSpPr>
            <p:spPr>
              <a:xfrm>
                <a:off x="12251589" y="7021356"/>
                <a:ext cx="209230" cy="249230"/>
              </a:xfrm>
              <a:custGeom>
                <a:avLst/>
                <a:gdLst>
                  <a:gd name="connsiteX0" fmla="*/ 181538 w 209230"/>
                  <a:gd name="connsiteY0" fmla="*/ 206154 h 249230"/>
                  <a:gd name="connsiteX1" fmla="*/ 209230 w 209230"/>
                  <a:gd name="connsiteY1" fmla="*/ 0 h 249230"/>
                  <a:gd name="connsiteX2" fmla="*/ 27692 w 209230"/>
                  <a:gd name="connsiteY2" fmla="*/ 0 h 249230"/>
                  <a:gd name="connsiteX3" fmla="*/ 0 w 209230"/>
                  <a:gd name="connsiteY3" fmla="*/ 218462 h 249230"/>
                  <a:gd name="connsiteX4" fmla="*/ 166154 w 209230"/>
                  <a:gd name="connsiteY4" fmla="*/ 249231 h 24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230" h="249230">
                    <a:moveTo>
                      <a:pt x="181538" y="206154"/>
                    </a:moveTo>
                    <a:lnTo>
                      <a:pt x="209230" y="0"/>
                    </a:lnTo>
                    <a:lnTo>
                      <a:pt x="27692" y="0"/>
                    </a:lnTo>
                    <a:lnTo>
                      <a:pt x="0" y="218462"/>
                    </a:lnTo>
                    <a:lnTo>
                      <a:pt x="166154" y="249231"/>
                    </a:ln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5" name="任意多边形: 形状 834">
                <a:extLst>
                  <a:ext uri="{FF2B5EF4-FFF2-40B4-BE49-F238E27FC236}">
                    <a16:creationId xmlns:a16="http://schemas.microsoft.com/office/drawing/2014/main" id="{4960A68C-61A8-4B7A-B161-C48DFCC6567A}"/>
                  </a:ext>
                </a:extLst>
              </p:cNvPr>
              <p:cNvSpPr/>
              <p:nvPr/>
            </p:nvSpPr>
            <p:spPr>
              <a:xfrm>
                <a:off x="11903897" y="7175202"/>
                <a:ext cx="538803" cy="178461"/>
              </a:xfrm>
              <a:custGeom>
                <a:avLst/>
                <a:gdLst>
                  <a:gd name="connsiteX0" fmla="*/ 529230 w 538803"/>
                  <a:gd name="connsiteY0" fmla="*/ 52308 h 178461"/>
                  <a:gd name="connsiteX1" fmla="*/ 335384 w 538803"/>
                  <a:gd name="connsiteY1" fmla="*/ 0 h 178461"/>
                  <a:gd name="connsiteX2" fmla="*/ 187692 w 538803"/>
                  <a:gd name="connsiteY2" fmla="*/ 89231 h 178461"/>
                  <a:gd name="connsiteX3" fmla="*/ 0 w 538803"/>
                  <a:gd name="connsiteY3" fmla="*/ 178462 h 178461"/>
                  <a:gd name="connsiteX4" fmla="*/ 529230 w 538803"/>
                  <a:gd name="connsiteY4" fmla="*/ 178462 h 178461"/>
                  <a:gd name="connsiteX5" fmla="*/ 529230 w 538803"/>
                  <a:gd name="connsiteY5" fmla="*/ 52308 h 17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8803" h="178461">
                    <a:moveTo>
                      <a:pt x="529230" y="52308"/>
                    </a:moveTo>
                    <a:cubicBezTo>
                      <a:pt x="529230" y="52308"/>
                      <a:pt x="406153" y="73846"/>
                      <a:pt x="335384" y="0"/>
                    </a:cubicBezTo>
                    <a:cubicBezTo>
                      <a:pt x="335384" y="0"/>
                      <a:pt x="236923" y="80000"/>
                      <a:pt x="187692" y="89231"/>
                    </a:cubicBezTo>
                    <a:cubicBezTo>
                      <a:pt x="138462" y="98461"/>
                      <a:pt x="15385" y="98461"/>
                      <a:pt x="0" y="178462"/>
                    </a:cubicBezTo>
                    <a:lnTo>
                      <a:pt x="529230" y="178462"/>
                    </a:lnTo>
                    <a:cubicBezTo>
                      <a:pt x="529230" y="178462"/>
                      <a:pt x="550769" y="107692"/>
                      <a:pt x="529230" y="52308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6" name="任意多边形: 形状 835">
                <a:extLst>
                  <a:ext uri="{FF2B5EF4-FFF2-40B4-BE49-F238E27FC236}">
                    <a16:creationId xmlns:a16="http://schemas.microsoft.com/office/drawing/2014/main" id="{3EDDE16A-876C-4DC1-BC73-323E77C789AA}"/>
                  </a:ext>
                </a:extLst>
              </p:cNvPr>
              <p:cNvSpPr/>
              <p:nvPr/>
            </p:nvSpPr>
            <p:spPr>
              <a:xfrm>
                <a:off x="11903896" y="7353664"/>
                <a:ext cx="529230" cy="49230"/>
              </a:xfrm>
              <a:custGeom>
                <a:avLst/>
                <a:gdLst>
                  <a:gd name="connsiteX0" fmla="*/ 0 w 529230"/>
                  <a:gd name="connsiteY0" fmla="*/ 0 h 49230"/>
                  <a:gd name="connsiteX1" fmla="*/ 529232 w 529230"/>
                  <a:gd name="connsiteY1" fmla="*/ 0 h 49230"/>
                  <a:gd name="connsiteX2" fmla="*/ 529232 w 529230"/>
                  <a:gd name="connsiteY2" fmla="*/ 49231 h 49230"/>
                  <a:gd name="connsiteX3" fmla="*/ 0 w 529230"/>
                  <a:gd name="connsiteY3" fmla="*/ 49231 h 4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9230" h="49230">
                    <a:moveTo>
                      <a:pt x="0" y="0"/>
                    </a:moveTo>
                    <a:lnTo>
                      <a:pt x="529232" y="0"/>
                    </a:lnTo>
                    <a:lnTo>
                      <a:pt x="529232" y="49231"/>
                    </a:lnTo>
                    <a:lnTo>
                      <a:pt x="0" y="49231"/>
                    </a:lnTo>
                    <a:close/>
                  </a:path>
                </a:pathLst>
              </a:custGeom>
              <a:solidFill>
                <a:srgbClr val="38333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7" name="任意多边形: 形状 836">
                <a:extLst>
                  <a:ext uri="{FF2B5EF4-FFF2-40B4-BE49-F238E27FC236}">
                    <a16:creationId xmlns:a16="http://schemas.microsoft.com/office/drawing/2014/main" id="{F1137763-7BE0-4EA4-BE37-4D4323DCE6E0}"/>
                  </a:ext>
                </a:extLst>
              </p:cNvPr>
              <p:cNvSpPr/>
              <p:nvPr/>
            </p:nvSpPr>
            <p:spPr>
              <a:xfrm>
                <a:off x="12236973" y="7169818"/>
                <a:ext cx="205384" cy="66923"/>
              </a:xfrm>
              <a:custGeom>
                <a:avLst/>
                <a:gdLst>
                  <a:gd name="connsiteX0" fmla="*/ 162307 w 205384"/>
                  <a:gd name="connsiteY0" fmla="*/ 66923 h 66923"/>
                  <a:gd name="connsiteX1" fmla="*/ 2308 w 205384"/>
                  <a:gd name="connsiteY1" fmla="*/ 11538 h 66923"/>
                  <a:gd name="connsiteX2" fmla="*/ 2308 w 205384"/>
                  <a:gd name="connsiteY2" fmla="*/ 2307 h 66923"/>
                  <a:gd name="connsiteX3" fmla="*/ 11538 w 205384"/>
                  <a:gd name="connsiteY3" fmla="*/ 2307 h 66923"/>
                  <a:gd name="connsiteX4" fmla="*/ 199231 w 205384"/>
                  <a:gd name="connsiteY4" fmla="*/ 54616 h 66923"/>
                  <a:gd name="connsiteX5" fmla="*/ 205385 w 205384"/>
                  <a:gd name="connsiteY5" fmla="*/ 60769 h 66923"/>
                  <a:gd name="connsiteX6" fmla="*/ 199231 w 205384"/>
                  <a:gd name="connsiteY6" fmla="*/ 66923 h 66923"/>
                  <a:gd name="connsiteX7" fmla="*/ 162307 w 205384"/>
                  <a:gd name="connsiteY7" fmla="*/ 66923 h 6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5384" h="66923">
                    <a:moveTo>
                      <a:pt x="162307" y="66923"/>
                    </a:moveTo>
                    <a:cubicBezTo>
                      <a:pt x="122308" y="66923"/>
                      <a:pt x="54615" y="57692"/>
                      <a:pt x="2308" y="11538"/>
                    </a:cubicBezTo>
                    <a:cubicBezTo>
                      <a:pt x="-769" y="8462"/>
                      <a:pt x="-769" y="5385"/>
                      <a:pt x="2308" y="2307"/>
                    </a:cubicBezTo>
                    <a:cubicBezTo>
                      <a:pt x="5385" y="-769"/>
                      <a:pt x="8461" y="-769"/>
                      <a:pt x="11538" y="2307"/>
                    </a:cubicBezTo>
                    <a:cubicBezTo>
                      <a:pt x="88461" y="70000"/>
                      <a:pt x="196154" y="54616"/>
                      <a:pt x="199231" y="54616"/>
                    </a:cubicBezTo>
                    <a:cubicBezTo>
                      <a:pt x="202308" y="54616"/>
                      <a:pt x="205385" y="57692"/>
                      <a:pt x="205385" y="60769"/>
                    </a:cubicBezTo>
                    <a:cubicBezTo>
                      <a:pt x="205385" y="63846"/>
                      <a:pt x="202308" y="66923"/>
                      <a:pt x="199231" y="66923"/>
                    </a:cubicBezTo>
                    <a:cubicBezTo>
                      <a:pt x="196154" y="63846"/>
                      <a:pt x="180769" y="66923"/>
                      <a:pt x="162307" y="6692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8" name="任意多边形: 形状 837">
                <a:extLst>
                  <a:ext uri="{FF2B5EF4-FFF2-40B4-BE49-F238E27FC236}">
                    <a16:creationId xmlns:a16="http://schemas.microsoft.com/office/drawing/2014/main" id="{FF11F434-C297-4D44-98FD-801DDE43EF04}"/>
                  </a:ext>
                </a:extLst>
              </p:cNvPr>
              <p:cNvSpPr/>
              <p:nvPr/>
            </p:nvSpPr>
            <p:spPr>
              <a:xfrm>
                <a:off x="12196974" y="7194433"/>
                <a:ext cx="41538" cy="45384"/>
              </a:xfrm>
              <a:custGeom>
                <a:avLst/>
                <a:gdLst>
                  <a:gd name="connsiteX0" fmla="*/ 33076 w 41538"/>
                  <a:gd name="connsiteY0" fmla="*/ 45385 h 45384"/>
                  <a:gd name="connsiteX1" fmla="*/ 30000 w 41538"/>
                  <a:gd name="connsiteY1" fmla="*/ 42308 h 45384"/>
                  <a:gd name="connsiteX2" fmla="*/ 2307 w 41538"/>
                  <a:gd name="connsiteY2" fmla="*/ 11538 h 45384"/>
                  <a:gd name="connsiteX3" fmla="*/ 2307 w 41538"/>
                  <a:gd name="connsiteY3" fmla="*/ 2307 h 45384"/>
                  <a:gd name="connsiteX4" fmla="*/ 11538 w 41538"/>
                  <a:gd name="connsiteY4" fmla="*/ 2307 h 45384"/>
                  <a:gd name="connsiteX5" fmla="*/ 39231 w 41538"/>
                  <a:gd name="connsiteY5" fmla="*/ 33077 h 45384"/>
                  <a:gd name="connsiteX6" fmla="*/ 39231 w 41538"/>
                  <a:gd name="connsiteY6" fmla="*/ 42308 h 45384"/>
                  <a:gd name="connsiteX7" fmla="*/ 33076 w 41538"/>
                  <a:gd name="connsiteY7" fmla="*/ 45385 h 4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8" h="45384">
                    <a:moveTo>
                      <a:pt x="33076" y="45385"/>
                    </a:moveTo>
                    <a:cubicBezTo>
                      <a:pt x="30000" y="45385"/>
                      <a:pt x="30000" y="45385"/>
                      <a:pt x="30000" y="42308"/>
                    </a:cubicBezTo>
                    <a:lnTo>
                      <a:pt x="2307" y="11538"/>
                    </a:lnTo>
                    <a:cubicBezTo>
                      <a:pt x="-769" y="8461"/>
                      <a:pt x="-769" y="5385"/>
                      <a:pt x="2307" y="2307"/>
                    </a:cubicBezTo>
                    <a:cubicBezTo>
                      <a:pt x="5384" y="-769"/>
                      <a:pt x="8461" y="-769"/>
                      <a:pt x="11538" y="2307"/>
                    </a:cubicBezTo>
                    <a:lnTo>
                      <a:pt x="39231" y="33077"/>
                    </a:lnTo>
                    <a:cubicBezTo>
                      <a:pt x="42308" y="36154"/>
                      <a:pt x="42308" y="39230"/>
                      <a:pt x="39231" y="42308"/>
                    </a:cubicBezTo>
                    <a:cubicBezTo>
                      <a:pt x="36153" y="45385"/>
                      <a:pt x="36153" y="45385"/>
                      <a:pt x="33076" y="4538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9" name="任意多边形: 形状 838">
                <a:extLst>
                  <a:ext uri="{FF2B5EF4-FFF2-40B4-BE49-F238E27FC236}">
                    <a16:creationId xmlns:a16="http://schemas.microsoft.com/office/drawing/2014/main" id="{0166B171-CCE7-4A4B-903B-3E286C3D7A8D}"/>
                  </a:ext>
                </a:extLst>
              </p:cNvPr>
              <p:cNvSpPr/>
              <p:nvPr/>
            </p:nvSpPr>
            <p:spPr>
              <a:xfrm>
                <a:off x="12153896" y="7225202"/>
                <a:ext cx="41539" cy="45384"/>
              </a:xfrm>
              <a:custGeom>
                <a:avLst/>
                <a:gdLst>
                  <a:gd name="connsiteX0" fmla="*/ 33077 w 41539"/>
                  <a:gd name="connsiteY0" fmla="*/ 45385 h 45384"/>
                  <a:gd name="connsiteX1" fmla="*/ 30000 w 41539"/>
                  <a:gd name="connsiteY1" fmla="*/ 42308 h 45384"/>
                  <a:gd name="connsiteX2" fmla="*/ 2308 w 41539"/>
                  <a:gd name="connsiteY2" fmla="*/ 11538 h 45384"/>
                  <a:gd name="connsiteX3" fmla="*/ 2308 w 41539"/>
                  <a:gd name="connsiteY3" fmla="*/ 2307 h 45384"/>
                  <a:gd name="connsiteX4" fmla="*/ 11539 w 41539"/>
                  <a:gd name="connsiteY4" fmla="*/ 2307 h 45384"/>
                  <a:gd name="connsiteX5" fmla="*/ 39231 w 41539"/>
                  <a:gd name="connsiteY5" fmla="*/ 33077 h 45384"/>
                  <a:gd name="connsiteX6" fmla="*/ 39231 w 41539"/>
                  <a:gd name="connsiteY6" fmla="*/ 42308 h 45384"/>
                  <a:gd name="connsiteX7" fmla="*/ 33077 w 41539"/>
                  <a:gd name="connsiteY7" fmla="*/ 45385 h 4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9" h="45384">
                    <a:moveTo>
                      <a:pt x="33077" y="45385"/>
                    </a:moveTo>
                    <a:cubicBezTo>
                      <a:pt x="30000" y="45385"/>
                      <a:pt x="30000" y="45385"/>
                      <a:pt x="30000" y="42308"/>
                    </a:cubicBezTo>
                    <a:lnTo>
                      <a:pt x="2308" y="11538"/>
                    </a:lnTo>
                    <a:cubicBezTo>
                      <a:pt x="-769" y="8461"/>
                      <a:pt x="-769" y="5385"/>
                      <a:pt x="2308" y="2307"/>
                    </a:cubicBezTo>
                    <a:cubicBezTo>
                      <a:pt x="5385" y="-769"/>
                      <a:pt x="8462" y="-769"/>
                      <a:pt x="11539" y="2307"/>
                    </a:cubicBezTo>
                    <a:lnTo>
                      <a:pt x="39231" y="33077"/>
                    </a:lnTo>
                    <a:cubicBezTo>
                      <a:pt x="42308" y="36154"/>
                      <a:pt x="42308" y="39230"/>
                      <a:pt x="39231" y="42308"/>
                    </a:cubicBezTo>
                    <a:cubicBezTo>
                      <a:pt x="36154" y="45385"/>
                      <a:pt x="36154" y="45385"/>
                      <a:pt x="33077" y="4538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40" name="图形 1">
              <a:extLst>
                <a:ext uri="{FF2B5EF4-FFF2-40B4-BE49-F238E27FC236}">
                  <a16:creationId xmlns:a16="http://schemas.microsoft.com/office/drawing/2014/main" id="{AEC0499B-714B-4CC0-9B71-89E1A71F612F}"/>
                </a:ext>
              </a:extLst>
            </p:cNvPr>
            <p:cNvGrpSpPr/>
            <p:nvPr/>
          </p:nvGrpSpPr>
          <p:grpSpPr>
            <a:xfrm>
              <a:off x="12580820" y="7021356"/>
              <a:ext cx="556922" cy="381538"/>
              <a:chOff x="12580820" y="7021356"/>
              <a:chExt cx="556922" cy="381538"/>
            </a:xfrm>
          </p:grpSpPr>
          <p:sp>
            <p:nvSpPr>
              <p:cNvPr id="841" name="任意多边形: 形状 840">
                <a:extLst>
                  <a:ext uri="{FF2B5EF4-FFF2-40B4-BE49-F238E27FC236}">
                    <a16:creationId xmlns:a16="http://schemas.microsoft.com/office/drawing/2014/main" id="{E54F4E25-354F-4317-B034-025C1EC113CF}"/>
                  </a:ext>
                </a:extLst>
              </p:cNvPr>
              <p:cNvSpPr/>
              <p:nvPr/>
            </p:nvSpPr>
            <p:spPr>
              <a:xfrm>
                <a:off x="12928512" y="7021356"/>
                <a:ext cx="209230" cy="249230"/>
              </a:xfrm>
              <a:custGeom>
                <a:avLst/>
                <a:gdLst>
                  <a:gd name="connsiteX0" fmla="*/ 181538 w 209230"/>
                  <a:gd name="connsiteY0" fmla="*/ 206154 h 249230"/>
                  <a:gd name="connsiteX1" fmla="*/ 209230 w 209230"/>
                  <a:gd name="connsiteY1" fmla="*/ 0 h 249230"/>
                  <a:gd name="connsiteX2" fmla="*/ 27692 w 209230"/>
                  <a:gd name="connsiteY2" fmla="*/ 0 h 249230"/>
                  <a:gd name="connsiteX3" fmla="*/ 0 w 209230"/>
                  <a:gd name="connsiteY3" fmla="*/ 218462 h 249230"/>
                  <a:gd name="connsiteX4" fmla="*/ 169231 w 209230"/>
                  <a:gd name="connsiteY4" fmla="*/ 249231 h 24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230" h="249230">
                    <a:moveTo>
                      <a:pt x="181538" y="206154"/>
                    </a:moveTo>
                    <a:lnTo>
                      <a:pt x="209230" y="0"/>
                    </a:lnTo>
                    <a:lnTo>
                      <a:pt x="27692" y="0"/>
                    </a:lnTo>
                    <a:lnTo>
                      <a:pt x="0" y="218462"/>
                    </a:lnTo>
                    <a:lnTo>
                      <a:pt x="169231" y="249231"/>
                    </a:ln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2" name="任意多边形: 形状 841">
                <a:extLst>
                  <a:ext uri="{FF2B5EF4-FFF2-40B4-BE49-F238E27FC236}">
                    <a16:creationId xmlns:a16="http://schemas.microsoft.com/office/drawing/2014/main" id="{4D7377C0-8170-4A44-9BEE-6C69FBFD322E}"/>
                  </a:ext>
                </a:extLst>
              </p:cNvPr>
              <p:cNvSpPr/>
              <p:nvPr/>
            </p:nvSpPr>
            <p:spPr>
              <a:xfrm>
                <a:off x="12580820" y="7175202"/>
                <a:ext cx="538803" cy="178461"/>
              </a:xfrm>
              <a:custGeom>
                <a:avLst/>
                <a:gdLst>
                  <a:gd name="connsiteX0" fmla="*/ 529230 w 538803"/>
                  <a:gd name="connsiteY0" fmla="*/ 52308 h 178461"/>
                  <a:gd name="connsiteX1" fmla="*/ 335384 w 538803"/>
                  <a:gd name="connsiteY1" fmla="*/ 0 h 178461"/>
                  <a:gd name="connsiteX2" fmla="*/ 187692 w 538803"/>
                  <a:gd name="connsiteY2" fmla="*/ 89231 h 178461"/>
                  <a:gd name="connsiteX3" fmla="*/ 0 w 538803"/>
                  <a:gd name="connsiteY3" fmla="*/ 178462 h 178461"/>
                  <a:gd name="connsiteX4" fmla="*/ 529230 w 538803"/>
                  <a:gd name="connsiteY4" fmla="*/ 178462 h 178461"/>
                  <a:gd name="connsiteX5" fmla="*/ 529230 w 538803"/>
                  <a:gd name="connsiteY5" fmla="*/ 52308 h 17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8803" h="178461">
                    <a:moveTo>
                      <a:pt x="529230" y="52308"/>
                    </a:moveTo>
                    <a:cubicBezTo>
                      <a:pt x="529230" y="52308"/>
                      <a:pt x="406153" y="73846"/>
                      <a:pt x="335384" y="0"/>
                    </a:cubicBezTo>
                    <a:cubicBezTo>
                      <a:pt x="335384" y="0"/>
                      <a:pt x="236923" y="80000"/>
                      <a:pt x="187692" y="89231"/>
                    </a:cubicBezTo>
                    <a:cubicBezTo>
                      <a:pt x="138462" y="98461"/>
                      <a:pt x="15385" y="98461"/>
                      <a:pt x="0" y="178462"/>
                    </a:cubicBezTo>
                    <a:lnTo>
                      <a:pt x="529230" y="178462"/>
                    </a:lnTo>
                    <a:cubicBezTo>
                      <a:pt x="529230" y="178462"/>
                      <a:pt x="550769" y="107692"/>
                      <a:pt x="529230" y="52308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3" name="任意多边形: 形状 842">
                <a:extLst>
                  <a:ext uri="{FF2B5EF4-FFF2-40B4-BE49-F238E27FC236}">
                    <a16:creationId xmlns:a16="http://schemas.microsoft.com/office/drawing/2014/main" id="{6024DA02-2AF0-47E3-8F59-94AFE8D47EB4}"/>
                  </a:ext>
                </a:extLst>
              </p:cNvPr>
              <p:cNvSpPr/>
              <p:nvPr/>
            </p:nvSpPr>
            <p:spPr>
              <a:xfrm>
                <a:off x="12580820" y="7353664"/>
                <a:ext cx="529230" cy="49230"/>
              </a:xfrm>
              <a:custGeom>
                <a:avLst/>
                <a:gdLst>
                  <a:gd name="connsiteX0" fmla="*/ 0 w 529230"/>
                  <a:gd name="connsiteY0" fmla="*/ 0 h 49230"/>
                  <a:gd name="connsiteX1" fmla="*/ 529232 w 529230"/>
                  <a:gd name="connsiteY1" fmla="*/ 0 h 49230"/>
                  <a:gd name="connsiteX2" fmla="*/ 529232 w 529230"/>
                  <a:gd name="connsiteY2" fmla="*/ 49231 h 49230"/>
                  <a:gd name="connsiteX3" fmla="*/ 0 w 529230"/>
                  <a:gd name="connsiteY3" fmla="*/ 49231 h 4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9230" h="49230">
                    <a:moveTo>
                      <a:pt x="0" y="0"/>
                    </a:moveTo>
                    <a:lnTo>
                      <a:pt x="529232" y="0"/>
                    </a:lnTo>
                    <a:lnTo>
                      <a:pt x="529232" y="49231"/>
                    </a:lnTo>
                    <a:lnTo>
                      <a:pt x="0" y="49231"/>
                    </a:lnTo>
                    <a:close/>
                  </a:path>
                </a:pathLst>
              </a:custGeom>
              <a:solidFill>
                <a:srgbClr val="38333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4" name="任意多边形: 形状 843">
                <a:extLst>
                  <a:ext uri="{FF2B5EF4-FFF2-40B4-BE49-F238E27FC236}">
                    <a16:creationId xmlns:a16="http://schemas.microsoft.com/office/drawing/2014/main" id="{C1E4287D-C870-4100-ACC4-AF53E02C0F25}"/>
                  </a:ext>
                </a:extLst>
              </p:cNvPr>
              <p:cNvSpPr/>
              <p:nvPr/>
            </p:nvSpPr>
            <p:spPr>
              <a:xfrm>
                <a:off x="12913896" y="7169818"/>
                <a:ext cx="205384" cy="66923"/>
              </a:xfrm>
              <a:custGeom>
                <a:avLst/>
                <a:gdLst>
                  <a:gd name="connsiteX0" fmla="*/ 162307 w 205384"/>
                  <a:gd name="connsiteY0" fmla="*/ 66923 h 66923"/>
                  <a:gd name="connsiteX1" fmla="*/ 2308 w 205384"/>
                  <a:gd name="connsiteY1" fmla="*/ 11538 h 66923"/>
                  <a:gd name="connsiteX2" fmla="*/ 2308 w 205384"/>
                  <a:gd name="connsiteY2" fmla="*/ 2307 h 66923"/>
                  <a:gd name="connsiteX3" fmla="*/ 11538 w 205384"/>
                  <a:gd name="connsiteY3" fmla="*/ 2307 h 66923"/>
                  <a:gd name="connsiteX4" fmla="*/ 199231 w 205384"/>
                  <a:gd name="connsiteY4" fmla="*/ 54616 h 66923"/>
                  <a:gd name="connsiteX5" fmla="*/ 205385 w 205384"/>
                  <a:gd name="connsiteY5" fmla="*/ 60769 h 66923"/>
                  <a:gd name="connsiteX6" fmla="*/ 199231 w 205384"/>
                  <a:gd name="connsiteY6" fmla="*/ 66923 h 66923"/>
                  <a:gd name="connsiteX7" fmla="*/ 162307 w 205384"/>
                  <a:gd name="connsiteY7" fmla="*/ 66923 h 6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5384" h="66923">
                    <a:moveTo>
                      <a:pt x="162307" y="66923"/>
                    </a:moveTo>
                    <a:cubicBezTo>
                      <a:pt x="122308" y="66923"/>
                      <a:pt x="54615" y="57692"/>
                      <a:pt x="2308" y="11538"/>
                    </a:cubicBezTo>
                    <a:cubicBezTo>
                      <a:pt x="-769" y="8462"/>
                      <a:pt x="-769" y="5385"/>
                      <a:pt x="2308" y="2307"/>
                    </a:cubicBezTo>
                    <a:cubicBezTo>
                      <a:pt x="5385" y="-769"/>
                      <a:pt x="8461" y="-769"/>
                      <a:pt x="11538" y="2307"/>
                    </a:cubicBezTo>
                    <a:cubicBezTo>
                      <a:pt x="88461" y="70000"/>
                      <a:pt x="196154" y="54616"/>
                      <a:pt x="199231" y="54616"/>
                    </a:cubicBezTo>
                    <a:cubicBezTo>
                      <a:pt x="202308" y="54616"/>
                      <a:pt x="205385" y="57692"/>
                      <a:pt x="205385" y="60769"/>
                    </a:cubicBezTo>
                    <a:cubicBezTo>
                      <a:pt x="205385" y="63846"/>
                      <a:pt x="202308" y="66923"/>
                      <a:pt x="199231" y="66923"/>
                    </a:cubicBezTo>
                    <a:cubicBezTo>
                      <a:pt x="196154" y="63846"/>
                      <a:pt x="183846" y="66923"/>
                      <a:pt x="162307" y="6692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5" name="任意多边形: 形状 844">
                <a:extLst>
                  <a:ext uri="{FF2B5EF4-FFF2-40B4-BE49-F238E27FC236}">
                    <a16:creationId xmlns:a16="http://schemas.microsoft.com/office/drawing/2014/main" id="{28BC73DC-2156-4AF1-80D1-4931CA573C84}"/>
                  </a:ext>
                </a:extLst>
              </p:cNvPr>
              <p:cNvSpPr/>
              <p:nvPr/>
            </p:nvSpPr>
            <p:spPr>
              <a:xfrm>
                <a:off x="12873897" y="7194433"/>
                <a:ext cx="41538" cy="45384"/>
              </a:xfrm>
              <a:custGeom>
                <a:avLst/>
                <a:gdLst>
                  <a:gd name="connsiteX0" fmla="*/ 33076 w 41538"/>
                  <a:gd name="connsiteY0" fmla="*/ 45385 h 45384"/>
                  <a:gd name="connsiteX1" fmla="*/ 30000 w 41538"/>
                  <a:gd name="connsiteY1" fmla="*/ 42308 h 45384"/>
                  <a:gd name="connsiteX2" fmla="*/ 2307 w 41538"/>
                  <a:gd name="connsiteY2" fmla="*/ 11538 h 45384"/>
                  <a:gd name="connsiteX3" fmla="*/ 2307 w 41538"/>
                  <a:gd name="connsiteY3" fmla="*/ 2307 h 45384"/>
                  <a:gd name="connsiteX4" fmla="*/ 11538 w 41538"/>
                  <a:gd name="connsiteY4" fmla="*/ 2307 h 45384"/>
                  <a:gd name="connsiteX5" fmla="*/ 39231 w 41538"/>
                  <a:gd name="connsiteY5" fmla="*/ 33077 h 45384"/>
                  <a:gd name="connsiteX6" fmla="*/ 39231 w 41538"/>
                  <a:gd name="connsiteY6" fmla="*/ 42308 h 45384"/>
                  <a:gd name="connsiteX7" fmla="*/ 33076 w 41538"/>
                  <a:gd name="connsiteY7" fmla="*/ 45385 h 4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8" h="45384">
                    <a:moveTo>
                      <a:pt x="33076" y="45385"/>
                    </a:moveTo>
                    <a:cubicBezTo>
                      <a:pt x="30000" y="45385"/>
                      <a:pt x="30000" y="45385"/>
                      <a:pt x="30000" y="42308"/>
                    </a:cubicBezTo>
                    <a:lnTo>
                      <a:pt x="2307" y="11538"/>
                    </a:lnTo>
                    <a:cubicBezTo>
                      <a:pt x="-769" y="8461"/>
                      <a:pt x="-769" y="5385"/>
                      <a:pt x="2307" y="2307"/>
                    </a:cubicBezTo>
                    <a:cubicBezTo>
                      <a:pt x="5384" y="-769"/>
                      <a:pt x="8461" y="-769"/>
                      <a:pt x="11538" y="2307"/>
                    </a:cubicBezTo>
                    <a:lnTo>
                      <a:pt x="39231" y="33077"/>
                    </a:lnTo>
                    <a:cubicBezTo>
                      <a:pt x="42308" y="36154"/>
                      <a:pt x="42308" y="39230"/>
                      <a:pt x="39231" y="42308"/>
                    </a:cubicBezTo>
                    <a:cubicBezTo>
                      <a:pt x="36153" y="45385"/>
                      <a:pt x="36153" y="45385"/>
                      <a:pt x="33076" y="4538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6" name="任意多边形: 形状 845">
                <a:extLst>
                  <a:ext uri="{FF2B5EF4-FFF2-40B4-BE49-F238E27FC236}">
                    <a16:creationId xmlns:a16="http://schemas.microsoft.com/office/drawing/2014/main" id="{D1D855A6-A1A4-4360-8723-C290C62D74CF}"/>
                  </a:ext>
                </a:extLst>
              </p:cNvPr>
              <p:cNvSpPr/>
              <p:nvPr/>
            </p:nvSpPr>
            <p:spPr>
              <a:xfrm>
                <a:off x="12830819" y="7225202"/>
                <a:ext cx="41539" cy="45384"/>
              </a:xfrm>
              <a:custGeom>
                <a:avLst/>
                <a:gdLst>
                  <a:gd name="connsiteX0" fmla="*/ 33077 w 41539"/>
                  <a:gd name="connsiteY0" fmla="*/ 45385 h 45384"/>
                  <a:gd name="connsiteX1" fmla="*/ 30000 w 41539"/>
                  <a:gd name="connsiteY1" fmla="*/ 42308 h 45384"/>
                  <a:gd name="connsiteX2" fmla="*/ 2308 w 41539"/>
                  <a:gd name="connsiteY2" fmla="*/ 11538 h 45384"/>
                  <a:gd name="connsiteX3" fmla="*/ 2308 w 41539"/>
                  <a:gd name="connsiteY3" fmla="*/ 2307 h 45384"/>
                  <a:gd name="connsiteX4" fmla="*/ 11539 w 41539"/>
                  <a:gd name="connsiteY4" fmla="*/ 2307 h 45384"/>
                  <a:gd name="connsiteX5" fmla="*/ 39231 w 41539"/>
                  <a:gd name="connsiteY5" fmla="*/ 33077 h 45384"/>
                  <a:gd name="connsiteX6" fmla="*/ 39231 w 41539"/>
                  <a:gd name="connsiteY6" fmla="*/ 42308 h 45384"/>
                  <a:gd name="connsiteX7" fmla="*/ 33077 w 41539"/>
                  <a:gd name="connsiteY7" fmla="*/ 45385 h 4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9" h="45384">
                    <a:moveTo>
                      <a:pt x="33077" y="45385"/>
                    </a:moveTo>
                    <a:cubicBezTo>
                      <a:pt x="30000" y="45385"/>
                      <a:pt x="30000" y="45385"/>
                      <a:pt x="30000" y="42308"/>
                    </a:cubicBezTo>
                    <a:lnTo>
                      <a:pt x="2308" y="11538"/>
                    </a:lnTo>
                    <a:cubicBezTo>
                      <a:pt x="-769" y="8461"/>
                      <a:pt x="-769" y="5385"/>
                      <a:pt x="2308" y="2307"/>
                    </a:cubicBezTo>
                    <a:cubicBezTo>
                      <a:pt x="5385" y="-769"/>
                      <a:pt x="8462" y="-769"/>
                      <a:pt x="11539" y="2307"/>
                    </a:cubicBezTo>
                    <a:lnTo>
                      <a:pt x="39231" y="33077"/>
                    </a:lnTo>
                    <a:cubicBezTo>
                      <a:pt x="42308" y="36154"/>
                      <a:pt x="42308" y="39230"/>
                      <a:pt x="39231" y="42308"/>
                    </a:cubicBezTo>
                    <a:cubicBezTo>
                      <a:pt x="36154" y="45385"/>
                      <a:pt x="36154" y="45385"/>
                      <a:pt x="33077" y="4538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47" name="图形 1">
              <a:extLst>
                <a:ext uri="{FF2B5EF4-FFF2-40B4-BE49-F238E27FC236}">
                  <a16:creationId xmlns:a16="http://schemas.microsoft.com/office/drawing/2014/main" id="{AEC0499B-714B-4CC0-9B71-89E1A71F612F}"/>
                </a:ext>
              </a:extLst>
            </p:cNvPr>
            <p:cNvGrpSpPr/>
            <p:nvPr/>
          </p:nvGrpSpPr>
          <p:grpSpPr>
            <a:xfrm>
              <a:off x="12906973" y="4565971"/>
              <a:ext cx="1274806" cy="2732307"/>
              <a:chOff x="12906973" y="4565971"/>
              <a:chExt cx="1274806" cy="2732307"/>
            </a:xfrm>
          </p:grpSpPr>
          <p:sp>
            <p:nvSpPr>
              <p:cNvPr id="848" name="任意多边形: 形状 847">
                <a:extLst>
                  <a:ext uri="{FF2B5EF4-FFF2-40B4-BE49-F238E27FC236}">
                    <a16:creationId xmlns:a16="http://schemas.microsoft.com/office/drawing/2014/main" id="{A1054DCD-9F5C-42CB-B0C0-005C724DE0F9}"/>
                  </a:ext>
                </a:extLst>
              </p:cNvPr>
              <p:cNvSpPr/>
              <p:nvPr/>
            </p:nvSpPr>
            <p:spPr>
              <a:xfrm>
                <a:off x="13408512" y="5981356"/>
                <a:ext cx="123076" cy="1289230"/>
              </a:xfrm>
              <a:custGeom>
                <a:avLst/>
                <a:gdLst>
                  <a:gd name="connsiteX0" fmla="*/ 0 w 123076"/>
                  <a:gd name="connsiteY0" fmla="*/ 0 h 1289230"/>
                  <a:gd name="connsiteX1" fmla="*/ 123077 w 123076"/>
                  <a:gd name="connsiteY1" fmla="*/ 0 h 1289230"/>
                  <a:gd name="connsiteX2" fmla="*/ 123077 w 123076"/>
                  <a:gd name="connsiteY2" fmla="*/ 1289231 h 1289230"/>
                  <a:gd name="connsiteX3" fmla="*/ 0 w 123076"/>
                  <a:gd name="connsiteY3" fmla="*/ 1289231 h 128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076" h="1289230">
                    <a:moveTo>
                      <a:pt x="0" y="0"/>
                    </a:moveTo>
                    <a:lnTo>
                      <a:pt x="123077" y="0"/>
                    </a:lnTo>
                    <a:lnTo>
                      <a:pt x="123077" y="1289231"/>
                    </a:lnTo>
                    <a:lnTo>
                      <a:pt x="0" y="1289231"/>
                    </a:ln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9" name="任意多边形: 形状 848">
                <a:extLst>
                  <a:ext uri="{FF2B5EF4-FFF2-40B4-BE49-F238E27FC236}">
                    <a16:creationId xmlns:a16="http://schemas.microsoft.com/office/drawing/2014/main" id="{7D629639-258C-462D-B367-6666DBEE1F29}"/>
                  </a:ext>
                </a:extLst>
              </p:cNvPr>
              <p:cNvSpPr/>
              <p:nvPr/>
            </p:nvSpPr>
            <p:spPr>
              <a:xfrm>
                <a:off x="13140820" y="7242894"/>
                <a:ext cx="661538" cy="55384"/>
              </a:xfrm>
              <a:custGeom>
                <a:avLst/>
                <a:gdLst>
                  <a:gd name="connsiteX0" fmla="*/ 0 w 661538"/>
                  <a:gd name="connsiteY0" fmla="*/ 0 h 55384"/>
                  <a:gd name="connsiteX1" fmla="*/ 661538 w 661538"/>
                  <a:gd name="connsiteY1" fmla="*/ 0 h 55384"/>
                  <a:gd name="connsiteX2" fmla="*/ 661538 w 661538"/>
                  <a:gd name="connsiteY2" fmla="*/ 55385 h 55384"/>
                  <a:gd name="connsiteX3" fmla="*/ 0 w 661538"/>
                  <a:gd name="connsiteY3" fmla="*/ 55385 h 5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1538" h="55384">
                    <a:moveTo>
                      <a:pt x="0" y="0"/>
                    </a:moveTo>
                    <a:lnTo>
                      <a:pt x="661538" y="0"/>
                    </a:lnTo>
                    <a:lnTo>
                      <a:pt x="661538" y="55385"/>
                    </a:lnTo>
                    <a:lnTo>
                      <a:pt x="0" y="55385"/>
                    </a:ln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0" name="任意多边形: 形状 849">
                <a:extLst>
                  <a:ext uri="{FF2B5EF4-FFF2-40B4-BE49-F238E27FC236}">
                    <a16:creationId xmlns:a16="http://schemas.microsoft.com/office/drawing/2014/main" id="{A8D51F35-6EA8-46D1-9DE9-A3260570CCC0}"/>
                  </a:ext>
                </a:extLst>
              </p:cNvPr>
              <p:cNvSpPr/>
              <p:nvPr/>
            </p:nvSpPr>
            <p:spPr>
              <a:xfrm>
                <a:off x="13211589" y="4565971"/>
                <a:ext cx="970189" cy="1406153"/>
              </a:xfrm>
              <a:custGeom>
                <a:avLst/>
                <a:gdLst>
                  <a:gd name="connsiteX0" fmla="*/ 781538 w 970189"/>
                  <a:gd name="connsiteY0" fmla="*/ 1406154 h 1406153"/>
                  <a:gd name="connsiteX1" fmla="*/ 0 w 970189"/>
                  <a:gd name="connsiteY1" fmla="*/ 1406154 h 1406153"/>
                  <a:gd name="connsiteX2" fmla="*/ 190769 w 970189"/>
                  <a:gd name="connsiteY2" fmla="*/ 110769 h 1406153"/>
                  <a:gd name="connsiteX3" fmla="*/ 320000 w 970189"/>
                  <a:gd name="connsiteY3" fmla="*/ 0 h 1406153"/>
                  <a:gd name="connsiteX4" fmla="*/ 840000 w 970189"/>
                  <a:gd name="connsiteY4" fmla="*/ 0 h 1406153"/>
                  <a:gd name="connsiteX5" fmla="*/ 969231 w 970189"/>
                  <a:gd name="connsiteY5" fmla="*/ 147692 h 1406153"/>
                  <a:gd name="connsiteX6" fmla="*/ 781538 w 970189"/>
                  <a:gd name="connsiteY6" fmla="*/ 1406154 h 140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70189" h="1406153">
                    <a:moveTo>
                      <a:pt x="781538" y="1406154"/>
                    </a:moveTo>
                    <a:lnTo>
                      <a:pt x="0" y="1406154"/>
                    </a:lnTo>
                    <a:lnTo>
                      <a:pt x="190769" y="110769"/>
                    </a:lnTo>
                    <a:cubicBezTo>
                      <a:pt x="200000" y="46154"/>
                      <a:pt x="255384" y="0"/>
                      <a:pt x="320000" y="0"/>
                    </a:cubicBezTo>
                    <a:lnTo>
                      <a:pt x="840000" y="0"/>
                    </a:lnTo>
                    <a:cubicBezTo>
                      <a:pt x="920000" y="0"/>
                      <a:pt x="978461" y="70769"/>
                      <a:pt x="969231" y="147692"/>
                    </a:cubicBezTo>
                    <a:lnTo>
                      <a:pt x="781538" y="1406154"/>
                    </a:lnTo>
                    <a:close/>
                  </a:path>
                </a:pathLst>
              </a:custGeom>
              <a:solidFill>
                <a:srgbClr val="F1DDB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1" name="任意多边形: 形状 850">
                <a:extLst>
                  <a:ext uri="{FF2B5EF4-FFF2-40B4-BE49-F238E27FC236}">
                    <a16:creationId xmlns:a16="http://schemas.microsoft.com/office/drawing/2014/main" id="{F2BAE19D-713A-4F74-8D2A-D47C167B081A}"/>
                  </a:ext>
                </a:extLst>
              </p:cNvPr>
              <p:cNvSpPr/>
              <p:nvPr/>
            </p:nvSpPr>
            <p:spPr>
              <a:xfrm>
                <a:off x="13140819" y="4565971"/>
                <a:ext cx="970190" cy="1406153"/>
              </a:xfrm>
              <a:custGeom>
                <a:avLst/>
                <a:gdLst>
                  <a:gd name="connsiteX0" fmla="*/ 781538 w 970190"/>
                  <a:gd name="connsiteY0" fmla="*/ 1406154 h 1406153"/>
                  <a:gd name="connsiteX1" fmla="*/ 0 w 970190"/>
                  <a:gd name="connsiteY1" fmla="*/ 1406154 h 1406153"/>
                  <a:gd name="connsiteX2" fmla="*/ 190770 w 970190"/>
                  <a:gd name="connsiteY2" fmla="*/ 110769 h 1406153"/>
                  <a:gd name="connsiteX3" fmla="*/ 320000 w 970190"/>
                  <a:gd name="connsiteY3" fmla="*/ 0 h 1406153"/>
                  <a:gd name="connsiteX4" fmla="*/ 840001 w 970190"/>
                  <a:gd name="connsiteY4" fmla="*/ 0 h 1406153"/>
                  <a:gd name="connsiteX5" fmla="*/ 969231 w 970190"/>
                  <a:gd name="connsiteY5" fmla="*/ 147692 h 1406153"/>
                  <a:gd name="connsiteX6" fmla="*/ 781538 w 970190"/>
                  <a:gd name="connsiteY6" fmla="*/ 1406154 h 140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70190" h="1406153">
                    <a:moveTo>
                      <a:pt x="781538" y="1406154"/>
                    </a:moveTo>
                    <a:lnTo>
                      <a:pt x="0" y="1406154"/>
                    </a:lnTo>
                    <a:lnTo>
                      <a:pt x="190770" y="110769"/>
                    </a:lnTo>
                    <a:cubicBezTo>
                      <a:pt x="200000" y="46154"/>
                      <a:pt x="255385" y="0"/>
                      <a:pt x="320000" y="0"/>
                    </a:cubicBezTo>
                    <a:lnTo>
                      <a:pt x="840001" y="0"/>
                    </a:lnTo>
                    <a:cubicBezTo>
                      <a:pt x="920000" y="0"/>
                      <a:pt x="978462" y="70769"/>
                      <a:pt x="969231" y="147692"/>
                    </a:cubicBezTo>
                    <a:lnTo>
                      <a:pt x="781538" y="1406154"/>
                    </a:lnTo>
                    <a:close/>
                  </a:path>
                </a:pathLst>
              </a:custGeom>
              <a:solidFill>
                <a:srgbClr val="D3977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2" name="任意多边形: 形状 851">
                <a:extLst>
                  <a:ext uri="{FF2B5EF4-FFF2-40B4-BE49-F238E27FC236}">
                    <a16:creationId xmlns:a16="http://schemas.microsoft.com/office/drawing/2014/main" id="{2A5DA5F0-0DAE-485A-8822-928E14869993}"/>
                  </a:ext>
                </a:extLst>
              </p:cNvPr>
              <p:cNvSpPr/>
              <p:nvPr/>
            </p:nvSpPr>
            <p:spPr>
              <a:xfrm>
                <a:off x="12968511" y="5845971"/>
                <a:ext cx="1129231" cy="215384"/>
              </a:xfrm>
              <a:custGeom>
                <a:avLst/>
                <a:gdLst>
                  <a:gd name="connsiteX0" fmla="*/ 1021539 w 1129231"/>
                  <a:gd name="connsiteY0" fmla="*/ 215385 h 215384"/>
                  <a:gd name="connsiteX1" fmla="*/ 107692 w 1129231"/>
                  <a:gd name="connsiteY1" fmla="*/ 215385 h 215384"/>
                  <a:gd name="connsiteX2" fmla="*/ 0 w 1129231"/>
                  <a:gd name="connsiteY2" fmla="*/ 107692 h 215384"/>
                  <a:gd name="connsiteX3" fmla="*/ 0 w 1129231"/>
                  <a:gd name="connsiteY3" fmla="*/ 107692 h 215384"/>
                  <a:gd name="connsiteX4" fmla="*/ 107692 w 1129231"/>
                  <a:gd name="connsiteY4" fmla="*/ 0 h 215384"/>
                  <a:gd name="connsiteX5" fmla="*/ 1021539 w 1129231"/>
                  <a:gd name="connsiteY5" fmla="*/ 0 h 215384"/>
                  <a:gd name="connsiteX6" fmla="*/ 1129231 w 1129231"/>
                  <a:gd name="connsiteY6" fmla="*/ 107692 h 215384"/>
                  <a:gd name="connsiteX7" fmla="*/ 1129231 w 1129231"/>
                  <a:gd name="connsiteY7" fmla="*/ 107692 h 215384"/>
                  <a:gd name="connsiteX8" fmla="*/ 1021539 w 1129231"/>
                  <a:gd name="connsiteY8" fmla="*/ 215385 h 21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9231" h="215384">
                    <a:moveTo>
                      <a:pt x="1021539" y="215385"/>
                    </a:moveTo>
                    <a:lnTo>
                      <a:pt x="107692" y="215385"/>
                    </a:lnTo>
                    <a:cubicBezTo>
                      <a:pt x="49231" y="215385"/>
                      <a:pt x="0" y="166154"/>
                      <a:pt x="0" y="107692"/>
                    </a:cubicBezTo>
                    <a:lnTo>
                      <a:pt x="0" y="107692"/>
                    </a:lnTo>
                    <a:cubicBezTo>
                      <a:pt x="0" y="49231"/>
                      <a:pt x="49231" y="0"/>
                      <a:pt x="107692" y="0"/>
                    </a:cubicBezTo>
                    <a:lnTo>
                      <a:pt x="1021539" y="0"/>
                    </a:lnTo>
                    <a:cubicBezTo>
                      <a:pt x="1080000" y="0"/>
                      <a:pt x="1129231" y="49231"/>
                      <a:pt x="1129231" y="107692"/>
                    </a:cubicBezTo>
                    <a:lnTo>
                      <a:pt x="1129231" y="107692"/>
                    </a:lnTo>
                    <a:cubicBezTo>
                      <a:pt x="1129231" y="166154"/>
                      <a:pt x="1080000" y="215385"/>
                      <a:pt x="1021539" y="215385"/>
                    </a:cubicBezTo>
                    <a:close/>
                  </a:path>
                </a:pathLst>
              </a:custGeom>
              <a:solidFill>
                <a:srgbClr val="F1DDB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3" name="任意多边形: 形状 852">
                <a:extLst>
                  <a:ext uri="{FF2B5EF4-FFF2-40B4-BE49-F238E27FC236}">
                    <a16:creationId xmlns:a16="http://schemas.microsoft.com/office/drawing/2014/main" id="{C76AB81D-0072-4604-826B-2E9107673C2A}"/>
                  </a:ext>
                </a:extLst>
              </p:cNvPr>
              <p:cNvSpPr/>
              <p:nvPr/>
            </p:nvSpPr>
            <p:spPr>
              <a:xfrm>
                <a:off x="12906973" y="5845971"/>
                <a:ext cx="1129231" cy="215384"/>
              </a:xfrm>
              <a:custGeom>
                <a:avLst/>
                <a:gdLst>
                  <a:gd name="connsiteX0" fmla="*/ 1021539 w 1129231"/>
                  <a:gd name="connsiteY0" fmla="*/ 215385 h 215384"/>
                  <a:gd name="connsiteX1" fmla="*/ 107692 w 1129231"/>
                  <a:gd name="connsiteY1" fmla="*/ 215385 h 215384"/>
                  <a:gd name="connsiteX2" fmla="*/ 0 w 1129231"/>
                  <a:gd name="connsiteY2" fmla="*/ 107692 h 215384"/>
                  <a:gd name="connsiteX3" fmla="*/ 0 w 1129231"/>
                  <a:gd name="connsiteY3" fmla="*/ 107692 h 215384"/>
                  <a:gd name="connsiteX4" fmla="*/ 107692 w 1129231"/>
                  <a:gd name="connsiteY4" fmla="*/ 0 h 215384"/>
                  <a:gd name="connsiteX5" fmla="*/ 1021539 w 1129231"/>
                  <a:gd name="connsiteY5" fmla="*/ 0 h 215384"/>
                  <a:gd name="connsiteX6" fmla="*/ 1129231 w 1129231"/>
                  <a:gd name="connsiteY6" fmla="*/ 107692 h 215384"/>
                  <a:gd name="connsiteX7" fmla="*/ 1129231 w 1129231"/>
                  <a:gd name="connsiteY7" fmla="*/ 107692 h 215384"/>
                  <a:gd name="connsiteX8" fmla="*/ 1021539 w 1129231"/>
                  <a:gd name="connsiteY8" fmla="*/ 215385 h 21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9231" h="215384">
                    <a:moveTo>
                      <a:pt x="1021539" y="215385"/>
                    </a:moveTo>
                    <a:lnTo>
                      <a:pt x="107692" y="215385"/>
                    </a:lnTo>
                    <a:cubicBezTo>
                      <a:pt x="49231" y="215385"/>
                      <a:pt x="0" y="166154"/>
                      <a:pt x="0" y="107692"/>
                    </a:cubicBezTo>
                    <a:lnTo>
                      <a:pt x="0" y="107692"/>
                    </a:lnTo>
                    <a:cubicBezTo>
                      <a:pt x="0" y="49231"/>
                      <a:pt x="49231" y="0"/>
                      <a:pt x="107692" y="0"/>
                    </a:cubicBezTo>
                    <a:lnTo>
                      <a:pt x="1021539" y="0"/>
                    </a:lnTo>
                    <a:cubicBezTo>
                      <a:pt x="1080000" y="0"/>
                      <a:pt x="1129231" y="49231"/>
                      <a:pt x="1129231" y="107692"/>
                    </a:cubicBezTo>
                    <a:lnTo>
                      <a:pt x="1129231" y="107692"/>
                    </a:lnTo>
                    <a:cubicBezTo>
                      <a:pt x="1129231" y="166154"/>
                      <a:pt x="1080000" y="215385"/>
                      <a:pt x="1021539" y="215385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54" name="任意多边形: 形状 853">
              <a:extLst>
                <a:ext uri="{FF2B5EF4-FFF2-40B4-BE49-F238E27FC236}">
                  <a16:creationId xmlns:a16="http://schemas.microsoft.com/office/drawing/2014/main" id="{56297208-CE47-4CD1-86AE-4C3DFF16AF48}"/>
                </a:ext>
              </a:extLst>
            </p:cNvPr>
            <p:cNvSpPr/>
            <p:nvPr/>
          </p:nvSpPr>
          <p:spPr>
            <a:xfrm>
              <a:off x="12766189" y="5495202"/>
              <a:ext cx="1037338" cy="1663785"/>
            </a:xfrm>
            <a:custGeom>
              <a:avLst/>
              <a:gdLst>
                <a:gd name="connsiteX0" fmla="*/ 1017707 w 1037338"/>
                <a:gd name="connsiteY0" fmla="*/ 0 h 1663785"/>
                <a:gd name="connsiteX1" fmla="*/ 1014631 w 1037338"/>
                <a:gd name="connsiteY1" fmla="*/ 344615 h 1663785"/>
                <a:gd name="connsiteX2" fmla="*/ 423861 w 1037338"/>
                <a:gd name="connsiteY2" fmla="*/ 615385 h 1663785"/>
                <a:gd name="connsiteX3" fmla="*/ 386938 w 1037338"/>
                <a:gd name="connsiteY3" fmla="*/ 1658462 h 1663785"/>
                <a:gd name="connsiteX4" fmla="*/ 85400 w 1037338"/>
                <a:gd name="connsiteY4" fmla="*/ 1652308 h 1663785"/>
                <a:gd name="connsiteX5" fmla="*/ 5400 w 1037338"/>
                <a:gd name="connsiteY5" fmla="*/ 566154 h 1663785"/>
                <a:gd name="connsiteX6" fmla="*/ 516169 w 1037338"/>
                <a:gd name="connsiteY6" fmla="*/ 64615 h 1663785"/>
                <a:gd name="connsiteX7" fmla="*/ 1017707 w 1037338"/>
                <a:gd name="connsiteY7" fmla="*/ 0 h 1663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7338" h="1663785">
                  <a:moveTo>
                    <a:pt x="1017707" y="0"/>
                  </a:moveTo>
                  <a:cubicBezTo>
                    <a:pt x="1017707" y="0"/>
                    <a:pt x="1063861" y="230769"/>
                    <a:pt x="1014631" y="344615"/>
                  </a:cubicBezTo>
                  <a:cubicBezTo>
                    <a:pt x="968477" y="458462"/>
                    <a:pt x="451554" y="560000"/>
                    <a:pt x="423861" y="615385"/>
                  </a:cubicBezTo>
                  <a:cubicBezTo>
                    <a:pt x="396169" y="670769"/>
                    <a:pt x="386938" y="1658462"/>
                    <a:pt x="386938" y="1658462"/>
                  </a:cubicBezTo>
                  <a:cubicBezTo>
                    <a:pt x="386938" y="1658462"/>
                    <a:pt x="159246" y="1673846"/>
                    <a:pt x="85400" y="1652308"/>
                  </a:cubicBezTo>
                  <a:cubicBezTo>
                    <a:pt x="85400" y="1652308"/>
                    <a:pt x="-25370" y="710769"/>
                    <a:pt x="5400" y="566154"/>
                  </a:cubicBezTo>
                  <a:cubicBezTo>
                    <a:pt x="33092" y="421538"/>
                    <a:pt x="451554" y="80000"/>
                    <a:pt x="516169" y="64615"/>
                  </a:cubicBezTo>
                  <a:cubicBezTo>
                    <a:pt x="580785" y="49231"/>
                    <a:pt x="1017707" y="0"/>
                    <a:pt x="1017707" y="0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5" name="任意多边形: 形状 854">
              <a:extLst>
                <a:ext uri="{FF2B5EF4-FFF2-40B4-BE49-F238E27FC236}">
                  <a16:creationId xmlns:a16="http://schemas.microsoft.com/office/drawing/2014/main" id="{034E1ECA-EAAC-4036-938A-1EDB8257BEE6}"/>
                </a:ext>
              </a:extLst>
            </p:cNvPr>
            <p:cNvSpPr/>
            <p:nvPr/>
          </p:nvSpPr>
          <p:spPr>
            <a:xfrm>
              <a:off x="12211589" y="5529662"/>
              <a:ext cx="1199999" cy="1633232"/>
            </a:xfrm>
            <a:custGeom>
              <a:avLst/>
              <a:gdLst>
                <a:gd name="connsiteX0" fmla="*/ 1200000 w 1199999"/>
                <a:gd name="connsiteY0" fmla="*/ 11694 h 1633232"/>
                <a:gd name="connsiteX1" fmla="*/ 1046154 w 1199999"/>
                <a:gd name="connsiteY1" fmla="*/ 310156 h 1633232"/>
                <a:gd name="connsiteX2" fmla="*/ 479999 w 1199999"/>
                <a:gd name="connsiteY2" fmla="*/ 497848 h 1633232"/>
                <a:gd name="connsiteX3" fmla="*/ 292308 w 1199999"/>
                <a:gd name="connsiteY3" fmla="*/ 1633233 h 1633232"/>
                <a:gd name="connsiteX4" fmla="*/ 0 w 1199999"/>
                <a:gd name="connsiteY4" fmla="*/ 1602464 h 1633232"/>
                <a:gd name="connsiteX5" fmla="*/ 64615 w 1199999"/>
                <a:gd name="connsiteY5" fmla="*/ 390156 h 1633232"/>
                <a:gd name="connsiteX6" fmla="*/ 575384 w 1199999"/>
                <a:gd name="connsiteY6" fmla="*/ 5540 h 1633232"/>
                <a:gd name="connsiteX7" fmla="*/ 1200000 w 1199999"/>
                <a:gd name="connsiteY7" fmla="*/ 11694 h 1633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9999" h="1633232">
                  <a:moveTo>
                    <a:pt x="1200000" y="11694"/>
                  </a:moveTo>
                  <a:cubicBezTo>
                    <a:pt x="1200000" y="11694"/>
                    <a:pt x="1092308" y="196310"/>
                    <a:pt x="1046154" y="310156"/>
                  </a:cubicBezTo>
                  <a:cubicBezTo>
                    <a:pt x="1000000" y="424002"/>
                    <a:pt x="510768" y="442463"/>
                    <a:pt x="479999" y="497848"/>
                  </a:cubicBezTo>
                  <a:cubicBezTo>
                    <a:pt x="452307" y="553233"/>
                    <a:pt x="292308" y="1633233"/>
                    <a:pt x="292308" y="1633233"/>
                  </a:cubicBezTo>
                  <a:cubicBezTo>
                    <a:pt x="292308" y="1633233"/>
                    <a:pt x="79999" y="1630156"/>
                    <a:pt x="0" y="1602464"/>
                  </a:cubicBezTo>
                  <a:cubicBezTo>
                    <a:pt x="0" y="1602464"/>
                    <a:pt x="12308" y="642463"/>
                    <a:pt x="64615" y="390156"/>
                  </a:cubicBezTo>
                  <a:cubicBezTo>
                    <a:pt x="92308" y="245540"/>
                    <a:pt x="510768" y="20925"/>
                    <a:pt x="575384" y="5540"/>
                  </a:cubicBezTo>
                  <a:cubicBezTo>
                    <a:pt x="643077" y="-9844"/>
                    <a:pt x="1200000" y="11694"/>
                    <a:pt x="1200000" y="11694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6" name="任意多边形: 形状 855">
              <a:extLst>
                <a:ext uri="{FF2B5EF4-FFF2-40B4-BE49-F238E27FC236}">
                  <a16:creationId xmlns:a16="http://schemas.microsoft.com/office/drawing/2014/main" id="{E3A175B6-C223-45F6-BCF1-CDCD88EF227B}"/>
                </a:ext>
              </a:extLst>
            </p:cNvPr>
            <p:cNvSpPr/>
            <p:nvPr/>
          </p:nvSpPr>
          <p:spPr>
            <a:xfrm>
              <a:off x="12762358" y="5681620"/>
              <a:ext cx="336659" cy="385889"/>
            </a:xfrm>
            <a:custGeom>
              <a:avLst/>
              <a:gdLst>
                <a:gd name="connsiteX0" fmla="*/ 6153 w 336659"/>
                <a:gd name="connsiteY0" fmla="*/ 385890 h 385889"/>
                <a:gd name="connsiteX1" fmla="*/ 6153 w 336659"/>
                <a:gd name="connsiteY1" fmla="*/ 385890 h 385889"/>
                <a:gd name="connsiteX2" fmla="*/ 0 w 336659"/>
                <a:gd name="connsiteY2" fmla="*/ 376659 h 385889"/>
                <a:gd name="connsiteX3" fmla="*/ 326154 w 336659"/>
                <a:gd name="connsiteY3" fmla="*/ 1274 h 385889"/>
                <a:gd name="connsiteX4" fmla="*/ 335384 w 336659"/>
                <a:gd name="connsiteY4" fmla="*/ 4351 h 385889"/>
                <a:gd name="connsiteX5" fmla="*/ 332307 w 336659"/>
                <a:gd name="connsiteY5" fmla="*/ 13582 h 385889"/>
                <a:gd name="connsiteX6" fmla="*/ 12308 w 336659"/>
                <a:gd name="connsiteY6" fmla="*/ 382813 h 385889"/>
                <a:gd name="connsiteX7" fmla="*/ 6153 w 336659"/>
                <a:gd name="connsiteY7" fmla="*/ 385890 h 385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6659" h="385889">
                  <a:moveTo>
                    <a:pt x="6153" y="385890"/>
                  </a:moveTo>
                  <a:cubicBezTo>
                    <a:pt x="6153" y="385890"/>
                    <a:pt x="6153" y="385890"/>
                    <a:pt x="6153" y="385890"/>
                  </a:cubicBezTo>
                  <a:cubicBezTo>
                    <a:pt x="0" y="382813"/>
                    <a:pt x="0" y="379736"/>
                    <a:pt x="0" y="376659"/>
                  </a:cubicBezTo>
                  <a:cubicBezTo>
                    <a:pt x="0" y="373582"/>
                    <a:pt x="116923" y="118198"/>
                    <a:pt x="326154" y="1274"/>
                  </a:cubicBezTo>
                  <a:cubicBezTo>
                    <a:pt x="329230" y="-1802"/>
                    <a:pt x="332307" y="1274"/>
                    <a:pt x="335384" y="4351"/>
                  </a:cubicBezTo>
                  <a:cubicBezTo>
                    <a:pt x="338462" y="7428"/>
                    <a:pt x="335384" y="10505"/>
                    <a:pt x="332307" y="13582"/>
                  </a:cubicBezTo>
                  <a:cubicBezTo>
                    <a:pt x="126154" y="130505"/>
                    <a:pt x="12308" y="379736"/>
                    <a:pt x="12308" y="382813"/>
                  </a:cubicBezTo>
                  <a:cubicBezTo>
                    <a:pt x="12308" y="382813"/>
                    <a:pt x="9230" y="385890"/>
                    <a:pt x="6153" y="385890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7" name="任意多边形: 形状 856">
              <a:extLst>
                <a:ext uri="{FF2B5EF4-FFF2-40B4-BE49-F238E27FC236}">
                  <a16:creationId xmlns:a16="http://schemas.microsoft.com/office/drawing/2014/main" id="{EF3B3188-6124-4BC0-ABC0-A340CF93396D}"/>
                </a:ext>
              </a:extLst>
            </p:cNvPr>
            <p:cNvSpPr/>
            <p:nvPr/>
          </p:nvSpPr>
          <p:spPr>
            <a:xfrm>
              <a:off x="13159281" y="3981356"/>
              <a:ext cx="252308" cy="260625"/>
            </a:xfrm>
            <a:custGeom>
              <a:avLst/>
              <a:gdLst>
                <a:gd name="connsiteX0" fmla="*/ 0 w 252308"/>
                <a:gd name="connsiteY0" fmla="*/ 40000 h 260625"/>
                <a:gd name="connsiteX1" fmla="*/ 6154 w 252308"/>
                <a:gd name="connsiteY1" fmla="*/ 215385 h 260625"/>
                <a:gd name="connsiteX2" fmla="*/ 252308 w 252308"/>
                <a:gd name="connsiteY2" fmla="*/ 206154 h 260625"/>
                <a:gd name="connsiteX3" fmla="*/ 236923 w 252308"/>
                <a:gd name="connsiteY3" fmla="*/ 0 h 260625"/>
                <a:gd name="connsiteX4" fmla="*/ 0 w 252308"/>
                <a:gd name="connsiteY4" fmla="*/ 40000 h 26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308" h="260625">
                  <a:moveTo>
                    <a:pt x="0" y="40000"/>
                  </a:moveTo>
                  <a:cubicBezTo>
                    <a:pt x="0" y="40000"/>
                    <a:pt x="6154" y="141538"/>
                    <a:pt x="6154" y="215385"/>
                  </a:cubicBezTo>
                  <a:cubicBezTo>
                    <a:pt x="6154" y="215385"/>
                    <a:pt x="101538" y="323077"/>
                    <a:pt x="252308" y="206154"/>
                  </a:cubicBezTo>
                  <a:cubicBezTo>
                    <a:pt x="252308" y="144615"/>
                    <a:pt x="240000" y="64615"/>
                    <a:pt x="236923" y="0"/>
                  </a:cubicBezTo>
                  <a:cubicBezTo>
                    <a:pt x="240000" y="0"/>
                    <a:pt x="55384" y="52308"/>
                    <a:pt x="0" y="40000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8" name="任意多边形: 形状 857">
              <a:extLst>
                <a:ext uri="{FF2B5EF4-FFF2-40B4-BE49-F238E27FC236}">
                  <a16:creationId xmlns:a16="http://schemas.microsoft.com/office/drawing/2014/main" id="{DCC2296D-1B5E-413A-8AEE-842540695948}"/>
                </a:ext>
              </a:extLst>
            </p:cNvPr>
            <p:cNvSpPr/>
            <p:nvPr/>
          </p:nvSpPr>
          <p:spPr>
            <a:xfrm>
              <a:off x="12787439" y="4147510"/>
              <a:ext cx="1067227" cy="1520376"/>
            </a:xfrm>
            <a:custGeom>
              <a:avLst/>
              <a:gdLst>
                <a:gd name="connsiteX0" fmla="*/ 642611 w 1067227"/>
                <a:gd name="connsiteY0" fmla="*/ 0 h 1520376"/>
                <a:gd name="connsiteX1" fmla="*/ 350304 w 1067227"/>
                <a:gd name="connsiteY1" fmla="*/ 0 h 1520376"/>
                <a:gd name="connsiteX2" fmla="*/ 48765 w 1067227"/>
                <a:gd name="connsiteY2" fmla="*/ 132308 h 1520376"/>
                <a:gd name="connsiteX3" fmla="*/ 2612 w 1067227"/>
                <a:gd name="connsiteY3" fmla="*/ 1390769 h 1520376"/>
                <a:gd name="connsiteX4" fmla="*/ 1067227 w 1067227"/>
                <a:gd name="connsiteY4" fmla="*/ 1489231 h 1520376"/>
                <a:gd name="connsiteX5" fmla="*/ 928766 w 1067227"/>
                <a:gd name="connsiteY5" fmla="*/ 107692 h 1520376"/>
                <a:gd name="connsiteX6" fmla="*/ 642611 w 1067227"/>
                <a:gd name="connsiteY6" fmla="*/ 0 h 1520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7227" h="1520376">
                  <a:moveTo>
                    <a:pt x="642611" y="0"/>
                  </a:moveTo>
                  <a:cubicBezTo>
                    <a:pt x="642611" y="0"/>
                    <a:pt x="467227" y="55385"/>
                    <a:pt x="350304" y="0"/>
                  </a:cubicBezTo>
                  <a:cubicBezTo>
                    <a:pt x="350304" y="0"/>
                    <a:pt x="73380" y="98462"/>
                    <a:pt x="48765" y="132308"/>
                  </a:cubicBezTo>
                  <a:cubicBezTo>
                    <a:pt x="24150" y="163077"/>
                    <a:pt x="-9696" y="1323077"/>
                    <a:pt x="2612" y="1390769"/>
                  </a:cubicBezTo>
                  <a:cubicBezTo>
                    <a:pt x="2612" y="1390769"/>
                    <a:pt x="482612" y="1596923"/>
                    <a:pt x="1067227" y="1489231"/>
                  </a:cubicBezTo>
                  <a:cubicBezTo>
                    <a:pt x="1067227" y="1129231"/>
                    <a:pt x="968765" y="138462"/>
                    <a:pt x="928766" y="107692"/>
                  </a:cubicBezTo>
                  <a:cubicBezTo>
                    <a:pt x="885689" y="70769"/>
                    <a:pt x="642611" y="0"/>
                    <a:pt x="642611" y="0"/>
                  </a:cubicBezTo>
                  <a:close/>
                </a:path>
              </a:pathLst>
            </a:custGeom>
            <a:solidFill>
              <a:srgbClr val="F1DDBA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9" name="任意多边形: 形状 858">
              <a:extLst>
                <a:ext uri="{FF2B5EF4-FFF2-40B4-BE49-F238E27FC236}">
                  <a16:creationId xmlns:a16="http://schemas.microsoft.com/office/drawing/2014/main" id="{F75DA318-B965-4EED-A0B9-D985E0D454E0}"/>
                </a:ext>
              </a:extLst>
            </p:cNvPr>
            <p:cNvSpPr/>
            <p:nvPr/>
          </p:nvSpPr>
          <p:spPr>
            <a:xfrm>
              <a:off x="13251589" y="4147510"/>
              <a:ext cx="181538" cy="120000"/>
            </a:xfrm>
            <a:custGeom>
              <a:avLst/>
              <a:gdLst>
                <a:gd name="connsiteX0" fmla="*/ 0 w 181538"/>
                <a:gd name="connsiteY0" fmla="*/ 21538 h 120000"/>
                <a:gd name="connsiteX1" fmla="*/ 27692 w 181538"/>
                <a:gd name="connsiteY1" fmla="*/ 120000 h 120000"/>
                <a:gd name="connsiteX2" fmla="*/ 181538 w 181538"/>
                <a:gd name="connsiteY2" fmla="*/ 0 h 120000"/>
                <a:gd name="connsiteX3" fmla="*/ 0 w 181538"/>
                <a:gd name="connsiteY3" fmla="*/ 21538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538" h="120000">
                  <a:moveTo>
                    <a:pt x="0" y="21538"/>
                  </a:moveTo>
                  <a:lnTo>
                    <a:pt x="27692" y="120000"/>
                  </a:lnTo>
                  <a:lnTo>
                    <a:pt x="181538" y="0"/>
                  </a:lnTo>
                  <a:cubicBezTo>
                    <a:pt x="178461" y="0"/>
                    <a:pt x="43077" y="18462"/>
                    <a:pt x="0" y="21538"/>
                  </a:cubicBezTo>
                  <a:close/>
                </a:path>
              </a:pathLst>
            </a:custGeom>
            <a:solidFill>
              <a:srgbClr val="FFFFFF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0" name="任意多边形: 形状 859">
              <a:extLst>
                <a:ext uri="{FF2B5EF4-FFF2-40B4-BE49-F238E27FC236}">
                  <a16:creationId xmlns:a16="http://schemas.microsoft.com/office/drawing/2014/main" id="{331A6992-B95B-4CAD-9A32-CC42E76DCCC7}"/>
                </a:ext>
              </a:extLst>
            </p:cNvPr>
            <p:cNvSpPr/>
            <p:nvPr/>
          </p:nvSpPr>
          <p:spPr>
            <a:xfrm>
              <a:off x="13140819" y="4147510"/>
              <a:ext cx="110769" cy="116923"/>
            </a:xfrm>
            <a:custGeom>
              <a:avLst/>
              <a:gdLst>
                <a:gd name="connsiteX0" fmla="*/ 110769 w 110769"/>
                <a:gd name="connsiteY0" fmla="*/ 21538 h 116923"/>
                <a:gd name="connsiteX1" fmla="*/ 73846 w 110769"/>
                <a:gd name="connsiteY1" fmla="*/ 116923 h 116923"/>
                <a:gd name="connsiteX2" fmla="*/ 0 w 110769"/>
                <a:gd name="connsiteY2" fmla="*/ 0 h 116923"/>
                <a:gd name="connsiteX3" fmla="*/ 110769 w 110769"/>
                <a:gd name="connsiteY3" fmla="*/ 21538 h 11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769" h="116923">
                  <a:moveTo>
                    <a:pt x="110769" y="21538"/>
                  </a:moveTo>
                  <a:lnTo>
                    <a:pt x="73846" y="116923"/>
                  </a:lnTo>
                  <a:lnTo>
                    <a:pt x="0" y="0"/>
                  </a:lnTo>
                  <a:cubicBezTo>
                    <a:pt x="0" y="0"/>
                    <a:pt x="67693" y="21538"/>
                    <a:pt x="110769" y="21538"/>
                  </a:cubicBezTo>
                  <a:close/>
                </a:path>
              </a:pathLst>
            </a:custGeom>
            <a:solidFill>
              <a:srgbClr val="FFFFFF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1" name="任意多边形: 形状 860">
              <a:extLst>
                <a:ext uri="{FF2B5EF4-FFF2-40B4-BE49-F238E27FC236}">
                  <a16:creationId xmlns:a16="http://schemas.microsoft.com/office/drawing/2014/main" id="{58F4D7FB-A288-48F5-8DD4-E2227F16EBCB}"/>
                </a:ext>
              </a:extLst>
            </p:cNvPr>
            <p:cNvSpPr/>
            <p:nvPr/>
          </p:nvSpPr>
          <p:spPr>
            <a:xfrm>
              <a:off x="13694665" y="5649048"/>
              <a:ext cx="108966" cy="144615"/>
            </a:xfrm>
            <a:custGeom>
              <a:avLst/>
              <a:gdLst>
                <a:gd name="connsiteX0" fmla="*/ 101539 w 108966"/>
                <a:gd name="connsiteY0" fmla="*/ 144615 h 144615"/>
                <a:gd name="connsiteX1" fmla="*/ 101539 w 108966"/>
                <a:gd name="connsiteY1" fmla="*/ 144615 h 144615"/>
                <a:gd name="connsiteX2" fmla="*/ 21539 w 108966"/>
                <a:gd name="connsiteY2" fmla="*/ 107692 h 144615"/>
                <a:gd name="connsiteX3" fmla="*/ 0 w 108966"/>
                <a:gd name="connsiteY3" fmla="*/ 6154 h 144615"/>
                <a:gd name="connsiteX4" fmla="*/ 6154 w 108966"/>
                <a:gd name="connsiteY4" fmla="*/ 0 h 144615"/>
                <a:gd name="connsiteX5" fmla="*/ 12308 w 108966"/>
                <a:gd name="connsiteY5" fmla="*/ 6154 h 144615"/>
                <a:gd name="connsiteX6" fmla="*/ 30769 w 108966"/>
                <a:gd name="connsiteY6" fmla="*/ 101538 h 144615"/>
                <a:gd name="connsiteX7" fmla="*/ 104615 w 108966"/>
                <a:gd name="connsiteY7" fmla="*/ 132308 h 144615"/>
                <a:gd name="connsiteX8" fmla="*/ 107692 w 108966"/>
                <a:gd name="connsiteY8" fmla="*/ 138462 h 144615"/>
                <a:gd name="connsiteX9" fmla="*/ 101539 w 108966"/>
                <a:gd name="connsiteY9" fmla="*/ 144615 h 14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966" h="144615">
                  <a:moveTo>
                    <a:pt x="101539" y="144615"/>
                  </a:moveTo>
                  <a:cubicBezTo>
                    <a:pt x="101539" y="144615"/>
                    <a:pt x="101539" y="144615"/>
                    <a:pt x="101539" y="144615"/>
                  </a:cubicBezTo>
                  <a:cubicBezTo>
                    <a:pt x="92308" y="141538"/>
                    <a:pt x="33846" y="126154"/>
                    <a:pt x="21539" y="107692"/>
                  </a:cubicBezTo>
                  <a:cubicBezTo>
                    <a:pt x="9231" y="92308"/>
                    <a:pt x="0" y="15385"/>
                    <a:pt x="0" y="6154"/>
                  </a:cubicBezTo>
                  <a:cubicBezTo>
                    <a:pt x="0" y="3077"/>
                    <a:pt x="3077" y="0"/>
                    <a:pt x="6154" y="0"/>
                  </a:cubicBezTo>
                  <a:cubicBezTo>
                    <a:pt x="9231" y="0"/>
                    <a:pt x="12308" y="3077"/>
                    <a:pt x="12308" y="6154"/>
                  </a:cubicBezTo>
                  <a:cubicBezTo>
                    <a:pt x="15385" y="36923"/>
                    <a:pt x="24616" y="92308"/>
                    <a:pt x="30769" y="101538"/>
                  </a:cubicBezTo>
                  <a:cubicBezTo>
                    <a:pt x="40001" y="110769"/>
                    <a:pt x="80000" y="126154"/>
                    <a:pt x="104615" y="132308"/>
                  </a:cubicBezTo>
                  <a:cubicBezTo>
                    <a:pt x="107692" y="132308"/>
                    <a:pt x="110769" y="135385"/>
                    <a:pt x="107692" y="138462"/>
                  </a:cubicBezTo>
                  <a:cubicBezTo>
                    <a:pt x="107692" y="141538"/>
                    <a:pt x="104615" y="144615"/>
                    <a:pt x="101539" y="144615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2" name="任意多边形: 形状 861">
              <a:extLst>
                <a:ext uri="{FF2B5EF4-FFF2-40B4-BE49-F238E27FC236}">
                  <a16:creationId xmlns:a16="http://schemas.microsoft.com/office/drawing/2014/main" id="{E35E1C77-CAA1-441D-8742-207B6637D6C5}"/>
                </a:ext>
              </a:extLst>
            </p:cNvPr>
            <p:cNvSpPr/>
            <p:nvPr/>
          </p:nvSpPr>
          <p:spPr>
            <a:xfrm>
              <a:off x="13423897" y="3845971"/>
              <a:ext cx="61538" cy="147692"/>
            </a:xfrm>
            <a:custGeom>
              <a:avLst/>
              <a:gdLst>
                <a:gd name="connsiteX0" fmla="*/ 61538 w 61538"/>
                <a:gd name="connsiteY0" fmla="*/ 0 h 147692"/>
                <a:gd name="connsiteX1" fmla="*/ 12308 w 61538"/>
                <a:gd name="connsiteY1" fmla="*/ 147692 h 147692"/>
                <a:gd name="connsiteX2" fmla="*/ 0 w 61538"/>
                <a:gd name="connsiteY2" fmla="*/ 61538 h 147692"/>
                <a:gd name="connsiteX3" fmla="*/ 61538 w 61538"/>
                <a:gd name="connsiteY3" fmla="*/ 0 h 14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538" h="147692">
                  <a:moveTo>
                    <a:pt x="61538" y="0"/>
                  </a:moveTo>
                  <a:cubicBezTo>
                    <a:pt x="61538" y="0"/>
                    <a:pt x="61538" y="120000"/>
                    <a:pt x="12308" y="147692"/>
                  </a:cubicBezTo>
                  <a:lnTo>
                    <a:pt x="0" y="61538"/>
                  </a:lnTo>
                  <a:lnTo>
                    <a:pt x="61538" y="0"/>
                  </a:ln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3" name="任意多边形: 形状 862">
              <a:extLst>
                <a:ext uri="{FF2B5EF4-FFF2-40B4-BE49-F238E27FC236}">
                  <a16:creationId xmlns:a16="http://schemas.microsoft.com/office/drawing/2014/main" id="{4280728F-F312-468D-A98A-A7E07631120B}"/>
                </a:ext>
              </a:extLst>
            </p:cNvPr>
            <p:cNvSpPr/>
            <p:nvPr/>
          </p:nvSpPr>
          <p:spPr>
            <a:xfrm>
              <a:off x="13005110" y="3692125"/>
              <a:ext cx="111913" cy="232868"/>
            </a:xfrm>
            <a:custGeom>
              <a:avLst/>
              <a:gdLst>
                <a:gd name="connsiteX0" fmla="*/ 324 w 111913"/>
                <a:gd name="connsiteY0" fmla="*/ 0 h 232868"/>
                <a:gd name="connsiteX1" fmla="*/ 71093 w 111913"/>
                <a:gd name="connsiteY1" fmla="*/ 230769 h 232868"/>
                <a:gd name="connsiteX2" fmla="*/ 101863 w 111913"/>
                <a:gd name="connsiteY2" fmla="*/ 3077 h 232868"/>
                <a:gd name="connsiteX3" fmla="*/ 324 w 111913"/>
                <a:gd name="connsiteY3" fmla="*/ 0 h 232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913" h="232868">
                  <a:moveTo>
                    <a:pt x="324" y="0"/>
                  </a:moveTo>
                  <a:cubicBezTo>
                    <a:pt x="324" y="0"/>
                    <a:pt x="-8906" y="200000"/>
                    <a:pt x="71093" y="230769"/>
                  </a:cubicBezTo>
                  <a:cubicBezTo>
                    <a:pt x="138786" y="258462"/>
                    <a:pt x="101863" y="3077"/>
                    <a:pt x="101863" y="3077"/>
                  </a:cubicBezTo>
                  <a:lnTo>
                    <a:pt x="324" y="0"/>
                  </a:ln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4" name="任意多边形: 形状 863">
              <a:extLst>
                <a:ext uri="{FF2B5EF4-FFF2-40B4-BE49-F238E27FC236}">
                  <a16:creationId xmlns:a16="http://schemas.microsoft.com/office/drawing/2014/main" id="{BF855E62-8D00-4595-8E72-C906EB8500F7}"/>
                </a:ext>
              </a:extLst>
            </p:cNvPr>
            <p:cNvSpPr/>
            <p:nvPr/>
          </p:nvSpPr>
          <p:spPr>
            <a:xfrm>
              <a:off x="13051503" y="3522894"/>
              <a:ext cx="417884" cy="575507"/>
            </a:xfrm>
            <a:custGeom>
              <a:avLst/>
              <a:gdLst>
                <a:gd name="connsiteX0" fmla="*/ 85 w 417884"/>
                <a:gd name="connsiteY0" fmla="*/ 206154 h 575507"/>
                <a:gd name="connsiteX1" fmla="*/ 27778 w 417884"/>
                <a:gd name="connsiteY1" fmla="*/ 458462 h 575507"/>
                <a:gd name="connsiteX2" fmla="*/ 203163 w 417884"/>
                <a:gd name="connsiteY2" fmla="*/ 575385 h 575507"/>
                <a:gd name="connsiteX3" fmla="*/ 403163 w 417884"/>
                <a:gd name="connsiteY3" fmla="*/ 406154 h 575507"/>
                <a:gd name="connsiteX4" fmla="*/ 415470 w 417884"/>
                <a:gd name="connsiteY4" fmla="*/ 175385 h 575507"/>
                <a:gd name="connsiteX5" fmla="*/ 178547 w 417884"/>
                <a:gd name="connsiteY5" fmla="*/ 0 h 575507"/>
                <a:gd name="connsiteX6" fmla="*/ 85 w 417884"/>
                <a:gd name="connsiteY6" fmla="*/ 206154 h 575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7884" h="575507">
                  <a:moveTo>
                    <a:pt x="85" y="206154"/>
                  </a:moveTo>
                  <a:cubicBezTo>
                    <a:pt x="85" y="206154"/>
                    <a:pt x="-2992" y="384615"/>
                    <a:pt x="27778" y="458462"/>
                  </a:cubicBezTo>
                  <a:cubicBezTo>
                    <a:pt x="55470" y="523077"/>
                    <a:pt x="150855" y="578462"/>
                    <a:pt x="203163" y="575385"/>
                  </a:cubicBezTo>
                  <a:cubicBezTo>
                    <a:pt x="270854" y="572308"/>
                    <a:pt x="384701" y="520000"/>
                    <a:pt x="403163" y="406154"/>
                  </a:cubicBezTo>
                  <a:cubicBezTo>
                    <a:pt x="415470" y="329231"/>
                    <a:pt x="421624" y="227692"/>
                    <a:pt x="415470" y="175385"/>
                  </a:cubicBezTo>
                  <a:cubicBezTo>
                    <a:pt x="403163" y="80000"/>
                    <a:pt x="369316" y="3077"/>
                    <a:pt x="178547" y="0"/>
                  </a:cubicBezTo>
                  <a:cubicBezTo>
                    <a:pt x="92393" y="0"/>
                    <a:pt x="12393" y="126154"/>
                    <a:pt x="85" y="206154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5" name="任意多边形: 形状 864">
              <a:extLst>
                <a:ext uri="{FF2B5EF4-FFF2-40B4-BE49-F238E27FC236}">
                  <a16:creationId xmlns:a16="http://schemas.microsoft.com/office/drawing/2014/main" id="{141646DA-D8FE-44B4-8608-F2199EA3D7DF}"/>
                </a:ext>
              </a:extLst>
            </p:cNvPr>
            <p:cNvSpPr/>
            <p:nvPr/>
          </p:nvSpPr>
          <p:spPr>
            <a:xfrm>
              <a:off x="13201496" y="3793664"/>
              <a:ext cx="62400" cy="138461"/>
            </a:xfrm>
            <a:custGeom>
              <a:avLst/>
              <a:gdLst>
                <a:gd name="connsiteX0" fmla="*/ 25478 w 62400"/>
                <a:gd name="connsiteY0" fmla="*/ 138462 h 138461"/>
                <a:gd name="connsiteX1" fmla="*/ 7016 w 62400"/>
                <a:gd name="connsiteY1" fmla="*/ 135385 h 138461"/>
                <a:gd name="connsiteX2" fmla="*/ 862 w 62400"/>
                <a:gd name="connsiteY2" fmla="*/ 123077 h 138461"/>
                <a:gd name="connsiteX3" fmla="*/ 3939 w 62400"/>
                <a:gd name="connsiteY3" fmla="*/ 6154 h 138461"/>
                <a:gd name="connsiteX4" fmla="*/ 10093 w 62400"/>
                <a:gd name="connsiteY4" fmla="*/ 0 h 138461"/>
                <a:gd name="connsiteX5" fmla="*/ 16246 w 62400"/>
                <a:gd name="connsiteY5" fmla="*/ 6154 h 138461"/>
                <a:gd name="connsiteX6" fmla="*/ 13169 w 62400"/>
                <a:gd name="connsiteY6" fmla="*/ 120000 h 138461"/>
                <a:gd name="connsiteX7" fmla="*/ 16246 w 62400"/>
                <a:gd name="connsiteY7" fmla="*/ 123077 h 138461"/>
                <a:gd name="connsiteX8" fmla="*/ 56247 w 62400"/>
                <a:gd name="connsiteY8" fmla="*/ 120000 h 138461"/>
                <a:gd name="connsiteX9" fmla="*/ 62400 w 62400"/>
                <a:gd name="connsiteY9" fmla="*/ 123077 h 138461"/>
                <a:gd name="connsiteX10" fmla="*/ 59323 w 62400"/>
                <a:gd name="connsiteY10" fmla="*/ 129231 h 138461"/>
                <a:gd name="connsiteX11" fmla="*/ 25478 w 62400"/>
                <a:gd name="connsiteY11" fmla="*/ 138462 h 1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400" h="138461">
                  <a:moveTo>
                    <a:pt x="25478" y="138462"/>
                  </a:moveTo>
                  <a:cubicBezTo>
                    <a:pt x="19323" y="138462"/>
                    <a:pt x="13169" y="138462"/>
                    <a:pt x="7016" y="135385"/>
                  </a:cubicBezTo>
                  <a:cubicBezTo>
                    <a:pt x="3939" y="132308"/>
                    <a:pt x="862" y="129231"/>
                    <a:pt x="862" y="123077"/>
                  </a:cubicBezTo>
                  <a:cubicBezTo>
                    <a:pt x="-2216" y="101539"/>
                    <a:pt x="3939" y="12308"/>
                    <a:pt x="3939" y="6154"/>
                  </a:cubicBezTo>
                  <a:cubicBezTo>
                    <a:pt x="3939" y="3077"/>
                    <a:pt x="7016" y="0"/>
                    <a:pt x="10093" y="0"/>
                  </a:cubicBezTo>
                  <a:cubicBezTo>
                    <a:pt x="13169" y="0"/>
                    <a:pt x="16246" y="3077"/>
                    <a:pt x="16246" y="6154"/>
                  </a:cubicBezTo>
                  <a:cubicBezTo>
                    <a:pt x="16246" y="6154"/>
                    <a:pt x="10093" y="101539"/>
                    <a:pt x="13169" y="120000"/>
                  </a:cubicBezTo>
                  <a:cubicBezTo>
                    <a:pt x="13169" y="120000"/>
                    <a:pt x="13169" y="123077"/>
                    <a:pt x="16246" y="123077"/>
                  </a:cubicBezTo>
                  <a:cubicBezTo>
                    <a:pt x="22400" y="126154"/>
                    <a:pt x="43938" y="123077"/>
                    <a:pt x="56247" y="120000"/>
                  </a:cubicBezTo>
                  <a:cubicBezTo>
                    <a:pt x="59323" y="120000"/>
                    <a:pt x="62400" y="120000"/>
                    <a:pt x="62400" y="123077"/>
                  </a:cubicBezTo>
                  <a:cubicBezTo>
                    <a:pt x="62400" y="126154"/>
                    <a:pt x="62400" y="129231"/>
                    <a:pt x="59323" y="129231"/>
                  </a:cubicBezTo>
                  <a:cubicBezTo>
                    <a:pt x="53170" y="135385"/>
                    <a:pt x="37785" y="138462"/>
                    <a:pt x="25478" y="138462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6" name="任意多边形: 形状 865">
              <a:extLst>
                <a:ext uri="{FF2B5EF4-FFF2-40B4-BE49-F238E27FC236}">
                  <a16:creationId xmlns:a16="http://schemas.microsoft.com/office/drawing/2014/main" id="{866DBE23-9915-4C37-8560-6BFD420AB7B5}"/>
                </a:ext>
              </a:extLst>
            </p:cNvPr>
            <p:cNvSpPr/>
            <p:nvPr/>
          </p:nvSpPr>
          <p:spPr>
            <a:xfrm>
              <a:off x="13116204" y="3781356"/>
              <a:ext cx="40596" cy="39999"/>
            </a:xfrm>
            <a:custGeom>
              <a:avLst/>
              <a:gdLst>
                <a:gd name="connsiteX0" fmla="*/ 40000 w 40596"/>
                <a:gd name="connsiteY0" fmla="*/ 21538 h 39999"/>
                <a:gd name="connsiteX1" fmla="*/ 18462 w 40596"/>
                <a:gd name="connsiteY1" fmla="*/ 40000 h 39999"/>
                <a:gd name="connsiteX2" fmla="*/ 0 w 40596"/>
                <a:gd name="connsiteY2" fmla="*/ 18461 h 39999"/>
                <a:gd name="connsiteX3" fmla="*/ 21538 w 40596"/>
                <a:gd name="connsiteY3" fmla="*/ 0 h 39999"/>
                <a:gd name="connsiteX4" fmla="*/ 40000 w 40596"/>
                <a:gd name="connsiteY4" fmla="*/ 21538 h 3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96" h="39999">
                  <a:moveTo>
                    <a:pt x="40000" y="21538"/>
                  </a:moveTo>
                  <a:cubicBezTo>
                    <a:pt x="40000" y="33846"/>
                    <a:pt x="27692" y="40000"/>
                    <a:pt x="18462" y="40000"/>
                  </a:cubicBezTo>
                  <a:cubicBezTo>
                    <a:pt x="6153" y="40000"/>
                    <a:pt x="0" y="27692"/>
                    <a:pt x="0" y="18461"/>
                  </a:cubicBezTo>
                  <a:cubicBezTo>
                    <a:pt x="0" y="6154"/>
                    <a:pt x="12308" y="0"/>
                    <a:pt x="21538" y="0"/>
                  </a:cubicBezTo>
                  <a:cubicBezTo>
                    <a:pt x="33846" y="0"/>
                    <a:pt x="43077" y="9231"/>
                    <a:pt x="40000" y="21538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7" name="任意多边形: 形状 866">
              <a:extLst>
                <a:ext uri="{FF2B5EF4-FFF2-40B4-BE49-F238E27FC236}">
                  <a16:creationId xmlns:a16="http://schemas.microsoft.com/office/drawing/2014/main" id="{5C72B02B-9532-47A8-85F7-BC85E2329604}"/>
                </a:ext>
              </a:extLst>
            </p:cNvPr>
            <p:cNvSpPr/>
            <p:nvPr/>
          </p:nvSpPr>
          <p:spPr>
            <a:xfrm>
              <a:off x="13303897" y="3778279"/>
              <a:ext cx="39999" cy="40000"/>
            </a:xfrm>
            <a:custGeom>
              <a:avLst/>
              <a:gdLst>
                <a:gd name="connsiteX0" fmla="*/ 40000 w 39999"/>
                <a:gd name="connsiteY0" fmla="*/ 21538 h 40000"/>
                <a:gd name="connsiteX1" fmla="*/ 18461 w 39999"/>
                <a:gd name="connsiteY1" fmla="*/ 40000 h 40000"/>
                <a:gd name="connsiteX2" fmla="*/ 0 w 39999"/>
                <a:gd name="connsiteY2" fmla="*/ 18462 h 40000"/>
                <a:gd name="connsiteX3" fmla="*/ 21538 w 39999"/>
                <a:gd name="connsiteY3" fmla="*/ 0 h 40000"/>
                <a:gd name="connsiteX4" fmla="*/ 40000 w 39999"/>
                <a:gd name="connsiteY4" fmla="*/ 21538 h 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99" h="40000">
                  <a:moveTo>
                    <a:pt x="40000" y="21538"/>
                  </a:moveTo>
                  <a:cubicBezTo>
                    <a:pt x="40000" y="33846"/>
                    <a:pt x="27692" y="40000"/>
                    <a:pt x="18461" y="40000"/>
                  </a:cubicBezTo>
                  <a:cubicBezTo>
                    <a:pt x="6153" y="40000"/>
                    <a:pt x="0" y="27692"/>
                    <a:pt x="0" y="18462"/>
                  </a:cubicBezTo>
                  <a:cubicBezTo>
                    <a:pt x="0" y="6154"/>
                    <a:pt x="12308" y="0"/>
                    <a:pt x="21538" y="0"/>
                  </a:cubicBezTo>
                  <a:cubicBezTo>
                    <a:pt x="33845" y="0"/>
                    <a:pt x="40000" y="12308"/>
                    <a:pt x="40000" y="21538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8" name="任意多边形: 形状 867">
              <a:extLst>
                <a:ext uri="{FF2B5EF4-FFF2-40B4-BE49-F238E27FC236}">
                  <a16:creationId xmlns:a16="http://schemas.microsoft.com/office/drawing/2014/main" id="{01A00A3C-FCE1-42D8-8B2D-D66FA8EFF0E7}"/>
                </a:ext>
              </a:extLst>
            </p:cNvPr>
            <p:cNvSpPr/>
            <p:nvPr/>
          </p:nvSpPr>
          <p:spPr>
            <a:xfrm>
              <a:off x="13085435" y="3728851"/>
              <a:ext cx="90505" cy="40197"/>
            </a:xfrm>
            <a:custGeom>
              <a:avLst/>
              <a:gdLst>
                <a:gd name="connsiteX0" fmla="*/ 9230 w 90505"/>
                <a:gd name="connsiteY0" fmla="*/ 40198 h 40197"/>
                <a:gd name="connsiteX1" fmla="*/ 3077 w 90505"/>
                <a:gd name="connsiteY1" fmla="*/ 37121 h 40197"/>
                <a:gd name="connsiteX2" fmla="*/ 0 w 90505"/>
                <a:gd name="connsiteY2" fmla="*/ 24813 h 40197"/>
                <a:gd name="connsiteX3" fmla="*/ 86153 w 90505"/>
                <a:gd name="connsiteY3" fmla="*/ 6351 h 40197"/>
                <a:gd name="connsiteX4" fmla="*/ 89231 w 90505"/>
                <a:gd name="connsiteY4" fmla="*/ 15582 h 40197"/>
                <a:gd name="connsiteX5" fmla="*/ 80000 w 90505"/>
                <a:gd name="connsiteY5" fmla="*/ 18659 h 40197"/>
                <a:gd name="connsiteX6" fmla="*/ 12308 w 90505"/>
                <a:gd name="connsiteY6" fmla="*/ 34044 h 40197"/>
                <a:gd name="connsiteX7" fmla="*/ 9230 w 90505"/>
                <a:gd name="connsiteY7" fmla="*/ 40198 h 40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505" h="40197">
                  <a:moveTo>
                    <a:pt x="9230" y="40198"/>
                  </a:moveTo>
                  <a:cubicBezTo>
                    <a:pt x="6153" y="40198"/>
                    <a:pt x="6153" y="40198"/>
                    <a:pt x="3077" y="37121"/>
                  </a:cubicBezTo>
                  <a:cubicBezTo>
                    <a:pt x="0" y="34044"/>
                    <a:pt x="0" y="30967"/>
                    <a:pt x="0" y="24813"/>
                  </a:cubicBezTo>
                  <a:cubicBezTo>
                    <a:pt x="24615" y="-5956"/>
                    <a:pt x="64616" y="-2879"/>
                    <a:pt x="86153" y="6351"/>
                  </a:cubicBezTo>
                  <a:cubicBezTo>
                    <a:pt x="89231" y="9428"/>
                    <a:pt x="92308" y="12505"/>
                    <a:pt x="89231" y="15582"/>
                  </a:cubicBezTo>
                  <a:cubicBezTo>
                    <a:pt x="86153" y="18659"/>
                    <a:pt x="83076" y="21736"/>
                    <a:pt x="80000" y="18659"/>
                  </a:cubicBezTo>
                  <a:cubicBezTo>
                    <a:pt x="76923" y="18659"/>
                    <a:pt x="36923" y="3274"/>
                    <a:pt x="12308" y="34044"/>
                  </a:cubicBezTo>
                  <a:cubicBezTo>
                    <a:pt x="15385" y="40198"/>
                    <a:pt x="12308" y="40198"/>
                    <a:pt x="9230" y="40198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9" name="任意多边形: 形状 868">
              <a:extLst>
                <a:ext uri="{FF2B5EF4-FFF2-40B4-BE49-F238E27FC236}">
                  <a16:creationId xmlns:a16="http://schemas.microsoft.com/office/drawing/2014/main" id="{C5B09575-2BA7-42FC-B75F-843B985D8529}"/>
                </a:ext>
              </a:extLst>
            </p:cNvPr>
            <p:cNvSpPr/>
            <p:nvPr/>
          </p:nvSpPr>
          <p:spPr>
            <a:xfrm>
              <a:off x="13276973" y="3710452"/>
              <a:ext cx="90769" cy="30903"/>
            </a:xfrm>
            <a:custGeom>
              <a:avLst/>
              <a:gdLst>
                <a:gd name="connsiteX0" fmla="*/ 8462 w 90769"/>
                <a:gd name="connsiteY0" fmla="*/ 30904 h 30903"/>
                <a:gd name="connsiteX1" fmla="*/ 2308 w 90769"/>
                <a:gd name="connsiteY1" fmla="*/ 27827 h 30903"/>
                <a:gd name="connsiteX2" fmla="*/ 2308 w 90769"/>
                <a:gd name="connsiteY2" fmla="*/ 15519 h 30903"/>
                <a:gd name="connsiteX3" fmla="*/ 88462 w 90769"/>
                <a:gd name="connsiteY3" fmla="*/ 15519 h 30903"/>
                <a:gd name="connsiteX4" fmla="*/ 88462 w 90769"/>
                <a:gd name="connsiteY4" fmla="*/ 27827 h 30903"/>
                <a:gd name="connsiteX5" fmla="*/ 76154 w 90769"/>
                <a:gd name="connsiteY5" fmla="*/ 27827 h 30903"/>
                <a:gd name="connsiteX6" fmla="*/ 8462 w 90769"/>
                <a:gd name="connsiteY6" fmla="*/ 27827 h 30903"/>
                <a:gd name="connsiteX7" fmla="*/ 8462 w 90769"/>
                <a:gd name="connsiteY7" fmla="*/ 30904 h 30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769" h="30903">
                  <a:moveTo>
                    <a:pt x="8462" y="30904"/>
                  </a:moveTo>
                  <a:cubicBezTo>
                    <a:pt x="5385" y="30904"/>
                    <a:pt x="5385" y="30904"/>
                    <a:pt x="2308" y="27827"/>
                  </a:cubicBezTo>
                  <a:cubicBezTo>
                    <a:pt x="-769" y="24750"/>
                    <a:pt x="-769" y="18596"/>
                    <a:pt x="2308" y="15519"/>
                  </a:cubicBezTo>
                  <a:cubicBezTo>
                    <a:pt x="36154" y="-12173"/>
                    <a:pt x="76154" y="3212"/>
                    <a:pt x="88462" y="15519"/>
                  </a:cubicBezTo>
                  <a:cubicBezTo>
                    <a:pt x="91538" y="18596"/>
                    <a:pt x="91538" y="24750"/>
                    <a:pt x="88462" y="27827"/>
                  </a:cubicBezTo>
                  <a:cubicBezTo>
                    <a:pt x="85385" y="30904"/>
                    <a:pt x="79231" y="30904"/>
                    <a:pt x="76154" y="27827"/>
                  </a:cubicBezTo>
                  <a:cubicBezTo>
                    <a:pt x="76154" y="27827"/>
                    <a:pt x="42308" y="135"/>
                    <a:pt x="8462" y="27827"/>
                  </a:cubicBezTo>
                  <a:cubicBezTo>
                    <a:pt x="11539" y="30904"/>
                    <a:pt x="8462" y="30904"/>
                    <a:pt x="8462" y="30904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0" name="任意多边形: 形状 869">
              <a:extLst>
                <a:ext uri="{FF2B5EF4-FFF2-40B4-BE49-F238E27FC236}">
                  <a16:creationId xmlns:a16="http://schemas.microsoft.com/office/drawing/2014/main" id="{38793E45-70DD-43E4-932B-486E596B2977}"/>
                </a:ext>
              </a:extLst>
            </p:cNvPr>
            <p:cNvSpPr/>
            <p:nvPr/>
          </p:nvSpPr>
          <p:spPr>
            <a:xfrm>
              <a:off x="13183896" y="4023065"/>
              <a:ext cx="229060" cy="81367"/>
            </a:xfrm>
            <a:custGeom>
              <a:avLst/>
              <a:gdLst>
                <a:gd name="connsiteX0" fmla="*/ 70770 w 229060"/>
                <a:gd name="connsiteY0" fmla="*/ 81368 h 81367"/>
                <a:gd name="connsiteX1" fmla="*/ 3077 w 229060"/>
                <a:gd name="connsiteY1" fmla="*/ 62906 h 81367"/>
                <a:gd name="connsiteX2" fmla="*/ 0 w 229060"/>
                <a:gd name="connsiteY2" fmla="*/ 53675 h 81367"/>
                <a:gd name="connsiteX3" fmla="*/ 9231 w 229060"/>
                <a:gd name="connsiteY3" fmla="*/ 50598 h 81367"/>
                <a:gd name="connsiteX4" fmla="*/ 83077 w 229060"/>
                <a:gd name="connsiteY4" fmla="*/ 69060 h 81367"/>
                <a:gd name="connsiteX5" fmla="*/ 218462 w 229060"/>
                <a:gd name="connsiteY5" fmla="*/ 1368 h 81367"/>
                <a:gd name="connsiteX6" fmla="*/ 227693 w 229060"/>
                <a:gd name="connsiteY6" fmla="*/ 1368 h 81367"/>
                <a:gd name="connsiteX7" fmla="*/ 227693 w 229060"/>
                <a:gd name="connsiteY7" fmla="*/ 10598 h 81367"/>
                <a:gd name="connsiteX8" fmla="*/ 89232 w 229060"/>
                <a:gd name="connsiteY8" fmla="*/ 78291 h 81367"/>
                <a:gd name="connsiteX9" fmla="*/ 70770 w 229060"/>
                <a:gd name="connsiteY9" fmla="*/ 81368 h 81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9060" h="81367">
                  <a:moveTo>
                    <a:pt x="70770" y="81368"/>
                  </a:moveTo>
                  <a:cubicBezTo>
                    <a:pt x="33846" y="81368"/>
                    <a:pt x="3077" y="62906"/>
                    <a:pt x="3077" y="62906"/>
                  </a:cubicBezTo>
                  <a:cubicBezTo>
                    <a:pt x="0" y="59829"/>
                    <a:pt x="0" y="56752"/>
                    <a:pt x="0" y="53675"/>
                  </a:cubicBezTo>
                  <a:cubicBezTo>
                    <a:pt x="3077" y="50598"/>
                    <a:pt x="6154" y="50598"/>
                    <a:pt x="9231" y="50598"/>
                  </a:cubicBezTo>
                  <a:cubicBezTo>
                    <a:pt x="9231" y="50598"/>
                    <a:pt x="43078" y="72137"/>
                    <a:pt x="83077" y="69060"/>
                  </a:cubicBezTo>
                  <a:cubicBezTo>
                    <a:pt x="132308" y="62906"/>
                    <a:pt x="215385" y="4444"/>
                    <a:pt x="218462" y="1368"/>
                  </a:cubicBezTo>
                  <a:cubicBezTo>
                    <a:pt x="221539" y="-1709"/>
                    <a:pt x="224616" y="1368"/>
                    <a:pt x="227693" y="1368"/>
                  </a:cubicBezTo>
                  <a:cubicBezTo>
                    <a:pt x="230769" y="4444"/>
                    <a:pt x="227693" y="7521"/>
                    <a:pt x="227693" y="10598"/>
                  </a:cubicBezTo>
                  <a:cubicBezTo>
                    <a:pt x="224616" y="13675"/>
                    <a:pt x="138462" y="75214"/>
                    <a:pt x="89232" y="78291"/>
                  </a:cubicBezTo>
                  <a:cubicBezTo>
                    <a:pt x="80000" y="81368"/>
                    <a:pt x="76923" y="81368"/>
                    <a:pt x="70770" y="81368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1" name="任意多边形: 形状 870">
              <a:extLst>
                <a:ext uri="{FF2B5EF4-FFF2-40B4-BE49-F238E27FC236}">
                  <a16:creationId xmlns:a16="http://schemas.microsoft.com/office/drawing/2014/main" id="{F7071940-D85A-47F0-8A63-570567FC4FC5}"/>
                </a:ext>
              </a:extLst>
            </p:cNvPr>
            <p:cNvSpPr/>
            <p:nvPr/>
          </p:nvSpPr>
          <p:spPr>
            <a:xfrm>
              <a:off x="13443019" y="3757384"/>
              <a:ext cx="74512" cy="115904"/>
            </a:xfrm>
            <a:custGeom>
              <a:avLst/>
              <a:gdLst>
                <a:gd name="connsiteX0" fmla="*/ 5493 w 74512"/>
                <a:gd name="connsiteY0" fmla="*/ 20895 h 115904"/>
                <a:gd name="connsiteX1" fmla="*/ 63954 w 74512"/>
                <a:gd name="connsiteY1" fmla="*/ 5510 h 115904"/>
                <a:gd name="connsiteX2" fmla="*/ 17800 w 74512"/>
                <a:gd name="connsiteY2" fmla="*/ 113202 h 115904"/>
                <a:gd name="connsiteX3" fmla="*/ 5493 w 74512"/>
                <a:gd name="connsiteY3" fmla="*/ 20895 h 115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512" h="115904">
                  <a:moveTo>
                    <a:pt x="5493" y="20895"/>
                  </a:moveTo>
                  <a:cubicBezTo>
                    <a:pt x="5493" y="20895"/>
                    <a:pt x="36262" y="-12951"/>
                    <a:pt x="63954" y="5510"/>
                  </a:cubicBezTo>
                  <a:cubicBezTo>
                    <a:pt x="91647" y="20895"/>
                    <a:pt x="60878" y="134741"/>
                    <a:pt x="17800" y="113202"/>
                  </a:cubicBezTo>
                  <a:cubicBezTo>
                    <a:pt x="-12969" y="97818"/>
                    <a:pt x="5493" y="20895"/>
                    <a:pt x="5493" y="20895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2" name="任意多边形: 形状 871">
              <a:extLst>
                <a:ext uri="{FF2B5EF4-FFF2-40B4-BE49-F238E27FC236}">
                  <a16:creationId xmlns:a16="http://schemas.microsoft.com/office/drawing/2014/main" id="{B81F07EF-12C3-4D94-BBEA-F626A18295E7}"/>
                </a:ext>
              </a:extLst>
            </p:cNvPr>
            <p:cNvSpPr/>
            <p:nvPr/>
          </p:nvSpPr>
          <p:spPr>
            <a:xfrm>
              <a:off x="12986396" y="3411089"/>
              <a:ext cx="511890" cy="394882"/>
            </a:xfrm>
            <a:custGeom>
              <a:avLst/>
              <a:gdLst>
                <a:gd name="connsiteX0" fmla="*/ 443654 w 511890"/>
                <a:gd name="connsiteY0" fmla="*/ 117959 h 394882"/>
                <a:gd name="connsiteX1" fmla="*/ 422116 w 511890"/>
                <a:gd name="connsiteY1" fmla="*/ 77959 h 394882"/>
                <a:gd name="connsiteX2" fmla="*/ 409808 w 511890"/>
                <a:gd name="connsiteY2" fmla="*/ 81036 h 394882"/>
                <a:gd name="connsiteX3" fmla="*/ 375962 w 511890"/>
                <a:gd name="connsiteY3" fmla="*/ 62575 h 394882"/>
                <a:gd name="connsiteX4" fmla="*/ 360577 w 511890"/>
                <a:gd name="connsiteY4" fmla="*/ 44113 h 394882"/>
                <a:gd name="connsiteX5" fmla="*/ 326731 w 511890"/>
                <a:gd name="connsiteY5" fmla="*/ 16421 h 394882"/>
                <a:gd name="connsiteX6" fmla="*/ 292885 w 511890"/>
                <a:gd name="connsiteY6" fmla="*/ 16421 h 394882"/>
                <a:gd name="connsiteX7" fmla="*/ 234423 w 511890"/>
                <a:gd name="connsiteY7" fmla="*/ 7190 h 394882"/>
                <a:gd name="connsiteX8" fmla="*/ 219039 w 511890"/>
                <a:gd name="connsiteY8" fmla="*/ 1036 h 394882"/>
                <a:gd name="connsiteX9" fmla="*/ 99039 w 511890"/>
                <a:gd name="connsiteY9" fmla="*/ 50267 h 394882"/>
                <a:gd name="connsiteX10" fmla="*/ 40578 w 511890"/>
                <a:gd name="connsiteY10" fmla="*/ 81036 h 394882"/>
                <a:gd name="connsiteX11" fmla="*/ 28269 w 511890"/>
                <a:gd name="connsiteY11" fmla="*/ 127190 h 394882"/>
                <a:gd name="connsiteX12" fmla="*/ 12884 w 511890"/>
                <a:gd name="connsiteY12" fmla="*/ 157959 h 394882"/>
                <a:gd name="connsiteX13" fmla="*/ 9808 w 511890"/>
                <a:gd name="connsiteY13" fmla="*/ 194883 h 394882"/>
                <a:gd name="connsiteX14" fmla="*/ 15962 w 511890"/>
                <a:gd name="connsiteY14" fmla="*/ 228729 h 394882"/>
                <a:gd name="connsiteX15" fmla="*/ 577 w 511890"/>
                <a:gd name="connsiteY15" fmla="*/ 271806 h 394882"/>
                <a:gd name="connsiteX16" fmla="*/ 28269 w 511890"/>
                <a:gd name="connsiteY16" fmla="*/ 367190 h 394882"/>
                <a:gd name="connsiteX17" fmla="*/ 37500 w 511890"/>
                <a:gd name="connsiteY17" fmla="*/ 367190 h 394882"/>
                <a:gd name="connsiteX18" fmla="*/ 49808 w 511890"/>
                <a:gd name="connsiteY18" fmla="*/ 394883 h 394882"/>
                <a:gd name="connsiteX19" fmla="*/ 62115 w 511890"/>
                <a:gd name="connsiteY19" fmla="*/ 336421 h 394882"/>
                <a:gd name="connsiteX20" fmla="*/ 89808 w 511890"/>
                <a:gd name="connsiteY20" fmla="*/ 321036 h 394882"/>
                <a:gd name="connsiteX21" fmla="*/ 105192 w 511890"/>
                <a:gd name="connsiteY21" fmla="*/ 296421 h 394882"/>
                <a:gd name="connsiteX22" fmla="*/ 111346 w 511890"/>
                <a:gd name="connsiteY22" fmla="*/ 287190 h 394882"/>
                <a:gd name="connsiteX23" fmla="*/ 117501 w 511890"/>
                <a:gd name="connsiteY23" fmla="*/ 281036 h 394882"/>
                <a:gd name="connsiteX24" fmla="*/ 123654 w 511890"/>
                <a:gd name="connsiteY24" fmla="*/ 277959 h 394882"/>
                <a:gd name="connsiteX25" fmla="*/ 126731 w 511890"/>
                <a:gd name="connsiteY25" fmla="*/ 271806 h 394882"/>
                <a:gd name="connsiteX26" fmla="*/ 135961 w 511890"/>
                <a:gd name="connsiteY26" fmla="*/ 265652 h 394882"/>
                <a:gd name="connsiteX27" fmla="*/ 148270 w 511890"/>
                <a:gd name="connsiteY27" fmla="*/ 265652 h 394882"/>
                <a:gd name="connsiteX28" fmla="*/ 160577 w 511890"/>
                <a:gd name="connsiteY28" fmla="*/ 265652 h 394882"/>
                <a:gd name="connsiteX29" fmla="*/ 194424 w 511890"/>
                <a:gd name="connsiteY29" fmla="*/ 253344 h 394882"/>
                <a:gd name="connsiteX30" fmla="*/ 243654 w 511890"/>
                <a:gd name="connsiteY30" fmla="*/ 231806 h 394882"/>
                <a:gd name="connsiteX31" fmla="*/ 262115 w 511890"/>
                <a:gd name="connsiteY31" fmla="*/ 241036 h 394882"/>
                <a:gd name="connsiteX32" fmla="*/ 295962 w 511890"/>
                <a:gd name="connsiteY32" fmla="*/ 216421 h 394882"/>
                <a:gd name="connsiteX33" fmla="*/ 308269 w 511890"/>
                <a:gd name="connsiteY33" fmla="*/ 219498 h 394882"/>
                <a:gd name="connsiteX34" fmla="*/ 388269 w 511890"/>
                <a:gd name="connsiteY34" fmla="*/ 237959 h 394882"/>
                <a:gd name="connsiteX35" fmla="*/ 397500 w 511890"/>
                <a:gd name="connsiteY35" fmla="*/ 241036 h 394882"/>
                <a:gd name="connsiteX36" fmla="*/ 462115 w 511890"/>
                <a:gd name="connsiteY36" fmla="*/ 376421 h 394882"/>
                <a:gd name="connsiteX37" fmla="*/ 508269 w 511890"/>
                <a:gd name="connsiteY37" fmla="*/ 268729 h 394882"/>
                <a:gd name="connsiteX38" fmla="*/ 443654 w 511890"/>
                <a:gd name="connsiteY38" fmla="*/ 117959 h 394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1890" h="394882">
                  <a:moveTo>
                    <a:pt x="443654" y="117959"/>
                  </a:moveTo>
                  <a:cubicBezTo>
                    <a:pt x="443654" y="102575"/>
                    <a:pt x="437500" y="87190"/>
                    <a:pt x="422116" y="77959"/>
                  </a:cubicBezTo>
                  <a:cubicBezTo>
                    <a:pt x="403654" y="68729"/>
                    <a:pt x="409808" y="77959"/>
                    <a:pt x="409808" y="81036"/>
                  </a:cubicBezTo>
                  <a:cubicBezTo>
                    <a:pt x="400577" y="74882"/>
                    <a:pt x="391347" y="68729"/>
                    <a:pt x="375962" y="62575"/>
                  </a:cubicBezTo>
                  <a:cubicBezTo>
                    <a:pt x="369808" y="56421"/>
                    <a:pt x="366731" y="50267"/>
                    <a:pt x="360577" y="44113"/>
                  </a:cubicBezTo>
                  <a:cubicBezTo>
                    <a:pt x="351346" y="31806"/>
                    <a:pt x="342116" y="19498"/>
                    <a:pt x="326731" y="16421"/>
                  </a:cubicBezTo>
                  <a:cubicBezTo>
                    <a:pt x="314424" y="10267"/>
                    <a:pt x="305192" y="16421"/>
                    <a:pt x="292885" y="16421"/>
                  </a:cubicBezTo>
                  <a:cubicBezTo>
                    <a:pt x="271347" y="19498"/>
                    <a:pt x="255962" y="16421"/>
                    <a:pt x="234423" y="7190"/>
                  </a:cubicBezTo>
                  <a:cubicBezTo>
                    <a:pt x="228269" y="4113"/>
                    <a:pt x="225193" y="4113"/>
                    <a:pt x="219039" y="1036"/>
                  </a:cubicBezTo>
                  <a:cubicBezTo>
                    <a:pt x="172885" y="-8194"/>
                    <a:pt x="142116" y="47190"/>
                    <a:pt x="99039" y="50267"/>
                  </a:cubicBezTo>
                  <a:cubicBezTo>
                    <a:pt x="74423" y="53344"/>
                    <a:pt x="49808" y="50267"/>
                    <a:pt x="40578" y="81036"/>
                  </a:cubicBezTo>
                  <a:cubicBezTo>
                    <a:pt x="34423" y="99498"/>
                    <a:pt x="37500" y="108729"/>
                    <a:pt x="28269" y="127190"/>
                  </a:cubicBezTo>
                  <a:cubicBezTo>
                    <a:pt x="22116" y="136421"/>
                    <a:pt x="15962" y="145652"/>
                    <a:pt x="12884" y="157959"/>
                  </a:cubicBezTo>
                  <a:cubicBezTo>
                    <a:pt x="9808" y="170267"/>
                    <a:pt x="6731" y="182575"/>
                    <a:pt x="9808" y="194883"/>
                  </a:cubicBezTo>
                  <a:cubicBezTo>
                    <a:pt x="15962" y="213344"/>
                    <a:pt x="25193" y="210267"/>
                    <a:pt x="15962" y="228729"/>
                  </a:cubicBezTo>
                  <a:cubicBezTo>
                    <a:pt x="9808" y="244113"/>
                    <a:pt x="3654" y="256421"/>
                    <a:pt x="577" y="271806"/>
                  </a:cubicBezTo>
                  <a:cubicBezTo>
                    <a:pt x="-2500" y="308729"/>
                    <a:pt x="6731" y="339498"/>
                    <a:pt x="28269" y="367190"/>
                  </a:cubicBezTo>
                  <a:cubicBezTo>
                    <a:pt x="31346" y="370267"/>
                    <a:pt x="34423" y="370267"/>
                    <a:pt x="37500" y="367190"/>
                  </a:cubicBezTo>
                  <a:cubicBezTo>
                    <a:pt x="43654" y="385652"/>
                    <a:pt x="49808" y="394883"/>
                    <a:pt x="49808" y="394883"/>
                  </a:cubicBezTo>
                  <a:cubicBezTo>
                    <a:pt x="43654" y="376421"/>
                    <a:pt x="49808" y="357959"/>
                    <a:pt x="62115" y="336421"/>
                  </a:cubicBezTo>
                  <a:cubicBezTo>
                    <a:pt x="71347" y="330267"/>
                    <a:pt x="83654" y="327190"/>
                    <a:pt x="89808" y="321036"/>
                  </a:cubicBezTo>
                  <a:cubicBezTo>
                    <a:pt x="99039" y="314883"/>
                    <a:pt x="99039" y="305652"/>
                    <a:pt x="105192" y="296421"/>
                  </a:cubicBezTo>
                  <a:cubicBezTo>
                    <a:pt x="105192" y="293344"/>
                    <a:pt x="108269" y="290267"/>
                    <a:pt x="111346" y="287190"/>
                  </a:cubicBezTo>
                  <a:cubicBezTo>
                    <a:pt x="114423" y="284113"/>
                    <a:pt x="117501" y="284113"/>
                    <a:pt x="117501" y="281036"/>
                  </a:cubicBezTo>
                  <a:cubicBezTo>
                    <a:pt x="120577" y="281036"/>
                    <a:pt x="120577" y="277959"/>
                    <a:pt x="123654" y="277959"/>
                  </a:cubicBezTo>
                  <a:cubicBezTo>
                    <a:pt x="123654" y="274882"/>
                    <a:pt x="126731" y="274882"/>
                    <a:pt x="126731" y="271806"/>
                  </a:cubicBezTo>
                  <a:cubicBezTo>
                    <a:pt x="129808" y="268729"/>
                    <a:pt x="132885" y="268729"/>
                    <a:pt x="135961" y="265652"/>
                  </a:cubicBezTo>
                  <a:cubicBezTo>
                    <a:pt x="139039" y="265652"/>
                    <a:pt x="145193" y="265652"/>
                    <a:pt x="148270" y="265652"/>
                  </a:cubicBezTo>
                  <a:cubicBezTo>
                    <a:pt x="151346" y="265652"/>
                    <a:pt x="157500" y="265652"/>
                    <a:pt x="160577" y="265652"/>
                  </a:cubicBezTo>
                  <a:cubicBezTo>
                    <a:pt x="172885" y="265652"/>
                    <a:pt x="185192" y="259498"/>
                    <a:pt x="194424" y="253344"/>
                  </a:cubicBezTo>
                  <a:cubicBezTo>
                    <a:pt x="212884" y="241036"/>
                    <a:pt x="222116" y="225652"/>
                    <a:pt x="243654" y="231806"/>
                  </a:cubicBezTo>
                  <a:cubicBezTo>
                    <a:pt x="249808" y="231806"/>
                    <a:pt x="252885" y="241036"/>
                    <a:pt x="262115" y="241036"/>
                  </a:cubicBezTo>
                  <a:cubicBezTo>
                    <a:pt x="280577" y="241036"/>
                    <a:pt x="289808" y="228729"/>
                    <a:pt x="295962" y="216421"/>
                  </a:cubicBezTo>
                  <a:cubicBezTo>
                    <a:pt x="299039" y="216421"/>
                    <a:pt x="305192" y="216421"/>
                    <a:pt x="308269" y="219498"/>
                  </a:cubicBezTo>
                  <a:cubicBezTo>
                    <a:pt x="332885" y="234882"/>
                    <a:pt x="360577" y="241036"/>
                    <a:pt x="388269" y="237959"/>
                  </a:cubicBezTo>
                  <a:cubicBezTo>
                    <a:pt x="394424" y="237959"/>
                    <a:pt x="397500" y="241036"/>
                    <a:pt x="397500" y="241036"/>
                  </a:cubicBezTo>
                  <a:cubicBezTo>
                    <a:pt x="397500" y="241036"/>
                    <a:pt x="465193" y="345652"/>
                    <a:pt x="462115" y="376421"/>
                  </a:cubicBezTo>
                  <a:cubicBezTo>
                    <a:pt x="462115" y="376421"/>
                    <a:pt x="499039" y="327190"/>
                    <a:pt x="508269" y="268729"/>
                  </a:cubicBezTo>
                  <a:cubicBezTo>
                    <a:pt x="520577" y="219498"/>
                    <a:pt x="502116" y="133344"/>
                    <a:pt x="443654" y="117959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3" name="任意多边形: 形状 872">
              <a:extLst>
                <a:ext uri="{FF2B5EF4-FFF2-40B4-BE49-F238E27FC236}">
                  <a16:creationId xmlns:a16="http://schemas.microsoft.com/office/drawing/2014/main" id="{24799C94-BEFB-4E7C-AA55-9D5F93BD843B}"/>
                </a:ext>
              </a:extLst>
            </p:cNvPr>
            <p:cNvSpPr/>
            <p:nvPr/>
          </p:nvSpPr>
          <p:spPr>
            <a:xfrm>
              <a:off x="13379452" y="3544433"/>
              <a:ext cx="74157" cy="239999"/>
            </a:xfrm>
            <a:custGeom>
              <a:avLst/>
              <a:gdLst>
                <a:gd name="connsiteX0" fmla="*/ 69059 w 74157"/>
                <a:gd name="connsiteY0" fmla="*/ 240000 h 239999"/>
                <a:gd name="connsiteX1" fmla="*/ 62906 w 74157"/>
                <a:gd name="connsiteY1" fmla="*/ 236923 h 239999"/>
                <a:gd name="connsiteX2" fmla="*/ 1368 w 74157"/>
                <a:gd name="connsiteY2" fmla="*/ 120000 h 239999"/>
                <a:gd name="connsiteX3" fmla="*/ 1368 w 74157"/>
                <a:gd name="connsiteY3" fmla="*/ 113846 h 239999"/>
                <a:gd name="connsiteX4" fmla="*/ 4444 w 74157"/>
                <a:gd name="connsiteY4" fmla="*/ 110769 h 239999"/>
                <a:gd name="connsiteX5" fmla="*/ 47521 w 74157"/>
                <a:gd name="connsiteY5" fmla="*/ 64615 h 239999"/>
                <a:gd name="connsiteX6" fmla="*/ 41367 w 74157"/>
                <a:gd name="connsiteY6" fmla="*/ 6154 h 239999"/>
                <a:gd name="connsiteX7" fmla="*/ 44444 w 74157"/>
                <a:gd name="connsiteY7" fmla="*/ 0 h 239999"/>
                <a:gd name="connsiteX8" fmla="*/ 50598 w 74157"/>
                <a:gd name="connsiteY8" fmla="*/ 3077 h 239999"/>
                <a:gd name="connsiteX9" fmla="*/ 56752 w 74157"/>
                <a:gd name="connsiteY9" fmla="*/ 70769 h 239999"/>
                <a:gd name="connsiteX10" fmla="*/ 13675 w 74157"/>
                <a:gd name="connsiteY10" fmla="*/ 120000 h 239999"/>
                <a:gd name="connsiteX11" fmla="*/ 72136 w 74157"/>
                <a:gd name="connsiteY11" fmla="*/ 236923 h 239999"/>
                <a:gd name="connsiteX12" fmla="*/ 69059 w 74157"/>
                <a:gd name="connsiteY12" fmla="*/ 240000 h 239999"/>
                <a:gd name="connsiteX13" fmla="*/ 69059 w 74157"/>
                <a:gd name="connsiteY13" fmla="*/ 240000 h 23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157" h="239999">
                  <a:moveTo>
                    <a:pt x="69059" y="240000"/>
                  </a:moveTo>
                  <a:cubicBezTo>
                    <a:pt x="65982" y="240000"/>
                    <a:pt x="62906" y="236923"/>
                    <a:pt x="62906" y="236923"/>
                  </a:cubicBezTo>
                  <a:cubicBezTo>
                    <a:pt x="50598" y="175385"/>
                    <a:pt x="1368" y="123077"/>
                    <a:pt x="1368" y="120000"/>
                  </a:cubicBezTo>
                  <a:cubicBezTo>
                    <a:pt x="1368" y="120000"/>
                    <a:pt x="-1710" y="116923"/>
                    <a:pt x="1368" y="113846"/>
                  </a:cubicBezTo>
                  <a:cubicBezTo>
                    <a:pt x="1368" y="110769"/>
                    <a:pt x="4444" y="110769"/>
                    <a:pt x="4444" y="110769"/>
                  </a:cubicBezTo>
                  <a:cubicBezTo>
                    <a:pt x="4444" y="110769"/>
                    <a:pt x="38290" y="95385"/>
                    <a:pt x="47521" y="64615"/>
                  </a:cubicBezTo>
                  <a:cubicBezTo>
                    <a:pt x="53675" y="46154"/>
                    <a:pt x="50598" y="27692"/>
                    <a:pt x="41367" y="6154"/>
                  </a:cubicBezTo>
                  <a:cubicBezTo>
                    <a:pt x="41367" y="3077"/>
                    <a:pt x="41367" y="0"/>
                    <a:pt x="44444" y="0"/>
                  </a:cubicBezTo>
                  <a:cubicBezTo>
                    <a:pt x="47521" y="0"/>
                    <a:pt x="50598" y="0"/>
                    <a:pt x="50598" y="3077"/>
                  </a:cubicBezTo>
                  <a:cubicBezTo>
                    <a:pt x="62906" y="27692"/>
                    <a:pt x="62906" y="49231"/>
                    <a:pt x="56752" y="70769"/>
                  </a:cubicBezTo>
                  <a:cubicBezTo>
                    <a:pt x="47521" y="98462"/>
                    <a:pt x="22906" y="113846"/>
                    <a:pt x="13675" y="120000"/>
                  </a:cubicBezTo>
                  <a:cubicBezTo>
                    <a:pt x="25983" y="135385"/>
                    <a:pt x="62906" y="181539"/>
                    <a:pt x="72136" y="236923"/>
                  </a:cubicBezTo>
                  <a:cubicBezTo>
                    <a:pt x="75214" y="236923"/>
                    <a:pt x="75214" y="240000"/>
                    <a:pt x="69059" y="240000"/>
                  </a:cubicBezTo>
                  <a:cubicBezTo>
                    <a:pt x="72136" y="240000"/>
                    <a:pt x="72136" y="240000"/>
                    <a:pt x="69059" y="240000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4" name="任意多边形: 形状 873">
              <a:extLst>
                <a:ext uri="{FF2B5EF4-FFF2-40B4-BE49-F238E27FC236}">
                  <a16:creationId xmlns:a16="http://schemas.microsoft.com/office/drawing/2014/main" id="{B00CC54C-72F9-4D03-B569-5EA5CD3F9AD4}"/>
                </a:ext>
              </a:extLst>
            </p:cNvPr>
            <p:cNvSpPr/>
            <p:nvPr/>
          </p:nvSpPr>
          <p:spPr>
            <a:xfrm>
              <a:off x="13205435" y="3979048"/>
              <a:ext cx="116153" cy="45384"/>
            </a:xfrm>
            <a:custGeom>
              <a:avLst/>
              <a:gdLst>
                <a:gd name="connsiteX0" fmla="*/ 21539 w 116153"/>
                <a:gd name="connsiteY0" fmla="*/ 45385 h 45384"/>
                <a:gd name="connsiteX1" fmla="*/ 6154 w 116153"/>
                <a:gd name="connsiteY1" fmla="*/ 45385 h 45384"/>
                <a:gd name="connsiteX2" fmla="*/ 0 w 116153"/>
                <a:gd name="connsiteY2" fmla="*/ 39231 h 45384"/>
                <a:gd name="connsiteX3" fmla="*/ 6154 w 116153"/>
                <a:gd name="connsiteY3" fmla="*/ 33077 h 45384"/>
                <a:gd name="connsiteX4" fmla="*/ 104615 w 116153"/>
                <a:gd name="connsiteY4" fmla="*/ 2308 h 45384"/>
                <a:gd name="connsiteX5" fmla="*/ 113847 w 116153"/>
                <a:gd name="connsiteY5" fmla="*/ 2308 h 45384"/>
                <a:gd name="connsiteX6" fmla="*/ 113847 w 116153"/>
                <a:gd name="connsiteY6" fmla="*/ 11538 h 45384"/>
                <a:gd name="connsiteX7" fmla="*/ 21539 w 116153"/>
                <a:gd name="connsiteY7" fmla="*/ 45385 h 45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153" h="45384">
                  <a:moveTo>
                    <a:pt x="21539" y="45385"/>
                  </a:moveTo>
                  <a:cubicBezTo>
                    <a:pt x="12308" y="45385"/>
                    <a:pt x="6154" y="45385"/>
                    <a:pt x="6154" y="45385"/>
                  </a:cubicBezTo>
                  <a:cubicBezTo>
                    <a:pt x="3077" y="45385"/>
                    <a:pt x="0" y="42308"/>
                    <a:pt x="0" y="39231"/>
                  </a:cubicBezTo>
                  <a:cubicBezTo>
                    <a:pt x="0" y="36154"/>
                    <a:pt x="3077" y="33077"/>
                    <a:pt x="6154" y="33077"/>
                  </a:cubicBezTo>
                  <a:cubicBezTo>
                    <a:pt x="6154" y="33077"/>
                    <a:pt x="73846" y="39231"/>
                    <a:pt x="104615" y="2308"/>
                  </a:cubicBezTo>
                  <a:cubicBezTo>
                    <a:pt x="107692" y="-769"/>
                    <a:pt x="110769" y="-769"/>
                    <a:pt x="113847" y="2308"/>
                  </a:cubicBezTo>
                  <a:cubicBezTo>
                    <a:pt x="116923" y="5385"/>
                    <a:pt x="116923" y="8462"/>
                    <a:pt x="113847" y="11538"/>
                  </a:cubicBezTo>
                  <a:cubicBezTo>
                    <a:pt x="89231" y="42308"/>
                    <a:pt x="46154" y="45385"/>
                    <a:pt x="21539" y="45385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5" name="任意多边形: 形状 874">
              <a:extLst>
                <a:ext uri="{FF2B5EF4-FFF2-40B4-BE49-F238E27FC236}">
                  <a16:creationId xmlns:a16="http://schemas.microsoft.com/office/drawing/2014/main" id="{CBE85F7F-4E33-4F67-8B5A-7FACDF616EE4}"/>
                </a:ext>
              </a:extLst>
            </p:cNvPr>
            <p:cNvSpPr/>
            <p:nvPr/>
          </p:nvSpPr>
          <p:spPr>
            <a:xfrm>
              <a:off x="13079281" y="3542894"/>
              <a:ext cx="249230" cy="100000"/>
            </a:xfrm>
            <a:custGeom>
              <a:avLst/>
              <a:gdLst>
                <a:gd name="connsiteX0" fmla="*/ 6154 w 249230"/>
                <a:gd name="connsiteY0" fmla="*/ 100000 h 100000"/>
                <a:gd name="connsiteX1" fmla="*/ 0 w 249230"/>
                <a:gd name="connsiteY1" fmla="*/ 96923 h 100000"/>
                <a:gd name="connsiteX2" fmla="*/ 3077 w 249230"/>
                <a:gd name="connsiteY2" fmla="*/ 90769 h 100000"/>
                <a:gd name="connsiteX3" fmla="*/ 49231 w 249230"/>
                <a:gd name="connsiteY3" fmla="*/ 66154 h 100000"/>
                <a:gd name="connsiteX4" fmla="*/ 55385 w 249230"/>
                <a:gd name="connsiteY4" fmla="*/ 56923 h 100000"/>
                <a:gd name="connsiteX5" fmla="*/ 89231 w 249230"/>
                <a:gd name="connsiteY5" fmla="*/ 32308 h 100000"/>
                <a:gd name="connsiteX6" fmla="*/ 120000 w 249230"/>
                <a:gd name="connsiteY6" fmla="*/ 38462 h 100000"/>
                <a:gd name="connsiteX7" fmla="*/ 147693 w 249230"/>
                <a:gd name="connsiteY7" fmla="*/ 41538 h 100000"/>
                <a:gd name="connsiteX8" fmla="*/ 166154 w 249230"/>
                <a:gd name="connsiteY8" fmla="*/ 23077 h 100000"/>
                <a:gd name="connsiteX9" fmla="*/ 184615 w 249230"/>
                <a:gd name="connsiteY9" fmla="*/ 4615 h 100000"/>
                <a:gd name="connsiteX10" fmla="*/ 224616 w 249230"/>
                <a:gd name="connsiteY10" fmla="*/ 4615 h 100000"/>
                <a:gd name="connsiteX11" fmla="*/ 249231 w 249230"/>
                <a:gd name="connsiteY11" fmla="*/ 35385 h 100000"/>
                <a:gd name="connsiteX12" fmla="*/ 246154 w 249230"/>
                <a:gd name="connsiteY12" fmla="*/ 41538 h 100000"/>
                <a:gd name="connsiteX13" fmla="*/ 240001 w 249230"/>
                <a:gd name="connsiteY13" fmla="*/ 38462 h 100000"/>
                <a:gd name="connsiteX14" fmla="*/ 221539 w 249230"/>
                <a:gd name="connsiteY14" fmla="*/ 13846 h 100000"/>
                <a:gd name="connsiteX15" fmla="*/ 193847 w 249230"/>
                <a:gd name="connsiteY15" fmla="*/ 13846 h 100000"/>
                <a:gd name="connsiteX16" fmla="*/ 178462 w 249230"/>
                <a:gd name="connsiteY16" fmla="*/ 29231 h 100000"/>
                <a:gd name="connsiteX17" fmla="*/ 153846 w 249230"/>
                <a:gd name="connsiteY17" fmla="*/ 50769 h 100000"/>
                <a:gd name="connsiteX18" fmla="*/ 120000 w 249230"/>
                <a:gd name="connsiteY18" fmla="*/ 47692 h 100000"/>
                <a:gd name="connsiteX19" fmla="*/ 95385 w 249230"/>
                <a:gd name="connsiteY19" fmla="*/ 41538 h 100000"/>
                <a:gd name="connsiteX20" fmla="*/ 67693 w 249230"/>
                <a:gd name="connsiteY20" fmla="*/ 63077 h 100000"/>
                <a:gd name="connsiteX21" fmla="*/ 58461 w 249230"/>
                <a:gd name="connsiteY21" fmla="*/ 72308 h 100000"/>
                <a:gd name="connsiteX22" fmla="*/ 6154 w 249230"/>
                <a:gd name="connsiteY22" fmla="*/ 100000 h 100000"/>
                <a:gd name="connsiteX23" fmla="*/ 6154 w 249230"/>
                <a:gd name="connsiteY23" fmla="*/ 100000 h 1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49230" h="100000">
                  <a:moveTo>
                    <a:pt x="6154" y="100000"/>
                  </a:moveTo>
                  <a:cubicBezTo>
                    <a:pt x="3077" y="100000"/>
                    <a:pt x="0" y="96923"/>
                    <a:pt x="0" y="96923"/>
                  </a:cubicBezTo>
                  <a:cubicBezTo>
                    <a:pt x="0" y="93846"/>
                    <a:pt x="0" y="90769"/>
                    <a:pt x="3077" y="90769"/>
                  </a:cubicBezTo>
                  <a:cubicBezTo>
                    <a:pt x="21539" y="87692"/>
                    <a:pt x="36923" y="78462"/>
                    <a:pt x="49231" y="66154"/>
                  </a:cubicBezTo>
                  <a:cubicBezTo>
                    <a:pt x="52308" y="63077"/>
                    <a:pt x="55385" y="60000"/>
                    <a:pt x="55385" y="56923"/>
                  </a:cubicBezTo>
                  <a:cubicBezTo>
                    <a:pt x="64616" y="44615"/>
                    <a:pt x="73846" y="32308"/>
                    <a:pt x="89231" y="32308"/>
                  </a:cubicBezTo>
                  <a:cubicBezTo>
                    <a:pt x="101539" y="29231"/>
                    <a:pt x="110769" y="35385"/>
                    <a:pt x="120000" y="38462"/>
                  </a:cubicBezTo>
                  <a:cubicBezTo>
                    <a:pt x="129231" y="41538"/>
                    <a:pt x="138462" y="44615"/>
                    <a:pt x="147693" y="41538"/>
                  </a:cubicBezTo>
                  <a:cubicBezTo>
                    <a:pt x="156923" y="38462"/>
                    <a:pt x="160000" y="32308"/>
                    <a:pt x="166154" y="23077"/>
                  </a:cubicBezTo>
                  <a:cubicBezTo>
                    <a:pt x="172308" y="16923"/>
                    <a:pt x="178462" y="7692"/>
                    <a:pt x="184615" y="4615"/>
                  </a:cubicBezTo>
                  <a:cubicBezTo>
                    <a:pt x="196923" y="-1538"/>
                    <a:pt x="212308" y="-1538"/>
                    <a:pt x="224616" y="4615"/>
                  </a:cubicBezTo>
                  <a:cubicBezTo>
                    <a:pt x="233846" y="10769"/>
                    <a:pt x="243077" y="23077"/>
                    <a:pt x="249231" y="35385"/>
                  </a:cubicBezTo>
                  <a:cubicBezTo>
                    <a:pt x="249231" y="38462"/>
                    <a:pt x="249231" y="41538"/>
                    <a:pt x="246154" y="41538"/>
                  </a:cubicBezTo>
                  <a:cubicBezTo>
                    <a:pt x="243077" y="41538"/>
                    <a:pt x="240001" y="41538"/>
                    <a:pt x="240001" y="38462"/>
                  </a:cubicBezTo>
                  <a:cubicBezTo>
                    <a:pt x="236923" y="26154"/>
                    <a:pt x="230769" y="20000"/>
                    <a:pt x="221539" y="13846"/>
                  </a:cubicBezTo>
                  <a:cubicBezTo>
                    <a:pt x="212308" y="7692"/>
                    <a:pt x="200000" y="7692"/>
                    <a:pt x="193847" y="13846"/>
                  </a:cubicBezTo>
                  <a:cubicBezTo>
                    <a:pt x="187693" y="16923"/>
                    <a:pt x="181538" y="23077"/>
                    <a:pt x="178462" y="29231"/>
                  </a:cubicBezTo>
                  <a:cubicBezTo>
                    <a:pt x="172308" y="38462"/>
                    <a:pt x="166154" y="47692"/>
                    <a:pt x="153846" y="50769"/>
                  </a:cubicBezTo>
                  <a:cubicBezTo>
                    <a:pt x="141539" y="53846"/>
                    <a:pt x="129231" y="50769"/>
                    <a:pt x="120000" y="47692"/>
                  </a:cubicBezTo>
                  <a:cubicBezTo>
                    <a:pt x="110769" y="44615"/>
                    <a:pt x="101539" y="41538"/>
                    <a:pt x="95385" y="41538"/>
                  </a:cubicBezTo>
                  <a:cubicBezTo>
                    <a:pt x="83077" y="44615"/>
                    <a:pt x="76923" y="53846"/>
                    <a:pt x="67693" y="63077"/>
                  </a:cubicBezTo>
                  <a:cubicBezTo>
                    <a:pt x="64616" y="66154"/>
                    <a:pt x="61538" y="69231"/>
                    <a:pt x="58461" y="72308"/>
                  </a:cubicBezTo>
                  <a:cubicBezTo>
                    <a:pt x="46154" y="87692"/>
                    <a:pt x="27692" y="96923"/>
                    <a:pt x="6154" y="100000"/>
                  </a:cubicBezTo>
                  <a:cubicBezTo>
                    <a:pt x="6154" y="100000"/>
                    <a:pt x="6154" y="100000"/>
                    <a:pt x="6154" y="100000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6" name="任意多边形: 形状 875">
              <a:extLst>
                <a:ext uri="{FF2B5EF4-FFF2-40B4-BE49-F238E27FC236}">
                  <a16:creationId xmlns:a16="http://schemas.microsoft.com/office/drawing/2014/main" id="{38150515-967D-4150-97DC-18FBB257348D}"/>
                </a:ext>
              </a:extLst>
            </p:cNvPr>
            <p:cNvSpPr/>
            <p:nvPr/>
          </p:nvSpPr>
          <p:spPr>
            <a:xfrm>
              <a:off x="13045435" y="3458807"/>
              <a:ext cx="282308" cy="104087"/>
            </a:xfrm>
            <a:custGeom>
              <a:avLst/>
              <a:gdLst>
                <a:gd name="connsiteX0" fmla="*/ 6154 w 282308"/>
                <a:gd name="connsiteY0" fmla="*/ 104087 h 104087"/>
                <a:gd name="connsiteX1" fmla="*/ 0 w 282308"/>
                <a:gd name="connsiteY1" fmla="*/ 97934 h 104087"/>
                <a:gd name="connsiteX2" fmla="*/ 12308 w 282308"/>
                <a:gd name="connsiteY2" fmla="*/ 67164 h 104087"/>
                <a:gd name="connsiteX3" fmla="*/ 70770 w 282308"/>
                <a:gd name="connsiteY3" fmla="*/ 45626 h 104087"/>
                <a:gd name="connsiteX4" fmla="*/ 70770 w 282308"/>
                <a:gd name="connsiteY4" fmla="*/ 45626 h 104087"/>
                <a:gd name="connsiteX5" fmla="*/ 107692 w 282308"/>
                <a:gd name="connsiteY5" fmla="*/ 21011 h 104087"/>
                <a:gd name="connsiteX6" fmla="*/ 135385 w 282308"/>
                <a:gd name="connsiteY6" fmla="*/ 2549 h 104087"/>
                <a:gd name="connsiteX7" fmla="*/ 190770 w 282308"/>
                <a:gd name="connsiteY7" fmla="*/ 8703 h 104087"/>
                <a:gd name="connsiteX8" fmla="*/ 218462 w 282308"/>
                <a:gd name="connsiteY8" fmla="*/ 11780 h 104087"/>
                <a:gd name="connsiteX9" fmla="*/ 280000 w 282308"/>
                <a:gd name="connsiteY9" fmla="*/ 27164 h 104087"/>
                <a:gd name="connsiteX10" fmla="*/ 280000 w 282308"/>
                <a:gd name="connsiteY10" fmla="*/ 36395 h 104087"/>
                <a:gd name="connsiteX11" fmla="*/ 270770 w 282308"/>
                <a:gd name="connsiteY11" fmla="*/ 36395 h 104087"/>
                <a:gd name="connsiteX12" fmla="*/ 221539 w 282308"/>
                <a:gd name="connsiteY12" fmla="*/ 24088 h 104087"/>
                <a:gd name="connsiteX13" fmla="*/ 181539 w 282308"/>
                <a:gd name="connsiteY13" fmla="*/ 21011 h 104087"/>
                <a:gd name="connsiteX14" fmla="*/ 135385 w 282308"/>
                <a:gd name="connsiteY14" fmla="*/ 14857 h 104087"/>
                <a:gd name="connsiteX15" fmla="*/ 113847 w 282308"/>
                <a:gd name="connsiteY15" fmla="*/ 30241 h 104087"/>
                <a:gd name="connsiteX16" fmla="*/ 67693 w 282308"/>
                <a:gd name="connsiteY16" fmla="*/ 57934 h 104087"/>
                <a:gd name="connsiteX17" fmla="*/ 64616 w 282308"/>
                <a:gd name="connsiteY17" fmla="*/ 57934 h 104087"/>
                <a:gd name="connsiteX18" fmla="*/ 15385 w 282308"/>
                <a:gd name="connsiteY18" fmla="*/ 76395 h 104087"/>
                <a:gd name="connsiteX19" fmla="*/ 6154 w 282308"/>
                <a:gd name="connsiteY19" fmla="*/ 97934 h 104087"/>
                <a:gd name="connsiteX20" fmla="*/ 6154 w 282308"/>
                <a:gd name="connsiteY20" fmla="*/ 104087 h 104087"/>
                <a:gd name="connsiteX21" fmla="*/ 6154 w 282308"/>
                <a:gd name="connsiteY21" fmla="*/ 104087 h 104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82308" h="104087">
                  <a:moveTo>
                    <a:pt x="6154" y="104087"/>
                  </a:moveTo>
                  <a:cubicBezTo>
                    <a:pt x="3077" y="104087"/>
                    <a:pt x="0" y="101011"/>
                    <a:pt x="0" y="97934"/>
                  </a:cubicBezTo>
                  <a:cubicBezTo>
                    <a:pt x="0" y="85626"/>
                    <a:pt x="3077" y="76395"/>
                    <a:pt x="12308" y="67164"/>
                  </a:cubicBezTo>
                  <a:cubicBezTo>
                    <a:pt x="27693" y="51780"/>
                    <a:pt x="55385" y="45626"/>
                    <a:pt x="70770" y="45626"/>
                  </a:cubicBezTo>
                  <a:cubicBezTo>
                    <a:pt x="70770" y="45626"/>
                    <a:pt x="70770" y="45626"/>
                    <a:pt x="70770" y="45626"/>
                  </a:cubicBezTo>
                  <a:cubicBezTo>
                    <a:pt x="80000" y="45626"/>
                    <a:pt x="95385" y="33318"/>
                    <a:pt x="107692" y="21011"/>
                  </a:cubicBezTo>
                  <a:cubicBezTo>
                    <a:pt x="116924" y="11780"/>
                    <a:pt x="126154" y="2549"/>
                    <a:pt x="135385" y="2549"/>
                  </a:cubicBezTo>
                  <a:cubicBezTo>
                    <a:pt x="160000" y="-3605"/>
                    <a:pt x="178462" y="2549"/>
                    <a:pt x="190770" y="8703"/>
                  </a:cubicBezTo>
                  <a:cubicBezTo>
                    <a:pt x="203077" y="14857"/>
                    <a:pt x="209231" y="17934"/>
                    <a:pt x="218462" y="11780"/>
                  </a:cubicBezTo>
                  <a:cubicBezTo>
                    <a:pt x="246154" y="-6682"/>
                    <a:pt x="280000" y="24088"/>
                    <a:pt x="280000" y="27164"/>
                  </a:cubicBezTo>
                  <a:cubicBezTo>
                    <a:pt x="283077" y="30241"/>
                    <a:pt x="283077" y="33318"/>
                    <a:pt x="280000" y="36395"/>
                  </a:cubicBezTo>
                  <a:cubicBezTo>
                    <a:pt x="276923" y="39472"/>
                    <a:pt x="273847" y="39472"/>
                    <a:pt x="270770" y="36395"/>
                  </a:cubicBezTo>
                  <a:cubicBezTo>
                    <a:pt x="270770" y="36395"/>
                    <a:pt x="243078" y="11780"/>
                    <a:pt x="221539" y="24088"/>
                  </a:cubicBezTo>
                  <a:cubicBezTo>
                    <a:pt x="206154" y="33318"/>
                    <a:pt x="193847" y="27164"/>
                    <a:pt x="181539" y="21011"/>
                  </a:cubicBezTo>
                  <a:cubicBezTo>
                    <a:pt x="169231" y="14857"/>
                    <a:pt x="153846" y="8703"/>
                    <a:pt x="135385" y="14857"/>
                  </a:cubicBezTo>
                  <a:cubicBezTo>
                    <a:pt x="129231" y="14857"/>
                    <a:pt x="120001" y="24088"/>
                    <a:pt x="113847" y="30241"/>
                  </a:cubicBezTo>
                  <a:cubicBezTo>
                    <a:pt x="98462" y="42549"/>
                    <a:pt x="83077" y="57934"/>
                    <a:pt x="67693" y="57934"/>
                  </a:cubicBezTo>
                  <a:cubicBezTo>
                    <a:pt x="67693" y="57934"/>
                    <a:pt x="64616" y="57934"/>
                    <a:pt x="64616" y="57934"/>
                  </a:cubicBezTo>
                  <a:cubicBezTo>
                    <a:pt x="52308" y="57934"/>
                    <a:pt x="27693" y="64087"/>
                    <a:pt x="15385" y="76395"/>
                  </a:cubicBezTo>
                  <a:cubicBezTo>
                    <a:pt x="9231" y="82549"/>
                    <a:pt x="6154" y="88703"/>
                    <a:pt x="6154" y="97934"/>
                  </a:cubicBezTo>
                  <a:cubicBezTo>
                    <a:pt x="12308" y="101011"/>
                    <a:pt x="9231" y="104087"/>
                    <a:pt x="6154" y="104087"/>
                  </a:cubicBezTo>
                  <a:cubicBezTo>
                    <a:pt x="6154" y="104087"/>
                    <a:pt x="6154" y="104087"/>
                    <a:pt x="6154" y="104087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77" name="图形 1">
              <a:extLst>
                <a:ext uri="{FF2B5EF4-FFF2-40B4-BE49-F238E27FC236}">
                  <a16:creationId xmlns:a16="http://schemas.microsoft.com/office/drawing/2014/main" id="{AEC0499B-714B-4CC0-9B71-89E1A71F612F}"/>
                </a:ext>
              </a:extLst>
            </p:cNvPr>
            <p:cNvGrpSpPr/>
            <p:nvPr/>
          </p:nvGrpSpPr>
          <p:grpSpPr>
            <a:xfrm>
              <a:off x="11879773" y="4082894"/>
              <a:ext cx="710276" cy="1224615"/>
              <a:chOff x="11879773" y="4082894"/>
              <a:chExt cx="710276" cy="1224615"/>
            </a:xfrm>
          </p:grpSpPr>
          <p:grpSp>
            <p:nvGrpSpPr>
              <p:cNvPr id="878" name="图形 1">
                <a:extLst>
                  <a:ext uri="{FF2B5EF4-FFF2-40B4-BE49-F238E27FC236}">
                    <a16:creationId xmlns:a16="http://schemas.microsoft.com/office/drawing/2014/main" id="{AEC0499B-714B-4CC0-9B71-89E1A71F612F}"/>
                  </a:ext>
                </a:extLst>
              </p:cNvPr>
              <p:cNvGrpSpPr/>
              <p:nvPr/>
            </p:nvGrpSpPr>
            <p:grpSpPr>
              <a:xfrm>
                <a:off x="11959281" y="4082894"/>
                <a:ext cx="239999" cy="775384"/>
                <a:chOff x="11959281" y="4082894"/>
                <a:chExt cx="239999" cy="775384"/>
              </a:xfrm>
            </p:grpSpPr>
            <p:sp>
              <p:nvSpPr>
                <p:cNvPr id="879" name="任意多边形: 形状 878">
                  <a:extLst>
                    <a:ext uri="{FF2B5EF4-FFF2-40B4-BE49-F238E27FC236}">
                      <a16:creationId xmlns:a16="http://schemas.microsoft.com/office/drawing/2014/main" id="{39D3D742-72CD-4CAB-A01C-FB1E5770138E}"/>
                    </a:ext>
                  </a:extLst>
                </p:cNvPr>
                <p:cNvSpPr/>
                <p:nvPr/>
              </p:nvSpPr>
              <p:spPr>
                <a:xfrm>
                  <a:off x="11999281" y="4732125"/>
                  <a:ext cx="156923" cy="126153"/>
                </a:xfrm>
                <a:custGeom>
                  <a:avLst/>
                  <a:gdLst>
                    <a:gd name="connsiteX0" fmla="*/ 0 w 156923"/>
                    <a:gd name="connsiteY0" fmla="*/ 0 h 126153"/>
                    <a:gd name="connsiteX1" fmla="*/ 156923 w 156923"/>
                    <a:gd name="connsiteY1" fmla="*/ 0 h 126153"/>
                    <a:gd name="connsiteX2" fmla="*/ 156923 w 156923"/>
                    <a:gd name="connsiteY2" fmla="*/ 120000 h 126153"/>
                    <a:gd name="connsiteX3" fmla="*/ 156923 w 156923"/>
                    <a:gd name="connsiteY3" fmla="*/ 120000 h 126153"/>
                    <a:gd name="connsiteX4" fmla="*/ 80000 w 156923"/>
                    <a:gd name="connsiteY4" fmla="*/ 126154 h 126153"/>
                    <a:gd name="connsiteX5" fmla="*/ 3077 w 156923"/>
                    <a:gd name="connsiteY5" fmla="*/ 120000 h 126153"/>
                    <a:gd name="connsiteX6" fmla="*/ 3077 w 156923"/>
                    <a:gd name="connsiteY6" fmla="*/ 120000 h 126153"/>
                    <a:gd name="connsiteX7" fmla="*/ 3077 w 156923"/>
                    <a:gd name="connsiteY7" fmla="*/ 0 h 126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6923" h="126153">
                      <a:moveTo>
                        <a:pt x="0" y="0"/>
                      </a:moveTo>
                      <a:lnTo>
                        <a:pt x="156923" y="0"/>
                      </a:lnTo>
                      <a:lnTo>
                        <a:pt x="156923" y="120000"/>
                      </a:lnTo>
                      <a:lnTo>
                        <a:pt x="156923" y="120000"/>
                      </a:lnTo>
                      <a:cubicBezTo>
                        <a:pt x="156923" y="123077"/>
                        <a:pt x="123077" y="126154"/>
                        <a:pt x="80000" y="126154"/>
                      </a:cubicBezTo>
                      <a:cubicBezTo>
                        <a:pt x="36923" y="126154"/>
                        <a:pt x="3077" y="123077"/>
                        <a:pt x="3077" y="120000"/>
                      </a:cubicBezTo>
                      <a:lnTo>
                        <a:pt x="3077" y="120000"/>
                      </a:lnTo>
                      <a:lnTo>
                        <a:pt x="3077" y="0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80" name="任意多边形: 形状 879">
                  <a:extLst>
                    <a:ext uri="{FF2B5EF4-FFF2-40B4-BE49-F238E27FC236}">
                      <a16:creationId xmlns:a16="http://schemas.microsoft.com/office/drawing/2014/main" id="{82E8DFB4-BE63-4751-B41D-0F7C1744168B}"/>
                    </a:ext>
                  </a:extLst>
                </p:cNvPr>
                <p:cNvSpPr/>
                <p:nvPr/>
              </p:nvSpPr>
              <p:spPr>
                <a:xfrm>
                  <a:off x="12008512" y="4082894"/>
                  <a:ext cx="138461" cy="203076"/>
                </a:xfrm>
                <a:custGeom>
                  <a:avLst/>
                  <a:gdLst>
                    <a:gd name="connsiteX0" fmla="*/ 0 w 138461"/>
                    <a:gd name="connsiteY0" fmla="*/ 21538 h 203076"/>
                    <a:gd name="connsiteX1" fmla="*/ 0 w 138461"/>
                    <a:gd name="connsiteY1" fmla="*/ 203077 h 203076"/>
                    <a:gd name="connsiteX2" fmla="*/ 138462 w 138461"/>
                    <a:gd name="connsiteY2" fmla="*/ 203077 h 203076"/>
                    <a:gd name="connsiteX3" fmla="*/ 138462 w 138461"/>
                    <a:gd name="connsiteY3" fmla="*/ 21538 h 203076"/>
                    <a:gd name="connsiteX4" fmla="*/ 116923 w 138461"/>
                    <a:gd name="connsiteY4" fmla="*/ 0 h 203076"/>
                    <a:gd name="connsiteX5" fmla="*/ 21538 w 138461"/>
                    <a:gd name="connsiteY5" fmla="*/ 0 h 203076"/>
                    <a:gd name="connsiteX6" fmla="*/ 0 w 138461"/>
                    <a:gd name="connsiteY6" fmla="*/ 21538 h 203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8461" h="203076">
                      <a:moveTo>
                        <a:pt x="0" y="21538"/>
                      </a:moveTo>
                      <a:lnTo>
                        <a:pt x="0" y="203077"/>
                      </a:lnTo>
                      <a:lnTo>
                        <a:pt x="138462" y="203077"/>
                      </a:lnTo>
                      <a:lnTo>
                        <a:pt x="138462" y="21538"/>
                      </a:lnTo>
                      <a:cubicBezTo>
                        <a:pt x="138462" y="9231"/>
                        <a:pt x="129230" y="0"/>
                        <a:pt x="116923" y="0"/>
                      </a:cubicBezTo>
                      <a:lnTo>
                        <a:pt x="21538" y="0"/>
                      </a:lnTo>
                      <a:cubicBezTo>
                        <a:pt x="9230" y="0"/>
                        <a:pt x="0" y="9231"/>
                        <a:pt x="0" y="21538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81" name="任意多边形: 形状 880">
                  <a:extLst>
                    <a:ext uri="{FF2B5EF4-FFF2-40B4-BE49-F238E27FC236}">
                      <a16:creationId xmlns:a16="http://schemas.microsoft.com/office/drawing/2014/main" id="{E2117B45-1226-4D68-B83C-DDA921FA5CB0}"/>
                    </a:ext>
                  </a:extLst>
                </p:cNvPr>
                <p:cNvSpPr/>
                <p:nvPr/>
              </p:nvSpPr>
              <p:spPr>
                <a:xfrm>
                  <a:off x="11959281" y="4187510"/>
                  <a:ext cx="239999" cy="559999"/>
                </a:xfrm>
                <a:custGeom>
                  <a:avLst/>
                  <a:gdLst>
                    <a:gd name="connsiteX0" fmla="*/ 27692 w 239999"/>
                    <a:gd name="connsiteY0" fmla="*/ 560000 h 559999"/>
                    <a:gd name="connsiteX1" fmla="*/ 212308 w 239999"/>
                    <a:gd name="connsiteY1" fmla="*/ 560000 h 559999"/>
                    <a:gd name="connsiteX2" fmla="*/ 240000 w 239999"/>
                    <a:gd name="connsiteY2" fmla="*/ 532308 h 559999"/>
                    <a:gd name="connsiteX3" fmla="*/ 240000 w 239999"/>
                    <a:gd name="connsiteY3" fmla="*/ 27692 h 559999"/>
                    <a:gd name="connsiteX4" fmla="*/ 212308 w 239999"/>
                    <a:gd name="connsiteY4" fmla="*/ 0 h 559999"/>
                    <a:gd name="connsiteX5" fmla="*/ 27692 w 239999"/>
                    <a:gd name="connsiteY5" fmla="*/ 0 h 559999"/>
                    <a:gd name="connsiteX6" fmla="*/ 0 w 239999"/>
                    <a:gd name="connsiteY6" fmla="*/ 27692 h 559999"/>
                    <a:gd name="connsiteX7" fmla="*/ 0 w 239999"/>
                    <a:gd name="connsiteY7" fmla="*/ 529231 h 559999"/>
                    <a:gd name="connsiteX8" fmla="*/ 27692 w 239999"/>
                    <a:gd name="connsiteY8" fmla="*/ 560000 h 5599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39999" h="559999">
                      <a:moveTo>
                        <a:pt x="27692" y="560000"/>
                      </a:moveTo>
                      <a:lnTo>
                        <a:pt x="212308" y="560000"/>
                      </a:lnTo>
                      <a:cubicBezTo>
                        <a:pt x="227692" y="560000"/>
                        <a:pt x="240000" y="547692"/>
                        <a:pt x="240000" y="532308"/>
                      </a:cubicBezTo>
                      <a:lnTo>
                        <a:pt x="240000" y="27692"/>
                      </a:lnTo>
                      <a:cubicBezTo>
                        <a:pt x="240000" y="12308"/>
                        <a:pt x="227692" y="0"/>
                        <a:pt x="212308" y="0"/>
                      </a:cubicBezTo>
                      <a:lnTo>
                        <a:pt x="27692" y="0"/>
                      </a:lnTo>
                      <a:cubicBezTo>
                        <a:pt x="12308" y="0"/>
                        <a:pt x="0" y="12308"/>
                        <a:pt x="0" y="27692"/>
                      </a:cubicBezTo>
                      <a:lnTo>
                        <a:pt x="0" y="529231"/>
                      </a:lnTo>
                      <a:cubicBezTo>
                        <a:pt x="0" y="544615"/>
                        <a:pt x="12308" y="560000"/>
                        <a:pt x="27692" y="56000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882" name="图形 1">
                <a:extLst>
                  <a:ext uri="{FF2B5EF4-FFF2-40B4-BE49-F238E27FC236}">
                    <a16:creationId xmlns:a16="http://schemas.microsoft.com/office/drawing/2014/main" id="{AEC0499B-714B-4CC0-9B71-89E1A71F612F}"/>
                  </a:ext>
                </a:extLst>
              </p:cNvPr>
              <p:cNvGrpSpPr/>
              <p:nvPr/>
            </p:nvGrpSpPr>
            <p:grpSpPr>
              <a:xfrm>
                <a:off x="11879773" y="4313664"/>
                <a:ext cx="710276" cy="993846"/>
                <a:chOff x="11879773" y="4313664"/>
                <a:chExt cx="710276" cy="993846"/>
              </a:xfrm>
            </p:grpSpPr>
            <p:sp>
              <p:nvSpPr>
                <p:cNvPr id="883" name="任意多边形: 形状 882">
                  <a:extLst>
                    <a:ext uri="{FF2B5EF4-FFF2-40B4-BE49-F238E27FC236}">
                      <a16:creationId xmlns:a16="http://schemas.microsoft.com/office/drawing/2014/main" id="{F6140E46-94ED-4B28-BAFE-B553FF5869C3}"/>
                    </a:ext>
                  </a:extLst>
                </p:cNvPr>
                <p:cNvSpPr/>
                <p:nvPr/>
              </p:nvSpPr>
              <p:spPr>
                <a:xfrm>
                  <a:off x="12094665" y="4390587"/>
                  <a:ext cx="495384" cy="800000"/>
                </a:xfrm>
                <a:custGeom>
                  <a:avLst/>
                  <a:gdLst>
                    <a:gd name="connsiteX0" fmla="*/ 0 w 495384"/>
                    <a:gd name="connsiteY0" fmla="*/ 741538 h 800000"/>
                    <a:gd name="connsiteX1" fmla="*/ 30769 w 495384"/>
                    <a:gd name="connsiteY1" fmla="*/ 741538 h 800000"/>
                    <a:gd name="connsiteX2" fmla="*/ 369231 w 495384"/>
                    <a:gd name="connsiteY2" fmla="*/ 403077 h 800000"/>
                    <a:gd name="connsiteX3" fmla="*/ 89231 w 495384"/>
                    <a:gd name="connsiteY3" fmla="*/ 67692 h 800000"/>
                    <a:gd name="connsiteX4" fmla="*/ 89231 w 495384"/>
                    <a:gd name="connsiteY4" fmla="*/ 0 h 800000"/>
                    <a:gd name="connsiteX5" fmla="*/ 95385 w 495384"/>
                    <a:gd name="connsiteY5" fmla="*/ 0 h 800000"/>
                    <a:gd name="connsiteX6" fmla="*/ 495385 w 495384"/>
                    <a:gd name="connsiteY6" fmla="*/ 400000 h 800000"/>
                    <a:gd name="connsiteX7" fmla="*/ 95385 w 495384"/>
                    <a:gd name="connsiteY7" fmla="*/ 800000 h 800000"/>
                    <a:gd name="connsiteX8" fmla="*/ 3077 w 495384"/>
                    <a:gd name="connsiteY8" fmla="*/ 787692 h 800000"/>
                    <a:gd name="connsiteX9" fmla="*/ 3077 w 495384"/>
                    <a:gd name="connsiteY9" fmla="*/ 741538 h 80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95384" h="800000">
                      <a:moveTo>
                        <a:pt x="0" y="741538"/>
                      </a:moveTo>
                      <a:cubicBezTo>
                        <a:pt x="9231" y="741538"/>
                        <a:pt x="18462" y="741538"/>
                        <a:pt x="30769" y="741538"/>
                      </a:cubicBezTo>
                      <a:cubicBezTo>
                        <a:pt x="218462" y="741538"/>
                        <a:pt x="369231" y="590769"/>
                        <a:pt x="369231" y="403077"/>
                      </a:cubicBezTo>
                      <a:cubicBezTo>
                        <a:pt x="369231" y="236923"/>
                        <a:pt x="249231" y="95385"/>
                        <a:pt x="89231" y="67692"/>
                      </a:cubicBezTo>
                      <a:lnTo>
                        <a:pt x="89231" y="0"/>
                      </a:lnTo>
                      <a:cubicBezTo>
                        <a:pt x="92308" y="0"/>
                        <a:pt x="92308" y="0"/>
                        <a:pt x="95385" y="0"/>
                      </a:cubicBezTo>
                      <a:cubicBezTo>
                        <a:pt x="316924" y="0"/>
                        <a:pt x="495385" y="178462"/>
                        <a:pt x="495385" y="400000"/>
                      </a:cubicBezTo>
                      <a:cubicBezTo>
                        <a:pt x="495385" y="621538"/>
                        <a:pt x="316924" y="800000"/>
                        <a:pt x="95385" y="800000"/>
                      </a:cubicBezTo>
                      <a:cubicBezTo>
                        <a:pt x="64616" y="800000"/>
                        <a:pt x="30769" y="796923"/>
                        <a:pt x="3077" y="787692"/>
                      </a:cubicBezTo>
                      <a:lnTo>
                        <a:pt x="3077" y="741538"/>
                      </a:lnTo>
                      <a:close/>
                    </a:path>
                  </a:pathLst>
                </a:custGeom>
                <a:solidFill>
                  <a:srgbClr val="7F95BC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884" name="图形 1">
                  <a:extLst>
                    <a:ext uri="{FF2B5EF4-FFF2-40B4-BE49-F238E27FC236}">
                      <a16:creationId xmlns:a16="http://schemas.microsoft.com/office/drawing/2014/main" id="{AEC0499B-714B-4CC0-9B71-89E1A71F612F}"/>
                    </a:ext>
                  </a:extLst>
                </p:cNvPr>
                <p:cNvGrpSpPr/>
                <p:nvPr/>
              </p:nvGrpSpPr>
              <p:grpSpPr>
                <a:xfrm>
                  <a:off x="12082358" y="4313664"/>
                  <a:ext cx="221538" cy="221538"/>
                  <a:chOff x="12082358" y="4313664"/>
                  <a:chExt cx="221538" cy="221538"/>
                </a:xfrm>
              </p:grpSpPr>
              <p:sp>
                <p:nvSpPr>
                  <p:cNvPr id="885" name="任意多边形: 形状 884">
                    <a:extLst>
                      <a:ext uri="{FF2B5EF4-FFF2-40B4-BE49-F238E27FC236}">
                        <a16:creationId xmlns:a16="http://schemas.microsoft.com/office/drawing/2014/main" id="{A3763D65-C18A-4598-89F9-E58C459CBFA1}"/>
                      </a:ext>
                    </a:extLst>
                  </p:cNvPr>
                  <p:cNvSpPr/>
                  <p:nvPr/>
                </p:nvSpPr>
                <p:spPr>
                  <a:xfrm>
                    <a:off x="12082358" y="4313664"/>
                    <a:ext cx="221538" cy="221538"/>
                  </a:xfrm>
                  <a:custGeom>
                    <a:avLst/>
                    <a:gdLst>
                      <a:gd name="connsiteX0" fmla="*/ 0 w 221538"/>
                      <a:gd name="connsiteY0" fmla="*/ 110769 h 221538"/>
                      <a:gd name="connsiteX1" fmla="*/ 110769 w 221538"/>
                      <a:gd name="connsiteY1" fmla="*/ 0 h 221538"/>
                      <a:gd name="connsiteX2" fmla="*/ 221539 w 221538"/>
                      <a:gd name="connsiteY2" fmla="*/ 110769 h 221538"/>
                      <a:gd name="connsiteX3" fmla="*/ 110769 w 221538"/>
                      <a:gd name="connsiteY3" fmla="*/ 221538 h 221538"/>
                      <a:gd name="connsiteX4" fmla="*/ 0 w 221538"/>
                      <a:gd name="connsiteY4" fmla="*/ 110769 h 2215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1538" h="221538">
                        <a:moveTo>
                          <a:pt x="0" y="110769"/>
                        </a:moveTo>
                        <a:cubicBezTo>
                          <a:pt x="0" y="49231"/>
                          <a:pt x="49231" y="0"/>
                          <a:pt x="110769" y="0"/>
                        </a:cubicBezTo>
                        <a:cubicBezTo>
                          <a:pt x="172308" y="0"/>
                          <a:pt x="221539" y="49231"/>
                          <a:pt x="221539" y="110769"/>
                        </a:cubicBezTo>
                        <a:cubicBezTo>
                          <a:pt x="221539" y="172308"/>
                          <a:pt x="172308" y="221538"/>
                          <a:pt x="110769" y="221538"/>
                        </a:cubicBezTo>
                        <a:cubicBezTo>
                          <a:pt x="52308" y="221538"/>
                          <a:pt x="0" y="172308"/>
                          <a:pt x="0" y="110769"/>
                        </a:cubicBezTo>
                        <a:close/>
                      </a:path>
                    </a:pathLst>
                  </a:custGeom>
                  <a:solidFill>
                    <a:srgbClr val="38333D"/>
                  </a:solidFill>
                  <a:ln w="3075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86" name="任意多边形: 形状 885">
                    <a:extLst>
                      <a:ext uri="{FF2B5EF4-FFF2-40B4-BE49-F238E27FC236}">
                        <a16:creationId xmlns:a16="http://schemas.microsoft.com/office/drawing/2014/main" id="{74378E97-B65D-4DD2-83EA-04F00C87AABC}"/>
                      </a:ext>
                    </a:extLst>
                  </p:cNvPr>
                  <p:cNvSpPr/>
                  <p:nvPr/>
                </p:nvSpPr>
                <p:spPr>
                  <a:xfrm>
                    <a:off x="12122358" y="4350587"/>
                    <a:ext cx="147692" cy="147692"/>
                  </a:xfrm>
                  <a:custGeom>
                    <a:avLst/>
                    <a:gdLst>
                      <a:gd name="connsiteX0" fmla="*/ 0 w 147692"/>
                      <a:gd name="connsiteY0" fmla="*/ 73846 h 147692"/>
                      <a:gd name="connsiteX1" fmla="*/ 73847 w 147692"/>
                      <a:gd name="connsiteY1" fmla="*/ 0 h 147692"/>
                      <a:gd name="connsiteX2" fmla="*/ 147693 w 147692"/>
                      <a:gd name="connsiteY2" fmla="*/ 73846 h 147692"/>
                      <a:gd name="connsiteX3" fmla="*/ 73847 w 147692"/>
                      <a:gd name="connsiteY3" fmla="*/ 147692 h 147692"/>
                      <a:gd name="connsiteX4" fmla="*/ 0 w 147692"/>
                      <a:gd name="connsiteY4" fmla="*/ 73846 h 1476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7692" h="147692">
                        <a:moveTo>
                          <a:pt x="0" y="73846"/>
                        </a:moveTo>
                        <a:cubicBezTo>
                          <a:pt x="0" y="33846"/>
                          <a:pt x="33846" y="0"/>
                          <a:pt x="73847" y="0"/>
                        </a:cubicBezTo>
                        <a:cubicBezTo>
                          <a:pt x="113847" y="0"/>
                          <a:pt x="147693" y="33846"/>
                          <a:pt x="147693" y="73846"/>
                        </a:cubicBezTo>
                        <a:cubicBezTo>
                          <a:pt x="147693" y="113846"/>
                          <a:pt x="113847" y="147692"/>
                          <a:pt x="73847" y="147692"/>
                        </a:cubicBezTo>
                        <a:cubicBezTo>
                          <a:pt x="33846" y="147692"/>
                          <a:pt x="0" y="113846"/>
                          <a:pt x="0" y="73846"/>
                        </a:cubicBezTo>
                        <a:close/>
                      </a:path>
                    </a:pathLst>
                  </a:custGeom>
                  <a:solidFill>
                    <a:srgbClr val="F6EBEB"/>
                  </a:solidFill>
                  <a:ln w="3075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887" name="图形 1">
                  <a:extLst>
                    <a:ext uri="{FF2B5EF4-FFF2-40B4-BE49-F238E27FC236}">
                      <a16:creationId xmlns:a16="http://schemas.microsoft.com/office/drawing/2014/main" id="{AEC0499B-714B-4CC0-9B71-89E1A71F612F}"/>
                    </a:ext>
                  </a:extLst>
                </p:cNvPr>
                <p:cNvGrpSpPr/>
                <p:nvPr/>
              </p:nvGrpSpPr>
              <p:grpSpPr>
                <a:xfrm>
                  <a:off x="12242358" y="5027510"/>
                  <a:ext cx="264614" cy="280000"/>
                  <a:chOff x="12242358" y="5027510"/>
                  <a:chExt cx="264614" cy="280000"/>
                </a:xfrm>
              </p:grpSpPr>
              <p:sp>
                <p:nvSpPr>
                  <p:cNvPr id="888" name="任意多边形: 形状 887">
                    <a:extLst>
                      <a:ext uri="{FF2B5EF4-FFF2-40B4-BE49-F238E27FC236}">
                        <a16:creationId xmlns:a16="http://schemas.microsoft.com/office/drawing/2014/main" id="{96E4B56B-B3B3-4974-91C4-AFB394811196}"/>
                      </a:ext>
                    </a:extLst>
                  </p:cNvPr>
                  <p:cNvSpPr/>
                  <p:nvPr/>
                </p:nvSpPr>
                <p:spPr>
                  <a:xfrm>
                    <a:off x="12242358" y="5027510"/>
                    <a:ext cx="264614" cy="280000"/>
                  </a:xfrm>
                  <a:custGeom>
                    <a:avLst/>
                    <a:gdLst>
                      <a:gd name="connsiteX0" fmla="*/ 0 w 264614"/>
                      <a:gd name="connsiteY0" fmla="*/ 280000 h 280000"/>
                      <a:gd name="connsiteX1" fmla="*/ 264615 w 264614"/>
                      <a:gd name="connsiteY1" fmla="*/ 280000 h 280000"/>
                      <a:gd name="connsiteX2" fmla="*/ 240000 w 264614"/>
                      <a:gd name="connsiteY2" fmla="*/ 95385 h 280000"/>
                      <a:gd name="connsiteX3" fmla="*/ 132307 w 264614"/>
                      <a:gd name="connsiteY3" fmla="*/ 0 h 280000"/>
                      <a:gd name="connsiteX4" fmla="*/ 132307 w 264614"/>
                      <a:gd name="connsiteY4" fmla="*/ 0 h 280000"/>
                      <a:gd name="connsiteX5" fmla="*/ 24615 w 264614"/>
                      <a:gd name="connsiteY5" fmla="*/ 95385 h 280000"/>
                      <a:gd name="connsiteX6" fmla="*/ 0 w 264614"/>
                      <a:gd name="connsiteY6" fmla="*/ 280000 h 28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64614" h="280000">
                        <a:moveTo>
                          <a:pt x="0" y="280000"/>
                        </a:moveTo>
                        <a:lnTo>
                          <a:pt x="264615" y="280000"/>
                        </a:lnTo>
                        <a:lnTo>
                          <a:pt x="240000" y="95385"/>
                        </a:lnTo>
                        <a:cubicBezTo>
                          <a:pt x="233845" y="40000"/>
                          <a:pt x="187692" y="0"/>
                          <a:pt x="132307" y="0"/>
                        </a:cubicBezTo>
                        <a:lnTo>
                          <a:pt x="132307" y="0"/>
                        </a:lnTo>
                        <a:cubicBezTo>
                          <a:pt x="76923" y="0"/>
                          <a:pt x="30769" y="40000"/>
                          <a:pt x="24615" y="95385"/>
                        </a:cubicBezTo>
                        <a:lnTo>
                          <a:pt x="0" y="280000"/>
                        </a:lnTo>
                        <a:close/>
                      </a:path>
                    </a:pathLst>
                  </a:custGeom>
                  <a:solidFill>
                    <a:srgbClr val="7F95BC"/>
                  </a:solidFill>
                  <a:ln w="3075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89" name="任意多边形: 形状 888">
                    <a:extLst>
                      <a:ext uri="{FF2B5EF4-FFF2-40B4-BE49-F238E27FC236}">
                        <a16:creationId xmlns:a16="http://schemas.microsoft.com/office/drawing/2014/main" id="{B45E1554-CDAE-4C00-95D5-CDDB9471E0ED}"/>
                      </a:ext>
                    </a:extLst>
                  </p:cNvPr>
                  <p:cNvSpPr/>
                  <p:nvPr/>
                </p:nvSpPr>
                <p:spPr>
                  <a:xfrm>
                    <a:off x="12310050" y="5070587"/>
                    <a:ext cx="123076" cy="123076"/>
                  </a:xfrm>
                  <a:custGeom>
                    <a:avLst/>
                    <a:gdLst>
                      <a:gd name="connsiteX0" fmla="*/ 0 w 123076"/>
                      <a:gd name="connsiteY0" fmla="*/ 61538 h 123076"/>
                      <a:gd name="connsiteX1" fmla="*/ 61538 w 123076"/>
                      <a:gd name="connsiteY1" fmla="*/ 0 h 123076"/>
                      <a:gd name="connsiteX2" fmla="*/ 123077 w 123076"/>
                      <a:gd name="connsiteY2" fmla="*/ 61538 h 123076"/>
                      <a:gd name="connsiteX3" fmla="*/ 61538 w 123076"/>
                      <a:gd name="connsiteY3" fmla="*/ 123077 h 123076"/>
                      <a:gd name="connsiteX4" fmla="*/ 0 w 123076"/>
                      <a:gd name="connsiteY4" fmla="*/ 61538 h 123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3076" h="123076">
                        <a:moveTo>
                          <a:pt x="0" y="61538"/>
                        </a:moveTo>
                        <a:cubicBezTo>
                          <a:pt x="0" y="27692"/>
                          <a:pt x="27692" y="0"/>
                          <a:pt x="61538" y="0"/>
                        </a:cubicBezTo>
                        <a:cubicBezTo>
                          <a:pt x="95385" y="0"/>
                          <a:pt x="123077" y="27692"/>
                          <a:pt x="123077" y="61538"/>
                        </a:cubicBezTo>
                        <a:cubicBezTo>
                          <a:pt x="123077" y="95385"/>
                          <a:pt x="95385" y="123077"/>
                          <a:pt x="61538" y="123077"/>
                        </a:cubicBezTo>
                        <a:cubicBezTo>
                          <a:pt x="27692" y="123077"/>
                          <a:pt x="0" y="95385"/>
                          <a:pt x="0" y="61538"/>
                        </a:cubicBezTo>
                        <a:close/>
                      </a:path>
                    </a:pathLst>
                  </a:custGeom>
                  <a:solidFill>
                    <a:srgbClr val="38333D"/>
                  </a:solidFill>
                  <a:ln w="3075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890" name="图形 1">
                  <a:extLst>
                    <a:ext uri="{FF2B5EF4-FFF2-40B4-BE49-F238E27FC236}">
                      <a16:creationId xmlns:a16="http://schemas.microsoft.com/office/drawing/2014/main" id="{AEC0499B-714B-4CC0-9B71-89E1A71F612F}"/>
                    </a:ext>
                  </a:extLst>
                </p:cNvPr>
                <p:cNvGrpSpPr/>
                <p:nvPr/>
              </p:nvGrpSpPr>
              <p:grpSpPr>
                <a:xfrm>
                  <a:off x="11879773" y="5052556"/>
                  <a:ext cx="353846" cy="153415"/>
                  <a:chOff x="11879773" y="5052556"/>
                  <a:chExt cx="353846" cy="153415"/>
                </a:xfrm>
              </p:grpSpPr>
              <p:sp>
                <p:nvSpPr>
                  <p:cNvPr id="891" name="任意多边形: 形状 890">
                    <a:extLst>
                      <a:ext uri="{FF2B5EF4-FFF2-40B4-BE49-F238E27FC236}">
                        <a16:creationId xmlns:a16="http://schemas.microsoft.com/office/drawing/2014/main" id="{9C64EC42-A4C8-46AD-AC4F-08C83F8BC5DC}"/>
                      </a:ext>
                    </a:extLst>
                  </p:cNvPr>
                  <p:cNvSpPr/>
                  <p:nvPr/>
                </p:nvSpPr>
                <p:spPr>
                  <a:xfrm>
                    <a:off x="11999281" y="5089048"/>
                    <a:ext cx="107692" cy="116923"/>
                  </a:xfrm>
                  <a:custGeom>
                    <a:avLst/>
                    <a:gdLst>
                      <a:gd name="connsiteX0" fmla="*/ 21539 w 107692"/>
                      <a:gd name="connsiteY0" fmla="*/ 116923 h 116923"/>
                      <a:gd name="connsiteX1" fmla="*/ 89232 w 107692"/>
                      <a:gd name="connsiteY1" fmla="*/ 116923 h 116923"/>
                      <a:gd name="connsiteX2" fmla="*/ 107692 w 107692"/>
                      <a:gd name="connsiteY2" fmla="*/ 98462 h 116923"/>
                      <a:gd name="connsiteX3" fmla="*/ 107692 w 107692"/>
                      <a:gd name="connsiteY3" fmla="*/ 0 h 116923"/>
                      <a:gd name="connsiteX4" fmla="*/ 0 w 107692"/>
                      <a:gd name="connsiteY4" fmla="*/ 0 h 116923"/>
                      <a:gd name="connsiteX5" fmla="*/ 0 w 107692"/>
                      <a:gd name="connsiteY5" fmla="*/ 98462 h 116923"/>
                      <a:gd name="connsiteX6" fmla="*/ 21539 w 107692"/>
                      <a:gd name="connsiteY6" fmla="*/ 116923 h 1169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7692" h="116923">
                        <a:moveTo>
                          <a:pt x="21539" y="116923"/>
                        </a:moveTo>
                        <a:lnTo>
                          <a:pt x="89232" y="116923"/>
                        </a:lnTo>
                        <a:cubicBezTo>
                          <a:pt x="101539" y="116923"/>
                          <a:pt x="107692" y="107692"/>
                          <a:pt x="107692" y="98462"/>
                        </a:cubicBezTo>
                        <a:lnTo>
                          <a:pt x="107692" y="0"/>
                        </a:lnTo>
                        <a:lnTo>
                          <a:pt x="0" y="0"/>
                        </a:lnTo>
                        <a:lnTo>
                          <a:pt x="0" y="98462"/>
                        </a:lnTo>
                        <a:cubicBezTo>
                          <a:pt x="3077" y="107692"/>
                          <a:pt x="12308" y="116923"/>
                          <a:pt x="21539" y="116923"/>
                        </a:cubicBezTo>
                        <a:close/>
                      </a:path>
                    </a:pathLst>
                  </a:custGeom>
                  <a:solidFill>
                    <a:srgbClr val="38333D"/>
                  </a:solidFill>
                  <a:ln w="3075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92" name="任意多边形: 形状 891">
                    <a:extLst>
                      <a:ext uri="{FF2B5EF4-FFF2-40B4-BE49-F238E27FC236}">
                        <a16:creationId xmlns:a16="http://schemas.microsoft.com/office/drawing/2014/main" id="{AFB5DDD3-BF21-4B5E-B518-A758FA4434B2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11879773" y="5052556"/>
                    <a:ext cx="353846" cy="43076"/>
                  </a:xfrm>
                  <a:custGeom>
                    <a:avLst/>
                    <a:gdLst>
                      <a:gd name="connsiteX0" fmla="*/ 0 w 353846"/>
                      <a:gd name="connsiteY0" fmla="*/ 0 h 43076"/>
                      <a:gd name="connsiteX1" fmla="*/ 353846 w 353846"/>
                      <a:gd name="connsiteY1" fmla="*/ 0 h 43076"/>
                      <a:gd name="connsiteX2" fmla="*/ 353846 w 353846"/>
                      <a:gd name="connsiteY2" fmla="*/ 43077 h 43076"/>
                      <a:gd name="connsiteX3" fmla="*/ 0 w 353846"/>
                      <a:gd name="connsiteY3" fmla="*/ 43077 h 43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53846" h="43076">
                        <a:moveTo>
                          <a:pt x="0" y="0"/>
                        </a:moveTo>
                        <a:lnTo>
                          <a:pt x="353846" y="0"/>
                        </a:lnTo>
                        <a:lnTo>
                          <a:pt x="353846" y="43077"/>
                        </a:lnTo>
                        <a:lnTo>
                          <a:pt x="0" y="43077"/>
                        </a:lnTo>
                        <a:close/>
                      </a:path>
                    </a:pathLst>
                  </a:custGeom>
                  <a:solidFill>
                    <a:srgbClr val="F6EBEB"/>
                  </a:solidFill>
                  <a:ln w="3075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</p:grpSp>
        <p:sp>
          <p:nvSpPr>
            <p:cNvPr id="893" name="任意多边形: 形状 892">
              <a:extLst>
                <a:ext uri="{FF2B5EF4-FFF2-40B4-BE49-F238E27FC236}">
                  <a16:creationId xmlns:a16="http://schemas.microsoft.com/office/drawing/2014/main" id="{F7C0A8DA-343D-4EB8-BE84-6C8F09A692A8}"/>
                </a:ext>
              </a:extLst>
            </p:cNvPr>
            <p:cNvSpPr/>
            <p:nvPr/>
          </p:nvSpPr>
          <p:spPr>
            <a:xfrm>
              <a:off x="12891588" y="4141356"/>
              <a:ext cx="976537" cy="2249230"/>
            </a:xfrm>
            <a:custGeom>
              <a:avLst/>
              <a:gdLst>
                <a:gd name="connsiteX0" fmla="*/ 532308 w 976537"/>
                <a:gd name="connsiteY0" fmla="*/ 0 h 2249230"/>
                <a:gd name="connsiteX1" fmla="*/ 836923 w 976537"/>
                <a:gd name="connsiteY1" fmla="*/ 113846 h 2249230"/>
                <a:gd name="connsiteX2" fmla="*/ 960000 w 976537"/>
                <a:gd name="connsiteY2" fmla="*/ 1676923 h 2249230"/>
                <a:gd name="connsiteX3" fmla="*/ 452308 w 976537"/>
                <a:gd name="connsiteY3" fmla="*/ 1993846 h 2249230"/>
                <a:gd name="connsiteX4" fmla="*/ 366155 w 976537"/>
                <a:gd name="connsiteY4" fmla="*/ 2249231 h 2249230"/>
                <a:gd name="connsiteX5" fmla="*/ 0 w 976537"/>
                <a:gd name="connsiteY5" fmla="*/ 2150769 h 2249230"/>
                <a:gd name="connsiteX6" fmla="*/ 12308 w 976537"/>
                <a:gd name="connsiteY6" fmla="*/ 1815385 h 2249230"/>
                <a:gd name="connsiteX7" fmla="*/ 347693 w 976537"/>
                <a:gd name="connsiteY7" fmla="*/ 1443077 h 2249230"/>
                <a:gd name="connsiteX8" fmla="*/ 532308 w 976537"/>
                <a:gd name="connsiteY8" fmla="*/ 0 h 224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6537" h="2249230">
                  <a:moveTo>
                    <a:pt x="532308" y="0"/>
                  </a:moveTo>
                  <a:cubicBezTo>
                    <a:pt x="532308" y="0"/>
                    <a:pt x="769231" y="43077"/>
                    <a:pt x="836923" y="113846"/>
                  </a:cubicBezTo>
                  <a:cubicBezTo>
                    <a:pt x="867693" y="144615"/>
                    <a:pt x="1027693" y="1021538"/>
                    <a:pt x="960000" y="1676923"/>
                  </a:cubicBezTo>
                  <a:cubicBezTo>
                    <a:pt x="938462" y="1876923"/>
                    <a:pt x="480000" y="1849231"/>
                    <a:pt x="452308" y="1993846"/>
                  </a:cubicBezTo>
                  <a:cubicBezTo>
                    <a:pt x="409231" y="2218462"/>
                    <a:pt x="366155" y="2249231"/>
                    <a:pt x="366155" y="2249231"/>
                  </a:cubicBezTo>
                  <a:cubicBezTo>
                    <a:pt x="366155" y="2249231"/>
                    <a:pt x="184615" y="2200000"/>
                    <a:pt x="0" y="2150769"/>
                  </a:cubicBezTo>
                  <a:cubicBezTo>
                    <a:pt x="0" y="2150769"/>
                    <a:pt x="0" y="1904615"/>
                    <a:pt x="12308" y="1815385"/>
                  </a:cubicBezTo>
                  <a:cubicBezTo>
                    <a:pt x="33846" y="1649231"/>
                    <a:pt x="316924" y="1553846"/>
                    <a:pt x="347693" y="1443077"/>
                  </a:cubicBezTo>
                  <a:cubicBezTo>
                    <a:pt x="470770" y="975385"/>
                    <a:pt x="467693" y="224615"/>
                    <a:pt x="532308" y="0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4" name="任意多边形: 形状 893">
              <a:extLst>
                <a:ext uri="{FF2B5EF4-FFF2-40B4-BE49-F238E27FC236}">
                  <a16:creationId xmlns:a16="http://schemas.microsoft.com/office/drawing/2014/main" id="{C85A9410-4E88-43A6-9FB0-216D2DF67585}"/>
                </a:ext>
              </a:extLst>
            </p:cNvPr>
            <p:cNvSpPr/>
            <p:nvPr/>
          </p:nvSpPr>
          <p:spPr>
            <a:xfrm>
              <a:off x="12174666" y="4147510"/>
              <a:ext cx="966153" cy="2143076"/>
            </a:xfrm>
            <a:custGeom>
              <a:avLst/>
              <a:gdLst>
                <a:gd name="connsiteX0" fmla="*/ 966154 w 966153"/>
                <a:gd name="connsiteY0" fmla="*/ 0 h 2143076"/>
                <a:gd name="connsiteX1" fmla="*/ 732307 w 966153"/>
                <a:gd name="connsiteY1" fmla="*/ 1461539 h 2143076"/>
                <a:gd name="connsiteX2" fmla="*/ 206154 w 966153"/>
                <a:gd name="connsiteY2" fmla="*/ 1827692 h 2143076"/>
                <a:gd name="connsiteX3" fmla="*/ 181538 w 966153"/>
                <a:gd name="connsiteY3" fmla="*/ 2138462 h 2143076"/>
                <a:gd name="connsiteX4" fmla="*/ 0 w 966153"/>
                <a:gd name="connsiteY4" fmla="*/ 2120000 h 2143076"/>
                <a:gd name="connsiteX5" fmla="*/ 58461 w 966153"/>
                <a:gd name="connsiteY5" fmla="*/ 1664615 h 2143076"/>
                <a:gd name="connsiteX6" fmla="*/ 507692 w 966153"/>
                <a:gd name="connsiteY6" fmla="*/ 1347692 h 2143076"/>
                <a:gd name="connsiteX7" fmla="*/ 676923 w 966153"/>
                <a:gd name="connsiteY7" fmla="*/ 120000 h 2143076"/>
                <a:gd name="connsiteX8" fmla="*/ 966154 w 966153"/>
                <a:gd name="connsiteY8" fmla="*/ 0 h 214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6153" h="2143076">
                  <a:moveTo>
                    <a:pt x="966154" y="0"/>
                  </a:moveTo>
                  <a:cubicBezTo>
                    <a:pt x="966154" y="0"/>
                    <a:pt x="698462" y="646154"/>
                    <a:pt x="732307" y="1461539"/>
                  </a:cubicBezTo>
                  <a:cubicBezTo>
                    <a:pt x="732307" y="1461539"/>
                    <a:pt x="230769" y="1695385"/>
                    <a:pt x="206154" y="1827692"/>
                  </a:cubicBezTo>
                  <a:cubicBezTo>
                    <a:pt x="181538" y="1956923"/>
                    <a:pt x="181538" y="2138462"/>
                    <a:pt x="181538" y="2138462"/>
                  </a:cubicBezTo>
                  <a:cubicBezTo>
                    <a:pt x="181538" y="2138462"/>
                    <a:pt x="67693" y="2156923"/>
                    <a:pt x="0" y="2120000"/>
                  </a:cubicBezTo>
                  <a:cubicBezTo>
                    <a:pt x="0" y="2120000"/>
                    <a:pt x="24615" y="1750769"/>
                    <a:pt x="58461" y="1664615"/>
                  </a:cubicBezTo>
                  <a:cubicBezTo>
                    <a:pt x="92308" y="1578462"/>
                    <a:pt x="507692" y="1347692"/>
                    <a:pt x="507692" y="1347692"/>
                  </a:cubicBezTo>
                  <a:cubicBezTo>
                    <a:pt x="507692" y="1347692"/>
                    <a:pt x="596923" y="181539"/>
                    <a:pt x="676923" y="120000"/>
                  </a:cubicBezTo>
                  <a:cubicBezTo>
                    <a:pt x="753846" y="55385"/>
                    <a:pt x="966154" y="0"/>
                    <a:pt x="966154" y="0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5" name="任意多边形: 形状 894">
              <a:extLst>
                <a:ext uri="{FF2B5EF4-FFF2-40B4-BE49-F238E27FC236}">
                  <a16:creationId xmlns:a16="http://schemas.microsoft.com/office/drawing/2014/main" id="{C5E57E63-0209-45E0-B2D3-E724F76EC2F8}"/>
                </a:ext>
              </a:extLst>
            </p:cNvPr>
            <p:cNvSpPr/>
            <p:nvPr/>
          </p:nvSpPr>
          <p:spPr>
            <a:xfrm>
              <a:off x="12786973" y="4272389"/>
              <a:ext cx="53582" cy="558197"/>
            </a:xfrm>
            <a:custGeom>
              <a:avLst/>
              <a:gdLst>
                <a:gd name="connsiteX0" fmla="*/ 6154 w 53582"/>
                <a:gd name="connsiteY0" fmla="*/ 558198 h 558197"/>
                <a:gd name="connsiteX1" fmla="*/ 6154 w 53582"/>
                <a:gd name="connsiteY1" fmla="*/ 558198 h 558197"/>
                <a:gd name="connsiteX2" fmla="*/ 0 w 53582"/>
                <a:gd name="connsiteY2" fmla="*/ 552044 h 558197"/>
                <a:gd name="connsiteX3" fmla="*/ 43077 w 53582"/>
                <a:gd name="connsiteY3" fmla="*/ 4351 h 558197"/>
                <a:gd name="connsiteX4" fmla="*/ 49231 w 53582"/>
                <a:gd name="connsiteY4" fmla="*/ 1275 h 558197"/>
                <a:gd name="connsiteX5" fmla="*/ 52308 w 53582"/>
                <a:gd name="connsiteY5" fmla="*/ 7428 h 558197"/>
                <a:gd name="connsiteX6" fmla="*/ 9231 w 53582"/>
                <a:gd name="connsiteY6" fmla="*/ 552044 h 558197"/>
                <a:gd name="connsiteX7" fmla="*/ 6154 w 53582"/>
                <a:gd name="connsiteY7" fmla="*/ 558198 h 558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582" h="558197">
                  <a:moveTo>
                    <a:pt x="6154" y="558198"/>
                  </a:moveTo>
                  <a:cubicBezTo>
                    <a:pt x="6154" y="558198"/>
                    <a:pt x="6154" y="558198"/>
                    <a:pt x="6154" y="558198"/>
                  </a:cubicBezTo>
                  <a:cubicBezTo>
                    <a:pt x="3077" y="558198"/>
                    <a:pt x="0" y="555121"/>
                    <a:pt x="0" y="552044"/>
                  </a:cubicBezTo>
                  <a:cubicBezTo>
                    <a:pt x="0" y="530505"/>
                    <a:pt x="36923" y="44351"/>
                    <a:pt x="43077" y="4351"/>
                  </a:cubicBezTo>
                  <a:cubicBezTo>
                    <a:pt x="43077" y="1275"/>
                    <a:pt x="46154" y="-1802"/>
                    <a:pt x="49231" y="1275"/>
                  </a:cubicBezTo>
                  <a:cubicBezTo>
                    <a:pt x="52308" y="1275"/>
                    <a:pt x="55385" y="4351"/>
                    <a:pt x="52308" y="7428"/>
                  </a:cubicBezTo>
                  <a:cubicBezTo>
                    <a:pt x="43077" y="47428"/>
                    <a:pt x="9231" y="548967"/>
                    <a:pt x="9231" y="552044"/>
                  </a:cubicBezTo>
                  <a:cubicBezTo>
                    <a:pt x="12308" y="555121"/>
                    <a:pt x="9231" y="558198"/>
                    <a:pt x="6154" y="558198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96" name="图形 1">
              <a:extLst>
                <a:ext uri="{FF2B5EF4-FFF2-40B4-BE49-F238E27FC236}">
                  <a16:creationId xmlns:a16="http://schemas.microsoft.com/office/drawing/2014/main" id="{AEC0499B-714B-4CC0-9B71-89E1A71F612F}"/>
                </a:ext>
              </a:extLst>
            </p:cNvPr>
            <p:cNvGrpSpPr/>
            <p:nvPr/>
          </p:nvGrpSpPr>
          <p:grpSpPr>
            <a:xfrm>
              <a:off x="12365035" y="4526587"/>
              <a:ext cx="391168" cy="288761"/>
              <a:chOff x="12365035" y="4526587"/>
              <a:chExt cx="391168" cy="288761"/>
            </a:xfrm>
          </p:grpSpPr>
          <p:grpSp>
            <p:nvGrpSpPr>
              <p:cNvPr id="897" name="图形 1">
                <a:extLst>
                  <a:ext uri="{FF2B5EF4-FFF2-40B4-BE49-F238E27FC236}">
                    <a16:creationId xmlns:a16="http://schemas.microsoft.com/office/drawing/2014/main" id="{AEC0499B-714B-4CC0-9B71-89E1A71F612F}"/>
                  </a:ext>
                </a:extLst>
              </p:cNvPr>
              <p:cNvGrpSpPr/>
              <p:nvPr/>
            </p:nvGrpSpPr>
            <p:grpSpPr>
              <a:xfrm>
                <a:off x="12365035" y="4526587"/>
                <a:ext cx="391168" cy="288761"/>
                <a:chOff x="12365035" y="4526587"/>
                <a:chExt cx="391168" cy="288761"/>
              </a:xfrm>
            </p:grpSpPr>
            <p:sp>
              <p:nvSpPr>
                <p:cNvPr id="898" name="任意多边形: 形状 897">
                  <a:extLst>
                    <a:ext uri="{FF2B5EF4-FFF2-40B4-BE49-F238E27FC236}">
                      <a16:creationId xmlns:a16="http://schemas.microsoft.com/office/drawing/2014/main" id="{EC856A1C-A0C1-4831-B69C-2040EC121A13}"/>
                    </a:ext>
                  </a:extLst>
                </p:cNvPr>
                <p:cNvSpPr/>
                <p:nvPr/>
              </p:nvSpPr>
              <p:spPr>
                <a:xfrm>
                  <a:off x="12514354" y="4536641"/>
                  <a:ext cx="211080" cy="133945"/>
                </a:xfrm>
                <a:custGeom>
                  <a:avLst/>
                  <a:gdLst>
                    <a:gd name="connsiteX0" fmla="*/ 211080 w 211080"/>
                    <a:gd name="connsiteY0" fmla="*/ 133945 h 133945"/>
                    <a:gd name="connsiteX1" fmla="*/ 146465 w 211080"/>
                    <a:gd name="connsiteY1" fmla="*/ 35484 h 133945"/>
                    <a:gd name="connsiteX2" fmla="*/ 11080 w 211080"/>
                    <a:gd name="connsiteY2" fmla="*/ 7792 h 133945"/>
                    <a:gd name="connsiteX3" fmla="*/ 23388 w 211080"/>
                    <a:gd name="connsiteY3" fmla="*/ 41638 h 133945"/>
                    <a:gd name="connsiteX4" fmla="*/ 211080 w 211080"/>
                    <a:gd name="connsiteY4" fmla="*/ 133945 h 133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1080" h="133945">
                      <a:moveTo>
                        <a:pt x="211080" y="133945"/>
                      </a:moveTo>
                      <a:cubicBezTo>
                        <a:pt x="211080" y="133945"/>
                        <a:pt x="183388" y="57022"/>
                        <a:pt x="146465" y="35484"/>
                      </a:cubicBezTo>
                      <a:cubicBezTo>
                        <a:pt x="109542" y="13945"/>
                        <a:pt x="41850" y="-13747"/>
                        <a:pt x="11080" y="7792"/>
                      </a:cubicBezTo>
                      <a:cubicBezTo>
                        <a:pt x="-19689" y="29330"/>
                        <a:pt x="23388" y="41638"/>
                        <a:pt x="23388" y="41638"/>
                      </a:cubicBezTo>
                      <a:lnTo>
                        <a:pt x="211080" y="133945"/>
                      </a:lnTo>
                      <a:close/>
                    </a:path>
                  </a:pathLst>
                </a:custGeom>
                <a:solidFill>
                  <a:srgbClr val="F49F84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99" name="任意多边形: 形状 898">
                  <a:extLst>
                    <a:ext uri="{FF2B5EF4-FFF2-40B4-BE49-F238E27FC236}">
                      <a16:creationId xmlns:a16="http://schemas.microsoft.com/office/drawing/2014/main" id="{AC757EFD-BA56-4811-B507-D9DAB6D99BBA}"/>
                    </a:ext>
                  </a:extLst>
                </p:cNvPr>
                <p:cNvSpPr/>
                <p:nvPr/>
              </p:nvSpPr>
              <p:spPr>
                <a:xfrm>
                  <a:off x="12366584" y="4527100"/>
                  <a:ext cx="389619" cy="288248"/>
                </a:xfrm>
                <a:custGeom>
                  <a:avLst/>
                  <a:gdLst>
                    <a:gd name="connsiteX0" fmla="*/ 346543 w 389619"/>
                    <a:gd name="connsiteY0" fmla="*/ 275795 h 288248"/>
                    <a:gd name="connsiteX1" fmla="*/ 389620 w 389619"/>
                    <a:gd name="connsiteY1" fmla="*/ 152718 h 288248"/>
                    <a:gd name="connsiteX2" fmla="*/ 158851 w 389619"/>
                    <a:gd name="connsiteY2" fmla="*/ 17333 h 288248"/>
                    <a:gd name="connsiteX3" fmla="*/ 81928 w 389619"/>
                    <a:gd name="connsiteY3" fmla="*/ 14256 h 288248"/>
                    <a:gd name="connsiteX4" fmla="*/ 91159 w 389619"/>
                    <a:gd name="connsiteY4" fmla="*/ 32718 h 288248"/>
                    <a:gd name="connsiteX5" fmla="*/ 128081 w 389619"/>
                    <a:gd name="connsiteY5" fmla="*/ 60410 h 288248"/>
                    <a:gd name="connsiteX6" fmla="*/ 66543 w 389619"/>
                    <a:gd name="connsiteY6" fmla="*/ 51179 h 288248"/>
                    <a:gd name="connsiteX7" fmla="*/ 1927 w 389619"/>
                    <a:gd name="connsiteY7" fmla="*/ 66564 h 288248"/>
                    <a:gd name="connsiteX8" fmla="*/ 20389 w 389619"/>
                    <a:gd name="connsiteY8" fmla="*/ 94256 h 288248"/>
                    <a:gd name="connsiteX9" fmla="*/ 11159 w 389619"/>
                    <a:gd name="connsiteY9" fmla="*/ 109641 h 288248"/>
                    <a:gd name="connsiteX10" fmla="*/ 72697 w 389619"/>
                    <a:gd name="connsiteY10" fmla="*/ 155795 h 288248"/>
                    <a:gd name="connsiteX11" fmla="*/ 125004 w 389619"/>
                    <a:gd name="connsiteY11" fmla="*/ 177333 h 288248"/>
                    <a:gd name="connsiteX12" fmla="*/ 60390 w 389619"/>
                    <a:gd name="connsiteY12" fmla="*/ 189641 h 288248"/>
                    <a:gd name="connsiteX13" fmla="*/ 109620 w 389619"/>
                    <a:gd name="connsiteY13" fmla="*/ 217333 h 288248"/>
                    <a:gd name="connsiteX14" fmla="*/ 208082 w 389619"/>
                    <a:gd name="connsiteY14" fmla="*/ 245025 h 288248"/>
                    <a:gd name="connsiteX15" fmla="*/ 300389 w 389619"/>
                    <a:gd name="connsiteY15" fmla="*/ 281948 h 288248"/>
                    <a:gd name="connsiteX16" fmla="*/ 346543 w 389619"/>
                    <a:gd name="connsiteY16" fmla="*/ 275795 h 288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89619" h="288248">
                      <a:moveTo>
                        <a:pt x="346543" y="275795"/>
                      </a:moveTo>
                      <a:cubicBezTo>
                        <a:pt x="377312" y="245025"/>
                        <a:pt x="389620" y="149641"/>
                        <a:pt x="389620" y="152718"/>
                      </a:cubicBezTo>
                      <a:cubicBezTo>
                        <a:pt x="312697" y="106564"/>
                        <a:pt x="241928" y="51179"/>
                        <a:pt x="158851" y="17333"/>
                      </a:cubicBezTo>
                      <a:cubicBezTo>
                        <a:pt x="146543" y="11179"/>
                        <a:pt x="88082" y="-16513"/>
                        <a:pt x="81928" y="14256"/>
                      </a:cubicBezTo>
                      <a:cubicBezTo>
                        <a:pt x="78850" y="23487"/>
                        <a:pt x="85005" y="26564"/>
                        <a:pt x="91159" y="32718"/>
                      </a:cubicBezTo>
                      <a:cubicBezTo>
                        <a:pt x="103466" y="41948"/>
                        <a:pt x="115774" y="51179"/>
                        <a:pt x="128081" y="60410"/>
                      </a:cubicBezTo>
                      <a:cubicBezTo>
                        <a:pt x="106543" y="54256"/>
                        <a:pt x="88082" y="51179"/>
                        <a:pt x="66543" y="51179"/>
                      </a:cubicBezTo>
                      <a:cubicBezTo>
                        <a:pt x="51158" y="51179"/>
                        <a:pt x="11159" y="48102"/>
                        <a:pt x="1927" y="66564"/>
                      </a:cubicBezTo>
                      <a:cubicBezTo>
                        <a:pt x="-4226" y="75795"/>
                        <a:pt x="5004" y="85025"/>
                        <a:pt x="20389" y="94256"/>
                      </a:cubicBezTo>
                      <a:cubicBezTo>
                        <a:pt x="14236" y="97333"/>
                        <a:pt x="11159" y="100410"/>
                        <a:pt x="11159" y="109641"/>
                      </a:cubicBezTo>
                      <a:cubicBezTo>
                        <a:pt x="14236" y="131179"/>
                        <a:pt x="54235" y="149641"/>
                        <a:pt x="72697" y="155795"/>
                      </a:cubicBezTo>
                      <a:cubicBezTo>
                        <a:pt x="91159" y="165025"/>
                        <a:pt x="106543" y="171179"/>
                        <a:pt x="125004" y="177333"/>
                      </a:cubicBezTo>
                      <a:cubicBezTo>
                        <a:pt x="91159" y="171179"/>
                        <a:pt x="54235" y="168102"/>
                        <a:pt x="60390" y="189641"/>
                      </a:cubicBezTo>
                      <a:cubicBezTo>
                        <a:pt x="63466" y="205025"/>
                        <a:pt x="97312" y="214256"/>
                        <a:pt x="109620" y="217333"/>
                      </a:cubicBezTo>
                      <a:cubicBezTo>
                        <a:pt x="140389" y="226564"/>
                        <a:pt x="174235" y="235795"/>
                        <a:pt x="208082" y="245025"/>
                      </a:cubicBezTo>
                      <a:cubicBezTo>
                        <a:pt x="238851" y="254256"/>
                        <a:pt x="269620" y="269641"/>
                        <a:pt x="300389" y="281948"/>
                      </a:cubicBezTo>
                      <a:cubicBezTo>
                        <a:pt x="321928" y="291179"/>
                        <a:pt x="328081" y="291179"/>
                        <a:pt x="346543" y="275795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00" name="任意多边形: 形状 899">
                  <a:extLst>
                    <a:ext uri="{FF2B5EF4-FFF2-40B4-BE49-F238E27FC236}">
                      <a16:creationId xmlns:a16="http://schemas.microsoft.com/office/drawing/2014/main" id="{DC1B12D1-AFE4-497B-9E14-A022934C5B18}"/>
                    </a:ext>
                  </a:extLst>
                </p:cNvPr>
                <p:cNvSpPr/>
                <p:nvPr/>
              </p:nvSpPr>
              <p:spPr>
                <a:xfrm>
                  <a:off x="12365035" y="4573260"/>
                  <a:ext cx="190399" cy="94249"/>
                </a:xfrm>
                <a:custGeom>
                  <a:avLst/>
                  <a:gdLst>
                    <a:gd name="connsiteX0" fmla="*/ 181939 w 190399"/>
                    <a:gd name="connsiteY0" fmla="*/ 94250 h 94249"/>
                    <a:gd name="connsiteX1" fmla="*/ 178861 w 190399"/>
                    <a:gd name="connsiteY1" fmla="*/ 94250 h 94249"/>
                    <a:gd name="connsiteX2" fmla="*/ 21938 w 190399"/>
                    <a:gd name="connsiteY2" fmla="*/ 54249 h 94249"/>
                    <a:gd name="connsiteX3" fmla="*/ 400 w 190399"/>
                    <a:gd name="connsiteY3" fmla="*/ 20403 h 94249"/>
                    <a:gd name="connsiteX4" fmla="*/ 9631 w 190399"/>
                    <a:gd name="connsiteY4" fmla="*/ 8096 h 94249"/>
                    <a:gd name="connsiteX5" fmla="*/ 135785 w 190399"/>
                    <a:gd name="connsiteY5" fmla="*/ 11173 h 94249"/>
                    <a:gd name="connsiteX6" fmla="*/ 138862 w 190399"/>
                    <a:gd name="connsiteY6" fmla="*/ 17326 h 94249"/>
                    <a:gd name="connsiteX7" fmla="*/ 132708 w 190399"/>
                    <a:gd name="connsiteY7" fmla="*/ 20403 h 94249"/>
                    <a:gd name="connsiteX8" fmla="*/ 15785 w 190399"/>
                    <a:gd name="connsiteY8" fmla="*/ 14250 h 94249"/>
                    <a:gd name="connsiteX9" fmla="*/ 12708 w 190399"/>
                    <a:gd name="connsiteY9" fmla="*/ 20403 h 94249"/>
                    <a:gd name="connsiteX10" fmla="*/ 25015 w 190399"/>
                    <a:gd name="connsiteY10" fmla="*/ 41942 h 94249"/>
                    <a:gd name="connsiteX11" fmla="*/ 188092 w 190399"/>
                    <a:gd name="connsiteY11" fmla="*/ 85019 h 94249"/>
                    <a:gd name="connsiteX12" fmla="*/ 188092 w 190399"/>
                    <a:gd name="connsiteY12" fmla="*/ 94250 h 94249"/>
                    <a:gd name="connsiteX13" fmla="*/ 181939 w 190399"/>
                    <a:gd name="connsiteY13" fmla="*/ 94250 h 942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90399" h="94249">
                      <a:moveTo>
                        <a:pt x="181939" y="94250"/>
                      </a:moveTo>
                      <a:cubicBezTo>
                        <a:pt x="181939" y="94250"/>
                        <a:pt x="178861" y="94250"/>
                        <a:pt x="178861" y="94250"/>
                      </a:cubicBezTo>
                      <a:cubicBezTo>
                        <a:pt x="151169" y="72711"/>
                        <a:pt x="21938" y="54249"/>
                        <a:pt x="21938" y="54249"/>
                      </a:cubicBezTo>
                      <a:cubicBezTo>
                        <a:pt x="12708" y="51173"/>
                        <a:pt x="-2677" y="41942"/>
                        <a:pt x="400" y="20403"/>
                      </a:cubicBezTo>
                      <a:cubicBezTo>
                        <a:pt x="400" y="14250"/>
                        <a:pt x="3476" y="11173"/>
                        <a:pt x="9631" y="8096"/>
                      </a:cubicBezTo>
                      <a:cubicBezTo>
                        <a:pt x="37323" y="-10366"/>
                        <a:pt x="126553" y="8096"/>
                        <a:pt x="135785" y="11173"/>
                      </a:cubicBezTo>
                      <a:cubicBezTo>
                        <a:pt x="138862" y="11173"/>
                        <a:pt x="141938" y="14250"/>
                        <a:pt x="138862" y="17326"/>
                      </a:cubicBezTo>
                      <a:cubicBezTo>
                        <a:pt x="138862" y="20403"/>
                        <a:pt x="135785" y="23480"/>
                        <a:pt x="132708" y="20403"/>
                      </a:cubicBezTo>
                      <a:cubicBezTo>
                        <a:pt x="105015" y="14250"/>
                        <a:pt x="34246" y="1942"/>
                        <a:pt x="15785" y="14250"/>
                      </a:cubicBezTo>
                      <a:cubicBezTo>
                        <a:pt x="12708" y="17326"/>
                        <a:pt x="12708" y="17326"/>
                        <a:pt x="12708" y="20403"/>
                      </a:cubicBezTo>
                      <a:cubicBezTo>
                        <a:pt x="9631" y="35788"/>
                        <a:pt x="25015" y="41942"/>
                        <a:pt x="25015" y="41942"/>
                      </a:cubicBezTo>
                      <a:cubicBezTo>
                        <a:pt x="28092" y="41942"/>
                        <a:pt x="157323" y="63480"/>
                        <a:pt x="188092" y="85019"/>
                      </a:cubicBezTo>
                      <a:cubicBezTo>
                        <a:pt x="191169" y="88096"/>
                        <a:pt x="191169" y="91173"/>
                        <a:pt x="188092" y="94250"/>
                      </a:cubicBezTo>
                      <a:cubicBezTo>
                        <a:pt x="185016" y="91173"/>
                        <a:pt x="181939" y="94250"/>
                        <a:pt x="181939" y="94250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01" name="任意多边形: 形状 900">
                  <a:extLst>
                    <a:ext uri="{FF2B5EF4-FFF2-40B4-BE49-F238E27FC236}">
                      <a16:creationId xmlns:a16="http://schemas.microsoft.com/office/drawing/2014/main" id="{58D60551-4AB1-42D4-92E8-3E4405B0F969}"/>
                    </a:ext>
                  </a:extLst>
                </p:cNvPr>
                <p:cNvSpPr/>
                <p:nvPr/>
              </p:nvSpPr>
              <p:spPr>
                <a:xfrm>
                  <a:off x="12376536" y="4612125"/>
                  <a:ext cx="173515" cy="116923"/>
                </a:xfrm>
                <a:custGeom>
                  <a:avLst/>
                  <a:gdLst>
                    <a:gd name="connsiteX0" fmla="*/ 167361 w 173515"/>
                    <a:gd name="connsiteY0" fmla="*/ 116923 h 116923"/>
                    <a:gd name="connsiteX1" fmla="*/ 167361 w 173515"/>
                    <a:gd name="connsiteY1" fmla="*/ 116923 h 116923"/>
                    <a:gd name="connsiteX2" fmla="*/ 115053 w 173515"/>
                    <a:gd name="connsiteY2" fmla="*/ 95385 h 116923"/>
                    <a:gd name="connsiteX3" fmla="*/ 7360 w 173515"/>
                    <a:gd name="connsiteY3" fmla="*/ 40000 h 116923"/>
                    <a:gd name="connsiteX4" fmla="*/ 1207 w 173515"/>
                    <a:gd name="connsiteY4" fmla="*/ 12308 h 116923"/>
                    <a:gd name="connsiteX5" fmla="*/ 10438 w 173515"/>
                    <a:gd name="connsiteY5" fmla="*/ 0 h 116923"/>
                    <a:gd name="connsiteX6" fmla="*/ 16592 w 173515"/>
                    <a:gd name="connsiteY6" fmla="*/ 3077 h 116923"/>
                    <a:gd name="connsiteX7" fmla="*/ 13515 w 173515"/>
                    <a:gd name="connsiteY7" fmla="*/ 9231 h 116923"/>
                    <a:gd name="connsiteX8" fmla="*/ 10438 w 173515"/>
                    <a:gd name="connsiteY8" fmla="*/ 15385 h 116923"/>
                    <a:gd name="connsiteX9" fmla="*/ 16592 w 173515"/>
                    <a:gd name="connsiteY9" fmla="*/ 33846 h 116923"/>
                    <a:gd name="connsiteX10" fmla="*/ 118130 w 173515"/>
                    <a:gd name="connsiteY10" fmla="*/ 86154 h 116923"/>
                    <a:gd name="connsiteX11" fmla="*/ 170438 w 173515"/>
                    <a:gd name="connsiteY11" fmla="*/ 107692 h 116923"/>
                    <a:gd name="connsiteX12" fmla="*/ 173515 w 173515"/>
                    <a:gd name="connsiteY12" fmla="*/ 113846 h 116923"/>
                    <a:gd name="connsiteX13" fmla="*/ 167361 w 173515"/>
                    <a:gd name="connsiteY13" fmla="*/ 116923 h 1169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73515" h="116923">
                      <a:moveTo>
                        <a:pt x="167361" y="116923"/>
                      </a:moveTo>
                      <a:cubicBezTo>
                        <a:pt x="164284" y="116923"/>
                        <a:pt x="164284" y="116923"/>
                        <a:pt x="167361" y="116923"/>
                      </a:cubicBezTo>
                      <a:lnTo>
                        <a:pt x="115053" y="95385"/>
                      </a:lnTo>
                      <a:cubicBezTo>
                        <a:pt x="105822" y="92308"/>
                        <a:pt x="22745" y="61538"/>
                        <a:pt x="7360" y="40000"/>
                      </a:cubicBezTo>
                      <a:cubicBezTo>
                        <a:pt x="1207" y="30769"/>
                        <a:pt x="-1870" y="21539"/>
                        <a:pt x="1207" y="12308"/>
                      </a:cubicBezTo>
                      <a:cubicBezTo>
                        <a:pt x="4284" y="3077"/>
                        <a:pt x="10438" y="0"/>
                        <a:pt x="10438" y="0"/>
                      </a:cubicBezTo>
                      <a:cubicBezTo>
                        <a:pt x="13515" y="0"/>
                        <a:pt x="16592" y="0"/>
                        <a:pt x="16592" y="3077"/>
                      </a:cubicBezTo>
                      <a:cubicBezTo>
                        <a:pt x="16592" y="6154"/>
                        <a:pt x="16592" y="9231"/>
                        <a:pt x="13515" y="9231"/>
                      </a:cubicBezTo>
                      <a:cubicBezTo>
                        <a:pt x="13515" y="9231"/>
                        <a:pt x="10438" y="12308"/>
                        <a:pt x="10438" y="15385"/>
                      </a:cubicBezTo>
                      <a:cubicBezTo>
                        <a:pt x="10438" y="18462"/>
                        <a:pt x="10438" y="24615"/>
                        <a:pt x="16592" y="33846"/>
                      </a:cubicBezTo>
                      <a:cubicBezTo>
                        <a:pt x="28899" y="52308"/>
                        <a:pt x="93515" y="76923"/>
                        <a:pt x="118130" y="86154"/>
                      </a:cubicBezTo>
                      <a:lnTo>
                        <a:pt x="170438" y="107692"/>
                      </a:lnTo>
                      <a:cubicBezTo>
                        <a:pt x="173515" y="107692"/>
                        <a:pt x="173515" y="110769"/>
                        <a:pt x="173515" y="113846"/>
                      </a:cubicBezTo>
                      <a:cubicBezTo>
                        <a:pt x="170438" y="116923"/>
                        <a:pt x="167361" y="116923"/>
                        <a:pt x="167361" y="11692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02" name="任意多边形: 形状 901">
                  <a:extLst>
                    <a:ext uri="{FF2B5EF4-FFF2-40B4-BE49-F238E27FC236}">
                      <a16:creationId xmlns:a16="http://schemas.microsoft.com/office/drawing/2014/main" id="{7ADD7800-9E4C-43F2-AF7E-140DF8AA2748}"/>
                    </a:ext>
                  </a:extLst>
                </p:cNvPr>
                <p:cNvSpPr/>
                <p:nvPr/>
              </p:nvSpPr>
              <p:spPr>
                <a:xfrm>
                  <a:off x="12580820" y="4643664"/>
                  <a:ext cx="54614" cy="103846"/>
                </a:xfrm>
                <a:custGeom>
                  <a:avLst/>
                  <a:gdLst>
                    <a:gd name="connsiteX0" fmla="*/ 6153 w 54614"/>
                    <a:gd name="connsiteY0" fmla="*/ 103846 h 103846"/>
                    <a:gd name="connsiteX1" fmla="*/ 6153 w 54614"/>
                    <a:gd name="connsiteY1" fmla="*/ 103846 h 103846"/>
                    <a:gd name="connsiteX2" fmla="*/ 0 w 54614"/>
                    <a:gd name="connsiteY2" fmla="*/ 97692 h 103846"/>
                    <a:gd name="connsiteX3" fmla="*/ 43077 w 54614"/>
                    <a:gd name="connsiteY3" fmla="*/ 2308 h 103846"/>
                    <a:gd name="connsiteX4" fmla="*/ 52307 w 54614"/>
                    <a:gd name="connsiteY4" fmla="*/ 2308 h 103846"/>
                    <a:gd name="connsiteX5" fmla="*/ 52307 w 54614"/>
                    <a:gd name="connsiteY5" fmla="*/ 11538 h 103846"/>
                    <a:gd name="connsiteX6" fmla="*/ 12308 w 54614"/>
                    <a:gd name="connsiteY6" fmla="*/ 97692 h 103846"/>
                    <a:gd name="connsiteX7" fmla="*/ 6153 w 54614"/>
                    <a:gd name="connsiteY7" fmla="*/ 103846 h 103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4614" h="103846">
                      <a:moveTo>
                        <a:pt x="6153" y="103846"/>
                      </a:moveTo>
                      <a:lnTo>
                        <a:pt x="6153" y="103846"/>
                      </a:lnTo>
                      <a:cubicBezTo>
                        <a:pt x="3076" y="103846"/>
                        <a:pt x="0" y="100769"/>
                        <a:pt x="0" y="97692"/>
                      </a:cubicBezTo>
                      <a:cubicBezTo>
                        <a:pt x="0" y="39231"/>
                        <a:pt x="43077" y="2308"/>
                        <a:pt x="43077" y="2308"/>
                      </a:cubicBezTo>
                      <a:cubicBezTo>
                        <a:pt x="46154" y="-769"/>
                        <a:pt x="49230" y="-769"/>
                        <a:pt x="52307" y="2308"/>
                      </a:cubicBezTo>
                      <a:cubicBezTo>
                        <a:pt x="55384" y="5385"/>
                        <a:pt x="55384" y="8462"/>
                        <a:pt x="52307" y="11538"/>
                      </a:cubicBezTo>
                      <a:cubicBezTo>
                        <a:pt x="52307" y="11538"/>
                        <a:pt x="12308" y="45385"/>
                        <a:pt x="12308" y="97692"/>
                      </a:cubicBezTo>
                      <a:cubicBezTo>
                        <a:pt x="12308" y="100769"/>
                        <a:pt x="9230" y="103846"/>
                        <a:pt x="6153" y="103846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03" name="任意多边形: 形状 902">
                  <a:extLst>
                    <a:ext uri="{FF2B5EF4-FFF2-40B4-BE49-F238E27FC236}">
                      <a16:creationId xmlns:a16="http://schemas.microsoft.com/office/drawing/2014/main" id="{1C35F053-1AFF-4738-8A5C-A730C415C8E5}"/>
                    </a:ext>
                  </a:extLst>
                </p:cNvPr>
                <p:cNvSpPr/>
                <p:nvPr/>
              </p:nvSpPr>
              <p:spPr>
                <a:xfrm>
                  <a:off x="12442358" y="4526587"/>
                  <a:ext cx="251537" cy="113230"/>
                </a:xfrm>
                <a:custGeom>
                  <a:avLst/>
                  <a:gdLst>
                    <a:gd name="connsiteX0" fmla="*/ 243077 w 251537"/>
                    <a:gd name="connsiteY0" fmla="*/ 113231 h 113230"/>
                    <a:gd name="connsiteX1" fmla="*/ 240000 w 251537"/>
                    <a:gd name="connsiteY1" fmla="*/ 113231 h 113230"/>
                    <a:gd name="connsiteX2" fmla="*/ 12308 w 251537"/>
                    <a:gd name="connsiteY2" fmla="*/ 11692 h 113230"/>
                    <a:gd name="connsiteX3" fmla="*/ 9230 w 251537"/>
                    <a:gd name="connsiteY3" fmla="*/ 14769 h 113230"/>
                    <a:gd name="connsiteX4" fmla="*/ 55384 w 251537"/>
                    <a:gd name="connsiteY4" fmla="*/ 54769 h 113230"/>
                    <a:gd name="connsiteX5" fmla="*/ 141538 w 251537"/>
                    <a:gd name="connsiteY5" fmla="*/ 88616 h 113230"/>
                    <a:gd name="connsiteX6" fmla="*/ 144615 w 251537"/>
                    <a:gd name="connsiteY6" fmla="*/ 97846 h 113230"/>
                    <a:gd name="connsiteX7" fmla="*/ 135384 w 251537"/>
                    <a:gd name="connsiteY7" fmla="*/ 100923 h 113230"/>
                    <a:gd name="connsiteX8" fmla="*/ 55384 w 251537"/>
                    <a:gd name="connsiteY8" fmla="*/ 67077 h 113230"/>
                    <a:gd name="connsiteX9" fmla="*/ 52307 w 251537"/>
                    <a:gd name="connsiteY9" fmla="*/ 67077 h 113230"/>
                    <a:gd name="connsiteX10" fmla="*/ 0 w 251537"/>
                    <a:gd name="connsiteY10" fmla="*/ 14769 h 113230"/>
                    <a:gd name="connsiteX11" fmla="*/ 9230 w 251537"/>
                    <a:gd name="connsiteY11" fmla="*/ 2462 h 113230"/>
                    <a:gd name="connsiteX12" fmla="*/ 249230 w 251537"/>
                    <a:gd name="connsiteY12" fmla="*/ 104000 h 113230"/>
                    <a:gd name="connsiteX13" fmla="*/ 249230 w 251537"/>
                    <a:gd name="connsiteY13" fmla="*/ 113231 h 113230"/>
                    <a:gd name="connsiteX14" fmla="*/ 243077 w 251537"/>
                    <a:gd name="connsiteY14" fmla="*/ 113231 h 113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51537" h="113230">
                      <a:moveTo>
                        <a:pt x="243077" y="113231"/>
                      </a:moveTo>
                      <a:cubicBezTo>
                        <a:pt x="243077" y="113231"/>
                        <a:pt x="240000" y="113231"/>
                        <a:pt x="240000" y="113231"/>
                      </a:cubicBezTo>
                      <a:cubicBezTo>
                        <a:pt x="113846" y="24000"/>
                        <a:pt x="30769" y="2462"/>
                        <a:pt x="12308" y="11692"/>
                      </a:cubicBezTo>
                      <a:cubicBezTo>
                        <a:pt x="9230" y="11692"/>
                        <a:pt x="9230" y="11692"/>
                        <a:pt x="9230" y="14769"/>
                      </a:cubicBezTo>
                      <a:cubicBezTo>
                        <a:pt x="9230" y="30154"/>
                        <a:pt x="43077" y="48615"/>
                        <a:pt x="55384" y="54769"/>
                      </a:cubicBezTo>
                      <a:cubicBezTo>
                        <a:pt x="73846" y="57846"/>
                        <a:pt x="129230" y="82462"/>
                        <a:pt x="141538" y="88616"/>
                      </a:cubicBezTo>
                      <a:cubicBezTo>
                        <a:pt x="144615" y="91692"/>
                        <a:pt x="144615" y="94769"/>
                        <a:pt x="144615" y="97846"/>
                      </a:cubicBezTo>
                      <a:cubicBezTo>
                        <a:pt x="141538" y="100923"/>
                        <a:pt x="138462" y="100923"/>
                        <a:pt x="135384" y="100923"/>
                      </a:cubicBezTo>
                      <a:cubicBezTo>
                        <a:pt x="110768" y="85538"/>
                        <a:pt x="64615" y="70154"/>
                        <a:pt x="55384" y="67077"/>
                      </a:cubicBezTo>
                      <a:cubicBezTo>
                        <a:pt x="55384" y="67077"/>
                        <a:pt x="52307" y="67077"/>
                        <a:pt x="52307" y="67077"/>
                      </a:cubicBezTo>
                      <a:cubicBezTo>
                        <a:pt x="46154" y="64000"/>
                        <a:pt x="0" y="42462"/>
                        <a:pt x="0" y="14769"/>
                      </a:cubicBezTo>
                      <a:cubicBezTo>
                        <a:pt x="0" y="8615"/>
                        <a:pt x="3076" y="5538"/>
                        <a:pt x="9230" y="2462"/>
                      </a:cubicBezTo>
                      <a:cubicBezTo>
                        <a:pt x="36923" y="-9846"/>
                        <a:pt x="132307" y="24000"/>
                        <a:pt x="249230" y="104000"/>
                      </a:cubicBezTo>
                      <a:cubicBezTo>
                        <a:pt x="252307" y="107077"/>
                        <a:pt x="252307" y="110154"/>
                        <a:pt x="249230" y="113231"/>
                      </a:cubicBezTo>
                      <a:cubicBezTo>
                        <a:pt x="246154" y="113231"/>
                        <a:pt x="246154" y="113231"/>
                        <a:pt x="243077" y="113231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04" name="任意多边形: 形状 903">
                <a:extLst>
                  <a:ext uri="{FF2B5EF4-FFF2-40B4-BE49-F238E27FC236}">
                    <a16:creationId xmlns:a16="http://schemas.microsoft.com/office/drawing/2014/main" id="{6B291A05-27AB-48FB-9CD9-9259F6F3B23D}"/>
                  </a:ext>
                </a:extLst>
              </p:cNvPr>
              <p:cNvSpPr/>
              <p:nvPr/>
            </p:nvSpPr>
            <p:spPr>
              <a:xfrm>
                <a:off x="12417742" y="4692450"/>
                <a:ext cx="80000" cy="58136"/>
              </a:xfrm>
              <a:custGeom>
                <a:avLst/>
                <a:gdLst>
                  <a:gd name="connsiteX0" fmla="*/ 67693 w 80000"/>
                  <a:gd name="connsiteY0" fmla="*/ 58137 h 58136"/>
                  <a:gd name="connsiteX1" fmla="*/ 67693 w 80000"/>
                  <a:gd name="connsiteY1" fmla="*/ 58137 h 58136"/>
                  <a:gd name="connsiteX2" fmla="*/ 0 w 80000"/>
                  <a:gd name="connsiteY2" fmla="*/ 21214 h 58136"/>
                  <a:gd name="connsiteX3" fmla="*/ 6154 w 80000"/>
                  <a:gd name="connsiteY3" fmla="*/ 8906 h 58136"/>
                  <a:gd name="connsiteX4" fmla="*/ 73846 w 80000"/>
                  <a:gd name="connsiteY4" fmla="*/ 2752 h 58136"/>
                  <a:gd name="connsiteX5" fmla="*/ 80000 w 80000"/>
                  <a:gd name="connsiteY5" fmla="*/ 8906 h 58136"/>
                  <a:gd name="connsiteX6" fmla="*/ 73846 w 80000"/>
                  <a:gd name="connsiteY6" fmla="*/ 15060 h 58136"/>
                  <a:gd name="connsiteX7" fmla="*/ 15385 w 80000"/>
                  <a:gd name="connsiteY7" fmla="*/ 18137 h 58136"/>
                  <a:gd name="connsiteX8" fmla="*/ 15385 w 80000"/>
                  <a:gd name="connsiteY8" fmla="*/ 21214 h 58136"/>
                  <a:gd name="connsiteX9" fmla="*/ 70770 w 80000"/>
                  <a:gd name="connsiteY9" fmla="*/ 45829 h 58136"/>
                  <a:gd name="connsiteX10" fmla="*/ 76923 w 80000"/>
                  <a:gd name="connsiteY10" fmla="*/ 51983 h 58136"/>
                  <a:gd name="connsiteX11" fmla="*/ 67693 w 80000"/>
                  <a:gd name="connsiteY11" fmla="*/ 58137 h 58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0000" h="58136">
                    <a:moveTo>
                      <a:pt x="67693" y="58137"/>
                    </a:moveTo>
                    <a:cubicBezTo>
                      <a:pt x="67693" y="58137"/>
                      <a:pt x="67693" y="58137"/>
                      <a:pt x="67693" y="58137"/>
                    </a:cubicBezTo>
                    <a:cubicBezTo>
                      <a:pt x="55385" y="55060"/>
                      <a:pt x="3077" y="45829"/>
                      <a:pt x="0" y="21214"/>
                    </a:cubicBezTo>
                    <a:cubicBezTo>
                      <a:pt x="0" y="18137"/>
                      <a:pt x="0" y="11983"/>
                      <a:pt x="6154" y="8906"/>
                    </a:cubicBezTo>
                    <a:cubicBezTo>
                      <a:pt x="21539" y="-3402"/>
                      <a:pt x="64616" y="-325"/>
                      <a:pt x="73846" y="2752"/>
                    </a:cubicBezTo>
                    <a:cubicBezTo>
                      <a:pt x="76923" y="2752"/>
                      <a:pt x="80000" y="5829"/>
                      <a:pt x="80000" y="8906"/>
                    </a:cubicBezTo>
                    <a:cubicBezTo>
                      <a:pt x="80000" y="11983"/>
                      <a:pt x="76923" y="15060"/>
                      <a:pt x="73846" y="15060"/>
                    </a:cubicBezTo>
                    <a:cubicBezTo>
                      <a:pt x="55385" y="11983"/>
                      <a:pt x="21539" y="11983"/>
                      <a:pt x="15385" y="18137"/>
                    </a:cubicBezTo>
                    <a:cubicBezTo>
                      <a:pt x="15385" y="18137"/>
                      <a:pt x="15385" y="21214"/>
                      <a:pt x="15385" y="21214"/>
                    </a:cubicBezTo>
                    <a:cubicBezTo>
                      <a:pt x="15385" y="33521"/>
                      <a:pt x="49231" y="42752"/>
                      <a:pt x="70770" y="45829"/>
                    </a:cubicBezTo>
                    <a:cubicBezTo>
                      <a:pt x="73846" y="45829"/>
                      <a:pt x="76923" y="48906"/>
                      <a:pt x="76923" y="51983"/>
                    </a:cubicBezTo>
                    <a:cubicBezTo>
                      <a:pt x="73846" y="58137"/>
                      <a:pt x="70770" y="58137"/>
                      <a:pt x="67693" y="5813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05" name="任意多边形: 形状 904">
              <a:extLst>
                <a:ext uri="{FF2B5EF4-FFF2-40B4-BE49-F238E27FC236}">
                  <a16:creationId xmlns:a16="http://schemas.microsoft.com/office/drawing/2014/main" id="{CF25659A-D06F-4F37-961D-61164988E59C}"/>
                </a:ext>
              </a:extLst>
            </p:cNvPr>
            <p:cNvSpPr/>
            <p:nvPr/>
          </p:nvSpPr>
          <p:spPr>
            <a:xfrm>
              <a:off x="12682358" y="4427510"/>
              <a:ext cx="969230" cy="668033"/>
            </a:xfrm>
            <a:custGeom>
              <a:avLst/>
              <a:gdLst>
                <a:gd name="connsiteX0" fmla="*/ 756923 w 969230"/>
                <a:gd name="connsiteY0" fmla="*/ 0 h 668033"/>
                <a:gd name="connsiteX1" fmla="*/ 458461 w 969230"/>
                <a:gd name="connsiteY1" fmla="*/ 424615 h 668033"/>
                <a:gd name="connsiteX2" fmla="*/ 52308 w 969230"/>
                <a:gd name="connsiteY2" fmla="*/ 236923 h 668033"/>
                <a:gd name="connsiteX3" fmla="*/ 0 w 969230"/>
                <a:gd name="connsiteY3" fmla="*/ 387693 h 668033"/>
                <a:gd name="connsiteX4" fmla="*/ 489231 w 969230"/>
                <a:gd name="connsiteY4" fmla="*/ 667692 h 668033"/>
                <a:gd name="connsiteX5" fmla="*/ 969231 w 969230"/>
                <a:gd name="connsiteY5" fmla="*/ 172308 h 668033"/>
                <a:gd name="connsiteX6" fmla="*/ 756923 w 969230"/>
                <a:gd name="connsiteY6" fmla="*/ 0 h 668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69230" h="668033">
                  <a:moveTo>
                    <a:pt x="756923" y="0"/>
                  </a:moveTo>
                  <a:lnTo>
                    <a:pt x="458461" y="424615"/>
                  </a:lnTo>
                  <a:lnTo>
                    <a:pt x="52308" y="236923"/>
                  </a:lnTo>
                  <a:lnTo>
                    <a:pt x="0" y="387693"/>
                  </a:lnTo>
                  <a:cubicBezTo>
                    <a:pt x="0" y="387693"/>
                    <a:pt x="360000" y="652308"/>
                    <a:pt x="489231" y="667692"/>
                  </a:cubicBezTo>
                  <a:cubicBezTo>
                    <a:pt x="618462" y="683077"/>
                    <a:pt x="969231" y="172308"/>
                    <a:pt x="969231" y="172308"/>
                  </a:cubicBezTo>
                  <a:lnTo>
                    <a:pt x="756923" y="0"/>
                  </a:ln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6" name="任意多边形: 形状 905">
              <a:extLst>
                <a:ext uri="{FF2B5EF4-FFF2-40B4-BE49-F238E27FC236}">
                  <a16:creationId xmlns:a16="http://schemas.microsoft.com/office/drawing/2014/main" id="{CD0AA1DB-9821-461C-9C8D-2BFF556C147A}"/>
                </a:ext>
              </a:extLst>
            </p:cNvPr>
            <p:cNvSpPr/>
            <p:nvPr/>
          </p:nvSpPr>
          <p:spPr>
            <a:xfrm>
              <a:off x="13134666" y="4505202"/>
              <a:ext cx="254614" cy="417692"/>
            </a:xfrm>
            <a:custGeom>
              <a:avLst/>
              <a:gdLst>
                <a:gd name="connsiteX0" fmla="*/ 36923 w 254614"/>
                <a:gd name="connsiteY0" fmla="*/ 417692 h 417692"/>
                <a:gd name="connsiteX1" fmla="*/ 30769 w 254614"/>
                <a:gd name="connsiteY1" fmla="*/ 414615 h 417692"/>
                <a:gd name="connsiteX2" fmla="*/ 0 w 254614"/>
                <a:gd name="connsiteY2" fmla="*/ 350000 h 417692"/>
                <a:gd name="connsiteX3" fmla="*/ 0 w 254614"/>
                <a:gd name="connsiteY3" fmla="*/ 343846 h 417692"/>
                <a:gd name="connsiteX4" fmla="*/ 243077 w 254614"/>
                <a:gd name="connsiteY4" fmla="*/ 2308 h 417692"/>
                <a:gd name="connsiteX5" fmla="*/ 252307 w 254614"/>
                <a:gd name="connsiteY5" fmla="*/ 2308 h 417692"/>
                <a:gd name="connsiteX6" fmla="*/ 252307 w 254614"/>
                <a:gd name="connsiteY6" fmla="*/ 11538 h 417692"/>
                <a:gd name="connsiteX7" fmla="*/ 12308 w 254614"/>
                <a:gd name="connsiteY7" fmla="*/ 350000 h 417692"/>
                <a:gd name="connsiteX8" fmla="*/ 43077 w 254614"/>
                <a:gd name="connsiteY8" fmla="*/ 414615 h 417692"/>
                <a:gd name="connsiteX9" fmla="*/ 36923 w 254614"/>
                <a:gd name="connsiteY9" fmla="*/ 417692 h 417692"/>
                <a:gd name="connsiteX10" fmla="*/ 36923 w 254614"/>
                <a:gd name="connsiteY10" fmla="*/ 417692 h 41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4614" h="417692">
                  <a:moveTo>
                    <a:pt x="36923" y="417692"/>
                  </a:moveTo>
                  <a:cubicBezTo>
                    <a:pt x="33845" y="417692"/>
                    <a:pt x="33845" y="417692"/>
                    <a:pt x="30769" y="414615"/>
                  </a:cubicBezTo>
                  <a:cubicBezTo>
                    <a:pt x="21538" y="396154"/>
                    <a:pt x="0" y="350000"/>
                    <a:pt x="0" y="350000"/>
                  </a:cubicBezTo>
                  <a:cubicBezTo>
                    <a:pt x="0" y="346923"/>
                    <a:pt x="0" y="346923"/>
                    <a:pt x="0" y="343846"/>
                  </a:cubicBezTo>
                  <a:cubicBezTo>
                    <a:pt x="64615" y="245385"/>
                    <a:pt x="240000" y="5385"/>
                    <a:pt x="243077" y="2308"/>
                  </a:cubicBezTo>
                  <a:cubicBezTo>
                    <a:pt x="246154" y="-769"/>
                    <a:pt x="249230" y="-769"/>
                    <a:pt x="252307" y="2308"/>
                  </a:cubicBezTo>
                  <a:cubicBezTo>
                    <a:pt x="255384" y="5385"/>
                    <a:pt x="255384" y="8462"/>
                    <a:pt x="252307" y="11538"/>
                  </a:cubicBezTo>
                  <a:cubicBezTo>
                    <a:pt x="249230" y="14615"/>
                    <a:pt x="79999" y="248462"/>
                    <a:pt x="12308" y="350000"/>
                  </a:cubicBezTo>
                  <a:cubicBezTo>
                    <a:pt x="18461" y="359231"/>
                    <a:pt x="33845" y="396154"/>
                    <a:pt x="43077" y="414615"/>
                  </a:cubicBezTo>
                  <a:cubicBezTo>
                    <a:pt x="43077" y="414615"/>
                    <a:pt x="40000" y="417692"/>
                    <a:pt x="36923" y="417692"/>
                  </a:cubicBezTo>
                  <a:cubicBezTo>
                    <a:pt x="36923" y="417692"/>
                    <a:pt x="36923" y="417692"/>
                    <a:pt x="36923" y="417692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7" name="任意多边形: 形状 906">
              <a:extLst>
                <a:ext uri="{FF2B5EF4-FFF2-40B4-BE49-F238E27FC236}">
                  <a16:creationId xmlns:a16="http://schemas.microsoft.com/office/drawing/2014/main" id="{7D5C6CBE-AE5A-493A-878C-05F712F15D08}"/>
                </a:ext>
              </a:extLst>
            </p:cNvPr>
            <p:cNvSpPr/>
            <p:nvPr/>
          </p:nvSpPr>
          <p:spPr>
            <a:xfrm>
              <a:off x="13239281" y="4237411"/>
              <a:ext cx="514877" cy="608560"/>
            </a:xfrm>
            <a:custGeom>
              <a:avLst/>
              <a:gdLst>
                <a:gd name="connsiteX0" fmla="*/ 344615 w 514877"/>
                <a:gd name="connsiteY0" fmla="*/ 608560 h 608560"/>
                <a:gd name="connsiteX1" fmla="*/ 489231 w 514877"/>
                <a:gd name="connsiteY1" fmla="*/ 20868 h 608560"/>
                <a:gd name="connsiteX2" fmla="*/ 0 w 514877"/>
                <a:gd name="connsiteY2" fmla="*/ 359329 h 608560"/>
                <a:gd name="connsiteX3" fmla="*/ 344615 w 514877"/>
                <a:gd name="connsiteY3" fmla="*/ 608560 h 608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877" h="608560">
                  <a:moveTo>
                    <a:pt x="344615" y="608560"/>
                  </a:moveTo>
                  <a:cubicBezTo>
                    <a:pt x="344615" y="608560"/>
                    <a:pt x="593846" y="125483"/>
                    <a:pt x="489231" y="20868"/>
                  </a:cubicBezTo>
                  <a:cubicBezTo>
                    <a:pt x="366154" y="-102209"/>
                    <a:pt x="0" y="359329"/>
                    <a:pt x="0" y="359329"/>
                  </a:cubicBezTo>
                  <a:cubicBezTo>
                    <a:pt x="0" y="359329"/>
                    <a:pt x="138462" y="540868"/>
                    <a:pt x="344615" y="608560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8" name="任意多边形: 形状 907">
              <a:extLst>
                <a:ext uri="{FF2B5EF4-FFF2-40B4-BE49-F238E27FC236}">
                  <a16:creationId xmlns:a16="http://schemas.microsoft.com/office/drawing/2014/main" id="{4F5C7D4B-9605-457A-B423-2C720D51FBF0}"/>
                </a:ext>
              </a:extLst>
            </p:cNvPr>
            <p:cNvSpPr/>
            <p:nvPr/>
          </p:nvSpPr>
          <p:spPr>
            <a:xfrm>
              <a:off x="13233127" y="4243467"/>
              <a:ext cx="501539" cy="457888"/>
            </a:xfrm>
            <a:custGeom>
              <a:avLst/>
              <a:gdLst>
                <a:gd name="connsiteX0" fmla="*/ 101539 w 501539"/>
                <a:gd name="connsiteY0" fmla="*/ 457888 h 457888"/>
                <a:gd name="connsiteX1" fmla="*/ 98462 w 501539"/>
                <a:gd name="connsiteY1" fmla="*/ 457888 h 457888"/>
                <a:gd name="connsiteX2" fmla="*/ 3077 w 501539"/>
                <a:gd name="connsiteY2" fmla="*/ 356350 h 457888"/>
                <a:gd name="connsiteX3" fmla="*/ 0 w 501539"/>
                <a:gd name="connsiteY3" fmla="*/ 353273 h 457888"/>
                <a:gd name="connsiteX4" fmla="*/ 3077 w 501539"/>
                <a:gd name="connsiteY4" fmla="*/ 350196 h 457888"/>
                <a:gd name="connsiteX5" fmla="*/ 255385 w 501539"/>
                <a:gd name="connsiteY5" fmla="*/ 88658 h 457888"/>
                <a:gd name="connsiteX6" fmla="*/ 498462 w 501539"/>
                <a:gd name="connsiteY6" fmla="*/ 11735 h 457888"/>
                <a:gd name="connsiteX7" fmla="*/ 501539 w 501539"/>
                <a:gd name="connsiteY7" fmla="*/ 17888 h 457888"/>
                <a:gd name="connsiteX8" fmla="*/ 495385 w 501539"/>
                <a:gd name="connsiteY8" fmla="*/ 20965 h 457888"/>
                <a:gd name="connsiteX9" fmla="*/ 264616 w 501539"/>
                <a:gd name="connsiteY9" fmla="*/ 94812 h 457888"/>
                <a:gd name="connsiteX10" fmla="*/ 15385 w 501539"/>
                <a:gd name="connsiteY10" fmla="*/ 353273 h 457888"/>
                <a:gd name="connsiteX11" fmla="*/ 104615 w 501539"/>
                <a:gd name="connsiteY11" fmla="*/ 448658 h 457888"/>
                <a:gd name="connsiteX12" fmla="*/ 104615 w 501539"/>
                <a:gd name="connsiteY12" fmla="*/ 457888 h 457888"/>
                <a:gd name="connsiteX13" fmla="*/ 101539 w 501539"/>
                <a:gd name="connsiteY13" fmla="*/ 457888 h 457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1539" h="457888">
                  <a:moveTo>
                    <a:pt x="101539" y="457888"/>
                  </a:moveTo>
                  <a:cubicBezTo>
                    <a:pt x="101539" y="457888"/>
                    <a:pt x="98462" y="457888"/>
                    <a:pt x="98462" y="457888"/>
                  </a:cubicBezTo>
                  <a:cubicBezTo>
                    <a:pt x="46154" y="414812"/>
                    <a:pt x="3077" y="356350"/>
                    <a:pt x="3077" y="356350"/>
                  </a:cubicBezTo>
                  <a:lnTo>
                    <a:pt x="0" y="353273"/>
                  </a:lnTo>
                  <a:lnTo>
                    <a:pt x="3077" y="350196"/>
                  </a:lnTo>
                  <a:cubicBezTo>
                    <a:pt x="3077" y="350196"/>
                    <a:pt x="123077" y="214811"/>
                    <a:pt x="255385" y="88658"/>
                  </a:cubicBezTo>
                  <a:cubicBezTo>
                    <a:pt x="390770" y="-40573"/>
                    <a:pt x="495385" y="8658"/>
                    <a:pt x="498462" y="11735"/>
                  </a:cubicBezTo>
                  <a:cubicBezTo>
                    <a:pt x="501539" y="11735"/>
                    <a:pt x="501539" y="17888"/>
                    <a:pt x="501539" y="17888"/>
                  </a:cubicBezTo>
                  <a:cubicBezTo>
                    <a:pt x="501539" y="20965"/>
                    <a:pt x="495385" y="20965"/>
                    <a:pt x="495385" y="20965"/>
                  </a:cubicBezTo>
                  <a:cubicBezTo>
                    <a:pt x="495385" y="20965"/>
                    <a:pt x="393847" y="-28265"/>
                    <a:pt x="264616" y="94812"/>
                  </a:cubicBezTo>
                  <a:cubicBezTo>
                    <a:pt x="144616" y="208658"/>
                    <a:pt x="33846" y="331735"/>
                    <a:pt x="15385" y="353273"/>
                  </a:cubicBezTo>
                  <a:cubicBezTo>
                    <a:pt x="24616" y="365581"/>
                    <a:pt x="61538" y="414812"/>
                    <a:pt x="104615" y="448658"/>
                  </a:cubicBezTo>
                  <a:cubicBezTo>
                    <a:pt x="107692" y="451735"/>
                    <a:pt x="107692" y="454812"/>
                    <a:pt x="104615" y="457888"/>
                  </a:cubicBezTo>
                  <a:cubicBezTo>
                    <a:pt x="104615" y="454812"/>
                    <a:pt x="101539" y="457888"/>
                    <a:pt x="101539" y="457888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9" name="任意多边形: 形状 908">
              <a:extLst>
                <a:ext uri="{FF2B5EF4-FFF2-40B4-BE49-F238E27FC236}">
                  <a16:creationId xmlns:a16="http://schemas.microsoft.com/office/drawing/2014/main" id="{7565949B-65E8-4265-AAA5-371515B34DA0}"/>
                </a:ext>
              </a:extLst>
            </p:cNvPr>
            <p:cNvSpPr/>
            <p:nvPr/>
          </p:nvSpPr>
          <p:spPr>
            <a:xfrm>
              <a:off x="13577743" y="4415202"/>
              <a:ext cx="172480" cy="433846"/>
            </a:xfrm>
            <a:custGeom>
              <a:avLst/>
              <a:gdLst>
                <a:gd name="connsiteX0" fmla="*/ 6153 w 172480"/>
                <a:gd name="connsiteY0" fmla="*/ 433846 h 433846"/>
                <a:gd name="connsiteX1" fmla="*/ 6153 w 172480"/>
                <a:gd name="connsiteY1" fmla="*/ 433846 h 433846"/>
                <a:gd name="connsiteX2" fmla="*/ 0 w 172480"/>
                <a:gd name="connsiteY2" fmla="*/ 424615 h 433846"/>
                <a:gd name="connsiteX3" fmla="*/ 159999 w 172480"/>
                <a:gd name="connsiteY3" fmla="*/ 6154 h 433846"/>
                <a:gd name="connsiteX4" fmla="*/ 166154 w 172480"/>
                <a:gd name="connsiteY4" fmla="*/ 0 h 433846"/>
                <a:gd name="connsiteX5" fmla="*/ 166154 w 172480"/>
                <a:gd name="connsiteY5" fmla="*/ 0 h 433846"/>
                <a:gd name="connsiteX6" fmla="*/ 172308 w 172480"/>
                <a:gd name="connsiteY6" fmla="*/ 6154 h 433846"/>
                <a:gd name="connsiteX7" fmla="*/ 9230 w 172480"/>
                <a:gd name="connsiteY7" fmla="*/ 430769 h 433846"/>
                <a:gd name="connsiteX8" fmla="*/ 6153 w 172480"/>
                <a:gd name="connsiteY8" fmla="*/ 433846 h 43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2480" h="433846">
                  <a:moveTo>
                    <a:pt x="6153" y="433846"/>
                  </a:moveTo>
                  <a:cubicBezTo>
                    <a:pt x="6153" y="433846"/>
                    <a:pt x="6153" y="433846"/>
                    <a:pt x="6153" y="433846"/>
                  </a:cubicBezTo>
                  <a:cubicBezTo>
                    <a:pt x="0" y="430769"/>
                    <a:pt x="0" y="427692"/>
                    <a:pt x="0" y="424615"/>
                  </a:cubicBezTo>
                  <a:cubicBezTo>
                    <a:pt x="3077" y="421538"/>
                    <a:pt x="166154" y="113846"/>
                    <a:pt x="159999" y="6154"/>
                  </a:cubicBezTo>
                  <a:cubicBezTo>
                    <a:pt x="159999" y="3077"/>
                    <a:pt x="163077" y="0"/>
                    <a:pt x="166154" y="0"/>
                  </a:cubicBezTo>
                  <a:cubicBezTo>
                    <a:pt x="166154" y="0"/>
                    <a:pt x="166154" y="0"/>
                    <a:pt x="166154" y="0"/>
                  </a:cubicBezTo>
                  <a:cubicBezTo>
                    <a:pt x="169231" y="0"/>
                    <a:pt x="172308" y="3077"/>
                    <a:pt x="172308" y="6154"/>
                  </a:cubicBezTo>
                  <a:cubicBezTo>
                    <a:pt x="178461" y="116923"/>
                    <a:pt x="18462" y="418462"/>
                    <a:pt x="9230" y="430769"/>
                  </a:cubicBezTo>
                  <a:cubicBezTo>
                    <a:pt x="12308" y="433846"/>
                    <a:pt x="9230" y="433846"/>
                    <a:pt x="6153" y="433846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10" name="图形 1">
              <a:extLst>
                <a:ext uri="{FF2B5EF4-FFF2-40B4-BE49-F238E27FC236}">
                  <a16:creationId xmlns:a16="http://schemas.microsoft.com/office/drawing/2014/main" id="{AEC0499B-714B-4CC0-9B71-89E1A71F612F}"/>
                </a:ext>
              </a:extLst>
            </p:cNvPr>
            <p:cNvGrpSpPr/>
            <p:nvPr/>
          </p:nvGrpSpPr>
          <p:grpSpPr>
            <a:xfrm>
              <a:off x="11374666" y="5301356"/>
              <a:ext cx="3150769" cy="2104615"/>
              <a:chOff x="11374666" y="5301356"/>
              <a:chExt cx="3150769" cy="2104615"/>
            </a:xfrm>
          </p:grpSpPr>
          <p:grpSp>
            <p:nvGrpSpPr>
              <p:cNvPr id="911" name="图形 1">
                <a:extLst>
                  <a:ext uri="{FF2B5EF4-FFF2-40B4-BE49-F238E27FC236}">
                    <a16:creationId xmlns:a16="http://schemas.microsoft.com/office/drawing/2014/main" id="{AEC0499B-714B-4CC0-9B71-89E1A71F612F}"/>
                  </a:ext>
                </a:extLst>
              </p:cNvPr>
              <p:cNvGrpSpPr/>
              <p:nvPr/>
            </p:nvGrpSpPr>
            <p:grpSpPr>
              <a:xfrm>
                <a:off x="11374666" y="5402894"/>
                <a:ext cx="3150769" cy="2003076"/>
                <a:chOff x="11374666" y="5402894"/>
                <a:chExt cx="3150769" cy="2003076"/>
              </a:xfrm>
              <a:solidFill>
                <a:srgbClr val="38343B"/>
              </a:solidFill>
            </p:grpSpPr>
            <p:sp>
              <p:nvSpPr>
                <p:cNvPr id="912" name="任意多边形: 形状 911">
                  <a:extLst>
                    <a:ext uri="{FF2B5EF4-FFF2-40B4-BE49-F238E27FC236}">
                      <a16:creationId xmlns:a16="http://schemas.microsoft.com/office/drawing/2014/main" id="{93C20BEE-1D73-44F9-9968-3268143B5E32}"/>
                    </a:ext>
                  </a:extLst>
                </p:cNvPr>
                <p:cNvSpPr/>
                <p:nvPr/>
              </p:nvSpPr>
              <p:spPr>
                <a:xfrm>
                  <a:off x="11374666" y="5402894"/>
                  <a:ext cx="436923" cy="2003076"/>
                </a:xfrm>
                <a:custGeom>
                  <a:avLst/>
                  <a:gdLst>
                    <a:gd name="connsiteX0" fmla="*/ 61538 w 436923"/>
                    <a:gd name="connsiteY0" fmla="*/ 2003077 h 2003076"/>
                    <a:gd name="connsiteX1" fmla="*/ 0 w 436923"/>
                    <a:gd name="connsiteY1" fmla="*/ 2003077 h 2003076"/>
                    <a:gd name="connsiteX2" fmla="*/ 375385 w 436923"/>
                    <a:gd name="connsiteY2" fmla="*/ 0 h 2003076"/>
                    <a:gd name="connsiteX3" fmla="*/ 436923 w 436923"/>
                    <a:gd name="connsiteY3" fmla="*/ 0 h 2003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6923" h="2003076">
                      <a:moveTo>
                        <a:pt x="61538" y="2003077"/>
                      </a:moveTo>
                      <a:lnTo>
                        <a:pt x="0" y="2003077"/>
                      </a:lnTo>
                      <a:lnTo>
                        <a:pt x="375385" y="0"/>
                      </a:lnTo>
                      <a:lnTo>
                        <a:pt x="436923" y="0"/>
                      </a:lnTo>
                      <a:close/>
                    </a:path>
                  </a:pathLst>
                </a:custGeom>
                <a:solidFill>
                  <a:srgbClr val="38343B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13" name="任意多边形: 形状 912">
                  <a:extLst>
                    <a:ext uri="{FF2B5EF4-FFF2-40B4-BE49-F238E27FC236}">
                      <a16:creationId xmlns:a16="http://schemas.microsoft.com/office/drawing/2014/main" id="{208121E6-BA76-46B1-8B8F-95BCC27272C6}"/>
                    </a:ext>
                  </a:extLst>
                </p:cNvPr>
                <p:cNvSpPr/>
                <p:nvPr/>
              </p:nvSpPr>
              <p:spPr>
                <a:xfrm>
                  <a:off x="14088512" y="5402894"/>
                  <a:ext cx="436922" cy="2003076"/>
                </a:xfrm>
                <a:custGeom>
                  <a:avLst/>
                  <a:gdLst>
                    <a:gd name="connsiteX0" fmla="*/ 375384 w 436922"/>
                    <a:gd name="connsiteY0" fmla="*/ 2003077 h 2003076"/>
                    <a:gd name="connsiteX1" fmla="*/ 436923 w 436922"/>
                    <a:gd name="connsiteY1" fmla="*/ 2003077 h 2003076"/>
                    <a:gd name="connsiteX2" fmla="*/ 61538 w 436922"/>
                    <a:gd name="connsiteY2" fmla="*/ 0 h 2003076"/>
                    <a:gd name="connsiteX3" fmla="*/ 0 w 436922"/>
                    <a:gd name="connsiteY3" fmla="*/ 0 h 2003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6922" h="2003076">
                      <a:moveTo>
                        <a:pt x="375384" y="2003077"/>
                      </a:moveTo>
                      <a:lnTo>
                        <a:pt x="436923" y="2003077"/>
                      </a:lnTo>
                      <a:lnTo>
                        <a:pt x="6153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8343B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14" name="任意多边形: 形状 913">
                <a:extLst>
                  <a:ext uri="{FF2B5EF4-FFF2-40B4-BE49-F238E27FC236}">
                    <a16:creationId xmlns:a16="http://schemas.microsoft.com/office/drawing/2014/main" id="{645AB9BA-8F79-46A1-96BD-6E4C03BF014A}"/>
                  </a:ext>
                </a:extLst>
              </p:cNvPr>
              <p:cNvSpPr/>
              <p:nvPr/>
            </p:nvSpPr>
            <p:spPr>
              <a:xfrm>
                <a:off x="11374666" y="5301356"/>
                <a:ext cx="3147691" cy="129230"/>
              </a:xfrm>
              <a:custGeom>
                <a:avLst/>
                <a:gdLst>
                  <a:gd name="connsiteX0" fmla="*/ 3021539 w 3147691"/>
                  <a:gd name="connsiteY0" fmla="*/ 129231 h 129230"/>
                  <a:gd name="connsiteX1" fmla="*/ 129231 w 3147691"/>
                  <a:gd name="connsiteY1" fmla="*/ 129231 h 129230"/>
                  <a:gd name="connsiteX2" fmla="*/ 0 w 3147691"/>
                  <a:gd name="connsiteY2" fmla="*/ 0 h 129230"/>
                  <a:gd name="connsiteX3" fmla="*/ 0 w 3147691"/>
                  <a:gd name="connsiteY3" fmla="*/ 0 h 129230"/>
                  <a:gd name="connsiteX4" fmla="*/ 3147692 w 3147691"/>
                  <a:gd name="connsiteY4" fmla="*/ 0 h 129230"/>
                  <a:gd name="connsiteX5" fmla="*/ 3147692 w 3147691"/>
                  <a:gd name="connsiteY5" fmla="*/ 0 h 129230"/>
                  <a:gd name="connsiteX6" fmla="*/ 3021539 w 3147691"/>
                  <a:gd name="connsiteY6" fmla="*/ 129231 h 12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47691" h="129230">
                    <a:moveTo>
                      <a:pt x="3021539" y="129231"/>
                    </a:moveTo>
                    <a:lnTo>
                      <a:pt x="129231" y="129231"/>
                    </a:lnTo>
                    <a:cubicBezTo>
                      <a:pt x="58461" y="129231"/>
                      <a:pt x="0" y="70769"/>
                      <a:pt x="0" y="0"/>
                    </a:cubicBezTo>
                    <a:lnTo>
                      <a:pt x="0" y="0"/>
                    </a:lnTo>
                    <a:lnTo>
                      <a:pt x="3147692" y="0"/>
                    </a:lnTo>
                    <a:lnTo>
                      <a:pt x="3147692" y="0"/>
                    </a:lnTo>
                    <a:cubicBezTo>
                      <a:pt x="3147692" y="70769"/>
                      <a:pt x="3092308" y="129231"/>
                      <a:pt x="3021539" y="129231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15" name="图形 1">
              <a:extLst>
                <a:ext uri="{FF2B5EF4-FFF2-40B4-BE49-F238E27FC236}">
                  <a16:creationId xmlns:a16="http://schemas.microsoft.com/office/drawing/2014/main" id="{AEC0499B-714B-4CC0-9B71-89E1A71F612F}"/>
                </a:ext>
              </a:extLst>
            </p:cNvPr>
            <p:cNvGrpSpPr/>
            <p:nvPr/>
          </p:nvGrpSpPr>
          <p:grpSpPr>
            <a:xfrm>
              <a:off x="12993127" y="3319454"/>
              <a:ext cx="578461" cy="295424"/>
              <a:chOff x="12993127" y="3319454"/>
              <a:chExt cx="578461" cy="295424"/>
            </a:xfrm>
          </p:grpSpPr>
          <p:sp>
            <p:nvSpPr>
              <p:cNvPr id="916" name="任意多边形: 形状 915">
                <a:extLst>
                  <a:ext uri="{FF2B5EF4-FFF2-40B4-BE49-F238E27FC236}">
                    <a16:creationId xmlns:a16="http://schemas.microsoft.com/office/drawing/2014/main" id="{392A3FE6-1707-4A5B-9726-E68C0263E345}"/>
                  </a:ext>
                </a:extLst>
              </p:cNvPr>
              <p:cNvSpPr/>
              <p:nvPr/>
            </p:nvSpPr>
            <p:spPr>
              <a:xfrm>
                <a:off x="12999281" y="3344433"/>
                <a:ext cx="569230" cy="270445"/>
              </a:xfrm>
              <a:custGeom>
                <a:avLst/>
                <a:gdLst>
                  <a:gd name="connsiteX0" fmla="*/ 0 w 569230"/>
                  <a:gd name="connsiteY0" fmla="*/ 0 h 270445"/>
                  <a:gd name="connsiteX1" fmla="*/ 15385 w 569230"/>
                  <a:gd name="connsiteY1" fmla="*/ 193846 h 270445"/>
                  <a:gd name="connsiteX2" fmla="*/ 501539 w 569230"/>
                  <a:gd name="connsiteY2" fmla="*/ 261538 h 270445"/>
                  <a:gd name="connsiteX3" fmla="*/ 569231 w 569230"/>
                  <a:gd name="connsiteY3" fmla="*/ 67692 h 270445"/>
                  <a:gd name="connsiteX4" fmla="*/ 0 w 569230"/>
                  <a:gd name="connsiteY4" fmla="*/ 0 h 270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9230" h="270445">
                    <a:moveTo>
                      <a:pt x="0" y="0"/>
                    </a:moveTo>
                    <a:lnTo>
                      <a:pt x="15385" y="193846"/>
                    </a:lnTo>
                    <a:cubicBezTo>
                      <a:pt x="15385" y="193846"/>
                      <a:pt x="169231" y="301538"/>
                      <a:pt x="501539" y="261538"/>
                    </a:cubicBezTo>
                    <a:lnTo>
                      <a:pt x="569231" y="67692"/>
                    </a:lnTo>
                    <a:cubicBezTo>
                      <a:pt x="569231" y="67692"/>
                      <a:pt x="246154" y="113846"/>
                      <a:pt x="0" y="0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7" name="任意多边形: 形状 916">
                <a:extLst>
                  <a:ext uri="{FF2B5EF4-FFF2-40B4-BE49-F238E27FC236}">
                    <a16:creationId xmlns:a16="http://schemas.microsoft.com/office/drawing/2014/main" id="{1B8CBC25-BBD1-4B7C-BFD8-DAD569D5446F}"/>
                  </a:ext>
                </a:extLst>
              </p:cNvPr>
              <p:cNvSpPr/>
              <p:nvPr/>
            </p:nvSpPr>
            <p:spPr>
              <a:xfrm>
                <a:off x="12999281" y="3319454"/>
                <a:ext cx="569230" cy="109284"/>
              </a:xfrm>
              <a:custGeom>
                <a:avLst/>
                <a:gdLst>
                  <a:gd name="connsiteX0" fmla="*/ 0 w 569230"/>
                  <a:gd name="connsiteY0" fmla="*/ 24979 h 109284"/>
                  <a:gd name="connsiteX1" fmla="*/ 569231 w 569230"/>
                  <a:gd name="connsiteY1" fmla="*/ 92671 h 109284"/>
                  <a:gd name="connsiteX2" fmla="*/ 0 w 569230"/>
                  <a:gd name="connsiteY2" fmla="*/ 24979 h 109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9230" h="109284">
                    <a:moveTo>
                      <a:pt x="0" y="24979"/>
                    </a:moveTo>
                    <a:cubicBezTo>
                      <a:pt x="0" y="24979"/>
                      <a:pt x="212308" y="154210"/>
                      <a:pt x="569231" y="92671"/>
                    </a:cubicBezTo>
                    <a:cubicBezTo>
                      <a:pt x="569231" y="92671"/>
                      <a:pt x="307692" y="-58098"/>
                      <a:pt x="0" y="24979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8" name="任意多边形: 形状 917">
                <a:extLst>
                  <a:ext uri="{FF2B5EF4-FFF2-40B4-BE49-F238E27FC236}">
                    <a16:creationId xmlns:a16="http://schemas.microsoft.com/office/drawing/2014/main" id="{C0C5230D-9D05-483F-9225-0E916B36F020}"/>
                  </a:ext>
                </a:extLst>
              </p:cNvPr>
              <p:cNvSpPr/>
              <p:nvPr/>
            </p:nvSpPr>
            <p:spPr>
              <a:xfrm>
                <a:off x="12993127" y="3335202"/>
                <a:ext cx="578461" cy="101538"/>
              </a:xfrm>
              <a:custGeom>
                <a:avLst/>
                <a:gdLst>
                  <a:gd name="connsiteX0" fmla="*/ 378461 w 578461"/>
                  <a:gd name="connsiteY0" fmla="*/ 101538 h 101538"/>
                  <a:gd name="connsiteX1" fmla="*/ 3077 w 578461"/>
                  <a:gd name="connsiteY1" fmla="*/ 12308 h 101538"/>
                  <a:gd name="connsiteX2" fmla="*/ 0 w 578461"/>
                  <a:gd name="connsiteY2" fmla="*/ 3077 h 101538"/>
                  <a:gd name="connsiteX3" fmla="*/ 9230 w 578461"/>
                  <a:gd name="connsiteY3" fmla="*/ 0 h 101538"/>
                  <a:gd name="connsiteX4" fmla="*/ 572308 w 578461"/>
                  <a:gd name="connsiteY4" fmla="*/ 67692 h 101538"/>
                  <a:gd name="connsiteX5" fmla="*/ 578461 w 578461"/>
                  <a:gd name="connsiteY5" fmla="*/ 70769 h 101538"/>
                  <a:gd name="connsiteX6" fmla="*/ 575384 w 578461"/>
                  <a:gd name="connsiteY6" fmla="*/ 76923 h 101538"/>
                  <a:gd name="connsiteX7" fmla="*/ 378461 w 578461"/>
                  <a:gd name="connsiteY7" fmla="*/ 101538 h 10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8461" h="101538">
                    <a:moveTo>
                      <a:pt x="378461" y="101538"/>
                    </a:moveTo>
                    <a:cubicBezTo>
                      <a:pt x="141539" y="101538"/>
                      <a:pt x="6153" y="15385"/>
                      <a:pt x="3077" y="12308"/>
                    </a:cubicBezTo>
                    <a:cubicBezTo>
                      <a:pt x="0" y="9231"/>
                      <a:pt x="0" y="6154"/>
                      <a:pt x="0" y="3077"/>
                    </a:cubicBezTo>
                    <a:cubicBezTo>
                      <a:pt x="3077" y="0"/>
                      <a:pt x="6153" y="0"/>
                      <a:pt x="9230" y="0"/>
                    </a:cubicBezTo>
                    <a:cubicBezTo>
                      <a:pt x="12308" y="0"/>
                      <a:pt x="218462" y="135385"/>
                      <a:pt x="572308" y="67692"/>
                    </a:cubicBezTo>
                    <a:cubicBezTo>
                      <a:pt x="575384" y="67692"/>
                      <a:pt x="578461" y="67692"/>
                      <a:pt x="578461" y="70769"/>
                    </a:cubicBezTo>
                    <a:cubicBezTo>
                      <a:pt x="578461" y="73846"/>
                      <a:pt x="578461" y="76923"/>
                      <a:pt x="575384" y="76923"/>
                    </a:cubicBezTo>
                    <a:cubicBezTo>
                      <a:pt x="504615" y="98462"/>
                      <a:pt x="436923" y="101538"/>
                      <a:pt x="378461" y="10153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9" name="任意多边形: 形状 918">
                <a:extLst>
                  <a:ext uri="{FF2B5EF4-FFF2-40B4-BE49-F238E27FC236}">
                    <a16:creationId xmlns:a16="http://schemas.microsoft.com/office/drawing/2014/main" id="{DA750FF6-51EA-4321-A370-3DEFBC9DE4FA}"/>
                  </a:ext>
                </a:extLst>
              </p:cNvPr>
              <p:cNvSpPr/>
              <p:nvPr/>
            </p:nvSpPr>
            <p:spPr>
              <a:xfrm>
                <a:off x="13174666" y="3449048"/>
                <a:ext cx="135384" cy="135384"/>
              </a:xfrm>
              <a:custGeom>
                <a:avLst/>
                <a:gdLst>
                  <a:gd name="connsiteX0" fmla="*/ 135384 w 135384"/>
                  <a:gd name="connsiteY0" fmla="*/ 55385 h 135384"/>
                  <a:gd name="connsiteX1" fmla="*/ 86153 w 135384"/>
                  <a:gd name="connsiteY1" fmla="*/ 52308 h 135384"/>
                  <a:gd name="connsiteX2" fmla="*/ 92308 w 135384"/>
                  <a:gd name="connsiteY2" fmla="*/ 3077 h 135384"/>
                  <a:gd name="connsiteX3" fmla="*/ 55384 w 135384"/>
                  <a:gd name="connsiteY3" fmla="*/ 0 h 135384"/>
                  <a:gd name="connsiteX4" fmla="*/ 52308 w 135384"/>
                  <a:gd name="connsiteY4" fmla="*/ 49231 h 135384"/>
                  <a:gd name="connsiteX5" fmla="*/ 3077 w 135384"/>
                  <a:gd name="connsiteY5" fmla="*/ 43077 h 135384"/>
                  <a:gd name="connsiteX6" fmla="*/ 0 w 135384"/>
                  <a:gd name="connsiteY6" fmla="*/ 80000 h 135384"/>
                  <a:gd name="connsiteX7" fmla="*/ 49231 w 135384"/>
                  <a:gd name="connsiteY7" fmla="*/ 83077 h 135384"/>
                  <a:gd name="connsiteX8" fmla="*/ 43077 w 135384"/>
                  <a:gd name="connsiteY8" fmla="*/ 132308 h 135384"/>
                  <a:gd name="connsiteX9" fmla="*/ 76923 w 135384"/>
                  <a:gd name="connsiteY9" fmla="*/ 135385 h 135384"/>
                  <a:gd name="connsiteX10" fmla="*/ 83077 w 135384"/>
                  <a:gd name="connsiteY10" fmla="*/ 86154 h 135384"/>
                  <a:gd name="connsiteX11" fmla="*/ 132307 w 135384"/>
                  <a:gd name="connsiteY11" fmla="*/ 92308 h 13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5384" h="135384">
                    <a:moveTo>
                      <a:pt x="135384" y="55385"/>
                    </a:moveTo>
                    <a:lnTo>
                      <a:pt x="86153" y="52308"/>
                    </a:lnTo>
                    <a:lnTo>
                      <a:pt x="92308" y="3077"/>
                    </a:lnTo>
                    <a:lnTo>
                      <a:pt x="55384" y="0"/>
                    </a:lnTo>
                    <a:lnTo>
                      <a:pt x="52308" y="49231"/>
                    </a:lnTo>
                    <a:lnTo>
                      <a:pt x="3077" y="43077"/>
                    </a:lnTo>
                    <a:lnTo>
                      <a:pt x="0" y="80000"/>
                    </a:lnTo>
                    <a:lnTo>
                      <a:pt x="49231" y="83077"/>
                    </a:lnTo>
                    <a:lnTo>
                      <a:pt x="43077" y="132308"/>
                    </a:lnTo>
                    <a:lnTo>
                      <a:pt x="76923" y="135385"/>
                    </a:lnTo>
                    <a:lnTo>
                      <a:pt x="83077" y="86154"/>
                    </a:lnTo>
                    <a:lnTo>
                      <a:pt x="132307" y="92308"/>
                    </a:ln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20" name="任意多边形: 形状 919">
              <a:extLst>
                <a:ext uri="{FF2B5EF4-FFF2-40B4-BE49-F238E27FC236}">
                  <a16:creationId xmlns:a16="http://schemas.microsoft.com/office/drawing/2014/main" id="{9D4A4A99-9040-44A3-B0A7-4E9C7C708DED}"/>
                </a:ext>
              </a:extLst>
            </p:cNvPr>
            <p:cNvSpPr/>
            <p:nvPr/>
          </p:nvSpPr>
          <p:spPr>
            <a:xfrm>
              <a:off x="13062976" y="3738279"/>
              <a:ext cx="425536" cy="336050"/>
            </a:xfrm>
            <a:custGeom>
              <a:avLst/>
              <a:gdLst>
                <a:gd name="connsiteX0" fmla="*/ 920 w 425536"/>
                <a:gd name="connsiteY0" fmla="*/ 141539 h 336050"/>
                <a:gd name="connsiteX1" fmla="*/ 323997 w 425536"/>
                <a:gd name="connsiteY1" fmla="*/ 150769 h 336050"/>
                <a:gd name="connsiteX2" fmla="*/ 416305 w 425536"/>
                <a:gd name="connsiteY2" fmla="*/ 0 h 336050"/>
                <a:gd name="connsiteX3" fmla="*/ 425536 w 425536"/>
                <a:gd name="connsiteY3" fmla="*/ 24615 h 336050"/>
                <a:gd name="connsiteX4" fmla="*/ 348613 w 425536"/>
                <a:gd name="connsiteY4" fmla="*/ 166154 h 336050"/>
                <a:gd name="connsiteX5" fmla="*/ 323997 w 425536"/>
                <a:gd name="connsiteY5" fmla="*/ 286154 h 336050"/>
                <a:gd name="connsiteX6" fmla="*/ 400920 w 425536"/>
                <a:gd name="connsiteY6" fmla="*/ 215385 h 336050"/>
                <a:gd name="connsiteX7" fmla="*/ 391690 w 425536"/>
                <a:gd name="connsiteY7" fmla="*/ 246154 h 336050"/>
                <a:gd name="connsiteX8" fmla="*/ 305536 w 425536"/>
                <a:gd name="connsiteY8" fmla="*/ 323077 h 336050"/>
                <a:gd name="connsiteX9" fmla="*/ 31690 w 425536"/>
                <a:gd name="connsiteY9" fmla="*/ 313846 h 336050"/>
                <a:gd name="connsiteX10" fmla="*/ 920 w 425536"/>
                <a:gd name="connsiteY10" fmla="*/ 141539 h 33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5536" h="336050">
                  <a:moveTo>
                    <a:pt x="920" y="141539"/>
                  </a:moveTo>
                  <a:cubicBezTo>
                    <a:pt x="90151" y="175385"/>
                    <a:pt x="259382" y="153846"/>
                    <a:pt x="323997" y="150769"/>
                  </a:cubicBezTo>
                  <a:cubicBezTo>
                    <a:pt x="391690" y="58462"/>
                    <a:pt x="416305" y="0"/>
                    <a:pt x="416305" y="0"/>
                  </a:cubicBezTo>
                  <a:lnTo>
                    <a:pt x="425536" y="24615"/>
                  </a:lnTo>
                  <a:lnTo>
                    <a:pt x="348613" y="166154"/>
                  </a:lnTo>
                  <a:cubicBezTo>
                    <a:pt x="357844" y="212308"/>
                    <a:pt x="339382" y="255385"/>
                    <a:pt x="323997" y="286154"/>
                  </a:cubicBezTo>
                  <a:lnTo>
                    <a:pt x="400920" y="215385"/>
                  </a:lnTo>
                  <a:lnTo>
                    <a:pt x="391690" y="246154"/>
                  </a:lnTo>
                  <a:lnTo>
                    <a:pt x="305536" y="323077"/>
                  </a:lnTo>
                  <a:cubicBezTo>
                    <a:pt x="154767" y="356923"/>
                    <a:pt x="31690" y="313846"/>
                    <a:pt x="31690" y="313846"/>
                  </a:cubicBezTo>
                  <a:cubicBezTo>
                    <a:pt x="-8310" y="261538"/>
                    <a:pt x="920" y="141539"/>
                    <a:pt x="920" y="141539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127729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C3FBEFA1-D2F5-4906-A71D-39C33B1C8AC8}"/>
              </a:ext>
            </a:extLst>
          </p:cNvPr>
          <p:cNvGrpSpPr/>
          <p:nvPr/>
        </p:nvGrpSpPr>
        <p:grpSpPr>
          <a:xfrm>
            <a:off x="6724968" y="2198529"/>
            <a:ext cx="2587691" cy="4658192"/>
            <a:chOff x="23771589" y="2749577"/>
            <a:chExt cx="2587691" cy="4658192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86253E2F-20C4-45C1-BF3A-DE17C043D7B0}"/>
                </a:ext>
              </a:extLst>
            </p:cNvPr>
            <p:cNvSpPr/>
            <p:nvPr/>
          </p:nvSpPr>
          <p:spPr>
            <a:xfrm>
              <a:off x="24657743" y="5236741"/>
              <a:ext cx="981537" cy="583589"/>
            </a:xfrm>
            <a:custGeom>
              <a:avLst/>
              <a:gdLst>
                <a:gd name="connsiteX0" fmla="*/ 0 w 981537"/>
                <a:gd name="connsiteY0" fmla="*/ 575385 h 583589"/>
                <a:gd name="connsiteX1" fmla="*/ 981537 w 981537"/>
                <a:gd name="connsiteY1" fmla="*/ 575385 h 583589"/>
                <a:gd name="connsiteX2" fmla="*/ 910768 w 981537"/>
                <a:gd name="connsiteY2" fmla="*/ 101539 h 583589"/>
                <a:gd name="connsiteX3" fmla="*/ 236923 w 981537"/>
                <a:gd name="connsiteY3" fmla="*/ 0 h 583589"/>
                <a:gd name="connsiteX4" fmla="*/ 0 w 981537"/>
                <a:gd name="connsiteY4" fmla="*/ 575385 h 583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1537" h="583589">
                  <a:moveTo>
                    <a:pt x="0" y="575385"/>
                  </a:moveTo>
                  <a:cubicBezTo>
                    <a:pt x="0" y="575385"/>
                    <a:pt x="689230" y="593846"/>
                    <a:pt x="981537" y="575385"/>
                  </a:cubicBezTo>
                  <a:lnTo>
                    <a:pt x="910768" y="101539"/>
                  </a:lnTo>
                  <a:lnTo>
                    <a:pt x="236923" y="0"/>
                  </a:lnTo>
                  <a:lnTo>
                    <a:pt x="0" y="575385"/>
                  </a:ln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6595239D-B2F2-4FC2-9172-FF7FA4C84628}"/>
                </a:ext>
              </a:extLst>
            </p:cNvPr>
            <p:cNvSpPr/>
            <p:nvPr/>
          </p:nvSpPr>
          <p:spPr>
            <a:xfrm>
              <a:off x="24726204" y="2904222"/>
              <a:ext cx="479786" cy="809145"/>
            </a:xfrm>
            <a:custGeom>
              <a:avLst/>
              <a:gdLst>
                <a:gd name="connsiteX0" fmla="*/ 8462 w 479786"/>
                <a:gd name="connsiteY0" fmla="*/ 769442 h 809145"/>
                <a:gd name="connsiteX1" fmla="*/ 236153 w 479786"/>
                <a:gd name="connsiteY1" fmla="*/ 781750 h 809145"/>
                <a:gd name="connsiteX2" fmla="*/ 322309 w 479786"/>
                <a:gd name="connsiteY2" fmla="*/ 572519 h 809145"/>
                <a:gd name="connsiteX3" fmla="*/ 408462 w 479786"/>
                <a:gd name="connsiteY3" fmla="*/ 615596 h 809145"/>
                <a:gd name="connsiteX4" fmla="*/ 359230 w 479786"/>
                <a:gd name="connsiteY4" fmla="*/ 347904 h 809145"/>
                <a:gd name="connsiteX5" fmla="*/ 408462 w 479786"/>
                <a:gd name="connsiteY5" fmla="*/ 203288 h 809145"/>
                <a:gd name="connsiteX6" fmla="*/ 436153 w 479786"/>
                <a:gd name="connsiteY6" fmla="*/ 123288 h 809145"/>
                <a:gd name="connsiteX7" fmla="*/ 473077 w 479786"/>
                <a:gd name="connsiteY7" fmla="*/ 104827 h 809145"/>
                <a:gd name="connsiteX8" fmla="*/ 466923 w 479786"/>
                <a:gd name="connsiteY8" fmla="*/ 77134 h 809145"/>
                <a:gd name="connsiteX9" fmla="*/ 322309 w 479786"/>
                <a:gd name="connsiteY9" fmla="*/ 211 h 809145"/>
                <a:gd name="connsiteX10" fmla="*/ 257692 w 479786"/>
                <a:gd name="connsiteY10" fmla="*/ 24827 h 809145"/>
                <a:gd name="connsiteX11" fmla="*/ 230001 w 479786"/>
                <a:gd name="connsiteY11" fmla="*/ 64827 h 809145"/>
                <a:gd name="connsiteX12" fmla="*/ 137693 w 479786"/>
                <a:gd name="connsiteY12" fmla="*/ 150980 h 809145"/>
                <a:gd name="connsiteX13" fmla="*/ 82307 w 479786"/>
                <a:gd name="connsiteY13" fmla="*/ 246365 h 809145"/>
                <a:gd name="connsiteX14" fmla="*/ 88462 w 479786"/>
                <a:gd name="connsiteY14" fmla="*/ 261750 h 809145"/>
                <a:gd name="connsiteX15" fmla="*/ 70001 w 479786"/>
                <a:gd name="connsiteY15" fmla="*/ 350980 h 809145"/>
                <a:gd name="connsiteX16" fmla="*/ 48462 w 479786"/>
                <a:gd name="connsiteY16" fmla="*/ 477134 h 809145"/>
                <a:gd name="connsiteX17" fmla="*/ 23847 w 479786"/>
                <a:gd name="connsiteY17" fmla="*/ 600211 h 809145"/>
                <a:gd name="connsiteX18" fmla="*/ 17693 w 479786"/>
                <a:gd name="connsiteY18" fmla="*/ 692519 h 809145"/>
                <a:gd name="connsiteX19" fmla="*/ 5384 w 479786"/>
                <a:gd name="connsiteY19" fmla="*/ 720211 h 809145"/>
                <a:gd name="connsiteX20" fmla="*/ 8462 w 479786"/>
                <a:gd name="connsiteY20" fmla="*/ 769442 h 809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79786" h="809145">
                  <a:moveTo>
                    <a:pt x="8462" y="769442"/>
                  </a:moveTo>
                  <a:cubicBezTo>
                    <a:pt x="45386" y="830981"/>
                    <a:pt x="183847" y="809442"/>
                    <a:pt x="236153" y="781750"/>
                  </a:cubicBezTo>
                  <a:cubicBezTo>
                    <a:pt x="328461" y="735596"/>
                    <a:pt x="343846" y="652519"/>
                    <a:pt x="322309" y="572519"/>
                  </a:cubicBezTo>
                  <a:cubicBezTo>
                    <a:pt x="411538" y="646365"/>
                    <a:pt x="399232" y="667904"/>
                    <a:pt x="408462" y="615596"/>
                  </a:cubicBezTo>
                  <a:cubicBezTo>
                    <a:pt x="417693" y="572519"/>
                    <a:pt x="353078" y="400211"/>
                    <a:pt x="359230" y="347904"/>
                  </a:cubicBezTo>
                  <a:cubicBezTo>
                    <a:pt x="368463" y="295596"/>
                    <a:pt x="383847" y="249442"/>
                    <a:pt x="408462" y="203288"/>
                  </a:cubicBezTo>
                  <a:cubicBezTo>
                    <a:pt x="417693" y="181750"/>
                    <a:pt x="426923" y="150980"/>
                    <a:pt x="436153" y="123288"/>
                  </a:cubicBezTo>
                  <a:cubicBezTo>
                    <a:pt x="448462" y="117134"/>
                    <a:pt x="460770" y="110980"/>
                    <a:pt x="473077" y="104827"/>
                  </a:cubicBezTo>
                  <a:cubicBezTo>
                    <a:pt x="485385" y="95596"/>
                    <a:pt x="479231" y="80211"/>
                    <a:pt x="466923" y="77134"/>
                  </a:cubicBezTo>
                  <a:cubicBezTo>
                    <a:pt x="448462" y="27904"/>
                    <a:pt x="380769" y="-2866"/>
                    <a:pt x="322309" y="211"/>
                  </a:cubicBezTo>
                  <a:cubicBezTo>
                    <a:pt x="306924" y="211"/>
                    <a:pt x="279231" y="9442"/>
                    <a:pt x="257692" y="24827"/>
                  </a:cubicBezTo>
                  <a:cubicBezTo>
                    <a:pt x="248462" y="30980"/>
                    <a:pt x="236153" y="55596"/>
                    <a:pt x="230001" y="64827"/>
                  </a:cubicBezTo>
                  <a:cubicBezTo>
                    <a:pt x="168463" y="58673"/>
                    <a:pt x="128461" y="89442"/>
                    <a:pt x="137693" y="150980"/>
                  </a:cubicBezTo>
                  <a:cubicBezTo>
                    <a:pt x="91540" y="150980"/>
                    <a:pt x="73077" y="200211"/>
                    <a:pt x="82307" y="246365"/>
                  </a:cubicBezTo>
                  <a:cubicBezTo>
                    <a:pt x="85385" y="255596"/>
                    <a:pt x="85385" y="258673"/>
                    <a:pt x="88462" y="261750"/>
                  </a:cubicBezTo>
                  <a:cubicBezTo>
                    <a:pt x="63847" y="286365"/>
                    <a:pt x="54616" y="320211"/>
                    <a:pt x="70001" y="350980"/>
                  </a:cubicBezTo>
                  <a:cubicBezTo>
                    <a:pt x="26923" y="372519"/>
                    <a:pt x="23847" y="437134"/>
                    <a:pt x="48462" y="477134"/>
                  </a:cubicBezTo>
                  <a:cubicBezTo>
                    <a:pt x="5384" y="504827"/>
                    <a:pt x="5384" y="554057"/>
                    <a:pt x="23847" y="600211"/>
                  </a:cubicBezTo>
                  <a:cubicBezTo>
                    <a:pt x="-10000" y="621750"/>
                    <a:pt x="-3846" y="661750"/>
                    <a:pt x="17693" y="692519"/>
                  </a:cubicBezTo>
                  <a:cubicBezTo>
                    <a:pt x="8462" y="701750"/>
                    <a:pt x="5384" y="710980"/>
                    <a:pt x="5384" y="720211"/>
                  </a:cubicBezTo>
                  <a:cubicBezTo>
                    <a:pt x="-768" y="735596"/>
                    <a:pt x="-768" y="750980"/>
                    <a:pt x="8462" y="769442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1CBE4CFD-1BB8-4561-A563-536E0EA591DD}"/>
                </a:ext>
              </a:extLst>
            </p:cNvPr>
            <p:cNvSpPr/>
            <p:nvPr/>
          </p:nvSpPr>
          <p:spPr>
            <a:xfrm>
              <a:off x="25091406" y="2905961"/>
              <a:ext cx="608503" cy="973038"/>
            </a:xfrm>
            <a:custGeom>
              <a:avLst/>
              <a:gdLst>
                <a:gd name="connsiteX0" fmla="*/ 49414 w 608503"/>
                <a:gd name="connsiteY0" fmla="*/ 266164 h 973038"/>
                <a:gd name="connsiteX1" fmla="*/ 70951 w 608503"/>
                <a:gd name="connsiteY1" fmla="*/ 90779 h 973038"/>
                <a:gd name="connsiteX2" fmla="*/ 67874 w 608503"/>
                <a:gd name="connsiteY2" fmla="*/ 75395 h 973038"/>
                <a:gd name="connsiteX3" fmla="*/ 234029 w 608503"/>
                <a:gd name="connsiteY3" fmla="*/ 53856 h 973038"/>
                <a:gd name="connsiteX4" fmla="*/ 320183 w 608503"/>
                <a:gd name="connsiteY4" fmla="*/ 140010 h 973038"/>
                <a:gd name="connsiteX5" fmla="*/ 403260 w 608503"/>
                <a:gd name="connsiteY5" fmla="*/ 253856 h 973038"/>
                <a:gd name="connsiteX6" fmla="*/ 440181 w 608503"/>
                <a:gd name="connsiteY6" fmla="*/ 287702 h 973038"/>
                <a:gd name="connsiteX7" fmla="*/ 430951 w 608503"/>
                <a:gd name="connsiteY7" fmla="*/ 340010 h 973038"/>
                <a:gd name="connsiteX8" fmla="*/ 474029 w 608503"/>
                <a:gd name="connsiteY8" fmla="*/ 407702 h 973038"/>
                <a:gd name="connsiteX9" fmla="*/ 467874 w 608503"/>
                <a:gd name="connsiteY9" fmla="*/ 450779 h 973038"/>
                <a:gd name="connsiteX10" fmla="*/ 550952 w 608503"/>
                <a:gd name="connsiteY10" fmla="*/ 527703 h 973038"/>
                <a:gd name="connsiteX11" fmla="*/ 523259 w 608503"/>
                <a:gd name="connsiteY11" fmla="*/ 598472 h 973038"/>
                <a:gd name="connsiteX12" fmla="*/ 566336 w 608503"/>
                <a:gd name="connsiteY12" fmla="*/ 770779 h 973038"/>
                <a:gd name="connsiteX13" fmla="*/ 590951 w 608503"/>
                <a:gd name="connsiteY13" fmla="*/ 896933 h 973038"/>
                <a:gd name="connsiteX14" fmla="*/ 517104 w 608503"/>
                <a:gd name="connsiteY14" fmla="*/ 900010 h 973038"/>
                <a:gd name="connsiteX15" fmla="*/ 409412 w 608503"/>
                <a:gd name="connsiteY15" fmla="*/ 970779 h 973038"/>
                <a:gd name="connsiteX16" fmla="*/ 341721 w 608503"/>
                <a:gd name="connsiteY16" fmla="*/ 838472 h 973038"/>
                <a:gd name="connsiteX17" fmla="*/ 304798 w 608503"/>
                <a:gd name="connsiteY17" fmla="*/ 804626 h 973038"/>
                <a:gd name="connsiteX18" fmla="*/ 267874 w 608503"/>
                <a:gd name="connsiteY18" fmla="*/ 789241 h 973038"/>
                <a:gd name="connsiteX19" fmla="*/ 101720 w 608503"/>
                <a:gd name="connsiteY19" fmla="*/ 724626 h 973038"/>
                <a:gd name="connsiteX20" fmla="*/ 30951 w 608503"/>
                <a:gd name="connsiteY20" fmla="*/ 669241 h 973038"/>
                <a:gd name="connsiteX21" fmla="*/ 49414 w 608503"/>
                <a:gd name="connsiteY21" fmla="*/ 493856 h 973038"/>
                <a:gd name="connsiteX22" fmla="*/ 49414 w 608503"/>
                <a:gd name="connsiteY22" fmla="*/ 266164 h 973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08503" h="973038">
                  <a:moveTo>
                    <a:pt x="49414" y="266164"/>
                  </a:moveTo>
                  <a:cubicBezTo>
                    <a:pt x="-9049" y="220010"/>
                    <a:pt x="40181" y="143087"/>
                    <a:pt x="70951" y="90779"/>
                  </a:cubicBezTo>
                  <a:cubicBezTo>
                    <a:pt x="67874" y="87702"/>
                    <a:pt x="64798" y="81549"/>
                    <a:pt x="67874" y="75395"/>
                  </a:cubicBezTo>
                  <a:cubicBezTo>
                    <a:pt x="89413" y="-7682"/>
                    <a:pt x="237105" y="-32298"/>
                    <a:pt x="234029" y="53856"/>
                  </a:cubicBezTo>
                  <a:cubicBezTo>
                    <a:pt x="270951" y="56933"/>
                    <a:pt x="320183" y="140010"/>
                    <a:pt x="320183" y="140010"/>
                  </a:cubicBezTo>
                  <a:cubicBezTo>
                    <a:pt x="375567" y="140010"/>
                    <a:pt x="409412" y="201549"/>
                    <a:pt x="403260" y="253856"/>
                  </a:cubicBezTo>
                  <a:cubicBezTo>
                    <a:pt x="421721" y="256933"/>
                    <a:pt x="434029" y="266164"/>
                    <a:pt x="440181" y="287702"/>
                  </a:cubicBezTo>
                  <a:cubicBezTo>
                    <a:pt x="446336" y="306164"/>
                    <a:pt x="427875" y="327702"/>
                    <a:pt x="430951" y="340010"/>
                  </a:cubicBezTo>
                  <a:cubicBezTo>
                    <a:pt x="458644" y="349241"/>
                    <a:pt x="470951" y="376933"/>
                    <a:pt x="474029" y="407702"/>
                  </a:cubicBezTo>
                  <a:cubicBezTo>
                    <a:pt x="477105" y="426164"/>
                    <a:pt x="474029" y="438472"/>
                    <a:pt x="467874" y="450779"/>
                  </a:cubicBezTo>
                  <a:cubicBezTo>
                    <a:pt x="504798" y="463087"/>
                    <a:pt x="544798" y="484626"/>
                    <a:pt x="550952" y="527703"/>
                  </a:cubicBezTo>
                  <a:cubicBezTo>
                    <a:pt x="557106" y="558472"/>
                    <a:pt x="544798" y="583087"/>
                    <a:pt x="523259" y="598472"/>
                  </a:cubicBezTo>
                  <a:cubicBezTo>
                    <a:pt x="569413" y="644626"/>
                    <a:pt x="630951" y="740010"/>
                    <a:pt x="566336" y="770779"/>
                  </a:cubicBezTo>
                  <a:cubicBezTo>
                    <a:pt x="600182" y="804626"/>
                    <a:pt x="627875" y="856933"/>
                    <a:pt x="590951" y="896933"/>
                  </a:cubicBezTo>
                  <a:cubicBezTo>
                    <a:pt x="566336" y="921549"/>
                    <a:pt x="535567" y="918472"/>
                    <a:pt x="517104" y="900010"/>
                  </a:cubicBezTo>
                  <a:cubicBezTo>
                    <a:pt x="495568" y="943087"/>
                    <a:pt x="461720" y="983087"/>
                    <a:pt x="409412" y="970779"/>
                  </a:cubicBezTo>
                  <a:cubicBezTo>
                    <a:pt x="347874" y="955395"/>
                    <a:pt x="335567" y="893856"/>
                    <a:pt x="341721" y="838472"/>
                  </a:cubicBezTo>
                  <a:cubicBezTo>
                    <a:pt x="326337" y="832318"/>
                    <a:pt x="314028" y="820010"/>
                    <a:pt x="304798" y="804626"/>
                  </a:cubicBezTo>
                  <a:cubicBezTo>
                    <a:pt x="292489" y="801549"/>
                    <a:pt x="280183" y="795395"/>
                    <a:pt x="267874" y="789241"/>
                  </a:cubicBezTo>
                  <a:cubicBezTo>
                    <a:pt x="218644" y="875395"/>
                    <a:pt x="89413" y="826164"/>
                    <a:pt x="101720" y="724626"/>
                  </a:cubicBezTo>
                  <a:cubicBezTo>
                    <a:pt x="61720" y="721549"/>
                    <a:pt x="46336" y="721549"/>
                    <a:pt x="30951" y="669241"/>
                  </a:cubicBezTo>
                  <a:cubicBezTo>
                    <a:pt x="15566" y="610779"/>
                    <a:pt x="24797" y="549241"/>
                    <a:pt x="49414" y="493856"/>
                  </a:cubicBezTo>
                  <a:cubicBezTo>
                    <a:pt x="-33664" y="438472"/>
                    <a:pt x="3260" y="349241"/>
                    <a:pt x="49414" y="266164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7554F2B5-4CEF-4B64-8612-F5F7AD0A358A}"/>
                </a:ext>
              </a:extLst>
            </p:cNvPr>
            <p:cNvGrpSpPr/>
            <p:nvPr/>
          </p:nvGrpSpPr>
          <p:grpSpPr>
            <a:xfrm>
              <a:off x="24623437" y="7042894"/>
              <a:ext cx="398920" cy="364875"/>
              <a:chOff x="24623437" y="7042894"/>
              <a:chExt cx="398920" cy="364875"/>
            </a:xfrm>
          </p:grpSpPr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D9605788-6248-4D00-9190-7C12B469277C}"/>
                  </a:ext>
                </a:extLst>
              </p:cNvPr>
              <p:cNvSpPr/>
              <p:nvPr/>
            </p:nvSpPr>
            <p:spPr>
              <a:xfrm>
                <a:off x="24623437" y="7169048"/>
                <a:ext cx="398920" cy="238721"/>
              </a:xfrm>
              <a:custGeom>
                <a:avLst/>
                <a:gdLst>
                  <a:gd name="connsiteX0" fmla="*/ 289690 w 398920"/>
                  <a:gd name="connsiteY0" fmla="*/ 0 h 238721"/>
                  <a:gd name="connsiteX1" fmla="*/ 129689 w 398920"/>
                  <a:gd name="connsiteY1" fmla="*/ 126154 h 238721"/>
                  <a:gd name="connsiteX2" fmla="*/ 326613 w 398920"/>
                  <a:gd name="connsiteY2" fmla="*/ 76923 h 238721"/>
                  <a:gd name="connsiteX3" fmla="*/ 397382 w 398920"/>
                  <a:gd name="connsiteY3" fmla="*/ 52308 h 238721"/>
                  <a:gd name="connsiteX4" fmla="*/ 391228 w 398920"/>
                  <a:gd name="connsiteY4" fmla="*/ 160000 h 238721"/>
                  <a:gd name="connsiteX5" fmla="*/ 157382 w 398920"/>
                  <a:gd name="connsiteY5" fmla="*/ 233846 h 238721"/>
                  <a:gd name="connsiteX6" fmla="*/ 18921 w 398920"/>
                  <a:gd name="connsiteY6" fmla="*/ 233846 h 238721"/>
                  <a:gd name="connsiteX7" fmla="*/ 12767 w 398920"/>
                  <a:gd name="connsiteY7" fmla="*/ 178462 h 238721"/>
                  <a:gd name="connsiteX8" fmla="*/ 289690 w 398920"/>
                  <a:gd name="connsiteY8" fmla="*/ 0 h 238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8920" h="238721">
                    <a:moveTo>
                      <a:pt x="289690" y="0"/>
                    </a:moveTo>
                    <a:cubicBezTo>
                      <a:pt x="289690" y="0"/>
                      <a:pt x="114305" y="113846"/>
                      <a:pt x="129689" y="126154"/>
                    </a:cubicBezTo>
                    <a:cubicBezTo>
                      <a:pt x="141998" y="141538"/>
                      <a:pt x="326613" y="76923"/>
                      <a:pt x="326613" y="76923"/>
                    </a:cubicBezTo>
                    <a:lnTo>
                      <a:pt x="397382" y="52308"/>
                    </a:lnTo>
                    <a:cubicBezTo>
                      <a:pt x="397382" y="52308"/>
                      <a:pt x="403536" y="135384"/>
                      <a:pt x="391228" y="160000"/>
                    </a:cubicBezTo>
                    <a:cubicBezTo>
                      <a:pt x="317383" y="196923"/>
                      <a:pt x="231227" y="221538"/>
                      <a:pt x="157382" y="233846"/>
                    </a:cubicBezTo>
                    <a:cubicBezTo>
                      <a:pt x="111229" y="243077"/>
                      <a:pt x="28151" y="236923"/>
                      <a:pt x="18921" y="233846"/>
                    </a:cubicBezTo>
                    <a:cubicBezTo>
                      <a:pt x="9690" y="230769"/>
                      <a:pt x="-14926" y="206154"/>
                      <a:pt x="12767" y="178462"/>
                    </a:cubicBezTo>
                    <a:cubicBezTo>
                      <a:pt x="77381" y="110769"/>
                      <a:pt x="289690" y="0"/>
                      <a:pt x="289690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E609DB22-005E-486E-A652-A89BE7D33CF5}"/>
                  </a:ext>
                </a:extLst>
              </p:cNvPr>
              <p:cNvSpPr/>
              <p:nvPr/>
            </p:nvSpPr>
            <p:spPr>
              <a:xfrm>
                <a:off x="24751787" y="7042894"/>
                <a:ext cx="269032" cy="256418"/>
              </a:xfrm>
              <a:custGeom>
                <a:avLst/>
                <a:gdLst>
                  <a:gd name="connsiteX0" fmla="*/ 145955 w 269032"/>
                  <a:gd name="connsiteY0" fmla="*/ 0 h 256418"/>
                  <a:gd name="connsiteX1" fmla="*/ 161340 w 269032"/>
                  <a:gd name="connsiteY1" fmla="*/ 126154 h 256418"/>
                  <a:gd name="connsiteX2" fmla="*/ 1339 w 269032"/>
                  <a:gd name="connsiteY2" fmla="*/ 252308 h 256418"/>
                  <a:gd name="connsiteX3" fmla="*/ 241339 w 269032"/>
                  <a:gd name="connsiteY3" fmla="*/ 209231 h 256418"/>
                  <a:gd name="connsiteX4" fmla="*/ 269032 w 269032"/>
                  <a:gd name="connsiteY4" fmla="*/ 178462 h 256418"/>
                  <a:gd name="connsiteX5" fmla="*/ 269032 w 269032"/>
                  <a:gd name="connsiteY5" fmla="*/ 43077 h 256418"/>
                  <a:gd name="connsiteX6" fmla="*/ 145955 w 269032"/>
                  <a:gd name="connsiteY6" fmla="*/ 0 h 256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032" h="256418">
                    <a:moveTo>
                      <a:pt x="145955" y="0"/>
                    </a:moveTo>
                    <a:lnTo>
                      <a:pt x="161340" y="126154"/>
                    </a:lnTo>
                    <a:cubicBezTo>
                      <a:pt x="161340" y="126154"/>
                      <a:pt x="-17121" y="230769"/>
                      <a:pt x="1339" y="252308"/>
                    </a:cubicBezTo>
                    <a:cubicBezTo>
                      <a:pt x="13648" y="267692"/>
                      <a:pt x="170570" y="236923"/>
                      <a:pt x="241339" y="209231"/>
                    </a:cubicBezTo>
                    <a:cubicBezTo>
                      <a:pt x="265956" y="200000"/>
                      <a:pt x="269032" y="178462"/>
                      <a:pt x="269032" y="178462"/>
                    </a:cubicBezTo>
                    <a:lnTo>
                      <a:pt x="269032" y="43077"/>
                    </a:lnTo>
                    <a:lnTo>
                      <a:pt x="145955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A0E41269-EA64-4E2C-B758-3DE63E7A2C48}"/>
                </a:ext>
              </a:extLst>
            </p:cNvPr>
            <p:cNvGrpSpPr/>
            <p:nvPr/>
          </p:nvGrpSpPr>
          <p:grpSpPr>
            <a:xfrm>
              <a:off x="25919281" y="6716741"/>
              <a:ext cx="301538" cy="490647"/>
              <a:chOff x="25919281" y="6716741"/>
              <a:chExt cx="301538" cy="490647"/>
            </a:xfrm>
          </p:grpSpPr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32A5DEEC-039C-4EE2-8414-1AECC57DC8B7}"/>
                  </a:ext>
                </a:extLst>
              </p:cNvPr>
              <p:cNvSpPr/>
              <p:nvPr/>
            </p:nvSpPr>
            <p:spPr>
              <a:xfrm>
                <a:off x="26013090" y="6790587"/>
                <a:ext cx="207729" cy="416801"/>
              </a:xfrm>
              <a:custGeom>
                <a:avLst/>
                <a:gdLst>
                  <a:gd name="connsiteX0" fmla="*/ 16960 w 207729"/>
                  <a:gd name="connsiteY0" fmla="*/ 61538 h 416801"/>
                  <a:gd name="connsiteX1" fmla="*/ 32345 w 207729"/>
                  <a:gd name="connsiteY1" fmla="*/ 264616 h 416801"/>
                  <a:gd name="connsiteX2" fmla="*/ 103113 w 207729"/>
                  <a:gd name="connsiteY2" fmla="*/ 73846 h 416801"/>
                  <a:gd name="connsiteX3" fmla="*/ 121576 w 207729"/>
                  <a:gd name="connsiteY3" fmla="*/ 0 h 416801"/>
                  <a:gd name="connsiteX4" fmla="*/ 207730 w 207729"/>
                  <a:gd name="connsiteY4" fmla="*/ 64616 h 416801"/>
                  <a:gd name="connsiteX5" fmla="*/ 136961 w 207729"/>
                  <a:gd name="connsiteY5" fmla="*/ 298461 h 416801"/>
                  <a:gd name="connsiteX6" fmla="*/ 56960 w 207729"/>
                  <a:gd name="connsiteY6" fmla="*/ 412308 h 416801"/>
                  <a:gd name="connsiteX7" fmla="*/ 4653 w 207729"/>
                  <a:gd name="connsiteY7" fmla="*/ 384615 h 416801"/>
                  <a:gd name="connsiteX8" fmla="*/ 16960 w 207729"/>
                  <a:gd name="connsiteY8" fmla="*/ 61538 h 416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7729" h="416801">
                    <a:moveTo>
                      <a:pt x="16960" y="61538"/>
                    </a:moveTo>
                    <a:cubicBezTo>
                      <a:pt x="16960" y="61538"/>
                      <a:pt x="13884" y="270769"/>
                      <a:pt x="32345" y="264616"/>
                    </a:cubicBezTo>
                    <a:cubicBezTo>
                      <a:pt x="50807" y="261538"/>
                      <a:pt x="103113" y="73846"/>
                      <a:pt x="103113" y="73846"/>
                    </a:cubicBezTo>
                    <a:lnTo>
                      <a:pt x="121576" y="0"/>
                    </a:lnTo>
                    <a:cubicBezTo>
                      <a:pt x="121576" y="0"/>
                      <a:pt x="192345" y="43077"/>
                      <a:pt x="207730" y="64616"/>
                    </a:cubicBezTo>
                    <a:cubicBezTo>
                      <a:pt x="198499" y="144615"/>
                      <a:pt x="167730" y="230769"/>
                      <a:pt x="136961" y="298461"/>
                    </a:cubicBezTo>
                    <a:cubicBezTo>
                      <a:pt x="118498" y="341539"/>
                      <a:pt x="66192" y="409231"/>
                      <a:pt x="56960" y="412308"/>
                    </a:cubicBezTo>
                    <a:cubicBezTo>
                      <a:pt x="47729" y="418462"/>
                      <a:pt x="13884" y="424615"/>
                      <a:pt x="4653" y="384615"/>
                    </a:cubicBezTo>
                    <a:cubicBezTo>
                      <a:pt x="-10731" y="301539"/>
                      <a:pt x="16960" y="61538"/>
                      <a:pt x="16960" y="61538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E2226E67-03DA-4D80-9DBF-77C047722132}"/>
                  </a:ext>
                </a:extLst>
              </p:cNvPr>
              <p:cNvSpPr/>
              <p:nvPr/>
            </p:nvSpPr>
            <p:spPr>
              <a:xfrm>
                <a:off x="25919281" y="6716741"/>
                <a:ext cx="228947" cy="338495"/>
              </a:xfrm>
              <a:custGeom>
                <a:avLst/>
                <a:gdLst>
                  <a:gd name="connsiteX0" fmla="*/ 0 w 228947"/>
                  <a:gd name="connsiteY0" fmla="*/ 76923 h 338495"/>
                  <a:gd name="connsiteX1" fmla="*/ 110768 w 228947"/>
                  <a:gd name="connsiteY1" fmla="*/ 135384 h 338495"/>
                  <a:gd name="connsiteX2" fmla="*/ 126153 w 228947"/>
                  <a:gd name="connsiteY2" fmla="*/ 338462 h 338495"/>
                  <a:gd name="connsiteX3" fmla="*/ 227691 w 228947"/>
                  <a:gd name="connsiteY3" fmla="*/ 116923 h 338495"/>
                  <a:gd name="connsiteX4" fmla="*/ 215385 w 228947"/>
                  <a:gd name="connsiteY4" fmla="*/ 76923 h 338495"/>
                  <a:gd name="connsiteX5" fmla="*/ 104614 w 228947"/>
                  <a:gd name="connsiteY5" fmla="*/ 0 h 338495"/>
                  <a:gd name="connsiteX6" fmla="*/ 0 w 228947"/>
                  <a:gd name="connsiteY6" fmla="*/ 76923 h 338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8947" h="338495">
                    <a:moveTo>
                      <a:pt x="0" y="76923"/>
                    </a:moveTo>
                    <a:lnTo>
                      <a:pt x="110768" y="135384"/>
                    </a:lnTo>
                    <a:cubicBezTo>
                      <a:pt x="110768" y="135384"/>
                      <a:pt x="98462" y="341538"/>
                      <a:pt x="126153" y="338462"/>
                    </a:cubicBezTo>
                    <a:cubicBezTo>
                      <a:pt x="147692" y="338462"/>
                      <a:pt x="209230" y="190769"/>
                      <a:pt x="227691" y="116923"/>
                    </a:cubicBezTo>
                    <a:cubicBezTo>
                      <a:pt x="233845" y="92308"/>
                      <a:pt x="215385" y="76923"/>
                      <a:pt x="215385" y="76923"/>
                    </a:cubicBezTo>
                    <a:lnTo>
                      <a:pt x="104614" y="0"/>
                    </a:lnTo>
                    <a:lnTo>
                      <a:pt x="0" y="76923"/>
                    </a:ln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DEF07A3F-4326-47A1-A11B-425489A88EBF}"/>
                </a:ext>
              </a:extLst>
            </p:cNvPr>
            <p:cNvGrpSpPr/>
            <p:nvPr/>
          </p:nvGrpSpPr>
          <p:grpSpPr>
            <a:xfrm>
              <a:off x="23771589" y="4599664"/>
              <a:ext cx="355021" cy="284058"/>
              <a:chOff x="23771589" y="4599664"/>
              <a:chExt cx="355021" cy="284058"/>
            </a:xfrm>
          </p:grpSpPr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1E00314D-98C6-4B58-84B8-5F3495C5C50C}"/>
                  </a:ext>
                </a:extLst>
              </p:cNvPr>
              <p:cNvSpPr/>
              <p:nvPr/>
            </p:nvSpPr>
            <p:spPr>
              <a:xfrm>
                <a:off x="23776531" y="4599664"/>
                <a:ext cx="350079" cy="284058"/>
              </a:xfrm>
              <a:custGeom>
                <a:avLst/>
                <a:gdLst>
                  <a:gd name="connsiteX0" fmla="*/ 161212 w 350079"/>
                  <a:gd name="connsiteY0" fmla="*/ 274000 h 284058"/>
                  <a:gd name="connsiteX1" fmla="*/ 235058 w 350079"/>
                  <a:gd name="connsiteY1" fmla="*/ 237077 h 284058"/>
                  <a:gd name="connsiteX2" fmla="*/ 339673 w 350079"/>
                  <a:gd name="connsiteY2" fmla="*/ 157077 h 284058"/>
                  <a:gd name="connsiteX3" fmla="*/ 330442 w 350079"/>
                  <a:gd name="connsiteY3" fmla="*/ 58615 h 284058"/>
                  <a:gd name="connsiteX4" fmla="*/ 324288 w 350079"/>
                  <a:gd name="connsiteY4" fmla="*/ 58615 h 284058"/>
                  <a:gd name="connsiteX5" fmla="*/ 324288 w 350079"/>
                  <a:gd name="connsiteY5" fmla="*/ 55538 h 284058"/>
                  <a:gd name="connsiteX6" fmla="*/ 111982 w 350079"/>
                  <a:gd name="connsiteY6" fmla="*/ 18615 h 284058"/>
                  <a:gd name="connsiteX7" fmla="*/ 111982 w 350079"/>
                  <a:gd name="connsiteY7" fmla="*/ 40154 h 284058"/>
                  <a:gd name="connsiteX8" fmla="*/ 210443 w 350079"/>
                  <a:gd name="connsiteY8" fmla="*/ 67846 h 284058"/>
                  <a:gd name="connsiteX9" fmla="*/ 22750 w 350079"/>
                  <a:gd name="connsiteY9" fmla="*/ 132461 h 284058"/>
                  <a:gd name="connsiteX10" fmla="*/ 13520 w 350079"/>
                  <a:gd name="connsiteY10" fmla="*/ 166308 h 284058"/>
                  <a:gd name="connsiteX11" fmla="*/ 62750 w 350079"/>
                  <a:gd name="connsiteY11" fmla="*/ 157077 h 284058"/>
                  <a:gd name="connsiteX12" fmla="*/ 124288 w 350079"/>
                  <a:gd name="connsiteY12" fmla="*/ 141692 h 284058"/>
                  <a:gd name="connsiteX13" fmla="*/ 53519 w 350079"/>
                  <a:gd name="connsiteY13" fmla="*/ 184769 h 284058"/>
                  <a:gd name="connsiteX14" fmla="*/ 4289 w 350079"/>
                  <a:gd name="connsiteY14" fmla="*/ 218615 h 284058"/>
                  <a:gd name="connsiteX15" fmla="*/ 7365 w 350079"/>
                  <a:gd name="connsiteY15" fmla="*/ 249385 h 284058"/>
                  <a:gd name="connsiteX16" fmla="*/ 41213 w 350079"/>
                  <a:gd name="connsiteY16" fmla="*/ 258615 h 284058"/>
                  <a:gd name="connsiteX17" fmla="*/ 41213 w 350079"/>
                  <a:gd name="connsiteY17" fmla="*/ 261692 h 284058"/>
                  <a:gd name="connsiteX18" fmla="*/ 44289 w 350079"/>
                  <a:gd name="connsiteY18" fmla="*/ 267846 h 284058"/>
                  <a:gd name="connsiteX19" fmla="*/ 96597 w 350079"/>
                  <a:gd name="connsiteY19" fmla="*/ 264769 h 284058"/>
                  <a:gd name="connsiteX20" fmla="*/ 121212 w 350079"/>
                  <a:gd name="connsiteY20" fmla="*/ 252462 h 284058"/>
                  <a:gd name="connsiteX21" fmla="*/ 118136 w 350079"/>
                  <a:gd name="connsiteY21" fmla="*/ 258615 h 284058"/>
                  <a:gd name="connsiteX22" fmla="*/ 121212 w 350079"/>
                  <a:gd name="connsiteY22" fmla="*/ 280154 h 284058"/>
                  <a:gd name="connsiteX23" fmla="*/ 161212 w 350079"/>
                  <a:gd name="connsiteY23" fmla="*/ 274000 h 284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50079" h="284058">
                    <a:moveTo>
                      <a:pt x="161212" y="274000"/>
                    </a:moveTo>
                    <a:cubicBezTo>
                      <a:pt x="185827" y="261692"/>
                      <a:pt x="210443" y="249385"/>
                      <a:pt x="235058" y="237077"/>
                    </a:cubicBezTo>
                    <a:cubicBezTo>
                      <a:pt x="275058" y="218615"/>
                      <a:pt x="324288" y="203231"/>
                      <a:pt x="339673" y="157077"/>
                    </a:cubicBezTo>
                    <a:cubicBezTo>
                      <a:pt x="348905" y="126308"/>
                      <a:pt x="361212" y="83231"/>
                      <a:pt x="330442" y="58615"/>
                    </a:cubicBezTo>
                    <a:cubicBezTo>
                      <a:pt x="327366" y="58615"/>
                      <a:pt x="327366" y="58615"/>
                      <a:pt x="324288" y="58615"/>
                    </a:cubicBezTo>
                    <a:cubicBezTo>
                      <a:pt x="324288" y="58615"/>
                      <a:pt x="324288" y="58615"/>
                      <a:pt x="324288" y="55538"/>
                    </a:cubicBezTo>
                    <a:cubicBezTo>
                      <a:pt x="259673" y="-2923"/>
                      <a:pt x="164290" y="-15231"/>
                      <a:pt x="111982" y="18615"/>
                    </a:cubicBezTo>
                    <a:cubicBezTo>
                      <a:pt x="108903" y="21692"/>
                      <a:pt x="108903" y="37077"/>
                      <a:pt x="111982" y="40154"/>
                    </a:cubicBezTo>
                    <a:cubicBezTo>
                      <a:pt x="145827" y="52462"/>
                      <a:pt x="188905" y="37077"/>
                      <a:pt x="210443" y="67846"/>
                    </a:cubicBezTo>
                    <a:cubicBezTo>
                      <a:pt x="148905" y="95538"/>
                      <a:pt x="78134" y="92462"/>
                      <a:pt x="22750" y="132461"/>
                    </a:cubicBezTo>
                    <a:cubicBezTo>
                      <a:pt x="13520" y="138615"/>
                      <a:pt x="-8019" y="160154"/>
                      <a:pt x="13520" y="166308"/>
                    </a:cubicBezTo>
                    <a:cubicBezTo>
                      <a:pt x="25828" y="169385"/>
                      <a:pt x="47365" y="160154"/>
                      <a:pt x="62750" y="157077"/>
                    </a:cubicBezTo>
                    <a:cubicBezTo>
                      <a:pt x="84288" y="150923"/>
                      <a:pt x="105827" y="147846"/>
                      <a:pt x="124288" y="141692"/>
                    </a:cubicBezTo>
                    <a:cubicBezTo>
                      <a:pt x="99673" y="157077"/>
                      <a:pt x="78134" y="169385"/>
                      <a:pt x="53519" y="184769"/>
                    </a:cubicBezTo>
                    <a:cubicBezTo>
                      <a:pt x="38135" y="194000"/>
                      <a:pt x="16596" y="203231"/>
                      <a:pt x="4289" y="218615"/>
                    </a:cubicBezTo>
                    <a:cubicBezTo>
                      <a:pt x="-1865" y="227846"/>
                      <a:pt x="-1865" y="240154"/>
                      <a:pt x="7365" y="249385"/>
                    </a:cubicBezTo>
                    <a:cubicBezTo>
                      <a:pt x="16596" y="258615"/>
                      <a:pt x="28904" y="258615"/>
                      <a:pt x="41213" y="258615"/>
                    </a:cubicBezTo>
                    <a:cubicBezTo>
                      <a:pt x="41213" y="258615"/>
                      <a:pt x="41213" y="261692"/>
                      <a:pt x="41213" y="261692"/>
                    </a:cubicBezTo>
                    <a:cubicBezTo>
                      <a:pt x="41213" y="264769"/>
                      <a:pt x="41213" y="267846"/>
                      <a:pt x="44289" y="267846"/>
                    </a:cubicBezTo>
                    <a:cubicBezTo>
                      <a:pt x="62750" y="277077"/>
                      <a:pt x="78134" y="274000"/>
                      <a:pt x="96597" y="264769"/>
                    </a:cubicBezTo>
                    <a:cubicBezTo>
                      <a:pt x="105827" y="261692"/>
                      <a:pt x="111982" y="255538"/>
                      <a:pt x="121212" y="252462"/>
                    </a:cubicBezTo>
                    <a:cubicBezTo>
                      <a:pt x="118136" y="255538"/>
                      <a:pt x="118136" y="255538"/>
                      <a:pt x="118136" y="258615"/>
                    </a:cubicBezTo>
                    <a:cubicBezTo>
                      <a:pt x="115058" y="264769"/>
                      <a:pt x="111982" y="274000"/>
                      <a:pt x="121212" y="280154"/>
                    </a:cubicBezTo>
                    <a:cubicBezTo>
                      <a:pt x="130442" y="289385"/>
                      <a:pt x="148905" y="280154"/>
                      <a:pt x="161212" y="274000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483F042C-9998-44A8-B22C-8E302CE0E6C2}"/>
                  </a:ext>
                </a:extLst>
              </p:cNvPr>
              <p:cNvSpPr/>
              <p:nvPr/>
            </p:nvSpPr>
            <p:spPr>
              <a:xfrm>
                <a:off x="23994929" y="4690851"/>
                <a:ext cx="68967" cy="41274"/>
              </a:xfrm>
              <a:custGeom>
                <a:avLst/>
                <a:gdLst>
                  <a:gd name="connsiteX0" fmla="*/ 53583 w 68967"/>
                  <a:gd name="connsiteY0" fmla="*/ 41274 h 41274"/>
                  <a:gd name="connsiteX1" fmla="*/ 1275 w 68967"/>
                  <a:gd name="connsiteY1" fmla="*/ 10505 h 41274"/>
                  <a:gd name="connsiteX2" fmla="*/ 4351 w 68967"/>
                  <a:gd name="connsiteY2" fmla="*/ 1275 h 41274"/>
                  <a:gd name="connsiteX3" fmla="*/ 13582 w 68967"/>
                  <a:gd name="connsiteY3" fmla="*/ 4351 h 41274"/>
                  <a:gd name="connsiteX4" fmla="*/ 62813 w 68967"/>
                  <a:gd name="connsiteY4" fmla="*/ 25890 h 41274"/>
                  <a:gd name="connsiteX5" fmla="*/ 68968 w 68967"/>
                  <a:gd name="connsiteY5" fmla="*/ 28967 h 41274"/>
                  <a:gd name="connsiteX6" fmla="*/ 65890 w 68967"/>
                  <a:gd name="connsiteY6" fmla="*/ 35121 h 41274"/>
                  <a:gd name="connsiteX7" fmla="*/ 53583 w 68967"/>
                  <a:gd name="connsiteY7" fmla="*/ 41274 h 41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967" h="41274">
                    <a:moveTo>
                      <a:pt x="53583" y="41274"/>
                    </a:moveTo>
                    <a:cubicBezTo>
                      <a:pt x="22814" y="41274"/>
                      <a:pt x="4351" y="13582"/>
                      <a:pt x="1275" y="10505"/>
                    </a:cubicBezTo>
                    <a:cubicBezTo>
                      <a:pt x="-1803" y="7428"/>
                      <a:pt x="1275" y="4351"/>
                      <a:pt x="4351" y="1275"/>
                    </a:cubicBezTo>
                    <a:cubicBezTo>
                      <a:pt x="7429" y="-1803"/>
                      <a:pt x="10505" y="1275"/>
                      <a:pt x="13582" y="4351"/>
                    </a:cubicBezTo>
                    <a:cubicBezTo>
                      <a:pt x="13582" y="4351"/>
                      <a:pt x="32044" y="35121"/>
                      <a:pt x="62813" y="25890"/>
                    </a:cubicBezTo>
                    <a:cubicBezTo>
                      <a:pt x="65890" y="25890"/>
                      <a:pt x="68968" y="25890"/>
                      <a:pt x="68968" y="28967"/>
                    </a:cubicBezTo>
                    <a:cubicBezTo>
                      <a:pt x="68968" y="32044"/>
                      <a:pt x="68968" y="35121"/>
                      <a:pt x="65890" y="35121"/>
                    </a:cubicBezTo>
                    <a:cubicBezTo>
                      <a:pt x="62813" y="38198"/>
                      <a:pt x="56659" y="41274"/>
                      <a:pt x="53583" y="4127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A0F4BFA2-16CF-4A47-9DC6-1DBFD34AA8D0}"/>
                  </a:ext>
                </a:extLst>
              </p:cNvPr>
              <p:cNvSpPr/>
              <p:nvPr/>
            </p:nvSpPr>
            <p:spPr>
              <a:xfrm>
                <a:off x="23771589" y="4738279"/>
                <a:ext cx="153846" cy="123076"/>
              </a:xfrm>
              <a:custGeom>
                <a:avLst/>
                <a:gdLst>
                  <a:gd name="connsiteX0" fmla="*/ 33845 w 153846"/>
                  <a:gd name="connsiteY0" fmla="*/ 123077 h 123076"/>
                  <a:gd name="connsiteX1" fmla="*/ 12307 w 153846"/>
                  <a:gd name="connsiteY1" fmla="*/ 116923 h 123076"/>
                  <a:gd name="connsiteX2" fmla="*/ 0 w 153846"/>
                  <a:gd name="connsiteY2" fmla="*/ 92308 h 123076"/>
                  <a:gd name="connsiteX3" fmla="*/ 86153 w 153846"/>
                  <a:gd name="connsiteY3" fmla="*/ 24615 h 123076"/>
                  <a:gd name="connsiteX4" fmla="*/ 18461 w 153846"/>
                  <a:gd name="connsiteY4" fmla="*/ 36923 h 123076"/>
                  <a:gd name="connsiteX5" fmla="*/ 12307 w 153846"/>
                  <a:gd name="connsiteY5" fmla="*/ 30769 h 123076"/>
                  <a:gd name="connsiteX6" fmla="*/ 18461 w 153846"/>
                  <a:gd name="connsiteY6" fmla="*/ 24615 h 123076"/>
                  <a:gd name="connsiteX7" fmla="*/ 126153 w 153846"/>
                  <a:gd name="connsiteY7" fmla="*/ 0 h 123076"/>
                  <a:gd name="connsiteX8" fmla="*/ 132307 w 153846"/>
                  <a:gd name="connsiteY8" fmla="*/ 3077 h 123076"/>
                  <a:gd name="connsiteX9" fmla="*/ 129229 w 153846"/>
                  <a:gd name="connsiteY9" fmla="*/ 9231 h 123076"/>
                  <a:gd name="connsiteX10" fmla="*/ 12307 w 153846"/>
                  <a:gd name="connsiteY10" fmla="*/ 89231 h 123076"/>
                  <a:gd name="connsiteX11" fmla="*/ 18461 w 153846"/>
                  <a:gd name="connsiteY11" fmla="*/ 104615 h 123076"/>
                  <a:gd name="connsiteX12" fmla="*/ 43076 w 153846"/>
                  <a:gd name="connsiteY12" fmla="*/ 107692 h 123076"/>
                  <a:gd name="connsiteX13" fmla="*/ 144614 w 153846"/>
                  <a:gd name="connsiteY13" fmla="*/ 58461 h 123076"/>
                  <a:gd name="connsiteX14" fmla="*/ 153846 w 153846"/>
                  <a:gd name="connsiteY14" fmla="*/ 61538 h 123076"/>
                  <a:gd name="connsiteX15" fmla="*/ 150768 w 153846"/>
                  <a:gd name="connsiteY15" fmla="*/ 70769 h 123076"/>
                  <a:gd name="connsiteX16" fmla="*/ 46154 w 153846"/>
                  <a:gd name="connsiteY16" fmla="*/ 120000 h 123076"/>
                  <a:gd name="connsiteX17" fmla="*/ 33845 w 153846"/>
                  <a:gd name="connsiteY17" fmla="*/ 123077 h 12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3846" h="123076">
                    <a:moveTo>
                      <a:pt x="33845" y="123077"/>
                    </a:moveTo>
                    <a:cubicBezTo>
                      <a:pt x="24615" y="123077"/>
                      <a:pt x="18461" y="120000"/>
                      <a:pt x="12307" y="116923"/>
                    </a:cubicBezTo>
                    <a:cubicBezTo>
                      <a:pt x="6152" y="110769"/>
                      <a:pt x="0" y="101538"/>
                      <a:pt x="0" y="92308"/>
                    </a:cubicBezTo>
                    <a:cubicBezTo>
                      <a:pt x="0" y="76923"/>
                      <a:pt x="46154" y="49231"/>
                      <a:pt x="86153" y="24615"/>
                    </a:cubicBezTo>
                    <a:cubicBezTo>
                      <a:pt x="52306" y="30769"/>
                      <a:pt x="21537" y="36923"/>
                      <a:pt x="18461" y="36923"/>
                    </a:cubicBezTo>
                    <a:cubicBezTo>
                      <a:pt x="15385" y="36923"/>
                      <a:pt x="12307" y="33846"/>
                      <a:pt x="12307" y="30769"/>
                    </a:cubicBezTo>
                    <a:cubicBezTo>
                      <a:pt x="12307" y="27692"/>
                      <a:pt x="15385" y="24615"/>
                      <a:pt x="18461" y="24615"/>
                    </a:cubicBezTo>
                    <a:cubicBezTo>
                      <a:pt x="18461" y="24615"/>
                      <a:pt x="89230" y="12308"/>
                      <a:pt x="126153" y="0"/>
                    </a:cubicBezTo>
                    <a:cubicBezTo>
                      <a:pt x="129229" y="0"/>
                      <a:pt x="132307" y="0"/>
                      <a:pt x="132307" y="3077"/>
                    </a:cubicBezTo>
                    <a:cubicBezTo>
                      <a:pt x="132307" y="6154"/>
                      <a:pt x="132307" y="9231"/>
                      <a:pt x="129229" y="9231"/>
                    </a:cubicBezTo>
                    <a:cubicBezTo>
                      <a:pt x="73845" y="40000"/>
                      <a:pt x="12307" y="76923"/>
                      <a:pt x="12307" y="89231"/>
                    </a:cubicBezTo>
                    <a:cubicBezTo>
                      <a:pt x="12307" y="95385"/>
                      <a:pt x="15385" y="101538"/>
                      <a:pt x="18461" y="104615"/>
                    </a:cubicBezTo>
                    <a:cubicBezTo>
                      <a:pt x="24615" y="107692"/>
                      <a:pt x="33845" y="110769"/>
                      <a:pt x="43076" y="107692"/>
                    </a:cubicBezTo>
                    <a:cubicBezTo>
                      <a:pt x="61538" y="101538"/>
                      <a:pt x="144614" y="58461"/>
                      <a:pt x="144614" y="58461"/>
                    </a:cubicBezTo>
                    <a:cubicBezTo>
                      <a:pt x="147692" y="58461"/>
                      <a:pt x="150768" y="58461"/>
                      <a:pt x="153846" y="61538"/>
                    </a:cubicBezTo>
                    <a:cubicBezTo>
                      <a:pt x="153846" y="64615"/>
                      <a:pt x="153846" y="67692"/>
                      <a:pt x="150768" y="70769"/>
                    </a:cubicBezTo>
                    <a:cubicBezTo>
                      <a:pt x="147692" y="73846"/>
                      <a:pt x="64615" y="113846"/>
                      <a:pt x="46154" y="120000"/>
                    </a:cubicBezTo>
                    <a:cubicBezTo>
                      <a:pt x="43076" y="123077"/>
                      <a:pt x="40000" y="123077"/>
                      <a:pt x="33845" y="12307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EB3AB91E-A691-4920-ABB4-83B2446B3741}"/>
                  </a:ext>
                </a:extLst>
              </p:cNvPr>
              <p:cNvSpPr/>
              <p:nvPr/>
            </p:nvSpPr>
            <p:spPr>
              <a:xfrm>
                <a:off x="23811589" y="4805971"/>
                <a:ext cx="153846" cy="76923"/>
              </a:xfrm>
              <a:custGeom>
                <a:avLst/>
                <a:gdLst>
                  <a:gd name="connsiteX0" fmla="*/ 21539 w 153846"/>
                  <a:gd name="connsiteY0" fmla="*/ 76923 h 76923"/>
                  <a:gd name="connsiteX1" fmla="*/ 21539 w 153846"/>
                  <a:gd name="connsiteY1" fmla="*/ 76923 h 76923"/>
                  <a:gd name="connsiteX2" fmla="*/ 0 w 153846"/>
                  <a:gd name="connsiteY2" fmla="*/ 49231 h 76923"/>
                  <a:gd name="connsiteX3" fmla="*/ 6154 w 153846"/>
                  <a:gd name="connsiteY3" fmla="*/ 43077 h 76923"/>
                  <a:gd name="connsiteX4" fmla="*/ 12307 w 153846"/>
                  <a:gd name="connsiteY4" fmla="*/ 49231 h 76923"/>
                  <a:gd name="connsiteX5" fmla="*/ 21539 w 153846"/>
                  <a:gd name="connsiteY5" fmla="*/ 64615 h 76923"/>
                  <a:gd name="connsiteX6" fmla="*/ 21539 w 153846"/>
                  <a:gd name="connsiteY6" fmla="*/ 64615 h 76923"/>
                  <a:gd name="connsiteX7" fmla="*/ 86153 w 153846"/>
                  <a:gd name="connsiteY7" fmla="*/ 36923 h 76923"/>
                  <a:gd name="connsiteX8" fmla="*/ 147692 w 153846"/>
                  <a:gd name="connsiteY8" fmla="*/ 0 h 76923"/>
                  <a:gd name="connsiteX9" fmla="*/ 153846 w 153846"/>
                  <a:gd name="connsiteY9" fmla="*/ 9231 h 76923"/>
                  <a:gd name="connsiteX10" fmla="*/ 92308 w 153846"/>
                  <a:gd name="connsiteY10" fmla="*/ 46154 h 76923"/>
                  <a:gd name="connsiteX11" fmla="*/ 21539 w 153846"/>
                  <a:gd name="connsiteY11" fmla="*/ 76923 h 7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3846" h="76923">
                    <a:moveTo>
                      <a:pt x="21539" y="76923"/>
                    </a:moveTo>
                    <a:cubicBezTo>
                      <a:pt x="21539" y="76923"/>
                      <a:pt x="21539" y="76923"/>
                      <a:pt x="21539" y="76923"/>
                    </a:cubicBezTo>
                    <a:cubicBezTo>
                      <a:pt x="6154" y="76923"/>
                      <a:pt x="0" y="58462"/>
                      <a:pt x="0" y="49231"/>
                    </a:cubicBezTo>
                    <a:cubicBezTo>
                      <a:pt x="0" y="46154"/>
                      <a:pt x="3076" y="43077"/>
                      <a:pt x="6154" y="43077"/>
                    </a:cubicBezTo>
                    <a:cubicBezTo>
                      <a:pt x="9230" y="43077"/>
                      <a:pt x="12307" y="46154"/>
                      <a:pt x="12307" y="49231"/>
                    </a:cubicBezTo>
                    <a:cubicBezTo>
                      <a:pt x="12307" y="49231"/>
                      <a:pt x="12307" y="64615"/>
                      <a:pt x="21539" y="64615"/>
                    </a:cubicBezTo>
                    <a:cubicBezTo>
                      <a:pt x="21539" y="64615"/>
                      <a:pt x="21539" y="64615"/>
                      <a:pt x="21539" y="64615"/>
                    </a:cubicBezTo>
                    <a:cubicBezTo>
                      <a:pt x="33845" y="64615"/>
                      <a:pt x="73845" y="46154"/>
                      <a:pt x="86153" y="36923"/>
                    </a:cubicBezTo>
                    <a:cubicBezTo>
                      <a:pt x="95384" y="30769"/>
                      <a:pt x="147692" y="0"/>
                      <a:pt x="147692" y="0"/>
                    </a:cubicBezTo>
                    <a:lnTo>
                      <a:pt x="153846" y="9231"/>
                    </a:lnTo>
                    <a:cubicBezTo>
                      <a:pt x="153846" y="9231"/>
                      <a:pt x="101538" y="40000"/>
                      <a:pt x="92308" y="46154"/>
                    </a:cubicBezTo>
                    <a:cubicBezTo>
                      <a:pt x="86153" y="52308"/>
                      <a:pt x="40000" y="76923"/>
                      <a:pt x="21539" y="7692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3ACD974B-3A3E-4748-A320-F7BCE3A64959}"/>
                </a:ext>
              </a:extLst>
            </p:cNvPr>
            <p:cNvSpPr/>
            <p:nvPr/>
          </p:nvSpPr>
          <p:spPr>
            <a:xfrm>
              <a:off x="24060801" y="3665256"/>
              <a:ext cx="923249" cy="1125629"/>
            </a:xfrm>
            <a:custGeom>
              <a:avLst/>
              <a:gdLst>
                <a:gd name="connsiteX0" fmla="*/ 587712 w 923249"/>
                <a:gd name="connsiteY0" fmla="*/ 325331 h 1125629"/>
                <a:gd name="connsiteX1" fmla="*/ 455402 w 923249"/>
                <a:gd name="connsiteY1" fmla="*/ 697639 h 1125629"/>
                <a:gd name="connsiteX2" fmla="*/ 18 w 923249"/>
                <a:gd name="connsiteY2" fmla="*/ 931485 h 1125629"/>
                <a:gd name="connsiteX3" fmla="*/ 83096 w 923249"/>
                <a:gd name="connsiteY3" fmla="*/ 1125331 h 1125629"/>
                <a:gd name="connsiteX4" fmla="*/ 670787 w 923249"/>
                <a:gd name="connsiteY4" fmla="*/ 885331 h 1125629"/>
                <a:gd name="connsiteX5" fmla="*/ 910789 w 923249"/>
                <a:gd name="connsiteY5" fmla="*/ 266869 h 1125629"/>
                <a:gd name="connsiteX6" fmla="*/ 855402 w 923249"/>
                <a:gd name="connsiteY6" fmla="*/ 2254 h 1125629"/>
                <a:gd name="connsiteX7" fmla="*/ 587712 w 923249"/>
                <a:gd name="connsiteY7" fmla="*/ 325331 h 1125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3249" h="1125629">
                  <a:moveTo>
                    <a:pt x="587712" y="325331"/>
                  </a:moveTo>
                  <a:cubicBezTo>
                    <a:pt x="560019" y="411485"/>
                    <a:pt x="504634" y="620715"/>
                    <a:pt x="455402" y="697639"/>
                  </a:cubicBezTo>
                  <a:cubicBezTo>
                    <a:pt x="384634" y="811485"/>
                    <a:pt x="-3058" y="922254"/>
                    <a:pt x="18" y="931485"/>
                  </a:cubicBezTo>
                  <a:cubicBezTo>
                    <a:pt x="9249" y="1002254"/>
                    <a:pt x="27711" y="1082254"/>
                    <a:pt x="83096" y="1125331"/>
                  </a:cubicBezTo>
                  <a:cubicBezTo>
                    <a:pt x="92326" y="1131485"/>
                    <a:pt x="513865" y="1042254"/>
                    <a:pt x="670787" y="885331"/>
                  </a:cubicBezTo>
                  <a:cubicBezTo>
                    <a:pt x="720019" y="836100"/>
                    <a:pt x="861557" y="408408"/>
                    <a:pt x="910789" y="266869"/>
                  </a:cubicBezTo>
                  <a:cubicBezTo>
                    <a:pt x="938480" y="183792"/>
                    <a:pt x="920019" y="17639"/>
                    <a:pt x="855402" y="2254"/>
                  </a:cubicBezTo>
                  <a:cubicBezTo>
                    <a:pt x="753864" y="-22361"/>
                    <a:pt x="640018" y="159177"/>
                    <a:pt x="587712" y="325331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3AEABAA1-7A39-482D-8E9E-204187243D6B}"/>
                </a:ext>
              </a:extLst>
            </p:cNvPr>
            <p:cNvSpPr/>
            <p:nvPr/>
          </p:nvSpPr>
          <p:spPr>
            <a:xfrm>
              <a:off x="24678078" y="4590587"/>
              <a:ext cx="1391971" cy="2526154"/>
            </a:xfrm>
            <a:custGeom>
              <a:avLst/>
              <a:gdLst>
                <a:gd name="connsiteX0" fmla="*/ 795050 w 1391971"/>
                <a:gd name="connsiteY0" fmla="*/ 0 h 2526154"/>
                <a:gd name="connsiteX1" fmla="*/ 121203 w 1391971"/>
                <a:gd name="connsiteY1" fmla="*/ 0 h 2526154"/>
                <a:gd name="connsiteX2" fmla="*/ 1204 w 1391971"/>
                <a:gd name="connsiteY2" fmla="*/ 464615 h 2526154"/>
                <a:gd name="connsiteX3" fmla="*/ 182741 w 1391971"/>
                <a:gd name="connsiteY3" fmla="*/ 2507692 h 2526154"/>
                <a:gd name="connsiteX4" fmla="*/ 382741 w 1391971"/>
                <a:gd name="connsiteY4" fmla="*/ 2526154 h 2526154"/>
                <a:gd name="connsiteX5" fmla="*/ 465819 w 1391971"/>
                <a:gd name="connsiteY5" fmla="*/ 818462 h 2526154"/>
                <a:gd name="connsiteX6" fmla="*/ 558126 w 1391971"/>
                <a:gd name="connsiteY6" fmla="*/ 1772308 h 2526154"/>
                <a:gd name="connsiteX7" fmla="*/ 1287357 w 1391971"/>
                <a:gd name="connsiteY7" fmla="*/ 2295385 h 2526154"/>
                <a:gd name="connsiteX8" fmla="*/ 1391972 w 1391971"/>
                <a:gd name="connsiteY8" fmla="*/ 2104615 h 2526154"/>
                <a:gd name="connsiteX9" fmla="*/ 893512 w 1391971"/>
                <a:gd name="connsiteY9" fmla="*/ 1670769 h 2526154"/>
                <a:gd name="connsiteX10" fmla="*/ 930433 w 1391971"/>
                <a:gd name="connsiteY10" fmla="*/ 418462 h 2526154"/>
                <a:gd name="connsiteX11" fmla="*/ 795050 w 1391971"/>
                <a:gd name="connsiteY11" fmla="*/ 0 h 2526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91971" h="2526154">
                  <a:moveTo>
                    <a:pt x="795050" y="0"/>
                  </a:moveTo>
                  <a:lnTo>
                    <a:pt x="121203" y="0"/>
                  </a:lnTo>
                  <a:cubicBezTo>
                    <a:pt x="121203" y="0"/>
                    <a:pt x="22741" y="307692"/>
                    <a:pt x="1204" y="464615"/>
                  </a:cubicBezTo>
                  <a:cubicBezTo>
                    <a:pt x="-17259" y="618462"/>
                    <a:pt x="182741" y="2507692"/>
                    <a:pt x="182741" y="2507692"/>
                  </a:cubicBezTo>
                  <a:lnTo>
                    <a:pt x="382741" y="2526154"/>
                  </a:lnTo>
                  <a:lnTo>
                    <a:pt x="465819" y="818462"/>
                  </a:lnTo>
                  <a:cubicBezTo>
                    <a:pt x="465819" y="818462"/>
                    <a:pt x="551972" y="1756923"/>
                    <a:pt x="558126" y="1772308"/>
                  </a:cubicBezTo>
                  <a:lnTo>
                    <a:pt x="1287357" y="2295385"/>
                  </a:lnTo>
                  <a:lnTo>
                    <a:pt x="1391972" y="2104615"/>
                  </a:lnTo>
                  <a:lnTo>
                    <a:pt x="893512" y="1670769"/>
                  </a:lnTo>
                  <a:cubicBezTo>
                    <a:pt x="893512" y="1670769"/>
                    <a:pt x="924281" y="483077"/>
                    <a:pt x="930433" y="418462"/>
                  </a:cubicBezTo>
                  <a:cubicBezTo>
                    <a:pt x="939665" y="298461"/>
                    <a:pt x="795050" y="0"/>
                    <a:pt x="795050" y="0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EAAED677-8909-4EB5-9A0E-5D9692323266}"/>
                </a:ext>
              </a:extLst>
            </p:cNvPr>
            <p:cNvSpPr/>
            <p:nvPr/>
          </p:nvSpPr>
          <p:spPr>
            <a:xfrm>
              <a:off x="25094666" y="4984433"/>
              <a:ext cx="876153" cy="1913846"/>
            </a:xfrm>
            <a:custGeom>
              <a:avLst/>
              <a:gdLst>
                <a:gd name="connsiteX0" fmla="*/ 870769 w 876153"/>
                <a:gd name="connsiteY0" fmla="*/ 1910769 h 1913846"/>
                <a:gd name="connsiteX1" fmla="*/ 867691 w 876153"/>
                <a:gd name="connsiteY1" fmla="*/ 1910769 h 1913846"/>
                <a:gd name="connsiteX2" fmla="*/ 138462 w 876153"/>
                <a:gd name="connsiteY2" fmla="*/ 1387692 h 1913846"/>
                <a:gd name="connsiteX3" fmla="*/ 135383 w 876153"/>
                <a:gd name="connsiteY3" fmla="*/ 1384615 h 1913846"/>
                <a:gd name="connsiteX4" fmla="*/ 43076 w 876153"/>
                <a:gd name="connsiteY4" fmla="*/ 427692 h 1913846"/>
                <a:gd name="connsiteX5" fmla="*/ 0 w 876153"/>
                <a:gd name="connsiteY5" fmla="*/ 6154 h 1913846"/>
                <a:gd name="connsiteX6" fmla="*/ 6152 w 876153"/>
                <a:gd name="connsiteY6" fmla="*/ 0 h 1913846"/>
                <a:gd name="connsiteX7" fmla="*/ 12307 w 876153"/>
                <a:gd name="connsiteY7" fmla="*/ 6154 h 1913846"/>
                <a:gd name="connsiteX8" fmla="*/ 55384 w 876153"/>
                <a:gd name="connsiteY8" fmla="*/ 427692 h 1913846"/>
                <a:gd name="connsiteX9" fmla="*/ 147692 w 876153"/>
                <a:gd name="connsiteY9" fmla="*/ 1381538 h 1913846"/>
                <a:gd name="connsiteX10" fmla="*/ 873845 w 876153"/>
                <a:gd name="connsiteY10" fmla="*/ 1904615 h 1913846"/>
                <a:gd name="connsiteX11" fmla="*/ 873845 w 876153"/>
                <a:gd name="connsiteY11" fmla="*/ 1913846 h 1913846"/>
                <a:gd name="connsiteX12" fmla="*/ 870769 w 876153"/>
                <a:gd name="connsiteY12" fmla="*/ 1910769 h 191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6153" h="1913846">
                  <a:moveTo>
                    <a:pt x="870769" y="1910769"/>
                  </a:moveTo>
                  <a:cubicBezTo>
                    <a:pt x="870769" y="1910769"/>
                    <a:pt x="867691" y="1910769"/>
                    <a:pt x="867691" y="1910769"/>
                  </a:cubicBezTo>
                  <a:lnTo>
                    <a:pt x="138462" y="1387692"/>
                  </a:lnTo>
                  <a:cubicBezTo>
                    <a:pt x="138462" y="1387692"/>
                    <a:pt x="135383" y="1387692"/>
                    <a:pt x="135383" y="1384615"/>
                  </a:cubicBezTo>
                  <a:cubicBezTo>
                    <a:pt x="129229" y="1366154"/>
                    <a:pt x="52306" y="523077"/>
                    <a:pt x="43076" y="427692"/>
                  </a:cubicBezTo>
                  <a:lnTo>
                    <a:pt x="0" y="6154"/>
                  </a:lnTo>
                  <a:cubicBezTo>
                    <a:pt x="0" y="3077"/>
                    <a:pt x="3076" y="0"/>
                    <a:pt x="6152" y="0"/>
                  </a:cubicBezTo>
                  <a:cubicBezTo>
                    <a:pt x="9230" y="0"/>
                    <a:pt x="12307" y="3077"/>
                    <a:pt x="12307" y="6154"/>
                  </a:cubicBezTo>
                  <a:lnTo>
                    <a:pt x="55384" y="427692"/>
                  </a:lnTo>
                  <a:cubicBezTo>
                    <a:pt x="83075" y="744615"/>
                    <a:pt x="138462" y="1341538"/>
                    <a:pt x="147692" y="1381538"/>
                  </a:cubicBezTo>
                  <a:lnTo>
                    <a:pt x="873845" y="1904615"/>
                  </a:lnTo>
                  <a:cubicBezTo>
                    <a:pt x="876923" y="1907692"/>
                    <a:pt x="876923" y="1910769"/>
                    <a:pt x="873845" y="1913846"/>
                  </a:cubicBezTo>
                  <a:cubicBezTo>
                    <a:pt x="873845" y="1910769"/>
                    <a:pt x="873845" y="1910769"/>
                    <a:pt x="870769" y="1910769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2536BB4F-FA01-42AF-9B90-B621CE5AF099}"/>
                </a:ext>
              </a:extLst>
            </p:cNvPr>
            <p:cNvSpPr/>
            <p:nvPr/>
          </p:nvSpPr>
          <p:spPr>
            <a:xfrm>
              <a:off x="25420819" y="4747510"/>
              <a:ext cx="182813" cy="190769"/>
            </a:xfrm>
            <a:custGeom>
              <a:avLst/>
              <a:gdLst>
                <a:gd name="connsiteX0" fmla="*/ 178461 w 182813"/>
                <a:gd name="connsiteY0" fmla="*/ 190769 h 190769"/>
                <a:gd name="connsiteX1" fmla="*/ 178461 w 182813"/>
                <a:gd name="connsiteY1" fmla="*/ 190769 h 190769"/>
                <a:gd name="connsiteX2" fmla="*/ 0 w 182813"/>
                <a:gd name="connsiteY2" fmla="*/ 6154 h 190769"/>
                <a:gd name="connsiteX3" fmla="*/ 3076 w 182813"/>
                <a:gd name="connsiteY3" fmla="*/ 0 h 190769"/>
                <a:gd name="connsiteX4" fmla="*/ 9230 w 182813"/>
                <a:gd name="connsiteY4" fmla="*/ 3077 h 190769"/>
                <a:gd name="connsiteX5" fmla="*/ 178461 w 182813"/>
                <a:gd name="connsiteY5" fmla="*/ 181539 h 190769"/>
                <a:gd name="connsiteX6" fmla="*/ 181539 w 182813"/>
                <a:gd name="connsiteY6" fmla="*/ 187692 h 190769"/>
                <a:gd name="connsiteX7" fmla="*/ 178461 w 182813"/>
                <a:gd name="connsiteY7" fmla="*/ 190769 h 19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813" h="190769">
                  <a:moveTo>
                    <a:pt x="178461" y="190769"/>
                  </a:moveTo>
                  <a:cubicBezTo>
                    <a:pt x="178461" y="190769"/>
                    <a:pt x="178461" y="190769"/>
                    <a:pt x="178461" y="190769"/>
                  </a:cubicBezTo>
                  <a:cubicBezTo>
                    <a:pt x="58462" y="156923"/>
                    <a:pt x="3076" y="12308"/>
                    <a:pt x="0" y="6154"/>
                  </a:cubicBezTo>
                  <a:cubicBezTo>
                    <a:pt x="0" y="3077"/>
                    <a:pt x="0" y="0"/>
                    <a:pt x="3076" y="0"/>
                  </a:cubicBezTo>
                  <a:cubicBezTo>
                    <a:pt x="6154" y="0"/>
                    <a:pt x="9230" y="0"/>
                    <a:pt x="9230" y="3077"/>
                  </a:cubicBezTo>
                  <a:cubicBezTo>
                    <a:pt x="9230" y="3077"/>
                    <a:pt x="64615" y="150769"/>
                    <a:pt x="178461" y="181539"/>
                  </a:cubicBezTo>
                  <a:cubicBezTo>
                    <a:pt x="181539" y="181539"/>
                    <a:pt x="184615" y="184615"/>
                    <a:pt x="181539" y="187692"/>
                  </a:cubicBezTo>
                  <a:cubicBezTo>
                    <a:pt x="184615" y="190769"/>
                    <a:pt x="181539" y="190769"/>
                    <a:pt x="178461" y="190769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110EE639-5BD1-4AE2-A000-E5FEE4FCC94D}"/>
                </a:ext>
              </a:extLst>
            </p:cNvPr>
            <p:cNvSpPr/>
            <p:nvPr/>
          </p:nvSpPr>
          <p:spPr>
            <a:xfrm>
              <a:off x="24694666" y="4747510"/>
              <a:ext cx="175383" cy="193846"/>
            </a:xfrm>
            <a:custGeom>
              <a:avLst/>
              <a:gdLst>
                <a:gd name="connsiteX0" fmla="*/ 6152 w 175383"/>
                <a:gd name="connsiteY0" fmla="*/ 193846 h 193846"/>
                <a:gd name="connsiteX1" fmla="*/ 0 w 175383"/>
                <a:gd name="connsiteY1" fmla="*/ 190769 h 193846"/>
                <a:gd name="connsiteX2" fmla="*/ 3076 w 175383"/>
                <a:gd name="connsiteY2" fmla="*/ 184615 h 193846"/>
                <a:gd name="connsiteX3" fmla="*/ 163077 w 175383"/>
                <a:gd name="connsiteY3" fmla="*/ 3077 h 193846"/>
                <a:gd name="connsiteX4" fmla="*/ 172307 w 175383"/>
                <a:gd name="connsiteY4" fmla="*/ 0 h 193846"/>
                <a:gd name="connsiteX5" fmla="*/ 175383 w 175383"/>
                <a:gd name="connsiteY5" fmla="*/ 9231 h 193846"/>
                <a:gd name="connsiteX6" fmla="*/ 6152 w 175383"/>
                <a:gd name="connsiteY6" fmla="*/ 193846 h 193846"/>
                <a:gd name="connsiteX7" fmla="*/ 6152 w 175383"/>
                <a:gd name="connsiteY7" fmla="*/ 193846 h 19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383" h="193846">
                  <a:moveTo>
                    <a:pt x="6152" y="193846"/>
                  </a:moveTo>
                  <a:cubicBezTo>
                    <a:pt x="3076" y="193846"/>
                    <a:pt x="3076" y="193846"/>
                    <a:pt x="0" y="190769"/>
                  </a:cubicBezTo>
                  <a:cubicBezTo>
                    <a:pt x="0" y="187692"/>
                    <a:pt x="0" y="184615"/>
                    <a:pt x="3076" y="184615"/>
                  </a:cubicBezTo>
                  <a:cubicBezTo>
                    <a:pt x="83075" y="153846"/>
                    <a:pt x="163077" y="3077"/>
                    <a:pt x="163077" y="3077"/>
                  </a:cubicBezTo>
                  <a:cubicBezTo>
                    <a:pt x="163077" y="0"/>
                    <a:pt x="169231" y="0"/>
                    <a:pt x="172307" y="0"/>
                  </a:cubicBezTo>
                  <a:cubicBezTo>
                    <a:pt x="175383" y="0"/>
                    <a:pt x="175383" y="6154"/>
                    <a:pt x="175383" y="9231"/>
                  </a:cubicBezTo>
                  <a:cubicBezTo>
                    <a:pt x="172307" y="12308"/>
                    <a:pt x="92308" y="160000"/>
                    <a:pt x="6152" y="193846"/>
                  </a:cubicBezTo>
                  <a:cubicBezTo>
                    <a:pt x="9230" y="193846"/>
                    <a:pt x="9230" y="193846"/>
                    <a:pt x="6152" y="193846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285A76EF-E32B-45EB-9308-37D88BD85054}"/>
                </a:ext>
              </a:extLst>
            </p:cNvPr>
            <p:cNvSpPr/>
            <p:nvPr/>
          </p:nvSpPr>
          <p:spPr>
            <a:xfrm>
              <a:off x="24695783" y="3626081"/>
              <a:ext cx="828154" cy="995366"/>
            </a:xfrm>
            <a:custGeom>
              <a:avLst/>
              <a:gdLst>
                <a:gd name="connsiteX0" fmla="*/ 783498 w 828154"/>
                <a:gd name="connsiteY0" fmla="*/ 395275 h 995366"/>
                <a:gd name="connsiteX1" fmla="*/ 768114 w 828154"/>
                <a:gd name="connsiteY1" fmla="*/ 69121 h 995366"/>
                <a:gd name="connsiteX2" fmla="*/ 395805 w 828154"/>
                <a:gd name="connsiteY2" fmla="*/ 4506 h 995366"/>
                <a:gd name="connsiteX3" fmla="*/ 91190 w 828154"/>
                <a:gd name="connsiteY3" fmla="*/ 106044 h 995366"/>
                <a:gd name="connsiteX4" fmla="*/ 51189 w 828154"/>
                <a:gd name="connsiteY4" fmla="*/ 659890 h 995366"/>
                <a:gd name="connsiteX5" fmla="*/ 94267 w 828154"/>
                <a:gd name="connsiteY5" fmla="*/ 989121 h 995366"/>
                <a:gd name="connsiteX6" fmla="*/ 777344 w 828154"/>
                <a:gd name="connsiteY6" fmla="*/ 973737 h 995366"/>
                <a:gd name="connsiteX7" fmla="*/ 783498 w 828154"/>
                <a:gd name="connsiteY7" fmla="*/ 395275 h 99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8154" h="995366">
                  <a:moveTo>
                    <a:pt x="783498" y="395275"/>
                  </a:moveTo>
                  <a:cubicBezTo>
                    <a:pt x="792729" y="364506"/>
                    <a:pt x="888112" y="133737"/>
                    <a:pt x="768114" y="69121"/>
                  </a:cubicBezTo>
                  <a:cubicBezTo>
                    <a:pt x="663497" y="13737"/>
                    <a:pt x="515806" y="-10879"/>
                    <a:pt x="395805" y="4506"/>
                  </a:cubicBezTo>
                  <a:cubicBezTo>
                    <a:pt x="263497" y="19890"/>
                    <a:pt x="131190" y="41429"/>
                    <a:pt x="91190" y="106044"/>
                  </a:cubicBezTo>
                  <a:cubicBezTo>
                    <a:pt x="-22656" y="293737"/>
                    <a:pt x="-22656" y="459890"/>
                    <a:pt x="51189" y="659890"/>
                  </a:cubicBezTo>
                  <a:cubicBezTo>
                    <a:pt x="72728" y="718352"/>
                    <a:pt x="78882" y="853737"/>
                    <a:pt x="94267" y="989121"/>
                  </a:cubicBezTo>
                  <a:cubicBezTo>
                    <a:pt x="94267" y="989121"/>
                    <a:pt x="380420" y="1010660"/>
                    <a:pt x="777344" y="973737"/>
                  </a:cubicBezTo>
                  <a:cubicBezTo>
                    <a:pt x="746575" y="752198"/>
                    <a:pt x="777344" y="416814"/>
                    <a:pt x="783498" y="395275"/>
                  </a:cubicBezTo>
                  <a:close/>
                </a:path>
              </a:pathLst>
            </a:custGeom>
            <a:solidFill>
              <a:srgbClr val="F1DDB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C175F00D-8CBA-46CA-A53B-C61A55764FD8}"/>
                </a:ext>
              </a:extLst>
            </p:cNvPr>
            <p:cNvSpPr/>
            <p:nvPr/>
          </p:nvSpPr>
          <p:spPr>
            <a:xfrm>
              <a:off x="24980820" y="3445874"/>
              <a:ext cx="310768" cy="329328"/>
            </a:xfrm>
            <a:custGeom>
              <a:avLst/>
              <a:gdLst>
                <a:gd name="connsiteX0" fmla="*/ 55384 w 310768"/>
                <a:gd name="connsiteY0" fmla="*/ 61636 h 329328"/>
                <a:gd name="connsiteX1" fmla="*/ 0 w 310768"/>
                <a:gd name="connsiteY1" fmla="*/ 203175 h 329328"/>
                <a:gd name="connsiteX2" fmla="*/ 40000 w 310768"/>
                <a:gd name="connsiteY2" fmla="*/ 329328 h 329328"/>
                <a:gd name="connsiteX3" fmla="*/ 310768 w 310768"/>
                <a:gd name="connsiteY3" fmla="*/ 187790 h 329328"/>
                <a:gd name="connsiteX4" fmla="*/ 258460 w 310768"/>
                <a:gd name="connsiteY4" fmla="*/ 98 h 329328"/>
                <a:gd name="connsiteX5" fmla="*/ 55384 w 310768"/>
                <a:gd name="connsiteY5" fmla="*/ 61636 h 329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0768" h="329328">
                  <a:moveTo>
                    <a:pt x="55384" y="61636"/>
                  </a:moveTo>
                  <a:cubicBezTo>
                    <a:pt x="55384" y="61636"/>
                    <a:pt x="61538" y="172405"/>
                    <a:pt x="0" y="203175"/>
                  </a:cubicBezTo>
                  <a:lnTo>
                    <a:pt x="40000" y="329328"/>
                  </a:lnTo>
                  <a:cubicBezTo>
                    <a:pt x="40000" y="329328"/>
                    <a:pt x="258460" y="218559"/>
                    <a:pt x="310768" y="187790"/>
                  </a:cubicBezTo>
                  <a:cubicBezTo>
                    <a:pt x="255384" y="144713"/>
                    <a:pt x="258460" y="61636"/>
                    <a:pt x="258460" y="98"/>
                  </a:cubicBezTo>
                  <a:cubicBezTo>
                    <a:pt x="258460" y="-2979"/>
                    <a:pt x="110768" y="67790"/>
                    <a:pt x="55384" y="61636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2233E04C-66F1-40B2-8575-2B37CCDC1356}"/>
                </a:ext>
              </a:extLst>
            </p:cNvPr>
            <p:cNvSpPr/>
            <p:nvPr/>
          </p:nvSpPr>
          <p:spPr>
            <a:xfrm>
              <a:off x="24817743" y="4172321"/>
              <a:ext cx="404350" cy="36727"/>
            </a:xfrm>
            <a:custGeom>
              <a:avLst/>
              <a:gdLst>
                <a:gd name="connsiteX0" fmla="*/ 6152 w 404350"/>
                <a:gd name="connsiteY0" fmla="*/ 36727 h 36727"/>
                <a:gd name="connsiteX1" fmla="*/ 0 w 404350"/>
                <a:gd name="connsiteY1" fmla="*/ 33650 h 36727"/>
                <a:gd name="connsiteX2" fmla="*/ 3076 w 404350"/>
                <a:gd name="connsiteY2" fmla="*/ 27496 h 36727"/>
                <a:gd name="connsiteX3" fmla="*/ 400000 w 404350"/>
                <a:gd name="connsiteY3" fmla="*/ 15189 h 36727"/>
                <a:gd name="connsiteX4" fmla="*/ 403076 w 404350"/>
                <a:gd name="connsiteY4" fmla="*/ 21343 h 36727"/>
                <a:gd name="connsiteX5" fmla="*/ 396922 w 404350"/>
                <a:gd name="connsiteY5" fmla="*/ 24420 h 36727"/>
                <a:gd name="connsiteX6" fmla="*/ 6152 w 404350"/>
                <a:gd name="connsiteY6" fmla="*/ 36727 h 36727"/>
                <a:gd name="connsiteX7" fmla="*/ 6152 w 404350"/>
                <a:gd name="connsiteY7" fmla="*/ 36727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350" h="36727">
                  <a:moveTo>
                    <a:pt x="6152" y="36727"/>
                  </a:moveTo>
                  <a:cubicBezTo>
                    <a:pt x="3076" y="36727"/>
                    <a:pt x="3076" y="36727"/>
                    <a:pt x="0" y="33650"/>
                  </a:cubicBezTo>
                  <a:cubicBezTo>
                    <a:pt x="0" y="30573"/>
                    <a:pt x="0" y="27496"/>
                    <a:pt x="3076" y="27496"/>
                  </a:cubicBezTo>
                  <a:cubicBezTo>
                    <a:pt x="89230" y="-3273"/>
                    <a:pt x="298460" y="-9427"/>
                    <a:pt x="400000" y="15189"/>
                  </a:cubicBezTo>
                  <a:cubicBezTo>
                    <a:pt x="403076" y="15189"/>
                    <a:pt x="406152" y="18266"/>
                    <a:pt x="403076" y="21343"/>
                  </a:cubicBezTo>
                  <a:cubicBezTo>
                    <a:pt x="403076" y="24420"/>
                    <a:pt x="400000" y="27496"/>
                    <a:pt x="396922" y="24420"/>
                  </a:cubicBezTo>
                  <a:cubicBezTo>
                    <a:pt x="298460" y="-196"/>
                    <a:pt x="92308" y="5958"/>
                    <a:pt x="6152" y="36727"/>
                  </a:cubicBezTo>
                  <a:cubicBezTo>
                    <a:pt x="6152" y="36727"/>
                    <a:pt x="6152" y="36727"/>
                    <a:pt x="6152" y="36727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25B86DF6-3B62-450F-B1CB-EE122E0A7D8F}"/>
                </a:ext>
              </a:extLst>
            </p:cNvPr>
            <p:cNvSpPr/>
            <p:nvPr/>
          </p:nvSpPr>
          <p:spPr>
            <a:xfrm>
              <a:off x="24920474" y="2986612"/>
              <a:ext cx="426498" cy="573528"/>
            </a:xfrm>
            <a:custGeom>
              <a:avLst/>
              <a:gdLst>
                <a:gd name="connsiteX0" fmla="*/ 8037 w 426498"/>
                <a:gd name="connsiteY0" fmla="*/ 185513 h 573528"/>
                <a:gd name="connsiteX1" fmla="*/ 20346 w 426498"/>
                <a:gd name="connsiteY1" fmla="*/ 443975 h 573528"/>
                <a:gd name="connsiteX2" fmla="*/ 171114 w 426498"/>
                <a:gd name="connsiteY2" fmla="*/ 573206 h 573528"/>
                <a:gd name="connsiteX3" fmla="*/ 389577 w 426498"/>
                <a:gd name="connsiteY3" fmla="*/ 428590 h 573528"/>
                <a:gd name="connsiteX4" fmla="*/ 426498 w 426498"/>
                <a:gd name="connsiteY4" fmla="*/ 200898 h 573528"/>
                <a:gd name="connsiteX5" fmla="*/ 211114 w 426498"/>
                <a:gd name="connsiteY5" fmla="*/ 898 h 573528"/>
                <a:gd name="connsiteX6" fmla="*/ 8037 w 426498"/>
                <a:gd name="connsiteY6" fmla="*/ 185513 h 57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498" h="573528">
                  <a:moveTo>
                    <a:pt x="8037" y="185513"/>
                  </a:moveTo>
                  <a:cubicBezTo>
                    <a:pt x="8037" y="185513"/>
                    <a:pt x="-16578" y="376283"/>
                    <a:pt x="20346" y="443975"/>
                  </a:cubicBezTo>
                  <a:cubicBezTo>
                    <a:pt x="57267" y="511667"/>
                    <a:pt x="118806" y="570129"/>
                    <a:pt x="171114" y="573206"/>
                  </a:cubicBezTo>
                  <a:cubicBezTo>
                    <a:pt x="238807" y="579360"/>
                    <a:pt x="352653" y="496283"/>
                    <a:pt x="389577" y="428590"/>
                  </a:cubicBezTo>
                  <a:cubicBezTo>
                    <a:pt x="426498" y="360898"/>
                    <a:pt x="426498" y="253206"/>
                    <a:pt x="426498" y="200898"/>
                  </a:cubicBezTo>
                  <a:cubicBezTo>
                    <a:pt x="423422" y="105513"/>
                    <a:pt x="398807" y="25513"/>
                    <a:pt x="211114" y="898"/>
                  </a:cubicBezTo>
                  <a:cubicBezTo>
                    <a:pt x="121884" y="-11410"/>
                    <a:pt x="26498" y="105513"/>
                    <a:pt x="8037" y="185513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E64BC6AF-ECC5-43E1-9231-78BF6E1AEE92}"/>
                </a:ext>
              </a:extLst>
            </p:cNvPr>
            <p:cNvSpPr/>
            <p:nvPr/>
          </p:nvSpPr>
          <p:spPr>
            <a:xfrm>
              <a:off x="25057743" y="3257005"/>
              <a:ext cx="55384" cy="133582"/>
            </a:xfrm>
            <a:custGeom>
              <a:avLst/>
              <a:gdLst>
                <a:gd name="connsiteX0" fmla="*/ 30769 w 55384"/>
                <a:gd name="connsiteY0" fmla="*/ 133582 h 133582"/>
                <a:gd name="connsiteX1" fmla="*/ 6154 w 55384"/>
                <a:gd name="connsiteY1" fmla="*/ 127428 h 133582"/>
                <a:gd name="connsiteX2" fmla="*/ 0 w 55384"/>
                <a:gd name="connsiteY2" fmla="*/ 115121 h 133582"/>
                <a:gd name="connsiteX3" fmla="*/ 27691 w 55384"/>
                <a:gd name="connsiteY3" fmla="*/ 4351 h 133582"/>
                <a:gd name="connsiteX4" fmla="*/ 33845 w 55384"/>
                <a:gd name="connsiteY4" fmla="*/ 1275 h 133582"/>
                <a:gd name="connsiteX5" fmla="*/ 36923 w 55384"/>
                <a:gd name="connsiteY5" fmla="*/ 7428 h 133582"/>
                <a:gd name="connsiteX6" fmla="*/ 9230 w 55384"/>
                <a:gd name="connsiteY6" fmla="*/ 115121 h 133582"/>
                <a:gd name="connsiteX7" fmla="*/ 9230 w 55384"/>
                <a:gd name="connsiteY7" fmla="*/ 118198 h 133582"/>
                <a:gd name="connsiteX8" fmla="*/ 49230 w 55384"/>
                <a:gd name="connsiteY8" fmla="*/ 118198 h 133582"/>
                <a:gd name="connsiteX9" fmla="*/ 55384 w 55384"/>
                <a:gd name="connsiteY9" fmla="*/ 124351 h 133582"/>
                <a:gd name="connsiteX10" fmla="*/ 49230 w 55384"/>
                <a:gd name="connsiteY10" fmla="*/ 130505 h 133582"/>
                <a:gd name="connsiteX11" fmla="*/ 30769 w 55384"/>
                <a:gd name="connsiteY11" fmla="*/ 133582 h 133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384" h="133582">
                  <a:moveTo>
                    <a:pt x="30769" y="133582"/>
                  </a:moveTo>
                  <a:cubicBezTo>
                    <a:pt x="21539" y="133582"/>
                    <a:pt x="12307" y="133582"/>
                    <a:pt x="6154" y="127428"/>
                  </a:cubicBezTo>
                  <a:cubicBezTo>
                    <a:pt x="3076" y="124351"/>
                    <a:pt x="0" y="121274"/>
                    <a:pt x="0" y="115121"/>
                  </a:cubicBezTo>
                  <a:cubicBezTo>
                    <a:pt x="0" y="93582"/>
                    <a:pt x="27691" y="7428"/>
                    <a:pt x="27691" y="4351"/>
                  </a:cubicBezTo>
                  <a:cubicBezTo>
                    <a:pt x="27691" y="1275"/>
                    <a:pt x="30769" y="-1802"/>
                    <a:pt x="33845" y="1275"/>
                  </a:cubicBezTo>
                  <a:cubicBezTo>
                    <a:pt x="36923" y="1275"/>
                    <a:pt x="40000" y="4351"/>
                    <a:pt x="36923" y="7428"/>
                  </a:cubicBezTo>
                  <a:cubicBezTo>
                    <a:pt x="30769" y="32044"/>
                    <a:pt x="9230" y="96659"/>
                    <a:pt x="9230" y="115121"/>
                  </a:cubicBezTo>
                  <a:cubicBezTo>
                    <a:pt x="9230" y="115121"/>
                    <a:pt x="9230" y="118198"/>
                    <a:pt x="9230" y="118198"/>
                  </a:cubicBezTo>
                  <a:cubicBezTo>
                    <a:pt x="15385" y="124351"/>
                    <a:pt x="36923" y="121274"/>
                    <a:pt x="49230" y="118198"/>
                  </a:cubicBezTo>
                  <a:cubicBezTo>
                    <a:pt x="52308" y="118198"/>
                    <a:pt x="55384" y="118198"/>
                    <a:pt x="55384" y="124351"/>
                  </a:cubicBezTo>
                  <a:cubicBezTo>
                    <a:pt x="55384" y="127428"/>
                    <a:pt x="55384" y="130505"/>
                    <a:pt x="49230" y="130505"/>
                  </a:cubicBezTo>
                  <a:cubicBezTo>
                    <a:pt x="49230" y="130505"/>
                    <a:pt x="40000" y="133582"/>
                    <a:pt x="30769" y="133582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3BC228FD-DF15-45DC-A7E7-114F8C9C4E51}"/>
                </a:ext>
              </a:extLst>
            </p:cNvPr>
            <p:cNvSpPr/>
            <p:nvPr/>
          </p:nvSpPr>
          <p:spPr>
            <a:xfrm>
              <a:off x="25039280" y="3439817"/>
              <a:ext cx="107692" cy="55384"/>
            </a:xfrm>
            <a:custGeom>
              <a:avLst/>
              <a:gdLst>
                <a:gd name="connsiteX0" fmla="*/ 107692 w 107692"/>
                <a:gd name="connsiteY0" fmla="*/ 0 h 55384"/>
                <a:gd name="connsiteX1" fmla="*/ 0 w 107692"/>
                <a:gd name="connsiteY1" fmla="*/ 0 h 55384"/>
                <a:gd name="connsiteX2" fmla="*/ 52308 w 107692"/>
                <a:gd name="connsiteY2" fmla="*/ 55385 h 55384"/>
                <a:gd name="connsiteX3" fmla="*/ 107692 w 107692"/>
                <a:gd name="connsiteY3" fmla="*/ 0 h 55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92" h="55384">
                  <a:moveTo>
                    <a:pt x="107692" y="0"/>
                  </a:moveTo>
                  <a:cubicBezTo>
                    <a:pt x="52308" y="24615"/>
                    <a:pt x="0" y="0"/>
                    <a:pt x="0" y="0"/>
                  </a:cubicBezTo>
                  <a:cubicBezTo>
                    <a:pt x="0" y="0"/>
                    <a:pt x="15385" y="55385"/>
                    <a:pt x="52308" y="55385"/>
                  </a:cubicBezTo>
                  <a:cubicBezTo>
                    <a:pt x="92308" y="55385"/>
                    <a:pt x="107692" y="0"/>
                    <a:pt x="107692" y="0"/>
                  </a:cubicBezTo>
                  <a:close/>
                </a:path>
              </a:pathLst>
            </a:custGeom>
            <a:solidFill>
              <a:srgbClr val="FFFFFF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CCE4D29B-1B51-4D45-AB98-DBCAE990932D}"/>
                </a:ext>
              </a:extLst>
            </p:cNvPr>
            <p:cNvSpPr/>
            <p:nvPr/>
          </p:nvSpPr>
          <p:spPr>
            <a:xfrm>
              <a:off x="24983293" y="3229803"/>
              <a:ext cx="41387" cy="41387"/>
            </a:xfrm>
            <a:custGeom>
              <a:avLst/>
              <a:gdLst>
                <a:gd name="connsiteX0" fmla="*/ 40603 w 41387"/>
                <a:gd name="connsiteY0" fmla="*/ 25400 h 41387"/>
                <a:gd name="connsiteX1" fmla="*/ 15988 w 41387"/>
                <a:gd name="connsiteY1" fmla="*/ 40784 h 41387"/>
                <a:gd name="connsiteX2" fmla="*/ 603 w 41387"/>
                <a:gd name="connsiteY2" fmla="*/ 16169 h 41387"/>
                <a:gd name="connsiteX3" fmla="*/ 25218 w 41387"/>
                <a:gd name="connsiteY3" fmla="*/ 784 h 41387"/>
                <a:gd name="connsiteX4" fmla="*/ 40603 w 41387"/>
                <a:gd name="connsiteY4" fmla="*/ 25400 h 4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387">
                  <a:moveTo>
                    <a:pt x="40603" y="25400"/>
                  </a:moveTo>
                  <a:cubicBezTo>
                    <a:pt x="37527" y="34630"/>
                    <a:pt x="28296" y="43861"/>
                    <a:pt x="15988" y="40784"/>
                  </a:cubicBezTo>
                  <a:cubicBezTo>
                    <a:pt x="6758" y="37707"/>
                    <a:pt x="-2473" y="28476"/>
                    <a:pt x="603" y="16169"/>
                  </a:cubicBezTo>
                  <a:cubicBezTo>
                    <a:pt x="3681" y="3861"/>
                    <a:pt x="12912" y="-2293"/>
                    <a:pt x="25218" y="784"/>
                  </a:cubicBezTo>
                  <a:cubicBezTo>
                    <a:pt x="37527" y="3861"/>
                    <a:pt x="43681" y="13092"/>
                    <a:pt x="40603" y="25400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D246D125-00F5-4D17-9795-E67C16070DA4}"/>
                </a:ext>
              </a:extLst>
            </p:cNvPr>
            <p:cNvSpPr/>
            <p:nvPr/>
          </p:nvSpPr>
          <p:spPr>
            <a:xfrm>
              <a:off x="25177138" y="3236137"/>
              <a:ext cx="40604" cy="41207"/>
            </a:xfrm>
            <a:custGeom>
              <a:avLst/>
              <a:gdLst>
                <a:gd name="connsiteX0" fmla="*/ 40605 w 40604"/>
                <a:gd name="connsiteY0" fmla="*/ 25219 h 41207"/>
                <a:gd name="connsiteX1" fmla="*/ 15988 w 40604"/>
                <a:gd name="connsiteY1" fmla="*/ 40604 h 41207"/>
                <a:gd name="connsiteX2" fmla="*/ 603 w 40604"/>
                <a:gd name="connsiteY2" fmla="*/ 15988 h 41207"/>
                <a:gd name="connsiteX3" fmla="*/ 25220 w 40604"/>
                <a:gd name="connsiteY3" fmla="*/ 604 h 41207"/>
                <a:gd name="connsiteX4" fmla="*/ 40605 w 40604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04" h="41207">
                  <a:moveTo>
                    <a:pt x="40605" y="25219"/>
                  </a:moveTo>
                  <a:cubicBezTo>
                    <a:pt x="37527" y="34450"/>
                    <a:pt x="28296" y="43680"/>
                    <a:pt x="15988" y="40604"/>
                  </a:cubicBezTo>
                  <a:cubicBezTo>
                    <a:pt x="6758" y="37527"/>
                    <a:pt x="-2473" y="28296"/>
                    <a:pt x="603" y="15988"/>
                  </a:cubicBezTo>
                  <a:cubicBezTo>
                    <a:pt x="3681" y="6757"/>
                    <a:pt x="12912" y="-2473"/>
                    <a:pt x="25220" y="604"/>
                  </a:cubicBezTo>
                  <a:cubicBezTo>
                    <a:pt x="34451" y="3680"/>
                    <a:pt x="40605" y="12911"/>
                    <a:pt x="40605" y="25219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692B4F64-DA51-4047-8615-74EE715BFEC7}"/>
                </a:ext>
              </a:extLst>
            </p:cNvPr>
            <p:cNvSpPr/>
            <p:nvPr/>
          </p:nvSpPr>
          <p:spPr>
            <a:xfrm>
              <a:off x="24960050" y="3179817"/>
              <a:ext cx="92812" cy="35384"/>
            </a:xfrm>
            <a:custGeom>
              <a:avLst/>
              <a:gdLst>
                <a:gd name="connsiteX0" fmla="*/ 8461 w 92812"/>
                <a:gd name="connsiteY0" fmla="*/ 35385 h 35384"/>
                <a:gd name="connsiteX1" fmla="*/ 2307 w 92812"/>
                <a:gd name="connsiteY1" fmla="*/ 32308 h 35384"/>
                <a:gd name="connsiteX2" fmla="*/ 2307 w 92812"/>
                <a:gd name="connsiteY2" fmla="*/ 20000 h 35384"/>
                <a:gd name="connsiteX3" fmla="*/ 88462 w 92812"/>
                <a:gd name="connsiteY3" fmla="*/ 7692 h 35384"/>
                <a:gd name="connsiteX4" fmla="*/ 91539 w 92812"/>
                <a:gd name="connsiteY4" fmla="*/ 16923 h 35384"/>
                <a:gd name="connsiteX5" fmla="*/ 82308 w 92812"/>
                <a:gd name="connsiteY5" fmla="*/ 20000 h 35384"/>
                <a:gd name="connsiteX6" fmla="*/ 14616 w 92812"/>
                <a:gd name="connsiteY6" fmla="*/ 26154 h 35384"/>
                <a:gd name="connsiteX7" fmla="*/ 8461 w 92812"/>
                <a:gd name="connsiteY7" fmla="*/ 35385 h 35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5384">
                  <a:moveTo>
                    <a:pt x="8461" y="35385"/>
                  </a:moveTo>
                  <a:cubicBezTo>
                    <a:pt x="5385" y="35385"/>
                    <a:pt x="5385" y="35385"/>
                    <a:pt x="2307" y="32308"/>
                  </a:cubicBezTo>
                  <a:cubicBezTo>
                    <a:pt x="-769" y="29231"/>
                    <a:pt x="-769" y="23077"/>
                    <a:pt x="2307" y="20000"/>
                  </a:cubicBezTo>
                  <a:cubicBezTo>
                    <a:pt x="30000" y="-10769"/>
                    <a:pt x="70000" y="1538"/>
                    <a:pt x="88462" y="7692"/>
                  </a:cubicBezTo>
                  <a:cubicBezTo>
                    <a:pt x="91539" y="10769"/>
                    <a:pt x="94615" y="13846"/>
                    <a:pt x="91539" y="16923"/>
                  </a:cubicBezTo>
                  <a:cubicBezTo>
                    <a:pt x="88462" y="20000"/>
                    <a:pt x="85384" y="23077"/>
                    <a:pt x="82308" y="20000"/>
                  </a:cubicBezTo>
                  <a:cubicBezTo>
                    <a:pt x="79230" y="20000"/>
                    <a:pt x="39231" y="-1538"/>
                    <a:pt x="14616" y="26154"/>
                  </a:cubicBezTo>
                  <a:cubicBezTo>
                    <a:pt x="11539" y="32308"/>
                    <a:pt x="8461" y="35385"/>
                    <a:pt x="8461" y="35385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F3BC2A1A-97B5-444B-AE9E-ACFF616DD558}"/>
                </a:ext>
              </a:extLst>
            </p:cNvPr>
            <p:cNvSpPr/>
            <p:nvPr/>
          </p:nvSpPr>
          <p:spPr>
            <a:xfrm>
              <a:off x="25148775" y="3178592"/>
              <a:ext cx="92813" cy="36609"/>
            </a:xfrm>
            <a:custGeom>
              <a:avLst/>
              <a:gdLst>
                <a:gd name="connsiteX0" fmla="*/ 87428 w 92813"/>
                <a:gd name="connsiteY0" fmla="*/ 36610 h 36609"/>
                <a:gd name="connsiteX1" fmla="*/ 81274 w 92813"/>
                <a:gd name="connsiteY1" fmla="*/ 33533 h 36609"/>
                <a:gd name="connsiteX2" fmla="*/ 13582 w 92813"/>
                <a:gd name="connsiteY2" fmla="*/ 27379 h 36609"/>
                <a:gd name="connsiteX3" fmla="*/ 1275 w 92813"/>
                <a:gd name="connsiteY3" fmla="*/ 24302 h 36609"/>
                <a:gd name="connsiteX4" fmla="*/ 4351 w 92813"/>
                <a:gd name="connsiteY4" fmla="*/ 11995 h 36609"/>
                <a:gd name="connsiteX5" fmla="*/ 90505 w 92813"/>
                <a:gd name="connsiteY5" fmla="*/ 21225 h 36609"/>
                <a:gd name="connsiteX6" fmla="*/ 90505 w 92813"/>
                <a:gd name="connsiteY6" fmla="*/ 33533 h 36609"/>
                <a:gd name="connsiteX7" fmla="*/ 87428 w 92813"/>
                <a:gd name="connsiteY7" fmla="*/ 36610 h 3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6609">
                  <a:moveTo>
                    <a:pt x="87428" y="36610"/>
                  </a:moveTo>
                  <a:cubicBezTo>
                    <a:pt x="84352" y="36610"/>
                    <a:pt x="84352" y="36610"/>
                    <a:pt x="81274" y="33533"/>
                  </a:cubicBezTo>
                  <a:cubicBezTo>
                    <a:pt x="81274" y="33533"/>
                    <a:pt x="50505" y="2764"/>
                    <a:pt x="13582" y="27379"/>
                  </a:cubicBezTo>
                  <a:cubicBezTo>
                    <a:pt x="10505" y="30456"/>
                    <a:pt x="4351" y="27379"/>
                    <a:pt x="1275" y="24302"/>
                  </a:cubicBezTo>
                  <a:cubicBezTo>
                    <a:pt x="-1803" y="21225"/>
                    <a:pt x="1275" y="15072"/>
                    <a:pt x="4351" y="11995"/>
                  </a:cubicBezTo>
                  <a:cubicBezTo>
                    <a:pt x="41275" y="-12621"/>
                    <a:pt x="78198" y="5841"/>
                    <a:pt x="90505" y="21225"/>
                  </a:cubicBezTo>
                  <a:cubicBezTo>
                    <a:pt x="93583" y="24302"/>
                    <a:pt x="93583" y="30456"/>
                    <a:pt x="90505" y="33533"/>
                  </a:cubicBezTo>
                  <a:cubicBezTo>
                    <a:pt x="90505" y="36610"/>
                    <a:pt x="90505" y="36610"/>
                    <a:pt x="87428" y="36610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E9A355F5-3655-4911-ABE4-8678422DE24D}"/>
                </a:ext>
              </a:extLst>
            </p:cNvPr>
            <p:cNvSpPr/>
            <p:nvPr/>
          </p:nvSpPr>
          <p:spPr>
            <a:xfrm>
              <a:off x="24900679" y="2953986"/>
              <a:ext cx="279173" cy="261215"/>
            </a:xfrm>
            <a:custGeom>
              <a:avLst/>
              <a:gdLst>
                <a:gd name="connsiteX0" fmla="*/ 277063 w 279173"/>
                <a:gd name="connsiteY0" fmla="*/ 2754 h 261215"/>
                <a:gd name="connsiteX1" fmla="*/ 240141 w 279173"/>
                <a:gd name="connsiteY1" fmla="*/ 131985 h 261215"/>
                <a:gd name="connsiteX2" fmla="*/ 140 w 279173"/>
                <a:gd name="connsiteY2" fmla="*/ 261216 h 261215"/>
                <a:gd name="connsiteX3" fmla="*/ 277063 w 279173"/>
                <a:gd name="connsiteY3" fmla="*/ 2754 h 26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173" h="261215">
                  <a:moveTo>
                    <a:pt x="277063" y="2754"/>
                  </a:moveTo>
                  <a:cubicBezTo>
                    <a:pt x="277063" y="2754"/>
                    <a:pt x="292447" y="91985"/>
                    <a:pt x="240141" y="131985"/>
                  </a:cubicBezTo>
                  <a:cubicBezTo>
                    <a:pt x="240141" y="131985"/>
                    <a:pt x="27833" y="175062"/>
                    <a:pt x="140" y="261216"/>
                  </a:cubicBezTo>
                  <a:cubicBezTo>
                    <a:pt x="140" y="258139"/>
                    <a:pt x="-15245" y="-31092"/>
                    <a:pt x="277063" y="2754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BF947A51-03DA-4CC2-B0AE-4370D248CE76}"/>
                </a:ext>
              </a:extLst>
            </p:cNvPr>
            <p:cNvSpPr/>
            <p:nvPr/>
          </p:nvSpPr>
          <p:spPr>
            <a:xfrm>
              <a:off x="25140820" y="2956741"/>
              <a:ext cx="226325" cy="317422"/>
            </a:xfrm>
            <a:custGeom>
              <a:avLst/>
              <a:gdLst>
                <a:gd name="connsiteX0" fmla="*/ 0 w 226325"/>
                <a:gd name="connsiteY0" fmla="*/ 129231 h 317422"/>
                <a:gd name="connsiteX1" fmla="*/ 141538 w 226325"/>
                <a:gd name="connsiteY1" fmla="*/ 184615 h 317422"/>
                <a:gd name="connsiteX2" fmla="*/ 200000 w 226325"/>
                <a:gd name="connsiteY2" fmla="*/ 304615 h 317422"/>
                <a:gd name="connsiteX3" fmla="*/ 224615 w 226325"/>
                <a:gd name="connsiteY3" fmla="*/ 301539 h 317422"/>
                <a:gd name="connsiteX4" fmla="*/ 33845 w 226325"/>
                <a:gd name="connsiteY4" fmla="*/ 0 h 317422"/>
                <a:gd name="connsiteX5" fmla="*/ 0 w 226325"/>
                <a:gd name="connsiteY5" fmla="*/ 129231 h 317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6325" h="317422">
                  <a:moveTo>
                    <a:pt x="0" y="129231"/>
                  </a:moveTo>
                  <a:cubicBezTo>
                    <a:pt x="0" y="129231"/>
                    <a:pt x="92308" y="178462"/>
                    <a:pt x="141538" y="184615"/>
                  </a:cubicBezTo>
                  <a:cubicBezTo>
                    <a:pt x="193846" y="190769"/>
                    <a:pt x="200000" y="304615"/>
                    <a:pt x="200000" y="304615"/>
                  </a:cubicBezTo>
                  <a:cubicBezTo>
                    <a:pt x="200000" y="304615"/>
                    <a:pt x="221537" y="335385"/>
                    <a:pt x="224615" y="301539"/>
                  </a:cubicBezTo>
                  <a:cubicBezTo>
                    <a:pt x="230769" y="221538"/>
                    <a:pt x="230769" y="21538"/>
                    <a:pt x="33845" y="0"/>
                  </a:cubicBezTo>
                  <a:cubicBezTo>
                    <a:pt x="36922" y="0"/>
                    <a:pt x="24615" y="123077"/>
                    <a:pt x="0" y="129231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6375D733-00CA-4CB2-943C-12323E85E729}"/>
                </a:ext>
              </a:extLst>
            </p:cNvPr>
            <p:cNvSpPr/>
            <p:nvPr/>
          </p:nvSpPr>
          <p:spPr>
            <a:xfrm>
              <a:off x="25137742" y="2999817"/>
              <a:ext cx="156924" cy="144615"/>
            </a:xfrm>
            <a:custGeom>
              <a:avLst/>
              <a:gdLst>
                <a:gd name="connsiteX0" fmla="*/ 147692 w 156924"/>
                <a:gd name="connsiteY0" fmla="*/ 144615 h 144615"/>
                <a:gd name="connsiteX1" fmla="*/ 147692 w 156924"/>
                <a:gd name="connsiteY1" fmla="*/ 144615 h 144615"/>
                <a:gd name="connsiteX2" fmla="*/ 49232 w 156924"/>
                <a:gd name="connsiteY2" fmla="*/ 110769 h 144615"/>
                <a:gd name="connsiteX3" fmla="*/ 3078 w 156924"/>
                <a:gd name="connsiteY3" fmla="*/ 86154 h 144615"/>
                <a:gd name="connsiteX4" fmla="*/ 0 w 156924"/>
                <a:gd name="connsiteY4" fmla="*/ 83077 h 144615"/>
                <a:gd name="connsiteX5" fmla="*/ 0 w 156924"/>
                <a:gd name="connsiteY5" fmla="*/ 76923 h 144615"/>
                <a:gd name="connsiteX6" fmla="*/ 27693 w 156924"/>
                <a:gd name="connsiteY6" fmla="*/ 6154 h 144615"/>
                <a:gd name="connsiteX7" fmla="*/ 33847 w 156924"/>
                <a:gd name="connsiteY7" fmla="*/ 0 h 144615"/>
                <a:gd name="connsiteX8" fmla="*/ 40000 w 156924"/>
                <a:gd name="connsiteY8" fmla="*/ 6154 h 144615"/>
                <a:gd name="connsiteX9" fmla="*/ 15385 w 156924"/>
                <a:gd name="connsiteY9" fmla="*/ 76923 h 144615"/>
                <a:gd name="connsiteX10" fmla="*/ 55384 w 156924"/>
                <a:gd name="connsiteY10" fmla="*/ 98462 h 144615"/>
                <a:gd name="connsiteX11" fmla="*/ 150770 w 156924"/>
                <a:gd name="connsiteY11" fmla="*/ 129231 h 144615"/>
                <a:gd name="connsiteX12" fmla="*/ 156924 w 156924"/>
                <a:gd name="connsiteY12" fmla="*/ 135385 h 144615"/>
                <a:gd name="connsiteX13" fmla="*/ 147692 w 156924"/>
                <a:gd name="connsiteY13" fmla="*/ 144615 h 14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6924" h="144615">
                  <a:moveTo>
                    <a:pt x="147692" y="144615"/>
                  </a:moveTo>
                  <a:cubicBezTo>
                    <a:pt x="147692" y="144615"/>
                    <a:pt x="147692" y="144615"/>
                    <a:pt x="147692" y="144615"/>
                  </a:cubicBezTo>
                  <a:cubicBezTo>
                    <a:pt x="116923" y="141538"/>
                    <a:pt x="83077" y="129231"/>
                    <a:pt x="49232" y="110769"/>
                  </a:cubicBezTo>
                  <a:cubicBezTo>
                    <a:pt x="21539" y="98462"/>
                    <a:pt x="3078" y="86154"/>
                    <a:pt x="3078" y="86154"/>
                  </a:cubicBezTo>
                  <a:cubicBezTo>
                    <a:pt x="3078" y="86154"/>
                    <a:pt x="0" y="83077"/>
                    <a:pt x="0" y="83077"/>
                  </a:cubicBezTo>
                  <a:cubicBezTo>
                    <a:pt x="0" y="80000"/>
                    <a:pt x="0" y="80000"/>
                    <a:pt x="0" y="76923"/>
                  </a:cubicBezTo>
                  <a:cubicBezTo>
                    <a:pt x="6154" y="70769"/>
                    <a:pt x="24615" y="30769"/>
                    <a:pt x="27693" y="6154"/>
                  </a:cubicBezTo>
                  <a:cubicBezTo>
                    <a:pt x="27693" y="3077"/>
                    <a:pt x="30769" y="0"/>
                    <a:pt x="33847" y="0"/>
                  </a:cubicBezTo>
                  <a:cubicBezTo>
                    <a:pt x="36923" y="0"/>
                    <a:pt x="40000" y="3077"/>
                    <a:pt x="40000" y="6154"/>
                  </a:cubicBezTo>
                  <a:cubicBezTo>
                    <a:pt x="40000" y="30769"/>
                    <a:pt x="24615" y="64615"/>
                    <a:pt x="15385" y="76923"/>
                  </a:cubicBezTo>
                  <a:cubicBezTo>
                    <a:pt x="21539" y="80000"/>
                    <a:pt x="36923" y="89231"/>
                    <a:pt x="55384" y="98462"/>
                  </a:cubicBezTo>
                  <a:cubicBezTo>
                    <a:pt x="89232" y="113846"/>
                    <a:pt x="123077" y="126154"/>
                    <a:pt x="150770" y="129231"/>
                  </a:cubicBezTo>
                  <a:cubicBezTo>
                    <a:pt x="153846" y="129231"/>
                    <a:pt x="156924" y="132308"/>
                    <a:pt x="156924" y="135385"/>
                  </a:cubicBezTo>
                  <a:cubicBezTo>
                    <a:pt x="153846" y="141538"/>
                    <a:pt x="150770" y="144615"/>
                    <a:pt x="147692" y="144615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45C2EECF-F0CD-4A9A-9CA3-DA04928CD42A}"/>
                </a:ext>
              </a:extLst>
            </p:cNvPr>
            <p:cNvSpPr/>
            <p:nvPr/>
          </p:nvSpPr>
          <p:spPr>
            <a:xfrm>
              <a:off x="25021588" y="3484697"/>
              <a:ext cx="225120" cy="81274"/>
            </a:xfrm>
            <a:custGeom>
              <a:avLst/>
              <a:gdLst>
                <a:gd name="connsiteX0" fmla="*/ 73078 w 225120"/>
                <a:gd name="connsiteY0" fmla="*/ 81275 h 81274"/>
                <a:gd name="connsiteX1" fmla="*/ 2307 w 225120"/>
                <a:gd name="connsiteY1" fmla="*/ 53582 h 81274"/>
                <a:gd name="connsiteX2" fmla="*/ 2307 w 225120"/>
                <a:gd name="connsiteY2" fmla="*/ 44351 h 81274"/>
                <a:gd name="connsiteX3" fmla="*/ 11539 w 225120"/>
                <a:gd name="connsiteY3" fmla="*/ 44351 h 81274"/>
                <a:gd name="connsiteX4" fmla="*/ 82308 w 225120"/>
                <a:gd name="connsiteY4" fmla="*/ 68967 h 81274"/>
                <a:gd name="connsiteX5" fmla="*/ 214616 w 225120"/>
                <a:gd name="connsiteY5" fmla="*/ 1274 h 81274"/>
                <a:gd name="connsiteX6" fmla="*/ 223846 w 225120"/>
                <a:gd name="connsiteY6" fmla="*/ 4351 h 81274"/>
                <a:gd name="connsiteX7" fmla="*/ 220770 w 225120"/>
                <a:gd name="connsiteY7" fmla="*/ 13582 h 81274"/>
                <a:gd name="connsiteX8" fmla="*/ 82308 w 225120"/>
                <a:gd name="connsiteY8" fmla="*/ 81275 h 81274"/>
                <a:gd name="connsiteX9" fmla="*/ 73078 w 225120"/>
                <a:gd name="connsiteY9" fmla="*/ 81275 h 81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120" h="81274">
                  <a:moveTo>
                    <a:pt x="73078" y="81275"/>
                  </a:moveTo>
                  <a:cubicBezTo>
                    <a:pt x="33076" y="81275"/>
                    <a:pt x="5385" y="53582"/>
                    <a:pt x="2307" y="53582"/>
                  </a:cubicBezTo>
                  <a:cubicBezTo>
                    <a:pt x="-769" y="50505"/>
                    <a:pt x="-769" y="47428"/>
                    <a:pt x="2307" y="44351"/>
                  </a:cubicBezTo>
                  <a:cubicBezTo>
                    <a:pt x="5385" y="41275"/>
                    <a:pt x="8461" y="41275"/>
                    <a:pt x="11539" y="44351"/>
                  </a:cubicBezTo>
                  <a:cubicBezTo>
                    <a:pt x="11539" y="44351"/>
                    <a:pt x="45385" y="75121"/>
                    <a:pt x="82308" y="68967"/>
                  </a:cubicBezTo>
                  <a:cubicBezTo>
                    <a:pt x="122308" y="62813"/>
                    <a:pt x="214616" y="1274"/>
                    <a:pt x="214616" y="1274"/>
                  </a:cubicBezTo>
                  <a:cubicBezTo>
                    <a:pt x="217692" y="-1802"/>
                    <a:pt x="220770" y="1274"/>
                    <a:pt x="223846" y="4351"/>
                  </a:cubicBezTo>
                  <a:cubicBezTo>
                    <a:pt x="226924" y="7428"/>
                    <a:pt x="223846" y="10505"/>
                    <a:pt x="220770" y="13582"/>
                  </a:cubicBezTo>
                  <a:cubicBezTo>
                    <a:pt x="217692" y="16659"/>
                    <a:pt x="125384" y="78198"/>
                    <a:pt x="82308" y="81275"/>
                  </a:cubicBezTo>
                  <a:cubicBezTo>
                    <a:pt x="79230" y="81275"/>
                    <a:pt x="76154" y="81275"/>
                    <a:pt x="73078" y="81275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3641676-C1EF-4CD8-9343-4AA02BEF7F34}"/>
                </a:ext>
              </a:extLst>
            </p:cNvPr>
            <p:cNvSpPr/>
            <p:nvPr/>
          </p:nvSpPr>
          <p:spPr>
            <a:xfrm>
              <a:off x="25305606" y="3244473"/>
              <a:ext cx="79665" cy="115101"/>
            </a:xfrm>
            <a:custGeom>
              <a:avLst/>
              <a:gdLst>
                <a:gd name="connsiteX0" fmla="*/ 13675 w 79665"/>
                <a:gd name="connsiteY0" fmla="*/ 16883 h 115101"/>
                <a:gd name="connsiteX1" fmla="*/ 72136 w 79665"/>
                <a:gd name="connsiteY1" fmla="*/ 7652 h 115101"/>
                <a:gd name="connsiteX2" fmla="*/ 13675 w 79665"/>
                <a:gd name="connsiteY2" fmla="*/ 112268 h 115101"/>
                <a:gd name="connsiteX3" fmla="*/ 13675 w 79665"/>
                <a:gd name="connsiteY3" fmla="*/ 16883 h 115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665" h="115101">
                  <a:moveTo>
                    <a:pt x="13675" y="16883"/>
                  </a:moveTo>
                  <a:cubicBezTo>
                    <a:pt x="13675" y="16883"/>
                    <a:pt x="47521" y="-13886"/>
                    <a:pt x="72136" y="7652"/>
                  </a:cubicBezTo>
                  <a:cubicBezTo>
                    <a:pt x="96753" y="26114"/>
                    <a:pt x="56751" y="133806"/>
                    <a:pt x="13675" y="112268"/>
                  </a:cubicBezTo>
                  <a:cubicBezTo>
                    <a:pt x="-17094" y="90729"/>
                    <a:pt x="13675" y="16883"/>
                    <a:pt x="13675" y="16883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576BB809-B9D6-4E40-AA8B-9DA6C67BD600}"/>
                </a:ext>
              </a:extLst>
            </p:cNvPr>
            <p:cNvSpPr/>
            <p:nvPr/>
          </p:nvSpPr>
          <p:spPr>
            <a:xfrm>
              <a:off x="24894666" y="3076741"/>
              <a:ext cx="255384" cy="160000"/>
            </a:xfrm>
            <a:custGeom>
              <a:avLst/>
              <a:gdLst>
                <a:gd name="connsiteX0" fmla="*/ 6152 w 255384"/>
                <a:gd name="connsiteY0" fmla="*/ 160000 h 160000"/>
                <a:gd name="connsiteX1" fmla="*/ 6152 w 255384"/>
                <a:gd name="connsiteY1" fmla="*/ 160000 h 160000"/>
                <a:gd name="connsiteX2" fmla="*/ 0 w 255384"/>
                <a:gd name="connsiteY2" fmla="*/ 153846 h 160000"/>
                <a:gd name="connsiteX3" fmla="*/ 110768 w 255384"/>
                <a:gd name="connsiteY3" fmla="*/ 46154 h 160000"/>
                <a:gd name="connsiteX4" fmla="*/ 246154 w 255384"/>
                <a:gd name="connsiteY4" fmla="*/ 0 h 160000"/>
                <a:gd name="connsiteX5" fmla="*/ 255384 w 255384"/>
                <a:gd name="connsiteY5" fmla="*/ 3077 h 160000"/>
                <a:gd name="connsiteX6" fmla="*/ 252306 w 255384"/>
                <a:gd name="connsiteY6" fmla="*/ 12308 h 160000"/>
                <a:gd name="connsiteX7" fmla="*/ 116923 w 255384"/>
                <a:gd name="connsiteY7" fmla="*/ 58462 h 160000"/>
                <a:gd name="connsiteX8" fmla="*/ 15385 w 255384"/>
                <a:gd name="connsiteY8" fmla="*/ 156923 h 160000"/>
                <a:gd name="connsiteX9" fmla="*/ 6152 w 255384"/>
                <a:gd name="connsiteY9" fmla="*/ 160000 h 1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5384" h="160000">
                  <a:moveTo>
                    <a:pt x="6152" y="160000"/>
                  </a:moveTo>
                  <a:cubicBezTo>
                    <a:pt x="6152" y="160000"/>
                    <a:pt x="6152" y="160000"/>
                    <a:pt x="6152" y="160000"/>
                  </a:cubicBezTo>
                  <a:cubicBezTo>
                    <a:pt x="3076" y="160000"/>
                    <a:pt x="0" y="156923"/>
                    <a:pt x="0" y="153846"/>
                  </a:cubicBezTo>
                  <a:cubicBezTo>
                    <a:pt x="12307" y="83077"/>
                    <a:pt x="61538" y="61538"/>
                    <a:pt x="110768" y="46154"/>
                  </a:cubicBezTo>
                  <a:cubicBezTo>
                    <a:pt x="178461" y="27692"/>
                    <a:pt x="243076" y="0"/>
                    <a:pt x="246154" y="0"/>
                  </a:cubicBezTo>
                  <a:cubicBezTo>
                    <a:pt x="249230" y="0"/>
                    <a:pt x="252306" y="0"/>
                    <a:pt x="255384" y="3077"/>
                  </a:cubicBezTo>
                  <a:cubicBezTo>
                    <a:pt x="255384" y="6154"/>
                    <a:pt x="255384" y="9231"/>
                    <a:pt x="252306" y="12308"/>
                  </a:cubicBezTo>
                  <a:cubicBezTo>
                    <a:pt x="252306" y="12308"/>
                    <a:pt x="184615" y="36923"/>
                    <a:pt x="116923" y="58462"/>
                  </a:cubicBezTo>
                  <a:cubicBezTo>
                    <a:pt x="61538" y="73846"/>
                    <a:pt x="24615" y="98462"/>
                    <a:pt x="15385" y="156923"/>
                  </a:cubicBezTo>
                  <a:cubicBezTo>
                    <a:pt x="12307" y="156923"/>
                    <a:pt x="9230" y="160000"/>
                    <a:pt x="6152" y="160000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0" name="图形 1">
              <a:extLst>
                <a:ext uri="{FF2B5EF4-FFF2-40B4-BE49-F238E27FC236}">
                  <a16:creationId xmlns:a16="http://schemas.microsoft.com/office/drawing/2014/main" id="{A6FF2F5F-1717-4864-8302-A73932ECD2BA}"/>
                </a:ext>
              </a:extLst>
            </p:cNvPr>
            <p:cNvGrpSpPr/>
            <p:nvPr/>
          </p:nvGrpSpPr>
          <p:grpSpPr>
            <a:xfrm>
              <a:off x="24910820" y="2749577"/>
              <a:ext cx="580768" cy="300838"/>
              <a:chOff x="24910820" y="2749577"/>
              <a:chExt cx="580768" cy="300838"/>
            </a:xfrm>
          </p:grpSpPr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3D3B89ED-43E4-4F0E-9B05-482D4485336D}"/>
                  </a:ext>
                </a:extLst>
              </p:cNvPr>
              <p:cNvSpPr/>
              <p:nvPr/>
            </p:nvSpPr>
            <p:spPr>
              <a:xfrm>
                <a:off x="24913127" y="2769048"/>
                <a:ext cx="566154" cy="281367"/>
              </a:xfrm>
              <a:custGeom>
                <a:avLst/>
                <a:gdLst>
                  <a:gd name="connsiteX0" fmla="*/ 0 w 566154"/>
                  <a:gd name="connsiteY0" fmla="*/ 0 h 281367"/>
                  <a:gd name="connsiteX1" fmla="*/ 9230 w 566154"/>
                  <a:gd name="connsiteY1" fmla="*/ 193846 h 281367"/>
                  <a:gd name="connsiteX2" fmla="*/ 492308 w 566154"/>
                  <a:gd name="connsiteY2" fmla="*/ 276923 h 281367"/>
                  <a:gd name="connsiteX3" fmla="*/ 566155 w 566154"/>
                  <a:gd name="connsiteY3" fmla="*/ 83077 h 281367"/>
                  <a:gd name="connsiteX4" fmla="*/ 0 w 566154"/>
                  <a:gd name="connsiteY4" fmla="*/ 0 h 281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154" h="281367">
                    <a:moveTo>
                      <a:pt x="0" y="0"/>
                    </a:moveTo>
                    <a:lnTo>
                      <a:pt x="9230" y="193846"/>
                    </a:lnTo>
                    <a:cubicBezTo>
                      <a:pt x="9230" y="193846"/>
                      <a:pt x="156922" y="304615"/>
                      <a:pt x="492308" y="276923"/>
                    </a:cubicBezTo>
                    <a:lnTo>
                      <a:pt x="566155" y="83077"/>
                    </a:lnTo>
                    <a:cubicBezTo>
                      <a:pt x="566155" y="86154"/>
                      <a:pt x="243078" y="123077"/>
                      <a:pt x="0" y="0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F8540A2A-D705-415C-BC81-E5E9C600DA85}"/>
                  </a:ext>
                </a:extLst>
              </p:cNvPr>
              <p:cNvSpPr/>
              <p:nvPr/>
            </p:nvSpPr>
            <p:spPr>
              <a:xfrm>
                <a:off x="24913127" y="2749577"/>
                <a:ext cx="566154" cy="116403"/>
              </a:xfrm>
              <a:custGeom>
                <a:avLst/>
                <a:gdLst>
                  <a:gd name="connsiteX0" fmla="*/ 0 w 566154"/>
                  <a:gd name="connsiteY0" fmla="*/ 19471 h 116403"/>
                  <a:gd name="connsiteX1" fmla="*/ 566155 w 566154"/>
                  <a:gd name="connsiteY1" fmla="*/ 105625 h 116403"/>
                  <a:gd name="connsiteX2" fmla="*/ 0 w 566154"/>
                  <a:gd name="connsiteY2" fmla="*/ 19471 h 116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6154" h="116403">
                    <a:moveTo>
                      <a:pt x="0" y="19471"/>
                    </a:moveTo>
                    <a:cubicBezTo>
                      <a:pt x="0" y="19471"/>
                      <a:pt x="206154" y="154856"/>
                      <a:pt x="566155" y="105625"/>
                    </a:cubicBezTo>
                    <a:cubicBezTo>
                      <a:pt x="566155" y="105625"/>
                      <a:pt x="310768" y="-54375"/>
                      <a:pt x="0" y="19471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7EE5C843-35D4-43C4-BEAB-822BB581C5A6}"/>
                  </a:ext>
                </a:extLst>
              </p:cNvPr>
              <p:cNvSpPr/>
              <p:nvPr/>
            </p:nvSpPr>
            <p:spPr>
              <a:xfrm>
                <a:off x="24910820" y="2760587"/>
                <a:ext cx="580768" cy="113076"/>
              </a:xfrm>
              <a:custGeom>
                <a:avLst/>
                <a:gdLst>
                  <a:gd name="connsiteX0" fmla="*/ 405383 w 580768"/>
                  <a:gd name="connsiteY0" fmla="*/ 113077 h 113076"/>
                  <a:gd name="connsiteX1" fmla="*/ 2307 w 580768"/>
                  <a:gd name="connsiteY1" fmla="*/ 11538 h 113076"/>
                  <a:gd name="connsiteX2" fmla="*/ 2307 w 580768"/>
                  <a:gd name="connsiteY2" fmla="*/ 2308 h 113076"/>
                  <a:gd name="connsiteX3" fmla="*/ 11538 w 580768"/>
                  <a:gd name="connsiteY3" fmla="*/ 2308 h 113076"/>
                  <a:gd name="connsiteX4" fmla="*/ 574614 w 580768"/>
                  <a:gd name="connsiteY4" fmla="*/ 88462 h 113076"/>
                  <a:gd name="connsiteX5" fmla="*/ 580768 w 580768"/>
                  <a:gd name="connsiteY5" fmla="*/ 94615 h 113076"/>
                  <a:gd name="connsiteX6" fmla="*/ 574614 w 580768"/>
                  <a:gd name="connsiteY6" fmla="*/ 100769 h 113076"/>
                  <a:gd name="connsiteX7" fmla="*/ 405383 w 580768"/>
                  <a:gd name="connsiteY7" fmla="*/ 113077 h 11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80768" h="113076">
                    <a:moveTo>
                      <a:pt x="405383" y="113077"/>
                    </a:moveTo>
                    <a:cubicBezTo>
                      <a:pt x="146923" y="113077"/>
                      <a:pt x="2307" y="14615"/>
                      <a:pt x="2307" y="11538"/>
                    </a:cubicBezTo>
                    <a:cubicBezTo>
                      <a:pt x="-769" y="8462"/>
                      <a:pt x="-769" y="5385"/>
                      <a:pt x="2307" y="2308"/>
                    </a:cubicBezTo>
                    <a:cubicBezTo>
                      <a:pt x="5383" y="-769"/>
                      <a:pt x="8461" y="-769"/>
                      <a:pt x="11538" y="2308"/>
                    </a:cubicBezTo>
                    <a:cubicBezTo>
                      <a:pt x="14616" y="2308"/>
                      <a:pt x="217692" y="143846"/>
                      <a:pt x="574614" y="88462"/>
                    </a:cubicBezTo>
                    <a:cubicBezTo>
                      <a:pt x="577692" y="88462"/>
                      <a:pt x="580768" y="91538"/>
                      <a:pt x="580768" y="94615"/>
                    </a:cubicBezTo>
                    <a:cubicBezTo>
                      <a:pt x="580768" y="97692"/>
                      <a:pt x="577692" y="100769"/>
                      <a:pt x="574614" y="100769"/>
                    </a:cubicBezTo>
                    <a:cubicBezTo>
                      <a:pt x="509999" y="110000"/>
                      <a:pt x="454615" y="113077"/>
                      <a:pt x="405383" y="11307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F63E24E0-8219-424B-8A24-5EE628E7D41F}"/>
                  </a:ext>
                </a:extLst>
              </p:cNvPr>
              <p:cNvSpPr/>
              <p:nvPr/>
            </p:nvSpPr>
            <p:spPr>
              <a:xfrm>
                <a:off x="25082358" y="2879817"/>
                <a:ext cx="135385" cy="138461"/>
              </a:xfrm>
              <a:custGeom>
                <a:avLst/>
                <a:gdLst>
                  <a:gd name="connsiteX0" fmla="*/ 135385 w 135385"/>
                  <a:gd name="connsiteY0" fmla="*/ 61538 h 138461"/>
                  <a:gd name="connsiteX1" fmla="*/ 89232 w 135385"/>
                  <a:gd name="connsiteY1" fmla="*/ 55385 h 138461"/>
                  <a:gd name="connsiteX2" fmla="*/ 95384 w 135385"/>
                  <a:gd name="connsiteY2" fmla="*/ 6154 h 138461"/>
                  <a:gd name="connsiteX3" fmla="*/ 61538 w 135385"/>
                  <a:gd name="connsiteY3" fmla="*/ 0 h 138461"/>
                  <a:gd name="connsiteX4" fmla="*/ 52308 w 135385"/>
                  <a:gd name="connsiteY4" fmla="*/ 49231 h 138461"/>
                  <a:gd name="connsiteX5" fmla="*/ 6154 w 135385"/>
                  <a:gd name="connsiteY5" fmla="*/ 43077 h 138461"/>
                  <a:gd name="connsiteX6" fmla="*/ 0 w 135385"/>
                  <a:gd name="connsiteY6" fmla="*/ 76923 h 138461"/>
                  <a:gd name="connsiteX7" fmla="*/ 49230 w 135385"/>
                  <a:gd name="connsiteY7" fmla="*/ 83077 h 138461"/>
                  <a:gd name="connsiteX8" fmla="*/ 43078 w 135385"/>
                  <a:gd name="connsiteY8" fmla="*/ 132308 h 138461"/>
                  <a:gd name="connsiteX9" fmla="*/ 76923 w 135385"/>
                  <a:gd name="connsiteY9" fmla="*/ 138462 h 138461"/>
                  <a:gd name="connsiteX10" fmla="*/ 83077 w 135385"/>
                  <a:gd name="connsiteY10" fmla="*/ 89231 h 138461"/>
                  <a:gd name="connsiteX11" fmla="*/ 132307 w 135385"/>
                  <a:gd name="connsiteY11" fmla="*/ 95385 h 13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5385" h="138461">
                    <a:moveTo>
                      <a:pt x="135385" y="61538"/>
                    </a:moveTo>
                    <a:lnTo>
                      <a:pt x="89232" y="55385"/>
                    </a:lnTo>
                    <a:lnTo>
                      <a:pt x="95384" y="6154"/>
                    </a:lnTo>
                    <a:lnTo>
                      <a:pt x="61538" y="0"/>
                    </a:lnTo>
                    <a:lnTo>
                      <a:pt x="52308" y="49231"/>
                    </a:lnTo>
                    <a:lnTo>
                      <a:pt x="6154" y="43077"/>
                    </a:lnTo>
                    <a:lnTo>
                      <a:pt x="0" y="76923"/>
                    </a:lnTo>
                    <a:lnTo>
                      <a:pt x="49230" y="83077"/>
                    </a:lnTo>
                    <a:lnTo>
                      <a:pt x="43078" y="132308"/>
                    </a:lnTo>
                    <a:lnTo>
                      <a:pt x="76923" y="138462"/>
                    </a:lnTo>
                    <a:lnTo>
                      <a:pt x="83077" y="89231"/>
                    </a:lnTo>
                    <a:lnTo>
                      <a:pt x="132307" y="95385"/>
                    </a:ln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4AB7ACCF-DF71-4E09-B257-FFD98F717EC5}"/>
                </a:ext>
              </a:extLst>
            </p:cNvPr>
            <p:cNvSpPr/>
            <p:nvPr/>
          </p:nvSpPr>
          <p:spPr>
            <a:xfrm>
              <a:off x="25083400" y="3630587"/>
              <a:ext cx="594513" cy="2203076"/>
            </a:xfrm>
            <a:custGeom>
              <a:avLst/>
              <a:gdLst>
                <a:gd name="connsiteX0" fmla="*/ 23573 w 594513"/>
                <a:gd name="connsiteY0" fmla="*/ 307692 h 2203076"/>
                <a:gd name="connsiteX1" fmla="*/ 75881 w 594513"/>
                <a:gd name="connsiteY1" fmla="*/ 1043077 h 2203076"/>
                <a:gd name="connsiteX2" fmla="*/ 134344 w 594513"/>
                <a:gd name="connsiteY2" fmla="*/ 2203077 h 2203076"/>
                <a:gd name="connsiteX3" fmla="*/ 571265 w 594513"/>
                <a:gd name="connsiteY3" fmla="*/ 2203077 h 2203076"/>
                <a:gd name="connsiteX4" fmla="*/ 571265 w 594513"/>
                <a:gd name="connsiteY4" fmla="*/ 1341539 h 2203076"/>
                <a:gd name="connsiteX5" fmla="*/ 435882 w 594513"/>
                <a:gd name="connsiteY5" fmla="*/ 864615 h 2203076"/>
                <a:gd name="connsiteX6" fmla="*/ 454343 w 594513"/>
                <a:gd name="connsiteY6" fmla="*/ 393846 h 2203076"/>
                <a:gd name="connsiteX7" fmla="*/ 454343 w 594513"/>
                <a:gd name="connsiteY7" fmla="*/ 120000 h 2203076"/>
                <a:gd name="connsiteX8" fmla="*/ 189728 w 594513"/>
                <a:gd name="connsiteY8" fmla="*/ 0 h 2203076"/>
                <a:gd name="connsiteX9" fmla="*/ 23573 w 594513"/>
                <a:gd name="connsiteY9" fmla="*/ 307692 h 220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513" h="2203076">
                  <a:moveTo>
                    <a:pt x="23573" y="307692"/>
                  </a:moveTo>
                  <a:cubicBezTo>
                    <a:pt x="-37965" y="544615"/>
                    <a:pt x="35882" y="796923"/>
                    <a:pt x="75881" y="1043077"/>
                  </a:cubicBezTo>
                  <a:cubicBezTo>
                    <a:pt x="109727" y="1240000"/>
                    <a:pt x="134344" y="2203077"/>
                    <a:pt x="134344" y="2203077"/>
                  </a:cubicBezTo>
                  <a:lnTo>
                    <a:pt x="571265" y="2203077"/>
                  </a:lnTo>
                  <a:cubicBezTo>
                    <a:pt x="571265" y="2203077"/>
                    <a:pt x="623573" y="1569231"/>
                    <a:pt x="571265" y="1341539"/>
                  </a:cubicBezTo>
                  <a:cubicBezTo>
                    <a:pt x="534344" y="1181538"/>
                    <a:pt x="463573" y="1006154"/>
                    <a:pt x="435882" y="864615"/>
                  </a:cubicBezTo>
                  <a:cubicBezTo>
                    <a:pt x="405113" y="707692"/>
                    <a:pt x="414343" y="550769"/>
                    <a:pt x="454343" y="393846"/>
                  </a:cubicBezTo>
                  <a:cubicBezTo>
                    <a:pt x="478958" y="301538"/>
                    <a:pt x="515881" y="206154"/>
                    <a:pt x="454343" y="120000"/>
                  </a:cubicBezTo>
                  <a:cubicBezTo>
                    <a:pt x="402034" y="49231"/>
                    <a:pt x="269727" y="12308"/>
                    <a:pt x="189728" y="0"/>
                  </a:cubicBezTo>
                  <a:cubicBezTo>
                    <a:pt x="186650" y="0"/>
                    <a:pt x="51266" y="206154"/>
                    <a:pt x="23573" y="307692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2D5338A0-804E-47D9-9858-100DA48A38B4}"/>
                </a:ext>
              </a:extLst>
            </p:cNvPr>
            <p:cNvSpPr/>
            <p:nvPr/>
          </p:nvSpPr>
          <p:spPr>
            <a:xfrm>
              <a:off x="24633763" y="3639817"/>
              <a:ext cx="368595" cy="2193846"/>
            </a:xfrm>
            <a:custGeom>
              <a:avLst/>
              <a:gdLst>
                <a:gd name="connsiteX0" fmla="*/ 30134 w 368595"/>
                <a:gd name="connsiteY0" fmla="*/ 495385 h 2193846"/>
                <a:gd name="connsiteX1" fmla="*/ 60903 w 368595"/>
                <a:gd name="connsiteY1" fmla="*/ 729231 h 2193846"/>
                <a:gd name="connsiteX2" fmla="*/ 57825 w 368595"/>
                <a:gd name="connsiteY2" fmla="*/ 963077 h 2193846"/>
                <a:gd name="connsiteX3" fmla="*/ 48595 w 368595"/>
                <a:gd name="connsiteY3" fmla="*/ 1116923 h 2193846"/>
                <a:gd name="connsiteX4" fmla="*/ 2441 w 368595"/>
                <a:gd name="connsiteY4" fmla="*/ 2193846 h 2193846"/>
                <a:gd name="connsiteX5" fmla="*/ 156287 w 368595"/>
                <a:gd name="connsiteY5" fmla="*/ 2193846 h 2193846"/>
                <a:gd name="connsiteX6" fmla="*/ 153211 w 368595"/>
                <a:gd name="connsiteY6" fmla="*/ 1089231 h 2193846"/>
                <a:gd name="connsiteX7" fmla="*/ 171672 w 368595"/>
                <a:gd name="connsiteY7" fmla="*/ 741538 h 2193846"/>
                <a:gd name="connsiteX8" fmla="*/ 343979 w 368595"/>
                <a:gd name="connsiteY8" fmla="*/ 18462 h 2193846"/>
                <a:gd name="connsiteX9" fmla="*/ 368596 w 368595"/>
                <a:gd name="connsiteY9" fmla="*/ 0 h 2193846"/>
                <a:gd name="connsiteX10" fmla="*/ 30134 w 368595"/>
                <a:gd name="connsiteY10" fmla="*/ 495385 h 219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8595" h="2193846">
                  <a:moveTo>
                    <a:pt x="30134" y="495385"/>
                  </a:moveTo>
                  <a:cubicBezTo>
                    <a:pt x="39364" y="575385"/>
                    <a:pt x="57825" y="649231"/>
                    <a:pt x="60903" y="729231"/>
                  </a:cubicBezTo>
                  <a:cubicBezTo>
                    <a:pt x="63979" y="806154"/>
                    <a:pt x="60903" y="886154"/>
                    <a:pt x="57825" y="963077"/>
                  </a:cubicBezTo>
                  <a:cubicBezTo>
                    <a:pt x="54749" y="1015385"/>
                    <a:pt x="54749" y="1067693"/>
                    <a:pt x="48595" y="1116923"/>
                  </a:cubicBezTo>
                  <a:cubicBezTo>
                    <a:pt x="-16020" y="1476923"/>
                    <a:pt x="2441" y="2193846"/>
                    <a:pt x="2441" y="2193846"/>
                  </a:cubicBezTo>
                  <a:lnTo>
                    <a:pt x="156287" y="2193846"/>
                  </a:lnTo>
                  <a:cubicBezTo>
                    <a:pt x="113209" y="1929231"/>
                    <a:pt x="153211" y="1089231"/>
                    <a:pt x="153211" y="1089231"/>
                  </a:cubicBezTo>
                  <a:cubicBezTo>
                    <a:pt x="193211" y="975385"/>
                    <a:pt x="183980" y="861538"/>
                    <a:pt x="171672" y="741538"/>
                  </a:cubicBezTo>
                  <a:cubicBezTo>
                    <a:pt x="143979" y="483077"/>
                    <a:pt x="183980" y="230769"/>
                    <a:pt x="343979" y="18462"/>
                  </a:cubicBezTo>
                  <a:cubicBezTo>
                    <a:pt x="347057" y="15385"/>
                    <a:pt x="356287" y="15385"/>
                    <a:pt x="368596" y="0"/>
                  </a:cubicBezTo>
                  <a:cubicBezTo>
                    <a:pt x="110133" y="3077"/>
                    <a:pt x="5517" y="280000"/>
                    <a:pt x="30134" y="495385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FA85620B-D486-4014-8F3D-E90462A7928E}"/>
                </a:ext>
              </a:extLst>
            </p:cNvPr>
            <p:cNvSpPr/>
            <p:nvPr/>
          </p:nvSpPr>
          <p:spPr>
            <a:xfrm>
              <a:off x="24696908" y="3725971"/>
              <a:ext cx="102372" cy="667692"/>
            </a:xfrm>
            <a:custGeom>
              <a:avLst/>
              <a:gdLst>
                <a:gd name="connsiteX0" fmla="*/ 31604 w 102372"/>
                <a:gd name="connsiteY0" fmla="*/ 667692 h 667692"/>
                <a:gd name="connsiteX1" fmla="*/ 25450 w 102372"/>
                <a:gd name="connsiteY1" fmla="*/ 661538 h 667692"/>
                <a:gd name="connsiteX2" fmla="*/ 10065 w 102372"/>
                <a:gd name="connsiteY2" fmla="*/ 446154 h 667692"/>
                <a:gd name="connsiteX3" fmla="*/ 835 w 102372"/>
                <a:gd name="connsiteY3" fmla="*/ 350769 h 667692"/>
                <a:gd name="connsiteX4" fmla="*/ 90066 w 102372"/>
                <a:gd name="connsiteY4" fmla="*/ 3077 h 667692"/>
                <a:gd name="connsiteX5" fmla="*/ 99297 w 102372"/>
                <a:gd name="connsiteY5" fmla="*/ 0 h 667692"/>
                <a:gd name="connsiteX6" fmla="*/ 102373 w 102372"/>
                <a:gd name="connsiteY6" fmla="*/ 9231 h 667692"/>
                <a:gd name="connsiteX7" fmla="*/ 13143 w 102372"/>
                <a:gd name="connsiteY7" fmla="*/ 350769 h 667692"/>
                <a:gd name="connsiteX8" fmla="*/ 22374 w 102372"/>
                <a:gd name="connsiteY8" fmla="*/ 446154 h 667692"/>
                <a:gd name="connsiteX9" fmla="*/ 37758 w 102372"/>
                <a:gd name="connsiteY9" fmla="*/ 664615 h 667692"/>
                <a:gd name="connsiteX10" fmla="*/ 31604 w 102372"/>
                <a:gd name="connsiteY10" fmla="*/ 667692 h 66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2372" h="667692">
                  <a:moveTo>
                    <a:pt x="31604" y="667692"/>
                  </a:moveTo>
                  <a:cubicBezTo>
                    <a:pt x="28528" y="667692"/>
                    <a:pt x="25450" y="664615"/>
                    <a:pt x="25450" y="661538"/>
                  </a:cubicBezTo>
                  <a:cubicBezTo>
                    <a:pt x="25450" y="600000"/>
                    <a:pt x="16219" y="513846"/>
                    <a:pt x="10065" y="446154"/>
                  </a:cubicBezTo>
                  <a:cubicBezTo>
                    <a:pt x="6989" y="406154"/>
                    <a:pt x="835" y="372308"/>
                    <a:pt x="835" y="350769"/>
                  </a:cubicBezTo>
                  <a:cubicBezTo>
                    <a:pt x="-5320" y="224615"/>
                    <a:pt x="22374" y="107692"/>
                    <a:pt x="90066" y="3077"/>
                  </a:cubicBezTo>
                  <a:cubicBezTo>
                    <a:pt x="93142" y="0"/>
                    <a:pt x="96219" y="0"/>
                    <a:pt x="99297" y="0"/>
                  </a:cubicBezTo>
                  <a:cubicBezTo>
                    <a:pt x="102373" y="3077"/>
                    <a:pt x="102373" y="6154"/>
                    <a:pt x="102373" y="9231"/>
                  </a:cubicBezTo>
                  <a:cubicBezTo>
                    <a:pt x="37758" y="113846"/>
                    <a:pt x="6989" y="227692"/>
                    <a:pt x="13143" y="350769"/>
                  </a:cubicBezTo>
                  <a:cubicBezTo>
                    <a:pt x="13143" y="372308"/>
                    <a:pt x="19295" y="406154"/>
                    <a:pt x="22374" y="446154"/>
                  </a:cubicBezTo>
                  <a:cubicBezTo>
                    <a:pt x="28528" y="513846"/>
                    <a:pt x="37758" y="600000"/>
                    <a:pt x="37758" y="664615"/>
                  </a:cubicBezTo>
                  <a:cubicBezTo>
                    <a:pt x="34680" y="664615"/>
                    <a:pt x="34680" y="667692"/>
                    <a:pt x="31604" y="667692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427F08EB-94AD-499B-993B-F4F580A1E97C}"/>
                </a:ext>
              </a:extLst>
            </p:cNvPr>
            <p:cNvGrpSpPr/>
            <p:nvPr/>
          </p:nvGrpSpPr>
          <p:grpSpPr>
            <a:xfrm>
              <a:off x="25435684" y="4449048"/>
              <a:ext cx="923596" cy="683076"/>
              <a:chOff x="25435684" y="4449048"/>
              <a:chExt cx="923596" cy="683076"/>
            </a:xfrm>
          </p:grpSpPr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A616320A-7518-4E91-BF70-A79E0F12B7F0}"/>
                  </a:ext>
                </a:extLst>
              </p:cNvPr>
              <p:cNvSpPr/>
              <p:nvPr/>
            </p:nvSpPr>
            <p:spPr>
              <a:xfrm>
                <a:off x="25531588" y="4449048"/>
                <a:ext cx="827693" cy="683076"/>
              </a:xfrm>
              <a:custGeom>
                <a:avLst/>
                <a:gdLst>
                  <a:gd name="connsiteX0" fmla="*/ 790770 w 827693"/>
                  <a:gd name="connsiteY0" fmla="*/ 643077 h 683076"/>
                  <a:gd name="connsiteX1" fmla="*/ 827693 w 827693"/>
                  <a:gd name="connsiteY1" fmla="*/ 89231 h 683076"/>
                  <a:gd name="connsiteX2" fmla="*/ 787693 w 827693"/>
                  <a:gd name="connsiteY2" fmla="*/ 46154 h 683076"/>
                  <a:gd name="connsiteX3" fmla="*/ 80001 w 827693"/>
                  <a:gd name="connsiteY3" fmla="*/ 0 h 683076"/>
                  <a:gd name="connsiteX4" fmla="*/ 36923 w 827693"/>
                  <a:gd name="connsiteY4" fmla="*/ 40000 h 683076"/>
                  <a:gd name="connsiteX5" fmla="*/ 0 w 827693"/>
                  <a:gd name="connsiteY5" fmla="*/ 593846 h 683076"/>
                  <a:gd name="connsiteX6" fmla="*/ 40002 w 827693"/>
                  <a:gd name="connsiteY6" fmla="*/ 636923 h 683076"/>
                  <a:gd name="connsiteX7" fmla="*/ 747694 w 827693"/>
                  <a:gd name="connsiteY7" fmla="*/ 683077 h 683076"/>
                  <a:gd name="connsiteX8" fmla="*/ 790770 w 827693"/>
                  <a:gd name="connsiteY8" fmla="*/ 643077 h 68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27693" h="683076">
                    <a:moveTo>
                      <a:pt x="790770" y="643077"/>
                    </a:moveTo>
                    <a:lnTo>
                      <a:pt x="827693" y="89231"/>
                    </a:lnTo>
                    <a:cubicBezTo>
                      <a:pt x="827693" y="67692"/>
                      <a:pt x="812308" y="46154"/>
                      <a:pt x="787693" y="46154"/>
                    </a:cubicBezTo>
                    <a:lnTo>
                      <a:pt x="80001" y="0"/>
                    </a:lnTo>
                    <a:cubicBezTo>
                      <a:pt x="58462" y="0"/>
                      <a:pt x="36923" y="15385"/>
                      <a:pt x="36923" y="40000"/>
                    </a:cubicBezTo>
                    <a:lnTo>
                      <a:pt x="0" y="593846"/>
                    </a:lnTo>
                    <a:cubicBezTo>
                      <a:pt x="0" y="615385"/>
                      <a:pt x="15385" y="636923"/>
                      <a:pt x="40002" y="636923"/>
                    </a:cubicBezTo>
                    <a:lnTo>
                      <a:pt x="747694" y="683077"/>
                    </a:lnTo>
                    <a:cubicBezTo>
                      <a:pt x="769231" y="683077"/>
                      <a:pt x="790770" y="664615"/>
                      <a:pt x="790770" y="643077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0B62750C-07C2-49E6-927E-23A8E61AB6E4}"/>
                  </a:ext>
                </a:extLst>
              </p:cNvPr>
              <p:cNvSpPr/>
              <p:nvPr/>
            </p:nvSpPr>
            <p:spPr>
              <a:xfrm>
                <a:off x="25435684" y="4645826"/>
                <a:ext cx="231434" cy="231059"/>
              </a:xfrm>
              <a:custGeom>
                <a:avLst/>
                <a:gdLst>
                  <a:gd name="connsiteX0" fmla="*/ 108212 w 231434"/>
                  <a:gd name="connsiteY0" fmla="*/ 230914 h 231059"/>
                  <a:gd name="connsiteX1" fmla="*/ 231289 w 231434"/>
                  <a:gd name="connsiteY1" fmla="*/ 123222 h 231059"/>
                  <a:gd name="connsiteX2" fmla="*/ 123597 w 231434"/>
                  <a:gd name="connsiteY2" fmla="*/ 145 h 231059"/>
                  <a:gd name="connsiteX3" fmla="*/ 520 w 231434"/>
                  <a:gd name="connsiteY3" fmla="*/ 107838 h 231059"/>
                  <a:gd name="connsiteX4" fmla="*/ 108212 w 231434"/>
                  <a:gd name="connsiteY4" fmla="*/ 230914 h 231059"/>
                  <a:gd name="connsiteX5" fmla="*/ 111288 w 231434"/>
                  <a:gd name="connsiteY5" fmla="*/ 184761 h 231059"/>
                  <a:gd name="connsiteX6" fmla="*/ 46674 w 231434"/>
                  <a:gd name="connsiteY6" fmla="*/ 107838 h 231059"/>
                  <a:gd name="connsiteX7" fmla="*/ 123597 w 231434"/>
                  <a:gd name="connsiteY7" fmla="*/ 43222 h 231059"/>
                  <a:gd name="connsiteX8" fmla="*/ 188212 w 231434"/>
                  <a:gd name="connsiteY8" fmla="*/ 120145 h 231059"/>
                  <a:gd name="connsiteX9" fmla="*/ 111288 w 231434"/>
                  <a:gd name="connsiteY9" fmla="*/ 184761 h 231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1434" h="231059">
                    <a:moveTo>
                      <a:pt x="108212" y="230914"/>
                    </a:moveTo>
                    <a:cubicBezTo>
                      <a:pt x="172827" y="233991"/>
                      <a:pt x="228213" y="187837"/>
                      <a:pt x="231289" y="123222"/>
                    </a:cubicBezTo>
                    <a:cubicBezTo>
                      <a:pt x="234365" y="58607"/>
                      <a:pt x="188212" y="3222"/>
                      <a:pt x="123597" y="145"/>
                    </a:cubicBezTo>
                    <a:cubicBezTo>
                      <a:pt x="58982" y="-2932"/>
                      <a:pt x="3596" y="43222"/>
                      <a:pt x="520" y="107838"/>
                    </a:cubicBezTo>
                    <a:cubicBezTo>
                      <a:pt x="-5634" y="172453"/>
                      <a:pt x="43598" y="227837"/>
                      <a:pt x="108212" y="230914"/>
                    </a:cubicBezTo>
                    <a:close/>
                    <a:moveTo>
                      <a:pt x="111288" y="184761"/>
                    </a:moveTo>
                    <a:cubicBezTo>
                      <a:pt x="71289" y="181683"/>
                      <a:pt x="43598" y="147837"/>
                      <a:pt x="46674" y="107838"/>
                    </a:cubicBezTo>
                    <a:cubicBezTo>
                      <a:pt x="49750" y="67837"/>
                      <a:pt x="83597" y="40145"/>
                      <a:pt x="123597" y="43222"/>
                    </a:cubicBezTo>
                    <a:cubicBezTo>
                      <a:pt x="163596" y="46299"/>
                      <a:pt x="191290" y="80145"/>
                      <a:pt x="188212" y="120145"/>
                    </a:cubicBezTo>
                    <a:cubicBezTo>
                      <a:pt x="182059" y="160145"/>
                      <a:pt x="148212" y="187837"/>
                      <a:pt x="111288" y="184761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8A86252B-1AE2-47AF-93A5-44165103C310}"/>
                  </a:ext>
                </a:extLst>
              </p:cNvPr>
              <p:cNvSpPr/>
              <p:nvPr/>
            </p:nvSpPr>
            <p:spPr>
              <a:xfrm rot="5628342">
                <a:off x="25684078" y="4465518"/>
                <a:ext cx="523079" cy="646157"/>
              </a:xfrm>
              <a:custGeom>
                <a:avLst/>
                <a:gdLst>
                  <a:gd name="connsiteX0" fmla="*/ -1 w 523079"/>
                  <a:gd name="connsiteY0" fmla="*/ 0 h 646157"/>
                  <a:gd name="connsiteX1" fmla="*/ 523079 w 523079"/>
                  <a:gd name="connsiteY1" fmla="*/ 0 h 646157"/>
                  <a:gd name="connsiteX2" fmla="*/ 523079 w 523079"/>
                  <a:gd name="connsiteY2" fmla="*/ 646157 h 646157"/>
                  <a:gd name="connsiteX3" fmla="*/ -1 w 523079"/>
                  <a:gd name="connsiteY3" fmla="*/ 646157 h 646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3079" h="646157">
                    <a:moveTo>
                      <a:pt x="-1" y="0"/>
                    </a:moveTo>
                    <a:lnTo>
                      <a:pt x="523079" y="0"/>
                    </a:lnTo>
                    <a:lnTo>
                      <a:pt x="523079" y="646157"/>
                    </a:lnTo>
                    <a:lnTo>
                      <a:pt x="-1" y="646157"/>
                    </a:lnTo>
                    <a:close/>
                  </a:path>
                </a:pathLst>
              </a:custGeom>
              <a:solidFill>
                <a:srgbClr val="F1DDB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B1CEC274-40C3-44FA-898F-2AAEDA4A269D}"/>
                  </a:ext>
                </a:extLst>
              </p:cNvPr>
              <p:cNvSpPr/>
              <p:nvPr/>
            </p:nvSpPr>
            <p:spPr>
              <a:xfrm>
                <a:off x="25682358" y="4575202"/>
                <a:ext cx="36923" cy="393846"/>
              </a:xfrm>
              <a:custGeom>
                <a:avLst/>
                <a:gdLst>
                  <a:gd name="connsiteX0" fmla="*/ 6154 w 36923"/>
                  <a:gd name="connsiteY0" fmla="*/ 393846 h 393846"/>
                  <a:gd name="connsiteX1" fmla="*/ 6154 w 36923"/>
                  <a:gd name="connsiteY1" fmla="*/ 393846 h 393846"/>
                  <a:gd name="connsiteX2" fmla="*/ 0 w 36923"/>
                  <a:gd name="connsiteY2" fmla="*/ 387692 h 393846"/>
                  <a:gd name="connsiteX3" fmla="*/ 24615 w 36923"/>
                  <a:gd name="connsiteY3" fmla="*/ 6154 h 393846"/>
                  <a:gd name="connsiteX4" fmla="*/ 30769 w 36923"/>
                  <a:gd name="connsiteY4" fmla="*/ 0 h 393846"/>
                  <a:gd name="connsiteX5" fmla="*/ 30769 w 36923"/>
                  <a:gd name="connsiteY5" fmla="*/ 0 h 393846"/>
                  <a:gd name="connsiteX6" fmla="*/ 36923 w 36923"/>
                  <a:gd name="connsiteY6" fmla="*/ 6154 h 393846"/>
                  <a:gd name="connsiteX7" fmla="*/ 12308 w 36923"/>
                  <a:gd name="connsiteY7" fmla="*/ 387692 h 393846"/>
                  <a:gd name="connsiteX8" fmla="*/ 6154 w 36923"/>
                  <a:gd name="connsiteY8" fmla="*/ 393846 h 39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923" h="393846">
                    <a:moveTo>
                      <a:pt x="6154" y="393846"/>
                    </a:moveTo>
                    <a:cubicBezTo>
                      <a:pt x="6154" y="393846"/>
                      <a:pt x="6154" y="393846"/>
                      <a:pt x="6154" y="393846"/>
                    </a:cubicBezTo>
                    <a:cubicBezTo>
                      <a:pt x="3076" y="393846"/>
                      <a:pt x="0" y="390769"/>
                      <a:pt x="0" y="387692"/>
                    </a:cubicBezTo>
                    <a:lnTo>
                      <a:pt x="24615" y="6154"/>
                    </a:lnTo>
                    <a:cubicBezTo>
                      <a:pt x="24615" y="3077"/>
                      <a:pt x="27693" y="0"/>
                      <a:pt x="30769" y="0"/>
                    </a:cubicBezTo>
                    <a:cubicBezTo>
                      <a:pt x="30769" y="0"/>
                      <a:pt x="30769" y="0"/>
                      <a:pt x="30769" y="0"/>
                    </a:cubicBezTo>
                    <a:cubicBezTo>
                      <a:pt x="33845" y="0"/>
                      <a:pt x="36923" y="3077"/>
                      <a:pt x="36923" y="6154"/>
                    </a:cubicBezTo>
                    <a:lnTo>
                      <a:pt x="12308" y="387692"/>
                    </a:lnTo>
                    <a:cubicBezTo>
                      <a:pt x="12308" y="390769"/>
                      <a:pt x="9230" y="393846"/>
                      <a:pt x="6154" y="39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36901F57-C025-4D86-BB6C-2A613B3F851F}"/>
                  </a:ext>
                </a:extLst>
              </p:cNvPr>
              <p:cNvSpPr/>
              <p:nvPr/>
            </p:nvSpPr>
            <p:spPr>
              <a:xfrm>
                <a:off x="25765435" y="4581356"/>
                <a:ext cx="36923" cy="393846"/>
              </a:xfrm>
              <a:custGeom>
                <a:avLst/>
                <a:gdLst>
                  <a:gd name="connsiteX0" fmla="*/ 6154 w 36923"/>
                  <a:gd name="connsiteY0" fmla="*/ 393846 h 393846"/>
                  <a:gd name="connsiteX1" fmla="*/ 6154 w 36923"/>
                  <a:gd name="connsiteY1" fmla="*/ 393846 h 393846"/>
                  <a:gd name="connsiteX2" fmla="*/ 0 w 36923"/>
                  <a:gd name="connsiteY2" fmla="*/ 387693 h 393846"/>
                  <a:gd name="connsiteX3" fmla="*/ 24615 w 36923"/>
                  <a:gd name="connsiteY3" fmla="*/ 6154 h 393846"/>
                  <a:gd name="connsiteX4" fmla="*/ 30769 w 36923"/>
                  <a:gd name="connsiteY4" fmla="*/ 0 h 393846"/>
                  <a:gd name="connsiteX5" fmla="*/ 30769 w 36923"/>
                  <a:gd name="connsiteY5" fmla="*/ 0 h 393846"/>
                  <a:gd name="connsiteX6" fmla="*/ 36923 w 36923"/>
                  <a:gd name="connsiteY6" fmla="*/ 6154 h 393846"/>
                  <a:gd name="connsiteX7" fmla="*/ 12307 w 36923"/>
                  <a:gd name="connsiteY7" fmla="*/ 387693 h 393846"/>
                  <a:gd name="connsiteX8" fmla="*/ 6154 w 36923"/>
                  <a:gd name="connsiteY8" fmla="*/ 393846 h 39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923" h="393846">
                    <a:moveTo>
                      <a:pt x="6154" y="393846"/>
                    </a:moveTo>
                    <a:cubicBezTo>
                      <a:pt x="6154" y="393846"/>
                      <a:pt x="6154" y="393846"/>
                      <a:pt x="6154" y="393846"/>
                    </a:cubicBezTo>
                    <a:cubicBezTo>
                      <a:pt x="3076" y="393846"/>
                      <a:pt x="0" y="390769"/>
                      <a:pt x="0" y="387693"/>
                    </a:cubicBezTo>
                    <a:lnTo>
                      <a:pt x="24615" y="6154"/>
                    </a:lnTo>
                    <a:cubicBezTo>
                      <a:pt x="24615" y="3077"/>
                      <a:pt x="27691" y="0"/>
                      <a:pt x="30769" y="0"/>
                    </a:cubicBezTo>
                    <a:cubicBezTo>
                      <a:pt x="30769" y="0"/>
                      <a:pt x="30769" y="0"/>
                      <a:pt x="30769" y="0"/>
                    </a:cubicBezTo>
                    <a:cubicBezTo>
                      <a:pt x="33845" y="0"/>
                      <a:pt x="36923" y="3077"/>
                      <a:pt x="36923" y="6154"/>
                    </a:cubicBezTo>
                    <a:lnTo>
                      <a:pt x="12307" y="387693"/>
                    </a:lnTo>
                    <a:cubicBezTo>
                      <a:pt x="12307" y="390769"/>
                      <a:pt x="9230" y="393846"/>
                      <a:pt x="6154" y="39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87F8D8D3-5FC9-4766-BB5D-D5D1F106D3BC}"/>
                  </a:ext>
                </a:extLst>
              </p:cNvPr>
              <p:cNvSpPr/>
              <p:nvPr/>
            </p:nvSpPr>
            <p:spPr>
              <a:xfrm>
                <a:off x="25851589" y="4584433"/>
                <a:ext cx="36923" cy="393846"/>
              </a:xfrm>
              <a:custGeom>
                <a:avLst/>
                <a:gdLst>
                  <a:gd name="connsiteX0" fmla="*/ 6154 w 36923"/>
                  <a:gd name="connsiteY0" fmla="*/ 393846 h 393846"/>
                  <a:gd name="connsiteX1" fmla="*/ 6154 w 36923"/>
                  <a:gd name="connsiteY1" fmla="*/ 393846 h 393846"/>
                  <a:gd name="connsiteX2" fmla="*/ 0 w 36923"/>
                  <a:gd name="connsiteY2" fmla="*/ 387692 h 393846"/>
                  <a:gd name="connsiteX3" fmla="*/ 24615 w 36923"/>
                  <a:gd name="connsiteY3" fmla="*/ 6154 h 393846"/>
                  <a:gd name="connsiteX4" fmla="*/ 30769 w 36923"/>
                  <a:gd name="connsiteY4" fmla="*/ 0 h 393846"/>
                  <a:gd name="connsiteX5" fmla="*/ 36923 w 36923"/>
                  <a:gd name="connsiteY5" fmla="*/ 6154 h 393846"/>
                  <a:gd name="connsiteX6" fmla="*/ 12308 w 36923"/>
                  <a:gd name="connsiteY6" fmla="*/ 390769 h 393846"/>
                  <a:gd name="connsiteX7" fmla="*/ 6154 w 36923"/>
                  <a:gd name="connsiteY7" fmla="*/ 393846 h 39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923" h="393846">
                    <a:moveTo>
                      <a:pt x="6154" y="393846"/>
                    </a:moveTo>
                    <a:cubicBezTo>
                      <a:pt x="6154" y="393846"/>
                      <a:pt x="6154" y="393846"/>
                      <a:pt x="6154" y="393846"/>
                    </a:cubicBezTo>
                    <a:cubicBezTo>
                      <a:pt x="3076" y="393846"/>
                      <a:pt x="0" y="390769"/>
                      <a:pt x="0" y="387692"/>
                    </a:cubicBezTo>
                    <a:lnTo>
                      <a:pt x="24615" y="6154"/>
                    </a:lnTo>
                    <a:cubicBezTo>
                      <a:pt x="24615" y="3077"/>
                      <a:pt x="27693" y="0"/>
                      <a:pt x="30769" y="0"/>
                    </a:cubicBezTo>
                    <a:cubicBezTo>
                      <a:pt x="33845" y="0"/>
                      <a:pt x="36923" y="3077"/>
                      <a:pt x="36923" y="6154"/>
                    </a:cubicBezTo>
                    <a:lnTo>
                      <a:pt x="12308" y="390769"/>
                    </a:lnTo>
                    <a:cubicBezTo>
                      <a:pt x="9230" y="393846"/>
                      <a:pt x="9230" y="393846"/>
                      <a:pt x="6154" y="39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A2750305-F4EB-406F-86E2-95D142FCFF59}"/>
                  </a:ext>
                </a:extLst>
              </p:cNvPr>
              <p:cNvSpPr/>
              <p:nvPr/>
            </p:nvSpPr>
            <p:spPr>
              <a:xfrm>
                <a:off x="25934666" y="4590587"/>
                <a:ext cx="36923" cy="393846"/>
              </a:xfrm>
              <a:custGeom>
                <a:avLst/>
                <a:gdLst>
                  <a:gd name="connsiteX0" fmla="*/ 6154 w 36923"/>
                  <a:gd name="connsiteY0" fmla="*/ 393846 h 393846"/>
                  <a:gd name="connsiteX1" fmla="*/ 6154 w 36923"/>
                  <a:gd name="connsiteY1" fmla="*/ 393846 h 393846"/>
                  <a:gd name="connsiteX2" fmla="*/ 0 w 36923"/>
                  <a:gd name="connsiteY2" fmla="*/ 387692 h 393846"/>
                  <a:gd name="connsiteX3" fmla="*/ 24615 w 36923"/>
                  <a:gd name="connsiteY3" fmla="*/ 6154 h 393846"/>
                  <a:gd name="connsiteX4" fmla="*/ 30769 w 36923"/>
                  <a:gd name="connsiteY4" fmla="*/ 0 h 393846"/>
                  <a:gd name="connsiteX5" fmla="*/ 30769 w 36923"/>
                  <a:gd name="connsiteY5" fmla="*/ 0 h 393846"/>
                  <a:gd name="connsiteX6" fmla="*/ 36923 w 36923"/>
                  <a:gd name="connsiteY6" fmla="*/ 6154 h 393846"/>
                  <a:gd name="connsiteX7" fmla="*/ 12307 w 36923"/>
                  <a:gd name="connsiteY7" fmla="*/ 387692 h 393846"/>
                  <a:gd name="connsiteX8" fmla="*/ 6154 w 36923"/>
                  <a:gd name="connsiteY8" fmla="*/ 393846 h 39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923" h="393846">
                    <a:moveTo>
                      <a:pt x="6154" y="393846"/>
                    </a:moveTo>
                    <a:cubicBezTo>
                      <a:pt x="6154" y="393846"/>
                      <a:pt x="6154" y="393846"/>
                      <a:pt x="6154" y="393846"/>
                    </a:cubicBezTo>
                    <a:cubicBezTo>
                      <a:pt x="3076" y="393846"/>
                      <a:pt x="0" y="390769"/>
                      <a:pt x="0" y="387692"/>
                    </a:cubicBezTo>
                    <a:lnTo>
                      <a:pt x="24615" y="6154"/>
                    </a:lnTo>
                    <a:cubicBezTo>
                      <a:pt x="24615" y="3077"/>
                      <a:pt x="27691" y="0"/>
                      <a:pt x="30769" y="0"/>
                    </a:cubicBezTo>
                    <a:cubicBezTo>
                      <a:pt x="30769" y="0"/>
                      <a:pt x="30769" y="0"/>
                      <a:pt x="30769" y="0"/>
                    </a:cubicBezTo>
                    <a:cubicBezTo>
                      <a:pt x="33845" y="0"/>
                      <a:pt x="36923" y="3077"/>
                      <a:pt x="36923" y="6154"/>
                    </a:cubicBezTo>
                    <a:lnTo>
                      <a:pt x="12307" y="387692"/>
                    </a:lnTo>
                    <a:cubicBezTo>
                      <a:pt x="12307" y="390769"/>
                      <a:pt x="9230" y="393846"/>
                      <a:pt x="6154" y="39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F5EC8AB6-5742-4188-B139-7B8FBDD8C3D1}"/>
                  </a:ext>
                </a:extLst>
              </p:cNvPr>
              <p:cNvSpPr/>
              <p:nvPr/>
            </p:nvSpPr>
            <p:spPr>
              <a:xfrm>
                <a:off x="26100819" y="4599818"/>
                <a:ext cx="40001" cy="396922"/>
              </a:xfrm>
              <a:custGeom>
                <a:avLst/>
                <a:gdLst>
                  <a:gd name="connsiteX0" fmla="*/ 6154 w 40001"/>
                  <a:gd name="connsiteY0" fmla="*/ 396923 h 396922"/>
                  <a:gd name="connsiteX1" fmla="*/ 6154 w 40001"/>
                  <a:gd name="connsiteY1" fmla="*/ 396923 h 396922"/>
                  <a:gd name="connsiteX2" fmla="*/ 0 w 40001"/>
                  <a:gd name="connsiteY2" fmla="*/ 390769 h 396922"/>
                  <a:gd name="connsiteX3" fmla="*/ 27693 w 40001"/>
                  <a:gd name="connsiteY3" fmla="*/ 6154 h 396922"/>
                  <a:gd name="connsiteX4" fmla="*/ 33847 w 40001"/>
                  <a:gd name="connsiteY4" fmla="*/ 0 h 396922"/>
                  <a:gd name="connsiteX5" fmla="*/ 33847 w 40001"/>
                  <a:gd name="connsiteY5" fmla="*/ 0 h 396922"/>
                  <a:gd name="connsiteX6" fmla="*/ 40002 w 40001"/>
                  <a:gd name="connsiteY6" fmla="*/ 6154 h 396922"/>
                  <a:gd name="connsiteX7" fmla="*/ 15385 w 40001"/>
                  <a:gd name="connsiteY7" fmla="*/ 387692 h 396922"/>
                  <a:gd name="connsiteX8" fmla="*/ 6154 w 40001"/>
                  <a:gd name="connsiteY8" fmla="*/ 396923 h 396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001" h="396922">
                    <a:moveTo>
                      <a:pt x="6154" y="396923"/>
                    </a:moveTo>
                    <a:cubicBezTo>
                      <a:pt x="6154" y="396923"/>
                      <a:pt x="6154" y="396923"/>
                      <a:pt x="6154" y="396923"/>
                    </a:cubicBezTo>
                    <a:cubicBezTo>
                      <a:pt x="3078" y="396923"/>
                      <a:pt x="0" y="393846"/>
                      <a:pt x="0" y="390769"/>
                    </a:cubicBezTo>
                    <a:lnTo>
                      <a:pt x="27693" y="6154"/>
                    </a:lnTo>
                    <a:cubicBezTo>
                      <a:pt x="27693" y="3077"/>
                      <a:pt x="30769" y="0"/>
                      <a:pt x="33847" y="0"/>
                    </a:cubicBezTo>
                    <a:cubicBezTo>
                      <a:pt x="33847" y="0"/>
                      <a:pt x="33847" y="0"/>
                      <a:pt x="33847" y="0"/>
                    </a:cubicBezTo>
                    <a:cubicBezTo>
                      <a:pt x="36923" y="0"/>
                      <a:pt x="40002" y="3077"/>
                      <a:pt x="40002" y="6154"/>
                    </a:cubicBezTo>
                    <a:lnTo>
                      <a:pt x="15385" y="387692"/>
                    </a:lnTo>
                    <a:cubicBezTo>
                      <a:pt x="12308" y="393846"/>
                      <a:pt x="9232" y="396923"/>
                      <a:pt x="6154" y="39692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72A511DD-075A-45A0-8400-6DD6BC2EA813}"/>
                  </a:ext>
                </a:extLst>
              </p:cNvPr>
              <p:cNvSpPr/>
              <p:nvPr/>
            </p:nvSpPr>
            <p:spPr>
              <a:xfrm>
                <a:off x="26183896" y="4609048"/>
                <a:ext cx="36923" cy="393846"/>
              </a:xfrm>
              <a:custGeom>
                <a:avLst/>
                <a:gdLst>
                  <a:gd name="connsiteX0" fmla="*/ 6154 w 36923"/>
                  <a:gd name="connsiteY0" fmla="*/ 393846 h 393846"/>
                  <a:gd name="connsiteX1" fmla="*/ 6154 w 36923"/>
                  <a:gd name="connsiteY1" fmla="*/ 393846 h 393846"/>
                  <a:gd name="connsiteX2" fmla="*/ 0 w 36923"/>
                  <a:gd name="connsiteY2" fmla="*/ 387692 h 393846"/>
                  <a:gd name="connsiteX3" fmla="*/ 24615 w 36923"/>
                  <a:gd name="connsiteY3" fmla="*/ 6154 h 393846"/>
                  <a:gd name="connsiteX4" fmla="*/ 30769 w 36923"/>
                  <a:gd name="connsiteY4" fmla="*/ 0 h 393846"/>
                  <a:gd name="connsiteX5" fmla="*/ 30769 w 36923"/>
                  <a:gd name="connsiteY5" fmla="*/ 0 h 393846"/>
                  <a:gd name="connsiteX6" fmla="*/ 36923 w 36923"/>
                  <a:gd name="connsiteY6" fmla="*/ 6154 h 393846"/>
                  <a:gd name="connsiteX7" fmla="*/ 12308 w 36923"/>
                  <a:gd name="connsiteY7" fmla="*/ 387692 h 393846"/>
                  <a:gd name="connsiteX8" fmla="*/ 6154 w 36923"/>
                  <a:gd name="connsiteY8" fmla="*/ 393846 h 39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923" h="393846">
                    <a:moveTo>
                      <a:pt x="6154" y="393846"/>
                    </a:moveTo>
                    <a:cubicBezTo>
                      <a:pt x="6154" y="393846"/>
                      <a:pt x="6154" y="393846"/>
                      <a:pt x="6154" y="393846"/>
                    </a:cubicBezTo>
                    <a:cubicBezTo>
                      <a:pt x="3078" y="393846"/>
                      <a:pt x="0" y="390769"/>
                      <a:pt x="0" y="387692"/>
                    </a:cubicBezTo>
                    <a:lnTo>
                      <a:pt x="24615" y="6154"/>
                    </a:lnTo>
                    <a:cubicBezTo>
                      <a:pt x="24615" y="3077"/>
                      <a:pt x="27693" y="0"/>
                      <a:pt x="30769" y="0"/>
                    </a:cubicBezTo>
                    <a:cubicBezTo>
                      <a:pt x="30769" y="0"/>
                      <a:pt x="30769" y="0"/>
                      <a:pt x="30769" y="0"/>
                    </a:cubicBezTo>
                    <a:cubicBezTo>
                      <a:pt x="33847" y="0"/>
                      <a:pt x="36923" y="3077"/>
                      <a:pt x="36923" y="6154"/>
                    </a:cubicBezTo>
                    <a:lnTo>
                      <a:pt x="12308" y="387692"/>
                    </a:lnTo>
                    <a:cubicBezTo>
                      <a:pt x="12308" y="390769"/>
                      <a:pt x="9230" y="393846"/>
                      <a:pt x="6154" y="39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DE6F003E-A0C5-4A10-B7A8-7D589B3FB1EF}"/>
                </a:ext>
              </a:extLst>
            </p:cNvPr>
            <p:cNvSpPr/>
            <p:nvPr/>
          </p:nvSpPr>
          <p:spPr>
            <a:xfrm>
              <a:off x="25714102" y="4932125"/>
              <a:ext cx="115947" cy="184455"/>
            </a:xfrm>
            <a:custGeom>
              <a:avLst/>
              <a:gdLst>
                <a:gd name="connsiteX0" fmla="*/ 115947 w 115947"/>
                <a:gd name="connsiteY0" fmla="*/ 0 h 184455"/>
                <a:gd name="connsiteX1" fmla="*/ 14409 w 115947"/>
                <a:gd name="connsiteY1" fmla="*/ 104615 h 184455"/>
                <a:gd name="connsiteX2" fmla="*/ 5179 w 115947"/>
                <a:gd name="connsiteY2" fmla="*/ 181539 h 184455"/>
                <a:gd name="connsiteX3" fmla="*/ 82102 w 115947"/>
                <a:gd name="connsiteY3" fmla="*/ 92308 h 184455"/>
                <a:gd name="connsiteX4" fmla="*/ 115947 w 115947"/>
                <a:gd name="connsiteY4" fmla="*/ 0 h 184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947" h="184455">
                  <a:moveTo>
                    <a:pt x="115947" y="0"/>
                  </a:moveTo>
                  <a:cubicBezTo>
                    <a:pt x="115947" y="0"/>
                    <a:pt x="23640" y="76923"/>
                    <a:pt x="14409" y="104615"/>
                  </a:cubicBezTo>
                  <a:cubicBezTo>
                    <a:pt x="5179" y="132308"/>
                    <a:pt x="-7130" y="175385"/>
                    <a:pt x="5179" y="181539"/>
                  </a:cubicBezTo>
                  <a:cubicBezTo>
                    <a:pt x="39024" y="203077"/>
                    <a:pt x="48255" y="98462"/>
                    <a:pt x="82102" y="92308"/>
                  </a:cubicBezTo>
                  <a:cubicBezTo>
                    <a:pt x="100563" y="92308"/>
                    <a:pt x="115947" y="0"/>
                    <a:pt x="115947" y="0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277A92D3-C33A-4CBF-95CE-3B965DD374CD}"/>
                </a:ext>
              </a:extLst>
            </p:cNvPr>
            <p:cNvGrpSpPr/>
            <p:nvPr/>
          </p:nvGrpSpPr>
          <p:grpSpPr>
            <a:xfrm>
              <a:off x="25769244" y="4855067"/>
              <a:ext cx="226960" cy="281770"/>
              <a:chOff x="25769244" y="4855067"/>
              <a:chExt cx="226960" cy="281770"/>
            </a:xfrm>
          </p:grpSpPr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364C3FA8-746A-492B-A6E6-6EA254B86A1B}"/>
                  </a:ext>
                </a:extLst>
              </p:cNvPr>
              <p:cNvSpPr/>
              <p:nvPr/>
            </p:nvSpPr>
            <p:spPr>
              <a:xfrm>
                <a:off x="25778404" y="4855067"/>
                <a:ext cx="217800" cy="281770"/>
              </a:xfrm>
              <a:custGeom>
                <a:avLst/>
                <a:gdLst>
                  <a:gd name="connsiteX0" fmla="*/ 196262 w 217800"/>
                  <a:gd name="connsiteY0" fmla="*/ 12443 h 281770"/>
                  <a:gd name="connsiteX1" fmla="*/ 67031 w 217800"/>
                  <a:gd name="connsiteY1" fmla="*/ 6289 h 281770"/>
                  <a:gd name="connsiteX2" fmla="*/ 5492 w 217800"/>
                  <a:gd name="connsiteY2" fmla="*/ 209366 h 281770"/>
                  <a:gd name="connsiteX3" fmla="*/ 17801 w 217800"/>
                  <a:gd name="connsiteY3" fmla="*/ 267828 h 281770"/>
                  <a:gd name="connsiteX4" fmla="*/ 54724 w 217800"/>
                  <a:gd name="connsiteY4" fmla="*/ 264750 h 281770"/>
                  <a:gd name="connsiteX5" fmla="*/ 107030 w 217800"/>
                  <a:gd name="connsiteY5" fmla="*/ 270904 h 281770"/>
                  <a:gd name="connsiteX6" fmla="*/ 137800 w 217800"/>
                  <a:gd name="connsiteY6" fmla="*/ 280135 h 281770"/>
                  <a:gd name="connsiteX7" fmla="*/ 165493 w 217800"/>
                  <a:gd name="connsiteY7" fmla="*/ 252443 h 281770"/>
                  <a:gd name="connsiteX8" fmla="*/ 214723 w 217800"/>
                  <a:gd name="connsiteY8" fmla="*/ 237058 h 281770"/>
                  <a:gd name="connsiteX9" fmla="*/ 208570 w 217800"/>
                  <a:gd name="connsiteY9" fmla="*/ 157058 h 281770"/>
                  <a:gd name="connsiteX10" fmla="*/ 217801 w 217800"/>
                  <a:gd name="connsiteY10" fmla="*/ 61674 h 281770"/>
                  <a:gd name="connsiteX11" fmla="*/ 196262 w 217800"/>
                  <a:gd name="connsiteY11" fmla="*/ 12443 h 281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7800" h="281770">
                    <a:moveTo>
                      <a:pt x="196262" y="12443"/>
                    </a:moveTo>
                    <a:cubicBezTo>
                      <a:pt x="159338" y="-9096"/>
                      <a:pt x="67031" y="3212"/>
                      <a:pt x="67031" y="6289"/>
                    </a:cubicBezTo>
                    <a:cubicBezTo>
                      <a:pt x="45492" y="92443"/>
                      <a:pt x="14723" y="120135"/>
                      <a:pt x="5492" y="209366"/>
                    </a:cubicBezTo>
                    <a:cubicBezTo>
                      <a:pt x="5492" y="224751"/>
                      <a:pt x="-12969" y="255520"/>
                      <a:pt x="17801" y="267828"/>
                    </a:cubicBezTo>
                    <a:cubicBezTo>
                      <a:pt x="27031" y="270904"/>
                      <a:pt x="42416" y="277058"/>
                      <a:pt x="54724" y="264750"/>
                    </a:cubicBezTo>
                    <a:cubicBezTo>
                      <a:pt x="63955" y="286289"/>
                      <a:pt x="103954" y="286289"/>
                      <a:pt x="107030" y="270904"/>
                    </a:cubicBezTo>
                    <a:cubicBezTo>
                      <a:pt x="110108" y="277058"/>
                      <a:pt x="128569" y="283212"/>
                      <a:pt x="137800" y="280135"/>
                    </a:cubicBezTo>
                    <a:cubicBezTo>
                      <a:pt x="156262" y="277058"/>
                      <a:pt x="162416" y="270904"/>
                      <a:pt x="165493" y="252443"/>
                    </a:cubicBezTo>
                    <a:cubicBezTo>
                      <a:pt x="183953" y="264750"/>
                      <a:pt x="208570" y="261674"/>
                      <a:pt x="214723" y="237058"/>
                    </a:cubicBezTo>
                    <a:cubicBezTo>
                      <a:pt x="220877" y="203212"/>
                      <a:pt x="208570" y="190904"/>
                      <a:pt x="208570" y="157058"/>
                    </a:cubicBezTo>
                    <a:cubicBezTo>
                      <a:pt x="208570" y="123212"/>
                      <a:pt x="217801" y="92443"/>
                      <a:pt x="217801" y="61674"/>
                    </a:cubicBezTo>
                    <a:cubicBezTo>
                      <a:pt x="217801" y="33981"/>
                      <a:pt x="217801" y="24751"/>
                      <a:pt x="196262" y="12443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F46DE699-C805-49BF-BD01-FA5A64244445}"/>
                  </a:ext>
                </a:extLst>
              </p:cNvPr>
              <p:cNvSpPr/>
              <p:nvPr/>
            </p:nvSpPr>
            <p:spPr>
              <a:xfrm>
                <a:off x="25769244" y="4978279"/>
                <a:ext cx="70035" cy="153846"/>
              </a:xfrm>
              <a:custGeom>
                <a:avLst/>
                <a:gdLst>
                  <a:gd name="connsiteX0" fmla="*/ 33114 w 70035"/>
                  <a:gd name="connsiteY0" fmla="*/ 153846 h 153846"/>
                  <a:gd name="connsiteX1" fmla="*/ 17730 w 70035"/>
                  <a:gd name="connsiteY1" fmla="*/ 150769 h 153846"/>
                  <a:gd name="connsiteX2" fmla="*/ 2345 w 70035"/>
                  <a:gd name="connsiteY2" fmla="*/ 129231 h 153846"/>
                  <a:gd name="connsiteX3" fmla="*/ 33114 w 70035"/>
                  <a:gd name="connsiteY3" fmla="*/ 3077 h 153846"/>
                  <a:gd name="connsiteX4" fmla="*/ 42345 w 70035"/>
                  <a:gd name="connsiteY4" fmla="*/ 0 h 153846"/>
                  <a:gd name="connsiteX5" fmla="*/ 45421 w 70035"/>
                  <a:gd name="connsiteY5" fmla="*/ 9231 h 153846"/>
                  <a:gd name="connsiteX6" fmla="*/ 17730 w 70035"/>
                  <a:gd name="connsiteY6" fmla="*/ 126154 h 153846"/>
                  <a:gd name="connsiteX7" fmla="*/ 26960 w 70035"/>
                  <a:gd name="connsiteY7" fmla="*/ 138462 h 153846"/>
                  <a:gd name="connsiteX8" fmla="*/ 60806 w 70035"/>
                  <a:gd name="connsiteY8" fmla="*/ 132308 h 153846"/>
                  <a:gd name="connsiteX9" fmla="*/ 70036 w 70035"/>
                  <a:gd name="connsiteY9" fmla="*/ 135385 h 153846"/>
                  <a:gd name="connsiteX10" fmla="*/ 66960 w 70035"/>
                  <a:gd name="connsiteY10" fmla="*/ 144616 h 153846"/>
                  <a:gd name="connsiteX11" fmla="*/ 33114 w 70035"/>
                  <a:gd name="connsiteY11" fmla="*/ 153846 h 15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0035" h="153846">
                    <a:moveTo>
                      <a:pt x="33114" y="153846"/>
                    </a:moveTo>
                    <a:cubicBezTo>
                      <a:pt x="26960" y="153846"/>
                      <a:pt x="23882" y="153846"/>
                      <a:pt x="17730" y="150769"/>
                    </a:cubicBezTo>
                    <a:cubicBezTo>
                      <a:pt x="8498" y="147692"/>
                      <a:pt x="2345" y="141538"/>
                      <a:pt x="2345" y="129231"/>
                    </a:cubicBezTo>
                    <a:cubicBezTo>
                      <a:pt x="-9963" y="86154"/>
                      <a:pt x="30036" y="6154"/>
                      <a:pt x="33114" y="3077"/>
                    </a:cubicBezTo>
                    <a:cubicBezTo>
                      <a:pt x="33114" y="0"/>
                      <a:pt x="39267" y="0"/>
                      <a:pt x="42345" y="0"/>
                    </a:cubicBezTo>
                    <a:cubicBezTo>
                      <a:pt x="45421" y="0"/>
                      <a:pt x="45421" y="6154"/>
                      <a:pt x="45421" y="9231"/>
                    </a:cubicBezTo>
                    <a:cubicBezTo>
                      <a:pt x="45421" y="9231"/>
                      <a:pt x="5421" y="89231"/>
                      <a:pt x="17730" y="126154"/>
                    </a:cubicBezTo>
                    <a:cubicBezTo>
                      <a:pt x="20806" y="132308"/>
                      <a:pt x="23882" y="138462"/>
                      <a:pt x="26960" y="138462"/>
                    </a:cubicBezTo>
                    <a:cubicBezTo>
                      <a:pt x="39267" y="144616"/>
                      <a:pt x="54651" y="135385"/>
                      <a:pt x="60806" y="132308"/>
                    </a:cubicBezTo>
                    <a:cubicBezTo>
                      <a:pt x="63884" y="132308"/>
                      <a:pt x="66960" y="132308"/>
                      <a:pt x="70036" y="135385"/>
                    </a:cubicBezTo>
                    <a:cubicBezTo>
                      <a:pt x="70036" y="138462"/>
                      <a:pt x="70036" y="141538"/>
                      <a:pt x="66960" y="144616"/>
                    </a:cubicBezTo>
                    <a:cubicBezTo>
                      <a:pt x="63884" y="144616"/>
                      <a:pt x="48499" y="153846"/>
                      <a:pt x="33114" y="15384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8A36E4CF-563E-4902-B13F-A07AAC4AFF79}"/>
                  </a:ext>
                </a:extLst>
              </p:cNvPr>
              <p:cNvSpPr/>
              <p:nvPr/>
            </p:nvSpPr>
            <p:spPr>
              <a:xfrm>
                <a:off x="25845434" y="5064433"/>
                <a:ext cx="89231" cy="24615"/>
              </a:xfrm>
              <a:custGeom>
                <a:avLst/>
                <a:gdLst>
                  <a:gd name="connsiteX0" fmla="*/ 12308 w 89231"/>
                  <a:gd name="connsiteY0" fmla="*/ 24615 h 24615"/>
                  <a:gd name="connsiteX1" fmla="*/ 6154 w 89231"/>
                  <a:gd name="connsiteY1" fmla="*/ 24615 h 24615"/>
                  <a:gd name="connsiteX2" fmla="*/ 0 w 89231"/>
                  <a:gd name="connsiteY2" fmla="*/ 18461 h 24615"/>
                  <a:gd name="connsiteX3" fmla="*/ 6154 w 89231"/>
                  <a:gd name="connsiteY3" fmla="*/ 12308 h 24615"/>
                  <a:gd name="connsiteX4" fmla="*/ 83077 w 89231"/>
                  <a:gd name="connsiteY4" fmla="*/ 0 h 24615"/>
                  <a:gd name="connsiteX5" fmla="*/ 89232 w 89231"/>
                  <a:gd name="connsiteY5" fmla="*/ 3077 h 24615"/>
                  <a:gd name="connsiteX6" fmla="*/ 86153 w 89231"/>
                  <a:gd name="connsiteY6" fmla="*/ 9231 h 24615"/>
                  <a:gd name="connsiteX7" fmla="*/ 12308 w 89231"/>
                  <a:gd name="connsiteY7" fmla="*/ 24615 h 2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9231" h="24615">
                    <a:moveTo>
                      <a:pt x="12308" y="24615"/>
                    </a:moveTo>
                    <a:cubicBezTo>
                      <a:pt x="9230" y="24615"/>
                      <a:pt x="6154" y="24615"/>
                      <a:pt x="6154" y="24615"/>
                    </a:cubicBezTo>
                    <a:cubicBezTo>
                      <a:pt x="3078" y="24615"/>
                      <a:pt x="0" y="21538"/>
                      <a:pt x="0" y="18461"/>
                    </a:cubicBezTo>
                    <a:cubicBezTo>
                      <a:pt x="0" y="15385"/>
                      <a:pt x="3078" y="12308"/>
                      <a:pt x="6154" y="12308"/>
                    </a:cubicBezTo>
                    <a:cubicBezTo>
                      <a:pt x="21539" y="15385"/>
                      <a:pt x="67693" y="3077"/>
                      <a:pt x="83077" y="0"/>
                    </a:cubicBezTo>
                    <a:cubicBezTo>
                      <a:pt x="86153" y="0"/>
                      <a:pt x="89232" y="0"/>
                      <a:pt x="89232" y="3077"/>
                    </a:cubicBezTo>
                    <a:cubicBezTo>
                      <a:pt x="89232" y="6154"/>
                      <a:pt x="89232" y="9231"/>
                      <a:pt x="86153" y="9231"/>
                    </a:cubicBezTo>
                    <a:cubicBezTo>
                      <a:pt x="86153" y="12308"/>
                      <a:pt x="36923" y="24615"/>
                      <a:pt x="12308" y="2461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478DAB3E-1C79-4CB8-9E72-E8F7F182DAF4}"/>
                </a:ext>
              </a:extLst>
            </p:cNvPr>
            <p:cNvSpPr/>
            <p:nvPr/>
          </p:nvSpPr>
          <p:spPr>
            <a:xfrm>
              <a:off x="25329654" y="3673299"/>
              <a:ext cx="687433" cy="1258861"/>
            </a:xfrm>
            <a:custGeom>
              <a:avLst/>
              <a:gdLst>
                <a:gd name="connsiteX0" fmla="*/ 112704 w 687433"/>
                <a:gd name="connsiteY0" fmla="*/ 378826 h 1258861"/>
                <a:gd name="connsiteX1" fmla="*/ 346550 w 687433"/>
                <a:gd name="connsiteY1" fmla="*/ 652672 h 1258861"/>
                <a:gd name="connsiteX2" fmla="*/ 494241 w 687433"/>
                <a:gd name="connsiteY2" fmla="*/ 1243441 h 1258861"/>
                <a:gd name="connsiteX3" fmla="*/ 685011 w 687433"/>
                <a:gd name="connsiteY3" fmla="*/ 1234211 h 1258861"/>
                <a:gd name="connsiteX4" fmla="*/ 608088 w 687433"/>
                <a:gd name="connsiteY4" fmla="*/ 544980 h 1258861"/>
                <a:gd name="connsiteX5" fmla="*/ 288089 w 687433"/>
                <a:gd name="connsiteY5" fmla="*/ 89595 h 1258861"/>
                <a:gd name="connsiteX6" fmla="*/ 26551 w 687433"/>
                <a:gd name="connsiteY6" fmla="*/ 15749 h 1258861"/>
                <a:gd name="connsiteX7" fmla="*/ 112704 w 687433"/>
                <a:gd name="connsiteY7" fmla="*/ 378826 h 125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7433" h="1258861">
                  <a:moveTo>
                    <a:pt x="112704" y="378826"/>
                  </a:moveTo>
                  <a:cubicBezTo>
                    <a:pt x="171165" y="446518"/>
                    <a:pt x="300396" y="572672"/>
                    <a:pt x="346550" y="652672"/>
                  </a:cubicBezTo>
                  <a:cubicBezTo>
                    <a:pt x="414242" y="766518"/>
                    <a:pt x="488089" y="1240364"/>
                    <a:pt x="494241" y="1243441"/>
                  </a:cubicBezTo>
                  <a:cubicBezTo>
                    <a:pt x="561934" y="1268057"/>
                    <a:pt x="623473" y="1261903"/>
                    <a:pt x="685011" y="1234211"/>
                  </a:cubicBezTo>
                  <a:cubicBezTo>
                    <a:pt x="694241" y="1231133"/>
                    <a:pt x="678857" y="757287"/>
                    <a:pt x="608088" y="544980"/>
                  </a:cubicBezTo>
                  <a:cubicBezTo>
                    <a:pt x="586549" y="480364"/>
                    <a:pt x="423473" y="203441"/>
                    <a:pt x="288089" y="89595"/>
                  </a:cubicBezTo>
                  <a:cubicBezTo>
                    <a:pt x="220396" y="34210"/>
                    <a:pt x="72705" y="-30405"/>
                    <a:pt x="26551" y="15749"/>
                  </a:cubicBezTo>
                  <a:cubicBezTo>
                    <a:pt x="-41142" y="95749"/>
                    <a:pt x="32703" y="286518"/>
                    <a:pt x="112704" y="378826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DB923302-D7CE-40FA-894C-1764B6214494}"/>
                </a:ext>
              </a:extLst>
            </p:cNvPr>
            <p:cNvSpPr/>
            <p:nvPr/>
          </p:nvSpPr>
          <p:spPr>
            <a:xfrm>
              <a:off x="25328876" y="3686741"/>
              <a:ext cx="223481" cy="488461"/>
            </a:xfrm>
            <a:custGeom>
              <a:avLst/>
              <a:gdLst>
                <a:gd name="connsiteX0" fmla="*/ 218096 w 223481"/>
                <a:gd name="connsiteY0" fmla="*/ 485385 h 488461"/>
                <a:gd name="connsiteX1" fmla="*/ 215020 w 223481"/>
                <a:gd name="connsiteY1" fmla="*/ 485385 h 488461"/>
                <a:gd name="connsiteX2" fmla="*/ 30405 w 223481"/>
                <a:gd name="connsiteY2" fmla="*/ 239231 h 488461"/>
                <a:gd name="connsiteX3" fmla="*/ 24251 w 223481"/>
                <a:gd name="connsiteY3" fmla="*/ 2308 h 488461"/>
                <a:gd name="connsiteX4" fmla="*/ 33481 w 223481"/>
                <a:gd name="connsiteY4" fmla="*/ 2308 h 488461"/>
                <a:gd name="connsiteX5" fmla="*/ 33481 w 223481"/>
                <a:gd name="connsiteY5" fmla="*/ 11538 h 488461"/>
                <a:gd name="connsiteX6" fmla="*/ 39635 w 223481"/>
                <a:gd name="connsiteY6" fmla="*/ 236154 h 488461"/>
                <a:gd name="connsiteX7" fmla="*/ 221174 w 223481"/>
                <a:gd name="connsiteY7" fmla="*/ 479231 h 488461"/>
                <a:gd name="connsiteX8" fmla="*/ 221174 w 223481"/>
                <a:gd name="connsiteY8" fmla="*/ 488462 h 488461"/>
                <a:gd name="connsiteX9" fmla="*/ 218096 w 223481"/>
                <a:gd name="connsiteY9" fmla="*/ 485385 h 48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481" h="488461">
                  <a:moveTo>
                    <a:pt x="218096" y="485385"/>
                  </a:moveTo>
                  <a:cubicBezTo>
                    <a:pt x="218096" y="485385"/>
                    <a:pt x="215020" y="485385"/>
                    <a:pt x="215020" y="485385"/>
                  </a:cubicBezTo>
                  <a:cubicBezTo>
                    <a:pt x="215020" y="485385"/>
                    <a:pt x="95019" y="393077"/>
                    <a:pt x="30405" y="239231"/>
                  </a:cubicBezTo>
                  <a:cubicBezTo>
                    <a:pt x="-34210" y="85385"/>
                    <a:pt x="24251" y="5385"/>
                    <a:pt x="24251" y="2308"/>
                  </a:cubicBezTo>
                  <a:cubicBezTo>
                    <a:pt x="27329" y="-769"/>
                    <a:pt x="30405" y="-769"/>
                    <a:pt x="33481" y="2308"/>
                  </a:cubicBezTo>
                  <a:cubicBezTo>
                    <a:pt x="36559" y="5385"/>
                    <a:pt x="36559" y="8462"/>
                    <a:pt x="33481" y="11538"/>
                  </a:cubicBezTo>
                  <a:cubicBezTo>
                    <a:pt x="33481" y="11538"/>
                    <a:pt x="-21903" y="88462"/>
                    <a:pt x="39635" y="236154"/>
                  </a:cubicBezTo>
                  <a:cubicBezTo>
                    <a:pt x="104252" y="386923"/>
                    <a:pt x="221174" y="476154"/>
                    <a:pt x="221174" y="479231"/>
                  </a:cubicBezTo>
                  <a:cubicBezTo>
                    <a:pt x="224251" y="482308"/>
                    <a:pt x="224251" y="485385"/>
                    <a:pt x="221174" y="488462"/>
                  </a:cubicBezTo>
                  <a:cubicBezTo>
                    <a:pt x="221174" y="485385"/>
                    <a:pt x="218096" y="485385"/>
                    <a:pt x="218096" y="485385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3" name="图形 1">
            <a:extLst>
              <a:ext uri="{FF2B5EF4-FFF2-40B4-BE49-F238E27FC236}">
                <a16:creationId xmlns:a16="http://schemas.microsoft.com/office/drawing/2014/main" id="{E9CD48A5-0F5D-47C9-BB80-B8C85D326A7C}"/>
              </a:ext>
            </a:extLst>
          </p:cNvPr>
          <p:cNvGrpSpPr/>
          <p:nvPr/>
        </p:nvGrpSpPr>
        <p:grpSpPr>
          <a:xfrm>
            <a:off x="2909584" y="1809512"/>
            <a:ext cx="2691920" cy="5045410"/>
            <a:chOff x="19956205" y="2360560"/>
            <a:chExt cx="2691920" cy="5045410"/>
          </a:xfrm>
        </p:grpSpPr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BF698365-B6FD-4BD2-AC00-0BB0BFD4630C}"/>
                </a:ext>
              </a:extLst>
            </p:cNvPr>
            <p:cNvSpPr/>
            <p:nvPr/>
          </p:nvSpPr>
          <p:spPr>
            <a:xfrm>
              <a:off x="22396204" y="3470587"/>
              <a:ext cx="182669" cy="144615"/>
            </a:xfrm>
            <a:custGeom>
              <a:avLst/>
              <a:gdLst>
                <a:gd name="connsiteX0" fmla="*/ 0 w 182669"/>
                <a:gd name="connsiteY0" fmla="*/ 129231 h 144615"/>
                <a:gd name="connsiteX1" fmla="*/ 64615 w 182669"/>
                <a:gd name="connsiteY1" fmla="*/ 55385 h 144615"/>
                <a:gd name="connsiteX2" fmla="*/ 178461 w 182669"/>
                <a:gd name="connsiteY2" fmla="*/ 0 h 144615"/>
                <a:gd name="connsiteX3" fmla="*/ 123077 w 182669"/>
                <a:gd name="connsiteY3" fmla="*/ 95385 h 144615"/>
                <a:gd name="connsiteX4" fmla="*/ 67693 w 182669"/>
                <a:gd name="connsiteY4" fmla="*/ 144615 h 144615"/>
                <a:gd name="connsiteX5" fmla="*/ 0 w 182669"/>
                <a:gd name="connsiteY5" fmla="*/ 129231 h 14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669" h="144615">
                  <a:moveTo>
                    <a:pt x="0" y="129231"/>
                  </a:moveTo>
                  <a:cubicBezTo>
                    <a:pt x="0" y="129231"/>
                    <a:pt x="24615" y="89231"/>
                    <a:pt x="64615" y="55385"/>
                  </a:cubicBezTo>
                  <a:cubicBezTo>
                    <a:pt x="98462" y="24615"/>
                    <a:pt x="147692" y="3077"/>
                    <a:pt x="178461" y="0"/>
                  </a:cubicBezTo>
                  <a:cubicBezTo>
                    <a:pt x="200000" y="0"/>
                    <a:pt x="132307" y="86154"/>
                    <a:pt x="123077" y="95385"/>
                  </a:cubicBezTo>
                  <a:cubicBezTo>
                    <a:pt x="113847" y="104615"/>
                    <a:pt x="67693" y="144615"/>
                    <a:pt x="67693" y="144615"/>
                  </a:cubicBezTo>
                  <a:lnTo>
                    <a:pt x="0" y="129231"/>
                  </a:ln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1E97FE52-79B4-4077-87EA-C24CAFB6AFD2}"/>
                </a:ext>
              </a:extLst>
            </p:cNvPr>
            <p:cNvSpPr/>
            <p:nvPr/>
          </p:nvSpPr>
          <p:spPr>
            <a:xfrm>
              <a:off x="22300791" y="3592857"/>
              <a:ext cx="225505" cy="244443"/>
            </a:xfrm>
            <a:custGeom>
              <a:avLst/>
              <a:gdLst>
                <a:gd name="connsiteX0" fmla="*/ 209260 w 225505"/>
                <a:gd name="connsiteY0" fmla="*/ 151576 h 244443"/>
                <a:gd name="connsiteX1" fmla="*/ 221567 w 225505"/>
                <a:gd name="connsiteY1" fmla="*/ 105422 h 244443"/>
                <a:gd name="connsiteX2" fmla="*/ 224645 w 225505"/>
                <a:gd name="connsiteY2" fmla="*/ 71576 h 244443"/>
                <a:gd name="connsiteX3" fmla="*/ 193875 w 225505"/>
                <a:gd name="connsiteY3" fmla="*/ 34653 h 244443"/>
                <a:gd name="connsiteX4" fmla="*/ 104644 w 225505"/>
                <a:gd name="connsiteY4" fmla="*/ 807 h 244443"/>
                <a:gd name="connsiteX5" fmla="*/ 3106 w 225505"/>
                <a:gd name="connsiteY5" fmla="*/ 166961 h 244443"/>
                <a:gd name="connsiteX6" fmla="*/ 73875 w 225505"/>
                <a:gd name="connsiteY6" fmla="*/ 243884 h 244443"/>
                <a:gd name="connsiteX7" fmla="*/ 190797 w 225505"/>
                <a:gd name="connsiteY7" fmla="*/ 182345 h 244443"/>
                <a:gd name="connsiteX8" fmla="*/ 209260 w 225505"/>
                <a:gd name="connsiteY8" fmla="*/ 151576 h 24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5505" h="244443">
                  <a:moveTo>
                    <a:pt x="209260" y="151576"/>
                  </a:moveTo>
                  <a:cubicBezTo>
                    <a:pt x="206182" y="142345"/>
                    <a:pt x="218490" y="120807"/>
                    <a:pt x="221567" y="105422"/>
                  </a:cubicBezTo>
                  <a:cubicBezTo>
                    <a:pt x="221567" y="102345"/>
                    <a:pt x="227721" y="83884"/>
                    <a:pt x="224645" y="71576"/>
                  </a:cubicBezTo>
                  <a:cubicBezTo>
                    <a:pt x="221567" y="62345"/>
                    <a:pt x="181567" y="46961"/>
                    <a:pt x="193875" y="34653"/>
                  </a:cubicBezTo>
                  <a:cubicBezTo>
                    <a:pt x="200028" y="25422"/>
                    <a:pt x="110798" y="-5347"/>
                    <a:pt x="104644" y="807"/>
                  </a:cubicBezTo>
                  <a:cubicBezTo>
                    <a:pt x="52336" y="37730"/>
                    <a:pt x="-15357" y="96192"/>
                    <a:pt x="3106" y="166961"/>
                  </a:cubicBezTo>
                  <a:cubicBezTo>
                    <a:pt x="3106" y="166961"/>
                    <a:pt x="46182" y="240807"/>
                    <a:pt x="73875" y="243884"/>
                  </a:cubicBezTo>
                  <a:cubicBezTo>
                    <a:pt x="113874" y="250038"/>
                    <a:pt x="160028" y="203884"/>
                    <a:pt x="190797" y="182345"/>
                  </a:cubicBezTo>
                  <a:cubicBezTo>
                    <a:pt x="206182" y="170038"/>
                    <a:pt x="212336" y="166961"/>
                    <a:pt x="209260" y="151576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6" name="图形 1">
              <a:extLst>
                <a:ext uri="{FF2B5EF4-FFF2-40B4-BE49-F238E27FC236}">
                  <a16:creationId xmlns:a16="http://schemas.microsoft.com/office/drawing/2014/main" id="{C05C5595-4A50-4C07-9E44-9DBA82361873}"/>
                </a:ext>
              </a:extLst>
            </p:cNvPr>
            <p:cNvGrpSpPr/>
            <p:nvPr/>
          </p:nvGrpSpPr>
          <p:grpSpPr>
            <a:xfrm>
              <a:off x="22378405" y="3258279"/>
              <a:ext cx="269720" cy="574721"/>
              <a:chOff x="22378405" y="3258279"/>
              <a:chExt cx="269720" cy="574721"/>
            </a:xfrm>
          </p:grpSpPr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9284D52E-0E49-4FA1-9608-813404C6B9E9}"/>
                  </a:ext>
                </a:extLst>
              </p:cNvPr>
              <p:cNvSpPr/>
              <p:nvPr/>
            </p:nvSpPr>
            <p:spPr>
              <a:xfrm rot="1521179">
                <a:off x="22519733" y="3483323"/>
                <a:ext cx="43077" cy="120001"/>
              </a:xfrm>
              <a:custGeom>
                <a:avLst/>
                <a:gdLst>
                  <a:gd name="connsiteX0" fmla="*/ 0 w 43077"/>
                  <a:gd name="connsiteY0" fmla="*/ 0 h 120001"/>
                  <a:gd name="connsiteX1" fmla="*/ 43079 w 43077"/>
                  <a:gd name="connsiteY1" fmla="*/ 0 h 120001"/>
                  <a:gd name="connsiteX2" fmla="*/ 43079 w 43077"/>
                  <a:gd name="connsiteY2" fmla="*/ 120002 h 120001"/>
                  <a:gd name="connsiteX3" fmla="*/ 0 w 43077"/>
                  <a:gd name="connsiteY3" fmla="*/ 120002 h 120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077" h="120001">
                    <a:moveTo>
                      <a:pt x="0" y="0"/>
                    </a:moveTo>
                    <a:lnTo>
                      <a:pt x="43079" y="0"/>
                    </a:lnTo>
                    <a:lnTo>
                      <a:pt x="43079" y="120002"/>
                    </a:lnTo>
                    <a:lnTo>
                      <a:pt x="0" y="120002"/>
                    </a:lnTo>
                    <a:close/>
                  </a:path>
                </a:pathLst>
              </a:custGeom>
              <a:solidFill>
                <a:srgbClr val="31619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62D7AC56-33F1-49D6-98C5-DD3CB4974BAD}"/>
                  </a:ext>
                </a:extLst>
              </p:cNvPr>
              <p:cNvSpPr/>
              <p:nvPr/>
            </p:nvSpPr>
            <p:spPr>
              <a:xfrm>
                <a:off x="22378405" y="3551249"/>
                <a:ext cx="186366" cy="281751"/>
              </a:xfrm>
              <a:custGeom>
                <a:avLst/>
                <a:gdLst>
                  <a:gd name="connsiteX0" fmla="*/ 45490 w 186366"/>
                  <a:gd name="connsiteY0" fmla="*/ 279337 h 281751"/>
                  <a:gd name="connsiteX1" fmla="*/ 14721 w 186366"/>
                  <a:gd name="connsiteY1" fmla="*/ 263953 h 281751"/>
                  <a:gd name="connsiteX2" fmla="*/ 2414 w 186366"/>
                  <a:gd name="connsiteY2" fmla="*/ 227030 h 281751"/>
                  <a:gd name="connsiteX3" fmla="*/ 103952 w 186366"/>
                  <a:gd name="connsiteY3" fmla="*/ 14722 h 281751"/>
                  <a:gd name="connsiteX4" fmla="*/ 140876 w 186366"/>
                  <a:gd name="connsiteY4" fmla="*/ 2414 h 281751"/>
                  <a:gd name="connsiteX5" fmla="*/ 171645 w 186366"/>
                  <a:gd name="connsiteY5" fmla="*/ 17799 h 281751"/>
                  <a:gd name="connsiteX6" fmla="*/ 183952 w 186366"/>
                  <a:gd name="connsiteY6" fmla="*/ 54722 h 281751"/>
                  <a:gd name="connsiteX7" fmla="*/ 82414 w 186366"/>
                  <a:gd name="connsiteY7" fmla="*/ 267030 h 281751"/>
                  <a:gd name="connsiteX8" fmla="*/ 45490 w 186366"/>
                  <a:gd name="connsiteY8" fmla="*/ 279337 h 28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6366" h="281751">
                    <a:moveTo>
                      <a:pt x="45490" y="279337"/>
                    </a:moveTo>
                    <a:lnTo>
                      <a:pt x="14721" y="263953"/>
                    </a:lnTo>
                    <a:cubicBezTo>
                      <a:pt x="2414" y="257799"/>
                      <a:pt x="-3740" y="242414"/>
                      <a:pt x="2414" y="227030"/>
                    </a:cubicBezTo>
                    <a:lnTo>
                      <a:pt x="103952" y="14722"/>
                    </a:lnTo>
                    <a:cubicBezTo>
                      <a:pt x="110107" y="2414"/>
                      <a:pt x="125491" y="-3740"/>
                      <a:pt x="140876" y="2414"/>
                    </a:cubicBezTo>
                    <a:lnTo>
                      <a:pt x="171645" y="17799"/>
                    </a:lnTo>
                    <a:cubicBezTo>
                      <a:pt x="183952" y="23953"/>
                      <a:pt x="190106" y="39337"/>
                      <a:pt x="183952" y="54722"/>
                    </a:cubicBezTo>
                    <a:lnTo>
                      <a:pt x="82414" y="267030"/>
                    </a:lnTo>
                    <a:cubicBezTo>
                      <a:pt x="73183" y="279337"/>
                      <a:pt x="57799" y="285491"/>
                      <a:pt x="45490" y="279337"/>
                    </a:cubicBezTo>
                    <a:close/>
                  </a:path>
                </a:pathLst>
              </a:custGeom>
              <a:solidFill>
                <a:srgbClr val="4377AA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8AEACBDC-A499-4E04-85A4-2DE72A865B77}"/>
                  </a:ext>
                </a:extLst>
              </p:cNvPr>
              <p:cNvSpPr/>
              <p:nvPr/>
            </p:nvSpPr>
            <p:spPr>
              <a:xfrm>
                <a:off x="22506973" y="3258279"/>
                <a:ext cx="141152" cy="289230"/>
              </a:xfrm>
              <a:custGeom>
                <a:avLst/>
                <a:gdLst>
                  <a:gd name="connsiteX0" fmla="*/ 73847 w 141152"/>
                  <a:gd name="connsiteY0" fmla="*/ 289231 h 289230"/>
                  <a:gd name="connsiteX1" fmla="*/ 0 w 141152"/>
                  <a:gd name="connsiteY1" fmla="*/ 255385 h 289230"/>
                  <a:gd name="connsiteX2" fmla="*/ 120001 w 141152"/>
                  <a:gd name="connsiteY2" fmla="*/ 0 h 289230"/>
                  <a:gd name="connsiteX3" fmla="*/ 120001 w 141152"/>
                  <a:gd name="connsiteY3" fmla="*/ 0 h 289230"/>
                  <a:gd name="connsiteX4" fmla="*/ 95386 w 141152"/>
                  <a:gd name="connsiteY4" fmla="*/ 240000 h 289230"/>
                  <a:gd name="connsiteX5" fmla="*/ 73847 w 141152"/>
                  <a:gd name="connsiteY5" fmla="*/ 289231 h 28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1152" h="289230">
                    <a:moveTo>
                      <a:pt x="73847" y="289231"/>
                    </a:moveTo>
                    <a:lnTo>
                      <a:pt x="0" y="255385"/>
                    </a:lnTo>
                    <a:lnTo>
                      <a:pt x="120001" y="0"/>
                    </a:lnTo>
                    <a:lnTo>
                      <a:pt x="120001" y="0"/>
                    </a:lnTo>
                    <a:cubicBezTo>
                      <a:pt x="160000" y="18461"/>
                      <a:pt x="138462" y="156923"/>
                      <a:pt x="95386" y="240000"/>
                    </a:cubicBezTo>
                    <a:lnTo>
                      <a:pt x="73847" y="289231"/>
                    </a:lnTo>
                    <a:close/>
                  </a:path>
                </a:pathLst>
              </a:custGeom>
              <a:solidFill>
                <a:srgbClr val="8AB9D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7" name="图形 1">
              <a:extLst>
                <a:ext uri="{FF2B5EF4-FFF2-40B4-BE49-F238E27FC236}">
                  <a16:creationId xmlns:a16="http://schemas.microsoft.com/office/drawing/2014/main" id="{6D865074-D20A-42B2-BDBD-046F2D13A0AF}"/>
                </a:ext>
              </a:extLst>
            </p:cNvPr>
            <p:cNvGrpSpPr/>
            <p:nvPr/>
          </p:nvGrpSpPr>
          <p:grpSpPr>
            <a:xfrm>
              <a:off x="22429643" y="3627924"/>
              <a:ext cx="158157" cy="135740"/>
              <a:chOff x="22429643" y="3627924"/>
              <a:chExt cx="158157" cy="135740"/>
            </a:xfrm>
          </p:grpSpPr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A216BFA5-F776-4BEC-9305-0B88ADCA50D0}"/>
                  </a:ext>
                </a:extLst>
              </p:cNvPr>
              <p:cNvSpPr/>
              <p:nvPr/>
            </p:nvSpPr>
            <p:spPr>
              <a:xfrm>
                <a:off x="22436204" y="3636741"/>
                <a:ext cx="145382" cy="69230"/>
              </a:xfrm>
              <a:custGeom>
                <a:avLst/>
                <a:gdLst>
                  <a:gd name="connsiteX0" fmla="*/ 141538 w 145382"/>
                  <a:gd name="connsiteY0" fmla="*/ 27692 h 69230"/>
                  <a:gd name="connsiteX1" fmla="*/ 52308 w 145382"/>
                  <a:gd name="connsiteY1" fmla="*/ 0 h 69230"/>
                  <a:gd name="connsiteX2" fmla="*/ 43078 w 145382"/>
                  <a:gd name="connsiteY2" fmla="*/ 0 h 69230"/>
                  <a:gd name="connsiteX3" fmla="*/ 27693 w 145382"/>
                  <a:gd name="connsiteY3" fmla="*/ 3077 h 69230"/>
                  <a:gd name="connsiteX4" fmla="*/ 0 w 145382"/>
                  <a:gd name="connsiteY4" fmla="*/ 36923 h 69230"/>
                  <a:gd name="connsiteX5" fmla="*/ 33845 w 145382"/>
                  <a:gd name="connsiteY5" fmla="*/ 58462 h 69230"/>
                  <a:gd name="connsiteX6" fmla="*/ 89232 w 145382"/>
                  <a:gd name="connsiteY6" fmla="*/ 67692 h 69230"/>
                  <a:gd name="connsiteX7" fmla="*/ 132307 w 145382"/>
                  <a:gd name="connsiteY7" fmla="*/ 61538 h 69230"/>
                  <a:gd name="connsiteX8" fmla="*/ 141538 w 145382"/>
                  <a:gd name="connsiteY8" fmla="*/ 27692 h 6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5382" h="69230">
                    <a:moveTo>
                      <a:pt x="141538" y="27692"/>
                    </a:moveTo>
                    <a:cubicBezTo>
                      <a:pt x="123077" y="0"/>
                      <a:pt x="83077" y="6154"/>
                      <a:pt x="52308" y="0"/>
                    </a:cubicBezTo>
                    <a:cubicBezTo>
                      <a:pt x="49230" y="0"/>
                      <a:pt x="46154" y="0"/>
                      <a:pt x="43078" y="0"/>
                    </a:cubicBezTo>
                    <a:cubicBezTo>
                      <a:pt x="36923" y="0"/>
                      <a:pt x="33845" y="0"/>
                      <a:pt x="27693" y="3077"/>
                    </a:cubicBezTo>
                    <a:cubicBezTo>
                      <a:pt x="12308" y="9231"/>
                      <a:pt x="0" y="21538"/>
                      <a:pt x="0" y="36923"/>
                    </a:cubicBezTo>
                    <a:cubicBezTo>
                      <a:pt x="0" y="52308"/>
                      <a:pt x="21539" y="55385"/>
                      <a:pt x="33845" y="58462"/>
                    </a:cubicBezTo>
                    <a:cubicBezTo>
                      <a:pt x="52308" y="64615"/>
                      <a:pt x="70769" y="67692"/>
                      <a:pt x="89232" y="67692"/>
                    </a:cubicBezTo>
                    <a:cubicBezTo>
                      <a:pt x="101538" y="67692"/>
                      <a:pt x="120001" y="73846"/>
                      <a:pt x="132307" y="61538"/>
                    </a:cubicBezTo>
                    <a:cubicBezTo>
                      <a:pt x="147692" y="49231"/>
                      <a:pt x="147692" y="36923"/>
                      <a:pt x="141538" y="2769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83ACCDD0-A884-4823-AF72-85FBB969A361}"/>
                  </a:ext>
                </a:extLst>
              </p:cNvPr>
              <p:cNvSpPr/>
              <p:nvPr/>
            </p:nvSpPr>
            <p:spPr>
              <a:xfrm>
                <a:off x="22438802" y="3673664"/>
                <a:ext cx="122016" cy="61538"/>
              </a:xfrm>
              <a:custGeom>
                <a:avLst/>
                <a:gdLst>
                  <a:gd name="connsiteX0" fmla="*/ 117403 w 122016"/>
                  <a:gd name="connsiteY0" fmla="*/ 27692 h 61538"/>
                  <a:gd name="connsiteX1" fmla="*/ 40479 w 122016"/>
                  <a:gd name="connsiteY1" fmla="*/ 0 h 61538"/>
                  <a:gd name="connsiteX2" fmla="*/ 34325 w 122016"/>
                  <a:gd name="connsiteY2" fmla="*/ 0 h 61538"/>
                  <a:gd name="connsiteX3" fmla="*/ 22017 w 122016"/>
                  <a:gd name="connsiteY3" fmla="*/ 0 h 61538"/>
                  <a:gd name="connsiteX4" fmla="*/ 478 w 122016"/>
                  <a:gd name="connsiteY4" fmla="*/ 27692 h 61538"/>
                  <a:gd name="connsiteX5" fmla="*/ 31247 w 122016"/>
                  <a:gd name="connsiteY5" fmla="*/ 49231 h 61538"/>
                  <a:gd name="connsiteX6" fmla="*/ 80479 w 122016"/>
                  <a:gd name="connsiteY6" fmla="*/ 58461 h 61538"/>
                  <a:gd name="connsiteX7" fmla="*/ 117403 w 122016"/>
                  <a:gd name="connsiteY7" fmla="*/ 55385 h 61538"/>
                  <a:gd name="connsiteX8" fmla="*/ 117403 w 122016"/>
                  <a:gd name="connsiteY8" fmla="*/ 27692 h 6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2016" h="61538">
                    <a:moveTo>
                      <a:pt x="117403" y="27692"/>
                    </a:moveTo>
                    <a:cubicBezTo>
                      <a:pt x="98940" y="3077"/>
                      <a:pt x="65094" y="6154"/>
                      <a:pt x="40479" y="0"/>
                    </a:cubicBezTo>
                    <a:cubicBezTo>
                      <a:pt x="37401" y="0"/>
                      <a:pt x="34325" y="0"/>
                      <a:pt x="34325" y="0"/>
                    </a:cubicBezTo>
                    <a:cubicBezTo>
                      <a:pt x="31247" y="0"/>
                      <a:pt x="25095" y="0"/>
                      <a:pt x="22017" y="0"/>
                    </a:cubicBezTo>
                    <a:cubicBezTo>
                      <a:pt x="9710" y="3077"/>
                      <a:pt x="-2598" y="15385"/>
                      <a:pt x="478" y="27692"/>
                    </a:cubicBezTo>
                    <a:cubicBezTo>
                      <a:pt x="478" y="43077"/>
                      <a:pt x="18941" y="43077"/>
                      <a:pt x="31247" y="49231"/>
                    </a:cubicBezTo>
                    <a:cubicBezTo>
                      <a:pt x="46632" y="55385"/>
                      <a:pt x="62016" y="58461"/>
                      <a:pt x="80479" y="58461"/>
                    </a:cubicBezTo>
                    <a:cubicBezTo>
                      <a:pt x="92786" y="61538"/>
                      <a:pt x="105094" y="64615"/>
                      <a:pt x="117403" y="55385"/>
                    </a:cubicBezTo>
                    <a:cubicBezTo>
                      <a:pt x="123555" y="49231"/>
                      <a:pt x="123555" y="36923"/>
                      <a:pt x="117403" y="2769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EC5C08F7-4EB2-471C-969D-28F2062EA128}"/>
                  </a:ext>
                </a:extLst>
              </p:cNvPr>
              <p:cNvSpPr/>
              <p:nvPr/>
            </p:nvSpPr>
            <p:spPr>
              <a:xfrm>
                <a:off x="22441754" y="3716741"/>
                <a:ext cx="91855" cy="46923"/>
              </a:xfrm>
              <a:custGeom>
                <a:avLst/>
                <a:gdLst>
                  <a:gd name="connsiteX0" fmla="*/ 89834 w 91855"/>
                  <a:gd name="connsiteY0" fmla="*/ 21538 h 46923"/>
                  <a:gd name="connsiteX1" fmla="*/ 31373 w 91855"/>
                  <a:gd name="connsiteY1" fmla="*/ 0 h 46923"/>
                  <a:gd name="connsiteX2" fmla="*/ 25219 w 91855"/>
                  <a:gd name="connsiteY2" fmla="*/ 0 h 46923"/>
                  <a:gd name="connsiteX3" fmla="*/ 15988 w 91855"/>
                  <a:gd name="connsiteY3" fmla="*/ 0 h 46923"/>
                  <a:gd name="connsiteX4" fmla="*/ 604 w 91855"/>
                  <a:gd name="connsiteY4" fmla="*/ 21538 h 46923"/>
                  <a:gd name="connsiteX5" fmla="*/ 22143 w 91855"/>
                  <a:gd name="connsiteY5" fmla="*/ 36923 h 46923"/>
                  <a:gd name="connsiteX6" fmla="*/ 59064 w 91855"/>
                  <a:gd name="connsiteY6" fmla="*/ 46154 h 46923"/>
                  <a:gd name="connsiteX7" fmla="*/ 86757 w 91855"/>
                  <a:gd name="connsiteY7" fmla="*/ 43077 h 46923"/>
                  <a:gd name="connsiteX8" fmla="*/ 89834 w 91855"/>
                  <a:gd name="connsiteY8" fmla="*/ 21538 h 4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1855" h="46923">
                    <a:moveTo>
                      <a:pt x="89834" y="21538"/>
                    </a:moveTo>
                    <a:cubicBezTo>
                      <a:pt x="77527" y="3077"/>
                      <a:pt x="52912" y="6154"/>
                      <a:pt x="31373" y="0"/>
                    </a:cubicBezTo>
                    <a:cubicBezTo>
                      <a:pt x="28295" y="0"/>
                      <a:pt x="28295" y="0"/>
                      <a:pt x="25219" y="0"/>
                    </a:cubicBezTo>
                    <a:cubicBezTo>
                      <a:pt x="22143" y="0"/>
                      <a:pt x="19065" y="0"/>
                      <a:pt x="15988" y="0"/>
                    </a:cubicBezTo>
                    <a:cubicBezTo>
                      <a:pt x="6758" y="3077"/>
                      <a:pt x="-2474" y="12308"/>
                      <a:pt x="604" y="21538"/>
                    </a:cubicBezTo>
                    <a:cubicBezTo>
                      <a:pt x="604" y="30769"/>
                      <a:pt x="15988" y="33846"/>
                      <a:pt x="22143" y="36923"/>
                    </a:cubicBezTo>
                    <a:cubicBezTo>
                      <a:pt x="34449" y="40000"/>
                      <a:pt x="46758" y="43077"/>
                      <a:pt x="59064" y="46154"/>
                    </a:cubicBezTo>
                    <a:cubicBezTo>
                      <a:pt x="68297" y="46154"/>
                      <a:pt x="77527" y="49231"/>
                      <a:pt x="86757" y="43077"/>
                    </a:cubicBezTo>
                    <a:cubicBezTo>
                      <a:pt x="92912" y="36923"/>
                      <a:pt x="92912" y="27692"/>
                      <a:pt x="89834" y="21538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3ED0D08B-B251-4241-A951-4C83BAFFB2C5}"/>
                  </a:ext>
                </a:extLst>
              </p:cNvPr>
              <p:cNvSpPr/>
              <p:nvPr/>
            </p:nvSpPr>
            <p:spPr>
              <a:xfrm>
                <a:off x="22432334" y="3627924"/>
                <a:ext cx="155467" cy="76509"/>
              </a:xfrm>
              <a:custGeom>
                <a:avLst/>
                <a:gdLst>
                  <a:gd name="connsiteX0" fmla="*/ 108487 w 155467"/>
                  <a:gd name="connsiteY0" fmla="*/ 76509 h 76509"/>
                  <a:gd name="connsiteX1" fmla="*/ 53100 w 155467"/>
                  <a:gd name="connsiteY1" fmla="*/ 70355 h 76509"/>
                  <a:gd name="connsiteX2" fmla="*/ 794 w 155467"/>
                  <a:gd name="connsiteY2" fmla="*/ 33432 h 76509"/>
                  <a:gd name="connsiteX3" fmla="*/ 28485 w 155467"/>
                  <a:gd name="connsiteY3" fmla="*/ 2663 h 76509"/>
                  <a:gd name="connsiteX4" fmla="*/ 28485 w 155467"/>
                  <a:gd name="connsiteY4" fmla="*/ 2663 h 76509"/>
                  <a:gd name="connsiteX5" fmla="*/ 145408 w 155467"/>
                  <a:gd name="connsiteY5" fmla="*/ 27279 h 76509"/>
                  <a:gd name="connsiteX6" fmla="*/ 145408 w 155467"/>
                  <a:gd name="connsiteY6" fmla="*/ 27279 h 76509"/>
                  <a:gd name="connsiteX7" fmla="*/ 151562 w 155467"/>
                  <a:gd name="connsiteY7" fmla="*/ 58048 h 76509"/>
                  <a:gd name="connsiteX8" fmla="*/ 108487 w 155467"/>
                  <a:gd name="connsiteY8" fmla="*/ 76509 h 76509"/>
                  <a:gd name="connsiteX9" fmla="*/ 34640 w 155467"/>
                  <a:gd name="connsiteY9" fmla="*/ 14971 h 76509"/>
                  <a:gd name="connsiteX10" fmla="*/ 13101 w 155467"/>
                  <a:gd name="connsiteY10" fmla="*/ 36509 h 76509"/>
                  <a:gd name="connsiteX11" fmla="*/ 56178 w 155467"/>
                  <a:gd name="connsiteY11" fmla="*/ 61125 h 76509"/>
                  <a:gd name="connsiteX12" fmla="*/ 142332 w 155467"/>
                  <a:gd name="connsiteY12" fmla="*/ 54971 h 76509"/>
                  <a:gd name="connsiteX13" fmla="*/ 142332 w 155467"/>
                  <a:gd name="connsiteY13" fmla="*/ 39586 h 76509"/>
                  <a:gd name="connsiteX14" fmla="*/ 139256 w 155467"/>
                  <a:gd name="connsiteY14" fmla="*/ 39586 h 76509"/>
                  <a:gd name="connsiteX15" fmla="*/ 34640 w 155467"/>
                  <a:gd name="connsiteY15" fmla="*/ 14971 h 76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5467" h="76509">
                    <a:moveTo>
                      <a:pt x="108487" y="76509"/>
                    </a:moveTo>
                    <a:cubicBezTo>
                      <a:pt x="90024" y="76509"/>
                      <a:pt x="71563" y="73432"/>
                      <a:pt x="53100" y="70355"/>
                    </a:cubicBezTo>
                    <a:cubicBezTo>
                      <a:pt x="25409" y="64202"/>
                      <a:pt x="-5360" y="54971"/>
                      <a:pt x="794" y="33432"/>
                    </a:cubicBezTo>
                    <a:cubicBezTo>
                      <a:pt x="3870" y="14971"/>
                      <a:pt x="28485" y="5740"/>
                      <a:pt x="28485" y="2663"/>
                    </a:cubicBezTo>
                    <a:cubicBezTo>
                      <a:pt x="28485" y="2663"/>
                      <a:pt x="28485" y="2663"/>
                      <a:pt x="28485" y="2663"/>
                    </a:cubicBezTo>
                    <a:cubicBezTo>
                      <a:pt x="56178" y="-3491"/>
                      <a:pt x="111563" y="-414"/>
                      <a:pt x="145408" y="27279"/>
                    </a:cubicBezTo>
                    <a:lnTo>
                      <a:pt x="145408" y="27279"/>
                    </a:lnTo>
                    <a:cubicBezTo>
                      <a:pt x="151562" y="30356"/>
                      <a:pt x="160793" y="36509"/>
                      <a:pt x="151562" y="58048"/>
                    </a:cubicBezTo>
                    <a:cubicBezTo>
                      <a:pt x="148486" y="73432"/>
                      <a:pt x="130023" y="76509"/>
                      <a:pt x="108487" y="76509"/>
                    </a:cubicBezTo>
                    <a:close/>
                    <a:moveTo>
                      <a:pt x="34640" y="14971"/>
                    </a:moveTo>
                    <a:cubicBezTo>
                      <a:pt x="31563" y="14971"/>
                      <a:pt x="16179" y="24202"/>
                      <a:pt x="13101" y="36509"/>
                    </a:cubicBezTo>
                    <a:cubicBezTo>
                      <a:pt x="10025" y="45740"/>
                      <a:pt x="19255" y="51894"/>
                      <a:pt x="56178" y="61125"/>
                    </a:cubicBezTo>
                    <a:cubicBezTo>
                      <a:pt x="105408" y="73432"/>
                      <a:pt x="136178" y="70355"/>
                      <a:pt x="142332" y="54971"/>
                    </a:cubicBezTo>
                    <a:cubicBezTo>
                      <a:pt x="148486" y="42663"/>
                      <a:pt x="145408" y="42663"/>
                      <a:pt x="142332" y="39586"/>
                    </a:cubicBezTo>
                    <a:cubicBezTo>
                      <a:pt x="142332" y="39586"/>
                      <a:pt x="139256" y="39586"/>
                      <a:pt x="139256" y="39586"/>
                    </a:cubicBezTo>
                    <a:cubicBezTo>
                      <a:pt x="111563" y="11894"/>
                      <a:pt x="59255" y="8817"/>
                      <a:pt x="34640" y="1497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321E27EF-C1D4-457C-849A-B2DF4CE7FAE9}"/>
                  </a:ext>
                </a:extLst>
              </p:cNvPr>
              <p:cNvSpPr/>
              <p:nvPr/>
            </p:nvSpPr>
            <p:spPr>
              <a:xfrm>
                <a:off x="22429643" y="3671356"/>
                <a:ext cx="134735" cy="73076"/>
              </a:xfrm>
              <a:custGeom>
                <a:avLst/>
                <a:gdLst>
                  <a:gd name="connsiteX0" fmla="*/ 105023 w 134735"/>
                  <a:gd name="connsiteY0" fmla="*/ 70000 h 73076"/>
                  <a:gd name="connsiteX1" fmla="*/ 21946 w 134735"/>
                  <a:gd name="connsiteY1" fmla="*/ 54615 h 73076"/>
                  <a:gd name="connsiteX2" fmla="*/ 407 w 134735"/>
                  <a:gd name="connsiteY2" fmla="*/ 33077 h 73076"/>
                  <a:gd name="connsiteX3" fmla="*/ 12715 w 134735"/>
                  <a:gd name="connsiteY3" fmla="*/ 2308 h 73076"/>
                  <a:gd name="connsiteX4" fmla="*/ 21946 w 134735"/>
                  <a:gd name="connsiteY4" fmla="*/ 2308 h 73076"/>
                  <a:gd name="connsiteX5" fmla="*/ 21946 w 134735"/>
                  <a:gd name="connsiteY5" fmla="*/ 11538 h 73076"/>
                  <a:gd name="connsiteX6" fmla="*/ 12715 w 134735"/>
                  <a:gd name="connsiteY6" fmla="*/ 33077 h 73076"/>
                  <a:gd name="connsiteX7" fmla="*/ 25022 w 134735"/>
                  <a:gd name="connsiteY7" fmla="*/ 45385 h 73076"/>
                  <a:gd name="connsiteX8" fmla="*/ 114253 w 134735"/>
                  <a:gd name="connsiteY8" fmla="*/ 60769 h 73076"/>
                  <a:gd name="connsiteX9" fmla="*/ 120407 w 134735"/>
                  <a:gd name="connsiteY9" fmla="*/ 54615 h 73076"/>
                  <a:gd name="connsiteX10" fmla="*/ 120407 w 134735"/>
                  <a:gd name="connsiteY10" fmla="*/ 39231 h 73076"/>
                  <a:gd name="connsiteX11" fmla="*/ 120407 w 134735"/>
                  <a:gd name="connsiteY11" fmla="*/ 30000 h 73076"/>
                  <a:gd name="connsiteX12" fmla="*/ 129638 w 134735"/>
                  <a:gd name="connsiteY12" fmla="*/ 30000 h 73076"/>
                  <a:gd name="connsiteX13" fmla="*/ 132714 w 134735"/>
                  <a:gd name="connsiteY13" fmla="*/ 57692 h 73076"/>
                  <a:gd name="connsiteX14" fmla="*/ 117329 w 134735"/>
                  <a:gd name="connsiteY14" fmla="*/ 73077 h 73076"/>
                  <a:gd name="connsiteX15" fmla="*/ 105023 w 134735"/>
                  <a:gd name="connsiteY15" fmla="*/ 70000 h 7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4735" h="73076">
                    <a:moveTo>
                      <a:pt x="105023" y="70000"/>
                    </a:moveTo>
                    <a:cubicBezTo>
                      <a:pt x="83484" y="70000"/>
                      <a:pt x="49639" y="66923"/>
                      <a:pt x="21946" y="54615"/>
                    </a:cubicBezTo>
                    <a:cubicBezTo>
                      <a:pt x="9637" y="48462"/>
                      <a:pt x="3485" y="42308"/>
                      <a:pt x="407" y="33077"/>
                    </a:cubicBezTo>
                    <a:cubicBezTo>
                      <a:pt x="-2669" y="17692"/>
                      <a:pt x="12715" y="2308"/>
                      <a:pt x="12715" y="2308"/>
                    </a:cubicBezTo>
                    <a:cubicBezTo>
                      <a:pt x="15791" y="-769"/>
                      <a:pt x="18869" y="-769"/>
                      <a:pt x="21946" y="2308"/>
                    </a:cubicBezTo>
                    <a:cubicBezTo>
                      <a:pt x="25022" y="5385"/>
                      <a:pt x="25022" y="8462"/>
                      <a:pt x="21946" y="11538"/>
                    </a:cubicBezTo>
                    <a:cubicBezTo>
                      <a:pt x="18869" y="14615"/>
                      <a:pt x="12715" y="23846"/>
                      <a:pt x="12715" y="33077"/>
                    </a:cubicBezTo>
                    <a:cubicBezTo>
                      <a:pt x="12715" y="39231"/>
                      <a:pt x="18869" y="42308"/>
                      <a:pt x="25022" y="45385"/>
                    </a:cubicBezTo>
                    <a:cubicBezTo>
                      <a:pt x="58869" y="60769"/>
                      <a:pt x="101945" y="63846"/>
                      <a:pt x="114253" y="60769"/>
                    </a:cubicBezTo>
                    <a:cubicBezTo>
                      <a:pt x="117329" y="60769"/>
                      <a:pt x="120407" y="57692"/>
                      <a:pt x="120407" y="54615"/>
                    </a:cubicBezTo>
                    <a:cubicBezTo>
                      <a:pt x="123484" y="48462"/>
                      <a:pt x="120407" y="39231"/>
                      <a:pt x="120407" y="39231"/>
                    </a:cubicBezTo>
                    <a:cubicBezTo>
                      <a:pt x="117329" y="36154"/>
                      <a:pt x="117329" y="33077"/>
                      <a:pt x="120407" y="30000"/>
                    </a:cubicBezTo>
                    <a:cubicBezTo>
                      <a:pt x="123484" y="26923"/>
                      <a:pt x="126562" y="26923"/>
                      <a:pt x="129638" y="30000"/>
                    </a:cubicBezTo>
                    <a:cubicBezTo>
                      <a:pt x="135792" y="36154"/>
                      <a:pt x="135792" y="48462"/>
                      <a:pt x="132714" y="57692"/>
                    </a:cubicBezTo>
                    <a:cubicBezTo>
                      <a:pt x="129638" y="66923"/>
                      <a:pt x="123484" y="73077"/>
                      <a:pt x="117329" y="73077"/>
                    </a:cubicBezTo>
                    <a:cubicBezTo>
                      <a:pt x="114253" y="70000"/>
                      <a:pt x="108099" y="70000"/>
                      <a:pt x="105023" y="7000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D27C3B42-CE33-47D1-8E4E-23175E083C3C}"/>
                </a:ext>
              </a:extLst>
            </p:cNvPr>
            <p:cNvSpPr/>
            <p:nvPr/>
          </p:nvSpPr>
          <p:spPr>
            <a:xfrm>
              <a:off x="22332945" y="3651329"/>
              <a:ext cx="135310" cy="115117"/>
            </a:xfrm>
            <a:custGeom>
              <a:avLst/>
              <a:gdLst>
                <a:gd name="connsiteX0" fmla="*/ 84798 w 135310"/>
                <a:gd name="connsiteY0" fmla="*/ 796 h 115117"/>
                <a:gd name="connsiteX1" fmla="*/ 1721 w 135310"/>
                <a:gd name="connsiteY1" fmla="*/ 50027 h 115117"/>
                <a:gd name="connsiteX2" fmla="*/ 26336 w 135310"/>
                <a:gd name="connsiteY2" fmla="*/ 114642 h 115117"/>
                <a:gd name="connsiteX3" fmla="*/ 54029 w 135310"/>
                <a:gd name="connsiteY3" fmla="*/ 68489 h 115117"/>
                <a:gd name="connsiteX4" fmla="*/ 109413 w 135310"/>
                <a:gd name="connsiteY4" fmla="*/ 53104 h 115117"/>
                <a:gd name="connsiteX5" fmla="*/ 134028 w 135310"/>
                <a:gd name="connsiteY5" fmla="*/ 56181 h 115117"/>
                <a:gd name="connsiteX6" fmla="*/ 84798 w 135310"/>
                <a:gd name="connsiteY6" fmla="*/ 796 h 1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310" h="115117">
                  <a:moveTo>
                    <a:pt x="84798" y="796"/>
                  </a:moveTo>
                  <a:cubicBezTo>
                    <a:pt x="54029" y="-5358"/>
                    <a:pt x="17105" y="25412"/>
                    <a:pt x="1721" y="50027"/>
                  </a:cubicBezTo>
                  <a:cubicBezTo>
                    <a:pt x="-7510" y="65412"/>
                    <a:pt x="23259" y="120796"/>
                    <a:pt x="26336" y="114642"/>
                  </a:cubicBezTo>
                  <a:cubicBezTo>
                    <a:pt x="32490" y="102335"/>
                    <a:pt x="44796" y="74642"/>
                    <a:pt x="54029" y="68489"/>
                  </a:cubicBezTo>
                  <a:cubicBezTo>
                    <a:pt x="69413" y="53104"/>
                    <a:pt x="87874" y="50027"/>
                    <a:pt x="109413" y="53104"/>
                  </a:cubicBezTo>
                  <a:cubicBezTo>
                    <a:pt x="115567" y="53104"/>
                    <a:pt x="130952" y="65412"/>
                    <a:pt x="134028" y="56181"/>
                  </a:cubicBezTo>
                  <a:cubicBezTo>
                    <a:pt x="143258" y="34642"/>
                    <a:pt x="100183" y="3873"/>
                    <a:pt x="84798" y="796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C0A978EC-8D03-4D0A-A4CC-BAB677AE78F1}"/>
                </a:ext>
              </a:extLst>
            </p:cNvPr>
            <p:cNvSpPr/>
            <p:nvPr/>
          </p:nvSpPr>
          <p:spPr>
            <a:xfrm>
              <a:off x="22326205" y="3641195"/>
              <a:ext cx="146922" cy="124776"/>
            </a:xfrm>
            <a:custGeom>
              <a:avLst/>
              <a:gdLst>
                <a:gd name="connsiteX0" fmla="*/ 60769 w 146922"/>
                <a:gd name="connsiteY0" fmla="*/ 124777 h 124776"/>
                <a:gd name="connsiteX1" fmla="*/ 60769 w 146922"/>
                <a:gd name="connsiteY1" fmla="*/ 124777 h 124776"/>
                <a:gd name="connsiteX2" fmla="*/ 54615 w 146922"/>
                <a:gd name="connsiteY2" fmla="*/ 115546 h 124776"/>
                <a:gd name="connsiteX3" fmla="*/ 54615 w 146922"/>
                <a:gd name="connsiteY3" fmla="*/ 78623 h 124776"/>
                <a:gd name="connsiteX4" fmla="*/ 54615 w 146922"/>
                <a:gd name="connsiteY4" fmla="*/ 72469 h 124776"/>
                <a:gd name="connsiteX5" fmla="*/ 116154 w 146922"/>
                <a:gd name="connsiteY5" fmla="*/ 57084 h 124776"/>
                <a:gd name="connsiteX6" fmla="*/ 134614 w 146922"/>
                <a:gd name="connsiteY6" fmla="*/ 57084 h 124776"/>
                <a:gd name="connsiteX7" fmla="*/ 134614 w 146922"/>
                <a:gd name="connsiteY7" fmla="*/ 50931 h 124776"/>
                <a:gd name="connsiteX8" fmla="*/ 88461 w 146922"/>
                <a:gd name="connsiteY8" fmla="*/ 14007 h 124776"/>
                <a:gd name="connsiteX9" fmla="*/ 11538 w 146922"/>
                <a:gd name="connsiteY9" fmla="*/ 60161 h 124776"/>
                <a:gd name="connsiteX10" fmla="*/ 2307 w 146922"/>
                <a:gd name="connsiteY10" fmla="*/ 60161 h 124776"/>
                <a:gd name="connsiteX11" fmla="*/ 2307 w 146922"/>
                <a:gd name="connsiteY11" fmla="*/ 50931 h 124776"/>
                <a:gd name="connsiteX12" fmla="*/ 91539 w 146922"/>
                <a:gd name="connsiteY12" fmla="*/ 1700 h 124776"/>
                <a:gd name="connsiteX13" fmla="*/ 146923 w 146922"/>
                <a:gd name="connsiteY13" fmla="*/ 47854 h 124776"/>
                <a:gd name="connsiteX14" fmla="*/ 143845 w 146922"/>
                <a:gd name="connsiteY14" fmla="*/ 63238 h 124776"/>
                <a:gd name="connsiteX15" fmla="*/ 116154 w 146922"/>
                <a:gd name="connsiteY15" fmla="*/ 66315 h 124776"/>
                <a:gd name="connsiteX16" fmla="*/ 66922 w 146922"/>
                <a:gd name="connsiteY16" fmla="*/ 75546 h 124776"/>
                <a:gd name="connsiteX17" fmla="*/ 66922 w 146922"/>
                <a:gd name="connsiteY17" fmla="*/ 118623 h 124776"/>
                <a:gd name="connsiteX18" fmla="*/ 60769 w 146922"/>
                <a:gd name="connsiteY18" fmla="*/ 124777 h 124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6922" h="124776">
                  <a:moveTo>
                    <a:pt x="60769" y="124777"/>
                  </a:moveTo>
                  <a:cubicBezTo>
                    <a:pt x="60769" y="124777"/>
                    <a:pt x="60769" y="124777"/>
                    <a:pt x="60769" y="124777"/>
                  </a:cubicBezTo>
                  <a:cubicBezTo>
                    <a:pt x="54615" y="121700"/>
                    <a:pt x="54615" y="118623"/>
                    <a:pt x="54615" y="115546"/>
                  </a:cubicBezTo>
                  <a:cubicBezTo>
                    <a:pt x="60769" y="103238"/>
                    <a:pt x="57691" y="84777"/>
                    <a:pt x="54615" y="78623"/>
                  </a:cubicBezTo>
                  <a:cubicBezTo>
                    <a:pt x="54615" y="75546"/>
                    <a:pt x="54615" y="72469"/>
                    <a:pt x="54615" y="72469"/>
                  </a:cubicBezTo>
                  <a:cubicBezTo>
                    <a:pt x="76154" y="50931"/>
                    <a:pt x="100769" y="57084"/>
                    <a:pt x="116154" y="57084"/>
                  </a:cubicBezTo>
                  <a:cubicBezTo>
                    <a:pt x="122308" y="57084"/>
                    <a:pt x="131538" y="60161"/>
                    <a:pt x="134614" y="57084"/>
                  </a:cubicBezTo>
                  <a:cubicBezTo>
                    <a:pt x="134614" y="57084"/>
                    <a:pt x="137693" y="57084"/>
                    <a:pt x="134614" y="50931"/>
                  </a:cubicBezTo>
                  <a:cubicBezTo>
                    <a:pt x="131538" y="41700"/>
                    <a:pt x="113076" y="20161"/>
                    <a:pt x="88461" y="14007"/>
                  </a:cubicBezTo>
                  <a:cubicBezTo>
                    <a:pt x="60769" y="4777"/>
                    <a:pt x="23846" y="44777"/>
                    <a:pt x="11538" y="60161"/>
                  </a:cubicBezTo>
                  <a:cubicBezTo>
                    <a:pt x="8461" y="63238"/>
                    <a:pt x="5383" y="63238"/>
                    <a:pt x="2307" y="60161"/>
                  </a:cubicBezTo>
                  <a:cubicBezTo>
                    <a:pt x="-769" y="57084"/>
                    <a:pt x="-769" y="54008"/>
                    <a:pt x="2307" y="50931"/>
                  </a:cubicBezTo>
                  <a:cubicBezTo>
                    <a:pt x="5383" y="47854"/>
                    <a:pt x="51537" y="-10608"/>
                    <a:pt x="91539" y="1700"/>
                  </a:cubicBezTo>
                  <a:cubicBezTo>
                    <a:pt x="122308" y="10931"/>
                    <a:pt x="143845" y="32469"/>
                    <a:pt x="146923" y="47854"/>
                  </a:cubicBezTo>
                  <a:cubicBezTo>
                    <a:pt x="146923" y="54008"/>
                    <a:pt x="146923" y="60161"/>
                    <a:pt x="143845" y="63238"/>
                  </a:cubicBezTo>
                  <a:cubicBezTo>
                    <a:pt x="137693" y="69392"/>
                    <a:pt x="128460" y="66315"/>
                    <a:pt x="116154" y="66315"/>
                  </a:cubicBezTo>
                  <a:cubicBezTo>
                    <a:pt x="100769" y="63238"/>
                    <a:pt x="82306" y="60161"/>
                    <a:pt x="66922" y="75546"/>
                  </a:cubicBezTo>
                  <a:cubicBezTo>
                    <a:pt x="70000" y="84777"/>
                    <a:pt x="73076" y="106315"/>
                    <a:pt x="66922" y="118623"/>
                  </a:cubicBezTo>
                  <a:cubicBezTo>
                    <a:pt x="66922" y="124777"/>
                    <a:pt x="63846" y="124777"/>
                    <a:pt x="60769" y="124777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ACD2F72A-EEEC-41EE-A824-3957ED66D9EB}"/>
                </a:ext>
              </a:extLst>
            </p:cNvPr>
            <p:cNvSpPr/>
            <p:nvPr/>
          </p:nvSpPr>
          <p:spPr>
            <a:xfrm>
              <a:off x="21229471" y="3266816"/>
              <a:ext cx="1172887" cy="1145315"/>
            </a:xfrm>
            <a:custGeom>
              <a:avLst/>
              <a:gdLst>
                <a:gd name="connsiteX0" fmla="*/ 74426 w 1172887"/>
                <a:gd name="connsiteY0" fmla="*/ 6847 h 1145315"/>
                <a:gd name="connsiteX1" fmla="*/ 431348 w 1172887"/>
                <a:gd name="connsiteY1" fmla="*/ 360694 h 1145315"/>
                <a:gd name="connsiteX2" fmla="*/ 628272 w 1172887"/>
                <a:gd name="connsiteY2" fmla="*/ 816078 h 1145315"/>
                <a:gd name="connsiteX3" fmla="*/ 1028272 w 1172887"/>
                <a:gd name="connsiteY3" fmla="*/ 440694 h 1145315"/>
                <a:gd name="connsiteX4" fmla="*/ 1172888 w 1172887"/>
                <a:gd name="connsiteY4" fmla="*/ 603770 h 1145315"/>
                <a:gd name="connsiteX5" fmla="*/ 612887 w 1172887"/>
                <a:gd name="connsiteY5" fmla="*/ 1145309 h 1145315"/>
                <a:gd name="connsiteX6" fmla="*/ 74426 w 1172887"/>
                <a:gd name="connsiteY6" fmla="*/ 6847 h 1145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72887" h="1145315">
                  <a:moveTo>
                    <a:pt x="74426" y="6847"/>
                  </a:moveTo>
                  <a:cubicBezTo>
                    <a:pt x="200579" y="-48537"/>
                    <a:pt x="366734" y="246847"/>
                    <a:pt x="431348" y="360694"/>
                  </a:cubicBezTo>
                  <a:cubicBezTo>
                    <a:pt x="489810" y="462232"/>
                    <a:pt x="628272" y="816078"/>
                    <a:pt x="628272" y="816078"/>
                  </a:cubicBezTo>
                  <a:lnTo>
                    <a:pt x="1028272" y="440694"/>
                  </a:lnTo>
                  <a:lnTo>
                    <a:pt x="1172888" y="603770"/>
                  </a:lnTo>
                  <a:cubicBezTo>
                    <a:pt x="1172888" y="603770"/>
                    <a:pt x="742119" y="1142232"/>
                    <a:pt x="612887" y="1145309"/>
                  </a:cubicBezTo>
                  <a:cubicBezTo>
                    <a:pt x="391349" y="1148386"/>
                    <a:pt x="-208652" y="133001"/>
                    <a:pt x="74426" y="6847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1" name="图形 1">
              <a:extLst>
                <a:ext uri="{FF2B5EF4-FFF2-40B4-BE49-F238E27FC236}">
                  <a16:creationId xmlns:a16="http://schemas.microsoft.com/office/drawing/2014/main" id="{0C02C834-D8C9-410E-BB6D-9A1504C3125D}"/>
                </a:ext>
              </a:extLst>
            </p:cNvPr>
            <p:cNvGrpSpPr/>
            <p:nvPr/>
          </p:nvGrpSpPr>
          <p:grpSpPr>
            <a:xfrm>
              <a:off x="21077229" y="6904433"/>
              <a:ext cx="488205" cy="344615"/>
              <a:chOff x="21077229" y="6904433"/>
              <a:chExt cx="488205" cy="344615"/>
            </a:xfrm>
          </p:grpSpPr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32EA7D12-DDAF-4A0A-88B8-A5A38862C50F}"/>
                  </a:ext>
                </a:extLst>
              </p:cNvPr>
              <p:cNvSpPr/>
              <p:nvPr/>
            </p:nvSpPr>
            <p:spPr>
              <a:xfrm>
                <a:off x="21085434" y="6904433"/>
                <a:ext cx="215384" cy="224615"/>
              </a:xfrm>
              <a:custGeom>
                <a:avLst/>
                <a:gdLst>
                  <a:gd name="connsiteX0" fmla="*/ 0 w 215384"/>
                  <a:gd name="connsiteY0" fmla="*/ 184615 h 224615"/>
                  <a:gd name="connsiteX1" fmla="*/ 12308 w 215384"/>
                  <a:gd name="connsiteY1" fmla="*/ 0 h 224615"/>
                  <a:gd name="connsiteX2" fmla="*/ 215385 w 215384"/>
                  <a:gd name="connsiteY2" fmla="*/ 0 h 224615"/>
                  <a:gd name="connsiteX3" fmla="*/ 166155 w 215384"/>
                  <a:gd name="connsiteY3" fmla="*/ 196923 h 224615"/>
                  <a:gd name="connsiteX4" fmla="*/ 12308 w 215384"/>
                  <a:gd name="connsiteY4" fmla="*/ 224615 h 22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5384" h="224615">
                    <a:moveTo>
                      <a:pt x="0" y="184615"/>
                    </a:moveTo>
                    <a:lnTo>
                      <a:pt x="12308" y="0"/>
                    </a:lnTo>
                    <a:lnTo>
                      <a:pt x="215385" y="0"/>
                    </a:lnTo>
                    <a:lnTo>
                      <a:pt x="166155" y="196923"/>
                    </a:lnTo>
                    <a:lnTo>
                      <a:pt x="12308" y="224615"/>
                    </a:ln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040BBFC0-9D66-4C67-B597-C2B95DD48B91}"/>
                  </a:ext>
                </a:extLst>
              </p:cNvPr>
              <p:cNvSpPr/>
              <p:nvPr/>
            </p:nvSpPr>
            <p:spPr>
              <a:xfrm>
                <a:off x="21077229" y="7042894"/>
                <a:ext cx="488205" cy="159999"/>
              </a:xfrm>
              <a:custGeom>
                <a:avLst/>
                <a:gdLst>
                  <a:gd name="connsiteX0" fmla="*/ 8205 w 488205"/>
                  <a:gd name="connsiteY0" fmla="*/ 46154 h 159999"/>
                  <a:gd name="connsiteX1" fmla="*/ 183590 w 488205"/>
                  <a:gd name="connsiteY1" fmla="*/ 0 h 159999"/>
                  <a:gd name="connsiteX2" fmla="*/ 318975 w 488205"/>
                  <a:gd name="connsiteY2" fmla="*/ 80000 h 159999"/>
                  <a:gd name="connsiteX3" fmla="*/ 488206 w 488205"/>
                  <a:gd name="connsiteY3" fmla="*/ 160000 h 159999"/>
                  <a:gd name="connsiteX4" fmla="*/ 8205 w 488205"/>
                  <a:gd name="connsiteY4" fmla="*/ 160000 h 159999"/>
                  <a:gd name="connsiteX5" fmla="*/ 8205 w 488205"/>
                  <a:gd name="connsiteY5" fmla="*/ 46154 h 159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8205" h="159999">
                    <a:moveTo>
                      <a:pt x="8205" y="46154"/>
                    </a:moveTo>
                    <a:cubicBezTo>
                      <a:pt x="8205" y="46154"/>
                      <a:pt x="118975" y="64616"/>
                      <a:pt x="183590" y="0"/>
                    </a:cubicBezTo>
                    <a:cubicBezTo>
                      <a:pt x="183590" y="0"/>
                      <a:pt x="272821" y="70769"/>
                      <a:pt x="318975" y="80000"/>
                    </a:cubicBezTo>
                    <a:cubicBezTo>
                      <a:pt x="365129" y="89231"/>
                      <a:pt x="475897" y="86154"/>
                      <a:pt x="488206" y="160000"/>
                    </a:cubicBezTo>
                    <a:lnTo>
                      <a:pt x="8205" y="160000"/>
                    </a:lnTo>
                    <a:cubicBezTo>
                      <a:pt x="8205" y="160000"/>
                      <a:pt x="-10256" y="98461"/>
                      <a:pt x="8205" y="4615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2C6CC5EC-16AC-4C60-BF0F-32E08AB60BD8}"/>
                  </a:ext>
                </a:extLst>
              </p:cNvPr>
              <p:cNvSpPr/>
              <p:nvPr/>
            </p:nvSpPr>
            <p:spPr>
              <a:xfrm>
                <a:off x="21085435" y="7202894"/>
                <a:ext cx="479999" cy="46153"/>
              </a:xfrm>
              <a:custGeom>
                <a:avLst/>
                <a:gdLst>
                  <a:gd name="connsiteX0" fmla="*/ -1 w 479999"/>
                  <a:gd name="connsiteY0" fmla="*/ 0 h 46153"/>
                  <a:gd name="connsiteX1" fmla="*/ 479999 w 479999"/>
                  <a:gd name="connsiteY1" fmla="*/ 0 h 46153"/>
                  <a:gd name="connsiteX2" fmla="*/ 479999 w 479999"/>
                  <a:gd name="connsiteY2" fmla="*/ 46154 h 46153"/>
                  <a:gd name="connsiteX3" fmla="*/ -1 w 479999"/>
                  <a:gd name="connsiteY3" fmla="*/ 46154 h 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9999" h="46153">
                    <a:moveTo>
                      <a:pt x="-1" y="0"/>
                    </a:moveTo>
                    <a:lnTo>
                      <a:pt x="479999" y="0"/>
                    </a:lnTo>
                    <a:lnTo>
                      <a:pt x="479999" y="46154"/>
                    </a:lnTo>
                    <a:lnTo>
                      <a:pt x="-1" y="46154"/>
                    </a:lnTo>
                    <a:close/>
                  </a:path>
                </a:pathLst>
              </a:custGeom>
              <a:solidFill>
                <a:srgbClr val="38333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D36547DA-778F-4199-9191-381953AEEFD5}"/>
                  </a:ext>
                </a:extLst>
              </p:cNvPr>
              <p:cNvSpPr/>
              <p:nvPr/>
            </p:nvSpPr>
            <p:spPr>
              <a:xfrm>
                <a:off x="21079282" y="7034433"/>
                <a:ext cx="186922" cy="63846"/>
              </a:xfrm>
              <a:custGeom>
                <a:avLst/>
                <a:gdLst>
                  <a:gd name="connsiteX0" fmla="*/ 40000 w 186922"/>
                  <a:gd name="connsiteY0" fmla="*/ 63846 h 63846"/>
                  <a:gd name="connsiteX1" fmla="*/ 6152 w 186922"/>
                  <a:gd name="connsiteY1" fmla="*/ 60769 h 63846"/>
                  <a:gd name="connsiteX2" fmla="*/ 0 w 186922"/>
                  <a:gd name="connsiteY2" fmla="*/ 54615 h 63846"/>
                  <a:gd name="connsiteX3" fmla="*/ 6152 w 186922"/>
                  <a:gd name="connsiteY3" fmla="*/ 48462 h 63846"/>
                  <a:gd name="connsiteX4" fmla="*/ 175383 w 186922"/>
                  <a:gd name="connsiteY4" fmla="*/ 2308 h 63846"/>
                  <a:gd name="connsiteX5" fmla="*/ 184615 w 186922"/>
                  <a:gd name="connsiteY5" fmla="*/ 2308 h 63846"/>
                  <a:gd name="connsiteX6" fmla="*/ 184615 w 186922"/>
                  <a:gd name="connsiteY6" fmla="*/ 11539 h 63846"/>
                  <a:gd name="connsiteX7" fmla="*/ 40000 w 186922"/>
                  <a:gd name="connsiteY7" fmla="*/ 63846 h 6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6922" h="63846">
                    <a:moveTo>
                      <a:pt x="40000" y="63846"/>
                    </a:moveTo>
                    <a:cubicBezTo>
                      <a:pt x="21537" y="63846"/>
                      <a:pt x="9230" y="60769"/>
                      <a:pt x="6152" y="60769"/>
                    </a:cubicBezTo>
                    <a:cubicBezTo>
                      <a:pt x="3076" y="60769"/>
                      <a:pt x="0" y="57693"/>
                      <a:pt x="0" y="54615"/>
                    </a:cubicBezTo>
                    <a:cubicBezTo>
                      <a:pt x="0" y="51539"/>
                      <a:pt x="3076" y="48462"/>
                      <a:pt x="6152" y="48462"/>
                    </a:cubicBezTo>
                    <a:cubicBezTo>
                      <a:pt x="6152" y="48462"/>
                      <a:pt x="107692" y="63846"/>
                      <a:pt x="175383" y="2308"/>
                    </a:cubicBezTo>
                    <a:cubicBezTo>
                      <a:pt x="178461" y="-769"/>
                      <a:pt x="181537" y="-769"/>
                      <a:pt x="184615" y="2308"/>
                    </a:cubicBezTo>
                    <a:cubicBezTo>
                      <a:pt x="187692" y="5385"/>
                      <a:pt x="187692" y="8462"/>
                      <a:pt x="184615" y="11539"/>
                    </a:cubicBezTo>
                    <a:cubicBezTo>
                      <a:pt x="135383" y="57693"/>
                      <a:pt x="73845" y="63846"/>
                      <a:pt x="40000" y="6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4FAEAEAE-20D9-458C-BF55-635D8F9D7484}"/>
                  </a:ext>
                </a:extLst>
              </p:cNvPr>
              <p:cNvSpPr/>
              <p:nvPr/>
            </p:nvSpPr>
            <p:spPr>
              <a:xfrm>
                <a:off x="21264666" y="7059048"/>
                <a:ext cx="41537" cy="42307"/>
              </a:xfrm>
              <a:custGeom>
                <a:avLst/>
                <a:gdLst>
                  <a:gd name="connsiteX0" fmla="*/ 5383 w 41537"/>
                  <a:gd name="connsiteY0" fmla="*/ 42308 h 42307"/>
                  <a:gd name="connsiteX1" fmla="*/ 2307 w 41537"/>
                  <a:gd name="connsiteY1" fmla="*/ 39231 h 42307"/>
                  <a:gd name="connsiteX2" fmla="*/ 2307 w 41537"/>
                  <a:gd name="connsiteY2" fmla="*/ 30000 h 42307"/>
                  <a:gd name="connsiteX3" fmla="*/ 30000 w 41537"/>
                  <a:gd name="connsiteY3" fmla="*/ 2308 h 42307"/>
                  <a:gd name="connsiteX4" fmla="*/ 39231 w 41537"/>
                  <a:gd name="connsiteY4" fmla="*/ 2308 h 42307"/>
                  <a:gd name="connsiteX5" fmla="*/ 39231 w 41537"/>
                  <a:gd name="connsiteY5" fmla="*/ 11539 h 42307"/>
                  <a:gd name="connsiteX6" fmla="*/ 11538 w 41537"/>
                  <a:gd name="connsiteY6" fmla="*/ 39231 h 42307"/>
                  <a:gd name="connsiteX7" fmla="*/ 5383 w 41537"/>
                  <a:gd name="connsiteY7" fmla="*/ 42308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7" h="42307">
                    <a:moveTo>
                      <a:pt x="5383" y="42308"/>
                    </a:moveTo>
                    <a:cubicBezTo>
                      <a:pt x="5383" y="42308"/>
                      <a:pt x="2307" y="42308"/>
                      <a:pt x="2307" y="39231"/>
                    </a:cubicBezTo>
                    <a:cubicBezTo>
                      <a:pt x="-769" y="36154"/>
                      <a:pt x="-769" y="33077"/>
                      <a:pt x="2307" y="30000"/>
                    </a:cubicBezTo>
                    <a:lnTo>
                      <a:pt x="30000" y="2308"/>
                    </a:lnTo>
                    <a:cubicBezTo>
                      <a:pt x="33076" y="-769"/>
                      <a:pt x="36153" y="-769"/>
                      <a:pt x="39231" y="2308"/>
                    </a:cubicBezTo>
                    <a:cubicBezTo>
                      <a:pt x="42307" y="5384"/>
                      <a:pt x="42307" y="8462"/>
                      <a:pt x="39231" y="11539"/>
                    </a:cubicBezTo>
                    <a:lnTo>
                      <a:pt x="11538" y="39231"/>
                    </a:lnTo>
                    <a:cubicBezTo>
                      <a:pt x="8461" y="42308"/>
                      <a:pt x="5383" y="42308"/>
                      <a:pt x="5383" y="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8AF02593-82AE-4525-8BD0-7746BCD53A3F}"/>
                  </a:ext>
                </a:extLst>
              </p:cNvPr>
              <p:cNvSpPr/>
              <p:nvPr/>
            </p:nvSpPr>
            <p:spPr>
              <a:xfrm>
                <a:off x="21301588" y="7086741"/>
                <a:ext cx="41539" cy="42307"/>
              </a:xfrm>
              <a:custGeom>
                <a:avLst/>
                <a:gdLst>
                  <a:gd name="connsiteX0" fmla="*/ 5385 w 41539"/>
                  <a:gd name="connsiteY0" fmla="*/ 42308 h 42307"/>
                  <a:gd name="connsiteX1" fmla="*/ 2309 w 41539"/>
                  <a:gd name="connsiteY1" fmla="*/ 39230 h 42307"/>
                  <a:gd name="connsiteX2" fmla="*/ 2309 w 41539"/>
                  <a:gd name="connsiteY2" fmla="*/ 30000 h 42307"/>
                  <a:gd name="connsiteX3" fmla="*/ 30000 w 41539"/>
                  <a:gd name="connsiteY3" fmla="*/ 2307 h 42307"/>
                  <a:gd name="connsiteX4" fmla="*/ 39232 w 41539"/>
                  <a:gd name="connsiteY4" fmla="*/ 2307 h 42307"/>
                  <a:gd name="connsiteX5" fmla="*/ 39232 w 41539"/>
                  <a:gd name="connsiteY5" fmla="*/ 11538 h 42307"/>
                  <a:gd name="connsiteX6" fmla="*/ 11539 w 41539"/>
                  <a:gd name="connsiteY6" fmla="*/ 39230 h 42307"/>
                  <a:gd name="connsiteX7" fmla="*/ 5385 w 41539"/>
                  <a:gd name="connsiteY7" fmla="*/ 42308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9" h="42307">
                    <a:moveTo>
                      <a:pt x="5385" y="42308"/>
                    </a:moveTo>
                    <a:cubicBezTo>
                      <a:pt x="5385" y="42308"/>
                      <a:pt x="2309" y="42308"/>
                      <a:pt x="2309" y="39230"/>
                    </a:cubicBezTo>
                    <a:cubicBezTo>
                      <a:pt x="-770" y="36154"/>
                      <a:pt x="-770" y="33077"/>
                      <a:pt x="2309" y="30000"/>
                    </a:cubicBezTo>
                    <a:lnTo>
                      <a:pt x="30000" y="2307"/>
                    </a:lnTo>
                    <a:cubicBezTo>
                      <a:pt x="33078" y="-769"/>
                      <a:pt x="36154" y="-769"/>
                      <a:pt x="39232" y="2307"/>
                    </a:cubicBezTo>
                    <a:cubicBezTo>
                      <a:pt x="42308" y="5385"/>
                      <a:pt x="42308" y="8461"/>
                      <a:pt x="39232" y="11538"/>
                    </a:cubicBezTo>
                    <a:lnTo>
                      <a:pt x="11539" y="39230"/>
                    </a:lnTo>
                    <a:cubicBezTo>
                      <a:pt x="8463" y="42308"/>
                      <a:pt x="8463" y="42308"/>
                      <a:pt x="5385" y="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6BA2B63D-17A9-49D5-ABAC-9D94DAE92469}"/>
                </a:ext>
              </a:extLst>
            </p:cNvPr>
            <p:cNvSpPr/>
            <p:nvPr/>
          </p:nvSpPr>
          <p:spPr>
            <a:xfrm>
              <a:off x="20842358" y="3005971"/>
              <a:ext cx="252308" cy="260625"/>
            </a:xfrm>
            <a:custGeom>
              <a:avLst/>
              <a:gdLst>
                <a:gd name="connsiteX0" fmla="*/ 252308 w 252308"/>
                <a:gd name="connsiteY0" fmla="*/ 40000 h 260625"/>
                <a:gd name="connsiteX1" fmla="*/ 246154 w 252308"/>
                <a:gd name="connsiteY1" fmla="*/ 215385 h 260625"/>
                <a:gd name="connsiteX2" fmla="*/ 0 w 252308"/>
                <a:gd name="connsiteY2" fmla="*/ 206154 h 260625"/>
                <a:gd name="connsiteX3" fmla="*/ 15385 w 252308"/>
                <a:gd name="connsiteY3" fmla="*/ 0 h 260625"/>
                <a:gd name="connsiteX4" fmla="*/ 252308 w 252308"/>
                <a:gd name="connsiteY4" fmla="*/ 40000 h 26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308" h="260625">
                  <a:moveTo>
                    <a:pt x="252308" y="40000"/>
                  </a:moveTo>
                  <a:cubicBezTo>
                    <a:pt x="252308" y="40000"/>
                    <a:pt x="246154" y="141538"/>
                    <a:pt x="246154" y="215385"/>
                  </a:cubicBezTo>
                  <a:cubicBezTo>
                    <a:pt x="246154" y="215385"/>
                    <a:pt x="150768" y="323077"/>
                    <a:pt x="0" y="206154"/>
                  </a:cubicBezTo>
                  <a:cubicBezTo>
                    <a:pt x="0" y="144615"/>
                    <a:pt x="12307" y="64615"/>
                    <a:pt x="15385" y="0"/>
                  </a:cubicBezTo>
                  <a:cubicBezTo>
                    <a:pt x="12307" y="0"/>
                    <a:pt x="200000" y="52308"/>
                    <a:pt x="252308" y="40000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86CD81B4-6C05-4462-91A8-9EAD77043C4E}"/>
                </a:ext>
              </a:extLst>
            </p:cNvPr>
            <p:cNvSpPr/>
            <p:nvPr/>
          </p:nvSpPr>
          <p:spPr>
            <a:xfrm>
              <a:off x="20750051" y="2885971"/>
              <a:ext cx="70768" cy="138461"/>
            </a:xfrm>
            <a:custGeom>
              <a:avLst/>
              <a:gdLst>
                <a:gd name="connsiteX0" fmla="*/ 0 w 70768"/>
                <a:gd name="connsiteY0" fmla="*/ 0 h 138461"/>
                <a:gd name="connsiteX1" fmla="*/ 67693 w 70768"/>
                <a:gd name="connsiteY1" fmla="*/ 138462 h 138461"/>
                <a:gd name="connsiteX2" fmla="*/ 70769 w 70768"/>
                <a:gd name="connsiteY2" fmla="*/ 52308 h 138461"/>
                <a:gd name="connsiteX3" fmla="*/ 0 w 70768"/>
                <a:gd name="connsiteY3" fmla="*/ 0 h 1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768" h="138461">
                  <a:moveTo>
                    <a:pt x="0" y="0"/>
                  </a:moveTo>
                  <a:cubicBezTo>
                    <a:pt x="0" y="0"/>
                    <a:pt x="15385" y="120000"/>
                    <a:pt x="67693" y="138462"/>
                  </a:cubicBezTo>
                  <a:lnTo>
                    <a:pt x="70769" y="523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11211F9E-9FEE-438D-81AA-E5F5C76119D2}"/>
                </a:ext>
              </a:extLst>
            </p:cNvPr>
            <p:cNvSpPr/>
            <p:nvPr/>
          </p:nvSpPr>
          <p:spPr>
            <a:xfrm>
              <a:off x="21109595" y="2673664"/>
              <a:ext cx="103581" cy="240012"/>
            </a:xfrm>
            <a:custGeom>
              <a:avLst/>
              <a:gdLst>
                <a:gd name="connsiteX0" fmla="*/ 95840 w 103581"/>
                <a:gd name="connsiteY0" fmla="*/ 0 h 240012"/>
                <a:gd name="connsiteX1" fmla="*/ 55840 w 103581"/>
                <a:gd name="connsiteY1" fmla="*/ 236923 h 240012"/>
                <a:gd name="connsiteX2" fmla="*/ 456 w 103581"/>
                <a:gd name="connsiteY2" fmla="*/ 15385 h 240012"/>
                <a:gd name="connsiteX3" fmla="*/ 95840 w 103581"/>
                <a:gd name="connsiteY3" fmla="*/ 0 h 24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581" h="240012">
                  <a:moveTo>
                    <a:pt x="95840" y="0"/>
                  </a:moveTo>
                  <a:cubicBezTo>
                    <a:pt x="95840" y="0"/>
                    <a:pt x="129685" y="196923"/>
                    <a:pt x="55840" y="236923"/>
                  </a:cubicBezTo>
                  <a:cubicBezTo>
                    <a:pt x="-8776" y="270769"/>
                    <a:pt x="456" y="15385"/>
                    <a:pt x="456" y="15385"/>
                  </a:cubicBezTo>
                  <a:lnTo>
                    <a:pt x="95840" y="0"/>
                  </a:ln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5A0574A6-3B65-4BBF-9C17-B09A571AD19A}"/>
                </a:ext>
              </a:extLst>
            </p:cNvPr>
            <p:cNvSpPr/>
            <p:nvPr/>
          </p:nvSpPr>
          <p:spPr>
            <a:xfrm>
              <a:off x="20750051" y="2536902"/>
              <a:ext cx="427296" cy="574293"/>
            </a:xfrm>
            <a:custGeom>
              <a:avLst/>
              <a:gdLst>
                <a:gd name="connsiteX0" fmla="*/ 415385 w 427296"/>
                <a:gd name="connsiteY0" fmla="*/ 182915 h 574293"/>
                <a:gd name="connsiteX1" fmla="*/ 418461 w 427296"/>
                <a:gd name="connsiteY1" fmla="*/ 435223 h 574293"/>
                <a:gd name="connsiteX2" fmla="*/ 258460 w 427296"/>
                <a:gd name="connsiteY2" fmla="*/ 573685 h 574293"/>
                <a:gd name="connsiteX3" fmla="*/ 40000 w 427296"/>
                <a:gd name="connsiteY3" fmla="*/ 432146 h 574293"/>
                <a:gd name="connsiteX4" fmla="*/ 0 w 427296"/>
                <a:gd name="connsiteY4" fmla="*/ 204454 h 574293"/>
                <a:gd name="connsiteX5" fmla="*/ 212307 w 427296"/>
                <a:gd name="connsiteY5" fmla="*/ 1377 h 574293"/>
                <a:gd name="connsiteX6" fmla="*/ 415385 w 427296"/>
                <a:gd name="connsiteY6" fmla="*/ 182915 h 574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296" h="574293">
                  <a:moveTo>
                    <a:pt x="415385" y="182915"/>
                  </a:moveTo>
                  <a:cubicBezTo>
                    <a:pt x="415385" y="182915"/>
                    <a:pt x="440000" y="361377"/>
                    <a:pt x="418461" y="435223"/>
                  </a:cubicBezTo>
                  <a:cubicBezTo>
                    <a:pt x="400000" y="502915"/>
                    <a:pt x="310768" y="567531"/>
                    <a:pt x="258460" y="573685"/>
                  </a:cubicBezTo>
                  <a:cubicBezTo>
                    <a:pt x="190770" y="579839"/>
                    <a:pt x="70769" y="539838"/>
                    <a:pt x="40000" y="432146"/>
                  </a:cubicBezTo>
                  <a:cubicBezTo>
                    <a:pt x="18461" y="358300"/>
                    <a:pt x="0" y="256762"/>
                    <a:pt x="0" y="204454"/>
                  </a:cubicBezTo>
                  <a:cubicBezTo>
                    <a:pt x="0" y="109069"/>
                    <a:pt x="27691" y="29069"/>
                    <a:pt x="212307" y="1377"/>
                  </a:cubicBezTo>
                  <a:cubicBezTo>
                    <a:pt x="298462" y="-14008"/>
                    <a:pt x="393846" y="102915"/>
                    <a:pt x="415385" y="182915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2E9524E8-9F97-4A24-BF57-2B9C2ABF7BEA}"/>
                </a:ext>
              </a:extLst>
            </p:cNvPr>
            <p:cNvSpPr/>
            <p:nvPr/>
          </p:nvSpPr>
          <p:spPr>
            <a:xfrm>
              <a:off x="20980820" y="2799818"/>
              <a:ext cx="58460" cy="141538"/>
            </a:xfrm>
            <a:custGeom>
              <a:avLst/>
              <a:gdLst>
                <a:gd name="connsiteX0" fmla="*/ 27691 w 58460"/>
                <a:gd name="connsiteY0" fmla="*/ 141538 h 141538"/>
                <a:gd name="connsiteX1" fmla="*/ 6154 w 58460"/>
                <a:gd name="connsiteY1" fmla="*/ 138462 h 141538"/>
                <a:gd name="connsiteX2" fmla="*/ 0 w 58460"/>
                <a:gd name="connsiteY2" fmla="*/ 132308 h 141538"/>
                <a:gd name="connsiteX3" fmla="*/ 6154 w 58460"/>
                <a:gd name="connsiteY3" fmla="*/ 126154 h 141538"/>
                <a:gd name="connsiteX4" fmla="*/ 46154 w 58460"/>
                <a:gd name="connsiteY4" fmla="*/ 123077 h 141538"/>
                <a:gd name="connsiteX5" fmla="*/ 46154 w 58460"/>
                <a:gd name="connsiteY5" fmla="*/ 120000 h 141538"/>
                <a:gd name="connsiteX6" fmla="*/ 27691 w 58460"/>
                <a:gd name="connsiteY6" fmla="*/ 6154 h 141538"/>
                <a:gd name="connsiteX7" fmla="*/ 33845 w 58460"/>
                <a:gd name="connsiteY7" fmla="*/ 0 h 141538"/>
                <a:gd name="connsiteX8" fmla="*/ 40000 w 58460"/>
                <a:gd name="connsiteY8" fmla="*/ 6154 h 141538"/>
                <a:gd name="connsiteX9" fmla="*/ 58460 w 58460"/>
                <a:gd name="connsiteY9" fmla="*/ 120000 h 141538"/>
                <a:gd name="connsiteX10" fmla="*/ 52308 w 58460"/>
                <a:gd name="connsiteY10" fmla="*/ 132308 h 141538"/>
                <a:gd name="connsiteX11" fmla="*/ 27691 w 58460"/>
                <a:gd name="connsiteY11" fmla="*/ 141538 h 14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460" h="141538">
                  <a:moveTo>
                    <a:pt x="27691" y="141538"/>
                  </a:moveTo>
                  <a:cubicBezTo>
                    <a:pt x="18461" y="141538"/>
                    <a:pt x="9230" y="138462"/>
                    <a:pt x="6154" y="138462"/>
                  </a:cubicBezTo>
                  <a:cubicBezTo>
                    <a:pt x="3076" y="138462"/>
                    <a:pt x="0" y="135385"/>
                    <a:pt x="0" y="132308"/>
                  </a:cubicBezTo>
                  <a:cubicBezTo>
                    <a:pt x="0" y="129231"/>
                    <a:pt x="3076" y="126154"/>
                    <a:pt x="6154" y="126154"/>
                  </a:cubicBezTo>
                  <a:cubicBezTo>
                    <a:pt x="18461" y="129231"/>
                    <a:pt x="40000" y="129231"/>
                    <a:pt x="46154" y="123077"/>
                  </a:cubicBezTo>
                  <a:cubicBezTo>
                    <a:pt x="46154" y="123077"/>
                    <a:pt x="46154" y="120000"/>
                    <a:pt x="46154" y="120000"/>
                  </a:cubicBezTo>
                  <a:cubicBezTo>
                    <a:pt x="46154" y="101538"/>
                    <a:pt x="27691" y="9231"/>
                    <a:pt x="27691" y="6154"/>
                  </a:cubicBezTo>
                  <a:cubicBezTo>
                    <a:pt x="27691" y="3077"/>
                    <a:pt x="27691" y="0"/>
                    <a:pt x="33845" y="0"/>
                  </a:cubicBezTo>
                  <a:cubicBezTo>
                    <a:pt x="36923" y="0"/>
                    <a:pt x="40000" y="0"/>
                    <a:pt x="40000" y="6154"/>
                  </a:cubicBezTo>
                  <a:cubicBezTo>
                    <a:pt x="40000" y="9231"/>
                    <a:pt x="58460" y="101538"/>
                    <a:pt x="58460" y="120000"/>
                  </a:cubicBezTo>
                  <a:cubicBezTo>
                    <a:pt x="58460" y="126154"/>
                    <a:pt x="55384" y="129231"/>
                    <a:pt x="52308" y="132308"/>
                  </a:cubicBezTo>
                  <a:cubicBezTo>
                    <a:pt x="49230" y="138462"/>
                    <a:pt x="36923" y="141538"/>
                    <a:pt x="27691" y="141538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44C8861E-CAF0-40F8-A67A-AA9EC0C6ED60}"/>
                </a:ext>
              </a:extLst>
            </p:cNvPr>
            <p:cNvSpPr/>
            <p:nvPr/>
          </p:nvSpPr>
          <p:spPr>
            <a:xfrm>
              <a:off x="20950051" y="2990587"/>
              <a:ext cx="107692" cy="52431"/>
            </a:xfrm>
            <a:custGeom>
              <a:avLst/>
              <a:gdLst>
                <a:gd name="connsiteX0" fmla="*/ 107692 w 107692"/>
                <a:gd name="connsiteY0" fmla="*/ 0 h 52431"/>
                <a:gd name="connsiteX1" fmla="*/ 0 w 107692"/>
                <a:gd name="connsiteY1" fmla="*/ 0 h 52431"/>
                <a:gd name="connsiteX2" fmla="*/ 52308 w 107692"/>
                <a:gd name="connsiteY2" fmla="*/ 52308 h 52431"/>
                <a:gd name="connsiteX3" fmla="*/ 107692 w 107692"/>
                <a:gd name="connsiteY3" fmla="*/ 0 h 52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92" h="52431">
                  <a:moveTo>
                    <a:pt x="107692" y="0"/>
                  </a:moveTo>
                  <a:cubicBezTo>
                    <a:pt x="107692" y="0"/>
                    <a:pt x="52308" y="15385"/>
                    <a:pt x="0" y="0"/>
                  </a:cubicBezTo>
                  <a:cubicBezTo>
                    <a:pt x="0" y="0"/>
                    <a:pt x="3076" y="52308"/>
                    <a:pt x="52308" y="52308"/>
                  </a:cubicBezTo>
                  <a:cubicBezTo>
                    <a:pt x="95384" y="55385"/>
                    <a:pt x="107692" y="0"/>
                    <a:pt x="107692" y="0"/>
                  </a:cubicBezTo>
                  <a:close/>
                </a:path>
              </a:pathLst>
            </a:custGeom>
            <a:solidFill>
              <a:srgbClr val="FFFFFF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701C64ED-A493-45F5-8904-EA5431C7B42D}"/>
                </a:ext>
              </a:extLst>
            </p:cNvPr>
            <p:cNvSpPr/>
            <p:nvPr/>
          </p:nvSpPr>
          <p:spPr>
            <a:xfrm>
              <a:off x="21069266" y="2777676"/>
              <a:ext cx="41388" cy="41207"/>
            </a:xfrm>
            <a:custGeom>
              <a:avLst/>
              <a:gdLst>
                <a:gd name="connsiteX0" fmla="*/ 784 w 41388"/>
                <a:gd name="connsiteY0" fmla="*/ 25219 h 41207"/>
                <a:gd name="connsiteX1" fmla="*/ 25401 w 41388"/>
                <a:gd name="connsiteY1" fmla="*/ 40604 h 41207"/>
                <a:gd name="connsiteX2" fmla="*/ 40785 w 41388"/>
                <a:gd name="connsiteY2" fmla="*/ 15988 h 41207"/>
                <a:gd name="connsiteX3" fmla="*/ 16168 w 41388"/>
                <a:gd name="connsiteY3" fmla="*/ 604 h 41207"/>
                <a:gd name="connsiteX4" fmla="*/ 784 w 41388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8" h="41207">
                  <a:moveTo>
                    <a:pt x="784" y="25219"/>
                  </a:moveTo>
                  <a:cubicBezTo>
                    <a:pt x="3862" y="34450"/>
                    <a:pt x="13092" y="43680"/>
                    <a:pt x="25401" y="40604"/>
                  </a:cubicBezTo>
                  <a:cubicBezTo>
                    <a:pt x="34631" y="37527"/>
                    <a:pt x="43861" y="28296"/>
                    <a:pt x="40785" y="15988"/>
                  </a:cubicBezTo>
                  <a:cubicBezTo>
                    <a:pt x="37707" y="6757"/>
                    <a:pt x="28477" y="-2473"/>
                    <a:pt x="16168" y="604"/>
                  </a:cubicBezTo>
                  <a:cubicBezTo>
                    <a:pt x="3862" y="3680"/>
                    <a:pt x="-2292" y="15988"/>
                    <a:pt x="784" y="25219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1BFEC52F-1FAE-4A47-BB68-FCDE1D3D418A}"/>
                </a:ext>
              </a:extLst>
            </p:cNvPr>
            <p:cNvSpPr/>
            <p:nvPr/>
          </p:nvSpPr>
          <p:spPr>
            <a:xfrm>
              <a:off x="20884650" y="2799214"/>
              <a:ext cx="41388" cy="41207"/>
            </a:xfrm>
            <a:custGeom>
              <a:avLst/>
              <a:gdLst>
                <a:gd name="connsiteX0" fmla="*/ 784 w 41388"/>
                <a:gd name="connsiteY0" fmla="*/ 25219 h 41207"/>
                <a:gd name="connsiteX1" fmla="*/ 25401 w 41388"/>
                <a:gd name="connsiteY1" fmla="*/ 40604 h 41207"/>
                <a:gd name="connsiteX2" fmla="*/ 40785 w 41388"/>
                <a:gd name="connsiteY2" fmla="*/ 15988 h 41207"/>
                <a:gd name="connsiteX3" fmla="*/ 16168 w 41388"/>
                <a:gd name="connsiteY3" fmla="*/ 604 h 41207"/>
                <a:gd name="connsiteX4" fmla="*/ 784 w 41388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8" h="41207">
                  <a:moveTo>
                    <a:pt x="784" y="25219"/>
                  </a:moveTo>
                  <a:cubicBezTo>
                    <a:pt x="3862" y="34450"/>
                    <a:pt x="13092" y="43680"/>
                    <a:pt x="25401" y="40604"/>
                  </a:cubicBezTo>
                  <a:cubicBezTo>
                    <a:pt x="34631" y="37527"/>
                    <a:pt x="43861" y="28296"/>
                    <a:pt x="40785" y="15988"/>
                  </a:cubicBezTo>
                  <a:cubicBezTo>
                    <a:pt x="37707" y="6757"/>
                    <a:pt x="28477" y="-2473"/>
                    <a:pt x="16168" y="604"/>
                  </a:cubicBezTo>
                  <a:cubicBezTo>
                    <a:pt x="3862" y="3680"/>
                    <a:pt x="-2292" y="12911"/>
                    <a:pt x="784" y="25219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95C26CF0-36AE-414B-B583-CCDCE14E95F8}"/>
                </a:ext>
              </a:extLst>
            </p:cNvPr>
            <p:cNvSpPr/>
            <p:nvPr/>
          </p:nvSpPr>
          <p:spPr>
            <a:xfrm>
              <a:off x="21041083" y="2729048"/>
              <a:ext cx="92813" cy="33846"/>
            </a:xfrm>
            <a:custGeom>
              <a:avLst/>
              <a:gdLst>
                <a:gd name="connsiteX0" fmla="*/ 87428 w 92813"/>
                <a:gd name="connsiteY0" fmla="*/ 33846 h 33846"/>
                <a:gd name="connsiteX1" fmla="*/ 81274 w 92813"/>
                <a:gd name="connsiteY1" fmla="*/ 30769 h 33846"/>
                <a:gd name="connsiteX2" fmla="*/ 13582 w 92813"/>
                <a:gd name="connsiteY2" fmla="*/ 24615 h 33846"/>
                <a:gd name="connsiteX3" fmla="*/ 1275 w 92813"/>
                <a:gd name="connsiteY3" fmla="*/ 21538 h 33846"/>
                <a:gd name="connsiteX4" fmla="*/ 4351 w 92813"/>
                <a:gd name="connsiteY4" fmla="*/ 9231 h 33846"/>
                <a:gd name="connsiteX5" fmla="*/ 90505 w 92813"/>
                <a:gd name="connsiteY5" fmla="*/ 18462 h 33846"/>
                <a:gd name="connsiteX6" fmla="*/ 90505 w 92813"/>
                <a:gd name="connsiteY6" fmla="*/ 30769 h 33846"/>
                <a:gd name="connsiteX7" fmla="*/ 87428 w 92813"/>
                <a:gd name="connsiteY7" fmla="*/ 33846 h 3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3846">
                  <a:moveTo>
                    <a:pt x="87428" y="33846"/>
                  </a:moveTo>
                  <a:cubicBezTo>
                    <a:pt x="84352" y="33846"/>
                    <a:pt x="84352" y="33846"/>
                    <a:pt x="81274" y="30769"/>
                  </a:cubicBezTo>
                  <a:cubicBezTo>
                    <a:pt x="53583" y="3077"/>
                    <a:pt x="13582" y="24615"/>
                    <a:pt x="13582" y="24615"/>
                  </a:cubicBezTo>
                  <a:cubicBezTo>
                    <a:pt x="10505" y="27692"/>
                    <a:pt x="4351" y="24615"/>
                    <a:pt x="1275" y="21538"/>
                  </a:cubicBezTo>
                  <a:cubicBezTo>
                    <a:pt x="-1803" y="18462"/>
                    <a:pt x="1275" y="12308"/>
                    <a:pt x="4351" y="9231"/>
                  </a:cubicBezTo>
                  <a:cubicBezTo>
                    <a:pt x="22814" y="0"/>
                    <a:pt x="62813" y="-9231"/>
                    <a:pt x="90505" y="18462"/>
                  </a:cubicBezTo>
                  <a:cubicBezTo>
                    <a:pt x="93583" y="21538"/>
                    <a:pt x="93583" y="27692"/>
                    <a:pt x="90505" y="30769"/>
                  </a:cubicBezTo>
                  <a:cubicBezTo>
                    <a:pt x="90505" y="33846"/>
                    <a:pt x="87428" y="33846"/>
                    <a:pt x="87428" y="33846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4134CBD5-5176-4C2C-A4E4-53BD13EED647}"/>
                </a:ext>
              </a:extLst>
            </p:cNvPr>
            <p:cNvSpPr/>
            <p:nvPr/>
          </p:nvSpPr>
          <p:spPr>
            <a:xfrm>
              <a:off x="20849282" y="2732438"/>
              <a:ext cx="92812" cy="36609"/>
            </a:xfrm>
            <a:custGeom>
              <a:avLst/>
              <a:gdLst>
                <a:gd name="connsiteX0" fmla="*/ 8461 w 92812"/>
                <a:gd name="connsiteY0" fmla="*/ 36610 h 36609"/>
                <a:gd name="connsiteX1" fmla="*/ 2307 w 92812"/>
                <a:gd name="connsiteY1" fmla="*/ 33533 h 36609"/>
                <a:gd name="connsiteX2" fmla="*/ 2307 w 92812"/>
                <a:gd name="connsiteY2" fmla="*/ 21225 h 36609"/>
                <a:gd name="connsiteX3" fmla="*/ 88461 w 92812"/>
                <a:gd name="connsiteY3" fmla="*/ 11995 h 36609"/>
                <a:gd name="connsiteX4" fmla="*/ 91539 w 92812"/>
                <a:gd name="connsiteY4" fmla="*/ 24302 h 36609"/>
                <a:gd name="connsiteX5" fmla="*/ 79230 w 92812"/>
                <a:gd name="connsiteY5" fmla="*/ 27379 h 36609"/>
                <a:gd name="connsiteX6" fmla="*/ 11538 w 92812"/>
                <a:gd name="connsiteY6" fmla="*/ 33533 h 36609"/>
                <a:gd name="connsiteX7" fmla="*/ 8461 w 92812"/>
                <a:gd name="connsiteY7" fmla="*/ 36610 h 3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6609">
                  <a:moveTo>
                    <a:pt x="8461" y="36610"/>
                  </a:moveTo>
                  <a:cubicBezTo>
                    <a:pt x="5383" y="36610"/>
                    <a:pt x="5383" y="36610"/>
                    <a:pt x="2307" y="33533"/>
                  </a:cubicBezTo>
                  <a:cubicBezTo>
                    <a:pt x="-769" y="30456"/>
                    <a:pt x="-769" y="24302"/>
                    <a:pt x="2307" y="21225"/>
                  </a:cubicBezTo>
                  <a:cubicBezTo>
                    <a:pt x="14616" y="5841"/>
                    <a:pt x="51537" y="-12621"/>
                    <a:pt x="88461" y="11995"/>
                  </a:cubicBezTo>
                  <a:cubicBezTo>
                    <a:pt x="91539" y="15072"/>
                    <a:pt x="94615" y="18148"/>
                    <a:pt x="91539" y="24302"/>
                  </a:cubicBezTo>
                  <a:cubicBezTo>
                    <a:pt x="88461" y="27379"/>
                    <a:pt x="85384" y="30456"/>
                    <a:pt x="79230" y="27379"/>
                  </a:cubicBezTo>
                  <a:cubicBezTo>
                    <a:pt x="42307" y="2764"/>
                    <a:pt x="14616" y="33533"/>
                    <a:pt x="11538" y="33533"/>
                  </a:cubicBezTo>
                  <a:cubicBezTo>
                    <a:pt x="14616" y="33533"/>
                    <a:pt x="11538" y="36610"/>
                    <a:pt x="8461" y="36610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6BDEE07E-44DD-4DF2-9E62-8D178F9254D0}"/>
                </a:ext>
              </a:extLst>
            </p:cNvPr>
            <p:cNvSpPr/>
            <p:nvPr/>
          </p:nvSpPr>
          <p:spPr>
            <a:xfrm>
              <a:off x="20845434" y="3052125"/>
              <a:ext cx="233077" cy="64615"/>
            </a:xfrm>
            <a:custGeom>
              <a:avLst/>
              <a:gdLst>
                <a:gd name="connsiteX0" fmla="*/ 150770 w 233077"/>
                <a:gd name="connsiteY0" fmla="*/ 64615 h 64615"/>
                <a:gd name="connsiteX1" fmla="*/ 3078 w 233077"/>
                <a:gd name="connsiteY1" fmla="*/ 12308 h 64615"/>
                <a:gd name="connsiteX2" fmla="*/ 0 w 233077"/>
                <a:gd name="connsiteY2" fmla="*/ 3077 h 64615"/>
                <a:gd name="connsiteX3" fmla="*/ 9230 w 233077"/>
                <a:gd name="connsiteY3" fmla="*/ 0 h 64615"/>
                <a:gd name="connsiteX4" fmla="*/ 150770 w 233077"/>
                <a:gd name="connsiteY4" fmla="*/ 49231 h 64615"/>
                <a:gd name="connsiteX5" fmla="*/ 150770 w 233077"/>
                <a:gd name="connsiteY5" fmla="*/ 49231 h 64615"/>
                <a:gd name="connsiteX6" fmla="*/ 221539 w 233077"/>
                <a:gd name="connsiteY6" fmla="*/ 24615 h 64615"/>
                <a:gd name="connsiteX7" fmla="*/ 230769 w 233077"/>
                <a:gd name="connsiteY7" fmla="*/ 24615 h 64615"/>
                <a:gd name="connsiteX8" fmla="*/ 230769 w 233077"/>
                <a:gd name="connsiteY8" fmla="*/ 33846 h 64615"/>
                <a:gd name="connsiteX9" fmla="*/ 150770 w 233077"/>
                <a:gd name="connsiteY9" fmla="*/ 64615 h 64615"/>
                <a:gd name="connsiteX10" fmla="*/ 150770 w 233077"/>
                <a:gd name="connsiteY10" fmla="*/ 64615 h 6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077" h="64615">
                  <a:moveTo>
                    <a:pt x="150770" y="64615"/>
                  </a:moveTo>
                  <a:cubicBezTo>
                    <a:pt x="98462" y="64615"/>
                    <a:pt x="9230" y="15385"/>
                    <a:pt x="3078" y="12308"/>
                  </a:cubicBezTo>
                  <a:cubicBezTo>
                    <a:pt x="0" y="9231"/>
                    <a:pt x="0" y="6154"/>
                    <a:pt x="0" y="3077"/>
                  </a:cubicBezTo>
                  <a:cubicBezTo>
                    <a:pt x="3078" y="0"/>
                    <a:pt x="6154" y="0"/>
                    <a:pt x="9230" y="0"/>
                  </a:cubicBezTo>
                  <a:cubicBezTo>
                    <a:pt x="9230" y="0"/>
                    <a:pt x="101538" y="49231"/>
                    <a:pt x="150770" y="49231"/>
                  </a:cubicBezTo>
                  <a:cubicBezTo>
                    <a:pt x="150770" y="49231"/>
                    <a:pt x="150770" y="49231"/>
                    <a:pt x="150770" y="49231"/>
                  </a:cubicBezTo>
                  <a:cubicBezTo>
                    <a:pt x="190770" y="49231"/>
                    <a:pt x="221539" y="24615"/>
                    <a:pt x="221539" y="24615"/>
                  </a:cubicBezTo>
                  <a:cubicBezTo>
                    <a:pt x="224615" y="21538"/>
                    <a:pt x="227693" y="21538"/>
                    <a:pt x="230769" y="24615"/>
                  </a:cubicBezTo>
                  <a:cubicBezTo>
                    <a:pt x="233847" y="27692"/>
                    <a:pt x="233847" y="30769"/>
                    <a:pt x="230769" y="33846"/>
                  </a:cubicBezTo>
                  <a:cubicBezTo>
                    <a:pt x="227693" y="36923"/>
                    <a:pt x="193846" y="64615"/>
                    <a:pt x="150770" y="64615"/>
                  </a:cubicBezTo>
                  <a:cubicBezTo>
                    <a:pt x="150770" y="64615"/>
                    <a:pt x="150770" y="64615"/>
                    <a:pt x="150770" y="64615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B1E1D567-03B2-46EA-AF36-0A2E9C84DBCA}"/>
                </a:ext>
              </a:extLst>
            </p:cNvPr>
            <p:cNvSpPr/>
            <p:nvPr/>
          </p:nvSpPr>
          <p:spPr>
            <a:xfrm>
              <a:off x="20709730" y="2559818"/>
              <a:ext cx="114165" cy="270769"/>
            </a:xfrm>
            <a:custGeom>
              <a:avLst/>
              <a:gdLst>
                <a:gd name="connsiteX0" fmla="*/ 114165 w 114165"/>
                <a:gd name="connsiteY0" fmla="*/ 129231 h 270769"/>
                <a:gd name="connsiteX1" fmla="*/ 64935 w 114165"/>
                <a:gd name="connsiteY1" fmla="*/ 270769 h 270769"/>
                <a:gd name="connsiteX2" fmla="*/ 6473 w 114165"/>
                <a:gd name="connsiteY2" fmla="*/ 169231 h 270769"/>
                <a:gd name="connsiteX3" fmla="*/ 64935 w 114165"/>
                <a:gd name="connsiteY3" fmla="*/ 0 h 270769"/>
                <a:gd name="connsiteX4" fmla="*/ 114165 w 114165"/>
                <a:gd name="connsiteY4" fmla="*/ 129231 h 27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165" h="270769">
                  <a:moveTo>
                    <a:pt x="114165" y="129231"/>
                  </a:moveTo>
                  <a:cubicBezTo>
                    <a:pt x="114165" y="129231"/>
                    <a:pt x="58781" y="240000"/>
                    <a:pt x="64935" y="270769"/>
                  </a:cubicBezTo>
                  <a:cubicBezTo>
                    <a:pt x="64935" y="270769"/>
                    <a:pt x="21857" y="224615"/>
                    <a:pt x="6473" y="169231"/>
                  </a:cubicBezTo>
                  <a:cubicBezTo>
                    <a:pt x="-8912" y="110769"/>
                    <a:pt x="320" y="15385"/>
                    <a:pt x="64935" y="0"/>
                  </a:cubicBezTo>
                  <a:cubicBezTo>
                    <a:pt x="68011" y="3077"/>
                    <a:pt x="74165" y="110769"/>
                    <a:pt x="114165" y="129231"/>
                  </a:cubicBez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53C3C6E7-111A-4E05-9180-32210E3E63BD}"/>
                </a:ext>
              </a:extLst>
            </p:cNvPr>
            <p:cNvSpPr/>
            <p:nvPr/>
          </p:nvSpPr>
          <p:spPr>
            <a:xfrm>
              <a:off x="20765809" y="2443431"/>
              <a:ext cx="440238" cy="353310"/>
            </a:xfrm>
            <a:custGeom>
              <a:avLst/>
              <a:gdLst>
                <a:gd name="connsiteX0" fmla="*/ 58087 w 440238"/>
                <a:gd name="connsiteY0" fmla="*/ 245618 h 353310"/>
                <a:gd name="connsiteX1" fmla="*/ 181164 w 440238"/>
                <a:gd name="connsiteY1" fmla="*/ 205618 h 353310"/>
                <a:gd name="connsiteX2" fmla="*/ 424242 w 440238"/>
                <a:gd name="connsiteY2" fmla="*/ 353310 h 353310"/>
                <a:gd name="connsiteX3" fmla="*/ 427318 w 440238"/>
                <a:gd name="connsiteY3" fmla="*/ 184079 h 353310"/>
                <a:gd name="connsiteX4" fmla="*/ 335010 w 440238"/>
                <a:gd name="connsiteY4" fmla="*/ 33310 h 353310"/>
                <a:gd name="connsiteX5" fmla="*/ 131934 w 440238"/>
                <a:gd name="connsiteY5" fmla="*/ 17925 h 353310"/>
                <a:gd name="connsiteX6" fmla="*/ 8857 w 440238"/>
                <a:gd name="connsiteY6" fmla="*/ 113310 h 353310"/>
                <a:gd name="connsiteX7" fmla="*/ 58087 w 440238"/>
                <a:gd name="connsiteY7" fmla="*/ 245618 h 35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0238" h="353310">
                  <a:moveTo>
                    <a:pt x="58087" y="245618"/>
                  </a:moveTo>
                  <a:cubicBezTo>
                    <a:pt x="58087" y="245618"/>
                    <a:pt x="153473" y="205618"/>
                    <a:pt x="181164" y="205618"/>
                  </a:cubicBezTo>
                  <a:cubicBezTo>
                    <a:pt x="282704" y="208695"/>
                    <a:pt x="439626" y="279464"/>
                    <a:pt x="424242" y="353310"/>
                  </a:cubicBezTo>
                  <a:cubicBezTo>
                    <a:pt x="424242" y="353310"/>
                    <a:pt x="458087" y="248695"/>
                    <a:pt x="427318" y="184079"/>
                  </a:cubicBezTo>
                  <a:cubicBezTo>
                    <a:pt x="427318" y="184079"/>
                    <a:pt x="427318" y="57925"/>
                    <a:pt x="335010" y="33310"/>
                  </a:cubicBezTo>
                  <a:cubicBezTo>
                    <a:pt x="242702" y="8695"/>
                    <a:pt x="202703" y="-18998"/>
                    <a:pt x="131934" y="17925"/>
                  </a:cubicBezTo>
                  <a:cubicBezTo>
                    <a:pt x="61165" y="57925"/>
                    <a:pt x="15011" y="76387"/>
                    <a:pt x="8857" y="113310"/>
                  </a:cubicBezTo>
                  <a:cubicBezTo>
                    <a:pt x="11933" y="119464"/>
                    <a:pt x="-34221" y="233310"/>
                    <a:pt x="58087" y="245618"/>
                  </a:cubicBez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D092F860-522D-4D05-BCE3-998F8E42C907}"/>
                </a:ext>
              </a:extLst>
            </p:cNvPr>
            <p:cNvSpPr/>
            <p:nvPr/>
          </p:nvSpPr>
          <p:spPr>
            <a:xfrm>
              <a:off x="20712067" y="2799625"/>
              <a:ext cx="77982" cy="111610"/>
            </a:xfrm>
            <a:custGeom>
              <a:avLst/>
              <a:gdLst>
                <a:gd name="connsiteX0" fmla="*/ 65675 w 77982"/>
                <a:gd name="connsiteY0" fmla="*/ 15577 h 111610"/>
                <a:gd name="connsiteX1" fmla="*/ 7214 w 77982"/>
                <a:gd name="connsiteY1" fmla="*/ 6346 h 111610"/>
                <a:gd name="connsiteX2" fmla="*/ 65675 w 77982"/>
                <a:gd name="connsiteY2" fmla="*/ 107885 h 111610"/>
                <a:gd name="connsiteX3" fmla="*/ 65675 w 77982"/>
                <a:gd name="connsiteY3" fmla="*/ 15577 h 111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982" h="111610">
                  <a:moveTo>
                    <a:pt x="65675" y="15577"/>
                  </a:moveTo>
                  <a:cubicBezTo>
                    <a:pt x="65675" y="15577"/>
                    <a:pt x="31829" y="-12115"/>
                    <a:pt x="7214" y="6346"/>
                  </a:cubicBezTo>
                  <a:cubicBezTo>
                    <a:pt x="-17401" y="27885"/>
                    <a:pt x="25675" y="132500"/>
                    <a:pt x="65675" y="107885"/>
                  </a:cubicBezTo>
                  <a:cubicBezTo>
                    <a:pt x="93368" y="89423"/>
                    <a:pt x="65675" y="15577"/>
                    <a:pt x="65675" y="15577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63914996-BBBA-4A85-BFCA-E13CCA5E83EA}"/>
                </a:ext>
              </a:extLst>
            </p:cNvPr>
            <p:cNvSpPr/>
            <p:nvPr/>
          </p:nvSpPr>
          <p:spPr>
            <a:xfrm>
              <a:off x="20759862" y="2577005"/>
              <a:ext cx="76342" cy="244351"/>
            </a:xfrm>
            <a:custGeom>
              <a:avLst/>
              <a:gdLst>
                <a:gd name="connsiteX0" fmla="*/ 17880 w 76342"/>
                <a:gd name="connsiteY0" fmla="*/ 244351 h 244351"/>
                <a:gd name="connsiteX1" fmla="*/ 17880 w 76342"/>
                <a:gd name="connsiteY1" fmla="*/ 244351 h 244351"/>
                <a:gd name="connsiteX2" fmla="*/ 11728 w 76342"/>
                <a:gd name="connsiteY2" fmla="*/ 238198 h 244351"/>
                <a:gd name="connsiteX3" fmla="*/ 57882 w 76342"/>
                <a:gd name="connsiteY3" fmla="*/ 115121 h 244351"/>
                <a:gd name="connsiteX4" fmla="*/ 8650 w 76342"/>
                <a:gd name="connsiteY4" fmla="*/ 72044 h 244351"/>
                <a:gd name="connsiteX5" fmla="*/ 5574 w 76342"/>
                <a:gd name="connsiteY5" fmla="*/ 4351 h 244351"/>
                <a:gd name="connsiteX6" fmla="*/ 11728 w 76342"/>
                <a:gd name="connsiteY6" fmla="*/ 1275 h 244351"/>
                <a:gd name="connsiteX7" fmla="*/ 14804 w 76342"/>
                <a:gd name="connsiteY7" fmla="*/ 7428 h 244351"/>
                <a:gd name="connsiteX8" fmla="*/ 17880 w 76342"/>
                <a:gd name="connsiteY8" fmla="*/ 65890 h 244351"/>
                <a:gd name="connsiteX9" fmla="*/ 67112 w 76342"/>
                <a:gd name="connsiteY9" fmla="*/ 105890 h 244351"/>
                <a:gd name="connsiteX10" fmla="*/ 76342 w 76342"/>
                <a:gd name="connsiteY10" fmla="*/ 108967 h 244351"/>
                <a:gd name="connsiteX11" fmla="*/ 70188 w 76342"/>
                <a:gd name="connsiteY11" fmla="*/ 115121 h 244351"/>
                <a:gd name="connsiteX12" fmla="*/ 24034 w 76342"/>
                <a:gd name="connsiteY12" fmla="*/ 238198 h 244351"/>
                <a:gd name="connsiteX13" fmla="*/ 17880 w 76342"/>
                <a:gd name="connsiteY13" fmla="*/ 244351 h 244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342" h="244351">
                  <a:moveTo>
                    <a:pt x="17880" y="244351"/>
                  </a:moveTo>
                  <a:lnTo>
                    <a:pt x="17880" y="244351"/>
                  </a:lnTo>
                  <a:cubicBezTo>
                    <a:pt x="14804" y="244351"/>
                    <a:pt x="11728" y="241275"/>
                    <a:pt x="11728" y="238198"/>
                  </a:cubicBezTo>
                  <a:cubicBezTo>
                    <a:pt x="14804" y="185890"/>
                    <a:pt x="45573" y="133582"/>
                    <a:pt x="57882" y="115121"/>
                  </a:cubicBezTo>
                  <a:cubicBezTo>
                    <a:pt x="45573" y="108967"/>
                    <a:pt x="20958" y="96659"/>
                    <a:pt x="8650" y="72044"/>
                  </a:cubicBezTo>
                  <a:cubicBezTo>
                    <a:pt x="-581" y="53582"/>
                    <a:pt x="-3657" y="28967"/>
                    <a:pt x="5574" y="4351"/>
                  </a:cubicBezTo>
                  <a:cubicBezTo>
                    <a:pt x="5574" y="1275"/>
                    <a:pt x="8650" y="-1802"/>
                    <a:pt x="11728" y="1275"/>
                  </a:cubicBezTo>
                  <a:cubicBezTo>
                    <a:pt x="14804" y="1275"/>
                    <a:pt x="17880" y="4351"/>
                    <a:pt x="14804" y="7428"/>
                  </a:cubicBezTo>
                  <a:cubicBezTo>
                    <a:pt x="8650" y="28967"/>
                    <a:pt x="8650" y="47428"/>
                    <a:pt x="17880" y="65890"/>
                  </a:cubicBezTo>
                  <a:cubicBezTo>
                    <a:pt x="33265" y="93582"/>
                    <a:pt x="67112" y="105890"/>
                    <a:pt x="67112" y="105890"/>
                  </a:cubicBezTo>
                  <a:lnTo>
                    <a:pt x="76342" y="108967"/>
                  </a:lnTo>
                  <a:lnTo>
                    <a:pt x="70188" y="115121"/>
                  </a:lnTo>
                  <a:cubicBezTo>
                    <a:pt x="70188" y="115121"/>
                    <a:pt x="27112" y="176659"/>
                    <a:pt x="24034" y="238198"/>
                  </a:cubicBezTo>
                  <a:cubicBezTo>
                    <a:pt x="24034" y="241275"/>
                    <a:pt x="20958" y="244351"/>
                    <a:pt x="17880" y="244351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A6E6F740-0A88-47F1-9898-4244203B4F01}"/>
                </a:ext>
              </a:extLst>
            </p:cNvPr>
            <p:cNvSpPr/>
            <p:nvPr/>
          </p:nvSpPr>
          <p:spPr>
            <a:xfrm>
              <a:off x="20531588" y="6870587"/>
              <a:ext cx="203078" cy="258461"/>
            </a:xfrm>
            <a:custGeom>
              <a:avLst/>
              <a:gdLst>
                <a:gd name="connsiteX0" fmla="*/ 0 w 203078"/>
                <a:gd name="connsiteY0" fmla="*/ 218461 h 258461"/>
                <a:gd name="connsiteX1" fmla="*/ 0 w 203078"/>
                <a:gd name="connsiteY1" fmla="*/ 0 h 258461"/>
                <a:gd name="connsiteX2" fmla="*/ 203078 w 203078"/>
                <a:gd name="connsiteY2" fmla="*/ 0 h 258461"/>
                <a:gd name="connsiteX3" fmla="*/ 166155 w 203078"/>
                <a:gd name="connsiteY3" fmla="*/ 227692 h 258461"/>
                <a:gd name="connsiteX4" fmla="*/ 12308 w 203078"/>
                <a:gd name="connsiteY4" fmla="*/ 258461 h 25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078" h="258461">
                  <a:moveTo>
                    <a:pt x="0" y="218461"/>
                  </a:moveTo>
                  <a:lnTo>
                    <a:pt x="0" y="0"/>
                  </a:lnTo>
                  <a:lnTo>
                    <a:pt x="203078" y="0"/>
                  </a:lnTo>
                  <a:lnTo>
                    <a:pt x="166155" y="227692"/>
                  </a:lnTo>
                  <a:lnTo>
                    <a:pt x="12308" y="258461"/>
                  </a:ln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50F44F7F-5E69-40A8-A43C-2746D684AD0B}"/>
                </a:ext>
              </a:extLst>
            </p:cNvPr>
            <p:cNvSpPr/>
            <p:nvPr/>
          </p:nvSpPr>
          <p:spPr>
            <a:xfrm>
              <a:off x="20428223" y="4695202"/>
              <a:ext cx="1159850" cy="2276922"/>
            </a:xfrm>
            <a:custGeom>
              <a:avLst/>
              <a:gdLst>
                <a:gd name="connsiteX0" fmla="*/ 1054135 w 1159850"/>
                <a:gd name="connsiteY0" fmla="*/ 18461 h 2276922"/>
                <a:gd name="connsiteX1" fmla="*/ 1152597 w 1159850"/>
                <a:gd name="connsiteY1" fmla="*/ 1403077 h 2276922"/>
                <a:gd name="connsiteX2" fmla="*/ 869519 w 1159850"/>
                <a:gd name="connsiteY2" fmla="*/ 2276923 h 2276922"/>
                <a:gd name="connsiteX3" fmla="*/ 580288 w 1159850"/>
                <a:gd name="connsiteY3" fmla="*/ 2276923 h 2276922"/>
                <a:gd name="connsiteX4" fmla="*/ 734134 w 1159850"/>
                <a:gd name="connsiteY4" fmla="*/ 1267692 h 2276922"/>
                <a:gd name="connsiteX5" fmla="*/ 552597 w 1159850"/>
                <a:gd name="connsiteY5" fmla="*/ 504615 h 2276922"/>
                <a:gd name="connsiteX6" fmla="*/ 521828 w 1159850"/>
                <a:gd name="connsiteY6" fmla="*/ 1252308 h 2276922"/>
                <a:gd name="connsiteX7" fmla="*/ 355673 w 1159850"/>
                <a:gd name="connsiteY7" fmla="*/ 2270769 h 2276922"/>
                <a:gd name="connsiteX8" fmla="*/ 44904 w 1159850"/>
                <a:gd name="connsiteY8" fmla="*/ 2255385 h 2276922"/>
                <a:gd name="connsiteX9" fmla="*/ 26442 w 1159850"/>
                <a:gd name="connsiteY9" fmla="*/ 1172308 h 2276922"/>
                <a:gd name="connsiteX10" fmla="*/ 23366 w 1159850"/>
                <a:gd name="connsiteY10" fmla="*/ 0 h 2276922"/>
                <a:gd name="connsiteX11" fmla="*/ 1054135 w 1159850"/>
                <a:gd name="connsiteY11" fmla="*/ 18461 h 2276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59850" h="2276922">
                  <a:moveTo>
                    <a:pt x="1054135" y="18461"/>
                  </a:moveTo>
                  <a:cubicBezTo>
                    <a:pt x="1054135" y="18461"/>
                    <a:pt x="1192596" y="1298462"/>
                    <a:pt x="1152597" y="1403077"/>
                  </a:cubicBezTo>
                  <a:cubicBezTo>
                    <a:pt x="1115673" y="1510769"/>
                    <a:pt x="869519" y="2276923"/>
                    <a:pt x="869519" y="2276923"/>
                  </a:cubicBezTo>
                  <a:lnTo>
                    <a:pt x="580288" y="2276923"/>
                  </a:lnTo>
                  <a:cubicBezTo>
                    <a:pt x="580288" y="2276923"/>
                    <a:pt x="727982" y="1366154"/>
                    <a:pt x="734134" y="1267692"/>
                  </a:cubicBezTo>
                  <a:cubicBezTo>
                    <a:pt x="740288" y="1169231"/>
                    <a:pt x="567981" y="535385"/>
                    <a:pt x="552597" y="504615"/>
                  </a:cubicBezTo>
                  <a:cubicBezTo>
                    <a:pt x="537212" y="473846"/>
                    <a:pt x="521828" y="1252308"/>
                    <a:pt x="521828" y="1252308"/>
                  </a:cubicBezTo>
                  <a:lnTo>
                    <a:pt x="355673" y="2270769"/>
                  </a:lnTo>
                  <a:lnTo>
                    <a:pt x="44904" y="2255385"/>
                  </a:lnTo>
                  <a:cubicBezTo>
                    <a:pt x="44904" y="2255385"/>
                    <a:pt x="41826" y="1270769"/>
                    <a:pt x="26442" y="1172308"/>
                  </a:cubicBezTo>
                  <a:cubicBezTo>
                    <a:pt x="11057" y="1073846"/>
                    <a:pt x="-22788" y="98461"/>
                    <a:pt x="23366" y="0"/>
                  </a:cubicBezTo>
                  <a:cubicBezTo>
                    <a:pt x="727982" y="30769"/>
                    <a:pt x="1054135" y="18461"/>
                    <a:pt x="1054135" y="18461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75ED96A6-23C0-437C-B5D2-1A75843F96B0}"/>
                </a:ext>
              </a:extLst>
            </p:cNvPr>
            <p:cNvSpPr/>
            <p:nvPr/>
          </p:nvSpPr>
          <p:spPr>
            <a:xfrm>
              <a:off x="20423896" y="3172125"/>
              <a:ext cx="1080825" cy="1581352"/>
            </a:xfrm>
            <a:custGeom>
              <a:avLst/>
              <a:gdLst>
                <a:gd name="connsiteX0" fmla="*/ 400000 w 1080825"/>
                <a:gd name="connsiteY0" fmla="*/ 0 h 1581352"/>
                <a:gd name="connsiteX1" fmla="*/ 692308 w 1080825"/>
                <a:gd name="connsiteY1" fmla="*/ 0 h 1581352"/>
                <a:gd name="connsiteX2" fmla="*/ 993848 w 1080825"/>
                <a:gd name="connsiteY2" fmla="*/ 132308 h 1581352"/>
                <a:gd name="connsiteX3" fmla="*/ 1080001 w 1080825"/>
                <a:gd name="connsiteY3" fmla="*/ 1550769 h 1581352"/>
                <a:gd name="connsiteX4" fmla="*/ 0 w 1080825"/>
                <a:gd name="connsiteY4" fmla="*/ 1526154 h 1581352"/>
                <a:gd name="connsiteX5" fmla="*/ 116925 w 1080825"/>
                <a:gd name="connsiteY5" fmla="*/ 104615 h 1581352"/>
                <a:gd name="connsiteX6" fmla="*/ 400000 w 1080825"/>
                <a:gd name="connsiteY6" fmla="*/ 0 h 1581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0825" h="1581352">
                  <a:moveTo>
                    <a:pt x="400000" y="0"/>
                  </a:moveTo>
                  <a:cubicBezTo>
                    <a:pt x="400000" y="0"/>
                    <a:pt x="575385" y="55385"/>
                    <a:pt x="692308" y="0"/>
                  </a:cubicBezTo>
                  <a:cubicBezTo>
                    <a:pt x="692308" y="0"/>
                    <a:pt x="969231" y="98462"/>
                    <a:pt x="993848" y="132308"/>
                  </a:cubicBezTo>
                  <a:cubicBezTo>
                    <a:pt x="1018463" y="163077"/>
                    <a:pt x="1089232" y="1483077"/>
                    <a:pt x="1080001" y="1550769"/>
                  </a:cubicBezTo>
                  <a:cubicBezTo>
                    <a:pt x="1080001" y="1550769"/>
                    <a:pt x="584615" y="1633846"/>
                    <a:pt x="0" y="1526154"/>
                  </a:cubicBezTo>
                  <a:cubicBezTo>
                    <a:pt x="0" y="1166154"/>
                    <a:pt x="73847" y="135385"/>
                    <a:pt x="116925" y="104615"/>
                  </a:cubicBezTo>
                  <a:cubicBezTo>
                    <a:pt x="160000" y="70769"/>
                    <a:pt x="400000" y="0"/>
                    <a:pt x="400000" y="0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2295538F-F9ED-4011-8EAB-A8319730EFC1}"/>
                </a:ext>
              </a:extLst>
            </p:cNvPr>
            <p:cNvSpPr/>
            <p:nvPr/>
          </p:nvSpPr>
          <p:spPr>
            <a:xfrm>
              <a:off x="20974666" y="4839817"/>
              <a:ext cx="70768" cy="369230"/>
            </a:xfrm>
            <a:custGeom>
              <a:avLst/>
              <a:gdLst>
                <a:gd name="connsiteX0" fmla="*/ 6154 w 70768"/>
                <a:gd name="connsiteY0" fmla="*/ 369231 h 369230"/>
                <a:gd name="connsiteX1" fmla="*/ 6154 w 70768"/>
                <a:gd name="connsiteY1" fmla="*/ 369231 h 369230"/>
                <a:gd name="connsiteX2" fmla="*/ 0 w 70768"/>
                <a:gd name="connsiteY2" fmla="*/ 360000 h 369230"/>
                <a:gd name="connsiteX3" fmla="*/ 58462 w 70768"/>
                <a:gd name="connsiteY3" fmla="*/ 6154 h 369230"/>
                <a:gd name="connsiteX4" fmla="*/ 64615 w 70768"/>
                <a:gd name="connsiteY4" fmla="*/ 0 h 369230"/>
                <a:gd name="connsiteX5" fmla="*/ 70769 w 70768"/>
                <a:gd name="connsiteY5" fmla="*/ 6154 h 369230"/>
                <a:gd name="connsiteX6" fmla="*/ 12308 w 70768"/>
                <a:gd name="connsiteY6" fmla="*/ 363077 h 369230"/>
                <a:gd name="connsiteX7" fmla="*/ 6154 w 70768"/>
                <a:gd name="connsiteY7" fmla="*/ 369231 h 36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68" h="369230">
                  <a:moveTo>
                    <a:pt x="6154" y="369231"/>
                  </a:moveTo>
                  <a:cubicBezTo>
                    <a:pt x="6154" y="369231"/>
                    <a:pt x="6154" y="366154"/>
                    <a:pt x="6154" y="369231"/>
                  </a:cubicBezTo>
                  <a:cubicBezTo>
                    <a:pt x="0" y="366154"/>
                    <a:pt x="0" y="363077"/>
                    <a:pt x="0" y="360000"/>
                  </a:cubicBezTo>
                  <a:cubicBezTo>
                    <a:pt x="49230" y="246154"/>
                    <a:pt x="58462" y="9231"/>
                    <a:pt x="58462" y="6154"/>
                  </a:cubicBezTo>
                  <a:cubicBezTo>
                    <a:pt x="58462" y="3077"/>
                    <a:pt x="61538" y="0"/>
                    <a:pt x="64615" y="0"/>
                  </a:cubicBezTo>
                  <a:cubicBezTo>
                    <a:pt x="67693" y="0"/>
                    <a:pt x="70769" y="3077"/>
                    <a:pt x="70769" y="6154"/>
                  </a:cubicBezTo>
                  <a:cubicBezTo>
                    <a:pt x="70769" y="15385"/>
                    <a:pt x="61538" y="246154"/>
                    <a:pt x="12308" y="363077"/>
                  </a:cubicBezTo>
                  <a:cubicBezTo>
                    <a:pt x="12308" y="366154"/>
                    <a:pt x="9230" y="369231"/>
                    <a:pt x="6154" y="369231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4AC433B5-D524-4A3C-9B12-8A95C1D2D0E8}"/>
                </a:ext>
              </a:extLst>
            </p:cNvPr>
            <p:cNvSpPr/>
            <p:nvPr/>
          </p:nvSpPr>
          <p:spPr>
            <a:xfrm>
              <a:off x="21004161" y="4769048"/>
              <a:ext cx="158196" cy="359999"/>
            </a:xfrm>
            <a:custGeom>
              <a:avLst/>
              <a:gdLst>
                <a:gd name="connsiteX0" fmla="*/ 7428 w 158196"/>
                <a:gd name="connsiteY0" fmla="*/ 360000 h 359999"/>
                <a:gd name="connsiteX1" fmla="*/ 1274 w 158196"/>
                <a:gd name="connsiteY1" fmla="*/ 356923 h 359999"/>
                <a:gd name="connsiteX2" fmla="*/ 4350 w 158196"/>
                <a:gd name="connsiteY2" fmla="*/ 347692 h 359999"/>
                <a:gd name="connsiteX3" fmla="*/ 112043 w 158196"/>
                <a:gd name="connsiteY3" fmla="*/ 270769 h 359999"/>
                <a:gd name="connsiteX4" fmla="*/ 145890 w 158196"/>
                <a:gd name="connsiteY4" fmla="*/ 6154 h 359999"/>
                <a:gd name="connsiteX5" fmla="*/ 152044 w 158196"/>
                <a:gd name="connsiteY5" fmla="*/ 0 h 359999"/>
                <a:gd name="connsiteX6" fmla="*/ 158197 w 158196"/>
                <a:gd name="connsiteY6" fmla="*/ 6154 h 359999"/>
                <a:gd name="connsiteX7" fmla="*/ 124351 w 158196"/>
                <a:gd name="connsiteY7" fmla="*/ 276923 h 359999"/>
                <a:gd name="connsiteX8" fmla="*/ 13583 w 158196"/>
                <a:gd name="connsiteY8" fmla="*/ 356923 h 359999"/>
                <a:gd name="connsiteX9" fmla="*/ 7428 w 158196"/>
                <a:gd name="connsiteY9" fmla="*/ 360000 h 35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8196" h="359999">
                  <a:moveTo>
                    <a:pt x="7428" y="360000"/>
                  </a:moveTo>
                  <a:cubicBezTo>
                    <a:pt x="4350" y="360000"/>
                    <a:pt x="4350" y="360000"/>
                    <a:pt x="1274" y="356923"/>
                  </a:cubicBezTo>
                  <a:cubicBezTo>
                    <a:pt x="-1802" y="353846"/>
                    <a:pt x="1274" y="350769"/>
                    <a:pt x="4350" y="347692"/>
                  </a:cubicBezTo>
                  <a:cubicBezTo>
                    <a:pt x="44352" y="323077"/>
                    <a:pt x="102812" y="280000"/>
                    <a:pt x="112043" y="270769"/>
                  </a:cubicBezTo>
                  <a:cubicBezTo>
                    <a:pt x="121275" y="258461"/>
                    <a:pt x="136660" y="101538"/>
                    <a:pt x="145890" y="6154"/>
                  </a:cubicBezTo>
                  <a:cubicBezTo>
                    <a:pt x="145890" y="3077"/>
                    <a:pt x="148966" y="0"/>
                    <a:pt x="152044" y="0"/>
                  </a:cubicBezTo>
                  <a:cubicBezTo>
                    <a:pt x="155120" y="0"/>
                    <a:pt x="158197" y="3077"/>
                    <a:pt x="158197" y="6154"/>
                  </a:cubicBezTo>
                  <a:cubicBezTo>
                    <a:pt x="155120" y="49231"/>
                    <a:pt x="133582" y="261538"/>
                    <a:pt x="124351" y="276923"/>
                  </a:cubicBezTo>
                  <a:cubicBezTo>
                    <a:pt x="112043" y="292308"/>
                    <a:pt x="22813" y="350769"/>
                    <a:pt x="13583" y="356923"/>
                  </a:cubicBezTo>
                  <a:cubicBezTo>
                    <a:pt x="10505" y="360000"/>
                    <a:pt x="7428" y="360000"/>
                    <a:pt x="7428" y="360000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C853B21D-D379-4FF1-90CE-F0C8EC9CFCEF}"/>
                </a:ext>
              </a:extLst>
            </p:cNvPr>
            <p:cNvSpPr/>
            <p:nvPr/>
          </p:nvSpPr>
          <p:spPr>
            <a:xfrm>
              <a:off x="20448853" y="7067510"/>
              <a:ext cx="288634" cy="338461"/>
            </a:xfrm>
            <a:custGeom>
              <a:avLst/>
              <a:gdLst>
                <a:gd name="connsiteX0" fmla="*/ 2735 w 288634"/>
                <a:gd name="connsiteY0" fmla="*/ 227692 h 338461"/>
                <a:gd name="connsiteX1" fmla="*/ 2735 w 288634"/>
                <a:gd name="connsiteY1" fmla="*/ 283077 h 338461"/>
                <a:gd name="connsiteX2" fmla="*/ 138121 w 288634"/>
                <a:gd name="connsiteY2" fmla="*/ 338462 h 338461"/>
                <a:gd name="connsiteX3" fmla="*/ 282734 w 288634"/>
                <a:gd name="connsiteY3" fmla="*/ 283077 h 338461"/>
                <a:gd name="connsiteX4" fmla="*/ 270428 w 288634"/>
                <a:gd name="connsiteY4" fmla="*/ 40000 h 338461"/>
                <a:gd name="connsiteX5" fmla="*/ 255043 w 288634"/>
                <a:gd name="connsiteY5" fmla="*/ 0 h 338461"/>
                <a:gd name="connsiteX6" fmla="*/ 236581 w 288634"/>
                <a:gd name="connsiteY6" fmla="*/ 227692 h 338461"/>
                <a:gd name="connsiteX7" fmla="*/ 2735 w 288634"/>
                <a:gd name="connsiteY7" fmla="*/ 22769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8634" h="338461">
                  <a:moveTo>
                    <a:pt x="2735" y="227692"/>
                  </a:moveTo>
                  <a:cubicBezTo>
                    <a:pt x="2735" y="227692"/>
                    <a:pt x="-3419" y="270769"/>
                    <a:pt x="2735" y="283077"/>
                  </a:cubicBezTo>
                  <a:cubicBezTo>
                    <a:pt x="11966" y="301539"/>
                    <a:pt x="73504" y="338462"/>
                    <a:pt x="138121" y="338462"/>
                  </a:cubicBezTo>
                  <a:cubicBezTo>
                    <a:pt x="215044" y="338462"/>
                    <a:pt x="267350" y="301539"/>
                    <a:pt x="282734" y="283077"/>
                  </a:cubicBezTo>
                  <a:cubicBezTo>
                    <a:pt x="301197" y="264616"/>
                    <a:pt x="270428" y="40000"/>
                    <a:pt x="270428" y="40000"/>
                  </a:cubicBezTo>
                  <a:lnTo>
                    <a:pt x="255043" y="0"/>
                  </a:lnTo>
                  <a:lnTo>
                    <a:pt x="236581" y="227692"/>
                  </a:lnTo>
                  <a:lnTo>
                    <a:pt x="2735" y="227692"/>
                  </a:ln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5BE298FA-1D91-405F-9C2E-A889CA81C8D7}"/>
                </a:ext>
              </a:extLst>
            </p:cNvPr>
            <p:cNvSpPr/>
            <p:nvPr/>
          </p:nvSpPr>
          <p:spPr>
            <a:xfrm>
              <a:off x="20450728" y="7052125"/>
              <a:ext cx="273700" cy="314058"/>
            </a:xfrm>
            <a:custGeom>
              <a:avLst/>
              <a:gdLst>
                <a:gd name="connsiteX0" fmla="*/ 77783 w 273700"/>
                <a:gd name="connsiteY0" fmla="*/ 0 h 314058"/>
                <a:gd name="connsiteX1" fmla="*/ 256244 w 273700"/>
                <a:gd name="connsiteY1" fmla="*/ 15385 h 314058"/>
                <a:gd name="connsiteX2" fmla="*/ 271629 w 273700"/>
                <a:gd name="connsiteY2" fmla="*/ 252308 h 314058"/>
                <a:gd name="connsiteX3" fmla="*/ 130091 w 273700"/>
                <a:gd name="connsiteY3" fmla="*/ 313846 h 314058"/>
                <a:gd name="connsiteX4" fmla="*/ 860 w 273700"/>
                <a:gd name="connsiteY4" fmla="*/ 249231 h 314058"/>
                <a:gd name="connsiteX5" fmla="*/ 77783 w 273700"/>
                <a:gd name="connsiteY5" fmla="*/ 0 h 314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3700" h="314058">
                  <a:moveTo>
                    <a:pt x="77783" y="0"/>
                  </a:moveTo>
                  <a:cubicBezTo>
                    <a:pt x="77783" y="0"/>
                    <a:pt x="139322" y="70769"/>
                    <a:pt x="256244" y="15385"/>
                  </a:cubicBezTo>
                  <a:cubicBezTo>
                    <a:pt x="256244" y="15385"/>
                    <a:pt x="280859" y="218462"/>
                    <a:pt x="271629" y="252308"/>
                  </a:cubicBezTo>
                  <a:cubicBezTo>
                    <a:pt x="259322" y="286154"/>
                    <a:pt x="170091" y="316923"/>
                    <a:pt x="130091" y="313846"/>
                  </a:cubicBezTo>
                  <a:cubicBezTo>
                    <a:pt x="90092" y="310769"/>
                    <a:pt x="13169" y="273846"/>
                    <a:pt x="860" y="249231"/>
                  </a:cubicBezTo>
                  <a:cubicBezTo>
                    <a:pt x="-8370" y="227692"/>
                    <a:pt x="59322" y="55385"/>
                    <a:pt x="77783" y="0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EF923296-913A-4657-A77F-98D1303E4FE9}"/>
                </a:ext>
              </a:extLst>
            </p:cNvPr>
            <p:cNvSpPr/>
            <p:nvPr/>
          </p:nvSpPr>
          <p:spPr>
            <a:xfrm>
              <a:off x="20521083" y="7044697"/>
              <a:ext cx="192043" cy="50505"/>
            </a:xfrm>
            <a:custGeom>
              <a:avLst/>
              <a:gdLst>
                <a:gd name="connsiteX0" fmla="*/ 93582 w 192043"/>
                <a:gd name="connsiteY0" fmla="*/ 50505 h 50505"/>
                <a:gd name="connsiteX1" fmla="*/ 1274 w 192043"/>
                <a:gd name="connsiteY1" fmla="*/ 10505 h 50505"/>
                <a:gd name="connsiteX2" fmla="*/ 4352 w 192043"/>
                <a:gd name="connsiteY2" fmla="*/ 1275 h 50505"/>
                <a:gd name="connsiteX3" fmla="*/ 13583 w 192043"/>
                <a:gd name="connsiteY3" fmla="*/ 4351 h 50505"/>
                <a:gd name="connsiteX4" fmla="*/ 185890 w 192043"/>
                <a:gd name="connsiteY4" fmla="*/ 16659 h 50505"/>
                <a:gd name="connsiteX5" fmla="*/ 192044 w 192043"/>
                <a:gd name="connsiteY5" fmla="*/ 19736 h 50505"/>
                <a:gd name="connsiteX6" fmla="*/ 188968 w 192043"/>
                <a:gd name="connsiteY6" fmla="*/ 25890 h 50505"/>
                <a:gd name="connsiteX7" fmla="*/ 93582 w 192043"/>
                <a:gd name="connsiteY7" fmla="*/ 50505 h 50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2043" h="50505">
                  <a:moveTo>
                    <a:pt x="93582" y="50505"/>
                  </a:moveTo>
                  <a:cubicBezTo>
                    <a:pt x="28967" y="50505"/>
                    <a:pt x="4352" y="13582"/>
                    <a:pt x="1274" y="10505"/>
                  </a:cubicBezTo>
                  <a:cubicBezTo>
                    <a:pt x="-1802" y="7428"/>
                    <a:pt x="1274" y="4351"/>
                    <a:pt x="4352" y="1275"/>
                  </a:cubicBezTo>
                  <a:cubicBezTo>
                    <a:pt x="7428" y="-1803"/>
                    <a:pt x="10505" y="1275"/>
                    <a:pt x="13583" y="4351"/>
                  </a:cubicBezTo>
                  <a:cubicBezTo>
                    <a:pt x="16659" y="7428"/>
                    <a:pt x="59736" y="72044"/>
                    <a:pt x="185890" y="16659"/>
                  </a:cubicBezTo>
                  <a:cubicBezTo>
                    <a:pt x="188968" y="16659"/>
                    <a:pt x="192044" y="16659"/>
                    <a:pt x="192044" y="19736"/>
                  </a:cubicBezTo>
                  <a:cubicBezTo>
                    <a:pt x="192044" y="22813"/>
                    <a:pt x="192044" y="25890"/>
                    <a:pt x="188968" y="25890"/>
                  </a:cubicBezTo>
                  <a:cubicBezTo>
                    <a:pt x="148966" y="44351"/>
                    <a:pt x="118197" y="50505"/>
                    <a:pt x="93582" y="50505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52185BEC-5B78-40D9-819F-49FCE089E30B}"/>
                </a:ext>
              </a:extLst>
            </p:cNvPr>
            <p:cNvSpPr/>
            <p:nvPr/>
          </p:nvSpPr>
          <p:spPr>
            <a:xfrm>
              <a:off x="20537742" y="7122895"/>
              <a:ext cx="123076" cy="27692"/>
            </a:xfrm>
            <a:custGeom>
              <a:avLst/>
              <a:gdLst>
                <a:gd name="connsiteX0" fmla="*/ 80001 w 123076"/>
                <a:gd name="connsiteY0" fmla="*/ 27692 h 27692"/>
                <a:gd name="connsiteX1" fmla="*/ 3078 w 123076"/>
                <a:gd name="connsiteY1" fmla="*/ 9231 h 27692"/>
                <a:gd name="connsiteX2" fmla="*/ 0 w 123076"/>
                <a:gd name="connsiteY2" fmla="*/ 3077 h 27692"/>
                <a:gd name="connsiteX3" fmla="*/ 6154 w 123076"/>
                <a:gd name="connsiteY3" fmla="*/ 0 h 27692"/>
                <a:gd name="connsiteX4" fmla="*/ 116923 w 123076"/>
                <a:gd name="connsiteY4" fmla="*/ 12308 h 27692"/>
                <a:gd name="connsiteX5" fmla="*/ 123077 w 123076"/>
                <a:gd name="connsiteY5" fmla="*/ 15385 h 27692"/>
                <a:gd name="connsiteX6" fmla="*/ 120001 w 123076"/>
                <a:gd name="connsiteY6" fmla="*/ 21538 h 27692"/>
                <a:gd name="connsiteX7" fmla="*/ 80001 w 123076"/>
                <a:gd name="connsiteY7" fmla="*/ 27692 h 2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076" h="27692">
                  <a:moveTo>
                    <a:pt x="80001" y="27692"/>
                  </a:moveTo>
                  <a:cubicBezTo>
                    <a:pt x="33847" y="27692"/>
                    <a:pt x="3078" y="12308"/>
                    <a:pt x="3078" y="9231"/>
                  </a:cubicBezTo>
                  <a:cubicBezTo>
                    <a:pt x="0" y="9231"/>
                    <a:pt x="0" y="3077"/>
                    <a:pt x="0" y="3077"/>
                  </a:cubicBezTo>
                  <a:cubicBezTo>
                    <a:pt x="0" y="0"/>
                    <a:pt x="6154" y="0"/>
                    <a:pt x="6154" y="0"/>
                  </a:cubicBezTo>
                  <a:cubicBezTo>
                    <a:pt x="6154" y="0"/>
                    <a:pt x="55384" y="24615"/>
                    <a:pt x="116923" y="12308"/>
                  </a:cubicBezTo>
                  <a:cubicBezTo>
                    <a:pt x="120001" y="12308"/>
                    <a:pt x="123077" y="12308"/>
                    <a:pt x="123077" y="15385"/>
                  </a:cubicBezTo>
                  <a:cubicBezTo>
                    <a:pt x="123077" y="18461"/>
                    <a:pt x="123077" y="21538"/>
                    <a:pt x="120001" y="21538"/>
                  </a:cubicBezTo>
                  <a:cubicBezTo>
                    <a:pt x="107692" y="24615"/>
                    <a:pt x="92308" y="27692"/>
                    <a:pt x="80001" y="27692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29B7DDB3-91E9-4423-B8B1-BEE01D724111}"/>
                </a:ext>
              </a:extLst>
            </p:cNvPr>
            <p:cNvSpPr/>
            <p:nvPr/>
          </p:nvSpPr>
          <p:spPr>
            <a:xfrm>
              <a:off x="20525436" y="7178279"/>
              <a:ext cx="126153" cy="27692"/>
            </a:xfrm>
            <a:custGeom>
              <a:avLst/>
              <a:gdLst>
                <a:gd name="connsiteX0" fmla="*/ 79999 w 126153"/>
                <a:gd name="connsiteY0" fmla="*/ 27692 h 27692"/>
                <a:gd name="connsiteX1" fmla="*/ 3076 w 126153"/>
                <a:gd name="connsiteY1" fmla="*/ 9230 h 27692"/>
                <a:gd name="connsiteX2" fmla="*/ 0 w 126153"/>
                <a:gd name="connsiteY2" fmla="*/ 3077 h 27692"/>
                <a:gd name="connsiteX3" fmla="*/ 9230 w 126153"/>
                <a:gd name="connsiteY3" fmla="*/ 0 h 27692"/>
                <a:gd name="connsiteX4" fmla="*/ 119999 w 126153"/>
                <a:gd name="connsiteY4" fmla="*/ 12308 h 27692"/>
                <a:gd name="connsiteX5" fmla="*/ 126153 w 126153"/>
                <a:gd name="connsiteY5" fmla="*/ 15385 h 27692"/>
                <a:gd name="connsiteX6" fmla="*/ 123077 w 126153"/>
                <a:gd name="connsiteY6" fmla="*/ 21538 h 27692"/>
                <a:gd name="connsiteX7" fmla="*/ 79999 w 126153"/>
                <a:gd name="connsiteY7" fmla="*/ 27692 h 2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153" h="27692">
                  <a:moveTo>
                    <a:pt x="79999" y="27692"/>
                  </a:moveTo>
                  <a:cubicBezTo>
                    <a:pt x="33845" y="27692"/>
                    <a:pt x="3076" y="12308"/>
                    <a:pt x="3076" y="9230"/>
                  </a:cubicBezTo>
                  <a:cubicBezTo>
                    <a:pt x="0" y="9230"/>
                    <a:pt x="0" y="3077"/>
                    <a:pt x="0" y="3077"/>
                  </a:cubicBezTo>
                  <a:cubicBezTo>
                    <a:pt x="0" y="0"/>
                    <a:pt x="6152" y="0"/>
                    <a:pt x="9230" y="0"/>
                  </a:cubicBezTo>
                  <a:cubicBezTo>
                    <a:pt x="9230" y="0"/>
                    <a:pt x="58460" y="24615"/>
                    <a:pt x="119999" y="12308"/>
                  </a:cubicBezTo>
                  <a:cubicBezTo>
                    <a:pt x="123077" y="12308"/>
                    <a:pt x="126153" y="12308"/>
                    <a:pt x="126153" y="15385"/>
                  </a:cubicBezTo>
                  <a:cubicBezTo>
                    <a:pt x="126153" y="18461"/>
                    <a:pt x="126153" y="21538"/>
                    <a:pt x="123077" y="21538"/>
                  </a:cubicBezTo>
                  <a:cubicBezTo>
                    <a:pt x="107692" y="24615"/>
                    <a:pt x="92308" y="27692"/>
                    <a:pt x="79999" y="27692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298A0E4C-BE03-4FF9-BE28-F81F55CBEF42}"/>
                </a:ext>
              </a:extLst>
            </p:cNvPr>
            <p:cNvSpPr/>
            <p:nvPr/>
          </p:nvSpPr>
          <p:spPr>
            <a:xfrm>
              <a:off x="20340820" y="3267510"/>
              <a:ext cx="1332307" cy="2741728"/>
            </a:xfrm>
            <a:custGeom>
              <a:avLst/>
              <a:gdLst>
                <a:gd name="connsiteX0" fmla="*/ 92308 w 1332307"/>
                <a:gd name="connsiteY0" fmla="*/ 1101539 h 2741728"/>
                <a:gd name="connsiteX1" fmla="*/ 0 w 1332307"/>
                <a:gd name="connsiteY1" fmla="*/ 2692308 h 2741728"/>
                <a:gd name="connsiteX2" fmla="*/ 1332307 w 1332307"/>
                <a:gd name="connsiteY2" fmla="*/ 2716923 h 2741728"/>
                <a:gd name="connsiteX3" fmla="*/ 1015385 w 1332307"/>
                <a:gd name="connsiteY3" fmla="*/ 0 h 2741728"/>
                <a:gd name="connsiteX4" fmla="*/ 92308 w 1332307"/>
                <a:gd name="connsiteY4" fmla="*/ 1101539 h 2741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2307" h="2741728">
                  <a:moveTo>
                    <a:pt x="92308" y="1101539"/>
                  </a:moveTo>
                  <a:cubicBezTo>
                    <a:pt x="92308" y="1101539"/>
                    <a:pt x="9230" y="2200000"/>
                    <a:pt x="0" y="2692308"/>
                  </a:cubicBezTo>
                  <a:cubicBezTo>
                    <a:pt x="0" y="2692308"/>
                    <a:pt x="883075" y="2784616"/>
                    <a:pt x="1332307" y="2716923"/>
                  </a:cubicBezTo>
                  <a:cubicBezTo>
                    <a:pt x="1332307" y="2716923"/>
                    <a:pt x="1193846" y="218461"/>
                    <a:pt x="1015385" y="0"/>
                  </a:cubicBezTo>
                  <a:lnTo>
                    <a:pt x="92308" y="1101539"/>
                  </a:ln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387DDBD8-D2B9-4C04-BA9B-A30018DFD136}"/>
                </a:ext>
              </a:extLst>
            </p:cNvPr>
            <p:cNvSpPr/>
            <p:nvPr/>
          </p:nvSpPr>
          <p:spPr>
            <a:xfrm>
              <a:off x="21378511" y="3274433"/>
              <a:ext cx="168461" cy="1008461"/>
            </a:xfrm>
            <a:custGeom>
              <a:avLst/>
              <a:gdLst>
                <a:gd name="connsiteX0" fmla="*/ 162309 w 168461"/>
                <a:gd name="connsiteY0" fmla="*/ 1008462 h 1008461"/>
                <a:gd name="connsiteX1" fmla="*/ 156155 w 168461"/>
                <a:gd name="connsiteY1" fmla="*/ 1002308 h 1008461"/>
                <a:gd name="connsiteX2" fmla="*/ 2309 w 168461"/>
                <a:gd name="connsiteY2" fmla="*/ 11538 h 1008461"/>
                <a:gd name="connsiteX3" fmla="*/ 2309 w 168461"/>
                <a:gd name="connsiteY3" fmla="*/ 2308 h 1008461"/>
                <a:gd name="connsiteX4" fmla="*/ 11539 w 168461"/>
                <a:gd name="connsiteY4" fmla="*/ 2308 h 1008461"/>
                <a:gd name="connsiteX5" fmla="*/ 168461 w 168461"/>
                <a:gd name="connsiteY5" fmla="*/ 999231 h 1008461"/>
                <a:gd name="connsiteX6" fmla="*/ 162309 w 168461"/>
                <a:gd name="connsiteY6" fmla="*/ 1008462 h 1008461"/>
                <a:gd name="connsiteX7" fmla="*/ 162309 w 168461"/>
                <a:gd name="connsiteY7" fmla="*/ 1008462 h 100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8461" h="1008461">
                  <a:moveTo>
                    <a:pt x="162309" y="1008462"/>
                  </a:moveTo>
                  <a:cubicBezTo>
                    <a:pt x="159231" y="1008462"/>
                    <a:pt x="156155" y="1005385"/>
                    <a:pt x="156155" y="1002308"/>
                  </a:cubicBezTo>
                  <a:cubicBezTo>
                    <a:pt x="156155" y="993077"/>
                    <a:pt x="76154" y="103846"/>
                    <a:pt x="2309" y="11538"/>
                  </a:cubicBezTo>
                  <a:cubicBezTo>
                    <a:pt x="-770" y="8462"/>
                    <a:pt x="-770" y="5385"/>
                    <a:pt x="2309" y="2308"/>
                  </a:cubicBezTo>
                  <a:cubicBezTo>
                    <a:pt x="5385" y="-769"/>
                    <a:pt x="8463" y="-769"/>
                    <a:pt x="11539" y="2308"/>
                  </a:cubicBezTo>
                  <a:cubicBezTo>
                    <a:pt x="88462" y="97692"/>
                    <a:pt x="165385" y="962308"/>
                    <a:pt x="168461" y="999231"/>
                  </a:cubicBezTo>
                  <a:cubicBezTo>
                    <a:pt x="168461" y="1005385"/>
                    <a:pt x="168461" y="1008462"/>
                    <a:pt x="162309" y="1008462"/>
                  </a:cubicBezTo>
                  <a:cubicBezTo>
                    <a:pt x="165385" y="1008462"/>
                    <a:pt x="162309" y="1008462"/>
                    <a:pt x="162309" y="1008462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9" name="图形 1">
              <a:extLst>
                <a:ext uri="{FF2B5EF4-FFF2-40B4-BE49-F238E27FC236}">
                  <a16:creationId xmlns:a16="http://schemas.microsoft.com/office/drawing/2014/main" id="{A7C8012A-0E1E-4AE1-8D89-BEA59F5E9088}"/>
                </a:ext>
              </a:extLst>
            </p:cNvPr>
            <p:cNvGrpSpPr/>
            <p:nvPr/>
          </p:nvGrpSpPr>
          <p:grpSpPr>
            <a:xfrm>
              <a:off x="20278095" y="4562510"/>
              <a:ext cx="298884" cy="388846"/>
              <a:chOff x="20278095" y="4562510"/>
              <a:chExt cx="298884" cy="388846"/>
            </a:xfrm>
          </p:grpSpPr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74F2A281-47F6-4592-AA6D-939E852A190E}"/>
                  </a:ext>
                </a:extLst>
              </p:cNvPr>
              <p:cNvSpPr/>
              <p:nvPr/>
            </p:nvSpPr>
            <p:spPr>
              <a:xfrm>
                <a:off x="20420819" y="4596740"/>
                <a:ext cx="139627" cy="208003"/>
              </a:xfrm>
              <a:custGeom>
                <a:avLst/>
                <a:gdLst>
                  <a:gd name="connsiteX0" fmla="*/ 0 w 139627"/>
                  <a:gd name="connsiteY0" fmla="*/ 0 h 208003"/>
                  <a:gd name="connsiteX1" fmla="*/ 101538 w 139627"/>
                  <a:gd name="connsiteY1" fmla="*/ 61538 h 208003"/>
                  <a:gd name="connsiteX2" fmla="*/ 132307 w 139627"/>
                  <a:gd name="connsiteY2" fmla="*/ 196923 h 208003"/>
                  <a:gd name="connsiteX3" fmla="*/ 95384 w 139627"/>
                  <a:gd name="connsiteY3" fmla="*/ 184615 h 208003"/>
                  <a:gd name="connsiteX4" fmla="*/ 0 w 139627"/>
                  <a:gd name="connsiteY4" fmla="*/ 0 h 20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627" h="208003">
                    <a:moveTo>
                      <a:pt x="0" y="0"/>
                    </a:moveTo>
                    <a:cubicBezTo>
                      <a:pt x="0" y="0"/>
                      <a:pt x="76923" y="24615"/>
                      <a:pt x="101538" y="61538"/>
                    </a:cubicBezTo>
                    <a:cubicBezTo>
                      <a:pt x="123077" y="98462"/>
                      <a:pt x="153846" y="166154"/>
                      <a:pt x="132307" y="196923"/>
                    </a:cubicBezTo>
                    <a:cubicBezTo>
                      <a:pt x="110768" y="227692"/>
                      <a:pt x="95384" y="184615"/>
                      <a:pt x="95384" y="184615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49606EB1-0B88-4EC9-9522-ADF3F5FE9D40}"/>
                  </a:ext>
                </a:extLst>
              </p:cNvPr>
              <p:cNvSpPr/>
              <p:nvPr/>
            </p:nvSpPr>
            <p:spPr>
              <a:xfrm>
                <a:off x="20278095" y="4562510"/>
                <a:ext cx="293278" cy="388846"/>
              </a:xfrm>
              <a:custGeom>
                <a:avLst/>
                <a:gdLst>
                  <a:gd name="connsiteX0" fmla="*/ 7339 w 293278"/>
                  <a:gd name="connsiteY0" fmla="*/ 98846 h 388846"/>
                  <a:gd name="connsiteX1" fmla="*/ 47341 w 293278"/>
                  <a:gd name="connsiteY1" fmla="*/ 188077 h 388846"/>
                  <a:gd name="connsiteX2" fmla="*/ 78110 w 293278"/>
                  <a:gd name="connsiteY2" fmla="*/ 283462 h 388846"/>
                  <a:gd name="connsiteX3" fmla="*/ 105801 w 293278"/>
                  <a:gd name="connsiteY3" fmla="*/ 332692 h 388846"/>
                  <a:gd name="connsiteX4" fmla="*/ 118110 w 293278"/>
                  <a:gd name="connsiteY4" fmla="*/ 265000 h 388846"/>
                  <a:gd name="connsiteX5" fmla="*/ 139649 w 293278"/>
                  <a:gd name="connsiteY5" fmla="*/ 317308 h 388846"/>
                  <a:gd name="connsiteX6" fmla="*/ 188879 w 293278"/>
                  <a:gd name="connsiteY6" fmla="*/ 378846 h 388846"/>
                  <a:gd name="connsiteX7" fmla="*/ 204263 w 293278"/>
                  <a:gd name="connsiteY7" fmla="*/ 369615 h 388846"/>
                  <a:gd name="connsiteX8" fmla="*/ 231956 w 293278"/>
                  <a:gd name="connsiteY8" fmla="*/ 388077 h 388846"/>
                  <a:gd name="connsiteX9" fmla="*/ 247341 w 293278"/>
                  <a:gd name="connsiteY9" fmla="*/ 320385 h 388846"/>
                  <a:gd name="connsiteX10" fmla="*/ 235033 w 293278"/>
                  <a:gd name="connsiteY10" fmla="*/ 258846 h 388846"/>
                  <a:gd name="connsiteX11" fmla="*/ 262726 w 293278"/>
                  <a:gd name="connsiteY11" fmla="*/ 295769 h 388846"/>
                  <a:gd name="connsiteX12" fmla="*/ 281186 w 293278"/>
                  <a:gd name="connsiteY12" fmla="*/ 305000 h 388846"/>
                  <a:gd name="connsiteX13" fmla="*/ 275032 w 293278"/>
                  <a:gd name="connsiteY13" fmla="*/ 228077 h 388846"/>
                  <a:gd name="connsiteX14" fmla="*/ 136571 w 293278"/>
                  <a:gd name="connsiteY14" fmla="*/ 385 h 388846"/>
                  <a:gd name="connsiteX15" fmla="*/ 13494 w 293278"/>
                  <a:gd name="connsiteY15" fmla="*/ 46538 h 388846"/>
                  <a:gd name="connsiteX16" fmla="*/ 7339 w 293278"/>
                  <a:gd name="connsiteY16" fmla="*/ 98846 h 388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3278" h="388846">
                    <a:moveTo>
                      <a:pt x="7339" y="98846"/>
                    </a:moveTo>
                    <a:cubicBezTo>
                      <a:pt x="19648" y="129616"/>
                      <a:pt x="35033" y="157308"/>
                      <a:pt x="47341" y="188077"/>
                    </a:cubicBezTo>
                    <a:cubicBezTo>
                      <a:pt x="59648" y="218846"/>
                      <a:pt x="65802" y="252692"/>
                      <a:pt x="78110" y="283462"/>
                    </a:cubicBezTo>
                    <a:cubicBezTo>
                      <a:pt x="81186" y="295769"/>
                      <a:pt x="90417" y="329616"/>
                      <a:pt x="105801" y="332692"/>
                    </a:cubicBezTo>
                    <a:cubicBezTo>
                      <a:pt x="127340" y="335769"/>
                      <a:pt x="124264" y="298846"/>
                      <a:pt x="118110" y="265000"/>
                    </a:cubicBezTo>
                    <a:cubicBezTo>
                      <a:pt x="124264" y="283462"/>
                      <a:pt x="133494" y="298846"/>
                      <a:pt x="139649" y="317308"/>
                    </a:cubicBezTo>
                    <a:cubicBezTo>
                      <a:pt x="148879" y="335769"/>
                      <a:pt x="167340" y="375769"/>
                      <a:pt x="188879" y="378846"/>
                    </a:cubicBezTo>
                    <a:cubicBezTo>
                      <a:pt x="195033" y="378846"/>
                      <a:pt x="201187" y="375769"/>
                      <a:pt x="204263" y="369615"/>
                    </a:cubicBezTo>
                    <a:cubicBezTo>
                      <a:pt x="213494" y="385000"/>
                      <a:pt x="222724" y="391154"/>
                      <a:pt x="231956" y="388077"/>
                    </a:cubicBezTo>
                    <a:cubicBezTo>
                      <a:pt x="250417" y="378846"/>
                      <a:pt x="247341" y="338846"/>
                      <a:pt x="247341" y="320385"/>
                    </a:cubicBezTo>
                    <a:cubicBezTo>
                      <a:pt x="244263" y="298846"/>
                      <a:pt x="241187" y="277308"/>
                      <a:pt x="235033" y="258846"/>
                    </a:cubicBezTo>
                    <a:cubicBezTo>
                      <a:pt x="244263" y="271154"/>
                      <a:pt x="253493" y="283462"/>
                      <a:pt x="262726" y="295769"/>
                    </a:cubicBezTo>
                    <a:cubicBezTo>
                      <a:pt x="268878" y="301923"/>
                      <a:pt x="271956" y="308077"/>
                      <a:pt x="281186" y="305000"/>
                    </a:cubicBezTo>
                    <a:cubicBezTo>
                      <a:pt x="308879" y="298846"/>
                      <a:pt x="281186" y="240385"/>
                      <a:pt x="275032" y="228077"/>
                    </a:cubicBezTo>
                    <a:cubicBezTo>
                      <a:pt x="238109" y="145000"/>
                      <a:pt x="182724" y="77308"/>
                      <a:pt x="136571" y="385"/>
                    </a:cubicBezTo>
                    <a:cubicBezTo>
                      <a:pt x="139649" y="-2692"/>
                      <a:pt x="44263" y="12692"/>
                      <a:pt x="13494" y="46538"/>
                    </a:cubicBezTo>
                    <a:cubicBezTo>
                      <a:pt x="-4967" y="68077"/>
                      <a:pt x="-1891" y="77308"/>
                      <a:pt x="7339" y="9884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D0BCB55E-C826-4056-8531-A8BC507C60B3}"/>
                  </a:ext>
                </a:extLst>
              </p:cNvPr>
              <p:cNvSpPr/>
              <p:nvPr/>
            </p:nvSpPr>
            <p:spPr>
              <a:xfrm>
                <a:off x="20428683" y="4767681"/>
                <a:ext cx="56751" cy="173675"/>
              </a:xfrm>
              <a:custGeom>
                <a:avLst/>
                <a:gdLst>
                  <a:gd name="connsiteX0" fmla="*/ 50599 w 56751"/>
                  <a:gd name="connsiteY0" fmla="*/ 173675 h 173675"/>
                  <a:gd name="connsiteX1" fmla="*/ 44445 w 56751"/>
                  <a:gd name="connsiteY1" fmla="*/ 167521 h 173675"/>
                  <a:gd name="connsiteX2" fmla="*/ 1367 w 56751"/>
                  <a:gd name="connsiteY2" fmla="*/ 10598 h 173675"/>
                  <a:gd name="connsiteX3" fmla="*/ 1367 w 56751"/>
                  <a:gd name="connsiteY3" fmla="*/ 1368 h 173675"/>
                  <a:gd name="connsiteX4" fmla="*/ 10598 w 56751"/>
                  <a:gd name="connsiteY4" fmla="*/ 1368 h 173675"/>
                  <a:gd name="connsiteX5" fmla="*/ 56751 w 56751"/>
                  <a:gd name="connsiteY5" fmla="*/ 164444 h 173675"/>
                  <a:gd name="connsiteX6" fmla="*/ 50599 w 56751"/>
                  <a:gd name="connsiteY6" fmla="*/ 173675 h 173675"/>
                  <a:gd name="connsiteX7" fmla="*/ 50599 w 56751"/>
                  <a:gd name="connsiteY7" fmla="*/ 173675 h 173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751" h="173675">
                    <a:moveTo>
                      <a:pt x="50599" y="173675"/>
                    </a:moveTo>
                    <a:cubicBezTo>
                      <a:pt x="47521" y="173675"/>
                      <a:pt x="44445" y="170598"/>
                      <a:pt x="44445" y="167521"/>
                    </a:cubicBezTo>
                    <a:cubicBezTo>
                      <a:pt x="44445" y="167521"/>
                      <a:pt x="19830" y="38291"/>
                      <a:pt x="1367" y="10598"/>
                    </a:cubicBezTo>
                    <a:cubicBezTo>
                      <a:pt x="-1709" y="7521"/>
                      <a:pt x="1367" y="4444"/>
                      <a:pt x="1367" y="1368"/>
                    </a:cubicBezTo>
                    <a:cubicBezTo>
                      <a:pt x="4445" y="-1710"/>
                      <a:pt x="7521" y="1368"/>
                      <a:pt x="10598" y="1368"/>
                    </a:cubicBezTo>
                    <a:cubicBezTo>
                      <a:pt x="32136" y="32137"/>
                      <a:pt x="56751" y="158291"/>
                      <a:pt x="56751" y="164444"/>
                    </a:cubicBezTo>
                    <a:cubicBezTo>
                      <a:pt x="56751" y="170598"/>
                      <a:pt x="56751" y="173675"/>
                      <a:pt x="50599" y="173675"/>
                    </a:cubicBezTo>
                    <a:cubicBezTo>
                      <a:pt x="50599" y="173675"/>
                      <a:pt x="50599" y="173675"/>
                      <a:pt x="50599" y="17367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A46532BC-7446-4984-9614-5A954518AB70}"/>
                  </a:ext>
                </a:extLst>
              </p:cNvPr>
              <p:cNvSpPr/>
              <p:nvPr/>
            </p:nvSpPr>
            <p:spPr>
              <a:xfrm>
                <a:off x="20365435" y="4778279"/>
                <a:ext cx="32789" cy="58461"/>
              </a:xfrm>
              <a:custGeom>
                <a:avLst/>
                <a:gdLst>
                  <a:gd name="connsiteX0" fmla="*/ 27691 w 32789"/>
                  <a:gd name="connsiteY0" fmla="*/ 58462 h 58461"/>
                  <a:gd name="connsiteX1" fmla="*/ 21539 w 32789"/>
                  <a:gd name="connsiteY1" fmla="*/ 55385 h 58461"/>
                  <a:gd name="connsiteX2" fmla="*/ 0 w 32789"/>
                  <a:gd name="connsiteY2" fmla="*/ 6154 h 58461"/>
                  <a:gd name="connsiteX3" fmla="*/ 3076 w 32789"/>
                  <a:gd name="connsiteY3" fmla="*/ 0 h 58461"/>
                  <a:gd name="connsiteX4" fmla="*/ 9230 w 32789"/>
                  <a:gd name="connsiteY4" fmla="*/ 3077 h 58461"/>
                  <a:gd name="connsiteX5" fmla="*/ 30769 w 32789"/>
                  <a:gd name="connsiteY5" fmla="*/ 52308 h 58461"/>
                  <a:gd name="connsiteX6" fmla="*/ 27691 w 32789"/>
                  <a:gd name="connsiteY6" fmla="*/ 58462 h 58461"/>
                  <a:gd name="connsiteX7" fmla="*/ 27691 w 32789"/>
                  <a:gd name="connsiteY7" fmla="*/ 58462 h 5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789" h="58461">
                    <a:moveTo>
                      <a:pt x="27691" y="58462"/>
                    </a:moveTo>
                    <a:cubicBezTo>
                      <a:pt x="24615" y="58462"/>
                      <a:pt x="24615" y="58462"/>
                      <a:pt x="21539" y="55385"/>
                    </a:cubicBezTo>
                    <a:lnTo>
                      <a:pt x="0" y="6154"/>
                    </a:lnTo>
                    <a:cubicBezTo>
                      <a:pt x="0" y="3077"/>
                      <a:pt x="0" y="0"/>
                      <a:pt x="3076" y="0"/>
                    </a:cubicBezTo>
                    <a:cubicBezTo>
                      <a:pt x="6154" y="0"/>
                      <a:pt x="9230" y="0"/>
                      <a:pt x="9230" y="3077"/>
                    </a:cubicBezTo>
                    <a:lnTo>
                      <a:pt x="30769" y="52308"/>
                    </a:lnTo>
                    <a:cubicBezTo>
                      <a:pt x="33845" y="55385"/>
                      <a:pt x="33845" y="58462"/>
                      <a:pt x="27691" y="58462"/>
                    </a:cubicBezTo>
                    <a:cubicBezTo>
                      <a:pt x="30769" y="58462"/>
                      <a:pt x="30769" y="58462"/>
                      <a:pt x="27691" y="5846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6BC903BA-2AC8-4B94-B559-846DB8932A39}"/>
                  </a:ext>
                </a:extLst>
              </p:cNvPr>
              <p:cNvSpPr/>
              <p:nvPr/>
            </p:nvSpPr>
            <p:spPr>
              <a:xfrm>
                <a:off x="20346973" y="4686741"/>
                <a:ext cx="103847" cy="57692"/>
              </a:xfrm>
              <a:custGeom>
                <a:avLst/>
                <a:gdLst>
                  <a:gd name="connsiteX0" fmla="*/ 6154 w 103847"/>
                  <a:gd name="connsiteY0" fmla="*/ 57692 h 57692"/>
                  <a:gd name="connsiteX1" fmla="*/ 0 w 103847"/>
                  <a:gd name="connsiteY1" fmla="*/ 51539 h 57692"/>
                  <a:gd name="connsiteX2" fmla="*/ 6154 w 103847"/>
                  <a:gd name="connsiteY2" fmla="*/ 45385 h 57692"/>
                  <a:gd name="connsiteX3" fmla="*/ 92308 w 103847"/>
                  <a:gd name="connsiteY3" fmla="*/ 2308 h 57692"/>
                  <a:gd name="connsiteX4" fmla="*/ 101540 w 103847"/>
                  <a:gd name="connsiteY4" fmla="*/ 2308 h 57692"/>
                  <a:gd name="connsiteX5" fmla="*/ 101540 w 103847"/>
                  <a:gd name="connsiteY5" fmla="*/ 11539 h 57692"/>
                  <a:gd name="connsiteX6" fmla="*/ 6154 w 103847"/>
                  <a:gd name="connsiteY6" fmla="*/ 57692 h 57692"/>
                  <a:gd name="connsiteX7" fmla="*/ 6154 w 103847"/>
                  <a:gd name="connsiteY7" fmla="*/ 57692 h 57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847" h="57692">
                    <a:moveTo>
                      <a:pt x="6154" y="57692"/>
                    </a:moveTo>
                    <a:cubicBezTo>
                      <a:pt x="3078" y="57692"/>
                      <a:pt x="0" y="54615"/>
                      <a:pt x="0" y="51539"/>
                    </a:cubicBezTo>
                    <a:cubicBezTo>
                      <a:pt x="0" y="48462"/>
                      <a:pt x="3078" y="45385"/>
                      <a:pt x="6154" y="45385"/>
                    </a:cubicBezTo>
                    <a:cubicBezTo>
                      <a:pt x="58462" y="42308"/>
                      <a:pt x="92308" y="5385"/>
                      <a:pt x="92308" y="2308"/>
                    </a:cubicBezTo>
                    <a:cubicBezTo>
                      <a:pt x="95386" y="-769"/>
                      <a:pt x="98462" y="-769"/>
                      <a:pt x="101540" y="2308"/>
                    </a:cubicBezTo>
                    <a:cubicBezTo>
                      <a:pt x="104616" y="5385"/>
                      <a:pt x="104616" y="8462"/>
                      <a:pt x="101540" y="11539"/>
                    </a:cubicBezTo>
                    <a:cubicBezTo>
                      <a:pt x="101540" y="11539"/>
                      <a:pt x="64617" y="54615"/>
                      <a:pt x="6154" y="57692"/>
                    </a:cubicBezTo>
                    <a:cubicBezTo>
                      <a:pt x="6154" y="57692"/>
                      <a:pt x="6154" y="57692"/>
                      <a:pt x="6154" y="5769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EC850ABE-B64F-4BE8-A25B-01ACC8FAEC87}"/>
                  </a:ext>
                </a:extLst>
              </p:cNvPr>
              <p:cNvSpPr/>
              <p:nvPr/>
            </p:nvSpPr>
            <p:spPr>
              <a:xfrm>
                <a:off x="20456375" y="4629219"/>
                <a:ext cx="120604" cy="250598"/>
              </a:xfrm>
              <a:custGeom>
                <a:avLst/>
                <a:gdLst>
                  <a:gd name="connsiteX0" fmla="*/ 99830 w 120604"/>
                  <a:gd name="connsiteY0" fmla="*/ 250598 h 250598"/>
                  <a:gd name="connsiteX1" fmla="*/ 47522 w 120604"/>
                  <a:gd name="connsiteY1" fmla="*/ 201368 h 250598"/>
                  <a:gd name="connsiteX2" fmla="*/ 47522 w 120604"/>
                  <a:gd name="connsiteY2" fmla="*/ 198291 h 250598"/>
                  <a:gd name="connsiteX3" fmla="*/ 13675 w 120604"/>
                  <a:gd name="connsiteY3" fmla="*/ 118291 h 250598"/>
                  <a:gd name="connsiteX4" fmla="*/ 16753 w 120604"/>
                  <a:gd name="connsiteY4" fmla="*/ 109060 h 250598"/>
                  <a:gd name="connsiteX5" fmla="*/ 25983 w 120604"/>
                  <a:gd name="connsiteY5" fmla="*/ 112137 h 250598"/>
                  <a:gd name="connsiteX6" fmla="*/ 62906 w 120604"/>
                  <a:gd name="connsiteY6" fmla="*/ 195214 h 250598"/>
                  <a:gd name="connsiteX7" fmla="*/ 102906 w 120604"/>
                  <a:gd name="connsiteY7" fmla="*/ 238291 h 250598"/>
                  <a:gd name="connsiteX8" fmla="*/ 105982 w 120604"/>
                  <a:gd name="connsiteY8" fmla="*/ 235214 h 250598"/>
                  <a:gd name="connsiteX9" fmla="*/ 1368 w 120604"/>
                  <a:gd name="connsiteY9" fmla="*/ 10598 h 250598"/>
                  <a:gd name="connsiteX10" fmla="*/ 1368 w 120604"/>
                  <a:gd name="connsiteY10" fmla="*/ 1368 h 250598"/>
                  <a:gd name="connsiteX11" fmla="*/ 10598 w 120604"/>
                  <a:gd name="connsiteY11" fmla="*/ 1368 h 250598"/>
                  <a:gd name="connsiteX12" fmla="*/ 118291 w 120604"/>
                  <a:gd name="connsiteY12" fmla="*/ 238291 h 250598"/>
                  <a:gd name="connsiteX13" fmla="*/ 99830 w 120604"/>
                  <a:gd name="connsiteY13" fmla="*/ 250598 h 250598"/>
                  <a:gd name="connsiteX14" fmla="*/ 99830 w 120604"/>
                  <a:gd name="connsiteY14" fmla="*/ 250598 h 250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0604" h="250598">
                    <a:moveTo>
                      <a:pt x="99830" y="250598"/>
                    </a:moveTo>
                    <a:cubicBezTo>
                      <a:pt x="72137" y="250598"/>
                      <a:pt x="50598" y="204444"/>
                      <a:pt x="47522" y="201368"/>
                    </a:cubicBezTo>
                    <a:cubicBezTo>
                      <a:pt x="47522" y="201368"/>
                      <a:pt x="47522" y="198291"/>
                      <a:pt x="47522" y="198291"/>
                    </a:cubicBezTo>
                    <a:cubicBezTo>
                      <a:pt x="44444" y="189060"/>
                      <a:pt x="29059" y="145983"/>
                      <a:pt x="13675" y="118291"/>
                    </a:cubicBezTo>
                    <a:cubicBezTo>
                      <a:pt x="10598" y="115214"/>
                      <a:pt x="13675" y="112137"/>
                      <a:pt x="16753" y="109060"/>
                    </a:cubicBezTo>
                    <a:cubicBezTo>
                      <a:pt x="19829" y="105983"/>
                      <a:pt x="22907" y="109060"/>
                      <a:pt x="25983" y="112137"/>
                    </a:cubicBezTo>
                    <a:cubicBezTo>
                      <a:pt x="32137" y="124445"/>
                      <a:pt x="59828" y="176752"/>
                      <a:pt x="62906" y="195214"/>
                    </a:cubicBezTo>
                    <a:cubicBezTo>
                      <a:pt x="69061" y="207521"/>
                      <a:pt x="87521" y="238291"/>
                      <a:pt x="102906" y="238291"/>
                    </a:cubicBezTo>
                    <a:cubicBezTo>
                      <a:pt x="102906" y="238291"/>
                      <a:pt x="102906" y="238291"/>
                      <a:pt x="105982" y="235214"/>
                    </a:cubicBezTo>
                    <a:cubicBezTo>
                      <a:pt x="115215" y="219829"/>
                      <a:pt x="90598" y="133675"/>
                      <a:pt x="1368" y="10598"/>
                    </a:cubicBezTo>
                    <a:cubicBezTo>
                      <a:pt x="-1710" y="7521"/>
                      <a:pt x="1368" y="4444"/>
                      <a:pt x="1368" y="1368"/>
                    </a:cubicBezTo>
                    <a:cubicBezTo>
                      <a:pt x="4444" y="-1710"/>
                      <a:pt x="7522" y="1368"/>
                      <a:pt x="10598" y="1368"/>
                    </a:cubicBezTo>
                    <a:cubicBezTo>
                      <a:pt x="93676" y="115214"/>
                      <a:pt x="130599" y="210598"/>
                      <a:pt x="118291" y="238291"/>
                    </a:cubicBezTo>
                    <a:cubicBezTo>
                      <a:pt x="112137" y="247521"/>
                      <a:pt x="105982" y="247521"/>
                      <a:pt x="99830" y="250598"/>
                    </a:cubicBezTo>
                    <a:cubicBezTo>
                      <a:pt x="99830" y="250598"/>
                      <a:pt x="99830" y="250598"/>
                      <a:pt x="99830" y="25059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AF5A0EBB-0F0B-42F1-8676-0B207FA9CA3E}"/>
                </a:ext>
              </a:extLst>
            </p:cNvPr>
            <p:cNvSpPr/>
            <p:nvPr/>
          </p:nvSpPr>
          <p:spPr>
            <a:xfrm>
              <a:off x="19956205" y="3248702"/>
              <a:ext cx="766351" cy="1391115"/>
            </a:xfrm>
            <a:custGeom>
              <a:avLst/>
              <a:gdLst>
                <a:gd name="connsiteX0" fmla="*/ 732307 w 766351"/>
                <a:gd name="connsiteY0" fmla="*/ 24962 h 1391115"/>
                <a:gd name="connsiteX1" fmla="*/ 600000 w 766351"/>
                <a:gd name="connsiteY1" fmla="*/ 532654 h 1391115"/>
                <a:gd name="connsiteX2" fmla="*/ 289230 w 766351"/>
                <a:gd name="connsiteY2" fmla="*/ 815731 h 1391115"/>
                <a:gd name="connsiteX3" fmla="*/ 470769 w 766351"/>
                <a:gd name="connsiteY3" fmla="*/ 1323423 h 1391115"/>
                <a:gd name="connsiteX4" fmla="*/ 283075 w 766351"/>
                <a:gd name="connsiteY4" fmla="*/ 1391115 h 1391115"/>
                <a:gd name="connsiteX5" fmla="*/ 0 w 766351"/>
                <a:gd name="connsiteY5" fmla="*/ 738808 h 1391115"/>
                <a:gd name="connsiteX6" fmla="*/ 732307 w 766351"/>
                <a:gd name="connsiteY6" fmla="*/ 24962 h 1391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6351" h="1391115">
                  <a:moveTo>
                    <a:pt x="732307" y="24962"/>
                  </a:moveTo>
                  <a:cubicBezTo>
                    <a:pt x="836922" y="114192"/>
                    <a:pt x="673845" y="421885"/>
                    <a:pt x="600000" y="532654"/>
                  </a:cubicBezTo>
                  <a:cubicBezTo>
                    <a:pt x="535384" y="631116"/>
                    <a:pt x="289230" y="815731"/>
                    <a:pt x="289230" y="815731"/>
                  </a:cubicBezTo>
                  <a:lnTo>
                    <a:pt x="470769" y="1323423"/>
                  </a:lnTo>
                  <a:lnTo>
                    <a:pt x="283075" y="1391115"/>
                  </a:lnTo>
                  <a:cubicBezTo>
                    <a:pt x="283075" y="1391115"/>
                    <a:pt x="3076" y="868039"/>
                    <a:pt x="0" y="738808"/>
                  </a:cubicBezTo>
                  <a:cubicBezTo>
                    <a:pt x="0" y="597269"/>
                    <a:pt x="535384" y="-144269"/>
                    <a:pt x="732307" y="24962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14D154CF-D3AA-4A6C-A1AA-81C6E935AAEE}"/>
                </a:ext>
              </a:extLst>
            </p:cNvPr>
            <p:cNvSpPr/>
            <p:nvPr/>
          </p:nvSpPr>
          <p:spPr>
            <a:xfrm>
              <a:off x="20523127" y="3236639"/>
              <a:ext cx="208497" cy="587793"/>
            </a:xfrm>
            <a:custGeom>
              <a:avLst/>
              <a:gdLst>
                <a:gd name="connsiteX0" fmla="*/ 5385 w 208497"/>
                <a:gd name="connsiteY0" fmla="*/ 587794 h 587793"/>
                <a:gd name="connsiteX1" fmla="*/ 2309 w 208497"/>
                <a:gd name="connsiteY1" fmla="*/ 587794 h 587793"/>
                <a:gd name="connsiteX2" fmla="*/ 2309 w 208497"/>
                <a:gd name="connsiteY2" fmla="*/ 578563 h 587793"/>
                <a:gd name="connsiteX3" fmla="*/ 196154 w 208497"/>
                <a:gd name="connsiteY3" fmla="*/ 181640 h 587793"/>
                <a:gd name="connsiteX4" fmla="*/ 146922 w 208497"/>
                <a:gd name="connsiteY4" fmla="*/ 33948 h 587793"/>
                <a:gd name="connsiteX5" fmla="*/ 88462 w 208497"/>
                <a:gd name="connsiteY5" fmla="*/ 12409 h 587793"/>
                <a:gd name="connsiteX6" fmla="*/ 82308 w 208497"/>
                <a:gd name="connsiteY6" fmla="*/ 6256 h 587793"/>
                <a:gd name="connsiteX7" fmla="*/ 88462 w 208497"/>
                <a:gd name="connsiteY7" fmla="*/ 102 h 587793"/>
                <a:gd name="connsiteX8" fmla="*/ 156155 w 208497"/>
                <a:gd name="connsiteY8" fmla="*/ 24717 h 587793"/>
                <a:gd name="connsiteX9" fmla="*/ 208461 w 208497"/>
                <a:gd name="connsiteY9" fmla="*/ 178563 h 587793"/>
                <a:gd name="connsiteX10" fmla="*/ 11539 w 208497"/>
                <a:gd name="connsiteY10" fmla="*/ 581640 h 587793"/>
                <a:gd name="connsiteX11" fmla="*/ 5385 w 208497"/>
                <a:gd name="connsiteY11" fmla="*/ 587794 h 587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8497" h="587793">
                  <a:moveTo>
                    <a:pt x="5385" y="587794"/>
                  </a:moveTo>
                  <a:cubicBezTo>
                    <a:pt x="5385" y="587794"/>
                    <a:pt x="2309" y="587794"/>
                    <a:pt x="2309" y="587794"/>
                  </a:cubicBezTo>
                  <a:cubicBezTo>
                    <a:pt x="-770" y="584717"/>
                    <a:pt x="-770" y="581640"/>
                    <a:pt x="2309" y="578563"/>
                  </a:cubicBezTo>
                  <a:cubicBezTo>
                    <a:pt x="5385" y="575486"/>
                    <a:pt x="199230" y="363179"/>
                    <a:pt x="196154" y="181640"/>
                  </a:cubicBezTo>
                  <a:cubicBezTo>
                    <a:pt x="193076" y="110871"/>
                    <a:pt x="177692" y="61640"/>
                    <a:pt x="146922" y="33948"/>
                  </a:cubicBezTo>
                  <a:cubicBezTo>
                    <a:pt x="119231" y="9332"/>
                    <a:pt x="88462" y="12409"/>
                    <a:pt x="88462" y="12409"/>
                  </a:cubicBezTo>
                  <a:cubicBezTo>
                    <a:pt x="85384" y="12409"/>
                    <a:pt x="82308" y="9332"/>
                    <a:pt x="82308" y="6256"/>
                  </a:cubicBezTo>
                  <a:cubicBezTo>
                    <a:pt x="82308" y="3179"/>
                    <a:pt x="85384" y="102"/>
                    <a:pt x="88462" y="102"/>
                  </a:cubicBezTo>
                  <a:cubicBezTo>
                    <a:pt x="88462" y="102"/>
                    <a:pt x="122307" y="-2975"/>
                    <a:pt x="156155" y="24717"/>
                  </a:cubicBezTo>
                  <a:cubicBezTo>
                    <a:pt x="190000" y="55486"/>
                    <a:pt x="208461" y="107794"/>
                    <a:pt x="208461" y="178563"/>
                  </a:cubicBezTo>
                  <a:cubicBezTo>
                    <a:pt x="211539" y="363179"/>
                    <a:pt x="20769" y="572409"/>
                    <a:pt x="11539" y="581640"/>
                  </a:cubicBezTo>
                  <a:cubicBezTo>
                    <a:pt x="8461" y="584717"/>
                    <a:pt x="8461" y="587794"/>
                    <a:pt x="5385" y="587794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26D3FDDF-05FA-47AF-8DE8-9C88CBB93609}"/>
                </a:ext>
              </a:extLst>
            </p:cNvPr>
            <p:cNvSpPr/>
            <p:nvPr/>
          </p:nvSpPr>
          <p:spPr>
            <a:xfrm>
              <a:off x="20737742" y="2778279"/>
              <a:ext cx="440920" cy="308357"/>
            </a:xfrm>
            <a:custGeom>
              <a:avLst/>
              <a:gdLst>
                <a:gd name="connsiteX0" fmla="*/ 440000 w 440920"/>
                <a:gd name="connsiteY0" fmla="*/ 107692 h 308357"/>
                <a:gd name="connsiteX1" fmla="*/ 120001 w 440920"/>
                <a:gd name="connsiteY1" fmla="*/ 135385 h 308357"/>
                <a:gd name="connsiteX2" fmla="*/ 0 w 440920"/>
                <a:gd name="connsiteY2" fmla="*/ 0 h 308357"/>
                <a:gd name="connsiteX3" fmla="*/ 6154 w 440920"/>
                <a:gd name="connsiteY3" fmla="*/ 21538 h 308357"/>
                <a:gd name="connsiteX4" fmla="*/ 95386 w 440920"/>
                <a:gd name="connsiteY4" fmla="*/ 135385 h 308357"/>
                <a:gd name="connsiteX5" fmla="*/ 126155 w 440920"/>
                <a:gd name="connsiteY5" fmla="*/ 273846 h 308357"/>
                <a:gd name="connsiteX6" fmla="*/ 46154 w 440920"/>
                <a:gd name="connsiteY6" fmla="*/ 215385 h 308357"/>
                <a:gd name="connsiteX7" fmla="*/ 58462 w 440920"/>
                <a:gd name="connsiteY7" fmla="*/ 243077 h 308357"/>
                <a:gd name="connsiteX8" fmla="*/ 135385 w 440920"/>
                <a:gd name="connsiteY8" fmla="*/ 295385 h 308357"/>
                <a:gd name="connsiteX9" fmla="*/ 409230 w 440920"/>
                <a:gd name="connsiteY9" fmla="*/ 286154 h 308357"/>
                <a:gd name="connsiteX10" fmla="*/ 440000 w 440920"/>
                <a:gd name="connsiteY10" fmla="*/ 107692 h 30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40920" h="308357">
                  <a:moveTo>
                    <a:pt x="440000" y="107692"/>
                  </a:moveTo>
                  <a:cubicBezTo>
                    <a:pt x="350770" y="141538"/>
                    <a:pt x="184615" y="138462"/>
                    <a:pt x="120001" y="135385"/>
                  </a:cubicBezTo>
                  <a:cubicBezTo>
                    <a:pt x="52308" y="43077"/>
                    <a:pt x="0" y="0"/>
                    <a:pt x="0" y="0"/>
                  </a:cubicBezTo>
                  <a:lnTo>
                    <a:pt x="6154" y="21538"/>
                  </a:lnTo>
                  <a:lnTo>
                    <a:pt x="95386" y="135385"/>
                  </a:lnTo>
                  <a:cubicBezTo>
                    <a:pt x="86153" y="181538"/>
                    <a:pt x="113847" y="243077"/>
                    <a:pt x="126155" y="273846"/>
                  </a:cubicBezTo>
                  <a:lnTo>
                    <a:pt x="46154" y="215385"/>
                  </a:lnTo>
                  <a:lnTo>
                    <a:pt x="58462" y="243077"/>
                  </a:lnTo>
                  <a:lnTo>
                    <a:pt x="135385" y="295385"/>
                  </a:lnTo>
                  <a:cubicBezTo>
                    <a:pt x="286153" y="329231"/>
                    <a:pt x="409230" y="286154"/>
                    <a:pt x="409230" y="286154"/>
                  </a:cubicBezTo>
                  <a:cubicBezTo>
                    <a:pt x="449232" y="227692"/>
                    <a:pt x="440000" y="107692"/>
                    <a:pt x="440000" y="107692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3" name="图形 1">
              <a:extLst>
                <a:ext uri="{FF2B5EF4-FFF2-40B4-BE49-F238E27FC236}">
                  <a16:creationId xmlns:a16="http://schemas.microsoft.com/office/drawing/2014/main" id="{D9724BEE-275A-489B-956B-7677D3E2E04A}"/>
                </a:ext>
              </a:extLst>
            </p:cNvPr>
            <p:cNvGrpSpPr/>
            <p:nvPr/>
          </p:nvGrpSpPr>
          <p:grpSpPr>
            <a:xfrm>
              <a:off x="20641083" y="2360560"/>
              <a:ext cx="574856" cy="294525"/>
              <a:chOff x="20641083" y="2360560"/>
              <a:chExt cx="574856" cy="294525"/>
            </a:xfrm>
          </p:grpSpPr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4AA31B79-0293-43C9-9A63-CABEC09C0F31}"/>
                  </a:ext>
                </a:extLst>
              </p:cNvPr>
              <p:cNvSpPr/>
              <p:nvPr/>
            </p:nvSpPr>
            <p:spPr>
              <a:xfrm>
                <a:off x="20648512" y="2387510"/>
                <a:ext cx="563076" cy="267576"/>
              </a:xfrm>
              <a:custGeom>
                <a:avLst/>
                <a:gdLst>
                  <a:gd name="connsiteX0" fmla="*/ 563077 w 563076"/>
                  <a:gd name="connsiteY0" fmla="*/ 0 h 267576"/>
                  <a:gd name="connsiteX1" fmla="*/ 544614 w 563076"/>
                  <a:gd name="connsiteY1" fmla="*/ 193846 h 267576"/>
                  <a:gd name="connsiteX2" fmla="*/ 64615 w 563076"/>
                  <a:gd name="connsiteY2" fmla="*/ 258462 h 267576"/>
                  <a:gd name="connsiteX3" fmla="*/ 0 w 563076"/>
                  <a:gd name="connsiteY3" fmla="*/ 64615 h 267576"/>
                  <a:gd name="connsiteX4" fmla="*/ 563077 w 563076"/>
                  <a:gd name="connsiteY4" fmla="*/ 0 h 267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3076" h="267576">
                    <a:moveTo>
                      <a:pt x="563077" y="0"/>
                    </a:moveTo>
                    <a:lnTo>
                      <a:pt x="544614" y="193846"/>
                    </a:lnTo>
                    <a:cubicBezTo>
                      <a:pt x="544614" y="193846"/>
                      <a:pt x="393846" y="298462"/>
                      <a:pt x="64615" y="258462"/>
                    </a:cubicBezTo>
                    <a:lnTo>
                      <a:pt x="0" y="64615"/>
                    </a:lnTo>
                    <a:cubicBezTo>
                      <a:pt x="0" y="61538"/>
                      <a:pt x="316923" y="110769"/>
                      <a:pt x="563077" y="0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E944B813-B560-461D-B550-169497282E6A}"/>
                  </a:ext>
                </a:extLst>
              </p:cNvPr>
              <p:cNvSpPr/>
              <p:nvPr/>
            </p:nvSpPr>
            <p:spPr>
              <a:xfrm>
                <a:off x="20648512" y="2360560"/>
                <a:ext cx="563076" cy="108481"/>
              </a:xfrm>
              <a:custGeom>
                <a:avLst/>
                <a:gdLst>
                  <a:gd name="connsiteX0" fmla="*/ 563077 w 563076"/>
                  <a:gd name="connsiteY0" fmla="*/ 26949 h 108481"/>
                  <a:gd name="connsiteX1" fmla="*/ 0 w 563076"/>
                  <a:gd name="connsiteY1" fmla="*/ 91565 h 108481"/>
                  <a:gd name="connsiteX2" fmla="*/ 563077 w 563076"/>
                  <a:gd name="connsiteY2" fmla="*/ 26949 h 108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3076" h="108481">
                    <a:moveTo>
                      <a:pt x="563077" y="26949"/>
                    </a:moveTo>
                    <a:cubicBezTo>
                      <a:pt x="563077" y="26949"/>
                      <a:pt x="353846" y="153103"/>
                      <a:pt x="0" y="91565"/>
                    </a:cubicBezTo>
                    <a:cubicBezTo>
                      <a:pt x="0" y="88488"/>
                      <a:pt x="258460" y="-59204"/>
                      <a:pt x="563077" y="26949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E4F2F0A0-6430-46E0-9893-E8F8B42CA877}"/>
                  </a:ext>
                </a:extLst>
              </p:cNvPr>
              <p:cNvSpPr/>
              <p:nvPr/>
            </p:nvSpPr>
            <p:spPr>
              <a:xfrm>
                <a:off x="20641083" y="2383158"/>
                <a:ext cx="574856" cy="93582"/>
              </a:xfrm>
              <a:custGeom>
                <a:avLst/>
                <a:gdLst>
                  <a:gd name="connsiteX0" fmla="*/ 207429 w 574856"/>
                  <a:gd name="connsiteY0" fmla="*/ 93582 h 93582"/>
                  <a:gd name="connsiteX1" fmla="*/ 4351 w 574856"/>
                  <a:gd name="connsiteY1" fmla="*/ 72044 h 93582"/>
                  <a:gd name="connsiteX2" fmla="*/ 1275 w 574856"/>
                  <a:gd name="connsiteY2" fmla="*/ 65890 h 93582"/>
                  <a:gd name="connsiteX3" fmla="*/ 7429 w 574856"/>
                  <a:gd name="connsiteY3" fmla="*/ 62813 h 93582"/>
                  <a:gd name="connsiteX4" fmla="*/ 564352 w 574856"/>
                  <a:gd name="connsiteY4" fmla="*/ 1275 h 93582"/>
                  <a:gd name="connsiteX5" fmla="*/ 573582 w 574856"/>
                  <a:gd name="connsiteY5" fmla="*/ 4351 h 93582"/>
                  <a:gd name="connsiteX6" fmla="*/ 570506 w 574856"/>
                  <a:gd name="connsiteY6" fmla="*/ 13582 h 93582"/>
                  <a:gd name="connsiteX7" fmla="*/ 207429 w 574856"/>
                  <a:gd name="connsiteY7" fmla="*/ 93582 h 93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4856" h="93582">
                    <a:moveTo>
                      <a:pt x="207429" y="93582"/>
                    </a:moveTo>
                    <a:cubicBezTo>
                      <a:pt x="145891" y="93582"/>
                      <a:pt x="78198" y="87428"/>
                      <a:pt x="4351" y="72044"/>
                    </a:cubicBezTo>
                    <a:cubicBezTo>
                      <a:pt x="1275" y="72044"/>
                      <a:pt x="-1803" y="68967"/>
                      <a:pt x="1275" y="65890"/>
                    </a:cubicBezTo>
                    <a:cubicBezTo>
                      <a:pt x="1275" y="62813"/>
                      <a:pt x="4351" y="59736"/>
                      <a:pt x="7429" y="62813"/>
                    </a:cubicBezTo>
                    <a:cubicBezTo>
                      <a:pt x="358197" y="130505"/>
                      <a:pt x="564352" y="1275"/>
                      <a:pt x="564352" y="1275"/>
                    </a:cubicBezTo>
                    <a:cubicBezTo>
                      <a:pt x="567428" y="-1802"/>
                      <a:pt x="570506" y="1275"/>
                      <a:pt x="573582" y="4351"/>
                    </a:cubicBezTo>
                    <a:cubicBezTo>
                      <a:pt x="576660" y="7428"/>
                      <a:pt x="573582" y="10505"/>
                      <a:pt x="570506" y="13582"/>
                    </a:cubicBezTo>
                    <a:cubicBezTo>
                      <a:pt x="570506" y="10505"/>
                      <a:pt x="438198" y="93582"/>
                      <a:pt x="207429" y="935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F65B0391-20EB-451B-BC5C-B2272F5FA0A5}"/>
                  </a:ext>
                </a:extLst>
              </p:cNvPr>
              <p:cNvSpPr/>
              <p:nvPr/>
            </p:nvSpPr>
            <p:spPr>
              <a:xfrm>
                <a:off x="20903897" y="2489048"/>
                <a:ext cx="132307" cy="132307"/>
              </a:xfrm>
              <a:custGeom>
                <a:avLst/>
                <a:gdLst>
                  <a:gd name="connsiteX0" fmla="*/ 0 w 132307"/>
                  <a:gd name="connsiteY0" fmla="*/ 55385 h 132307"/>
                  <a:gd name="connsiteX1" fmla="*/ 46154 w 132307"/>
                  <a:gd name="connsiteY1" fmla="*/ 49231 h 132307"/>
                  <a:gd name="connsiteX2" fmla="*/ 43076 w 132307"/>
                  <a:gd name="connsiteY2" fmla="*/ 3077 h 132307"/>
                  <a:gd name="connsiteX3" fmla="*/ 76923 w 132307"/>
                  <a:gd name="connsiteY3" fmla="*/ 0 h 132307"/>
                  <a:gd name="connsiteX4" fmla="*/ 79999 w 132307"/>
                  <a:gd name="connsiteY4" fmla="*/ 46154 h 132307"/>
                  <a:gd name="connsiteX5" fmla="*/ 129231 w 132307"/>
                  <a:gd name="connsiteY5" fmla="*/ 43077 h 132307"/>
                  <a:gd name="connsiteX6" fmla="*/ 132307 w 132307"/>
                  <a:gd name="connsiteY6" fmla="*/ 76923 h 132307"/>
                  <a:gd name="connsiteX7" fmla="*/ 83077 w 132307"/>
                  <a:gd name="connsiteY7" fmla="*/ 80000 h 132307"/>
                  <a:gd name="connsiteX8" fmla="*/ 89230 w 132307"/>
                  <a:gd name="connsiteY8" fmla="*/ 129231 h 132307"/>
                  <a:gd name="connsiteX9" fmla="*/ 55384 w 132307"/>
                  <a:gd name="connsiteY9" fmla="*/ 132308 h 132307"/>
                  <a:gd name="connsiteX10" fmla="*/ 49230 w 132307"/>
                  <a:gd name="connsiteY10" fmla="*/ 83077 h 132307"/>
                  <a:gd name="connsiteX11" fmla="*/ 3076 w 132307"/>
                  <a:gd name="connsiteY11" fmla="*/ 89231 h 13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2307" h="132307">
                    <a:moveTo>
                      <a:pt x="0" y="55385"/>
                    </a:moveTo>
                    <a:lnTo>
                      <a:pt x="46154" y="49231"/>
                    </a:lnTo>
                    <a:lnTo>
                      <a:pt x="43076" y="3077"/>
                    </a:lnTo>
                    <a:lnTo>
                      <a:pt x="76923" y="0"/>
                    </a:lnTo>
                    <a:lnTo>
                      <a:pt x="79999" y="46154"/>
                    </a:lnTo>
                    <a:lnTo>
                      <a:pt x="129231" y="43077"/>
                    </a:lnTo>
                    <a:lnTo>
                      <a:pt x="132307" y="76923"/>
                    </a:lnTo>
                    <a:lnTo>
                      <a:pt x="83077" y="80000"/>
                    </a:lnTo>
                    <a:lnTo>
                      <a:pt x="89230" y="129231"/>
                    </a:lnTo>
                    <a:lnTo>
                      <a:pt x="55384" y="132308"/>
                    </a:lnTo>
                    <a:lnTo>
                      <a:pt x="49230" y="83077"/>
                    </a:lnTo>
                    <a:lnTo>
                      <a:pt x="3076" y="89231"/>
                    </a:ln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766DFBA8-5E66-49FB-9376-F56563CF2366}"/>
                </a:ext>
              </a:extLst>
            </p:cNvPr>
            <p:cNvSpPr/>
            <p:nvPr/>
          </p:nvSpPr>
          <p:spPr>
            <a:xfrm>
              <a:off x="20940820" y="2645971"/>
              <a:ext cx="255384" cy="159999"/>
            </a:xfrm>
            <a:custGeom>
              <a:avLst/>
              <a:gdLst>
                <a:gd name="connsiteX0" fmla="*/ 249230 w 255384"/>
                <a:gd name="connsiteY0" fmla="*/ 160000 h 159999"/>
                <a:gd name="connsiteX1" fmla="*/ 243076 w 255384"/>
                <a:gd name="connsiteY1" fmla="*/ 153846 h 159999"/>
                <a:gd name="connsiteX2" fmla="*/ 6152 w 255384"/>
                <a:gd name="connsiteY2" fmla="*/ 12308 h 159999"/>
                <a:gd name="connsiteX3" fmla="*/ 0 w 255384"/>
                <a:gd name="connsiteY3" fmla="*/ 6154 h 159999"/>
                <a:gd name="connsiteX4" fmla="*/ 6152 w 255384"/>
                <a:gd name="connsiteY4" fmla="*/ 0 h 159999"/>
                <a:gd name="connsiteX5" fmla="*/ 255384 w 255384"/>
                <a:gd name="connsiteY5" fmla="*/ 153846 h 159999"/>
                <a:gd name="connsiteX6" fmla="*/ 249230 w 255384"/>
                <a:gd name="connsiteY6" fmla="*/ 160000 h 159999"/>
                <a:gd name="connsiteX7" fmla="*/ 249230 w 255384"/>
                <a:gd name="connsiteY7" fmla="*/ 160000 h 15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5384" h="159999">
                  <a:moveTo>
                    <a:pt x="249230" y="160000"/>
                  </a:moveTo>
                  <a:cubicBezTo>
                    <a:pt x="246154" y="160000"/>
                    <a:pt x="243076" y="156923"/>
                    <a:pt x="243076" y="153846"/>
                  </a:cubicBezTo>
                  <a:cubicBezTo>
                    <a:pt x="227691" y="30769"/>
                    <a:pt x="6152" y="12308"/>
                    <a:pt x="6152" y="12308"/>
                  </a:cubicBezTo>
                  <a:cubicBezTo>
                    <a:pt x="3076" y="12308"/>
                    <a:pt x="0" y="9231"/>
                    <a:pt x="0" y="6154"/>
                  </a:cubicBezTo>
                  <a:cubicBezTo>
                    <a:pt x="0" y="3077"/>
                    <a:pt x="3076" y="0"/>
                    <a:pt x="6152" y="0"/>
                  </a:cubicBezTo>
                  <a:cubicBezTo>
                    <a:pt x="15385" y="0"/>
                    <a:pt x="236922" y="21538"/>
                    <a:pt x="255384" y="153846"/>
                  </a:cubicBezTo>
                  <a:cubicBezTo>
                    <a:pt x="255384" y="156923"/>
                    <a:pt x="255384" y="160000"/>
                    <a:pt x="249230" y="160000"/>
                  </a:cubicBezTo>
                  <a:cubicBezTo>
                    <a:pt x="252306" y="160000"/>
                    <a:pt x="249230" y="160000"/>
                    <a:pt x="249230" y="160000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7DCFC7F9-B709-4985-8930-18A305C76B02}"/>
                </a:ext>
              </a:extLst>
            </p:cNvPr>
            <p:cNvSpPr/>
            <p:nvPr/>
          </p:nvSpPr>
          <p:spPr>
            <a:xfrm>
              <a:off x="20694371" y="3071208"/>
              <a:ext cx="147986" cy="123375"/>
            </a:xfrm>
            <a:custGeom>
              <a:avLst/>
              <a:gdLst>
                <a:gd name="connsiteX0" fmla="*/ 74140 w 147986"/>
                <a:gd name="connsiteY0" fmla="*/ 2455 h 123375"/>
                <a:gd name="connsiteX1" fmla="*/ 58755 w 147986"/>
                <a:gd name="connsiteY1" fmla="*/ 36301 h 123375"/>
                <a:gd name="connsiteX2" fmla="*/ 46449 w 147986"/>
                <a:gd name="connsiteY2" fmla="*/ 33225 h 123375"/>
                <a:gd name="connsiteX3" fmla="*/ 295 w 147986"/>
                <a:gd name="connsiteY3" fmla="*/ 70148 h 123375"/>
                <a:gd name="connsiteX4" fmla="*/ 40295 w 147986"/>
                <a:gd name="connsiteY4" fmla="*/ 119378 h 123375"/>
                <a:gd name="connsiteX5" fmla="*/ 132602 w 147986"/>
                <a:gd name="connsiteY5" fmla="*/ 116301 h 123375"/>
                <a:gd name="connsiteX6" fmla="*/ 132602 w 147986"/>
                <a:gd name="connsiteY6" fmla="*/ 116301 h 123375"/>
                <a:gd name="connsiteX7" fmla="*/ 147987 w 147986"/>
                <a:gd name="connsiteY7" fmla="*/ 100917 h 123375"/>
                <a:gd name="connsiteX8" fmla="*/ 144909 w 147986"/>
                <a:gd name="connsiteY8" fmla="*/ 91686 h 123375"/>
                <a:gd name="connsiteX9" fmla="*/ 144909 w 147986"/>
                <a:gd name="connsiteY9" fmla="*/ 88609 h 123375"/>
                <a:gd name="connsiteX10" fmla="*/ 123372 w 147986"/>
                <a:gd name="connsiteY10" fmla="*/ 30148 h 123375"/>
                <a:gd name="connsiteX11" fmla="*/ 74140 w 147986"/>
                <a:gd name="connsiteY11" fmla="*/ 2455 h 123375"/>
                <a:gd name="connsiteX12" fmla="*/ 34140 w 147986"/>
                <a:gd name="connsiteY12" fmla="*/ 67071 h 123375"/>
                <a:gd name="connsiteX13" fmla="*/ 74140 w 147986"/>
                <a:gd name="connsiteY13" fmla="*/ 82455 h 123375"/>
                <a:gd name="connsiteX14" fmla="*/ 89525 w 147986"/>
                <a:gd name="connsiteY14" fmla="*/ 91686 h 123375"/>
                <a:gd name="connsiteX15" fmla="*/ 77218 w 147986"/>
                <a:gd name="connsiteY15" fmla="*/ 91686 h 123375"/>
                <a:gd name="connsiteX16" fmla="*/ 34140 w 147986"/>
                <a:gd name="connsiteY16" fmla="*/ 67071 h 12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7986" h="123375">
                  <a:moveTo>
                    <a:pt x="74140" y="2455"/>
                  </a:moveTo>
                  <a:cubicBezTo>
                    <a:pt x="52601" y="8609"/>
                    <a:pt x="49525" y="23994"/>
                    <a:pt x="58755" y="36301"/>
                  </a:cubicBezTo>
                  <a:cubicBezTo>
                    <a:pt x="55679" y="33225"/>
                    <a:pt x="52601" y="33225"/>
                    <a:pt x="46449" y="33225"/>
                  </a:cubicBezTo>
                  <a:cubicBezTo>
                    <a:pt x="24910" y="30148"/>
                    <a:pt x="3371" y="48609"/>
                    <a:pt x="295" y="70148"/>
                  </a:cubicBezTo>
                  <a:cubicBezTo>
                    <a:pt x="-2783" y="94763"/>
                    <a:pt x="18756" y="113224"/>
                    <a:pt x="40295" y="119378"/>
                  </a:cubicBezTo>
                  <a:cubicBezTo>
                    <a:pt x="71064" y="128609"/>
                    <a:pt x="101833" y="119378"/>
                    <a:pt x="132602" y="116301"/>
                  </a:cubicBezTo>
                  <a:cubicBezTo>
                    <a:pt x="132602" y="116301"/>
                    <a:pt x="132602" y="116301"/>
                    <a:pt x="132602" y="116301"/>
                  </a:cubicBezTo>
                  <a:cubicBezTo>
                    <a:pt x="141833" y="116301"/>
                    <a:pt x="147987" y="113224"/>
                    <a:pt x="147987" y="100917"/>
                  </a:cubicBezTo>
                  <a:cubicBezTo>
                    <a:pt x="147987" y="97840"/>
                    <a:pt x="147987" y="94763"/>
                    <a:pt x="144909" y="91686"/>
                  </a:cubicBezTo>
                  <a:cubicBezTo>
                    <a:pt x="144909" y="91686"/>
                    <a:pt x="144909" y="88609"/>
                    <a:pt x="144909" y="88609"/>
                  </a:cubicBezTo>
                  <a:cubicBezTo>
                    <a:pt x="141833" y="67071"/>
                    <a:pt x="132602" y="48609"/>
                    <a:pt x="123372" y="30148"/>
                  </a:cubicBezTo>
                  <a:cubicBezTo>
                    <a:pt x="111063" y="11686"/>
                    <a:pt x="98755" y="-6776"/>
                    <a:pt x="74140" y="2455"/>
                  </a:cubicBezTo>
                  <a:close/>
                  <a:moveTo>
                    <a:pt x="34140" y="67071"/>
                  </a:moveTo>
                  <a:cubicBezTo>
                    <a:pt x="43371" y="54763"/>
                    <a:pt x="64910" y="76301"/>
                    <a:pt x="74140" y="82455"/>
                  </a:cubicBezTo>
                  <a:cubicBezTo>
                    <a:pt x="80294" y="85532"/>
                    <a:pt x="83370" y="88609"/>
                    <a:pt x="89525" y="91686"/>
                  </a:cubicBezTo>
                  <a:cubicBezTo>
                    <a:pt x="86448" y="91686"/>
                    <a:pt x="80294" y="91686"/>
                    <a:pt x="77218" y="91686"/>
                  </a:cubicBezTo>
                  <a:cubicBezTo>
                    <a:pt x="61833" y="94763"/>
                    <a:pt x="15680" y="88609"/>
                    <a:pt x="34140" y="67071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4861977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2559BCF4-0A83-49A5-AEE9-43D1ECE88C30}"/>
              </a:ext>
            </a:extLst>
          </p:cNvPr>
          <p:cNvGrpSpPr/>
          <p:nvPr/>
        </p:nvGrpSpPr>
        <p:grpSpPr>
          <a:xfrm>
            <a:off x="3272984" y="2242970"/>
            <a:ext cx="2290485" cy="4615030"/>
            <a:chOff x="20113127" y="8531201"/>
            <a:chExt cx="2290485" cy="4615030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1CF3005A-BF91-4646-88F1-A690E9066BF4}"/>
                </a:ext>
              </a:extLst>
            </p:cNvPr>
            <p:cNvSpPr/>
            <p:nvPr/>
          </p:nvSpPr>
          <p:spPr>
            <a:xfrm>
              <a:off x="20408511" y="11024433"/>
              <a:ext cx="963078" cy="498460"/>
            </a:xfrm>
            <a:custGeom>
              <a:avLst/>
              <a:gdLst>
                <a:gd name="connsiteX0" fmla="*/ 0 w 963078"/>
                <a:gd name="connsiteY0" fmla="*/ 498461 h 498460"/>
                <a:gd name="connsiteX1" fmla="*/ 963078 w 963078"/>
                <a:gd name="connsiteY1" fmla="*/ 498461 h 498460"/>
                <a:gd name="connsiteX2" fmla="*/ 963078 w 963078"/>
                <a:gd name="connsiteY2" fmla="*/ 76923 h 498460"/>
                <a:gd name="connsiteX3" fmla="*/ 400000 w 963078"/>
                <a:gd name="connsiteY3" fmla="*/ 0 h 498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078" h="498460">
                  <a:moveTo>
                    <a:pt x="0" y="498461"/>
                  </a:moveTo>
                  <a:lnTo>
                    <a:pt x="963078" y="498461"/>
                  </a:lnTo>
                  <a:lnTo>
                    <a:pt x="963078" y="76923"/>
                  </a:lnTo>
                  <a:lnTo>
                    <a:pt x="400000" y="0"/>
                  </a:ln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F340BBA9-8E45-48CF-9F40-7F3F1FC42FA2}"/>
                </a:ext>
              </a:extLst>
            </p:cNvPr>
            <p:cNvSpPr/>
            <p:nvPr/>
          </p:nvSpPr>
          <p:spPr>
            <a:xfrm>
              <a:off x="21229286" y="9632255"/>
              <a:ext cx="880797" cy="608328"/>
            </a:xfrm>
            <a:custGeom>
              <a:avLst/>
              <a:gdLst>
                <a:gd name="connsiteX0" fmla="*/ 157688 w 880797"/>
                <a:gd name="connsiteY0" fmla="*/ 4486 h 608328"/>
                <a:gd name="connsiteX1" fmla="*/ 471532 w 880797"/>
                <a:gd name="connsiteY1" fmla="*/ 404486 h 608328"/>
                <a:gd name="connsiteX2" fmla="*/ 834611 w 880797"/>
                <a:gd name="connsiteY2" fmla="*/ 189101 h 608328"/>
                <a:gd name="connsiteX3" fmla="*/ 880764 w 880797"/>
                <a:gd name="connsiteY3" fmla="*/ 284486 h 608328"/>
                <a:gd name="connsiteX4" fmla="*/ 456148 w 880797"/>
                <a:gd name="connsiteY4" fmla="*/ 607563 h 608328"/>
                <a:gd name="connsiteX5" fmla="*/ 16148 w 880797"/>
                <a:gd name="connsiteY5" fmla="*/ 127563 h 608328"/>
                <a:gd name="connsiteX6" fmla="*/ 157688 w 880797"/>
                <a:gd name="connsiteY6" fmla="*/ 4486 h 608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0797" h="608328">
                  <a:moveTo>
                    <a:pt x="157688" y="4486"/>
                  </a:moveTo>
                  <a:cubicBezTo>
                    <a:pt x="246917" y="13717"/>
                    <a:pt x="471532" y="404486"/>
                    <a:pt x="471532" y="404486"/>
                  </a:cubicBezTo>
                  <a:cubicBezTo>
                    <a:pt x="471532" y="404486"/>
                    <a:pt x="828456" y="182948"/>
                    <a:pt x="834611" y="189101"/>
                  </a:cubicBezTo>
                  <a:cubicBezTo>
                    <a:pt x="896149" y="226024"/>
                    <a:pt x="859226" y="216793"/>
                    <a:pt x="880764" y="284486"/>
                  </a:cubicBezTo>
                  <a:cubicBezTo>
                    <a:pt x="883841" y="293717"/>
                    <a:pt x="674610" y="546025"/>
                    <a:pt x="456148" y="607563"/>
                  </a:cubicBezTo>
                  <a:cubicBezTo>
                    <a:pt x="391533" y="626025"/>
                    <a:pt x="77686" y="306025"/>
                    <a:pt x="16148" y="127563"/>
                  </a:cubicBezTo>
                  <a:cubicBezTo>
                    <a:pt x="-14621" y="41409"/>
                    <a:pt x="-17697" y="-17052"/>
                    <a:pt x="157688" y="4486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DB2289DB-2173-4201-A0DF-B1C7930F260D}"/>
                </a:ext>
              </a:extLst>
            </p:cNvPr>
            <p:cNvSpPr/>
            <p:nvPr/>
          </p:nvSpPr>
          <p:spPr>
            <a:xfrm>
              <a:off x="22040606" y="9669780"/>
              <a:ext cx="224152" cy="247520"/>
            </a:xfrm>
            <a:custGeom>
              <a:avLst/>
              <a:gdLst>
                <a:gd name="connsiteX0" fmla="*/ 207907 w 224152"/>
                <a:gd name="connsiteY0" fmla="*/ 151576 h 247520"/>
                <a:gd name="connsiteX1" fmla="*/ 220214 w 224152"/>
                <a:gd name="connsiteY1" fmla="*/ 105422 h 247520"/>
                <a:gd name="connsiteX2" fmla="*/ 223292 w 224152"/>
                <a:gd name="connsiteY2" fmla="*/ 71576 h 247520"/>
                <a:gd name="connsiteX3" fmla="*/ 192522 w 224152"/>
                <a:gd name="connsiteY3" fmla="*/ 34653 h 247520"/>
                <a:gd name="connsiteX4" fmla="*/ 167905 w 224152"/>
                <a:gd name="connsiteY4" fmla="*/ 807 h 247520"/>
                <a:gd name="connsiteX5" fmla="*/ 1753 w 224152"/>
                <a:gd name="connsiteY5" fmla="*/ 170038 h 247520"/>
                <a:gd name="connsiteX6" fmla="*/ 72522 w 224152"/>
                <a:gd name="connsiteY6" fmla="*/ 246961 h 247520"/>
                <a:gd name="connsiteX7" fmla="*/ 189444 w 224152"/>
                <a:gd name="connsiteY7" fmla="*/ 185422 h 247520"/>
                <a:gd name="connsiteX8" fmla="*/ 207907 w 224152"/>
                <a:gd name="connsiteY8" fmla="*/ 151576 h 247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152" h="247520">
                  <a:moveTo>
                    <a:pt x="207907" y="151576"/>
                  </a:moveTo>
                  <a:cubicBezTo>
                    <a:pt x="204829" y="142345"/>
                    <a:pt x="217137" y="120807"/>
                    <a:pt x="220214" y="105422"/>
                  </a:cubicBezTo>
                  <a:cubicBezTo>
                    <a:pt x="220214" y="102345"/>
                    <a:pt x="226368" y="83884"/>
                    <a:pt x="223292" y="71576"/>
                  </a:cubicBezTo>
                  <a:cubicBezTo>
                    <a:pt x="220214" y="62345"/>
                    <a:pt x="180214" y="46961"/>
                    <a:pt x="192522" y="34653"/>
                  </a:cubicBezTo>
                  <a:cubicBezTo>
                    <a:pt x="198675" y="25422"/>
                    <a:pt x="177138" y="-5347"/>
                    <a:pt x="167905" y="807"/>
                  </a:cubicBezTo>
                  <a:cubicBezTo>
                    <a:pt x="115599" y="25422"/>
                    <a:pt x="-16710" y="96191"/>
                    <a:pt x="1753" y="170038"/>
                  </a:cubicBezTo>
                  <a:cubicBezTo>
                    <a:pt x="1753" y="170038"/>
                    <a:pt x="44829" y="243884"/>
                    <a:pt x="72522" y="246961"/>
                  </a:cubicBezTo>
                  <a:cubicBezTo>
                    <a:pt x="112521" y="253115"/>
                    <a:pt x="158675" y="206961"/>
                    <a:pt x="189444" y="185422"/>
                  </a:cubicBezTo>
                  <a:cubicBezTo>
                    <a:pt x="204829" y="170038"/>
                    <a:pt x="210983" y="163884"/>
                    <a:pt x="207907" y="151576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6D919FFD-48B3-4269-A515-87E7C24F1EEA}"/>
                </a:ext>
              </a:extLst>
            </p:cNvPr>
            <p:cNvSpPr/>
            <p:nvPr/>
          </p:nvSpPr>
          <p:spPr>
            <a:xfrm>
              <a:off x="21095444" y="9400264"/>
              <a:ext cx="417683" cy="445707"/>
            </a:xfrm>
            <a:custGeom>
              <a:avLst/>
              <a:gdLst>
                <a:gd name="connsiteX0" fmla="*/ 88452 w 417683"/>
                <a:gd name="connsiteY0" fmla="*/ 445707 h 445707"/>
                <a:gd name="connsiteX1" fmla="*/ 33068 w 417683"/>
                <a:gd name="connsiteY1" fmla="*/ 14938 h 445707"/>
                <a:gd name="connsiteX2" fmla="*/ 417683 w 417683"/>
                <a:gd name="connsiteY2" fmla="*/ 279553 h 445707"/>
                <a:gd name="connsiteX3" fmla="*/ 88452 w 417683"/>
                <a:gd name="connsiteY3" fmla="*/ 445707 h 445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7683" h="445707">
                  <a:moveTo>
                    <a:pt x="88452" y="445707"/>
                  </a:moveTo>
                  <a:cubicBezTo>
                    <a:pt x="-778" y="282630"/>
                    <a:pt x="-28471" y="67246"/>
                    <a:pt x="33068" y="14938"/>
                  </a:cubicBezTo>
                  <a:cubicBezTo>
                    <a:pt x="113067" y="-52754"/>
                    <a:pt x="337684" y="122630"/>
                    <a:pt x="417683" y="279553"/>
                  </a:cubicBezTo>
                  <a:cubicBezTo>
                    <a:pt x="377684" y="344169"/>
                    <a:pt x="189990" y="424169"/>
                    <a:pt x="88452" y="445707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7EAA3DBA-1E25-4528-BFA3-640389DD5868}"/>
                </a:ext>
              </a:extLst>
            </p:cNvPr>
            <p:cNvGrpSpPr/>
            <p:nvPr/>
          </p:nvGrpSpPr>
          <p:grpSpPr>
            <a:xfrm>
              <a:off x="20493128" y="12781356"/>
              <a:ext cx="398919" cy="364874"/>
              <a:chOff x="20493128" y="12781356"/>
              <a:chExt cx="398919" cy="364874"/>
            </a:xfrm>
          </p:grpSpPr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5C45DECD-9903-4621-BCFA-3250156FF34F}"/>
                  </a:ext>
                </a:extLst>
              </p:cNvPr>
              <p:cNvSpPr/>
              <p:nvPr/>
            </p:nvSpPr>
            <p:spPr>
              <a:xfrm>
                <a:off x="20493128" y="12907509"/>
                <a:ext cx="398919" cy="238721"/>
              </a:xfrm>
              <a:custGeom>
                <a:avLst/>
                <a:gdLst>
                  <a:gd name="connsiteX0" fmla="*/ 109231 w 398919"/>
                  <a:gd name="connsiteY0" fmla="*/ 0 h 238721"/>
                  <a:gd name="connsiteX1" fmla="*/ 269230 w 398919"/>
                  <a:gd name="connsiteY1" fmla="*/ 126154 h 238721"/>
                  <a:gd name="connsiteX2" fmla="*/ 72308 w 398919"/>
                  <a:gd name="connsiteY2" fmla="*/ 76923 h 238721"/>
                  <a:gd name="connsiteX3" fmla="*/ 1539 w 398919"/>
                  <a:gd name="connsiteY3" fmla="*/ 52308 h 238721"/>
                  <a:gd name="connsiteX4" fmla="*/ 7691 w 398919"/>
                  <a:gd name="connsiteY4" fmla="*/ 160000 h 238721"/>
                  <a:gd name="connsiteX5" fmla="*/ 241538 w 398919"/>
                  <a:gd name="connsiteY5" fmla="*/ 233846 h 238721"/>
                  <a:gd name="connsiteX6" fmla="*/ 380000 w 398919"/>
                  <a:gd name="connsiteY6" fmla="*/ 233846 h 238721"/>
                  <a:gd name="connsiteX7" fmla="*/ 386154 w 398919"/>
                  <a:gd name="connsiteY7" fmla="*/ 178462 h 238721"/>
                  <a:gd name="connsiteX8" fmla="*/ 109231 w 398919"/>
                  <a:gd name="connsiteY8" fmla="*/ 0 h 238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8919" h="238721">
                    <a:moveTo>
                      <a:pt x="109231" y="0"/>
                    </a:moveTo>
                    <a:cubicBezTo>
                      <a:pt x="109231" y="0"/>
                      <a:pt x="284614" y="113847"/>
                      <a:pt x="269230" y="126154"/>
                    </a:cubicBezTo>
                    <a:cubicBezTo>
                      <a:pt x="256923" y="141539"/>
                      <a:pt x="72308" y="76923"/>
                      <a:pt x="72308" y="76923"/>
                    </a:cubicBezTo>
                    <a:lnTo>
                      <a:pt x="1539" y="52308"/>
                    </a:lnTo>
                    <a:cubicBezTo>
                      <a:pt x="1539" y="52308"/>
                      <a:pt x="-4615" y="135385"/>
                      <a:pt x="7691" y="160000"/>
                    </a:cubicBezTo>
                    <a:cubicBezTo>
                      <a:pt x="81538" y="196924"/>
                      <a:pt x="167692" y="221539"/>
                      <a:pt x="241538" y="233846"/>
                    </a:cubicBezTo>
                    <a:cubicBezTo>
                      <a:pt x="287692" y="243078"/>
                      <a:pt x="370770" y="236923"/>
                      <a:pt x="380000" y="233846"/>
                    </a:cubicBezTo>
                    <a:cubicBezTo>
                      <a:pt x="389230" y="230769"/>
                      <a:pt x="413845" y="206154"/>
                      <a:pt x="386154" y="178462"/>
                    </a:cubicBezTo>
                    <a:cubicBezTo>
                      <a:pt x="324616" y="110769"/>
                      <a:pt x="109231" y="0"/>
                      <a:pt x="109231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A862E7D6-4E35-44BC-A259-B0F9650975C2}"/>
                  </a:ext>
                </a:extLst>
              </p:cNvPr>
              <p:cNvSpPr/>
              <p:nvPr/>
            </p:nvSpPr>
            <p:spPr>
              <a:xfrm>
                <a:off x="20494666" y="12781356"/>
                <a:ext cx="269030" cy="256418"/>
              </a:xfrm>
              <a:custGeom>
                <a:avLst/>
                <a:gdLst>
                  <a:gd name="connsiteX0" fmla="*/ 123077 w 269030"/>
                  <a:gd name="connsiteY0" fmla="*/ 0 h 256418"/>
                  <a:gd name="connsiteX1" fmla="*/ 107692 w 269030"/>
                  <a:gd name="connsiteY1" fmla="*/ 126153 h 256418"/>
                  <a:gd name="connsiteX2" fmla="*/ 267691 w 269030"/>
                  <a:gd name="connsiteY2" fmla="*/ 252307 h 256418"/>
                  <a:gd name="connsiteX3" fmla="*/ 27691 w 269030"/>
                  <a:gd name="connsiteY3" fmla="*/ 209230 h 256418"/>
                  <a:gd name="connsiteX4" fmla="*/ 0 w 269030"/>
                  <a:gd name="connsiteY4" fmla="*/ 178461 h 256418"/>
                  <a:gd name="connsiteX5" fmla="*/ 0 w 269030"/>
                  <a:gd name="connsiteY5" fmla="*/ 43077 h 256418"/>
                  <a:gd name="connsiteX6" fmla="*/ 123077 w 269030"/>
                  <a:gd name="connsiteY6" fmla="*/ 0 h 256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030" h="256418">
                    <a:moveTo>
                      <a:pt x="123077" y="0"/>
                    </a:moveTo>
                    <a:lnTo>
                      <a:pt x="107692" y="126153"/>
                    </a:lnTo>
                    <a:cubicBezTo>
                      <a:pt x="107692" y="126153"/>
                      <a:pt x="286153" y="230769"/>
                      <a:pt x="267691" y="252307"/>
                    </a:cubicBezTo>
                    <a:cubicBezTo>
                      <a:pt x="255384" y="267692"/>
                      <a:pt x="98460" y="236923"/>
                      <a:pt x="27691" y="209230"/>
                    </a:cubicBezTo>
                    <a:cubicBezTo>
                      <a:pt x="3076" y="200000"/>
                      <a:pt x="0" y="178461"/>
                      <a:pt x="0" y="178461"/>
                    </a:cubicBezTo>
                    <a:lnTo>
                      <a:pt x="0" y="43077"/>
                    </a:lnTo>
                    <a:lnTo>
                      <a:pt x="123077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D232EDFF-3A08-448A-A15B-3E8D44FB6B70}"/>
                </a:ext>
              </a:extLst>
            </p:cNvPr>
            <p:cNvGrpSpPr/>
            <p:nvPr/>
          </p:nvGrpSpPr>
          <p:grpSpPr>
            <a:xfrm>
              <a:off x="21210050" y="12781356"/>
              <a:ext cx="398919" cy="364874"/>
              <a:chOff x="21210050" y="12781356"/>
              <a:chExt cx="398919" cy="364874"/>
            </a:xfrm>
          </p:grpSpPr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B4E694AA-5B33-48A5-A7DD-281AD1F25BB4}"/>
                  </a:ext>
                </a:extLst>
              </p:cNvPr>
              <p:cNvSpPr/>
              <p:nvPr/>
            </p:nvSpPr>
            <p:spPr>
              <a:xfrm>
                <a:off x="21210050" y="12907509"/>
                <a:ext cx="398919" cy="238721"/>
              </a:xfrm>
              <a:custGeom>
                <a:avLst/>
                <a:gdLst>
                  <a:gd name="connsiteX0" fmla="*/ 109231 w 398919"/>
                  <a:gd name="connsiteY0" fmla="*/ 0 h 238721"/>
                  <a:gd name="connsiteX1" fmla="*/ 269231 w 398919"/>
                  <a:gd name="connsiteY1" fmla="*/ 126154 h 238721"/>
                  <a:gd name="connsiteX2" fmla="*/ 72307 w 398919"/>
                  <a:gd name="connsiteY2" fmla="*/ 76923 h 238721"/>
                  <a:gd name="connsiteX3" fmla="*/ 1539 w 398919"/>
                  <a:gd name="connsiteY3" fmla="*/ 52308 h 238721"/>
                  <a:gd name="connsiteX4" fmla="*/ 7693 w 398919"/>
                  <a:gd name="connsiteY4" fmla="*/ 160000 h 238721"/>
                  <a:gd name="connsiteX5" fmla="*/ 241538 w 398919"/>
                  <a:gd name="connsiteY5" fmla="*/ 233846 h 238721"/>
                  <a:gd name="connsiteX6" fmla="*/ 380000 w 398919"/>
                  <a:gd name="connsiteY6" fmla="*/ 233846 h 238721"/>
                  <a:gd name="connsiteX7" fmla="*/ 386154 w 398919"/>
                  <a:gd name="connsiteY7" fmla="*/ 178462 h 238721"/>
                  <a:gd name="connsiteX8" fmla="*/ 109231 w 398919"/>
                  <a:gd name="connsiteY8" fmla="*/ 0 h 238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8919" h="238721">
                    <a:moveTo>
                      <a:pt x="109231" y="0"/>
                    </a:moveTo>
                    <a:cubicBezTo>
                      <a:pt x="109231" y="0"/>
                      <a:pt x="284616" y="113847"/>
                      <a:pt x="269231" y="126154"/>
                    </a:cubicBezTo>
                    <a:cubicBezTo>
                      <a:pt x="256923" y="141539"/>
                      <a:pt x="72307" y="76923"/>
                      <a:pt x="72307" y="76923"/>
                    </a:cubicBezTo>
                    <a:lnTo>
                      <a:pt x="1539" y="52308"/>
                    </a:lnTo>
                    <a:cubicBezTo>
                      <a:pt x="1539" y="52308"/>
                      <a:pt x="-4616" y="135385"/>
                      <a:pt x="7693" y="160000"/>
                    </a:cubicBezTo>
                    <a:cubicBezTo>
                      <a:pt x="81538" y="196924"/>
                      <a:pt x="167691" y="221539"/>
                      <a:pt x="241538" y="233846"/>
                    </a:cubicBezTo>
                    <a:cubicBezTo>
                      <a:pt x="287692" y="243078"/>
                      <a:pt x="370769" y="236923"/>
                      <a:pt x="380000" y="233846"/>
                    </a:cubicBezTo>
                    <a:cubicBezTo>
                      <a:pt x="389230" y="230769"/>
                      <a:pt x="413845" y="206154"/>
                      <a:pt x="386154" y="178462"/>
                    </a:cubicBezTo>
                    <a:cubicBezTo>
                      <a:pt x="324615" y="110769"/>
                      <a:pt x="109231" y="0"/>
                      <a:pt x="109231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FFCDC7F5-E37F-4E55-9BA6-891B5CD11AB0}"/>
                  </a:ext>
                </a:extLst>
              </p:cNvPr>
              <p:cNvSpPr/>
              <p:nvPr/>
            </p:nvSpPr>
            <p:spPr>
              <a:xfrm>
                <a:off x="21211589" y="12781356"/>
                <a:ext cx="269032" cy="256418"/>
              </a:xfrm>
              <a:custGeom>
                <a:avLst/>
                <a:gdLst>
                  <a:gd name="connsiteX0" fmla="*/ 123077 w 269032"/>
                  <a:gd name="connsiteY0" fmla="*/ 0 h 256418"/>
                  <a:gd name="connsiteX1" fmla="*/ 107692 w 269032"/>
                  <a:gd name="connsiteY1" fmla="*/ 126153 h 256418"/>
                  <a:gd name="connsiteX2" fmla="*/ 267693 w 269032"/>
                  <a:gd name="connsiteY2" fmla="*/ 252307 h 256418"/>
                  <a:gd name="connsiteX3" fmla="*/ 27691 w 269032"/>
                  <a:gd name="connsiteY3" fmla="*/ 209230 h 256418"/>
                  <a:gd name="connsiteX4" fmla="*/ 0 w 269032"/>
                  <a:gd name="connsiteY4" fmla="*/ 178461 h 256418"/>
                  <a:gd name="connsiteX5" fmla="*/ 0 w 269032"/>
                  <a:gd name="connsiteY5" fmla="*/ 43077 h 256418"/>
                  <a:gd name="connsiteX6" fmla="*/ 123077 w 269032"/>
                  <a:gd name="connsiteY6" fmla="*/ 0 h 256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032" h="256418">
                    <a:moveTo>
                      <a:pt x="123077" y="0"/>
                    </a:moveTo>
                    <a:lnTo>
                      <a:pt x="107692" y="126153"/>
                    </a:lnTo>
                    <a:cubicBezTo>
                      <a:pt x="107692" y="126153"/>
                      <a:pt x="286153" y="230769"/>
                      <a:pt x="267693" y="252307"/>
                    </a:cubicBezTo>
                    <a:cubicBezTo>
                      <a:pt x="255384" y="267692"/>
                      <a:pt x="98462" y="236923"/>
                      <a:pt x="27691" y="209230"/>
                    </a:cubicBezTo>
                    <a:cubicBezTo>
                      <a:pt x="3076" y="200000"/>
                      <a:pt x="0" y="178461"/>
                      <a:pt x="0" y="178461"/>
                    </a:cubicBezTo>
                    <a:lnTo>
                      <a:pt x="0" y="43077"/>
                    </a:lnTo>
                    <a:lnTo>
                      <a:pt x="123077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6431598F-F2A0-4576-94F4-4E5BEC6CC8EC}"/>
                </a:ext>
              </a:extLst>
            </p:cNvPr>
            <p:cNvSpPr/>
            <p:nvPr/>
          </p:nvSpPr>
          <p:spPr>
            <a:xfrm>
              <a:off x="20119281" y="8712953"/>
              <a:ext cx="618460" cy="830219"/>
            </a:xfrm>
            <a:custGeom>
              <a:avLst/>
              <a:gdLst>
                <a:gd name="connsiteX0" fmla="*/ 618461 w 618460"/>
                <a:gd name="connsiteY0" fmla="*/ 145326 h 830219"/>
                <a:gd name="connsiteX1" fmla="*/ 261538 w 618460"/>
                <a:gd name="connsiteY1" fmla="*/ 13018 h 830219"/>
                <a:gd name="connsiteX2" fmla="*/ 67693 w 618460"/>
                <a:gd name="connsiteY2" fmla="*/ 465327 h 830219"/>
                <a:gd name="connsiteX3" fmla="*/ 0 w 618460"/>
                <a:gd name="connsiteY3" fmla="*/ 773019 h 830219"/>
                <a:gd name="connsiteX4" fmla="*/ 329231 w 618460"/>
                <a:gd name="connsiteY4" fmla="*/ 729942 h 830219"/>
                <a:gd name="connsiteX5" fmla="*/ 473845 w 618460"/>
                <a:gd name="connsiteY5" fmla="*/ 219173 h 830219"/>
                <a:gd name="connsiteX6" fmla="*/ 618461 w 618460"/>
                <a:gd name="connsiteY6" fmla="*/ 145326 h 830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8460" h="830219">
                  <a:moveTo>
                    <a:pt x="618461" y="145326"/>
                  </a:moveTo>
                  <a:cubicBezTo>
                    <a:pt x="618461" y="145326"/>
                    <a:pt x="560000" y="-51597"/>
                    <a:pt x="261538" y="13018"/>
                  </a:cubicBezTo>
                  <a:cubicBezTo>
                    <a:pt x="76923" y="53019"/>
                    <a:pt x="18461" y="339172"/>
                    <a:pt x="67693" y="465327"/>
                  </a:cubicBezTo>
                  <a:cubicBezTo>
                    <a:pt x="113847" y="591480"/>
                    <a:pt x="104614" y="708403"/>
                    <a:pt x="0" y="773019"/>
                  </a:cubicBezTo>
                  <a:cubicBezTo>
                    <a:pt x="0" y="773019"/>
                    <a:pt x="240000" y="926865"/>
                    <a:pt x="329231" y="729942"/>
                  </a:cubicBezTo>
                  <a:cubicBezTo>
                    <a:pt x="366153" y="649942"/>
                    <a:pt x="335383" y="277634"/>
                    <a:pt x="473845" y="219173"/>
                  </a:cubicBezTo>
                  <a:cubicBezTo>
                    <a:pt x="532307" y="197634"/>
                    <a:pt x="618461" y="145326"/>
                    <a:pt x="618461" y="145326"/>
                  </a:cubicBezTo>
                  <a:close/>
                </a:path>
              </a:pathLst>
            </a:custGeom>
            <a:solidFill>
              <a:srgbClr val="D3977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0728D2D8-7C0C-45A8-AB8F-C37A82AD1AB9}"/>
                </a:ext>
              </a:extLst>
            </p:cNvPr>
            <p:cNvSpPr/>
            <p:nvPr/>
          </p:nvSpPr>
          <p:spPr>
            <a:xfrm>
              <a:off x="20113127" y="9298279"/>
              <a:ext cx="184615" cy="193846"/>
            </a:xfrm>
            <a:custGeom>
              <a:avLst/>
              <a:gdLst>
                <a:gd name="connsiteX0" fmla="*/ 6154 w 184615"/>
                <a:gd name="connsiteY0" fmla="*/ 193846 h 193846"/>
                <a:gd name="connsiteX1" fmla="*/ 0 w 184615"/>
                <a:gd name="connsiteY1" fmla="*/ 187693 h 193846"/>
                <a:gd name="connsiteX2" fmla="*/ 6154 w 184615"/>
                <a:gd name="connsiteY2" fmla="*/ 181538 h 193846"/>
                <a:gd name="connsiteX3" fmla="*/ 172307 w 184615"/>
                <a:gd name="connsiteY3" fmla="*/ 6154 h 193846"/>
                <a:gd name="connsiteX4" fmla="*/ 178461 w 184615"/>
                <a:gd name="connsiteY4" fmla="*/ 0 h 193846"/>
                <a:gd name="connsiteX5" fmla="*/ 184615 w 184615"/>
                <a:gd name="connsiteY5" fmla="*/ 6154 h 193846"/>
                <a:gd name="connsiteX6" fmla="*/ 6154 w 184615"/>
                <a:gd name="connsiteY6" fmla="*/ 193846 h 193846"/>
                <a:gd name="connsiteX7" fmla="*/ 6154 w 184615"/>
                <a:gd name="connsiteY7" fmla="*/ 193846 h 19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4615" h="193846">
                  <a:moveTo>
                    <a:pt x="6154" y="193846"/>
                  </a:moveTo>
                  <a:cubicBezTo>
                    <a:pt x="3076" y="193846"/>
                    <a:pt x="0" y="190769"/>
                    <a:pt x="0" y="187693"/>
                  </a:cubicBezTo>
                  <a:cubicBezTo>
                    <a:pt x="0" y="184615"/>
                    <a:pt x="3076" y="181538"/>
                    <a:pt x="6154" y="181538"/>
                  </a:cubicBezTo>
                  <a:cubicBezTo>
                    <a:pt x="12308" y="181538"/>
                    <a:pt x="141538" y="178462"/>
                    <a:pt x="172307" y="6154"/>
                  </a:cubicBezTo>
                  <a:cubicBezTo>
                    <a:pt x="172307" y="3077"/>
                    <a:pt x="175385" y="0"/>
                    <a:pt x="178461" y="0"/>
                  </a:cubicBezTo>
                  <a:cubicBezTo>
                    <a:pt x="181539" y="0"/>
                    <a:pt x="184615" y="3077"/>
                    <a:pt x="184615" y="6154"/>
                  </a:cubicBezTo>
                  <a:cubicBezTo>
                    <a:pt x="153846" y="190769"/>
                    <a:pt x="9230" y="193846"/>
                    <a:pt x="6154" y="193846"/>
                  </a:cubicBezTo>
                  <a:lnTo>
                    <a:pt x="6154" y="193846"/>
                  </a:ln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2520D451-990D-4FF6-B84B-95B7D25A8C38}"/>
                </a:ext>
              </a:extLst>
            </p:cNvPr>
            <p:cNvSpPr/>
            <p:nvPr/>
          </p:nvSpPr>
          <p:spPr>
            <a:xfrm>
              <a:off x="20618219" y="8740138"/>
              <a:ext cx="218383" cy="186760"/>
            </a:xfrm>
            <a:custGeom>
              <a:avLst/>
              <a:gdLst>
                <a:gd name="connsiteX0" fmla="*/ 217985 w 218383"/>
                <a:gd name="connsiteY0" fmla="*/ 68910 h 186760"/>
                <a:gd name="connsiteX1" fmla="*/ 85678 w 218383"/>
                <a:gd name="connsiteY1" fmla="*/ 4295 h 186760"/>
                <a:gd name="connsiteX2" fmla="*/ 24139 w 218383"/>
                <a:gd name="connsiteY2" fmla="*/ 173525 h 186760"/>
                <a:gd name="connsiteX3" fmla="*/ 217985 w 218383"/>
                <a:gd name="connsiteY3" fmla="*/ 68910 h 186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383" h="186760">
                  <a:moveTo>
                    <a:pt x="217985" y="68910"/>
                  </a:moveTo>
                  <a:cubicBezTo>
                    <a:pt x="217985" y="68910"/>
                    <a:pt x="177985" y="-20321"/>
                    <a:pt x="85678" y="4295"/>
                  </a:cubicBezTo>
                  <a:cubicBezTo>
                    <a:pt x="24139" y="19679"/>
                    <a:pt x="-34323" y="111987"/>
                    <a:pt x="24139" y="173525"/>
                  </a:cubicBezTo>
                  <a:cubicBezTo>
                    <a:pt x="73369" y="225833"/>
                    <a:pt x="227215" y="108910"/>
                    <a:pt x="217985" y="68910"/>
                  </a:cubicBezTo>
                  <a:close/>
                </a:path>
              </a:pathLst>
            </a:custGeom>
            <a:solidFill>
              <a:srgbClr val="F1DDBA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2DE048E9-EA84-47A5-937F-A559059F508D}"/>
                </a:ext>
              </a:extLst>
            </p:cNvPr>
            <p:cNvSpPr/>
            <p:nvPr/>
          </p:nvSpPr>
          <p:spPr>
            <a:xfrm>
              <a:off x="20457000" y="10301356"/>
              <a:ext cx="931764" cy="2547691"/>
            </a:xfrm>
            <a:custGeom>
              <a:avLst/>
              <a:gdLst>
                <a:gd name="connsiteX0" fmla="*/ 133051 w 931764"/>
                <a:gd name="connsiteY0" fmla="*/ 0 h 2547691"/>
                <a:gd name="connsiteX1" fmla="*/ 806898 w 931764"/>
                <a:gd name="connsiteY1" fmla="*/ 0 h 2547691"/>
                <a:gd name="connsiteX2" fmla="*/ 926896 w 931764"/>
                <a:gd name="connsiteY2" fmla="*/ 464616 h 2547691"/>
                <a:gd name="connsiteX3" fmla="*/ 905358 w 931764"/>
                <a:gd name="connsiteY3" fmla="*/ 2547692 h 2547691"/>
                <a:gd name="connsiteX4" fmla="*/ 723820 w 931764"/>
                <a:gd name="connsiteY4" fmla="*/ 2547692 h 2547691"/>
                <a:gd name="connsiteX5" fmla="*/ 505358 w 931764"/>
                <a:gd name="connsiteY5" fmla="*/ 873846 h 2547691"/>
                <a:gd name="connsiteX6" fmla="*/ 200743 w 931764"/>
                <a:gd name="connsiteY6" fmla="*/ 2538462 h 2547691"/>
                <a:gd name="connsiteX7" fmla="*/ 3820 w 931764"/>
                <a:gd name="connsiteY7" fmla="*/ 2538462 h 2547691"/>
                <a:gd name="connsiteX8" fmla="*/ 743 w 931764"/>
                <a:gd name="connsiteY8" fmla="*/ 424615 h 2547691"/>
                <a:gd name="connsiteX9" fmla="*/ 133051 w 931764"/>
                <a:gd name="connsiteY9" fmla="*/ 0 h 2547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1764" h="2547691">
                  <a:moveTo>
                    <a:pt x="133051" y="0"/>
                  </a:moveTo>
                  <a:lnTo>
                    <a:pt x="806898" y="0"/>
                  </a:lnTo>
                  <a:cubicBezTo>
                    <a:pt x="806898" y="0"/>
                    <a:pt x="905358" y="307692"/>
                    <a:pt x="926896" y="464616"/>
                  </a:cubicBezTo>
                  <a:cubicBezTo>
                    <a:pt x="945359" y="618462"/>
                    <a:pt x="905358" y="2547692"/>
                    <a:pt x="905358" y="2547692"/>
                  </a:cubicBezTo>
                  <a:lnTo>
                    <a:pt x="723820" y="2547692"/>
                  </a:lnTo>
                  <a:lnTo>
                    <a:pt x="505358" y="873846"/>
                  </a:lnTo>
                  <a:lnTo>
                    <a:pt x="200743" y="2538462"/>
                  </a:lnTo>
                  <a:lnTo>
                    <a:pt x="3820" y="2538462"/>
                  </a:lnTo>
                  <a:cubicBezTo>
                    <a:pt x="3820" y="2538462"/>
                    <a:pt x="9974" y="544615"/>
                    <a:pt x="743" y="424615"/>
                  </a:cubicBezTo>
                  <a:cubicBezTo>
                    <a:pt x="-11565" y="298461"/>
                    <a:pt x="133051" y="0"/>
                    <a:pt x="133051" y="0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C4E49320-8117-4FA7-9260-8E39470FEB5B}"/>
                </a:ext>
              </a:extLst>
            </p:cNvPr>
            <p:cNvSpPr/>
            <p:nvPr/>
          </p:nvSpPr>
          <p:spPr>
            <a:xfrm>
              <a:off x="20559281" y="10347510"/>
              <a:ext cx="726153" cy="12307"/>
            </a:xfrm>
            <a:custGeom>
              <a:avLst/>
              <a:gdLst>
                <a:gd name="connsiteX0" fmla="*/ 720001 w 726153"/>
                <a:gd name="connsiteY0" fmla="*/ 12308 h 12307"/>
                <a:gd name="connsiteX1" fmla="*/ 6154 w 726153"/>
                <a:gd name="connsiteY1" fmla="*/ 12308 h 12307"/>
                <a:gd name="connsiteX2" fmla="*/ 0 w 726153"/>
                <a:gd name="connsiteY2" fmla="*/ 6153 h 12307"/>
                <a:gd name="connsiteX3" fmla="*/ 6154 w 726153"/>
                <a:gd name="connsiteY3" fmla="*/ 0 h 12307"/>
                <a:gd name="connsiteX4" fmla="*/ 720001 w 726153"/>
                <a:gd name="connsiteY4" fmla="*/ 0 h 12307"/>
                <a:gd name="connsiteX5" fmla="*/ 726153 w 726153"/>
                <a:gd name="connsiteY5" fmla="*/ 6153 h 12307"/>
                <a:gd name="connsiteX6" fmla="*/ 720001 w 726153"/>
                <a:gd name="connsiteY6" fmla="*/ 12308 h 1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6153" h="12307">
                  <a:moveTo>
                    <a:pt x="720001" y="12308"/>
                  </a:moveTo>
                  <a:lnTo>
                    <a:pt x="6154" y="12308"/>
                  </a:lnTo>
                  <a:cubicBezTo>
                    <a:pt x="3076" y="12308"/>
                    <a:pt x="0" y="9230"/>
                    <a:pt x="0" y="6153"/>
                  </a:cubicBezTo>
                  <a:cubicBezTo>
                    <a:pt x="0" y="3077"/>
                    <a:pt x="3076" y="0"/>
                    <a:pt x="6154" y="0"/>
                  </a:cubicBezTo>
                  <a:lnTo>
                    <a:pt x="720001" y="0"/>
                  </a:lnTo>
                  <a:cubicBezTo>
                    <a:pt x="723077" y="0"/>
                    <a:pt x="726153" y="3077"/>
                    <a:pt x="726153" y="6153"/>
                  </a:cubicBezTo>
                  <a:cubicBezTo>
                    <a:pt x="723077" y="9230"/>
                    <a:pt x="723077" y="12308"/>
                    <a:pt x="720001" y="12308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44A03434-1EFD-443A-BB6F-68F18553B9EC}"/>
                </a:ext>
              </a:extLst>
            </p:cNvPr>
            <p:cNvSpPr/>
            <p:nvPr/>
          </p:nvSpPr>
          <p:spPr>
            <a:xfrm>
              <a:off x="20648512" y="10692125"/>
              <a:ext cx="316922" cy="2150769"/>
            </a:xfrm>
            <a:custGeom>
              <a:avLst/>
              <a:gdLst>
                <a:gd name="connsiteX0" fmla="*/ 6152 w 316922"/>
                <a:gd name="connsiteY0" fmla="*/ 2150770 h 2150769"/>
                <a:gd name="connsiteX1" fmla="*/ 6152 w 316922"/>
                <a:gd name="connsiteY1" fmla="*/ 2150770 h 2150769"/>
                <a:gd name="connsiteX2" fmla="*/ 0 w 316922"/>
                <a:gd name="connsiteY2" fmla="*/ 2144616 h 2150769"/>
                <a:gd name="connsiteX3" fmla="*/ 304614 w 316922"/>
                <a:gd name="connsiteY3" fmla="*/ 480000 h 2150769"/>
                <a:gd name="connsiteX4" fmla="*/ 304614 w 316922"/>
                <a:gd name="connsiteY4" fmla="*/ 6154 h 2150769"/>
                <a:gd name="connsiteX5" fmla="*/ 310768 w 316922"/>
                <a:gd name="connsiteY5" fmla="*/ 0 h 2150769"/>
                <a:gd name="connsiteX6" fmla="*/ 316923 w 316922"/>
                <a:gd name="connsiteY6" fmla="*/ 6154 h 2150769"/>
                <a:gd name="connsiteX7" fmla="*/ 316923 w 316922"/>
                <a:gd name="connsiteY7" fmla="*/ 480000 h 2150769"/>
                <a:gd name="connsiteX8" fmla="*/ 12307 w 316922"/>
                <a:gd name="connsiteY8" fmla="*/ 2144616 h 2150769"/>
                <a:gd name="connsiteX9" fmla="*/ 6152 w 316922"/>
                <a:gd name="connsiteY9" fmla="*/ 2150770 h 215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6922" h="2150769">
                  <a:moveTo>
                    <a:pt x="6152" y="2150770"/>
                  </a:moveTo>
                  <a:cubicBezTo>
                    <a:pt x="6152" y="2150770"/>
                    <a:pt x="6152" y="2150770"/>
                    <a:pt x="6152" y="2150770"/>
                  </a:cubicBezTo>
                  <a:cubicBezTo>
                    <a:pt x="3076" y="2150770"/>
                    <a:pt x="0" y="2147693"/>
                    <a:pt x="0" y="2144616"/>
                  </a:cubicBezTo>
                  <a:lnTo>
                    <a:pt x="304614" y="480000"/>
                  </a:lnTo>
                  <a:lnTo>
                    <a:pt x="304614" y="6154"/>
                  </a:lnTo>
                  <a:cubicBezTo>
                    <a:pt x="304614" y="3077"/>
                    <a:pt x="307692" y="0"/>
                    <a:pt x="310768" y="0"/>
                  </a:cubicBezTo>
                  <a:cubicBezTo>
                    <a:pt x="313845" y="0"/>
                    <a:pt x="316923" y="3077"/>
                    <a:pt x="316923" y="6154"/>
                  </a:cubicBezTo>
                  <a:lnTo>
                    <a:pt x="316923" y="480000"/>
                  </a:lnTo>
                  <a:lnTo>
                    <a:pt x="12307" y="2144616"/>
                  </a:lnTo>
                  <a:cubicBezTo>
                    <a:pt x="12307" y="2150770"/>
                    <a:pt x="9230" y="2150770"/>
                    <a:pt x="6152" y="2150770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C1340C1C-6406-4267-B98A-51AF8736E10A}"/>
                </a:ext>
              </a:extLst>
            </p:cNvPr>
            <p:cNvSpPr/>
            <p:nvPr/>
          </p:nvSpPr>
          <p:spPr>
            <a:xfrm>
              <a:off x="20526932" y="9339927"/>
              <a:ext cx="828154" cy="995366"/>
            </a:xfrm>
            <a:custGeom>
              <a:avLst/>
              <a:gdLst>
                <a:gd name="connsiteX0" fmla="*/ 44658 w 828154"/>
                <a:gd name="connsiteY0" fmla="*/ 395275 h 995366"/>
                <a:gd name="connsiteX1" fmla="*/ 60042 w 828154"/>
                <a:gd name="connsiteY1" fmla="*/ 69121 h 995366"/>
                <a:gd name="connsiteX2" fmla="*/ 432349 w 828154"/>
                <a:gd name="connsiteY2" fmla="*/ 4506 h 995366"/>
                <a:gd name="connsiteX3" fmla="*/ 736965 w 828154"/>
                <a:gd name="connsiteY3" fmla="*/ 118352 h 995366"/>
                <a:gd name="connsiteX4" fmla="*/ 776965 w 828154"/>
                <a:gd name="connsiteY4" fmla="*/ 659891 h 995366"/>
                <a:gd name="connsiteX5" fmla="*/ 733887 w 828154"/>
                <a:gd name="connsiteY5" fmla="*/ 989121 h 995366"/>
                <a:gd name="connsiteX6" fmla="*/ 50810 w 828154"/>
                <a:gd name="connsiteY6" fmla="*/ 973737 h 995366"/>
                <a:gd name="connsiteX7" fmla="*/ 44658 w 828154"/>
                <a:gd name="connsiteY7" fmla="*/ 395275 h 99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8154" h="995366">
                  <a:moveTo>
                    <a:pt x="44658" y="395275"/>
                  </a:moveTo>
                  <a:cubicBezTo>
                    <a:pt x="35425" y="364506"/>
                    <a:pt x="-59958" y="133736"/>
                    <a:pt x="60042" y="69121"/>
                  </a:cubicBezTo>
                  <a:cubicBezTo>
                    <a:pt x="164657" y="13737"/>
                    <a:pt x="312349" y="-10879"/>
                    <a:pt x="432349" y="4506"/>
                  </a:cubicBezTo>
                  <a:cubicBezTo>
                    <a:pt x="564657" y="19890"/>
                    <a:pt x="696964" y="53737"/>
                    <a:pt x="736965" y="118352"/>
                  </a:cubicBezTo>
                  <a:cubicBezTo>
                    <a:pt x="850810" y="306044"/>
                    <a:pt x="850810" y="459891"/>
                    <a:pt x="776965" y="659891"/>
                  </a:cubicBezTo>
                  <a:cubicBezTo>
                    <a:pt x="755426" y="718352"/>
                    <a:pt x="749272" y="853737"/>
                    <a:pt x="733887" y="989121"/>
                  </a:cubicBezTo>
                  <a:cubicBezTo>
                    <a:pt x="733887" y="989121"/>
                    <a:pt x="447734" y="1010660"/>
                    <a:pt x="50810" y="973737"/>
                  </a:cubicBezTo>
                  <a:cubicBezTo>
                    <a:pt x="81579" y="752198"/>
                    <a:pt x="53888" y="416813"/>
                    <a:pt x="44658" y="395275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8695A8FB-99F6-4FE9-B522-3FF4AABEDF5E}"/>
                </a:ext>
              </a:extLst>
            </p:cNvPr>
            <p:cNvSpPr/>
            <p:nvPr/>
          </p:nvSpPr>
          <p:spPr>
            <a:xfrm>
              <a:off x="20869714" y="8657638"/>
              <a:ext cx="327949" cy="603616"/>
            </a:xfrm>
            <a:custGeom>
              <a:avLst/>
              <a:gdLst>
                <a:gd name="connsiteX0" fmla="*/ 40337 w 327949"/>
                <a:gd name="connsiteY0" fmla="*/ 576026 h 603616"/>
                <a:gd name="connsiteX1" fmla="*/ 138797 w 327949"/>
                <a:gd name="connsiteY1" fmla="*/ 523718 h 603616"/>
                <a:gd name="connsiteX2" fmla="*/ 317260 w 327949"/>
                <a:gd name="connsiteY2" fmla="*/ 185257 h 603616"/>
                <a:gd name="connsiteX3" fmla="*/ 335 w 327949"/>
                <a:gd name="connsiteY3" fmla="*/ 9872 h 603616"/>
                <a:gd name="connsiteX4" fmla="*/ 40337 w 327949"/>
                <a:gd name="connsiteY4" fmla="*/ 160641 h 603616"/>
                <a:gd name="connsiteX5" fmla="*/ 89567 w 327949"/>
                <a:gd name="connsiteY5" fmla="*/ 305257 h 603616"/>
                <a:gd name="connsiteX6" fmla="*/ 40337 w 327949"/>
                <a:gd name="connsiteY6" fmla="*/ 576026 h 603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949" h="603616">
                  <a:moveTo>
                    <a:pt x="40337" y="576026"/>
                  </a:moveTo>
                  <a:cubicBezTo>
                    <a:pt x="49567" y="628334"/>
                    <a:pt x="37259" y="603719"/>
                    <a:pt x="138797" y="523718"/>
                  </a:cubicBezTo>
                  <a:cubicBezTo>
                    <a:pt x="363414" y="440642"/>
                    <a:pt x="332645" y="249872"/>
                    <a:pt x="317260" y="185257"/>
                  </a:cubicBezTo>
                  <a:cubicBezTo>
                    <a:pt x="286491" y="56026"/>
                    <a:pt x="117260" y="-30128"/>
                    <a:pt x="335" y="9872"/>
                  </a:cubicBezTo>
                  <a:cubicBezTo>
                    <a:pt x="-2741" y="9872"/>
                    <a:pt x="15720" y="111411"/>
                    <a:pt x="40337" y="160641"/>
                  </a:cubicBezTo>
                  <a:cubicBezTo>
                    <a:pt x="61874" y="206795"/>
                    <a:pt x="80336" y="256026"/>
                    <a:pt x="89567" y="305257"/>
                  </a:cubicBezTo>
                  <a:cubicBezTo>
                    <a:pt x="95721" y="360641"/>
                    <a:pt x="31105" y="529872"/>
                    <a:pt x="40337" y="576026"/>
                  </a:cubicBezTo>
                  <a:close/>
                </a:path>
              </a:pathLst>
            </a:custGeom>
            <a:solidFill>
              <a:srgbClr val="D3977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DFE157D7-DB84-49D9-A374-663AC8BD2C31}"/>
                </a:ext>
              </a:extLst>
            </p:cNvPr>
            <p:cNvSpPr/>
            <p:nvPr/>
          </p:nvSpPr>
          <p:spPr>
            <a:xfrm>
              <a:off x="20700819" y="8697381"/>
              <a:ext cx="426500" cy="573528"/>
            </a:xfrm>
            <a:custGeom>
              <a:avLst/>
              <a:gdLst>
                <a:gd name="connsiteX0" fmla="*/ 418463 w 426500"/>
                <a:gd name="connsiteY0" fmla="*/ 185513 h 573528"/>
                <a:gd name="connsiteX1" fmla="*/ 406154 w 426500"/>
                <a:gd name="connsiteY1" fmla="*/ 443975 h 573528"/>
                <a:gd name="connsiteX2" fmla="*/ 255386 w 426500"/>
                <a:gd name="connsiteY2" fmla="*/ 573206 h 573528"/>
                <a:gd name="connsiteX3" fmla="*/ 36923 w 426500"/>
                <a:gd name="connsiteY3" fmla="*/ 428590 h 573528"/>
                <a:gd name="connsiteX4" fmla="*/ 0 w 426500"/>
                <a:gd name="connsiteY4" fmla="*/ 200898 h 573528"/>
                <a:gd name="connsiteX5" fmla="*/ 215385 w 426500"/>
                <a:gd name="connsiteY5" fmla="*/ 898 h 573528"/>
                <a:gd name="connsiteX6" fmla="*/ 418463 w 426500"/>
                <a:gd name="connsiteY6" fmla="*/ 185513 h 57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500" h="573528">
                  <a:moveTo>
                    <a:pt x="418463" y="185513"/>
                  </a:moveTo>
                  <a:cubicBezTo>
                    <a:pt x="418463" y="185513"/>
                    <a:pt x="443078" y="376282"/>
                    <a:pt x="406154" y="443975"/>
                  </a:cubicBezTo>
                  <a:cubicBezTo>
                    <a:pt x="369231" y="511667"/>
                    <a:pt x="307692" y="570129"/>
                    <a:pt x="255386" y="573206"/>
                  </a:cubicBezTo>
                  <a:cubicBezTo>
                    <a:pt x="187693" y="579360"/>
                    <a:pt x="73847" y="496283"/>
                    <a:pt x="36923" y="428590"/>
                  </a:cubicBezTo>
                  <a:cubicBezTo>
                    <a:pt x="0" y="360898"/>
                    <a:pt x="0" y="253206"/>
                    <a:pt x="0" y="200898"/>
                  </a:cubicBezTo>
                  <a:cubicBezTo>
                    <a:pt x="3078" y="105513"/>
                    <a:pt x="30769" y="25513"/>
                    <a:pt x="215385" y="898"/>
                  </a:cubicBezTo>
                  <a:cubicBezTo>
                    <a:pt x="301540" y="-11410"/>
                    <a:pt x="396924" y="105513"/>
                    <a:pt x="418463" y="185513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AC03D47C-B6E4-47BF-B328-93FF7E11CC4E}"/>
                </a:ext>
              </a:extLst>
            </p:cNvPr>
            <p:cNvSpPr/>
            <p:nvPr/>
          </p:nvSpPr>
          <p:spPr>
            <a:xfrm>
              <a:off x="20928512" y="8969048"/>
              <a:ext cx="55384" cy="132307"/>
            </a:xfrm>
            <a:custGeom>
              <a:avLst/>
              <a:gdLst>
                <a:gd name="connsiteX0" fmla="*/ 30769 w 55384"/>
                <a:gd name="connsiteY0" fmla="*/ 132308 h 132307"/>
                <a:gd name="connsiteX1" fmla="*/ 6154 w 55384"/>
                <a:gd name="connsiteY1" fmla="*/ 129231 h 132307"/>
                <a:gd name="connsiteX2" fmla="*/ 0 w 55384"/>
                <a:gd name="connsiteY2" fmla="*/ 123077 h 132307"/>
                <a:gd name="connsiteX3" fmla="*/ 6154 w 55384"/>
                <a:gd name="connsiteY3" fmla="*/ 116923 h 132307"/>
                <a:gd name="connsiteX4" fmla="*/ 46154 w 55384"/>
                <a:gd name="connsiteY4" fmla="*/ 116923 h 132307"/>
                <a:gd name="connsiteX5" fmla="*/ 46154 w 55384"/>
                <a:gd name="connsiteY5" fmla="*/ 113846 h 132307"/>
                <a:gd name="connsiteX6" fmla="*/ 18461 w 55384"/>
                <a:gd name="connsiteY6" fmla="*/ 6154 h 132307"/>
                <a:gd name="connsiteX7" fmla="*/ 21539 w 55384"/>
                <a:gd name="connsiteY7" fmla="*/ 0 h 132307"/>
                <a:gd name="connsiteX8" fmla="*/ 27693 w 55384"/>
                <a:gd name="connsiteY8" fmla="*/ 3077 h 132307"/>
                <a:gd name="connsiteX9" fmla="*/ 55384 w 55384"/>
                <a:gd name="connsiteY9" fmla="*/ 113846 h 132307"/>
                <a:gd name="connsiteX10" fmla="*/ 49230 w 55384"/>
                <a:gd name="connsiteY10" fmla="*/ 126154 h 132307"/>
                <a:gd name="connsiteX11" fmla="*/ 30769 w 55384"/>
                <a:gd name="connsiteY11" fmla="*/ 132308 h 1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384" h="132307">
                  <a:moveTo>
                    <a:pt x="30769" y="132308"/>
                  </a:moveTo>
                  <a:cubicBezTo>
                    <a:pt x="18461" y="132308"/>
                    <a:pt x="9230" y="129231"/>
                    <a:pt x="6154" y="129231"/>
                  </a:cubicBezTo>
                  <a:cubicBezTo>
                    <a:pt x="3076" y="129231"/>
                    <a:pt x="0" y="126154"/>
                    <a:pt x="0" y="123077"/>
                  </a:cubicBezTo>
                  <a:cubicBezTo>
                    <a:pt x="0" y="120000"/>
                    <a:pt x="3076" y="116923"/>
                    <a:pt x="6154" y="116923"/>
                  </a:cubicBezTo>
                  <a:cubicBezTo>
                    <a:pt x="18461" y="120000"/>
                    <a:pt x="40000" y="120000"/>
                    <a:pt x="46154" y="116923"/>
                  </a:cubicBezTo>
                  <a:cubicBezTo>
                    <a:pt x="46154" y="116923"/>
                    <a:pt x="46154" y="113846"/>
                    <a:pt x="46154" y="113846"/>
                  </a:cubicBezTo>
                  <a:cubicBezTo>
                    <a:pt x="46154" y="98461"/>
                    <a:pt x="24615" y="30769"/>
                    <a:pt x="18461" y="6154"/>
                  </a:cubicBezTo>
                  <a:cubicBezTo>
                    <a:pt x="18461" y="3077"/>
                    <a:pt x="18461" y="0"/>
                    <a:pt x="21539" y="0"/>
                  </a:cubicBezTo>
                  <a:cubicBezTo>
                    <a:pt x="24615" y="0"/>
                    <a:pt x="27693" y="0"/>
                    <a:pt x="27693" y="3077"/>
                  </a:cubicBezTo>
                  <a:cubicBezTo>
                    <a:pt x="27693" y="6154"/>
                    <a:pt x="55384" y="92308"/>
                    <a:pt x="55384" y="113846"/>
                  </a:cubicBezTo>
                  <a:cubicBezTo>
                    <a:pt x="55384" y="120000"/>
                    <a:pt x="52308" y="123077"/>
                    <a:pt x="49230" y="126154"/>
                  </a:cubicBezTo>
                  <a:cubicBezTo>
                    <a:pt x="49230" y="132308"/>
                    <a:pt x="40000" y="132308"/>
                    <a:pt x="30769" y="132308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75FE1B08-0FF3-430A-A417-60D331BD4296}"/>
                </a:ext>
              </a:extLst>
            </p:cNvPr>
            <p:cNvSpPr/>
            <p:nvPr/>
          </p:nvSpPr>
          <p:spPr>
            <a:xfrm>
              <a:off x="20900819" y="9153664"/>
              <a:ext cx="107692" cy="55384"/>
            </a:xfrm>
            <a:custGeom>
              <a:avLst/>
              <a:gdLst>
                <a:gd name="connsiteX0" fmla="*/ 0 w 107692"/>
                <a:gd name="connsiteY0" fmla="*/ 0 h 55384"/>
                <a:gd name="connsiteX1" fmla="*/ 107692 w 107692"/>
                <a:gd name="connsiteY1" fmla="*/ 0 h 55384"/>
                <a:gd name="connsiteX2" fmla="*/ 55386 w 107692"/>
                <a:gd name="connsiteY2" fmla="*/ 55385 h 55384"/>
                <a:gd name="connsiteX3" fmla="*/ 0 w 107692"/>
                <a:gd name="connsiteY3" fmla="*/ 0 h 55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92" h="55384">
                  <a:moveTo>
                    <a:pt x="0" y="0"/>
                  </a:moveTo>
                  <a:cubicBezTo>
                    <a:pt x="55386" y="24615"/>
                    <a:pt x="107692" y="0"/>
                    <a:pt x="107692" y="0"/>
                  </a:cubicBezTo>
                  <a:cubicBezTo>
                    <a:pt x="107692" y="0"/>
                    <a:pt x="92308" y="55385"/>
                    <a:pt x="55386" y="55385"/>
                  </a:cubicBezTo>
                  <a:cubicBezTo>
                    <a:pt x="12308" y="52308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9699ECCA-C9DD-4448-BD51-63F1383BCD6E}"/>
                </a:ext>
              </a:extLst>
            </p:cNvPr>
            <p:cNvSpPr/>
            <p:nvPr/>
          </p:nvSpPr>
          <p:spPr>
            <a:xfrm>
              <a:off x="21020216" y="8940572"/>
              <a:ext cx="41387" cy="41387"/>
            </a:xfrm>
            <a:custGeom>
              <a:avLst/>
              <a:gdLst>
                <a:gd name="connsiteX0" fmla="*/ 603 w 41387"/>
                <a:gd name="connsiteY0" fmla="*/ 25399 h 41387"/>
                <a:gd name="connsiteX1" fmla="*/ 25218 w 41387"/>
                <a:gd name="connsiteY1" fmla="*/ 40784 h 41387"/>
                <a:gd name="connsiteX2" fmla="*/ 40603 w 41387"/>
                <a:gd name="connsiteY2" fmla="*/ 16169 h 41387"/>
                <a:gd name="connsiteX3" fmla="*/ 15988 w 41387"/>
                <a:gd name="connsiteY3" fmla="*/ 784 h 41387"/>
                <a:gd name="connsiteX4" fmla="*/ 603 w 41387"/>
                <a:gd name="connsiteY4" fmla="*/ 25399 h 4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387">
                  <a:moveTo>
                    <a:pt x="603" y="25399"/>
                  </a:moveTo>
                  <a:cubicBezTo>
                    <a:pt x="3679" y="34630"/>
                    <a:pt x="12912" y="43861"/>
                    <a:pt x="25218" y="40784"/>
                  </a:cubicBezTo>
                  <a:cubicBezTo>
                    <a:pt x="37527" y="37707"/>
                    <a:pt x="43681" y="28477"/>
                    <a:pt x="40603" y="16169"/>
                  </a:cubicBezTo>
                  <a:cubicBezTo>
                    <a:pt x="37527" y="3861"/>
                    <a:pt x="28296" y="-2293"/>
                    <a:pt x="15988" y="784"/>
                  </a:cubicBezTo>
                  <a:cubicBezTo>
                    <a:pt x="6758" y="3861"/>
                    <a:pt x="-2473" y="13092"/>
                    <a:pt x="603" y="25399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520D59DD-A6D0-4107-A224-806755A55F90}"/>
                </a:ext>
              </a:extLst>
            </p:cNvPr>
            <p:cNvSpPr/>
            <p:nvPr/>
          </p:nvSpPr>
          <p:spPr>
            <a:xfrm>
              <a:off x="20829266" y="8946726"/>
              <a:ext cx="41567" cy="41387"/>
            </a:xfrm>
            <a:custGeom>
              <a:avLst/>
              <a:gdLst>
                <a:gd name="connsiteX0" fmla="*/ 784 w 41567"/>
                <a:gd name="connsiteY0" fmla="*/ 25399 h 41387"/>
                <a:gd name="connsiteX1" fmla="*/ 25399 w 41567"/>
                <a:gd name="connsiteY1" fmla="*/ 40784 h 41387"/>
                <a:gd name="connsiteX2" fmla="*/ 40783 w 41567"/>
                <a:gd name="connsiteY2" fmla="*/ 16169 h 41387"/>
                <a:gd name="connsiteX3" fmla="*/ 16168 w 41567"/>
                <a:gd name="connsiteY3" fmla="*/ 784 h 41387"/>
                <a:gd name="connsiteX4" fmla="*/ 784 w 41567"/>
                <a:gd name="connsiteY4" fmla="*/ 25399 h 4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67" h="41387">
                  <a:moveTo>
                    <a:pt x="784" y="25399"/>
                  </a:moveTo>
                  <a:cubicBezTo>
                    <a:pt x="3862" y="34630"/>
                    <a:pt x="13092" y="43861"/>
                    <a:pt x="25399" y="40784"/>
                  </a:cubicBezTo>
                  <a:cubicBezTo>
                    <a:pt x="37707" y="37707"/>
                    <a:pt x="43861" y="28476"/>
                    <a:pt x="40783" y="16169"/>
                  </a:cubicBezTo>
                  <a:cubicBezTo>
                    <a:pt x="37707" y="3861"/>
                    <a:pt x="28477" y="-2293"/>
                    <a:pt x="16168" y="784"/>
                  </a:cubicBezTo>
                  <a:cubicBezTo>
                    <a:pt x="3862" y="3861"/>
                    <a:pt x="-2292" y="13092"/>
                    <a:pt x="784" y="25399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4F59AE6E-86EB-4095-9786-BCE0B2BA5515}"/>
                </a:ext>
              </a:extLst>
            </p:cNvPr>
            <p:cNvSpPr/>
            <p:nvPr/>
          </p:nvSpPr>
          <p:spPr>
            <a:xfrm>
              <a:off x="20994929" y="8895564"/>
              <a:ext cx="92813" cy="33484"/>
            </a:xfrm>
            <a:custGeom>
              <a:avLst/>
              <a:gdLst>
                <a:gd name="connsiteX0" fmla="*/ 84352 w 92813"/>
                <a:gd name="connsiteY0" fmla="*/ 30407 h 33484"/>
                <a:gd name="connsiteX1" fmla="*/ 78198 w 92813"/>
                <a:gd name="connsiteY1" fmla="*/ 27330 h 33484"/>
                <a:gd name="connsiteX2" fmla="*/ 10505 w 92813"/>
                <a:gd name="connsiteY2" fmla="*/ 21177 h 33484"/>
                <a:gd name="connsiteX3" fmla="*/ 1275 w 92813"/>
                <a:gd name="connsiteY3" fmla="*/ 18099 h 33484"/>
                <a:gd name="connsiteX4" fmla="*/ 4351 w 92813"/>
                <a:gd name="connsiteY4" fmla="*/ 8869 h 33484"/>
                <a:gd name="connsiteX5" fmla="*/ 90505 w 92813"/>
                <a:gd name="connsiteY5" fmla="*/ 21177 h 33484"/>
                <a:gd name="connsiteX6" fmla="*/ 90505 w 92813"/>
                <a:gd name="connsiteY6" fmla="*/ 33484 h 33484"/>
                <a:gd name="connsiteX7" fmla="*/ 84352 w 92813"/>
                <a:gd name="connsiteY7" fmla="*/ 30407 h 33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3484">
                  <a:moveTo>
                    <a:pt x="84352" y="30407"/>
                  </a:moveTo>
                  <a:cubicBezTo>
                    <a:pt x="81274" y="30407"/>
                    <a:pt x="81274" y="30407"/>
                    <a:pt x="78198" y="27330"/>
                  </a:cubicBezTo>
                  <a:cubicBezTo>
                    <a:pt x="53583" y="-362"/>
                    <a:pt x="10505" y="21177"/>
                    <a:pt x="10505" y="21177"/>
                  </a:cubicBezTo>
                  <a:cubicBezTo>
                    <a:pt x="7429" y="24253"/>
                    <a:pt x="1275" y="21177"/>
                    <a:pt x="1275" y="18099"/>
                  </a:cubicBezTo>
                  <a:cubicBezTo>
                    <a:pt x="-1803" y="15022"/>
                    <a:pt x="1275" y="8869"/>
                    <a:pt x="4351" y="8869"/>
                  </a:cubicBezTo>
                  <a:cubicBezTo>
                    <a:pt x="22814" y="-362"/>
                    <a:pt x="62813" y="-9593"/>
                    <a:pt x="90505" y="21177"/>
                  </a:cubicBezTo>
                  <a:cubicBezTo>
                    <a:pt x="93583" y="24253"/>
                    <a:pt x="93583" y="30407"/>
                    <a:pt x="90505" y="33484"/>
                  </a:cubicBezTo>
                  <a:cubicBezTo>
                    <a:pt x="87428" y="30407"/>
                    <a:pt x="84352" y="30407"/>
                    <a:pt x="84352" y="30407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AC0C149C-841D-42C3-B29A-8EA52BC6C173}"/>
                </a:ext>
              </a:extLst>
            </p:cNvPr>
            <p:cNvSpPr/>
            <p:nvPr/>
          </p:nvSpPr>
          <p:spPr>
            <a:xfrm>
              <a:off x="20803128" y="8890074"/>
              <a:ext cx="92812" cy="35897"/>
            </a:xfrm>
            <a:custGeom>
              <a:avLst/>
              <a:gdLst>
                <a:gd name="connsiteX0" fmla="*/ 8461 w 92812"/>
                <a:gd name="connsiteY0" fmla="*/ 35897 h 35897"/>
                <a:gd name="connsiteX1" fmla="*/ 2307 w 92812"/>
                <a:gd name="connsiteY1" fmla="*/ 32821 h 35897"/>
                <a:gd name="connsiteX2" fmla="*/ 2307 w 92812"/>
                <a:gd name="connsiteY2" fmla="*/ 20513 h 35897"/>
                <a:gd name="connsiteX3" fmla="*/ 88461 w 92812"/>
                <a:gd name="connsiteY3" fmla="*/ 11282 h 35897"/>
                <a:gd name="connsiteX4" fmla="*/ 91539 w 92812"/>
                <a:gd name="connsiteY4" fmla="*/ 23590 h 35897"/>
                <a:gd name="connsiteX5" fmla="*/ 79230 w 92812"/>
                <a:gd name="connsiteY5" fmla="*/ 26667 h 35897"/>
                <a:gd name="connsiteX6" fmla="*/ 11538 w 92812"/>
                <a:gd name="connsiteY6" fmla="*/ 32821 h 35897"/>
                <a:gd name="connsiteX7" fmla="*/ 8461 w 92812"/>
                <a:gd name="connsiteY7" fmla="*/ 35897 h 35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5897">
                  <a:moveTo>
                    <a:pt x="8461" y="35897"/>
                  </a:moveTo>
                  <a:cubicBezTo>
                    <a:pt x="5383" y="35897"/>
                    <a:pt x="5383" y="35897"/>
                    <a:pt x="2307" y="32821"/>
                  </a:cubicBezTo>
                  <a:cubicBezTo>
                    <a:pt x="-769" y="29743"/>
                    <a:pt x="-769" y="23590"/>
                    <a:pt x="2307" y="20513"/>
                  </a:cubicBezTo>
                  <a:cubicBezTo>
                    <a:pt x="14616" y="8205"/>
                    <a:pt x="51537" y="-13333"/>
                    <a:pt x="88461" y="11282"/>
                  </a:cubicBezTo>
                  <a:cubicBezTo>
                    <a:pt x="91539" y="14359"/>
                    <a:pt x="94615" y="17436"/>
                    <a:pt x="91539" y="23590"/>
                  </a:cubicBezTo>
                  <a:cubicBezTo>
                    <a:pt x="88461" y="26667"/>
                    <a:pt x="85384" y="29743"/>
                    <a:pt x="79230" y="26667"/>
                  </a:cubicBezTo>
                  <a:cubicBezTo>
                    <a:pt x="42307" y="2051"/>
                    <a:pt x="14616" y="32821"/>
                    <a:pt x="11538" y="32821"/>
                  </a:cubicBezTo>
                  <a:cubicBezTo>
                    <a:pt x="11538" y="35897"/>
                    <a:pt x="8461" y="35897"/>
                    <a:pt x="8461" y="35897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18C9C331-6E9F-4DDD-A87E-531E8A69AAD8}"/>
                </a:ext>
              </a:extLst>
            </p:cNvPr>
            <p:cNvSpPr/>
            <p:nvPr/>
          </p:nvSpPr>
          <p:spPr>
            <a:xfrm>
              <a:off x="20864863" y="8664756"/>
              <a:ext cx="279261" cy="261215"/>
            </a:xfrm>
            <a:custGeom>
              <a:avLst/>
              <a:gdLst>
                <a:gd name="connsiteX0" fmla="*/ 2110 w 279261"/>
                <a:gd name="connsiteY0" fmla="*/ 2754 h 261215"/>
                <a:gd name="connsiteX1" fmla="*/ 39034 w 279261"/>
                <a:gd name="connsiteY1" fmla="*/ 131985 h 261215"/>
                <a:gd name="connsiteX2" fmla="*/ 279033 w 279261"/>
                <a:gd name="connsiteY2" fmla="*/ 261215 h 261215"/>
                <a:gd name="connsiteX3" fmla="*/ 2110 w 279261"/>
                <a:gd name="connsiteY3" fmla="*/ 2754 h 26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261" h="261215">
                  <a:moveTo>
                    <a:pt x="2110" y="2754"/>
                  </a:moveTo>
                  <a:cubicBezTo>
                    <a:pt x="2110" y="2754"/>
                    <a:pt x="-13274" y="91985"/>
                    <a:pt x="39034" y="131985"/>
                  </a:cubicBezTo>
                  <a:cubicBezTo>
                    <a:pt x="39034" y="131985"/>
                    <a:pt x="251340" y="175062"/>
                    <a:pt x="279033" y="261215"/>
                  </a:cubicBezTo>
                  <a:cubicBezTo>
                    <a:pt x="279033" y="258139"/>
                    <a:pt x="297494" y="-31092"/>
                    <a:pt x="2110" y="2754"/>
                  </a:cubicBezTo>
                  <a:close/>
                </a:path>
              </a:pathLst>
            </a:custGeom>
            <a:solidFill>
              <a:srgbClr val="D3977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9E5EA804-8504-4188-9E53-1471132CAD3E}"/>
                </a:ext>
              </a:extLst>
            </p:cNvPr>
            <p:cNvSpPr/>
            <p:nvPr/>
          </p:nvSpPr>
          <p:spPr>
            <a:xfrm>
              <a:off x="20677572" y="8667510"/>
              <a:ext cx="226325" cy="317422"/>
            </a:xfrm>
            <a:custGeom>
              <a:avLst/>
              <a:gdLst>
                <a:gd name="connsiteX0" fmla="*/ 226325 w 226325"/>
                <a:gd name="connsiteY0" fmla="*/ 129231 h 317422"/>
                <a:gd name="connsiteX1" fmla="*/ 84786 w 226325"/>
                <a:gd name="connsiteY1" fmla="*/ 184615 h 317422"/>
                <a:gd name="connsiteX2" fmla="*/ 26325 w 226325"/>
                <a:gd name="connsiteY2" fmla="*/ 304615 h 317422"/>
                <a:gd name="connsiteX3" fmla="*/ 1710 w 226325"/>
                <a:gd name="connsiteY3" fmla="*/ 301539 h 317422"/>
                <a:gd name="connsiteX4" fmla="*/ 192478 w 226325"/>
                <a:gd name="connsiteY4" fmla="*/ 0 h 317422"/>
                <a:gd name="connsiteX5" fmla="*/ 226325 w 226325"/>
                <a:gd name="connsiteY5" fmla="*/ 129231 h 317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6325" h="317422">
                  <a:moveTo>
                    <a:pt x="226325" y="129231"/>
                  </a:moveTo>
                  <a:cubicBezTo>
                    <a:pt x="226325" y="129231"/>
                    <a:pt x="134017" y="178462"/>
                    <a:pt x="84786" y="184615"/>
                  </a:cubicBezTo>
                  <a:cubicBezTo>
                    <a:pt x="32479" y="190769"/>
                    <a:pt x="26325" y="304615"/>
                    <a:pt x="26325" y="304615"/>
                  </a:cubicBezTo>
                  <a:cubicBezTo>
                    <a:pt x="26325" y="304615"/>
                    <a:pt x="4786" y="335384"/>
                    <a:pt x="1710" y="301539"/>
                  </a:cubicBezTo>
                  <a:cubicBezTo>
                    <a:pt x="-4444" y="221538"/>
                    <a:pt x="-4444" y="21538"/>
                    <a:pt x="192478" y="0"/>
                  </a:cubicBezTo>
                  <a:cubicBezTo>
                    <a:pt x="189402" y="0"/>
                    <a:pt x="201710" y="123077"/>
                    <a:pt x="226325" y="129231"/>
                  </a:cubicBezTo>
                  <a:close/>
                </a:path>
              </a:pathLst>
            </a:custGeom>
            <a:solidFill>
              <a:srgbClr val="D3977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1145CA5D-FE26-4A67-8EC1-8821369DDDA6}"/>
                </a:ext>
              </a:extLst>
            </p:cNvPr>
            <p:cNvSpPr/>
            <p:nvPr/>
          </p:nvSpPr>
          <p:spPr>
            <a:xfrm>
              <a:off x="20756205" y="8713664"/>
              <a:ext cx="158289" cy="141538"/>
            </a:xfrm>
            <a:custGeom>
              <a:avLst/>
              <a:gdLst>
                <a:gd name="connsiteX0" fmla="*/ 6152 w 158289"/>
                <a:gd name="connsiteY0" fmla="*/ 141539 h 141538"/>
                <a:gd name="connsiteX1" fmla="*/ 0 w 158289"/>
                <a:gd name="connsiteY1" fmla="*/ 135384 h 141538"/>
                <a:gd name="connsiteX2" fmla="*/ 6152 w 158289"/>
                <a:gd name="connsiteY2" fmla="*/ 129231 h 141538"/>
                <a:gd name="connsiteX3" fmla="*/ 101538 w 158289"/>
                <a:gd name="connsiteY3" fmla="*/ 98461 h 141538"/>
                <a:gd name="connsiteX4" fmla="*/ 141538 w 158289"/>
                <a:gd name="connsiteY4" fmla="*/ 76923 h 141538"/>
                <a:gd name="connsiteX5" fmla="*/ 116923 w 158289"/>
                <a:gd name="connsiteY5" fmla="*/ 6154 h 141538"/>
                <a:gd name="connsiteX6" fmla="*/ 123077 w 158289"/>
                <a:gd name="connsiteY6" fmla="*/ 0 h 141538"/>
                <a:gd name="connsiteX7" fmla="*/ 129229 w 158289"/>
                <a:gd name="connsiteY7" fmla="*/ 6154 h 141538"/>
                <a:gd name="connsiteX8" fmla="*/ 156922 w 158289"/>
                <a:gd name="connsiteY8" fmla="*/ 76923 h 141538"/>
                <a:gd name="connsiteX9" fmla="*/ 156922 w 158289"/>
                <a:gd name="connsiteY9" fmla="*/ 83077 h 141538"/>
                <a:gd name="connsiteX10" fmla="*/ 153846 w 158289"/>
                <a:gd name="connsiteY10" fmla="*/ 86154 h 141538"/>
                <a:gd name="connsiteX11" fmla="*/ 107692 w 158289"/>
                <a:gd name="connsiteY11" fmla="*/ 110769 h 141538"/>
                <a:gd name="connsiteX12" fmla="*/ 6152 w 158289"/>
                <a:gd name="connsiteY12" fmla="*/ 141539 h 141538"/>
                <a:gd name="connsiteX13" fmla="*/ 6152 w 158289"/>
                <a:gd name="connsiteY13" fmla="*/ 141539 h 14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8289" h="141538">
                  <a:moveTo>
                    <a:pt x="6152" y="141539"/>
                  </a:moveTo>
                  <a:cubicBezTo>
                    <a:pt x="3076" y="141539"/>
                    <a:pt x="0" y="138462"/>
                    <a:pt x="0" y="135384"/>
                  </a:cubicBezTo>
                  <a:cubicBezTo>
                    <a:pt x="0" y="132308"/>
                    <a:pt x="3076" y="129231"/>
                    <a:pt x="6152" y="129231"/>
                  </a:cubicBezTo>
                  <a:cubicBezTo>
                    <a:pt x="33845" y="126154"/>
                    <a:pt x="67691" y="113846"/>
                    <a:pt x="101538" y="98461"/>
                  </a:cubicBezTo>
                  <a:cubicBezTo>
                    <a:pt x="119999" y="89231"/>
                    <a:pt x="132307" y="83077"/>
                    <a:pt x="141538" y="76923"/>
                  </a:cubicBezTo>
                  <a:cubicBezTo>
                    <a:pt x="132307" y="61538"/>
                    <a:pt x="116923" y="27692"/>
                    <a:pt x="116923" y="6154"/>
                  </a:cubicBezTo>
                  <a:cubicBezTo>
                    <a:pt x="116923" y="3077"/>
                    <a:pt x="119999" y="0"/>
                    <a:pt x="123077" y="0"/>
                  </a:cubicBezTo>
                  <a:cubicBezTo>
                    <a:pt x="126153" y="0"/>
                    <a:pt x="129229" y="3077"/>
                    <a:pt x="129229" y="6154"/>
                  </a:cubicBezTo>
                  <a:cubicBezTo>
                    <a:pt x="132307" y="30769"/>
                    <a:pt x="150768" y="70769"/>
                    <a:pt x="156922" y="76923"/>
                  </a:cubicBezTo>
                  <a:cubicBezTo>
                    <a:pt x="156922" y="76923"/>
                    <a:pt x="159999" y="80000"/>
                    <a:pt x="156922" y="83077"/>
                  </a:cubicBezTo>
                  <a:cubicBezTo>
                    <a:pt x="156922" y="86154"/>
                    <a:pt x="156922" y="86154"/>
                    <a:pt x="153846" y="86154"/>
                  </a:cubicBezTo>
                  <a:cubicBezTo>
                    <a:pt x="153846" y="86154"/>
                    <a:pt x="135383" y="98461"/>
                    <a:pt x="107692" y="110769"/>
                  </a:cubicBezTo>
                  <a:cubicBezTo>
                    <a:pt x="67691" y="126154"/>
                    <a:pt x="33845" y="138462"/>
                    <a:pt x="6152" y="141539"/>
                  </a:cubicBezTo>
                  <a:cubicBezTo>
                    <a:pt x="6152" y="141539"/>
                    <a:pt x="6152" y="141539"/>
                    <a:pt x="6152" y="141539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E944BAE7-09B6-47A0-A6BA-51015B951A9F}"/>
                </a:ext>
              </a:extLst>
            </p:cNvPr>
            <p:cNvSpPr/>
            <p:nvPr/>
          </p:nvSpPr>
          <p:spPr>
            <a:xfrm>
              <a:off x="20762357" y="9159818"/>
              <a:ext cx="310770" cy="226381"/>
            </a:xfrm>
            <a:custGeom>
              <a:avLst/>
              <a:gdLst>
                <a:gd name="connsiteX0" fmla="*/ 255386 w 310770"/>
                <a:gd name="connsiteY0" fmla="*/ 61538 h 226381"/>
                <a:gd name="connsiteX1" fmla="*/ 310770 w 310770"/>
                <a:gd name="connsiteY1" fmla="*/ 203077 h 226381"/>
                <a:gd name="connsiteX2" fmla="*/ 0 w 310770"/>
                <a:gd name="connsiteY2" fmla="*/ 187693 h 226381"/>
                <a:gd name="connsiteX3" fmla="*/ 52308 w 310770"/>
                <a:gd name="connsiteY3" fmla="*/ 0 h 226381"/>
                <a:gd name="connsiteX4" fmla="*/ 255386 w 310770"/>
                <a:gd name="connsiteY4" fmla="*/ 61538 h 226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770" h="226381">
                  <a:moveTo>
                    <a:pt x="255386" y="61538"/>
                  </a:moveTo>
                  <a:cubicBezTo>
                    <a:pt x="255386" y="61538"/>
                    <a:pt x="249232" y="172308"/>
                    <a:pt x="310770" y="203077"/>
                  </a:cubicBezTo>
                  <a:cubicBezTo>
                    <a:pt x="310770" y="203077"/>
                    <a:pt x="129231" y="264616"/>
                    <a:pt x="0" y="187693"/>
                  </a:cubicBezTo>
                  <a:cubicBezTo>
                    <a:pt x="55386" y="144615"/>
                    <a:pt x="52308" y="61538"/>
                    <a:pt x="52308" y="0"/>
                  </a:cubicBezTo>
                  <a:cubicBezTo>
                    <a:pt x="49232" y="0"/>
                    <a:pt x="200000" y="67692"/>
                    <a:pt x="255386" y="61538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78940F03-0BC1-4F8A-B302-FD04930BE86D}"/>
                </a:ext>
              </a:extLst>
            </p:cNvPr>
            <p:cNvSpPr/>
            <p:nvPr/>
          </p:nvSpPr>
          <p:spPr>
            <a:xfrm>
              <a:off x="20802359" y="9196740"/>
              <a:ext cx="223845" cy="80000"/>
            </a:xfrm>
            <a:custGeom>
              <a:avLst/>
              <a:gdLst>
                <a:gd name="connsiteX0" fmla="*/ 150768 w 223845"/>
                <a:gd name="connsiteY0" fmla="*/ 80000 h 80000"/>
                <a:gd name="connsiteX1" fmla="*/ 141538 w 223845"/>
                <a:gd name="connsiteY1" fmla="*/ 80000 h 80000"/>
                <a:gd name="connsiteX2" fmla="*/ 3076 w 223845"/>
                <a:gd name="connsiteY2" fmla="*/ 12308 h 80000"/>
                <a:gd name="connsiteX3" fmla="*/ 0 w 223845"/>
                <a:gd name="connsiteY3" fmla="*/ 3077 h 80000"/>
                <a:gd name="connsiteX4" fmla="*/ 9230 w 223845"/>
                <a:gd name="connsiteY4" fmla="*/ 0 h 80000"/>
                <a:gd name="connsiteX5" fmla="*/ 141538 w 223845"/>
                <a:gd name="connsiteY5" fmla="*/ 67692 h 80000"/>
                <a:gd name="connsiteX6" fmla="*/ 212307 w 223845"/>
                <a:gd name="connsiteY6" fmla="*/ 43077 h 80000"/>
                <a:gd name="connsiteX7" fmla="*/ 221537 w 223845"/>
                <a:gd name="connsiteY7" fmla="*/ 43077 h 80000"/>
                <a:gd name="connsiteX8" fmla="*/ 221537 w 223845"/>
                <a:gd name="connsiteY8" fmla="*/ 52308 h 80000"/>
                <a:gd name="connsiteX9" fmla="*/ 150768 w 223845"/>
                <a:gd name="connsiteY9" fmla="*/ 80000 h 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845" h="80000">
                  <a:moveTo>
                    <a:pt x="150768" y="80000"/>
                  </a:moveTo>
                  <a:cubicBezTo>
                    <a:pt x="147692" y="80000"/>
                    <a:pt x="144614" y="80000"/>
                    <a:pt x="141538" y="80000"/>
                  </a:cubicBezTo>
                  <a:cubicBezTo>
                    <a:pt x="98460" y="73846"/>
                    <a:pt x="6152" y="12308"/>
                    <a:pt x="3076" y="12308"/>
                  </a:cubicBezTo>
                  <a:cubicBezTo>
                    <a:pt x="0" y="9231"/>
                    <a:pt x="0" y="6154"/>
                    <a:pt x="0" y="3077"/>
                  </a:cubicBezTo>
                  <a:cubicBezTo>
                    <a:pt x="3076" y="0"/>
                    <a:pt x="6152" y="0"/>
                    <a:pt x="9230" y="0"/>
                  </a:cubicBezTo>
                  <a:cubicBezTo>
                    <a:pt x="9230" y="0"/>
                    <a:pt x="104614" y="61538"/>
                    <a:pt x="141538" y="67692"/>
                  </a:cubicBezTo>
                  <a:cubicBezTo>
                    <a:pt x="178461" y="73846"/>
                    <a:pt x="212307" y="43077"/>
                    <a:pt x="212307" y="43077"/>
                  </a:cubicBezTo>
                  <a:cubicBezTo>
                    <a:pt x="215385" y="40000"/>
                    <a:pt x="218461" y="40000"/>
                    <a:pt x="221537" y="43077"/>
                  </a:cubicBezTo>
                  <a:cubicBezTo>
                    <a:pt x="224615" y="46154"/>
                    <a:pt x="224615" y="49231"/>
                    <a:pt x="221537" y="52308"/>
                  </a:cubicBezTo>
                  <a:cubicBezTo>
                    <a:pt x="218461" y="52308"/>
                    <a:pt x="187692" y="80000"/>
                    <a:pt x="150768" y="80000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D89027BE-EBD8-4960-8A52-0BFFE3DAE798}"/>
                </a:ext>
              </a:extLst>
            </p:cNvPr>
            <p:cNvSpPr/>
            <p:nvPr/>
          </p:nvSpPr>
          <p:spPr>
            <a:xfrm>
              <a:off x="20826974" y="9886167"/>
              <a:ext cx="404351" cy="36727"/>
            </a:xfrm>
            <a:custGeom>
              <a:avLst/>
              <a:gdLst>
                <a:gd name="connsiteX0" fmla="*/ 400000 w 404351"/>
                <a:gd name="connsiteY0" fmla="*/ 36727 h 36727"/>
                <a:gd name="connsiteX1" fmla="*/ 400000 w 404351"/>
                <a:gd name="connsiteY1" fmla="*/ 36727 h 36727"/>
                <a:gd name="connsiteX2" fmla="*/ 6154 w 404351"/>
                <a:gd name="connsiteY2" fmla="*/ 24419 h 36727"/>
                <a:gd name="connsiteX3" fmla="*/ 0 w 404351"/>
                <a:gd name="connsiteY3" fmla="*/ 21343 h 36727"/>
                <a:gd name="connsiteX4" fmla="*/ 3076 w 404351"/>
                <a:gd name="connsiteY4" fmla="*/ 15189 h 36727"/>
                <a:gd name="connsiteX5" fmla="*/ 400000 w 404351"/>
                <a:gd name="connsiteY5" fmla="*/ 27496 h 36727"/>
                <a:gd name="connsiteX6" fmla="*/ 403076 w 404351"/>
                <a:gd name="connsiteY6" fmla="*/ 33650 h 36727"/>
                <a:gd name="connsiteX7" fmla="*/ 400000 w 404351"/>
                <a:gd name="connsiteY7" fmla="*/ 36727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351" h="36727">
                  <a:moveTo>
                    <a:pt x="400000" y="36727"/>
                  </a:moveTo>
                  <a:cubicBezTo>
                    <a:pt x="400000" y="36727"/>
                    <a:pt x="400000" y="36727"/>
                    <a:pt x="400000" y="36727"/>
                  </a:cubicBezTo>
                  <a:cubicBezTo>
                    <a:pt x="313847" y="5958"/>
                    <a:pt x="107692" y="-196"/>
                    <a:pt x="6154" y="24419"/>
                  </a:cubicBezTo>
                  <a:cubicBezTo>
                    <a:pt x="3076" y="24419"/>
                    <a:pt x="0" y="24419"/>
                    <a:pt x="0" y="21343"/>
                  </a:cubicBezTo>
                  <a:cubicBezTo>
                    <a:pt x="0" y="18266"/>
                    <a:pt x="0" y="15189"/>
                    <a:pt x="3076" y="15189"/>
                  </a:cubicBezTo>
                  <a:cubicBezTo>
                    <a:pt x="104614" y="-9427"/>
                    <a:pt x="313847" y="-3273"/>
                    <a:pt x="400000" y="27496"/>
                  </a:cubicBezTo>
                  <a:cubicBezTo>
                    <a:pt x="403076" y="27496"/>
                    <a:pt x="403076" y="30574"/>
                    <a:pt x="403076" y="33650"/>
                  </a:cubicBezTo>
                  <a:cubicBezTo>
                    <a:pt x="406154" y="33650"/>
                    <a:pt x="403076" y="36727"/>
                    <a:pt x="400000" y="36727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9FA4CBB7-8153-42AE-B000-18165F96A5DB}"/>
                </a:ext>
              </a:extLst>
            </p:cNvPr>
            <p:cNvSpPr/>
            <p:nvPr/>
          </p:nvSpPr>
          <p:spPr>
            <a:xfrm>
              <a:off x="20734666" y="9347510"/>
              <a:ext cx="363076" cy="64615"/>
            </a:xfrm>
            <a:custGeom>
              <a:avLst/>
              <a:gdLst>
                <a:gd name="connsiteX0" fmla="*/ 326153 w 363076"/>
                <a:gd name="connsiteY0" fmla="*/ 9230 h 64615"/>
                <a:gd name="connsiteX1" fmla="*/ 24615 w 363076"/>
                <a:gd name="connsiteY1" fmla="*/ 0 h 64615"/>
                <a:gd name="connsiteX2" fmla="*/ 0 w 363076"/>
                <a:gd name="connsiteY2" fmla="*/ 9230 h 64615"/>
                <a:gd name="connsiteX3" fmla="*/ 190770 w 363076"/>
                <a:gd name="connsiteY3" fmla="*/ 64615 h 64615"/>
                <a:gd name="connsiteX4" fmla="*/ 363077 w 363076"/>
                <a:gd name="connsiteY4" fmla="*/ 15385 h 64615"/>
                <a:gd name="connsiteX5" fmla="*/ 326153 w 363076"/>
                <a:gd name="connsiteY5" fmla="*/ 9230 h 6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076" h="64615">
                  <a:moveTo>
                    <a:pt x="326153" y="9230"/>
                  </a:moveTo>
                  <a:cubicBezTo>
                    <a:pt x="326153" y="9230"/>
                    <a:pt x="212307" y="67692"/>
                    <a:pt x="24615" y="0"/>
                  </a:cubicBezTo>
                  <a:lnTo>
                    <a:pt x="0" y="9230"/>
                  </a:lnTo>
                  <a:cubicBezTo>
                    <a:pt x="0" y="9230"/>
                    <a:pt x="79999" y="64615"/>
                    <a:pt x="190770" y="64615"/>
                  </a:cubicBezTo>
                  <a:cubicBezTo>
                    <a:pt x="295384" y="64615"/>
                    <a:pt x="363077" y="15385"/>
                    <a:pt x="363077" y="15385"/>
                  </a:cubicBezTo>
                  <a:cubicBezTo>
                    <a:pt x="363077" y="15385"/>
                    <a:pt x="347692" y="9230"/>
                    <a:pt x="326153" y="9230"/>
                  </a:cubicBezTo>
                  <a:close/>
                </a:path>
              </a:pathLst>
            </a:custGeom>
            <a:solidFill>
              <a:srgbClr val="F1DDBA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19DDA4E9-FAD9-40DB-B9B0-E0534422A4B1}"/>
                </a:ext>
              </a:extLst>
            </p:cNvPr>
            <p:cNvSpPr/>
            <p:nvPr/>
          </p:nvSpPr>
          <p:spPr>
            <a:xfrm>
              <a:off x="20662520" y="8955242"/>
              <a:ext cx="78299" cy="115101"/>
            </a:xfrm>
            <a:custGeom>
              <a:avLst/>
              <a:gdLst>
                <a:gd name="connsiteX0" fmla="*/ 65992 w 78299"/>
                <a:gd name="connsiteY0" fmla="*/ 16883 h 115101"/>
                <a:gd name="connsiteX1" fmla="*/ 7529 w 78299"/>
                <a:gd name="connsiteY1" fmla="*/ 7652 h 115101"/>
                <a:gd name="connsiteX2" fmla="*/ 65992 w 78299"/>
                <a:gd name="connsiteY2" fmla="*/ 112268 h 115101"/>
                <a:gd name="connsiteX3" fmla="*/ 65992 w 78299"/>
                <a:gd name="connsiteY3" fmla="*/ 16883 h 115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99" h="115101">
                  <a:moveTo>
                    <a:pt x="65992" y="16883"/>
                  </a:moveTo>
                  <a:cubicBezTo>
                    <a:pt x="65992" y="16883"/>
                    <a:pt x="32146" y="-13886"/>
                    <a:pt x="7529" y="7652"/>
                  </a:cubicBezTo>
                  <a:cubicBezTo>
                    <a:pt x="-17086" y="26114"/>
                    <a:pt x="22914" y="133806"/>
                    <a:pt x="65992" y="112268"/>
                  </a:cubicBezTo>
                  <a:cubicBezTo>
                    <a:pt x="93685" y="93806"/>
                    <a:pt x="65992" y="16883"/>
                    <a:pt x="65992" y="16883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3055BA8E-B0E3-4492-8BD0-EE9FFCA4977E}"/>
                </a:ext>
              </a:extLst>
            </p:cNvPr>
            <p:cNvSpPr/>
            <p:nvPr/>
          </p:nvSpPr>
          <p:spPr>
            <a:xfrm>
              <a:off x="20896468" y="8784433"/>
              <a:ext cx="256658" cy="163077"/>
            </a:xfrm>
            <a:custGeom>
              <a:avLst/>
              <a:gdLst>
                <a:gd name="connsiteX0" fmla="*/ 247428 w 256658"/>
                <a:gd name="connsiteY0" fmla="*/ 163077 h 163077"/>
                <a:gd name="connsiteX1" fmla="*/ 241274 w 256658"/>
                <a:gd name="connsiteY1" fmla="*/ 156923 h 163077"/>
                <a:gd name="connsiteX2" fmla="*/ 139736 w 256658"/>
                <a:gd name="connsiteY2" fmla="*/ 58461 h 163077"/>
                <a:gd name="connsiteX3" fmla="*/ 4350 w 256658"/>
                <a:gd name="connsiteY3" fmla="*/ 12308 h 163077"/>
                <a:gd name="connsiteX4" fmla="*/ 1274 w 256658"/>
                <a:gd name="connsiteY4" fmla="*/ 3077 h 163077"/>
                <a:gd name="connsiteX5" fmla="*/ 10505 w 256658"/>
                <a:gd name="connsiteY5" fmla="*/ 0 h 163077"/>
                <a:gd name="connsiteX6" fmla="*/ 145890 w 256658"/>
                <a:gd name="connsiteY6" fmla="*/ 46154 h 163077"/>
                <a:gd name="connsiteX7" fmla="*/ 256658 w 256658"/>
                <a:gd name="connsiteY7" fmla="*/ 153846 h 163077"/>
                <a:gd name="connsiteX8" fmla="*/ 247428 w 256658"/>
                <a:gd name="connsiteY8" fmla="*/ 163077 h 163077"/>
                <a:gd name="connsiteX9" fmla="*/ 247428 w 256658"/>
                <a:gd name="connsiteY9" fmla="*/ 163077 h 16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6658" h="163077">
                  <a:moveTo>
                    <a:pt x="247428" y="163077"/>
                  </a:moveTo>
                  <a:cubicBezTo>
                    <a:pt x="244352" y="163077"/>
                    <a:pt x="241274" y="160000"/>
                    <a:pt x="241274" y="156923"/>
                  </a:cubicBezTo>
                  <a:cubicBezTo>
                    <a:pt x="232043" y="98461"/>
                    <a:pt x="192044" y="73846"/>
                    <a:pt x="139736" y="58461"/>
                  </a:cubicBezTo>
                  <a:cubicBezTo>
                    <a:pt x="72043" y="36923"/>
                    <a:pt x="4350" y="12308"/>
                    <a:pt x="4350" y="12308"/>
                  </a:cubicBezTo>
                  <a:cubicBezTo>
                    <a:pt x="1274" y="12308"/>
                    <a:pt x="-1802" y="6154"/>
                    <a:pt x="1274" y="3077"/>
                  </a:cubicBezTo>
                  <a:cubicBezTo>
                    <a:pt x="1274" y="0"/>
                    <a:pt x="7428" y="0"/>
                    <a:pt x="10505" y="0"/>
                  </a:cubicBezTo>
                  <a:cubicBezTo>
                    <a:pt x="10505" y="0"/>
                    <a:pt x="78197" y="24615"/>
                    <a:pt x="145890" y="46154"/>
                  </a:cubicBezTo>
                  <a:cubicBezTo>
                    <a:pt x="198198" y="61538"/>
                    <a:pt x="244352" y="86154"/>
                    <a:pt x="256658" y="153846"/>
                  </a:cubicBezTo>
                  <a:cubicBezTo>
                    <a:pt x="253582" y="160000"/>
                    <a:pt x="253582" y="163077"/>
                    <a:pt x="247428" y="163077"/>
                  </a:cubicBezTo>
                  <a:cubicBezTo>
                    <a:pt x="250504" y="163077"/>
                    <a:pt x="247428" y="163077"/>
                    <a:pt x="247428" y="163077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366C098E-87F7-4AFC-9A85-E38B15B0F81A}"/>
                </a:ext>
              </a:extLst>
            </p:cNvPr>
            <p:cNvSpPr/>
            <p:nvPr/>
          </p:nvSpPr>
          <p:spPr>
            <a:xfrm>
              <a:off x="20360648" y="9341356"/>
              <a:ext cx="594513" cy="2203077"/>
            </a:xfrm>
            <a:custGeom>
              <a:avLst/>
              <a:gdLst>
                <a:gd name="connsiteX0" fmla="*/ 404787 w 594513"/>
                <a:gd name="connsiteY0" fmla="*/ 0 h 2203077"/>
                <a:gd name="connsiteX1" fmla="*/ 140171 w 594513"/>
                <a:gd name="connsiteY1" fmla="*/ 120000 h 2203077"/>
                <a:gd name="connsiteX2" fmla="*/ 140171 w 594513"/>
                <a:gd name="connsiteY2" fmla="*/ 393846 h 2203077"/>
                <a:gd name="connsiteX3" fmla="*/ 158633 w 594513"/>
                <a:gd name="connsiteY3" fmla="*/ 864616 h 2203077"/>
                <a:gd name="connsiteX4" fmla="*/ 23248 w 594513"/>
                <a:gd name="connsiteY4" fmla="*/ 1341539 h 2203077"/>
                <a:gd name="connsiteX5" fmla="*/ 23248 w 594513"/>
                <a:gd name="connsiteY5" fmla="*/ 2203077 h 2203077"/>
                <a:gd name="connsiteX6" fmla="*/ 460171 w 594513"/>
                <a:gd name="connsiteY6" fmla="*/ 2203077 h 2203077"/>
                <a:gd name="connsiteX7" fmla="*/ 518634 w 594513"/>
                <a:gd name="connsiteY7" fmla="*/ 1043077 h 2203077"/>
                <a:gd name="connsiteX8" fmla="*/ 570940 w 594513"/>
                <a:gd name="connsiteY8" fmla="*/ 307692 h 2203077"/>
                <a:gd name="connsiteX9" fmla="*/ 404787 w 594513"/>
                <a:gd name="connsiteY9" fmla="*/ 0 h 220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513" h="2203077">
                  <a:moveTo>
                    <a:pt x="404787" y="0"/>
                  </a:moveTo>
                  <a:cubicBezTo>
                    <a:pt x="324786" y="9231"/>
                    <a:pt x="192479" y="46154"/>
                    <a:pt x="140171" y="120000"/>
                  </a:cubicBezTo>
                  <a:cubicBezTo>
                    <a:pt x="78632" y="206154"/>
                    <a:pt x="115556" y="301539"/>
                    <a:pt x="140171" y="393846"/>
                  </a:cubicBezTo>
                  <a:cubicBezTo>
                    <a:pt x="183248" y="550770"/>
                    <a:pt x="192479" y="707692"/>
                    <a:pt x="158633" y="864616"/>
                  </a:cubicBezTo>
                  <a:cubicBezTo>
                    <a:pt x="130940" y="1006154"/>
                    <a:pt x="60171" y="1178462"/>
                    <a:pt x="23248" y="1341539"/>
                  </a:cubicBezTo>
                  <a:cubicBezTo>
                    <a:pt x="-29060" y="1569231"/>
                    <a:pt x="23248" y="2203077"/>
                    <a:pt x="23248" y="2203077"/>
                  </a:cubicBezTo>
                  <a:lnTo>
                    <a:pt x="460171" y="2203077"/>
                  </a:lnTo>
                  <a:cubicBezTo>
                    <a:pt x="460171" y="2203077"/>
                    <a:pt x="484787" y="1240001"/>
                    <a:pt x="518634" y="1043077"/>
                  </a:cubicBezTo>
                  <a:cubicBezTo>
                    <a:pt x="558633" y="800000"/>
                    <a:pt x="632478" y="547692"/>
                    <a:pt x="570940" y="307692"/>
                  </a:cubicBezTo>
                  <a:cubicBezTo>
                    <a:pt x="549403" y="206154"/>
                    <a:pt x="414018" y="0"/>
                    <a:pt x="404787" y="0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6A7BC54E-3957-4871-B45A-8DD4AEBD3835}"/>
                </a:ext>
              </a:extLst>
            </p:cNvPr>
            <p:cNvSpPr/>
            <p:nvPr/>
          </p:nvSpPr>
          <p:spPr>
            <a:xfrm>
              <a:off x="21039280" y="9347510"/>
              <a:ext cx="368595" cy="2193845"/>
            </a:xfrm>
            <a:custGeom>
              <a:avLst/>
              <a:gdLst>
                <a:gd name="connsiteX0" fmla="*/ 338462 w 368595"/>
                <a:gd name="connsiteY0" fmla="*/ 495384 h 2193845"/>
                <a:gd name="connsiteX1" fmla="*/ 307692 w 368595"/>
                <a:gd name="connsiteY1" fmla="*/ 729231 h 2193845"/>
                <a:gd name="connsiteX2" fmla="*/ 310770 w 368595"/>
                <a:gd name="connsiteY2" fmla="*/ 963077 h 2193845"/>
                <a:gd name="connsiteX3" fmla="*/ 320001 w 368595"/>
                <a:gd name="connsiteY3" fmla="*/ 1116923 h 2193845"/>
                <a:gd name="connsiteX4" fmla="*/ 366155 w 368595"/>
                <a:gd name="connsiteY4" fmla="*/ 2193846 h 2193845"/>
                <a:gd name="connsiteX5" fmla="*/ 212308 w 368595"/>
                <a:gd name="connsiteY5" fmla="*/ 2193846 h 2193845"/>
                <a:gd name="connsiteX6" fmla="*/ 215385 w 368595"/>
                <a:gd name="connsiteY6" fmla="*/ 1089231 h 2193845"/>
                <a:gd name="connsiteX7" fmla="*/ 196924 w 368595"/>
                <a:gd name="connsiteY7" fmla="*/ 741538 h 2193845"/>
                <a:gd name="connsiteX8" fmla="*/ 24617 w 368595"/>
                <a:gd name="connsiteY8" fmla="*/ 18461 h 2193845"/>
                <a:gd name="connsiteX9" fmla="*/ 0 w 368595"/>
                <a:gd name="connsiteY9" fmla="*/ 0 h 2193845"/>
                <a:gd name="connsiteX10" fmla="*/ 338462 w 368595"/>
                <a:gd name="connsiteY10" fmla="*/ 495384 h 2193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8595" h="2193845">
                  <a:moveTo>
                    <a:pt x="338462" y="495384"/>
                  </a:moveTo>
                  <a:cubicBezTo>
                    <a:pt x="329231" y="575385"/>
                    <a:pt x="310770" y="649231"/>
                    <a:pt x="307692" y="729231"/>
                  </a:cubicBezTo>
                  <a:cubicBezTo>
                    <a:pt x="304616" y="806154"/>
                    <a:pt x="307692" y="886154"/>
                    <a:pt x="310770" y="963077"/>
                  </a:cubicBezTo>
                  <a:cubicBezTo>
                    <a:pt x="313847" y="1015385"/>
                    <a:pt x="313847" y="1067692"/>
                    <a:pt x="320001" y="1116923"/>
                  </a:cubicBezTo>
                  <a:cubicBezTo>
                    <a:pt x="384615" y="1476923"/>
                    <a:pt x="366155" y="2193846"/>
                    <a:pt x="366155" y="2193846"/>
                  </a:cubicBezTo>
                  <a:lnTo>
                    <a:pt x="212308" y="2193846"/>
                  </a:lnTo>
                  <a:cubicBezTo>
                    <a:pt x="255386" y="1929230"/>
                    <a:pt x="215385" y="1089231"/>
                    <a:pt x="215385" y="1089231"/>
                  </a:cubicBezTo>
                  <a:cubicBezTo>
                    <a:pt x="175385" y="975384"/>
                    <a:pt x="184615" y="861538"/>
                    <a:pt x="196924" y="741538"/>
                  </a:cubicBezTo>
                  <a:cubicBezTo>
                    <a:pt x="224617" y="483077"/>
                    <a:pt x="184615" y="230769"/>
                    <a:pt x="24617" y="18461"/>
                  </a:cubicBezTo>
                  <a:cubicBezTo>
                    <a:pt x="21539" y="15385"/>
                    <a:pt x="12308" y="15385"/>
                    <a:pt x="0" y="0"/>
                  </a:cubicBezTo>
                  <a:cubicBezTo>
                    <a:pt x="261538" y="6154"/>
                    <a:pt x="363078" y="283077"/>
                    <a:pt x="338462" y="495384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023392C8-90B8-493B-8367-D261DA23901B}"/>
                </a:ext>
              </a:extLst>
            </p:cNvPr>
            <p:cNvSpPr/>
            <p:nvPr/>
          </p:nvSpPr>
          <p:spPr>
            <a:xfrm>
              <a:off x="20357923" y="9539129"/>
              <a:ext cx="635203" cy="940688"/>
            </a:xfrm>
            <a:custGeom>
              <a:avLst/>
              <a:gdLst>
                <a:gd name="connsiteX0" fmla="*/ 115205 w 635203"/>
                <a:gd name="connsiteY0" fmla="*/ 39150 h 940688"/>
                <a:gd name="connsiteX1" fmla="*/ 321359 w 635203"/>
                <a:gd name="connsiteY1" fmla="*/ 192996 h 940688"/>
                <a:gd name="connsiteX2" fmla="*/ 232127 w 635203"/>
                <a:gd name="connsiteY2" fmla="*/ 614535 h 940688"/>
                <a:gd name="connsiteX3" fmla="*/ 635203 w 635203"/>
                <a:gd name="connsiteY3" fmla="*/ 820688 h 940688"/>
                <a:gd name="connsiteX4" fmla="*/ 595204 w 635203"/>
                <a:gd name="connsiteY4" fmla="*/ 940688 h 940688"/>
                <a:gd name="connsiteX5" fmla="*/ 22897 w 635203"/>
                <a:gd name="connsiteY5" fmla="*/ 688381 h 940688"/>
                <a:gd name="connsiteX6" fmla="*/ 115205 w 635203"/>
                <a:gd name="connsiteY6" fmla="*/ 39150 h 940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5203" h="940688">
                  <a:moveTo>
                    <a:pt x="115205" y="39150"/>
                  </a:moveTo>
                  <a:cubicBezTo>
                    <a:pt x="265973" y="-68542"/>
                    <a:pt x="361358" y="66842"/>
                    <a:pt x="321359" y="192996"/>
                  </a:cubicBezTo>
                  <a:cubicBezTo>
                    <a:pt x="278281" y="316073"/>
                    <a:pt x="222897" y="583765"/>
                    <a:pt x="232127" y="614535"/>
                  </a:cubicBezTo>
                  <a:cubicBezTo>
                    <a:pt x="281357" y="651458"/>
                    <a:pt x="635203" y="820688"/>
                    <a:pt x="635203" y="820688"/>
                  </a:cubicBezTo>
                  <a:cubicBezTo>
                    <a:pt x="610588" y="842227"/>
                    <a:pt x="595204" y="940688"/>
                    <a:pt x="595204" y="940688"/>
                  </a:cubicBezTo>
                  <a:cubicBezTo>
                    <a:pt x="595204" y="940688"/>
                    <a:pt x="87511" y="808381"/>
                    <a:pt x="22897" y="688381"/>
                  </a:cubicBezTo>
                  <a:cubicBezTo>
                    <a:pt x="-4796" y="626842"/>
                    <a:pt x="-35565" y="143765"/>
                    <a:pt x="115205" y="39150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B2606574-968B-47DD-9C99-3BD711D20EE1}"/>
                </a:ext>
              </a:extLst>
            </p:cNvPr>
            <p:cNvGrpSpPr/>
            <p:nvPr/>
          </p:nvGrpSpPr>
          <p:grpSpPr>
            <a:xfrm>
              <a:off x="21930715" y="9661356"/>
              <a:ext cx="472897" cy="547692"/>
              <a:chOff x="21930715" y="9661356"/>
              <a:chExt cx="472897" cy="547692"/>
            </a:xfrm>
          </p:grpSpPr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DB68EF22-80C2-484A-9093-6E1DBCE7ED5B}"/>
                  </a:ext>
                </a:extLst>
              </p:cNvPr>
              <p:cNvSpPr/>
              <p:nvPr/>
            </p:nvSpPr>
            <p:spPr>
              <a:xfrm>
                <a:off x="21930715" y="9667510"/>
                <a:ext cx="472897" cy="541538"/>
              </a:xfrm>
              <a:custGeom>
                <a:avLst/>
                <a:gdLst>
                  <a:gd name="connsiteX0" fmla="*/ 3951 w 472897"/>
                  <a:gd name="connsiteY0" fmla="*/ 492308 h 541538"/>
                  <a:gd name="connsiteX1" fmla="*/ 170104 w 472897"/>
                  <a:gd name="connsiteY1" fmla="*/ 221538 h 541538"/>
                  <a:gd name="connsiteX2" fmla="*/ 170104 w 472897"/>
                  <a:gd name="connsiteY2" fmla="*/ 221538 h 541538"/>
                  <a:gd name="connsiteX3" fmla="*/ 170104 w 472897"/>
                  <a:gd name="connsiteY3" fmla="*/ 0 h 541538"/>
                  <a:gd name="connsiteX4" fmla="*/ 302413 w 472897"/>
                  <a:gd name="connsiteY4" fmla="*/ 0 h 541538"/>
                  <a:gd name="connsiteX5" fmla="*/ 302413 w 472897"/>
                  <a:gd name="connsiteY5" fmla="*/ 221538 h 541538"/>
                  <a:gd name="connsiteX6" fmla="*/ 302413 w 472897"/>
                  <a:gd name="connsiteY6" fmla="*/ 221538 h 541538"/>
                  <a:gd name="connsiteX7" fmla="*/ 468566 w 472897"/>
                  <a:gd name="connsiteY7" fmla="*/ 492308 h 541538"/>
                  <a:gd name="connsiteX8" fmla="*/ 440874 w 472897"/>
                  <a:gd name="connsiteY8" fmla="*/ 541539 h 541538"/>
                  <a:gd name="connsiteX9" fmla="*/ 31642 w 472897"/>
                  <a:gd name="connsiteY9" fmla="*/ 541539 h 541538"/>
                  <a:gd name="connsiteX10" fmla="*/ 3951 w 472897"/>
                  <a:gd name="connsiteY10" fmla="*/ 492308 h 54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2897" h="541538">
                    <a:moveTo>
                      <a:pt x="3951" y="492308"/>
                    </a:moveTo>
                    <a:lnTo>
                      <a:pt x="170104" y="221538"/>
                    </a:lnTo>
                    <a:lnTo>
                      <a:pt x="170104" y="221538"/>
                    </a:lnTo>
                    <a:lnTo>
                      <a:pt x="170104" y="0"/>
                    </a:lnTo>
                    <a:lnTo>
                      <a:pt x="302413" y="0"/>
                    </a:lnTo>
                    <a:lnTo>
                      <a:pt x="302413" y="221538"/>
                    </a:lnTo>
                    <a:lnTo>
                      <a:pt x="302413" y="221538"/>
                    </a:lnTo>
                    <a:lnTo>
                      <a:pt x="468566" y="492308"/>
                    </a:lnTo>
                    <a:cubicBezTo>
                      <a:pt x="480874" y="513846"/>
                      <a:pt x="465489" y="541539"/>
                      <a:pt x="440874" y="541539"/>
                    </a:cubicBezTo>
                    <a:lnTo>
                      <a:pt x="31642" y="541539"/>
                    </a:lnTo>
                    <a:cubicBezTo>
                      <a:pt x="10105" y="541539"/>
                      <a:pt x="-8358" y="513846"/>
                      <a:pt x="3951" y="492308"/>
                    </a:cubicBezTo>
                    <a:close/>
                  </a:path>
                </a:pathLst>
              </a:custGeom>
              <a:solidFill>
                <a:srgbClr val="F1DDB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DD1D29D2-1690-4DD8-BB5A-9B8DAD34E712}"/>
                  </a:ext>
                </a:extLst>
              </p:cNvPr>
              <p:cNvSpPr/>
              <p:nvPr/>
            </p:nvSpPr>
            <p:spPr>
              <a:xfrm>
                <a:off x="22073127" y="9661356"/>
                <a:ext cx="193845" cy="49230"/>
              </a:xfrm>
              <a:custGeom>
                <a:avLst/>
                <a:gdLst>
                  <a:gd name="connsiteX0" fmla="*/ 169231 w 193845"/>
                  <a:gd name="connsiteY0" fmla="*/ 49230 h 49230"/>
                  <a:gd name="connsiteX1" fmla="*/ 24615 w 193845"/>
                  <a:gd name="connsiteY1" fmla="*/ 49230 h 49230"/>
                  <a:gd name="connsiteX2" fmla="*/ 0 w 193845"/>
                  <a:gd name="connsiteY2" fmla="*/ 24615 h 49230"/>
                  <a:gd name="connsiteX3" fmla="*/ 0 w 193845"/>
                  <a:gd name="connsiteY3" fmla="*/ 24615 h 49230"/>
                  <a:gd name="connsiteX4" fmla="*/ 24615 w 193845"/>
                  <a:gd name="connsiteY4" fmla="*/ 0 h 49230"/>
                  <a:gd name="connsiteX5" fmla="*/ 169231 w 193845"/>
                  <a:gd name="connsiteY5" fmla="*/ 0 h 49230"/>
                  <a:gd name="connsiteX6" fmla="*/ 193846 w 193845"/>
                  <a:gd name="connsiteY6" fmla="*/ 24615 h 49230"/>
                  <a:gd name="connsiteX7" fmla="*/ 193846 w 193845"/>
                  <a:gd name="connsiteY7" fmla="*/ 24615 h 49230"/>
                  <a:gd name="connsiteX8" fmla="*/ 169231 w 193845"/>
                  <a:gd name="connsiteY8" fmla="*/ 49230 h 4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3845" h="49230">
                    <a:moveTo>
                      <a:pt x="169231" y="49230"/>
                    </a:moveTo>
                    <a:lnTo>
                      <a:pt x="24615" y="49230"/>
                    </a:lnTo>
                    <a:cubicBezTo>
                      <a:pt x="9230" y="49230"/>
                      <a:pt x="0" y="36923"/>
                      <a:pt x="0" y="24615"/>
                    </a:cubicBezTo>
                    <a:lnTo>
                      <a:pt x="0" y="24615"/>
                    </a:lnTo>
                    <a:cubicBezTo>
                      <a:pt x="0" y="9231"/>
                      <a:pt x="12307" y="0"/>
                      <a:pt x="24615" y="0"/>
                    </a:cubicBezTo>
                    <a:lnTo>
                      <a:pt x="169231" y="0"/>
                    </a:lnTo>
                    <a:cubicBezTo>
                      <a:pt x="184615" y="0"/>
                      <a:pt x="193846" y="12308"/>
                      <a:pt x="193846" y="24615"/>
                    </a:cubicBezTo>
                    <a:lnTo>
                      <a:pt x="193846" y="24615"/>
                    </a:lnTo>
                    <a:cubicBezTo>
                      <a:pt x="193846" y="40000"/>
                      <a:pt x="181537" y="49230"/>
                      <a:pt x="169231" y="49230"/>
                    </a:cubicBezTo>
                    <a:close/>
                  </a:path>
                </a:pathLst>
              </a:custGeom>
              <a:solidFill>
                <a:srgbClr val="F1DDB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CF90DA64-A468-4F28-88A8-8DE6F85CD8C9}"/>
                  </a:ext>
                </a:extLst>
              </p:cNvPr>
              <p:cNvSpPr/>
              <p:nvPr/>
            </p:nvSpPr>
            <p:spPr>
              <a:xfrm>
                <a:off x="21989988" y="9929048"/>
                <a:ext cx="355786" cy="240000"/>
              </a:xfrm>
              <a:custGeom>
                <a:avLst/>
                <a:gdLst>
                  <a:gd name="connsiteX0" fmla="*/ 332370 w 355786"/>
                  <a:gd name="connsiteY0" fmla="*/ 240000 h 240000"/>
                  <a:gd name="connsiteX1" fmla="*/ 24678 w 355786"/>
                  <a:gd name="connsiteY1" fmla="*/ 240000 h 240000"/>
                  <a:gd name="connsiteX2" fmla="*/ 3139 w 355786"/>
                  <a:gd name="connsiteY2" fmla="*/ 203077 h 240000"/>
                  <a:gd name="connsiteX3" fmla="*/ 113909 w 355786"/>
                  <a:gd name="connsiteY3" fmla="*/ 0 h 240000"/>
                  <a:gd name="connsiteX4" fmla="*/ 240062 w 355786"/>
                  <a:gd name="connsiteY4" fmla="*/ 0 h 240000"/>
                  <a:gd name="connsiteX5" fmla="*/ 350833 w 355786"/>
                  <a:gd name="connsiteY5" fmla="*/ 203077 h 240000"/>
                  <a:gd name="connsiteX6" fmla="*/ 332370 w 355786"/>
                  <a:gd name="connsiteY6" fmla="*/ 240000 h 24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5786" h="240000">
                    <a:moveTo>
                      <a:pt x="332370" y="240000"/>
                    </a:moveTo>
                    <a:lnTo>
                      <a:pt x="24678" y="240000"/>
                    </a:lnTo>
                    <a:cubicBezTo>
                      <a:pt x="6217" y="240000"/>
                      <a:pt x="-6092" y="221538"/>
                      <a:pt x="3139" y="203077"/>
                    </a:cubicBezTo>
                    <a:lnTo>
                      <a:pt x="113909" y="0"/>
                    </a:lnTo>
                    <a:lnTo>
                      <a:pt x="240062" y="0"/>
                    </a:lnTo>
                    <a:lnTo>
                      <a:pt x="350833" y="203077"/>
                    </a:lnTo>
                    <a:cubicBezTo>
                      <a:pt x="363139" y="218462"/>
                      <a:pt x="350833" y="240000"/>
                      <a:pt x="332370" y="24000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416E710E-C7B6-4594-9550-7D312882393F}"/>
                  </a:ext>
                </a:extLst>
              </p:cNvPr>
              <p:cNvSpPr/>
              <p:nvPr/>
            </p:nvSpPr>
            <p:spPr>
              <a:xfrm>
                <a:off x="22180820" y="9858279"/>
                <a:ext cx="161153" cy="298461"/>
              </a:xfrm>
              <a:custGeom>
                <a:avLst/>
                <a:gdLst>
                  <a:gd name="connsiteX0" fmla="*/ 141538 w 161153"/>
                  <a:gd name="connsiteY0" fmla="*/ 298461 h 298461"/>
                  <a:gd name="connsiteX1" fmla="*/ 150768 w 161153"/>
                  <a:gd name="connsiteY1" fmla="*/ 295385 h 298461"/>
                  <a:gd name="connsiteX2" fmla="*/ 160000 w 161153"/>
                  <a:gd name="connsiteY2" fmla="*/ 267692 h 298461"/>
                  <a:gd name="connsiteX3" fmla="*/ 43076 w 161153"/>
                  <a:gd name="connsiteY3" fmla="*/ 52308 h 298461"/>
                  <a:gd name="connsiteX4" fmla="*/ 43076 w 161153"/>
                  <a:gd name="connsiteY4" fmla="*/ 21538 h 298461"/>
                  <a:gd name="connsiteX5" fmla="*/ 21539 w 161153"/>
                  <a:gd name="connsiteY5" fmla="*/ 0 h 298461"/>
                  <a:gd name="connsiteX6" fmla="*/ 0 w 161153"/>
                  <a:gd name="connsiteY6" fmla="*/ 21538 h 298461"/>
                  <a:gd name="connsiteX7" fmla="*/ 0 w 161153"/>
                  <a:gd name="connsiteY7" fmla="*/ 64616 h 298461"/>
                  <a:gd name="connsiteX8" fmla="*/ 123077 w 161153"/>
                  <a:gd name="connsiteY8" fmla="*/ 289231 h 298461"/>
                  <a:gd name="connsiteX9" fmla="*/ 141538 w 161153"/>
                  <a:gd name="connsiteY9" fmla="*/ 298461 h 29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1153" h="298461">
                    <a:moveTo>
                      <a:pt x="141538" y="298461"/>
                    </a:moveTo>
                    <a:cubicBezTo>
                      <a:pt x="144616" y="298461"/>
                      <a:pt x="147692" y="298461"/>
                      <a:pt x="150768" y="295385"/>
                    </a:cubicBezTo>
                    <a:cubicBezTo>
                      <a:pt x="160000" y="289231"/>
                      <a:pt x="163077" y="276923"/>
                      <a:pt x="160000" y="267692"/>
                    </a:cubicBezTo>
                    <a:lnTo>
                      <a:pt x="43076" y="52308"/>
                    </a:lnTo>
                    <a:lnTo>
                      <a:pt x="43076" y="21538"/>
                    </a:lnTo>
                    <a:cubicBezTo>
                      <a:pt x="43076" y="9231"/>
                      <a:pt x="33845" y="0"/>
                      <a:pt x="21539" y="0"/>
                    </a:cubicBezTo>
                    <a:cubicBezTo>
                      <a:pt x="9230" y="0"/>
                      <a:pt x="0" y="9231"/>
                      <a:pt x="0" y="21538"/>
                    </a:cubicBezTo>
                    <a:lnTo>
                      <a:pt x="0" y="64616"/>
                    </a:lnTo>
                    <a:lnTo>
                      <a:pt x="123077" y="289231"/>
                    </a:lnTo>
                    <a:cubicBezTo>
                      <a:pt x="126153" y="295385"/>
                      <a:pt x="135383" y="298461"/>
                      <a:pt x="141538" y="298461"/>
                    </a:cubicBezTo>
                    <a:close/>
                  </a:path>
                </a:pathLst>
              </a:custGeom>
              <a:solidFill>
                <a:srgbClr val="FFFFFF">
                  <a:alpha val="56000"/>
                </a:srgbClr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53BF5261-E990-44F3-9017-1ACF5B493553}"/>
                  </a:ext>
                </a:extLst>
              </p:cNvPr>
              <p:cNvSpPr/>
              <p:nvPr/>
            </p:nvSpPr>
            <p:spPr>
              <a:xfrm>
                <a:off x="22180820" y="9772125"/>
                <a:ext cx="43075" cy="76923"/>
              </a:xfrm>
              <a:custGeom>
                <a:avLst/>
                <a:gdLst>
                  <a:gd name="connsiteX0" fmla="*/ 21539 w 43075"/>
                  <a:gd name="connsiteY0" fmla="*/ 76923 h 76923"/>
                  <a:gd name="connsiteX1" fmla="*/ 43076 w 43075"/>
                  <a:gd name="connsiteY1" fmla="*/ 55385 h 76923"/>
                  <a:gd name="connsiteX2" fmla="*/ 43076 w 43075"/>
                  <a:gd name="connsiteY2" fmla="*/ 21539 h 76923"/>
                  <a:gd name="connsiteX3" fmla="*/ 21539 w 43075"/>
                  <a:gd name="connsiteY3" fmla="*/ 0 h 76923"/>
                  <a:gd name="connsiteX4" fmla="*/ 0 w 43075"/>
                  <a:gd name="connsiteY4" fmla="*/ 21539 h 76923"/>
                  <a:gd name="connsiteX5" fmla="*/ 0 w 43075"/>
                  <a:gd name="connsiteY5" fmla="*/ 55385 h 76923"/>
                  <a:gd name="connsiteX6" fmla="*/ 21539 w 43075"/>
                  <a:gd name="connsiteY6" fmla="*/ 76923 h 7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075" h="76923">
                    <a:moveTo>
                      <a:pt x="21539" y="76923"/>
                    </a:moveTo>
                    <a:cubicBezTo>
                      <a:pt x="33845" y="76923"/>
                      <a:pt x="43076" y="67693"/>
                      <a:pt x="43076" y="55385"/>
                    </a:cubicBezTo>
                    <a:lnTo>
                      <a:pt x="43076" y="21539"/>
                    </a:lnTo>
                    <a:cubicBezTo>
                      <a:pt x="43076" y="9231"/>
                      <a:pt x="33845" y="0"/>
                      <a:pt x="21539" y="0"/>
                    </a:cubicBezTo>
                    <a:cubicBezTo>
                      <a:pt x="9230" y="0"/>
                      <a:pt x="0" y="9231"/>
                      <a:pt x="0" y="21539"/>
                    </a:cubicBezTo>
                    <a:lnTo>
                      <a:pt x="0" y="55385"/>
                    </a:lnTo>
                    <a:cubicBezTo>
                      <a:pt x="0" y="67693"/>
                      <a:pt x="9230" y="76923"/>
                      <a:pt x="21539" y="76923"/>
                    </a:cubicBezTo>
                    <a:close/>
                  </a:path>
                </a:pathLst>
              </a:custGeom>
              <a:solidFill>
                <a:srgbClr val="FFFFFF">
                  <a:alpha val="56000"/>
                </a:srgbClr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E064718F-89C2-44CD-9497-F165921E68D3}"/>
                </a:ext>
              </a:extLst>
            </p:cNvPr>
            <p:cNvSpPr/>
            <p:nvPr/>
          </p:nvSpPr>
          <p:spPr>
            <a:xfrm>
              <a:off x="20990050" y="10348287"/>
              <a:ext cx="181755" cy="89628"/>
            </a:xfrm>
            <a:custGeom>
              <a:avLst/>
              <a:gdLst>
                <a:gd name="connsiteX0" fmla="*/ 0 w 181755"/>
                <a:gd name="connsiteY0" fmla="*/ 14607 h 89628"/>
                <a:gd name="connsiteX1" fmla="*/ 95384 w 181755"/>
                <a:gd name="connsiteY1" fmla="*/ 2300 h 89628"/>
                <a:gd name="connsiteX2" fmla="*/ 181539 w 181755"/>
                <a:gd name="connsiteY2" fmla="*/ 73069 h 89628"/>
                <a:gd name="connsiteX3" fmla="*/ 153846 w 181755"/>
                <a:gd name="connsiteY3" fmla="*/ 82299 h 89628"/>
                <a:gd name="connsiteX4" fmla="*/ 0 w 181755"/>
                <a:gd name="connsiteY4" fmla="*/ 14607 h 89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755" h="89628">
                  <a:moveTo>
                    <a:pt x="0" y="14607"/>
                  </a:moveTo>
                  <a:cubicBezTo>
                    <a:pt x="0" y="14607"/>
                    <a:pt x="61538" y="-6931"/>
                    <a:pt x="95384" y="2300"/>
                  </a:cubicBezTo>
                  <a:cubicBezTo>
                    <a:pt x="126153" y="14607"/>
                    <a:pt x="178461" y="42300"/>
                    <a:pt x="181539" y="73069"/>
                  </a:cubicBezTo>
                  <a:cubicBezTo>
                    <a:pt x="184615" y="103838"/>
                    <a:pt x="153846" y="82299"/>
                    <a:pt x="153846" y="82299"/>
                  </a:cubicBezTo>
                  <a:lnTo>
                    <a:pt x="0" y="14607"/>
                  </a:ln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8" name="图形 1">
              <a:extLst>
                <a:ext uri="{FF2B5EF4-FFF2-40B4-BE49-F238E27FC236}">
                  <a16:creationId xmlns:a16="http://schemas.microsoft.com/office/drawing/2014/main" id="{13D2F673-0770-4BFA-9216-EA74944FB0FC}"/>
                </a:ext>
              </a:extLst>
            </p:cNvPr>
            <p:cNvGrpSpPr/>
            <p:nvPr/>
          </p:nvGrpSpPr>
          <p:grpSpPr>
            <a:xfrm>
              <a:off x="21008511" y="10273664"/>
              <a:ext cx="236923" cy="476923"/>
              <a:chOff x="21008511" y="10273664"/>
              <a:chExt cx="236923" cy="476923"/>
            </a:xfrm>
          </p:grpSpPr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ED6C1D27-48B2-4EB6-970A-284CCE39CFE1}"/>
                  </a:ext>
                </a:extLst>
              </p:cNvPr>
              <p:cNvSpPr/>
              <p:nvPr/>
            </p:nvSpPr>
            <p:spPr>
              <a:xfrm>
                <a:off x="21048512" y="10310587"/>
                <a:ext cx="153846" cy="440000"/>
              </a:xfrm>
              <a:custGeom>
                <a:avLst/>
                <a:gdLst>
                  <a:gd name="connsiteX0" fmla="*/ 76923 w 153846"/>
                  <a:gd name="connsiteY0" fmla="*/ 440001 h 440000"/>
                  <a:gd name="connsiteX1" fmla="*/ 76923 w 153846"/>
                  <a:gd name="connsiteY1" fmla="*/ 440001 h 440000"/>
                  <a:gd name="connsiteX2" fmla="*/ 0 w 153846"/>
                  <a:gd name="connsiteY2" fmla="*/ 363078 h 440000"/>
                  <a:gd name="connsiteX3" fmla="*/ 0 w 153846"/>
                  <a:gd name="connsiteY3" fmla="*/ 0 h 440000"/>
                  <a:gd name="connsiteX4" fmla="*/ 153846 w 153846"/>
                  <a:gd name="connsiteY4" fmla="*/ 0 h 440000"/>
                  <a:gd name="connsiteX5" fmla="*/ 153846 w 153846"/>
                  <a:gd name="connsiteY5" fmla="*/ 363078 h 440000"/>
                  <a:gd name="connsiteX6" fmla="*/ 76923 w 153846"/>
                  <a:gd name="connsiteY6" fmla="*/ 440001 h 44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3846" h="440000">
                    <a:moveTo>
                      <a:pt x="76923" y="440001"/>
                    </a:moveTo>
                    <a:lnTo>
                      <a:pt x="76923" y="440001"/>
                    </a:lnTo>
                    <a:cubicBezTo>
                      <a:pt x="33845" y="440001"/>
                      <a:pt x="0" y="406154"/>
                      <a:pt x="0" y="363078"/>
                    </a:cubicBezTo>
                    <a:lnTo>
                      <a:pt x="0" y="0"/>
                    </a:lnTo>
                    <a:lnTo>
                      <a:pt x="153846" y="0"/>
                    </a:lnTo>
                    <a:lnTo>
                      <a:pt x="153846" y="363078"/>
                    </a:lnTo>
                    <a:cubicBezTo>
                      <a:pt x="153846" y="406154"/>
                      <a:pt x="119999" y="440001"/>
                      <a:pt x="76923" y="440001"/>
                    </a:cubicBezTo>
                    <a:close/>
                  </a:path>
                </a:pathLst>
              </a:custGeom>
              <a:solidFill>
                <a:srgbClr val="F1DDB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B063598C-FE0F-4165-8DD6-29A25A56A57A}"/>
                  </a:ext>
                </a:extLst>
              </p:cNvPr>
              <p:cNvSpPr/>
              <p:nvPr/>
            </p:nvSpPr>
            <p:spPr>
              <a:xfrm>
                <a:off x="21076204" y="10396741"/>
                <a:ext cx="58462" cy="310768"/>
              </a:xfrm>
              <a:custGeom>
                <a:avLst/>
                <a:gdLst>
                  <a:gd name="connsiteX0" fmla="*/ 58462 w 58462"/>
                  <a:gd name="connsiteY0" fmla="*/ 0 h 310768"/>
                  <a:gd name="connsiteX1" fmla="*/ 58462 w 58462"/>
                  <a:gd name="connsiteY1" fmla="*/ 310768 h 310768"/>
                  <a:gd name="connsiteX2" fmla="*/ 49232 w 58462"/>
                  <a:gd name="connsiteY2" fmla="*/ 310768 h 310768"/>
                  <a:gd name="connsiteX3" fmla="*/ 0 w 58462"/>
                  <a:gd name="connsiteY3" fmla="*/ 261538 h 310768"/>
                  <a:gd name="connsiteX4" fmla="*/ 0 w 58462"/>
                  <a:gd name="connsiteY4" fmla="*/ 0 h 310768"/>
                  <a:gd name="connsiteX5" fmla="*/ 58462 w 58462"/>
                  <a:gd name="connsiteY5" fmla="*/ 0 h 310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8462" h="310768">
                    <a:moveTo>
                      <a:pt x="58462" y="0"/>
                    </a:moveTo>
                    <a:lnTo>
                      <a:pt x="58462" y="310768"/>
                    </a:lnTo>
                    <a:cubicBezTo>
                      <a:pt x="55384" y="310768"/>
                      <a:pt x="52308" y="310768"/>
                      <a:pt x="49232" y="310768"/>
                    </a:cubicBezTo>
                    <a:cubicBezTo>
                      <a:pt x="21539" y="310768"/>
                      <a:pt x="0" y="289231"/>
                      <a:pt x="0" y="261538"/>
                    </a:cubicBezTo>
                    <a:lnTo>
                      <a:pt x="0" y="0"/>
                    </a:lnTo>
                    <a:lnTo>
                      <a:pt x="58462" y="0"/>
                    </a:lnTo>
                    <a:close/>
                  </a:path>
                </a:pathLst>
              </a:custGeom>
              <a:solidFill>
                <a:srgbClr val="D16156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F7A8AF53-5A62-4D25-A6DF-15A6EC7C2BF0}"/>
                  </a:ext>
                </a:extLst>
              </p:cNvPr>
              <p:cNvSpPr/>
              <p:nvPr/>
            </p:nvSpPr>
            <p:spPr>
              <a:xfrm>
                <a:off x="21134666" y="10396741"/>
                <a:ext cx="39999" cy="310768"/>
              </a:xfrm>
              <a:custGeom>
                <a:avLst/>
                <a:gdLst>
                  <a:gd name="connsiteX0" fmla="*/ 40000 w 39999"/>
                  <a:gd name="connsiteY0" fmla="*/ 0 h 310768"/>
                  <a:gd name="connsiteX1" fmla="*/ 40000 w 39999"/>
                  <a:gd name="connsiteY1" fmla="*/ 261538 h 310768"/>
                  <a:gd name="connsiteX2" fmla="*/ 0 w 39999"/>
                  <a:gd name="connsiteY2" fmla="*/ 310768 h 310768"/>
                  <a:gd name="connsiteX3" fmla="*/ 0 w 39999"/>
                  <a:gd name="connsiteY3" fmla="*/ 0 h 310768"/>
                  <a:gd name="connsiteX4" fmla="*/ 40000 w 39999"/>
                  <a:gd name="connsiteY4" fmla="*/ 0 h 310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999" h="310768">
                    <a:moveTo>
                      <a:pt x="40000" y="0"/>
                    </a:moveTo>
                    <a:lnTo>
                      <a:pt x="40000" y="261538"/>
                    </a:lnTo>
                    <a:cubicBezTo>
                      <a:pt x="40000" y="286153"/>
                      <a:pt x="21539" y="304615"/>
                      <a:pt x="0" y="310768"/>
                    </a:cubicBezTo>
                    <a:lnTo>
                      <a:pt x="0" y="0"/>
                    </a:lnTo>
                    <a:lnTo>
                      <a:pt x="40000" y="0"/>
                    </a:lnTo>
                    <a:close/>
                  </a:path>
                </a:pathLst>
              </a:custGeom>
              <a:solidFill>
                <a:srgbClr val="ED8C8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4F4C0227-C525-4D7D-89E3-8379777EE281}"/>
                  </a:ext>
                </a:extLst>
              </p:cNvPr>
              <p:cNvSpPr/>
              <p:nvPr/>
            </p:nvSpPr>
            <p:spPr>
              <a:xfrm>
                <a:off x="21134666" y="10362895"/>
                <a:ext cx="39999" cy="33846"/>
              </a:xfrm>
              <a:custGeom>
                <a:avLst/>
                <a:gdLst>
                  <a:gd name="connsiteX0" fmla="*/ 40000 w 39999"/>
                  <a:gd name="connsiteY0" fmla="*/ 21538 h 33846"/>
                  <a:gd name="connsiteX1" fmla="*/ 40000 w 39999"/>
                  <a:gd name="connsiteY1" fmla="*/ 33846 h 33846"/>
                  <a:gd name="connsiteX2" fmla="*/ 0 w 39999"/>
                  <a:gd name="connsiteY2" fmla="*/ 33846 h 33846"/>
                  <a:gd name="connsiteX3" fmla="*/ 0 w 39999"/>
                  <a:gd name="connsiteY3" fmla="*/ 21538 h 33846"/>
                  <a:gd name="connsiteX4" fmla="*/ 21539 w 39999"/>
                  <a:gd name="connsiteY4" fmla="*/ 0 h 33846"/>
                  <a:gd name="connsiteX5" fmla="*/ 40000 w 39999"/>
                  <a:gd name="connsiteY5" fmla="*/ 21538 h 3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999" h="33846">
                    <a:moveTo>
                      <a:pt x="40000" y="21538"/>
                    </a:moveTo>
                    <a:lnTo>
                      <a:pt x="40000" y="33846"/>
                    </a:lnTo>
                    <a:lnTo>
                      <a:pt x="0" y="33846"/>
                    </a:lnTo>
                    <a:lnTo>
                      <a:pt x="0" y="21538"/>
                    </a:lnTo>
                    <a:cubicBezTo>
                      <a:pt x="0" y="9230"/>
                      <a:pt x="9230" y="0"/>
                      <a:pt x="21539" y="0"/>
                    </a:cubicBezTo>
                    <a:cubicBezTo>
                      <a:pt x="30769" y="0"/>
                      <a:pt x="40000" y="9230"/>
                      <a:pt x="40000" y="21538"/>
                    </a:cubicBezTo>
                    <a:close/>
                  </a:path>
                </a:pathLst>
              </a:custGeom>
              <a:solidFill>
                <a:srgbClr val="FFFFFF">
                  <a:alpha val="56000"/>
                </a:srgbClr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CD7038DB-7985-4E72-9ABB-6C23B64C5E89}"/>
                  </a:ext>
                </a:extLst>
              </p:cNvPr>
              <p:cNvSpPr/>
              <p:nvPr/>
            </p:nvSpPr>
            <p:spPr>
              <a:xfrm>
                <a:off x="21008511" y="10273664"/>
                <a:ext cx="236923" cy="67691"/>
              </a:xfrm>
              <a:custGeom>
                <a:avLst/>
                <a:gdLst>
                  <a:gd name="connsiteX0" fmla="*/ 203078 w 236923"/>
                  <a:gd name="connsiteY0" fmla="*/ 67692 h 67691"/>
                  <a:gd name="connsiteX1" fmla="*/ 33847 w 236923"/>
                  <a:gd name="connsiteY1" fmla="*/ 67692 h 67691"/>
                  <a:gd name="connsiteX2" fmla="*/ 0 w 236923"/>
                  <a:gd name="connsiteY2" fmla="*/ 33845 h 67691"/>
                  <a:gd name="connsiteX3" fmla="*/ 0 w 236923"/>
                  <a:gd name="connsiteY3" fmla="*/ 33845 h 67691"/>
                  <a:gd name="connsiteX4" fmla="*/ 33847 w 236923"/>
                  <a:gd name="connsiteY4" fmla="*/ 0 h 67691"/>
                  <a:gd name="connsiteX5" fmla="*/ 203078 w 236923"/>
                  <a:gd name="connsiteY5" fmla="*/ 0 h 67691"/>
                  <a:gd name="connsiteX6" fmla="*/ 236923 w 236923"/>
                  <a:gd name="connsiteY6" fmla="*/ 33845 h 67691"/>
                  <a:gd name="connsiteX7" fmla="*/ 236923 w 236923"/>
                  <a:gd name="connsiteY7" fmla="*/ 33845 h 67691"/>
                  <a:gd name="connsiteX8" fmla="*/ 203078 w 236923"/>
                  <a:gd name="connsiteY8" fmla="*/ 67692 h 67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6923" h="67691">
                    <a:moveTo>
                      <a:pt x="203078" y="67692"/>
                    </a:moveTo>
                    <a:lnTo>
                      <a:pt x="33847" y="67692"/>
                    </a:lnTo>
                    <a:cubicBezTo>
                      <a:pt x="15385" y="67692"/>
                      <a:pt x="0" y="52307"/>
                      <a:pt x="0" y="33845"/>
                    </a:cubicBezTo>
                    <a:lnTo>
                      <a:pt x="0" y="33845"/>
                    </a:lnTo>
                    <a:cubicBezTo>
                      <a:pt x="0" y="15385"/>
                      <a:pt x="15385" y="0"/>
                      <a:pt x="33847" y="0"/>
                    </a:cubicBezTo>
                    <a:lnTo>
                      <a:pt x="203078" y="0"/>
                    </a:lnTo>
                    <a:cubicBezTo>
                      <a:pt x="221539" y="0"/>
                      <a:pt x="236923" y="15385"/>
                      <a:pt x="236923" y="33845"/>
                    </a:cubicBezTo>
                    <a:lnTo>
                      <a:pt x="236923" y="33845"/>
                    </a:lnTo>
                    <a:cubicBezTo>
                      <a:pt x="236923" y="52307"/>
                      <a:pt x="221539" y="67692"/>
                      <a:pt x="203078" y="67692"/>
                    </a:cubicBezTo>
                    <a:close/>
                  </a:path>
                </a:pathLst>
              </a:custGeom>
              <a:solidFill>
                <a:srgbClr val="F1DDB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9" name="图形 1">
              <a:extLst>
                <a:ext uri="{FF2B5EF4-FFF2-40B4-BE49-F238E27FC236}">
                  <a16:creationId xmlns:a16="http://schemas.microsoft.com/office/drawing/2014/main" id="{751F1672-D8FA-4EDC-90BB-66960513E099}"/>
                </a:ext>
              </a:extLst>
            </p:cNvPr>
            <p:cNvGrpSpPr/>
            <p:nvPr/>
          </p:nvGrpSpPr>
          <p:grpSpPr>
            <a:xfrm>
              <a:off x="20930607" y="10350431"/>
              <a:ext cx="297455" cy="220042"/>
              <a:chOff x="20930607" y="10350431"/>
              <a:chExt cx="297455" cy="220042"/>
            </a:xfrm>
          </p:grpSpPr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93102AC0-5C63-47BD-BD66-9D14E135DCAE}"/>
                  </a:ext>
                </a:extLst>
              </p:cNvPr>
              <p:cNvSpPr/>
              <p:nvPr/>
            </p:nvSpPr>
            <p:spPr>
              <a:xfrm>
                <a:off x="20930607" y="10350431"/>
                <a:ext cx="297455" cy="220042"/>
              </a:xfrm>
              <a:custGeom>
                <a:avLst/>
                <a:gdLst>
                  <a:gd name="connsiteX0" fmla="*/ 4059 w 297455"/>
                  <a:gd name="connsiteY0" fmla="*/ 120156 h 220042"/>
                  <a:gd name="connsiteX1" fmla="*/ 87136 w 297455"/>
                  <a:gd name="connsiteY1" fmla="*/ 166310 h 220042"/>
                  <a:gd name="connsiteX2" fmla="*/ 142521 w 297455"/>
                  <a:gd name="connsiteY2" fmla="*/ 203232 h 220042"/>
                  <a:gd name="connsiteX3" fmla="*/ 185596 w 297455"/>
                  <a:gd name="connsiteY3" fmla="*/ 218617 h 220042"/>
                  <a:gd name="connsiteX4" fmla="*/ 160981 w 297455"/>
                  <a:gd name="connsiteY4" fmla="*/ 172463 h 220042"/>
                  <a:gd name="connsiteX5" fmla="*/ 200981 w 297455"/>
                  <a:gd name="connsiteY5" fmla="*/ 194002 h 220042"/>
                  <a:gd name="connsiteX6" fmla="*/ 262520 w 297455"/>
                  <a:gd name="connsiteY6" fmla="*/ 206309 h 220042"/>
                  <a:gd name="connsiteX7" fmla="*/ 268674 w 297455"/>
                  <a:gd name="connsiteY7" fmla="*/ 194002 h 220042"/>
                  <a:gd name="connsiteX8" fmla="*/ 296367 w 297455"/>
                  <a:gd name="connsiteY8" fmla="*/ 190925 h 220042"/>
                  <a:gd name="connsiteX9" fmla="*/ 271752 w 297455"/>
                  <a:gd name="connsiteY9" fmla="*/ 141694 h 220042"/>
                  <a:gd name="connsiteX10" fmla="*/ 234828 w 297455"/>
                  <a:gd name="connsiteY10" fmla="*/ 107848 h 220042"/>
                  <a:gd name="connsiteX11" fmla="*/ 271752 w 297455"/>
                  <a:gd name="connsiteY11" fmla="*/ 117079 h 220042"/>
                  <a:gd name="connsiteX12" fmla="*/ 290213 w 297455"/>
                  <a:gd name="connsiteY12" fmla="*/ 114001 h 220042"/>
                  <a:gd name="connsiteX13" fmla="*/ 250213 w 297455"/>
                  <a:gd name="connsiteY13" fmla="*/ 67848 h 220042"/>
                  <a:gd name="connsiteX14" fmla="*/ 62520 w 297455"/>
                  <a:gd name="connsiteY14" fmla="*/ 156 h 220042"/>
                  <a:gd name="connsiteX15" fmla="*/ 22520 w 297455"/>
                  <a:gd name="connsiteY15" fmla="*/ 77079 h 220042"/>
                  <a:gd name="connsiteX16" fmla="*/ 4059 w 297455"/>
                  <a:gd name="connsiteY16" fmla="*/ 120156 h 220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7455" h="220042">
                    <a:moveTo>
                      <a:pt x="4059" y="120156"/>
                    </a:moveTo>
                    <a:cubicBezTo>
                      <a:pt x="25598" y="147848"/>
                      <a:pt x="62520" y="150925"/>
                      <a:pt x="87136" y="166310"/>
                    </a:cubicBezTo>
                    <a:cubicBezTo>
                      <a:pt x="108673" y="181694"/>
                      <a:pt x="117906" y="190925"/>
                      <a:pt x="142521" y="203232"/>
                    </a:cubicBezTo>
                    <a:cubicBezTo>
                      <a:pt x="151751" y="209386"/>
                      <a:pt x="173290" y="224771"/>
                      <a:pt x="185596" y="218617"/>
                    </a:cubicBezTo>
                    <a:cubicBezTo>
                      <a:pt x="200981" y="209386"/>
                      <a:pt x="182520" y="187847"/>
                      <a:pt x="160981" y="172463"/>
                    </a:cubicBezTo>
                    <a:cubicBezTo>
                      <a:pt x="173290" y="178617"/>
                      <a:pt x="188675" y="187847"/>
                      <a:pt x="200981" y="194002"/>
                    </a:cubicBezTo>
                    <a:cubicBezTo>
                      <a:pt x="213290" y="200156"/>
                      <a:pt x="247135" y="215540"/>
                      <a:pt x="262520" y="206309"/>
                    </a:cubicBezTo>
                    <a:cubicBezTo>
                      <a:pt x="268674" y="203232"/>
                      <a:pt x="268674" y="200156"/>
                      <a:pt x="268674" y="194002"/>
                    </a:cubicBezTo>
                    <a:cubicBezTo>
                      <a:pt x="280982" y="197079"/>
                      <a:pt x="290213" y="200156"/>
                      <a:pt x="296367" y="190925"/>
                    </a:cubicBezTo>
                    <a:cubicBezTo>
                      <a:pt x="302521" y="175540"/>
                      <a:pt x="280982" y="150925"/>
                      <a:pt x="271752" y="141694"/>
                    </a:cubicBezTo>
                    <a:cubicBezTo>
                      <a:pt x="259443" y="129386"/>
                      <a:pt x="247135" y="120156"/>
                      <a:pt x="234828" y="107848"/>
                    </a:cubicBezTo>
                    <a:cubicBezTo>
                      <a:pt x="247135" y="110924"/>
                      <a:pt x="259443" y="114001"/>
                      <a:pt x="271752" y="117079"/>
                    </a:cubicBezTo>
                    <a:cubicBezTo>
                      <a:pt x="277904" y="117079"/>
                      <a:pt x="284058" y="120156"/>
                      <a:pt x="290213" y="114001"/>
                    </a:cubicBezTo>
                    <a:cubicBezTo>
                      <a:pt x="305597" y="95540"/>
                      <a:pt x="259443" y="74002"/>
                      <a:pt x="250213" y="67848"/>
                    </a:cubicBezTo>
                    <a:cubicBezTo>
                      <a:pt x="188675" y="34001"/>
                      <a:pt x="127136" y="24771"/>
                      <a:pt x="62520" y="156"/>
                    </a:cubicBezTo>
                    <a:cubicBezTo>
                      <a:pt x="62520" y="-2921"/>
                      <a:pt x="25598" y="40155"/>
                      <a:pt x="22520" y="77079"/>
                    </a:cubicBezTo>
                    <a:cubicBezTo>
                      <a:pt x="10213" y="98617"/>
                      <a:pt x="-8249" y="104771"/>
                      <a:pt x="4059" y="12015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E31EB6F9-1F37-4C00-B263-4A9EF3187FF8}"/>
                  </a:ext>
                </a:extLst>
              </p:cNvPr>
              <p:cNvSpPr/>
              <p:nvPr/>
            </p:nvSpPr>
            <p:spPr>
              <a:xfrm>
                <a:off x="21081084" y="10463158"/>
                <a:ext cx="120505" cy="87428"/>
              </a:xfrm>
              <a:custGeom>
                <a:avLst/>
                <a:gdLst>
                  <a:gd name="connsiteX0" fmla="*/ 112043 w 120505"/>
                  <a:gd name="connsiteY0" fmla="*/ 87429 h 87428"/>
                  <a:gd name="connsiteX1" fmla="*/ 108967 w 120505"/>
                  <a:gd name="connsiteY1" fmla="*/ 87429 h 87428"/>
                  <a:gd name="connsiteX2" fmla="*/ 4350 w 120505"/>
                  <a:gd name="connsiteY2" fmla="*/ 10506 h 87428"/>
                  <a:gd name="connsiteX3" fmla="*/ 1274 w 120505"/>
                  <a:gd name="connsiteY3" fmla="*/ 4352 h 87428"/>
                  <a:gd name="connsiteX4" fmla="*/ 7428 w 120505"/>
                  <a:gd name="connsiteY4" fmla="*/ 1275 h 87428"/>
                  <a:gd name="connsiteX5" fmla="*/ 118197 w 120505"/>
                  <a:gd name="connsiteY5" fmla="*/ 78198 h 87428"/>
                  <a:gd name="connsiteX6" fmla="*/ 118197 w 120505"/>
                  <a:gd name="connsiteY6" fmla="*/ 87429 h 87428"/>
                  <a:gd name="connsiteX7" fmla="*/ 112043 w 120505"/>
                  <a:gd name="connsiteY7" fmla="*/ 87429 h 8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0505" h="87428">
                    <a:moveTo>
                      <a:pt x="112043" y="87429"/>
                    </a:moveTo>
                    <a:cubicBezTo>
                      <a:pt x="112043" y="87429"/>
                      <a:pt x="108967" y="87429"/>
                      <a:pt x="108967" y="87429"/>
                    </a:cubicBezTo>
                    <a:cubicBezTo>
                      <a:pt x="87428" y="68967"/>
                      <a:pt x="25889" y="16659"/>
                      <a:pt x="4350" y="10506"/>
                    </a:cubicBezTo>
                    <a:cubicBezTo>
                      <a:pt x="1274" y="10506"/>
                      <a:pt x="-1802" y="7429"/>
                      <a:pt x="1274" y="4352"/>
                    </a:cubicBezTo>
                    <a:cubicBezTo>
                      <a:pt x="1274" y="1275"/>
                      <a:pt x="4350" y="-1803"/>
                      <a:pt x="7428" y="1275"/>
                    </a:cubicBezTo>
                    <a:cubicBezTo>
                      <a:pt x="35120" y="7429"/>
                      <a:pt x="112043" y="78198"/>
                      <a:pt x="118197" y="78198"/>
                    </a:cubicBezTo>
                    <a:cubicBezTo>
                      <a:pt x="121275" y="81275"/>
                      <a:pt x="121275" y="84352"/>
                      <a:pt x="118197" y="87429"/>
                    </a:cubicBezTo>
                    <a:cubicBezTo>
                      <a:pt x="115121" y="87429"/>
                      <a:pt x="115121" y="87429"/>
                      <a:pt x="112043" y="8742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7C2026F9-2EAC-4407-85CC-EE22B5F45CAD}"/>
                  </a:ext>
                </a:extLst>
              </p:cNvPr>
              <p:cNvSpPr/>
              <p:nvPr/>
            </p:nvSpPr>
            <p:spPr>
              <a:xfrm>
                <a:off x="21045434" y="10495202"/>
                <a:ext cx="52308" cy="33846"/>
              </a:xfrm>
              <a:custGeom>
                <a:avLst/>
                <a:gdLst>
                  <a:gd name="connsiteX0" fmla="*/ 43078 w 52308"/>
                  <a:gd name="connsiteY0" fmla="*/ 33846 h 33846"/>
                  <a:gd name="connsiteX1" fmla="*/ 43078 w 52308"/>
                  <a:gd name="connsiteY1" fmla="*/ 33846 h 33846"/>
                  <a:gd name="connsiteX2" fmla="*/ 3078 w 52308"/>
                  <a:gd name="connsiteY2" fmla="*/ 12308 h 33846"/>
                  <a:gd name="connsiteX3" fmla="*/ 0 w 52308"/>
                  <a:gd name="connsiteY3" fmla="*/ 3077 h 33846"/>
                  <a:gd name="connsiteX4" fmla="*/ 9230 w 52308"/>
                  <a:gd name="connsiteY4" fmla="*/ 0 h 33846"/>
                  <a:gd name="connsiteX5" fmla="*/ 49232 w 52308"/>
                  <a:gd name="connsiteY5" fmla="*/ 21539 h 33846"/>
                  <a:gd name="connsiteX6" fmla="*/ 52308 w 52308"/>
                  <a:gd name="connsiteY6" fmla="*/ 30769 h 33846"/>
                  <a:gd name="connsiteX7" fmla="*/ 43078 w 52308"/>
                  <a:gd name="connsiteY7" fmla="*/ 33846 h 3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308" h="33846">
                    <a:moveTo>
                      <a:pt x="43078" y="33846"/>
                    </a:moveTo>
                    <a:cubicBezTo>
                      <a:pt x="40000" y="33846"/>
                      <a:pt x="40000" y="33846"/>
                      <a:pt x="43078" y="33846"/>
                    </a:cubicBezTo>
                    <a:lnTo>
                      <a:pt x="3078" y="12308"/>
                    </a:lnTo>
                    <a:cubicBezTo>
                      <a:pt x="0" y="9231"/>
                      <a:pt x="0" y="6154"/>
                      <a:pt x="0" y="3077"/>
                    </a:cubicBezTo>
                    <a:cubicBezTo>
                      <a:pt x="3078" y="0"/>
                      <a:pt x="6154" y="0"/>
                      <a:pt x="9230" y="0"/>
                    </a:cubicBezTo>
                    <a:lnTo>
                      <a:pt x="49232" y="21539"/>
                    </a:lnTo>
                    <a:cubicBezTo>
                      <a:pt x="52308" y="24616"/>
                      <a:pt x="52308" y="27692"/>
                      <a:pt x="52308" y="30769"/>
                    </a:cubicBezTo>
                    <a:cubicBezTo>
                      <a:pt x="46154" y="33846"/>
                      <a:pt x="43078" y="33846"/>
                      <a:pt x="43078" y="3384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C814565B-8692-426E-8663-2656D23A62F4}"/>
                  </a:ext>
                </a:extLst>
              </p:cNvPr>
              <p:cNvSpPr/>
              <p:nvPr/>
            </p:nvSpPr>
            <p:spPr>
              <a:xfrm>
                <a:off x="21009280" y="10402894"/>
                <a:ext cx="48462" cy="86154"/>
              </a:xfrm>
              <a:custGeom>
                <a:avLst/>
                <a:gdLst>
                  <a:gd name="connsiteX0" fmla="*/ 5385 w 48462"/>
                  <a:gd name="connsiteY0" fmla="*/ 86154 h 86154"/>
                  <a:gd name="connsiteX1" fmla="*/ 2309 w 48462"/>
                  <a:gd name="connsiteY1" fmla="*/ 83077 h 86154"/>
                  <a:gd name="connsiteX2" fmla="*/ 2309 w 48462"/>
                  <a:gd name="connsiteY2" fmla="*/ 73846 h 86154"/>
                  <a:gd name="connsiteX3" fmla="*/ 36154 w 48462"/>
                  <a:gd name="connsiteY3" fmla="*/ 6154 h 86154"/>
                  <a:gd name="connsiteX4" fmla="*/ 42308 w 48462"/>
                  <a:gd name="connsiteY4" fmla="*/ 0 h 86154"/>
                  <a:gd name="connsiteX5" fmla="*/ 48462 w 48462"/>
                  <a:gd name="connsiteY5" fmla="*/ 6154 h 86154"/>
                  <a:gd name="connsiteX6" fmla="*/ 11539 w 48462"/>
                  <a:gd name="connsiteY6" fmla="*/ 83077 h 86154"/>
                  <a:gd name="connsiteX7" fmla="*/ 5385 w 48462"/>
                  <a:gd name="connsiteY7" fmla="*/ 86154 h 86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462" h="86154">
                    <a:moveTo>
                      <a:pt x="5385" y="86154"/>
                    </a:moveTo>
                    <a:cubicBezTo>
                      <a:pt x="2309" y="86154"/>
                      <a:pt x="2309" y="86154"/>
                      <a:pt x="2309" y="83077"/>
                    </a:cubicBezTo>
                    <a:cubicBezTo>
                      <a:pt x="-770" y="80000"/>
                      <a:pt x="-770" y="76923"/>
                      <a:pt x="2309" y="73846"/>
                    </a:cubicBezTo>
                    <a:cubicBezTo>
                      <a:pt x="36154" y="46154"/>
                      <a:pt x="36154" y="6154"/>
                      <a:pt x="36154" y="6154"/>
                    </a:cubicBezTo>
                    <a:cubicBezTo>
                      <a:pt x="36154" y="3077"/>
                      <a:pt x="39232" y="0"/>
                      <a:pt x="42308" y="0"/>
                    </a:cubicBezTo>
                    <a:cubicBezTo>
                      <a:pt x="45384" y="0"/>
                      <a:pt x="48462" y="3077"/>
                      <a:pt x="48462" y="6154"/>
                    </a:cubicBezTo>
                    <a:cubicBezTo>
                      <a:pt x="48462" y="9231"/>
                      <a:pt x="45384" y="52308"/>
                      <a:pt x="11539" y="83077"/>
                    </a:cubicBezTo>
                    <a:cubicBezTo>
                      <a:pt x="8463" y="86154"/>
                      <a:pt x="8463" y="86154"/>
                      <a:pt x="5385" y="8615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F04C329E-789F-47A1-90D7-48DBF7AD69C9}"/>
                  </a:ext>
                </a:extLst>
              </p:cNvPr>
              <p:cNvSpPr/>
              <p:nvPr/>
            </p:nvSpPr>
            <p:spPr>
              <a:xfrm>
                <a:off x="21025699" y="10364697"/>
                <a:ext cx="192044" cy="112043"/>
              </a:xfrm>
              <a:custGeom>
                <a:avLst/>
                <a:gdLst>
                  <a:gd name="connsiteX0" fmla="*/ 170506 w 192044"/>
                  <a:gd name="connsiteY0" fmla="*/ 112043 h 112043"/>
                  <a:gd name="connsiteX1" fmla="*/ 130506 w 192044"/>
                  <a:gd name="connsiteY1" fmla="*/ 99736 h 112043"/>
                  <a:gd name="connsiteX2" fmla="*/ 127428 w 192044"/>
                  <a:gd name="connsiteY2" fmla="*/ 96658 h 112043"/>
                  <a:gd name="connsiteX3" fmla="*/ 65890 w 192044"/>
                  <a:gd name="connsiteY3" fmla="*/ 65889 h 112043"/>
                  <a:gd name="connsiteX4" fmla="*/ 62813 w 192044"/>
                  <a:gd name="connsiteY4" fmla="*/ 59736 h 112043"/>
                  <a:gd name="connsiteX5" fmla="*/ 68968 w 192044"/>
                  <a:gd name="connsiteY5" fmla="*/ 56659 h 112043"/>
                  <a:gd name="connsiteX6" fmla="*/ 133582 w 192044"/>
                  <a:gd name="connsiteY6" fmla="*/ 90505 h 112043"/>
                  <a:gd name="connsiteX7" fmla="*/ 179736 w 192044"/>
                  <a:gd name="connsiteY7" fmla="*/ 96658 h 112043"/>
                  <a:gd name="connsiteX8" fmla="*/ 4351 w 192044"/>
                  <a:gd name="connsiteY8" fmla="*/ 10505 h 112043"/>
                  <a:gd name="connsiteX9" fmla="*/ 1275 w 192044"/>
                  <a:gd name="connsiteY9" fmla="*/ 4351 h 112043"/>
                  <a:gd name="connsiteX10" fmla="*/ 7429 w 192044"/>
                  <a:gd name="connsiteY10" fmla="*/ 1275 h 112043"/>
                  <a:gd name="connsiteX11" fmla="*/ 192045 w 192044"/>
                  <a:gd name="connsiteY11" fmla="*/ 96658 h 112043"/>
                  <a:gd name="connsiteX12" fmla="*/ 188967 w 192044"/>
                  <a:gd name="connsiteY12" fmla="*/ 108967 h 112043"/>
                  <a:gd name="connsiteX13" fmla="*/ 170506 w 192044"/>
                  <a:gd name="connsiteY13" fmla="*/ 112043 h 112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92044" h="112043">
                    <a:moveTo>
                      <a:pt x="170506" y="112043"/>
                    </a:moveTo>
                    <a:cubicBezTo>
                      <a:pt x="152043" y="112043"/>
                      <a:pt x="133582" y="102813"/>
                      <a:pt x="130506" y="99736"/>
                    </a:cubicBezTo>
                    <a:cubicBezTo>
                      <a:pt x="130506" y="99736"/>
                      <a:pt x="127428" y="99736"/>
                      <a:pt x="127428" y="96658"/>
                    </a:cubicBezTo>
                    <a:cubicBezTo>
                      <a:pt x="121274" y="90505"/>
                      <a:pt x="87428" y="72043"/>
                      <a:pt x="65890" y="65889"/>
                    </a:cubicBezTo>
                    <a:cubicBezTo>
                      <a:pt x="62813" y="65889"/>
                      <a:pt x="59735" y="62813"/>
                      <a:pt x="62813" y="59736"/>
                    </a:cubicBezTo>
                    <a:cubicBezTo>
                      <a:pt x="62813" y="56659"/>
                      <a:pt x="65890" y="53582"/>
                      <a:pt x="68968" y="56659"/>
                    </a:cubicBezTo>
                    <a:cubicBezTo>
                      <a:pt x="72044" y="56659"/>
                      <a:pt x="121274" y="78198"/>
                      <a:pt x="133582" y="90505"/>
                    </a:cubicBezTo>
                    <a:cubicBezTo>
                      <a:pt x="145891" y="96658"/>
                      <a:pt x="170506" y="105890"/>
                      <a:pt x="179736" y="96658"/>
                    </a:cubicBezTo>
                    <a:cubicBezTo>
                      <a:pt x="182812" y="87428"/>
                      <a:pt x="130506" y="44351"/>
                      <a:pt x="4351" y="10505"/>
                    </a:cubicBezTo>
                    <a:cubicBezTo>
                      <a:pt x="1275" y="10505"/>
                      <a:pt x="-1803" y="7428"/>
                      <a:pt x="1275" y="4351"/>
                    </a:cubicBezTo>
                    <a:cubicBezTo>
                      <a:pt x="1275" y="1275"/>
                      <a:pt x="4351" y="-1803"/>
                      <a:pt x="7429" y="1275"/>
                    </a:cubicBezTo>
                    <a:cubicBezTo>
                      <a:pt x="121274" y="32044"/>
                      <a:pt x="185890" y="72043"/>
                      <a:pt x="192045" y="96658"/>
                    </a:cubicBezTo>
                    <a:cubicBezTo>
                      <a:pt x="192045" y="102813"/>
                      <a:pt x="192045" y="105890"/>
                      <a:pt x="188967" y="108967"/>
                    </a:cubicBezTo>
                    <a:cubicBezTo>
                      <a:pt x="185890" y="108967"/>
                      <a:pt x="176660" y="112043"/>
                      <a:pt x="170506" y="11204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52E3213F-71FC-4D56-B5C3-7B89CBD93DDC}"/>
                </a:ext>
              </a:extLst>
            </p:cNvPr>
            <p:cNvSpPr/>
            <p:nvPr/>
          </p:nvSpPr>
          <p:spPr>
            <a:xfrm>
              <a:off x="20353127" y="9402843"/>
              <a:ext cx="383963" cy="439448"/>
            </a:xfrm>
            <a:custGeom>
              <a:avLst/>
              <a:gdLst>
                <a:gd name="connsiteX0" fmla="*/ 0 w 383963"/>
                <a:gd name="connsiteY0" fmla="*/ 313898 h 439448"/>
                <a:gd name="connsiteX1" fmla="*/ 258462 w 383963"/>
                <a:gd name="connsiteY1" fmla="*/ 51 h 439448"/>
                <a:gd name="connsiteX2" fmla="*/ 356924 w 383963"/>
                <a:gd name="connsiteY2" fmla="*/ 436975 h 439448"/>
                <a:gd name="connsiteX3" fmla="*/ 0 w 383963"/>
                <a:gd name="connsiteY3" fmla="*/ 313898 h 43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963" h="439448">
                  <a:moveTo>
                    <a:pt x="0" y="313898"/>
                  </a:moveTo>
                  <a:cubicBezTo>
                    <a:pt x="40000" y="132359"/>
                    <a:pt x="178461" y="-3025"/>
                    <a:pt x="258462" y="51"/>
                  </a:cubicBezTo>
                  <a:cubicBezTo>
                    <a:pt x="363077" y="51"/>
                    <a:pt x="421539" y="236975"/>
                    <a:pt x="356924" y="436975"/>
                  </a:cubicBezTo>
                  <a:cubicBezTo>
                    <a:pt x="283077" y="455436"/>
                    <a:pt x="89232" y="366206"/>
                    <a:pt x="0" y="313898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C96294CD-1A70-4236-B9F6-2541B0A3AEC0}"/>
                </a:ext>
              </a:extLst>
            </p:cNvPr>
            <p:cNvSpPr/>
            <p:nvPr/>
          </p:nvSpPr>
          <p:spPr>
            <a:xfrm>
              <a:off x="20559281" y="9401620"/>
              <a:ext cx="176295" cy="444351"/>
            </a:xfrm>
            <a:custGeom>
              <a:avLst/>
              <a:gdLst>
                <a:gd name="connsiteX0" fmla="*/ 132307 w 176295"/>
                <a:gd name="connsiteY0" fmla="*/ 444352 h 444351"/>
                <a:gd name="connsiteX1" fmla="*/ 3076 w 176295"/>
                <a:gd name="connsiteY1" fmla="*/ 410505 h 444351"/>
                <a:gd name="connsiteX2" fmla="*/ 0 w 176295"/>
                <a:gd name="connsiteY2" fmla="*/ 404352 h 444351"/>
                <a:gd name="connsiteX3" fmla="*/ 6154 w 176295"/>
                <a:gd name="connsiteY3" fmla="*/ 401274 h 444351"/>
                <a:gd name="connsiteX4" fmla="*/ 144616 w 176295"/>
                <a:gd name="connsiteY4" fmla="*/ 432044 h 444351"/>
                <a:gd name="connsiteX5" fmla="*/ 126153 w 176295"/>
                <a:gd name="connsiteY5" fmla="*/ 53582 h 444351"/>
                <a:gd name="connsiteX6" fmla="*/ 79999 w 176295"/>
                <a:gd name="connsiteY6" fmla="*/ 10505 h 444351"/>
                <a:gd name="connsiteX7" fmla="*/ 76923 w 176295"/>
                <a:gd name="connsiteY7" fmla="*/ 4351 h 444351"/>
                <a:gd name="connsiteX8" fmla="*/ 83077 w 176295"/>
                <a:gd name="connsiteY8" fmla="*/ 1274 h 444351"/>
                <a:gd name="connsiteX9" fmla="*/ 135385 w 176295"/>
                <a:gd name="connsiteY9" fmla="*/ 50505 h 444351"/>
                <a:gd name="connsiteX10" fmla="*/ 153846 w 176295"/>
                <a:gd name="connsiteY10" fmla="*/ 438198 h 444351"/>
                <a:gd name="connsiteX11" fmla="*/ 153846 w 176295"/>
                <a:gd name="connsiteY11" fmla="*/ 438198 h 444351"/>
                <a:gd name="connsiteX12" fmla="*/ 153846 w 176295"/>
                <a:gd name="connsiteY12" fmla="*/ 438198 h 444351"/>
                <a:gd name="connsiteX13" fmla="*/ 132307 w 176295"/>
                <a:gd name="connsiteY13" fmla="*/ 444352 h 444351"/>
                <a:gd name="connsiteX14" fmla="*/ 150770 w 176295"/>
                <a:gd name="connsiteY14" fmla="*/ 435121 h 444351"/>
                <a:gd name="connsiteX15" fmla="*/ 150770 w 176295"/>
                <a:gd name="connsiteY15" fmla="*/ 435121 h 444351"/>
                <a:gd name="connsiteX16" fmla="*/ 150770 w 176295"/>
                <a:gd name="connsiteY16" fmla="*/ 435121 h 444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6295" h="444351">
                  <a:moveTo>
                    <a:pt x="132307" y="444352"/>
                  </a:moveTo>
                  <a:cubicBezTo>
                    <a:pt x="110768" y="444352"/>
                    <a:pt x="73847" y="438198"/>
                    <a:pt x="3076" y="410505"/>
                  </a:cubicBezTo>
                  <a:cubicBezTo>
                    <a:pt x="0" y="410505"/>
                    <a:pt x="0" y="407429"/>
                    <a:pt x="0" y="404352"/>
                  </a:cubicBezTo>
                  <a:cubicBezTo>
                    <a:pt x="0" y="401274"/>
                    <a:pt x="3076" y="401274"/>
                    <a:pt x="6154" y="401274"/>
                  </a:cubicBezTo>
                  <a:cubicBezTo>
                    <a:pt x="107692" y="438198"/>
                    <a:pt x="138462" y="432044"/>
                    <a:pt x="144616" y="432044"/>
                  </a:cubicBezTo>
                  <a:cubicBezTo>
                    <a:pt x="175385" y="336659"/>
                    <a:pt x="175385" y="142813"/>
                    <a:pt x="126153" y="53582"/>
                  </a:cubicBezTo>
                  <a:cubicBezTo>
                    <a:pt x="113847" y="28967"/>
                    <a:pt x="98462" y="13582"/>
                    <a:pt x="79999" y="10505"/>
                  </a:cubicBezTo>
                  <a:cubicBezTo>
                    <a:pt x="76923" y="10505"/>
                    <a:pt x="73847" y="7429"/>
                    <a:pt x="76923" y="4351"/>
                  </a:cubicBezTo>
                  <a:cubicBezTo>
                    <a:pt x="76923" y="1274"/>
                    <a:pt x="79999" y="-1802"/>
                    <a:pt x="83077" y="1274"/>
                  </a:cubicBezTo>
                  <a:cubicBezTo>
                    <a:pt x="104616" y="7429"/>
                    <a:pt x="123077" y="22813"/>
                    <a:pt x="135385" y="50505"/>
                  </a:cubicBezTo>
                  <a:cubicBezTo>
                    <a:pt x="184615" y="142813"/>
                    <a:pt x="187692" y="339736"/>
                    <a:pt x="153846" y="438198"/>
                  </a:cubicBezTo>
                  <a:lnTo>
                    <a:pt x="153846" y="438198"/>
                  </a:lnTo>
                  <a:lnTo>
                    <a:pt x="153846" y="438198"/>
                  </a:lnTo>
                  <a:cubicBezTo>
                    <a:pt x="153846" y="441274"/>
                    <a:pt x="147692" y="444352"/>
                    <a:pt x="132307" y="444352"/>
                  </a:cubicBezTo>
                  <a:close/>
                  <a:moveTo>
                    <a:pt x="150770" y="435121"/>
                  </a:moveTo>
                  <a:lnTo>
                    <a:pt x="150770" y="435121"/>
                  </a:lnTo>
                  <a:lnTo>
                    <a:pt x="150770" y="435121"/>
                  </a:ln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3D7C43CB-3D82-4673-9DAA-63957C51F300}"/>
                </a:ext>
              </a:extLst>
            </p:cNvPr>
            <p:cNvSpPr/>
            <p:nvPr/>
          </p:nvSpPr>
          <p:spPr>
            <a:xfrm>
              <a:off x="21256468" y="9438543"/>
              <a:ext cx="140161" cy="595120"/>
            </a:xfrm>
            <a:custGeom>
              <a:avLst/>
              <a:gdLst>
                <a:gd name="connsiteX0" fmla="*/ 96659 w 140161"/>
                <a:gd name="connsiteY0" fmla="*/ 595120 h 595120"/>
                <a:gd name="connsiteX1" fmla="*/ 96659 w 140161"/>
                <a:gd name="connsiteY1" fmla="*/ 595120 h 595120"/>
                <a:gd name="connsiteX2" fmla="*/ 90505 w 140161"/>
                <a:gd name="connsiteY2" fmla="*/ 588967 h 595120"/>
                <a:gd name="connsiteX3" fmla="*/ 124352 w 140161"/>
                <a:gd name="connsiteY3" fmla="*/ 352044 h 595120"/>
                <a:gd name="connsiteX4" fmla="*/ 1275 w 140161"/>
                <a:gd name="connsiteY4" fmla="*/ 10505 h 595120"/>
                <a:gd name="connsiteX5" fmla="*/ 4351 w 140161"/>
                <a:gd name="connsiteY5" fmla="*/ 1275 h 595120"/>
                <a:gd name="connsiteX6" fmla="*/ 13582 w 140161"/>
                <a:gd name="connsiteY6" fmla="*/ 4351 h 595120"/>
                <a:gd name="connsiteX7" fmla="*/ 139737 w 140161"/>
                <a:gd name="connsiteY7" fmla="*/ 355121 h 595120"/>
                <a:gd name="connsiteX8" fmla="*/ 105889 w 140161"/>
                <a:gd name="connsiteY8" fmla="*/ 595120 h 595120"/>
                <a:gd name="connsiteX9" fmla="*/ 96659 w 140161"/>
                <a:gd name="connsiteY9" fmla="*/ 595120 h 595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161" h="595120">
                  <a:moveTo>
                    <a:pt x="96659" y="595120"/>
                  </a:moveTo>
                  <a:cubicBezTo>
                    <a:pt x="93583" y="595120"/>
                    <a:pt x="93583" y="595120"/>
                    <a:pt x="96659" y="595120"/>
                  </a:cubicBezTo>
                  <a:cubicBezTo>
                    <a:pt x="93583" y="595120"/>
                    <a:pt x="90505" y="592044"/>
                    <a:pt x="90505" y="588967"/>
                  </a:cubicBezTo>
                  <a:cubicBezTo>
                    <a:pt x="105889" y="527428"/>
                    <a:pt x="121274" y="416659"/>
                    <a:pt x="124352" y="352044"/>
                  </a:cubicBezTo>
                  <a:cubicBezTo>
                    <a:pt x="130506" y="228967"/>
                    <a:pt x="68968" y="118197"/>
                    <a:pt x="1275" y="10505"/>
                  </a:cubicBezTo>
                  <a:cubicBezTo>
                    <a:pt x="-1803" y="7428"/>
                    <a:pt x="1275" y="4351"/>
                    <a:pt x="4351" y="1275"/>
                  </a:cubicBezTo>
                  <a:cubicBezTo>
                    <a:pt x="7429" y="-1803"/>
                    <a:pt x="10505" y="1275"/>
                    <a:pt x="13582" y="4351"/>
                  </a:cubicBezTo>
                  <a:cubicBezTo>
                    <a:pt x="84352" y="115121"/>
                    <a:pt x="145891" y="225890"/>
                    <a:pt x="139737" y="355121"/>
                  </a:cubicBezTo>
                  <a:cubicBezTo>
                    <a:pt x="136659" y="419736"/>
                    <a:pt x="121274" y="530505"/>
                    <a:pt x="105889" y="595120"/>
                  </a:cubicBezTo>
                  <a:cubicBezTo>
                    <a:pt x="99737" y="595120"/>
                    <a:pt x="96659" y="595120"/>
                    <a:pt x="96659" y="595120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80D325E1-5432-4F60-A048-63DB66D674AD}"/>
                </a:ext>
              </a:extLst>
            </p:cNvPr>
            <p:cNvGrpSpPr/>
            <p:nvPr/>
          </p:nvGrpSpPr>
          <p:grpSpPr>
            <a:xfrm>
              <a:off x="22136043" y="9660134"/>
              <a:ext cx="150598" cy="196866"/>
              <a:chOff x="22136043" y="9660134"/>
              <a:chExt cx="150598" cy="196866"/>
            </a:xfrm>
          </p:grpSpPr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FDC8F01F-3031-4ED9-9709-D71215C7DF2F}"/>
                  </a:ext>
                </a:extLst>
              </p:cNvPr>
              <p:cNvSpPr/>
              <p:nvPr/>
            </p:nvSpPr>
            <p:spPr>
              <a:xfrm>
                <a:off x="22147553" y="9660134"/>
                <a:ext cx="132331" cy="87442"/>
              </a:xfrm>
              <a:custGeom>
                <a:avLst/>
                <a:gdLst>
                  <a:gd name="connsiteX0" fmla="*/ 116344 w 132331"/>
                  <a:gd name="connsiteY0" fmla="*/ 1222 h 87442"/>
                  <a:gd name="connsiteX1" fmla="*/ 33266 w 132331"/>
                  <a:gd name="connsiteY1" fmla="*/ 25838 h 87442"/>
                  <a:gd name="connsiteX2" fmla="*/ 20958 w 132331"/>
                  <a:gd name="connsiteY2" fmla="*/ 28914 h 87442"/>
                  <a:gd name="connsiteX3" fmla="*/ 8651 w 132331"/>
                  <a:gd name="connsiteY3" fmla="*/ 38145 h 87442"/>
                  <a:gd name="connsiteX4" fmla="*/ 5573 w 132331"/>
                  <a:gd name="connsiteY4" fmla="*/ 81222 h 87442"/>
                  <a:gd name="connsiteX5" fmla="*/ 45573 w 132331"/>
                  <a:gd name="connsiteY5" fmla="*/ 81222 h 87442"/>
                  <a:gd name="connsiteX6" fmla="*/ 97881 w 132331"/>
                  <a:gd name="connsiteY6" fmla="*/ 59684 h 87442"/>
                  <a:gd name="connsiteX7" fmla="*/ 131728 w 132331"/>
                  <a:gd name="connsiteY7" fmla="*/ 31992 h 87442"/>
                  <a:gd name="connsiteX8" fmla="*/ 116344 w 132331"/>
                  <a:gd name="connsiteY8" fmla="*/ 1222 h 87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331" h="87442">
                    <a:moveTo>
                      <a:pt x="116344" y="1222"/>
                    </a:moveTo>
                    <a:cubicBezTo>
                      <a:pt x="91727" y="-4931"/>
                      <a:pt x="60958" y="13530"/>
                      <a:pt x="33266" y="25838"/>
                    </a:cubicBezTo>
                    <a:cubicBezTo>
                      <a:pt x="30188" y="25838"/>
                      <a:pt x="20958" y="28914"/>
                      <a:pt x="20958" y="28914"/>
                    </a:cubicBezTo>
                    <a:cubicBezTo>
                      <a:pt x="17882" y="31992"/>
                      <a:pt x="11728" y="35068"/>
                      <a:pt x="8651" y="38145"/>
                    </a:cubicBezTo>
                    <a:cubicBezTo>
                      <a:pt x="-581" y="50453"/>
                      <a:pt x="-3657" y="68915"/>
                      <a:pt x="5573" y="81222"/>
                    </a:cubicBezTo>
                    <a:cubicBezTo>
                      <a:pt x="14804" y="93530"/>
                      <a:pt x="33266" y="84299"/>
                      <a:pt x="45573" y="81222"/>
                    </a:cubicBezTo>
                    <a:cubicBezTo>
                      <a:pt x="64036" y="75068"/>
                      <a:pt x="82496" y="68915"/>
                      <a:pt x="97881" y="59684"/>
                    </a:cubicBezTo>
                    <a:cubicBezTo>
                      <a:pt x="110190" y="53530"/>
                      <a:pt x="125574" y="47376"/>
                      <a:pt x="131728" y="31992"/>
                    </a:cubicBezTo>
                    <a:cubicBezTo>
                      <a:pt x="134805" y="19684"/>
                      <a:pt x="125574" y="4299"/>
                      <a:pt x="116344" y="122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7286E455-3C03-4253-B21A-CFFA7FD08D7F}"/>
                  </a:ext>
                </a:extLst>
              </p:cNvPr>
              <p:cNvSpPr/>
              <p:nvPr/>
            </p:nvSpPr>
            <p:spPr>
              <a:xfrm>
                <a:off x="22138323" y="9707232"/>
                <a:ext cx="134140" cy="89574"/>
              </a:xfrm>
              <a:custGeom>
                <a:avLst/>
                <a:gdLst>
                  <a:gd name="connsiteX0" fmla="*/ 119420 w 134140"/>
                  <a:gd name="connsiteY0" fmla="*/ 3354 h 89574"/>
                  <a:gd name="connsiteX1" fmla="*/ 27112 w 134140"/>
                  <a:gd name="connsiteY1" fmla="*/ 27970 h 89574"/>
                  <a:gd name="connsiteX2" fmla="*/ 20958 w 134140"/>
                  <a:gd name="connsiteY2" fmla="*/ 31047 h 89574"/>
                  <a:gd name="connsiteX3" fmla="*/ 8650 w 134140"/>
                  <a:gd name="connsiteY3" fmla="*/ 40278 h 89574"/>
                  <a:gd name="connsiteX4" fmla="*/ 5574 w 134140"/>
                  <a:gd name="connsiteY4" fmla="*/ 83354 h 89574"/>
                  <a:gd name="connsiteX5" fmla="*/ 45573 w 134140"/>
                  <a:gd name="connsiteY5" fmla="*/ 83354 h 89574"/>
                  <a:gd name="connsiteX6" fmla="*/ 97881 w 134140"/>
                  <a:gd name="connsiteY6" fmla="*/ 61816 h 89574"/>
                  <a:gd name="connsiteX7" fmla="*/ 131727 w 134140"/>
                  <a:gd name="connsiteY7" fmla="*/ 34124 h 89574"/>
                  <a:gd name="connsiteX8" fmla="*/ 119420 w 134140"/>
                  <a:gd name="connsiteY8" fmla="*/ 3354 h 89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4140" h="89574">
                    <a:moveTo>
                      <a:pt x="119420" y="3354"/>
                    </a:moveTo>
                    <a:cubicBezTo>
                      <a:pt x="88651" y="-8953"/>
                      <a:pt x="57882" y="15662"/>
                      <a:pt x="27112" y="27970"/>
                    </a:cubicBezTo>
                    <a:cubicBezTo>
                      <a:pt x="24034" y="27970"/>
                      <a:pt x="20958" y="31047"/>
                      <a:pt x="20958" y="31047"/>
                    </a:cubicBezTo>
                    <a:cubicBezTo>
                      <a:pt x="17882" y="34124"/>
                      <a:pt x="11728" y="37201"/>
                      <a:pt x="8650" y="40278"/>
                    </a:cubicBezTo>
                    <a:cubicBezTo>
                      <a:pt x="-581" y="52585"/>
                      <a:pt x="-3657" y="71047"/>
                      <a:pt x="5574" y="83354"/>
                    </a:cubicBezTo>
                    <a:cubicBezTo>
                      <a:pt x="14804" y="95662"/>
                      <a:pt x="33267" y="86432"/>
                      <a:pt x="45573" y="83354"/>
                    </a:cubicBezTo>
                    <a:cubicBezTo>
                      <a:pt x="64036" y="77201"/>
                      <a:pt x="82497" y="71047"/>
                      <a:pt x="97881" y="61816"/>
                    </a:cubicBezTo>
                    <a:cubicBezTo>
                      <a:pt x="110190" y="55662"/>
                      <a:pt x="125574" y="49508"/>
                      <a:pt x="131727" y="34124"/>
                    </a:cubicBezTo>
                    <a:cubicBezTo>
                      <a:pt x="137881" y="18739"/>
                      <a:pt x="131727" y="6431"/>
                      <a:pt x="119420" y="335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082CEDD5-0C67-4558-BBD0-4DC4E6E1180D}"/>
                  </a:ext>
                </a:extLst>
              </p:cNvPr>
              <p:cNvSpPr/>
              <p:nvPr/>
            </p:nvSpPr>
            <p:spPr>
              <a:xfrm>
                <a:off x="22158069" y="9753037"/>
                <a:ext cx="117050" cy="77616"/>
              </a:xfrm>
              <a:custGeom>
                <a:avLst/>
                <a:gdLst>
                  <a:gd name="connsiteX0" fmla="*/ 102750 w 117050"/>
                  <a:gd name="connsiteY0" fmla="*/ 3704 h 77616"/>
                  <a:gd name="connsiteX1" fmla="*/ 22750 w 117050"/>
                  <a:gd name="connsiteY1" fmla="*/ 22166 h 77616"/>
                  <a:gd name="connsiteX2" fmla="*/ 16596 w 117050"/>
                  <a:gd name="connsiteY2" fmla="*/ 25243 h 77616"/>
                  <a:gd name="connsiteX3" fmla="*/ 7366 w 117050"/>
                  <a:gd name="connsiteY3" fmla="*/ 34473 h 77616"/>
                  <a:gd name="connsiteX4" fmla="*/ 4288 w 117050"/>
                  <a:gd name="connsiteY4" fmla="*/ 71397 h 77616"/>
                  <a:gd name="connsiteX5" fmla="*/ 41211 w 117050"/>
                  <a:gd name="connsiteY5" fmla="*/ 71397 h 77616"/>
                  <a:gd name="connsiteX6" fmla="*/ 87365 w 117050"/>
                  <a:gd name="connsiteY6" fmla="*/ 52935 h 77616"/>
                  <a:gd name="connsiteX7" fmla="*/ 115058 w 117050"/>
                  <a:gd name="connsiteY7" fmla="*/ 31396 h 77616"/>
                  <a:gd name="connsiteX8" fmla="*/ 102750 w 117050"/>
                  <a:gd name="connsiteY8" fmla="*/ 3704 h 77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7050" h="77616">
                    <a:moveTo>
                      <a:pt x="102750" y="3704"/>
                    </a:moveTo>
                    <a:cubicBezTo>
                      <a:pt x="75058" y="-8604"/>
                      <a:pt x="47365" y="12935"/>
                      <a:pt x="22750" y="22166"/>
                    </a:cubicBezTo>
                    <a:cubicBezTo>
                      <a:pt x="19672" y="22166"/>
                      <a:pt x="19672" y="25243"/>
                      <a:pt x="16596" y="25243"/>
                    </a:cubicBezTo>
                    <a:cubicBezTo>
                      <a:pt x="13520" y="28319"/>
                      <a:pt x="10442" y="28319"/>
                      <a:pt x="7366" y="34473"/>
                    </a:cubicBezTo>
                    <a:cubicBezTo>
                      <a:pt x="-1865" y="43704"/>
                      <a:pt x="-1865" y="62166"/>
                      <a:pt x="4288" y="71397"/>
                    </a:cubicBezTo>
                    <a:cubicBezTo>
                      <a:pt x="13520" y="83704"/>
                      <a:pt x="28905" y="74473"/>
                      <a:pt x="41211" y="71397"/>
                    </a:cubicBezTo>
                    <a:cubicBezTo>
                      <a:pt x="56596" y="65242"/>
                      <a:pt x="71980" y="62166"/>
                      <a:pt x="87365" y="52935"/>
                    </a:cubicBezTo>
                    <a:cubicBezTo>
                      <a:pt x="96595" y="49858"/>
                      <a:pt x="111980" y="43704"/>
                      <a:pt x="115058" y="31396"/>
                    </a:cubicBezTo>
                    <a:cubicBezTo>
                      <a:pt x="121212" y="16012"/>
                      <a:pt x="111980" y="6781"/>
                      <a:pt x="102750" y="370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07C3D630-DC53-47BB-9831-E1366058054D}"/>
                  </a:ext>
                </a:extLst>
              </p:cNvPr>
              <p:cNvSpPr/>
              <p:nvPr/>
            </p:nvSpPr>
            <p:spPr>
              <a:xfrm>
                <a:off x="22186696" y="9796971"/>
                <a:ext cx="86431" cy="60029"/>
              </a:xfrm>
              <a:custGeom>
                <a:avLst/>
                <a:gdLst>
                  <a:gd name="connsiteX0" fmla="*/ 74123 w 86431"/>
                  <a:gd name="connsiteY0" fmla="*/ 2846 h 60029"/>
                  <a:gd name="connsiteX1" fmla="*/ 15663 w 86431"/>
                  <a:gd name="connsiteY1" fmla="*/ 18231 h 60029"/>
                  <a:gd name="connsiteX2" fmla="*/ 12585 w 86431"/>
                  <a:gd name="connsiteY2" fmla="*/ 21308 h 60029"/>
                  <a:gd name="connsiteX3" fmla="*/ 6431 w 86431"/>
                  <a:gd name="connsiteY3" fmla="*/ 27462 h 60029"/>
                  <a:gd name="connsiteX4" fmla="*/ 3354 w 86431"/>
                  <a:gd name="connsiteY4" fmla="*/ 55154 h 60029"/>
                  <a:gd name="connsiteX5" fmla="*/ 31047 w 86431"/>
                  <a:gd name="connsiteY5" fmla="*/ 55154 h 60029"/>
                  <a:gd name="connsiteX6" fmla="*/ 64893 w 86431"/>
                  <a:gd name="connsiteY6" fmla="*/ 42846 h 60029"/>
                  <a:gd name="connsiteX7" fmla="*/ 86432 w 86431"/>
                  <a:gd name="connsiteY7" fmla="*/ 24385 h 60029"/>
                  <a:gd name="connsiteX8" fmla="*/ 74123 w 86431"/>
                  <a:gd name="connsiteY8" fmla="*/ 2846 h 60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431" h="60029">
                    <a:moveTo>
                      <a:pt x="74123" y="2846"/>
                    </a:moveTo>
                    <a:cubicBezTo>
                      <a:pt x="52584" y="-6385"/>
                      <a:pt x="34124" y="9000"/>
                      <a:pt x="15663" y="18231"/>
                    </a:cubicBezTo>
                    <a:cubicBezTo>
                      <a:pt x="12585" y="18231"/>
                      <a:pt x="12585" y="21308"/>
                      <a:pt x="12585" y="21308"/>
                    </a:cubicBezTo>
                    <a:cubicBezTo>
                      <a:pt x="9509" y="21308"/>
                      <a:pt x="6431" y="24385"/>
                      <a:pt x="6431" y="27462"/>
                    </a:cubicBezTo>
                    <a:cubicBezTo>
                      <a:pt x="278" y="33616"/>
                      <a:pt x="-2800" y="45923"/>
                      <a:pt x="3354" y="55154"/>
                    </a:cubicBezTo>
                    <a:cubicBezTo>
                      <a:pt x="9509" y="64385"/>
                      <a:pt x="21815" y="58231"/>
                      <a:pt x="31047" y="55154"/>
                    </a:cubicBezTo>
                    <a:cubicBezTo>
                      <a:pt x="43354" y="52077"/>
                      <a:pt x="55662" y="45923"/>
                      <a:pt x="64893" y="42846"/>
                    </a:cubicBezTo>
                    <a:cubicBezTo>
                      <a:pt x="71047" y="39769"/>
                      <a:pt x="83354" y="36692"/>
                      <a:pt x="86432" y="24385"/>
                    </a:cubicBezTo>
                    <a:cubicBezTo>
                      <a:pt x="86432" y="12077"/>
                      <a:pt x="80277" y="5923"/>
                      <a:pt x="74123" y="284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A27FE349-6FA0-4895-8CA0-66D9F8BA2ABA}"/>
                  </a:ext>
                </a:extLst>
              </p:cNvPr>
              <p:cNvSpPr/>
              <p:nvPr/>
            </p:nvSpPr>
            <p:spPr>
              <a:xfrm>
                <a:off x="22136043" y="9664433"/>
                <a:ext cx="143470" cy="135384"/>
              </a:xfrm>
              <a:custGeom>
                <a:avLst/>
                <a:gdLst>
                  <a:gd name="connsiteX0" fmla="*/ 23238 w 143470"/>
                  <a:gd name="connsiteY0" fmla="*/ 135385 h 135384"/>
                  <a:gd name="connsiteX1" fmla="*/ 1699 w 143470"/>
                  <a:gd name="connsiteY1" fmla="*/ 120000 h 135384"/>
                  <a:gd name="connsiteX2" fmla="*/ 10930 w 143470"/>
                  <a:gd name="connsiteY2" fmla="*/ 76923 h 135384"/>
                  <a:gd name="connsiteX3" fmla="*/ 4777 w 143470"/>
                  <a:gd name="connsiteY3" fmla="*/ 67693 h 135384"/>
                  <a:gd name="connsiteX4" fmla="*/ 4777 w 143470"/>
                  <a:gd name="connsiteY4" fmla="*/ 49231 h 135384"/>
                  <a:gd name="connsiteX5" fmla="*/ 90931 w 143470"/>
                  <a:gd name="connsiteY5" fmla="*/ 0 h 135384"/>
                  <a:gd name="connsiteX6" fmla="*/ 97085 w 143470"/>
                  <a:gd name="connsiteY6" fmla="*/ 3077 h 135384"/>
                  <a:gd name="connsiteX7" fmla="*/ 94007 w 143470"/>
                  <a:gd name="connsiteY7" fmla="*/ 9231 h 135384"/>
                  <a:gd name="connsiteX8" fmla="*/ 14008 w 143470"/>
                  <a:gd name="connsiteY8" fmla="*/ 52308 h 135384"/>
                  <a:gd name="connsiteX9" fmla="*/ 14008 w 143470"/>
                  <a:gd name="connsiteY9" fmla="*/ 61538 h 135384"/>
                  <a:gd name="connsiteX10" fmla="*/ 23238 w 143470"/>
                  <a:gd name="connsiteY10" fmla="*/ 73846 h 135384"/>
                  <a:gd name="connsiteX11" fmla="*/ 121700 w 143470"/>
                  <a:gd name="connsiteY11" fmla="*/ 40000 h 135384"/>
                  <a:gd name="connsiteX12" fmla="*/ 134007 w 143470"/>
                  <a:gd name="connsiteY12" fmla="*/ 40000 h 135384"/>
                  <a:gd name="connsiteX13" fmla="*/ 143239 w 143470"/>
                  <a:gd name="connsiteY13" fmla="*/ 58462 h 135384"/>
                  <a:gd name="connsiteX14" fmla="*/ 66316 w 143470"/>
                  <a:gd name="connsiteY14" fmla="*/ 123077 h 135384"/>
                  <a:gd name="connsiteX15" fmla="*/ 23238 w 143470"/>
                  <a:gd name="connsiteY15" fmla="*/ 135385 h 135384"/>
                  <a:gd name="connsiteX16" fmla="*/ 17084 w 143470"/>
                  <a:gd name="connsiteY16" fmla="*/ 86154 h 135384"/>
                  <a:gd name="connsiteX17" fmla="*/ 10930 w 143470"/>
                  <a:gd name="connsiteY17" fmla="*/ 120000 h 135384"/>
                  <a:gd name="connsiteX18" fmla="*/ 60162 w 143470"/>
                  <a:gd name="connsiteY18" fmla="*/ 116923 h 135384"/>
                  <a:gd name="connsiteX19" fmla="*/ 130931 w 143470"/>
                  <a:gd name="connsiteY19" fmla="*/ 64616 h 135384"/>
                  <a:gd name="connsiteX20" fmla="*/ 127854 w 143470"/>
                  <a:gd name="connsiteY20" fmla="*/ 55385 h 135384"/>
                  <a:gd name="connsiteX21" fmla="*/ 124776 w 143470"/>
                  <a:gd name="connsiteY21" fmla="*/ 55385 h 135384"/>
                  <a:gd name="connsiteX22" fmla="*/ 17084 w 143470"/>
                  <a:gd name="connsiteY22" fmla="*/ 86154 h 135384"/>
                  <a:gd name="connsiteX23" fmla="*/ 17084 w 143470"/>
                  <a:gd name="connsiteY23" fmla="*/ 86154 h 13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43470" h="135384">
                    <a:moveTo>
                      <a:pt x="23238" y="135385"/>
                    </a:moveTo>
                    <a:cubicBezTo>
                      <a:pt x="14008" y="135385"/>
                      <a:pt x="4777" y="132308"/>
                      <a:pt x="1699" y="120000"/>
                    </a:cubicBezTo>
                    <a:cubicBezTo>
                      <a:pt x="-4455" y="101539"/>
                      <a:pt x="7854" y="80000"/>
                      <a:pt x="10930" y="76923"/>
                    </a:cubicBezTo>
                    <a:cubicBezTo>
                      <a:pt x="7854" y="73846"/>
                      <a:pt x="4777" y="67693"/>
                      <a:pt x="4777" y="67693"/>
                    </a:cubicBezTo>
                    <a:cubicBezTo>
                      <a:pt x="1699" y="61538"/>
                      <a:pt x="1699" y="55385"/>
                      <a:pt x="4777" y="49231"/>
                    </a:cubicBezTo>
                    <a:cubicBezTo>
                      <a:pt x="20162" y="21539"/>
                      <a:pt x="84777" y="3077"/>
                      <a:pt x="90931" y="0"/>
                    </a:cubicBezTo>
                    <a:cubicBezTo>
                      <a:pt x="94007" y="0"/>
                      <a:pt x="97085" y="0"/>
                      <a:pt x="97085" y="3077"/>
                    </a:cubicBezTo>
                    <a:cubicBezTo>
                      <a:pt x="97085" y="6154"/>
                      <a:pt x="97085" y="9231"/>
                      <a:pt x="94007" y="9231"/>
                    </a:cubicBezTo>
                    <a:cubicBezTo>
                      <a:pt x="75546" y="15385"/>
                      <a:pt x="23238" y="33846"/>
                      <a:pt x="14008" y="52308"/>
                    </a:cubicBezTo>
                    <a:cubicBezTo>
                      <a:pt x="10930" y="55385"/>
                      <a:pt x="10930" y="58462"/>
                      <a:pt x="14008" y="61538"/>
                    </a:cubicBezTo>
                    <a:cubicBezTo>
                      <a:pt x="17084" y="67693"/>
                      <a:pt x="17084" y="70769"/>
                      <a:pt x="23238" y="73846"/>
                    </a:cubicBezTo>
                    <a:cubicBezTo>
                      <a:pt x="38623" y="80000"/>
                      <a:pt x="69392" y="67693"/>
                      <a:pt x="121700" y="40000"/>
                    </a:cubicBezTo>
                    <a:cubicBezTo>
                      <a:pt x="121700" y="40000"/>
                      <a:pt x="127854" y="36923"/>
                      <a:pt x="134007" y="40000"/>
                    </a:cubicBezTo>
                    <a:cubicBezTo>
                      <a:pt x="140161" y="43077"/>
                      <a:pt x="143239" y="49231"/>
                      <a:pt x="143239" y="58462"/>
                    </a:cubicBezTo>
                    <a:cubicBezTo>
                      <a:pt x="146315" y="83077"/>
                      <a:pt x="118622" y="104616"/>
                      <a:pt x="66316" y="123077"/>
                    </a:cubicBezTo>
                    <a:cubicBezTo>
                      <a:pt x="50931" y="132308"/>
                      <a:pt x="35547" y="135385"/>
                      <a:pt x="23238" y="135385"/>
                    </a:cubicBezTo>
                    <a:close/>
                    <a:moveTo>
                      <a:pt x="17084" y="86154"/>
                    </a:moveTo>
                    <a:cubicBezTo>
                      <a:pt x="14008" y="92308"/>
                      <a:pt x="7854" y="110769"/>
                      <a:pt x="10930" y="120000"/>
                    </a:cubicBezTo>
                    <a:cubicBezTo>
                      <a:pt x="14008" y="129231"/>
                      <a:pt x="26314" y="129231"/>
                      <a:pt x="60162" y="116923"/>
                    </a:cubicBezTo>
                    <a:cubicBezTo>
                      <a:pt x="106316" y="101539"/>
                      <a:pt x="130931" y="80000"/>
                      <a:pt x="130931" y="64616"/>
                    </a:cubicBezTo>
                    <a:cubicBezTo>
                      <a:pt x="130931" y="58462"/>
                      <a:pt x="127854" y="55385"/>
                      <a:pt x="127854" y="55385"/>
                    </a:cubicBezTo>
                    <a:cubicBezTo>
                      <a:pt x="127854" y="55385"/>
                      <a:pt x="124776" y="55385"/>
                      <a:pt x="124776" y="55385"/>
                    </a:cubicBezTo>
                    <a:cubicBezTo>
                      <a:pt x="54008" y="89231"/>
                      <a:pt x="29393" y="89231"/>
                      <a:pt x="17084" y="86154"/>
                    </a:cubicBezTo>
                    <a:cubicBezTo>
                      <a:pt x="17084" y="86154"/>
                      <a:pt x="17084" y="86154"/>
                      <a:pt x="17084" y="8615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AC66D187-D654-4C33-B250-5DB6E9513A4A}"/>
                  </a:ext>
                </a:extLst>
              </p:cNvPr>
              <p:cNvSpPr/>
              <p:nvPr/>
            </p:nvSpPr>
            <p:spPr>
              <a:xfrm>
                <a:off x="22151588" y="9749312"/>
                <a:ext cx="135053" cy="84351"/>
              </a:xfrm>
              <a:custGeom>
                <a:avLst/>
                <a:gdLst>
                  <a:gd name="connsiteX0" fmla="*/ 26154 w 135053"/>
                  <a:gd name="connsiteY0" fmla="*/ 84351 h 84351"/>
                  <a:gd name="connsiteX1" fmla="*/ 7693 w 135053"/>
                  <a:gd name="connsiteY1" fmla="*/ 78197 h 84351"/>
                  <a:gd name="connsiteX2" fmla="*/ 1539 w 135053"/>
                  <a:gd name="connsiteY2" fmla="*/ 44352 h 84351"/>
                  <a:gd name="connsiteX3" fmla="*/ 7693 w 135053"/>
                  <a:gd name="connsiteY3" fmla="*/ 38197 h 84351"/>
                  <a:gd name="connsiteX4" fmla="*/ 13847 w 135053"/>
                  <a:gd name="connsiteY4" fmla="*/ 44352 h 84351"/>
                  <a:gd name="connsiteX5" fmla="*/ 16923 w 135053"/>
                  <a:gd name="connsiteY5" fmla="*/ 65890 h 84351"/>
                  <a:gd name="connsiteX6" fmla="*/ 35386 w 135053"/>
                  <a:gd name="connsiteY6" fmla="*/ 68967 h 84351"/>
                  <a:gd name="connsiteX7" fmla="*/ 118461 w 135053"/>
                  <a:gd name="connsiteY7" fmla="*/ 32044 h 84351"/>
                  <a:gd name="connsiteX8" fmla="*/ 121539 w 135053"/>
                  <a:gd name="connsiteY8" fmla="*/ 22813 h 84351"/>
                  <a:gd name="connsiteX9" fmla="*/ 112309 w 135053"/>
                  <a:gd name="connsiteY9" fmla="*/ 10505 h 84351"/>
                  <a:gd name="connsiteX10" fmla="*/ 109231 w 135053"/>
                  <a:gd name="connsiteY10" fmla="*/ 4351 h 84351"/>
                  <a:gd name="connsiteX11" fmla="*/ 115385 w 135053"/>
                  <a:gd name="connsiteY11" fmla="*/ 1274 h 84351"/>
                  <a:gd name="connsiteX12" fmla="*/ 133846 w 135053"/>
                  <a:gd name="connsiteY12" fmla="*/ 22813 h 84351"/>
                  <a:gd name="connsiteX13" fmla="*/ 127694 w 135053"/>
                  <a:gd name="connsiteY13" fmla="*/ 44352 h 84351"/>
                  <a:gd name="connsiteX14" fmla="*/ 38462 w 135053"/>
                  <a:gd name="connsiteY14" fmla="*/ 84351 h 84351"/>
                  <a:gd name="connsiteX15" fmla="*/ 26154 w 135053"/>
                  <a:gd name="connsiteY15" fmla="*/ 84351 h 84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5053" h="84351">
                    <a:moveTo>
                      <a:pt x="26154" y="84351"/>
                    </a:moveTo>
                    <a:cubicBezTo>
                      <a:pt x="16923" y="84351"/>
                      <a:pt x="10769" y="81275"/>
                      <a:pt x="7693" y="78197"/>
                    </a:cubicBezTo>
                    <a:cubicBezTo>
                      <a:pt x="-4616" y="65890"/>
                      <a:pt x="1539" y="47428"/>
                      <a:pt x="1539" y="44352"/>
                    </a:cubicBezTo>
                    <a:cubicBezTo>
                      <a:pt x="1539" y="41274"/>
                      <a:pt x="4617" y="38197"/>
                      <a:pt x="7693" y="38197"/>
                    </a:cubicBezTo>
                    <a:cubicBezTo>
                      <a:pt x="10769" y="38197"/>
                      <a:pt x="13847" y="41274"/>
                      <a:pt x="13847" y="44352"/>
                    </a:cubicBezTo>
                    <a:cubicBezTo>
                      <a:pt x="13847" y="47428"/>
                      <a:pt x="10769" y="59736"/>
                      <a:pt x="16923" y="65890"/>
                    </a:cubicBezTo>
                    <a:cubicBezTo>
                      <a:pt x="20001" y="68967"/>
                      <a:pt x="26154" y="68967"/>
                      <a:pt x="35386" y="68967"/>
                    </a:cubicBezTo>
                    <a:cubicBezTo>
                      <a:pt x="72307" y="62813"/>
                      <a:pt x="109231" y="41274"/>
                      <a:pt x="118461" y="32044"/>
                    </a:cubicBezTo>
                    <a:cubicBezTo>
                      <a:pt x="121539" y="28967"/>
                      <a:pt x="121539" y="25890"/>
                      <a:pt x="121539" y="22813"/>
                    </a:cubicBezTo>
                    <a:cubicBezTo>
                      <a:pt x="118461" y="16659"/>
                      <a:pt x="115385" y="10505"/>
                      <a:pt x="112309" y="10505"/>
                    </a:cubicBezTo>
                    <a:cubicBezTo>
                      <a:pt x="109231" y="10505"/>
                      <a:pt x="106155" y="7428"/>
                      <a:pt x="109231" y="4351"/>
                    </a:cubicBezTo>
                    <a:cubicBezTo>
                      <a:pt x="109231" y="1274"/>
                      <a:pt x="112309" y="-1802"/>
                      <a:pt x="115385" y="1274"/>
                    </a:cubicBezTo>
                    <a:cubicBezTo>
                      <a:pt x="124615" y="4351"/>
                      <a:pt x="130770" y="13582"/>
                      <a:pt x="133846" y="22813"/>
                    </a:cubicBezTo>
                    <a:cubicBezTo>
                      <a:pt x="136924" y="32044"/>
                      <a:pt x="133846" y="38197"/>
                      <a:pt x="127694" y="44352"/>
                    </a:cubicBezTo>
                    <a:cubicBezTo>
                      <a:pt x="115385" y="53582"/>
                      <a:pt x="75385" y="78197"/>
                      <a:pt x="38462" y="84351"/>
                    </a:cubicBezTo>
                    <a:cubicBezTo>
                      <a:pt x="32308" y="84351"/>
                      <a:pt x="29232" y="84351"/>
                      <a:pt x="26154" y="8435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B2F91451-1770-4136-AAC3-A4F63A915125}"/>
                </a:ext>
              </a:extLst>
            </p:cNvPr>
            <p:cNvSpPr/>
            <p:nvPr/>
          </p:nvSpPr>
          <p:spPr>
            <a:xfrm>
              <a:off x="22071407" y="9725175"/>
              <a:ext cx="135310" cy="133103"/>
            </a:xfrm>
            <a:custGeom>
              <a:avLst/>
              <a:gdLst>
                <a:gd name="connsiteX0" fmla="*/ 84798 w 135310"/>
                <a:gd name="connsiteY0" fmla="*/ 796 h 133103"/>
                <a:gd name="connsiteX1" fmla="*/ 1721 w 135310"/>
                <a:gd name="connsiteY1" fmla="*/ 50027 h 133103"/>
                <a:gd name="connsiteX2" fmla="*/ 26336 w 135310"/>
                <a:gd name="connsiteY2" fmla="*/ 133104 h 133103"/>
                <a:gd name="connsiteX3" fmla="*/ 54029 w 135310"/>
                <a:gd name="connsiteY3" fmla="*/ 68489 h 133103"/>
                <a:gd name="connsiteX4" fmla="*/ 109413 w 135310"/>
                <a:gd name="connsiteY4" fmla="*/ 53104 h 133103"/>
                <a:gd name="connsiteX5" fmla="*/ 134028 w 135310"/>
                <a:gd name="connsiteY5" fmla="*/ 56181 h 133103"/>
                <a:gd name="connsiteX6" fmla="*/ 84798 w 135310"/>
                <a:gd name="connsiteY6" fmla="*/ 796 h 133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310" h="133103">
                  <a:moveTo>
                    <a:pt x="84798" y="796"/>
                  </a:moveTo>
                  <a:cubicBezTo>
                    <a:pt x="54029" y="-5358"/>
                    <a:pt x="17105" y="25412"/>
                    <a:pt x="1721" y="50027"/>
                  </a:cubicBezTo>
                  <a:cubicBezTo>
                    <a:pt x="-7510" y="65412"/>
                    <a:pt x="23259" y="133104"/>
                    <a:pt x="26336" y="133104"/>
                  </a:cubicBezTo>
                  <a:cubicBezTo>
                    <a:pt x="63259" y="123873"/>
                    <a:pt x="44796" y="77719"/>
                    <a:pt x="54029" y="68489"/>
                  </a:cubicBezTo>
                  <a:cubicBezTo>
                    <a:pt x="69413" y="53104"/>
                    <a:pt x="87874" y="50027"/>
                    <a:pt x="109413" y="53104"/>
                  </a:cubicBezTo>
                  <a:cubicBezTo>
                    <a:pt x="115567" y="53104"/>
                    <a:pt x="130952" y="65412"/>
                    <a:pt x="134028" y="56181"/>
                  </a:cubicBezTo>
                  <a:cubicBezTo>
                    <a:pt x="143258" y="34642"/>
                    <a:pt x="100183" y="3873"/>
                    <a:pt x="84798" y="796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2ED03A00-5E0F-4322-BA16-DB466B2476DF}"/>
                </a:ext>
              </a:extLst>
            </p:cNvPr>
            <p:cNvSpPr/>
            <p:nvPr/>
          </p:nvSpPr>
          <p:spPr>
            <a:xfrm>
              <a:off x="22064666" y="9714276"/>
              <a:ext cx="146922" cy="147080"/>
            </a:xfrm>
            <a:custGeom>
              <a:avLst/>
              <a:gdLst>
                <a:gd name="connsiteX0" fmla="*/ 33076 w 146922"/>
                <a:gd name="connsiteY0" fmla="*/ 147080 h 147080"/>
                <a:gd name="connsiteX1" fmla="*/ 26922 w 146922"/>
                <a:gd name="connsiteY1" fmla="*/ 144003 h 147080"/>
                <a:gd name="connsiteX2" fmla="*/ 30000 w 146922"/>
                <a:gd name="connsiteY2" fmla="*/ 137849 h 147080"/>
                <a:gd name="connsiteX3" fmla="*/ 51537 w 146922"/>
                <a:gd name="connsiteY3" fmla="*/ 79388 h 147080"/>
                <a:gd name="connsiteX4" fmla="*/ 54615 w 146922"/>
                <a:gd name="connsiteY4" fmla="*/ 73234 h 147080"/>
                <a:gd name="connsiteX5" fmla="*/ 116154 w 146922"/>
                <a:gd name="connsiteY5" fmla="*/ 57849 h 147080"/>
                <a:gd name="connsiteX6" fmla="*/ 134614 w 146922"/>
                <a:gd name="connsiteY6" fmla="*/ 57849 h 147080"/>
                <a:gd name="connsiteX7" fmla="*/ 134614 w 146922"/>
                <a:gd name="connsiteY7" fmla="*/ 51695 h 147080"/>
                <a:gd name="connsiteX8" fmla="*/ 88461 w 146922"/>
                <a:gd name="connsiteY8" fmla="*/ 14772 h 147080"/>
                <a:gd name="connsiteX9" fmla="*/ 11538 w 146922"/>
                <a:gd name="connsiteY9" fmla="*/ 60926 h 147080"/>
                <a:gd name="connsiteX10" fmla="*/ 2307 w 146922"/>
                <a:gd name="connsiteY10" fmla="*/ 60926 h 147080"/>
                <a:gd name="connsiteX11" fmla="*/ 2307 w 146922"/>
                <a:gd name="connsiteY11" fmla="*/ 51695 h 147080"/>
                <a:gd name="connsiteX12" fmla="*/ 91539 w 146922"/>
                <a:gd name="connsiteY12" fmla="*/ 2465 h 147080"/>
                <a:gd name="connsiteX13" fmla="*/ 146923 w 146922"/>
                <a:gd name="connsiteY13" fmla="*/ 48619 h 147080"/>
                <a:gd name="connsiteX14" fmla="*/ 143845 w 146922"/>
                <a:gd name="connsiteY14" fmla="*/ 64003 h 147080"/>
                <a:gd name="connsiteX15" fmla="*/ 116154 w 146922"/>
                <a:gd name="connsiteY15" fmla="*/ 67080 h 147080"/>
                <a:gd name="connsiteX16" fmla="*/ 66922 w 146922"/>
                <a:gd name="connsiteY16" fmla="*/ 76311 h 147080"/>
                <a:gd name="connsiteX17" fmla="*/ 33076 w 146922"/>
                <a:gd name="connsiteY17" fmla="*/ 147080 h 147080"/>
                <a:gd name="connsiteX18" fmla="*/ 33076 w 146922"/>
                <a:gd name="connsiteY18" fmla="*/ 147080 h 14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6922" h="147080">
                  <a:moveTo>
                    <a:pt x="33076" y="147080"/>
                  </a:moveTo>
                  <a:cubicBezTo>
                    <a:pt x="30000" y="147080"/>
                    <a:pt x="26922" y="144003"/>
                    <a:pt x="26922" y="144003"/>
                  </a:cubicBezTo>
                  <a:cubicBezTo>
                    <a:pt x="26922" y="140926"/>
                    <a:pt x="26922" y="137849"/>
                    <a:pt x="30000" y="137849"/>
                  </a:cubicBezTo>
                  <a:cubicBezTo>
                    <a:pt x="57691" y="131696"/>
                    <a:pt x="51537" y="82465"/>
                    <a:pt x="51537" y="79388"/>
                  </a:cubicBezTo>
                  <a:cubicBezTo>
                    <a:pt x="51537" y="76311"/>
                    <a:pt x="51537" y="76311"/>
                    <a:pt x="54615" y="73234"/>
                  </a:cubicBezTo>
                  <a:cubicBezTo>
                    <a:pt x="76154" y="51695"/>
                    <a:pt x="100769" y="57849"/>
                    <a:pt x="116154" y="57849"/>
                  </a:cubicBezTo>
                  <a:cubicBezTo>
                    <a:pt x="122308" y="57849"/>
                    <a:pt x="131538" y="60926"/>
                    <a:pt x="134614" y="57849"/>
                  </a:cubicBezTo>
                  <a:cubicBezTo>
                    <a:pt x="134614" y="57849"/>
                    <a:pt x="137693" y="57849"/>
                    <a:pt x="134614" y="51695"/>
                  </a:cubicBezTo>
                  <a:cubicBezTo>
                    <a:pt x="131538" y="42465"/>
                    <a:pt x="113076" y="20926"/>
                    <a:pt x="88461" y="14772"/>
                  </a:cubicBezTo>
                  <a:cubicBezTo>
                    <a:pt x="60769" y="5542"/>
                    <a:pt x="23846" y="45542"/>
                    <a:pt x="11538" y="60926"/>
                  </a:cubicBezTo>
                  <a:cubicBezTo>
                    <a:pt x="8461" y="64003"/>
                    <a:pt x="5383" y="64003"/>
                    <a:pt x="2307" y="60926"/>
                  </a:cubicBezTo>
                  <a:cubicBezTo>
                    <a:pt x="-769" y="57849"/>
                    <a:pt x="-769" y="54773"/>
                    <a:pt x="2307" y="51695"/>
                  </a:cubicBezTo>
                  <a:cubicBezTo>
                    <a:pt x="5383" y="48619"/>
                    <a:pt x="51537" y="-12920"/>
                    <a:pt x="91539" y="2465"/>
                  </a:cubicBezTo>
                  <a:cubicBezTo>
                    <a:pt x="122308" y="11695"/>
                    <a:pt x="143845" y="33234"/>
                    <a:pt x="146923" y="48619"/>
                  </a:cubicBezTo>
                  <a:cubicBezTo>
                    <a:pt x="146923" y="54773"/>
                    <a:pt x="146923" y="60926"/>
                    <a:pt x="143845" y="64003"/>
                  </a:cubicBezTo>
                  <a:cubicBezTo>
                    <a:pt x="137693" y="70157"/>
                    <a:pt x="128460" y="67080"/>
                    <a:pt x="116154" y="67080"/>
                  </a:cubicBezTo>
                  <a:cubicBezTo>
                    <a:pt x="100769" y="64003"/>
                    <a:pt x="82306" y="60926"/>
                    <a:pt x="66922" y="76311"/>
                  </a:cubicBezTo>
                  <a:cubicBezTo>
                    <a:pt x="66922" y="94773"/>
                    <a:pt x="66922" y="140926"/>
                    <a:pt x="33076" y="147080"/>
                  </a:cubicBezTo>
                  <a:cubicBezTo>
                    <a:pt x="33076" y="147080"/>
                    <a:pt x="33076" y="147080"/>
                    <a:pt x="33076" y="147080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6" name="图形 1">
              <a:extLst>
                <a:ext uri="{FF2B5EF4-FFF2-40B4-BE49-F238E27FC236}">
                  <a16:creationId xmlns:a16="http://schemas.microsoft.com/office/drawing/2014/main" id="{FAF56EE3-BC64-419F-8AFB-35E3DFE0546A}"/>
                </a:ext>
              </a:extLst>
            </p:cNvPr>
            <p:cNvGrpSpPr/>
            <p:nvPr/>
          </p:nvGrpSpPr>
          <p:grpSpPr>
            <a:xfrm>
              <a:off x="20659545" y="8531201"/>
              <a:ext cx="539735" cy="266398"/>
              <a:chOff x="20659545" y="8531201"/>
              <a:chExt cx="539735" cy="266398"/>
            </a:xfrm>
          </p:grpSpPr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F29B6664-FCBC-421F-BE0A-FC762F9FBB10}"/>
                  </a:ext>
                </a:extLst>
              </p:cNvPr>
              <p:cNvSpPr/>
              <p:nvPr/>
            </p:nvSpPr>
            <p:spPr>
              <a:xfrm>
                <a:off x="20666973" y="8578279"/>
                <a:ext cx="529231" cy="219320"/>
              </a:xfrm>
              <a:custGeom>
                <a:avLst/>
                <a:gdLst>
                  <a:gd name="connsiteX0" fmla="*/ 529231 w 529231"/>
                  <a:gd name="connsiteY0" fmla="*/ 0 h 219320"/>
                  <a:gd name="connsiteX1" fmla="*/ 492308 w 529231"/>
                  <a:gd name="connsiteY1" fmla="*/ 178461 h 219320"/>
                  <a:gd name="connsiteX2" fmla="*/ 40000 w 529231"/>
                  <a:gd name="connsiteY2" fmla="*/ 190769 h 219320"/>
                  <a:gd name="connsiteX3" fmla="*/ 0 w 529231"/>
                  <a:gd name="connsiteY3" fmla="*/ 6154 h 219320"/>
                  <a:gd name="connsiteX4" fmla="*/ 529231 w 529231"/>
                  <a:gd name="connsiteY4" fmla="*/ 0 h 219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9231" h="219320">
                    <a:moveTo>
                      <a:pt x="529231" y="0"/>
                    </a:moveTo>
                    <a:lnTo>
                      <a:pt x="492308" y="178461"/>
                    </a:lnTo>
                    <a:cubicBezTo>
                      <a:pt x="492308" y="178461"/>
                      <a:pt x="341538" y="261538"/>
                      <a:pt x="40000" y="190769"/>
                    </a:cubicBezTo>
                    <a:lnTo>
                      <a:pt x="0" y="6154"/>
                    </a:lnTo>
                    <a:cubicBezTo>
                      <a:pt x="0" y="3077"/>
                      <a:pt x="289232" y="80000"/>
                      <a:pt x="529231" y="0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92494F03-CA09-4D0C-905F-1D866753A5B4}"/>
                  </a:ext>
                </a:extLst>
              </p:cNvPr>
              <p:cNvSpPr/>
              <p:nvPr/>
            </p:nvSpPr>
            <p:spPr>
              <a:xfrm>
                <a:off x="20666973" y="8531201"/>
                <a:ext cx="529231" cy="90397"/>
              </a:xfrm>
              <a:custGeom>
                <a:avLst/>
                <a:gdLst>
                  <a:gd name="connsiteX0" fmla="*/ 529231 w 529231"/>
                  <a:gd name="connsiteY0" fmla="*/ 47078 h 90397"/>
                  <a:gd name="connsiteX1" fmla="*/ 0 w 529231"/>
                  <a:gd name="connsiteY1" fmla="*/ 50155 h 90397"/>
                  <a:gd name="connsiteX2" fmla="*/ 529231 w 529231"/>
                  <a:gd name="connsiteY2" fmla="*/ 47078 h 90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9231" h="90397">
                    <a:moveTo>
                      <a:pt x="529231" y="47078"/>
                    </a:moveTo>
                    <a:cubicBezTo>
                      <a:pt x="529231" y="47078"/>
                      <a:pt x="323077" y="142463"/>
                      <a:pt x="0" y="50155"/>
                    </a:cubicBezTo>
                    <a:cubicBezTo>
                      <a:pt x="0" y="50155"/>
                      <a:pt x="252308" y="-60614"/>
                      <a:pt x="529231" y="47078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042CBD43-C168-459A-B20E-87D65C789026}"/>
                  </a:ext>
                </a:extLst>
              </p:cNvPr>
              <p:cNvSpPr/>
              <p:nvPr/>
            </p:nvSpPr>
            <p:spPr>
              <a:xfrm>
                <a:off x="20659545" y="8578279"/>
                <a:ext cx="539735" cy="55384"/>
              </a:xfrm>
              <a:custGeom>
                <a:avLst/>
                <a:gdLst>
                  <a:gd name="connsiteX0" fmla="*/ 281275 w 539735"/>
                  <a:gd name="connsiteY0" fmla="*/ 55384 h 55384"/>
                  <a:gd name="connsiteX1" fmla="*/ 4352 w 539735"/>
                  <a:gd name="connsiteY1" fmla="*/ 12308 h 55384"/>
                  <a:gd name="connsiteX2" fmla="*/ 1274 w 539735"/>
                  <a:gd name="connsiteY2" fmla="*/ 6154 h 55384"/>
                  <a:gd name="connsiteX3" fmla="*/ 7428 w 539735"/>
                  <a:gd name="connsiteY3" fmla="*/ 3077 h 55384"/>
                  <a:gd name="connsiteX4" fmla="*/ 533581 w 539735"/>
                  <a:gd name="connsiteY4" fmla="*/ 0 h 55384"/>
                  <a:gd name="connsiteX5" fmla="*/ 539736 w 539735"/>
                  <a:gd name="connsiteY5" fmla="*/ 3077 h 55384"/>
                  <a:gd name="connsiteX6" fmla="*/ 536660 w 539735"/>
                  <a:gd name="connsiteY6" fmla="*/ 9230 h 55384"/>
                  <a:gd name="connsiteX7" fmla="*/ 281275 w 539735"/>
                  <a:gd name="connsiteY7" fmla="*/ 55384 h 5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39735" h="55384">
                    <a:moveTo>
                      <a:pt x="281275" y="55384"/>
                    </a:moveTo>
                    <a:cubicBezTo>
                      <a:pt x="204352" y="55384"/>
                      <a:pt x="108966" y="43077"/>
                      <a:pt x="4352" y="12308"/>
                    </a:cubicBezTo>
                    <a:cubicBezTo>
                      <a:pt x="1274" y="12308"/>
                      <a:pt x="-1802" y="9230"/>
                      <a:pt x="1274" y="6154"/>
                    </a:cubicBezTo>
                    <a:cubicBezTo>
                      <a:pt x="1274" y="3077"/>
                      <a:pt x="4352" y="0"/>
                      <a:pt x="7428" y="3077"/>
                    </a:cubicBezTo>
                    <a:cubicBezTo>
                      <a:pt x="327429" y="101538"/>
                      <a:pt x="530505" y="0"/>
                      <a:pt x="533581" y="0"/>
                    </a:cubicBezTo>
                    <a:cubicBezTo>
                      <a:pt x="536660" y="0"/>
                      <a:pt x="539736" y="0"/>
                      <a:pt x="539736" y="3077"/>
                    </a:cubicBezTo>
                    <a:cubicBezTo>
                      <a:pt x="539736" y="6154"/>
                      <a:pt x="539736" y="9230"/>
                      <a:pt x="536660" y="9230"/>
                    </a:cubicBezTo>
                    <a:cubicBezTo>
                      <a:pt x="536660" y="6154"/>
                      <a:pt x="441274" y="55384"/>
                      <a:pt x="281275" y="5538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247725E0-84B9-4C53-B0C7-849701321996}"/>
                  </a:ext>
                </a:extLst>
              </p:cNvPr>
              <p:cNvSpPr/>
              <p:nvPr/>
            </p:nvSpPr>
            <p:spPr>
              <a:xfrm>
                <a:off x="20891588" y="8652125"/>
                <a:ext cx="123076" cy="119999"/>
              </a:xfrm>
              <a:custGeom>
                <a:avLst/>
                <a:gdLst>
                  <a:gd name="connsiteX0" fmla="*/ 3078 w 123076"/>
                  <a:gd name="connsiteY0" fmla="*/ 43077 h 119999"/>
                  <a:gd name="connsiteX1" fmla="*/ 46154 w 123076"/>
                  <a:gd name="connsiteY1" fmla="*/ 43077 h 119999"/>
                  <a:gd name="connsiteX2" fmla="*/ 46154 w 123076"/>
                  <a:gd name="connsiteY2" fmla="*/ 0 h 119999"/>
                  <a:gd name="connsiteX3" fmla="*/ 80001 w 123076"/>
                  <a:gd name="connsiteY3" fmla="*/ 0 h 119999"/>
                  <a:gd name="connsiteX4" fmla="*/ 80001 w 123076"/>
                  <a:gd name="connsiteY4" fmla="*/ 43077 h 119999"/>
                  <a:gd name="connsiteX5" fmla="*/ 123077 w 123076"/>
                  <a:gd name="connsiteY5" fmla="*/ 43077 h 119999"/>
                  <a:gd name="connsiteX6" fmla="*/ 123077 w 123076"/>
                  <a:gd name="connsiteY6" fmla="*/ 76923 h 119999"/>
                  <a:gd name="connsiteX7" fmla="*/ 80001 w 123076"/>
                  <a:gd name="connsiteY7" fmla="*/ 76923 h 119999"/>
                  <a:gd name="connsiteX8" fmla="*/ 76923 w 123076"/>
                  <a:gd name="connsiteY8" fmla="*/ 120000 h 119999"/>
                  <a:gd name="connsiteX9" fmla="*/ 46154 w 123076"/>
                  <a:gd name="connsiteY9" fmla="*/ 120000 h 119999"/>
                  <a:gd name="connsiteX10" fmla="*/ 46154 w 123076"/>
                  <a:gd name="connsiteY10" fmla="*/ 76923 h 119999"/>
                  <a:gd name="connsiteX11" fmla="*/ 0 w 123076"/>
                  <a:gd name="connsiteY11" fmla="*/ 76923 h 119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3076" h="119999">
                    <a:moveTo>
                      <a:pt x="3078" y="43077"/>
                    </a:moveTo>
                    <a:lnTo>
                      <a:pt x="46154" y="43077"/>
                    </a:lnTo>
                    <a:lnTo>
                      <a:pt x="46154" y="0"/>
                    </a:lnTo>
                    <a:lnTo>
                      <a:pt x="80001" y="0"/>
                    </a:lnTo>
                    <a:lnTo>
                      <a:pt x="80001" y="43077"/>
                    </a:lnTo>
                    <a:lnTo>
                      <a:pt x="123077" y="43077"/>
                    </a:lnTo>
                    <a:lnTo>
                      <a:pt x="123077" y="76923"/>
                    </a:lnTo>
                    <a:lnTo>
                      <a:pt x="80001" y="76923"/>
                    </a:lnTo>
                    <a:lnTo>
                      <a:pt x="76923" y="120000"/>
                    </a:lnTo>
                    <a:lnTo>
                      <a:pt x="46154" y="120000"/>
                    </a:lnTo>
                    <a:lnTo>
                      <a:pt x="46154" y="76923"/>
                    </a:lnTo>
                    <a:lnTo>
                      <a:pt x="0" y="76923"/>
                    </a:ln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76" name="图形 1">
            <a:extLst>
              <a:ext uri="{FF2B5EF4-FFF2-40B4-BE49-F238E27FC236}">
                <a16:creationId xmlns:a16="http://schemas.microsoft.com/office/drawing/2014/main" id="{A9A7BED9-8FA8-445D-A218-D7373BBAE941}"/>
              </a:ext>
            </a:extLst>
          </p:cNvPr>
          <p:cNvGrpSpPr/>
          <p:nvPr/>
        </p:nvGrpSpPr>
        <p:grpSpPr>
          <a:xfrm>
            <a:off x="6533275" y="2012667"/>
            <a:ext cx="2133554" cy="4843534"/>
            <a:chOff x="23373418" y="8300898"/>
            <a:chExt cx="2133554" cy="4843534"/>
          </a:xfrm>
        </p:grpSpPr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F6965B39-3D2F-4EF8-9A19-68DF36A6F303}"/>
                </a:ext>
              </a:extLst>
            </p:cNvPr>
            <p:cNvSpPr/>
            <p:nvPr/>
          </p:nvSpPr>
          <p:spPr>
            <a:xfrm>
              <a:off x="24436642" y="8652125"/>
              <a:ext cx="106707" cy="236419"/>
            </a:xfrm>
            <a:custGeom>
              <a:avLst/>
              <a:gdLst>
                <a:gd name="connsiteX0" fmla="*/ 2638 w 106707"/>
                <a:gd name="connsiteY0" fmla="*/ 0 h 236419"/>
                <a:gd name="connsiteX1" fmla="*/ 61100 w 106707"/>
                <a:gd name="connsiteY1" fmla="*/ 233846 h 236419"/>
                <a:gd name="connsiteX2" fmla="*/ 101100 w 106707"/>
                <a:gd name="connsiteY2" fmla="*/ 9231 h 236419"/>
                <a:gd name="connsiteX3" fmla="*/ 2638 w 106707"/>
                <a:gd name="connsiteY3" fmla="*/ 0 h 236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707" h="236419">
                  <a:moveTo>
                    <a:pt x="2638" y="0"/>
                  </a:moveTo>
                  <a:cubicBezTo>
                    <a:pt x="2638" y="0"/>
                    <a:pt x="-18899" y="200000"/>
                    <a:pt x="61100" y="233846"/>
                  </a:cubicBezTo>
                  <a:cubicBezTo>
                    <a:pt x="128793" y="264616"/>
                    <a:pt x="101100" y="9231"/>
                    <a:pt x="101100" y="9231"/>
                  </a:cubicBezTo>
                  <a:lnTo>
                    <a:pt x="2638" y="0"/>
                  </a:ln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19348915-E6FC-433B-94E2-C14AED978665}"/>
                </a:ext>
              </a:extLst>
            </p:cNvPr>
            <p:cNvSpPr/>
            <p:nvPr/>
          </p:nvSpPr>
          <p:spPr>
            <a:xfrm>
              <a:off x="24460392" y="8804271"/>
              <a:ext cx="456027" cy="494008"/>
            </a:xfrm>
            <a:custGeom>
              <a:avLst/>
              <a:gdLst>
                <a:gd name="connsiteX0" fmla="*/ 15811 w 456027"/>
                <a:gd name="connsiteY0" fmla="*/ 17085 h 494008"/>
                <a:gd name="connsiteX1" fmla="*/ 46581 w 456027"/>
                <a:gd name="connsiteY1" fmla="*/ 17085 h 494008"/>
                <a:gd name="connsiteX2" fmla="*/ 200427 w 456027"/>
                <a:gd name="connsiteY2" fmla="*/ 450932 h 494008"/>
                <a:gd name="connsiteX3" fmla="*/ 425042 w 456027"/>
                <a:gd name="connsiteY3" fmla="*/ 10932 h 494008"/>
                <a:gd name="connsiteX4" fmla="*/ 455811 w 456027"/>
                <a:gd name="connsiteY4" fmla="*/ 20162 h 494008"/>
                <a:gd name="connsiteX5" fmla="*/ 157351 w 456027"/>
                <a:gd name="connsiteY5" fmla="*/ 494008 h 494008"/>
                <a:gd name="connsiteX6" fmla="*/ 15811 w 456027"/>
                <a:gd name="connsiteY6" fmla="*/ 17085 h 49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6027" h="494008">
                  <a:moveTo>
                    <a:pt x="15811" y="17085"/>
                  </a:moveTo>
                  <a:cubicBezTo>
                    <a:pt x="18889" y="-1376"/>
                    <a:pt x="49659" y="-1376"/>
                    <a:pt x="46581" y="17085"/>
                  </a:cubicBezTo>
                  <a:cubicBezTo>
                    <a:pt x="34274" y="127855"/>
                    <a:pt x="-14958" y="527855"/>
                    <a:pt x="200427" y="450932"/>
                  </a:cubicBezTo>
                  <a:cubicBezTo>
                    <a:pt x="357351" y="395547"/>
                    <a:pt x="403505" y="152470"/>
                    <a:pt x="425042" y="10932"/>
                  </a:cubicBezTo>
                  <a:cubicBezTo>
                    <a:pt x="428120" y="-7530"/>
                    <a:pt x="458889" y="-1376"/>
                    <a:pt x="455811" y="20162"/>
                  </a:cubicBezTo>
                  <a:cubicBezTo>
                    <a:pt x="434274" y="170931"/>
                    <a:pt x="366581" y="490931"/>
                    <a:pt x="157351" y="494008"/>
                  </a:cubicBezTo>
                  <a:cubicBezTo>
                    <a:pt x="-51881" y="494008"/>
                    <a:pt x="3505" y="140162"/>
                    <a:pt x="15811" y="17085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4E3D2255-21A3-43E1-A678-B13381381258}"/>
                </a:ext>
              </a:extLst>
            </p:cNvPr>
            <p:cNvSpPr/>
            <p:nvPr/>
          </p:nvSpPr>
          <p:spPr>
            <a:xfrm>
              <a:off x="24128512" y="10867510"/>
              <a:ext cx="1261538" cy="864957"/>
            </a:xfrm>
            <a:custGeom>
              <a:avLst/>
              <a:gdLst>
                <a:gd name="connsiteX0" fmla="*/ 1261539 w 1261538"/>
                <a:gd name="connsiteY0" fmla="*/ 818462 h 864957"/>
                <a:gd name="connsiteX1" fmla="*/ 0 w 1261538"/>
                <a:gd name="connsiteY1" fmla="*/ 818462 h 864957"/>
                <a:gd name="connsiteX2" fmla="*/ 166155 w 1261538"/>
                <a:gd name="connsiteY2" fmla="*/ 49231 h 864957"/>
                <a:gd name="connsiteX3" fmla="*/ 830769 w 1261538"/>
                <a:gd name="connsiteY3" fmla="*/ 0 h 864957"/>
                <a:gd name="connsiteX4" fmla="*/ 1261539 w 1261538"/>
                <a:gd name="connsiteY4" fmla="*/ 818462 h 864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1538" h="864957">
                  <a:moveTo>
                    <a:pt x="1261539" y="818462"/>
                  </a:moveTo>
                  <a:cubicBezTo>
                    <a:pt x="1261539" y="818462"/>
                    <a:pt x="341538" y="923077"/>
                    <a:pt x="0" y="818462"/>
                  </a:cubicBezTo>
                  <a:lnTo>
                    <a:pt x="166155" y="49231"/>
                  </a:lnTo>
                  <a:lnTo>
                    <a:pt x="830769" y="0"/>
                  </a:lnTo>
                  <a:lnTo>
                    <a:pt x="1261539" y="818462"/>
                  </a:ln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3FAA94F8-36C0-4D7E-94A0-F6DB1CF75175}"/>
                </a:ext>
              </a:extLst>
            </p:cNvPr>
            <p:cNvSpPr/>
            <p:nvPr/>
          </p:nvSpPr>
          <p:spPr>
            <a:xfrm>
              <a:off x="23556205" y="9559818"/>
              <a:ext cx="793845" cy="747736"/>
            </a:xfrm>
            <a:custGeom>
              <a:avLst/>
              <a:gdLst>
                <a:gd name="connsiteX0" fmla="*/ 504614 w 793845"/>
                <a:gd name="connsiteY0" fmla="*/ 0 h 747736"/>
                <a:gd name="connsiteX1" fmla="*/ 378461 w 793845"/>
                <a:gd name="connsiteY1" fmla="*/ 366154 h 747736"/>
                <a:gd name="connsiteX2" fmla="*/ 113845 w 793845"/>
                <a:gd name="connsiteY2" fmla="*/ 46154 h 747736"/>
                <a:gd name="connsiteX3" fmla="*/ 0 w 793845"/>
                <a:gd name="connsiteY3" fmla="*/ 113846 h 747736"/>
                <a:gd name="connsiteX4" fmla="*/ 440000 w 793845"/>
                <a:gd name="connsiteY4" fmla="*/ 747692 h 747736"/>
                <a:gd name="connsiteX5" fmla="*/ 793846 w 793845"/>
                <a:gd name="connsiteY5" fmla="*/ 98461 h 747736"/>
                <a:gd name="connsiteX6" fmla="*/ 504614 w 793845"/>
                <a:gd name="connsiteY6" fmla="*/ 0 h 74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845" h="747736">
                  <a:moveTo>
                    <a:pt x="504614" y="0"/>
                  </a:moveTo>
                  <a:lnTo>
                    <a:pt x="378461" y="366154"/>
                  </a:lnTo>
                  <a:lnTo>
                    <a:pt x="113845" y="46154"/>
                  </a:lnTo>
                  <a:lnTo>
                    <a:pt x="0" y="113846"/>
                  </a:lnTo>
                  <a:cubicBezTo>
                    <a:pt x="0" y="113846"/>
                    <a:pt x="283075" y="753846"/>
                    <a:pt x="440000" y="747692"/>
                  </a:cubicBezTo>
                  <a:cubicBezTo>
                    <a:pt x="569231" y="741539"/>
                    <a:pt x="793846" y="98461"/>
                    <a:pt x="793846" y="98461"/>
                  </a:cubicBezTo>
                  <a:lnTo>
                    <a:pt x="504614" y="0"/>
                  </a:ln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357998B1-860C-41BD-9D26-42B3C562CCF9}"/>
                </a:ext>
              </a:extLst>
            </p:cNvPr>
            <p:cNvSpPr/>
            <p:nvPr/>
          </p:nvSpPr>
          <p:spPr>
            <a:xfrm>
              <a:off x="23983896" y="9219777"/>
              <a:ext cx="454760" cy="616963"/>
            </a:xfrm>
            <a:custGeom>
              <a:avLst/>
              <a:gdLst>
                <a:gd name="connsiteX0" fmla="*/ 390770 w 454760"/>
                <a:gd name="connsiteY0" fmla="*/ 616963 h 616963"/>
                <a:gd name="connsiteX1" fmla="*/ 403078 w 454760"/>
                <a:gd name="connsiteY1" fmla="*/ 10810 h 616963"/>
                <a:gd name="connsiteX2" fmla="*/ 0 w 454760"/>
                <a:gd name="connsiteY2" fmla="*/ 447733 h 616963"/>
                <a:gd name="connsiteX3" fmla="*/ 390770 w 454760"/>
                <a:gd name="connsiteY3" fmla="*/ 616963 h 616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4760" h="616963">
                  <a:moveTo>
                    <a:pt x="390770" y="616963"/>
                  </a:moveTo>
                  <a:cubicBezTo>
                    <a:pt x="390770" y="616963"/>
                    <a:pt x="526155" y="90809"/>
                    <a:pt x="403078" y="10810"/>
                  </a:cubicBezTo>
                  <a:cubicBezTo>
                    <a:pt x="258462" y="-81498"/>
                    <a:pt x="0" y="447733"/>
                    <a:pt x="0" y="447733"/>
                  </a:cubicBezTo>
                  <a:cubicBezTo>
                    <a:pt x="0" y="447733"/>
                    <a:pt x="175385" y="598502"/>
                    <a:pt x="390770" y="616963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2" name="图形 1">
              <a:extLst>
                <a:ext uri="{FF2B5EF4-FFF2-40B4-BE49-F238E27FC236}">
                  <a16:creationId xmlns:a16="http://schemas.microsoft.com/office/drawing/2014/main" id="{6137AD16-8CC2-42D2-985E-262BEF85B725}"/>
                </a:ext>
              </a:extLst>
            </p:cNvPr>
            <p:cNvGrpSpPr/>
            <p:nvPr/>
          </p:nvGrpSpPr>
          <p:grpSpPr>
            <a:xfrm>
              <a:off x="24808511" y="12799817"/>
              <a:ext cx="500513" cy="344615"/>
              <a:chOff x="24808511" y="12799817"/>
              <a:chExt cx="500513" cy="344615"/>
            </a:xfrm>
          </p:grpSpPr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90F44054-F005-43CB-9C7B-6216CC6BEB6D}"/>
                  </a:ext>
                </a:extLst>
              </p:cNvPr>
              <p:cNvSpPr/>
              <p:nvPr/>
            </p:nvSpPr>
            <p:spPr>
              <a:xfrm>
                <a:off x="25085434" y="12799817"/>
                <a:ext cx="215384" cy="224615"/>
              </a:xfrm>
              <a:custGeom>
                <a:avLst/>
                <a:gdLst>
                  <a:gd name="connsiteX0" fmla="*/ 215385 w 215384"/>
                  <a:gd name="connsiteY0" fmla="*/ 187693 h 224615"/>
                  <a:gd name="connsiteX1" fmla="*/ 184615 w 215384"/>
                  <a:gd name="connsiteY1" fmla="*/ 0 h 224615"/>
                  <a:gd name="connsiteX2" fmla="*/ 0 w 215384"/>
                  <a:gd name="connsiteY2" fmla="*/ 0 h 224615"/>
                  <a:gd name="connsiteX3" fmla="*/ 49232 w 215384"/>
                  <a:gd name="connsiteY3" fmla="*/ 196924 h 224615"/>
                  <a:gd name="connsiteX4" fmla="*/ 203078 w 215384"/>
                  <a:gd name="connsiteY4" fmla="*/ 224616 h 22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5384" h="224615">
                    <a:moveTo>
                      <a:pt x="215385" y="187693"/>
                    </a:moveTo>
                    <a:lnTo>
                      <a:pt x="184615" y="0"/>
                    </a:lnTo>
                    <a:lnTo>
                      <a:pt x="0" y="0"/>
                    </a:lnTo>
                    <a:lnTo>
                      <a:pt x="49232" y="196924"/>
                    </a:lnTo>
                    <a:lnTo>
                      <a:pt x="203078" y="224616"/>
                    </a:ln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7D57CC6E-19FC-4C77-BC70-CF4614242BC9}"/>
                  </a:ext>
                </a:extLst>
              </p:cNvPr>
              <p:cNvSpPr/>
              <p:nvPr/>
            </p:nvSpPr>
            <p:spPr>
              <a:xfrm>
                <a:off x="24808511" y="12941356"/>
                <a:ext cx="500513" cy="160000"/>
              </a:xfrm>
              <a:custGeom>
                <a:avLst/>
                <a:gdLst>
                  <a:gd name="connsiteX0" fmla="*/ 492308 w 500513"/>
                  <a:gd name="connsiteY0" fmla="*/ 46154 h 160000"/>
                  <a:gd name="connsiteX1" fmla="*/ 304616 w 500513"/>
                  <a:gd name="connsiteY1" fmla="*/ 0 h 160000"/>
                  <a:gd name="connsiteX2" fmla="*/ 169231 w 500513"/>
                  <a:gd name="connsiteY2" fmla="*/ 80000 h 160000"/>
                  <a:gd name="connsiteX3" fmla="*/ 0 w 500513"/>
                  <a:gd name="connsiteY3" fmla="*/ 160000 h 160000"/>
                  <a:gd name="connsiteX4" fmla="*/ 492308 w 500513"/>
                  <a:gd name="connsiteY4" fmla="*/ 160000 h 160000"/>
                  <a:gd name="connsiteX5" fmla="*/ 492308 w 500513"/>
                  <a:gd name="connsiteY5" fmla="*/ 46154 h 1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513" h="160000">
                    <a:moveTo>
                      <a:pt x="492308" y="46154"/>
                    </a:moveTo>
                    <a:cubicBezTo>
                      <a:pt x="492308" y="46154"/>
                      <a:pt x="366155" y="64616"/>
                      <a:pt x="304616" y="0"/>
                    </a:cubicBezTo>
                    <a:cubicBezTo>
                      <a:pt x="304616" y="0"/>
                      <a:pt x="215385" y="70770"/>
                      <a:pt x="169231" y="80000"/>
                    </a:cubicBezTo>
                    <a:cubicBezTo>
                      <a:pt x="123077" y="89231"/>
                      <a:pt x="12308" y="86154"/>
                      <a:pt x="0" y="160000"/>
                    </a:cubicBezTo>
                    <a:lnTo>
                      <a:pt x="492308" y="160000"/>
                    </a:lnTo>
                    <a:cubicBezTo>
                      <a:pt x="492308" y="156923"/>
                      <a:pt x="510770" y="95385"/>
                      <a:pt x="492308" y="4615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68CF32DD-0FA2-4890-BC2C-C5A7B7F409E5}"/>
                  </a:ext>
                </a:extLst>
              </p:cNvPr>
              <p:cNvSpPr/>
              <p:nvPr/>
            </p:nvSpPr>
            <p:spPr>
              <a:xfrm>
                <a:off x="24808512" y="13098279"/>
                <a:ext cx="492307" cy="46153"/>
              </a:xfrm>
              <a:custGeom>
                <a:avLst/>
                <a:gdLst>
                  <a:gd name="connsiteX0" fmla="*/ -1 w 492307"/>
                  <a:gd name="connsiteY0" fmla="*/ 0 h 46153"/>
                  <a:gd name="connsiteX1" fmla="*/ 492307 w 492307"/>
                  <a:gd name="connsiteY1" fmla="*/ 0 h 46153"/>
                  <a:gd name="connsiteX2" fmla="*/ 492307 w 492307"/>
                  <a:gd name="connsiteY2" fmla="*/ 46154 h 46153"/>
                  <a:gd name="connsiteX3" fmla="*/ -1 w 492307"/>
                  <a:gd name="connsiteY3" fmla="*/ 46154 h 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307" h="46153">
                    <a:moveTo>
                      <a:pt x="-1" y="0"/>
                    </a:moveTo>
                    <a:lnTo>
                      <a:pt x="492307" y="0"/>
                    </a:lnTo>
                    <a:lnTo>
                      <a:pt x="492307" y="46154"/>
                    </a:lnTo>
                    <a:lnTo>
                      <a:pt x="-1" y="46154"/>
                    </a:lnTo>
                    <a:close/>
                  </a:path>
                </a:pathLst>
              </a:custGeom>
              <a:solidFill>
                <a:srgbClr val="38333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505D918A-F613-4FDE-92E3-83D9B8C82845}"/>
                  </a:ext>
                </a:extLst>
              </p:cNvPr>
              <p:cNvSpPr/>
              <p:nvPr/>
            </p:nvSpPr>
            <p:spPr>
              <a:xfrm>
                <a:off x="25104666" y="12929818"/>
                <a:ext cx="202307" cy="63846"/>
              </a:xfrm>
              <a:custGeom>
                <a:avLst/>
                <a:gdLst>
                  <a:gd name="connsiteX0" fmla="*/ 159231 w 202307"/>
                  <a:gd name="connsiteY0" fmla="*/ 63846 h 63846"/>
                  <a:gd name="connsiteX1" fmla="*/ 2307 w 202307"/>
                  <a:gd name="connsiteY1" fmla="*/ 11538 h 63846"/>
                  <a:gd name="connsiteX2" fmla="*/ 2307 w 202307"/>
                  <a:gd name="connsiteY2" fmla="*/ 2308 h 63846"/>
                  <a:gd name="connsiteX3" fmla="*/ 11538 w 202307"/>
                  <a:gd name="connsiteY3" fmla="*/ 2308 h 63846"/>
                  <a:gd name="connsiteX4" fmla="*/ 196153 w 202307"/>
                  <a:gd name="connsiteY4" fmla="*/ 48462 h 63846"/>
                  <a:gd name="connsiteX5" fmla="*/ 202307 w 202307"/>
                  <a:gd name="connsiteY5" fmla="*/ 54615 h 63846"/>
                  <a:gd name="connsiteX6" fmla="*/ 196153 w 202307"/>
                  <a:gd name="connsiteY6" fmla="*/ 60769 h 63846"/>
                  <a:gd name="connsiteX7" fmla="*/ 159231 w 202307"/>
                  <a:gd name="connsiteY7" fmla="*/ 63846 h 6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307" h="63846">
                    <a:moveTo>
                      <a:pt x="159231" y="63846"/>
                    </a:moveTo>
                    <a:cubicBezTo>
                      <a:pt x="119230" y="63846"/>
                      <a:pt x="51539" y="57692"/>
                      <a:pt x="2307" y="11538"/>
                    </a:cubicBezTo>
                    <a:cubicBezTo>
                      <a:pt x="-769" y="8461"/>
                      <a:pt x="-769" y="5385"/>
                      <a:pt x="2307" y="2308"/>
                    </a:cubicBezTo>
                    <a:cubicBezTo>
                      <a:pt x="5385" y="-769"/>
                      <a:pt x="8461" y="-769"/>
                      <a:pt x="11538" y="2308"/>
                    </a:cubicBezTo>
                    <a:cubicBezTo>
                      <a:pt x="79230" y="63846"/>
                      <a:pt x="193077" y="48462"/>
                      <a:pt x="196153" y="48462"/>
                    </a:cubicBezTo>
                    <a:cubicBezTo>
                      <a:pt x="199231" y="48462"/>
                      <a:pt x="202307" y="51539"/>
                      <a:pt x="202307" y="54615"/>
                    </a:cubicBezTo>
                    <a:cubicBezTo>
                      <a:pt x="202307" y="57692"/>
                      <a:pt x="199231" y="60769"/>
                      <a:pt x="196153" y="60769"/>
                    </a:cubicBezTo>
                    <a:cubicBezTo>
                      <a:pt x="193077" y="60769"/>
                      <a:pt x="180768" y="63846"/>
                      <a:pt x="159231" y="6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EB06BB04-9AB4-49F6-9656-A15C38163B80}"/>
                  </a:ext>
                </a:extLst>
              </p:cNvPr>
              <p:cNvSpPr/>
              <p:nvPr/>
            </p:nvSpPr>
            <p:spPr>
              <a:xfrm>
                <a:off x="25073896" y="12957510"/>
                <a:ext cx="38461" cy="42307"/>
              </a:xfrm>
              <a:custGeom>
                <a:avLst/>
                <a:gdLst>
                  <a:gd name="connsiteX0" fmla="*/ 30000 w 38461"/>
                  <a:gd name="connsiteY0" fmla="*/ 42307 h 42307"/>
                  <a:gd name="connsiteX1" fmla="*/ 26922 w 38461"/>
                  <a:gd name="connsiteY1" fmla="*/ 39231 h 42307"/>
                  <a:gd name="connsiteX2" fmla="*/ 2307 w 38461"/>
                  <a:gd name="connsiteY2" fmla="*/ 11538 h 42307"/>
                  <a:gd name="connsiteX3" fmla="*/ 2307 w 38461"/>
                  <a:gd name="connsiteY3" fmla="*/ 2308 h 42307"/>
                  <a:gd name="connsiteX4" fmla="*/ 11538 w 38461"/>
                  <a:gd name="connsiteY4" fmla="*/ 2308 h 42307"/>
                  <a:gd name="connsiteX5" fmla="*/ 36154 w 38461"/>
                  <a:gd name="connsiteY5" fmla="*/ 30000 h 42307"/>
                  <a:gd name="connsiteX6" fmla="*/ 36154 w 38461"/>
                  <a:gd name="connsiteY6" fmla="*/ 39231 h 42307"/>
                  <a:gd name="connsiteX7" fmla="*/ 30000 w 38461"/>
                  <a:gd name="connsiteY7" fmla="*/ 42307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1" h="42307">
                    <a:moveTo>
                      <a:pt x="30000" y="42307"/>
                    </a:moveTo>
                    <a:cubicBezTo>
                      <a:pt x="30000" y="42307"/>
                      <a:pt x="26922" y="42307"/>
                      <a:pt x="26922" y="39231"/>
                    </a:cubicBezTo>
                    <a:lnTo>
                      <a:pt x="2307" y="11538"/>
                    </a:lnTo>
                    <a:cubicBezTo>
                      <a:pt x="-769" y="8462"/>
                      <a:pt x="-769" y="5385"/>
                      <a:pt x="2307" y="2308"/>
                    </a:cubicBezTo>
                    <a:cubicBezTo>
                      <a:pt x="5385" y="-769"/>
                      <a:pt x="8461" y="-769"/>
                      <a:pt x="11538" y="2308"/>
                    </a:cubicBezTo>
                    <a:lnTo>
                      <a:pt x="36154" y="30000"/>
                    </a:lnTo>
                    <a:cubicBezTo>
                      <a:pt x="39231" y="33077"/>
                      <a:pt x="39231" y="36154"/>
                      <a:pt x="36154" y="39231"/>
                    </a:cubicBezTo>
                    <a:cubicBezTo>
                      <a:pt x="30000" y="39231"/>
                      <a:pt x="30000" y="42307"/>
                      <a:pt x="30000" y="423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1E13E1A4-8954-4BC2-A9B8-91030D9E15F1}"/>
                  </a:ext>
                </a:extLst>
              </p:cNvPr>
              <p:cNvSpPr/>
              <p:nvPr/>
            </p:nvSpPr>
            <p:spPr>
              <a:xfrm>
                <a:off x="25030819" y="12982125"/>
                <a:ext cx="41538" cy="42307"/>
              </a:xfrm>
              <a:custGeom>
                <a:avLst/>
                <a:gdLst>
                  <a:gd name="connsiteX0" fmla="*/ 33078 w 41538"/>
                  <a:gd name="connsiteY0" fmla="*/ 42308 h 42307"/>
                  <a:gd name="connsiteX1" fmla="*/ 30000 w 41538"/>
                  <a:gd name="connsiteY1" fmla="*/ 39231 h 42307"/>
                  <a:gd name="connsiteX2" fmla="*/ 2309 w 41538"/>
                  <a:gd name="connsiteY2" fmla="*/ 11538 h 42307"/>
                  <a:gd name="connsiteX3" fmla="*/ 2309 w 41538"/>
                  <a:gd name="connsiteY3" fmla="*/ 2307 h 42307"/>
                  <a:gd name="connsiteX4" fmla="*/ 11539 w 41538"/>
                  <a:gd name="connsiteY4" fmla="*/ 2307 h 42307"/>
                  <a:gd name="connsiteX5" fmla="*/ 39230 w 41538"/>
                  <a:gd name="connsiteY5" fmla="*/ 30000 h 42307"/>
                  <a:gd name="connsiteX6" fmla="*/ 39230 w 41538"/>
                  <a:gd name="connsiteY6" fmla="*/ 39231 h 42307"/>
                  <a:gd name="connsiteX7" fmla="*/ 33078 w 41538"/>
                  <a:gd name="connsiteY7" fmla="*/ 42308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8" h="42307">
                    <a:moveTo>
                      <a:pt x="33078" y="42308"/>
                    </a:moveTo>
                    <a:cubicBezTo>
                      <a:pt x="33078" y="42308"/>
                      <a:pt x="30000" y="42308"/>
                      <a:pt x="30000" y="39231"/>
                    </a:cubicBezTo>
                    <a:lnTo>
                      <a:pt x="2309" y="11538"/>
                    </a:lnTo>
                    <a:cubicBezTo>
                      <a:pt x="-770" y="8461"/>
                      <a:pt x="-770" y="5384"/>
                      <a:pt x="2309" y="2307"/>
                    </a:cubicBezTo>
                    <a:cubicBezTo>
                      <a:pt x="5385" y="-769"/>
                      <a:pt x="8461" y="-769"/>
                      <a:pt x="11539" y="2307"/>
                    </a:cubicBezTo>
                    <a:lnTo>
                      <a:pt x="39230" y="30000"/>
                    </a:lnTo>
                    <a:cubicBezTo>
                      <a:pt x="42308" y="33076"/>
                      <a:pt x="42308" y="36153"/>
                      <a:pt x="39230" y="39231"/>
                    </a:cubicBezTo>
                    <a:cubicBezTo>
                      <a:pt x="36154" y="42308"/>
                      <a:pt x="36154" y="42308"/>
                      <a:pt x="33078" y="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3" name="图形 1">
              <a:extLst>
                <a:ext uri="{FF2B5EF4-FFF2-40B4-BE49-F238E27FC236}">
                  <a16:creationId xmlns:a16="http://schemas.microsoft.com/office/drawing/2014/main" id="{B66C2C6E-0A10-4C4A-A83F-E90C8AAA6089}"/>
                </a:ext>
              </a:extLst>
            </p:cNvPr>
            <p:cNvGrpSpPr/>
            <p:nvPr/>
          </p:nvGrpSpPr>
          <p:grpSpPr>
            <a:xfrm>
              <a:off x="24048512" y="12799817"/>
              <a:ext cx="501880" cy="344615"/>
              <a:chOff x="24048512" y="12799817"/>
              <a:chExt cx="501880" cy="344615"/>
            </a:xfrm>
          </p:grpSpPr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CA29F842-7C65-41AF-969C-518D07AEF493}"/>
                  </a:ext>
                </a:extLst>
              </p:cNvPr>
              <p:cNvSpPr/>
              <p:nvPr/>
            </p:nvSpPr>
            <p:spPr>
              <a:xfrm>
                <a:off x="24328512" y="12799817"/>
                <a:ext cx="212308" cy="224615"/>
              </a:xfrm>
              <a:custGeom>
                <a:avLst/>
                <a:gdLst>
                  <a:gd name="connsiteX0" fmla="*/ 212308 w 212308"/>
                  <a:gd name="connsiteY0" fmla="*/ 187693 h 224615"/>
                  <a:gd name="connsiteX1" fmla="*/ 184615 w 212308"/>
                  <a:gd name="connsiteY1" fmla="*/ 0 h 224615"/>
                  <a:gd name="connsiteX2" fmla="*/ 0 w 212308"/>
                  <a:gd name="connsiteY2" fmla="*/ 0 h 224615"/>
                  <a:gd name="connsiteX3" fmla="*/ 49230 w 212308"/>
                  <a:gd name="connsiteY3" fmla="*/ 196924 h 224615"/>
                  <a:gd name="connsiteX4" fmla="*/ 200000 w 212308"/>
                  <a:gd name="connsiteY4" fmla="*/ 224616 h 22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2308" h="224615">
                    <a:moveTo>
                      <a:pt x="212308" y="187693"/>
                    </a:moveTo>
                    <a:lnTo>
                      <a:pt x="184615" y="0"/>
                    </a:lnTo>
                    <a:lnTo>
                      <a:pt x="0" y="0"/>
                    </a:lnTo>
                    <a:lnTo>
                      <a:pt x="49230" y="196924"/>
                    </a:lnTo>
                    <a:lnTo>
                      <a:pt x="200000" y="224616"/>
                    </a:ln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7C6EAF9E-1D90-4EAF-BC24-1CD44D180D5C}"/>
                  </a:ext>
                </a:extLst>
              </p:cNvPr>
              <p:cNvSpPr/>
              <p:nvPr/>
            </p:nvSpPr>
            <p:spPr>
              <a:xfrm>
                <a:off x="24048512" y="12941356"/>
                <a:ext cx="501879" cy="160000"/>
              </a:xfrm>
              <a:custGeom>
                <a:avLst/>
                <a:gdLst>
                  <a:gd name="connsiteX0" fmla="*/ 492308 w 501879"/>
                  <a:gd name="connsiteY0" fmla="*/ 46154 h 160000"/>
                  <a:gd name="connsiteX1" fmla="*/ 304614 w 501879"/>
                  <a:gd name="connsiteY1" fmla="*/ 0 h 160000"/>
                  <a:gd name="connsiteX2" fmla="*/ 169231 w 501879"/>
                  <a:gd name="connsiteY2" fmla="*/ 80000 h 160000"/>
                  <a:gd name="connsiteX3" fmla="*/ 0 w 501879"/>
                  <a:gd name="connsiteY3" fmla="*/ 160000 h 160000"/>
                  <a:gd name="connsiteX4" fmla="*/ 492308 w 501879"/>
                  <a:gd name="connsiteY4" fmla="*/ 160000 h 160000"/>
                  <a:gd name="connsiteX5" fmla="*/ 492308 w 501879"/>
                  <a:gd name="connsiteY5" fmla="*/ 46154 h 1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879" h="160000">
                    <a:moveTo>
                      <a:pt x="492308" y="46154"/>
                    </a:moveTo>
                    <a:cubicBezTo>
                      <a:pt x="492308" y="46154"/>
                      <a:pt x="366153" y="64616"/>
                      <a:pt x="304614" y="0"/>
                    </a:cubicBezTo>
                    <a:cubicBezTo>
                      <a:pt x="304614" y="0"/>
                      <a:pt x="215385" y="70770"/>
                      <a:pt x="169231" y="80000"/>
                    </a:cubicBezTo>
                    <a:cubicBezTo>
                      <a:pt x="123077" y="89231"/>
                      <a:pt x="12307" y="86154"/>
                      <a:pt x="0" y="160000"/>
                    </a:cubicBezTo>
                    <a:lnTo>
                      <a:pt x="492308" y="160000"/>
                    </a:lnTo>
                    <a:cubicBezTo>
                      <a:pt x="492308" y="156923"/>
                      <a:pt x="513845" y="95385"/>
                      <a:pt x="492308" y="4615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56ACC908-043D-4481-B89A-2A477AC36001}"/>
                  </a:ext>
                </a:extLst>
              </p:cNvPr>
              <p:cNvSpPr/>
              <p:nvPr/>
            </p:nvSpPr>
            <p:spPr>
              <a:xfrm>
                <a:off x="24048512" y="13098279"/>
                <a:ext cx="492307" cy="46153"/>
              </a:xfrm>
              <a:custGeom>
                <a:avLst/>
                <a:gdLst>
                  <a:gd name="connsiteX0" fmla="*/ 1 w 492307"/>
                  <a:gd name="connsiteY0" fmla="*/ 0 h 46153"/>
                  <a:gd name="connsiteX1" fmla="*/ 492308 w 492307"/>
                  <a:gd name="connsiteY1" fmla="*/ 0 h 46153"/>
                  <a:gd name="connsiteX2" fmla="*/ 492308 w 492307"/>
                  <a:gd name="connsiteY2" fmla="*/ 46154 h 46153"/>
                  <a:gd name="connsiteX3" fmla="*/ 1 w 492307"/>
                  <a:gd name="connsiteY3" fmla="*/ 46154 h 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307" h="46153">
                    <a:moveTo>
                      <a:pt x="1" y="0"/>
                    </a:moveTo>
                    <a:lnTo>
                      <a:pt x="492308" y="0"/>
                    </a:lnTo>
                    <a:lnTo>
                      <a:pt x="492308" y="46154"/>
                    </a:lnTo>
                    <a:lnTo>
                      <a:pt x="1" y="46154"/>
                    </a:lnTo>
                    <a:close/>
                  </a:path>
                </a:pathLst>
              </a:custGeom>
              <a:solidFill>
                <a:srgbClr val="38333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43F4F21B-77E6-44F7-8612-6E7BB5FD3EAF}"/>
                  </a:ext>
                </a:extLst>
              </p:cNvPr>
              <p:cNvSpPr/>
              <p:nvPr/>
            </p:nvSpPr>
            <p:spPr>
              <a:xfrm>
                <a:off x="24347742" y="12929818"/>
                <a:ext cx="202308" cy="63846"/>
              </a:xfrm>
              <a:custGeom>
                <a:avLst/>
                <a:gdLst>
                  <a:gd name="connsiteX0" fmla="*/ 159231 w 202308"/>
                  <a:gd name="connsiteY0" fmla="*/ 63846 h 63846"/>
                  <a:gd name="connsiteX1" fmla="*/ 2309 w 202308"/>
                  <a:gd name="connsiteY1" fmla="*/ 11538 h 63846"/>
                  <a:gd name="connsiteX2" fmla="*/ 2309 w 202308"/>
                  <a:gd name="connsiteY2" fmla="*/ 2308 h 63846"/>
                  <a:gd name="connsiteX3" fmla="*/ 11539 w 202308"/>
                  <a:gd name="connsiteY3" fmla="*/ 2308 h 63846"/>
                  <a:gd name="connsiteX4" fmla="*/ 196154 w 202308"/>
                  <a:gd name="connsiteY4" fmla="*/ 48462 h 63846"/>
                  <a:gd name="connsiteX5" fmla="*/ 202309 w 202308"/>
                  <a:gd name="connsiteY5" fmla="*/ 54615 h 63846"/>
                  <a:gd name="connsiteX6" fmla="*/ 196154 w 202308"/>
                  <a:gd name="connsiteY6" fmla="*/ 60769 h 63846"/>
                  <a:gd name="connsiteX7" fmla="*/ 159231 w 202308"/>
                  <a:gd name="connsiteY7" fmla="*/ 63846 h 6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308" h="63846">
                    <a:moveTo>
                      <a:pt x="159231" y="63846"/>
                    </a:moveTo>
                    <a:cubicBezTo>
                      <a:pt x="119231" y="63846"/>
                      <a:pt x="51539" y="57692"/>
                      <a:pt x="2309" y="11538"/>
                    </a:cubicBezTo>
                    <a:cubicBezTo>
                      <a:pt x="-770" y="8461"/>
                      <a:pt x="-770" y="5385"/>
                      <a:pt x="2309" y="2308"/>
                    </a:cubicBezTo>
                    <a:cubicBezTo>
                      <a:pt x="5385" y="-769"/>
                      <a:pt x="8463" y="-769"/>
                      <a:pt x="11539" y="2308"/>
                    </a:cubicBezTo>
                    <a:cubicBezTo>
                      <a:pt x="79232" y="63846"/>
                      <a:pt x="193078" y="48462"/>
                      <a:pt x="196154" y="48462"/>
                    </a:cubicBezTo>
                    <a:cubicBezTo>
                      <a:pt x="199230" y="48462"/>
                      <a:pt x="202309" y="51539"/>
                      <a:pt x="202309" y="54615"/>
                    </a:cubicBezTo>
                    <a:cubicBezTo>
                      <a:pt x="202309" y="57692"/>
                      <a:pt x="199230" y="60769"/>
                      <a:pt x="196154" y="60769"/>
                    </a:cubicBezTo>
                    <a:cubicBezTo>
                      <a:pt x="193078" y="60769"/>
                      <a:pt x="180770" y="63846"/>
                      <a:pt x="159231" y="6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E8FC6D18-9AA8-4263-9AF2-C852F8CE8202}"/>
                  </a:ext>
                </a:extLst>
              </p:cNvPr>
              <p:cNvSpPr/>
              <p:nvPr/>
            </p:nvSpPr>
            <p:spPr>
              <a:xfrm>
                <a:off x="24313896" y="12957510"/>
                <a:ext cx="38461" cy="42307"/>
              </a:xfrm>
              <a:custGeom>
                <a:avLst/>
                <a:gdLst>
                  <a:gd name="connsiteX0" fmla="*/ 30000 w 38461"/>
                  <a:gd name="connsiteY0" fmla="*/ 42307 h 42307"/>
                  <a:gd name="connsiteX1" fmla="*/ 26924 w 38461"/>
                  <a:gd name="connsiteY1" fmla="*/ 39231 h 42307"/>
                  <a:gd name="connsiteX2" fmla="*/ 2307 w 38461"/>
                  <a:gd name="connsiteY2" fmla="*/ 11538 h 42307"/>
                  <a:gd name="connsiteX3" fmla="*/ 2307 w 38461"/>
                  <a:gd name="connsiteY3" fmla="*/ 2308 h 42307"/>
                  <a:gd name="connsiteX4" fmla="*/ 11539 w 38461"/>
                  <a:gd name="connsiteY4" fmla="*/ 2308 h 42307"/>
                  <a:gd name="connsiteX5" fmla="*/ 36154 w 38461"/>
                  <a:gd name="connsiteY5" fmla="*/ 30000 h 42307"/>
                  <a:gd name="connsiteX6" fmla="*/ 36154 w 38461"/>
                  <a:gd name="connsiteY6" fmla="*/ 39231 h 42307"/>
                  <a:gd name="connsiteX7" fmla="*/ 30000 w 38461"/>
                  <a:gd name="connsiteY7" fmla="*/ 42307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1" h="42307">
                    <a:moveTo>
                      <a:pt x="30000" y="42307"/>
                    </a:moveTo>
                    <a:cubicBezTo>
                      <a:pt x="30000" y="42307"/>
                      <a:pt x="26924" y="42307"/>
                      <a:pt x="26924" y="39231"/>
                    </a:cubicBezTo>
                    <a:lnTo>
                      <a:pt x="2307" y="11538"/>
                    </a:lnTo>
                    <a:cubicBezTo>
                      <a:pt x="-769" y="8462"/>
                      <a:pt x="-769" y="5385"/>
                      <a:pt x="2307" y="2308"/>
                    </a:cubicBezTo>
                    <a:cubicBezTo>
                      <a:pt x="5385" y="-769"/>
                      <a:pt x="8461" y="-769"/>
                      <a:pt x="11539" y="2308"/>
                    </a:cubicBezTo>
                    <a:lnTo>
                      <a:pt x="36154" y="30000"/>
                    </a:lnTo>
                    <a:cubicBezTo>
                      <a:pt x="39231" y="33077"/>
                      <a:pt x="39231" y="36154"/>
                      <a:pt x="36154" y="39231"/>
                    </a:cubicBezTo>
                    <a:cubicBezTo>
                      <a:pt x="33076" y="39231"/>
                      <a:pt x="33076" y="42307"/>
                      <a:pt x="30000" y="423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D5CED7AE-A1EA-4088-9A1E-16EBB842678B}"/>
                  </a:ext>
                </a:extLst>
              </p:cNvPr>
              <p:cNvSpPr/>
              <p:nvPr/>
            </p:nvSpPr>
            <p:spPr>
              <a:xfrm>
                <a:off x="24273896" y="12982125"/>
                <a:ext cx="41537" cy="42307"/>
              </a:xfrm>
              <a:custGeom>
                <a:avLst/>
                <a:gdLst>
                  <a:gd name="connsiteX0" fmla="*/ 33076 w 41537"/>
                  <a:gd name="connsiteY0" fmla="*/ 42308 h 42307"/>
                  <a:gd name="connsiteX1" fmla="*/ 30000 w 41537"/>
                  <a:gd name="connsiteY1" fmla="*/ 39231 h 42307"/>
                  <a:gd name="connsiteX2" fmla="*/ 2307 w 41537"/>
                  <a:gd name="connsiteY2" fmla="*/ 11538 h 42307"/>
                  <a:gd name="connsiteX3" fmla="*/ 2307 w 41537"/>
                  <a:gd name="connsiteY3" fmla="*/ 2307 h 42307"/>
                  <a:gd name="connsiteX4" fmla="*/ 11538 w 41537"/>
                  <a:gd name="connsiteY4" fmla="*/ 2307 h 42307"/>
                  <a:gd name="connsiteX5" fmla="*/ 39231 w 41537"/>
                  <a:gd name="connsiteY5" fmla="*/ 30000 h 42307"/>
                  <a:gd name="connsiteX6" fmla="*/ 39231 w 41537"/>
                  <a:gd name="connsiteY6" fmla="*/ 39231 h 42307"/>
                  <a:gd name="connsiteX7" fmla="*/ 33076 w 41537"/>
                  <a:gd name="connsiteY7" fmla="*/ 42308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7" h="42307">
                    <a:moveTo>
                      <a:pt x="33076" y="42308"/>
                    </a:moveTo>
                    <a:cubicBezTo>
                      <a:pt x="33076" y="42308"/>
                      <a:pt x="30000" y="42308"/>
                      <a:pt x="30000" y="39231"/>
                    </a:cubicBezTo>
                    <a:lnTo>
                      <a:pt x="2307" y="11538"/>
                    </a:lnTo>
                    <a:cubicBezTo>
                      <a:pt x="-769" y="8461"/>
                      <a:pt x="-769" y="5384"/>
                      <a:pt x="2307" y="2307"/>
                    </a:cubicBezTo>
                    <a:cubicBezTo>
                      <a:pt x="5385" y="-769"/>
                      <a:pt x="8461" y="-769"/>
                      <a:pt x="11538" y="2307"/>
                    </a:cubicBezTo>
                    <a:lnTo>
                      <a:pt x="39231" y="30000"/>
                    </a:lnTo>
                    <a:cubicBezTo>
                      <a:pt x="42307" y="33076"/>
                      <a:pt x="42307" y="36153"/>
                      <a:pt x="39231" y="39231"/>
                    </a:cubicBezTo>
                    <a:cubicBezTo>
                      <a:pt x="36154" y="42308"/>
                      <a:pt x="33076" y="42308"/>
                      <a:pt x="33076" y="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CACEA167-CF14-416F-9387-20DF01F3E106}"/>
                </a:ext>
              </a:extLst>
            </p:cNvPr>
            <p:cNvSpPr/>
            <p:nvPr/>
          </p:nvSpPr>
          <p:spPr>
            <a:xfrm>
              <a:off x="24125444" y="10559818"/>
              <a:ext cx="1206144" cy="2326154"/>
            </a:xfrm>
            <a:custGeom>
              <a:avLst/>
              <a:gdLst>
                <a:gd name="connsiteX0" fmla="*/ 110760 w 1206144"/>
                <a:gd name="connsiteY0" fmla="*/ 24615 h 2326154"/>
                <a:gd name="connsiteX1" fmla="*/ 6144 w 1206144"/>
                <a:gd name="connsiteY1" fmla="*/ 1433846 h 2326154"/>
                <a:gd name="connsiteX2" fmla="*/ 159990 w 1206144"/>
                <a:gd name="connsiteY2" fmla="*/ 2320000 h 2326154"/>
                <a:gd name="connsiteX3" fmla="*/ 458452 w 1206144"/>
                <a:gd name="connsiteY3" fmla="*/ 2320000 h 2326154"/>
                <a:gd name="connsiteX4" fmla="*/ 412299 w 1206144"/>
                <a:gd name="connsiteY4" fmla="*/ 1458461 h 2326154"/>
                <a:gd name="connsiteX5" fmla="*/ 609222 w 1206144"/>
                <a:gd name="connsiteY5" fmla="*/ 510769 h 2326154"/>
                <a:gd name="connsiteX6" fmla="*/ 692300 w 1206144"/>
                <a:gd name="connsiteY6" fmla="*/ 1486154 h 2326154"/>
                <a:gd name="connsiteX7" fmla="*/ 910760 w 1206144"/>
                <a:gd name="connsiteY7" fmla="*/ 2301538 h 2326154"/>
                <a:gd name="connsiteX8" fmla="*/ 1206144 w 1206144"/>
                <a:gd name="connsiteY8" fmla="*/ 2326154 h 2326154"/>
                <a:gd name="connsiteX9" fmla="*/ 1095376 w 1206144"/>
                <a:gd name="connsiteY9" fmla="*/ 1464616 h 2326154"/>
                <a:gd name="connsiteX10" fmla="*/ 1135376 w 1206144"/>
                <a:gd name="connsiteY10" fmla="*/ 0 h 2326154"/>
                <a:gd name="connsiteX11" fmla="*/ 110760 w 1206144"/>
                <a:gd name="connsiteY11" fmla="*/ 24615 h 2326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06144" h="2326154">
                  <a:moveTo>
                    <a:pt x="110760" y="24615"/>
                  </a:moveTo>
                  <a:cubicBezTo>
                    <a:pt x="110760" y="24615"/>
                    <a:pt x="-30777" y="1120000"/>
                    <a:pt x="6144" y="1433846"/>
                  </a:cubicBezTo>
                  <a:cubicBezTo>
                    <a:pt x="36914" y="1707692"/>
                    <a:pt x="159990" y="2320000"/>
                    <a:pt x="159990" y="2320000"/>
                  </a:cubicBezTo>
                  <a:lnTo>
                    <a:pt x="458452" y="2320000"/>
                  </a:lnTo>
                  <a:cubicBezTo>
                    <a:pt x="458452" y="2320000"/>
                    <a:pt x="406144" y="1556923"/>
                    <a:pt x="412299" y="1458461"/>
                  </a:cubicBezTo>
                  <a:cubicBezTo>
                    <a:pt x="418453" y="1316923"/>
                    <a:pt x="596914" y="541539"/>
                    <a:pt x="609222" y="510769"/>
                  </a:cubicBezTo>
                  <a:cubicBezTo>
                    <a:pt x="624607" y="480000"/>
                    <a:pt x="692300" y="1486154"/>
                    <a:pt x="692300" y="1486154"/>
                  </a:cubicBezTo>
                  <a:lnTo>
                    <a:pt x="910760" y="2301538"/>
                  </a:lnTo>
                  <a:lnTo>
                    <a:pt x="1206144" y="2326154"/>
                  </a:lnTo>
                  <a:cubicBezTo>
                    <a:pt x="1206144" y="2326154"/>
                    <a:pt x="1092300" y="1566154"/>
                    <a:pt x="1095376" y="1464616"/>
                  </a:cubicBezTo>
                  <a:cubicBezTo>
                    <a:pt x="1104606" y="1310769"/>
                    <a:pt x="1181529" y="98462"/>
                    <a:pt x="1135376" y="0"/>
                  </a:cubicBezTo>
                  <a:cubicBezTo>
                    <a:pt x="436914" y="36923"/>
                    <a:pt x="110760" y="24615"/>
                    <a:pt x="110760" y="24615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8F725C88-D471-4C2A-8D49-AABA2636884A}"/>
                </a:ext>
              </a:extLst>
            </p:cNvPr>
            <p:cNvSpPr/>
            <p:nvPr/>
          </p:nvSpPr>
          <p:spPr>
            <a:xfrm>
              <a:off x="24670049" y="10713664"/>
              <a:ext cx="71977" cy="366153"/>
            </a:xfrm>
            <a:custGeom>
              <a:avLst/>
              <a:gdLst>
                <a:gd name="connsiteX0" fmla="*/ 64617 w 71977"/>
                <a:gd name="connsiteY0" fmla="*/ 366154 h 366153"/>
                <a:gd name="connsiteX1" fmla="*/ 58462 w 71977"/>
                <a:gd name="connsiteY1" fmla="*/ 363077 h 366153"/>
                <a:gd name="connsiteX2" fmla="*/ 0 w 71977"/>
                <a:gd name="connsiteY2" fmla="*/ 6154 h 366153"/>
                <a:gd name="connsiteX3" fmla="*/ 6154 w 71977"/>
                <a:gd name="connsiteY3" fmla="*/ 0 h 366153"/>
                <a:gd name="connsiteX4" fmla="*/ 6154 w 71977"/>
                <a:gd name="connsiteY4" fmla="*/ 0 h 366153"/>
                <a:gd name="connsiteX5" fmla="*/ 12308 w 71977"/>
                <a:gd name="connsiteY5" fmla="*/ 6154 h 366153"/>
                <a:gd name="connsiteX6" fmla="*/ 70771 w 71977"/>
                <a:gd name="connsiteY6" fmla="*/ 360000 h 366153"/>
                <a:gd name="connsiteX7" fmla="*/ 64617 w 71977"/>
                <a:gd name="connsiteY7" fmla="*/ 366154 h 366153"/>
                <a:gd name="connsiteX8" fmla="*/ 64617 w 71977"/>
                <a:gd name="connsiteY8" fmla="*/ 366154 h 36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977" h="366153">
                  <a:moveTo>
                    <a:pt x="64617" y="366154"/>
                  </a:moveTo>
                  <a:cubicBezTo>
                    <a:pt x="61538" y="366154"/>
                    <a:pt x="61538" y="366154"/>
                    <a:pt x="58462" y="363077"/>
                  </a:cubicBezTo>
                  <a:cubicBezTo>
                    <a:pt x="9232" y="246154"/>
                    <a:pt x="0" y="15385"/>
                    <a:pt x="0" y="6154"/>
                  </a:cubicBezTo>
                  <a:cubicBezTo>
                    <a:pt x="0" y="3077"/>
                    <a:pt x="3078" y="0"/>
                    <a:pt x="6154" y="0"/>
                  </a:cubicBezTo>
                  <a:lnTo>
                    <a:pt x="6154" y="0"/>
                  </a:lnTo>
                  <a:cubicBezTo>
                    <a:pt x="9232" y="0"/>
                    <a:pt x="12308" y="3077"/>
                    <a:pt x="12308" y="6154"/>
                  </a:cubicBezTo>
                  <a:cubicBezTo>
                    <a:pt x="12308" y="9230"/>
                    <a:pt x="21539" y="246154"/>
                    <a:pt x="70771" y="360000"/>
                  </a:cubicBezTo>
                  <a:cubicBezTo>
                    <a:pt x="73847" y="360000"/>
                    <a:pt x="70771" y="363077"/>
                    <a:pt x="64617" y="366154"/>
                  </a:cubicBezTo>
                  <a:cubicBezTo>
                    <a:pt x="67693" y="366154"/>
                    <a:pt x="67693" y="366154"/>
                    <a:pt x="64617" y="366154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2D85E6BA-5E81-45BB-8810-C1CF0903881A}"/>
                </a:ext>
              </a:extLst>
            </p:cNvPr>
            <p:cNvSpPr/>
            <p:nvPr/>
          </p:nvSpPr>
          <p:spPr>
            <a:xfrm>
              <a:off x="24559281" y="10642895"/>
              <a:ext cx="156922" cy="356922"/>
            </a:xfrm>
            <a:custGeom>
              <a:avLst/>
              <a:gdLst>
                <a:gd name="connsiteX0" fmla="*/ 147692 w 156922"/>
                <a:gd name="connsiteY0" fmla="*/ 356922 h 356922"/>
                <a:gd name="connsiteX1" fmla="*/ 144616 w 156922"/>
                <a:gd name="connsiteY1" fmla="*/ 356922 h 356922"/>
                <a:gd name="connsiteX2" fmla="*/ 33845 w 156922"/>
                <a:gd name="connsiteY2" fmla="*/ 276923 h 356922"/>
                <a:gd name="connsiteX3" fmla="*/ 0 w 156922"/>
                <a:gd name="connsiteY3" fmla="*/ 6153 h 356922"/>
                <a:gd name="connsiteX4" fmla="*/ 6154 w 156922"/>
                <a:gd name="connsiteY4" fmla="*/ 0 h 356922"/>
                <a:gd name="connsiteX5" fmla="*/ 12308 w 156922"/>
                <a:gd name="connsiteY5" fmla="*/ 6153 h 356922"/>
                <a:gd name="connsiteX6" fmla="*/ 46154 w 156922"/>
                <a:gd name="connsiteY6" fmla="*/ 270769 h 356922"/>
                <a:gd name="connsiteX7" fmla="*/ 153846 w 156922"/>
                <a:gd name="connsiteY7" fmla="*/ 347692 h 356922"/>
                <a:gd name="connsiteX8" fmla="*/ 156922 w 156922"/>
                <a:gd name="connsiteY8" fmla="*/ 356922 h 356922"/>
                <a:gd name="connsiteX9" fmla="*/ 147692 w 156922"/>
                <a:gd name="connsiteY9" fmla="*/ 356922 h 356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922" h="356922">
                  <a:moveTo>
                    <a:pt x="147692" y="356922"/>
                  </a:moveTo>
                  <a:cubicBezTo>
                    <a:pt x="147692" y="356922"/>
                    <a:pt x="144616" y="356922"/>
                    <a:pt x="144616" y="356922"/>
                  </a:cubicBezTo>
                  <a:cubicBezTo>
                    <a:pt x="135385" y="350769"/>
                    <a:pt x="46154" y="292308"/>
                    <a:pt x="33845" y="276923"/>
                  </a:cubicBezTo>
                  <a:cubicBezTo>
                    <a:pt x="21539" y="261538"/>
                    <a:pt x="3076" y="49230"/>
                    <a:pt x="0" y="6153"/>
                  </a:cubicBezTo>
                  <a:cubicBezTo>
                    <a:pt x="0" y="3076"/>
                    <a:pt x="3076" y="0"/>
                    <a:pt x="6154" y="0"/>
                  </a:cubicBezTo>
                  <a:cubicBezTo>
                    <a:pt x="9230" y="0"/>
                    <a:pt x="12308" y="3076"/>
                    <a:pt x="12308" y="6153"/>
                  </a:cubicBezTo>
                  <a:cubicBezTo>
                    <a:pt x="21539" y="101538"/>
                    <a:pt x="36923" y="258461"/>
                    <a:pt x="46154" y="270769"/>
                  </a:cubicBezTo>
                  <a:cubicBezTo>
                    <a:pt x="55384" y="279999"/>
                    <a:pt x="113847" y="323077"/>
                    <a:pt x="153846" y="347692"/>
                  </a:cubicBezTo>
                  <a:cubicBezTo>
                    <a:pt x="156922" y="350769"/>
                    <a:pt x="156922" y="353846"/>
                    <a:pt x="156922" y="356922"/>
                  </a:cubicBezTo>
                  <a:cubicBezTo>
                    <a:pt x="150770" y="356922"/>
                    <a:pt x="147692" y="356922"/>
                    <a:pt x="147692" y="356922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39B34D86-7521-462C-9B71-418F92DF815B}"/>
                </a:ext>
              </a:extLst>
            </p:cNvPr>
            <p:cNvSpPr/>
            <p:nvPr/>
          </p:nvSpPr>
          <p:spPr>
            <a:xfrm>
              <a:off x="24605435" y="8962895"/>
              <a:ext cx="252308" cy="260625"/>
            </a:xfrm>
            <a:custGeom>
              <a:avLst/>
              <a:gdLst>
                <a:gd name="connsiteX0" fmla="*/ 0 w 252308"/>
                <a:gd name="connsiteY0" fmla="*/ 40000 h 260625"/>
                <a:gd name="connsiteX1" fmla="*/ 6154 w 252308"/>
                <a:gd name="connsiteY1" fmla="*/ 215385 h 260625"/>
                <a:gd name="connsiteX2" fmla="*/ 252308 w 252308"/>
                <a:gd name="connsiteY2" fmla="*/ 206154 h 260625"/>
                <a:gd name="connsiteX3" fmla="*/ 236923 w 252308"/>
                <a:gd name="connsiteY3" fmla="*/ 0 h 260625"/>
                <a:gd name="connsiteX4" fmla="*/ 0 w 252308"/>
                <a:gd name="connsiteY4" fmla="*/ 40000 h 26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308" h="260625">
                  <a:moveTo>
                    <a:pt x="0" y="40000"/>
                  </a:moveTo>
                  <a:cubicBezTo>
                    <a:pt x="0" y="40000"/>
                    <a:pt x="6154" y="141538"/>
                    <a:pt x="6154" y="215385"/>
                  </a:cubicBezTo>
                  <a:cubicBezTo>
                    <a:pt x="6154" y="215385"/>
                    <a:pt x="101538" y="323077"/>
                    <a:pt x="252308" y="206154"/>
                  </a:cubicBezTo>
                  <a:cubicBezTo>
                    <a:pt x="252308" y="144615"/>
                    <a:pt x="240000" y="64615"/>
                    <a:pt x="236923" y="0"/>
                  </a:cubicBezTo>
                  <a:cubicBezTo>
                    <a:pt x="236923" y="0"/>
                    <a:pt x="52308" y="52308"/>
                    <a:pt x="0" y="40000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7F3CF031-0D9F-4A8E-89CD-B667CB4291FD}"/>
                </a:ext>
              </a:extLst>
            </p:cNvPr>
            <p:cNvSpPr/>
            <p:nvPr/>
          </p:nvSpPr>
          <p:spPr>
            <a:xfrm>
              <a:off x="24231280" y="9129048"/>
              <a:ext cx="1066462" cy="1527162"/>
            </a:xfrm>
            <a:custGeom>
              <a:avLst/>
              <a:gdLst>
                <a:gd name="connsiteX0" fmla="*/ 641847 w 1066462"/>
                <a:gd name="connsiteY0" fmla="*/ 0 h 1527162"/>
                <a:gd name="connsiteX1" fmla="*/ 349540 w 1066462"/>
                <a:gd name="connsiteY1" fmla="*/ 0 h 1527162"/>
                <a:gd name="connsiteX2" fmla="*/ 66462 w 1066462"/>
                <a:gd name="connsiteY2" fmla="*/ 132308 h 1527162"/>
                <a:gd name="connsiteX3" fmla="*/ 1848 w 1066462"/>
                <a:gd name="connsiteY3" fmla="*/ 1455384 h 1527162"/>
                <a:gd name="connsiteX4" fmla="*/ 1066462 w 1066462"/>
                <a:gd name="connsiteY4" fmla="*/ 1486154 h 1527162"/>
                <a:gd name="connsiteX5" fmla="*/ 928001 w 1066462"/>
                <a:gd name="connsiteY5" fmla="*/ 104615 h 1527162"/>
                <a:gd name="connsiteX6" fmla="*/ 641847 w 1066462"/>
                <a:gd name="connsiteY6" fmla="*/ 0 h 1527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6462" h="1527162">
                  <a:moveTo>
                    <a:pt x="641847" y="0"/>
                  </a:moveTo>
                  <a:cubicBezTo>
                    <a:pt x="641847" y="0"/>
                    <a:pt x="466462" y="55385"/>
                    <a:pt x="349540" y="0"/>
                  </a:cubicBezTo>
                  <a:cubicBezTo>
                    <a:pt x="349540" y="0"/>
                    <a:pt x="91077" y="98461"/>
                    <a:pt x="66462" y="132308"/>
                  </a:cubicBezTo>
                  <a:cubicBezTo>
                    <a:pt x="41847" y="166154"/>
                    <a:pt x="-10461" y="1390770"/>
                    <a:pt x="1848" y="1455384"/>
                  </a:cubicBezTo>
                  <a:cubicBezTo>
                    <a:pt x="1848" y="1455384"/>
                    <a:pt x="481847" y="1593846"/>
                    <a:pt x="1066462" y="1486154"/>
                  </a:cubicBezTo>
                  <a:cubicBezTo>
                    <a:pt x="1066462" y="1126154"/>
                    <a:pt x="968000" y="135384"/>
                    <a:pt x="928001" y="104615"/>
                  </a:cubicBezTo>
                  <a:cubicBezTo>
                    <a:pt x="884923" y="70769"/>
                    <a:pt x="641847" y="0"/>
                    <a:pt x="641847" y="0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A7406127-CD8C-446A-836B-1D5616B99A01}"/>
                </a:ext>
              </a:extLst>
            </p:cNvPr>
            <p:cNvSpPr/>
            <p:nvPr/>
          </p:nvSpPr>
          <p:spPr>
            <a:xfrm>
              <a:off x="24842358" y="8830587"/>
              <a:ext cx="67692" cy="144615"/>
            </a:xfrm>
            <a:custGeom>
              <a:avLst/>
              <a:gdLst>
                <a:gd name="connsiteX0" fmla="*/ 67693 w 67692"/>
                <a:gd name="connsiteY0" fmla="*/ 0 h 144615"/>
                <a:gd name="connsiteX1" fmla="*/ 9230 w 67692"/>
                <a:gd name="connsiteY1" fmla="*/ 144615 h 144615"/>
                <a:gd name="connsiteX2" fmla="*/ 0 w 67692"/>
                <a:gd name="connsiteY2" fmla="*/ 58461 h 144615"/>
                <a:gd name="connsiteX3" fmla="*/ 67693 w 67692"/>
                <a:gd name="connsiteY3" fmla="*/ 0 h 14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692" h="144615">
                  <a:moveTo>
                    <a:pt x="67693" y="0"/>
                  </a:moveTo>
                  <a:cubicBezTo>
                    <a:pt x="67693" y="0"/>
                    <a:pt x="61538" y="120000"/>
                    <a:pt x="9230" y="144615"/>
                  </a:cubicBezTo>
                  <a:lnTo>
                    <a:pt x="0" y="58461"/>
                  </a:lnTo>
                  <a:lnTo>
                    <a:pt x="67693" y="0"/>
                  </a:ln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E895CCFA-DDFF-4E7E-9227-21F79E77B723}"/>
                </a:ext>
              </a:extLst>
            </p:cNvPr>
            <p:cNvSpPr/>
            <p:nvPr/>
          </p:nvSpPr>
          <p:spPr>
            <a:xfrm>
              <a:off x="24479632" y="8500865"/>
              <a:ext cx="421661" cy="572933"/>
            </a:xfrm>
            <a:custGeom>
              <a:avLst/>
              <a:gdLst>
                <a:gd name="connsiteX0" fmla="*/ 2726 w 421661"/>
                <a:gd name="connsiteY0" fmla="*/ 194337 h 572933"/>
                <a:gd name="connsiteX1" fmla="*/ 18110 w 421661"/>
                <a:gd name="connsiteY1" fmla="*/ 446645 h 572933"/>
                <a:gd name="connsiteX2" fmla="*/ 187341 w 421661"/>
                <a:gd name="connsiteY2" fmla="*/ 572798 h 572933"/>
                <a:gd name="connsiteX3" fmla="*/ 396572 w 421661"/>
                <a:gd name="connsiteY3" fmla="*/ 415875 h 572933"/>
                <a:gd name="connsiteX4" fmla="*/ 421187 w 421661"/>
                <a:gd name="connsiteY4" fmla="*/ 188183 h 572933"/>
                <a:gd name="connsiteX5" fmla="*/ 193495 w 421661"/>
                <a:gd name="connsiteY5" fmla="*/ 491 h 572933"/>
                <a:gd name="connsiteX6" fmla="*/ 2726 w 421661"/>
                <a:gd name="connsiteY6" fmla="*/ 194337 h 572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661" h="572933">
                  <a:moveTo>
                    <a:pt x="2726" y="194337"/>
                  </a:moveTo>
                  <a:cubicBezTo>
                    <a:pt x="2726" y="194337"/>
                    <a:pt x="-9583" y="372798"/>
                    <a:pt x="18110" y="446645"/>
                  </a:cubicBezTo>
                  <a:cubicBezTo>
                    <a:pt x="39649" y="511260"/>
                    <a:pt x="135033" y="572798"/>
                    <a:pt x="187341" y="572798"/>
                  </a:cubicBezTo>
                  <a:cubicBezTo>
                    <a:pt x="255034" y="575875"/>
                    <a:pt x="371957" y="526644"/>
                    <a:pt x="396572" y="415875"/>
                  </a:cubicBezTo>
                  <a:cubicBezTo>
                    <a:pt x="411956" y="342029"/>
                    <a:pt x="424265" y="237414"/>
                    <a:pt x="421187" y="188183"/>
                  </a:cubicBezTo>
                  <a:cubicBezTo>
                    <a:pt x="415034" y="92798"/>
                    <a:pt x="381187" y="15875"/>
                    <a:pt x="193495" y="491"/>
                  </a:cubicBezTo>
                  <a:cubicBezTo>
                    <a:pt x="107342" y="-8740"/>
                    <a:pt x="18110" y="114337"/>
                    <a:pt x="2726" y="194337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8FA393CB-B0D2-43D0-BA1E-870D61329E82}"/>
                </a:ext>
              </a:extLst>
            </p:cNvPr>
            <p:cNvSpPr/>
            <p:nvPr/>
          </p:nvSpPr>
          <p:spPr>
            <a:xfrm>
              <a:off x="24620819" y="8762895"/>
              <a:ext cx="61538" cy="141538"/>
            </a:xfrm>
            <a:custGeom>
              <a:avLst/>
              <a:gdLst>
                <a:gd name="connsiteX0" fmla="*/ 27693 w 61538"/>
                <a:gd name="connsiteY0" fmla="*/ 141538 h 141538"/>
                <a:gd name="connsiteX1" fmla="*/ 6154 w 61538"/>
                <a:gd name="connsiteY1" fmla="*/ 135384 h 141538"/>
                <a:gd name="connsiteX2" fmla="*/ 0 w 61538"/>
                <a:gd name="connsiteY2" fmla="*/ 123077 h 141538"/>
                <a:gd name="connsiteX3" fmla="*/ 9230 w 61538"/>
                <a:gd name="connsiteY3" fmla="*/ 6154 h 141538"/>
                <a:gd name="connsiteX4" fmla="*/ 15385 w 61538"/>
                <a:gd name="connsiteY4" fmla="*/ 0 h 141538"/>
                <a:gd name="connsiteX5" fmla="*/ 21539 w 61538"/>
                <a:gd name="connsiteY5" fmla="*/ 6154 h 141538"/>
                <a:gd name="connsiteX6" fmla="*/ 12308 w 61538"/>
                <a:gd name="connsiteY6" fmla="*/ 120000 h 141538"/>
                <a:gd name="connsiteX7" fmla="*/ 15385 w 61538"/>
                <a:gd name="connsiteY7" fmla="*/ 123077 h 141538"/>
                <a:gd name="connsiteX8" fmla="*/ 55384 w 61538"/>
                <a:gd name="connsiteY8" fmla="*/ 123077 h 141538"/>
                <a:gd name="connsiteX9" fmla="*/ 61538 w 61538"/>
                <a:gd name="connsiteY9" fmla="*/ 126154 h 141538"/>
                <a:gd name="connsiteX10" fmla="*/ 58462 w 61538"/>
                <a:gd name="connsiteY10" fmla="*/ 132307 h 141538"/>
                <a:gd name="connsiteX11" fmla="*/ 27693 w 61538"/>
                <a:gd name="connsiteY11" fmla="*/ 141538 h 14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538" h="141538">
                  <a:moveTo>
                    <a:pt x="27693" y="141538"/>
                  </a:moveTo>
                  <a:cubicBezTo>
                    <a:pt x="18461" y="141538"/>
                    <a:pt x="12308" y="141538"/>
                    <a:pt x="6154" y="135384"/>
                  </a:cubicBezTo>
                  <a:cubicBezTo>
                    <a:pt x="3076" y="132307"/>
                    <a:pt x="0" y="129231"/>
                    <a:pt x="0" y="123077"/>
                  </a:cubicBezTo>
                  <a:cubicBezTo>
                    <a:pt x="0" y="101538"/>
                    <a:pt x="9230" y="12308"/>
                    <a:pt x="9230" y="6154"/>
                  </a:cubicBezTo>
                  <a:cubicBezTo>
                    <a:pt x="9230" y="3077"/>
                    <a:pt x="12308" y="0"/>
                    <a:pt x="15385" y="0"/>
                  </a:cubicBezTo>
                  <a:cubicBezTo>
                    <a:pt x="18461" y="0"/>
                    <a:pt x="21539" y="3077"/>
                    <a:pt x="21539" y="6154"/>
                  </a:cubicBezTo>
                  <a:cubicBezTo>
                    <a:pt x="21539" y="6154"/>
                    <a:pt x="9230" y="101538"/>
                    <a:pt x="12308" y="120000"/>
                  </a:cubicBezTo>
                  <a:cubicBezTo>
                    <a:pt x="12308" y="120000"/>
                    <a:pt x="12308" y="123077"/>
                    <a:pt x="15385" y="123077"/>
                  </a:cubicBezTo>
                  <a:cubicBezTo>
                    <a:pt x="21539" y="129231"/>
                    <a:pt x="43078" y="126154"/>
                    <a:pt x="55384" y="123077"/>
                  </a:cubicBezTo>
                  <a:cubicBezTo>
                    <a:pt x="58462" y="123077"/>
                    <a:pt x="61538" y="123077"/>
                    <a:pt x="61538" y="126154"/>
                  </a:cubicBezTo>
                  <a:cubicBezTo>
                    <a:pt x="61538" y="129231"/>
                    <a:pt x="61538" y="132307"/>
                    <a:pt x="58462" y="132307"/>
                  </a:cubicBezTo>
                  <a:cubicBezTo>
                    <a:pt x="55384" y="138462"/>
                    <a:pt x="40000" y="141538"/>
                    <a:pt x="27693" y="141538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5A0A03F1-CE27-4179-AC23-93A024F4A216}"/>
                </a:ext>
              </a:extLst>
            </p:cNvPr>
            <p:cNvSpPr/>
            <p:nvPr/>
          </p:nvSpPr>
          <p:spPr>
            <a:xfrm>
              <a:off x="24546189" y="8749803"/>
              <a:ext cx="38311" cy="38491"/>
            </a:xfrm>
            <a:custGeom>
              <a:avLst/>
              <a:gdLst>
                <a:gd name="connsiteX0" fmla="*/ 37707 w 38311"/>
                <a:gd name="connsiteY0" fmla="*/ 22322 h 38491"/>
                <a:gd name="connsiteX1" fmla="*/ 16168 w 38311"/>
                <a:gd name="connsiteY1" fmla="*/ 37707 h 38491"/>
                <a:gd name="connsiteX2" fmla="*/ 784 w 38311"/>
                <a:gd name="connsiteY2" fmla="*/ 16169 h 38491"/>
                <a:gd name="connsiteX3" fmla="*/ 22323 w 38311"/>
                <a:gd name="connsiteY3" fmla="*/ 784 h 38491"/>
                <a:gd name="connsiteX4" fmla="*/ 37707 w 38311"/>
                <a:gd name="connsiteY4" fmla="*/ 22322 h 3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11" h="38491">
                  <a:moveTo>
                    <a:pt x="37707" y="22322"/>
                  </a:moveTo>
                  <a:cubicBezTo>
                    <a:pt x="34631" y="34630"/>
                    <a:pt x="25401" y="40784"/>
                    <a:pt x="16168" y="37707"/>
                  </a:cubicBezTo>
                  <a:cubicBezTo>
                    <a:pt x="3862" y="34630"/>
                    <a:pt x="-2292" y="25399"/>
                    <a:pt x="784" y="16169"/>
                  </a:cubicBezTo>
                  <a:cubicBezTo>
                    <a:pt x="3862" y="3861"/>
                    <a:pt x="13092" y="-2293"/>
                    <a:pt x="22323" y="784"/>
                  </a:cubicBezTo>
                  <a:cubicBezTo>
                    <a:pt x="31553" y="784"/>
                    <a:pt x="40785" y="13092"/>
                    <a:pt x="37707" y="22322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0DE5F432-9284-4FBA-9B93-9B3BFD63F6C9}"/>
                </a:ext>
              </a:extLst>
            </p:cNvPr>
            <p:cNvSpPr/>
            <p:nvPr/>
          </p:nvSpPr>
          <p:spPr>
            <a:xfrm>
              <a:off x="24733881" y="8759033"/>
              <a:ext cx="37708" cy="38491"/>
            </a:xfrm>
            <a:custGeom>
              <a:avLst/>
              <a:gdLst>
                <a:gd name="connsiteX0" fmla="*/ 37708 w 37708"/>
                <a:gd name="connsiteY0" fmla="*/ 22323 h 38491"/>
                <a:gd name="connsiteX1" fmla="*/ 16169 w 37708"/>
                <a:gd name="connsiteY1" fmla="*/ 37707 h 38491"/>
                <a:gd name="connsiteX2" fmla="*/ 785 w 37708"/>
                <a:gd name="connsiteY2" fmla="*/ 16169 h 38491"/>
                <a:gd name="connsiteX3" fmla="*/ 22323 w 37708"/>
                <a:gd name="connsiteY3" fmla="*/ 784 h 38491"/>
                <a:gd name="connsiteX4" fmla="*/ 37708 w 37708"/>
                <a:gd name="connsiteY4" fmla="*/ 22323 h 3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708" h="38491">
                  <a:moveTo>
                    <a:pt x="37708" y="22323"/>
                  </a:moveTo>
                  <a:cubicBezTo>
                    <a:pt x="34630" y="34631"/>
                    <a:pt x="25400" y="40784"/>
                    <a:pt x="16169" y="37707"/>
                  </a:cubicBezTo>
                  <a:cubicBezTo>
                    <a:pt x="3861" y="34631"/>
                    <a:pt x="-2293" y="25400"/>
                    <a:pt x="785" y="16169"/>
                  </a:cubicBezTo>
                  <a:cubicBezTo>
                    <a:pt x="3861" y="3861"/>
                    <a:pt x="13091" y="-2293"/>
                    <a:pt x="22323" y="784"/>
                  </a:cubicBezTo>
                  <a:cubicBezTo>
                    <a:pt x="31554" y="784"/>
                    <a:pt x="37708" y="10015"/>
                    <a:pt x="37708" y="22323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5DA79A00-7ED6-4609-BB08-F742A185CB83}"/>
                </a:ext>
              </a:extLst>
            </p:cNvPr>
            <p:cNvSpPr/>
            <p:nvPr/>
          </p:nvSpPr>
          <p:spPr>
            <a:xfrm>
              <a:off x="24516973" y="8696918"/>
              <a:ext cx="92813" cy="38283"/>
            </a:xfrm>
            <a:custGeom>
              <a:avLst/>
              <a:gdLst>
                <a:gd name="connsiteX0" fmla="*/ 8463 w 92813"/>
                <a:gd name="connsiteY0" fmla="*/ 38284 h 38283"/>
                <a:gd name="connsiteX1" fmla="*/ 2309 w 92813"/>
                <a:gd name="connsiteY1" fmla="*/ 35207 h 38283"/>
                <a:gd name="connsiteX2" fmla="*/ 2309 w 92813"/>
                <a:gd name="connsiteY2" fmla="*/ 22899 h 38283"/>
                <a:gd name="connsiteX3" fmla="*/ 88462 w 92813"/>
                <a:gd name="connsiteY3" fmla="*/ 7514 h 38283"/>
                <a:gd name="connsiteX4" fmla="*/ 91538 w 92813"/>
                <a:gd name="connsiteY4" fmla="*/ 16745 h 38283"/>
                <a:gd name="connsiteX5" fmla="*/ 82308 w 92813"/>
                <a:gd name="connsiteY5" fmla="*/ 19822 h 38283"/>
                <a:gd name="connsiteX6" fmla="*/ 14615 w 92813"/>
                <a:gd name="connsiteY6" fmla="*/ 32130 h 38283"/>
                <a:gd name="connsiteX7" fmla="*/ 8463 w 92813"/>
                <a:gd name="connsiteY7" fmla="*/ 38284 h 38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8283">
                  <a:moveTo>
                    <a:pt x="8463" y="38284"/>
                  </a:moveTo>
                  <a:cubicBezTo>
                    <a:pt x="5385" y="38284"/>
                    <a:pt x="5385" y="38284"/>
                    <a:pt x="2309" y="35207"/>
                  </a:cubicBezTo>
                  <a:cubicBezTo>
                    <a:pt x="-770" y="32130"/>
                    <a:pt x="-770" y="25976"/>
                    <a:pt x="2309" y="22899"/>
                  </a:cubicBezTo>
                  <a:cubicBezTo>
                    <a:pt x="26924" y="-7870"/>
                    <a:pt x="70001" y="-1716"/>
                    <a:pt x="88462" y="7514"/>
                  </a:cubicBezTo>
                  <a:cubicBezTo>
                    <a:pt x="91538" y="10592"/>
                    <a:pt x="94616" y="13668"/>
                    <a:pt x="91538" y="16745"/>
                  </a:cubicBezTo>
                  <a:cubicBezTo>
                    <a:pt x="88462" y="19822"/>
                    <a:pt x="85386" y="22899"/>
                    <a:pt x="82308" y="19822"/>
                  </a:cubicBezTo>
                  <a:cubicBezTo>
                    <a:pt x="79232" y="19822"/>
                    <a:pt x="39232" y="1361"/>
                    <a:pt x="14615" y="32130"/>
                  </a:cubicBezTo>
                  <a:cubicBezTo>
                    <a:pt x="11539" y="38284"/>
                    <a:pt x="8463" y="38284"/>
                    <a:pt x="8463" y="38284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0A8E3603-4A81-416F-8865-CB05500759C9}"/>
                </a:ext>
              </a:extLst>
            </p:cNvPr>
            <p:cNvSpPr/>
            <p:nvPr/>
          </p:nvSpPr>
          <p:spPr>
            <a:xfrm>
              <a:off x="24704952" y="8686910"/>
              <a:ext cx="93559" cy="35984"/>
            </a:xfrm>
            <a:custGeom>
              <a:avLst/>
              <a:gdLst>
                <a:gd name="connsiteX0" fmla="*/ 88174 w 93559"/>
                <a:gd name="connsiteY0" fmla="*/ 35985 h 35984"/>
                <a:gd name="connsiteX1" fmla="*/ 82022 w 93559"/>
                <a:gd name="connsiteY1" fmla="*/ 32908 h 35984"/>
                <a:gd name="connsiteX2" fmla="*/ 14329 w 93559"/>
                <a:gd name="connsiteY2" fmla="*/ 29831 h 35984"/>
                <a:gd name="connsiteX3" fmla="*/ 2020 w 93559"/>
                <a:gd name="connsiteY3" fmla="*/ 26754 h 35984"/>
                <a:gd name="connsiteX4" fmla="*/ 5099 w 93559"/>
                <a:gd name="connsiteY4" fmla="*/ 14447 h 35984"/>
                <a:gd name="connsiteX5" fmla="*/ 91252 w 93559"/>
                <a:gd name="connsiteY5" fmla="*/ 17523 h 35984"/>
                <a:gd name="connsiteX6" fmla="*/ 91252 w 93559"/>
                <a:gd name="connsiteY6" fmla="*/ 29831 h 35984"/>
                <a:gd name="connsiteX7" fmla="*/ 88174 w 93559"/>
                <a:gd name="connsiteY7" fmla="*/ 35985 h 3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559" h="35984">
                  <a:moveTo>
                    <a:pt x="88174" y="35985"/>
                  </a:moveTo>
                  <a:cubicBezTo>
                    <a:pt x="85098" y="35985"/>
                    <a:pt x="85098" y="35985"/>
                    <a:pt x="82022" y="32908"/>
                  </a:cubicBezTo>
                  <a:cubicBezTo>
                    <a:pt x="82022" y="32908"/>
                    <a:pt x="48174" y="5216"/>
                    <a:pt x="14329" y="29831"/>
                  </a:cubicBezTo>
                  <a:cubicBezTo>
                    <a:pt x="11251" y="32908"/>
                    <a:pt x="5099" y="32908"/>
                    <a:pt x="2020" y="26754"/>
                  </a:cubicBezTo>
                  <a:cubicBezTo>
                    <a:pt x="-1056" y="23677"/>
                    <a:pt x="-1056" y="17523"/>
                    <a:pt x="5099" y="14447"/>
                  </a:cubicBezTo>
                  <a:cubicBezTo>
                    <a:pt x="42020" y="-13246"/>
                    <a:pt x="78944" y="5216"/>
                    <a:pt x="91252" y="17523"/>
                  </a:cubicBezTo>
                  <a:cubicBezTo>
                    <a:pt x="94328" y="20600"/>
                    <a:pt x="94328" y="26754"/>
                    <a:pt x="91252" y="29831"/>
                  </a:cubicBezTo>
                  <a:cubicBezTo>
                    <a:pt x="91252" y="35985"/>
                    <a:pt x="91252" y="35985"/>
                    <a:pt x="88174" y="35985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CAF07CB8-F249-43FF-841A-4AC494A6F717}"/>
                </a:ext>
              </a:extLst>
            </p:cNvPr>
            <p:cNvSpPr/>
            <p:nvPr/>
          </p:nvSpPr>
          <p:spPr>
            <a:xfrm>
              <a:off x="24596973" y="9007774"/>
              <a:ext cx="234351" cy="75120"/>
            </a:xfrm>
            <a:custGeom>
              <a:avLst/>
              <a:gdLst>
                <a:gd name="connsiteX0" fmla="*/ 76154 w 234351"/>
                <a:gd name="connsiteY0" fmla="*/ 72043 h 75120"/>
                <a:gd name="connsiteX1" fmla="*/ 2307 w 234351"/>
                <a:gd name="connsiteY1" fmla="*/ 47428 h 75120"/>
                <a:gd name="connsiteX2" fmla="*/ 2307 w 234351"/>
                <a:gd name="connsiteY2" fmla="*/ 38198 h 75120"/>
                <a:gd name="connsiteX3" fmla="*/ 11538 w 234351"/>
                <a:gd name="connsiteY3" fmla="*/ 38198 h 75120"/>
                <a:gd name="connsiteX4" fmla="*/ 85384 w 234351"/>
                <a:gd name="connsiteY4" fmla="*/ 59736 h 75120"/>
                <a:gd name="connsiteX5" fmla="*/ 223846 w 234351"/>
                <a:gd name="connsiteY5" fmla="*/ 1275 h 75120"/>
                <a:gd name="connsiteX6" fmla="*/ 233076 w 234351"/>
                <a:gd name="connsiteY6" fmla="*/ 4351 h 75120"/>
                <a:gd name="connsiteX7" fmla="*/ 230000 w 234351"/>
                <a:gd name="connsiteY7" fmla="*/ 13582 h 75120"/>
                <a:gd name="connsiteX8" fmla="*/ 85384 w 234351"/>
                <a:gd name="connsiteY8" fmla="*/ 75121 h 75120"/>
                <a:gd name="connsiteX9" fmla="*/ 76154 w 234351"/>
                <a:gd name="connsiteY9" fmla="*/ 72043 h 75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4351" h="75120">
                  <a:moveTo>
                    <a:pt x="76154" y="72043"/>
                  </a:moveTo>
                  <a:cubicBezTo>
                    <a:pt x="36154" y="72043"/>
                    <a:pt x="2307" y="50505"/>
                    <a:pt x="2307" y="47428"/>
                  </a:cubicBezTo>
                  <a:cubicBezTo>
                    <a:pt x="-769" y="44351"/>
                    <a:pt x="-769" y="41274"/>
                    <a:pt x="2307" y="38198"/>
                  </a:cubicBezTo>
                  <a:cubicBezTo>
                    <a:pt x="5385" y="35120"/>
                    <a:pt x="8461" y="35120"/>
                    <a:pt x="11538" y="38198"/>
                  </a:cubicBezTo>
                  <a:cubicBezTo>
                    <a:pt x="11538" y="38198"/>
                    <a:pt x="45385" y="62813"/>
                    <a:pt x="85384" y="59736"/>
                  </a:cubicBezTo>
                  <a:cubicBezTo>
                    <a:pt x="134614" y="56659"/>
                    <a:pt x="220770" y="1275"/>
                    <a:pt x="223846" y="1275"/>
                  </a:cubicBezTo>
                  <a:cubicBezTo>
                    <a:pt x="226922" y="-1803"/>
                    <a:pt x="230000" y="1275"/>
                    <a:pt x="233076" y="4351"/>
                  </a:cubicBezTo>
                  <a:cubicBezTo>
                    <a:pt x="236154" y="7428"/>
                    <a:pt x="233076" y="10505"/>
                    <a:pt x="230000" y="13582"/>
                  </a:cubicBezTo>
                  <a:cubicBezTo>
                    <a:pt x="226922" y="16659"/>
                    <a:pt x="137693" y="72043"/>
                    <a:pt x="85384" y="75121"/>
                  </a:cubicBezTo>
                  <a:cubicBezTo>
                    <a:pt x="82308" y="72043"/>
                    <a:pt x="79230" y="72043"/>
                    <a:pt x="76154" y="72043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01AEF737-220B-4D0B-9A0D-A969CC7F7E74}"/>
                </a:ext>
              </a:extLst>
            </p:cNvPr>
            <p:cNvSpPr/>
            <p:nvPr/>
          </p:nvSpPr>
          <p:spPr>
            <a:xfrm>
              <a:off x="24820819" y="8510587"/>
              <a:ext cx="114634" cy="270769"/>
            </a:xfrm>
            <a:custGeom>
              <a:avLst/>
              <a:gdLst>
                <a:gd name="connsiteX0" fmla="*/ 0 w 114634"/>
                <a:gd name="connsiteY0" fmla="*/ 132308 h 270769"/>
                <a:gd name="connsiteX1" fmla="*/ 58462 w 114634"/>
                <a:gd name="connsiteY1" fmla="*/ 270769 h 270769"/>
                <a:gd name="connsiteX2" fmla="*/ 110768 w 114634"/>
                <a:gd name="connsiteY2" fmla="*/ 166154 h 270769"/>
                <a:gd name="connsiteX3" fmla="*/ 40000 w 114634"/>
                <a:gd name="connsiteY3" fmla="*/ 0 h 270769"/>
                <a:gd name="connsiteX4" fmla="*/ 0 w 114634"/>
                <a:gd name="connsiteY4" fmla="*/ 132308 h 27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634" h="270769">
                  <a:moveTo>
                    <a:pt x="0" y="132308"/>
                  </a:moveTo>
                  <a:cubicBezTo>
                    <a:pt x="0" y="132308"/>
                    <a:pt x="64615" y="240000"/>
                    <a:pt x="58462" y="270769"/>
                  </a:cubicBezTo>
                  <a:cubicBezTo>
                    <a:pt x="58462" y="270769"/>
                    <a:pt x="98462" y="224615"/>
                    <a:pt x="110768" y="166154"/>
                  </a:cubicBezTo>
                  <a:cubicBezTo>
                    <a:pt x="123077" y="104616"/>
                    <a:pt x="107692" y="12308"/>
                    <a:pt x="40000" y="0"/>
                  </a:cubicBezTo>
                  <a:cubicBezTo>
                    <a:pt x="40000" y="0"/>
                    <a:pt x="40000" y="110769"/>
                    <a:pt x="0" y="132308"/>
                  </a:cubicBez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2300E54F-74D2-4603-A30C-BA882EB32E64}"/>
                </a:ext>
              </a:extLst>
            </p:cNvPr>
            <p:cNvSpPr/>
            <p:nvPr/>
          </p:nvSpPr>
          <p:spPr>
            <a:xfrm>
              <a:off x="24371589" y="8403940"/>
              <a:ext cx="503992" cy="271781"/>
            </a:xfrm>
            <a:custGeom>
              <a:avLst/>
              <a:gdLst>
                <a:gd name="connsiteX0" fmla="*/ 449230 w 503992"/>
                <a:gd name="connsiteY0" fmla="*/ 238954 h 271781"/>
                <a:gd name="connsiteX1" fmla="*/ 323077 w 503992"/>
                <a:gd name="connsiteY1" fmla="*/ 208185 h 271781"/>
                <a:gd name="connsiteX2" fmla="*/ 0 w 503992"/>
                <a:gd name="connsiteY2" fmla="*/ 217416 h 271781"/>
                <a:gd name="connsiteX3" fmla="*/ 363077 w 503992"/>
                <a:gd name="connsiteY3" fmla="*/ 5109 h 271781"/>
                <a:gd name="connsiteX4" fmla="*/ 489230 w 503992"/>
                <a:gd name="connsiteY4" fmla="*/ 106647 h 271781"/>
                <a:gd name="connsiteX5" fmla="*/ 449230 w 503992"/>
                <a:gd name="connsiteY5" fmla="*/ 238954 h 271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3992" h="271781">
                  <a:moveTo>
                    <a:pt x="449230" y="238954"/>
                  </a:moveTo>
                  <a:cubicBezTo>
                    <a:pt x="449230" y="238954"/>
                    <a:pt x="350768" y="205109"/>
                    <a:pt x="323077" y="208185"/>
                  </a:cubicBezTo>
                  <a:cubicBezTo>
                    <a:pt x="221537" y="217416"/>
                    <a:pt x="101538" y="340493"/>
                    <a:pt x="0" y="217416"/>
                  </a:cubicBezTo>
                  <a:cubicBezTo>
                    <a:pt x="40000" y="112801"/>
                    <a:pt x="193846" y="-28738"/>
                    <a:pt x="363077" y="5109"/>
                  </a:cubicBezTo>
                  <a:cubicBezTo>
                    <a:pt x="443076" y="23570"/>
                    <a:pt x="483075" y="69724"/>
                    <a:pt x="489230" y="106647"/>
                  </a:cubicBezTo>
                  <a:cubicBezTo>
                    <a:pt x="489230" y="106647"/>
                    <a:pt x="541538" y="220493"/>
                    <a:pt x="449230" y="238954"/>
                  </a:cubicBez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888F14C9-8ED5-4243-81AC-0BD5B2FFDF96}"/>
                </a:ext>
              </a:extLst>
            </p:cNvPr>
            <p:cNvSpPr/>
            <p:nvPr/>
          </p:nvSpPr>
          <p:spPr>
            <a:xfrm>
              <a:off x="24869959" y="8744688"/>
              <a:ext cx="77364" cy="116356"/>
            </a:xfrm>
            <a:custGeom>
              <a:avLst/>
              <a:gdLst>
                <a:gd name="connsiteX0" fmla="*/ 9323 w 77364"/>
                <a:gd name="connsiteY0" fmla="*/ 18207 h 116356"/>
                <a:gd name="connsiteX1" fmla="*/ 67783 w 77364"/>
                <a:gd name="connsiteY1" fmla="*/ 5899 h 116356"/>
                <a:gd name="connsiteX2" fmla="*/ 15475 w 77364"/>
                <a:gd name="connsiteY2" fmla="*/ 113591 h 116356"/>
                <a:gd name="connsiteX3" fmla="*/ 9323 w 77364"/>
                <a:gd name="connsiteY3" fmla="*/ 18207 h 116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364" h="116356">
                  <a:moveTo>
                    <a:pt x="9323" y="18207"/>
                  </a:moveTo>
                  <a:cubicBezTo>
                    <a:pt x="9323" y="18207"/>
                    <a:pt x="40092" y="-12562"/>
                    <a:pt x="67783" y="5899"/>
                  </a:cubicBezTo>
                  <a:cubicBezTo>
                    <a:pt x="95476" y="24361"/>
                    <a:pt x="58553" y="135129"/>
                    <a:pt x="15475" y="113591"/>
                  </a:cubicBezTo>
                  <a:cubicBezTo>
                    <a:pt x="-15294" y="95130"/>
                    <a:pt x="9323" y="18207"/>
                    <a:pt x="9323" y="18207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C7DEE7EC-2F60-4D41-9BC6-5C4A27627C43}"/>
                </a:ext>
              </a:extLst>
            </p:cNvPr>
            <p:cNvSpPr/>
            <p:nvPr/>
          </p:nvSpPr>
          <p:spPr>
            <a:xfrm>
              <a:off x="24811589" y="8522895"/>
              <a:ext cx="73845" cy="246153"/>
            </a:xfrm>
            <a:custGeom>
              <a:avLst/>
              <a:gdLst>
                <a:gd name="connsiteX0" fmla="*/ 67693 w 73845"/>
                <a:gd name="connsiteY0" fmla="*/ 246154 h 246153"/>
                <a:gd name="connsiteX1" fmla="*/ 61538 w 73845"/>
                <a:gd name="connsiteY1" fmla="*/ 240000 h 246153"/>
                <a:gd name="connsiteX2" fmla="*/ 6154 w 73845"/>
                <a:gd name="connsiteY2" fmla="*/ 120000 h 246153"/>
                <a:gd name="connsiteX3" fmla="*/ 0 w 73845"/>
                <a:gd name="connsiteY3" fmla="*/ 113846 h 246153"/>
                <a:gd name="connsiteX4" fmla="*/ 9230 w 73845"/>
                <a:gd name="connsiteY4" fmla="*/ 110769 h 246153"/>
                <a:gd name="connsiteX5" fmla="*/ 55384 w 73845"/>
                <a:gd name="connsiteY5" fmla="*/ 67692 h 246153"/>
                <a:gd name="connsiteX6" fmla="*/ 52308 w 73845"/>
                <a:gd name="connsiteY6" fmla="*/ 9231 h 246153"/>
                <a:gd name="connsiteX7" fmla="*/ 55384 w 73845"/>
                <a:gd name="connsiteY7" fmla="*/ 0 h 246153"/>
                <a:gd name="connsiteX8" fmla="*/ 64615 w 73845"/>
                <a:gd name="connsiteY8" fmla="*/ 3077 h 246153"/>
                <a:gd name="connsiteX9" fmla="*/ 67693 w 73845"/>
                <a:gd name="connsiteY9" fmla="*/ 70769 h 246153"/>
                <a:gd name="connsiteX10" fmla="*/ 21539 w 73845"/>
                <a:gd name="connsiteY10" fmla="*/ 116923 h 246153"/>
                <a:gd name="connsiteX11" fmla="*/ 73845 w 73845"/>
                <a:gd name="connsiteY11" fmla="*/ 233846 h 246153"/>
                <a:gd name="connsiteX12" fmla="*/ 67693 w 73845"/>
                <a:gd name="connsiteY12" fmla="*/ 246154 h 246153"/>
                <a:gd name="connsiteX13" fmla="*/ 67693 w 73845"/>
                <a:gd name="connsiteY13" fmla="*/ 246154 h 24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845" h="246153">
                  <a:moveTo>
                    <a:pt x="67693" y="246154"/>
                  </a:moveTo>
                  <a:cubicBezTo>
                    <a:pt x="64615" y="246154"/>
                    <a:pt x="61538" y="243077"/>
                    <a:pt x="61538" y="240000"/>
                  </a:cubicBezTo>
                  <a:cubicBezTo>
                    <a:pt x="52308" y="178462"/>
                    <a:pt x="6154" y="123077"/>
                    <a:pt x="6154" y="120000"/>
                  </a:cubicBezTo>
                  <a:lnTo>
                    <a:pt x="0" y="113846"/>
                  </a:lnTo>
                  <a:lnTo>
                    <a:pt x="9230" y="110769"/>
                  </a:lnTo>
                  <a:cubicBezTo>
                    <a:pt x="9230" y="110769"/>
                    <a:pt x="43076" y="98461"/>
                    <a:pt x="55384" y="67692"/>
                  </a:cubicBezTo>
                  <a:cubicBezTo>
                    <a:pt x="61538" y="49230"/>
                    <a:pt x="61538" y="30769"/>
                    <a:pt x="52308" y="9231"/>
                  </a:cubicBezTo>
                  <a:cubicBezTo>
                    <a:pt x="52308" y="6154"/>
                    <a:pt x="52308" y="3077"/>
                    <a:pt x="55384" y="0"/>
                  </a:cubicBezTo>
                  <a:cubicBezTo>
                    <a:pt x="58460" y="0"/>
                    <a:pt x="61538" y="0"/>
                    <a:pt x="64615" y="3077"/>
                  </a:cubicBezTo>
                  <a:cubicBezTo>
                    <a:pt x="73845" y="27692"/>
                    <a:pt x="76923" y="49230"/>
                    <a:pt x="67693" y="70769"/>
                  </a:cubicBezTo>
                  <a:cubicBezTo>
                    <a:pt x="55384" y="95384"/>
                    <a:pt x="33845" y="110769"/>
                    <a:pt x="21539" y="116923"/>
                  </a:cubicBezTo>
                  <a:cubicBezTo>
                    <a:pt x="33845" y="132308"/>
                    <a:pt x="67693" y="181538"/>
                    <a:pt x="73845" y="233846"/>
                  </a:cubicBezTo>
                  <a:cubicBezTo>
                    <a:pt x="73845" y="243077"/>
                    <a:pt x="70769" y="246154"/>
                    <a:pt x="67693" y="246154"/>
                  </a:cubicBezTo>
                  <a:cubicBezTo>
                    <a:pt x="67693" y="246154"/>
                    <a:pt x="67693" y="246154"/>
                    <a:pt x="67693" y="246154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3477398D-D695-4114-AE0B-3DA41B094367}"/>
                </a:ext>
              </a:extLst>
            </p:cNvPr>
            <p:cNvSpPr/>
            <p:nvPr/>
          </p:nvSpPr>
          <p:spPr>
            <a:xfrm>
              <a:off x="24501588" y="8585025"/>
              <a:ext cx="197428" cy="39408"/>
            </a:xfrm>
            <a:custGeom>
              <a:avLst/>
              <a:gdLst>
                <a:gd name="connsiteX0" fmla="*/ 8463 w 197428"/>
                <a:gd name="connsiteY0" fmla="*/ 39408 h 39408"/>
                <a:gd name="connsiteX1" fmla="*/ 2309 w 197428"/>
                <a:gd name="connsiteY1" fmla="*/ 36331 h 39408"/>
                <a:gd name="connsiteX2" fmla="*/ 2309 w 197428"/>
                <a:gd name="connsiteY2" fmla="*/ 27100 h 39408"/>
                <a:gd name="connsiteX3" fmla="*/ 193078 w 197428"/>
                <a:gd name="connsiteY3" fmla="*/ 20947 h 39408"/>
                <a:gd name="connsiteX4" fmla="*/ 196154 w 197428"/>
                <a:gd name="connsiteY4" fmla="*/ 30177 h 39408"/>
                <a:gd name="connsiteX5" fmla="*/ 186924 w 197428"/>
                <a:gd name="connsiteY5" fmla="*/ 33254 h 39408"/>
                <a:gd name="connsiteX6" fmla="*/ 5385 w 197428"/>
                <a:gd name="connsiteY6" fmla="*/ 39408 h 39408"/>
                <a:gd name="connsiteX7" fmla="*/ 8463 w 197428"/>
                <a:gd name="connsiteY7" fmla="*/ 39408 h 39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7428" h="39408">
                  <a:moveTo>
                    <a:pt x="8463" y="39408"/>
                  </a:moveTo>
                  <a:cubicBezTo>
                    <a:pt x="5385" y="39408"/>
                    <a:pt x="5385" y="39408"/>
                    <a:pt x="2309" y="36331"/>
                  </a:cubicBezTo>
                  <a:cubicBezTo>
                    <a:pt x="-770" y="33254"/>
                    <a:pt x="-770" y="30177"/>
                    <a:pt x="2309" y="27100"/>
                  </a:cubicBezTo>
                  <a:cubicBezTo>
                    <a:pt x="70001" y="-28284"/>
                    <a:pt x="190000" y="17870"/>
                    <a:pt x="193078" y="20947"/>
                  </a:cubicBezTo>
                  <a:cubicBezTo>
                    <a:pt x="196154" y="20947"/>
                    <a:pt x="199230" y="27100"/>
                    <a:pt x="196154" y="30177"/>
                  </a:cubicBezTo>
                  <a:cubicBezTo>
                    <a:pt x="196154" y="33254"/>
                    <a:pt x="193078" y="36331"/>
                    <a:pt x="186924" y="33254"/>
                  </a:cubicBezTo>
                  <a:cubicBezTo>
                    <a:pt x="186924" y="33254"/>
                    <a:pt x="70001" y="-9823"/>
                    <a:pt x="5385" y="39408"/>
                  </a:cubicBezTo>
                  <a:cubicBezTo>
                    <a:pt x="11539" y="39408"/>
                    <a:pt x="8463" y="39408"/>
                    <a:pt x="8463" y="39408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0D3A795A-913F-4C71-BB65-9FF6E3695FE1}"/>
                </a:ext>
              </a:extLst>
            </p:cNvPr>
            <p:cNvSpPr/>
            <p:nvPr/>
          </p:nvSpPr>
          <p:spPr>
            <a:xfrm>
              <a:off x="24593126" y="8958543"/>
              <a:ext cx="121274" cy="32043"/>
            </a:xfrm>
            <a:custGeom>
              <a:avLst/>
              <a:gdLst>
                <a:gd name="connsiteX0" fmla="*/ 46154 w 121274"/>
                <a:gd name="connsiteY0" fmla="*/ 32044 h 32043"/>
                <a:gd name="connsiteX1" fmla="*/ 3078 w 121274"/>
                <a:gd name="connsiteY1" fmla="*/ 19736 h 32043"/>
                <a:gd name="connsiteX2" fmla="*/ 0 w 121274"/>
                <a:gd name="connsiteY2" fmla="*/ 10505 h 32043"/>
                <a:gd name="connsiteX3" fmla="*/ 9232 w 121274"/>
                <a:gd name="connsiteY3" fmla="*/ 7428 h 32043"/>
                <a:gd name="connsiteX4" fmla="*/ 110770 w 121274"/>
                <a:gd name="connsiteY4" fmla="*/ 1275 h 32043"/>
                <a:gd name="connsiteX5" fmla="*/ 120001 w 121274"/>
                <a:gd name="connsiteY5" fmla="*/ 4352 h 32043"/>
                <a:gd name="connsiteX6" fmla="*/ 116925 w 121274"/>
                <a:gd name="connsiteY6" fmla="*/ 13582 h 32043"/>
                <a:gd name="connsiteX7" fmla="*/ 46154 w 121274"/>
                <a:gd name="connsiteY7" fmla="*/ 32044 h 32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274" h="32043">
                  <a:moveTo>
                    <a:pt x="46154" y="32044"/>
                  </a:moveTo>
                  <a:cubicBezTo>
                    <a:pt x="30769" y="32044"/>
                    <a:pt x="15385" y="28967"/>
                    <a:pt x="3078" y="19736"/>
                  </a:cubicBezTo>
                  <a:cubicBezTo>
                    <a:pt x="0" y="16659"/>
                    <a:pt x="0" y="13582"/>
                    <a:pt x="0" y="10505"/>
                  </a:cubicBezTo>
                  <a:cubicBezTo>
                    <a:pt x="3078" y="7428"/>
                    <a:pt x="6154" y="7428"/>
                    <a:pt x="9232" y="7428"/>
                  </a:cubicBezTo>
                  <a:cubicBezTo>
                    <a:pt x="49232" y="35121"/>
                    <a:pt x="110770" y="1275"/>
                    <a:pt x="110770" y="1275"/>
                  </a:cubicBezTo>
                  <a:cubicBezTo>
                    <a:pt x="113847" y="-1803"/>
                    <a:pt x="116925" y="1275"/>
                    <a:pt x="120001" y="4352"/>
                  </a:cubicBezTo>
                  <a:cubicBezTo>
                    <a:pt x="123077" y="7428"/>
                    <a:pt x="120001" y="10505"/>
                    <a:pt x="116925" y="13582"/>
                  </a:cubicBezTo>
                  <a:cubicBezTo>
                    <a:pt x="113847" y="13582"/>
                    <a:pt x="83077" y="32044"/>
                    <a:pt x="46154" y="32044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2DC39AA8-FFD1-48B9-9B13-745F3652E72C}"/>
                </a:ext>
              </a:extLst>
            </p:cNvPr>
            <p:cNvSpPr/>
            <p:nvPr/>
          </p:nvSpPr>
          <p:spPr>
            <a:xfrm>
              <a:off x="24821834" y="9119817"/>
              <a:ext cx="685139" cy="2645585"/>
            </a:xfrm>
            <a:custGeom>
              <a:avLst/>
              <a:gdLst>
                <a:gd name="connsiteX0" fmla="*/ 45139 w 685139"/>
                <a:gd name="connsiteY0" fmla="*/ 0 h 2645585"/>
                <a:gd name="connsiteX1" fmla="*/ 365140 w 685139"/>
                <a:gd name="connsiteY1" fmla="*/ 101539 h 2645585"/>
                <a:gd name="connsiteX2" fmla="*/ 685139 w 685139"/>
                <a:gd name="connsiteY2" fmla="*/ 2590769 h 2645585"/>
                <a:gd name="connsiteX3" fmla="*/ 122062 w 685139"/>
                <a:gd name="connsiteY3" fmla="*/ 2630770 h 2645585"/>
                <a:gd name="connsiteX4" fmla="*/ 45139 w 685139"/>
                <a:gd name="connsiteY4" fmla="*/ 0 h 2645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139" h="2645585">
                  <a:moveTo>
                    <a:pt x="45139" y="0"/>
                  </a:moveTo>
                  <a:cubicBezTo>
                    <a:pt x="45139" y="0"/>
                    <a:pt x="312832" y="76923"/>
                    <a:pt x="365140" y="101539"/>
                  </a:cubicBezTo>
                  <a:cubicBezTo>
                    <a:pt x="426679" y="129231"/>
                    <a:pt x="685139" y="2590769"/>
                    <a:pt x="685139" y="2590769"/>
                  </a:cubicBezTo>
                  <a:cubicBezTo>
                    <a:pt x="685139" y="2590769"/>
                    <a:pt x="309754" y="2680000"/>
                    <a:pt x="122062" y="2630770"/>
                  </a:cubicBezTo>
                  <a:cubicBezTo>
                    <a:pt x="122062" y="2630770"/>
                    <a:pt x="-90246" y="461538"/>
                    <a:pt x="45139" y="0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6231FE8B-58A6-4B54-9326-6FE7D73456D7}"/>
                </a:ext>
              </a:extLst>
            </p:cNvPr>
            <p:cNvSpPr/>
            <p:nvPr/>
          </p:nvSpPr>
          <p:spPr>
            <a:xfrm>
              <a:off x="24079282" y="9119817"/>
              <a:ext cx="519998" cy="2643753"/>
            </a:xfrm>
            <a:custGeom>
              <a:avLst/>
              <a:gdLst>
                <a:gd name="connsiteX0" fmla="*/ 519999 w 519998"/>
                <a:gd name="connsiteY0" fmla="*/ 0 h 2643753"/>
                <a:gd name="connsiteX1" fmla="*/ 409230 w 519998"/>
                <a:gd name="connsiteY1" fmla="*/ 2630770 h 2643753"/>
                <a:gd name="connsiteX2" fmla="*/ 0 w 519998"/>
                <a:gd name="connsiteY2" fmla="*/ 2603077 h 2643753"/>
                <a:gd name="connsiteX3" fmla="*/ 221537 w 519998"/>
                <a:gd name="connsiteY3" fmla="*/ 132308 h 2643753"/>
                <a:gd name="connsiteX4" fmla="*/ 519999 w 519998"/>
                <a:gd name="connsiteY4" fmla="*/ 0 h 264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998" h="2643753">
                  <a:moveTo>
                    <a:pt x="519999" y="0"/>
                  </a:moveTo>
                  <a:cubicBezTo>
                    <a:pt x="519999" y="0"/>
                    <a:pt x="363077" y="1803077"/>
                    <a:pt x="409230" y="2630770"/>
                  </a:cubicBezTo>
                  <a:cubicBezTo>
                    <a:pt x="409230" y="2630770"/>
                    <a:pt x="70769" y="2673847"/>
                    <a:pt x="0" y="2603077"/>
                  </a:cubicBezTo>
                  <a:cubicBezTo>
                    <a:pt x="0" y="2603077"/>
                    <a:pt x="175383" y="187693"/>
                    <a:pt x="221537" y="132308"/>
                  </a:cubicBezTo>
                  <a:cubicBezTo>
                    <a:pt x="264615" y="76923"/>
                    <a:pt x="519999" y="0"/>
                    <a:pt x="519999" y="0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5" name="图形 1">
              <a:extLst>
                <a:ext uri="{FF2B5EF4-FFF2-40B4-BE49-F238E27FC236}">
                  <a16:creationId xmlns:a16="http://schemas.microsoft.com/office/drawing/2014/main" id="{71F08266-99BA-4B65-98EA-C7BCA3DA723B}"/>
                </a:ext>
              </a:extLst>
            </p:cNvPr>
            <p:cNvGrpSpPr/>
            <p:nvPr/>
          </p:nvGrpSpPr>
          <p:grpSpPr>
            <a:xfrm>
              <a:off x="24424665" y="8300898"/>
              <a:ext cx="577693" cy="303260"/>
              <a:chOff x="24424665" y="8300898"/>
              <a:chExt cx="577693" cy="303260"/>
            </a:xfrm>
          </p:grpSpPr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2152A2AD-F38B-42A0-8872-E396A034AD13}"/>
                  </a:ext>
                </a:extLst>
              </p:cNvPr>
              <p:cNvSpPr/>
              <p:nvPr/>
            </p:nvSpPr>
            <p:spPr>
              <a:xfrm>
                <a:off x="24433128" y="8319817"/>
                <a:ext cx="566152" cy="284341"/>
              </a:xfrm>
              <a:custGeom>
                <a:avLst/>
                <a:gdLst>
                  <a:gd name="connsiteX0" fmla="*/ 0 w 566152"/>
                  <a:gd name="connsiteY0" fmla="*/ 0 h 284341"/>
                  <a:gd name="connsiteX1" fmla="*/ 9230 w 566152"/>
                  <a:gd name="connsiteY1" fmla="*/ 193846 h 284341"/>
                  <a:gd name="connsiteX2" fmla="*/ 492308 w 566152"/>
                  <a:gd name="connsiteY2" fmla="*/ 280000 h 284341"/>
                  <a:gd name="connsiteX3" fmla="*/ 566153 w 566152"/>
                  <a:gd name="connsiteY3" fmla="*/ 89231 h 284341"/>
                  <a:gd name="connsiteX4" fmla="*/ 0 w 566152"/>
                  <a:gd name="connsiteY4" fmla="*/ 0 h 284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152" h="284341">
                    <a:moveTo>
                      <a:pt x="0" y="0"/>
                    </a:moveTo>
                    <a:lnTo>
                      <a:pt x="9230" y="193846"/>
                    </a:lnTo>
                    <a:cubicBezTo>
                      <a:pt x="9230" y="193846"/>
                      <a:pt x="156922" y="307692"/>
                      <a:pt x="492308" y="280000"/>
                    </a:cubicBezTo>
                    <a:lnTo>
                      <a:pt x="566153" y="89231"/>
                    </a:lnTo>
                    <a:cubicBezTo>
                      <a:pt x="566153" y="92308"/>
                      <a:pt x="240000" y="123077"/>
                      <a:pt x="0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6985870B-F0C7-4C58-9783-1EC4B54F488A}"/>
                  </a:ext>
                </a:extLst>
              </p:cNvPr>
              <p:cNvSpPr/>
              <p:nvPr/>
            </p:nvSpPr>
            <p:spPr>
              <a:xfrm>
                <a:off x="24433128" y="8300898"/>
                <a:ext cx="566152" cy="120646"/>
              </a:xfrm>
              <a:custGeom>
                <a:avLst/>
                <a:gdLst>
                  <a:gd name="connsiteX0" fmla="*/ 0 w 566152"/>
                  <a:gd name="connsiteY0" fmla="*/ 18919 h 120646"/>
                  <a:gd name="connsiteX1" fmla="*/ 566153 w 566152"/>
                  <a:gd name="connsiteY1" fmla="*/ 111227 h 120646"/>
                  <a:gd name="connsiteX2" fmla="*/ 0 w 566152"/>
                  <a:gd name="connsiteY2" fmla="*/ 18919 h 120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6152" h="120646">
                    <a:moveTo>
                      <a:pt x="0" y="18919"/>
                    </a:moveTo>
                    <a:cubicBezTo>
                      <a:pt x="0" y="18919"/>
                      <a:pt x="206152" y="157381"/>
                      <a:pt x="566153" y="111227"/>
                    </a:cubicBezTo>
                    <a:cubicBezTo>
                      <a:pt x="566153" y="111227"/>
                      <a:pt x="310768" y="-54927"/>
                      <a:pt x="0" y="18919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23D97340-CEDA-4DDE-B3A8-2F8F3344BB7F}"/>
                  </a:ext>
                </a:extLst>
              </p:cNvPr>
              <p:cNvSpPr/>
              <p:nvPr/>
            </p:nvSpPr>
            <p:spPr>
              <a:xfrm>
                <a:off x="24424665" y="8311356"/>
                <a:ext cx="577693" cy="116153"/>
              </a:xfrm>
              <a:custGeom>
                <a:avLst/>
                <a:gdLst>
                  <a:gd name="connsiteX0" fmla="*/ 414615 w 577693"/>
                  <a:gd name="connsiteY0" fmla="*/ 116154 h 116153"/>
                  <a:gd name="connsiteX1" fmla="*/ 2309 w 577693"/>
                  <a:gd name="connsiteY1" fmla="*/ 11539 h 116153"/>
                  <a:gd name="connsiteX2" fmla="*/ 2309 w 577693"/>
                  <a:gd name="connsiteY2" fmla="*/ 2308 h 116153"/>
                  <a:gd name="connsiteX3" fmla="*/ 11539 w 577693"/>
                  <a:gd name="connsiteY3" fmla="*/ 2308 h 116153"/>
                  <a:gd name="connsiteX4" fmla="*/ 571539 w 577693"/>
                  <a:gd name="connsiteY4" fmla="*/ 91538 h 116153"/>
                  <a:gd name="connsiteX5" fmla="*/ 577694 w 577693"/>
                  <a:gd name="connsiteY5" fmla="*/ 97693 h 116153"/>
                  <a:gd name="connsiteX6" fmla="*/ 571539 w 577693"/>
                  <a:gd name="connsiteY6" fmla="*/ 103846 h 116153"/>
                  <a:gd name="connsiteX7" fmla="*/ 414615 w 577693"/>
                  <a:gd name="connsiteY7" fmla="*/ 116154 h 11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7693" h="116153">
                    <a:moveTo>
                      <a:pt x="414615" y="116154"/>
                    </a:moveTo>
                    <a:cubicBezTo>
                      <a:pt x="153077" y="116154"/>
                      <a:pt x="5385" y="14615"/>
                      <a:pt x="2309" y="11539"/>
                    </a:cubicBezTo>
                    <a:cubicBezTo>
                      <a:pt x="-770" y="8462"/>
                      <a:pt x="-770" y="5385"/>
                      <a:pt x="2309" y="2308"/>
                    </a:cubicBezTo>
                    <a:cubicBezTo>
                      <a:pt x="5385" y="-769"/>
                      <a:pt x="8463" y="-769"/>
                      <a:pt x="11539" y="2308"/>
                    </a:cubicBezTo>
                    <a:cubicBezTo>
                      <a:pt x="14615" y="2308"/>
                      <a:pt x="214615" y="143846"/>
                      <a:pt x="571539" y="91538"/>
                    </a:cubicBezTo>
                    <a:cubicBezTo>
                      <a:pt x="574616" y="91538"/>
                      <a:pt x="577694" y="94616"/>
                      <a:pt x="577694" y="97693"/>
                    </a:cubicBezTo>
                    <a:cubicBezTo>
                      <a:pt x="577694" y="100769"/>
                      <a:pt x="574616" y="103846"/>
                      <a:pt x="571539" y="103846"/>
                    </a:cubicBezTo>
                    <a:cubicBezTo>
                      <a:pt x="519231" y="113077"/>
                      <a:pt x="463847" y="116154"/>
                      <a:pt x="414615" y="11615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3FC271D2-9280-4F9E-B110-E5DC929AA10E}"/>
                  </a:ext>
                </a:extLst>
              </p:cNvPr>
              <p:cNvSpPr/>
              <p:nvPr/>
            </p:nvSpPr>
            <p:spPr>
              <a:xfrm>
                <a:off x="24599281" y="8433663"/>
                <a:ext cx="138461" cy="135384"/>
              </a:xfrm>
              <a:custGeom>
                <a:avLst/>
                <a:gdLst>
                  <a:gd name="connsiteX0" fmla="*/ 138462 w 138461"/>
                  <a:gd name="connsiteY0" fmla="*/ 58462 h 135384"/>
                  <a:gd name="connsiteX1" fmla="*/ 89232 w 138461"/>
                  <a:gd name="connsiteY1" fmla="*/ 52308 h 135384"/>
                  <a:gd name="connsiteX2" fmla="*/ 95386 w 138461"/>
                  <a:gd name="connsiteY2" fmla="*/ 3077 h 135384"/>
                  <a:gd name="connsiteX3" fmla="*/ 61538 w 138461"/>
                  <a:gd name="connsiteY3" fmla="*/ 0 h 135384"/>
                  <a:gd name="connsiteX4" fmla="*/ 55384 w 138461"/>
                  <a:gd name="connsiteY4" fmla="*/ 46154 h 135384"/>
                  <a:gd name="connsiteX5" fmla="*/ 6154 w 138461"/>
                  <a:gd name="connsiteY5" fmla="*/ 40000 h 135384"/>
                  <a:gd name="connsiteX6" fmla="*/ 0 w 138461"/>
                  <a:gd name="connsiteY6" fmla="*/ 76923 h 135384"/>
                  <a:gd name="connsiteX7" fmla="*/ 49232 w 138461"/>
                  <a:gd name="connsiteY7" fmla="*/ 83077 h 135384"/>
                  <a:gd name="connsiteX8" fmla="*/ 43078 w 138461"/>
                  <a:gd name="connsiteY8" fmla="*/ 129231 h 135384"/>
                  <a:gd name="connsiteX9" fmla="*/ 76923 w 138461"/>
                  <a:gd name="connsiteY9" fmla="*/ 135385 h 135384"/>
                  <a:gd name="connsiteX10" fmla="*/ 83077 w 138461"/>
                  <a:gd name="connsiteY10" fmla="*/ 86154 h 135384"/>
                  <a:gd name="connsiteX11" fmla="*/ 132307 w 138461"/>
                  <a:gd name="connsiteY11" fmla="*/ 95385 h 13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8461" h="135384">
                    <a:moveTo>
                      <a:pt x="138462" y="58462"/>
                    </a:moveTo>
                    <a:lnTo>
                      <a:pt x="89232" y="52308"/>
                    </a:lnTo>
                    <a:lnTo>
                      <a:pt x="95386" y="3077"/>
                    </a:lnTo>
                    <a:lnTo>
                      <a:pt x="61538" y="0"/>
                    </a:lnTo>
                    <a:lnTo>
                      <a:pt x="55384" y="46154"/>
                    </a:lnTo>
                    <a:lnTo>
                      <a:pt x="6154" y="40000"/>
                    </a:lnTo>
                    <a:lnTo>
                      <a:pt x="0" y="76923"/>
                    </a:lnTo>
                    <a:lnTo>
                      <a:pt x="49232" y="83077"/>
                    </a:lnTo>
                    <a:lnTo>
                      <a:pt x="43078" y="129231"/>
                    </a:lnTo>
                    <a:lnTo>
                      <a:pt x="76923" y="135385"/>
                    </a:lnTo>
                    <a:lnTo>
                      <a:pt x="83077" y="86154"/>
                    </a:lnTo>
                    <a:lnTo>
                      <a:pt x="132307" y="95385"/>
                    </a:lnTo>
                    <a:close/>
                  </a:path>
                </a:pathLst>
              </a:custGeom>
              <a:solidFill>
                <a:srgbClr val="FFFFFF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B834C67D-D14C-44E7-BD59-9AE3BDA280CC}"/>
                </a:ext>
              </a:extLst>
            </p:cNvPr>
            <p:cNvSpPr/>
            <p:nvPr/>
          </p:nvSpPr>
          <p:spPr>
            <a:xfrm>
              <a:off x="24226974" y="9249048"/>
              <a:ext cx="95383" cy="593846"/>
            </a:xfrm>
            <a:custGeom>
              <a:avLst/>
              <a:gdLst>
                <a:gd name="connsiteX0" fmla="*/ 6154 w 95383"/>
                <a:gd name="connsiteY0" fmla="*/ 593846 h 593846"/>
                <a:gd name="connsiteX1" fmla="*/ 6154 w 95383"/>
                <a:gd name="connsiteY1" fmla="*/ 593846 h 593846"/>
                <a:gd name="connsiteX2" fmla="*/ 0 w 95383"/>
                <a:gd name="connsiteY2" fmla="*/ 587693 h 593846"/>
                <a:gd name="connsiteX3" fmla="*/ 83077 w 95383"/>
                <a:gd name="connsiteY3" fmla="*/ 3077 h 593846"/>
                <a:gd name="connsiteX4" fmla="*/ 92308 w 95383"/>
                <a:gd name="connsiteY4" fmla="*/ 0 h 593846"/>
                <a:gd name="connsiteX5" fmla="*/ 95384 w 95383"/>
                <a:gd name="connsiteY5" fmla="*/ 9231 h 593846"/>
                <a:gd name="connsiteX6" fmla="*/ 12307 w 95383"/>
                <a:gd name="connsiteY6" fmla="*/ 587693 h 593846"/>
                <a:gd name="connsiteX7" fmla="*/ 6154 w 95383"/>
                <a:gd name="connsiteY7" fmla="*/ 593846 h 59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383" h="593846">
                  <a:moveTo>
                    <a:pt x="6154" y="593846"/>
                  </a:moveTo>
                  <a:cubicBezTo>
                    <a:pt x="6154" y="593846"/>
                    <a:pt x="6154" y="593846"/>
                    <a:pt x="6154" y="593846"/>
                  </a:cubicBezTo>
                  <a:cubicBezTo>
                    <a:pt x="3076" y="593846"/>
                    <a:pt x="0" y="590770"/>
                    <a:pt x="0" y="587693"/>
                  </a:cubicBezTo>
                  <a:cubicBezTo>
                    <a:pt x="3076" y="566154"/>
                    <a:pt x="52308" y="61538"/>
                    <a:pt x="83077" y="3077"/>
                  </a:cubicBezTo>
                  <a:cubicBezTo>
                    <a:pt x="83077" y="0"/>
                    <a:pt x="89230" y="0"/>
                    <a:pt x="92308" y="0"/>
                  </a:cubicBezTo>
                  <a:cubicBezTo>
                    <a:pt x="95384" y="0"/>
                    <a:pt x="95384" y="6154"/>
                    <a:pt x="95384" y="9231"/>
                  </a:cubicBezTo>
                  <a:cubicBezTo>
                    <a:pt x="64615" y="61538"/>
                    <a:pt x="12307" y="581539"/>
                    <a:pt x="12307" y="587693"/>
                  </a:cubicBezTo>
                  <a:cubicBezTo>
                    <a:pt x="12307" y="590770"/>
                    <a:pt x="9230" y="593846"/>
                    <a:pt x="6154" y="593846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99E182A9-30FA-4A08-BBBB-81D985BAFD57}"/>
                </a:ext>
              </a:extLst>
            </p:cNvPr>
            <p:cNvSpPr/>
            <p:nvPr/>
          </p:nvSpPr>
          <p:spPr>
            <a:xfrm>
              <a:off x="24546972" y="9399818"/>
              <a:ext cx="569230" cy="683975"/>
            </a:xfrm>
            <a:custGeom>
              <a:avLst/>
              <a:gdLst>
                <a:gd name="connsiteX0" fmla="*/ 378463 w 569230"/>
                <a:gd name="connsiteY0" fmla="*/ 0 h 683975"/>
                <a:gd name="connsiteX1" fmla="*/ 0 w 569230"/>
                <a:gd name="connsiteY1" fmla="*/ 504615 h 683975"/>
                <a:gd name="connsiteX2" fmla="*/ 184615 w 569230"/>
                <a:gd name="connsiteY2" fmla="*/ 683077 h 683975"/>
                <a:gd name="connsiteX3" fmla="*/ 569231 w 569230"/>
                <a:gd name="connsiteY3" fmla="*/ 218461 h 683975"/>
                <a:gd name="connsiteX4" fmla="*/ 378463 w 569230"/>
                <a:gd name="connsiteY4" fmla="*/ 0 h 68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9230" h="683975">
                  <a:moveTo>
                    <a:pt x="378463" y="0"/>
                  </a:moveTo>
                  <a:lnTo>
                    <a:pt x="0" y="504615"/>
                  </a:lnTo>
                  <a:cubicBezTo>
                    <a:pt x="0" y="504615"/>
                    <a:pt x="24617" y="655385"/>
                    <a:pt x="184615" y="683077"/>
                  </a:cubicBezTo>
                  <a:cubicBezTo>
                    <a:pt x="310770" y="707692"/>
                    <a:pt x="569231" y="218461"/>
                    <a:pt x="569231" y="218461"/>
                  </a:cubicBezTo>
                  <a:lnTo>
                    <a:pt x="378463" y="0"/>
                  </a:ln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77232174-5B86-47BC-A2B2-77B64B55C18A}"/>
                </a:ext>
              </a:extLst>
            </p:cNvPr>
            <p:cNvSpPr/>
            <p:nvPr/>
          </p:nvSpPr>
          <p:spPr>
            <a:xfrm>
              <a:off x="24706973" y="9205144"/>
              <a:ext cx="536221" cy="606981"/>
            </a:xfrm>
            <a:custGeom>
              <a:avLst/>
              <a:gdLst>
                <a:gd name="connsiteX0" fmla="*/ 356924 w 536221"/>
                <a:gd name="connsiteY0" fmla="*/ 606981 h 606981"/>
                <a:gd name="connsiteX1" fmla="*/ 473847 w 536221"/>
                <a:gd name="connsiteY1" fmla="*/ 13135 h 606981"/>
                <a:gd name="connsiteX2" fmla="*/ 0 w 536221"/>
                <a:gd name="connsiteY2" fmla="*/ 373136 h 606981"/>
                <a:gd name="connsiteX3" fmla="*/ 356924 w 536221"/>
                <a:gd name="connsiteY3" fmla="*/ 606981 h 606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6221" h="606981">
                  <a:moveTo>
                    <a:pt x="356924" y="606981"/>
                  </a:moveTo>
                  <a:cubicBezTo>
                    <a:pt x="356924" y="606981"/>
                    <a:pt x="664617" y="139289"/>
                    <a:pt x="473847" y="13135"/>
                  </a:cubicBezTo>
                  <a:cubicBezTo>
                    <a:pt x="329231" y="-82249"/>
                    <a:pt x="0" y="373136"/>
                    <a:pt x="0" y="373136"/>
                  </a:cubicBezTo>
                  <a:cubicBezTo>
                    <a:pt x="0" y="373136"/>
                    <a:pt x="147692" y="551597"/>
                    <a:pt x="356924" y="606981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89EF4E91-5FBE-47A3-BB49-9A68C72028B9}"/>
                </a:ext>
              </a:extLst>
            </p:cNvPr>
            <p:cNvSpPr/>
            <p:nvPr/>
          </p:nvSpPr>
          <p:spPr>
            <a:xfrm>
              <a:off x="24697742" y="9203214"/>
              <a:ext cx="486153" cy="476603"/>
            </a:xfrm>
            <a:custGeom>
              <a:avLst/>
              <a:gdLst>
                <a:gd name="connsiteX0" fmla="*/ 104616 w 486153"/>
                <a:gd name="connsiteY0" fmla="*/ 476603 h 476603"/>
                <a:gd name="connsiteX1" fmla="*/ 101538 w 486153"/>
                <a:gd name="connsiteY1" fmla="*/ 476603 h 476603"/>
                <a:gd name="connsiteX2" fmla="*/ 3076 w 486153"/>
                <a:gd name="connsiteY2" fmla="*/ 378142 h 476603"/>
                <a:gd name="connsiteX3" fmla="*/ 0 w 486153"/>
                <a:gd name="connsiteY3" fmla="*/ 375065 h 476603"/>
                <a:gd name="connsiteX4" fmla="*/ 3076 w 486153"/>
                <a:gd name="connsiteY4" fmla="*/ 371988 h 476603"/>
                <a:gd name="connsiteX5" fmla="*/ 243078 w 486153"/>
                <a:gd name="connsiteY5" fmla="*/ 98142 h 476603"/>
                <a:gd name="connsiteX6" fmla="*/ 483077 w 486153"/>
                <a:gd name="connsiteY6" fmla="*/ 8911 h 476603"/>
                <a:gd name="connsiteX7" fmla="*/ 486153 w 486153"/>
                <a:gd name="connsiteY7" fmla="*/ 15065 h 476603"/>
                <a:gd name="connsiteX8" fmla="*/ 479999 w 486153"/>
                <a:gd name="connsiteY8" fmla="*/ 18142 h 476603"/>
                <a:gd name="connsiteX9" fmla="*/ 252308 w 486153"/>
                <a:gd name="connsiteY9" fmla="*/ 104296 h 476603"/>
                <a:gd name="connsiteX10" fmla="*/ 15385 w 486153"/>
                <a:gd name="connsiteY10" fmla="*/ 375065 h 476603"/>
                <a:gd name="connsiteX11" fmla="*/ 110768 w 486153"/>
                <a:gd name="connsiteY11" fmla="*/ 467373 h 476603"/>
                <a:gd name="connsiteX12" fmla="*/ 110768 w 486153"/>
                <a:gd name="connsiteY12" fmla="*/ 476603 h 476603"/>
                <a:gd name="connsiteX13" fmla="*/ 104616 w 486153"/>
                <a:gd name="connsiteY13" fmla="*/ 476603 h 476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86153" h="476603">
                  <a:moveTo>
                    <a:pt x="104616" y="476603"/>
                  </a:moveTo>
                  <a:cubicBezTo>
                    <a:pt x="104616" y="476603"/>
                    <a:pt x="101538" y="476603"/>
                    <a:pt x="101538" y="476603"/>
                  </a:cubicBezTo>
                  <a:cubicBezTo>
                    <a:pt x="46154" y="436603"/>
                    <a:pt x="3076" y="381219"/>
                    <a:pt x="3076" y="378142"/>
                  </a:cubicBezTo>
                  <a:lnTo>
                    <a:pt x="0" y="375065"/>
                  </a:lnTo>
                  <a:lnTo>
                    <a:pt x="3076" y="371988"/>
                  </a:lnTo>
                  <a:cubicBezTo>
                    <a:pt x="3076" y="371988"/>
                    <a:pt x="116923" y="230449"/>
                    <a:pt x="243078" y="98142"/>
                  </a:cubicBezTo>
                  <a:cubicBezTo>
                    <a:pt x="372307" y="-37243"/>
                    <a:pt x="479999" y="5834"/>
                    <a:pt x="483077" y="8911"/>
                  </a:cubicBezTo>
                  <a:cubicBezTo>
                    <a:pt x="486153" y="8911"/>
                    <a:pt x="486153" y="11988"/>
                    <a:pt x="486153" y="15065"/>
                  </a:cubicBezTo>
                  <a:cubicBezTo>
                    <a:pt x="486153" y="18142"/>
                    <a:pt x="479999" y="18142"/>
                    <a:pt x="479999" y="18142"/>
                  </a:cubicBezTo>
                  <a:cubicBezTo>
                    <a:pt x="479999" y="18142"/>
                    <a:pt x="378461" y="-24935"/>
                    <a:pt x="252308" y="104296"/>
                  </a:cubicBezTo>
                  <a:cubicBezTo>
                    <a:pt x="135385" y="224295"/>
                    <a:pt x="33845" y="350450"/>
                    <a:pt x="15385" y="375065"/>
                  </a:cubicBezTo>
                  <a:cubicBezTo>
                    <a:pt x="24615" y="387373"/>
                    <a:pt x="64615" y="433526"/>
                    <a:pt x="110768" y="467373"/>
                  </a:cubicBezTo>
                  <a:cubicBezTo>
                    <a:pt x="113847" y="470449"/>
                    <a:pt x="113847" y="473526"/>
                    <a:pt x="110768" y="476603"/>
                  </a:cubicBezTo>
                  <a:cubicBezTo>
                    <a:pt x="110768" y="476603"/>
                    <a:pt x="107692" y="476603"/>
                    <a:pt x="104616" y="476603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0B926DCA-4B05-40FF-9B19-310FE1EC4B86}"/>
                </a:ext>
              </a:extLst>
            </p:cNvPr>
            <p:cNvSpPr/>
            <p:nvPr/>
          </p:nvSpPr>
          <p:spPr>
            <a:xfrm>
              <a:off x="24460632" y="8807348"/>
              <a:ext cx="455787" cy="494008"/>
            </a:xfrm>
            <a:custGeom>
              <a:avLst/>
              <a:gdLst>
                <a:gd name="connsiteX0" fmla="*/ 34034 w 455787"/>
                <a:gd name="connsiteY0" fmla="*/ 143239 h 494008"/>
                <a:gd name="connsiteX1" fmla="*/ 200187 w 455787"/>
                <a:gd name="connsiteY1" fmla="*/ 450931 h 494008"/>
                <a:gd name="connsiteX2" fmla="*/ 424802 w 455787"/>
                <a:gd name="connsiteY2" fmla="*/ 10931 h 494008"/>
                <a:gd name="connsiteX3" fmla="*/ 455571 w 455787"/>
                <a:gd name="connsiteY3" fmla="*/ 20162 h 494008"/>
                <a:gd name="connsiteX4" fmla="*/ 157111 w 455787"/>
                <a:gd name="connsiteY4" fmla="*/ 494009 h 494008"/>
                <a:gd name="connsiteX5" fmla="*/ 6341 w 455787"/>
                <a:gd name="connsiteY5" fmla="*/ 112470 h 494008"/>
                <a:gd name="connsiteX6" fmla="*/ 34034 w 455787"/>
                <a:gd name="connsiteY6" fmla="*/ 143239 h 49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5787" h="494008">
                  <a:moveTo>
                    <a:pt x="34034" y="143239"/>
                  </a:moveTo>
                  <a:cubicBezTo>
                    <a:pt x="24802" y="297085"/>
                    <a:pt x="40186" y="506316"/>
                    <a:pt x="200187" y="450931"/>
                  </a:cubicBezTo>
                  <a:cubicBezTo>
                    <a:pt x="357111" y="395547"/>
                    <a:pt x="403265" y="152470"/>
                    <a:pt x="424802" y="10931"/>
                  </a:cubicBezTo>
                  <a:cubicBezTo>
                    <a:pt x="427880" y="-7530"/>
                    <a:pt x="458649" y="-1376"/>
                    <a:pt x="455571" y="20162"/>
                  </a:cubicBezTo>
                  <a:cubicBezTo>
                    <a:pt x="434034" y="170932"/>
                    <a:pt x="366341" y="490931"/>
                    <a:pt x="157111" y="494009"/>
                  </a:cubicBezTo>
                  <a:cubicBezTo>
                    <a:pt x="-9044" y="494009"/>
                    <a:pt x="-9044" y="263239"/>
                    <a:pt x="6341" y="112470"/>
                  </a:cubicBezTo>
                  <a:cubicBezTo>
                    <a:pt x="12495" y="118624"/>
                    <a:pt x="24802" y="130932"/>
                    <a:pt x="34034" y="143239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1F68990A-F271-4643-A00B-11B60F9EE0CC}"/>
                </a:ext>
              </a:extLst>
            </p:cNvPr>
            <p:cNvSpPr/>
            <p:nvPr/>
          </p:nvSpPr>
          <p:spPr>
            <a:xfrm>
              <a:off x="24865637" y="8771654"/>
              <a:ext cx="65950" cy="66783"/>
            </a:xfrm>
            <a:custGeom>
              <a:avLst/>
              <a:gdLst>
                <a:gd name="connsiteX0" fmla="*/ 25951 w 65950"/>
                <a:gd name="connsiteY0" fmla="*/ 471 h 66783"/>
                <a:gd name="connsiteX1" fmla="*/ 65951 w 65950"/>
                <a:gd name="connsiteY1" fmla="*/ 28164 h 66783"/>
                <a:gd name="connsiteX2" fmla="*/ 16721 w 65950"/>
                <a:gd name="connsiteY2" fmla="*/ 62010 h 66783"/>
                <a:gd name="connsiteX3" fmla="*/ 25951 w 65950"/>
                <a:gd name="connsiteY3" fmla="*/ 471 h 66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950" h="66783">
                  <a:moveTo>
                    <a:pt x="25951" y="471"/>
                  </a:moveTo>
                  <a:cubicBezTo>
                    <a:pt x="38259" y="-2606"/>
                    <a:pt x="65951" y="9702"/>
                    <a:pt x="65951" y="28164"/>
                  </a:cubicBezTo>
                  <a:cubicBezTo>
                    <a:pt x="65951" y="52779"/>
                    <a:pt x="38259" y="77394"/>
                    <a:pt x="16721" y="62010"/>
                  </a:cubicBezTo>
                  <a:cubicBezTo>
                    <a:pt x="-10972" y="43548"/>
                    <a:pt x="-1740" y="9702"/>
                    <a:pt x="25951" y="471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2" name="图形 1">
              <a:extLst>
                <a:ext uri="{FF2B5EF4-FFF2-40B4-BE49-F238E27FC236}">
                  <a16:creationId xmlns:a16="http://schemas.microsoft.com/office/drawing/2014/main" id="{B1F1FD1D-0A98-4D06-8E91-378106DD26E7}"/>
                </a:ext>
              </a:extLst>
            </p:cNvPr>
            <p:cNvGrpSpPr/>
            <p:nvPr/>
          </p:nvGrpSpPr>
          <p:grpSpPr>
            <a:xfrm>
              <a:off x="24793740" y="8915494"/>
              <a:ext cx="208618" cy="345862"/>
              <a:chOff x="24793740" y="8915494"/>
              <a:chExt cx="208618" cy="345862"/>
            </a:xfrm>
          </p:grpSpPr>
          <p:grpSp>
            <p:nvGrpSpPr>
              <p:cNvPr id="127" name="图形 1">
                <a:extLst>
                  <a:ext uri="{FF2B5EF4-FFF2-40B4-BE49-F238E27FC236}">
                    <a16:creationId xmlns:a16="http://schemas.microsoft.com/office/drawing/2014/main" id="{C0AD5F8E-16E2-4080-A800-4F717A539A8A}"/>
                  </a:ext>
                </a:extLst>
              </p:cNvPr>
              <p:cNvGrpSpPr/>
              <p:nvPr/>
            </p:nvGrpSpPr>
            <p:grpSpPr>
              <a:xfrm>
                <a:off x="24793740" y="8915494"/>
                <a:ext cx="208618" cy="345862"/>
                <a:chOff x="24793740" y="8915494"/>
                <a:chExt cx="208618" cy="345862"/>
              </a:xfrm>
            </p:grpSpPr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1D057272-3DAC-4BCF-BD16-C1DC084CF6A5}"/>
                    </a:ext>
                  </a:extLst>
                </p:cNvPr>
                <p:cNvSpPr/>
                <p:nvPr/>
              </p:nvSpPr>
              <p:spPr>
                <a:xfrm>
                  <a:off x="24793740" y="8922530"/>
                  <a:ext cx="203327" cy="338825"/>
                </a:xfrm>
                <a:custGeom>
                  <a:avLst/>
                  <a:gdLst>
                    <a:gd name="connsiteX0" fmla="*/ 104002 w 203327"/>
                    <a:gd name="connsiteY0" fmla="*/ 338826 h 338825"/>
                    <a:gd name="connsiteX1" fmla="*/ 202464 w 203327"/>
                    <a:gd name="connsiteY1" fmla="*/ 212672 h 338825"/>
                    <a:gd name="connsiteX2" fmla="*/ 150156 w 203327"/>
                    <a:gd name="connsiteY2" fmla="*/ 6518 h 338825"/>
                    <a:gd name="connsiteX3" fmla="*/ 144002 w 203327"/>
                    <a:gd name="connsiteY3" fmla="*/ 68057 h 338825"/>
                    <a:gd name="connsiteX4" fmla="*/ 91694 w 203327"/>
                    <a:gd name="connsiteY4" fmla="*/ 364 h 338825"/>
                    <a:gd name="connsiteX5" fmla="*/ 73233 w 203327"/>
                    <a:gd name="connsiteY5" fmla="*/ 34210 h 338825"/>
                    <a:gd name="connsiteX6" fmla="*/ 54772 w 203327"/>
                    <a:gd name="connsiteY6" fmla="*/ 71134 h 338825"/>
                    <a:gd name="connsiteX7" fmla="*/ 27079 w 203327"/>
                    <a:gd name="connsiteY7" fmla="*/ 74210 h 338825"/>
                    <a:gd name="connsiteX8" fmla="*/ 48618 w 203327"/>
                    <a:gd name="connsiteY8" fmla="*/ 178826 h 338825"/>
                    <a:gd name="connsiteX9" fmla="*/ 5540 w 203327"/>
                    <a:gd name="connsiteY9" fmla="*/ 240364 h 338825"/>
                    <a:gd name="connsiteX10" fmla="*/ 11694 w 203327"/>
                    <a:gd name="connsiteY10" fmla="*/ 323441 h 338825"/>
                    <a:gd name="connsiteX11" fmla="*/ 104002 w 203327"/>
                    <a:gd name="connsiteY11" fmla="*/ 338826 h 338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3327" h="338825">
                      <a:moveTo>
                        <a:pt x="104002" y="338826"/>
                      </a:moveTo>
                      <a:cubicBezTo>
                        <a:pt x="104002" y="338826"/>
                        <a:pt x="196310" y="246518"/>
                        <a:pt x="202464" y="212672"/>
                      </a:cubicBezTo>
                      <a:cubicBezTo>
                        <a:pt x="208618" y="178826"/>
                        <a:pt x="180925" y="3441"/>
                        <a:pt x="150156" y="6518"/>
                      </a:cubicBezTo>
                      <a:cubicBezTo>
                        <a:pt x="122463" y="9595"/>
                        <a:pt x="144002" y="68057"/>
                        <a:pt x="144002" y="68057"/>
                      </a:cubicBezTo>
                      <a:cubicBezTo>
                        <a:pt x="144002" y="68057"/>
                        <a:pt x="113232" y="-5789"/>
                        <a:pt x="91694" y="364"/>
                      </a:cubicBezTo>
                      <a:cubicBezTo>
                        <a:pt x="67079" y="9595"/>
                        <a:pt x="73233" y="34210"/>
                        <a:pt x="73233" y="34210"/>
                      </a:cubicBezTo>
                      <a:cubicBezTo>
                        <a:pt x="73233" y="34210"/>
                        <a:pt x="42464" y="24980"/>
                        <a:pt x="54772" y="71134"/>
                      </a:cubicBezTo>
                      <a:cubicBezTo>
                        <a:pt x="54772" y="71134"/>
                        <a:pt x="27079" y="52672"/>
                        <a:pt x="27079" y="74210"/>
                      </a:cubicBezTo>
                      <a:cubicBezTo>
                        <a:pt x="27079" y="95749"/>
                        <a:pt x="54772" y="160364"/>
                        <a:pt x="48618" y="178826"/>
                      </a:cubicBezTo>
                      <a:cubicBezTo>
                        <a:pt x="42464" y="197287"/>
                        <a:pt x="14770" y="209595"/>
                        <a:pt x="5540" y="240364"/>
                      </a:cubicBezTo>
                      <a:cubicBezTo>
                        <a:pt x="-9845" y="298826"/>
                        <a:pt x="11694" y="323441"/>
                        <a:pt x="11694" y="323441"/>
                      </a:cubicBezTo>
                      <a:lnTo>
                        <a:pt x="104002" y="338826"/>
                      </a:lnTo>
                      <a:close/>
                    </a:path>
                  </a:pathLst>
                </a:custGeom>
                <a:solidFill>
                  <a:srgbClr val="F49F84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7BD13327-BE5B-4120-A3DB-CBB8F205268A}"/>
                    </a:ext>
                  </a:extLst>
                </p:cNvPr>
                <p:cNvSpPr/>
                <p:nvPr/>
              </p:nvSpPr>
              <p:spPr>
                <a:xfrm>
                  <a:off x="24929624" y="8915494"/>
                  <a:ext cx="72734" cy="305862"/>
                </a:xfrm>
                <a:custGeom>
                  <a:avLst/>
                  <a:gdLst>
                    <a:gd name="connsiteX0" fmla="*/ 8118 w 72734"/>
                    <a:gd name="connsiteY0" fmla="*/ 305862 h 305862"/>
                    <a:gd name="connsiteX1" fmla="*/ 5042 w 72734"/>
                    <a:gd name="connsiteY1" fmla="*/ 302785 h 305862"/>
                    <a:gd name="connsiteX2" fmla="*/ 5042 w 72734"/>
                    <a:gd name="connsiteY2" fmla="*/ 293555 h 305862"/>
                    <a:gd name="connsiteX3" fmla="*/ 60426 w 72734"/>
                    <a:gd name="connsiteY3" fmla="*/ 213555 h 305862"/>
                    <a:gd name="connsiteX4" fmla="*/ 23503 w 72734"/>
                    <a:gd name="connsiteY4" fmla="*/ 22786 h 305862"/>
                    <a:gd name="connsiteX5" fmla="*/ 14272 w 72734"/>
                    <a:gd name="connsiteY5" fmla="*/ 10478 h 305862"/>
                    <a:gd name="connsiteX6" fmla="*/ 14272 w 72734"/>
                    <a:gd name="connsiteY6" fmla="*/ 68939 h 305862"/>
                    <a:gd name="connsiteX7" fmla="*/ 11196 w 72734"/>
                    <a:gd name="connsiteY7" fmla="*/ 75093 h 305862"/>
                    <a:gd name="connsiteX8" fmla="*/ 5042 w 72734"/>
                    <a:gd name="connsiteY8" fmla="*/ 72016 h 305862"/>
                    <a:gd name="connsiteX9" fmla="*/ 11196 w 72734"/>
                    <a:gd name="connsiteY9" fmla="*/ 1247 h 305862"/>
                    <a:gd name="connsiteX10" fmla="*/ 35811 w 72734"/>
                    <a:gd name="connsiteY10" fmla="*/ 16632 h 305862"/>
                    <a:gd name="connsiteX11" fmla="*/ 72735 w 72734"/>
                    <a:gd name="connsiteY11" fmla="*/ 213555 h 305862"/>
                    <a:gd name="connsiteX12" fmla="*/ 11196 w 72734"/>
                    <a:gd name="connsiteY12" fmla="*/ 302785 h 305862"/>
                    <a:gd name="connsiteX13" fmla="*/ 8118 w 72734"/>
                    <a:gd name="connsiteY13" fmla="*/ 305862 h 3058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72734" h="305862">
                      <a:moveTo>
                        <a:pt x="8118" y="305862"/>
                      </a:moveTo>
                      <a:cubicBezTo>
                        <a:pt x="5042" y="305862"/>
                        <a:pt x="5042" y="305862"/>
                        <a:pt x="5042" y="302785"/>
                      </a:cubicBezTo>
                      <a:cubicBezTo>
                        <a:pt x="1964" y="299709"/>
                        <a:pt x="5042" y="296632"/>
                        <a:pt x="5042" y="293555"/>
                      </a:cubicBezTo>
                      <a:cubicBezTo>
                        <a:pt x="5042" y="293555"/>
                        <a:pt x="63502" y="250478"/>
                        <a:pt x="60426" y="213555"/>
                      </a:cubicBezTo>
                      <a:cubicBezTo>
                        <a:pt x="60426" y="176632"/>
                        <a:pt x="48118" y="62786"/>
                        <a:pt x="23503" y="22786"/>
                      </a:cubicBezTo>
                      <a:cubicBezTo>
                        <a:pt x="17348" y="10478"/>
                        <a:pt x="14272" y="10478"/>
                        <a:pt x="14272" y="10478"/>
                      </a:cubicBezTo>
                      <a:cubicBezTo>
                        <a:pt x="11196" y="13555"/>
                        <a:pt x="8118" y="44324"/>
                        <a:pt x="14272" y="68939"/>
                      </a:cubicBezTo>
                      <a:cubicBezTo>
                        <a:pt x="14272" y="72016"/>
                        <a:pt x="14272" y="75093"/>
                        <a:pt x="11196" y="75093"/>
                      </a:cubicBezTo>
                      <a:cubicBezTo>
                        <a:pt x="8118" y="75093"/>
                        <a:pt x="5042" y="75093"/>
                        <a:pt x="5042" y="72016"/>
                      </a:cubicBezTo>
                      <a:cubicBezTo>
                        <a:pt x="-1112" y="50478"/>
                        <a:pt x="-4188" y="7401"/>
                        <a:pt x="11196" y="1247"/>
                      </a:cubicBezTo>
                      <a:cubicBezTo>
                        <a:pt x="23503" y="-4907"/>
                        <a:pt x="32733" y="13555"/>
                        <a:pt x="35811" y="16632"/>
                      </a:cubicBezTo>
                      <a:cubicBezTo>
                        <a:pt x="63502" y="59709"/>
                        <a:pt x="72735" y="173555"/>
                        <a:pt x="72735" y="213555"/>
                      </a:cubicBezTo>
                      <a:cubicBezTo>
                        <a:pt x="72735" y="253555"/>
                        <a:pt x="14272" y="299709"/>
                        <a:pt x="11196" y="302785"/>
                      </a:cubicBezTo>
                      <a:cubicBezTo>
                        <a:pt x="11196" y="305862"/>
                        <a:pt x="8118" y="305862"/>
                        <a:pt x="8118" y="305862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495E2D66-F9CE-4D5C-A74C-437E3FD215E4}"/>
                    </a:ext>
                  </a:extLst>
                </p:cNvPr>
                <p:cNvSpPr/>
                <p:nvPr/>
              </p:nvSpPr>
              <p:spPr>
                <a:xfrm>
                  <a:off x="24888512" y="9090878"/>
                  <a:ext cx="89229" cy="25862"/>
                </a:xfrm>
                <a:custGeom>
                  <a:avLst/>
                  <a:gdLst>
                    <a:gd name="connsiteX0" fmla="*/ 83077 w 89229"/>
                    <a:gd name="connsiteY0" fmla="*/ 25863 h 25862"/>
                    <a:gd name="connsiteX1" fmla="*/ 83077 w 89229"/>
                    <a:gd name="connsiteY1" fmla="*/ 25863 h 25862"/>
                    <a:gd name="connsiteX2" fmla="*/ 6154 w 89229"/>
                    <a:gd name="connsiteY2" fmla="*/ 13555 h 25862"/>
                    <a:gd name="connsiteX3" fmla="*/ 0 w 89229"/>
                    <a:gd name="connsiteY3" fmla="*/ 7401 h 25862"/>
                    <a:gd name="connsiteX4" fmla="*/ 6154 w 89229"/>
                    <a:gd name="connsiteY4" fmla="*/ 1247 h 25862"/>
                    <a:gd name="connsiteX5" fmla="*/ 86153 w 89229"/>
                    <a:gd name="connsiteY5" fmla="*/ 16632 h 25862"/>
                    <a:gd name="connsiteX6" fmla="*/ 89230 w 89229"/>
                    <a:gd name="connsiteY6" fmla="*/ 22785 h 25862"/>
                    <a:gd name="connsiteX7" fmla="*/ 83077 w 89229"/>
                    <a:gd name="connsiteY7" fmla="*/ 25863 h 258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9229" h="25862">
                      <a:moveTo>
                        <a:pt x="83077" y="25863"/>
                      </a:moveTo>
                      <a:cubicBezTo>
                        <a:pt x="79999" y="25863"/>
                        <a:pt x="79999" y="25863"/>
                        <a:pt x="83077" y="25863"/>
                      </a:cubicBezTo>
                      <a:cubicBezTo>
                        <a:pt x="79999" y="25863"/>
                        <a:pt x="40000" y="7401"/>
                        <a:pt x="6154" y="13555"/>
                      </a:cubicBezTo>
                      <a:cubicBezTo>
                        <a:pt x="3076" y="13555"/>
                        <a:pt x="0" y="10478"/>
                        <a:pt x="0" y="7401"/>
                      </a:cubicBezTo>
                      <a:cubicBezTo>
                        <a:pt x="0" y="4324"/>
                        <a:pt x="3076" y="1247"/>
                        <a:pt x="6154" y="1247"/>
                      </a:cubicBezTo>
                      <a:cubicBezTo>
                        <a:pt x="43076" y="-4907"/>
                        <a:pt x="86153" y="13555"/>
                        <a:pt x="86153" y="16632"/>
                      </a:cubicBezTo>
                      <a:cubicBezTo>
                        <a:pt x="89230" y="16632"/>
                        <a:pt x="89230" y="22785"/>
                        <a:pt x="89230" y="22785"/>
                      </a:cubicBezTo>
                      <a:cubicBezTo>
                        <a:pt x="86153" y="25863"/>
                        <a:pt x="83077" y="25863"/>
                        <a:pt x="83077" y="2586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2" name="任意多边形: 形状 131">
                  <a:extLst>
                    <a:ext uri="{FF2B5EF4-FFF2-40B4-BE49-F238E27FC236}">
                      <a16:creationId xmlns:a16="http://schemas.microsoft.com/office/drawing/2014/main" id="{377D1931-8B48-43B0-A5C0-78991B74E7F0}"/>
                    </a:ext>
                  </a:extLst>
                </p:cNvPr>
                <p:cNvSpPr/>
                <p:nvPr/>
              </p:nvSpPr>
              <p:spPr>
                <a:xfrm>
                  <a:off x="24864666" y="8919817"/>
                  <a:ext cx="95889" cy="181538"/>
                </a:xfrm>
                <a:custGeom>
                  <a:avLst/>
                  <a:gdLst>
                    <a:gd name="connsiteX0" fmla="*/ 91539 w 95889"/>
                    <a:gd name="connsiteY0" fmla="*/ 181539 h 181538"/>
                    <a:gd name="connsiteX1" fmla="*/ 85385 w 95889"/>
                    <a:gd name="connsiteY1" fmla="*/ 175385 h 181538"/>
                    <a:gd name="connsiteX2" fmla="*/ 54616 w 95889"/>
                    <a:gd name="connsiteY2" fmla="*/ 40000 h 181538"/>
                    <a:gd name="connsiteX3" fmla="*/ 20768 w 95889"/>
                    <a:gd name="connsiteY3" fmla="*/ 9231 h 181538"/>
                    <a:gd name="connsiteX4" fmla="*/ 20768 w 95889"/>
                    <a:gd name="connsiteY4" fmla="*/ 9231 h 181538"/>
                    <a:gd name="connsiteX5" fmla="*/ 14616 w 95889"/>
                    <a:gd name="connsiteY5" fmla="*/ 12308 h 181538"/>
                    <a:gd name="connsiteX6" fmla="*/ 17692 w 95889"/>
                    <a:gd name="connsiteY6" fmla="*/ 43077 h 181538"/>
                    <a:gd name="connsiteX7" fmla="*/ 63846 w 95889"/>
                    <a:gd name="connsiteY7" fmla="*/ 166154 h 181538"/>
                    <a:gd name="connsiteX8" fmla="*/ 57692 w 95889"/>
                    <a:gd name="connsiteY8" fmla="*/ 172308 h 181538"/>
                    <a:gd name="connsiteX9" fmla="*/ 51538 w 95889"/>
                    <a:gd name="connsiteY9" fmla="*/ 166154 h 181538"/>
                    <a:gd name="connsiteX10" fmla="*/ 8462 w 95889"/>
                    <a:gd name="connsiteY10" fmla="*/ 49231 h 181538"/>
                    <a:gd name="connsiteX11" fmla="*/ 5384 w 95889"/>
                    <a:gd name="connsiteY11" fmla="*/ 6154 h 181538"/>
                    <a:gd name="connsiteX12" fmla="*/ 20768 w 95889"/>
                    <a:gd name="connsiteY12" fmla="*/ 0 h 181538"/>
                    <a:gd name="connsiteX13" fmla="*/ 60770 w 95889"/>
                    <a:gd name="connsiteY13" fmla="*/ 33846 h 181538"/>
                    <a:gd name="connsiteX14" fmla="*/ 94615 w 95889"/>
                    <a:gd name="connsiteY14" fmla="*/ 175385 h 181538"/>
                    <a:gd name="connsiteX15" fmla="*/ 91539 w 95889"/>
                    <a:gd name="connsiteY15" fmla="*/ 181539 h 181538"/>
                    <a:gd name="connsiteX16" fmla="*/ 91539 w 95889"/>
                    <a:gd name="connsiteY16" fmla="*/ 181539 h 181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95889" h="181538">
                      <a:moveTo>
                        <a:pt x="91539" y="181539"/>
                      </a:moveTo>
                      <a:cubicBezTo>
                        <a:pt x="88461" y="181539"/>
                        <a:pt x="85385" y="178462"/>
                        <a:pt x="85385" y="175385"/>
                      </a:cubicBezTo>
                      <a:cubicBezTo>
                        <a:pt x="85385" y="175385"/>
                        <a:pt x="79231" y="76923"/>
                        <a:pt x="54616" y="40000"/>
                      </a:cubicBezTo>
                      <a:cubicBezTo>
                        <a:pt x="36153" y="15385"/>
                        <a:pt x="26923" y="12308"/>
                        <a:pt x="20768" y="9231"/>
                      </a:cubicBezTo>
                      <a:cubicBezTo>
                        <a:pt x="20768" y="9231"/>
                        <a:pt x="20768" y="9231"/>
                        <a:pt x="20768" y="9231"/>
                      </a:cubicBezTo>
                      <a:cubicBezTo>
                        <a:pt x="17692" y="9231"/>
                        <a:pt x="17692" y="9231"/>
                        <a:pt x="14616" y="12308"/>
                      </a:cubicBezTo>
                      <a:cubicBezTo>
                        <a:pt x="11538" y="15385"/>
                        <a:pt x="8462" y="27693"/>
                        <a:pt x="17692" y="43077"/>
                      </a:cubicBezTo>
                      <a:cubicBezTo>
                        <a:pt x="30001" y="61538"/>
                        <a:pt x="57692" y="110769"/>
                        <a:pt x="63846" y="166154"/>
                      </a:cubicBezTo>
                      <a:cubicBezTo>
                        <a:pt x="63846" y="169231"/>
                        <a:pt x="60770" y="172308"/>
                        <a:pt x="57692" y="172308"/>
                      </a:cubicBezTo>
                      <a:cubicBezTo>
                        <a:pt x="54616" y="172308"/>
                        <a:pt x="51538" y="169231"/>
                        <a:pt x="51538" y="166154"/>
                      </a:cubicBezTo>
                      <a:cubicBezTo>
                        <a:pt x="45385" y="110769"/>
                        <a:pt x="17692" y="61538"/>
                        <a:pt x="8462" y="49231"/>
                      </a:cubicBezTo>
                      <a:cubicBezTo>
                        <a:pt x="-3847" y="30769"/>
                        <a:pt x="-769" y="12308"/>
                        <a:pt x="5384" y="6154"/>
                      </a:cubicBezTo>
                      <a:cubicBezTo>
                        <a:pt x="8462" y="3077"/>
                        <a:pt x="14616" y="0"/>
                        <a:pt x="20768" y="0"/>
                      </a:cubicBezTo>
                      <a:cubicBezTo>
                        <a:pt x="33077" y="0"/>
                        <a:pt x="45385" y="12308"/>
                        <a:pt x="60770" y="33846"/>
                      </a:cubicBezTo>
                      <a:cubicBezTo>
                        <a:pt x="88461" y="73846"/>
                        <a:pt x="94615" y="172308"/>
                        <a:pt x="94615" y="175385"/>
                      </a:cubicBezTo>
                      <a:cubicBezTo>
                        <a:pt x="97691" y="178462"/>
                        <a:pt x="94615" y="181539"/>
                        <a:pt x="91539" y="181539"/>
                      </a:cubicBezTo>
                      <a:cubicBezTo>
                        <a:pt x="91539" y="181539"/>
                        <a:pt x="91539" y="181539"/>
                        <a:pt x="91539" y="181539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3" name="任意多边形: 形状 132">
                  <a:extLst>
                    <a:ext uri="{FF2B5EF4-FFF2-40B4-BE49-F238E27FC236}">
                      <a16:creationId xmlns:a16="http://schemas.microsoft.com/office/drawing/2014/main" id="{487CB817-E270-43BB-9C81-079FBAAD3B12}"/>
                    </a:ext>
                  </a:extLst>
                </p:cNvPr>
                <p:cNvSpPr/>
                <p:nvPr/>
              </p:nvSpPr>
              <p:spPr>
                <a:xfrm>
                  <a:off x="24813827" y="8973173"/>
                  <a:ext cx="74685" cy="131260"/>
                </a:xfrm>
                <a:custGeom>
                  <a:avLst/>
                  <a:gdLst>
                    <a:gd name="connsiteX0" fmla="*/ 28531 w 74685"/>
                    <a:gd name="connsiteY0" fmla="*/ 131260 h 131260"/>
                    <a:gd name="connsiteX1" fmla="*/ 25453 w 74685"/>
                    <a:gd name="connsiteY1" fmla="*/ 131260 h 131260"/>
                    <a:gd name="connsiteX2" fmla="*/ 25453 w 74685"/>
                    <a:gd name="connsiteY2" fmla="*/ 122029 h 131260"/>
                    <a:gd name="connsiteX3" fmla="*/ 10069 w 74685"/>
                    <a:gd name="connsiteY3" fmla="*/ 48183 h 131260"/>
                    <a:gd name="connsiteX4" fmla="*/ 838 w 74685"/>
                    <a:gd name="connsiteY4" fmla="*/ 20491 h 131260"/>
                    <a:gd name="connsiteX5" fmla="*/ 6992 w 74685"/>
                    <a:gd name="connsiteY5" fmla="*/ 2029 h 131260"/>
                    <a:gd name="connsiteX6" fmla="*/ 37762 w 74685"/>
                    <a:gd name="connsiteY6" fmla="*/ 11260 h 131260"/>
                    <a:gd name="connsiteX7" fmla="*/ 74685 w 74685"/>
                    <a:gd name="connsiteY7" fmla="*/ 97414 h 131260"/>
                    <a:gd name="connsiteX8" fmla="*/ 71607 w 74685"/>
                    <a:gd name="connsiteY8" fmla="*/ 103568 h 131260"/>
                    <a:gd name="connsiteX9" fmla="*/ 65455 w 74685"/>
                    <a:gd name="connsiteY9" fmla="*/ 100491 h 131260"/>
                    <a:gd name="connsiteX10" fmla="*/ 31607 w 74685"/>
                    <a:gd name="connsiteY10" fmla="*/ 17414 h 131260"/>
                    <a:gd name="connsiteX11" fmla="*/ 13147 w 74685"/>
                    <a:gd name="connsiteY11" fmla="*/ 8183 h 131260"/>
                    <a:gd name="connsiteX12" fmla="*/ 13147 w 74685"/>
                    <a:gd name="connsiteY12" fmla="*/ 14337 h 131260"/>
                    <a:gd name="connsiteX13" fmla="*/ 22377 w 74685"/>
                    <a:gd name="connsiteY13" fmla="*/ 38952 h 131260"/>
                    <a:gd name="connsiteX14" fmla="*/ 34685 w 74685"/>
                    <a:gd name="connsiteY14" fmla="*/ 122029 h 131260"/>
                    <a:gd name="connsiteX15" fmla="*/ 28531 w 74685"/>
                    <a:gd name="connsiteY15" fmla="*/ 131260 h 1312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74685" h="131260">
                      <a:moveTo>
                        <a:pt x="28531" y="131260"/>
                      </a:moveTo>
                      <a:cubicBezTo>
                        <a:pt x="28531" y="131260"/>
                        <a:pt x="25453" y="131260"/>
                        <a:pt x="25453" y="131260"/>
                      </a:cubicBezTo>
                      <a:cubicBezTo>
                        <a:pt x="22377" y="128183"/>
                        <a:pt x="22377" y="125106"/>
                        <a:pt x="25453" y="122029"/>
                      </a:cubicBezTo>
                      <a:cubicBezTo>
                        <a:pt x="31607" y="112799"/>
                        <a:pt x="19301" y="72799"/>
                        <a:pt x="10069" y="48183"/>
                      </a:cubicBezTo>
                      <a:cubicBezTo>
                        <a:pt x="6992" y="35876"/>
                        <a:pt x="3916" y="26645"/>
                        <a:pt x="838" y="20491"/>
                      </a:cubicBezTo>
                      <a:cubicBezTo>
                        <a:pt x="-2238" y="8183"/>
                        <a:pt x="3916" y="5106"/>
                        <a:pt x="6992" y="2029"/>
                      </a:cubicBezTo>
                      <a:cubicBezTo>
                        <a:pt x="16223" y="-4124"/>
                        <a:pt x="28531" y="5106"/>
                        <a:pt x="37762" y="11260"/>
                      </a:cubicBezTo>
                      <a:cubicBezTo>
                        <a:pt x="53146" y="23568"/>
                        <a:pt x="74685" y="91260"/>
                        <a:pt x="74685" y="97414"/>
                      </a:cubicBezTo>
                      <a:cubicBezTo>
                        <a:pt x="74685" y="100491"/>
                        <a:pt x="74685" y="103568"/>
                        <a:pt x="71607" y="103568"/>
                      </a:cubicBezTo>
                      <a:cubicBezTo>
                        <a:pt x="68531" y="103568"/>
                        <a:pt x="65455" y="103568"/>
                        <a:pt x="65455" y="100491"/>
                      </a:cubicBezTo>
                      <a:cubicBezTo>
                        <a:pt x="56222" y="72799"/>
                        <a:pt x="40838" y="26645"/>
                        <a:pt x="31607" y="17414"/>
                      </a:cubicBezTo>
                      <a:cubicBezTo>
                        <a:pt x="22377" y="8183"/>
                        <a:pt x="16223" y="8183"/>
                        <a:pt x="13147" y="8183"/>
                      </a:cubicBezTo>
                      <a:cubicBezTo>
                        <a:pt x="13147" y="8183"/>
                        <a:pt x="13147" y="11260"/>
                        <a:pt x="13147" y="14337"/>
                      </a:cubicBezTo>
                      <a:cubicBezTo>
                        <a:pt x="13147" y="20491"/>
                        <a:pt x="16223" y="29721"/>
                        <a:pt x="22377" y="38952"/>
                      </a:cubicBezTo>
                      <a:cubicBezTo>
                        <a:pt x="34685" y="78952"/>
                        <a:pt x="43916" y="109722"/>
                        <a:pt x="34685" y="122029"/>
                      </a:cubicBezTo>
                      <a:cubicBezTo>
                        <a:pt x="31607" y="131260"/>
                        <a:pt x="31607" y="131260"/>
                        <a:pt x="28531" y="131260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BC5B5DA5-D827-4B9F-A550-E00C88EC0E61}"/>
                  </a:ext>
                </a:extLst>
              </p:cNvPr>
              <p:cNvSpPr/>
              <p:nvPr/>
            </p:nvSpPr>
            <p:spPr>
              <a:xfrm>
                <a:off x="24839612" y="8947838"/>
                <a:ext cx="41976" cy="48902"/>
              </a:xfrm>
              <a:custGeom>
                <a:avLst/>
                <a:gdLst>
                  <a:gd name="connsiteX0" fmla="*/ 8900 w 41976"/>
                  <a:gd name="connsiteY0" fmla="*/ 48903 h 48902"/>
                  <a:gd name="connsiteX1" fmla="*/ 2746 w 41976"/>
                  <a:gd name="connsiteY1" fmla="*/ 45826 h 48902"/>
                  <a:gd name="connsiteX2" fmla="*/ 8900 w 41976"/>
                  <a:gd name="connsiteY2" fmla="*/ 5826 h 48902"/>
                  <a:gd name="connsiteX3" fmla="*/ 39670 w 41976"/>
                  <a:gd name="connsiteY3" fmla="*/ 5826 h 48902"/>
                  <a:gd name="connsiteX4" fmla="*/ 39670 w 41976"/>
                  <a:gd name="connsiteY4" fmla="*/ 15057 h 48902"/>
                  <a:gd name="connsiteX5" fmla="*/ 30437 w 41976"/>
                  <a:gd name="connsiteY5" fmla="*/ 15057 h 48902"/>
                  <a:gd name="connsiteX6" fmla="*/ 15053 w 41976"/>
                  <a:gd name="connsiteY6" fmla="*/ 15057 h 48902"/>
                  <a:gd name="connsiteX7" fmla="*/ 11977 w 41976"/>
                  <a:gd name="connsiteY7" fmla="*/ 42749 h 48902"/>
                  <a:gd name="connsiteX8" fmla="*/ 8900 w 41976"/>
                  <a:gd name="connsiteY8" fmla="*/ 48903 h 48902"/>
                  <a:gd name="connsiteX9" fmla="*/ 8900 w 41976"/>
                  <a:gd name="connsiteY9" fmla="*/ 48903 h 48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976" h="48902">
                    <a:moveTo>
                      <a:pt x="8900" y="48903"/>
                    </a:moveTo>
                    <a:cubicBezTo>
                      <a:pt x="5822" y="48903"/>
                      <a:pt x="2746" y="48903"/>
                      <a:pt x="2746" y="45826"/>
                    </a:cubicBezTo>
                    <a:cubicBezTo>
                      <a:pt x="2746" y="45826"/>
                      <a:pt x="-6484" y="18133"/>
                      <a:pt x="8900" y="5826"/>
                    </a:cubicBezTo>
                    <a:cubicBezTo>
                      <a:pt x="21207" y="-3405"/>
                      <a:pt x="33515" y="-328"/>
                      <a:pt x="39670" y="5826"/>
                    </a:cubicBezTo>
                    <a:cubicBezTo>
                      <a:pt x="42746" y="8902"/>
                      <a:pt x="42746" y="11980"/>
                      <a:pt x="39670" y="15057"/>
                    </a:cubicBezTo>
                    <a:cubicBezTo>
                      <a:pt x="36592" y="18133"/>
                      <a:pt x="33515" y="18133"/>
                      <a:pt x="30437" y="15057"/>
                    </a:cubicBezTo>
                    <a:cubicBezTo>
                      <a:pt x="27361" y="11980"/>
                      <a:pt x="21207" y="8902"/>
                      <a:pt x="15053" y="15057"/>
                    </a:cubicBezTo>
                    <a:cubicBezTo>
                      <a:pt x="8900" y="21210"/>
                      <a:pt x="11977" y="36595"/>
                      <a:pt x="11977" y="42749"/>
                    </a:cubicBezTo>
                    <a:cubicBezTo>
                      <a:pt x="15053" y="45826"/>
                      <a:pt x="11977" y="48903"/>
                      <a:pt x="8900" y="48903"/>
                    </a:cubicBezTo>
                    <a:cubicBezTo>
                      <a:pt x="8900" y="48903"/>
                      <a:pt x="8900" y="48903"/>
                      <a:pt x="8900" y="4890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79E7C91A-6EFE-4648-9FB0-FB795B01386A}"/>
                </a:ext>
              </a:extLst>
            </p:cNvPr>
            <p:cNvSpPr/>
            <p:nvPr/>
          </p:nvSpPr>
          <p:spPr>
            <a:xfrm>
              <a:off x="24544191" y="9220100"/>
              <a:ext cx="378166" cy="804402"/>
            </a:xfrm>
            <a:custGeom>
              <a:avLst/>
              <a:gdLst>
                <a:gd name="connsiteX0" fmla="*/ 378166 w 378166"/>
                <a:gd name="connsiteY0" fmla="*/ 13563 h 804402"/>
                <a:gd name="connsiteX1" fmla="*/ 227398 w 378166"/>
                <a:gd name="connsiteY1" fmla="*/ 761256 h 804402"/>
                <a:gd name="connsiteX2" fmla="*/ 2781 w 378166"/>
                <a:gd name="connsiteY2" fmla="*/ 681256 h 804402"/>
                <a:gd name="connsiteX3" fmla="*/ 258168 w 378166"/>
                <a:gd name="connsiteY3" fmla="*/ 1256 h 804402"/>
                <a:gd name="connsiteX4" fmla="*/ 378166 w 378166"/>
                <a:gd name="connsiteY4" fmla="*/ 13563 h 80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8166" h="804402">
                  <a:moveTo>
                    <a:pt x="378166" y="13563"/>
                  </a:moveTo>
                  <a:cubicBezTo>
                    <a:pt x="378166" y="13563"/>
                    <a:pt x="279705" y="681256"/>
                    <a:pt x="227398" y="761256"/>
                  </a:cubicBezTo>
                  <a:cubicBezTo>
                    <a:pt x="175090" y="841256"/>
                    <a:pt x="39705" y="807410"/>
                    <a:pt x="2781" y="681256"/>
                  </a:cubicBezTo>
                  <a:cubicBezTo>
                    <a:pt x="-31064" y="555102"/>
                    <a:pt x="255089" y="13563"/>
                    <a:pt x="258168" y="1256"/>
                  </a:cubicBezTo>
                  <a:cubicBezTo>
                    <a:pt x="258168" y="-4898"/>
                    <a:pt x="378166" y="13563"/>
                    <a:pt x="378166" y="13563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811EF200-803F-414A-8330-3860F79CA39F}"/>
                </a:ext>
              </a:extLst>
            </p:cNvPr>
            <p:cNvSpPr/>
            <p:nvPr/>
          </p:nvSpPr>
          <p:spPr>
            <a:xfrm>
              <a:off x="24928512" y="9417004"/>
              <a:ext cx="312043" cy="401274"/>
            </a:xfrm>
            <a:custGeom>
              <a:avLst/>
              <a:gdLst>
                <a:gd name="connsiteX0" fmla="*/ 135385 w 312043"/>
                <a:gd name="connsiteY0" fmla="*/ 401274 h 401274"/>
                <a:gd name="connsiteX1" fmla="*/ 132307 w 312043"/>
                <a:gd name="connsiteY1" fmla="*/ 401274 h 401274"/>
                <a:gd name="connsiteX2" fmla="*/ 3076 w 312043"/>
                <a:gd name="connsiteY2" fmla="*/ 348967 h 401274"/>
                <a:gd name="connsiteX3" fmla="*/ 0 w 312043"/>
                <a:gd name="connsiteY3" fmla="*/ 339736 h 401274"/>
                <a:gd name="connsiteX4" fmla="*/ 9230 w 312043"/>
                <a:gd name="connsiteY4" fmla="*/ 336659 h 401274"/>
                <a:gd name="connsiteX5" fmla="*/ 132307 w 312043"/>
                <a:gd name="connsiteY5" fmla="*/ 385890 h 401274"/>
                <a:gd name="connsiteX6" fmla="*/ 301538 w 312043"/>
                <a:gd name="connsiteY6" fmla="*/ 4351 h 401274"/>
                <a:gd name="connsiteX7" fmla="*/ 307692 w 312043"/>
                <a:gd name="connsiteY7" fmla="*/ 1274 h 401274"/>
                <a:gd name="connsiteX8" fmla="*/ 310768 w 312043"/>
                <a:gd name="connsiteY8" fmla="*/ 7429 h 401274"/>
                <a:gd name="connsiteX9" fmla="*/ 135385 w 312043"/>
                <a:gd name="connsiteY9" fmla="*/ 401274 h 401274"/>
                <a:gd name="connsiteX10" fmla="*/ 135385 w 312043"/>
                <a:gd name="connsiteY10" fmla="*/ 401274 h 401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2043" h="401274">
                  <a:moveTo>
                    <a:pt x="135385" y="401274"/>
                  </a:moveTo>
                  <a:lnTo>
                    <a:pt x="132307" y="401274"/>
                  </a:lnTo>
                  <a:cubicBezTo>
                    <a:pt x="129231" y="401274"/>
                    <a:pt x="67693" y="388967"/>
                    <a:pt x="3076" y="348967"/>
                  </a:cubicBezTo>
                  <a:cubicBezTo>
                    <a:pt x="0" y="345890"/>
                    <a:pt x="0" y="342813"/>
                    <a:pt x="0" y="339736"/>
                  </a:cubicBezTo>
                  <a:cubicBezTo>
                    <a:pt x="3076" y="336659"/>
                    <a:pt x="6154" y="336659"/>
                    <a:pt x="9230" y="336659"/>
                  </a:cubicBezTo>
                  <a:cubicBezTo>
                    <a:pt x="64615" y="367429"/>
                    <a:pt x="116923" y="382813"/>
                    <a:pt x="132307" y="385890"/>
                  </a:cubicBezTo>
                  <a:cubicBezTo>
                    <a:pt x="252308" y="232044"/>
                    <a:pt x="301538" y="7429"/>
                    <a:pt x="301538" y="4351"/>
                  </a:cubicBezTo>
                  <a:cubicBezTo>
                    <a:pt x="301538" y="1274"/>
                    <a:pt x="304616" y="-1802"/>
                    <a:pt x="307692" y="1274"/>
                  </a:cubicBezTo>
                  <a:cubicBezTo>
                    <a:pt x="310768" y="1274"/>
                    <a:pt x="313847" y="4351"/>
                    <a:pt x="310768" y="7429"/>
                  </a:cubicBezTo>
                  <a:cubicBezTo>
                    <a:pt x="310768" y="13582"/>
                    <a:pt x="261538" y="244352"/>
                    <a:pt x="135385" y="401274"/>
                  </a:cubicBezTo>
                  <a:lnTo>
                    <a:pt x="135385" y="401274"/>
                  </a:ln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63C2930F-5526-4625-A978-94A64FE906FD}"/>
                </a:ext>
              </a:extLst>
            </p:cNvPr>
            <p:cNvSpPr/>
            <p:nvPr/>
          </p:nvSpPr>
          <p:spPr>
            <a:xfrm>
              <a:off x="24796204" y="9755466"/>
              <a:ext cx="41273" cy="142813"/>
            </a:xfrm>
            <a:custGeom>
              <a:avLst/>
              <a:gdLst>
                <a:gd name="connsiteX0" fmla="*/ 6154 w 41273"/>
                <a:gd name="connsiteY0" fmla="*/ 142813 h 142813"/>
                <a:gd name="connsiteX1" fmla="*/ 6154 w 41273"/>
                <a:gd name="connsiteY1" fmla="*/ 142813 h 142813"/>
                <a:gd name="connsiteX2" fmla="*/ 0 w 41273"/>
                <a:gd name="connsiteY2" fmla="*/ 136659 h 142813"/>
                <a:gd name="connsiteX3" fmla="*/ 30769 w 41273"/>
                <a:gd name="connsiteY3" fmla="*/ 4351 h 142813"/>
                <a:gd name="connsiteX4" fmla="*/ 36923 w 41273"/>
                <a:gd name="connsiteY4" fmla="*/ 1274 h 142813"/>
                <a:gd name="connsiteX5" fmla="*/ 40000 w 41273"/>
                <a:gd name="connsiteY5" fmla="*/ 7429 h 142813"/>
                <a:gd name="connsiteX6" fmla="*/ 9230 w 41273"/>
                <a:gd name="connsiteY6" fmla="*/ 142813 h 142813"/>
                <a:gd name="connsiteX7" fmla="*/ 6154 w 41273"/>
                <a:gd name="connsiteY7" fmla="*/ 142813 h 142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273" h="142813">
                  <a:moveTo>
                    <a:pt x="6154" y="142813"/>
                  </a:moveTo>
                  <a:cubicBezTo>
                    <a:pt x="6154" y="142813"/>
                    <a:pt x="6154" y="142813"/>
                    <a:pt x="6154" y="142813"/>
                  </a:cubicBezTo>
                  <a:cubicBezTo>
                    <a:pt x="3076" y="142813"/>
                    <a:pt x="0" y="139736"/>
                    <a:pt x="0" y="136659"/>
                  </a:cubicBezTo>
                  <a:cubicBezTo>
                    <a:pt x="15385" y="87428"/>
                    <a:pt x="30769" y="4351"/>
                    <a:pt x="30769" y="4351"/>
                  </a:cubicBezTo>
                  <a:cubicBezTo>
                    <a:pt x="30769" y="1274"/>
                    <a:pt x="33845" y="-1802"/>
                    <a:pt x="36923" y="1274"/>
                  </a:cubicBezTo>
                  <a:cubicBezTo>
                    <a:pt x="40000" y="1274"/>
                    <a:pt x="43076" y="4351"/>
                    <a:pt x="40000" y="7429"/>
                  </a:cubicBezTo>
                  <a:cubicBezTo>
                    <a:pt x="40000" y="7429"/>
                    <a:pt x="24615" y="90505"/>
                    <a:pt x="9230" y="142813"/>
                  </a:cubicBezTo>
                  <a:cubicBezTo>
                    <a:pt x="9230" y="142813"/>
                    <a:pt x="9230" y="142813"/>
                    <a:pt x="6154" y="142813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BD431CBF-A6EA-431D-AF67-1164FAB7E778}"/>
                </a:ext>
              </a:extLst>
            </p:cNvPr>
            <p:cNvSpPr/>
            <p:nvPr/>
          </p:nvSpPr>
          <p:spPr>
            <a:xfrm>
              <a:off x="23379592" y="9408279"/>
              <a:ext cx="311184" cy="293426"/>
            </a:xfrm>
            <a:custGeom>
              <a:avLst/>
              <a:gdLst>
                <a:gd name="connsiteX0" fmla="*/ 19688 w 311184"/>
                <a:gd name="connsiteY0" fmla="*/ 200769 h 293426"/>
                <a:gd name="connsiteX1" fmla="*/ 201227 w 311184"/>
                <a:gd name="connsiteY1" fmla="*/ 293077 h 293426"/>
                <a:gd name="connsiteX2" fmla="*/ 302766 w 311184"/>
                <a:gd name="connsiteY2" fmla="*/ 240769 h 293426"/>
                <a:gd name="connsiteX3" fmla="*/ 299689 w 311184"/>
                <a:gd name="connsiteY3" fmla="*/ 234615 h 293426"/>
                <a:gd name="connsiteX4" fmla="*/ 299689 w 311184"/>
                <a:gd name="connsiteY4" fmla="*/ 231539 h 293426"/>
                <a:gd name="connsiteX5" fmla="*/ 231997 w 311184"/>
                <a:gd name="connsiteY5" fmla="*/ 769 h 293426"/>
                <a:gd name="connsiteX6" fmla="*/ 210458 w 311184"/>
                <a:gd name="connsiteY6" fmla="*/ 19231 h 293426"/>
                <a:gd name="connsiteX7" fmla="*/ 225843 w 311184"/>
                <a:gd name="connsiteY7" fmla="*/ 123846 h 293426"/>
                <a:gd name="connsiteX8" fmla="*/ 115074 w 311184"/>
                <a:gd name="connsiteY8" fmla="*/ 3846 h 293426"/>
                <a:gd name="connsiteX9" fmla="*/ 68920 w 311184"/>
                <a:gd name="connsiteY9" fmla="*/ 28461 h 293426"/>
                <a:gd name="connsiteX10" fmla="*/ 102766 w 311184"/>
                <a:gd name="connsiteY10" fmla="*/ 71538 h 293426"/>
                <a:gd name="connsiteX11" fmla="*/ 65842 w 311184"/>
                <a:gd name="connsiteY11" fmla="*/ 50000 h 293426"/>
                <a:gd name="connsiteX12" fmla="*/ 35073 w 311184"/>
                <a:gd name="connsiteY12" fmla="*/ 83846 h 293426"/>
                <a:gd name="connsiteX13" fmla="*/ 10458 w 311184"/>
                <a:gd name="connsiteY13" fmla="*/ 136154 h 293426"/>
                <a:gd name="connsiteX14" fmla="*/ 19688 w 311184"/>
                <a:gd name="connsiteY14" fmla="*/ 200769 h 29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184" h="293426">
                  <a:moveTo>
                    <a:pt x="19688" y="200769"/>
                  </a:moveTo>
                  <a:cubicBezTo>
                    <a:pt x="44303" y="222308"/>
                    <a:pt x="145843" y="299231"/>
                    <a:pt x="201227" y="293077"/>
                  </a:cubicBezTo>
                  <a:cubicBezTo>
                    <a:pt x="238151" y="290000"/>
                    <a:pt x="293535" y="280769"/>
                    <a:pt x="302766" y="240769"/>
                  </a:cubicBezTo>
                  <a:cubicBezTo>
                    <a:pt x="302766" y="237692"/>
                    <a:pt x="302766" y="237692"/>
                    <a:pt x="299689" y="234615"/>
                  </a:cubicBezTo>
                  <a:cubicBezTo>
                    <a:pt x="299689" y="234615"/>
                    <a:pt x="299689" y="234615"/>
                    <a:pt x="299689" y="231539"/>
                  </a:cubicBezTo>
                  <a:cubicBezTo>
                    <a:pt x="330459" y="142308"/>
                    <a:pt x="296611" y="37692"/>
                    <a:pt x="231997" y="769"/>
                  </a:cubicBezTo>
                  <a:cubicBezTo>
                    <a:pt x="225843" y="-2308"/>
                    <a:pt x="207382" y="3846"/>
                    <a:pt x="210458" y="19231"/>
                  </a:cubicBezTo>
                  <a:cubicBezTo>
                    <a:pt x="219688" y="56154"/>
                    <a:pt x="250458" y="86923"/>
                    <a:pt x="225843" y="123846"/>
                  </a:cubicBezTo>
                  <a:cubicBezTo>
                    <a:pt x="167380" y="74615"/>
                    <a:pt x="182765" y="40769"/>
                    <a:pt x="115074" y="3846"/>
                  </a:cubicBezTo>
                  <a:cubicBezTo>
                    <a:pt x="102766" y="-2308"/>
                    <a:pt x="59688" y="16154"/>
                    <a:pt x="68920" y="28461"/>
                  </a:cubicBezTo>
                  <a:cubicBezTo>
                    <a:pt x="84305" y="46923"/>
                    <a:pt x="87381" y="53077"/>
                    <a:pt x="102766" y="71538"/>
                  </a:cubicBezTo>
                  <a:cubicBezTo>
                    <a:pt x="87381" y="59231"/>
                    <a:pt x="81227" y="56154"/>
                    <a:pt x="65842" y="50000"/>
                  </a:cubicBezTo>
                  <a:cubicBezTo>
                    <a:pt x="47381" y="43846"/>
                    <a:pt x="28919" y="71538"/>
                    <a:pt x="35073" y="83846"/>
                  </a:cubicBezTo>
                  <a:cubicBezTo>
                    <a:pt x="22766" y="83846"/>
                    <a:pt x="-8003" y="108462"/>
                    <a:pt x="10458" y="136154"/>
                  </a:cubicBezTo>
                  <a:cubicBezTo>
                    <a:pt x="13534" y="139231"/>
                    <a:pt x="-20311" y="163846"/>
                    <a:pt x="19688" y="200769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0548FC3F-5145-4C29-A031-8C50F75B977C}"/>
                </a:ext>
              </a:extLst>
            </p:cNvPr>
            <p:cNvSpPr/>
            <p:nvPr/>
          </p:nvSpPr>
          <p:spPr>
            <a:xfrm>
              <a:off x="23568512" y="9553664"/>
              <a:ext cx="26923" cy="83076"/>
            </a:xfrm>
            <a:custGeom>
              <a:avLst/>
              <a:gdLst>
                <a:gd name="connsiteX0" fmla="*/ 18462 w 26923"/>
                <a:gd name="connsiteY0" fmla="*/ 83077 h 83076"/>
                <a:gd name="connsiteX1" fmla="*/ 12308 w 26923"/>
                <a:gd name="connsiteY1" fmla="*/ 80000 h 83076"/>
                <a:gd name="connsiteX2" fmla="*/ 12308 w 26923"/>
                <a:gd name="connsiteY2" fmla="*/ 3077 h 83076"/>
                <a:gd name="connsiteX3" fmla="*/ 21538 w 26923"/>
                <a:gd name="connsiteY3" fmla="*/ 0 h 83076"/>
                <a:gd name="connsiteX4" fmla="*/ 24615 w 26923"/>
                <a:gd name="connsiteY4" fmla="*/ 9231 h 83076"/>
                <a:gd name="connsiteX5" fmla="*/ 24615 w 26923"/>
                <a:gd name="connsiteY5" fmla="*/ 70769 h 83076"/>
                <a:gd name="connsiteX6" fmla="*/ 24615 w 26923"/>
                <a:gd name="connsiteY6" fmla="*/ 80000 h 83076"/>
                <a:gd name="connsiteX7" fmla="*/ 18462 w 26923"/>
                <a:gd name="connsiteY7" fmla="*/ 83077 h 8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923" h="83076">
                  <a:moveTo>
                    <a:pt x="18462" y="83077"/>
                  </a:moveTo>
                  <a:cubicBezTo>
                    <a:pt x="15384" y="83077"/>
                    <a:pt x="15384" y="83077"/>
                    <a:pt x="12308" y="80000"/>
                  </a:cubicBezTo>
                  <a:cubicBezTo>
                    <a:pt x="-15385" y="46154"/>
                    <a:pt x="12308" y="6154"/>
                    <a:pt x="12308" y="3077"/>
                  </a:cubicBezTo>
                  <a:cubicBezTo>
                    <a:pt x="15384" y="0"/>
                    <a:pt x="18462" y="0"/>
                    <a:pt x="21538" y="0"/>
                  </a:cubicBezTo>
                  <a:cubicBezTo>
                    <a:pt x="24615" y="3077"/>
                    <a:pt x="24615" y="6154"/>
                    <a:pt x="24615" y="9231"/>
                  </a:cubicBezTo>
                  <a:cubicBezTo>
                    <a:pt x="24615" y="9231"/>
                    <a:pt x="3078" y="43077"/>
                    <a:pt x="24615" y="70769"/>
                  </a:cubicBezTo>
                  <a:cubicBezTo>
                    <a:pt x="27693" y="73846"/>
                    <a:pt x="27693" y="76923"/>
                    <a:pt x="24615" y="80000"/>
                  </a:cubicBezTo>
                  <a:cubicBezTo>
                    <a:pt x="21538" y="80000"/>
                    <a:pt x="21538" y="83077"/>
                    <a:pt x="18462" y="83077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370E30C0-9AFC-4A1A-B8BF-64B30EE48E85}"/>
                </a:ext>
              </a:extLst>
            </p:cNvPr>
            <p:cNvSpPr/>
            <p:nvPr/>
          </p:nvSpPr>
          <p:spPr>
            <a:xfrm>
              <a:off x="23445044" y="9409299"/>
              <a:ext cx="98082" cy="76672"/>
            </a:xfrm>
            <a:custGeom>
              <a:avLst/>
              <a:gdLst>
                <a:gd name="connsiteX0" fmla="*/ 40390 w 98082"/>
                <a:gd name="connsiteY0" fmla="*/ 76672 h 76672"/>
                <a:gd name="connsiteX1" fmla="*/ 37313 w 98082"/>
                <a:gd name="connsiteY1" fmla="*/ 73595 h 76672"/>
                <a:gd name="connsiteX2" fmla="*/ 37313 w 98082"/>
                <a:gd name="connsiteY2" fmla="*/ 73595 h 76672"/>
                <a:gd name="connsiteX3" fmla="*/ 390 w 98082"/>
                <a:gd name="connsiteY3" fmla="*/ 21287 h 76672"/>
                <a:gd name="connsiteX4" fmla="*/ 18853 w 98082"/>
                <a:gd name="connsiteY4" fmla="*/ 2826 h 76672"/>
                <a:gd name="connsiteX5" fmla="*/ 95776 w 98082"/>
                <a:gd name="connsiteY5" fmla="*/ 42826 h 76672"/>
                <a:gd name="connsiteX6" fmla="*/ 95776 w 98082"/>
                <a:gd name="connsiteY6" fmla="*/ 52057 h 76672"/>
                <a:gd name="connsiteX7" fmla="*/ 86543 w 98082"/>
                <a:gd name="connsiteY7" fmla="*/ 52057 h 76672"/>
                <a:gd name="connsiteX8" fmla="*/ 21929 w 98082"/>
                <a:gd name="connsiteY8" fmla="*/ 15134 h 76672"/>
                <a:gd name="connsiteX9" fmla="*/ 9620 w 98082"/>
                <a:gd name="connsiteY9" fmla="*/ 24364 h 76672"/>
                <a:gd name="connsiteX10" fmla="*/ 43468 w 98082"/>
                <a:gd name="connsiteY10" fmla="*/ 67441 h 76672"/>
                <a:gd name="connsiteX11" fmla="*/ 43468 w 98082"/>
                <a:gd name="connsiteY11" fmla="*/ 67441 h 76672"/>
                <a:gd name="connsiteX12" fmla="*/ 43468 w 98082"/>
                <a:gd name="connsiteY12" fmla="*/ 76672 h 76672"/>
                <a:gd name="connsiteX13" fmla="*/ 40390 w 98082"/>
                <a:gd name="connsiteY13" fmla="*/ 76672 h 7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8082" h="76672">
                  <a:moveTo>
                    <a:pt x="40390" y="76672"/>
                  </a:moveTo>
                  <a:cubicBezTo>
                    <a:pt x="40390" y="76672"/>
                    <a:pt x="37313" y="76672"/>
                    <a:pt x="37313" y="73595"/>
                  </a:cubicBezTo>
                  <a:lnTo>
                    <a:pt x="37313" y="73595"/>
                  </a:lnTo>
                  <a:cubicBezTo>
                    <a:pt x="12698" y="48980"/>
                    <a:pt x="-2686" y="33595"/>
                    <a:pt x="390" y="21287"/>
                  </a:cubicBezTo>
                  <a:cubicBezTo>
                    <a:pt x="390" y="15134"/>
                    <a:pt x="6544" y="8979"/>
                    <a:pt x="18853" y="2826"/>
                  </a:cubicBezTo>
                  <a:cubicBezTo>
                    <a:pt x="52698" y="-12559"/>
                    <a:pt x="95776" y="39749"/>
                    <a:pt x="95776" y="42826"/>
                  </a:cubicBezTo>
                  <a:cubicBezTo>
                    <a:pt x="98852" y="45903"/>
                    <a:pt x="98852" y="48980"/>
                    <a:pt x="95776" y="52057"/>
                  </a:cubicBezTo>
                  <a:cubicBezTo>
                    <a:pt x="92698" y="55133"/>
                    <a:pt x="89621" y="55133"/>
                    <a:pt x="86543" y="52057"/>
                  </a:cubicBezTo>
                  <a:cubicBezTo>
                    <a:pt x="77313" y="39749"/>
                    <a:pt x="43468" y="5903"/>
                    <a:pt x="21929" y="15134"/>
                  </a:cubicBezTo>
                  <a:cubicBezTo>
                    <a:pt x="15775" y="18210"/>
                    <a:pt x="12698" y="21287"/>
                    <a:pt x="9620" y="24364"/>
                  </a:cubicBezTo>
                  <a:cubicBezTo>
                    <a:pt x="9620" y="33595"/>
                    <a:pt x="21929" y="48980"/>
                    <a:pt x="43468" y="67441"/>
                  </a:cubicBezTo>
                  <a:lnTo>
                    <a:pt x="43468" y="67441"/>
                  </a:lnTo>
                  <a:cubicBezTo>
                    <a:pt x="46544" y="70518"/>
                    <a:pt x="46544" y="73595"/>
                    <a:pt x="43468" y="76672"/>
                  </a:cubicBezTo>
                  <a:cubicBezTo>
                    <a:pt x="43468" y="76672"/>
                    <a:pt x="43468" y="76672"/>
                    <a:pt x="40390" y="76672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B660C68E-B66F-4760-9A1F-F0D7E71B378D}"/>
                </a:ext>
              </a:extLst>
            </p:cNvPr>
            <p:cNvSpPr/>
            <p:nvPr/>
          </p:nvSpPr>
          <p:spPr>
            <a:xfrm>
              <a:off x="23412915" y="9456608"/>
              <a:ext cx="104496" cy="100132"/>
            </a:xfrm>
            <a:custGeom>
              <a:avLst/>
              <a:gdLst>
                <a:gd name="connsiteX0" fmla="*/ 90982 w 104496"/>
                <a:gd name="connsiteY0" fmla="*/ 100133 h 100132"/>
                <a:gd name="connsiteX1" fmla="*/ 29444 w 104496"/>
                <a:gd name="connsiteY1" fmla="*/ 69363 h 100132"/>
                <a:gd name="connsiteX2" fmla="*/ 4829 w 104496"/>
                <a:gd name="connsiteY2" fmla="*/ 13979 h 100132"/>
                <a:gd name="connsiteX3" fmla="*/ 57135 w 104496"/>
                <a:gd name="connsiteY3" fmla="*/ 4748 h 100132"/>
                <a:gd name="connsiteX4" fmla="*/ 57135 w 104496"/>
                <a:gd name="connsiteY4" fmla="*/ 4748 h 100132"/>
                <a:gd name="connsiteX5" fmla="*/ 97136 w 104496"/>
                <a:gd name="connsiteY5" fmla="*/ 38594 h 100132"/>
                <a:gd name="connsiteX6" fmla="*/ 103289 w 104496"/>
                <a:gd name="connsiteY6" fmla="*/ 87825 h 100132"/>
                <a:gd name="connsiteX7" fmla="*/ 94058 w 104496"/>
                <a:gd name="connsiteY7" fmla="*/ 97056 h 100132"/>
                <a:gd name="connsiteX8" fmla="*/ 90982 w 104496"/>
                <a:gd name="connsiteY8" fmla="*/ 100133 h 100132"/>
                <a:gd name="connsiteX9" fmla="*/ 32520 w 104496"/>
                <a:gd name="connsiteY9" fmla="*/ 10902 h 100132"/>
                <a:gd name="connsiteX10" fmla="*/ 17135 w 104496"/>
                <a:gd name="connsiteY10" fmla="*/ 17056 h 100132"/>
                <a:gd name="connsiteX11" fmla="*/ 35598 w 104496"/>
                <a:gd name="connsiteY11" fmla="*/ 57056 h 100132"/>
                <a:gd name="connsiteX12" fmla="*/ 90982 w 104496"/>
                <a:gd name="connsiteY12" fmla="*/ 84748 h 100132"/>
                <a:gd name="connsiteX13" fmla="*/ 87904 w 104496"/>
                <a:gd name="connsiteY13" fmla="*/ 44748 h 100132"/>
                <a:gd name="connsiteX14" fmla="*/ 50983 w 104496"/>
                <a:gd name="connsiteY14" fmla="*/ 13979 h 100132"/>
                <a:gd name="connsiteX15" fmla="*/ 32520 w 104496"/>
                <a:gd name="connsiteY15" fmla="*/ 10902 h 10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4496" h="100132">
                  <a:moveTo>
                    <a:pt x="90982" y="100133"/>
                  </a:moveTo>
                  <a:cubicBezTo>
                    <a:pt x="84828" y="100133"/>
                    <a:pt x="69443" y="97056"/>
                    <a:pt x="29444" y="69363"/>
                  </a:cubicBezTo>
                  <a:cubicBezTo>
                    <a:pt x="4829" y="53979"/>
                    <a:pt x="-7480" y="38594"/>
                    <a:pt x="4829" y="13979"/>
                  </a:cubicBezTo>
                  <a:cubicBezTo>
                    <a:pt x="17135" y="-10636"/>
                    <a:pt x="54059" y="4748"/>
                    <a:pt x="57135" y="4748"/>
                  </a:cubicBezTo>
                  <a:cubicBezTo>
                    <a:pt x="57135" y="4748"/>
                    <a:pt x="57135" y="4748"/>
                    <a:pt x="57135" y="4748"/>
                  </a:cubicBezTo>
                  <a:cubicBezTo>
                    <a:pt x="60213" y="7825"/>
                    <a:pt x="90982" y="29364"/>
                    <a:pt x="97136" y="38594"/>
                  </a:cubicBezTo>
                  <a:cubicBezTo>
                    <a:pt x="103289" y="47825"/>
                    <a:pt x="106367" y="75518"/>
                    <a:pt x="103289" y="87825"/>
                  </a:cubicBezTo>
                  <a:cubicBezTo>
                    <a:pt x="100213" y="93979"/>
                    <a:pt x="97136" y="97056"/>
                    <a:pt x="94058" y="97056"/>
                  </a:cubicBezTo>
                  <a:cubicBezTo>
                    <a:pt x="94058" y="100133"/>
                    <a:pt x="90982" y="100133"/>
                    <a:pt x="90982" y="100133"/>
                  </a:cubicBezTo>
                  <a:close/>
                  <a:moveTo>
                    <a:pt x="32520" y="10902"/>
                  </a:moveTo>
                  <a:cubicBezTo>
                    <a:pt x="26366" y="10902"/>
                    <a:pt x="20213" y="13979"/>
                    <a:pt x="17135" y="17056"/>
                  </a:cubicBezTo>
                  <a:cubicBezTo>
                    <a:pt x="7905" y="29364"/>
                    <a:pt x="10981" y="38594"/>
                    <a:pt x="35598" y="57056"/>
                  </a:cubicBezTo>
                  <a:cubicBezTo>
                    <a:pt x="69443" y="78594"/>
                    <a:pt x="87904" y="84748"/>
                    <a:pt x="90982" y="84748"/>
                  </a:cubicBezTo>
                  <a:cubicBezTo>
                    <a:pt x="94058" y="81671"/>
                    <a:pt x="94058" y="50902"/>
                    <a:pt x="87904" y="44748"/>
                  </a:cubicBezTo>
                  <a:cubicBezTo>
                    <a:pt x="81752" y="38594"/>
                    <a:pt x="60213" y="20133"/>
                    <a:pt x="50983" y="13979"/>
                  </a:cubicBezTo>
                  <a:cubicBezTo>
                    <a:pt x="47904" y="13979"/>
                    <a:pt x="38674" y="10902"/>
                    <a:pt x="32520" y="10902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64403995-8E3F-449E-8663-A7A2038DD069}"/>
                </a:ext>
              </a:extLst>
            </p:cNvPr>
            <p:cNvSpPr/>
            <p:nvPr/>
          </p:nvSpPr>
          <p:spPr>
            <a:xfrm>
              <a:off x="23380694" y="9489048"/>
              <a:ext cx="124409" cy="113846"/>
            </a:xfrm>
            <a:custGeom>
              <a:avLst/>
              <a:gdLst>
                <a:gd name="connsiteX0" fmla="*/ 98587 w 124409"/>
                <a:gd name="connsiteY0" fmla="*/ 113846 h 113846"/>
                <a:gd name="connsiteX1" fmla="*/ 9356 w 124409"/>
                <a:gd name="connsiteY1" fmla="*/ 61538 h 113846"/>
                <a:gd name="connsiteX2" fmla="*/ 3202 w 124409"/>
                <a:gd name="connsiteY2" fmla="*/ 24615 h 113846"/>
                <a:gd name="connsiteX3" fmla="*/ 37049 w 124409"/>
                <a:gd name="connsiteY3" fmla="*/ 0 h 113846"/>
                <a:gd name="connsiteX4" fmla="*/ 43201 w 124409"/>
                <a:gd name="connsiteY4" fmla="*/ 3077 h 113846"/>
                <a:gd name="connsiteX5" fmla="*/ 40125 w 124409"/>
                <a:gd name="connsiteY5" fmla="*/ 9231 h 113846"/>
                <a:gd name="connsiteX6" fmla="*/ 15510 w 124409"/>
                <a:gd name="connsiteY6" fmla="*/ 27693 h 113846"/>
                <a:gd name="connsiteX7" fmla="*/ 21664 w 124409"/>
                <a:gd name="connsiteY7" fmla="*/ 52308 h 113846"/>
                <a:gd name="connsiteX8" fmla="*/ 104740 w 124409"/>
                <a:gd name="connsiteY8" fmla="*/ 98461 h 113846"/>
                <a:gd name="connsiteX9" fmla="*/ 110894 w 124409"/>
                <a:gd name="connsiteY9" fmla="*/ 83077 h 113846"/>
                <a:gd name="connsiteX10" fmla="*/ 107818 w 124409"/>
                <a:gd name="connsiteY10" fmla="*/ 61538 h 113846"/>
                <a:gd name="connsiteX11" fmla="*/ 107818 w 124409"/>
                <a:gd name="connsiteY11" fmla="*/ 52308 h 113846"/>
                <a:gd name="connsiteX12" fmla="*/ 117048 w 124409"/>
                <a:gd name="connsiteY12" fmla="*/ 52308 h 113846"/>
                <a:gd name="connsiteX13" fmla="*/ 123202 w 124409"/>
                <a:gd name="connsiteY13" fmla="*/ 83077 h 113846"/>
                <a:gd name="connsiteX14" fmla="*/ 110894 w 124409"/>
                <a:gd name="connsiteY14" fmla="*/ 107692 h 113846"/>
                <a:gd name="connsiteX15" fmla="*/ 98587 w 124409"/>
                <a:gd name="connsiteY15" fmla="*/ 113846 h 11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4409" h="113846">
                  <a:moveTo>
                    <a:pt x="98587" y="113846"/>
                  </a:moveTo>
                  <a:cubicBezTo>
                    <a:pt x="77048" y="113846"/>
                    <a:pt x="33971" y="98461"/>
                    <a:pt x="9356" y="61538"/>
                  </a:cubicBezTo>
                  <a:cubicBezTo>
                    <a:pt x="125" y="49231"/>
                    <a:pt x="-2953" y="36923"/>
                    <a:pt x="3202" y="24615"/>
                  </a:cubicBezTo>
                  <a:cubicBezTo>
                    <a:pt x="9356" y="6154"/>
                    <a:pt x="37049" y="0"/>
                    <a:pt x="37049" y="0"/>
                  </a:cubicBezTo>
                  <a:cubicBezTo>
                    <a:pt x="40125" y="0"/>
                    <a:pt x="43201" y="0"/>
                    <a:pt x="43201" y="3077"/>
                  </a:cubicBezTo>
                  <a:cubicBezTo>
                    <a:pt x="43201" y="6154"/>
                    <a:pt x="43201" y="9231"/>
                    <a:pt x="40125" y="9231"/>
                  </a:cubicBezTo>
                  <a:cubicBezTo>
                    <a:pt x="40125" y="9231"/>
                    <a:pt x="18586" y="12308"/>
                    <a:pt x="15510" y="27693"/>
                  </a:cubicBezTo>
                  <a:cubicBezTo>
                    <a:pt x="12432" y="33846"/>
                    <a:pt x="15510" y="43077"/>
                    <a:pt x="21664" y="52308"/>
                  </a:cubicBezTo>
                  <a:cubicBezTo>
                    <a:pt x="46279" y="92308"/>
                    <a:pt x="98587" y="101539"/>
                    <a:pt x="104740" y="98461"/>
                  </a:cubicBezTo>
                  <a:cubicBezTo>
                    <a:pt x="104740" y="98461"/>
                    <a:pt x="110894" y="92308"/>
                    <a:pt x="110894" y="83077"/>
                  </a:cubicBezTo>
                  <a:cubicBezTo>
                    <a:pt x="110894" y="76923"/>
                    <a:pt x="113972" y="67692"/>
                    <a:pt x="107818" y="61538"/>
                  </a:cubicBezTo>
                  <a:cubicBezTo>
                    <a:pt x="104740" y="58462"/>
                    <a:pt x="104740" y="55385"/>
                    <a:pt x="107818" y="52308"/>
                  </a:cubicBezTo>
                  <a:cubicBezTo>
                    <a:pt x="110894" y="49231"/>
                    <a:pt x="113972" y="49231"/>
                    <a:pt x="117048" y="52308"/>
                  </a:cubicBezTo>
                  <a:cubicBezTo>
                    <a:pt x="123202" y="61538"/>
                    <a:pt x="126278" y="70769"/>
                    <a:pt x="123202" y="83077"/>
                  </a:cubicBezTo>
                  <a:cubicBezTo>
                    <a:pt x="120124" y="92308"/>
                    <a:pt x="117048" y="104616"/>
                    <a:pt x="110894" y="107692"/>
                  </a:cubicBezTo>
                  <a:cubicBezTo>
                    <a:pt x="104740" y="113846"/>
                    <a:pt x="101663" y="113846"/>
                    <a:pt x="98587" y="113846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3ACD22F6-4720-42EB-A411-E9DC0CC9E361}"/>
                </a:ext>
              </a:extLst>
            </p:cNvPr>
            <p:cNvSpPr/>
            <p:nvPr/>
          </p:nvSpPr>
          <p:spPr>
            <a:xfrm>
              <a:off x="23373418" y="9539048"/>
              <a:ext cx="104748" cy="106923"/>
            </a:xfrm>
            <a:custGeom>
              <a:avLst/>
              <a:gdLst>
                <a:gd name="connsiteX0" fmla="*/ 68940 w 104748"/>
                <a:gd name="connsiteY0" fmla="*/ 106923 h 106923"/>
                <a:gd name="connsiteX1" fmla="*/ 56631 w 104748"/>
                <a:gd name="connsiteY1" fmla="*/ 103846 h 106923"/>
                <a:gd name="connsiteX2" fmla="*/ 1247 w 104748"/>
                <a:gd name="connsiteY2" fmla="*/ 45385 h 106923"/>
                <a:gd name="connsiteX3" fmla="*/ 16632 w 104748"/>
                <a:gd name="connsiteY3" fmla="*/ 2307 h 106923"/>
                <a:gd name="connsiteX4" fmla="*/ 25862 w 104748"/>
                <a:gd name="connsiteY4" fmla="*/ 2307 h 106923"/>
                <a:gd name="connsiteX5" fmla="*/ 25862 w 104748"/>
                <a:gd name="connsiteY5" fmla="*/ 11538 h 106923"/>
                <a:gd name="connsiteX6" fmla="*/ 13556 w 104748"/>
                <a:gd name="connsiteY6" fmla="*/ 39231 h 106923"/>
                <a:gd name="connsiteX7" fmla="*/ 62786 w 104748"/>
                <a:gd name="connsiteY7" fmla="*/ 91539 h 106923"/>
                <a:gd name="connsiteX8" fmla="*/ 90479 w 104748"/>
                <a:gd name="connsiteY8" fmla="*/ 82308 h 106923"/>
                <a:gd name="connsiteX9" fmla="*/ 84324 w 104748"/>
                <a:gd name="connsiteY9" fmla="*/ 57692 h 106923"/>
                <a:gd name="connsiteX10" fmla="*/ 84324 w 104748"/>
                <a:gd name="connsiteY10" fmla="*/ 48461 h 106923"/>
                <a:gd name="connsiteX11" fmla="*/ 93555 w 104748"/>
                <a:gd name="connsiteY11" fmla="*/ 48461 h 106923"/>
                <a:gd name="connsiteX12" fmla="*/ 99709 w 104748"/>
                <a:gd name="connsiteY12" fmla="*/ 88461 h 106923"/>
                <a:gd name="connsiteX13" fmla="*/ 68940 w 104748"/>
                <a:gd name="connsiteY13" fmla="*/ 106923 h 10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4748" h="106923">
                  <a:moveTo>
                    <a:pt x="68940" y="106923"/>
                  </a:moveTo>
                  <a:cubicBezTo>
                    <a:pt x="62786" y="106923"/>
                    <a:pt x="59709" y="106923"/>
                    <a:pt x="56631" y="103846"/>
                  </a:cubicBezTo>
                  <a:cubicBezTo>
                    <a:pt x="41247" y="94615"/>
                    <a:pt x="7401" y="60769"/>
                    <a:pt x="1247" y="45385"/>
                  </a:cubicBezTo>
                  <a:cubicBezTo>
                    <a:pt x="-4907" y="30000"/>
                    <a:pt x="13556" y="5385"/>
                    <a:pt x="16632" y="2307"/>
                  </a:cubicBezTo>
                  <a:cubicBezTo>
                    <a:pt x="19708" y="-769"/>
                    <a:pt x="22786" y="-769"/>
                    <a:pt x="25862" y="2307"/>
                  </a:cubicBezTo>
                  <a:cubicBezTo>
                    <a:pt x="28940" y="5385"/>
                    <a:pt x="28940" y="8462"/>
                    <a:pt x="25862" y="11538"/>
                  </a:cubicBezTo>
                  <a:cubicBezTo>
                    <a:pt x="19708" y="17692"/>
                    <a:pt x="10478" y="33077"/>
                    <a:pt x="13556" y="39231"/>
                  </a:cubicBezTo>
                  <a:cubicBezTo>
                    <a:pt x="19708" y="51538"/>
                    <a:pt x="47401" y="82308"/>
                    <a:pt x="62786" y="91539"/>
                  </a:cubicBezTo>
                  <a:cubicBezTo>
                    <a:pt x="68940" y="94615"/>
                    <a:pt x="84324" y="91539"/>
                    <a:pt x="90479" y="82308"/>
                  </a:cubicBezTo>
                  <a:cubicBezTo>
                    <a:pt x="96631" y="76154"/>
                    <a:pt x="93555" y="66923"/>
                    <a:pt x="84324" y="57692"/>
                  </a:cubicBezTo>
                  <a:cubicBezTo>
                    <a:pt x="81246" y="54616"/>
                    <a:pt x="81246" y="51538"/>
                    <a:pt x="84324" y="48461"/>
                  </a:cubicBezTo>
                  <a:cubicBezTo>
                    <a:pt x="87401" y="45385"/>
                    <a:pt x="90479" y="45385"/>
                    <a:pt x="93555" y="48461"/>
                  </a:cubicBezTo>
                  <a:cubicBezTo>
                    <a:pt x="112016" y="70000"/>
                    <a:pt x="102785" y="85385"/>
                    <a:pt x="99709" y="88461"/>
                  </a:cubicBezTo>
                  <a:cubicBezTo>
                    <a:pt x="93555" y="100769"/>
                    <a:pt x="81246" y="106923"/>
                    <a:pt x="68940" y="106923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3061FA35-E629-4D85-97DE-A37B179531D6}"/>
                </a:ext>
              </a:extLst>
            </p:cNvPr>
            <p:cNvSpPr/>
            <p:nvPr/>
          </p:nvSpPr>
          <p:spPr>
            <a:xfrm>
              <a:off x="23589707" y="9411356"/>
              <a:ext cx="66825" cy="66762"/>
            </a:xfrm>
            <a:custGeom>
              <a:avLst/>
              <a:gdLst>
                <a:gd name="connsiteX0" fmla="*/ 64958 w 66825"/>
                <a:gd name="connsiteY0" fmla="*/ 37692 h 66762"/>
                <a:gd name="connsiteX1" fmla="*/ 21882 w 66825"/>
                <a:gd name="connsiteY1" fmla="*/ 769 h 66762"/>
                <a:gd name="connsiteX2" fmla="*/ 343 w 66825"/>
                <a:gd name="connsiteY2" fmla="*/ 19231 h 66762"/>
                <a:gd name="connsiteX3" fmla="*/ 18804 w 66825"/>
                <a:gd name="connsiteY3" fmla="*/ 65385 h 66762"/>
                <a:gd name="connsiteX4" fmla="*/ 64958 w 66825"/>
                <a:gd name="connsiteY4" fmla="*/ 37692 h 6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825" h="66762">
                  <a:moveTo>
                    <a:pt x="64958" y="37692"/>
                  </a:moveTo>
                  <a:cubicBezTo>
                    <a:pt x="52651" y="22307"/>
                    <a:pt x="40343" y="6923"/>
                    <a:pt x="21882" y="769"/>
                  </a:cubicBezTo>
                  <a:cubicBezTo>
                    <a:pt x="15728" y="-2308"/>
                    <a:pt x="-2733" y="3846"/>
                    <a:pt x="343" y="19231"/>
                  </a:cubicBezTo>
                  <a:cubicBezTo>
                    <a:pt x="3419" y="34615"/>
                    <a:pt x="12651" y="50000"/>
                    <a:pt x="18804" y="65385"/>
                  </a:cubicBezTo>
                  <a:cubicBezTo>
                    <a:pt x="24958" y="71538"/>
                    <a:pt x="77266" y="56154"/>
                    <a:pt x="64958" y="37692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3" name="图形 1">
              <a:extLst>
                <a:ext uri="{FF2B5EF4-FFF2-40B4-BE49-F238E27FC236}">
                  <a16:creationId xmlns:a16="http://schemas.microsoft.com/office/drawing/2014/main" id="{A948F6E5-FCAA-4C8A-9898-DF283A655643}"/>
                </a:ext>
              </a:extLst>
            </p:cNvPr>
            <p:cNvGrpSpPr/>
            <p:nvPr/>
          </p:nvGrpSpPr>
          <p:grpSpPr>
            <a:xfrm>
              <a:off x="23406871" y="9416638"/>
              <a:ext cx="222548" cy="224819"/>
              <a:chOff x="23406871" y="9416638"/>
              <a:chExt cx="222548" cy="224819"/>
            </a:xfrm>
          </p:grpSpPr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682FF54E-0F1D-41EC-893B-0ECB30C07132}"/>
                  </a:ext>
                </a:extLst>
              </p:cNvPr>
              <p:cNvSpPr/>
              <p:nvPr/>
            </p:nvSpPr>
            <p:spPr>
              <a:xfrm>
                <a:off x="23406871" y="9416638"/>
                <a:ext cx="222548" cy="224819"/>
              </a:xfrm>
              <a:custGeom>
                <a:avLst/>
                <a:gdLst>
                  <a:gd name="connsiteX0" fmla="*/ 183179 w 222548"/>
                  <a:gd name="connsiteY0" fmla="*/ 26256 h 224819"/>
                  <a:gd name="connsiteX1" fmla="*/ 26257 w 222548"/>
                  <a:gd name="connsiteY1" fmla="*/ 41641 h 224819"/>
                  <a:gd name="connsiteX2" fmla="*/ 41642 w 222548"/>
                  <a:gd name="connsiteY2" fmla="*/ 198564 h 224819"/>
                  <a:gd name="connsiteX3" fmla="*/ 198564 w 222548"/>
                  <a:gd name="connsiteY3" fmla="*/ 183179 h 224819"/>
                  <a:gd name="connsiteX4" fmla="*/ 183179 w 222548"/>
                  <a:gd name="connsiteY4" fmla="*/ 26256 h 224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548" h="224819">
                    <a:moveTo>
                      <a:pt x="183179" y="26256"/>
                    </a:moveTo>
                    <a:cubicBezTo>
                      <a:pt x="137025" y="-13744"/>
                      <a:pt x="66257" y="-7590"/>
                      <a:pt x="26257" y="41641"/>
                    </a:cubicBezTo>
                    <a:cubicBezTo>
                      <a:pt x="-13745" y="87794"/>
                      <a:pt x="-7590" y="158564"/>
                      <a:pt x="41642" y="198564"/>
                    </a:cubicBezTo>
                    <a:cubicBezTo>
                      <a:pt x="87795" y="238564"/>
                      <a:pt x="158564" y="232410"/>
                      <a:pt x="198564" y="183179"/>
                    </a:cubicBezTo>
                    <a:cubicBezTo>
                      <a:pt x="235487" y="133948"/>
                      <a:pt x="229333" y="66256"/>
                      <a:pt x="183179" y="2625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545824CC-0B03-48BA-9FAF-DCFDA2103FAC}"/>
                  </a:ext>
                </a:extLst>
              </p:cNvPr>
              <p:cNvSpPr/>
              <p:nvPr/>
            </p:nvSpPr>
            <p:spPr>
              <a:xfrm>
                <a:off x="23454629" y="9461320"/>
                <a:ext cx="131093" cy="132379"/>
              </a:xfrm>
              <a:custGeom>
                <a:avLst/>
                <a:gdLst>
                  <a:gd name="connsiteX0" fmla="*/ 107728 w 131093"/>
                  <a:gd name="connsiteY0" fmla="*/ 15421 h 132379"/>
                  <a:gd name="connsiteX1" fmla="*/ 15420 w 131093"/>
                  <a:gd name="connsiteY1" fmla="*/ 24652 h 132379"/>
                  <a:gd name="connsiteX2" fmla="*/ 24652 w 131093"/>
                  <a:gd name="connsiteY2" fmla="*/ 116959 h 132379"/>
                  <a:gd name="connsiteX3" fmla="*/ 116960 w 131093"/>
                  <a:gd name="connsiteY3" fmla="*/ 107728 h 132379"/>
                  <a:gd name="connsiteX4" fmla="*/ 107728 w 131093"/>
                  <a:gd name="connsiteY4" fmla="*/ 15421 h 132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093" h="132379">
                    <a:moveTo>
                      <a:pt x="107728" y="15421"/>
                    </a:moveTo>
                    <a:cubicBezTo>
                      <a:pt x="80037" y="-9195"/>
                      <a:pt x="36959" y="-3041"/>
                      <a:pt x="15420" y="24652"/>
                    </a:cubicBezTo>
                    <a:cubicBezTo>
                      <a:pt x="-9195" y="52344"/>
                      <a:pt x="-3041" y="95420"/>
                      <a:pt x="24652" y="116959"/>
                    </a:cubicBezTo>
                    <a:cubicBezTo>
                      <a:pt x="52344" y="141574"/>
                      <a:pt x="95421" y="135421"/>
                      <a:pt x="116960" y="107728"/>
                    </a:cubicBezTo>
                    <a:cubicBezTo>
                      <a:pt x="138497" y="80036"/>
                      <a:pt x="135421" y="40036"/>
                      <a:pt x="107728" y="15421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36D2D558-6ECA-49F6-86A4-FF1E48320D85}"/>
                </a:ext>
              </a:extLst>
            </p:cNvPr>
            <p:cNvSpPr/>
            <p:nvPr/>
          </p:nvSpPr>
          <p:spPr>
            <a:xfrm>
              <a:off x="23582038" y="9125009"/>
              <a:ext cx="1195399" cy="1143452"/>
            </a:xfrm>
            <a:custGeom>
              <a:avLst/>
              <a:gdLst>
                <a:gd name="connsiteX0" fmla="*/ 29551 w 1195399"/>
                <a:gd name="connsiteY0" fmla="*/ 453270 h 1143452"/>
                <a:gd name="connsiteX1" fmla="*/ 303396 w 1195399"/>
                <a:gd name="connsiteY1" fmla="*/ 800962 h 1143452"/>
                <a:gd name="connsiteX2" fmla="*/ 694165 w 1195399"/>
                <a:gd name="connsiteY2" fmla="*/ 1102501 h 1143452"/>
                <a:gd name="connsiteX3" fmla="*/ 844935 w 1195399"/>
                <a:gd name="connsiteY3" fmla="*/ 914809 h 1143452"/>
                <a:gd name="connsiteX4" fmla="*/ 884935 w 1195399"/>
                <a:gd name="connsiteY4" fmla="*/ 631731 h 1143452"/>
                <a:gd name="connsiteX5" fmla="*/ 992627 w 1195399"/>
                <a:gd name="connsiteY5" fmla="*/ 182501 h 1143452"/>
                <a:gd name="connsiteX6" fmla="*/ 875705 w 1195399"/>
                <a:gd name="connsiteY6" fmla="*/ 37886 h 1143452"/>
                <a:gd name="connsiteX7" fmla="*/ 934165 w 1195399"/>
                <a:gd name="connsiteY7" fmla="*/ 22501 h 1143452"/>
                <a:gd name="connsiteX8" fmla="*/ 1020320 w 1195399"/>
                <a:gd name="connsiteY8" fmla="*/ 124039 h 1143452"/>
                <a:gd name="connsiteX9" fmla="*/ 1143397 w 1195399"/>
                <a:gd name="connsiteY9" fmla="*/ 71732 h 1143452"/>
                <a:gd name="connsiteX10" fmla="*/ 1186473 w 1195399"/>
                <a:gd name="connsiteY10" fmla="*/ 114809 h 1143452"/>
                <a:gd name="connsiteX11" fmla="*/ 1020320 w 1195399"/>
                <a:gd name="connsiteY11" fmla="*/ 185578 h 1143452"/>
                <a:gd name="connsiteX12" fmla="*/ 940319 w 1195399"/>
                <a:gd name="connsiteY12" fmla="*/ 465578 h 1143452"/>
                <a:gd name="connsiteX13" fmla="*/ 906474 w 1195399"/>
                <a:gd name="connsiteY13" fmla="*/ 794808 h 1143452"/>
                <a:gd name="connsiteX14" fmla="*/ 672627 w 1195399"/>
                <a:gd name="connsiteY14" fmla="*/ 1139424 h 1143452"/>
                <a:gd name="connsiteX15" fmla="*/ 343397 w 1195399"/>
                <a:gd name="connsiteY15" fmla="*/ 930193 h 1143452"/>
                <a:gd name="connsiteX16" fmla="*/ 171088 w 1195399"/>
                <a:gd name="connsiteY16" fmla="*/ 671732 h 1143452"/>
                <a:gd name="connsiteX17" fmla="*/ 1858 w 1195399"/>
                <a:gd name="connsiteY17" fmla="*/ 465578 h 1143452"/>
                <a:gd name="connsiteX18" fmla="*/ 29551 w 1195399"/>
                <a:gd name="connsiteY18" fmla="*/ 453270 h 1143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95399" h="1143452">
                  <a:moveTo>
                    <a:pt x="29551" y="453270"/>
                  </a:moveTo>
                  <a:cubicBezTo>
                    <a:pt x="103396" y="582501"/>
                    <a:pt x="226473" y="671732"/>
                    <a:pt x="303396" y="800962"/>
                  </a:cubicBezTo>
                  <a:cubicBezTo>
                    <a:pt x="380319" y="933270"/>
                    <a:pt x="497243" y="1179424"/>
                    <a:pt x="694165" y="1102501"/>
                  </a:cubicBezTo>
                  <a:cubicBezTo>
                    <a:pt x="768012" y="1074809"/>
                    <a:pt x="814166" y="985578"/>
                    <a:pt x="844935" y="914809"/>
                  </a:cubicBezTo>
                  <a:cubicBezTo>
                    <a:pt x="888011" y="822501"/>
                    <a:pt x="875705" y="727116"/>
                    <a:pt x="884935" y="631731"/>
                  </a:cubicBezTo>
                  <a:cubicBezTo>
                    <a:pt x="900320" y="477885"/>
                    <a:pt x="943397" y="330193"/>
                    <a:pt x="992627" y="182501"/>
                  </a:cubicBezTo>
                  <a:cubicBezTo>
                    <a:pt x="924935" y="167116"/>
                    <a:pt x="894165" y="99424"/>
                    <a:pt x="875705" y="37886"/>
                  </a:cubicBezTo>
                  <a:cubicBezTo>
                    <a:pt x="863396" y="962"/>
                    <a:pt x="921858" y="-17499"/>
                    <a:pt x="934165" y="22501"/>
                  </a:cubicBezTo>
                  <a:cubicBezTo>
                    <a:pt x="946473" y="65578"/>
                    <a:pt x="964934" y="124039"/>
                    <a:pt x="1020320" y="124039"/>
                  </a:cubicBezTo>
                  <a:cubicBezTo>
                    <a:pt x="1063396" y="124039"/>
                    <a:pt x="1115704" y="99424"/>
                    <a:pt x="1143397" y="71732"/>
                  </a:cubicBezTo>
                  <a:cubicBezTo>
                    <a:pt x="1171088" y="44039"/>
                    <a:pt x="1214166" y="87116"/>
                    <a:pt x="1186473" y="114809"/>
                  </a:cubicBezTo>
                  <a:cubicBezTo>
                    <a:pt x="1149550" y="154808"/>
                    <a:pt x="1081859" y="185578"/>
                    <a:pt x="1020320" y="185578"/>
                  </a:cubicBezTo>
                  <a:cubicBezTo>
                    <a:pt x="989551" y="277885"/>
                    <a:pt x="961858" y="370193"/>
                    <a:pt x="940319" y="465578"/>
                  </a:cubicBezTo>
                  <a:cubicBezTo>
                    <a:pt x="915704" y="576347"/>
                    <a:pt x="915704" y="684040"/>
                    <a:pt x="906474" y="794808"/>
                  </a:cubicBezTo>
                  <a:cubicBezTo>
                    <a:pt x="894165" y="920962"/>
                    <a:pt x="811088" y="1111732"/>
                    <a:pt x="672627" y="1139424"/>
                  </a:cubicBezTo>
                  <a:cubicBezTo>
                    <a:pt x="524935" y="1167116"/>
                    <a:pt x="411088" y="1047116"/>
                    <a:pt x="343397" y="930193"/>
                  </a:cubicBezTo>
                  <a:cubicBezTo>
                    <a:pt x="288011" y="840962"/>
                    <a:pt x="241857" y="751732"/>
                    <a:pt x="171088" y="671732"/>
                  </a:cubicBezTo>
                  <a:cubicBezTo>
                    <a:pt x="109550" y="607116"/>
                    <a:pt x="48012" y="545578"/>
                    <a:pt x="1858" y="465578"/>
                  </a:cubicBezTo>
                  <a:cubicBezTo>
                    <a:pt x="-7373" y="453270"/>
                    <a:pt x="20320" y="437886"/>
                    <a:pt x="29551" y="453270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6934755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308D077C-4BFF-4B76-A3A7-09DDBFD88056}"/>
              </a:ext>
            </a:extLst>
          </p:cNvPr>
          <p:cNvGrpSpPr/>
          <p:nvPr/>
        </p:nvGrpSpPr>
        <p:grpSpPr>
          <a:xfrm>
            <a:off x="2524238" y="1921545"/>
            <a:ext cx="2970460" cy="4936052"/>
            <a:chOff x="10780820" y="8209252"/>
            <a:chExt cx="2970460" cy="4936052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ADC72786-BDD5-497A-9C3F-F56BDB6EBEFC}"/>
                </a:ext>
              </a:extLst>
            </p:cNvPr>
            <p:cNvSpPr/>
            <p:nvPr/>
          </p:nvSpPr>
          <p:spPr>
            <a:xfrm>
              <a:off x="10851589" y="10753663"/>
              <a:ext cx="1347691" cy="881709"/>
            </a:xfrm>
            <a:custGeom>
              <a:avLst/>
              <a:gdLst>
                <a:gd name="connsiteX0" fmla="*/ 0 w 1347691"/>
                <a:gd name="connsiteY0" fmla="*/ 833846 h 881709"/>
                <a:gd name="connsiteX1" fmla="*/ 1347692 w 1347691"/>
                <a:gd name="connsiteY1" fmla="*/ 833846 h 881709"/>
                <a:gd name="connsiteX2" fmla="*/ 1169231 w 1347691"/>
                <a:gd name="connsiteY2" fmla="*/ 0 h 881709"/>
                <a:gd name="connsiteX3" fmla="*/ 261538 w 1347691"/>
                <a:gd name="connsiteY3" fmla="*/ 30769 h 881709"/>
                <a:gd name="connsiteX4" fmla="*/ 0 w 1347691"/>
                <a:gd name="connsiteY4" fmla="*/ 833846 h 88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7691" h="881709">
                  <a:moveTo>
                    <a:pt x="0" y="833846"/>
                  </a:moveTo>
                  <a:cubicBezTo>
                    <a:pt x="0" y="833846"/>
                    <a:pt x="938462" y="941539"/>
                    <a:pt x="1347692" y="833846"/>
                  </a:cubicBezTo>
                  <a:lnTo>
                    <a:pt x="1169231" y="0"/>
                  </a:lnTo>
                  <a:lnTo>
                    <a:pt x="261538" y="30769"/>
                  </a:lnTo>
                  <a:lnTo>
                    <a:pt x="0" y="833846"/>
                  </a:ln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EEF4CBC2-3183-45E9-A880-2622158BC89D}"/>
                </a:ext>
              </a:extLst>
            </p:cNvPr>
            <p:cNvGrpSpPr/>
            <p:nvPr/>
          </p:nvGrpSpPr>
          <p:grpSpPr>
            <a:xfrm>
              <a:off x="10924847" y="12642895"/>
              <a:ext cx="475461" cy="502410"/>
              <a:chOff x="10924847" y="12642895"/>
              <a:chExt cx="475461" cy="502410"/>
            </a:xfrm>
          </p:grpSpPr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4C4D4D42-D6E8-49FE-A8F1-DFC4327048B9}"/>
                  </a:ext>
                </a:extLst>
              </p:cNvPr>
              <p:cNvSpPr/>
              <p:nvPr/>
            </p:nvSpPr>
            <p:spPr>
              <a:xfrm>
                <a:off x="10993127" y="12642895"/>
                <a:ext cx="239999" cy="246153"/>
              </a:xfrm>
              <a:custGeom>
                <a:avLst/>
                <a:gdLst>
                  <a:gd name="connsiteX0" fmla="*/ 3077 w 239999"/>
                  <a:gd name="connsiteY0" fmla="*/ 175384 h 246153"/>
                  <a:gd name="connsiteX1" fmla="*/ 67692 w 239999"/>
                  <a:gd name="connsiteY1" fmla="*/ 0 h 246153"/>
                  <a:gd name="connsiteX2" fmla="*/ 240000 w 239999"/>
                  <a:gd name="connsiteY2" fmla="*/ 70769 h 246153"/>
                  <a:gd name="connsiteX3" fmla="*/ 150769 w 239999"/>
                  <a:gd name="connsiteY3" fmla="*/ 246154 h 246153"/>
                  <a:gd name="connsiteX4" fmla="*/ 0 w 239999"/>
                  <a:gd name="connsiteY4" fmla="*/ 218461 h 2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9999" h="246153">
                    <a:moveTo>
                      <a:pt x="3077" y="175384"/>
                    </a:moveTo>
                    <a:lnTo>
                      <a:pt x="67692" y="0"/>
                    </a:lnTo>
                    <a:lnTo>
                      <a:pt x="240000" y="70769"/>
                    </a:lnTo>
                    <a:lnTo>
                      <a:pt x="150769" y="246154"/>
                    </a:lnTo>
                    <a:lnTo>
                      <a:pt x="0" y="218461"/>
                    </a:ln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ED756F91-8C3B-4C39-85FC-9E31ABCF9B6F}"/>
                  </a:ext>
                </a:extLst>
              </p:cNvPr>
              <p:cNvSpPr/>
              <p:nvPr/>
            </p:nvSpPr>
            <p:spPr>
              <a:xfrm>
                <a:off x="10940819" y="12815202"/>
                <a:ext cx="459488" cy="289231"/>
              </a:xfrm>
              <a:custGeom>
                <a:avLst/>
                <a:gdLst>
                  <a:gd name="connsiteX0" fmla="*/ 43077 w 459488"/>
                  <a:gd name="connsiteY0" fmla="*/ 0 h 289231"/>
                  <a:gd name="connsiteX1" fmla="*/ 233846 w 459488"/>
                  <a:gd name="connsiteY1" fmla="*/ 24616 h 289231"/>
                  <a:gd name="connsiteX2" fmla="*/ 329231 w 459488"/>
                  <a:gd name="connsiteY2" fmla="*/ 150770 h 289231"/>
                  <a:gd name="connsiteX3" fmla="*/ 458461 w 459488"/>
                  <a:gd name="connsiteY3" fmla="*/ 289232 h 289231"/>
                  <a:gd name="connsiteX4" fmla="*/ 0 w 459488"/>
                  <a:gd name="connsiteY4" fmla="*/ 104616 h 289231"/>
                  <a:gd name="connsiteX5" fmla="*/ 43077 w 459488"/>
                  <a:gd name="connsiteY5" fmla="*/ 0 h 289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9488" h="289231">
                    <a:moveTo>
                      <a:pt x="43077" y="0"/>
                    </a:moveTo>
                    <a:cubicBezTo>
                      <a:pt x="43077" y="0"/>
                      <a:pt x="153846" y="64616"/>
                      <a:pt x="233846" y="24616"/>
                    </a:cubicBezTo>
                    <a:cubicBezTo>
                      <a:pt x="233846" y="24616"/>
                      <a:pt x="289231" y="123077"/>
                      <a:pt x="329231" y="150770"/>
                    </a:cubicBezTo>
                    <a:cubicBezTo>
                      <a:pt x="369231" y="175385"/>
                      <a:pt x="470770" y="215385"/>
                      <a:pt x="458461" y="289232"/>
                    </a:cubicBezTo>
                    <a:lnTo>
                      <a:pt x="0" y="104616"/>
                    </a:lnTo>
                    <a:cubicBezTo>
                      <a:pt x="0" y="104616"/>
                      <a:pt x="6154" y="40001"/>
                      <a:pt x="43077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2661290C-D69E-4304-B040-39F4E9707220}"/>
                  </a:ext>
                </a:extLst>
              </p:cNvPr>
              <p:cNvSpPr/>
              <p:nvPr/>
            </p:nvSpPr>
            <p:spPr>
              <a:xfrm rot="-4087447">
                <a:off x="11138799" y="12786017"/>
                <a:ext cx="46154" cy="492311"/>
              </a:xfrm>
              <a:custGeom>
                <a:avLst/>
                <a:gdLst>
                  <a:gd name="connsiteX0" fmla="*/ 0 w 46154"/>
                  <a:gd name="connsiteY0" fmla="*/ 0 h 492311"/>
                  <a:gd name="connsiteX1" fmla="*/ 46154 w 46154"/>
                  <a:gd name="connsiteY1" fmla="*/ 0 h 492311"/>
                  <a:gd name="connsiteX2" fmla="*/ 46154 w 46154"/>
                  <a:gd name="connsiteY2" fmla="*/ 492311 h 492311"/>
                  <a:gd name="connsiteX3" fmla="*/ 0 w 46154"/>
                  <a:gd name="connsiteY3" fmla="*/ 492311 h 492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154" h="492311">
                    <a:moveTo>
                      <a:pt x="0" y="0"/>
                    </a:moveTo>
                    <a:lnTo>
                      <a:pt x="46154" y="0"/>
                    </a:lnTo>
                    <a:lnTo>
                      <a:pt x="46154" y="492311"/>
                    </a:lnTo>
                    <a:lnTo>
                      <a:pt x="0" y="492311"/>
                    </a:lnTo>
                    <a:close/>
                  </a:path>
                </a:pathLst>
              </a:custGeom>
              <a:solidFill>
                <a:srgbClr val="38333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AEDD1E37-0AA0-47B8-A940-ACA4CFB64140}"/>
                  </a:ext>
                </a:extLst>
              </p:cNvPr>
              <p:cNvSpPr/>
              <p:nvPr/>
            </p:nvSpPr>
            <p:spPr>
              <a:xfrm>
                <a:off x="10974666" y="12805971"/>
                <a:ext cx="203077" cy="49230"/>
              </a:xfrm>
              <a:custGeom>
                <a:avLst/>
                <a:gdLst>
                  <a:gd name="connsiteX0" fmla="*/ 138462 w 203077"/>
                  <a:gd name="connsiteY0" fmla="*/ 49231 h 49230"/>
                  <a:gd name="connsiteX1" fmla="*/ 3077 w 203077"/>
                  <a:gd name="connsiteY1" fmla="*/ 12308 h 49230"/>
                  <a:gd name="connsiteX2" fmla="*/ 0 w 203077"/>
                  <a:gd name="connsiteY2" fmla="*/ 3077 h 49230"/>
                  <a:gd name="connsiteX3" fmla="*/ 9230 w 203077"/>
                  <a:gd name="connsiteY3" fmla="*/ 0 h 49230"/>
                  <a:gd name="connsiteX4" fmla="*/ 196923 w 203077"/>
                  <a:gd name="connsiteY4" fmla="*/ 24615 h 49230"/>
                  <a:gd name="connsiteX5" fmla="*/ 203077 w 203077"/>
                  <a:gd name="connsiteY5" fmla="*/ 27692 h 49230"/>
                  <a:gd name="connsiteX6" fmla="*/ 200000 w 203077"/>
                  <a:gd name="connsiteY6" fmla="*/ 33846 h 49230"/>
                  <a:gd name="connsiteX7" fmla="*/ 138462 w 203077"/>
                  <a:gd name="connsiteY7" fmla="*/ 49231 h 4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3077" h="49230">
                    <a:moveTo>
                      <a:pt x="138462" y="49231"/>
                    </a:moveTo>
                    <a:cubicBezTo>
                      <a:pt x="67693" y="49231"/>
                      <a:pt x="6154" y="15385"/>
                      <a:pt x="3077" y="12308"/>
                    </a:cubicBezTo>
                    <a:cubicBezTo>
                      <a:pt x="0" y="9230"/>
                      <a:pt x="0" y="6154"/>
                      <a:pt x="0" y="3077"/>
                    </a:cubicBezTo>
                    <a:cubicBezTo>
                      <a:pt x="3077" y="0"/>
                      <a:pt x="6154" y="0"/>
                      <a:pt x="9230" y="0"/>
                    </a:cubicBezTo>
                    <a:cubicBezTo>
                      <a:pt x="9230" y="0"/>
                      <a:pt x="110769" y="58461"/>
                      <a:pt x="196923" y="24615"/>
                    </a:cubicBezTo>
                    <a:cubicBezTo>
                      <a:pt x="200000" y="24615"/>
                      <a:pt x="203077" y="24615"/>
                      <a:pt x="203077" y="27692"/>
                    </a:cubicBezTo>
                    <a:cubicBezTo>
                      <a:pt x="203077" y="30769"/>
                      <a:pt x="203077" y="33846"/>
                      <a:pt x="200000" y="33846"/>
                    </a:cubicBezTo>
                    <a:cubicBezTo>
                      <a:pt x="181538" y="46154"/>
                      <a:pt x="160000" y="49231"/>
                      <a:pt x="138462" y="492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E50143F4-C28C-4C76-8B4C-8090DA0474DA}"/>
                  </a:ext>
                </a:extLst>
              </p:cNvPr>
              <p:cNvSpPr/>
              <p:nvPr/>
            </p:nvSpPr>
            <p:spPr>
              <a:xfrm>
                <a:off x="11156204" y="12873664"/>
                <a:ext cx="43076" cy="24615"/>
              </a:xfrm>
              <a:custGeom>
                <a:avLst/>
                <a:gdLst>
                  <a:gd name="connsiteX0" fmla="*/ 6154 w 43076"/>
                  <a:gd name="connsiteY0" fmla="*/ 24615 h 24615"/>
                  <a:gd name="connsiteX1" fmla="*/ 0 w 43076"/>
                  <a:gd name="connsiteY1" fmla="*/ 21538 h 24615"/>
                  <a:gd name="connsiteX2" fmla="*/ 3077 w 43076"/>
                  <a:gd name="connsiteY2" fmla="*/ 15385 h 24615"/>
                  <a:gd name="connsiteX3" fmla="*/ 36923 w 43076"/>
                  <a:gd name="connsiteY3" fmla="*/ 0 h 24615"/>
                  <a:gd name="connsiteX4" fmla="*/ 43077 w 43076"/>
                  <a:gd name="connsiteY4" fmla="*/ 3076 h 24615"/>
                  <a:gd name="connsiteX5" fmla="*/ 40001 w 43076"/>
                  <a:gd name="connsiteY5" fmla="*/ 9230 h 24615"/>
                  <a:gd name="connsiteX6" fmla="*/ 6154 w 43076"/>
                  <a:gd name="connsiteY6" fmla="*/ 24615 h 24615"/>
                  <a:gd name="connsiteX7" fmla="*/ 6154 w 43076"/>
                  <a:gd name="connsiteY7" fmla="*/ 24615 h 2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076" h="24615">
                    <a:moveTo>
                      <a:pt x="6154" y="24615"/>
                    </a:moveTo>
                    <a:cubicBezTo>
                      <a:pt x="3077" y="24615"/>
                      <a:pt x="3077" y="24615"/>
                      <a:pt x="0" y="21538"/>
                    </a:cubicBezTo>
                    <a:cubicBezTo>
                      <a:pt x="0" y="18461"/>
                      <a:pt x="0" y="15385"/>
                      <a:pt x="3077" y="15385"/>
                    </a:cubicBezTo>
                    <a:lnTo>
                      <a:pt x="36923" y="0"/>
                    </a:lnTo>
                    <a:cubicBezTo>
                      <a:pt x="40001" y="0"/>
                      <a:pt x="43077" y="0"/>
                      <a:pt x="43077" y="3076"/>
                    </a:cubicBezTo>
                    <a:cubicBezTo>
                      <a:pt x="43077" y="6153"/>
                      <a:pt x="43077" y="9230"/>
                      <a:pt x="40001" y="9230"/>
                    </a:cubicBezTo>
                    <a:lnTo>
                      <a:pt x="6154" y="24615"/>
                    </a:lnTo>
                    <a:cubicBezTo>
                      <a:pt x="9231" y="24615"/>
                      <a:pt x="6154" y="24615"/>
                      <a:pt x="6154" y="2461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25C4C24C-6779-41DD-976F-9B3A1F606ADA}"/>
                  </a:ext>
                </a:extLst>
              </p:cNvPr>
              <p:cNvSpPr/>
              <p:nvPr/>
            </p:nvSpPr>
            <p:spPr>
              <a:xfrm>
                <a:off x="11183896" y="12913664"/>
                <a:ext cx="43077" cy="24615"/>
              </a:xfrm>
              <a:custGeom>
                <a:avLst/>
                <a:gdLst>
                  <a:gd name="connsiteX0" fmla="*/ 6154 w 43077"/>
                  <a:gd name="connsiteY0" fmla="*/ 24615 h 24615"/>
                  <a:gd name="connsiteX1" fmla="*/ 0 w 43077"/>
                  <a:gd name="connsiteY1" fmla="*/ 21539 h 24615"/>
                  <a:gd name="connsiteX2" fmla="*/ 3077 w 43077"/>
                  <a:gd name="connsiteY2" fmla="*/ 15385 h 24615"/>
                  <a:gd name="connsiteX3" fmla="*/ 36923 w 43077"/>
                  <a:gd name="connsiteY3" fmla="*/ 0 h 24615"/>
                  <a:gd name="connsiteX4" fmla="*/ 43078 w 43077"/>
                  <a:gd name="connsiteY4" fmla="*/ 3077 h 24615"/>
                  <a:gd name="connsiteX5" fmla="*/ 40001 w 43077"/>
                  <a:gd name="connsiteY5" fmla="*/ 9230 h 24615"/>
                  <a:gd name="connsiteX6" fmla="*/ 6154 w 43077"/>
                  <a:gd name="connsiteY6" fmla="*/ 24615 h 24615"/>
                  <a:gd name="connsiteX7" fmla="*/ 6154 w 43077"/>
                  <a:gd name="connsiteY7" fmla="*/ 24615 h 2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077" h="24615">
                    <a:moveTo>
                      <a:pt x="6154" y="24615"/>
                    </a:moveTo>
                    <a:cubicBezTo>
                      <a:pt x="3077" y="24615"/>
                      <a:pt x="3077" y="24615"/>
                      <a:pt x="0" y="21539"/>
                    </a:cubicBezTo>
                    <a:cubicBezTo>
                      <a:pt x="0" y="18462"/>
                      <a:pt x="0" y="15385"/>
                      <a:pt x="3077" y="15385"/>
                    </a:cubicBezTo>
                    <a:lnTo>
                      <a:pt x="36923" y="0"/>
                    </a:lnTo>
                    <a:cubicBezTo>
                      <a:pt x="40001" y="0"/>
                      <a:pt x="43078" y="0"/>
                      <a:pt x="43078" y="3077"/>
                    </a:cubicBezTo>
                    <a:cubicBezTo>
                      <a:pt x="43078" y="6154"/>
                      <a:pt x="43078" y="9230"/>
                      <a:pt x="40001" y="9230"/>
                    </a:cubicBezTo>
                    <a:lnTo>
                      <a:pt x="6154" y="24615"/>
                    </a:lnTo>
                    <a:cubicBezTo>
                      <a:pt x="6154" y="24615"/>
                      <a:pt x="6154" y="24615"/>
                      <a:pt x="6154" y="2461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BDFA7F22-B955-4C06-A4A5-2ACC5F141B24}"/>
                </a:ext>
              </a:extLst>
            </p:cNvPr>
            <p:cNvGrpSpPr/>
            <p:nvPr/>
          </p:nvGrpSpPr>
          <p:grpSpPr>
            <a:xfrm>
              <a:off x="11744922" y="12784433"/>
              <a:ext cx="500512" cy="347692"/>
              <a:chOff x="11744922" y="12784433"/>
              <a:chExt cx="500512" cy="347692"/>
            </a:xfrm>
          </p:grpSpPr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B8FB5390-C24C-4A21-8029-E023D431CB15}"/>
                  </a:ext>
                </a:extLst>
              </p:cNvPr>
              <p:cNvSpPr/>
              <p:nvPr/>
            </p:nvSpPr>
            <p:spPr>
              <a:xfrm>
                <a:off x="11762358" y="12784433"/>
                <a:ext cx="184615" cy="227693"/>
              </a:xfrm>
              <a:custGeom>
                <a:avLst/>
                <a:gdLst>
                  <a:gd name="connsiteX0" fmla="*/ 3077 w 184615"/>
                  <a:gd name="connsiteY0" fmla="*/ 187693 h 227693"/>
                  <a:gd name="connsiteX1" fmla="*/ 0 w 184615"/>
                  <a:gd name="connsiteY1" fmla="*/ 0 h 227693"/>
                  <a:gd name="connsiteX2" fmla="*/ 184615 w 184615"/>
                  <a:gd name="connsiteY2" fmla="*/ 0 h 227693"/>
                  <a:gd name="connsiteX3" fmla="*/ 169231 w 184615"/>
                  <a:gd name="connsiteY3" fmla="*/ 196924 h 227693"/>
                  <a:gd name="connsiteX4" fmla="*/ 15385 w 184615"/>
                  <a:gd name="connsiteY4" fmla="*/ 227693 h 227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615" h="227693">
                    <a:moveTo>
                      <a:pt x="3077" y="187693"/>
                    </a:moveTo>
                    <a:lnTo>
                      <a:pt x="0" y="0"/>
                    </a:lnTo>
                    <a:lnTo>
                      <a:pt x="184615" y="0"/>
                    </a:lnTo>
                    <a:lnTo>
                      <a:pt x="169231" y="196924"/>
                    </a:lnTo>
                    <a:lnTo>
                      <a:pt x="15385" y="227693"/>
                    </a:ln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088F08A0-DF7C-4803-B6BD-D4D4C2511446}"/>
                  </a:ext>
                </a:extLst>
              </p:cNvPr>
              <p:cNvSpPr/>
              <p:nvPr/>
            </p:nvSpPr>
            <p:spPr>
              <a:xfrm>
                <a:off x="11744922" y="12925971"/>
                <a:ext cx="500512" cy="160000"/>
              </a:xfrm>
              <a:custGeom>
                <a:avLst/>
                <a:gdLst>
                  <a:gd name="connsiteX0" fmla="*/ 8205 w 500512"/>
                  <a:gd name="connsiteY0" fmla="*/ 46154 h 160000"/>
                  <a:gd name="connsiteX1" fmla="*/ 195897 w 500512"/>
                  <a:gd name="connsiteY1" fmla="*/ 0 h 160000"/>
                  <a:gd name="connsiteX2" fmla="*/ 331282 w 500512"/>
                  <a:gd name="connsiteY2" fmla="*/ 80000 h 160000"/>
                  <a:gd name="connsiteX3" fmla="*/ 500512 w 500512"/>
                  <a:gd name="connsiteY3" fmla="*/ 160000 h 160000"/>
                  <a:gd name="connsiteX4" fmla="*/ 8205 w 500512"/>
                  <a:gd name="connsiteY4" fmla="*/ 160000 h 160000"/>
                  <a:gd name="connsiteX5" fmla="*/ 8205 w 500512"/>
                  <a:gd name="connsiteY5" fmla="*/ 46154 h 1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512" h="160000">
                    <a:moveTo>
                      <a:pt x="8205" y="46154"/>
                    </a:moveTo>
                    <a:cubicBezTo>
                      <a:pt x="8205" y="46154"/>
                      <a:pt x="134359" y="64616"/>
                      <a:pt x="195897" y="0"/>
                    </a:cubicBezTo>
                    <a:cubicBezTo>
                      <a:pt x="195897" y="0"/>
                      <a:pt x="285128" y="70770"/>
                      <a:pt x="331282" y="80000"/>
                    </a:cubicBezTo>
                    <a:cubicBezTo>
                      <a:pt x="377436" y="89231"/>
                      <a:pt x="488205" y="86154"/>
                      <a:pt x="500512" y="160000"/>
                    </a:cubicBezTo>
                    <a:lnTo>
                      <a:pt x="8205" y="160000"/>
                    </a:lnTo>
                    <a:cubicBezTo>
                      <a:pt x="8205" y="160000"/>
                      <a:pt x="-10256" y="98462"/>
                      <a:pt x="8205" y="4615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C5FC50BE-8085-4D48-BE34-26A9B00F373E}"/>
                  </a:ext>
                </a:extLst>
              </p:cNvPr>
              <p:cNvSpPr/>
              <p:nvPr/>
            </p:nvSpPr>
            <p:spPr>
              <a:xfrm>
                <a:off x="11753127" y="13085971"/>
                <a:ext cx="492307" cy="46153"/>
              </a:xfrm>
              <a:custGeom>
                <a:avLst/>
                <a:gdLst>
                  <a:gd name="connsiteX0" fmla="*/ 0 w 492307"/>
                  <a:gd name="connsiteY0" fmla="*/ 0 h 46153"/>
                  <a:gd name="connsiteX1" fmla="*/ 492307 w 492307"/>
                  <a:gd name="connsiteY1" fmla="*/ 0 h 46153"/>
                  <a:gd name="connsiteX2" fmla="*/ 492307 w 492307"/>
                  <a:gd name="connsiteY2" fmla="*/ 46154 h 46153"/>
                  <a:gd name="connsiteX3" fmla="*/ 0 w 492307"/>
                  <a:gd name="connsiteY3" fmla="*/ 46154 h 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307" h="46153">
                    <a:moveTo>
                      <a:pt x="0" y="0"/>
                    </a:moveTo>
                    <a:lnTo>
                      <a:pt x="492307" y="0"/>
                    </a:lnTo>
                    <a:lnTo>
                      <a:pt x="492307" y="46154"/>
                    </a:lnTo>
                    <a:lnTo>
                      <a:pt x="0" y="46154"/>
                    </a:lnTo>
                    <a:close/>
                  </a:path>
                </a:pathLst>
              </a:custGeom>
              <a:solidFill>
                <a:srgbClr val="38333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DE92106E-E456-448E-9E4D-2E0680FCE322}"/>
                  </a:ext>
                </a:extLst>
              </p:cNvPr>
              <p:cNvSpPr/>
              <p:nvPr/>
            </p:nvSpPr>
            <p:spPr>
              <a:xfrm>
                <a:off x="11746974" y="12917510"/>
                <a:ext cx="202307" cy="63846"/>
              </a:xfrm>
              <a:custGeom>
                <a:avLst/>
                <a:gdLst>
                  <a:gd name="connsiteX0" fmla="*/ 43077 w 202307"/>
                  <a:gd name="connsiteY0" fmla="*/ 63846 h 63846"/>
                  <a:gd name="connsiteX1" fmla="*/ 6153 w 202307"/>
                  <a:gd name="connsiteY1" fmla="*/ 60769 h 63846"/>
                  <a:gd name="connsiteX2" fmla="*/ 0 w 202307"/>
                  <a:gd name="connsiteY2" fmla="*/ 54615 h 63846"/>
                  <a:gd name="connsiteX3" fmla="*/ 6153 w 202307"/>
                  <a:gd name="connsiteY3" fmla="*/ 48462 h 63846"/>
                  <a:gd name="connsiteX4" fmla="*/ 190769 w 202307"/>
                  <a:gd name="connsiteY4" fmla="*/ 2308 h 63846"/>
                  <a:gd name="connsiteX5" fmla="*/ 200000 w 202307"/>
                  <a:gd name="connsiteY5" fmla="*/ 2308 h 63846"/>
                  <a:gd name="connsiteX6" fmla="*/ 200000 w 202307"/>
                  <a:gd name="connsiteY6" fmla="*/ 11538 h 63846"/>
                  <a:gd name="connsiteX7" fmla="*/ 43077 w 202307"/>
                  <a:gd name="connsiteY7" fmla="*/ 63846 h 6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307" h="63846">
                    <a:moveTo>
                      <a:pt x="43077" y="63846"/>
                    </a:moveTo>
                    <a:cubicBezTo>
                      <a:pt x="21538" y="63846"/>
                      <a:pt x="9230" y="60769"/>
                      <a:pt x="6153" y="60769"/>
                    </a:cubicBezTo>
                    <a:cubicBezTo>
                      <a:pt x="3077" y="60769"/>
                      <a:pt x="0" y="57692"/>
                      <a:pt x="0" y="54615"/>
                    </a:cubicBezTo>
                    <a:cubicBezTo>
                      <a:pt x="0" y="51538"/>
                      <a:pt x="3077" y="48462"/>
                      <a:pt x="6153" y="48462"/>
                    </a:cubicBezTo>
                    <a:cubicBezTo>
                      <a:pt x="6153" y="48462"/>
                      <a:pt x="120000" y="63846"/>
                      <a:pt x="190769" y="2308"/>
                    </a:cubicBezTo>
                    <a:cubicBezTo>
                      <a:pt x="193846" y="-769"/>
                      <a:pt x="196923" y="-769"/>
                      <a:pt x="200000" y="2308"/>
                    </a:cubicBezTo>
                    <a:cubicBezTo>
                      <a:pt x="203077" y="5384"/>
                      <a:pt x="203077" y="8461"/>
                      <a:pt x="200000" y="11538"/>
                    </a:cubicBezTo>
                    <a:cubicBezTo>
                      <a:pt x="147692" y="54615"/>
                      <a:pt x="83076" y="63846"/>
                      <a:pt x="43077" y="6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E9CC3618-B86C-41E6-8060-427D9BA1A4E7}"/>
                  </a:ext>
                </a:extLst>
              </p:cNvPr>
              <p:cNvSpPr/>
              <p:nvPr/>
            </p:nvSpPr>
            <p:spPr>
              <a:xfrm>
                <a:off x="11944666" y="12942125"/>
                <a:ext cx="38461" cy="42307"/>
              </a:xfrm>
              <a:custGeom>
                <a:avLst/>
                <a:gdLst>
                  <a:gd name="connsiteX0" fmla="*/ 5385 w 38461"/>
                  <a:gd name="connsiteY0" fmla="*/ 42307 h 42307"/>
                  <a:gd name="connsiteX1" fmla="*/ 2308 w 38461"/>
                  <a:gd name="connsiteY1" fmla="*/ 39231 h 42307"/>
                  <a:gd name="connsiteX2" fmla="*/ 2308 w 38461"/>
                  <a:gd name="connsiteY2" fmla="*/ 30000 h 42307"/>
                  <a:gd name="connsiteX3" fmla="*/ 26923 w 38461"/>
                  <a:gd name="connsiteY3" fmla="*/ 2308 h 42307"/>
                  <a:gd name="connsiteX4" fmla="*/ 36154 w 38461"/>
                  <a:gd name="connsiteY4" fmla="*/ 2308 h 42307"/>
                  <a:gd name="connsiteX5" fmla="*/ 36154 w 38461"/>
                  <a:gd name="connsiteY5" fmla="*/ 11538 h 42307"/>
                  <a:gd name="connsiteX6" fmla="*/ 11538 w 38461"/>
                  <a:gd name="connsiteY6" fmla="*/ 39231 h 42307"/>
                  <a:gd name="connsiteX7" fmla="*/ 5385 w 38461"/>
                  <a:gd name="connsiteY7" fmla="*/ 42307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1" h="42307">
                    <a:moveTo>
                      <a:pt x="5385" y="42307"/>
                    </a:moveTo>
                    <a:cubicBezTo>
                      <a:pt x="5385" y="42307"/>
                      <a:pt x="2308" y="42307"/>
                      <a:pt x="2308" y="39231"/>
                    </a:cubicBezTo>
                    <a:cubicBezTo>
                      <a:pt x="-769" y="36154"/>
                      <a:pt x="-769" y="33077"/>
                      <a:pt x="2308" y="30000"/>
                    </a:cubicBezTo>
                    <a:lnTo>
                      <a:pt x="26923" y="2308"/>
                    </a:lnTo>
                    <a:cubicBezTo>
                      <a:pt x="30000" y="-769"/>
                      <a:pt x="33077" y="-769"/>
                      <a:pt x="36154" y="2308"/>
                    </a:cubicBezTo>
                    <a:cubicBezTo>
                      <a:pt x="39230" y="5385"/>
                      <a:pt x="39230" y="8462"/>
                      <a:pt x="36154" y="11538"/>
                    </a:cubicBezTo>
                    <a:lnTo>
                      <a:pt x="11538" y="39231"/>
                    </a:lnTo>
                    <a:cubicBezTo>
                      <a:pt x="8461" y="42307"/>
                      <a:pt x="8461" y="42307"/>
                      <a:pt x="5385" y="423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3794AC3F-9DF6-41BB-A6BA-CE7B096CE986}"/>
                  </a:ext>
                </a:extLst>
              </p:cNvPr>
              <p:cNvSpPr/>
              <p:nvPr/>
            </p:nvSpPr>
            <p:spPr>
              <a:xfrm>
                <a:off x="11984665" y="12969817"/>
                <a:ext cx="41539" cy="42308"/>
              </a:xfrm>
              <a:custGeom>
                <a:avLst/>
                <a:gdLst>
                  <a:gd name="connsiteX0" fmla="*/ 5385 w 41539"/>
                  <a:gd name="connsiteY0" fmla="*/ 42308 h 42308"/>
                  <a:gd name="connsiteX1" fmla="*/ 2308 w 41539"/>
                  <a:gd name="connsiteY1" fmla="*/ 39231 h 42308"/>
                  <a:gd name="connsiteX2" fmla="*/ 2308 w 41539"/>
                  <a:gd name="connsiteY2" fmla="*/ 30000 h 42308"/>
                  <a:gd name="connsiteX3" fmla="*/ 30000 w 41539"/>
                  <a:gd name="connsiteY3" fmla="*/ 2308 h 42308"/>
                  <a:gd name="connsiteX4" fmla="*/ 39231 w 41539"/>
                  <a:gd name="connsiteY4" fmla="*/ 2308 h 42308"/>
                  <a:gd name="connsiteX5" fmla="*/ 39231 w 41539"/>
                  <a:gd name="connsiteY5" fmla="*/ 11539 h 42308"/>
                  <a:gd name="connsiteX6" fmla="*/ 11539 w 41539"/>
                  <a:gd name="connsiteY6" fmla="*/ 39231 h 42308"/>
                  <a:gd name="connsiteX7" fmla="*/ 5385 w 41539"/>
                  <a:gd name="connsiteY7" fmla="*/ 42308 h 42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9" h="42308">
                    <a:moveTo>
                      <a:pt x="5385" y="42308"/>
                    </a:moveTo>
                    <a:cubicBezTo>
                      <a:pt x="5385" y="42308"/>
                      <a:pt x="2308" y="42308"/>
                      <a:pt x="2308" y="39231"/>
                    </a:cubicBezTo>
                    <a:cubicBezTo>
                      <a:pt x="-769" y="36154"/>
                      <a:pt x="-769" y="33077"/>
                      <a:pt x="2308" y="30000"/>
                    </a:cubicBezTo>
                    <a:lnTo>
                      <a:pt x="30000" y="2308"/>
                    </a:lnTo>
                    <a:cubicBezTo>
                      <a:pt x="33077" y="-769"/>
                      <a:pt x="36154" y="-769"/>
                      <a:pt x="39231" y="2308"/>
                    </a:cubicBezTo>
                    <a:cubicBezTo>
                      <a:pt x="42308" y="5385"/>
                      <a:pt x="42308" y="8462"/>
                      <a:pt x="39231" y="11539"/>
                    </a:cubicBezTo>
                    <a:lnTo>
                      <a:pt x="11539" y="39231"/>
                    </a:lnTo>
                    <a:cubicBezTo>
                      <a:pt x="8462" y="42308"/>
                      <a:pt x="5385" y="42308"/>
                      <a:pt x="5385" y="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BCA366EF-1977-4A17-8A1A-263FF6F56EAF}"/>
                </a:ext>
              </a:extLst>
            </p:cNvPr>
            <p:cNvSpPr/>
            <p:nvPr/>
          </p:nvSpPr>
          <p:spPr>
            <a:xfrm>
              <a:off x="10965435" y="10550587"/>
              <a:ext cx="1128037" cy="2316922"/>
            </a:xfrm>
            <a:custGeom>
              <a:avLst/>
              <a:gdLst>
                <a:gd name="connsiteX0" fmla="*/ 1120000 w 1128037"/>
                <a:gd name="connsiteY0" fmla="*/ 21538 h 2316922"/>
                <a:gd name="connsiteX1" fmla="*/ 1107692 w 1128037"/>
                <a:gd name="connsiteY1" fmla="*/ 1418461 h 2316922"/>
                <a:gd name="connsiteX2" fmla="*/ 1036923 w 1128037"/>
                <a:gd name="connsiteY2" fmla="*/ 2316923 h 2316922"/>
                <a:gd name="connsiteX3" fmla="*/ 738462 w 1128037"/>
                <a:gd name="connsiteY3" fmla="*/ 2316923 h 2316922"/>
                <a:gd name="connsiteX4" fmla="*/ 698461 w 1128037"/>
                <a:gd name="connsiteY4" fmla="*/ 1443077 h 2316922"/>
                <a:gd name="connsiteX5" fmla="*/ 615385 w 1128037"/>
                <a:gd name="connsiteY5" fmla="*/ 507692 h 2316922"/>
                <a:gd name="connsiteX6" fmla="*/ 559999 w 1128037"/>
                <a:gd name="connsiteY6" fmla="*/ 1436923 h 2316922"/>
                <a:gd name="connsiteX7" fmla="*/ 304615 w 1128037"/>
                <a:gd name="connsiteY7" fmla="*/ 2264615 h 2316922"/>
                <a:gd name="connsiteX8" fmla="*/ 0 w 1128037"/>
                <a:gd name="connsiteY8" fmla="*/ 2163077 h 2316922"/>
                <a:gd name="connsiteX9" fmla="*/ 200000 w 1128037"/>
                <a:gd name="connsiteY9" fmla="*/ 1418461 h 2316922"/>
                <a:gd name="connsiteX10" fmla="*/ 86153 w 1128037"/>
                <a:gd name="connsiteY10" fmla="*/ 0 h 2316922"/>
                <a:gd name="connsiteX11" fmla="*/ 1120000 w 1128037"/>
                <a:gd name="connsiteY11" fmla="*/ 21538 h 2316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8037" h="2316922">
                  <a:moveTo>
                    <a:pt x="1120000" y="21538"/>
                  </a:moveTo>
                  <a:cubicBezTo>
                    <a:pt x="1120000" y="21538"/>
                    <a:pt x="1144615" y="1104615"/>
                    <a:pt x="1107692" y="1418461"/>
                  </a:cubicBezTo>
                  <a:cubicBezTo>
                    <a:pt x="1076923" y="1692308"/>
                    <a:pt x="1036923" y="2316923"/>
                    <a:pt x="1036923" y="2316923"/>
                  </a:cubicBezTo>
                  <a:lnTo>
                    <a:pt x="738462" y="2316923"/>
                  </a:lnTo>
                  <a:cubicBezTo>
                    <a:pt x="738462" y="2316923"/>
                    <a:pt x="704615" y="1541538"/>
                    <a:pt x="698461" y="1443077"/>
                  </a:cubicBezTo>
                  <a:cubicBezTo>
                    <a:pt x="692308" y="1301538"/>
                    <a:pt x="630769" y="538462"/>
                    <a:pt x="615385" y="507692"/>
                  </a:cubicBezTo>
                  <a:cubicBezTo>
                    <a:pt x="600000" y="476923"/>
                    <a:pt x="559999" y="1436923"/>
                    <a:pt x="559999" y="1436923"/>
                  </a:cubicBezTo>
                  <a:lnTo>
                    <a:pt x="304615" y="2264615"/>
                  </a:lnTo>
                  <a:lnTo>
                    <a:pt x="0" y="2163077"/>
                  </a:lnTo>
                  <a:cubicBezTo>
                    <a:pt x="0" y="2163077"/>
                    <a:pt x="206153" y="1520000"/>
                    <a:pt x="200000" y="1418461"/>
                  </a:cubicBezTo>
                  <a:cubicBezTo>
                    <a:pt x="190769" y="1264615"/>
                    <a:pt x="40000" y="101538"/>
                    <a:pt x="86153" y="0"/>
                  </a:cubicBezTo>
                  <a:cubicBezTo>
                    <a:pt x="790769" y="33845"/>
                    <a:pt x="1120000" y="21538"/>
                    <a:pt x="1120000" y="21538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6AB83816-EA06-467C-96AA-D21E570FA291}"/>
                </a:ext>
              </a:extLst>
            </p:cNvPr>
            <p:cNvSpPr/>
            <p:nvPr/>
          </p:nvSpPr>
          <p:spPr>
            <a:xfrm>
              <a:off x="11577743" y="10695202"/>
              <a:ext cx="70768" cy="369230"/>
            </a:xfrm>
            <a:custGeom>
              <a:avLst/>
              <a:gdLst>
                <a:gd name="connsiteX0" fmla="*/ 6153 w 70768"/>
                <a:gd name="connsiteY0" fmla="*/ 369231 h 369230"/>
                <a:gd name="connsiteX1" fmla="*/ 6153 w 70768"/>
                <a:gd name="connsiteY1" fmla="*/ 369231 h 369230"/>
                <a:gd name="connsiteX2" fmla="*/ 0 w 70768"/>
                <a:gd name="connsiteY2" fmla="*/ 360000 h 369230"/>
                <a:gd name="connsiteX3" fmla="*/ 58461 w 70768"/>
                <a:gd name="connsiteY3" fmla="*/ 6154 h 369230"/>
                <a:gd name="connsiteX4" fmla="*/ 64616 w 70768"/>
                <a:gd name="connsiteY4" fmla="*/ 0 h 369230"/>
                <a:gd name="connsiteX5" fmla="*/ 64616 w 70768"/>
                <a:gd name="connsiteY5" fmla="*/ 0 h 369230"/>
                <a:gd name="connsiteX6" fmla="*/ 70769 w 70768"/>
                <a:gd name="connsiteY6" fmla="*/ 6154 h 369230"/>
                <a:gd name="connsiteX7" fmla="*/ 12308 w 70768"/>
                <a:gd name="connsiteY7" fmla="*/ 363078 h 369230"/>
                <a:gd name="connsiteX8" fmla="*/ 6153 w 70768"/>
                <a:gd name="connsiteY8" fmla="*/ 369231 h 36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768" h="369230">
                  <a:moveTo>
                    <a:pt x="6153" y="369231"/>
                  </a:moveTo>
                  <a:cubicBezTo>
                    <a:pt x="6153" y="369231"/>
                    <a:pt x="3077" y="369231"/>
                    <a:pt x="6153" y="369231"/>
                  </a:cubicBezTo>
                  <a:cubicBezTo>
                    <a:pt x="0" y="366154"/>
                    <a:pt x="0" y="363078"/>
                    <a:pt x="0" y="360000"/>
                  </a:cubicBezTo>
                  <a:cubicBezTo>
                    <a:pt x="49231" y="246154"/>
                    <a:pt x="58461" y="9231"/>
                    <a:pt x="58461" y="6154"/>
                  </a:cubicBezTo>
                  <a:cubicBezTo>
                    <a:pt x="58461" y="3077"/>
                    <a:pt x="61538" y="0"/>
                    <a:pt x="64616" y="0"/>
                  </a:cubicBezTo>
                  <a:cubicBezTo>
                    <a:pt x="64616" y="0"/>
                    <a:pt x="64616" y="0"/>
                    <a:pt x="64616" y="0"/>
                  </a:cubicBezTo>
                  <a:cubicBezTo>
                    <a:pt x="67692" y="0"/>
                    <a:pt x="70769" y="3077"/>
                    <a:pt x="70769" y="6154"/>
                  </a:cubicBezTo>
                  <a:cubicBezTo>
                    <a:pt x="70769" y="15385"/>
                    <a:pt x="61538" y="246154"/>
                    <a:pt x="12308" y="363078"/>
                  </a:cubicBezTo>
                  <a:cubicBezTo>
                    <a:pt x="9230" y="369231"/>
                    <a:pt x="9230" y="369231"/>
                    <a:pt x="6153" y="369231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8CBC53C2-969D-488D-9253-286F7F87C83C}"/>
                </a:ext>
              </a:extLst>
            </p:cNvPr>
            <p:cNvSpPr/>
            <p:nvPr/>
          </p:nvSpPr>
          <p:spPr>
            <a:xfrm>
              <a:off x="11607237" y="10624433"/>
              <a:ext cx="158197" cy="359999"/>
            </a:xfrm>
            <a:custGeom>
              <a:avLst/>
              <a:gdLst>
                <a:gd name="connsiteX0" fmla="*/ 7428 w 158197"/>
                <a:gd name="connsiteY0" fmla="*/ 359999 h 359999"/>
                <a:gd name="connsiteX1" fmla="*/ 1275 w 158197"/>
                <a:gd name="connsiteY1" fmla="*/ 356923 h 359999"/>
                <a:gd name="connsiteX2" fmla="*/ 4352 w 158197"/>
                <a:gd name="connsiteY2" fmla="*/ 347692 h 359999"/>
                <a:gd name="connsiteX3" fmla="*/ 112044 w 158197"/>
                <a:gd name="connsiteY3" fmla="*/ 270769 h 359999"/>
                <a:gd name="connsiteX4" fmla="*/ 145889 w 158197"/>
                <a:gd name="connsiteY4" fmla="*/ 6153 h 359999"/>
                <a:gd name="connsiteX5" fmla="*/ 152044 w 158197"/>
                <a:gd name="connsiteY5" fmla="*/ 0 h 359999"/>
                <a:gd name="connsiteX6" fmla="*/ 158198 w 158197"/>
                <a:gd name="connsiteY6" fmla="*/ 6153 h 359999"/>
                <a:gd name="connsiteX7" fmla="*/ 124352 w 158197"/>
                <a:gd name="connsiteY7" fmla="*/ 276923 h 359999"/>
                <a:gd name="connsiteX8" fmla="*/ 13582 w 158197"/>
                <a:gd name="connsiteY8" fmla="*/ 356923 h 359999"/>
                <a:gd name="connsiteX9" fmla="*/ 7428 w 158197"/>
                <a:gd name="connsiteY9" fmla="*/ 359999 h 35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8197" h="359999">
                  <a:moveTo>
                    <a:pt x="7428" y="359999"/>
                  </a:moveTo>
                  <a:cubicBezTo>
                    <a:pt x="4352" y="359999"/>
                    <a:pt x="4352" y="359999"/>
                    <a:pt x="1275" y="356923"/>
                  </a:cubicBezTo>
                  <a:cubicBezTo>
                    <a:pt x="-1803" y="353846"/>
                    <a:pt x="1275" y="350769"/>
                    <a:pt x="4352" y="347692"/>
                  </a:cubicBezTo>
                  <a:cubicBezTo>
                    <a:pt x="44351" y="323077"/>
                    <a:pt x="102813" y="280000"/>
                    <a:pt x="112044" y="270769"/>
                  </a:cubicBezTo>
                  <a:cubicBezTo>
                    <a:pt x="121274" y="258461"/>
                    <a:pt x="136659" y="101538"/>
                    <a:pt x="145889" y="6153"/>
                  </a:cubicBezTo>
                  <a:cubicBezTo>
                    <a:pt x="145889" y="3077"/>
                    <a:pt x="148967" y="0"/>
                    <a:pt x="152044" y="0"/>
                  </a:cubicBezTo>
                  <a:cubicBezTo>
                    <a:pt x="155121" y="0"/>
                    <a:pt x="158198" y="3077"/>
                    <a:pt x="158198" y="6153"/>
                  </a:cubicBezTo>
                  <a:cubicBezTo>
                    <a:pt x="155121" y="49231"/>
                    <a:pt x="133582" y="261538"/>
                    <a:pt x="124352" y="276923"/>
                  </a:cubicBezTo>
                  <a:cubicBezTo>
                    <a:pt x="112044" y="292308"/>
                    <a:pt x="22812" y="350769"/>
                    <a:pt x="13582" y="356923"/>
                  </a:cubicBezTo>
                  <a:cubicBezTo>
                    <a:pt x="7428" y="359999"/>
                    <a:pt x="7428" y="359999"/>
                    <a:pt x="7428" y="359999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A94ADC83-4E50-456C-AA0B-3B6B9473AE04}"/>
                </a:ext>
              </a:extLst>
            </p:cNvPr>
            <p:cNvSpPr/>
            <p:nvPr/>
          </p:nvSpPr>
          <p:spPr>
            <a:xfrm>
              <a:off x="11958390" y="9394844"/>
              <a:ext cx="1071660" cy="843089"/>
            </a:xfrm>
            <a:custGeom>
              <a:avLst/>
              <a:gdLst>
                <a:gd name="connsiteX0" fmla="*/ 22430 w 1071660"/>
                <a:gd name="connsiteY0" fmla="*/ 284973 h 843089"/>
                <a:gd name="connsiteX1" fmla="*/ 99353 w 1071660"/>
                <a:gd name="connsiteY1" fmla="*/ 1897 h 843089"/>
                <a:gd name="connsiteX2" fmla="*/ 351660 w 1071660"/>
                <a:gd name="connsiteY2" fmla="*/ 291128 h 843089"/>
                <a:gd name="connsiteX3" fmla="*/ 502430 w 1071660"/>
                <a:gd name="connsiteY3" fmla="*/ 592666 h 843089"/>
                <a:gd name="connsiteX4" fmla="*/ 1065507 w 1071660"/>
                <a:gd name="connsiteY4" fmla="*/ 555743 h 843089"/>
                <a:gd name="connsiteX5" fmla="*/ 1071660 w 1071660"/>
                <a:gd name="connsiteY5" fmla="*/ 694204 h 843089"/>
                <a:gd name="connsiteX6" fmla="*/ 373199 w 1071660"/>
                <a:gd name="connsiteY6" fmla="*/ 838820 h 843089"/>
                <a:gd name="connsiteX7" fmla="*/ 22430 w 1071660"/>
                <a:gd name="connsiteY7" fmla="*/ 284973 h 84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1660" h="843089">
                  <a:moveTo>
                    <a:pt x="22430" y="284973"/>
                  </a:moveTo>
                  <a:cubicBezTo>
                    <a:pt x="-32955" y="146512"/>
                    <a:pt x="22430" y="-19642"/>
                    <a:pt x="99353" y="1897"/>
                  </a:cubicBezTo>
                  <a:cubicBezTo>
                    <a:pt x="188584" y="26512"/>
                    <a:pt x="293199" y="121897"/>
                    <a:pt x="351660" y="291128"/>
                  </a:cubicBezTo>
                  <a:cubicBezTo>
                    <a:pt x="385507" y="389589"/>
                    <a:pt x="483969" y="595743"/>
                    <a:pt x="502430" y="592666"/>
                  </a:cubicBezTo>
                  <a:cubicBezTo>
                    <a:pt x="508584" y="592666"/>
                    <a:pt x="1065507" y="555743"/>
                    <a:pt x="1065507" y="555743"/>
                  </a:cubicBezTo>
                  <a:cubicBezTo>
                    <a:pt x="1065507" y="617281"/>
                    <a:pt x="1071660" y="694204"/>
                    <a:pt x="1071660" y="694204"/>
                  </a:cubicBezTo>
                  <a:cubicBezTo>
                    <a:pt x="1071660" y="694204"/>
                    <a:pt x="453200" y="872666"/>
                    <a:pt x="373199" y="838820"/>
                  </a:cubicBezTo>
                  <a:cubicBezTo>
                    <a:pt x="271660" y="801897"/>
                    <a:pt x="90122" y="460358"/>
                    <a:pt x="22430" y="284973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A4D0BE71-EE2B-446F-A90E-232078D9A93D}"/>
                </a:ext>
              </a:extLst>
            </p:cNvPr>
            <p:cNvSpPr/>
            <p:nvPr/>
          </p:nvSpPr>
          <p:spPr>
            <a:xfrm>
              <a:off x="11033127" y="10559818"/>
              <a:ext cx="147692" cy="243076"/>
            </a:xfrm>
            <a:custGeom>
              <a:avLst/>
              <a:gdLst>
                <a:gd name="connsiteX0" fmla="*/ 6154 w 147692"/>
                <a:gd name="connsiteY0" fmla="*/ 243077 h 243076"/>
                <a:gd name="connsiteX1" fmla="*/ 0 w 147692"/>
                <a:gd name="connsiteY1" fmla="*/ 236923 h 243076"/>
                <a:gd name="connsiteX2" fmla="*/ 6154 w 147692"/>
                <a:gd name="connsiteY2" fmla="*/ 230769 h 243076"/>
                <a:gd name="connsiteX3" fmla="*/ 123077 w 147692"/>
                <a:gd name="connsiteY3" fmla="*/ 203077 h 243076"/>
                <a:gd name="connsiteX4" fmla="*/ 135384 w 147692"/>
                <a:gd name="connsiteY4" fmla="*/ 6154 h 243076"/>
                <a:gd name="connsiteX5" fmla="*/ 141539 w 147692"/>
                <a:gd name="connsiteY5" fmla="*/ 0 h 243076"/>
                <a:gd name="connsiteX6" fmla="*/ 141539 w 147692"/>
                <a:gd name="connsiteY6" fmla="*/ 0 h 243076"/>
                <a:gd name="connsiteX7" fmla="*/ 147693 w 147692"/>
                <a:gd name="connsiteY7" fmla="*/ 6154 h 243076"/>
                <a:gd name="connsiteX8" fmla="*/ 132308 w 147692"/>
                <a:gd name="connsiteY8" fmla="*/ 206154 h 243076"/>
                <a:gd name="connsiteX9" fmla="*/ 6154 w 147692"/>
                <a:gd name="connsiteY9" fmla="*/ 243077 h 243076"/>
                <a:gd name="connsiteX10" fmla="*/ 6154 w 147692"/>
                <a:gd name="connsiteY10" fmla="*/ 243077 h 24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7692" h="243076">
                  <a:moveTo>
                    <a:pt x="6154" y="243077"/>
                  </a:moveTo>
                  <a:cubicBezTo>
                    <a:pt x="3077" y="243077"/>
                    <a:pt x="0" y="240000"/>
                    <a:pt x="0" y="236923"/>
                  </a:cubicBezTo>
                  <a:cubicBezTo>
                    <a:pt x="0" y="233846"/>
                    <a:pt x="3077" y="230769"/>
                    <a:pt x="6154" y="230769"/>
                  </a:cubicBezTo>
                  <a:cubicBezTo>
                    <a:pt x="58461" y="224615"/>
                    <a:pt x="120000" y="212308"/>
                    <a:pt x="123077" y="203077"/>
                  </a:cubicBezTo>
                  <a:cubicBezTo>
                    <a:pt x="129231" y="190770"/>
                    <a:pt x="135384" y="76923"/>
                    <a:pt x="135384" y="6154"/>
                  </a:cubicBezTo>
                  <a:cubicBezTo>
                    <a:pt x="135384" y="3077"/>
                    <a:pt x="138462" y="0"/>
                    <a:pt x="141539" y="0"/>
                  </a:cubicBezTo>
                  <a:lnTo>
                    <a:pt x="141539" y="0"/>
                  </a:lnTo>
                  <a:cubicBezTo>
                    <a:pt x="144616" y="0"/>
                    <a:pt x="147693" y="3077"/>
                    <a:pt x="147693" y="6154"/>
                  </a:cubicBezTo>
                  <a:cubicBezTo>
                    <a:pt x="147693" y="24615"/>
                    <a:pt x="144616" y="187693"/>
                    <a:pt x="132308" y="206154"/>
                  </a:cubicBezTo>
                  <a:cubicBezTo>
                    <a:pt x="123077" y="227692"/>
                    <a:pt x="33846" y="240000"/>
                    <a:pt x="6154" y="243077"/>
                  </a:cubicBezTo>
                  <a:cubicBezTo>
                    <a:pt x="6154" y="243077"/>
                    <a:pt x="6154" y="243077"/>
                    <a:pt x="6154" y="243077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BE6695A4-3AE5-4D61-B60D-05C45AC9BDA3}"/>
                </a:ext>
              </a:extLst>
            </p:cNvPr>
            <p:cNvSpPr/>
            <p:nvPr/>
          </p:nvSpPr>
          <p:spPr>
            <a:xfrm>
              <a:off x="11993127" y="10575202"/>
              <a:ext cx="92307" cy="209230"/>
            </a:xfrm>
            <a:custGeom>
              <a:avLst/>
              <a:gdLst>
                <a:gd name="connsiteX0" fmla="*/ 80000 w 92307"/>
                <a:gd name="connsiteY0" fmla="*/ 206154 h 209230"/>
                <a:gd name="connsiteX1" fmla="*/ 21538 w 92307"/>
                <a:gd name="connsiteY1" fmla="*/ 181538 h 209230"/>
                <a:gd name="connsiteX2" fmla="*/ 0 w 92307"/>
                <a:gd name="connsiteY2" fmla="*/ 6154 h 209230"/>
                <a:gd name="connsiteX3" fmla="*/ 6153 w 92307"/>
                <a:gd name="connsiteY3" fmla="*/ 0 h 209230"/>
                <a:gd name="connsiteX4" fmla="*/ 6153 w 92307"/>
                <a:gd name="connsiteY4" fmla="*/ 0 h 209230"/>
                <a:gd name="connsiteX5" fmla="*/ 12308 w 92307"/>
                <a:gd name="connsiteY5" fmla="*/ 6154 h 209230"/>
                <a:gd name="connsiteX6" fmla="*/ 30769 w 92307"/>
                <a:gd name="connsiteY6" fmla="*/ 178461 h 209230"/>
                <a:gd name="connsiteX7" fmla="*/ 86153 w 92307"/>
                <a:gd name="connsiteY7" fmla="*/ 196923 h 209230"/>
                <a:gd name="connsiteX8" fmla="*/ 92308 w 92307"/>
                <a:gd name="connsiteY8" fmla="*/ 203077 h 209230"/>
                <a:gd name="connsiteX9" fmla="*/ 86153 w 92307"/>
                <a:gd name="connsiteY9" fmla="*/ 209230 h 209230"/>
                <a:gd name="connsiteX10" fmla="*/ 80000 w 92307"/>
                <a:gd name="connsiteY10" fmla="*/ 206154 h 20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307" h="209230">
                  <a:moveTo>
                    <a:pt x="80000" y="206154"/>
                  </a:moveTo>
                  <a:cubicBezTo>
                    <a:pt x="64616" y="206154"/>
                    <a:pt x="33846" y="203077"/>
                    <a:pt x="21538" y="181538"/>
                  </a:cubicBezTo>
                  <a:cubicBezTo>
                    <a:pt x="6153" y="153846"/>
                    <a:pt x="0" y="21539"/>
                    <a:pt x="0" y="6154"/>
                  </a:cubicBezTo>
                  <a:cubicBezTo>
                    <a:pt x="0" y="3077"/>
                    <a:pt x="3077" y="0"/>
                    <a:pt x="6153" y="0"/>
                  </a:cubicBezTo>
                  <a:cubicBezTo>
                    <a:pt x="6153" y="0"/>
                    <a:pt x="6153" y="0"/>
                    <a:pt x="6153" y="0"/>
                  </a:cubicBezTo>
                  <a:cubicBezTo>
                    <a:pt x="9230" y="0"/>
                    <a:pt x="12308" y="3077"/>
                    <a:pt x="12308" y="6154"/>
                  </a:cubicBezTo>
                  <a:cubicBezTo>
                    <a:pt x="15385" y="46154"/>
                    <a:pt x="21538" y="156923"/>
                    <a:pt x="30769" y="178461"/>
                  </a:cubicBezTo>
                  <a:cubicBezTo>
                    <a:pt x="43077" y="200000"/>
                    <a:pt x="83076" y="196923"/>
                    <a:pt x="86153" y="196923"/>
                  </a:cubicBezTo>
                  <a:cubicBezTo>
                    <a:pt x="89231" y="196923"/>
                    <a:pt x="92308" y="200000"/>
                    <a:pt x="92308" y="203077"/>
                  </a:cubicBezTo>
                  <a:cubicBezTo>
                    <a:pt x="92308" y="206154"/>
                    <a:pt x="89231" y="209230"/>
                    <a:pt x="86153" y="209230"/>
                  </a:cubicBezTo>
                  <a:cubicBezTo>
                    <a:pt x="86153" y="206154"/>
                    <a:pt x="83076" y="206154"/>
                    <a:pt x="80000" y="206154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37533EFA-379C-49F7-96B6-EDFF914EFA8A}"/>
                </a:ext>
              </a:extLst>
            </p:cNvPr>
            <p:cNvSpPr/>
            <p:nvPr/>
          </p:nvSpPr>
          <p:spPr>
            <a:xfrm>
              <a:off x="11445435" y="8864433"/>
              <a:ext cx="252308" cy="260625"/>
            </a:xfrm>
            <a:custGeom>
              <a:avLst/>
              <a:gdLst>
                <a:gd name="connsiteX0" fmla="*/ 252308 w 252308"/>
                <a:gd name="connsiteY0" fmla="*/ 40000 h 260625"/>
                <a:gd name="connsiteX1" fmla="*/ 246154 w 252308"/>
                <a:gd name="connsiteY1" fmla="*/ 215385 h 260625"/>
                <a:gd name="connsiteX2" fmla="*/ 0 w 252308"/>
                <a:gd name="connsiteY2" fmla="*/ 206154 h 260625"/>
                <a:gd name="connsiteX3" fmla="*/ 15385 w 252308"/>
                <a:gd name="connsiteY3" fmla="*/ 0 h 260625"/>
                <a:gd name="connsiteX4" fmla="*/ 252308 w 252308"/>
                <a:gd name="connsiteY4" fmla="*/ 40000 h 26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308" h="260625">
                  <a:moveTo>
                    <a:pt x="252308" y="40000"/>
                  </a:moveTo>
                  <a:cubicBezTo>
                    <a:pt x="252308" y="40000"/>
                    <a:pt x="246154" y="141539"/>
                    <a:pt x="246154" y="215385"/>
                  </a:cubicBezTo>
                  <a:cubicBezTo>
                    <a:pt x="246154" y="215385"/>
                    <a:pt x="150770" y="323077"/>
                    <a:pt x="0" y="206154"/>
                  </a:cubicBezTo>
                  <a:cubicBezTo>
                    <a:pt x="0" y="144616"/>
                    <a:pt x="12308" y="64616"/>
                    <a:pt x="15385" y="0"/>
                  </a:cubicBezTo>
                  <a:cubicBezTo>
                    <a:pt x="12308" y="0"/>
                    <a:pt x="200000" y="52308"/>
                    <a:pt x="252308" y="40000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357A101F-C71E-4D1B-8167-2A1417E9F410}"/>
                </a:ext>
              </a:extLst>
            </p:cNvPr>
            <p:cNvSpPr/>
            <p:nvPr/>
          </p:nvSpPr>
          <p:spPr>
            <a:xfrm>
              <a:off x="11353127" y="8744433"/>
              <a:ext cx="70769" cy="138461"/>
            </a:xfrm>
            <a:custGeom>
              <a:avLst/>
              <a:gdLst>
                <a:gd name="connsiteX0" fmla="*/ 0 w 70769"/>
                <a:gd name="connsiteY0" fmla="*/ 0 h 138461"/>
                <a:gd name="connsiteX1" fmla="*/ 67693 w 70769"/>
                <a:gd name="connsiteY1" fmla="*/ 138462 h 138461"/>
                <a:gd name="connsiteX2" fmla="*/ 70770 w 70769"/>
                <a:gd name="connsiteY2" fmla="*/ 52308 h 138461"/>
                <a:gd name="connsiteX3" fmla="*/ 0 w 70769"/>
                <a:gd name="connsiteY3" fmla="*/ 0 h 1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769" h="138461">
                  <a:moveTo>
                    <a:pt x="0" y="0"/>
                  </a:moveTo>
                  <a:cubicBezTo>
                    <a:pt x="0" y="0"/>
                    <a:pt x="15385" y="120000"/>
                    <a:pt x="67693" y="138462"/>
                  </a:cubicBezTo>
                  <a:lnTo>
                    <a:pt x="70770" y="523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29EFBF98-903F-489E-9A2C-28600A67432F}"/>
                </a:ext>
              </a:extLst>
            </p:cNvPr>
            <p:cNvSpPr/>
            <p:nvPr/>
          </p:nvSpPr>
          <p:spPr>
            <a:xfrm>
              <a:off x="11712671" y="8532125"/>
              <a:ext cx="103582" cy="240012"/>
            </a:xfrm>
            <a:custGeom>
              <a:avLst/>
              <a:gdLst>
                <a:gd name="connsiteX0" fmla="*/ 95841 w 103582"/>
                <a:gd name="connsiteY0" fmla="*/ 0 h 240012"/>
                <a:gd name="connsiteX1" fmla="*/ 55840 w 103582"/>
                <a:gd name="connsiteY1" fmla="*/ 236923 h 240012"/>
                <a:gd name="connsiteX2" fmla="*/ 456 w 103582"/>
                <a:gd name="connsiteY2" fmla="*/ 15385 h 240012"/>
                <a:gd name="connsiteX3" fmla="*/ 95841 w 103582"/>
                <a:gd name="connsiteY3" fmla="*/ 0 h 24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582" h="240012">
                  <a:moveTo>
                    <a:pt x="95841" y="0"/>
                  </a:moveTo>
                  <a:cubicBezTo>
                    <a:pt x="95841" y="0"/>
                    <a:pt x="129687" y="196923"/>
                    <a:pt x="55840" y="236923"/>
                  </a:cubicBezTo>
                  <a:cubicBezTo>
                    <a:pt x="-8775" y="270769"/>
                    <a:pt x="456" y="15385"/>
                    <a:pt x="456" y="15385"/>
                  </a:cubicBezTo>
                  <a:lnTo>
                    <a:pt x="95841" y="0"/>
                  </a:ln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229C1B23-B70E-465F-B26D-72AB308BCC1E}"/>
                </a:ext>
              </a:extLst>
            </p:cNvPr>
            <p:cNvSpPr/>
            <p:nvPr/>
          </p:nvSpPr>
          <p:spPr>
            <a:xfrm>
              <a:off x="11353127" y="8395364"/>
              <a:ext cx="427297" cy="574293"/>
            </a:xfrm>
            <a:custGeom>
              <a:avLst/>
              <a:gdLst>
                <a:gd name="connsiteX0" fmla="*/ 415385 w 427297"/>
                <a:gd name="connsiteY0" fmla="*/ 182916 h 574293"/>
                <a:gd name="connsiteX1" fmla="*/ 418462 w 427297"/>
                <a:gd name="connsiteY1" fmla="*/ 435223 h 574293"/>
                <a:gd name="connsiteX2" fmla="*/ 258462 w 427297"/>
                <a:gd name="connsiteY2" fmla="*/ 573685 h 574293"/>
                <a:gd name="connsiteX3" fmla="*/ 40001 w 427297"/>
                <a:gd name="connsiteY3" fmla="*/ 432146 h 574293"/>
                <a:gd name="connsiteX4" fmla="*/ 0 w 427297"/>
                <a:gd name="connsiteY4" fmla="*/ 204454 h 574293"/>
                <a:gd name="connsiteX5" fmla="*/ 212308 w 427297"/>
                <a:gd name="connsiteY5" fmla="*/ 1377 h 574293"/>
                <a:gd name="connsiteX6" fmla="*/ 415385 w 427297"/>
                <a:gd name="connsiteY6" fmla="*/ 182916 h 574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297" h="574293">
                  <a:moveTo>
                    <a:pt x="415385" y="182916"/>
                  </a:moveTo>
                  <a:cubicBezTo>
                    <a:pt x="415385" y="182916"/>
                    <a:pt x="440001" y="361377"/>
                    <a:pt x="418462" y="435223"/>
                  </a:cubicBezTo>
                  <a:cubicBezTo>
                    <a:pt x="400000" y="502916"/>
                    <a:pt x="310769" y="567531"/>
                    <a:pt x="258462" y="573685"/>
                  </a:cubicBezTo>
                  <a:cubicBezTo>
                    <a:pt x="190770" y="579839"/>
                    <a:pt x="70770" y="539839"/>
                    <a:pt x="40001" y="432146"/>
                  </a:cubicBezTo>
                  <a:cubicBezTo>
                    <a:pt x="18462" y="358300"/>
                    <a:pt x="0" y="256762"/>
                    <a:pt x="0" y="204454"/>
                  </a:cubicBezTo>
                  <a:cubicBezTo>
                    <a:pt x="0" y="109069"/>
                    <a:pt x="27693" y="29070"/>
                    <a:pt x="212308" y="1377"/>
                  </a:cubicBezTo>
                  <a:cubicBezTo>
                    <a:pt x="298462" y="-14008"/>
                    <a:pt x="393847" y="102916"/>
                    <a:pt x="415385" y="182916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ECF0A22D-FA44-422B-B5E1-BB11EF440F99}"/>
                </a:ext>
              </a:extLst>
            </p:cNvPr>
            <p:cNvSpPr/>
            <p:nvPr/>
          </p:nvSpPr>
          <p:spPr>
            <a:xfrm>
              <a:off x="11583896" y="8658279"/>
              <a:ext cx="58462" cy="141538"/>
            </a:xfrm>
            <a:custGeom>
              <a:avLst/>
              <a:gdLst>
                <a:gd name="connsiteX0" fmla="*/ 27693 w 58462"/>
                <a:gd name="connsiteY0" fmla="*/ 141539 h 141538"/>
                <a:gd name="connsiteX1" fmla="*/ 6154 w 58462"/>
                <a:gd name="connsiteY1" fmla="*/ 138462 h 141538"/>
                <a:gd name="connsiteX2" fmla="*/ 0 w 58462"/>
                <a:gd name="connsiteY2" fmla="*/ 132308 h 141538"/>
                <a:gd name="connsiteX3" fmla="*/ 6154 w 58462"/>
                <a:gd name="connsiteY3" fmla="*/ 126154 h 141538"/>
                <a:gd name="connsiteX4" fmla="*/ 46154 w 58462"/>
                <a:gd name="connsiteY4" fmla="*/ 123077 h 141538"/>
                <a:gd name="connsiteX5" fmla="*/ 46154 w 58462"/>
                <a:gd name="connsiteY5" fmla="*/ 120000 h 141538"/>
                <a:gd name="connsiteX6" fmla="*/ 27693 w 58462"/>
                <a:gd name="connsiteY6" fmla="*/ 6154 h 141538"/>
                <a:gd name="connsiteX7" fmla="*/ 33846 w 58462"/>
                <a:gd name="connsiteY7" fmla="*/ 0 h 141538"/>
                <a:gd name="connsiteX8" fmla="*/ 40001 w 58462"/>
                <a:gd name="connsiteY8" fmla="*/ 6154 h 141538"/>
                <a:gd name="connsiteX9" fmla="*/ 58462 w 58462"/>
                <a:gd name="connsiteY9" fmla="*/ 120000 h 141538"/>
                <a:gd name="connsiteX10" fmla="*/ 52308 w 58462"/>
                <a:gd name="connsiteY10" fmla="*/ 132308 h 141538"/>
                <a:gd name="connsiteX11" fmla="*/ 27693 w 58462"/>
                <a:gd name="connsiteY11" fmla="*/ 141539 h 14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462" h="141538">
                  <a:moveTo>
                    <a:pt x="27693" y="141539"/>
                  </a:moveTo>
                  <a:cubicBezTo>
                    <a:pt x="18462" y="141539"/>
                    <a:pt x="9231" y="138462"/>
                    <a:pt x="6154" y="138462"/>
                  </a:cubicBezTo>
                  <a:cubicBezTo>
                    <a:pt x="3077" y="138462"/>
                    <a:pt x="0" y="135385"/>
                    <a:pt x="0" y="132308"/>
                  </a:cubicBezTo>
                  <a:cubicBezTo>
                    <a:pt x="0" y="129231"/>
                    <a:pt x="3077" y="126154"/>
                    <a:pt x="6154" y="126154"/>
                  </a:cubicBezTo>
                  <a:cubicBezTo>
                    <a:pt x="18462" y="129231"/>
                    <a:pt x="40001" y="129231"/>
                    <a:pt x="46154" y="123077"/>
                  </a:cubicBezTo>
                  <a:cubicBezTo>
                    <a:pt x="46154" y="123077"/>
                    <a:pt x="46154" y="120000"/>
                    <a:pt x="46154" y="120000"/>
                  </a:cubicBezTo>
                  <a:cubicBezTo>
                    <a:pt x="46154" y="101539"/>
                    <a:pt x="27693" y="9231"/>
                    <a:pt x="27693" y="6154"/>
                  </a:cubicBezTo>
                  <a:cubicBezTo>
                    <a:pt x="27693" y="3077"/>
                    <a:pt x="27693" y="0"/>
                    <a:pt x="33846" y="0"/>
                  </a:cubicBezTo>
                  <a:cubicBezTo>
                    <a:pt x="36923" y="0"/>
                    <a:pt x="40001" y="0"/>
                    <a:pt x="40001" y="6154"/>
                  </a:cubicBezTo>
                  <a:cubicBezTo>
                    <a:pt x="40001" y="9231"/>
                    <a:pt x="58462" y="101539"/>
                    <a:pt x="58462" y="120000"/>
                  </a:cubicBezTo>
                  <a:cubicBezTo>
                    <a:pt x="58462" y="126154"/>
                    <a:pt x="55385" y="129231"/>
                    <a:pt x="52308" y="132308"/>
                  </a:cubicBezTo>
                  <a:cubicBezTo>
                    <a:pt x="46154" y="138462"/>
                    <a:pt x="36923" y="141539"/>
                    <a:pt x="27693" y="141539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CD09AB00-2E3E-4B90-A94B-19194ECE86EB}"/>
                </a:ext>
              </a:extLst>
            </p:cNvPr>
            <p:cNvSpPr/>
            <p:nvPr/>
          </p:nvSpPr>
          <p:spPr>
            <a:xfrm>
              <a:off x="11672343" y="8636137"/>
              <a:ext cx="41387" cy="41207"/>
            </a:xfrm>
            <a:custGeom>
              <a:avLst/>
              <a:gdLst>
                <a:gd name="connsiteX0" fmla="*/ 784 w 41387"/>
                <a:gd name="connsiteY0" fmla="*/ 25219 h 41207"/>
                <a:gd name="connsiteX1" fmla="*/ 25399 w 41387"/>
                <a:gd name="connsiteY1" fmla="*/ 40604 h 41207"/>
                <a:gd name="connsiteX2" fmla="*/ 40784 w 41387"/>
                <a:gd name="connsiteY2" fmla="*/ 15988 h 41207"/>
                <a:gd name="connsiteX3" fmla="*/ 16169 w 41387"/>
                <a:gd name="connsiteY3" fmla="*/ 604 h 41207"/>
                <a:gd name="connsiteX4" fmla="*/ 784 w 41387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207">
                  <a:moveTo>
                    <a:pt x="784" y="25219"/>
                  </a:moveTo>
                  <a:cubicBezTo>
                    <a:pt x="3860" y="34450"/>
                    <a:pt x="13092" y="43680"/>
                    <a:pt x="25399" y="40604"/>
                  </a:cubicBezTo>
                  <a:cubicBezTo>
                    <a:pt x="34630" y="37527"/>
                    <a:pt x="43861" y="28296"/>
                    <a:pt x="40784" y="15988"/>
                  </a:cubicBezTo>
                  <a:cubicBezTo>
                    <a:pt x="37707" y="6757"/>
                    <a:pt x="28476" y="-2474"/>
                    <a:pt x="16169" y="604"/>
                  </a:cubicBezTo>
                  <a:cubicBezTo>
                    <a:pt x="3860" y="3681"/>
                    <a:pt x="-2293" y="15988"/>
                    <a:pt x="784" y="25219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B549183-5D55-493E-97F3-4BCCA563295C}"/>
                </a:ext>
              </a:extLst>
            </p:cNvPr>
            <p:cNvSpPr/>
            <p:nvPr/>
          </p:nvSpPr>
          <p:spPr>
            <a:xfrm>
              <a:off x="11487728" y="8654599"/>
              <a:ext cx="41387" cy="41206"/>
            </a:xfrm>
            <a:custGeom>
              <a:avLst/>
              <a:gdLst>
                <a:gd name="connsiteX0" fmla="*/ 784 w 41387"/>
                <a:gd name="connsiteY0" fmla="*/ 25219 h 41206"/>
                <a:gd name="connsiteX1" fmla="*/ 25399 w 41387"/>
                <a:gd name="connsiteY1" fmla="*/ 40603 h 41206"/>
                <a:gd name="connsiteX2" fmla="*/ 40784 w 41387"/>
                <a:gd name="connsiteY2" fmla="*/ 15988 h 41206"/>
                <a:gd name="connsiteX3" fmla="*/ 16169 w 41387"/>
                <a:gd name="connsiteY3" fmla="*/ 604 h 41206"/>
                <a:gd name="connsiteX4" fmla="*/ 784 w 41387"/>
                <a:gd name="connsiteY4" fmla="*/ 25219 h 41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206">
                  <a:moveTo>
                    <a:pt x="784" y="25219"/>
                  </a:moveTo>
                  <a:cubicBezTo>
                    <a:pt x="3860" y="34449"/>
                    <a:pt x="13092" y="43680"/>
                    <a:pt x="25399" y="40603"/>
                  </a:cubicBezTo>
                  <a:cubicBezTo>
                    <a:pt x="34630" y="37527"/>
                    <a:pt x="43861" y="28296"/>
                    <a:pt x="40784" y="15988"/>
                  </a:cubicBezTo>
                  <a:cubicBezTo>
                    <a:pt x="37707" y="6757"/>
                    <a:pt x="28476" y="-2474"/>
                    <a:pt x="16169" y="604"/>
                  </a:cubicBezTo>
                  <a:cubicBezTo>
                    <a:pt x="3860" y="6757"/>
                    <a:pt x="-2293" y="15988"/>
                    <a:pt x="784" y="25219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E92E5793-FBDA-45F1-AE7E-E6CFF21355B5}"/>
                </a:ext>
              </a:extLst>
            </p:cNvPr>
            <p:cNvSpPr/>
            <p:nvPr/>
          </p:nvSpPr>
          <p:spPr>
            <a:xfrm>
              <a:off x="11641084" y="8587510"/>
              <a:ext cx="92813" cy="33846"/>
            </a:xfrm>
            <a:custGeom>
              <a:avLst/>
              <a:gdLst>
                <a:gd name="connsiteX0" fmla="*/ 87428 w 92813"/>
                <a:gd name="connsiteY0" fmla="*/ 33846 h 33846"/>
                <a:gd name="connsiteX1" fmla="*/ 81274 w 92813"/>
                <a:gd name="connsiteY1" fmla="*/ 30769 h 33846"/>
                <a:gd name="connsiteX2" fmla="*/ 13582 w 92813"/>
                <a:gd name="connsiteY2" fmla="*/ 24615 h 33846"/>
                <a:gd name="connsiteX3" fmla="*/ 1275 w 92813"/>
                <a:gd name="connsiteY3" fmla="*/ 21539 h 33846"/>
                <a:gd name="connsiteX4" fmla="*/ 4351 w 92813"/>
                <a:gd name="connsiteY4" fmla="*/ 9231 h 33846"/>
                <a:gd name="connsiteX5" fmla="*/ 90505 w 92813"/>
                <a:gd name="connsiteY5" fmla="*/ 18462 h 33846"/>
                <a:gd name="connsiteX6" fmla="*/ 90505 w 92813"/>
                <a:gd name="connsiteY6" fmla="*/ 30769 h 33846"/>
                <a:gd name="connsiteX7" fmla="*/ 87428 w 92813"/>
                <a:gd name="connsiteY7" fmla="*/ 33846 h 3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3846">
                  <a:moveTo>
                    <a:pt x="87428" y="33846"/>
                  </a:moveTo>
                  <a:cubicBezTo>
                    <a:pt x="84351" y="33846"/>
                    <a:pt x="84351" y="33846"/>
                    <a:pt x="81274" y="30769"/>
                  </a:cubicBezTo>
                  <a:cubicBezTo>
                    <a:pt x="53582" y="3077"/>
                    <a:pt x="13582" y="24615"/>
                    <a:pt x="13582" y="24615"/>
                  </a:cubicBezTo>
                  <a:cubicBezTo>
                    <a:pt x="10505" y="27692"/>
                    <a:pt x="4351" y="24615"/>
                    <a:pt x="1275" y="21539"/>
                  </a:cubicBezTo>
                  <a:cubicBezTo>
                    <a:pt x="-1803" y="18462"/>
                    <a:pt x="1275" y="12308"/>
                    <a:pt x="4351" y="9231"/>
                  </a:cubicBezTo>
                  <a:cubicBezTo>
                    <a:pt x="22813" y="0"/>
                    <a:pt x="62813" y="-9231"/>
                    <a:pt x="90505" y="18462"/>
                  </a:cubicBezTo>
                  <a:cubicBezTo>
                    <a:pt x="93582" y="21539"/>
                    <a:pt x="93582" y="27692"/>
                    <a:pt x="90505" y="30769"/>
                  </a:cubicBezTo>
                  <a:cubicBezTo>
                    <a:pt x="93582" y="30769"/>
                    <a:pt x="90505" y="33846"/>
                    <a:pt x="87428" y="33846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0987D8C8-1986-446E-A524-80102EEF1675}"/>
                </a:ext>
              </a:extLst>
            </p:cNvPr>
            <p:cNvSpPr/>
            <p:nvPr/>
          </p:nvSpPr>
          <p:spPr>
            <a:xfrm>
              <a:off x="11452358" y="8587823"/>
              <a:ext cx="92812" cy="36610"/>
            </a:xfrm>
            <a:custGeom>
              <a:avLst/>
              <a:gdLst>
                <a:gd name="connsiteX0" fmla="*/ 8461 w 92812"/>
                <a:gd name="connsiteY0" fmla="*/ 36610 h 36610"/>
                <a:gd name="connsiteX1" fmla="*/ 2308 w 92812"/>
                <a:gd name="connsiteY1" fmla="*/ 33533 h 36610"/>
                <a:gd name="connsiteX2" fmla="*/ 2308 w 92812"/>
                <a:gd name="connsiteY2" fmla="*/ 21225 h 36610"/>
                <a:gd name="connsiteX3" fmla="*/ 88461 w 92812"/>
                <a:gd name="connsiteY3" fmla="*/ 11995 h 36610"/>
                <a:gd name="connsiteX4" fmla="*/ 91538 w 92812"/>
                <a:gd name="connsiteY4" fmla="*/ 24302 h 36610"/>
                <a:gd name="connsiteX5" fmla="*/ 79231 w 92812"/>
                <a:gd name="connsiteY5" fmla="*/ 27379 h 36610"/>
                <a:gd name="connsiteX6" fmla="*/ 11538 w 92812"/>
                <a:gd name="connsiteY6" fmla="*/ 33533 h 36610"/>
                <a:gd name="connsiteX7" fmla="*/ 8461 w 92812"/>
                <a:gd name="connsiteY7" fmla="*/ 36610 h 36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6610">
                  <a:moveTo>
                    <a:pt x="8461" y="36610"/>
                  </a:moveTo>
                  <a:cubicBezTo>
                    <a:pt x="5385" y="36610"/>
                    <a:pt x="5385" y="36610"/>
                    <a:pt x="2308" y="33533"/>
                  </a:cubicBezTo>
                  <a:cubicBezTo>
                    <a:pt x="-769" y="30456"/>
                    <a:pt x="-769" y="24302"/>
                    <a:pt x="2308" y="21225"/>
                  </a:cubicBezTo>
                  <a:cubicBezTo>
                    <a:pt x="14615" y="5841"/>
                    <a:pt x="51539" y="-12621"/>
                    <a:pt x="88461" y="11995"/>
                  </a:cubicBezTo>
                  <a:cubicBezTo>
                    <a:pt x="91538" y="15071"/>
                    <a:pt x="94616" y="18148"/>
                    <a:pt x="91538" y="24302"/>
                  </a:cubicBezTo>
                  <a:cubicBezTo>
                    <a:pt x="88461" y="27379"/>
                    <a:pt x="85384" y="30456"/>
                    <a:pt x="79231" y="27379"/>
                  </a:cubicBezTo>
                  <a:cubicBezTo>
                    <a:pt x="42307" y="2764"/>
                    <a:pt x="14615" y="33533"/>
                    <a:pt x="11538" y="33533"/>
                  </a:cubicBezTo>
                  <a:cubicBezTo>
                    <a:pt x="11538" y="36610"/>
                    <a:pt x="11538" y="36610"/>
                    <a:pt x="8461" y="36610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B901F2AB-D257-4D46-A1CA-69A0BEC82740}"/>
                </a:ext>
              </a:extLst>
            </p:cNvPr>
            <p:cNvSpPr/>
            <p:nvPr/>
          </p:nvSpPr>
          <p:spPr>
            <a:xfrm>
              <a:off x="11445435" y="8910587"/>
              <a:ext cx="233077" cy="64615"/>
            </a:xfrm>
            <a:custGeom>
              <a:avLst/>
              <a:gdLst>
                <a:gd name="connsiteX0" fmla="*/ 150770 w 233077"/>
                <a:gd name="connsiteY0" fmla="*/ 64616 h 64615"/>
                <a:gd name="connsiteX1" fmla="*/ 3077 w 233077"/>
                <a:gd name="connsiteY1" fmla="*/ 12308 h 64615"/>
                <a:gd name="connsiteX2" fmla="*/ 0 w 233077"/>
                <a:gd name="connsiteY2" fmla="*/ 3077 h 64615"/>
                <a:gd name="connsiteX3" fmla="*/ 9231 w 233077"/>
                <a:gd name="connsiteY3" fmla="*/ 0 h 64615"/>
                <a:gd name="connsiteX4" fmla="*/ 150770 w 233077"/>
                <a:gd name="connsiteY4" fmla="*/ 49231 h 64615"/>
                <a:gd name="connsiteX5" fmla="*/ 150770 w 233077"/>
                <a:gd name="connsiteY5" fmla="*/ 49231 h 64615"/>
                <a:gd name="connsiteX6" fmla="*/ 221539 w 233077"/>
                <a:gd name="connsiteY6" fmla="*/ 24615 h 64615"/>
                <a:gd name="connsiteX7" fmla="*/ 230769 w 233077"/>
                <a:gd name="connsiteY7" fmla="*/ 24615 h 64615"/>
                <a:gd name="connsiteX8" fmla="*/ 230769 w 233077"/>
                <a:gd name="connsiteY8" fmla="*/ 33846 h 64615"/>
                <a:gd name="connsiteX9" fmla="*/ 150770 w 233077"/>
                <a:gd name="connsiteY9" fmla="*/ 64616 h 64615"/>
                <a:gd name="connsiteX10" fmla="*/ 150770 w 233077"/>
                <a:gd name="connsiteY10" fmla="*/ 64616 h 6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077" h="64615">
                  <a:moveTo>
                    <a:pt x="150770" y="64616"/>
                  </a:moveTo>
                  <a:cubicBezTo>
                    <a:pt x="98462" y="64616"/>
                    <a:pt x="9231" y="15385"/>
                    <a:pt x="3077" y="12308"/>
                  </a:cubicBezTo>
                  <a:cubicBezTo>
                    <a:pt x="0" y="9231"/>
                    <a:pt x="0" y="6154"/>
                    <a:pt x="0" y="3077"/>
                  </a:cubicBezTo>
                  <a:cubicBezTo>
                    <a:pt x="3077" y="0"/>
                    <a:pt x="6154" y="0"/>
                    <a:pt x="9231" y="0"/>
                  </a:cubicBezTo>
                  <a:cubicBezTo>
                    <a:pt x="9231" y="0"/>
                    <a:pt x="101539" y="49231"/>
                    <a:pt x="150770" y="49231"/>
                  </a:cubicBezTo>
                  <a:cubicBezTo>
                    <a:pt x="150770" y="49231"/>
                    <a:pt x="150770" y="49231"/>
                    <a:pt x="150770" y="49231"/>
                  </a:cubicBezTo>
                  <a:cubicBezTo>
                    <a:pt x="190770" y="49231"/>
                    <a:pt x="221539" y="24615"/>
                    <a:pt x="221539" y="24615"/>
                  </a:cubicBezTo>
                  <a:cubicBezTo>
                    <a:pt x="224616" y="21539"/>
                    <a:pt x="227693" y="21539"/>
                    <a:pt x="230769" y="24615"/>
                  </a:cubicBezTo>
                  <a:cubicBezTo>
                    <a:pt x="233846" y="27693"/>
                    <a:pt x="233846" y="30769"/>
                    <a:pt x="230769" y="33846"/>
                  </a:cubicBezTo>
                  <a:cubicBezTo>
                    <a:pt x="230769" y="36923"/>
                    <a:pt x="196924" y="61538"/>
                    <a:pt x="150770" y="64616"/>
                  </a:cubicBezTo>
                  <a:cubicBezTo>
                    <a:pt x="153846" y="64616"/>
                    <a:pt x="153846" y="64616"/>
                    <a:pt x="150770" y="64616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29D04E28-C870-4F53-A7E4-0570FFF0E1E9}"/>
                </a:ext>
              </a:extLst>
            </p:cNvPr>
            <p:cNvSpPr/>
            <p:nvPr/>
          </p:nvSpPr>
          <p:spPr>
            <a:xfrm>
              <a:off x="11312808" y="8418279"/>
              <a:ext cx="114165" cy="270769"/>
            </a:xfrm>
            <a:custGeom>
              <a:avLst/>
              <a:gdLst>
                <a:gd name="connsiteX0" fmla="*/ 114165 w 114165"/>
                <a:gd name="connsiteY0" fmla="*/ 129231 h 270769"/>
                <a:gd name="connsiteX1" fmla="*/ 64934 w 114165"/>
                <a:gd name="connsiteY1" fmla="*/ 270769 h 270769"/>
                <a:gd name="connsiteX2" fmla="*/ 6473 w 114165"/>
                <a:gd name="connsiteY2" fmla="*/ 169231 h 270769"/>
                <a:gd name="connsiteX3" fmla="*/ 64934 w 114165"/>
                <a:gd name="connsiteY3" fmla="*/ 0 h 270769"/>
                <a:gd name="connsiteX4" fmla="*/ 114165 w 114165"/>
                <a:gd name="connsiteY4" fmla="*/ 129231 h 27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165" h="270769">
                  <a:moveTo>
                    <a:pt x="114165" y="129231"/>
                  </a:moveTo>
                  <a:cubicBezTo>
                    <a:pt x="114165" y="129231"/>
                    <a:pt x="58780" y="240000"/>
                    <a:pt x="64934" y="270769"/>
                  </a:cubicBezTo>
                  <a:cubicBezTo>
                    <a:pt x="64934" y="270769"/>
                    <a:pt x="21858" y="224615"/>
                    <a:pt x="6473" y="169231"/>
                  </a:cubicBezTo>
                  <a:cubicBezTo>
                    <a:pt x="-8912" y="110769"/>
                    <a:pt x="319" y="15385"/>
                    <a:pt x="64934" y="0"/>
                  </a:cubicBezTo>
                  <a:cubicBezTo>
                    <a:pt x="64934" y="0"/>
                    <a:pt x="74165" y="110769"/>
                    <a:pt x="114165" y="129231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B367DC71-168B-43ED-BB22-54DD66DC8D5A}"/>
                </a:ext>
              </a:extLst>
            </p:cNvPr>
            <p:cNvSpPr/>
            <p:nvPr/>
          </p:nvSpPr>
          <p:spPr>
            <a:xfrm>
              <a:off x="11367704" y="8296554"/>
              <a:ext cx="505424" cy="260217"/>
            </a:xfrm>
            <a:custGeom>
              <a:avLst/>
              <a:gdLst>
                <a:gd name="connsiteX0" fmla="*/ 59270 w 505424"/>
                <a:gd name="connsiteY0" fmla="*/ 250956 h 260217"/>
                <a:gd name="connsiteX1" fmla="*/ 182347 w 505424"/>
                <a:gd name="connsiteY1" fmla="*/ 210956 h 260217"/>
                <a:gd name="connsiteX2" fmla="*/ 505424 w 505424"/>
                <a:gd name="connsiteY2" fmla="*/ 198648 h 260217"/>
                <a:gd name="connsiteX3" fmla="*/ 410039 w 505424"/>
                <a:gd name="connsiteY3" fmla="*/ 137109 h 260217"/>
                <a:gd name="connsiteX4" fmla="*/ 130039 w 505424"/>
                <a:gd name="connsiteY4" fmla="*/ 10956 h 260217"/>
                <a:gd name="connsiteX5" fmla="*/ 10039 w 505424"/>
                <a:gd name="connsiteY5" fmla="*/ 118648 h 260217"/>
                <a:gd name="connsiteX6" fmla="*/ 59270 w 505424"/>
                <a:gd name="connsiteY6" fmla="*/ 250956 h 260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5424" h="260217">
                  <a:moveTo>
                    <a:pt x="59270" y="250956"/>
                  </a:moveTo>
                  <a:cubicBezTo>
                    <a:pt x="59270" y="250956"/>
                    <a:pt x="154654" y="210956"/>
                    <a:pt x="182347" y="210956"/>
                  </a:cubicBezTo>
                  <a:cubicBezTo>
                    <a:pt x="283885" y="214032"/>
                    <a:pt x="413116" y="327879"/>
                    <a:pt x="505424" y="198648"/>
                  </a:cubicBezTo>
                  <a:cubicBezTo>
                    <a:pt x="453116" y="210956"/>
                    <a:pt x="428501" y="161725"/>
                    <a:pt x="410039" y="137109"/>
                  </a:cubicBezTo>
                  <a:cubicBezTo>
                    <a:pt x="366963" y="75571"/>
                    <a:pt x="296193" y="-35198"/>
                    <a:pt x="130039" y="10956"/>
                  </a:cubicBezTo>
                  <a:cubicBezTo>
                    <a:pt x="50039" y="32494"/>
                    <a:pt x="16193" y="81725"/>
                    <a:pt x="10039" y="118648"/>
                  </a:cubicBezTo>
                  <a:cubicBezTo>
                    <a:pt x="10039" y="121725"/>
                    <a:pt x="-33037" y="238648"/>
                    <a:pt x="59270" y="250956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4ADBBDA0-DBA7-4FFB-BF83-3EE7615BFE9E}"/>
                </a:ext>
              </a:extLst>
            </p:cNvPr>
            <p:cNvSpPr/>
            <p:nvPr/>
          </p:nvSpPr>
          <p:spPr>
            <a:xfrm>
              <a:off x="11312067" y="8658087"/>
              <a:ext cx="79351" cy="111522"/>
            </a:xfrm>
            <a:custGeom>
              <a:avLst/>
              <a:gdLst>
                <a:gd name="connsiteX0" fmla="*/ 65676 w 79351"/>
                <a:gd name="connsiteY0" fmla="*/ 15577 h 111522"/>
                <a:gd name="connsiteX1" fmla="*/ 7215 w 79351"/>
                <a:gd name="connsiteY1" fmla="*/ 6346 h 111522"/>
                <a:gd name="connsiteX2" fmla="*/ 65676 w 79351"/>
                <a:gd name="connsiteY2" fmla="*/ 107885 h 111522"/>
                <a:gd name="connsiteX3" fmla="*/ 65676 w 79351"/>
                <a:gd name="connsiteY3" fmla="*/ 15577 h 111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351" h="111522">
                  <a:moveTo>
                    <a:pt x="65676" y="15577"/>
                  </a:moveTo>
                  <a:cubicBezTo>
                    <a:pt x="65676" y="15577"/>
                    <a:pt x="31830" y="-12115"/>
                    <a:pt x="7215" y="6346"/>
                  </a:cubicBezTo>
                  <a:cubicBezTo>
                    <a:pt x="-17401" y="24808"/>
                    <a:pt x="25675" y="132500"/>
                    <a:pt x="65676" y="107885"/>
                  </a:cubicBezTo>
                  <a:cubicBezTo>
                    <a:pt x="96445" y="89423"/>
                    <a:pt x="65676" y="15577"/>
                    <a:pt x="65676" y="15577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2DC3F090-0DD2-4D25-9393-9F05634A3D48}"/>
                </a:ext>
              </a:extLst>
            </p:cNvPr>
            <p:cNvSpPr/>
            <p:nvPr/>
          </p:nvSpPr>
          <p:spPr>
            <a:xfrm>
              <a:off x="11359861" y="8435466"/>
              <a:ext cx="73265" cy="244351"/>
            </a:xfrm>
            <a:custGeom>
              <a:avLst/>
              <a:gdLst>
                <a:gd name="connsiteX0" fmla="*/ 17881 w 73265"/>
                <a:gd name="connsiteY0" fmla="*/ 244351 h 244351"/>
                <a:gd name="connsiteX1" fmla="*/ 17881 w 73265"/>
                <a:gd name="connsiteY1" fmla="*/ 244351 h 244351"/>
                <a:gd name="connsiteX2" fmla="*/ 11727 w 73265"/>
                <a:gd name="connsiteY2" fmla="*/ 238198 h 244351"/>
                <a:gd name="connsiteX3" fmla="*/ 57881 w 73265"/>
                <a:gd name="connsiteY3" fmla="*/ 115121 h 244351"/>
                <a:gd name="connsiteX4" fmla="*/ 8650 w 73265"/>
                <a:gd name="connsiteY4" fmla="*/ 72044 h 244351"/>
                <a:gd name="connsiteX5" fmla="*/ 5574 w 73265"/>
                <a:gd name="connsiteY5" fmla="*/ 4352 h 244351"/>
                <a:gd name="connsiteX6" fmla="*/ 11727 w 73265"/>
                <a:gd name="connsiteY6" fmla="*/ 1275 h 244351"/>
                <a:gd name="connsiteX7" fmla="*/ 14804 w 73265"/>
                <a:gd name="connsiteY7" fmla="*/ 7428 h 244351"/>
                <a:gd name="connsiteX8" fmla="*/ 14804 w 73265"/>
                <a:gd name="connsiteY8" fmla="*/ 65890 h 244351"/>
                <a:gd name="connsiteX9" fmla="*/ 64035 w 73265"/>
                <a:gd name="connsiteY9" fmla="*/ 105890 h 244351"/>
                <a:gd name="connsiteX10" fmla="*/ 73266 w 73265"/>
                <a:gd name="connsiteY10" fmla="*/ 108967 h 244351"/>
                <a:gd name="connsiteX11" fmla="*/ 67112 w 73265"/>
                <a:gd name="connsiteY11" fmla="*/ 115121 h 244351"/>
                <a:gd name="connsiteX12" fmla="*/ 20959 w 73265"/>
                <a:gd name="connsiteY12" fmla="*/ 238198 h 244351"/>
                <a:gd name="connsiteX13" fmla="*/ 17881 w 73265"/>
                <a:gd name="connsiteY13" fmla="*/ 244351 h 244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265" h="244351">
                  <a:moveTo>
                    <a:pt x="17881" y="244351"/>
                  </a:moveTo>
                  <a:lnTo>
                    <a:pt x="17881" y="244351"/>
                  </a:lnTo>
                  <a:cubicBezTo>
                    <a:pt x="14804" y="244351"/>
                    <a:pt x="11727" y="241275"/>
                    <a:pt x="11727" y="238198"/>
                  </a:cubicBezTo>
                  <a:cubicBezTo>
                    <a:pt x="14804" y="185890"/>
                    <a:pt x="45574" y="133582"/>
                    <a:pt x="57881" y="115121"/>
                  </a:cubicBezTo>
                  <a:cubicBezTo>
                    <a:pt x="45574" y="108967"/>
                    <a:pt x="20959" y="96659"/>
                    <a:pt x="8650" y="72044"/>
                  </a:cubicBezTo>
                  <a:cubicBezTo>
                    <a:pt x="-580" y="53582"/>
                    <a:pt x="-3657" y="28967"/>
                    <a:pt x="5574" y="4352"/>
                  </a:cubicBezTo>
                  <a:cubicBezTo>
                    <a:pt x="5574" y="1275"/>
                    <a:pt x="8650" y="-1803"/>
                    <a:pt x="11727" y="1275"/>
                  </a:cubicBezTo>
                  <a:cubicBezTo>
                    <a:pt x="14804" y="1275"/>
                    <a:pt x="17881" y="4352"/>
                    <a:pt x="14804" y="7428"/>
                  </a:cubicBezTo>
                  <a:cubicBezTo>
                    <a:pt x="8650" y="28967"/>
                    <a:pt x="8650" y="47428"/>
                    <a:pt x="14804" y="65890"/>
                  </a:cubicBezTo>
                  <a:cubicBezTo>
                    <a:pt x="30189" y="93582"/>
                    <a:pt x="64035" y="105890"/>
                    <a:pt x="64035" y="105890"/>
                  </a:cubicBezTo>
                  <a:lnTo>
                    <a:pt x="73266" y="108967"/>
                  </a:lnTo>
                  <a:lnTo>
                    <a:pt x="67112" y="115121"/>
                  </a:lnTo>
                  <a:cubicBezTo>
                    <a:pt x="67112" y="115121"/>
                    <a:pt x="24035" y="176659"/>
                    <a:pt x="20959" y="238198"/>
                  </a:cubicBezTo>
                  <a:cubicBezTo>
                    <a:pt x="24035" y="241275"/>
                    <a:pt x="20959" y="244351"/>
                    <a:pt x="17881" y="244351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1766C2FF-1FE5-4753-97C6-0C95FEC2E8FA}"/>
                </a:ext>
              </a:extLst>
            </p:cNvPr>
            <p:cNvSpPr/>
            <p:nvPr/>
          </p:nvSpPr>
          <p:spPr>
            <a:xfrm>
              <a:off x="11026974" y="9027510"/>
              <a:ext cx="1080824" cy="1581352"/>
            </a:xfrm>
            <a:custGeom>
              <a:avLst/>
              <a:gdLst>
                <a:gd name="connsiteX0" fmla="*/ 400000 w 1080824"/>
                <a:gd name="connsiteY0" fmla="*/ 0 h 1581352"/>
                <a:gd name="connsiteX1" fmla="*/ 692308 w 1080824"/>
                <a:gd name="connsiteY1" fmla="*/ 0 h 1581352"/>
                <a:gd name="connsiteX2" fmla="*/ 993846 w 1080824"/>
                <a:gd name="connsiteY2" fmla="*/ 132308 h 1581352"/>
                <a:gd name="connsiteX3" fmla="*/ 1079999 w 1080824"/>
                <a:gd name="connsiteY3" fmla="*/ 1550770 h 1581352"/>
                <a:gd name="connsiteX4" fmla="*/ 0 w 1080824"/>
                <a:gd name="connsiteY4" fmla="*/ 1526154 h 1581352"/>
                <a:gd name="connsiteX5" fmla="*/ 116923 w 1080824"/>
                <a:gd name="connsiteY5" fmla="*/ 104616 h 1581352"/>
                <a:gd name="connsiteX6" fmla="*/ 400000 w 1080824"/>
                <a:gd name="connsiteY6" fmla="*/ 0 h 1581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0824" h="1581352">
                  <a:moveTo>
                    <a:pt x="400000" y="0"/>
                  </a:moveTo>
                  <a:cubicBezTo>
                    <a:pt x="400000" y="0"/>
                    <a:pt x="575384" y="55385"/>
                    <a:pt x="692308" y="0"/>
                  </a:cubicBezTo>
                  <a:cubicBezTo>
                    <a:pt x="692308" y="0"/>
                    <a:pt x="969231" y="98461"/>
                    <a:pt x="993846" y="132308"/>
                  </a:cubicBezTo>
                  <a:cubicBezTo>
                    <a:pt x="1018461" y="163077"/>
                    <a:pt x="1089231" y="1483077"/>
                    <a:pt x="1079999" y="1550770"/>
                  </a:cubicBezTo>
                  <a:cubicBezTo>
                    <a:pt x="1079999" y="1550770"/>
                    <a:pt x="584615" y="1633846"/>
                    <a:pt x="0" y="1526154"/>
                  </a:cubicBezTo>
                  <a:cubicBezTo>
                    <a:pt x="0" y="1166154"/>
                    <a:pt x="73846" y="135385"/>
                    <a:pt x="116923" y="104616"/>
                  </a:cubicBezTo>
                  <a:cubicBezTo>
                    <a:pt x="159999" y="73846"/>
                    <a:pt x="400000" y="0"/>
                    <a:pt x="400000" y="0"/>
                  </a:cubicBezTo>
                  <a:close/>
                </a:path>
              </a:pathLst>
            </a:custGeom>
            <a:solidFill>
              <a:srgbClr val="F1DDBA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0BAA2D2D-9AF5-4DE3-85C4-A2B1523CD31A}"/>
                </a:ext>
              </a:extLst>
            </p:cNvPr>
            <p:cNvSpPr/>
            <p:nvPr/>
          </p:nvSpPr>
          <p:spPr>
            <a:xfrm>
              <a:off x="11423897" y="9030287"/>
              <a:ext cx="181538" cy="120299"/>
            </a:xfrm>
            <a:custGeom>
              <a:avLst/>
              <a:gdLst>
                <a:gd name="connsiteX0" fmla="*/ 181538 w 181538"/>
                <a:gd name="connsiteY0" fmla="*/ 21838 h 120299"/>
                <a:gd name="connsiteX1" fmla="*/ 153846 w 181538"/>
                <a:gd name="connsiteY1" fmla="*/ 120300 h 120299"/>
                <a:gd name="connsiteX2" fmla="*/ 0 w 181538"/>
                <a:gd name="connsiteY2" fmla="*/ 300 h 120299"/>
                <a:gd name="connsiteX3" fmla="*/ 181538 w 181538"/>
                <a:gd name="connsiteY3" fmla="*/ 21838 h 120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538" h="120299">
                  <a:moveTo>
                    <a:pt x="181538" y="21838"/>
                  </a:moveTo>
                  <a:lnTo>
                    <a:pt x="153846" y="120300"/>
                  </a:lnTo>
                  <a:lnTo>
                    <a:pt x="0" y="300"/>
                  </a:lnTo>
                  <a:cubicBezTo>
                    <a:pt x="3077" y="-2777"/>
                    <a:pt x="141539" y="18761"/>
                    <a:pt x="181538" y="21838"/>
                  </a:cubicBezTo>
                  <a:close/>
                </a:path>
              </a:pathLst>
            </a:custGeom>
            <a:solidFill>
              <a:srgbClr val="FFFFFF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04F2C4A6-E4E2-4C77-9B13-2BF50A4779EE}"/>
                </a:ext>
              </a:extLst>
            </p:cNvPr>
            <p:cNvSpPr/>
            <p:nvPr/>
          </p:nvSpPr>
          <p:spPr>
            <a:xfrm>
              <a:off x="11605435" y="9030321"/>
              <a:ext cx="110866" cy="117189"/>
            </a:xfrm>
            <a:custGeom>
              <a:avLst/>
              <a:gdLst>
                <a:gd name="connsiteX0" fmla="*/ 0 w 110866"/>
                <a:gd name="connsiteY0" fmla="*/ 21805 h 117189"/>
                <a:gd name="connsiteX1" fmla="*/ 36923 w 110866"/>
                <a:gd name="connsiteY1" fmla="*/ 117189 h 117189"/>
                <a:gd name="connsiteX2" fmla="*/ 110769 w 110866"/>
                <a:gd name="connsiteY2" fmla="*/ 266 h 117189"/>
                <a:gd name="connsiteX3" fmla="*/ 0 w 110866"/>
                <a:gd name="connsiteY3" fmla="*/ 21805 h 11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866" h="117189">
                  <a:moveTo>
                    <a:pt x="0" y="21805"/>
                  </a:moveTo>
                  <a:lnTo>
                    <a:pt x="36923" y="117189"/>
                  </a:lnTo>
                  <a:lnTo>
                    <a:pt x="110769" y="266"/>
                  </a:lnTo>
                  <a:cubicBezTo>
                    <a:pt x="113847" y="-2811"/>
                    <a:pt x="43077" y="21805"/>
                    <a:pt x="0" y="21805"/>
                  </a:cubicBezTo>
                  <a:close/>
                </a:path>
              </a:pathLst>
            </a:custGeom>
            <a:solidFill>
              <a:srgbClr val="FFFFFF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1DE91ED7-0569-4546-B264-F38AC66ADBCA}"/>
                </a:ext>
              </a:extLst>
            </p:cNvPr>
            <p:cNvSpPr/>
            <p:nvPr/>
          </p:nvSpPr>
          <p:spPr>
            <a:xfrm>
              <a:off x="11861444" y="9118239"/>
              <a:ext cx="454759" cy="616963"/>
            </a:xfrm>
            <a:custGeom>
              <a:avLst/>
              <a:gdLst>
                <a:gd name="connsiteX0" fmla="*/ 63990 w 454759"/>
                <a:gd name="connsiteY0" fmla="*/ 616963 h 616963"/>
                <a:gd name="connsiteX1" fmla="*/ 51683 w 454759"/>
                <a:gd name="connsiteY1" fmla="*/ 10810 h 616963"/>
                <a:gd name="connsiteX2" fmla="*/ 454760 w 454759"/>
                <a:gd name="connsiteY2" fmla="*/ 447733 h 616963"/>
                <a:gd name="connsiteX3" fmla="*/ 63990 w 454759"/>
                <a:gd name="connsiteY3" fmla="*/ 616963 h 616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4759" h="616963">
                  <a:moveTo>
                    <a:pt x="63990" y="616963"/>
                  </a:moveTo>
                  <a:cubicBezTo>
                    <a:pt x="63990" y="616963"/>
                    <a:pt x="-71394" y="90810"/>
                    <a:pt x="51683" y="10810"/>
                  </a:cubicBezTo>
                  <a:cubicBezTo>
                    <a:pt x="196299" y="-81498"/>
                    <a:pt x="454760" y="447733"/>
                    <a:pt x="454760" y="447733"/>
                  </a:cubicBezTo>
                  <a:cubicBezTo>
                    <a:pt x="454760" y="447733"/>
                    <a:pt x="279375" y="598502"/>
                    <a:pt x="63990" y="616963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41072E4A-1FCF-4573-B8E0-CBD4BDC74F2B}"/>
                </a:ext>
              </a:extLst>
            </p:cNvPr>
            <p:cNvSpPr/>
            <p:nvPr/>
          </p:nvSpPr>
          <p:spPr>
            <a:xfrm>
              <a:off x="10965435" y="11810851"/>
              <a:ext cx="253581" cy="905889"/>
            </a:xfrm>
            <a:custGeom>
              <a:avLst/>
              <a:gdLst>
                <a:gd name="connsiteX0" fmla="*/ 6153 w 253581"/>
                <a:gd name="connsiteY0" fmla="*/ 905890 h 905889"/>
                <a:gd name="connsiteX1" fmla="*/ 6153 w 253581"/>
                <a:gd name="connsiteY1" fmla="*/ 905890 h 905889"/>
                <a:gd name="connsiteX2" fmla="*/ 0 w 253581"/>
                <a:gd name="connsiteY2" fmla="*/ 899736 h 905889"/>
                <a:gd name="connsiteX3" fmla="*/ 200000 w 253581"/>
                <a:gd name="connsiteY3" fmla="*/ 185890 h 905889"/>
                <a:gd name="connsiteX4" fmla="*/ 243077 w 253581"/>
                <a:gd name="connsiteY4" fmla="*/ 4351 h 905889"/>
                <a:gd name="connsiteX5" fmla="*/ 249230 w 253581"/>
                <a:gd name="connsiteY5" fmla="*/ 1275 h 905889"/>
                <a:gd name="connsiteX6" fmla="*/ 252307 w 253581"/>
                <a:gd name="connsiteY6" fmla="*/ 7428 h 905889"/>
                <a:gd name="connsiteX7" fmla="*/ 209230 w 253581"/>
                <a:gd name="connsiteY7" fmla="*/ 188966 h 905889"/>
                <a:gd name="connsiteX8" fmla="*/ 9230 w 253581"/>
                <a:gd name="connsiteY8" fmla="*/ 902813 h 905889"/>
                <a:gd name="connsiteX9" fmla="*/ 6153 w 253581"/>
                <a:gd name="connsiteY9" fmla="*/ 905890 h 905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3581" h="905889">
                  <a:moveTo>
                    <a:pt x="6153" y="905890"/>
                  </a:moveTo>
                  <a:cubicBezTo>
                    <a:pt x="3076" y="905890"/>
                    <a:pt x="3076" y="905890"/>
                    <a:pt x="6153" y="905890"/>
                  </a:cubicBezTo>
                  <a:cubicBezTo>
                    <a:pt x="3076" y="905890"/>
                    <a:pt x="0" y="902813"/>
                    <a:pt x="0" y="899736"/>
                  </a:cubicBezTo>
                  <a:lnTo>
                    <a:pt x="200000" y="185890"/>
                  </a:lnTo>
                  <a:lnTo>
                    <a:pt x="243077" y="4351"/>
                  </a:lnTo>
                  <a:cubicBezTo>
                    <a:pt x="243077" y="1275"/>
                    <a:pt x="246154" y="-1803"/>
                    <a:pt x="249230" y="1275"/>
                  </a:cubicBezTo>
                  <a:cubicBezTo>
                    <a:pt x="252307" y="1275"/>
                    <a:pt x="255384" y="4351"/>
                    <a:pt x="252307" y="7428"/>
                  </a:cubicBezTo>
                  <a:lnTo>
                    <a:pt x="209230" y="188966"/>
                  </a:lnTo>
                  <a:lnTo>
                    <a:pt x="9230" y="902813"/>
                  </a:lnTo>
                  <a:cubicBezTo>
                    <a:pt x="9230" y="905890"/>
                    <a:pt x="6153" y="905890"/>
                    <a:pt x="6153" y="905890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BEF858DD-D5A1-41BB-ACC5-9FB6043D1111}"/>
                </a:ext>
              </a:extLst>
            </p:cNvPr>
            <p:cNvGrpSpPr/>
            <p:nvPr/>
          </p:nvGrpSpPr>
          <p:grpSpPr>
            <a:xfrm>
              <a:off x="12798050" y="9693971"/>
              <a:ext cx="953230" cy="980922"/>
              <a:chOff x="12798050" y="9693971"/>
              <a:chExt cx="953230" cy="980922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874D7BB5-8585-431A-8525-8464640CE32A}"/>
                  </a:ext>
                </a:extLst>
              </p:cNvPr>
              <p:cNvSpPr/>
              <p:nvPr/>
            </p:nvSpPr>
            <p:spPr>
              <a:xfrm>
                <a:off x="12798050" y="9693971"/>
                <a:ext cx="953230" cy="980922"/>
              </a:xfrm>
              <a:custGeom>
                <a:avLst/>
                <a:gdLst>
                  <a:gd name="connsiteX0" fmla="*/ 16615 w 953230"/>
                  <a:gd name="connsiteY0" fmla="*/ 641231 h 980922"/>
                  <a:gd name="connsiteX1" fmla="*/ 462769 w 953230"/>
                  <a:gd name="connsiteY1" fmla="*/ 973538 h 980922"/>
                  <a:gd name="connsiteX2" fmla="*/ 521231 w 953230"/>
                  <a:gd name="connsiteY2" fmla="*/ 964308 h 980922"/>
                  <a:gd name="connsiteX3" fmla="*/ 945846 w 953230"/>
                  <a:gd name="connsiteY3" fmla="*/ 398154 h 980922"/>
                  <a:gd name="connsiteX4" fmla="*/ 936616 w 953230"/>
                  <a:gd name="connsiteY4" fmla="*/ 339692 h 980922"/>
                  <a:gd name="connsiteX5" fmla="*/ 490462 w 953230"/>
                  <a:gd name="connsiteY5" fmla="*/ 7385 h 980922"/>
                  <a:gd name="connsiteX6" fmla="*/ 431999 w 953230"/>
                  <a:gd name="connsiteY6" fmla="*/ 16615 h 980922"/>
                  <a:gd name="connsiteX7" fmla="*/ 7384 w 953230"/>
                  <a:gd name="connsiteY7" fmla="*/ 582769 h 980922"/>
                  <a:gd name="connsiteX8" fmla="*/ 16615 w 953230"/>
                  <a:gd name="connsiteY8" fmla="*/ 641231 h 980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3230" h="980922">
                    <a:moveTo>
                      <a:pt x="16615" y="641231"/>
                    </a:moveTo>
                    <a:lnTo>
                      <a:pt x="462769" y="973538"/>
                    </a:lnTo>
                    <a:cubicBezTo>
                      <a:pt x="481230" y="985846"/>
                      <a:pt x="505846" y="982769"/>
                      <a:pt x="521231" y="964308"/>
                    </a:cubicBezTo>
                    <a:lnTo>
                      <a:pt x="945846" y="398154"/>
                    </a:lnTo>
                    <a:cubicBezTo>
                      <a:pt x="958154" y="379692"/>
                      <a:pt x="955076" y="355077"/>
                      <a:pt x="936616" y="339692"/>
                    </a:cubicBezTo>
                    <a:lnTo>
                      <a:pt x="490462" y="7385"/>
                    </a:lnTo>
                    <a:cubicBezTo>
                      <a:pt x="472000" y="-4923"/>
                      <a:pt x="447384" y="-1846"/>
                      <a:pt x="431999" y="16615"/>
                    </a:cubicBezTo>
                    <a:lnTo>
                      <a:pt x="7384" y="582769"/>
                    </a:lnTo>
                    <a:cubicBezTo>
                      <a:pt x="-4923" y="601231"/>
                      <a:pt x="-1846" y="625847"/>
                      <a:pt x="16615" y="641231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90F44085-302A-460C-BE91-328D9A136214}"/>
                  </a:ext>
                </a:extLst>
              </p:cNvPr>
              <p:cNvSpPr/>
              <p:nvPr/>
            </p:nvSpPr>
            <p:spPr>
              <a:xfrm>
                <a:off x="13394062" y="9750656"/>
                <a:ext cx="235052" cy="232841"/>
              </a:xfrm>
              <a:custGeom>
                <a:avLst/>
                <a:gdLst>
                  <a:gd name="connsiteX0" fmla="*/ 23680 w 235052"/>
                  <a:gd name="connsiteY0" fmla="*/ 46084 h 232841"/>
                  <a:gd name="connsiteX1" fmla="*/ 48296 w 235052"/>
                  <a:gd name="connsiteY1" fmla="*/ 209161 h 232841"/>
                  <a:gd name="connsiteX2" fmla="*/ 211372 w 235052"/>
                  <a:gd name="connsiteY2" fmla="*/ 184546 h 232841"/>
                  <a:gd name="connsiteX3" fmla="*/ 186757 w 235052"/>
                  <a:gd name="connsiteY3" fmla="*/ 21469 h 232841"/>
                  <a:gd name="connsiteX4" fmla="*/ 23680 w 235052"/>
                  <a:gd name="connsiteY4" fmla="*/ 46084 h 232841"/>
                  <a:gd name="connsiteX5" fmla="*/ 60603 w 235052"/>
                  <a:gd name="connsiteY5" fmla="*/ 73777 h 232841"/>
                  <a:gd name="connsiteX6" fmla="*/ 159064 w 235052"/>
                  <a:gd name="connsiteY6" fmla="*/ 58392 h 232841"/>
                  <a:gd name="connsiteX7" fmla="*/ 174449 w 235052"/>
                  <a:gd name="connsiteY7" fmla="*/ 156853 h 232841"/>
                  <a:gd name="connsiteX8" fmla="*/ 75988 w 235052"/>
                  <a:gd name="connsiteY8" fmla="*/ 172238 h 232841"/>
                  <a:gd name="connsiteX9" fmla="*/ 60603 w 235052"/>
                  <a:gd name="connsiteY9" fmla="*/ 73777 h 23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5052" h="232841">
                    <a:moveTo>
                      <a:pt x="23680" y="46084"/>
                    </a:moveTo>
                    <a:cubicBezTo>
                      <a:pt x="-16320" y="98392"/>
                      <a:pt x="-4012" y="169161"/>
                      <a:pt x="48296" y="209161"/>
                    </a:cubicBezTo>
                    <a:cubicBezTo>
                      <a:pt x="100603" y="249161"/>
                      <a:pt x="171373" y="236853"/>
                      <a:pt x="211372" y="184546"/>
                    </a:cubicBezTo>
                    <a:cubicBezTo>
                      <a:pt x="251372" y="132238"/>
                      <a:pt x="239065" y="61469"/>
                      <a:pt x="186757" y="21469"/>
                    </a:cubicBezTo>
                    <a:cubicBezTo>
                      <a:pt x="134449" y="-15454"/>
                      <a:pt x="63681" y="-3146"/>
                      <a:pt x="23680" y="46084"/>
                    </a:cubicBezTo>
                    <a:close/>
                    <a:moveTo>
                      <a:pt x="60603" y="73777"/>
                    </a:moveTo>
                    <a:cubicBezTo>
                      <a:pt x="85218" y="43007"/>
                      <a:pt x="128295" y="36853"/>
                      <a:pt x="159064" y="58392"/>
                    </a:cubicBezTo>
                    <a:cubicBezTo>
                      <a:pt x="189834" y="83007"/>
                      <a:pt x="195988" y="126084"/>
                      <a:pt x="174449" y="156853"/>
                    </a:cubicBezTo>
                    <a:cubicBezTo>
                      <a:pt x="149834" y="187623"/>
                      <a:pt x="106757" y="193776"/>
                      <a:pt x="75988" y="172238"/>
                    </a:cubicBezTo>
                    <a:cubicBezTo>
                      <a:pt x="42142" y="150700"/>
                      <a:pt x="35987" y="104546"/>
                      <a:pt x="60603" y="73777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2A7EF0F3-886B-406C-8591-4C4555846A0C}"/>
                  </a:ext>
                </a:extLst>
              </p:cNvPr>
              <p:cNvSpPr/>
              <p:nvPr/>
            </p:nvSpPr>
            <p:spPr>
              <a:xfrm rot="-8589043">
                <a:off x="13013301" y="9861747"/>
                <a:ext cx="523066" cy="646140"/>
              </a:xfrm>
              <a:custGeom>
                <a:avLst/>
                <a:gdLst>
                  <a:gd name="connsiteX0" fmla="*/ 0 w 523066"/>
                  <a:gd name="connsiteY0" fmla="*/ 0 h 646140"/>
                  <a:gd name="connsiteX1" fmla="*/ 523067 w 523066"/>
                  <a:gd name="connsiteY1" fmla="*/ 0 h 646140"/>
                  <a:gd name="connsiteX2" fmla="*/ 523067 w 523066"/>
                  <a:gd name="connsiteY2" fmla="*/ 646141 h 646140"/>
                  <a:gd name="connsiteX3" fmla="*/ 0 w 523066"/>
                  <a:gd name="connsiteY3" fmla="*/ 646141 h 646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3066" h="646140">
                    <a:moveTo>
                      <a:pt x="0" y="0"/>
                    </a:moveTo>
                    <a:lnTo>
                      <a:pt x="523067" y="0"/>
                    </a:lnTo>
                    <a:lnTo>
                      <a:pt x="523067" y="646141"/>
                    </a:lnTo>
                    <a:lnTo>
                      <a:pt x="0" y="646141"/>
                    </a:lnTo>
                    <a:close/>
                  </a:path>
                </a:pathLst>
              </a:custGeom>
              <a:solidFill>
                <a:srgbClr val="F6EBEB"/>
              </a:solidFill>
              <a:ln w="307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9B1AF902-DE38-415E-91F8-FA061EF5BDCF}"/>
                  </a:ext>
                </a:extLst>
              </p:cNvPr>
              <p:cNvSpPr/>
              <p:nvPr/>
            </p:nvSpPr>
            <p:spPr>
              <a:xfrm>
                <a:off x="13261588" y="9868279"/>
                <a:ext cx="321538" cy="242307"/>
              </a:xfrm>
              <a:custGeom>
                <a:avLst/>
                <a:gdLst>
                  <a:gd name="connsiteX0" fmla="*/ 313077 w 321538"/>
                  <a:gd name="connsiteY0" fmla="*/ 242307 h 242307"/>
                  <a:gd name="connsiteX1" fmla="*/ 310000 w 321538"/>
                  <a:gd name="connsiteY1" fmla="*/ 242307 h 242307"/>
                  <a:gd name="connsiteX2" fmla="*/ 2308 w 321538"/>
                  <a:gd name="connsiteY2" fmla="*/ 11538 h 242307"/>
                  <a:gd name="connsiteX3" fmla="*/ 2308 w 321538"/>
                  <a:gd name="connsiteY3" fmla="*/ 2308 h 242307"/>
                  <a:gd name="connsiteX4" fmla="*/ 11539 w 321538"/>
                  <a:gd name="connsiteY4" fmla="*/ 2308 h 242307"/>
                  <a:gd name="connsiteX5" fmla="*/ 319231 w 321538"/>
                  <a:gd name="connsiteY5" fmla="*/ 233077 h 242307"/>
                  <a:gd name="connsiteX6" fmla="*/ 319231 w 321538"/>
                  <a:gd name="connsiteY6" fmla="*/ 242307 h 242307"/>
                  <a:gd name="connsiteX7" fmla="*/ 313077 w 321538"/>
                  <a:gd name="connsiteY7" fmla="*/ 242307 h 2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1538" h="242307">
                    <a:moveTo>
                      <a:pt x="313077" y="242307"/>
                    </a:moveTo>
                    <a:cubicBezTo>
                      <a:pt x="313077" y="242307"/>
                      <a:pt x="310000" y="242307"/>
                      <a:pt x="310000" y="242307"/>
                    </a:cubicBezTo>
                    <a:lnTo>
                      <a:pt x="2308" y="11538"/>
                    </a:lnTo>
                    <a:cubicBezTo>
                      <a:pt x="-769" y="8462"/>
                      <a:pt x="-769" y="5384"/>
                      <a:pt x="2308" y="2308"/>
                    </a:cubicBezTo>
                    <a:cubicBezTo>
                      <a:pt x="5385" y="-769"/>
                      <a:pt x="8462" y="-769"/>
                      <a:pt x="11539" y="2308"/>
                    </a:cubicBezTo>
                    <a:lnTo>
                      <a:pt x="319231" y="233077"/>
                    </a:lnTo>
                    <a:cubicBezTo>
                      <a:pt x="322308" y="236154"/>
                      <a:pt x="322308" y="239231"/>
                      <a:pt x="319231" y="242307"/>
                    </a:cubicBezTo>
                    <a:cubicBezTo>
                      <a:pt x="316154" y="239231"/>
                      <a:pt x="313077" y="242307"/>
                      <a:pt x="313077" y="2423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C3D08F9B-72CB-4525-B441-1A3401BD2D59}"/>
                  </a:ext>
                </a:extLst>
              </p:cNvPr>
              <p:cNvSpPr/>
              <p:nvPr/>
            </p:nvSpPr>
            <p:spPr>
              <a:xfrm>
                <a:off x="13209281" y="9935971"/>
                <a:ext cx="321538" cy="242307"/>
              </a:xfrm>
              <a:custGeom>
                <a:avLst/>
                <a:gdLst>
                  <a:gd name="connsiteX0" fmla="*/ 313076 w 321538"/>
                  <a:gd name="connsiteY0" fmla="*/ 242308 h 242307"/>
                  <a:gd name="connsiteX1" fmla="*/ 310000 w 321538"/>
                  <a:gd name="connsiteY1" fmla="*/ 242308 h 242307"/>
                  <a:gd name="connsiteX2" fmla="*/ 2308 w 321538"/>
                  <a:gd name="connsiteY2" fmla="*/ 11539 h 242307"/>
                  <a:gd name="connsiteX3" fmla="*/ 2308 w 321538"/>
                  <a:gd name="connsiteY3" fmla="*/ 2308 h 242307"/>
                  <a:gd name="connsiteX4" fmla="*/ 11538 w 321538"/>
                  <a:gd name="connsiteY4" fmla="*/ 2308 h 242307"/>
                  <a:gd name="connsiteX5" fmla="*/ 319231 w 321538"/>
                  <a:gd name="connsiteY5" fmla="*/ 233077 h 242307"/>
                  <a:gd name="connsiteX6" fmla="*/ 319231 w 321538"/>
                  <a:gd name="connsiteY6" fmla="*/ 242308 h 242307"/>
                  <a:gd name="connsiteX7" fmla="*/ 313076 w 321538"/>
                  <a:gd name="connsiteY7" fmla="*/ 242308 h 2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1538" h="242307">
                    <a:moveTo>
                      <a:pt x="313076" y="242308"/>
                    </a:moveTo>
                    <a:cubicBezTo>
                      <a:pt x="313076" y="242308"/>
                      <a:pt x="310000" y="242308"/>
                      <a:pt x="310000" y="242308"/>
                    </a:cubicBezTo>
                    <a:lnTo>
                      <a:pt x="2308" y="11539"/>
                    </a:lnTo>
                    <a:cubicBezTo>
                      <a:pt x="-769" y="8462"/>
                      <a:pt x="-769" y="5384"/>
                      <a:pt x="2308" y="2308"/>
                    </a:cubicBezTo>
                    <a:cubicBezTo>
                      <a:pt x="5384" y="-769"/>
                      <a:pt x="8461" y="-769"/>
                      <a:pt x="11538" y="2308"/>
                    </a:cubicBezTo>
                    <a:lnTo>
                      <a:pt x="319231" y="233077"/>
                    </a:lnTo>
                    <a:cubicBezTo>
                      <a:pt x="322308" y="236154"/>
                      <a:pt x="322308" y="239231"/>
                      <a:pt x="319231" y="242308"/>
                    </a:cubicBezTo>
                    <a:cubicBezTo>
                      <a:pt x="316153" y="239231"/>
                      <a:pt x="316153" y="242308"/>
                      <a:pt x="313076" y="2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819ADA4D-A660-4F30-9138-673965C12319}"/>
                  </a:ext>
                </a:extLst>
              </p:cNvPr>
              <p:cNvSpPr/>
              <p:nvPr/>
            </p:nvSpPr>
            <p:spPr>
              <a:xfrm>
                <a:off x="13160050" y="10000587"/>
                <a:ext cx="321538" cy="242308"/>
              </a:xfrm>
              <a:custGeom>
                <a:avLst/>
                <a:gdLst>
                  <a:gd name="connsiteX0" fmla="*/ 313077 w 321538"/>
                  <a:gd name="connsiteY0" fmla="*/ 242308 h 242308"/>
                  <a:gd name="connsiteX1" fmla="*/ 310000 w 321538"/>
                  <a:gd name="connsiteY1" fmla="*/ 242308 h 242308"/>
                  <a:gd name="connsiteX2" fmla="*/ 2308 w 321538"/>
                  <a:gd name="connsiteY2" fmla="*/ 11538 h 242308"/>
                  <a:gd name="connsiteX3" fmla="*/ 2308 w 321538"/>
                  <a:gd name="connsiteY3" fmla="*/ 2307 h 242308"/>
                  <a:gd name="connsiteX4" fmla="*/ 11538 w 321538"/>
                  <a:gd name="connsiteY4" fmla="*/ 2307 h 242308"/>
                  <a:gd name="connsiteX5" fmla="*/ 319231 w 321538"/>
                  <a:gd name="connsiteY5" fmla="*/ 233077 h 242308"/>
                  <a:gd name="connsiteX6" fmla="*/ 319231 w 321538"/>
                  <a:gd name="connsiteY6" fmla="*/ 242308 h 242308"/>
                  <a:gd name="connsiteX7" fmla="*/ 313077 w 321538"/>
                  <a:gd name="connsiteY7" fmla="*/ 242308 h 242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1538" h="242308">
                    <a:moveTo>
                      <a:pt x="313077" y="242308"/>
                    </a:moveTo>
                    <a:cubicBezTo>
                      <a:pt x="313077" y="242308"/>
                      <a:pt x="310000" y="242308"/>
                      <a:pt x="310000" y="242308"/>
                    </a:cubicBezTo>
                    <a:lnTo>
                      <a:pt x="2308" y="11538"/>
                    </a:lnTo>
                    <a:cubicBezTo>
                      <a:pt x="-769" y="8462"/>
                      <a:pt x="-769" y="5385"/>
                      <a:pt x="2308" y="2307"/>
                    </a:cubicBezTo>
                    <a:cubicBezTo>
                      <a:pt x="5385" y="-769"/>
                      <a:pt x="8461" y="-769"/>
                      <a:pt x="11538" y="2307"/>
                    </a:cubicBezTo>
                    <a:lnTo>
                      <a:pt x="319231" y="233077"/>
                    </a:lnTo>
                    <a:cubicBezTo>
                      <a:pt x="322308" y="236154"/>
                      <a:pt x="322308" y="239231"/>
                      <a:pt x="319231" y="242308"/>
                    </a:cubicBezTo>
                    <a:cubicBezTo>
                      <a:pt x="316153" y="242308"/>
                      <a:pt x="316153" y="242308"/>
                      <a:pt x="313077" y="2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BE292256-6A65-4B95-9812-5327E5C332BB}"/>
                  </a:ext>
                </a:extLst>
              </p:cNvPr>
              <p:cNvSpPr/>
              <p:nvPr/>
            </p:nvSpPr>
            <p:spPr>
              <a:xfrm>
                <a:off x="13110819" y="10068279"/>
                <a:ext cx="321538" cy="242307"/>
              </a:xfrm>
              <a:custGeom>
                <a:avLst/>
                <a:gdLst>
                  <a:gd name="connsiteX0" fmla="*/ 313077 w 321538"/>
                  <a:gd name="connsiteY0" fmla="*/ 242307 h 242307"/>
                  <a:gd name="connsiteX1" fmla="*/ 310000 w 321538"/>
                  <a:gd name="connsiteY1" fmla="*/ 242307 h 242307"/>
                  <a:gd name="connsiteX2" fmla="*/ 2308 w 321538"/>
                  <a:gd name="connsiteY2" fmla="*/ 11538 h 242307"/>
                  <a:gd name="connsiteX3" fmla="*/ 2308 w 321538"/>
                  <a:gd name="connsiteY3" fmla="*/ 2308 h 242307"/>
                  <a:gd name="connsiteX4" fmla="*/ 11538 w 321538"/>
                  <a:gd name="connsiteY4" fmla="*/ 2308 h 242307"/>
                  <a:gd name="connsiteX5" fmla="*/ 319231 w 321538"/>
                  <a:gd name="connsiteY5" fmla="*/ 233077 h 242307"/>
                  <a:gd name="connsiteX6" fmla="*/ 319231 w 321538"/>
                  <a:gd name="connsiteY6" fmla="*/ 242307 h 242307"/>
                  <a:gd name="connsiteX7" fmla="*/ 313077 w 321538"/>
                  <a:gd name="connsiteY7" fmla="*/ 242307 h 2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1538" h="242307">
                    <a:moveTo>
                      <a:pt x="313077" y="242307"/>
                    </a:moveTo>
                    <a:cubicBezTo>
                      <a:pt x="313077" y="242307"/>
                      <a:pt x="310000" y="242307"/>
                      <a:pt x="310000" y="242307"/>
                    </a:cubicBezTo>
                    <a:lnTo>
                      <a:pt x="2308" y="11538"/>
                    </a:lnTo>
                    <a:cubicBezTo>
                      <a:pt x="-769" y="8462"/>
                      <a:pt x="-769" y="5384"/>
                      <a:pt x="2308" y="2308"/>
                    </a:cubicBezTo>
                    <a:cubicBezTo>
                      <a:pt x="5385" y="-769"/>
                      <a:pt x="8462" y="-769"/>
                      <a:pt x="11538" y="2308"/>
                    </a:cubicBezTo>
                    <a:lnTo>
                      <a:pt x="319231" y="233077"/>
                    </a:lnTo>
                    <a:cubicBezTo>
                      <a:pt x="322308" y="236154"/>
                      <a:pt x="322308" y="239230"/>
                      <a:pt x="319231" y="242307"/>
                    </a:cubicBezTo>
                    <a:cubicBezTo>
                      <a:pt x="316154" y="242307"/>
                      <a:pt x="313077" y="242307"/>
                      <a:pt x="313077" y="2423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4C957491-3E90-4EB1-96FA-443647AC9DDF}"/>
                  </a:ext>
                </a:extLst>
              </p:cNvPr>
              <p:cNvSpPr/>
              <p:nvPr/>
            </p:nvSpPr>
            <p:spPr>
              <a:xfrm>
                <a:off x="13009281" y="10203664"/>
                <a:ext cx="321538" cy="242307"/>
              </a:xfrm>
              <a:custGeom>
                <a:avLst/>
                <a:gdLst>
                  <a:gd name="connsiteX0" fmla="*/ 313076 w 321538"/>
                  <a:gd name="connsiteY0" fmla="*/ 242307 h 242307"/>
                  <a:gd name="connsiteX1" fmla="*/ 310000 w 321538"/>
                  <a:gd name="connsiteY1" fmla="*/ 242307 h 242307"/>
                  <a:gd name="connsiteX2" fmla="*/ 2308 w 321538"/>
                  <a:gd name="connsiteY2" fmla="*/ 11539 h 242307"/>
                  <a:gd name="connsiteX3" fmla="*/ 2308 w 321538"/>
                  <a:gd name="connsiteY3" fmla="*/ 2308 h 242307"/>
                  <a:gd name="connsiteX4" fmla="*/ 11538 w 321538"/>
                  <a:gd name="connsiteY4" fmla="*/ 2308 h 242307"/>
                  <a:gd name="connsiteX5" fmla="*/ 319231 w 321538"/>
                  <a:gd name="connsiteY5" fmla="*/ 233077 h 242307"/>
                  <a:gd name="connsiteX6" fmla="*/ 319231 w 321538"/>
                  <a:gd name="connsiteY6" fmla="*/ 242307 h 242307"/>
                  <a:gd name="connsiteX7" fmla="*/ 313076 w 321538"/>
                  <a:gd name="connsiteY7" fmla="*/ 242307 h 2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1538" h="242307">
                    <a:moveTo>
                      <a:pt x="313076" y="242307"/>
                    </a:moveTo>
                    <a:cubicBezTo>
                      <a:pt x="313076" y="242307"/>
                      <a:pt x="310000" y="242307"/>
                      <a:pt x="310000" y="242307"/>
                    </a:cubicBezTo>
                    <a:lnTo>
                      <a:pt x="2308" y="11539"/>
                    </a:lnTo>
                    <a:cubicBezTo>
                      <a:pt x="-769" y="8462"/>
                      <a:pt x="-769" y="5385"/>
                      <a:pt x="2308" y="2308"/>
                    </a:cubicBezTo>
                    <a:cubicBezTo>
                      <a:pt x="5384" y="-769"/>
                      <a:pt x="8461" y="-769"/>
                      <a:pt x="11538" y="2308"/>
                    </a:cubicBezTo>
                    <a:lnTo>
                      <a:pt x="319231" y="233077"/>
                    </a:lnTo>
                    <a:cubicBezTo>
                      <a:pt x="322308" y="236154"/>
                      <a:pt x="322308" y="239231"/>
                      <a:pt x="319231" y="242307"/>
                    </a:cubicBezTo>
                    <a:cubicBezTo>
                      <a:pt x="316153" y="242307"/>
                      <a:pt x="313076" y="242307"/>
                      <a:pt x="313076" y="2423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67033D2B-EFAF-40D4-A2D9-0CC2B35EA69D}"/>
                  </a:ext>
                </a:extLst>
              </p:cNvPr>
              <p:cNvSpPr/>
              <p:nvPr/>
            </p:nvSpPr>
            <p:spPr>
              <a:xfrm>
                <a:off x="12960050" y="10271356"/>
                <a:ext cx="321538" cy="242307"/>
              </a:xfrm>
              <a:custGeom>
                <a:avLst/>
                <a:gdLst>
                  <a:gd name="connsiteX0" fmla="*/ 313077 w 321538"/>
                  <a:gd name="connsiteY0" fmla="*/ 242307 h 242307"/>
                  <a:gd name="connsiteX1" fmla="*/ 310000 w 321538"/>
                  <a:gd name="connsiteY1" fmla="*/ 242307 h 242307"/>
                  <a:gd name="connsiteX2" fmla="*/ 2308 w 321538"/>
                  <a:gd name="connsiteY2" fmla="*/ 11538 h 242307"/>
                  <a:gd name="connsiteX3" fmla="*/ 2308 w 321538"/>
                  <a:gd name="connsiteY3" fmla="*/ 2308 h 242307"/>
                  <a:gd name="connsiteX4" fmla="*/ 11538 w 321538"/>
                  <a:gd name="connsiteY4" fmla="*/ 2308 h 242307"/>
                  <a:gd name="connsiteX5" fmla="*/ 319231 w 321538"/>
                  <a:gd name="connsiteY5" fmla="*/ 233077 h 242307"/>
                  <a:gd name="connsiteX6" fmla="*/ 319231 w 321538"/>
                  <a:gd name="connsiteY6" fmla="*/ 242307 h 242307"/>
                  <a:gd name="connsiteX7" fmla="*/ 313077 w 321538"/>
                  <a:gd name="connsiteY7" fmla="*/ 242307 h 2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1538" h="242307">
                    <a:moveTo>
                      <a:pt x="313077" y="242307"/>
                    </a:moveTo>
                    <a:cubicBezTo>
                      <a:pt x="313077" y="242307"/>
                      <a:pt x="310000" y="242307"/>
                      <a:pt x="310000" y="242307"/>
                    </a:cubicBezTo>
                    <a:lnTo>
                      <a:pt x="2308" y="11538"/>
                    </a:lnTo>
                    <a:cubicBezTo>
                      <a:pt x="-769" y="8461"/>
                      <a:pt x="-769" y="5384"/>
                      <a:pt x="2308" y="2308"/>
                    </a:cubicBezTo>
                    <a:cubicBezTo>
                      <a:pt x="5385" y="-769"/>
                      <a:pt x="8461" y="-769"/>
                      <a:pt x="11538" y="2308"/>
                    </a:cubicBezTo>
                    <a:lnTo>
                      <a:pt x="319231" y="233077"/>
                    </a:lnTo>
                    <a:cubicBezTo>
                      <a:pt x="322308" y="236153"/>
                      <a:pt x="322308" y="239230"/>
                      <a:pt x="319231" y="242307"/>
                    </a:cubicBezTo>
                    <a:cubicBezTo>
                      <a:pt x="316153" y="239230"/>
                      <a:pt x="313077" y="242307"/>
                      <a:pt x="313077" y="2423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45182EC9-95F4-4A0D-9E0C-2DCF5B925470}"/>
                </a:ext>
              </a:extLst>
            </p:cNvPr>
            <p:cNvSpPr/>
            <p:nvPr/>
          </p:nvSpPr>
          <p:spPr>
            <a:xfrm>
              <a:off x="12960001" y="9919601"/>
              <a:ext cx="156586" cy="117517"/>
            </a:xfrm>
            <a:custGeom>
              <a:avLst/>
              <a:gdLst>
                <a:gd name="connsiteX0" fmla="*/ 113126 w 156586"/>
                <a:gd name="connsiteY0" fmla="*/ 3293 h 117517"/>
                <a:gd name="connsiteX1" fmla="*/ 5434 w 156586"/>
                <a:gd name="connsiteY1" fmla="*/ 37139 h 117517"/>
                <a:gd name="connsiteX2" fmla="*/ 17741 w 156586"/>
                <a:gd name="connsiteY2" fmla="*/ 117139 h 117517"/>
                <a:gd name="connsiteX3" fmla="*/ 60818 w 156586"/>
                <a:gd name="connsiteY3" fmla="*/ 70985 h 117517"/>
                <a:gd name="connsiteX4" fmla="*/ 125434 w 156586"/>
                <a:gd name="connsiteY4" fmla="*/ 64832 h 117517"/>
                <a:gd name="connsiteX5" fmla="*/ 153126 w 156586"/>
                <a:gd name="connsiteY5" fmla="*/ 64832 h 117517"/>
                <a:gd name="connsiteX6" fmla="*/ 113126 w 156586"/>
                <a:gd name="connsiteY6" fmla="*/ 3293 h 117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586" h="117517">
                  <a:moveTo>
                    <a:pt x="113126" y="3293"/>
                  </a:moveTo>
                  <a:cubicBezTo>
                    <a:pt x="79280" y="-9015"/>
                    <a:pt x="26972" y="15601"/>
                    <a:pt x="5434" y="37139"/>
                  </a:cubicBezTo>
                  <a:cubicBezTo>
                    <a:pt x="-9951" y="52524"/>
                    <a:pt x="11587" y="123293"/>
                    <a:pt x="17741" y="117139"/>
                  </a:cubicBezTo>
                  <a:cubicBezTo>
                    <a:pt x="26972" y="107908"/>
                    <a:pt x="48511" y="77139"/>
                    <a:pt x="60818" y="70985"/>
                  </a:cubicBezTo>
                  <a:cubicBezTo>
                    <a:pt x="82357" y="58678"/>
                    <a:pt x="103895" y="58678"/>
                    <a:pt x="125434" y="64832"/>
                  </a:cubicBezTo>
                  <a:cubicBezTo>
                    <a:pt x="134664" y="67908"/>
                    <a:pt x="143895" y="74062"/>
                    <a:pt x="153126" y="64832"/>
                  </a:cubicBezTo>
                  <a:cubicBezTo>
                    <a:pt x="168510" y="46370"/>
                    <a:pt x="128511" y="9447"/>
                    <a:pt x="113126" y="3293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1F44FBF2-591A-4CFC-89C1-427512DEA9C1}"/>
                </a:ext>
              </a:extLst>
            </p:cNvPr>
            <p:cNvSpPr/>
            <p:nvPr/>
          </p:nvSpPr>
          <p:spPr>
            <a:xfrm>
              <a:off x="11556204" y="8852894"/>
              <a:ext cx="121367" cy="29999"/>
            </a:xfrm>
            <a:custGeom>
              <a:avLst/>
              <a:gdLst>
                <a:gd name="connsiteX0" fmla="*/ 67693 w 121367"/>
                <a:gd name="connsiteY0" fmla="*/ 30000 h 29999"/>
                <a:gd name="connsiteX1" fmla="*/ 3077 w 121367"/>
                <a:gd name="connsiteY1" fmla="*/ 14615 h 29999"/>
                <a:gd name="connsiteX2" fmla="*/ 0 w 121367"/>
                <a:gd name="connsiteY2" fmla="*/ 5384 h 29999"/>
                <a:gd name="connsiteX3" fmla="*/ 9231 w 121367"/>
                <a:gd name="connsiteY3" fmla="*/ 2308 h 29999"/>
                <a:gd name="connsiteX4" fmla="*/ 110769 w 121367"/>
                <a:gd name="connsiteY4" fmla="*/ 2308 h 29999"/>
                <a:gd name="connsiteX5" fmla="*/ 120000 w 121367"/>
                <a:gd name="connsiteY5" fmla="*/ 2308 h 29999"/>
                <a:gd name="connsiteX6" fmla="*/ 120000 w 121367"/>
                <a:gd name="connsiteY6" fmla="*/ 11538 h 29999"/>
                <a:gd name="connsiteX7" fmla="*/ 67693 w 121367"/>
                <a:gd name="connsiteY7" fmla="*/ 30000 h 2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367" h="29999">
                  <a:moveTo>
                    <a:pt x="67693" y="30000"/>
                  </a:moveTo>
                  <a:cubicBezTo>
                    <a:pt x="33846" y="30000"/>
                    <a:pt x="6154" y="14615"/>
                    <a:pt x="3077" y="14615"/>
                  </a:cubicBezTo>
                  <a:cubicBezTo>
                    <a:pt x="0" y="14615"/>
                    <a:pt x="0" y="8462"/>
                    <a:pt x="0" y="5384"/>
                  </a:cubicBezTo>
                  <a:cubicBezTo>
                    <a:pt x="0" y="2308"/>
                    <a:pt x="6154" y="2308"/>
                    <a:pt x="9231" y="2308"/>
                  </a:cubicBezTo>
                  <a:cubicBezTo>
                    <a:pt x="9231" y="2308"/>
                    <a:pt x="73846" y="33077"/>
                    <a:pt x="110769" y="2308"/>
                  </a:cubicBezTo>
                  <a:cubicBezTo>
                    <a:pt x="113847" y="-769"/>
                    <a:pt x="116924" y="-769"/>
                    <a:pt x="120000" y="2308"/>
                  </a:cubicBezTo>
                  <a:cubicBezTo>
                    <a:pt x="123077" y="5384"/>
                    <a:pt x="120000" y="8462"/>
                    <a:pt x="120000" y="11538"/>
                  </a:cubicBezTo>
                  <a:cubicBezTo>
                    <a:pt x="104615" y="26923"/>
                    <a:pt x="86154" y="30000"/>
                    <a:pt x="67693" y="30000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02F504C0-B5C6-47DA-AA82-A729F11341B4}"/>
                </a:ext>
              </a:extLst>
            </p:cNvPr>
            <p:cNvGrpSpPr/>
            <p:nvPr/>
          </p:nvGrpSpPr>
          <p:grpSpPr>
            <a:xfrm>
              <a:off x="11220820" y="8209252"/>
              <a:ext cx="573675" cy="317604"/>
              <a:chOff x="11220820" y="8209252"/>
              <a:chExt cx="573675" cy="317604"/>
            </a:xfrm>
          </p:grpSpPr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59AB6F51-FC0F-4390-B028-1D7A8B001E54}"/>
                  </a:ext>
                </a:extLst>
              </p:cNvPr>
              <p:cNvSpPr/>
              <p:nvPr/>
            </p:nvSpPr>
            <p:spPr>
              <a:xfrm>
                <a:off x="11223897" y="8221356"/>
                <a:ext cx="563076" cy="305501"/>
              </a:xfrm>
              <a:custGeom>
                <a:avLst/>
                <a:gdLst>
                  <a:gd name="connsiteX0" fmla="*/ 563077 w 563076"/>
                  <a:gd name="connsiteY0" fmla="*/ 0 h 305501"/>
                  <a:gd name="connsiteX1" fmla="*/ 563077 w 563076"/>
                  <a:gd name="connsiteY1" fmla="*/ 196923 h 305501"/>
                  <a:gd name="connsiteX2" fmla="*/ 83076 w 563076"/>
                  <a:gd name="connsiteY2" fmla="*/ 304615 h 305501"/>
                  <a:gd name="connsiteX3" fmla="*/ 0 w 563076"/>
                  <a:gd name="connsiteY3" fmla="*/ 116923 h 305501"/>
                  <a:gd name="connsiteX4" fmla="*/ 563077 w 563076"/>
                  <a:gd name="connsiteY4" fmla="*/ 0 h 305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3076" h="305501">
                    <a:moveTo>
                      <a:pt x="563077" y="0"/>
                    </a:moveTo>
                    <a:lnTo>
                      <a:pt x="563077" y="196923"/>
                    </a:lnTo>
                    <a:cubicBezTo>
                      <a:pt x="563077" y="196923"/>
                      <a:pt x="418462" y="316923"/>
                      <a:pt x="83076" y="304615"/>
                    </a:cubicBezTo>
                    <a:lnTo>
                      <a:pt x="0" y="116923"/>
                    </a:lnTo>
                    <a:cubicBezTo>
                      <a:pt x="3077" y="113846"/>
                      <a:pt x="329230" y="132308"/>
                      <a:pt x="563077" y="0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AB53BA7E-5D6F-44D8-A1B8-8A807B83873F}"/>
                  </a:ext>
                </a:extLst>
              </p:cNvPr>
              <p:cNvSpPr/>
              <p:nvPr/>
            </p:nvSpPr>
            <p:spPr>
              <a:xfrm>
                <a:off x="11226974" y="8209252"/>
                <a:ext cx="559999" cy="130245"/>
              </a:xfrm>
              <a:custGeom>
                <a:avLst/>
                <a:gdLst>
                  <a:gd name="connsiteX0" fmla="*/ 559999 w 559999"/>
                  <a:gd name="connsiteY0" fmla="*/ 12104 h 130245"/>
                  <a:gd name="connsiteX1" fmla="*/ 0 w 559999"/>
                  <a:gd name="connsiteY1" fmla="*/ 125950 h 130245"/>
                  <a:gd name="connsiteX2" fmla="*/ 559999 w 559999"/>
                  <a:gd name="connsiteY2" fmla="*/ 12104 h 130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59999" h="130245">
                    <a:moveTo>
                      <a:pt x="559999" y="12104"/>
                    </a:moveTo>
                    <a:cubicBezTo>
                      <a:pt x="559999" y="12104"/>
                      <a:pt x="359999" y="156719"/>
                      <a:pt x="0" y="125950"/>
                    </a:cubicBezTo>
                    <a:cubicBezTo>
                      <a:pt x="0" y="125950"/>
                      <a:pt x="246154" y="-46358"/>
                      <a:pt x="559999" y="12104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24FCA3AB-A5F6-4B8A-A312-918D687D3905}"/>
                  </a:ext>
                </a:extLst>
              </p:cNvPr>
              <p:cNvSpPr/>
              <p:nvPr/>
            </p:nvSpPr>
            <p:spPr>
              <a:xfrm>
                <a:off x="11220820" y="8213835"/>
                <a:ext cx="573675" cy="133675"/>
              </a:xfrm>
              <a:custGeom>
                <a:avLst/>
                <a:gdLst>
                  <a:gd name="connsiteX0" fmla="*/ 123077 w 573675"/>
                  <a:gd name="connsiteY0" fmla="*/ 133675 h 133675"/>
                  <a:gd name="connsiteX1" fmla="*/ 6154 w 573675"/>
                  <a:gd name="connsiteY1" fmla="*/ 127521 h 133675"/>
                  <a:gd name="connsiteX2" fmla="*/ 0 w 573675"/>
                  <a:gd name="connsiteY2" fmla="*/ 121367 h 133675"/>
                  <a:gd name="connsiteX3" fmla="*/ 6154 w 573675"/>
                  <a:gd name="connsiteY3" fmla="*/ 115214 h 133675"/>
                  <a:gd name="connsiteX4" fmla="*/ 563077 w 573675"/>
                  <a:gd name="connsiteY4" fmla="*/ 1368 h 133675"/>
                  <a:gd name="connsiteX5" fmla="*/ 572308 w 573675"/>
                  <a:gd name="connsiteY5" fmla="*/ 1368 h 133675"/>
                  <a:gd name="connsiteX6" fmla="*/ 572308 w 573675"/>
                  <a:gd name="connsiteY6" fmla="*/ 10598 h 133675"/>
                  <a:gd name="connsiteX7" fmla="*/ 123077 w 573675"/>
                  <a:gd name="connsiteY7" fmla="*/ 133675 h 133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3675" h="133675">
                    <a:moveTo>
                      <a:pt x="123077" y="133675"/>
                    </a:moveTo>
                    <a:cubicBezTo>
                      <a:pt x="86153" y="133675"/>
                      <a:pt x="46154" y="130598"/>
                      <a:pt x="6154" y="127521"/>
                    </a:cubicBezTo>
                    <a:cubicBezTo>
                      <a:pt x="3077" y="127521"/>
                      <a:pt x="0" y="124445"/>
                      <a:pt x="0" y="121367"/>
                    </a:cubicBezTo>
                    <a:cubicBezTo>
                      <a:pt x="0" y="118291"/>
                      <a:pt x="3077" y="115214"/>
                      <a:pt x="6154" y="115214"/>
                    </a:cubicBezTo>
                    <a:cubicBezTo>
                      <a:pt x="366154" y="152137"/>
                      <a:pt x="560000" y="4444"/>
                      <a:pt x="563077" y="1368"/>
                    </a:cubicBezTo>
                    <a:cubicBezTo>
                      <a:pt x="566154" y="-1710"/>
                      <a:pt x="569231" y="1368"/>
                      <a:pt x="572308" y="1368"/>
                    </a:cubicBezTo>
                    <a:cubicBezTo>
                      <a:pt x="575385" y="4444"/>
                      <a:pt x="572308" y="7521"/>
                      <a:pt x="572308" y="10598"/>
                    </a:cubicBezTo>
                    <a:cubicBezTo>
                      <a:pt x="569231" y="13675"/>
                      <a:pt x="412308" y="133675"/>
                      <a:pt x="123077" y="13367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72306FE6-03B4-4861-AB8A-0084BAD88021}"/>
                  </a:ext>
                </a:extLst>
              </p:cNvPr>
              <p:cNvSpPr/>
              <p:nvPr/>
            </p:nvSpPr>
            <p:spPr>
              <a:xfrm>
                <a:off x="11491588" y="8344433"/>
                <a:ext cx="135385" cy="135384"/>
              </a:xfrm>
              <a:custGeom>
                <a:avLst/>
                <a:gdLst>
                  <a:gd name="connsiteX0" fmla="*/ 0 w 135385"/>
                  <a:gd name="connsiteY0" fmla="*/ 61538 h 135384"/>
                  <a:gd name="connsiteX1" fmla="*/ 49231 w 135385"/>
                  <a:gd name="connsiteY1" fmla="*/ 55385 h 135384"/>
                  <a:gd name="connsiteX2" fmla="*/ 40001 w 135385"/>
                  <a:gd name="connsiteY2" fmla="*/ 6154 h 135384"/>
                  <a:gd name="connsiteX3" fmla="*/ 73847 w 135385"/>
                  <a:gd name="connsiteY3" fmla="*/ 0 h 135384"/>
                  <a:gd name="connsiteX4" fmla="*/ 83077 w 135385"/>
                  <a:gd name="connsiteY4" fmla="*/ 49231 h 135384"/>
                  <a:gd name="connsiteX5" fmla="*/ 129231 w 135385"/>
                  <a:gd name="connsiteY5" fmla="*/ 40000 h 135384"/>
                  <a:gd name="connsiteX6" fmla="*/ 135385 w 135385"/>
                  <a:gd name="connsiteY6" fmla="*/ 73846 h 135384"/>
                  <a:gd name="connsiteX7" fmla="*/ 89232 w 135385"/>
                  <a:gd name="connsiteY7" fmla="*/ 83077 h 135384"/>
                  <a:gd name="connsiteX8" fmla="*/ 98462 w 135385"/>
                  <a:gd name="connsiteY8" fmla="*/ 129231 h 135384"/>
                  <a:gd name="connsiteX9" fmla="*/ 61538 w 135385"/>
                  <a:gd name="connsiteY9" fmla="*/ 135384 h 135384"/>
                  <a:gd name="connsiteX10" fmla="*/ 55385 w 135385"/>
                  <a:gd name="connsiteY10" fmla="*/ 89231 h 135384"/>
                  <a:gd name="connsiteX11" fmla="*/ 6154 w 135385"/>
                  <a:gd name="connsiteY11" fmla="*/ 98461 h 13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5385" h="135384">
                    <a:moveTo>
                      <a:pt x="0" y="61538"/>
                    </a:moveTo>
                    <a:lnTo>
                      <a:pt x="49231" y="55385"/>
                    </a:lnTo>
                    <a:lnTo>
                      <a:pt x="40001" y="6154"/>
                    </a:lnTo>
                    <a:lnTo>
                      <a:pt x="73847" y="0"/>
                    </a:lnTo>
                    <a:lnTo>
                      <a:pt x="83077" y="49231"/>
                    </a:lnTo>
                    <a:lnTo>
                      <a:pt x="129231" y="40000"/>
                    </a:lnTo>
                    <a:lnTo>
                      <a:pt x="135385" y="73846"/>
                    </a:lnTo>
                    <a:lnTo>
                      <a:pt x="89232" y="83077"/>
                    </a:lnTo>
                    <a:lnTo>
                      <a:pt x="98462" y="129231"/>
                    </a:lnTo>
                    <a:lnTo>
                      <a:pt x="61538" y="135384"/>
                    </a:lnTo>
                    <a:lnTo>
                      <a:pt x="55385" y="89231"/>
                    </a:lnTo>
                    <a:lnTo>
                      <a:pt x="6154" y="98461"/>
                    </a:ln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3042E49C-C641-45F8-B474-CFD7AAC867E9}"/>
                </a:ext>
              </a:extLst>
            </p:cNvPr>
            <p:cNvSpPr/>
            <p:nvPr/>
          </p:nvSpPr>
          <p:spPr>
            <a:xfrm>
              <a:off x="10780820" y="9027510"/>
              <a:ext cx="685138" cy="2645585"/>
            </a:xfrm>
            <a:custGeom>
              <a:avLst/>
              <a:gdLst>
                <a:gd name="connsiteX0" fmla="*/ 640000 w 685138"/>
                <a:gd name="connsiteY0" fmla="*/ 0 h 2645585"/>
                <a:gd name="connsiteX1" fmla="*/ 320000 w 685138"/>
                <a:gd name="connsiteY1" fmla="*/ 95385 h 2645585"/>
                <a:gd name="connsiteX2" fmla="*/ 0 w 685138"/>
                <a:gd name="connsiteY2" fmla="*/ 2590769 h 2645585"/>
                <a:gd name="connsiteX3" fmla="*/ 563077 w 685138"/>
                <a:gd name="connsiteY3" fmla="*/ 2630770 h 2645585"/>
                <a:gd name="connsiteX4" fmla="*/ 640000 w 685138"/>
                <a:gd name="connsiteY4" fmla="*/ 0 h 2645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138" h="2645585">
                  <a:moveTo>
                    <a:pt x="640000" y="0"/>
                  </a:moveTo>
                  <a:cubicBezTo>
                    <a:pt x="640000" y="0"/>
                    <a:pt x="384615" y="80000"/>
                    <a:pt x="320000" y="95385"/>
                  </a:cubicBezTo>
                  <a:cubicBezTo>
                    <a:pt x="255384" y="110769"/>
                    <a:pt x="0" y="2590769"/>
                    <a:pt x="0" y="2590769"/>
                  </a:cubicBezTo>
                  <a:cubicBezTo>
                    <a:pt x="0" y="2590769"/>
                    <a:pt x="375384" y="2680000"/>
                    <a:pt x="563077" y="2630770"/>
                  </a:cubicBezTo>
                  <a:cubicBezTo>
                    <a:pt x="563077" y="2630770"/>
                    <a:pt x="775384" y="461538"/>
                    <a:pt x="640000" y="0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C41843CD-CB2F-42E5-8312-B0BC82799684}"/>
                </a:ext>
              </a:extLst>
            </p:cNvPr>
            <p:cNvSpPr/>
            <p:nvPr/>
          </p:nvSpPr>
          <p:spPr>
            <a:xfrm>
              <a:off x="11713127" y="9027510"/>
              <a:ext cx="519999" cy="2643753"/>
            </a:xfrm>
            <a:custGeom>
              <a:avLst/>
              <a:gdLst>
                <a:gd name="connsiteX0" fmla="*/ 0 w 519999"/>
                <a:gd name="connsiteY0" fmla="*/ 0 h 2643753"/>
                <a:gd name="connsiteX1" fmla="*/ 110769 w 519999"/>
                <a:gd name="connsiteY1" fmla="*/ 2630770 h 2643753"/>
                <a:gd name="connsiteX2" fmla="*/ 520000 w 519999"/>
                <a:gd name="connsiteY2" fmla="*/ 2603077 h 2643753"/>
                <a:gd name="connsiteX3" fmla="*/ 298462 w 519999"/>
                <a:gd name="connsiteY3" fmla="*/ 132308 h 2643753"/>
                <a:gd name="connsiteX4" fmla="*/ 0 w 519999"/>
                <a:gd name="connsiteY4" fmla="*/ 0 h 264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999" h="2643753">
                  <a:moveTo>
                    <a:pt x="0" y="0"/>
                  </a:moveTo>
                  <a:cubicBezTo>
                    <a:pt x="0" y="0"/>
                    <a:pt x="156923" y="1803077"/>
                    <a:pt x="110769" y="2630770"/>
                  </a:cubicBezTo>
                  <a:cubicBezTo>
                    <a:pt x="110769" y="2630770"/>
                    <a:pt x="449231" y="2673847"/>
                    <a:pt x="520000" y="2603077"/>
                  </a:cubicBezTo>
                  <a:cubicBezTo>
                    <a:pt x="520000" y="2603077"/>
                    <a:pt x="344616" y="187693"/>
                    <a:pt x="298462" y="132308"/>
                  </a:cubicBezTo>
                  <a:cubicBezTo>
                    <a:pt x="255384" y="7692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5B5DC42D-A8E6-44B0-B94B-EF7F01270074}"/>
                </a:ext>
              </a:extLst>
            </p:cNvPr>
            <p:cNvSpPr/>
            <p:nvPr/>
          </p:nvSpPr>
          <p:spPr>
            <a:xfrm>
              <a:off x="10786110" y="9599818"/>
              <a:ext cx="776248" cy="876922"/>
            </a:xfrm>
            <a:custGeom>
              <a:avLst/>
              <a:gdLst>
                <a:gd name="connsiteX0" fmla="*/ 376249 w 776248"/>
                <a:gd name="connsiteY0" fmla="*/ 24615 h 876922"/>
                <a:gd name="connsiteX1" fmla="*/ 268556 w 776248"/>
                <a:gd name="connsiteY1" fmla="*/ 563077 h 876922"/>
                <a:gd name="connsiteX2" fmla="*/ 776249 w 776248"/>
                <a:gd name="connsiteY2" fmla="*/ 738461 h 876922"/>
                <a:gd name="connsiteX3" fmla="*/ 693171 w 776248"/>
                <a:gd name="connsiteY3" fmla="*/ 876923 h 876922"/>
                <a:gd name="connsiteX4" fmla="*/ 31633 w 776248"/>
                <a:gd name="connsiteY4" fmla="*/ 704616 h 876922"/>
                <a:gd name="connsiteX5" fmla="*/ 105479 w 776248"/>
                <a:gd name="connsiteY5" fmla="*/ 0 h 876922"/>
                <a:gd name="connsiteX6" fmla="*/ 376249 w 776248"/>
                <a:gd name="connsiteY6" fmla="*/ 24615 h 876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6248" h="876922">
                  <a:moveTo>
                    <a:pt x="376249" y="24615"/>
                  </a:moveTo>
                  <a:lnTo>
                    <a:pt x="268556" y="563077"/>
                  </a:lnTo>
                  <a:lnTo>
                    <a:pt x="776249" y="738461"/>
                  </a:lnTo>
                  <a:lnTo>
                    <a:pt x="693171" y="876923"/>
                  </a:lnTo>
                  <a:cubicBezTo>
                    <a:pt x="693171" y="876923"/>
                    <a:pt x="133172" y="784615"/>
                    <a:pt x="31633" y="704616"/>
                  </a:cubicBezTo>
                  <a:cubicBezTo>
                    <a:pt x="-69905" y="624616"/>
                    <a:pt x="105479" y="0"/>
                    <a:pt x="105479" y="0"/>
                  </a:cubicBezTo>
                  <a:lnTo>
                    <a:pt x="376249" y="24615"/>
                  </a:ln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8" name="图形 1">
              <a:extLst>
                <a:ext uri="{FF2B5EF4-FFF2-40B4-BE49-F238E27FC236}">
                  <a16:creationId xmlns:a16="http://schemas.microsoft.com/office/drawing/2014/main" id="{70DF140A-7402-4233-AD26-C72E263DE2CA}"/>
                </a:ext>
              </a:extLst>
            </p:cNvPr>
            <p:cNvGrpSpPr/>
            <p:nvPr/>
          </p:nvGrpSpPr>
          <p:grpSpPr>
            <a:xfrm>
              <a:off x="11448512" y="10325874"/>
              <a:ext cx="389541" cy="276210"/>
              <a:chOff x="11448512" y="10325874"/>
              <a:chExt cx="389541" cy="276210"/>
            </a:xfrm>
          </p:grpSpPr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D3741C35-B462-4EA9-8849-68705E191830}"/>
                  </a:ext>
                </a:extLst>
              </p:cNvPr>
              <p:cNvSpPr/>
              <p:nvPr/>
            </p:nvSpPr>
            <p:spPr>
              <a:xfrm>
                <a:off x="11448512" y="10325874"/>
                <a:ext cx="389541" cy="276210"/>
              </a:xfrm>
              <a:custGeom>
                <a:avLst/>
                <a:gdLst>
                  <a:gd name="connsiteX0" fmla="*/ 30769 w 389541"/>
                  <a:gd name="connsiteY0" fmla="*/ 150866 h 276210"/>
                  <a:gd name="connsiteX1" fmla="*/ 116924 w 389541"/>
                  <a:gd name="connsiteY1" fmla="*/ 197020 h 276210"/>
                  <a:gd name="connsiteX2" fmla="*/ 200000 w 389541"/>
                  <a:gd name="connsiteY2" fmla="*/ 255482 h 276210"/>
                  <a:gd name="connsiteX3" fmla="*/ 252308 w 389541"/>
                  <a:gd name="connsiteY3" fmla="*/ 273943 h 276210"/>
                  <a:gd name="connsiteX4" fmla="*/ 221539 w 389541"/>
                  <a:gd name="connsiteY4" fmla="*/ 215482 h 276210"/>
                  <a:gd name="connsiteX5" fmla="*/ 270770 w 389541"/>
                  <a:gd name="connsiteY5" fmla="*/ 243174 h 276210"/>
                  <a:gd name="connsiteX6" fmla="*/ 347693 w 389541"/>
                  <a:gd name="connsiteY6" fmla="*/ 258558 h 276210"/>
                  <a:gd name="connsiteX7" fmla="*/ 353846 w 389541"/>
                  <a:gd name="connsiteY7" fmla="*/ 243174 h 276210"/>
                  <a:gd name="connsiteX8" fmla="*/ 387693 w 389541"/>
                  <a:gd name="connsiteY8" fmla="*/ 240098 h 276210"/>
                  <a:gd name="connsiteX9" fmla="*/ 356923 w 389541"/>
                  <a:gd name="connsiteY9" fmla="*/ 178559 h 276210"/>
                  <a:gd name="connsiteX10" fmla="*/ 307692 w 389541"/>
                  <a:gd name="connsiteY10" fmla="*/ 138559 h 276210"/>
                  <a:gd name="connsiteX11" fmla="*/ 350769 w 389541"/>
                  <a:gd name="connsiteY11" fmla="*/ 150866 h 276210"/>
                  <a:gd name="connsiteX12" fmla="*/ 372308 w 389541"/>
                  <a:gd name="connsiteY12" fmla="*/ 147790 h 276210"/>
                  <a:gd name="connsiteX13" fmla="*/ 320000 w 389541"/>
                  <a:gd name="connsiteY13" fmla="*/ 89328 h 276210"/>
                  <a:gd name="connsiteX14" fmla="*/ 67693 w 389541"/>
                  <a:gd name="connsiteY14" fmla="*/ 97 h 276210"/>
                  <a:gd name="connsiteX15" fmla="*/ 0 w 389541"/>
                  <a:gd name="connsiteY15" fmla="*/ 110867 h 276210"/>
                  <a:gd name="connsiteX16" fmla="*/ 30769 w 389541"/>
                  <a:gd name="connsiteY16" fmla="*/ 150866 h 276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89541" h="276210">
                    <a:moveTo>
                      <a:pt x="30769" y="150866"/>
                    </a:moveTo>
                    <a:cubicBezTo>
                      <a:pt x="58461" y="166251"/>
                      <a:pt x="89231" y="178559"/>
                      <a:pt x="116924" y="197020"/>
                    </a:cubicBezTo>
                    <a:cubicBezTo>
                      <a:pt x="144616" y="215482"/>
                      <a:pt x="172308" y="237021"/>
                      <a:pt x="200000" y="255482"/>
                    </a:cubicBezTo>
                    <a:cubicBezTo>
                      <a:pt x="209231" y="261636"/>
                      <a:pt x="240001" y="283174"/>
                      <a:pt x="252308" y="273943"/>
                    </a:cubicBezTo>
                    <a:cubicBezTo>
                      <a:pt x="270770" y="264713"/>
                      <a:pt x="246154" y="237021"/>
                      <a:pt x="221539" y="215482"/>
                    </a:cubicBezTo>
                    <a:cubicBezTo>
                      <a:pt x="236923" y="224713"/>
                      <a:pt x="255385" y="233943"/>
                      <a:pt x="270770" y="243174"/>
                    </a:cubicBezTo>
                    <a:cubicBezTo>
                      <a:pt x="289231" y="252405"/>
                      <a:pt x="326154" y="270867"/>
                      <a:pt x="347693" y="258558"/>
                    </a:cubicBezTo>
                    <a:cubicBezTo>
                      <a:pt x="353846" y="255482"/>
                      <a:pt x="356923" y="249328"/>
                      <a:pt x="353846" y="243174"/>
                    </a:cubicBezTo>
                    <a:cubicBezTo>
                      <a:pt x="369231" y="249328"/>
                      <a:pt x="381538" y="249328"/>
                      <a:pt x="387693" y="240098"/>
                    </a:cubicBezTo>
                    <a:cubicBezTo>
                      <a:pt x="396923" y="221636"/>
                      <a:pt x="369231" y="190867"/>
                      <a:pt x="356923" y="178559"/>
                    </a:cubicBezTo>
                    <a:cubicBezTo>
                      <a:pt x="341539" y="163175"/>
                      <a:pt x="326154" y="150866"/>
                      <a:pt x="307692" y="138559"/>
                    </a:cubicBezTo>
                    <a:cubicBezTo>
                      <a:pt x="323077" y="144713"/>
                      <a:pt x="338462" y="147790"/>
                      <a:pt x="350769" y="150866"/>
                    </a:cubicBezTo>
                    <a:cubicBezTo>
                      <a:pt x="360000" y="150866"/>
                      <a:pt x="366154" y="153943"/>
                      <a:pt x="372308" y="147790"/>
                    </a:cubicBezTo>
                    <a:cubicBezTo>
                      <a:pt x="390770" y="123174"/>
                      <a:pt x="332308" y="95482"/>
                      <a:pt x="320000" y="89328"/>
                    </a:cubicBezTo>
                    <a:cubicBezTo>
                      <a:pt x="240001" y="46251"/>
                      <a:pt x="153846" y="27789"/>
                      <a:pt x="67693" y="97"/>
                    </a:cubicBezTo>
                    <a:cubicBezTo>
                      <a:pt x="67693" y="-2980"/>
                      <a:pt x="3077" y="67790"/>
                      <a:pt x="0" y="110867"/>
                    </a:cubicBezTo>
                    <a:cubicBezTo>
                      <a:pt x="3077" y="132405"/>
                      <a:pt x="9231" y="135482"/>
                      <a:pt x="30769" y="15086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46F0114D-B4DB-4B6F-9FE4-8943F5F0B77A}"/>
                  </a:ext>
                </a:extLst>
              </p:cNvPr>
              <p:cNvSpPr/>
              <p:nvPr/>
            </p:nvSpPr>
            <p:spPr>
              <a:xfrm>
                <a:off x="11668776" y="10367774"/>
                <a:ext cx="164351" cy="112043"/>
              </a:xfrm>
              <a:custGeom>
                <a:avLst/>
                <a:gdLst>
                  <a:gd name="connsiteX0" fmla="*/ 136659 w 164351"/>
                  <a:gd name="connsiteY0" fmla="*/ 112044 h 112043"/>
                  <a:gd name="connsiteX1" fmla="*/ 87428 w 164351"/>
                  <a:gd name="connsiteY1" fmla="*/ 96659 h 112043"/>
                  <a:gd name="connsiteX2" fmla="*/ 13582 w 164351"/>
                  <a:gd name="connsiteY2" fmla="*/ 62813 h 112043"/>
                  <a:gd name="connsiteX3" fmla="*/ 13582 w 164351"/>
                  <a:gd name="connsiteY3" fmla="*/ 62813 h 112043"/>
                  <a:gd name="connsiteX4" fmla="*/ 7428 w 164351"/>
                  <a:gd name="connsiteY4" fmla="*/ 56659 h 112043"/>
                  <a:gd name="connsiteX5" fmla="*/ 13582 w 164351"/>
                  <a:gd name="connsiteY5" fmla="*/ 50505 h 112043"/>
                  <a:gd name="connsiteX6" fmla="*/ 93582 w 164351"/>
                  <a:gd name="connsiteY6" fmla="*/ 87429 h 112043"/>
                  <a:gd name="connsiteX7" fmla="*/ 152044 w 164351"/>
                  <a:gd name="connsiteY7" fmla="*/ 96659 h 112043"/>
                  <a:gd name="connsiteX8" fmla="*/ 152044 w 164351"/>
                  <a:gd name="connsiteY8" fmla="*/ 93582 h 112043"/>
                  <a:gd name="connsiteX9" fmla="*/ 4352 w 164351"/>
                  <a:gd name="connsiteY9" fmla="*/ 10506 h 112043"/>
                  <a:gd name="connsiteX10" fmla="*/ 1275 w 164351"/>
                  <a:gd name="connsiteY10" fmla="*/ 4351 h 112043"/>
                  <a:gd name="connsiteX11" fmla="*/ 7428 w 164351"/>
                  <a:gd name="connsiteY11" fmla="*/ 1274 h 112043"/>
                  <a:gd name="connsiteX12" fmla="*/ 164351 w 164351"/>
                  <a:gd name="connsiteY12" fmla="*/ 93582 h 112043"/>
                  <a:gd name="connsiteX13" fmla="*/ 158198 w 164351"/>
                  <a:gd name="connsiteY13" fmla="*/ 108966 h 112043"/>
                  <a:gd name="connsiteX14" fmla="*/ 136659 w 164351"/>
                  <a:gd name="connsiteY14" fmla="*/ 112044 h 112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64351" h="112043">
                    <a:moveTo>
                      <a:pt x="136659" y="112044"/>
                    </a:moveTo>
                    <a:cubicBezTo>
                      <a:pt x="115120" y="112044"/>
                      <a:pt x="90505" y="99736"/>
                      <a:pt x="87428" y="96659"/>
                    </a:cubicBezTo>
                    <a:cubicBezTo>
                      <a:pt x="56659" y="78197"/>
                      <a:pt x="22812" y="62813"/>
                      <a:pt x="13582" y="62813"/>
                    </a:cubicBezTo>
                    <a:cubicBezTo>
                      <a:pt x="13582" y="62813"/>
                      <a:pt x="13582" y="62813"/>
                      <a:pt x="13582" y="62813"/>
                    </a:cubicBezTo>
                    <a:cubicBezTo>
                      <a:pt x="10505" y="62813"/>
                      <a:pt x="7428" y="59736"/>
                      <a:pt x="7428" y="56659"/>
                    </a:cubicBezTo>
                    <a:cubicBezTo>
                      <a:pt x="7428" y="53582"/>
                      <a:pt x="10505" y="50505"/>
                      <a:pt x="13582" y="50505"/>
                    </a:cubicBezTo>
                    <a:cubicBezTo>
                      <a:pt x="28967" y="47428"/>
                      <a:pt x="78198" y="78197"/>
                      <a:pt x="93582" y="87429"/>
                    </a:cubicBezTo>
                    <a:cubicBezTo>
                      <a:pt x="105890" y="93582"/>
                      <a:pt x="139736" y="105890"/>
                      <a:pt x="152044" y="96659"/>
                    </a:cubicBezTo>
                    <a:cubicBezTo>
                      <a:pt x="152044" y="96659"/>
                      <a:pt x="155121" y="93582"/>
                      <a:pt x="152044" y="93582"/>
                    </a:cubicBezTo>
                    <a:cubicBezTo>
                      <a:pt x="148967" y="78197"/>
                      <a:pt x="99736" y="41275"/>
                      <a:pt x="4352" y="10506"/>
                    </a:cubicBezTo>
                    <a:cubicBezTo>
                      <a:pt x="1275" y="10506"/>
                      <a:pt x="-1803" y="7428"/>
                      <a:pt x="1275" y="4351"/>
                    </a:cubicBezTo>
                    <a:cubicBezTo>
                      <a:pt x="1275" y="1274"/>
                      <a:pt x="4352" y="-1802"/>
                      <a:pt x="7428" y="1274"/>
                    </a:cubicBezTo>
                    <a:cubicBezTo>
                      <a:pt x="93582" y="28967"/>
                      <a:pt x="158198" y="65890"/>
                      <a:pt x="164351" y="93582"/>
                    </a:cubicBezTo>
                    <a:cubicBezTo>
                      <a:pt x="164351" y="99736"/>
                      <a:pt x="164351" y="105890"/>
                      <a:pt x="158198" y="108966"/>
                    </a:cubicBezTo>
                    <a:cubicBezTo>
                      <a:pt x="152044" y="112044"/>
                      <a:pt x="145889" y="112044"/>
                      <a:pt x="136659" y="11204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7A927F4F-DE42-4FD0-B7A3-9150BB376CFB}"/>
                  </a:ext>
                </a:extLst>
              </p:cNvPr>
              <p:cNvSpPr/>
              <p:nvPr/>
            </p:nvSpPr>
            <p:spPr>
              <a:xfrm>
                <a:off x="11662622" y="10466235"/>
                <a:ext cx="145121" cy="108966"/>
              </a:xfrm>
              <a:custGeom>
                <a:avLst/>
                <a:gdLst>
                  <a:gd name="connsiteX0" fmla="*/ 139736 w 145121"/>
                  <a:gd name="connsiteY0" fmla="*/ 105890 h 108966"/>
                  <a:gd name="connsiteX1" fmla="*/ 136659 w 145121"/>
                  <a:gd name="connsiteY1" fmla="*/ 105890 h 108966"/>
                  <a:gd name="connsiteX2" fmla="*/ 4352 w 145121"/>
                  <a:gd name="connsiteY2" fmla="*/ 10505 h 108966"/>
                  <a:gd name="connsiteX3" fmla="*/ 1275 w 145121"/>
                  <a:gd name="connsiteY3" fmla="*/ 4352 h 108966"/>
                  <a:gd name="connsiteX4" fmla="*/ 7429 w 145121"/>
                  <a:gd name="connsiteY4" fmla="*/ 1275 h 108966"/>
                  <a:gd name="connsiteX5" fmla="*/ 142813 w 145121"/>
                  <a:gd name="connsiteY5" fmla="*/ 99736 h 108966"/>
                  <a:gd name="connsiteX6" fmla="*/ 142813 w 145121"/>
                  <a:gd name="connsiteY6" fmla="*/ 108967 h 108966"/>
                  <a:gd name="connsiteX7" fmla="*/ 139736 w 145121"/>
                  <a:gd name="connsiteY7" fmla="*/ 105890 h 108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5121" h="108966">
                    <a:moveTo>
                      <a:pt x="139736" y="105890"/>
                    </a:moveTo>
                    <a:cubicBezTo>
                      <a:pt x="139736" y="105890"/>
                      <a:pt x="136659" y="105890"/>
                      <a:pt x="136659" y="105890"/>
                    </a:cubicBezTo>
                    <a:cubicBezTo>
                      <a:pt x="136659" y="105890"/>
                      <a:pt x="38198" y="19736"/>
                      <a:pt x="4352" y="10505"/>
                    </a:cubicBezTo>
                    <a:cubicBezTo>
                      <a:pt x="1275" y="10505"/>
                      <a:pt x="-1803" y="7429"/>
                      <a:pt x="1275" y="4352"/>
                    </a:cubicBezTo>
                    <a:cubicBezTo>
                      <a:pt x="1275" y="1275"/>
                      <a:pt x="4352" y="-1803"/>
                      <a:pt x="7429" y="1275"/>
                    </a:cubicBezTo>
                    <a:cubicBezTo>
                      <a:pt x="44351" y="10505"/>
                      <a:pt x="139736" y="96659"/>
                      <a:pt x="142813" y="99736"/>
                    </a:cubicBezTo>
                    <a:cubicBezTo>
                      <a:pt x="145890" y="102813"/>
                      <a:pt x="145890" y="105890"/>
                      <a:pt x="142813" y="108967"/>
                    </a:cubicBezTo>
                    <a:cubicBezTo>
                      <a:pt x="142813" y="105890"/>
                      <a:pt x="139736" y="105890"/>
                      <a:pt x="139736" y="10589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B9D196CD-7239-485A-9DF1-1550317A838B}"/>
                  </a:ext>
                </a:extLst>
              </p:cNvPr>
              <p:cNvSpPr/>
              <p:nvPr/>
            </p:nvSpPr>
            <p:spPr>
              <a:xfrm>
                <a:off x="11614665" y="10504433"/>
                <a:ext cx="61538" cy="39999"/>
              </a:xfrm>
              <a:custGeom>
                <a:avLst/>
                <a:gdLst>
                  <a:gd name="connsiteX0" fmla="*/ 55385 w 61538"/>
                  <a:gd name="connsiteY0" fmla="*/ 40000 h 39999"/>
                  <a:gd name="connsiteX1" fmla="*/ 55385 w 61538"/>
                  <a:gd name="connsiteY1" fmla="*/ 40000 h 39999"/>
                  <a:gd name="connsiteX2" fmla="*/ 3077 w 61538"/>
                  <a:gd name="connsiteY2" fmla="*/ 12308 h 39999"/>
                  <a:gd name="connsiteX3" fmla="*/ 0 w 61538"/>
                  <a:gd name="connsiteY3" fmla="*/ 3076 h 39999"/>
                  <a:gd name="connsiteX4" fmla="*/ 9231 w 61538"/>
                  <a:gd name="connsiteY4" fmla="*/ 0 h 39999"/>
                  <a:gd name="connsiteX5" fmla="*/ 58462 w 61538"/>
                  <a:gd name="connsiteY5" fmla="*/ 24615 h 39999"/>
                  <a:gd name="connsiteX6" fmla="*/ 61538 w 61538"/>
                  <a:gd name="connsiteY6" fmla="*/ 33845 h 39999"/>
                  <a:gd name="connsiteX7" fmla="*/ 55385 w 61538"/>
                  <a:gd name="connsiteY7" fmla="*/ 40000 h 39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1538" h="39999">
                    <a:moveTo>
                      <a:pt x="55385" y="40000"/>
                    </a:moveTo>
                    <a:cubicBezTo>
                      <a:pt x="55385" y="40000"/>
                      <a:pt x="52308" y="40000"/>
                      <a:pt x="55385" y="40000"/>
                    </a:cubicBezTo>
                    <a:lnTo>
                      <a:pt x="3077" y="12308"/>
                    </a:lnTo>
                    <a:cubicBezTo>
                      <a:pt x="0" y="12308"/>
                      <a:pt x="0" y="6153"/>
                      <a:pt x="0" y="3076"/>
                    </a:cubicBezTo>
                    <a:cubicBezTo>
                      <a:pt x="0" y="0"/>
                      <a:pt x="6154" y="0"/>
                      <a:pt x="9231" y="0"/>
                    </a:cubicBezTo>
                    <a:lnTo>
                      <a:pt x="58462" y="24615"/>
                    </a:lnTo>
                    <a:cubicBezTo>
                      <a:pt x="61538" y="24615"/>
                      <a:pt x="61538" y="30769"/>
                      <a:pt x="61538" y="33845"/>
                    </a:cubicBezTo>
                    <a:cubicBezTo>
                      <a:pt x="58462" y="40000"/>
                      <a:pt x="58462" y="40000"/>
                      <a:pt x="55385" y="400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67074513-4117-407D-9289-D6179DF65409}"/>
                  </a:ext>
                </a:extLst>
              </p:cNvPr>
              <p:cNvSpPr/>
              <p:nvPr/>
            </p:nvSpPr>
            <p:spPr>
              <a:xfrm>
                <a:off x="11575435" y="10390587"/>
                <a:ext cx="57692" cy="104615"/>
              </a:xfrm>
              <a:custGeom>
                <a:avLst/>
                <a:gdLst>
                  <a:gd name="connsiteX0" fmla="*/ 5385 w 57692"/>
                  <a:gd name="connsiteY0" fmla="*/ 104615 h 104615"/>
                  <a:gd name="connsiteX1" fmla="*/ 2308 w 57692"/>
                  <a:gd name="connsiteY1" fmla="*/ 101538 h 104615"/>
                  <a:gd name="connsiteX2" fmla="*/ 2308 w 57692"/>
                  <a:gd name="connsiteY2" fmla="*/ 92308 h 104615"/>
                  <a:gd name="connsiteX3" fmla="*/ 45385 w 57692"/>
                  <a:gd name="connsiteY3" fmla="*/ 6154 h 104615"/>
                  <a:gd name="connsiteX4" fmla="*/ 51539 w 57692"/>
                  <a:gd name="connsiteY4" fmla="*/ 0 h 104615"/>
                  <a:gd name="connsiteX5" fmla="*/ 51539 w 57692"/>
                  <a:gd name="connsiteY5" fmla="*/ 0 h 104615"/>
                  <a:gd name="connsiteX6" fmla="*/ 57692 w 57692"/>
                  <a:gd name="connsiteY6" fmla="*/ 6154 h 104615"/>
                  <a:gd name="connsiteX7" fmla="*/ 11538 w 57692"/>
                  <a:gd name="connsiteY7" fmla="*/ 101538 h 104615"/>
                  <a:gd name="connsiteX8" fmla="*/ 5385 w 57692"/>
                  <a:gd name="connsiteY8" fmla="*/ 104615 h 10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692" h="104615">
                    <a:moveTo>
                      <a:pt x="5385" y="104615"/>
                    </a:moveTo>
                    <a:cubicBezTo>
                      <a:pt x="2308" y="104615"/>
                      <a:pt x="2308" y="104615"/>
                      <a:pt x="2308" y="101538"/>
                    </a:cubicBezTo>
                    <a:cubicBezTo>
                      <a:pt x="-769" y="98462"/>
                      <a:pt x="-769" y="95385"/>
                      <a:pt x="2308" y="92308"/>
                    </a:cubicBezTo>
                    <a:cubicBezTo>
                      <a:pt x="42307" y="58461"/>
                      <a:pt x="45385" y="6154"/>
                      <a:pt x="45385" y="6154"/>
                    </a:cubicBezTo>
                    <a:cubicBezTo>
                      <a:pt x="45385" y="3077"/>
                      <a:pt x="48462" y="0"/>
                      <a:pt x="51539" y="0"/>
                    </a:cubicBezTo>
                    <a:lnTo>
                      <a:pt x="51539" y="0"/>
                    </a:lnTo>
                    <a:cubicBezTo>
                      <a:pt x="54615" y="0"/>
                      <a:pt x="57692" y="3077"/>
                      <a:pt x="57692" y="6154"/>
                    </a:cubicBezTo>
                    <a:cubicBezTo>
                      <a:pt x="57692" y="9230"/>
                      <a:pt x="57692" y="64616"/>
                      <a:pt x="11538" y="101538"/>
                    </a:cubicBezTo>
                    <a:cubicBezTo>
                      <a:pt x="5385" y="104615"/>
                      <a:pt x="5385" y="104615"/>
                      <a:pt x="5385" y="10461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7F4E9ED7-0870-49BC-A70C-3D41E7464693}"/>
                </a:ext>
              </a:extLst>
            </p:cNvPr>
            <p:cNvSpPr/>
            <p:nvPr/>
          </p:nvSpPr>
          <p:spPr>
            <a:xfrm>
              <a:off x="10986973" y="9725971"/>
              <a:ext cx="156923" cy="473846"/>
            </a:xfrm>
            <a:custGeom>
              <a:avLst/>
              <a:gdLst>
                <a:gd name="connsiteX0" fmla="*/ 6154 w 156923"/>
                <a:gd name="connsiteY0" fmla="*/ 473846 h 473846"/>
                <a:gd name="connsiteX1" fmla="*/ 0 w 156923"/>
                <a:gd name="connsiteY1" fmla="*/ 470769 h 473846"/>
                <a:gd name="connsiteX2" fmla="*/ 3077 w 156923"/>
                <a:gd name="connsiteY2" fmla="*/ 464616 h 473846"/>
                <a:gd name="connsiteX3" fmla="*/ 58461 w 156923"/>
                <a:gd name="connsiteY3" fmla="*/ 433846 h 473846"/>
                <a:gd name="connsiteX4" fmla="*/ 144616 w 156923"/>
                <a:gd name="connsiteY4" fmla="*/ 0 h 473846"/>
                <a:gd name="connsiteX5" fmla="*/ 156923 w 156923"/>
                <a:gd name="connsiteY5" fmla="*/ 3077 h 473846"/>
                <a:gd name="connsiteX6" fmla="*/ 70770 w 156923"/>
                <a:gd name="connsiteY6" fmla="*/ 440000 h 473846"/>
                <a:gd name="connsiteX7" fmla="*/ 67693 w 156923"/>
                <a:gd name="connsiteY7" fmla="*/ 443077 h 473846"/>
                <a:gd name="connsiteX8" fmla="*/ 6154 w 156923"/>
                <a:gd name="connsiteY8" fmla="*/ 473846 h 473846"/>
                <a:gd name="connsiteX9" fmla="*/ 6154 w 156923"/>
                <a:gd name="connsiteY9" fmla="*/ 473846 h 47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923" h="473846">
                  <a:moveTo>
                    <a:pt x="6154" y="473846"/>
                  </a:moveTo>
                  <a:cubicBezTo>
                    <a:pt x="3077" y="473846"/>
                    <a:pt x="3077" y="473846"/>
                    <a:pt x="0" y="470769"/>
                  </a:cubicBezTo>
                  <a:cubicBezTo>
                    <a:pt x="0" y="467693"/>
                    <a:pt x="0" y="464616"/>
                    <a:pt x="3077" y="464616"/>
                  </a:cubicBezTo>
                  <a:cubicBezTo>
                    <a:pt x="18462" y="458462"/>
                    <a:pt x="52308" y="440000"/>
                    <a:pt x="58461" y="433846"/>
                  </a:cubicBezTo>
                  <a:cubicBezTo>
                    <a:pt x="83077" y="313847"/>
                    <a:pt x="144616" y="0"/>
                    <a:pt x="144616" y="0"/>
                  </a:cubicBezTo>
                  <a:lnTo>
                    <a:pt x="156923" y="3077"/>
                  </a:lnTo>
                  <a:cubicBezTo>
                    <a:pt x="156923" y="3077"/>
                    <a:pt x="92308" y="323077"/>
                    <a:pt x="70770" y="440000"/>
                  </a:cubicBezTo>
                  <a:cubicBezTo>
                    <a:pt x="70770" y="440000"/>
                    <a:pt x="70770" y="443077"/>
                    <a:pt x="67693" y="443077"/>
                  </a:cubicBezTo>
                  <a:cubicBezTo>
                    <a:pt x="67693" y="440000"/>
                    <a:pt x="27692" y="464616"/>
                    <a:pt x="6154" y="473846"/>
                  </a:cubicBezTo>
                  <a:cubicBezTo>
                    <a:pt x="9231" y="473846"/>
                    <a:pt x="9231" y="473846"/>
                    <a:pt x="6154" y="473846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D8340058-4E38-4E9E-B532-288096CA128A}"/>
                </a:ext>
              </a:extLst>
            </p:cNvPr>
            <p:cNvSpPr/>
            <p:nvPr/>
          </p:nvSpPr>
          <p:spPr>
            <a:xfrm>
              <a:off x="10826974" y="9132125"/>
              <a:ext cx="433406" cy="589167"/>
            </a:xfrm>
            <a:custGeom>
              <a:avLst/>
              <a:gdLst>
                <a:gd name="connsiteX0" fmla="*/ 0 w 433406"/>
                <a:gd name="connsiteY0" fmla="*/ 516923 h 589167"/>
                <a:gd name="connsiteX1" fmla="*/ 313846 w 433406"/>
                <a:gd name="connsiteY1" fmla="*/ 0 h 589167"/>
                <a:gd name="connsiteX2" fmla="*/ 421538 w 433406"/>
                <a:gd name="connsiteY2" fmla="*/ 584615 h 589167"/>
                <a:gd name="connsiteX3" fmla="*/ 0 w 433406"/>
                <a:gd name="connsiteY3" fmla="*/ 516923 h 589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406" h="589167">
                  <a:moveTo>
                    <a:pt x="0" y="516923"/>
                  </a:moveTo>
                  <a:cubicBezTo>
                    <a:pt x="0" y="516923"/>
                    <a:pt x="166154" y="0"/>
                    <a:pt x="313846" y="0"/>
                  </a:cubicBezTo>
                  <a:cubicBezTo>
                    <a:pt x="486153" y="0"/>
                    <a:pt x="421538" y="584615"/>
                    <a:pt x="421538" y="584615"/>
                  </a:cubicBezTo>
                  <a:cubicBezTo>
                    <a:pt x="421538" y="584615"/>
                    <a:pt x="193846" y="615385"/>
                    <a:pt x="0" y="516923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C138A085-7B7E-4A47-B83F-F24F6D766F2C}"/>
                </a:ext>
              </a:extLst>
            </p:cNvPr>
            <p:cNvSpPr/>
            <p:nvPr/>
          </p:nvSpPr>
          <p:spPr>
            <a:xfrm>
              <a:off x="11106973" y="9129048"/>
              <a:ext cx="154474" cy="600000"/>
            </a:xfrm>
            <a:custGeom>
              <a:avLst/>
              <a:gdLst>
                <a:gd name="connsiteX0" fmla="*/ 52308 w 154474"/>
                <a:gd name="connsiteY0" fmla="*/ 600000 h 600000"/>
                <a:gd name="connsiteX1" fmla="*/ 6154 w 154474"/>
                <a:gd name="connsiteY1" fmla="*/ 596923 h 600000"/>
                <a:gd name="connsiteX2" fmla="*/ 0 w 154474"/>
                <a:gd name="connsiteY2" fmla="*/ 590769 h 600000"/>
                <a:gd name="connsiteX3" fmla="*/ 6154 w 154474"/>
                <a:gd name="connsiteY3" fmla="*/ 584615 h 600000"/>
                <a:gd name="connsiteX4" fmla="*/ 138462 w 154474"/>
                <a:gd name="connsiteY4" fmla="*/ 581538 h 600000"/>
                <a:gd name="connsiteX5" fmla="*/ 144616 w 154474"/>
                <a:gd name="connsiteY5" fmla="*/ 224615 h 600000"/>
                <a:gd name="connsiteX6" fmla="*/ 33846 w 154474"/>
                <a:gd name="connsiteY6" fmla="*/ 9231 h 600000"/>
                <a:gd name="connsiteX7" fmla="*/ 30769 w 154474"/>
                <a:gd name="connsiteY7" fmla="*/ 3077 h 600000"/>
                <a:gd name="connsiteX8" fmla="*/ 36923 w 154474"/>
                <a:gd name="connsiteY8" fmla="*/ 0 h 600000"/>
                <a:gd name="connsiteX9" fmla="*/ 153846 w 154474"/>
                <a:gd name="connsiteY9" fmla="*/ 227692 h 600000"/>
                <a:gd name="connsiteX10" fmla="*/ 147693 w 154474"/>
                <a:gd name="connsiteY10" fmla="*/ 590769 h 600000"/>
                <a:gd name="connsiteX11" fmla="*/ 147693 w 154474"/>
                <a:gd name="connsiteY11" fmla="*/ 593846 h 600000"/>
                <a:gd name="connsiteX12" fmla="*/ 144616 w 154474"/>
                <a:gd name="connsiteY12" fmla="*/ 593846 h 600000"/>
                <a:gd name="connsiteX13" fmla="*/ 52308 w 154474"/>
                <a:gd name="connsiteY13" fmla="*/ 600000 h 600000"/>
                <a:gd name="connsiteX14" fmla="*/ 141539 w 154474"/>
                <a:gd name="connsiteY14" fmla="*/ 587693 h 600000"/>
                <a:gd name="connsiteX15" fmla="*/ 141539 w 154474"/>
                <a:gd name="connsiteY15" fmla="*/ 587693 h 600000"/>
                <a:gd name="connsiteX16" fmla="*/ 141539 w 154474"/>
                <a:gd name="connsiteY16" fmla="*/ 587693 h 6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4474" h="600000">
                  <a:moveTo>
                    <a:pt x="52308" y="600000"/>
                  </a:moveTo>
                  <a:cubicBezTo>
                    <a:pt x="36923" y="600000"/>
                    <a:pt x="21539" y="600000"/>
                    <a:pt x="6154" y="596923"/>
                  </a:cubicBezTo>
                  <a:cubicBezTo>
                    <a:pt x="3077" y="596923"/>
                    <a:pt x="0" y="593846"/>
                    <a:pt x="0" y="590769"/>
                  </a:cubicBezTo>
                  <a:cubicBezTo>
                    <a:pt x="0" y="587693"/>
                    <a:pt x="3077" y="584615"/>
                    <a:pt x="6154" y="584615"/>
                  </a:cubicBezTo>
                  <a:cubicBezTo>
                    <a:pt x="61538" y="590769"/>
                    <a:pt x="120001" y="584615"/>
                    <a:pt x="138462" y="581538"/>
                  </a:cubicBezTo>
                  <a:cubicBezTo>
                    <a:pt x="141539" y="553846"/>
                    <a:pt x="150770" y="390769"/>
                    <a:pt x="144616" y="224615"/>
                  </a:cubicBezTo>
                  <a:cubicBezTo>
                    <a:pt x="141539" y="46154"/>
                    <a:pt x="36923" y="9231"/>
                    <a:pt x="33846" y="9231"/>
                  </a:cubicBezTo>
                  <a:cubicBezTo>
                    <a:pt x="30769" y="9231"/>
                    <a:pt x="30769" y="6154"/>
                    <a:pt x="30769" y="3077"/>
                  </a:cubicBezTo>
                  <a:cubicBezTo>
                    <a:pt x="30769" y="0"/>
                    <a:pt x="33846" y="0"/>
                    <a:pt x="36923" y="0"/>
                  </a:cubicBezTo>
                  <a:cubicBezTo>
                    <a:pt x="43078" y="0"/>
                    <a:pt x="150770" y="40000"/>
                    <a:pt x="153846" y="227692"/>
                  </a:cubicBezTo>
                  <a:cubicBezTo>
                    <a:pt x="156923" y="412308"/>
                    <a:pt x="147693" y="590769"/>
                    <a:pt x="147693" y="590769"/>
                  </a:cubicBezTo>
                  <a:lnTo>
                    <a:pt x="147693" y="593846"/>
                  </a:lnTo>
                  <a:lnTo>
                    <a:pt x="144616" y="593846"/>
                  </a:lnTo>
                  <a:cubicBezTo>
                    <a:pt x="141539" y="593846"/>
                    <a:pt x="101539" y="600000"/>
                    <a:pt x="52308" y="600000"/>
                  </a:cubicBezTo>
                  <a:close/>
                  <a:moveTo>
                    <a:pt x="141539" y="587693"/>
                  </a:moveTo>
                  <a:lnTo>
                    <a:pt x="141539" y="587693"/>
                  </a:lnTo>
                  <a:lnTo>
                    <a:pt x="141539" y="587693"/>
                  </a:ln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F7E8D93E-1CEE-483E-9A64-61456E118200}"/>
                </a:ext>
              </a:extLst>
            </p:cNvPr>
            <p:cNvSpPr/>
            <p:nvPr/>
          </p:nvSpPr>
          <p:spPr>
            <a:xfrm>
              <a:off x="12014665" y="9153664"/>
              <a:ext cx="53582" cy="556922"/>
            </a:xfrm>
            <a:custGeom>
              <a:avLst/>
              <a:gdLst>
                <a:gd name="connsiteX0" fmla="*/ 49231 w 53582"/>
                <a:gd name="connsiteY0" fmla="*/ 556923 h 556922"/>
                <a:gd name="connsiteX1" fmla="*/ 43078 w 53582"/>
                <a:gd name="connsiteY1" fmla="*/ 550769 h 556922"/>
                <a:gd name="connsiteX2" fmla="*/ 0 w 53582"/>
                <a:gd name="connsiteY2" fmla="*/ 6154 h 556922"/>
                <a:gd name="connsiteX3" fmla="*/ 3077 w 53582"/>
                <a:gd name="connsiteY3" fmla="*/ 0 h 556922"/>
                <a:gd name="connsiteX4" fmla="*/ 9231 w 53582"/>
                <a:gd name="connsiteY4" fmla="*/ 3077 h 556922"/>
                <a:gd name="connsiteX5" fmla="*/ 52308 w 53582"/>
                <a:gd name="connsiteY5" fmla="*/ 550769 h 556922"/>
                <a:gd name="connsiteX6" fmla="*/ 49231 w 53582"/>
                <a:gd name="connsiteY6" fmla="*/ 556923 h 556922"/>
                <a:gd name="connsiteX7" fmla="*/ 49231 w 53582"/>
                <a:gd name="connsiteY7" fmla="*/ 556923 h 556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582" h="556922">
                  <a:moveTo>
                    <a:pt x="49231" y="556923"/>
                  </a:moveTo>
                  <a:cubicBezTo>
                    <a:pt x="46154" y="556923"/>
                    <a:pt x="43078" y="553846"/>
                    <a:pt x="43078" y="550769"/>
                  </a:cubicBezTo>
                  <a:cubicBezTo>
                    <a:pt x="43078" y="544615"/>
                    <a:pt x="6154" y="46154"/>
                    <a:pt x="0" y="6154"/>
                  </a:cubicBezTo>
                  <a:cubicBezTo>
                    <a:pt x="0" y="3077"/>
                    <a:pt x="0" y="0"/>
                    <a:pt x="3077" y="0"/>
                  </a:cubicBezTo>
                  <a:cubicBezTo>
                    <a:pt x="6154" y="0"/>
                    <a:pt x="9231" y="0"/>
                    <a:pt x="9231" y="3077"/>
                  </a:cubicBezTo>
                  <a:cubicBezTo>
                    <a:pt x="18462" y="43077"/>
                    <a:pt x="52308" y="529231"/>
                    <a:pt x="52308" y="550769"/>
                  </a:cubicBezTo>
                  <a:cubicBezTo>
                    <a:pt x="55385" y="553846"/>
                    <a:pt x="52308" y="556923"/>
                    <a:pt x="49231" y="556923"/>
                  </a:cubicBezTo>
                  <a:cubicBezTo>
                    <a:pt x="49231" y="556923"/>
                    <a:pt x="49231" y="556923"/>
                    <a:pt x="49231" y="556923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73" name="图形 1">
            <a:extLst>
              <a:ext uri="{FF2B5EF4-FFF2-40B4-BE49-F238E27FC236}">
                <a16:creationId xmlns:a16="http://schemas.microsoft.com/office/drawing/2014/main" id="{1DF39843-C92A-41A9-9829-4A7E24D4243F}"/>
              </a:ext>
            </a:extLst>
          </p:cNvPr>
          <p:cNvGrpSpPr/>
          <p:nvPr/>
        </p:nvGrpSpPr>
        <p:grpSpPr>
          <a:xfrm>
            <a:off x="5995007" y="2221287"/>
            <a:ext cx="3486153" cy="4636713"/>
            <a:chOff x="14251589" y="8508994"/>
            <a:chExt cx="3486153" cy="4636713"/>
          </a:xfrm>
        </p:grpSpPr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86C71457-1CEA-48B7-8B61-EB3729ACCC3D}"/>
                </a:ext>
              </a:extLst>
            </p:cNvPr>
            <p:cNvSpPr/>
            <p:nvPr/>
          </p:nvSpPr>
          <p:spPr>
            <a:xfrm>
              <a:off x="16652129" y="8635377"/>
              <a:ext cx="569025" cy="761487"/>
            </a:xfrm>
            <a:custGeom>
              <a:avLst/>
              <a:gdLst>
                <a:gd name="connsiteX0" fmla="*/ 479460 w 569025"/>
                <a:gd name="connsiteY0" fmla="*/ 469055 h 761487"/>
                <a:gd name="connsiteX1" fmla="*/ 479460 w 569025"/>
                <a:gd name="connsiteY1" fmla="*/ 305978 h 761487"/>
                <a:gd name="connsiteX2" fmla="*/ 528691 w 569025"/>
                <a:gd name="connsiteY2" fmla="*/ 161363 h 761487"/>
                <a:gd name="connsiteX3" fmla="*/ 568690 w 569025"/>
                <a:gd name="connsiteY3" fmla="*/ 10594 h 761487"/>
                <a:gd name="connsiteX4" fmla="*/ 248690 w 569025"/>
                <a:gd name="connsiteY4" fmla="*/ 179825 h 761487"/>
                <a:gd name="connsiteX5" fmla="*/ 245613 w 569025"/>
                <a:gd name="connsiteY5" fmla="*/ 238286 h 761487"/>
                <a:gd name="connsiteX6" fmla="*/ 196382 w 569025"/>
                <a:gd name="connsiteY6" fmla="*/ 293671 h 761487"/>
                <a:gd name="connsiteX7" fmla="*/ 140998 w 569025"/>
                <a:gd name="connsiteY7" fmla="*/ 361363 h 761487"/>
                <a:gd name="connsiteX8" fmla="*/ 137921 w 569025"/>
                <a:gd name="connsiteY8" fmla="*/ 450594 h 761487"/>
                <a:gd name="connsiteX9" fmla="*/ 113306 w 569025"/>
                <a:gd name="connsiteY9" fmla="*/ 524440 h 761487"/>
                <a:gd name="connsiteX10" fmla="*/ 57921 w 569025"/>
                <a:gd name="connsiteY10" fmla="*/ 558287 h 761487"/>
                <a:gd name="connsiteX11" fmla="*/ 17921 w 569025"/>
                <a:gd name="connsiteY11" fmla="*/ 681363 h 761487"/>
                <a:gd name="connsiteX12" fmla="*/ 224074 w 569025"/>
                <a:gd name="connsiteY12" fmla="*/ 715209 h 761487"/>
                <a:gd name="connsiteX13" fmla="*/ 297921 w 569025"/>
                <a:gd name="connsiteY13" fmla="*/ 758287 h 761487"/>
                <a:gd name="connsiteX14" fmla="*/ 393305 w 569025"/>
                <a:gd name="connsiteY14" fmla="*/ 752132 h 761487"/>
                <a:gd name="connsiteX15" fmla="*/ 491767 w 569025"/>
                <a:gd name="connsiteY15" fmla="*/ 595209 h 761487"/>
                <a:gd name="connsiteX16" fmla="*/ 479460 w 569025"/>
                <a:gd name="connsiteY16" fmla="*/ 469055 h 76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69025" h="761487">
                  <a:moveTo>
                    <a:pt x="479460" y="469055"/>
                  </a:moveTo>
                  <a:cubicBezTo>
                    <a:pt x="473305" y="416748"/>
                    <a:pt x="470228" y="361363"/>
                    <a:pt x="479460" y="305978"/>
                  </a:cubicBezTo>
                  <a:cubicBezTo>
                    <a:pt x="488690" y="253671"/>
                    <a:pt x="504075" y="207517"/>
                    <a:pt x="528691" y="161363"/>
                  </a:cubicBezTo>
                  <a:cubicBezTo>
                    <a:pt x="553306" y="112133"/>
                    <a:pt x="571767" y="10594"/>
                    <a:pt x="568690" y="10594"/>
                  </a:cubicBezTo>
                  <a:cubicBezTo>
                    <a:pt x="454844" y="-29406"/>
                    <a:pt x="248690" y="47517"/>
                    <a:pt x="248690" y="179825"/>
                  </a:cubicBezTo>
                  <a:cubicBezTo>
                    <a:pt x="248690" y="201363"/>
                    <a:pt x="251768" y="219825"/>
                    <a:pt x="245613" y="238286"/>
                  </a:cubicBezTo>
                  <a:cubicBezTo>
                    <a:pt x="239459" y="269055"/>
                    <a:pt x="217921" y="278286"/>
                    <a:pt x="196382" y="293671"/>
                  </a:cubicBezTo>
                  <a:cubicBezTo>
                    <a:pt x="171767" y="309056"/>
                    <a:pt x="150228" y="330594"/>
                    <a:pt x="140998" y="361363"/>
                  </a:cubicBezTo>
                  <a:cubicBezTo>
                    <a:pt x="128691" y="392132"/>
                    <a:pt x="134844" y="419825"/>
                    <a:pt x="137921" y="450594"/>
                  </a:cubicBezTo>
                  <a:cubicBezTo>
                    <a:pt x="144075" y="484440"/>
                    <a:pt x="140998" y="505978"/>
                    <a:pt x="113306" y="524440"/>
                  </a:cubicBezTo>
                  <a:cubicBezTo>
                    <a:pt x="94844" y="536748"/>
                    <a:pt x="76383" y="545979"/>
                    <a:pt x="57921" y="558287"/>
                  </a:cubicBezTo>
                  <a:cubicBezTo>
                    <a:pt x="17921" y="582902"/>
                    <a:pt x="-25156" y="638286"/>
                    <a:pt x="17921" y="681363"/>
                  </a:cubicBezTo>
                  <a:cubicBezTo>
                    <a:pt x="73305" y="739825"/>
                    <a:pt x="162536" y="675209"/>
                    <a:pt x="224074" y="715209"/>
                  </a:cubicBezTo>
                  <a:cubicBezTo>
                    <a:pt x="248690" y="730594"/>
                    <a:pt x="264075" y="752132"/>
                    <a:pt x="297921" y="758287"/>
                  </a:cubicBezTo>
                  <a:cubicBezTo>
                    <a:pt x="325613" y="764440"/>
                    <a:pt x="365613" y="761363"/>
                    <a:pt x="393305" y="752132"/>
                  </a:cubicBezTo>
                  <a:cubicBezTo>
                    <a:pt x="448690" y="733671"/>
                    <a:pt x="482537" y="647517"/>
                    <a:pt x="491767" y="595209"/>
                  </a:cubicBezTo>
                  <a:cubicBezTo>
                    <a:pt x="494844" y="555209"/>
                    <a:pt x="485613" y="512133"/>
                    <a:pt x="479460" y="469055"/>
                  </a:cubicBezTo>
                  <a:close/>
                </a:path>
              </a:pathLst>
            </a:custGeom>
            <a:solidFill>
              <a:srgbClr val="D3977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3659B081-C292-4BD4-8F4F-F8B84BEA8DE9}"/>
                </a:ext>
              </a:extLst>
            </p:cNvPr>
            <p:cNvSpPr/>
            <p:nvPr/>
          </p:nvSpPr>
          <p:spPr>
            <a:xfrm>
              <a:off x="17196681" y="8956616"/>
              <a:ext cx="278869" cy="449318"/>
            </a:xfrm>
            <a:custGeom>
              <a:avLst/>
              <a:gdLst>
                <a:gd name="connsiteX0" fmla="*/ 270292 w 278869"/>
                <a:gd name="connsiteY0" fmla="*/ 350894 h 449318"/>
                <a:gd name="connsiteX1" fmla="*/ 217984 w 278869"/>
                <a:gd name="connsiteY1" fmla="*/ 292432 h 449318"/>
                <a:gd name="connsiteX2" fmla="*/ 227216 w 278869"/>
                <a:gd name="connsiteY2" fmla="*/ 197048 h 449318"/>
                <a:gd name="connsiteX3" fmla="*/ 193369 w 278869"/>
                <a:gd name="connsiteY3" fmla="*/ 21663 h 449318"/>
                <a:gd name="connsiteX4" fmla="*/ 196446 w 278869"/>
                <a:gd name="connsiteY4" fmla="*/ 9355 h 449318"/>
                <a:gd name="connsiteX5" fmla="*/ 184139 w 278869"/>
                <a:gd name="connsiteY5" fmla="*/ 3202 h 449318"/>
                <a:gd name="connsiteX6" fmla="*/ 174907 w 278869"/>
                <a:gd name="connsiteY6" fmla="*/ 12432 h 449318"/>
                <a:gd name="connsiteX7" fmla="*/ 177985 w 278869"/>
                <a:gd name="connsiteY7" fmla="*/ 24740 h 449318"/>
                <a:gd name="connsiteX8" fmla="*/ 125676 w 278869"/>
                <a:gd name="connsiteY8" fmla="*/ 92432 h 449318"/>
                <a:gd name="connsiteX9" fmla="*/ 85677 w 278869"/>
                <a:gd name="connsiteY9" fmla="*/ 163202 h 449318"/>
                <a:gd name="connsiteX10" fmla="*/ 5677 w 278869"/>
                <a:gd name="connsiteY10" fmla="*/ 320125 h 449318"/>
                <a:gd name="connsiteX11" fmla="*/ 122600 w 278869"/>
                <a:gd name="connsiteY11" fmla="*/ 443202 h 449318"/>
                <a:gd name="connsiteX12" fmla="*/ 221061 w 278869"/>
                <a:gd name="connsiteY12" fmla="*/ 446278 h 449318"/>
                <a:gd name="connsiteX13" fmla="*/ 264138 w 278869"/>
                <a:gd name="connsiteY13" fmla="*/ 427817 h 449318"/>
                <a:gd name="connsiteX14" fmla="*/ 270292 w 278869"/>
                <a:gd name="connsiteY14" fmla="*/ 350894 h 44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8869" h="449318">
                  <a:moveTo>
                    <a:pt x="270292" y="350894"/>
                  </a:moveTo>
                  <a:cubicBezTo>
                    <a:pt x="257985" y="329356"/>
                    <a:pt x="230293" y="317048"/>
                    <a:pt x="217984" y="292432"/>
                  </a:cubicBezTo>
                  <a:cubicBezTo>
                    <a:pt x="205677" y="261663"/>
                    <a:pt x="224138" y="227817"/>
                    <a:pt x="227216" y="197048"/>
                  </a:cubicBezTo>
                  <a:cubicBezTo>
                    <a:pt x="233369" y="141663"/>
                    <a:pt x="208754" y="77048"/>
                    <a:pt x="193369" y="21663"/>
                  </a:cubicBezTo>
                  <a:cubicBezTo>
                    <a:pt x="193369" y="18586"/>
                    <a:pt x="196446" y="12432"/>
                    <a:pt x="196446" y="9355"/>
                  </a:cubicBezTo>
                  <a:cubicBezTo>
                    <a:pt x="196446" y="124"/>
                    <a:pt x="187215" y="-2952"/>
                    <a:pt x="184139" y="3202"/>
                  </a:cubicBezTo>
                  <a:cubicBezTo>
                    <a:pt x="177985" y="3202"/>
                    <a:pt x="171830" y="6279"/>
                    <a:pt x="174907" y="12432"/>
                  </a:cubicBezTo>
                  <a:cubicBezTo>
                    <a:pt x="174907" y="15509"/>
                    <a:pt x="177985" y="18586"/>
                    <a:pt x="177985" y="24740"/>
                  </a:cubicBezTo>
                  <a:cubicBezTo>
                    <a:pt x="168754" y="52433"/>
                    <a:pt x="144138" y="70894"/>
                    <a:pt x="125676" y="92432"/>
                  </a:cubicBezTo>
                  <a:cubicBezTo>
                    <a:pt x="107216" y="113971"/>
                    <a:pt x="97984" y="138586"/>
                    <a:pt x="85677" y="163202"/>
                  </a:cubicBezTo>
                  <a:cubicBezTo>
                    <a:pt x="61062" y="215509"/>
                    <a:pt x="21061" y="264740"/>
                    <a:pt x="5677" y="320125"/>
                  </a:cubicBezTo>
                  <a:cubicBezTo>
                    <a:pt x="-18938" y="400125"/>
                    <a:pt x="39523" y="470894"/>
                    <a:pt x="122600" y="443202"/>
                  </a:cubicBezTo>
                  <a:cubicBezTo>
                    <a:pt x="162600" y="430894"/>
                    <a:pt x="184139" y="446278"/>
                    <a:pt x="221061" y="446278"/>
                  </a:cubicBezTo>
                  <a:cubicBezTo>
                    <a:pt x="236446" y="446278"/>
                    <a:pt x="251831" y="440125"/>
                    <a:pt x="264138" y="427817"/>
                  </a:cubicBezTo>
                  <a:cubicBezTo>
                    <a:pt x="282600" y="403202"/>
                    <a:pt x="282600" y="375509"/>
                    <a:pt x="270292" y="350894"/>
                  </a:cubicBezTo>
                  <a:close/>
                </a:path>
              </a:pathLst>
            </a:custGeom>
            <a:solidFill>
              <a:srgbClr val="D3977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A3B7C397-9C2E-4E2F-BF45-44BF52DEA437}"/>
                </a:ext>
              </a:extLst>
            </p:cNvPr>
            <p:cNvGrpSpPr/>
            <p:nvPr/>
          </p:nvGrpSpPr>
          <p:grpSpPr>
            <a:xfrm>
              <a:off x="15723779" y="9617094"/>
              <a:ext cx="331289" cy="301003"/>
              <a:chOff x="15723779" y="9617094"/>
              <a:chExt cx="331289" cy="301003"/>
            </a:xfrm>
          </p:grpSpPr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8158551D-7BBC-4199-A688-1227B4B3256C}"/>
                  </a:ext>
                </a:extLst>
              </p:cNvPr>
              <p:cNvSpPr/>
              <p:nvPr/>
            </p:nvSpPr>
            <p:spPr>
              <a:xfrm>
                <a:off x="15730435" y="9617094"/>
                <a:ext cx="324632" cy="301003"/>
              </a:xfrm>
              <a:custGeom>
                <a:avLst/>
                <a:gdLst>
                  <a:gd name="connsiteX0" fmla="*/ 50385 w 324632"/>
                  <a:gd name="connsiteY0" fmla="*/ 195031 h 301003"/>
                  <a:gd name="connsiteX1" fmla="*/ 118077 w 324632"/>
                  <a:gd name="connsiteY1" fmla="*/ 244262 h 301003"/>
                  <a:gd name="connsiteX2" fmla="*/ 238076 w 324632"/>
                  <a:gd name="connsiteY2" fmla="*/ 299647 h 301003"/>
                  <a:gd name="connsiteX3" fmla="*/ 321154 w 324632"/>
                  <a:gd name="connsiteY3" fmla="*/ 247339 h 301003"/>
                  <a:gd name="connsiteX4" fmla="*/ 318077 w 324632"/>
                  <a:gd name="connsiteY4" fmla="*/ 241185 h 301003"/>
                  <a:gd name="connsiteX5" fmla="*/ 318077 w 324632"/>
                  <a:gd name="connsiteY5" fmla="*/ 238108 h 301003"/>
                  <a:gd name="connsiteX6" fmla="*/ 250385 w 324632"/>
                  <a:gd name="connsiteY6" fmla="*/ 31954 h 301003"/>
                  <a:gd name="connsiteX7" fmla="*/ 231923 w 324632"/>
                  <a:gd name="connsiteY7" fmla="*/ 41185 h 301003"/>
                  <a:gd name="connsiteX8" fmla="*/ 253461 w 324632"/>
                  <a:gd name="connsiteY8" fmla="*/ 142724 h 301003"/>
                  <a:gd name="connsiteX9" fmla="*/ 108846 w 324632"/>
                  <a:gd name="connsiteY9" fmla="*/ 7339 h 301003"/>
                  <a:gd name="connsiteX10" fmla="*/ 75000 w 324632"/>
                  <a:gd name="connsiteY10" fmla="*/ 13493 h 301003"/>
                  <a:gd name="connsiteX11" fmla="*/ 105769 w 324632"/>
                  <a:gd name="connsiteY11" fmla="*/ 50416 h 301003"/>
                  <a:gd name="connsiteX12" fmla="*/ 148846 w 324632"/>
                  <a:gd name="connsiteY12" fmla="*/ 99647 h 301003"/>
                  <a:gd name="connsiteX13" fmla="*/ 78077 w 324632"/>
                  <a:gd name="connsiteY13" fmla="*/ 59647 h 301003"/>
                  <a:gd name="connsiteX14" fmla="*/ 25769 w 324632"/>
                  <a:gd name="connsiteY14" fmla="*/ 31954 h 301003"/>
                  <a:gd name="connsiteX15" fmla="*/ 1154 w 324632"/>
                  <a:gd name="connsiteY15" fmla="*/ 47339 h 301003"/>
                  <a:gd name="connsiteX16" fmla="*/ 10384 w 324632"/>
                  <a:gd name="connsiteY16" fmla="*/ 81185 h 301003"/>
                  <a:gd name="connsiteX17" fmla="*/ 7307 w 324632"/>
                  <a:gd name="connsiteY17" fmla="*/ 81185 h 301003"/>
                  <a:gd name="connsiteX18" fmla="*/ 4231 w 324632"/>
                  <a:gd name="connsiteY18" fmla="*/ 87339 h 301003"/>
                  <a:gd name="connsiteX19" fmla="*/ 31923 w 324632"/>
                  <a:gd name="connsiteY19" fmla="*/ 130416 h 301003"/>
                  <a:gd name="connsiteX20" fmla="*/ 56538 w 324632"/>
                  <a:gd name="connsiteY20" fmla="*/ 145801 h 301003"/>
                  <a:gd name="connsiteX21" fmla="*/ 50385 w 324632"/>
                  <a:gd name="connsiteY21" fmla="*/ 145801 h 301003"/>
                  <a:gd name="connsiteX22" fmla="*/ 31923 w 324632"/>
                  <a:gd name="connsiteY22" fmla="*/ 158108 h 301003"/>
                  <a:gd name="connsiteX23" fmla="*/ 50385 w 324632"/>
                  <a:gd name="connsiteY23" fmla="*/ 195031 h 301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24632" h="301003">
                    <a:moveTo>
                      <a:pt x="50385" y="195031"/>
                    </a:moveTo>
                    <a:cubicBezTo>
                      <a:pt x="71923" y="210416"/>
                      <a:pt x="96539" y="225800"/>
                      <a:pt x="118077" y="244262"/>
                    </a:cubicBezTo>
                    <a:cubicBezTo>
                      <a:pt x="155000" y="268878"/>
                      <a:pt x="188846" y="308877"/>
                      <a:pt x="238076" y="299647"/>
                    </a:cubicBezTo>
                    <a:cubicBezTo>
                      <a:pt x="268846" y="293493"/>
                      <a:pt x="315000" y="284262"/>
                      <a:pt x="321154" y="247339"/>
                    </a:cubicBezTo>
                    <a:cubicBezTo>
                      <a:pt x="321154" y="244262"/>
                      <a:pt x="321154" y="244262"/>
                      <a:pt x="318077" y="241185"/>
                    </a:cubicBezTo>
                    <a:cubicBezTo>
                      <a:pt x="318077" y="241185"/>
                      <a:pt x="318077" y="241185"/>
                      <a:pt x="318077" y="238108"/>
                    </a:cubicBezTo>
                    <a:cubicBezTo>
                      <a:pt x="339615" y="155031"/>
                      <a:pt x="305769" y="62723"/>
                      <a:pt x="250385" y="31954"/>
                    </a:cubicBezTo>
                    <a:cubicBezTo>
                      <a:pt x="247308" y="28878"/>
                      <a:pt x="231923" y="38108"/>
                      <a:pt x="231923" y="41185"/>
                    </a:cubicBezTo>
                    <a:cubicBezTo>
                      <a:pt x="235000" y="75031"/>
                      <a:pt x="271923" y="108877"/>
                      <a:pt x="253461" y="142724"/>
                    </a:cubicBezTo>
                    <a:cubicBezTo>
                      <a:pt x="201154" y="102724"/>
                      <a:pt x="170385" y="38108"/>
                      <a:pt x="108846" y="7339"/>
                    </a:cubicBezTo>
                    <a:cubicBezTo>
                      <a:pt x="99615" y="1185"/>
                      <a:pt x="71923" y="-8045"/>
                      <a:pt x="75000" y="13493"/>
                    </a:cubicBezTo>
                    <a:cubicBezTo>
                      <a:pt x="78077" y="28878"/>
                      <a:pt x="96539" y="41185"/>
                      <a:pt x="105769" y="50416"/>
                    </a:cubicBezTo>
                    <a:cubicBezTo>
                      <a:pt x="121154" y="65801"/>
                      <a:pt x="133461" y="81185"/>
                      <a:pt x="148846" y="99647"/>
                    </a:cubicBezTo>
                    <a:cubicBezTo>
                      <a:pt x="124231" y="87339"/>
                      <a:pt x="102692" y="71954"/>
                      <a:pt x="78077" y="59647"/>
                    </a:cubicBezTo>
                    <a:cubicBezTo>
                      <a:pt x="62692" y="50416"/>
                      <a:pt x="44231" y="35031"/>
                      <a:pt x="25769" y="31954"/>
                    </a:cubicBezTo>
                    <a:cubicBezTo>
                      <a:pt x="13461" y="28878"/>
                      <a:pt x="4231" y="38108"/>
                      <a:pt x="1154" y="47339"/>
                    </a:cubicBezTo>
                    <a:cubicBezTo>
                      <a:pt x="-1923" y="59647"/>
                      <a:pt x="1154" y="71954"/>
                      <a:pt x="10384" y="81185"/>
                    </a:cubicBezTo>
                    <a:cubicBezTo>
                      <a:pt x="10384" y="81185"/>
                      <a:pt x="7307" y="81185"/>
                      <a:pt x="7307" y="81185"/>
                    </a:cubicBezTo>
                    <a:cubicBezTo>
                      <a:pt x="4231" y="81185"/>
                      <a:pt x="4231" y="84262"/>
                      <a:pt x="4231" y="87339"/>
                    </a:cubicBezTo>
                    <a:cubicBezTo>
                      <a:pt x="4231" y="105801"/>
                      <a:pt x="16539" y="121185"/>
                      <a:pt x="31923" y="130416"/>
                    </a:cubicBezTo>
                    <a:cubicBezTo>
                      <a:pt x="41154" y="136570"/>
                      <a:pt x="47308" y="139647"/>
                      <a:pt x="56538" y="145801"/>
                    </a:cubicBezTo>
                    <a:cubicBezTo>
                      <a:pt x="53461" y="145801"/>
                      <a:pt x="50385" y="145801"/>
                      <a:pt x="50385" y="145801"/>
                    </a:cubicBezTo>
                    <a:cubicBezTo>
                      <a:pt x="41154" y="145801"/>
                      <a:pt x="35000" y="148877"/>
                      <a:pt x="31923" y="158108"/>
                    </a:cubicBezTo>
                    <a:cubicBezTo>
                      <a:pt x="19616" y="176570"/>
                      <a:pt x="38076" y="185800"/>
                      <a:pt x="50385" y="195031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E95D63A4-AD55-44F4-874C-8232C7D0F489}"/>
                  </a:ext>
                </a:extLst>
              </p:cNvPr>
              <p:cNvSpPr/>
              <p:nvPr/>
            </p:nvSpPr>
            <p:spPr>
              <a:xfrm>
                <a:off x="15952635" y="9781356"/>
                <a:ext cx="24338" cy="73846"/>
              </a:xfrm>
              <a:custGeom>
                <a:avLst/>
                <a:gdLst>
                  <a:gd name="connsiteX0" fmla="*/ 15877 w 24338"/>
                  <a:gd name="connsiteY0" fmla="*/ 73846 h 73846"/>
                  <a:gd name="connsiteX1" fmla="*/ 12800 w 24338"/>
                  <a:gd name="connsiteY1" fmla="*/ 70769 h 73846"/>
                  <a:gd name="connsiteX2" fmla="*/ 6646 w 24338"/>
                  <a:gd name="connsiteY2" fmla="*/ 3077 h 73846"/>
                  <a:gd name="connsiteX3" fmla="*/ 15877 w 24338"/>
                  <a:gd name="connsiteY3" fmla="*/ 0 h 73846"/>
                  <a:gd name="connsiteX4" fmla="*/ 18954 w 24338"/>
                  <a:gd name="connsiteY4" fmla="*/ 9231 h 73846"/>
                  <a:gd name="connsiteX5" fmla="*/ 22031 w 24338"/>
                  <a:gd name="connsiteY5" fmla="*/ 64616 h 73846"/>
                  <a:gd name="connsiteX6" fmla="*/ 22031 w 24338"/>
                  <a:gd name="connsiteY6" fmla="*/ 73846 h 73846"/>
                  <a:gd name="connsiteX7" fmla="*/ 15877 w 24338"/>
                  <a:gd name="connsiteY7" fmla="*/ 73846 h 7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8" h="73846">
                    <a:moveTo>
                      <a:pt x="15877" y="73846"/>
                    </a:moveTo>
                    <a:cubicBezTo>
                      <a:pt x="12800" y="73846"/>
                      <a:pt x="12800" y="73846"/>
                      <a:pt x="12800" y="70769"/>
                    </a:cubicBezTo>
                    <a:cubicBezTo>
                      <a:pt x="-11816" y="40000"/>
                      <a:pt x="6646" y="3077"/>
                      <a:pt x="6646" y="3077"/>
                    </a:cubicBezTo>
                    <a:cubicBezTo>
                      <a:pt x="9723" y="0"/>
                      <a:pt x="12800" y="0"/>
                      <a:pt x="15877" y="0"/>
                    </a:cubicBezTo>
                    <a:cubicBezTo>
                      <a:pt x="18954" y="3077"/>
                      <a:pt x="18954" y="6154"/>
                      <a:pt x="18954" y="9231"/>
                    </a:cubicBezTo>
                    <a:cubicBezTo>
                      <a:pt x="18954" y="9231"/>
                      <a:pt x="3569" y="40000"/>
                      <a:pt x="22031" y="64616"/>
                    </a:cubicBezTo>
                    <a:cubicBezTo>
                      <a:pt x="25108" y="67692"/>
                      <a:pt x="25108" y="70769"/>
                      <a:pt x="22031" y="73846"/>
                    </a:cubicBezTo>
                    <a:cubicBezTo>
                      <a:pt x="18954" y="73846"/>
                      <a:pt x="18954" y="73846"/>
                      <a:pt x="15877" y="7384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E12D4DAC-24E8-4809-8202-7E2A1E702F2A}"/>
                  </a:ext>
                </a:extLst>
              </p:cNvPr>
              <p:cNvSpPr/>
              <p:nvPr/>
            </p:nvSpPr>
            <p:spPr>
              <a:xfrm>
                <a:off x="15724634" y="9629219"/>
                <a:ext cx="160031" cy="139829"/>
              </a:xfrm>
              <a:custGeom>
                <a:avLst/>
                <a:gdLst>
                  <a:gd name="connsiteX0" fmla="*/ 108493 w 160031"/>
                  <a:gd name="connsiteY0" fmla="*/ 139829 h 139829"/>
                  <a:gd name="connsiteX1" fmla="*/ 105416 w 160031"/>
                  <a:gd name="connsiteY1" fmla="*/ 139829 h 139829"/>
                  <a:gd name="connsiteX2" fmla="*/ 13108 w 160031"/>
                  <a:gd name="connsiteY2" fmla="*/ 72137 h 139829"/>
                  <a:gd name="connsiteX3" fmla="*/ 800 w 160031"/>
                  <a:gd name="connsiteY3" fmla="*/ 41368 h 139829"/>
                  <a:gd name="connsiteX4" fmla="*/ 19262 w 160031"/>
                  <a:gd name="connsiteY4" fmla="*/ 19829 h 139829"/>
                  <a:gd name="connsiteX5" fmla="*/ 117724 w 160031"/>
                  <a:gd name="connsiteY5" fmla="*/ 62906 h 139829"/>
                  <a:gd name="connsiteX6" fmla="*/ 74646 w 160031"/>
                  <a:gd name="connsiteY6" fmla="*/ 10598 h 139829"/>
                  <a:gd name="connsiteX7" fmla="*/ 74646 w 160031"/>
                  <a:gd name="connsiteY7" fmla="*/ 1368 h 139829"/>
                  <a:gd name="connsiteX8" fmla="*/ 83878 w 160031"/>
                  <a:gd name="connsiteY8" fmla="*/ 1368 h 139829"/>
                  <a:gd name="connsiteX9" fmla="*/ 157724 w 160031"/>
                  <a:gd name="connsiteY9" fmla="*/ 87522 h 139829"/>
                  <a:gd name="connsiteX10" fmla="*/ 157724 w 160031"/>
                  <a:gd name="connsiteY10" fmla="*/ 96752 h 139829"/>
                  <a:gd name="connsiteX11" fmla="*/ 148493 w 160031"/>
                  <a:gd name="connsiteY11" fmla="*/ 96752 h 139829"/>
                  <a:gd name="connsiteX12" fmla="*/ 22339 w 160031"/>
                  <a:gd name="connsiteY12" fmla="*/ 29060 h 139829"/>
                  <a:gd name="connsiteX13" fmla="*/ 13108 w 160031"/>
                  <a:gd name="connsiteY13" fmla="*/ 41368 h 139829"/>
                  <a:gd name="connsiteX14" fmla="*/ 22339 w 160031"/>
                  <a:gd name="connsiteY14" fmla="*/ 62906 h 139829"/>
                  <a:gd name="connsiteX15" fmla="*/ 111570 w 160031"/>
                  <a:gd name="connsiteY15" fmla="*/ 130598 h 139829"/>
                  <a:gd name="connsiteX16" fmla="*/ 111570 w 160031"/>
                  <a:gd name="connsiteY16" fmla="*/ 139829 h 139829"/>
                  <a:gd name="connsiteX17" fmla="*/ 108493 w 160031"/>
                  <a:gd name="connsiteY17" fmla="*/ 139829 h 139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0031" h="139829">
                    <a:moveTo>
                      <a:pt x="108493" y="139829"/>
                    </a:moveTo>
                    <a:cubicBezTo>
                      <a:pt x="108493" y="139829"/>
                      <a:pt x="105416" y="139829"/>
                      <a:pt x="105416" y="139829"/>
                    </a:cubicBezTo>
                    <a:cubicBezTo>
                      <a:pt x="102339" y="136752"/>
                      <a:pt x="28493" y="84444"/>
                      <a:pt x="13108" y="72137"/>
                    </a:cubicBezTo>
                    <a:cubicBezTo>
                      <a:pt x="3878" y="62906"/>
                      <a:pt x="-2277" y="50598"/>
                      <a:pt x="800" y="41368"/>
                    </a:cubicBezTo>
                    <a:cubicBezTo>
                      <a:pt x="800" y="32137"/>
                      <a:pt x="6955" y="22906"/>
                      <a:pt x="19262" y="19829"/>
                    </a:cubicBezTo>
                    <a:cubicBezTo>
                      <a:pt x="31570" y="13675"/>
                      <a:pt x="77724" y="38291"/>
                      <a:pt x="117724" y="62906"/>
                    </a:cubicBezTo>
                    <a:cubicBezTo>
                      <a:pt x="96185" y="38291"/>
                      <a:pt x="77724" y="10598"/>
                      <a:pt x="74646" y="10598"/>
                    </a:cubicBezTo>
                    <a:cubicBezTo>
                      <a:pt x="71570" y="7521"/>
                      <a:pt x="74646" y="4444"/>
                      <a:pt x="74646" y="1368"/>
                    </a:cubicBezTo>
                    <a:cubicBezTo>
                      <a:pt x="77724" y="-1710"/>
                      <a:pt x="80801" y="1368"/>
                      <a:pt x="83878" y="1368"/>
                    </a:cubicBezTo>
                    <a:cubicBezTo>
                      <a:pt x="83878" y="1368"/>
                      <a:pt x="126954" y="59829"/>
                      <a:pt x="157724" y="87522"/>
                    </a:cubicBezTo>
                    <a:cubicBezTo>
                      <a:pt x="160801" y="90598"/>
                      <a:pt x="160801" y="93675"/>
                      <a:pt x="157724" y="96752"/>
                    </a:cubicBezTo>
                    <a:cubicBezTo>
                      <a:pt x="154647" y="99829"/>
                      <a:pt x="151570" y="99829"/>
                      <a:pt x="148493" y="96752"/>
                    </a:cubicBezTo>
                    <a:cubicBezTo>
                      <a:pt x="96185" y="62906"/>
                      <a:pt x="31570" y="25983"/>
                      <a:pt x="22339" y="29060"/>
                    </a:cubicBezTo>
                    <a:cubicBezTo>
                      <a:pt x="16185" y="32137"/>
                      <a:pt x="13108" y="35213"/>
                      <a:pt x="13108" y="41368"/>
                    </a:cubicBezTo>
                    <a:cubicBezTo>
                      <a:pt x="13108" y="47521"/>
                      <a:pt x="16185" y="56752"/>
                      <a:pt x="22339" y="62906"/>
                    </a:cubicBezTo>
                    <a:cubicBezTo>
                      <a:pt x="34647" y="75214"/>
                      <a:pt x="111570" y="127521"/>
                      <a:pt x="111570" y="130598"/>
                    </a:cubicBezTo>
                    <a:cubicBezTo>
                      <a:pt x="114647" y="133675"/>
                      <a:pt x="114647" y="136752"/>
                      <a:pt x="111570" y="139829"/>
                    </a:cubicBezTo>
                    <a:cubicBezTo>
                      <a:pt x="111570" y="139829"/>
                      <a:pt x="108493" y="139829"/>
                      <a:pt x="108493" y="13982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E1A19FA7-0472-416C-9971-779413B1BC5C}"/>
                  </a:ext>
                </a:extLst>
              </p:cNvPr>
              <p:cNvSpPr/>
              <p:nvPr/>
            </p:nvSpPr>
            <p:spPr>
              <a:xfrm>
                <a:off x="15723779" y="9690851"/>
                <a:ext cx="130887" cy="118197"/>
              </a:xfrm>
              <a:custGeom>
                <a:avLst/>
                <a:gdLst>
                  <a:gd name="connsiteX0" fmla="*/ 121656 w 130887"/>
                  <a:gd name="connsiteY0" fmla="*/ 118198 h 118197"/>
                  <a:gd name="connsiteX1" fmla="*/ 60118 w 130887"/>
                  <a:gd name="connsiteY1" fmla="*/ 81274 h 118197"/>
                  <a:gd name="connsiteX2" fmla="*/ 1656 w 130887"/>
                  <a:gd name="connsiteY2" fmla="*/ 32044 h 118197"/>
                  <a:gd name="connsiteX3" fmla="*/ 17041 w 130887"/>
                  <a:gd name="connsiteY3" fmla="*/ 1275 h 118197"/>
                  <a:gd name="connsiteX4" fmla="*/ 26272 w 130887"/>
                  <a:gd name="connsiteY4" fmla="*/ 4351 h 118197"/>
                  <a:gd name="connsiteX5" fmla="*/ 23195 w 130887"/>
                  <a:gd name="connsiteY5" fmla="*/ 13582 h 118197"/>
                  <a:gd name="connsiteX6" fmla="*/ 13964 w 130887"/>
                  <a:gd name="connsiteY6" fmla="*/ 28967 h 118197"/>
                  <a:gd name="connsiteX7" fmla="*/ 69349 w 130887"/>
                  <a:gd name="connsiteY7" fmla="*/ 72044 h 118197"/>
                  <a:gd name="connsiteX8" fmla="*/ 130887 w 130887"/>
                  <a:gd name="connsiteY8" fmla="*/ 108967 h 118197"/>
                  <a:gd name="connsiteX9" fmla="*/ 121656 w 130887"/>
                  <a:gd name="connsiteY9" fmla="*/ 118198 h 118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0887" h="118197">
                    <a:moveTo>
                      <a:pt x="121656" y="118198"/>
                    </a:moveTo>
                    <a:cubicBezTo>
                      <a:pt x="121656" y="118198"/>
                      <a:pt x="69349" y="87429"/>
                      <a:pt x="60118" y="81274"/>
                    </a:cubicBezTo>
                    <a:cubicBezTo>
                      <a:pt x="53964" y="78198"/>
                      <a:pt x="7810" y="47428"/>
                      <a:pt x="1656" y="32044"/>
                    </a:cubicBezTo>
                    <a:cubicBezTo>
                      <a:pt x="-4497" y="16659"/>
                      <a:pt x="7810" y="4351"/>
                      <a:pt x="17041" y="1275"/>
                    </a:cubicBezTo>
                    <a:cubicBezTo>
                      <a:pt x="20118" y="-1803"/>
                      <a:pt x="23195" y="1275"/>
                      <a:pt x="26272" y="4351"/>
                    </a:cubicBezTo>
                    <a:cubicBezTo>
                      <a:pt x="29348" y="7428"/>
                      <a:pt x="26272" y="10505"/>
                      <a:pt x="23195" y="13582"/>
                    </a:cubicBezTo>
                    <a:cubicBezTo>
                      <a:pt x="23195" y="13582"/>
                      <a:pt x="10887" y="22813"/>
                      <a:pt x="13964" y="28967"/>
                    </a:cubicBezTo>
                    <a:cubicBezTo>
                      <a:pt x="17041" y="38198"/>
                      <a:pt x="53964" y="65890"/>
                      <a:pt x="69349" y="72044"/>
                    </a:cubicBezTo>
                    <a:cubicBezTo>
                      <a:pt x="78579" y="78198"/>
                      <a:pt x="130887" y="108967"/>
                      <a:pt x="130887" y="108967"/>
                    </a:cubicBezTo>
                    <a:lnTo>
                      <a:pt x="121656" y="118198"/>
                    </a:ln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A0035FE2-4603-45E6-BFA4-8801F4534CBA}"/>
                </a:ext>
              </a:extLst>
            </p:cNvPr>
            <p:cNvGrpSpPr/>
            <p:nvPr/>
          </p:nvGrpSpPr>
          <p:grpSpPr>
            <a:xfrm>
              <a:off x="16530819" y="12744433"/>
              <a:ext cx="367910" cy="401274"/>
              <a:chOff x="16530819" y="12744433"/>
              <a:chExt cx="367910" cy="401274"/>
            </a:xfrm>
          </p:grpSpPr>
          <p:grpSp>
            <p:nvGrpSpPr>
              <p:cNvPr id="141" name="图形 1">
                <a:extLst>
                  <a:ext uri="{FF2B5EF4-FFF2-40B4-BE49-F238E27FC236}">
                    <a16:creationId xmlns:a16="http://schemas.microsoft.com/office/drawing/2014/main" id="{BE65E1F9-41DE-4DE2-B85D-76024419591F}"/>
                  </a:ext>
                </a:extLst>
              </p:cNvPr>
              <p:cNvGrpSpPr/>
              <p:nvPr/>
            </p:nvGrpSpPr>
            <p:grpSpPr>
              <a:xfrm>
                <a:off x="16530819" y="12744433"/>
                <a:ext cx="367910" cy="401274"/>
                <a:chOff x="16530819" y="12744433"/>
                <a:chExt cx="367910" cy="401274"/>
              </a:xfrm>
            </p:grpSpPr>
            <p:sp>
              <p:nvSpPr>
                <p:cNvPr id="143" name="任意多边形: 形状 142">
                  <a:extLst>
                    <a:ext uri="{FF2B5EF4-FFF2-40B4-BE49-F238E27FC236}">
                      <a16:creationId xmlns:a16="http://schemas.microsoft.com/office/drawing/2014/main" id="{D93E9213-2CD8-4D0A-9B98-03ED45DB2004}"/>
                    </a:ext>
                  </a:extLst>
                </p:cNvPr>
                <p:cNvSpPr/>
                <p:nvPr/>
              </p:nvSpPr>
              <p:spPr>
                <a:xfrm>
                  <a:off x="16530819" y="12879817"/>
                  <a:ext cx="367910" cy="265890"/>
                </a:xfrm>
                <a:custGeom>
                  <a:avLst/>
                  <a:gdLst>
                    <a:gd name="connsiteX0" fmla="*/ 228462 w 367910"/>
                    <a:gd name="connsiteY0" fmla="*/ 0 h 265890"/>
                    <a:gd name="connsiteX1" fmla="*/ 108462 w 367910"/>
                    <a:gd name="connsiteY1" fmla="*/ 166154 h 265890"/>
                    <a:gd name="connsiteX2" fmla="*/ 326924 w 367910"/>
                    <a:gd name="connsiteY2" fmla="*/ 36923 h 265890"/>
                    <a:gd name="connsiteX3" fmla="*/ 348461 w 367910"/>
                    <a:gd name="connsiteY3" fmla="*/ 21539 h 265890"/>
                    <a:gd name="connsiteX4" fmla="*/ 366923 w 367910"/>
                    <a:gd name="connsiteY4" fmla="*/ 98462 h 265890"/>
                    <a:gd name="connsiteX5" fmla="*/ 354616 w 367910"/>
                    <a:gd name="connsiteY5" fmla="*/ 221539 h 265890"/>
                    <a:gd name="connsiteX6" fmla="*/ 336154 w 367910"/>
                    <a:gd name="connsiteY6" fmla="*/ 240001 h 265890"/>
                    <a:gd name="connsiteX7" fmla="*/ 166923 w 367910"/>
                    <a:gd name="connsiteY7" fmla="*/ 261538 h 265890"/>
                    <a:gd name="connsiteX8" fmla="*/ 6923 w 367910"/>
                    <a:gd name="connsiteY8" fmla="*/ 264616 h 265890"/>
                    <a:gd name="connsiteX9" fmla="*/ 6923 w 367910"/>
                    <a:gd name="connsiteY9" fmla="*/ 218462 h 265890"/>
                    <a:gd name="connsiteX10" fmla="*/ 228462 w 367910"/>
                    <a:gd name="connsiteY10" fmla="*/ 0 h 265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7910" h="265890">
                      <a:moveTo>
                        <a:pt x="228462" y="0"/>
                      </a:moveTo>
                      <a:cubicBezTo>
                        <a:pt x="228462" y="0"/>
                        <a:pt x="93077" y="156923"/>
                        <a:pt x="108462" y="166154"/>
                      </a:cubicBezTo>
                      <a:cubicBezTo>
                        <a:pt x="126924" y="175385"/>
                        <a:pt x="326924" y="36923"/>
                        <a:pt x="326924" y="36923"/>
                      </a:cubicBezTo>
                      <a:lnTo>
                        <a:pt x="348461" y="21539"/>
                      </a:lnTo>
                      <a:cubicBezTo>
                        <a:pt x="348461" y="21539"/>
                        <a:pt x="373077" y="70770"/>
                        <a:pt x="366923" y="98462"/>
                      </a:cubicBezTo>
                      <a:cubicBezTo>
                        <a:pt x="363846" y="120000"/>
                        <a:pt x="357693" y="187693"/>
                        <a:pt x="354616" y="221539"/>
                      </a:cubicBezTo>
                      <a:cubicBezTo>
                        <a:pt x="354616" y="230769"/>
                        <a:pt x="345384" y="240001"/>
                        <a:pt x="336154" y="240001"/>
                      </a:cubicBezTo>
                      <a:cubicBezTo>
                        <a:pt x="296154" y="243077"/>
                        <a:pt x="200770" y="255385"/>
                        <a:pt x="166923" y="261538"/>
                      </a:cubicBezTo>
                      <a:cubicBezTo>
                        <a:pt x="145384" y="264616"/>
                        <a:pt x="19231" y="267693"/>
                        <a:pt x="6923" y="264616"/>
                      </a:cubicBezTo>
                      <a:cubicBezTo>
                        <a:pt x="-2308" y="264616"/>
                        <a:pt x="-2308" y="224616"/>
                        <a:pt x="6923" y="218462"/>
                      </a:cubicBezTo>
                      <a:cubicBezTo>
                        <a:pt x="83846" y="172308"/>
                        <a:pt x="228462" y="0"/>
                        <a:pt x="228462" y="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4" name="任意多边形: 形状 143">
                  <a:extLst>
                    <a:ext uri="{FF2B5EF4-FFF2-40B4-BE49-F238E27FC236}">
                      <a16:creationId xmlns:a16="http://schemas.microsoft.com/office/drawing/2014/main" id="{22B9BCD0-C0CD-49C5-B87F-8793DEFD2805}"/>
                    </a:ext>
                  </a:extLst>
                </p:cNvPr>
                <p:cNvSpPr/>
                <p:nvPr/>
              </p:nvSpPr>
              <p:spPr>
                <a:xfrm>
                  <a:off x="16637051" y="12744433"/>
                  <a:ext cx="242230" cy="303296"/>
                </a:xfrm>
                <a:custGeom>
                  <a:avLst/>
                  <a:gdLst>
                    <a:gd name="connsiteX0" fmla="*/ 122230 w 242230"/>
                    <a:gd name="connsiteY0" fmla="*/ 0 h 303296"/>
                    <a:gd name="connsiteX1" fmla="*/ 122230 w 242230"/>
                    <a:gd name="connsiteY1" fmla="*/ 135384 h 303296"/>
                    <a:gd name="connsiteX2" fmla="*/ 2231 w 242230"/>
                    <a:gd name="connsiteY2" fmla="*/ 301538 h 303296"/>
                    <a:gd name="connsiteX3" fmla="*/ 239153 w 242230"/>
                    <a:gd name="connsiteY3" fmla="*/ 156923 h 303296"/>
                    <a:gd name="connsiteX4" fmla="*/ 242230 w 242230"/>
                    <a:gd name="connsiteY4" fmla="*/ 0 h 303296"/>
                    <a:gd name="connsiteX5" fmla="*/ 122230 w 242230"/>
                    <a:gd name="connsiteY5" fmla="*/ 0 h 3032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2230" h="303296">
                      <a:moveTo>
                        <a:pt x="122230" y="0"/>
                      </a:moveTo>
                      <a:lnTo>
                        <a:pt x="122230" y="135384"/>
                      </a:lnTo>
                      <a:cubicBezTo>
                        <a:pt x="122230" y="135384"/>
                        <a:pt x="-19308" y="286153"/>
                        <a:pt x="2231" y="301538"/>
                      </a:cubicBezTo>
                      <a:cubicBezTo>
                        <a:pt x="23769" y="320000"/>
                        <a:pt x="242230" y="187693"/>
                        <a:pt x="239153" y="156923"/>
                      </a:cubicBezTo>
                      <a:cubicBezTo>
                        <a:pt x="239153" y="107692"/>
                        <a:pt x="242230" y="0"/>
                        <a:pt x="242230" y="0"/>
                      </a:cubicBezTo>
                      <a:lnTo>
                        <a:pt x="122230" y="0"/>
                      </a:lnTo>
                      <a:close/>
                    </a:path>
                  </a:pathLst>
                </a:custGeom>
                <a:solidFill>
                  <a:srgbClr val="F5A39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B55BF5C5-26C2-45B1-9EE5-71A8311A1677}"/>
                  </a:ext>
                </a:extLst>
              </p:cNvPr>
              <p:cNvSpPr/>
              <p:nvPr/>
            </p:nvSpPr>
            <p:spPr>
              <a:xfrm>
                <a:off x="16731589" y="13007681"/>
                <a:ext cx="158290" cy="102905"/>
              </a:xfrm>
              <a:custGeom>
                <a:avLst/>
                <a:gdLst>
                  <a:gd name="connsiteX0" fmla="*/ 6153 w 158290"/>
                  <a:gd name="connsiteY0" fmla="*/ 102906 h 102905"/>
                  <a:gd name="connsiteX1" fmla="*/ 0 w 158290"/>
                  <a:gd name="connsiteY1" fmla="*/ 99829 h 102905"/>
                  <a:gd name="connsiteX2" fmla="*/ 3077 w 158290"/>
                  <a:gd name="connsiteY2" fmla="*/ 93675 h 102905"/>
                  <a:gd name="connsiteX3" fmla="*/ 147692 w 158290"/>
                  <a:gd name="connsiteY3" fmla="*/ 1368 h 102905"/>
                  <a:gd name="connsiteX4" fmla="*/ 156923 w 158290"/>
                  <a:gd name="connsiteY4" fmla="*/ 1368 h 102905"/>
                  <a:gd name="connsiteX5" fmla="*/ 156923 w 158290"/>
                  <a:gd name="connsiteY5" fmla="*/ 10598 h 102905"/>
                  <a:gd name="connsiteX6" fmla="*/ 6153 w 158290"/>
                  <a:gd name="connsiteY6" fmla="*/ 102906 h 102905"/>
                  <a:gd name="connsiteX7" fmla="*/ 6153 w 158290"/>
                  <a:gd name="connsiteY7" fmla="*/ 102906 h 102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8290" h="102905">
                    <a:moveTo>
                      <a:pt x="6153" y="102906"/>
                    </a:moveTo>
                    <a:cubicBezTo>
                      <a:pt x="3077" y="102906"/>
                      <a:pt x="3077" y="102906"/>
                      <a:pt x="0" y="99829"/>
                    </a:cubicBezTo>
                    <a:cubicBezTo>
                      <a:pt x="0" y="96752"/>
                      <a:pt x="0" y="93675"/>
                      <a:pt x="3077" y="93675"/>
                    </a:cubicBezTo>
                    <a:cubicBezTo>
                      <a:pt x="40000" y="75214"/>
                      <a:pt x="147692" y="1368"/>
                      <a:pt x="147692" y="1368"/>
                    </a:cubicBezTo>
                    <a:cubicBezTo>
                      <a:pt x="150769" y="-1710"/>
                      <a:pt x="153846" y="1368"/>
                      <a:pt x="156923" y="1368"/>
                    </a:cubicBezTo>
                    <a:cubicBezTo>
                      <a:pt x="159999" y="4445"/>
                      <a:pt x="156923" y="7521"/>
                      <a:pt x="156923" y="10598"/>
                    </a:cubicBezTo>
                    <a:cubicBezTo>
                      <a:pt x="150769" y="13675"/>
                      <a:pt x="46154" y="84444"/>
                      <a:pt x="6153" y="102906"/>
                    </a:cubicBezTo>
                    <a:cubicBezTo>
                      <a:pt x="9230" y="102906"/>
                      <a:pt x="6153" y="102906"/>
                      <a:pt x="6153" y="10290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8" name="图形 1">
              <a:extLst>
                <a:ext uri="{FF2B5EF4-FFF2-40B4-BE49-F238E27FC236}">
                  <a16:creationId xmlns:a16="http://schemas.microsoft.com/office/drawing/2014/main" id="{B8147A21-C56A-421F-9C5D-01E14D27E223}"/>
                </a:ext>
              </a:extLst>
            </p:cNvPr>
            <p:cNvGrpSpPr/>
            <p:nvPr/>
          </p:nvGrpSpPr>
          <p:grpSpPr>
            <a:xfrm>
              <a:off x="17247742" y="12744433"/>
              <a:ext cx="367910" cy="401274"/>
              <a:chOff x="17247742" y="12744433"/>
              <a:chExt cx="367910" cy="401274"/>
            </a:xfrm>
          </p:grpSpPr>
          <p:grpSp>
            <p:nvGrpSpPr>
              <p:cNvPr id="137" name="图形 1">
                <a:extLst>
                  <a:ext uri="{FF2B5EF4-FFF2-40B4-BE49-F238E27FC236}">
                    <a16:creationId xmlns:a16="http://schemas.microsoft.com/office/drawing/2014/main" id="{7B0A9BF7-BE2D-42AD-9238-0A25420532F1}"/>
                  </a:ext>
                </a:extLst>
              </p:cNvPr>
              <p:cNvGrpSpPr/>
              <p:nvPr/>
            </p:nvGrpSpPr>
            <p:grpSpPr>
              <a:xfrm>
                <a:off x="17247742" y="12744433"/>
                <a:ext cx="367910" cy="401274"/>
                <a:chOff x="17247742" y="12744433"/>
                <a:chExt cx="367910" cy="401274"/>
              </a:xfrm>
            </p:grpSpPr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094D3088-0EA1-4A6B-B65F-8DD7858AD8FD}"/>
                    </a:ext>
                  </a:extLst>
                </p:cNvPr>
                <p:cNvSpPr/>
                <p:nvPr/>
              </p:nvSpPr>
              <p:spPr>
                <a:xfrm>
                  <a:off x="17247742" y="12879817"/>
                  <a:ext cx="367910" cy="265890"/>
                </a:xfrm>
                <a:custGeom>
                  <a:avLst/>
                  <a:gdLst>
                    <a:gd name="connsiteX0" fmla="*/ 228461 w 367910"/>
                    <a:gd name="connsiteY0" fmla="*/ 0 h 265890"/>
                    <a:gd name="connsiteX1" fmla="*/ 108462 w 367910"/>
                    <a:gd name="connsiteY1" fmla="*/ 166154 h 265890"/>
                    <a:gd name="connsiteX2" fmla="*/ 326923 w 367910"/>
                    <a:gd name="connsiteY2" fmla="*/ 36923 h 265890"/>
                    <a:gd name="connsiteX3" fmla="*/ 348462 w 367910"/>
                    <a:gd name="connsiteY3" fmla="*/ 21539 h 265890"/>
                    <a:gd name="connsiteX4" fmla="*/ 366923 w 367910"/>
                    <a:gd name="connsiteY4" fmla="*/ 98462 h 265890"/>
                    <a:gd name="connsiteX5" fmla="*/ 354615 w 367910"/>
                    <a:gd name="connsiteY5" fmla="*/ 221539 h 265890"/>
                    <a:gd name="connsiteX6" fmla="*/ 336154 w 367910"/>
                    <a:gd name="connsiteY6" fmla="*/ 240001 h 265890"/>
                    <a:gd name="connsiteX7" fmla="*/ 166923 w 367910"/>
                    <a:gd name="connsiteY7" fmla="*/ 261538 h 265890"/>
                    <a:gd name="connsiteX8" fmla="*/ 6923 w 367910"/>
                    <a:gd name="connsiteY8" fmla="*/ 264616 h 265890"/>
                    <a:gd name="connsiteX9" fmla="*/ 6923 w 367910"/>
                    <a:gd name="connsiteY9" fmla="*/ 218462 h 265890"/>
                    <a:gd name="connsiteX10" fmla="*/ 228461 w 367910"/>
                    <a:gd name="connsiteY10" fmla="*/ 0 h 265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7910" h="265890">
                      <a:moveTo>
                        <a:pt x="228461" y="0"/>
                      </a:moveTo>
                      <a:cubicBezTo>
                        <a:pt x="228461" y="0"/>
                        <a:pt x="93077" y="156923"/>
                        <a:pt x="108462" y="166154"/>
                      </a:cubicBezTo>
                      <a:cubicBezTo>
                        <a:pt x="126923" y="175385"/>
                        <a:pt x="326923" y="36923"/>
                        <a:pt x="326923" y="36923"/>
                      </a:cubicBezTo>
                      <a:lnTo>
                        <a:pt x="348462" y="21539"/>
                      </a:lnTo>
                      <a:cubicBezTo>
                        <a:pt x="348462" y="21539"/>
                        <a:pt x="373077" y="70770"/>
                        <a:pt x="366923" y="98462"/>
                      </a:cubicBezTo>
                      <a:cubicBezTo>
                        <a:pt x="363847" y="120000"/>
                        <a:pt x="357693" y="187693"/>
                        <a:pt x="354615" y="221539"/>
                      </a:cubicBezTo>
                      <a:cubicBezTo>
                        <a:pt x="354615" y="230769"/>
                        <a:pt x="345385" y="240001"/>
                        <a:pt x="336154" y="240001"/>
                      </a:cubicBezTo>
                      <a:cubicBezTo>
                        <a:pt x="296154" y="243077"/>
                        <a:pt x="200769" y="255385"/>
                        <a:pt x="166923" y="261538"/>
                      </a:cubicBezTo>
                      <a:cubicBezTo>
                        <a:pt x="145385" y="264616"/>
                        <a:pt x="19231" y="267693"/>
                        <a:pt x="6923" y="264616"/>
                      </a:cubicBezTo>
                      <a:cubicBezTo>
                        <a:pt x="-2308" y="264616"/>
                        <a:pt x="-2308" y="224616"/>
                        <a:pt x="6923" y="218462"/>
                      </a:cubicBezTo>
                      <a:cubicBezTo>
                        <a:pt x="86924" y="172308"/>
                        <a:pt x="228461" y="0"/>
                        <a:pt x="228461" y="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0" name="任意多边形: 形状 139">
                  <a:extLst>
                    <a:ext uri="{FF2B5EF4-FFF2-40B4-BE49-F238E27FC236}">
                      <a16:creationId xmlns:a16="http://schemas.microsoft.com/office/drawing/2014/main" id="{7B6F8E49-9283-46C6-AFFE-AEF9ECA8D8B1}"/>
                    </a:ext>
                  </a:extLst>
                </p:cNvPr>
                <p:cNvSpPr/>
                <p:nvPr/>
              </p:nvSpPr>
              <p:spPr>
                <a:xfrm>
                  <a:off x="17357050" y="12744433"/>
                  <a:ext cx="242230" cy="303296"/>
                </a:xfrm>
                <a:custGeom>
                  <a:avLst/>
                  <a:gdLst>
                    <a:gd name="connsiteX0" fmla="*/ 122230 w 242230"/>
                    <a:gd name="connsiteY0" fmla="*/ 0 h 303296"/>
                    <a:gd name="connsiteX1" fmla="*/ 122230 w 242230"/>
                    <a:gd name="connsiteY1" fmla="*/ 135384 h 303296"/>
                    <a:gd name="connsiteX2" fmla="*/ 2231 w 242230"/>
                    <a:gd name="connsiteY2" fmla="*/ 301538 h 303296"/>
                    <a:gd name="connsiteX3" fmla="*/ 239154 w 242230"/>
                    <a:gd name="connsiteY3" fmla="*/ 156923 h 303296"/>
                    <a:gd name="connsiteX4" fmla="*/ 242230 w 242230"/>
                    <a:gd name="connsiteY4" fmla="*/ 0 h 303296"/>
                    <a:gd name="connsiteX5" fmla="*/ 122230 w 242230"/>
                    <a:gd name="connsiteY5" fmla="*/ 0 h 3032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2230" h="303296">
                      <a:moveTo>
                        <a:pt x="122230" y="0"/>
                      </a:moveTo>
                      <a:lnTo>
                        <a:pt x="122230" y="135384"/>
                      </a:lnTo>
                      <a:cubicBezTo>
                        <a:pt x="122230" y="135384"/>
                        <a:pt x="-19308" y="286153"/>
                        <a:pt x="2231" y="301538"/>
                      </a:cubicBezTo>
                      <a:cubicBezTo>
                        <a:pt x="23769" y="320000"/>
                        <a:pt x="242230" y="187693"/>
                        <a:pt x="239154" y="156923"/>
                      </a:cubicBezTo>
                      <a:cubicBezTo>
                        <a:pt x="239154" y="107692"/>
                        <a:pt x="242230" y="0"/>
                        <a:pt x="242230" y="0"/>
                      </a:cubicBezTo>
                      <a:lnTo>
                        <a:pt x="122230" y="0"/>
                      </a:lnTo>
                      <a:close/>
                    </a:path>
                  </a:pathLst>
                </a:custGeom>
                <a:solidFill>
                  <a:srgbClr val="F5A39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736F5993-7C05-403B-85DF-1712F7541219}"/>
                  </a:ext>
                </a:extLst>
              </p:cNvPr>
              <p:cNvSpPr/>
              <p:nvPr/>
            </p:nvSpPr>
            <p:spPr>
              <a:xfrm>
                <a:off x="17451589" y="13007681"/>
                <a:ext cx="158290" cy="102905"/>
              </a:xfrm>
              <a:custGeom>
                <a:avLst/>
                <a:gdLst>
                  <a:gd name="connsiteX0" fmla="*/ 6154 w 158290"/>
                  <a:gd name="connsiteY0" fmla="*/ 102906 h 102905"/>
                  <a:gd name="connsiteX1" fmla="*/ 0 w 158290"/>
                  <a:gd name="connsiteY1" fmla="*/ 99829 h 102905"/>
                  <a:gd name="connsiteX2" fmla="*/ 3077 w 158290"/>
                  <a:gd name="connsiteY2" fmla="*/ 93675 h 102905"/>
                  <a:gd name="connsiteX3" fmla="*/ 147692 w 158290"/>
                  <a:gd name="connsiteY3" fmla="*/ 1368 h 102905"/>
                  <a:gd name="connsiteX4" fmla="*/ 156923 w 158290"/>
                  <a:gd name="connsiteY4" fmla="*/ 1368 h 102905"/>
                  <a:gd name="connsiteX5" fmla="*/ 156923 w 158290"/>
                  <a:gd name="connsiteY5" fmla="*/ 10598 h 102905"/>
                  <a:gd name="connsiteX6" fmla="*/ 6154 w 158290"/>
                  <a:gd name="connsiteY6" fmla="*/ 102906 h 102905"/>
                  <a:gd name="connsiteX7" fmla="*/ 6154 w 158290"/>
                  <a:gd name="connsiteY7" fmla="*/ 102906 h 102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8290" h="102905">
                    <a:moveTo>
                      <a:pt x="6154" y="102906"/>
                    </a:moveTo>
                    <a:cubicBezTo>
                      <a:pt x="3077" y="102906"/>
                      <a:pt x="3077" y="102906"/>
                      <a:pt x="0" y="99829"/>
                    </a:cubicBezTo>
                    <a:cubicBezTo>
                      <a:pt x="0" y="96752"/>
                      <a:pt x="0" y="93675"/>
                      <a:pt x="3077" y="93675"/>
                    </a:cubicBezTo>
                    <a:cubicBezTo>
                      <a:pt x="40000" y="75214"/>
                      <a:pt x="147692" y="1368"/>
                      <a:pt x="147692" y="1368"/>
                    </a:cubicBezTo>
                    <a:cubicBezTo>
                      <a:pt x="150769" y="-1710"/>
                      <a:pt x="153846" y="1368"/>
                      <a:pt x="156923" y="1368"/>
                    </a:cubicBezTo>
                    <a:cubicBezTo>
                      <a:pt x="160000" y="4445"/>
                      <a:pt x="156923" y="7521"/>
                      <a:pt x="156923" y="10598"/>
                    </a:cubicBezTo>
                    <a:cubicBezTo>
                      <a:pt x="150769" y="13675"/>
                      <a:pt x="46154" y="84444"/>
                      <a:pt x="6154" y="102906"/>
                    </a:cubicBezTo>
                    <a:cubicBezTo>
                      <a:pt x="9230" y="102906"/>
                      <a:pt x="6154" y="102906"/>
                      <a:pt x="6154" y="10290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9" name="图形 1">
              <a:extLst>
                <a:ext uri="{FF2B5EF4-FFF2-40B4-BE49-F238E27FC236}">
                  <a16:creationId xmlns:a16="http://schemas.microsoft.com/office/drawing/2014/main" id="{BA46AC9E-B457-4055-95BB-990898C9623E}"/>
                </a:ext>
              </a:extLst>
            </p:cNvPr>
            <p:cNvGrpSpPr/>
            <p:nvPr/>
          </p:nvGrpSpPr>
          <p:grpSpPr>
            <a:xfrm>
              <a:off x="14748235" y="8676741"/>
              <a:ext cx="1180276" cy="4151692"/>
              <a:chOff x="14748235" y="8676741"/>
              <a:chExt cx="1180276" cy="4151692"/>
            </a:xfrm>
          </p:grpSpPr>
          <p:grpSp>
            <p:nvGrpSpPr>
              <p:cNvPr id="124" name="图形 1">
                <a:extLst>
                  <a:ext uri="{FF2B5EF4-FFF2-40B4-BE49-F238E27FC236}">
                    <a16:creationId xmlns:a16="http://schemas.microsoft.com/office/drawing/2014/main" id="{1464A4A0-1AE8-4558-B273-F602BF8812C4}"/>
                  </a:ext>
                </a:extLst>
              </p:cNvPr>
              <p:cNvGrpSpPr/>
              <p:nvPr/>
            </p:nvGrpSpPr>
            <p:grpSpPr>
              <a:xfrm>
                <a:off x="14748235" y="8676741"/>
                <a:ext cx="1180276" cy="4151692"/>
                <a:chOff x="14748235" y="8676741"/>
                <a:chExt cx="1180276" cy="4151692"/>
              </a:xfrm>
            </p:grpSpPr>
            <p:sp>
              <p:nvSpPr>
                <p:cNvPr id="133" name="任意多边形: 形状 132">
                  <a:extLst>
                    <a:ext uri="{FF2B5EF4-FFF2-40B4-BE49-F238E27FC236}">
                      <a16:creationId xmlns:a16="http://schemas.microsoft.com/office/drawing/2014/main" id="{69BD7F82-9A31-44A2-869D-ED479CEFF108}"/>
                    </a:ext>
                  </a:extLst>
                </p:cNvPr>
                <p:cNvSpPr/>
                <p:nvPr/>
              </p:nvSpPr>
              <p:spPr>
                <a:xfrm>
                  <a:off x="15445434" y="8812125"/>
                  <a:ext cx="196923" cy="280000"/>
                </a:xfrm>
                <a:custGeom>
                  <a:avLst/>
                  <a:gdLst>
                    <a:gd name="connsiteX0" fmla="*/ 21539 w 196923"/>
                    <a:gd name="connsiteY0" fmla="*/ 280000 h 280000"/>
                    <a:gd name="connsiteX1" fmla="*/ 43078 w 196923"/>
                    <a:gd name="connsiteY1" fmla="*/ 258462 h 280000"/>
                    <a:gd name="connsiteX2" fmla="*/ 43078 w 196923"/>
                    <a:gd name="connsiteY2" fmla="*/ 98461 h 280000"/>
                    <a:gd name="connsiteX3" fmla="*/ 98462 w 196923"/>
                    <a:gd name="connsiteY3" fmla="*/ 43077 h 280000"/>
                    <a:gd name="connsiteX4" fmla="*/ 153846 w 196923"/>
                    <a:gd name="connsiteY4" fmla="*/ 98461 h 280000"/>
                    <a:gd name="connsiteX5" fmla="*/ 153846 w 196923"/>
                    <a:gd name="connsiteY5" fmla="*/ 258462 h 280000"/>
                    <a:gd name="connsiteX6" fmla="*/ 175385 w 196923"/>
                    <a:gd name="connsiteY6" fmla="*/ 280000 h 280000"/>
                    <a:gd name="connsiteX7" fmla="*/ 196924 w 196923"/>
                    <a:gd name="connsiteY7" fmla="*/ 258462 h 280000"/>
                    <a:gd name="connsiteX8" fmla="*/ 196924 w 196923"/>
                    <a:gd name="connsiteY8" fmla="*/ 98461 h 280000"/>
                    <a:gd name="connsiteX9" fmla="*/ 98462 w 196923"/>
                    <a:gd name="connsiteY9" fmla="*/ 0 h 280000"/>
                    <a:gd name="connsiteX10" fmla="*/ 0 w 196923"/>
                    <a:gd name="connsiteY10" fmla="*/ 98461 h 280000"/>
                    <a:gd name="connsiteX11" fmla="*/ 0 w 196923"/>
                    <a:gd name="connsiteY11" fmla="*/ 258462 h 280000"/>
                    <a:gd name="connsiteX12" fmla="*/ 21539 w 196923"/>
                    <a:gd name="connsiteY12" fmla="*/ 280000 h 28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96923" h="280000">
                      <a:moveTo>
                        <a:pt x="21539" y="280000"/>
                      </a:moveTo>
                      <a:cubicBezTo>
                        <a:pt x="33846" y="280000"/>
                        <a:pt x="43078" y="270769"/>
                        <a:pt x="43078" y="258462"/>
                      </a:cubicBezTo>
                      <a:lnTo>
                        <a:pt x="43078" y="98461"/>
                      </a:lnTo>
                      <a:cubicBezTo>
                        <a:pt x="43078" y="67692"/>
                        <a:pt x="67693" y="43077"/>
                        <a:pt x="98462" y="43077"/>
                      </a:cubicBezTo>
                      <a:cubicBezTo>
                        <a:pt x="129231" y="43077"/>
                        <a:pt x="153846" y="67692"/>
                        <a:pt x="153846" y="98461"/>
                      </a:cubicBezTo>
                      <a:lnTo>
                        <a:pt x="153846" y="258462"/>
                      </a:lnTo>
                      <a:cubicBezTo>
                        <a:pt x="153846" y="270769"/>
                        <a:pt x="163077" y="280000"/>
                        <a:pt x="175385" y="280000"/>
                      </a:cubicBezTo>
                      <a:cubicBezTo>
                        <a:pt x="187693" y="280000"/>
                        <a:pt x="196924" y="270769"/>
                        <a:pt x="196924" y="258462"/>
                      </a:cubicBezTo>
                      <a:lnTo>
                        <a:pt x="196924" y="98461"/>
                      </a:lnTo>
                      <a:cubicBezTo>
                        <a:pt x="196924" y="43077"/>
                        <a:pt x="153846" y="0"/>
                        <a:pt x="98462" y="0"/>
                      </a:cubicBezTo>
                      <a:cubicBezTo>
                        <a:pt x="43078" y="0"/>
                        <a:pt x="0" y="43077"/>
                        <a:pt x="0" y="98461"/>
                      </a:cubicBezTo>
                      <a:lnTo>
                        <a:pt x="0" y="258462"/>
                      </a:lnTo>
                      <a:cubicBezTo>
                        <a:pt x="0" y="270769"/>
                        <a:pt x="9231" y="280000"/>
                        <a:pt x="21539" y="28000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4" name="任意多边形: 形状 133">
                  <a:extLst>
                    <a:ext uri="{FF2B5EF4-FFF2-40B4-BE49-F238E27FC236}">
                      <a16:creationId xmlns:a16="http://schemas.microsoft.com/office/drawing/2014/main" id="{55E7F30E-D04A-42B8-BECE-6A61C5682F7A}"/>
                    </a:ext>
                  </a:extLst>
                </p:cNvPr>
                <p:cNvSpPr/>
                <p:nvPr/>
              </p:nvSpPr>
              <p:spPr>
                <a:xfrm>
                  <a:off x="14798887" y="8676741"/>
                  <a:ext cx="1129624" cy="2969230"/>
                </a:xfrm>
                <a:custGeom>
                  <a:avLst/>
                  <a:gdLst>
                    <a:gd name="connsiteX0" fmla="*/ 31163 w 1129624"/>
                    <a:gd name="connsiteY0" fmla="*/ 55385 h 2969230"/>
                    <a:gd name="connsiteX1" fmla="*/ 52702 w 1129624"/>
                    <a:gd name="connsiteY1" fmla="*/ 55385 h 2969230"/>
                    <a:gd name="connsiteX2" fmla="*/ 83471 w 1129624"/>
                    <a:gd name="connsiteY2" fmla="*/ 86154 h 2969230"/>
                    <a:gd name="connsiteX3" fmla="*/ 83471 w 1129624"/>
                    <a:gd name="connsiteY3" fmla="*/ 258461 h 2969230"/>
                    <a:gd name="connsiteX4" fmla="*/ 994241 w 1129624"/>
                    <a:gd name="connsiteY4" fmla="*/ 258461 h 2969230"/>
                    <a:gd name="connsiteX5" fmla="*/ 1068087 w 1129624"/>
                    <a:gd name="connsiteY5" fmla="*/ 184615 h 2969230"/>
                    <a:gd name="connsiteX6" fmla="*/ 1068087 w 1129624"/>
                    <a:gd name="connsiteY6" fmla="*/ 30769 h 2969230"/>
                    <a:gd name="connsiteX7" fmla="*/ 1098856 w 1129624"/>
                    <a:gd name="connsiteY7" fmla="*/ 0 h 2969230"/>
                    <a:gd name="connsiteX8" fmla="*/ 1129625 w 1129624"/>
                    <a:gd name="connsiteY8" fmla="*/ 30769 h 2969230"/>
                    <a:gd name="connsiteX9" fmla="*/ 1129625 w 1129624"/>
                    <a:gd name="connsiteY9" fmla="*/ 184615 h 2969230"/>
                    <a:gd name="connsiteX10" fmla="*/ 994241 w 1129624"/>
                    <a:gd name="connsiteY10" fmla="*/ 320000 h 2969230"/>
                    <a:gd name="connsiteX11" fmla="*/ 83471 w 1129624"/>
                    <a:gd name="connsiteY11" fmla="*/ 320000 h 2969230"/>
                    <a:gd name="connsiteX12" fmla="*/ 83471 w 1129624"/>
                    <a:gd name="connsiteY12" fmla="*/ 2969230 h 2969230"/>
                    <a:gd name="connsiteX13" fmla="*/ 394 w 1129624"/>
                    <a:gd name="connsiteY13" fmla="*/ 2969230 h 2969230"/>
                    <a:gd name="connsiteX14" fmla="*/ 394 w 1129624"/>
                    <a:gd name="connsiteY14" fmla="*/ 83077 h 2969230"/>
                    <a:gd name="connsiteX15" fmla="*/ 31163 w 1129624"/>
                    <a:gd name="connsiteY15" fmla="*/ 55385 h 2969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29624" h="2969230">
                      <a:moveTo>
                        <a:pt x="31163" y="55385"/>
                      </a:moveTo>
                      <a:lnTo>
                        <a:pt x="52702" y="55385"/>
                      </a:lnTo>
                      <a:cubicBezTo>
                        <a:pt x="71164" y="55385"/>
                        <a:pt x="83471" y="70769"/>
                        <a:pt x="83471" y="86154"/>
                      </a:cubicBezTo>
                      <a:lnTo>
                        <a:pt x="83471" y="258461"/>
                      </a:lnTo>
                      <a:lnTo>
                        <a:pt x="994241" y="258461"/>
                      </a:lnTo>
                      <a:cubicBezTo>
                        <a:pt x="1034240" y="258461"/>
                        <a:pt x="1068087" y="224615"/>
                        <a:pt x="1068087" y="184615"/>
                      </a:cubicBezTo>
                      <a:lnTo>
                        <a:pt x="1068087" y="30769"/>
                      </a:lnTo>
                      <a:cubicBezTo>
                        <a:pt x="1068087" y="12308"/>
                        <a:pt x="1083471" y="0"/>
                        <a:pt x="1098856" y="0"/>
                      </a:cubicBezTo>
                      <a:cubicBezTo>
                        <a:pt x="1117318" y="0"/>
                        <a:pt x="1129625" y="15385"/>
                        <a:pt x="1129625" y="30769"/>
                      </a:cubicBezTo>
                      <a:lnTo>
                        <a:pt x="1129625" y="184615"/>
                      </a:lnTo>
                      <a:cubicBezTo>
                        <a:pt x="1129625" y="258461"/>
                        <a:pt x="1068087" y="320000"/>
                        <a:pt x="994241" y="320000"/>
                      </a:cubicBezTo>
                      <a:lnTo>
                        <a:pt x="83471" y="320000"/>
                      </a:lnTo>
                      <a:lnTo>
                        <a:pt x="83471" y="2969230"/>
                      </a:lnTo>
                      <a:lnTo>
                        <a:pt x="394" y="2969230"/>
                      </a:lnTo>
                      <a:lnTo>
                        <a:pt x="394" y="83077"/>
                      </a:lnTo>
                      <a:cubicBezTo>
                        <a:pt x="-2682" y="67692"/>
                        <a:pt x="12702" y="55385"/>
                        <a:pt x="31163" y="55385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3AE5B83B-0760-4A84-97D1-B9C77F8BA95A}"/>
                    </a:ext>
                  </a:extLst>
                </p:cNvPr>
                <p:cNvSpPr/>
                <p:nvPr/>
              </p:nvSpPr>
              <p:spPr>
                <a:xfrm>
                  <a:off x="15442358" y="8812125"/>
                  <a:ext cx="196922" cy="280000"/>
                </a:xfrm>
                <a:custGeom>
                  <a:avLst/>
                  <a:gdLst>
                    <a:gd name="connsiteX0" fmla="*/ 24615 w 196922"/>
                    <a:gd name="connsiteY0" fmla="*/ 280000 h 280000"/>
                    <a:gd name="connsiteX1" fmla="*/ 46154 w 196922"/>
                    <a:gd name="connsiteY1" fmla="*/ 258462 h 280000"/>
                    <a:gd name="connsiteX2" fmla="*/ 46154 w 196922"/>
                    <a:gd name="connsiteY2" fmla="*/ 98461 h 280000"/>
                    <a:gd name="connsiteX3" fmla="*/ 101538 w 196922"/>
                    <a:gd name="connsiteY3" fmla="*/ 43077 h 280000"/>
                    <a:gd name="connsiteX4" fmla="*/ 156922 w 196922"/>
                    <a:gd name="connsiteY4" fmla="*/ 98461 h 280000"/>
                    <a:gd name="connsiteX5" fmla="*/ 196923 w 196922"/>
                    <a:gd name="connsiteY5" fmla="*/ 98461 h 280000"/>
                    <a:gd name="connsiteX6" fmla="*/ 98461 w 196922"/>
                    <a:gd name="connsiteY6" fmla="*/ 0 h 280000"/>
                    <a:gd name="connsiteX7" fmla="*/ 0 w 196922"/>
                    <a:gd name="connsiteY7" fmla="*/ 98461 h 280000"/>
                    <a:gd name="connsiteX8" fmla="*/ 0 w 196922"/>
                    <a:gd name="connsiteY8" fmla="*/ 258462 h 280000"/>
                    <a:gd name="connsiteX9" fmla="*/ 24615 w 196922"/>
                    <a:gd name="connsiteY9" fmla="*/ 280000 h 28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6922" h="280000">
                      <a:moveTo>
                        <a:pt x="24615" y="280000"/>
                      </a:moveTo>
                      <a:cubicBezTo>
                        <a:pt x="36923" y="280000"/>
                        <a:pt x="46154" y="270769"/>
                        <a:pt x="46154" y="258462"/>
                      </a:cubicBezTo>
                      <a:lnTo>
                        <a:pt x="46154" y="98461"/>
                      </a:lnTo>
                      <a:cubicBezTo>
                        <a:pt x="46154" y="67692"/>
                        <a:pt x="70769" y="43077"/>
                        <a:pt x="101538" y="43077"/>
                      </a:cubicBezTo>
                      <a:cubicBezTo>
                        <a:pt x="132307" y="43077"/>
                        <a:pt x="156922" y="67692"/>
                        <a:pt x="156922" y="98461"/>
                      </a:cubicBezTo>
                      <a:lnTo>
                        <a:pt x="196923" y="98461"/>
                      </a:lnTo>
                      <a:cubicBezTo>
                        <a:pt x="196923" y="43077"/>
                        <a:pt x="153846" y="0"/>
                        <a:pt x="98461" y="0"/>
                      </a:cubicBezTo>
                      <a:cubicBezTo>
                        <a:pt x="43077" y="0"/>
                        <a:pt x="0" y="43077"/>
                        <a:pt x="0" y="98461"/>
                      </a:cubicBezTo>
                      <a:lnTo>
                        <a:pt x="0" y="258462"/>
                      </a:lnTo>
                      <a:cubicBezTo>
                        <a:pt x="3076" y="270769"/>
                        <a:pt x="12308" y="280000"/>
                        <a:pt x="24615" y="28000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3DC62DC4-F38E-4DE5-824E-539825AC5AE6}"/>
                    </a:ext>
                  </a:extLst>
                </p:cNvPr>
                <p:cNvSpPr/>
                <p:nvPr/>
              </p:nvSpPr>
              <p:spPr>
                <a:xfrm rot="-10800000">
                  <a:off x="14748235" y="11606894"/>
                  <a:ext cx="184615" cy="1221538"/>
                </a:xfrm>
                <a:custGeom>
                  <a:avLst/>
                  <a:gdLst>
                    <a:gd name="connsiteX0" fmla="*/ 0 w 184615"/>
                    <a:gd name="connsiteY0" fmla="*/ 0 h 1221538"/>
                    <a:gd name="connsiteX1" fmla="*/ 184616 w 184615"/>
                    <a:gd name="connsiteY1" fmla="*/ 0 h 1221538"/>
                    <a:gd name="connsiteX2" fmla="*/ 184616 w 184615"/>
                    <a:gd name="connsiteY2" fmla="*/ 1221539 h 1221538"/>
                    <a:gd name="connsiteX3" fmla="*/ 0 w 184615"/>
                    <a:gd name="connsiteY3" fmla="*/ 1221539 h 1221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4615" h="1221538">
                      <a:moveTo>
                        <a:pt x="0" y="0"/>
                      </a:moveTo>
                      <a:lnTo>
                        <a:pt x="184616" y="0"/>
                      </a:lnTo>
                      <a:lnTo>
                        <a:pt x="184616" y="1221539"/>
                      </a:lnTo>
                      <a:lnTo>
                        <a:pt x="0" y="1221539"/>
                      </a:lnTo>
                      <a:close/>
                    </a:path>
                  </a:pathLst>
                </a:custGeom>
                <a:solidFill>
                  <a:srgbClr val="7F95BC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25" name="图形 1">
                <a:extLst>
                  <a:ext uri="{FF2B5EF4-FFF2-40B4-BE49-F238E27FC236}">
                    <a16:creationId xmlns:a16="http://schemas.microsoft.com/office/drawing/2014/main" id="{069F7592-823A-46A7-8894-406F32204787}"/>
                  </a:ext>
                </a:extLst>
              </p:cNvPr>
              <p:cNvGrpSpPr/>
              <p:nvPr/>
            </p:nvGrpSpPr>
            <p:grpSpPr>
              <a:xfrm>
                <a:off x="15214275" y="9035972"/>
                <a:ext cx="659242" cy="1037692"/>
                <a:chOff x="15214275" y="9035972"/>
                <a:chExt cx="659242" cy="1037692"/>
              </a:xfrm>
            </p:grpSpPr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2D48202D-A91C-40CF-8E04-7FB98B793F25}"/>
                    </a:ext>
                  </a:extLst>
                </p:cNvPr>
                <p:cNvSpPr/>
                <p:nvPr/>
              </p:nvSpPr>
              <p:spPr>
                <a:xfrm>
                  <a:off x="15423897" y="9769048"/>
                  <a:ext cx="236922" cy="304615"/>
                </a:xfrm>
                <a:custGeom>
                  <a:avLst/>
                  <a:gdLst>
                    <a:gd name="connsiteX0" fmla="*/ 110769 w 236922"/>
                    <a:gd name="connsiteY0" fmla="*/ 304615 h 304615"/>
                    <a:gd name="connsiteX1" fmla="*/ 129230 w 236922"/>
                    <a:gd name="connsiteY1" fmla="*/ 304615 h 304615"/>
                    <a:gd name="connsiteX2" fmla="*/ 236923 w 236922"/>
                    <a:gd name="connsiteY2" fmla="*/ 196923 h 304615"/>
                    <a:gd name="connsiteX3" fmla="*/ 236923 w 236922"/>
                    <a:gd name="connsiteY3" fmla="*/ 0 h 304615"/>
                    <a:gd name="connsiteX4" fmla="*/ 0 w 236922"/>
                    <a:gd name="connsiteY4" fmla="*/ 0 h 304615"/>
                    <a:gd name="connsiteX5" fmla="*/ 0 w 236922"/>
                    <a:gd name="connsiteY5" fmla="*/ 196923 h 304615"/>
                    <a:gd name="connsiteX6" fmla="*/ 110769 w 236922"/>
                    <a:gd name="connsiteY6" fmla="*/ 304615 h 304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6922" h="304615">
                      <a:moveTo>
                        <a:pt x="110769" y="304615"/>
                      </a:moveTo>
                      <a:lnTo>
                        <a:pt x="129230" y="304615"/>
                      </a:lnTo>
                      <a:cubicBezTo>
                        <a:pt x="190769" y="304615"/>
                        <a:pt x="236923" y="255385"/>
                        <a:pt x="236923" y="196923"/>
                      </a:cubicBezTo>
                      <a:lnTo>
                        <a:pt x="236923" y="0"/>
                      </a:lnTo>
                      <a:lnTo>
                        <a:pt x="0" y="0"/>
                      </a:lnTo>
                      <a:lnTo>
                        <a:pt x="0" y="196923"/>
                      </a:lnTo>
                      <a:cubicBezTo>
                        <a:pt x="3077" y="255385"/>
                        <a:pt x="52307" y="304615"/>
                        <a:pt x="110769" y="304615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6601AE3C-98C2-4BFB-9584-DF090443D69A}"/>
                    </a:ext>
                  </a:extLst>
                </p:cNvPr>
                <p:cNvSpPr/>
                <p:nvPr/>
              </p:nvSpPr>
              <p:spPr>
                <a:xfrm>
                  <a:off x="15214275" y="9035972"/>
                  <a:ext cx="659242" cy="884615"/>
                </a:xfrm>
                <a:custGeom>
                  <a:avLst/>
                  <a:gdLst>
                    <a:gd name="connsiteX0" fmla="*/ 37313 w 659242"/>
                    <a:gd name="connsiteY0" fmla="*/ 850000 h 884615"/>
                    <a:gd name="connsiteX1" fmla="*/ 621929 w 659242"/>
                    <a:gd name="connsiteY1" fmla="*/ 850000 h 884615"/>
                    <a:gd name="connsiteX2" fmla="*/ 658852 w 659242"/>
                    <a:gd name="connsiteY2" fmla="*/ 810000 h 884615"/>
                    <a:gd name="connsiteX3" fmla="*/ 658852 w 659242"/>
                    <a:gd name="connsiteY3" fmla="*/ 74615 h 884615"/>
                    <a:gd name="connsiteX4" fmla="*/ 621929 w 659242"/>
                    <a:gd name="connsiteY4" fmla="*/ 34615 h 884615"/>
                    <a:gd name="connsiteX5" fmla="*/ 37313 w 659242"/>
                    <a:gd name="connsiteY5" fmla="*/ 34615 h 884615"/>
                    <a:gd name="connsiteX6" fmla="*/ 390 w 659242"/>
                    <a:gd name="connsiteY6" fmla="*/ 74615 h 884615"/>
                    <a:gd name="connsiteX7" fmla="*/ 390 w 659242"/>
                    <a:gd name="connsiteY7" fmla="*/ 810000 h 884615"/>
                    <a:gd name="connsiteX8" fmla="*/ 37313 w 659242"/>
                    <a:gd name="connsiteY8" fmla="*/ 850000 h 884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59242" h="884615">
                      <a:moveTo>
                        <a:pt x="37313" y="850000"/>
                      </a:moveTo>
                      <a:cubicBezTo>
                        <a:pt x="231159" y="896154"/>
                        <a:pt x="428083" y="896154"/>
                        <a:pt x="621929" y="850000"/>
                      </a:cubicBezTo>
                      <a:cubicBezTo>
                        <a:pt x="646544" y="843846"/>
                        <a:pt x="661928" y="828461"/>
                        <a:pt x="658852" y="810000"/>
                      </a:cubicBezTo>
                      <a:cubicBezTo>
                        <a:pt x="615775" y="563846"/>
                        <a:pt x="615775" y="320769"/>
                        <a:pt x="658852" y="74615"/>
                      </a:cubicBezTo>
                      <a:cubicBezTo>
                        <a:pt x="661928" y="59230"/>
                        <a:pt x="646544" y="40769"/>
                        <a:pt x="621929" y="34615"/>
                      </a:cubicBezTo>
                      <a:cubicBezTo>
                        <a:pt x="428083" y="-11538"/>
                        <a:pt x="231159" y="-11538"/>
                        <a:pt x="37313" y="34615"/>
                      </a:cubicBezTo>
                      <a:cubicBezTo>
                        <a:pt x="12698" y="40769"/>
                        <a:pt x="-2686" y="56154"/>
                        <a:pt x="390" y="74615"/>
                      </a:cubicBezTo>
                      <a:cubicBezTo>
                        <a:pt x="43468" y="320769"/>
                        <a:pt x="43468" y="563846"/>
                        <a:pt x="390" y="810000"/>
                      </a:cubicBezTo>
                      <a:cubicBezTo>
                        <a:pt x="390" y="828461"/>
                        <a:pt x="15775" y="843846"/>
                        <a:pt x="37313" y="85000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D6CA3D61-EFD7-4E06-92A0-8D4D626CDAC9}"/>
                    </a:ext>
                  </a:extLst>
                </p:cNvPr>
                <p:cNvSpPr/>
                <p:nvPr/>
              </p:nvSpPr>
              <p:spPr>
                <a:xfrm>
                  <a:off x="15297271" y="9174433"/>
                  <a:ext cx="496327" cy="663077"/>
                </a:xfrm>
                <a:custGeom>
                  <a:avLst/>
                  <a:gdLst>
                    <a:gd name="connsiteX0" fmla="*/ 28163 w 496327"/>
                    <a:gd name="connsiteY0" fmla="*/ 637692 h 663077"/>
                    <a:gd name="connsiteX1" fmla="*/ 468164 w 496327"/>
                    <a:gd name="connsiteY1" fmla="*/ 637692 h 663077"/>
                    <a:gd name="connsiteX2" fmla="*/ 495856 w 496327"/>
                    <a:gd name="connsiteY2" fmla="*/ 610000 h 663077"/>
                    <a:gd name="connsiteX3" fmla="*/ 495856 w 496327"/>
                    <a:gd name="connsiteY3" fmla="*/ 53077 h 663077"/>
                    <a:gd name="connsiteX4" fmla="*/ 468164 w 496327"/>
                    <a:gd name="connsiteY4" fmla="*/ 25385 h 663077"/>
                    <a:gd name="connsiteX5" fmla="*/ 28163 w 496327"/>
                    <a:gd name="connsiteY5" fmla="*/ 25385 h 663077"/>
                    <a:gd name="connsiteX6" fmla="*/ 471 w 496327"/>
                    <a:gd name="connsiteY6" fmla="*/ 53077 h 663077"/>
                    <a:gd name="connsiteX7" fmla="*/ 471 w 496327"/>
                    <a:gd name="connsiteY7" fmla="*/ 610000 h 663077"/>
                    <a:gd name="connsiteX8" fmla="*/ 28163 w 496327"/>
                    <a:gd name="connsiteY8" fmla="*/ 637692 h 6630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6327" h="663077">
                      <a:moveTo>
                        <a:pt x="28163" y="637692"/>
                      </a:moveTo>
                      <a:cubicBezTo>
                        <a:pt x="175856" y="671539"/>
                        <a:pt x="323548" y="671539"/>
                        <a:pt x="468164" y="637692"/>
                      </a:cubicBezTo>
                      <a:cubicBezTo>
                        <a:pt x="486625" y="634616"/>
                        <a:pt x="498933" y="622308"/>
                        <a:pt x="495856" y="610000"/>
                      </a:cubicBezTo>
                      <a:cubicBezTo>
                        <a:pt x="462010" y="425385"/>
                        <a:pt x="462010" y="240769"/>
                        <a:pt x="495856" y="53077"/>
                      </a:cubicBezTo>
                      <a:cubicBezTo>
                        <a:pt x="498933" y="40769"/>
                        <a:pt x="486625" y="28461"/>
                        <a:pt x="468164" y="25385"/>
                      </a:cubicBezTo>
                      <a:cubicBezTo>
                        <a:pt x="320471" y="-8462"/>
                        <a:pt x="172779" y="-8462"/>
                        <a:pt x="28163" y="25385"/>
                      </a:cubicBezTo>
                      <a:cubicBezTo>
                        <a:pt x="9702" y="28461"/>
                        <a:pt x="-2606" y="40769"/>
                        <a:pt x="471" y="53077"/>
                      </a:cubicBezTo>
                      <a:cubicBezTo>
                        <a:pt x="34318" y="237692"/>
                        <a:pt x="34318" y="422308"/>
                        <a:pt x="471" y="610000"/>
                      </a:cubicBezTo>
                      <a:cubicBezTo>
                        <a:pt x="-2606" y="622308"/>
                        <a:pt x="9702" y="634616"/>
                        <a:pt x="28163" y="637692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576B7F3C-2233-4CCC-BAFA-DDBBC7A480EB}"/>
                    </a:ext>
                  </a:extLst>
                </p:cNvPr>
                <p:cNvSpPr/>
                <p:nvPr/>
              </p:nvSpPr>
              <p:spPr>
                <a:xfrm>
                  <a:off x="15325435" y="9107510"/>
                  <a:ext cx="440000" cy="464615"/>
                </a:xfrm>
                <a:custGeom>
                  <a:avLst/>
                  <a:gdLst>
                    <a:gd name="connsiteX0" fmla="*/ 46154 w 440000"/>
                    <a:gd name="connsiteY0" fmla="*/ 446154 h 464615"/>
                    <a:gd name="connsiteX1" fmla="*/ 393847 w 440000"/>
                    <a:gd name="connsiteY1" fmla="*/ 446154 h 464615"/>
                    <a:gd name="connsiteX2" fmla="*/ 418462 w 440000"/>
                    <a:gd name="connsiteY2" fmla="*/ 424615 h 464615"/>
                    <a:gd name="connsiteX3" fmla="*/ 440001 w 440000"/>
                    <a:gd name="connsiteY3" fmla="*/ 40000 h 464615"/>
                    <a:gd name="connsiteX4" fmla="*/ 415385 w 440000"/>
                    <a:gd name="connsiteY4" fmla="*/ 18461 h 464615"/>
                    <a:gd name="connsiteX5" fmla="*/ 24616 w 440000"/>
                    <a:gd name="connsiteY5" fmla="*/ 18461 h 464615"/>
                    <a:gd name="connsiteX6" fmla="*/ 0 w 440000"/>
                    <a:gd name="connsiteY6" fmla="*/ 40000 h 464615"/>
                    <a:gd name="connsiteX7" fmla="*/ 21539 w 440000"/>
                    <a:gd name="connsiteY7" fmla="*/ 424615 h 464615"/>
                    <a:gd name="connsiteX8" fmla="*/ 46154 w 440000"/>
                    <a:gd name="connsiteY8" fmla="*/ 446154 h 464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40000" h="464615">
                      <a:moveTo>
                        <a:pt x="46154" y="446154"/>
                      </a:moveTo>
                      <a:cubicBezTo>
                        <a:pt x="175385" y="470769"/>
                        <a:pt x="264616" y="470769"/>
                        <a:pt x="393847" y="446154"/>
                      </a:cubicBezTo>
                      <a:cubicBezTo>
                        <a:pt x="409231" y="443077"/>
                        <a:pt x="418462" y="433846"/>
                        <a:pt x="418462" y="424615"/>
                      </a:cubicBezTo>
                      <a:cubicBezTo>
                        <a:pt x="403077" y="295384"/>
                        <a:pt x="418462" y="169231"/>
                        <a:pt x="440001" y="40000"/>
                      </a:cubicBezTo>
                      <a:cubicBezTo>
                        <a:pt x="440001" y="30769"/>
                        <a:pt x="430769" y="21538"/>
                        <a:pt x="415385" y="18461"/>
                      </a:cubicBezTo>
                      <a:cubicBezTo>
                        <a:pt x="286154" y="-6154"/>
                        <a:pt x="156923" y="-6154"/>
                        <a:pt x="24616" y="18461"/>
                      </a:cubicBezTo>
                      <a:cubicBezTo>
                        <a:pt x="9231" y="21538"/>
                        <a:pt x="0" y="30769"/>
                        <a:pt x="0" y="40000"/>
                      </a:cubicBezTo>
                      <a:cubicBezTo>
                        <a:pt x="12308" y="184615"/>
                        <a:pt x="30769" y="295384"/>
                        <a:pt x="21539" y="424615"/>
                      </a:cubicBezTo>
                      <a:cubicBezTo>
                        <a:pt x="21539" y="433846"/>
                        <a:pt x="30769" y="443077"/>
                        <a:pt x="46154" y="44615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30" name="图形 1">
                  <a:extLst>
                    <a:ext uri="{FF2B5EF4-FFF2-40B4-BE49-F238E27FC236}">
                      <a16:creationId xmlns:a16="http://schemas.microsoft.com/office/drawing/2014/main" id="{6ABEA344-1CC2-4057-9426-00CFB91B2BA1}"/>
                    </a:ext>
                  </a:extLst>
                </p:cNvPr>
                <p:cNvGrpSpPr/>
                <p:nvPr/>
              </p:nvGrpSpPr>
              <p:grpSpPr>
                <a:xfrm>
                  <a:off x="15414665" y="9187510"/>
                  <a:ext cx="264615" cy="264726"/>
                  <a:chOff x="15414665" y="9187510"/>
                  <a:chExt cx="264615" cy="264726"/>
                </a:xfrm>
              </p:grpSpPr>
              <p:sp>
                <p:nvSpPr>
                  <p:cNvPr id="131" name="任意多边形: 形状 130">
                    <a:extLst>
                      <a:ext uri="{FF2B5EF4-FFF2-40B4-BE49-F238E27FC236}">
                        <a16:creationId xmlns:a16="http://schemas.microsoft.com/office/drawing/2014/main" id="{99E9EE32-580E-4629-A2F7-8D14E1E8BC7B}"/>
                      </a:ext>
                    </a:extLst>
                  </p:cNvPr>
                  <p:cNvSpPr/>
                  <p:nvPr/>
                </p:nvSpPr>
                <p:spPr>
                  <a:xfrm>
                    <a:off x="15414665" y="9187510"/>
                    <a:ext cx="264615" cy="264726"/>
                  </a:xfrm>
                  <a:custGeom>
                    <a:avLst/>
                    <a:gdLst>
                      <a:gd name="connsiteX0" fmla="*/ 264616 w 264615"/>
                      <a:gd name="connsiteY0" fmla="*/ 132308 h 264726"/>
                      <a:gd name="connsiteX1" fmla="*/ 132308 w 264615"/>
                      <a:gd name="connsiteY1" fmla="*/ 0 h 264726"/>
                      <a:gd name="connsiteX2" fmla="*/ 0 w 264615"/>
                      <a:gd name="connsiteY2" fmla="*/ 132308 h 264726"/>
                      <a:gd name="connsiteX3" fmla="*/ 132308 w 264615"/>
                      <a:gd name="connsiteY3" fmla="*/ 264616 h 264726"/>
                      <a:gd name="connsiteX4" fmla="*/ 264616 w 264615"/>
                      <a:gd name="connsiteY4" fmla="*/ 132308 h 2647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4615" h="264726">
                        <a:moveTo>
                          <a:pt x="264616" y="132308"/>
                        </a:moveTo>
                        <a:cubicBezTo>
                          <a:pt x="264616" y="58462"/>
                          <a:pt x="206154" y="0"/>
                          <a:pt x="132308" y="0"/>
                        </a:cubicBezTo>
                        <a:cubicBezTo>
                          <a:pt x="58462" y="0"/>
                          <a:pt x="0" y="58462"/>
                          <a:pt x="0" y="132308"/>
                        </a:cubicBezTo>
                        <a:cubicBezTo>
                          <a:pt x="0" y="206154"/>
                          <a:pt x="58462" y="264616"/>
                          <a:pt x="132308" y="264616"/>
                        </a:cubicBezTo>
                        <a:cubicBezTo>
                          <a:pt x="203077" y="267693"/>
                          <a:pt x="264616" y="206154"/>
                          <a:pt x="264616" y="132308"/>
                        </a:cubicBezTo>
                        <a:close/>
                      </a:path>
                    </a:pathLst>
                  </a:custGeom>
                  <a:solidFill>
                    <a:srgbClr val="DC6C66"/>
                  </a:solidFill>
                  <a:ln w="3075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" name="任意多边形: 形状 131">
                    <a:extLst>
                      <a:ext uri="{FF2B5EF4-FFF2-40B4-BE49-F238E27FC236}">
                        <a16:creationId xmlns:a16="http://schemas.microsoft.com/office/drawing/2014/main" id="{37F66D8D-5143-48FC-87F0-E2F5BA81F120}"/>
                      </a:ext>
                    </a:extLst>
                  </p:cNvPr>
                  <p:cNvSpPr/>
                  <p:nvPr/>
                </p:nvSpPr>
                <p:spPr>
                  <a:xfrm>
                    <a:off x="15463896" y="9242894"/>
                    <a:ext cx="160000" cy="159999"/>
                  </a:xfrm>
                  <a:custGeom>
                    <a:avLst/>
                    <a:gdLst>
                      <a:gd name="connsiteX0" fmla="*/ 141539 w 160000"/>
                      <a:gd name="connsiteY0" fmla="*/ 61538 h 159999"/>
                      <a:gd name="connsiteX1" fmla="*/ 98462 w 160000"/>
                      <a:gd name="connsiteY1" fmla="*/ 61538 h 159999"/>
                      <a:gd name="connsiteX2" fmla="*/ 98462 w 160000"/>
                      <a:gd name="connsiteY2" fmla="*/ 18462 h 159999"/>
                      <a:gd name="connsiteX3" fmla="*/ 80000 w 160000"/>
                      <a:gd name="connsiteY3" fmla="*/ 0 h 159999"/>
                      <a:gd name="connsiteX4" fmla="*/ 61538 w 160000"/>
                      <a:gd name="connsiteY4" fmla="*/ 18462 h 159999"/>
                      <a:gd name="connsiteX5" fmla="*/ 61538 w 160000"/>
                      <a:gd name="connsiteY5" fmla="*/ 61538 h 159999"/>
                      <a:gd name="connsiteX6" fmla="*/ 18462 w 160000"/>
                      <a:gd name="connsiteY6" fmla="*/ 61538 h 159999"/>
                      <a:gd name="connsiteX7" fmla="*/ 0 w 160000"/>
                      <a:gd name="connsiteY7" fmla="*/ 80000 h 159999"/>
                      <a:gd name="connsiteX8" fmla="*/ 18462 w 160000"/>
                      <a:gd name="connsiteY8" fmla="*/ 98461 h 159999"/>
                      <a:gd name="connsiteX9" fmla="*/ 61538 w 160000"/>
                      <a:gd name="connsiteY9" fmla="*/ 98461 h 159999"/>
                      <a:gd name="connsiteX10" fmla="*/ 61538 w 160000"/>
                      <a:gd name="connsiteY10" fmla="*/ 141539 h 159999"/>
                      <a:gd name="connsiteX11" fmla="*/ 80000 w 160000"/>
                      <a:gd name="connsiteY11" fmla="*/ 160000 h 159999"/>
                      <a:gd name="connsiteX12" fmla="*/ 98462 w 160000"/>
                      <a:gd name="connsiteY12" fmla="*/ 141539 h 159999"/>
                      <a:gd name="connsiteX13" fmla="*/ 98462 w 160000"/>
                      <a:gd name="connsiteY13" fmla="*/ 98461 h 159999"/>
                      <a:gd name="connsiteX14" fmla="*/ 141539 w 160000"/>
                      <a:gd name="connsiteY14" fmla="*/ 98461 h 159999"/>
                      <a:gd name="connsiteX15" fmla="*/ 160000 w 160000"/>
                      <a:gd name="connsiteY15" fmla="*/ 80000 h 159999"/>
                      <a:gd name="connsiteX16" fmla="*/ 141539 w 160000"/>
                      <a:gd name="connsiteY16" fmla="*/ 61538 h 1599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60000" h="159999">
                        <a:moveTo>
                          <a:pt x="141539" y="61538"/>
                        </a:moveTo>
                        <a:lnTo>
                          <a:pt x="98462" y="61538"/>
                        </a:lnTo>
                        <a:lnTo>
                          <a:pt x="98462" y="18462"/>
                        </a:lnTo>
                        <a:cubicBezTo>
                          <a:pt x="98462" y="9231"/>
                          <a:pt x="89231" y="0"/>
                          <a:pt x="80000" y="0"/>
                        </a:cubicBezTo>
                        <a:cubicBezTo>
                          <a:pt x="70770" y="0"/>
                          <a:pt x="61538" y="9231"/>
                          <a:pt x="61538" y="18462"/>
                        </a:cubicBezTo>
                        <a:lnTo>
                          <a:pt x="61538" y="61538"/>
                        </a:lnTo>
                        <a:lnTo>
                          <a:pt x="18462" y="61538"/>
                        </a:lnTo>
                        <a:cubicBezTo>
                          <a:pt x="9231" y="61538"/>
                          <a:pt x="0" y="70769"/>
                          <a:pt x="0" y="80000"/>
                        </a:cubicBezTo>
                        <a:cubicBezTo>
                          <a:pt x="0" y="89231"/>
                          <a:pt x="9231" y="98461"/>
                          <a:pt x="18462" y="98461"/>
                        </a:cubicBezTo>
                        <a:lnTo>
                          <a:pt x="61538" y="98461"/>
                        </a:lnTo>
                        <a:lnTo>
                          <a:pt x="61538" y="141539"/>
                        </a:lnTo>
                        <a:cubicBezTo>
                          <a:pt x="61538" y="150770"/>
                          <a:pt x="70770" y="160000"/>
                          <a:pt x="80000" y="160000"/>
                        </a:cubicBezTo>
                        <a:cubicBezTo>
                          <a:pt x="89231" y="160000"/>
                          <a:pt x="98462" y="150770"/>
                          <a:pt x="98462" y="141539"/>
                        </a:cubicBezTo>
                        <a:lnTo>
                          <a:pt x="98462" y="98461"/>
                        </a:lnTo>
                        <a:lnTo>
                          <a:pt x="141539" y="98461"/>
                        </a:lnTo>
                        <a:cubicBezTo>
                          <a:pt x="150769" y="98461"/>
                          <a:pt x="160000" y="89231"/>
                          <a:pt x="160000" y="80000"/>
                        </a:cubicBezTo>
                        <a:cubicBezTo>
                          <a:pt x="160000" y="67692"/>
                          <a:pt x="150769" y="61538"/>
                          <a:pt x="141539" y="6153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3075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</p:grp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EEEDCD26-DB7C-4939-8DA0-DFB2E9FCDD78}"/>
                </a:ext>
              </a:extLst>
            </p:cNvPr>
            <p:cNvSpPr/>
            <p:nvPr/>
          </p:nvSpPr>
          <p:spPr>
            <a:xfrm>
              <a:off x="16716204" y="11005971"/>
              <a:ext cx="963076" cy="498461"/>
            </a:xfrm>
            <a:custGeom>
              <a:avLst/>
              <a:gdLst>
                <a:gd name="connsiteX0" fmla="*/ 963077 w 963076"/>
                <a:gd name="connsiteY0" fmla="*/ 498462 h 498461"/>
                <a:gd name="connsiteX1" fmla="*/ 0 w 963076"/>
                <a:gd name="connsiteY1" fmla="*/ 498462 h 498461"/>
                <a:gd name="connsiteX2" fmla="*/ 0 w 963076"/>
                <a:gd name="connsiteY2" fmla="*/ 76923 h 498461"/>
                <a:gd name="connsiteX3" fmla="*/ 563077 w 963076"/>
                <a:gd name="connsiteY3" fmla="*/ 0 h 49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076" h="498461">
                  <a:moveTo>
                    <a:pt x="963077" y="498462"/>
                  </a:moveTo>
                  <a:lnTo>
                    <a:pt x="0" y="498462"/>
                  </a:lnTo>
                  <a:lnTo>
                    <a:pt x="0" y="76923"/>
                  </a:lnTo>
                  <a:lnTo>
                    <a:pt x="563077" y="0"/>
                  </a:ln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BF41EF01-4316-4501-A863-01AB23E233A0}"/>
                </a:ext>
              </a:extLst>
            </p:cNvPr>
            <p:cNvSpPr/>
            <p:nvPr/>
          </p:nvSpPr>
          <p:spPr>
            <a:xfrm>
              <a:off x="15980786" y="9611783"/>
              <a:ext cx="878859" cy="607261"/>
            </a:xfrm>
            <a:custGeom>
              <a:avLst/>
              <a:gdLst>
                <a:gd name="connsiteX0" fmla="*/ 723110 w 878859"/>
                <a:gd name="connsiteY0" fmla="*/ 3420 h 607261"/>
                <a:gd name="connsiteX1" fmla="*/ 409264 w 878859"/>
                <a:gd name="connsiteY1" fmla="*/ 403420 h 607261"/>
                <a:gd name="connsiteX2" fmla="*/ 46187 w 878859"/>
                <a:gd name="connsiteY2" fmla="*/ 188035 h 607261"/>
                <a:gd name="connsiteX3" fmla="*/ 34 w 878859"/>
                <a:gd name="connsiteY3" fmla="*/ 283419 h 607261"/>
                <a:gd name="connsiteX4" fmla="*/ 424649 w 878859"/>
                <a:gd name="connsiteY4" fmla="*/ 606496 h 607261"/>
                <a:gd name="connsiteX5" fmla="*/ 864648 w 878859"/>
                <a:gd name="connsiteY5" fmla="*/ 126496 h 607261"/>
                <a:gd name="connsiteX6" fmla="*/ 723110 w 878859"/>
                <a:gd name="connsiteY6" fmla="*/ 3420 h 607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8859" h="607261">
                  <a:moveTo>
                    <a:pt x="723110" y="3420"/>
                  </a:moveTo>
                  <a:cubicBezTo>
                    <a:pt x="633879" y="12650"/>
                    <a:pt x="409264" y="403420"/>
                    <a:pt x="409264" y="403420"/>
                  </a:cubicBezTo>
                  <a:cubicBezTo>
                    <a:pt x="409264" y="403420"/>
                    <a:pt x="52341" y="181881"/>
                    <a:pt x="46187" y="188035"/>
                  </a:cubicBezTo>
                  <a:cubicBezTo>
                    <a:pt x="-15351" y="224958"/>
                    <a:pt x="21571" y="215727"/>
                    <a:pt x="34" y="283419"/>
                  </a:cubicBezTo>
                  <a:cubicBezTo>
                    <a:pt x="-3044" y="292650"/>
                    <a:pt x="206187" y="544958"/>
                    <a:pt x="424649" y="606496"/>
                  </a:cubicBezTo>
                  <a:cubicBezTo>
                    <a:pt x="489264" y="624958"/>
                    <a:pt x="803110" y="304958"/>
                    <a:pt x="864648" y="126496"/>
                  </a:cubicBezTo>
                  <a:cubicBezTo>
                    <a:pt x="892341" y="43420"/>
                    <a:pt x="895417" y="-15042"/>
                    <a:pt x="723110" y="3420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606DE46A-23D9-4020-BAFE-2C7E027155D8}"/>
                </a:ext>
              </a:extLst>
            </p:cNvPr>
            <p:cNvSpPr/>
            <p:nvPr/>
          </p:nvSpPr>
          <p:spPr>
            <a:xfrm>
              <a:off x="16574666" y="9378726"/>
              <a:ext cx="417683" cy="445707"/>
            </a:xfrm>
            <a:custGeom>
              <a:avLst/>
              <a:gdLst>
                <a:gd name="connsiteX0" fmla="*/ 329231 w 417683"/>
                <a:gd name="connsiteY0" fmla="*/ 445707 h 445707"/>
                <a:gd name="connsiteX1" fmla="*/ 384615 w 417683"/>
                <a:gd name="connsiteY1" fmla="*/ 14938 h 445707"/>
                <a:gd name="connsiteX2" fmla="*/ 0 w 417683"/>
                <a:gd name="connsiteY2" fmla="*/ 279553 h 445707"/>
                <a:gd name="connsiteX3" fmla="*/ 329231 w 417683"/>
                <a:gd name="connsiteY3" fmla="*/ 445707 h 445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7683" h="445707">
                  <a:moveTo>
                    <a:pt x="329231" y="445707"/>
                  </a:moveTo>
                  <a:cubicBezTo>
                    <a:pt x="418462" y="282630"/>
                    <a:pt x="446154" y="67246"/>
                    <a:pt x="384615" y="14938"/>
                  </a:cubicBezTo>
                  <a:cubicBezTo>
                    <a:pt x="304615" y="-52754"/>
                    <a:pt x="80000" y="122631"/>
                    <a:pt x="0" y="279553"/>
                  </a:cubicBezTo>
                  <a:cubicBezTo>
                    <a:pt x="40000" y="344169"/>
                    <a:pt x="227692" y="427246"/>
                    <a:pt x="329231" y="445707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E66321E5-EE91-49CA-879F-8007949A0F42}"/>
                </a:ext>
              </a:extLst>
            </p:cNvPr>
            <p:cNvSpPr/>
            <p:nvPr/>
          </p:nvSpPr>
          <p:spPr>
            <a:xfrm>
              <a:off x="16702105" y="10282894"/>
              <a:ext cx="931764" cy="2547691"/>
            </a:xfrm>
            <a:custGeom>
              <a:avLst/>
              <a:gdLst>
                <a:gd name="connsiteX0" fmla="*/ 798714 w 931764"/>
                <a:gd name="connsiteY0" fmla="*/ 0 h 2547691"/>
                <a:gd name="connsiteX1" fmla="*/ 124868 w 931764"/>
                <a:gd name="connsiteY1" fmla="*/ 0 h 2547691"/>
                <a:gd name="connsiteX2" fmla="*/ 4867 w 931764"/>
                <a:gd name="connsiteY2" fmla="*/ 464616 h 2547691"/>
                <a:gd name="connsiteX3" fmla="*/ 26406 w 931764"/>
                <a:gd name="connsiteY3" fmla="*/ 2547692 h 2547691"/>
                <a:gd name="connsiteX4" fmla="*/ 207945 w 931764"/>
                <a:gd name="connsiteY4" fmla="*/ 2547692 h 2547691"/>
                <a:gd name="connsiteX5" fmla="*/ 426406 w 931764"/>
                <a:gd name="connsiteY5" fmla="*/ 873846 h 2547691"/>
                <a:gd name="connsiteX6" fmla="*/ 731022 w 931764"/>
                <a:gd name="connsiteY6" fmla="*/ 2538462 h 2547691"/>
                <a:gd name="connsiteX7" fmla="*/ 927944 w 931764"/>
                <a:gd name="connsiteY7" fmla="*/ 2538462 h 2547691"/>
                <a:gd name="connsiteX8" fmla="*/ 931022 w 931764"/>
                <a:gd name="connsiteY8" fmla="*/ 424615 h 2547691"/>
                <a:gd name="connsiteX9" fmla="*/ 798714 w 931764"/>
                <a:gd name="connsiteY9" fmla="*/ 0 h 2547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1764" h="2547691">
                  <a:moveTo>
                    <a:pt x="798714" y="0"/>
                  </a:moveTo>
                  <a:lnTo>
                    <a:pt x="124868" y="0"/>
                  </a:lnTo>
                  <a:cubicBezTo>
                    <a:pt x="124868" y="0"/>
                    <a:pt x="26406" y="307692"/>
                    <a:pt x="4867" y="464616"/>
                  </a:cubicBezTo>
                  <a:cubicBezTo>
                    <a:pt x="-13593" y="618462"/>
                    <a:pt x="26406" y="2547692"/>
                    <a:pt x="26406" y="2547692"/>
                  </a:cubicBezTo>
                  <a:lnTo>
                    <a:pt x="207945" y="2547692"/>
                  </a:lnTo>
                  <a:lnTo>
                    <a:pt x="426406" y="873846"/>
                  </a:lnTo>
                  <a:lnTo>
                    <a:pt x="731022" y="2538462"/>
                  </a:lnTo>
                  <a:lnTo>
                    <a:pt x="927944" y="2538462"/>
                  </a:lnTo>
                  <a:cubicBezTo>
                    <a:pt x="927944" y="2538462"/>
                    <a:pt x="921791" y="544616"/>
                    <a:pt x="931022" y="424615"/>
                  </a:cubicBezTo>
                  <a:cubicBezTo>
                    <a:pt x="943329" y="298462"/>
                    <a:pt x="798714" y="0"/>
                    <a:pt x="798714" y="0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F08CAF2B-EAF3-4482-80BE-AA5BBEC6D26E}"/>
                </a:ext>
              </a:extLst>
            </p:cNvPr>
            <p:cNvSpPr/>
            <p:nvPr/>
          </p:nvSpPr>
          <p:spPr>
            <a:xfrm>
              <a:off x="16802358" y="10329048"/>
              <a:ext cx="726154" cy="12307"/>
            </a:xfrm>
            <a:custGeom>
              <a:avLst/>
              <a:gdLst>
                <a:gd name="connsiteX0" fmla="*/ 720000 w 726154"/>
                <a:gd name="connsiteY0" fmla="*/ 12308 h 12307"/>
                <a:gd name="connsiteX1" fmla="*/ 6154 w 726154"/>
                <a:gd name="connsiteY1" fmla="*/ 12308 h 12307"/>
                <a:gd name="connsiteX2" fmla="*/ 0 w 726154"/>
                <a:gd name="connsiteY2" fmla="*/ 6154 h 12307"/>
                <a:gd name="connsiteX3" fmla="*/ 6154 w 726154"/>
                <a:gd name="connsiteY3" fmla="*/ 0 h 12307"/>
                <a:gd name="connsiteX4" fmla="*/ 720000 w 726154"/>
                <a:gd name="connsiteY4" fmla="*/ 0 h 12307"/>
                <a:gd name="connsiteX5" fmla="*/ 726154 w 726154"/>
                <a:gd name="connsiteY5" fmla="*/ 6154 h 12307"/>
                <a:gd name="connsiteX6" fmla="*/ 720000 w 726154"/>
                <a:gd name="connsiteY6" fmla="*/ 12308 h 1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6154" h="12307">
                  <a:moveTo>
                    <a:pt x="720000" y="12308"/>
                  </a:moveTo>
                  <a:lnTo>
                    <a:pt x="6154" y="12308"/>
                  </a:lnTo>
                  <a:cubicBezTo>
                    <a:pt x="3077" y="12308"/>
                    <a:pt x="0" y="9230"/>
                    <a:pt x="0" y="6154"/>
                  </a:cubicBezTo>
                  <a:cubicBezTo>
                    <a:pt x="0" y="3077"/>
                    <a:pt x="3077" y="0"/>
                    <a:pt x="6154" y="0"/>
                  </a:cubicBezTo>
                  <a:lnTo>
                    <a:pt x="720000" y="0"/>
                  </a:lnTo>
                  <a:cubicBezTo>
                    <a:pt x="723077" y="0"/>
                    <a:pt x="726154" y="3077"/>
                    <a:pt x="726154" y="6154"/>
                  </a:cubicBezTo>
                  <a:cubicBezTo>
                    <a:pt x="726154" y="9230"/>
                    <a:pt x="723077" y="12308"/>
                    <a:pt x="720000" y="12308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01CEE656-2BA1-4B77-80EA-068A6EEC04E9}"/>
                </a:ext>
              </a:extLst>
            </p:cNvPr>
            <p:cNvSpPr/>
            <p:nvPr/>
          </p:nvSpPr>
          <p:spPr>
            <a:xfrm>
              <a:off x="17122358" y="10673664"/>
              <a:ext cx="316923" cy="2150769"/>
            </a:xfrm>
            <a:custGeom>
              <a:avLst/>
              <a:gdLst>
                <a:gd name="connsiteX0" fmla="*/ 310769 w 316923"/>
                <a:gd name="connsiteY0" fmla="*/ 2150769 h 2150769"/>
                <a:gd name="connsiteX1" fmla="*/ 304616 w 316923"/>
                <a:gd name="connsiteY1" fmla="*/ 2144615 h 2150769"/>
                <a:gd name="connsiteX2" fmla="*/ 0 w 316923"/>
                <a:gd name="connsiteY2" fmla="*/ 479999 h 2150769"/>
                <a:gd name="connsiteX3" fmla="*/ 0 w 316923"/>
                <a:gd name="connsiteY3" fmla="*/ 6153 h 2150769"/>
                <a:gd name="connsiteX4" fmla="*/ 6154 w 316923"/>
                <a:gd name="connsiteY4" fmla="*/ 0 h 2150769"/>
                <a:gd name="connsiteX5" fmla="*/ 12308 w 316923"/>
                <a:gd name="connsiteY5" fmla="*/ 6153 h 2150769"/>
                <a:gd name="connsiteX6" fmla="*/ 12308 w 316923"/>
                <a:gd name="connsiteY6" fmla="*/ 479999 h 2150769"/>
                <a:gd name="connsiteX7" fmla="*/ 316924 w 316923"/>
                <a:gd name="connsiteY7" fmla="*/ 2144615 h 2150769"/>
                <a:gd name="connsiteX8" fmla="*/ 310769 w 316923"/>
                <a:gd name="connsiteY8" fmla="*/ 2150769 h 2150769"/>
                <a:gd name="connsiteX9" fmla="*/ 310769 w 316923"/>
                <a:gd name="connsiteY9" fmla="*/ 2150769 h 215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6923" h="2150769">
                  <a:moveTo>
                    <a:pt x="310769" y="2150769"/>
                  </a:moveTo>
                  <a:cubicBezTo>
                    <a:pt x="307692" y="2150769"/>
                    <a:pt x="304616" y="2147692"/>
                    <a:pt x="304616" y="2144615"/>
                  </a:cubicBezTo>
                  <a:lnTo>
                    <a:pt x="0" y="479999"/>
                  </a:lnTo>
                  <a:lnTo>
                    <a:pt x="0" y="6153"/>
                  </a:lnTo>
                  <a:cubicBezTo>
                    <a:pt x="0" y="3076"/>
                    <a:pt x="3077" y="0"/>
                    <a:pt x="6154" y="0"/>
                  </a:cubicBezTo>
                  <a:cubicBezTo>
                    <a:pt x="9231" y="0"/>
                    <a:pt x="12308" y="3076"/>
                    <a:pt x="12308" y="6153"/>
                  </a:cubicBezTo>
                  <a:lnTo>
                    <a:pt x="12308" y="479999"/>
                  </a:lnTo>
                  <a:lnTo>
                    <a:pt x="316924" y="2144615"/>
                  </a:lnTo>
                  <a:cubicBezTo>
                    <a:pt x="316924" y="2147692"/>
                    <a:pt x="313847" y="2150769"/>
                    <a:pt x="310769" y="2150769"/>
                  </a:cubicBezTo>
                  <a:cubicBezTo>
                    <a:pt x="310769" y="2150769"/>
                    <a:pt x="310769" y="2150769"/>
                    <a:pt x="310769" y="2150769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323DD353-A0B6-4BE2-A796-92F87EBF9896}"/>
                </a:ext>
              </a:extLst>
            </p:cNvPr>
            <p:cNvSpPr/>
            <p:nvPr/>
          </p:nvSpPr>
          <p:spPr>
            <a:xfrm>
              <a:off x="16732706" y="9321465"/>
              <a:ext cx="828154" cy="995366"/>
            </a:xfrm>
            <a:custGeom>
              <a:avLst/>
              <a:gdLst>
                <a:gd name="connsiteX0" fmla="*/ 783498 w 828154"/>
                <a:gd name="connsiteY0" fmla="*/ 395275 h 995366"/>
                <a:gd name="connsiteX1" fmla="*/ 768113 w 828154"/>
                <a:gd name="connsiteY1" fmla="*/ 69121 h 995366"/>
                <a:gd name="connsiteX2" fmla="*/ 395806 w 828154"/>
                <a:gd name="connsiteY2" fmla="*/ 4506 h 995366"/>
                <a:gd name="connsiteX3" fmla="*/ 91190 w 828154"/>
                <a:gd name="connsiteY3" fmla="*/ 118352 h 995366"/>
                <a:gd name="connsiteX4" fmla="*/ 51190 w 828154"/>
                <a:gd name="connsiteY4" fmla="*/ 659891 h 995366"/>
                <a:gd name="connsiteX5" fmla="*/ 94267 w 828154"/>
                <a:gd name="connsiteY5" fmla="*/ 989121 h 995366"/>
                <a:gd name="connsiteX6" fmla="*/ 777344 w 828154"/>
                <a:gd name="connsiteY6" fmla="*/ 973737 h 995366"/>
                <a:gd name="connsiteX7" fmla="*/ 783498 w 828154"/>
                <a:gd name="connsiteY7" fmla="*/ 395275 h 99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8154" h="995366">
                  <a:moveTo>
                    <a:pt x="783498" y="395275"/>
                  </a:moveTo>
                  <a:cubicBezTo>
                    <a:pt x="792728" y="364506"/>
                    <a:pt x="888113" y="133737"/>
                    <a:pt x="768113" y="69121"/>
                  </a:cubicBezTo>
                  <a:cubicBezTo>
                    <a:pt x="663498" y="13737"/>
                    <a:pt x="515805" y="-10879"/>
                    <a:pt x="395806" y="4506"/>
                  </a:cubicBezTo>
                  <a:cubicBezTo>
                    <a:pt x="263498" y="19890"/>
                    <a:pt x="131190" y="53737"/>
                    <a:pt x="91190" y="118352"/>
                  </a:cubicBezTo>
                  <a:cubicBezTo>
                    <a:pt x="-22656" y="306044"/>
                    <a:pt x="-22656" y="459891"/>
                    <a:pt x="51190" y="659891"/>
                  </a:cubicBezTo>
                  <a:cubicBezTo>
                    <a:pt x="72729" y="718352"/>
                    <a:pt x="78883" y="853737"/>
                    <a:pt x="94267" y="989121"/>
                  </a:cubicBezTo>
                  <a:cubicBezTo>
                    <a:pt x="94267" y="989121"/>
                    <a:pt x="380421" y="1010660"/>
                    <a:pt x="777344" y="973737"/>
                  </a:cubicBezTo>
                  <a:cubicBezTo>
                    <a:pt x="746575" y="752198"/>
                    <a:pt x="774267" y="416814"/>
                    <a:pt x="783498" y="395275"/>
                  </a:cubicBezTo>
                  <a:close/>
                </a:path>
              </a:pathLst>
            </a:custGeom>
            <a:solidFill>
              <a:srgbClr val="F1DDBA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7E60160F-FC4B-47C8-B443-D24A4E90E3F3}"/>
                </a:ext>
              </a:extLst>
            </p:cNvPr>
            <p:cNvSpPr/>
            <p:nvPr/>
          </p:nvSpPr>
          <p:spPr>
            <a:xfrm>
              <a:off x="17017742" y="9141258"/>
              <a:ext cx="310769" cy="226479"/>
            </a:xfrm>
            <a:custGeom>
              <a:avLst/>
              <a:gdLst>
                <a:gd name="connsiteX0" fmla="*/ 55385 w 310769"/>
                <a:gd name="connsiteY0" fmla="*/ 61636 h 226479"/>
                <a:gd name="connsiteX1" fmla="*/ 0 w 310769"/>
                <a:gd name="connsiteY1" fmla="*/ 203175 h 226479"/>
                <a:gd name="connsiteX2" fmla="*/ 310769 w 310769"/>
                <a:gd name="connsiteY2" fmla="*/ 187790 h 226479"/>
                <a:gd name="connsiteX3" fmla="*/ 258461 w 310769"/>
                <a:gd name="connsiteY3" fmla="*/ 98 h 226479"/>
                <a:gd name="connsiteX4" fmla="*/ 55385 w 310769"/>
                <a:gd name="connsiteY4" fmla="*/ 61636 h 22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769" h="226479">
                  <a:moveTo>
                    <a:pt x="55385" y="61636"/>
                  </a:moveTo>
                  <a:cubicBezTo>
                    <a:pt x="55385" y="61636"/>
                    <a:pt x="61538" y="172405"/>
                    <a:pt x="0" y="203175"/>
                  </a:cubicBezTo>
                  <a:cubicBezTo>
                    <a:pt x="0" y="203175"/>
                    <a:pt x="181538" y="264713"/>
                    <a:pt x="310769" y="187790"/>
                  </a:cubicBezTo>
                  <a:cubicBezTo>
                    <a:pt x="255385" y="144713"/>
                    <a:pt x="258461" y="61636"/>
                    <a:pt x="258461" y="98"/>
                  </a:cubicBezTo>
                  <a:cubicBezTo>
                    <a:pt x="258461" y="-2979"/>
                    <a:pt x="107692" y="67790"/>
                    <a:pt x="55385" y="61636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B268AD77-F773-493D-94DF-AB3C8AD11D17}"/>
                </a:ext>
              </a:extLst>
            </p:cNvPr>
            <p:cNvSpPr/>
            <p:nvPr/>
          </p:nvSpPr>
          <p:spPr>
            <a:xfrm>
              <a:off x="16854666" y="9867706"/>
              <a:ext cx="404351" cy="36727"/>
            </a:xfrm>
            <a:custGeom>
              <a:avLst/>
              <a:gdLst>
                <a:gd name="connsiteX0" fmla="*/ 6153 w 404351"/>
                <a:gd name="connsiteY0" fmla="*/ 36727 h 36727"/>
                <a:gd name="connsiteX1" fmla="*/ 0 w 404351"/>
                <a:gd name="connsiteY1" fmla="*/ 33651 h 36727"/>
                <a:gd name="connsiteX2" fmla="*/ 3077 w 404351"/>
                <a:gd name="connsiteY2" fmla="*/ 27496 h 36727"/>
                <a:gd name="connsiteX3" fmla="*/ 400000 w 404351"/>
                <a:gd name="connsiteY3" fmla="*/ 15189 h 36727"/>
                <a:gd name="connsiteX4" fmla="*/ 403077 w 404351"/>
                <a:gd name="connsiteY4" fmla="*/ 21343 h 36727"/>
                <a:gd name="connsiteX5" fmla="*/ 396923 w 404351"/>
                <a:gd name="connsiteY5" fmla="*/ 24420 h 36727"/>
                <a:gd name="connsiteX6" fmla="*/ 6153 w 404351"/>
                <a:gd name="connsiteY6" fmla="*/ 36727 h 36727"/>
                <a:gd name="connsiteX7" fmla="*/ 6153 w 404351"/>
                <a:gd name="connsiteY7" fmla="*/ 36727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351" h="36727">
                  <a:moveTo>
                    <a:pt x="6153" y="36727"/>
                  </a:moveTo>
                  <a:cubicBezTo>
                    <a:pt x="3077" y="36727"/>
                    <a:pt x="3077" y="36727"/>
                    <a:pt x="0" y="33651"/>
                  </a:cubicBezTo>
                  <a:cubicBezTo>
                    <a:pt x="0" y="30574"/>
                    <a:pt x="0" y="27496"/>
                    <a:pt x="3077" y="27496"/>
                  </a:cubicBezTo>
                  <a:cubicBezTo>
                    <a:pt x="89231" y="-3273"/>
                    <a:pt x="298461" y="-9427"/>
                    <a:pt x="400000" y="15189"/>
                  </a:cubicBezTo>
                  <a:cubicBezTo>
                    <a:pt x="403077" y="15189"/>
                    <a:pt x="406153" y="18266"/>
                    <a:pt x="403077" y="21343"/>
                  </a:cubicBezTo>
                  <a:cubicBezTo>
                    <a:pt x="403077" y="24420"/>
                    <a:pt x="400000" y="27496"/>
                    <a:pt x="396923" y="24420"/>
                  </a:cubicBezTo>
                  <a:cubicBezTo>
                    <a:pt x="298461" y="-196"/>
                    <a:pt x="89231" y="5958"/>
                    <a:pt x="6153" y="36727"/>
                  </a:cubicBezTo>
                  <a:cubicBezTo>
                    <a:pt x="6153" y="36727"/>
                    <a:pt x="6153" y="36727"/>
                    <a:pt x="6153" y="36727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148F36C5-8C88-4604-962D-4B210ABBDF58}"/>
                </a:ext>
              </a:extLst>
            </p:cNvPr>
            <p:cNvSpPr/>
            <p:nvPr/>
          </p:nvSpPr>
          <p:spPr>
            <a:xfrm>
              <a:off x="16990050" y="9329048"/>
              <a:ext cx="363076" cy="64615"/>
            </a:xfrm>
            <a:custGeom>
              <a:avLst/>
              <a:gdLst>
                <a:gd name="connsiteX0" fmla="*/ 36923 w 363076"/>
                <a:gd name="connsiteY0" fmla="*/ 9231 h 64615"/>
                <a:gd name="connsiteX1" fmla="*/ 338462 w 363076"/>
                <a:gd name="connsiteY1" fmla="*/ 0 h 64615"/>
                <a:gd name="connsiteX2" fmla="*/ 363077 w 363076"/>
                <a:gd name="connsiteY2" fmla="*/ 9231 h 64615"/>
                <a:gd name="connsiteX3" fmla="*/ 172308 w 363076"/>
                <a:gd name="connsiteY3" fmla="*/ 64616 h 64615"/>
                <a:gd name="connsiteX4" fmla="*/ 0 w 363076"/>
                <a:gd name="connsiteY4" fmla="*/ 15385 h 64615"/>
                <a:gd name="connsiteX5" fmla="*/ 36923 w 363076"/>
                <a:gd name="connsiteY5" fmla="*/ 9231 h 6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076" h="64615">
                  <a:moveTo>
                    <a:pt x="36923" y="9231"/>
                  </a:moveTo>
                  <a:cubicBezTo>
                    <a:pt x="36923" y="9231"/>
                    <a:pt x="150769" y="67692"/>
                    <a:pt x="338462" y="0"/>
                  </a:cubicBezTo>
                  <a:lnTo>
                    <a:pt x="363077" y="9231"/>
                  </a:lnTo>
                  <a:cubicBezTo>
                    <a:pt x="363077" y="9231"/>
                    <a:pt x="283077" y="64616"/>
                    <a:pt x="172308" y="64616"/>
                  </a:cubicBezTo>
                  <a:cubicBezTo>
                    <a:pt x="67693" y="64616"/>
                    <a:pt x="0" y="15385"/>
                    <a:pt x="0" y="15385"/>
                  </a:cubicBezTo>
                  <a:cubicBezTo>
                    <a:pt x="0" y="15385"/>
                    <a:pt x="15385" y="9231"/>
                    <a:pt x="36923" y="9231"/>
                  </a:cubicBezTo>
                  <a:close/>
                </a:path>
              </a:pathLst>
            </a:custGeom>
            <a:solidFill>
              <a:srgbClr val="F1DDBA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119F37CF-E2CF-4A1D-8E13-EA10125DB487}"/>
                </a:ext>
              </a:extLst>
            </p:cNvPr>
            <p:cNvSpPr/>
            <p:nvPr/>
          </p:nvSpPr>
          <p:spPr>
            <a:xfrm>
              <a:off x="17129553" y="9322895"/>
              <a:ext cx="594513" cy="2203076"/>
            </a:xfrm>
            <a:custGeom>
              <a:avLst/>
              <a:gdLst>
                <a:gd name="connsiteX0" fmla="*/ 23573 w 594513"/>
                <a:gd name="connsiteY0" fmla="*/ 307692 h 2203076"/>
                <a:gd name="connsiteX1" fmla="*/ 75881 w 594513"/>
                <a:gd name="connsiteY1" fmla="*/ 1043077 h 2203076"/>
                <a:gd name="connsiteX2" fmla="*/ 134343 w 594513"/>
                <a:gd name="connsiteY2" fmla="*/ 2203077 h 2203076"/>
                <a:gd name="connsiteX3" fmla="*/ 571266 w 594513"/>
                <a:gd name="connsiteY3" fmla="*/ 2203077 h 2203076"/>
                <a:gd name="connsiteX4" fmla="*/ 571266 w 594513"/>
                <a:gd name="connsiteY4" fmla="*/ 1341538 h 2203076"/>
                <a:gd name="connsiteX5" fmla="*/ 435882 w 594513"/>
                <a:gd name="connsiteY5" fmla="*/ 864615 h 2203076"/>
                <a:gd name="connsiteX6" fmla="*/ 454343 w 594513"/>
                <a:gd name="connsiteY6" fmla="*/ 393846 h 2203076"/>
                <a:gd name="connsiteX7" fmla="*/ 454343 w 594513"/>
                <a:gd name="connsiteY7" fmla="*/ 120000 h 2203076"/>
                <a:gd name="connsiteX8" fmla="*/ 189728 w 594513"/>
                <a:gd name="connsiteY8" fmla="*/ 0 h 2203076"/>
                <a:gd name="connsiteX9" fmla="*/ 23573 w 594513"/>
                <a:gd name="connsiteY9" fmla="*/ 307692 h 220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513" h="2203076">
                  <a:moveTo>
                    <a:pt x="23573" y="307692"/>
                  </a:moveTo>
                  <a:cubicBezTo>
                    <a:pt x="-37965" y="544615"/>
                    <a:pt x="35882" y="796923"/>
                    <a:pt x="75881" y="1043077"/>
                  </a:cubicBezTo>
                  <a:cubicBezTo>
                    <a:pt x="109728" y="1240000"/>
                    <a:pt x="134343" y="2203077"/>
                    <a:pt x="134343" y="2203077"/>
                  </a:cubicBezTo>
                  <a:lnTo>
                    <a:pt x="571266" y="2203077"/>
                  </a:lnTo>
                  <a:cubicBezTo>
                    <a:pt x="571266" y="2203077"/>
                    <a:pt x="623573" y="1569230"/>
                    <a:pt x="571266" y="1341538"/>
                  </a:cubicBezTo>
                  <a:cubicBezTo>
                    <a:pt x="534343" y="1181539"/>
                    <a:pt x="463574" y="1006154"/>
                    <a:pt x="435882" y="864615"/>
                  </a:cubicBezTo>
                  <a:cubicBezTo>
                    <a:pt x="405113" y="707692"/>
                    <a:pt x="414343" y="550769"/>
                    <a:pt x="454343" y="393846"/>
                  </a:cubicBezTo>
                  <a:cubicBezTo>
                    <a:pt x="478959" y="301539"/>
                    <a:pt x="515881" y="206154"/>
                    <a:pt x="454343" y="120000"/>
                  </a:cubicBezTo>
                  <a:cubicBezTo>
                    <a:pt x="402035" y="49230"/>
                    <a:pt x="269727" y="12308"/>
                    <a:pt x="189728" y="0"/>
                  </a:cubicBezTo>
                  <a:cubicBezTo>
                    <a:pt x="183574" y="0"/>
                    <a:pt x="48189" y="206154"/>
                    <a:pt x="23573" y="307692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A06C893D-D345-4F8F-A982-11B549FDC273}"/>
                </a:ext>
              </a:extLst>
            </p:cNvPr>
            <p:cNvSpPr/>
            <p:nvPr/>
          </p:nvSpPr>
          <p:spPr>
            <a:xfrm>
              <a:off x="16679917" y="9329048"/>
              <a:ext cx="368594" cy="2193845"/>
            </a:xfrm>
            <a:custGeom>
              <a:avLst/>
              <a:gdLst>
                <a:gd name="connsiteX0" fmla="*/ 30133 w 368594"/>
                <a:gd name="connsiteY0" fmla="*/ 495385 h 2193845"/>
                <a:gd name="connsiteX1" fmla="*/ 60903 w 368594"/>
                <a:gd name="connsiteY1" fmla="*/ 729231 h 2193845"/>
                <a:gd name="connsiteX2" fmla="*/ 57825 w 368594"/>
                <a:gd name="connsiteY2" fmla="*/ 963077 h 2193845"/>
                <a:gd name="connsiteX3" fmla="*/ 48595 w 368594"/>
                <a:gd name="connsiteY3" fmla="*/ 1116923 h 2193845"/>
                <a:gd name="connsiteX4" fmla="*/ 2441 w 368594"/>
                <a:gd name="connsiteY4" fmla="*/ 2193846 h 2193845"/>
                <a:gd name="connsiteX5" fmla="*/ 156287 w 368594"/>
                <a:gd name="connsiteY5" fmla="*/ 2193846 h 2193845"/>
                <a:gd name="connsiteX6" fmla="*/ 153210 w 368594"/>
                <a:gd name="connsiteY6" fmla="*/ 1089231 h 2193845"/>
                <a:gd name="connsiteX7" fmla="*/ 171672 w 368594"/>
                <a:gd name="connsiteY7" fmla="*/ 741539 h 2193845"/>
                <a:gd name="connsiteX8" fmla="*/ 343980 w 368594"/>
                <a:gd name="connsiteY8" fmla="*/ 18462 h 2193845"/>
                <a:gd name="connsiteX9" fmla="*/ 368595 w 368594"/>
                <a:gd name="connsiteY9" fmla="*/ 0 h 2193845"/>
                <a:gd name="connsiteX10" fmla="*/ 30133 w 368594"/>
                <a:gd name="connsiteY10" fmla="*/ 495385 h 2193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8594" h="2193845">
                  <a:moveTo>
                    <a:pt x="30133" y="495385"/>
                  </a:moveTo>
                  <a:cubicBezTo>
                    <a:pt x="39365" y="575385"/>
                    <a:pt x="57825" y="649231"/>
                    <a:pt x="60903" y="729231"/>
                  </a:cubicBezTo>
                  <a:cubicBezTo>
                    <a:pt x="63980" y="806154"/>
                    <a:pt x="60903" y="886154"/>
                    <a:pt x="57825" y="963077"/>
                  </a:cubicBezTo>
                  <a:cubicBezTo>
                    <a:pt x="54749" y="1015385"/>
                    <a:pt x="54749" y="1067693"/>
                    <a:pt x="48595" y="1116923"/>
                  </a:cubicBezTo>
                  <a:cubicBezTo>
                    <a:pt x="-16020" y="1476923"/>
                    <a:pt x="2441" y="2193846"/>
                    <a:pt x="2441" y="2193846"/>
                  </a:cubicBezTo>
                  <a:lnTo>
                    <a:pt x="156287" y="2193846"/>
                  </a:lnTo>
                  <a:cubicBezTo>
                    <a:pt x="113211" y="1929231"/>
                    <a:pt x="153210" y="1089231"/>
                    <a:pt x="153210" y="1089231"/>
                  </a:cubicBezTo>
                  <a:cubicBezTo>
                    <a:pt x="193211" y="975385"/>
                    <a:pt x="183980" y="861538"/>
                    <a:pt x="171672" y="741539"/>
                  </a:cubicBezTo>
                  <a:cubicBezTo>
                    <a:pt x="143980" y="483077"/>
                    <a:pt x="183980" y="230769"/>
                    <a:pt x="343980" y="18462"/>
                  </a:cubicBezTo>
                  <a:cubicBezTo>
                    <a:pt x="347057" y="15385"/>
                    <a:pt x="356287" y="15385"/>
                    <a:pt x="368595" y="0"/>
                  </a:cubicBezTo>
                  <a:cubicBezTo>
                    <a:pt x="107056" y="6154"/>
                    <a:pt x="5518" y="283077"/>
                    <a:pt x="30133" y="495385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5C34B791-2486-4D1D-9FE0-4DABD241015A}"/>
                </a:ext>
              </a:extLst>
            </p:cNvPr>
            <p:cNvSpPr/>
            <p:nvPr/>
          </p:nvSpPr>
          <p:spPr>
            <a:xfrm>
              <a:off x="17094665" y="9517590"/>
              <a:ext cx="636529" cy="940689"/>
            </a:xfrm>
            <a:custGeom>
              <a:avLst/>
              <a:gdLst>
                <a:gd name="connsiteX0" fmla="*/ 520000 w 636529"/>
                <a:gd name="connsiteY0" fmla="*/ 39150 h 940689"/>
                <a:gd name="connsiteX1" fmla="*/ 313847 w 636529"/>
                <a:gd name="connsiteY1" fmla="*/ 192996 h 940689"/>
                <a:gd name="connsiteX2" fmla="*/ 403077 w 636529"/>
                <a:gd name="connsiteY2" fmla="*/ 614535 h 940689"/>
                <a:gd name="connsiteX3" fmla="*/ 0 w 636529"/>
                <a:gd name="connsiteY3" fmla="*/ 820688 h 940689"/>
                <a:gd name="connsiteX4" fmla="*/ 40001 w 636529"/>
                <a:gd name="connsiteY4" fmla="*/ 940689 h 940689"/>
                <a:gd name="connsiteX5" fmla="*/ 612308 w 636529"/>
                <a:gd name="connsiteY5" fmla="*/ 688381 h 940689"/>
                <a:gd name="connsiteX6" fmla="*/ 520000 w 636529"/>
                <a:gd name="connsiteY6" fmla="*/ 39150 h 940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6529" h="940689">
                  <a:moveTo>
                    <a:pt x="520000" y="39150"/>
                  </a:moveTo>
                  <a:cubicBezTo>
                    <a:pt x="369231" y="-68542"/>
                    <a:pt x="273846" y="66843"/>
                    <a:pt x="313847" y="192996"/>
                  </a:cubicBezTo>
                  <a:cubicBezTo>
                    <a:pt x="356923" y="316073"/>
                    <a:pt x="412308" y="583766"/>
                    <a:pt x="403077" y="614535"/>
                  </a:cubicBezTo>
                  <a:cubicBezTo>
                    <a:pt x="353846" y="651458"/>
                    <a:pt x="0" y="820688"/>
                    <a:pt x="0" y="820688"/>
                  </a:cubicBezTo>
                  <a:cubicBezTo>
                    <a:pt x="24616" y="842227"/>
                    <a:pt x="40001" y="940689"/>
                    <a:pt x="40001" y="940689"/>
                  </a:cubicBezTo>
                  <a:cubicBezTo>
                    <a:pt x="40001" y="940689"/>
                    <a:pt x="547693" y="808381"/>
                    <a:pt x="612308" y="688381"/>
                  </a:cubicBezTo>
                  <a:cubicBezTo>
                    <a:pt x="643077" y="626843"/>
                    <a:pt x="670770" y="146842"/>
                    <a:pt x="520000" y="39150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800EFB2A-63CE-486B-98CA-6C8A0C4B2629}"/>
                </a:ext>
              </a:extLst>
            </p:cNvPr>
            <p:cNvSpPr/>
            <p:nvPr/>
          </p:nvSpPr>
          <p:spPr>
            <a:xfrm>
              <a:off x="16915988" y="10329825"/>
              <a:ext cx="181754" cy="89628"/>
            </a:xfrm>
            <a:custGeom>
              <a:avLst/>
              <a:gdLst>
                <a:gd name="connsiteX0" fmla="*/ 181755 w 181754"/>
                <a:gd name="connsiteY0" fmla="*/ 14607 h 89628"/>
                <a:gd name="connsiteX1" fmla="*/ 86370 w 181754"/>
                <a:gd name="connsiteY1" fmla="*/ 2300 h 89628"/>
                <a:gd name="connsiteX2" fmla="*/ 216 w 181754"/>
                <a:gd name="connsiteY2" fmla="*/ 73069 h 89628"/>
                <a:gd name="connsiteX3" fmla="*/ 27908 w 181754"/>
                <a:gd name="connsiteY3" fmla="*/ 82300 h 89628"/>
                <a:gd name="connsiteX4" fmla="*/ 181755 w 181754"/>
                <a:gd name="connsiteY4" fmla="*/ 14607 h 89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754" h="89628">
                  <a:moveTo>
                    <a:pt x="181755" y="14607"/>
                  </a:moveTo>
                  <a:cubicBezTo>
                    <a:pt x="181755" y="14607"/>
                    <a:pt x="120216" y="-6931"/>
                    <a:pt x="86370" y="2300"/>
                  </a:cubicBezTo>
                  <a:cubicBezTo>
                    <a:pt x="55601" y="14607"/>
                    <a:pt x="3293" y="42300"/>
                    <a:pt x="216" y="73069"/>
                  </a:cubicBezTo>
                  <a:cubicBezTo>
                    <a:pt x="-2861" y="103838"/>
                    <a:pt x="27908" y="82300"/>
                    <a:pt x="27908" y="82300"/>
                  </a:cubicBezTo>
                  <a:lnTo>
                    <a:pt x="181755" y="14607"/>
                  </a:ln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4" name="图形 1">
              <a:extLst>
                <a:ext uri="{FF2B5EF4-FFF2-40B4-BE49-F238E27FC236}">
                  <a16:creationId xmlns:a16="http://schemas.microsoft.com/office/drawing/2014/main" id="{FF97A45F-BF58-4726-B85D-E47966017E2F}"/>
                </a:ext>
              </a:extLst>
            </p:cNvPr>
            <p:cNvGrpSpPr/>
            <p:nvPr/>
          </p:nvGrpSpPr>
          <p:grpSpPr>
            <a:xfrm>
              <a:off x="16868776" y="10332125"/>
              <a:ext cx="296659" cy="219887"/>
              <a:chOff x="16868776" y="10332125"/>
              <a:chExt cx="296659" cy="219887"/>
            </a:xfrm>
          </p:grpSpPr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5CCF49C9-6A6F-4E55-A7E4-16A525F63CA0}"/>
                  </a:ext>
                </a:extLst>
              </p:cNvPr>
              <p:cNvSpPr/>
              <p:nvPr/>
            </p:nvSpPr>
            <p:spPr>
              <a:xfrm>
                <a:off x="16872039" y="10332125"/>
                <a:ext cx="293396" cy="219887"/>
              </a:xfrm>
              <a:custGeom>
                <a:avLst/>
                <a:gdLst>
                  <a:gd name="connsiteX0" fmla="*/ 274935 w 293396"/>
                  <a:gd name="connsiteY0" fmla="*/ 76923 h 219887"/>
                  <a:gd name="connsiteX1" fmla="*/ 234934 w 293396"/>
                  <a:gd name="connsiteY1" fmla="*/ 0 h 219887"/>
                  <a:gd name="connsiteX2" fmla="*/ 47242 w 293396"/>
                  <a:gd name="connsiteY2" fmla="*/ 67692 h 219887"/>
                  <a:gd name="connsiteX3" fmla="*/ 7242 w 293396"/>
                  <a:gd name="connsiteY3" fmla="*/ 113846 h 219887"/>
                  <a:gd name="connsiteX4" fmla="*/ 25704 w 293396"/>
                  <a:gd name="connsiteY4" fmla="*/ 116923 h 219887"/>
                  <a:gd name="connsiteX5" fmla="*/ 62627 w 293396"/>
                  <a:gd name="connsiteY5" fmla="*/ 107692 h 219887"/>
                  <a:gd name="connsiteX6" fmla="*/ 25704 w 293396"/>
                  <a:gd name="connsiteY6" fmla="*/ 141539 h 219887"/>
                  <a:gd name="connsiteX7" fmla="*/ 1089 w 293396"/>
                  <a:gd name="connsiteY7" fmla="*/ 190769 h 219887"/>
                  <a:gd name="connsiteX8" fmla="*/ 28781 w 293396"/>
                  <a:gd name="connsiteY8" fmla="*/ 193846 h 219887"/>
                  <a:gd name="connsiteX9" fmla="*/ 34934 w 293396"/>
                  <a:gd name="connsiteY9" fmla="*/ 206153 h 219887"/>
                  <a:gd name="connsiteX10" fmla="*/ 96472 w 293396"/>
                  <a:gd name="connsiteY10" fmla="*/ 193846 h 219887"/>
                  <a:gd name="connsiteX11" fmla="*/ 136473 w 293396"/>
                  <a:gd name="connsiteY11" fmla="*/ 172308 h 219887"/>
                  <a:gd name="connsiteX12" fmla="*/ 111857 w 293396"/>
                  <a:gd name="connsiteY12" fmla="*/ 218462 h 219887"/>
                  <a:gd name="connsiteX13" fmla="*/ 154935 w 293396"/>
                  <a:gd name="connsiteY13" fmla="*/ 203077 h 219887"/>
                  <a:gd name="connsiteX14" fmla="*/ 210319 w 293396"/>
                  <a:gd name="connsiteY14" fmla="*/ 166154 h 219887"/>
                  <a:gd name="connsiteX15" fmla="*/ 293396 w 293396"/>
                  <a:gd name="connsiteY15" fmla="*/ 120000 h 219887"/>
                  <a:gd name="connsiteX16" fmla="*/ 274935 w 293396"/>
                  <a:gd name="connsiteY16" fmla="*/ 76923 h 219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3396" h="219887">
                    <a:moveTo>
                      <a:pt x="274935" y="76923"/>
                    </a:moveTo>
                    <a:cubicBezTo>
                      <a:pt x="271857" y="43077"/>
                      <a:pt x="234934" y="0"/>
                      <a:pt x="234934" y="0"/>
                    </a:cubicBezTo>
                    <a:cubicBezTo>
                      <a:pt x="167242" y="24615"/>
                      <a:pt x="108781" y="33846"/>
                      <a:pt x="47242" y="67692"/>
                    </a:cubicBezTo>
                    <a:cubicBezTo>
                      <a:pt x="38011" y="73846"/>
                      <a:pt x="-8143" y="95385"/>
                      <a:pt x="7242" y="113846"/>
                    </a:cubicBezTo>
                    <a:cubicBezTo>
                      <a:pt x="13396" y="120000"/>
                      <a:pt x="19549" y="116923"/>
                      <a:pt x="25704" y="116923"/>
                    </a:cubicBezTo>
                    <a:cubicBezTo>
                      <a:pt x="38011" y="113846"/>
                      <a:pt x="50319" y="110769"/>
                      <a:pt x="62627" y="107692"/>
                    </a:cubicBezTo>
                    <a:cubicBezTo>
                      <a:pt x="50319" y="116923"/>
                      <a:pt x="34934" y="129230"/>
                      <a:pt x="25704" y="141539"/>
                    </a:cubicBezTo>
                    <a:cubicBezTo>
                      <a:pt x="16473" y="150769"/>
                      <a:pt x="-5066" y="175384"/>
                      <a:pt x="1089" y="190769"/>
                    </a:cubicBezTo>
                    <a:cubicBezTo>
                      <a:pt x="4165" y="200000"/>
                      <a:pt x="16473" y="200000"/>
                      <a:pt x="28781" y="193846"/>
                    </a:cubicBezTo>
                    <a:cubicBezTo>
                      <a:pt x="25704" y="200000"/>
                      <a:pt x="28781" y="203077"/>
                      <a:pt x="34934" y="206153"/>
                    </a:cubicBezTo>
                    <a:cubicBezTo>
                      <a:pt x="50319" y="215385"/>
                      <a:pt x="81088" y="200000"/>
                      <a:pt x="96472" y="193846"/>
                    </a:cubicBezTo>
                    <a:cubicBezTo>
                      <a:pt x="108781" y="187693"/>
                      <a:pt x="124165" y="178461"/>
                      <a:pt x="136473" y="172308"/>
                    </a:cubicBezTo>
                    <a:cubicBezTo>
                      <a:pt x="114934" y="190769"/>
                      <a:pt x="96472" y="212308"/>
                      <a:pt x="111857" y="218462"/>
                    </a:cubicBezTo>
                    <a:cubicBezTo>
                      <a:pt x="124165" y="224615"/>
                      <a:pt x="145703" y="209230"/>
                      <a:pt x="154935" y="203077"/>
                    </a:cubicBezTo>
                    <a:cubicBezTo>
                      <a:pt x="176473" y="187693"/>
                      <a:pt x="185704" y="178461"/>
                      <a:pt x="210319" y="166154"/>
                    </a:cubicBezTo>
                    <a:cubicBezTo>
                      <a:pt x="231858" y="153846"/>
                      <a:pt x="271857" y="147692"/>
                      <a:pt x="293396" y="120000"/>
                    </a:cubicBezTo>
                    <a:cubicBezTo>
                      <a:pt x="293396" y="104615"/>
                      <a:pt x="274935" y="98461"/>
                      <a:pt x="274935" y="76923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4A518AE7-B7FB-4E4A-B749-372FEEABD653}"/>
                  </a:ext>
                </a:extLst>
              </p:cNvPr>
              <p:cNvSpPr/>
              <p:nvPr/>
            </p:nvSpPr>
            <p:spPr>
              <a:xfrm>
                <a:off x="16889281" y="10442895"/>
                <a:ext cx="119230" cy="89230"/>
              </a:xfrm>
              <a:custGeom>
                <a:avLst/>
                <a:gdLst>
                  <a:gd name="connsiteX0" fmla="*/ 5384 w 119230"/>
                  <a:gd name="connsiteY0" fmla="*/ 89231 h 89230"/>
                  <a:gd name="connsiteX1" fmla="*/ 2307 w 119230"/>
                  <a:gd name="connsiteY1" fmla="*/ 86153 h 89230"/>
                  <a:gd name="connsiteX2" fmla="*/ 2307 w 119230"/>
                  <a:gd name="connsiteY2" fmla="*/ 76923 h 89230"/>
                  <a:gd name="connsiteX3" fmla="*/ 113077 w 119230"/>
                  <a:gd name="connsiteY3" fmla="*/ 0 h 89230"/>
                  <a:gd name="connsiteX4" fmla="*/ 119231 w 119230"/>
                  <a:gd name="connsiteY4" fmla="*/ 3076 h 89230"/>
                  <a:gd name="connsiteX5" fmla="*/ 116154 w 119230"/>
                  <a:gd name="connsiteY5" fmla="*/ 9230 h 89230"/>
                  <a:gd name="connsiteX6" fmla="*/ 11538 w 119230"/>
                  <a:gd name="connsiteY6" fmla="*/ 86153 h 89230"/>
                  <a:gd name="connsiteX7" fmla="*/ 5384 w 119230"/>
                  <a:gd name="connsiteY7" fmla="*/ 89231 h 8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9230" h="89230">
                    <a:moveTo>
                      <a:pt x="5384" y="89231"/>
                    </a:moveTo>
                    <a:cubicBezTo>
                      <a:pt x="2307" y="89231"/>
                      <a:pt x="2307" y="89231"/>
                      <a:pt x="2307" y="86153"/>
                    </a:cubicBezTo>
                    <a:cubicBezTo>
                      <a:pt x="-769" y="83076"/>
                      <a:pt x="-769" y="79999"/>
                      <a:pt x="2307" y="76923"/>
                    </a:cubicBezTo>
                    <a:cubicBezTo>
                      <a:pt x="5384" y="73846"/>
                      <a:pt x="82307" y="6153"/>
                      <a:pt x="113077" y="0"/>
                    </a:cubicBezTo>
                    <a:cubicBezTo>
                      <a:pt x="116154" y="0"/>
                      <a:pt x="119231" y="0"/>
                      <a:pt x="119231" y="3076"/>
                    </a:cubicBezTo>
                    <a:cubicBezTo>
                      <a:pt x="119231" y="6153"/>
                      <a:pt x="119231" y="9230"/>
                      <a:pt x="116154" y="9230"/>
                    </a:cubicBezTo>
                    <a:cubicBezTo>
                      <a:pt x="94615" y="15385"/>
                      <a:pt x="33076" y="64615"/>
                      <a:pt x="11538" y="86153"/>
                    </a:cubicBezTo>
                    <a:cubicBezTo>
                      <a:pt x="8461" y="89231"/>
                      <a:pt x="8461" y="89231"/>
                      <a:pt x="5384" y="8923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EBB2B8B6-28C0-45E1-9660-956B7A30F2AB}"/>
                  </a:ext>
                </a:extLst>
              </p:cNvPr>
              <p:cNvSpPr/>
              <p:nvPr/>
            </p:nvSpPr>
            <p:spPr>
              <a:xfrm>
                <a:off x="16991853" y="10475466"/>
                <a:ext cx="54856" cy="35120"/>
              </a:xfrm>
              <a:custGeom>
                <a:avLst/>
                <a:gdLst>
                  <a:gd name="connsiteX0" fmla="*/ 7428 w 54856"/>
                  <a:gd name="connsiteY0" fmla="*/ 35121 h 35120"/>
                  <a:gd name="connsiteX1" fmla="*/ 1275 w 54856"/>
                  <a:gd name="connsiteY1" fmla="*/ 32043 h 35120"/>
                  <a:gd name="connsiteX2" fmla="*/ 4352 w 54856"/>
                  <a:gd name="connsiteY2" fmla="*/ 22813 h 35120"/>
                  <a:gd name="connsiteX3" fmla="*/ 44351 w 54856"/>
                  <a:gd name="connsiteY3" fmla="*/ 1274 h 35120"/>
                  <a:gd name="connsiteX4" fmla="*/ 53582 w 54856"/>
                  <a:gd name="connsiteY4" fmla="*/ 4351 h 35120"/>
                  <a:gd name="connsiteX5" fmla="*/ 50506 w 54856"/>
                  <a:gd name="connsiteY5" fmla="*/ 13583 h 35120"/>
                  <a:gd name="connsiteX6" fmla="*/ 7428 w 54856"/>
                  <a:gd name="connsiteY6" fmla="*/ 35121 h 35120"/>
                  <a:gd name="connsiteX7" fmla="*/ 7428 w 54856"/>
                  <a:gd name="connsiteY7" fmla="*/ 35121 h 35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856" h="35120">
                    <a:moveTo>
                      <a:pt x="7428" y="35121"/>
                    </a:moveTo>
                    <a:cubicBezTo>
                      <a:pt x="4352" y="35121"/>
                      <a:pt x="4352" y="35121"/>
                      <a:pt x="1275" y="32043"/>
                    </a:cubicBezTo>
                    <a:cubicBezTo>
                      <a:pt x="-1803" y="28967"/>
                      <a:pt x="1275" y="25890"/>
                      <a:pt x="4352" y="22813"/>
                    </a:cubicBezTo>
                    <a:lnTo>
                      <a:pt x="44351" y="1274"/>
                    </a:lnTo>
                    <a:cubicBezTo>
                      <a:pt x="47428" y="-1802"/>
                      <a:pt x="50506" y="1274"/>
                      <a:pt x="53582" y="4351"/>
                    </a:cubicBezTo>
                    <a:cubicBezTo>
                      <a:pt x="56659" y="7428"/>
                      <a:pt x="53582" y="10506"/>
                      <a:pt x="50506" y="13583"/>
                    </a:cubicBezTo>
                    <a:lnTo>
                      <a:pt x="7428" y="35121"/>
                    </a:lnTo>
                    <a:cubicBezTo>
                      <a:pt x="10505" y="35121"/>
                      <a:pt x="10505" y="35121"/>
                      <a:pt x="7428" y="3512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F611F3F2-513A-4691-90BF-768C54F6E836}"/>
                  </a:ext>
                </a:extLst>
              </p:cNvPr>
              <p:cNvSpPr/>
              <p:nvPr/>
            </p:nvSpPr>
            <p:spPr>
              <a:xfrm>
                <a:off x="17033127" y="10387510"/>
                <a:ext cx="48461" cy="83077"/>
              </a:xfrm>
              <a:custGeom>
                <a:avLst/>
                <a:gdLst>
                  <a:gd name="connsiteX0" fmla="*/ 40001 w 48461"/>
                  <a:gd name="connsiteY0" fmla="*/ 83077 h 83077"/>
                  <a:gd name="connsiteX1" fmla="*/ 36923 w 48461"/>
                  <a:gd name="connsiteY1" fmla="*/ 83077 h 83077"/>
                  <a:gd name="connsiteX2" fmla="*/ 0 w 48461"/>
                  <a:gd name="connsiteY2" fmla="*/ 6154 h 83077"/>
                  <a:gd name="connsiteX3" fmla="*/ 6154 w 48461"/>
                  <a:gd name="connsiteY3" fmla="*/ 0 h 83077"/>
                  <a:gd name="connsiteX4" fmla="*/ 6154 w 48461"/>
                  <a:gd name="connsiteY4" fmla="*/ 0 h 83077"/>
                  <a:gd name="connsiteX5" fmla="*/ 12308 w 48461"/>
                  <a:gd name="connsiteY5" fmla="*/ 6154 h 83077"/>
                  <a:gd name="connsiteX6" fmla="*/ 46154 w 48461"/>
                  <a:gd name="connsiteY6" fmla="*/ 73846 h 83077"/>
                  <a:gd name="connsiteX7" fmla="*/ 46154 w 48461"/>
                  <a:gd name="connsiteY7" fmla="*/ 83077 h 83077"/>
                  <a:gd name="connsiteX8" fmla="*/ 40001 w 48461"/>
                  <a:gd name="connsiteY8" fmla="*/ 83077 h 8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461" h="83077">
                    <a:moveTo>
                      <a:pt x="40001" y="83077"/>
                    </a:moveTo>
                    <a:cubicBezTo>
                      <a:pt x="40001" y="83077"/>
                      <a:pt x="36923" y="83077"/>
                      <a:pt x="36923" y="83077"/>
                    </a:cubicBezTo>
                    <a:cubicBezTo>
                      <a:pt x="0" y="52308"/>
                      <a:pt x="0" y="6154"/>
                      <a:pt x="0" y="6154"/>
                    </a:cubicBezTo>
                    <a:cubicBezTo>
                      <a:pt x="0" y="3077"/>
                      <a:pt x="3077" y="0"/>
                      <a:pt x="6154" y="0"/>
                    </a:cubicBezTo>
                    <a:lnTo>
                      <a:pt x="6154" y="0"/>
                    </a:lnTo>
                    <a:cubicBezTo>
                      <a:pt x="9231" y="0"/>
                      <a:pt x="12308" y="3077"/>
                      <a:pt x="12308" y="6154"/>
                    </a:cubicBezTo>
                    <a:cubicBezTo>
                      <a:pt x="12308" y="6154"/>
                      <a:pt x="15385" y="46154"/>
                      <a:pt x="46154" y="73846"/>
                    </a:cubicBezTo>
                    <a:cubicBezTo>
                      <a:pt x="49231" y="76923"/>
                      <a:pt x="49231" y="80000"/>
                      <a:pt x="46154" y="83077"/>
                    </a:cubicBezTo>
                    <a:cubicBezTo>
                      <a:pt x="43077" y="83077"/>
                      <a:pt x="40001" y="83077"/>
                      <a:pt x="40001" y="8307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ACE50DCB-A5E5-442D-B958-6D84F039CCC8}"/>
                  </a:ext>
                </a:extLst>
              </p:cNvPr>
              <p:cNvSpPr/>
              <p:nvPr/>
            </p:nvSpPr>
            <p:spPr>
              <a:xfrm>
                <a:off x="16868776" y="10344433"/>
                <a:ext cx="192043" cy="113846"/>
              </a:xfrm>
              <a:custGeom>
                <a:avLst/>
                <a:gdLst>
                  <a:gd name="connsiteX0" fmla="*/ 22812 w 192043"/>
                  <a:gd name="connsiteY0" fmla="*/ 113847 h 113846"/>
                  <a:gd name="connsiteX1" fmla="*/ 4352 w 192043"/>
                  <a:gd name="connsiteY1" fmla="*/ 107692 h 113846"/>
                  <a:gd name="connsiteX2" fmla="*/ 1275 w 192043"/>
                  <a:gd name="connsiteY2" fmla="*/ 95385 h 113846"/>
                  <a:gd name="connsiteX3" fmla="*/ 185890 w 192043"/>
                  <a:gd name="connsiteY3" fmla="*/ 0 h 113846"/>
                  <a:gd name="connsiteX4" fmla="*/ 192043 w 192043"/>
                  <a:gd name="connsiteY4" fmla="*/ 3077 h 113846"/>
                  <a:gd name="connsiteX5" fmla="*/ 188967 w 192043"/>
                  <a:gd name="connsiteY5" fmla="*/ 9230 h 113846"/>
                  <a:gd name="connsiteX6" fmla="*/ 13582 w 192043"/>
                  <a:gd name="connsiteY6" fmla="*/ 95385 h 113846"/>
                  <a:gd name="connsiteX7" fmla="*/ 59736 w 192043"/>
                  <a:gd name="connsiteY7" fmla="*/ 89231 h 113846"/>
                  <a:gd name="connsiteX8" fmla="*/ 124352 w 192043"/>
                  <a:gd name="connsiteY8" fmla="*/ 55384 h 113846"/>
                  <a:gd name="connsiteX9" fmla="*/ 130505 w 192043"/>
                  <a:gd name="connsiteY9" fmla="*/ 58461 h 113846"/>
                  <a:gd name="connsiteX10" fmla="*/ 127429 w 192043"/>
                  <a:gd name="connsiteY10" fmla="*/ 64616 h 113846"/>
                  <a:gd name="connsiteX11" fmla="*/ 65890 w 192043"/>
                  <a:gd name="connsiteY11" fmla="*/ 95385 h 113846"/>
                  <a:gd name="connsiteX12" fmla="*/ 62813 w 192043"/>
                  <a:gd name="connsiteY12" fmla="*/ 98462 h 113846"/>
                  <a:gd name="connsiteX13" fmla="*/ 22812 w 192043"/>
                  <a:gd name="connsiteY13" fmla="*/ 113847 h 11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92043" h="113846">
                    <a:moveTo>
                      <a:pt x="22812" y="113847"/>
                    </a:moveTo>
                    <a:cubicBezTo>
                      <a:pt x="16659" y="113847"/>
                      <a:pt x="10505" y="113847"/>
                      <a:pt x="4352" y="107692"/>
                    </a:cubicBezTo>
                    <a:cubicBezTo>
                      <a:pt x="1275" y="104615"/>
                      <a:pt x="-1803" y="101538"/>
                      <a:pt x="1275" y="95385"/>
                    </a:cubicBezTo>
                    <a:cubicBezTo>
                      <a:pt x="7428" y="70769"/>
                      <a:pt x="72043" y="30769"/>
                      <a:pt x="185890" y="0"/>
                    </a:cubicBezTo>
                    <a:cubicBezTo>
                      <a:pt x="188967" y="0"/>
                      <a:pt x="192043" y="0"/>
                      <a:pt x="192043" y="3077"/>
                    </a:cubicBezTo>
                    <a:cubicBezTo>
                      <a:pt x="192043" y="6154"/>
                      <a:pt x="192043" y="9230"/>
                      <a:pt x="188967" y="9230"/>
                    </a:cubicBezTo>
                    <a:cubicBezTo>
                      <a:pt x="62813" y="43077"/>
                      <a:pt x="10505" y="86153"/>
                      <a:pt x="13582" y="95385"/>
                    </a:cubicBezTo>
                    <a:cubicBezTo>
                      <a:pt x="22812" y="104615"/>
                      <a:pt x="50506" y="92308"/>
                      <a:pt x="59736" y="89231"/>
                    </a:cubicBezTo>
                    <a:cubicBezTo>
                      <a:pt x="72043" y="76923"/>
                      <a:pt x="121274" y="55384"/>
                      <a:pt x="124352" y="55384"/>
                    </a:cubicBezTo>
                    <a:cubicBezTo>
                      <a:pt x="127429" y="55384"/>
                      <a:pt x="130505" y="55384"/>
                      <a:pt x="130505" y="58461"/>
                    </a:cubicBezTo>
                    <a:cubicBezTo>
                      <a:pt x="130505" y="61538"/>
                      <a:pt x="130505" y="64616"/>
                      <a:pt x="127429" y="64616"/>
                    </a:cubicBezTo>
                    <a:cubicBezTo>
                      <a:pt x="105890" y="73846"/>
                      <a:pt x="72043" y="92308"/>
                      <a:pt x="65890" y="95385"/>
                    </a:cubicBezTo>
                    <a:cubicBezTo>
                      <a:pt x="65890" y="95385"/>
                      <a:pt x="65890" y="98462"/>
                      <a:pt x="62813" y="98462"/>
                    </a:cubicBezTo>
                    <a:cubicBezTo>
                      <a:pt x="59736" y="104615"/>
                      <a:pt x="41274" y="113847"/>
                      <a:pt x="22812" y="11384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471D1A33-B8ED-4FBD-B752-61611FE1A7AF}"/>
                </a:ext>
              </a:extLst>
            </p:cNvPr>
            <p:cNvSpPr/>
            <p:nvPr/>
          </p:nvSpPr>
          <p:spPr>
            <a:xfrm>
              <a:off x="17353780" y="9384382"/>
              <a:ext cx="383962" cy="439448"/>
            </a:xfrm>
            <a:custGeom>
              <a:avLst/>
              <a:gdLst>
                <a:gd name="connsiteX0" fmla="*/ 383962 w 383962"/>
                <a:gd name="connsiteY0" fmla="*/ 313897 h 439448"/>
                <a:gd name="connsiteX1" fmla="*/ 125501 w 383962"/>
                <a:gd name="connsiteY1" fmla="*/ 51 h 439448"/>
                <a:gd name="connsiteX2" fmla="*/ 27040 w 383962"/>
                <a:gd name="connsiteY2" fmla="*/ 436974 h 439448"/>
                <a:gd name="connsiteX3" fmla="*/ 383962 w 383962"/>
                <a:gd name="connsiteY3" fmla="*/ 313897 h 43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962" h="439448">
                  <a:moveTo>
                    <a:pt x="383962" y="313897"/>
                  </a:moveTo>
                  <a:cubicBezTo>
                    <a:pt x="343963" y="132359"/>
                    <a:pt x="205501" y="-3026"/>
                    <a:pt x="125501" y="51"/>
                  </a:cubicBezTo>
                  <a:cubicBezTo>
                    <a:pt x="20886" y="51"/>
                    <a:pt x="-37576" y="236974"/>
                    <a:pt x="27040" y="436974"/>
                  </a:cubicBezTo>
                  <a:cubicBezTo>
                    <a:pt x="97809" y="455436"/>
                    <a:pt x="294732" y="366205"/>
                    <a:pt x="383962" y="313897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E05CA0E9-ABB2-40F9-8C12-321EC5688955}"/>
                </a:ext>
              </a:extLst>
            </p:cNvPr>
            <p:cNvSpPr/>
            <p:nvPr/>
          </p:nvSpPr>
          <p:spPr>
            <a:xfrm>
              <a:off x="17352216" y="9384433"/>
              <a:ext cx="176295" cy="443076"/>
            </a:xfrm>
            <a:custGeom>
              <a:avLst/>
              <a:gdLst>
                <a:gd name="connsiteX0" fmla="*/ 43988 w 176295"/>
                <a:gd name="connsiteY0" fmla="*/ 443077 h 443076"/>
                <a:gd name="connsiteX1" fmla="*/ 22449 w 176295"/>
                <a:gd name="connsiteY1" fmla="*/ 436923 h 443076"/>
                <a:gd name="connsiteX2" fmla="*/ 22449 w 176295"/>
                <a:gd name="connsiteY2" fmla="*/ 436923 h 443076"/>
                <a:gd name="connsiteX3" fmla="*/ 22449 w 176295"/>
                <a:gd name="connsiteY3" fmla="*/ 436923 h 443076"/>
                <a:gd name="connsiteX4" fmla="*/ 40911 w 176295"/>
                <a:gd name="connsiteY4" fmla="*/ 49230 h 443076"/>
                <a:gd name="connsiteX5" fmla="*/ 93218 w 176295"/>
                <a:gd name="connsiteY5" fmla="*/ 0 h 443076"/>
                <a:gd name="connsiteX6" fmla="*/ 99372 w 176295"/>
                <a:gd name="connsiteY6" fmla="*/ 3077 h 443076"/>
                <a:gd name="connsiteX7" fmla="*/ 96295 w 176295"/>
                <a:gd name="connsiteY7" fmla="*/ 9231 h 443076"/>
                <a:gd name="connsiteX8" fmla="*/ 50141 w 176295"/>
                <a:gd name="connsiteY8" fmla="*/ 52308 h 443076"/>
                <a:gd name="connsiteX9" fmla="*/ 31680 w 176295"/>
                <a:gd name="connsiteY9" fmla="*/ 430769 h 443076"/>
                <a:gd name="connsiteX10" fmla="*/ 170141 w 176295"/>
                <a:gd name="connsiteY10" fmla="*/ 400000 h 443076"/>
                <a:gd name="connsiteX11" fmla="*/ 176295 w 176295"/>
                <a:gd name="connsiteY11" fmla="*/ 403077 h 443076"/>
                <a:gd name="connsiteX12" fmla="*/ 173218 w 176295"/>
                <a:gd name="connsiteY12" fmla="*/ 409231 h 443076"/>
                <a:gd name="connsiteX13" fmla="*/ 43988 w 176295"/>
                <a:gd name="connsiteY13" fmla="*/ 443077 h 44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6295" h="443076">
                  <a:moveTo>
                    <a:pt x="43988" y="443077"/>
                  </a:moveTo>
                  <a:cubicBezTo>
                    <a:pt x="28603" y="443077"/>
                    <a:pt x="22449" y="440000"/>
                    <a:pt x="22449" y="436923"/>
                  </a:cubicBezTo>
                  <a:lnTo>
                    <a:pt x="22449" y="436923"/>
                  </a:lnTo>
                  <a:lnTo>
                    <a:pt x="22449" y="436923"/>
                  </a:lnTo>
                  <a:cubicBezTo>
                    <a:pt x="-11397" y="338462"/>
                    <a:pt x="-8320" y="141538"/>
                    <a:pt x="40911" y="49230"/>
                  </a:cubicBezTo>
                  <a:cubicBezTo>
                    <a:pt x="56296" y="21538"/>
                    <a:pt x="74757" y="6154"/>
                    <a:pt x="93218" y="0"/>
                  </a:cubicBezTo>
                  <a:cubicBezTo>
                    <a:pt x="96295" y="0"/>
                    <a:pt x="99372" y="0"/>
                    <a:pt x="99372" y="3077"/>
                  </a:cubicBezTo>
                  <a:cubicBezTo>
                    <a:pt x="99372" y="6154"/>
                    <a:pt x="99372" y="9231"/>
                    <a:pt x="96295" y="9231"/>
                  </a:cubicBezTo>
                  <a:cubicBezTo>
                    <a:pt x="77833" y="12308"/>
                    <a:pt x="62449" y="27692"/>
                    <a:pt x="50141" y="52308"/>
                  </a:cubicBezTo>
                  <a:cubicBezTo>
                    <a:pt x="910" y="141538"/>
                    <a:pt x="910" y="332308"/>
                    <a:pt x="31680" y="430769"/>
                  </a:cubicBezTo>
                  <a:cubicBezTo>
                    <a:pt x="37834" y="433846"/>
                    <a:pt x="68603" y="440000"/>
                    <a:pt x="170141" y="400000"/>
                  </a:cubicBezTo>
                  <a:cubicBezTo>
                    <a:pt x="173218" y="400000"/>
                    <a:pt x="176295" y="400000"/>
                    <a:pt x="176295" y="403077"/>
                  </a:cubicBezTo>
                  <a:cubicBezTo>
                    <a:pt x="176295" y="406154"/>
                    <a:pt x="176295" y="409231"/>
                    <a:pt x="173218" y="409231"/>
                  </a:cubicBezTo>
                  <a:cubicBezTo>
                    <a:pt x="102449" y="436923"/>
                    <a:pt x="65526" y="443077"/>
                    <a:pt x="43988" y="443077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E21ED049-4A24-4E29-87F2-B3F56E561D12}"/>
                </a:ext>
              </a:extLst>
            </p:cNvPr>
            <p:cNvSpPr/>
            <p:nvPr/>
          </p:nvSpPr>
          <p:spPr>
            <a:xfrm>
              <a:off x="16697317" y="9418279"/>
              <a:ext cx="138886" cy="596923"/>
            </a:xfrm>
            <a:custGeom>
              <a:avLst/>
              <a:gdLst>
                <a:gd name="connsiteX0" fmla="*/ 40425 w 138886"/>
                <a:gd name="connsiteY0" fmla="*/ 596923 h 596923"/>
                <a:gd name="connsiteX1" fmla="*/ 34272 w 138886"/>
                <a:gd name="connsiteY1" fmla="*/ 593846 h 596923"/>
                <a:gd name="connsiteX2" fmla="*/ 425 w 138886"/>
                <a:gd name="connsiteY2" fmla="*/ 353846 h 596923"/>
                <a:gd name="connsiteX3" fmla="*/ 126579 w 138886"/>
                <a:gd name="connsiteY3" fmla="*/ 3077 h 596923"/>
                <a:gd name="connsiteX4" fmla="*/ 135810 w 138886"/>
                <a:gd name="connsiteY4" fmla="*/ 0 h 596923"/>
                <a:gd name="connsiteX5" fmla="*/ 138887 w 138886"/>
                <a:gd name="connsiteY5" fmla="*/ 9231 h 596923"/>
                <a:gd name="connsiteX6" fmla="*/ 15810 w 138886"/>
                <a:gd name="connsiteY6" fmla="*/ 350770 h 596923"/>
                <a:gd name="connsiteX7" fmla="*/ 49656 w 138886"/>
                <a:gd name="connsiteY7" fmla="*/ 587693 h 596923"/>
                <a:gd name="connsiteX8" fmla="*/ 40425 w 138886"/>
                <a:gd name="connsiteY8" fmla="*/ 596923 h 596923"/>
                <a:gd name="connsiteX9" fmla="*/ 40425 w 138886"/>
                <a:gd name="connsiteY9" fmla="*/ 596923 h 59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886" h="596923">
                  <a:moveTo>
                    <a:pt x="40425" y="596923"/>
                  </a:moveTo>
                  <a:cubicBezTo>
                    <a:pt x="37349" y="596923"/>
                    <a:pt x="34272" y="593846"/>
                    <a:pt x="34272" y="593846"/>
                  </a:cubicBezTo>
                  <a:cubicBezTo>
                    <a:pt x="18887" y="529231"/>
                    <a:pt x="3502" y="421539"/>
                    <a:pt x="425" y="353846"/>
                  </a:cubicBezTo>
                  <a:cubicBezTo>
                    <a:pt x="-5729" y="227693"/>
                    <a:pt x="55810" y="116923"/>
                    <a:pt x="126579" y="3077"/>
                  </a:cubicBezTo>
                  <a:cubicBezTo>
                    <a:pt x="129656" y="0"/>
                    <a:pt x="132733" y="0"/>
                    <a:pt x="135810" y="0"/>
                  </a:cubicBezTo>
                  <a:cubicBezTo>
                    <a:pt x="138887" y="3077"/>
                    <a:pt x="138887" y="6154"/>
                    <a:pt x="138887" y="9231"/>
                  </a:cubicBezTo>
                  <a:cubicBezTo>
                    <a:pt x="68118" y="120000"/>
                    <a:pt x="6580" y="227693"/>
                    <a:pt x="15810" y="350770"/>
                  </a:cubicBezTo>
                  <a:cubicBezTo>
                    <a:pt x="18887" y="415385"/>
                    <a:pt x="34272" y="526154"/>
                    <a:pt x="49656" y="587693"/>
                  </a:cubicBezTo>
                  <a:cubicBezTo>
                    <a:pt x="46579" y="593846"/>
                    <a:pt x="43502" y="596923"/>
                    <a:pt x="40425" y="596923"/>
                  </a:cubicBezTo>
                  <a:cubicBezTo>
                    <a:pt x="40425" y="596923"/>
                    <a:pt x="40425" y="596923"/>
                    <a:pt x="40425" y="596923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7B7B8C85-17DE-4318-B11B-A2CCCCAC78E2}"/>
                </a:ext>
              </a:extLst>
            </p:cNvPr>
            <p:cNvSpPr/>
            <p:nvPr/>
          </p:nvSpPr>
          <p:spPr>
            <a:xfrm>
              <a:off x="14251589" y="12972125"/>
              <a:ext cx="1175384" cy="172307"/>
            </a:xfrm>
            <a:custGeom>
              <a:avLst/>
              <a:gdLst>
                <a:gd name="connsiteX0" fmla="*/ 0 w 1175384"/>
                <a:gd name="connsiteY0" fmla="*/ 0 h 172307"/>
                <a:gd name="connsiteX1" fmla="*/ 1175385 w 1175384"/>
                <a:gd name="connsiteY1" fmla="*/ 0 h 172307"/>
                <a:gd name="connsiteX2" fmla="*/ 1175385 w 1175384"/>
                <a:gd name="connsiteY2" fmla="*/ 172308 h 172307"/>
                <a:gd name="connsiteX3" fmla="*/ 0 w 1175384"/>
                <a:gd name="connsiteY3" fmla="*/ 172308 h 17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5384" h="172307">
                  <a:moveTo>
                    <a:pt x="0" y="0"/>
                  </a:moveTo>
                  <a:lnTo>
                    <a:pt x="1175385" y="0"/>
                  </a:lnTo>
                  <a:lnTo>
                    <a:pt x="1175385" y="172308"/>
                  </a:lnTo>
                  <a:lnTo>
                    <a:pt x="0" y="172308"/>
                  </a:ln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FAA87602-91FA-46E4-8AF6-AFB658A66D74}"/>
                </a:ext>
              </a:extLst>
            </p:cNvPr>
            <p:cNvSpPr/>
            <p:nvPr/>
          </p:nvSpPr>
          <p:spPr>
            <a:xfrm>
              <a:off x="14654666" y="12809048"/>
              <a:ext cx="372307" cy="172307"/>
            </a:xfrm>
            <a:custGeom>
              <a:avLst/>
              <a:gdLst>
                <a:gd name="connsiteX0" fmla="*/ 0 w 372307"/>
                <a:gd name="connsiteY0" fmla="*/ 0 h 172307"/>
                <a:gd name="connsiteX1" fmla="*/ 372308 w 372307"/>
                <a:gd name="connsiteY1" fmla="*/ 0 h 172307"/>
                <a:gd name="connsiteX2" fmla="*/ 372308 w 372307"/>
                <a:gd name="connsiteY2" fmla="*/ 172308 h 172307"/>
                <a:gd name="connsiteX3" fmla="*/ 0 w 372307"/>
                <a:gd name="connsiteY3" fmla="*/ 172308 h 17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2307" h="172307">
                  <a:moveTo>
                    <a:pt x="0" y="0"/>
                  </a:moveTo>
                  <a:lnTo>
                    <a:pt x="372308" y="0"/>
                  </a:lnTo>
                  <a:lnTo>
                    <a:pt x="372308" y="172308"/>
                  </a:lnTo>
                  <a:lnTo>
                    <a:pt x="0" y="172308"/>
                  </a:ln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17878CB9-0E30-4A6A-B117-EB9B8CABEEC1}"/>
                </a:ext>
              </a:extLst>
            </p:cNvPr>
            <p:cNvSpPr/>
            <p:nvPr/>
          </p:nvSpPr>
          <p:spPr>
            <a:xfrm>
              <a:off x="16960474" y="8678440"/>
              <a:ext cx="426499" cy="574007"/>
            </a:xfrm>
            <a:custGeom>
              <a:avLst/>
              <a:gdLst>
                <a:gd name="connsiteX0" fmla="*/ 8037 w 426499"/>
                <a:gd name="connsiteY0" fmla="*/ 182916 h 574007"/>
                <a:gd name="connsiteX1" fmla="*/ 20346 w 426499"/>
                <a:gd name="connsiteY1" fmla="*/ 441377 h 574007"/>
                <a:gd name="connsiteX2" fmla="*/ 171115 w 426499"/>
                <a:gd name="connsiteY2" fmla="*/ 573685 h 574007"/>
                <a:gd name="connsiteX3" fmla="*/ 389577 w 426499"/>
                <a:gd name="connsiteY3" fmla="*/ 429070 h 574007"/>
                <a:gd name="connsiteX4" fmla="*/ 426499 w 426499"/>
                <a:gd name="connsiteY4" fmla="*/ 201377 h 574007"/>
                <a:gd name="connsiteX5" fmla="*/ 211114 w 426499"/>
                <a:gd name="connsiteY5" fmla="*/ 1377 h 574007"/>
                <a:gd name="connsiteX6" fmla="*/ 8037 w 426499"/>
                <a:gd name="connsiteY6" fmla="*/ 182916 h 574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499" h="574007">
                  <a:moveTo>
                    <a:pt x="8037" y="182916"/>
                  </a:moveTo>
                  <a:cubicBezTo>
                    <a:pt x="8037" y="182916"/>
                    <a:pt x="-16578" y="373685"/>
                    <a:pt x="20346" y="441377"/>
                  </a:cubicBezTo>
                  <a:cubicBezTo>
                    <a:pt x="57268" y="509069"/>
                    <a:pt x="118807" y="567531"/>
                    <a:pt x="171115" y="573685"/>
                  </a:cubicBezTo>
                  <a:cubicBezTo>
                    <a:pt x="238807" y="579839"/>
                    <a:pt x="352653" y="496762"/>
                    <a:pt x="389577" y="429070"/>
                  </a:cubicBezTo>
                  <a:cubicBezTo>
                    <a:pt x="426499" y="361377"/>
                    <a:pt x="426499" y="253685"/>
                    <a:pt x="426499" y="201377"/>
                  </a:cubicBezTo>
                  <a:cubicBezTo>
                    <a:pt x="423422" y="105993"/>
                    <a:pt x="398807" y="25992"/>
                    <a:pt x="211114" y="1377"/>
                  </a:cubicBezTo>
                  <a:cubicBezTo>
                    <a:pt x="121884" y="-14008"/>
                    <a:pt x="26499" y="102916"/>
                    <a:pt x="8037" y="182916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8F229C7B-EE27-441F-8ED9-C7CF3B2562AE}"/>
                </a:ext>
              </a:extLst>
            </p:cNvPr>
            <p:cNvSpPr/>
            <p:nvPr/>
          </p:nvSpPr>
          <p:spPr>
            <a:xfrm>
              <a:off x="17097743" y="8946235"/>
              <a:ext cx="55384" cy="133581"/>
            </a:xfrm>
            <a:custGeom>
              <a:avLst/>
              <a:gdLst>
                <a:gd name="connsiteX0" fmla="*/ 30769 w 55384"/>
                <a:gd name="connsiteY0" fmla="*/ 133582 h 133581"/>
                <a:gd name="connsiteX1" fmla="*/ 6154 w 55384"/>
                <a:gd name="connsiteY1" fmla="*/ 127428 h 133581"/>
                <a:gd name="connsiteX2" fmla="*/ 0 w 55384"/>
                <a:gd name="connsiteY2" fmla="*/ 115121 h 133581"/>
                <a:gd name="connsiteX3" fmla="*/ 27692 w 55384"/>
                <a:gd name="connsiteY3" fmla="*/ 4351 h 133581"/>
                <a:gd name="connsiteX4" fmla="*/ 33846 w 55384"/>
                <a:gd name="connsiteY4" fmla="*/ 1275 h 133581"/>
                <a:gd name="connsiteX5" fmla="*/ 36923 w 55384"/>
                <a:gd name="connsiteY5" fmla="*/ 7428 h 133581"/>
                <a:gd name="connsiteX6" fmla="*/ 9230 w 55384"/>
                <a:gd name="connsiteY6" fmla="*/ 115121 h 133581"/>
                <a:gd name="connsiteX7" fmla="*/ 9230 w 55384"/>
                <a:gd name="connsiteY7" fmla="*/ 118197 h 133581"/>
                <a:gd name="connsiteX8" fmla="*/ 49231 w 55384"/>
                <a:gd name="connsiteY8" fmla="*/ 121274 h 133581"/>
                <a:gd name="connsiteX9" fmla="*/ 55384 w 55384"/>
                <a:gd name="connsiteY9" fmla="*/ 127428 h 133581"/>
                <a:gd name="connsiteX10" fmla="*/ 49231 w 55384"/>
                <a:gd name="connsiteY10" fmla="*/ 133582 h 133581"/>
                <a:gd name="connsiteX11" fmla="*/ 30769 w 55384"/>
                <a:gd name="connsiteY11" fmla="*/ 133582 h 133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384" h="133581">
                  <a:moveTo>
                    <a:pt x="30769" y="133582"/>
                  </a:moveTo>
                  <a:cubicBezTo>
                    <a:pt x="21539" y="133582"/>
                    <a:pt x="12308" y="133582"/>
                    <a:pt x="6154" y="127428"/>
                  </a:cubicBezTo>
                  <a:cubicBezTo>
                    <a:pt x="3077" y="124352"/>
                    <a:pt x="0" y="121274"/>
                    <a:pt x="0" y="115121"/>
                  </a:cubicBezTo>
                  <a:cubicBezTo>
                    <a:pt x="0" y="93582"/>
                    <a:pt x="27692" y="7428"/>
                    <a:pt x="27692" y="4351"/>
                  </a:cubicBezTo>
                  <a:cubicBezTo>
                    <a:pt x="27692" y="1275"/>
                    <a:pt x="30769" y="-1803"/>
                    <a:pt x="33846" y="1275"/>
                  </a:cubicBezTo>
                  <a:cubicBezTo>
                    <a:pt x="36923" y="1275"/>
                    <a:pt x="40000" y="4351"/>
                    <a:pt x="36923" y="7428"/>
                  </a:cubicBezTo>
                  <a:cubicBezTo>
                    <a:pt x="30769" y="32044"/>
                    <a:pt x="9230" y="96659"/>
                    <a:pt x="9230" y="115121"/>
                  </a:cubicBezTo>
                  <a:cubicBezTo>
                    <a:pt x="9230" y="115121"/>
                    <a:pt x="9230" y="118197"/>
                    <a:pt x="9230" y="118197"/>
                  </a:cubicBezTo>
                  <a:cubicBezTo>
                    <a:pt x="15385" y="124352"/>
                    <a:pt x="36923" y="121274"/>
                    <a:pt x="49231" y="121274"/>
                  </a:cubicBezTo>
                  <a:cubicBezTo>
                    <a:pt x="52308" y="121274"/>
                    <a:pt x="55384" y="121274"/>
                    <a:pt x="55384" y="127428"/>
                  </a:cubicBezTo>
                  <a:cubicBezTo>
                    <a:pt x="55384" y="130505"/>
                    <a:pt x="55384" y="133582"/>
                    <a:pt x="49231" y="133582"/>
                  </a:cubicBezTo>
                  <a:cubicBezTo>
                    <a:pt x="52308" y="130505"/>
                    <a:pt x="40000" y="133582"/>
                    <a:pt x="30769" y="133582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20478938-5E3E-4CFA-80B4-A8648E70673E}"/>
                </a:ext>
              </a:extLst>
            </p:cNvPr>
            <p:cNvSpPr/>
            <p:nvPr/>
          </p:nvSpPr>
          <p:spPr>
            <a:xfrm>
              <a:off x="17073128" y="9122895"/>
              <a:ext cx="121274" cy="27692"/>
            </a:xfrm>
            <a:custGeom>
              <a:avLst/>
              <a:gdLst>
                <a:gd name="connsiteX0" fmla="*/ 61538 w 121274"/>
                <a:gd name="connsiteY0" fmla="*/ 27692 h 27692"/>
                <a:gd name="connsiteX1" fmla="*/ 3076 w 121274"/>
                <a:gd name="connsiteY1" fmla="*/ 12308 h 27692"/>
                <a:gd name="connsiteX2" fmla="*/ 0 w 121274"/>
                <a:gd name="connsiteY2" fmla="*/ 3077 h 27692"/>
                <a:gd name="connsiteX3" fmla="*/ 9230 w 121274"/>
                <a:gd name="connsiteY3" fmla="*/ 0 h 27692"/>
                <a:gd name="connsiteX4" fmla="*/ 110768 w 121274"/>
                <a:gd name="connsiteY4" fmla="*/ 0 h 27692"/>
                <a:gd name="connsiteX5" fmla="*/ 120000 w 121274"/>
                <a:gd name="connsiteY5" fmla="*/ 3077 h 27692"/>
                <a:gd name="connsiteX6" fmla="*/ 116923 w 121274"/>
                <a:gd name="connsiteY6" fmla="*/ 12308 h 27692"/>
                <a:gd name="connsiteX7" fmla="*/ 61538 w 121274"/>
                <a:gd name="connsiteY7" fmla="*/ 27692 h 2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274" h="27692">
                  <a:moveTo>
                    <a:pt x="61538" y="27692"/>
                  </a:moveTo>
                  <a:cubicBezTo>
                    <a:pt x="27692" y="27692"/>
                    <a:pt x="6153" y="15385"/>
                    <a:pt x="3076" y="12308"/>
                  </a:cubicBezTo>
                  <a:cubicBezTo>
                    <a:pt x="0" y="9231"/>
                    <a:pt x="0" y="6154"/>
                    <a:pt x="0" y="3077"/>
                  </a:cubicBezTo>
                  <a:cubicBezTo>
                    <a:pt x="3076" y="0"/>
                    <a:pt x="6153" y="0"/>
                    <a:pt x="9230" y="0"/>
                  </a:cubicBezTo>
                  <a:cubicBezTo>
                    <a:pt x="9230" y="0"/>
                    <a:pt x="61538" y="27692"/>
                    <a:pt x="110768" y="0"/>
                  </a:cubicBezTo>
                  <a:cubicBezTo>
                    <a:pt x="113846" y="0"/>
                    <a:pt x="116923" y="0"/>
                    <a:pt x="120000" y="3077"/>
                  </a:cubicBezTo>
                  <a:cubicBezTo>
                    <a:pt x="123077" y="6154"/>
                    <a:pt x="120000" y="9231"/>
                    <a:pt x="116923" y="12308"/>
                  </a:cubicBezTo>
                  <a:cubicBezTo>
                    <a:pt x="98461" y="24615"/>
                    <a:pt x="79999" y="27692"/>
                    <a:pt x="61538" y="27692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FFC11CAB-CB4E-4C97-B373-296C573905FA}"/>
                </a:ext>
              </a:extLst>
            </p:cNvPr>
            <p:cNvSpPr/>
            <p:nvPr/>
          </p:nvSpPr>
          <p:spPr>
            <a:xfrm>
              <a:off x="17026189" y="8919214"/>
              <a:ext cx="40783" cy="41207"/>
            </a:xfrm>
            <a:custGeom>
              <a:avLst/>
              <a:gdLst>
                <a:gd name="connsiteX0" fmla="*/ 40784 w 40783"/>
                <a:gd name="connsiteY0" fmla="*/ 25219 h 41207"/>
                <a:gd name="connsiteX1" fmla="*/ 16169 w 40783"/>
                <a:gd name="connsiteY1" fmla="*/ 40604 h 41207"/>
                <a:gd name="connsiteX2" fmla="*/ 784 w 40783"/>
                <a:gd name="connsiteY2" fmla="*/ 15988 h 41207"/>
                <a:gd name="connsiteX3" fmla="*/ 25399 w 40783"/>
                <a:gd name="connsiteY3" fmla="*/ 603 h 41207"/>
                <a:gd name="connsiteX4" fmla="*/ 40784 w 40783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3" h="41207">
                  <a:moveTo>
                    <a:pt x="40784" y="25219"/>
                  </a:moveTo>
                  <a:cubicBezTo>
                    <a:pt x="37707" y="34450"/>
                    <a:pt x="28476" y="43681"/>
                    <a:pt x="16169" y="40604"/>
                  </a:cubicBezTo>
                  <a:cubicBezTo>
                    <a:pt x="3860" y="37526"/>
                    <a:pt x="-2293" y="28296"/>
                    <a:pt x="784" y="15988"/>
                  </a:cubicBezTo>
                  <a:cubicBezTo>
                    <a:pt x="3860" y="6757"/>
                    <a:pt x="13092" y="-2473"/>
                    <a:pt x="25399" y="603"/>
                  </a:cubicBezTo>
                  <a:cubicBezTo>
                    <a:pt x="34630" y="3681"/>
                    <a:pt x="40784" y="12911"/>
                    <a:pt x="40784" y="25219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30B7687C-CD77-4B5F-B371-FEFCAE3ED41B}"/>
                </a:ext>
              </a:extLst>
            </p:cNvPr>
            <p:cNvSpPr/>
            <p:nvPr/>
          </p:nvSpPr>
          <p:spPr>
            <a:xfrm>
              <a:off x="17216958" y="8925187"/>
              <a:ext cx="41568" cy="41387"/>
            </a:xfrm>
            <a:custGeom>
              <a:avLst/>
              <a:gdLst>
                <a:gd name="connsiteX0" fmla="*/ 40785 w 41568"/>
                <a:gd name="connsiteY0" fmla="*/ 25399 h 41387"/>
                <a:gd name="connsiteX1" fmla="*/ 16169 w 41568"/>
                <a:gd name="connsiteY1" fmla="*/ 40784 h 41387"/>
                <a:gd name="connsiteX2" fmla="*/ 784 w 41568"/>
                <a:gd name="connsiteY2" fmla="*/ 16169 h 41387"/>
                <a:gd name="connsiteX3" fmla="*/ 25400 w 41568"/>
                <a:gd name="connsiteY3" fmla="*/ 784 h 41387"/>
                <a:gd name="connsiteX4" fmla="*/ 40785 w 41568"/>
                <a:gd name="connsiteY4" fmla="*/ 25399 h 4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68" h="41387">
                  <a:moveTo>
                    <a:pt x="40785" y="25399"/>
                  </a:moveTo>
                  <a:cubicBezTo>
                    <a:pt x="37708" y="34630"/>
                    <a:pt x="28476" y="43861"/>
                    <a:pt x="16169" y="40784"/>
                  </a:cubicBezTo>
                  <a:cubicBezTo>
                    <a:pt x="3861" y="37707"/>
                    <a:pt x="-2293" y="28477"/>
                    <a:pt x="784" y="16169"/>
                  </a:cubicBezTo>
                  <a:cubicBezTo>
                    <a:pt x="3861" y="3861"/>
                    <a:pt x="13092" y="-2293"/>
                    <a:pt x="25400" y="784"/>
                  </a:cubicBezTo>
                  <a:cubicBezTo>
                    <a:pt x="37708" y="3861"/>
                    <a:pt x="43861" y="16169"/>
                    <a:pt x="40785" y="25399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3370F36F-2C9B-4FA8-9DB7-4DE7C12F8576}"/>
                </a:ext>
              </a:extLst>
            </p:cNvPr>
            <p:cNvSpPr/>
            <p:nvPr/>
          </p:nvSpPr>
          <p:spPr>
            <a:xfrm>
              <a:off x="17000050" y="8869411"/>
              <a:ext cx="92813" cy="35021"/>
            </a:xfrm>
            <a:custGeom>
              <a:avLst/>
              <a:gdLst>
                <a:gd name="connsiteX0" fmla="*/ 8462 w 92813"/>
                <a:gd name="connsiteY0" fmla="*/ 35022 h 35021"/>
                <a:gd name="connsiteX1" fmla="*/ 2308 w 92813"/>
                <a:gd name="connsiteY1" fmla="*/ 31945 h 35021"/>
                <a:gd name="connsiteX2" fmla="*/ 2308 w 92813"/>
                <a:gd name="connsiteY2" fmla="*/ 19637 h 35021"/>
                <a:gd name="connsiteX3" fmla="*/ 88462 w 92813"/>
                <a:gd name="connsiteY3" fmla="*/ 10406 h 35021"/>
                <a:gd name="connsiteX4" fmla="*/ 91538 w 92813"/>
                <a:gd name="connsiteY4" fmla="*/ 19637 h 35021"/>
                <a:gd name="connsiteX5" fmla="*/ 82308 w 92813"/>
                <a:gd name="connsiteY5" fmla="*/ 22714 h 35021"/>
                <a:gd name="connsiteX6" fmla="*/ 14615 w 92813"/>
                <a:gd name="connsiteY6" fmla="*/ 28868 h 35021"/>
                <a:gd name="connsiteX7" fmla="*/ 8462 w 92813"/>
                <a:gd name="connsiteY7" fmla="*/ 35022 h 35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5021">
                  <a:moveTo>
                    <a:pt x="8462" y="35022"/>
                  </a:moveTo>
                  <a:cubicBezTo>
                    <a:pt x="5385" y="35022"/>
                    <a:pt x="5385" y="35022"/>
                    <a:pt x="2308" y="31945"/>
                  </a:cubicBezTo>
                  <a:cubicBezTo>
                    <a:pt x="-769" y="28868"/>
                    <a:pt x="-769" y="22714"/>
                    <a:pt x="2308" y="19637"/>
                  </a:cubicBezTo>
                  <a:cubicBezTo>
                    <a:pt x="30000" y="-11132"/>
                    <a:pt x="70001" y="1176"/>
                    <a:pt x="88462" y="10406"/>
                  </a:cubicBezTo>
                  <a:cubicBezTo>
                    <a:pt x="91538" y="13483"/>
                    <a:pt x="94616" y="16561"/>
                    <a:pt x="91538" y="19637"/>
                  </a:cubicBezTo>
                  <a:cubicBezTo>
                    <a:pt x="88462" y="22714"/>
                    <a:pt x="85385" y="25791"/>
                    <a:pt x="82308" y="22714"/>
                  </a:cubicBezTo>
                  <a:cubicBezTo>
                    <a:pt x="79231" y="22714"/>
                    <a:pt x="39231" y="1176"/>
                    <a:pt x="14615" y="28868"/>
                  </a:cubicBezTo>
                  <a:cubicBezTo>
                    <a:pt x="11539" y="31945"/>
                    <a:pt x="11539" y="35022"/>
                    <a:pt x="8462" y="35022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BCBFCD37-971D-46DB-8A70-39A46791CE55}"/>
                </a:ext>
              </a:extLst>
            </p:cNvPr>
            <p:cNvSpPr/>
            <p:nvPr/>
          </p:nvSpPr>
          <p:spPr>
            <a:xfrm>
              <a:off x="17188776" y="8867823"/>
              <a:ext cx="92812" cy="36609"/>
            </a:xfrm>
            <a:custGeom>
              <a:avLst/>
              <a:gdLst>
                <a:gd name="connsiteX0" fmla="*/ 87428 w 92812"/>
                <a:gd name="connsiteY0" fmla="*/ 36610 h 36609"/>
                <a:gd name="connsiteX1" fmla="*/ 81275 w 92812"/>
                <a:gd name="connsiteY1" fmla="*/ 33533 h 36609"/>
                <a:gd name="connsiteX2" fmla="*/ 13582 w 92812"/>
                <a:gd name="connsiteY2" fmla="*/ 27379 h 36609"/>
                <a:gd name="connsiteX3" fmla="*/ 1275 w 92812"/>
                <a:gd name="connsiteY3" fmla="*/ 24302 h 36609"/>
                <a:gd name="connsiteX4" fmla="*/ 4352 w 92812"/>
                <a:gd name="connsiteY4" fmla="*/ 11994 h 36609"/>
                <a:gd name="connsiteX5" fmla="*/ 90505 w 92812"/>
                <a:gd name="connsiteY5" fmla="*/ 21225 h 36609"/>
                <a:gd name="connsiteX6" fmla="*/ 90505 w 92812"/>
                <a:gd name="connsiteY6" fmla="*/ 33533 h 36609"/>
                <a:gd name="connsiteX7" fmla="*/ 87428 w 92812"/>
                <a:gd name="connsiteY7" fmla="*/ 36610 h 3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6609">
                  <a:moveTo>
                    <a:pt x="87428" y="36610"/>
                  </a:moveTo>
                  <a:cubicBezTo>
                    <a:pt x="84352" y="36610"/>
                    <a:pt x="84352" y="36610"/>
                    <a:pt x="81275" y="33533"/>
                  </a:cubicBezTo>
                  <a:cubicBezTo>
                    <a:pt x="81275" y="33533"/>
                    <a:pt x="50506" y="2764"/>
                    <a:pt x="13582" y="27379"/>
                  </a:cubicBezTo>
                  <a:cubicBezTo>
                    <a:pt x="10505" y="30456"/>
                    <a:pt x="4352" y="27379"/>
                    <a:pt x="1275" y="24302"/>
                  </a:cubicBezTo>
                  <a:cubicBezTo>
                    <a:pt x="-1803" y="21225"/>
                    <a:pt x="1275" y="15072"/>
                    <a:pt x="4352" y="11994"/>
                  </a:cubicBezTo>
                  <a:cubicBezTo>
                    <a:pt x="41274" y="-12621"/>
                    <a:pt x="78198" y="5841"/>
                    <a:pt x="90505" y="21225"/>
                  </a:cubicBezTo>
                  <a:cubicBezTo>
                    <a:pt x="93582" y="24302"/>
                    <a:pt x="93582" y="30456"/>
                    <a:pt x="90505" y="33533"/>
                  </a:cubicBezTo>
                  <a:cubicBezTo>
                    <a:pt x="93582" y="36610"/>
                    <a:pt x="90505" y="36610"/>
                    <a:pt x="87428" y="36610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25FE7EBB-9204-4968-A576-7A2E3DE57706}"/>
                </a:ext>
              </a:extLst>
            </p:cNvPr>
            <p:cNvSpPr/>
            <p:nvPr/>
          </p:nvSpPr>
          <p:spPr>
            <a:xfrm>
              <a:off x="16942766" y="8643217"/>
              <a:ext cx="280163" cy="258139"/>
            </a:xfrm>
            <a:custGeom>
              <a:avLst/>
              <a:gdLst>
                <a:gd name="connsiteX0" fmla="*/ 278053 w 280163"/>
                <a:gd name="connsiteY0" fmla="*/ 2755 h 258139"/>
                <a:gd name="connsiteX1" fmla="*/ 241130 w 280163"/>
                <a:gd name="connsiteY1" fmla="*/ 131985 h 258139"/>
                <a:gd name="connsiteX2" fmla="*/ 1130 w 280163"/>
                <a:gd name="connsiteY2" fmla="*/ 258139 h 258139"/>
                <a:gd name="connsiteX3" fmla="*/ 278053 w 280163"/>
                <a:gd name="connsiteY3" fmla="*/ 2755 h 258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163" h="258139">
                  <a:moveTo>
                    <a:pt x="278053" y="2755"/>
                  </a:moveTo>
                  <a:cubicBezTo>
                    <a:pt x="278053" y="2755"/>
                    <a:pt x="293438" y="91985"/>
                    <a:pt x="241130" y="131985"/>
                  </a:cubicBezTo>
                  <a:cubicBezTo>
                    <a:pt x="241130" y="131985"/>
                    <a:pt x="28822" y="175062"/>
                    <a:pt x="1130" y="258139"/>
                  </a:cubicBezTo>
                  <a:cubicBezTo>
                    <a:pt x="-1947" y="258139"/>
                    <a:pt x="-17331" y="-31092"/>
                    <a:pt x="278053" y="2755"/>
                  </a:cubicBezTo>
                  <a:close/>
                </a:path>
              </a:pathLst>
            </a:custGeom>
            <a:solidFill>
              <a:srgbClr val="D3977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E115FDB3-9E44-40BE-B05F-1393069C1050}"/>
                </a:ext>
              </a:extLst>
            </p:cNvPr>
            <p:cNvSpPr/>
            <p:nvPr/>
          </p:nvSpPr>
          <p:spPr>
            <a:xfrm>
              <a:off x="17183896" y="8648991"/>
              <a:ext cx="227365" cy="317479"/>
            </a:xfrm>
            <a:custGeom>
              <a:avLst/>
              <a:gdLst>
                <a:gd name="connsiteX0" fmla="*/ 0 w 227365"/>
                <a:gd name="connsiteY0" fmla="*/ 126211 h 317479"/>
                <a:gd name="connsiteX1" fmla="*/ 141539 w 227365"/>
                <a:gd name="connsiteY1" fmla="*/ 181595 h 317479"/>
                <a:gd name="connsiteX2" fmla="*/ 200000 w 227365"/>
                <a:gd name="connsiteY2" fmla="*/ 304672 h 317479"/>
                <a:gd name="connsiteX3" fmla="*/ 224616 w 227365"/>
                <a:gd name="connsiteY3" fmla="*/ 301595 h 317479"/>
                <a:gd name="connsiteX4" fmla="*/ 33846 w 227365"/>
                <a:gd name="connsiteY4" fmla="*/ 57 h 317479"/>
                <a:gd name="connsiteX5" fmla="*/ 0 w 227365"/>
                <a:gd name="connsiteY5" fmla="*/ 126211 h 317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365" h="317479">
                  <a:moveTo>
                    <a:pt x="0" y="126211"/>
                  </a:moveTo>
                  <a:cubicBezTo>
                    <a:pt x="0" y="126211"/>
                    <a:pt x="89232" y="175442"/>
                    <a:pt x="141539" y="181595"/>
                  </a:cubicBezTo>
                  <a:cubicBezTo>
                    <a:pt x="193847" y="187749"/>
                    <a:pt x="200000" y="304672"/>
                    <a:pt x="200000" y="304672"/>
                  </a:cubicBezTo>
                  <a:cubicBezTo>
                    <a:pt x="200000" y="304672"/>
                    <a:pt x="221539" y="335442"/>
                    <a:pt x="224616" y="301595"/>
                  </a:cubicBezTo>
                  <a:cubicBezTo>
                    <a:pt x="233846" y="221596"/>
                    <a:pt x="230769" y="21596"/>
                    <a:pt x="33846" y="57"/>
                  </a:cubicBezTo>
                  <a:cubicBezTo>
                    <a:pt x="36923" y="-3020"/>
                    <a:pt x="21539" y="120057"/>
                    <a:pt x="0" y="126211"/>
                  </a:cubicBezTo>
                  <a:close/>
                </a:path>
              </a:pathLst>
            </a:custGeom>
            <a:solidFill>
              <a:srgbClr val="D3977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11EE567F-A72D-4AF6-9A96-CDC4E426F857}"/>
                </a:ext>
              </a:extLst>
            </p:cNvPr>
            <p:cNvSpPr/>
            <p:nvPr/>
          </p:nvSpPr>
          <p:spPr>
            <a:xfrm>
              <a:off x="17345606" y="8933704"/>
              <a:ext cx="79666" cy="115102"/>
            </a:xfrm>
            <a:custGeom>
              <a:avLst/>
              <a:gdLst>
                <a:gd name="connsiteX0" fmla="*/ 13675 w 79666"/>
                <a:gd name="connsiteY0" fmla="*/ 16883 h 115102"/>
                <a:gd name="connsiteX1" fmla="*/ 72137 w 79666"/>
                <a:gd name="connsiteY1" fmla="*/ 7652 h 115102"/>
                <a:gd name="connsiteX2" fmla="*/ 13675 w 79666"/>
                <a:gd name="connsiteY2" fmla="*/ 112268 h 115102"/>
                <a:gd name="connsiteX3" fmla="*/ 13675 w 79666"/>
                <a:gd name="connsiteY3" fmla="*/ 16883 h 115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666" h="115102">
                  <a:moveTo>
                    <a:pt x="13675" y="16883"/>
                  </a:moveTo>
                  <a:cubicBezTo>
                    <a:pt x="13675" y="16883"/>
                    <a:pt x="47522" y="-13886"/>
                    <a:pt x="72137" y="7652"/>
                  </a:cubicBezTo>
                  <a:cubicBezTo>
                    <a:pt x="96753" y="26114"/>
                    <a:pt x="56752" y="133806"/>
                    <a:pt x="13675" y="112268"/>
                  </a:cubicBezTo>
                  <a:cubicBezTo>
                    <a:pt x="-17094" y="93806"/>
                    <a:pt x="13675" y="16883"/>
                    <a:pt x="13675" y="16883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CB2EB28E-0B04-4145-B138-793A33B59A54}"/>
                </a:ext>
              </a:extLst>
            </p:cNvPr>
            <p:cNvSpPr/>
            <p:nvPr/>
          </p:nvSpPr>
          <p:spPr>
            <a:xfrm>
              <a:off x="17174666" y="8639818"/>
              <a:ext cx="210504" cy="304615"/>
            </a:xfrm>
            <a:custGeom>
              <a:avLst/>
              <a:gdLst>
                <a:gd name="connsiteX0" fmla="*/ 206154 w 210504"/>
                <a:gd name="connsiteY0" fmla="*/ 304615 h 304615"/>
                <a:gd name="connsiteX1" fmla="*/ 200000 w 210504"/>
                <a:gd name="connsiteY1" fmla="*/ 298461 h 304615"/>
                <a:gd name="connsiteX2" fmla="*/ 147692 w 210504"/>
                <a:gd name="connsiteY2" fmla="*/ 193846 h 304615"/>
                <a:gd name="connsiteX3" fmla="*/ 3077 w 210504"/>
                <a:gd name="connsiteY3" fmla="*/ 135384 h 304615"/>
                <a:gd name="connsiteX4" fmla="*/ 0 w 210504"/>
                <a:gd name="connsiteY4" fmla="*/ 132307 h 304615"/>
                <a:gd name="connsiteX5" fmla="*/ 0 w 210504"/>
                <a:gd name="connsiteY5" fmla="*/ 126154 h 304615"/>
                <a:gd name="connsiteX6" fmla="*/ 18462 w 210504"/>
                <a:gd name="connsiteY6" fmla="*/ 101538 h 304615"/>
                <a:gd name="connsiteX7" fmla="*/ 27692 w 210504"/>
                <a:gd name="connsiteY7" fmla="*/ 61538 h 304615"/>
                <a:gd name="connsiteX8" fmla="*/ 30769 w 210504"/>
                <a:gd name="connsiteY8" fmla="*/ 33846 h 304615"/>
                <a:gd name="connsiteX9" fmla="*/ 33846 w 210504"/>
                <a:gd name="connsiteY9" fmla="*/ 6154 h 304615"/>
                <a:gd name="connsiteX10" fmla="*/ 40000 w 210504"/>
                <a:gd name="connsiteY10" fmla="*/ 0 h 304615"/>
                <a:gd name="connsiteX11" fmla="*/ 46154 w 210504"/>
                <a:gd name="connsiteY11" fmla="*/ 6154 h 304615"/>
                <a:gd name="connsiteX12" fmla="*/ 43077 w 210504"/>
                <a:gd name="connsiteY12" fmla="*/ 33846 h 304615"/>
                <a:gd name="connsiteX13" fmla="*/ 40000 w 210504"/>
                <a:gd name="connsiteY13" fmla="*/ 61538 h 304615"/>
                <a:gd name="connsiteX14" fmla="*/ 27692 w 210504"/>
                <a:gd name="connsiteY14" fmla="*/ 104615 h 304615"/>
                <a:gd name="connsiteX15" fmla="*/ 12308 w 210504"/>
                <a:gd name="connsiteY15" fmla="*/ 126154 h 304615"/>
                <a:gd name="connsiteX16" fmla="*/ 147692 w 210504"/>
                <a:gd name="connsiteY16" fmla="*/ 178461 h 304615"/>
                <a:gd name="connsiteX17" fmla="*/ 209230 w 210504"/>
                <a:gd name="connsiteY17" fmla="*/ 295384 h 304615"/>
                <a:gd name="connsiteX18" fmla="*/ 206154 w 210504"/>
                <a:gd name="connsiteY18" fmla="*/ 304615 h 304615"/>
                <a:gd name="connsiteX19" fmla="*/ 206154 w 210504"/>
                <a:gd name="connsiteY19" fmla="*/ 304615 h 30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0504" h="304615">
                  <a:moveTo>
                    <a:pt x="206154" y="304615"/>
                  </a:moveTo>
                  <a:cubicBezTo>
                    <a:pt x="203077" y="304615"/>
                    <a:pt x="200000" y="301538"/>
                    <a:pt x="200000" y="298461"/>
                  </a:cubicBezTo>
                  <a:cubicBezTo>
                    <a:pt x="200000" y="298461"/>
                    <a:pt x="200000" y="203077"/>
                    <a:pt x="147692" y="193846"/>
                  </a:cubicBezTo>
                  <a:cubicBezTo>
                    <a:pt x="76923" y="184615"/>
                    <a:pt x="6154" y="138462"/>
                    <a:pt x="3077" y="135384"/>
                  </a:cubicBezTo>
                  <a:cubicBezTo>
                    <a:pt x="3077" y="135384"/>
                    <a:pt x="0" y="132307"/>
                    <a:pt x="0" y="132307"/>
                  </a:cubicBezTo>
                  <a:cubicBezTo>
                    <a:pt x="0" y="129231"/>
                    <a:pt x="0" y="129231"/>
                    <a:pt x="0" y="126154"/>
                  </a:cubicBezTo>
                  <a:cubicBezTo>
                    <a:pt x="6154" y="120000"/>
                    <a:pt x="12308" y="110769"/>
                    <a:pt x="18462" y="101538"/>
                  </a:cubicBezTo>
                  <a:cubicBezTo>
                    <a:pt x="24615" y="89231"/>
                    <a:pt x="27692" y="73846"/>
                    <a:pt x="27692" y="61538"/>
                  </a:cubicBezTo>
                  <a:cubicBezTo>
                    <a:pt x="27692" y="55384"/>
                    <a:pt x="30769" y="43077"/>
                    <a:pt x="30769" y="33846"/>
                  </a:cubicBezTo>
                  <a:cubicBezTo>
                    <a:pt x="30769" y="21538"/>
                    <a:pt x="33846" y="12308"/>
                    <a:pt x="33846" y="6154"/>
                  </a:cubicBezTo>
                  <a:cubicBezTo>
                    <a:pt x="33846" y="3077"/>
                    <a:pt x="36923" y="0"/>
                    <a:pt x="40000" y="0"/>
                  </a:cubicBezTo>
                  <a:cubicBezTo>
                    <a:pt x="43077" y="0"/>
                    <a:pt x="46154" y="3077"/>
                    <a:pt x="46154" y="6154"/>
                  </a:cubicBezTo>
                  <a:cubicBezTo>
                    <a:pt x="46154" y="12308"/>
                    <a:pt x="43077" y="24615"/>
                    <a:pt x="43077" y="33846"/>
                  </a:cubicBezTo>
                  <a:cubicBezTo>
                    <a:pt x="43077" y="46154"/>
                    <a:pt x="40000" y="55384"/>
                    <a:pt x="40000" y="61538"/>
                  </a:cubicBezTo>
                  <a:cubicBezTo>
                    <a:pt x="36923" y="76923"/>
                    <a:pt x="36923" y="92308"/>
                    <a:pt x="27692" y="104615"/>
                  </a:cubicBezTo>
                  <a:cubicBezTo>
                    <a:pt x="24615" y="110769"/>
                    <a:pt x="18462" y="120000"/>
                    <a:pt x="12308" y="126154"/>
                  </a:cubicBezTo>
                  <a:cubicBezTo>
                    <a:pt x="30769" y="138462"/>
                    <a:pt x="89231" y="169231"/>
                    <a:pt x="147692" y="178461"/>
                  </a:cubicBezTo>
                  <a:cubicBezTo>
                    <a:pt x="206154" y="187692"/>
                    <a:pt x="209230" y="289231"/>
                    <a:pt x="209230" y="295384"/>
                  </a:cubicBezTo>
                  <a:cubicBezTo>
                    <a:pt x="212308" y="301538"/>
                    <a:pt x="209230" y="304615"/>
                    <a:pt x="206154" y="304615"/>
                  </a:cubicBezTo>
                  <a:lnTo>
                    <a:pt x="206154" y="304615"/>
                  </a:ln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971AE93F-F87A-4D86-8368-78AFC3284907}"/>
                </a:ext>
              </a:extLst>
            </p:cNvPr>
            <p:cNvSpPr/>
            <p:nvPr/>
          </p:nvSpPr>
          <p:spPr>
            <a:xfrm>
              <a:off x="16845098" y="8784433"/>
              <a:ext cx="280336" cy="289230"/>
            </a:xfrm>
            <a:custGeom>
              <a:avLst/>
              <a:gdLst>
                <a:gd name="connsiteX0" fmla="*/ 6491 w 280336"/>
                <a:gd name="connsiteY0" fmla="*/ 289231 h 289230"/>
                <a:gd name="connsiteX1" fmla="*/ 337 w 280336"/>
                <a:gd name="connsiteY1" fmla="*/ 283077 h 289230"/>
                <a:gd name="connsiteX2" fmla="*/ 37260 w 280336"/>
                <a:gd name="connsiteY2" fmla="*/ 218461 h 289230"/>
                <a:gd name="connsiteX3" fmla="*/ 89568 w 280336"/>
                <a:gd name="connsiteY3" fmla="*/ 132308 h 289230"/>
                <a:gd name="connsiteX4" fmla="*/ 274184 w 280336"/>
                <a:gd name="connsiteY4" fmla="*/ 0 h 289230"/>
                <a:gd name="connsiteX5" fmla="*/ 280337 w 280336"/>
                <a:gd name="connsiteY5" fmla="*/ 6154 h 289230"/>
                <a:gd name="connsiteX6" fmla="*/ 274184 w 280336"/>
                <a:gd name="connsiteY6" fmla="*/ 12308 h 289230"/>
                <a:gd name="connsiteX7" fmla="*/ 98799 w 280336"/>
                <a:gd name="connsiteY7" fmla="*/ 135384 h 289230"/>
                <a:gd name="connsiteX8" fmla="*/ 43414 w 280336"/>
                <a:gd name="connsiteY8" fmla="*/ 230769 h 289230"/>
                <a:gd name="connsiteX9" fmla="*/ 12645 w 280336"/>
                <a:gd name="connsiteY9" fmla="*/ 286154 h 289230"/>
                <a:gd name="connsiteX10" fmla="*/ 6491 w 280336"/>
                <a:gd name="connsiteY10" fmla="*/ 289231 h 289230"/>
                <a:gd name="connsiteX11" fmla="*/ 6491 w 280336"/>
                <a:gd name="connsiteY11" fmla="*/ 289231 h 28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336" h="289230">
                  <a:moveTo>
                    <a:pt x="6491" y="289231"/>
                  </a:moveTo>
                  <a:cubicBezTo>
                    <a:pt x="3414" y="289231"/>
                    <a:pt x="337" y="286154"/>
                    <a:pt x="337" y="283077"/>
                  </a:cubicBezTo>
                  <a:cubicBezTo>
                    <a:pt x="-2740" y="246154"/>
                    <a:pt x="15721" y="233846"/>
                    <a:pt x="37260" y="218461"/>
                  </a:cubicBezTo>
                  <a:cubicBezTo>
                    <a:pt x="58799" y="203077"/>
                    <a:pt x="83414" y="184615"/>
                    <a:pt x="89568" y="132308"/>
                  </a:cubicBezTo>
                  <a:cubicBezTo>
                    <a:pt x="98799" y="24615"/>
                    <a:pt x="268029" y="0"/>
                    <a:pt x="274184" y="0"/>
                  </a:cubicBezTo>
                  <a:cubicBezTo>
                    <a:pt x="277260" y="0"/>
                    <a:pt x="280337" y="3077"/>
                    <a:pt x="280337" y="6154"/>
                  </a:cubicBezTo>
                  <a:cubicBezTo>
                    <a:pt x="280337" y="9231"/>
                    <a:pt x="277260" y="12308"/>
                    <a:pt x="274184" y="12308"/>
                  </a:cubicBezTo>
                  <a:cubicBezTo>
                    <a:pt x="271106" y="12308"/>
                    <a:pt x="108029" y="36923"/>
                    <a:pt x="98799" y="135384"/>
                  </a:cubicBezTo>
                  <a:cubicBezTo>
                    <a:pt x="95721" y="193846"/>
                    <a:pt x="64952" y="215385"/>
                    <a:pt x="43414" y="230769"/>
                  </a:cubicBezTo>
                  <a:cubicBezTo>
                    <a:pt x="24953" y="246154"/>
                    <a:pt x="9568" y="255385"/>
                    <a:pt x="12645" y="286154"/>
                  </a:cubicBezTo>
                  <a:cubicBezTo>
                    <a:pt x="12645" y="286154"/>
                    <a:pt x="9568" y="289231"/>
                    <a:pt x="6491" y="289231"/>
                  </a:cubicBezTo>
                  <a:lnTo>
                    <a:pt x="6491" y="289231"/>
                  </a:ln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7D1DD1A0-2E8E-4FF2-A42C-1832EFF7CA3A}"/>
                </a:ext>
              </a:extLst>
            </p:cNvPr>
            <p:cNvSpPr/>
            <p:nvPr/>
          </p:nvSpPr>
          <p:spPr>
            <a:xfrm>
              <a:off x="16713743" y="9175971"/>
              <a:ext cx="121692" cy="119230"/>
            </a:xfrm>
            <a:custGeom>
              <a:avLst/>
              <a:gdLst>
                <a:gd name="connsiteX0" fmla="*/ 8615 w 121692"/>
                <a:gd name="connsiteY0" fmla="*/ 119231 h 119230"/>
                <a:gd name="connsiteX1" fmla="*/ 2462 w 121692"/>
                <a:gd name="connsiteY1" fmla="*/ 116154 h 119230"/>
                <a:gd name="connsiteX2" fmla="*/ 33231 w 121692"/>
                <a:gd name="connsiteY2" fmla="*/ 54615 h 119230"/>
                <a:gd name="connsiteX3" fmla="*/ 110154 w 121692"/>
                <a:gd name="connsiteY3" fmla="*/ 2308 h 119230"/>
                <a:gd name="connsiteX4" fmla="*/ 119384 w 121692"/>
                <a:gd name="connsiteY4" fmla="*/ 2308 h 119230"/>
                <a:gd name="connsiteX5" fmla="*/ 119384 w 121692"/>
                <a:gd name="connsiteY5" fmla="*/ 11538 h 119230"/>
                <a:gd name="connsiteX6" fmla="*/ 39384 w 121692"/>
                <a:gd name="connsiteY6" fmla="*/ 66923 h 119230"/>
                <a:gd name="connsiteX7" fmla="*/ 14769 w 121692"/>
                <a:gd name="connsiteY7" fmla="*/ 113077 h 119230"/>
                <a:gd name="connsiteX8" fmla="*/ 8615 w 121692"/>
                <a:gd name="connsiteY8" fmla="*/ 119231 h 119230"/>
                <a:gd name="connsiteX9" fmla="*/ 8615 w 121692"/>
                <a:gd name="connsiteY9" fmla="*/ 119231 h 11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692" h="119230">
                  <a:moveTo>
                    <a:pt x="8615" y="119231"/>
                  </a:moveTo>
                  <a:cubicBezTo>
                    <a:pt x="5539" y="119231"/>
                    <a:pt x="2462" y="119231"/>
                    <a:pt x="2462" y="116154"/>
                  </a:cubicBezTo>
                  <a:cubicBezTo>
                    <a:pt x="2462" y="116154"/>
                    <a:pt x="-12923" y="73077"/>
                    <a:pt x="33231" y="54615"/>
                  </a:cubicBezTo>
                  <a:cubicBezTo>
                    <a:pt x="73230" y="36154"/>
                    <a:pt x="110154" y="2308"/>
                    <a:pt x="110154" y="2308"/>
                  </a:cubicBezTo>
                  <a:cubicBezTo>
                    <a:pt x="113231" y="-769"/>
                    <a:pt x="116307" y="-769"/>
                    <a:pt x="119384" y="2308"/>
                  </a:cubicBezTo>
                  <a:cubicBezTo>
                    <a:pt x="122461" y="5384"/>
                    <a:pt x="122461" y="8462"/>
                    <a:pt x="119384" y="11538"/>
                  </a:cubicBezTo>
                  <a:cubicBezTo>
                    <a:pt x="116307" y="11538"/>
                    <a:pt x="79385" y="48462"/>
                    <a:pt x="39384" y="66923"/>
                  </a:cubicBezTo>
                  <a:cubicBezTo>
                    <a:pt x="2462" y="82308"/>
                    <a:pt x="14769" y="113077"/>
                    <a:pt x="14769" y="113077"/>
                  </a:cubicBezTo>
                  <a:cubicBezTo>
                    <a:pt x="14769" y="116154"/>
                    <a:pt x="11692" y="119231"/>
                    <a:pt x="8615" y="119231"/>
                  </a:cubicBezTo>
                  <a:cubicBezTo>
                    <a:pt x="8615" y="119231"/>
                    <a:pt x="8615" y="119231"/>
                    <a:pt x="8615" y="119231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C60FFEF0-A6CF-41B6-96E6-197D64DBF326}"/>
                </a:ext>
              </a:extLst>
            </p:cNvPr>
            <p:cNvSpPr/>
            <p:nvPr/>
          </p:nvSpPr>
          <p:spPr>
            <a:xfrm>
              <a:off x="17061588" y="9173928"/>
              <a:ext cx="225121" cy="81274"/>
            </a:xfrm>
            <a:custGeom>
              <a:avLst/>
              <a:gdLst>
                <a:gd name="connsiteX0" fmla="*/ 73078 w 225121"/>
                <a:gd name="connsiteY0" fmla="*/ 81275 h 81274"/>
                <a:gd name="connsiteX1" fmla="*/ 2308 w 225121"/>
                <a:gd name="connsiteY1" fmla="*/ 53582 h 81274"/>
                <a:gd name="connsiteX2" fmla="*/ 2308 w 225121"/>
                <a:gd name="connsiteY2" fmla="*/ 44351 h 81274"/>
                <a:gd name="connsiteX3" fmla="*/ 11539 w 225121"/>
                <a:gd name="connsiteY3" fmla="*/ 44351 h 81274"/>
                <a:gd name="connsiteX4" fmla="*/ 82308 w 225121"/>
                <a:gd name="connsiteY4" fmla="*/ 68967 h 81274"/>
                <a:gd name="connsiteX5" fmla="*/ 214615 w 225121"/>
                <a:gd name="connsiteY5" fmla="*/ 1275 h 81274"/>
                <a:gd name="connsiteX6" fmla="*/ 223847 w 225121"/>
                <a:gd name="connsiteY6" fmla="*/ 4352 h 81274"/>
                <a:gd name="connsiteX7" fmla="*/ 220770 w 225121"/>
                <a:gd name="connsiteY7" fmla="*/ 13582 h 81274"/>
                <a:gd name="connsiteX8" fmla="*/ 82308 w 225121"/>
                <a:gd name="connsiteY8" fmla="*/ 81275 h 81274"/>
                <a:gd name="connsiteX9" fmla="*/ 73078 w 225121"/>
                <a:gd name="connsiteY9" fmla="*/ 81275 h 81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121" h="81274">
                  <a:moveTo>
                    <a:pt x="73078" y="81275"/>
                  </a:moveTo>
                  <a:cubicBezTo>
                    <a:pt x="33077" y="81275"/>
                    <a:pt x="5385" y="53582"/>
                    <a:pt x="2308" y="53582"/>
                  </a:cubicBezTo>
                  <a:cubicBezTo>
                    <a:pt x="-769" y="50506"/>
                    <a:pt x="-769" y="47428"/>
                    <a:pt x="2308" y="44351"/>
                  </a:cubicBezTo>
                  <a:cubicBezTo>
                    <a:pt x="5385" y="41275"/>
                    <a:pt x="8462" y="41275"/>
                    <a:pt x="11539" y="44351"/>
                  </a:cubicBezTo>
                  <a:cubicBezTo>
                    <a:pt x="11539" y="44351"/>
                    <a:pt x="45385" y="75121"/>
                    <a:pt x="82308" y="68967"/>
                  </a:cubicBezTo>
                  <a:cubicBezTo>
                    <a:pt x="122308" y="62813"/>
                    <a:pt x="214615" y="1275"/>
                    <a:pt x="214615" y="1275"/>
                  </a:cubicBezTo>
                  <a:cubicBezTo>
                    <a:pt x="217692" y="-1803"/>
                    <a:pt x="220770" y="1275"/>
                    <a:pt x="223847" y="4352"/>
                  </a:cubicBezTo>
                  <a:cubicBezTo>
                    <a:pt x="226924" y="7428"/>
                    <a:pt x="223847" y="10505"/>
                    <a:pt x="220770" y="13582"/>
                  </a:cubicBezTo>
                  <a:cubicBezTo>
                    <a:pt x="217692" y="16659"/>
                    <a:pt x="125385" y="78198"/>
                    <a:pt x="82308" y="81275"/>
                  </a:cubicBezTo>
                  <a:cubicBezTo>
                    <a:pt x="79231" y="81275"/>
                    <a:pt x="76154" y="81275"/>
                    <a:pt x="73078" y="81275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4" name="图形 1">
              <a:extLst>
                <a:ext uri="{FF2B5EF4-FFF2-40B4-BE49-F238E27FC236}">
                  <a16:creationId xmlns:a16="http://schemas.microsoft.com/office/drawing/2014/main" id="{68B82D55-8A03-498C-8434-4678FEA0781A}"/>
                </a:ext>
              </a:extLst>
            </p:cNvPr>
            <p:cNvGrpSpPr/>
            <p:nvPr/>
          </p:nvGrpSpPr>
          <p:grpSpPr>
            <a:xfrm>
              <a:off x="16900820" y="8508994"/>
              <a:ext cx="578461" cy="296653"/>
              <a:chOff x="16900820" y="8508994"/>
              <a:chExt cx="578461" cy="296653"/>
            </a:xfrm>
          </p:grpSpPr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10B60985-7D42-4099-8398-67C406A04AC8}"/>
                  </a:ext>
                </a:extLst>
              </p:cNvPr>
              <p:cNvSpPr/>
              <p:nvPr/>
            </p:nvSpPr>
            <p:spPr>
              <a:xfrm>
                <a:off x="16906973" y="8535202"/>
                <a:ext cx="569230" cy="270445"/>
              </a:xfrm>
              <a:custGeom>
                <a:avLst/>
                <a:gdLst>
                  <a:gd name="connsiteX0" fmla="*/ 0 w 569230"/>
                  <a:gd name="connsiteY0" fmla="*/ 0 h 270445"/>
                  <a:gd name="connsiteX1" fmla="*/ 15385 w 569230"/>
                  <a:gd name="connsiteY1" fmla="*/ 193846 h 270445"/>
                  <a:gd name="connsiteX2" fmla="*/ 501539 w 569230"/>
                  <a:gd name="connsiteY2" fmla="*/ 261538 h 270445"/>
                  <a:gd name="connsiteX3" fmla="*/ 569231 w 569230"/>
                  <a:gd name="connsiteY3" fmla="*/ 67692 h 270445"/>
                  <a:gd name="connsiteX4" fmla="*/ 0 w 569230"/>
                  <a:gd name="connsiteY4" fmla="*/ 0 h 270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9230" h="270445">
                    <a:moveTo>
                      <a:pt x="0" y="0"/>
                    </a:moveTo>
                    <a:lnTo>
                      <a:pt x="15385" y="193846"/>
                    </a:lnTo>
                    <a:cubicBezTo>
                      <a:pt x="15385" y="193846"/>
                      <a:pt x="169231" y="301539"/>
                      <a:pt x="501539" y="261538"/>
                    </a:cubicBezTo>
                    <a:lnTo>
                      <a:pt x="569231" y="67692"/>
                    </a:lnTo>
                    <a:cubicBezTo>
                      <a:pt x="569231" y="67692"/>
                      <a:pt x="246154" y="113846"/>
                      <a:pt x="0" y="0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D67D94B3-2F3F-4D3A-8F92-EDED6822EE84}"/>
                  </a:ext>
                </a:extLst>
              </p:cNvPr>
              <p:cNvSpPr/>
              <p:nvPr/>
            </p:nvSpPr>
            <p:spPr>
              <a:xfrm>
                <a:off x="16906973" y="8508994"/>
                <a:ext cx="569230" cy="110513"/>
              </a:xfrm>
              <a:custGeom>
                <a:avLst/>
                <a:gdLst>
                  <a:gd name="connsiteX0" fmla="*/ 0 w 569230"/>
                  <a:gd name="connsiteY0" fmla="*/ 26208 h 110513"/>
                  <a:gd name="connsiteX1" fmla="*/ 569231 w 569230"/>
                  <a:gd name="connsiteY1" fmla="*/ 93900 h 110513"/>
                  <a:gd name="connsiteX2" fmla="*/ 0 w 569230"/>
                  <a:gd name="connsiteY2" fmla="*/ 26208 h 110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9230" h="110513">
                    <a:moveTo>
                      <a:pt x="0" y="26208"/>
                    </a:moveTo>
                    <a:cubicBezTo>
                      <a:pt x="0" y="26208"/>
                      <a:pt x="212308" y="155439"/>
                      <a:pt x="569231" y="93900"/>
                    </a:cubicBezTo>
                    <a:cubicBezTo>
                      <a:pt x="569231" y="93900"/>
                      <a:pt x="307692" y="-59946"/>
                      <a:pt x="0" y="26208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3611514C-32B8-4DED-9F14-46D0ADD09930}"/>
                  </a:ext>
                </a:extLst>
              </p:cNvPr>
              <p:cNvSpPr/>
              <p:nvPr/>
            </p:nvSpPr>
            <p:spPr>
              <a:xfrm>
                <a:off x="16900820" y="8525971"/>
                <a:ext cx="578461" cy="101538"/>
              </a:xfrm>
              <a:custGeom>
                <a:avLst/>
                <a:gdLst>
                  <a:gd name="connsiteX0" fmla="*/ 378461 w 578461"/>
                  <a:gd name="connsiteY0" fmla="*/ 101539 h 101538"/>
                  <a:gd name="connsiteX1" fmla="*/ 3077 w 578461"/>
                  <a:gd name="connsiteY1" fmla="*/ 12308 h 101538"/>
                  <a:gd name="connsiteX2" fmla="*/ 0 w 578461"/>
                  <a:gd name="connsiteY2" fmla="*/ 3077 h 101538"/>
                  <a:gd name="connsiteX3" fmla="*/ 9230 w 578461"/>
                  <a:gd name="connsiteY3" fmla="*/ 0 h 101538"/>
                  <a:gd name="connsiteX4" fmla="*/ 572308 w 578461"/>
                  <a:gd name="connsiteY4" fmla="*/ 67693 h 101538"/>
                  <a:gd name="connsiteX5" fmla="*/ 578461 w 578461"/>
                  <a:gd name="connsiteY5" fmla="*/ 70769 h 101538"/>
                  <a:gd name="connsiteX6" fmla="*/ 575384 w 578461"/>
                  <a:gd name="connsiteY6" fmla="*/ 76923 h 101538"/>
                  <a:gd name="connsiteX7" fmla="*/ 378461 w 578461"/>
                  <a:gd name="connsiteY7" fmla="*/ 101539 h 10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8461" h="101538">
                    <a:moveTo>
                      <a:pt x="378461" y="101539"/>
                    </a:moveTo>
                    <a:cubicBezTo>
                      <a:pt x="141539" y="101539"/>
                      <a:pt x="6153" y="15385"/>
                      <a:pt x="3077" y="12308"/>
                    </a:cubicBezTo>
                    <a:cubicBezTo>
                      <a:pt x="0" y="9231"/>
                      <a:pt x="0" y="6154"/>
                      <a:pt x="0" y="3077"/>
                    </a:cubicBezTo>
                    <a:cubicBezTo>
                      <a:pt x="3077" y="0"/>
                      <a:pt x="6153" y="0"/>
                      <a:pt x="9230" y="0"/>
                    </a:cubicBezTo>
                    <a:cubicBezTo>
                      <a:pt x="12308" y="0"/>
                      <a:pt x="218462" y="135385"/>
                      <a:pt x="572308" y="67693"/>
                    </a:cubicBezTo>
                    <a:cubicBezTo>
                      <a:pt x="575384" y="67693"/>
                      <a:pt x="578461" y="67693"/>
                      <a:pt x="578461" y="70769"/>
                    </a:cubicBezTo>
                    <a:cubicBezTo>
                      <a:pt x="578461" y="73846"/>
                      <a:pt x="578461" y="76923"/>
                      <a:pt x="575384" y="76923"/>
                    </a:cubicBezTo>
                    <a:cubicBezTo>
                      <a:pt x="504615" y="95385"/>
                      <a:pt x="436923" y="101539"/>
                      <a:pt x="378461" y="10153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1996352A-1168-49AF-84FF-98ADA8126354}"/>
                  </a:ext>
                </a:extLst>
              </p:cNvPr>
              <p:cNvSpPr/>
              <p:nvPr/>
            </p:nvSpPr>
            <p:spPr>
              <a:xfrm>
                <a:off x="17082358" y="8639818"/>
                <a:ext cx="135384" cy="135384"/>
              </a:xfrm>
              <a:custGeom>
                <a:avLst/>
                <a:gdLst>
                  <a:gd name="connsiteX0" fmla="*/ 135384 w 135384"/>
                  <a:gd name="connsiteY0" fmla="*/ 55384 h 135384"/>
                  <a:gd name="connsiteX1" fmla="*/ 86153 w 135384"/>
                  <a:gd name="connsiteY1" fmla="*/ 52308 h 135384"/>
                  <a:gd name="connsiteX2" fmla="*/ 92308 w 135384"/>
                  <a:gd name="connsiteY2" fmla="*/ 3077 h 135384"/>
                  <a:gd name="connsiteX3" fmla="*/ 55384 w 135384"/>
                  <a:gd name="connsiteY3" fmla="*/ 0 h 135384"/>
                  <a:gd name="connsiteX4" fmla="*/ 52308 w 135384"/>
                  <a:gd name="connsiteY4" fmla="*/ 49230 h 135384"/>
                  <a:gd name="connsiteX5" fmla="*/ 3077 w 135384"/>
                  <a:gd name="connsiteY5" fmla="*/ 43077 h 135384"/>
                  <a:gd name="connsiteX6" fmla="*/ 0 w 135384"/>
                  <a:gd name="connsiteY6" fmla="*/ 76923 h 135384"/>
                  <a:gd name="connsiteX7" fmla="*/ 46154 w 135384"/>
                  <a:gd name="connsiteY7" fmla="*/ 83077 h 135384"/>
                  <a:gd name="connsiteX8" fmla="*/ 43077 w 135384"/>
                  <a:gd name="connsiteY8" fmla="*/ 132307 h 135384"/>
                  <a:gd name="connsiteX9" fmla="*/ 76923 w 135384"/>
                  <a:gd name="connsiteY9" fmla="*/ 135384 h 135384"/>
                  <a:gd name="connsiteX10" fmla="*/ 83077 w 135384"/>
                  <a:gd name="connsiteY10" fmla="*/ 86153 h 135384"/>
                  <a:gd name="connsiteX11" fmla="*/ 129231 w 135384"/>
                  <a:gd name="connsiteY11" fmla="*/ 92308 h 13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5384" h="135384">
                    <a:moveTo>
                      <a:pt x="135384" y="55384"/>
                    </a:moveTo>
                    <a:lnTo>
                      <a:pt x="86153" y="52308"/>
                    </a:lnTo>
                    <a:lnTo>
                      <a:pt x="92308" y="3077"/>
                    </a:lnTo>
                    <a:lnTo>
                      <a:pt x="55384" y="0"/>
                    </a:lnTo>
                    <a:lnTo>
                      <a:pt x="52308" y="49230"/>
                    </a:lnTo>
                    <a:lnTo>
                      <a:pt x="3077" y="43077"/>
                    </a:lnTo>
                    <a:lnTo>
                      <a:pt x="0" y="76923"/>
                    </a:lnTo>
                    <a:lnTo>
                      <a:pt x="46154" y="83077"/>
                    </a:lnTo>
                    <a:lnTo>
                      <a:pt x="43077" y="132307"/>
                    </a:lnTo>
                    <a:lnTo>
                      <a:pt x="76923" y="135384"/>
                    </a:lnTo>
                    <a:lnTo>
                      <a:pt x="83077" y="86153"/>
                    </a:lnTo>
                    <a:lnTo>
                      <a:pt x="129231" y="92308"/>
                    </a:ln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25029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7E2B68B5-2C89-4F9F-8338-78B6E8FC9E12}"/>
              </a:ext>
            </a:extLst>
          </p:cNvPr>
          <p:cNvGrpSpPr/>
          <p:nvPr/>
        </p:nvGrpSpPr>
        <p:grpSpPr>
          <a:xfrm>
            <a:off x="6478954" y="1912375"/>
            <a:ext cx="2730490" cy="4945625"/>
            <a:chOff x="6653419" y="8198808"/>
            <a:chExt cx="2730490" cy="4945625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9FC5452B-B1F9-4CDC-A2EB-77DF125ED262}"/>
                </a:ext>
              </a:extLst>
            </p:cNvPr>
            <p:cNvSpPr/>
            <p:nvPr/>
          </p:nvSpPr>
          <p:spPr>
            <a:xfrm>
              <a:off x="7706974" y="10882894"/>
              <a:ext cx="1279999" cy="775384"/>
            </a:xfrm>
            <a:custGeom>
              <a:avLst/>
              <a:gdLst>
                <a:gd name="connsiteX0" fmla="*/ 0 w 1279999"/>
                <a:gd name="connsiteY0" fmla="*/ 750769 h 775384"/>
                <a:gd name="connsiteX1" fmla="*/ 1280000 w 1279999"/>
                <a:gd name="connsiteY1" fmla="*/ 750769 h 775384"/>
                <a:gd name="connsiteX2" fmla="*/ 640000 w 1279999"/>
                <a:gd name="connsiteY2" fmla="*/ 0 h 775384"/>
                <a:gd name="connsiteX3" fmla="*/ 215385 w 1279999"/>
                <a:gd name="connsiteY3" fmla="*/ 58461 h 775384"/>
                <a:gd name="connsiteX4" fmla="*/ 0 w 1279999"/>
                <a:gd name="connsiteY4" fmla="*/ 750769 h 775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9999" h="775384">
                  <a:moveTo>
                    <a:pt x="0" y="750769"/>
                  </a:moveTo>
                  <a:cubicBezTo>
                    <a:pt x="0" y="750769"/>
                    <a:pt x="763077" y="806154"/>
                    <a:pt x="1280000" y="750769"/>
                  </a:cubicBezTo>
                  <a:lnTo>
                    <a:pt x="640000" y="0"/>
                  </a:lnTo>
                  <a:lnTo>
                    <a:pt x="215385" y="58461"/>
                  </a:lnTo>
                  <a:lnTo>
                    <a:pt x="0" y="750769"/>
                  </a:ln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66DF8848-273D-425D-A0D5-F3CC481F4F2C}"/>
                </a:ext>
              </a:extLst>
            </p:cNvPr>
            <p:cNvSpPr/>
            <p:nvPr/>
          </p:nvSpPr>
          <p:spPr>
            <a:xfrm>
              <a:off x="6833127" y="9578279"/>
              <a:ext cx="218461" cy="230769"/>
            </a:xfrm>
            <a:custGeom>
              <a:avLst/>
              <a:gdLst>
                <a:gd name="connsiteX0" fmla="*/ 123077 w 218461"/>
                <a:gd name="connsiteY0" fmla="*/ 0 h 230769"/>
                <a:gd name="connsiteX1" fmla="*/ 218462 w 218461"/>
                <a:gd name="connsiteY1" fmla="*/ 110769 h 230769"/>
                <a:gd name="connsiteX2" fmla="*/ 126154 w 218461"/>
                <a:gd name="connsiteY2" fmla="*/ 230769 h 230769"/>
                <a:gd name="connsiteX3" fmla="*/ 0 w 218461"/>
                <a:gd name="connsiteY3" fmla="*/ 104615 h 23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461" h="230769">
                  <a:moveTo>
                    <a:pt x="123077" y="0"/>
                  </a:moveTo>
                  <a:lnTo>
                    <a:pt x="218462" y="110769"/>
                  </a:lnTo>
                  <a:lnTo>
                    <a:pt x="126154" y="230769"/>
                  </a:lnTo>
                  <a:lnTo>
                    <a:pt x="0" y="104615"/>
                  </a:ln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822199CE-0240-4681-B1FA-EE47F8792804}"/>
                </a:ext>
              </a:extLst>
            </p:cNvPr>
            <p:cNvSpPr/>
            <p:nvPr/>
          </p:nvSpPr>
          <p:spPr>
            <a:xfrm>
              <a:off x="6658749" y="9366630"/>
              <a:ext cx="312027" cy="350459"/>
            </a:xfrm>
            <a:custGeom>
              <a:avLst/>
              <a:gdLst>
                <a:gd name="connsiteX0" fmla="*/ 20532 w 312027"/>
                <a:gd name="connsiteY0" fmla="*/ 257803 h 350459"/>
                <a:gd name="connsiteX1" fmla="*/ 202071 w 312027"/>
                <a:gd name="connsiteY1" fmla="*/ 350111 h 350459"/>
                <a:gd name="connsiteX2" fmla="*/ 303610 w 312027"/>
                <a:gd name="connsiteY2" fmla="*/ 297803 h 350459"/>
                <a:gd name="connsiteX3" fmla="*/ 300533 w 312027"/>
                <a:gd name="connsiteY3" fmla="*/ 291649 h 350459"/>
                <a:gd name="connsiteX4" fmla="*/ 300533 w 312027"/>
                <a:gd name="connsiteY4" fmla="*/ 288572 h 350459"/>
                <a:gd name="connsiteX5" fmla="*/ 232840 w 312027"/>
                <a:gd name="connsiteY5" fmla="*/ 57803 h 350459"/>
                <a:gd name="connsiteX6" fmla="*/ 211302 w 312027"/>
                <a:gd name="connsiteY6" fmla="*/ 76264 h 350459"/>
                <a:gd name="connsiteX7" fmla="*/ 226687 w 312027"/>
                <a:gd name="connsiteY7" fmla="*/ 180880 h 350459"/>
                <a:gd name="connsiteX8" fmla="*/ 48225 w 312027"/>
                <a:gd name="connsiteY8" fmla="*/ 8572 h 350459"/>
                <a:gd name="connsiteX9" fmla="*/ 8225 w 312027"/>
                <a:gd name="connsiteY9" fmla="*/ 14726 h 350459"/>
                <a:gd name="connsiteX10" fmla="*/ 57456 w 312027"/>
                <a:gd name="connsiteY10" fmla="*/ 73188 h 350459"/>
                <a:gd name="connsiteX11" fmla="*/ 103610 w 312027"/>
                <a:gd name="connsiteY11" fmla="*/ 128572 h 350459"/>
                <a:gd name="connsiteX12" fmla="*/ 66686 w 312027"/>
                <a:gd name="connsiteY12" fmla="*/ 107034 h 350459"/>
                <a:gd name="connsiteX13" fmla="*/ 35917 w 312027"/>
                <a:gd name="connsiteY13" fmla="*/ 140880 h 350459"/>
                <a:gd name="connsiteX14" fmla="*/ 11302 w 312027"/>
                <a:gd name="connsiteY14" fmla="*/ 193187 h 350459"/>
                <a:gd name="connsiteX15" fmla="*/ 20532 w 312027"/>
                <a:gd name="connsiteY15" fmla="*/ 257803 h 350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12027" h="350459">
                  <a:moveTo>
                    <a:pt x="20532" y="257803"/>
                  </a:moveTo>
                  <a:cubicBezTo>
                    <a:pt x="45148" y="279341"/>
                    <a:pt x="146686" y="356265"/>
                    <a:pt x="202071" y="350111"/>
                  </a:cubicBezTo>
                  <a:cubicBezTo>
                    <a:pt x="238994" y="347034"/>
                    <a:pt x="294379" y="337803"/>
                    <a:pt x="303610" y="297803"/>
                  </a:cubicBezTo>
                  <a:cubicBezTo>
                    <a:pt x="303610" y="294726"/>
                    <a:pt x="303610" y="294726"/>
                    <a:pt x="300533" y="291649"/>
                  </a:cubicBezTo>
                  <a:cubicBezTo>
                    <a:pt x="300533" y="291649"/>
                    <a:pt x="300533" y="291649"/>
                    <a:pt x="300533" y="288572"/>
                  </a:cubicBezTo>
                  <a:cubicBezTo>
                    <a:pt x="331302" y="199341"/>
                    <a:pt x="297455" y="94726"/>
                    <a:pt x="232840" y="57803"/>
                  </a:cubicBezTo>
                  <a:cubicBezTo>
                    <a:pt x="226687" y="54726"/>
                    <a:pt x="208225" y="60880"/>
                    <a:pt x="211302" y="76264"/>
                  </a:cubicBezTo>
                  <a:cubicBezTo>
                    <a:pt x="220532" y="113187"/>
                    <a:pt x="251302" y="143957"/>
                    <a:pt x="226687" y="180880"/>
                  </a:cubicBezTo>
                  <a:cubicBezTo>
                    <a:pt x="168225" y="131649"/>
                    <a:pt x="118994" y="45495"/>
                    <a:pt x="48225" y="8572"/>
                  </a:cubicBezTo>
                  <a:cubicBezTo>
                    <a:pt x="35917" y="2418"/>
                    <a:pt x="5148" y="-9890"/>
                    <a:pt x="8225" y="14726"/>
                  </a:cubicBezTo>
                  <a:cubicBezTo>
                    <a:pt x="11302" y="30110"/>
                    <a:pt x="48225" y="60880"/>
                    <a:pt x="57456" y="73188"/>
                  </a:cubicBezTo>
                  <a:cubicBezTo>
                    <a:pt x="72840" y="91649"/>
                    <a:pt x="88225" y="110111"/>
                    <a:pt x="103610" y="128572"/>
                  </a:cubicBezTo>
                  <a:cubicBezTo>
                    <a:pt x="88225" y="116264"/>
                    <a:pt x="82071" y="113187"/>
                    <a:pt x="66686" y="107034"/>
                  </a:cubicBezTo>
                  <a:cubicBezTo>
                    <a:pt x="48225" y="100880"/>
                    <a:pt x="29763" y="128572"/>
                    <a:pt x="35917" y="140880"/>
                  </a:cubicBezTo>
                  <a:cubicBezTo>
                    <a:pt x="23609" y="140880"/>
                    <a:pt x="-7160" y="165495"/>
                    <a:pt x="11302" y="193187"/>
                  </a:cubicBezTo>
                  <a:cubicBezTo>
                    <a:pt x="11302" y="196265"/>
                    <a:pt x="-19467" y="220880"/>
                    <a:pt x="20532" y="257803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63D1A40E-B76A-4E28-93A3-C376BA60105F}"/>
                </a:ext>
              </a:extLst>
            </p:cNvPr>
            <p:cNvSpPr/>
            <p:nvPr/>
          </p:nvSpPr>
          <p:spPr>
            <a:xfrm>
              <a:off x="6848512" y="9569048"/>
              <a:ext cx="26923" cy="83076"/>
            </a:xfrm>
            <a:custGeom>
              <a:avLst/>
              <a:gdLst>
                <a:gd name="connsiteX0" fmla="*/ 18462 w 26923"/>
                <a:gd name="connsiteY0" fmla="*/ 83077 h 83076"/>
                <a:gd name="connsiteX1" fmla="*/ 12308 w 26923"/>
                <a:gd name="connsiteY1" fmla="*/ 80000 h 83076"/>
                <a:gd name="connsiteX2" fmla="*/ 12308 w 26923"/>
                <a:gd name="connsiteY2" fmla="*/ 3077 h 83076"/>
                <a:gd name="connsiteX3" fmla="*/ 21539 w 26923"/>
                <a:gd name="connsiteY3" fmla="*/ 0 h 83076"/>
                <a:gd name="connsiteX4" fmla="*/ 24615 w 26923"/>
                <a:gd name="connsiteY4" fmla="*/ 9231 h 83076"/>
                <a:gd name="connsiteX5" fmla="*/ 24615 w 26923"/>
                <a:gd name="connsiteY5" fmla="*/ 70769 h 83076"/>
                <a:gd name="connsiteX6" fmla="*/ 24615 w 26923"/>
                <a:gd name="connsiteY6" fmla="*/ 80000 h 83076"/>
                <a:gd name="connsiteX7" fmla="*/ 18462 w 26923"/>
                <a:gd name="connsiteY7" fmla="*/ 83077 h 8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923" h="83076">
                  <a:moveTo>
                    <a:pt x="18462" y="83077"/>
                  </a:moveTo>
                  <a:cubicBezTo>
                    <a:pt x="15384" y="83077"/>
                    <a:pt x="15384" y="83077"/>
                    <a:pt x="12308" y="80000"/>
                  </a:cubicBezTo>
                  <a:cubicBezTo>
                    <a:pt x="-15385" y="46154"/>
                    <a:pt x="12308" y="6154"/>
                    <a:pt x="12308" y="3077"/>
                  </a:cubicBezTo>
                  <a:cubicBezTo>
                    <a:pt x="15384" y="0"/>
                    <a:pt x="18462" y="0"/>
                    <a:pt x="21539" y="0"/>
                  </a:cubicBezTo>
                  <a:cubicBezTo>
                    <a:pt x="24615" y="3077"/>
                    <a:pt x="24615" y="6154"/>
                    <a:pt x="24615" y="9231"/>
                  </a:cubicBezTo>
                  <a:cubicBezTo>
                    <a:pt x="24615" y="9231"/>
                    <a:pt x="3077" y="43077"/>
                    <a:pt x="24615" y="70769"/>
                  </a:cubicBezTo>
                  <a:cubicBezTo>
                    <a:pt x="27692" y="73846"/>
                    <a:pt x="27692" y="76923"/>
                    <a:pt x="24615" y="80000"/>
                  </a:cubicBezTo>
                  <a:cubicBezTo>
                    <a:pt x="21539" y="80000"/>
                    <a:pt x="21539" y="83077"/>
                    <a:pt x="18462" y="83077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2DF9AA8D-8D8A-49B8-9CDF-901137986622}"/>
                </a:ext>
              </a:extLst>
            </p:cNvPr>
            <p:cNvSpPr/>
            <p:nvPr/>
          </p:nvSpPr>
          <p:spPr>
            <a:xfrm>
              <a:off x="6662689" y="9358852"/>
              <a:ext cx="120437" cy="142503"/>
            </a:xfrm>
            <a:custGeom>
              <a:avLst/>
              <a:gdLst>
                <a:gd name="connsiteX0" fmla="*/ 102746 w 120437"/>
                <a:gd name="connsiteY0" fmla="*/ 142504 h 142503"/>
                <a:gd name="connsiteX1" fmla="*/ 99669 w 120437"/>
                <a:gd name="connsiteY1" fmla="*/ 139427 h 142503"/>
                <a:gd name="connsiteX2" fmla="*/ 1207 w 120437"/>
                <a:gd name="connsiteY2" fmla="*/ 25581 h 142503"/>
                <a:gd name="connsiteX3" fmla="*/ 1207 w 120437"/>
                <a:gd name="connsiteY3" fmla="*/ 22504 h 142503"/>
                <a:gd name="connsiteX4" fmla="*/ 7361 w 120437"/>
                <a:gd name="connsiteY4" fmla="*/ 4042 h 142503"/>
                <a:gd name="connsiteX5" fmla="*/ 50438 w 120437"/>
                <a:gd name="connsiteY5" fmla="*/ 10196 h 142503"/>
                <a:gd name="connsiteX6" fmla="*/ 118130 w 120437"/>
                <a:gd name="connsiteY6" fmla="*/ 62504 h 142503"/>
                <a:gd name="connsiteX7" fmla="*/ 118130 w 120437"/>
                <a:gd name="connsiteY7" fmla="*/ 71735 h 142503"/>
                <a:gd name="connsiteX8" fmla="*/ 108899 w 120437"/>
                <a:gd name="connsiteY8" fmla="*/ 71735 h 142503"/>
                <a:gd name="connsiteX9" fmla="*/ 44284 w 120437"/>
                <a:gd name="connsiteY9" fmla="*/ 19427 h 142503"/>
                <a:gd name="connsiteX10" fmla="*/ 13515 w 120437"/>
                <a:gd name="connsiteY10" fmla="*/ 13273 h 142503"/>
                <a:gd name="connsiteX11" fmla="*/ 10438 w 120437"/>
                <a:gd name="connsiteY11" fmla="*/ 16350 h 142503"/>
                <a:gd name="connsiteX12" fmla="*/ 105823 w 120437"/>
                <a:gd name="connsiteY12" fmla="*/ 130196 h 142503"/>
                <a:gd name="connsiteX13" fmla="*/ 105823 w 120437"/>
                <a:gd name="connsiteY13" fmla="*/ 139427 h 142503"/>
                <a:gd name="connsiteX14" fmla="*/ 102746 w 120437"/>
                <a:gd name="connsiteY14" fmla="*/ 142504 h 14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0437" h="142503">
                  <a:moveTo>
                    <a:pt x="102746" y="142504"/>
                  </a:moveTo>
                  <a:cubicBezTo>
                    <a:pt x="102746" y="142504"/>
                    <a:pt x="99669" y="142504"/>
                    <a:pt x="99669" y="139427"/>
                  </a:cubicBezTo>
                  <a:cubicBezTo>
                    <a:pt x="65823" y="105581"/>
                    <a:pt x="4284" y="28657"/>
                    <a:pt x="1207" y="25581"/>
                  </a:cubicBezTo>
                  <a:cubicBezTo>
                    <a:pt x="1207" y="25581"/>
                    <a:pt x="1207" y="25581"/>
                    <a:pt x="1207" y="22504"/>
                  </a:cubicBezTo>
                  <a:cubicBezTo>
                    <a:pt x="-1870" y="16350"/>
                    <a:pt x="1207" y="10196"/>
                    <a:pt x="7361" y="4042"/>
                  </a:cubicBezTo>
                  <a:cubicBezTo>
                    <a:pt x="16592" y="-2112"/>
                    <a:pt x="35053" y="-2112"/>
                    <a:pt x="50438" y="10196"/>
                  </a:cubicBezTo>
                  <a:cubicBezTo>
                    <a:pt x="78130" y="28657"/>
                    <a:pt x="115053" y="62504"/>
                    <a:pt x="118130" y="62504"/>
                  </a:cubicBezTo>
                  <a:cubicBezTo>
                    <a:pt x="121207" y="65581"/>
                    <a:pt x="121207" y="68658"/>
                    <a:pt x="118130" y="71735"/>
                  </a:cubicBezTo>
                  <a:cubicBezTo>
                    <a:pt x="115053" y="74811"/>
                    <a:pt x="111976" y="74811"/>
                    <a:pt x="108899" y="71735"/>
                  </a:cubicBezTo>
                  <a:cubicBezTo>
                    <a:pt x="108899" y="71735"/>
                    <a:pt x="68900" y="37888"/>
                    <a:pt x="44284" y="19427"/>
                  </a:cubicBezTo>
                  <a:cubicBezTo>
                    <a:pt x="28900" y="10196"/>
                    <a:pt x="19669" y="10196"/>
                    <a:pt x="13515" y="13273"/>
                  </a:cubicBezTo>
                  <a:cubicBezTo>
                    <a:pt x="13515" y="13273"/>
                    <a:pt x="10438" y="16350"/>
                    <a:pt x="10438" y="16350"/>
                  </a:cubicBezTo>
                  <a:cubicBezTo>
                    <a:pt x="16592" y="25581"/>
                    <a:pt x="75053" y="99427"/>
                    <a:pt x="105823" y="130196"/>
                  </a:cubicBezTo>
                  <a:cubicBezTo>
                    <a:pt x="108899" y="133273"/>
                    <a:pt x="108899" y="136350"/>
                    <a:pt x="105823" y="139427"/>
                  </a:cubicBezTo>
                  <a:cubicBezTo>
                    <a:pt x="105823" y="142504"/>
                    <a:pt x="105823" y="142504"/>
                    <a:pt x="102746" y="142504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DE58C5D7-CBC3-431A-9C53-017D59EA7452}"/>
                </a:ext>
              </a:extLst>
            </p:cNvPr>
            <p:cNvSpPr/>
            <p:nvPr/>
          </p:nvSpPr>
          <p:spPr>
            <a:xfrm>
              <a:off x="6866973" y="9140663"/>
              <a:ext cx="1171501" cy="1145309"/>
            </a:xfrm>
            <a:custGeom>
              <a:avLst/>
              <a:gdLst>
                <a:gd name="connsiteX0" fmla="*/ 1098461 w 1171501"/>
                <a:gd name="connsiteY0" fmla="*/ 6847 h 1145309"/>
                <a:gd name="connsiteX1" fmla="*/ 741539 w 1171501"/>
                <a:gd name="connsiteY1" fmla="*/ 360694 h 1145309"/>
                <a:gd name="connsiteX2" fmla="*/ 544615 w 1171501"/>
                <a:gd name="connsiteY2" fmla="*/ 816078 h 1145309"/>
                <a:gd name="connsiteX3" fmla="*/ 144615 w 1171501"/>
                <a:gd name="connsiteY3" fmla="*/ 440693 h 1145309"/>
                <a:gd name="connsiteX4" fmla="*/ 0 w 1171501"/>
                <a:gd name="connsiteY4" fmla="*/ 603770 h 1145309"/>
                <a:gd name="connsiteX5" fmla="*/ 560000 w 1171501"/>
                <a:gd name="connsiteY5" fmla="*/ 1145309 h 1145309"/>
                <a:gd name="connsiteX6" fmla="*/ 1098461 w 1171501"/>
                <a:gd name="connsiteY6" fmla="*/ 6847 h 1145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71501" h="1145309">
                  <a:moveTo>
                    <a:pt x="1098461" y="6847"/>
                  </a:moveTo>
                  <a:cubicBezTo>
                    <a:pt x="972308" y="-48537"/>
                    <a:pt x="806154" y="246847"/>
                    <a:pt x="741539" y="360694"/>
                  </a:cubicBezTo>
                  <a:cubicBezTo>
                    <a:pt x="683077" y="462232"/>
                    <a:pt x="544615" y="816078"/>
                    <a:pt x="544615" y="816078"/>
                  </a:cubicBezTo>
                  <a:lnTo>
                    <a:pt x="144615" y="440693"/>
                  </a:lnTo>
                  <a:lnTo>
                    <a:pt x="0" y="603770"/>
                  </a:lnTo>
                  <a:cubicBezTo>
                    <a:pt x="0" y="603770"/>
                    <a:pt x="430769" y="1142232"/>
                    <a:pt x="560000" y="1145309"/>
                  </a:cubicBezTo>
                  <a:cubicBezTo>
                    <a:pt x="778462" y="1145309"/>
                    <a:pt x="1378462" y="129924"/>
                    <a:pt x="1098461" y="6847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" name="图形 1">
              <a:extLst>
                <a:ext uri="{FF2B5EF4-FFF2-40B4-BE49-F238E27FC236}">
                  <a16:creationId xmlns:a16="http://schemas.microsoft.com/office/drawing/2014/main" id="{8271CD02-BAAA-406F-9B94-09F327BE6690}"/>
                </a:ext>
              </a:extLst>
            </p:cNvPr>
            <p:cNvGrpSpPr/>
            <p:nvPr/>
          </p:nvGrpSpPr>
          <p:grpSpPr>
            <a:xfrm>
              <a:off x="7583897" y="12799817"/>
              <a:ext cx="500512" cy="344615"/>
              <a:chOff x="7583897" y="12799817"/>
              <a:chExt cx="500512" cy="344615"/>
            </a:xfrm>
          </p:grpSpPr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37FFD53E-EEFA-4786-8BB8-AD89D28E6A56}"/>
                  </a:ext>
                </a:extLst>
              </p:cNvPr>
              <p:cNvSpPr/>
              <p:nvPr/>
            </p:nvSpPr>
            <p:spPr>
              <a:xfrm>
                <a:off x="7882358" y="12799817"/>
                <a:ext cx="184615" cy="224615"/>
              </a:xfrm>
              <a:custGeom>
                <a:avLst/>
                <a:gdLst>
                  <a:gd name="connsiteX0" fmla="*/ 178462 w 184615"/>
                  <a:gd name="connsiteY0" fmla="*/ 187693 h 224615"/>
                  <a:gd name="connsiteX1" fmla="*/ 184615 w 184615"/>
                  <a:gd name="connsiteY1" fmla="*/ 0 h 224615"/>
                  <a:gd name="connsiteX2" fmla="*/ 0 w 184615"/>
                  <a:gd name="connsiteY2" fmla="*/ 0 h 224615"/>
                  <a:gd name="connsiteX3" fmla="*/ 15385 w 184615"/>
                  <a:gd name="connsiteY3" fmla="*/ 196924 h 224615"/>
                  <a:gd name="connsiteX4" fmla="*/ 166154 w 184615"/>
                  <a:gd name="connsiteY4" fmla="*/ 224616 h 22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615" h="224615">
                    <a:moveTo>
                      <a:pt x="178462" y="187693"/>
                    </a:moveTo>
                    <a:lnTo>
                      <a:pt x="184615" y="0"/>
                    </a:lnTo>
                    <a:lnTo>
                      <a:pt x="0" y="0"/>
                    </a:lnTo>
                    <a:lnTo>
                      <a:pt x="15385" y="196924"/>
                    </a:lnTo>
                    <a:lnTo>
                      <a:pt x="166154" y="224616"/>
                    </a:ln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8622E71D-0A38-4323-B2DF-D70869CEAF78}"/>
                  </a:ext>
                </a:extLst>
              </p:cNvPr>
              <p:cNvSpPr/>
              <p:nvPr/>
            </p:nvSpPr>
            <p:spPr>
              <a:xfrm>
                <a:off x="7583897" y="12941356"/>
                <a:ext cx="500512" cy="160000"/>
              </a:xfrm>
              <a:custGeom>
                <a:avLst/>
                <a:gdLst>
                  <a:gd name="connsiteX0" fmla="*/ 492308 w 500512"/>
                  <a:gd name="connsiteY0" fmla="*/ 46154 h 160000"/>
                  <a:gd name="connsiteX1" fmla="*/ 304615 w 500512"/>
                  <a:gd name="connsiteY1" fmla="*/ 0 h 160000"/>
                  <a:gd name="connsiteX2" fmla="*/ 169231 w 500512"/>
                  <a:gd name="connsiteY2" fmla="*/ 80000 h 160000"/>
                  <a:gd name="connsiteX3" fmla="*/ 0 w 500512"/>
                  <a:gd name="connsiteY3" fmla="*/ 160000 h 160000"/>
                  <a:gd name="connsiteX4" fmla="*/ 492308 w 500512"/>
                  <a:gd name="connsiteY4" fmla="*/ 160000 h 160000"/>
                  <a:gd name="connsiteX5" fmla="*/ 492308 w 500512"/>
                  <a:gd name="connsiteY5" fmla="*/ 46154 h 1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512" h="160000">
                    <a:moveTo>
                      <a:pt x="492308" y="46154"/>
                    </a:moveTo>
                    <a:cubicBezTo>
                      <a:pt x="492308" y="46154"/>
                      <a:pt x="366154" y="64616"/>
                      <a:pt x="304615" y="0"/>
                    </a:cubicBezTo>
                    <a:cubicBezTo>
                      <a:pt x="304615" y="0"/>
                      <a:pt x="215385" y="70770"/>
                      <a:pt x="169231" y="80000"/>
                    </a:cubicBezTo>
                    <a:cubicBezTo>
                      <a:pt x="123077" y="89231"/>
                      <a:pt x="12308" y="86154"/>
                      <a:pt x="0" y="160000"/>
                    </a:cubicBezTo>
                    <a:lnTo>
                      <a:pt x="492308" y="160000"/>
                    </a:lnTo>
                    <a:cubicBezTo>
                      <a:pt x="492308" y="156923"/>
                      <a:pt x="510769" y="95385"/>
                      <a:pt x="492308" y="46154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D1F92A81-1E7E-4D2E-A1EB-2AC2D7295B68}"/>
                  </a:ext>
                </a:extLst>
              </p:cNvPr>
              <p:cNvSpPr/>
              <p:nvPr/>
            </p:nvSpPr>
            <p:spPr>
              <a:xfrm>
                <a:off x="7583897" y="13098279"/>
                <a:ext cx="492307" cy="46153"/>
              </a:xfrm>
              <a:custGeom>
                <a:avLst/>
                <a:gdLst>
                  <a:gd name="connsiteX0" fmla="*/ 0 w 492307"/>
                  <a:gd name="connsiteY0" fmla="*/ 0 h 46153"/>
                  <a:gd name="connsiteX1" fmla="*/ 492308 w 492307"/>
                  <a:gd name="connsiteY1" fmla="*/ 0 h 46153"/>
                  <a:gd name="connsiteX2" fmla="*/ 492308 w 492307"/>
                  <a:gd name="connsiteY2" fmla="*/ 46154 h 46153"/>
                  <a:gd name="connsiteX3" fmla="*/ 0 w 492307"/>
                  <a:gd name="connsiteY3" fmla="*/ 46154 h 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307" h="46153">
                    <a:moveTo>
                      <a:pt x="0" y="0"/>
                    </a:moveTo>
                    <a:lnTo>
                      <a:pt x="492308" y="0"/>
                    </a:lnTo>
                    <a:lnTo>
                      <a:pt x="492308" y="46154"/>
                    </a:lnTo>
                    <a:lnTo>
                      <a:pt x="0" y="46154"/>
                    </a:lnTo>
                    <a:close/>
                  </a:path>
                </a:pathLst>
              </a:custGeom>
              <a:solidFill>
                <a:srgbClr val="38333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FFE686E3-5402-4E43-BE24-D9FC800D3348}"/>
                  </a:ext>
                </a:extLst>
              </p:cNvPr>
              <p:cNvSpPr/>
              <p:nvPr/>
            </p:nvSpPr>
            <p:spPr>
              <a:xfrm>
                <a:off x="7880050" y="12929818"/>
                <a:ext cx="202307" cy="63846"/>
              </a:xfrm>
              <a:custGeom>
                <a:avLst/>
                <a:gdLst>
                  <a:gd name="connsiteX0" fmla="*/ 159231 w 202307"/>
                  <a:gd name="connsiteY0" fmla="*/ 63846 h 63846"/>
                  <a:gd name="connsiteX1" fmla="*/ 2308 w 202307"/>
                  <a:gd name="connsiteY1" fmla="*/ 11538 h 63846"/>
                  <a:gd name="connsiteX2" fmla="*/ 2308 w 202307"/>
                  <a:gd name="connsiteY2" fmla="*/ 2308 h 63846"/>
                  <a:gd name="connsiteX3" fmla="*/ 11539 w 202307"/>
                  <a:gd name="connsiteY3" fmla="*/ 2308 h 63846"/>
                  <a:gd name="connsiteX4" fmla="*/ 196154 w 202307"/>
                  <a:gd name="connsiteY4" fmla="*/ 48462 h 63846"/>
                  <a:gd name="connsiteX5" fmla="*/ 202308 w 202307"/>
                  <a:gd name="connsiteY5" fmla="*/ 54615 h 63846"/>
                  <a:gd name="connsiteX6" fmla="*/ 196154 w 202307"/>
                  <a:gd name="connsiteY6" fmla="*/ 60769 h 63846"/>
                  <a:gd name="connsiteX7" fmla="*/ 159231 w 202307"/>
                  <a:gd name="connsiteY7" fmla="*/ 63846 h 6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307" h="63846">
                    <a:moveTo>
                      <a:pt x="159231" y="63846"/>
                    </a:moveTo>
                    <a:cubicBezTo>
                      <a:pt x="119231" y="63846"/>
                      <a:pt x="51539" y="57692"/>
                      <a:pt x="2308" y="11538"/>
                    </a:cubicBezTo>
                    <a:cubicBezTo>
                      <a:pt x="-769" y="8461"/>
                      <a:pt x="-769" y="5385"/>
                      <a:pt x="2308" y="2308"/>
                    </a:cubicBezTo>
                    <a:cubicBezTo>
                      <a:pt x="5385" y="-769"/>
                      <a:pt x="8462" y="-769"/>
                      <a:pt x="11539" y="2308"/>
                    </a:cubicBezTo>
                    <a:cubicBezTo>
                      <a:pt x="79231" y="63846"/>
                      <a:pt x="193077" y="48462"/>
                      <a:pt x="196154" y="48462"/>
                    </a:cubicBezTo>
                    <a:cubicBezTo>
                      <a:pt x="199231" y="48462"/>
                      <a:pt x="202308" y="51539"/>
                      <a:pt x="202308" y="54615"/>
                    </a:cubicBezTo>
                    <a:cubicBezTo>
                      <a:pt x="202308" y="57692"/>
                      <a:pt x="199231" y="60769"/>
                      <a:pt x="196154" y="60769"/>
                    </a:cubicBezTo>
                    <a:cubicBezTo>
                      <a:pt x="196154" y="60769"/>
                      <a:pt x="180769" y="63846"/>
                      <a:pt x="159231" y="6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5FC13316-A3F5-4CC2-A4FF-A746DC258CD4}"/>
                  </a:ext>
                </a:extLst>
              </p:cNvPr>
              <p:cNvSpPr/>
              <p:nvPr/>
            </p:nvSpPr>
            <p:spPr>
              <a:xfrm>
                <a:off x="7846204" y="12957510"/>
                <a:ext cx="41538" cy="42307"/>
              </a:xfrm>
              <a:custGeom>
                <a:avLst/>
                <a:gdLst>
                  <a:gd name="connsiteX0" fmla="*/ 33077 w 41538"/>
                  <a:gd name="connsiteY0" fmla="*/ 42307 h 42307"/>
                  <a:gd name="connsiteX1" fmla="*/ 30000 w 41538"/>
                  <a:gd name="connsiteY1" fmla="*/ 39231 h 42307"/>
                  <a:gd name="connsiteX2" fmla="*/ 2307 w 41538"/>
                  <a:gd name="connsiteY2" fmla="*/ 11538 h 42307"/>
                  <a:gd name="connsiteX3" fmla="*/ 2307 w 41538"/>
                  <a:gd name="connsiteY3" fmla="*/ 2308 h 42307"/>
                  <a:gd name="connsiteX4" fmla="*/ 11538 w 41538"/>
                  <a:gd name="connsiteY4" fmla="*/ 2308 h 42307"/>
                  <a:gd name="connsiteX5" fmla="*/ 39231 w 41538"/>
                  <a:gd name="connsiteY5" fmla="*/ 30000 h 42307"/>
                  <a:gd name="connsiteX6" fmla="*/ 39231 w 41538"/>
                  <a:gd name="connsiteY6" fmla="*/ 39231 h 42307"/>
                  <a:gd name="connsiteX7" fmla="*/ 33077 w 41538"/>
                  <a:gd name="connsiteY7" fmla="*/ 42307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8" h="42307">
                    <a:moveTo>
                      <a:pt x="33077" y="42307"/>
                    </a:moveTo>
                    <a:cubicBezTo>
                      <a:pt x="33077" y="42307"/>
                      <a:pt x="30000" y="42307"/>
                      <a:pt x="30000" y="39231"/>
                    </a:cubicBezTo>
                    <a:lnTo>
                      <a:pt x="2307" y="11538"/>
                    </a:lnTo>
                    <a:cubicBezTo>
                      <a:pt x="-769" y="8462"/>
                      <a:pt x="-769" y="5385"/>
                      <a:pt x="2307" y="2308"/>
                    </a:cubicBezTo>
                    <a:cubicBezTo>
                      <a:pt x="5385" y="-769"/>
                      <a:pt x="8462" y="-769"/>
                      <a:pt x="11538" y="2308"/>
                    </a:cubicBezTo>
                    <a:lnTo>
                      <a:pt x="39231" y="30000"/>
                    </a:lnTo>
                    <a:cubicBezTo>
                      <a:pt x="42308" y="33077"/>
                      <a:pt x="42308" y="36154"/>
                      <a:pt x="39231" y="39231"/>
                    </a:cubicBezTo>
                    <a:cubicBezTo>
                      <a:pt x="36154" y="39231"/>
                      <a:pt x="33077" y="42307"/>
                      <a:pt x="33077" y="423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6F0869D9-67F4-42F2-94A6-50DE08C7107B}"/>
                  </a:ext>
                </a:extLst>
              </p:cNvPr>
              <p:cNvSpPr/>
              <p:nvPr/>
            </p:nvSpPr>
            <p:spPr>
              <a:xfrm>
                <a:off x="7809281" y="12982125"/>
                <a:ext cx="38461" cy="42307"/>
              </a:xfrm>
              <a:custGeom>
                <a:avLst/>
                <a:gdLst>
                  <a:gd name="connsiteX0" fmla="*/ 30000 w 38461"/>
                  <a:gd name="connsiteY0" fmla="*/ 42308 h 42307"/>
                  <a:gd name="connsiteX1" fmla="*/ 26923 w 38461"/>
                  <a:gd name="connsiteY1" fmla="*/ 39231 h 42307"/>
                  <a:gd name="connsiteX2" fmla="*/ 2307 w 38461"/>
                  <a:gd name="connsiteY2" fmla="*/ 11538 h 42307"/>
                  <a:gd name="connsiteX3" fmla="*/ 2307 w 38461"/>
                  <a:gd name="connsiteY3" fmla="*/ 2307 h 42307"/>
                  <a:gd name="connsiteX4" fmla="*/ 11538 w 38461"/>
                  <a:gd name="connsiteY4" fmla="*/ 2307 h 42307"/>
                  <a:gd name="connsiteX5" fmla="*/ 36154 w 38461"/>
                  <a:gd name="connsiteY5" fmla="*/ 30000 h 42307"/>
                  <a:gd name="connsiteX6" fmla="*/ 36154 w 38461"/>
                  <a:gd name="connsiteY6" fmla="*/ 39231 h 42307"/>
                  <a:gd name="connsiteX7" fmla="*/ 30000 w 38461"/>
                  <a:gd name="connsiteY7" fmla="*/ 42308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1" h="42307">
                    <a:moveTo>
                      <a:pt x="30000" y="42308"/>
                    </a:moveTo>
                    <a:cubicBezTo>
                      <a:pt x="30000" y="42308"/>
                      <a:pt x="26923" y="42308"/>
                      <a:pt x="26923" y="39231"/>
                    </a:cubicBezTo>
                    <a:lnTo>
                      <a:pt x="2307" y="11538"/>
                    </a:lnTo>
                    <a:cubicBezTo>
                      <a:pt x="-769" y="8461"/>
                      <a:pt x="-769" y="5384"/>
                      <a:pt x="2307" y="2307"/>
                    </a:cubicBezTo>
                    <a:cubicBezTo>
                      <a:pt x="5385" y="-769"/>
                      <a:pt x="8461" y="-769"/>
                      <a:pt x="11538" y="2307"/>
                    </a:cubicBezTo>
                    <a:lnTo>
                      <a:pt x="36154" y="30000"/>
                    </a:lnTo>
                    <a:cubicBezTo>
                      <a:pt x="39230" y="33076"/>
                      <a:pt x="39230" y="36153"/>
                      <a:pt x="36154" y="39231"/>
                    </a:cubicBezTo>
                    <a:cubicBezTo>
                      <a:pt x="33077" y="42308"/>
                      <a:pt x="33077" y="42308"/>
                      <a:pt x="30000" y="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图形 1">
              <a:extLst>
                <a:ext uri="{FF2B5EF4-FFF2-40B4-BE49-F238E27FC236}">
                  <a16:creationId xmlns:a16="http://schemas.microsoft.com/office/drawing/2014/main" id="{45351A27-C599-4628-BF90-68AF04B1CF25}"/>
                </a:ext>
              </a:extLst>
            </p:cNvPr>
            <p:cNvGrpSpPr/>
            <p:nvPr/>
          </p:nvGrpSpPr>
          <p:grpSpPr>
            <a:xfrm>
              <a:off x="8303896" y="12799817"/>
              <a:ext cx="500512" cy="344615"/>
              <a:chOff x="8303896" y="12799817"/>
              <a:chExt cx="500512" cy="344615"/>
            </a:xfrm>
          </p:grpSpPr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62CA798B-2BA7-4E35-8F6D-9B0196BA7F4C}"/>
                  </a:ext>
                </a:extLst>
              </p:cNvPr>
              <p:cNvSpPr/>
              <p:nvPr/>
            </p:nvSpPr>
            <p:spPr>
              <a:xfrm>
                <a:off x="8614666" y="12799817"/>
                <a:ext cx="184615" cy="224615"/>
              </a:xfrm>
              <a:custGeom>
                <a:avLst/>
                <a:gdLst>
                  <a:gd name="connsiteX0" fmla="*/ 166154 w 184615"/>
                  <a:gd name="connsiteY0" fmla="*/ 187693 h 224615"/>
                  <a:gd name="connsiteX1" fmla="*/ 184615 w 184615"/>
                  <a:gd name="connsiteY1" fmla="*/ 0 h 224615"/>
                  <a:gd name="connsiteX2" fmla="*/ 0 w 184615"/>
                  <a:gd name="connsiteY2" fmla="*/ 0 h 224615"/>
                  <a:gd name="connsiteX3" fmla="*/ 0 w 184615"/>
                  <a:gd name="connsiteY3" fmla="*/ 196924 h 224615"/>
                  <a:gd name="connsiteX4" fmla="*/ 153846 w 184615"/>
                  <a:gd name="connsiteY4" fmla="*/ 224616 h 22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615" h="224615">
                    <a:moveTo>
                      <a:pt x="166154" y="187693"/>
                    </a:moveTo>
                    <a:lnTo>
                      <a:pt x="184615" y="0"/>
                    </a:lnTo>
                    <a:lnTo>
                      <a:pt x="0" y="0"/>
                    </a:lnTo>
                    <a:lnTo>
                      <a:pt x="0" y="196924"/>
                    </a:lnTo>
                    <a:lnTo>
                      <a:pt x="153846" y="224616"/>
                    </a:ln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AA7CF4A9-CE49-48A1-A7AC-89F03ACDA21A}"/>
                  </a:ext>
                </a:extLst>
              </p:cNvPr>
              <p:cNvSpPr/>
              <p:nvPr/>
            </p:nvSpPr>
            <p:spPr>
              <a:xfrm>
                <a:off x="8303896" y="12941356"/>
                <a:ext cx="500512" cy="160000"/>
              </a:xfrm>
              <a:custGeom>
                <a:avLst/>
                <a:gdLst>
                  <a:gd name="connsiteX0" fmla="*/ 492308 w 500512"/>
                  <a:gd name="connsiteY0" fmla="*/ 46154 h 160000"/>
                  <a:gd name="connsiteX1" fmla="*/ 304616 w 500512"/>
                  <a:gd name="connsiteY1" fmla="*/ 0 h 160000"/>
                  <a:gd name="connsiteX2" fmla="*/ 169231 w 500512"/>
                  <a:gd name="connsiteY2" fmla="*/ 80000 h 160000"/>
                  <a:gd name="connsiteX3" fmla="*/ 0 w 500512"/>
                  <a:gd name="connsiteY3" fmla="*/ 160000 h 160000"/>
                  <a:gd name="connsiteX4" fmla="*/ 492308 w 500512"/>
                  <a:gd name="connsiteY4" fmla="*/ 160000 h 160000"/>
                  <a:gd name="connsiteX5" fmla="*/ 492308 w 500512"/>
                  <a:gd name="connsiteY5" fmla="*/ 46154 h 1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512" h="160000">
                    <a:moveTo>
                      <a:pt x="492308" y="46154"/>
                    </a:moveTo>
                    <a:cubicBezTo>
                      <a:pt x="492308" y="46154"/>
                      <a:pt x="366154" y="64616"/>
                      <a:pt x="304616" y="0"/>
                    </a:cubicBezTo>
                    <a:cubicBezTo>
                      <a:pt x="304616" y="0"/>
                      <a:pt x="215385" y="70770"/>
                      <a:pt x="169231" y="80000"/>
                    </a:cubicBezTo>
                    <a:cubicBezTo>
                      <a:pt x="123077" y="89231"/>
                      <a:pt x="12308" y="86154"/>
                      <a:pt x="0" y="160000"/>
                    </a:cubicBezTo>
                    <a:lnTo>
                      <a:pt x="492308" y="160000"/>
                    </a:lnTo>
                    <a:cubicBezTo>
                      <a:pt x="492308" y="156923"/>
                      <a:pt x="510769" y="95385"/>
                      <a:pt x="492308" y="46154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225DB6EA-7BB4-4B7C-BE12-0959C0DB29AD}"/>
                  </a:ext>
                </a:extLst>
              </p:cNvPr>
              <p:cNvSpPr/>
              <p:nvPr/>
            </p:nvSpPr>
            <p:spPr>
              <a:xfrm>
                <a:off x="8303897" y="13098279"/>
                <a:ext cx="492307" cy="46153"/>
              </a:xfrm>
              <a:custGeom>
                <a:avLst/>
                <a:gdLst>
                  <a:gd name="connsiteX0" fmla="*/ 0 w 492307"/>
                  <a:gd name="connsiteY0" fmla="*/ 0 h 46153"/>
                  <a:gd name="connsiteX1" fmla="*/ 492308 w 492307"/>
                  <a:gd name="connsiteY1" fmla="*/ 0 h 46153"/>
                  <a:gd name="connsiteX2" fmla="*/ 492308 w 492307"/>
                  <a:gd name="connsiteY2" fmla="*/ 46154 h 46153"/>
                  <a:gd name="connsiteX3" fmla="*/ 0 w 492307"/>
                  <a:gd name="connsiteY3" fmla="*/ 46154 h 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307" h="46153">
                    <a:moveTo>
                      <a:pt x="0" y="0"/>
                    </a:moveTo>
                    <a:lnTo>
                      <a:pt x="492308" y="0"/>
                    </a:lnTo>
                    <a:lnTo>
                      <a:pt x="492308" y="46154"/>
                    </a:lnTo>
                    <a:lnTo>
                      <a:pt x="0" y="46154"/>
                    </a:lnTo>
                    <a:close/>
                  </a:path>
                </a:pathLst>
              </a:custGeom>
              <a:solidFill>
                <a:srgbClr val="38333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DCB2D3FC-C433-4C09-90B9-CBDE9A3AD702}"/>
                  </a:ext>
                </a:extLst>
              </p:cNvPr>
              <p:cNvSpPr/>
              <p:nvPr/>
            </p:nvSpPr>
            <p:spPr>
              <a:xfrm>
                <a:off x="8600050" y="12929818"/>
                <a:ext cx="202307" cy="63846"/>
              </a:xfrm>
              <a:custGeom>
                <a:avLst/>
                <a:gdLst>
                  <a:gd name="connsiteX0" fmla="*/ 159231 w 202307"/>
                  <a:gd name="connsiteY0" fmla="*/ 63846 h 63846"/>
                  <a:gd name="connsiteX1" fmla="*/ 2307 w 202307"/>
                  <a:gd name="connsiteY1" fmla="*/ 11538 h 63846"/>
                  <a:gd name="connsiteX2" fmla="*/ 2307 w 202307"/>
                  <a:gd name="connsiteY2" fmla="*/ 2308 h 63846"/>
                  <a:gd name="connsiteX3" fmla="*/ 11538 w 202307"/>
                  <a:gd name="connsiteY3" fmla="*/ 2308 h 63846"/>
                  <a:gd name="connsiteX4" fmla="*/ 196154 w 202307"/>
                  <a:gd name="connsiteY4" fmla="*/ 48462 h 63846"/>
                  <a:gd name="connsiteX5" fmla="*/ 202307 w 202307"/>
                  <a:gd name="connsiteY5" fmla="*/ 54615 h 63846"/>
                  <a:gd name="connsiteX6" fmla="*/ 196154 w 202307"/>
                  <a:gd name="connsiteY6" fmla="*/ 60769 h 63846"/>
                  <a:gd name="connsiteX7" fmla="*/ 159231 w 202307"/>
                  <a:gd name="connsiteY7" fmla="*/ 63846 h 6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307" h="63846">
                    <a:moveTo>
                      <a:pt x="159231" y="63846"/>
                    </a:moveTo>
                    <a:cubicBezTo>
                      <a:pt x="119231" y="63846"/>
                      <a:pt x="51538" y="57692"/>
                      <a:pt x="2307" y="11538"/>
                    </a:cubicBezTo>
                    <a:cubicBezTo>
                      <a:pt x="-769" y="8461"/>
                      <a:pt x="-769" y="5385"/>
                      <a:pt x="2307" y="2308"/>
                    </a:cubicBezTo>
                    <a:cubicBezTo>
                      <a:pt x="5385" y="-769"/>
                      <a:pt x="8462" y="-769"/>
                      <a:pt x="11538" y="2308"/>
                    </a:cubicBezTo>
                    <a:cubicBezTo>
                      <a:pt x="79231" y="63846"/>
                      <a:pt x="193077" y="48462"/>
                      <a:pt x="196154" y="48462"/>
                    </a:cubicBezTo>
                    <a:cubicBezTo>
                      <a:pt x="199231" y="48462"/>
                      <a:pt x="202307" y="51539"/>
                      <a:pt x="202307" y="54615"/>
                    </a:cubicBezTo>
                    <a:cubicBezTo>
                      <a:pt x="202307" y="57692"/>
                      <a:pt x="199231" y="60769"/>
                      <a:pt x="196154" y="60769"/>
                    </a:cubicBezTo>
                    <a:cubicBezTo>
                      <a:pt x="193077" y="60769"/>
                      <a:pt x="180769" y="63846"/>
                      <a:pt x="159231" y="6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72542C5A-EA09-4FFF-BC79-CEEE75E38007}"/>
                  </a:ext>
                </a:extLst>
              </p:cNvPr>
              <p:cNvSpPr/>
              <p:nvPr/>
            </p:nvSpPr>
            <p:spPr>
              <a:xfrm>
                <a:off x="8566204" y="12957510"/>
                <a:ext cx="38461" cy="42307"/>
              </a:xfrm>
              <a:custGeom>
                <a:avLst/>
                <a:gdLst>
                  <a:gd name="connsiteX0" fmla="*/ 30000 w 38461"/>
                  <a:gd name="connsiteY0" fmla="*/ 42307 h 42307"/>
                  <a:gd name="connsiteX1" fmla="*/ 26923 w 38461"/>
                  <a:gd name="connsiteY1" fmla="*/ 39231 h 42307"/>
                  <a:gd name="connsiteX2" fmla="*/ 2308 w 38461"/>
                  <a:gd name="connsiteY2" fmla="*/ 11538 h 42307"/>
                  <a:gd name="connsiteX3" fmla="*/ 2308 w 38461"/>
                  <a:gd name="connsiteY3" fmla="*/ 2308 h 42307"/>
                  <a:gd name="connsiteX4" fmla="*/ 11539 w 38461"/>
                  <a:gd name="connsiteY4" fmla="*/ 2308 h 42307"/>
                  <a:gd name="connsiteX5" fmla="*/ 36154 w 38461"/>
                  <a:gd name="connsiteY5" fmla="*/ 30000 h 42307"/>
                  <a:gd name="connsiteX6" fmla="*/ 36154 w 38461"/>
                  <a:gd name="connsiteY6" fmla="*/ 39231 h 42307"/>
                  <a:gd name="connsiteX7" fmla="*/ 30000 w 38461"/>
                  <a:gd name="connsiteY7" fmla="*/ 42307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1" h="42307">
                    <a:moveTo>
                      <a:pt x="30000" y="42307"/>
                    </a:moveTo>
                    <a:cubicBezTo>
                      <a:pt x="30000" y="42307"/>
                      <a:pt x="26923" y="42307"/>
                      <a:pt x="26923" y="39231"/>
                    </a:cubicBezTo>
                    <a:lnTo>
                      <a:pt x="2308" y="11538"/>
                    </a:lnTo>
                    <a:cubicBezTo>
                      <a:pt x="-769" y="8462"/>
                      <a:pt x="-769" y="5385"/>
                      <a:pt x="2308" y="2308"/>
                    </a:cubicBezTo>
                    <a:cubicBezTo>
                      <a:pt x="5384" y="-769"/>
                      <a:pt x="8462" y="-769"/>
                      <a:pt x="11539" y="2308"/>
                    </a:cubicBezTo>
                    <a:lnTo>
                      <a:pt x="36154" y="30000"/>
                    </a:lnTo>
                    <a:cubicBezTo>
                      <a:pt x="39231" y="33077"/>
                      <a:pt x="39231" y="36154"/>
                      <a:pt x="36154" y="39231"/>
                    </a:cubicBezTo>
                    <a:cubicBezTo>
                      <a:pt x="33077" y="39231"/>
                      <a:pt x="33077" y="42307"/>
                      <a:pt x="30000" y="423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B1825D1E-7A7B-402E-9BB1-DC74DD2F2B4D}"/>
                  </a:ext>
                </a:extLst>
              </p:cNvPr>
              <p:cNvSpPr/>
              <p:nvPr/>
            </p:nvSpPr>
            <p:spPr>
              <a:xfrm>
                <a:off x="8526204" y="12982125"/>
                <a:ext cx="41538" cy="42307"/>
              </a:xfrm>
              <a:custGeom>
                <a:avLst/>
                <a:gdLst>
                  <a:gd name="connsiteX0" fmla="*/ 33077 w 41538"/>
                  <a:gd name="connsiteY0" fmla="*/ 42308 h 42307"/>
                  <a:gd name="connsiteX1" fmla="*/ 30000 w 41538"/>
                  <a:gd name="connsiteY1" fmla="*/ 39231 h 42307"/>
                  <a:gd name="connsiteX2" fmla="*/ 2308 w 41538"/>
                  <a:gd name="connsiteY2" fmla="*/ 11538 h 42307"/>
                  <a:gd name="connsiteX3" fmla="*/ 2308 w 41538"/>
                  <a:gd name="connsiteY3" fmla="*/ 2307 h 42307"/>
                  <a:gd name="connsiteX4" fmla="*/ 11539 w 41538"/>
                  <a:gd name="connsiteY4" fmla="*/ 2307 h 42307"/>
                  <a:gd name="connsiteX5" fmla="*/ 39231 w 41538"/>
                  <a:gd name="connsiteY5" fmla="*/ 30000 h 42307"/>
                  <a:gd name="connsiteX6" fmla="*/ 39231 w 41538"/>
                  <a:gd name="connsiteY6" fmla="*/ 39231 h 42307"/>
                  <a:gd name="connsiteX7" fmla="*/ 33077 w 41538"/>
                  <a:gd name="connsiteY7" fmla="*/ 42308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8" h="42307">
                    <a:moveTo>
                      <a:pt x="33077" y="42308"/>
                    </a:moveTo>
                    <a:cubicBezTo>
                      <a:pt x="33077" y="42308"/>
                      <a:pt x="30000" y="42308"/>
                      <a:pt x="30000" y="39231"/>
                    </a:cubicBezTo>
                    <a:lnTo>
                      <a:pt x="2308" y="11538"/>
                    </a:lnTo>
                    <a:cubicBezTo>
                      <a:pt x="-769" y="8461"/>
                      <a:pt x="-769" y="5384"/>
                      <a:pt x="2308" y="2307"/>
                    </a:cubicBezTo>
                    <a:cubicBezTo>
                      <a:pt x="5385" y="-769"/>
                      <a:pt x="8462" y="-769"/>
                      <a:pt x="11539" y="2307"/>
                    </a:cubicBezTo>
                    <a:lnTo>
                      <a:pt x="39231" y="30000"/>
                    </a:lnTo>
                    <a:cubicBezTo>
                      <a:pt x="42308" y="33076"/>
                      <a:pt x="42308" y="36153"/>
                      <a:pt x="39231" y="39231"/>
                    </a:cubicBezTo>
                    <a:cubicBezTo>
                      <a:pt x="36154" y="42308"/>
                      <a:pt x="33077" y="42308"/>
                      <a:pt x="33077" y="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10993482-F335-4227-B5A9-800FE206FF09}"/>
                </a:ext>
              </a:extLst>
            </p:cNvPr>
            <p:cNvSpPr/>
            <p:nvPr/>
          </p:nvSpPr>
          <p:spPr>
            <a:xfrm>
              <a:off x="7743512" y="10562895"/>
              <a:ext cx="1114807" cy="2316922"/>
            </a:xfrm>
            <a:custGeom>
              <a:avLst/>
              <a:gdLst>
                <a:gd name="connsiteX0" fmla="*/ 31154 w 1114807"/>
                <a:gd name="connsiteY0" fmla="*/ 21538 h 2316922"/>
                <a:gd name="connsiteX1" fmla="*/ 12692 w 1114807"/>
                <a:gd name="connsiteY1" fmla="*/ 1418462 h 2316922"/>
                <a:gd name="connsiteX2" fmla="*/ 83462 w 1114807"/>
                <a:gd name="connsiteY2" fmla="*/ 2316923 h 2316922"/>
                <a:gd name="connsiteX3" fmla="*/ 381923 w 1114807"/>
                <a:gd name="connsiteY3" fmla="*/ 2316923 h 2316922"/>
                <a:gd name="connsiteX4" fmla="*/ 421923 w 1114807"/>
                <a:gd name="connsiteY4" fmla="*/ 1443077 h 2316922"/>
                <a:gd name="connsiteX5" fmla="*/ 535769 w 1114807"/>
                <a:gd name="connsiteY5" fmla="*/ 507692 h 2316922"/>
                <a:gd name="connsiteX6" fmla="*/ 705000 w 1114807"/>
                <a:gd name="connsiteY6" fmla="*/ 1470769 h 2316922"/>
                <a:gd name="connsiteX7" fmla="*/ 821923 w 1114807"/>
                <a:gd name="connsiteY7" fmla="*/ 2295385 h 2316922"/>
                <a:gd name="connsiteX8" fmla="*/ 1111154 w 1114807"/>
                <a:gd name="connsiteY8" fmla="*/ 2304615 h 2316922"/>
                <a:gd name="connsiteX9" fmla="*/ 1111154 w 1114807"/>
                <a:gd name="connsiteY9" fmla="*/ 1452307 h 2316922"/>
                <a:gd name="connsiteX10" fmla="*/ 1068077 w 1114807"/>
                <a:gd name="connsiteY10" fmla="*/ 0 h 2316922"/>
                <a:gd name="connsiteX11" fmla="*/ 31154 w 1114807"/>
                <a:gd name="connsiteY11" fmla="*/ 21538 h 2316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14807" h="2316922">
                  <a:moveTo>
                    <a:pt x="31154" y="21538"/>
                  </a:moveTo>
                  <a:cubicBezTo>
                    <a:pt x="31154" y="21538"/>
                    <a:pt x="-24231" y="1104615"/>
                    <a:pt x="12692" y="1418462"/>
                  </a:cubicBezTo>
                  <a:cubicBezTo>
                    <a:pt x="43461" y="1692308"/>
                    <a:pt x="83462" y="2316923"/>
                    <a:pt x="83462" y="2316923"/>
                  </a:cubicBezTo>
                  <a:lnTo>
                    <a:pt x="381923" y="2316923"/>
                  </a:lnTo>
                  <a:cubicBezTo>
                    <a:pt x="381923" y="2316923"/>
                    <a:pt x="415769" y="1541539"/>
                    <a:pt x="421923" y="1443077"/>
                  </a:cubicBezTo>
                  <a:cubicBezTo>
                    <a:pt x="428077" y="1301538"/>
                    <a:pt x="520385" y="538462"/>
                    <a:pt x="535769" y="507692"/>
                  </a:cubicBezTo>
                  <a:cubicBezTo>
                    <a:pt x="551154" y="476923"/>
                    <a:pt x="705000" y="1470769"/>
                    <a:pt x="705000" y="1470769"/>
                  </a:cubicBezTo>
                  <a:lnTo>
                    <a:pt x="821923" y="2295385"/>
                  </a:lnTo>
                  <a:lnTo>
                    <a:pt x="1111154" y="2304615"/>
                  </a:lnTo>
                  <a:cubicBezTo>
                    <a:pt x="1111154" y="2304615"/>
                    <a:pt x="1105000" y="1553846"/>
                    <a:pt x="1111154" y="1452307"/>
                  </a:cubicBezTo>
                  <a:cubicBezTo>
                    <a:pt x="1120385" y="1298461"/>
                    <a:pt x="1114231" y="98461"/>
                    <a:pt x="1068077" y="0"/>
                  </a:cubicBezTo>
                  <a:cubicBezTo>
                    <a:pt x="357308" y="33846"/>
                    <a:pt x="31154" y="21538"/>
                    <a:pt x="31154" y="21538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A9965018-0D25-4300-A0EE-A6FAEEF9F101}"/>
                </a:ext>
              </a:extLst>
            </p:cNvPr>
            <p:cNvSpPr/>
            <p:nvPr/>
          </p:nvSpPr>
          <p:spPr>
            <a:xfrm>
              <a:off x="8211589" y="10713664"/>
              <a:ext cx="70769" cy="366153"/>
            </a:xfrm>
            <a:custGeom>
              <a:avLst/>
              <a:gdLst>
                <a:gd name="connsiteX0" fmla="*/ 64616 w 70769"/>
                <a:gd name="connsiteY0" fmla="*/ 366154 h 366153"/>
                <a:gd name="connsiteX1" fmla="*/ 58462 w 70769"/>
                <a:gd name="connsiteY1" fmla="*/ 363077 h 366153"/>
                <a:gd name="connsiteX2" fmla="*/ 0 w 70769"/>
                <a:gd name="connsiteY2" fmla="*/ 6154 h 366153"/>
                <a:gd name="connsiteX3" fmla="*/ 6154 w 70769"/>
                <a:gd name="connsiteY3" fmla="*/ 0 h 366153"/>
                <a:gd name="connsiteX4" fmla="*/ 12308 w 70769"/>
                <a:gd name="connsiteY4" fmla="*/ 6154 h 366153"/>
                <a:gd name="connsiteX5" fmla="*/ 70769 w 70769"/>
                <a:gd name="connsiteY5" fmla="*/ 360000 h 366153"/>
                <a:gd name="connsiteX6" fmla="*/ 64616 w 70769"/>
                <a:gd name="connsiteY6" fmla="*/ 366154 h 366153"/>
                <a:gd name="connsiteX7" fmla="*/ 64616 w 70769"/>
                <a:gd name="connsiteY7" fmla="*/ 366154 h 36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69" h="366153">
                  <a:moveTo>
                    <a:pt x="64616" y="366154"/>
                  </a:moveTo>
                  <a:cubicBezTo>
                    <a:pt x="61538" y="366154"/>
                    <a:pt x="61538" y="366154"/>
                    <a:pt x="58462" y="363077"/>
                  </a:cubicBezTo>
                  <a:cubicBezTo>
                    <a:pt x="9231" y="246154"/>
                    <a:pt x="0" y="15385"/>
                    <a:pt x="0" y="6154"/>
                  </a:cubicBezTo>
                  <a:cubicBezTo>
                    <a:pt x="0" y="3077"/>
                    <a:pt x="3077" y="0"/>
                    <a:pt x="6154" y="0"/>
                  </a:cubicBezTo>
                  <a:cubicBezTo>
                    <a:pt x="9231" y="0"/>
                    <a:pt x="12308" y="3077"/>
                    <a:pt x="12308" y="6154"/>
                  </a:cubicBezTo>
                  <a:cubicBezTo>
                    <a:pt x="12308" y="9230"/>
                    <a:pt x="21538" y="246154"/>
                    <a:pt x="70769" y="360000"/>
                  </a:cubicBezTo>
                  <a:cubicBezTo>
                    <a:pt x="70769" y="360000"/>
                    <a:pt x="67692" y="363077"/>
                    <a:pt x="64616" y="366154"/>
                  </a:cubicBezTo>
                  <a:cubicBezTo>
                    <a:pt x="64616" y="366154"/>
                    <a:pt x="64616" y="366154"/>
                    <a:pt x="64616" y="366154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AEBE4B11-666F-4510-88CD-1931255C85B9}"/>
                </a:ext>
              </a:extLst>
            </p:cNvPr>
            <p:cNvSpPr/>
            <p:nvPr/>
          </p:nvSpPr>
          <p:spPr>
            <a:xfrm>
              <a:off x="8097743" y="10642895"/>
              <a:ext cx="156923" cy="356922"/>
            </a:xfrm>
            <a:custGeom>
              <a:avLst/>
              <a:gdLst>
                <a:gd name="connsiteX0" fmla="*/ 147692 w 156923"/>
                <a:gd name="connsiteY0" fmla="*/ 356922 h 356922"/>
                <a:gd name="connsiteX1" fmla="*/ 144615 w 156923"/>
                <a:gd name="connsiteY1" fmla="*/ 356922 h 356922"/>
                <a:gd name="connsiteX2" fmla="*/ 33846 w 156923"/>
                <a:gd name="connsiteY2" fmla="*/ 276923 h 356922"/>
                <a:gd name="connsiteX3" fmla="*/ 0 w 156923"/>
                <a:gd name="connsiteY3" fmla="*/ 6153 h 356922"/>
                <a:gd name="connsiteX4" fmla="*/ 6154 w 156923"/>
                <a:gd name="connsiteY4" fmla="*/ 0 h 356922"/>
                <a:gd name="connsiteX5" fmla="*/ 12308 w 156923"/>
                <a:gd name="connsiteY5" fmla="*/ 6153 h 356922"/>
                <a:gd name="connsiteX6" fmla="*/ 46154 w 156923"/>
                <a:gd name="connsiteY6" fmla="*/ 270769 h 356922"/>
                <a:gd name="connsiteX7" fmla="*/ 153846 w 156923"/>
                <a:gd name="connsiteY7" fmla="*/ 347692 h 356922"/>
                <a:gd name="connsiteX8" fmla="*/ 156923 w 156923"/>
                <a:gd name="connsiteY8" fmla="*/ 356922 h 356922"/>
                <a:gd name="connsiteX9" fmla="*/ 147692 w 156923"/>
                <a:gd name="connsiteY9" fmla="*/ 356922 h 356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923" h="356922">
                  <a:moveTo>
                    <a:pt x="147692" y="356922"/>
                  </a:moveTo>
                  <a:cubicBezTo>
                    <a:pt x="147692" y="356922"/>
                    <a:pt x="144615" y="356922"/>
                    <a:pt x="144615" y="356922"/>
                  </a:cubicBezTo>
                  <a:cubicBezTo>
                    <a:pt x="135384" y="350769"/>
                    <a:pt x="46154" y="292308"/>
                    <a:pt x="33846" y="276923"/>
                  </a:cubicBezTo>
                  <a:cubicBezTo>
                    <a:pt x="21538" y="261538"/>
                    <a:pt x="3077" y="49230"/>
                    <a:pt x="0" y="6153"/>
                  </a:cubicBezTo>
                  <a:cubicBezTo>
                    <a:pt x="0" y="3076"/>
                    <a:pt x="3077" y="0"/>
                    <a:pt x="6154" y="0"/>
                  </a:cubicBezTo>
                  <a:cubicBezTo>
                    <a:pt x="9231" y="0"/>
                    <a:pt x="12308" y="3076"/>
                    <a:pt x="12308" y="6153"/>
                  </a:cubicBezTo>
                  <a:cubicBezTo>
                    <a:pt x="21538" y="101538"/>
                    <a:pt x="36923" y="258461"/>
                    <a:pt x="46154" y="270769"/>
                  </a:cubicBezTo>
                  <a:cubicBezTo>
                    <a:pt x="55385" y="279999"/>
                    <a:pt x="113846" y="323077"/>
                    <a:pt x="153846" y="347692"/>
                  </a:cubicBezTo>
                  <a:cubicBezTo>
                    <a:pt x="156923" y="350769"/>
                    <a:pt x="156923" y="353846"/>
                    <a:pt x="156923" y="356922"/>
                  </a:cubicBezTo>
                  <a:cubicBezTo>
                    <a:pt x="150769" y="356922"/>
                    <a:pt x="150769" y="356922"/>
                    <a:pt x="147692" y="356922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4F04D948-E5AA-499E-8B49-267913C8D663}"/>
                </a:ext>
              </a:extLst>
            </p:cNvPr>
            <p:cNvSpPr/>
            <p:nvPr/>
          </p:nvSpPr>
          <p:spPr>
            <a:xfrm>
              <a:off x="8162358" y="8876741"/>
              <a:ext cx="252307" cy="260625"/>
            </a:xfrm>
            <a:custGeom>
              <a:avLst/>
              <a:gdLst>
                <a:gd name="connsiteX0" fmla="*/ 0 w 252307"/>
                <a:gd name="connsiteY0" fmla="*/ 40000 h 260625"/>
                <a:gd name="connsiteX1" fmla="*/ 6154 w 252307"/>
                <a:gd name="connsiteY1" fmla="*/ 215385 h 260625"/>
                <a:gd name="connsiteX2" fmla="*/ 252308 w 252307"/>
                <a:gd name="connsiteY2" fmla="*/ 206154 h 260625"/>
                <a:gd name="connsiteX3" fmla="*/ 236923 w 252307"/>
                <a:gd name="connsiteY3" fmla="*/ 0 h 260625"/>
                <a:gd name="connsiteX4" fmla="*/ 0 w 252307"/>
                <a:gd name="connsiteY4" fmla="*/ 40000 h 26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307" h="260625">
                  <a:moveTo>
                    <a:pt x="0" y="40000"/>
                  </a:moveTo>
                  <a:cubicBezTo>
                    <a:pt x="0" y="40000"/>
                    <a:pt x="6154" y="141538"/>
                    <a:pt x="6154" y="215385"/>
                  </a:cubicBezTo>
                  <a:cubicBezTo>
                    <a:pt x="6154" y="215385"/>
                    <a:pt x="101538" y="323077"/>
                    <a:pt x="252308" y="206154"/>
                  </a:cubicBezTo>
                  <a:cubicBezTo>
                    <a:pt x="252308" y="144615"/>
                    <a:pt x="240000" y="64615"/>
                    <a:pt x="236923" y="0"/>
                  </a:cubicBezTo>
                  <a:cubicBezTo>
                    <a:pt x="240000" y="0"/>
                    <a:pt x="52308" y="52308"/>
                    <a:pt x="0" y="40000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110EB374-DE1E-40D7-8553-D662FCC349F5}"/>
                </a:ext>
              </a:extLst>
            </p:cNvPr>
            <p:cNvSpPr/>
            <p:nvPr/>
          </p:nvSpPr>
          <p:spPr>
            <a:xfrm>
              <a:off x="8436204" y="8756740"/>
              <a:ext cx="70769" cy="138461"/>
            </a:xfrm>
            <a:custGeom>
              <a:avLst/>
              <a:gdLst>
                <a:gd name="connsiteX0" fmla="*/ 70769 w 70769"/>
                <a:gd name="connsiteY0" fmla="*/ 0 h 138461"/>
                <a:gd name="connsiteX1" fmla="*/ 3077 w 70769"/>
                <a:gd name="connsiteY1" fmla="*/ 138462 h 138461"/>
                <a:gd name="connsiteX2" fmla="*/ 0 w 70769"/>
                <a:gd name="connsiteY2" fmla="*/ 52308 h 138461"/>
                <a:gd name="connsiteX3" fmla="*/ 70769 w 70769"/>
                <a:gd name="connsiteY3" fmla="*/ 0 h 1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769" h="138461">
                  <a:moveTo>
                    <a:pt x="70769" y="0"/>
                  </a:moveTo>
                  <a:cubicBezTo>
                    <a:pt x="70769" y="0"/>
                    <a:pt x="55385" y="120000"/>
                    <a:pt x="3077" y="138462"/>
                  </a:cubicBezTo>
                  <a:lnTo>
                    <a:pt x="0" y="52308"/>
                  </a:lnTo>
                  <a:lnTo>
                    <a:pt x="70769" y="0"/>
                  </a:lnTo>
                  <a:close/>
                </a:path>
              </a:pathLst>
            </a:custGeom>
            <a:solidFill>
              <a:srgbClr val="D3977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A3E91D47-2C25-421E-9443-09514F75FEE6}"/>
                </a:ext>
              </a:extLst>
            </p:cNvPr>
            <p:cNvSpPr/>
            <p:nvPr/>
          </p:nvSpPr>
          <p:spPr>
            <a:xfrm>
              <a:off x="8043847" y="8544433"/>
              <a:ext cx="103582" cy="240012"/>
            </a:xfrm>
            <a:custGeom>
              <a:avLst/>
              <a:gdLst>
                <a:gd name="connsiteX0" fmla="*/ 7742 w 103582"/>
                <a:gd name="connsiteY0" fmla="*/ 0 h 240012"/>
                <a:gd name="connsiteX1" fmla="*/ 47742 w 103582"/>
                <a:gd name="connsiteY1" fmla="*/ 236923 h 240012"/>
                <a:gd name="connsiteX2" fmla="*/ 103127 w 103582"/>
                <a:gd name="connsiteY2" fmla="*/ 15385 h 240012"/>
                <a:gd name="connsiteX3" fmla="*/ 7742 w 103582"/>
                <a:gd name="connsiteY3" fmla="*/ 0 h 24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582" h="240012">
                  <a:moveTo>
                    <a:pt x="7742" y="0"/>
                  </a:moveTo>
                  <a:cubicBezTo>
                    <a:pt x="7742" y="0"/>
                    <a:pt x="-26105" y="196923"/>
                    <a:pt x="47742" y="236923"/>
                  </a:cubicBezTo>
                  <a:cubicBezTo>
                    <a:pt x="112357" y="270769"/>
                    <a:pt x="103127" y="15385"/>
                    <a:pt x="103127" y="15385"/>
                  </a:cubicBezTo>
                  <a:lnTo>
                    <a:pt x="7742" y="0"/>
                  </a:lnTo>
                  <a:close/>
                </a:path>
              </a:pathLst>
            </a:custGeom>
            <a:solidFill>
              <a:srgbClr val="D3977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2B70C95E-9465-4A01-A62B-C0946EE07FBB}"/>
                </a:ext>
              </a:extLst>
            </p:cNvPr>
            <p:cNvSpPr/>
            <p:nvPr/>
          </p:nvSpPr>
          <p:spPr>
            <a:xfrm>
              <a:off x="8079677" y="8408128"/>
              <a:ext cx="427296" cy="573836"/>
            </a:xfrm>
            <a:custGeom>
              <a:avLst/>
              <a:gdLst>
                <a:gd name="connsiteX0" fmla="*/ 11912 w 427296"/>
                <a:gd name="connsiteY0" fmla="*/ 182458 h 573836"/>
                <a:gd name="connsiteX1" fmla="*/ 8835 w 427296"/>
                <a:gd name="connsiteY1" fmla="*/ 434766 h 573836"/>
                <a:gd name="connsiteX2" fmla="*/ 168835 w 427296"/>
                <a:gd name="connsiteY2" fmla="*/ 573228 h 573836"/>
                <a:gd name="connsiteX3" fmla="*/ 387297 w 427296"/>
                <a:gd name="connsiteY3" fmla="*/ 431689 h 573836"/>
                <a:gd name="connsiteX4" fmla="*/ 427297 w 427296"/>
                <a:gd name="connsiteY4" fmla="*/ 203997 h 573836"/>
                <a:gd name="connsiteX5" fmla="*/ 214989 w 427296"/>
                <a:gd name="connsiteY5" fmla="*/ 920 h 573836"/>
                <a:gd name="connsiteX6" fmla="*/ 11912 w 427296"/>
                <a:gd name="connsiteY6" fmla="*/ 182458 h 573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296" h="573836">
                  <a:moveTo>
                    <a:pt x="11912" y="182458"/>
                  </a:moveTo>
                  <a:cubicBezTo>
                    <a:pt x="11912" y="182458"/>
                    <a:pt x="-12703" y="360920"/>
                    <a:pt x="8835" y="434766"/>
                  </a:cubicBezTo>
                  <a:cubicBezTo>
                    <a:pt x="27297" y="502458"/>
                    <a:pt x="116527" y="567074"/>
                    <a:pt x="168835" y="573228"/>
                  </a:cubicBezTo>
                  <a:cubicBezTo>
                    <a:pt x="236528" y="579381"/>
                    <a:pt x="356528" y="539382"/>
                    <a:pt x="387297" y="431689"/>
                  </a:cubicBezTo>
                  <a:cubicBezTo>
                    <a:pt x="408835" y="357843"/>
                    <a:pt x="427297" y="256304"/>
                    <a:pt x="427297" y="203997"/>
                  </a:cubicBezTo>
                  <a:cubicBezTo>
                    <a:pt x="427297" y="108612"/>
                    <a:pt x="399604" y="28612"/>
                    <a:pt x="214989" y="920"/>
                  </a:cubicBezTo>
                  <a:cubicBezTo>
                    <a:pt x="128835" y="-11388"/>
                    <a:pt x="33451" y="102458"/>
                    <a:pt x="11912" y="182458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6CDDD0DB-3DE6-460C-B99E-3C2B758B0D73}"/>
                </a:ext>
              </a:extLst>
            </p:cNvPr>
            <p:cNvSpPr/>
            <p:nvPr/>
          </p:nvSpPr>
          <p:spPr>
            <a:xfrm>
              <a:off x="8214666" y="8673664"/>
              <a:ext cx="58461" cy="138461"/>
            </a:xfrm>
            <a:custGeom>
              <a:avLst/>
              <a:gdLst>
                <a:gd name="connsiteX0" fmla="*/ 33846 w 58461"/>
                <a:gd name="connsiteY0" fmla="*/ 138462 h 138461"/>
                <a:gd name="connsiteX1" fmla="*/ 6154 w 58461"/>
                <a:gd name="connsiteY1" fmla="*/ 132308 h 138461"/>
                <a:gd name="connsiteX2" fmla="*/ 0 w 58461"/>
                <a:gd name="connsiteY2" fmla="*/ 120000 h 138461"/>
                <a:gd name="connsiteX3" fmla="*/ 18461 w 58461"/>
                <a:gd name="connsiteY3" fmla="*/ 6154 h 138461"/>
                <a:gd name="connsiteX4" fmla="*/ 24615 w 58461"/>
                <a:gd name="connsiteY4" fmla="*/ 0 h 138461"/>
                <a:gd name="connsiteX5" fmla="*/ 30769 w 58461"/>
                <a:gd name="connsiteY5" fmla="*/ 6154 h 138461"/>
                <a:gd name="connsiteX6" fmla="*/ 12308 w 58461"/>
                <a:gd name="connsiteY6" fmla="*/ 120000 h 138461"/>
                <a:gd name="connsiteX7" fmla="*/ 12308 w 58461"/>
                <a:gd name="connsiteY7" fmla="*/ 123077 h 138461"/>
                <a:gd name="connsiteX8" fmla="*/ 52308 w 58461"/>
                <a:gd name="connsiteY8" fmla="*/ 126154 h 138461"/>
                <a:gd name="connsiteX9" fmla="*/ 58461 w 58461"/>
                <a:gd name="connsiteY9" fmla="*/ 132308 h 138461"/>
                <a:gd name="connsiteX10" fmla="*/ 52308 w 58461"/>
                <a:gd name="connsiteY10" fmla="*/ 138462 h 138461"/>
                <a:gd name="connsiteX11" fmla="*/ 33846 w 58461"/>
                <a:gd name="connsiteY11" fmla="*/ 138462 h 1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461" h="138461">
                  <a:moveTo>
                    <a:pt x="33846" y="138462"/>
                  </a:moveTo>
                  <a:cubicBezTo>
                    <a:pt x="24615" y="138462"/>
                    <a:pt x="12308" y="138462"/>
                    <a:pt x="6154" y="132308"/>
                  </a:cubicBezTo>
                  <a:cubicBezTo>
                    <a:pt x="3077" y="129231"/>
                    <a:pt x="0" y="126154"/>
                    <a:pt x="0" y="120000"/>
                  </a:cubicBezTo>
                  <a:cubicBezTo>
                    <a:pt x="0" y="98461"/>
                    <a:pt x="18461" y="9231"/>
                    <a:pt x="18461" y="6154"/>
                  </a:cubicBezTo>
                  <a:cubicBezTo>
                    <a:pt x="18461" y="3077"/>
                    <a:pt x="21538" y="0"/>
                    <a:pt x="24615" y="0"/>
                  </a:cubicBezTo>
                  <a:cubicBezTo>
                    <a:pt x="27692" y="0"/>
                    <a:pt x="30769" y="3077"/>
                    <a:pt x="30769" y="6154"/>
                  </a:cubicBezTo>
                  <a:cubicBezTo>
                    <a:pt x="30769" y="6154"/>
                    <a:pt x="12308" y="98461"/>
                    <a:pt x="12308" y="120000"/>
                  </a:cubicBezTo>
                  <a:cubicBezTo>
                    <a:pt x="12308" y="120000"/>
                    <a:pt x="12308" y="123077"/>
                    <a:pt x="12308" y="123077"/>
                  </a:cubicBezTo>
                  <a:cubicBezTo>
                    <a:pt x="18461" y="129231"/>
                    <a:pt x="40000" y="126154"/>
                    <a:pt x="52308" y="126154"/>
                  </a:cubicBezTo>
                  <a:cubicBezTo>
                    <a:pt x="55385" y="126154"/>
                    <a:pt x="58461" y="129231"/>
                    <a:pt x="58461" y="132308"/>
                  </a:cubicBezTo>
                  <a:cubicBezTo>
                    <a:pt x="58461" y="135385"/>
                    <a:pt x="55385" y="138462"/>
                    <a:pt x="52308" y="138462"/>
                  </a:cubicBezTo>
                  <a:cubicBezTo>
                    <a:pt x="55385" y="138462"/>
                    <a:pt x="43077" y="138462"/>
                    <a:pt x="33846" y="138462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D2EE82AD-5D46-4988-AD6F-1FDFE237A45F}"/>
                </a:ext>
              </a:extLst>
            </p:cNvPr>
            <p:cNvSpPr/>
            <p:nvPr/>
          </p:nvSpPr>
          <p:spPr>
            <a:xfrm>
              <a:off x="8146370" y="8651522"/>
              <a:ext cx="41387" cy="41207"/>
            </a:xfrm>
            <a:custGeom>
              <a:avLst/>
              <a:gdLst>
                <a:gd name="connsiteX0" fmla="*/ 40603 w 41387"/>
                <a:gd name="connsiteY0" fmla="*/ 25219 h 41207"/>
                <a:gd name="connsiteX1" fmla="*/ 15988 w 41387"/>
                <a:gd name="connsiteY1" fmla="*/ 40604 h 41207"/>
                <a:gd name="connsiteX2" fmla="*/ 604 w 41387"/>
                <a:gd name="connsiteY2" fmla="*/ 15988 h 41207"/>
                <a:gd name="connsiteX3" fmla="*/ 25219 w 41387"/>
                <a:gd name="connsiteY3" fmla="*/ 604 h 41207"/>
                <a:gd name="connsiteX4" fmla="*/ 40603 w 41387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207">
                  <a:moveTo>
                    <a:pt x="40603" y="25219"/>
                  </a:moveTo>
                  <a:cubicBezTo>
                    <a:pt x="37527" y="34450"/>
                    <a:pt x="28296" y="43680"/>
                    <a:pt x="15988" y="40604"/>
                  </a:cubicBezTo>
                  <a:cubicBezTo>
                    <a:pt x="6757" y="37527"/>
                    <a:pt x="-2474" y="28296"/>
                    <a:pt x="604" y="15988"/>
                  </a:cubicBezTo>
                  <a:cubicBezTo>
                    <a:pt x="3680" y="6757"/>
                    <a:pt x="12911" y="-2474"/>
                    <a:pt x="25219" y="604"/>
                  </a:cubicBezTo>
                  <a:cubicBezTo>
                    <a:pt x="37527" y="3681"/>
                    <a:pt x="43680" y="12911"/>
                    <a:pt x="40603" y="25219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B449B54F-6D13-467C-B6B7-5F4D99FBF4DD}"/>
                </a:ext>
              </a:extLst>
            </p:cNvPr>
            <p:cNvSpPr/>
            <p:nvPr/>
          </p:nvSpPr>
          <p:spPr>
            <a:xfrm>
              <a:off x="8330985" y="8669983"/>
              <a:ext cx="41387" cy="41206"/>
            </a:xfrm>
            <a:custGeom>
              <a:avLst/>
              <a:gdLst>
                <a:gd name="connsiteX0" fmla="*/ 40603 w 41387"/>
                <a:gd name="connsiteY0" fmla="*/ 25219 h 41206"/>
                <a:gd name="connsiteX1" fmla="*/ 15988 w 41387"/>
                <a:gd name="connsiteY1" fmla="*/ 40603 h 41206"/>
                <a:gd name="connsiteX2" fmla="*/ 604 w 41387"/>
                <a:gd name="connsiteY2" fmla="*/ 15988 h 41206"/>
                <a:gd name="connsiteX3" fmla="*/ 25219 w 41387"/>
                <a:gd name="connsiteY3" fmla="*/ 604 h 41206"/>
                <a:gd name="connsiteX4" fmla="*/ 40603 w 41387"/>
                <a:gd name="connsiteY4" fmla="*/ 25219 h 41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206">
                  <a:moveTo>
                    <a:pt x="40603" y="25219"/>
                  </a:moveTo>
                  <a:cubicBezTo>
                    <a:pt x="37527" y="34449"/>
                    <a:pt x="28296" y="43680"/>
                    <a:pt x="15988" y="40603"/>
                  </a:cubicBezTo>
                  <a:cubicBezTo>
                    <a:pt x="6757" y="37527"/>
                    <a:pt x="-2474" y="28296"/>
                    <a:pt x="604" y="15988"/>
                  </a:cubicBezTo>
                  <a:cubicBezTo>
                    <a:pt x="3680" y="6757"/>
                    <a:pt x="12911" y="-2474"/>
                    <a:pt x="25219" y="604"/>
                  </a:cubicBezTo>
                  <a:cubicBezTo>
                    <a:pt x="37527" y="3680"/>
                    <a:pt x="43680" y="15988"/>
                    <a:pt x="40603" y="25219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737CC33D-669E-430A-8554-62F0F2DDEA7E}"/>
                </a:ext>
              </a:extLst>
            </p:cNvPr>
            <p:cNvSpPr/>
            <p:nvPr/>
          </p:nvSpPr>
          <p:spPr>
            <a:xfrm>
              <a:off x="8123127" y="8599818"/>
              <a:ext cx="92812" cy="33845"/>
            </a:xfrm>
            <a:custGeom>
              <a:avLst/>
              <a:gdLst>
                <a:gd name="connsiteX0" fmla="*/ 8462 w 92812"/>
                <a:gd name="connsiteY0" fmla="*/ 33846 h 33845"/>
                <a:gd name="connsiteX1" fmla="*/ 2307 w 92812"/>
                <a:gd name="connsiteY1" fmla="*/ 30769 h 33845"/>
                <a:gd name="connsiteX2" fmla="*/ 2307 w 92812"/>
                <a:gd name="connsiteY2" fmla="*/ 18461 h 33845"/>
                <a:gd name="connsiteX3" fmla="*/ 88461 w 92812"/>
                <a:gd name="connsiteY3" fmla="*/ 9231 h 33845"/>
                <a:gd name="connsiteX4" fmla="*/ 91539 w 92812"/>
                <a:gd name="connsiteY4" fmla="*/ 21538 h 33845"/>
                <a:gd name="connsiteX5" fmla="*/ 79231 w 92812"/>
                <a:gd name="connsiteY5" fmla="*/ 24616 h 33845"/>
                <a:gd name="connsiteX6" fmla="*/ 11538 w 92812"/>
                <a:gd name="connsiteY6" fmla="*/ 30769 h 33845"/>
                <a:gd name="connsiteX7" fmla="*/ 8462 w 92812"/>
                <a:gd name="connsiteY7" fmla="*/ 33846 h 33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3845">
                  <a:moveTo>
                    <a:pt x="8462" y="33846"/>
                  </a:moveTo>
                  <a:cubicBezTo>
                    <a:pt x="5385" y="33846"/>
                    <a:pt x="5385" y="33846"/>
                    <a:pt x="2307" y="30769"/>
                  </a:cubicBezTo>
                  <a:cubicBezTo>
                    <a:pt x="-769" y="27692"/>
                    <a:pt x="-769" y="21538"/>
                    <a:pt x="2307" y="18461"/>
                  </a:cubicBezTo>
                  <a:cubicBezTo>
                    <a:pt x="30000" y="-9231"/>
                    <a:pt x="70000" y="0"/>
                    <a:pt x="88461" y="9231"/>
                  </a:cubicBezTo>
                  <a:cubicBezTo>
                    <a:pt x="91539" y="12308"/>
                    <a:pt x="94615" y="15385"/>
                    <a:pt x="91539" y="21538"/>
                  </a:cubicBezTo>
                  <a:cubicBezTo>
                    <a:pt x="88461" y="24616"/>
                    <a:pt x="85385" y="27692"/>
                    <a:pt x="79231" y="24616"/>
                  </a:cubicBezTo>
                  <a:cubicBezTo>
                    <a:pt x="76154" y="24616"/>
                    <a:pt x="39231" y="3077"/>
                    <a:pt x="11538" y="30769"/>
                  </a:cubicBezTo>
                  <a:cubicBezTo>
                    <a:pt x="11538" y="33846"/>
                    <a:pt x="8462" y="33846"/>
                    <a:pt x="8462" y="33846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0F30749-4A84-418C-A578-8432F7FE1DAC}"/>
                </a:ext>
              </a:extLst>
            </p:cNvPr>
            <p:cNvSpPr/>
            <p:nvPr/>
          </p:nvSpPr>
          <p:spPr>
            <a:xfrm>
              <a:off x="8311853" y="8603920"/>
              <a:ext cx="92812" cy="35897"/>
            </a:xfrm>
            <a:custGeom>
              <a:avLst/>
              <a:gdLst>
                <a:gd name="connsiteX0" fmla="*/ 87429 w 92812"/>
                <a:gd name="connsiteY0" fmla="*/ 35898 h 35897"/>
                <a:gd name="connsiteX1" fmla="*/ 81275 w 92812"/>
                <a:gd name="connsiteY1" fmla="*/ 32821 h 35897"/>
                <a:gd name="connsiteX2" fmla="*/ 13582 w 92812"/>
                <a:gd name="connsiteY2" fmla="*/ 26667 h 35897"/>
                <a:gd name="connsiteX3" fmla="*/ 1275 w 92812"/>
                <a:gd name="connsiteY3" fmla="*/ 23590 h 35897"/>
                <a:gd name="connsiteX4" fmla="*/ 4352 w 92812"/>
                <a:gd name="connsiteY4" fmla="*/ 11282 h 35897"/>
                <a:gd name="connsiteX5" fmla="*/ 90505 w 92812"/>
                <a:gd name="connsiteY5" fmla="*/ 20513 h 35897"/>
                <a:gd name="connsiteX6" fmla="*/ 90505 w 92812"/>
                <a:gd name="connsiteY6" fmla="*/ 32821 h 35897"/>
                <a:gd name="connsiteX7" fmla="*/ 87429 w 92812"/>
                <a:gd name="connsiteY7" fmla="*/ 35898 h 35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5897">
                  <a:moveTo>
                    <a:pt x="87429" y="35898"/>
                  </a:moveTo>
                  <a:cubicBezTo>
                    <a:pt x="84351" y="35898"/>
                    <a:pt x="84351" y="35898"/>
                    <a:pt x="81275" y="32821"/>
                  </a:cubicBezTo>
                  <a:cubicBezTo>
                    <a:pt x="81275" y="32821"/>
                    <a:pt x="50506" y="2051"/>
                    <a:pt x="13582" y="26667"/>
                  </a:cubicBezTo>
                  <a:cubicBezTo>
                    <a:pt x="10505" y="29743"/>
                    <a:pt x="4352" y="26667"/>
                    <a:pt x="1275" y="23590"/>
                  </a:cubicBezTo>
                  <a:cubicBezTo>
                    <a:pt x="-1803" y="20513"/>
                    <a:pt x="1275" y="14359"/>
                    <a:pt x="4352" y="11282"/>
                  </a:cubicBezTo>
                  <a:cubicBezTo>
                    <a:pt x="41275" y="-13333"/>
                    <a:pt x="78198" y="8205"/>
                    <a:pt x="90505" y="20513"/>
                  </a:cubicBezTo>
                  <a:cubicBezTo>
                    <a:pt x="93582" y="23590"/>
                    <a:pt x="93582" y="29743"/>
                    <a:pt x="90505" y="32821"/>
                  </a:cubicBezTo>
                  <a:cubicBezTo>
                    <a:pt x="90505" y="35898"/>
                    <a:pt x="90505" y="35898"/>
                    <a:pt x="87429" y="35898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4CA312E4-E79C-4097-93A9-4272763C9EDF}"/>
                </a:ext>
              </a:extLst>
            </p:cNvPr>
            <p:cNvSpPr/>
            <p:nvPr/>
          </p:nvSpPr>
          <p:spPr>
            <a:xfrm>
              <a:off x="8178512" y="8925971"/>
              <a:ext cx="234351" cy="61538"/>
            </a:xfrm>
            <a:custGeom>
              <a:avLst/>
              <a:gdLst>
                <a:gd name="connsiteX0" fmla="*/ 82308 w 234351"/>
                <a:gd name="connsiteY0" fmla="*/ 61538 h 61538"/>
                <a:gd name="connsiteX1" fmla="*/ 82308 w 234351"/>
                <a:gd name="connsiteY1" fmla="*/ 61538 h 61538"/>
                <a:gd name="connsiteX2" fmla="*/ 2307 w 234351"/>
                <a:gd name="connsiteY2" fmla="*/ 33846 h 61538"/>
                <a:gd name="connsiteX3" fmla="*/ 2307 w 234351"/>
                <a:gd name="connsiteY3" fmla="*/ 24615 h 61538"/>
                <a:gd name="connsiteX4" fmla="*/ 11538 w 234351"/>
                <a:gd name="connsiteY4" fmla="*/ 24615 h 61538"/>
                <a:gd name="connsiteX5" fmla="*/ 82308 w 234351"/>
                <a:gd name="connsiteY5" fmla="*/ 49231 h 61538"/>
                <a:gd name="connsiteX6" fmla="*/ 82308 w 234351"/>
                <a:gd name="connsiteY6" fmla="*/ 49231 h 61538"/>
                <a:gd name="connsiteX7" fmla="*/ 223846 w 234351"/>
                <a:gd name="connsiteY7" fmla="*/ 0 h 61538"/>
                <a:gd name="connsiteX8" fmla="*/ 233077 w 234351"/>
                <a:gd name="connsiteY8" fmla="*/ 3077 h 61538"/>
                <a:gd name="connsiteX9" fmla="*/ 230000 w 234351"/>
                <a:gd name="connsiteY9" fmla="*/ 12308 h 61538"/>
                <a:gd name="connsiteX10" fmla="*/ 82308 w 234351"/>
                <a:gd name="connsiteY10" fmla="*/ 61538 h 6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4351" h="61538">
                  <a:moveTo>
                    <a:pt x="82308" y="61538"/>
                  </a:moveTo>
                  <a:cubicBezTo>
                    <a:pt x="82308" y="61538"/>
                    <a:pt x="82308" y="61538"/>
                    <a:pt x="82308" y="61538"/>
                  </a:cubicBezTo>
                  <a:cubicBezTo>
                    <a:pt x="39230" y="61538"/>
                    <a:pt x="5385" y="33846"/>
                    <a:pt x="2307" y="33846"/>
                  </a:cubicBezTo>
                  <a:cubicBezTo>
                    <a:pt x="-769" y="30769"/>
                    <a:pt x="-769" y="27693"/>
                    <a:pt x="2307" y="24615"/>
                  </a:cubicBezTo>
                  <a:cubicBezTo>
                    <a:pt x="5385" y="21539"/>
                    <a:pt x="8461" y="21539"/>
                    <a:pt x="11538" y="24615"/>
                  </a:cubicBezTo>
                  <a:cubicBezTo>
                    <a:pt x="11538" y="24615"/>
                    <a:pt x="42308" y="49231"/>
                    <a:pt x="82308" y="49231"/>
                  </a:cubicBezTo>
                  <a:cubicBezTo>
                    <a:pt x="82308" y="49231"/>
                    <a:pt x="82308" y="49231"/>
                    <a:pt x="82308" y="49231"/>
                  </a:cubicBezTo>
                  <a:cubicBezTo>
                    <a:pt x="131538" y="49231"/>
                    <a:pt x="220769" y="0"/>
                    <a:pt x="223846" y="0"/>
                  </a:cubicBezTo>
                  <a:cubicBezTo>
                    <a:pt x="226923" y="0"/>
                    <a:pt x="230000" y="0"/>
                    <a:pt x="233077" y="3077"/>
                  </a:cubicBezTo>
                  <a:cubicBezTo>
                    <a:pt x="236154" y="6154"/>
                    <a:pt x="233077" y="9231"/>
                    <a:pt x="230000" y="12308"/>
                  </a:cubicBezTo>
                  <a:cubicBezTo>
                    <a:pt x="226923" y="12308"/>
                    <a:pt x="134615" y="61538"/>
                    <a:pt x="82308" y="61538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365C8290-485A-411B-90F5-15ADE93E9623}"/>
                </a:ext>
              </a:extLst>
            </p:cNvPr>
            <p:cNvSpPr/>
            <p:nvPr/>
          </p:nvSpPr>
          <p:spPr>
            <a:xfrm>
              <a:off x="8433127" y="8433663"/>
              <a:ext cx="114672" cy="270769"/>
            </a:xfrm>
            <a:custGeom>
              <a:avLst/>
              <a:gdLst>
                <a:gd name="connsiteX0" fmla="*/ 0 w 114672"/>
                <a:gd name="connsiteY0" fmla="*/ 129231 h 270769"/>
                <a:gd name="connsiteX1" fmla="*/ 49231 w 114672"/>
                <a:gd name="connsiteY1" fmla="*/ 270769 h 270769"/>
                <a:gd name="connsiteX2" fmla="*/ 107692 w 114672"/>
                <a:gd name="connsiteY2" fmla="*/ 169231 h 270769"/>
                <a:gd name="connsiteX3" fmla="*/ 49231 w 114672"/>
                <a:gd name="connsiteY3" fmla="*/ 0 h 270769"/>
                <a:gd name="connsiteX4" fmla="*/ 0 w 114672"/>
                <a:gd name="connsiteY4" fmla="*/ 129231 h 27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672" h="270769">
                  <a:moveTo>
                    <a:pt x="0" y="129231"/>
                  </a:moveTo>
                  <a:cubicBezTo>
                    <a:pt x="0" y="129231"/>
                    <a:pt x="55385" y="240000"/>
                    <a:pt x="49231" y="270769"/>
                  </a:cubicBezTo>
                  <a:cubicBezTo>
                    <a:pt x="49231" y="270769"/>
                    <a:pt x="92308" y="224615"/>
                    <a:pt x="107692" y="169231"/>
                  </a:cubicBezTo>
                  <a:cubicBezTo>
                    <a:pt x="123077" y="110769"/>
                    <a:pt x="116923" y="15385"/>
                    <a:pt x="49231" y="0"/>
                  </a:cubicBezTo>
                  <a:cubicBezTo>
                    <a:pt x="49231" y="0"/>
                    <a:pt x="40000" y="107692"/>
                    <a:pt x="0" y="129231"/>
                  </a:cubicBezTo>
                  <a:close/>
                </a:path>
              </a:pathLst>
            </a:custGeom>
            <a:solidFill>
              <a:srgbClr val="D3977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5DEAEF58-4BAC-4D34-9F93-3808FE0150A2}"/>
                </a:ext>
              </a:extLst>
            </p:cNvPr>
            <p:cNvSpPr/>
            <p:nvPr/>
          </p:nvSpPr>
          <p:spPr>
            <a:xfrm>
              <a:off x="7986973" y="8315354"/>
              <a:ext cx="505424" cy="256803"/>
            </a:xfrm>
            <a:custGeom>
              <a:avLst/>
              <a:gdLst>
                <a:gd name="connsiteX0" fmla="*/ 446154 w 505424"/>
                <a:gd name="connsiteY0" fmla="*/ 247541 h 256803"/>
                <a:gd name="connsiteX1" fmla="*/ 323077 w 505424"/>
                <a:gd name="connsiteY1" fmla="*/ 207541 h 256803"/>
                <a:gd name="connsiteX2" fmla="*/ 0 w 505424"/>
                <a:gd name="connsiteY2" fmla="*/ 195233 h 256803"/>
                <a:gd name="connsiteX3" fmla="*/ 375385 w 505424"/>
                <a:gd name="connsiteY3" fmla="*/ 10617 h 256803"/>
                <a:gd name="connsiteX4" fmla="*/ 495385 w 505424"/>
                <a:gd name="connsiteY4" fmla="*/ 118310 h 256803"/>
                <a:gd name="connsiteX5" fmla="*/ 446154 w 505424"/>
                <a:gd name="connsiteY5" fmla="*/ 247541 h 256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424" h="256803">
                  <a:moveTo>
                    <a:pt x="446154" y="247541"/>
                  </a:moveTo>
                  <a:cubicBezTo>
                    <a:pt x="446154" y="247541"/>
                    <a:pt x="350770" y="207541"/>
                    <a:pt x="323077" y="207541"/>
                  </a:cubicBezTo>
                  <a:cubicBezTo>
                    <a:pt x="221539" y="210617"/>
                    <a:pt x="92308" y="324464"/>
                    <a:pt x="0" y="195233"/>
                  </a:cubicBezTo>
                  <a:cubicBezTo>
                    <a:pt x="46154" y="93695"/>
                    <a:pt x="209231" y="-38613"/>
                    <a:pt x="375385" y="10617"/>
                  </a:cubicBezTo>
                  <a:cubicBezTo>
                    <a:pt x="455385" y="32156"/>
                    <a:pt x="489231" y="81387"/>
                    <a:pt x="495385" y="118310"/>
                  </a:cubicBezTo>
                  <a:cubicBezTo>
                    <a:pt x="495385" y="118310"/>
                    <a:pt x="538462" y="235233"/>
                    <a:pt x="446154" y="247541"/>
                  </a:cubicBezTo>
                  <a:close/>
                </a:path>
              </a:pathLst>
            </a:custGeom>
            <a:solidFill>
              <a:srgbClr val="D3977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9F7BE89C-3B1B-44BD-88F5-33903B4262D7}"/>
                </a:ext>
              </a:extLst>
            </p:cNvPr>
            <p:cNvSpPr/>
            <p:nvPr/>
          </p:nvSpPr>
          <p:spPr>
            <a:xfrm>
              <a:off x="8466973" y="8670394"/>
              <a:ext cx="77983" cy="111522"/>
            </a:xfrm>
            <a:custGeom>
              <a:avLst/>
              <a:gdLst>
                <a:gd name="connsiteX0" fmla="*/ 12308 w 77983"/>
                <a:gd name="connsiteY0" fmla="*/ 15577 h 111522"/>
                <a:gd name="connsiteX1" fmla="*/ 70769 w 77983"/>
                <a:gd name="connsiteY1" fmla="*/ 6346 h 111522"/>
                <a:gd name="connsiteX2" fmla="*/ 12308 w 77983"/>
                <a:gd name="connsiteY2" fmla="*/ 107885 h 111522"/>
                <a:gd name="connsiteX3" fmla="*/ 12308 w 77983"/>
                <a:gd name="connsiteY3" fmla="*/ 15577 h 111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983" h="111522">
                  <a:moveTo>
                    <a:pt x="12308" y="15577"/>
                  </a:moveTo>
                  <a:cubicBezTo>
                    <a:pt x="12308" y="15577"/>
                    <a:pt x="46154" y="-12116"/>
                    <a:pt x="70769" y="6346"/>
                  </a:cubicBezTo>
                  <a:cubicBezTo>
                    <a:pt x="95385" y="24807"/>
                    <a:pt x="52308" y="132500"/>
                    <a:pt x="12308" y="107885"/>
                  </a:cubicBezTo>
                  <a:cubicBezTo>
                    <a:pt x="-15385" y="92500"/>
                    <a:pt x="12308" y="15577"/>
                    <a:pt x="12308" y="15577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F4439837-DB17-4CE7-BE12-546FBD961765}"/>
                </a:ext>
              </a:extLst>
            </p:cNvPr>
            <p:cNvSpPr/>
            <p:nvPr/>
          </p:nvSpPr>
          <p:spPr>
            <a:xfrm>
              <a:off x="8420820" y="8449048"/>
              <a:ext cx="74272" cy="243077"/>
            </a:xfrm>
            <a:custGeom>
              <a:avLst/>
              <a:gdLst>
                <a:gd name="connsiteX0" fmla="*/ 58461 w 74272"/>
                <a:gd name="connsiteY0" fmla="*/ 243077 h 243077"/>
                <a:gd name="connsiteX1" fmla="*/ 52308 w 74272"/>
                <a:gd name="connsiteY1" fmla="*/ 236923 h 243077"/>
                <a:gd name="connsiteX2" fmla="*/ 6154 w 74272"/>
                <a:gd name="connsiteY2" fmla="*/ 113847 h 243077"/>
                <a:gd name="connsiteX3" fmla="*/ 0 w 74272"/>
                <a:gd name="connsiteY3" fmla="*/ 107692 h 243077"/>
                <a:gd name="connsiteX4" fmla="*/ 9231 w 74272"/>
                <a:gd name="connsiteY4" fmla="*/ 104616 h 243077"/>
                <a:gd name="connsiteX5" fmla="*/ 58461 w 74272"/>
                <a:gd name="connsiteY5" fmla="*/ 64616 h 243077"/>
                <a:gd name="connsiteX6" fmla="*/ 58461 w 74272"/>
                <a:gd name="connsiteY6" fmla="*/ 6154 h 243077"/>
                <a:gd name="connsiteX7" fmla="*/ 61538 w 74272"/>
                <a:gd name="connsiteY7" fmla="*/ 0 h 243077"/>
                <a:gd name="connsiteX8" fmla="*/ 67692 w 74272"/>
                <a:gd name="connsiteY8" fmla="*/ 3077 h 243077"/>
                <a:gd name="connsiteX9" fmla="*/ 64616 w 74272"/>
                <a:gd name="connsiteY9" fmla="*/ 70769 h 243077"/>
                <a:gd name="connsiteX10" fmla="*/ 15385 w 74272"/>
                <a:gd name="connsiteY10" fmla="*/ 113847 h 243077"/>
                <a:gd name="connsiteX11" fmla="*/ 61538 w 74272"/>
                <a:gd name="connsiteY11" fmla="*/ 236923 h 243077"/>
                <a:gd name="connsiteX12" fmla="*/ 58461 w 74272"/>
                <a:gd name="connsiteY12" fmla="*/ 243077 h 243077"/>
                <a:gd name="connsiteX13" fmla="*/ 58461 w 74272"/>
                <a:gd name="connsiteY13" fmla="*/ 243077 h 24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272" h="243077">
                  <a:moveTo>
                    <a:pt x="58461" y="243077"/>
                  </a:moveTo>
                  <a:cubicBezTo>
                    <a:pt x="55385" y="243077"/>
                    <a:pt x="52308" y="240000"/>
                    <a:pt x="52308" y="236923"/>
                  </a:cubicBezTo>
                  <a:cubicBezTo>
                    <a:pt x="46154" y="175385"/>
                    <a:pt x="6154" y="113847"/>
                    <a:pt x="6154" y="113847"/>
                  </a:cubicBezTo>
                  <a:lnTo>
                    <a:pt x="0" y="107692"/>
                  </a:lnTo>
                  <a:lnTo>
                    <a:pt x="9231" y="104616"/>
                  </a:lnTo>
                  <a:cubicBezTo>
                    <a:pt x="9231" y="104616"/>
                    <a:pt x="43077" y="92308"/>
                    <a:pt x="58461" y="64616"/>
                  </a:cubicBezTo>
                  <a:cubicBezTo>
                    <a:pt x="67692" y="49231"/>
                    <a:pt x="67692" y="27693"/>
                    <a:pt x="58461" y="6154"/>
                  </a:cubicBezTo>
                  <a:cubicBezTo>
                    <a:pt x="58461" y="3077"/>
                    <a:pt x="58461" y="0"/>
                    <a:pt x="61538" y="0"/>
                  </a:cubicBezTo>
                  <a:cubicBezTo>
                    <a:pt x="64616" y="0"/>
                    <a:pt x="67692" y="0"/>
                    <a:pt x="67692" y="3077"/>
                  </a:cubicBezTo>
                  <a:cubicBezTo>
                    <a:pt x="76923" y="27693"/>
                    <a:pt x="76923" y="52308"/>
                    <a:pt x="64616" y="70769"/>
                  </a:cubicBezTo>
                  <a:cubicBezTo>
                    <a:pt x="52308" y="95385"/>
                    <a:pt x="27692" y="107692"/>
                    <a:pt x="15385" y="113847"/>
                  </a:cubicBezTo>
                  <a:cubicBezTo>
                    <a:pt x="27692" y="132308"/>
                    <a:pt x="55385" y="181539"/>
                    <a:pt x="61538" y="236923"/>
                  </a:cubicBezTo>
                  <a:cubicBezTo>
                    <a:pt x="64616" y="240000"/>
                    <a:pt x="64616" y="243077"/>
                    <a:pt x="58461" y="243077"/>
                  </a:cubicBezTo>
                  <a:lnTo>
                    <a:pt x="58461" y="243077"/>
                  </a:ln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B030B9E4-162D-41B8-9606-9345777AC139}"/>
                </a:ext>
              </a:extLst>
            </p:cNvPr>
            <p:cNvSpPr/>
            <p:nvPr/>
          </p:nvSpPr>
          <p:spPr>
            <a:xfrm>
              <a:off x="7979452" y="8499989"/>
              <a:ext cx="459829" cy="78290"/>
            </a:xfrm>
            <a:custGeom>
              <a:avLst/>
              <a:gdLst>
                <a:gd name="connsiteX0" fmla="*/ 130598 w 459829"/>
                <a:gd name="connsiteY0" fmla="*/ 78291 h 78290"/>
                <a:gd name="connsiteX1" fmla="*/ 1367 w 459829"/>
                <a:gd name="connsiteY1" fmla="*/ 10598 h 78290"/>
                <a:gd name="connsiteX2" fmla="*/ 1367 w 459829"/>
                <a:gd name="connsiteY2" fmla="*/ 1368 h 78290"/>
                <a:gd name="connsiteX3" fmla="*/ 10598 w 459829"/>
                <a:gd name="connsiteY3" fmla="*/ 1368 h 78290"/>
                <a:gd name="connsiteX4" fmla="*/ 272137 w 459829"/>
                <a:gd name="connsiteY4" fmla="*/ 22906 h 78290"/>
                <a:gd name="connsiteX5" fmla="*/ 275214 w 459829"/>
                <a:gd name="connsiteY5" fmla="*/ 22906 h 78290"/>
                <a:gd name="connsiteX6" fmla="*/ 287521 w 459829"/>
                <a:gd name="connsiteY6" fmla="*/ 19829 h 78290"/>
                <a:gd name="connsiteX7" fmla="*/ 456752 w 459829"/>
                <a:gd name="connsiteY7" fmla="*/ 50598 h 78290"/>
                <a:gd name="connsiteX8" fmla="*/ 459829 w 459829"/>
                <a:gd name="connsiteY8" fmla="*/ 59829 h 78290"/>
                <a:gd name="connsiteX9" fmla="*/ 450598 w 459829"/>
                <a:gd name="connsiteY9" fmla="*/ 62906 h 78290"/>
                <a:gd name="connsiteX10" fmla="*/ 287521 w 459829"/>
                <a:gd name="connsiteY10" fmla="*/ 32137 h 78290"/>
                <a:gd name="connsiteX11" fmla="*/ 275214 w 459829"/>
                <a:gd name="connsiteY11" fmla="*/ 35213 h 78290"/>
                <a:gd name="connsiteX12" fmla="*/ 130598 w 459829"/>
                <a:gd name="connsiteY12" fmla="*/ 78291 h 78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9829" h="78290">
                  <a:moveTo>
                    <a:pt x="130598" y="78291"/>
                  </a:moveTo>
                  <a:cubicBezTo>
                    <a:pt x="84444" y="78291"/>
                    <a:pt x="35214" y="62906"/>
                    <a:pt x="1367" y="10598"/>
                  </a:cubicBezTo>
                  <a:cubicBezTo>
                    <a:pt x="-1709" y="7521"/>
                    <a:pt x="1367" y="4444"/>
                    <a:pt x="1367" y="1368"/>
                  </a:cubicBezTo>
                  <a:cubicBezTo>
                    <a:pt x="4445" y="-1710"/>
                    <a:pt x="7521" y="1368"/>
                    <a:pt x="10598" y="1368"/>
                  </a:cubicBezTo>
                  <a:cubicBezTo>
                    <a:pt x="96752" y="124445"/>
                    <a:pt x="269060" y="22906"/>
                    <a:pt x="272137" y="22906"/>
                  </a:cubicBezTo>
                  <a:lnTo>
                    <a:pt x="275214" y="22906"/>
                  </a:lnTo>
                  <a:cubicBezTo>
                    <a:pt x="278290" y="22906"/>
                    <a:pt x="284444" y="19829"/>
                    <a:pt x="287521" y="19829"/>
                  </a:cubicBezTo>
                  <a:cubicBezTo>
                    <a:pt x="327521" y="10598"/>
                    <a:pt x="361367" y="1368"/>
                    <a:pt x="456752" y="50598"/>
                  </a:cubicBezTo>
                  <a:cubicBezTo>
                    <a:pt x="459829" y="50598"/>
                    <a:pt x="459829" y="56752"/>
                    <a:pt x="459829" y="59829"/>
                  </a:cubicBezTo>
                  <a:cubicBezTo>
                    <a:pt x="459829" y="62906"/>
                    <a:pt x="453675" y="62906"/>
                    <a:pt x="450598" y="62906"/>
                  </a:cubicBezTo>
                  <a:cubicBezTo>
                    <a:pt x="358291" y="16752"/>
                    <a:pt x="324444" y="22906"/>
                    <a:pt x="287521" y="32137"/>
                  </a:cubicBezTo>
                  <a:cubicBezTo>
                    <a:pt x="284444" y="32137"/>
                    <a:pt x="278290" y="35213"/>
                    <a:pt x="275214" y="35213"/>
                  </a:cubicBezTo>
                  <a:cubicBezTo>
                    <a:pt x="269060" y="44444"/>
                    <a:pt x="201367" y="78291"/>
                    <a:pt x="130598" y="78291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7B1F635D-6F07-4F7C-B81D-F9AA4CCE509B}"/>
                </a:ext>
              </a:extLst>
            </p:cNvPr>
            <p:cNvSpPr/>
            <p:nvPr/>
          </p:nvSpPr>
          <p:spPr>
            <a:xfrm>
              <a:off x="7752302" y="9042894"/>
              <a:ext cx="1080824" cy="1581352"/>
            </a:xfrm>
            <a:custGeom>
              <a:avLst/>
              <a:gdLst>
                <a:gd name="connsiteX0" fmla="*/ 680825 w 1080824"/>
                <a:gd name="connsiteY0" fmla="*/ 0 h 1581352"/>
                <a:gd name="connsiteX1" fmla="*/ 388517 w 1080824"/>
                <a:gd name="connsiteY1" fmla="*/ 0 h 1581352"/>
                <a:gd name="connsiteX2" fmla="*/ 86979 w 1080824"/>
                <a:gd name="connsiteY2" fmla="*/ 132308 h 1581352"/>
                <a:gd name="connsiteX3" fmla="*/ 825 w 1080824"/>
                <a:gd name="connsiteY3" fmla="*/ 1550770 h 1581352"/>
                <a:gd name="connsiteX4" fmla="*/ 1080825 w 1080824"/>
                <a:gd name="connsiteY4" fmla="*/ 1526154 h 1581352"/>
                <a:gd name="connsiteX5" fmla="*/ 963902 w 1080824"/>
                <a:gd name="connsiteY5" fmla="*/ 104616 h 1581352"/>
                <a:gd name="connsiteX6" fmla="*/ 680825 w 1080824"/>
                <a:gd name="connsiteY6" fmla="*/ 0 h 1581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0824" h="1581352">
                  <a:moveTo>
                    <a:pt x="680825" y="0"/>
                  </a:moveTo>
                  <a:cubicBezTo>
                    <a:pt x="680825" y="0"/>
                    <a:pt x="505440" y="55385"/>
                    <a:pt x="388517" y="0"/>
                  </a:cubicBezTo>
                  <a:cubicBezTo>
                    <a:pt x="388517" y="0"/>
                    <a:pt x="111594" y="98461"/>
                    <a:pt x="86979" y="132308"/>
                  </a:cubicBezTo>
                  <a:cubicBezTo>
                    <a:pt x="62363" y="163077"/>
                    <a:pt x="-8406" y="1483077"/>
                    <a:pt x="825" y="1550770"/>
                  </a:cubicBezTo>
                  <a:cubicBezTo>
                    <a:pt x="825" y="1550770"/>
                    <a:pt x="496209" y="1633846"/>
                    <a:pt x="1080825" y="1526154"/>
                  </a:cubicBezTo>
                  <a:cubicBezTo>
                    <a:pt x="1080825" y="1166154"/>
                    <a:pt x="1006979" y="135385"/>
                    <a:pt x="963902" y="104616"/>
                  </a:cubicBezTo>
                  <a:cubicBezTo>
                    <a:pt x="920825" y="70769"/>
                    <a:pt x="680825" y="0"/>
                    <a:pt x="680825" y="0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03850A21-1E99-44A1-AF9F-A8475FE33D04}"/>
                </a:ext>
              </a:extLst>
            </p:cNvPr>
            <p:cNvSpPr/>
            <p:nvPr/>
          </p:nvSpPr>
          <p:spPr>
            <a:xfrm>
              <a:off x="8251589" y="9042894"/>
              <a:ext cx="181538" cy="120000"/>
            </a:xfrm>
            <a:custGeom>
              <a:avLst/>
              <a:gdLst>
                <a:gd name="connsiteX0" fmla="*/ 0 w 181538"/>
                <a:gd name="connsiteY0" fmla="*/ 21538 h 120000"/>
                <a:gd name="connsiteX1" fmla="*/ 27692 w 181538"/>
                <a:gd name="connsiteY1" fmla="*/ 120000 h 120000"/>
                <a:gd name="connsiteX2" fmla="*/ 181538 w 181538"/>
                <a:gd name="connsiteY2" fmla="*/ 0 h 120000"/>
                <a:gd name="connsiteX3" fmla="*/ 0 w 181538"/>
                <a:gd name="connsiteY3" fmla="*/ 21538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538" h="120000">
                  <a:moveTo>
                    <a:pt x="0" y="21538"/>
                  </a:moveTo>
                  <a:lnTo>
                    <a:pt x="27692" y="120000"/>
                  </a:lnTo>
                  <a:lnTo>
                    <a:pt x="181538" y="0"/>
                  </a:lnTo>
                  <a:cubicBezTo>
                    <a:pt x="181538" y="0"/>
                    <a:pt x="43077" y="21538"/>
                    <a:pt x="0" y="21538"/>
                  </a:cubicBezTo>
                  <a:close/>
                </a:path>
              </a:pathLst>
            </a:custGeom>
            <a:solidFill>
              <a:srgbClr val="FFFFFF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70542369-3BCA-4811-AB13-E0E7E0B05224}"/>
                </a:ext>
              </a:extLst>
            </p:cNvPr>
            <p:cNvSpPr/>
            <p:nvPr/>
          </p:nvSpPr>
          <p:spPr>
            <a:xfrm>
              <a:off x="8140819" y="9042894"/>
              <a:ext cx="110769" cy="116923"/>
            </a:xfrm>
            <a:custGeom>
              <a:avLst/>
              <a:gdLst>
                <a:gd name="connsiteX0" fmla="*/ 110769 w 110769"/>
                <a:gd name="connsiteY0" fmla="*/ 21538 h 116923"/>
                <a:gd name="connsiteX1" fmla="*/ 73846 w 110769"/>
                <a:gd name="connsiteY1" fmla="*/ 116923 h 116923"/>
                <a:gd name="connsiteX2" fmla="*/ 0 w 110769"/>
                <a:gd name="connsiteY2" fmla="*/ 0 h 116923"/>
                <a:gd name="connsiteX3" fmla="*/ 110769 w 110769"/>
                <a:gd name="connsiteY3" fmla="*/ 21538 h 11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769" h="116923">
                  <a:moveTo>
                    <a:pt x="110769" y="21538"/>
                  </a:moveTo>
                  <a:lnTo>
                    <a:pt x="73846" y="116923"/>
                  </a:lnTo>
                  <a:lnTo>
                    <a:pt x="0" y="0"/>
                  </a:lnTo>
                  <a:cubicBezTo>
                    <a:pt x="0" y="0"/>
                    <a:pt x="70769" y="21538"/>
                    <a:pt x="110769" y="21538"/>
                  </a:cubicBezTo>
                  <a:close/>
                </a:path>
              </a:pathLst>
            </a:custGeom>
            <a:solidFill>
              <a:srgbClr val="FFFFFF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CA5AD714-5FBB-4384-9C98-D1A7BE4C136F}"/>
                </a:ext>
              </a:extLst>
            </p:cNvPr>
            <p:cNvSpPr/>
            <p:nvPr/>
          </p:nvSpPr>
          <p:spPr>
            <a:xfrm>
              <a:off x="8181589" y="8871356"/>
              <a:ext cx="122307" cy="26922"/>
            </a:xfrm>
            <a:custGeom>
              <a:avLst/>
              <a:gdLst>
                <a:gd name="connsiteX0" fmla="*/ 51538 w 122307"/>
                <a:gd name="connsiteY0" fmla="*/ 26923 h 26922"/>
                <a:gd name="connsiteX1" fmla="*/ 2308 w 122307"/>
                <a:gd name="connsiteY1" fmla="*/ 11538 h 26922"/>
                <a:gd name="connsiteX2" fmla="*/ 2308 w 122307"/>
                <a:gd name="connsiteY2" fmla="*/ 2307 h 26922"/>
                <a:gd name="connsiteX3" fmla="*/ 11539 w 122307"/>
                <a:gd name="connsiteY3" fmla="*/ 2307 h 26922"/>
                <a:gd name="connsiteX4" fmla="*/ 113077 w 122307"/>
                <a:gd name="connsiteY4" fmla="*/ 2307 h 26922"/>
                <a:gd name="connsiteX5" fmla="*/ 122308 w 122307"/>
                <a:gd name="connsiteY5" fmla="*/ 5385 h 26922"/>
                <a:gd name="connsiteX6" fmla="*/ 119231 w 122307"/>
                <a:gd name="connsiteY6" fmla="*/ 14615 h 26922"/>
                <a:gd name="connsiteX7" fmla="*/ 51538 w 122307"/>
                <a:gd name="connsiteY7" fmla="*/ 26923 h 26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307" h="26922">
                  <a:moveTo>
                    <a:pt x="51538" y="26923"/>
                  </a:moveTo>
                  <a:cubicBezTo>
                    <a:pt x="33077" y="26923"/>
                    <a:pt x="17692" y="23846"/>
                    <a:pt x="2308" y="11538"/>
                  </a:cubicBezTo>
                  <a:cubicBezTo>
                    <a:pt x="-769" y="8461"/>
                    <a:pt x="-769" y="5385"/>
                    <a:pt x="2308" y="2307"/>
                  </a:cubicBezTo>
                  <a:cubicBezTo>
                    <a:pt x="5384" y="-769"/>
                    <a:pt x="8462" y="-769"/>
                    <a:pt x="11539" y="2307"/>
                  </a:cubicBezTo>
                  <a:cubicBezTo>
                    <a:pt x="51538" y="33077"/>
                    <a:pt x="113077" y="2307"/>
                    <a:pt x="113077" y="2307"/>
                  </a:cubicBezTo>
                  <a:cubicBezTo>
                    <a:pt x="116154" y="2307"/>
                    <a:pt x="119231" y="2307"/>
                    <a:pt x="122308" y="5385"/>
                  </a:cubicBezTo>
                  <a:cubicBezTo>
                    <a:pt x="122308" y="8461"/>
                    <a:pt x="122308" y="11538"/>
                    <a:pt x="119231" y="14615"/>
                  </a:cubicBezTo>
                  <a:cubicBezTo>
                    <a:pt x="116154" y="11538"/>
                    <a:pt x="85385" y="26923"/>
                    <a:pt x="51538" y="26923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94695ABE-5D76-4BD5-9ABA-227CA32ACB39}"/>
                </a:ext>
              </a:extLst>
            </p:cNvPr>
            <p:cNvSpPr/>
            <p:nvPr/>
          </p:nvSpPr>
          <p:spPr>
            <a:xfrm>
              <a:off x="6689837" y="9471992"/>
              <a:ext cx="104497" cy="100132"/>
            </a:xfrm>
            <a:custGeom>
              <a:avLst/>
              <a:gdLst>
                <a:gd name="connsiteX0" fmla="*/ 90982 w 104497"/>
                <a:gd name="connsiteY0" fmla="*/ 100133 h 100132"/>
                <a:gd name="connsiteX1" fmla="*/ 29444 w 104497"/>
                <a:gd name="connsiteY1" fmla="*/ 69363 h 100132"/>
                <a:gd name="connsiteX2" fmla="*/ 4828 w 104497"/>
                <a:gd name="connsiteY2" fmla="*/ 13979 h 100132"/>
                <a:gd name="connsiteX3" fmla="*/ 57136 w 104497"/>
                <a:gd name="connsiteY3" fmla="*/ 4748 h 100132"/>
                <a:gd name="connsiteX4" fmla="*/ 57136 w 104497"/>
                <a:gd name="connsiteY4" fmla="*/ 4748 h 100132"/>
                <a:gd name="connsiteX5" fmla="*/ 97136 w 104497"/>
                <a:gd name="connsiteY5" fmla="*/ 38594 h 100132"/>
                <a:gd name="connsiteX6" fmla="*/ 103290 w 104497"/>
                <a:gd name="connsiteY6" fmla="*/ 87825 h 100132"/>
                <a:gd name="connsiteX7" fmla="*/ 94059 w 104497"/>
                <a:gd name="connsiteY7" fmla="*/ 97056 h 100132"/>
                <a:gd name="connsiteX8" fmla="*/ 90982 w 104497"/>
                <a:gd name="connsiteY8" fmla="*/ 100133 h 100132"/>
                <a:gd name="connsiteX9" fmla="*/ 32521 w 104497"/>
                <a:gd name="connsiteY9" fmla="*/ 10902 h 100132"/>
                <a:gd name="connsiteX10" fmla="*/ 17136 w 104497"/>
                <a:gd name="connsiteY10" fmla="*/ 17056 h 100132"/>
                <a:gd name="connsiteX11" fmla="*/ 35598 w 104497"/>
                <a:gd name="connsiteY11" fmla="*/ 57056 h 100132"/>
                <a:gd name="connsiteX12" fmla="*/ 90982 w 104497"/>
                <a:gd name="connsiteY12" fmla="*/ 84748 h 100132"/>
                <a:gd name="connsiteX13" fmla="*/ 87906 w 104497"/>
                <a:gd name="connsiteY13" fmla="*/ 44748 h 100132"/>
                <a:gd name="connsiteX14" fmla="*/ 50982 w 104497"/>
                <a:gd name="connsiteY14" fmla="*/ 13979 h 100132"/>
                <a:gd name="connsiteX15" fmla="*/ 32521 w 104497"/>
                <a:gd name="connsiteY15" fmla="*/ 10902 h 10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4497" h="100132">
                  <a:moveTo>
                    <a:pt x="90982" y="100133"/>
                  </a:moveTo>
                  <a:cubicBezTo>
                    <a:pt x="84828" y="100133"/>
                    <a:pt x="69444" y="97056"/>
                    <a:pt x="29444" y="69363"/>
                  </a:cubicBezTo>
                  <a:cubicBezTo>
                    <a:pt x="4828" y="53979"/>
                    <a:pt x="-7479" y="38594"/>
                    <a:pt x="4828" y="13979"/>
                  </a:cubicBezTo>
                  <a:cubicBezTo>
                    <a:pt x="17136" y="-10636"/>
                    <a:pt x="54059" y="4748"/>
                    <a:pt x="57136" y="4748"/>
                  </a:cubicBezTo>
                  <a:cubicBezTo>
                    <a:pt x="57136" y="4748"/>
                    <a:pt x="57136" y="4748"/>
                    <a:pt x="57136" y="4748"/>
                  </a:cubicBezTo>
                  <a:cubicBezTo>
                    <a:pt x="60213" y="7825"/>
                    <a:pt x="90982" y="29364"/>
                    <a:pt x="97136" y="38594"/>
                  </a:cubicBezTo>
                  <a:cubicBezTo>
                    <a:pt x="103290" y="47825"/>
                    <a:pt x="106367" y="75518"/>
                    <a:pt x="103290" y="87825"/>
                  </a:cubicBezTo>
                  <a:cubicBezTo>
                    <a:pt x="100213" y="93979"/>
                    <a:pt x="97136" y="97056"/>
                    <a:pt x="94059" y="97056"/>
                  </a:cubicBezTo>
                  <a:cubicBezTo>
                    <a:pt x="94059" y="100133"/>
                    <a:pt x="94059" y="100133"/>
                    <a:pt x="90982" y="100133"/>
                  </a:cubicBezTo>
                  <a:close/>
                  <a:moveTo>
                    <a:pt x="32521" y="10902"/>
                  </a:moveTo>
                  <a:cubicBezTo>
                    <a:pt x="26367" y="10902"/>
                    <a:pt x="20213" y="13979"/>
                    <a:pt x="17136" y="17056"/>
                  </a:cubicBezTo>
                  <a:cubicBezTo>
                    <a:pt x="7905" y="29364"/>
                    <a:pt x="10983" y="38594"/>
                    <a:pt x="35598" y="57056"/>
                  </a:cubicBezTo>
                  <a:cubicBezTo>
                    <a:pt x="69444" y="78594"/>
                    <a:pt x="87906" y="84748"/>
                    <a:pt x="90982" y="84748"/>
                  </a:cubicBezTo>
                  <a:cubicBezTo>
                    <a:pt x="94059" y="81671"/>
                    <a:pt x="94059" y="50902"/>
                    <a:pt x="87906" y="44748"/>
                  </a:cubicBezTo>
                  <a:cubicBezTo>
                    <a:pt x="81751" y="38594"/>
                    <a:pt x="60213" y="20133"/>
                    <a:pt x="50982" y="13979"/>
                  </a:cubicBezTo>
                  <a:cubicBezTo>
                    <a:pt x="50982" y="13979"/>
                    <a:pt x="41752" y="10902"/>
                    <a:pt x="32521" y="10902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9F80A640-2F76-46C5-966E-00F2688D58E5}"/>
                </a:ext>
              </a:extLst>
            </p:cNvPr>
            <p:cNvSpPr/>
            <p:nvPr/>
          </p:nvSpPr>
          <p:spPr>
            <a:xfrm>
              <a:off x="6660695" y="9504433"/>
              <a:ext cx="124408" cy="113846"/>
            </a:xfrm>
            <a:custGeom>
              <a:avLst/>
              <a:gdLst>
                <a:gd name="connsiteX0" fmla="*/ 98586 w 124408"/>
                <a:gd name="connsiteY0" fmla="*/ 113846 h 113846"/>
                <a:gd name="connsiteX1" fmla="*/ 9356 w 124408"/>
                <a:gd name="connsiteY1" fmla="*/ 61538 h 113846"/>
                <a:gd name="connsiteX2" fmla="*/ 3201 w 124408"/>
                <a:gd name="connsiteY2" fmla="*/ 24615 h 113846"/>
                <a:gd name="connsiteX3" fmla="*/ 37048 w 124408"/>
                <a:gd name="connsiteY3" fmla="*/ 0 h 113846"/>
                <a:gd name="connsiteX4" fmla="*/ 43202 w 124408"/>
                <a:gd name="connsiteY4" fmla="*/ 3077 h 113846"/>
                <a:gd name="connsiteX5" fmla="*/ 40125 w 124408"/>
                <a:gd name="connsiteY5" fmla="*/ 9231 h 113846"/>
                <a:gd name="connsiteX6" fmla="*/ 15509 w 124408"/>
                <a:gd name="connsiteY6" fmla="*/ 27693 h 113846"/>
                <a:gd name="connsiteX7" fmla="*/ 21663 w 124408"/>
                <a:gd name="connsiteY7" fmla="*/ 52308 h 113846"/>
                <a:gd name="connsiteX8" fmla="*/ 104740 w 124408"/>
                <a:gd name="connsiteY8" fmla="*/ 98461 h 113846"/>
                <a:gd name="connsiteX9" fmla="*/ 110894 w 124408"/>
                <a:gd name="connsiteY9" fmla="*/ 83077 h 113846"/>
                <a:gd name="connsiteX10" fmla="*/ 107817 w 124408"/>
                <a:gd name="connsiteY10" fmla="*/ 61538 h 113846"/>
                <a:gd name="connsiteX11" fmla="*/ 107817 w 124408"/>
                <a:gd name="connsiteY11" fmla="*/ 52308 h 113846"/>
                <a:gd name="connsiteX12" fmla="*/ 117048 w 124408"/>
                <a:gd name="connsiteY12" fmla="*/ 52308 h 113846"/>
                <a:gd name="connsiteX13" fmla="*/ 123202 w 124408"/>
                <a:gd name="connsiteY13" fmla="*/ 83077 h 113846"/>
                <a:gd name="connsiteX14" fmla="*/ 110894 w 124408"/>
                <a:gd name="connsiteY14" fmla="*/ 107692 h 113846"/>
                <a:gd name="connsiteX15" fmla="*/ 98586 w 124408"/>
                <a:gd name="connsiteY15" fmla="*/ 113846 h 11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4408" h="113846">
                  <a:moveTo>
                    <a:pt x="98586" y="113846"/>
                  </a:moveTo>
                  <a:cubicBezTo>
                    <a:pt x="77048" y="113846"/>
                    <a:pt x="33971" y="98461"/>
                    <a:pt x="9356" y="61538"/>
                  </a:cubicBezTo>
                  <a:cubicBezTo>
                    <a:pt x="125" y="49231"/>
                    <a:pt x="-2952" y="36923"/>
                    <a:pt x="3201" y="24615"/>
                  </a:cubicBezTo>
                  <a:cubicBezTo>
                    <a:pt x="9356" y="6154"/>
                    <a:pt x="37048" y="0"/>
                    <a:pt x="37048" y="0"/>
                  </a:cubicBezTo>
                  <a:cubicBezTo>
                    <a:pt x="40125" y="0"/>
                    <a:pt x="43202" y="0"/>
                    <a:pt x="43202" y="3077"/>
                  </a:cubicBezTo>
                  <a:cubicBezTo>
                    <a:pt x="43202" y="6154"/>
                    <a:pt x="43202" y="9231"/>
                    <a:pt x="40125" y="9231"/>
                  </a:cubicBezTo>
                  <a:cubicBezTo>
                    <a:pt x="40125" y="9231"/>
                    <a:pt x="18586" y="12308"/>
                    <a:pt x="15509" y="27693"/>
                  </a:cubicBezTo>
                  <a:cubicBezTo>
                    <a:pt x="12432" y="33846"/>
                    <a:pt x="15509" y="43077"/>
                    <a:pt x="21663" y="52308"/>
                  </a:cubicBezTo>
                  <a:cubicBezTo>
                    <a:pt x="46279" y="92308"/>
                    <a:pt x="98586" y="101539"/>
                    <a:pt x="104740" y="98461"/>
                  </a:cubicBezTo>
                  <a:cubicBezTo>
                    <a:pt x="104740" y="98461"/>
                    <a:pt x="110894" y="92308"/>
                    <a:pt x="110894" y="83077"/>
                  </a:cubicBezTo>
                  <a:cubicBezTo>
                    <a:pt x="110894" y="76923"/>
                    <a:pt x="113971" y="67692"/>
                    <a:pt x="107817" y="61538"/>
                  </a:cubicBezTo>
                  <a:cubicBezTo>
                    <a:pt x="104740" y="58462"/>
                    <a:pt x="104740" y="55385"/>
                    <a:pt x="107817" y="52308"/>
                  </a:cubicBezTo>
                  <a:cubicBezTo>
                    <a:pt x="110894" y="49231"/>
                    <a:pt x="113971" y="49231"/>
                    <a:pt x="117048" y="52308"/>
                  </a:cubicBezTo>
                  <a:cubicBezTo>
                    <a:pt x="123202" y="61538"/>
                    <a:pt x="126278" y="70769"/>
                    <a:pt x="123202" y="83077"/>
                  </a:cubicBezTo>
                  <a:cubicBezTo>
                    <a:pt x="120125" y="92308"/>
                    <a:pt x="117048" y="104616"/>
                    <a:pt x="110894" y="107692"/>
                  </a:cubicBezTo>
                  <a:cubicBezTo>
                    <a:pt x="104740" y="110769"/>
                    <a:pt x="101663" y="113846"/>
                    <a:pt x="98586" y="113846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029BA5CC-D1FD-4BAC-B463-980CB42B9EE3}"/>
                </a:ext>
              </a:extLst>
            </p:cNvPr>
            <p:cNvSpPr/>
            <p:nvPr/>
          </p:nvSpPr>
          <p:spPr>
            <a:xfrm>
              <a:off x="6653419" y="9554433"/>
              <a:ext cx="104748" cy="106923"/>
            </a:xfrm>
            <a:custGeom>
              <a:avLst/>
              <a:gdLst>
                <a:gd name="connsiteX0" fmla="*/ 68939 w 104748"/>
                <a:gd name="connsiteY0" fmla="*/ 106923 h 106923"/>
                <a:gd name="connsiteX1" fmla="*/ 56631 w 104748"/>
                <a:gd name="connsiteY1" fmla="*/ 103846 h 106923"/>
                <a:gd name="connsiteX2" fmla="*/ 1247 w 104748"/>
                <a:gd name="connsiteY2" fmla="*/ 45385 h 106923"/>
                <a:gd name="connsiteX3" fmla="*/ 16632 w 104748"/>
                <a:gd name="connsiteY3" fmla="*/ 2307 h 106923"/>
                <a:gd name="connsiteX4" fmla="*/ 25862 w 104748"/>
                <a:gd name="connsiteY4" fmla="*/ 2307 h 106923"/>
                <a:gd name="connsiteX5" fmla="*/ 25862 w 104748"/>
                <a:gd name="connsiteY5" fmla="*/ 11538 h 106923"/>
                <a:gd name="connsiteX6" fmla="*/ 13555 w 104748"/>
                <a:gd name="connsiteY6" fmla="*/ 39231 h 106923"/>
                <a:gd name="connsiteX7" fmla="*/ 62786 w 104748"/>
                <a:gd name="connsiteY7" fmla="*/ 91539 h 106923"/>
                <a:gd name="connsiteX8" fmla="*/ 90478 w 104748"/>
                <a:gd name="connsiteY8" fmla="*/ 82308 h 106923"/>
                <a:gd name="connsiteX9" fmla="*/ 84324 w 104748"/>
                <a:gd name="connsiteY9" fmla="*/ 57692 h 106923"/>
                <a:gd name="connsiteX10" fmla="*/ 84324 w 104748"/>
                <a:gd name="connsiteY10" fmla="*/ 48461 h 106923"/>
                <a:gd name="connsiteX11" fmla="*/ 93555 w 104748"/>
                <a:gd name="connsiteY11" fmla="*/ 48461 h 106923"/>
                <a:gd name="connsiteX12" fmla="*/ 99709 w 104748"/>
                <a:gd name="connsiteY12" fmla="*/ 88461 h 106923"/>
                <a:gd name="connsiteX13" fmla="*/ 68939 w 104748"/>
                <a:gd name="connsiteY13" fmla="*/ 106923 h 10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4748" h="106923">
                  <a:moveTo>
                    <a:pt x="68939" y="106923"/>
                  </a:moveTo>
                  <a:cubicBezTo>
                    <a:pt x="62786" y="106923"/>
                    <a:pt x="59709" y="106923"/>
                    <a:pt x="56631" y="103846"/>
                  </a:cubicBezTo>
                  <a:cubicBezTo>
                    <a:pt x="41247" y="94615"/>
                    <a:pt x="7401" y="60769"/>
                    <a:pt x="1247" y="45385"/>
                  </a:cubicBezTo>
                  <a:cubicBezTo>
                    <a:pt x="-4907" y="30000"/>
                    <a:pt x="13555" y="5385"/>
                    <a:pt x="16632" y="2307"/>
                  </a:cubicBezTo>
                  <a:cubicBezTo>
                    <a:pt x="19708" y="-769"/>
                    <a:pt x="22786" y="-769"/>
                    <a:pt x="25862" y="2307"/>
                  </a:cubicBezTo>
                  <a:cubicBezTo>
                    <a:pt x="28939" y="5385"/>
                    <a:pt x="28939" y="8462"/>
                    <a:pt x="25862" y="11538"/>
                  </a:cubicBezTo>
                  <a:cubicBezTo>
                    <a:pt x="19708" y="17692"/>
                    <a:pt x="10478" y="33077"/>
                    <a:pt x="13555" y="39231"/>
                  </a:cubicBezTo>
                  <a:cubicBezTo>
                    <a:pt x="19708" y="51538"/>
                    <a:pt x="50478" y="82308"/>
                    <a:pt x="62786" y="91539"/>
                  </a:cubicBezTo>
                  <a:cubicBezTo>
                    <a:pt x="68939" y="94615"/>
                    <a:pt x="84324" y="91539"/>
                    <a:pt x="90478" y="82308"/>
                  </a:cubicBezTo>
                  <a:cubicBezTo>
                    <a:pt x="96632" y="76154"/>
                    <a:pt x="93555" y="66923"/>
                    <a:pt x="84324" y="57692"/>
                  </a:cubicBezTo>
                  <a:cubicBezTo>
                    <a:pt x="81247" y="54616"/>
                    <a:pt x="81247" y="51538"/>
                    <a:pt x="84324" y="48461"/>
                  </a:cubicBezTo>
                  <a:cubicBezTo>
                    <a:pt x="87401" y="45385"/>
                    <a:pt x="90478" y="45385"/>
                    <a:pt x="93555" y="48461"/>
                  </a:cubicBezTo>
                  <a:cubicBezTo>
                    <a:pt x="112016" y="70000"/>
                    <a:pt x="102785" y="85385"/>
                    <a:pt x="99709" y="88461"/>
                  </a:cubicBezTo>
                  <a:cubicBezTo>
                    <a:pt x="93555" y="100769"/>
                    <a:pt x="81247" y="106923"/>
                    <a:pt x="68939" y="106923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D5996559-B520-43B4-951B-3945A4FA42B7}"/>
                </a:ext>
              </a:extLst>
            </p:cNvPr>
            <p:cNvGrpSpPr/>
            <p:nvPr/>
          </p:nvGrpSpPr>
          <p:grpSpPr>
            <a:xfrm>
              <a:off x="8043127" y="8198808"/>
              <a:ext cx="580769" cy="300838"/>
              <a:chOff x="8043127" y="8198808"/>
              <a:chExt cx="580769" cy="300838"/>
            </a:xfrm>
          </p:grpSpPr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6591899A-BB02-422B-A45D-4B36C8B0F173}"/>
                  </a:ext>
                </a:extLst>
              </p:cNvPr>
              <p:cNvSpPr/>
              <p:nvPr/>
            </p:nvSpPr>
            <p:spPr>
              <a:xfrm>
                <a:off x="8048512" y="8218279"/>
                <a:ext cx="566154" cy="281367"/>
              </a:xfrm>
              <a:custGeom>
                <a:avLst/>
                <a:gdLst>
                  <a:gd name="connsiteX0" fmla="*/ 0 w 566154"/>
                  <a:gd name="connsiteY0" fmla="*/ 0 h 281367"/>
                  <a:gd name="connsiteX1" fmla="*/ 9231 w 566154"/>
                  <a:gd name="connsiteY1" fmla="*/ 193846 h 281367"/>
                  <a:gd name="connsiteX2" fmla="*/ 492308 w 566154"/>
                  <a:gd name="connsiteY2" fmla="*/ 276923 h 281367"/>
                  <a:gd name="connsiteX3" fmla="*/ 566154 w 566154"/>
                  <a:gd name="connsiteY3" fmla="*/ 83077 h 281367"/>
                  <a:gd name="connsiteX4" fmla="*/ 0 w 566154"/>
                  <a:gd name="connsiteY4" fmla="*/ 0 h 281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154" h="281367">
                    <a:moveTo>
                      <a:pt x="0" y="0"/>
                    </a:moveTo>
                    <a:lnTo>
                      <a:pt x="9231" y="193846"/>
                    </a:lnTo>
                    <a:cubicBezTo>
                      <a:pt x="9231" y="193846"/>
                      <a:pt x="156923" y="304616"/>
                      <a:pt x="492308" y="276923"/>
                    </a:cubicBezTo>
                    <a:lnTo>
                      <a:pt x="566154" y="83077"/>
                    </a:lnTo>
                    <a:cubicBezTo>
                      <a:pt x="566154" y="86154"/>
                      <a:pt x="243077" y="120000"/>
                      <a:pt x="0" y="0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6F693F89-8BEC-4240-9F1F-2C0C6F44E17E}"/>
                  </a:ext>
                </a:extLst>
              </p:cNvPr>
              <p:cNvSpPr/>
              <p:nvPr/>
            </p:nvSpPr>
            <p:spPr>
              <a:xfrm>
                <a:off x="8048512" y="8198808"/>
                <a:ext cx="566154" cy="116403"/>
              </a:xfrm>
              <a:custGeom>
                <a:avLst/>
                <a:gdLst>
                  <a:gd name="connsiteX0" fmla="*/ 0 w 566154"/>
                  <a:gd name="connsiteY0" fmla="*/ 19471 h 116403"/>
                  <a:gd name="connsiteX1" fmla="*/ 566154 w 566154"/>
                  <a:gd name="connsiteY1" fmla="*/ 105625 h 116403"/>
                  <a:gd name="connsiteX2" fmla="*/ 0 w 566154"/>
                  <a:gd name="connsiteY2" fmla="*/ 19471 h 116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6154" h="116403">
                    <a:moveTo>
                      <a:pt x="0" y="19471"/>
                    </a:moveTo>
                    <a:cubicBezTo>
                      <a:pt x="0" y="19471"/>
                      <a:pt x="206154" y="154856"/>
                      <a:pt x="566154" y="105625"/>
                    </a:cubicBezTo>
                    <a:cubicBezTo>
                      <a:pt x="566154" y="105625"/>
                      <a:pt x="310769" y="-54375"/>
                      <a:pt x="0" y="19471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F4C0770C-534A-451B-965F-7869206D6225}"/>
                  </a:ext>
                </a:extLst>
              </p:cNvPr>
              <p:cNvSpPr/>
              <p:nvPr/>
            </p:nvSpPr>
            <p:spPr>
              <a:xfrm>
                <a:off x="8043127" y="8209818"/>
                <a:ext cx="580769" cy="113076"/>
              </a:xfrm>
              <a:custGeom>
                <a:avLst/>
                <a:gdLst>
                  <a:gd name="connsiteX0" fmla="*/ 405384 w 580769"/>
                  <a:gd name="connsiteY0" fmla="*/ 113077 h 113076"/>
                  <a:gd name="connsiteX1" fmla="*/ 2308 w 580769"/>
                  <a:gd name="connsiteY1" fmla="*/ 11538 h 113076"/>
                  <a:gd name="connsiteX2" fmla="*/ 2308 w 580769"/>
                  <a:gd name="connsiteY2" fmla="*/ 2307 h 113076"/>
                  <a:gd name="connsiteX3" fmla="*/ 11539 w 580769"/>
                  <a:gd name="connsiteY3" fmla="*/ 2307 h 113076"/>
                  <a:gd name="connsiteX4" fmla="*/ 574615 w 580769"/>
                  <a:gd name="connsiteY4" fmla="*/ 88461 h 113076"/>
                  <a:gd name="connsiteX5" fmla="*/ 580769 w 580769"/>
                  <a:gd name="connsiteY5" fmla="*/ 94615 h 113076"/>
                  <a:gd name="connsiteX6" fmla="*/ 574615 w 580769"/>
                  <a:gd name="connsiteY6" fmla="*/ 100769 h 113076"/>
                  <a:gd name="connsiteX7" fmla="*/ 405384 w 580769"/>
                  <a:gd name="connsiteY7" fmla="*/ 113077 h 11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80769" h="113076">
                    <a:moveTo>
                      <a:pt x="405384" y="113077"/>
                    </a:moveTo>
                    <a:cubicBezTo>
                      <a:pt x="146923" y="113077"/>
                      <a:pt x="2308" y="14615"/>
                      <a:pt x="2308" y="11538"/>
                    </a:cubicBezTo>
                    <a:cubicBezTo>
                      <a:pt x="-769" y="8461"/>
                      <a:pt x="-769" y="5385"/>
                      <a:pt x="2308" y="2307"/>
                    </a:cubicBezTo>
                    <a:cubicBezTo>
                      <a:pt x="5384" y="-769"/>
                      <a:pt x="8462" y="-769"/>
                      <a:pt x="11539" y="2307"/>
                    </a:cubicBezTo>
                    <a:cubicBezTo>
                      <a:pt x="14615" y="2307"/>
                      <a:pt x="217692" y="143846"/>
                      <a:pt x="574615" y="88461"/>
                    </a:cubicBezTo>
                    <a:cubicBezTo>
                      <a:pt x="577692" y="88461"/>
                      <a:pt x="580769" y="91539"/>
                      <a:pt x="580769" y="94615"/>
                    </a:cubicBezTo>
                    <a:cubicBezTo>
                      <a:pt x="580769" y="97692"/>
                      <a:pt x="577692" y="100769"/>
                      <a:pt x="574615" y="100769"/>
                    </a:cubicBezTo>
                    <a:cubicBezTo>
                      <a:pt x="513077" y="110000"/>
                      <a:pt x="457693" y="113077"/>
                      <a:pt x="405384" y="11307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6A7F0695-C1FC-430A-96A6-5005C94FA68F}"/>
                  </a:ext>
                </a:extLst>
              </p:cNvPr>
              <p:cNvSpPr/>
              <p:nvPr/>
            </p:nvSpPr>
            <p:spPr>
              <a:xfrm>
                <a:off x="8217742" y="8329048"/>
                <a:ext cx="135384" cy="135384"/>
              </a:xfrm>
              <a:custGeom>
                <a:avLst/>
                <a:gdLst>
                  <a:gd name="connsiteX0" fmla="*/ 135385 w 135384"/>
                  <a:gd name="connsiteY0" fmla="*/ 58461 h 135384"/>
                  <a:gd name="connsiteX1" fmla="*/ 89231 w 135384"/>
                  <a:gd name="connsiteY1" fmla="*/ 52308 h 135384"/>
                  <a:gd name="connsiteX2" fmla="*/ 95385 w 135384"/>
                  <a:gd name="connsiteY2" fmla="*/ 6154 h 135384"/>
                  <a:gd name="connsiteX3" fmla="*/ 58462 w 135384"/>
                  <a:gd name="connsiteY3" fmla="*/ 0 h 135384"/>
                  <a:gd name="connsiteX4" fmla="*/ 52308 w 135384"/>
                  <a:gd name="connsiteY4" fmla="*/ 49231 h 135384"/>
                  <a:gd name="connsiteX5" fmla="*/ 6154 w 135384"/>
                  <a:gd name="connsiteY5" fmla="*/ 43077 h 135384"/>
                  <a:gd name="connsiteX6" fmla="*/ 0 w 135384"/>
                  <a:gd name="connsiteY6" fmla="*/ 76923 h 135384"/>
                  <a:gd name="connsiteX7" fmla="*/ 49231 w 135384"/>
                  <a:gd name="connsiteY7" fmla="*/ 83077 h 135384"/>
                  <a:gd name="connsiteX8" fmla="*/ 43077 w 135384"/>
                  <a:gd name="connsiteY8" fmla="*/ 132308 h 135384"/>
                  <a:gd name="connsiteX9" fmla="*/ 76923 w 135384"/>
                  <a:gd name="connsiteY9" fmla="*/ 135384 h 135384"/>
                  <a:gd name="connsiteX10" fmla="*/ 83077 w 135384"/>
                  <a:gd name="connsiteY10" fmla="*/ 89231 h 135384"/>
                  <a:gd name="connsiteX11" fmla="*/ 132308 w 135384"/>
                  <a:gd name="connsiteY11" fmla="*/ 95385 h 13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5384" h="135384">
                    <a:moveTo>
                      <a:pt x="135385" y="58461"/>
                    </a:moveTo>
                    <a:lnTo>
                      <a:pt x="89231" y="52308"/>
                    </a:lnTo>
                    <a:lnTo>
                      <a:pt x="95385" y="6154"/>
                    </a:lnTo>
                    <a:lnTo>
                      <a:pt x="58462" y="0"/>
                    </a:lnTo>
                    <a:lnTo>
                      <a:pt x="52308" y="49231"/>
                    </a:lnTo>
                    <a:lnTo>
                      <a:pt x="6154" y="43077"/>
                    </a:lnTo>
                    <a:lnTo>
                      <a:pt x="0" y="76923"/>
                    </a:lnTo>
                    <a:lnTo>
                      <a:pt x="49231" y="83077"/>
                    </a:lnTo>
                    <a:lnTo>
                      <a:pt x="43077" y="132308"/>
                    </a:lnTo>
                    <a:lnTo>
                      <a:pt x="76923" y="135384"/>
                    </a:lnTo>
                    <a:lnTo>
                      <a:pt x="83077" y="89231"/>
                    </a:lnTo>
                    <a:lnTo>
                      <a:pt x="132308" y="95385"/>
                    </a:ln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3E5E5EB0-A5E6-4360-B714-4C48DB783708}"/>
                </a:ext>
              </a:extLst>
            </p:cNvPr>
            <p:cNvSpPr/>
            <p:nvPr/>
          </p:nvSpPr>
          <p:spPr>
            <a:xfrm>
              <a:off x="8394142" y="9042894"/>
              <a:ext cx="685138" cy="2645585"/>
            </a:xfrm>
            <a:custGeom>
              <a:avLst/>
              <a:gdLst>
                <a:gd name="connsiteX0" fmla="*/ 45139 w 685138"/>
                <a:gd name="connsiteY0" fmla="*/ 0 h 2645585"/>
                <a:gd name="connsiteX1" fmla="*/ 365139 w 685138"/>
                <a:gd name="connsiteY1" fmla="*/ 95385 h 2645585"/>
                <a:gd name="connsiteX2" fmla="*/ 685139 w 685138"/>
                <a:gd name="connsiteY2" fmla="*/ 2590769 h 2645585"/>
                <a:gd name="connsiteX3" fmla="*/ 122062 w 685138"/>
                <a:gd name="connsiteY3" fmla="*/ 2630770 h 2645585"/>
                <a:gd name="connsiteX4" fmla="*/ 45139 w 685138"/>
                <a:gd name="connsiteY4" fmla="*/ 0 h 2645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138" h="2645585">
                  <a:moveTo>
                    <a:pt x="45139" y="0"/>
                  </a:moveTo>
                  <a:cubicBezTo>
                    <a:pt x="45139" y="0"/>
                    <a:pt x="300523" y="80000"/>
                    <a:pt x="365139" y="95385"/>
                  </a:cubicBezTo>
                  <a:cubicBezTo>
                    <a:pt x="429755" y="110769"/>
                    <a:pt x="685139" y="2590769"/>
                    <a:pt x="685139" y="2590769"/>
                  </a:cubicBezTo>
                  <a:cubicBezTo>
                    <a:pt x="685139" y="2590769"/>
                    <a:pt x="309754" y="2680000"/>
                    <a:pt x="122062" y="2630770"/>
                  </a:cubicBezTo>
                  <a:cubicBezTo>
                    <a:pt x="122062" y="2630770"/>
                    <a:pt x="-90246" y="461538"/>
                    <a:pt x="45139" y="0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514185FB-9CE7-4249-AF9E-12E8E3A6AF5B}"/>
                </a:ext>
              </a:extLst>
            </p:cNvPr>
            <p:cNvSpPr/>
            <p:nvPr/>
          </p:nvSpPr>
          <p:spPr>
            <a:xfrm>
              <a:off x="8537743" y="10725971"/>
              <a:ext cx="353846" cy="347692"/>
            </a:xfrm>
            <a:custGeom>
              <a:avLst/>
              <a:gdLst>
                <a:gd name="connsiteX0" fmla="*/ 209231 w 353846"/>
                <a:gd name="connsiteY0" fmla="*/ 347693 h 347692"/>
                <a:gd name="connsiteX1" fmla="*/ 209231 w 353846"/>
                <a:gd name="connsiteY1" fmla="*/ 347693 h 347692"/>
                <a:gd name="connsiteX2" fmla="*/ 27692 w 353846"/>
                <a:gd name="connsiteY2" fmla="*/ 304615 h 347692"/>
                <a:gd name="connsiteX3" fmla="*/ 27692 w 353846"/>
                <a:gd name="connsiteY3" fmla="*/ 301539 h 347692"/>
                <a:gd name="connsiteX4" fmla="*/ 0 w 353846"/>
                <a:gd name="connsiteY4" fmla="*/ 40001 h 347692"/>
                <a:gd name="connsiteX5" fmla="*/ 6154 w 353846"/>
                <a:gd name="connsiteY5" fmla="*/ 40001 h 347692"/>
                <a:gd name="connsiteX6" fmla="*/ 323077 w 353846"/>
                <a:gd name="connsiteY6" fmla="*/ 0 h 347692"/>
                <a:gd name="connsiteX7" fmla="*/ 329231 w 353846"/>
                <a:gd name="connsiteY7" fmla="*/ 0 h 347692"/>
                <a:gd name="connsiteX8" fmla="*/ 353846 w 353846"/>
                <a:gd name="connsiteY8" fmla="*/ 243077 h 347692"/>
                <a:gd name="connsiteX9" fmla="*/ 209231 w 353846"/>
                <a:gd name="connsiteY9" fmla="*/ 347693 h 347692"/>
                <a:gd name="connsiteX10" fmla="*/ 40000 w 353846"/>
                <a:gd name="connsiteY10" fmla="*/ 295385 h 347692"/>
                <a:gd name="connsiteX11" fmla="*/ 209231 w 353846"/>
                <a:gd name="connsiteY11" fmla="*/ 335384 h 347692"/>
                <a:gd name="connsiteX12" fmla="*/ 341538 w 353846"/>
                <a:gd name="connsiteY12" fmla="*/ 236923 h 347692"/>
                <a:gd name="connsiteX13" fmla="*/ 320000 w 353846"/>
                <a:gd name="connsiteY13" fmla="*/ 12308 h 347692"/>
                <a:gd name="connsiteX14" fmla="*/ 15385 w 353846"/>
                <a:gd name="connsiteY14" fmla="*/ 52308 h 347692"/>
                <a:gd name="connsiteX15" fmla="*/ 40000 w 353846"/>
                <a:gd name="connsiteY15" fmla="*/ 295385 h 34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3846" h="347692">
                  <a:moveTo>
                    <a:pt x="209231" y="347693"/>
                  </a:moveTo>
                  <a:lnTo>
                    <a:pt x="209231" y="347693"/>
                  </a:lnTo>
                  <a:lnTo>
                    <a:pt x="27692" y="304615"/>
                  </a:lnTo>
                  <a:lnTo>
                    <a:pt x="27692" y="301539"/>
                  </a:lnTo>
                  <a:lnTo>
                    <a:pt x="0" y="40001"/>
                  </a:lnTo>
                  <a:lnTo>
                    <a:pt x="6154" y="40001"/>
                  </a:lnTo>
                  <a:cubicBezTo>
                    <a:pt x="6154" y="40001"/>
                    <a:pt x="255385" y="9231"/>
                    <a:pt x="323077" y="0"/>
                  </a:cubicBezTo>
                  <a:lnTo>
                    <a:pt x="329231" y="0"/>
                  </a:lnTo>
                  <a:lnTo>
                    <a:pt x="353846" y="243077"/>
                  </a:lnTo>
                  <a:lnTo>
                    <a:pt x="209231" y="347693"/>
                  </a:lnTo>
                  <a:close/>
                  <a:moveTo>
                    <a:pt x="40000" y="295385"/>
                  </a:moveTo>
                  <a:lnTo>
                    <a:pt x="209231" y="335384"/>
                  </a:lnTo>
                  <a:lnTo>
                    <a:pt x="341538" y="236923"/>
                  </a:lnTo>
                  <a:lnTo>
                    <a:pt x="320000" y="12308"/>
                  </a:lnTo>
                  <a:cubicBezTo>
                    <a:pt x="252308" y="21539"/>
                    <a:pt x="52308" y="46154"/>
                    <a:pt x="15385" y="52308"/>
                  </a:cubicBezTo>
                  <a:lnTo>
                    <a:pt x="40000" y="295385"/>
                  </a:ln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3238A9C7-E035-4DB5-9A11-274ED49CAD8E}"/>
                </a:ext>
              </a:extLst>
            </p:cNvPr>
            <p:cNvSpPr/>
            <p:nvPr/>
          </p:nvSpPr>
          <p:spPr>
            <a:xfrm>
              <a:off x="7626973" y="9042894"/>
              <a:ext cx="520000" cy="2643753"/>
            </a:xfrm>
            <a:custGeom>
              <a:avLst/>
              <a:gdLst>
                <a:gd name="connsiteX0" fmla="*/ 520000 w 520000"/>
                <a:gd name="connsiteY0" fmla="*/ 0 h 2643753"/>
                <a:gd name="connsiteX1" fmla="*/ 409231 w 520000"/>
                <a:gd name="connsiteY1" fmla="*/ 2630770 h 2643753"/>
                <a:gd name="connsiteX2" fmla="*/ 0 w 520000"/>
                <a:gd name="connsiteY2" fmla="*/ 2603077 h 2643753"/>
                <a:gd name="connsiteX3" fmla="*/ 221538 w 520000"/>
                <a:gd name="connsiteY3" fmla="*/ 132308 h 2643753"/>
                <a:gd name="connsiteX4" fmla="*/ 520000 w 520000"/>
                <a:gd name="connsiteY4" fmla="*/ 0 h 264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0000" h="2643753">
                  <a:moveTo>
                    <a:pt x="520000" y="0"/>
                  </a:moveTo>
                  <a:cubicBezTo>
                    <a:pt x="520000" y="0"/>
                    <a:pt x="363077" y="1803077"/>
                    <a:pt x="409231" y="2630770"/>
                  </a:cubicBezTo>
                  <a:cubicBezTo>
                    <a:pt x="409231" y="2630770"/>
                    <a:pt x="70769" y="2673847"/>
                    <a:pt x="0" y="2603077"/>
                  </a:cubicBezTo>
                  <a:cubicBezTo>
                    <a:pt x="0" y="2603077"/>
                    <a:pt x="175385" y="187693"/>
                    <a:pt x="221538" y="132308"/>
                  </a:cubicBezTo>
                  <a:cubicBezTo>
                    <a:pt x="264616" y="76923"/>
                    <a:pt x="520000" y="0"/>
                    <a:pt x="520000" y="0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6F7F15C6-F694-4FC5-8124-FE468C4FE349}"/>
                </a:ext>
              </a:extLst>
            </p:cNvPr>
            <p:cNvSpPr/>
            <p:nvPr/>
          </p:nvSpPr>
          <p:spPr>
            <a:xfrm>
              <a:off x="7662622" y="10719818"/>
              <a:ext cx="133582" cy="319999"/>
            </a:xfrm>
            <a:custGeom>
              <a:avLst/>
              <a:gdLst>
                <a:gd name="connsiteX0" fmla="*/ 7429 w 133582"/>
                <a:gd name="connsiteY0" fmla="*/ 320000 h 319999"/>
                <a:gd name="connsiteX1" fmla="*/ 1274 w 133582"/>
                <a:gd name="connsiteY1" fmla="*/ 316923 h 319999"/>
                <a:gd name="connsiteX2" fmla="*/ 4351 w 133582"/>
                <a:gd name="connsiteY2" fmla="*/ 307692 h 319999"/>
                <a:gd name="connsiteX3" fmla="*/ 105890 w 133582"/>
                <a:gd name="connsiteY3" fmla="*/ 246154 h 319999"/>
                <a:gd name="connsiteX4" fmla="*/ 121275 w 133582"/>
                <a:gd name="connsiteY4" fmla="*/ 12308 h 319999"/>
                <a:gd name="connsiteX5" fmla="*/ 32044 w 133582"/>
                <a:gd name="connsiteY5" fmla="*/ 15385 h 319999"/>
                <a:gd name="connsiteX6" fmla="*/ 32044 w 133582"/>
                <a:gd name="connsiteY6" fmla="*/ 15385 h 319999"/>
                <a:gd name="connsiteX7" fmla="*/ 25890 w 133582"/>
                <a:gd name="connsiteY7" fmla="*/ 9230 h 319999"/>
                <a:gd name="connsiteX8" fmla="*/ 32044 w 133582"/>
                <a:gd name="connsiteY8" fmla="*/ 3076 h 319999"/>
                <a:gd name="connsiteX9" fmla="*/ 133582 w 133582"/>
                <a:gd name="connsiteY9" fmla="*/ 0 h 319999"/>
                <a:gd name="connsiteX10" fmla="*/ 133582 w 133582"/>
                <a:gd name="connsiteY10" fmla="*/ 6153 h 319999"/>
                <a:gd name="connsiteX11" fmla="*/ 118198 w 133582"/>
                <a:gd name="connsiteY11" fmla="*/ 252307 h 319999"/>
                <a:gd name="connsiteX12" fmla="*/ 7429 w 133582"/>
                <a:gd name="connsiteY12" fmla="*/ 320000 h 319999"/>
                <a:gd name="connsiteX13" fmla="*/ 7429 w 133582"/>
                <a:gd name="connsiteY13" fmla="*/ 320000 h 31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582" h="319999">
                  <a:moveTo>
                    <a:pt x="7429" y="320000"/>
                  </a:moveTo>
                  <a:cubicBezTo>
                    <a:pt x="4351" y="320000"/>
                    <a:pt x="4351" y="320000"/>
                    <a:pt x="1274" y="316923"/>
                  </a:cubicBezTo>
                  <a:cubicBezTo>
                    <a:pt x="-1802" y="313846"/>
                    <a:pt x="1274" y="310768"/>
                    <a:pt x="4351" y="307692"/>
                  </a:cubicBezTo>
                  <a:lnTo>
                    <a:pt x="105890" y="246154"/>
                  </a:lnTo>
                  <a:lnTo>
                    <a:pt x="121275" y="12308"/>
                  </a:lnTo>
                  <a:lnTo>
                    <a:pt x="32044" y="15385"/>
                  </a:lnTo>
                  <a:cubicBezTo>
                    <a:pt x="32044" y="15385"/>
                    <a:pt x="32044" y="15385"/>
                    <a:pt x="32044" y="15385"/>
                  </a:cubicBezTo>
                  <a:cubicBezTo>
                    <a:pt x="28967" y="15385"/>
                    <a:pt x="25890" y="12308"/>
                    <a:pt x="25890" y="9230"/>
                  </a:cubicBezTo>
                  <a:cubicBezTo>
                    <a:pt x="25890" y="6153"/>
                    <a:pt x="28967" y="3076"/>
                    <a:pt x="32044" y="3076"/>
                  </a:cubicBezTo>
                  <a:lnTo>
                    <a:pt x="133582" y="0"/>
                  </a:lnTo>
                  <a:lnTo>
                    <a:pt x="133582" y="6153"/>
                  </a:lnTo>
                  <a:lnTo>
                    <a:pt x="118198" y="252307"/>
                  </a:lnTo>
                  <a:lnTo>
                    <a:pt x="7429" y="320000"/>
                  </a:lnTo>
                  <a:cubicBezTo>
                    <a:pt x="10505" y="320000"/>
                    <a:pt x="10505" y="320000"/>
                    <a:pt x="7429" y="320000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1" name="图形 1">
              <a:extLst>
                <a:ext uri="{FF2B5EF4-FFF2-40B4-BE49-F238E27FC236}">
                  <a16:creationId xmlns:a16="http://schemas.microsoft.com/office/drawing/2014/main" id="{986FD5D8-4EBA-4A65-AE75-0647A94E6449}"/>
                </a:ext>
              </a:extLst>
            </p:cNvPr>
            <p:cNvGrpSpPr/>
            <p:nvPr/>
          </p:nvGrpSpPr>
          <p:grpSpPr>
            <a:xfrm>
              <a:off x="8769275" y="10458279"/>
              <a:ext cx="294767" cy="389619"/>
              <a:chOff x="8769275" y="10458279"/>
              <a:chExt cx="294767" cy="389619"/>
            </a:xfrm>
          </p:grpSpPr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3DB8DF60-5ECF-45C9-A842-08DD979B8AEA}"/>
                  </a:ext>
                </a:extLst>
              </p:cNvPr>
              <p:cNvSpPr/>
              <p:nvPr/>
            </p:nvSpPr>
            <p:spPr>
              <a:xfrm>
                <a:off x="8779654" y="10489049"/>
                <a:ext cx="139627" cy="208003"/>
              </a:xfrm>
              <a:custGeom>
                <a:avLst/>
                <a:gdLst>
                  <a:gd name="connsiteX0" fmla="*/ 139627 w 139627"/>
                  <a:gd name="connsiteY0" fmla="*/ 0 h 208003"/>
                  <a:gd name="connsiteX1" fmla="*/ 38089 w 139627"/>
                  <a:gd name="connsiteY1" fmla="*/ 61538 h 208003"/>
                  <a:gd name="connsiteX2" fmla="*/ 7320 w 139627"/>
                  <a:gd name="connsiteY2" fmla="*/ 196923 h 208003"/>
                  <a:gd name="connsiteX3" fmla="*/ 44243 w 139627"/>
                  <a:gd name="connsiteY3" fmla="*/ 184615 h 208003"/>
                  <a:gd name="connsiteX4" fmla="*/ 139627 w 139627"/>
                  <a:gd name="connsiteY4" fmla="*/ 0 h 20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627" h="208003">
                    <a:moveTo>
                      <a:pt x="139627" y="0"/>
                    </a:moveTo>
                    <a:cubicBezTo>
                      <a:pt x="139627" y="0"/>
                      <a:pt x="62704" y="24615"/>
                      <a:pt x="38089" y="61538"/>
                    </a:cubicBezTo>
                    <a:cubicBezTo>
                      <a:pt x="16550" y="98461"/>
                      <a:pt x="-14219" y="166154"/>
                      <a:pt x="7320" y="196923"/>
                    </a:cubicBezTo>
                    <a:cubicBezTo>
                      <a:pt x="28858" y="227692"/>
                      <a:pt x="44243" y="184615"/>
                      <a:pt x="44243" y="184615"/>
                    </a:cubicBezTo>
                    <a:lnTo>
                      <a:pt x="139627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CAE70730-BB58-4712-BD3F-95F24EEB4FAA}"/>
                  </a:ext>
                </a:extLst>
              </p:cNvPr>
              <p:cNvSpPr/>
              <p:nvPr/>
            </p:nvSpPr>
            <p:spPr>
              <a:xfrm>
                <a:off x="8771805" y="10458279"/>
                <a:ext cx="292237" cy="389619"/>
              </a:xfrm>
              <a:custGeom>
                <a:avLst/>
                <a:gdLst>
                  <a:gd name="connsiteX0" fmla="*/ 279784 w 292237"/>
                  <a:gd name="connsiteY0" fmla="*/ 46154 h 389619"/>
                  <a:gd name="connsiteX1" fmla="*/ 156707 w 292237"/>
                  <a:gd name="connsiteY1" fmla="*/ 0 h 389619"/>
                  <a:gd name="connsiteX2" fmla="*/ 18245 w 292237"/>
                  <a:gd name="connsiteY2" fmla="*/ 227692 h 389619"/>
                  <a:gd name="connsiteX3" fmla="*/ 12092 w 292237"/>
                  <a:gd name="connsiteY3" fmla="*/ 304615 h 389619"/>
                  <a:gd name="connsiteX4" fmla="*/ 30553 w 292237"/>
                  <a:gd name="connsiteY4" fmla="*/ 295384 h 389619"/>
                  <a:gd name="connsiteX5" fmla="*/ 58245 w 292237"/>
                  <a:gd name="connsiteY5" fmla="*/ 258461 h 389619"/>
                  <a:gd name="connsiteX6" fmla="*/ 45937 w 292237"/>
                  <a:gd name="connsiteY6" fmla="*/ 320000 h 389619"/>
                  <a:gd name="connsiteX7" fmla="*/ 61322 w 292237"/>
                  <a:gd name="connsiteY7" fmla="*/ 387692 h 389619"/>
                  <a:gd name="connsiteX8" fmla="*/ 89015 w 292237"/>
                  <a:gd name="connsiteY8" fmla="*/ 369231 h 389619"/>
                  <a:gd name="connsiteX9" fmla="*/ 104399 w 292237"/>
                  <a:gd name="connsiteY9" fmla="*/ 378461 h 389619"/>
                  <a:gd name="connsiteX10" fmla="*/ 153630 w 292237"/>
                  <a:gd name="connsiteY10" fmla="*/ 316923 h 389619"/>
                  <a:gd name="connsiteX11" fmla="*/ 175169 w 292237"/>
                  <a:gd name="connsiteY11" fmla="*/ 264615 h 389619"/>
                  <a:gd name="connsiteX12" fmla="*/ 187476 w 292237"/>
                  <a:gd name="connsiteY12" fmla="*/ 332307 h 389619"/>
                  <a:gd name="connsiteX13" fmla="*/ 215168 w 292237"/>
                  <a:gd name="connsiteY13" fmla="*/ 283076 h 389619"/>
                  <a:gd name="connsiteX14" fmla="*/ 245937 w 292237"/>
                  <a:gd name="connsiteY14" fmla="*/ 187692 h 389619"/>
                  <a:gd name="connsiteX15" fmla="*/ 285938 w 292237"/>
                  <a:gd name="connsiteY15" fmla="*/ 98461 h 389619"/>
                  <a:gd name="connsiteX16" fmla="*/ 279784 w 292237"/>
                  <a:gd name="connsiteY16" fmla="*/ 46154 h 389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2237" h="389619">
                    <a:moveTo>
                      <a:pt x="279784" y="46154"/>
                    </a:moveTo>
                    <a:cubicBezTo>
                      <a:pt x="252092" y="15385"/>
                      <a:pt x="156707" y="0"/>
                      <a:pt x="156707" y="0"/>
                    </a:cubicBezTo>
                    <a:cubicBezTo>
                      <a:pt x="110553" y="76923"/>
                      <a:pt x="52092" y="144615"/>
                      <a:pt x="18245" y="227692"/>
                    </a:cubicBezTo>
                    <a:cubicBezTo>
                      <a:pt x="12092" y="240000"/>
                      <a:pt x="-15601" y="298461"/>
                      <a:pt x="12092" y="304615"/>
                    </a:cubicBezTo>
                    <a:cubicBezTo>
                      <a:pt x="21322" y="307692"/>
                      <a:pt x="27476" y="301538"/>
                      <a:pt x="30553" y="295384"/>
                    </a:cubicBezTo>
                    <a:cubicBezTo>
                      <a:pt x="39784" y="283076"/>
                      <a:pt x="49015" y="270769"/>
                      <a:pt x="58245" y="258461"/>
                    </a:cubicBezTo>
                    <a:cubicBezTo>
                      <a:pt x="52092" y="279999"/>
                      <a:pt x="49015" y="298461"/>
                      <a:pt x="45937" y="320000"/>
                    </a:cubicBezTo>
                    <a:cubicBezTo>
                      <a:pt x="42861" y="335384"/>
                      <a:pt x="42861" y="375384"/>
                      <a:pt x="61322" y="387692"/>
                    </a:cubicBezTo>
                    <a:cubicBezTo>
                      <a:pt x="70553" y="393846"/>
                      <a:pt x="79784" y="384615"/>
                      <a:pt x="89015" y="369231"/>
                    </a:cubicBezTo>
                    <a:cubicBezTo>
                      <a:pt x="92091" y="375384"/>
                      <a:pt x="95168" y="378461"/>
                      <a:pt x="104399" y="378461"/>
                    </a:cubicBezTo>
                    <a:cubicBezTo>
                      <a:pt x="125938" y="375384"/>
                      <a:pt x="144399" y="335384"/>
                      <a:pt x="153630" y="316923"/>
                    </a:cubicBezTo>
                    <a:cubicBezTo>
                      <a:pt x="162861" y="298461"/>
                      <a:pt x="169014" y="283076"/>
                      <a:pt x="175169" y="264615"/>
                    </a:cubicBezTo>
                    <a:cubicBezTo>
                      <a:pt x="169014" y="298461"/>
                      <a:pt x="165938" y="335384"/>
                      <a:pt x="187476" y="332307"/>
                    </a:cubicBezTo>
                    <a:cubicBezTo>
                      <a:pt x="202861" y="329230"/>
                      <a:pt x="212092" y="295384"/>
                      <a:pt x="215168" y="283076"/>
                    </a:cubicBezTo>
                    <a:cubicBezTo>
                      <a:pt x="227476" y="252307"/>
                      <a:pt x="233630" y="218461"/>
                      <a:pt x="245937" y="187692"/>
                    </a:cubicBezTo>
                    <a:cubicBezTo>
                      <a:pt x="258245" y="156922"/>
                      <a:pt x="273630" y="129230"/>
                      <a:pt x="285938" y="98461"/>
                    </a:cubicBezTo>
                    <a:cubicBezTo>
                      <a:pt x="295168" y="73846"/>
                      <a:pt x="295168" y="64615"/>
                      <a:pt x="279784" y="4615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30366CDA-F98E-4B25-9FC0-B20AAADDEFAE}"/>
                  </a:ext>
                </a:extLst>
              </p:cNvPr>
              <p:cNvSpPr/>
              <p:nvPr/>
            </p:nvSpPr>
            <p:spPr>
              <a:xfrm>
                <a:off x="8854666" y="10662125"/>
                <a:ext cx="57692" cy="171538"/>
              </a:xfrm>
              <a:custGeom>
                <a:avLst/>
                <a:gdLst>
                  <a:gd name="connsiteX0" fmla="*/ 6154 w 57692"/>
                  <a:gd name="connsiteY0" fmla="*/ 171539 h 171538"/>
                  <a:gd name="connsiteX1" fmla="*/ 6154 w 57692"/>
                  <a:gd name="connsiteY1" fmla="*/ 171539 h 171538"/>
                  <a:gd name="connsiteX2" fmla="*/ 0 w 57692"/>
                  <a:gd name="connsiteY2" fmla="*/ 165385 h 171538"/>
                  <a:gd name="connsiteX3" fmla="*/ 46154 w 57692"/>
                  <a:gd name="connsiteY3" fmla="*/ 2308 h 171538"/>
                  <a:gd name="connsiteX4" fmla="*/ 55384 w 57692"/>
                  <a:gd name="connsiteY4" fmla="*/ 2308 h 171538"/>
                  <a:gd name="connsiteX5" fmla="*/ 55384 w 57692"/>
                  <a:gd name="connsiteY5" fmla="*/ 11539 h 171538"/>
                  <a:gd name="connsiteX6" fmla="*/ 12308 w 57692"/>
                  <a:gd name="connsiteY6" fmla="*/ 168461 h 171538"/>
                  <a:gd name="connsiteX7" fmla="*/ 6154 w 57692"/>
                  <a:gd name="connsiteY7" fmla="*/ 171539 h 17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692" h="171538">
                    <a:moveTo>
                      <a:pt x="6154" y="171539"/>
                    </a:moveTo>
                    <a:cubicBezTo>
                      <a:pt x="6154" y="171539"/>
                      <a:pt x="6154" y="171539"/>
                      <a:pt x="6154" y="171539"/>
                    </a:cubicBezTo>
                    <a:cubicBezTo>
                      <a:pt x="3077" y="171539"/>
                      <a:pt x="0" y="168461"/>
                      <a:pt x="0" y="165385"/>
                    </a:cubicBezTo>
                    <a:cubicBezTo>
                      <a:pt x="0" y="159231"/>
                      <a:pt x="24615" y="33077"/>
                      <a:pt x="46154" y="2308"/>
                    </a:cubicBezTo>
                    <a:cubicBezTo>
                      <a:pt x="49230" y="-769"/>
                      <a:pt x="52308" y="-769"/>
                      <a:pt x="55384" y="2308"/>
                    </a:cubicBezTo>
                    <a:cubicBezTo>
                      <a:pt x="58461" y="5385"/>
                      <a:pt x="58461" y="8462"/>
                      <a:pt x="55384" y="11539"/>
                    </a:cubicBezTo>
                    <a:cubicBezTo>
                      <a:pt x="33846" y="39231"/>
                      <a:pt x="12308" y="168461"/>
                      <a:pt x="12308" y="168461"/>
                    </a:cubicBezTo>
                    <a:cubicBezTo>
                      <a:pt x="12308" y="168461"/>
                      <a:pt x="9230" y="171539"/>
                      <a:pt x="6154" y="17153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6BB6B42E-965F-4C3B-8821-776236267C5E}"/>
                  </a:ext>
                </a:extLst>
              </p:cNvPr>
              <p:cNvSpPr/>
              <p:nvPr/>
            </p:nvSpPr>
            <p:spPr>
              <a:xfrm>
                <a:off x="8940819" y="10667510"/>
                <a:ext cx="30769" cy="61538"/>
              </a:xfrm>
              <a:custGeom>
                <a:avLst/>
                <a:gdLst>
                  <a:gd name="connsiteX0" fmla="*/ 6154 w 30769"/>
                  <a:gd name="connsiteY0" fmla="*/ 61538 h 61538"/>
                  <a:gd name="connsiteX1" fmla="*/ 6154 w 30769"/>
                  <a:gd name="connsiteY1" fmla="*/ 61538 h 61538"/>
                  <a:gd name="connsiteX2" fmla="*/ 0 w 30769"/>
                  <a:gd name="connsiteY2" fmla="*/ 52308 h 61538"/>
                  <a:gd name="connsiteX3" fmla="*/ 21539 w 30769"/>
                  <a:gd name="connsiteY3" fmla="*/ 3077 h 61538"/>
                  <a:gd name="connsiteX4" fmla="*/ 27693 w 30769"/>
                  <a:gd name="connsiteY4" fmla="*/ 0 h 61538"/>
                  <a:gd name="connsiteX5" fmla="*/ 30769 w 30769"/>
                  <a:gd name="connsiteY5" fmla="*/ 6154 h 61538"/>
                  <a:gd name="connsiteX6" fmla="*/ 9231 w 30769"/>
                  <a:gd name="connsiteY6" fmla="*/ 55384 h 61538"/>
                  <a:gd name="connsiteX7" fmla="*/ 6154 w 30769"/>
                  <a:gd name="connsiteY7" fmla="*/ 61538 h 6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769" h="61538">
                    <a:moveTo>
                      <a:pt x="6154" y="61538"/>
                    </a:moveTo>
                    <a:cubicBezTo>
                      <a:pt x="6154" y="61538"/>
                      <a:pt x="6154" y="61538"/>
                      <a:pt x="6154" y="61538"/>
                    </a:cubicBezTo>
                    <a:cubicBezTo>
                      <a:pt x="0" y="58461"/>
                      <a:pt x="0" y="55384"/>
                      <a:pt x="0" y="52308"/>
                    </a:cubicBezTo>
                    <a:lnTo>
                      <a:pt x="21539" y="3077"/>
                    </a:lnTo>
                    <a:cubicBezTo>
                      <a:pt x="21539" y="0"/>
                      <a:pt x="24615" y="0"/>
                      <a:pt x="27693" y="0"/>
                    </a:cubicBezTo>
                    <a:cubicBezTo>
                      <a:pt x="30769" y="0"/>
                      <a:pt x="30769" y="3077"/>
                      <a:pt x="30769" y="6154"/>
                    </a:cubicBezTo>
                    <a:lnTo>
                      <a:pt x="9231" y="55384"/>
                    </a:lnTo>
                    <a:cubicBezTo>
                      <a:pt x="9231" y="61538"/>
                      <a:pt x="9231" y="61538"/>
                      <a:pt x="6154" y="6153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6FF587B2-A627-4FFB-A15C-654F54A3B030}"/>
                  </a:ext>
                </a:extLst>
              </p:cNvPr>
              <p:cNvSpPr/>
              <p:nvPr/>
            </p:nvSpPr>
            <p:spPr>
              <a:xfrm>
                <a:off x="8889281" y="10575971"/>
                <a:ext cx="103846" cy="57692"/>
              </a:xfrm>
              <a:custGeom>
                <a:avLst/>
                <a:gdLst>
                  <a:gd name="connsiteX0" fmla="*/ 97692 w 103846"/>
                  <a:gd name="connsiteY0" fmla="*/ 57692 h 57692"/>
                  <a:gd name="connsiteX1" fmla="*/ 97692 w 103846"/>
                  <a:gd name="connsiteY1" fmla="*/ 57692 h 57692"/>
                  <a:gd name="connsiteX2" fmla="*/ 2308 w 103846"/>
                  <a:gd name="connsiteY2" fmla="*/ 11538 h 57692"/>
                  <a:gd name="connsiteX3" fmla="*/ 2308 w 103846"/>
                  <a:gd name="connsiteY3" fmla="*/ 2308 h 57692"/>
                  <a:gd name="connsiteX4" fmla="*/ 11539 w 103846"/>
                  <a:gd name="connsiteY4" fmla="*/ 2308 h 57692"/>
                  <a:gd name="connsiteX5" fmla="*/ 97692 w 103846"/>
                  <a:gd name="connsiteY5" fmla="*/ 45385 h 57692"/>
                  <a:gd name="connsiteX6" fmla="*/ 103846 w 103846"/>
                  <a:gd name="connsiteY6" fmla="*/ 51539 h 57692"/>
                  <a:gd name="connsiteX7" fmla="*/ 97692 w 103846"/>
                  <a:gd name="connsiteY7" fmla="*/ 57692 h 57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846" h="57692">
                    <a:moveTo>
                      <a:pt x="97692" y="57692"/>
                    </a:moveTo>
                    <a:lnTo>
                      <a:pt x="97692" y="57692"/>
                    </a:lnTo>
                    <a:cubicBezTo>
                      <a:pt x="39231" y="54615"/>
                      <a:pt x="2308" y="14615"/>
                      <a:pt x="2308" y="11538"/>
                    </a:cubicBezTo>
                    <a:cubicBezTo>
                      <a:pt x="-769" y="8461"/>
                      <a:pt x="-769" y="5385"/>
                      <a:pt x="2308" y="2308"/>
                    </a:cubicBezTo>
                    <a:cubicBezTo>
                      <a:pt x="5384" y="-769"/>
                      <a:pt x="8462" y="-769"/>
                      <a:pt x="11539" y="2308"/>
                    </a:cubicBezTo>
                    <a:cubicBezTo>
                      <a:pt x="11539" y="2308"/>
                      <a:pt x="45385" y="42307"/>
                      <a:pt x="97692" y="45385"/>
                    </a:cubicBezTo>
                    <a:cubicBezTo>
                      <a:pt x="100769" y="45385"/>
                      <a:pt x="103846" y="48462"/>
                      <a:pt x="103846" y="51539"/>
                    </a:cubicBezTo>
                    <a:cubicBezTo>
                      <a:pt x="103846" y="57692"/>
                      <a:pt x="100769" y="57692"/>
                      <a:pt x="97692" y="5769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FC5DE17E-66D9-43DC-A514-3F38DAD57C66}"/>
                  </a:ext>
                </a:extLst>
              </p:cNvPr>
              <p:cNvSpPr/>
              <p:nvPr/>
            </p:nvSpPr>
            <p:spPr>
              <a:xfrm>
                <a:off x="8769275" y="10520587"/>
                <a:ext cx="121544" cy="248460"/>
              </a:xfrm>
              <a:custGeom>
                <a:avLst/>
                <a:gdLst>
                  <a:gd name="connsiteX0" fmla="*/ 14622 w 121544"/>
                  <a:gd name="connsiteY0" fmla="*/ 248461 h 248460"/>
                  <a:gd name="connsiteX1" fmla="*/ 14622 w 121544"/>
                  <a:gd name="connsiteY1" fmla="*/ 248461 h 248460"/>
                  <a:gd name="connsiteX2" fmla="*/ 2314 w 121544"/>
                  <a:gd name="connsiteY2" fmla="*/ 239231 h 248460"/>
                  <a:gd name="connsiteX3" fmla="*/ 110006 w 121544"/>
                  <a:gd name="connsiteY3" fmla="*/ 2307 h 248460"/>
                  <a:gd name="connsiteX4" fmla="*/ 119237 w 121544"/>
                  <a:gd name="connsiteY4" fmla="*/ 2307 h 248460"/>
                  <a:gd name="connsiteX5" fmla="*/ 119237 w 121544"/>
                  <a:gd name="connsiteY5" fmla="*/ 11538 h 248460"/>
                  <a:gd name="connsiteX6" fmla="*/ 14622 w 121544"/>
                  <a:gd name="connsiteY6" fmla="*/ 236153 h 248460"/>
                  <a:gd name="connsiteX7" fmla="*/ 17698 w 121544"/>
                  <a:gd name="connsiteY7" fmla="*/ 239231 h 248460"/>
                  <a:gd name="connsiteX8" fmla="*/ 57698 w 121544"/>
                  <a:gd name="connsiteY8" fmla="*/ 196154 h 248460"/>
                  <a:gd name="connsiteX9" fmla="*/ 94621 w 121544"/>
                  <a:gd name="connsiteY9" fmla="*/ 113077 h 248460"/>
                  <a:gd name="connsiteX10" fmla="*/ 103852 w 121544"/>
                  <a:gd name="connsiteY10" fmla="*/ 109999 h 248460"/>
                  <a:gd name="connsiteX11" fmla="*/ 106929 w 121544"/>
                  <a:gd name="connsiteY11" fmla="*/ 119231 h 248460"/>
                  <a:gd name="connsiteX12" fmla="*/ 73083 w 121544"/>
                  <a:gd name="connsiteY12" fmla="*/ 199231 h 248460"/>
                  <a:gd name="connsiteX13" fmla="*/ 73083 w 121544"/>
                  <a:gd name="connsiteY13" fmla="*/ 202307 h 248460"/>
                  <a:gd name="connsiteX14" fmla="*/ 14622 w 121544"/>
                  <a:gd name="connsiteY14" fmla="*/ 248461 h 248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1544" h="248460">
                    <a:moveTo>
                      <a:pt x="14622" y="248461"/>
                    </a:moveTo>
                    <a:cubicBezTo>
                      <a:pt x="14622" y="248461"/>
                      <a:pt x="14622" y="248461"/>
                      <a:pt x="14622" y="248461"/>
                    </a:cubicBezTo>
                    <a:cubicBezTo>
                      <a:pt x="8468" y="248461"/>
                      <a:pt x="5391" y="245385"/>
                      <a:pt x="2314" y="239231"/>
                    </a:cubicBezTo>
                    <a:cubicBezTo>
                      <a:pt x="-9994" y="211538"/>
                      <a:pt x="26929" y="116154"/>
                      <a:pt x="110006" y="2307"/>
                    </a:cubicBezTo>
                    <a:cubicBezTo>
                      <a:pt x="113083" y="-769"/>
                      <a:pt x="116160" y="-769"/>
                      <a:pt x="119237" y="2307"/>
                    </a:cubicBezTo>
                    <a:cubicBezTo>
                      <a:pt x="122314" y="5384"/>
                      <a:pt x="122314" y="8461"/>
                      <a:pt x="119237" y="11538"/>
                    </a:cubicBezTo>
                    <a:cubicBezTo>
                      <a:pt x="26929" y="137693"/>
                      <a:pt x="5391" y="220769"/>
                      <a:pt x="14622" y="236153"/>
                    </a:cubicBezTo>
                    <a:cubicBezTo>
                      <a:pt x="14622" y="239231"/>
                      <a:pt x="17698" y="239231"/>
                      <a:pt x="17698" y="239231"/>
                    </a:cubicBezTo>
                    <a:cubicBezTo>
                      <a:pt x="33083" y="239231"/>
                      <a:pt x="51545" y="208461"/>
                      <a:pt x="57698" y="196154"/>
                    </a:cubicBezTo>
                    <a:cubicBezTo>
                      <a:pt x="60776" y="177692"/>
                      <a:pt x="85391" y="122308"/>
                      <a:pt x="94621" y="113077"/>
                    </a:cubicBezTo>
                    <a:cubicBezTo>
                      <a:pt x="97698" y="109999"/>
                      <a:pt x="100776" y="109999"/>
                      <a:pt x="103852" y="109999"/>
                    </a:cubicBezTo>
                    <a:cubicBezTo>
                      <a:pt x="106929" y="113077"/>
                      <a:pt x="106929" y="116154"/>
                      <a:pt x="106929" y="119231"/>
                    </a:cubicBezTo>
                    <a:cubicBezTo>
                      <a:pt x="91545" y="143846"/>
                      <a:pt x="73083" y="190000"/>
                      <a:pt x="73083" y="199231"/>
                    </a:cubicBezTo>
                    <a:cubicBezTo>
                      <a:pt x="73083" y="199231"/>
                      <a:pt x="73083" y="202307"/>
                      <a:pt x="73083" y="202307"/>
                    </a:cubicBezTo>
                    <a:cubicBezTo>
                      <a:pt x="63852" y="205384"/>
                      <a:pt x="42314" y="248461"/>
                      <a:pt x="14622" y="24846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37F4DF2D-0098-4211-B00E-C105EF12C74E}"/>
                </a:ext>
              </a:extLst>
            </p:cNvPr>
            <p:cNvSpPr/>
            <p:nvPr/>
          </p:nvSpPr>
          <p:spPr>
            <a:xfrm>
              <a:off x="8617544" y="9141010"/>
              <a:ext cx="766365" cy="1391115"/>
            </a:xfrm>
            <a:custGeom>
              <a:avLst/>
              <a:gdLst>
                <a:gd name="connsiteX0" fmla="*/ 34045 w 766365"/>
                <a:gd name="connsiteY0" fmla="*/ 24962 h 1391115"/>
                <a:gd name="connsiteX1" fmla="*/ 166353 w 766365"/>
                <a:gd name="connsiteY1" fmla="*/ 532654 h 1391115"/>
                <a:gd name="connsiteX2" fmla="*/ 477122 w 766365"/>
                <a:gd name="connsiteY2" fmla="*/ 815731 h 1391115"/>
                <a:gd name="connsiteX3" fmla="*/ 295583 w 766365"/>
                <a:gd name="connsiteY3" fmla="*/ 1323423 h 1391115"/>
                <a:gd name="connsiteX4" fmla="*/ 483276 w 766365"/>
                <a:gd name="connsiteY4" fmla="*/ 1391116 h 1391115"/>
                <a:gd name="connsiteX5" fmla="*/ 766353 w 766365"/>
                <a:gd name="connsiteY5" fmla="*/ 738808 h 1391115"/>
                <a:gd name="connsiteX6" fmla="*/ 34045 w 766365"/>
                <a:gd name="connsiteY6" fmla="*/ 24962 h 1391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6365" h="1391115">
                  <a:moveTo>
                    <a:pt x="34045" y="24962"/>
                  </a:moveTo>
                  <a:cubicBezTo>
                    <a:pt x="-70570" y="114193"/>
                    <a:pt x="92506" y="421885"/>
                    <a:pt x="166353" y="532654"/>
                  </a:cubicBezTo>
                  <a:cubicBezTo>
                    <a:pt x="230968" y="631115"/>
                    <a:pt x="477122" y="815731"/>
                    <a:pt x="477122" y="815731"/>
                  </a:cubicBezTo>
                  <a:lnTo>
                    <a:pt x="295583" y="1323423"/>
                  </a:lnTo>
                  <a:lnTo>
                    <a:pt x="483276" y="1391116"/>
                  </a:lnTo>
                  <a:cubicBezTo>
                    <a:pt x="483276" y="1391116"/>
                    <a:pt x="763276" y="868039"/>
                    <a:pt x="766353" y="738808"/>
                  </a:cubicBezTo>
                  <a:cubicBezTo>
                    <a:pt x="769429" y="597270"/>
                    <a:pt x="230968" y="-144269"/>
                    <a:pt x="34045" y="24962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72E45F44-B0D6-46C3-9D8E-D07FC5A42C75}"/>
                </a:ext>
              </a:extLst>
            </p:cNvPr>
            <p:cNvSpPr/>
            <p:nvPr/>
          </p:nvSpPr>
          <p:spPr>
            <a:xfrm>
              <a:off x="8611552" y="9132024"/>
              <a:ext cx="208498" cy="587793"/>
            </a:xfrm>
            <a:custGeom>
              <a:avLst/>
              <a:gdLst>
                <a:gd name="connsiteX0" fmla="*/ 200037 w 208498"/>
                <a:gd name="connsiteY0" fmla="*/ 584717 h 587793"/>
                <a:gd name="connsiteX1" fmla="*/ 196960 w 208498"/>
                <a:gd name="connsiteY1" fmla="*/ 581640 h 587793"/>
                <a:gd name="connsiteX2" fmla="*/ 37 w 208498"/>
                <a:gd name="connsiteY2" fmla="*/ 178563 h 587793"/>
                <a:gd name="connsiteX3" fmla="*/ 52344 w 208498"/>
                <a:gd name="connsiteY3" fmla="*/ 24717 h 587793"/>
                <a:gd name="connsiteX4" fmla="*/ 120037 w 208498"/>
                <a:gd name="connsiteY4" fmla="*/ 102 h 587793"/>
                <a:gd name="connsiteX5" fmla="*/ 126191 w 208498"/>
                <a:gd name="connsiteY5" fmla="*/ 6255 h 587793"/>
                <a:gd name="connsiteX6" fmla="*/ 120037 w 208498"/>
                <a:gd name="connsiteY6" fmla="*/ 12409 h 587793"/>
                <a:gd name="connsiteX7" fmla="*/ 61575 w 208498"/>
                <a:gd name="connsiteY7" fmla="*/ 33948 h 587793"/>
                <a:gd name="connsiteX8" fmla="*/ 12345 w 208498"/>
                <a:gd name="connsiteY8" fmla="*/ 181640 h 587793"/>
                <a:gd name="connsiteX9" fmla="*/ 206191 w 208498"/>
                <a:gd name="connsiteY9" fmla="*/ 578563 h 587793"/>
                <a:gd name="connsiteX10" fmla="*/ 206191 w 208498"/>
                <a:gd name="connsiteY10" fmla="*/ 587794 h 587793"/>
                <a:gd name="connsiteX11" fmla="*/ 200037 w 208498"/>
                <a:gd name="connsiteY11" fmla="*/ 584717 h 587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8498" h="587793">
                  <a:moveTo>
                    <a:pt x="200037" y="584717"/>
                  </a:moveTo>
                  <a:cubicBezTo>
                    <a:pt x="200037" y="584717"/>
                    <a:pt x="196960" y="584717"/>
                    <a:pt x="196960" y="581640"/>
                  </a:cubicBezTo>
                  <a:cubicBezTo>
                    <a:pt x="187729" y="572409"/>
                    <a:pt x="-3040" y="363178"/>
                    <a:pt x="37" y="178563"/>
                  </a:cubicBezTo>
                  <a:cubicBezTo>
                    <a:pt x="3114" y="104717"/>
                    <a:pt x="18499" y="52409"/>
                    <a:pt x="52344" y="24717"/>
                  </a:cubicBezTo>
                  <a:cubicBezTo>
                    <a:pt x="83114" y="-2975"/>
                    <a:pt x="116960" y="102"/>
                    <a:pt x="120037" y="102"/>
                  </a:cubicBezTo>
                  <a:cubicBezTo>
                    <a:pt x="123114" y="102"/>
                    <a:pt x="126191" y="3178"/>
                    <a:pt x="126191" y="6255"/>
                  </a:cubicBezTo>
                  <a:cubicBezTo>
                    <a:pt x="126191" y="9332"/>
                    <a:pt x="123114" y="12409"/>
                    <a:pt x="120037" y="12409"/>
                  </a:cubicBezTo>
                  <a:cubicBezTo>
                    <a:pt x="120037" y="12409"/>
                    <a:pt x="89268" y="9332"/>
                    <a:pt x="61575" y="33948"/>
                  </a:cubicBezTo>
                  <a:cubicBezTo>
                    <a:pt x="30806" y="61640"/>
                    <a:pt x="12345" y="110871"/>
                    <a:pt x="12345" y="181640"/>
                  </a:cubicBezTo>
                  <a:cubicBezTo>
                    <a:pt x="9268" y="363178"/>
                    <a:pt x="203114" y="575486"/>
                    <a:pt x="206191" y="578563"/>
                  </a:cubicBezTo>
                  <a:cubicBezTo>
                    <a:pt x="209268" y="581640"/>
                    <a:pt x="209268" y="584717"/>
                    <a:pt x="206191" y="587794"/>
                  </a:cubicBezTo>
                  <a:cubicBezTo>
                    <a:pt x="203114" y="581640"/>
                    <a:pt x="200037" y="584717"/>
                    <a:pt x="200037" y="584717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4" name="图形 1">
              <a:extLst>
                <a:ext uri="{FF2B5EF4-FFF2-40B4-BE49-F238E27FC236}">
                  <a16:creationId xmlns:a16="http://schemas.microsoft.com/office/drawing/2014/main" id="{76804A20-10C1-4215-AB9D-94E17F69111B}"/>
                </a:ext>
              </a:extLst>
            </p:cNvPr>
            <p:cNvGrpSpPr/>
            <p:nvPr/>
          </p:nvGrpSpPr>
          <p:grpSpPr>
            <a:xfrm>
              <a:off x="6679021" y="8986726"/>
              <a:ext cx="391028" cy="545659"/>
              <a:chOff x="6679021" y="8986726"/>
              <a:chExt cx="391028" cy="545659"/>
            </a:xfrm>
          </p:grpSpPr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CA68394E-6EC8-429B-8279-94A4BB5871A3}"/>
                  </a:ext>
                </a:extLst>
              </p:cNvPr>
              <p:cNvSpPr/>
              <p:nvPr/>
            </p:nvSpPr>
            <p:spPr>
              <a:xfrm>
                <a:off x="6776536" y="9053995"/>
                <a:ext cx="248618" cy="385822"/>
              </a:xfrm>
              <a:custGeom>
                <a:avLst/>
                <a:gdLst>
                  <a:gd name="connsiteX0" fmla="*/ 219668 w 248618"/>
                  <a:gd name="connsiteY0" fmla="*/ 38130 h 385822"/>
                  <a:gd name="connsiteX1" fmla="*/ 201207 w 248618"/>
                  <a:gd name="connsiteY1" fmla="*/ 35053 h 385822"/>
                  <a:gd name="connsiteX2" fmla="*/ 198130 w 248618"/>
                  <a:gd name="connsiteY2" fmla="*/ 53515 h 385822"/>
                  <a:gd name="connsiteX3" fmla="*/ 216592 w 248618"/>
                  <a:gd name="connsiteY3" fmla="*/ 161207 h 385822"/>
                  <a:gd name="connsiteX4" fmla="*/ 78130 w 248618"/>
                  <a:gd name="connsiteY4" fmla="*/ 299669 h 385822"/>
                  <a:gd name="connsiteX5" fmla="*/ 31976 w 248618"/>
                  <a:gd name="connsiteY5" fmla="*/ 102745 h 385822"/>
                  <a:gd name="connsiteX6" fmla="*/ 93515 w 248618"/>
                  <a:gd name="connsiteY6" fmla="*/ 25822 h 385822"/>
                  <a:gd name="connsiteX7" fmla="*/ 99669 w 248618"/>
                  <a:gd name="connsiteY7" fmla="*/ 7361 h 385822"/>
                  <a:gd name="connsiteX8" fmla="*/ 81207 w 248618"/>
                  <a:gd name="connsiteY8" fmla="*/ 1207 h 385822"/>
                  <a:gd name="connsiteX9" fmla="*/ 7361 w 248618"/>
                  <a:gd name="connsiteY9" fmla="*/ 93515 h 385822"/>
                  <a:gd name="connsiteX10" fmla="*/ 53515 w 248618"/>
                  <a:gd name="connsiteY10" fmla="*/ 305822 h 385822"/>
                  <a:gd name="connsiteX11" fmla="*/ 7361 w 248618"/>
                  <a:gd name="connsiteY11" fmla="*/ 333515 h 385822"/>
                  <a:gd name="connsiteX12" fmla="*/ 1207 w 248618"/>
                  <a:gd name="connsiteY12" fmla="*/ 351976 h 385822"/>
                  <a:gd name="connsiteX13" fmla="*/ 13515 w 248618"/>
                  <a:gd name="connsiteY13" fmla="*/ 358130 h 385822"/>
                  <a:gd name="connsiteX14" fmla="*/ 19668 w 248618"/>
                  <a:gd name="connsiteY14" fmla="*/ 355053 h 385822"/>
                  <a:gd name="connsiteX15" fmla="*/ 68899 w 248618"/>
                  <a:gd name="connsiteY15" fmla="*/ 327361 h 385822"/>
                  <a:gd name="connsiteX16" fmla="*/ 102745 w 248618"/>
                  <a:gd name="connsiteY16" fmla="*/ 379668 h 385822"/>
                  <a:gd name="connsiteX17" fmla="*/ 115053 w 248618"/>
                  <a:gd name="connsiteY17" fmla="*/ 385823 h 385822"/>
                  <a:gd name="connsiteX18" fmla="*/ 121207 w 248618"/>
                  <a:gd name="connsiteY18" fmla="*/ 382745 h 385822"/>
                  <a:gd name="connsiteX19" fmla="*/ 124284 w 248618"/>
                  <a:gd name="connsiteY19" fmla="*/ 364284 h 385822"/>
                  <a:gd name="connsiteX20" fmla="*/ 93515 w 248618"/>
                  <a:gd name="connsiteY20" fmla="*/ 315053 h 385822"/>
                  <a:gd name="connsiteX21" fmla="*/ 241207 w 248618"/>
                  <a:gd name="connsiteY21" fmla="*/ 161207 h 385822"/>
                  <a:gd name="connsiteX22" fmla="*/ 219668 w 248618"/>
                  <a:gd name="connsiteY22" fmla="*/ 38130 h 385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8618" h="385822">
                    <a:moveTo>
                      <a:pt x="219668" y="38130"/>
                    </a:moveTo>
                    <a:cubicBezTo>
                      <a:pt x="216592" y="31976"/>
                      <a:pt x="207361" y="31976"/>
                      <a:pt x="201207" y="35053"/>
                    </a:cubicBezTo>
                    <a:cubicBezTo>
                      <a:pt x="195053" y="38130"/>
                      <a:pt x="195053" y="47361"/>
                      <a:pt x="198130" y="53515"/>
                    </a:cubicBezTo>
                    <a:cubicBezTo>
                      <a:pt x="219668" y="90438"/>
                      <a:pt x="228899" y="124284"/>
                      <a:pt x="216592" y="161207"/>
                    </a:cubicBezTo>
                    <a:cubicBezTo>
                      <a:pt x="195053" y="235053"/>
                      <a:pt x="105822" y="287361"/>
                      <a:pt x="78130" y="299669"/>
                    </a:cubicBezTo>
                    <a:cubicBezTo>
                      <a:pt x="62746" y="271976"/>
                      <a:pt x="13515" y="179668"/>
                      <a:pt x="31976" y="102745"/>
                    </a:cubicBezTo>
                    <a:cubicBezTo>
                      <a:pt x="41207" y="68899"/>
                      <a:pt x="59669" y="44284"/>
                      <a:pt x="93515" y="25822"/>
                    </a:cubicBezTo>
                    <a:cubicBezTo>
                      <a:pt x="99669" y="22746"/>
                      <a:pt x="102745" y="13515"/>
                      <a:pt x="99669" y="7361"/>
                    </a:cubicBezTo>
                    <a:cubicBezTo>
                      <a:pt x="96592" y="1207"/>
                      <a:pt x="87361" y="-1870"/>
                      <a:pt x="81207" y="1207"/>
                    </a:cubicBezTo>
                    <a:cubicBezTo>
                      <a:pt x="44284" y="22746"/>
                      <a:pt x="19668" y="53515"/>
                      <a:pt x="7361" y="93515"/>
                    </a:cubicBezTo>
                    <a:cubicBezTo>
                      <a:pt x="-14177" y="176592"/>
                      <a:pt x="35053" y="275053"/>
                      <a:pt x="53515" y="305822"/>
                    </a:cubicBezTo>
                    <a:lnTo>
                      <a:pt x="7361" y="333515"/>
                    </a:lnTo>
                    <a:cubicBezTo>
                      <a:pt x="1207" y="336592"/>
                      <a:pt x="-1870" y="345822"/>
                      <a:pt x="1207" y="351976"/>
                    </a:cubicBezTo>
                    <a:cubicBezTo>
                      <a:pt x="4284" y="355053"/>
                      <a:pt x="7361" y="358130"/>
                      <a:pt x="13515" y="358130"/>
                    </a:cubicBezTo>
                    <a:cubicBezTo>
                      <a:pt x="16592" y="358130"/>
                      <a:pt x="16592" y="358130"/>
                      <a:pt x="19668" y="355053"/>
                    </a:cubicBezTo>
                    <a:lnTo>
                      <a:pt x="68899" y="327361"/>
                    </a:lnTo>
                    <a:lnTo>
                      <a:pt x="102745" y="379668"/>
                    </a:lnTo>
                    <a:cubicBezTo>
                      <a:pt x="105822" y="382745"/>
                      <a:pt x="108899" y="385823"/>
                      <a:pt x="115053" y="385823"/>
                    </a:cubicBezTo>
                    <a:cubicBezTo>
                      <a:pt x="118130" y="385823"/>
                      <a:pt x="118130" y="385823"/>
                      <a:pt x="121207" y="382745"/>
                    </a:cubicBezTo>
                    <a:cubicBezTo>
                      <a:pt x="127361" y="379668"/>
                      <a:pt x="127361" y="370438"/>
                      <a:pt x="124284" y="364284"/>
                    </a:cubicBezTo>
                    <a:lnTo>
                      <a:pt x="93515" y="315053"/>
                    </a:lnTo>
                    <a:cubicBezTo>
                      <a:pt x="127361" y="296592"/>
                      <a:pt x="219668" y="244284"/>
                      <a:pt x="241207" y="161207"/>
                    </a:cubicBezTo>
                    <a:cubicBezTo>
                      <a:pt x="256591" y="124284"/>
                      <a:pt x="247361" y="81207"/>
                      <a:pt x="219668" y="3813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9781988B-1DCB-40FE-AFF7-D69CE637086B}"/>
                  </a:ext>
                </a:extLst>
              </p:cNvPr>
              <p:cNvSpPr/>
              <p:nvPr/>
            </p:nvSpPr>
            <p:spPr>
              <a:xfrm>
                <a:off x="6679021" y="9371865"/>
                <a:ext cx="120259" cy="120519"/>
              </a:xfrm>
              <a:custGeom>
                <a:avLst/>
                <a:gdLst>
                  <a:gd name="connsiteX0" fmla="*/ 64875 w 120259"/>
                  <a:gd name="connsiteY0" fmla="*/ 120260 h 120519"/>
                  <a:gd name="connsiteX1" fmla="*/ 260 w 120259"/>
                  <a:gd name="connsiteY1" fmla="*/ 64875 h 120519"/>
                  <a:gd name="connsiteX2" fmla="*/ 55644 w 120259"/>
                  <a:gd name="connsiteY2" fmla="*/ 260 h 120519"/>
                  <a:gd name="connsiteX3" fmla="*/ 120260 w 120259"/>
                  <a:gd name="connsiteY3" fmla="*/ 55644 h 120519"/>
                  <a:gd name="connsiteX4" fmla="*/ 64875 w 120259"/>
                  <a:gd name="connsiteY4" fmla="*/ 120260 h 120519"/>
                  <a:gd name="connsiteX5" fmla="*/ 55644 w 120259"/>
                  <a:gd name="connsiteY5" fmla="*/ 27952 h 120519"/>
                  <a:gd name="connsiteX6" fmla="*/ 24875 w 120259"/>
                  <a:gd name="connsiteY6" fmla="*/ 64875 h 120519"/>
                  <a:gd name="connsiteX7" fmla="*/ 61798 w 120259"/>
                  <a:gd name="connsiteY7" fmla="*/ 95644 h 120519"/>
                  <a:gd name="connsiteX8" fmla="*/ 92567 w 120259"/>
                  <a:gd name="connsiteY8" fmla="*/ 58721 h 120519"/>
                  <a:gd name="connsiteX9" fmla="*/ 55644 w 120259"/>
                  <a:gd name="connsiteY9" fmla="*/ 27952 h 120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259" h="120519">
                    <a:moveTo>
                      <a:pt x="64875" y="120260"/>
                    </a:moveTo>
                    <a:cubicBezTo>
                      <a:pt x="31029" y="123337"/>
                      <a:pt x="3337" y="98722"/>
                      <a:pt x="260" y="64875"/>
                    </a:cubicBezTo>
                    <a:cubicBezTo>
                      <a:pt x="-2817" y="31029"/>
                      <a:pt x="21798" y="3337"/>
                      <a:pt x="55644" y="260"/>
                    </a:cubicBezTo>
                    <a:cubicBezTo>
                      <a:pt x="89491" y="-2817"/>
                      <a:pt x="117183" y="21798"/>
                      <a:pt x="120260" y="55644"/>
                    </a:cubicBezTo>
                    <a:cubicBezTo>
                      <a:pt x="120260" y="89491"/>
                      <a:pt x="95644" y="117183"/>
                      <a:pt x="64875" y="120260"/>
                    </a:cubicBezTo>
                    <a:close/>
                    <a:moveTo>
                      <a:pt x="55644" y="27952"/>
                    </a:moveTo>
                    <a:cubicBezTo>
                      <a:pt x="37183" y="27952"/>
                      <a:pt x="21798" y="46413"/>
                      <a:pt x="24875" y="64875"/>
                    </a:cubicBezTo>
                    <a:cubicBezTo>
                      <a:pt x="24875" y="83337"/>
                      <a:pt x="43337" y="98722"/>
                      <a:pt x="61798" y="95644"/>
                    </a:cubicBezTo>
                    <a:cubicBezTo>
                      <a:pt x="80260" y="95644"/>
                      <a:pt x="95644" y="77183"/>
                      <a:pt x="92567" y="58721"/>
                    </a:cubicBezTo>
                    <a:cubicBezTo>
                      <a:pt x="92567" y="40260"/>
                      <a:pt x="77183" y="24875"/>
                      <a:pt x="55644" y="27952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11047682-F19F-4DBA-85CE-3432FE240F85}"/>
                  </a:ext>
                </a:extLst>
              </p:cNvPr>
              <p:cNvSpPr/>
              <p:nvPr/>
            </p:nvSpPr>
            <p:spPr>
              <a:xfrm>
                <a:off x="6851329" y="9411865"/>
                <a:ext cx="120259" cy="120519"/>
              </a:xfrm>
              <a:custGeom>
                <a:avLst/>
                <a:gdLst>
                  <a:gd name="connsiteX0" fmla="*/ 64875 w 120259"/>
                  <a:gd name="connsiteY0" fmla="*/ 120260 h 120519"/>
                  <a:gd name="connsiteX1" fmla="*/ 260 w 120259"/>
                  <a:gd name="connsiteY1" fmla="*/ 64875 h 120519"/>
                  <a:gd name="connsiteX2" fmla="*/ 55644 w 120259"/>
                  <a:gd name="connsiteY2" fmla="*/ 260 h 120519"/>
                  <a:gd name="connsiteX3" fmla="*/ 120260 w 120259"/>
                  <a:gd name="connsiteY3" fmla="*/ 55644 h 120519"/>
                  <a:gd name="connsiteX4" fmla="*/ 64875 w 120259"/>
                  <a:gd name="connsiteY4" fmla="*/ 120260 h 120519"/>
                  <a:gd name="connsiteX5" fmla="*/ 55644 w 120259"/>
                  <a:gd name="connsiteY5" fmla="*/ 27952 h 120519"/>
                  <a:gd name="connsiteX6" fmla="*/ 24875 w 120259"/>
                  <a:gd name="connsiteY6" fmla="*/ 64875 h 120519"/>
                  <a:gd name="connsiteX7" fmla="*/ 61798 w 120259"/>
                  <a:gd name="connsiteY7" fmla="*/ 95644 h 120519"/>
                  <a:gd name="connsiteX8" fmla="*/ 92567 w 120259"/>
                  <a:gd name="connsiteY8" fmla="*/ 58721 h 120519"/>
                  <a:gd name="connsiteX9" fmla="*/ 55644 w 120259"/>
                  <a:gd name="connsiteY9" fmla="*/ 27952 h 120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259" h="120519">
                    <a:moveTo>
                      <a:pt x="64875" y="120260"/>
                    </a:moveTo>
                    <a:cubicBezTo>
                      <a:pt x="31029" y="123337"/>
                      <a:pt x="3337" y="98721"/>
                      <a:pt x="260" y="64875"/>
                    </a:cubicBezTo>
                    <a:cubicBezTo>
                      <a:pt x="-2817" y="31029"/>
                      <a:pt x="21798" y="3337"/>
                      <a:pt x="55644" y="260"/>
                    </a:cubicBezTo>
                    <a:cubicBezTo>
                      <a:pt x="89490" y="-2817"/>
                      <a:pt x="117183" y="21798"/>
                      <a:pt x="120260" y="55644"/>
                    </a:cubicBezTo>
                    <a:cubicBezTo>
                      <a:pt x="120260" y="89491"/>
                      <a:pt x="95645" y="117183"/>
                      <a:pt x="64875" y="120260"/>
                    </a:cubicBezTo>
                    <a:close/>
                    <a:moveTo>
                      <a:pt x="55644" y="27952"/>
                    </a:moveTo>
                    <a:cubicBezTo>
                      <a:pt x="37183" y="27952"/>
                      <a:pt x="21798" y="46413"/>
                      <a:pt x="24875" y="64875"/>
                    </a:cubicBezTo>
                    <a:cubicBezTo>
                      <a:pt x="24875" y="83336"/>
                      <a:pt x="43336" y="98721"/>
                      <a:pt x="61798" y="95644"/>
                    </a:cubicBezTo>
                    <a:cubicBezTo>
                      <a:pt x="80260" y="95644"/>
                      <a:pt x="95645" y="77183"/>
                      <a:pt x="92567" y="58721"/>
                    </a:cubicBezTo>
                    <a:cubicBezTo>
                      <a:pt x="92567" y="40260"/>
                      <a:pt x="77183" y="24875"/>
                      <a:pt x="55644" y="27952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FA47AE4E-AA9C-4200-9521-13AF4D6D7768}"/>
                  </a:ext>
                </a:extLst>
              </p:cNvPr>
              <p:cNvSpPr/>
              <p:nvPr/>
            </p:nvSpPr>
            <p:spPr>
              <a:xfrm>
                <a:off x="6816958" y="8986726"/>
                <a:ext cx="67358" cy="103106"/>
              </a:xfrm>
              <a:custGeom>
                <a:avLst/>
                <a:gdLst>
                  <a:gd name="connsiteX0" fmla="*/ 50015 w 67358"/>
                  <a:gd name="connsiteY0" fmla="*/ 102323 h 103106"/>
                  <a:gd name="connsiteX1" fmla="*/ 50015 w 67358"/>
                  <a:gd name="connsiteY1" fmla="*/ 102323 h 103106"/>
                  <a:gd name="connsiteX2" fmla="*/ 19246 w 67358"/>
                  <a:gd name="connsiteY2" fmla="*/ 86938 h 103106"/>
                  <a:gd name="connsiteX3" fmla="*/ 784 w 67358"/>
                  <a:gd name="connsiteY3" fmla="*/ 31553 h 103106"/>
                  <a:gd name="connsiteX4" fmla="*/ 16169 w 67358"/>
                  <a:gd name="connsiteY4" fmla="*/ 784 h 103106"/>
                  <a:gd name="connsiteX5" fmla="*/ 16169 w 67358"/>
                  <a:gd name="connsiteY5" fmla="*/ 784 h 103106"/>
                  <a:gd name="connsiteX6" fmla="*/ 46938 w 67358"/>
                  <a:gd name="connsiteY6" fmla="*/ 16169 h 103106"/>
                  <a:gd name="connsiteX7" fmla="*/ 65400 w 67358"/>
                  <a:gd name="connsiteY7" fmla="*/ 71553 h 103106"/>
                  <a:gd name="connsiteX8" fmla="*/ 50015 w 67358"/>
                  <a:gd name="connsiteY8" fmla="*/ 102323 h 103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358" h="103106">
                    <a:moveTo>
                      <a:pt x="50015" y="102323"/>
                    </a:moveTo>
                    <a:lnTo>
                      <a:pt x="50015" y="102323"/>
                    </a:lnTo>
                    <a:cubicBezTo>
                      <a:pt x="37707" y="105400"/>
                      <a:pt x="22323" y="99246"/>
                      <a:pt x="19246" y="86938"/>
                    </a:cubicBezTo>
                    <a:lnTo>
                      <a:pt x="784" y="31553"/>
                    </a:lnTo>
                    <a:cubicBezTo>
                      <a:pt x="-2293" y="19246"/>
                      <a:pt x="3861" y="3861"/>
                      <a:pt x="16169" y="784"/>
                    </a:cubicBezTo>
                    <a:lnTo>
                      <a:pt x="16169" y="784"/>
                    </a:lnTo>
                    <a:cubicBezTo>
                      <a:pt x="28477" y="-2293"/>
                      <a:pt x="43861" y="3861"/>
                      <a:pt x="46938" y="16169"/>
                    </a:cubicBezTo>
                    <a:lnTo>
                      <a:pt x="65400" y="71553"/>
                    </a:lnTo>
                    <a:cubicBezTo>
                      <a:pt x="71553" y="83861"/>
                      <a:pt x="62322" y="96169"/>
                      <a:pt x="50015" y="102323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3E0C7241-9A09-4D93-8402-F2315E26A0D6}"/>
                  </a:ext>
                </a:extLst>
              </p:cNvPr>
              <p:cNvSpPr/>
              <p:nvPr/>
            </p:nvSpPr>
            <p:spPr>
              <a:xfrm>
                <a:off x="6967743" y="9036314"/>
                <a:ext cx="102307" cy="90082"/>
              </a:xfrm>
              <a:custGeom>
                <a:avLst/>
                <a:gdLst>
                  <a:gd name="connsiteX0" fmla="*/ 6923 w 102307"/>
                  <a:gd name="connsiteY0" fmla="*/ 80426 h 90082"/>
                  <a:gd name="connsiteX1" fmla="*/ 6923 w 102307"/>
                  <a:gd name="connsiteY1" fmla="*/ 80426 h 90082"/>
                  <a:gd name="connsiteX2" fmla="*/ 46923 w 102307"/>
                  <a:gd name="connsiteY2" fmla="*/ 83503 h 90082"/>
                  <a:gd name="connsiteX3" fmla="*/ 93077 w 102307"/>
                  <a:gd name="connsiteY3" fmla="*/ 46580 h 90082"/>
                  <a:gd name="connsiteX4" fmla="*/ 93077 w 102307"/>
                  <a:gd name="connsiteY4" fmla="*/ 9657 h 90082"/>
                  <a:gd name="connsiteX5" fmla="*/ 93077 w 102307"/>
                  <a:gd name="connsiteY5" fmla="*/ 9657 h 90082"/>
                  <a:gd name="connsiteX6" fmla="*/ 53077 w 102307"/>
                  <a:gd name="connsiteY6" fmla="*/ 6580 h 90082"/>
                  <a:gd name="connsiteX7" fmla="*/ 6923 w 102307"/>
                  <a:gd name="connsiteY7" fmla="*/ 43503 h 90082"/>
                  <a:gd name="connsiteX8" fmla="*/ 6923 w 102307"/>
                  <a:gd name="connsiteY8" fmla="*/ 80426 h 90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2307" h="90082">
                    <a:moveTo>
                      <a:pt x="6923" y="80426"/>
                    </a:moveTo>
                    <a:lnTo>
                      <a:pt x="6923" y="80426"/>
                    </a:lnTo>
                    <a:cubicBezTo>
                      <a:pt x="16154" y="92734"/>
                      <a:pt x="34615" y="92734"/>
                      <a:pt x="46923" y="83503"/>
                    </a:cubicBezTo>
                    <a:lnTo>
                      <a:pt x="93077" y="46580"/>
                    </a:lnTo>
                    <a:cubicBezTo>
                      <a:pt x="105385" y="37349"/>
                      <a:pt x="105385" y="21964"/>
                      <a:pt x="93077" y="9657"/>
                    </a:cubicBezTo>
                    <a:lnTo>
                      <a:pt x="93077" y="9657"/>
                    </a:lnTo>
                    <a:cubicBezTo>
                      <a:pt x="83846" y="-2651"/>
                      <a:pt x="65384" y="-2651"/>
                      <a:pt x="53077" y="6580"/>
                    </a:cubicBezTo>
                    <a:lnTo>
                      <a:pt x="6923" y="43503"/>
                    </a:lnTo>
                    <a:cubicBezTo>
                      <a:pt x="-2308" y="52734"/>
                      <a:pt x="-2308" y="68118"/>
                      <a:pt x="6923" y="80426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62E8C4E2-677B-480D-997D-C13B867FFDEB}"/>
                </a:ext>
              </a:extLst>
            </p:cNvPr>
            <p:cNvSpPr/>
            <p:nvPr/>
          </p:nvSpPr>
          <p:spPr>
            <a:xfrm>
              <a:off x="6669836" y="9366630"/>
              <a:ext cx="96226" cy="89170"/>
            </a:xfrm>
            <a:custGeom>
              <a:avLst/>
              <a:gdLst>
                <a:gd name="connsiteX0" fmla="*/ 92523 w 96226"/>
                <a:gd name="connsiteY0" fmla="*/ 48572 h 89170"/>
                <a:gd name="connsiteX1" fmla="*/ 40215 w 96226"/>
                <a:gd name="connsiteY1" fmla="*/ 8572 h 89170"/>
                <a:gd name="connsiteX2" fmla="*/ 215 w 96226"/>
                <a:gd name="connsiteY2" fmla="*/ 14726 h 89170"/>
                <a:gd name="connsiteX3" fmla="*/ 49445 w 96226"/>
                <a:gd name="connsiteY3" fmla="*/ 73188 h 89170"/>
                <a:gd name="connsiteX4" fmla="*/ 61753 w 96226"/>
                <a:gd name="connsiteY4" fmla="*/ 85495 h 89170"/>
                <a:gd name="connsiteX5" fmla="*/ 92523 w 96226"/>
                <a:gd name="connsiteY5" fmla="*/ 48572 h 89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226" h="89170">
                  <a:moveTo>
                    <a:pt x="92523" y="48572"/>
                  </a:moveTo>
                  <a:cubicBezTo>
                    <a:pt x="77138" y="33188"/>
                    <a:pt x="58676" y="20880"/>
                    <a:pt x="40215" y="8572"/>
                  </a:cubicBezTo>
                  <a:cubicBezTo>
                    <a:pt x="27907" y="2418"/>
                    <a:pt x="-2862" y="-9890"/>
                    <a:pt x="215" y="14726"/>
                  </a:cubicBezTo>
                  <a:cubicBezTo>
                    <a:pt x="3292" y="30110"/>
                    <a:pt x="40215" y="60880"/>
                    <a:pt x="49445" y="73188"/>
                  </a:cubicBezTo>
                  <a:cubicBezTo>
                    <a:pt x="52523" y="76264"/>
                    <a:pt x="55599" y="79341"/>
                    <a:pt x="61753" y="85495"/>
                  </a:cubicBezTo>
                  <a:cubicBezTo>
                    <a:pt x="70984" y="100880"/>
                    <a:pt x="107907" y="63957"/>
                    <a:pt x="92523" y="48572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EDCC061C-CF11-4349-B957-B24F6CE2F859}"/>
                </a:ext>
              </a:extLst>
            </p:cNvPr>
            <p:cNvSpPr/>
            <p:nvPr/>
          </p:nvSpPr>
          <p:spPr>
            <a:xfrm>
              <a:off x="6869707" y="9426741"/>
              <a:ext cx="66739" cy="66599"/>
            </a:xfrm>
            <a:custGeom>
              <a:avLst/>
              <a:gdLst>
                <a:gd name="connsiteX0" fmla="*/ 64958 w 66739"/>
                <a:gd name="connsiteY0" fmla="*/ 37692 h 66599"/>
                <a:gd name="connsiteX1" fmla="*/ 21882 w 66739"/>
                <a:gd name="connsiteY1" fmla="*/ 769 h 66599"/>
                <a:gd name="connsiteX2" fmla="*/ 343 w 66739"/>
                <a:gd name="connsiteY2" fmla="*/ 19231 h 66599"/>
                <a:gd name="connsiteX3" fmla="*/ 18804 w 66739"/>
                <a:gd name="connsiteY3" fmla="*/ 65385 h 66599"/>
                <a:gd name="connsiteX4" fmla="*/ 64958 w 66739"/>
                <a:gd name="connsiteY4" fmla="*/ 37692 h 66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739" h="66599">
                  <a:moveTo>
                    <a:pt x="64958" y="37692"/>
                  </a:moveTo>
                  <a:cubicBezTo>
                    <a:pt x="52651" y="22307"/>
                    <a:pt x="40343" y="6923"/>
                    <a:pt x="21882" y="769"/>
                  </a:cubicBezTo>
                  <a:cubicBezTo>
                    <a:pt x="15728" y="-2308"/>
                    <a:pt x="-2734" y="3846"/>
                    <a:pt x="343" y="19231"/>
                  </a:cubicBezTo>
                  <a:cubicBezTo>
                    <a:pt x="3420" y="34615"/>
                    <a:pt x="12651" y="50000"/>
                    <a:pt x="18804" y="65385"/>
                  </a:cubicBezTo>
                  <a:cubicBezTo>
                    <a:pt x="21882" y="71538"/>
                    <a:pt x="77266" y="53077"/>
                    <a:pt x="64958" y="37692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484ABF14-9B54-42CA-8360-2526ABD55F14}"/>
                </a:ext>
              </a:extLst>
            </p:cNvPr>
            <p:cNvSpPr/>
            <p:nvPr/>
          </p:nvSpPr>
          <p:spPr>
            <a:xfrm>
              <a:off x="6662689" y="9358852"/>
              <a:ext cx="111207" cy="105580"/>
            </a:xfrm>
            <a:custGeom>
              <a:avLst/>
              <a:gdLst>
                <a:gd name="connsiteX0" fmla="*/ 68900 w 111207"/>
                <a:gd name="connsiteY0" fmla="*/ 105581 h 105580"/>
                <a:gd name="connsiteX1" fmla="*/ 65823 w 111207"/>
                <a:gd name="connsiteY1" fmla="*/ 102504 h 105580"/>
                <a:gd name="connsiteX2" fmla="*/ 1207 w 111207"/>
                <a:gd name="connsiteY2" fmla="*/ 25581 h 105580"/>
                <a:gd name="connsiteX3" fmla="*/ 1207 w 111207"/>
                <a:gd name="connsiteY3" fmla="*/ 22504 h 105580"/>
                <a:gd name="connsiteX4" fmla="*/ 7361 w 111207"/>
                <a:gd name="connsiteY4" fmla="*/ 4042 h 105580"/>
                <a:gd name="connsiteX5" fmla="*/ 50438 w 111207"/>
                <a:gd name="connsiteY5" fmla="*/ 10196 h 105580"/>
                <a:gd name="connsiteX6" fmla="*/ 108899 w 111207"/>
                <a:gd name="connsiteY6" fmla="*/ 56350 h 105580"/>
                <a:gd name="connsiteX7" fmla="*/ 108899 w 111207"/>
                <a:gd name="connsiteY7" fmla="*/ 65581 h 105580"/>
                <a:gd name="connsiteX8" fmla="*/ 99669 w 111207"/>
                <a:gd name="connsiteY8" fmla="*/ 65581 h 105580"/>
                <a:gd name="connsiteX9" fmla="*/ 44284 w 111207"/>
                <a:gd name="connsiteY9" fmla="*/ 22504 h 105580"/>
                <a:gd name="connsiteX10" fmla="*/ 13515 w 111207"/>
                <a:gd name="connsiteY10" fmla="*/ 16350 h 105580"/>
                <a:gd name="connsiteX11" fmla="*/ 10438 w 111207"/>
                <a:gd name="connsiteY11" fmla="*/ 19427 h 105580"/>
                <a:gd name="connsiteX12" fmla="*/ 71976 w 111207"/>
                <a:gd name="connsiteY12" fmla="*/ 96350 h 105580"/>
                <a:gd name="connsiteX13" fmla="*/ 71976 w 111207"/>
                <a:gd name="connsiteY13" fmla="*/ 105581 h 105580"/>
                <a:gd name="connsiteX14" fmla="*/ 68900 w 111207"/>
                <a:gd name="connsiteY14" fmla="*/ 105581 h 105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1207" h="105580">
                  <a:moveTo>
                    <a:pt x="68900" y="105581"/>
                  </a:moveTo>
                  <a:cubicBezTo>
                    <a:pt x="65823" y="105581"/>
                    <a:pt x="65823" y="105581"/>
                    <a:pt x="65823" y="102504"/>
                  </a:cubicBezTo>
                  <a:cubicBezTo>
                    <a:pt x="38130" y="71735"/>
                    <a:pt x="4284" y="25581"/>
                    <a:pt x="1207" y="25581"/>
                  </a:cubicBezTo>
                  <a:cubicBezTo>
                    <a:pt x="1207" y="25581"/>
                    <a:pt x="1207" y="25581"/>
                    <a:pt x="1207" y="22504"/>
                  </a:cubicBezTo>
                  <a:cubicBezTo>
                    <a:pt x="-1870" y="16350"/>
                    <a:pt x="1207" y="10196"/>
                    <a:pt x="7361" y="4042"/>
                  </a:cubicBezTo>
                  <a:cubicBezTo>
                    <a:pt x="16592" y="-2112"/>
                    <a:pt x="35053" y="-2112"/>
                    <a:pt x="50438" y="10196"/>
                  </a:cubicBezTo>
                  <a:cubicBezTo>
                    <a:pt x="78130" y="28657"/>
                    <a:pt x="105823" y="53273"/>
                    <a:pt x="108899" y="56350"/>
                  </a:cubicBezTo>
                  <a:cubicBezTo>
                    <a:pt x="111976" y="59427"/>
                    <a:pt x="111976" y="62504"/>
                    <a:pt x="108899" y="65581"/>
                  </a:cubicBezTo>
                  <a:cubicBezTo>
                    <a:pt x="105823" y="68658"/>
                    <a:pt x="102746" y="68658"/>
                    <a:pt x="99669" y="65581"/>
                  </a:cubicBezTo>
                  <a:cubicBezTo>
                    <a:pt x="99669" y="65581"/>
                    <a:pt x="71976" y="37888"/>
                    <a:pt x="44284" y="22504"/>
                  </a:cubicBezTo>
                  <a:cubicBezTo>
                    <a:pt x="28900" y="13273"/>
                    <a:pt x="19669" y="13273"/>
                    <a:pt x="13515" y="16350"/>
                  </a:cubicBezTo>
                  <a:cubicBezTo>
                    <a:pt x="13515" y="16350"/>
                    <a:pt x="10438" y="19427"/>
                    <a:pt x="10438" y="19427"/>
                  </a:cubicBezTo>
                  <a:cubicBezTo>
                    <a:pt x="16592" y="25581"/>
                    <a:pt x="47361" y="68658"/>
                    <a:pt x="71976" y="96350"/>
                  </a:cubicBezTo>
                  <a:cubicBezTo>
                    <a:pt x="75053" y="99427"/>
                    <a:pt x="75053" y="102504"/>
                    <a:pt x="71976" y="105581"/>
                  </a:cubicBezTo>
                  <a:cubicBezTo>
                    <a:pt x="71976" y="105581"/>
                    <a:pt x="71976" y="105581"/>
                    <a:pt x="68900" y="105581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8" name="图形 1">
              <a:extLst>
                <a:ext uri="{FF2B5EF4-FFF2-40B4-BE49-F238E27FC236}">
                  <a16:creationId xmlns:a16="http://schemas.microsoft.com/office/drawing/2014/main" id="{5DF537D5-63F5-4460-81AF-0BD45E822DB6}"/>
                </a:ext>
              </a:extLst>
            </p:cNvPr>
            <p:cNvGrpSpPr/>
            <p:nvPr/>
          </p:nvGrpSpPr>
          <p:grpSpPr>
            <a:xfrm>
              <a:off x="6797721" y="8777751"/>
              <a:ext cx="353296" cy="317451"/>
              <a:chOff x="6797721" y="8777751"/>
              <a:chExt cx="353296" cy="317451"/>
            </a:xfrm>
          </p:grpSpPr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AD81F804-4909-4AD0-9C97-9142052E8E0B}"/>
                  </a:ext>
                </a:extLst>
              </p:cNvPr>
              <p:cNvSpPr/>
              <p:nvPr/>
            </p:nvSpPr>
            <p:spPr>
              <a:xfrm>
                <a:off x="6797721" y="8777751"/>
                <a:ext cx="344028" cy="312165"/>
              </a:xfrm>
              <a:custGeom>
                <a:avLst/>
                <a:gdLst>
                  <a:gd name="connsiteX0" fmla="*/ 103098 w 344028"/>
                  <a:gd name="connsiteY0" fmla="*/ 305144 h 312165"/>
                  <a:gd name="connsiteX1" fmla="*/ 75406 w 344028"/>
                  <a:gd name="connsiteY1" fmla="*/ 228221 h 312165"/>
                  <a:gd name="connsiteX2" fmla="*/ 47714 w 344028"/>
                  <a:gd name="connsiteY2" fmla="*/ 172836 h 312165"/>
                  <a:gd name="connsiteX3" fmla="*/ 1560 w 344028"/>
                  <a:gd name="connsiteY3" fmla="*/ 98990 h 312165"/>
                  <a:gd name="connsiteX4" fmla="*/ 146175 w 344028"/>
                  <a:gd name="connsiteY4" fmla="*/ 37452 h 312165"/>
                  <a:gd name="connsiteX5" fmla="*/ 306175 w 344028"/>
                  <a:gd name="connsiteY5" fmla="*/ 31298 h 312165"/>
                  <a:gd name="connsiteX6" fmla="*/ 303098 w 344028"/>
                  <a:gd name="connsiteY6" fmla="*/ 46682 h 312165"/>
                  <a:gd name="connsiteX7" fmla="*/ 235406 w 344028"/>
                  <a:gd name="connsiteY7" fmla="*/ 111298 h 312165"/>
                  <a:gd name="connsiteX8" fmla="*/ 327713 w 344028"/>
                  <a:gd name="connsiteY8" fmla="*/ 98990 h 312165"/>
                  <a:gd name="connsiteX9" fmla="*/ 343098 w 344028"/>
                  <a:gd name="connsiteY9" fmla="*/ 105144 h 312165"/>
                  <a:gd name="connsiteX10" fmla="*/ 241560 w 344028"/>
                  <a:gd name="connsiteY10" fmla="*/ 228221 h 312165"/>
                  <a:gd name="connsiteX11" fmla="*/ 103098 w 344028"/>
                  <a:gd name="connsiteY11" fmla="*/ 305144 h 312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44028" h="312165">
                    <a:moveTo>
                      <a:pt x="103098" y="305144"/>
                    </a:moveTo>
                    <a:cubicBezTo>
                      <a:pt x="69252" y="292836"/>
                      <a:pt x="75406" y="255913"/>
                      <a:pt x="75406" y="228221"/>
                    </a:cubicBezTo>
                    <a:cubicBezTo>
                      <a:pt x="75406" y="209759"/>
                      <a:pt x="63098" y="185144"/>
                      <a:pt x="47714" y="172836"/>
                    </a:cubicBezTo>
                    <a:cubicBezTo>
                      <a:pt x="26175" y="154375"/>
                      <a:pt x="-7671" y="132836"/>
                      <a:pt x="1560" y="98990"/>
                    </a:cubicBezTo>
                    <a:cubicBezTo>
                      <a:pt x="16944" y="43605"/>
                      <a:pt x="63098" y="15913"/>
                      <a:pt x="146175" y="37452"/>
                    </a:cubicBezTo>
                    <a:cubicBezTo>
                      <a:pt x="146175" y="37452"/>
                      <a:pt x="229252" y="-42549"/>
                      <a:pt x="306175" y="31298"/>
                    </a:cubicBezTo>
                    <a:cubicBezTo>
                      <a:pt x="312329" y="37452"/>
                      <a:pt x="309252" y="46682"/>
                      <a:pt x="303098" y="46682"/>
                    </a:cubicBezTo>
                    <a:cubicBezTo>
                      <a:pt x="275406" y="55913"/>
                      <a:pt x="216944" y="68221"/>
                      <a:pt x="235406" y="111298"/>
                    </a:cubicBezTo>
                    <a:cubicBezTo>
                      <a:pt x="256945" y="151298"/>
                      <a:pt x="303098" y="114375"/>
                      <a:pt x="327713" y="98990"/>
                    </a:cubicBezTo>
                    <a:cubicBezTo>
                      <a:pt x="333868" y="95913"/>
                      <a:pt x="343098" y="98990"/>
                      <a:pt x="343098" y="105144"/>
                    </a:cubicBezTo>
                    <a:cubicBezTo>
                      <a:pt x="355406" y="209759"/>
                      <a:pt x="241560" y="228221"/>
                      <a:pt x="241560" y="228221"/>
                    </a:cubicBezTo>
                    <a:cubicBezTo>
                      <a:pt x="207714" y="308221"/>
                      <a:pt x="158483" y="323606"/>
                      <a:pt x="103098" y="305144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95FA8CF1-6EB4-44F1-9F82-76DE72CC96F9}"/>
                  </a:ext>
                </a:extLst>
              </p:cNvPr>
              <p:cNvSpPr/>
              <p:nvPr/>
            </p:nvSpPr>
            <p:spPr>
              <a:xfrm>
                <a:off x="6827743" y="8869219"/>
                <a:ext cx="323275" cy="225982"/>
              </a:xfrm>
              <a:custGeom>
                <a:avLst/>
                <a:gdLst>
                  <a:gd name="connsiteX0" fmla="*/ 113077 w 323275"/>
                  <a:gd name="connsiteY0" fmla="*/ 225983 h 225982"/>
                  <a:gd name="connsiteX1" fmla="*/ 88462 w 323275"/>
                  <a:gd name="connsiteY1" fmla="*/ 222906 h 225982"/>
                  <a:gd name="connsiteX2" fmla="*/ 36154 w 323275"/>
                  <a:gd name="connsiteY2" fmla="*/ 158290 h 225982"/>
                  <a:gd name="connsiteX3" fmla="*/ 33077 w 323275"/>
                  <a:gd name="connsiteY3" fmla="*/ 139829 h 225982"/>
                  <a:gd name="connsiteX4" fmla="*/ 2308 w 323275"/>
                  <a:gd name="connsiteY4" fmla="*/ 78291 h 225982"/>
                  <a:gd name="connsiteX5" fmla="*/ 2308 w 323275"/>
                  <a:gd name="connsiteY5" fmla="*/ 69060 h 225982"/>
                  <a:gd name="connsiteX6" fmla="*/ 11539 w 323275"/>
                  <a:gd name="connsiteY6" fmla="*/ 69060 h 225982"/>
                  <a:gd name="connsiteX7" fmla="*/ 48462 w 323275"/>
                  <a:gd name="connsiteY7" fmla="*/ 136752 h 225982"/>
                  <a:gd name="connsiteX8" fmla="*/ 51538 w 323275"/>
                  <a:gd name="connsiteY8" fmla="*/ 155214 h 225982"/>
                  <a:gd name="connsiteX9" fmla="*/ 94616 w 323275"/>
                  <a:gd name="connsiteY9" fmla="*/ 210598 h 225982"/>
                  <a:gd name="connsiteX10" fmla="*/ 208462 w 323275"/>
                  <a:gd name="connsiteY10" fmla="*/ 133675 h 225982"/>
                  <a:gd name="connsiteX11" fmla="*/ 208462 w 323275"/>
                  <a:gd name="connsiteY11" fmla="*/ 130598 h 225982"/>
                  <a:gd name="connsiteX12" fmla="*/ 211539 w 323275"/>
                  <a:gd name="connsiteY12" fmla="*/ 130598 h 225982"/>
                  <a:gd name="connsiteX13" fmla="*/ 310000 w 323275"/>
                  <a:gd name="connsiteY13" fmla="*/ 16752 h 225982"/>
                  <a:gd name="connsiteX14" fmla="*/ 310000 w 323275"/>
                  <a:gd name="connsiteY14" fmla="*/ 13675 h 225982"/>
                  <a:gd name="connsiteX15" fmla="*/ 310000 w 323275"/>
                  <a:gd name="connsiteY15" fmla="*/ 10598 h 225982"/>
                  <a:gd name="connsiteX16" fmla="*/ 303846 w 323275"/>
                  <a:gd name="connsiteY16" fmla="*/ 10598 h 225982"/>
                  <a:gd name="connsiteX17" fmla="*/ 297692 w 323275"/>
                  <a:gd name="connsiteY17" fmla="*/ 7521 h 225982"/>
                  <a:gd name="connsiteX18" fmla="*/ 300769 w 323275"/>
                  <a:gd name="connsiteY18" fmla="*/ 1368 h 225982"/>
                  <a:gd name="connsiteX19" fmla="*/ 316154 w 323275"/>
                  <a:gd name="connsiteY19" fmla="*/ 1368 h 225982"/>
                  <a:gd name="connsiteX20" fmla="*/ 322308 w 323275"/>
                  <a:gd name="connsiteY20" fmla="*/ 13675 h 225982"/>
                  <a:gd name="connsiteX21" fmla="*/ 322308 w 323275"/>
                  <a:gd name="connsiteY21" fmla="*/ 16752 h 225982"/>
                  <a:gd name="connsiteX22" fmla="*/ 217692 w 323275"/>
                  <a:gd name="connsiteY22" fmla="*/ 142906 h 225982"/>
                  <a:gd name="connsiteX23" fmla="*/ 113077 w 323275"/>
                  <a:gd name="connsiteY23" fmla="*/ 225983 h 225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23275" h="225982">
                    <a:moveTo>
                      <a:pt x="113077" y="225983"/>
                    </a:moveTo>
                    <a:cubicBezTo>
                      <a:pt x="106923" y="225983"/>
                      <a:pt x="97692" y="225983"/>
                      <a:pt x="88462" y="222906"/>
                    </a:cubicBezTo>
                    <a:cubicBezTo>
                      <a:pt x="57693" y="213675"/>
                      <a:pt x="42308" y="192137"/>
                      <a:pt x="36154" y="158290"/>
                    </a:cubicBezTo>
                    <a:cubicBezTo>
                      <a:pt x="36154" y="152137"/>
                      <a:pt x="33077" y="145983"/>
                      <a:pt x="33077" y="139829"/>
                    </a:cubicBezTo>
                    <a:cubicBezTo>
                      <a:pt x="30000" y="105983"/>
                      <a:pt x="26923" y="99829"/>
                      <a:pt x="2308" y="78291"/>
                    </a:cubicBezTo>
                    <a:cubicBezTo>
                      <a:pt x="-769" y="75214"/>
                      <a:pt x="-769" y="72136"/>
                      <a:pt x="2308" y="69060"/>
                    </a:cubicBezTo>
                    <a:cubicBezTo>
                      <a:pt x="5384" y="65983"/>
                      <a:pt x="8462" y="65983"/>
                      <a:pt x="11539" y="69060"/>
                    </a:cubicBezTo>
                    <a:cubicBezTo>
                      <a:pt x="42308" y="93675"/>
                      <a:pt x="42308" y="102906"/>
                      <a:pt x="48462" y="136752"/>
                    </a:cubicBezTo>
                    <a:cubicBezTo>
                      <a:pt x="48462" y="142906"/>
                      <a:pt x="48462" y="149060"/>
                      <a:pt x="51538" y="155214"/>
                    </a:cubicBezTo>
                    <a:cubicBezTo>
                      <a:pt x="57693" y="201368"/>
                      <a:pt x="85385" y="210598"/>
                      <a:pt x="94616" y="210598"/>
                    </a:cubicBezTo>
                    <a:cubicBezTo>
                      <a:pt x="171539" y="232137"/>
                      <a:pt x="205384" y="133675"/>
                      <a:pt x="208462" y="133675"/>
                    </a:cubicBezTo>
                    <a:lnTo>
                      <a:pt x="208462" y="130598"/>
                    </a:lnTo>
                    <a:lnTo>
                      <a:pt x="211539" y="130598"/>
                    </a:lnTo>
                    <a:cubicBezTo>
                      <a:pt x="282308" y="112137"/>
                      <a:pt x="316154" y="75214"/>
                      <a:pt x="310000" y="16752"/>
                    </a:cubicBezTo>
                    <a:lnTo>
                      <a:pt x="310000" y="13675"/>
                    </a:lnTo>
                    <a:cubicBezTo>
                      <a:pt x="310000" y="13675"/>
                      <a:pt x="310000" y="10598"/>
                      <a:pt x="310000" y="10598"/>
                    </a:cubicBezTo>
                    <a:cubicBezTo>
                      <a:pt x="310000" y="10598"/>
                      <a:pt x="303846" y="10598"/>
                      <a:pt x="303846" y="10598"/>
                    </a:cubicBezTo>
                    <a:cubicBezTo>
                      <a:pt x="300769" y="10598"/>
                      <a:pt x="297692" y="10598"/>
                      <a:pt x="297692" y="7521"/>
                    </a:cubicBezTo>
                    <a:cubicBezTo>
                      <a:pt x="297692" y="4444"/>
                      <a:pt x="297692" y="1368"/>
                      <a:pt x="300769" y="1368"/>
                    </a:cubicBezTo>
                    <a:cubicBezTo>
                      <a:pt x="300769" y="1368"/>
                      <a:pt x="310000" y="-1710"/>
                      <a:pt x="316154" y="1368"/>
                    </a:cubicBezTo>
                    <a:cubicBezTo>
                      <a:pt x="319231" y="4444"/>
                      <a:pt x="322308" y="7521"/>
                      <a:pt x="322308" y="13675"/>
                    </a:cubicBezTo>
                    <a:lnTo>
                      <a:pt x="322308" y="16752"/>
                    </a:lnTo>
                    <a:cubicBezTo>
                      <a:pt x="331539" y="93675"/>
                      <a:pt x="273077" y="127521"/>
                      <a:pt x="217692" y="142906"/>
                    </a:cubicBezTo>
                    <a:cubicBezTo>
                      <a:pt x="208462" y="158290"/>
                      <a:pt x="177692" y="225983"/>
                      <a:pt x="113077" y="22598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659BEE01-AE03-4F3E-A1E3-D0883BEA5B64}"/>
                  </a:ext>
                </a:extLst>
              </p:cNvPr>
              <p:cNvSpPr/>
              <p:nvPr/>
            </p:nvSpPr>
            <p:spPr>
              <a:xfrm>
                <a:off x="7017021" y="8852894"/>
                <a:ext cx="24567" cy="73076"/>
              </a:xfrm>
              <a:custGeom>
                <a:avLst/>
                <a:gdLst>
                  <a:gd name="connsiteX0" fmla="*/ 9952 w 24567"/>
                  <a:gd name="connsiteY0" fmla="*/ 73077 h 73076"/>
                  <a:gd name="connsiteX1" fmla="*/ 3799 w 24567"/>
                  <a:gd name="connsiteY1" fmla="*/ 70000 h 73076"/>
                  <a:gd name="connsiteX2" fmla="*/ 13029 w 24567"/>
                  <a:gd name="connsiteY2" fmla="*/ 2308 h 73076"/>
                  <a:gd name="connsiteX3" fmla="*/ 22260 w 24567"/>
                  <a:gd name="connsiteY3" fmla="*/ 2308 h 73076"/>
                  <a:gd name="connsiteX4" fmla="*/ 22260 w 24567"/>
                  <a:gd name="connsiteY4" fmla="*/ 11538 h 73076"/>
                  <a:gd name="connsiteX5" fmla="*/ 13029 w 24567"/>
                  <a:gd name="connsiteY5" fmla="*/ 66923 h 73076"/>
                  <a:gd name="connsiteX6" fmla="*/ 9952 w 24567"/>
                  <a:gd name="connsiteY6" fmla="*/ 73077 h 73076"/>
                  <a:gd name="connsiteX7" fmla="*/ 9952 w 24567"/>
                  <a:gd name="connsiteY7" fmla="*/ 73077 h 7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567" h="73076">
                    <a:moveTo>
                      <a:pt x="9952" y="73077"/>
                    </a:moveTo>
                    <a:cubicBezTo>
                      <a:pt x="6876" y="73077"/>
                      <a:pt x="3799" y="70000"/>
                      <a:pt x="3799" y="70000"/>
                    </a:cubicBezTo>
                    <a:cubicBezTo>
                      <a:pt x="-8509" y="30000"/>
                      <a:pt x="13029" y="5384"/>
                      <a:pt x="13029" y="2308"/>
                    </a:cubicBezTo>
                    <a:cubicBezTo>
                      <a:pt x="16106" y="-769"/>
                      <a:pt x="19183" y="-769"/>
                      <a:pt x="22260" y="2308"/>
                    </a:cubicBezTo>
                    <a:cubicBezTo>
                      <a:pt x="25337" y="5384"/>
                      <a:pt x="25337" y="8462"/>
                      <a:pt x="22260" y="11538"/>
                    </a:cubicBezTo>
                    <a:cubicBezTo>
                      <a:pt x="22260" y="11538"/>
                      <a:pt x="3799" y="33077"/>
                      <a:pt x="13029" y="66923"/>
                    </a:cubicBezTo>
                    <a:cubicBezTo>
                      <a:pt x="16106" y="70000"/>
                      <a:pt x="13029" y="73077"/>
                      <a:pt x="9952" y="73077"/>
                    </a:cubicBezTo>
                    <a:cubicBezTo>
                      <a:pt x="9952" y="73077"/>
                      <a:pt x="9952" y="73077"/>
                      <a:pt x="9952" y="7307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31F4CD9E-5006-44F0-B597-C2F809413907}"/>
                </a:ext>
              </a:extLst>
            </p:cNvPr>
            <p:cNvSpPr/>
            <p:nvPr/>
          </p:nvSpPr>
          <p:spPr>
            <a:xfrm>
              <a:off x="7753127" y="9167774"/>
              <a:ext cx="90505" cy="782812"/>
            </a:xfrm>
            <a:custGeom>
              <a:avLst/>
              <a:gdLst>
                <a:gd name="connsiteX0" fmla="*/ 6154 w 90505"/>
                <a:gd name="connsiteY0" fmla="*/ 782813 h 782812"/>
                <a:gd name="connsiteX1" fmla="*/ 6154 w 90505"/>
                <a:gd name="connsiteY1" fmla="*/ 782813 h 782812"/>
                <a:gd name="connsiteX2" fmla="*/ 0 w 90505"/>
                <a:gd name="connsiteY2" fmla="*/ 776659 h 782812"/>
                <a:gd name="connsiteX3" fmla="*/ 80000 w 90505"/>
                <a:gd name="connsiteY3" fmla="*/ 4351 h 782812"/>
                <a:gd name="connsiteX4" fmla="*/ 86154 w 90505"/>
                <a:gd name="connsiteY4" fmla="*/ 1275 h 782812"/>
                <a:gd name="connsiteX5" fmla="*/ 89231 w 90505"/>
                <a:gd name="connsiteY5" fmla="*/ 7428 h 782812"/>
                <a:gd name="connsiteX6" fmla="*/ 9231 w 90505"/>
                <a:gd name="connsiteY6" fmla="*/ 779736 h 782812"/>
                <a:gd name="connsiteX7" fmla="*/ 6154 w 90505"/>
                <a:gd name="connsiteY7" fmla="*/ 782813 h 782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505" h="782812">
                  <a:moveTo>
                    <a:pt x="6154" y="782813"/>
                  </a:moveTo>
                  <a:cubicBezTo>
                    <a:pt x="6154" y="782813"/>
                    <a:pt x="6154" y="782813"/>
                    <a:pt x="6154" y="782813"/>
                  </a:cubicBezTo>
                  <a:cubicBezTo>
                    <a:pt x="3077" y="782813"/>
                    <a:pt x="0" y="779736"/>
                    <a:pt x="0" y="776659"/>
                  </a:cubicBezTo>
                  <a:cubicBezTo>
                    <a:pt x="3077" y="745890"/>
                    <a:pt x="73846" y="44351"/>
                    <a:pt x="80000" y="4351"/>
                  </a:cubicBezTo>
                  <a:cubicBezTo>
                    <a:pt x="80000" y="1275"/>
                    <a:pt x="83077" y="-1803"/>
                    <a:pt x="86154" y="1275"/>
                  </a:cubicBezTo>
                  <a:cubicBezTo>
                    <a:pt x="89231" y="1275"/>
                    <a:pt x="92308" y="4351"/>
                    <a:pt x="89231" y="7428"/>
                  </a:cubicBezTo>
                  <a:cubicBezTo>
                    <a:pt x="80000" y="47428"/>
                    <a:pt x="9231" y="770505"/>
                    <a:pt x="9231" y="779736"/>
                  </a:cubicBezTo>
                  <a:cubicBezTo>
                    <a:pt x="12308" y="782813"/>
                    <a:pt x="9231" y="782813"/>
                    <a:pt x="6154" y="782813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80" name="图形 1">
            <a:extLst>
              <a:ext uri="{FF2B5EF4-FFF2-40B4-BE49-F238E27FC236}">
                <a16:creationId xmlns:a16="http://schemas.microsoft.com/office/drawing/2014/main" id="{C8A3AE3E-7873-4C62-B183-8C1282FFBD88}"/>
              </a:ext>
            </a:extLst>
          </p:cNvPr>
          <p:cNvGrpSpPr/>
          <p:nvPr/>
        </p:nvGrpSpPr>
        <p:grpSpPr>
          <a:xfrm>
            <a:off x="3203118" y="2195677"/>
            <a:ext cx="2127132" cy="4661266"/>
            <a:chOff x="3377583" y="8482110"/>
            <a:chExt cx="2127132" cy="4661266"/>
          </a:xfrm>
        </p:grpSpPr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E086FBB0-F725-439A-978E-A8D852814FE9}"/>
                </a:ext>
              </a:extLst>
            </p:cNvPr>
            <p:cNvSpPr/>
            <p:nvPr/>
          </p:nvSpPr>
          <p:spPr>
            <a:xfrm>
              <a:off x="3642358" y="10845971"/>
              <a:ext cx="987692" cy="680000"/>
            </a:xfrm>
            <a:custGeom>
              <a:avLst/>
              <a:gdLst>
                <a:gd name="connsiteX0" fmla="*/ 0 w 987692"/>
                <a:gd name="connsiteY0" fmla="*/ 661538 h 680000"/>
                <a:gd name="connsiteX1" fmla="*/ 987692 w 987692"/>
                <a:gd name="connsiteY1" fmla="*/ 680000 h 680000"/>
                <a:gd name="connsiteX2" fmla="*/ 956923 w 987692"/>
                <a:gd name="connsiteY2" fmla="*/ 467693 h 680000"/>
                <a:gd name="connsiteX3" fmla="*/ 449231 w 987692"/>
                <a:gd name="connsiteY3" fmla="*/ 0 h 680000"/>
                <a:gd name="connsiteX4" fmla="*/ 76923 w 987692"/>
                <a:gd name="connsiteY4" fmla="*/ 529231 h 6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7692" h="680000">
                  <a:moveTo>
                    <a:pt x="0" y="661538"/>
                  </a:moveTo>
                  <a:lnTo>
                    <a:pt x="987692" y="680000"/>
                  </a:lnTo>
                  <a:lnTo>
                    <a:pt x="956923" y="467693"/>
                  </a:lnTo>
                  <a:lnTo>
                    <a:pt x="449231" y="0"/>
                  </a:lnTo>
                  <a:lnTo>
                    <a:pt x="76923" y="529231"/>
                  </a:ln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1B009D52-E594-4053-AA6C-BC2EDF5A47CA}"/>
                </a:ext>
              </a:extLst>
            </p:cNvPr>
            <p:cNvSpPr/>
            <p:nvPr/>
          </p:nvSpPr>
          <p:spPr>
            <a:xfrm>
              <a:off x="4106973" y="8898279"/>
              <a:ext cx="433846" cy="612307"/>
            </a:xfrm>
            <a:custGeom>
              <a:avLst/>
              <a:gdLst>
                <a:gd name="connsiteX0" fmla="*/ 313846 w 433846"/>
                <a:gd name="connsiteY0" fmla="*/ 0 h 612307"/>
                <a:gd name="connsiteX1" fmla="*/ 433846 w 433846"/>
                <a:gd name="connsiteY1" fmla="*/ 612308 h 612307"/>
                <a:gd name="connsiteX2" fmla="*/ 0 w 433846"/>
                <a:gd name="connsiteY2" fmla="*/ 612308 h 612307"/>
                <a:gd name="connsiteX3" fmla="*/ 58462 w 433846"/>
                <a:gd name="connsiteY3" fmla="*/ 160000 h 61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846" h="612307">
                  <a:moveTo>
                    <a:pt x="313846" y="0"/>
                  </a:moveTo>
                  <a:lnTo>
                    <a:pt x="433846" y="612308"/>
                  </a:lnTo>
                  <a:lnTo>
                    <a:pt x="0" y="612308"/>
                  </a:lnTo>
                  <a:lnTo>
                    <a:pt x="58462" y="160000"/>
                  </a:ln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AC606154-7919-4540-8F65-957F65E1BA18}"/>
                </a:ext>
              </a:extLst>
            </p:cNvPr>
            <p:cNvSpPr/>
            <p:nvPr/>
          </p:nvSpPr>
          <p:spPr>
            <a:xfrm>
              <a:off x="3750050" y="8929048"/>
              <a:ext cx="356923" cy="606153"/>
            </a:xfrm>
            <a:custGeom>
              <a:avLst/>
              <a:gdLst>
                <a:gd name="connsiteX0" fmla="*/ 76923 w 356923"/>
                <a:gd name="connsiteY0" fmla="*/ 0 h 606153"/>
                <a:gd name="connsiteX1" fmla="*/ 0 w 356923"/>
                <a:gd name="connsiteY1" fmla="*/ 606154 h 606153"/>
                <a:gd name="connsiteX2" fmla="*/ 356923 w 356923"/>
                <a:gd name="connsiteY2" fmla="*/ 516923 h 606153"/>
                <a:gd name="connsiteX3" fmla="*/ 329231 w 356923"/>
                <a:gd name="connsiteY3" fmla="*/ 252308 h 606153"/>
                <a:gd name="connsiteX4" fmla="*/ 236923 w 356923"/>
                <a:gd name="connsiteY4" fmla="*/ 113846 h 606153"/>
                <a:gd name="connsiteX5" fmla="*/ 76923 w 356923"/>
                <a:gd name="connsiteY5" fmla="*/ 0 h 60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6923" h="606153">
                  <a:moveTo>
                    <a:pt x="76923" y="0"/>
                  </a:moveTo>
                  <a:cubicBezTo>
                    <a:pt x="76923" y="0"/>
                    <a:pt x="12308" y="332308"/>
                    <a:pt x="0" y="606154"/>
                  </a:cubicBezTo>
                  <a:lnTo>
                    <a:pt x="356923" y="516923"/>
                  </a:lnTo>
                  <a:lnTo>
                    <a:pt x="329231" y="252308"/>
                  </a:lnTo>
                  <a:lnTo>
                    <a:pt x="236923" y="113846"/>
                  </a:lnTo>
                  <a:lnTo>
                    <a:pt x="76923" y="0"/>
                  </a:ln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85086943-3A07-4453-AA86-2106CA0811AE}"/>
                </a:ext>
              </a:extLst>
            </p:cNvPr>
            <p:cNvSpPr/>
            <p:nvPr/>
          </p:nvSpPr>
          <p:spPr>
            <a:xfrm>
              <a:off x="4399281" y="9172125"/>
              <a:ext cx="61538" cy="326154"/>
            </a:xfrm>
            <a:custGeom>
              <a:avLst/>
              <a:gdLst>
                <a:gd name="connsiteX0" fmla="*/ 55385 w 61538"/>
                <a:gd name="connsiteY0" fmla="*/ 326154 h 326154"/>
                <a:gd name="connsiteX1" fmla="*/ 49231 w 61538"/>
                <a:gd name="connsiteY1" fmla="*/ 320000 h 326154"/>
                <a:gd name="connsiteX2" fmla="*/ 0 w 61538"/>
                <a:gd name="connsiteY2" fmla="*/ 6154 h 326154"/>
                <a:gd name="connsiteX3" fmla="*/ 6154 w 61538"/>
                <a:gd name="connsiteY3" fmla="*/ 0 h 326154"/>
                <a:gd name="connsiteX4" fmla="*/ 12308 w 61538"/>
                <a:gd name="connsiteY4" fmla="*/ 6154 h 326154"/>
                <a:gd name="connsiteX5" fmla="*/ 61539 w 61538"/>
                <a:gd name="connsiteY5" fmla="*/ 320000 h 326154"/>
                <a:gd name="connsiteX6" fmla="*/ 55385 w 61538"/>
                <a:gd name="connsiteY6" fmla="*/ 326154 h 326154"/>
                <a:gd name="connsiteX7" fmla="*/ 55385 w 61538"/>
                <a:gd name="connsiteY7" fmla="*/ 326154 h 326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538" h="326154">
                  <a:moveTo>
                    <a:pt x="55385" y="326154"/>
                  </a:moveTo>
                  <a:cubicBezTo>
                    <a:pt x="52308" y="326154"/>
                    <a:pt x="49231" y="323077"/>
                    <a:pt x="49231" y="320000"/>
                  </a:cubicBezTo>
                  <a:lnTo>
                    <a:pt x="0" y="6154"/>
                  </a:lnTo>
                  <a:cubicBezTo>
                    <a:pt x="0" y="3077"/>
                    <a:pt x="3077" y="0"/>
                    <a:pt x="6154" y="0"/>
                  </a:cubicBezTo>
                  <a:cubicBezTo>
                    <a:pt x="9231" y="0"/>
                    <a:pt x="12308" y="3077"/>
                    <a:pt x="12308" y="6154"/>
                  </a:cubicBezTo>
                  <a:lnTo>
                    <a:pt x="61539" y="320000"/>
                  </a:lnTo>
                  <a:cubicBezTo>
                    <a:pt x="61539" y="323077"/>
                    <a:pt x="58461" y="326154"/>
                    <a:pt x="55385" y="326154"/>
                  </a:cubicBezTo>
                  <a:cubicBezTo>
                    <a:pt x="55385" y="326154"/>
                    <a:pt x="55385" y="326154"/>
                    <a:pt x="55385" y="326154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B98D9D27-ED89-4BCC-B300-605042C3805A}"/>
                </a:ext>
              </a:extLst>
            </p:cNvPr>
            <p:cNvSpPr/>
            <p:nvPr/>
          </p:nvSpPr>
          <p:spPr>
            <a:xfrm>
              <a:off x="3826974" y="9172125"/>
              <a:ext cx="64615" cy="316923"/>
            </a:xfrm>
            <a:custGeom>
              <a:avLst/>
              <a:gdLst>
                <a:gd name="connsiteX0" fmla="*/ 6154 w 64615"/>
                <a:gd name="connsiteY0" fmla="*/ 316923 h 316923"/>
                <a:gd name="connsiteX1" fmla="*/ 6154 w 64615"/>
                <a:gd name="connsiteY1" fmla="*/ 316923 h 316923"/>
                <a:gd name="connsiteX2" fmla="*/ 0 w 64615"/>
                <a:gd name="connsiteY2" fmla="*/ 310769 h 316923"/>
                <a:gd name="connsiteX3" fmla="*/ 52308 w 64615"/>
                <a:gd name="connsiteY3" fmla="*/ 6154 h 316923"/>
                <a:gd name="connsiteX4" fmla="*/ 58461 w 64615"/>
                <a:gd name="connsiteY4" fmla="*/ 0 h 316923"/>
                <a:gd name="connsiteX5" fmla="*/ 64615 w 64615"/>
                <a:gd name="connsiteY5" fmla="*/ 6154 h 316923"/>
                <a:gd name="connsiteX6" fmla="*/ 12308 w 64615"/>
                <a:gd name="connsiteY6" fmla="*/ 310769 h 316923"/>
                <a:gd name="connsiteX7" fmla="*/ 6154 w 64615"/>
                <a:gd name="connsiteY7" fmla="*/ 316923 h 31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615" h="316923">
                  <a:moveTo>
                    <a:pt x="6154" y="316923"/>
                  </a:moveTo>
                  <a:cubicBezTo>
                    <a:pt x="6154" y="316923"/>
                    <a:pt x="6154" y="316923"/>
                    <a:pt x="6154" y="316923"/>
                  </a:cubicBezTo>
                  <a:cubicBezTo>
                    <a:pt x="3077" y="316923"/>
                    <a:pt x="0" y="313847"/>
                    <a:pt x="0" y="310769"/>
                  </a:cubicBezTo>
                  <a:lnTo>
                    <a:pt x="52308" y="6154"/>
                  </a:lnTo>
                  <a:cubicBezTo>
                    <a:pt x="52308" y="3077"/>
                    <a:pt x="55385" y="0"/>
                    <a:pt x="58461" y="0"/>
                  </a:cubicBezTo>
                  <a:cubicBezTo>
                    <a:pt x="61538" y="0"/>
                    <a:pt x="64615" y="3077"/>
                    <a:pt x="64615" y="6154"/>
                  </a:cubicBezTo>
                  <a:lnTo>
                    <a:pt x="12308" y="310769"/>
                  </a:lnTo>
                  <a:cubicBezTo>
                    <a:pt x="12308" y="313847"/>
                    <a:pt x="9231" y="316923"/>
                    <a:pt x="6154" y="316923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75EAE412-A920-4101-B2D1-BA327EE17B66}"/>
                </a:ext>
              </a:extLst>
            </p:cNvPr>
            <p:cNvSpPr/>
            <p:nvPr/>
          </p:nvSpPr>
          <p:spPr>
            <a:xfrm>
              <a:off x="4399101" y="9568706"/>
              <a:ext cx="880213" cy="607261"/>
            </a:xfrm>
            <a:custGeom>
              <a:avLst/>
              <a:gdLst>
                <a:gd name="connsiteX0" fmla="*/ 157104 w 880213"/>
                <a:gd name="connsiteY0" fmla="*/ 3419 h 607261"/>
                <a:gd name="connsiteX1" fmla="*/ 470950 w 880213"/>
                <a:gd name="connsiteY1" fmla="*/ 403419 h 607261"/>
                <a:gd name="connsiteX2" fmla="*/ 834027 w 880213"/>
                <a:gd name="connsiteY2" fmla="*/ 188035 h 607261"/>
                <a:gd name="connsiteX3" fmla="*/ 880180 w 880213"/>
                <a:gd name="connsiteY3" fmla="*/ 283420 h 607261"/>
                <a:gd name="connsiteX4" fmla="*/ 455565 w 880213"/>
                <a:gd name="connsiteY4" fmla="*/ 606497 h 607261"/>
                <a:gd name="connsiteX5" fmla="*/ 15565 w 880213"/>
                <a:gd name="connsiteY5" fmla="*/ 126496 h 607261"/>
                <a:gd name="connsiteX6" fmla="*/ 157104 w 880213"/>
                <a:gd name="connsiteY6" fmla="*/ 3419 h 607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0213" h="607261">
                  <a:moveTo>
                    <a:pt x="157104" y="3419"/>
                  </a:moveTo>
                  <a:cubicBezTo>
                    <a:pt x="246334" y="12650"/>
                    <a:pt x="470950" y="403419"/>
                    <a:pt x="470950" y="403419"/>
                  </a:cubicBezTo>
                  <a:cubicBezTo>
                    <a:pt x="470950" y="403419"/>
                    <a:pt x="827873" y="181881"/>
                    <a:pt x="834027" y="188035"/>
                  </a:cubicBezTo>
                  <a:cubicBezTo>
                    <a:pt x="895565" y="224958"/>
                    <a:pt x="858642" y="215727"/>
                    <a:pt x="880180" y="283420"/>
                  </a:cubicBezTo>
                  <a:cubicBezTo>
                    <a:pt x="883257" y="292650"/>
                    <a:pt x="674026" y="544958"/>
                    <a:pt x="455565" y="606497"/>
                  </a:cubicBezTo>
                  <a:cubicBezTo>
                    <a:pt x="390950" y="624958"/>
                    <a:pt x="77104" y="304958"/>
                    <a:pt x="15565" y="126496"/>
                  </a:cubicBezTo>
                  <a:cubicBezTo>
                    <a:pt x="-15204" y="43420"/>
                    <a:pt x="-15204" y="-15042"/>
                    <a:pt x="157104" y="3419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C64D40C6-2565-4581-AD03-A4E9848D3057}"/>
                </a:ext>
              </a:extLst>
            </p:cNvPr>
            <p:cNvSpPr/>
            <p:nvPr/>
          </p:nvSpPr>
          <p:spPr>
            <a:xfrm>
              <a:off x="5209836" y="9605164"/>
              <a:ext cx="224152" cy="247520"/>
            </a:xfrm>
            <a:custGeom>
              <a:avLst/>
              <a:gdLst>
                <a:gd name="connsiteX0" fmla="*/ 207907 w 224152"/>
                <a:gd name="connsiteY0" fmla="*/ 151576 h 247520"/>
                <a:gd name="connsiteX1" fmla="*/ 220214 w 224152"/>
                <a:gd name="connsiteY1" fmla="*/ 105422 h 247520"/>
                <a:gd name="connsiteX2" fmla="*/ 223291 w 224152"/>
                <a:gd name="connsiteY2" fmla="*/ 71576 h 247520"/>
                <a:gd name="connsiteX3" fmla="*/ 192522 w 224152"/>
                <a:gd name="connsiteY3" fmla="*/ 34653 h 247520"/>
                <a:gd name="connsiteX4" fmla="*/ 167906 w 224152"/>
                <a:gd name="connsiteY4" fmla="*/ 807 h 247520"/>
                <a:gd name="connsiteX5" fmla="*/ 1753 w 224152"/>
                <a:gd name="connsiteY5" fmla="*/ 170038 h 247520"/>
                <a:gd name="connsiteX6" fmla="*/ 72522 w 224152"/>
                <a:gd name="connsiteY6" fmla="*/ 246961 h 247520"/>
                <a:gd name="connsiteX7" fmla="*/ 189445 w 224152"/>
                <a:gd name="connsiteY7" fmla="*/ 185422 h 247520"/>
                <a:gd name="connsiteX8" fmla="*/ 207907 w 224152"/>
                <a:gd name="connsiteY8" fmla="*/ 151576 h 247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152" h="247520">
                  <a:moveTo>
                    <a:pt x="207907" y="151576"/>
                  </a:moveTo>
                  <a:cubicBezTo>
                    <a:pt x="204830" y="142346"/>
                    <a:pt x="217137" y="120807"/>
                    <a:pt x="220214" y="105422"/>
                  </a:cubicBezTo>
                  <a:cubicBezTo>
                    <a:pt x="220214" y="102345"/>
                    <a:pt x="226368" y="83884"/>
                    <a:pt x="223291" y="71576"/>
                  </a:cubicBezTo>
                  <a:cubicBezTo>
                    <a:pt x="220214" y="62345"/>
                    <a:pt x="180214" y="46961"/>
                    <a:pt x="192522" y="34653"/>
                  </a:cubicBezTo>
                  <a:cubicBezTo>
                    <a:pt x="198676" y="25422"/>
                    <a:pt x="177137" y="-5347"/>
                    <a:pt x="167906" y="807"/>
                  </a:cubicBezTo>
                  <a:cubicBezTo>
                    <a:pt x="115599" y="25422"/>
                    <a:pt x="-16709" y="96192"/>
                    <a:pt x="1753" y="170038"/>
                  </a:cubicBezTo>
                  <a:cubicBezTo>
                    <a:pt x="1753" y="170038"/>
                    <a:pt x="44829" y="243884"/>
                    <a:pt x="72522" y="246961"/>
                  </a:cubicBezTo>
                  <a:cubicBezTo>
                    <a:pt x="112522" y="253115"/>
                    <a:pt x="158676" y="206961"/>
                    <a:pt x="189445" y="185422"/>
                  </a:cubicBezTo>
                  <a:cubicBezTo>
                    <a:pt x="207907" y="170038"/>
                    <a:pt x="214060" y="166961"/>
                    <a:pt x="207907" y="151576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EC1A98C5-7FA8-48A4-8D5C-F29265666306}"/>
                </a:ext>
              </a:extLst>
            </p:cNvPr>
            <p:cNvSpPr/>
            <p:nvPr/>
          </p:nvSpPr>
          <p:spPr>
            <a:xfrm>
              <a:off x="4313553" y="9381360"/>
              <a:ext cx="405727" cy="424611"/>
            </a:xfrm>
            <a:custGeom>
              <a:avLst/>
              <a:gdLst>
                <a:gd name="connsiteX0" fmla="*/ 51882 w 405727"/>
                <a:gd name="connsiteY0" fmla="*/ 424612 h 424611"/>
                <a:gd name="connsiteX1" fmla="*/ 58036 w 405727"/>
                <a:gd name="connsiteY1" fmla="*/ 15381 h 424611"/>
                <a:gd name="connsiteX2" fmla="*/ 405728 w 405727"/>
                <a:gd name="connsiteY2" fmla="*/ 295381 h 424611"/>
                <a:gd name="connsiteX3" fmla="*/ 51882 w 405727"/>
                <a:gd name="connsiteY3" fmla="*/ 424612 h 424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5727" h="424611">
                  <a:moveTo>
                    <a:pt x="51882" y="424612"/>
                  </a:moveTo>
                  <a:cubicBezTo>
                    <a:pt x="-31195" y="258458"/>
                    <a:pt x="-3503" y="64612"/>
                    <a:pt x="58036" y="15381"/>
                  </a:cubicBezTo>
                  <a:cubicBezTo>
                    <a:pt x="141112" y="-49234"/>
                    <a:pt x="334959" y="98458"/>
                    <a:pt x="405728" y="295381"/>
                  </a:cubicBezTo>
                  <a:cubicBezTo>
                    <a:pt x="362651" y="356920"/>
                    <a:pt x="156497" y="412304"/>
                    <a:pt x="51882" y="424612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9" name="图形 1">
              <a:extLst>
                <a:ext uri="{FF2B5EF4-FFF2-40B4-BE49-F238E27FC236}">
                  <a16:creationId xmlns:a16="http://schemas.microsoft.com/office/drawing/2014/main" id="{00B6EB41-1E1F-4317-9411-73E88761A640}"/>
                </a:ext>
              </a:extLst>
            </p:cNvPr>
            <p:cNvGrpSpPr/>
            <p:nvPr/>
          </p:nvGrpSpPr>
          <p:grpSpPr>
            <a:xfrm>
              <a:off x="4285435" y="12750587"/>
              <a:ext cx="385384" cy="392789"/>
              <a:chOff x="4285435" y="12750587"/>
              <a:chExt cx="385384" cy="392789"/>
            </a:xfrm>
          </p:grpSpPr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D214E0A8-91D0-4B2B-8714-9EB5126CB3F4}"/>
                  </a:ext>
                </a:extLst>
              </p:cNvPr>
              <p:cNvSpPr/>
              <p:nvPr/>
            </p:nvSpPr>
            <p:spPr>
              <a:xfrm>
                <a:off x="4302909" y="12879817"/>
                <a:ext cx="367910" cy="263559"/>
              </a:xfrm>
              <a:custGeom>
                <a:avLst/>
                <a:gdLst>
                  <a:gd name="connsiteX0" fmla="*/ 139449 w 367910"/>
                  <a:gd name="connsiteY0" fmla="*/ 0 h 263559"/>
                  <a:gd name="connsiteX1" fmla="*/ 259449 w 367910"/>
                  <a:gd name="connsiteY1" fmla="*/ 166154 h 263559"/>
                  <a:gd name="connsiteX2" fmla="*/ 40988 w 367910"/>
                  <a:gd name="connsiteY2" fmla="*/ 36923 h 263559"/>
                  <a:gd name="connsiteX3" fmla="*/ 19449 w 367910"/>
                  <a:gd name="connsiteY3" fmla="*/ 21539 h 263559"/>
                  <a:gd name="connsiteX4" fmla="*/ 988 w 367910"/>
                  <a:gd name="connsiteY4" fmla="*/ 98462 h 263559"/>
                  <a:gd name="connsiteX5" fmla="*/ 13295 w 367910"/>
                  <a:gd name="connsiteY5" fmla="*/ 236923 h 263559"/>
                  <a:gd name="connsiteX6" fmla="*/ 40988 w 367910"/>
                  <a:gd name="connsiteY6" fmla="*/ 236923 h 263559"/>
                  <a:gd name="connsiteX7" fmla="*/ 56372 w 367910"/>
                  <a:gd name="connsiteY7" fmla="*/ 126154 h 263559"/>
                  <a:gd name="connsiteX8" fmla="*/ 200988 w 367910"/>
                  <a:gd name="connsiteY8" fmla="*/ 258461 h 263559"/>
                  <a:gd name="connsiteX9" fmla="*/ 360988 w 367910"/>
                  <a:gd name="connsiteY9" fmla="*/ 261538 h 263559"/>
                  <a:gd name="connsiteX10" fmla="*/ 360988 w 367910"/>
                  <a:gd name="connsiteY10" fmla="*/ 215385 h 263559"/>
                  <a:gd name="connsiteX11" fmla="*/ 139449 w 367910"/>
                  <a:gd name="connsiteY11" fmla="*/ 0 h 263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7910" h="263559">
                    <a:moveTo>
                      <a:pt x="139449" y="0"/>
                    </a:moveTo>
                    <a:cubicBezTo>
                      <a:pt x="139449" y="0"/>
                      <a:pt x="274834" y="156923"/>
                      <a:pt x="259449" y="166154"/>
                    </a:cubicBezTo>
                    <a:cubicBezTo>
                      <a:pt x="240988" y="175385"/>
                      <a:pt x="40988" y="36923"/>
                      <a:pt x="40988" y="36923"/>
                    </a:cubicBezTo>
                    <a:lnTo>
                      <a:pt x="19449" y="21539"/>
                    </a:lnTo>
                    <a:cubicBezTo>
                      <a:pt x="19449" y="21539"/>
                      <a:pt x="-5166" y="70770"/>
                      <a:pt x="988" y="98462"/>
                    </a:cubicBezTo>
                    <a:cubicBezTo>
                      <a:pt x="7142" y="126154"/>
                      <a:pt x="13295" y="236923"/>
                      <a:pt x="13295" y="236923"/>
                    </a:cubicBezTo>
                    <a:lnTo>
                      <a:pt x="40988" y="236923"/>
                    </a:lnTo>
                    <a:lnTo>
                      <a:pt x="56372" y="126154"/>
                    </a:lnTo>
                    <a:cubicBezTo>
                      <a:pt x="56372" y="126154"/>
                      <a:pt x="179449" y="255385"/>
                      <a:pt x="200988" y="258461"/>
                    </a:cubicBezTo>
                    <a:cubicBezTo>
                      <a:pt x="222526" y="264616"/>
                      <a:pt x="348680" y="264616"/>
                      <a:pt x="360988" y="261538"/>
                    </a:cubicBezTo>
                    <a:cubicBezTo>
                      <a:pt x="370218" y="261538"/>
                      <a:pt x="370218" y="221539"/>
                      <a:pt x="360988" y="215385"/>
                    </a:cubicBezTo>
                    <a:cubicBezTo>
                      <a:pt x="280988" y="172308"/>
                      <a:pt x="139449" y="0"/>
                      <a:pt x="139449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65F7AA37-4FD3-4C6D-8D1E-5C0B28CE7A21}"/>
                  </a:ext>
                </a:extLst>
              </p:cNvPr>
              <p:cNvSpPr/>
              <p:nvPr/>
            </p:nvSpPr>
            <p:spPr>
              <a:xfrm>
                <a:off x="4285435" y="12750587"/>
                <a:ext cx="276076" cy="297142"/>
              </a:xfrm>
              <a:custGeom>
                <a:avLst/>
                <a:gdLst>
                  <a:gd name="connsiteX0" fmla="*/ 104615 w 276076"/>
                  <a:gd name="connsiteY0" fmla="*/ 0 h 297142"/>
                  <a:gd name="connsiteX1" fmla="*/ 153846 w 276076"/>
                  <a:gd name="connsiteY1" fmla="*/ 129230 h 297142"/>
                  <a:gd name="connsiteX2" fmla="*/ 273846 w 276076"/>
                  <a:gd name="connsiteY2" fmla="*/ 295384 h 297142"/>
                  <a:gd name="connsiteX3" fmla="*/ 36923 w 276076"/>
                  <a:gd name="connsiteY3" fmla="*/ 150769 h 297142"/>
                  <a:gd name="connsiteX4" fmla="*/ 0 w 276076"/>
                  <a:gd name="connsiteY4" fmla="*/ 0 h 297142"/>
                  <a:gd name="connsiteX5" fmla="*/ 104615 w 276076"/>
                  <a:gd name="connsiteY5" fmla="*/ 0 h 297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6076" h="297142">
                    <a:moveTo>
                      <a:pt x="104615" y="0"/>
                    </a:moveTo>
                    <a:lnTo>
                      <a:pt x="153846" y="129230"/>
                    </a:lnTo>
                    <a:cubicBezTo>
                      <a:pt x="153846" y="129230"/>
                      <a:pt x="295385" y="279999"/>
                      <a:pt x="273846" y="295384"/>
                    </a:cubicBezTo>
                    <a:cubicBezTo>
                      <a:pt x="252308" y="313846"/>
                      <a:pt x="33846" y="181538"/>
                      <a:pt x="36923" y="150769"/>
                    </a:cubicBezTo>
                    <a:cubicBezTo>
                      <a:pt x="36923" y="101538"/>
                      <a:pt x="0" y="0"/>
                      <a:pt x="0" y="0"/>
                    </a:cubicBezTo>
                    <a:lnTo>
                      <a:pt x="104615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0" name="图形 1">
              <a:extLst>
                <a:ext uri="{FF2B5EF4-FFF2-40B4-BE49-F238E27FC236}">
                  <a16:creationId xmlns:a16="http://schemas.microsoft.com/office/drawing/2014/main" id="{A7976D71-73AD-45E3-AA89-2E08C7D033D0}"/>
                </a:ext>
              </a:extLst>
            </p:cNvPr>
            <p:cNvGrpSpPr/>
            <p:nvPr/>
          </p:nvGrpSpPr>
          <p:grpSpPr>
            <a:xfrm>
              <a:off x="3521370" y="12750587"/>
              <a:ext cx="367910" cy="392789"/>
              <a:chOff x="3521370" y="12750587"/>
              <a:chExt cx="367910" cy="392789"/>
            </a:xfrm>
          </p:grpSpPr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F1C91E25-6F82-4AAA-ACD3-CFF5E0E2C10E}"/>
                  </a:ext>
                </a:extLst>
              </p:cNvPr>
              <p:cNvSpPr/>
              <p:nvPr/>
            </p:nvSpPr>
            <p:spPr>
              <a:xfrm>
                <a:off x="3521370" y="12879817"/>
                <a:ext cx="367910" cy="263559"/>
              </a:xfrm>
              <a:custGeom>
                <a:avLst/>
                <a:gdLst>
                  <a:gd name="connsiteX0" fmla="*/ 139449 w 367910"/>
                  <a:gd name="connsiteY0" fmla="*/ 0 h 263559"/>
                  <a:gd name="connsiteX1" fmla="*/ 259449 w 367910"/>
                  <a:gd name="connsiteY1" fmla="*/ 166154 h 263559"/>
                  <a:gd name="connsiteX2" fmla="*/ 40988 w 367910"/>
                  <a:gd name="connsiteY2" fmla="*/ 36923 h 263559"/>
                  <a:gd name="connsiteX3" fmla="*/ 19449 w 367910"/>
                  <a:gd name="connsiteY3" fmla="*/ 21539 h 263559"/>
                  <a:gd name="connsiteX4" fmla="*/ 988 w 367910"/>
                  <a:gd name="connsiteY4" fmla="*/ 98462 h 263559"/>
                  <a:gd name="connsiteX5" fmla="*/ 13295 w 367910"/>
                  <a:gd name="connsiteY5" fmla="*/ 236923 h 263559"/>
                  <a:gd name="connsiteX6" fmla="*/ 40988 w 367910"/>
                  <a:gd name="connsiteY6" fmla="*/ 236923 h 263559"/>
                  <a:gd name="connsiteX7" fmla="*/ 56372 w 367910"/>
                  <a:gd name="connsiteY7" fmla="*/ 126154 h 263559"/>
                  <a:gd name="connsiteX8" fmla="*/ 200988 w 367910"/>
                  <a:gd name="connsiteY8" fmla="*/ 258461 h 263559"/>
                  <a:gd name="connsiteX9" fmla="*/ 360988 w 367910"/>
                  <a:gd name="connsiteY9" fmla="*/ 261538 h 263559"/>
                  <a:gd name="connsiteX10" fmla="*/ 360988 w 367910"/>
                  <a:gd name="connsiteY10" fmla="*/ 215385 h 263559"/>
                  <a:gd name="connsiteX11" fmla="*/ 139449 w 367910"/>
                  <a:gd name="connsiteY11" fmla="*/ 0 h 263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7910" h="263559">
                    <a:moveTo>
                      <a:pt x="139449" y="0"/>
                    </a:moveTo>
                    <a:cubicBezTo>
                      <a:pt x="139449" y="0"/>
                      <a:pt x="274834" y="156923"/>
                      <a:pt x="259449" y="166154"/>
                    </a:cubicBezTo>
                    <a:cubicBezTo>
                      <a:pt x="240988" y="175385"/>
                      <a:pt x="40988" y="36923"/>
                      <a:pt x="40988" y="36923"/>
                    </a:cubicBezTo>
                    <a:lnTo>
                      <a:pt x="19449" y="21539"/>
                    </a:lnTo>
                    <a:cubicBezTo>
                      <a:pt x="19449" y="21539"/>
                      <a:pt x="-5166" y="70770"/>
                      <a:pt x="988" y="98462"/>
                    </a:cubicBezTo>
                    <a:cubicBezTo>
                      <a:pt x="7142" y="126154"/>
                      <a:pt x="13295" y="236923"/>
                      <a:pt x="13295" y="236923"/>
                    </a:cubicBezTo>
                    <a:lnTo>
                      <a:pt x="40988" y="236923"/>
                    </a:lnTo>
                    <a:lnTo>
                      <a:pt x="56372" y="126154"/>
                    </a:lnTo>
                    <a:cubicBezTo>
                      <a:pt x="56372" y="126154"/>
                      <a:pt x="179449" y="255385"/>
                      <a:pt x="200988" y="258461"/>
                    </a:cubicBezTo>
                    <a:cubicBezTo>
                      <a:pt x="222526" y="264616"/>
                      <a:pt x="348680" y="264616"/>
                      <a:pt x="360988" y="261538"/>
                    </a:cubicBezTo>
                    <a:cubicBezTo>
                      <a:pt x="370218" y="261538"/>
                      <a:pt x="370218" y="221539"/>
                      <a:pt x="360988" y="215385"/>
                    </a:cubicBezTo>
                    <a:cubicBezTo>
                      <a:pt x="284065" y="172308"/>
                      <a:pt x="139449" y="0"/>
                      <a:pt x="139449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71D525FC-451E-4E29-B993-24AF627D9572}"/>
                  </a:ext>
                </a:extLst>
              </p:cNvPr>
              <p:cNvSpPr/>
              <p:nvPr/>
            </p:nvSpPr>
            <p:spPr>
              <a:xfrm>
                <a:off x="3546941" y="12750587"/>
                <a:ext cx="239185" cy="297142"/>
              </a:xfrm>
              <a:custGeom>
                <a:avLst/>
                <a:gdLst>
                  <a:gd name="connsiteX0" fmla="*/ 113878 w 239185"/>
                  <a:gd name="connsiteY0" fmla="*/ 0 h 297142"/>
                  <a:gd name="connsiteX1" fmla="*/ 116955 w 239185"/>
                  <a:gd name="connsiteY1" fmla="*/ 129230 h 297142"/>
                  <a:gd name="connsiteX2" fmla="*/ 236955 w 239185"/>
                  <a:gd name="connsiteY2" fmla="*/ 295384 h 297142"/>
                  <a:gd name="connsiteX3" fmla="*/ 32 w 239185"/>
                  <a:gd name="connsiteY3" fmla="*/ 150769 h 297142"/>
                  <a:gd name="connsiteX4" fmla="*/ 32 w 239185"/>
                  <a:gd name="connsiteY4" fmla="*/ 0 h 297142"/>
                  <a:gd name="connsiteX5" fmla="*/ 113878 w 239185"/>
                  <a:gd name="connsiteY5" fmla="*/ 0 h 297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9185" h="297142">
                    <a:moveTo>
                      <a:pt x="113878" y="0"/>
                    </a:moveTo>
                    <a:lnTo>
                      <a:pt x="116955" y="129230"/>
                    </a:lnTo>
                    <a:cubicBezTo>
                      <a:pt x="116955" y="129230"/>
                      <a:pt x="258494" y="279999"/>
                      <a:pt x="236955" y="295384"/>
                    </a:cubicBezTo>
                    <a:cubicBezTo>
                      <a:pt x="215417" y="313846"/>
                      <a:pt x="-3045" y="181538"/>
                      <a:pt x="32" y="150769"/>
                    </a:cubicBezTo>
                    <a:cubicBezTo>
                      <a:pt x="32" y="101538"/>
                      <a:pt x="32" y="0"/>
                      <a:pt x="32" y="0"/>
                    </a:cubicBezTo>
                    <a:lnTo>
                      <a:pt x="113878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5B414C07-F904-45A0-84FB-D27210D4DC71}"/>
                </a:ext>
              </a:extLst>
            </p:cNvPr>
            <p:cNvSpPr/>
            <p:nvPr/>
          </p:nvSpPr>
          <p:spPr>
            <a:xfrm>
              <a:off x="3522358" y="10295202"/>
              <a:ext cx="1078126" cy="2544615"/>
            </a:xfrm>
            <a:custGeom>
              <a:avLst/>
              <a:gdLst>
                <a:gd name="connsiteX0" fmla="*/ 283077 w 1078126"/>
                <a:gd name="connsiteY0" fmla="*/ 0 h 2544615"/>
                <a:gd name="connsiteX1" fmla="*/ 956923 w 1078126"/>
                <a:gd name="connsiteY1" fmla="*/ 0 h 2544615"/>
                <a:gd name="connsiteX2" fmla="*/ 1076923 w 1078126"/>
                <a:gd name="connsiteY2" fmla="*/ 464616 h 2544615"/>
                <a:gd name="connsiteX3" fmla="*/ 895385 w 1078126"/>
                <a:gd name="connsiteY3" fmla="*/ 2507692 h 2544615"/>
                <a:gd name="connsiteX4" fmla="*/ 720000 w 1078126"/>
                <a:gd name="connsiteY4" fmla="*/ 2544616 h 2544615"/>
                <a:gd name="connsiteX5" fmla="*/ 612308 w 1078126"/>
                <a:gd name="connsiteY5" fmla="*/ 818462 h 2544615"/>
                <a:gd name="connsiteX6" fmla="*/ 541539 w 1078126"/>
                <a:gd name="connsiteY6" fmla="*/ 1636924 h 2544615"/>
                <a:gd name="connsiteX7" fmla="*/ 529231 w 1078126"/>
                <a:gd name="connsiteY7" fmla="*/ 1689231 h 2544615"/>
                <a:gd name="connsiteX8" fmla="*/ 196923 w 1078126"/>
                <a:gd name="connsiteY8" fmla="*/ 2532308 h 2544615"/>
                <a:gd name="connsiteX9" fmla="*/ 0 w 1078126"/>
                <a:gd name="connsiteY9" fmla="*/ 2532308 h 2544615"/>
                <a:gd name="connsiteX10" fmla="*/ 184615 w 1078126"/>
                <a:gd name="connsiteY10" fmla="*/ 1670770 h 2544615"/>
                <a:gd name="connsiteX11" fmla="*/ 147692 w 1078126"/>
                <a:gd name="connsiteY11" fmla="*/ 418462 h 2544615"/>
                <a:gd name="connsiteX12" fmla="*/ 283077 w 1078126"/>
                <a:gd name="connsiteY12" fmla="*/ 0 h 254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8126" h="2544615">
                  <a:moveTo>
                    <a:pt x="283077" y="0"/>
                  </a:moveTo>
                  <a:lnTo>
                    <a:pt x="956923" y="0"/>
                  </a:lnTo>
                  <a:cubicBezTo>
                    <a:pt x="956923" y="0"/>
                    <a:pt x="1055385" y="307692"/>
                    <a:pt x="1076923" y="464616"/>
                  </a:cubicBezTo>
                  <a:cubicBezTo>
                    <a:pt x="1095385" y="618462"/>
                    <a:pt x="895385" y="2507692"/>
                    <a:pt x="895385" y="2507692"/>
                  </a:cubicBezTo>
                  <a:lnTo>
                    <a:pt x="720000" y="2544616"/>
                  </a:lnTo>
                  <a:lnTo>
                    <a:pt x="612308" y="818462"/>
                  </a:lnTo>
                  <a:lnTo>
                    <a:pt x="541539" y="1636924"/>
                  </a:lnTo>
                  <a:cubicBezTo>
                    <a:pt x="538462" y="1655385"/>
                    <a:pt x="535385" y="1673846"/>
                    <a:pt x="529231" y="1689231"/>
                  </a:cubicBezTo>
                  <a:lnTo>
                    <a:pt x="196923" y="2532308"/>
                  </a:lnTo>
                  <a:lnTo>
                    <a:pt x="0" y="2532308"/>
                  </a:lnTo>
                  <a:lnTo>
                    <a:pt x="184615" y="1670770"/>
                  </a:lnTo>
                  <a:cubicBezTo>
                    <a:pt x="184615" y="1670770"/>
                    <a:pt x="153846" y="483077"/>
                    <a:pt x="147692" y="418462"/>
                  </a:cubicBezTo>
                  <a:cubicBezTo>
                    <a:pt x="138462" y="298462"/>
                    <a:pt x="283077" y="0"/>
                    <a:pt x="283077" y="0"/>
                  </a:cubicBezTo>
                  <a:close/>
                </a:path>
              </a:pathLst>
            </a:custGeom>
            <a:solidFill>
              <a:srgbClr val="F1DDBA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BD243D9B-08D3-48B6-93D5-0BBBDE45E4AA}"/>
                </a:ext>
              </a:extLst>
            </p:cNvPr>
            <p:cNvSpPr/>
            <p:nvPr/>
          </p:nvSpPr>
          <p:spPr>
            <a:xfrm>
              <a:off x="3713127" y="10685972"/>
              <a:ext cx="470769" cy="2150769"/>
            </a:xfrm>
            <a:custGeom>
              <a:avLst/>
              <a:gdLst>
                <a:gd name="connsiteX0" fmla="*/ 6154 w 470769"/>
                <a:gd name="connsiteY0" fmla="*/ 2150769 h 2150769"/>
                <a:gd name="connsiteX1" fmla="*/ 6154 w 470769"/>
                <a:gd name="connsiteY1" fmla="*/ 2150769 h 2150769"/>
                <a:gd name="connsiteX2" fmla="*/ 0 w 470769"/>
                <a:gd name="connsiteY2" fmla="*/ 2141539 h 2150769"/>
                <a:gd name="connsiteX3" fmla="*/ 332308 w 470769"/>
                <a:gd name="connsiteY3" fmla="*/ 1298461 h 2150769"/>
                <a:gd name="connsiteX4" fmla="*/ 344615 w 470769"/>
                <a:gd name="connsiteY4" fmla="*/ 1246154 h 2150769"/>
                <a:gd name="connsiteX5" fmla="*/ 415385 w 470769"/>
                <a:gd name="connsiteY5" fmla="*/ 427692 h 2150769"/>
                <a:gd name="connsiteX6" fmla="*/ 458462 w 470769"/>
                <a:gd name="connsiteY6" fmla="*/ 6153 h 2150769"/>
                <a:gd name="connsiteX7" fmla="*/ 464615 w 470769"/>
                <a:gd name="connsiteY7" fmla="*/ 0 h 2150769"/>
                <a:gd name="connsiteX8" fmla="*/ 470769 w 470769"/>
                <a:gd name="connsiteY8" fmla="*/ 6153 h 2150769"/>
                <a:gd name="connsiteX9" fmla="*/ 427692 w 470769"/>
                <a:gd name="connsiteY9" fmla="*/ 427692 h 2150769"/>
                <a:gd name="connsiteX10" fmla="*/ 356923 w 470769"/>
                <a:gd name="connsiteY10" fmla="*/ 1246154 h 2150769"/>
                <a:gd name="connsiteX11" fmla="*/ 344615 w 470769"/>
                <a:gd name="connsiteY11" fmla="*/ 1301538 h 2150769"/>
                <a:gd name="connsiteX12" fmla="*/ 12308 w 470769"/>
                <a:gd name="connsiteY12" fmla="*/ 2144615 h 2150769"/>
                <a:gd name="connsiteX13" fmla="*/ 6154 w 470769"/>
                <a:gd name="connsiteY13" fmla="*/ 2150769 h 215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0769" h="2150769">
                  <a:moveTo>
                    <a:pt x="6154" y="2150769"/>
                  </a:moveTo>
                  <a:cubicBezTo>
                    <a:pt x="3077" y="2150769"/>
                    <a:pt x="3077" y="2150769"/>
                    <a:pt x="6154" y="2150769"/>
                  </a:cubicBezTo>
                  <a:cubicBezTo>
                    <a:pt x="0" y="2147692"/>
                    <a:pt x="0" y="2144615"/>
                    <a:pt x="0" y="2141539"/>
                  </a:cubicBezTo>
                  <a:lnTo>
                    <a:pt x="332308" y="1298461"/>
                  </a:lnTo>
                  <a:cubicBezTo>
                    <a:pt x="338462" y="1283076"/>
                    <a:pt x="341538" y="1264616"/>
                    <a:pt x="344615" y="1246154"/>
                  </a:cubicBezTo>
                  <a:lnTo>
                    <a:pt x="415385" y="427692"/>
                  </a:lnTo>
                  <a:lnTo>
                    <a:pt x="458462" y="6153"/>
                  </a:lnTo>
                  <a:cubicBezTo>
                    <a:pt x="458462" y="3077"/>
                    <a:pt x="461538" y="0"/>
                    <a:pt x="464615" y="0"/>
                  </a:cubicBezTo>
                  <a:cubicBezTo>
                    <a:pt x="467692" y="0"/>
                    <a:pt x="470769" y="3077"/>
                    <a:pt x="470769" y="6153"/>
                  </a:cubicBezTo>
                  <a:lnTo>
                    <a:pt x="427692" y="427692"/>
                  </a:lnTo>
                  <a:lnTo>
                    <a:pt x="356923" y="1246154"/>
                  </a:lnTo>
                  <a:cubicBezTo>
                    <a:pt x="353846" y="1264616"/>
                    <a:pt x="350769" y="1283076"/>
                    <a:pt x="344615" y="1301538"/>
                  </a:cubicBezTo>
                  <a:lnTo>
                    <a:pt x="12308" y="2144615"/>
                  </a:lnTo>
                  <a:cubicBezTo>
                    <a:pt x="9231" y="2150769"/>
                    <a:pt x="6154" y="2150769"/>
                    <a:pt x="6154" y="2150769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7DD42354-E326-4D0D-94B5-0D281A07E25F}"/>
                </a:ext>
              </a:extLst>
            </p:cNvPr>
            <p:cNvSpPr/>
            <p:nvPr/>
          </p:nvSpPr>
          <p:spPr>
            <a:xfrm>
              <a:off x="3673127" y="10452125"/>
              <a:ext cx="181538" cy="190769"/>
            </a:xfrm>
            <a:custGeom>
              <a:avLst/>
              <a:gdLst>
                <a:gd name="connsiteX0" fmla="*/ 6154 w 181538"/>
                <a:gd name="connsiteY0" fmla="*/ 190770 h 190769"/>
                <a:gd name="connsiteX1" fmla="*/ 0 w 181538"/>
                <a:gd name="connsiteY1" fmla="*/ 187693 h 190769"/>
                <a:gd name="connsiteX2" fmla="*/ 3077 w 181538"/>
                <a:gd name="connsiteY2" fmla="*/ 181538 h 190769"/>
                <a:gd name="connsiteX3" fmla="*/ 172308 w 181538"/>
                <a:gd name="connsiteY3" fmla="*/ 3077 h 190769"/>
                <a:gd name="connsiteX4" fmla="*/ 178462 w 181538"/>
                <a:gd name="connsiteY4" fmla="*/ 0 h 190769"/>
                <a:gd name="connsiteX5" fmla="*/ 181538 w 181538"/>
                <a:gd name="connsiteY5" fmla="*/ 6154 h 190769"/>
                <a:gd name="connsiteX6" fmla="*/ 6154 w 181538"/>
                <a:gd name="connsiteY6" fmla="*/ 190770 h 190769"/>
                <a:gd name="connsiteX7" fmla="*/ 6154 w 181538"/>
                <a:gd name="connsiteY7" fmla="*/ 190770 h 19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538" h="190769">
                  <a:moveTo>
                    <a:pt x="6154" y="190770"/>
                  </a:moveTo>
                  <a:cubicBezTo>
                    <a:pt x="3077" y="190770"/>
                    <a:pt x="0" y="187693"/>
                    <a:pt x="0" y="187693"/>
                  </a:cubicBezTo>
                  <a:cubicBezTo>
                    <a:pt x="0" y="184615"/>
                    <a:pt x="0" y="181538"/>
                    <a:pt x="3077" y="181538"/>
                  </a:cubicBezTo>
                  <a:cubicBezTo>
                    <a:pt x="116923" y="150769"/>
                    <a:pt x="169231" y="6154"/>
                    <a:pt x="172308" y="3077"/>
                  </a:cubicBezTo>
                  <a:cubicBezTo>
                    <a:pt x="172308" y="0"/>
                    <a:pt x="175385" y="0"/>
                    <a:pt x="178462" y="0"/>
                  </a:cubicBezTo>
                  <a:cubicBezTo>
                    <a:pt x="181538" y="0"/>
                    <a:pt x="181538" y="3077"/>
                    <a:pt x="181538" y="6154"/>
                  </a:cubicBezTo>
                  <a:cubicBezTo>
                    <a:pt x="178462" y="12308"/>
                    <a:pt x="126154" y="156923"/>
                    <a:pt x="6154" y="190770"/>
                  </a:cubicBezTo>
                  <a:cubicBezTo>
                    <a:pt x="6154" y="190770"/>
                    <a:pt x="6154" y="190770"/>
                    <a:pt x="6154" y="190770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90E3540D-A234-493E-97A4-34471E445074}"/>
                </a:ext>
              </a:extLst>
            </p:cNvPr>
            <p:cNvSpPr/>
            <p:nvPr/>
          </p:nvSpPr>
          <p:spPr>
            <a:xfrm>
              <a:off x="4408512" y="10449048"/>
              <a:ext cx="175384" cy="196922"/>
            </a:xfrm>
            <a:custGeom>
              <a:avLst/>
              <a:gdLst>
                <a:gd name="connsiteX0" fmla="*/ 169231 w 175384"/>
                <a:gd name="connsiteY0" fmla="*/ 196923 h 196922"/>
                <a:gd name="connsiteX1" fmla="*/ 169231 w 175384"/>
                <a:gd name="connsiteY1" fmla="*/ 196923 h 196922"/>
                <a:gd name="connsiteX2" fmla="*/ 0 w 175384"/>
                <a:gd name="connsiteY2" fmla="*/ 9231 h 196922"/>
                <a:gd name="connsiteX3" fmla="*/ 3077 w 175384"/>
                <a:gd name="connsiteY3" fmla="*/ 0 h 196922"/>
                <a:gd name="connsiteX4" fmla="*/ 12308 w 175384"/>
                <a:gd name="connsiteY4" fmla="*/ 3077 h 196922"/>
                <a:gd name="connsiteX5" fmla="*/ 172308 w 175384"/>
                <a:gd name="connsiteY5" fmla="*/ 184615 h 196922"/>
                <a:gd name="connsiteX6" fmla="*/ 175385 w 175384"/>
                <a:gd name="connsiteY6" fmla="*/ 190770 h 196922"/>
                <a:gd name="connsiteX7" fmla="*/ 169231 w 175384"/>
                <a:gd name="connsiteY7" fmla="*/ 196923 h 196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384" h="196922">
                  <a:moveTo>
                    <a:pt x="169231" y="196923"/>
                  </a:moveTo>
                  <a:cubicBezTo>
                    <a:pt x="166154" y="196923"/>
                    <a:pt x="166154" y="196923"/>
                    <a:pt x="169231" y="196923"/>
                  </a:cubicBezTo>
                  <a:cubicBezTo>
                    <a:pt x="86154" y="163077"/>
                    <a:pt x="3077" y="15385"/>
                    <a:pt x="0" y="9231"/>
                  </a:cubicBezTo>
                  <a:cubicBezTo>
                    <a:pt x="0" y="6154"/>
                    <a:pt x="0" y="3077"/>
                    <a:pt x="3077" y="0"/>
                  </a:cubicBezTo>
                  <a:cubicBezTo>
                    <a:pt x="6154" y="0"/>
                    <a:pt x="9231" y="0"/>
                    <a:pt x="12308" y="3077"/>
                  </a:cubicBezTo>
                  <a:cubicBezTo>
                    <a:pt x="12308" y="3077"/>
                    <a:pt x="95385" y="153846"/>
                    <a:pt x="172308" y="184615"/>
                  </a:cubicBezTo>
                  <a:cubicBezTo>
                    <a:pt x="175385" y="184615"/>
                    <a:pt x="175385" y="187693"/>
                    <a:pt x="175385" y="190770"/>
                  </a:cubicBezTo>
                  <a:cubicBezTo>
                    <a:pt x="172308" y="196923"/>
                    <a:pt x="169231" y="196923"/>
                    <a:pt x="169231" y="196923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96A3100F-AFF1-42D1-BE35-F52965C8CE88}"/>
                </a:ext>
              </a:extLst>
            </p:cNvPr>
            <p:cNvSpPr/>
            <p:nvPr/>
          </p:nvSpPr>
          <p:spPr>
            <a:xfrm>
              <a:off x="3754624" y="9327620"/>
              <a:ext cx="828154" cy="995365"/>
            </a:xfrm>
            <a:custGeom>
              <a:avLst/>
              <a:gdLst>
                <a:gd name="connsiteX0" fmla="*/ 44657 w 828154"/>
                <a:gd name="connsiteY0" fmla="*/ 395275 h 995365"/>
                <a:gd name="connsiteX1" fmla="*/ 60042 w 828154"/>
                <a:gd name="connsiteY1" fmla="*/ 69121 h 995365"/>
                <a:gd name="connsiteX2" fmla="*/ 432349 w 828154"/>
                <a:gd name="connsiteY2" fmla="*/ 4506 h 995365"/>
                <a:gd name="connsiteX3" fmla="*/ 736965 w 828154"/>
                <a:gd name="connsiteY3" fmla="*/ 106044 h 995365"/>
                <a:gd name="connsiteX4" fmla="*/ 776965 w 828154"/>
                <a:gd name="connsiteY4" fmla="*/ 659890 h 995365"/>
                <a:gd name="connsiteX5" fmla="*/ 733888 w 828154"/>
                <a:gd name="connsiteY5" fmla="*/ 989121 h 995365"/>
                <a:gd name="connsiteX6" fmla="*/ 50811 w 828154"/>
                <a:gd name="connsiteY6" fmla="*/ 973737 h 995365"/>
                <a:gd name="connsiteX7" fmla="*/ 44657 w 828154"/>
                <a:gd name="connsiteY7" fmla="*/ 395275 h 995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8154" h="995365">
                  <a:moveTo>
                    <a:pt x="44657" y="395275"/>
                  </a:moveTo>
                  <a:cubicBezTo>
                    <a:pt x="35426" y="364506"/>
                    <a:pt x="-59958" y="133737"/>
                    <a:pt x="60042" y="69121"/>
                  </a:cubicBezTo>
                  <a:cubicBezTo>
                    <a:pt x="164657" y="13736"/>
                    <a:pt x="312349" y="-10879"/>
                    <a:pt x="432349" y="4506"/>
                  </a:cubicBezTo>
                  <a:cubicBezTo>
                    <a:pt x="564657" y="19890"/>
                    <a:pt x="696965" y="41429"/>
                    <a:pt x="736965" y="106044"/>
                  </a:cubicBezTo>
                  <a:cubicBezTo>
                    <a:pt x="850811" y="293736"/>
                    <a:pt x="850811" y="459890"/>
                    <a:pt x="776965" y="659890"/>
                  </a:cubicBezTo>
                  <a:cubicBezTo>
                    <a:pt x="755426" y="718352"/>
                    <a:pt x="749272" y="853736"/>
                    <a:pt x="733888" y="989121"/>
                  </a:cubicBezTo>
                  <a:cubicBezTo>
                    <a:pt x="733888" y="989121"/>
                    <a:pt x="447734" y="1010659"/>
                    <a:pt x="50811" y="973737"/>
                  </a:cubicBezTo>
                  <a:cubicBezTo>
                    <a:pt x="81580" y="752198"/>
                    <a:pt x="50811" y="419890"/>
                    <a:pt x="44657" y="395275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FB7995C8-C8AC-4FA3-96DC-B9E7486300BF}"/>
                </a:ext>
              </a:extLst>
            </p:cNvPr>
            <p:cNvSpPr/>
            <p:nvPr/>
          </p:nvSpPr>
          <p:spPr>
            <a:xfrm>
              <a:off x="4097353" y="8630925"/>
              <a:ext cx="324245" cy="595220"/>
            </a:xfrm>
            <a:custGeom>
              <a:avLst/>
              <a:gdLst>
                <a:gd name="connsiteX0" fmla="*/ 145006 w 324245"/>
                <a:gd name="connsiteY0" fmla="*/ 581200 h 595220"/>
                <a:gd name="connsiteX1" fmla="*/ 323467 w 324245"/>
                <a:gd name="connsiteY1" fmla="*/ 233508 h 595220"/>
                <a:gd name="connsiteX2" fmla="*/ 390 w 324245"/>
                <a:gd name="connsiteY2" fmla="*/ 8893 h 595220"/>
                <a:gd name="connsiteX3" fmla="*/ 37313 w 324245"/>
                <a:gd name="connsiteY3" fmla="*/ 178124 h 595220"/>
                <a:gd name="connsiteX4" fmla="*/ 86544 w 324245"/>
                <a:gd name="connsiteY4" fmla="*/ 322739 h 595220"/>
                <a:gd name="connsiteX5" fmla="*/ 145006 w 324245"/>
                <a:gd name="connsiteY5" fmla="*/ 581200 h 59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4245" h="595220">
                  <a:moveTo>
                    <a:pt x="145006" y="581200"/>
                  </a:moveTo>
                  <a:cubicBezTo>
                    <a:pt x="301929" y="550431"/>
                    <a:pt x="329621" y="298123"/>
                    <a:pt x="323467" y="233508"/>
                  </a:cubicBezTo>
                  <a:cubicBezTo>
                    <a:pt x="301929" y="67354"/>
                    <a:pt x="117313" y="-31107"/>
                    <a:pt x="390" y="8893"/>
                  </a:cubicBezTo>
                  <a:cubicBezTo>
                    <a:pt x="-2687" y="8893"/>
                    <a:pt x="12698" y="128893"/>
                    <a:pt x="37313" y="178124"/>
                  </a:cubicBezTo>
                  <a:cubicBezTo>
                    <a:pt x="58852" y="224277"/>
                    <a:pt x="77313" y="273508"/>
                    <a:pt x="86544" y="322739"/>
                  </a:cubicBezTo>
                  <a:cubicBezTo>
                    <a:pt x="92698" y="375046"/>
                    <a:pt x="46544" y="661200"/>
                    <a:pt x="145006" y="581200"/>
                  </a:cubicBez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8C761427-2F26-4BB5-8DB6-93A758C2B41D}"/>
                </a:ext>
              </a:extLst>
            </p:cNvPr>
            <p:cNvSpPr/>
            <p:nvPr/>
          </p:nvSpPr>
          <p:spPr>
            <a:xfrm>
              <a:off x="3925435" y="8685094"/>
              <a:ext cx="426499" cy="573507"/>
            </a:xfrm>
            <a:custGeom>
              <a:avLst/>
              <a:gdLst>
                <a:gd name="connsiteX0" fmla="*/ 418462 w 426499"/>
                <a:gd name="connsiteY0" fmla="*/ 185493 h 573507"/>
                <a:gd name="connsiteX1" fmla="*/ 406154 w 426499"/>
                <a:gd name="connsiteY1" fmla="*/ 443954 h 573507"/>
                <a:gd name="connsiteX2" fmla="*/ 255385 w 426499"/>
                <a:gd name="connsiteY2" fmla="*/ 573185 h 573507"/>
                <a:gd name="connsiteX3" fmla="*/ 36923 w 426499"/>
                <a:gd name="connsiteY3" fmla="*/ 428569 h 573507"/>
                <a:gd name="connsiteX4" fmla="*/ 0 w 426499"/>
                <a:gd name="connsiteY4" fmla="*/ 200877 h 573507"/>
                <a:gd name="connsiteX5" fmla="*/ 215385 w 426499"/>
                <a:gd name="connsiteY5" fmla="*/ 877 h 573507"/>
                <a:gd name="connsiteX6" fmla="*/ 418462 w 426499"/>
                <a:gd name="connsiteY6" fmla="*/ 185493 h 573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499" h="573507">
                  <a:moveTo>
                    <a:pt x="418462" y="185493"/>
                  </a:moveTo>
                  <a:cubicBezTo>
                    <a:pt x="418462" y="185493"/>
                    <a:pt x="443077" y="376262"/>
                    <a:pt x="406154" y="443954"/>
                  </a:cubicBezTo>
                  <a:cubicBezTo>
                    <a:pt x="369231" y="511646"/>
                    <a:pt x="307692" y="570108"/>
                    <a:pt x="255385" y="573185"/>
                  </a:cubicBezTo>
                  <a:cubicBezTo>
                    <a:pt x="187692" y="579338"/>
                    <a:pt x="73846" y="496262"/>
                    <a:pt x="36923" y="428569"/>
                  </a:cubicBezTo>
                  <a:cubicBezTo>
                    <a:pt x="0" y="360877"/>
                    <a:pt x="0" y="253185"/>
                    <a:pt x="0" y="200877"/>
                  </a:cubicBezTo>
                  <a:cubicBezTo>
                    <a:pt x="3077" y="105492"/>
                    <a:pt x="27692" y="25492"/>
                    <a:pt x="215385" y="877"/>
                  </a:cubicBezTo>
                  <a:cubicBezTo>
                    <a:pt x="304615" y="-11431"/>
                    <a:pt x="400000" y="108570"/>
                    <a:pt x="418462" y="185493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D8704FA5-67FC-437D-AE93-42FE267A46EF}"/>
                </a:ext>
              </a:extLst>
            </p:cNvPr>
            <p:cNvSpPr/>
            <p:nvPr/>
          </p:nvSpPr>
          <p:spPr>
            <a:xfrm>
              <a:off x="4153127" y="8959818"/>
              <a:ext cx="55384" cy="132307"/>
            </a:xfrm>
            <a:custGeom>
              <a:avLst/>
              <a:gdLst>
                <a:gd name="connsiteX0" fmla="*/ 30769 w 55384"/>
                <a:gd name="connsiteY0" fmla="*/ 132308 h 132307"/>
                <a:gd name="connsiteX1" fmla="*/ 6154 w 55384"/>
                <a:gd name="connsiteY1" fmla="*/ 129231 h 132307"/>
                <a:gd name="connsiteX2" fmla="*/ 0 w 55384"/>
                <a:gd name="connsiteY2" fmla="*/ 123077 h 132307"/>
                <a:gd name="connsiteX3" fmla="*/ 6154 w 55384"/>
                <a:gd name="connsiteY3" fmla="*/ 116923 h 132307"/>
                <a:gd name="connsiteX4" fmla="*/ 46154 w 55384"/>
                <a:gd name="connsiteY4" fmla="*/ 116923 h 132307"/>
                <a:gd name="connsiteX5" fmla="*/ 46154 w 55384"/>
                <a:gd name="connsiteY5" fmla="*/ 113846 h 132307"/>
                <a:gd name="connsiteX6" fmla="*/ 18462 w 55384"/>
                <a:gd name="connsiteY6" fmla="*/ 6154 h 132307"/>
                <a:gd name="connsiteX7" fmla="*/ 21538 w 55384"/>
                <a:gd name="connsiteY7" fmla="*/ 0 h 132307"/>
                <a:gd name="connsiteX8" fmla="*/ 27692 w 55384"/>
                <a:gd name="connsiteY8" fmla="*/ 3077 h 132307"/>
                <a:gd name="connsiteX9" fmla="*/ 55385 w 55384"/>
                <a:gd name="connsiteY9" fmla="*/ 113846 h 132307"/>
                <a:gd name="connsiteX10" fmla="*/ 49231 w 55384"/>
                <a:gd name="connsiteY10" fmla="*/ 126154 h 132307"/>
                <a:gd name="connsiteX11" fmla="*/ 30769 w 55384"/>
                <a:gd name="connsiteY11" fmla="*/ 132308 h 13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384" h="132307">
                  <a:moveTo>
                    <a:pt x="30769" y="132308"/>
                  </a:moveTo>
                  <a:cubicBezTo>
                    <a:pt x="18462" y="132308"/>
                    <a:pt x="9231" y="129231"/>
                    <a:pt x="6154" y="129231"/>
                  </a:cubicBezTo>
                  <a:cubicBezTo>
                    <a:pt x="3077" y="129231"/>
                    <a:pt x="0" y="126154"/>
                    <a:pt x="0" y="123077"/>
                  </a:cubicBezTo>
                  <a:cubicBezTo>
                    <a:pt x="0" y="120000"/>
                    <a:pt x="3077" y="116923"/>
                    <a:pt x="6154" y="116923"/>
                  </a:cubicBezTo>
                  <a:cubicBezTo>
                    <a:pt x="18462" y="120000"/>
                    <a:pt x="40000" y="120000"/>
                    <a:pt x="46154" y="116923"/>
                  </a:cubicBezTo>
                  <a:cubicBezTo>
                    <a:pt x="46154" y="116923"/>
                    <a:pt x="46154" y="113846"/>
                    <a:pt x="46154" y="113846"/>
                  </a:cubicBezTo>
                  <a:cubicBezTo>
                    <a:pt x="46154" y="98461"/>
                    <a:pt x="24615" y="30769"/>
                    <a:pt x="18462" y="6154"/>
                  </a:cubicBezTo>
                  <a:cubicBezTo>
                    <a:pt x="18462" y="3077"/>
                    <a:pt x="18462" y="0"/>
                    <a:pt x="21538" y="0"/>
                  </a:cubicBezTo>
                  <a:cubicBezTo>
                    <a:pt x="24615" y="0"/>
                    <a:pt x="27692" y="0"/>
                    <a:pt x="27692" y="3077"/>
                  </a:cubicBezTo>
                  <a:cubicBezTo>
                    <a:pt x="27692" y="6154"/>
                    <a:pt x="55385" y="92308"/>
                    <a:pt x="55385" y="113846"/>
                  </a:cubicBezTo>
                  <a:cubicBezTo>
                    <a:pt x="55385" y="120000"/>
                    <a:pt x="52308" y="123077"/>
                    <a:pt x="49231" y="126154"/>
                  </a:cubicBezTo>
                  <a:cubicBezTo>
                    <a:pt x="52308" y="129231"/>
                    <a:pt x="43077" y="132308"/>
                    <a:pt x="30769" y="132308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47EC052D-596A-4745-A073-25655FB5398E}"/>
                </a:ext>
              </a:extLst>
            </p:cNvPr>
            <p:cNvSpPr/>
            <p:nvPr/>
          </p:nvSpPr>
          <p:spPr>
            <a:xfrm>
              <a:off x="4125435" y="9141356"/>
              <a:ext cx="107692" cy="55384"/>
            </a:xfrm>
            <a:custGeom>
              <a:avLst/>
              <a:gdLst>
                <a:gd name="connsiteX0" fmla="*/ 0 w 107692"/>
                <a:gd name="connsiteY0" fmla="*/ 0 h 55384"/>
                <a:gd name="connsiteX1" fmla="*/ 107692 w 107692"/>
                <a:gd name="connsiteY1" fmla="*/ 0 h 55384"/>
                <a:gd name="connsiteX2" fmla="*/ 55385 w 107692"/>
                <a:gd name="connsiteY2" fmla="*/ 55385 h 55384"/>
                <a:gd name="connsiteX3" fmla="*/ 0 w 107692"/>
                <a:gd name="connsiteY3" fmla="*/ 0 h 55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92" h="55384">
                  <a:moveTo>
                    <a:pt x="0" y="0"/>
                  </a:moveTo>
                  <a:cubicBezTo>
                    <a:pt x="55385" y="24615"/>
                    <a:pt x="107692" y="0"/>
                    <a:pt x="107692" y="0"/>
                  </a:cubicBezTo>
                  <a:cubicBezTo>
                    <a:pt x="107692" y="0"/>
                    <a:pt x="92308" y="55385"/>
                    <a:pt x="55385" y="55385"/>
                  </a:cubicBezTo>
                  <a:cubicBezTo>
                    <a:pt x="15385" y="55385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D1CC13E7-4CFB-4B0E-B7E9-CD24F0CACBC5}"/>
                </a:ext>
              </a:extLst>
            </p:cNvPr>
            <p:cNvSpPr/>
            <p:nvPr/>
          </p:nvSpPr>
          <p:spPr>
            <a:xfrm>
              <a:off x="4247728" y="8928264"/>
              <a:ext cx="41387" cy="41387"/>
            </a:xfrm>
            <a:custGeom>
              <a:avLst/>
              <a:gdLst>
                <a:gd name="connsiteX0" fmla="*/ 784 w 41387"/>
                <a:gd name="connsiteY0" fmla="*/ 25400 h 41387"/>
                <a:gd name="connsiteX1" fmla="*/ 25399 w 41387"/>
                <a:gd name="connsiteY1" fmla="*/ 40784 h 41387"/>
                <a:gd name="connsiteX2" fmla="*/ 40784 w 41387"/>
                <a:gd name="connsiteY2" fmla="*/ 16169 h 41387"/>
                <a:gd name="connsiteX3" fmla="*/ 16169 w 41387"/>
                <a:gd name="connsiteY3" fmla="*/ 784 h 41387"/>
                <a:gd name="connsiteX4" fmla="*/ 784 w 41387"/>
                <a:gd name="connsiteY4" fmla="*/ 25400 h 4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387">
                  <a:moveTo>
                    <a:pt x="784" y="25400"/>
                  </a:moveTo>
                  <a:cubicBezTo>
                    <a:pt x="3861" y="34631"/>
                    <a:pt x="13092" y="43861"/>
                    <a:pt x="25399" y="40784"/>
                  </a:cubicBezTo>
                  <a:cubicBezTo>
                    <a:pt x="34630" y="37707"/>
                    <a:pt x="43861" y="28476"/>
                    <a:pt x="40784" y="16169"/>
                  </a:cubicBezTo>
                  <a:cubicBezTo>
                    <a:pt x="37707" y="3861"/>
                    <a:pt x="28476" y="-2293"/>
                    <a:pt x="16169" y="784"/>
                  </a:cubicBezTo>
                  <a:cubicBezTo>
                    <a:pt x="3861" y="3861"/>
                    <a:pt x="-2293" y="16169"/>
                    <a:pt x="784" y="25400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034153B3-5E63-4EFA-97A8-7DE0181C7940}"/>
                </a:ext>
              </a:extLst>
            </p:cNvPr>
            <p:cNvSpPr/>
            <p:nvPr/>
          </p:nvSpPr>
          <p:spPr>
            <a:xfrm>
              <a:off x="4054062" y="8937676"/>
              <a:ext cx="41207" cy="41207"/>
            </a:xfrm>
            <a:custGeom>
              <a:avLst/>
              <a:gdLst>
                <a:gd name="connsiteX0" fmla="*/ 604 w 41207"/>
                <a:gd name="connsiteY0" fmla="*/ 25219 h 41207"/>
                <a:gd name="connsiteX1" fmla="*/ 25219 w 41207"/>
                <a:gd name="connsiteY1" fmla="*/ 40604 h 41207"/>
                <a:gd name="connsiteX2" fmla="*/ 40604 w 41207"/>
                <a:gd name="connsiteY2" fmla="*/ 15988 h 41207"/>
                <a:gd name="connsiteX3" fmla="*/ 15988 w 41207"/>
                <a:gd name="connsiteY3" fmla="*/ 604 h 41207"/>
                <a:gd name="connsiteX4" fmla="*/ 604 w 41207"/>
                <a:gd name="connsiteY4" fmla="*/ 25219 h 4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07" h="41207">
                  <a:moveTo>
                    <a:pt x="604" y="25219"/>
                  </a:moveTo>
                  <a:cubicBezTo>
                    <a:pt x="3681" y="34449"/>
                    <a:pt x="12911" y="43680"/>
                    <a:pt x="25219" y="40604"/>
                  </a:cubicBezTo>
                  <a:cubicBezTo>
                    <a:pt x="34450" y="37527"/>
                    <a:pt x="43681" y="28296"/>
                    <a:pt x="40604" y="15988"/>
                  </a:cubicBezTo>
                  <a:cubicBezTo>
                    <a:pt x="37527" y="6757"/>
                    <a:pt x="28296" y="-2474"/>
                    <a:pt x="15988" y="604"/>
                  </a:cubicBezTo>
                  <a:cubicBezTo>
                    <a:pt x="6757" y="3680"/>
                    <a:pt x="-2473" y="12911"/>
                    <a:pt x="604" y="25219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372E0C03-DBA1-4608-B430-872E2D31B407}"/>
                </a:ext>
              </a:extLst>
            </p:cNvPr>
            <p:cNvSpPr/>
            <p:nvPr/>
          </p:nvSpPr>
          <p:spPr>
            <a:xfrm>
              <a:off x="4220820" y="8883257"/>
              <a:ext cx="91538" cy="33484"/>
            </a:xfrm>
            <a:custGeom>
              <a:avLst/>
              <a:gdLst>
                <a:gd name="connsiteX0" fmla="*/ 83077 w 91538"/>
                <a:gd name="connsiteY0" fmla="*/ 30407 h 33484"/>
                <a:gd name="connsiteX1" fmla="*/ 76923 w 91538"/>
                <a:gd name="connsiteY1" fmla="*/ 27330 h 33484"/>
                <a:gd name="connsiteX2" fmla="*/ 9231 w 91538"/>
                <a:gd name="connsiteY2" fmla="*/ 21176 h 33484"/>
                <a:gd name="connsiteX3" fmla="*/ 0 w 91538"/>
                <a:gd name="connsiteY3" fmla="*/ 18100 h 33484"/>
                <a:gd name="connsiteX4" fmla="*/ 3077 w 91538"/>
                <a:gd name="connsiteY4" fmla="*/ 8869 h 33484"/>
                <a:gd name="connsiteX5" fmla="*/ 89231 w 91538"/>
                <a:gd name="connsiteY5" fmla="*/ 21176 h 33484"/>
                <a:gd name="connsiteX6" fmla="*/ 89231 w 91538"/>
                <a:gd name="connsiteY6" fmla="*/ 33484 h 33484"/>
                <a:gd name="connsiteX7" fmla="*/ 83077 w 91538"/>
                <a:gd name="connsiteY7" fmla="*/ 30407 h 33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38" h="33484">
                  <a:moveTo>
                    <a:pt x="83077" y="30407"/>
                  </a:moveTo>
                  <a:cubicBezTo>
                    <a:pt x="80000" y="30407"/>
                    <a:pt x="80000" y="30407"/>
                    <a:pt x="76923" y="27330"/>
                  </a:cubicBezTo>
                  <a:cubicBezTo>
                    <a:pt x="52308" y="-362"/>
                    <a:pt x="9231" y="21176"/>
                    <a:pt x="9231" y="21176"/>
                  </a:cubicBezTo>
                  <a:cubicBezTo>
                    <a:pt x="6154" y="24253"/>
                    <a:pt x="0" y="21176"/>
                    <a:pt x="0" y="18100"/>
                  </a:cubicBezTo>
                  <a:cubicBezTo>
                    <a:pt x="0" y="15023"/>
                    <a:pt x="0" y="8869"/>
                    <a:pt x="3077" y="8869"/>
                  </a:cubicBezTo>
                  <a:cubicBezTo>
                    <a:pt x="21538" y="-362"/>
                    <a:pt x="61538" y="-9593"/>
                    <a:pt x="89231" y="21176"/>
                  </a:cubicBezTo>
                  <a:cubicBezTo>
                    <a:pt x="92308" y="24253"/>
                    <a:pt x="92308" y="30407"/>
                    <a:pt x="89231" y="33484"/>
                  </a:cubicBezTo>
                  <a:cubicBezTo>
                    <a:pt x="89231" y="30407"/>
                    <a:pt x="86154" y="30407"/>
                    <a:pt x="83077" y="30407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3EABAD1E-FB29-4145-885F-B7ABB233BAEC}"/>
                </a:ext>
              </a:extLst>
            </p:cNvPr>
            <p:cNvSpPr/>
            <p:nvPr/>
          </p:nvSpPr>
          <p:spPr>
            <a:xfrm>
              <a:off x="4027743" y="8880843"/>
              <a:ext cx="92812" cy="35897"/>
            </a:xfrm>
            <a:custGeom>
              <a:avLst/>
              <a:gdLst>
                <a:gd name="connsiteX0" fmla="*/ 8462 w 92812"/>
                <a:gd name="connsiteY0" fmla="*/ 35898 h 35897"/>
                <a:gd name="connsiteX1" fmla="*/ 2308 w 92812"/>
                <a:gd name="connsiteY1" fmla="*/ 32821 h 35897"/>
                <a:gd name="connsiteX2" fmla="*/ 2308 w 92812"/>
                <a:gd name="connsiteY2" fmla="*/ 20513 h 35897"/>
                <a:gd name="connsiteX3" fmla="*/ 88461 w 92812"/>
                <a:gd name="connsiteY3" fmla="*/ 11282 h 35897"/>
                <a:gd name="connsiteX4" fmla="*/ 91538 w 92812"/>
                <a:gd name="connsiteY4" fmla="*/ 23590 h 35897"/>
                <a:gd name="connsiteX5" fmla="*/ 79231 w 92812"/>
                <a:gd name="connsiteY5" fmla="*/ 26667 h 35897"/>
                <a:gd name="connsiteX6" fmla="*/ 11538 w 92812"/>
                <a:gd name="connsiteY6" fmla="*/ 32821 h 35897"/>
                <a:gd name="connsiteX7" fmla="*/ 8462 w 92812"/>
                <a:gd name="connsiteY7" fmla="*/ 35898 h 35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5897">
                  <a:moveTo>
                    <a:pt x="8462" y="35898"/>
                  </a:moveTo>
                  <a:cubicBezTo>
                    <a:pt x="5385" y="35898"/>
                    <a:pt x="5385" y="35898"/>
                    <a:pt x="2308" y="32821"/>
                  </a:cubicBezTo>
                  <a:cubicBezTo>
                    <a:pt x="-769" y="29743"/>
                    <a:pt x="-769" y="23590"/>
                    <a:pt x="2308" y="20513"/>
                  </a:cubicBezTo>
                  <a:cubicBezTo>
                    <a:pt x="14615" y="8205"/>
                    <a:pt x="51538" y="-13333"/>
                    <a:pt x="88461" y="11282"/>
                  </a:cubicBezTo>
                  <a:cubicBezTo>
                    <a:pt x="91538" y="14359"/>
                    <a:pt x="94615" y="17436"/>
                    <a:pt x="91538" y="23590"/>
                  </a:cubicBezTo>
                  <a:cubicBezTo>
                    <a:pt x="88461" y="26667"/>
                    <a:pt x="85385" y="29743"/>
                    <a:pt x="79231" y="26667"/>
                  </a:cubicBezTo>
                  <a:cubicBezTo>
                    <a:pt x="42308" y="2051"/>
                    <a:pt x="14615" y="32821"/>
                    <a:pt x="11538" y="32821"/>
                  </a:cubicBezTo>
                  <a:cubicBezTo>
                    <a:pt x="11538" y="35898"/>
                    <a:pt x="11538" y="35898"/>
                    <a:pt x="8462" y="35898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EDB0E3AA-D167-4623-A941-9CA2048B8344}"/>
                </a:ext>
              </a:extLst>
            </p:cNvPr>
            <p:cNvSpPr/>
            <p:nvPr/>
          </p:nvSpPr>
          <p:spPr>
            <a:xfrm>
              <a:off x="4094582" y="8634578"/>
              <a:ext cx="277239" cy="279085"/>
            </a:xfrm>
            <a:custGeom>
              <a:avLst/>
              <a:gdLst>
                <a:gd name="connsiteX0" fmla="*/ 3161 w 277239"/>
                <a:gd name="connsiteY0" fmla="*/ 2163 h 279085"/>
                <a:gd name="connsiteX1" fmla="*/ 37007 w 277239"/>
                <a:gd name="connsiteY1" fmla="*/ 149855 h 279085"/>
                <a:gd name="connsiteX2" fmla="*/ 277007 w 277239"/>
                <a:gd name="connsiteY2" fmla="*/ 279086 h 279085"/>
                <a:gd name="connsiteX3" fmla="*/ 3161 w 277239"/>
                <a:gd name="connsiteY3" fmla="*/ 2163 h 27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7239" h="279085">
                  <a:moveTo>
                    <a:pt x="3161" y="2163"/>
                  </a:moveTo>
                  <a:cubicBezTo>
                    <a:pt x="3161" y="2163"/>
                    <a:pt x="-15300" y="109855"/>
                    <a:pt x="37007" y="149855"/>
                  </a:cubicBezTo>
                  <a:cubicBezTo>
                    <a:pt x="37007" y="149855"/>
                    <a:pt x="249315" y="192932"/>
                    <a:pt x="277007" y="279086"/>
                  </a:cubicBezTo>
                  <a:cubicBezTo>
                    <a:pt x="277007" y="279086"/>
                    <a:pt x="295469" y="-28606"/>
                    <a:pt x="3161" y="2163"/>
                  </a:cubicBez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D5520B28-F844-4656-80EA-F020BEA12148}"/>
                </a:ext>
              </a:extLst>
            </p:cNvPr>
            <p:cNvSpPr/>
            <p:nvPr/>
          </p:nvSpPr>
          <p:spPr>
            <a:xfrm>
              <a:off x="3831723" y="8636741"/>
              <a:ext cx="299865" cy="354310"/>
            </a:xfrm>
            <a:custGeom>
              <a:avLst/>
              <a:gdLst>
                <a:gd name="connsiteX0" fmla="*/ 299866 w 299865"/>
                <a:gd name="connsiteY0" fmla="*/ 147692 h 354310"/>
                <a:gd name="connsiteX1" fmla="*/ 158327 w 299865"/>
                <a:gd name="connsiteY1" fmla="*/ 203077 h 354310"/>
                <a:gd name="connsiteX2" fmla="*/ 99866 w 299865"/>
                <a:gd name="connsiteY2" fmla="*/ 323077 h 354310"/>
                <a:gd name="connsiteX3" fmla="*/ 10635 w 299865"/>
                <a:gd name="connsiteY3" fmla="*/ 344615 h 354310"/>
                <a:gd name="connsiteX4" fmla="*/ 269096 w 299865"/>
                <a:gd name="connsiteY4" fmla="*/ 0 h 354310"/>
                <a:gd name="connsiteX5" fmla="*/ 299866 w 299865"/>
                <a:gd name="connsiteY5" fmla="*/ 147692 h 35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865" h="354310">
                  <a:moveTo>
                    <a:pt x="299866" y="147692"/>
                  </a:moveTo>
                  <a:cubicBezTo>
                    <a:pt x="299866" y="147692"/>
                    <a:pt x="207558" y="196923"/>
                    <a:pt x="158327" y="203077"/>
                  </a:cubicBezTo>
                  <a:cubicBezTo>
                    <a:pt x="106019" y="209231"/>
                    <a:pt x="99866" y="323077"/>
                    <a:pt x="99866" y="323077"/>
                  </a:cubicBezTo>
                  <a:cubicBezTo>
                    <a:pt x="99866" y="323077"/>
                    <a:pt x="26020" y="375385"/>
                    <a:pt x="10635" y="344615"/>
                  </a:cubicBezTo>
                  <a:cubicBezTo>
                    <a:pt x="-23211" y="276923"/>
                    <a:pt x="13712" y="0"/>
                    <a:pt x="269096" y="0"/>
                  </a:cubicBezTo>
                  <a:cubicBezTo>
                    <a:pt x="266020" y="0"/>
                    <a:pt x="275250" y="141539"/>
                    <a:pt x="299866" y="147692"/>
                  </a:cubicBez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12122EC1-24B7-4739-9149-B8E41F1BD860}"/>
                </a:ext>
              </a:extLst>
            </p:cNvPr>
            <p:cNvSpPr/>
            <p:nvPr/>
          </p:nvSpPr>
          <p:spPr>
            <a:xfrm>
              <a:off x="3983897" y="9150489"/>
              <a:ext cx="313846" cy="329328"/>
            </a:xfrm>
            <a:custGeom>
              <a:avLst/>
              <a:gdLst>
                <a:gd name="connsiteX0" fmla="*/ 258462 w 313846"/>
                <a:gd name="connsiteY0" fmla="*/ 61636 h 329328"/>
                <a:gd name="connsiteX1" fmla="*/ 313846 w 313846"/>
                <a:gd name="connsiteY1" fmla="*/ 203175 h 329328"/>
                <a:gd name="connsiteX2" fmla="*/ 196923 w 313846"/>
                <a:gd name="connsiteY2" fmla="*/ 329328 h 329328"/>
                <a:gd name="connsiteX3" fmla="*/ 0 w 313846"/>
                <a:gd name="connsiteY3" fmla="*/ 187790 h 329328"/>
                <a:gd name="connsiteX4" fmla="*/ 52308 w 313846"/>
                <a:gd name="connsiteY4" fmla="*/ 98 h 329328"/>
                <a:gd name="connsiteX5" fmla="*/ 258462 w 313846"/>
                <a:gd name="connsiteY5" fmla="*/ 61636 h 329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3846" h="329328">
                  <a:moveTo>
                    <a:pt x="258462" y="61636"/>
                  </a:moveTo>
                  <a:cubicBezTo>
                    <a:pt x="258462" y="61636"/>
                    <a:pt x="252308" y="172405"/>
                    <a:pt x="313846" y="203175"/>
                  </a:cubicBezTo>
                  <a:lnTo>
                    <a:pt x="196923" y="329328"/>
                  </a:lnTo>
                  <a:cubicBezTo>
                    <a:pt x="196923" y="329328"/>
                    <a:pt x="55385" y="218559"/>
                    <a:pt x="0" y="187790"/>
                  </a:cubicBezTo>
                  <a:cubicBezTo>
                    <a:pt x="55385" y="144713"/>
                    <a:pt x="52308" y="61636"/>
                    <a:pt x="52308" y="98"/>
                  </a:cubicBezTo>
                  <a:cubicBezTo>
                    <a:pt x="55385" y="-2979"/>
                    <a:pt x="206154" y="67790"/>
                    <a:pt x="258462" y="61636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7AD5447B-2FE4-4FA0-BBC4-22CB42CB6DD9}"/>
                </a:ext>
              </a:extLst>
            </p:cNvPr>
            <p:cNvSpPr/>
            <p:nvPr/>
          </p:nvSpPr>
          <p:spPr>
            <a:xfrm>
              <a:off x="4026974" y="9187510"/>
              <a:ext cx="223846" cy="80000"/>
            </a:xfrm>
            <a:custGeom>
              <a:avLst/>
              <a:gdLst>
                <a:gd name="connsiteX0" fmla="*/ 150769 w 223846"/>
                <a:gd name="connsiteY0" fmla="*/ 80000 h 80000"/>
                <a:gd name="connsiteX1" fmla="*/ 141538 w 223846"/>
                <a:gd name="connsiteY1" fmla="*/ 80000 h 80000"/>
                <a:gd name="connsiteX2" fmla="*/ 3077 w 223846"/>
                <a:gd name="connsiteY2" fmla="*/ 12308 h 80000"/>
                <a:gd name="connsiteX3" fmla="*/ 0 w 223846"/>
                <a:gd name="connsiteY3" fmla="*/ 3077 h 80000"/>
                <a:gd name="connsiteX4" fmla="*/ 9231 w 223846"/>
                <a:gd name="connsiteY4" fmla="*/ 0 h 80000"/>
                <a:gd name="connsiteX5" fmla="*/ 141538 w 223846"/>
                <a:gd name="connsiteY5" fmla="*/ 67693 h 80000"/>
                <a:gd name="connsiteX6" fmla="*/ 212308 w 223846"/>
                <a:gd name="connsiteY6" fmla="*/ 43077 h 80000"/>
                <a:gd name="connsiteX7" fmla="*/ 221538 w 223846"/>
                <a:gd name="connsiteY7" fmla="*/ 43077 h 80000"/>
                <a:gd name="connsiteX8" fmla="*/ 221538 w 223846"/>
                <a:gd name="connsiteY8" fmla="*/ 52308 h 80000"/>
                <a:gd name="connsiteX9" fmla="*/ 150769 w 223846"/>
                <a:gd name="connsiteY9" fmla="*/ 80000 h 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846" h="80000">
                  <a:moveTo>
                    <a:pt x="150769" y="80000"/>
                  </a:moveTo>
                  <a:cubicBezTo>
                    <a:pt x="147692" y="80000"/>
                    <a:pt x="144615" y="80000"/>
                    <a:pt x="141538" y="80000"/>
                  </a:cubicBezTo>
                  <a:cubicBezTo>
                    <a:pt x="98462" y="73846"/>
                    <a:pt x="6154" y="12308"/>
                    <a:pt x="3077" y="12308"/>
                  </a:cubicBezTo>
                  <a:cubicBezTo>
                    <a:pt x="0" y="9231"/>
                    <a:pt x="0" y="6154"/>
                    <a:pt x="0" y="3077"/>
                  </a:cubicBezTo>
                  <a:cubicBezTo>
                    <a:pt x="3077" y="0"/>
                    <a:pt x="6154" y="0"/>
                    <a:pt x="9231" y="0"/>
                  </a:cubicBezTo>
                  <a:cubicBezTo>
                    <a:pt x="9231" y="0"/>
                    <a:pt x="104615" y="61538"/>
                    <a:pt x="141538" y="67693"/>
                  </a:cubicBezTo>
                  <a:cubicBezTo>
                    <a:pt x="178462" y="73846"/>
                    <a:pt x="212308" y="43077"/>
                    <a:pt x="212308" y="43077"/>
                  </a:cubicBezTo>
                  <a:cubicBezTo>
                    <a:pt x="215385" y="40000"/>
                    <a:pt x="218461" y="40000"/>
                    <a:pt x="221538" y="43077"/>
                  </a:cubicBezTo>
                  <a:cubicBezTo>
                    <a:pt x="224615" y="46154"/>
                    <a:pt x="224615" y="49231"/>
                    <a:pt x="221538" y="52308"/>
                  </a:cubicBezTo>
                  <a:cubicBezTo>
                    <a:pt x="218461" y="52308"/>
                    <a:pt x="190769" y="80000"/>
                    <a:pt x="150769" y="80000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FBEF005F-8920-42D7-AE3D-A1E142B98823}"/>
                </a:ext>
              </a:extLst>
            </p:cNvPr>
            <p:cNvSpPr/>
            <p:nvPr/>
          </p:nvSpPr>
          <p:spPr>
            <a:xfrm>
              <a:off x="4054666" y="9873859"/>
              <a:ext cx="403076" cy="36727"/>
            </a:xfrm>
            <a:custGeom>
              <a:avLst/>
              <a:gdLst>
                <a:gd name="connsiteX0" fmla="*/ 400000 w 403076"/>
                <a:gd name="connsiteY0" fmla="*/ 36727 h 36727"/>
                <a:gd name="connsiteX1" fmla="*/ 400000 w 403076"/>
                <a:gd name="connsiteY1" fmla="*/ 36727 h 36727"/>
                <a:gd name="connsiteX2" fmla="*/ 6154 w 403076"/>
                <a:gd name="connsiteY2" fmla="*/ 24420 h 36727"/>
                <a:gd name="connsiteX3" fmla="*/ 0 w 403076"/>
                <a:gd name="connsiteY3" fmla="*/ 21342 h 36727"/>
                <a:gd name="connsiteX4" fmla="*/ 3077 w 403076"/>
                <a:gd name="connsiteY4" fmla="*/ 15189 h 36727"/>
                <a:gd name="connsiteX5" fmla="*/ 400000 w 403076"/>
                <a:gd name="connsiteY5" fmla="*/ 27497 h 36727"/>
                <a:gd name="connsiteX6" fmla="*/ 403077 w 403076"/>
                <a:gd name="connsiteY6" fmla="*/ 33650 h 36727"/>
                <a:gd name="connsiteX7" fmla="*/ 400000 w 403076"/>
                <a:gd name="connsiteY7" fmla="*/ 36727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076" h="36727">
                  <a:moveTo>
                    <a:pt x="400000" y="36727"/>
                  </a:moveTo>
                  <a:cubicBezTo>
                    <a:pt x="400000" y="36727"/>
                    <a:pt x="400000" y="36727"/>
                    <a:pt x="400000" y="36727"/>
                  </a:cubicBezTo>
                  <a:cubicBezTo>
                    <a:pt x="313846" y="5958"/>
                    <a:pt x="107692" y="-196"/>
                    <a:pt x="6154" y="24420"/>
                  </a:cubicBezTo>
                  <a:cubicBezTo>
                    <a:pt x="3077" y="24420"/>
                    <a:pt x="0" y="24420"/>
                    <a:pt x="0" y="21342"/>
                  </a:cubicBezTo>
                  <a:cubicBezTo>
                    <a:pt x="0" y="18266"/>
                    <a:pt x="0" y="15189"/>
                    <a:pt x="3077" y="15189"/>
                  </a:cubicBezTo>
                  <a:cubicBezTo>
                    <a:pt x="104615" y="-9427"/>
                    <a:pt x="313846" y="-3273"/>
                    <a:pt x="400000" y="27497"/>
                  </a:cubicBezTo>
                  <a:cubicBezTo>
                    <a:pt x="403077" y="27497"/>
                    <a:pt x="403077" y="30573"/>
                    <a:pt x="403077" y="33650"/>
                  </a:cubicBezTo>
                  <a:cubicBezTo>
                    <a:pt x="403077" y="36727"/>
                    <a:pt x="403077" y="36727"/>
                    <a:pt x="400000" y="36727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1795BD62-B30F-46FF-8081-E859D70E87B5}"/>
                </a:ext>
              </a:extLst>
            </p:cNvPr>
            <p:cNvSpPr/>
            <p:nvPr/>
          </p:nvSpPr>
          <p:spPr>
            <a:xfrm>
              <a:off x="3887136" y="8946012"/>
              <a:ext cx="79666" cy="115101"/>
            </a:xfrm>
            <a:custGeom>
              <a:avLst/>
              <a:gdLst>
                <a:gd name="connsiteX0" fmla="*/ 65991 w 79666"/>
                <a:gd name="connsiteY0" fmla="*/ 16883 h 115101"/>
                <a:gd name="connsiteX1" fmla="*/ 7530 w 79666"/>
                <a:gd name="connsiteY1" fmla="*/ 7652 h 115101"/>
                <a:gd name="connsiteX2" fmla="*/ 65991 w 79666"/>
                <a:gd name="connsiteY2" fmla="*/ 112267 h 115101"/>
                <a:gd name="connsiteX3" fmla="*/ 65991 w 79666"/>
                <a:gd name="connsiteY3" fmla="*/ 16883 h 115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666" h="115101">
                  <a:moveTo>
                    <a:pt x="65991" y="16883"/>
                  </a:moveTo>
                  <a:cubicBezTo>
                    <a:pt x="65991" y="16883"/>
                    <a:pt x="32145" y="-13886"/>
                    <a:pt x="7530" y="7652"/>
                  </a:cubicBezTo>
                  <a:cubicBezTo>
                    <a:pt x="-17086" y="26113"/>
                    <a:pt x="22914" y="133806"/>
                    <a:pt x="65991" y="112267"/>
                  </a:cubicBezTo>
                  <a:cubicBezTo>
                    <a:pt x="96760" y="90729"/>
                    <a:pt x="65991" y="16883"/>
                    <a:pt x="65991" y="16883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8A669F11-D405-413A-94C7-D5DFB5EEC9A5}"/>
                </a:ext>
              </a:extLst>
            </p:cNvPr>
            <p:cNvSpPr/>
            <p:nvPr/>
          </p:nvSpPr>
          <p:spPr>
            <a:xfrm>
              <a:off x="4256468" y="8823158"/>
              <a:ext cx="148966" cy="164351"/>
            </a:xfrm>
            <a:custGeom>
              <a:avLst/>
              <a:gdLst>
                <a:gd name="connsiteX0" fmla="*/ 142813 w 148966"/>
                <a:gd name="connsiteY0" fmla="*/ 164351 h 164351"/>
                <a:gd name="connsiteX1" fmla="*/ 136659 w 148966"/>
                <a:gd name="connsiteY1" fmla="*/ 161275 h 164351"/>
                <a:gd name="connsiteX2" fmla="*/ 4351 w 148966"/>
                <a:gd name="connsiteY2" fmla="*/ 10505 h 164351"/>
                <a:gd name="connsiteX3" fmla="*/ 1275 w 148966"/>
                <a:gd name="connsiteY3" fmla="*/ 4351 h 164351"/>
                <a:gd name="connsiteX4" fmla="*/ 7428 w 148966"/>
                <a:gd name="connsiteY4" fmla="*/ 1275 h 164351"/>
                <a:gd name="connsiteX5" fmla="*/ 148967 w 148966"/>
                <a:gd name="connsiteY5" fmla="*/ 161275 h 164351"/>
                <a:gd name="connsiteX6" fmla="*/ 142813 w 148966"/>
                <a:gd name="connsiteY6" fmla="*/ 164351 h 164351"/>
                <a:gd name="connsiteX7" fmla="*/ 142813 w 148966"/>
                <a:gd name="connsiteY7" fmla="*/ 164351 h 164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966" h="164351">
                  <a:moveTo>
                    <a:pt x="142813" y="164351"/>
                  </a:moveTo>
                  <a:cubicBezTo>
                    <a:pt x="139736" y="164351"/>
                    <a:pt x="136659" y="161275"/>
                    <a:pt x="136659" y="161275"/>
                  </a:cubicBezTo>
                  <a:cubicBezTo>
                    <a:pt x="112044" y="38198"/>
                    <a:pt x="4351" y="10505"/>
                    <a:pt x="4351" y="10505"/>
                  </a:cubicBezTo>
                  <a:cubicBezTo>
                    <a:pt x="1275" y="10505"/>
                    <a:pt x="-1802" y="7428"/>
                    <a:pt x="1275" y="4351"/>
                  </a:cubicBezTo>
                  <a:cubicBezTo>
                    <a:pt x="1275" y="1275"/>
                    <a:pt x="4351" y="-1803"/>
                    <a:pt x="7428" y="1275"/>
                  </a:cubicBezTo>
                  <a:cubicBezTo>
                    <a:pt x="7428" y="1275"/>
                    <a:pt x="124351" y="32044"/>
                    <a:pt x="148967" y="161275"/>
                  </a:cubicBezTo>
                  <a:cubicBezTo>
                    <a:pt x="148967" y="161275"/>
                    <a:pt x="145890" y="164351"/>
                    <a:pt x="142813" y="164351"/>
                  </a:cubicBezTo>
                  <a:cubicBezTo>
                    <a:pt x="142813" y="164351"/>
                    <a:pt x="142813" y="164351"/>
                    <a:pt x="142813" y="164351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CE07BD02-66BC-4B59-83A4-E30BD5DE30CC}"/>
                </a:ext>
              </a:extLst>
            </p:cNvPr>
            <p:cNvSpPr/>
            <p:nvPr/>
          </p:nvSpPr>
          <p:spPr>
            <a:xfrm>
              <a:off x="3922358" y="8835373"/>
              <a:ext cx="62906" cy="121367"/>
            </a:xfrm>
            <a:custGeom>
              <a:avLst/>
              <a:gdLst>
                <a:gd name="connsiteX0" fmla="*/ 6154 w 62906"/>
                <a:gd name="connsiteY0" fmla="*/ 121367 h 121367"/>
                <a:gd name="connsiteX1" fmla="*/ 6154 w 62906"/>
                <a:gd name="connsiteY1" fmla="*/ 121367 h 121367"/>
                <a:gd name="connsiteX2" fmla="*/ 0 w 62906"/>
                <a:gd name="connsiteY2" fmla="*/ 115214 h 121367"/>
                <a:gd name="connsiteX3" fmla="*/ 52308 w 62906"/>
                <a:gd name="connsiteY3" fmla="*/ 1368 h 121367"/>
                <a:gd name="connsiteX4" fmla="*/ 61538 w 62906"/>
                <a:gd name="connsiteY4" fmla="*/ 1368 h 121367"/>
                <a:gd name="connsiteX5" fmla="*/ 61538 w 62906"/>
                <a:gd name="connsiteY5" fmla="*/ 10598 h 121367"/>
                <a:gd name="connsiteX6" fmla="*/ 15385 w 62906"/>
                <a:gd name="connsiteY6" fmla="*/ 118291 h 121367"/>
                <a:gd name="connsiteX7" fmla="*/ 6154 w 62906"/>
                <a:gd name="connsiteY7" fmla="*/ 121367 h 121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906" h="121367">
                  <a:moveTo>
                    <a:pt x="6154" y="121367"/>
                  </a:moveTo>
                  <a:cubicBezTo>
                    <a:pt x="6154" y="121367"/>
                    <a:pt x="6154" y="121367"/>
                    <a:pt x="6154" y="121367"/>
                  </a:cubicBezTo>
                  <a:cubicBezTo>
                    <a:pt x="3077" y="121367"/>
                    <a:pt x="0" y="118291"/>
                    <a:pt x="0" y="115214"/>
                  </a:cubicBezTo>
                  <a:cubicBezTo>
                    <a:pt x="0" y="99829"/>
                    <a:pt x="12308" y="29060"/>
                    <a:pt x="52308" y="1368"/>
                  </a:cubicBezTo>
                  <a:cubicBezTo>
                    <a:pt x="55385" y="-1710"/>
                    <a:pt x="58462" y="1368"/>
                    <a:pt x="61538" y="1368"/>
                  </a:cubicBezTo>
                  <a:cubicBezTo>
                    <a:pt x="64615" y="4445"/>
                    <a:pt x="61538" y="7521"/>
                    <a:pt x="61538" y="10598"/>
                  </a:cubicBezTo>
                  <a:cubicBezTo>
                    <a:pt x="24615" y="35214"/>
                    <a:pt x="15385" y="102906"/>
                    <a:pt x="15385" y="118291"/>
                  </a:cubicBezTo>
                  <a:cubicBezTo>
                    <a:pt x="12308" y="118291"/>
                    <a:pt x="9231" y="121367"/>
                    <a:pt x="6154" y="121367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7689924C-E61F-4D7F-B959-207D6E1C6598}"/>
                </a:ext>
              </a:extLst>
            </p:cNvPr>
            <p:cNvSpPr/>
            <p:nvPr/>
          </p:nvSpPr>
          <p:spPr>
            <a:xfrm>
              <a:off x="4091589" y="8675417"/>
              <a:ext cx="120000" cy="19784"/>
            </a:xfrm>
            <a:custGeom>
              <a:avLst/>
              <a:gdLst>
                <a:gd name="connsiteX0" fmla="*/ 6154 w 120000"/>
                <a:gd name="connsiteY0" fmla="*/ 19784 h 19784"/>
                <a:gd name="connsiteX1" fmla="*/ 0 w 120000"/>
                <a:gd name="connsiteY1" fmla="*/ 16708 h 19784"/>
                <a:gd name="connsiteX2" fmla="*/ 3077 w 120000"/>
                <a:gd name="connsiteY2" fmla="*/ 10554 h 19784"/>
                <a:gd name="connsiteX3" fmla="*/ 116923 w 120000"/>
                <a:gd name="connsiteY3" fmla="*/ 7477 h 19784"/>
                <a:gd name="connsiteX4" fmla="*/ 120000 w 120000"/>
                <a:gd name="connsiteY4" fmla="*/ 13631 h 19784"/>
                <a:gd name="connsiteX5" fmla="*/ 113846 w 120000"/>
                <a:gd name="connsiteY5" fmla="*/ 16708 h 19784"/>
                <a:gd name="connsiteX6" fmla="*/ 6154 w 120000"/>
                <a:gd name="connsiteY6" fmla="*/ 19784 h 19784"/>
                <a:gd name="connsiteX7" fmla="*/ 6154 w 120000"/>
                <a:gd name="connsiteY7" fmla="*/ 19784 h 19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000" h="19784">
                  <a:moveTo>
                    <a:pt x="6154" y="19784"/>
                  </a:moveTo>
                  <a:cubicBezTo>
                    <a:pt x="3077" y="19784"/>
                    <a:pt x="3077" y="19784"/>
                    <a:pt x="0" y="16708"/>
                  </a:cubicBezTo>
                  <a:cubicBezTo>
                    <a:pt x="0" y="13631"/>
                    <a:pt x="0" y="10554"/>
                    <a:pt x="3077" y="10554"/>
                  </a:cubicBezTo>
                  <a:cubicBezTo>
                    <a:pt x="6154" y="10554"/>
                    <a:pt x="67692" y="-10985"/>
                    <a:pt x="116923" y="7477"/>
                  </a:cubicBezTo>
                  <a:cubicBezTo>
                    <a:pt x="120000" y="7477"/>
                    <a:pt x="120000" y="10554"/>
                    <a:pt x="120000" y="13631"/>
                  </a:cubicBezTo>
                  <a:cubicBezTo>
                    <a:pt x="120000" y="16708"/>
                    <a:pt x="116923" y="16708"/>
                    <a:pt x="113846" y="16708"/>
                  </a:cubicBezTo>
                  <a:cubicBezTo>
                    <a:pt x="67692" y="-1754"/>
                    <a:pt x="6154" y="16708"/>
                    <a:pt x="6154" y="19784"/>
                  </a:cubicBezTo>
                  <a:cubicBezTo>
                    <a:pt x="6154" y="19784"/>
                    <a:pt x="6154" y="19784"/>
                    <a:pt x="6154" y="19784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8FA5BEF5-C9C8-409F-A291-BD26F6B6F30C}"/>
                </a:ext>
              </a:extLst>
            </p:cNvPr>
            <p:cNvSpPr/>
            <p:nvPr/>
          </p:nvSpPr>
          <p:spPr>
            <a:xfrm>
              <a:off x="3962358" y="9338279"/>
              <a:ext cx="363077" cy="156922"/>
            </a:xfrm>
            <a:custGeom>
              <a:avLst/>
              <a:gdLst>
                <a:gd name="connsiteX0" fmla="*/ 326154 w 363077"/>
                <a:gd name="connsiteY0" fmla="*/ 6154 h 156922"/>
                <a:gd name="connsiteX1" fmla="*/ 221538 w 363077"/>
                <a:gd name="connsiteY1" fmla="*/ 123077 h 156922"/>
                <a:gd name="connsiteX2" fmla="*/ 24615 w 363077"/>
                <a:gd name="connsiteY2" fmla="*/ 0 h 156922"/>
                <a:gd name="connsiteX3" fmla="*/ 0 w 363077"/>
                <a:gd name="connsiteY3" fmla="*/ 9231 h 156922"/>
                <a:gd name="connsiteX4" fmla="*/ 224615 w 363077"/>
                <a:gd name="connsiteY4" fmla="*/ 156923 h 156922"/>
                <a:gd name="connsiteX5" fmla="*/ 363077 w 363077"/>
                <a:gd name="connsiteY5" fmla="*/ 15385 h 156922"/>
                <a:gd name="connsiteX6" fmla="*/ 326154 w 363077"/>
                <a:gd name="connsiteY6" fmla="*/ 6154 h 156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3077" h="156922">
                  <a:moveTo>
                    <a:pt x="326154" y="6154"/>
                  </a:moveTo>
                  <a:lnTo>
                    <a:pt x="221538" y="123077"/>
                  </a:lnTo>
                  <a:cubicBezTo>
                    <a:pt x="221538" y="123077"/>
                    <a:pt x="89231" y="21538"/>
                    <a:pt x="24615" y="0"/>
                  </a:cubicBezTo>
                  <a:lnTo>
                    <a:pt x="0" y="9231"/>
                  </a:lnTo>
                  <a:lnTo>
                    <a:pt x="224615" y="156923"/>
                  </a:lnTo>
                  <a:lnTo>
                    <a:pt x="363077" y="15385"/>
                  </a:lnTo>
                  <a:cubicBezTo>
                    <a:pt x="360000" y="15385"/>
                    <a:pt x="344615" y="9231"/>
                    <a:pt x="326154" y="6154"/>
                  </a:cubicBezTo>
                  <a:close/>
                </a:path>
              </a:pathLst>
            </a:custGeom>
            <a:solidFill>
              <a:srgbClr val="D16156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4" name="图形 1">
              <a:extLst>
                <a:ext uri="{FF2B5EF4-FFF2-40B4-BE49-F238E27FC236}">
                  <a16:creationId xmlns:a16="http://schemas.microsoft.com/office/drawing/2014/main" id="{D5A18C53-3E6B-4536-B8F9-F4A30FA29080}"/>
                </a:ext>
              </a:extLst>
            </p:cNvPr>
            <p:cNvGrpSpPr/>
            <p:nvPr/>
          </p:nvGrpSpPr>
          <p:grpSpPr>
            <a:xfrm>
              <a:off x="3756204" y="8482110"/>
              <a:ext cx="573675" cy="318593"/>
              <a:chOff x="3756204" y="8482110"/>
              <a:chExt cx="573675" cy="318593"/>
            </a:xfrm>
          </p:grpSpPr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A9CAE025-CFB8-49FA-85DB-A3A52891B3F0}"/>
                  </a:ext>
                </a:extLst>
              </p:cNvPr>
              <p:cNvSpPr/>
              <p:nvPr/>
            </p:nvSpPr>
            <p:spPr>
              <a:xfrm>
                <a:off x="3762358" y="8495202"/>
                <a:ext cx="563077" cy="305501"/>
              </a:xfrm>
              <a:custGeom>
                <a:avLst/>
                <a:gdLst>
                  <a:gd name="connsiteX0" fmla="*/ 563077 w 563077"/>
                  <a:gd name="connsiteY0" fmla="*/ 0 h 305501"/>
                  <a:gd name="connsiteX1" fmla="*/ 563077 w 563077"/>
                  <a:gd name="connsiteY1" fmla="*/ 196923 h 305501"/>
                  <a:gd name="connsiteX2" fmla="*/ 83077 w 563077"/>
                  <a:gd name="connsiteY2" fmla="*/ 304616 h 305501"/>
                  <a:gd name="connsiteX3" fmla="*/ 0 w 563077"/>
                  <a:gd name="connsiteY3" fmla="*/ 116923 h 305501"/>
                  <a:gd name="connsiteX4" fmla="*/ 563077 w 563077"/>
                  <a:gd name="connsiteY4" fmla="*/ 0 h 305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3077" h="305501">
                    <a:moveTo>
                      <a:pt x="563077" y="0"/>
                    </a:moveTo>
                    <a:lnTo>
                      <a:pt x="563077" y="196923"/>
                    </a:lnTo>
                    <a:cubicBezTo>
                      <a:pt x="563077" y="196923"/>
                      <a:pt x="418462" y="316923"/>
                      <a:pt x="83077" y="304616"/>
                    </a:cubicBezTo>
                    <a:lnTo>
                      <a:pt x="0" y="116923"/>
                    </a:lnTo>
                    <a:cubicBezTo>
                      <a:pt x="0" y="113847"/>
                      <a:pt x="326154" y="132308"/>
                      <a:pt x="563077" y="0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D920246B-D3B5-4AEF-BC67-22A267DFE722}"/>
                  </a:ext>
                </a:extLst>
              </p:cNvPr>
              <p:cNvSpPr/>
              <p:nvPr/>
            </p:nvSpPr>
            <p:spPr>
              <a:xfrm>
                <a:off x="3765407" y="8482110"/>
                <a:ext cx="560028" cy="131233"/>
              </a:xfrm>
              <a:custGeom>
                <a:avLst/>
                <a:gdLst>
                  <a:gd name="connsiteX0" fmla="*/ 560028 w 560028"/>
                  <a:gd name="connsiteY0" fmla="*/ 13092 h 131233"/>
                  <a:gd name="connsiteX1" fmla="*/ 28 w 560028"/>
                  <a:gd name="connsiteY1" fmla="*/ 126938 h 131233"/>
                  <a:gd name="connsiteX2" fmla="*/ 560028 w 560028"/>
                  <a:gd name="connsiteY2" fmla="*/ 13092 h 131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0028" h="131233">
                    <a:moveTo>
                      <a:pt x="560028" y="13092"/>
                    </a:moveTo>
                    <a:cubicBezTo>
                      <a:pt x="560028" y="13092"/>
                      <a:pt x="360028" y="157708"/>
                      <a:pt x="28" y="126938"/>
                    </a:cubicBezTo>
                    <a:cubicBezTo>
                      <a:pt x="-3049" y="126938"/>
                      <a:pt x="246182" y="-48447"/>
                      <a:pt x="560028" y="13092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DF8A12C5-9D1A-432E-9521-C38A354A6750}"/>
                  </a:ext>
                </a:extLst>
              </p:cNvPr>
              <p:cNvSpPr/>
              <p:nvPr/>
            </p:nvSpPr>
            <p:spPr>
              <a:xfrm>
                <a:off x="3756204" y="8487681"/>
                <a:ext cx="573675" cy="133675"/>
              </a:xfrm>
              <a:custGeom>
                <a:avLst/>
                <a:gdLst>
                  <a:gd name="connsiteX0" fmla="*/ 123077 w 573675"/>
                  <a:gd name="connsiteY0" fmla="*/ 133675 h 133675"/>
                  <a:gd name="connsiteX1" fmla="*/ 6154 w 573675"/>
                  <a:gd name="connsiteY1" fmla="*/ 127521 h 133675"/>
                  <a:gd name="connsiteX2" fmla="*/ 0 w 573675"/>
                  <a:gd name="connsiteY2" fmla="*/ 121368 h 133675"/>
                  <a:gd name="connsiteX3" fmla="*/ 6154 w 573675"/>
                  <a:gd name="connsiteY3" fmla="*/ 115213 h 133675"/>
                  <a:gd name="connsiteX4" fmla="*/ 563077 w 573675"/>
                  <a:gd name="connsiteY4" fmla="*/ 1367 h 133675"/>
                  <a:gd name="connsiteX5" fmla="*/ 572308 w 573675"/>
                  <a:gd name="connsiteY5" fmla="*/ 1367 h 133675"/>
                  <a:gd name="connsiteX6" fmla="*/ 572308 w 573675"/>
                  <a:gd name="connsiteY6" fmla="*/ 10598 h 133675"/>
                  <a:gd name="connsiteX7" fmla="*/ 123077 w 573675"/>
                  <a:gd name="connsiteY7" fmla="*/ 133675 h 133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3675" h="133675">
                    <a:moveTo>
                      <a:pt x="123077" y="133675"/>
                    </a:moveTo>
                    <a:cubicBezTo>
                      <a:pt x="86154" y="133675"/>
                      <a:pt x="46154" y="130598"/>
                      <a:pt x="6154" y="127521"/>
                    </a:cubicBezTo>
                    <a:cubicBezTo>
                      <a:pt x="3077" y="127521"/>
                      <a:pt x="0" y="124444"/>
                      <a:pt x="0" y="121368"/>
                    </a:cubicBezTo>
                    <a:cubicBezTo>
                      <a:pt x="0" y="118291"/>
                      <a:pt x="3077" y="115213"/>
                      <a:pt x="6154" y="115213"/>
                    </a:cubicBezTo>
                    <a:cubicBezTo>
                      <a:pt x="366154" y="155214"/>
                      <a:pt x="560000" y="4445"/>
                      <a:pt x="563077" y="1367"/>
                    </a:cubicBezTo>
                    <a:cubicBezTo>
                      <a:pt x="566154" y="-1709"/>
                      <a:pt x="569231" y="1367"/>
                      <a:pt x="572308" y="1367"/>
                    </a:cubicBezTo>
                    <a:cubicBezTo>
                      <a:pt x="575385" y="4445"/>
                      <a:pt x="572308" y="7521"/>
                      <a:pt x="572308" y="10598"/>
                    </a:cubicBezTo>
                    <a:cubicBezTo>
                      <a:pt x="569231" y="10598"/>
                      <a:pt x="412308" y="133675"/>
                      <a:pt x="123077" y="13367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AF75955F-DFCE-4D30-AC65-3D2DDFE2D6D6}"/>
                  </a:ext>
                </a:extLst>
              </p:cNvPr>
              <p:cNvSpPr/>
              <p:nvPr/>
            </p:nvSpPr>
            <p:spPr>
              <a:xfrm>
                <a:off x="4026974" y="8615202"/>
                <a:ext cx="138461" cy="138461"/>
              </a:xfrm>
              <a:custGeom>
                <a:avLst/>
                <a:gdLst>
                  <a:gd name="connsiteX0" fmla="*/ 0 w 138461"/>
                  <a:gd name="connsiteY0" fmla="*/ 64615 h 138461"/>
                  <a:gd name="connsiteX1" fmla="*/ 49231 w 138461"/>
                  <a:gd name="connsiteY1" fmla="*/ 55385 h 138461"/>
                  <a:gd name="connsiteX2" fmla="*/ 40000 w 138461"/>
                  <a:gd name="connsiteY2" fmla="*/ 9231 h 138461"/>
                  <a:gd name="connsiteX3" fmla="*/ 73846 w 138461"/>
                  <a:gd name="connsiteY3" fmla="*/ 0 h 138461"/>
                  <a:gd name="connsiteX4" fmla="*/ 83077 w 138461"/>
                  <a:gd name="connsiteY4" fmla="*/ 49230 h 138461"/>
                  <a:gd name="connsiteX5" fmla="*/ 132308 w 138461"/>
                  <a:gd name="connsiteY5" fmla="*/ 40000 h 138461"/>
                  <a:gd name="connsiteX6" fmla="*/ 138462 w 138461"/>
                  <a:gd name="connsiteY6" fmla="*/ 73846 h 138461"/>
                  <a:gd name="connsiteX7" fmla="*/ 89231 w 138461"/>
                  <a:gd name="connsiteY7" fmla="*/ 83077 h 138461"/>
                  <a:gd name="connsiteX8" fmla="*/ 98462 w 138461"/>
                  <a:gd name="connsiteY8" fmla="*/ 132308 h 138461"/>
                  <a:gd name="connsiteX9" fmla="*/ 64615 w 138461"/>
                  <a:gd name="connsiteY9" fmla="*/ 138462 h 138461"/>
                  <a:gd name="connsiteX10" fmla="*/ 55385 w 138461"/>
                  <a:gd name="connsiteY10" fmla="*/ 89231 h 138461"/>
                  <a:gd name="connsiteX11" fmla="*/ 9231 w 138461"/>
                  <a:gd name="connsiteY11" fmla="*/ 98461 h 13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8461" h="138461">
                    <a:moveTo>
                      <a:pt x="0" y="64615"/>
                    </a:moveTo>
                    <a:lnTo>
                      <a:pt x="49231" y="55385"/>
                    </a:lnTo>
                    <a:lnTo>
                      <a:pt x="40000" y="9231"/>
                    </a:lnTo>
                    <a:lnTo>
                      <a:pt x="73846" y="0"/>
                    </a:lnTo>
                    <a:lnTo>
                      <a:pt x="83077" y="49230"/>
                    </a:lnTo>
                    <a:lnTo>
                      <a:pt x="132308" y="40000"/>
                    </a:lnTo>
                    <a:lnTo>
                      <a:pt x="138462" y="73846"/>
                    </a:lnTo>
                    <a:lnTo>
                      <a:pt x="89231" y="83077"/>
                    </a:lnTo>
                    <a:lnTo>
                      <a:pt x="98462" y="132308"/>
                    </a:lnTo>
                    <a:lnTo>
                      <a:pt x="64615" y="138462"/>
                    </a:lnTo>
                    <a:lnTo>
                      <a:pt x="55385" y="89231"/>
                    </a:lnTo>
                    <a:lnTo>
                      <a:pt x="9231" y="98461"/>
                    </a:ln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5" name="图形 1">
              <a:extLst>
                <a:ext uri="{FF2B5EF4-FFF2-40B4-BE49-F238E27FC236}">
                  <a16:creationId xmlns:a16="http://schemas.microsoft.com/office/drawing/2014/main" id="{BD97DB58-FF88-47D1-A9E6-0F119FF1E655}"/>
                </a:ext>
              </a:extLst>
            </p:cNvPr>
            <p:cNvGrpSpPr/>
            <p:nvPr/>
          </p:nvGrpSpPr>
          <p:grpSpPr>
            <a:xfrm>
              <a:off x="5288041" y="9154863"/>
              <a:ext cx="216674" cy="771443"/>
              <a:chOff x="5288041" y="9154863"/>
              <a:chExt cx="216674" cy="771443"/>
            </a:xfrm>
          </p:grpSpPr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EEE0840B-ABB4-43F6-AA3D-953D6BC4300F}"/>
                  </a:ext>
                </a:extLst>
              </p:cNvPr>
              <p:cNvSpPr/>
              <p:nvPr/>
            </p:nvSpPr>
            <p:spPr>
              <a:xfrm>
                <a:off x="5303896" y="9332125"/>
                <a:ext cx="80000" cy="138461"/>
              </a:xfrm>
              <a:custGeom>
                <a:avLst/>
                <a:gdLst>
                  <a:gd name="connsiteX0" fmla="*/ 43077 w 80000"/>
                  <a:gd name="connsiteY0" fmla="*/ 132307 h 138461"/>
                  <a:gd name="connsiteX1" fmla="*/ 12308 w 80000"/>
                  <a:gd name="connsiteY1" fmla="*/ 138462 h 138461"/>
                  <a:gd name="connsiteX2" fmla="*/ 0 w 80000"/>
                  <a:gd name="connsiteY2" fmla="*/ 64615 h 138461"/>
                  <a:gd name="connsiteX3" fmla="*/ 55385 w 80000"/>
                  <a:gd name="connsiteY3" fmla="*/ 0 h 138461"/>
                  <a:gd name="connsiteX4" fmla="*/ 80000 w 80000"/>
                  <a:gd name="connsiteY4" fmla="*/ 18461 h 138461"/>
                  <a:gd name="connsiteX5" fmla="*/ 30769 w 80000"/>
                  <a:gd name="connsiteY5" fmla="*/ 73846 h 13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0000" h="138461">
                    <a:moveTo>
                      <a:pt x="43077" y="132307"/>
                    </a:moveTo>
                    <a:lnTo>
                      <a:pt x="12308" y="138462"/>
                    </a:lnTo>
                    <a:lnTo>
                      <a:pt x="0" y="64615"/>
                    </a:lnTo>
                    <a:lnTo>
                      <a:pt x="55385" y="0"/>
                    </a:lnTo>
                    <a:lnTo>
                      <a:pt x="80000" y="18461"/>
                    </a:lnTo>
                    <a:lnTo>
                      <a:pt x="30769" y="73846"/>
                    </a:ln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0C97E159-9A44-4B71-B879-573BC28CB188}"/>
                  </a:ext>
                </a:extLst>
              </p:cNvPr>
              <p:cNvSpPr/>
              <p:nvPr/>
            </p:nvSpPr>
            <p:spPr>
              <a:xfrm>
                <a:off x="5316204" y="9154863"/>
                <a:ext cx="188510" cy="270733"/>
              </a:xfrm>
              <a:custGeom>
                <a:avLst/>
                <a:gdLst>
                  <a:gd name="connsiteX0" fmla="*/ 15385 w 188510"/>
                  <a:gd name="connsiteY0" fmla="*/ 23416 h 270733"/>
                  <a:gd name="connsiteX1" fmla="*/ 0 w 188510"/>
                  <a:gd name="connsiteY1" fmla="*/ 164954 h 270733"/>
                  <a:gd name="connsiteX2" fmla="*/ 9231 w 188510"/>
                  <a:gd name="connsiteY2" fmla="*/ 186492 h 270733"/>
                  <a:gd name="connsiteX3" fmla="*/ 126154 w 188510"/>
                  <a:gd name="connsiteY3" fmla="*/ 266493 h 270733"/>
                  <a:gd name="connsiteX4" fmla="*/ 163077 w 188510"/>
                  <a:gd name="connsiteY4" fmla="*/ 251108 h 270733"/>
                  <a:gd name="connsiteX5" fmla="*/ 187692 w 188510"/>
                  <a:gd name="connsiteY5" fmla="*/ 118800 h 270733"/>
                  <a:gd name="connsiteX6" fmla="*/ 178462 w 188510"/>
                  <a:gd name="connsiteY6" fmla="*/ 94185 h 270733"/>
                  <a:gd name="connsiteX7" fmla="*/ 52308 w 188510"/>
                  <a:gd name="connsiteY7" fmla="*/ 4954 h 270733"/>
                  <a:gd name="connsiteX8" fmla="*/ 15385 w 188510"/>
                  <a:gd name="connsiteY8" fmla="*/ 23416 h 270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8510" h="270733">
                    <a:moveTo>
                      <a:pt x="15385" y="23416"/>
                    </a:moveTo>
                    <a:lnTo>
                      <a:pt x="0" y="164954"/>
                    </a:lnTo>
                    <a:cubicBezTo>
                      <a:pt x="0" y="174185"/>
                      <a:pt x="3077" y="183416"/>
                      <a:pt x="9231" y="186492"/>
                    </a:cubicBezTo>
                    <a:lnTo>
                      <a:pt x="126154" y="266493"/>
                    </a:lnTo>
                    <a:cubicBezTo>
                      <a:pt x="141538" y="275723"/>
                      <a:pt x="160000" y="269570"/>
                      <a:pt x="163077" y="251108"/>
                    </a:cubicBezTo>
                    <a:lnTo>
                      <a:pt x="187692" y="118800"/>
                    </a:lnTo>
                    <a:cubicBezTo>
                      <a:pt x="190769" y="109569"/>
                      <a:pt x="184615" y="100339"/>
                      <a:pt x="178462" y="94185"/>
                    </a:cubicBezTo>
                    <a:lnTo>
                      <a:pt x="52308" y="4954"/>
                    </a:lnTo>
                    <a:cubicBezTo>
                      <a:pt x="40000" y="-7353"/>
                      <a:pt x="18461" y="4954"/>
                      <a:pt x="15385" y="23416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BBBD57C6-81B8-4BE7-A40D-96759CC34199}"/>
                  </a:ext>
                </a:extLst>
              </p:cNvPr>
              <p:cNvSpPr/>
              <p:nvPr/>
            </p:nvSpPr>
            <p:spPr>
              <a:xfrm>
                <a:off x="5343897" y="9191306"/>
                <a:ext cx="135384" cy="195541"/>
              </a:xfrm>
              <a:custGeom>
                <a:avLst/>
                <a:gdLst>
                  <a:gd name="connsiteX0" fmla="*/ 9231 w 135384"/>
                  <a:gd name="connsiteY0" fmla="*/ 17743 h 195541"/>
                  <a:gd name="connsiteX1" fmla="*/ 0 w 135384"/>
                  <a:gd name="connsiteY1" fmla="*/ 119281 h 195541"/>
                  <a:gd name="connsiteX2" fmla="*/ 6154 w 135384"/>
                  <a:gd name="connsiteY2" fmla="*/ 134666 h 195541"/>
                  <a:gd name="connsiteX3" fmla="*/ 89231 w 135384"/>
                  <a:gd name="connsiteY3" fmla="*/ 193127 h 195541"/>
                  <a:gd name="connsiteX4" fmla="*/ 116923 w 135384"/>
                  <a:gd name="connsiteY4" fmla="*/ 180820 h 195541"/>
                  <a:gd name="connsiteX5" fmla="*/ 135385 w 135384"/>
                  <a:gd name="connsiteY5" fmla="*/ 85435 h 195541"/>
                  <a:gd name="connsiteX6" fmla="*/ 129231 w 135384"/>
                  <a:gd name="connsiteY6" fmla="*/ 66973 h 195541"/>
                  <a:gd name="connsiteX7" fmla="*/ 36923 w 135384"/>
                  <a:gd name="connsiteY7" fmla="*/ 2358 h 195541"/>
                  <a:gd name="connsiteX8" fmla="*/ 9231 w 135384"/>
                  <a:gd name="connsiteY8" fmla="*/ 17743 h 195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5384" h="195541">
                    <a:moveTo>
                      <a:pt x="9231" y="17743"/>
                    </a:moveTo>
                    <a:lnTo>
                      <a:pt x="0" y="119281"/>
                    </a:lnTo>
                    <a:cubicBezTo>
                      <a:pt x="0" y="125435"/>
                      <a:pt x="3077" y="131589"/>
                      <a:pt x="6154" y="134666"/>
                    </a:cubicBezTo>
                    <a:lnTo>
                      <a:pt x="89231" y="193127"/>
                    </a:lnTo>
                    <a:cubicBezTo>
                      <a:pt x="98461" y="199281"/>
                      <a:pt x="113846" y="193127"/>
                      <a:pt x="116923" y="180820"/>
                    </a:cubicBezTo>
                    <a:lnTo>
                      <a:pt x="135385" y="85435"/>
                    </a:lnTo>
                    <a:cubicBezTo>
                      <a:pt x="135385" y="79281"/>
                      <a:pt x="132308" y="73127"/>
                      <a:pt x="129231" y="66973"/>
                    </a:cubicBezTo>
                    <a:lnTo>
                      <a:pt x="36923" y="2358"/>
                    </a:lnTo>
                    <a:cubicBezTo>
                      <a:pt x="27692" y="-3796"/>
                      <a:pt x="12308" y="2358"/>
                      <a:pt x="9231" y="17743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AC988DC4-9760-476C-B8A9-63FAA4E259AB}"/>
                  </a:ext>
                </a:extLst>
              </p:cNvPr>
              <p:cNvSpPr/>
              <p:nvPr/>
            </p:nvSpPr>
            <p:spPr>
              <a:xfrm>
                <a:off x="5371589" y="9202894"/>
                <a:ext cx="30769" cy="147692"/>
              </a:xfrm>
              <a:custGeom>
                <a:avLst/>
                <a:gdLst>
                  <a:gd name="connsiteX0" fmla="*/ 18461 w 30769"/>
                  <a:gd name="connsiteY0" fmla="*/ 0 h 147692"/>
                  <a:gd name="connsiteX1" fmla="*/ 0 w 30769"/>
                  <a:gd name="connsiteY1" fmla="*/ 138462 h 147692"/>
                  <a:gd name="connsiteX2" fmla="*/ 15385 w 30769"/>
                  <a:gd name="connsiteY2" fmla="*/ 147692 h 147692"/>
                  <a:gd name="connsiteX3" fmla="*/ 30769 w 30769"/>
                  <a:gd name="connsiteY3" fmla="*/ 6154 h 147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69" h="147692">
                    <a:moveTo>
                      <a:pt x="18461" y="0"/>
                    </a:moveTo>
                    <a:lnTo>
                      <a:pt x="0" y="138462"/>
                    </a:lnTo>
                    <a:lnTo>
                      <a:pt x="15385" y="147692"/>
                    </a:lnTo>
                    <a:lnTo>
                      <a:pt x="30769" y="6154"/>
                    </a:lnTo>
                    <a:close/>
                  </a:path>
                </a:pathLst>
              </a:custGeom>
              <a:solidFill>
                <a:srgbClr val="F1DDBA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3C76A898-E1B3-47A2-BBC7-9BAEA6CDE78C}"/>
                  </a:ext>
                </a:extLst>
              </p:cNvPr>
              <p:cNvSpPr/>
              <p:nvPr/>
            </p:nvSpPr>
            <p:spPr>
              <a:xfrm>
                <a:off x="5396204" y="9218279"/>
                <a:ext cx="27692" cy="144615"/>
              </a:xfrm>
              <a:custGeom>
                <a:avLst/>
                <a:gdLst>
                  <a:gd name="connsiteX0" fmla="*/ 18462 w 27692"/>
                  <a:gd name="connsiteY0" fmla="*/ 0 h 144615"/>
                  <a:gd name="connsiteX1" fmla="*/ 0 w 27692"/>
                  <a:gd name="connsiteY1" fmla="*/ 138462 h 144615"/>
                  <a:gd name="connsiteX2" fmla="*/ 6154 w 27692"/>
                  <a:gd name="connsiteY2" fmla="*/ 144616 h 144615"/>
                  <a:gd name="connsiteX3" fmla="*/ 27692 w 27692"/>
                  <a:gd name="connsiteY3" fmla="*/ 6154 h 14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692" h="144615">
                    <a:moveTo>
                      <a:pt x="18462" y="0"/>
                    </a:moveTo>
                    <a:lnTo>
                      <a:pt x="0" y="138462"/>
                    </a:lnTo>
                    <a:lnTo>
                      <a:pt x="6154" y="144616"/>
                    </a:lnTo>
                    <a:lnTo>
                      <a:pt x="27692" y="6154"/>
                    </a:lnTo>
                    <a:close/>
                  </a:path>
                </a:pathLst>
              </a:custGeom>
              <a:solidFill>
                <a:srgbClr val="F1DDBA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76174F0E-C346-4680-A360-80A0A6962293}"/>
                  </a:ext>
                </a:extLst>
              </p:cNvPr>
              <p:cNvSpPr/>
              <p:nvPr/>
            </p:nvSpPr>
            <p:spPr>
              <a:xfrm>
                <a:off x="5417743" y="9239818"/>
                <a:ext cx="39999" cy="141538"/>
              </a:xfrm>
              <a:custGeom>
                <a:avLst/>
                <a:gdLst>
                  <a:gd name="connsiteX0" fmla="*/ 27692 w 39999"/>
                  <a:gd name="connsiteY0" fmla="*/ 0 h 141538"/>
                  <a:gd name="connsiteX1" fmla="*/ 0 w 39999"/>
                  <a:gd name="connsiteY1" fmla="*/ 132307 h 141538"/>
                  <a:gd name="connsiteX2" fmla="*/ 12308 w 39999"/>
                  <a:gd name="connsiteY2" fmla="*/ 141538 h 141538"/>
                  <a:gd name="connsiteX3" fmla="*/ 40000 w 39999"/>
                  <a:gd name="connsiteY3" fmla="*/ 9230 h 14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999" h="141538">
                    <a:moveTo>
                      <a:pt x="27692" y="0"/>
                    </a:moveTo>
                    <a:lnTo>
                      <a:pt x="0" y="132307"/>
                    </a:lnTo>
                    <a:lnTo>
                      <a:pt x="12308" y="141538"/>
                    </a:lnTo>
                    <a:lnTo>
                      <a:pt x="40000" y="9230"/>
                    </a:lnTo>
                    <a:close/>
                  </a:path>
                </a:pathLst>
              </a:custGeom>
              <a:solidFill>
                <a:srgbClr val="F1DDBA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7E024E1E-CD64-45F6-8522-4A40F0A18589}"/>
                  </a:ext>
                </a:extLst>
              </p:cNvPr>
              <p:cNvSpPr/>
              <p:nvPr/>
            </p:nvSpPr>
            <p:spPr>
              <a:xfrm>
                <a:off x="5288041" y="9454731"/>
                <a:ext cx="163883" cy="471575"/>
              </a:xfrm>
              <a:custGeom>
                <a:avLst/>
                <a:gdLst>
                  <a:gd name="connsiteX0" fmla="*/ 123548 w 163883"/>
                  <a:gd name="connsiteY0" fmla="*/ 471240 h 471575"/>
                  <a:gd name="connsiteX1" fmla="*/ 123548 w 163883"/>
                  <a:gd name="connsiteY1" fmla="*/ 471240 h 471575"/>
                  <a:gd name="connsiteX2" fmla="*/ 65087 w 163883"/>
                  <a:gd name="connsiteY2" fmla="*/ 431241 h 471575"/>
                  <a:gd name="connsiteX3" fmla="*/ 471 w 163883"/>
                  <a:gd name="connsiteY3" fmla="*/ 43548 h 471575"/>
                  <a:gd name="connsiteX4" fmla="*/ 28164 w 163883"/>
                  <a:gd name="connsiteY4" fmla="*/ 6625 h 471575"/>
                  <a:gd name="connsiteX5" fmla="*/ 62010 w 163883"/>
                  <a:gd name="connsiteY5" fmla="*/ 471 h 471575"/>
                  <a:gd name="connsiteX6" fmla="*/ 98933 w 163883"/>
                  <a:gd name="connsiteY6" fmla="*/ 28163 h 471575"/>
                  <a:gd name="connsiteX7" fmla="*/ 163548 w 163883"/>
                  <a:gd name="connsiteY7" fmla="*/ 412779 h 471575"/>
                  <a:gd name="connsiteX8" fmla="*/ 123548 w 163883"/>
                  <a:gd name="connsiteY8" fmla="*/ 471240 h 471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883" h="471575">
                    <a:moveTo>
                      <a:pt x="123548" y="471240"/>
                    </a:moveTo>
                    <a:lnTo>
                      <a:pt x="123548" y="471240"/>
                    </a:lnTo>
                    <a:cubicBezTo>
                      <a:pt x="95856" y="474317"/>
                      <a:pt x="71241" y="455856"/>
                      <a:pt x="65087" y="431241"/>
                    </a:cubicBezTo>
                    <a:lnTo>
                      <a:pt x="471" y="43548"/>
                    </a:lnTo>
                    <a:cubicBezTo>
                      <a:pt x="-2606" y="25086"/>
                      <a:pt x="9702" y="9702"/>
                      <a:pt x="28164" y="6625"/>
                    </a:cubicBezTo>
                    <a:lnTo>
                      <a:pt x="62010" y="471"/>
                    </a:lnTo>
                    <a:cubicBezTo>
                      <a:pt x="80471" y="-2606"/>
                      <a:pt x="95856" y="9702"/>
                      <a:pt x="98933" y="28163"/>
                    </a:cubicBezTo>
                    <a:lnTo>
                      <a:pt x="163548" y="412779"/>
                    </a:lnTo>
                    <a:cubicBezTo>
                      <a:pt x="166625" y="440471"/>
                      <a:pt x="148164" y="468163"/>
                      <a:pt x="123548" y="47124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B2741511-3545-406D-A083-EFC1F7E9C6C1}"/>
                </a:ext>
              </a:extLst>
            </p:cNvPr>
            <p:cNvSpPr/>
            <p:nvPr/>
          </p:nvSpPr>
          <p:spPr>
            <a:xfrm>
              <a:off x="3603726" y="9335202"/>
              <a:ext cx="597590" cy="2203076"/>
            </a:xfrm>
            <a:custGeom>
              <a:avLst/>
              <a:gdLst>
                <a:gd name="connsiteX0" fmla="*/ 404786 w 597590"/>
                <a:gd name="connsiteY0" fmla="*/ 0 h 2203076"/>
                <a:gd name="connsiteX1" fmla="*/ 140171 w 597590"/>
                <a:gd name="connsiteY1" fmla="*/ 120000 h 2203076"/>
                <a:gd name="connsiteX2" fmla="*/ 140171 w 597590"/>
                <a:gd name="connsiteY2" fmla="*/ 393846 h 2203076"/>
                <a:gd name="connsiteX3" fmla="*/ 158632 w 597590"/>
                <a:gd name="connsiteY3" fmla="*/ 864616 h 2203076"/>
                <a:gd name="connsiteX4" fmla="*/ 23248 w 597590"/>
                <a:gd name="connsiteY4" fmla="*/ 1341538 h 2203076"/>
                <a:gd name="connsiteX5" fmla="*/ 23248 w 597590"/>
                <a:gd name="connsiteY5" fmla="*/ 2203077 h 2203076"/>
                <a:gd name="connsiteX6" fmla="*/ 463248 w 597590"/>
                <a:gd name="connsiteY6" fmla="*/ 2203077 h 2203076"/>
                <a:gd name="connsiteX7" fmla="*/ 521709 w 597590"/>
                <a:gd name="connsiteY7" fmla="*/ 1043077 h 2203076"/>
                <a:gd name="connsiteX8" fmla="*/ 574017 w 597590"/>
                <a:gd name="connsiteY8" fmla="*/ 307692 h 2203076"/>
                <a:gd name="connsiteX9" fmla="*/ 404786 w 597590"/>
                <a:gd name="connsiteY9" fmla="*/ 0 h 220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7590" h="2203076">
                  <a:moveTo>
                    <a:pt x="404786" y="0"/>
                  </a:moveTo>
                  <a:cubicBezTo>
                    <a:pt x="324786" y="9231"/>
                    <a:pt x="192479" y="46154"/>
                    <a:pt x="140171" y="120000"/>
                  </a:cubicBezTo>
                  <a:cubicBezTo>
                    <a:pt x="78632" y="206154"/>
                    <a:pt x="115556" y="301539"/>
                    <a:pt x="140171" y="393846"/>
                  </a:cubicBezTo>
                  <a:cubicBezTo>
                    <a:pt x="183248" y="550770"/>
                    <a:pt x="192479" y="707692"/>
                    <a:pt x="158632" y="864616"/>
                  </a:cubicBezTo>
                  <a:cubicBezTo>
                    <a:pt x="130940" y="1006154"/>
                    <a:pt x="60171" y="1178462"/>
                    <a:pt x="23248" y="1341538"/>
                  </a:cubicBezTo>
                  <a:cubicBezTo>
                    <a:pt x="-29060" y="1569231"/>
                    <a:pt x="23248" y="2203077"/>
                    <a:pt x="23248" y="2203077"/>
                  </a:cubicBezTo>
                  <a:lnTo>
                    <a:pt x="463248" y="2203077"/>
                  </a:lnTo>
                  <a:cubicBezTo>
                    <a:pt x="463248" y="2203077"/>
                    <a:pt x="487863" y="1240000"/>
                    <a:pt x="521709" y="1043077"/>
                  </a:cubicBezTo>
                  <a:cubicBezTo>
                    <a:pt x="561709" y="800000"/>
                    <a:pt x="635556" y="547692"/>
                    <a:pt x="574017" y="307692"/>
                  </a:cubicBezTo>
                  <a:cubicBezTo>
                    <a:pt x="549402" y="206154"/>
                    <a:pt x="414017" y="0"/>
                    <a:pt x="404786" y="0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CF92CE6A-6C32-4B93-986A-EF1E8660E40B}"/>
                </a:ext>
              </a:extLst>
            </p:cNvPr>
            <p:cNvSpPr/>
            <p:nvPr/>
          </p:nvSpPr>
          <p:spPr>
            <a:xfrm>
              <a:off x="4282358" y="9344433"/>
              <a:ext cx="368595" cy="2193845"/>
            </a:xfrm>
            <a:custGeom>
              <a:avLst/>
              <a:gdLst>
                <a:gd name="connsiteX0" fmla="*/ 338462 w 368595"/>
                <a:gd name="connsiteY0" fmla="*/ 495385 h 2193845"/>
                <a:gd name="connsiteX1" fmla="*/ 307692 w 368595"/>
                <a:gd name="connsiteY1" fmla="*/ 729231 h 2193845"/>
                <a:gd name="connsiteX2" fmla="*/ 310769 w 368595"/>
                <a:gd name="connsiteY2" fmla="*/ 963077 h 2193845"/>
                <a:gd name="connsiteX3" fmla="*/ 320000 w 368595"/>
                <a:gd name="connsiteY3" fmla="*/ 1116923 h 2193845"/>
                <a:gd name="connsiteX4" fmla="*/ 366154 w 368595"/>
                <a:gd name="connsiteY4" fmla="*/ 2193846 h 2193845"/>
                <a:gd name="connsiteX5" fmla="*/ 212308 w 368595"/>
                <a:gd name="connsiteY5" fmla="*/ 2193846 h 2193845"/>
                <a:gd name="connsiteX6" fmla="*/ 215385 w 368595"/>
                <a:gd name="connsiteY6" fmla="*/ 1089231 h 2193845"/>
                <a:gd name="connsiteX7" fmla="*/ 196923 w 368595"/>
                <a:gd name="connsiteY7" fmla="*/ 741539 h 2193845"/>
                <a:gd name="connsiteX8" fmla="*/ 24615 w 368595"/>
                <a:gd name="connsiteY8" fmla="*/ 18462 h 2193845"/>
                <a:gd name="connsiteX9" fmla="*/ 0 w 368595"/>
                <a:gd name="connsiteY9" fmla="*/ 0 h 2193845"/>
                <a:gd name="connsiteX10" fmla="*/ 338462 w 368595"/>
                <a:gd name="connsiteY10" fmla="*/ 495385 h 2193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8595" h="2193845">
                  <a:moveTo>
                    <a:pt x="338462" y="495385"/>
                  </a:moveTo>
                  <a:cubicBezTo>
                    <a:pt x="329231" y="575385"/>
                    <a:pt x="310769" y="649231"/>
                    <a:pt x="307692" y="729231"/>
                  </a:cubicBezTo>
                  <a:cubicBezTo>
                    <a:pt x="304615" y="806154"/>
                    <a:pt x="307692" y="886154"/>
                    <a:pt x="310769" y="963077"/>
                  </a:cubicBezTo>
                  <a:cubicBezTo>
                    <a:pt x="313846" y="1015385"/>
                    <a:pt x="313846" y="1067693"/>
                    <a:pt x="320000" y="1116923"/>
                  </a:cubicBezTo>
                  <a:cubicBezTo>
                    <a:pt x="384615" y="1476923"/>
                    <a:pt x="366154" y="2193846"/>
                    <a:pt x="366154" y="2193846"/>
                  </a:cubicBezTo>
                  <a:lnTo>
                    <a:pt x="212308" y="2193846"/>
                  </a:lnTo>
                  <a:cubicBezTo>
                    <a:pt x="255385" y="1929231"/>
                    <a:pt x="215385" y="1089231"/>
                    <a:pt x="215385" y="1089231"/>
                  </a:cubicBezTo>
                  <a:cubicBezTo>
                    <a:pt x="175385" y="975385"/>
                    <a:pt x="184615" y="861538"/>
                    <a:pt x="196923" y="741539"/>
                  </a:cubicBezTo>
                  <a:cubicBezTo>
                    <a:pt x="224615" y="483077"/>
                    <a:pt x="184615" y="230769"/>
                    <a:pt x="24615" y="18462"/>
                  </a:cubicBezTo>
                  <a:cubicBezTo>
                    <a:pt x="21538" y="15385"/>
                    <a:pt x="12308" y="15385"/>
                    <a:pt x="0" y="0"/>
                  </a:cubicBezTo>
                  <a:cubicBezTo>
                    <a:pt x="261538" y="3077"/>
                    <a:pt x="363077" y="280000"/>
                    <a:pt x="338462" y="495385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4685310F-2AEC-40A5-A9F7-72E0BF8B17BC}"/>
                </a:ext>
              </a:extLst>
            </p:cNvPr>
            <p:cNvSpPr/>
            <p:nvPr/>
          </p:nvSpPr>
          <p:spPr>
            <a:xfrm>
              <a:off x="4565435" y="9525971"/>
              <a:ext cx="66172" cy="763077"/>
            </a:xfrm>
            <a:custGeom>
              <a:avLst/>
              <a:gdLst>
                <a:gd name="connsiteX0" fmla="*/ 27692 w 66172"/>
                <a:gd name="connsiteY0" fmla="*/ 763078 h 763077"/>
                <a:gd name="connsiteX1" fmla="*/ 21539 w 66172"/>
                <a:gd name="connsiteY1" fmla="*/ 756923 h 763077"/>
                <a:gd name="connsiteX2" fmla="*/ 46154 w 66172"/>
                <a:gd name="connsiteY2" fmla="*/ 332308 h 763077"/>
                <a:gd name="connsiteX3" fmla="*/ 55385 w 66172"/>
                <a:gd name="connsiteY3" fmla="*/ 264616 h 763077"/>
                <a:gd name="connsiteX4" fmla="*/ 0 w 66172"/>
                <a:gd name="connsiteY4" fmla="*/ 6154 h 763077"/>
                <a:gd name="connsiteX5" fmla="*/ 3077 w 66172"/>
                <a:gd name="connsiteY5" fmla="*/ 0 h 763077"/>
                <a:gd name="connsiteX6" fmla="*/ 9231 w 66172"/>
                <a:gd name="connsiteY6" fmla="*/ 3077 h 763077"/>
                <a:gd name="connsiteX7" fmla="*/ 64616 w 66172"/>
                <a:gd name="connsiteY7" fmla="*/ 267693 h 763077"/>
                <a:gd name="connsiteX8" fmla="*/ 55385 w 66172"/>
                <a:gd name="connsiteY8" fmla="*/ 335385 h 763077"/>
                <a:gd name="connsiteX9" fmla="*/ 30769 w 66172"/>
                <a:gd name="connsiteY9" fmla="*/ 756923 h 763077"/>
                <a:gd name="connsiteX10" fmla="*/ 27692 w 66172"/>
                <a:gd name="connsiteY10" fmla="*/ 763078 h 763077"/>
                <a:gd name="connsiteX11" fmla="*/ 27692 w 66172"/>
                <a:gd name="connsiteY11" fmla="*/ 763078 h 76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172" h="763077">
                  <a:moveTo>
                    <a:pt x="27692" y="763078"/>
                  </a:moveTo>
                  <a:cubicBezTo>
                    <a:pt x="24615" y="763078"/>
                    <a:pt x="21539" y="760000"/>
                    <a:pt x="21539" y="756923"/>
                  </a:cubicBezTo>
                  <a:cubicBezTo>
                    <a:pt x="6154" y="633846"/>
                    <a:pt x="30769" y="452308"/>
                    <a:pt x="46154" y="332308"/>
                  </a:cubicBezTo>
                  <a:cubicBezTo>
                    <a:pt x="49231" y="307692"/>
                    <a:pt x="52308" y="286154"/>
                    <a:pt x="55385" y="264616"/>
                  </a:cubicBezTo>
                  <a:cubicBezTo>
                    <a:pt x="67692" y="160000"/>
                    <a:pt x="3077" y="6154"/>
                    <a:pt x="0" y="6154"/>
                  </a:cubicBezTo>
                  <a:cubicBezTo>
                    <a:pt x="0" y="3077"/>
                    <a:pt x="0" y="0"/>
                    <a:pt x="3077" y="0"/>
                  </a:cubicBezTo>
                  <a:cubicBezTo>
                    <a:pt x="6154" y="0"/>
                    <a:pt x="9231" y="0"/>
                    <a:pt x="9231" y="3077"/>
                  </a:cubicBezTo>
                  <a:cubicBezTo>
                    <a:pt x="12308" y="9231"/>
                    <a:pt x="76923" y="160000"/>
                    <a:pt x="64616" y="267693"/>
                  </a:cubicBezTo>
                  <a:cubicBezTo>
                    <a:pt x="61538" y="286154"/>
                    <a:pt x="58462" y="307692"/>
                    <a:pt x="55385" y="335385"/>
                  </a:cubicBezTo>
                  <a:cubicBezTo>
                    <a:pt x="40000" y="455385"/>
                    <a:pt x="18462" y="636923"/>
                    <a:pt x="30769" y="756923"/>
                  </a:cubicBezTo>
                  <a:cubicBezTo>
                    <a:pt x="33846" y="760000"/>
                    <a:pt x="30769" y="763078"/>
                    <a:pt x="27692" y="763078"/>
                  </a:cubicBezTo>
                  <a:cubicBezTo>
                    <a:pt x="27692" y="763078"/>
                    <a:pt x="27692" y="763078"/>
                    <a:pt x="27692" y="763078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F2544021-4DC4-4812-BCCB-F00A6C687CC8}"/>
                </a:ext>
              </a:extLst>
            </p:cNvPr>
            <p:cNvSpPr/>
            <p:nvPr/>
          </p:nvSpPr>
          <p:spPr>
            <a:xfrm>
              <a:off x="4199281" y="8744433"/>
              <a:ext cx="203768" cy="104615"/>
            </a:xfrm>
            <a:custGeom>
              <a:avLst/>
              <a:gdLst>
                <a:gd name="connsiteX0" fmla="*/ 0 w 203768"/>
                <a:gd name="connsiteY0" fmla="*/ 58461 h 104615"/>
                <a:gd name="connsiteX1" fmla="*/ 172308 w 203768"/>
                <a:gd name="connsiteY1" fmla="*/ 0 h 104615"/>
                <a:gd name="connsiteX2" fmla="*/ 203077 w 203768"/>
                <a:gd name="connsiteY2" fmla="*/ 49231 h 104615"/>
                <a:gd name="connsiteX3" fmla="*/ 3077 w 203768"/>
                <a:gd name="connsiteY3" fmla="*/ 104615 h 104615"/>
                <a:gd name="connsiteX4" fmla="*/ 0 w 203768"/>
                <a:gd name="connsiteY4" fmla="*/ 58461 h 10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768" h="104615">
                  <a:moveTo>
                    <a:pt x="0" y="58461"/>
                  </a:moveTo>
                  <a:cubicBezTo>
                    <a:pt x="0" y="58461"/>
                    <a:pt x="116923" y="33846"/>
                    <a:pt x="172308" y="0"/>
                  </a:cubicBezTo>
                  <a:cubicBezTo>
                    <a:pt x="172308" y="0"/>
                    <a:pt x="209231" y="21538"/>
                    <a:pt x="203077" y="49231"/>
                  </a:cubicBezTo>
                  <a:cubicBezTo>
                    <a:pt x="203077" y="49231"/>
                    <a:pt x="147692" y="89231"/>
                    <a:pt x="3077" y="104615"/>
                  </a:cubicBezTo>
                  <a:lnTo>
                    <a:pt x="0" y="58461"/>
                  </a:lnTo>
                  <a:close/>
                </a:path>
              </a:pathLst>
            </a:custGeom>
            <a:solidFill>
              <a:srgbClr val="F1DDBA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0" name="图形 1">
              <a:extLst>
                <a:ext uri="{FF2B5EF4-FFF2-40B4-BE49-F238E27FC236}">
                  <a16:creationId xmlns:a16="http://schemas.microsoft.com/office/drawing/2014/main" id="{8CBAB63F-20F0-4F4E-8B5A-F8706D6B5B97}"/>
                </a:ext>
              </a:extLst>
            </p:cNvPr>
            <p:cNvGrpSpPr/>
            <p:nvPr/>
          </p:nvGrpSpPr>
          <p:grpSpPr>
            <a:xfrm>
              <a:off x="3832022" y="8704433"/>
              <a:ext cx="490336" cy="224615"/>
              <a:chOff x="3832022" y="8704433"/>
              <a:chExt cx="490336" cy="224615"/>
            </a:xfrm>
          </p:grpSpPr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D9253CE2-C270-4521-85CF-4941FD5593C5}"/>
                  </a:ext>
                </a:extLst>
              </p:cNvPr>
              <p:cNvSpPr/>
              <p:nvPr/>
            </p:nvSpPr>
            <p:spPr>
              <a:xfrm>
                <a:off x="3832022" y="8769048"/>
                <a:ext cx="446928" cy="113471"/>
              </a:xfrm>
              <a:custGeom>
                <a:avLst/>
                <a:gdLst>
                  <a:gd name="connsiteX0" fmla="*/ 16490 w 446928"/>
                  <a:gd name="connsiteY0" fmla="*/ 46154 h 113471"/>
                  <a:gd name="connsiteX1" fmla="*/ 1106 w 446928"/>
                  <a:gd name="connsiteY1" fmla="*/ 101539 h 113471"/>
                  <a:gd name="connsiteX2" fmla="*/ 444183 w 446928"/>
                  <a:gd name="connsiteY2" fmla="*/ 58461 h 113471"/>
                  <a:gd name="connsiteX3" fmla="*/ 438029 w 446928"/>
                  <a:gd name="connsiteY3" fmla="*/ 0 h 113471"/>
                  <a:gd name="connsiteX4" fmla="*/ 16490 w 446928"/>
                  <a:gd name="connsiteY4" fmla="*/ 46154 h 113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6928" h="113471">
                    <a:moveTo>
                      <a:pt x="16490" y="46154"/>
                    </a:moveTo>
                    <a:cubicBezTo>
                      <a:pt x="16490" y="46154"/>
                      <a:pt x="-5048" y="67692"/>
                      <a:pt x="1106" y="101539"/>
                    </a:cubicBezTo>
                    <a:cubicBezTo>
                      <a:pt x="1106" y="101539"/>
                      <a:pt x="198029" y="147692"/>
                      <a:pt x="444183" y="58461"/>
                    </a:cubicBezTo>
                    <a:cubicBezTo>
                      <a:pt x="444183" y="58461"/>
                      <a:pt x="453413" y="24615"/>
                      <a:pt x="438029" y="0"/>
                    </a:cubicBezTo>
                    <a:cubicBezTo>
                      <a:pt x="438029" y="3077"/>
                      <a:pt x="216490" y="83077"/>
                      <a:pt x="16490" y="46154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BF530421-6E1F-4E1C-B5C0-0F3DFB1BB441}"/>
                  </a:ext>
                </a:extLst>
              </p:cNvPr>
              <p:cNvSpPr/>
              <p:nvPr/>
            </p:nvSpPr>
            <p:spPr>
              <a:xfrm>
                <a:off x="4097743" y="8704433"/>
                <a:ext cx="224615" cy="224615"/>
              </a:xfrm>
              <a:custGeom>
                <a:avLst/>
                <a:gdLst>
                  <a:gd name="connsiteX0" fmla="*/ 193846 w 224615"/>
                  <a:gd name="connsiteY0" fmla="*/ 36923 h 224615"/>
                  <a:gd name="connsiteX1" fmla="*/ 175385 w 224615"/>
                  <a:gd name="connsiteY1" fmla="*/ 18462 h 224615"/>
                  <a:gd name="connsiteX2" fmla="*/ 126154 w 224615"/>
                  <a:gd name="connsiteY2" fmla="*/ 0 h 224615"/>
                  <a:gd name="connsiteX3" fmla="*/ 110769 w 224615"/>
                  <a:gd name="connsiteY3" fmla="*/ 0 h 224615"/>
                  <a:gd name="connsiteX4" fmla="*/ 12308 w 224615"/>
                  <a:gd name="connsiteY4" fmla="*/ 58462 h 224615"/>
                  <a:gd name="connsiteX5" fmla="*/ 9231 w 224615"/>
                  <a:gd name="connsiteY5" fmla="*/ 64616 h 224615"/>
                  <a:gd name="connsiteX6" fmla="*/ 0 w 224615"/>
                  <a:gd name="connsiteY6" fmla="*/ 110769 h 224615"/>
                  <a:gd name="connsiteX7" fmla="*/ 40000 w 224615"/>
                  <a:gd name="connsiteY7" fmla="*/ 196923 h 224615"/>
                  <a:gd name="connsiteX8" fmla="*/ 61538 w 224615"/>
                  <a:gd name="connsiteY8" fmla="*/ 212308 h 224615"/>
                  <a:gd name="connsiteX9" fmla="*/ 110769 w 224615"/>
                  <a:gd name="connsiteY9" fmla="*/ 224615 h 224615"/>
                  <a:gd name="connsiteX10" fmla="*/ 126154 w 224615"/>
                  <a:gd name="connsiteY10" fmla="*/ 224615 h 224615"/>
                  <a:gd name="connsiteX11" fmla="*/ 203077 w 224615"/>
                  <a:gd name="connsiteY11" fmla="*/ 178462 h 224615"/>
                  <a:gd name="connsiteX12" fmla="*/ 206154 w 224615"/>
                  <a:gd name="connsiteY12" fmla="*/ 172308 h 224615"/>
                  <a:gd name="connsiteX13" fmla="*/ 224615 w 224615"/>
                  <a:gd name="connsiteY13" fmla="*/ 113846 h 224615"/>
                  <a:gd name="connsiteX14" fmla="*/ 193846 w 224615"/>
                  <a:gd name="connsiteY14" fmla="*/ 36923 h 224615"/>
                  <a:gd name="connsiteX15" fmla="*/ 123077 w 224615"/>
                  <a:gd name="connsiteY15" fmla="*/ 123077 h 224615"/>
                  <a:gd name="connsiteX16" fmla="*/ 123077 w 224615"/>
                  <a:gd name="connsiteY16" fmla="*/ 123077 h 224615"/>
                  <a:gd name="connsiteX17" fmla="*/ 110769 w 224615"/>
                  <a:gd name="connsiteY17" fmla="*/ 129231 h 224615"/>
                  <a:gd name="connsiteX18" fmla="*/ 92308 w 224615"/>
                  <a:gd name="connsiteY18" fmla="*/ 113846 h 224615"/>
                  <a:gd name="connsiteX19" fmla="*/ 92308 w 224615"/>
                  <a:gd name="connsiteY19" fmla="*/ 110769 h 224615"/>
                  <a:gd name="connsiteX20" fmla="*/ 92308 w 224615"/>
                  <a:gd name="connsiteY20" fmla="*/ 104616 h 224615"/>
                  <a:gd name="connsiteX21" fmla="*/ 95385 w 224615"/>
                  <a:gd name="connsiteY21" fmla="*/ 98461 h 224615"/>
                  <a:gd name="connsiteX22" fmla="*/ 107692 w 224615"/>
                  <a:gd name="connsiteY22" fmla="*/ 92308 h 224615"/>
                  <a:gd name="connsiteX23" fmla="*/ 110769 w 224615"/>
                  <a:gd name="connsiteY23" fmla="*/ 92308 h 224615"/>
                  <a:gd name="connsiteX24" fmla="*/ 129231 w 224615"/>
                  <a:gd name="connsiteY24" fmla="*/ 110769 h 224615"/>
                  <a:gd name="connsiteX25" fmla="*/ 129231 w 224615"/>
                  <a:gd name="connsiteY25" fmla="*/ 113846 h 224615"/>
                  <a:gd name="connsiteX26" fmla="*/ 126154 w 224615"/>
                  <a:gd name="connsiteY26" fmla="*/ 120000 h 224615"/>
                  <a:gd name="connsiteX27" fmla="*/ 123077 w 224615"/>
                  <a:gd name="connsiteY27" fmla="*/ 123077 h 22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24615" h="224615">
                    <a:moveTo>
                      <a:pt x="193846" y="36923"/>
                    </a:moveTo>
                    <a:cubicBezTo>
                      <a:pt x="187692" y="30769"/>
                      <a:pt x="181539" y="24615"/>
                      <a:pt x="175385" y="18462"/>
                    </a:cubicBezTo>
                    <a:cubicBezTo>
                      <a:pt x="160000" y="9231"/>
                      <a:pt x="144615" y="3077"/>
                      <a:pt x="126154" y="0"/>
                    </a:cubicBezTo>
                    <a:cubicBezTo>
                      <a:pt x="120000" y="0"/>
                      <a:pt x="116923" y="0"/>
                      <a:pt x="110769" y="0"/>
                    </a:cubicBezTo>
                    <a:cubicBezTo>
                      <a:pt x="67692" y="0"/>
                      <a:pt x="30769" y="24615"/>
                      <a:pt x="12308" y="58462"/>
                    </a:cubicBezTo>
                    <a:cubicBezTo>
                      <a:pt x="12308" y="61538"/>
                      <a:pt x="9231" y="61538"/>
                      <a:pt x="9231" y="64616"/>
                    </a:cubicBezTo>
                    <a:cubicBezTo>
                      <a:pt x="3077" y="80000"/>
                      <a:pt x="0" y="95385"/>
                      <a:pt x="0" y="110769"/>
                    </a:cubicBezTo>
                    <a:cubicBezTo>
                      <a:pt x="0" y="144615"/>
                      <a:pt x="15385" y="175385"/>
                      <a:pt x="40000" y="196923"/>
                    </a:cubicBezTo>
                    <a:cubicBezTo>
                      <a:pt x="46154" y="203077"/>
                      <a:pt x="55385" y="206154"/>
                      <a:pt x="61538" y="212308"/>
                    </a:cubicBezTo>
                    <a:cubicBezTo>
                      <a:pt x="76923" y="218462"/>
                      <a:pt x="92308" y="224615"/>
                      <a:pt x="110769" y="224615"/>
                    </a:cubicBezTo>
                    <a:cubicBezTo>
                      <a:pt x="116923" y="224615"/>
                      <a:pt x="120000" y="224615"/>
                      <a:pt x="126154" y="224615"/>
                    </a:cubicBezTo>
                    <a:cubicBezTo>
                      <a:pt x="156923" y="221538"/>
                      <a:pt x="184615" y="203077"/>
                      <a:pt x="203077" y="178462"/>
                    </a:cubicBezTo>
                    <a:cubicBezTo>
                      <a:pt x="203077" y="175385"/>
                      <a:pt x="206154" y="175385"/>
                      <a:pt x="206154" y="172308"/>
                    </a:cubicBezTo>
                    <a:cubicBezTo>
                      <a:pt x="215385" y="153846"/>
                      <a:pt x="224615" y="135385"/>
                      <a:pt x="224615" y="113846"/>
                    </a:cubicBezTo>
                    <a:cubicBezTo>
                      <a:pt x="221538" y="83077"/>
                      <a:pt x="209231" y="55385"/>
                      <a:pt x="193846" y="36923"/>
                    </a:cubicBezTo>
                    <a:close/>
                    <a:moveTo>
                      <a:pt x="123077" y="123077"/>
                    </a:moveTo>
                    <a:cubicBezTo>
                      <a:pt x="123077" y="123077"/>
                      <a:pt x="123077" y="126154"/>
                      <a:pt x="123077" y="123077"/>
                    </a:cubicBezTo>
                    <a:cubicBezTo>
                      <a:pt x="116923" y="126154"/>
                      <a:pt x="113846" y="129231"/>
                      <a:pt x="110769" y="129231"/>
                    </a:cubicBezTo>
                    <a:cubicBezTo>
                      <a:pt x="101538" y="129231"/>
                      <a:pt x="95385" y="123077"/>
                      <a:pt x="92308" y="113846"/>
                    </a:cubicBezTo>
                    <a:cubicBezTo>
                      <a:pt x="92308" y="113846"/>
                      <a:pt x="92308" y="110769"/>
                      <a:pt x="92308" y="110769"/>
                    </a:cubicBezTo>
                    <a:cubicBezTo>
                      <a:pt x="92308" y="107692"/>
                      <a:pt x="92308" y="104616"/>
                      <a:pt x="92308" y="104616"/>
                    </a:cubicBezTo>
                    <a:cubicBezTo>
                      <a:pt x="92308" y="101539"/>
                      <a:pt x="95385" y="101539"/>
                      <a:pt x="95385" y="98461"/>
                    </a:cubicBezTo>
                    <a:cubicBezTo>
                      <a:pt x="98462" y="95385"/>
                      <a:pt x="101538" y="92308"/>
                      <a:pt x="107692" y="92308"/>
                    </a:cubicBezTo>
                    <a:cubicBezTo>
                      <a:pt x="107692" y="92308"/>
                      <a:pt x="110769" y="92308"/>
                      <a:pt x="110769" y="92308"/>
                    </a:cubicBezTo>
                    <a:cubicBezTo>
                      <a:pt x="120000" y="92308"/>
                      <a:pt x="129231" y="101539"/>
                      <a:pt x="129231" y="110769"/>
                    </a:cubicBezTo>
                    <a:cubicBezTo>
                      <a:pt x="129231" y="110769"/>
                      <a:pt x="129231" y="113846"/>
                      <a:pt x="129231" y="113846"/>
                    </a:cubicBezTo>
                    <a:cubicBezTo>
                      <a:pt x="129231" y="116923"/>
                      <a:pt x="129231" y="116923"/>
                      <a:pt x="126154" y="120000"/>
                    </a:cubicBezTo>
                    <a:cubicBezTo>
                      <a:pt x="126154" y="120000"/>
                      <a:pt x="126154" y="123077"/>
                      <a:pt x="123077" y="123077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C885BA92-CF19-4A48-AFD7-53D35349DBEF}"/>
                  </a:ext>
                </a:extLst>
              </p:cNvPr>
              <p:cNvSpPr/>
              <p:nvPr/>
            </p:nvSpPr>
            <p:spPr>
              <a:xfrm>
                <a:off x="4110050" y="8762895"/>
                <a:ext cx="86153" cy="46153"/>
              </a:xfrm>
              <a:custGeom>
                <a:avLst/>
                <a:gdLst>
                  <a:gd name="connsiteX0" fmla="*/ 83077 w 86153"/>
                  <a:gd name="connsiteY0" fmla="*/ 46154 h 46153"/>
                  <a:gd name="connsiteX1" fmla="*/ 0 w 86153"/>
                  <a:gd name="connsiteY1" fmla="*/ 6154 h 46153"/>
                  <a:gd name="connsiteX2" fmla="*/ 3077 w 86153"/>
                  <a:gd name="connsiteY2" fmla="*/ 0 h 46153"/>
                  <a:gd name="connsiteX3" fmla="*/ 86154 w 86153"/>
                  <a:gd name="connsiteY3" fmla="*/ 40000 h 46153"/>
                  <a:gd name="connsiteX4" fmla="*/ 83077 w 86153"/>
                  <a:gd name="connsiteY4" fmla="*/ 46154 h 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153" h="46153">
                    <a:moveTo>
                      <a:pt x="83077" y="46154"/>
                    </a:moveTo>
                    <a:lnTo>
                      <a:pt x="0" y="6154"/>
                    </a:lnTo>
                    <a:cubicBezTo>
                      <a:pt x="0" y="3077"/>
                      <a:pt x="3077" y="3077"/>
                      <a:pt x="3077" y="0"/>
                    </a:cubicBezTo>
                    <a:lnTo>
                      <a:pt x="86154" y="40000"/>
                    </a:lnTo>
                    <a:cubicBezTo>
                      <a:pt x="83077" y="43077"/>
                      <a:pt x="83077" y="43077"/>
                      <a:pt x="83077" y="46154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C04BA460-A955-418B-AD3D-7A99DABCF3BB}"/>
                  </a:ext>
                </a:extLst>
              </p:cNvPr>
              <p:cNvSpPr/>
              <p:nvPr/>
            </p:nvSpPr>
            <p:spPr>
              <a:xfrm>
                <a:off x="4137743" y="8815202"/>
                <a:ext cx="83076" cy="110768"/>
              </a:xfrm>
              <a:custGeom>
                <a:avLst/>
                <a:gdLst>
                  <a:gd name="connsiteX0" fmla="*/ 80000 w 83076"/>
                  <a:gd name="connsiteY0" fmla="*/ 15385 h 110768"/>
                  <a:gd name="connsiteX1" fmla="*/ 83077 w 83076"/>
                  <a:gd name="connsiteY1" fmla="*/ 110769 h 110768"/>
                  <a:gd name="connsiteX2" fmla="*/ 67692 w 83076"/>
                  <a:gd name="connsiteY2" fmla="*/ 110769 h 110768"/>
                  <a:gd name="connsiteX3" fmla="*/ 64615 w 83076"/>
                  <a:gd name="connsiteY3" fmla="*/ 30769 h 110768"/>
                  <a:gd name="connsiteX4" fmla="*/ 21538 w 83076"/>
                  <a:gd name="connsiteY4" fmla="*/ 98461 h 110768"/>
                  <a:gd name="connsiteX5" fmla="*/ 0 w 83076"/>
                  <a:gd name="connsiteY5" fmla="*/ 83077 h 110768"/>
                  <a:gd name="connsiteX6" fmla="*/ 52308 w 83076"/>
                  <a:gd name="connsiteY6" fmla="*/ 0 h 110768"/>
                  <a:gd name="connsiteX7" fmla="*/ 70769 w 83076"/>
                  <a:gd name="connsiteY7" fmla="*/ 15385 h 110768"/>
                  <a:gd name="connsiteX8" fmla="*/ 80000 w 83076"/>
                  <a:gd name="connsiteY8" fmla="*/ 15385 h 110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076" h="110768">
                    <a:moveTo>
                      <a:pt x="80000" y="15385"/>
                    </a:moveTo>
                    <a:lnTo>
                      <a:pt x="83077" y="110769"/>
                    </a:lnTo>
                    <a:cubicBezTo>
                      <a:pt x="76923" y="110769"/>
                      <a:pt x="73846" y="110769"/>
                      <a:pt x="67692" y="110769"/>
                    </a:cubicBezTo>
                    <a:lnTo>
                      <a:pt x="64615" y="30769"/>
                    </a:lnTo>
                    <a:lnTo>
                      <a:pt x="21538" y="98461"/>
                    </a:lnTo>
                    <a:cubicBezTo>
                      <a:pt x="12308" y="95384"/>
                      <a:pt x="6154" y="89231"/>
                      <a:pt x="0" y="83077"/>
                    </a:cubicBezTo>
                    <a:lnTo>
                      <a:pt x="52308" y="0"/>
                    </a:lnTo>
                    <a:cubicBezTo>
                      <a:pt x="52308" y="9231"/>
                      <a:pt x="61538" y="15385"/>
                      <a:pt x="70769" y="15385"/>
                    </a:cubicBezTo>
                    <a:cubicBezTo>
                      <a:pt x="73846" y="18461"/>
                      <a:pt x="80000" y="18461"/>
                      <a:pt x="80000" y="15385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3D8F6F81-1FED-4EE7-9E02-A790C86F6990}"/>
                  </a:ext>
                </a:extLst>
              </p:cNvPr>
              <p:cNvSpPr/>
              <p:nvPr/>
            </p:nvSpPr>
            <p:spPr>
              <a:xfrm>
                <a:off x="4208512" y="8704433"/>
                <a:ext cx="80000" cy="113846"/>
              </a:xfrm>
              <a:custGeom>
                <a:avLst/>
                <a:gdLst>
                  <a:gd name="connsiteX0" fmla="*/ 0 w 80000"/>
                  <a:gd name="connsiteY0" fmla="*/ 92308 h 113846"/>
                  <a:gd name="connsiteX1" fmla="*/ 0 w 80000"/>
                  <a:gd name="connsiteY1" fmla="*/ 92308 h 113846"/>
                  <a:gd name="connsiteX2" fmla="*/ 0 w 80000"/>
                  <a:gd name="connsiteY2" fmla="*/ 0 h 113846"/>
                  <a:gd name="connsiteX3" fmla="*/ 15385 w 80000"/>
                  <a:gd name="connsiteY3" fmla="*/ 0 h 113846"/>
                  <a:gd name="connsiteX4" fmla="*/ 12308 w 80000"/>
                  <a:gd name="connsiteY4" fmla="*/ 76923 h 113846"/>
                  <a:gd name="connsiteX5" fmla="*/ 61538 w 80000"/>
                  <a:gd name="connsiteY5" fmla="*/ 18462 h 113846"/>
                  <a:gd name="connsiteX6" fmla="*/ 80000 w 80000"/>
                  <a:gd name="connsiteY6" fmla="*/ 36923 h 113846"/>
                  <a:gd name="connsiteX7" fmla="*/ 15385 w 80000"/>
                  <a:gd name="connsiteY7" fmla="*/ 113846 h 113846"/>
                  <a:gd name="connsiteX8" fmla="*/ 15385 w 80000"/>
                  <a:gd name="connsiteY8" fmla="*/ 110769 h 113846"/>
                  <a:gd name="connsiteX9" fmla="*/ 0 w 80000"/>
                  <a:gd name="connsiteY9" fmla="*/ 92308 h 11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000" h="113846">
                    <a:moveTo>
                      <a:pt x="0" y="92308"/>
                    </a:moveTo>
                    <a:cubicBezTo>
                      <a:pt x="0" y="92308"/>
                      <a:pt x="0" y="92308"/>
                      <a:pt x="0" y="92308"/>
                    </a:cubicBezTo>
                    <a:lnTo>
                      <a:pt x="0" y="0"/>
                    </a:lnTo>
                    <a:cubicBezTo>
                      <a:pt x="6154" y="0"/>
                      <a:pt x="9231" y="0"/>
                      <a:pt x="15385" y="0"/>
                    </a:cubicBezTo>
                    <a:lnTo>
                      <a:pt x="12308" y="76923"/>
                    </a:lnTo>
                    <a:lnTo>
                      <a:pt x="61538" y="18462"/>
                    </a:lnTo>
                    <a:cubicBezTo>
                      <a:pt x="67692" y="24615"/>
                      <a:pt x="76923" y="27693"/>
                      <a:pt x="80000" y="36923"/>
                    </a:cubicBezTo>
                    <a:lnTo>
                      <a:pt x="15385" y="113846"/>
                    </a:lnTo>
                    <a:cubicBezTo>
                      <a:pt x="15385" y="113846"/>
                      <a:pt x="15385" y="110769"/>
                      <a:pt x="15385" y="110769"/>
                    </a:cubicBezTo>
                    <a:cubicBezTo>
                      <a:pt x="18462" y="101539"/>
                      <a:pt x="9231" y="92308"/>
                      <a:pt x="0" y="92308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F5F5D2F1-49D3-49C8-B53C-4CE7C8537E25}"/>
                  </a:ext>
                </a:extLst>
              </p:cNvPr>
              <p:cNvSpPr/>
              <p:nvPr/>
            </p:nvSpPr>
            <p:spPr>
              <a:xfrm>
                <a:off x="4220820" y="8821356"/>
                <a:ext cx="79999" cy="58461"/>
              </a:xfrm>
              <a:custGeom>
                <a:avLst/>
                <a:gdLst>
                  <a:gd name="connsiteX0" fmla="*/ 80000 w 79999"/>
                  <a:gd name="connsiteY0" fmla="*/ 52308 h 58461"/>
                  <a:gd name="connsiteX1" fmla="*/ 76923 w 79999"/>
                  <a:gd name="connsiteY1" fmla="*/ 58461 h 58461"/>
                  <a:gd name="connsiteX2" fmla="*/ 0 w 79999"/>
                  <a:gd name="connsiteY2" fmla="*/ 6154 h 58461"/>
                  <a:gd name="connsiteX3" fmla="*/ 3077 w 79999"/>
                  <a:gd name="connsiteY3" fmla="*/ 0 h 58461"/>
                  <a:gd name="connsiteX4" fmla="*/ 80000 w 79999"/>
                  <a:gd name="connsiteY4" fmla="*/ 52308 h 5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999" h="58461">
                    <a:moveTo>
                      <a:pt x="80000" y="52308"/>
                    </a:moveTo>
                    <a:cubicBezTo>
                      <a:pt x="80000" y="55385"/>
                      <a:pt x="76923" y="55385"/>
                      <a:pt x="76923" y="58461"/>
                    </a:cubicBezTo>
                    <a:lnTo>
                      <a:pt x="0" y="6154"/>
                    </a:lnTo>
                    <a:cubicBezTo>
                      <a:pt x="0" y="6154"/>
                      <a:pt x="3077" y="3077"/>
                      <a:pt x="3077" y="0"/>
                    </a:cubicBezTo>
                    <a:lnTo>
                      <a:pt x="80000" y="52308"/>
                    </a:ln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1" name="图形 1">
              <a:extLst>
                <a:ext uri="{FF2B5EF4-FFF2-40B4-BE49-F238E27FC236}">
                  <a16:creationId xmlns:a16="http://schemas.microsoft.com/office/drawing/2014/main" id="{DFCBAFC3-B5D3-470F-8288-1891F5D9A045}"/>
                </a:ext>
              </a:extLst>
            </p:cNvPr>
            <p:cNvGrpSpPr/>
            <p:nvPr/>
          </p:nvGrpSpPr>
          <p:grpSpPr>
            <a:xfrm>
              <a:off x="5305274" y="9598595"/>
              <a:ext cx="150598" cy="196866"/>
              <a:chOff x="5305274" y="9598595"/>
              <a:chExt cx="150598" cy="196866"/>
            </a:xfrm>
          </p:grpSpPr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50522B28-B55A-42E3-906C-062766AEA157}"/>
                  </a:ext>
                </a:extLst>
              </p:cNvPr>
              <p:cNvSpPr/>
              <p:nvPr/>
            </p:nvSpPr>
            <p:spPr>
              <a:xfrm>
                <a:off x="5316785" y="9598595"/>
                <a:ext cx="132511" cy="87442"/>
              </a:xfrm>
              <a:custGeom>
                <a:avLst/>
                <a:gdLst>
                  <a:gd name="connsiteX0" fmla="*/ 116343 w 132511"/>
                  <a:gd name="connsiteY0" fmla="*/ 1222 h 87442"/>
                  <a:gd name="connsiteX1" fmla="*/ 33266 w 132511"/>
                  <a:gd name="connsiteY1" fmla="*/ 25838 h 87442"/>
                  <a:gd name="connsiteX2" fmla="*/ 20958 w 132511"/>
                  <a:gd name="connsiteY2" fmla="*/ 28914 h 87442"/>
                  <a:gd name="connsiteX3" fmla="*/ 8650 w 132511"/>
                  <a:gd name="connsiteY3" fmla="*/ 38145 h 87442"/>
                  <a:gd name="connsiteX4" fmla="*/ 5574 w 132511"/>
                  <a:gd name="connsiteY4" fmla="*/ 81222 h 87442"/>
                  <a:gd name="connsiteX5" fmla="*/ 45573 w 132511"/>
                  <a:gd name="connsiteY5" fmla="*/ 81222 h 87442"/>
                  <a:gd name="connsiteX6" fmla="*/ 97881 w 132511"/>
                  <a:gd name="connsiteY6" fmla="*/ 59684 h 87442"/>
                  <a:gd name="connsiteX7" fmla="*/ 131727 w 132511"/>
                  <a:gd name="connsiteY7" fmla="*/ 31992 h 87442"/>
                  <a:gd name="connsiteX8" fmla="*/ 116343 w 132511"/>
                  <a:gd name="connsiteY8" fmla="*/ 1222 h 87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511" h="87442">
                    <a:moveTo>
                      <a:pt x="116343" y="1222"/>
                    </a:moveTo>
                    <a:cubicBezTo>
                      <a:pt x="91727" y="-4931"/>
                      <a:pt x="60958" y="13530"/>
                      <a:pt x="33266" y="25838"/>
                    </a:cubicBezTo>
                    <a:cubicBezTo>
                      <a:pt x="30189" y="25838"/>
                      <a:pt x="20958" y="28914"/>
                      <a:pt x="20958" y="28914"/>
                    </a:cubicBezTo>
                    <a:cubicBezTo>
                      <a:pt x="17881" y="31992"/>
                      <a:pt x="11727" y="35068"/>
                      <a:pt x="8650" y="38145"/>
                    </a:cubicBezTo>
                    <a:cubicBezTo>
                      <a:pt x="-580" y="50453"/>
                      <a:pt x="-3657" y="68915"/>
                      <a:pt x="5574" y="81222"/>
                    </a:cubicBezTo>
                    <a:cubicBezTo>
                      <a:pt x="14804" y="93530"/>
                      <a:pt x="33266" y="84299"/>
                      <a:pt x="45573" y="81222"/>
                    </a:cubicBezTo>
                    <a:cubicBezTo>
                      <a:pt x="64035" y="75068"/>
                      <a:pt x="82497" y="68915"/>
                      <a:pt x="97881" y="59684"/>
                    </a:cubicBezTo>
                    <a:cubicBezTo>
                      <a:pt x="110189" y="53530"/>
                      <a:pt x="125573" y="47376"/>
                      <a:pt x="131727" y="31992"/>
                    </a:cubicBezTo>
                    <a:cubicBezTo>
                      <a:pt x="134804" y="16607"/>
                      <a:pt x="128651" y="4299"/>
                      <a:pt x="116343" y="122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E6C28365-8E06-40F8-8639-D48294F747FA}"/>
                  </a:ext>
                </a:extLst>
              </p:cNvPr>
              <p:cNvSpPr/>
              <p:nvPr/>
            </p:nvSpPr>
            <p:spPr>
              <a:xfrm>
                <a:off x="5310631" y="9645694"/>
                <a:ext cx="133719" cy="89574"/>
              </a:xfrm>
              <a:custGeom>
                <a:avLst/>
                <a:gdLst>
                  <a:gd name="connsiteX0" fmla="*/ 119420 w 133719"/>
                  <a:gd name="connsiteY0" fmla="*/ 3354 h 89574"/>
                  <a:gd name="connsiteX1" fmla="*/ 27112 w 133719"/>
                  <a:gd name="connsiteY1" fmla="*/ 27970 h 89574"/>
                  <a:gd name="connsiteX2" fmla="*/ 20958 w 133719"/>
                  <a:gd name="connsiteY2" fmla="*/ 31047 h 89574"/>
                  <a:gd name="connsiteX3" fmla="*/ 8650 w 133719"/>
                  <a:gd name="connsiteY3" fmla="*/ 40278 h 89574"/>
                  <a:gd name="connsiteX4" fmla="*/ 5573 w 133719"/>
                  <a:gd name="connsiteY4" fmla="*/ 83354 h 89574"/>
                  <a:gd name="connsiteX5" fmla="*/ 45574 w 133719"/>
                  <a:gd name="connsiteY5" fmla="*/ 83354 h 89574"/>
                  <a:gd name="connsiteX6" fmla="*/ 97881 w 133719"/>
                  <a:gd name="connsiteY6" fmla="*/ 61816 h 89574"/>
                  <a:gd name="connsiteX7" fmla="*/ 131727 w 133719"/>
                  <a:gd name="connsiteY7" fmla="*/ 34124 h 89574"/>
                  <a:gd name="connsiteX8" fmla="*/ 119420 w 133719"/>
                  <a:gd name="connsiteY8" fmla="*/ 3354 h 89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3719" h="89574">
                    <a:moveTo>
                      <a:pt x="119420" y="3354"/>
                    </a:moveTo>
                    <a:cubicBezTo>
                      <a:pt x="88650" y="-8953"/>
                      <a:pt x="57881" y="15662"/>
                      <a:pt x="27112" y="27970"/>
                    </a:cubicBezTo>
                    <a:cubicBezTo>
                      <a:pt x="24035" y="27970"/>
                      <a:pt x="20958" y="31047"/>
                      <a:pt x="20958" y="31047"/>
                    </a:cubicBezTo>
                    <a:cubicBezTo>
                      <a:pt x="17881" y="34124"/>
                      <a:pt x="11727" y="37201"/>
                      <a:pt x="8650" y="40278"/>
                    </a:cubicBezTo>
                    <a:cubicBezTo>
                      <a:pt x="-580" y="52585"/>
                      <a:pt x="-3657" y="71047"/>
                      <a:pt x="5573" y="83354"/>
                    </a:cubicBezTo>
                    <a:cubicBezTo>
                      <a:pt x="14804" y="95662"/>
                      <a:pt x="33266" y="86432"/>
                      <a:pt x="45574" y="83354"/>
                    </a:cubicBezTo>
                    <a:cubicBezTo>
                      <a:pt x="64035" y="77201"/>
                      <a:pt x="82496" y="71047"/>
                      <a:pt x="97881" y="61816"/>
                    </a:cubicBezTo>
                    <a:cubicBezTo>
                      <a:pt x="110189" y="55662"/>
                      <a:pt x="125573" y="49508"/>
                      <a:pt x="131727" y="34124"/>
                    </a:cubicBezTo>
                    <a:cubicBezTo>
                      <a:pt x="137881" y="18739"/>
                      <a:pt x="128650" y="6431"/>
                      <a:pt x="119420" y="335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D77D6D79-B77A-41BD-B21B-E7F8B6206D1E}"/>
                  </a:ext>
                </a:extLst>
              </p:cNvPr>
              <p:cNvSpPr/>
              <p:nvPr/>
            </p:nvSpPr>
            <p:spPr>
              <a:xfrm>
                <a:off x="5330377" y="9688421"/>
                <a:ext cx="115858" cy="77616"/>
              </a:xfrm>
              <a:custGeom>
                <a:avLst/>
                <a:gdLst>
                  <a:gd name="connsiteX0" fmla="*/ 102750 w 115858"/>
                  <a:gd name="connsiteY0" fmla="*/ 3704 h 77616"/>
                  <a:gd name="connsiteX1" fmla="*/ 22750 w 115858"/>
                  <a:gd name="connsiteY1" fmla="*/ 22165 h 77616"/>
                  <a:gd name="connsiteX2" fmla="*/ 16597 w 115858"/>
                  <a:gd name="connsiteY2" fmla="*/ 25242 h 77616"/>
                  <a:gd name="connsiteX3" fmla="*/ 7366 w 115858"/>
                  <a:gd name="connsiteY3" fmla="*/ 34473 h 77616"/>
                  <a:gd name="connsiteX4" fmla="*/ 4289 w 115858"/>
                  <a:gd name="connsiteY4" fmla="*/ 71396 h 77616"/>
                  <a:gd name="connsiteX5" fmla="*/ 41212 w 115858"/>
                  <a:gd name="connsiteY5" fmla="*/ 71396 h 77616"/>
                  <a:gd name="connsiteX6" fmla="*/ 87366 w 115858"/>
                  <a:gd name="connsiteY6" fmla="*/ 52935 h 77616"/>
                  <a:gd name="connsiteX7" fmla="*/ 115058 w 115858"/>
                  <a:gd name="connsiteY7" fmla="*/ 31396 h 77616"/>
                  <a:gd name="connsiteX8" fmla="*/ 102750 w 115858"/>
                  <a:gd name="connsiteY8" fmla="*/ 3704 h 77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5858" h="77616">
                    <a:moveTo>
                      <a:pt x="102750" y="3704"/>
                    </a:moveTo>
                    <a:cubicBezTo>
                      <a:pt x="75058" y="-8604"/>
                      <a:pt x="47366" y="12935"/>
                      <a:pt x="22750" y="22165"/>
                    </a:cubicBezTo>
                    <a:cubicBezTo>
                      <a:pt x="19673" y="22165"/>
                      <a:pt x="19673" y="25242"/>
                      <a:pt x="16597" y="25242"/>
                    </a:cubicBezTo>
                    <a:cubicBezTo>
                      <a:pt x="13520" y="28320"/>
                      <a:pt x="10443" y="28320"/>
                      <a:pt x="7366" y="34473"/>
                    </a:cubicBezTo>
                    <a:cubicBezTo>
                      <a:pt x="-1865" y="43704"/>
                      <a:pt x="-1865" y="62165"/>
                      <a:pt x="4289" y="71396"/>
                    </a:cubicBezTo>
                    <a:cubicBezTo>
                      <a:pt x="13520" y="83704"/>
                      <a:pt x="28904" y="74473"/>
                      <a:pt x="41212" y="71396"/>
                    </a:cubicBezTo>
                    <a:cubicBezTo>
                      <a:pt x="56597" y="65243"/>
                      <a:pt x="71981" y="62165"/>
                      <a:pt x="87366" y="52935"/>
                    </a:cubicBezTo>
                    <a:cubicBezTo>
                      <a:pt x="96596" y="49858"/>
                      <a:pt x="111981" y="43704"/>
                      <a:pt x="115058" y="31396"/>
                    </a:cubicBezTo>
                    <a:cubicBezTo>
                      <a:pt x="118135" y="19089"/>
                      <a:pt x="111981" y="9858"/>
                      <a:pt x="102750" y="370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C7588046-9AB8-4FE7-8731-175ED9CFB1DB}"/>
                  </a:ext>
                </a:extLst>
              </p:cNvPr>
              <p:cNvSpPr/>
              <p:nvPr/>
            </p:nvSpPr>
            <p:spPr>
              <a:xfrm>
                <a:off x="5355927" y="9735433"/>
                <a:ext cx="86431" cy="60029"/>
              </a:xfrm>
              <a:custGeom>
                <a:avLst/>
                <a:gdLst>
                  <a:gd name="connsiteX0" fmla="*/ 74124 w 86431"/>
                  <a:gd name="connsiteY0" fmla="*/ 2846 h 60029"/>
                  <a:gd name="connsiteX1" fmla="*/ 15662 w 86431"/>
                  <a:gd name="connsiteY1" fmla="*/ 18231 h 60029"/>
                  <a:gd name="connsiteX2" fmla="*/ 12585 w 86431"/>
                  <a:gd name="connsiteY2" fmla="*/ 21308 h 60029"/>
                  <a:gd name="connsiteX3" fmla="*/ 6431 w 86431"/>
                  <a:gd name="connsiteY3" fmla="*/ 27462 h 60029"/>
                  <a:gd name="connsiteX4" fmla="*/ 3354 w 86431"/>
                  <a:gd name="connsiteY4" fmla="*/ 55154 h 60029"/>
                  <a:gd name="connsiteX5" fmla="*/ 31047 w 86431"/>
                  <a:gd name="connsiteY5" fmla="*/ 55154 h 60029"/>
                  <a:gd name="connsiteX6" fmla="*/ 64893 w 86431"/>
                  <a:gd name="connsiteY6" fmla="*/ 42846 h 60029"/>
                  <a:gd name="connsiteX7" fmla="*/ 86431 w 86431"/>
                  <a:gd name="connsiteY7" fmla="*/ 24385 h 60029"/>
                  <a:gd name="connsiteX8" fmla="*/ 74124 w 86431"/>
                  <a:gd name="connsiteY8" fmla="*/ 2846 h 60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431" h="60029">
                    <a:moveTo>
                      <a:pt x="74124" y="2846"/>
                    </a:moveTo>
                    <a:cubicBezTo>
                      <a:pt x="52585" y="-6385"/>
                      <a:pt x="34124" y="9000"/>
                      <a:pt x="15662" y="18231"/>
                    </a:cubicBezTo>
                    <a:cubicBezTo>
                      <a:pt x="12585" y="18231"/>
                      <a:pt x="12585" y="21308"/>
                      <a:pt x="12585" y="21308"/>
                    </a:cubicBezTo>
                    <a:cubicBezTo>
                      <a:pt x="9508" y="21308"/>
                      <a:pt x="6431" y="24385"/>
                      <a:pt x="6431" y="27462"/>
                    </a:cubicBezTo>
                    <a:cubicBezTo>
                      <a:pt x="277" y="33616"/>
                      <a:pt x="-2799" y="45923"/>
                      <a:pt x="3354" y="55154"/>
                    </a:cubicBezTo>
                    <a:cubicBezTo>
                      <a:pt x="9508" y="64385"/>
                      <a:pt x="21816" y="58231"/>
                      <a:pt x="31047" y="55154"/>
                    </a:cubicBezTo>
                    <a:cubicBezTo>
                      <a:pt x="43354" y="52077"/>
                      <a:pt x="55662" y="45923"/>
                      <a:pt x="64893" y="42846"/>
                    </a:cubicBezTo>
                    <a:cubicBezTo>
                      <a:pt x="71047" y="39769"/>
                      <a:pt x="83354" y="36692"/>
                      <a:pt x="86431" y="24385"/>
                    </a:cubicBezTo>
                    <a:cubicBezTo>
                      <a:pt x="86431" y="12077"/>
                      <a:pt x="80277" y="2846"/>
                      <a:pt x="74124" y="284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ED447E3C-9A21-485C-9A2C-255B4CD9EBC7}"/>
                  </a:ext>
                </a:extLst>
              </p:cNvPr>
              <p:cNvSpPr/>
              <p:nvPr/>
            </p:nvSpPr>
            <p:spPr>
              <a:xfrm>
                <a:off x="5305274" y="9602894"/>
                <a:ext cx="143393" cy="135384"/>
              </a:xfrm>
              <a:custGeom>
                <a:avLst/>
                <a:gdLst>
                  <a:gd name="connsiteX0" fmla="*/ 23238 w 143393"/>
                  <a:gd name="connsiteY0" fmla="*/ 135385 h 135384"/>
                  <a:gd name="connsiteX1" fmla="*/ 1699 w 143393"/>
                  <a:gd name="connsiteY1" fmla="*/ 120000 h 135384"/>
                  <a:gd name="connsiteX2" fmla="*/ 10930 w 143393"/>
                  <a:gd name="connsiteY2" fmla="*/ 76923 h 135384"/>
                  <a:gd name="connsiteX3" fmla="*/ 4776 w 143393"/>
                  <a:gd name="connsiteY3" fmla="*/ 67693 h 135384"/>
                  <a:gd name="connsiteX4" fmla="*/ 4776 w 143393"/>
                  <a:gd name="connsiteY4" fmla="*/ 49231 h 135384"/>
                  <a:gd name="connsiteX5" fmla="*/ 90930 w 143393"/>
                  <a:gd name="connsiteY5" fmla="*/ 0 h 135384"/>
                  <a:gd name="connsiteX6" fmla="*/ 97084 w 143393"/>
                  <a:gd name="connsiteY6" fmla="*/ 3077 h 135384"/>
                  <a:gd name="connsiteX7" fmla="*/ 94007 w 143393"/>
                  <a:gd name="connsiteY7" fmla="*/ 9231 h 135384"/>
                  <a:gd name="connsiteX8" fmla="*/ 14007 w 143393"/>
                  <a:gd name="connsiteY8" fmla="*/ 52308 h 135384"/>
                  <a:gd name="connsiteX9" fmla="*/ 14007 w 143393"/>
                  <a:gd name="connsiteY9" fmla="*/ 61538 h 135384"/>
                  <a:gd name="connsiteX10" fmla="*/ 23238 w 143393"/>
                  <a:gd name="connsiteY10" fmla="*/ 73846 h 135384"/>
                  <a:gd name="connsiteX11" fmla="*/ 121699 w 143393"/>
                  <a:gd name="connsiteY11" fmla="*/ 40000 h 135384"/>
                  <a:gd name="connsiteX12" fmla="*/ 134007 w 143393"/>
                  <a:gd name="connsiteY12" fmla="*/ 40000 h 135384"/>
                  <a:gd name="connsiteX13" fmla="*/ 143238 w 143393"/>
                  <a:gd name="connsiteY13" fmla="*/ 58462 h 135384"/>
                  <a:gd name="connsiteX14" fmla="*/ 66315 w 143393"/>
                  <a:gd name="connsiteY14" fmla="*/ 123077 h 135384"/>
                  <a:gd name="connsiteX15" fmla="*/ 23238 w 143393"/>
                  <a:gd name="connsiteY15" fmla="*/ 135385 h 135384"/>
                  <a:gd name="connsiteX16" fmla="*/ 20161 w 143393"/>
                  <a:gd name="connsiteY16" fmla="*/ 83077 h 135384"/>
                  <a:gd name="connsiteX17" fmla="*/ 14007 w 143393"/>
                  <a:gd name="connsiteY17" fmla="*/ 116923 h 135384"/>
                  <a:gd name="connsiteX18" fmla="*/ 63238 w 143393"/>
                  <a:gd name="connsiteY18" fmla="*/ 113847 h 135384"/>
                  <a:gd name="connsiteX19" fmla="*/ 134007 w 143393"/>
                  <a:gd name="connsiteY19" fmla="*/ 61538 h 135384"/>
                  <a:gd name="connsiteX20" fmla="*/ 130930 w 143393"/>
                  <a:gd name="connsiteY20" fmla="*/ 52308 h 135384"/>
                  <a:gd name="connsiteX21" fmla="*/ 127853 w 143393"/>
                  <a:gd name="connsiteY21" fmla="*/ 52308 h 135384"/>
                  <a:gd name="connsiteX22" fmla="*/ 20161 w 143393"/>
                  <a:gd name="connsiteY22" fmla="*/ 83077 h 135384"/>
                  <a:gd name="connsiteX23" fmla="*/ 20161 w 143393"/>
                  <a:gd name="connsiteY23" fmla="*/ 83077 h 13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43393" h="135384">
                    <a:moveTo>
                      <a:pt x="23238" y="135385"/>
                    </a:moveTo>
                    <a:cubicBezTo>
                      <a:pt x="14007" y="135385"/>
                      <a:pt x="4776" y="132308"/>
                      <a:pt x="1699" y="120000"/>
                    </a:cubicBezTo>
                    <a:cubicBezTo>
                      <a:pt x="-4455" y="101539"/>
                      <a:pt x="7853" y="80000"/>
                      <a:pt x="10930" y="76923"/>
                    </a:cubicBezTo>
                    <a:cubicBezTo>
                      <a:pt x="7853" y="73846"/>
                      <a:pt x="4776" y="67693"/>
                      <a:pt x="4776" y="67693"/>
                    </a:cubicBezTo>
                    <a:cubicBezTo>
                      <a:pt x="1699" y="61538"/>
                      <a:pt x="1699" y="55385"/>
                      <a:pt x="4776" y="49231"/>
                    </a:cubicBezTo>
                    <a:cubicBezTo>
                      <a:pt x="20161" y="21539"/>
                      <a:pt x="84776" y="3077"/>
                      <a:pt x="90930" y="0"/>
                    </a:cubicBezTo>
                    <a:cubicBezTo>
                      <a:pt x="94007" y="0"/>
                      <a:pt x="97084" y="0"/>
                      <a:pt x="97084" y="3077"/>
                    </a:cubicBezTo>
                    <a:cubicBezTo>
                      <a:pt x="97084" y="6154"/>
                      <a:pt x="97084" y="9231"/>
                      <a:pt x="94007" y="9231"/>
                    </a:cubicBezTo>
                    <a:cubicBezTo>
                      <a:pt x="75545" y="15385"/>
                      <a:pt x="23238" y="33846"/>
                      <a:pt x="14007" y="52308"/>
                    </a:cubicBezTo>
                    <a:cubicBezTo>
                      <a:pt x="10930" y="55385"/>
                      <a:pt x="10930" y="58462"/>
                      <a:pt x="14007" y="61538"/>
                    </a:cubicBezTo>
                    <a:cubicBezTo>
                      <a:pt x="17084" y="67693"/>
                      <a:pt x="17084" y="70769"/>
                      <a:pt x="23238" y="73846"/>
                    </a:cubicBezTo>
                    <a:cubicBezTo>
                      <a:pt x="38622" y="80000"/>
                      <a:pt x="69392" y="67693"/>
                      <a:pt x="121699" y="40000"/>
                    </a:cubicBezTo>
                    <a:cubicBezTo>
                      <a:pt x="121699" y="40000"/>
                      <a:pt x="127853" y="36923"/>
                      <a:pt x="134007" y="40000"/>
                    </a:cubicBezTo>
                    <a:cubicBezTo>
                      <a:pt x="140161" y="43077"/>
                      <a:pt x="143238" y="49231"/>
                      <a:pt x="143238" y="58462"/>
                    </a:cubicBezTo>
                    <a:cubicBezTo>
                      <a:pt x="146315" y="89231"/>
                      <a:pt x="103238" y="110769"/>
                      <a:pt x="66315" y="123077"/>
                    </a:cubicBezTo>
                    <a:cubicBezTo>
                      <a:pt x="50930" y="129231"/>
                      <a:pt x="35546" y="135385"/>
                      <a:pt x="23238" y="135385"/>
                    </a:cubicBezTo>
                    <a:close/>
                    <a:moveTo>
                      <a:pt x="20161" y="83077"/>
                    </a:moveTo>
                    <a:cubicBezTo>
                      <a:pt x="17084" y="89231"/>
                      <a:pt x="10930" y="107692"/>
                      <a:pt x="14007" y="116923"/>
                    </a:cubicBezTo>
                    <a:cubicBezTo>
                      <a:pt x="17084" y="126154"/>
                      <a:pt x="29392" y="126154"/>
                      <a:pt x="63238" y="113847"/>
                    </a:cubicBezTo>
                    <a:cubicBezTo>
                      <a:pt x="109392" y="98462"/>
                      <a:pt x="134007" y="76923"/>
                      <a:pt x="134007" y="61538"/>
                    </a:cubicBezTo>
                    <a:cubicBezTo>
                      <a:pt x="134007" y="55385"/>
                      <a:pt x="130930" y="52308"/>
                      <a:pt x="130930" y="52308"/>
                    </a:cubicBezTo>
                    <a:cubicBezTo>
                      <a:pt x="130930" y="52308"/>
                      <a:pt x="127853" y="52308"/>
                      <a:pt x="127853" y="52308"/>
                    </a:cubicBezTo>
                    <a:cubicBezTo>
                      <a:pt x="54007" y="89231"/>
                      <a:pt x="32469" y="89231"/>
                      <a:pt x="20161" y="83077"/>
                    </a:cubicBezTo>
                    <a:cubicBezTo>
                      <a:pt x="20161" y="83077"/>
                      <a:pt x="20161" y="83077"/>
                      <a:pt x="20161" y="8307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82EAE37F-5B70-40B7-92D2-91E863082C88}"/>
                  </a:ext>
                </a:extLst>
              </p:cNvPr>
              <p:cNvSpPr/>
              <p:nvPr/>
            </p:nvSpPr>
            <p:spPr>
              <a:xfrm>
                <a:off x="5320820" y="9687774"/>
                <a:ext cx="135053" cy="84351"/>
              </a:xfrm>
              <a:custGeom>
                <a:avLst/>
                <a:gdLst>
                  <a:gd name="connsiteX0" fmla="*/ 26154 w 135053"/>
                  <a:gd name="connsiteY0" fmla="*/ 84351 h 84351"/>
                  <a:gd name="connsiteX1" fmla="*/ 7692 w 135053"/>
                  <a:gd name="connsiteY1" fmla="*/ 78197 h 84351"/>
                  <a:gd name="connsiteX2" fmla="*/ 1539 w 135053"/>
                  <a:gd name="connsiteY2" fmla="*/ 44352 h 84351"/>
                  <a:gd name="connsiteX3" fmla="*/ 7692 w 135053"/>
                  <a:gd name="connsiteY3" fmla="*/ 38197 h 84351"/>
                  <a:gd name="connsiteX4" fmla="*/ 13846 w 135053"/>
                  <a:gd name="connsiteY4" fmla="*/ 44352 h 84351"/>
                  <a:gd name="connsiteX5" fmla="*/ 16923 w 135053"/>
                  <a:gd name="connsiteY5" fmla="*/ 65890 h 84351"/>
                  <a:gd name="connsiteX6" fmla="*/ 35385 w 135053"/>
                  <a:gd name="connsiteY6" fmla="*/ 68967 h 84351"/>
                  <a:gd name="connsiteX7" fmla="*/ 118461 w 135053"/>
                  <a:gd name="connsiteY7" fmla="*/ 32044 h 84351"/>
                  <a:gd name="connsiteX8" fmla="*/ 121538 w 135053"/>
                  <a:gd name="connsiteY8" fmla="*/ 22813 h 84351"/>
                  <a:gd name="connsiteX9" fmla="*/ 112308 w 135053"/>
                  <a:gd name="connsiteY9" fmla="*/ 10505 h 84351"/>
                  <a:gd name="connsiteX10" fmla="*/ 109231 w 135053"/>
                  <a:gd name="connsiteY10" fmla="*/ 4351 h 84351"/>
                  <a:gd name="connsiteX11" fmla="*/ 115385 w 135053"/>
                  <a:gd name="connsiteY11" fmla="*/ 1274 h 84351"/>
                  <a:gd name="connsiteX12" fmla="*/ 133846 w 135053"/>
                  <a:gd name="connsiteY12" fmla="*/ 22813 h 84351"/>
                  <a:gd name="connsiteX13" fmla="*/ 127692 w 135053"/>
                  <a:gd name="connsiteY13" fmla="*/ 44352 h 84351"/>
                  <a:gd name="connsiteX14" fmla="*/ 38462 w 135053"/>
                  <a:gd name="connsiteY14" fmla="*/ 84351 h 84351"/>
                  <a:gd name="connsiteX15" fmla="*/ 26154 w 135053"/>
                  <a:gd name="connsiteY15" fmla="*/ 84351 h 84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5053" h="84351">
                    <a:moveTo>
                      <a:pt x="26154" y="84351"/>
                    </a:moveTo>
                    <a:cubicBezTo>
                      <a:pt x="16923" y="84351"/>
                      <a:pt x="10769" y="81275"/>
                      <a:pt x="7692" y="78197"/>
                    </a:cubicBezTo>
                    <a:cubicBezTo>
                      <a:pt x="-4615" y="65890"/>
                      <a:pt x="1539" y="47428"/>
                      <a:pt x="1539" y="44352"/>
                    </a:cubicBezTo>
                    <a:cubicBezTo>
                      <a:pt x="1539" y="41274"/>
                      <a:pt x="4615" y="38197"/>
                      <a:pt x="7692" y="38197"/>
                    </a:cubicBezTo>
                    <a:cubicBezTo>
                      <a:pt x="10769" y="38197"/>
                      <a:pt x="13846" y="41274"/>
                      <a:pt x="13846" y="44352"/>
                    </a:cubicBezTo>
                    <a:cubicBezTo>
                      <a:pt x="13846" y="47428"/>
                      <a:pt x="10769" y="59736"/>
                      <a:pt x="16923" y="65890"/>
                    </a:cubicBezTo>
                    <a:cubicBezTo>
                      <a:pt x="20000" y="68967"/>
                      <a:pt x="26154" y="68967"/>
                      <a:pt x="35385" y="68967"/>
                    </a:cubicBezTo>
                    <a:cubicBezTo>
                      <a:pt x="72308" y="62813"/>
                      <a:pt x="109231" y="41274"/>
                      <a:pt x="118461" y="32044"/>
                    </a:cubicBezTo>
                    <a:cubicBezTo>
                      <a:pt x="121538" y="28967"/>
                      <a:pt x="121538" y="25890"/>
                      <a:pt x="121538" y="22813"/>
                    </a:cubicBezTo>
                    <a:cubicBezTo>
                      <a:pt x="118461" y="16659"/>
                      <a:pt x="115385" y="10505"/>
                      <a:pt x="112308" y="10505"/>
                    </a:cubicBezTo>
                    <a:cubicBezTo>
                      <a:pt x="109231" y="10505"/>
                      <a:pt x="106154" y="7428"/>
                      <a:pt x="109231" y="4351"/>
                    </a:cubicBezTo>
                    <a:cubicBezTo>
                      <a:pt x="109231" y="1274"/>
                      <a:pt x="112308" y="-1802"/>
                      <a:pt x="115385" y="1274"/>
                    </a:cubicBezTo>
                    <a:cubicBezTo>
                      <a:pt x="124615" y="4351"/>
                      <a:pt x="130769" y="13582"/>
                      <a:pt x="133846" y="22813"/>
                    </a:cubicBezTo>
                    <a:cubicBezTo>
                      <a:pt x="136923" y="32044"/>
                      <a:pt x="133846" y="38197"/>
                      <a:pt x="127692" y="44352"/>
                    </a:cubicBezTo>
                    <a:cubicBezTo>
                      <a:pt x="115385" y="53582"/>
                      <a:pt x="75384" y="78197"/>
                      <a:pt x="38462" y="84351"/>
                    </a:cubicBezTo>
                    <a:cubicBezTo>
                      <a:pt x="32308" y="84351"/>
                      <a:pt x="29231" y="84351"/>
                      <a:pt x="26154" y="8435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D383F469-CD7D-4FAA-ABBD-BED29ACAD86E}"/>
                </a:ext>
              </a:extLst>
            </p:cNvPr>
            <p:cNvSpPr/>
            <p:nvPr/>
          </p:nvSpPr>
          <p:spPr>
            <a:xfrm>
              <a:off x="5240637" y="9663637"/>
              <a:ext cx="135311" cy="115117"/>
            </a:xfrm>
            <a:custGeom>
              <a:avLst/>
              <a:gdLst>
                <a:gd name="connsiteX0" fmla="*/ 84798 w 135311"/>
                <a:gd name="connsiteY0" fmla="*/ 796 h 115117"/>
                <a:gd name="connsiteX1" fmla="*/ 1721 w 135311"/>
                <a:gd name="connsiteY1" fmla="*/ 50027 h 115117"/>
                <a:gd name="connsiteX2" fmla="*/ 26336 w 135311"/>
                <a:gd name="connsiteY2" fmla="*/ 114643 h 115117"/>
                <a:gd name="connsiteX3" fmla="*/ 54029 w 135311"/>
                <a:gd name="connsiteY3" fmla="*/ 68489 h 115117"/>
                <a:gd name="connsiteX4" fmla="*/ 109413 w 135311"/>
                <a:gd name="connsiteY4" fmla="*/ 53104 h 115117"/>
                <a:gd name="connsiteX5" fmla="*/ 134028 w 135311"/>
                <a:gd name="connsiteY5" fmla="*/ 56181 h 115117"/>
                <a:gd name="connsiteX6" fmla="*/ 84798 w 135311"/>
                <a:gd name="connsiteY6" fmla="*/ 796 h 1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311" h="115117">
                  <a:moveTo>
                    <a:pt x="84798" y="796"/>
                  </a:moveTo>
                  <a:cubicBezTo>
                    <a:pt x="54029" y="-5358"/>
                    <a:pt x="17105" y="25412"/>
                    <a:pt x="1721" y="50027"/>
                  </a:cubicBezTo>
                  <a:cubicBezTo>
                    <a:pt x="-7510" y="65412"/>
                    <a:pt x="23259" y="120796"/>
                    <a:pt x="26336" y="114643"/>
                  </a:cubicBezTo>
                  <a:cubicBezTo>
                    <a:pt x="32490" y="102335"/>
                    <a:pt x="44798" y="74643"/>
                    <a:pt x="54029" y="68489"/>
                  </a:cubicBezTo>
                  <a:cubicBezTo>
                    <a:pt x="69413" y="53104"/>
                    <a:pt x="87875" y="50027"/>
                    <a:pt x="109413" y="53104"/>
                  </a:cubicBezTo>
                  <a:cubicBezTo>
                    <a:pt x="115567" y="53104"/>
                    <a:pt x="130952" y="65412"/>
                    <a:pt x="134028" y="56181"/>
                  </a:cubicBezTo>
                  <a:cubicBezTo>
                    <a:pt x="143259" y="34642"/>
                    <a:pt x="100182" y="3873"/>
                    <a:pt x="84798" y="796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C31DA739-9790-41F3-BC53-3ABB075C561E}"/>
                </a:ext>
              </a:extLst>
            </p:cNvPr>
            <p:cNvSpPr/>
            <p:nvPr/>
          </p:nvSpPr>
          <p:spPr>
            <a:xfrm>
              <a:off x="5233897" y="9652737"/>
              <a:ext cx="146922" cy="125541"/>
            </a:xfrm>
            <a:custGeom>
              <a:avLst/>
              <a:gdLst>
                <a:gd name="connsiteX0" fmla="*/ 60769 w 146922"/>
                <a:gd name="connsiteY0" fmla="*/ 125542 h 125541"/>
                <a:gd name="connsiteX1" fmla="*/ 60769 w 146922"/>
                <a:gd name="connsiteY1" fmla="*/ 125542 h 125541"/>
                <a:gd name="connsiteX2" fmla="*/ 54615 w 146922"/>
                <a:gd name="connsiteY2" fmla="*/ 116311 h 125541"/>
                <a:gd name="connsiteX3" fmla="*/ 54615 w 146922"/>
                <a:gd name="connsiteY3" fmla="*/ 79388 h 125541"/>
                <a:gd name="connsiteX4" fmla="*/ 54615 w 146922"/>
                <a:gd name="connsiteY4" fmla="*/ 73234 h 125541"/>
                <a:gd name="connsiteX5" fmla="*/ 116154 w 146922"/>
                <a:gd name="connsiteY5" fmla="*/ 57849 h 125541"/>
                <a:gd name="connsiteX6" fmla="*/ 134615 w 146922"/>
                <a:gd name="connsiteY6" fmla="*/ 57849 h 125541"/>
                <a:gd name="connsiteX7" fmla="*/ 134615 w 146922"/>
                <a:gd name="connsiteY7" fmla="*/ 51695 h 125541"/>
                <a:gd name="connsiteX8" fmla="*/ 88462 w 146922"/>
                <a:gd name="connsiteY8" fmla="*/ 14772 h 125541"/>
                <a:gd name="connsiteX9" fmla="*/ 11539 w 146922"/>
                <a:gd name="connsiteY9" fmla="*/ 60926 h 125541"/>
                <a:gd name="connsiteX10" fmla="*/ 2308 w 146922"/>
                <a:gd name="connsiteY10" fmla="*/ 60926 h 125541"/>
                <a:gd name="connsiteX11" fmla="*/ 2308 w 146922"/>
                <a:gd name="connsiteY11" fmla="*/ 51695 h 125541"/>
                <a:gd name="connsiteX12" fmla="*/ 91538 w 146922"/>
                <a:gd name="connsiteY12" fmla="*/ 2465 h 125541"/>
                <a:gd name="connsiteX13" fmla="*/ 146923 w 146922"/>
                <a:gd name="connsiteY13" fmla="*/ 48619 h 125541"/>
                <a:gd name="connsiteX14" fmla="*/ 143846 w 146922"/>
                <a:gd name="connsiteY14" fmla="*/ 64003 h 125541"/>
                <a:gd name="connsiteX15" fmla="*/ 116154 w 146922"/>
                <a:gd name="connsiteY15" fmla="*/ 67080 h 125541"/>
                <a:gd name="connsiteX16" fmla="*/ 66923 w 146922"/>
                <a:gd name="connsiteY16" fmla="*/ 76311 h 125541"/>
                <a:gd name="connsiteX17" fmla="*/ 66923 w 146922"/>
                <a:gd name="connsiteY17" fmla="*/ 119388 h 125541"/>
                <a:gd name="connsiteX18" fmla="*/ 60769 w 146922"/>
                <a:gd name="connsiteY18" fmla="*/ 125542 h 125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6922" h="125541">
                  <a:moveTo>
                    <a:pt x="60769" y="125542"/>
                  </a:moveTo>
                  <a:cubicBezTo>
                    <a:pt x="60769" y="125542"/>
                    <a:pt x="60769" y="125542"/>
                    <a:pt x="60769" y="125542"/>
                  </a:cubicBezTo>
                  <a:cubicBezTo>
                    <a:pt x="54615" y="122465"/>
                    <a:pt x="54615" y="119388"/>
                    <a:pt x="54615" y="116311"/>
                  </a:cubicBezTo>
                  <a:cubicBezTo>
                    <a:pt x="60769" y="104003"/>
                    <a:pt x="57692" y="85542"/>
                    <a:pt x="54615" y="79388"/>
                  </a:cubicBezTo>
                  <a:cubicBezTo>
                    <a:pt x="54615" y="76311"/>
                    <a:pt x="54615" y="73234"/>
                    <a:pt x="54615" y="73234"/>
                  </a:cubicBezTo>
                  <a:cubicBezTo>
                    <a:pt x="76154" y="51695"/>
                    <a:pt x="100769" y="57849"/>
                    <a:pt x="116154" y="57849"/>
                  </a:cubicBezTo>
                  <a:cubicBezTo>
                    <a:pt x="122308" y="57849"/>
                    <a:pt x="131538" y="60926"/>
                    <a:pt x="134615" y="57849"/>
                  </a:cubicBezTo>
                  <a:cubicBezTo>
                    <a:pt x="134615" y="57849"/>
                    <a:pt x="137692" y="57849"/>
                    <a:pt x="134615" y="51695"/>
                  </a:cubicBezTo>
                  <a:cubicBezTo>
                    <a:pt x="131538" y="42465"/>
                    <a:pt x="113077" y="20926"/>
                    <a:pt x="88462" y="14772"/>
                  </a:cubicBezTo>
                  <a:cubicBezTo>
                    <a:pt x="60769" y="5542"/>
                    <a:pt x="23846" y="45542"/>
                    <a:pt x="11539" y="60926"/>
                  </a:cubicBezTo>
                  <a:cubicBezTo>
                    <a:pt x="8461" y="64003"/>
                    <a:pt x="5385" y="64003"/>
                    <a:pt x="2308" y="60926"/>
                  </a:cubicBezTo>
                  <a:cubicBezTo>
                    <a:pt x="-769" y="57849"/>
                    <a:pt x="-769" y="54773"/>
                    <a:pt x="2308" y="51695"/>
                  </a:cubicBezTo>
                  <a:cubicBezTo>
                    <a:pt x="5385" y="48619"/>
                    <a:pt x="51538" y="-12920"/>
                    <a:pt x="91538" y="2465"/>
                  </a:cubicBezTo>
                  <a:cubicBezTo>
                    <a:pt x="122308" y="11695"/>
                    <a:pt x="143846" y="33234"/>
                    <a:pt x="146923" y="48619"/>
                  </a:cubicBezTo>
                  <a:cubicBezTo>
                    <a:pt x="146923" y="54773"/>
                    <a:pt x="146923" y="60926"/>
                    <a:pt x="143846" y="64003"/>
                  </a:cubicBezTo>
                  <a:cubicBezTo>
                    <a:pt x="137692" y="70157"/>
                    <a:pt x="128461" y="67080"/>
                    <a:pt x="116154" y="67080"/>
                  </a:cubicBezTo>
                  <a:cubicBezTo>
                    <a:pt x="100769" y="64003"/>
                    <a:pt x="82308" y="60926"/>
                    <a:pt x="66923" y="76311"/>
                  </a:cubicBezTo>
                  <a:cubicBezTo>
                    <a:pt x="70000" y="85542"/>
                    <a:pt x="73077" y="107080"/>
                    <a:pt x="66923" y="119388"/>
                  </a:cubicBezTo>
                  <a:cubicBezTo>
                    <a:pt x="66923" y="125542"/>
                    <a:pt x="63846" y="125542"/>
                    <a:pt x="60769" y="125542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B0099D77-7551-4A5D-B7C0-6D4530474AF1}"/>
                </a:ext>
              </a:extLst>
            </p:cNvPr>
            <p:cNvSpPr/>
            <p:nvPr/>
          </p:nvSpPr>
          <p:spPr>
            <a:xfrm>
              <a:off x="3377583" y="9484501"/>
              <a:ext cx="519214" cy="1023008"/>
            </a:xfrm>
            <a:custGeom>
              <a:avLst/>
              <a:gdLst>
                <a:gd name="connsiteX0" fmla="*/ 347852 w 519214"/>
                <a:gd name="connsiteY0" fmla="*/ 4547 h 1023008"/>
                <a:gd name="connsiteX1" fmla="*/ 470929 w 519214"/>
                <a:gd name="connsiteY1" fmla="*/ 229163 h 1023008"/>
                <a:gd name="connsiteX2" fmla="*/ 218622 w 519214"/>
                <a:gd name="connsiteY2" fmla="*/ 576855 h 1023008"/>
                <a:gd name="connsiteX3" fmla="*/ 501699 w 519214"/>
                <a:gd name="connsiteY3" fmla="*/ 930701 h 1023008"/>
                <a:gd name="connsiteX4" fmla="*/ 418622 w 519214"/>
                <a:gd name="connsiteY4" fmla="*/ 1023009 h 1023008"/>
                <a:gd name="connsiteX5" fmla="*/ 160 w 519214"/>
                <a:gd name="connsiteY5" fmla="*/ 558394 h 1023008"/>
                <a:gd name="connsiteX6" fmla="*/ 347852 w 519214"/>
                <a:gd name="connsiteY6" fmla="*/ 4547 h 102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9214" h="1023008">
                  <a:moveTo>
                    <a:pt x="347852" y="4547"/>
                  </a:moveTo>
                  <a:cubicBezTo>
                    <a:pt x="529391" y="-29299"/>
                    <a:pt x="560160" y="133778"/>
                    <a:pt x="470929" y="229163"/>
                  </a:cubicBezTo>
                  <a:cubicBezTo>
                    <a:pt x="381698" y="324548"/>
                    <a:pt x="221698" y="543009"/>
                    <a:pt x="218622" y="576855"/>
                  </a:cubicBezTo>
                  <a:cubicBezTo>
                    <a:pt x="249391" y="629163"/>
                    <a:pt x="501699" y="930701"/>
                    <a:pt x="501699" y="930701"/>
                  </a:cubicBezTo>
                  <a:cubicBezTo>
                    <a:pt x="470929" y="939932"/>
                    <a:pt x="418622" y="1023009"/>
                    <a:pt x="418622" y="1023009"/>
                  </a:cubicBezTo>
                  <a:cubicBezTo>
                    <a:pt x="418622" y="1023009"/>
                    <a:pt x="9391" y="693778"/>
                    <a:pt x="160" y="558394"/>
                  </a:cubicBezTo>
                  <a:cubicBezTo>
                    <a:pt x="-5994" y="487624"/>
                    <a:pt x="166314" y="38394"/>
                    <a:pt x="347852" y="4547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5" name="图形 1">
              <a:extLst>
                <a:ext uri="{FF2B5EF4-FFF2-40B4-BE49-F238E27FC236}">
                  <a16:creationId xmlns:a16="http://schemas.microsoft.com/office/drawing/2014/main" id="{D738683A-CFE9-40B1-8EA0-A9408C6BCE09}"/>
                </a:ext>
              </a:extLst>
            </p:cNvPr>
            <p:cNvGrpSpPr/>
            <p:nvPr/>
          </p:nvGrpSpPr>
          <p:grpSpPr>
            <a:xfrm>
              <a:off x="3777399" y="10402634"/>
              <a:ext cx="268612" cy="272183"/>
              <a:chOff x="3777399" y="10402634"/>
              <a:chExt cx="268612" cy="272183"/>
            </a:xfrm>
          </p:grpSpPr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F9B79F1A-39F3-4DA7-9DAA-FC35DA2678CC}"/>
                  </a:ext>
                </a:extLst>
              </p:cNvPr>
              <p:cNvSpPr/>
              <p:nvPr/>
            </p:nvSpPr>
            <p:spPr>
              <a:xfrm>
                <a:off x="3873127" y="10415202"/>
                <a:ext cx="140906" cy="137711"/>
              </a:xfrm>
              <a:custGeom>
                <a:avLst/>
                <a:gdLst>
                  <a:gd name="connsiteX0" fmla="*/ 0 w 140906"/>
                  <a:gd name="connsiteY0" fmla="*/ 0 h 137711"/>
                  <a:gd name="connsiteX1" fmla="*/ 89231 w 140906"/>
                  <a:gd name="connsiteY1" fmla="*/ 27693 h 137711"/>
                  <a:gd name="connsiteX2" fmla="*/ 138462 w 140906"/>
                  <a:gd name="connsiteY2" fmla="*/ 126154 h 137711"/>
                  <a:gd name="connsiteX3" fmla="*/ 107692 w 140906"/>
                  <a:gd name="connsiteY3" fmla="*/ 123077 h 137711"/>
                  <a:gd name="connsiteX4" fmla="*/ 0 w 140906"/>
                  <a:gd name="connsiteY4" fmla="*/ 0 h 137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906" h="137711">
                    <a:moveTo>
                      <a:pt x="0" y="0"/>
                    </a:moveTo>
                    <a:cubicBezTo>
                      <a:pt x="0" y="0"/>
                      <a:pt x="64615" y="3077"/>
                      <a:pt x="89231" y="27693"/>
                    </a:cubicBezTo>
                    <a:cubicBezTo>
                      <a:pt x="113846" y="52308"/>
                      <a:pt x="150769" y="98462"/>
                      <a:pt x="138462" y="126154"/>
                    </a:cubicBezTo>
                    <a:cubicBezTo>
                      <a:pt x="129231" y="153846"/>
                      <a:pt x="107692" y="123077"/>
                      <a:pt x="107692" y="12307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9CDBC3BE-3534-40E2-859C-958CA6E33790}"/>
                  </a:ext>
                </a:extLst>
              </p:cNvPr>
              <p:cNvSpPr/>
              <p:nvPr/>
            </p:nvSpPr>
            <p:spPr>
              <a:xfrm>
                <a:off x="3777399" y="10402634"/>
                <a:ext cx="259738" cy="272183"/>
              </a:xfrm>
              <a:custGeom>
                <a:avLst/>
                <a:gdLst>
                  <a:gd name="connsiteX0" fmla="*/ 343 w 259738"/>
                  <a:gd name="connsiteY0" fmla="*/ 89491 h 272183"/>
                  <a:gd name="connsiteX1" fmla="*/ 55728 w 259738"/>
                  <a:gd name="connsiteY1" fmla="*/ 163338 h 272183"/>
                  <a:gd name="connsiteX2" fmla="*/ 89574 w 259738"/>
                  <a:gd name="connsiteY2" fmla="*/ 218722 h 272183"/>
                  <a:gd name="connsiteX3" fmla="*/ 120343 w 259738"/>
                  <a:gd name="connsiteY3" fmla="*/ 249491 h 272183"/>
                  <a:gd name="connsiteX4" fmla="*/ 117266 w 259738"/>
                  <a:gd name="connsiteY4" fmla="*/ 197183 h 272183"/>
                  <a:gd name="connsiteX5" fmla="*/ 144959 w 259738"/>
                  <a:gd name="connsiteY5" fmla="*/ 234107 h 272183"/>
                  <a:gd name="connsiteX6" fmla="*/ 194189 w 259738"/>
                  <a:gd name="connsiteY6" fmla="*/ 271030 h 272183"/>
                  <a:gd name="connsiteX7" fmla="*/ 203420 w 259738"/>
                  <a:gd name="connsiteY7" fmla="*/ 261799 h 272183"/>
                  <a:gd name="connsiteX8" fmla="*/ 228036 w 259738"/>
                  <a:gd name="connsiteY8" fmla="*/ 271030 h 272183"/>
                  <a:gd name="connsiteX9" fmla="*/ 228036 w 259738"/>
                  <a:gd name="connsiteY9" fmla="*/ 215645 h 272183"/>
                  <a:gd name="connsiteX10" fmla="*/ 206497 w 259738"/>
                  <a:gd name="connsiteY10" fmla="*/ 169491 h 272183"/>
                  <a:gd name="connsiteX11" fmla="*/ 234189 w 259738"/>
                  <a:gd name="connsiteY11" fmla="*/ 194107 h 272183"/>
                  <a:gd name="connsiteX12" fmla="*/ 252651 w 259738"/>
                  <a:gd name="connsiteY12" fmla="*/ 197183 h 272183"/>
                  <a:gd name="connsiteX13" fmla="*/ 234189 w 259738"/>
                  <a:gd name="connsiteY13" fmla="*/ 138722 h 272183"/>
                  <a:gd name="connsiteX14" fmla="*/ 89574 w 259738"/>
                  <a:gd name="connsiteY14" fmla="*/ 260 h 272183"/>
                  <a:gd name="connsiteX15" fmla="*/ 21882 w 259738"/>
                  <a:gd name="connsiteY15" fmla="*/ 52568 h 272183"/>
                  <a:gd name="connsiteX16" fmla="*/ 343 w 259738"/>
                  <a:gd name="connsiteY16" fmla="*/ 89491 h 272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9738" h="272183">
                    <a:moveTo>
                      <a:pt x="343" y="89491"/>
                    </a:moveTo>
                    <a:cubicBezTo>
                      <a:pt x="9574" y="123337"/>
                      <a:pt x="40343" y="141799"/>
                      <a:pt x="55728" y="163338"/>
                    </a:cubicBezTo>
                    <a:cubicBezTo>
                      <a:pt x="71112" y="184876"/>
                      <a:pt x="74189" y="197183"/>
                      <a:pt x="89574" y="218722"/>
                    </a:cubicBezTo>
                    <a:cubicBezTo>
                      <a:pt x="95728" y="227952"/>
                      <a:pt x="108035" y="252568"/>
                      <a:pt x="120343" y="249491"/>
                    </a:cubicBezTo>
                    <a:cubicBezTo>
                      <a:pt x="138805" y="249491"/>
                      <a:pt x="129574" y="218722"/>
                      <a:pt x="117266" y="197183"/>
                    </a:cubicBezTo>
                    <a:cubicBezTo>
                      <a:pt x="126497" y="209492"/>
                      <a:pt x="135728" y="221799"/>
                      <a:pt x="144959" y="234107"/>
                    </a:cubicBezTo>
                    <a:cubicBezTo>
                      <a:pt x="154189" y="246414"/>
                      <a:pt x="175728" y="274106"/>
                      <a:pt x="194189" y="271030"/>
                    </a:cubicBezTo>
                    <a:cubicBezTo>
                      <a:pt x="200343" y="271030"/>
                      <a:pt x="203420" y="267953"/>
                      <a:pt x="203420" y="261799"/>
                    </a:cubicBezTo>
                    <a:cubicBezTo>
                      <a:pt x="212651" y="271030"/>
                      <a:pt x="221882" y="274106"/>
                      <a:pt x="228036" y="271030"/>
                    </a:cubicBezTo>
                    <a:cubicBezTo>
                      <a:pt x="240343" y="258722"/>
                      <a:pt x="231112" y="231029"/>
                      <a:pt x="228036" y="215645"/>
                    </a:cubicBezTo>
                    <a:cubicBezTo>
                      <a:pt x="221882" y="200260"/>
                      <a:pt x="215728" y="184876"/>
                      <a:pt x="206497" y="169491"/>
                    </a:cubicBezTo>
                    <a:cubicBezTo>
                      <a:pt x="215728" y="178722"/>
                      <a:pt x="224959" y="184876"/>
                      <a:pt x="234189" y="194107"/>
                    </a:cubicBezTo>
                    <a:cubicBezTo>
                      <a:pt x="240343" y="197183"/>
                      <a:pt x="243420" y="200260"/>
                      <a:pt x="252651" y="197183"/>
                    </a:cubicBezTo>
                    <a:cubicBezTo>
                      <a:pt x="274189" y="184876"/>
                      <a:pt x="240343" y="147953"/>
                      <a:pt x="234189" y="138722"/>
                    </a:cubicBezTo>
                    <a:cubicBezTo>
                      <a:pt x="191112" y="83338"/>
                      <a:pt x="141882" y="49491"/>
                      <a:pt x="89574" y="260"/>
                    </a:cubicBezTo>
                    <a:cubicBezTo>
                      <a:pt x="89574" y="-2817"/>
                      <a:pt x="40343" y="21799"/>
                      <a:pt x="21882" y="52568"/>
                    </a:cubicBezTo>
                    <a:cubicBezTo>
                      <a:pt x="15728" y="71030"/>
                      <a:pt x="-2734" y="71030"/>
                      <a:pt x="343" y="89491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913E4FD8-E3F2-4E22-A311-CEB01574D6B8}"/>
                  </a:ext>
                </a:extLst>
              </p:cNvPr>
              <p:cNvSpPr/>
              <p:nvPr/>
            </p:nvSpPr>
            <p:spPr>
              <a:xfrm>
                <a:off x="3910820" y="10545202"/>
                <a:ext cx="79230" cy="125384"/>
              </a:xfrm>
              <a:custGeom>
                <a:avLst/>
                <a:gdLst>
                  <a:gd name="connsiteX0" fmla="*/ 73077 w 79230"/>
                  <a:gd name="connsiteY0" fmla="*/ 125385 h 125384"/>
                  <a:gd name="connsiteX1" fmla="*/ 66923 w 79230"/>
                  <a:gd name="connsiteY1" fmla="*/ 122308 h 125384"/>
                  <a:gd name="connsiteX2" fmla="*/ 2308 w 79230"/>
                  <a:gd name="connsiteY2" fmla="*/ 11538 h 125384"/>
                  <a:gd name="connsiteX3" fmla="*/ 2308 w 79230"/>
                  <a:gd name="connsiteY3" fmla="*/ 2308 h 125384"/>
                  <a:gd name="connsiteX4" fmla="*/ 11538 w 79230"/>
                  <a:gd name="connsiteY4" fmla="*/ 2308 h 125384"/>
                  <a:gd name="connsiteX5" fmla="*/ 79231 w 79230"/>
                  <a:gd name="connsiteY5" fmla="*/ 119231 h 125384"/>
                  <a:gd name="connsiteX6" fmla="*/ 73077 w 79230"/>
                  <a:gd name="connsiteY6" fmla="*/ 125385 h 125384"/>
                  <a:gd name="connsiteX7" fmla="*/ 73077 w 79230"/>
                  <a:gd name="connsiteY7" fmla="*/ 125385 h 12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230" h="125384">
                    <a:moveTo>
                      <a:pt x="73077" y="125385"/>
                    </a:moveTo>
                    <a:cubicBezTo>
                      <a:pt x="70000" y="125385"/>
                      <a:pt x="70000" y="125385"/>
                      <a:pt x="66923" y="122308"/>
                    </a:cubicBezTo>
                    <a:cubicBezTo>
                      <a:pt x="54615" y="94616"/>
                      <a:pt x="20769" y="23846"/>
                      <a:pt x="2308" y="11538"/>
                    </a:cubicBezTo>
                    <a:cubicBezTo>
                      <a:pt x="-769" y="8461"/>
                      <a:pt x="-769" y="5385"/>
                      <a:pt x="2308" y="2308"/>
                    </a:cubicBezTo>
                    <a:cubicBezTo>
                      <a:pt x="5385" y="-769"/>
                      <a:pt x="8462" y="-769"/>
                      <a:pt x="11538" y="2308"/>
                    </a:cubicBezTo>
                    <a:cubicBezTo>
                      <a:pt x="36154" y="20770"/>
                      <a:pt x="76154" y="113077"/>
                      <a:pt x="79231" y="119231"/>
                    </a:cubicBezTo>
                    <a:cubicBezTo>
                      <a:pt x="79231" y="119231"/>
                      <a:pt x="79231" y="125385"/>
                      <a:pt x="73077" y="125385"/>
                    </a:cubicBezTo>
                    <a:cubicBezTo>
                      <a:pt x="76154" y="125385"/>
                      <a:pt x="76154" y="125385"/>
                      <a:pt x="73077" y="12538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DE22D88E-0AC3-4654-8486-AAD597D54E7C}"/>
                  </a:ext>
                </a:extLst>
              </p:cNvPr>
              <p:cNvSpPr/>
              <p:nvPr/>
            </p:nvSpPr>
            <p:spPr>
              <a:xfrm>
                <a:off x="3862529" y="10560587"/>
                <a:ext cx="39658" cy="48461"/>
              </a:xfrm>
              <a:custGeom>
                <a:avLst/>
                <a:gdLst>
                  <a:gd name="connsiteX0" fmla="*/ 35214 w 39658"/>
                  <a:gd name="connsiteY0" fmla="*/ 48462 h 48461"/>
                  <a:gd name="connsiteX1" fmla="*/ 29060 w 39658"/>
                  <a:gd name="connsiteY1" fmla="*/ 45385 h 48461"/>
                  <a:gd name="connsiteX2" fmla="*/ 1368 w 39658"/>
                  <a:gd name="connsiteY2" fmla="*/ 11538 h 48461"/>
                  <a:gd name="connsiteX3" fmla="*/ 1368 w 39658"/>
                  <a:gd name="connsiteY3" fmla="*/ 2308 h 48461"/>
                  <a:gd name="connsiteX4" fmla="*/ 10598 w 39658"/>
                  <a:gd name="connsiteY4" fmla="*/ 2308 h 48461"/>
                  <a:gd name="connsiteX5" fmla="*/ 38291 w 39658"/>
                  <a:gd name="connsiteY5" fmla="*/ 36154 h 48461"/>
                  <a:gd name="connsiteX6" fmla="*/ 38291 w 39658"/>
                  <a:gd name="connsiteY6" fmla="*/ 45385 h 48461"/>
                  <a:gd name="connsiteX7" fmla="*/ 35214 w 39658"/>
                  <a:gd name="connsiteY7" fmla="*/ 48462 h 4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658" h="48461">
                    <a:moveTo>
                      <a:pt x="35214" y="48462"/>
                    </a:moveTo>
                    <a:cubicBezTo>
                      <a:pt x="32137" y="48462"/>
                      <a:pt x="32137" y="48462"/>
                      <a:pt x="29060" y="45385"/>
                    </a:cubicBezTo>
                    <a:lnTo>
                      <a:pt x="1368" y="11538"/>
                    </a:lnTo>
                    <a:cubicBezTo>
                      <a:pt x="-1709" y="8461"/>
                      <a:pt x="1368" y="5385"/>
                      <a:pt x="1368" y="2308"/>
                    </a:cubicBezTo>
                    <a:cubicBezTo>
                      <a:pt x="4444" y="-769"/>
                      <a:pt x="7521" y="-769"/>
                      <a:pt x="10598" y="2308"/>
                    </a:cubicBezTo>
                    <a:lnTo>
                      <a:pt x="38291" y="36154"/>
                    </a:lnTo>
                    <a:cubicBezTo>
                      <a:pt x="41368" y="39230"/>
                      <a:pt x="38291" y="42307"/>
                      <a:pt x="38291" y="45385"/>
                    </a:cubicBezTo>
                    <a:cubicBezTo>
                      <a:pt x="38291" y="48462"/>
                      <a:pt x="35214" y="48462"/>
                      <a:pt x="35214" y="4846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BF9EE69F-279A-414A-971C-D685A76B0C8F}"/>
                  </a:ext>
                </a:extLst>
              </p:cNvPr>
              <p:cNvSpPr/>
              <p:nvPr/>
            </p:nvSpPr>
            <p:spPr>
              <a:xfrm>
                <a:off x="3842358" y="10479817"/>
                <a:ext cx="73846" cy="61538"/>
              </a:xfrm>
              <a:custGeom>
                <a:avLst/>
                <a:gdLst>
                  <a:gd name="connsiteX0" fmla="*/ 6154 w 73846"/>
                  <a:gd name="connsiteY0" fmla="*/ 61538 h 61538"/>
                  <a:gd name="connsiteX1" fmla="*/ 0 w 73846"/>
                  <a:gd name="connsiteY1" fmla="*/ 58461 h 61538"/>
                  <a:gd name="connsiteX2" fmla="*/ 3077 w 73846"/>
                  <a:gd name="connsiteY2" fmla="*/ 52308 h 61538"/>
                  <a:gd name="connsiteX3" fmla="*/ 61538 w 73846"/>
                  <a:gd name="connsiteY3" fmla="*/ 3077 h 61538"/>
                  <a:gd name="connsiteX4" fmla="*/ 70769 w 73846"/>
                  <a:gd name="connsiteY4" fmla="*/ 0 h 61538"/>
                  <a:gd name="connsiteX5" fmla="*/ 73846 w 73846"/>
                  <a:gd name="connsiteY5" fmla="*/ 9231 h 61538"/>
                  <a:gd name="connsiteX6" fmla="*/ 6154 w 73846"/>
                  <a:gd name="connsiteY6" fmla="*/ 61538 h 61538"/>
                  <a:gd name="connsiteX7" fmla="*/ 6154 w 73846"/>
                  <a:gd name="connsiteY7" fmla="*/ 61538 h 6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846" h="61538">
                    <a:moveTo>
                      <a:pt x="6154" y="61538"/>
                    </a:moveTo>
                    <a:cubicBezTo>
                      <a:pt x="3077" y="61538"/>
                      <a:pt x="0" y="58461"/>
                      <a:pt x="0" y="58461"/>
                    </a:cubicBezTo>
                    <a:cubicBezTo>
                      <a:pt x="0" y="55385"/>
                      <a:pt x="0" y="52308"/>
                      <a:pt x="3077" y="52308"/>
                    </a:cubicBezTo>
                    <a:cubicBezTo>
                      <a:pt x="43077" y="40001"/>
                      <a:pt x="61538" y="3077"/>
                      <a:pt x="61538" y="3077"/>
                    </a:cubicBezTo>
                    <a:cubicBezTo>
                      <a:pt x="61538" y="0"/>
                      <a:pt x="67692" y="0"/>
                      <a:pt x="70769" y="0"/>
                    </a:cubicBezTo>
                    <a:cubicBezTo>
                      <a:pt x="73846" y="0"/>
                      <a:pt x="73846" y="6154"/>
                      <a:pt x="73846" y="9231"/>
                    </a:cubicBezTo>
                    <a:cubicBezTo>
                      <a:pt x="73846" y="9231"/>
                      <a:pt x="52308" y="49231"/>
                      <a:pt x="6154" y="61538"/>
                    </a:cubicBezTo>
                    <a:cubicBezTo>
                      <a:pt x="6154" y="61538"/>
                      <a:pt x="6154" y="61538"/>
                      <a:pt x="6154" y="6153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7B7A83BD-419F-4CF1-86A9-AB78C88E05D0}"/>
                  </a:ext>
                </a:extLst>
              </p:cNvPr>
              <p:cNvSpPr/>
              <p:nvPr/>
            </p:nvSpPr>
            <p:spPr>
              <a:xfrm>
                <a:off x="3904666" y="10434433"/>
                <a:ext cx="141346" cy="174615"/>
              </a:xfrm>
              <a:custGeom>
                <a:avLst/>
                <a:gdLst>
                  <a:gd name="connsiteX0" fmla="*/ 125385 w 141346"/>
                  <a:gd name="connsiteY0" fmla="*/ 174616 h 174615"/>
                  <a:gd name="connsiteX1" fmla="*/ 79231 w 141346"/>
                  <a:gd name="connsiteY1" fmla="*/ 143846 h 174615"/>
                  <a:gd name="connsiteX2" fmla="*/ 79231 w 141346"/>
                  <a:gd name="connsiteY2" fmla="*/ 140769 h 174615"/>
                  <a:gd name="connsiteX3" fmla="*/ 36154 w 141346"/>
                  <a:gd name="connsiteY3" fmla="*/ 88461 h 174615"/>
                  <a:gd name="connsiteX4" fmla="*/ 36154 w 141346"/>
                  <a:gd name="connsiteY4" fmla="*/ 79231 h 174615"/>
                  <a:gd name="connsiteX5" fmla="*/ 45385 w 141346"/>
                  <a:gd name="connsiteY5" fmla="*/ 79231 h 174615"/>
                  <a:gd name="connsiteX6" fmla="*/ 88461 w 141346"/>
                  <a:gd name="connsiteY6" fmla="*/ 137692 h 174615"/>
                  <a:gd name="connsiteX7" fmla="*/ 128462 w 141346"/>
                  <a:gd name="connsiteY7" fmla="*/ 162308 h 174615"/>
                  <a:gd name="connsiteX8" fmla="*/ 2308 w 141346"/>
                  <a:gd name="connsiteY8" fmla="*/ 11538 h 174615"/>
                  <a:gd name="connsiteX9" fmla="*/ 2308 w 141346"/>
                  <a:gd name="connsiteY9" fmla="*/ 2308 h 174615"/>
                  <a:gd name="connsiteX10" fmla="*/ 11538 w 141346"/>
                  <a:gd name="connsiteY10" fmla="*/ 2308 h 174615"/>
                  <a:gd name="connsiteX11" fmla="*/ 140769 w 141346"/>
                  <a:gd name="connsiteY11" fmla="*/ 165384 h 174615"/>
                  <a:gd name="connsiteX12" fmla="*/ 131538 w 141346"/>
                  <a:gd name="connsiteY12" fmla="*/ 174616 h 174615"/>
                  <a:gd name="connsiteX13" fmla="*/ 125385 w 141346"/>
                  <a:gd name="connsiteY13" fmla="*/ 174616 h 17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1346" h="174615">
                    <a:moveTo>
                      <a:pt x="125385" y="174616"/>
                    </a:moveTo>
                    <a:cubicBezTo>
                      <a:pt x="103846" y="174616"/>
                      <a:pt x="82308" y="146924"/>
                      <a:pt x="79231" y="143846"/>
                    </a:cubicBezTo>
                    <a:cubicBezTo>
                      <a:pt x="79231" y="143846"/>
                      <a:pt x="79231" y="140769"/>
                      <a:pt x="79231" y="140769"/>
                    </a:cubicBezTo>
                    <a:cubicBezTo>
                      <a:pt x="76154" y="134615"/>
                      <a:pt x="54615" y="103846"/>
                      <a:pt x="36154" y="88461"/>
                    </a:cubicBezTo>
                    <a:cubicBezTo>
                      <a:pt x="33077" y="85385"/>
                      <a:pt x="33077" y="82308"/>
                      <a:pt x="36154" y="79231"/>
                    </a:cubicBezTo>
                    <a:cubicBezTo>
                      <a:pt x="39231" y="76154"/>
                      <a:pt x="42308" y="76154"/>
                      <a:pt x="45385" y="79231"/>
                    </a:cubicBezTo>
                    <a:cubicBezTo>
                      <a:pt x="48462" y="82308"/>
                      <a:pt x="82308" y="119231"/>
                      <a:pt x="88461" y="137692"/>
                    </a:cubicBezTo>
                    <a:cubicBezTo>
                      <a:pt x="97692" y="150000"/>
                      <a:pt x="116154" y="165384"/>
                      <a:pt x="128462" y="162308"/>
                    </a:cubicBezTo>
                    <a:cubicBezTo>
                      <a:pt x="134615" y="156154"/>
                      <a:pt x="103846" y="94616"/>
                      <a:pt x="2308" y="11538"/>
                    </a:cubicBezTo>
                    <a:cubicBezTo>
                      <a:pt x="-769" y="8462"/>
                      <a:pt x="-769" y="5385"/>
                      <a:pt x="2308" y="2308"/>
                    </a:cubicBezTo>
                    <a:cubicBezTo>
                      <a:pt x="5385" y="-769"/>
                      <a:pt x="8462" y="-769"/>
                      <a:pt x="11538" y="2308"/>
                    </a:cubicBezTo>
                    <a:cubicBezTo>
                      <a:pt x="103846" y="76154"/>
                      <a:pt x="146923" y="140769"/>
                      <a:pt x="140769" y="165384"/>
                    </a:cubicBezTo>
                    <a:cubicBezTo>
                      <a:pt x="140769" y="171539"/>
                      <a:pt x="137692" y="174616"/>
                      <a:pt x="131538" y="174616"/>
                    </a:cubicBezTo>
                    <a:cubicBezTo>
                      <a:pt x="128462" y="171539"/>
                      <a:pt x="125385" y="174616"/>
                      <a:pt x="125385" y="17461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C6D0A76B-480F-489A-83C4-8365D624FD95}"/>
                </a:ext>
              </a:extLst>
            </p:cNvPr>
            <p:cNvSpPr/>
            <p:nvPr/>
          </p:nvSpPr>
          <p:spPr>
            <a:xfrm>
              <a:off x="3543897" y="9384083"/>
              <a:ext cx="411084" cy="449580"/>
            </a:xfrm>
            <a:custGeom>
              <a:avLst/>
              <a:gdLst>
                <a:gd name="connsiteX0" fmla="*/ 0 w 411084"/>
                <a:gd name="connsiteY0" fmla="*/ 212658 h 449580"/>
                <a:gd name="connsiteX1" fmla="*/ 350769 w 411084"/>
                <a:gd name="connsiteY1" fmla="*/ 6504 h 449580"/>
                <a:gd name="connsiteX2" fmla="*/ 295385 w 411084"/>
                <a:gd name="connsiteY2" fmla="*/ 449581 h 449580"/>
                <a:gd name="connsiteX3" fmla="*/ 0 w 411084"/>
                <a:gd name="connsiteY3" fmla="*/ 212658 h 449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084" h="449580">
                  <a:moveTo>
                    <a:pt x="0" y="212658"/>
                  </a:moveTo>
                  <a:cubicBezTo>
                    <a:pt x="98462" y="55735"/>
                    <a:pt x="276923" y="-24265"/>
                    <a:pt x="350769" y="6504"/>
                  </a:cubicBezTo>
                  <a:cubicBezTo>
                    <a:pt x="449231" y="43427"/>
                    <a:pt x="424615" y="286504"/>
                    <a:pt x="295385" y="449581"/>
                  </a:cubicBezTo>
                  <a:cubicBezTo>
                    <a:pt x="221538" y="440350"/>
                    <a:pt x="67692" y="292658"/>
                    <a:pt x="0" y="212658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77EB6336-9C9D-450E-869E-07337AE04848}"/>
                </a:ext>
              </a:extLst>
            </p:cNvPr>
            <p:cNvSpPr/>
            <p:nvPr/>
          </p:nvSpPr>
          <p:spPr>
            <a:xfrm>
              <a:off x="3707743" y="9388279"/>
              <a:ext cx="259142" cy="451538"/>
            </a:xfrm>
            <a:custGeom>
              <a:avLst/>
              <a:gdLst>
                <a:gd name="connsiteX0" fmla="*/ 134615 w 259142"/>
                <a:gd name="connsiteY0" fmla="*/ 451539 h 451538"/>
                <a:gd name="connsiteX1" fmla="*/ 134615 w 259142"/>
                <a:gd name="connsiteY1" fmla="*/ 451539 h 451538"/>
                <a:gd name="connsiteX2" fmla="*/ 2308 w 259142"/>
                <a:gd name="connsiteY2" fmla="*/ 377692 h 451538"/>
                <a:gd name="connsiteX3" fmla="*/ 2308 w 259142"/>
                <a:gd name="connsiteY3" fmla="*/ 368462 h 451538"/>
                <a:gd name="connsiteX4" fmla="*/ 11538 w 259142"/>
                <a:gd name="connsiteY4" fmla="*/ 368462 h 451538"/>
                <a:gd name="connsiteX5" fmla="*/ 134615 w 259142"/>
                <a:gd name="connsiteY5" fmla="*/ 439231 h 451538"/>
                <a:gd name="connsiteX6" fmla="*/ 245385 w 259142"/>
                <a:gd name="connsiteY6" fmla="*/ 165385 h 451538"/>
                <a:gd name="connsiteX7" fmla="*/ 245385 w 259142"/>
                <a:gd name="connsiteY7" fmla="*/ 156154 h 451538"/>
                <a:gd name="connsiteX8" fmla="*/ 202308 w 259142"/>
                <a:gd name="connsiteY8" fmla="*/ 11539 h 451538"/>
                <a:gd name="connsiteX9" fmla="*/ 202308 w 259142"/>
                <a:gd name="connsiteY9" fmla="*/ 2308 h 451538"/>
                <a:gd name="connsiteX10" fmla="*/ 211538 w 259142"/>
                <a:gd name="connsiteY10" fmla="*/ 2308 h 451538"/>
                <a:gd name="connsiteX11" fmla="*/ 257692 w 259142"/>
                <a:gd name="connsiteY11" fmla="*/ 156154 h 451538"/>
                <a:gd name="connsiteX12" fmla="*/ 257692 w 259142"/>
                <a:gd name="connsiteY12" fmla="*/ 165385 h 451538"/>
                <a:gd name="connsiteX13" fmla="*/ 134615 w 259142"/>
                <a:gd name="connsiteY13" fmla="*/ 451539 h 451538"/>
                <a:gd name="connsiteX14" fmla="*/ 134615 w 259142"/>
                <a:gd name="connsiteY14" fmla="*/ 451539 h 45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9142" h="451538">
                  <a:moveTo>
                    <a:pt x="134615" y="451539"/>
                  </a:moveTo>
                  <a:lnTo>
                    <a:pt x="134615" y="451539"/>
                  </a:lnTo>
                  <a:cubicBezTo>
                    <a:pt x="103846" y="448462"/>
                    <a:pt x="63846" y="423846"/>
                    <a:pt x="2308" y="377692"/>
                  </a:cubicBezTo>
                  <a:cubicBezTo>
                    <a:pt x="-769" y="374616"/>
                    <a:pt x="-769" y="371539"/>
                    <a:pt x="2308" y="368462"/>
                  </a:cubicBezTo>
                  <a:cubicBezTo>
                    <a:pt x="5385" y="365385"/>
                    <a:pt x="8461" y="365385"/>
                    <a:pt x="11538" y="368462"/>
                  </a:cubicBezTo>
                  <a:cubicBezTo>
                    <a:pt x="70000" y="408462"/>
                    <a:pt x="106923" y="436154"/>
                    <a:pt x="134615" y="439231"/>
                  </a:cubicBezTo>
                  <a:cubicBezTo>
                    <a:pt x="159231" y="411539"/>
                    <a:pt x="242308" y="266923"/>
                    <a:pt x="245385" y="165385"/>
                  </a:cubicBezTo>
                  <a:cubicBezTo>
                    <a:pt x="245385" y="162308"/>
                    <a:pt x="245385" y="159231"/>
                    <a:pt x="245385" y="156154"/>
                  </a:cubicBezTo>
                  <a:cubicBezTo>
                    <a:pt x="248462" y="122308"/>
                    <a:pt x="251538" y="51539"/>
                    <a:pt x="202308" y="11539"/>
                  </a:cubicBezTo>
                  <a:cubicBezTo>
                    <a:pt x="199231" y="8462"/>
                    <a:pt x="199231" y="5385"/>
                    <a:pt x="202308" y="2308"/>
                  </a:cubicBezTo>
                  <a:cubicBezTo>
                    <a:pt x="205385" y="-769"/>
                    <a:pt x="208462" y="-769"/>
                    <a:pt x="211538" y="2308"/>
                  </a:cubicBezTo>
                  <a:cubicBezTo>
                    <a:pt x="263846" y="45385"/>
                    <a:pt x="260769" y="119231"/>
                    <a:pt x="257692" y="156154"/>
                  </a:cubicBezTo>
                  <a:cubicBezTo>
                    <a:pt x="257692" y="159231"/>
                    <a:pt x="257692" y="162308"/>
                    <a:pt x="257692" y="165385"/>
                  </a:cubicBezTo>
                  <a:cubicBezTo>
                    <a:pt x="248462" y="276154"/>
                    <a:pt x="159231" y="423846"/>
                    <a:pt x="134615" y="451539"/>
                  </a:cubicBezTo>
                  <a:lnTo>
                    <a:pt x="134615" y="451539"/>
                  </a:ln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6761196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0BB0A129-E640-4A70-8BCD-9E9BB24A89A1}"/>
              </a:ext>
            </a:extLst>
          </p:cNvPr>
          <p:cNvGrpSpPr/>
          <p:nvPr/>
        </p:nvGrpSpPr>
        <p:grpSpPr>
          <a:xfrm>
            <a:off x="1988579" y="1906868"/>
            <a:ext cx="3673710" cy="4951132"/>
            <a:chOff x="2467159" y="2457916"/>
            <a:chExt cx="3673710" cy="4951132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C7C3D3F8-C1AD-492D-A098-90CB97FD8B21}"/>
                </a:ext>
              </a:extLst>
            </p:cNvPr>
            <p:cNvSpPr/>
            <p:nvPr/>
          </p:nvSpPr>
          <p:spPr>
            <a:xfrm>
              <a:off x="4550050" y="5138279"/>
              <a:ext cx="1054705" cy="809230"/>
            </a:xfrm>
            <a:custGeom>
              <a:avLst/>
              <a:gdLst>
                <a:gd name="connsiteX0" fmla="*/ 0 w 1054705"/>
                <a:gd name="connsiteY0" fmla="*/ 809231 h 809230"/>
                <a:gd name="connsiteX1" fmla="*/ 1033846 w 1054705"/>
                <a:gd name="connsiteY1" fmla="*/ 763077 h 809230"/>
                <a:gd name="connsiteX2" fmla="*/ 716923 w 1054705"/>
                <a:gd name="connsiteY2" fmla="*/ 120000 h 809230"/>
                <a:gd name="connsiteX3" fmla="*/ 347692 w 1054705"/>
                <a:gd name="connsiteY3" fmla="*/ 0 h 809230"/>
                <a:gd name="connsiteX4" fmla="*/ 0 w 1054705"/>
                <a:gd name="connsiteY4" fmla="*/ 809231 h 80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4705" h="809230">
                  <a:moveTo>
                    <a:pt x="0" y="809231"/>
                  </a:moveTo>
                  <a:cubicBezTo>
                    <a:pt x="0" y="809231"/>
                    <a:pt x="913846" y="803077"/>
                    <a:pt x="1033846" y="763077"/>
                  </a:cubicBezTo>
                  <a:cubicBezTo>
                    <a:pt x="1153846" y="723077"/>
                    <a:pt x="716923" y="120000"/>
                    <a:pt x="716923" y="120000"/>
                  </a:cubicBezTo>
                  <a:lnTo>
                    <a:pt x="347692" y="0"/>
                  </a:lnTo>
                  <a:lnTo>
                    <a:pt x="0" y="809231"/>
                  </a:ln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3711AC0D-7722-4281-949F-86BC2CE0B967}"/>
                </a:ext>
              </a:extLst>
            </p:cNvPr>
            <p:cNvSpPr/>
            <p:nvPr/>
          </p:nvSpPr>
          <p:spPr>
            <a:xfrm>
              <a:off x="3196080" y="4255532"/>
              <a:ext cx="366278" cy="214303"/>
            </a:xfrm>
            <a:custGeom>
              <a:avLst/>
              <a:gdLst>
                <a:gd name="connsiteX0" fmla="*/ 132432 w 366278"/>
                <a:gd name="connsiteY0" fmla="*/ 211978 h 214303"/>
                <a:gd name="connsiteX1" fmla="*/ 215509 w 366278"/>
                <a:gd name="connsiteY1" fmla="*/ 199670 h 214303"/>
                <a:gd name="connsiteX2" fmla="*/ 341663 w 366278"/>
                <a:gd name="connsiteY2" fmla="*/ 159670 h 214303"/>
                <a:gd name="connsiteX3" fmla="*/ 366278 w 366278"/>
                <a:gd name="connsiteY3" fmla="*/ 39670 h 214303"/>
                <a:gd name="connsiteX4" fmla="*/ 49355 w 366278"/>
                <a:gd name="connsiteY4" fmla="*/ 36593 h 214303"/>
                <a:gd name="connsiteX5" fmla="*/ 30894 w 366278"/>
                <a:gd name="connsiteY5" fmla="*/ 64285 h 214303"/>
                <a:gd name="connsiteX6" fmla="*/ 80125 w 366278"/>
                <a:gd name="connsiteY6" fmla="*/ 70439 h 214303"/>
                <a:gd name="connsiteX7" fmla="*/ 144740 w 366278"/>
                <a:gd name="connsiteY7" fmla="*/ 76593 h 214303"/>
                <a:gd name="connsiteX8" fmla="*/ 64740 w 366278"/>
                <a:gd name="connsiteY8" fmla="*/ 95054 h 214303"/>
                <a:gd name="connsiteX9" fmla="*/ 9355 w 366278"/>
                <a:gd name="connsiteY9" fmla="*/ 110439 h 214303"/>
                <a:gd name="connsiteX10" fmla="*/ 3202 w 366278"/>
                <a:gd name="connsiteY10" fmla="*/ 141208 h 214303"/>
                <a:gd name="connsiteX11" fmla="*/ 30894 w 366278"/>
                <a:gd name="connsiteY11" fmla="*/ 159670 h 214303"/>
                <a:gd name="connsiteX12" fmla="*/ 27817 w 366278"/>
                <a:gd name="connsiteY12" fmla="*/ 162747 h 214303"/>
                <a:gd name="connsiteX13" fmla="*/ 27817 w 366278"/>
                <a:gd name="connsiteY13" fmla="*/ 168901 h 214303"/>
                <a:gd name="connsiteX14" fmla="*/ 77048 w 366278"/>
                <a:gd name="connsiteY14" fmla="*/ 181208 h 214303"/>
                <a:gd name="connsiteX15" fmla="*/ 104740 w 366278"/>
                <a:gd name="connsiteY15" fmla="*/ 175055 h 214303"/>
                <a:gd name="connsiteX16" fmla="*/ 98586 w 366278"/>
                <a:gd name="connsiteY16" fmla="*/ 178131 h 214303"/>
                <a:gd name="connsiteX17" fmla="*/ 92432 w 366278"/>
                <a:gd name="connsiteY17" fmla="*/ 199670 h 214303"/>
                <a:gd name="connsiteX18" fmla="*/ 132432 w 366278"/>
                <a:gd name="connsiteY18" fmla="*/ 211978 h 214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66278" h="214303">
                  <a:moveTo>
                    <a:pt x="132432" y="211978"/>
                  </a:moveTo>
                  <a:cubicBezTo>
                    <a:pt x="160125" y="208901"/>
                    <a:pt x="187817" y="205824"/>
                    <a:pt x="215509" y="199670"/>
                  </a:cubicBezTo>
                  <a:cubicBezTo>
                    <a:pt x="258586" y="193516"/>
                    <a:pt x="310894" y="196593"/>
                    <a:pt x="341663" y="159670"/>
                  </a:cubicBezTo>
                  <a:cubicBezTo>
                    <a:pt x="360125" y="135054"/>
                    <a:pt x="366278" y="39670"/>
                    <a:pt x="366278" y="39670"/>
                  </a:cubicBezTo>
                  <a:cubicBezTo>
                    <a:pt x="323202" y="-37253"/>
                    <a:pt x="113971" y="18131"/>
                    <a:pt x="49355" y="36593"/>
                  </a:cubicBezTo>
                  <a:cubicBezTo>
                    <a:pt x="40125" y="39670"/>
                    <a:pt x="12432" y="51977"/>
                    <a:pt x="30894" y="64285"/>
                  </a:cubicBezTo>
                  <a:cubicBezTo>
                    <a:pt x="43202" y="73516"/>
                    <a:pt x="64740" y="70439"/>
                    <a:pt x="80125" y="70439"/>
                  </a:cubicBezTo>
                  <a:cubicBezTo>
                    <a:pt x="101663" y="73516"/>
                    <a:pt x="123202" y="73516"/>
                    <a:pt x="144740" y="76593"/>
                  </a:cubicBezTo>
                  <a:cubicBezTo>
                    <a:pt x="117048" y="82747"/>
                    <a:pt x="92432" y="88901"/>
                    <a:pt x="64740" y="95054"/>
                  </a:cubicBezTo>
                  <a:cubicBezTo>
                    <a:pt x="46279" y="98131"/>
                    <a:pt x="24740" y="101208"/>
                    <a:pt x="9355" y="110439"/>
                  </a:cubicBezTo>
                  <a:cubicBezTo>
                    <a:pt x="125" y="116593"/>
                    <a:pt x="-2952" y="128901"/>
                    <a:pt x="3202" y="141208"/>
                  </a:cubicBezTo>
                  <a:cubicBezTo>
                    <a:pt x="9355" y="153516"/>
                    <a:pt x="21663" y="156593"/>
                    <a:pt x="30894" y="159670"/>
                  </a:cubicBezTo>
                  <a:cubicBezTo>
                    <a:pt x="30894" y="159670"/>
                    <a:pt x="30894" y="159670"/>
                    <a:pt x="27817" y="162747"/>
                  </a:cubicBezTo>
                  <a:cubicBezTo>
                    <a:pt x="27817" y="165824"/>
                    <a:pt x="27817" y="168901"/>
                    <a:pt x="27817" y="168901"/>
                  </a:cubicBezTo>
                  <a:cubicBezTo>
                    <a:pt x="43202" y="184285"/>
                    <a:pt x="58586" y="184285"/>
                    <a:pt x="77048" y="181208"/>
                  </a:cubicBezTo>
                  <a:cubicBezTo>
                    <a:pt x="86279" y="181208"/>
                    <a:pt x="95509" y="178131"/>
                    <a:pt x="104740" y="175055"/>
                  </a:cubicBezTo>
                  <a:cubicBezTo>
                    <a:pt x="101663" y="175055"/>
                    <a:pt x="101663" y="178131"/>
                    <a:pt x="98586" y="178131"/>
                  </a:cubicBezTo>
                  <a:cubicBezTo>
                    <a:pt x="92432" y="184285"/>
                    <a:pt x="89355" y="190439"/>
                    <a:pt x="92432" y="199670"/>
                  </a:cubicBezTo>
                  <a:cubicBezTo>
                    <a:pt x="98586" y="218131"/>
                    <a:pt x="117048" y="215054"/>
                    <a:pt x="132432" y="211978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1CE7BC12-569F-4C85-9739-10982DB10055}"/>
                </a:ext>
              </a:extLst>
            </p:cNvPr>
            <p:cNvSpPr/>
            <p:nvPr/>
          </p:nvSpPr>
          <p:spPr>
            <a:xfrm>
              <a:off x="3503897" y="3364337"/>
              <a:ext cx="1269963" cy="1109573"/>
            </a:xfrm>
            <a:custGeom>
              <a:avLst/>
              <a:gdLst>
                <a:gd name="connsiteX0" fmla="*/ 1190769 w 1269963"/>
                <a:gd name="connsiteY0" fmla="*/ 7788 h 1109573"/>
                <a:gd name="connsiteX1" fmla="*/ 796923 w 1269963"/>
                <a:gd name="connsiteY1" fmla="*/ 349327 h 1109573"/>
                <a:gd name="connsiteX2" fmla="*/ 593846 w 1269963"/>
                <a:gd name="connsiteY2" fmla="*/ 770865 h 1109573"/>
                <a:gd name="connsiteX3" fmla="*/ 33846 w 1269963"/>
                <a:gd name="connsiteY3" fmla="*/ 890865 h 1109573"/>
                <a:gd name="connsiteX4" fmla="*/ 0 w 1269963"/>
                <a:gd name="connsiteY4" fmla="*/ 1075481 h 1109573"/>
                <a:gd name="connsiteX5" fmla="*/ 787692 w 1269963"/>
                <a:gd name="connsiteY5" fmla="*/ 1087788 h 1109573"/>
                <a:gd name="connsiteX6" fmla="*/ 1190769 w 1269963"/>
                <a:gd name="connsiteY6" fmla="*/ 7788 h 110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9963" h="1109573">
                  <a:moveTo>
                    <a:pt x="1190769" y="7788"/>
                  </a:moveTo>
                  <a:cubicBezTo>
                    <a:pt x="1067692" y="-50673"/>
                    <a:pt x="861538" y="235481"/>
                    <a:pt x="796923" y="349327"/>
                  </a:cubicBezTo>
                  <a:cubicBezTo>
                    <a:pt x="738462" y="450865"/>
                    <a:pt x="593846" y="770865"/>
                    <a:pt x="593846" y="770865"/>
                  </a:cubicBezTo>
                  <a:lnTo>
                    <a:pt x="33846" y="890865"/>
                  </a:lnTo>
                  <a:lnTo>
                    <a:pt x="0" y="1075481"/>
                  </a:lnTo>
                  <a:cubicBezTo>
                    <a:pt x="0" y="1075481"/>
                    <a:pt x="670769" y="1143173"/>
                    <a:pt x="787692" y="1087788"/>
                  </a:cubicBezTo>
                  <a:cubicBezTo>
                    <a:pt x="916923" y="1029327"/>
                    <a:pt x="1473846" y="130865"/>
                    <a:pt x="1190769" y="7788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F38FEB55-2301-497F-A575-C4FE5CF35F0B}"/>
                </a:ext>
              </a:extLst>
            </p:cNvPr>
            <p:cNvSpPr/>
            <p:nvPr/>
          </p:nvSpPr>
          <p:spPr>
            <a:xfrm>
              <a:off x="5097743" y="3002894"/>
              <a:ext cx="67692" cy="141538"/>
            </a:xfrm>
            <a:custGeom>
              <a:avLst/>
              <a:gdLst>
                <a:gd name="connsiteX0" fmla="*/ 67692 w 67692"/>
                <a:gd name="connsiteY0" fmla="*/ 0 h 141538"/>
                <a:gd name="connsiteX1" fmla="*/ 3077 w 67692"/>
                <a:gd name="connsiteY1" fmla="*/ 141538 h 141538"/>
                <a:gd name="connsiteX2" fmla="*/ 0 w 67692"/>
                <a:gd name="connsiteY2" fmla="*/ 55385 h 141538"/>
                <a:gd name="connsiteX3" fmla="*/ 67692 w 67692"/>
                <a:gd name="connsiteY3" fmla="*/ 0 h 14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692" h="141538">
                  <a:moveTo>
                    <a:pt x="67692" y="0"/>
                  </a:moveTo>
                  <a:cubicBezTo>
                    <a:pt x="67692" y="0"/>
                    <a:pt x="55385" y="120000"/>
                    <a:pt x="3077" y="141538"/>
                  </a:cubicBezTo>
                  <a:lnTo>
                    <a:pt x="0" y="55385"/>
                  </a:lnTo>
                  <a:lnTo>
                    <a:pt x="67692" y="0"/>
                  </a:lnTo>
                  <a:close/>
                </a:path>
              </a:pathLst>
            </a:custGeom>
            <a:solidFill>
              <a:srgbClr val="F1DDBA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FF1C4D7-62D5-41DC-A439-51D7D58DEA5D}"/>
                </a:ext>
              </a:extLst>
            </p:cNvPr>
            <p:cNvSpPr/>
            <p:nvPr/>
          </p:nvSpPr>
          <p:spPr>
            <a:xfrm>
              <a:off x="4697539" y="2796741"/>
              <a:ext cx="102678" cy="239979"/>
            </a:xfrm>
            <a:custGeom>
              <a:avLst/>
              <a:gdLst>
                <a:gd name="connsiteX0" fmla="*/ 6357 w 102678"/>
                <a:gd name="connsiteY0" fmla="*/ 0 h 239979"/>
                <a:gd name="connsiteX1" fmla="*/ 49434 w 102678"/>
                <a:gd name="connsiteY1" fmla="*/ 236923 h 239979"/>
                <a:gd name="connsiteX2" fmla="*/ 101742 w 102678"/>
                <a:gd name="connsiteY2" fmla="*/ 12308 h 239979"/>
                <a:gd name="connsiteX3" fmla="*/ 6357 w 102678"/>
                <a:gd name="connsiteY3" fmla="*/ 0 h 239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678" h="239979">
                  <a:moveTo>
                    <a:pt x="6357" y="0"/>
                  </a:moveTo>
                  <a:cubicBezTo>
                    <a:pt x="6357" y="0"/>
                    <a:pt x="-24412" y="196923"/>
                    <a:pt x="49434" y="236923"/>
                  </a:cubicBezTo>
                  <a:cubicBezTo>
                    <a:pt x="114050" y="270769"/>
                    <a:pt x="101742" y="12308"/>
                    <a:pt x="101742" y="12308"/>
                  </a:cubicBezTo>
                  <a:lnTo>
                    <a:pt x="6357" y="0"/>
                  </a:lnTo>
                  <a:close/>
                </a:path>
              </a:pathLst>
            </a:custGeom>
            <a:solidFill>
              <a:srgbClr val="F1DDBA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39F33169-460E-44D4-B4CD-8930D60DC9ED}"/>
                </a:ext>
              </a:extLst>
            </p:cNvPr>
            <p:cNvSpPr/>
            <p:nvPr/>
          </p:nvSpPr>
          <p:spPr>
            <a:xfrm>
              <a:off x="4737401" y="2654687"/>
              <a:ext cx="424957" cy="573430"/>
            </a:xfrm>
            <a:custGeom>
              <a:avLst/>
              <a:gdLst>
                <a:gd name="connsiteX0" fmla="*/ 9573 w 424957"/>
                <a:gd name="connsiteY0" fmla="*/ 185130 h 573430"/>
                <a:gd name="connsiteX1" fmla="*/ 9573 w 424957"/>
                <a:gd name="connsiteY1" fmla="*/ 437438 h 573430"/>
                <a:gd name="connsiteX2" fmla="*/ 169573 w 424957"/>
                <a:gd name="connsiteY2" fmla="*/ 572823 h 573430"/>
                <a:gd name="connsiteX3" fmla="*/ 388034 w 424957"/>
                <a:gd name="connsiteY3" fmla="*/ 428207 h 573430"/>
                <a:gd name="connsiteX4" fmla="*/ 424957 w 424957"/>
                <a:gd name="connsiteY4" fmla="*/ 200515 h 573430"/>
                <a:gd name="connsiteX5" fmla="*/ 209573 w 424957"/>
                <a:gd name="connsiteY5" fmla="*/ 515 h 573430"/>
                <a:gd name="connsiteX6" fmla="*/ 9573 w 424957"/>
                <a:gd name="connsiteY6" fmla="*/ 185130 h 573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957" h="573430">
                  <a:moveTo>
                    <a:pt x="9573" y="185130"/>
                  </a:moveTo>
                  <a:cubicBezTo>
                    <a:pt x="9573" y="185130"/>
                    <a:pt x="-11966" y="363592"/>
                    <a:pt x="9573" y="437438"/>
                  </a:cubicBezTo>
                  <a:cubicBezTo>
                    <a:pt x="28034" y="505130"/>
                    <a:pt x="120342" y="569746"/>
                    <a:pt x="169573" y="572823"/>
                  </a:cubicBezTo>
                  <a:cubicBezTo>
                    <a:pt x="237265" y="578977"/>
                    <a:pt x="357265" y="538977"/>
                    <a:pt x="388034" y="428207"/>
                  </a:cubicBezTo>
                  <a:cubicBezTo>
                    <a:pt x="409573" y="354361"/>
                    <a:pt x="424957" y="252823"/>
                    <a:pt x="424957" y="200515"/>
                  </a:cubicBezTo>
                  <a:cubicBezTo>
                    <a:pt x="421880" y="105130"/>
                    <a:pt x="397265" y="25130"/>
                    <a:pt x="209573" y="515"/>
                  </a:cubicBezTo>
                  <a:cubicBezTo>
                    <a:pt x="123419" y="-8716"/>
                    <a:pt x="28034" y="108207"/>
                    <a:pt x="9573" y="185130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53D19056-A9E6-473D-BC5A-D9C06FF1A4F7}"/>
                </a:ext>
              </a:extLst>
            </p:cNvPr>
            <p:cNvSpPr/>
            <p:nvPr/>
          </p:nvSpPr>
          <p:spPr>
            <a:xfrm>
              <a:off x="4876204" y="2922894"/>
              <a:ext cx="58461" cy="138461"/>
            </a:xfrm>
            <a:custGeom>
              <a:avLst/>
              <a:gdLst>
                <a:gd name="connsiteX0" fmla="*/ 30769 w 58461"/>
                <a:gd name="connsiteY0" fmla="*/ 138462 h 138461"/>
                <a:gd name="connsiteX1" fmla="*/ 6154 w 58461"/>
                <a:gd name="connsiteY1" fmla="*/ 132308 h 138461"/>
                <a:gd name="connsiteX2" fmla="*/ 0 w 58461"/>
                <a:gd name="connsiteY2" fmla="*/ 120000 h 138461"/>
                <a:gd name="connsiteX3" fmla="*/ 15385 w 58461"/>
                <a:gd name="connsiteY3" fmla="*/ 6154 h 138461"/>
                <a:gd name="connsiteX4" fmla="*/ 21538 w 58461"/>
                <a:gd name="connsiteY4" fmla="*/ 0 h 138461"/>
                <a:gd name="connsiteX5" fmla="*/ 27692 w 58461"/>
                <a:gd name="connsiteY5" fmla="*/ 6154 h 138461"/>
                <a:gd name="connsiteX6" fmla="*/ 12308 w 58461"/>
                <a:gd name="connsiteY6" fmla="*/ 120000 h 138461"/>
                <a:gd name="connsiteX7" fmla="*/ 12308 w 58461"/>
                <a:gd name="connsiteY7" fmla="*/ 123077 h 138461"/>
                <a:gd name="connsiteX8" fmla="*/ 52308 w 58461"/>
                <a:gd name="connsiteY8" fmla="*/ 123077 h 138461"/>
                <a:gd name="connsiteX9" fmla="*/ 58461 w 58461"/>
                <a:gd name="connsiteY9" fmla="*/ 129231 h 138461"/>
                <a:gd name="connsiteX10" fmla="*/ 52308 w 58461"/>
                <a:gd name="connsiteY10" fmla="*/ 135385 h 138461"/>
                <a:gd name="connsiteX11" fmla="*/ 30769 w 58461"/>
                <a:gd name="connsiteY11" fmla="*/ 138462 h 1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461" h="138461">
                  <a:moveTo>
                    <a:pt x="30769" y="138462"/>
                  </a:moveTo>
                  <a:cubicBezTo>
                    <a:pt x="21538" y="138462"/>
                    <a:pt x="12308" y="138462"/>
                    <a:pt x="6154" y="132308"/>
                  </a:cubicBezTo>
                  <a:cubicBezTo>
                    <a:pt x="3077" y="129231"/>
                    <a:pt x="0" y="126154"/>
                    <a:pt x="0" y="120000"/>
                  </a:cubicBezTo>
                  <a:cubicBezTo>
                    <a:pt x="0" y="98462"/>
                    <a:pt x="15385" y="9231"/>
                    <a:pt x="15385" y="6154"/>
                  </a:cubicBezTo>
                  <a:cubicBezTo>
                    <a:pt x="15385" y="3077"/>
                    <a:pt x="18461" y="0"/>
                    <a:pt x="21538" y="0"/>
                  </a:cubicBezTo>
                  <a:cubicBezTo>
                    <a:pt x="24615" y="0"/>
                    <a:pt x="27692" y="3077"/>
                    <a:pt x="27692" y="6154"/>
                  </a:cubicBezTo>
                  <a:cubicBezTo>
                    <a:pt x="27692" y="6154"/>
                    <a:pt x="12308" y="98462"/>
                    <a:pt x="12308" y="120000"/>
                  </a:cubicBezTo>
                  <a:cubicBezTo>
                    <a:pt x="12308" y="120000"/>
                    <a:pt x="12308" y="123077"/>
                    <a:pt x="12308" y="123077"/>
                  </a:cubicBezTo>
                  <a:cubicBezTo>
                    <a:pt x="18461" y="129231"/>
                    <a:pt x="40000" y="126154"/>
                    <a:pt x="52308" y="123077"/>
                  </a:cubicBezTo>
                  <a:cubicBezTo>
                    <a:pt x="55384" y="123077"/>
                    <a:pt x="58461" y="123077"/>
                    <a:pt x="58461" y="129231"/>
                  </a:cubicBezTo>
                  <a:cubicBezTo>
                    <a:pt x="58461" y="132308"/>
                    <a:pt x="58461" y="135385"/>
                    <a:pt x="52308" y="135385"/>
                  </a:cubicBezTo>
                  <a:cubicBezTo>
                    <a:pt x="49231" y="135385"/>
                    <a:pt x="40000" y="138462"/>
                    <a:pt x="30769" y="138462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F20E3434-ACA3-45B6-86B5-ADCAE21FA18C}"/>
                </a:ext>
              </a:extLst>
            </p:cNvPr>
            <p:cNvSpPr/>
            <p:nvPr/>
          </p:nvSpPr>
          <p:spPr>
            <a:xfrm>
              <a:off x="4801755" y="2900572"/>
              <a:ext cx="41387" cy="41387"/>
            </a:xfrm>
            <a:custGeom>
              <a:avLst/>
              <a:gdLst>
                <a:gd name="connsiteX0" fmla="*/ 40603 w 41387"/>
                <a:gd name="connsiteY0" fmla="*/ 25399 h 41387"/>
                <a:gd name="connsiteX1" fmla="*/ 15988 w 41387"/>
                <a:gd name="connsiteY1" fmla="*/ 40784 h 41387"/>
                <a:gd name="connsiteX2" fmla="*/ 604 w 41387"/>
                <a:gd name="connsiteY2" fmla="*/ 16169 h 41387"/>
                <a:gd name="connsiteX3" fmla="*/ 25219 w 41387"/>
                <a:gd name="connsiteY3" fmla="*/ 784 h 41387"/>
                <a:gd name="connsiteX4" fmla="*/ 40603 w 41387"/>
                <a:gd name="connsiteY4" fmla="*/ 25399 h 4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387">
                  <a:moveTo>
                    <a:pt x="40603" y="25399"/>
                  </a:moveTo>
                  <a:cubicBezTo>
                    <a:pt x="37527" y="34630"/>
                    <a:pt x="28296" y="43861"/>
                    <a:pt x="15988" y="40784"/>
                  </a:cubicBezTo>
                  <a:cubicBezTo>
                    <a:pt x="6757" y="37707"/>
                    <a:pt x="-2473" y="28476"/>
                    <a:pt x="604" y="16169"/>
                  </a:cubicBezTo>
                  <a:cubicBezTo>
                    <a:pt x="3680" y="3861"/>
                    <a:pt x="12911" y="-2293"/>
                    <a:pt x="25219" y="784"/>
                  </a:cubicBezTo>
                  <a:cubicBezTo>
                    <a:pt x="37527" y="3861"/>
                    <a:pt x="43681" y="13092"/>
                    <a:pt x="40603" y="25399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D7D75795-3964-4D0B-8DA1-E579951F8F2E}"/>
                </a:ext>
              </a:extLst>
            </p:cNvPr>
            <p:cNvSpPr/>
            <p:nvPr/>
          </p:nvSpPr>
          <p:spPr>
            <a:xfrm>
              <a:off x="4986370" y="2915956"/>
              <a:ext cx="41387" cy="41387"/>
            </a:xfrm>
            <a:custGeom>
              <a:avLst/>
              <a:gdLst>
                <a:gd name="connsiteX0" fmla="*/ 40603 w 41387"/>
                <a:gd name="connsiteY0" fmla="*/ 25399 h 41387"/>
                <a:gd name="connsiteX1" fmla="*/ 15988 w 41387"/>
                <a:gd name="connsiteY1" fmla="*/ 40784 h 41387"/>
                <a:gd name="connsiteX2" fmla="*/ 604 w 41387"/>
                <a:gd name="connsiteY2" fmla="*/ 16169 h 41387"/>
                <a:gd name="connsiteX3" fmla="*/ 25219 w 41387"/>
                <a:gd name="connsiteY3" fmla="*/ 784 h 41387"/>
                <a:gd name="connsiteX4" fmla="*/ 40603 w 41387"/>
                <a:gd name="connsiteY4" fmla="*/ 25399 h 4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7" h="41387">
                  <a:moveTo>
                    <a:pt x="40603" y="25399"/>
                  </a:moveTo>
                  <a:cubicBezTo>
                    <a:pt x="37527" y="34630"/>
                    <a:pt x="28296" y="43861"/>
                    <a:pt x="15988" y="40784"/>
                  </a:cubicBezTo>
                  <a:cubicBezTo>
                    <a:pt x="6757" y="37707"/>
                    <a:pt x="-2473" y="28476"/>
                    <a:pt x="604" y="16169"/>
                  </a:cubicBezTo>
                  <a:cubicBezTo>
                    <a:pt x="3680" y="3861"/>
                    <a:pt x="12911" y="-2293"/>
                    <a:pt x="25219" y="784"/>
                  </a:cubicBezTo>
                  <a:cubicBezTo>
                    <a:pt x="37527" y="3861"/>
                    <a:pt x="43681" y="16169"/>
                    <a:pt x="40603" y="25399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4E59F36E-F4B6-4825-9039-C8DE2BA02BBD}"/>
                </a:ext>
              </a:extLst>
            </p:cNvPr>
            <p:cNvSpPr/>
            <p:nvPr/>
          </p:nvSpPr>
          <p:spPr>
            <a:xfrm>
              <a:off x="4778512" y="2847873"/>
              <a:ext cx="92812" cy="35021"/>
            </a:xfrm>
            <a:custGeom>
              <a:avLst/>
              <a:gdLst>
                <a:gd name="connsiteX0" fmla="*/ 8462 w 92812"/>
                <a:gd name="connsiteY0" fmla="*/ 35022 h 35021"/>
                <a:gd name="connsiteX1" fmla="*/ 2308 w 92812"/>
                <a:gd name="connsiteY1" fmla="*/ 31945 h 35021"/>
                <a:gd name="connsiteX2" fmla="*/ 2308 w 92812"/>
                <a:gd name="connsiteY2" fmla="*/ 19637 h 35021"/>
                <a:gd name="connsiteX3" fmla="*/ 88462 w 92812"/>
                <a:gd name="connsiteY3" fmla="*/ 10407 h 35021"/>
                <a:gd name="connsiteX4" fmla="*/ 91538 w 92812"/>
                <a:gd name="connsiteY4" fmla="*/ 19637 h 35021"/>
                <a:gd name="connsiteX5" fmla="*/ 82308 w 92812"/>
                <a:gd name="connsiteY5" fmla="*/ 22714 h 35021"/>
                <a:gd name="connsiteX6" fmla="*/ 14615 w 92812"/>
                <a:gd name="connsiteY6" fmla="*/ 28868 h 35021"/>
                <a:gd name="connsiteX7" fmla="*/ 8462 w 92812"/>
                <a:gd name="connsiteY7" fmla="*/ 35022 h 35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5021">
                  <a:moveTo>
                    <a:pt x="8462" y="35022"/>
                  </a:moveTo>
                  <a:cubicBezTo>
                    <a:pt x="5385" y="35022"/>
                    <a:pt x="5385" y="35022"/>
                    <a:pt x="2308" y="31945"/>
                  </a:cubicBezTo>
                  <a:cubicBezTo>
                    <a:pt x="-769" y="28868"/>
                    <a:pt x="-769" y="22714"/>
                    <a:pt x="2308" y="19637"/>
                  </a:cubicBezTo>
                  <a:cubicBezTo>
                    <a:pt x="30000" y="-11132"/>
                    <a:pt x="70000" y="1176"/>
                    <a:pt x="88462" y="10407"/>
                  </a:cubicBezTo>
                  <a:cubicBezTo>
                    <a:pt x="91538" y="13483"/>
                    <a:pt x="94615" y="16560"/>
                    <a:pt x="91538" y="19637"/>
                  </a:cubicBezTo>
                  <a:cubicBezTo>
                    <a:pt x="88462" y="22714"/>
                    <a:pt x="85385" y="25791"/>
                    <a:pt x="82308" y="22714"/>
                  </a:cubicBezTo>
                  <a:cubicBezTo>
                    <a:pt x="79231" y="22714"/>
                    <a:pt x="39231" y="1176"/>
                    <a:pt x="14615" y="28868"/>
                  </a:cubicBezTo>
                  <a:cubicBezTo>
                    <a:pt x="11539" y="35022"/>
                    <a:pt x="8462" y="35022"/>
                    <a:pt x="8462" y="35022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F87D52B9-945C-475D-B80B-BC9D5B0A72A0}"/>
                </a:ext>
              </a:extLst>
            </p:cNvPr>
            <p:cNvSpPr/>
            <p:nvPr/>
          </p:nvSpPr>
          <p:spPr>
            <a:xfrm>
              <a:off x="4967237" y="2849361"/>
              <a:ext cx="92813" cy="36610"/>
            </a:xfrm>
            <a:custGeom>
              <a:avLst/>
              <a:gdLst>
                <a:gd name="connsiteX0" fmla="*/ 87428 w 92813"/>
                <a:gd name="connsiteY0" fmla="*/ 36610 h 36610"/>
                <a:gd name="connsiteX1" fmla="*/ 81275 w 92813"/>
                <a:gd name="connsiteY1" fmla="*/ 33533 h 36610"/>
                <a:gd name="connsiteX2" fmla="*/ 13582 w 92813"/>
                <a:gd name="connsiteY2" fmla="*/ 27379 h 36610"/>
                <a:gd name="connsiteX3" fmla="*/ 1275 w 92813"/>
                <a:gd name="connsiteY3" fmla="*/ 24302 h 36610"/>
                <a:gd name="connsiteX4" fmla="*/ 4351 w 92813"/>
                <a:gd name="connsiteY4" fmla="*/ 11995 h 36610"/>
                <a:gd name="connsiteX5" fmla="*/ 90505 w 92813"/>
                <a:gd name="connsiteY5" fmla="*/ 21225 h 36610"/>
                <a:gd name="connsiteX6" fmla="*/ 90505 w 92813"/>
                <a:gd name="connsiteY6" fmla="*/ 33533 h 36610"/>
                <a:gd name="connsiteX7" fmla="*/ 87428 w 92813"/>
                <a:gd name="connsiteY7" fmla="*/ 36610 h 36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6610">
                  <a:moveTo>
                    <a:pt x="87428" y="36610"/>
                  </a:moveTo>
                  <a:cubicBezTo>
                    <a:pt x="84351" y="36610"/>
                    <a:pt x="84351" y="36610"/>
                    <a:pt x="81275" y="33533"/>
                  </a:cubicBezTo>
                  <a:cubicBezTo>
                    <a:pt x="81275" y="33533"/>
                    <a:pt x="50505" y="2764"/>
                    <a:pt x="13582" y="27379"/>
                  </a:cubicBezTo>
                  <a:cubicBezTo>
                    <a:pt x="10505" y="30456"/>
                    <a:pt x="4351" y="27379"/>
                    <a:pt x="1275" y="24302"/>
                  </a:cubicBezTo>
                  <a:cubicBezTo>
                    <a:pt x="-1803" y="21225"/>
                    <a:pt x="1275" y="15072"/>
                    <a:pt x="4351" y="11995"/>
                  </a:cubicBezTo>
                  <a:cubicBezTo>
                    <a:pt x="41274" y="-12621"/>
                    <a:pt x="78198" y="5841"/>
                    <a:pt x="90505" y="21225"/>
                  </a:cubicBezTo>
                  <a:cubicBezTo>
                    <a:pt x="93582" y="24302"/>
                    <a:pt x="93582" y="30456"/>
                    <a:pt x="90505" y="33533"/>
                  </a:cubicBezTo>
                  <a:cubicBezTo>
                    <a:pt x="90505" y="36610"/>
                    <a:pt x="90505" y="36610"/>
                    <a:pt x="87428" y="36610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5D0E7FEA-4328-42AE-8279-D328B0E4F797}"/>
                </a:ext>
              </a:extLst>
            </p:cNvPr>
            <p:cNvSpPr/>
            <p:nvPr/>
          </p:nvSpPr>
          <p:spPr>
            <a:xfrm>
              <a:off x="5124068" y="2915242"/>
              <a:ext cx="79666" cy="115101"/>
            </a:xfrm>
            <a:custGeom>
              <a:avLst/>
              <a:gdLst>
                <a:gd name="connsiteX0" fmla="*/ 13675 w 79666"/>
                <a:gd name="connsiteY0" fmla="*/ 16883 h 115101"/>
                <a:gd name="connsiteX1" fmla="*/ 72137 w 79666"/>
                <a:gd name="connsiteY1" fmla="*/ 7652 h 115101"/>
                <a:gd name="connsiteX2" fmla="*/ 13675 w 79666"/>
                <a:gd name="connsiteY2" fmla="*/ 112268 h 115101"/>
                <a:gd name="connsiteX3" fmla="*/ 13675 w 79666"/>
                <a:gd name="connsiteY3" fmla="*/ 16883 h 115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666" h="115101">
                  <a:moveTo>
                    <a:pt x="13675" y="16883"/>
                  </a:moveTo>
                  <a:cubicBezTo>
                    <a:pt x="13675" y="16883"/>
                    <a:pt x="47521" y="-13886"/>
                    <a:pt x="72137" y="7652"/>
                  </a:cubicBezTo>
                  <a:cubicBezTo>
                    <a:pt x="96752" y="26114"/>
                    <a:pt x="56752" y="133806"/>
                    <a:pt x="13675" y="112268"/>
                  </a:cubicBezTo>
                  <a:cubicBezTo>
                    <a:pt x="-17094" y="90729"/>
                    <a:pt x="13675" y="16883"/>
                    <a:pt x="13675" y="16883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E4DBBB96-A35D-45E0-A6D2-76C018AE2942}"/>
                </a:ext>
              </a:extLst>
            </p:cNvPr>
            <p:cNvSpPr/>
            <p:nvPr/>
          </p:nvSpPr>
          <p:spPr>
            <a:xfrm>
              <a:off x="4687968" y="2542458"/>
              <a:ext cx="518098" cy="408129"/>
            </a:xfrm>
            <a:custGeom>
              <a:avLst/>
              <a:gdLst>
                <a:gd name="connsiteX0" fmla="*/ 452852 w 518098"/>
                <a:gd name="connsiteY0" fmla="*/ 137360 h 408129"/>
                <a:gd name="connsiteX1" fmla="*/ 434391 w 518098"/>
                <a:gd name="connsiteY1" fmla="*/ 97360 h 408129"/>
                <a:gd name="connsiteX2" fmla="*/ 422083 w 518098"/>
                <a:gd name="connsiteY2" fmla="*/ 100437 h 408129"/>
                <a:gd name="connsiteX3" fmla="*/ 391314 w 518098"/>
                <a:gd name="connsiteY3" fmla="*/ 78898 h 408129"/>
                <a:gd name="connsiteX4" fmla="*/ 379006 w 518098"/>
                <a:gd name="connsiteY4" fmla="*/ 60437 h 408129"/>
                <a:gd name="connsiteX5" fmla="*/ 348237 w 518098"/>
                <a:gd name="connsiteY5" fmla="*/ 26591 h 408129"/>
                <a:gd name="connsiteX6" fmla="*/ 314391 w 518098"/>
                <a:gd name="connsiteY6" fmla="*/ 23514 h 408129"/>
                <a:gd name="connsiteX7" fmla="*/ 259006 w 518098"/>
                <a:gd name="connsiteY7" fmla="*/ 8129 h 408129"/>
                <a:gd name="connsiteX8" fmla="*/ 246698 w 518098"/>
                <a:gd name="connsiteY8" fmla="*/ 1975 h 408129"/>
                <a:gd name="connsiteX9" fmla="*/ 120544 w 518098"/>
                <a:gd name="connsiteY9" fmla="*/ 38898 h 408129"/>
                <a:gd name="connsiteX10" fmla="*/ 59006 w 518098"/>
                <a:gd name="connsiteY10" fmla="*/ 60437 h 408129"/>
                <a:gd name="connsiteX11" fmla="*/ 43621 w 518098"/>
                <a:gd name="connsiteY11" fmla="*/ 103514 h 408129"/>
                <a:gd name="connsiteX12" fmla="*/ 25160 w 518098"/>
                <a:gd name="connsiteY12" fmla="*/ 131206 h 408129"/>
                <a:gd name="connsiteX13" fmla="*/ 19006 w 518098"/>
                <a:gd name="connsiteY13" fmla="*/ 168129 h 408129"/>
                <a:gd name="connsiteX14" fmla="*/ 22083 w 518098"/>
                <a:gd name="connsiteY14" fmla="*/ 201975 h 408129"/>
                <a:gd name="connsiteX15" fmla="*/ 3621 w 518098"/>
                <a:gd name="connsiteY15" fmla="*/ 245052 h 408129"/>
                <a:gd name="connsiteX16" fmla="*/ 22083 w 518098"/>
                <a:gd name="connsiteY16" fmla="*/ 343514 h 408129"/>
                <a:gd name="connsiteX17" fmla="*/ 31313 w 518098"/>
                <a:gd name="connsiteY17" fmla="*/ 346591 h 408129"/>
                <a:gd name="connsiteX18" fmla="*/ 40544 w 518098"/>
                <a:gd name="connsiteY18" fmla="*/ 377360 h 408129"/>
                <a:gd name="connsiteX19" fmla="*/ 59006 w 518098"/>
                <a:gd name="connsiteY19" fmla="*/ 321975 h 408129"/>
                <a:gd name="connsiteX20" fmla="*/ 89775 w 518098"/>
                <a:gd name="connsiteY20" fmla="*/ 309668 h 408129"/>
                <a:gd name="connsiteX21" fmla="*/ 108237 w 518098"/>
                <a:gd name="connsiteY21" fmla="*/ 288129 h 408129"/>
                <a:gd name="connsiteX22" fmla="*/ 114391 w 518098"/>
                <a:gd name="connsiteY22" fmla="*/ 278898 h 408129"/>
                <a:gd name="connsiteX23" fmla="*/ 120544 w 518098"/>
                <a:gd name="connsiteY23" fmla="*/ 275821 h 408129"/>
                <a:gd name="connsiteX24" fmla="*/ 126698 w 518098"/>
                <a:gd name="connsiteY24" fmla="*/ 275821 h 408129"/>
                <a:gd name="connsiteX25" fmla="*/ 132852 w 518098"/>
                <a:gd name="connsiteY25" fmla="*/ 272745 h 408129"/>
                <a:gd name="connsiteX26" fmla="*/ 142083 w 518098"/>
                <a:gd name="connsiteY26" fmla="*/ 266591 h 408129"/>
                <a:gd name="connsiteX27" fmla="*/ 154390 w 518098"/>
                <a:gd name="connsiteY27" fmla="*/ 269668 h 408129"/>
                <a:gd name="connsiteX28" fmla="*/ 166698 w 518098"/>
                <a:gd name="connsiteY28" fmla="*/ 269668 h 408129"/>
                <a:gd name="connsiteX29" fmla="*/ 203621 w 518098"/>
                <a:gd name="connsiteY29" fmla="*/ 260437 h 408129"/>
                <a:gd name="connsiteX30" fmla="*/ 255929 w 518098"/>
                <a:gd name="connsiteY30" fmla="*/ 245052 h 408129"/>
                <a:gd name="connsiteX31" fmla="*/ 271314 w 518098"/>
                <a:gd name="connsiteY31" fmla="*/ 254283 h 408129"/>
                <a:gd name="connsiteX32" fmla="*/ 308237 w 518098"/>
                <a:gd name="connsiteY32" fmla="*/ 232745 h 408129"/>
                <a:gd name="connsiteX33" fmla="*/ 320544 w 518098"/>
                <a:gd name="connsiteY33" fmla="*/ 235821 h 408129"/>
                <a:gd name="connsiteX34" fmla="*/ 397467 w 518098"/>
                <a:gd name="connsiteY34" fmla="*/ 263514 h 408129"/>
                <a:gd name="connsiteX35" fmla="*/ 406698 w 518098"/>
                <a:gd name="connsiteY35" fmla="*/ 266591 h 408129"/>
                <a:gd name="connsiteX36" fmla="*/ 459006 w 518098"/>
                <a:gd name="connsiteY36" fmla="*/ 408129 h 408129"/>
                <a:gd name="connsiteX37" fmla="*/ 517467 w 518098"/>
                <a:gd name="connsiteY37" fmla="*/ 306591 h 408129"/>
                <a:gd name="connsiteX38" fmla="*/ 452852 w 518098"/>
                <a:gd name="connsiteY38" fmla="*/ 137360 h 408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8098" h="408129">
                  <a:moveTo>
                    <a:pt x="452852" y="137360"/>
                  </a:moveTo>
                  <a:cubicBezTo>
                    <a:pt x="452852" y="121975"/>
                    <a:pt x="449775" y="106591"/>
                    <a:pt x="434391" y="97360"/>
                  </a:cubicBezTo>
                  <a:cubicBezTo>
                    <a:pt x="419006" y="85052"/>
                    <a:pt x="422083" y="97360"/>
                    <a:pt x="422083" y="100437"/>
                  </a:cubicBezTo>
                  <a:cubicBezTo>
                    <a:pt x="412852" y="94283"/>
                    <a:pt x="403621" y="85052"/>
                    <a:pt x="391314" y="78898"/>
                  </a:cubicBezTo>
                  <a:cubicBezTo>
                    <a:pt x="385160" y="72745"/>
                    <a:pt x="382083" y="66591"/>
                    <a:pt x="379006" y="60437"/>
                  </a:cubicBezTo>
                  <a:cubicBezTo>
                    <a:pt x="369775" y="48129"/>
                    <a:pt x="363621" y="35821"/>
                    <a:pt x="348237" y="26591"/>
                  </a:cubicBezTo>
                  <a:cubicBezTo>
                    <a:pt x="335929" y="20437"/>
                    <a:pt x="326698" y="23514"/>
                    <a:pt x="314391" y="23514"/>
                  </a:cubicBezTo>
                  <a:cubicBezTo>
                    <a:pt x="292852" y="23514"/>
                    <a:pt x="277467" y="17360"/>
                    <a:pt x="259006" y="8129"/>
                  </a:cubicBezTo>
                  <a:cubicBezTo>
                    <a:pt x="255929" y="5052"/>
                    <a:pt x="249775" y="1975"/>
                    <a:pt x="246698" y="1975"/>
                  </a:cubicBezTo>
                  <a:cubicBezTo>
                    <a:pt x="200544" y="-10332"/>
                    <a:pt x="166698" y="38898"/>
                    <a:pt x="120544" y="38898"/>
                  </a:cubicBezTo>
                  <a:cubicBezTo>
                    <a:pt x="95929" y="38898"/>
                    <a:pt x="71314" y="35821"/>
                    <a:pt x="59006" y="60437"/>
                  </a:cubicBezTo>
                  <a:cubicBezTo>
                    <a:pt x="52852" y="75821"/>
                    <a:pt x="52852" y="88129"/>
                    <a:pt x="43621" y="103514"/>
                  </a:cubicBezTo>
                  <a:cubicBezTo>
                    <a:pt x="37467" y="112745"/>
                    <a:pt x="28237" y="121975"/>
                    <a:pt x="25160" y="131206"/>
                  </a:cubicBezTo>
                  <a:cubicBezTo>
                    <a:pt x="19006" y="140437"/>
                    <a:pt x="15929" y="155821"/>
                    <a:pt x="19006" y="168129"/>
                  </a:cubicBezTo>
                  <a:cubicBezTo>
                    <a:pt x="22083" y="186591"/>
                    <a:pt x="31313" y="186591"/>
                    <a:pt x="22083" y="201975"/>
                  </a:cubicBezTo>
                  <a:cubicBezTo>
                    <a:pt x="15929" y="217360"/>
                    <a:pt x="6698" y="229668"/>
                    <a:pt x="3621" y="245052"/>
                  </a:cubicBezTo>
                  <a:cubicBezTo>
                    <a:pt x="-5610" y="278898"/>
                    <a:pt x="3621" y="312745"/>
                    <a:pt x="22083" y="343514"/>
                  </a:cubicBezTo>
                  <a:cubicBezTo>
                    <a:pt x="25160" y="346591"/>
                    <a:pt x="28237" y="346591"/>
                    <a:pt x="31313" y="346591"/>
                  </a:cubicBezTo>
                  <a:cubicBezTo>
                    <a:pt x="34391" y="365052"/>
                    <a:pt x="40544" y="377360"/>
                    <a:pt x="40544" y="377360"/>
                  </a:cubicBezTo>
                  <a:cubicBezTo>
                    <a:pt x="37467" y="358898"/>
                    <a:pt x="43621" y="340437"/>
                    <a:pt x="59006" y="321975"/>
                  </a:cubicBezTo>
                  <a:cubicBezTo>
                    <a:pt x="68237" y="318898"/>
                    <a:pt x="80544" y="315822"/>
                    <a:pt x="89775" y="309668"/>
                  </a:cubicBezTo>
                  <a:cubicBezTo>
                    <a:pt x="99006" y="303514"/>
                    <a:pt x="102083" y="294283"/>
                    <a:pt x="108237" y="288129"/>
                  </a:cubicBezTo>
                  <a:cubicBezTo>
                    <a:pt x="108237" y="285052"/>
                    <a:pt x="111314" y="281975"/>
                    <a:pt x="114391" y="278898"/>
                  </a:cubicBezTo>
                  <a:cubicBezTo>
                    <a:pt x="117467" y="278898"/>
                    <a:pt x="120544" y="275821"/>
                    <a:pt x="120544" y="275821"/>
                  </a:cubicBezTo>
                  <a:cubicBezTo>
                    <a:pt x="123621" y="275821"/>
                    <a:pt x="123621" y="275821"/>
                    <a:pt x="126698" y="275821"/>
                  </a:cubicBezTo>
                  <a:cubicBezTo>
                    <a:pt x="129775" y="272745"/>
                    <a:pt x="129775" y="272745"/>
                    <a:pt x="132852" y="272745"/>
                  </a:cubicBezTo>
                  <a:cubicBezTo>
                    <a:pt x="135929" y="269668"/>
                    <a:pt x="139006" y="269668"/>
                    <a:pt x="142083" y="266591"/>
                  </a:cubicBezTo>
                  <a:cubicBezTo>
                    <a:pt x="145160" y="266591"/>
                    <a:pt x="151313" y="266591"/>
                    <a:pt x="154390" y="269668"/>
                  </a:cubicBezTo>
                  <a:cubicBezTo>
                    <a:pt x="157467" y="269668"/>
                    <a:pt x="163621" y="269668"/>
                    <a:pt x="166698" y="269668"/>
                  </a:cubicBezTo>
                  <a:cubicBezTo>
                    <a:pt x="179006" y="269668"/>
                    <a:pt x="191314" y="266591"/>
                    <a:pt x="203621" y="260437"/>
                  </a:cubicBezTo>
                  <a:cubicBezTo>
                    <a:pt x="222083" y="251206"/>
                    <a:pt x="231313" y="235821"/>
                    <a:pt x="255929" y="245052"/>
                  </a:cubicBezTo>
                  <a:cubicBezTo>
                    <a:pt x="262083" y="248129"/>
                    <a:pt x="265160" y="254283"/>
                    <a:pt x="271314" y="254283"/>
                  </a:cubicBezTo>
                  <a:cubicBezTo>
                    <a:pt x="286698" y="257360"/>
                    <a:pt x="299006" y="245052"/>
                    <a:pt x="308237" y="232745"/>
                  </a:cubicBezTo>
                  <a:cubicBezTo>
                    <a:pt x="311314" y="232745"/>
                    <a:pt x="317467" y="235821"/>
                    <a:pt x="320544" y="235821"/>
                  </a:cubicBezTo>
                  <a:cubicBezTo>
                    <a:pt x="342083" y="251206"/>
                    <a:pt x="369775" y="260437"/>
                    <a:pt x="397467" y="263514"/>
                  </a:cubicBezTo>
                  <a:cubicBezTo>
                    <a:pt x="403621" y="266591"/>
                    <a:pt x="406698" y="266591"/>
                    <a:pt x="406698" y="266591"/>
                  </a:cubicBezTo>
                  <a:cubicBezTo>
                    <a:pt x="406698" y="266591"/>
                    <a:pt x="465160" y="377360"/>
                    <a:pt x="459006" y="408129"/>
                  </a:cubicBezTo>
                  <a:cubicBezTo>
                    <a:pt x="459006" y="408129"/>
                    <a:pt x="502083" y="361975"/>
                    <a:pt x="517467" y="306591"/>
                  </a:cubicBezTo>
                  <a:cubicBezTo>
                    <a:pt x="520544" y="248129"/>
                    <a:pt x="514391" y="158898"/>
                    <a:pt x="452852" y="137360"/>
                  </a:cubicBezTo>
                  <a:close/>
                </a:path>
              </a:pathLst>
            </a:custGeom>
            <a:solidFill>
              <a:srgbClr val="F1DDBA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6BEA16FE-B9A6-4975-BBE7-5E8420AB06BB}"/>
                </a:ext>
              </a:extLst>
            </p:cNvPr>
            <p:cNvSpPr/>
            <p:nvPr/>
          </p:nvSpPr>
          <p:spPr>
            <a:xfrm>
              <a:off x="5082358" y="2695202"/>
              <a:ext cx="68461" cy="243076"/>
            </a:xfrm>
            <a:custGeom>
              <a:avLst/>
              <a:gdLst>
                <a:gd name="connsiteX0" fmla="*/ 55385 w 68461"/>
                <a:gd name="connsiteY0" fmla="*/ 243077 h 243076"/>
                <a:gd name="connsiteX1" fmla="*/ 49231 w 68461"/>
                <a:gd name="connsiteY1" fmla="*/ 236923 h 243076"/>
                <a:gd name="connsiteX2" fmla="*/ 0 w 68461"/>
                <a:gd name="connsiteY2" fmla="*/ 113846 h 243076"/>
                <a:gd name="connsiteX3" fmla="*/ 0 w 68461"/>
                <a:gd name="connsiteY3" fmla="*/ 107692 h 243076"/>
                <a:gd name="connsiteX4" fmla="*/ 3077 w 68461"/>
                <a:gd name="connsiteY4" fmla="*/ 104615 h 243076"/>
                <a:gd name="connsiteX5" fmla="*/ 52308 w 68461"/>
                <a:gd name="connsiteY5" fmla="*/ 64615 h 243076"/>
                <a:gd name="connsiteX6" fmla="*/ 52308 w 68461"/>
                <a:gd name="connsiteY6" fmla="*/ 6154 h 243076"/>
                <a:gd name="connsiteX7" fmla="*/ 55385 w 68461"/>
                <a:gd name="connsiteY7" fmla="*/ 0 h 243076"/>
                <a:gd name="connsiteX8" fmla="*/ 61538 w 68461"/>
                <a:gd name="connsiteY8" fmla="*/ 3077 h 243076"/>
                <a:gd name="connsiteX9" fmla="*/ 61538 w 68461"/>
                <a:gd name="connsiteY9" fmla="*/ 70769 h 243076"/>
                <a:gd name="connsiteX10" fmla="*/ 12308 w 68461"/>
                <a:gd name="connsiteY10" fmla="*/ 113846 h 243076"/>
                <a:gd name="connsiteX11" fmla="*/ 58462 w 68461"/>
                <a:gd name="connsiteY11" fmla="*/ 233846 h 243076"/>
                <a:gd name="connsiteX12" fmla="*/ 55385 w 68461"/>
                <a:gd name="connsiteY12" fmla="*/ 243077 h 243076"/>
                <a:gd name="connsiteX13" fmla="*/ 55385 w 68461"/>
                <a:gd name="connsiteY13" fmla="*/ 243077 h 24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461" h="243076">
                  <a:moveTo>
                    <a:pt x="55385" y="243077"/>
                  </a:moveTo>
                  <a:cubicBezTo>
                    <a:pt x="52308" y="243077"/>
                    <a:pt x="49231" y="240000"/>
                    <a:pt x="49231" y="236923"/>
                  </a:cubicBezTo>
                  <a:cubicBezTo>
                    <a:pt x="43077" y="175385"/>
                    <a:pt x="0" y="116923"/>
                    <a:pt x="0" y="113846"/>
                  </a:cubicBezTo>
                  <a:cubicBezTo>
                    <a:pt x="0" y="110769"/>
                    <a:pt x="0" y="110769"/>
                    <a:pt x="0" y="107692"/>
                  </a:cubicBezTo>
                  <a:cubicBezTo>
                    <a:pt x="0" y="104615"/>
                    <a:pt x="3077" y="104615"/>
                    <a:pt x="3077" y="104615"/>
                  </a:cubicBezTo>
                  <a:cubicBezTo>
                    <a:pt x="3077" y="104615"/>
                    <a:pt x="36923" y="92308"/>
                    <a:pt x="52308" y="64615"/>
                  </a:cubicBezTo>
                  <a:cubicBezTo>
                    <a:pt x="61538" y="49231"/>
                    <a:pt x="61538" y="27692"/>
                    <a:pt x="52308" y="6154"/>
                  </a:cubicBezTo>
                  <a:cubicBezTo>
                    <a:pt x="52308" y="3077"/>
                    <a:pt x="52308" y="0"/>
                    <a:pt x="55385" y="0"/>
                  </a:cubicBezTo>
                  <a:cubicBezTo>
                    <a:pt x="58462" y="0"/>
                    <a:pt x="61538" y="0"/>
                    <a:pt x="61538" y="3077"/>
                  </a:cubicBezTo>
                  <a:cubicBezTo>
                    <a:pt x="70769" y="27692"/>
                    <a:pt x="70769" y="52308"/>
                    <a:pt x="61538" y="70769"/>
                  </a:cubicBezTo>
                  <a:cubicBezTo>
                    <a:pt x="49231" y="95385"/>
                    <a:pt x="24615" y="107692"/>
                    <a:pt x="12308" y="113846"/>
                  </a:cubicBezTo>
                  <a:cubicBezTo>
                    <a:pt x="24615" y="132308"/>
                    <a:pt x="52308" y="181538"/>
                    <a:pt x="58462" y="233846"/>
                  </a:cubicBezTo>
                  <a:cubicBezTo>
                    <a:pt x="61538" y="240000"/>
                    <a:pt x="58462" y="243077"/>
                    <a:pt x="55385" y="243077"/>
                  </a:cubicBezTo>
                  <a:cubicBezTo>
                    <a:pt x="55385" y="243077"/>
                    <a:pt x="55385" y="243077"/>
                    <a:pt x="55385" y="243077"/>
                  </a:cubicBezTo>
                  <a:close/>
                </a:path>
              </a:pathLst>
            </a:custGeom>
            <a:solidFill>
              <a:srgbClr val="D3977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1D6CFA18-6D66-4FBD-820C-52E64A3D8410}"/>
                </a:ext>
              </a:extLst>
            </p:cNvPr>
            <p:cNvSpPr/>
            <p:nvPr/>
          </p:nvSpPr>
          <p:spPr>
            <a:xfrm>
              <a:off x="4871853" y="3120587"/>
              <a:ext cx="117428" cy="33076"/>
            </a:xfrm>
            <a:custGeom>
              <a:avLst/>
              <a:gdLst>
                <a:gd name="connsiteX0" fmla="*/ 38198 w 117428"/>
                <a:gd name="connsiteY0" fmla="*/ 33077 h 33076"/>
                <a:gd name="connsiteX1" fmla="*/ 4352 w 117428"/>
                <a:gd name="connsiteY1" fmla="*/ 30000 h 33076"/>
                <a:gd name="connsiteX2" fmla="*/ 1274 w 117428"/>
                <a:gd name="connsiteY2" fmla="*/ 23846 h 33076"/>
                <a:gd name="connsiteX3" fmla="*/ 7428 w 117428"/>
                <a:gd name="connsiteY3" fmla="*/ 20769 h 33076"/>
                <a:gd name="connsiteX4" fmla="*/ 105890 w 117428"/>
                <a:gd name="connsiteY4" fmla="*/ 2308 h 33076"/>
                <a:gd name="connsiteX5" fmla="*/ 115121 w 117428"/>
                <a:gd name="connsiteY5" fmla="*/ 2308 h 33076"/>
                <a:gd name="connsiteX6" fmla="*/ 115121 w 117428"/>
                <a:gd name="connsiteY6" fmla="*/ 11538 h 33076"/>
                <a:gd name="connsiteX7" fmla="*/ 38198 w 117428"/>
                <a:gd name="connsiteY7" fmla="*/ 33077 h 3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428" h="33076">
                  <a:moveTo>
                    <a:pt x="38198" y="33077"/>
                  </a:moveTo>
                  <a:cubicBezTo>
                    <a:pt x="19736" y="33077"/>
                    <a:pt x="4352" y="30000"/>
                    <a:pt x="4352" y="30000"/>
                  </a:cubicBezTo>
                  <a:cubicBezTo>
                    <a:pt x="1274" y="30000"/>
                    <a:pt x="-1802" y="26923"/>
                    <a:pt x="1274" y="23846"/>
                  </a:cubicBezTo>
                  <a:cubicBezTo>
                    <a:pt x="1274" y="20769"/>
                    <a:pt x="4352" y="17692"/>
                    <a:pt x="7428" y="20769"/>
                  </a:cubicBezTo>
                  <a:cubicBezTo>
                    <a:pt x="7428" y="20769"/>
                    <a:pt x="72044" y="36154"/>
                    <a:pt x="105890" y="2308"/>
                  </a:cubicBezTo>
                  <a:cubicBezTo>
                    <a:pt x="108967" y="-769"/>
                    <a:pt x="112044" y="-769"/>
                    <a:pt x="115121" y="2308"/>
                  </a:cubicBezTo>
                  <a:cubicBezTo>
                    <a:pt x="118198" y="5385"/>
                    <a:pt x="118198" y="8462"/>
                    <a:pt x="115121" y="11538"/>
                  </a:cubicBezTo>
                  <a:cubicBezTo>
                    <a:pt x="90505" y="30000"/>
                    <a:pt x="62813" y="33077"/>
                    <a:pt x="38198" y="33077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74D6941B-07F2-40ED-8344-2549F7FE215F}"/>
                </a:ext>
              </a:extLst>
            </p:cNvPr>
            <p:cNvSpPr/>
            <p:nvPr/>
          </p:nvSpPr>
          <p:spPr>
            <a:xfrm>
              <a:off x="4783897" y="2673539"/>
              <a:ext cx="261538" cy="86278"/>
            </a:xfrm>
            <a:custGeom>
              <a:avLst/>
              <a:gdLst>
                <a:gd name="connsiteX0" fmla="*/ 6154 w 261538"/>
                <a:gd name="connsiteY0" fmla="*/ 86279 h 86278"/>
                <a:gd name="connsiteX1" fmla="*/ 0 w 261538"/>
                <a:gd name="connsiteY1" fmla="*/ 80125 h 86278"/>
                <a:gd name="connsiteX2" fmla="*/ 6154 w 261538"/>
                <a:gd name="connsiteY2" fmla="*/ 73971 h 86278"/>
                <a:gd name="connsiteX3" fmla="*/ 52308 w 261538"/>
                <a:gd name="connsiteY3" fmla="*/ 52432 h 86278"/>
                <a:gd name="connsiteX4" fmla="*/ 61538 w 261538"/>
                <a:gd name="connsiteY4" fmla="*/ 43202 h 86278"/>
                <a:gd name="connsiteX5" fmla="*/ 98461 w 261538"/>
                <a:gd name="connsiteY5" fmla="*/ 21663 h 86278"/>
                <a:gd name="connsiteX6" fmla="*/ 129231 w 261538"/>
                <a:gd name="connsiteY6" fmla="*/ 30894 h 86278"/>
                <a:gd name="connsiteX7" fmla="*/ 156923 w 261538"/>
                <a:gd name="connsiteY7" fmla="*/ 37048 h 86278"/>
                <a:gd name="connsiteX8" fmla="*/ 178461 w 261538"/>
                <a:gd name="connsiteY8" fmla="*/ 21663 h 86278"/>
                <a:gd name="connsiteX9" fmla="*/ 200000 w 261538"/>
                <a:gd name="connsiteY9" fmla="*/ 3202 h 86278"/>
                <a:gd name="connsiteX10" fmla="*/ 240000 w 261538"/>
                <a:gd name="connsiteY10" fmla="*/ 9355 h 86278"/>
                <a:gd name="connsiteX11" fmla="*/ 261538 w 261538"/>
                <a:gd name="connsiteY11" fmla="*/ 43202 h 86278"/>
                <a:gd name="connsiteX12" fmla="*/ 258461 w 261538"/>
                <a:gd name="connsiteY12" fmla="*/ 49355 h 86278"/>
                <a:gd name="connsiteX13" fmla="*/ 252308 w 261538"/>
                <a:gd name="connsiteY13" fmla="*/ 46279 h 86278"/>
                <a:gd name="connsiteX14" fmla="*/ 236923 w 261538"/>
                <a:gd name="connsiteY14" fmla="*/ 21663 h 86278"/>
                <a:gd name="connsiteX15" fmla="*/ 209231 w 261538"/>
                <a:gd name="connsiteY15" fmla="*/ 18586 h 86278"/>
                <a:gd name="connsiteX16" fmla="*/ 190769 w 261538"/>
                <a:gd name="connsiteY16" fmla="*/ 33971 h 86278"/>
                <a:gd name="connsiteX17" fmla="*/ 163077 w 261538"/>
                <a:gd name="connsiteY17" fmla="*/ 52432 h 86278"/>
                <a:gd name="connsiteX18" fmla="*/ 129231 w 261538"/>
                <a:gd name="connsiteY18" fmla="*/ 43202 h 86278"/>
                <a:gd name="connsiteX19" fmla="*/ 104615 w 261538"/>
                <a:gd name="connsiteY19" fmla="*/ 37048 h 86278"/>
                <a:gd name="connsiteX20" fmla="*/ 76923 w 261538"/>
                <a:gd name="connsiteY20" fmla="*/ 55509 h 86278"/>
                <a:gd name="connsiteX21" fmla="*/ 67692 w 261538"/>
                <a:gd name="connsiteY21" fmla="*/ 64740 h 86278"/>
                <a:gd name="connsiteX22" fmla="*/ 6154 w 261538"/>
                <a:gd name="connsiteY22" fmla="*/ 86279 h 86278"/>
                <a:gd name="connsiteX23" fmla="*/ 6154 w 261538"/>
                <a:gd name="connsiteY23" fmla="*/ 86279 h 86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1538" h="86278">
                  <a:moveTo>
                    <a:pt x="6154" y="86279"/>
                  </a:moveTo>
                  <a:cubicBezTo>
                    <a:pt x="3077" y="86279"/>
                    <a:pt x="0" y="83202"/>
                    <a:pt x="0" y="80125"/>
                  </a:cubicBezTo>
                  <a:cubicBezTo>
                    <a:pt x="0" y="77048"/>
                    <a:pt x="3077" y="73971"/>
                    <a:pt x="6154" y="73971"/>
                  </a:cubicBezTo>
                  <a:cubicBezTo>
                    <a:pt x="24615" y="70894"/>
                    <a:pt x="40000" y="64740"/>
                    <a:pt x="52308" y="52432"/>
                  </a:cubicBezTo>
                  <a:cubicBezTo>
                    <a:pt x="55384" y="49355"/>
                    <a:pt x="58461" y="46279"/>
                    <a:pt x="61538" y="43202"/>
                  </a:cubicBezTo>
                  <a:cubicBezTo>
                    <a:pt x="70769" y="33971"/>
                    <a:pt x="83077" y="21663"/>
                    <a:pt x="98461" y="21663"/>
                  </a:cubicBezTo>
                  <a:cubicBezTo>
                    <a:pt x="110769" y="21663"/>
                    <a:pt x="120000" y="24740"/>
                    <a:pt x="129231" y="30894"/>
                  </a:cubicBezTo>
                  <a:cubicBezTo>
                    <a:pt x="138462" y="33971"/>
                    <a:pt x="147692" y="40125"/>
                    <a:pt x="156923" y="37048"/>
                  </a:cubicBezTo>
                  <a:cubicBezTo>
                    <a:pt x="166154" y="33971"/>
                    <a:pt x="172308" y="27817"/>
                    <a:pt x="178461" y="21663"/>
                  </a:cubicBezTo>
                  <a:cubicBezTo>
                    <a:pt x="184615" y="15509"/>
                    <a:pt x="190769" y="9355"/>
                    <a:pt x="200000" y="3202"/>
                  </a:cubicBezTo>
                  <a:cubicBezTo>
                    <a:pt x="212308" y="-2952"/>
                    <a:pt x="227692" y="125"/>
                    <a:pt x="240000" y="9355"/>
                  </a:cubicBezTo>
                  <a:cubicBezTo>
                    <a:pt x="249231" y="15509"/>
                    <a:pt x="258461" y="27817"/>
                    <a:pt x="261538" y="43202"/>
                  </a:cubicBezTo>
                  <a:cubicBezTo>
                    <a:pt x="261538" y="46279"/>
                    <a:pt x="261538" y="49355"/>
                    <a:pt x="258461" y="49355"/>
                  </a:cubicBezTo>
                  <a:cubicBezTo>
                    <a:pt x="255384" y="49355"/>
                    <a:pt x="252308" y="49355"/>
                    <a:pt x="252308" y="46279"/>
                  </a:cubicBezTo>
                  <a:cubicBezTo>
                    <a:pt x="249231" y="33971"/>
                    <a:pt x="243077" y="24740"/>
                    <a:pt x="236923" y="21663"/>
                  </a:cubicBezTo>
                  <a:cubicBezTo>
                    <a:pt x="227692" y="15509"/>
                    <a:pt x="218461" y="12432"/>
                    <a:pt x="209231" y="18586"/>
                  </a:cubicBezTo>
                  <a:cubicBezTo>
                    <a:pt x="203077" y="21663"/>
                    <a:pt x="196923" y="27817"/>
                    <a:pt x="190769" y="33971"/>
                  </a:cubicBezTo>
                  <a:cubicBezTo>
                    <a:pt x="184615" y="43202"/>
                    <a:pt x="175385" y="49355"/>
                    <a:pt x="163077" y="52432"/>
                  </a:cubicBezTo>
                  <a:cubicBezTo>
                    <a:pt x="150769" y="55509"/>
                    <a:pt x="138462" y="49355"/>
                    <a:pt x="129231" y="43202"/>
                  </a:cubicBezTo>
                  <a:cubicBezTo>
                    <a:pt x="120000" y="40125"/>
                    <a:pt x="113846" y="33971"/>
                    <a:pt x="104615" y="37048"/>
                  </a:cubicBezTo>
                  <a:cubicBezTo>
                    <a:pt x="92308" y="37048"/>
                    <a:pt x="86154" y="46279"/>
                    <a:pt x="76923" y="55509"/>
                  </a:cubicBezTo>
                  <a:cubicBezTo>
                    <a:pt x="73846" y="58586"/>
                    <a:pt x="70769" y="61663"/>
                    <a:pt x="67692" y="64740"/>
                  </a:cubicBezTo>
                  <a:cubicBezTo>
                    <a:pt x="46154" y="73971"/>
                    <a:pt x="27692" y="83202"/>
                    <a:pt x="6154" y="86279"/>
                  </a:cubicBezTo>
                  <a:cubicBezTo>
                    <a:pt x="6154" y="86279"/>
                    <a:pt x="6154" y="86279"/>
                    <a:pt x="6154" y="86279"/>
                  </a:cubicBezTo>
                  <a:close/>
                </a:path>
              </a:pathLst>
            </a:custGeom>
            <a:solidFill>
              <a:srgbClr val="D3977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1BB9485F-8E06-4B6A-859A-3253130D0214}"/>
                </a:ext>
              </a:extLst>
            </p:cNvPr>
            <p:cNvSpPr/>
            <p:nvPr/>
          </p:nvSpPr>
          <p:spPr>
            <a:xfrm>
              <a:off x="4759281" y="2589976"/>
              <a:ext cx="291538" cy="83688"/>
            </a:xfrm>
            <a:custGeom>
              <a:avLst/>
              <a:gdLst>
                <a:gd name="connsiteX0" fmla="*/ 6154 w 291538"/>
                <a:gd name="connsiteY0" fmla="*/ 83688 h 83688"/>
                <a:gd name="connsiteX1" fmla="*/ 6154 w 291538"/>
                <a:gd name="connsiteY1" fmla="*/ 83688 h 83688"/>
                <a:gd name="connsiteX2" fmla="*/ 0 w 291538"/>
                <a:gd name="connsiteY2" fmla="*/ 77534 h 83688"/>
                <a:gd name="connsiteX3" fmla="*/ 15385 w 291538"/>
                <a:gd name="connsiteY3" fmla="*/ 49842 h 83688"/>
                <a:gd name="connsiteX4" fmla="*/ 76923 w 291538"/>
                <a:gd name="connsiteY4" fmla="*/ 34457 h 83688"/>
                <a:gd name="connsiteX5" fmla="*/ 116923 w 291538"/>
                <a:gd name="connsiteY5" fmla="*/ 15996 h 83688"/>
                <a:gd name="connsiteX6" fmla="*/ 144615 w 291538"/>
                <a:gd name="connsiteY6" fmla="*/ 611 h 83688"/>
                <a:gd name="connsiteX7" fmla="*/ 200000 w 291538"/>
                <a:gd name="connsiteY7" fmla="*/ 12919 h 83688"/>
                <a:gd name="connsiteX8" fmla="*/ 227692 w 291538"/>
                <a:gd name="connsiteY8" fmla="*/ 19073 h 83688"/>
                <a:gd name="connsiteX9" fmla="*/ 289231 w 291538"/>
                <a:gd name="connsiteY9" fmla="*/ 40611 h 83688"/>
                <a:gd name="connsiteX10" fmla="*/ 289231 w 291538"/>
                <a:gd name="connsiteY10" fmla="*/ 49842 h 83688"/>
                <a:gd name="connsiteX11" fmla="*/ 280000 w 291538"/>
                <a:gd name="connsiteY11" fmla="*/ 49842 h 83688"/>
                <a:gd name="connsiteX12" fmla="*/ 233846 w 291538"/>
                <a:gd name="connsiteY12" fmla="*/ 31380 h 83688"/>
                <a:gd name="connsiteX13" fmla="*/ 193846 w 291538"/>
                <a:gd name="connsiteY13" fmla="*/ 25227 h 83688"/>
                <a:gd name="connsiteX14" fmla="*/ 147692 w 291538"/>
                <a:gd name="connsiteY14" fmla="*/ 12919 h 83688"/>
                <a:gd name="connsiteX15" fmla="*/ 123077 w 291538"/>
                <a:gd name="connsiteY15" fmla="*/ 28303 h 83688"/>
                <a:gd name="connsiteX16" fmla="*/ 73846 w 291538"/>
                <a:gd name="connsiteY16" fmla="*/ 46765 h 83688"/>
                <a:gd name="connsiteX17" fmla="*/ 21538 w 291538"/>
                <a:gd name="connsiteY17" fmla="*/ 59073 h 83688"/>
                <a:gd name="connsiteX18" fmla="*/ 9231 w 291538"/>
                <a:gd name="connsiteY18" fmla="*/ 77534 h 83688"/>
                <a:gd name="connsiteX19" fmla="*/ 6154 w 291538"/>
                <a:gd name="connsiteY19" fmla="*/ 83688 h 83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1538" h="83688">
                  <a:moveTo>
                    <a:pt x="6154" y="83688"/>
                  </a:moveTo>
                  <a:lnTo>
                    <a:pt x="6154" y="83688"/>
                  </a:lnTo>
                  <a:cubicBezTo>
                    <a:pt x="3077" y="83688"/>
                    <a:pt x="0" y="80611"/>
                    <a:pt x="0" y="77534"/>
                  </a:cubicBezTo>
                  <a:cubicBezTo>
                    <a:pt x="0" y="65227"/>
                    <a:pt x="6154" y="55996"/>
                    <a:pt x="15385" y="49842"/>
                  </a:cubicBezTo>
                  <a:cubicBezTo>
                    <a:pt x="33846" y="34457"/>
                    <a:pt x="61538" y="34457"/>
                    <a:pt x="76923" y="34457"/>
                  </a:cubicBezTo>
                  <a:cubicBezTo>
                    <a:pt x="86154" y="34457"/>
                    <a:pt x="104615" y="25227"/>
                    <a:pt x="116923" y="15996"/>
                  </a:cubicBezTo>
                  <a:cubicBezTo>
                    <a:pt x="129231" y="6765"/>
                    <a:pt x="138462" y="611"/>
                    <a:pt x="144615" y="611"/>
                  </a:cubicBezTo>
                  <a:cubicBezTo>
                    <a:pt x="169231" y="-2466"/>
                    <a:pt x="187692" y="6765"/>
                    <a:pt x="200000" y="12919"/>
                  </a:cubicBezTo>
                  <a:cubicBezTo>
                    <a:pt x="212308" y="19073"/>
                    <a:pt x="218461" y="22150"/>
                    <a:pt x="227692" y="19073"/>
                  </a:cubicBezTo>
                  <a:cubicBezTo>
                    <a:pt x="258462" y="3688"/>
                    <a:pt x="286154" y="37534"/>
                    <a:pt x="289231" y="40611"/>
                  </a:cubicBezTo>
                  <a:cubicBezTo>
                    <a:pt x="292308" y="43688"/>
                    <a:pt x="292308" y="46765"/>
                    <a:pt x="289231" y="49842"/>
                  </a:cubicBezTo>
                  <a:cubicBezTo>
                    <a:pt x="286154" y="52919"/>
                    <a:pt x="283077" y="52919"/>
                    <a:pt x="280000" y="49842"/>
                  </a:cubicBezTo>
                  <a:cubicBezTo>
                    <a:pt x="280000" y="49842"/>
                    <a:pt x="255385" y="22150"/>
                    <a:pt x="233846" y="31380"/>
                  </a:cubicBezTo>
                  <a:cubicBezTo>
                    <a:pt x="218461" y="40611"/>
                    <a:pt x="206154" y="31380"/>
                    <a:pt x="193846" y="25227"/>
                  </a:cubicBezTo>
                  <a:cubicBezTo>
                    <a:pt x="181539" y="15996"/>
                    <a:pt x="169231" y="9842"/>
                    <a:pt x="147692" y="12919"/>
                  </a:cubicBezTo>
                  <a:cubicBezTo>
                    <a:pt x="141538" y="12919"/>
                    <a:pt x="132308" y="19073"/>
                    <a:pt x="123077" y="28303"/>
                  </a:cubicBezTo>
                  <a:cubicBezTo>
                    <a:pt x="107692" y="37534"/>
                    <a:pt x="89231" y="49842"/>
                    <a:pt x="73846" y="46765"/>
                  </a:cubicBezTo>
                  <a:cubicBezTo>
                    <a:pt x="61538" y="43688"/>
                    <a:pt x="36923" y="46765"/>
                    <a:pt x="21538" y="59073"/>
                  </a:cubicBezTo>
                  <a:cubicBezTo>
                    <a:pt x="15385" y="65227"/>
                    <a:pt x="12308" y="71380"/>
                    <a:pt x="9231" y="77534"/>
                  </a:cubicBezTo>
                  <a:cubicBezTo>
                    <a:pt x="12308" y="83688"/>
                    <a:pt x="9231" y="83688"/>
                    <a:pt x="6154" y="83688"/>
                  </a:cubicBezTo>
                  <a:close/>
                </a:path>
              </a:pathLst>
            </a:custGeom>
            <a:solidFill>
              <a:srgbClr val="D3977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0" name="图形 1">
              <a:extLst>
                <a:ext uri="{FF2B5EF4-FFF2-40B4-BE49-F238E27FC236}">
                  <a16:creationId xmlns:a16="http://schemas.microsoft.com/office/drawing/2014/main" id="{87A63DEC-B75A-48C7-B4B6-B41D36C72611}"/>
                </a:ext>
              </a:extLst>
            </p:cNvPr>
            <p:cNvGrpSpPr/>
            <p:nvPr/>
          </p:nvGrpSpPr>
          <p:grpSpPr>
            <a:xfrm>
              <a:off x="5587094" y="6710587"/>
              <a:ext cx="440404" cy="560223"/>
              <a:chOff x="5587094" y="6710587"/>
              <a:chExt cx="440404" cy="560223"/>
            </a:xfrm>
          </p:grpSpPr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3F387B8B-8D1B-45DD-8650-F70E90EC926A}"/>
                  </a:ext>
                </a:extLst>
              </p:cNvPr>
              <p:cNvSpPr/>
              <p:nvPr/>
            </p:nvSpPr>
            <p:spPr>
              <a:xfrm>
                <a:off x="5670050" y="6710587"/>
                <a:ext cx="267692" cy="258461"/>
              </a:xfrm>
              <a:custGeom>
                <a:avLst/>
                <a:gdLst>
                  <a:gd name="connsiteX0" fmla="*/ 255385 w 267692"/>
                  <a:gd name="connsiteY0" fmla="*/ 156923 h 258461"/>
                  <a:gd name="connsiteX1" fmla="*/ 150769 w 267692"/>
                  <a:gd name="connsiteY1" fmla="*/ 0 h 258461"/>
                  <a:gd name="connsiteX2" fmla="*/ 0 w 267692"/>
                  <a:gd name="connsiteY2" fmla="*/ 104616 h 258461"/>
                  <a:gd name="connsiteX3" fmla="*/ 126154 w 267692"/>
                  <a:gd name="connsiteY3" fmla="*/ 258462 h 258461"/>
                  <a:gd name="connsiteX4" fmla="*/ 267692 w 267692"/>
                  <a:gd name="connsiteY4" fmla="*/ 196923 h 25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7692" h="258461">
                    <a:moveTo>
                      <a:pt x="255385" y="156923"/>
                    </a:moveTo>
                    <a:lnTo>
                      <a:pt x="150769" y="0"/>
                    </a:lnTo>
                    <a:lnTo>
                      <a:pt x="0" y="104616"/>
                    </a:lnTo>
                    <a:lnTo>
                      <a:pt x="126154" y="258462"/>
                    </a:lnTo>
                    <a:lnTo>
                      <a:pt x="267692" y="196923"/>
                    </a:ln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90EC555A-08B7-4F0A-B70B-07ABCB429D5C}"/>
                  </a:ext>
                </a:extLst>
              </p:cNvPr>
              <p:cNvSpPr/>
              <p:nvPr/>
            </p:nvSpPr>
            <p:spPr>
              <a:xfrm>
                <a:off x="5587094" y="6858279"/>
                <a:ext cx="412187" cy="375384"/>
              </a:xfrm>
              <a:custGeom>
                <a:avLst/>
                <a:gdLst>
                  <a:gd name="connsiteX0" fmla="*/ 347572 w 412187"/>
                  <a:gd name="connsiteY0" fmla="*/ 0 h 375384"/>
                  <a:gd name="connsiteX1" fmla="*/ 166034 w 412187"/>
                  <a:gd name="connsiteY1" fmla="*/ 67692 h 375384"/>
                  <a:gd name="connsiteX2" fmla="*/ 101418 w 412187"/>
                  <a:gd name="connsiteY2" fmla="*/ 212308 h 375384"/>
                  <a:gd name="connsiteX3" fmla="*/ 6034 w 412187"/>
                  <a:gd name="connsiteY3" fmla="*/ 375385 h 375384"/>
                  <a:gd name="connsiteX4" fmla="*/ 412188 w 412187"/>
                  <a:gd name="connsiteY4" fmla="*/ 95385 h 375384"/>
                  <a:gd name="connsiteX5" fmla="*/ 347572 w 412187"/>
                  <a:gd name="connsiteY5" fmla="*/ 0 h 37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2187" h="375384">
                    <a:moveTo>
                      <a:pt x="347572" y="0"/>
                    </a:moveTo>
                    <a:cubicBezTo>
                      <a:pt x="347572" y="0"/>
                      <a:pt x="255264" y="86154"/>
                      <a:pt x="166034" y="67692"/>
                    </a:cubicBezTo>
                    <a:cubicBezTo>
                      <a:pt x="166034" y="67692"/>
                      <a:pt x="135265" y="178462"/>
                      <a:pt x="101418" y="212308"/>
                    </a:cubicBezTo>
                    <a:cubicBezTo>
                      <a:pt x="70649" y="246154"/>
                      <a:pt x="-24736" y="307692"/>
                      <a:pt x="6034" y="375385"/>
                    </a:cubicBezTo>
                    <a:lnTo>
                      <a:pt x="412188" y="95385"/>
                    </a:lnTo>
                    <a:cubicBezTo>
                      <a:pt x="412188" y="95385"/>
                      <a:pt x="393726" y="30769"/>
                      <a:pt x="347572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3A617B32-4C83-4287-A616-47331C7BF795}"/>
                  </a:ext>
                </a:extLst>
              </p:cNvPr>
              <p:cNvSpPr/>
              <p:nvPr/>
            </p:nvSpPr>
            <p:spPr>
              <a:xfrm rot="-2080426">
                <a:off x="5565781" y="7088718"/>
                <a:ext cx="492304" cy="46153"/>
              </a:xfrm>
              <a:custGeom>
                <a:avLst/>
                <a:gdLst>
                  <a:gd name="connsiteX0" fmla="*/ 0 w 492304"/>
                  <a:gd name="connsiteY0" fmla="*/ 0 h 46153"/>
                  <a:gd name="connsiteX1" fmla="*/ 492305 w 492304"/>
                  <a:gd name="connsiteY1" fmla="*/ 0 h 46153"/>
                  <a:gd name="connsiteX2" fmla="*/ 492305 w 492304"/>
                  <a:gd name="connsiteY2" fmla="*/ 46153 h 46153"/>
                  <a:gd name="connsiteX3" fmla="*/ 0 w 492304"/>
                  <a:gd name="connsiteY3" fmla="*/ 46153 h 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304" h="46153">
                    <a:moveTo>
                      <a:pt x="0" y="0"/>
                    </a:moveTo>
                    <a:lnTo>
                      <a:pt x="492305" y="0"/>
                    </a:lnTo>
                    <a:lnTo>
                      <a:pt x="492305" y="46153"/>
                    </a:lnTo>
                    <a:lnTo>
                      <a:pt x="0" y="46153"/>
                    </a:lnTo>
                    <a:close/>
                  </a:path>
                </a:pathLst>
              </a:custGeom>
              <a:solidFill>
                <a:srgbClr val="38333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701F280F-6F6C-4B6A-A7D0-04BBBF53EB02}"/>
                  </a:ext>
                </a:extLst>
              </p:cNvPr>
              <p:cNvSpPr/>
              <p:nvPr/>
            </p:nvSpPr>
            <p:spPr>
              <a:xfrm>
                <a:off x="5746973" y="6852894"/>
                <a:ext cx="193077" cy="82307"/>
              </a:xfrm>
              <a:custGeom>
                <a:avLst/>
                <a:gdLst>
                  <a:gd name="connsiteX0" fmla="*/ 27692 w 193077"/>
                  <a:gd name="connsiteY0" fmla="*/ 82308 h 82307"/>
                  <a:gd name="connsiteX1" fmla="*/ 6154 w 193077"/>
                  <a:gd name="connsiteY1" fmla="*/ 82308 h 82307"/>
                  <a:gd name="connsiteX2" fmla="*/ 0 w 193077"/>
                  <a:gd name="connsiteY2" fmla="*/ 76154 h 82307"/>
                  <a:gd name="connsiteX3" fmla="*/ 6154 w 193077"/>
                  <a:gd name="connsiteY3" fmla="*/ 70000 h 82307"/>
                  <a:gd name="connsiteX4" fmla="*/ 181539 w 193077"/>
                  <a:gd name="connsiteY4" fmla="*/ 2308 h 82307"/>
                  <a:gd name="connsiteX5" fmla="*/ 190769 w 193077"/>
                  <a:gd name="connsiteY5" fmla="*/ 2308 h 82307"/>
                  <a:gd name="connsiteX6" fmla="*/ 190769 w 193077"/>
                  <a:gd name="connsiteY6" fmla="*/ 11538 h 82307"/>
                  <a:gd name="connsiteX7" fmla="*/ 27692 w 193077"/>
                  <a:gd name="connsiteY7" fmla="*/ 82308 h 8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3077" h="82307">
                    <a:moveTo>
                      <a:pt x="27692" y="82308"/>
                    </a:moveTo>
                    <a:cubicBezTo>
                      <a:pt x="21539" y="82308"/>
                      <a:pt x="15385" y="82308"/>
                      <a:pt x="6154" y="82308"/>
                    </a:cubicBezTo>
                    <a:cubicBezTo>
                      <a:pt x="3077" y="82308"/>
                      <a:pt x="0" y="79231"/>
                      <a:pt x="0" y="76154"/>
                    </a:cubicBezTo>
                    <a:cubicBezTo>
                      <a:pt x="0" y="73077"/>
                      <a:pt x="3077" y="70000"/>
                      <a:pt x="6154" y="70000"/>
                    </a:cubicBezTo>
                    <a:cubicBezTo>
                      <a:pt x="98462" y="82308"/>
                      <a:pt x="181539" y="5384"/>
                      <a:pt x="181539" y="2308"/>
                    </a:cubicBezTo>
                    <a:cubicBezTo>
                      <a:pt x="184615" y="-769"/>
                      <a:pt x="187692" y="-769"/>
                      <a:pt x="190769" y="2308"/>
                    </a:cubicBezTo>
                    <a:cubicBezTo>
                      <a:pt x="193846" y="5384"/>
                      <a:pt x="193846" y="8462"/>
                      <a:pt x="190769" y="11538"/>
                    </a:cubicBezTo>
                    <a:cubicBezTo>
                      <a:pt x="190769" y="14615"/>
                      <a:pt x="116923" y="82308"/>
                      <a:pt x="27692" y="8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C9335E5A-A446-4706-A28B-695A9BD75044}"/>
                  </a:ext>
                </a:extLst>
              </p:cNvPr>
              <p:cNvSpPr/>
              <p:nvPr/>
            </p:nvSpPr>
            <p:spPr>
              <a:xfrm>
                <a:off x="5736468" y="6964697"/>
                <a:ext cx="48702" cy="16658"/>
              </a:xfrm>
              <a:custGeom>
                <a:avLst/>
                <a:gdLst>
                  <a:gd name="connsiteX0" fmla="*/ 41274 w 48702"/>
                  <a:gd name="connsiteY0" fmla="*/ 16659 h 16658"/>
                  <a:gd name="connsiteX1" fmla="*/ 41274 w 48702"/>
                  <a:gd name="connsiteY1" fmla="*/ 16659 h 16658"/>
                  <a:gd name="connsiteX2" fmla="*/ 4351 w 48702"/>
                  <a:gd name="connsiteY2" fmla="*/ 10505 h 16658"/>
                  <a:gd name="connsiteX3" fmla="*/ 1275 w 48702"/>
                  <a:gd name="connsiteY3" fmla="*/ 4351 h 16658"/>
                  <a:gd name="connsiteX4" fmla="*/ 7428 w 48702"/>
                  <a:gd name="connsiteY4" fmla="*/ 1274 h 16658"/>
                  <a:gd name="connsiteX5" fmla="*/ 44351 w 48702"/>
                  <a:gd name="connsiteY5" fmla="*/ 7428 h 16658"/>
                  <a:gd name="connsiteX6" fmla="*/ 47428 w 48702"/>
                  <a:gd name="connsiteY6" fmla="*/ 13582 h 16658"/>
                  <a:gd name="connsiteX7" fmla="*/ 41274 w 48702"/>
                  <a:gd name="connsiteY7" fmla="*/ 16659 h 16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702" h="16658">
                    <a:moveTo>
                      <a:pt x="41274" y="16659"/>
                    </a:moveTo>
                    <a:cubicBezTo>
                      <a:pt x="41274" y="16659"/>
                      <a:pt x="41274" y="16659"/>
                      <a:pt x="41274" y="16659"/>
                    </a:cubicBezTo>
                    <a:lnTo>
                      <a:pt x="4351" y="10505"/>
                    </a:lnTo>
                    <a:cubicBezTo>
                      <a:pt x="1275" y="10505"/>
                      <a:pt x="-1803" y="7428"/>
                      <a:pt x="1275" y="4351"/>
                    </a:cubicBezTo>
                    <a:cubicBezTo>
                      <a:pt x="1275" y="1274"/>
                      <a:pt x="4351" y="-1802"/>
                      <a:pt x="7428" y="1274"/>
                    </a:cubicBezTo>
                    <a:lnTo>
                      <a:pt x="44351" y="7428"/>
                    </a:lnTo>
                    <a:cubicBezTo>
                      <a:pt x="47428" y="7428"/>
                      <a:pt x="50505" y="10505"/>
                      <a:pt x="47428" y="13582"/>
                    </a:cubicBezTo>
                    <a:cubicBezTo>
                      <a:pt x="47428" y="16659"/>
                      <a:pt x="44351" y="16659"/>
                      <a:pt x="41274" y="1665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44B2A74C-A3EB-4F91-AF98-A23F3C0777B9}"/>
                  </a:ext>
                </a:extLst>
              </p:cNvPr>
              <p:cNvSpPr/>
              <p:nvPr/>
            </p:nvSpPr>
            <p:spPr>
              <a:xfrm>
                <a:off x="5721084" y="7010851"/>
                <a:ext cx="48702" cy="16658"/>
              </a:xfrm>
              <a:custGeom>
                <a:avLst/>
                <a:gdLst>
                  <a:gd name="connsiteX0" fmla="*/ 41274 w 48702"/>
                  <a:gd name="connsiteY0" fmla="*/ 16659 h 16658"/>
                  <a:gd name="connsiteX1" fmla="*/ 41274 w 48702"/>
                  <a:gd name="connsiteY1" fmla="*/ 16659 h 16658"/>
                  <a:gd name="connsiteX2" fmla="*/ 4351 w 48702"/>
                  <a:gd name="connsiteY2" fmla="*/ 10505 h 16658"/>
                  <a:gd name="connsiteX3" fmla="*/ 1275 w 48702"/>
                  <a:gd name="connsiteY3" fmla="*/ 4351 h 16658"/>
                  <a:gd name="connsiteX4" fmla="*/ 7428 w 48702"/>
                  <a:gd name="connsiteY4" fmla="*/ 1274 h 16658"/>
                  <a:gd name="connsiteX5" fmla="*/ 44351 w 48702"/>
                  <a:gd name="connsiteY5" fmla="*/ 7428 h 16658"/>
                  <a:gd name="connsiteX6" fmla="*/ 47428 w 48702"/>
                  <a:gd name="connsiteY6" fmla="*/ 13582 h 16658"/>
                  <a:gd name="connsiteX7" fmla="*/ 41274 w 48702"/>
                  <a:gd name="connsiteY7" fmla="*/ 16659 h 16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702" h="16658">
                    <a:moveTo>
                      <a:pt x="41274" y="16659"/>
                    </a:moveTo>
                    <a:cubicBezTo>
                      <a:pt x="41274" y="16659"/>
                      <a:pt x="38198" y="16659"/>
                      <a:pt x="41274" y="16659"/>
                    </a:cubicBezTo>
                    <a:lnTo>
                      <a:pt x="4351" y="10505"/>
                    </a:lnTo>
                    <a:cubicBezTo>
                      <a:pt x="1275" y="10505"/>
                      <a:pt x="-1803" y="7428"/>
                      <a:pt x="1275" y="4351"/>
                    </a:cubicBezTo>
                    <a:cubicBezTo>
                      <a:pt x="1275" y="1274"/>
                      <a:pt x="4351" y="-1802"/>
                      <a:pt x="7428" y="1274"/>
                    </a:cubicBezTo>
                    <a:lnTo>
                      <a:pt x="44351" y="7428"/>
                    </a:lnTo>
                    <a:cubicBezTo>
                      <a:pt x="47428" y="7428"/>
                      <a:pt x="50505" y="10505"/>
                      <a:pt x="47428" y="13582"/>
                    </a:cubicBezTo>
                    <a:cubicBezTo>
                      <a:pt x="44351" y="13582"/>
                      <a:pt x="44351" y="16659"/>
                      <a:pt x="41274" y="1665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1" name="图形 1">
              <a:extLst>
                <a:ext uri="{FF2B5EF4-FFF2-40B4-BE49-F238E27FC236}">
                  <a16:creationId xmlns:a16="http://schemas.microsoft.com/office/drawing/2014/main" id="{05A9645A-0D39-431B-BE38-B2FFF83A64F3}"/>
                </a:ext>
              </a:extLst>
            </p:cNvPr>
            <p:cNvGrpSpPr/>
            <p:nvPr/>
          </p:nvGrpSpPr>
          <p:grpSpPr>
            <a:xfrm>
              <a:off x="4282358" y="7061356"/>
              <a:ext cx="501538" cy="347692"/>
              <a:chOff x="4282358" y="7061356"/>
              <a:chExt cx="501538" cy="347692"/>
            </a:xfrm>
          </p:grpSpPr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5590EE77-7A97-48F2-9001-246CBC77985A}"/>
                  </a:ext>
                </a:extLst>
              </p:cNvPr>
              <p:cNvSpPr/>
              <p:nvPr/>
            </p:nvSpPr>
            <p:spPr>
              <a:xfrm>
                <a:off x="4580820" y="7061356"/>
                <a:ext cx="184615" cy="224615"/>
              </a:xfrm>
              <a:custGeom>
                <a:avLst/>
                <a:gdLst>
                  <a:gd name="connsiteX0" fmla="*/ 181539 w 184615"/>
                  <a:gd name="connsiteY0" fmla="*/ 187692 h 224615"/>
                  <a:gd name="connsiteX1" fmla="*/ 184615 w 184615"/>
                  <a:gd name="connsiteY1" fmla="*/ 0 h 224615"/>
                  <a:gd name="connsiteX2" fmla="*/ 0 w 184615"/>
                  <a:gd name="connsiteY2" fmla="*/ 0 h 224615"/>
                  <a:gd name="connsiteX3" fmla="*/ 15385 w 184615"/>
                  <a:gd name="connsiteY3" fmla="*/ 196923 h 224615"/>
                  <a:gd name="connsiteX4" fmla="*/ 169231 w 184615"/>
                  <a:gd name="connsiteY4" fmla="*/ 224615 h 22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615" h="224615">
                    <a:moveTo>
                      <a:pt x="181539" y="187692"/>
                    </a:moveTo>
                    <a:lnTo>
                      <a:pt x="184615" y="0"/>
                    </a:lnTo>
                    <a:lnTo>
                      <a:pt x="0" y="0"/>
                    </a:lnTo>
                    <a:lnTo>
                      <a:pt x="15385" y="196923"/>
                    </a:lnTo>
                    <a:lnTo>
                      <a:pt x="169231" y="224615"/>
                    </a:ln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5170EFF7-FE2F-47A0-B20E-D91FD69E3B5C}"/>
                  </a:ext>
                </a:extLst>
              </p:cNvPr>
              <p:cNvSpPr/>
              <p:nvPr/>
            </p:nvSpPr>
            <p:spPr>
              <a:xfrm>
                <a:off x="4282358" y="7202894"/>
                <a:ext cx="500512" cy="160000"/>
              </a:xfrm>
              <a:custGeom>
                <a:avLst/>
                <a:gdLst>
                  <a:gd name="connsiteX0" fmla="*/ 492308 w 500512"/>
                  <a:gd name="connsiteY0" fmla="*/ 46154 h 160000"/>
                  <a:gd name="connsiteX1" fmla="*/ 304615 w 500512"/>
                  <a:gd name="connsiteY1" fmla="*/ 0 h 160000"/>
                  <a:gd name="connsiteX2" fmla="*/ 169231 w 500512"/>
                  <a:gd name="connsiteY2" fmla="*/ 80000 h 160000"/>
                  <a:gd name="connsiteX3" fmla="*/ 0 w 500512"/>
                  <a:gd name="connsiteY3" fmla="*/ 160000 h 160000"/>
                  <a:gd name="connsiteX4" fmla="*/ 492308 w 500512"/>
                  <a:gd name="connsiteY4" fmla="*/ 160000 h 160000"/>
                  <a:gd name="connsiteX5" fmla="*/ 492308 w 500512"/>
                  <a:gd name="connsiteY5" fmla="*/ 46154 h 1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512" h="160000">
                    <a:moveTo>
                      <a:pt x="492308" y="46154"/>
                    </a:moveTo>
                    <a:cubicBezTo>
                      <a:pt x="492308" y="46154"/>
                      <a:pt x="366154" y="64616"/>
                      <a:pt x="304615" y="0"/>
                    </a:cubicBezTo>
                    <a:cubicBezTo>
                      <a:pt x="304615" y="0"/>
                      <a:pt x="215385" y="70769"/>
                      <a:pt x="169231" y="80000"/>
                    </a:cubicBezTo>
                    <a:cubicBezTo>
                      <a:pt x="123077" y="89231"/>
                      <a:pt x="12308" y="86154"/>
                      <a:pt x="0" y="160000"/>
                    </a:cubicBezTo>
                    <a:lnTo>
                      <a:pt x="492308" y="160000"/>
                    </a:lnTo>
                    <a:cubicBezTo>
                      <a:pt x="492308" y="160000"/>
                      <a:pt x="510769" y="95385"/>
                      <a:pt x="492308" y="4615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CA8008FD-A780-4B64-930F-A99E5591F529}"/>
                  </a:ext>
                </a:extLst>
              </p:cNvPr>
              <p:cNvSpPr/>
              <p:nvPr/>
            </p:nvSpPr>
            <p:spPr>
              <a:xfrm>
                <a:off x="4282358" y="7362894"/>
                <a:ext cx="492307" cy="46153"/>
              </a:xfrm>
              <a:custGeom>
                <a:avLst/>
                <a:gdLst>
                  <a:gd name="connsiteX0" fmla="*/ 0 w 492307"/>
                  <a:gd name="connsiteY0" fmla="*/ 0 h 46153"/>
                  <a:gd name="connsiteX1" fmla="*/ 492308 w 492307"/>
                  <a:gd name="connsiteY1" fmla="*/ 0 h 46153"/>
                  <a:gd name="connsiteX2" fmla="*/ 492308 w 492307"/>
                  <a:gd name="connsiteY2" fmla="*/ 46154 h 46153"/>
                  <a:gd name="connsiteX3" fmla="*/ 0 w 492307"/>
                  <a:gd name="connsiteY3" fmla="*/ 46154 h 4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307" h="46153">
                    <a:moveTo>
                      <a:pt x="0" y="0"/>
                    </a:moveTo>
                    <a:lnTo>
                      <a:pt x="492308" y="0"/>
                    </a:lnTo>
                    <a:lnTo>
                      <a:pt x="492308" y="46154"/>
                    </a:lnTo>
                    <a:lnTo>
                      <a:pt x="0" y="46154"/>
                    </a:lnTo>
                    <a:close/>
                  </a:path>
                </a:pathLst>
              </a:custGeom>
              <a:solidFill>
                <a:srgbClr val="38333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48023508-EB7D-4257-BA7E-835BA73CF15E}"/>
                  </a:ext>
                </a:extLst>
              </p:cNvPr>
              <p:cNvSpPr/>
              <p:nvPr/>
            </p:nvSpPr>
            <p:spPr>
              <a:xfrm>
                <a:off x="4581589" y="7191356"/>
                <a:ext cx="202307" cy="63846"/>
              </a:xfrm>
              <a:custGeom>
                <a:avLst/>
                <a:gdLst>
                  <a:gd name="connsiteX0" fmla="*/ 159231 w 202307"/>
                  <a:gd name="connsiteY0" fmla="*/ 63846 h 63846"/>
                  <a:gd name="connsiteX1" fmla="*/ 2308 w 202307"/>
                  <a:gd name="connsiteY1" fmla="*/ 11538 h 63846"/>
                  <a:gd name="connsiteX2" fmla="*/ 2308 w 202307"/>
                  <a:gd name="connsiteY2" fmla="*/ 2308 h 63846"/>
                  <a:gd name="connsiteX3" fmla="*/ 11538 w 202307"/>
                  <a:gd name="connsiteY3" fmla="*/ 2308 h 63846"/>
                  <a:gd name="connsiteX4" fmla="*/ 196154 w 202307"/>
                  <a:gd name="connsiteY4" fmla="*/ 48462 h 63846"/>
                  <a:gd name="connsiteX5" fmla="*/ 202308 w 202307"/>
                  <a:gd name="connsiteY5" fmla="*/ 54615 h 63846"/>
                  <a:gd name="connsiteX6" fmla="*/ 196154 w 202307"/>
                  <a:gd name="connsiteY6" fmla="*/ 60769 h 63846"/>
                  <a:gd name="connsiteX7" fmla="*/ 159231 w 202307"/>
                  <a:gd name="connsiteY7" fmla="*/ 63846 h 6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307" h="63846">
                    <a:moveTo>
                      <a:pt x="159231" y="63846"/>
                    </a:moveTo>
                    <a:cubicBezTo>
                      <a:pt x="119231" y="63846"/>
                      <a:pt x="51539" y="57692"/>
                      <a:pt x="2308" y="11538"/>
                    </a:cubicBezTo>
                    <a:cubicBezTo>
                      <a:pt x="-769" y="8462"/>
                      <a:pt x="-769" y="5384"/>
                      <a:pt x="2308" y="2308"/>
                    </a:cubicBezTo>
                    <a:cubicBezTo>
                      <a:pt x="5385" y="-769"/>
                      <a:pt x="8462" y="-769"/>
                      <a:pt x="11538" y="2308"/>
                    </a:cubicBezTo>
                    <a:cubicBezTo>
                      <a:pt x="79231" y="63846"/>
                      <a:pt x="193077" y="48462"/>
                      <a:pt x="196154" y="48462"/>
                    </a:cubicBezTo>
                    <a:cubicBezTo>
                      <a:pt x="199231" y="48462"/>
                      <a:pt x="202308" y="51538"/>
                      <a:pt x="202308" y="54615"/>
                    </a:cubicBezTo>
                    <a:cubicBezTo>
                      <a:pt x="202308" y="57692"/>
                      <a:pt x="199231" y="60769"/>
                      <a:pt x="196154" y="60769"/>
                    </a:cubicBezTo>
                    <a:cubicBezTo>
                      <a:pt x="193077" y="63846"/>
                      <a:pt x="177692" y="63846"/>
                      <a:pt x="159231" y="638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7DCEBDA8-52C6-4B4E-B163-2A6674F2C336}"/>
                  </a:ext>
                </a:extLst>
              </p:cNvPr>
              <p:cNvSpPr/>
              <p:nvPr/>
            </p:nvSpPr>
            <p:spPr>
              <a:xfrm>
                <a:off x="4547743" y="7219048"/>
                <a:ext cx="38461" cy="42307"/>
              </a:xfrm>
              <a:custGeom>
                <a:avLst/>
                <a:gdLst>
                  <a:gd name="connsiteX0" fmla="*/ 30000 w 38461"/>
                  <a:gd name="connsiteY0" fmla="*/ 42308 h 42307"/>
                  <a:gd name="connsiteX1" fmla="*/ 26923 w 38461"/>
                  <a:gd name="connsiteY1" fmla="*/ 39231 h 42307"/>
                  <a:gd name="connsiteX2" fmla="*/ 2308 w 38461"/>
                  <a:gd name="connsiteY2" fmla="*/ 11539 h 42307"/>
                  <a:gd name="connsiteX3" fmla="*/ 2308 w 38461"/>
                  <a:gd name="connsiteY3" fmla="*/ 2308 h 42307"/>
                  <a:gd name="connsiteX4" fmla="*/ 11539 w 38461"/>
                  <a:gd name="connsiteY4" fmla="*/ 2308 h 42307"/>
                  <a:gd name="connsiteX5" fmla="*/ 36154 w 38461"/>
                  <a:gd name="connsiteY5" fmla="*/ 30000 h 42307"/>
                  <a:gd name="connsiteX6" fmla="*/ 36154 w 38461"/>
                  <a:gd name="connsiteY6" fmla="*/ 39231 h 42307"/>
                  <a:gd name="connsiteX7" fmla="*/ 30000 w 38461"/>
                  <a:gd name="connsiteY7" fmla="*/ 42308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61" h="42307">
                    <a:moveTo>
                      <a:pt x="30000" y="42308"/>
                    </a:moveTo>
                    <a:cubicBezTo>
                      <a:pt x="30000" y="42308"/>
                      <a:pt x="26923" y="42308"/>
                      <a:pt x="26923" y="39231"/>
                    </a:cubicBezTo>
                    <a:lnTo>
                      <a:pt x="2308" y="11539"/>
                    </a:lnTo>
                    <a:cubicBezTo>
                      <a:pt x="-769" y="8462"/>
                      <a:pt x="-769" y="5385"/>
                      <a:pt x="2308" y="2308"/>
                    </a:cubicBezTo>
                    <a:cubicBezTo>
                      <a:pt x="5385" y="-769"/>
                      <a:pt x="8462" y="-769"/>
                      <a:pt x="11539" y="2308"/>
                    </a:cubicBezTo>
                    <a:lnTo>
                      <a:pt x="36154" y="30000"/>
                    </a:lnTo>
                    <a:cubicBezTo>
                      <a:pt x="39231" y="33077"/>
                      <a:pt x="39231" y="36154"/>
                      <a:pt x="36154" y="39231"/>
                    </a:cubicBezTo>
                    <a:cubicBezTo>
                      <a:pt x="33077" y="42308"/>
                      <a:pt x="33077" y="42308"/>
                      <a:pt x="30000" y="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B412C000-0E29-466F-ADED-F1EDA527FEBC}"/>
                  </a:ext>
                </a:extLst>
              </p:cNvPr>
              <p:cNvSpPr/>
              <p:nvPr/>
            </p:nvSpPr>
            <p:spPr>
              <a:xfrm>
                <a:off x="4507743" y="7243664"/>
                <a:ext cx="41538" cy="42307"/>
              </a:xfrm>
              <a:custGeom>
                <a:avLst/>
                <a:gdLst>
                  <a:gd name="connsiteX0" fmla="*/ 33077 w 41538"/>
                  <a:gd name="connsiteY0" fmla="*/ 42308 h 42307"/>
                  <a:gd name="connsiteX1" fmla="*/ 30000 w 41538"/>
                  <a:gd name="connsiteY1" fmla="*/ 39231 h 42307"/>
                  <a:gd name="connsiteX2" fmla="*/ 2308 w 41538"/>
                  <a:gd name="connsiteY2" fmla="*/ 11539 h 42307"/>
                  <a:gd name="connsiteX3" fmla="*/ 2308 w 41538"/>
                  <a:gd name="connsiteY3" fmla="*/ 2308 h 42307"/>
                  <a:gd name="connsiteX4" fmla="*/ 11538 w 41538"/>
                  <a:gd name="connsiteY4" fmla="*/ 2308 h 42307"/>
                  <a:gd name="connsiteX5" fmla="*/ 39231 w 41538"/>
                  <a:gd name="connsiteY5" fmla="*/ 30000 h 42307"/>
                  <a:gd name="connsiteX6" fmla="*/ 39231 w 41538"/>
                  <a:gd name="connsiteY6" fmla="*/ 39231 h 42307"/>
                  <a:gd name="connsiteX7" fmla="*/ 33077 w 41538"/>
                  <a:gd name="connsiteY7" fmla="*/ 42308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8" h="42307">
                    <a:moveTo>
                      <a:pt x="33077" y="42308"/>
                    </a:moveTo>
                    <a:cubicBezTo>
                      <a:pt x="33077" y="42308"/>
                      <a:pt x="30000" y="42308"/>
                      <a:pt x="30000" y="39231"/>
                    </a:cubicBezTo>
                    <a:lnTo>
                      <a:pt x="2308" y="11539"/>
                    </a:lnTo>
                    <a:cubicBezTo>
                      <a:pt x="-769" y="8462"/>
                      <a:pt x="-769" y="5384"/>
                      <a:pt x="2308" y="2308"/>
                    </a:cubicBezTo>
                    <a:cubicBezTo>
                      <a:pt x="5385" y="-769"/>
                      <a:pt x="8461" y="-769"/>
                      <a:pt x="11538" y="2308"/>
                    </a:cubicBezTo>
                    <a:lnTo>
                      <a:pt x="39231" y="30000"/>
                    </a:lnTo>
                    <a:cubicBezTo>
                      <a:pt x="42308" y="33077"/>
                      <a:pt x="42308" y="36154"/>
                      <a:pt x="39231" y="39231"/>
                    </a:cubicBezTo>
                    <a:cubicBezTo>
                      <a:pt x="36154" y="42308"/>
                      <a:pt x="33077" y="42308"/>
                      <a:pt x="33077" y="4230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69AD60F3-79BF-4C74-9970-DCC11E1C0ACA}"/>
                </a:ext>
              </a:extLst>
            </p:cNvPr>
            <p:cNvSpPr/>
            <p:nvPr/>
          </p:nvSpPr>
          <p:spPr>
            <a:xfrm>
              <a:off x="4434320" y="4827510"/>
              <a:ext cx="1491114" cy="2313846"/>
            </a:xfrm>
            <a:custGeom>
              <a:avLst/>
              <a:gdLst>
                <a:gd name="connsiteX0" fmla="*/ 8038 w 1491114"/>
                <a:gd name="connsiteY0" fmla="*/ 18462 h 2313846"/>
                <a:gd name="connsiteX1" fmla="*/ 20345 w 1491114"/>
                <a:gd name="connsiteY1" fmla="*/ 1415385 h 2313846"/>
                <a:gd name="connsiteX2" fmla="*/ 91115 w 1491114"/>
                <a:gd name="connsiteY2" fmla="*/ 2313846 h 2313846"/>
                <a:gd name="connsiteX3" fmla="*/ 389576 w 1491114"/>
                <a:gd name="connsiteY3" fmla="*/ 2313846 h 2313846"/>
                <a:gd name="connsiteX4" fmla="*/ 429576 w 1491114"/>
                <a:gd name="connsiteY4" fmla="*/ 1440000 h 2313846"/>
                <a:gd name="connsiteX5" fmla="*/ 512653 w 1491114"/>
                <a:gd name="connsiteY5" fmla="*/ 504615 h 2313846"/>
                <a:gd name="connsiteX6" fmla="*/ 734192 w 1491114"/>
                <a:gd name="connsiteY6" fmla="*/ 1313846 h 2313846"/>
                <a:gd name="connsiteX7" fmla="*/ 817268 w 1491114"/>
                <a:gd name="connsiteY7" fmla="*/ 1492308 h 2313846"/>
                <a:gd name="connsiteX8" fmla="*/ 1232653 w 1491114"/>
                <a:gd name="connsiteY8" fmla="*/ 2086154 h 2313846"/>
                <a:gd name="connsiteX9" fmla="*/ 1491115 w 1491114"/>
                <a:gd name="connsiteY9" fmla="*/ 1907692 h 2313846"/>
                <a:gd name="connsiteX10" fmla="*/ 1137269 w 1491114"/>
                <a:gd name="connsiteY10" fmla="*/ 1276923 h 2313846"/>
                <a:gd name="connsiteX11" fmla="*/ 1038807 w 1491114"/>
                <a:gd name="connsiteY11" fmla="*/ 0 h 2313846"/>
                <a:gd name="connsiteX12" fmla="*/ 8038 w 1491114"/>
                <a:gd name="connsiteY12" fmla="*/ 18462 h 231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91114" h="2313846">
                  <a:moveTo>
                    <a:pt x="8038" y="18462"/>
                  </a:moveTo>
                  <a:cubicBezTo>
                    <a:pt x="8038" y="18462"/>
                    <a:pt x="-16578" y="1101539"/>
                    <a:pt x="20345" y="1415385"/>
                  </a:cubicBezTo>
                  <a:cubicBezTo>
                    <a:pt x="51115" y="1689231"/>
                    <a:pt x="91115" y="2313846"/>
                    <a:pt x="91115" y="2313846"/>
                  </a:cubicBezTo>
                  <a:lnTo>
                    <a:pt x="389576" y="2313846"/>
                  </a:lnTo>
                  <a:cubicBezTo>
                    <a:pt x="389576" y="2313846"/>
                    <a:pt x="423422" y="1538462"/>
                    <a:pt x="429576" y="1440000"/>
                  </a:cubicBezTo>
                  <a:cubicBezTo>
                    <a:pt x="435730" y="1298462"/>
                    <a:pt x="497268" y="535385"/>
                    <a:pt x="512653" y="504615"/>
                  </a:cubicBezTo>
                  <a:cubicBezTo>
                    <a:pt x="524961" y="480000"/>
                    <a:pt x="675730" y="1073846"/>
                    <a:pt x="734192" y="1313846"/>
                  </a:cubicBezTo>
                  <a:cubicBezTo>
                    <a:pt x="749576" y="1378462"/>
                    <a:pt x="777268" y="1436923"/>
                    <a:pt x="817268" y="1492308"/>
                  </a:cubicBezTo>
                  <a:lnTo>
                    <a:pt x="1232653" y="2086154"/>
                  </a:lnTo>
                  <a:lnTo>
                    <a:pt x="1491115" y="1907692"/>
                  </a:lnTo>
                  <a:lnTo>
                    <a:pt x="1137269" y="1276923"/>
                  </a:lnTo>
                  <a:cubicBezTo>
                    <a:pt x="1137269" y="1276923"/>
                    <a:pt x="1084961" y="98462"/>
                    <a:pt x="1038807" y="0"/>
                  </a:cubicBezTo>
                  <a:cubicBezTo>
                    <a:pt x="337269" y="33846"/>
                    <a:pt x="8038" y="18462"/>
                    <a:pt x="8038" y="18462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BDDBC208-B7B5-4C59-8178-A11414F242C6}"/>
                </a:ext>
              </a:extLst>
            </p:cNvPr>
            <p:cNvSpPr/>
            <p:nvPr/>
          </p:nvSpPr>
          <p:spPr>
            <a:xfrm>
              <a:off x="4879281" y="4975202"/>
              <a:ext cx="70769" cy="366153"/>
            </a:xfrm>
            <a:custGeom>
              <a:avLst/>
              <a:gdLst>
                <a:gd name="connsiteX0" fmla="*/ 64615 w 70769"/>
                <a:gd name="connsiteY0" fmla="*/ 366154 h 366153"/>
                <a:gd name="connsiteX1" fmla="*/ 58462 w 70769"/>
                <a:gd name="connsiteY1" fmla="*/ 363077 h 366153"/>
                <a:gd name="connsiteX2" fmla="*/ 0 w 70769"/>
                <a:gd name="connsiteY2" fmla="*/ 6154 h 366153"/>
                <a:gd name="connsiteX3" fmla="*/ 6154 w 70769"/>
                <a:gd name="connsiteY3" fmla="*/ 0 h 366153"/>
                <a:gd name="connsiteX4" fmla="*/ 6154 w 70769"/>
                <a:gd name="connsiteY4" fmla="*/ 0 h 366153"/>
                <a:gd name="connsiteX5" fmla="*/ 12308 w 70769"/>
                <a:gd name="connsiteY5" fmla="*/ 6154 h 366153"/>
                <a:gd name="connsiteX6" fmla="*/ 70769 w 70769"/>
                <a:gd name="connsiteY6" fmla="*/ 360000 h 366153"/>
                <a:gd name="connsiteX7" fmla="*/ 64615 w 70769"/>
                <a:gd name="connsiteY7" fmla="*/ 366154 h 366153"/>
                <a:gd name="connsiteX8" fmla="*/ 64615 w 70769"/>
                <a:gd name="connsiteY8" fmla="*/ 366154 h 36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769" h="366153">
                  <a:moveTo>
                    <a:pt x="64615" y="366154"/>
                  </a:moveTo>
                  <a:cubicBezTo>
                    <a:pt x="61538" y="366154"/>
                    <a:pt x="61538" y="366154"/>
                    <a:pt x="58462" y="363077"/>
                  </a:cubicBezTo>
                  <a:cubicBezTo>
                    <a:pt x="9231" y="246154"/>
                    <a:pt x="0" y="15385"/>
                    <a:pt x="0" y="6154"/>
                  </a:cubicBezTo>
                  <a:cubicBezTo>
                    <a:pt x="0" y="3077"/>
                    <a:pt x="3077" y="0"/>
                    <a:pt x="6154" y="0"/>
                  </a:cubicBezTo>
                  <a:cubicBezTo>
                    <a:pt x="6154" y="0"/>
                    <a:pt x="6154" y="0"/>
                    <a:pt x="6154" y="0"/>
                  </a:cubicBezTo>
                  <a:cubicBezTo>
                    <a:pt x="9231" y="0"/>
                    <a:pt x="12308" y="3077"/>
                    <a:pt x="12308" y="6154"/>
                  </a:cubicBezTo>
                  <a:cubicBezTo>
                    <a:pt x="12308" y="9231"/>
                    <a:pt x="21538" y="246154"/>
                    <a:pt x="70769" y="360000"/>
                  </a:cubicBezTo>
                  <a:cubicBezTo>
                    <a:pt x="70769" y="360000"/>
                    <a:pt x="70769" y="363077"/>
                    <a:pt x="64615" y="366154"/>
                  </a:cubicBezTo>
                  <a:cubicBezTo>
                    <a:pt x="67692" y="366154"/>
                    <a:pt x="67692" y="366154"/>
                    <a:pt x="64615" y="366154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BACA5606-47CF-48E4-8851-17E64735A938}"/>
                </a:ext>
              </a:extLst>
            </p:cNvPr>
            <p:cNvSpPr/>
            <p:nvPr/>
          </p:nvSpPr>
          <p:spPr>
            <a:xfrm>
              <a:off x="4768512" y="4904433"/>
              <a:ext cx="156923" cy="356923"/>
            </a:xfrm>
            <a:custGeom>
              <a:avLst/>
              <a:gdLst>
                <a:gd name="connsiteX0" fmla="*/ 147692 w 156923"/>
                <a:gd name="connsiteY0" fmla="*/ 356923 h 356923"/>
                <a:gd name="connsiteX1" fmla="*/ 144615 w 156923"/>
                <a:gd name="connsiteY1" fmla="*/ 356923 h 356923"/>
                <a:gd name="connsiteX2" fmla="*/ 33846 w 156923"/>
                <a:gd name="connsiteY2" fmla="*/ 276923 h 356923"/>
                <a:gd name="connsiteX3" fmla="*/ 0 w 156923"/>
                <a:gd name="connsiteY3" fmla="*/ 6154 h 356923"/>
                <a:gd name="connsiteX4" fmla="*/ 6154 w 156923"/>
                <a:gd name="connsiteY4" fmla="*/ 0 h 356923"/>
                <a:gd name="connsiteX5" fmla="*/ 6154 w 156923"/>
                <a:gd name="connsiteY5" fmla="*/ 0 h 356923"/>
                <a:gd name="connsiteX6" fmla="*/ 12308 w 156923"/>
                <a:gd name="connsiteY6" fmla="*/ 6154 h 356923"/>
                <a:gd name="connsiteX7" fmla="*/ 46154 w 156923"/>
                <a:gd name="connsiteY7" fmla="*/ 270769 h 356923"/>
                <a:gd name="connsiteX8" fmla="*/ 153846 w 156923"/>
                <a:gd name="connsiteY8" fmla="*/ 347692 h 356923"/>
                <a:gd name="connsiteX9" fmla="*/ 156923 w 156923"/>
                <a:gd name="connsiteY9" fmla="*/ 356923 h 356923"/>
                <a:gd name="connsiteX10" fmla="*/ 147692 w 156923"/>
                <a:gd name="connsiteY10" fmla="*/ 356923 h 35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6923" h="356923">
                  <a:moveTo>
                    <a:pt x="147692" y="356923"/>
                  </a:moveTo>
                  <a:cubicBezTo>
                    <a:pt x="147692" y="356923"/>
                    <a:pt x="144615" y="356923"/>
                    <a:pt x="144615" y="356923"/>
                  </a:cubicBezTo>
                  <a:cubicBezTo>
                    <a:pt x="135384" y="350769"/>
                    <a:pt x="46154" y="292308"/>
                    <a:pt x="33846" y="276923"/>
                  </a:cubicBezTo>
                  <a:cubicBezTo>
                    <a:pt x="21538" y="261538"/>
                    <a:pt x="3077" y="49231"/>
                    <a:pt x="0" y="6154"/>
                  </a:cubicBezTo>
                  <a:cubicBezTo>
                    <a:pt x="0" y="3077"/>
                    <a:pt x="3077" y="0"/>
                    <a:pt x="6154" y="0"/>
                  </a:cubicBezTo>
                  <a:cubicBezTo>
                    <a:pt x="6154" y="0"/>
                    <a:pt x="6154" y="0"/>
                    <a:pt x="6154" y="0"/>
                  </a:cubicBezTo>
                  <a:cubicBezTo>
                    <a:pt x="9231" y="0"/>
                    <a:pt x="12308" y="3077"/>
                    <a:pt x="12308" y="6154"/>
                  </a:cubicBezTo>
                  <a:cubicBezTo>
                    <a:pt x="21538" y="101539"/>
                    <a:pt x="36923" y="258462"/>
                    <a:pt x="46154" y="270769"/>
                  </a:cubicBezTo>
                  <a:cubicBezTo>
                    <a:pt x="55384" y="280000"/>
                    <a:pt x="113846" y="323077"/>
                    <a:pt x="153846" y="347692"/>
                  </a:cubicBezTo>
                  <a:cubicBezTo>
                    <a:pt x="156923" y="350769"/>
                    <a:pt x="156923" y="353846"/>
                    <a:pt x="156923" y="356923"/>
                  </a:cubicBezTo>
                  <a:cubicBezTo>
                    <a:pt x="150769" y="356923"/>
                    <a:pt x="147692" y="356923"/>
                    <a:pt x="147692" y="356923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12856FAD-B920-494E-B85F-9AA444C5D640}"/>
                </a:ext>
              </a:extLst>
            </p:cNvPr>
            <p:cNvSpPr/>
            <p:nvPr/>
          </p:nvSpPr>
          <p:spPr>
            <a:xfrm>
              <a:off x="4830050" y="3138279"/>
              <a:ext cx="252307" cy="260625"/>
            </a:xfrm>
            <a:custGeom>
              <a:avLst/>
              <a:gdLst>
                <a:gd name="connsiteX0" fmla="*/ 0 w 252307"/>
                <a:gd name="connsiteY0" fmla="*/ 40000 h 260625"/>
                <a:gd name="connsiteX1" fmla="*/ 6154 w 252307"/>
                <a:gd name="connsiteY1" fmla="*/ 215385 h 260625"/>
                <a:gd name="connsiteX2" fmla="*/ 252308 w 252307"/>
                <a:gd name="connsiteY2" fmla="*/ 206154 h 260625"/>
                <a:gd name="connsiteX3" fmla="*/ 236923 w 252307"/>
                <a:gd name="connsiteY3" fmla="*/ 0 h 260625"/>
                <a:gd name="connsiteX4" fmla="*/ 0 w 252307"/>
                <a:gd name="connsiteY4" fmla="*/ 40000 h 26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307" h="260625">
                  <a:moveTo>
                    <a:pt x="0" y="40000"/>
                  </a:moveTo>
                  <a:cubicBezTo>
                    <a:pt x="0" y="40000"/>
                    <a:pt x="6154" y="141538"/>
                    <a:pt x="6154" y="215385"/>
                  </a:cubicBezTo>
                  <a:cubicBezTo>
                    <a:pt x="6154" y="215385"/>
                    <a:pt x="101538" y="323077"/>
                    <a:pt x="252308" y="206154"/>
                  </a:cubicBezTo>
                  <a:cubicBezTo>
                    <a:pt x="252308" y="144615"/>
                    <a:pt x="240000" y="64615"/>
                    <a:pt x="236923" y="0"/>
                  </a:cubicBezTo>
                  <a:cubicBezTo>
                    <a:pt x="240000" y="0"/>
                    <a:pt x="55384" y="52308"/>
                    <a:pt x="0" y="40000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2BEB7BFE-DE15-44E6-846E-DD90D129E380}"/>
                </a:ext>
              </a:extLst>
            </p:cNvPr>
            <p:cNvSpPr/>
            <p:nvPr/>
          </p:nvSpPr>
          <p:spPr>
            <a:xfrm>
              <a:off x="4419995" y="3304433"/>
              <a:ext cx="1080824" cy="1581352"/>
            </a:xfrm>
            <a:custGeom>
              <a:avLst/>
              <a:gdLst>
                <a:gd name="connsiteX0" fmla="*/ 680825 w 1080824"/>
                <a:gd name="connsiteY0" fmla="*/ 0 h 1581352"/>
                <a:gd name="connsiteX1" fmla="*/ 388517 w 1080824"/>
                <a:gd name="connsiteY1" fmla="*/ 0 h 1581352"/>
                <a:gd name="connsiteX2" fmla="*/ 86979 w 1080824"/>
                <a:gd name="connsiteY2" fmla="*/ 132308 h 1581352"/>
                <a:gd name="connsiteX3" fmla="*/ 825 w 1080824"/>
                <a:gd name="connsiteY3" fmla="*/ 1550769 h 1581352"/>
                <a:gd name="connsiteX4" fmla="*/ 1080825 w 1080824"/>
                <a:gd name="connsiteY4" fmla="*/ 1526154 h 1581352"/>
                <a:gd name="connsiteX5" fmla="*/ 963902 w 1080824"/>
                <a:gd name="connsiteY5" fmla="*/ 104615 h 1581352"/>
                <a:gd name="connsiteX6" fmla="*/ 680825 w 1080824"/>
                <a:gd name="connsiteY6" fmla="*/ 0 h 1581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0824" h="1581352">
                  <a:moveTo>
                    <a:pt x="680825" y="0"/>
                  </a:moveTo>
                  <a:cubicBezTo>
                    <a:pt x="680825" y="0"/>
                    <a:pt x="505440" y="55385"/>
                    <a:pt x="388517" y="0"/>
                  </a:cubicBezTo>
                  <a:cubicBezTo>
                    <a:pt x="388517" y="0"/>
                    <a:pt x="111594" y="98462"/>
                    <a:pt x="86979" y="132308"/>
                  </a:cubicBezTo>
                  <a:cubicBezTo>
                    <a:pt x="62363" y="163077"/>
                    <a:pt x="-8406" y="1483077"/>
                    <a:pt x="825" y="1550769"/>
                  </a:cubicBezTo>
                  <a:cubicBezTo>
                    <a:pt x="825" y="1550769"/>
                    <a:pt x="496209" y="1633846"/>
                    <a:pt x="1080825" y="1526154"/>
                  </a:cubicBezTo>
                  <a:cubicBezTo>
                    <a:pt x="1080825" y="1166154"/>
                    <a:pt x="1006979" y="135385"/>
                    <a:pt x="963902" y="104615"/>
                  </a:cubicBezTo>
                  <a:cubicBezTo>
                    <a:pt x="923902" y="70769"/>
                    <a:pt x="680825" y="0"/>
                    <a:pt x="680825" y="0"/>
                  </a:cubicBezTo>
                  <a:close/>
                </a:path>
              </a:pathLst>
            </a:custGeom>
            <a:solidFill>
              <a:srgbClr val="F1DDBA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7F210D26-F86E-4527-A4DD-A1F0DC3061BB}"/>
                </a:ext>
              </a:extLst>
            </p:cNvPr>
            <p:cNvSpPr/>
            <p:nvPr/>
          </p:nvSpPr>
          <p:spPr>
            <a:xfrm>
              <a:off x="5056086" y="3304433"/>
              <a:ext cx="684733" cy="2645585"/>
            </a:xfrm>
            <a:custGeom>
              <a:avLst/>
              <a:gdLst>
                <a:gd name="connsiteX0" fmla="*/ 44733 w 684733"/>
                <a:gd name="connsiteY0" fmla="*/ 0 h 2645585"/>
                <a:gd name="connsiteX1" fmla="*/ 364733 w 684733"/>
                <a:gd name="connsiteY1" fmla="*/ 95385 h 2645585"/>
                <a:gd name="connsiteX2" fmla="*/ 684733 w 684733"/>
                <a:gd name="connsiteY2" fmla="*/ 2590769 h 2645585"/>
                <a:gd name="connsiteX3" fmla="*/ 121656 w 684733"/>
                <a:gd name="connsiteY3" fmla="*/ 2630769 h 2645585"/>
                <a:gd name="connsiteX4" fmla="*/ 44733 w 684733"/>
                <a:gd name="connsiteY4" fmla="*/ 0 h 2645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4733" h="2645585">
                  <a:moveTo>
                    <a:pt x="44733" y="0"/>
                  </a:moveTo>
                  <a:cubicBezTo>
                    <a:pt x="44733" y="0"/>
                    <a:pt x="300118" y="80000"/>
                    <a:pt x="364733" y="95385"/>
                  </a:cubicBezTo>
                  <a:cubicBezTo>
                    <a:pt x="429349" y="110769"/>
                    <a:pt x="684733" y="2590769"/>
                    <a:pt x="684733" y="2590769"/>
                  </a:cubicBezTo>
                  <a:cubicBezTo>
                    <a:pt x="684733" y="2590769"/>
                    <a:pt x="309349" y="2680000"/>
                    <a:pt x="121656" y="2630769"/>
                  </a:cubicBezTo>
                  <a:cubicBezTo>
                    <a:pt x="124733" y="2630769"/>
                    <a:pt x="-90651" y="461538"/>
                    <a:pt x="44733" y="0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0A078A83-634F-4008-9E5E-F124C6B385D0}"/>
                </a:ext>
              </a:extLst>
            </p:cNvPr>
            <p:cNvSpPr/>
            <p:nvPr/>
          </p:nvSpPr>
          <p:spPr>
            <a:xfrm>
              <a:off x="5202358" y="4987510"/>
              <a:ext cx="353846" cy="347692"/>
            </a:xfrm>
            <a:custGeom>
              <a:avLst/>
              <a:gdLst>
                <a:gd name="connsiteX0" fmla="*/ 209231 w 353846"/>
                <a:gd name="connsiteY0" fmla="*/ 347692 h 347692"/>
                <a:gd name="connsiteX1" fmla="*/ 209231 w 353846"/>
                <a:gd name="connsiteY1" fmla="*/ 347692 h 347692"/>
                <a:gd name="connsiteX2" fmla="*/ 27692 w 353846"/>
                <a:gd name="connsiteY2" fmla="*/ 304615 h 347692"/>
                <a:gd name="connsiteX3" fmla="*/ 27692 w 353846"/>
                <a:gd name="connsiteY3" fmla="*/ 301538 h 347692"/>
                <a:gd name="connsiteX4" fmla="*/ 0 w 353846"/>
                <a:gd name="connsiteY4" fmla="*/ 40000 h 347692"/>
                <a:gd name="connsiteX5" fmla="*/ 6154 w 353846"/>
                <a:gd name="connsiteY5" fmla="*/ 40000 h 347692"/>
                <a:gd name="connsiteX6" fmla="*/ 323077 w 353846"/>
                <a:gd name="connsiteY6" fmla="*/ 0 h 347692"/>
                <a:gd name="connsiteX7" fmla="*/ 329231 w 353846"/>
                <a:gd name="connsiteY7" fmla="*/ 0 h 347692"/>
                <a:gd name="connsiteX8" fmla="*/ 353846 w 353846"/>
                <a:gd name="connsiteY8" fmla="*/ 243077 h 347692"/>
                <a:gd name="connsiteX9" fmla="*/ 209231 w 353846"/>
                <a:gd name="connsiteY9" fmla="*/ 347692 h 347692"/>
                <a:gd name="connsiteX10" fmla="*/ 36923 w 353846"/>
                <a:gd name="connsiteY10" fmla="*/ 295385 h 347692"/>
                <a:gd name="connsiteX11" fmla="*/ 206154 w 353846"/>
                <a:gd name="connsiteY11" fmla="*/ 335385 h 347692"/>
                <a:gd name="connsiteX12" fmla="*/ 338462 w 353846"/>
                <a:gd name="connsiteY12" fmla="*/ 236923 h 347692"/>
                <a:gd name="connsiteX13" fmla="*/ 316923 w 353846"/>
                <a:gd name="connsiteY13" fmla="*/ 12308 h 347692"/>
                <a:gd name="connsiteX14" fmla="*/ 12308 w 353846"/>
                <a:gd name="connsiteY14" fmla="*/ 52308 h 347692"/>
                <a:gd name="connsiteX15" fmla="*/ 36923 w 353846"/>
                <a:gd name="connsiteY15" fmla="*/ 295385 h 34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3846" h="347692">
                  <a:moveTo>
                    <a:pt x="209231" y="347692"/>
                  </a:moveTo>
                  <a:lnTo>
                    <a:pt x="209231" y="347692"/>
                  </a:lnTo>
                  <a:lnTo>
                    <a:pt x="27692" y="304615"/>
                  </a:lnTo>
                  <a:lnTo>
                    <a:pt x="27692" y="301538"/>
                  </a:lnTo>
                  <a:lnTo>
                    <a:pt x="0" y="40000"/>
                  </a:lnTo>
                  <a:lnTo>
                    <a:pt x="6154" y="40000"/>
                  </a:lnTo>
                  <a:cubicBezTo>
                    <a:pt x="6154" y="40000"/>
                    <a:pt x="255384" y="9231"/>
                    <a:pt x="323077" y="0"/>
                  </a:cubicBezTo>
                  <a:lnTo>
                    <a:pt x="329231" y="0"/>
                  </a:lnTo>
                  <a:lnTo>
                    <a:pt x="353846" y="243077"/>
                  </a:lnTo>
                  <a:lnTo>
                    <a:pt x="209231" y="347692"/>
                  </a:lnTo>
                  <a:close/>
                  <a:moveTo>
                    <a:pt x="36923" y="295385"/>
                  </a:moveTo>
                  <a:lnTo>
                    <a:pt x="206154" y="335385"/>
                  </a:lnTo>
                  <a:lnTo>
                    <a:pt x="338462" y="236923"/>
                  </a:lnTo>
                  <a:lnTo>
                    <a:pt x="316923" y="12308"/>
                  </a:lnTo>
                  <a:cubicBezTo>
                    <a:pt x="249231" y="21538"/>
                    <a:pt x="49231" y="46154"/>
                    <a:pt x="12308" y="52308"/>
                  </a:cubicBezTo>
                  <a:lnTo>
                    <a:pt x="36923" y="295385"/>
                  </a:ln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19B1ABFA-AB0D-4895-AFD7-50674DF9996E}"/>
                </a:ext>
              </a:extLst>
            </p:cNvPr>
            <p:cNvSpPr/>
            <p:nvPr/>
          </p:nvSpPr>
          <p:spPr>
            <a:xfrm>
              <a:off x="5426973" y="6095202"/>
              <a:ext cx="153846" cy="64615"/>
            </a:xfrm>
            <a:custGeom>
              <a:avLst/>
              <a:gdLst>
                <a:gd name="connsiteX0" fmla="*/ 107692 w 153846"/>
                <a:gd name="connsiteY0" fmla="*/ 64615 h 64615"/>
                <a:gd name="connsiteX1" fmla="*/ 104615 w 153846"/>
                <a:gd name="connsiteY1" fmla="*/ 64615 h 64615"/>
                <a:gd name="connsiteX2" fmla="*/ 104615 w 153846"/>
                <a:gd name="connsiteY2" fmla="*/ 55384 h 64615"/>
                <a:gd name="connsiteX3" fmla="*/ 132308 w 153846"/>
                <a:gd name="connsiteY3" fmla="*/ 15385 h 64615"/>
                <a:gd name="connsiteX4" fmla="*/ 6154 w 153846"/>
                <a:gd name="connsiteY4" fmla="*/ 36923 h 64615"/>
                <a:gd name="connsiteX5" fmla="*/ 0 w 153846"/>
                <a:gd name="connsiteY5" fmla="*/ 33846 h 64615"/>
                <a:gd name="connsiteX6" fmla="*/ 3077 w 153846"/>
                <a:gd name="connsiteY6" fmla="*/ 27692 h 64615"/>
                <a:gd name="connsiteX7" fmla="*/ 153846 w 153846"/>
                <a:gd name="connsiteY7" fmla="*/ 0 h 64615"/>
                <a:gd name="connsiteX8" fmla="*/ 110769 w 153846"/>
                <a:gd name="connsiteY8" fmla="*/ 61538 h 64615"/>
                <a:gd name="connsiteX9" fmla="*/ 107692 w 153846"/>
                <a:gd name="connsiteY9" fmla="*/ 64615 h 6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3846" h="64615">
                  <a:moveTo>
                    <a:pt x="107692" y="64615"/>
                  </a:moveTo>
                  <a:cubicBezTo>
                    <a:pt x="107692" y="64615"/>
                    <a:pt x="104615" y="64615"/>
                    <a:pt x="104615" y="64615"/>
                  </a:cubicBezTo>
                  <a:cubicBezTo>
                    <a:pt x="101539" y="61538"/>
                    <a:pt x="101539" y="58462"/>
                    <a:pt x="104615" y="55384"/>
                  </a:cubicBezTo>
                  <a:lnTo>
                    <a:pt x="132308" y="15385"/>
                  </a:lnTo>
                  <a:lnTo>
                    <a:pt x="6154" y="36923"/>
                  </a:lnTo>
                  <a:cubicBezTo>
                    <a:pt x="3077" y="36923"/>
                    <a:pt x="0" y="36923"/>
                    <a:pt x="0" y="33846"/>
                  </a:cubicBezTo>
                  <a:cubicBezTo>
                    <a:pt x="0" y="30769"/>
                    <a:pt x="0" y="27692"/>
                    <a:pt x="3077" y="27692"/>
                  </a:cubicBezTo>
                  <a:lnTo>
                    <a:pt x="153846" y="0"/>
                  </a:lnTo>
                  <a:lnTo>
                    <a:pt x="110769" y="61538"/>
                  </a:lnTo>
                  <a:cubicBezTo>
                    <a:pt x="110769" y="64615"/>
                    <a:pt x="110769" y="64615"/>
                    <a:pt x="107692" y="64615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0" name="图形 1">
              <a:extLst>
                <a:ext uri="{FF2B5EF4-FFF2-40B4-BE49-F238E27FC236}">
                  <a16:creationId xmlns:a16="http://schemas.microsoft.com/office/drawing/2014/main" id="{5F15082D-5710-445D-BFFF-CCD8BFCBCAA1}"/>
                </a:ext>
              </a:extLst>
            </p:cNvPr>
            <p:cNvGrpSpPr/>
            <p:nvPr/>
          </p:nvGrpSpPr>
          <p:grpSpPr>
            <a:xfrm>
              <a:off x="2467159" y="4022337"/>
              <a:ext cx="1230398" cy="1250345"/>
              <a:chOff x="2467159" y="4022337"/>
              <a:chExt cx="1230398" cy="1250345"/>
            </a:xfrm>
          </p:grpSpPr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ACF92BA7-BE1C-4DCA-B322-95CBC82C20A0}"/>
                  </a:ext>
                </a:extLst>
              </p:cNvPr>
              <p:cNvSpPr/>
              <p:nvPr/>
            </p:nvSpPr>
            <p:spPr>
              <a:xfrm>
                <a:off x="3097743" y="4208953"/>
                <a:ext cx="475795" cy="483172"/>
              </a:xfrm>
              <a:custGeom>
                <a:avLst/>
                <a:gdLst>
                  <a:gd name="connsiteX0" fmla="*/ 178462 w 475795"/>
                  <a:gd name="connsiteY0" fmla="*/ 12403 h 483172"/>
                  <a:gd name="connsiteX1" fmla="*/ 0 w 475795"/>
                  <a:gd name="connsiteY1" fmla="*/ 169326 h 483172"/>
                  <a:gd name="connsiteX2" fmla="*/ 280000 w 475795"/>
                  <a:gd name="connsiteY2" fmla="*/ 483173 h 483172"/>
                  <a:gd name="connsiteX3" fmla="*/ 461538 w 475795"/>
                  <a:gd name="connsiteY3" fmla="*/ 323173 h 483172"/>
                  <a:gd name="connsiteX4" fmla="*/ 464615 w 475795"/>
                  <a:gd name="connsiteY4" fmla="*/ 264711 h 483172"/>
                  <a:gd name="connsiteX5" fmla="*/ 246154 w 475795"/>
                  <a:gd name="connsiteY5" fmla="*/ 15480 h 483172"/>
                  <a:gd name="connsiteX6" fmla="*/ 178462 w 475795"/>
                  <a:gd name="connsiteY6" fmla="*/ 12403 h 483172"/>
                  <a:gd name="connsiteX7" fmla="*/ 178462 w 475795"/>
                  <a:gd name="connsiteY7" fmla="*/ 67788 h 483172"/>
                  <a:gd name="connsiteX8" fmla="*/ 230769 w 475795"/>
                  <a:gd name="connsiteY8" fmla="*/ 70865 h 483172"/>
                  <a:gd name="connsiteX9" fmla="*/ 406154 w 475795"/>
                  <a:gd name="connsiteY9" fmla="*/ 267788 h 483172"/>
                  <a:gd name="connsiteX10" fmla="*/ 403077 w 475795"/>
                  <a:gd name="connsiteY10" fmla="*/ 313942 h 483172"/>
                  <a:gd name="connsiteX11" fmla="*/ 258462 w 475795"/>
                  <a:gd name="connsiteY11" fmla="*/ 443173 h 483172"/>
                  <a:gd name="connsiteX12" fmla="*/ 36923 w 475795"/>
                  <a:gd name="connsiteY12" fmla="*/ 193942 h 483172"/>
                  <a:gd name="connsiteX13" fmla="*/ 178462 w 475795"/>
                  <a:gd name="connsiteY13" fmla="*/ 67788 h 483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75795" h="483172">
                    <a:moveTo>
                      <a:pt x="178462" y="12403"/>
                    </a:moveTo>
                    <a:lnTo>
                      <a:pt x="0" y="169326"/>
                    </a:lnTo>
                    <a:lnTo>
                      <a:pt x="280000" y="483173"/>
                    </a:lnTo>
                    <a:lnTo>
                      <a:pt x="461538" y="323173"/>
                    </a:lnTo>
                    <a:cubicBezTo>
                      <a:pt x="480000" y="307788"/>
                      <a:pt x="480000" y="283173"/>
                      <a:pt x="464615" y="264711"/>
                    </a:cubicBezTo>
                    <a:lnTo>
                      <a:pt x="246154" y="15480"/>
                    </a:lnTo>
                    <a:cubicBezTo>
                      <a:pt x="230769" y="-2981"/>
                      <a:pt x="200000" y="-6058"/>
                      <a:pt x="178462" y="12403"/>
                    </a:cubicBezTo>
                    <a:close/>
                    <a:moveTo>
                      <a:pt x="178462" y="67788"/>
                    </a:moveTo>
                    <a:cubicBezTo>
                      <a:pt x="193846" y="55480"/>
                      <a:pt x="218462" y="55480"/>
                      <a:pt x="230769" y="70865"/>
                    </a:cubicBezTo>
                    <a:lnTo>
                      <a:pt x="406154" y="267788"/>
                    </a:lnTo>
                    <a:cubicBezTo>
                      <a:pt x="418462" y="283173"/>
                      <a:pt x="418462" y="301634"/>
                      <a:pt x="403077" y="313942"/>
                    </a:cubicBezTo>
                    <a:lnTo>
                      <a:pt x="258462" y="443173"/>
                    </a:lnTo>
                    <a:lnTo>
                      <a:pt x="36923" y="193942"/>
                    </a:lnTo>
                    <a:lnTo>
                      <a:pt x="178462" y="67788"/>
                    </a:lnTo>
                    <a:close/>
                  </a:path>
                </a:pathLst>
              </a:custGeom>
              <a:solidFill>
                <a:srgbClr val="38333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E7828C35-D1A6-4B0B-A5A8-562AA9610D5D}"/>
                  </a:ext>
                </a:extLst>
              </p:cNvPr>
              <p:cNvSpPr/>
              <p:nvPr/>
            </p:nvSpPr>
            <p:spPr>
              <a:xfrm>
                <a:off x="2467159" y="4022337"/>
                <a:ext cx="1175013" cy="1188806"/>
              </a:xfrm>
              <a:custGeom>
                <a:avLst/>
                <a:gdLst>
                  <a:gd name="connsiteX0" fmla="*/ 12122 w 1175013"/>
                  <a:gd name="connsiteY0" fmla="*/ 485173 h 1188806"/>
                  <a:gd name="connsiteX1" fmla="*/ 618276 w 1175013"/>
                  <a:gd name="connsiteY1" fmla="*/ 1168250 h 1188806"/>
                  <a:gd name="connsiteX2" fmla="*/ 701353 w 1175013"/>
                  <a:gd name="connsiteY2" fmla="*/ 1174403 h 1188806"/>
                  <a:gd name="connsiteX3" fmla="*/ 1156738 w 1175013"/>
                  <a:gd name="connsiteY3" fmla="*/ 777481 h 1188806"/>
                  <a:gd name="connsiteX4" fmla="*/ 1162891 w 1175013"/>
                  <a:gd name="connsiteY4" fmla="*/ 703634 h 1188806"/>
                  <a:gd name="connsiteX5" fmla="*/ 556738 w 1175013"/>
                  <a:gd name="connsiteY5" fmla="*/ 20557 h 1188806"/>
                  <a:gd name="connsiteX6" fmla="*/ 473661 w 1175013"/>
                  <a:gd name="connsiteY6" fmla="*/ 14403 h 1188806"/>
                  <a:gd name="connsiteX7" fmla="*/ 18276 w 1175013"/>
                  <a:gd name="connsiteY7" fmla="*/ 411327 h 1188806"/>
                  <a:gd name="connsiteX8" fmla="*/ 12122 w 1175013"/>
                  <a:gd name="connsiteY8" fmla="*/ 485173 h 1188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75013" h="1188806">
                    <a:moveTo>
                      <a:pt x="12122" y="485173"/>
                    </a:moveTo>
                    <a:lnTo>
                      <a:pt x="618276" y="1168250"/>
                    </a:lnTo>
                    <a:cubicBezTo>
                      <a:pt x="639815" y="1192865"/>
                      <a:pt x="679815" y="1195942"/>
                      <a:pt x="701353" y="1174403"/>
                    </a:cubicBezTo>
                    <a:lnTo>
                      <a:pt x="1156738" y="777481"/>
                    </a:lnTo>
                    <a:cubicBezTo>
                      <a:pt x="1178276" y="759019"/>
                      <a:pt x="1181353" y="725173"/>
                      <a:pt x="1162891" y="703634"/>
                    </a:cubicBezTo>
                    <a:lnTo>
                      <a:pt x="556738" y="20557"/>
                    </a:lnTo>
                    <a:cubicBezTo>
                      <a:pt x="535199" y="-4058"/>
                      <a:pt x="495199" y="-7135"/>
                      <a:pt x="473661" y="14403"/>
                    </a:cubicBezTo>
                    <a:lnTo>
                      <a:pt x="18276" y="411327"/>
                    </a:lnTo>
                    <a:cubicBezTo>
                      <a:pt x="-3262" y="429788"/>
                      <a:pt x="-6339" y="463634"/>
                      <a:pt x="12122" y="485173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906815DD-1A61-47BA-A357-5E8102827278}"/>
                  </a:ext>
                </a:extLst>
              </p:cNvPr>
              <p:cNvSpPr/>
              <p:nvPr/>
            </p:nvSpPr>
            <p:spPr>
              <a:xfrm>
                <a:off x="2522544" y="4083876"/>
                <a:ext cx="1175013" cy="1188806"/>
              </a:xfrm>
              <a:custGeom>
                <a:avLst/>
                <a:gdLst>
                  <a:gd name="connsiteX0" fmla="*/ 12122 w 1175013"/>
                  <a:gd name="connsiteY0" fmla="*/ 485173 h 1188806"/>
                  <a:gd name="connsiteX1" fmla="*/ 618276 w 1175013"/>
                  <a:gd name="connsiteY1" fmla="*/ 1168250 h 1188806"/>
                  <a:gd name="connsiteX2" fmla="*/ 701353 w 1175013"/>
                  <a:gd name="connsiteY2" fmla="*/ 1174403 h 1188806"/>
                  <a:gd name="connsiteX3" fmla="*/ 1156738 w 1175013"/>
                  <a:gd name="connsiteY3" fmla="*/ 777481 h 1188806"/>
                  <a:gd name="connsiteX4" fmla="*/ 1162891 w 1175013"/>
                  <a:gd name="connsiteY4" fmla="*/ 703634 h 1188806"/>
                  <a:gd name="connsiteX5" fmla="*/ 556738 w 1175013"/>
                  <a:gd name="connsiteY5" fmla="*/ 20557 h 1188806"/>
                  <a:gd name="connsiteX6" fmla="*/ 473661 w 1175013"/>
                  <a:gd name="connsiteY6" fmla="*/ 14403 h 1188806"/>
                  <a:gd name="connsiteX7" fmla="*/ 18276 w 1175013"/>
                  <a:gd name="connsiteY7" fmla="*/ 411327 h 1188806"/>
                  <a:gd name="connsiteX8" fmla="*/ 12122 w 1175013"/>
                  <a:gd name="connsiteY8" fmla="*/ 485173 h 1188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75013" h="1188806">
                    <a:moveTo>
                      <a:pt x="12122" y="485173"/>
                    </a:moveTo>
                    <a:lnTo>
                      <a:pt x="618276" y="1168250"/>
                    </a:lnTo>
                    <a:cubicBezTo>
                      <a:pt x="639815" y="1192865"/>
                      <a:pt x="679815" y="1195942"/>
                      <a:pt x="701353" y="1174403"/>
                    </a:cubicBezTo>
                    <a:lnTo>
                      <a:pt x="1156738" y="777481"/>
                    </a:lnTo>
                    <a:cubicBezTo>
                      <a:pt x="1178276" y="759019"/>
                      <a:pt x="1181353" y="725173"/>
                      <a:pt x="1162891" y="703634"/>
                    </a:cubicBezTo>
                    <a:lnTo>
                      <a:pt x="556738" y="20557"/>
                    </a:lnTo>
                    <a:cubicBezTo>
                      <a:pt x="535199" y="-4058"/>
                      <a:pt x="495199" y="-7135"/>
                      <a:pt x="473661" y="14403"/>
                    </a:cubicBezTo>
                    <a:lnTo>
                      <a:pt x="18276" y="411327"/>
                    </a:lnTo>
                    <a:cubicBezTo>
                      <a:pt x="-3262" y="429788"/>
                      <a:pt x="-6339" y="463634"/>
                      <a:pt x="12122" y="485173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0A57CEA3-9B8A-4124-9412-8D1E595A6205}"/>
                  </a:ext>
                </a:extLst>
              </p:cNvPr>
              <p:cNvSpPr/>
              <p:nvPr/>
            </p:nvSpPr>
            <p:spPr>
              <a:xfrm>
                <a:off x="2796973" y="4255971"/>
                <a:ext cx="693846" cy="780769"/>
              </a:xfrm>
              <a:custGeom>
                <a:avLst/>
                <a:gdLst>
                  <a:gd name="connsiteX0" fmla="*/ 688462 w 693846"/>
                  <a:gd name="connsiteY0" fmla="*/ 780769 h 780769"/>
                  <a:gd name="connsiteX1" fmla="*/ 685385 w 693846"/>
                  <a:gd name="connsiteY1" fmla="*/ 777692 h 780769"/>
                  <a:gd name="connsiteX2" fmla="*/ 2308 w 693846"/>
                  <a:gd name="connsiteY2" fmla="*/ 11538 h 780769"/>
                  <a:gd name="connsiteX3" fmla="*/ 2308 w 693846"/>
                  <a:gd name="connsiteY3" fmla="*/ 2308 h 780769"/>
                  <a:gd name="connsiteX4" fmla="*/ 11538 w 693846"/>
                  <a:gd name="connsiteY4" fmla="*/ 2308 h 780769"/>
                  <a:gd name="connsiteX5" fmla="*/ 691539 w 693846"/>
                  <a:gd name="connsiteY5" fmla="*/ 768462 h 780769"/>
                  <a:gd name="connsiteX6" fmla="*/ 691539 w 693846"/>
                  <a:gd name="connsiteY6" fmla="*/ 777692 h 780769"/>
                  <a:gd name="connsiteX7" fmla="*/ 688462 w 693846"/>
                  <a:gd name="connsiteY7" fmla="*/ 780769 h 780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93846" h="780769">
                    <a:moveTo>
                      <a:pt x="688462" y="780769"/>
                    </a:moveTo>
                    <a:cubicBezTo>
                      <a:pt x="685385" y="780769"/>
                      <a:pt x="685385" y="780769"/>
                      <a:pt x="685385" y="777692"/>
                    </a:cubicBezTo>
                    <a:lnTo>
                      <a:pt x="2308" y="11538"/>
                    </a:lnTo>
                    <a:cubicBezTo>
                      <a:pt x="-769" y="8462"/>
                      <a:pt x="-769" y="5385"/>
                      <a:pt x="2308" y="2308"/>
                    </a:cubicBezTo>
                    <a:cubicBezTo>
                      <a:pt x="5385" y="-769"/>
                      <a:pt x="8462" y="-769"/>
                      <a:pt x="11538" y="2308"/>
                    </a:cubicBezTo>
                    <a:lnTo>
                      <a:pt x="691539" y="768462"/>
                    </a:lnTo>
                    <a:cubicBezTo>
                      <a:pt x="694615" y="771538"/>
                      <a:pt x="694615" y="774616"/>
                      <a:pt x="691539" y="777692"/>
                    </a:cubicBezTo>
                    <a:cubicBezTo>
                      <a:pt x="691539" y="780769"/>
                      <a:pt x="688462" y="780769"/>
                      <a:pt x="688462" y="78076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41894D3B-1A30-4816-AE35-E3953B3C1ECB}"/>
                  </a:ext>
                </a:extLst>
              </p:cNvPr>
              <p:cNvSpPr/>
              <p:nvPr/>
            </p:nvSpPr>
            <p:spPr>
              <a:xfrm>
                <a:off x="2600050" y="4123664"/>
                <a:ext cx="358461" cy="319230"/>
              </a:xfrm>
              <a:custGeom>
                <a:avLst/>
                <a:gdLst>
                  <a:gd name="connsiteX0" fmla="*/ 5385 w 358461"/>
                  <a:gd name="connsiteY0" fmla="*/ 319231 h 319230"/>
                  <a:gd name="connsiteX1" fmla="*/ 2308 w 358461"/>
                  <a:gd name="connsiteY1" fmla="*/ 316154 h 319230"/>
                  <a:gd name="connsiteX2" fmla="*/ 2308 w 358461"/>
                  <a:gd name="connsiteY2" fmla="*/ 306923 h 319230"/>
                  <a:gd name="connsiteX3" fmla="*/ 346923 w 358461"/>
                  <a:gd name="connsiteY3" fmla="*/ 2308 h 319230"/>
                  <a:gd name="connsiteX4" fmla="*/ 356154 w 358461"/>
                  <a:gd name="connsiteY4" fmla="*/ 2308 h 319230"/>
                  <a:gd name="connsiteX5" fmla="*/ 356154 w 358461"/>
                  <a:gd name="connsiteY5" fmla="*/ 11538 h 319230"/>
                  <a:gd name="connsiteX6" fmla="*/ 8462 w 358461"/>
                  <a:gd name="connsiteY6" fmla="*/ 319231 h 319230"/>
                  <a:gd name="connsiteX7" fmla="*/ 5385 w 358461"/>
                  <a:gd name="connsiteY7" fmla="*/ 319231 h 31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8461" h="319230">
                    <a:moveTo>
                      <a:pt x="5385" y="319231"/>
                    </a:moveTo>
                    <a:cubicBezTo>
                      <a:pt x="2308" y="319231"/>
                      <a:pt x="2308" y="319231"/>
                      <a:pt x="2308" y="316154"/>
                    </a:cubicBezTo>
                    <a:cubicBezTo>
                      <a:pt x="-769" y="313077"/>
                      <a:pt x="-769" y="310000"/>
                      <a:pt x="2308" y="306923"/>
                    </a:cubicBezTo>
                    <a:lnTo>
                      <a:pt x="346923" y="2308"/>
                    </a:lnTo>
                    <a:cubicBezTo>
                      <a:pt x="350000" y="-769"/>
                      <a:pt x="353077" y="-769"/>
                      <a:pt x="356154" y="2308"/>
                    </a:cubicBezTo>
                    <a:cubicBezTo>
                      <a:pt x="359231" y="5385"/>
                      <a:pt x="359231" y="8461"/>
                      <a:pt x="356154" y="11538"/>
                    </a:cubicBezTo>
                    <a:lnTo>
                      <a:pt x="8462" y="319231"/>
                    </a:lnTo>
                    <a:cubicBezTo>
                      <a:pt x="8462" y="319231"/>
                      <a:pt x="5385" y="319231"/>
                      <a:pt x="5385" y="3192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745D3213-55B8-48E9-AD36-DBC67A1BF5E7}"/>
                </a:ext>
              </a:extLst>
            </p:cNvPr>
            <p:cNvSpPr/>
            <p:nvPr/>
          </p:nvSpPr>
          <p:spPr>
            <a:xfrm>
              <a:off x="4291589" y="3304433"/>
              <a:ext cx="519999" cy="2643753"/>
            </a:xfrm>
            <a:custGeom>
              <a:avLst/>
              <a:gdLst>
                <a:gd name="connsiteX0" fmla="*/ 520000 w 519999"/>
                <a:gd name="connsiteY0" fmla="*/ 0 h 2643753"/>
                <a:gd name="connsiteX1" fmla="*/ 409231 w 519999"/>
                <a:gd name="connsiteY1" fmla="*/ 2630769 h 2643753"/>
                <a:gd name="connsiteX2" fmla="*/ 0 w 519999"/>
                <a:gd name="connsiteY2" fmla="*/ 2603077 h 2643753"/>
                <a:gd name="connsiteX3" fmla="*/ 221538 w 519999"/>
                <a:gd name="connsiteY3" fmla="*/ 132308 h 2643753"/>
                <a:gd name="connsiteX4" fmla="*/ 520000 w 519999"/>
                <a:gd name="connsiteY4" fmla="*/ 0 h 264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999" h="2643753">
                  <a:moveTo>
                    <a:pt x="520000" y="0"/>
                  </a:moveTo>
                  <a:cubicBezTo>
                    <a:pt x="520000" y="0"/>
                    <a:pt x="363077" y="1803077"/>
                    <a:pt x="409231" y="2630769"/>
                  </a:cubicBezTo>
                  <a:cubicBezTo>
                    <a:pt x="409231" y="2630769"/>
                    <a:pt x="70769" y="2673846"/>
                    <a:pt x="0" y="2603077"/>
                  </a:cubicBezTo>
                  <a:cubicBezTo>
                    <a:pt x="0" y="2603077"/>
                    <a:pt x="175385" y="187692"/>
                    <a:pt x="221538" y="132308"/>
                  </a:cubicBezTo>
                  <a:cubicBezTo>
                    <a:pt x="261539" y="76923"/>
                    <a:pt x="520000" y="0"/>
                    <a:pt x="520000" y="0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FF027D3A-879F-4E10-82BA-37A2C05B16C3}"/>
                </a:ext>
              </a:extLst>
            </p:cNvPr>
            <p:cNvSpPr/>
            <p:nvPr/>
          </p:nvSpPr>
          <p:spPr>
            <a:xfrm>
              <a:off x="4390050" y="3432389"/>
              <a:ext cx="124351" cy="1090505"/>
            </a:xfrm>
            <a:custGeom>
              <a:avLst/>
              <a:gdLst>
                <a:gd name="connsiteX0" fmla="*/ 6154 w 124351"/>
                <a:gd name="connsiteY0" fmla="*/ 1090505 h 1090505"/>
                <a:gd name="connsiteX1" fmla="*/ 6154 w 124351"/>
                <a:gd name="connsiteY1" fmla="*/ 1090505 h 1090505"/>
                <a:gd name="connsiteX2" fmla="*/ 0 w 124351"/>
                <a:gd name="connsiteY2" fmla="*/ 1084351 h 1090505"/>
                <a:gd name="connsiteX3" fmla="*/ 40000 w 124351"/>
                <a:gd name="connsiteY3" fmla="*/ 598198 h 1090505"/>
                <a:gd name="connsiteX4" fmla="*/ 113846 w 124351"/>
                <a:gd name="connsiteY4" fmla="*/ 4351 h 1090505"/>
                <a:gd name="connsiteX5" fmla="*/ 120000 w 124351"/>
                <a:gd name="connsiteY5" fmla="*/ 1275 h 1090505"/>
                <a:gd name="connsiteX6" fmla="*/ 123077 w 124351"/>
                <a:gd name="connsiteY6" fmla="*/ 7428 h 1090505"/>
                <a:gd name="connsiteX7" fmla="*/ 49231 w 124351"/>
                <a:gd name="connsiteY7" fmla="*/ 601275 h 1090505"/>
                <a:gd name="connsiteX8" fmla="*/ 9231 w 124351"/>
                <a:gd name="connsiteY8" fmla="*/ 1087428 h 1090505"/>
                <a:gd name="connsiteX9" fmla="*/ 6154 w 124351"/>
                <a:gd name="connsiteY9" fmla="*/ 1090505 h 1090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351" h="1090505">
                  <a:moveTo>
                    <a:pt x="6154" y="1090505"/>
                  </a:moveTo>
                  <a:cubicBezTo>
                    <a:pt x="6154" y="1090505"/>
                    <a:pt x="6154" y="1090505"/>
                    <a:pt x="6154" y="1090505"/>
                  </a:cubicBezTo>
                  <a:cubicBezTo>
                    <a:pt x="3077" y="1090505"/>
                    <a:pt x="0" y="1087428"/>
                    <a:pt x="0" y="1084351"/>
                  </a:cubicBezTo>
                  <a:cubicBezTo>
                    <a:pt x="0" y="1081275"/>
                    <a:pt x="30769" y="705890"/>
                    <a:pt x="40000" y="598198"/>
                  </a:cubicBezTo>
                  <a:cubicBezTo>
                    <a:pt x="43077" y="576659"/>
                    <a:pt x="107692" y="44351"/>
                    <a:pt x="113846" y="4351"/>
                  </a:cubicBezTo>
                  <a:cubicBezTo>
                    <a:pt x="113846" y="1275"/>
                    <a:pt x="116923" y="-1802"/>
                    <a:pt x="120000" y="1275"/>
                  </a:cubicBezTo>
                  <a:cubicBezTo>
                    <a:pt x="123077" y="1275"/>
                    <a:pt x="126154" y="4351"/>
                    <a:pt x="123077" y="7428"/>
                  </a:cubicBezTo>
                  <a:cubicBezTo>
                    <a:pt x="113846" y="47428"/>
                    <a:pt x="49231" y="595121"/>
                    <a:pt x="49231" y="601275"/>
                  </a:cubicBezTo>
                  <a:cubicBezTo>
                    <a:pt x="40000" y="708967"/>
                    <a:pt x="9231" y="1084351"/>
                    <a:pt x="9231" y="1087428"/>
                  </a:cubicBezTo>
                  <a:cubicBezTo>
                    <a:pt x="12308" y="1087428"/>
                    <a:pt x="9231" y="1090505"/>
                    <a:pt x="6154" y="1090505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6AF199AE-C9FE-4FC7-8D5D-090BF5BF47A2}"/>
                </a:ext>
              </a:extLst>
            </p:cNvPr>
            <p:cNvSpPr/>
            <p:nvPr/>
          </p:nvSpPr>
          <p:spPr>
            <a:xfrm>
              <a:off x="3357420" y="4262931"/>
              <a:ext cx="153997" cy="103651"/>
            </a:xfrm>
            <a:custGeom>
              <a:avLst/>
              <a:gdLst>
                <a:gd name="connsiteX0" fmla="*/ 11092 w 153997"/>
                <a:gd name="connsiteY0" fmla="*/ 103040 h 103651"/>
                <a:gd name="connsiteX1" fmla="*/ 32631 w 153997"/>
                <a:gd name="connsiteY1" fmla="*/ 90733 h 103651"/>
                <a:gd name="connsiteX2" fmla="*/ 91092 w 153997"/>
                <a:gd name="connsiteY2" fmla="*/ 63040 h 103651"/>
                <a:gd name="connsiteX3" fmla="*/ 152631 w 153997"/>
                <a:gd name="connsiteY3" fmla="*/ 81502 h 103651"/>
                <a:gd name="connsiteX4" fmla="*/ 121861 w 153997"/>
                <a:gd name="connsiteY4" fmla="*/ 4579 h 103651"/>
                <a:gd name="connsiteX5" fmla="*/ 11092 w 153997"/>
                <a:gd name="connsiteY5" fmla="*/ 29194 h 103651"/>
                <a:gd name="connsiteX6" fmla="*/ 11092 w 153997"/>
                <a:gd name="connsiteY6" fmla="*/ 103040 h 103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3997" h="103651">
                  <a:moveTo>
                    <a:pt x="11092" y="103040"/>
                  </a:moveTo>
                  <a:cubicBezTo>
                    <a:pt x="20323" y="106117"/>
                    <a:pt x="26477" y="96886"/>
                    <a:pt x="32631" y="90733"/>
                  </a:cubicBezTo>
                  <a:cubicBezTo>
                    <a:pt x="48015" y="72271"/>
                    <a:pt x="66477" y="59963"/>
                    <a:pt x="91092" y="63040"/>
                  </a:cubicBezTo>
                  <a:cubicBezTo>
                    <a:pt x="106477" y="63040"/>
                    <a:pt x="137246" y="78425"/>
                    <a:pt x="152631" y="81502"/>
                  </a:cubicBezTo>
                  <a:cubicBezTo>
                    <a:pt x="158784" y="81502"/>
                    <a:pt x="143400" y="10732"/>
                    <a:pt x="121861" y="4579"/>
                  </a:cubicBezTo>
                  <a:cubicBezTo>
                    <a:pt x="91092" y="-4652"/>
                    <a:pt x="32631" y="-1575"/>
                    <a:pt x="11092" y="29194"/>
                  </a:cubicBezTo>
                  <a:cubicBezTo>
                    <a:pt x="4938" y="44579"/>
                    <a:pt x="-10446" y="93809"/>
                    <a:pt x="11092" y="103040"/>
                  </a:cubicBezTo>
                  <a:close/>
                </a:path>
              </a:pathLst>
            </a:custGeom>
            <a:solidFill>
              <a:srgbClr val="F49F84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73462CD3-82DC-4C87-BD8C-2BA6DE6B0D15}"/>
                </a:ext>
              </a:extLst>
            </p:cNvPr>
            <p:cNvSpPr/>
            <p:nvPr/>
          </p:nvSpPr>
          <p:spPr>
            <a:xfrm>
              <a:off x="3351164" y="4261762"/>
              <a:ext cx="144776" cy="122670"/>
            </a:xfrm>
            <a:custGeom>
              <a:avLst/>
              <a:gdLst>
                <a:gd name="connsiteX0" fmla="*/ 20425 w 144776"/>
                <a:gd name="connsiteY0" fmla="*/ 122671 h 122670"/>
                <a:gd name="connsiteX1" fmla="*/ 5040 w 144776"/>
                <a:gd name="connsiteY1" fmla="*/ 113440 h 122670"/>
                <a:gd name="connsiteX2" fmla="*/ 17348 w 144776"/>
                <a:gd name="connsiteY2" fmla="*/ 30363 h 122670"/>
                <a:gd name="connsiteX3" fmla="*/ 134271 w 144776"/>
                <a:gd name="connsiteY3" fmla="*/ 2671 h 122670"/>
                <a:gd name="connsiteX4" fmla="*/ 137348 w 144776"/>
                <a:gd name="connsiteY4" fmla="*/ 8825 h 122670"/>
                <a:gd name="connsiteX5" fmla="*/ 131194 w 144776"/>
                <a:gd name="connsiteY5" fmla="*/ 11902 h 122670"/>
                <a:gd name="connsiteX6" fmla="*/ 26579 w 144776"/>
                <a:gd name="connsiteY6" fmla="*/ 33440 h 122670"/>
                <a:gd name="connsiteX7" fmla="*/ 17348 w 144776"/>
                <a:gd name="connsiteY7" fmla="*/ 104209 h 122670"/>
                <a:gd name="connsiteX8" fmla="*/ 23502 w 144776"/>
                <a:gd name="connsiteY8" fmla="*/ 107286 h 122670"/>
                <a:gd name="connsiteX9" fmla="*/ 38887 w 144776"/>
                <a:gd name="connsiteY9" fmla="*/ 91902 h 122670"/>
                <a:gd name="connsiteX10" fmla="*/ 103502 w 144776"/>
                <a:gd name="connsiteY10" fmla="*/ 54979 h 122670"/>
                <a:gd name="connsiteX11" fmla="*/ 109656 w 144776"/>
                <a:gd name="connsiteY11" fmla="*/ 58056 h 122670"/>
                <a:gd name="connsiteX12" fmla="*/ 140425 w 144776"/>
                <a:gd name="connsiteY12" fmla="*/ 91902 h 122670"/>
                <a:gd name="connsiteX13" fmla="*/ 143502 w 144776"/>
                <a:gd name="connsiteY13" fmla="*/ 98056 h 122670"/>
                <a:gd name="connsiteX14" fmla="*/ 137348 w 144776"/>
                <a:gd name="connsiteY14" fmla="*/ 101132 h 122670"/>
                <a:gd name="connsiteX15" fmla="*/ 100425 w 144776"/>
                <a:gd name="connsiteY15" fmla="*/ 64209 h 122670"/>
                <a:gd name="connsiteX16" fmla="*/ 48117 w 144776"/>
                <a:gd name="connsiteY16" fmla="*/ 98056 h 122670"/>
                <a:gd name="connsiteX17" fmla="*/ 20425 w 144776"/>
                <a:gd name="connsiteY17" fmla="*/ 122671 h 122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4776" h="122670">
                  <a:moveTo>
                    <a:pt x="20425" y="122671"/>
                  </a:moveTo>
                  <a:cubicBezTo>
                    <a:pt x="14271" y="122671"/>
                    <a:pt x="8117" y="119594"/>
                    <a:pt x="5040" y="113440"/>
                  </a:cubicBezTo>
                  <a:cubicBezTo>
                    <a:pt x="-4190" y="98056"/>
                    <a:pt x="-1113" y="61132"/>
                    <a:pt x="17348" y="30363"/>
                  </a:cubicBezTo>
                  <a:cubicBezTo>
                    <a:pt x="41964" y="-12714"/>
                    <a:pt x="128117" y="2671"/>
                    <a:pt x="134271" y="2671"/>
                  </a:cubicBezTo>
                  <a:cubicBezTo>
                    <a:pt x="137348" y="2671"/>
                    <a:pt x="140425" y="5748"/>
                    <a:pt x="137348" y="8825"/>
                  </a:cubicBezTo>
                  <a:cubicBezTo>
                    <a:pt x="137348" y="11902"/>
                    <a:pt x="134271" y="14979"/>
                    <a:pt x="131194" y="11902"/>
                  </a:cubicBezTo>
                  <a:cubicBezTo>
                    <a:pt x="131194" y="11902"/>
                    <a:pt x="48117" y="-3483"/>
                    <a:pt x="26579" y="33440"/>
                  </a:cubicBezTo>
                  <a:cubicBezTo>
                    <a:pt x="11194" y="61132"/>
                    <a:pt x="8117" y="91902"/>
                    <a:pt x="17348" y="104209"/>
                  </a:cubicBezTo>
                  <a:cubicBezTo>
                    <a:pt x="20425" y="107286"/>
                    <a:pt x="23502" y="107286"/>
                    <a:pt x="23502" y="107286"/>
                  </a:cubicBezTo>
                  <a:cubicBezTo>
                    <a:pt x="26579" y="107286"/>
                    <a:pt x="32733" y="101132"/>
                    <a:pt x="38887" y="91902"/>
                  </a:cubicBezTo>
                  <a:cubicBezTo>
                    <a:pt x="51194" y="76517"/>
                    <a:pt x="69656" y="54979"/>
                    <a:pt x="103502" y="54979"/>
                  </a:cubicBezTo>
                  <a:cubicBezTo>
                    <a:pt x="106579" y="54979"/>
                    <a:pt x="106579" y="54979"/>
                    <a:pt x="109656" y="58056"/>
                  </a:cubicBezTo>
                  <a:cubicBezTo>
                    <a:pt x="109656" y="58056"/>
                    <a:pt x="121964" y="85748"/>
                    <a:pt x="140425" y="91902"/>
                  </a:cubicBezTo>
                  <a:cubicBezTo>
                    <a:pt x="143502" y="91902"/>
                    <a:pt x="146579" y="94979"/>
                    <a:pt x="143502" y="98056"/>
                  </a:cubicBezTo>
                  <a:cubicBezTo>
                    <a:pt x="143502" y="101132"/>
                    <a:pt x="140425" y="104209"/>
                    <a:pt x="137348" y="101132"/>
                  </a:cubicBezTo>
                  <a:cubicBezTo>
                    <a:pt x="118887" y="94979"/>
                    <a:pt x="106579" y="73440"/>
                    <a:pt x="100425" y="64209"/>
                  </a:cubicBezTo>
                  <a:cubicBezTo>
                    <a:pt x="75810" y="64209"/>
                    <a:pt x="60425" y="82671"/>
                    <a:pt x="48117" y="98056"/>
                  </a:cubicBezTo>
                  <a:cubicBezTo>
                    <a:pt x="38887" y="113440"/>
                    <a:pt x="29656" y="122671"/>
                    <a:pt x="20425" y="122671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A932F7AE-1A69-4C78-A7E6-54AF05646067}"/>
                </a:ext>
              </a:extLst>
            </p:cNvPr>
            <p:cNvSpPr/>
            <p:nvPr/>
          </p:nvSpPr>
          <p:spPr>
            <a:xfrm>
              <a:off x="4823896" y="3167774"/>
              <a:ext cx="247428" cy="68966"/>
            </a:xfrm>
            <a:custGeom>
              <a:avLst/>
              <a:gdLst>
                <a:gd name="connsiteX0" fmla="*/ 104615 w 247428"/>
                <a:gd name="connsiteY0" fmla="*/ 68967 h 68966"/>
                <a:gd name="connsiteX1" fmla="*/ 83077 w 247428"/>
                <a:gd name="connsiteY1" fmla="*/ 65890 h 68966"/>
                <a:gd name="connsiteX2" fmla="*/ 27692 w 247428"/>
                <a:gd name="connsiteY2" fmla="*/ 47428 h 68966"/>
                <a:gd name="connsiteX3" fmla="*/ 3077 w 247428"/>
                <a:gd name="connsiteY3" fmla="*/ 35121 h 68966"/>
                <a:gd name="connsiteX4" fmla="*/ 0 w 247428"/>
                <a:gd name="connsiteY4" fmla="*/ 25890 h 68966"/>
                <a:gd name="connsiteX5" fmla="*/ 9231 w 247428"/>
                <a:gd name="connsiteY5" fmla="*/ 22813 h 68966"/>
                <a:gd name="connsiteX6" fmla="*/ 18461 w 247428"/>
                <a:gd name="connsiteY6" fmla="*/ 28967 h 68966"/>
                <a:gd name="connsiteX7" fmla="*/ 24615 w 247428"/>
                <a:gd name="connsiteY7" fmla="*/ 28967 h 68966"/>
                <a:gd name="connsiteX8" fmla="*/ 33846 w 247428"/>
                <a:gd name="connsiteY8" fmla="*/ 35121 h 68966"/>
                <a:gd name="connsiteX9" fmla="*/ 83077 w 247428"/>
                <a:gd name="connsiteY9" fmla="*/ 53582 h 68966"/>
                <a:gd name="connsiteX10" fmla="*/ 95385 w 247428"/>
                <a:gd name="connsiteY10" fmla="*/ 53582 h 68966"/>
                <a:gd name="connsiteX11" fmla="*/ 187692 w 247428"/>
                <a:gd name="connsiteY11" fmla="*/ 25890 h 68966"/>
                <a:gd name="connsiteX12" fmla="*/ 236923 w 247428"/>
                <a:gd name="connsiteY12" fmla="*/ 1274 h 68966"/>
                <a:gd name="connsiteX13" fmla="*/ 246154 w 247428"/>
                <a:gd name="connsiteY13" fmla="*/ 4351 h 68966"/>
                <a:gd name="connsiteX14" fmla="*/ 243077 w 247428"/>
                <a:gd name="connsiteY14" fmla="*/ 13582 h 68966"/>
                <a:gd name="connsiteX15" fmla="*/ 193846 w 247428"/>
                <a:gd name="connsiteY15" fmla="*/ 38198 h 68966"/>
                <a:gd name="connsiteX16" fmla="*/ 120000 w 247428"/>
                <a:gd name="connsiteY16" fmla="*/ 65890 h 68966"/>
                <a:gd name="connsiteX17" fmla="*/ 104615 w 247428"/>
                <a:gd name="connsiteY17" fmla="*/ 68967 h 68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7428" h="68966">
                  <a:moveTo>
                    <a:pt x="104615" y="68967"/>
                  </a:moveTo>
                  <a:cubicBezTo>
                    <a:pt x="98462" y="68967"/>
                    <a:pt x="89231" y="68967"/>
                    <a:pt x="83077" y="65890"/>
                  </a:cubicBezTo>
                  <a:cubicBezTo>
                    <a:pt x="58462" y="62813"/>
                    <a:pt x="40000" y="53582"/>
                    <a:pt x="27692" y="47428"/>
                  </a:cubicBezTo>
                  <a:cubicBezTo>
                    <a:pt x="15385" y="41275"/>
                    <a:pt x="6154" y="35121"/>
                    <a:pt x="3077" y="35121"/>
                  </a:cubicBezTo>
                  <a:cubicBezTo>
                    <a:pt x="0" y="32044"/>
                    <a:pt x="0" y="28967"/>
                    <a:pt x="0" y="25890"/>
                  </a:cubicBezTo>
                  <a:cubicBezTo>
                    <a:pt x="3077" y="22813"/>
                    <a:pt x="6154" y="22813"/>
                    <a:pt x="9231" y="22813"/>
                  </a:cubicBezTo>
                  <a:cubicBezTo>
                    <a:pt x="9231" y="22813"/>
                    <a:pt x="12308" y="25890"/>
                    <a:pt x="18461" y="28967"/>
                  </a:cubicBezTo>
                  <a:cubicBezTo>
                    <a:pt x="21539" y="28967"/>
                    <a:pt x="21539" y="28967"/>
                    <a:pt x="24615" y="28967"/>
                  </a:cubicBezTo>
                  <a:cubicBezTo>
                    <a:pt x="24615" y="28967"/>
                    <a:pt x="27692" y="32044"/>
                    <a:pt x="33846" y="35121"/>
                  </a:cubicBezTo>
                  <a:cubicBezTo>
                    <a:pt x="49231" y="41275"/>
                    <a:pt x="64615" y="50505"/>
                    <a:pt x="83077" y="53582"/>
                  </a:cubicBezTo>
                  <a:cubicBezTo>
                    <a:pt x="86154" y="53582"/>
                    <a:pt x="92308" y="53582"/>
                    <a:pt x="95385" y="53582"/>
                  </a:cubicBezTo>
                  <a:cubicBezTo>
                    <a:pt x="120000" y="53582"/>
                    <a:pt x="156923" y="38198"/>
                    <a:pt x="187692" y="25890"/>
                  </a:cubicBezTo>
                  <a:cubicBezTo>
                    <a:pt x="212308" y="13582"/>
                    <a:pt x="233846" y="1274"/>
                    <a:pt x="236923" y="1274"/>
                  </a:cubicBezTo>
                  <a:cubicBezTo>
                    <a:pt x="240000" y="-1802"/>
                    <a:pt x="243077" y="1274"/>
                    <a:pt x="246154" y="4351"/>
                  </a:cubicBezTo>
                  <a:cubicBezTo>
                    <a:pt x="249231" y="7428"/>
                    <a:pt x="246154" y="10505"/>
                    <a:pt x="243077" y="13582"/>
                  </a:cubicBezTo>
                  <a:cubicBezTo>
                    <a:pt x="240000" y="13582"/>
                    <a:pt x="221539" y="25890"/>
                    <a:pt x="193846" y="38198"/>
                  </a:cubicBezTo>
                  <a:cubicBezTo>
                    <a:pt x="169231" y="50505"/>
                    <a:pt x="138462" y="62813"/>
                    <a:pt x="120000" y="65890"/>
                  </a:cubicBezTo>
                  <a:cubicBezTo>
                    <a:pt x="113846" y="68967"/>
                    <a:pt x="110769" y="68967"/>
                    <a:pt x="104615" y="68967"/>
                  </a:cubicBezTo>
                  <a:close/>
                </a:path>
              </a:pathLst>
            </a:custGeom>
            <a:solidFill>
              <a:srgbClr val="E87952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FD4D74E1-5AB5-4983-9D17-2D00A93B0AB6}"/>
                </a:ext>
              </a:extLst>
            </p:cNvPr>
            <p:cNvSpPr/>
            <p:nvPr/>
          </p:nvSpPr>
          <p:spPr>
            <a:xfrm>
              <a:off x="4805435" y="3304433"/>
              <a:ext cx="298461" cy="48428"/>
            </a:xfrm>
            <a:custGeom>
              <a:avLst/>
              <a:gdLst>
                <a:gd name="connsiteX0" fmla="*/ 6154 w 298461"/>
                <a:gd name="connsiteY0" fmla="*/ 0 h 48428"/>
                <a:gd name="connsiteX1" fmla="*/ 298461 w 298461"/>
                <a:gd name="connsiteY1" fmla="*/ 0 h 48428"/>
                <a:gd name="connsiteX2" fmla="*/ 289231 w 298461"/>
                <a:gd name="connsiteY2" fmla="*/ 27692 h 48428"/>
                <a:gd name="connsiteX3" fmla="*/ 0 w 298461"/>
                <a:gd name="connsiteY3" fmla="*/ 18461 h 48428"/>
                <a:gd name="connsiteX4" fmla="*/ 6154 w 298461"/>
                <a:gd name="connsiteY4" fmla="*/ 0 h 48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461" h="48428">
                  <a:moveTo>
                    <a:pt x="6154" y="0"/>
                  </a:moveTo>
                  <a:cubicBezTo>
                    <a:pt x="6154" y="0"/>
                    <a:pt x="150769" y="55385"/>
                    <a:pt x="298461" y="0"/>
                  </a:cubicBezTo>
                  <a:lnTo>
                    <a:pt x="289231" y="27692"/>
                  </a:lnTo>
                  <a:cubicBezTo>
                    <a:pt x="289231" y="27692"/>
                    <a:pt x="129231" y="80000"/>
                    <a:pt x="0" y="18461"/>
                  </a:cubicBezTo>
                  <a:lnTo>
                    <a:pt x="6154" y="0"/>
                  </a:ln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7" name="图形 1">
              <a:extLst>
                <a:ext uri="{FF2B5EF4-FFF2-40B4-BE49-F238E27FC236}">
                  <a16:creationId xmlns:a16="http://schemas.microsoft.com/office/drawing/2014/main" id="{8306F1D2-FA6F-4A0A-9ED9-26387F15A992}"/>
                </a:ext>
              </a:extLst>
            </p:cNvPr>
            <p:cNvGrpSpPr/>
            <p:nvPr/>
          </p:nvGrpSpPr>
          <p:grpSpPr>
            <a:xfrm>
              <a:off x="2880369" y="4397829"/>
              <a:ext cx="508593" cy="508592"/>
              <a:chOff x="2880369" y="4397829"/>
              <a:chExt cx="508593" cy="508592"/>
            </a:xfrm>
          </p:grpSpPr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B262ED01-B76D-4C09-A8B6-C42DD046892B}"/>
                  </a:ext>
                </a:extLst>
              </p:cNvPr>
              <p:cNvSpPr/>
              <p:nvPr/>
            </p:nvSpPr>
            <p:spPr>
              <a:xfrm>
                <a:off x="2880369" y="4397829"/>
                <a:ext cx="508593" cy="508592"/>
              </a:xfrm>
              <a:custGeom>
                <a:avLst/>
                <a:gdLst>
                  <a:gd name="connsiteX0" fmla="*/ 423527 w 508593"/>
                  <a:gd name="connsiteY0" fmla="*/ 445066 h 508592"/>
                  <a:gd name="connsiteX1" fmla="*/ 63527 w 508593"/>
                  <a:gd name="connsiteY1" fmla="*/ 423527 h 508592"/>
                  <a:gd name="connsiteX2" fmla="*/ 85066 w 508593"/>
                  <a:gd name="connsiteY2" fmla="*/ 63527 h 508592"/>
                  <a:gd name="connsiteX3" fmla="*/ 445066 w 508593"/>
                  <a:gd name="connsiteY3" fmla="*/ 85066 h 508592"/>
                  <a:gd name="connsiteX4" fmla="*/ 423527 w 508593"/>
                  <a:gd name="connsiteY4" fmla="*/ 445066 h 50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8593" h="508592">
                    <a:moveTo>
                      <a:pt x="423527" y="445066"/>
                    </a:moveTo>
                    <a:cubicBezTo>
                      <a:pt x="318912" y="537373"/>
                      <a:pt x="155835" y="528143"/>
                      <a:pt x="63527" y="423527"/>
                    </a:cubicBezTo>
                    <a:cubicBezTo>
                      <a:pt x="-28780" y="318912"/>
                      <a:pt x="-19550" y="155835"/>
                      <a:pt x="85066" y="63527"/>
                    </a:cubicBezTo>
                    <a:cubicBezTo>
                      <a:pt x="189681" y="-28780"/>
                      <a:pt x="352758" y="-19550"/>
                      <a:pt x="445066" y="85066"/>
                    </a:cubicBezTo>
                    <a:cubicBezTo>
                      <a:pt x="537373" y="192758"/>
                      <a:pt x="528143" y="352758"/>
                      <a:pt x="423527" y="445066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8DC44E0D-72FE-4C36-B70C-905ABAF59482}"/>
                  </a:ext>
                </a:extLst>
              </p:cNvPr>
              <p:cNvSpPr/>
              <p:nvPr/>
            </p:nvSpPr>
            <p:spPr>
              <a:xfrm>
                <a:off x="2993127" y="4510587"/>
                <a:ext cx="283076" cy="283076"/>
              </a:xfrm>
              <a:custGeom>
                <a:avLst/>
                <a:gdLst>
                  <a:gd name="connsiteX0" fmla="*/ 270769 w 283076"/>
                  <a:gd name="connsiteY0" fmla="*/ 227692 h 283076"/>
                  <a:gd name="connsiteX1" fmla="*/ 196923 w 283076"/>
                  <a:gd name="connsiteY1" fmla="*/ 144615 h 283076"/>
                  <a:gd name="connsiteX2" fmla="*/ 283077 w 283076"/>
                  <a:gd name="connsiteY2" fmla="*/ 70769 h 283076"/>
                  <a:gd name="connsiteX3" fmla="*/ 227692 w 283076"/>
                  <a:gd name="connsiteY3" fmla="*/ 12308 h 283076"/>
                  <a:gd name="connsiteX4" fmla="*/ 144615 w 283076"/>
                  <a:gd name="connsiteY4" fmla="*/ 83077 h 283076"/>
                  <a:gd name="connsiteX5" fmla="*/ 70769 w 283076"/>
                  <a:gd name="connsiteY5" fmla="*/ 0 h 283076"/>
                  <a:gd name="connsiteX6" fmla="*/ 12308 w 283076"/>
                  <a:gd name="connsiteY6" fmla="*/ 55384 h 283076"/>
                  <a:gd name="connsiteX7" fmla="*/ 86154 w 283076"/>
                  <a:gd name="connsiteY7" fmla="*/ 138462 h 283076"/>
                  <a:gd name="connsiteX8" fmla="*/ 0 w 283076"/>
                  <a:gd name="connsiteY8" fmla="*/ 212308 h 283076"/>
                  <a:gd name="connsiteX9" fmla="*/ 55385 w 283076"/>
                  <a:gd name="connsiteY9" fmla="*/ 270769 h 283076"/>
                  <a:gd name="connsiteX10" fmla="*/ 138462 w 283076"/>
                  <a:gd name="connsiteY10" fmla="*/ 196923 h 283076"/>
                  <a:gd name="connsiteX11" fmla="*/ 212308 w 283076"/>
                  <a:gd name="connsiteY11" fmla="*/ 283077 h 28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3076" h="283076">
                    <a:moveTo>
                      <a:pt x="270769" y="227692"/>
                    </a:moveTo>
                    <a:lnTo>
                      <a:pt x="196923" y="144615"/>
                    </a:lnTo>
                    <a:lnTo>
                      <a:pt x="283077" y="70769"/>
                    </a:lnTo>
                    <a:lnTo>
                      <a:pt x="227692" y="12308"/>
                    </a:lnTo>
                    <a:lnTo>
                      <a:pt x="144615" y="83077"/>
                    </a:lnTo>
                    <a:lnTo>
                      <a:pt x="70769" y="0"/>
                    </a:lnTo>
                    <a:lnTo>
                      <a:pt x="12308" y="55384"/>
                    </a:lnTo>
                    <a:lnTo>
                      <a:pt x="86154" y="138462"/>
                    </a:lnTo>
                    <a:lnTo>
                      <a:pt x="0" y="212308"/>
                    </a:lnTo>
                    <a:lnTo>
                      <a:pt x="55385" y="270769"/>
                    </a:lnTo>
                    <a:lnTo>
                      <a:pt x="138462" y="196923"/>
                    </a:lnTo>
                    <a:lnTo>
                      <a:pt x="212308" y="283077"/>
                    </a:ln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8" name="图形 1">
              <a:extLst>
                <a:ext uri="{FF2B5EF4-FFF2-40B4-BE49-F238E27FC236}">
                  <a16:creationId xmlns:a16="http://schemas.microsoft.com/office/drawing/2014/main" id="{7A72F1CD-0FEA-4D77-B4F6-C2ABF9910D53}"/>
                </a:ext>
              </a:extLst>
            </p:cNvPr>
            <p:cNvGrpSpPr/>
            <p:nvPr/>
          </p:nvGrpSpPr>
          <p:grpSpPr>
            <a:xfrm>
              <a:off x="4685435" y="2457916"/>
              <a:ext cx="578461" cy="295424"/>
              <a:chOff x="4685435" y="2457916"/>
              <a:chExt cx="578461" cy="295424"/>
            </a:xfrm>
          </p:grpSpPr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86FCB837-7AED-488B-9783-5B97F4D1F26C}"/>
                  </a:ext>
                </a:extLst>
              </p:cNvPr>
              <p:cNvSpPr/>
              <p:nvPr/>
            </p:nvSpPr>
            <p:spPr>
              <a:xfrm>
                <a:off x="4691589" y="2482894"/>
                <a:ext cx="569230" cy="270445"/>
              </a:xfrm>
              <a:custGeom>
                <a:avLst/>
                <a:gdLst>
                  <a:gd name="connsiteX0" fmla="*/ 0 w 569230"/>
                  <a:gd name="connsiteY0" fmla="*/ 0 h 270445"/>
                  <a:gd name="connsiteX1" fmla="*/ 15385 w 569230"/>
                  <a:gd name="connsiteY1" fmla="*/ 193846 h 270445"/>
                  <a:gd name="connsiteX2" fmla="*/ 501538 w 569230"/>
                  <a:gd name="connsiteY2" fmla="*/ 261538 h 270445"/>
                  <a:gd name="connsiteX3" fmla="*/ 569231 w 569230"/>
                  <a:gd name="connsiteY3" fmla="*/ 67692 h 270445"/>
                  <a:gd name="connsiteX4" fmla="*/ 0 w 569230"/>
                  <a:gd name="connsiteY4" fmla="*/ 0 h 270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9230" h="270445">
                    <a:moveTo>
                      <a:pt x="0" y="0"/>
                    </a:moveTo>
                    <a:lnTo>
                      <a:pt x="15385" y="193846"/>
                    </a:lnTo>
                    <a:cubicBezTo>
                      <a:pt x="15385" y="193846"/>
                      <a:pt x="169231" y="301538"/>
                      <a:pt x="501538" y="261538"/>
                    </a:cubicBezTo>
                    <a:lnTo>
                      <a:pt x="569231" y="67692"/>
                    </a:lnTo>
                    <a:cubicBezTo>
                      <a:pt x="569231" y="67692"/>
                      <a:pt x="246154" y="113846"/>
                      <a:pt x="0" y="0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7B8545C2-3147-430D-AF3D-5D3DA38950E5}"/>
                  </a:ext>
                </a:extLst>
              </p:cNvPr>
              <p:cNvSpPr/>
              <p:nvPr/>
            </p:nvSpPr>
            <p:spPr>
              <a:xfrm>
                <a:off x="4691589" y="2457916"/>
                <a:ext cx="569230" cy="109284"/>
              </a:xfrm>
              <a:custGeom>
                <a:avLst/>
                <a:gdLst>
                  <a:gd name="connsiteX0" fmla="*/ 0 w 569230"/>
                  <a:gd name="connsiteY0" fmla="*/ 24979 h 109284"/>
                  <a:gd name="connsiteX1" fmla="*/ 569231 w 569230"/>
                  <a:gd name="connsiteY1" fmla="*/ 92671 h 109284"/>
                  <a:gd name="connsiteX2" fmla="*/ 0 w 569230"/>
                  <a:gd name="connsiteY2" fmla="*/ 24979 h 109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9230" h="109284">
                    <a:moveTo>
                      <a:pt x="0" y="24979"/>
                    </a:moveTo>
                    <a:cubicBezTo>
                      <a:pt x="0" y="24979"/>
                      <a:pt x="212308" y="154210"/>
                      <a:pt x="569231" y="92671"/>
                    </a:cubicBezTo>
                    <a:cubicBezTo>
                      <a:pt x="569231" y="92671"/>
                      <a:pt x="310769" y="-58098"/>
                      <a:pt x="0" y="24979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23C1D058-1563-415C-B695-E607799E060F}"/>
                  </a:ext>
                </a:extLst>
              </p:cNvPr>
              <p:cNvSpPr/>
              <p:nvPr/>
            </p:nvSpPr>
            <p:spPr>
              <a:xfrm>
                <a:off x="4685435" y="2473664"/>
                <a:ext cx="578461" cy="101538"/>
              </a:xfrm>
              <a:custGeom>
                <a:avLst/>
                <a:gdLst>
                  <a:gd name="connsiteX0" fmla="*/ 378462 w 578461"/>
                  <a:gd name="connsiteY0" fmla="*/ 101538 h 101538"/>
                  <a:gd name="connsiteX1" fmla="*/ 3077 w 578461"/>
                  <a:gd name="connsiteY1" fmla="*/ 12308 h 101538"/>
                  <a:gd name="connsiteX2" fmla="*/ 0 w 578461"/>
                  <a:gd name="connsiteY2" fmla="*/ 3077 h 101538"/>
                  <a:gd name="connsiteX3" fmla="*/ 9231 w 578461"/>
                  <a:gd name="connsiteY3" fmla="*/ 0 h 101538"/>
                  <a:gd name="connsiteX4" fmla="*/ 572308 w 578461"/>
                  <a:gd name="connsiteY4" fmla="*/ 67692 h 101538"/>
                  <a:gd name="connsiteX5" fmla="*/ 578462 w 578461"/>
                  <a:gd name="connsiteY5" fmla="*/ 70769 h 101538"/>
                  <a:gd name="connsiteX6" fmla="*/ 575385 w 578461"/>
                  <a:gd name="connsiteY6" fmla="*/ 76923 h 101538"/>
                  <a:gd name="connsiteX7" fmla="*/ 378462 w 578461"/>
                  <a:gd name="connsiteY7" fmla="*/ 101538 h 10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8461" h="101538">
                    <a:moveTo>
                      <a:pt x="378462" y="101538"/>
                    </a:moveTo>
                    <a:cubicBezTo>
                      <a:pt x="141538" y="101538"/>
                      <a:pt x="6154" y="15385"/>
                      <a:pt x="3077" y="12308"/>
                    </a:cubicBezTo>
                    <a:cubicBezTo>
                      <a:pt x="0" y="9231"/>
                      <a:pt x="0" y="6154"/>
                      <a:pt x="0" y="3077"/>
                    </a:cubicBezTo>
                    <a:cubicBezTo>
                      <a:pt x="3077" y="0"/>
                      <a:pt x="6154" y="0"/>
                      <a:pt x="9231" y="0"/>
                    </a:cubicBezTo>
                    <a:cubicBezTo>
                      <a:pt x="12308" y="0"/>
                      <a:pt x="218461" y="135385"/>
                      <a:pt x="572308" y="67692"/>
                    </a:cubicBezTo>
                    <a:cubicBezTo>
                      <a:pt x="575385" y="67692"/>
                      <a:pt x="578462" y="67692"/>
                      <a:pt x="578462" y="70769"/>
                    </a:cubicBezTo>
                    <a:cubicBezTo>
                      <a:pt x="578462" y="73846"/>
                      <a:pt x="578462" y="76923"/>
                      <a:pt x="575385" y="76923"/>
                    </a:cubicBezTo>
                    <a:cubicBezTo>
                      <a:pt x="504615" y="98462"/>
                      <a:pt x="440000" y="101538"/>
                      <a:pt x="378462" y="10153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82BC6296-F841-4CCD-8769-5A2F0EA16C3A}"/>
                  </a:ext>
                </a:extLst>
              </p:cNvPr>
              <p:cNvSpPr/>
              <p:nvPr/>
            </p:nvSpPr>
            <p:spPr>
              <a:xfrm>
                <a:off x="4866973" y="2587510"/>
                <a:ext cx="135384" cy="135384"/>
              </a:xfrm>
              <a:custGeom>
                <a:avLst/>
                <a:gdLst>
                  <a:gd name="connsiteX0" fmla="*/ 135385 w 135384"/>
                  <a:gd name="connsiteY0" fmla="*/ 58462 h 135384"/>
                  <a:gd name="connsiteX1" fmla="*/ 86154 w 135384"/>
                  <a:gd name="connsiteY1" fmla="*/ 52308 h 135384"/>
                  <a:gd name="connsiteX2" fmla="*/ 92308 w 135384"/>
                  <a:gd name="connsiteY2" fmla="*/ 3077 h 135384"/>
                  <a:gd name="connsiteX3" fmla="*/ 58462 w 135384"/>
                  <a:gd name="connsiteY3" fmla="*/ 0 h 135384"/>
                  <a:gd name="connsiteX4" fmla="*/ 52308 w 135384"/>
                  <a:gd name="connsiteY4" fmla="*/ 49231 h 135384"/>
                  <a:gd name="connsiteX5" fmla="*/ 3077 w 135384"/>
                  <a:gd name="connsiteY5" fmla="*/ 43077 h 135384"/>
                  <a:gd name="connsiteX6" fmla="*/ 0 w 135384"/>
                  <a:gd name="connsiteY6" fmla="*/ 80000 h 135384"/>
                  <a:gd name="connsiteX7" fmla="*/ 49231 w 135384"/>
                  <a:gd name="connsiteY7" fmla="*/ 83077 h 135384"/>
                  <a:gd name="connsiteX8" fmla="*/ 43077 w 135384"/>
                  <a:gd name="connsiteY8" fmla="*/ 132308 h 135384"/>
                  <a:gd name="connsiteX9" fmla="*/ 80000 w 135384"/>
                  <a:gd name="connsiteY9" fmla="*/ 135385 h 135384"/>
                  <a:gd name="connsiteX10" fmla="*/ 83077 w 135384"/>
                  <a:gd name="connsiteY10" fmla="*/ 86154 h 135384"/>
                  <a:gd name="connsiteX11" fmla="*/ 132308 w 135384"/>
                  <a:gd name="connsiteY11" fmla="*/ 92308 h 13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5384" h="135384">
                    <a:moveTo>
                      <a:pt x="135385" y="58462"/>
                    </a:moveTo>
                    <a:lnTo>
                      <a:pt x="86154" y="52308"/>
                    </a:lnTo>
                    <a:lnTo>
                      <a:pt x="92308" y="3077"/>
                    </a:lnTo>
                    <a:lnTo>
                      <a:pt x="58462" y="0"/>
                    </a:lnTo>
                    <a:lnTo>
                      <a:pt x="52308" y="49231"/>
                    </a:lnTo>
                    <a:lnTo>
                      <a:pt x="3077" y="43077"/>
                    </a:lnTo>
                    <a:lnTo>
                      <a:pt x="0" y="80000"/>
                    </a:lnTo>
                    <a:lnTo>
                      <a:pt x="49231" y="83077"/>
                    </a:lnTo>
                    <a:lnTo>
                      <a:pt x="43077" y="132308"/>
                    </a:lnTo>
                    <a:lnTo>
                      <a:pt x="80000" y="135385"/>
                    </a:lnTo>
                    <a:lnTo>
                      <a:pt x="83077" y="86154"/>
                    </a:lnTo>
                    <a:lnTo>
                      <a:pt x="132308" y="92308"/>
                    </a:ln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9" name="图形 1">
              <a:extLst>
                <a:ext uri="{FF2B5EF4-FFF2-40B4-BE49-F238E27FC236}">
                  <a16:creationId xmlns:a16="http://schemas.microsoft.com/office/drawing/2014/main" id="{B31D3D4C-E3B4-430F-BCFF-9670D241767D}"/>
                </a:ext>
              </a:extLst>
            </p:cNvPr>
            <p:cNvGrpSpPr/>
            <p:nvPr/>
          </p:nvGrpSpPr>
          <p:grpSpPr>
            <a:xfrm>
              <a:off x="5492352" y="4845971"/>
              <a:ext cx="294767" cy="389619"/>
              <a:chOff x="5492352" y="4845971"/>
              <a:chExt cx="294767" cy="389619"/>
            </a:xfrm>
          </p:grpSpPr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A6C2C76F-2A60-486A-9BA1-B9FF1BD84F9F}"/>
                  </a:ext>
                </a:extLst>
              </p:cNvPr>
              <p:cNvSpPr/>
              <p:nvPr/>
            </p:nvSpPr>
            <p:spPr>
              <a:xfrm>
                <a:off x="5502731" y="4876741"/>
                <a:ext cx="139627" cy="208003"/>
              </a:xfrm>
              <a:custGeom>
                <a:avLst/>
                <a:gdLst>
                  <a:gd name="connsiteX0" fmla="*/ 139627 w 139627"/>
                  <a:gd name="connsiteY0" fmla="*/ 0 h 208003"/>
                  <a:gd name="connsiteX1" fmla="*/ 38089 w 139627"/>
                  <a:gd name="connsiteY1" fmla="*/ 61538 h 208003"/>
                  <a:gd name="connsiteX2" fmla="*/ 7320 w 139627"/>
                  <a:gd name="connsiteY2" fmla="*/ 196923 h 208003"/>
                  <a:gd name="connsiteX3" fmla="*/ 44243 w 139627"/>
                  <a:gd name="connsiteY3" fmla="*/ 184615 h 208003"/>
                  <a:gd name="connsiteX4" fmla="*/ 139627 w 139627"/>
                  <a:gd name="connsiteY4" fmla="*/ 0 h 20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627" h="208003">
                    <a:moveTo>
                      <a:pt x="139627" y="0"/>
                    </a:moveTo>
                    <a:cubicBezTo>
                      <a:pt x="139627" y="0"/>
                      <a:pt x="62704" y="24615"/>
                      <a:pt x="38089" y="61538"/>
                    </a:cubicBezTo>
                    <a:cubicBezTo>
                      <a:pt x="16550" y="98461"/>
                      <a:pt x="-14219" y="166154"/>
                      <a:pt x="7320" y="196923"/>
                    </a:cubicBezTo>
                    <a:cubicBezTo>
                      <a:pt x="28858" y="227692"/>
                      <a:pt x="44243" y="184615"/>
                      <a:pt x="44243" y="184615"/>
                    </a:cubicBezTo>
                    <a:lnTo>
                      <a:pt x="139627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5E367752-C2F2-4EC2-A80C-8AECACB806A8}"/>
                  </a:ext>
                </a:extLst>
              </p:cNvPr>
              <p:cNvSpPr/>
              <p:nvPr/>
            </p:nvSpPr>
            <p:spPr>
              <a:xfrm>
                <a:off x="5494882" y="4845971"/>
                <a:ext cx="292237" cy="389619"/>
              </a:xfrm>
              <a:custGeom>
                <a:avLst/>
                <a:gdLst>
                  <a:gd name="connsiteX0" fmla="*/ 279784 w 292237"/>
                  <a:gd name="connsiteY0" fmla="*/ 46154 h 389619"/>
                  <a:gd name="connsiteX1" fmla="*/ 156707 w 292237"/>
                  <a:gd name="connsiteY1" fmla="*/ 0 h 389619"/>
                  <a:gd name="connsiteX2" fmla="*/ 18245 w 292237"/>
                  <a:gd name="connsiteY2" fmla="*/ 227692 h 389619"/>
                  <a:gd name="connsiteX3" fmla="*/ 12091 w 292237"/>
                  <a:gd name="connsiteY3" fmla="*/ 304615 h 389619"/>
                  <a:gd name="connsiteX4" fmla="*/ 30553 w 292237"/>
                  <a:gd name="connsiteY4" fmla="*/ 295385 h 389619"/>
                  <a:gd name="connsiteX5" fmla="*/ 58245 w 292237"/>
                  <a:gd name="connsiteY5" fmla="*/ 258461 h 389619"/>
                  <a:gd name="connsiteX6" fmla="*/ 45938 w 292237"/>
                  <a:gd name="connsiteY6" fmla="*/ 320000 h 389619"/>
                  <a:gd name="connsiteX7" fmla="*/ 61322 w 292237"/>
                  <a:gd name="connsiteY7" fmla="*/ 387692 h 389619"/>
                  <a:gd name="connsiteX8" fmla="*/ 89015 w 292237"/>
                  <a:gd name="connsiteY8" fmla="*/ 369231 h 389619"/>
                  <a:gd name="connsiteX9" fmla="*/ 104399 w 292237"/>
                  <a:gd name="connsiteY9" fmla="*/ 378461 h 389619"/>
                  <a:gd name="connsiteX10" fmla="*/ 153630 w 292237"/>
                  <a:gd name="connsiteY10" fmla="*/ 316923 h 389619"/>
                  <a:gd name="connsiteX11" fmla="*/ 175168 w 292237"/>
                  <a:gd name="connsiteY11" fmla="*/ 264615 h 389619"/>
                  <a:gd name="connsiteX12" fmla="*/ 187476 w 292237"/>
                  <a:gd name="connsiteY12" fmla="*/ 332308 h 389619"/>
                  <a:gd name="connsiteX13" fmla="*/ 215168 w 292237"/>
                  <a:gd name="connsiteY13" fmla="*/ 283077 h 389619"/>
                  <a:gd name="connsiteX14" fmla="*/ 245938 w 292237"/>
                  <a:gd name="connsiteY14" fmla="*/ 187692 h 389619"/>
                  <a:gd name="connsiteX15" fmla="*/ 285937 w 292237"/>
                  <a:gd name="connsiteY15" fmla="*/ 98461 h 389619"/>
                  <a:gd name="connsiteX16" fmla="*/ 279784 w 292237"/>
                  <a:gd name="connsiteY16" fmla="*/ 46154 h 389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2237" h="389619">
                    <a:moveTo>
                      <a:pt x="279784" y="46154"/>
                    </a:moveTo>
                    <a:cubicBezTo>
                      <a:pt x="252091" y="15385"/>
                      <a:pt x="156707" y="0"/>
                      <a:pt x="156707" y="0"/>
                    </a:cubicBezTo>
                    <a:cubicBezTo>
                      <a:pt x="110553" y="76923"/>
                      <a:pt x="52091" y="144615"/>
                      <a:pt x="18245" y="227692"/>
                    </a:cubicBezTo>
                    <a:cubicBezTo>
                      <a:pt x="12091" y="240000"/>
                      <a:pt x="-15601" y="298461"/>
                      <a:pt x="12091" y="304615"/>
                    </a:cubicBezTo>
                    <a:cubicBezTo>
                      <a:pt x="21322" y="307692"/>
                      <a:pt x="27476" y="301538"/>
                      <a:pt x="30553" y="295385"/>
                    </a:cubicBezTo>
                    <a:cubicBezTo>
                      <a:pt x="39784" y="283077"/>
                      <a:pt x="49014" y="270769"/>
                      <a:pt x="58245" y="258461"/>
                    </a:cubicBezTo>
                    <a:cubicBezTo>
                      <a:pt x="52091" y="280000"/>
                      <a:pt x="49014" y="298461"/>
                      <a:pt x="45938" y="320000"/>
                    </a:cubicBezTo>
                    <a:cubicBezTo>
                      <a:pt x="42861" y="335384"/>
                      <a:pt x="42861" y="375385"/>
                      <a:pt x="61322" y="387692"/>
                    </a:cubicBezTo>
                    <a:cubicBezTo>
                      <a:pt x="70553" y="393846"/>
                      <a:pt x="79784" y="384615"/>
                      <a:pt x="89015" y="369231"/>
                    </a:cubicBezTo>
                    <a:cubicBezTo>
                      <a:pt x="92091" y="375385"/>
                      <a:pt x="95168" y="378461"/>
                      <a:pt x="104399" y="378461"/>
                    </a:cubicBezTo>
                    <a:cubicBezTo>
                      <a:pt x="125938" y="375385"/>
                      <a:pt x="144399" y="335384"/>
                      <a:pt x="153630" y="316923"/>
                    </a:cubicBezTo>
                    <a:cubicBezTo>
                      <a:pt x="162861" y="298461"/>
                      <a:pt x="169015" y="283077"/>
                      <a:pt x="175168" y="264615"/>
                    </a:cubicBezTo>
                    <a:cubicBezTo>
                      <a:pt x="169015" y="298461"/>
                      <a:pt x="165938" y="335384"/>
                      <a:pt x="187476" y="332308"/>
                    </a:cubicBezTo>
                    <a:cubicBezTo>
                      <a:pt x="202861" y="329231"/>
                      <a:pt x="212091" y="295385"/>
                      <a:pt x="215168" y="283077"/>
                    </a:cubicBezTo>
                    <a:cubicBezTo>
                      <a:pt x="227476" y="252308"/>
                      <a:pt x="233630" y="218461"/>
                      <a:pt x="245938" y="187692"/>
                    </a:cubicBezTo>
                    <a:cubicBezTo>
                      <a:pt x="258245" y="156923"/>
                      <a:pt x="273630" y="129231"/>
                      <a:pt x="285937" y="98461"/>
                    </a:cubicBezTo>
                    <a:cubicBezTo>
                      <a:pt x="295168" y="73846"/>
                      <a:pt x="295168" y="64615"/>
                      <a:pt x="279784" y="4615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CC19B0AE-8067-4A2B-BA0B-C12E9673AA69}"/>
                  </a:ext>
                </a:extLst>
              </p:cNvPr>
              <p:cNvSpPr/>
              <p:nvPr/>
            </p:nvSpPr>
            <p:spPr>
              <a:xfrm>
                <a:off x="5577743" y="5049818"/>
                <a:ext cx="57692" cy="171538"/>
              </a:xfrm>
              <a:custGeom>
                <a:avLst/>
                <a:gdLst>
                  <a:gd name="connsiteX0" fmla="*/ 6154 w 57692"/>
                  <a:gd name="connsiteY0" fmla="*/ 171538 h 171538"/>
                  <a:gd name="connsiteX1" fmla="*/ 6154 w 57692"/>
                  <a:gd name="connsiteY1" fmla="*/ 171538 h 171538"/>
                  <a:gd name="connsiteX2" fmla="*/ 0 w 57692"/>
                  <a:gd name="connsiteY2" fmla="*/ 165385 h 171538"/>
                  <a:gd name="connsiteX3" fmla="*/ 46154 w 57692"/>
                  <a:gd name="connsiteY3" fmla="*/ 2308 h 171538"/>
                  <a:gd name="connsiteX4" fmla="*/ 55385 w 57692"/>
                  <a:gd name="connsiteY4" fmla="*/ 2308 h 171538"/>
                  <a:gd name="connsiteX5" fmla="*/ 55385 w 57692"/>
                  <a:gd name="connsiteY5" fmla="*/ 11539 h 171538"/>
                  <a:gd name="connsiteX6" fmla="*/ 12308 w 57692"/>
                  <a:gd name="connsiteY6" fmla="*/ 168462 h 171538"/>
                  <a:gd name="connsiteX7" fmla="*/ 6154 w 57692"/>
                  <a:gd name="connsiteY7" fmla="*/ 171538 h 17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692" h="171538">
                    <a:moveTo>
                      <a:pt x="6154" y="171538"/>
                    </a:moveTo>
                    <a:cubicBezTo>
                      <a:pt x="6154" y="171538"/>
                      <a:pt x="6154" y="171538"/>
                      <a:pt x="6154" y="171538"/>
                    </a:cubicBezTo>
                    <a:cubicBezTo>
                      <a:pt x="3077" y="171538"/>
                      <a:pt x="0" y="168462"/>
                      <a:pt x="0" y="165385"/>
                    </a:cubicBezTo>
                    <a:cubicBezTo>
                      <a:pt x="0" y="159231"/>
                      <a:pt x="24615" y="33077"/>
                      <a:pt x="46154" y="2308"/>
                    </a:cubicBezTo>
                    <a:cubicBezTo>
                      <a:pt x="49231" y="-769"/>
                      <a:pt x="52308" y="-769"/>
                      <a:pt x="55385" y="2308"/>
                    </a:cubicBezTo>
                    <a:cubicBezTo>
                      <a:pt x="58462" y="5385"/>
                      <a:pt x="58462" y="8461"/>
                      <a:pt x="55385" y="11539"/>
                    </a:cubicBezTo>
                    <a:cubicBezTo>
                      <a:pt x="33846" y="39231"/>
                      <a:pt x="12308" y="168462"/>
                      <a:pt x="12308" y="168462"/>
                    </a:cubicBezTo>
                    <a:cubicBezTo>
                      <a:pt x="12308" y="168462"/>
                      <a:pt x="9231" y="171538"/>
                      <a:pt x="6154" y="17153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380317E6-2368-4E5A-9C36-572845258422}"/>
                  </a:ext>
                </a:extLst>
              </p:cNvPr>
              <p:cNvSpPr/>
              <p:nvPr/>
            </p:nvSpPr>
            <p:spPr>
              <a:xfrm>
                <a:off x="5663897" y="5055202"/>
                <a:ext cx="30769" cy="61538"/>
              </a:xfrm>
              <a:custGeom>
                <a:avLst/>
                <a:gdLst>
                  <a:gd name="connsiteX0" fmla="*/ 6154 w 30769"/>
                  <a:gd name="connsiteY0" fmla="*/ 61538 h 61538"/>
                  <a:gd name="connsiteX1" fmla="*/ 6154 w 30769"/>
                  <a:gd name="connsiteY1" fmla="*/ 61538 h 61538"/>
                  <a:gd name="connsiteX2" fmla="*/ 0 w 30769"/>
                  <a:gd name="connsiteY2" fmla="*/ 52308 h 61538"/>
                  <a:gd name="connsiteX3" fmla="*/ 21538 w 30769"/>
                  <a:gd name="connsiteY3" fmla="*/ 3077 h 61538"/>
                  <a:gd name="connsiteX4" fmla="*/ 27692 w 30769"/>
                  <a:gd name="connsiteY4" fmla="*/ 0 h 61538"/>
                  <a:gd name="connsiteX5" fmla="*/ 30769 w 30769"/>
                  <a:gd name="connsiteY5" fmla="*/ 6154 h 61538"/>
                  <a:gd name="connsiteX6" fmla="*/ 9231 w 30769"/>
                  <a:gd name="connsiteY6" fmla="*/ 55385 h 61538"/>
                  <a:gd name="connsiteX7" fmla="*/ 6154 w 30769"/>
                  <a:gd name="connsiteY7" fmla="*/ 61538 h 6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769" h="61538">
                    <a:moveTo>
                      <a:pt x="6154" y="61538"/>
                    </a:moveTo>
                    <a:cubicBezTo>
                      <a:pt x="6154" y="61538"/>
                      <a:pt x="3077" y="61538"/>
                      <a:pt x="6154" y="61538"/>
                    </a:cubicBezTo>
                    <a:cubicBezTo>
                      <a:pt x="0" y="58462"/>
                      <a:pt x="0" y="55385"/>
                      <a:pt x="0" y="52308"/>
                    </a:cubicBezTo>
                    <a:lnTo>
                      <a:pt x="21538" y="3077"/>
                    </a:lnTo>
                    <a:cubicBezTo>
                      <a:pt x="21538" y="0"/>
                      <a:pt x="24615" y="0"/>
                      <a:pt x="27692" y="0"/>
                    </a:cubicBezTo>
                    <a:cubicBezTo>
                      <a:pt x="30769" y="0"/>
                      <a:pt x="30769" y="3077"/>
                      <a:pt x="30769" y="6154"/>
                    </a:cubicBezTo>
                    <a:lnTo>
                      <a:pt x="9231" y="55385"/>
                    </a:lnTo>
                    <a:cubicBezTo>
                      <a:pt x="9231" y="61538"/>
                      <a:pt x="9231" y="61538"/>
                      <a:pt x="6154" y="6153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CC8350AF-7C53-4D9A-BECD-7F0AB8D72F96}"/>
                  </a:ext>
                </a:extLst>
              </p:cNvPr>
              <p:cNvSpPr/>
              <p:nvPr/>
            </p:nvSpPr>
            <p:spPr>
              <a:xfrm>
                <a:off x="5612358" y="4963664"/>
                <a:ext cx="103846" cy="57692"/>
              </a:xfrm>
              <a:custGeom>
                <a:avLst/>
                <a:gdLst>
                  <a:gd name="connsiteX0" fmla="*/ 97692 w 103846"/>
                  <a:gd name="connsiteY0" fmla="*/ 57692 h 57692"/>
                  <a:gd name="connsiteX1" fmla="*/ 97692 w 103846"/>
                  <a:gd name="connsiteY1" fmla="*/ 57692 h 57692"/>
                  <a:gd name="connsiteX2" fmla="*/ 2308 w 103846"/>
                  <a:gd name="connsiteY2" fmla="*/ 11539 h 57692"/>
                  <a:gd name="connsiteX3" fmla="*/ 2308 w 103846"/>
                  <a:gd name="connsiteY3" fmla="*/ 2308 h 57692"/>
                  <a:gd name="connsiteX4" fmla="*/ 11538 w 103846"/>
                  <a:gd name="connsiteY4" fmla="*/ 2308 h 57692"/>
                  <a:gd name="connsiteX5" fmla="*/ 97692 w 103846"/>
                  <a:gd name="connsiteY5" fmla="*/ 45385 h 57692"/>
                  <a:gd name="connsiteX6" fmla="*/ 103846 w 103846"/>
                  <a:gd name="connsiteY6" fmla="*/ 51539 h 57692"/>
                  <a:gd name="connsiteX7" fmla="*/ 97692 w 103846"/>
                  <a:gd name="connsiteY7" fmla="*/ 57692 h 57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846" h="57692">
                    <a:moveTo>
                      <a:pt x="97692" y="57692"/>
                    </a:moveTo>
                    <a:cubicBezTo>
                      <a:pt x="97692" y="57692"/>
                      <a:pt x="97692" y="57692"/>
                      <a:pt x="97692" y="57692"/>
                    </a:cubicBezTo>
                    <a:cubicBezTo>
                      <a:pt x="39231" y="54615"/>
                      <a:pt x="2308" y="14615"/>
                      <a:pt x="2308" y="11539"/>
                    </a:cubicBezTo>
                    <a:cubicBezTo>
                      <a:pt x="-769" y="8462"/>
                      <a:pt x="-769" y="5385"/>
                      <a:pt x="2308" y="2308"/>
                    </a:cubicBezTo>
                    <a:cubicBezTo>
                      <a:pt x="5385" y="-769"/>
                      <a:pt x="8462" y="-769"/>
                      <a:pt x="11538" y="2308"/>
                    </a:cubicBezTo>
                    <a:cubicBezTo>
                      <a:pt x="11538" y="2308"/>
                      <a:pt x="45385" y="42308"/>
                      <a:pt x="97692" y="45385"/>
                    </a:cubicBezTo>
                    <a:cubicBezTo>
                      <a:pt x="100769" y="45385"/>
                      <a:pt x="103846" y="48462"/>
                      <a:pt x="103846" y="51539"/>
                    </a:cubicBezTo>
                    <a:cubicBezTo>
                      <a:pt x="103846" y="57692"/>
                      <a:pt x="100769" y="57692"/>
                      <a:pt x="97692" y="5769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9DF58BA5-B017-495D-AAA6-7B1F2B771584}"/>
                  </a:ext>
                </a:extLst>
              </p:cNvPr>
              <p:cNvSpPr/>
              <p:nvPr/>
            </p:nvSpPr>
            <p:spPr>
              <a:xfrm>
                <a:off x="5492352" y="4908279"/>
                <a:ext cx="121544" cy="248461"/>
              </a:xfrm>
              <a:custGeom>
                <a:avLst/>
                <a:gdLst>
                  <a:gd name="connsiteX0" fmla="*/ 14621 w 121544"/>
                  <a:gd name="connsiteY0" fmla="*/ 248462 h 248461"/>
                  <a:gd name="connsiteX1" fmla="*/ 14621 w 121544"/>
                  <a:gd name="connsiteY1" fmla="*/ 248462 h 248461"/>
                  <a:gd name="connsiteX2" fmla="*/ 2314 w 121544"/>
                  <a:gd name="connsiteY2" fmla="*/ 239231 h 248461"/>
                  <a:gd name="connsiteX3" fmla="*/ 110006 w 121544"/>
                  <a:gd name="connsiteY3" fmla="*/ 2308 h 248461"/>
                  <a:gd name="connsiteX4" fmla="*/ 119237 w 121544"/>
                  <a:gd name="connsiteY4" fmla="*/ 2308 h 248461"/>
                  <a:gd name="connsiteX5" fmla="*/ 119237 w 121544"/>
                  <a:gd name="connsiteY5" fmla="*/ 11538 h 248461"/>
                  <a:gd name="connsiteX6" fmla="*/ 14621 w 121544"/>
                  <a:gd name="connsiteY6" fmla="*/ 236154 h 248461"/>
                  <a:gd name="connsiteX7" fmla="*/ 17698 w 121544"/>
                  <a:gd name="connsiteY7" fmla="*/ 239231 h 248461"/>
                  <a:gd name="connsiteX8" fmla="*/ 57698 w 121544"/>
                  <a:gd name="connsiteY8" fmla="*/ 196154 h 248461"/>
                  <a:gd name="connsiteX9" fmla="*/ 94621 w 121544"/>
                  <a:gd name="connsiteY9" fmla="*/ 113077 h 248461"/>
                  <a:gd name="connsiteX10" fmla="*/ 103852 w 121544"/>
                  <a:gd name="connsiteY10" fmla="*/ 110000 h 248461"/>
                  <a:gd name="connsiteX11" fmla="*/ 106929 w 121544"/>
                  <a:gd name="connsiteY11" fmla="*/ 119231 h 248461"/>
                  <a:gd name="connsiteX12" fmla="*/ 73083 w 121544"/>
                  <a:gd name="connsiteY12" fmla="*/ 199231 h 248461"/>
                  <a:gd name="connsiteX13" fmla="*/ 73083 w 121544"/>
                  <a:gd name="connsiteY13" fmla="*/ 202308 h 248461"/>
                  <a:gd name="connsiteX14" fmla="*/ 14621 w 121544"/>
                  <a:gd name="connsiteY14" fmla="*/ 248462 h 24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1544" h="248461">
                    <a:moveTo>
                      <a:pt x="14621" y="248462"/>
                    </a:moveTo>
                    <a:cubicBezTo>
                      <a:pt x="14621" y="248462"/>
                      <a:pt x="14621" y="248462"/>
                      <a:pt x="14621" y="248462"/>
                    </a:cubicBezTo>
                    <a:cubicBezTo>
                      <a:pt x="8468" y="248462"/>
                      <a:pt x="5391" y="245385"/>
                      <a:pt x="2314" y="239231"/>
                    </a:cubicBezTo>
                    <a:cubicBezTo>
                      <a:pt x="-9994" y="211538"/>
                      <a:pt x="26929" y="116154"/>
                      <a:pt x="110006" y="2308"/>
                    </a:cubicBezTo>
                    <a:cubicBezTo>
                      <a:pt x="113083" y="-769"/>
                      <a:pt x="116160" y="-769"/>
                      <a:pt x="119237" y="2308"/>
                    </a:cubicBezTo>
                    <a:cubicBezTo>
                      <a:pt x="122314" y="5385"/>
                      <a:pt x="122314" y="8461"/>
                      <a:pt x="119237" y="11538"/>
                    </a:cubicBezTo>
                    <a:cubicBezTo>
                      <a:pt x="26929" y="137692"/>
                      <a:pt x="5391" y="220769"/>
                      <a:pt x="14621" y="236154"/>
                    </a:cubicBezTo>
                    <a:cubicBezTo>
                      <a:pt x="14621" y="239231"/>
                      <a:pt x="17698" y="239231"/>
                      <a:pt x="17698" y="239231"/>
                    </a:cubicBezTo>
                    <a:cubicBezTo>
                      <a:pt x="33083" y="239231"/>
                      <a:pt x="51544" y="208461"/>
                      <a:pt x="57698" y="196154"/>
                    </a:cubicBezTo>
                    <a:cubicBezTo>
                      <a:pt x="60775" y="177692"/>
                      <a:pt x="85391" y="122308"/>
                      <a:pt x="94621" y="113077"/>
                    </a:cubicBezTo>
                    <a:cubicBezTo>
                      <a:pt x="97698" y="110000"/>
                      <a:pt x="100775" y="110000"/>
                      <a:pt x="103852" y="110000"/>
                    </a:cubicBezTo>
                    <a:cubicBezTo>
                      <a:pt x="106929" y="113077"/>
                      <a:pt x="106929" y="116154"/>
                      <a:pt x="106929" y="119231"/>
                    </a:cubicBezTo>
                    <a:cubicBezTo>
                      <a:pt x="91545" y="143846"/>
                      <a:pt x="73083" y="190000"/>
                      <a:pt x="73083" y="199231"/>
                    </a:cubicBezTo>
                    <a:cubicBezTo>
                      <a:pt x="73083" y="199231"/>
                      <a:pt x="73083" y="202308"/>
                      <a:pt x="73083" y="202308"/>
                    </a:cubicBezTo>
                    <a:cubicBezTo>
                      <a:pt x="63852" y="205385"/>
                      <a:pt x="42314" y="248462"/>
                      <a:pt x="14621" y="24846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1C783F62-52D1-4524-913E-25F8DA84709A}"/>
                </a:ext>
              </a:extLst>
            </p:cNvPr>
            <p:cNvSpPr/>
            <p:nvPr/>
          </p:nvSpPr>
          <p:spPr>
            <a:xfrm>
              <a:off x="5312928" y="3402344"/>
              <a:ext cx="827941" cy="1569780"/>
            </a:xfrm>
            <a:custGeom>
              <a:avLst/>
              <a:gdLst>
                <a:gd name="connsiteX0" fmla="*/ 34045 w 827941"/>
                <a:gd name="connsiteY0" fmla="*/ 28242 h 1569780"/>
                <a:gd name="connsiteX1" fmla="*/ 166353 w 827941"/>
                <a:gd name="connsiteY1" fmla="*/ 535935 h 1569780"/>
                <a:gd name="connsiteX2" fmla="*/ 455584 w 827941"/>
                <a:gd name="connsiteY2" fmla="*/ 902089 h 1569780"/>
                <a:gd name="connsiteX3" fmla="*/ 317122 w 827941"/>
                <a:gd name="connsiteY3" fmla="*/ 1459012 h 1569780"/>
                <a:gd name="connsiteX4" fmla="*/ 470968 w 827941"/>
                <a:gd name="connsiteY4" fmla="*/ 1569781 h 1569780"/>
                <a:gd name="connsiteX5" fmla="*/ 827891 w 827941"/>
                <a:gd name="connsiteY5" fmla="*/ 868242 h 1569780"/>
                <a:gd name="connsiteX6" fmla="*/ 34045 w 827941"/>
                <a:gd name="connsiteY6" fmla="*/ 28242 h 1569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7941" h="1569780">
                  <a:moveTo>
                    <a:pt x="34045" y="28242"/>
                  </a:moveTo>
                  <a:cubicBezTo>
                    <a:pt x="-70570" y="114396"/>
                    <a:pt x="92507" y="425165"/>
                    <a:pt x="166353" y="535935"/>
                  </a:cubicBezTo>
                  <a:cubicBezTo>
                    <a:pt x="230968" y="634396"/>
                    <a:pt x="455584" y="902089"/>
                    <a:pt x="455584" y="902089"/>
                  </a:cubicBezTo>
                  <a:lnTo>
                    <a:pt x="317122" y="1459012"/>
                  </a:lnTo>
                  <a:lnTo>
                    <a:pt x="470968" y="1569781"/>
                  </a:lnTo>
                  <a:cubicBezTo>
                    <a:pt x="470968" y="1569781"/>
                    <a:pt x="827891" y="997473"/>
                    <a:pt x="827891" y="868242"/>
                  </a:cubicBezTo>
                  <a:cubicBezTo>
                    <a:pt x="834045" y="723627"/>
                    <a:pt x="270968" y="-168681"/>
                    <a:pt x="34045" y="28242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9CD01329-F336-419C-9449-C1BC96FCC533}"/>
                </a:ext>
              </a:extLst>
            </p:cNvPr>
            <p:cNvSpPr/>
            <p:nvPr/>
          </p:nvSpPr>
          <p:spPr>
            <a:xfrm>
              <a:off x="5314006" y="3393601"/>
              <a:ext cx="175873" cy="547755"/>
            </a:xfrm>
            <a:custGeom>
              <a:avLst/>
              <a:gdLst>
                <a:gd name="connsiteX0" fmla="*/ 168352 w 175873"/>
                <a:gd name="connsiteY0" fmla="*/ 547755 h 547755"/>
                <a:gd name="connsiteX1" fmla="*/ 165275 w 175873"/>
                <a:gd name="connsiteY1" fmla="*/ 544678 h 547755"/>
                <a:gd name="connsiteX2" fmla="*/ 5275 w 175873"/>
                <a:gd name="connsiteY2" fmla="*/ 193909 h 547755"/>
                <a:gd name="connsiteX3" fmla="*/ 32967 w 175873"/>
                <a:gd name="connsiteY3" fmla="*/ 33909 h 547755"/>
                <a:gd name="connsiteX4" fmla="*/ 112967 w 175873"/>
                <a:gd name="connsiteY4" fmla="*/ 63 h 547755"/>
                <a:gd name="connsiteX5" fmla="*/ 119121 w 175873"/>
                <a:gd name="connsiteY5" fmla="*/ 6217 h 547755"/>
                <a:gd name="connsiteX6" fmla="*/ 112967 w 175873"/>
                <a:gd name="connsiteY6" fmla="*/ 12371 h 547755"/>
                <a:gd name="connsiteX7" fmla="*/ 42198 w 175873"/>
                <a:gd name="connsiteY7" fmla="*/ 43140 h 547755"/>
                <a:gd name="connsiteX8" fmla="*/ 17582 w 175873"/>
                <a:gd name="connsiteY8" fmla="*/ 193909 h 547755"/>
                <a:gd name="connsiteX9" fmla="*/ 174505 w 175873"/>
                <a:gd name="connsiteY9" fmla="*/ 538524 h 547755"/>
                <a:gd name="connsiteX10" fmla="*/ 174505 w 175873"/>
                <a:gd name="connsiteY10" fmla="*/ 547755 h 547755"/>
                <a:gd name="connsiteX11" fmla="*/ 168352 w 175873"/>
                <a:gd name="connsiteY11" fmla="*/ 547755 h 547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5873" h="547755">
                  <a:moveTo>
                    <a:pt x="168352" y="547755"/>
                  </a:moveTo>
                  <a:cubicBezTo>
                    <a:pt x="165275" y="547755"/>
                    <a:pt x="165275" y="547755"/>
                    <a:pt x="165275" y="544678"/>
                  </a:cubicBezTo>
                  <a:cubicBezTo>
                    <a:pt x="165275" y="541601"/>
                    <a:pt x="36044" y="375447"/>
                    <a:pt x="5275" y="193909"/>
                  </a:cubicBezTo>
                  <a:cubicBezTo>
                    <a:pt x="-7033" y="123140"/>
                    <a:pt x="2198" y="67755"/>
                    <a:pt x="32967" y="33909"/>
                  </a:cubicBezTo>
                  <a:cubicBezTo>
                    <a:pt x="66813" y="-3014"/>
                    <a:pt x="109890" y="63"/>
                    <a:pt x="112967" y="63"/>
                  </a:cubicBezTo>
                  <a:cubicBezTo>
                    <a:pt x="116044" y="63"/>
                    <a:pt x="119121" y="3140"/>
                    <a:pt x="119121" y="6217"/>
                  </a:cubicBezTo>
                  <a:cubicBezTo>
                    <a:pt x="119121" y="9294"/>
                    <a:pt x="116044" y="12371"/>
                    <a:pt x="112967" y="12371"/>
                  </a:cubicBezTo>
                  <a:cubicBezTo>
                    <a:pt x="112967" y="12371"/>
                    <a:pt x="69890" y="12371"/>
                    <a:pt x="42198" y="43140"/>
                  </a:cubicBezTo>
                  <a:cubicBezTo>
                    <a:pt x="14505" y="73909"/>
                    <a:pt x="8352" y="123140"/>
                    <a:pt x="17582" y="193909"/>
                  </a:cubicBezTo>
                  <a:cubicBezTo>
                    <a:pt x="48352" y="372371"/>
                    <a:pt x="174505" y="538524"/>
                    <a:pt x="174505" y="538524"/>
                  </a:cubicBezTo>
                  <a:cubicBezTo>
                    <a:pt x="177583" y="541601"/>
                    <a:pt x="174505" y="544678"/>
                    <a:pt x="174505" y="547755"/>
                  </a:cubicBezTo>
                  <a:cubicBezTo>
                    <a:pt x="168352" y="547755"/>
                    <a:pt x="168352" y="547755"/>
                    <a:pt x="168352" y="547755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1303E7E8-285A-44C2-8930-31901264A760}"/>
                </a:ext>
              </a:extLst>
            </p:cNvPr>
            <p:cNvSpPr/>
            <p:nvPr/>
          </p:nvSpPr>
          <p:spPr>
            <a:xfrm>
              <a:off x="5765435" y="4233664"/>
              <a:ext cx="113846" cy="76923"/>
            </a:xfrm>
            <a:custGeom>
              <a:avLst/>
              <a:gdLst>
                <a:gd name="connsiteX0" fmla="*/ 83077 w 113846"/>
                <a:gd name="connsiteY0" fmla="*/ 76923 h 76923"/>
                <a:gd name="connsiteX1" fmla="*/ 83077 w 113846"/>
                <a:gd name="connsiteY1" fmla="*/ 76923 h 76923"/>
                <a:gd name="connsiteX2" fmla="*/ 6154 w 113846"/>
                <a:gd name="connsiteY2" fmla="*/ 76923 h 76923"/>
                <a:gd name="connsiteX3" fmla="*/ 0 w 113846"/>
                <a:gd name="connsiteY3" fmla="*/ 73846 h 76923"/>
                <a:gd name="connsiteX4" fmla="*/ 3077 w 113846"/>
                <a:gd name="connsiteY4" fmla="*/ 67692 h 76923"/>
                <a:gd name="connsiteX5" fmla="*/ 107692 w 113846"/>
                <a:gd name="connsiteY5" fmla="*/ 0 h 76923"/>
                <a:gd name="connsiteX6" fmla="*/ 113846 w 113846"/>
                <a:gd name="connsiteY6" fmla="*/ 3077 h 76923"/>
                <a:gd name="connsiteX7" fmla="*/ 110769 w 113846"/>
                <a:gd name="connsiteY7" fmla="*/ 9231 h 76923"/>
                <a:gd name="connsiteX8" fmla="*/ 27692 w 113846"/>
                <a:gd name="connsiteY8" fmla="*/ 61538 h 76923"/>
                <a:gd name="connsiteX9" fmla="*/ 86154 w 113846"/>
                <a:gd name="connsiteY9" fmla="*/ 64615 h 76923"/>
                <a:gd name="connsiteX10" fmla="*/ 89231 w 113846"/>
                <a:gd name="connsiteY10" fmla="*/ 70769 h 76923"/>
                <a:gd name="connsiteX11" fmla="*/ 83077 w 113846"/>
                <a:gd name="connsiteY11" fmla="*/ 76923 h 7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3846" h="76923">
                  <a:moveTo>
                    <a:pt x="83077" y="76923"/>
                  </a:moveTo>
                  <a:cubicBezTo>
                    <a:pt x="83077" y="76923"/>
                    <a:pt x="83077" y="76923"/>
                    <a:pt x="83077" y="76923"/>
                  </a:cubicBezTo>
                  <a:cubicBezTo>
                    <a:pt x="55385" y="67692"/>
                    <a:pt x="9231" y="76923"/>
                    <a:pt x="6154" y="76923"/>
                  </a:cubicBezTo>
                  <a:cubicBezTo>
                    <a:pt x="3077" y="76923"/>
                    <a:pt x="0" y="76923"/>
                    <a:pt x="0" y="73846"/>
                  </a:cubicBezTo>
                  <a:cubicBezTo>
                    <a:pt x="0" y="70769"/>
                    <a:pt x="0" y="67692"/>
                    <a:pt x="3077" y="67692"/>
                  </a:cubicBezTo>
                  <a:cubicBezTo>
                    <a:pt x="12308" y="61538"/>
                    <a:pt x="80000" y="6154"/>
                    <a:pt x="107692" y="0"/>
                  </a:cubicBezTo>
                  <a:cubicBezTo>
                    <a:pt x="110769" y="0"/>
                    <a:pt x="113846" y="0"/>
                    <a:pt x="113846" y="3077"/>
                  </a:cubicBezTo>
                  <a:cubicBezTo>
                    <a:pt x="113846" y="6154"/>
                    <a:pt x="113846" y="9231"/>
                    <a:pt x="110769" y="9231"/>
                  </a:cubicBezTo>
                  <a:cubicBezTo>
                    <a:pt x="95385" y="12308"/>
                    <a:pt x="52308" y="43077"/>
                    <a:pt x="27692" y="61538"/>
                  </a:cubicBezTo>
                  <a:cubicBezTo>
                    <a:pt x="46154" y="61538"/>
                    <a:pt x="70769" y="58461"/>
                    <a:pt x="86154" y="64615"/>
                  </a:cubicBezTo>
                  <a:cubicBezTo>
                    <a:pt x="89231" y="64615"/>
                    <a:pt x="92308" y="67692"/>
                    <a:pt x="89231" y="70769"/>
                  </a:cubicBezTo>
                  <a:cubicBezTo>
                    <a:pt x="86154" y="73846"/>
                    <a:pt x="86154" y="76923"/>
                    <a:pt x="83077" y="76923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41F7A26D-3982-4A8A-94CF-E1029BD48166}"/>
                </a:ext>
              </a:extLst>
            </p:cNvPr>
            <p:cNvSpPr/>
            <p:nvPr/>
          </p:nvSpPr>
          <p:spPr>
            <a:xfrm>
              <a:off x="4327237" y="4981356"/>
              <a:ext cx="133582" cy="320000"/>
            </a:xfrm>
            <a:custGeom>
              <a:avLst/>
              <a:gdLst>
                <a:gd name="connsiteX0" fmla="*/ 7428 w 133582"/>
                <a:gd name="connsiteY0" fmla="*/ 320000 h 320000"/>
                <a:gd name="connsiteX1" fmla="*/ 1274 w 133582"/>
                <a:gd name="connsiteY1" fmla="*/ 316923 h 320000"/>
                <a:gd name="connsiteX2" fmla="*/ 4351 w 133582"/>
                <a:gd name="connsiteY2" fmla="*/ 307692 h 320000"/>
                <a:gd name="connsiteX3" fmla="*/ 105890 w 133582"/>
                <a:gd name="connsiteY3" fmla="*/ 246154 h 320000"/>
                <a:gd name="connsiteX4" fmla="*/ 121275 w 133582"/>
                <a:gd name="connsiteY4" fmla="*/ 12308 h 320000"/>
                <a:gd name="connsiteX5" fmla="*/ 32044 w 133582"/>
                <a:gd name="connsiteY5" fmla="*/ 15385 h 320000"/>
                <a:gd name="connsiteX6" fmla="*/ 32044 w 133582"/>
                <a:gd name="connsiteY6" fmla="*/ 15385 h 320000"/>
                <a:gd name="connsiteX7" fmla="*/ 25890 w 133582"/>
                <a:gd name="connsiteY7" fmla="*/ 9231 h 320000"/>
                <a:gd name="connsiteX8" fmla="*/ 32044 w 133582"/>
                <a:gd name="connsiteY8" fmla="*/ 3077 h 320000"/>
                <a:gd name="connsiteX9" fmla="*/ 133582 w 133582"/>
                <a:gd name="connsiteY9" fmla="*/ 0 h 320000"/>
                <a:gd name="connsiteX10" fmla="*/ 133582 w 133582"/>
                <a:gd name="connsiteY10" fmla="*/ 6154 h 320000"/>
                <a:gd name="connsiteX11" fmla="*/ 118198 w 133582"/>
                <a:gd name="connsiteY11" fmla="*/ 252308 h 320000"/>
                <a:gd name="connsiteX12" fmla="*/ 7428 w 133582"/>
                <a:gd name="connsiteY12" fmla="*/ 320000 h 320000"/>
                <a:gd name="connsiteX13" fmla="*/ 7428 w 133582"/>
                <a:gd name="connsiteY13" fmla="*/ 320000 h 3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582" h="320000">
                  <a:moveTo>
                    <a:pt x="7428" y="320000"/>
                  </a:moveTo>
                  <a:cubicBezTo>
                    <a:pt x="4351" y="320000"/>
                    <a:pt x="4351" y="320000"/>
                    <a:pt x="1274" y="316923"/>
                  </a:cubicBezTo>
                  <a:cubicBezTo>
                    <a:pt x="-1802" y="313846"/>
                    <a:pt x="1274" y="310769"/>
                    <a:pt x="4351" y="307692"/>
                  </a:cubicBezTo>
                  <a:lnTo>
                    <a:pt x="105890" y="246154"/>
                  </a:lnTo>
                  <a:lnTo>
                    <a:pt x="121275" y="12308"/>
                  </a:lnTo>
                  <a:lnTo>
                    <a:pt x="32044" y="15385"/>
                  </a:lnTo>
                  <a:lnTo>
                    <a:pt x="32044" y="15385"/>
                  </a:lnTo>
                  <a:cubicBezTo>
                    <a:pt x="28967" y="15385"/>
                    <a:pt x="25890" y="12308"/>
                    <a:pt x="25890" y="9231"/>
                  </a:cubicBezTo>
                  <a:cubicBezTo>
                    <a:pt x="25890" y="6154"/>
                    <a:pt x="28967" y="3077"/>
                    <a:pt x="32044" y="3077"/>
                  </a:cubicBezTo>
                  <a:lnTo>
                    <a:pt x="133582" y="0"/>
                  </a:lnTo>
                  <a:lnTo>
                    <a:pt x="133582" y="6154"/>
                  </a:lnTo>
                  <a:lnTo>
                    <a:pt x="118198" y="252308"/>
                  </a:lnTo>
                  <a:lnTo>
                    <a:pt x="7428" y="320000"/>
                  </a:lnTo>
                  <a:cubicBezTo>
                    <a:pt x="10505" y="320000"/>
                    <a:pt x="7428" y="320000"/>
                    <a:pt x="7428" y="320000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73" name="图形 1">
            <a:extLst>
              <a:ext uri="{FF2B5EF4-FFF2-40B4-BE49-F238E27FC236}">
                <a16:creationId xmlns:a16="http://schemas.microsoft.com/office/drawing/2014/main" id="{6FEB53E1-A187-44E1-BE8C-ABED9A22BE29}"/>
              </a:ext>
            </a:extLst>
          </p:cNvPr>
          <p:cNvGrpSpPr/>
          <p:nvPr/>
        </p:nvGrpSpPr>
        <p:grpSpPr>
          <a:xfrm>
            <a:off x="6572840" y="2253484"/>
            <a:ext cx="2646153" cy="4602714"/>
            <a:chOff x="15026974" y="2804532"/>
            <a:chExt cx="2646153" cy="4602714"/>
          </a:xfrm>
        </p:grpSpPr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5B2D5E71-A0EC-4021-BAC5-3E7CCBE4C747}"/>
                </a:ext>
              </a:extLst>
            </p:cNvPr>
            <p:cNvSpPr/>
            <p:nvPr/>
          </p:nvSpPr>
          <p:spPr>
            <a:xfrm>
              <a:off x="15934666" y="5024433"/>
              <a:ext cx="907692" cy="788376"/>
            </a:xfrm>
            <a:custGeom>
              <a:avLst/>
              <a:gdLst>
                <a:gd name="connsiteX0" fmla="*/ 0 w 907692"/>
                <a:gd name="connsiteY0" fmla="*/ 769231 h 788376"/>
                <a:gd name="connsiteX1" fmla="*/ 907692 w 907692"/>
                <a:gd name="connsiteY1" fmla="*/ 769231 h 788376"/>
                <a:gd name="connsiteX2" fmla="*/ 618461 w 907692"/>
                <a:gd name="connsiteY2" fmla="*/ 0 h 788376"/>
                <a:gd name="connsiteX3" fmla="*/ 212308 w 907692"/>
                <a:gd name="connsiteY3" fmla="*/ 86154 h 788376"/>
                <a:gd name="connsiteX4" fmla="*/ 0 w 907692"/>
                <a:gd name="connsiteY4" fmla="*/ 769231 h 78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7692" h="788376">
                  <a:moveTo>
                    <a:pt x="0" y="769231"/>
                  </a:moveTo>
                  <a:cubicBezTo>
                    <a:pt x="0" y="769231"/>
                    <a:pt x="673846" y="812308"/>
                    <a:pt x="907692" y="769231"/>
                  </a:cubicBezTo>
                  <a:lnTo>
                    <a:pt x="618461" y="0"/>
                  </a:lnTo>
                  <a:lnTo>
                    <a:pt x="212308" y="86154"/>
                  </a:lnTo>
                  <a:lnTo>
                    <a:pt x="0" y="769231"/>
                  </a:ln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08FEB2F7-F520-4583-AABE-AF9CFBE6CE2E}"/>
                </a:ext>
              </a:extLst>
            </p:cNvPr>
            <p:cNvSpPr/>
            <p:nvPr/>
          </p:nvSpPr>
          <p:spPr>
            <a:xfrm>
              <a:off x="17016758" y="4962894"/>
              <a:ext cx="71261" cy="191773"/>
            </a:xfrm>
            <a:custGeom>
              <a:avLst/>
              <a:gdLst>
                <a:gd name="connsiteX0" fmla="*/ 59446 w 71261"/>
                <a:gd name="connsiteY0" fmla="*/ 0 h 191773"/>
                <a:gd name="connsiteX1" fmla="*/ 984 w 71261"/>
                <a:gd name="connsiteY1" fmla="*/ 110769 h 191773"/>
                <a:gd name="connsiteX2" fmla="*/ 13292 w 71261"/>
                <a:gd name="connsiteY2" fmla="*/ 190769 h 191773"/>
                <a:gd name="connsiteX3" fmla="*/ 68677 w 71261"/>
                <a:gd name="connsiteY3" fmla="*/ 83077 h 191773"/>
                <a:gd name="connsiteX4" fmla="*/ 59446 w 71261"/>
                <a:gd name="connsiteY4" fmla="*/ 0 h 191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61" h="191773">
                  <a:moveTo>
                    <a:pt x="59446" y="0"/>
                  </a:moveTo>
                  <a:cubicBezTo>
                    <a:pt x="59446" y="0"/>
                    <a:pt x="984" y="80000"/>
                    <a:pt x="984" y="110769"/>
                  </a:cubicBezTo>
                  <a:cubicBezTo>
                    <a:pt x="984" y="141538"/>
                    <a:pt x="-5169" y="184615"/>
                    <a:pt x="13292" y="190769"/>
                  </a:cubicBezTo>
                  <a:cubicBezTo>
                    <a:pt x="53293" y="203077"/>
                    <a:pt x="34831" y="98462"/>
                    <a:pt x="68677" y="83077"/>
                  </a:cubicBezTo>
                  <a:cubicBezTo>
                    <a:pt x="77908" y="76923"/>
                    <a:pt x="59446" y="0"/>
                    <a:pt x="59446" y="0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8FF2E605-0562-41B6-B1D8-28C12D9EA816}"/>
                </a:ext>
              </a:extLst>
            </p:cNvPr>
            <p:cNvGrpSpPr/>
            <p:nvPr/>
          </p:nvGrpSpPr>
          <p:grpSpPr>
            <a:xfrm>
              <a:off x="15909281" y="7005971"/>
              <a:ext cx="367910" cy="401274"/>
              <a:chOff x="15909281" y="7005971"/>
              <a:chExt cx="367910" cy="401274"/>
            </a:xfrm>
          </p:grpSpPr>
          <p:grpSp>
            <p:nvGrpSpPr>
              <p:cNvPr id="139" name="图形 1">
                <a:extLst>
                  <a:ext uri="{FF2B5EF4-FFF2-40B4-BE49-F238E27FC236}">
                    <a16:creationId xmlns:a16="http://schemas.microsoft.com/office/drawing/2014/main" id="{27E3A792-CA83-46FC-A209-261936ADBBFB}"/>
                  </a:ext>
                </a:extLst>
              </p:cNvPr>
              <p:cNvGrpSpPr/>
              <p:nvPr/>
            </p:nvGrpSpPr>
            <p:grpSpPr>
              <a:xfrm>
                <a:off x="15909281" y="7005971"/>
                <a:ext cx="367910" cy="401274"/>
                <a:chOff x="15909281" y="7005971"/>
                <a:chExt cx="367910" cy="401274"/>
              </a:xfrm>
            </p:grpSpPr>
            <p:sp>
              <p:nvSpPr>
                <p:cNvPr id="141" name="任意多边形: 形状 140">
                  <a:extLst>
                    <a:ext uri="{FF2B5EF4-FFF2-40B4-BE49-F238E27FC236}">
                      <a16:creationId xmlns:a16="http://schemas.microsoft.com/office/drawing/2014/main" id="{AA096FCB-C113-4EB2-B978-F57A002B8C61}"/>
                    </a:ext>
                  </a:extLst>
                </p:cNvPr>
                <p:cNvSpPr/>
                <p:nvPr/>
              </p:nvSpPr>
              <p:spPr>
                <a:xfrm>
                  <a:off x="15909281" y="7141356"/>
                  <a:ext cx="367910" cy="265890"/>
                </a:xfrm>
                <a:custGeom>
                  <a:avLst/>
                  <a:gdLst>
                    <a:gd name="connsiteX0" fmla="*/ 228461 w 367910"/>
                    <a:gd name="connsiteY0" fmla="*/ 0 h 265890"/>
                    <a:gd name="connsiteX1" fmla="*/ 108462 w 367910"/>
                    <a:gd name="connsiteY1" fmla="*/ 166154 h 265890"/>
                    <a:gd name="connsiteX2" fmla="*/ 326923 w 367910"/>
                    <a:gd name="connsiteY2" fmla="*/ 36923 h 265890"/>
                    <a:gd name="connsiteX3" fmla="*/ 348462 w 367910"/>
                    <a:gd name="connsiteY3" fmla="*/ 21539 h 265890"/>
                    <a:gd name="connsiteX4" fmla="*/ 366923 w 367910"/>
                    <a:gd name="connsiteY4" fmla="*/ 98462 h 265890"/>
                    <a:gd name="connsiteX5" fmla="*/ 354615 w 367910"/>
                    <a:gd name="connsiteY5" fmla="*/ 221539 h 265890"/>
                    <a:gd name="connsiteX6" fmla="*/ 336154 w 367910"/>
                    <a:gd name="connsiteY6" fmla="*/ 240000 h 265890"/>
                    <a:gd name="connsiteX7" fmla="*/ 166923 w 367910"/>
                    <a:gd name="connsiteY7" fmla="*/ 261538 h 265890"/>
                    <a:gd name="connsiteX8" fmla="*/ 6923 w 367910"/>
                    <a:gd name="connsiteY8" fmla="*/ 264616 h 265890"/>
                    <a:gd name="connsiteX9" fmla="*/ 6923 w 367910"/>
                    <a:gd name="connsiteY9" fmla="*/ 218462 h 265890"/>
                    <a:gd name="connsiteX10" fmla="*/ 228461 w 367910"/>
                    <a:gd name="connsiteY10" fmla="*/ 0 h 265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7910" h="265890">
                      <a:moveTo>
                        <a:pt x="228461" y="0"/>
                      </a:moveTo>
                      <a:cubicBezTo>
                        <a:pt x="228461" y="0"/>
                        <a:pt x="93077" y="156923"/>
                        <a:pt x="108462" y="166154"/>
                      </a:cubicBezTo>
                      <a:cubicBezTo>
                        <a:pt x="126923" y="175385"/>
                        <a:pt x="326923" y="36923"/>
                        <a:pt x="326923" y="36923"/>
                      </a:cubicBezTo>
                      <a:lnTo>
                        <a:pt x="348462" y="21539"/>
                      </a:lnTo>
                      <a:cubicBezTo>
                        <a:pt x="348462" y="21539"/>
                        <a:pt x="373077" y="70769"/>
                        <a:pt x="366923" y="98462"/>
                      </a:cubicBezTo>
                      <a:cubicBezTo>
                        <a:pt x="363847" y="120000"/>
                        <a:pt x="357693" y="187693"/>
                        <a:pt x="354615" y="221539"/>
                      </a:cubicBezTo>
                      <a:cubicBezTo>
                        <a:pt x="354615" y="230769"/>
                        <a:pt x="345385" y="240000"/>
                        <a:pt x="336154" y="240000"/>
                      </a:cubicBezTo>
                      <a:cubicBezTo>
                        <a:pt x="296154" y="243077"/>
                        <a:pt x="200769" y="255385"/>
                        <a:pt x="166923" y="261538"/>
                      </a:cubicBezTo>
                      <a:cubicBezTo>
                        <a:pt x="145385" y="264616"/>
                        <a:pt x="19231" y="267693"/>
                        <a:pt x="6923" y="264616"/>
                      </a:cubicBezTo>
                      <a:cubicBezTo>
                        <a:pt x="-2308" y="264616"/>
                        <a:pt x="-2308" y="224615"/>
                        <a:pt x="6923" y="218462"/>
                      </a:cubicBezTo>
                      <a:cubicBezTo>
                        <a:pt x="86924" y="172308"/>
                        <a:pt x="228461" y="0"/>
                        <a:pt x="228461" y="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2" name="任意多边形: 形状 141">
                  <a:extLst>
                    <a:ext uri="{FF2B5EF4-FFF2-40B4-BE49-F238E27FC236}">
                      <a16:creationId xmlns:a16="http://schemas.microsoft.com/office/drawing/2014/main" id="{B3A48802-5A9A-4977-96DF-D387D609269D}"/>
                    </a:ext>
                  </a:extLst>
                </p:cNvPr>
                <p:cNvSpPr/>
                <p:nvPr/>
              </p:nvSpPr>
              <p:spPr>
                <a:xfrm>
                  <a:off x="16015512" y="7005971"/>
                  <a:ext cx="242231" cy="303296"/>
                </a:xfrm>
                <a:custGeom>
                  <a:avLst/>
                  <a:gdLst>
                    <a:gd name="connsiteX0" fmla="*/ 122230 w 242231"/>
                    <a:gd name="connsiteY0" fmla="*/ 0 h 303296"/>
                    <a:gd name="connsiteX1" fmla="*/ 122230 w 242231"/>
                    <a:gd name="connsiteY1" fmla="*/ 135384 h 303296"/>
                    <a:gd name="connsiteX2" fmla="*/ 2230 w 242231"/>
                    <a:gd name="connsiteY2" fmla="*/ 301539 h 303296"/>
                    <a:gd name="connsiteX3" fmla="*/ 239154 w 242231"/>
                    <a:gd name="connsiteY3" fmla="*/ 156923 h 303296"/>
                    <a:gd name="connsiteX4" fmla="*/ 242231 w 242231"/>
                    <a:gd name="connsiteY4" fmla="*/ 0 h 303296"/>
                    <a:gd name="connsiteX5" fmla="*/ 122230 w 242231"/>
                    <a:gd name="connsiteY5" fmla="*/ 0 h 3032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2231" h="303296">
                      <a:moveTo>
                        <a:pt x="122230" y="0"/>
                      </a:moveTo>
                      <a:lnTo>
                        <a:pt x="122230" y="135384"/>
                      </a:lnTo>
                      <a:cubicBezTo>
                        <a:pt x="122230" y="135384"/>
                        <a:pt x="-19307" y="286154"/>
                        <a:pt x="2230" y="301539"/>
                      </a:cubicBezTo>
                      <a:cubicBezTo>
                        <a:pt x="23769" y="320000"/>
                        <a:pt x="242231" y="187693"/>
                        <a:pt x="239154" y="156923"/>
                      </a:cubicBezTo>
                      <a:cubicBezTo>
                        <a:pt x="239154" y="107692"/>
                        <a:pt x="242231" y="0"/>
                        <a:pt x="242231" y="0"/>
                      </a:cubicBezTo>
                      <a:lnTo>
                        <a:pt x="122230" y="0"/>
                      </a:lnTo>
                      <a:close/>
                    </a:path>
                  </a:pathLst>
                </a:custGeom>
                <a:solidFill>
                  <a:srgbClr val="F5A39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98C56DFA-41D9-454B-9D13-4B82C5DE07A2}"/>
                  </a:ext>
                </a:extLst>
              </p:cNvPr>
              <p:cNvSpPr/>
              <p:nvPr/>
            </p:nvSpPr>
            <p:spPr>
              <a:xfrm>
                <a:off x="16110050" y="7272296"/>
                <a:ext cx="158290" cy="102905"/>
              </a:xfrm>
              <a:custGeom>
                <a:avLst/>
                <a:gdLst>
                  <a:gd name="connsiteX0" fmla="*/ 6154 w 158290"/>
                  <a:gd name="connsiteY0" fmla="*/ 102906 h 102905"/>
                  <a:gd name="connsiteX1" fmla="*/ 0 w 158290"/>
                  <a:gd name="connsiteY1" fmla="*/ 99829 h 102905"/>
                  <a:gd name="connsiteX2" fmla="*/ 3077 w 158290"/>
                  <a:gd name="connsiteY2" fmla="*/ 93675 h 102905"/>
                  <a:gd name="connsiteX3" fmla="*/ 147693 w 158290"/>
                  <a:gd name="connsiteY3" fmla="*/ 1367 h 102905"/>
                  <a:gd name="connsiteX4" fmla="*/ 156923 w 158290"/>
                  <a:gd name="connsiteY4" fmla="*/ 1367 h 102905"/>
                  <a:gd name="connsiteX5" fmla="*/ 156923 w 158290"/>
                  <a:gd name="connsiteY5" fmla="*/ 10598 h 102905"/>
                  <a:gd name="connsiteX6" fmla="*/ 6154 w 158290"/>
                  <a:gd name="connsiteY6" fmla="*/ 102906 h 102905"/>
                  <a:gd name="connsiteX7" fmla="*/ 6154 w 158290"/>
                  <a:gd name="connsiteY7" fmla="*/ 102906 h 102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8290" h="102905">
                    <a:moveTo>
                      <a:pt x="6154" y="102906"/>
                    </a:moveTo>
                    <a:cubicBezTo>
                      <a:pt x="3077" y="102906"/>
                      <a:pt x="3077" y="102906"/>
                      <a:pt x="0" y="99829"/>
                    </a:cubicBezTo>
                    <a:cubicBezTo>
                      <a:pt x="0" y="96752"/>
                      <a:pt x="0" y="93675"/>
                      <a:pt x="3077" y="93675"/>
                    </a:cubicBezTo>
                    <a:cubicBezTo>
                      <a:pt x="40001" y="75214"/>
                      <a:pt x="147693" y="1367"/>
                      <a:pt x="147693" y="1367"/>
                    </a:cubicBezTo>
                    <a:cubicBezTo>
                      <a:pt x="150769" y="-1709"/>
                      <a:pt x="153846" y="1367"/>
                      <a:pt x="156923" y="1367"/>
                    </a:cubicBezTo>
                    <a:cubicBezTo>
                      <a:pt x="160000" y="4445"/>
                      <a:pt x="156923" y="7521"/>
                      <a:pt x="156923" y="10598"/>
                    </a:cubicBezTo>
                    <a:cubicBezTo>
                      <a:pt x="150769" y="10598"/>
                      <a:pt x="46154" y="81368"/>
                      <a:pt x="6154" y="102906"/>
                    </a:cubicBezTo>
                    <a:cubicBezTo>
                      <a:pt x="9231" y="99829"/>
                      <a:pt x="9231" y="102906"/>
                      <a:pt x="6154" y="10290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2BC12C7A-E61A-444E-B77D-A2A4843879EB}"/>
                </a:ext>
              </a:extLst>
            </p:cNvPr>
            <p:cNvGrpSpPr/>
            <p:nvPr/>
          </p:nvGrpSpPr>
          <p:grpSpPr>
            <a:xfrm>
              <a:off x="17180820" y="6685972"/>
              <a:ext cx="380301" cy="499683"/>
              <a:chOff x="17180820" y="6685972"/>
              <a:chExt cx="380301" cy="499683"/>
            </a:xfrm>
          </p:grpSpPr>
          <p:grpSp>
            <p:nvGrpSpPr>
              <p:cNvPr id="135" name="图形 1">
                <a:extLst>
                  <a:ext uri="{FF2B5EF4-FFF2-40B4-BE49-F238E27FC236}">
                    <a16:creationId xmlns:a16="http://schemas.microsoft.com/office/drawing/2014/main" id="{9FD96763-8F74-41A0-A921-7A9ABC41FCC8}"/>
                  </a:ext>
                </a:extLst>
              </p:cNvPr>
              <p:cNvGrpSpPr/>
              <p:nvPr/>
            </p:nvGrpSpPr>
            <p:grpSpPr>
              <a:xfrm>
                <a:off x="17180820" y="6685972"/>
                <a:ext cx="380301" cy="499683"/>
                <a:chOff x="17180820" y="6685972"/>
                <a:chExt cx="380301" cy="499683"/>
              </a:xfrm>
            </p:grpSpPr>
            <p:sp>
              <p:nvSpPr>
                <p:cNvPr id="137" name="任意多边形: 形状 136">
                  <a:extLst>
                    <a:ext uri="{FF2B5EF4-FFF2-40B4-BE49-F238E27FC236}">
                      <a16:creationId xmlns:a16="http://schemas.microsoft.com/office/drawing/2014/main" id="{4D89C357-9B9B-42A7-A190-5B0E2F7955B2}"/>
                    </a:ext>
                  </a:extLst>
                </p:cNvPr>
                <p:cNvSpPr/>
                <p:nvPr/>
              </p:nvSpPr>
              <p:spPr>
                <a:xfrm>
                  <a:off x="17294665" y="6772125"/>
                  <a:ext cx="266455" cy="413530"/>
                </a:xfrm>
                <a:custGeom>
                  <a:avLst/>
                  <a:gdLst>
                    <a:gd name="connsiteX0" fmla="*/ 0 w 266455"/>
                    <a:gd name="connsiteY0" fmla="*/ 92308 h 413530"/>
                    <a:gd name="connsiteX1" fmla="*/ 80000 w 266455"/>
                    <a:gd name="connsiteY1" fmla="*/ 280000 h 413530"/>
                    <a:gd name="connsiteX2" fmla="*/ 86154 w 266455"/>
                    <a:gd name="connsiteY2" fmla="*/ 27693 h 413530"/>
                    <a:gd name="connsiteX3" fmla="*/ 83077 w 266455"/>
                    <a:gd name="connsiteY3" fmla="*/ 0 h 413530"/>
                    <a:gd name="connsiteX4" fmla="*/ 160000 w 266455"/>
                    <a:gd name="connsiteY4" fmla="*/ 24615 h 413530"/>
                    <a:gd name="connsiteX5" fmla="*/ 258461 w 266455"/>
                    <a:gd name="connsiteY5" fmla="*/ 98462 h 413530"/>
                    <a:gd name="connsiteX6" fmla="*/ 264616 w 266455"/>
                    <a:gd name="connsiteY6" fmla="*/ 123077 h 413530"/>
                    <a:gd name="connsiteX7" fmla="*/ 190770 w 266455"/>
                    <a:gd name="connsiteY7" fmla="*/ 276923 h 413530"/>
                    <a:gd name="connsiteX8" fmla="*/ 110769 w 266455"/>
                    <a:gd name="connsiteY8" fmla="*/ 412308 h 413530"/>
                    <a:gd name="connsiteX9" fmla="*/ 70770 w 266455"/>
                    <a:gd name="connsiteY9" fmla="*/ 387693 h 413530"/>
                    <a:gd name="connsiteX10" fmla="*/ 0 w 266455"/>
                    <a:gd name="connsiteY10" fmla="*/ 92308 h 413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66455" h="413530">
                      <a:moveTo>
                        <a:pt x="0" y="92308"/>
                      </a:moveTo>
                      <a:cubicBezTo>
                        <a:pt x="0" y="92308"/>
                        <a:pt x="61538" y="292308"/>
                        <a:pt x="80000" y="280000"/>
                      </a:cubicBezTo>
                      <a:cubicBezTo>
                        <a:pt x="98462" y="270769"/>
                        <a:pt x="86154" y="27693"/>
                        <a:pt x="86154" y="27693"/>
                      </a:cubicBezTo>
                      <a:lnTo>
                        <a:pt x="83077" y="0"/>
                      </a:lnTo>
                      <a:cubicBezTo>
                        <a:pt x="83077" y="0"/>
                        <a:pt x="138462" y="6154"/>
                        <a:pt x="160000" y="24615"/>
                      </a:cubicBezTo>
                      <a:cubicBezTo>
                        <a:pt x="175385" y="40000"/>
                        <a:pt x="230769" y="80000"/>
                        <a:pt x="258461" y="98462"/>
                      </a:cubicBezTo>
                      <a:cubicBezTo>
                        <a:pt x="267693" y="104616"/>
                        <a:pt x="267693" y="113847"/>
                        <a:pt x="264616" y="123077"/>
                      </a:cubicBezTo>
                      <a:cubicBezTo>
                        <a:pt x="246154" y="160000"/>
                        <a:pt x="206154" y="246154"/>
                        <a:pt x="190770" y="276923"/>
                      </a:cubicBezTo>
                      <a:cubicBezTo>
                        <a:pt x="181538" y="298462"/>
                        <a:pt x="116924" y="406154"/>
                        <a:pt x="110769" y="412308"/>
                      </a:cubicBezTo>
                      <a:cubicBezTo>
                        <a:pt x="104615" y="418462"/>
                        <a:pt x="70770" y="400000"/>
                        <a:pt x="70770" y="387693"/>
                      </a:cubicBezTo>
                      <a:cubicBezTo>
                        <a:pt x="70770" y="304616"/>
                        <a:pt x="0" y="92308"/>
                        <a:pt x="0" y="92308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817D3EA9-BECC-42DB-ACAE-2DD4079B4A0A}"/>
                    </a:ext>
                  </a:extLst>
                </p:cNvPr>
                <p:cNvSpPr/>
                <p:nvPr/>
              </p:nvSpPr>
              <p:spPr>
                <a:xfrm>
                  <a:off x="17180820" y="6685972"/>
                  <a:ext cx="216217" cy="366699"/>
                </a:xfrm>
                <a:custGeom>
                  <a:avLst/>
                  <a:gdLst>
                    <a:gd name="connsiteX0" fmla="*/ 0 w 216217"/>
                    <a:gd name="connsiteY0" fmla="*/ 107692 h 366699"/>
                    <a:gd name="connsiteX1" fmla="*/ 113846 w 216217"/>
                    <a:gd name="connsiteY1" fmla="*/ 178461 h 366699"/>
                    <a:gd name="connsiteX2" fmla="*/ 193846 w 216217"/>
                    <a:gd name="connsiteY2" fmla="*/ 366154 h 366699"/>
                    <a:gd name="connsiteX3" fmla="*/ 196923 w 216217"/>
                    <a:gd name="connsiteY3" fmla="*/ 86153 h 366699"/>
                    <a:gd name="connsiteX4" fmla="*/ 64615 w 216217"/>
                    <a:gd name="connsiteY4" fmla="*/ 0 h 366699"/>
                    <a:gd name="connsiteX5" fmla="*/ 0 w 216217"/>
                    <a:gd name="connsiteY5" fmla="*/ 107692 h 366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16217" h="366699">
                      <a:moveTo>
                        <a:pt x="0" y="107692"/>
                      </a:moveTo>
                      <a:lnTo>
                        <a:pt x="113846" y="178461"/>
                      </a:lnTo>
                      <a:cubicBezTo>
                        <a:pt x="113846" y="178461"/>
                        <a:pt x="166154" y="378461"/>
                        <a:pt x="193846" y="366154"/>
                      </a:cubicBezTo>
                      <a:cubicBezTo>
                        <a:pt x="221538" y="356923"/>
                        <a:pt x="224615" y="104615"/>
                        <a:pt x="196923" y="86153"/>
                      </a:cubicBezTo>
                      <a:cubicBezTo>
                        <a:pt x="153846" y="58461"/>
                        <a:pt x="64615" y="0"/>
                        <a:pt x="64615" y="0"/>
                      </a:cubicBezTo>
                      <a:lnTo>
                        <a:pt x="0" y="107692"/>
                      </a:lnTo>
                      <a:close/>
                    </a:path>
                  </a:pathLst>
                </a:custGeom>
                <a:solidFill>
                  <a:srgbClr val="F5A398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6E71B556-12D3-4FC4-8D1C-F4514D4593E0}"/>
                  </a:ext>
                </a:extLst>
              </p:cNvPr>
              <p:cNvSpPr/>
              <p:nvPr/>
            </p:nvSpPr>
            <p:spPr>
              <a:xfrm>
                <a:off x="17466973" y="6821356"/>
                <a:ext cx="16246" cy="184615"/>
              </a:xfrm>
              <a:custGeom>
                <a:avLst/>
                <a:gdLst>
                  <a:gd name="connsiteX0" fmla="*/ 9230 w 16246"/>
                  <a:gd name="connsiteY0" fmla="*/ 184615 h 184615"/>
                  <a:gd name="connsiteX1" fmla="*/ 9230 w 16246"/>
                  <a:gd name="connsiteY1" fmla="*/ 184615 h 184615"/>
                  <a:gd name="connsiteX2" fmla="*/ 3077 w 16246"/>
                  <a:gd name="connsiteY2" fmla="*/ 178462 h 184615"/>
                  <a:gd name="connsiteX3" fmla="*/ 0 w 16246"/>
                  <a:gd name="connsiteY3" fmla="*/ 6154 h 184615"/>
                  <a:gd name="connsiteX4" fmla="*/ 6154 w 16246"/>
                  <a:gd name="connsiteY4" fmla="*/ 0 h 184615"/>
                  <a:gd name="connsiteX5" fmla="*/ 12308 w 16246"/>
                  <a:gd name="connsiteY5" fmla="*/ 6154 h 184615"/>
                  <a:gd name="connsiteX6" fmla="*/ 15385 w 16246"/>
                  <a:gd name="connsiteY6" fmla="*/ 178462 h 184615"/>
                  <a:gd name="connsiteX7" fmla="*/ 9230 w 16246"/>
                  <a:gd name="connsiteY7" fmla="*/ 184615 h 18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246" h="184615">
                    <a:moveTo>
                      <a:pt x="9230" y="184615"/>
                    </a:moveTo>
                    <a:cubicBezTo>
                      <a:pt x="9230" y="184615"/>
                      <a:pt x="9230" y="184615"/>
                      <a:pt x="9230" y="184615"/>
                    </a:cubicBezTo>
                    <a:cubicBezTo>
                      <a:pt x="6154" y="184615"/>
                      <a:pt x="3077" y="181538"/>
                      <a:pt x="3077" y="178462"/>
                    </a:cubicBezTo>
                    <a:cubicBezTo>
                      <a:pt x="6154" y="138462"/>
                      <a:pt x="0" y="9231"/>
                      <a:pt x="0" y="6154"/>
                    </a:cubicBezTo>
                    <a:cubicBezTo>
                      <a:pt x="0" y="3077"/>
                      <a:pt x="3077" y="0"/>
                      <a:pt x="6154" y="0"/>
                    </a:cubicBezTo>
                    <a:cubicBezTo>
                      <a:pt x="9230" y="0"/>
                      <a:pt x="12308" y="3077"/>
                      <a:pt x="12308" y="6154"/>
                    </a:cubicBezTo>
                    <a:cubicBezTo>
                      <a:pt x="12308" y="12308"/>
                      <a:pt x="18462" y="138462"/>
                      <a:pt x="15385" y="178462"/>
                    </a:cubicBezTo>
                    <a:cubicBezTo>
                      <a:pt x="15385" y="181538"/>
                      <a:pt x="12308" y="184615"/>
                      <a:pt x="9230" y="18461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8" name="图形 1">
              <a:extLst>
                <a:ext uri="{FF2B5EF4-FFF2-40B4-BE49-F238E27FC236}">
                  <a16:creationId xmlns:a16="http://schemas.microsoft.com/office/drawing/2014/main" id="{EC3FE3EE-41AA-4F5C-A1DC-27D6454EEB35}"/>
                </a:ext>
              </a:extLst>
            </p:cNvPr>
            <p:cNvGrpSpPr/>
            <p:nvPr/>
          </p:nvGrpSpPr>
          <p:grpSpPr>
            <a:xfrm>
              <a:off x="15026974" y="4593510"/>
              <a:ext cx="355021" cy="281853"/>
              <a:chOff x="15026974" y="4593510"/>
              <a:chExt cx="355021" cy="281853"/>
            </a:xfrm>
          </p:grpSpPr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59E8AF5B-341C-4370-823C-388901A2561D}"/>
                  </a:ext>
                </a:extLst>
              </p:cNvPr>
              <p:cNvSpPr/>
              <p:nvPr/>
            </p:nvSpPr>
            <p:spPr>
              <a:xfrm>
                <a:off x="15031915" y="4593510"/>
                <a:ext cx="350080" cy="281853"/>
              </a:xfrm>
              <a:custGeom>
                <a:avLst/>
                <a:gdLst>
                  <a:gd name="connsiteX0" fmla="*/ 161212 w 350080"/>
                  <a:gd name="connsiteY0" fmla="*/ 270923 h 281853"/>
                  <a:gd name="connsiteX1" fmla="*/ 235058 w 350080"/>
                  <a:gd name="connsiteY1" fmla="*/ 234000 h 281853"/>
                  <a:gd name="connsiteX2" fmla="*/ 339674 w 350080"/>
                  <a:gd name="connsiteY2" fmla="*/ 154000 h 281853"/>
                  <a:gd name="connsiteX3" fmla="*/ 330443 w 350080"/>
                  <a:gd name="connsiteY3" fmla="*/ 55539 h 281853"/>
                  <a:gd name="connsiteX4" fmla="*/ 324289 w 350080"/>
                  <a:gd name="connsiteY4" fmla="*/ 55539 h 281853"/>
                  <a:gd name="connsiteX5" fmla="*/ 324289 w 350080"/>
                  <a:gd name="connsiteY5" fmla="*/ 55539 h 281853"/>
                  <a:gd name="connsiteX6" fmla="*/ 111981 w 350080"/>
                  <a:gd name="connsiteY6" fmla="*/ 18615 h 281853"/>
                  <a:gd name="connsiteX7" fmla="*/ 111981 w 350080"/>
                  <a:gd name="connsiteY7" fmla="*/ 40154 h 281853"/>
                  <a:gd name="connsiteX8" fmla="*/ 210443 w 350080"/>
                  <a:gd name="connsiteY8" fmla="*/ 67846 h 281853"/>
                  <a:gd name="connsiteX9" fmla="*/ 22751 w 350080"/>
                  <a:gd name="connsiteY9" fmla="*/ 132462 h 281853"/>
                  <a:gd name="connsiteX10" fmla="*/ 13520 w 350080"/>
                  <a:gd name="connsiteY10" fmla="*/ 166308 h 281853"/>
                  <a:gd name="connsiteX11" fmla="*/ 62750 w 350080"/>
                  <a:gd name="connsiteY11" fmla="*/ 157077 h 281853"/>
                  <a:gd name="connsiteX12" fmla="*/ 124289 w 350080"/>
                  <a:gd name="connsiteY12" fmla="*/ 141692 h 281853"/>
                  <a:gd name="connsiteX13" fmla="*/ 53520 w 350080"/>
                  <a:gd name="connsiteY13" fmla="*/ 184769 h 281853"/>
                  <a:gd name="connsiteX14" fmla="*/ 4289 w 350080"/>
                  <a:gd name="connsiteY14" fmla="*/ 218615 h 281853"/>
                  <a:gd name="connsiteX15" fmla="*/ 7366 w 350080"/>
                  <a:gd name="connsiteY15" fmla="*/ 249385 h 281853"/>
                  <a:gd name="connsiteX16" fmla="*/ 41213 w 350080"/>
                  <a:gd name="connsiteY16" fmla="*/ 258615 h 281853"/>
                  <a:gd name="connsiteX17" fmla="*/ 41213 w 350080"/>
                  <a:gd name="connsiteY17" fmla="*/ 261692 h 281853"/>
                  <a:gd name="connsiteX18" fmla="*/ 44289 w 350080"/>
                  <a:gd name="connsiteY18" fmla="*/ 267846 h 281853"/>
                  <a:gd name="connsiteX19" fmla="*/ 96597 w 350080"/>
                  <a:gd name="connsiteY19" fmla="*/ 264769 h 281853"/>
                  <a:gd name="connsiteX20" fmla="*/ 121212 w 350080"/>
                  <a:gd name="connsiteY20" fmla="*/ 252462 h 281853"/>
                  <a:gd name="connsiteX21" fmla="*/ 118136 w 350080"/>
                  <a:gd name="connsiteY21" fmla="*/ 258615 h 281853"/>
                  <a:gd name="connsiteX22" fmla="*/ 121212 w 350080"/>
                  <a:gd name="connsiteY22" fmla="*/ 280154 h 281853"/>
                  <a:gd name="connsiteX23" fmla="*/ 161212 w 350080"/>
                  <a:gd name="connsiteY23" fmla="*/ 270923 h 281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50080" h="281853">
                    <a:moveTo>
                      <a:pt x="161212" y="270923"/>
                    </a:moveTo>
                    <a:cubicBezTo>
                      <a:pt x="185827" y="258615"/>
                      <a:pt x="210443" y="246308"/>
                      <a:pt x="235058" y="234000"/>
                    </a:cubicBezTo>
                    <a:cubicBezTo>
                      <a:pt x="275058" y="215538"/>
                      <a:pt x="324289" y="200154"/>
                      <a:pt x="339674" y="154000"/>
                    </a:cubicBezTo>
                    <a:cubicBezTo>
                      <a:pt x="348905" y="123231"/>
                      <a:pt x="361212" y="80154"/>
                      <a:pt x="330443" y="55539"/>
                    </a:cubicBezTo>
                    <a:cubicBezTo>
                      <a:pt x="327366" y="55539"/>
                      <a:pt x="327366" y="55539"/>
                      <a:pt x="324289" y="55539"/>
                    </a:cubicBezTo>
                    <a:cubicBezTo>
                      <a:pt x="324289" y="55539"/>
                      <a:pt x="324289" y="55539"/>
                      <a:pt x="324289" y="55539"/>
                    </a:cubicBezTo>
                    <a:cubicBezTo>
                      <a:pt x="259673" y="-2923"/>
                      <a:pt x="164289" y="-15231"/>
                      <a:pt x="111981" y="18615"/>
                    </a:cubicBezTo>
                    <a:cubicBezTo>
                      <a:pt x="108904" y="21692"/>
                      <a:pt x="108904" y="37077"/>
                      <a:pt x="111981" y="40154"/>
                    </a:cubicBezTo>
                    <a:cubicBezTo>
                      <a:pt x="145828" y="52462"/>
                      <a:pt x="188905" y="37077"/>
                      <a:pt x="210443" y="67846"/>
                    </a:cubicBezTo>
                    <a:cubicBezTo>
                      <a:pt x="148905" y="95538"/>
                      <a:pt x="78135" y="92462"/>
                      <a:pt x="22751" y="132462"/>
                    </a:cubicBezTo>
                    <a:cubicBezTo>
                      <a:pt x="13520" y="138615"/>
                      <a:pt x="-8018" y="160154"/>
                      <a:pt x="13520" y="166308"/>
                    </a:cubicBezTo>
                    <a:cubicBezTo>
                      <a:pt x="25828" y="169385"/>
                      <a:pt x="47366" y="160154"/>
                      <a:pt x="62750" y="157077"/>
                    </a:cubicBezTo>
                    <a:cubicBezTo>
                      <a:pt x="84289" y="150923"/>
                      <a:pt x="105827" y="147846"/>
                      <a:pt x="124289" y="141692"/>
                    </a:cubicBezTo>
                    <a:cubicBezTo>
                      <a:pt x="99674" y="157077"/>
                      <a:pt x="78135" y="169385"/>
                      <a:pt x="53520" y="184769"/>
                    </a:cubicBezTo>
                    <a:cubicBezTo>
                      <a:pt x="38135" y="194000"/>
                      <a:pt x="16597" y="203231"/>
                      <a:pt x="4289" y="218615"/>
                    </a:cubicBezTo>
                    <a:cubicBezTo>
                      <a:pt x="-1865" y="227846"/>
                      <a:pt x="-1865" y="240154"/>
                      <a:pt x="7366" y="249385"/>
                    </a:cubicBezTo>
                    <a:cubicBezTo>
                      <a:pt x="16597" y="258615"/>
                      <a:pt x="28904" y="258615"/>
                      <a:pt x="41213" y="258615"/>
                    </a:cubicBezTo>
                    <a:cubicBezTo>
                      <a:pt x="41213" y="258615"/>
                      <a:pt x="41213" y="261692"/>
                      <a:pt x="41213" y="261692"/>
                    </a:cubicBezTo>
                    <a:cubicBezTo>
                      <a:pt x="41213" y="264769"/>
                      <a:pt x="41213" y="267846"/>
                      <a:pt x="44289" y="267846"/>
                    </a:cubicBezTo>
                    <a:cubicBezTo>
                      <a:pt x="62750" y="277077"/>
                      <a:pt x="78135" y="274000"/>
                      <a:pt x="96597" y="264769"/>
                    </a:cubicBezTo>
                    <a:cubicBezTo>
                      <a:pt x="105827" y="261692"/>
                      <a:pt x="111981" y="255539"/>
                      <a:pt x="121212" y="252462"/>
                    </a:cubicBezTo>
                    <a:cubicBezTo>
                      <a:pt x="118136" y="255539"/>
                      <a:pt x="118136" y="255539"/>
                      <a:pt x="118136" y="258615"/>
                    </a:cubicBezTo>
                    <a:cubicBezTo>
                      <a:pt x="115059" y="264769"/>
                      <a:pt x="111981" y="274000"/>
                      <a:pt x="121212" y="280154"/>
                    </a:cubicBezTo>
                    <a:cubicBezTo>
                      <a:pt x="130443" y="286308"/>
                      <a:pt x="148905" y="274000"/>
                      <a:pt x="161212" y="270923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4159582F-3295-485A-AE1F-904BEAB752F8}"/>
                  </a:ext>
                </a:extLst>
              </p:cNvPr>
              <p:cNvSpPr/>
              <p:nvPr/>
            </p:nvSpPr>
            <p:spPr>
              <a:xfrm>
                <a:off x="15250314" y="4678543"/>
                <a:ext cx="68967" cy="41274"/>
              </a:xfrm>
              <a:custGeom>
                <a:avLst/>
                <a:gdLst>
                  <a:gd name="connsiteX0" fmla="*/ 53583 w 68967"/>
                  <a:gd name="connsiteY0" fmla="*/ 41274 h 41274"/>
                  <a:gd name="connsiteX1" fmla="*/ 1275 w 68967"/>
                  <a:gd name="connsiteY1" fmla="*/ 10505 h 41274"/>
                  <a:gd name="connsiteX2" fmla="*/ 4352 w 68967"/>
                  <a:gd name="connsiteY2" fmla="*/ 1274 h 41274"/>
                  <a:gd name="connsiteX3" fmla="*/ 13582 w 68967"/>
                  <a:gd name="connsiteY3" fmla="*/ 4351 h 41274"/>
                  <a:gd name="connsiteX4" fmla="*/ 62813 w 68967"/>
                  <a:gd name="connsiteY4" fmla="*/ 25890 h 41274"/>
                  <a:gd name="connsiteX5" fmla="*/ 68967 w 68967"/>
                  <a:gd name="connsiteY5" fmla="*/ 28967 h 41274"/>
                  <a:gd name="connsiteX6" fmla="*/ 65890 w 68967"/>
                  <a:gd name="connsiteY6" fmla="*/ 35121 h 41274"/>
                  <a:gd name="connsiteX7" fmla="*/ 53583 w 68967"/>
                  <a:gd name="connsiteY7" fmla="*/ 41274 h 41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967" h="41274">
                    <a:moveTo>
                      <a:pt x="53583" y="41274"/>
                    </a:moveTo>
                    <a:cubicBezTo>
                      <a:pt x="22813" y="41274"/>
                      <a:pt x="4352" y="13582"/>
                      <a:pt x="1275" y="10505"/>
                    </a:cubicBezTo>
                    <a:cubicBezTo>
                      <a:pt x="-1803" y="7428"/>
                      <a:pt x="1275" y="4351"/>
                      <a:pt x="4352" y="1274"/>
                    </a:cubicBezTo>
                    <a:cubicBezTo>
                      <a:pt x="7429" y="-1802"/>
                      <a:pt x="10505" y="1274"/>
                      <a:pt x="13582" y="4351"/>
                    </a:cubicBezTo>
                    <a:cubicBezTo>
                      <a:pt x="13582" y="4351"/>
                      <a:pt x="32044" y="35121"/>
                      <a:pt x="62813" y="25890"/>
                    </a:cubicBezTo>
                    <a:cubicBezTo>
                      <a:pt x="65890" y="25890"/>
                      <a:pt x="68967" y="25890"/>
                      <a:pt x="68967" y="28967"/>
                    </a:cubicBezTo>
                    <a:cubicBezTo>
                      <a:pt x="68967" y="32044"/>
                      <a:pt x="68967" y="35121"/>
                      <a:pt x="65890" y="35121"/>
                    </a:cubicBezTo>
                    <a:cubicBezTo>
                      <a:pt x="62813" y="41274"/>
                      <a:pt x="59736" y="41274"/>
                      <a:pt x="53583" y="4127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71F0803C-BAA2-4B0A-85A2-DA52C60C5801}"/>
                  </a:ext>
                </a:extLst>
              </p:cNvPr>
              <p:cNvSpPr/>
              <p:nvPr/>
            </p:nvSpPr>
            <p:spPr>
              <a:xfrm>
                <a:off x="15026974" y="4729048"/>
                <a:ext cx="153846" cy="123076"/>
              </a:xfrm>
              <a:custGeom>
                <a:avLst/>
                <a:gdLst>
                  <a:gd name="connsiteX0" fmla="*/ 33845 w 153846"/>
                  <a:gd name="connsiteY0" fmla="*/ 123077 h 123076"/>
                  <a:gd name="connsiteX1" fmla="*/ 12308 w 153846"/>
                  <a:gd name="connsiteY1" fmla="*/ 116923 h 123076"/>
                  <a:gd name="connsiteX2" fmla="*/ 0 w 153846"/>
                  <a:gd name="connsiteY2" fmla="*/ 92308 h 123076"/>
                  <a:gd name="connsiteX3" fmla="*/ 86153 w 153846"/>
                  <a:gd name="connsiteY3" fmla="*/ 24615 h 123076"/>
                  <a:gd name="connsiteX4" fmla="*/ 18461 w 153846"/>
                  <a:gd name="connsiteY4" fmla="*/ 36923 h 123076"/>
                  <a:gd name="connsiteX5" fmla="*/ 12308 w 153846"/>
                  <a:gd name="connsiteY5" fmla="*/ 30769 h 123076"/>
                  <a:gd name="connsiteX6" fmla="*/ 18461 w 153846"/>
                  <a:gd name="connsiteY6" fmla="*/ 24615 h 123076"/>
                  <a:gd name="connsiteX7" fmla="*/ 126153 w 153846"/>
                  <a:gd name="connsiteY7" fmla="*/ 0 h 123076"/>
                  <a:gd name="connsiteX8" fmla="*/ 132307 w 153846"/>
                  <a:gd name="connsiteY8" fmla="*/ 3077 h 123076"/>
                  <a:gd name="connsiteX9" fmla="*/ 129230 w 153846"/>
                  <a:gd name="connsiteY9" fmla="*/ 9231 h 123076"/>
                  <a:gd name="connsiteX10" fmla="*/ 12308 w 153846"/>
                  <a:gd name="connsiteY10" fmla="*/ 89231 h 123076"/>
                  <a:gd name="connsiteX11" fmla="*/ 18461 w 153846"/>
                  <a:gd name="connsiteY11" fmla="*/ 104615 h 123076"/>
                  <a:gd name="connsiteX12" fmla="*/ 43077 w 153846"/>
                  <a:gd name="connsiteY12" fmla="*/ 107692 h 123076"/>
                  <a:gd name="connsiteX13" fmla="*/ 144615 w 153846"/>
                  <a:gd name="connsiteY13" fmla="*/ 58462 h 123076"/>
                  <a:gd name="connsiteX14" fmla="*/ 153846 w 153846"/>
                  <a:gd name="connsiteY14" fmla="*/ 61538 h 123076"/>
                  <a:gd name="connsiteX15" fmla="*/ 150769 w 153846"/>
                  <a:gd name="connsiteY15" fmla="*/ 70769 h 123076"/>
                  <a:gd name="connsiteX16" fmla="*/ 46154 w 153846"/>
                  <a:gd name="connsiteY16" fmla="*/ 120000 h 123076"/>
                  <a:gd name="connsiteX17" fmla="*/ 33845 w 153846"/>
                  <a:gd name="connsiteY17" fmla="*/ 123077 h 12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3846" h="123076">
                    <a:moveTo>
                      <a:pt x="33845" y="123077"/>
                    </a:moveTo>
                    <a:cubicBezTo>
                      <a:pt x="24615" y="123077"/>
                      <a:pt x="18461" y="120000"/>
                      <a:pt x="12308" y="116923"/>
                    </a:cubicBezTo>
                    <a:cubicBezTo>
                      <a:pt x="6153" y="110769"/>
                      <a:pt x="0" y="101539"/>
                      <a:pt x="0" y="92308"/>
                    </a:cubicBezTo>
                    <a:cubicBezTo>
                      <a:pt x="0" y="76923"/>
                      <a:pt x="46154" y="49231"/>
                      <a:pt x="86153" y="24615"/>
                    </a:cubicBezTo>
                    <a:cubicBezTo>
                      <a:pt x="52307" y="30769"/>
                      <a:pt x="21538" y="36923"/>
                      <a:pt x="18461" y="36923"/>
                    </a:cubicBezTo>
                    <a:cubicBezTo>
                      <a:pt x="15385" y="36923"/>
                      <a:pt x="12308" y="33846"/>
                      <a:pt x="12308" y="30769"/>
                    </a:cubicBezTo>
                    <a:cubicBezTo>
                      <a:pt x="12308" y="27692"/>
                      <a:pt x="15385" y="24615"/>
                      <a:pt x="18461" y="24615"/>
                    </a:cubicBezTo>
                    <a:cubicBezTo>
                      <a:pt x="18461" y="24615"/>
                      <a:pt x="89231" y="12308"/>
                      <a:pt x="126153" y="0"/>
                    </a:cubicBezTo>
                    <a:cubicBezTo>
                      <a:pt x="129230" y="0"/>
                      <a:pt x="132307" y="0"/>
                      <a:pt x="132307" y="3077"/>
                    </a:cubicBezTo>
                    <a:cubicBezTo>
                      <a:pt x="132307" y="6154"/>
                      <a:pt x="132307" y="9231"/>
                      <a:pt x="129230" y="9231"/>
                    </a:cubicBezTo>
                    <a:cubicBezTo>
                      <a:pt x="73846" y="40000"/>
                      <a:pt x="12308" y="76923"/>
                      <a:pt x="12308" y="89231"/>
                    </a:cubicBezTo>
                    <a:cubicBezTo>
                      <a:pt x="12308" y="95385"/>
                      <a:pt x="15385" y="101539"/>
                      <a:pt x="18461" y="104615"/>
                    </a:cubicBezTo>
                    <a:cubicBezTo>
                      <a:pt x="24615" y="107692"/>
                      <a:pt x="33845" y="110769"/>
                      <a:pt x="43077" y="107692"/>
                    </a:cubicBezTo>
                    <a:cubicBezTo>
                      <a:pt x="61538" y="101539"/>
                      <a:pt x="144615" y="58462"/>
                      <a:pt x="144615" y="58462"/>
                    </a:cubicBezTo>
                    <a:cubicBezTo>
                      <a:pt x="147692" y="58462"/>
                      <a:pt x="150769" y="58462"/>
                      <a:pt x="153846" y="61538"/>
                    </a:cubicBezTo>
                    <a:cubicBezTo>
                      <a:pt x="153846" y="64615"/>
                      <a:pt x="153846" y="67692"/>
                      <a:pt x="150769" y="70769"/>
                    </a:cubicBezTo>
                    <a:cubicBezTo>
                      <a:pt x="147692" y="73846"/>
                      <a:pt x="64615" y="113846"/>
                      <a:pt x="46154" y="120000"/>
                    </a:cubicBezTo>
                    <a:cubicBezTo>
                      <a:pt x="43077" y="123077"/>
                      <a:pt x="40000" y="123077"/>
                      <a:pt x="33845" y="12307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B32C1690-154E-4296-8639-944F03A9CFFF}"/>
                  </a:ext>
                </a:extLst>
              </p:cNvPr>
              <p:cNvSpPr/>
              <p:nvPr/>
            </p:nvSpPr>
            <p:spPr>
              <a:xfrm>
                <a:off x="15066973" y="4793664"/>
                <a:ext cx="153846" cy="76923"/>
              </a:xfrm>
              <a:custGeom>
                <a:avLst/>
                <a:gdLst>
                  <a:gd name="connsiteX0" fmla="*/ 21539 w 153846"/>
                  <a:gd name="connsiteY0" fmla="*/ 76923 h 76923"/>
                  <a:gd name="connsiteX1" fmla="*/ 21539 w 153846"/>
                  <a:gd name="connsiteY1" fmla="*/ 76923 h 76923"/>
                  <a:gd name="connsiteX2" fmla="*/ 0 w 153846"/>
                  <a:gd name="connsiteY2" fmla="*/ 49231 h 76923"/>
                  <a:gd name="connsiteX3" fmla="*/ 6154 w 153846"/>
                  <a:gd name="connsiteY3" fmla="*/ 43077 h 76923"/>
                  <a:gd name="connsiteX4" fmla="*/ 12308 w 153846"/>
                  <a:gd name="connsiteY4" fmla="*/ 49231 h 76923"/>
                  <a:gd name="connsiteX5" fmla="*/ 21539 w 153846"/>
                  <a:gd name="connsiteY5" fmla="*/ 64615 h 76923"/>
                  <a:gd name="connsiteX6" fmla="*/ 86153 w 153846"/>
                  <a:gd name="connsiteY6" fmla="*/ 36923 h 76923"/>
                  <a:gd name="connsiteX7" fmla="*/ 147692 w 153846"/>
                  <a:gd name="connsiteY7" fmla="*/ 0 h 76923"/>
                  <a:gd name="connsiteX8" fmla="*/ 153846 w 153846"/>
                  <a:gd name="connsiteY8" fmla="*/ 9231 h 76923"/>
                  <a:gd name="connsiteX9" fmla="*/ 92308 w 153846"/>
                  <a:gd name="connsiteY9" fmla="*/ 46154 h 76923"/>
                  <a:gd name="connsiteX10" fmla="*/ 21539 w 153846"/>
                  <a:gd name="connsiteY10" fmla="*/ 76923 h 7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3846" h="76923">
                    <a:moveTo>
                      <a:pt x="21539" y="76923"/>
                    </a:moveTo>
                    <a:cubicBezTo>
                      <a:pt x="21539" y="76923"/>
                      <a:pt x="21539" y="76923"/>
                      <a:pt x="21539" y="76923"/>
                    </a:cubicBezTo>
                    <a:cubicBezTo>
                      <a:pt x="6154" y="76923"/>
                      <a:pt x="0" y="58462"/>
                      <a:pt x="0" y="49231"/>
                    </a:cubicBezTo>
                    <a:cubicBezTo>
                      <a:pt x="0" y="46154"/>
                      <a:pt x="3077" y="43077"/>
                      <a:pt x="6154" y="43077"/>
                    </a:cubicBezTo>
                    <a:cubicBezTo>
                      <a:pt x="9230" y="43077"/>
                      <a:pt x="12308" y="46154"/>
                      <a:pt x="12308" y="49231"/>
                    </a:cubicBezTo>
                    <a:cubicBezTo>
                      <a:pt x="12308" y="49231"/>
                      <a:pt x="12308" y="64615"/>
                      <a:pt x="21539" y="64615"/>
                    </a:cubicBezTo>
                    <a:cubicBezTo>
                      <a:pt x="33846" y="64615"/>
                      <a:pt x="73846" y="46154"/>
                      <a:pt x="86153" y="36923"/>
                    </a:cubicBezTo>
                    <a:cubicBezTo>
                      <a:pt x="95385" y="30769"/>
                      <a:pt x="147692" y="0"/>
                      <a:pt x="147692" y="0"/>
                    </a:cubicBezTo>
                    <a:lnTo>
                      <a:pt x="153846" y="9231"/>
                    </a:lnTo>
                    <a:cubicBezTo>
                      <a:pt x="153846" y="9231"/>
                      <a:pt x="101538" y="40000"/>
                      <a:pt x="92308" y="46154"/>
                    </a:cubicBezTo>
                    <a:cubicBezTo>
                      <a:pt x="86153" y="52308"/>
                      <a:pt x="40000" y="76923"/>
                      <a:pt x="21539" y="7692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B7C30DBE-9DFB-4D06-BF3E-18BA3403169A}"/>
                </a:ext>
              </a:extLst>
            </p:cNvPr>
            <p:cNvSpPr/>
            <p:nvPr/>
          </p:nvSpPr>
          <p:spPr>
            <a:xfrm>
              <a:off x="15316186" y="3655502"/>
              <a:ext cx="923248" cy="1126152"/>
            </a:xfrm>
            <a:custGeom>
              <a:avLst/>
              <a:gdLst>
                <a:gd name="connsiteX0" fmla="*/ 587711 w 923248"/>
                <a:gd name="connsiteY0" fmla="*/ 325854 h 1126152"/>
                <a:gd name="connsiteX1" fmla="*/ 455402 w 923248"/>
                <a:gd name="connsiteY1" fmla="*/ 698161 h 1126152"/>
                <a:gd name="connsiteX2" fmla="*/ 18 w 923248"/>
                <a:gd name="connsiteY2" fmla="*/ 932008 h 1126152"/>
                <a:gd name="connsiteX3" fmla="*/ 83095 w 923248"/>
                <a:gd name="connsiteY3" fmla="*/ 1125854 h 1126152"/>
                <a:gd name="connsiteX4" fmla="*/ 670787 w 923248"/>
                <a:gd name="connsiteY4" fmla="*/ 885854 h 1126152"/>
                <a:gd name="connsiteX5" fmla="*/ 910788 w 923248"/>
                <a:gd name="connsiteY5" fmla="*/ 267392 h 1126152"/>
                <a:gd name="connsiteX6" fmla="*/ 855402 w 923248"/>
                <a:gd name="connsiteY6" fmla="*/ 2777 h 1126152"/>
                <a:gd name="connsiteX7" fmla="*/ 587711 w 923248"/>
                <a:gd name="connsiteY7" fmla="*/ 325854 h 112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3248" h="1126152">
                  <a:moveTo>
                    <a:pt x="587711" y="325854"/>
                  </a:moveTo>
                  <a:cubicBezTo>
                    <a:pt x="560018" y="412007"/>
                    <a:pt x="504633" y="621238"/>
                    <a:pt x="455402" y="698161"/>
                  </a:cubicBezTo>
                  <a:cubicBezTo>
                    <a:pt x="384634" y="812007"/>
                    <a:pt x="-3059" y="922777"/>
                    <a:pt x="18" y="932008"/>
                  </a:cubicBezTo>
                  <a:cubicBezTo>
                    <a:pt x="9249" y="1002777"/>
                    <a:pt x="27710" y="1082777"/>
                    <a:pt x="83095" y="1125854"/>
                  </a:cubicBezTo>
                  <a:cubicBezTo>
                    <a:pt x="92326" y="1132008"/>
                    <a:pt x="513864" y="1042777"/>
                    <a:pt x="670787" y="885854"/>
                  </a:cubicBezTo>
                  <a:cubicBezTo>
                    <a:pt x="720018" y="836623"/>
                    <a:pt x="861557" y="408931"/>
                    <a:pt x="910788" y="267392"/>
                  </a:cubicBezTo>
                  <a:cubicBezTo>
                    <a:pt x="938480" y="184315"/>
                    <a:pt x="920018" y="18161"/>
                    <a:pt x="855402" y="2777"/>
                  </a:cubicBezTo>
                  <a:cubicBezTo>
                    <a:pt x="753864" y="-24916"/>
                    <a:pt x="640018" y="159700"/>
                    <a:pt x="587711" y="325854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0361E6D8-5CB7-405D-B9A3-430F702702D3}"/>
                </a:ext>
              </a:extLst>
            </p:cNvPr>
            <p:cNvSpPr/>
            <p:nvPr/>
          </p:nvSpPr>
          <p:spPr>
            <a:xfrm>
              <a:off x="16505100" y="3062365"/>
              <a:ext cx="320669" cy="292949"/>
            </a:xfrm>
            <a:custGeom>
              <a:avLst/>
              <a:gdLst>
                <a:gd name="connsiteX0" fmla="*/ 8027 w 320669"/>
                <a:gd name="connsiteY0" fmla="*/ 91299 h 292949"/>
                <a:gd name="connsiteX1" fmla="*/ 112642 w 320669"/>
                <a:gd name="connsiteY1" fmla="*/ 282068 h 292949"/>
                <a:gd name="connsiteX2" fmla="*/ 312642 w 320669"/>
                <a:gd name="connsiteY2" fmla="*/ 202068 h 292949"/>
                <a:gd name="connsiteX3" fmla="*/ 208027 w 320669"/>
                <a:gd name="connsiteY3" fmla="*/ 11299 h 292949"/>
                <a:gd name="connsiteX4" fmla="*/ 8027 w 320669"/>
                <a:gd name="connsiteY4" fmla="*/ 91299 h 292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669" h="292949">
                  <a:moveTo>
                    <a:pt x="8027" y="91299"/>
                  </a:moveTo>
                  <a:cubicBezTo>
                    <a:pt x="-19665" y="165145"/>
                    <a:pt x="26489" y="251299"/>
                    <a:pt x="112642" y="282068"/>
                  </a:cubicBezTo>
                  <a:cubicBezTo>
                    <a:pt x="195720" y="312837"/>
                    <a:pt x="288027" y="275914"/>
                    <a:pt x="312642" y="202068"/>
                  </a:cubicBezTo>
                  <a:cubicBezTo>
                    <a:pt x="340335" y="128222"/>
                    <a:pt x="294181" y="42068"/>
                    <a:pt x="208027" y="11299"/>
                  </a:cubicBezTo>
                  <a:cubicBezTo>
                    <a:pt x="124950" y="-19471"/>
                    <a:pt x="35719" y="14375"/>
                    <a:pt x="8027" y="91299"/>
                  </a:cubicBez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4005DBB3-9859-4ACA-8904-E0EE086ADD49}"/>
                </a:ext>
              </a:extLst>
            </p:cNvPr>
            <p:cNvSpPr/>
            <p:nvPr/>
          </p:nvSpPr>
          <p:spPr>
            <a:xfrm>
              <a:off x="16304922" y="3208867"/>
              <a:ext cx="405127" cy="305644"/>
            </a:xfrm>
            <a:custGeom>
              <a:avLst/>
              <a:gdLst>
                <a:gd name="connsiteX0" fmla="*/ 405128 w 405127"/>
                <a:gd name="connsiteY0" fmla="*/ 34028 h 305644"/>
                <a:gd name="connsiteX1" fmla="*/ 106667 w 405127"/>
                <a:gd name="connsiteY1" fmla="*/ 304797 h 305644"/>
                <a:gd name="connsiteX2" fmla="*/ 106667 w 405127"/>
                <a:gd name="connsiteY2" fmla="*/ 52489 h 305644"/>
                <a:gd name="connsiteX3" fmla="*/ 405128 w 405127"/>
                <a:gd name="connsiteY3" fmla="*/ 34028 h 30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5127" h="305644">
                  <a:moveTo>
                    <a:pt x="405128" y="34028"/>
                  </a:moveTo>
                  <a:cubicBezTo>
                    <a:pt x="405128" y="34028"/>
                    <a:pt x="343589" y="323259"/>
                    <a:pt x="106667" y="304797"/>
                  </a:cubicBezTo>
                  <a:cubicBezTo>
                    <a:pt x="-133334" y="286336"/>
                    <a:pt x="106667" y="52489"/>
                    <a:pt x="106667" y="52489"/>
                  </a:cubicBezTo>
                  <a:cubicBezTo>
                    <a:pt x="106667" y="52489"/>
                    <a:pt x="368205" y="-52126"/>
                    <a:pt x="405128" y="34028"/>
                  </a:cubicBez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EFCDF9C4-500D-4784-89E6-5DF7F4CE483E}"/>
                </a:ext>
              </a:extLst>
            </p:cNvPr>
            <p:cNvSpPr/>
            <p:nvPr/>
          </p:nvSpPr>
          <p:spPr>
            <a:xfrm>
              <a:off x="15933462" y="4590587"/>
              <a:ext cx="1419664" cy="2507692"/>
            </a:xfrm>
            <a:custGeom>
              <a:avLst/>
              <a:gdLst>
                <a:gd name="connsiteX0" fmla="*/ 795050 w 1419664"/>
                <a:gd name="connsiteY0" fmla="*/ 0 h 2507692"/>
                <a:gd name="connsiteX1" fmla="*/ 121204 w 1419664"/>
                <a:gd name="connsiteY1" fmla="*/ 0 h 2507692"/>
                <a:gd name="connsiteX2" fmla="*/ 1204 w 1419664"/>
                <a:gd name="connsiteY2" fmla="*/ 464615 h 2507692"/>
                <a:gd name="connsiteX3" fmla="*/ 182742 w 1419664"/>
                <a:gd name="connsiteY3" fmla="*/ 2507692 h 2507692"/>
                <a:gd name="connsiteX4" fmla="*/ 361203 w 1419664"/>
                <a:gd name="connsiteY4" fmla="*/ 2504615 h 2507692"/>
                <a:gd name="connsiteX5" fmla="*/ 468896 w 1419664"/>
                <a:gd name="connsiteY5" fmla="*/ 818462 h 2507692"/>
                <a:gd name="connsiteX6" fmla="*/ 561203 w 1419664"/>
                <a:gd name="connsiteY6" fmla="*/ 1772308 h 2507692"/>
                <a:gd name="connsiteX7" fmla="*/ 1290434 w 1419664"/>
                <a:gd name="connsiteY7" fmla="*/ 2295385 h 2507692"/>
                <a:gd name="connsiteX8" fmla="*/ 1419665 w 1419664"/>
                <a:gd name="connsiteY8" fmla="*/ 2064616 h 2507692"/>
                <a:gd name="connsiteX9" fmla="*/ 896588 w 1419664"/>
                <a:gd name="connsiteY9" fmla="*/ 1670769 h 2507692"/>
                <a:gd name="connsiteX10" fmla="*/ 933511 w 1419664"/>
                <a:gd name="connsiteY10" fmla="*/ 418462 h 2507692"/>
                <a:gd name="connsiteX11" fmla="*/ 795050 w 1419664"/>
                <a:gd name="connsiteY11" fmla="*/ 0 h 2507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9664" h="2507692">
                  <a:moveTo>
                    <a:pt x="795050" y="0"/>
                  </a:moveTo>
                  <a:lnTo>
                    <a:pt x="121204" y="0"/>
                  </a:lnTo>
                  <a:cubicBezTo>
                    <a:pt x="121204" y="0"/>
                    <a:pt x="22742" y="307692"/>
                    <a:pt x="1204" y="464615"/>
                  </a:cubicBezTo>
                  <a:cubicBezTo>
                    <a:pt x="-17258" y="618462"/>
                    <a:pt x="182742" y="2507692"/>
                    <a:pt x="182742" y="2507692"/>
                  </a:cubicBezTo>
                  <a:lnTo>
                    <a:pt x="361203" y="2504615"/>
                  </a:lnTo>
                  <a:lnTo>
                    <a:pt x="468896" y="818462"/>
                  </a:lnTo>
                  <a:cubicBezTo>
                    <a:pt x="468896" y="818462"/>
                    <a:pt x="555050" y="1756923"/>
                    <a:pt x="561203" y="1772308"/>
                  </a:cubicBezTo>
                  <a:lnTo>
                    <a:pt x="1290434" y="2295385"/>
                  </a:lnTo>
                  <a:lnTo>
                    <a:pt x="1419665" y="2064616"/>
                  </a:lnTo>
                  <a:lnTo>
                    <a:pt x="896588" y="1670769"/>
                  </a:lnTo>
                  <a:cubicBezTo>
                    <a:pt x="896588" y="1670769"/>
                    <a:pt x="927357" y="483077"/>
                    <a:pt x="933511" y="418462"/>
                  </a:cubicBezTo>
                  <a:cubicBezTo>
                    <a:pt x="942742" y="298461"/>
                    <a:pt x="795050" y="0"/>
                    <a:pt x="795050" y="0"/>
                  </a:cubicBezTo>
                  <a:close/>
                </a:path>
              </a:pathLst>
            </a:custGeom>
            <a:solidFill>
              <a:srgbClr val="F6EBE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672879B8-D567-48E1-B132-64E87E07F65E}"/>
                </a:ext>
              </a:extLst>
            </p:cNvPr>
            <p:cNvSpPr/>
            <p:nvPr/>
          </p:nvSpPr>
          <p:spPr>
            <a:xfrm>
              <a:off x="16350051" y="4984433"/>
              <a:ext cx="876153" cy="1913846"/>
            </a:xfrm>
            <a:custGeom>
              <a:avLst/>
              <a:gdLst>
                <a:gd name="connsiteX0" fmla="*/ 870769 w 876153"/>
                <a:gd name="connsiteY0" fmla="*/ 1910769 h 1913846"/>
                <a:gd name="connsiteX1" fmla="*/ 867692 w 876153"/>
                <a:gd name="connsiteY1" fmla="*/ 1910769 h 1913846"/>
                <a:gd name="connsiteX2" fmla="*/ 138462 w 876153"/>
                <a:gd name="connsiteY2" fmla="*/ 1387692 h 1913846"/>
                <a:gd name="connsiteX3" fmla="*/ 135384 w 876153"/>
                <a:gd name="connsiteY3" fmla="*/ 1384615 h 1913846"/>
                <a:gd name="connsiteX4" fmla="*/ 43077 w 876153"/>
                <a:gd name="connsiteY4" fmla="*/ 427692 h 1913846"/>
                <a:gd name="connsiteX5" fmla="*/ 0 w 876153"/>
                <a:gd name="connsiteY5" fmla="*/ 6154 h 1913846"/>
                <a:gd name="connsiteX6" fmla="*/ 6153 w 876153"/>
                <a:gd name="connsiteY6" fmla="*/ 0 h 1913846"/>
                <a:gd name="connsiteX7" fmla="*/ 12308 w 876153"/>
                <a:gd name="connsiteY7" fmla="*/ 6154 h 1913846"/>
                <a:gd name="connsiteX8" fmla="*/ 55384 w 876153"/>
                <a:gd name="connsiteY8" fmla="*/ 427692 h 1913846"/>
                <a:gd name="connsiteX9" fmla="*/ 147692 w 876153"/>
                <a:gd name="connsiteY9" fmla="*/ 1381538 h 1913846"/>
                <a:gd name="connsiteX10" fmla="*/ 873846 w 876153"/>
                <a:gd name="connsiteY10" fmla="*/ 1904615 h 1913846"/>
                <a:gd name="connsiteX11" fmla="*/ 873846 w 876153"/>
                <a:gd name="connsiteY11" fmla="*/ 1913846 h 1913846"/>
                <a:gd name="connsiteX12" fmla="*/ 870769 w 876153"/>
                <a:gd name="connsiteY12" fmla="*/ 1910769 h 191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6153" h="1913846">
                  <a:moveTo>
                    <a:pt x="870769" y="1910769"/>
                  </a:moveTo>
                  <a:cubicBezTo>
                    <a:pt x="870769" y="1910769"/>
                    <a:pt x="867692" y="1910769"/>
                    <a:pt x="867692" y="1910769"/>
                  </a:cubicBezTo>
                  <a:lnTo>
                    <a:pt x="138462" y="1387692"/>
                  </a:lnTo>
                  <a:cubicBezTo>
                    <a:pt x="138462" y="1387692"/>
                    <a:pt x="135384" y="1387692"/>
                    <a:pt x="135384" y="1384615"/>
                  </a:cubicBezTo>
                  <a:cubicBezTo>
                    <a:pt x="129230" y="1366154"/>
                    <a:pt x="52307" y="523077"/>
                    <a:pt x="43077" y="427692"/>
                  </a:cubicBezTo>
                  <a:lnTo>
                    <a:pt x="0" y="6154"/>
                  </a:lnTo>
                  <a:cubicBezTo>
                    <a:pt x="0" y="3077"/>
                    <a:pt x="3076" y="0"/>
                    <a:pt x="6153" y="0"/>
                  </a:cubicBezTo>
                  <a:cubicBezTo>
                    <a:pt x="9230" y="0"/>
                    <a:pt x="12308" y="3077"/>
                    <a:pt x="12308" y="6154"/>
                  </a:cubicBezTo>
                  <a:lnTo>
                    <a:pt x="55384" y="427692"/>
                  </a:lnTo>
                  <a:cubicBezTo>
                    <a:pt x="83076" y="744615"/>
                    <a:pt x="138462" y="1341538"/>
                    <a:pt x="147692" y="1381538"/>
                  </a:cubicBezTo>
                  <a:lnTo>
                    <a:pt x="873846" y="1904615"/>
                  </a:lnTo>
                  <a:cubicBezTo>
                    <a:pt x="876923" y="1907692"/>
                    <a:pt x="876923" y="1910769"/>
                    <a:pt x="873846" y="1913846"/>
                  </a:cubicBezTo>
                  <a:cubicBezTo>
                    <a:pt x="876923" y="1910769"/>
                    <a:pt x="873846" y="1910769"/>
                    <a:pt x="870769" y="1910769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A6593BDA-78A8-46BD-BE2C-A1710925B448}"/>
                </a:ext>
              </a:extLst>
            </p:cNvPr>
            <p:cNvSpPr/>
            <p:nvPr/>
          </p:nvSpPr>
          <p:spPr>
            <a:xfrm>
              <a:off x="16679281" y="4747510"/>
              <a:ext cx="182812" cy="190769"/>
            </a:xfrm>
            <a:custGeom>
              <a:avLst/>
              <a:gdLst>
                <a:gd name="connsiteX0" fmla="*/ 178462 w 182812"/>
                <a:gd name="connsiteY0" fmla="*/ 190769 h 190769"/>
                <a:gd name="connsiteX1" fmla="*/ 178462 w 182812"/>
                <a:gd name="connsiteY1" fmla="*/ 190769 h 190769"/>
                <a:gd name="connsiteX2" fmla="*/ 0 w 182812"/>
                <a:gd name="connsiteY2" fmla="*/ 6154 h 190769"/>
                <a:gd name="connsiteX3" fmla="*/ 3077 w 182812"/>
                <a:gd name="connsiteY3" fmla="*/ 0 h 190769"/>
                <a:gd name="connsiteX4" fmla="*/ 9231 w 182812"/>
                <a:gd name="connsiteY4" fmla="*/ 3077 h 190769"/>
                <a:gd name="connsiteX5" fmla="*/ 178462 w 182812"/>
                <a:gd name="connsiteY5" fmla="*/ 181539 h 190769"/>
                <a:gd name="connsiteX6" fmla="*/ 181538 w 182812"/>
                <a:gd name="connsiteY6" fmla="*/ 187692 h 190769"/>
                <a:gd name="connsiteX7" fmla="*/ 178462 w 182812"/>
                <a:gd name="connsiteY7" fmla="*/ 190769 h 19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812" h="190769">
                  <a:moveTo>
                    <a:pt x="178462" y="190769"/>
                  </a:moveTo>
                  <a:cubicBezTo>
                    <a:pt x="178462" y="190769"/>
                    <a:pt x="175385" y="190769"/>
                    <a:pt x="178462" y="190769"/>
                  </a:cubicBezTo>
                  <a:cubicBezTo>
                    <a:pt x="58461" y="156923"/>
                    <a:pt x="3077" y="12308"/>
                    <a:pt x="0" y="6154"/>
                  </a:cubicBezTo>
                  <a:cubicBezTo>
                    <a:pt x="0" y="3077"/>
                    <a:pt x="0" y="0"/>
                    <a:pt x="3077" y="0"/>
                  </a:cubicBezTo>
                  <a:cubicBezTo>
                    <a:pt x="6154" y="0"/>
                    <a:pt x="9231" y="0"/>
                    <a:pt x="9231" y="3077"/>
                  </a:cubicBezTo>
                  <a:cubicBezTo>
                    <a:pt x="9231" y="3077"/>
                    <a:pt x="64616" y="150769"/>
                    <a:pt x="178462" y="181539"/>
                  </a:cubicBezTo>
                  <a:cubicBezTo>
                    <a:pt x="181538" y="181539"/>
                    <a:pt x="184615" y="184615"/>
                    <a:pt x="181538" y="187692"/>
                  </a:cubicBezTo>
                  <a:cubicBezTo>
                    <a:pt x="181538" y="190769"/>
                    <a:pt x="181538" y="190769"/>
                    <a:pt x="178462" y="190769"/>
                  </a:cubicBezTo>
                  <a:close/>
                </a:path>
              </a:pathLst>
            </a:custGeom>
            <a:solidFill>
              <a:srgbClr val="6C5D6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FA077BA9-E8DB-4386-A707-D2F1FCB0BBD7}"/>
                </a:ext>
              </a:extLst>
            </p:cNvPr>
            <p:cNvSpPr/>
            <p:nvPr/>
          </p:nvSpPr>
          <p:spPr>
            <a:xfrm>
              <a:off x="15954245" y="3626081"/>
              <a:ext cx="828154" cy="995366"/>
            </a:xfrm>
            <a:custGeom>
              <a:avLst/>
              <a:gdLst>
                <a:gd name="connsiteX0" fmla="*/ 783497 w 828154"/>
                <a:gd name="connsiteY0" fmla="*/ 395275 h 995366"/>
                <a:gd name="connsiteX1" fmla="*/ 768113 w 828154"/>
                <a:gd name="connsiteY1" fmla="*/ 69121 h 995366"/>
                <a:gd name="connsiteX2" fmla="*/ 395806 w 828154"/>
                <a:gd name="connsiteY2" fmla="*/ 4506 h 995366"/>
                <a:gd name="connsiteX3" fmla="*/ 91189 w 828154"/>
                <a:gd name="connsiteY3" fmla="*/ 106044 h 995366"/>
                <a:gd name="connsiteX4" fmla="*/ 51190 w 828154"/>
                <a:gd name="connsiteY4" fmla="*/ 659890 h 995366"/>
                <a:gd name="connsiteX5" fmla="*/ 94267 w 828154"/>
                <a:gd name="connsiteY5" fmla="*/ 989121 h 995366"/>
                <a:gd name="connsiteX6" fmla="*/ 777344 w 828154"/>
                <a:gd name="connsiteY6" fmla="*/ 973737 h 995366"/>
                <a:gd name="connsiteX7" fmla="*/ 783497 w 828154"/>
                <a:gd name="connsiteY7" fmla="*/ 395275 h 99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8154" h="995366">
                  <a:moveTo>
                    <a:pt x="783497" y="395275"/>
                  </a:moveTo>
                  <a:cubicBezTo>
                    <a:pt x="792729" y="364506"/>
                    <a:pt x="888113" y="133737"/>
                    <a:pt x="768113" y="69121"/>
                  </a:cubicBezTo>
                  <a:cubicBezTo>
                    <a:pt x="663497" y="13737"/>
                    <a:pt x="515805" y="-10879"/>
                    <a:pt x="395806" y="4506"/>
                  </a:cubicBezTo>
                  <a:cubicBezTo>
                    <a:pt x="263497" y="19890"/>
                    <a:pt x="131190" y="41429"/>
                    <a:pt x="91189" y="106044"/>
                  </a:cubicBezTo>
                  <a:cubicBezTo>
                    <a:pt x="-22656" y="293737"/>
                    <a:pt x="-22656" y="459890"/>
                    <a:pt x="51190" y="659890"/>
                  </a:cubicBezTo>
                  <a:cubicBezTo>
                    <a:pt x="72729" y="718352"/>
                    <a:pt x="78882" y="853737"/>
                    <a:pt x="94267" y="989121"/>
                  </a:cubicBezTo>
                  <a:cubicBezTo>
                    <a:pt x="94267" y="989121"/>
                    <a:pt x="380421" y="1010660"/>
                    <a:pt x="777344" y="973737"/>
                  </a:cubicBezTo>
                  <a:cubicBezTo>
                    <a:pt x="746575" y="752198"/>
                    <a:pt x="774267" y="416814"/>
                    <a:pt x="783497" y="395275"/>
                  </a:cubicBezTo>
                  <a:close/>
                </a:path>
              </a:pathLst>
            </a:custGeom>
            <a:solidFill>
              <a:srgbClr val="F1DDBA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7FEC3E18-7A90-4671-8017-230987A1F582}"/>
                </a:ext>
              </a:extLst>
            </p:cNvPr>
            <p:cNvSpPr/>
            <p:nvPr/>
          </p:nvSpPr>
          <p:spPr>
            <a:xfrm>
              <a:off x="16114719" y="2926309"/>
              <a:ext cx="324952" cy="595220"/>
            </a:xfrm>
            <a:custGeom>
              <a:avLst/>
              <a:gdLst>
                <a:gd name="connsiteX0" fmla="*/ 238408 w 324952"/>
                <a:gd name="connsiteY0" fmla="*/ 322739 h 595220"/>
                <a:gd name="connsiteX1" fmla="*/ 287639 w 324952"/>
                <a:gd name="connsiteY1" fmla="*/ 178123 h 595220"/>
                <a:gd name="connsiteX2" fmla="*/ 324562 w 324952"/>
                <a:gd name="connsiteY2" fmla="*/ 8893 h 595220"/>
                <a:gd name="connsiteX3" fmla="*/ 1485 w 324952"/>
                <a:gd name="connsiteY3" fmla="*/ 233508 h 595220"/>
                <a:gd name="connsiteX4" fmla="*/ 179947 w 324952"/>
                <a:gd name="connsiteY4" fmla="*/ 581200 h 595220"/>
                <a:gd name="connsiteX5" fmla="*/ 238408 w 324952"/>
                <a:gd name="connsiteY5" fmla="*/ 322739 h 595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4952" h="595220">
                  <a:moveTo>
                    <a:pt x="238408" y="322739"/>
                  </a:moveTo>
                  <a:cubicBezTo>
                    <a:pt x="247639" y="270431"/>
                    <a:pt x="263024" y="224277"/>
                    <a:pt x="287639" y="178123"/>
                  </a:cubicBezTo>
                  <a:cubicBezTo>
                    <a:pt x="312255" y="128893"/>
                    <a:pt x="327639" y="8893"/>
                    <a:pt x="324562" y="8893"/>
                  </a:cubicBezTo>
                  <a:cubicBezTo>
                    <a:pt x="210716" y="-31107"/>
                    <a:pt x="23023" y="67354"/>
                    <a:pt x="1485" y="233508"/>
                  </a:cubicBezTo>
                  <a:cubicBezTo>
                    <a:pt x="-7746" y="301200"/>
                    <a:pt x="23023" y="553508"/>
                    <a:pt x="179947" y="581200"/>
                  </a:cubicBezTo>
                  <a:cubicBezTo>
                    <a:pt x="278408" y="661200"/>
                    <a:pt x="229177" y="375047"/>
                    <a:pt x="238408" y="322739"/>
                  </a:cubicBez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87D6607D-3C42-49C3-B6D2-522E6EBABB50}"/>
                </a:ext>
              </a:extLst>
            </p:cNvPr>
            <p:cNvSpPr/>
            <p:nvPr/>
          </p:nvSpPr>
          <p:spPr>
            <a:xfrm>
              <a:off x="16182013" y="2983535"/>
              <a:ext cx="426499" cy="573528"/>
            </a:xfrm>
            <a:custGeom>
              <a:avLst/>
              <a:gdLst>
                <a:gd name="connsiteX0" fmla="*/ 8038 w 426499"/>
                <a:gd name="connsiteY0" fmla="*/ 185513 h 573528"/>
                <a:gd name="connsiteX1" fmla="*/ 20345 w 426499"/>
                <a:gd name="connsiteY1" fmla="*/ 443975 h 573528"/>
                <a:gd name="connsiteX2" fmla="*/ 171114 w 426499"/>
                <a:gd name="connsiteY2" fmla="*/ 573206 h 573528"/>
                <a:gd name="connsiteX3" fmla="*/ 389576 w 426499"/>
                <a:gd name="connsiteY3" fmla="*/ 428590 h 573528"/>
                <a:gd name="connsiteX4" fmla="*/ 426499 w 426499"/>
                <a:gd name="connsiteY4" fmla="*/ 200898 h 573528"/>
                <a:gd name="connsiteX5" fmla="*/ 211115 w 426499"/>
                <a:gd name="connsiteY5" fmla="*/ 898 h 573528"/>
                <a:gd name="connsiteX6" fmla="*/ 8038 w 426499"/>
                <a:gd name="connsiteY6" fmla="*/ 185513 h 57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499" h="573528">
                  <a:moveTo>
                    <a:pt x="8038" y="185513"/>
                  </a:moveTo>
                  <a:cubicBezTo>
                    <a:pt x="8038" y="185513"/>
                    <a:pt x="-16577" y="376283"/>
                    <a:pt x="20345" y="443975"/>
                  </a:cubicBezTo>
                  <a:cubicBezTo>
                    <a:pt x="57269" y="511667"/>
                    <a:pt x="118807" y="570129"/>
                    <a:pt x="171114" y="573206"/>
                  </a:cubicBezTo>
                  <a:cubicBezTo>
                    <a:pt x="238807" y="579359"/>
                    <a:pt x="352653" y="496283"/>
                    <a:pt x="389576" y="428590"/>
                  </a:cubicBezTo>
                  <a:cubicBezTo>
                    <a:pt x="426499" y="360898"/>
                    <a:pt x="426499" y="253206"/>
                    <a:pt x="426499" y="200898"/>
                  </a:cubicBezTo>
                  <a:cubicBezTo>
                    <a:pt x="423422" y="105513"/>
                    <a:pt x="395730" y="25513"/>
                    <a:pt x="211115" y="898"/>
                  </a:cubicBezTo>
                  <a:cubicBezTo>
                    <a:pt x="124960" y="-11410"/>
                    <a:pt x="29576" y="105513"/>
                    <a:pt x="8038" y="185513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41ABA6D4-2CA0-4AEC-96C5-E83C483DC106}"/>
                </a:ext>
              </a:extLst>
            </p:cNvPr>
            <p:cNvSpPr/>
            <p:nvPr/>
          </p:nvSpPr>
          <p:spPr>
            <a:xfrm>
              <a:off x="16319281" y="3253928"/>
              <a:ext cx="55384" cy="133582"/>
            </a:xfrm>
            <a:custGeom>
              <a:avLst/>
              <a:gdLst>
                <a:gd name="connsiteX0" fmla="*/ 30769 w 55384"/>
                <a:gd name="connsiteY0" fmla="*/ 133582 h 133582"/>
                <a:gd name="connsiteX1" fmla="*/ 6153 w 55384"/>
                <a:gd name="connsiteY1" fmla="*/ 127428 h 133582"/>
                <a:gd name="connsiteX2" fmla="*/ 0 w 55384"/>
                <a:gd name="connsiteY2" fmla="*/ 115121 h 133582"/>
                <a:gd name="connsiteX3" fmla="*/ 27692 w 55384"/>
                <a:gd name="connsiteY3" fmla="*/ 4351 h 133582"/>
                <a:gd name="connsiteX4" fmla="*/ 33845 w 55384"/>
                <a:gd name="connsiteY4" fmla="*/ 1275 h 133582"/>
                <a:gd name="connsiteX5" fmla="*/ 36923 w 55384"/>
                <a:gd name="connsiteY5" fmla="*/ 7428 h 133582"/>
                <a:gd name="connsiteX6" fmla="*/ 9230 w 55384"/>
                <a:gd name="connsiteY6" fmla="*/ 115121 h 133582"/>
                <a:gd name="connsiteX7" fmla="*/ 9230 w 55384"/>
                <a:gd name="connsiteY7" fmla="*/ 118198 h 133582"/>
                <a:gd name="connsiteX8" fmla="*/ 49230 w 55384"/>
                <a:gd name="connsiteY8" fmla="*/ 118198 h 133582"/>
                <a:gd name="connsiteX9" fmla="*/ 55384 w 55384"/>
                <a:gd name="connsiteY9" fmla="*/ 124351 h 133582"/>
                <a:gd name="connsiteX10" fmla="*/ 49230 w 55384"/>
                <a:gd name="connsiteY10" fmla="*/ 130505 h 133582"/>
                <a:gd name="connsiteX11" fmla="*/ 30769 w 55384"/>
                <a:gd name="connsiteY11" fmla="*/ 133582 h 133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384" h="133582">
                  <a:moveTo>
                    <a:pt x="30769" y="133582"/>
                  </a:moveTo>
                  <a:cubicBezTo>
                    <a:pt x="21538" y="133582"/>
                    <a:pt x="12308" y="133582"/>
                    <a:pt x="6153" y="127428"/>
                  </a:cubicBezTo>
                  <a:cubicBezTo>
                    <a:pt x="3076" y="124351"/>
                    <a:pt x="0" y="121275"/>
                    <a:pt x="0" y="115121"/>
                  </a:cubicBezTo>
                  <a:cubicBezTo>
                    <a:pt x="0" y="93582"/>
                    <a:pt x="27692" y="7428"/>
                    <a:pt x="27692" y="4351"/>
                  </a:cubicBezTo>
                  <a:cubicBezTo>
                    <a:pt x="27692" y="1275"/>
                    <a:pt x="30769" y="-1802"/>
                    <a:pt x="33845" y="1275"/>
                  </a:cubicBezTo>
                  <a:cubicBezTo>
                    <a:pt x="36923" y="1275"/>
                    <a:pt x="40000" y="4351"/>
                    <a:pt x="36923" y="7428"/>
                  </a:cubicBezTo>
                  <a:cubicBezTo>
                    <a:pt x="30769" y="32044"/>
                    <a:pt x="9230" y="96659"/>
                    <a:pt x="9230" y="115121"/>
                  </a:cubicBezTo>
                  <a:cubicBezTo>
                    <a:pt x="9230" y="115121"/>
                    <a:pt x="9230" y="118198"/>
                    <a:pt x="9230" y="118198"/>
                  </a:cubicBezTo>
                  <a:cubicBezTo>
                    <a:pt x="15385" y="124351"/>
                    <a:pt x="36923" y="121275"/>
                    <a:pt x="49230" y="118198"/>
                  </a:cubicBezTo>
                  <a:cubicBezTo>
                    <a:pt x="52307" y="118198"/>
                    <a:pt x="55384" y="118198"/>
                    <a:pt x="55384" y="124351"/>
                  </a:cubicBezTo>
                  <a:cubicBezTo>
                    <a:pt x="55384" y="127428"/>
                    <a:pt x="55384" y="130505"/>
                    <a:pt x="49230" y="130505"/>
                  </a:cubicBezTo>
                  <a:cubicBezTo>
                    <a:pt x="52307" y="130505"/>
                    <a:pt x="43077" y="133582"/>
                    <a:pt x="30769" y="133582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909C3215-3CB5-4C41-B6F6-202383D046DD}"/>
                </a:ext>
              </a:extLst>
            </p:cNvPr>
            <p:cNvSpPr/>
            <p:nvPr/>
          </p:nvSpPr>
          <p:spPr>
            <a:xfrm>
              <a:off x="16247908" y="3226726"/>
              <a:ext cx="41207" cy="41568"/>
            </a:xfrm>
            <a:custGeom>
              <a:avLst/>
              <a:gdLst>
                <a:gd name="connsiteX0" fmla="*/ 40604 w 41207"/>
                <a:gd name="connsiteY0" fmla="*/ 25399 h 41568"/>
                <a:gd name="connsiteX1" fmla="*/ 15988 w 41207"/>
                <a:gd name="connsiteY1" fmla="*/ 40784 h 41568"/>
                <a:gd name="connsiteX2" fmla="*/ 604 w 41207"/>
                <a:gd name="connsiteY2" fmla="*/ 16169 h 41568"/>
                <a:gd name="connsiteX3" fmla="*/ 25220 w 41207"/>
                <a:gd name="connsiteY3" fmla="*/ 784 h 41568"/>
                <a:gd name="connsiteX4" fmla="*/ 40604 w 41207"/>
                <a:gd name="connsiteY4" fmla="*/ 25399 h 41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07" h="41568">
                  <a:moveTo>
                    <a:pt x="40604" y="25399"/>
                  </a:moveTo>
                  <a:cubicBezTo>
                    <a:pt x="37527" y="37707"/>
                    <a:pt x="28296" y="43861"/>
                    <a:pt x="15988" y="40784"/>
                  </a:cubicBezTo>
                  <a:cubicBezTo>
                    <a:pt x="6758" y="37707"/>
                    <a:pt x="-2474" y="28476"/>
                    <a:pt x="604" y="16169"/>
                  </a:cubicBezTo>
                  <a:cubicBezTo>
                    <a:pt x="3681" y="3861"/>
                    <a:pt x="12911" y="-2293"/>
                    <a:pt x="25220" y="784"/>
                  </a:cubicBezTo>
                  <a:cubicBezTo>
                    <a:pt x="34450" y="3861"/>
                    <a:pt x="43680" y="13092"/>
                    <a:pt x="40604" y="25399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8FD9147F-9929-4E89-9909-7536075F95DD}"/>
                </a:ext>
              </a:extLst>
            </p:cNvPr>
            <p:cNvSpPr/>
            <p:nvPr/>
          </p:nvSpPr>
          <p:spPr>
            <a:xfrm>
              <a:off x="16438497" y="3232880"/>
              <a:ext cx="41567" cy="41387"/>
            </a:xfrm>
            <a:custGeom>
              <a:avLst/>
              <a:gdLst>
                <a:gd name="connsiteX0" fmla="*/ 40784 w 41567"/>
                <a:gd name="connsiteY0" fmla="*/ 25400 h 41387"/>
                <a:gd name="connsiteX1" fmla="*/ 16169 w 41567"/>
                <a:gd name="connsiteY1" fmla="*/ 40784 h 41387"/>
                <a:gd name="connsiteX2" fmla="*/ 784 w 41567"/>
                <a:gd name="connsiteY2" fmla="*/ 16169 h 41387"/>
                <a:gd name="connsiteX3" fmla="*/ 25399 w 41567"/>
                <a:gd name="connsiteY3" fmla="*/ 784 h 41387"/>
                <a:gd name="connsiteX4" fmla="*/ 40784 w 41567"/>
                <a:gd name="connsiteY4" fmla="*/ 25400 h 41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67" h="41387">
                  <a:moveTo>
                    <a:pt x="40784" y="25400"/>
                  </a:moveTo>
                  <a:cubicBezTo>
                    <a:pt x="37707" y="34630"/>
                    <a:pt x="28476" y="43861"/>
                    <a:pt x="16169" y="40784"/>
                  </a:cubicBezTo>
                  <a:cubicBezTo>
                    <a:pt x="3861" y="37707"/>
                    <a:pt x="-2293" y="28476"/>
                    <a:pt x="784" y="16169"/>
                  </a:cubicBezTo>
                  <a:cubicBezTo>
                    <a:pt x="3861" y="3861"/>
                    <a:pt x="13092" y="-2293"/>
                    <a:pt x="25399" y="784"/>
                  </a:cubicBezTo>
                  <a:cubicBezTo>
                    <a:pt x="37707" y="3861"/>
                    <a:pt x="43861" y="13092"/>
                    <a:pt x="40784" y="25400"/>
                  </a:cubicBezTo>
                  <a:close/>
                </a:path>
              </a:pathLst>
            </a:custGeom>
            <a:solidFill>
              <a:srgbClr val="38333D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19B1AAF0-D17F-49AF-8F58-C67951B09497}"/>
                </a:ext>
              </a:extLst>
            </p:cNvPr>
            <p:cNvSpPr/>
            <p:nvPr/>
          </p:nvSpPr>
          <p:spPr>
            <a:xfrm>
              <a:off x="16221589" y="3176741"/>
              <a:ext cx="92812" cy="35384"/>
            </a:xfrm>
            <a:custGeom>
              <a:avLst/>
              <a:gdLst>
                <a:gd name="connsiteX0" fmla="*/ 8461 w 92812"/>
                <a:gd name="connsiteY0" fmla="*/ 35385 h 35384"/>
                <a:gd name="connsiteX1" fmla="*/ 2308 w 92812"/>
                <a:gd name="connsiteY1" fmla="*/ 32308 h 35384"/>
                <a:gd name="connsiteX2" fmla="*/ 2308 w 92812"/>
                <a:gd name="connsiteY2" fmla="*/ 20000 h 35384"/>
                <a:gd name="connsiteX3" fmla="*/ 88461 w 92812"/>
                <a:gd name="connsiteY3" fmla="*/ 7692 h 35384"/>
                <a:gd name="connsiteX4" fmla="*/ 91538 w 92812"/>
                <a:gd name="connsiteY4" fmla="*/ 16923 h 35384"/>
                <a:gd name="connsiteX5" fmla="*/ 82308 w 92812"/>
                <a:gd name="connsiteY5" fmla="*/ 20000 h 35384"/>
                <a:gd name="connsiteX6" fmla="*/ 14615 w 92812"/>
                <a:gd name="connsiteY6" fmla="*/ 26154 h 35384"/>
                <a:gd name="connsiteX7" fmla="*/ 8461 w 92812"/>
                <a:gd name="connsiteY7" fmla="*/ 35385 h 35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2" h="35384">
                  <a:moveTo>
                    <a:pt x="8461" y="35385"/>
                  </a:moveTo>
                  <a:cubicBezTo>
                    <a:pt x="5385" y="35385"/>
                    <a:pt x="5385" y="35385"/>
                    <a:pt x="2308" y="32308"/>
                  </a:cubicBezTo>
                  <a:cubicBezTo>
                    <a:pt x="-769" y="29231"/>
                    <a:pt x="-769" y="23077"/>
                    <a:pt x="2308" y="20000"/>
                  </a:cubicBezTo>
                  <a:cubicBezTo>
                    <a:pt x="30000" y="-10769"/>
                    <a:pt x="70000" y="1538"/>
                    <a:pt x="88461" y="7692"/>
                  </a:cubicBezTo>
                  <a:cubicBezTo>
                    <a:pt x="91538" y="10769"/>
                    <a:pt x="94616" y="13846"/>
                    <a:pt x="91538" y="16923"/>
                  </a:cubicBezTo>
                  <a:cubicBezTo>
                    <a:pt x="88461" y="20000"/>
                    <a:pt x="85384" y="23077"/>
                    <a:pt x="82308" y="20000"/>
                  </a:cubicBezTo>
                  <a:cubicBezTo>
                    <a:pt x="79231" y="20000"/>
                    <a:pt x="39230" y="-1538"/>
                    <a:pt x="14615" y="26154"/>
                  </a:cubicBezTo>
                  <a:cubicBezTo>
                    <a:pt x="11538" y="32308"/>
                    <a:pt x="11538" y="35385"/>
                    <a:pt x="8461" y="35385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C4D0AAD9-0891-4670-B4E7-765BE4B568F8}"/>
                </a:ext>
              </a:extLst>
            </p:cNvPr>
            <p:cNvSpPr/>
            <p:nvPr/>
          </p:nvSpPr>
          <p:spPr>
            <a:xfrm>
              <a:off x="16410314" y="3175515"/>
              <a:ext cx="92813" cy="36610"/>
            </a:xfrm>
            <a:custGeom>
              <a:avLst/>
              <a:gdLst>
                <a:gd name="connsiteX0" fmla="*/ 87428 w 92813"/>
                <a:gd name="connsiteY0" fmla="*/ 36610 h 36610"/>
                <a:gd name="connsiteX1" fmla="*/ 81274 w 92813"/>
                <a:gd name="connsiteY1" fmla="*/ 33533 h 36610"/>
                <a:gd name="connsiteX2" fmla="*/ 13582 w 92813"/>
                <a:gd name="connsiteY2" fmla="*/ 27379 h 36610"/>
                <a:gd name="connsiteX3" fmla="*/ 1275 w 92813"/>
                <a:gd name="connsiteY3" fmla="*/ 24302 h 36610"/>
                <a:gd name="connsiteX4" fmla="*/ 4351 w 92813"/>
                <a:gd name="connsiteY4" fmla="*/ 11995 h 36610"/>
                <a:gd name="connsiteX5" fmla="*/ 90505 w 92813"/>
                <a:gd name="connsiteY5" fmla="*/ 21225 h 36610"/>
                <a:gd name="connsiteX6" fmla="*/ 90505 w 92813"/>
                <a:gd name="connsiteY6" fmla="*/ 33533 h 36610"/>
                <a:gd name="connsiteX7" fmla="*/ 87428 w 92813"/>
                <a:gd name="connsiteY7" fmla="*/ 36610 h 36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13" h="36610">
                  <a:moveTo>
                    <a:pt x="87428" y="36610"/>
                  </a:moveTo>
                  <a:cubicBezTo>
                    <a:pt x="84351" y="36610"/>
                    <a:pt x="84351" y="36610"/>
                    <a:pt x="81274" y="33533"/>
                  </a:cubicBezTo>
                  <a:cubicBezTo>
                    <a:pt x="81274" y="33533"/>
                    <a:pt x="50505" y="2764"/>
                    <a:pt x="13582" y="27379"/>
                  </a:cubicBezTo>
                  <a:cubicBezTo>
                    <a:pt x="10505" y="30456"/>
                    <a:pt x="4351" y="27379"/>
                    <a:pt x="1275" y="24302"/>
                  </a:cubicBezTo>
                  <a:cubicBezTo>
                    <a:pt x="-1803" y="21225"/>
                    <a:pt x="1275" y="15072"/>
                    <a:pt x="4351" y="11995"/>
                  </a:cubicBezTo>
                  <a:cubicBezTo>
                    <a:pt x="41274" y="-12621"/>
                    <a:pt x="78198" y="5841"/>
                    <a:pt x="90505" y="21225"/>
                  </a:cubicBezTo>
                  <a:cubicBezTo>
                    <a:pt x="93582" y="24302"/>
                    <a:pt x="93582" y="30456"/>
                    <a:pt x="90505" y="33533"/>
                  </a:cubicBezTo>
                  <a:cubicBezTo>
                    <a:pt x="93582" y="36610"/>
                    <a:pt x="90505" y="36610"/>
                    <a:pt x="87428" y="36610"/>
                  </a:cubicBezTo>
                  <a:close/>
                </a:path>
              </a:pathLst>
            </a:custGeom>
            <a:solidFill>
              <a:srgbClr val="664540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92F00544-75CB-432B-A17A-E37B8CC432A5}"/>
                </a:ext>
              </a:extLst>
            </p:cNvPr>
            <p:cNvSpPr/>
            <p:nvPr/>
          </p:nvSpPr>
          <p:spPr>
            <a:xfrm>
              <a:off x="16165086" y="2932602"/>
              <a:ext cx="277355" cy="279523"/>
            </a:xfrm>
            <a:custGeom>
              <a:avLst/>
              <a:gdLst>
                <a:gd name="connsiteX0" fmla="*/ 274195 w 277355"/>
                <a:gd name="connsiteY0" fmla="*/ 2600 h 279523"/>
                <a:gd name="connsiteX1" fmla="*/ 240349 w 277355"/>
                <a:gd name="connsiteY1" fmla="*/ 150293 h 279523"/>
                <a:gd name="connsiteX2" fmla="*/ 349 w 277355"/>
                <a:gd name="connsiteY2" fmla="*/ 279523 h 279523"/>
                <a:gd name="connsiteX3" fmla="*/ 274195 w 277355"/>
                <a:gd name="connsiteY3" fmla="*/ 2600 h 279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7355" h="279523">
                  <a:moveTo>
                    <a:pt x="274195" y="2600"/>
                  </a:moveTo>
                  <a:cubicBezTo>
                    <a:pt x="274195" y="2600"/>
                    <a:pt x="292657" y="110293"/>
                    <a:pt x="240349" y="150293"/>
                  </a:cubicBezTo>
                  <a:cubicBezTo>
                    <a:pt x="240349" y="150293"/>
                    <a:pt x="28041" y="193370"/>
                    <a:pt x="349" y="279523"/>
                  </a:cubicBezTo>
                  <a:cubicBezTo>
                    <a:pt x="349" y="276446"/>
                    <a:pt x="-21190" y="-31246"/>
                    <a:pt x="274195" y="2600"/>
                  </a:cubicBez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EC5430FD-556B-486E-85B9-DF95E0311CE2}"/>
                </a:ext>
              </a:extLst>
            </p:cNvPr>
            <p:cNvSpPr/>
            <p:nvPr/>
          </p:nvSpPr>
          <p:spPr>
            <a:xfrm>
              <a:off x="16405435" y="2935202"/>
              <a:ext cx="299865" cy="354310"/>
            </a:xfrm>
            <a:custGeom>
              <a:avLst/>
              <a:gdLst>
                <a:gd name="connsiteX0" fmla="*/ 0 w 299865"/>
                <a:gd name="connsiteY0" fmla="*/ 147692 h 354310"/>
                <a:gd name="connsiteX1" fmla="*/ 141539 w 299865"/>
                <a:gd name="connsiteY1" fmla="*/ 203077 h 354310"/>
                <a:gd name="connsiteX2" fmla="*/ 200000 w 299865"/>
                <a:gd name="connsiteY2" fmla="*/ 323077 h 354310"/>
                <a:gd name="connsiteX3" fmla="*/ 289231 w 299865"/>
                <a:gd name="connsiteY3" fmla="*/ 344615 h 354310"/>
                <a:gd name="connsiteX4" fmla="*/ 30769 w 299865"/>
                <a:gd name="connsiteY4" fmla="*/ 0 h 354310"/>
                <a:gd name="connsiteX5" fmla="*/ 0 w 299865"/>
                <a:gd name="connsiteY5" fmla="*/ 147692 h 35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865" h="354310">
                  <a:moveTo>
                    <a:pt x="0" y="147692"/>
                  </a:moveTo>
                  <a:cubicBezTo>
                    <a:pt x="0" y="147692"/>
                    <a:pt x="92308" y="196923"/>
                    <a:pt x="141539" y="203077"/>
                  </a:cubicBezTo>
                  <a:cubicBezTo>
                    <a:pt x="193846" y="209231"/>
                    <a:pt x="200000" y="323077"/>
                    <a:pt x="200000" y="323077"/>
                  </a:cubicBezTo>
                  <a:cubicBezTo>
                    <a:pt x="200000" y="323077"/>
                    <a:pt x="273846" y="375385"/>
                    <a:pt x="289231" y="344615"/>
                  </a:cubicBezTo>
                  <a:cubicBezTo>
                    <a:pt x="323077" y="276923"/>
                    <a:pt x="286153" y="0"/>
                    <a:pt x="30769" y="0"/>
                  </a:cubicBezTo>
                  <a:cubicBezTo>
                    <a:pt x="33846" y="0"/>
                    <a:pt x="24615" y="141538"/>
                    <a:pt x="0" y="147692"/>
                  </a:cubicBezTo>
                  <a:close/>
                </a:path>
              </a:pathLst>
            </a:custGeom>
            <a:solidFill>
              <a:srgbClr val="664241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2B28330E-41E0-40F1-8D03-5D8AE81D2B24}"/>
                </a:ext>
              </a:extLst>
            </p:cNvPr>
            <p:cNvSpPr/>
            <p:nvPr/>
          </p:nvSpPr>
          <p:spPr>
            <a:xfrm>
              <a:off x="16236204" y="3445874"/>
              <a:ext cx="310769" cy="329328"/>
            </a:xfrm>
            <a:custGeom>
              <a:avLst/>
              <a:gdLst>
                <a:gd name="connsiteX0" fmla="*/ 55384 w 310769"/>
                <a:gd name="connsiteY0" fmla="*/ 61636 h 329328"/>
                <a:gd name="connsiteX1" fmla="*/ 0 w 310769"/>
                <a:gd name="connsiteY1" fmla="*/ 203175 h 329328"/>
                <a:gd name="connsiteX2" fmla="*/ 40000 w 310769"/>
                <a:gd name="connsiteY2" fmla="*/ 329328 h 329328"/>
                <a:gd name="connsiteX3" fmla="*/ 310769 w 310769"/>
                <a:gd name="connsiteY3" fmla="*/ 187790 h 329328"/>
                <a:gd name="connsiteX4" fmla="*/ 258461 w 310769"/>
                <a:gd name="connsiteY4" fmla="*/ 98 h 329328"/>
                <a:gd name="connsiteX5" fmla="*/ 55384 w 310769"/>
                <a:gd name="connsiteY5" fmla="*/ 61636 h 329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0769" h="329328">
                  <a:moveTo>
                    <a:pt x="55384" y="61636"/>
                  </a:moveTo>
                  <a:cubicBezTo>
                    <a:pt x="55384" y="61636"/>
                    <a:pt x="61538" y="172405"/>
                    <a:pt x="0" y="203175"/>
                  </a:cubicBezTo>
                  <a:lnTo>
                    <a:pt x="40000" y="329328"/>
                  </a:lnTo>
                  <a:cubicBezTo>
                    <a:pt x="40000" y="329328"/>
                    <a:pt x="258461" y="218559"/>
                    <a:pt x="310769" y="187790"/>
                  </a:cubicBezTo>
                  <a:cubicBezTo>
                    <a:pt x="255384" y="144713"/>
                    <a:pt x="258461" y="61636"/>
                    <a:pt x="258461" y="98"/>
                  </a:cubicBezTo>
                  <a:cubicBezTo>
                    <a:pt x="261538" y="-2979"/>
                    <a:pt x="110769" y="67790"/>
                    <a:pt x="55384" y="61636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62E40242-2459-498E-830E-3F7DDF874CCF}"/>
                </a:ext>
              </a:extLst>
            </p:cNvPr>
            <p:cNvSpPr/>
            <p:nvPr/>
          </p:nvSpPr>
          <p:spPr>
            <a:xfrm>
              <a:off x="16283127" y="3481620"/>
              <a:ext cx="225120" cy="81274"/>
            </a:xfrm>
            <a:custGeom>
              <a:avLst/>
              <a:gdLst>
                <a:gd name="connsiteX0" fmla="*/ 73077 w 225120"/>
                <a:gd name="connsiteY0" fmla="*/ 81274 h 81274"/>
                <a:gd name="connsiteX1" fmla="*/ 2308 w 225120"/>
                <a:gd name="connsiteY1" fmla="*/ 53582 h 81274"/>
                <a:gd name="connsiteX2" fmla="*/ 2308 w 225120"/>
                <a:gd name="connsiteY2" fmla="*/ 44351 h 81274"/>
                <a:gd name="connsiteX3" fmla="*/ 11538 w 225120"/>
                <a:gd name="connsiteY3" fmla="*/ 44351 h 81274"/>
                <a:gd name="connsiteX4" fmla="*/ 82308 w 225120"/>
                <a:gd name="connsiteY4" fmla="*/ 68967 h 81274"/>
                <a:gd name="connsiteX5" fmla="*/ 214615 w 225120"/>
                <a:gd name="connsiteY5" fmla="*/ 1274 h 81274"/>
                <a:gd name="connsiteX6" fmla="*/ 223846 w 225120"/>
                <a:gd name="connsiteY6" fmla="*/ 4351 h 81274"/>
                <a:gd name="connsiteX7" fmla="*/ 220770 w 225120"/>
                <a:gd name="connsiteY7" fmla="*/ 13582 h 81274"/>
                <a:gd name="connsiteX8" fmla="*/ 82308 w 225120"/>
                <a:gd name="connsiteY8" fmla="*/ 81274 h 81274"/>
                <a:gd name="connsiteX9" fmla="*/ 73077 w 225120"/>
                <a:gd name="connsiteY9" fmla="*/ 81274 h 81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120" h="81274">
                  <a:moveTo>
                    <a:pt x="73077" y="81274"/>
                  </a:moveTo>
                  <a:cubicBezTo>
                    <a:pt x="33077" y="81274"/>
                    <a:pt x="5385" y="53582"/>
                    <a:pt x="2308" y="53582"/>
                  </a:cubicBezTo>
                  <a:cubicBezTo>
                    <a:pt x="-769" y="50505"/>
                    <a:pt x="-769" y="47428"/>
                    <a:pt x="2308" y="44351"/>
                  </a:cubicBezTo>
                  <a:cubicBezTo>
                    <a:pt x="5385" y="41274"/>
                    <a:pt x="8461" y="41274"/>
                    <a:pt x="11538" y="44351"/>
                  </a:cubicBezTo>
                  <a:cubicBezTo>
                    <a:pt x="11538" y="44351"/>
                    <a:pt x="45385" y="72044"/>
                    <a:pt x="82308" y="68967"/>
                  </a:cubicBezTo>
                  <a:cubicBezTo>
                    <a:pt x="122308" y="62813"/>
                    <a:pt x="214615" y="1274"/>
                    <a:pt x="214615" y="1274"/>
                  </a:cubicBezTo>
                  <a:cubicBezTo>
                    <a:pt x="217692" y="-1802"/>
                    <a:pt x="220770" y="1274"/>
                    <a:pt x="223846" y="4351"/>
                  </a:cubicBezTo>
                  <a:cubicBezTo>
                    <a:pt x="226923" y="7428"/>
                    <a:pt x="223846" y="10505"/>
                    <a:pt x="220770" y="13582"/>
                  </a:cubicBezTo>
                  <a:cubicBezTo>
                    <a:pt x="217692" y="16659"/>
                    <a:pt x="125385" y="78198"/>
                    <a:pt x="82308" y="81274"/>
                  </a:cubicBezTo>
                  <a:cubicBezTo>
                    <a:pt x="79231" y="81274"/>
                    <a:pt x="76154" y="81274"/>
                    <a:pt x="73077" y="81274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CA85C977-AB86-4397-9385-CF97DE0B7F06}"/>
                </a:ext>
              </a:extLst>
            </p:cNvPr>
            <p:cNvSpPr/>
            <p:nvPr/>
          </p:nvSpPr>
          <p:spPr>
            <a:xfrm>
              <a:off x="15952292" y="3725971"/>
              <a:ext cx="102373" cy="563076"/>
            </a:xfrm>
            <a:custGeom>
              <a:avLst/>
              <a:gdLst>
                <a:gd name="connsiteX0" fmla="*/ 56220 w 102373"/>
                <a:gd name="connsiteY0" fmla="*/ 563077 h 563076"/>
                <a:gd name="connsiteX1" fmla="*/ 50065 w 102373"/>
                <a:gd name="connsiteY1" fmla="*/ 560000 h 563076"/>
                <a:gd name="connsiteX2" fmla="*/ 34681 w 102373"/>
                <a:gd name="connsiteY2" fmla="*/ 504615 h 563076"/>
                <a:gd name="connsiteX3" fmla="*/ 834 w 102373"/>
                <a:gd name="connsiteY3" fmla="*/ 350769 h 563076"/>
                <a:gd name="connsiteX4" fmla="*/ 90066 w 102373"/>
                <a:gd name="connsiteY4" fmla="*/ 3077 h 563076"/>
                <a:gd name="connsiteX5" fmla="*/ 99296 w 102373"/>
                <a:gd name="connsiteY5" fmla="*/ 0 h 563076"/>
                <a:gd name="connsiteX6" fmla="*/ 102373 w 102373"/>
                <a:gd name="connsiteY6" fmla="*/ 9231 h 563076"/>
                <a:gd name="connsiteX7" fmla="*/ 13143 w 102373"/>
                <a:gd name="connsiteY7" fmla="*/ 350769 h 563076"/>
                <a:gd name="connsiteX8" fmla="*/ 46988 w 102373"/>
                <a:gd name="connsiteY8" fmla="*/ 501538 h 563076"/>
                <a:gd name="connsiteX9" fmla="*/ 62373 w 102373"/>
                <a:gd name="connsiteY9" fmla="*/ 556923 h 563076"/>
                <a:gd name="connsiteX10" fmla="*/ 56220 w 102373"/>
                <a:gd name="connsiteY10" fmla="*/ 563077 h 563076"/>
                <a:gd name="connsiteX11" fmla="*/ 56220 w 102373"/>
                <a:gd name="connsiteY11" fmla="*/ 563077 h 56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373" h="563076">
                  <a:moveTo>
                    <a:pt x="56220" y="563077"/>
                  </a:moveTo>
                  <a:cubicBezTo>
                    <a:pt x="53143" y="563077"/>
                    <a:pt x="50065" y="560000"/>
                    <a:pt x="50065" y="560000"/>
                  </a:cubicBezTo>
                  <a:cubicBezTo>
                    <a:pt x="43912" y="541538"/>
                    <a:pt x="40835" y="523077"/>
                    <a:pt x="34681" y="504615"/>
                  </a:cubicBezTo>
                  <a:cubicBezTo>
                    <a:pt x="19296" y="452308"/>
                    <a:pt x="3912" y="400000"/>
                    <a:pt x="834" y="350769"/>
                  </a:cubicBezTo>
                  <a:cubicBezTo>
                    <a:pt x="-5319" y="224615"/>
                    <a:pt x="22373" y="107692"/>
                    <a:pt x="90066" y="3077"/>
                  </a:cubicBezTo>
                  <a:cubicBezTo>
                    <a:pt x="93142" y="0"/>
                    <a:pt x="96219" y="0"/>
                    <a:pt x="99296" y="0"/>
                  </a:cubicBezTo>
                  <a:cubicBezTo>
                    <a:pt x="102373" y="3077"/>
                    <a:pt x="102373" y="6154"/>
                    <a:pt x="102373" y="9231"/>
                  </a:cubicBezTo>
                  <a:cubicBezTo>
                    <a:pt x="37758" y="113846"/>
                    <a:pt x="6989" y="227692"/>
                    <a:pt x="13143" y="350769"/>
                  </a:cubicBezTo>
                  <a:cubicBezTo>
                    <a:pt x="16219" y="396923"/>
                    <a:pt x="31604" y="449231"/>
                    <a:pt x="46988" y="501538"/>
                  </a:cubicBezTo>
                  <a:cubicBezTo>
                    <a:pt x="53143" y="520000"/>
                    <a:pt x="59297" y="538462"/>
                    <a:pt x="62373" y="556923"/>
                  </a:cubicBezTo>
                  <a:cubicBezTo>
                    <a:pt x="62373" y="556923"/>
                    <a:pt x="59297" y="560000"/>
                    <a:pt x="56220" y="563077"/>
                  </a:cubicBezTo>
                  <a:cubicBezTo>
                    <a:pt x="56220" y="563077"/>
                    <a:pt x="56220" y="563077"/>
                    <a:pt x="56220" y="563077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6DB42864-0378-4C75-A94E-6C44368303E4}"/>
                </a:ext>
              </a:extLst>
            </p:cNvPr>
            <p:cNvSpPr/>
            <p:nvPr/>
          </p:nvSpPr>
          <p:spPr>
            <a:xfrm>
              <a:off x="16073128" y="4172321"/>
              <a:ext cx="404350" cy="36727"/>
            </a:xfrm>
            <a:custGeom>
              <a:avLst/>
              <a:gdLst>
                <a:gd name="connsiteX0" fmla="*/ 6153 w 404350"/>
                <a:gd name="connsiteY0" fmla="*/ 36727 h 36727"/>
                <a:gd name="connsiteX1" fmla="*/ 0 w 404350"/>
                <a:gd name="connsiteY1" fmla="*/ 33650 h 36727"/>
                <a:gd name="connsiteX2" fmla="*/ 3076 w 404350"/>
                <a:gd name="connsiteY2" fmla="*/ 27496 h 36727"/>
                <a:gd name="connsiteX3" fmla="*/ 400000 w 404350"/>
                <a:gd name="connsiteY3" fmla="*/ 15189 h 36727"/>
                <a:gd name="connsiteX4" fmla="*/ 403076 w 404350"/>
                <a:gd name="connsiteY4" fmla="*/ 21343 h 36727"/>
                <a:gd name="connsiteX5" fmla="*/ 396923 w 404350"/>
                <a:gd name="connsiteY5" fmla="*/ 24420 h 36727"/>
                <a:gd name="connsiteX6" fmla="*/ 6153 w 404350"/>
                <a:gd name="connsiteY6" fmla="*/ 36727 h 36727"/>
                <a:gd name="connsiteX7" fmla="*/ 6153 w 404350"/>
                <a:gd name="connsiteY7" fmla="*/ 36727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350" h="36727">
                  <a:moveTo>
                    <a:pt x="6153" y="36727"/>
                  </a:moveTo>
                  <a:cubicBezTo>
                    <a:pt x="3076" y="36727"/>
                    <a:pt x="3076" y="36727"/>
                    <a:pt x="0" y="33650"/>
                  </a:cubicBezTo>
                  <a:cubicBezTo>
                    <a:pt x="0" y="30573"/>
                    <a:pt x="0" y="27496"/>
                    <a:pt x="3076" y="27496"/>
                  </a:cubicBezTo>
                  <a:cubicBezTo>
                    <a:pt x="89231" y="-3273"/>
                    <a:pt x="298461" y="-9427"/>
                    <a:pt x="400000" y="15189"/>
                  </a:cubicBezTo>
                  <a:cubicBezTo>
                    <a:pt x="403076" y="15189"/>
                    <a:pt x="406153" y="18266"/>
                    <a:pt x="403076" y="21343"/>
                  </a:cubicBezTo>
                  <a:cubicBezTo>
                    <a:pt x="403076" y="24420"/>
                    <a:pt x="400000" y="27496"/>
                    <a:pt x="396923" y="24420"/>
                  </a:cubicBezTo>
                  <a:cubicBezTo>
                    <a:pt x="301538" y="-196"/>
                    <a:pt x="92308" y="5958"/>
                    <a:pt x="6153" y="36727"/>
                  </a:cubicBezTo>
                  <a:cubicBezTo>
                    <a:pt x="9230" y="36727"/>
                    <a:pt x="9230" y="36727"/>
                    <a:pt x="6153" y="36727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C8341479-4FD1-4A1F-84A6-C0B34A00D29C}"/>
                </a:ext>
              </a:extLst>
            </p:cNvPr>
            <p:cNvSpPr/>
            <p:nvPr/>
          </p:nvSpPr>
          <p:spPr>
            <a:xfrm>
              <a:off x="16568512" y="3241396"/>
              <a:ext cx="78298" cy="115101"/>
            </a:xfrm>
            <a:custGeom>
              <a:avLst/>
              <a:gdLst>
                <a:gd name="connsiteX0" fmla="*/ 12308 w 78298"/>
                <a:gd name="connsiteY0" fmla="*/ 16883 h 115101"/>
                <a:gd name="connsiteX1" fmla="*/ 70769 w 78298"/>
                <a:gd name="connsiteY1" fmla="*/ 7652 h 115101"/>
                <a:gd name="connsiteX2" fmla="*/ 12308 w 78298"/>
                <a:gd name="connsiteY2" fmla="*/ 112268 h 115101"/>
                <a:gd name="connsiteX3" fmla="*/ 12308 w 78298"/>
                <a:gd name="connsiteY3" fmla="*/ 16883 h 115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98" h="115101">
                  <a:moveTo>
                    <a:pt x="12308" y="16883"/>
                  </a:moveTo>
                  <a:cubicBezTo>
                    <a:pt x="12308" y="16883"/>
                    <a:pt x="46153" y="-13886"/>
                    <a:pt x="70769" y="7652"/>
                  </a:cubicBezTo>
                  <a:cubicBezTo>
                    <a:pt x="95384" y="26114"/>
                    <a:pt x="55385" y="133806"/>
                    <a:pt x="12308" y="112268"/>
                  </a:cubicBezTo>
                  <a:cubicBezTo>
                    <a:pt x="-15385" y="90729"/>
                    <a:pt x="12308" y="16883"/>
                    <a:pt x="12308" y="16883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E3BE599A-A9B8-41DC-86C5-53A966186443}"/>
                </a:ext>
              </a:extLst>
            </p:cNvPr>
            <p:cNvSpPr/>
            <p:nvPr/>
          </p:nvSpPr>
          <p:spPr>
            <a:xfrm>
              <a:off x="16131589" y="3119818"/>
              <a:ext cx="147691" cy="166153"/>
            </a:xfrm>
            <a:custGeom>
              <a:avLst/>
              <a:gdLst>
                <a:gd name="connsiteX0" fmla="*/ 6153 w 147691"/>
                <a:gd name="connsiteY0" fmla="*/ 166154 h 166153"/>
                <a:gd name="connsiteX1" fmla="*/ 6153 w 147691"/>
                <a:gd name="connsiteY1" fmla="*/ 166154 h 166153"/>
                <a:gd name="connsiteX2" fmla="*/ 0 w 147691"/>
                <a:gd name="connsiteY2" fmla="*/ 160000 h 166153"/>
                <a:gd name="connsiteX3" fmla="*/ 141539 w 147691"/>
                <a:gd name="connsiteY3" fmla="*/ 0 h 166153"/>
                <a:gd name="connsiteX4" fmla="*/ 147692 w 147691"/>
                <a:gd name="connsiteY4" fmla="*/ 3077 h 166153"/>
                <a:gd name="connsiteX5" fmla="*/ 144615 w 147691"/>
                <a:gd name="connsiteY5" fmla="*/ 9231 h 166153"/>
                <a:gd name="connsiteX6" fmla="*/ 12308 w 147691"/>
                <a:gd name="connsiteY6" fmla="*/ 160000 h 166153"/>
                <a:gd name="connsiteX7" fmla="*/ 6153 w 147691"/>
                <a:gd name="connsiteY7" fmla="*/ 166154 h 16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691" h="166153">
                  <a:moveTo>
                    <a:pt x="6153" y="166154"/>
                  </a:moveTo>
                  <a:cubicBezTo>
                    <a:pt x="3077" y="166154"/>
                    <a:pt x="3077" y="166154"/>
                    <a:pt x="6153" y="166154"/>
                  </a:cubicBezTo>
                  <a:cubicBezTo>
                    <a:pt x="3077" y="166154"/>
                    <a:pt x="0" y="163077"/>
                    <a:pt x="0" y="160000"/>
                  </a:cubicBezTo>
                  <a:cubicBezTo>
                    <a:pt x="24615" y="30769"/>
                    <a:pt x="141539" y="0"/>
                    <a:pt x="141539" y="0"/>
                  </a:cubicBezTo>
                  <a:cubicBezTo>
                    <a:pt x="144615" y="0"/>
                    <a:pt x="147692" y="0"/>
                    <a:pt x="147692" y="3077"/>
                  </a:cubicBezTo>
                  <a:cubicBezTo>
                    <a:pt x="147692" y="6154"/>
                    <a:pt x="147692" y="9231"/>
                    <a:pt x="144615" y="9231"/>
                  </a:cubicBezTo>
                  <a:cubicBezTo>
                    <a:pt x="144615" y="9231"/>
                    <a:pt x="36923" y="40000"/>
                    <a:pt x="12308" y="160000"/>
                  </a:cubicBezTo>
                  <a:cubicBezTo>
                    <a:pt x="9230" y="163077"/>
                    <a:pt x="6153" y="166154"/>
                    <a:pt x="6153" y="166154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C990BB4A-F00D-4259-BA60-46D73F6A40E6}"/>
                </a:ext>
              </a:extLst>
            </p:cNvPr>
            <p:cNvSpPr/>
            <p:nvPr/>
          </p:nvSpPr>
          <p:spPr>
            <a:xfrm>
              <a:off x="16396204" y="2929048"/>
              <a:ext cx="310564" cy="501538"/>
            </a:xfrm>
            <a:custGeom>
              <a:avLst/>
              <a:gdLst>
                <a:gd name="connsiteX0" fmla="*/ 129230 w 310564"/>
                <a:gd name="connsiteY0" fmla="*/ 501538 h 501538"/>
                <a:gd name="connsiteX1" fmla="*/ 123077 w 310564"/>
                <a:gd name="connsiteY1" fmla="*/ 498462 h 501538"/>
                <a:gd name="connsiteX2" fmla="*/ 126153 w 310564"/>
                <a:gd name="connsiteY2" fmla="*/ 378462 h 501538"/>
                <a:gd name="connsiteX3" fmla="*/ 132307 w 310564"/>
                <a:gd name="connsiteY3" fmla="*/ 283077 h 501538"/>
                <a:gd name="connsiteX4" fmla="*/ 52307 w 310564"/>
                <a:gd name="connsiteY4" fmla="*/ 181538 h 501538"/>
                <a:gd name="connsiteX5" fmla="*/ 6153 w 310564"/>
                <a:gd name="connsiteY5" fmla="*/ 156923 h 501538"/>
                <a:gd name="connsiteX6" fmla="*/ 0 w 310564"/>
                <a:gd name="connsiteY6" fmla="*/ 153846 h 501538"/>
                <a:gd name="connsiteX7" fmla="*/ 3076 w 310564"/>
                <a:gd name="connsiteY7" fmla="*/ 147692 h 501538"/>
                <a:gd name="connsiteX8" fmla="*/ 21538 w 310564"/>
                <a:gd name="connsiteY8" fmla="*/ 123077 h 501538"/>
                <a:gd name="connsiteX9" fmla="*/ 30769 w 310564"/>
                <a:gd name="connsiteY9" fmla="*/ 83077 h 501538"/>
                <a:gd name="connsiteX10" fmla="*/ 30769 w 310564"/>
                <a:gd name="connsiteY10" fmla="*/ 58462 h 501538"/>
                <a:gd name="connsiteX11" fmla="*/ 33845 w 310564"/>
                <a:gd name="connsiteY11" fmla="*/ 3077 h 501538"/>
                <a:gd name="connsiteX12" fmla="*/ 40000 w 310564"/>
                <a:gd name="connsiteY12" fmla="*/ 0 h 501538"/>
                <a:gd name="connsiteX13" fmla="*/ 304615 w 310564"/>
                <a:gd name="connsiteY13" fmla="*/ 215385 h 501538"/>
                <a:gd name="connsiteX14" fmla="*/ 304615 w 310564"/>
                <a:gd name="connsiteY14" fmla="*/ 218462 h 501538"/>
                <a:gd name="connsiteX15" fmla="*/ 258461 w 310564"/>
                <a:gd name="connsiteY15" fmla="*/ 446154 h 501538"/>
                <a:gd name="connsiteX16" fmla="*/ 249230 w 310564"/>
                <a:gd name="connsiteY16" fmla="*/ 449231 h 501538"/>
                <a:gd name="connsiteX17" fmla="*/ 246154 w 310564"/>
                <a:gd name="connsiteY17" fmla="*/ 440000 h 501538"/>
                <a:gd name="connsiteX18" fmla="*/ 289231 w 310564"/>
                <a:gd name="connsiteY18" fmla="*/ 221538 h 501538"/>
                <a:gd name="connsiteX19" fmla="*/ 289231 w 310564"/>
                <a:gd name="connsiteY19" fmla="*/ 218462 h 501538"/>
                <a:gd name="connsiteX20" fmla="*/ 33845 w 310564"/>
                <a:gd name="connsiteY20" fmla="*/ 12308 h 501538"/>
                <a:gd name="connsiteX21" fmla="*/ 33845 w 310564"/>
                <a:gd name="connsiteY21" fmla="*/ 58462 h 501538"/>
                <a:gd name="connsiteX22" fmla="*/ 33845 w 310564"/>
                <a:gd name="connsiteY22" fmla="*/ 83077 h 501538"/>
                <a:gd name="connsiteX23" fmla="*/ 21538 w 310564"/>
                <a:gd name="connsiteY23" fmla="*/ 126154 h 501538"/>
                <a:gd name="connsiteX24" fmla="*/ 6153 w 310564"/>
                <a:gd name="connsiteY24" fmla="*/ 147692 h 501538"/>
                <a:gd name="connsiteX25" fmla="*/ 46154 w 310564"/>
                <a:gd name="connsiteY25" fmla="*/ 169231 h 501538"/>
                <a:gd name="connsiteX26" fmla="*/ 132307 w 310564"/>
                <a:gd name="connsiteY26" fmla="*/ 280000 h 501538"/>
                <a:gd name="connsiteX27" fmla="*/ 126153 w 310564"/>
                <a:gd name="connsiteY27" fmla="*/ 378462 h 501538"/>
                <a:gd name="connsiteX28" fmla="*/ 123077 w 310564"/>
                <a:gd name="connsiteY28" fmla="*/ 495385 h 501538"/>
                <a:gd name="connsiteX29" fmla="*/ 129230 w 310564"/>
                <a:gd name="connsiteY29" fmla="*/ 501538 h 501538"/>
                <a:gd name="connsiteX30" fmla="*/ 129230 w 310564"/>
                <a:gd name="connsiteY30" fmla="*/ 501538 h 50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10564" h="501538">
                  <a:moveTo>
                    <a:pt x="129230" y="501538"/>
                  </a:moveTo>
                  <a:cubicBezTo>
                    <a:pt x="126153" y="501538"/>
                    <a:pt x="123077" y="498462"/>
                    <a:pt x="123077" y="498462"/>
                  </a:cubicBezTo>
                  <a:cubicBezTo>
                    <a:pt x="110768" y="452308"/>
                    <a:pt x="116923" y="415385"/>
                    <a:pt x="126153" y="378462"/>
                  </a:cubicBezTo>
                  <a:cubicBezTo>
                    <a:pt x="132307" y="347692"/>
                    <a:pt x="138462" y="316923"/>
                    <a:pt x="132307" y="283077"/>
                  </a:cubicBezTo>
                  <a:cubicBezTo>
                    <a:pt x="120000" y="224615"/>
                    <a:pt x="58461" y="184615"/>
                    <a:pt x="52307" y="181538"/>
                  </a:cubicBezTo>
                  <a:cubicBezTo>
                    <a:pt x="24615" y="169231"/>
                    <a:pt x="6153" y="156923"/>
                    <a:pt x="6153" y="156923"/>
                  </a:cubicBezTo>
                  <a:lnTo>
                    <a:pt x="0" y="153846"/>
                  </a:lnTo>
                  <a:lnTo>
                    <a:pt x="3076" y="147692"/>
                  </a:lnTo>
                  <a:cubicBezTo>
                    <a:pt x="9230" y="141538"/>
                    <a:pt x="15385" y="132308"/>
                    <a:pt x="21538" y="123077"/>
                  </a:cubicBezTo>
                  <a:cubicBezTo>
                    <a:pt x="27692" y="110769"/>
                    <a:pt x="30769" y="95385"/>
                    <a:pt x="30769" y="83077"/>
                  </a:cubicBezTo>
                  <a:cubicBezTo>
                    <a:pt x="30769" y="80000"/>
                    <a:pt x="30769" y="70769"/>
                    <a:pt x="30769" y="58462"/>
                  </a:cubicBezTo>
                  <a:cubicBezTo>
                    <a:pt x="27692" y="30769"/>
                    <a:pt x="27692" y="12308"/>
                    <a:pt x="33845" y="3077"/>
                  </a:cubicBezTo>
                  <a:cubicBezTo>
                    <a:pt x="36923" y="0"/>
                    <a:pt x="36923" y="0"/>
                    <a:pt x="40000" y="0"/>
                  </a:cubicBezTo>
                  <a:cubicBezTo>
                    <a:pt x="261538" y="12308"/>
                    <a:pt x="304615" y="215385"/>
                    <a:pt x="304615" y="215385"/>
                  </a:cubicBezTo>
                  <a:lnTo>
                    <a:pt x="304615" y="218462"/>
                  </a:lnTo>
                  <a:cubicBezTo>
                    <a:pt x="310768" y="264615"/>
                    <a:pt x="326153" y="341538"/>
                    <a:pt x="258461" y="446154"/>
                  </a:cubicBezTo>
                  <a:cubicBezTo>
                    <a:pt x="255384" y="449231"/>
                    <a:pt x="252307" y="449231"/>
                    <a:pt x="249230" y="449231"/>
                  </a:cubicBezTo>
                  <a:cubicBezTo>
                    <a:pt x="246154" y="446154"/>
                    <a:pt x="246154" y="443077"/>
                    <a:pt x="246154" y="440000"/>
                  </a:cubicBezTo>
                  <a:cubicBezTo>
                    <a:pt x="310768" y="341538"/>
                    <a:pt x="298461" y="264615"/>
                    <a:pt x="289231" y="221538"/>
                  </a:cubicBezTo>
                  <a:lnTo>
                    <a:pt x="289231" y="218462"/>
                  </a:lnTo>
                  <a:cubicBezTo>
                    <a:pt x="289231" y="215385"/>
                    <a:pt x="249230" y="21538"/>
                    <a:pt x="33845" y="12308"/>
                  </a:cubicBezTo>
                  <a:cubicBezTo>
                    <a:pt x="30769" y="15385"/>
                    <a:pt x="33845" y="43077"/>
                    <a:pt x="33845" y="58462"/>
                  </a:cubicBezTo>
                  <a:cubicBezTo>
                    <a:pt x="33845" y="70769"/>
                    <a:pt x="36923" y="80000"/>
                    <a:pt x="33845" y="83077"/>
                  </a:cubicBezTo>
                  <a:cubicBezTo>
                    <a:pt x="30769" y="98462"/>
                    <a:pt x="30769" y="113846"/>
                    <a:pt x="21538" y="126154"/>
                  </a:cubicBezTo>
                  <a:cubicBezTo>
                    <a:pt x="18461" y="132308"/>
                    <a:pt x="12308" y="141538"/>
                    <a:pt x="6153" y="147692"/>
                  </a:cubicBezTo>
                  <a:cubicBezTo>
                    <a:pt x="12308" y="150769"/>
                    <a:pt x="27692" y="160000"/>
                    <a:pt x="46154" y="169231"/>
                  </a:cubicBezTo>
                  <a:cubicBezTo>
                    <a:pt x="58461" y="175385"/>
                    <a:pt x="120000" y="218462"/>
                    <a:pt x="132307" y="280000"/>
                  </a:cubicBezTo>
                  <a:cubicBezTo>
                    <a:pt x="138462" y="316923"/>
                    <a:pt x="132307" y="347692"/>
                    <a:pt x="126153" y="378462"/>
                  </a:cubicBezTo>
                  <a:cubicBezTo>
                    <a:pt x="120000" y="415385"/>
                    <a:pt x="110768" y="452308"/>
                    <a:pt x="123077" y="495385"/>
                  </a:cubicBezTo>
                  <a:cubicBezTo>
                    <a:pt x="135384" y="498462"/>
                    <a:pt x="135384" y="501538"/>
                    <a:pt x="129230" y="501538"/>
                  </a:cubicBezTo>
                  <a:cubicBezTo>
                    <a:pt x="132307" y="501538"/>
                    <a:pt x="129230" y="501538"/>
                    <a:pt x="129230" y="501538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2" name="图形 1">
              <a:extLst>
                <a:ext uri="{FF2B5EF4-FFF2-40B4-BE49-F238E27FC236}">
                  <a16:creationId xmlns:a16="http://schemas.microsoft.com/office/drawing/2014/main" id="{C930988C-B347-478A-A4DE-C9473CB00826}"/>
                </a:ext>
              </a:extLst>
            </p:cNvPr>
            <p:cNvGrpSpPr/>
            <p:nvPr/>
          </p:nvGrpSpPr>
          <p:grpSpPr>
            <a:xfrm>
              <a:off x="16030050" y="4596740"/>
              <a:ext cx="529231" cy="67692"/>
              <a:chOff x="16030050" y="4596740"/>
              <a:chExt cx="529231" cy="67692"/>
            </a:xfrm>
            <a:solidFill>
              <a:srgbClr val="38343B"/>
            </a:solidFill>
          </p:grpSpPr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BE061D71-ECF9-446D-8F55-D36EE888CFD7}"/>
                  </a:ext>
                </a:extLst>
              </p:cNvPr>
              <p:cNvSpPr/>
              <p:nvPr/>
            </p:nvSpPr>
            <p:spPr>
              <a:xfrm>
                <a:off x="16030050" y="4596740"/>
                <a:ext cx="529231" cy="67692"/>
              </a:xfrm>
              <a:custGeom>
                <a:avLst/>
                <a:gdLst>
                  <a:gd name="connsiteX0" fmla="*/ 529231 w 529231"/>
                  <a:gd name="connsiteY0" fmla="*/ 67692 h 67692"/>
                  <a:gd name="connsiteX1" fmla="*/ 0 w 529231"/>
                  <a:gd name="connsiteY1" fmla="*/ 67692 h 67692"/>
                  <a:gd name="connsiteX2" fmla="*/ 21539 w 529231"/>
                  <a:gd name="connsiteY2" fmla="*/ 9231 h 67692"/>
                  <a:gd name="connsiteX3" fmla="*/ 24616 w 529231"/>
                  <a:gd name="connsiteY3" fmla="*/ 9231 h 67692"/>
                  <a:gd name="connsiteX4" fmla="*/ 523077 w 529231"/>
                  <a:gd name="connsiteY4" fmla="*/ 0 h 67692"/>
                  <a:gd name="connsiteX5" fmla="*/ 529231 w 529231"/>
                  <a:gd name="connsiteY5" fmla="*/ 0 h 67692"/>
                  <a:gd name="connsiteX6" fmla="*/ 529231 w 529231"/>
                  <a:gd name="connsiteY6" fmla="*/ 67692 h 67692"/>
                  <a:gd name="connsiteX7" fmla="*/ 12308 w 529231"/>
                  <a:gd name="connsiteY7" fmla="*/ 55385 h 67692"/>
                  <a:gd name="connsiteX8" fmla="*/ 513847 w 529231"/>
                  <a:gd name="connsiteY8" fmla="*/ 55385 h 67692"/>
                  <a:gd name="connsiteX9" fmla="*/ 513847 w 529231"/>
                  <a:gd name="connsiteY9" fmla="*/ 12308 h 67692"/>
                  <a:gd name="connsiteX10" fmla="*/ 24616 w 529231"/>
                  <a:gd name="connsiteY10" fmla="*/ 21539 h 67692"/>
                  <a:gd name="connsiteX11" fmla="*/ 12308 w 529231"/>
                  <a:gd name="connsiteY11" fmla="*/ 55385 h 67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9231" h="67692">
                    <a:moveTo>
                      <a:pt x="529231" y="67692"/>
                    </a:moveTo>
                    <a:lnTo>
                      <a:pt x="0" y="67692"/>
                    </a:lnTo>
                    <a:lnTo>
                      <a:pt x="21539" y="9231"/>
                    </a:lnTo>
                    <a:lnTo>
                      <a:pt x="24616" y="9231"/>
                    </a:lnTo>
                    <a:cubicBezTo>
                      <a:pt x="27693" y="9231"/>
                      <a:pt x="430769" y="15385"/>
                      <a:pt x="523077" y="0"/>
                    </a:cubicBezTo>
                    <a:lnTo>
                      <a:pt x="529231" y="0"/>
                    </a:lnTo>
                    <a:lnTo>
                      <a:pt x="529231" y="67692"/>
                    </a:lnTo>
                    <a:close/>
                    <a:moveTo>
                      <a:pt x="12308" y="55385"/>
                    </a:moveTo>
                    <a:lnTo>
                      <a:pt x="513847" y="55385"/>
                    </a:lnTo>
                    <a:lnTo>
                      <a:pt x="513847" y="12308"/>
                    </a:lnTo>
                    <a:cubicBezTo>
                      <a:pt x="412308" y="27692"/>
                      <a:pt x="67693" y="21539"/>
                      <a:pt x="24616" y="21539"/>
                    </a:cubicBezTo>
                    <a:lnTo>
                      <a:pt x="12308" y="55385"/>
                    </a:ln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4A76AEBE-71C7-413F-A8DD-65A5ADFA1346}"/>
                  </a:ext>
                </a:extLst>
              </p:cNvPr>
              <p:cNvSpPr/>
              <p:nvPr/>
            </p:nvSpPr>
            <p:spPr>
              <a:xfrm>
                <a:off x="16199281" y="4605971"/>
                <a:ext cx="12308" cy="58461"/>
              </a:xfrm>
              <a:custGeom>
                <a:avLst/>
                <a:gdLst>
                  <a:gd name="connsiteX0" fmla="*/ 6154 w 12308"/>
                  <a:gd name="connsiteY0" fmla="*/ 58462 h 58461"/>
                  <a:gd name="connsiteX1" fmla="*/ 0 w 12308"/>
                  <a:gd name="connsiteY1" fmla="*/ 52308 h 58461"/>
                  <a:gd name="connsiteX2" fmla="*/ 0 w 12308"/>
                  <a:gd name="connsiteY2" fmla="*/ 6154 h 58461"/>
                  <a:gd name="connsiteX3" fmla="*/ 6154 w 12308"/>
                  <a:gd name="connsiteY3" fmla="*/ 0 h 58461"/>
                  <a:gd name="connsiteX4" fmla="*/ 12308 w 12308"/>
                  <a:gd name="connsiteY4" fmla="*/ 6154 h 58461"/>
                  <a:gd name="connsiteX5" fmla="*/ 12308 w 12308"/>
                  <a:gd name="connsiteY5" fmla="*/ 52308 h 58461"/>
                  <a:gd name="connsiteX6" fmla="*/ 6154 w 12308"/>
                  <a:gd name="connsiteY6" fmla="*/ 58462 h 5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08" h="58461">
                    <a:moveTo>
                      <a:pt x="6154" y="58462"/>
                    </a:moveTo>
                    <a:cubicBezTo>
                      <a:pt x="3077" y="58462"/>
                      <a:pt x="0" y="55385"/>
                      <a:pt x="0" y="52308"/>
                    </a:cubicBezTo>
                    <a:lnTo>
                      <a:pt x="0" y="6154"/>
                    </a:lnTo>
                    <a:cubicBezTo>
                      <a:pt x="0" y="3077"/>
                      <a:pt x="3077" y="0"/>
                      <a:pt x="6154" y="0"/>
                    </a:cubicBezTo>
                    <a:cubicBezTo>
                      <a:pt x="9231" y="0"/>
                      <a:pt x="12308" y="3077"/>
                      <a:pt x="12308" y="6154"/>
                    </a:cubicBezTo>
                    <a:lnTo>
                      <a:pt x="12308" y="52308"/>
                    </a:lnTo>
                    <a:cubicBezTo>
                      <a:pt x="12308" y="55385"/>
                      <a:pt x="9231" y="58462"/>
                      <a:pt x="6154" y="5846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C644070C-8D47-4D4B-898A-B34C619D859B}"/>
                  </a:ext>
                </a:extLst>
              </p:cNvPr>
              <p:cNvSpPr/>
              <p:nvPr/>
            </p:nvSpPr>
            <p:spPr>
              <a:xfrm>
                <a:off x="16254666" y="4605971"/>
                <a:ext cx="12307" cy="58461"/>
              </a:xfrm>
              <a:custGeom>
                <a:avLst/>
                <a:gdLst>
                  <a:gd name="connsiteX0" fmla="*/ 6153 w 12307"/>
                  <a:gd name="connsiteY0" fmla="*/ 58462 h 58461"/>
                  <a:gd name="connsiteX1" fmla="*/ 0 w 12307"/>
                  <a:gd name="connsiteY1" fmla="*/ 52308 h 58461"/>
                  <a:gd name="connsiteX2" fmla="*/ 0 w 12307"/>
                  <a:gd name="connsiteY2" fmla="*/ 6154 h 58461"/>
                  <a:gd name="connsiteX3" fmla="*/ 6153 w 12307"/>
                  <a:gd name="connsiteY3" fmla="*/ 0 h 58461"/>
                  <a:gd name="connsiteX4" fmla="*/ 12308 w 12307"/>
                  <a:gd name="connsiteY4" fmla="*/ 6154 h 58461"/>
                  <a:gd name="connsiteX5" fmla="*/ 12308 w 12307"/>
                  <a:gd name="connsiteY5" fmla="*/ 52308 h 58461"/>
                  <a:gd name="connsiteX6" fmla="*/ 6153 w 12307"/>
                  <a:gd name="connsiteY6" fmla="*/ 58462 h 58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07" h="58461">
                    <a:moveTo>
                      <a:pt x="6153" y="58462"/>
                    </a:moveTo>
                    <a:cubicBezTo>
                      <a:pt x="3077" y="58462"/>
                      <a:pt x="0" y="55385"/>
                      <a:pt x="0" y="52308"/>
                    </a:cubicBezTo>
                    <a:lnTo>
                      <a:pt x="0" y="6154"/>
                    </a:lnTo>
                    <a:cubicBezTo>
                      <a:pt x="0" y="3077"/>
                      <a:pt x="3077" y="0"/>
                      <a:pt x="6153" y="0"/>
                    </a:cubicBezTo>
                    <a:cubicBezTo>
                      <a:pt x="9230" y="0"/>
                      <a:pt x="12308" y="3077"/>
                      <a:pt x="12308" y="6154"/>
                    </a:cubicBezTo>
                    <a:lnTo>
                      <a:pt x="12308" y="52308"/>
                    </a:lnTo>
                    <a:cubicBezTo>
                      <a:pt x="12308" y="55385"/>
                      <a:pt x="9230" y="58462"/>
                      <a:pt x="6153" y="5846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2C662008-0476-418C-B9B1-E4196C1404D1}"/>
                </a:ext>
              </a:extLst>
            </p:cNvPr>
            <p:cNvSpPr/>
            <p:nvPr/>
          </p:nvSpPr>
          <p:spPr>
            <a:xfrm>
              <a:off x="16319281" y="2918219"/>
              <a:ext cx="126153" cy="23137"/>
            </a:xfrm>
            <a:custGeom>
              <a:avLst/>
              <a:gdLst>
                <a:gd name="connsiteX0" fmla="*/ 120000 w 126153"/>
                <a:gd name="connsiteY0" fmla="*/ 23137 h 23137"/>
                <a:gd name="connsiteX1" fmla="*/ 120000 w 126153"/>
                <a:gd name="connsiteY1" fmla="*/ 23137 h 23137"/>
                <a:gd name="connsiteX2" fmla="*/ 6153 w 126153"/>
                <a:gd name="connsiteY2" fmla="*/ 20060 h 23137"/>
                <a:gd name="connsiteX3" fmla="*/ 0 w 126153"/>
                <a:gd name="connsiteY3" fmla="*/ 16983 h 23137"/>
                <a:gd name="connsiteX4" fmla="*/ 3076 w 126153"/>
                <a:gd name="connsiteY4" fmla="*/ 10830 h 23137"/>
                <a:gd name="connsiteX5" fmla="*/ 123077 w 126153"/>
                <a:gd name="connsiteY5" fmla="*/ 13907 h 23137"/>
                <a:gd name="connsiteX6" fmla="*/ 126153 w 126153"/>
                <a:gd name="connsiteY6" fmla="*/ 23137 h 23137"/>
                <a:gd name="connsiteX7" fmla="*/ 120000 w 126153"/>
                <a:gd name="connsiteY7" fmla="*/ 23137 h 23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153" h="23137">
                  <a:moveTo>
                    <a:pt x="120000" y="23137"/>
                  </a:moveTo>
                  <a:cubicBezTo>
                    <a:pt x="120000" y="23137"/>
                    <a:pt x="116923" y="23137"/>
                    <a:pt x="120000" y="23137"/>
                  </a:cubicBezTo>
                  <a:cubicBezTo>
                    <a:pt x="116923" y="23137"/>
                    <a:pt x="70769" y="-1478"/>
                    <a:pt x="6153" y="20060"/>
                  </a:cubicBezTo>
                  <a:cubicBezTo>
                    <a:pt x="3076" y="20060"/>
                    <a:pt x="0" y="20060"/>
                    <a:pt x="0" y="16983"/>
                  </a:cubicBezTo>
                  <a:cubicBezTo>
                    <a:pt x="0" y="13907"/>
                    <a:pt x="0" y="10830"/>
                    <a:pt x="3076" y="10830"/>
                  </a:cubicBezTo>
                  <a:cubicBezTo>
                    <a:pt x="73846" y="-13786"/>
                    <a:pt x="120000" y="10830"/>
                    <a:pt x="123077" y="13907"/>
                  </a:cubicBezTo>
                  <a:cubicBezTo>
                    <a:pt x="126153" y="16983"/>
                    <a:pt x="126153" y="20060"/>
                    <a:pt x="126153" y="23137"/>
                  </a:cubicBezTo>
                  <a:cubicBezTo>
                    <a:pt x="123077" y="23137"/>
                    <a:pt x="123077" y="23137"/>
                    <a:pt x="120000" y="23137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6649B5B2-FAD8-462E-82FB-0483DCD0F155}"/>
                </a:ext>
              </a:extLst>
            </p:cNvPr>
            <p:cNvSpPr/>
            <p:nvPr/>
          </p:nvSpPr>
          <p:spPr>
            <a:xfrm>
              <a:off x="16344938" y="3624399"/>
              <a:ext cx="594513" cy="2203110"/>
            </a:xfrm>
            <a:custGeom>
              <a:avLst/>
              <a:gdLst>
                <a:gd name="connsiteX0" fmla="*/ 23573 w 594513"/>
                <a:gd name="connsiteY0" fmla="*/ 307726 h 2203110"/>
                <a:gd name="connsiteX1" fmla="*/ 75881 w 594513"/>
                <a:gd name="connsiteY1" fmla="*/ 1043111 h 2203110"/>
                <a:gd name="connsiteX2" fmla="*/ 134343 w 594513"/>
                <a:gd name="connsiteY2" fmla="*/ 2203111 h 2203110"/>
                <a:gd name="connsiteX3" fmla="*/ 571266 w 594513"/>
                <a:gd name="connsiteY3" fmla="*/ 2203111 h 2203110"/>
                <a:gd name="connsiteX4" fmla="*/ 571266 w 594513"/>
                <a:gd name="connsiteY4" fmla="*/ 1341573 h 2203110"/>
                <a:gd name="connsiteX5" fmla="*/ 435882 w 594513"/>
                <a:gd name="connsiteY5" fmla="*/ 864649 h 2203110"/>
                <a:gd name="connsiteX6" fmla="*/ 454343 w 594513"/>
                <a:gd name="connsiteY6" fmla="*/ 393880 h 2203110"/>
                <a:gd name="connsiteX7" fmla="*/ 454343 w 594513"/>
                <a:gd name="connsiteY7" fmla="*/ 120034 h 2203110"/>
                <a:gd name="connsiteX8" fmla="*/ 189728 w 594513"/>
                <a:gd name="connsiteY8" fmla="*/ 34 h 2203110"/>
                <a:gd name="connsiteX9" fmla="*/ 23573 w 594513"/>
                <a:gd name="connsiteY9" fmla="*/ 307726 h 2203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513" h="2203110">
                  <a:moveTo>
                    <a:pt x="23573" y="307726"/>
                  </a:moveTo>
                  <a:cubicBezTo>
                    <a:pt x="-37965" y="544649"/>
                    <a:pt x="35882" y="796957"/>
                    <a:pt x="75881" y="1043111"/>
                  </a:cubicBezTo>
                  <a:cubicBezTo>
                    <a:pt x="109728" y="1240034"/>
                    <a:pt x="134343" y="2203111"/>
                    <a:pt x="134343" y="2203111"/>
                  </a:cubicBezTo>
                  <a:lnTo>
                    <a:pt x="571266" y="2203111"/>
                  </a:lnTo>
                  <a:cubicBezTo>
                    <a:pt x="571266" y="2203111"/>
                    <a:pt x="623573" y="1569265"/>
                    <a:pt x="571266" y="1341573"/>
                  </a:cubicBezTo>
                  <a:cubicBezTo>
                    <a:pt x="534343" y="1181573"/>
                    <a:pt x="463574" y="1006188"/>
                    <a:pt x="435882" y="864649"/>
                  </a:cubicBezTo>
                  <a:cubicBezTo>
                    <a:pt x="405113" y="707726"/>
                    <a:pt x="414343" y="550803"/>
                    <a:pt x="454343" y="393880"/>
                  </a:cubicBezTo>
                  <a:cubicBezTo>
                    <a:pt x="478959" y="301573"/>
                    <a:pt x="515881" y="206188"/>
                    <a:pt x="454343" y="120034"/>
                  </a:cubicBezTo>
                  <a:cubicBezTo>
                    <a:pt x="402035" y="49265"/>
                    <a:pt x="269727" y="12342"/>
                    <a:pt x="189728" y="34"/>
                  </a:cubicBezTo>
                  <a:cubicBezTo>
                    <a:pt x="183574" y="-3043"/>
                    <a:pt x="51266" y="203111"/>
                    <a:pt x="23573" y="307726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2F8F6F30-541A-4857-BBE3-3BF518E985E5}"/>
                </a:ext>
              </a:extLst>
            </p:cNvPr>
            <p:cNvSpPr/>
            <p:nvPr/>
          </p:nvSpPr>
          <p:spPr>
            <a:xfrm>
              <a:off x="16282358" y="3427510"/>
              <a:ext cx="118290" cy="33846"/>
            </a:xfrm>
            <a:custGeom>
              <a:avLst/>
              <a:gdLst>
                <a:gd name="connsiteX0" fmla="*/ 67693 w 118290"/>
                <a:gd name="connsiteY0" fmla="*/ 33846 h 33846"/>
                <a:gd name="connsiteX1" fmla="*/ 3077 w 118290"/>
                <a:gd name="connsiteY1" fmla="*/ 12308 h 33846"/>
                <a:gd name="connsiteX2" fmla="*/ 0 w 118290"/>
                <a:gd name="connsiteY2" fmla="*/ 3077 h 33846"/>
                <a:gd name="connsiteX3" fmla="*/ 9230 w 118290"/>
                <a:gd name="connsiteY3" fmla="*/ 0 h 33846"/>
                <a:gd name="connsiteX4" fmla="*/ 107692 w 118290"/>
                <a:gd name="connsiteY4" fmla="*/ 6154 h 33846"/>
                <a:gd name="connsiteX5" fmla="*/ 116923 w 118290"/>
                <a:gd name="connsiteY5" fmla="*/ 6154 h 33846"/>
                <a:gd name="connsiteX6" fmla="*/ 116923 w 118290"/>
                <a:gd name="connsiteY6" fmla="*/ 15385 h 33846"/>
                <a:gd name="connsiteX7" fmla="*/ 67693 w 118290"/>
                <a:gd name="connsiteY7" fmla="*/ 33846 h 3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290" h="33846">
                  <a:moveTo>
                    <a:pt x="67693" y="33846"/>
                  </a:moveTo>
                  <a:cubicBezTo>
                    <a:pt x="49231" y="33846"/>
                    <a:pt x="27692" y="27692"/>
                    <a:pt x="3077" y="12308"/>
                  </a:cubicBezTo>
                  <a:cubicBezTo>
                    <a:pt x="0" y="9231"/>
                    <a:pt x="0" y="6154"/>
                    <a:pt x="0" y="3077"/>
                  </a:cubicBezTo>
                  <a:cubicBezTo>
                    <a:pt x="3077" y="0"/>
                    <a:pt x="6154" y="0"/>
                    <a:pt x="9230" y="0"/>
                  </a:cubicBezTo>
                  <a:cubicBezTo>
                    <a:pt x="67693" y="36923"/>
                    <a:pt x="107692" y="9231"/>
                    <a:pt x="107692" y="6154"/>
                  </a:cubicBezTo>
                  <a:cubicBezTo>
                    <a:pt x="110769" y="3077"/>
                    <a:pt x="113847" y="6154"/>
                    <a:pt x="116923" y="6154"/>
                  </a:cubicBezTo>
                  <a:cubicBezTo>
                    <a:pt x="120000" y="9231"/>
                    <a:pt x="116923" y="12308"/>
                    <a:pt x="116923" y="15385"/>
                  </a:cubicBezTo>
                  <a:cubicBezTo>
                    <a:pt x="113847" y="21538"/>
                    <a:pt x="95385" y="33846"/>
                    <a:pt x="67693" y="33846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6" name="图形 1">
              <a:extLst>
                <a:ext uri="{FF2B5EF4-FFF2-40B4-BE49-F238E27FC236}">
                  <a16:creationId xmlns:a16="http://schemas.microsoft.com/office/drawing/2014/main" id="{932E3AAC-8662-4751-9849-91FAD13F3C12}"/>
                </a:ext>
              </a:extLst>
            </p:cNvPr>
            <p:cNvGrpSpPr/>
            <p:nvPr/>
          </p:nvGrpSpPr>
          <p:grpSpPr>
            <a:xfrm>
              <a:off x="16559281" y="5045678"/>
              <a:ext cx="1113846" cy="834139"/>
              <a:chOff x="16559281" y="5045678"/>
              <a:chExt cx="1113846" cy="834139"/>
            </a:xfrm>
          </p:grpSpPr>
          <p:grpSp>
            <p:nvGrpSpPr>
              <p:cNvPr id="119" name="图形 1">
                <a:extLst>
                  <a:ext uri="{FF2B5EF4-FFF2-40B4-BE49-F238E27FC236}">
                    <a16:creationId xmlns:a16="http://schemas.microsoft.com/office/drawing/2014/main" id="{AC381EBB-8857-43EB-A57D-4794CF9DB6BB}"/>
                  </a:ext>
                </a:extLst>
              </p:cNvPr>
              <p:cNvGrpSpPr/>
              <p:nvPr/>
            </p:nvGrpSpPr>
            <p:grpSpPr>
              <a:xfrm>
                <a:off x="16559281" y="5045678"/>
                <a:ext cx="1113846" cy="834139"/>
                <a:chOff x="16559281" y="5045678"/>
                <a:chExt cx="1113846" cy="834139"/>
              </a:xfrm>
            </p:grpSpPr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0C9756B6-AB92-4844-9CD5-6580E1BDC132}"/>
                    </a:ext>
                  </a:extLst>
                </p:cNvPr>
                <p:cNvSpPr/>
                <p:nvPr/>
              </p:nvSpPr>
              <p:spPr>
                <a:xfrm>
                  <a:off x="16922358" y="5045678"/>
                  <a:ext cx="421538" cy="283369"/>
                </a:xfrm>
                <a:custGeom>
                  <a:avLst/>
                  <a:gdLst>
                    <a:gd name="connsiteX0" fmla="*/ 0 w 421538"/>
                    <a:gd name="connsiteY0" fmla="*/ 46447 h 283369"/>
                    <a:gd name="connsiteX1" fmla="*/ 0 w 421538"/>
                    <a:gd name="connsiteY1" fmla="*/ 283370 h 283369"/>
                    <a:gd name="connsiteX2" fmla="*/ 421539 w 421538"/>
                    <a:gd name="connsiteY2" fmla="*/ 283370 h 283369"/>
                    <a:gd name="connsiteX3" fmla="*/ 421539 w 421538"/>
                    <a:gd name="connsiteY3" fmla="*/ 40293 h 283369"/>
                    <a:gd name="connsiteX4" fmla="*/ 381539 w 421538"/>
                    <a:gd name="connsiteY4" fmla="*/ 293 h 283369"/>
                    <a:gd name="connsiteX5" fmla="*/ 49231 w 421538"/>
                    <a:gd name="connsiteY5" fmla="*/ 293 h 283369"/>
                    <a:gd name="connsiteX6" fmla="*/ 0 w 421538"/>
                    <a:gd name="connsiteY6" fmla="*/ 46447 h 283369"/>
                    <a:gd name="connsiteX7" fmla="*/ 43078 w 421538"/>
                    <a:gd name="connsiteY7" fmla="*/ 83370 h 283369"/>
                    <a:gd name="connsiteX8" fmla="*/ 80000 w 421538"/>
                    <a:gd name="connsiteY8" fmla="*/ 46447 h 283369"/>
                    <a:gd name="connsiteX9" fmla="*/ 344616 w 421538"/>
                    <a:gd name="connsiteY9" fmla="*/ 46447 h 283369"/>
                    <a:gd name="connsiteX10" fmla="*/ 378462 w 421538"/>
                    <a:gd name="connsiteY10" fmla="*/ 80293 h 283369"/>
                    <a:gd name="connsiteX11" fmla="*/ 378462 w 421538"/>
                    <a:gd name="connsiteY11" fmla="*/ 274139 h 283369"/>
                    <a:gd name="connsiteX12" fmla="*/ 43078 w 421538"/>
                    <a:gd name="connsiteY12" fmla="*/ 274139 h 283369"/>
                    <a:gd name="connsiteX13" fmla="*/ 43078 w 421538"/>
                    <a:gd name="connsiteY13" fmla="*/ 83370 h 2833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21538" h="283369">
                      <a:moveTo>
                        <a:pt x="0" y="46447"/>
                      </a:moveTo>
                      <a:lnTo>
                        <a:pt x="0" y="283370"/>
                      </a:lnTo>
                      <a:lnTo>
                        <a:pt x="421539" y="283370"/>
                      </a:lnTo>
                      <a:lnTo>
                        <a:pt x="421539" y="40293"/>
                      </a:lnTo>
                      <a:cubicBezTo>
                        <a:pt x="421539" y="15678"/>
                        <a:pt x="403077" y="293"/>
                        <a:pt x="381539" y="293"/>
                      </a:cubicBezTo>
                      <a:lnTo>
                        <a:pt x="49231" y="293"/>
                      </a:lnTo>
                      <a:cubicBezTo>
                        <a:pt x="21539" y="-2784"/>
                        <a:pt x="0" y="18755"/>
                        <a:pt x="0" y="46447"/>
                      </a:cubicBezTo>
                      <a:close/>
                      <a:moveTo>
                        <a:pt x="43078" y="83370"/>
                      </a:moveTo>
                      <a:cubicBezTo>
                        <a:pt x="43078" y="61832"/>
                        <a:pt x="61538" y="46447"/>
                        <a:pt x="80000" y="46447"/>
                      </a:cubicBezTo>
                      <a:lnTo>
                        <a:pt x="344616" y="46447"/>
                      </a:lnTo>
                      <a:cubicBezTo>
                        <a:pt x="363077" y="46447"/>
                        <a:pt x="378462" y="61832"/>
                        <a:pt x="378462" y="80293"/>
                      </a:cubicBezTo>
                      <a:lnTo>
                        <a:pt x="378462" y="274139"/>
                      </a:lnTo>
                      <a:lnTo>
                        <a:pt x="43078" y="274139"/>
                      </a:lnTo>
                      <a:lnTo>
                        <a:pt x="43078" y="83370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0CB64245-D722-4357-A0F9-E44B6FB8A2CE}"/>
                    </a:ext>
                  </a:extLst>
                </p:cNvPr>
                <p:cNvSpPr/>
                <p:nvPr/>
              </p:nvSpPr>
              <p:spPr>
                <a:xfrm>
                  <a:off x="16559281" y="5162894"/>
                  <a:ext cx="1027692" cy="716923"/>
                </a:xfrm>
                <a:custGeom>
                  <a:avLst/>
                  <a:gdLst>
                    <a:gd name="connsiteX0" fmla="*/ 52308 w 1027692"/>
                    <a:gd name="connsiteY0" fmla="*/ 716923 h 716923"/>
                    <a:gd name="connsiteX1" fmla="*/ 963077 w 1027692"/>
                    <a:gd name="connsiteY1" fmla="*/ 713846 h 716923"/>
                    <a:gd name="connsiteX2" fmla="*/ 1024615 w 1027692"/>
                    <a:gd name="connsiteY2" fmla="*/ 655385 h 716923"/>
                    <a:gd name="connsiteX3" fmla="*/ 1027692 w 1027692"/>
                    <a:gd name="connsiteY3" fmla="*/ 52308 h 716923"/>
                    <a:gd name="connsiteX4" fmla="*/ 975385 w 1027692"/>
                    <a:gd name="connsiteY4" fmla="*/ 0 h 716923"/>
                    <a:gd name="connsiteX5" fmla="*/ 64616 w 1027692"/>
                    <a:gd name="connsiteY5" fmla="*/ 3077 h 716923"/>
                    <a:gd name="connsiteX6" fmla="*/ 3077 w 1027692"/>
                    <a:gd name="connsiteY6" fmla="*/ 61538 h 716923"/>
                    <a:gd name="connsiteX7" fmla="*/ 0 w 1027692"/>
                    <a:gd name="connsiteY7" fmla="*/ 664615 h 716923"/>
                    <a:gd name="connsiteX8" fmla="*/ 52308 w 1027692"/>
                    <a:gd name="connsiteY8" fmla="*/ 716923 h 7169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27692" h="716923">
                      <a:moveTo>
                        <a:pt x="52308" y="716923"/>
                      </a:moveTo>
                      <a:lnTo>
                        <a:pt x="963077" y="713846"/>
                      </a:lnTo>
                      <a:cubicBezTo>
                        <a:pt x="996923" y="713846"/>
                        <a:pt x="1021539" y="686154"/>
                        <a:pt x="1024615" y="655385"/>
                      </a:cubicBezTo>
                      <a:lnTo>
                        <a:pt x="1027692" y="52308"/>
                      </a:lnTo>
                      <a:cubicBezTo>
                        <a:pt x="1027692" y="21539"/>
                        <a:pt x="1006154" y="0"/>
                        <a:pt x="975385" y="0"/>
                      </a:cubicBezTo>
                      <a:lnTo>
                        <a:pt x="64616" y="3077"/>
                      </a:lnTo>
                      <a:cubicBezTo>
                        <a:pt x="30769" y="3077"/>
                        <a:pt x="6154" y="30769"/>
                        <a:pt x="3077" y="61538"/>
                      </a:cubicBezTo>
                      <a:lnTo>
                        <a:pt x="0" y="664615"/>
                      </a:lnTo>
                      <a:cubicBezTo>
                        <a:pt x="0" y="692308"/>
                        <a:pt x="21539" y="716923"/>
                        <a:pt x="52308" y="716923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AF886F8E-65C2-4D2B-B02E-C0CAB0893924}"/>
                    </a:ext>
                  </a:extLst>
                </p:cNvPr>
                <p:cNvSpPr/>
                <p:nvPr/>
              </p:nvSpPr>
              <p:spPr>
                <a:xfrm>
                  <a:off x="16639281" y="5159818"/>
                  <a:ext cx="1027692" cy="716923"/>
                </a:xfrm>
                <a:custGeom>
                  <a:avLst/>
                  <a:gdLst>
                    <a:gd name="connsiteX0" fmla="*/ 52307 w 1027692"/>
                    <a:gd name="connsiteY0" fmla="*/ 716923 h 716923"/>
                    <a:gd name="connsiteX1" fmla="*/ 963077 w 1027692"/>
                    <a:gd name="connsiteY1" fmla="*/ 713846 h 716923"/>
                    <a:gd name="connsiteX2" fmla="*/ 1024615 w 1027692"/>
                    <a:gd name="connsiteY2" fmla="*/ 655385 h 716923"/>
                    <a:gd name="connsiteX3" fmla="*/ 1027692 w 1027692"/>
                    <a:gd name="connsiteY3" fmla="*/ 52308 h 716923"/>
                    <a:gd name="connsiteX4" fmla="*/ 975384 w 1027692"/>
                    <a:gd name="connsiteY4" fmla="*/ 0 h 716923"/>
                    <a:gd name="connsiteX5" fmla="*/ 64616 w 1027692"/>
                    <a:gd name="connsiteY5" fmla="*/ 3077 h 716923"/>
                    <a:gd name="connsiteX6" fmla="*/ 3077 w 1027692"/>
                    <a:gd name="connsiteY6" fmla="*/ 61538 h 716923"/>
                    <a:gd name="connsiteX7" fmla="*/ 0 w 1027692"/>
                    <a:gd name="connsiteY7" fmla="*/ 664615 h 716923"/>
                    <a:gd name="connsiteX8" fmla="*/ 52307 w 1027692"/>
                    <a:gd name="connsiteY8" fmla="*/ 716923 h 7169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27692" h="716923">
                      <a:moveTo>
                        <a:pt x="52307" y="716923"/>
                      </a:moveTo>
                      <a:lnTo>
                        <a:pt x="963077" y="713846"/>
                      </a:lnTo>
                      <a:cubicBezTo>
                        <a:pt x="996923" y="713846"/>
                        <a:pt x="1021538" y="686154"/>
                        <a:pt x="1024615" y="655385"/>
                      </a:cubicBezTo>
                      <a:lnTo>
                        <a:pt x="1027692" y="52308"/>
                      </a:lnTo>
                      <a:cubicBezTo>
                        <a:pt x="1027692" y="21538"/>
                        <a:pt x="1006153" y="0"/>
                        <a:pt x="975384" y="0"/>
                      </a:cubicBezTo>
                      <a:lnTo>
                        <a:pt x="64616" y="3077"/>
                      </a:lnTo>
                      <a:cubicBezTo>
                        <a:pt x="30769" y="3077"/>
                        <a:pt x="6153" y="30769"/>
                        <a:pt x="3077" y="61538"/>
                      </a:cubicBezTo>
                      <a:lnTo>
                        <a:pt x="0" y="664615"/>
                      </a:lnTo>
                      <a:cubicBezTo>
                        <a:pt x="0" y="695385"/>
                        <a:pt x="24615" y="716923"/>
                        <a:pt x="52307" y="71692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BC30A154-D9D2-4869-8E38-084943D7B52F}"/>
                    </a:ext>
                  </a:extLst>
                </p:cNvPr>
                <p:cNvSpPr/>
                <p:nvPr/>
              </p:nvSpPr>
              <p:spPr>
                <a:xfrm>
                  <a:off x="16636204" y="5467510"/>
                  <a:ext cx="1036923" cy="12307"/>
                </a:xfrm>
                <a:custGeom>
                  <a:avLst/>
                  <a:gdLst>
                    <a:gd name="connsiteX0" fmla="*/ 6154 w 1036923"/>
                    <a:gd name="connsiteY0" fmla="*/ 12308 h 12307"/>
                    <a:gd name="connsiteX1" fmla="*/ 0 w 1036923"/>
                    <a:gd name="connsiteY1" fmla="*/ 6154 h 12307"/>
                    <a:gd name="connsiteX2" fmla="*/ 6154 w 1036923"/>
                    <a:gd name="connsiteY2" fmla="*/ 0 h 12307"/>
                    <a:gd name="connsiteX3" fmla="*/ 1030769 w 1036923"/>
                    <a:gd name="connsiteY3" fmla="*/ 0 h 12307"/>
                    <a:gd name="connsiteX4" fmla="*/ 1030769 w 1036923"/>
                    <a:gd name="connsiteY4" fmla="*/ 0 h 12307"/>
                    <a:gd name="connsiteX5" fmla="*/ 1036923 w 1036923"/>
                    <a:gd name="connsiteY5" fmla="*/ 6154 h 12307"/>
                    <a:gd name="connsiteX6" fmla="*/ 1030769 w 1036923"/>
                    <a:gd name="connsiteY6" fmla="*/ 12308 h 12307"/>
                    <a:gd name="connsiteX7" fmla="*/ 6154 w 1036923"/>
                    <a:gd name="connsiteY7" fmla="*/ 12308 h 12307"/>
                    <a:gd name="connsiteX8" fmla="*/ 6154 w 1036923"/>
                    <a:gd name="connsiteY8" fmla="*/ 12308 h 1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36923" h="12307">
                      <a:moveTo>
                        <a:pt x="6154" y="12308"/>
                      </a:moveTo>
                      <a:cubicBezTo>
                        <a:pt x="3077" y="12308"/>
                        <a:pt x="0" y="9231"/>
                        <a:pt x="0" y="6154"/>
                      </a:cubicBezTo>
                      <a:cubicBezTo>
                        <a:pt x="0" y="3077"/>
                        <a:pt x="3077" y="0"/>
                        <a:pt x="6154" y="0"/>
                      </a:cubicBezTo>
                      <a:lnTo>
                        <a:pt x="1030769" y="0"/>
                      </a:lnTo>
                      <a:lnTo>
                        <a:pt x="1030769" y="0"/>
                      </a:lnTo>
                      <a:cubicBezTo>
                        <a:pt x="1033846" y="0"/>
                        <a:pt x="1036923" y="3077"/>
                        <a:pt x="1036923" y="6154"/>
                      </a:cubicBezTo>
                      <a:cubicBezTo>
                        <a:pt x="1036923" y="9231"/>
                        <a:pt x="1033846" y="12308"/>
                        <a:pt x="1030769" y="12308"/>
                      </a:cubicBezTo>
                      <a:lnTo>
                        <a:pt x="6154" y="12308"/>
                      </a:lnTo>
                      <a:lnTo>
                        <a:pt x="6154" y="12308"/>
                      </a:lnTo>
                      <a:close/>
                    </a:path>
                  </a:pathLst>
                </a:custGeom>
                <a:solidFill>
                  <a:srgbClr val="38343B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6F462E01-3DFD-47A7-920B-94462F47D5EC}"/>
                    </a:ext>
                  </a:extLst>
                </p:cNvPr>
                <p:cNvSpPr/>
                <p:nvPr/>
              </p:nvSpPr>
              <p:spPr>
                <a:xfrm>
                  <a:off x="16636204" y="5270587"/>
                  <a:ext cx="12307" cy="473846"/>
                </a:xfrm>
                <a:custGeom>
                  <a:avLst/>
                  <a:gdLst>
                    <a:gd name="connsiteX0" fmla="*/ 6154 w 12307"/>
                    <a:gd name="connsiteY0" fmla="*/ 473846 h 473846"/>
                    <a:gd name="connsiteX1" fmla="*/ 0 w 12307"/>
                    <a:gd name="connsiteY1" fmla="*/ 467692 h 473846"/>
                    <a:gd name="connsiteX2" fmla="*/ 0 w 12307"/>
                    <a:gd name="connsiteY2" fmla="*/ 6154 h 473846"/>
                    <a:gd name="connsiteX3" fmla="*/ 6154 w 12307"/>
                    <a:gd name="connsiteY3" fmla="*/ 0 h 473846"/>
                    <a:gd name="connsiteX4" fmla="*/ 12308 w 12307"/>
                    <a:gd name="connsiteY4" fmla="*/ 6154 h 473846"/>
                    <a:gd name="connsiteX5" fmla="*/ 12308 w 12307"/>
                    <a:gd name="connsiteY5" fmla="*/ 467692 h 473846"/>
                    <a:gd name="connsiteX6" fmla="*/ 6154 w 12307"/>
                    <a:gd name="connsiteY6" fmla="*/ 473846 h 473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307" h="473846">
                      <a:moveTo>
                        <a:pt x="6154" y="473846"/>
                      </a:moveTo>
                      <a:cubicBezTo>
                        <a:pt x="3077" y="473846"/>
                        <a:pt x="0" y="470769"/>
                        <a:pt x="0" y="467692"/>
                      </a:cubicBezTo>
                      <a:lnTo>
                        <a:pt x="0" y="6154"/>
                      </a:lnTo>
                      <a:cubicBezTo>
                        <a:pt x="0" y="3077"/>
                        <a:pt x="3077" y="0"/>
                        <a:pt x="6154" y="0"/>
                      </a:cubicBezTo>
                      <a:cubicBezTo>
                        <a:pt x="9230" y="0"/>
                        <a:pt x="12308" y="3077"/>
                        <a:pt x="12308" y="6154"/>
                      </a:cubicBezTo>
                      <a:lnTo>
                        <a:pt x="12308" y="467692"/>
                      </a:lnTo>
                      <a:cubicBezTo>
                        <a:pt x="12308" y="470769"/>
                        <a:pt x="9230" y="473846"/>
                        <a:pt x="6154" y="473846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20" name="图形 1">
                <a:extLst>
                  <a:ext uri="{FF2B5EF4-FFF2-40B4-BE49-F238E27FC236}">
                    <a16:creationId xmlns:a16="http://schemas.microsoft.com/office/drawing/2014/main" id="{C623A950-EC5B-4F12-A37E-AD79BBF2E433}"/>
                  </a:ext>
                </a:extLst>
              </p:cNvPr>
              <p:cNvGrpSpPr/>
              <p:nvPr/>
            </p:nvGrpSpPr>
            <p:grpSpPr>
              <a:xfrm>
                <a:off x="16894665" y="5227510"/>
                <a:ext cx="510769" cy="510769"/>
                <a:chOff x="16894665" y="5227510"/>
                <a:chExt cx="510769" cy="510769"/>
              </a:xfrm>
            </p:grpSpPr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AA19C383-8D8E-4FFF-9D18-4063EE749CD1}"/>
                    </a:ext>
                  </a:extLst>
                </p:cNvPr>
                <p:cNvSpPr/>
                <p:nvPr/>
              </p:nvSpPr>
              <p:spPr>
                <a:xfrm>
                  <a:off x="16894665" y="5227510"/>
                  <a:ext cx="510769" cy="510769"/>
                </a:xfrm>
                <a:custGeom>
                  <a:avLst/>
                  <a:gdLst>
                    <a:gd name="connsiteX0" fmla="*/ 510769 w 510769"/>
                    <a:gd name="connsiteY0" fmla="*/ 255385 h 510769"/>
                    <a:gd name="connsiteX1" fmla="*/ 255385 w 510769"/>
                    <a:gd name="connsiteY1" fmla="*/ 510769 h 510769"/>
                    <a:gd name="connsiteX2" fmla="*/ 0 w 510769"/>
                    <a:gd name="connsiteY2" fmla="*/ 255385 h 510769"/>
                    <a:gd name="connsiteX3" fmla="*/ 255385 w 510769"/>
                    <a:gd name="connsiteY3" fmla="*/ 0 h 510769"/>
                    <a:gd name="connsiteX4" fmla="*/ 510769 w 510769"/>
                    <a:gd name="connsiteY4" fmla="*/ 255385 h 5107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0769" h="510769">
                      <a:moveTo>
                        <a:pt x="510769" y="255385"/>
                      </a:moveTo>
                      <a:cubicBezTo>
                        <a:pt x="510769" y="396923"/>
                        <a:pt x="396923" y="510769"/>
                        <a:pt x="255385" y="510769"/>
                      </a:cubicBezTo>
                      <a:cubicBezTo>
                        <a:pt x="113847" y="510769"/>
                        <a:pt x="0" y="396923"/>
                        <a:pt x="0" y="255385"/>
                      </a:cubicBezTo>
                      <a:cubicBezTo>
                        <a:pt x="0" y="113846"/>
                        <a:pt x="113847" y="0"/>
                        <a:pt x="255385" y="0"/>
                      </a:cubicBezTo>
                      <a:cubicBezTo>
                        <a:pt x="396923" y="3077"/>
                        <a:pt x="510769" y="116923"/>
                        <a:pt x="510769" y="255385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5DF392A9-DC5E-452D-9A45-61E9A2B20F88}"/>
                    </a:ext>
                  </a:extLst>
                </p:cNvPr>
                <p:cNvSpPr/>
                <p:nvPr/>
              </p:nvSpPr>
              <p:spPr>
                <a:xfrm>
                  <a:off x="16999281" y="5332125"/>
                  <a:ext cx="304616" cy="304615"/>
                </a:xfrm>
                <a:custGeom>
                  <a:avLst/>
                  <a:gdLst>
                    <a:gd name="connsiteX0" fmla="*/ 304616 w 304616"/>
                    <a:gd name="connsiteY0" fmla="*/ 110769 h 304615"/>
                    <a:gd name="connsiteX1" fmla="*/ 193847 w 304616"/>
                    <a:gd name="connsiteY1" fmla="*/ 110769 h 304615"/>
                    <a:gd name="connsiteX2" fmla="*/ 193847 w 304616"/>
                    <a:gd name="connsiteY2" fmla="*/ 0 h 304615"/>
                    <a:gd name="connsiteX3" fmla="*/ 113847 w 304616"/>
                    <a:gd name="connsiteY3" fmla="*/ 0 h 304615"/>
                    <a:gd name="connsiteX4" fmla="*/ 110769 w 304616"/>
                    <a:gd name="connsiteY4" fmla="*/ 110769 h 304615"/>
                    <a:gd name="connsiteX5" fmla="*/ 0 w 304616"/>
                    <a:gd name="connsiteY5" fmla="*/ 110769 h 304615"/>
                    <a:gd name="connsiteX6" fmla="*/ 0 w 304616"/>
                    <a:gd name="connsiteY6" fmla="*/ 190769 h 304615"/>
                    <a:gd name="connsiteX7" fmla="*/ 110769 w 304616"/>
                    <a:gd name="connsiteY7" fmla="*/ 190769 h 304615"/>
                    <a:gd name="connsiteX8" fmla="*/ 110769 w 304616"/>
                    <a:gd name="connsiteY8" fmla="*/ 301539 h 304615"/>
                    <a:gd name="connsiteX9" fmla="*/ 193847 w 304616"/>
                    <a:gd name="connsiteY9" fmla="*/ 304615 h 304615"/>
                    <a:gd name="connsiteX10" fmla="*/ 193847 w 304616"/>
                    <a:gd name="connsiteY10" fmla="*/ 190769 h 304615"/>
                    <a:gd name="connsiteX11" fmla="*/ 304616 w 304616"/>
                    <a:gd name="connsiteY11" fmla="*/ 190769 h 304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04616" h="304615">
                      <a:moveTo>
                        <a:pt x="304616" y="110769"/>
                      </a:moveTo>
                      <a:lnTo>
                        <a:pt x="193847" y="110769"/>
                      </a:lnTo>
                      <a:lnTo>
                        <a:pt x="193847" y="0"/>
                      </a:lnTo>
                      <a:lnTo>
                        <a:pt x="113847" y="0"/>
                      </a:lnTo>
                      <a:lnTo>
                        <a:pt x="110769" y="110769"/>
                      </a:lnTo>
                      <a:lnTo>
                        <a:pt x="0" y="110769"/>
                      </a:lnTo>
                      <a:lnTo>
                        <a:pt x="0" y="190769"/>
                      </a:lnTo>
                      <a:lnTo>
                        <a:pt x="110769" y="190769"/>
                      </a:lnTo>
                      <a:lnTo>
                        <a:pt x="110769" y="301539"/>
                      </a:lnTo>
                      <a:lnTo>
                        <a:pt x="193847" y="304615"/>
                      </a:lnTo>
                      <a:lnTo>
                        <a:pt x="193847" y="190769"/>
                      </a:lnTo>
                      <a:lnTo>
                        <a:pt x="304616" y="190769"/>
                      </a:lnTo>
                      <a:close/>
                    </a:path>
                  </a:pathLst>
                </a:custGeom>
                <a:solidFill>
                  <a:srgbClr val="7F95BC"/>
                </a:solidFill>
                <a:ln w="3075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C5F636DE-1D46-464E-873C-08E43C7C36C4}"/>
                </a:ext>
              </a:extLst>
            </p:cNvPr>
            <p:cNvSpPr/>
            <p:nvPr/>
          </p:nvSpPr>
          <p:spPr>
            <a:xfrm>
              <a:off x="17051220" y="4864998"/>
              <a:ext cx="209599" cy="298147"/>
            </a:xfrm>
            <a:custGeom>
              <a:avLst/>
              <a:gdLst>
                <a:gd name="connsiteX0" fmla="*/ 144985 w 209599"/>
                <a:gd name="connsiteY0" fmla="*/ 2512 h 298147"/>
                <a:gd name="connsiteX1" fmla="*/ 15754 w 209599"/>
                <a:gd name="connsiteY1" fmla="*/ 27127 h 298147"/>
                <a:gd name="connsiteX2" fmla="*/ 3446 w 209599"/>
                <a:gd name="connsiteY2" fmla="*/ 242512 h 298147"/>
                <a:gd name="connsiteX3" fmla="*/ 28061 w 209599"/>
                <a:gd name="connsiteY3" fmla="*/ 297896 h 298147"/>
                <a:gd name="connsiteX4" fmla="*/ 61907 w 209599"/>
                <a:gd name="connsiteY4" fmla="*/ 285589 h 298147"/>
                <a:gd name="connsiteX5" fmla="*/ 114216 w 209599"/>
                <a:gd name="connsiteY5" fmla="*/ 279435 h 298147"/>
                <a:gd name="connsiteX6" fmla="*/ 144985 w 209599"/>
                <a:gd name="connsiteY6" fmla="*/ 282512 h 298147"/>
                <a:gd name="connsiteX7" fmla="*/ 166523 w 209599"/>
                <a:gd name="connsiteY7" fmla="*/ 248666 h 298147"/>
                <a:gd name="connsiteX8" fmla="*/ 209599 w 209599"/>
                <a:gd name="connsiteY8" fmla="*/ 220973 h 298147"/>
                <a:gd name="connsiteX9" fmla="*/ 184984 w 209599"/>
                <a:gd name="connsiteY9" fmla="*/ 144050 h 298147"/>
                <a:gd name="connsiteX10" fmla="*/ 172677 w 209599"/>
                <a:gd name="connsiteY10" fmla="*/ 45589 h 298147"/>
                <a:gd name="connsiteX11" fmla="*/ 144985 w 209599"/>
                <a:gd name="connsiteY11" fmla="*/ 2512 h 298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599" h="298147">
                  <a:moveTo>
                    <a:pt x="144985" y="2512"/>
                  </a:moveTo>
                  <a:cubicBezTo>
                    <a:pt x="104984" y="-9796"/>
                    <a:pt x="15754" y="27127"/>
                    <a:pt x="15754" y="27127"/>
                  </a:cubicBezTo>
                  <a:cubicBezTo>
                    <a:pt x="15754" y="116358"/>
                    <a:pt x="-8861" y="153281"/>
                    <a:pt x="3446" y="242512"/>
                  </a:cubicBezTo>
                  <a:cubicBezTo>
                    <a:pt x="6523" y="257897"/>
                    <a:pt x="-5785" y="291743"/>
                    <a:pt x="28061" y="297896"/>
                  </a:cubicBezTo>
                  <a:cubicBezTo>
                    <a:pt x="37292" y="297896"/>
                    <a:pt x="55753" y="300973"/>
                    <a:pt x="61907" y="285589"/>
                  </a:cubicBezTo>
                  <a:cubicBezTo>
                    <a:pt x="74215" y="304050"/>
                    <a:pt x="114216" y="294819"/>
                    <a:pt x="114216" y="279435"/>
                  </a:cubicBezTo>
                  <a:cubicBezTo>
                    <a:pt x="120369" y="282512"/>
                    <a:pt x="138831" y="285589"/>
                    <a:pt x="144985" y="282512"/>
                  </a:cubicBezTo>
                  <a:cubicBezTo>
                    <a:pt x="160369" y="273281"/>
                    <a:pt x="169600" y="267127"/>
                    <a:pt x="166523" y="248666"/>
                  </a:cubicBezTo>
                  <a:cubicBezTo>
                    <a:pt x="188061" y="254819"/>
                    <a:pt x="209599" y="248666"/>
                    <a:pt x="209599" y="220973"/>
                  </a:cubicBezTo>
                  <a:cubicBezTo>
                    <a:pt x="209599" y="187127"/>
                    <a:pt x="191139" y="177896"/>
                    <a:pt x="184984" y="144050"/>
                  </a:cubicBezTo>
                  <a:cubicBezTo>
                    <a:pt x="178830" y="113281"/>
                    <a:pt x="178830" y="79435"/>
                    <a:pt x="172677" y="45589"/>
                  </a:cubicBezTo>
                  <a:cubicBezTo>
                    <a:pt x="172677" y="17896"/>
                    <a:pt x="169600" y="11743"/>
                    <a:pt x="144985" y="2512"/>
                  </a:cubicBezTo>
                  <a:close/>
                </a:path>
              </a:pathLst>
            </a:custGeom>
            <a:solidFill>
              <a:srgbClr val="F5A398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15F2A499-6368-4897-8540-6ADB5E2E9189}"/>
                </a:ext>
              </a:extLst>
            </p:cNvPr>
            <p:cNvSpPr/>
            <p:nvPr/>
          </p:nvSpPr>
          <p:spPr>
            <a:xfrm>
              <a:off x="16586190" y="3673299"/>
              <a:ext cx="661410" cy="1259851"/>
            </a:xfrm>
            <a:custGeom>
              <a:avLst/>
              <a:gdLst>
                <a:gd name="connsiteX0" fmla="*/ 111552 w 661410"/>
                <a:gd name="connsiteY0" fmla="*/ 378826 h 1259851"/>
                <a:gd name="connsiteX1" fmla="*/ 345398 w 661410"/>
                <a:gd name="connsiteY1" fmla="*/ 652672 h 1259851"/>
                <a:gd name="connsiteX2" fmla="*/ 462321 w 661410"/>
                <a:gd name="connsiteY2" fmla="*/ 1243441 h 1259851"/>
                <a:gd name="connsiteX3" fmla="*/ 653091 w 661410"/>
                <a:gd name="connsiteY3" fmla="*/ 1234211 h 1259851"/>
                <a:gd name="connsiteX4" fmla="*/ 610014 w 661410"/>
                <a:gd name="connsiteY4" fmla="*/ 544980 h 1259851"/>
                <a:gd name="connsiteX5" fmla="*/ 290013 w 661410"/>
                <a:gd name="connsiteY5" fmla="*/ 89595 h 1259851"/>
                <a:gd name="connsiteX6" fmla="*/ 28475 w 661410"/>
                <a:gd name="connsiteY6" fmla="*/ 15749 h 1259851"/>
                <a:gd name="connsiteX7" fmla="*/ 111552 w 661410"/>
                <a:gd name="connsiteY7" fmla="*/ 378826 h 1259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1410" h="1259851">
                  <a:moveTo>
                    <a:pt x="111552" y="378826"/>
                  </a:moveTo>
                  <a:cubicBezTo>
                    <a:pt x="170013" y="446518"/>
                    <a:pt x="299245" y="572672"/>
                    <a:pt x="345398" y="652672"/>
                  </a:cubicBezTo>
                  <a:cubicBezTo>
                    <a:pt x="413090" y="766518"/>
                    <a:pt x="456168" y="1240364"/>
                    <a:pt x="462321" y="1243441"/>
                  </a:cubicBezTo>
                  <a:cubicBezTo>
                    <a:pt x="530014" y="1268057"/>
                    <a:pt x="591552" y="1264980"/>
                    <a:pt x="653091" y="1234211"/>
                  </a:cubicBezTo>
                  <a:cubicBezTo>
                    <a:pt x="662321" y="1231133"/>
                    <a:pt x="677706" y="757287"/>
                    <a:pt x="610014" y="544980"/>
                  </a:cubicBezTo>
                  <a:cubicBezTo>
                    <a:pt x="588475" y="480364"/>
                    <a:pt x="425399" y="203441"/>
                    <a:pt x="290013" y="89595"/>
                  </a:cubicBezTo>
                  <a:cubicBezTo>
                    <a:pt x="222322" y="34210"/>
                    <a:pt x="74629" y="-30405"/>
                    <a:pt x="28475" y="15749"/>
                  </a:cubicBezTo>
                  <a:cubicBezTo>
                    <a:pt x="-42294" y="95749"/>
                    <a:pt x="31552" y="286518"/>
                    <a:pt x="111552" y="378826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A3D461B3-C1C0-432E-9D37-D981AABA597B}"/>
                </a:ext>
              </a:extLst>
            </p:cNvPr>
            <p:cNvSpPr/>
            <p:nvPr/>
          </p:nvSpPr>
          <p:spPr>
            <a:xfrm>
              <a:off x="17042016" y="5017005"/>
              <a:ext cx="76496" cy="152043"/>
            </a:xfrm>
            <a:custGeom>
              <a:avLst/>
              <a:gdLst>
                <a:gd name="connsiteX0" fmla="*/ 37265 w 76496"/>
                <a:gd name="connsiteY0" fmla="*/ 152044 h 152043"/>
                <a:gd name="connsiteX1" fmla="*/ 31112 w 76496"/>
                <a:gd name="connsiteY1" fmla="*/ 152044 h 152043"/>
                <a:gd name="connsiteX2" fmla="*/ 9573 w 76496"/>
                <a:gd name="connsiteY2" fmla="*/ 136659 h 152043"/>
                <a:gd name="connsiteX3" fmla="*/ 9573 w 76496"/>
                <a:gd name="connsiteY3" fmla="*/ 4351 h 152043"/>
                <a:gd name="connsiteX4" fmla="*/ 15727 w 76496"/>
                <a:gd name="connsiteY4" fmla="*/ 1274 h 152043"/>
                <a:gd name="connsiteX5" fmla="*/ 18803 w 76496"/>
                <a:gd name="connsiteY5" fmla="*/ 7428 h 152043"/>
                <a:gd name="connsiteX6" fmla="*/ 18803 w 76496"/>
                <a:gd name="connsiteY6" fmla="*/ 130505 h 152043"/>
                <a:gd name="connsiteX7" fmla="*/ 31112 w 76496"/>
                <a:gd name="connsiteY7" fmla="*/ 139736 h 152043"/>
                <a:gd name="connsiteX8" fmla="*/ 64957 w 76496"/>
                <a:gd name="connsiteY8" fmla="*/ 127428 h 152043"/>
                <a:gd name="connsiteX9" fmla="*/ 74188 w 76496"/>
                <a:gd name="connsiteY9" fmla="*/ 127428 h 152043"/>
                <a:gd name="connsiteX10" fmla="*/ 74188 w 76496"/>
                <a:gd name="connsiteY10" fmla="*/ 136659 h 152043"/>
                <a:gd name="connsiteX11" fmla="*/ 37265 w 76496"/>
                <a:gd name="connsiteY11" fmla="*/ 152044 h 152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496" h="152043">
                  <a:moveTo>
                    <a:pt x="37265" y="152044"/>
                  </a:moveTo>
                  <a:cubicBezTo>
                    <a:pt x="34188" y="152044"/>
                    <a:pt x="34188" y="152044"/>
                    <a:pt x="31112" y="152044"/>
                  </a:cubicBezTo>
                  <a:cubicBezTo>
                    <a:pt x="21880" y="148967"/>
                    <a:pt x="15727" y="145890"/>
                    <a:pt x="9573" y="136659"/>
                  </a:cubicBezTo>
                  <a:cubicBezTo>
                    <a:pt x="-11966" y="96659"/>
                    <a:pt x="9573" y="10505"/>
                    <a:pt x="9573" y="4351"/>
                  </a:cubicBezTo>
                  <a:cubicBezTo>
                    <a:pt x="9573" y="1274"/>
                    <a:pt x="12650" y="-1802"/>
                    <a:pt x="15727" y="1274"/>
                  </a:cubicBezTo>
                  <a:cubicBezTo>
                    <a:pt x="18803" y="1274"/>
                    <a:pt x="21880" y="4351"/>
                    <a:pt x="18803" y="7428"/>
                  </a:cubicBezTo>
                  <a:cubicBezTo>
                    <a:pt x="18803" y="7428"/>
                    <a:pt x="342" y="93582"/>
                    <a:pt x="18803" y="130505"/>
                  </a:cubicBezTo>
                  <a:cubicBezTo>
                    <a:pt x="21880" y="136659"/>
                    <a:pt x="24957" y="139736"/>
                    <a:pt x="31112" y="139736"/>
                  </a:cubicBezTo>
                  <a:cubicBezTo>
                    <a:pt x="43419" y="142813"/>
                    <a:pt x="58804" y="130505"/>
                    <a:pt x="64957" y="127428"/>
                  </a:cubicBezTo>
                  <a:cubicBezTo>
                    <a:pt x="68034" y="124351"/>
                    <a:pt x="71111" y="124351"/>
                    <a:pt x="74188" y="127428"/>
                  </a:cubicBezTo>
                  <a:cubicBezTo>
                    <a:pt x="77266" y="130505"/>
                    <a:pt x="77266" y="133582"/>
                    <a:pt x="74188" y="136659"/>
                  </a:cubicBezTo>
                  <a:cubicBezTo>
                    <a:pt x="74188" y="136659"/>
                    <a:pt x="55727" y="152044"/>
                    <a:pt x="37265" y="152044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CB65CA65-F67C-4060-885F-851356EBE821}"/>
                </a:ext>
              </a:extLst>
            </p:cNvPr>
            <p:cNvSpPr/>
            <p:nvPr/>
          </p:nvSpPr>
          <p:spPr>
            <a:xfrm>
              <a:off x="17122358" y="5073664"/>
              <a:ext cx="89231" cy="43076"/>
            </a:xfrm>
            <a:custGeom>
              <a:avLst/>
              <a:gdLst>
                <a:gd name="connsiteX0" fmla="*/ 6154 w 89231"/>
                <a:gd name="connsiteY0" fmla="*/ 43077 h 43076"/>
                <a:gd name="connsiteX1" fmla="*/ 0 w 89231"/>
                <a:gd name="connsiteY1" fmla="*/ 36923 h 43076"/>
                <a:gd name="connsiteX2" fmla="*/ 6154 w 89231"/>
                <a:gd name="connsiteY2" fmla="*/ 30769 h 43076"/>
                <a:gd name="connsiteX3" fmla="*/ 80000 w 89231"/>
                <a:gd name="connsiteY3" fmla="*/ 0 h 43076"/>
                <a:gd name="connsiteX4" fmla="*/ 89232 w 89231"/>
                <a:gd name="connsiteY4" fmla="*/ 3077 h 43076"/>
                <a:gd name="connsiteX5" fmla="*/ 86154 w 89231"/>
                <a:gd name="connsiteY5" fmla="*/ 12308 h 43076"/>
                <a:gd name="connsiteX6" fmla="*/ 6154 w 89231"/>
                <a:gd name="connsiteY6" fmla="*/ 43077 h 43076"/>
                <a:gd name="connsiteX7" fmla="*/ 6154 w 89231"/>
                <a:gd name="connsiteY7" fmla="*/ 43077 h 4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231" h="43076">
                  <a:moveTo>
                    <a:pt x="6154" y="43077"/>
                  </a:moveTo>
                  <a:cubicBezTo>
                    <a:pt x="3077" y="43077"/>
                    <a:pt x="0" y="40000"/>
                    <a:pt x="0" y="36923"/>
                  </a:cubicBezTo>
                  <a:cubicBezTo>
                    <a:pt x="0" y="33846"/>
                    <a:pt x="3077" y="30769"/>
                    <a:pt x="6154" y="30769"/>
                  </a:cubicBezTo>
                  <a:cubicBezTo>
                    <a:pt x="21539" y="30769"/>
                    <a:pt x="64616" y="9231"/>
                    <a:pt x="80000" y="0"/>
                  </a:cubicBezTo>
                  <a:cubicBezTo>
                    <a:pt x="83077" y="0"/>
                    <a:pt x="86154" y="0"/>
                    <a:pt x="89232" y="3077"/>
                  </a:cubicBezTo>
                  <a:cubicBezTo>
                    <a:pt x="89232" y="6154"/>
                    <a:pt x="89232" y="9231"/>
                    <a:pt x="86154" y="12308"/>
                  </a:cubicBezTo>
                  <a:cubicBezTo>
                    <a:pt x="80000" y="12308"/>
                    <a:pt x="27693" y="40000"/>
                    <a:pt x="6154" y="43077"/>
                  </a:cubicBezTo>
                  <a:cubicBezTo>
                    <a:pt x="6154" y="43077"/>
                    <a:pt x="6154" y="43077"/>
                    <a:pt x="6154" y="43077"/>
                  </a:cubicBezTo>
                  <a:close/>
                </a:path>
              </a:pathLst>
            </a:custGeom>
            <a:solidFill>
              <a:srgbClr val="E58777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8C00AC71-090D-442F-8CEB-9EFCFA42005E}"/>
                </a:ext>
              </a:extLst>
            </p:cNvPr>
            <p:cNvSpPr/>
            <p:nvPr/>
          </p:nvSpPr>
          <p:spPr>
            <a:xfrm>
              <a:off x="16584261" y="3686741"/>
              <a:ext cx="223481" cy="488461"/>
            </a:xfrm>
            <a:custGeom>
              <a:avLst/>
              <a:gdLst>
                <a:gd name="connsiteX0" fmla="*/ 218097 w 223481"/>
                <a:gd name="connsiteY0" fmla="*/ 485385 h 488461"/>
                <a:gd name="connsiteX1" fmla="*/ 215020 w 223481"/>
                <a:gd name="connsiteY1" fmla="*/ 485385 h 488461"/>
                <a:gd name="connsiteX2" fmla="*/ 30405 w 223481"/>
                <a:gd name="connsiteY2" fmla="*/ 239231 h 488461"/>
                <a:gd name="connsiteX3" fmla="*/ 24251 w 223481"/>
                <a:gd name="connsiteY3" fmla="*/ 2308 h 488461"/>
                <a:gd name="connsiteX4" fmla="*/ 33482 w 223481"/>
                <a:gd name="connsiteY4" fmla="*/ 2308 h 488461"/>
                <a:gd name="connsiteX5" fmla="*/ 33482 w 223481"/>
                <a:gd name="connsiteY5" fmla="*/ 11538 h 488461"/>
                <a:gd name="connsiteX6" fmla="*/ 39636 w 223481"/>
                <a:gd name="connsiteY6" fmla="*/ 236154 h 488461"/>
                <a:gd name="connsiteX7" fmla="*/ 221174 w 223481"/>
                <a:gd name="connsiteY7" fmla="*/ 479231 h 488461"/>
                <a:gd name="connsiteX8" fmla="*/ 221174 w 223481"/>
                <a:gd name="connsiteY8" fmla="*/ 488462 h 488461"/>
                <a:gd name="connsiteX9" fmla="*/ 218097 w 223481"/>
                <a:gd name="connsiteY9" fmla="*/ 485385 h 48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481" h="488461">
                  <a:moveTo>
                    <a:pt x="218097" y="485385"/>
                  </a:moveTo>
                  <a:cubicBezTo>
                    <a:pt x="218097" y="485385"/>
                    <a:pt x="215020" y="485385"/>
                    <a:pt x="215020" y="485385"/>
                  </a:cubicBezTo>
                  <a:cubicBezTo>
                    <a:pt x="215020" y="485385"/>
                    <a:pt x="95020" y="393077"/>
                    <a:pt x="30405" y="239231"/>
                  </a:cubicBezTo>
                  <a:cubicBezTo>
                    <a:pt x="-34210" y="85385"/>
                    <a:pt x="24251" y="5385"/>
                    <a:pt x="24251" y="2308"/>
                  </a:cubicBezTo>
                  <a:cubicBezTo>
                    <a:pt x="27328" y="-769"/>
                    <a:pt x="30405" y="-769"/>
                    <a:pt x="33482" y="2308"/>
                  </a:cubicBezTo>
                  <a:cubicBezTo>
                    <a:pt x="36559" y="5385"/>
                    <a:pt x="36559" y="8462"/>
                    <a:pt x="33482" y="11538"/>
                  </a:cubicBezTo>
                  <a:cubicBezTo>
                    <a:pt x="33482" y="11538"/>
                    <a:pt x="-21903" y="88462"/>
                    <a:pt x="39636" y="236154"/>
                  </a:cubicBezTo>
                  <a:cubicBezTo>
                    <a:pt x="104251" y="386923"/>
                    <a:pt x="221174" y="476154"/>
                    <a:pt x="221174" y="479231"/>
                  </a:cubicBezTo>
                  <a:cubicBezTo>
                    <a:pt x="224251" y="482308"/>
                    <a:pt x="224251" y="485385"/>
                    <a:pt x="221174" y="488462"/>
                  </a:cubicBezTo>
                  <a:cubicBezTo>
                    <a:pt x="221174" y="485385"/>
                    <a:pt x="221174" y="485385"/>
                    <a:pt x="218097" y="485385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2A709247-8BFC-4A78-9A23-7B3A2D808DA8}"/>
                </a:ext>
              </a:extLst>
            </p:cNvPr>
            <p:cNvSpPr/>
            <p:nvPr/>
          </p:nvSpPr>
          <p:spPr>
            <a:xfrm>
              <a:off x="15895301" y="3630587"/>
              <a:ext cx="368594" cy="2193846"/>
            </a:xfrm>
            <a:custGeom>
              <a:avLst/>
              <a:gdLst>
                <a:gd name="connsiteX0" fmla="*/ 30133 w 368594"/>
                <a:gd name="connsiteY0" fmla="*/ 495385 h 2193846"/>
                <a:gd name="connsiteX1" fmla="*/ 60903 w 368594"/>
                <a:gd name="connsiteY1" fmla="*/ 729231 h 2193846"/>
                <a:gd name="connsiteX2" fmla="*/ 57825 w 368594"/>
                <a:gd name="connsiteY2" fmla="*/ 963077 h 2193846"/>
                <a:gd name="connsiteX3" fmla="*/ 48595 w 368594"/>
                <a:gd name="connsiteY3" fmla="*/ 1116923 h 2193846"/>
                <a:gd name="connsiteX4" fmla="*/ 2441 w 368594"/>
                <a:gd name="connsiteY4" fmla="*/ 2193846 h 2193846"/>
                <a:gd name="connsiteX5" fmla="*/ 156287 w 368594"/>
                <a:gd name="connsiteY5" fmla="*/ 2193846 h 2193846"/>
                <a:gd name="connsiteX6" fmla="*/ 153210 w 368594"/>
                <a:gd name="connsiteY6" fmla="*/ 1089231 h 2193846"/>
                <a:gd name="connsiteX7" fmla="*/ 171672 w 368594"/>
                <a:gd name="connsiteY7" fmla="*/ 741539 h 2193846"/>
                <a:gd name="connsiteX8" fmla="*/ 343980 w 368594"/>
                <a:gd name="connsiteY8" fmla="*/ 18462 h 2193846"/>
                <a:gd name="connsiteX9" fmla="*/ 368595 w 368594"/>
                <a:gd name="connsiteY9" fmla="*/ 0 h 2193846"/>
                <a:gd name="connsiteX10" fmla="*/ 30133 w 368594"/>
                <a:gd name="connsiteY10" fmla="*/ 495385 h 219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8594" h="2193846">
                  <a:moveTo>
                    <a:pt x="30133" y="495385"/>
                  </a:moveTo>
                  <a:cubicBezTo>
                    <a:pt x="39365" y="575385"/>
                    <a:pt x="57825" y="649231"/>
                    <a:pt x="60903" y="729231"/>
                  </a:cubicBezTo>
                  <a:cubicBezTo>
                    <a:pt x="63980" y="806154"/>
                    <a:pt x="60903" y="886154"/>
                    <a:pt x="57825" y="963077"/>
                  </a:cubicBezTo>
                  <a:cubicBezTo>
                    <a:pt x="54749" y="1015385"/>
                    <a:pt x="54749" y="1067692"/>
                    <a:pt x="48595" y="1116923"/>
                  </a:cubicBezTo>
                  <a:cubicBezTo>
                    <a:pt x="-16020" y="1476923"/>
                    <a:pt x="2441" y="2193846"/>
                    <a:pt x="2441" y="2193846"/>
                  </a:cubicBezTo>
                  <a:lnTo>
                    <a:pt x="156287" y="2193846"/>
                  </a:lnTo>
                  <a:cubicBezTo>
                    <a:pt x="113211" y="1929231"/>
                    <a:pt x="153210" y="1089231"/>
                    <a:pt x="153210" y="1089231"/>
                  </a:cubicBezTo>
                  <a:cubicBezTo>
                    <a:pt x="193211" y="975385"/>
                    <a:pt x="183980" y="861539"/>
                    <a:pt x="171672" y="741539"/>
                  </a:cubicBezTo>
                  <a:cubicBezTo>
                    <a:pt x="143980" y="483077"/>
                    <a:pt x="183980" y="230769"/>
                    <a:pt x="343980" y="18462"/>
                  </a:cubicBezTo>
                  <a:cubicBezTo>
                    <a:pt x="347057" y="15385"/>
                    <a:pt x="356287" y="15385"/>
                    <a:pt x="368595" y="0"/>
                  </a:cubicBezTo>
                  <a:cubicBezTo>
                    <a:pt x="107056" y="3077"/>
                    <a:pt x="5518" y="280000"/>
                    <a:pt x="30133" y="495385"/>
                  </a:cubicBezTo>
                  <a:close/>
                </a:path>
              </a:pathLst>
            </a:custGeom>
            <a:solidFill>
              <a:srgbClr val="7F95BC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3" name="图形 1">
              <a:extLst>
                <a:ext uri="{FF2B5EF4-FFF2-40B4-BE49-F238E27FC236}">
                  <a16:creationId xmlns:a16="http://schemas.microsoft.com/office/drawing/2014/main" id="{C54BCB3B-B44B-44B7-BF29-4FCCFF4E2A28}"/>
                </a:ext>
              </a:extLst>
            </p:cNvPr>
            <p:cNvGrpSpPr/>
            <p:nvPr/>
          </p:nvGrpSpPr>
          <p:grpSpPr>
            <a:xfrm>
              <a:off x="16113127" y="2804532"/>
              <a:ext cx="581538" cy="288535"/>
              <a:chOff x="16113127" y="2804532"/>
              <a:chExt cx="581538" cy="288535"/>
            </a:xfrm>
          </p:grpSpPr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DC6DE0E4-B3C6-49C2-A6F9-7A46C95C05C6}"/>
                  </a:ext>
                </a:extLst>
              </p:cNvPr>
              <p:cNvSpPr/>
              <p:nvPr/>
            </p:nvSpPr>
            <p:spPr>
              <a:xfrm>
                <a:off x="16119281" y="2852125"/>
                <a:ext cx="572306" cy="240941"/>
              </a:xfrm>
              <a:custGeom>
                <a:avLst/>
                <a:gdLst>
                  <a:gd name="connsiteX0" fmla="*/ 0 w 572306"/>
                  <a:gd name="connsiteY0" fmla="*/ 0 h 240941"/>
                  <a:gd name="connsiteX1" fmla="*/ 36923 w 572306"/>
                  <a:gd name="connsiteY1" fmla="*/ 193846 h 240941"/>
                  <a:gd name="connsiteX2" fmla="*/ 526153 w 572306"/>
                  <a:gd name="connsiteY2" fmla="*/ 212308 h 240941"/>
                  <a:gd name="connsiteX3" fmla="*/ 572307 w 572306"/>
                  <a:gd name="connsiteY3" fmla="*/ 12308 h 240941"/>
                  <a:gd name="connsiteX4" fmla="*/ 0 w 572306"/>
                  <a:gd name="connsiteY4" fmla="*/ 0 h 240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2306" h="240941">
                    <a:moveTo>
                      <a:pt x="0" y="0"/>
                    </a:moveTo>
                    <a:lnTo>
                      <a:pt x="36923" y="193846"/>
                    </a:lnTo>
                    <a:cubicBezTo>
                      <a:pt x="36923" y="193846"/>
                      <a:pt x="200000" y="286154"/>
                      <a:pt x="526153" y="212308"/>
                    </a:cubicBezTo>
                    <a:lnTo>
                      <a:pt x="572307" y="12308"/>
                    </a:lnTo>
                    <a:cubicBezTo>
                      <a:pt x="572307" y="12308"/>
                      <a:pt x="255384" y="89231"/>
                      <a:pt x="0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F4113757-4283-4B1C-B20E-07FA796C6853}"/>
                  </a:ext>
                </a:extLst>
              </p:cNvPr>
              <p:cNvSpPr/>
              <p:nvPr/>
            </p:nvSpPr>
            <p:spPr>
              <a:xfrm>
                <a:off x="16119281" y="2804532"/>
                <a:ext cx="572306" cy="99322"/>
              </a:xfrm>
              <a:custGeom>
                <a:avLst/>
                <a:gdLst>
                  <a:gd name="connsiteX0" fmla="*/ 0 w 572306"/>
                  <a:gd name="connsiteY0" fmla="*/ 47593 h 99322"/>
                  <a:gd name="connsiteX1" fmla="*/ 572307 w 572306"/>
                  <a:gd name="connsiteY1" fmla="*/ 59901 h 99322"/>
                  <a:gd name="connsiteX2" fmla="*/ 0 w 572306"/>
                  <a:gd name="connsiteY2" fmla="*/ 47593 h 9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2306" h="99322">
                    <a:moveTo>
                      <a:pt x="0" y="47593"/>
                    </a:moveTo>
                    <a:cubicBezTo>
                      <a:pt x="0" y="47593"/>
                      <a:pt x="221538" y="155286"/>
                      <a:pt x="572307" y="59901"/>
                    </a:cubicBezTo>
                    <a:cubicBezTo>
                      <a:pt x="572307" y="59901"/>
                      <a:pt x="298461" y="-66253"/>
                      <a:pt x="0" y="47593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17A931AD-2951-4932-85AB-00E52069AA9F}"/>
                  </a:ext>
                </a:extLst>
              </p:cNvPr>
              <p:cNvSpPr/>
              <p:nvPr/>
            </p:nvSpPr>
            <p:spPr>
              <a:xfrm>
                <a:off x="16113127" y="2849048"/>
                <a:ext cx="581538" cy="64615"/>
              </a:xfrm>
              <a:custGeom>
                <a:avLst/>
                <a:gdLst>
                  <a:gd name="connsiteX0" fmla="*/ 292308 w 581538"/>
                  <a:gd name="connsiteY0" fmla="*/ 64615 h 64615"/>
                  <a:gd name="connsiteX1" fmla="*/ 3077 w 581538"/>
                  <a:gd name="connsiteY1" fmla="*/ 9231 h 64615"/>
                  <a:gd name="connsiteX2" fmla="*/ 0 w 581538"/>
                  <a:gd name="connsiteY2" fmla="*/ 3077 h 64615"/>
                  <a:gd name="connsiteX3" fmla="*/ 6154 w 581538"/>
                  <a:gd name="connsiteY3" fmla="*/ 0 h 64615"/>
                  <a:gd name="connsiteX4" fmla="*/ 575385 w 581538"/>
                  <a:gd name="connsiteY4" fmla="*/ 12308 h 64615"/>
                  <a:gd name="connsiteX5" fmla="*/ 581538 w 581538"/>
                  <a:gd name="connsiteY5" fmla="*/ 15385 h 64615"/>
                  <a:gd name="connsiteX6" fmla="*/ 578461 w 581538"/>
                  <a:gd name="connsiteY6" fmla="*/ 21538 h 64615"/>
                  <a:gd name="connsiteX7" fmla="*/ 292308 w 581538"/>
                  <a:gd name="connsiteY7" fmla="*/ 64615 h 6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81538" h="64615">
                    <a:moveTo>
                      <a:pt x="292308" y="64615"/>
                    </a:moveTo>
                    <a:cubicBezTo>
                      <a:pt x="110769" y="64615"/>
                      <a:pt x="6154" y="9231"/>
                      <a:pt x="3077" y="9231"/>
                    </a:cubicBezTo>
                    <a:cubicBezTo>
                      <a:pt x="0" y="9231"/>
                      <a:pt x="0" y="3077"/>
                      <a:pt x="0" y="3077"/>
                    </a:cubicBezTo>
                    <a:cubicBezTo>
                      <a:pt x="0" y="0"/>
                      <a:pt x="6154" y="0"/>
                      <a:pt x="6154" y="0"/>
                    </a:cubicBezTo>
                    <a:cubicBezTo>
                      <a:pt x="9230" y="0"/>
                      <a:pt x="227692" y="113846"/>
                      <a:pt x="575385" y="12308"/>
                    </a:cubicBezTo>
                    <a:cubicBezTo>
                      <a:pt x="578461" y="12308"/>
                      <a:pt x="581538" y="12308"/>
                      <a:pt x="581538" y="15385"/>
                    </a:cubicBezTo>
                    <a:cubicBezTo>
                      <a:pt x="581538" y="18462"/>
                      <a:pt x="581538" y="21538"/>
                      <a:pt x="578461" y="21538"/>
                    </a:cubicBezTo>
                    <a:cubicBezTo>
                      <a:pt x="470769" y="52308"/>
                      <a:pt x="375385" y="64615"/>
                      <a:pt x="292308" y="6461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CD5DB315-AE44-4963-9777-982DF8E1E962}"/>
                  </a:ext>
                </a:extLst>
              </p:cNvPr>
              <p:cNvSpPr/>
              <p:nvPr/>
            </p:nvSpPr>
            <p:spPr>
              <a:xfrm>
                <a:off x="16310050" y="2935202"/>
                <a:ext cx="132308" cy="132307"/>
              </a:xfrm>
              <a:custGeom>
                <a:avLst/>
                <a:gdLst>
                  <a:gd name="connsiteX0" fmla="*/ 132308 w 132308"/>
                  <a:gd name="connsiteY0" fmla="*/ 46154 h 132307"/>
                  <a:gd name="connsiteX1" fmla="*/ 86154 w 132308"/>
                  <a:gd name="connsiteY1" fmla="*/ 46154 h 132307"/>
                  <a:gd name="connsiteX2" fmla="*/ 86154 w 132308"/>
                  <a:gd name="connsiteY2" fmla="*/ 0 h 132307"/>
                  <a:gd name="connsiteX3" fmla="*/ 49231 w 132308"/>
                  <a:gd name="connsiteY3" fmla="*/ 0 h 132307"/>
                  <a:gd name="connsiteX4" fmla="*/ 49231 w 132308"/>
                  <a:gd name="connsiteY4" fmla="*/ 46154 h 132307"/>
                  <a:gd name="connsiteX5" fmla="*/ 0 w 132308"/>
                  <a:gd name="connsiteY5" fmla="*/ 46154 h 132307"/>
                  <a:gd name="connsiteX6" fmla="*/ 0 w 132308"/>
                  <a:gd name="connsiteY6" fmla="*/ 83077 h 132307"/>
                  <a:gd name="connsiteX7" fmla="*/ 49231 w 132308"/>
                  <a:gd name="connsiteY7" fmla="*/ 83077 h 132307"/>
                  <a:gd name="connsiteX8" fmla="*/ 49231 w 132308"/>
                  <a:gd name="connsiteY8" fmla="*/ 132308 h 132307"/>
                  <a:gd name="connsiteX9" fmla="*/ 86154 w 132308"/>
                  <a:gd name="connsiteY9" fmla="*/ 132308 h 132307"/>
                  <a:gd name="connsiteX10" fmla="*/ 86154 w 132308"/>
                  <a:gd name="connsiteY10" fmla="*/ 83077 h 132307"/>
                  <a:gd name="connsiteX11" fmla="*/ 132308 w 132308"/>
                  <a:gd name="connsiteY11" fmla="*/ 83077 h 13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2308" h="132307">
                    <a:moveTo>
                      <a:pt x="132308" y="46154"/>
                    </a:moveTo>
                    <a:lnTo>
                      <a:pt x="86154" y="46154"/>
                    </a:lnTo>
                    <a:lnTo>
                      <a:pt x="86154" y="0"/>
                    </a:lnTo>
                    <a:lnTo>
                      <a:pt x="49231" y="0"/>
                    </a:lnTo>
                    <a:lnTo>
                      <a:pt x="49231" y="46154"/>
                    </a:lnTo>
                    <a:lnTo>
                      <a:pt x="0" y="46154"/>
                    </a:lnTo>
                    <a:lnTo>
                      <a:pt x="0" y="83077"/>
                    </a:lnTo>
                    <a:lnTo>
                      <a:pt x="49231" y="83077"/>
                    </a:lnTo>
                    <a:lnTo>
                      <a:pt x="49231" y="132308"/>
                    </a:lnTo>
                    <a:lnTo>
                      <a:pt x="86154" y="132308"/>
                    </a:lnTo>
                    <a:lnTo>
                      <a:pt x="86154" y="83077"/>
                    </a:lnTo>
                    <a:lnTo>
                      <a:pt x="132308" y="83077"/>
                    </a:lnTo>
                    <a:close/>
                  </a:path>
                </a:pathLst>
              </a:custGeom>
              <a:solidFill>
                <a:srgbClr val="FFFFFF"/>
              </a:solidFill>
              <a:ln w="30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DABE341D-D277-4416-9553-397D21576909}"/>
                </a:ext>
              </a:extLst>
            </p:cNvPr>
            <p:cNvSpPr/>
            <p:nvPr/>
          </p:nvSpPr>
          <p:spPr>
            <a:xfrm>
              <a:off x="15914648" y="3815202"/>
              <a:ext cx="66172" cy="760000"/>
            </a:xfrm>
            <a:custGeom>
              <a:avLst/>
              <a:gdLst>
                <a:gd name="connsiteX0" fmla="*/ 41556 w 66172"/>
                <a:gd name="connsiteY0" fmla="*/ 760000 h 760000"/>
                <a:gd name="connsiteX1" fmla="*/ 41556 w 66172"/>
                <a:gd name="connsiteY1" fmla="*/ 760000 h 760000"/>
                <a:gd name="connsiteX2" fmla="*/ 35403 w 66172"/>
                <a:gd name="connsiteY2" fmla="*/ 753846 h 760000"/>
                <a:gd name="connsiteX3" fmla="*/ 10787 w 66172"/>
                <a:gd name="connsiteY3" fmla="*/ 332308 h 760000"/>
                <a:gd name="connsiteX4" fmla="*/ 1557 w 66172"/>
                <a:gd name="connsiteY4" fmla="*/ 267692 h 760000"/>
                <a:gd name="connsiteX5" fmla="*/ 56941 w 66172"/>
                <a:gd name="connsiteY5" fmla="*/ 3077 h 760000"/>
                <a:gd name="connsiteX6" fmla="*/ 63095 w 66172"/>
                <a:gd name="connsiteY6" fmla="*/ 0 h 760000"/>
                <a:gd name="connsiteX7" fmla="*/ 66172 w 66172"/>
                <a:gd name="connsiteY7" fmla="*/ 6154 h 760000"/>
                <a:gd name="connsiteX8" fmla="*/ 10787 w 66172"/>
                <a:gd name="connsiteY8" fmla="*/ 264615 h 760000"/>
                <a:gd name="connsiteX9" fmla="*/ 20019 w 66172"/>
                <a:gd name="connsiteY9" fmla="*/ 329231 h 760000"/>
                <a:gd name="connsiteX10" fmla="*/ 44634 w 66172"/>
                <a:gd name="connsiteY10" fmla="*/ 753846 h 760000"/>
                <a:gd name="connsiteX11" fmla="*/ 41556 w 66172"/>
                <a:gd name="connsiteY11" fmla="*/ 760000 h 7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172" h="760000">
                  <a:moveTo>
                    <a:pt x="41556" y="760000"/>
                  </a:moveTo>
                  <a:cubicBezTo>
                    <a:pt x="38479" y="760000"/>
                    <a:pt x="38479" y="760000"/>
                    <a:pt x="41556" y="760000"/>
                  </a:cubicBezTo>
                  <a:cubicBezTo>
                    <a:pt x="38479" y="760000"/>
                    <a:pt x="35403" y="756923"/>
                    <a:pt x="35403" y="753846"/>
                  </a:cubicBezTo>
                  <a:cubicBezTo>
                    <a:pt x="47711" y="633846"/>
                    <a:pt x="26172" y="452308"/>
                    <a:pt x="10787" y="332308"/>
                  </a:cubicBezTo>
                  <a:cubicBezTo>
                    <a:pt x="7710" y="307692"/>
                    <a:pt x="4634" y="286154"/>
                    <a:pt x="1557" y="267692"/>
                  </a:cubicBezTo>
                  <a:cubicBezTo>
                    <a:pt x="-10751" y="160000"/>
                    <a:pt x="53864" y="9231"/>
                    <a:pt x="56941" y="3077"/>
                  </a:cubicBezTo>
                  <a:cubicBezTo>
                    <a:pt x="56941" y="0"/>
                    <a:pt x="60018" y="0"/>
                    <a:pt x="63095" y="0"/>
                  </a:cubicBezTo>
                  <a:cubicBezTo>
                    <a:pt x="66172" y="0"/>
                    <a:pt x="66172" y="3077"/>
                    <a:pt x="66172" y="6154"/>
                  </a:cubicBezTo>
                  <a:cubicBezTo>
                    <a:pt x="66172" y="6154"/>
                    <a:pt x="-1520" y="160000"/>
                    <a:pt x="10787" y="264615"/>
                  </a:cubicBezTo>
                  <a:cubicBezTo>
                    <a:pt x="13864" y="283077"/>
                    <a:pt x="16941" y="304615"/>
                    <a:pt x="20019" y="329231"/>
                  </a:cubicBezTo>
                  <a:cubicBezTo>
                    <a:pt x="35403" y="449231"/>
                    <a:pt x="60018" y="630769"/>
                    <a:pt x="44634" y="753846"/>
                  </a:cubicBezTo>
                  <a:cubicBezTo>
                    <a:pt x="44634" y="756923"/>
                    <a:pt x="41556" y="760000"/>
                    <a:pt x="41556" y="760000"/>
                  </a:cubicBezTo>
                  <a:close/>
                </a:path>
              </a:pathLst>
            </a:custGeom>
            <a:solidFill>
              <a:srgbClr val="38343B"/>
            </a:solidFill>
            <a:ln w="307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222056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1" name="图形 1">
            <a:extLst>
              <a:ext uri="{FF2B5EF4-FFF2-40B4-BE49-F238E27FC236}">
                <a16:creationId xmlns:a16="http://schemas.microsoft.com/office/drawing/2014/main" id="{E37F79C1-4061-47F0-8DFC-4337294AAFF0}"/>
              </a:ext>
            </a:extLst>
          </p:cNvPr>
          <p:cNvGrpSpPr/>
          <p:nvPr/>
        </p:nvGrpSpPr>
        <p:grpSpPr>
          <a:xfrm>
            <a:off x="3006448" y="2076841"/>
            <a:ext cx="2297743" cy="4781159"/>
            <a:chOff x="2858964" y="1742616"/>
            <a:chExt cx="2297743" cy="4781159"/>
          </a:xfrm>
        </p:grpSpPr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82574CA5-78FB-4710-B984-8589075E19BE}"/>
                </a:ext>
              </a:extLst>
            </p:cNvPr>
            <p:cNvSpPr/>
            <p:nvPr/>
          </p:nvSpPr>
          <p:spPr>
            <a:xfrm>
              <a:off x="3275088" y="1861218"/>
              <a:ext cx="1013042" cy="313959"/>
            </a:xfrm>
            <a:custGeom>
              <a:avLst/>
              <a:gdLst>
                <a:gd name="connsiteX0" fmla="*/ 1507 w 1013042"/>
                <a:gd name="connsiteY0" fmla="*/ 239120 h 313959"/>
                <a:gd name="connsiteX1" fmla="*/ 549113 w 1013042"/>
                <a:gd name="connsiteY1" fmla="*/ 290839 h 313959"/>
                <a:gd name="connsiteX2" fmla="*/ 1011535 w 1013042"/>
                <a:gd name="connsiteY2" fmla="*/ 74839 h 313959"/>
                <a:gd name="connsiteX3" fmla="*/ 463930 w 1013042"/>
                <a:gd name="connsiteY3" fmla="*/ 23120 h 313959"/>
                <a:gd name="connsiteX4" fmla="*/ 1507 w 1013042"/>
                <a:gd name="connsiteY4" fmla="*/ 239120 h 31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3042" h="313959">
                  <a:moveTo>
                    <a:pt x="1507" y="239120"/>
                  </a:moveTo>
                  <a:cubicBezTo>
                    <a:pt x="25845" y="312135"/>
                    <a:pt x="269226" y="336473"/>
                    <a:pt x="549113" y="290839"/>
                  </a:cubicBezTo>
                  <a:cubicBezTo>
                    <a:pt x="825958" y="245205"/>
                    <a:pt x="1032831" y="147853"/>
                    <a:pt x="1011535" y="74839"/>
                  </a:cubicBezTo>
                  <a:cubicBezTo>
                    <a:pt x="987197" y="1825"/>
                    <a:pt x="743817" y="-22513"/>
                    <a:pt x="463930" y="23120"/>
                  </a:cubicBezTo>
                  <a:cubicBezTo>
                    <a:pt x="187085" y="65712"/>
                    <a:pt x="-19789" y="163064"/>
                    <a:pt x="1507" y="239120"/>
                  </a:cubicBez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53" name="图形 1">
              <a:extLst>
                <a:ext uri="{FF2B5EF4-FFF2-40B4-BE49-F238E27FC236}">
                  <a16:creationId xmlns:a16="http://schemas.microsoft.com/office/drawing/2014/main" id="{E37F79C1-4061-47F0-8DFC-4337294AAFF0}"/>
                </a:ext>
              </a:extLst>
            </p:cNvPr>
            <p:cNvGrpSpPr/>
            <p:nvPr/>
          </p:nvGrpSpPr>
          <p:grpSpPr>
            <a:xfrm>
              <a:off x="2858964" y="2577896"/>
              <a:ext cx="1070391" cy="1259798"/>
              <a:chOff x="2858964" y="2577896"/>
              <a:chExt cx="1070391" cy="1259798"/>
            </a:xfrm>
          </p:grpSpPr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7270E1AE-FDB9-4704-A4A6-8D8B4BAAF6C4}"/>
                  </a:ext>
                </a:extLst>
              </p:cNvPr>
              <p:cNvSpPr/>
              <p:nvPr/>
            </p:nvSpPr>
            <p:spPr>
              <a:xfrm>
                <a:off x="2934480" y="2577896"/>
                <a:ext cx="994876" cy="1259798"/>
              </a:xfrm>
              <a:custGeom>
                <a:avLst/>
                <a:gdLst>
                  <a:gd name="connsiteX0" fmla="*/ 965778 w 994876"/>
                  <a:gd name="connsiteY0" fmla="*/ 371231 h 1259798"/>
                  <a:gd name="connsiteX1" fmla="*/ 816707 w 994876"/>
                  <a:gd name="connsiteY1" fmla="*/ 88302 h 1259798"/>
                  <a:gd name="connsiteX2" fmla="*/ 448594 w 994876"/>
                  <a:gd name="connsiteY2" fmla="*/ 3119 h 1259798"/>
                  <a:gd name="connsiteX3" fmla="*/ 159580 w 994876"/>
                  <a:gd name="connsiteY3" fmla="*/ 225203 h 1259798"/>
                  <a:gd name="connsiteX4" fmla="*/ 31806 w 994876"/>
                  <a:gd name="connsiteY4" fmla="*/ 1077034 h 1259798"/>
                  <a:gd name="connsiteX5" fmla="*/ 378623 w 994876"/>
                  <a:gd name="connsiteY5" fmla="*/ 1259570 h 1259798"/>
                  <a:gd name="connsiteX6" fmla="*/ 984031 w 994876"/>
                  <a:gd name="connsiteY6" fmla="*/ 742386 h 1259798"/>
                  <a:gd name="connsiteX7" fmla="*/ 965778 w 994876"/>
                  <a:gd name="connsiteY7" fmla="*/ 371231 h 1259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4876" h="1259798">
                    <a:moveTo>
                      <a:pt x="965778" y="371231"/>
                    </a:moveTo>
                    <a:cubicBezTo>
                      <a:pt x="941439" y="261710"/>
                      <a:pt x="895806" y="155231"/>
                      <a:pt x="816707" y="88302"/>
                    </a:cubicBezTo>
                    <a:cubicBezTo>
                      <a:pt x="713270" y="76"/>
                      <a:pt x="573327" y="-6008"/>
                      <a:pt x="448594" y="3119"/>
                    </a:cubicBezTo>
                    <a:cubicBezTo>
                      <a:pt x="326904" y="12245"/>
                      <a:pt x="205214" y="143062"/>
                      <a:pt x="159580" y="225203"/>
                    </a:cubicBezTo>
                    <a:cubicBezTo>
                      <a:pt x="56144" y="422950"/>
                      <a:pt x="-56420" y="800189"/>
                      <a:pt x="31806" y="1077034"/>
                    </a:cubicBezTo>
                    <a:cubicBezTo>
                      <a:pt x="68313" y="1186555"/>
                      <a:pt x="281270" y="1250443"/>
                      <a:pt x="378623" y="1259570"/>
                    </a:cubicBezTo>
                    <a:cubicBezTo>
                      <a:pt x="515524" y="1268696"/>
                      <a:pt x="938397" y="1004020"/>
                      <a:pt x="984031" y="742386"/>
                    </a:cubicBezTo>
                    <a:cubicBezTo>
                      <a:pt x="1005327" y="620696"/>
                      <a:pt x="993158" y="489879"/>
                      <a:pt x="965778" y="371231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AA71856F-68C2-436D-8C10-4DA54BE3347F}"/>
                  </a:ext>
                </a:extLst>
              </p:cNvPr>
              <p:cNvSpPr/>
              <p:nvPr/>
            </p:nvSpPr>
            <p:spPr>
              <a:xfrm>
                <a:off x="2863551" y="3272444"/>
                <a:ext cx="178790" cy="390598"/>
              </a:xfrm>
              <a:custGeom>
                <a:avLst/>
                <a:gdLst>
                  <a:gd name="connsiteX0" fmla="*/ 178791 w 178790"/>
                  <a:gd name="connsiteY0" fmla="*/ 26542 h 390598"/>
                  <a:gd name="connsiteX1" fmla="*/ 178791 w 178790"/>
                  <a:gd name="connsiteY1" fmla="*/ 382486 h 390598"/>
                  <a:gd name="connsiteX2" fmla="*/ 44932 w 178790"/>
                  <a:gd name="connsiteY2" fmla="*/ 382486 h 390598"/>
                  <a:gd name="connsiteX3" fmla="*/ 17551 w 178790"/>
                  <a:gd name="connsiteY3" fmla="*/ 26542 h 390598"/>
                  <a:gd name="connsiteX4" fmla="*/ 178791 w 178790"/>
                  <a:gd name="connsiteY4" fmla="*/ 26542 h 390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8790" h="390598">
                    <a:moveTo>
                      <a:pt x="178791" y="26542"/>
                    </a:moveTo>
                    <a:cubicBezTo>
                      <a:pt x="178791" y="26542"/>
                      <a:pt x="139242" y="224289"/>
                      <a:pt x="178791" y="382486"/>
                    </a:cubicBezTo>
                    <a:cubicBezTo>
                      <a:pt x="178791" y="382486"/>
                      <a:pt x="93608" y="400740"/>
                      <a:pt x="44932" y="382486"/>
                    </a:cubicBezTo>
                    <a:cubicBezTo>
                      <a:pt x="-3744" y="364233"/>
                      <a:pt x="-12871" y="56965"/>
                      <a:pt x="17551" y="26542"/>
                    </a:cubicBezTo>
                    <a:cubicBezTo>
                      <a:pt x="47974" y="-838"/>
                      <a:pt x="148368" y="-16049"/>
                      <a:pt x="178791" y="26542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3F5C7973-ABA5-4E22-B575-936EAB9DB819}"/>
                  </a:ext>
                </a:extLst>
              </p:cNvPr>
              <p:cNvSpPr/>
              <p:nvPr/>
            </p:nvSpPr>
            <p:spPr>
              <a:xfrm>
                <a:off x="2858964" y="3266998"/>
                <a:ext cx="189462" cy="403143"/>
              </a:xfrm>
              <a:custGeom>
                <a:avLst/>
                <a:gdLst>
                  <a:gd name="connsiteX0" fmla="*/ 104279 w 189462"/>
                  <a:gd name="connsiteY0" fmla="*/ 403144 h 403143"/>
                  <a:gd name="connsiteX1" fmla="*/ 46476 w 189462"/>
                  <a:gd name="connsiteY1" fmla="*/ 394017 h 403143"/>
                  <a:gd name="connsiteX2" fmla="*/ 13011 w 189462"/>
                  <a:gd name="connsiteY2" fmla="*/ 321003 h 403143"/>
                  <a:gd name="connsiteX3" fmla="*/ 19096 w 189462"/>
                  <a:gd name="connsiteY3" fmla="*/ 28947 h 403143"/>
                  <a:gd name="connsiteX4" fmla="*/ 131659 w 189462"/>
                  <a:gd name="connsiteY4" fmla="*/ 1566 h 403143"/>
                  <a:gd name="connsiteX5" fmla="*/ 189462 w 189462"/>
                  <a:gd name="connsiteY5" fmla="*/ 31989 h 403143"/>
                  <a:gd name="connsiteX6" fmla="*/ 189462 w 189462"/>
                  <a:gd name="connsiteY6" fmla="*/ 35031 h 403143"/>
                  <a:gd name="connsiteX7" fmla="*/ 189462 w 189462"/>
                  <a:gd name="connsiteY7" fmla="*/ 38073 h 403143"/>
                  <a:gd name="connsiteX8" fmla="*/ 183378 w 189462"/>
                  <a:gd name="connsiteY8" fmla="*/ 357510 h 403143"/>
                  <a:gd name="connsiteX9" fmla="*/ 177293 w 189462"/>
                  <a:gd name="connsiteY9" fmla="*/ 387933 h 403143"/>
                  <a:gd name="connsiteX10" fmla="*/ 149913 w 189462"/>
                  <a:gd name="connsiteY10" fmla="*/ 403144 h 403143"/>
                  <a:gd name="connsiteX11" fmla="*/ 104279 w 189462"/>
                  <a:gd name="connsiteY11" fmla="*/ 403144 h 403143"/>
                  <a:gd name="connsiteX12" fmla="*/ 110363 w 189462"/>
                  <a:gd name="connsiteY12" fmla="*/ 10693 h 403143"/>
                  <a:gd name="connsiteX13" fmla="*/ 22138 w 189462"/>
                  <a:gd name="connsiteY13" fmla="*/ 35031 h 403143"/>
                  <a:gd name="connsiteX14" fmla="*/ 19096 w 189462"/>
                  <a:gd name="connsiteY14" fmla="*/ 317961 h 403143"/>
                  <a:gd name="connsiteX15" fmla="*/ 46476 w 189462"/>
                  <a:gd name="connsiteY15" fmla="*/ 381848 h 403143"/>
                  <a:gd name="connsiteX16" fmla="*/ 143828 w 189462"/>
                  <a:gd name="connsiteY16" fmla="*/ 387933 h 403143"/>
                  <a:gd name="connsiteX17" fmla="*/ 162082 w 189462"/>
                  <a:gd name="connsiteY17" fmla="*/ 375763 h 403143"/>
                  <a:gd name="connsiteX18" fmla="*/ 168166 w 189462"/>
                  <a:gd name="connsiteY18" fmla="*/ 354468 h 403143"/>
                  <a:gd name="connsiteX19" fmla="*/ 174251 w 189462"/>
                  <a:gd name="connsiteY19" fmla="*/ 31989 h 403143"/>
                  <a:gd name="connsiteX20" fmla="*/ 125575 w 189462"/>
                  <a:gd name="connsiteY20" fmla="*/ 10693 h 403143"/>
                  <a:gd name="connsiteX21" fmla="*/ 110363 w 189462"/>
                  <a:gd name="connsiteY21" fmla="*/ 10693 h 403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89462" h="403143">
                    <a:moveTo>
                      <a:pt x="104279" y="403144"/>
                    </a:moveTo>
                    <a:cubicBezTo>
                      <a:pt x="82983" y="403144"/>
                      <a:pt x="61687" y="400102"/>
                      <a:pt x="46476" y="394017"/>
                    </a:cubicBezTo>
                    <a:cubicBezTo>
                      <a:pt x="31265" y="387933"/>
                      <a:pt x="19096" y="363595"/>
                      <a:pt x="13011" y="321003"/>
                    </a:cubicBezTo>
                    <a:cubicBezTo>
                      <a:pt x="-5242" y="226693"/>
                      <a:pt x="-5242" y="53285"/>
                      <a:pt x="19096" y="28947"/>
                    </a:cubicBezTo>
                    <a:cubicBezTo>
                      <a:pt x="40392" y="7651"/>
                      <a:pt x="89068" y="-4518"/>
                      <a:pt x="131659" y="1566"/>
                    </a:cubicBezTo>
                    <a:cubicBezTo>
                      <a:pt x="159040" y="4609"/>
                      <a:pt x="180335" y="13735"/>
                      <a:pt x="189462" y="31989"/>
                    </a:cubicBezTo>
                    <a:lnTo>
                      <a:pt x="189462" y="35031"/>
                    </a:lnTo>
                    <a:lnTo>
                      <a:pt x="189462" y="38073"/>
                    </a:lnTo>
                    <a:cubicBezTo>
                      <a:pt x="189462" y="41116"/>
                      <a:pt x="155997" y="211482"/>
                      <a:pt x="183378" y="357510"/>
                    </a:cubicBezTo>
                    <a:cubicBezTo>
                      <a:pt x="186420" y="366637"/>
                      <a:pt x="183378" y="378806"/>
                      <a:pt x="177293" y="387933"/>
                    </a:cubicBezTo>
                    <a:cubicBezTo>
                      <a:pt x="171209" y="397059"/>
                      <a:pt x="162082" y="403144"/>
                      <a:pt x="149913" y="403144"/>
                    </a:cubicBezTo>
                    <a:cubicBezTo>
                      <a:pt x="134702" y="400102"/>
                      <a:pt x="119490" y="403144"/>
                      <a:pt x="104279" y="403144"/>
                    </a:cubicBezTo>
                    <a:close/>
                    <a:moveTo>
                      <a:pt x="110363" y="10693"/>
                    </a:moveTo>
                    <a:cubicBezTo>
                      <a:pt x="76899" y="10693"/>
                      <a:pt x="40392" y="19820"/>
                      <a:pt x="22138" y="35031"/>
                    </a:cubicBezTo>
                    <a:cubicBezTo>
                      <a:pt x="3885" y="53285"/>
                      <a:pt x="-2200" y="217566"/>
                      <a:pt x="19096" y="317961"/>
                    </a:cubicBezTo>
                    <a:cubicBezTo>
                      <a:pt x="28223" y="369679"/>
                      <a:pt x="40392" y="378806"/>
                      <a:pt x="46476" y="381848"/>
                    </a:cubicBezTo>
                    <a:cubicBezTo>
                      <a:pt x="73856" y="390975"/>
                      <a:pt x="113406" y="390975"/>
                      <a:pt x="143828" y="387933"/>
                    </a:cubicBezTo>
                    <a:cubicBezTo>
                      <a:pt x="152955" y="387933"/>
                      <a:pt x="159040" y="381848"/>
                      <a:pt x="162082" y="375763"/>
                    </a:cubicBezTo>
                    <a:cubicBezTo>
                      <a:pt x="165124" y="369679"/>
                      <a:pt x="168166" y="363595"/>
                      <a:pt x="168166" y="354468"/>
                    </a:cubicBezTo>
                    <a:cubicBezTo>
                      <a:pt x="143828" y="214524"/>
                      <a:pt x="171209" y="53285"/>
                      <a:pt x="174251" y="31989"/>
                    </a:cubicBezTo>
                    <a:cubicBezTo>
                      <a:pt x="162082" y="16778"/>
                      <a:pt x="140786" y="10693"/>
                      <a:pt x="125575" y="10693"/>
                    </a:cubicBezTo>
                    <a:cubicBezTo>
                      <a:pt x="122532" y="10693"/>
                      <a:pt x="116448" y="10693"/>
                      <a:pt x="110363" y="1069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4E5C5C48-25F4-400E-851A-5442948EB1AE}"/>
                  </a:ext>
                </a:extLst>
              </p:cNvPr>
              <p:cNvSpPr/>
              <p:nvPr/>
            </p:nvSpPr>
            <p:spPr>
              <a:xfrm>
                <a:off x="2908339" y="2781828"/>
                <a:ext cx="258735" cy="392426"/>
              </a:xfrm>
              <a:custGeom>
                <a:avLst/>
                <a:gdLst>
                  <a:gd name="connsiteX0" fmla="*/ 258736 w 258735"/>
                  <a:gd name="connsiteY0" fmla="*/ 60821 h 392426"/>
                  <a:gd name="connsiteX1" fmla="*/ 137046 w 258735"/>
                  <a:gd name="connsiteY1" fmla="*/ 392427 h 392426"/>
                  <a:gd name="connsiteX2" fmla="*/ 9271 w 258735"/>
                  <a:gd name="connsiteY2" fmla="*/ 346793 h 392426"/>
                  <a:gd name="connsiteX3" fmla="*/ 106623 w 258735"/>
                  <a:gd name="connsiteY3" fmla="*/ 6060 h 392426"/>
                  <a:gd name="connsiteX4" fmla="*/ 258736 w 258735"/>
                  <a:gd name="connsiteY4" fmla="*/ 60821 h 392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8735" h="392426">
                    <a:moveTo>
                      <a:pt x="258736" y="60821"/>
                    </a:moveTo>
                    <a:cubicBezTo>
                      <a:pt x="258736" y="60821"/>
                      <a:pt x="152257" y="234229"/>
                      <a:pt x="137046" y="392427"/>
                    </a:cubicBezTo>
                    <a:cubicBezTo>
                      <a:pt x="137046" y="392427"/>
                      <a:pt x="48820" y="380258"/>
                      <a:pt x="9271" y="346793"/>
                    </a:cubicBezTo>
                    <a:cubicBezTo>
                      <a:pt x="-30278" y="313328"/>
                      <a:pt x="67074" y="21272"/>
                      <a:pt x="106623" y="6060"/>
                    </a:cubicBezTo>
                    <a:cubicBezTo>
                      <a:pt x="146172" y="-12193"/>
                      <a:pt x="246567" y="12145"/>
                      <a:pt x="258736" y="60821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FC030F77-13FE-4FC1-9241-1A9B2DB0014C}"/>
                  </a:ext>
                </a:extLst>
              </p:cNvPr>
              <p:cNvSpPr/>
              <p:nvPr/>
            </p:nvSpPr>
            <p:spPr>
              <a:xfrm>
                <a:off x="2902398" y="2778515"/>
                <a:ext cx="270760" cy="398781"/>
              </a:xfrm>
              <a:custGeom>
                <a:avLst/>
                <a:gdLst>
                  <a:gd name="connsiteX0" fmla="*/ 115606 w 270760"/>
                  <a:gd name="connsiteY0" fmla="*/ 398782 h 398781"/>
                  <a:gd name="connsiteX1" fmla="*/ 106479 w 270760"/>
                  <a:gd name="connsiteY1" fmla="*/ 398782 h 398781"/>
                  <a:gd name="connsiteX2" fmla="*/ 12169 w 270760"/>
                  <a:gd name="connsiteY2" fmla="*/ 359232 h 398781"/>
                  <a:gd name="connsiteX3" fmla="*/ 3042 w 270760"/>
                  <a:gd name="connsiteY3" fmla="*/ 280134 h 398781"/>
                  <a:gd name="connsiteX4" fmla="*/ 109521 w 270760"/>
                  <a:gd name="connsiteY4" fmla="*/ 6331 h 398781"/>
                  <a:gd name="connsiteX5" fmla="*/ 225127 w 270760"/>
                  <a:gd name="connsiteY5" fmla="*/ 18500 h 398781"/>
                  <a:gd name="connsiteX6" fmla="*/ 270761 w 270760"/>
                  <a:gd name="connsiteY6" fmla="*/ 67176 h 398781"/>
                  <a:gd name="connsiteX7" fmla="*/ 270761 w 270760"/>
                  <a:gd name="connsiteY7" fmla="*/ 70218 h 398781"/>
                  <a:gd name="connsiteX8" fmla="*/ 270761 w 270760"/>
                  <a:gd name="connsiteY8" fmla="*/ 73261 h 398781"/>
                  <a:gd name="connsiteX9" fmla="*/ 155155 w 270760"/>
                  <a:gd name="connsiteY9" fmla="*/ 371402 h 398781"/>
                  <a:gd name="connsiteX10" fmla="*/ 139944 w 270760"/>
                  <a:gd name="connsiteY10" fmla="*/ 395740 h 398781"/>
                  <a:gd name="connsiteX11" fmla="*/ 115606 w 270760"/>
                  <a:gd name="connsiteY11" fmla="*/ 398782 h 398781"/>
                  <a:gd name="connsiteX12" fmla="*/ 146028 w 270760"/>
                  <a:gd name="connsiteY12" fmla="*/ 9373 h 398781"/>
                  <a:gd name="connsiteX13" fmla="*/ 115606 w 270760"/>
                  <a:gd name="connsiteY13" fmla="*/ 15458 h 398781"/>
                  <a:gd name="connsiteX14" fmla="*/ 15211 w 270760"/>
                  <a:gd name="connsiteY14" fmla="*/ 280134 h 398781"/>
                  <a:gd name="connsiteX15" fmla="*/ 18254 w 270760"/>
                  <a:gd name="connsiteY15" fmla="*/ 350106 h 398781"/>
                  <a:gd name="connsiteX16" fmla="*/ 106479 w 270760"/>
                  <a:gd name="connsiteY16" fmla="*/ 389655 h 398781"/>
                  <a:gd name="connsiteX17" fmla="*/ 127775 w 270760"/>
                  <a:gd name="connsiteY17" fmla="*/ 386613 h 398781"/>
                  <a:gd name="connsiteX18" fmla="*/ 139944 w 270760"/>
                  <a:gd name="connsiteY18" fmla="*/ 368359 h 398781"/>
                  <a:gd name="connsiteX19" fmla="*/ 255549 w 270760"/>
                  <a:gd name="connsiteY19" fmla="*/ 70218 h 398781"/>
                  <a:gd name="connsiteX20" fmla="*/ 216000 w 270760"/>
                  <a:gd name="connsiteY20" fmla="*/ 33711 h 398781"/>
                  <a:gd name="connsiteX21" fmla="*/ 146028 w 270760"/>
                  <a:gd name="connsiteY21" fmla="*/ 9373 h 398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0760" h="398781">
                    <a:moveTo>
                      <a:pt x="115606" y="398782"/>
                    </a:moveTo>
                    <a:cubicBezTo>
                      <a:pt x="112563" y="398782"/>
                      <a:pt x="109521" y="398782"/>
                      <a:pt x="106479" y="398782"/>
                    </a:cubicBezTo>
                    <a:cubicBezTo>
                      <a:pt x="76056" y="392697"/>
                      <a:pt x="36507" y="380528"/>
                      <a:pt x="12169" y="359232"/>
                    </a:cubicBezTo>
                    <a:cubicBezTo>
                      <a:pt x="0" y="350106"/>
                      <a:pt x="-3042" y="322725"/>
                      <a:pt x="3042" y="280134"/>
                    </a:cubicBezTo>
                    <a:cubicBezTo>
                      <a:pt x="18254" y="185824"/>
                      <a:pt x="76056" y="21542"/>
                      <a:pt x="109521" y="6331"/>
                    </a:cubicBezTo>
                    <a:cubicBezTo>
                      <a:pt x="136901" y="-5838"/>
                      <a:pt x="185577" y="247"/>
                      <a:pt x="225127" y="18500"/>
                    </a:cubicBezTo>
                    <a:cubicBezTo>
                      <a:pt x="249465" y="30669"/>
                      <a:pt x="264676" y="45880"/>
                      <a:pt x="270761" y="67176"/>
                    </a:cubicBezTo>
                    <a:lnTo>
                      <a:pt x="270761" y="70218"/>
                    </a:lnTo>
                    <a:lnTo>
                      <a:pt x="270761" y="73261"/>
                    </a:lnTo>
                    <a:cubicBezTo>
                      <a:pt x="270761" y="73261"/>
                      <a:pt x="179493" y="225373"/>
                      <a:pt x="155155" y="371402"/>
                    </a:cubicBezTo>
                    <a:cubicBezTo>
                      <a:pt x="152113" y="380528"/>
                      <a:pt x="146028" y="389655"/>
                      <a:pt x="139944" y="395740"/>
                    </a:cubicBezTo>
                    <a:cubicBezTo>
                      <a:pt x="130817" y="395740"/>
                      <a:pt x="121690" y="398782"/>
                      <a:pt x="115606" y="398782"/>
                    </a:cubicBezTo>
                    <a:close/>
                    <a:moveTo>
                      <a:pt x="146028" y="9373"/>
                    </a:moveTo>
                    <a:cubicBezTo>
                      <a:pt x="133859" y="9373"/>
                      <a:pt x="121690" y="12415"/>
                      <a:pt x="115606" y="15458"/>
                    </a:cubicBezTo>
                    <a:cubicBezTo>
                      <a:pt x="91268" y="24585"/>
                      <a:pt x="30423" y="176697"/>
                      <a:pt x="15211" y="280134"/>
                    </a:cubicBezTo>
                    <a:cubicBezTo>
                      <a:pt x="6084" y="331852"/>
                      <a:pt x="15211" y="347063"/>
                      <a:pt x="18254" y="350106"/>
                    </a:cubicBezTo>
                    <a:cubicBezTo>
                      <a:pt x="39549" y="368359"/>
                      <a:pt x="79099" y="380528"/>
                      <a:pt x="106479" y="389655"/>
                    </a:cubicBezTo>
                    <a:cubicBezTo>
                      <a:pt x="112563" y="392697"/>
                      <a:pt x="121690" y="389655"/>
                      <a:pt x="127775" y="386613"/>
                    </a:cubicBezTo>
                    <a:cubicBezTo>
                      <a:pt x="133859" y="383570"/>
                      <a:pt x="136901" y="377486"/>
                      <a:pt x="139944" y="368359"/>
                    </a:cubicBezTo>
                    <a:cubicBezTo>
                      <a:pt x="164282" y="228416"/>
                      <a:pt x="246423" y="88472"/>
                      <a:pt x="255549" y="70218"/>
                    </a:cubicBezTo>
                    <a:cubicBezTo>
                      <a:pt x="249465" y="51965"/>
                      <a:pt x="231211" y="39796"/>
                      <a:pt x="216000" y="33711"/>
                    </a:cubicBezTo>
                    <a:cubicBezTo>
                      <a:pt x="197746" y="15458"/>
                      <a:pt x="170366" y="9373"/>
                      <a:pt x="146028" y="937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59" name="图形 1">
              <a:extLst>
                <a:ext uri="{FF2B5EF4-FFF2-40B4-BE49-F238E27FC236}">
                  <a16:creationId xmlns:a16="http://schemas.microsoft.com/office/drawing/2014/main" id="{E37F79C1-4061-47F0-8DFC-4337294AAFF0}"/>
                </a:ext>
              </a:extLst>
            </p:cNvPr>
            <p:cNvGrpSpPr/>
            <p:nvPr/>
          </p:nvGrpSpPr>
          <p:grpSpPr>
            <a:xfrm>
              <a:off x="3136652" y="2386310"/>
              <a:ext cx="1144051" cy="310309"/>
              <a:chOff x="3136652" y="2386310"/>
              <a:chExt cx="1144051" cy="310309"/>
            </a:xfrm>
          </p:grpSpPr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0413C6C5-CA56-47DC-9E49-029E09226D92}"/>
                  </a:ext>
                </a:extLst>
              </p:cNvPr>
              <p:cNvSpPr/>
              <p:nvPr/>
            </p:nvSpPr>
            <p:spPr>
              <a:xfrm>
                <a:off x="3221835" y="2389353"/>
                <a:ext cx="1058868" cy="307267"/>
              </a:xfrm>
              <a:custGeom>
                <a:avLst/>
                <a:gdLst>
                  <a:gd name="connsiteX0" fmla="*/ 973521 w 1058868"/>
                  <a:gd name="connsiteY0" fmla="*/ 9127 h 307267"/>
                  <a:gd name="connsiteX1" fmla="*/ 3042 w 1058868"/>
                  <a:gd name="connsiteY1" fmla="*/ 0 h 307267"/>
                  <a:gd name="connsiteX2" fmla="*/ 0 w 1058868"/>
                  <a:gd name="connsiteY2" fmla="*/ 298141 h 307267"/>
                  <a:gd name="connsiteX3" fmla="*/ 970479 w 1058868"/>
                  <a:gd name="connsiteY3" fmla="*/ 307268 h 307267"/>
                  <a:gd name="connsiteX4" fmla="*/ 1058704 w 1058868"/>
                  <a:gd name="connsiteY4" fmla="*/ 158197 h 307267"/>
                  <a:gd name="connsiteX5" fmla="*/ 973521 w 1058868"/>
                  <a:gd name="connsiteY5" fmla="*/ 9127 h 307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58868" h="307267">
                    <a:moveTo>
                      <a:pt x="973521" y="9127"/>
                    </a:moveTo>
                    <a:lnTo>
                      <a:pt x="3042" y="0"/>
                    </a:lnTo>
                    <a:lnTo>
                      <a:pt x="0" y="298141"/>
                    </a:lnTo>
                    <a:lnTo>
                      <a:pt x="970479" y="307268"/>
                    </a:lnTo>
                    <a:cubicBezTo>
                      <a:pt x="1019155" y="307268"/>
                      <a:pt x="1058704" y="240338"/>
                      <a:pt x="1058704" y="158197"/>
                    </a:cubicBezTo>
                    <a:cubicBezTo>
                      <a:pt x="1061747" y="76056"/>
                      <a:pt x="1022197" y="9127"/>
                      <a:pt x="973521" y="9127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ABA1B193-C9F8-40E9-A0C3-0A9259FA438A}"/>
                  </a:ext>
                </a:extLst>
              </p:cNvPr>
              <p:cNvSpPr/>
              <p:nvPr/>
            </p:nvSpPr>
            <p:spPr>
              <a:xfrm>
                <a:off x="3136652" y="2386310"/>
                <a:ext cx="173408" cy="298140"/>
              </a:xfrm>
              <a:custGeom>
                <a:avLst/>
                <a:gdLst>
                  <a:gd name="connsiteX0" fmla="*/ 0 w 173408"/>
                  <a:gd name="connsiteY0" fmla="*/ 149070 h 298140"/>
                  <a:gd name="connsiteX1" fmla="*/ 85183 w 173408"/>
                  <a:gd name="connsiteY1" fmla="*/ 298141 h 298140"/>
                  <a:gd name="connsiteX2" fmla="*/ 173408 w 173408"/>
                  <a:gd name="connsiteY2" fmla="*/ 149070 h 298140"/>
                  <a:gd name="connsiteX3" fmla="*/ 88225 w 173408"/>
                  <a:gd name="connsiteY3" fmla="*/ 0 h 298140"/>
                  <a:gd name="connsiteX4" fmla="*/ 0 w 173408"/>
                  <a:gd name="connsiteY4" fmla="*/ 149070 h 298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408" h="298140">
                    <a:moveTo>
                      <a:pt x="0" y="149070"/>
                    </a:moveTo>
                    <a:cubicBezTo>
                      <a:pt x="0" y="231211"/>
                      <a:pt x="36507" y="298141"/>
                      <a:pt x="85183" y="298141"/>
                    </a:cubicBezTo>
                    <a:cubicBezTo>
                      <a:pt x="133859" y="298141"/>
                      <a:pt x="173408" y="231211"/>
                      <a:pt x="173408" y="149070"/>
                    </a:cubicBezTo>
                    <a:cubicBezTo>
                      <a:pt x="173408" y="66930"/>
                      <a:pt x="136901" y="0"/>
                      <a:pt x="88225" y="0"/>
                    </a:cubicBezTo>
                    <a:cubicBezTo>
                      <a:pt x="42592" y="3042"/>
                      <a:pt x="0" y="66930"/>
                      <a:pt x="0" y="149070"/>
                    </a:cubicBezTo>
                    <a:close/>
                  </a:path>
                </a:pathLst>
              </a:custGeom>
              <a:solidFill>
                <a:srgbClr val="E2CCA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A3D89503-2EED-468D-91A8-98D7751AB0FD}"/>
                  </a:ext>
                </a:extLst>
              </p:cNvPr>
              <p:cNvSpPr/>
              <p:nvPr/>
            </p:nvSpPr>
            <p:spPr>
              <a:xfrm>
                <a:off x="3148154" y="2410649"/>
                <a:ext cx="126561" cy="237295"/>
              </a:xfrm>
              <a:custGeom>
                <a:avLst/>
                <a:gdLst>
                  <a:gd name="connsiteX0" fmla="*/ 67596 w 126561"/>
                  <a:gd name="connsiteY0" fmla="*/ 237296 h 237295"/>
                  <a:gd name="connsiteX1" fmla="*/ 58470 w 126561"/>
                  <a:gd name="connsiteY1" fmla="*/ 237296 h 237295"/>
                  <a:gd name="connsiteX2" fmla="*/ 9794 w 126561"/>
                  <a:gd name="connsiteY2" fmla="*/ 179493 h 237295"/>
                  <a:gd name="connsiteX3" fmla="*/ 70639 w 126561"/>
                  <a:gd name="connsiteY3" fmla="*/ 0 h 237295"/>
                  <a:gd name="connsiteX4" fmla="*/ 76723 w 126561"/>
                  <a:gd name="connsiteY4" fmla="*/ 3042 h 237295"/>
                  <a:gd name="connsiteX5" fmla="*/ 73681 w 126561"/>
                  <a:gd name="connsiteY5" fmla="*/ 9127 h 237295"/>
                  <a:gd name="connsiteX6" fmla="*/ 18920 w 126561"/>
                  <a:gd name="connsiteY6" fmla="*/ 176451 h 237295"/>
                  <a:gd name="connsiteX7" fmla="*/ 58470 w 126561"/>
                  <a:gd name="connsiteY7" fmla="*/ 228169 h 237295"/>
                  <a:gd name="connsiteX8" fmla="*/ 110188 w 126561"/>
                  <a:gd name="connsiteY8" fmla="*/ 194704 h 237295"/>
                  <a:gd name="connsiteX9" fmla="*/ 104104 w 126561"/>
                  <a:gd name="connsiteY9" fmla="*/ 54761 h 237295"/>
                  <a:gd name="connsiteX10" fmla="*/ 76723 w 126561"/>
                  <a:gd name="connsiteY10" fmla="*/ 51718 h 237295"/>
                  <a:gd name="connsiteX11" fmla="*/ 55427 w 126561"/>
                  <a:gd name="connsiteY11" fmla="*/ 103437 h 237295"/>
                  <a:gd name="connsiteX12" fmla="*/ 52385 w 126561"/>
                  <a:gd name="connsiteY12" fmla="*/ 112563 h 237295"/>
                  <a:gd name="connsiteX13" fmla="*/ 70639 w 126561"/>
                  <a:gd name="connsiteY13" fmla="*/ 182535 h 237295"/>
                  <a:gd name="connsiteX14" fmla="*/ 76723 w 126561"/>
                  <a:gd name="connsiteY14" fmla="*/ 182535 h 237295"/>
                  <a:gd name="connsiteX15" fmla="*/ 88892 w 126561"/>
                  <a:gd name="connsiteY15" fmla="*/ 139944 h 237295"/>
                  <a:gd name="connsiteX16" fmla="*/ 85850 w 126561"/>
                  <a:gd name="connsiteY16" fmla="*/ 136901 h 237295"/>
                  <a:gd name="connsiteX17" fmla="*/ 79765 w 126561"/>
                  <a:gd name="connsiteY17" fmla="*/ 142986 h 237295"/>
                  <a:gd name="connsiteX18" fmla="*/ 73681 w 126561"/>
                  <a:gd name="connsiteY18" fmla="*/ 149070 h 237295"/>
                  <a:gd name="connsiteX19" fmla="*/ 67596 w 126561"/>
                  <a:gd name="connsiteY19" fmla="*/ 142986 h 237295"/>
                  <a:gd name="connsiteX20" fmla="*/ 82808 w 126561"/>
                  <a:gd name="connsiteY20" fmla="*/ 124732 h 237295"/>
                  <a:gd name="connsiteX21" fmla="*/ 98019 w 126561"/>
                  <a:gd name="connsiteY21" fmla="*/ 136901 h 237295"/>
                  <a:gd name="connsiteX22" fmla="*/ 82808 w 126561"/>
                  <a:gd name="connsiteY22" fmla="*/ 188620 h 237295"/>
                  <a:gd name="connsiteX23" fmla="*/ 61512 w 126561"/>
                  <a:gd name="connsiteY23" fmla="*/ 191662 h 237295"/>
                  <a:gd name="connsiteX24" fmla="*/ 40216 w 126561"/>
                  <a:gd name="connsiteY24" fmla="*/ 112563 h 237295"/>
                  <a:gd name="connsiteX25" fmla="*/ 40216 w 126561"/>
                  <a:gd name="connsiteY25" fmla="*/ 103437 h 237295"/>
                  <a:gd name="connsiteX26" fmla="*/ 67596 w 126561"/>
                  <a:gd name="connsiteY26" fmla="*/ 42592 h 237295"/>
                  <a:gd name="connsiteX27" fmla="*/ 107146 w 126561"/>
                  <a:gd name="connsiteY27" fmla="*/ 48676 h 237295"/>
                  <a:gd name="connsiteX28" fmla="*/ 116273 w 126561"/>
                  <a:gd name="connsiteY28" fmla="*/ 203831 h 237295"/>
                  <a:gd name="connsiteX29" fmla="*/ 67596 w 126561"/>
                  <a:gd name="connsiteY29" fmla="*/ 237296 h 237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26561" h="237295">
                    <a:moveTo>
                      <a:pt x="67596" y="237296"/>
                    </a:moveTo>
                    <a:cubicBezTo>
                      <a:pt x="64554" y="237296"/>
                      <a:pt x="61512" y="237296"/>
                      <a:pt x="58470" y="237296"/>
                    </a:cubicBezTo>
                    <a:cubicBezTo>
                      <a:pt x="34132" y="231211"/>
                      <a:pt x="18920" y="197746"/>
                      <a:pt x="9794" y="179493"/>
                    </a:cubicBezTo>
                    <a:cubicBezTo>
                      <a:pt x="-14544" y="112563"/>
                      <a:pt x="6751" y="24338"/>
                      <a:pt x="70639" y="0"/>
                    </a:cubicBezTo>
                    <a:cubicBezTo>
                      <a:pt x="73681" y="0"/>
                      <a:pt x="76723" y="0"/>
                      <a:pt x="76723" y="3042"/>
                    </a:cubicBezTo>
                    <a:cubicBezTo>
                      <a:pt x="76723" y="6084"/>
                      <a:pt x="76723" y="9127"/>
                      <a:pt x="73681" y="9127"/>
                    </a:cubicBezTo>
                    <a:cubicBezTo>
                      <a:pt x="9794" y="33465"/>
                      <a:pt x="667" y="121690"/>
                      <a:pt x="18920" y="176451"/>
                    </a:cubicBezTo>
                    <a:cubicBezTo>
                      <a:pt x="21963" y="188620"/>
                      <a:pt x="37174" y="222084"/>
                      <a:pt x="58470" y="228169"/>
                    </a:cubicBezTo>
                    <a:cubicBezTo>
                      <a:pt x="82808" y="234253"/>
                      <a:pt x="101061" y="209915"/>
                      <a:pt x="110188" y="194704"/>
                    </a:cubicBezTo>
                    <a:cubicBezTo>
                      <a:pt x="119315" y="176451"/>
                      <a:pt x="128442" y="79099"/>
                      <a:pt x="104104" y="54761"/>
                    </a:cubicBezTo>
                    <a:cubicBezTo>
                      <a:pt x="101061" y="51718"/>
                      <a:pt x="91935" y="45634"/>
                      <a:pt x="76723" y="51718"/>
                    </a:cubicBezTo>
                    <a:cubicBezTo>
                      <a:pt x="61512" y="57803"/>
                      <a:pt x="58470" y="85183"/>
                      <a:pt x="55427" y="103437"/>
                    </a:cubicBezTo>
                    <a:cubicBezTo>
                      <a:pt x="55427" y="106479"/>
                      <a:pt x="55427" y="109521"/>
                      <a:pt x="52385" y="112563"/>
                    </a:cubicBezTo>
                    <a:cubicBezTo>
                      <a:pt x="46301" y="142986"/>
                      <a:pt x="49343" y="164282"/>
                      <a:pt x="70639" y="182535"/>
                    </a:cubicBezTo>
                    <a:cubicBezTo>
                      <a:pt x="70639" y="182535"/>
                      <a:pt x="73681" y="182535"/>
                      <a:pt x="76723" y="182535"/>
                    </a:cubicBezTo>
                    <a:cubicBezTo>
                      <a:pt x="88892" y="167324"/>
                      <a:pt x="91935" y="158197"/>
                      <a:pt x="88892" y="139944"/>
                    </a:cubicBezTo>
                    <a:cubicBezTo>
                      <a:pt x="88892" y="139944"/>
                      <a:pt x="88892" y="136901"/>
                      <a:pt x="85850" y="136901"/>
                    </a:cubicBezTo>
                    <a:cubicBezTo>
                      <a:pt x="82808" y="136901"/>
                      <a:pt x="79765" y="139944"/>
                      <a:pt x="79765" y="142986"/>
                    </a:cubicBezTo>
                    <a:cubicBezTo>
                      <a:pt x="79765" y="146028"/>
                      <a:pt x="76723" y="149070"/>
                      <a:pt x="73681" y="149070"/>
                    </a:cubicBezTo>
                    <a:cubicBezTo>
                      <a:pt x="70639" y="149070"/>
                      <a:pt x="67596" y="146028"/>
                      <a:pt x="67596" y="142986"/>
                    </a:cubicBezTo>
                    <a:cubicBezTo>
                      <a:pt x="67596" y="133859"/>
                      <a:pt x="73681" y="124732"/>
                      <a:pt x="82808" y="124732"/>
                    </a:cubicBezTo>
                    <a:cubicBezTo>
                      <a:pt x="91935" y="124732"/>
                      <a:pt x="98019" y="127775"/>
                      <a:pt x="98019" y="136901"/>
                    </a:cubicBezTo>
                    <a:cubicBezTo>
                      <a:pt x="101061" y="158197"/>
                      <a:pt x="98019" y="173408"/>
                      <a:pt x="82808" y="188620"/>
                    </a:cubicBezTo>
                    <a:cubicBezTo>
                      <a:pt x="76723" y="194704"/>
                      <a:pt x="67596" y="194704"/>
                      <a:pt x="61512" y="191662"/>
                    </a:cubicBezTo>
                    <a:cubicBezTo>
                      <a:pt x="31089" y="170366"/>
                      <a:pt x="34132" y="139944"/>
                      <a:pt x="40216" y="112563"/>
                    </a:cubicBezTo>
                    <a:cubicBezTo>
                      <a:pt x="40216" y="109521"/>
                      <a:pt x="40216" y="106479"/>
                      <a:pt x="40216" y="103437"/>
                    </a:cubicBezTo>
                    <a:cubicBezTo>
                      <a:pt x="43258" y="82141"/>
                      <a:pt x="46301" y="54761"/>
                      <a:pt x="67596" y="42592"/>
                    </a:cubicBezTo>
                    <a:cubicBezTo>
                      <a:pt x="85850" y="33465"/>
                      <a:pt x="98019" y="39549"/>
                      <a:pt x="107146" y="48676"/>
                    </a:cubicBezTo>
                    <a:cubicBezTo>
                      <a:pt x="137568" y="79099"/>
                      <a:pt x="125399" y="179493"/>
                      <a:pt x="116273" y="203831"/>
                    </a:cubicBezTo>
                    <a:cubicBezTo>
                      <a:pt x="113230" y="219042"/>
                      <a:pt x="91935" y="237296"/>
                      <a:pt x="67596" y="23729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63" name="图形 1">
              <a:extLst>
                <a:ext uri="{FF2B5EF4-FFF2-40B4-BE49-F238E27FC236}">
                  <a16:creationId xmlns:a16="http://schemas.microsoft.com/office/drawing/2014/main" id="{E37F79C1-4061-47F0-8DFC-4337294AAFF0}"/>
                </a:ext>
              </a:extLst>
            </p:cNvPr>
            <p:cNvGrpSpPr/>
            <p:nvPr/>
          </p:nvGrpSpPr>
          <p:grpSpPr>
            <a:xfrm>
              <a:off x="3928652" y="6183043"/>
              <a:ext cx="494873" cy="340732"/>
              <a:chOff x="3928652" y="6183043"/>
              <a:chExt cx="494873" cy="340732"/>
            </a:xfrm>
          </p:grpSpPr>
          <p:sp>
            <p:nvSpPr>
              <p:cNvPr id="164" name="任意多边形: 形状 163">
                <a:extLst>
                  <a:ext uri="{FF2B5EF4-FFF2-40B4-BE49-F238E27FC236}">
                    <a16:creationId xmlns:a16="http://schemas.microsoft.com/office/drawing/2014/main" id="{BA0BAEB7-D102-4C89-AAC7-82F9BFBAD552}"/>
                  </a:ext>
                </a:extLst>
              </p:cNvPr>
              <p:cNvSpPr/>
              <p:nvPr/>
            </p:nvSpPr>
            <p:spPr>
              <a:xfrm>
                <a:off x="3945891" y="6183043"/>
                <a:ext cx="182535" cy="222084"/>
              </a:xfrm>
              <a:custGeom>
                <a:avLst/>
                <a:gdLst>
                  <a:gd name="connsiteX0" fmla="*/ 6084 w 182535"/>
                  <a:gd name="connsiteY0" fmla="*/ 185577 h 222084"/>
                  <a:gd name="connsiteX1" fmla="*/ 0 w 182535"/>
                  <a:gd name="connsiteY1" fmla="*/ 0 h 222084"/>
                  <a:gd name="connsiteX2" fmla="*/ 182535 w 182535"/>
                  <a:gd name="connsiteY2" fmla="*/ 0 h 222084"/>
                  <a:gd name="connsiteX3" fmla="*/ 167324 w 182535"/>
                  <a:gd name="connsiteY3" fmla="*/ 194704 h 222084"/>
                  <a:gd name="connsiteX4" fmla="*/ 18253 w 182535"/>
                  <a:gd name="connsiteY4" fmla="*/ 222084 h 222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535" h="222084">
                    <a:moveTo>
                      <a:pt x="6084" y="185577"/>
                    </a:moveTo>
                    <a:lnTo>
                      <a:pt x="0" y="0"/>
                    </a:lnTo>
                    <a:lnTo>
                      <a:pt x="182535" y="0"/>
                    </a:lnTo>
                    <a:lnTo>
                      <a:pt x="167324" y="194704"/>
                    </a:lnTo>
                    <a:lnTo>
                      <a:pt x="18253" y="222084"/>
                    </a:ln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FDD1C82A-F0B9-4912-B858-BB086D6AD09C}"/>
                  </a:ext>
                </a:extLst>
              </p:cNvPr>
              <p:cNvSpPr/>
              <p:nvPr/>
            </p:nvSpPr>
            <p:spPr>
              <a:xfrm>
                <a:off x="3928652" y="6322986"/>
                <a:ext cx="494873" cy="158197"/>
              </a:xfrm>
              <a:custGeom>
                <a:avLst/>
                <a:gdLst>
                  <a:gd name="connsiteX0" fmla="*/ 8113 w 494873"/>
                  <a:gd name="connsiteY0" fmla="*/ 45634 h 158197"/>
                  <a:gd name="connsiteX1" fmla="*/ 193690 w 494873"/>
                  <a:gd name="connsiteY1" fmla="*/ 0 h 158197"/>
                  <a:gd name="connsiteX2" fmla="*/ 327549 w 494873"/>
                  <a:gd name="connsiteY2" fmla="*/ 79099 h 158197"/>
                  <a:gd name="connsiteX3" fmla="*/ 494873 w 494873"/>
                  <a:gd name="connsiteY3" fmla="*/ 158197 h 158197"/>
                  <a:gd name="connsiteX4" fmla="*/ 8113 w 494873"/>
                  <a:gd name="connsiteY4" fmla="*/ 158197 h 158197"/>
                  <a:gd name="connsiteX5" fmla="*/ 8113 w 494873"/>
                  <a:gd name="connsiteY5" fmla="*/ 45634 h 158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4873" h="158197">
                    <a:moveTo>
                      <a:pt x="8113" y="45634"/>
                    </a:moveTo>
                    <a:cubicBezTo>
                      <a:pt x="8113" y="45634"/>
                      <a:pt x="132845" y="63888"/>
                      <a:pt x="193690" y="0"/>
                    </a:cubicBezTo>
                    <a:cubicBezTo>
                      <a:pt x="193690" y="0"/>
                      <a:pt x="281915" y="69972"/>
                      <a:pt x="327549" y="79099"/>
                    </a:cubicBezTo>
                    <a:cubicBezTo>
                      <a:pt x="373183" y="88226"/>
                      <a:pt x="482704" y="85183"/>
                      <a:pt x="494873" y="158197"/>
                    </a:cubicBezTo>
                    <a:lnTo>
                      <a:pt x="8113" y="158197"/>
                    </a:lnTo>
                    <a:cubicBezTo>
                      <a:pt x="8113" y="155155"/>
                      <a:pt x="-10141" y="94310"/>
                      <a:pt x="8113" y="45634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04DBD579-EC73-4E30-94E8-F841B5D56E84}"/>
                  </a:ext>
                </a:extLst>
              </p:cNvPr>
              <p:cNvSpPr/>
              <p:nvPr/>
            </p:nvSpPr>
            <p:spPr>
              <a:xfrm>
                <a:off x="3936764" y="6478141"/>
                <a:ext cx="486760" cy="45633"/>
              </a:xfrm>
              <a:custGeom>
                <a:avLst/>
                <a:gdLst>
                  <a:gd name="connsiteX0" fmla="*/ 0 w 486760"/>
                  <a:gd name="connsiteY0" fmla="*/ 0 h 45633"/>
                  <a:gd name="connsiteX1" fmla="*/ 486761 w 486760"/>
                  <a:gd name="connsiteY1" fmla="*/ 0 h 45633"/>
                  <a:gd name="connsiteX2" fmla="*/ 486761 w 486760"/>
                  <a:gd name="connsiteY2" fmla="*/ 45634 h 45633"/>
                  <a:gd name="connsiteX3" fmla="*/ 0 w 486760"/>
                  <a:gd name="connsiteY3" fmla="*/ 45634 h 45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6760" h="45633">
                    <a:moveTo>
                      <a:pt x="0" y="0"/>
                    </a:moveTo>
                    <a:lnTo>
                      <a:pt x="486761" y="0"/>
                    </a:lnTo>
                    <a:lnTo>
                      <a:pt x="486761" y="45634"/>
                    </a:lnTo>
                    <a:lnTo>
                      <a:pt x="0" y="45634"/>
                    </a:lnTo>
                    <a:close/>
                  </a:path>
                </a:pathLst>
              </a:custGeom>
              <a:solidFill>
                <a:srgbClr val="38333D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7524F883-7303-473E-91FC-08BF846E4560}"/>
                  </a:ext>
                </a:extLst>
              </p:cNvPr>
              <p:cNvSpPr/>
              <p:nvPr/>
            </p:nvSpPr>
            <p:spPr>
              <a:xfrm>
                <a:off x="3930680" y="6311578"/>
                <a:ext cx="200028" cy="63126"/>
              </a:xfrm>
              <a:custGeom>
                <a:avLst/>
                <a:gdLst>
                  <a:gd name="connsiteX0" fmla="*/ 42591 w 200028"/>
                  <a:gd name="connsiteY0" fmla="*/ 63127 h 63126"/>
                  <a:gd name="connsiteX1" fmla="*/ 6084 w 200028"/>
                  <a:gd name="connsiteY1" fmla="*/ 60085 h 63126"/>
                  <a:gd name="connsiteX2" fmla="*/ 0 w 200028"/>
                  <a:gd name="connsiteY2" fmla="*/ 54000 h 63126"/>
                  <a:gd name="connsiteX3" fmla="*/ 6084 w 200028"/>
                  <a:gd name="connsiteY3" fmla="*/ 47915 h 63126"/>
                  <a:gd name="connsiteX4" fmla="*/ 188620 w 200028"/>
                  <a:gd name="connsiteY4" fmla="*/ 2281 h 63126"/>
                  <a:gd name="connsiteX5" fmla="*/ 197746 w 200028"/>
                  <a:gd name="connsiteY5" fmla="*/ 2281 h 63126"/>
                  <a:gd name="connsiteX6" fmla="*/ 197746 w 200028"/>
                  <a:gd name="connsiteY6" fmla="*/ 11408 h 63126"/>
                  <a:gd name="connsiteX7" fmla="*/ 42591 w 200028"/>
                  <a:gd name="connsiteY7" fmla="*/ 63127 h 63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0028" h="63126">
                    <a:moveTo>
                      <a:pt x="42591" y="63127"/>
                    </a:moveTo>
                    <a:cubicBezTo>
                      <a:pt x="21296" y="63127"/>
                      <a:pt x="9127" y="60085"/>
                      <a:pt x="6084" y="60085"/>
                    </a:cubicBezTo>
                    <a:cubicBezTo>
                      <a:pt x="3042" y="60085"/>
                      <a:pt x="0" y="57042"/>
                      <a:pt x="0" y="54000"/>
                    </a:cubicBezTo>
                    <a:cubicBezTo>
                      <a:pt x="0" y="50958"/>
                      <a:pt x="3042" y="47915"/>
                      <a:pt x="6084" y="47915"/>
                    </a:cubicBezTo>
                    <a:cubicBezTo>
                      <a:pt x="6084" y="47915"/>
                      <a:pt x="118648" y="63127"/>
                      <a:pt x="188620" y="2281"/>
                    </a:cubicBezTo>
                    <a:cubicBezTo>
                      <a:pt x="191662" y="-760"/>
                      <a:pt x="194704" y="-760"/>
                      <a:pt x="197746" y="2281"/>
                    </a:cubicBezTo>
                    <a:cubicBezTo>
                      <a:pt x="200789" y="5324"/>
                      <a:pt x="200789" y="8366"/>
                      <a:pt x="197746" y="11408"/>
                    </a:cubicBezTo>
                    <a:cubicBezTo>
                      <a:pt x="149070" y="57042"/>
                      <a:pt x="82141" y="63127"/>
                      <a:pt x="42591" y="6312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8" name="任意多边形: 形状 167">
                <a:extLst>
                  <a:ext uri="{FF2B5EF4-FFF2-40B4-BE49-F238E27FC236}">
                    <a16:creationId xmlns:a16="http://schemas.microsoft.com/office/drawing/2014/main" id="{B3426A33-5A5F-4ED0-8417-741DCC2CFA70}"/>
                  </a:ext>
                </a:extLst>
              </p:cNvPr>
              <p:cNvSpPr/>
              <p:nvPr/>
            </p:nvSpPr>
            <p:spPr>
              <a:xfrm>
                <a:off x="4126145" y="6338958"/>
                <a:ext cx="38028" cy="41831"/>
              </a:xfrm>
              <a:custGeom>
                <a:avLst/>
                <a:gdLst>
                  <a:gd name="connsiteX0" fmla="*/ 5324 w 38028"/>
                  <a:gd name="connsiteY0" fmla="*/ 41831 h 41831"/>
                  <a:gd name="connsiteX1" fmla="*/ 2282 w 38028"/>
                  <a:gd name="connsiteY1" fmla="*/ 38789 h 41831"/>
                  <a:gd name="connsiteX2" fmla="*/ 2282 w 38028"/>
                  <a:gd name="connsiteY2" fmla="*/ 29662 h 41831"/>
                  <a:gd name="connsiteX3" fmla="*/ 26620 w 38028"/>
                  <a:gd name="connsiteY3" fmla="*/ 2282 h 41831"/>
                  <a:gd name="connsiteX4" fmla="*/ 35746 w 38028"/>
                  <a:gd name="connsiteY4" fmla="*/ 2282 h 41831"/>
                  <a:gd name="connsiteX5" fmla="*/ 35746 w 38028"/>
                  <a:gd name="connsiteY5" fmla="*/ 11409 h 41831"/>
                  <a:gd name="connsiteX6" fmla="*/ 11408 w 38028"/>
                  <a:gd name="connsiteY6" fmla="*/ 38789 h 41831"/>
                  <a:gd name="connsiteX7" fmla="*/ 5324 w 38028"/>
                  <a:gd name="connsiteY7" fmla="*/ 41831 h 41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028" h="41831">
                    <a:moveTo>
                      <a:pt x="5324" y="41831"/>
                    </a:moveTo>
                    <a:cubicBezTo>
                      <a:pt x="5324" y="41831"/>
                      <a:pt x="2282" y="41831"/>
                      <a:pt x="2282" y="38789"/>
                    </a:cubicBezTo>
                    <a:cubicBezTo>
                      <a:pt x="-761" y="35746"/>
                      <a:pt x="-761" y="32704"/>
                      <a:pt x="2282" y="29662"/>
                    </a:cubicBezTo>
                    <a:lnTo>
                      <a:pt x="26620" y="2282"/>
                    </a:lnTo>
                    <a:cubicBezTo>
                      <a:pt x="29662" y="-761"/>
                      <a:pt x="32704" y="-761"/>
                      <a:pt x="35746" y="2282"/>
                    </a:cubicBezTo>
                    <a:cubicBezTo>
                      <a:pt x="38789" y="5324"/>
                      <a:pt x="38789" y="8366"/>
                      <a:pt x="35746" y="11409"/>
                    </a:cubicBezTo>
                    <a:lnTo>
                      <a:pt x="11408" y="38789"/>
                    </a:lnTo>
                    <a:cubicBezTo>
                      <a:pt x="8366" y="38789"/>
                      <a:pt x="8366" y="41831"/>
                      <a:pt x="5324" y="418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9" name="任意多边形: 形状 168">
                <a:extLst>
                  <a:ext uri="{FF2B5EF4-FFF2-40B4-BE49-F238E27FC236}">
                    <a16:creationId xmlns:a16="http://schemas.microsoft.com/office/drawing/2014/main" id="{C4124A19-1789-418A-87C4-8BA56504B8A1}"/>
                  </a:ext>
                </a:extLst>
              </p:cNvPr>
              <p:cNvSpPr/>
              <p:nvPr/>
            </p:nvSpPr>
            <p:spPr>
              <a:xfrm>
                <a:off x="4165694" y="6363296"/>
                <a:ext cx="41070" cy="41830"/>
              </a:xfrm>
              <a:custGeom>
                <a:avLst/>
                <a:gdLst>
                  <a:gd name="connsiteX0" fmla="*/ 5324 w 41070"/>
                  <a:gd name="connsiteY0" fmla="*/ 41831 h 41830"/>
                  <a:gd name="connsiteX1" fmla="*/ 2282 w 41070"/>
                  <a:gd name="connsiteY1" fmla="*/ 38789 h 41830"/>
                  <a:gd name="connsiteX2" fmla="*/ 2282 w 41070"/>
                  <a:gd name="connsiteY2" fmla="*/ 29662 h 41830"/>
                  <a:gd name="connsiteX3" fmla="*/ 29662 w 41070"/>
                  <a:gd name="connsiteY3" fmla="*/ 2282 h 41830"/>
                  <a:gd name="connsiteX4" fmla="*/ 38789 w 41070"/>
                  <a:gd name="connsiteY4" fmla="*/ 2282 h 41830"/>
                  <a:gd name="connsiteX5" fmla="*/ 38789 w 41070"/>
                  <a:gd name="connsiteY5" fmla="*/ 11408 h 41830"/>
                  <a:gd name="connsiteX6" fmla="*/ 11408 w 41070"/>
                  <a:gd name="connsiteY6" fmla="*/ 38789 h 41830"/>
                  <a:gd name="connsiteX7" fmla="*/ 5324 w 41070"/>
                  <a:gd name="connsiteY7" fmla="*/ 41831 h 41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070" h="41830">
                    <a:moveTo>
                      <a:pt x="5324" y="41831"/>
                    </a:moveTo>
                    <a:cubicBezTo>
                      <a:pt x="5324" y="41831"/>
                      <a:pt x="2282" y="41831"/>
                      <a:pt x="2282" y="38789"/>
                    </a:cubicBezTo>
                    <a:cubicBezTo>
                      <a:pt x="-761" y="35746"/>
                      <a:pt x="-761" y="32704"/>
                      <a:pt x="2282" y="29662"/>
                    </a:cubicBezTo>
                    <a:lnTo>
                      <a:pt x="29662" y="2282"/>
                    </a:lnTo>
                    <a:cubicBezTo>
                      <a:pt x="32704" y="-761"/>
                      <a:pt x="35746" y="-761"/>
                      <a:pt x="38789" y="2282"/>
                    </a:cubicBezTo>
                    <a:cubicBezTo>
                      <a:pt x="41831" y="5324"/>
                      <a:pt x="41831" y="8366"/>
                      <a:pt x="38789" y="11408"/>
                    </a:cubicBezTo>
                    <a:lnTo>
                      <a:pt x="11408" y="38789"/>
                    </a:lnTo>
                    <a:cubicBezTo>
                      <a:pt x="8366" y="41831"/>
                      <a:pt x="5324" y="41831"/>
                      <a:pt x="5324" y="418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70" name="图形 1">
              <a:extLst>
                <a:ext uri="{FF2B5EF4-FFF2-40B4-BE49-F238E27FC236}">
                  <a16:creationId xmlns:a16="http://schemas.microsoft.com/office/drawing/2014/main" id="{E37F79C1-4061-47F0-8DFC-4337294AAFF0}"/>
                </a:ext>
              </a:extLst>
            </p:cNvPr>
            <p:cNvGrpSpPr/>
            <p:nvPr/>
          </p:nvGrpSpPr>
          <p:grpSpPr>
            <a:xfrm>
              <a:off x="3216764" y="6183043"/>
              <a:ext cx="494873" cy="340732"/>
              <a:chOff x="3216764" y="6183043"/>
              <a:chExt cx="494873" cy="340732"/>
            </a:xfrm>
          </p:grpSpPr>
          <p:sp>
            <p:nvSpPr>
              <p:cNvPr id="171" name="任意多边形: 形状 170">
                <a:extLst>
                  <a:ext uri="{FF2B5EF4-FFF2-40B4-BE49-F238E27FC236}">
                    <a16:creationId xmlns:a16="http://schemas.microsoft.com/office/drawing/2014/main" id="{7F9FE0DD-C270-4139-A569-204157124B98}"/>
                  </a:ext>
                </a:extLst>
              </p:cNvPr>
              <p:cNvSpPr/>
              <p:nvPr/>
            </p:nvSpPr>
            <p:spPr>
              <a:xfrm>
                <a:off x="3221835" y="6183043"/>
                <a:ext cx="182535" cy="222084"/>
              </a:xfrm>
              <a:custGeom>
                <a:avLst/>
                <a:gdLst>
                  <a:gd name="connsiteX0" fmla="*/ 18254 w 182535"/>
                  <a:gd name="connsiteY0" fmla="*/ 185577 h 222084"/>
                  <a:gd name="connsiteX1" fmla="*/ 0 w 182535"/>
                  <a:gd name="connsiteY1" fmla="*/ 0 h 222084"/>
                  <a:gd name="connsiteX2" fmla="*/ 182535 w 182535"/>
                  <a:gd name="connsiteY2" fmla="*/ 0 h 222084"/>
                  <a:gd name="connsiteX3" fmla="*/ 179493 w 182535"/>
                  <a:gd name="connsiteY3" fmla="*/ 194704 h 222084"/>
                  <a:gd name="connsiteX4" fmla="*/ 30423 w 182535"/>
                  <a:gd name="connsiteY4" fmla="*/ 222084 h 222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535" h="222084">
                    <a:moveTo>
                      <a:pt x="18254" y="185577"/>
                    </a:moveTo>
                    <a:lnTo>
                      <a:pt x="0" y="0"/>
                    </a:lnTo>
                    <a:lnTo>
                      <a:pt x="182535" y="0"/>
                    </a:lnTo>
                    <a:lnTo>
                      <a:pt x="179493" y="194704"/>
                    </a:lnTo>
                    <a:lnTo>
                      <a:pt x="30423" y="222084"/>
                    </a:ln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2" name="任意多边形: 形状 171">
                <a:extLst>
                  <a:ext uri="{FF2B5EF4-FFF2-40B4-BE49-F238E27FC236}">
                    <a16:creationId xmlns:a16="http://schemas.microsoft.com/office/drawing/2014/main" id="{799B7F53-BC2E-4A76-8875-C000512AB331}"/>
                  </a:ext>
                </a:extLst>
              </p:cNvPr>
              <p:cNvSpPr/>
              <p:nvPr/>
            </p:nvSpPr>
            <p:spPr>
              <a:xfrm>
                <a:off x="3216764" y="6322986"/>
                <a:ext cx="494873" cy="158197"/>
              </a:xfrm>
              <a:custGeom>
                <a:avLst/>
                <a:gdLst>
                  <a:gd name="connsiteX0" fmla="*/ 8113 w 494873"/>
                  <a:gd name="connsiteY0" fmla="*/ 45634 h 158197"/>
                  <a:gd name="connsiteX1" fmla="*/ 193690 w 494873"/>
                  <a:gd name="connsiteY1" fmla="*/ 0 h 158197"/>
                  <a:gd name="connsiteX2" fmla="*/ 327549 w 494873"/>
                  <a:gd name="connsiteY2" fmla="*/ 79099 h 158197"/>
                  <a:gd name="connsiteX3" fmla="*/ 494873 w 494873"/>
                  <a:gd name="connsiteY3" fmla="*/ 158197 h 158197"/>
                  <a:gd name="connsiteX4" fmla="*/ 8113 w 494873"/>
                  <a:gd name="connsiteY4" fmla="*/ 158197 h 158197"/>
                  <a:gd name="connsiteX5" fmla="*/ 8113 w 494873"/>
                  <a:gd name="connsiteY5" fmla="*/ 45634 h 158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4873" h="158197">
                    <a:moveTo>
                      <a:pt x="8113" y="45634"/>
                    </a:moveTo>
                    <a:cubicBezTo>
                      <a:pt x="8113" y="45634"/>
                      <a:pt x="132845" y="63888"/>
                      <a:pt x="193690" y="0"/>
                    </a:cubicBezTo>
                    <a:cubicBezTo>
                      <a:pt x="193690" y="0"/>
                      <a:pt x="281916" y="69972"/>
                      <a:pt x="327549" y="79099"/>
                    </a:cubicBezTo>
                    <a:cubicBezTo>
                      <a:pt x="373183" y="88226"/>
                      <a:pt x="482704" y="85183"/>
                      <a:pt x="494873" y="158197"/>
                    </a:cubicBezTo>
                    <a:lnTo>
                      <a:pt x="8113" y="158197"/>
                    </a:lnTo>
                    <a:cubicBezTo>
                      <a:pt x="8113" y="155155"/>
                      <a:pt x="-10141" y="94310"/>
                      <a:pt x="8113" y="45634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3" name="任意多边形: 形状 172">
                <a:extLst>
                  <a:ext uri="{FF2B5EF4-FFF2-40B4-BE49-F238E27FC236}">
                    <a16:creationId xmlns:a16="http://schemas.microsoft.com/office/drawing/2014/main" id="{F0E1D5DB-065A-4AAA-A7A1-6004EEB77E58}"/>
                  </a:ext>
                </a:extLst>
              </p:cNvPr>
              <p:cNvSpPr/>
              <p:nvPr/>
            </p:nvSpPr>
            <p:spPr>
              <a:xfrm>
                <a:off x="3224877" y="6478141"/>
                <a:ext cx="486760" cy="45633"/>
              </a:xfrm>
              <a:custGeom>
                <a:avLst/>
                <a:gdLst>
                  <a:gd name="connsiteX0" fmla="*/ 0 w 486760"/>
                  <a:gd name="connsiteY0" fmla="*/ 0 h 45633"/>
                  <a:gd name="connsiteX1" fmla="*/ 486761 w 486760"/>
                  <a:gd name="connsiteY1" fmla="*/ 0 h 45633"/>
                  <a:gd name="connsiteX2" fmla="*/ 486761 w 486760"/>
                  <a:gd name="connsiteY2" fmla="*/ 45634 h 45633"/>
                  <a:gd name="connsiteX3" fmla="*/ 0 w 486760"/>
                  <a:gd name="connsiteY3" fmla="*/ 45634 h 45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6760" h="45633">
                    <a:moveTo>
                      <a:pt x="0" y="0"/>
                    </a:moveTo>
                    <a:lnTo>
                      <a:pt x="486761" y="0"/>
                    </a:lnTo>
                    <a:lnTo>
                      <a:pt x="486761" y="45634"/>
                    </a:lnTo>
                    <a:lnTo>
                      <a:pt x="0" y="45634"/>
                    </a:lnTo>
                    <a:close/>
                  </a:path>
                </a:pathLst>
              </a:custGeom>
              <a:solidFill>
                <a:srgbClr val="38333D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4" name="任意多边形: 形状 173">
                <a:extLst>
                  <a:ext uri="{FF2B5EF4-FFF2-40B4-BE49-F238E27FC236}">
                    <a16:creationId xmlns:a16="http://schemas.microsoft.com/office/drawing/2014/main" id="{1398A26B-4E7F-4D75-A01F-48465D35C427}"/>
                  </a:ext>
                </a:extLst>
              </p:cNvPr>
              <p:cNvSpPr/>
              <p:nvPr/>
            </p:nvSpPr>
            <p:spPr>
              <a:xfrm>
                <a:off x="3218792" y="6311578"/>
                <a:ext cx="200028" cy="63126"/>
              </a:xfrm>
              <a:custGeom>
                <a:avLst/>
                <a:gdLst>
                  <a:gd name="connsiteX0" fmla="*/ 42592 w 200028"/>
                  <a:gd name="connsiteY0" fmla="*/ 63127 h 63126"/>
                  <a:gd name="connsiteX1" fmla="*/ 6085 w 200028"/>
                  <a:gd name="connsiteY1" fmla="*/ 60085 h 63126"/>
                  <a:gd name="connsiteX2" fmla="*/ 0 w 200028"/>
                  <a:gd name="connsiteY2" fmla="*/ 54000 h 63126"/>
                  <a:gd name="connsiteX3" fmla="*/ 6085 w 200028"/>
                  <a:gd name="connsiteY3" fmla="*/ 47915 h 63126"/>
                  <a:gd name="connsiteX4" fmla="*/ 188620 w 200028"/>
                  <a:gd name="connsiteY4" fmla="*/ 2281 h 63126"/>
                  <a:gd name="connsiteX5" fmla="*/ 197746 w 200028"/>
                  <a:gd name="connsiteY5" fmla="*/ 2281 h 63126"/>
                  <a:gd name="connsiteX6" fmla="*/ 197746 w 200028"/>
                  <a:gd name="connsiteY6" fmla="*/ 11408 h 63126"/>
                  <a:gd name="connsiteX7" fmla="*/ 42592 w 200028"/>
                  <a:gd name="connsiteY7" fmla="*/ 63127 h 63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0028" h="63126">
                    <a:moveTo>
                      <a:pt x="42592" y="63127"/>
                    </a:moveTo>
                    <a:cubicBezTo>
                      <a:pt x="21296" y="63127"/>
                      <a:pt x="9127" y="60085"/>
                      <a:pt x="6085" y="60085"/>
                    </a:cubicBezTo>
                    <a:cubicBezTo>
                      <a:pt x="3042" y="60085"/>
                      <a:pt x="0" y="57042"/>
                      <a:pt x="0" y="54000"/>
                    </a:cubicBezTo>
                    <a:cubicBezTo>
                      <a:pt x="0" y="50958"/>
                      <a:pt x="3042" y="47915"/>
                      <a:pt x="6085" y="47915"/>
                    </a:cubicBezTo>
                    <a:cubicBezTo>
                      <a:pt x="6085" y="47915"/>
                      <a:pt x="118648" y="63127"/>
                      <a:pt x="188620" y="2281"/>
                    </a:cubicBezTo>
                    <a:cubicBezTo>
                      <a:pt x="191662" y="-760"/>
                      <a:pt x="194704" y="-760"/>
                      <a:pt x="197746" y="2281"/>
                    </a:cubicBezTo>
                    <a:cubicBezTo>
                      <a:pt x="200789" y="5324"/>
                      <a:pt x="200789" y="8366"/>
                      <a:pt x="197746" y="11408"/>
                    </a:cubicBezTo>
                    <a:cubicBezTo>
                      <a:pt x="149070" y="57042"/>
                      <a:pt x="82141" y="63127"/>
                      <a:pt x="42592" y="6312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5" name="任意多边形: 形状 174">
                <a:extLst>
                  <a:ext uri="{FF2B5EF4-FFF2-40B4-BE49-F238E27FC236}">
                    <a16:creationId xmlns:a16="http://schemas.microsoft.com/office/drawing/2014/main" id="{322ABCC2-7212-45B8-8D03-ECEF4C94735B}"/>
                  </a:ext>
                </a:extLst>
              </p:cNvPr>
              <p:cNvSpPr/>
              <p:nvPr/>
            </p:nvSpPr>
            <p:spPr>
              <a:xfrm>
                <a:off x="3414257" y="6338958"/>
                <a:ext cx="41070" cy="41831"/>
              </a:xfrm>
              <a:custGeom>
                <a:avLst/>
                <a:gdLst>
                  <a:gd name="connsiteX0" fmla="*/ 5324 w 41070"/>
                  <a:gd name="connsiteY0" fmla="*/ 41831 h 41831"/>
                  <a:gd name="connsiteX1" fmla="*/ 2282 w 41070"/>
                  <a:gd name="connsiteY1" fmla="*/ 38789 h 41831"/>
                  <a:gd name="connsiteX2" fmla="*/ 2282 w 41070"/>
                  <a:gd name="connsiteY2" fmla="*/ 29662 h 41831"/>
                  <a:gd name="connsiteX3" fmla="*/ 29662 w 41070"/>
                  <a:gd name="connsiteY3" fmla="*/ 2282 h 41831"/>
                  <a:gd name="connsiteX4" fmla="*/ 38789 w 41070"/>
                  <a:gd name="connsiteY4" fmla="*/ 2282 h 41831"/>
                  <a:gd name="connsiteX5" fmla="*/ 38789 w 41070"/>
                  <a:gd name="connsiteY5" fmla="*/ 11409 h 41831"/>
                  <a:gd name="connsiteX6" fmla="*/ 11408 w 41070"/>
                  <a:gd name="connsiteY6" fmla="*/ 38789 h 41831"/>
                  <a:gd name="connsiteX7" fmla="*/ 5324 w 41070"/>
                  <a:gd name="connsiteY7" fmla="*/ 41831 h 41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070" h="41831">
                    <a:moveTo>
                      <a:pt x="5324" y="41831"/>
                    </a:moveTo>
                    <a:cubicBezTo>
                      <a:pt x="5324" y="41831"/>
                      <a:pt x="2282" y="41831"/>
                      <a:pt x="2282" y="38789"/>
                    </a:cubicBezTo>
                    <a:cubicBezTo>
                      <a:pt x="-761" y="35746"/>
                      <a:pt x="-761" y="32704"/>
                      <a:pt x="2282" y="29662"/>
                    </a:cubicBezTo>
                    <a:lnTo>
                      <a:pt x="29662" y="2282"/>
                    </a:lnTo>
                    <a:cubicBezTo>
                      <a:pt x="32704" y="-761"/>
                      <a:pt x="35746" y="-761"/>
                      <a:pt x="38789" y="2282"/>
                    </a:cubicBezTo>
                    <a:cubicBezTo>
                      <a:pt x="41831" y="5324"/>
                      <a:pt x="41831" y="8366"/>
                      <a:pt x="38789" y="11409"/>
                    </a:cubicBezTo>
                    <a:lnTo>
                      <a:pt x="11408" y="38789"/>
                    </a:lnTo>
                    <a:cubicBezTo>
                      <a:pt x="8366" y="38789"/>
                      <a:pt x="8366" y="41831"/>
                      <a:pt x="5324" y="418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6" name="任意多边形: 形状 175">
                <a:extLst>
                  <a:ext uri="{FF2B5EF4-FFF2-40B4-BE49-F238E27FC236}">
                    <a16:creationId xmlns:a16="http://schemas.microsoft.com/office/drawing/2014/main" id="{26665988-6916-4ABD-AB2D-ED3CBA96D03A}"/>
                  </a:ext>
                </a:extLst>
              </p:cNvPr>
              <p:cNvSpPr/>
              <p:nvPr/>
            </p:nvSpPr>
            <p:spPr>
              <a:xfrm>
                <a:off x="3453807" y="6363296"/>
                <a:ext cx="41070" cy="41830"/>
              </a:xfrm>
              <a:custGeom>
                <a:avLst/>
                <a:gdLst>
                  <a:gd name="connsiteX0" fmla="*/ 5324 w 41070"/>
                  <a:gd name="connsiteY0" fmla="*/ 41831 h 41830"/>
                  <a:gd name="connsiteX1" fmla="*/ 2282 w 41070"/>
                  <a:gd name="connsiteY1" fmla="*/ 38789 h 41830"/>
                  <a:gd name="connsiteX2" fmla="*/ 2282 w 41070"/>
                  <a:gd name="connsiteY2" fmla="*/ 29662 h 41830"/>
                  <a:gd name="connsiteX3" fmla="*/ 29662 w 41070"/>
                  <a:gd name="connsiteY3" fmla="*/ 2282 h 41830"/>
                  <a:gd name="connsiteX4" fmla="*/ 38789 w 41070"/>
                  <a:gd name="connsiteY4" fmla="*/ 2282 h 41830"/>
                  <a:gd name="connsiteX5" fmla="*/ 38789 w 41070"/>
                  <a:gd name="connsiteY5" fmla="*/ 11408 h 41830"/>
                  <a:gd name="connsiteX6" fmla="*/ 11408 w 41070"/>
                  <a:gd name="connsiteY6" fmla="*/ 38789 h 41830"/>
                  <a:gd name="connsiteX7" fmla="*/ 5324 w 41070"/>
                  <a:gd name="connsiteY7" fmla="*/ 41831 h 41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070" h="41830">
                    <a:moveTo>
                      <a:pt x="5324" y="41831"/>
                    </a:moveTo>
                    <a:cubicBezTo>
                      <a:pt x="5324" y="41831"/>
                      <a:pt x="2282" y="41831"/>
                      <a:pt x="2282" y="38789"/>
                    </a:cubicBezTo>
                    <a:cubicBezTo>
                      <a:pt x="-761" y="35746"/>
                      <a:pt x="-761" y="32704"/>
                      <a:pt x="2282" y="29662"/>
                    </a:cubicBezTo>
                    <a:lnTo>
                      <a:pt x="29662" y="2282"/>
                    </a:lnTo>
                    <a:cubicBezTo>
                      <a:pt x="32704" y="-761"/>
                      <a:pt x="35747" y="-761"/>
                      <a:pt x="38789" y="2282"/>
                    </a:cubicBezTo>
                    <a:cubicBezTo>
                      <a:pt x="41831" y="5324"/>
                      <a:pt x="41831" y="8366"/>
                      <a:pt x="38789" y="11408"/>
                    </a:cubicBezTo>
                    <a:lnTo>
                      <a:pt x="11408" y="38789"/>
                    </a:lnTo>
                    <a:cubicBezTo>
                      <a:pt x="8366" y="41831"/>
                      <a:pt x="5324" y="41831"/>
                      <a:pt x="5324" y="418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D1FDBAEF-7CDC-4F01-8271-4624FCE9958B}"/>
                </a:ext>
              </a:extLst>
            </p:cNvPr>
            <p:cNvSpPr/>
            <p:nvPr/>
          </p:nvSpPr>
          <p:spPr>
            <a:xfrm>
              <a:off x="3169546" y="3971325"/>
              <a:ext cx="1096161" cy="2290816"/>
            </a:xfrm>
            <a:custGeom>
              <a:avLst/>
              <a:gdLst>
                <a:gd name="connsiteX0" fmla="*/ 1065359 w 1096161"/>
                <a:gd name="connsiteY0" fmla="*/ 21296 h 2290816"/>
                <a:gd name="connsiteX1" fmla="*/ 1083613 w 1096161"/>
                <a:gd name="connsiteY1" fmla="*/ 1402479 h 2290816"/>
                <a:gd name="connsiteX2" fmla="*/ 1013641 w 1096161"/>
                <a:gd name="connsiteY2" fmla="*/ 2290817 h 2290816"/>
                <a:gd name="connsiteX3" fmla="*/ 718542 w 1096161"/>
                <a:gd name="connsiteY3" fmla="*/ 2290817 h 2290816"/>
                <a:gd name="connsiteX4" fmla="*/ 678993 w 1096161"/>
                <a:gd name="connsiteY4" fmla="*/ 1426817 h 2290816"/>
                <a:gd name="connsiteX5" fmla="*/ 566430 w 1096161"/>
                <a:gd name="connsiteY5" fmla="*/ 501972 h 2290816"/>
                <a:gd name="connsiteX6" fmla="*/ 399106 w 1096161"/>
                <a:gd name="connsiteY6" fmla="*/ 1454197 h 2290816"/>
                <a:gd name="connsiteX7" fmla="*/ 289585 w 1096161"/>
                <a:gd name="connsiteY7" fmla="*/ 2269521 h 2290816"/>
                <a:gd name="connsiteX8" fmla="*/ 3613 w 1096161"/>
                <a:gd name="connsiteY8" fmla="*/ 2278648 h 2290816"/>
                <a:gd name="connsiteX9" fmla="*/ 3613 w 1096161"/>
                <a:gd name="connsiteY9" fmla="*/ 1435944 h 2290816"/>
                <a:gd name="connsiteX10" fmla="*/ 46204 w 1096161"/>
                <a:gd name="connsiteY10" fmla="*/ 0 h 2290816"/>
                <a:gd name="connsiteX11" fmla="*/ 1065359 w 1096161"/>
                <a:gd name="connsiteY11" fmla="*/ 21296 h 2290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96161" h="2290816">
                  <a:moveTo>
                    <a:pt x="1065359" y="21296"/>
                  </a:moveTo>
                  <a:cubicBezTo>
                    <a:pt x="1065359" y="21296"/>
                    <a:pt x="1120120" y="1092169"/>
                    <a:pt x="1083613" y="1402479"/>
                  </a:cubicBezTo>
                  <a:cubicBezTo>
                    <a:pt x="1053190" y="1673239"/>
                    <a:pt x="1013641" y="2290817"/>
                    <a:pt x="1013641" y="2290817"/>
                  </a:cubicBezTo>
                  <a:lnTo>
                    <a:pt x="718542" y="2290817"/>
                  </a:lnTo>
                  <a:cubicBezTo>
                    <a:pt x="718542" y="2290817"/>
                    <a:pt x="685078" y="1524169"/>
                    <a:pt x="678993" y="1426817"/>
                  </a:cubicBezTo>
                  <a:cubicBezTo>
                    <a:pt x="672908" y="1286873"/>
                    <a:pt x="581641" y="532394"/>
                    <a:pt x="566430" y="501972"/>
                  </a:cubicBezTo>
                  <a:cubicBezTo>
                    <a:pt x="551218" y="471549"/>
                    <a:pt x="399106" y="1454197"/>
                    <a:pt x="399106" y="1454197"/>
                  </a:cubicBezTo>
                  <a:lnTo>
                    <a:pt x="289585" y="2269521"/>
                  </a:lnTo>
                  <a:lnTo>
                    <a:pt x="3613" y="2278648"/>
                  </a:lnTo>
                  <a:cubicBezTo>
                    <a:pt x="3613" y="2278648"/>
                    <a:pt x="9697" y="1536338"/>
                    <a:pt x="3613" y="1435944"/>
                  </a:cubicBezTo>
                  <a:cubicBezTo>
                    <a:pt x="-5514" y="1283831"/>
                    <a:pt x="570" y="97352"/>
                    <a:pt x="46204" y="0"/>
                  </a:cubicBezTo>
                  <a:cubicBezTo>
                    <a:pt x="742880" y="33465"/>
                    <a:pt x="1065359" y="21296"/>
                    <a:pt x="1065359" y="21296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6BE0002E-11C2-4015-B001-81C053299AFC}"/>
                </a:ext>
              </a:extLst>
            </p:cNvPr>
            <p:cNvSpPr/>
            <p:nvPr/>
          </p:nvSpPr>
          <p:spPr>
            <a:xfrm>
              <a:off x="3732933" y="4117353"/>
              <a:ext cx="69971" cy="365070"/>
            </a:xfrm>
            <a:custGeom>
              <a:avLst/>
              <a:gdLst>
                <a:gd name="connsiteX0" fmla="*/ 6084 w 69971"/>
                <a:gd name="connsiteY0" fmla="*/ 365070 h 365070"/>
                <a:gd name="connsiteX1" fmla="*/ 6084 w 69971"/>
                <a:gd name="connsiteY1" fmla="*/ 365070 h 365070"/>
                <a:gd name="connsiteX2" fmla="*/ 0 w 69971"/>
                <a:gd name="connsiteY2" fmla="*/ 355944 h 365070"/>
                <a:gd name="connsiteX3" fmla="*/ 57803 w 69971"/>
                <a:gd name="connsiteY3" fmla="*/ 6085 h 365070"/>
                <a:gd name="connsiteX4" fmla="*/ 63887 w 69971"/>
                <a:gd name="connsiteY4" fmla="*/ 0 h 365070"/>
                <a:gd name="connsiteX5" fmla="*/ 63887 w 69971"/>
                <a:gd name="connsiteY5" fmla="*/ 0 h 365070"/>
                <a:gd name="connsiteX6" fmla="*/ 69972 w 69971"/>
                <a:gd name="connsiteY6" fmla="*/ 6085 h 365070"/>
                <a:gd name="connsiteX7" fmla="*/ 12169 w 69971"/>
                <a:gd name="connsiteY7" fmla="*/ 358986 h 365070"/>
                <a:gd name="connsiteX8" fmla="*/ 6084 w 69971"/>
                <a:gd name="connsiteY8" fmla="*/ 365070 h 36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971" h="365070">
                  <a:moveTo>
                    <a:pt x="6084" y="365070"/>
                  </a:moveTo>
                  <a:cubicBezTo>
                    <a:pt x="6084" y="365070"/>
                    <a:pt x="6084" y="365070"/>
                    <a:pt x="6084" y="365070"/>
                  </a:cubicBezTo>
                  <a:cubicBezTo>
                    <a:pt x="0" y="362028"/>
                    <a:pt x="0" y="358986"/>
                    <a:pt x="0" y="355944"/>
                  </a:cubicBezTo>
                  <a:cubicBezTo>
                    <a:pt x="48676" y="243380"/>
                    <a:pt x="57803" y="9127"/>
                    <a:pt x="57803" y="6085"/>
                  </a:cubicBezTo>
                  <a:cubicBezTo>
                    <a:pt x="57803" y="3042"/>
                    <a:pt x="60845" y="0"/>
                    <a:pt x="63887" y="0"/>
                  </a:cubicBezTo>
                  <a:lnTo>
                    <a:pt x="63887" y="0"/>
                  </a:lnTo>
                  <a:cubicBezTo>
                    <a:pt x="66929" y="0"/>
                    <a:pt x="69972" y="3042"/>
                    <a:pt x="69972" y="6085"/>
                  </a:cubicBezTo>
                  <a:cubicBezTo>
                    <a:pt x="69972" y="15211"/>
                    <a:pt x="60845" y="243380"/>
                    <a:pt x="12169" y="358986"/>
                  </a:cubicBezTo>
                  <a:cubicBezTo>
                    <a:pt x="9127" y="362028"/>
                    <a:pt x="9127" y="365070"/>
                    <a:pt x="6084" y="365070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03162716-73AD-464F-BCC8-8AEDBF4BE4F4}"/>
                </a:ext>
              </a:extLst>
            </p:cNvPr>
            <p:cNvSpPr/>
            <p:nvPr/>
          </p:nvSpPr>
          <p:spPr>
            <a:xfrm>
              <a:off x="3762096" y="4047381"/>
              <a:ext cx="156415" cy="355943"/>
            </a:xfrm>
            <a:custGeom>
              <a:avLst/>
              <a:gdLst>
                <a:gd name="connsiteX0" fmla="*/ 7345 w 156415"/>
                <a:gd name="connsiteY0" fmla="*/ 355944 h 355943"/>
                <a:gd name="connsiteX1" fmla="*/ 1260 w 156415"/>
                <a:gd name="connsiteY1" fmla="*/ 352901 h 355943"/>
                <a:gd name="connsiteX2" fmla="*/ 4302 w 156415"/>
                <a:gd name="connsiteY2" fmla="*/ 343775 h 355943"/>
                <a:gd name="connsiteX3" fmla="*/ 110781 w 156415"/>
                <a:gd name="connsiteY3" fmla="*/ 267718 h 355943"/>
                <a:gd name="connsiteX4" fmla="*/ 144246 w 156415"/>
                <a:gd name="connsiteY4" fmla="*/ 6084 h 355943"/>
                <a:gd name="connsiteX5" fmla="*/ 150331 w 156415"/>
                <a:gd name="connsiteY5" fmla="*/ 0 h 355943"/>
                <a:gd name="connsiteX6" fmla="*/ 156415 w 156415"/>
                <a:gd name="connsiteY6" fmla="*/ 6084 h 355943"/>
                <a:gd name="connsiteX7" fmla="*/ 122950 w 156415"/>
                <a:gd name="connsiteY7" fmla="*/ 273803 h 355943"/>
                <a:gd name="connsiteX8" fmla="*/ 13429 w 156415"/>
                <a:gd name="connsiteY8" fmla="*/ 352901 h 355943"/>
                <a:gd name="connsiteX9" fmla="*/ 7345 w 156415"/>
                <a:gd name="connsiteY9" fmla="*/ 355944 h 35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415" h="355943">
                  <a:moveTo>
                    <a:pt x="7345" y="355944"/>
                  </a:moveTo>
                  <a:cubicBezTo>
                    <a:pt x="4302" y="355944"/>
                    <a:pt x="4302" y="355944"/>
                    <a:pt x="1260" y="352901"/>
                  </a:cubicBezTo>
                  <a:cubicBezTo>
                    <a:pt x="-1782" y="349859"/>
                    <a:pt x="1260" y="346817"/>
                    <a:pt x="4302" y="343775"/>
                  </a:cubicBezTo>
                  <a:cubicBezTo>
                    <a:pt x="43852" y="319437"/>
                    <a:pt x="101655" y="276845"/>
                    <a:pt x="110781" y="267718"/>
                  </a:cubicBezTo>
                  <a:cubicBezTo>
                    <a:pt x="119908" y="255549"/>
                    <a:pt x="135119" y="100394"/>
                    <a:pt x="144246" y="6084"/>
                  </a:cubicBezTo>
                  <a:cubicBezTo>
                    <a:pt x="144246" y="3042"/>
                    <a:pt x="147288" y="0"/>
                    <a:pt x="150331" y="0"/>
                  </a:cubicBezTo>
                  <a:cubicBezTo>
                    <a:pt x="153373" y="0"/>
                    <a:pt x="156415" y="3042"/>
                    <a:pt x="156415" y="6084"/>
                  </a:cubicBezTo>
                  <a:cubicBezTo>
                    <a:pt x="153373" y="48676"/>
                    <a:pt x="132077" y="258592"/>
                    <a:pt x="122950" y="273803"/>
                  </a:cubicBezTo>
                  <a:cubicBezTo>
                    <a:pt x="110781" y="289014"/>
                    <a:pt x="22556" y="346817"/>
                    <a:pt x="13429" y="352901"/>
                  </a:cubicBezTo>
                  <a:cubicBezTo>
                    <a:pt x="7345" y="355944"/>
                    <a:pt x="7345" y="355944"/>
                    <a:pt x="7345" y="355944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363535B0-B310-4A06-B75E-48374A4C8C2E}"/>
                </a:ext>
              </a:extLst>
            </p:cNvPr>
            <p:cNvSpPr/>
            <p:nvPr/>
          </p:nvSpPr>
          <p:spPr>
            <a:xfrm>
              <a:off x="3629497" y="2413691"/>
              <a:ext cx="249464" cy="257689"/>
            </a:xfrm>
            <a:custGeom>
              <a:avLst/>
              <a:gdLst>
                <a:gd name="connsiteX0" fmla="*/ 249465 w 249464"/>
                <a:gd name="connsiteY0" fmla="*/ 39549 h 257689"/>
                <a:gd name="connsiteX1" fmla="*/ 243380 w 249464"/>
                <a:gd name="connsiteY1" fmla="*/ 212958 h 257689"/>
                <a:gd name="connsiteX2" fmla="*/ 0 w 249464"/>
                <a:gd name="connsiteY2" fmla="*/ 203831 h 257689"/>
                <a:gd name="connsiteX3" fmla="*/ 15211 w 249464"/>
                <a:gd name="connsiteY3" fmla="*/ 0 h 257689"/>
                <a:gd name="connsiteX4" fmla="*/ 249465 w 249464"/>
                <a:gd name="connsiteY4" fmla="*/ 39549 h 257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464" h="257689">
                  <a:moveTo>
                    <a:pt x="249465" y="39549"/>
                  </a:moveTo>
                  <a:cubicBezTo>
                    <a:pt x="249465" y="39549"/>
                    <a:pt x="243380" y="139944"/>
                    <a:pt x="243380" y="212958"/>
                  </a:cubicBezTo>
                  <a:cubicBezTo>
                    <a:pt x="243380" y="212958"/>
                    <a:pt x="149070" y="319437"/>
                    <a:pt x="0" y="203831"/>
                  </a:cubicBezTo>
                  <a:cubicBezTo>
                    <a:pt x="0" y="142986"/>
                    <a:pt x="12169" y="63887"/>
                    <a:pt x="15211" y="0"/>
                  </a:cubicBezTo>
                  <a:cubicBezTo>
                    <a:pt x="12169" y="0"/>
                    <a:pt x="197746" y="51718"/>
                    <a:pt x="249465" y="39549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384C71F5-9373-47EC-8FAE-5B603DF30811}"/>
                </a:ext>
              </a:extLst>
            </p:cNvPr>
            <p:cNvSpPr/>
            <p:nvPr/>
          </p:nvSpPr>
          <p:spPr>
            <a:xfrm>
              <a:off x="3170116" y="2577972"/>
              <a:ext cx="1079374" cy="1491618"/>
            </a:xfrm>
            <a:custGeom>
              <a:avLst/>
              <a:gdLst>
                <a:gd name="connsiteX0" fmla="*/ 441127 w 1079374"/>
                <a:gd name="connsiteY0" fmla="*/ 0 h 1491618"/>
                <a:gd name="connsiteX1" fmla="*/ 730141 w 1079374"/>
                <a:gd name="connsiteY1" fmla="*/ 0 h 1491618"/>
                <a:gd name="connsiteX2" fmla="*/ 1028282 w 1079374"/>
                <a:gd name="connsiteY2" fmla="*/ 130817 h 1491618"/>
                <a:gd name="connsiteX3" fmla="*/ 1076958 w 1079374"/>
                <a:gd name="connsiteY3" fmla="*/ 1442028 h 1491618"/>
                <a:gd name="connsiteX4" fmla="*/ 0 w 1079374"/>
                <a:gd name="connsiteY4" fmla="*/ 1445070 h 1491618"/>
                <a:gd name="connsiteX5" fmla="*/ 161239 w 1079374"/>
                <a:gd name="connsiteY5" fmla="*/ 103437 h 1491618"/>
                <a:gd name="connsiteX6" fmla="*/ 441127 w 1079374"/>
                <a:gd name="connsiteY6" fmla="*/ 0 h 1491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9374" h="1491618">
                  <a:moveTo>
                    <a:pt x="441127" y="0"/>
                  </a:moveTo>
                  <a:cubicBezTo>
                    <a:pt x="441127" y="0"/>
                    <a:pt x="614535" y="54761"/>
                    <a:pt x="730141" y="0"/>
                  </a:cubicBezTo>
                  <a:cubicBezTo>
                    <a:pt x="730141" y="0"/>
                    <a:pt x="1003944" y="97352"/>
                    <a:pt x="1028282" y="130817"/>
                  </a:cubicBezTo>
                  <a:cubicBezTo>
                    <a:pt x="1052620" y="161239"/>
                    <a:pt x="1089127" y="1375099"/>
                    <a:pt x="1076958" y="1442028"/>
                  </a:cubicBezTo>
                  <a:cubicBezTo>
                    <a:pt x="1076958" y="1442028"/>
                    <a:pt x="578028" y="1551549"/>
                    <a:pt x="0" y="1445070"/>
                  </a:cubicBezTo>
                  <a:cubicBezTo>
                    <a:pt x="0" y="1089127"/>
                    <a:pt x="118648" y="136901"/>
                    <a:pt x="161239" y="103437"/>
                  </a:cubicBezTo>
                  <a:cubicBezTo>
                    <a:pt x="203831" y="69972"/>
                    <a:pt x="441127" y="0"/>
                    <a:pt x="441127" y="0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61498459-AF8B-4652-9A2D-F6859BE6675B}"/>
                </a:ext>
              </a:extLst>
            </p:cNvPr>
            <p:cNvSpPr/>
            <p:nvPr/>
          </p:nvSpPr>
          <p:spPr>
            <a:xfrm>
              <a:off x="4040819" y="2664637"/>
              <a:ext cx="449635" cy="610011"/>
            </a:xfrm>
            <a:custGeom>
              <a:avLst/>
              <a:gdLst>
                <a:gd name="connsiteX0" fmla="*/ 63269 w 449635"/>
                <a:gd name="connsiteY0" fmla="*/ 610012 h 610011"/>
                <a:gd name="connsiteX1" fmla="*/ 51100 w 449635"/>
                <a:gd name="connsiteY1" fmla="*/ 10688 h 610011"/>
                <a:gd name="connsiteX2" fmla="*/ 449636 w 449635"/>
                <a:gd name="connsiteY2" fmla="*/ 442688 h 610011"/>
                <a:gd name="connsiteX3" fmla="*/ 63269 w 449635"/>
                <a:gd name="connsiteY3" fmla="*/ 610012 h 610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635" h="610011">
                  <a:moveTo>
                    <a:pt x="63269" y="610012"/>
                  </a:moveTo>
                  <a:cubicBezTo>
                    <a:pt x="63269" y="610012"/>
                    <a:pt x="-70590" y="89786"/>
                    <a:pt x="51100" y="10688"/>
                  </a:cubicBezTo>
                  <a:cubicBezTo>
                    <a:pt x="194086" y="-80580"/>
                    <a:pt x="449636" y="442688"/>
                    <a:pt x="449636" y="442688"/>
                  </a:cubicBezTo>
                  <a:cubicBezTo>
                    <a:pt x="449636" y="442688"/>
                    <a:pt x="276227" y="591758"/>
                    <a:pt x="63269" y="610012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89C5C8CD-5C77-4475-92DB-D1E2C1FE3FB6}"/>
                </a:ext>
              </a:extLst>
            </p:cNvPr>
            <p:cNvSpPr/>
            <p:nvPr/>
          </p:nvSpPr>
          <p:spPr>
            <a:xfrm>
              <a:off x="4192314" y="2702705"/>
              <a:ext cx="52978" cy="550647"/>
            </a:xfrm>
            <a:custGeom>
              <a:avLst/>
              <a:gdLst>
                <a:gd name="connsiteX0" fmla="*/ 48676 w 52978"/>
                <a:gd name="connsiteY0" fmla="*/ 550648 h 550647"/>
                <a:gd name="connsiteX1" fmla="*/ 42592 w 52978"/>
                <a:gd name="connsiteY1" fmla="*/ 544563 h 550647"/>
                <a:gd name="connsiteX2" fmla="*/ 0 w 52978"/>
                <a:gd name="connsiteY2" fmla="*/ 6084 h 550647"/>
                <a:gd name="connsiteX3" fmla="*/ 3042 w 52978"/>
                <a:gd name="connsiteY3" fmla="*/ 0 h 550647"/>
                <a:gd name="connsiteX4" fmla="*/ 9127 w 52978"/>
                <a:gd name="connsiteY4" fmla="*/ 3042 h 550647"/>
                <a:gd name="connsiteX5" fmla="*/ 51718 w 52978"/>
                <a:gd name="connsiteY5" fmla="*/ 544563 h 550647"/>
                <a:gd name="connsiteX6" fmla="*/ 48676 w 52978"/>
                <a:gd name="connsiteY6" fmla="*/ 550648 h 550647"/>
                <a:gd name="connsiteX7" fmla="*/ 48676 w 52978"/>
                <a:gd name="connsiteY7" fmla="*/ 550648 h 550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978" h="550647">
                  <a:moveTo>
                    <a:pt x="48676" y="550648"/>
                  </a:moveTo>
                  <a:cubicBezTo>
                    <a:pt x="45634" y="550648"/>
                    <a:pt x="42592" y="547606"/>
                    <a:pt x="42592" y="544563"/>
                  </a:cubicBezTo>
                  <a:cubicBezTo>
                    <a:pt x="42592" y="538479"/>
                    <a:pt x="6085" y="45634"/>
                    <a:pt x="0" y="6084"/>
                  </a:cubicBezTo>
                  <a:cubicBezTo>
                    <a:pt x="0" y="3042"/>
                    <a:pt x="0" y="0"/>
                    <a:pt x="3042" y="0"/>
                  </a:cubicBezTo>
                  <a:cubicBezTo>
                    <a:pt x="6085" y="0"/>
                    <a:pt x="9127" y="0"/>
                    <a:pt x="9127" y="3042"/>
                  </a:cubicBezTo>
                  <a:cubicBezTo>
                    <a:pt x="18253" y="42591"/>
                    <a:pt x="51718" y="523268"/>
                    <a:pt x="51718" y="544563"/>
                  </a:cubicBezTo>
                  <a:cubicBezTo>
                    <a:pt x="54761" y="547606"/>
                    <a:pt x="51718" y="550648"/>
                    <a:pt x="48676" y="550648"/>
                  </a:cubicBezTo>
                  <a:cubicBezTo>
                    <a:pt x="48676" y="550648"/>
                    <a:pt x="48676" y="550648"/>
                    <a:pt x="48676" y="550648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4" name="任意多边形: 形状 183">
              <a:extLst>
                <a:ext uri="{FF2B5EF4-FFF2-40B4-BE49-F238E27FC236}">
                  <a16:creationId xmlns:a16="http://schemas.microsoft.com/office/drawing/2014/main" id="{ED17BDBA-BE8A-4752-B777-01B21A42304E}"/>
                </a:ext>
              </a:extLst>
            </p:cNvPr>
            <p:cNvSpPr/>
            <p:nvPr/>
          </p:nvSpPr>
          <p:spPr>
            <a:xfrm>
              <a:off x="3211187" y="3076896"/>
              <a:ext cx="406357" cy="100614"/>
            </a:xfrm>
            <a:custGeom>
              <a:avLst/>
              <a:gdLst>
                <a:gd name="connsiteX0" fmla="*/ 384845 w 406357"/>
                <a:gd name="connsiteY0" fmla="*/ 3049 h 100614"/>
                <a:gd name="connsiteX1" fmla="*/ 13690 w 406357"/>
                <a:gd name="connsiteY1" fmla="*/ 69978 h 100614"/>
                <a:gd name="connsiteX2" fmla="*/ 13690 w 406357"/>
                <a:gd name="connsiteY2" fmla="*/ 100401 h 100614"/>
                <a:gd name="connsiteX3" fmla="*/ 400056 w 406357"/>
                <a:gd name="connsiteY3" fmla="*/ 30429 h 100614"/>
                <a:gd name="connsiteX4" fmla="*/ 384845 w 406357"/>
                <a:gd name="connsiteY4" fmla="*/ 3049 h 100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357" h="100614">
                  <a:moveTo>
                    <a:pt x="384845" y="3049"/>
                  </a:moveTo>
                  <a:cubicBezTo>
                    <a:pt x="284451" y="66936"/>
                    <a:pt x="129296" y="57809"/>
                    <a:pt x="13690" y="69978"/>
                  </a:cubicBezTo>
                  <a:cubicBezTo>
                    <a:pt x="-4563" y="73021"/>
                    <a:pt x="-4563" y="103443"/>
                    <a:pt x="13690" y="100401"/>
                  </a:cubicBezTo>
                  <a:cubicBezTo>
                    <a:pt x="138423" y="88232"/>
                    <a:pt x="293578" y="97359"/>
                    <a:pt x="400056" y="30429"/>
                  </a:cubicBezTo>
                  <a:cubicBezTo>
                    <a:pt x="415268" y="18260"/>
                    <a:pt x="400056" y="-9120"/>
                    <a:pt x="384845" y="3049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7D07A84E-4651-46CB-AB3B-3489F9ACB605}"/>
                </a:ext>
              </a:extLst>
            </p:cNvPr>
            <p:cNvSpPr/>
            <p:nvPr/>
          </p:nvSpPr>
          <p:spPr>
            <a:xfrm>
              <a:off x="3574736" y="2282874"/>
              <a:ext cx="66929" cy="142985"/>
            </a:xfrm>
            <a:custGeom>
              <a:avLst/>
              <a:gdLst>
                <a:gd name="connsiteX0" fmla="*/ 0 w 66929"/>
                <a:gd name="connsiteY0" fmla="*/ 0 h 142985"/>
                <a:gd name="connsiteX1" fmla="*/ 57803 w 66929"/>
                <a:gd name="connsiteY1" fmla="*/ 142986 h 142985"/>
                <a:gd name="connsiteX2" fmla="*/ 66930 w 66929"/>
                <a:gd name="connsiteY2" fmla="*/ 57803 h 142985"/>
                <a:gd name="connsiteX3" fmla="*/ 0 w 66929"/>
                <a:gd name="connsiteY3" fmla="*/ 0 h 14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929" h="142985">
                  <a:moveTo>
                    <a:pt x="0" y="0"/>
                  </a:moveTo>
                  <a:cubicBezTo>
                    <a:pt x="0" y="0"/>
                    <a:pt x="6085" y="118648"/>
                    <a:pt x="57803" y="142986"/>
                  </a:cubicBezTo>
                  <a:lnTo>
                    <a:pt x="66930" y="578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264F3FAF-8AA9-4049-93A0-776C294AD9AD}"/>
                </a:ext>
              </a:extLst>
            </p:cNvPr>
            <p:cNvSpPr/>
            <p:nvPr/>
          </p:nvSpPr>
          <p:spPr>
            <a:xfrm>
              <a:off x="3937304" y="2106423"/>
              <a:ext cx="105505" cy="233755"/>
            </a:xfrm>
            <a:custGeom>
              <a:avLst/>
              <a:gdLst>
                <a:gd name="connsiteX0" fmla="*/ 102897 w 105505"/>
                <a:gd name="connsiteY0" fmla="*/ 0 h 233755"/>
                <a:gd name="connsiteX1" fmla="*/ 45094 w 105505"/>
                <a:gd name="connsiteY1" fmla="*/ 231211 h 233755"/>
                <a:gd name="connsiteX2" fmla="*/ 5544 w 105505"/>
                <a:gd name="connsiteY2" fmla="*/ 9127 h 233755"/>
                <a:gd name="connsiteX3" fmla="*/ 102897 w 105505"/>
                <a:gd name="connsiteY3" fmla="*/ 0 h 23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505" h="233755">
                  <a:moveTo>
                    <a:pt x="102897" y="0"/>
                  </a:moveTo>
                  <a:cubicBezTo>
                    <a:pt x="102897" y="0"/>
                    <a:pt x="124192" y="197746"/>
                    <a:pt x="45094" y="231211"/>
                  </a:cubicBezTo>
                  <a:cubicBezTo>
                    <a:pt x="-21836" y="261634"/>
                    <a:pt x="5544" y="9127"/>
                    <a:pt x="5544" y="9127"/>
                  </a:cubicBezTo>
                  <a:lnTo>
                    <a:pt x="102897" y="0"/>
                  </a:lnTo>
                  <a:close/>
                </a:path>
              </a:pathLst>
            </a:custGeom>
            <a:solidFill>
              <a:srgbClr val="664241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3E0C7172-49D5-4A98-AB44-2606D838F64C}"/>
                </a:ext>
              </a:extLst>
            </p:cNvPr>
            <p:cNvSpPr/>
            <p:nvPr/>
          </p:nvSpPr>
          <p:spPr>
            <a:xfrm>
              <a:off x="3583394" y="1954085"/>
              <a:ext cx="416910" cy="566218"/>
            </a:xfrm>
            <a:custGeom>
              <a:avLst/>
              <a:gdLst>
                <a:gd name="connsiteX0" fmla="*/ 414216 w 416910"/>
                <a:gd name="connsiteY0" fmla="*/ 191887 h 566218"/>
                <a:gd name="connsiteX1" fmla="*/ 399004 w 416910"/>
                <a:gd name="connsiteY1" fmla="*/ 441352 h 566218"/>
                <a:gd name="connsiteX2" fmla="*/ 231681 w 416910"/>
                <a:gd name="connsiteY2" fmla="*/ 566084 h 566218"/>
                <a:gd name="connsiteX3" fmla="*/ 24807 w 416910"/>
                <a:gd name="connsiteY3" fmla="*/ 410929 h 566218"/>
                <a:gd name="connsiteX4" fmla="*/ 469 w 416910"/>
                <a:gd name="connsiteY4" fmla="*/ 185803 h 566218"/>
                <a:gd name="connsiteX5" fmla="*/ 225596 w 416910"/>
                <a:gd name="connsiteY5" fmla="*/ 225 h 566218"/>
                <a:gd name="connsiteX6" fmla="*/ 414216 w 416910"/>
                <a:gd name="connsiteY6" fmla="*/ 191887 h 566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6910" h="566218">
                  <a:moveTo>
                    <a:pt x="414216" y="191887"/>
                  </a:moveTo>
                  <a:cubicBezTo>
                    <a:pt x="414216" y="191887"/>
                    <a:pt x="426385" y="368338"/>
                    <a:pt x="399004" y="441352"/>
                  </a:cubicBezTo>
                  <a:cubicBezTo>
                    <a:pt x="377709" y="505239"/>
                    <a:pt x="283399" y="566084"/>
                    <a:pt x="231681" y="566084"/>
                  </a:cubicBezTo>
                  <a:cubicBezTo>
                    <a:pt x="164751" y="569126"/>
                    <a:pt x="49145" y="520450"/>
                    <a:pt x="24807" y="410929"/>
                  </a:cubicBezTo>
                  <a:cubicBezTo>
                    <a:pt x="9596" y="337915"/>
                    <a:pt x="-2573" y="234479"/>
                    <a:pt x="469" y="185803"/>
                  </a:cubicBezTo>
                  <a:cubicBezTo>
                    <a:pt x="6554" y="91493"/>
                    <a:pt x="40019" y="15436"/>
                    <a:pt x="225596" y="225"/>
                  </a:cubicBezTo>
                  <a:cubicBezTo>
                    <a:pt x="310779" y="-5859"/>
                    <a:pt x="399004" y="112788"/>
                    <a:pt x="414216" y="191887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B36D3FAA-3C15-4F0E-AE59-428BC2D80A62}"/>
                </a:ext>
              </a:extLst>
            </p:cNvPr>
            <p:cNvSpPr/>
            <p:nvPr/>
          </p:nvSpPr>
          <p:spPr>
            <a:xfrm>
              <a:off x="3801645" y="2222029"/>
              <a:ext cx="62593" cy="133859"/>
            </a:xfrm>
            <a:custGeom>
              <a:avLst/>
              <a:gdLst>
                <a:gd name="connsiteX0" fmla="*/ 31683 w 62593"/>
                <a:gd name="connsiteY0" fmla="*/ 133859 h 133859"/>
                <a:gd name="connsiteX1" fmla="*/ 4302 w 62593"/>
                <a:gd name="connsiteY1" fmla="*/ 130817 h 133859"/>
                <a:gd name="connsiteX2" fmla="*/ 1260 w 62593"/>
                <a:gd name="connsiteY2" fmla="*/ 124732 h 133859"/>
                <a:gd name="connsiteX3" fmla="*/ 7345 w 62593"/>
                <a:gd name="connsiteY3" fmla="*/ 121690 h 133859"/>
                <a:gd name="connsiteX4" fmla="*/ 46894 w 62593"/>
                <a:gd name="connsiteY4" fmla="*/ 121690 h 133859"/>
                <a:gd name="connsiteX5" fmla="*/ 49936 w 62593"/>
                <a:gd name="connsiteY5" fmla="*/ 118648 h 133859"/>
                <a:gd name="connsiteX6" fmla="*/ 40809 w 62593"/>
                <a:gd name="connsiteY6" fmla="*/ 6085 h 133859"/>
                <a:gd name="connsiteX7" fmla="*/ 46894 w 62593"/>
                <a:gd name="connsiteY7" fmla="*/ 0 h 133859"/>
                <a:gd name="connsiteX8" fmla="*/ 52979 w 62593"/>
                <a:gd name="connsiteY8" fmla="*/ 6085 h 133859"/>
                <a:gd name="connsiteX9" fmla="*/ 62105 w 62593"/>
                <a:gd name="connsiteY9" fmla="*/ 121690 h 133859"/>
                <a:gd name="connsiteX10" fmla="*/ 56021 w 62593"/>
                <a:gd name="connsiteY10" fmla="*/ 133859 h 133859"/>
                <a:gd name="connsiteX11" fmla="*/ 31683 w 62593"/>
                <a:gd name="connsiteY11" fmla="*/ 133859 h 133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593" h="133859">
                  <a:moveTo>
                    <a:pt x="31683" y="133859"/>
                  </a:moveTo>
                  <a:cubicBezTo>
                    <a:pt x="19514" y="133859"/>
                    <a:pt x="7345" y="130817"/>
                    <a:pt x="4302" y="130817"/>
                  </a:cubicBezTo>
                  <a:cubicBezTo>
                    <a:pt x="1260" y="130817"/>
                    <a:pt x="-1782" y="127775"/>
                    <a:pt x="1260" y="124732"/>
                  </a:cubicBezTo>
                  <a:cubicBezTo>
                    <a:pt x="1260" y="121690"/>
                    <a:pt x="4302" y="118648"/>
                    <a:pt x="7345" y="121690"/>
                  </a:cubicBezTo>
                  <a:cubicBezTo>
                    <a:pt x="19514" y="124732"/>
                    <a:pt x="40809" y="127775"/>
                    <a:pt x="46894" y="121690"/>
                  </a:cubicBezTo>
                  <a:cubicBezTo>
                    <a:pt x="46894" y="121690"/>
                    <a:pt x="49936" y="118648"/>
                    <a:pt x="49936" y="118648"/>
                  </a:cubicBezTo>
                  <a:cubicBezTo>
                    <a:pt x="49936" y="100394"/>
                    <a:pt x="40809" y="6085"/>
                    <a:pt x="40809" y="6085"/>
                  </a:cubicBezTo>
                  <a:cubicBezTo>
                    <a:pt x="40809" y="3042"/>
                    <a:pt x="43852" y="0"/>
                    <a:pt x="46894" y="0"/>
                  </a:cubicBezTo>
                  <a:cubicBezTo>
                    <a:pt x="49936" y="0"/>
                    <a:pt x="52979" y="3042"/>
                    <a:pt x="52979" y="6085"/>
                  </a:cubicBezTo>
                  <a:cubicBezTo>
                    <a:pt x="52979" y="9127"/>
                    <a:pt x="65147" y="100394"/>
                    <a:pt x="62105" y="121690"/>
                  </a:cubicBezTo>
                  <a:cubicBezTo>
                    <a:pt x="62105" y="127775"/>
                    <a:pt x="59063" y="130817"/>
                    <a:pt x="56021" y="133859"/>
                  </a:cubicBezTo>
                  <a:cubicBezTo>
                    <a:pt x="46894" y="130817"/>
                    <a:pt x="40809" y="133859"/>
                    <a:pt x="31683" y="133859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1BA02181-07E0-4143-BECC-2170D0B9BE1E}"/>
                </a:ext>
              </a:extLst>
            </p:cNvPr>
            <p:cNvSpPr/>
            <p:nvPr/>
          </p:nvSpPr>
          <p:spPr>
            <a:xfrm>
              <a:off x="3897215" y="2203000"/>
              <a:ext cx="37282" cy="38057"/>
            </a:xfrm>
            <a:custGeom>
              <a:avLst/>
              <a:gdLst>
                <a:gd name="connsiteX0" fmla="*/ 0 w 37282"/>
                <a:gd name="connsiteY0" fmla="*/ 22071 h 38057"/>
                <a:gd name="connsiteX1" fmla="*/ 21296 w 37282"/>
                <a:gd name="connsiteY1" fmla="*/ 37282 h 38057"/>
                <a:gd name="connsiteX2" fmla="*/ 36507 w 37282"/>
                <a:gd name="connsiteY2" fmla="*/ 15987 h 38057"/>
                <a:gd name="connsiteX3" fmla="*/ 15211 w 37282"/>
                <a:gd name="connsiteY3" fmla="*/ 775 h 38057"/>
                <a:gd name="connsiteX4" fmla="*/ 0 w 37282"/>
                <a:gd name="connsiteY4" fmla="*/ 22071 h 3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282" h="38057">
                  <a:moveTo>
                    <a:pt x="0" y="22071"/>
                  </a:moveTo>
                  <a:cubicBezTo>
                    <a:pt x="3042" y="34240"/>
                    <a:pt x="12169" y="40325"/>
                    <a:pt x="21296" y="37282"/>
                  </a:cubicBezTo>
                  <a:cubicBezTo>
                    <a:pt x="33465" y="34240"/>
                    <a:pt x="39549" y="25113"/>
                    <a:pt x="36507" y="15987"/>
                  </a:cubicBezTo>
                  <a:cubicBezTo>
                    <a:pt x="33465" y="3818"/>
                    <a:pt x="24338" y="-2267"/>
                    <a:pt x="15211" y="775"/>
                  </a:cubicBezTo>
                  <a:cubicBezTo>
                    <a:pt x="6085" y="775"/>
                    <a:pt x="0" y="9902"/>
                    <a:pt x="0" y="22071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9A4D97C1-66AB-4B01-98F3-051EFDC2D4D2}"/>
                </a:ext>
              </a:extLst>
            </p:cNvPr>
            <p:cNvSpPr/>
            <p:nvPr/>
          </p:nvSpPr>
          <p:spPr>
            <a:xfrm>
              <a:off x="3714083" y="2209085"/>
              <a:ext cx="37879" cy="38057"/>
            </a:xfrm>
            <a:custGeom>
              <a:avLst/>
              <a:gdLst>
                <a:gd name="connsiteX0" fmla="*/ 597 w 37879"/>
                <a:gd name="connsiteY0" fmla="*/ 22071 h 38057"/>
                <a:gd name="connsiteX1" fmla="*/ 21893 w 37879"/>
                <a:gd name="connsiteY1" fmla="*/ 37282 h 38057"/>
                <a:gd name="connsiteX2" fmla="*/ 37104 w 37879"/>
                <a:gd name="connsiteY2" fmla="*/ 15987 h 38057"/>
                <a:gd name="connsiteX3" fmla="*/ 15808 w 37879"/>
                <a:gd name="connsiteY3" fmla="*/ 775 h 38057"/>
                <a:gd name="connsiteX4" fmla="*/ 597 w 37879"/>
                <a:gd name="connsiteY4" fmla="*/ 22071 h 3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879" h="38057">
                  <a:moveTo>
                    <a:pt x="597" y="22071"/>
                  </a:moveTo>
                  <a:cubicBezTo>
                    <a:pt x="3639" y="34240"/>
                    <a:pt x="12766" y="40325"/>
                    <a:pt x="21893" y="37282"/>
                  </a:cubicBezTo>
                  <a:cubicBezTo>
                    <a:pt x="34062" y="34240"/>
                    <a:pt x="40146" y="25113"/>
                    <a:pt x="37104" y="15987"/>
                  </a:cubicBezTo>
                  <a:cubicBezTo>
                    <a:pt x="34062" y="3818"/>
                    <a:pt x="24935" y="-2267"/>
                    <a:pt x="15808" y="775"/>
                  </a:cubicBezTo>
                  <a:cubicBezTo>
                    <a:pt x="6681" y="775"/>
                    <a:pt x="-2445" y="9902"/>
                    <a:pt x="597" y="22071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47F0A00E-C1C5-4BA6-8309-218BEE46CB84}"/>
                </a:ext>
              </a:extLst>
            </p:cNvPr>
            <p:cNvSpPr/>
            <p:nvPr/>
          </p:nvSpPr>
          <p:spPr>
            <a:xfrm>
              <a:off x="3874659" y="2153754"/>
              <a:ext cx="91767" cy="34810"/>
            </a:xfrm>
            <a:custGeom>
              <a:avLst/>
              <a:gdLst>
                <a:gd name="connsiteX0" fmla="*/ 83401 w 91767"/>
                <a:gd name="connsiteY0" fmla="*/ 34810 h 34810"/>
                <a:gd name="connsiteX1" fmla="*/ 77316 w 91767"/>
                <a:gd name="connsiteY1" fmla="*/ 31768 h 34810"/>
                <a:gd name="connsiteX2" fmla="*/ 10387 w 91767"/>
                <a:gd name="connsiteY2" fmla="*/ 19599 h 34810"/>
                <a:gd name="connsiteX3" fmla="*/ 1260 w 91767"/>
                <a:gd name="connsiteY3" fmla="*/ 16557 h 34810"/>
                <a:gd name="connsiteX4" fmla="*/ 4302 w 91767"/>
                <a:gd name="connsiteY4" fmla="*/ 7430 h 34810"/>
                <a:gd name="connsiteX5" fmla="*/ 89486 w 91767"/>
                <a:gd name="connsiteY5" fmla="*/ 22641 h 34810"/>
                <a:gd name="connsiteX6" fmla="*/ 89486 w 91767"/>
                <a:gd name="connsiteY6" fmla="*/ 34810 h 34810"/>
                <a:gd name="connsiteX7" fmla="*/ 83401 w 91767"/>
                <a:gd name="connsiteY7" fmla="*/ 34810 h 34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4810">
                  <a:moveTo>
                    <a:pt x="83401" y="34810"/>
                  </a:moveTo>
                  <a:cubicBezTo>
                    <a:pt x="80359" y="34810"/>
                    <a:pt x="80359" y="34810"/>
                    <a:pt x="77316" y="31768"/>
                  </a:cubicBezTo>
                  <a:cubicBezTo>
                    <a:pt x="52978" y="1345"/>
                    <a:pt x="10387" y="19599"/>
                    <a:pt x="10387" y="19599"/>
                  </a:cubicBezTo>
                  <a:cubicBezTo>
                    <a:pt x="7345" y="22641"/>
                    <a:pt x="1260" y="19599"/>
                    <a:pt x="1260" y="16557"/>
                  </a:cubicBezTo>
                  <a:cubicBezTo>
                    <a:pt x="-1782" y="13514"/>
                    <a:pt x="1260" y="7430"/>
                    <a:pt x="4302" y="7430"/>
                  </a:cubicBezTo>
                  <a:cubicBezTo>
                    <a:pt x="22556" y="-1697"/>
                    <a:pt x="65148" y="-7782"/>
                    <a:pt x="89486" y="22641"/>
                  </a:cubicBezTo>
                  <a:cubicBezTo>
                    <a:pt x="92528" y="25683"/>
                    <a:pt x="92528" y="31768"/>
                    <a:pt x="89486" y="34810"/>
                  </a:cubicBezTo>
                  <a:cubicBezTo>
                    <a:pt x="86443" y="34810"/>
                    <a:pt x="83401" y="34810"/>
                    <a:pt x="83401" y="34810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7CAC0F82-4FFB-4A54-8998-60EDD6CF8AF4}"/>
                </a:ext>
              </a:extLst>
            </p:cNvPr>
            <p:cNvSpPr/>
            <p:nvPr/>
          </p:nvSpPr>
          <p:spPr>
            <a:xfrm>
              <a:off x="3681976" y="2140816"/>
              <a:ext cx="90507" cy="32537"/>
            </a:xfrm>
            <a:custGeom>
              <a:avLst/>
              <a:gdLst>
                <a:gd name="connsiteX0" fmla="*/ 8366 w 90507"/>
                <a:gd name="connsiteY0" fmla="*/ 32537 h 32537"/>
                <a:gd name="connsiteX1" fmla="*/ 2282 w 90507"/>
                <a:gd name="connsiteY1" fmla="*/ 29495 h 32537"/>
                <a:gd name="connsiteX2" fmla="*/ 2282 w 90507"/>
                <a:gd name="connsiteY2" fmla="*/ 17326 h 32537"/>
                <a:gd name="connsiteX3" fmla="*/ 87465 w 90507"/>
                <a:gd name="connsiteY3" fmla="*/ 14284 h 32537"/>
                <a:gd name="connsiteX4" fmla="*/ 90507 w 90507"/>
                <a:gd name="connsiteY4" fmla="*/ 26453 h 32537"/>
                <a:gd name="connsiteX5" fmla="*/ 78338 w 90507"/>
                <a:gd name="connsiteY5" fmla="*/ 29495 h 32537"/>
                <a:gd name="connsiteX6" fmla="*/ 11408 w 90507"/>
                <a:gd name="connsiteY6" fmla="*/ 32537 h 32537"/>
                <a:gd name="connsiteX7" fmla="*/ 8366 w 90507"/>
                <a:gd name="connsiteY7" fmla="*/ 32537 h 32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507" h="32537">
                  <a:moveTo>
                    <a:pt x="8366" y="32537"/>
                  </a:moveTo>
                  <a:cubicBezTo>
                    <a:pt x="5324" y="32537"/>
                    <a:pt x="5324" y="32537"/>
                    <a:pt x="2282" y="29495"/>
                  </a:cubicBezTo>
                  <a:cubicBezTo>
                    <a:pt x="-761" y="26453"/>
                    <a:pt x="-761" y="20368"/>
                    <a:pt x="2282" y="17326"/>
                  </a:cubicBezTo>
                  <a:cubicBezTo>
                    <a:pt x="17493" y="5157"/>
                    <a:pt x="54000" y="-13097"/>
                    <a:pt x="87465" y="14284"/>
                  </a:cubicBezTo>
                  <a:cubicBezTo>
                    <a:pt x="90507" y="17326"/>
                    <a:pt x="90507" y="20368"/>
                    <a:pt x="90507" y="26453"/>
                  </a:cubicBezTo>
                  <a:cubicBezTo>
                    <a:pt x="87465" y="29495"/>
                    <a:pt x="84423" y="29495"/>
                    <a:pt x="78338" y="29495"/>
                  </a:cubicBezTo>
                  <a:cubicBezTo>
                    <a:pt x="44873" y="5157"/>
                    <a:pt x="14451" y="32537"/>
                    <a:pt x="11408" y="32537"/>
                  </a:cubicBezTo>
                  <a:cubicBezTo>
                    <a:pt x="14451" y="32537"/>
                    <a:pt x="11408" y="32537"/>
                    <a:pt x="8366" y="32537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52B0058C-6EE0-49F0-B0FB-A34FC8EF66BB}"/>
                </a:ext>
              </a:extLst>
            </p:cNvPr>
            <p:cNvSpPr/>
            <p:nvPr/>
          </p:nvSpPr>
          <p:spPr>
            <a:xfrm>
              <a:off x="3656877" y="2453240"/>
              <a:ext cx="229521" cy="73014"/>
            </a:xfrm>
            <a:custGeom>
              <a:avLst/>
              <a:gdLst>
                <a:gd name="connsiteX0" fmla="*/ 152113 w 229521"/>
                <a:gd name="connsiteY0" fmla="*/ 73014 h 73014"/>
                <a:gd name="connsiteX1" fmla="*/ 146028 w 229521"/>
                <a:gd name="connsiteY1" fmla="*/ 73014 h 73014"/>
                <a:gd name="connsiteX2" fmla="*/ 3042 w 229521"/>
                <a:gd name="connsiteY2" fmla="*/ 12169 h 73014"/>
                <a:gd name="connsiteX3" fmla="*/ 0 w 229521"/>
                <a:gd name="connsiteY3" fmla="*/ 3042 h 73014"/>
                <a:gd name="connsiteX4" fmla="*/ 9127 w 229521"/>
                <a:gd name="connsiteY4" fmla="*/ 0 h 73014"/>
                <a:gd name="connsiteX5" fmla="*/ 146028 w 229521"/>
                <a:gd name="connsiteY5" fmla="*/ 57803 h 73014"/>
                <a:gd name="connsiteX6" fmla="*/ 219042 w 229521"/>
                <a:gd name="connsiteY6" fmla="*/ 36507 h 73014"/>
                <a:gd name="connsiteX7" fmla="*/ 228169 w 229521"/>
                <a:gd name="connsiteY7" fmla="*/ 36507 h 73014"/>
                <a:gd name="connsiteX8" fmla="*/ 228169 w 229521"/>
                <a:gd name="connsiteY8" fmla="*/ 45634 h 73014"/>
                <a:gd name="connsiteX9" fmla="*/ 152113 w 229521"/>
                <a:gd name="connsiteY9" fmla="*/ 73014 h 7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9521" h="73014">
                  <a:moveTo>
                    <a:pt x="152113" y="73014"/>
                  </a:moveTo>
                  <a:cubicBezTo>
                    <a:pt x="149070" y="73014"/>
                    <a:pt x="149070" y="73014"/>
                    <a:pt x="146028" y="73014"/>
                  </a:cubicBezTo>
                  <a:cubicBezTo>
                    <a:pt x="94310" y="69972"/>
                    <a:pt x="9127" y="15211"/>
                    <a:pt x="3042" y="12169"/>
                  </a:cubicBezTo>
                  <a:cubicBezTo>
                    <a:pt x="0" y="9127"/>
                    <a:pt x="0" y="6085"/>
                    <a:pt x="0" y="3042"/>
                  </a:cubicBezTo>
                  <a:cubicBezTo>
                    <a:pt x="3042" y="0"/>
                    <a:pt x="6084" y="0"/>
                    <a:pt x="9127" y="0"/>
                  </a:cubicBezTo>
                  <a:cubicBezTo>
                    <a:pt x="9127" y="0"/>
                    <a:pt x="97352" y="54761"/>
                    <a:pt x="146028" y="57803"/>
                  </a:cubicBezTo>
                  <a:cubicBezTo>
                    <a:pt x="185577" y="60845"/>
                    <a:pt x="216000" y="36507"/>
                    <a:pt x="219042" y="36507"/>
                  </a:cubicBezTo>
                  <a:cubicBezTo>
                    <a:pt x="222084" y="33465"/>
                    <a:pt x="225127" y="36507"/>
                    <a:pt x="228169" y="36507"/>
                  </a:cubicBezTo>
                  <a:cubicBezTo>
                    <a:pt x="231211" y="39549"/>
                    <a:pt x="228169" y="42592"/>
                    <a:pt x="228169" y="45634"/>
                  </a:cubicBezTo>
                  <a:cubicBezTo>
                    <a:pt x="225127" y="51718"/>
                    <a:pt x="191662" y="73014"/>
                    <a:pt x="152113" y="73014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4" name="任意多边形: 形状 193">
              <a:extLst>
                <a:ext uri="{FF2B5EF4-FFF2-40B4-BE49-F238E27FC236}">
                  <a16:creationId xmlns:a16="http://schemas.microsoft.com/office/drawing/2014/main" id="{90F1B03F-148A-4ECD-9575-468FD5E9921D}"/>
                </a:ext>
              </a:extLst>
            </p:cNvPr>
            <p:cNvSpPr/>
            <p:nvPr/>
          </p:nvSpPr>
          <p:spPr>
            <a:xfrm>
              <a:off x="3549618" y="1963437"/>
              <a:ext cx="113343" cy="267718"/>
            </a:xfrm>
            <a:custGeom>
              <a:avLst/>
              <a:gdLst>
                <a:gd name="connsiteX0" fmla="*/ 113344 w 113343"/>
                <a:gd name="connsiteY0" fmla="*/ 130817 h 267718"/>
                <a:gd name="connsiteX1" fmla="*/ 55541 w 113343"/>
                <a:gd name="connsiteY1" fmla="*/ 267718 h 267718"/>
                <a:gd name="connsiteX2" fmla="*/ 3822 w 113343"/>
                <a:gd name="connsiteY2" fmla="*/ 164282 h 267718"/>
                <a:gd name="connsiteX3" fmla="*/ 73794 w 113343"/>
                <a:gd name="connsiteY3" fmla="*/ 0 h 267718"/>
                <a:gd name="connsiteX4" fmla="*/ 113344 w 113343"/>
                <a:gd name="connsiteY4" fmla="*/ 130817 h 26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343" h="267718">
                  <a:moveTo>
                    <a:pt x="113344" y="130817"/>
                  </a:moveTo>
                  <a:cubicBezTo>
                    <a:pt x="113344" y="130817"/>
                    <a:pt x="49456" y="237296"/>
                    <a:pt x="55541" y="267718"/>
                  </a:cubicBezTo>
                  <a:cubicBezTo>
                    <a:pt x="55541" y="267718"/>
                    <a:pt x="15992" y="222085"/>
                    <a:pt x="3822" y="164282"/>
                  </a:cubicBezTo>
                  <a:cubicBezTo>
                    <a:pt x="-8347" y="103437"/>
                    <a:pt x="6865" y="12169"/>
                    <a:pt x="73794" y="0"/>
                  </a:cubicBezTo>
                  <a:cubicBezTo>
                    <a:pt x="73794" y="3042"/>
                    <a:pt x="73794" y="109521"/>
                    <a:pt x="113344" y="130817"/>
                  </a:cubicBezTo>
                  <a:close/>
                </a:path>
              </a:pathLst>
            </a:custGeom>
            <a:solidFill>
              <a:srgbClr val="664241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5" name="任意多边形: 形状 194">
              <a:extLst>
                <a:ext uri="{FF2B5EF4-FFF2-40B4-BE49-F238E27FC236}">
                  <a16:creationId xmlns:a16="http://schemas.microsoft.com/office/drawing/2014/main" id="{EE6E9392-1ACF-4BA1-90DF-155A48611212}"/>
                </a:ext>
              </a:extLst>
            </p:cNvPr>
            <p:cNvSpPr/>
            <p:nvPr/>
          </p:nvSpPr>
          <p:spPr>
            <a:xfrm>
              <a:off x="3609123" y="1860159"/>
              <a:ext cx="501049" cy="266551"/>
            </a:xfrm>
            <a:custGeom>
              <a:avLst/>
              <a:gdLst>
                <a:gd name="connsiteX0" fmla="*/ 53838 w 501049"/>
                <a:gd name="connsiteY0" fmla="*/ 234095 h 266551"/>
                <a:gd name="connsiteX1" fmla="*/ 178571 w 501049"/>
                <a:gd name="connsiteY1" fmla="*/ 203672 h 266551"/>
                <a:gd name="connsiteX2" fmla="*/ 501050 w 501049"/>
                <a:gd name="connsiteY2" fmla="*/ 212799 h 266551"/>
                <a:gd name="connsiteX3" fmla="*/ 142064 w 501049"/>
                <a:gd name="connsiteY3" fmla="*/ 5926 h 266551"/>
                <a:gd name="connsiteX4" fmla="*/ 17332 w 501049"/>
                <a:gd name="connsiteY4" fmla="*/ 106320 h 266551"/>
                <a:gd name="connsiteX5" fmla="*/ 53838 w 501049"/>
                <a:gd name="connsiteY5" fmla="*/ 234095 h 266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1049" h="266551">
                  <a:moveTo>
                    <a:pt x="53838" y="234095"/>
                  </a:moveTo>
                  <a:cubicBezTo>
                    <a:pt x="53838" y="234095"/>
                    <a:pt x="151191" y="200630"/>
                    <a:pt x="178571" y="203672"/>
                  </a:cubicBezTo>
                  <a:cubicBezTo>
                    <a:pt x="278965" y="212799"/>
                    <a:pt x="397613" y="334489"/>
                    <a:pt x="501050" y="212799"/>
                  </a:cubicBezTo>
                  <a:cubicBezTo>
                    <a:pt x="461501" y="109363"/>
                    <a:pt x="309388" y="-30581"/>
                    <a:pt x="142064" y="5926"/>
                  </a:cubicBezTo>
                  <a:cubicBezTo>
                    <a:pt x="62965" y="24179"/>
                    <a:pt x="23416" y="69813"/>
                    <a:pt x="17332" y="106320"/>
                  </a:cubicBezTo>
                  <a:cubicBezTo>
                    <a:pt x="14289" y="106320"/>
                    <a:pt x="-37429" y="215841"/>
                    <a:pt x="53838" y="234095"/>
                  </a:cubicBezTo>
                  <a:close/>
                </a:path>
              </a:pathLst>
            </a:custGeom>
            <a:solidFill>
              <a:srgbClr val="664241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6" name="任意多边形: 形状 195">
              <a:extLst>
                <a:ext uri="{FF2B5EF4-FFF2-40B4-BE49-F238E27FC236}">
                  <a16:creationId xmlns:a16="http://schemas.microsoft.com/office/drawing/2014/main" id="{2E531DA0-9D3D-4EA3-BE50-36F4974FB554}"/>
                </a:ext>
              </a:extLst>
            </p:cNvPr>
            <p:cNvSpPr/>
            <p:nvPr/>
          </p:nvSpPr>
          <p:spPr>
            <a:xfrm>
              <a:off x="3540925" y="2197943"/>
              <a:ext cx="76492" cy="115045"/>
            </a:xfrm>
            <a:custGeom>
              <a:avLst/>
              <a:gdLst>
                <a:gd name="connsiteX0" fmla="*/ 67276 w 76492"/>
                <a:gd name="connsiteY0" fmla="*/ 18001 h 115045"/>
                <a:gd name="connsiteX1" fmla="*/ 9473 w 76492"/>
                <a:gd name="connsiteY1" fmla="*/ 5832 h 115045"/>
                <a:gd name="connsiteX2" fmla="*/ 61191 w 76492"/>
                <a:gd name="connsiteY2" fmla="*/ 112311 h 115045"/>
                <a:gd name="connsiteX3" fmla="*/ 67276 w 76492"/>
                <a:gd name="connsiteY3" fmla="*/ 18001 h 11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492" h="115045">
                  <a:moveTo>
                    <a:pt x="67276" y="18001"/>
                  </a:moveTo>
                  <a:cubicBezTo>
                    <a:pt x="67276" y="18001"/>
                    <a:pt x="36853" y="-12421"/>
                    <a:pt x="9473" y="5832"/>
                  </a:cubicBezTo>
                  <a:cubicBezTo>
                    <a:pt x="-17907" y="24086"/>
                    <a:pt x="18600" y="133607"/>
                    <a:pt x="61191" y="112311"/>
                  </a:cubicBezTo>
                  <a:cubicBezTo>
                    <a:pt x="91614" y="94058"/>
                    <a:pt x="67276" y="18001"/>
                    <a:pt x="67276" y="18001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7" name="任意多边形: 形状 196">
              <a:extLst>
                <a:ext uri="{FF2B5EF4-FFF2-40B4-BE49-F238E27FC236}">
                  <a16:creationId xmlns:a16="http://schemas.microsoft.com/office/drawing/2014/main" id="{6B2CCB02-38E4-475A-90E8-60C7F62C75B8}"/>
                </a:ext>
              </a:extLst>
            </p:cNvPr>
            <p:cNvSpPr/>
            <p:nvPr/>
          </p:nvSpPr>
          <p:spPr>
            <a:xfrm>
              <a:off x="3601695" y="1981691"/>
              <a:ext cx="73435" cy="240338"/>
            </a:xfrm>
            <a:custGeom>
              <a:avLst/>
              <a:gdLst>
                <a:gd name="connsiteX0" fmla="*/ 6506 w 73435"/>
                <a:gd name="connsiteY0" fmla="*/ 240338 h 240338"/>
                <a:gd name="connsiteX1" fmla="*/ 6506 w 73435"/>
                <a:gd name="connsiteY1" fmla="*/ 240338 h 240338"/>
                <a:gd name="connsiteX2" fmla="*/ 421 w 73435"/>
                <a:gd name="connsiteY2" fmla="*/ 234254 h 240338"/>
                <a:gd name="connsiteX3" fmla="*/ 52139 w 73435"/>
                <a:gd name="connsiteY3" fmla="*/ 118648 h 240338"/>
                <a:gd name="connsiteX4" fmla="*/ 6506 w 73435"/>
                <a:gd name="connsiteY4" fmla="*/ 73014 h 240338"/>
                <a:gd name="connsiteX5" fmla="*/ 9548 w 73435"/>
                <a:gd name="connsiteY5" fmla="*/ 6085 h 240338"/>
                <a:gd name="connsiteX6" fmla="*/ 15632 w 73435"/>
                <a:gd name="connsiteY6" fmla="*/ 0 h 240338"/>
                <a:gd name="connsiteX7" fmla="*/ 18675 w 73435"/>
                <a:gd name="connsiteY7" fmla="*/ 9127 h 240338"/>
                <a:gd name="connsiteX8" fmla="*/ 18675 w 73435"/>
                <a:gd name="connsiteY8" fmla="*/ 66930 h 240338"/>
                <a:gd name="connsiteX9" fmla="*/ 64309 w 73435"/>
                <a:gd name="connsiteY9" fmla="*/ 109521 h 240338"/>
                <a:gd name="connsiteX10" fmla="*/ 73435 w 73435"/>
                <a:gd name="connsiteY10" fmla="*/ 112563 h 240338"/>
                <a:gd name="connsiteX11" fmla="*/ 67351 w 73435"/>
                <a:gd name="connsiteY11" fmla="*/ 118648 h 240338"/>
                <a:gd name="connsiteX12" fmla="*/ 12590 w 73435"/>
                <a:gd name="connsiteY12" fmla="*/ 237296 h 240338"/>
                <a:gd name="connsiteX13" fmla="*/ 6506 w 73435"/>
                <a:gd name="connsiteY13" fmla="*/ 240338 h 24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435" h="240338">
                  <a:moveTo>
                    <a:pt x="6506" y="240338"/>
                  </a:moveTo>
                  <a:cubicBezTo>
                    <a:pt x="6506" y="240338"/>
                    <a:pt x="6506" y="240338"/>
                    <a:pt x="6506" y="240338"/>
                  </a:cubicBezTo>
                  <a:cubicBezTo>
                    <a:pt x="3463" y="240338"/>
                    <a:pt x="421" y="237296"/>
                    <a:pt x="421" y="234254"/>
                  </a:cubicBezTo>
                  <a:cubicBezTo>
                    <a:pt x="9548" y="182535"/>
                    <a:pt x="39971" y="133859"/>
                    <a:pt x="52139" y="118648"/>
                  </a:cubicBezTo>
                  <a:cubicBezTo>
                    <a:pt x="39971" y="112563"/>
                    <a:pt x="18675" y="97352"/>
                    <a:pt x="6506" y="73014"/>
                  </a:cubicBezTo>
                  <a:cubicBezTo>
                    <a:pt x="-2621" y="51718"/>
                    <a:pt x="-2621" y="30423"/>
                    <a:pt x="9548" y="6085"/>
                  </a:cubicBezTo>
                  <a:cubicBezTo>
                    <a:pt x="9548" y="0"/>
                    <a:pt x="12590" y="0"/>
                    <a:pt x="15632" y="0"/>
                  </a:cubicBezTo>
                  <a:cubicBezTo>
                    <a:pt x="18675" y="0"/>
                    <a:pt x="18675" y="6085"/>
                    <a:pt x="18675" y="9127"/>
                  </a:cubicBezTo>
                  <a:cubicBezTo>
                    <a:pt x="12590" y="30423"/>
                    <a:pt x="9548" y="48676"/>
                    <a:pt x="18675" y="66930"/>
                  </a:cubicBezTo>
                  <a:cubicBezTo>
                    <a:pt x="30844" y="97352"/>
                    <a:pt x="64309" y="109521"/>
                    <a:pt x="64309" y="109521"/>
                  </a:cubicBezTo>
                  <a:lnTo>
                    <a:pt x="73435" y="112563"/>
                  </a:lnTo>
                  <a:lnTo>
                    <a:pt x="67351" y="118648"/>
                  </a:lnTo>
                  <a:cubicBezTo>
                    <a:pt x="67351" y="118648"/>
                    <a:pt x="21717" y="176451"/>
                    <a:pt x="12590" y="237296"/>
                  </a:cubicBezTo>
                  <a:cubicBezTo>
                    <a:pt x="12590" y="237296"/>
                    <a:pt x="9548" y="240338"/>
                    <a:pt x="6506" y="240338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8" name="任意多边形: 形状 197">
              <a:extLst>
                <a:ext uri="{FF2B5EF4-FFF2-40B4-BE49-F238E27FC236}">
                  <a16:creationId xmlns:a16="http://schemas.microsoft.com/office/drawing/2014/main" id="{3912527C-D76F-4207-BE72-FB570A9580D9}"/>
                </a:ext>
              </a:extLst>
            </p:cNvPr>
            <p:cNvSpPr/>
            <p:nvPr/>
          </p:nvSpPr>
          <p:spPr>
            <a:xfrm>
              <a:off x="3778567" y="2041418"/>
              <a:ext cx="195174" cy="37624"/>
            </a:xfrm>
            <a:custGeom>
              <a:avLst/>
              <a:gdLst>
                <a:gd name="connsiteX0" fmla="*/ 191662 w 195174"/>
                <a:gd name="connsiteY0" fmla="*/ 37625 h 37624"/>
                <a:gd name="connsiteX1" fmla="*/ 188620 w 195174"/>
                <a:gd name="connsiteY1" fmla="*/ 37625 h 37624"/>
                <a:gd name="connsiteX2" fmla="*/ 9127 w 195174"/>
                <a:gd name="connsiteY2" fmla="*/ 31540 h 37624"/>
                <a:gd name="connsiteX3" fmla="*/ 0 w 195174"/>
                <a:gd name="connsiteY3" fmla="*/ 28498 h 37624"/>
                <a:gd name="connsiteX4" fmla="*/ 3042 w 195174"/>
                <a:gd name="connsiteY4" fmla="*/ 19371 h 37624"/>
                <a:gd name="connsiteX5" fmla="*/ 191662 w 195174"/>
                <a:gd name="connsiteY5" fmla="*/ 25456 h 37624"/>
                <a:gd name="connsiteX6" fmla="*/ 191662 w 195174"/>
                <a:gd name="connsiteY6" fmla="*/ 34582 h 37624"/>
                <a:gd name="connsiteX7" fmla="*/ 191662 w 195174"/>
                <a:gd name="connsiteY7" fmla="*/ 37625 h 3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174" h="37624">
                  <a:moveTo>
                    <a:pt x="191662" y="37625"/>
                  </a:moveTo>
                  <a:cubicBezTo>
                    <a:pt x="191662" y="37625"/>
                    <a:pt x="188620" y="37625"/>
                    <a:pt x="188620" y="37625"/>
                  </a:cubicBezTo>
                  <a:cubicBezTo>
                    <a:pt x="124732" y="-11051"/>
                    <a:pt x="12169" y="31540"/>
                    <a:pt x="9127" y="31540"/>
                  </a:cubicBezTo>
                  <a:cubicBezTo>
                    <a:pt x="6084" y="31540"/>
                    <a:pt x="3042" y="31540"/>
                    <a:pt x="0" y="28498"/>
                  </a:cubicBezTo>
                  <a:cubicBezTo>
                    <a:pt x="0" y="25456"/>
                    <a:pt x="0" y="22413"/>
                    <a:pt x="3042" y="19371"/>
                  </a:cubicBezTo>
                  <a:cubicBezTo>
                    <a:pt x="9127" y="16329"/>
                    <a:pt x="124732" y="-26263"/>
                    <a:pt x="191662" y="25456"/>
                  </a:cubicBezTo>
                  <a:cubicBezTo>
                    <a:pt x="194704" y="28498"/>
                    <a:pt x="194704" y="31540"/>
                    <a:pt x="191662" y="34582"/>
                  </a:cubicBezTo>
                  <a:cubicBezTo>
                    <a:pt x="197746" y="34582"/>
                    <a:pt x="194704" y="37625"/>
                    <a:pt x="191662" y="37625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9" name="任意多边形: 形状 198">
              <a:extLst>
                <a:ext uri="{FF2B5EF4-FFF2-40B4-BE49-F238E27FC236}">
                  <a16:creationId xmlns:a16="http://schemas.microsoft.com/office/drawing/2014/main" id="{A1449EEC-2308-43E3-9C5F-3C3AED93C92D}"/>
                </a:ext>
              </a:extLst>
            </p:cNvPr>
            <p:cNvSpPr/>
            <p:nvPr/>
          </p:nvSpPr>
          <p:spPr>
            <a:xfrm>
              <a:off x="3769440" y="2410649"/>
              <a:ext cx="119908" cy="30422"/>
            </a:xfrm>
            <a:custGeom>
              <a:avLst/>
              <a:gdLst>
                <a:gd name="connsiteX0" fmla="*/ 73014 w 119908"/>
                <a:gd name="connsiteY0" fmla="*/ 30423 h 30422"/>
                <a:gd name="connsiteX1" fmla="*/ 3042 w 119908"/>
                <a:gd name="connsiteY1" fmla="*/ 12169 h 30422"/>
                <a:gd name="connsiteX2" fmla="*/ 0 w 119908"/>
                <a:gd name="connsiteY2" fmla="*/ 3042 h 30422"/>
                <a:gd name="connsiteX3" fmla="*/ 9127 w 119908"/>
                <a:gd name="connsiteY3" fmla="*/ 0 h 30422"/>
                <a:gd name="connsiteX4" fmla="*/ 109521 w 119908"/>
                <a:gd name="connsiteY4" fmla="*/ 6084 h 30422"/>
                <a:gd name="connsiteX5" fmla="*/ 118648 w 119908"/>
                <a:gd name="connsiteY5" fmla="*/ 9127 h 30422"/>
                <a:gd name="connsiteX6" fmla="*/ 115606 w 119908"/>
                <a:gd name="connsiteY6" fmla="*/ 18254 h 30422"/>
                <a:gd name="connsiteX7" fmla="*/ 73014 w 119908"/>
                <a:gd name="connsiteY7" fmla="*/ 30423 h 30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908" h="30422">
                  <a:moveTo>
                    <a:pt x="73014" y="30423"/>
                  </a:moveTo>
                  <a:cubicBezTo>
                    <a:pt x="36507" y="30423"/>
                    <a:pt x="6085" y="12169"/>
                    <a:pt x="3042" y="12169"/>
                  </a:cubicBezTo>
                  <a:cubicBezTo>
                    <a:pt x="0" y="9127"/>
                    <a:pt x="0" y="6084"/>
                    <a:pt x="0" y="3042"/>
                  </a:cubicBezTo>
                  <a:cubicBezTo>
                    <a:pt x="3042" y="0"/>
                    <a:pt x="6085" y="0"/>
                    <a:pt x="9127" y="0"/>
                  </a:cubicBezTo>
                  <a:cubicBezTo>
                    <a:pt x="9127" y="0"/>
                    <a:pt x="69972" y="33465"/>
                    <a:pt x="109521" y="6084"/>
                  </a:cubicBezTo>
                  <a:cubicBezTo>
                    <a:pt x="112563" y="3042"/>
                    <a:pt x="115606" y="6084"/>
                    <a:pt x="118648" y="9127"/>
                  </a:cubicBezTo>
                  <a:cubicBezTo>
                    <a:pt x="121690" y="12169"/>
                    <a:pt x="118648" y="15211"/>
                    <a:pt x="115606" y="18254"/>
                  </a:cubicBezTo>
                  <a:cubicBezTo>
                    <a:pt x="103437" y="27380"/>
                    <a:pt x="88225" y="30423"/>
                    <a:pt x="73014" y="30423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00" name="图形 1">
              <a:extLst>
                <a:ext uri="{FF2B5EF4-FFF2-40B4-BE49-F238E27FC236}">
                  <a16:creationId xmlns:a16="http://schemas.microsoft.com/office/drawing/2014/main" id="{E37F79C1-4061-47F0-8DFC-4337294AAFF0}"/>
                </a:ext>
              </a:extLst>
            </p:cNvPr>
            <p:cNvGrpSpPr/>
            <p:nvPr/>
          </p:nvGrpSpPr>
          <p:grpSpPr>
            <a:xfrm>
              <a:off x="3277692" y="1742616"/>
              <a:ext cx="1015810" cy="409441"/>
              <a:chOff x="3277692" y="1742616"/>
              <a:chExt cx="1015810" cy="409441"/>
            </a:xfrm>
          </p:grpSpPr>
          <p:sp>
            <p:nvSpPr>
              <p:cNvPr id="201" name="任意多边形: 形状 200">
                <a:extLst>
                  <a:ext uri="{FF2B5EF4-FFF2-40B4-BE49-F238E27FC236}">
                    <a16:creationId xmlns:a16="http://schemas.microsoft.com/office/drawing/2014/main" id="{59858BBE-C2FB-4BAC-8CFC-7EE2BBB6575B}"/>
                  </a:ext>
                </a:extLst>
              </p:cNvPr>
              <p:cNvSpPr/>
              <p:nvPr/>
            </p:nvSpPr>
            <p:spPr>
              <a:xfrm>
                <a:off x="3563243" y="1742616"/>
                <a:ext cx="443492" cy="214737"/>
              </a:xfrm>
              <a:custGeom>
                <a:avLst/>
                <a:gdLst>
                  <a:gd name="connsiteX0" fmla="*/ 2366 w 443492"/>
                  <a:gd name="connsiteY0" fmla="*/ 214737 h 214737"/>
                  <a:gd name="connsiteX1" fmla="*/ 66253 w 443492"/>
                  <a:gd name="connsiteY1" fmla="*/ 35244 h 214737"/>
                  <a:gd name="connsiteX2" fmla="*/ 315718 w 443492"/>
                  <a:gd name="connsiteY2" fmla="*/ 1779 h 214737"/>
                  <a:gd name="connsiteX3" fmla="*/ 443493 w 443492"/>
                  <a:gd name="connsiteY3" fmla="*/ 153892 h 214737"/>
                  <a:gd name="connsiteX4" fmla="*/ 2366 w 443492"/>
                  <a:gd name="connsiteY4" fmla="*/ 214737 h 214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3492" h="214737">
                    <a:moveTo>
                      <a:pt x="2366" y="214737"/>
                    </a:moveTo>
                    <a:cubicBezTo>
                      <a:pt x="2366" y="214737"/>
                      <a:pt x="-18930" y="77836"/>
                      <a:pt x="66253" y="35244"/>
                    </a:cubicBezTo>
                    <a:cubicBezTo>
                      <a:pt x="124056" y="4822"/>
                      <a:pt x="248789" y="-4305"/>
                      <a:pt x="315718" y="1779"/>
                    </a:cubicBezTo>
                    <a:cubicBezTo>
                      <a:pt x="425239" y="16991"/>
                      <a:pt x="437408" y="105216"/>
                      <a:pt x="443493" y="153892"/>
                    </a:cubicBezTo>
                    <a:lnTo>
                      <a:pt x="2366" y="214737"/>
                    </a:ln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2" name="任意多边形: 形状 201">
                <a:extLst>
                  <a:ext uri="{FF2B5EF4-FFF2-40B4-BE49-F238E27FC236}">
                    <a16:creationId xmlns:a16="http://schemas.microsoft.com/office/drawing/2014/main" id="{BD852EA8-17EB-4E6A-8865-D8EB2D74173B}"/>
                  </a:ext>
                </a:extLst>
              </p:cNvPr>
              <p:cNvSpPr/>
              <p:nvPr/>
            </p:nvSpPr>
            <p:spPr>
              <a:xfrm>
                <a:off x="3277692" y="1861218"/>
                <a:ext cx="1015810" cy="290838"/>
              </a:xfrm>
              <a:custGeom>
                <a:avLst/>
                <a:gdLst>
                  <a:gd name="connsiteX0" fmla="*/ 479579 w 1015810"/>
                  <a:gd name="connsiteY0" fmla="*/ 96135 h 290838"/>
                  <a:gd name="connsiteX1" fmla="*/ 74959 w 1015810"/>
                  <a:gd name="connsiteY1" fmla="*/ 290839 h 290838"/>
                  <a:gd name="connsiteX2" fmla="*/ 1945 w 1015810"/>
                  <a:gd name="connsiteY2" fmla="*/ 239120 h 290838"/>
                  <a:gd name="connsiteX3" fmla="*/ 464368 w 1015810"/>
                  <a:gd name="connsiteY3" fmla="*/ 23120 h 290838"/>
                  <a:gd name="connsiteX4" fmla="*/ 1011973 w 1015810"/>
                  <a:gd name="connsiteY4" fmla="*/ 74839 h 290838"/>
                  <a:gd name="connsiteX5" fmla="*/ 987635 w 1015810"/>
                  <a:gd name="connsiteY5" fmla="*/ 135684 h 290838"/>
                  <a:gd name="connsiteX6" fmla="*/ 479579 w 1015810"/>
                  <a:gd name="connsiteY6" fmla="*/ 96135 h 290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5810" h="290838">
                    <a:moveTo>
                      <a:pt x="479579" y="96135"/>
                    </a:moveTo>
                    <a:cubicBezTo>
                      <a:pt x="245325" y="132642"/>
                      <a:pt x="71917" y="220867"/>
                      <a:pt x="74959" y="290839"/>
                    </a:cubicBezTo>
                    <a:cubicBezTo>
                      <a:pt x="35410" y="278670"/>
                      <a:pt x="8030" y="260416"/>
                      <a:pt x="1945" y="239120"/>
                    </a:cubicBezTo>
                    <a:cubicBezTo>
                      <a:pt x="-22393" y="166106"/>
                      <a:pt x="184480" y="68754"/>
                      <a:pt x="464368" y="23120"/>
                    </a:cubicBezTo>
                    <a:cubicBezTo>
                      <a:pt x="741213" y="-22513"/>
                      <a:pt x="987635" y="1825"/>
                      <a:pt x="1011973" y="74839"/>
                    </a:cubicBezTo>
                    <a:cubicBezTo>
                      <a:pt x="1018058" y="99177"/>
                      <a:pt x="1021100" y="111346"/>
                      <a:pt x="987635" y="135684"/>
                    </a:cubicBezTo>
                    <a:cubicBezTo>
                      <a:pt x="948086" y="65712"/>
                      <a:pt x="716875" y="56585"/>
                      <a:pt x="479579" y="96135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3" name="任意多边形: 形状 202">
                <a:extLst>
                  <a:ext uri="{FF2B5EF4-FFF2-40B4-BE49-F238E27FC236}">
                    <a16:creationId xmlns:a16="http://schemas.microsoft.com/office/drawing/2014/main" id="{A2F63A55-BAE9-47EF-9B83-AFB913F3522C}"/>
                  </a:ext>
                </a:extLst>
              </p:cNvPr>
              <p:cNvSpPr/>
              <p:nvPr/>
            </p:nvSpPr>
            <p:spPr>
              <a:xfrm>
                <a:off x="3556483" y="1855698"/>
                <a:ext cx="453295" cy="71231"/>
              </a:xfrm>
              <a:custGeom>
                <a:avLst/>
                <a:gdLst>
                  <a:gd name="connsiteX0" fmla="*/ 6085 w 453295"/>
                  <a:gd name="connsiteY0" fmla="*/ 71232 h 71231"/>
                  <a:gd name="connsiteX1" fmla="*/ 0 w 453295"/>
                  <a:gd name="connsiteY1" fmla="*/ 68190 h 71231"/>
                  <a:gd name="connsiteX2" fmla="*/ 3042 w 453295"/>
                  <a:gd name="connsiteY2" fmla="*/ 62105 h 71231"/>
                  <a:gd name="connsiteX3" fmla="*/ 447211 w 453295"/>
                  <a:gd name="connsiteY3" fmla="*/ 1260 h 71231"/>
                  <a:gd name="connsiteX4" fmla="*/ 447211 w 453295"/>
                  <a:gd name="connsiteY4" fmla="*/ 1260 h 71231"/>
                  <a:gd name="connsiteX5" fmla="*/ 453296 w 453295"/>
                  <a:gd name="connsiteY5" fmla="*/ 4302 h 71231"/>
                  <a:gd name="connsiteX6" fmla="*/ 447211 w 453295"/>
                  <a:gd name="connsiteY6" fmla="*/ 10387 h 71231"/>
                  <a:gd name="connsiteX7" fmla="*/ 6085 w 453295"/>
                  <a:gd name="connsiteY7" fmla="*/ 71232 h 71231"/>
                  <a:gd name="connsiteX8" fmla="*/ 6085 w 453295"/>
                  <a:gd name="connsiteY8" fmla="*/ 71232 h 71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3295" h="71231">
                    <a:moveTo>
                      <a:pt x="6085" y="71232"/>
                    </a:moveTo>
                    <a:cubicBezTo>
                      <a:pt x="3042" y="71232"/>
                      <a:pt x="0" y="68190"/>
                      <a:pt x="0" y="68190"/>
                    </a:cubicBezTo>
                    <a:cubicBezTo>
                      <a:pt x="0" y="65147"/>
                      <a:pt x="0" y="62105"/>
                      <a:pt x="3042" y="62105"/>
                    </a:cubicBezTo>
                    <a:cubicBezTo>
                      <a:pt x="197746" y="7345"/>
                      <a:pt x="444169" y="1260"/>
                      <a:pt x="447211" y="1260"/>
                    </a:cubicBezTo>
                    <a:lnTo>
                      <a:pt x="447211" y="1260"/>
                    </a:lnTo>
                    <a:cubicBezTo>
                      <a:pt x="450254" y="-1782"/>
                      <a:pt x="453296" y="1260"/>
                      <a:pt x="453296" y="4302"/>
                    </a:cubicBezTo>
                    <a:cubicBezTo>
                      <a:pt x="453296" y="7345"/>
                      <a:pt x="450254" y="10387"/>
                      <a:pt x="447211" y="10387"/>
                    </a:cubicBezTo>
                    <a:cubicBezTo>
                      <a:pt x="447211" y="10387"/>
                      <a:pt x="200789" y="16471"/>
                      <a:pt x="6085" y="71232"/>
                    </a:cubicBezTo>
                    <a:cubicBezTo>
                      <a:pt x="6085" y="71232"/>
                      <a:pt x="6085" y="71232"/>
                      <a:pt x="6085" y="71232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04" name="任意多边形: 形状 203">
              <a:extLst>
                <a:ext uri="{FF2B5EF4-FFF2-40B4-BE49-F238E27FC236}">
                  <a16:creationId xmlns:a16="http://schemas.microsoft.com/office/drawing/2014/main" id="{589012A5-FF7F-4657-9906-AA8EFE8EADFC}"/>
                </a:ext>
              </a:extLst>
            </p:cNvPr>
            <p:cNvSpPr/>
            <p:nvPr/>
          </p:nvSpPr>
          <p:spPr>
            <a:xfrm>
              <a:off x="3179243" y="2574690"/>
              <a:ext cx="432745" cy="1080240"/>
            </a:xfrm>
            <a:custGeom>
              <a:avLst/>
              <a:gdLst>
                <a:gd name="connsiteX0" fmla="*/ 432000 w 432745"/>
                <a:gd name="connsiteY0" fmla="*/ 3283 h 1080240"/>
                <a:gd name="connsiteX1" fmla="*/ 395493 w 432745"/>
                <a:gd name="connsiteY1" fmla="*/ 900747 h 1080240"/>
                <a:gd name="connsiteX2" fmla="*/ 0 w 432745"/>
                <a:gd name="connsiteY2" fmla="*/ 1080240 h 1080240"/>
                <a:gd name="connsiteX3" fmla="*/ 12169 w 432745"/>
                <a:gd name="connsiteY3" fmla="*/ 982888 h 1080240"/>
                <a:gd name="connsiteX4" fmla="*/ 292056 w 432745"/>
                <a:gd name="connsiteY4" fmla="*/ 873367 h 1080240"/>
                <a:gd name="connsiteX5" fmla="*/ 343775 w 432745"/>
                <a:gd name="connsiteY5" fmla="*/ 30663 h 1080240"/>
                <a:gd name="connsiteX6" fmla="*/ 432000 w 432745"/>
                <a:gd name="connsiteY6" fmla="*/ 3283 h 108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745" h="1080240">
                  <a:moveTo>
                    <a:pt x="432000" y="3283"/>
                  </a:moveTo>
                  <a:cubicBezTo>
                    <a:pt x="432000" y="3283"/>
                    <a:pt x="441127" y="769930"/>
                    <a:pt x="395493" y="900747"/>
                  </a:cubicBezTo>
                  <a:cubicBezTo>
                    <a:pt x="349859" y="1031564"/>
                    <a:pt x="0" y="1080240"/>
                    <a:pt x="0" y="1080240"/>
                  </a:cubicBezTo>
                  <a:lnTo>
                    <a:pt x="12169" y="982888"/>
                  </a:lnTo>
                  <a:cubicBezTo>
                    <a:pt x="12169" y="982888"/>
                    <a:pt x="243380" y="919001"/>
                    <a:pt x="292056" y="873367"/>
                  </a:cubicBezTo>
                  <a:cubicBezTo>
                    <a:pt x="340732" y="827733"/>
                    <a:pt x="343775" y="30663"/>
                    <a:pt x="343775" y="30663"/>
                  </a:cubicBezTo>
                  <a:cubicBezTo>
                    <a:pt x="343775" y="30663"/>
                    <a:pt x="374197" y="-11929"/>
                    <a:pt x="432000" y="3283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5" name="任意多边形: 形状 204">
              <a:extLst>
                <a:ext uri="{FF2B5EF4-FFF2-40B4-BE49-F238E27FC236}">
                  <a16:creationId xmlns:a16="http://schemas.microsoft.com/office/drawing/2014/main" id="{68FA69BF-80A1-4F91-BDD5-400EA8774D06}"/>
                </a:ext>
              </a:extLst>
            </p:cNvPr>
            <p:cNvSpPr/>
            <p:nvPr/>
          </p:nvSpPr>
          <p:spPr>
            <a:xfrm>
              <a:off x="3279638" y="2924789"/>
              <a:ext cx="355943" cy="818388"/>
            </a:xfrm>
            <a:custGeom>
              <a:avLst/>
              <a:gdLst>
                <a:gd name="connsiteX0" fmla="*/ 231211 w 355943"/>
                <a:gd name="connsiteY0" fmla="*/ 0 h 818388"/>
                <a:gd name="connsiteX1" fmla="*/ 355944 w 355943"/>
                <a:gd name="connsiteY1" fmla="*/ 514141 h 818388"/>
                <a:gd name="connsiteX2" fmla="*/ 225127 w 355943"/>
                <a:gd name="connsiteY2" fmla="*/ 818366 h 818388"/>
                <a:gd name="connsiteX3" fmla="*/ 0 w 355943"/>
                <a:gd name="connsiteY3" fmla="*/ 139944 h 818388"/>
                <a:gd name="connsiteX4" fmla="*/ 231211 w 355943"/>
                <a:gd name="connsiteY4" fmla="*/ 0 h 818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5943" h="818388">
                  <a:moveTo>
                    <a:pt x="231211" y="0"/>
                  </a:moveTo>
                  <a:lnTo>
                    <a:pt x="355944" y="514141"/>
                  </a:lnTo>
                  <a:cubicBezTo>
                    <a:pt x="355944" y="514141"/>
                    <a:pt x="352901" y="821408"/>
                    <a:pt x="225127" y="818366"/>
                  </a:cubicBezTo>
                  <a:cubicBezTo>
                    <a:pt x="94310" y="812282"/>
                    <a:pt x="0" y="139944"/>
                    <a:pt x="0" y="139944"/>
                  </a:cubicBezTo>
                  <a:lnTo>
                    <a:pt x="231211" y="0"/>
                  </a:ln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6" name="任意多边形: 形状 205">
              <a:extLst>
                <a:ext uri="{FF2B5EF4-FFF2-40B4-BE49-F238E27FC236}">
                  <a16:creationId xmlns:a16="http://schemas.microsoft.com/office/drawing/2014/main" id="{978B62A1-796A-42DF-8DBC-EA6EED719546}"/>
                </a:ext>
              </a:extLst>
            </p:cNvPr>
            <p:cNvSpPr/>
            <p:nvPr/>
          </p:nvSpPr>
          <p:spPr>
            <a:xfrm>
              <a:off x="3204199" y="2661674"/>
              <a:ext cx="437466" cy="593249"/>
            </a:xfrm>
            <a:custGeom>
              <a:avLst/>
              <a:gdLst>
                <a:gd name="connsiteX0" fmla="*/ 23720 w 437466"/>
                <a:gd name="connsiteY0" fmla="*/ 588637 h 593249"/>
                <a:gd name="connsiteX1" fmla="*/ 145410 w 437466"/>
                <a:gd name="connsiteY1" fmla="*/ 1482 h 593249"/>
                <a:gd name="connsiteX2" fmla="*/ 437467 w 437466"/>
                <a:gd name="connsiteY2" fmla="*/ 512580 h 593249"/>
                <a:gd name="connsiteX3" fmla="*/ 23720 w 437466"/>
                <a:gd name="connsiteY3" fmla="*/ 588637 h 593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7466" h="593249">
                  <a:moveTo>
                    <a:pt x="23720" y="588637"/>
                  </a:moveTo>
                  <a:cubicBezTo>
                    <a:pt x="23720" y="588637"/>
                    <a:pt x="-79717" y="44073"/>
                    <a:pt x="145410" y="1482"/>
                  </a:cubicBezTo>
                  <a:cubicBezTo>
                    <a:pt x="312734" y="-31983"/>
                    <a:pt x="437467" y="512580"/>
                    <a:pt x="437467" y="512580"/>
                  </a:cubicBezTo>
                  <a:cubicBezTo>
                    <a:pt x="437467" y="512580"/>
                    <a:pt x="233636" y="616017"/>
                    <a:pt x="23720" y="588637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7" name="任意多边形: 形状 206">
              <a:extLst>
                <a:ext uri="{FF2B5EF4-FFF2-40B4-BE49-F238E27FC236}">
                  <a16:creationId xmlns:a16="http://schemas.microsoft.com/office/drawing/2014/main" id="{BA57EC39-CB8A-4646-92B6-9E600BC0571E}"/>
                </a:ext>
              </a:extLst>
            </p:cNvPr>
            <p:cNvSpPr/>
            <p:nvPr/>
          </p:nvSpPr>
          <p:spPr>
            <a:xfrm>
              <a:off x="3912426" y="3057011"/>
              <a:ext cx="216205" cy="150708"/>
            </a:xfrm>
            <a:custGeom>
              <a:avLst/>
              <a:gdLst>
                <a:gd name="connsiteX0" fmla="*/ 0 w 216205"/>
                <a:gd name="connsiteY0" fmla="*/ 150708 h 150708"/>
                <a:gd name="connsiteX1" fmla="*/ 76056 w 216205"/>
                <a:gd name="connsiteY1" fmla="*/ 7722 h 150708"/>
                <a:gd name="connsiteX2" fmla="*/ 216000 w 216205"/>
                <a:gd name="connsiteY2" fmla="*/ 19891 h 150708"/>
                <a:gd name="connsiteX3" fmla="*/ 73014 w 216205"/>
                <a:gd name="connsiteY3" fmla="*/ 114201 h 150708"/>
                <a:gd name="connsiteX4" fmla="*/ 0 w 216205"/>
                <a:gd name="connsiteY4" fmla="*/ 150708 h 150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205" h="150708">
                  <a:moveTo>
                    <a:pt x="0" y="150708"/>
                  </a:moveTo>
                  <a:cubicBezTo>
                    <a:pt x="0" y="150708"/>
                    <a:pt x="39549" y="19891"/>
                    <a:pt x="76056" y="7722"/>
                  </a:cubicBezTo>
                  <a:cubicBezTo>
                    <a:pt x="127775" y="-10531"/>
                    <a:pt x="209916" y="7722"/>
                    <a:pt x="216000" y="19891"/>
                  </a:cubicBezTo>
                  <a:cubicBezTo>
                    <a:pt x="222084" y="32060"/>
                    <a:pt x="91268" y="102032"/>
                    <a:pt x="73014" y="114201"/>
                  </a:cubicBezTo>
                  <a:cubicBezTo>
                    <a:pt x="54761" y="126370"/>
                    <a:pt x="0" y="150708"/>
                    <a:pt x="0" y="150708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8" name="任意多边形: 形状 207">
              <a:extLst>
                <a:ext uri="{FF2B5EF4-FFF2-40B4-BE49-F238E27FC236}">
                  <a16:creationId xmlns:a16="http://schemas.microsoft.com/office/drawing/2014/main" id="{5043BABD-BB0C-45C9-9D81-27580FE77A38}"/>
                </a:ext>
              </a:extLst>
            </p:cNvPr>
            <p:cNvSpPr/>
            <p:nvPr/>
          </p:nvSpPr>
          <p:spPr>
            <a:xfrm>
              <a:off x="3447078" y="3198592"/>
              <a:ext cx="532588" cy="552769"/>
            </a:xfrm>
            <a:custGeom>
              <a:avLst/>
              <a:gdLst>
                <a:gd name="connsiteX0" fmla="*/ 453179 w 532588"/>
                <a:gd name="connsiteY0" fmla="*/ 0 h 552769"/>
                <a:gd name="connsiteX1" fmla="*/ 18136 w 532588"/>
                <a:gd name="connsiteY1" fmla="*/ 358986 h 552769"/>
                <a:gd name="connsiteX2" fmla="*/ 130700 w 532588"/>
                <a:gd name="connsiteY2" fmla="*/ 547606 h 552769"/>
                <a:gd name="connsiteX3" fmla="*/ 532277 w 532588"/>
                <a:gd name="connsiteY3" fmla="*/ 124732 h 552769"/>
                <a:gd name="connsiteX4" fmla="*/ 453179 w 532588"/>
                <a:gd name="connsiteY4" fmla="*/ 0 h 552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588" h="552769">
                  <a:moveTo>
                    <a:pt x="453179" y="0"/>
                  </a:moveTo>
                  <a:cubicBezTo>
                    <a:pt x="453179" y="0"/>
                    <a:pt x="57686" y="273803"/>
                    <a:pt x="18136" y="358986"/>
                  </a:cubicBezTo>
                  <a:cubicBezTo>
                    <a:pt x="-24455" y="444169"/>
                    <a:pt x="5968" y="581070"/>
                    <a:pt x="130700" y="547606"/>
                  </a:cubicBezTo>
                  <a:cubicBezTo>
                    <a:pt x="255432" y="514141"/>
                    <a:pt x="523151" y="130817"/>
                    <a:pt x="532277" y="124732"/>
                  </a:cubicBezTo>
                  <a:cubicBezTo>
                    <a:pt x="538362" y="118648"/>
                    <a:pt x="453179" y="0"/>
                    <a:pt x="453179" y="0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9" name="任意多边形: 形状 208">
              <a:extLst>
                <a:ext uri="{FF2B5EF4-FFF2-40B4-BE49-F238E27FC236}">
                  <a16:creationId xmlns:a16="http://schemas.microsoft.com/office/drawing/2014/main" id="{395CA6C3-44BA-4F60-878D-A6BE3785FDA8}"/>
                </a:ext>
              </a:extLst>
            </p:cNvPr>
            <p:cNvSpPr/>
            <p:nvPr/>
          </p:nvSpPr>
          <p:spPr>
            <a:xfrm>
              <a:off x="3514652" y="3394057"/>
              <a:ext cx="117126" cy="102675"/>
            </a:xfrm>
            <a:custGeom>
              <a:avLst/>
              <a:gdLst>
                <a:gd name="connsiteX0" fmla="*/ 5324 w 117126"/>
                <a:gd name="connsiteY0" fmla="*/ 102676 h 102675"/>
                <a:gd name="connsiteX1" fmla="*/ 2282 w 117126"/>
                <a:gd name="connsiteY1" fmla="*/ 99634 h 102675"/>
                <a:gd name="connsiteX2" fmla="*/ 2282 w 117126"/>
                <a:gd name="connsiteY2" fmla="*/ 90507 h 102675"/>
                <a:gd name="connsiteX3" fmla="*/ 105718 w 117126"/>
                <a:gd name="connsiteY3" fmla="*/ 2282 h 102675"/>
                <a:gd name="connsiteX4" fmla="*/ 114845 w 117126"/>
                <a:gd name="connsiteY4" fmla="*/ 2282 h 102675"/>
                <a:gd name="connsiteX5" fmla="*/ 114845 w 117126"/>
                <a:gd name="connsiteY5" fmla="*/ 11408 h 102675"/>
                <a:gd name="connsiteX6" fmla="*/ 11408 w 117126"/>
                <a:gd name="connsiteY6" fmla="*/ 99634 h 102675"/>
                <a:gd name="connsiteX7" fmla="*/ 5324 w 117126"/>
                <a:gd name="connsiteY7" fmla="*/ 102676 h 10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126" h="102675">
                  <a:moveTo>
                    <a:pt x="5324" y="102676"/>
                  </a:moveTo>
                  <a:cubicBezTo>
                    <a:pt x="5324" y="102676"/>
                    <a:pt x="2282" y="102676"/>
                    <a:pt x="2282" y="99634"/>
                  </a:cubicBezTo>
                  <a:cubicBezTo>
                    <a:pt x="-761" y="96591"/>
                    <a:pt x="-761" y="93549"/>
                    <a:pt x="2282" y="90507"/>
                  </a:cubicBezTo>
                  <a:cubicBezTo>
                    <a:pt x="20535" y="72253"/>
                    <a:pt x="102676" y="5324"/>
                    <a:pt x="105718" y="2282"/>
                  </a:cubicBezTo>
                  <a:cubicBezTo>
                    <a:pt x="108761" y="-761"/>
                    <a:pt x="111803" y="-761"/>
                    <a:pt x="114845" y="2282"/>
                  </a:cubicBezTo>
                  <a:cubicBezTo>
                    <a:pt x="117887" y="5324"/>
                    <a:pt x="117887" y="8366"/>
                    <a:pt x="114845" y="11408"/>
                  </a:cubicBezTo>
                  <a:cubicBezTo>
                    <a:pt x="114845" y="11408"/>
                    <a:pt x="29662" y="81380"/>
                    <a:pt x="11408" y="99634"/>
                  </a:cubicBezTo>
                  <a:cubicBezTo>
                    <a:pt x="8366" y="102676"/>
                    <a:pt x="8366" y="102676"/>
                    <a:pt x="5324" y="102676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0" name="任意多边形: 形状 209">
              <a:extLst>
                <a:ext uri="{FF2B5EF4-FFF2-40B4-BE49-F238E27FC236}">
                  <a16:creationId xmlns:a16="http://schemas.microsoft.com/office/drawing/2014/main" id="{CA131C07-4D37-4C24-8494-D3FC291DCBAD}"/>
                </a:ext>
              </a:extLst>
            </p:cNvPr>
            <p:cNvSpPr/>
            <p:nvPr/>
          </p:nvSpPr>
          <p:spPr>
            <a:xfrm>
              <a:off x="3343525" y="2657071"/>
              <a:ext cx="304225" cy="571943"/>
            </a:xfrm>
            <a:custGeom>
              <a:avLst/>
              <a:gdLst>
                <a:gd name="connsiteX0" fmla="*/ 173408 w 304225"/>
                <a:gd name="connsiteY0" fmla="*/ 571944 h 571943"/>
                <a:gd name="connsiteX1" fmla="*/ 167324 w 304225"/>
                <a:gd name="connsiteY1" fmla="*/ 568901 h 571943"/>
                <a:gd name="connsiteX2" fmla="*/ 170366 w 304225"/>
                <a:gd name="connsiteY2" fmla="*/ 562817 h 571943"/>
                <a:gd name="connsiteX3" fmla="*/ 292056 w 304225"/>
                <a:gd name="connsiteY3" fmla="*/ 514141 h 571943"/>
                <a:gd name="connsiteX4" fmla="*/ 179493 w 304225"/>
                <a:gd name="connsiteY4" fmla="*/ 176451 h 571943"/>
                <a:gd name="connsiteX5" fmla="*/ 6085 w 304225"/>
                <a:gd name="connsiteY5" fmla="*/ 12169 h 571943"/>
                <a:gd name="connsiteX6" fmla="*/ 6085 w 304225"/>
                <a:gd name="connsiteY6" fmla="*/ 12169 h 571943"/>
                <a:gd name="connsiteX7" fmla="*/ 6085 w 304225"/>
                <a:gd name="connsiteY7" fmla="*/ 12169 h 571943"/>
                <a:gd name="connsiteX8" fmla="*/ 0 w 304225"/>
                <a:gd name="connsiteY8" fmla="*/ 6084 h 571943"/>
                <a:gd name="connsiteX9" fmla="*/ 6085 w 304225"/>
                <a:gd name="connsiteY9" fmla="*/ 0 h 571943"/>
                <a:gd name="connsiteX10" fmla="*/ 191662 w 304225"/>
                <a:gd name="connsiteY10" fmla="*/ 173408 h 571943"/>
                <a:gd name="connsiteX11" fmla="*/ 304225 w 304225"/>
                <a:gd name="connsiteY11" fmla="*/ 514141 h 571943"/>
                <a:gd name="connsiteX12" fmla="*/ 304225 w 304225"/>
                <a:gd name="connsiteY12" fmla="*/ 517183 h 571943"/>
                <a:gd name="connsiteX13" fmla="*/ 301183 w 304225"/>
                <a:gd name="connsiteY13" fmla="*/ 520225 h 571943"/>
                <a:gd name="connsiteX14" fmla="*/ 173408 w 304225"/>
                <a:gd name="connsiteY14" fmla="*/ 571944 h 571943"/>
                <a:gd name="connsiteX15" fmla="*/ 173408 w 304225"/>
                <a:gd name="connsiteY15" fmla="*/ 571944 h 571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4225" h="571943">
                  <a:moveTo>
                    <a:pt x="173408" y="571944"/>
                  </a:moveTo>
                  <a:cubicBezTo>
                    <a:pt x="170366" y="571944"/>
                    <a:pt x="167324" y="568901"/>
                    <a:pt x="167324" y="568901"/>
                  </a:cubicBezTo>
                  <a:cubicBezTo>
                    <a:pt x="167324" y="565859"/>
                    <a:pt x="167324" y="562817"/>
                    <a:pt x="170366" y="562817"/>
                  </a:cubicBezTo>
                  <a:cubicBezTo>
                    <a:pt x="225127" y="550648"/>
                    <a:pt x="276845" y="523268"/>
                    <a:pt x="292056" y="514141"/>
                  </a:cubicBezTo>
                  <a:cubicBezTo>
                    <a:pt x="282930" y="486761"/>
                    <a:pt x="240338" y="331606"/>
                    <a:pt x="179493" y="176451"/>
                  </a:cubicBezTo>
                  <a:cubicBezTo>
                    <a:pt x="115606" y="12169"/>
                    <a:pt x="9127" y="12169"/>
                    <a:pt x="6085" y="12169"/>
                  </a:cubicBezTo>
                  <a:lnTo>
                    <a:pt x="6085" y="12169"/>
                  </a:lnTo>
                  <a:cubicBezTo>
                    <a:pt x="6085" y="12169"/>
                    <a:pt x="6085" y="12169"/>
                    <a:pt x="6085" y="12169"/>
                  </a:cubicBezTo>
                  <a:cubicBezTo>
                    <a:pt x="3042" y="12169"/>
                    <a:pt x="0" y="9127"/>
                    <a:pt x="0" y="6084"/>
                  </a:cubicBezTo>
                  <a:cubicBezTo>
                    <a:pt x="0" y="3042"/>
                    <a:pt x="3042" y="0"/>
                    <a:pt x="6085" y="0"/>
                  </a:cubicBezTo>
                  <a:cubicBezTo>
                    <a:pt x="9127" y="0"/>
                    <a:pt x="124732" y="0"/>
                    <a:pt x="191662" y="173408"/>
                  </a:cubicBezTo>
                  <a:cubicBezTo>
                    <a:pt x="255549" y="343775"/>
                    <a:pt x="304225" y="514141"/>
                    <a:pt x="304225" y="514141"/>
                  </a:cubicBezTo>
                  <a:lnTo>
                    <a:pt x="304225" y="517183"/>
                  </a:lnTo>
                  <a:lnTo>
                    <a:pt x="301183" y="520225"/>
                  </a:lnTo>
                  <a:cubicBezTo>
                    <a:pt x="301183" y="523268"/>
                    <a:pt x="237296" y="556732"/>
                    <a:pt x="173408" y="571944"/>
                  </a:cubicBezTo>
                  <a:cubicBezTo>
                    <a:pt x="173408" y="571944"/>
                    <a:pt x="173408" y="571944"/>
                    <a:pt x="173408" y="571944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11" name="图形 1">
              <a:extLst>
                <a:ext uri="{FF2B5EF4-FFF2-40B4-BE49-F238E27FC236}">
                  <a16:creationId xmlns:a16="http://schemas.microsoft.com/office/drawing/2014/main" id="{E37F79C1-4061-47F0-8DFC-4337294AAFF0}"/>
                </a:ext>
              </a:extLst>
            </p:cNvPr>
            <p:cNvGrpSpPr/>
            <p:nvPr/>
          </p:nvGrpSpPr>
          <p:grpSpPr>
            <a:xfrm>
              <a:off x="3872877" y="2504958"/>
              <a:ext cx="1283830" cy="1478535"/>
              <a:chOff x="3872877" y="2504958"/>
              <a:chExt cx="1283830" cy="1478535"/>
            </a:xfrm>
          </p:grpSpPr>
          <p:sp>
            <p:nvSpPr>
              <p:cNvPr id="212" name="任意多边形: 形状 211">
                <a:extLst>
                  <a:ext uri="{FF2B5EF4-FFF2-40B4-BE49-F238E27FC236}">
                    <a16:creationId xmlns:a16="http://schemas.microsoft.com/office/drawing/2014/main" id="{F4F52DE0-ECFC-4E68-B848-347602C35C68}"/>
                  </a:ext>
                </a:extLst>
              </p:cNvPr>
              <p:cNvSpPr/>
              <p:nvPr/>
            </p:nvSpPr>
            <p:spPr>
              <a:xfrm>
                <a:off x="3872877" y="2504958"/>
                <a:ext cx="1283830" cy="1478535"/>
              </a:xfrm>
              <a:custGeom>
                <a:avLst/>
                <a:gdLst>
                  <a:gd name="connsiteX0" fmla="*/ 1140845 w 1283830"/>
                  <a:gd name="connsiteY0" fmla="*/ 1003944 h 1478535"/>
                  <a:gd name="connsiteX1" fmla="*/ 1198648 w 1283830"/>
                  <a:gd name="connsiteY1" fmla="*/ 1378141 h 1478535"/>
                  <a:gd name="connsiteX2" fmla="*/ 876169 w 1283830"/>
                  <a:gd name="connsiteY2" fmla="*/ 1390310 h 1478535"/>
                  <a:gd name="connsiteX3" fmla="*/ 815324 w 1283830"/>
                  <a:gd name="connsiteY3" fmla="*/ 1393352 h 1478535"/>
                  <a:gd name="connsiteX4" fmla="*/ 739268 w 1283830"/>
                  <a:gd name="connsiteY4" fmla="*/ 1396394 h 1478535"/>
                  <a:gd name="connsiteX5" fmla="*/ 678423 w 1283830"/>
                  <a:gd name="connsiteY5" fmla="*/ 1399437 h 1478535"/>
                  <a:gd name="connsiteX6" fmla="*/ 581070 w 1283830"/>
                  <a:gd name="connsiteY6" fmla="*/ 1402479 h 1478535"/>
                  <a:gd name="connsiteX7" fmla="*/ 581070 w 1283830"/>
                  <a:gd name="connsiteY7" fmla="*/ 1478535 h 1478535"/>
                  <a:gd name="connsiteX8" fmla="*/ 374197 w 1283830"/>
                  <a:gd name="connsiteY8" fmla="*/ 1463324 h 1478535"/>
                  <a:gd name="connsiteX9" fmla="*/ 310310 w 1283830"/>
                  <a:gd name="connsiteY9" fmla="*/ 1457239 h 1478535"/>
                  <a:gd name="connsiteX10" fmla="*/ 12169 w 1283830"/>
                  <a:gd name="connsiteY10" fmla="*/ 1432902 h 1478535"/>
                  <a:gd name="connsiteX11" fmla="*/ 76056 w 1283830"/>
                  <a:gd name="connsiteY11" fmla="*/ 1271662 h 1478535"/>
                  <a:gd name="connsiteX12" fmla="*/ 97352 w 1283830"/>
                  <a:gd name="connsiteY12" fmla="*/ 1213859 h 1478535"/>
                  <a:gd name="connsiteX13" fmla="*/ 188620 w 1283830"/>
                  <a:gd name="connsiteY13" fmla="*/ 830535 h 1478535"/>
                  <a:gd name="connsiteX14" fmla="*/ 176451 w 1283830"/>
                  <a:gd name="connsiteY14" fmla="*/ 711887 h 1478535"/>
                  <a:gd name="connsiteX15" fmla="*/ 164282 w 1283830"/>
                  <a:gd name="connsiteY15" fmla="*/ 651042 h 1478535"/>
                  <a:gd name="connsiteX16" fmla="*/ 0 w 1283830"/>
                  <a:gd name="connsiteY16" fmla="*/ 97352 h 1478535"/>
                  <a:gd name="connsiteX17" fmla="*/ 316394 w 1283830"/>
                  <a:gd name="connsiteY17" fmla="*/ 100394 h 1478535"/>
                  <a:gd name="connsiteX18" fmla="*/ 377239 w 1283830"/>
                  <a:gd name="connsiteY18" fmla="*/ 97352 h 1478535"/>
                  <a:gd name="connsiteX19" fmla="*/ 635831 w 1283830"/>
                  <a:gd name="connsiteY19" fmla="*/ 79099 h 1478535"/>
                  <a:gd name="connsiteX20" fmla="*/ 696676 w 1283830"/>
                  <a:gd name="connsiteY20" fmla="*/ 73014 h 1478535"/>
                  <a:gd name="connsiteX21" fmla="*/ 900507 w 1283830"/>
                  <a:gd name="connsiteY21" fmla="*/ 51718 h 1478535"/>
                  <a:gd name="connsiteX22" fmla="*/ 961352 w 1283830"/>
                  <a:gd name="connsiteY22" fmla="*/ 45634 h 1478535"/>
                  <a:gd name="connsiteX23" fmla="*/ 1283831 w 1283830"/>
                  <a:gd name="connsiteY23" fmla="*/ 0 h 1478535"/>
                  <a:gd name="connsiteX24" fmla="*/ 1137803 w 1283830"/>
                  <a:gd name="connsiteY24" fmla="*/ 483718 h 1478535"/>
                  <a:gd name="connsiteX25" fmla="*/ 1119549 w 1283830"/>
                  <a:gd name="connsiteY25" fmla="*/ 547606 h 1478535"/>
                  <a:gd name="connsiteX26" fmla="*/ 1107380 w 1283830"/>
                  <a:gd name="connsiteY26" fmla="*/ 599324 h 1478535"/>
                  <a:gd name="connsiteX27" fmla="*/ 1125634 w 1283830"/>
                  <a:gd name="connsiteY27" fmla="*/ 940056 h 1478535"/>
                  <a:gd name="connsiteX28" fmla="*/ 1140845 w 1283830"/>
                  <a:gd name="connsiteY28" fmla="*/ 1003944 h 1478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283830" h="1478535">
                    <a:moveTo>
                      <a:pt x="1140845" y="1003944"/>
                    </a:moveTo>
                    <a:cubicBezTo>
                      <a:pt x="1165183" y="1195606"/>
                      <a:pt x="1198648" y="1378141"/>
                      <a:pt x="1198648" y="1378141"/>
                    </a:cubicBezTo>
                    <a:lnTo>
                      <a:pt x="876169" y="1390310"/>
                    </a:lnTo>
                    <a:lnTo>
                      <a:pt x="815324" y="1393352"/>
                    </a:lnTo>
                    <a:lnTo>
                      <a:pt x="739268" y="1396394"/>
                    </a:lnTo>
                    <a:lnTo>
                      <a:pt x="678423" y="1399437"/>
                    </a:lnTo>
                    <a:lnTo>
                      <a:pt x="581070" y="1402479"/>
                    </a:lnTo>
                    <a:lnTo>
                      <a:pt x="581070" y="1478535"/>
                    </a:lnTo>
                    <a:lnTo>
                      <a:pt x="374197" y="1463324"/>
                    </a:lnTo>
                    <a:lnTo>
                      <a:pt x="310310" y="1457239"/>
                    </a:lnTo>
                    <a:lnTo>
                      <a:pt x="12169" y="1432902"/>
                    </a:lnTo>
                    <a:cubicBezTo>
                      <a:pt x="12169" y="1432902"/>
                      <a:pt x="39549" y="1365972"/>
                      <a:pt x="76056" y="1271662"/>
                    </a:cubicBezTo>
                    <a:cubicBezTo>
                      <a:pt x="82141" y="1253409"/>
                      <a:pt x="91268" y="1232113"/>
                      <a:pt x="97352" y="1213859"/>
                    </a:cubicBezTo>
                    <a:cubicBezTo>
                      <a:pt x="139944" y="1089127"/>
                      <a:pt x="185577" y="933972"/>
                      <a:pt x="188620" y="830535"/>
                    </a:cubicBezTo>
                    <a:cubicBezTo>
                      <a:pt x="188620" y="797070"/>
                      <a:pt x="185577" y="757521"/>
                      <a:pt x="176451" y="711887"/>
                    </a:cubicBezTo>
                    <a:cubicBezTo>
                      <a:pt x="173408" y="693634"/>
                      <a:pt x="170366" y="672338"/>
                      <a:pt x="164282" y="651042"/>
                    </a:cubicBezTo>
                    <a:cubicBezTo>
                      <a:pt x="115606" y="413746"/>
                      <a:pt x="0" y="97352"/>
                      <a:pt x="0" y="97352"/>
                    </a:cubicBezTo>
                    <a:cubicBezTo>
                      <a:pt x="91268" y="106479"/>
                      <a:pt x="200789" y="106479"/>
                      <a:pt x="316394" y="100394"/>
                    </a:cubicBezTo>
                    <a:cubicBezTo>
                      <a:pt x="337690" y="100394"/>
                      <a:pt x="355944" y="97352"/>
                      <a:pt x="377239" y="97352"/>
                    </a:cubicBezTo>
                    <a:cubicBezTo>
                      <a:pt x="462422" y="94310"/>
                      <a:pt x="550648" y="85183"/>
                      <a:pt x="635831" y="79099"/>
                    </a:cubicBezTo>
                    <a:cubicBezTo>
                      <a:pt x="657127" y="76056"/>
                      <a:pt x="675380" y="76056"/>
                      <a:pt x="696676" y="73014"/>
                    </a:cubicBezTo>
                    <a:cubicBezTo>
                      <a:pt x="766648" y="66930"/>
                      <a:pt x="836620" y="57803"/>
                      <a:pt x="900507" y="51718"/>
                    </a:cubicBezTo>
                    <a:cubicBezTo>
                      <a:pt x="921803" y="48676"/>
                      <a:pt x="943099" y="45634"/>
                      <a:pt x="961352" y="45634"/>
                    </a:cubicBezTo>
                    <a:cubicBezTo>
                      <a:pt x="1149972" y="21296"/>
                      <a:pt x="1283831" y="0"/>
                      <a:pt x="1283831" y="0"/>
                    </a:cubicBezTo>
                    <a:cubicBezTo>
                      <a:pt x="1283831" y="0"/>
                      <a:pt x="1192563" y="295099"/>
                      <a:pt x="1137803" y="483718"/>
                    </a:cubicBezTo>
                    <a:cubicBezTo>
                      <a:pt x="1131718" y="508056"/>
                      <a:pt x="1125634" y="529352"/>
                      <a:pt x="1119549" y="547606"/>
                    </a:cubicBezTo>
                    <a:cubicBezTo>
                      <a:pt x="1113465" y="568901"/>
                      <a:pt x="1110423" y="587155"/>
                      <a:pt x="1107380" y="599324"/>
                    </a:cubicBezTo>
                    <a:cubicBezTo>
                      <a:pt x="1095211" y="654085"/>
                      <a:pt x="1107380" y="794028"/>
                      <a:pt x="1125634" y="940056"/>
                    </a:cubicBezTo>
                    <a:cubicBezTo>
                      <a:pt x="1134761" y="964394"/>
                      <a:pt x="1137803" y="985690"/>
                      <a:pt x="1140845" y="1003944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3" name="任意多边形: 形状 212">
                <a:extLst>
                  <a:ext uri="{FF2B5EF4-FFF2-40B4-BE49-F238E27FC236}">
                    <a16:creationId xmlns:a16="http://schemas.microsoft.com/office/drawing/2014/main" id="{6E964955-5E58-4BF0-B387-0E97653543C2}"/>
                  </a:ext>
                </a:extLst>
              </p:cNvPr>
              <p:cNvSpPr/>
              <p:nvPr/>
            </p:nvSpPr>
            <p:spPr>
              <a:xfrm>
                <a:off x="3948933" y="2581015"/>
                <a:ext cx="1064788" cy="1381183"/>
              </a:xfrm>
              <a:custGeom>
                <a:avLst/>
                <a:gdLst>
                  <a:gd name="connsiteX0" fmla="*/ 1064789 w 1064788"/>
                  <a:gd name="connsiteY0" fmla="*/ 927887 h 1381183"/>
                  <a:gd name="connsiteX1" fmla="*/ 1055662 w 1064788"/>
                  <a:gd name="connsiteY1" fmla="*/ 867042 h 1381183"/>
                  <a:gd name="connsiteX2" fmla="*/ 626704 w 1064788"/>
                  <a:gd name="connsiteY2" fmla="*/ 870084 h 1381183"/>
                  <a:gd name="connsiteX3" fmla="*/ 596282 w 1064788"/>
                  <a:gd name="connsiteY3" fmla="*/ 349859 h 1381183"/>
                  <a:gd name="connsiteX4" fmla="*/ 596282 w 1064788"/>
                  <a:gd name="connsiteY4" fmla="*/ 346817 h 1381183"/>
                  <a:gd name="connsiteX5" fmla="*/ 602366 w 1064788"/>
                  <a:gd name="connsiteY5" fmla="*/ 337690 h 1381183"/>
                  <a:gd name="connsiteX6" fmla="*/ 626704 w 1064788"/>
                  <a:gd name="connsiteY6" fmla="*/ 149070 h 1381183"/>
                  <a:gd name="connsiteX7" fmla="*/ 629746 w 1064788"/>
                  <a:gd name="connsiteY7" fmla="*/ 0 h 1381183"/>
                  <a:gd name="connsiteX8" fmla="*/ 568901 w 1064788"/>
                  <a:gd name="connsiteY8" fmla="*/ 6084 h 1381183"/>
                  <a:gd name="connsiteX9" fmla="*/ 559775 w 1064788"/>
                  <a:gd name="connsiteY9" fmla="*/ 219042 h 1381183"/>
                  <a:gd name="connsiteX10" fmla="*/ 550648 w 1064788"/>
                  <a:gd name="connsiteY10" fmla="*/ 301183 h 1381183"/>
                  <a:gd name="connsiteX11" fmla="*/ 477634 w 1064788"/>
                  <a:gd name="connsiteY11" fmla="*/ 328563 h 1381183"/>
                  <a:gd name="connsiteX12" fmla="*/ 331606 w 1064788"/>
                  <a:gd name="connsiteY12" fmla="*/ 334648 h 1381183"/>
                  <a:gd name="connsiteX13" fmla="*/ 322479 w 1064788"/>
                  <a:gd name="connsiteY13" fmla="*/ 243380 h 1381183"/>
                  <a:gd name="connsiteX14" fmla="*/ 307268 w 1064788"/>
                  <a:gd name="connsiteY14" fmla="*/ 21296 h 1381183"/>
                  <a:gd name="connsiteX15" fmla="*/ 246422 w 1064788"/>
                  <a:gd name="connsiteY15" fmla="*/ 24338 h 1381183"/>
                  <a:gd name="connsiteX16" fmla="*/ 261634 w 1064788"/>
                  <a:gd name="connsiteY16" fmla="*/ 313352 h 1381183"/>
                  <a:gd name="connsiteX17" fmla="*/ 212958 w 1064788"/>
                  <a:gd name="connsiteY17" fmla="*/ 508056 h 1381183"/>
                  <a:gd name="connsiteX18" fmla="*/ 91268 w 1064788"/>
                  <a:gd name="connsiteY18" fmla="*/ 571944 h 1381183"/>
                  <a:gd name="connsiteX19" fmla="*/ 103437 w 1064788"/>
                  <a:gd name="connsiteY19" fmla="*/ 632789 h 1381183"/>
                  <a:gd name="connsiteX20" fmla="*/ 325521 w 1064788"/>
                  <a:gd name="connsiteY20" fmla="*/ 459380 h 1381183"/>
                  <a:gd name="connsiteX21" fmla="*/ 331606 w 1064788"/>
                  <a:gd name="connsiteY21" fmla="*/ 392451 h 1381183"/>
                  <a:gd name="connsiteX22" fmla="*/ 535437 w 1064788"/>
                  <a:gd name="connsiteY22" fmla="*/ 383324 h 1381183"/>
                  <a:gd name="connsiteX23" fmla="*/ 556733 w 1064788"/>
                  <a:gd name="connsiteY23" fmla="*/ 754479 h 1381183"/>
                  <a:gd name="connsiteX24" fmla="*/ 243380 w 1064788"/>
                  <a:gd name="connsiteY24" fmla="*/ 864000 h 1381183"/>
                  <a:gd name="connsiteX25" fmla="*/ 222084 w 1064788"/>
                  <a:gd name="connsiteY25" fmla="*/ 1146930 h 1381183"/>
                  <a:gd name="connsiteX26" fmla="*/ 21296 w 1064788"/>
                  <a:gd name="connsiteY26" fmla="*/ 1134761 h 1381183"/>
                  <a:gd name="connsiteX27" fmla="*/ 0 w 1064788"/>
                  <a:gd name="connsiteY27" fmla="*/ 1192563 h 1381183"/>
                  <a:gd name="connsiteX28" fmla="*/ 225127 w 1064788"/>
                  <a:gd name="connsiteY28" fmla="*/ 1207775 h 1381183"/>
                  <a:gd name="connsiteX29" fmla="*/ 234254 w 1064788"/>
                  <a:gd name="connsiteY29" fmla="*/ 1375099 h 1381183"/>
                  <a:gd name="connsiteX30" fmla="*/ 298141 w 1064788"/>
                  <a:gd name="connsiteY30" fmla="*/ 1381183 h 1381183"/>
                  <a:gd name="connsiteX31" fmla="*/ 295099 w 1064788"/>
                  <a:gd name="connsiteY31" fmla="*/ 1043493 h 1381183"/>
                  <a:gd name="connsiteX32" fmla="*/ 340732 w 1064788"/>
                  <a:gd name="connsiteY32" fmla="*/ 845746 h 1381183"/>
                  <a:gd name="connsiteX33" fmla="*/ 562817 w 1064788"/>
                  <a:gd name="connsiteY33" fmla="*/ 812282 h 1381183"/>
                  <a:gd name="connsiteX34" fmla="*/ 602366 w 1064788"/>
                  <a:gd name="connsiteY34" fmla="*/ 1314254 h 1381183"/>
                  <a:gd name="connsiteX35" fmla="*/ 663211 w 1064788"/>
                  <a:gd name="connsiteY35" fmla="*/ 1311211 h 1381183"/>
                  <a:gd name="connsiteX36" fmla="*/ 648000 w 1064788"/>
                  <a:gd name="connsiteY36" fmla="*/ 1146930 h 1381183"/>
                  <a:gd name="connsiteX37" fmla="*/ 721014 w 1064788"/>
                  <a:gd name="connsiteY37" fmla="*/ 1122592 h 1381183"/>
                  <a:gd name="connsiteX38" fmla="*/ 736225 w 1064788"/>
                  <a:gd name="connsiteY38" fmla="*/ 1308169 h 1381183"/>
                  <a:gd name="connsiteX39" fmla="*/ 797070 w 1064788"/>
                  <a:gd name="connsiteY39" fmla="*/ 1305127 h 1381183"/>
                  <a:gd name="connsiteX40" fmla="*/ 781859 w 1064788"/>
                  <a:gd name="connsiteY40" fmla="*/ 1110422 h 1381183"/>
                  <a:gd name="connsiteX41" fmla="*/ 778817 w 1064788"/>
                  <a:gd name="connsiteY41" fmla="*/ 1098254 h 1381183"/>
                  <a:gd name="connsiteX42" fmla="*/ 821408 w 1064788"/>
                  <a:gd name="connsiteY42" fmla="*/ 1073916 h 1381183"/>
                  <a:gd name="connsiteX43" fmla="*/ 845747 w 1064788"/>
                  <a:gd name="connsiteY43" fmla="*/ 1022197 h 1381183"/>
                  <a:gd name="connsiteX44" fmla="*/ 836620 w 1064788"/>
                  <a:gd name="connsiteY44" fmla="*/ 924845 h 1381183"/>
                  <a:gd name="connsiteX45" fmla="*/ 1064789 w 1064788"/>
                  <a:gd name="connsiteY45" fmla="*/ 927887 h 1381183"/>
                  <a:gd name="connsiteX46" fmla="*/ 714930 w 1064788"/>
                  <a:gd name="connsiteY46" fmla="*/ 1070873 h 1381183"/>
                  <a:gd name="connsiteX47" fmla="*/ 644958 w 1064788"/>
                  <a:gd name="connsiteY47" fmla="*/ 1095211 h 1381183"/>
                  <a:gd name="connsiteX48" fmla="*/ 632789 w 1064788"/>
                  <a:gd name="connsiteY48" fmla="*/ 933972 h 1381183"/>
                  <a:gd name="connsiteX49" fmla="*/ 781859 w 1064788"/>
                  <a:gd name="connsiteY49" fmla="*/ 937014 h 1381183"/>
                  <a:gd name="connsiteX50" fmla="*/ 787944 w 1064788"/>
                  <a:gd name="connsiteY50" fmla="*/ 1040451 h 1381183"/>
                  <a:gd name="connsiteX51" fmla="*/ 714930 w 1064788"/>
                  <a:gd name="connsiteY51" fmla="*/ 1070873 h 1381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1064788" h="1381183">
                    <a:moveTo>
                      <a:pt x="1064789" y="927887"/>
                    </a:moveTo>
                    <a:cubicBezTo>
                      <a:pt x="1061747" y="906592"/>
                      <a:pt x="1058704" y="888338"/>
                      <a:pt x="1055662" y="867042"/>
                    </a:cubicBezTo>
                    <a:cubicBezTo>
                      <a:pt x="912676" y="876169"/>
                      <a:pt x="769690" y="876169"/>
                      <a:pt x="626704" y="870084"/>
                    </a:cubicBezTo>
                    <a:cubicBezTo>
                      <a:pt x="614535" y="696676"/>
                      <a:pt x="602366" y="523268"/>
                      <a:pt x="596282" y="349859"/>
                    </a:cubicBezTo>
                    <a:cubicBezTo>
                      <a:pt x="596282" y="349859"/>
                      <a:pt x="596282" y="346817"/>
                      <a:pt x="596282" y="346817"/>
                    </a:cubicBezTo>
                    <a:cubicBezTo>
                      <a:pt x="599324" y="343775"/>
                      <a:pt x="599324" y="340732"/>
                      <a:pt x="602366" y="337690"/>
                    </a:cubicBezTo>
                    <a:cubicBezTo>
                      <a:pt x="626704" y="282930"/>
                      <a:pt x="623662" y="206873"/>
                      <a:pt x="626704" y="149070"/>
                    </a:cubicBezTo>
                    <a:cubicBezTo>
                      <a:pt x="629746" y="100394"/>
                      <a:pt x="629746" y="51718"/>
                      <a:pt x="629746" y="0"/>
                    </a:cubicBezTo>
                    <a:cubicBezTo>
                      <a:pt x="611493" y="3042"/>
                      <a:pt x="590197" y="3042"/>
                      <a:pt x="568901" y="6084"/>
                    </a:cubicBezTo>
                    <a:cubicBezTo>
                      <a:pt x="568901" y="76056"/>
                      <a:pt x="565859" y="149070"/>
                      <a:pt x="559775" y="219042"/>
                    </a:cubicBezTo>
                    <a:cubicBezTo>
                      <a:pt x="556733" y="240338"/>
                      <a:pt x="559775" y="285972"/>
                      <a:pt x="550648" y="301183"/>
                    </a:cubicBezTo>
                    <a:cubicBezTo>
                      <a:pt x="535437" y="325521"/>
                      <a:pt x="501972" y="322479"/>
                      <a:pt x="477634" y="328563"/>
                    </a:cubicBezTo>
                    <a:cubicBezTo>
                      <a:pt x="432000" y="334648"/>
                      <a:pt x="380282" y="334648"/>
                      <a:pt x="331606" y="334648"/>
                    </a:cubicBezTo>
                    <a:cubicBezTo>
                      <a:pt x="328563" y="304225"/>
                      <a:pt x="325521" y="273803"/>
                      <a:pt x="322479" y="243380"/>
                    </a:cubicBezTo>
                    <a:cubicBezTo>
                      <a:pt x="319437" y="170366"/>
                      <a:pt x="313352" y="97352"/>
                      <a:pt x="307268" y="21296"/>
                    </a:cubicBezTo>
                    <a:cubicBezTo>
                      <a:pt x="285972" y="21296"/>
                      <a:pt x="267718" y="24338"/>
                      <a:pt x="246422" y="24338"/>
                    </a:cubicBezTo>
                    <a:cubicBezTo>
                      <a:pt x="255549" y="121690"/>
                      <a:pt x="258592" y="216000"/>
                      <a:pt x="261634" y="313352"/>
                    </a:cubicBezTo>
                    <a:cubicBezTo>
                      <a:pt x="264676" y="392451"/>
                      <a:pt x="282930" y="450254"/>
                      <a:pt x="212958" y="508056"/>
                    </a:cubicBezTo>
                    <a:cubicBezTo>
                      <a:pt x="182535" y="535437"/>
                      <a:pt x="133859" y="553690"/>
                      <a:pt x="91268" y="571944"/>
                    </a:cubicBezTo>
                    <a:cubicBezTo>
                      <a:pt x="94310" y="593239"/>
                      <a:pt x="100394" y="611493"/>
                      <a:pt x="103437" y="632789"/>
                    </a:cubicBezTo>
                    <a:cubicBezTo>
                      <a:pt x="191662" y="593239"/>
                      <a:pt x="304225" y="556732"/>
                      <a:pt x="325521" y="459380"/>
                    </a:cubicBezTo>
                    <a:cubicBezTo>
                      <a:pt x="328563" y="438084"/>
                      <a:pt x="331606" y="416789"/>
                      <a:pt x="331606" y="392451"/>
                    </a:cubicBezTo>
                    <a:cubicBezTo>
                      <a:pt x="389409" y="395493"/>
                      <a:pt x="474592" y="401578"/>
                      <a:pt x="535437" y="383324"/>
                    </a:cubicBezTo>
                    <a:cubicBezTo>
                      <a:pt x="541521" y="508056"/>
                      <a:pt x="547606" y="629747"/>
                      <a:pt x="556733" y="754479"/>
                    </a:cubicBezTo>
                    <a:cubicBezTo>
                      <a:pt x="444169" y="763606"/>
                      <a:pt x="273803" y="733183"/>
                      <a:pt x="243380" y="864000"/>
                    </a:cubicBezTo>
                    <a:cubicBezTo>
                      <a:pt x="222084" y="952225"/>
                      <a:pt x="219042" y="1049578"/>
                      <a:pt x="222084" y="1146930"/>
                    </a:cubicBezTo>
                    <a:cubicBezTo>
                      <a:pt x="155155" y="1143887"/>
                      <a:pt x="88225" y="1140845"/>
                      <a:pt x="21296" y="1134761"/>
                    </a:cubicBezTo>
                    <a:cubicBezTo>
                      <a:pt x="15211" y="1156056"/>
                      <a:pt x="6085" y="1174310"/>
                      <a:pt x="0" y="1192563"/>
                    </a:cubicBezTo>
                    <a:cubicBezTo>
                      <a:pt x="73014" y="1198648"/>
                      <a:pt x="149070" y="1204733"/>
                      <a:pt x="225127" y="1207775"/>
                    </a:cubicBezTo>
                    <a:cubicBezTo>
                      <a:pt x="228169" y="1265578"/>
                      <a:pt x="231211" y="1320338"/>
                      <a:pt x="234254" y="1375099"/>
                    </a:cubicBezTo>
                    <a:lnTo>
                      <a:pt x="298141" y="1381183"/>
                    </a:lnTo>
                    <a:cubicBezTo>
                      <a:pt x="298141" y="1268620"/>
                      <a:pt x="295099" y="1156056"/>
                      <a:pt x="295099" y="1043493"/>
                    </a:cubicBezTo>
                    <a:cubicBezTo>
                      <a:pt x="295099" y="973521"/>
                      <a:pt x="279887" y="879211"/>
                      <a:pt x="340732" y="845746"/>
                    </a:cubicBezTo>
                    <a:cubicBezTo>
                      <a:pt x="398535" y="812282"/>
                      <a:pt x="495887" y="818366"/>
                      <a:pt x="562817" y="812282"/>
                    </a:cubicBezTo>
                    <a:cubicBezTo>
                      <a:pt x="574986" y="979606"/>
                      <a:pt x="587155" y="1146930"/>
                      <a:pt x="602366" y="1314254"/>
                    </a:cubicBezTo>
                    <a:lnTo>
                      <a:pt x="663211" y="1311211"/>
                    </a:lnTo>
                    <a:cubicBezTo>
                      <a:pt x="657127" y="1256451"/>
                      <a:pt x="654085" y="1201690"/>
                      <a:pt x="648000" y="1146930"/>
                    </a:cubicBezTo>
                    <a:cubicBezTo>
                      <a:pt x="672338" y="1140845"/>
                      <a:pt x="696676" y="1131718"/>
                      <a:pt x="721014" y="1122592"/>
                    </a:cubicBezTo>
                    <a:cubicBezTo>
                      <a:pt x="727099" y="1183437"/>
                      <a:pt x="730141" y="1247324"/>
                      <a:pt x="736225" y="1308169"/>
                    </a:cubicBezTo>
                    <a:lnTo>
                      <a:pt x="797070" y="1305127"/>
                    </a:lnTo>
                    <a:cubicBezTo>
                      <a:pt x="790986" y="1241239"/>
                      <a:pt x="784902" y="1177352"/>
                      <a:pt x="781859" y="1110422"/>
                    </a:cubicBezTo>
                    <a:cubicBezTo>
                      <a:pt x="781859" y="1107380"/>
                      <a:pt x="778817" y="1101296"/>
                      <a:pt x="778817" y="1098254"/>
                    </a:cubicBezTo>
                    <a:cubicBezTo>
                      <a:pt x="794028" y="1092169"/>
                      <a:pt x="809239" y="1083042"/>
                      <a:pt x="821408" y="1073916"/>
                    </a:cubicBezTo>
                    <a:cubicBezTo>
                      <a:pt x="842704" y="1061746"/>
                      <a:pt x="845747" y="1043493"/>
                      <a:pt x="845747" y="1022197"/>
                    </a:cubicBezTo>
                    <a:cubicBezTo>
                      <a:pt x="845747" y="988732"/>
                      <a:pt x="839662" y="955268"/>
                      <a:pt x="836620" y="924845"/>
                    </a:cubicBezTo>
                    <a:cubicBezTo>
                      <a:pt x="915718" y="933972"/>
                      <a:pt x="991775" y="933972"/>
                      <a:pt x="1064789" y="927887"/>
                    </a:cubicBezTo>
                    <a:close/>
                    <a:moveTo>
                      <a:pt x="714930" y="1070873"/>
                    </a:moveTo>
                    <a:cubicBezTo>
                      <a:pt x="690591" y="1080000"/>
                      <a:pt x="669296" y="1089127"/>
                      <a:pt x="644958" y="1095211"/>
                    </a:cubicBezTo>
                    <a:cubicBezTo>
                      <a:pt x="641915" y="1040451"/>
                      <a:pt x="635831" y="988732"/>
                      <a:pt x="632789" y="933972"/>
                    </a:cubicBezTo>
                    <a:cubicBezTo>
                      <a:pt x="681465" y="937014"/>
                      <a:pt x="733183" y="937014"/>
                      <a:pt x="781859" y="937014"/>
                    </a:cubicBezTo>
                    <a:cubicBezTo>
                      <a:pt x="784902" y="970479"/>
                      <a:pt x="790986" y="1006986"/>
                      <a:pt x="787944" y="1040451"/>
                    </a:cubicBezTo>
                    <a:cubicBezTo>
                      <a:pt x="766648" y="1052620"/>
                      <a:pt x="733183" y="1061746"/>
                      <a:pt x="714930" y="1070873"/>
                    </a:cubicBezTo>
                    <a:close/>
                  </a:path>
                </a:pathLst>
              </a:custGeom>
              <a:solidFill>
                <a:srgbClr val="EDE2E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4" name="任意多边形: 形状 213">
                <a:extLst>
                  <a:ext uri="{FF2B5EF4-FFF2-40B4-BE49-F238E27FC236}">
                    <a16:creationId xmlns:a16="http://schemas.microsoft.com/office/drawing/2014/main" id="{54E46D57-A72F-4360-9F3B-42FF25E3B239}"/>
                  </a:ext>
                </a:extLst>
              </p:cNvPr>
              <p:cNvSpPr/>
              <p:nvPr/>
            </p:nvSpPr>
            <p:spPr>
              <a:xfrm>
                <a:off x="4779469" y="2553634"/>
                <a:ext cx="240337" cy="501971"/>
              </a:xfrm>
              <a:custGeom>
                <a:avLst/>
                <a:gdLst>
                  <a:gd name="connsiteX0" fmla="*/ 240338 w 240337"/>
                  <a:gd name="connsiteY0" fmla="*/ 438085 h 501971"/>
                  <a:gd name="connsiteX1" fmla="*/ 222084 w 240337"/>
                  <a:gd name="connsiteY1" fmla="*/ 501972 h 501971"/>
                  <a:gd name="connsiteX2" fmla="*/ 45634 w 240337"/>
                  <a:gd name="connsiteY2" fmla="*/ 428958 h 501971"/>
                  <a:gd name="connsiteX3" fmla="*/ 9127 w 240337"/>
                  <a:gd name="connsiteY3" fmla="*/ 194704 h 501971"/>
                  <a:gd name="connsiteX4" fmla="*/ 0 w 240337"/>
                  <a:gd name="connsiteY4" fmla="*/ 6085 h 501971"/>
                  <a:gd name="connsiteX5" fmla="*/ 60845 w 240337"/>
                  <a:gd name="connsiteY5" fmla="*/ 0 h 501971"/>
                  <a:gd name="connsiteX6" fmla="*/ 82141 w 240337"/>
                  <a:gd name="connsiteY6" fmla="*/ 292056 h 501971"/>
                  <a:gd name="connsiteX7" fmla="*/ 155155 w 240337"/>
                  <a:gd name="connsiteY7" fmla="*/ 432000 h 501971"/>
                  <a:gd name="connsiteX8" fmla="*/ 240338 w 240337"/>
                  <a:gd name="connsiteY8" fmla="*/ 438085 h 50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0337" h="501971">
                    <a:moveTo>
                      <a:pt x="240338" y="438085"/>
                    </a:moveTo>
                    <a:cubicBezTo>
                      <a:pt x="234253" y="462423"/>
                      <a:pt x="228169" y="483718"/>
                      <a:pt x="222084" y="501972"/>
                    </a:cubicBezTo>
                    <a:cubicBezTo>
                      <a:pt x="149070" y="501972"/>
                      <a:pt x="73014" y="492845"/>
                      <a:pt x="45634" y="428958"/>
                    </a:cubicBezTo>
                    <a:cubicBezTo>
                      <a:pt x="18253" y="362028"/>
                      <a:pt x="18253" y="267718"/>
                      <a:pt x="9127" y="194704"/>
                    </a:cubicBezTo>
                    <a:cubicBezTo>
                      <a:pt x="3042" y="130817"/>
                      <a:pt x="0" y="66930"/>
                      <a:pt x="0" y="6085"/>
                    </a:cubicBezTo>
                    <a:cubicBezTo>
                      <a:pt x="21296" y="3042"/>
                      <a:pt x="42591" y="0"/>
                      <a:pt x="60845" y="0"/>
                    </a:cubicBezTo>
                    <a:cubicBezTo>
                      <a:pt x="60845" y="97352"/>
                      <a:pt x="66929" y="194704"/>
                      <a:pt x="82141" y="292056"/>
                    </a:cubicBezTo>
                    <a:cubicBezTo>
                      <a:pt x="91268" y="358986"/>
                      <a:pt x="82141" y="413747"/>
                      <a:pt x="155155" y="432000"/>
                    </a:cubicBezTo>
                    <a:cubicBezTo>
                      <a:pt x="182535" y="435042"/>
                      <a:pt x="209915" y="438085"/>
                      <a:pt x="240338" y="438085"/>
                    </a:cubicBezTo>
                    <a:close/>
                  </a:path>
                </a:pathLst>
              </a:custGeom>
              <a:solidFill>
                <a:srgbClr val="EDE2E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15" name="任意多边形: 形状 214">
              <a:extLst>
                <a:ext uri="{FF2B5EF4-FFF2-40B4-BE49-F238E27FC236}">
                  <a16:creationId xmlns:a16="http://schemas.microsoft.com/office/drawing/2014/main" id="{4E7D1877-B720-4CF3-81DE-E19A7E12E358}"/>
                </a:ext>
              </a:extLst>
            </p:cNvPr>
            <p:cNvSpPr/>
            <p:nvPr/>
          </p:nvSpPr>
          <p:spPr>
            <a:xfrm>
              <a:off x="4450905" y="3326367"/>
              <a:ext cx="37854" cy="663211"/>
            </a:xfrm>
            <a:custGeom>
              <a:avLst/>
              <a:gdLst>
                <a:gd name="connsiteX0" fmla="*/ 6084 w 37854"/>
                <a:gd name="connsiteY0" fmla="*/ 663211 h 663211"/>
                <a:gd name="connsiteX1" fmla="*/ 6084 w 37854"/>
                <a:gd name="connsiteY1" fmla="*/ 663211 h 663211"/>
                <a:gd name="connsiteX2" fmla="*/ 0 w 37854"/>
                <a:gd name="connsiteY2" fmla="*/ 657127 h 663211"/>
                <a:gd name="connsiteX3" fmla="*/ 15211 w 37854"/>
                <a:gd name="connsiteY3" fmla="*/ 6085 h 663211"/>
                <a:gd name="connsiteX4" fmla="*/ 18253 w 37854"/>
                <a:gd name="connsiteY4" fmla="*/ 0 h 663211"/>
                <a:gd name="connsiteX5" fmla="*/ 24338 w 37854"/>
                <a:gd name="connsiteY5" fmla="*/ 3042 h 663211"/>
                <a:gd name="connsiteX6" fmla="*/ 9127 w 37854"/>
                <a:gd name="connsiteY6" fmla="*/ 657127 h 663211"/>
                <a:gd name="connsiteX7" fmla="*/ 6084 w 37854"/>
                <a:gd name="connsiteY7" fmla="*/ 663211 h 66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854" h="663211">
                  <a:moveTo>
                    <a:pt x="6084" y="663211"/>
                  </a:moveTo>
                  <a:cubicBezTo>
                    <a:pt x="6084" y="663211"/>
                    <a:pt x="6084" y="663211"/>
                    <a:pt x="6084" y="663211"/>
                  </a:cubicBezTo>
                  <a:cubicBezTo>
                    <a:pt x="3042" y="663211"/>
                    <a:pt x="0" y="660169"/>
                    <a:pt x="0" y="657127"/>
                  </a:cubicBezTo>
                  <a:cubicBezTo>
                    <a:pt x="0" y="651042"/>
                    <a:pt x="51718" y="152113"/>
                    <a:pt x="15211" y="6085"/>
                  </a:cubicBezTo>
                  <a:cubicBezTo>
                    <a:pt x="15211" y="3042"/>
                    <a:pt x="15211" y="0"/>
                    <a:pt x="18253" y="0"/>
                  </a:cubicBezTo>
                  <a:cubicBezTo>
                    <a:pt x="21296" y="0"/>
                    <a:pt x="24338" y="0"/>
                    <a:pt x="24338" y="3042"/>
                  </a:cubicBezTo>
                  <a:cubicBezTo>
                    <a:pt x="60845" y="149070"/>
                    <a:pt x="12169" y="635831"/>
                    <a:pt x="9127" y="657127"/>
                  </a:cubicBezTo>
                  <a:cubicBezTo>
                    <a:pt x="12169" y="660169"/>
                    <a:pt x="9127" y="663211"/>
                    <a:pt x="6084" y="663211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16" name="图形 1">
              <a:extLst>
                <a:ext uri="{FF2B5EF4-FFF2-40B4-BE49-F238E27FC236}">
                  <a16:creationId xmlns:a16="http://schemas.microsoft.com/office/drawing/2014/main" id="{E37F79C1-4061-47F0-8DFC-4337294AAFF0}"/>
                </a:ext>
              </a:extLst>
            </p:cNvPr>
            <p:cNvGrpSpPr/>
            <p:nvPr/>
          </p:nvGrpSpPr>
          <p:grpSpPr>
            <a:xfrm>
              <a:off x="4940096" y="3083149"/>
              <a:ext cx="83241" cy="184359"/>
              <a:chOff x="4940096" y="3083149"/>
              <a:chExt cx="83241" cy="184359"/>
            </a:xfrm>
          </p:grpSpPr>
          <p:sp>
            <p:nvSpPr>
              <p:cNvPr id="217" name="任意多边形: 形状 216">
                <a:extLst>
                  <a:ext uri="{FF2B5EF4-FFF2-40B4-BE49-F238E27FC236}">
                    <a16:creationId xmlns:a16="http://schemas.microsoft.com/office/drawing/2014/main" id="{5E3221F1-478D-4F07-A6C4-64D530707913}"/>
                  </a:ext>
                </a:extLst>
              </p:cNvPr>
              <p:cNvSpPr/>
              <p:nvPr/>
            </p:nvSpPr>
            <p:spPr>
              <a:xfrm>
                <a:off x="4941752" y="3089071"/>
                <a:ext cx="75821" cy="178437"/>
              </a:xfrm>
              <a:custGeom>
                <a:avLst/>
                <a:gdLst>
                  <a:gd name="connsiteX0" fmla="*/ 65886 w 75821"/>
                  <a:gd name="connsiteY0" fmla="*/ 42591 h 178437"/>
                  <a:gd name="connsiteX1" fmla="*/ 65886 w 75821"/>
                  <a:gd name="connsiteY1" fmla="*/ 42591 h 178437"/>
                  <a:gd name="connsiteX2" fmla="*/ 65886 w 75821"/>
                  <a:gd name="connsiteY2" fmla="*/ 39549 h 178437"/>
                  <a:gd name="connsiteX3" fmla="*/ 59801 w 75821"/>
                  <a:gd name="connsiteY3" fmla="*/ 3042 h 178437"/>
                  <a:gd name="connsiteX4" fmla="*/ 53717 w 75821"/>
                  <a:gd name="connsiteY4" fmla="*/ 0 h 178437"/>
                  <a:gd name="connsiteX5" fmla="*/ 47632 w 75821"/>
                  <a:gd name="connsiteY5" fmla="*/ 3042 h 178437"/>
                  <a:gd name="connsiteX6" fmla="*/ 5041 w 75821"/>
                  <a:gd name="connsiteY6" fmla="*/ 27380 h 178437"/>
                  <a:gd name="connsiteX7" fmla="*/ 1998 w 75821"/>
                  <a:gd name="connsiteY7" fmla="*/ 63887 h 178437"/>
                  <a:gd name="connsiteX8" fmla="*/ 11125 w 75821"/>
                  <a:gd name="connsiteY8" fmla="*/ 73014 h 178437"/>
                  <a:gd name="connsiteX9" fmla="*/ 11125 w 75821"/>
                  <a:gd name="connsiteY9" fmla="*/ 106479 h 178437"/>
                  <a:gd name="connsiteX10" fmla="*/ 17210 w 75821"/>
                  <a:gd name="connsiteY10" fmla="*/ 112563 h 178437"/>
                  <a:gd name="connsiteX11" fmla="*/ 14167 w 75821"/>
                  <a:gd name="connsiteY11" fmla="*/ 142986 h 178437"/>
                  <a:gd name="connsiteX12" fmla="*/ 23294 w 75821"/>
                  <a:gd name="connsiteY12" fmla="*/ 149070 h 178437"/>
                  <a:gd name="connsiteX13" fmla="*/ 20252 w 75821"/>
                  <a:gd name="connsiteY13" fmla="*/ 173408 h 178437"/>
                  <a:gd name="connsiteX14" fmla="*/ 32421 w 75821"/>
                  <a:gd name="connsiteY14" fmla="*/ 176451 h 178437"/>
                  <a:gd name="connsiteX15" fmla="*/ 50675 w 75821"/>
                  <a:gd name="connsiteY15" fmla="*/ 167324 h 178437"/>
                  <a:gd name="connsiteX16" fmla="*/ 62843 w 75821"/>
                  <a:gd name="connsiteY16" fmla="*/ 152113 h 178437"/>
                  <a:gd name="connsiteX17" fmla="*/ 59801 w 75821"/>
                  <a:gd name="connsiteY17" fmla="*/ 130817 h 178437"/>
                  <a:gd name="connsiteX18" fmla="*/ 68928 w 75821"/>
                  <a:gd name="connsiteY18" fmla="*/ 112563 h 178437"/>
                  <a:gd name="connsiteX19" fmla="*/ 68928 w 75821"/>
                  <a:gd name="connsiteY19" fmla="*/ 88225 h 178437"/>
                  <a:gd name="connsiteX20" fmla="*/ 75012 w 75821"/>
                  <a:gd name="connsiteY20" fmla="*/ 76056 h 178437"/>
                  <a:gd name="connsiteX21" fmla="*/ 65886 w 75821"/>
                  <a:gd name="connsiteY21" fmla="*/ 42591 h 178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5821" h="178437">
                    <a:moveTo>
                      <a:pt x="65886" y="42591"/>
                    </a:moveTo>
                    <a:cubicBezTo>
                      <a:pt x="65886" y="39549"/>
                      <a:pt x="65886" y="39549"/>
                      <a:pt x="65886" y="42591"/>
                    </a:cubicBezTo>
                    <a:cubicBezTo>
                      <a:pt x="62843" y="39549"/>
                      <a:pt x="65886" y="39549"/>
                      <a:pt x="65886" y="39549"/>
                    </a:cubicBezTo>
                    <a:cubicBezTo>
                      <a:pt x="68928" y="24338"/>
                      <a:pt x="65886" y="6084"/>
                      <a:pt x="59801" y="3042"/>
                    </a:cubicBezTo>
                    <a:cubicBezTo>
                      <a:pt x="56759" y="0"/>
                      <a:pt x="56759" y="0"/>
                      <a:pt x="53717" y="0"/>
                    </a:cubicBezTo>
                    <a:cubicBezTo>
                      <a:pt x="53717" y="0"/>
                      <a:pt x="47632" y="3042"/>
                      <a:pt x="47632" y="3042"/>
                    </a:cubicBezTo>
                    <a:cubicBezTo>
                      <a:pt x="32421" y="9127"/>
                      <a:pt x="14167" y="9127"/>
                      <a:pt x="5041" y="27380"/>
                    </a:cubicBezTo>
                    <a:cubicBezTo>
                      <a:pt x="-1044" y="36507"/>
                      <a:pt x="-1044" y="51718"/>
                      <a:pt x="1998" y="63887"/>
                    </a:cubicBezTo>
                    <a:cubicBezTo>
                      <a:pt x="5041" y="69972"/>
                      <a:pt x="8083" y="73014"/>
                      <a:pt x="11125" y="73014"/>
                    </a:cubicBezTo>
                    <a:cubicBezTo>
                      <a:pt x="8083" y="82141"/>
                      <a:pt x="5041" y="97352"/>
                      <a:pt x="11125" y="106479"/>
                    </a:cubicBezTo>
                    <a:cubicBezTo>
                      <a:pt x="14167" y="112563"/>
                      <a:pt x="14167" y="112563"/>
                      <a:pt x="17210" y="112563"/>
                    </a:cubicBezTo>
                    <a:cubicBezTo>
                      <a:pt x="14167" y="121690"/>
                      <a:pt x="11125" y="133859"/>
                      <a:pt x="14167" y="142986"/>
                    </a:cubicBezTo>
                    <a:cubicBezTo>
                      <a:pt x="17210" y="149070"/>
                      <a:pt x="20252" y="149070"/>
                      <a:pt x="23294" y="149070"/>
                    </a:cubicBezTo>
                    <a:cubicBezTo>
                      <a:pt x="20252" y="155155"/>
                      <a:pt x="20252" y="164282"/>
                      <a:pt x="20252" y="173408"/>
                    </a:cubicBezTo>
                    <a:cubicBezTo>
                      <a:pt x="23294" y="182535"/>
                      <a:pt x="29379" y="176451"/>
                      <a:pt x="32421" y="176451"/>
                    </a:cubicBezTo>
                    <a:cubicBezTo>
                      <a:pt x="38505" y="173408"/>
                      <a:pt x="44590" y="173408"/>
                      <a:pt x="50675" y="167324"/>
                    </a:cubicBezTo>
                    <a:cubicBezTo>
                      <a:pt x="53717" y="164282"/>
                      <a:pt x="62843" y="164282"/>
                      <a:pt x="62843" y="152113"/>
                    </a:cubicBezTo>
                    <a:cubicBezTo>
                      <a:pt x="62843" y="142986"/>
                      <a:pt x="62843" y="136901"/>
                      <a:pt x="59801" y="130817"/>
                    </a:cubicBezTo>
                    <a:cubicBezTo>
                      <a:pt x="62843" y="127775"/>
                      <a:pt x="68928" y="124732"/>
                      <a:pt x="68928" y="112563"/>
                    </a:cubicBezTo>
                    <a:cubicBezTo>
                      <a:pt x="71970" y="103437"/>
                      <a:pt x="68928" y="94310"/>
                      <a:pt x="68928" y="88225"/>
                    </a:cubicBezTo>
                    <a:cubicBezTo>
                      <a:pt x="71970" y="85183"/>
                      <a:pt x="71970" y="82141"/>
                      <a:pt x="75012" y="76056"/>
                    </a:cubicBezTo>
                    <a:cubicBezTo>
                      <a:pt x="78055" y="63887"/>
                      <a:pt x="71970" y="45634"/>
                      <a:pt x="65886" y="4259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8" name="任意多边形: 形状 217">
                <a:extLst>
                  <a:ext uri="{FF2B5EF4-FFF2-40B4-BE49-F238E27FC236}">
                    <a16:creationId xmlns:a16="http://schemas.microsoft.com/office/drawing/2014/main" id="{F6E6552A-BC1B-4535-B1C0-2034FFED4072}"/>
                  </a:ext>
                </a:extLst>
              </p:cNvPr>
              <p:cNvSpPr/>
              <p:nvPr/>
            </p:nvSpPr>
            <p:spPr>
              <a:xfrm>
                <a:off x="4940096" y="3083149"/>
                <a:ext cx="83241" cy="121528"/>
              </a:xfrm>
              <a:custGeom>
                <a:avLst/>
                <a:gdLst>
                  <a:gd name="connsiteX0" fmla="*/ 24950 w 83241"/>
                  <a:gd name="connsiteY0" fmla="*/ 121528 h 121528"/>
                  <a:gd name="connsiteX1" fmla="*/ 12781 w 83241"/>
                  <a:gd name="connsiteY1" fmla="*/ 118486 h 121528"/>
                  <a:gd name="connsiteX2" fmla="*/ 612 w 83241"/>
                  <a:gd name="connsiteY2" fmla="*/ 97190 h 121528"/>
                  <a:gd name="connsiteX3" fmla="*/ 9739 w 83241"/>
                  <a:gd name="connsiteY3" fmla="*/ 69810 h 121528"/>
                  <a:gd name="connsiteX4" fmla="*/ 64500 w 83241"/>
                  <a:gd name="connsiteY4" fmla="*/ 27218 h 121528"/>
                  <a:gd name="connsiteX5" fmla="*/ 61457 w 83241"/>
                  <a:gd name="connsiteY5" fmla="*/ 15049 h 121528"/>
                  <a:gd name="connsiteX6" fmla="*/ 24950 w 83241"/>
                  <a:gd name="connsiteY6" fmla="*/ 24176 h 121528"/>
                  <a:gd name="connsiteX7" fmla="*/ 15824 w 83241"/>
                  <a:gd name="connsiteY7" fmla="*/ 21134 h 121528"/>
                  <a:gd name="connsiteX8" fmla="*/ 18866 w 83241"/>
                  <a:gd name="connsiteY8" fmla="*/ 12007 h 121528"/>
                  <a:gd name="connsiteX9" fmla="*/ 67542 w 83241"/>
                  <a:gd name="connsiteY9" fmla="*/ 2880 h 121528"/>
                  <a:gd name="connsiteX10" fmla="*/ 76669 w 83241"/>
                  <a:gd name="connsiteY10" fmla="*/ 24176 h 121528"/>
                  <a:gd name="connsiteX11" fmla="*/ 73626 w 83241"/>
                  <a:gd name="connsiteY11" fmla="*/ 36345 h 121528"/>
                  <a:gd name="connsiteX12" fmla="*/ 73626 w 83241"/>
                  <a:gd name="connsiteY12" fmla="*/ 36345 h 121528"/>
                  <a:gd name="connsiteX13" fmla="*/ 82753 w 83241"/>
                  <a:gd name="connsiteY13" fmla="*/ 72852 h 121528"/>
                  <a:gd name="connsiteX14" fmla="*/ 52331 w 83241"/>
                  <a:gd name="connsiteY14" fmla="*/ 109359 h 121528"/>
                  <a:gd name="connsiteX15" fmla="*/ 24950 w 83241"/>
                  <a:gd name="connsiteY15" fmla="*/ 121528 h 121528"/>
                  <a:gd name="connsiteX16" fmla="*/ 12781 w 83241"/>
                  <a:gd name="connsiteY16" fmla="*/ 78936 h 121528"/>
                  <a:gd name="connsiteX17" fmla="*/ 9739 w 83241"/>
                  <a:gd name="connsiteY17" fmla="*/ 94148 h 121528"/>
                  <a:gd name="connsiteX18" fmla="*/ 15824 w 83241"/>
                  <a:gd name="connsiteY18" fmla="*/ 106317 h 121528"/>
                  <a:gd name="connsiteX19" fmla="*/ 46246 w 83241"/>
                  <a:gd name="connsiteY19" fmla="*/ 100232 h 121528"/>
                  <a:gd name="connsiteX20" fmla="*/ 70584 w 83241"/>
                  <a:gd name="connsiteY20" fmla="*/ 72852 h 121528"/>
                  <a:gd name="connsiteX21" fmla="*/ 67542 w 83241"/>
                  <a:gd name="connsiteY21" fmla="*/ 51556 h 121528"/>
                  <a:gd name="connsiteX22" fmla="*/ 12781 w 83241"/>
                  <a:gd name="connsiteY22" fmla="*/ 78936 h 121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83241" h="121528">
                    <a:moveTo>
                      <a:pt x="24950" y="121528"/>
                    </a:moveTo>
                    <a:cubicBezTo>
                      <a:pt x="18866" y="121528"/>
                      <a:pt x="15824" y="121528"/>
                      <a:pt x="12781" y="118486"/>
                    </a:cubicBezTo>
                    <a:cubicBezTo>
                      <a:pt x="6697" y="115443"/>
                      <a:pt x="3654" y="106317"/>
                      <a:pt x="612" y="97190"/>
                    </a:cubicBezTo>
                    <a:cubicBezTo>
                      <a:pt x="-2430" y="72852"/>
                      <a:pt x="6697" y="69810"/>
                      <a:pt x="9739" y="69810"/>
                    </a:cubicBezTo>
                    <a:cubicBezTo>
                      <a:pt x="61457" y="60683"/>
                      <a:pt x="61457" y="39387"/>
                      <a:pt x="64500" y="27218"/>
                    </a:cubicBezTo>
                    <a:cubicBezTo>
                      <a:pt x="64500" y="21134"/>
                      <a:pt x="64500" y="18091"/>
                      <a:pt x="61457" y="15049"/>
                    </a:cubicBezTo>
                    <a:cubicBezTo>
                      <a:pt x="52331" y="12007"/>
                      <a:pt x="34077" y="21134"/>
                      <a:pt x="24950" y="24176"/>
                    </a:cubicBezTo>
                    <a:cubicBezTo>
                      <a:pt x="21908" y="27218"/>
                      <a:pt x="18866" y="24176"/>
                      <a:pt x="15824" y="21134"/>
                    </a:cubicBezTo>
                    <a:cubicBezTo>
                      <a:pt x="12781" y="18091"/>
                      <a:pt x="15824" y="15049"/>
                      <a:pt x="18866" y="12007"/>
                    </a:cubicBezTo>
                    <a:cubicBezTo>
                      <a:pt x="21908" y="8965"/>
                      <a:pt x="52331" y="-6247"/>
                      <a:pt x="67542" y="2880"/>
                    </a:cubicBezTo>
                    <a:cubicBezTo>
                      <a:pt x="73626" y="5922"/>
                      <a:pt x="76669" y="15049"/>
                      <a:pt x="76669" y="24176"/>
                    </a:cubicBezTo>
                    <a:cubicBezTo>
                      <a:pt x="76669" y="30260"/>
                      <a:pt x="76669" y="33303"/>
                      <a:pt x="73626" y="36345"/>
                    </a:cubicBezTo>
                    <a:cubicBezTo>
                      <a:pt x="73626" y="36345"/>
                      <a:pt x="73626" y="36345"/>
                      <a:pt x="73626" y="36345"/>
                    </a:cubicBezTo>
                    <a:cubicBezTo>
                      <a:pt x="73626" y="36345"/>
                      <a:pt x="85795" y="51556"/>
                      <a:pt x="82753" y="72852"/>
                    </a:cubicBezTo>
                    <a:cubicBezTo>
                      <a:pt x="82753" y="94148"/>
                      <a:pt x="67542" y="103274"/>
                      <a:pt x="52331" y="109359"/>
                    </a:cubicBezTo>
                    <a:cubicBezTo>
                      <a:pt x="40162" y="118486"/>
                      <a:pt x="31035" y="121528"/>
                      <a:pt x="24950" y="121528"/>
                    </a:cubicBezTo>
                    <a:close/>
                    <a:moveTo>
                      <a:pt x="12781" y="78936"/>
                    </a:moveTo>
                    <a:cubicBezTo>
                      <a:pt x="12781" y="78936"/>
                      <a:pt x="9739" y="85021"/>
                      <a:pt x="9739" y="94148"/>
                    </a:cubicBezTo>
                    <a:cubicBezTo>
                      <a:pt x="9739" y="100232"/>
                      <a:pt x="12781" y="103274"/>
                      <a:pt x="15824" y="106317"/>
                    </a:cubicBezTo>
                    <a:cubicBezTo>
                      <a:pt x="18866" y="109359"/>
                      <a:pt x="27993" y="109359"/>
                      <a:pt x="46246" y="100232"/>
                    </a:cubicBezTo>
                    <a:cubicBezTo>
                      <a:pt x="64500" y="91105"/>
                      <a:pt x="70584" y="85021"/>
                      <a:pt x="70584" y="72852"/>
                    </a:cubicBezTo>
                    <a:cubicBezTo>
                      <a:pt x="70584" y="63725"/>
                      <a:pt x="67542" y="57641"/>
                      <a:pt x="67542" y="51556"/>
                    </a:cubicBezTo>
                    <a:cubicBezTo>
                      <a:pt x="58415" y="63725"/>
                      <a:pt x="43204" y="75894"/>
                      <a:pt x="12781" y="7893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9" name="任意多边形: 形状 218">
                <a:extLst>
                  <a:ext uri="{FF2B5EF4-FFF2-40B4-BE49-F238E27FC236}">
                    <a16:creationId xmlns:a16="http://schemas.microsoft.com/office/drawing/2014/main" id="{79DD12F4-0711-4245-A02B-2059D42BF1CC}"/>
                  </a:ext>
                </a:extLst>
              </p:cNvPr>
              <p:cNvSpPr/>
              <p:nvPr/>
            </p:nvSpPr>
            <p:spPr>
              <a:xfrm>
                <a:off x="4945532" y="3174254"/>
                <a:ext cx="70133" cy="69971"/>
              </a:xfrm>
              <a:custGeom>
                <a:avLst/>
                <a:gdLst>
                  <a:gd name="connsiteX0" fmla="*/ 16471 w 70133"/>
                  <a:gd name="connsiteY0" fmla="*/ 69972 h 69971"/>
                  <a:gd name="connsiteX1" fmla="*/ 7345 w 70133"/>
                  <a:gd name="connsiteY1" fmla="*/ 69972 h 69971"/>
                  <a:gd name="connsiteX2" fmla="*/ 1260 w 70133"/>
                  <a:gd name="connsiteY2" fmla="*/ 63887 h 69971"/>
                  <a:gd name="connsiteX3" fmla="*/ 4302 w 70133"/>
                  <a:gd name="connsiteY3" fmla="*/ 27380 h 69971"/>
                  <a:gd name="connsiteX4" fmla="*/ 10387 w 70133"/>
                  <a:gd name="connsiteY4" fmla="*/ 24338 h 69971"/>
                  <a:gd name="connsiteX5" fmla="*/ 13429 w 70133"/>
                  <a:gd name="connsiteY5" fmla="*/ 30423 h 69971"/>
                  <a:gd name="connsiteX6" fmla="*/ 10387 w 70133"/>
                  <a:gd name="connsiteY6" fmla="*/ 60845 h 69971"/>
                  <a:gd name="connsiteX7" fmla="*/ 49936 w 70133"/>
                  <a:gd name="connsiteY7" fmla="*/ 45634 h 69971"/>
                  <a:gd name="connsiteX8" fmla="*/ 59063 w 70133"/>
                  <a:gd name="connsiteY8" fmla="*/ 6085 h 69971"/>
                  <a:gd name="connsiteX9" fmla="*/ 62105 w 70133"/>
                  <a:gd name="connsiteY9" fmla="*/ 0 h 69971"/>
                  <a:gd name="connsiteX10" fmla="*/ 68190 w 70133"/>
                  <a:gd name="connsiteY10" fmla="*/ 3042 h 69971"/>
                  <a:gd name="connsiteX11" fmla="*/ 56021 w 70133"/>
                  <a:gd name="connsiteY11" fmla="*/ 54761 h 69971"/>
                  <a:gd name="connsiteX12" fmla="*/ 16471 w 70133"/>
                  <a:gd name="connsiteY12" fmla="*/ 69972 h 6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0133" h="69971">
                    <a:moveTo>
                      <a:pt x="16471" y="69972"/>
                    </a:moveTo>
                    <a:cubicBezTo>
                      <a:pt x="13429" y="69972"/>
                      <a:pt x="10387" y="69972"/>
                      <a:pt x="7345" y="69972"/>
                    </a:cubicBezTo>
                    <a:cubicBezTo>
                      <a:pt x="4302" y="69972"/>
                      <a:pt x="4302" y="66930"/>
                      <a:pt x="1260" y="63887"/>
                    </a:cubicBezTo>
                    <a:cubicBezTo>
                      <a:pt x="-1782" y="54761"/>
                      <a:pt x="1260" y="33465"/>
                      <a:pt x="4302" y="27380"/>
                    </a:cubicBezTo>
                    <a:cubicBezTo>
                      <a:pt x="4302" y="24338"/>
                      <a:pt x="10387" y="24338"/>
                      <a:pt x="10387" y="24338"/>
                    </a:cubicBezTo>
                    <a:cubicBezTo>
                      <a:pt x="13429" y="24338"/>
                      <a:pt x="13429" y="30423"/>
                      <a:pt x="13429" y="30423"/>
                    </a:cubicBezTo>
                    <a:cubicBezTo>
                      <a:pt x="10387" y="36507"/>
                      <a:pt x="10387" y="57803"/>
                      <a:pt x="10387" y="60845"/>
                    </a:cubicBezTo>
                    <a:cubicBezTo>
                      <a:pt x="13429" y="60845"/>
                      <a:pt x="31683" y="60845"/>
                      <a:pt x="49936" y="45634"/>
                    </a:cubicBezTo>
                    <a:cubicBezTo>
                      <a:pt x="65148" y="33465"/>
                      <a:pt x="59063" y="6085"/>
                      <a:pt x="59063" y="6085"/>
                    </a:cubicBezTo>
                    <a:cubicBezTo>
                      <a:pt x="59063" y="3042"/>
                      <a:pt x="59063" y="0"/>
                      <a:pt x="62105" y="0"/>
                    </a:cubicBezTo>
                    <a:cubicBezTo>
                      <a:pt x="65148" y="0"/>
                      <a:pt x="68190" y="0"/>
                      <a:pt x="68190" y="3042"/>
                    </a:cubicBezTo>
                    <a:cubicBezTo>
                      <a:pt x="68190" y="3042"/>
                      <a:pt x="77317" y="36507"/>
                      <a:pt x="56021" y="54761"/>
                    </a:cubicBezTo>
                    <a:cubicBezTo>
                      <a:pt x="43852" y="63887"/>
                      <a:pt x="28640" y="69972"/>
                      <a:pt x="16471" y="6997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20" name="图形 1">
              <a:extLst>
                <a:ext uri="{FF2B5EF4-FFF2-40B4-BE49-F238E27FC236}">
                  <a16:creationId xmlns:a16="http://schemas.microsoft.com/office/drawing/2014/main" id="{E37F79C1-4061-47F0-8DFC-4337294AAFF0}"/>
                </a:ext>
              </a:extLst>
            </p:cNvPr>
            <p:cNvGrpSpPr/>
            <p:nvPr/>
          </p:nvGrpSpPr>
          <p:grpSpPr>
            <a:xfrm>
              <a:off x="3885046" y="3058309"/>
              <a:ext cx="390668" cy="273488"/>
              <a:chOff x="3885046" y="3058309"/>
              <a:chExt cx="390668" cy="273488"/>
            </a:xfrm>
          </p:grpSpPr>
          <p:sp>
            <p:nvSpPr>
              <p:cNvPr id="221" name="任意多边形: 形状 220">
                <a:extLst>
                  <a:ext uri="{FF2B5EF4-FFF2-40B4-BE49-F238E27FC236}">
                    <a16:creationId xmlns:a16="http://schemas.microsoft.com/office/drawing/2014/main" id="{BEE8868C-E652-4F65-9202-1F976B70B040}"/>
                  </a:ext>
                </a:extLst>
              </p:cNvPr>
              <p:cNvSpPr/>
              <p:nvPr/>
            </p:nvSpPr>
            <p:spPr>
              <a:xfrm>
                <a:off x="3885046" y="3067703"/>
                <a:ext cx="380356" cy="264094"/>
              </a:xfrm>
              <a:custGeom>
                <a:avLst/>
                <a:gdLst>
                  <a:gd name="connsiteX0" fmla="*/ 0 w 380356"/>
                  <a:gd name="connsiteY0" fmla="*/ 152185 h 264094"/>
                  <a:gd name="connsiteX1" fmla="*/ 118648 w 380356"/>
                  <a:gd name="connsiteY1" fmla="*/ 12241 h 264094"/>
                  <a:gd name="connsiteX2" fmla="*/ 362028 w 380356"/>
                  <a:gd name="connsiteY2" fmla="*/ 24410 h 264094"/>
                  <a:gd name="connsiteX3" fmla="*/ 292056 w 380356"/>
                  <a:gd name="connsiteY3" fmla="*/ 42664 h 264094"/>
                  <a:gd name="connsiteX4" fmla="*/ 380282 w 380356"/>
                  <a:gd name="connsiteY4" fmla="*/ 88298 h 264094"/>
                  <a:gd name="connsiteX5" fmla="*/ 346817 w 380356"/>
                  <a:gd name="connsiteY5" fmla="*/ 118720 h 264094"/>
                  <a:gd name="connsiteX6" fmla="*/ 310310 w 380356"/>
                  <a:gd name="connsiteY6" fmla="*/ 149143 h 264094"/>
                  <a:gd name="connsiteX7" fmla="*/ 313352 w 380356"/>
                  <a:gd name="connsiteY7" fmla="*/ 182608 h 264094"/>
                  <a:gd name="connsiteX8" fmla="*/ 191662 w 380356"/>
                  <a:gd name="connsiteY8" fmla="*/ 182608 h 264094"/>
                  <a:gd name="connsiteX9" fmla="*/ 130817 w 380356"/>
                  <a:gd name="connsiteY9" fmla="*/ 246495 h 264094"/>
                  <a:gd name="connsiteX10" fmla="*/ 33465 w 380356"/>
                  <a:gd name="connsiteY10" fmla="*/ 258664 h 264094"/>
                  <a:gd name="connsiteX11" fmla="*/ 0 w 380356"/>
                  <a:gd name="connsiteY11" fmla="*/ 152185 h 264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0356" h="264094">
                    <a:moveTo>
                      <a:pt x="0" y="152185"/>
                    </a:moveTo>
                    <a:cubicBezTo>
                      <a:pt x="0" y="152185"/>
                      <a:pt x="85183" y="27453"/>
                      <a:pt x="118648" y="12241"/>
                    </a:cubicBezTo>
                    <a:cubicBezTo>
                      <a:pt x="155155" y="-2970"/>
                      <a:pt x="358986" y="-9054"/>
                      <a:pt x="362028" y="24410"/>
                    </a:cubicBezTo>
                    <a:cubicBezTo>
                      <a:pt x="365070" y="57875"/>
                      <a:pt x="292056" y="42664"/>
                      <a:pt x="292056" y="42664"/>
                    </a:cubicBezTo>
                    <a:cubicBezTo>
                      <a:pt x="292056" y="42664"/>
                      <a:pt x="383324" y="60917"/>
                      <a:pt x="380282" y="88298"/>
                    </a:cubicBezTo>
                    <a:cubicBezTo>
                      <a:pt x="377239" y="115678"/>
                      <a:pt x="346817" y="118720"/>
                      <a:pt x="346817" y="118720"/>
                    </a:cubicBezTo>
                    <a:cubicBezTo>
                      <a:pt x="346817" y="118720"/>
                      <a:pt x="365070" y="152185"/>
                      <a:pt x="310310" y="149143"/>
                    </a:cubicBezTo>
                    <a:cubicBezTo>
                      <a:pt x="310310" y="149143"/>
                      <a:pt x="337690" y="176523"/>
                      <a:pt x="313352" y="182608"/>
                    </a:cubicBezTo>
                    <a:cubicBezTo>
                      <a:pt x="289014" y="185650"/>
                      <a:pt x="209915" y="170438"/>
                      <a:pt x="191662" y="182608"/>
                    </a:cubicBezTo>
                    <a:cubicBezTo>
                      <a:pt x="173408" y="191734"/>
                      <a:pt x="164282" y="228241"/>
                      <a:pt x="130817" y="246495"/>
                    </a:cubicBezTo>
                    <a:cubicBezTo>
                      <a:pt x="66929" y="276917"/>
                      <a:pt x="33465" y="258664"/>
                      <a:pt x="33465" y="258664"/>
                    </a:cubicBezTo>
                    <a:lnTo>
                      <a:pt x="0" y="152185"/>
                    </a:ln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2" name="任意多边形: 形状 221">
                <a:extLst>
                  <a:ext uri="{FF2B5EF4-FFF2-40B4-BE49-F238E27FC236}">
                    <a16:creationId xmlns:a16="http://schemas.microsoft.com/office/drawing/2014/main" id="{5E439C87-6A32-4DE8-92F2-AB763F57D1C4}"/>
                  </a:ext>
                </a:extLst>
              </p:cNvPr>
              <p:cNvSpPr/>
              <p:nvPr/>
            </p:nvSpPr>
            <p:spPr>
              <a:xfrm>
                <a:off x="3918511" y="3058309"/>
                <a:ext cx="341028" cy="109860"/>
              </a:xfrm>
              <a:custGeom>
                <a:avLst/>
                <a:gdLst>
                  <a:gd name="connsiteX0" fmla="*/ 6085 w 341028"/>
                  <a:gd name="connsiteY0" fmla="*/ 109861 h 109860"/>
                  <a:gd name="connsiteX1" fmla="*/ 6085 w 341028"/>
                  <a:gd name="connsiteY1" fmla="*/ 109861 h 109860"/>
                  <a:gd name="connsiteX2" fmla="*/ 0 w 341028"/>
                  <a:gd name="connsiteY2" fmla="*/ 100734 h 109860"/>
                  <a:gd name="connsiteX3" fmla="*/ 85183 w 341028"/>
                  <a:gd name="connsiteY3" fmla="*/ 12509 h 109860"/>
                  <a:gd name="connsiteX4" fmla="*/ 316394 w 341028"/>
                  <a:gd name="connsiteY4" fmla="*/ 9466 h 109860"/>
                  <a:gd name="connsiteX5" fmla="*/ 340732 w 341028"/>
                  <a:gd name="connsiteY5" fmla="*/ 30762 h 109860"/>
                  <a:gd name="connsiteX6" fmla="*/ 261634 w 341028"/>
                  <a:gd name="connsiteY6" fmla="*/ 52058 h 109860"/>
                  <a:gd name="connsiteX7" fmla="*/ 255549 w 341028"/>
                  <a:gd name="connsiteY7" fmla="*/ 45973 h 109860"/>
                  <a:gd name="connsiteX8" fmla="*/ 261634 w 341028"/>
                  <a:gd name="connsiteY8" fmla="*/ 39889 h 109860"/>
                  <a:gd name="connsiteX9" fmla="*/ 328563 w 341028"/>
                  <a:gd name="connsiteY9" fmla="*/ 27720 h 109860"/>
                  <a:gd name="connsiteX10" fmla="*/ 328563 w 341028"/>
                  <a:gd name="connsiteY10" fmla="*/ 27720 h 109860"/>
                  <a:gd name="connsiteX11" fmla="*/ 313352 w 341028"/>
                  <a:gd name="connsiteY11" fmla="*/ 18593 h 109860"/>
                  <a:gd name="connsiteX12" fmla="*/ 88225 w 341028"/>
                  <a:gd name="connsiteY12" fmla="*/ 21635 h 109860"/>
                  <a:gd name="connsiteX13" fmla="*/ 12169 w 341028"/>
                  <a:gd name="connsiteY13" fmla="*/ 103776 h 109860"/>
                  <a:gd name="connsiteX14" fmla="*/ 6085 w 341028"/>
                  <a:gd name="connsiteY14" fmla="*/ 109861 h 109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1028" h="109860">
                    <a:moveTo>
                      <a:pt x="6085" y="109861"/>
                    </a:moveTo>
                    <a:cubicBezTo>
                      <a:pt x="6085" y="109861"/>
                      <a:pt x="6085" y="109861"/>
                      <a:pt x="6085" y="109861"/>
                    </a:cubicBezTo>
                    <a:cubicBezTo>
                      <a:pt x="0" y="106818"/>
                      <a:pt x="0" y="103776"/>
                      <a:pt x="0" y="100734"/>
                    </a:cubicBezTo>
                    <a:cubicBezTo>
                      <a:pt x="0" y="97692"/>
                      <a:pt x="36507" y="21635"/>
                      <a:pt x="85183" y="12509"/>
                    </a:cubicBezTo>
                    <a:cubicBezTo>
                      <a:pt x="127775" y="3382"/>
                      <a:pt x="261634" y="-8787"/>
                      <a:pt x="316394" y="9466"/>
                    </a:cubicBezTo>
                    <a:cubicBezTo>
                      <a:pt x="322479" y="12509"/>
                      <a:pt x="343775" y="18593"/>
                      <a:pt x="340732" y="30762"/>
                    </a:cubicBezTo>
                    <a:cubicBezTo>
                      <a:pt x="337690" y="49016"/>
                      <a:pt x="285972" y="55100"/>
                      <a:pt x="261634" y="52058"/>
                    </a:cubicBezTo>
                    <a:cubicBezTo>
                      <a:pt x="258592" y="52058"/>
                      <a:pt x="255549" y="49016"/>
                      <a:pt x="255549" y="45973"/>
                    </a:cubicBezTo>
                    <a:cubicBezTo>
                      <a:pt x="255549" y="42931"/>
                      <a:pt x="258592" y="39889"/>
                      <a:pt x="261634" y="39889"/>
                    </a:cubicBezTo>
                    <a:cubicBezTo>
                      <a:pt x="292056" y="42931"/>
                      <a:pt x="325521" y="33804"/>
                      <a:pt x="328563" y="27720"/>
                    </a:cubicBezTo>
                    <a:lnTo>
                      <a:pt x="328563" y="27720"/>
                    </a:lnTo>
                    <a:cubicBezTo>
                      <a:pt x="328563" y="27720"/>
                      <a:pt x="328563" y="24678"/>
                      <a:pt x="313352" y="18593"/>
                    </a:cubicBezTo>
                    <a:cubicBezTo>
                      <a:pt x="261634" y="340"/>
                      <a:pt x="130817" y="12509"/>
                      <a:pt x="88225" y="21635"/>
                    </a:cubicBezTo>
                    <a:cubicBezTo>
                      <a:pt x="48676" y="30762"/>
                      <a:pt x="12169" y="103776"/>
                      <a:pt x="12169" y="103776"/>
                    </a:cubicBezTo>
                    <a:cubicBezTo>
                      <a:pt x="12169" y="109861"/>
                      <a:pt x="9127" y="109861"/>
                      <a:pt x="6085" y="10986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3" name="任意多边形: 形状 222">
                <a:extLst>
                  <a:ext uri="{FF2B5EF4-FFF2-40B4-BE49-F238E27FC236}">
                    <a16:creationId xmlns:a16="http://schemas.microsoft.com/office/drawing/2014/main" id="{23497D9F-E349-48AD-8995-167005D687FA}"/>
                  </a:ext>
                </a:extLst>
              </p:cNvPr>
              <p:cNvSpPr/>
              <p:nvPr/>
            </p:nvSpPr>
            <p:spPr>
              <a:xfrm>
                <a:off x="4029722" y="3093803"/>
                <a:ext cx="45203" cy="98704"/>
              </a:xfrm>
              <a:custGeom>
                <a:avLst/>
                <a:gdLst>
                  <a:gd name="connsiteX0" fmla="*/ 40901 w 45203"/>
                  <a:gd name="connsiteY0" fmla="*/ 98704 h 98704"/>
                  <a:gd name="connsiteX1" fmla="*/ 34817 w 45203"/>
                  <a:gd name="connsiteY1" fmla="*/ 92620 h 98704"/>
                  <a:gd name="connsiteX2" fmla="*/ 1352 w 45203"/>
                  <a:gd name="connsiteY2" fmla="*/ 10479 h 98704"/>
                  <a:gd name="connsiteX3" fmla="*/ 1352 w 45203"/>
                  <a:gd name="connsiteY3" fmla="*/ 1352 h 98704"/>
                  <a:gd name="connsiteX4" fmla="*/ 10479 w 45203"/>
                  <a:gd name="connsiteY4" fmla="*/ 1352 h 98704"/>
                  <a:gd name="connsiteX5" fmla="*/ 43944 w 45203"/>
                  <a:gd name="connsiteY5" fmla="*/ 89577 h 98704"/>
                  <a:gd name="connsiteX6" fmla="*/ 40901 w 45203"/>
                  <a:gd name="connsiteY6" fmla="*/ 98704 h 98704"/>
                  <a:gd name="connsiteX7" fmla="*/ 40901 w 45203"/>
                  <a:gd name="connsiteY7" fmla="*/ 98704 h 98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203" h="98704">
                    <a:moveTo>
                      <a:pt x="40901" y="98704"/>
                    </a:moveTo>
                    <a:cubicBezTo>
                      <a:pt x="37859" y="98704"/>
                      <a:pt x="34817" y="95662"/>
                      <a:pt x="34817" y="92620"/>
                    </a:cubicBezTo>
                    <a:cubicBezTo>
                      <a:pt x="31775" y="53070"/>
                      <a:pt x="4394" y="10479"/>
                      <a:pt x="1352" y="10479"/>
                    </a:cubicBezTo>
                    <a:cubicBezTo>
                      <a:pt x="-1690" y="7437"/>
                      <a:pt x="1352" y="4394"/>
                      <a:pt x="1352" y="1352"/>
                    </a:cubicBezTo>
                    <a:cubicBezTo>
                      <a:pt x="4394" y="-1690"/>
                      <a:pt x="7437" y="1352"/>
                      <a:pt x="10479" y="1352"/>
                    </a:cubicBezTo>
                    <a:cubicBezTo>
                      <a:pt x="10479" y="4394"/>
                      <a:pt x="40901" y="43944"/>
                      <a:pt x="43944" y="89577"/>
                    </a:cubicBezTo>
                    <a:cubicBezTo>
                      <a:pt x="46986" y="95662"/>
                      <a:pt x="43944" y="98704"/>
                      <a:pt x="40901" y="98704"/>
                    </a:cubicBezTo>
                    <a:cubicBezTo>
                      <a:pt x="40901" y="98704"/>
                      <a:pt x="40901" y="98704"/>
                      <a:pt x="40901" y="9870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4" name="任意多边形: 形状 223">
                <a:extLst>
                  <a:ext uri="{FF2B5EF4-FFF2-40B4-BE49-F238E27FC236}">
                    <a16:creationId xmlns:a16="http://schemas.microsoft.com/office/drawing/2014/main" id="{202DEB08-F26F-4932-B2C1-671820E34531}"/>
                  </a:ext>
                </a:extLst>
              </p:cNvPr>
              <p:cNvSpPr/>
              <p:nvPr/>
            </p:nvSpPr>
            <p:spPr>
              <a:xfrm>
                <a:off x="4052370" y="3100753"/>
                <a:ext cx="223344" cy="82627"/>
              </a:xfrm>
              <a:custGeom>
                <a:avLst/>
                <a:gdLst>
                  <a:gd name="connsiteX0" fmla="*/ 188620 w 223344"/>
                  <a:gd name="connsiteY0" fmla="*/ 82628 h 82627"/>
                  <a:gd name="connsiteX1" fmla="*/ 167324 w 223344"/>
                  <a:gd name="connsiteY1" fmla="*/ 76543 h 82627"/>
                  <a:gd name="connsiteX2" fmla="*/ 24338 w 223344"/>
                  <a:gd name="connsiteY2" fmla="*/ 52205 h 82627"/>
                  <a:gd name="connsiteX3" fmla="*/ 18253 w 223344"/>
                  <a:gd name="connsiteY3" fmla="*/ 46121 h 82627"/>
                  <a:gd name="connsiteX4" fmla="*/ 24338 w 223344"/>
                  <a:gd name="connsiteY4" fmla="*/ 40036 h 82627"/>
                  <a:gd name="connsiteX5" fmla="*/ 173408 w 223344"/>
                  <a:gd name="connsiteY5" fmla="*/ 64374 h 82627"/>
                  <a:gd name="connsiteX6" fmla="*/ 209915 w 223344"/>
                  <a:gd name="connsiteY6" fmla="*/ 61332 h 82627"/>
                  <a:gd name="connsiteX7" fmla="*/ 209915 w 223344"/>
                  <a:gd name="connsiteY7" fmla="*/ 52205 h 82627"/>
                  <a:gd name="connsiteX8" fmla="*/ 167324 w 223344"/>
                  <a:gd name="connsiteY8" fmla="*/ 21783 h 82627"/>
                  <a:gd name="connsiteX9" fmla="*/ 6084 w 223344"/>
                  <a:gd name="connsiteY9" fmla="*/ 18740 h 82627"/>
                  <a:gd name="connsiteX10" fmla="*/ 0 w 223344"/>
                  <a:gd name="connsiteY10" fmla="*/ 12656 h 82627"/>
                  <a:gd name="connsiteX11" fmla="*/ 6084 w 223344"/>
                  <a:gd name="connsiteY11" fmla="*/ 6571 h 82627"/>
                  <a:gd name="connsiteX12" fmla="*/ 173408 w 223344"/>
                  <a:gd name="connsiteY12" fmla="*/ 12656 h 82627"/>
                  <a:gd name="connsiteX13" fmla="*/ 222084 w 223344"/>
                  <a:gd name="connsiteY13" fmla="*/ 49163 h 82627"/>
                  <a:gd name="connsiteX14" fmla="*/ 219042 w 223344"/>
                  <a:gd name="connsiteY14" fmla="*/ 67416 h 82627"/>
                  <a:gd name="connsiteX15" fmla="*/ 188620 w 223344"/>
                  <a:gd name="connsiteY15" fmla="*/ 82628 h 82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23344" h="82627">
                    <a:moveTo>
                      <a:pt x="188620" y="82628"/>
                    </a:moveTo>
                    <a:cubicBezTo>
                      <a:pt x="182535" y="82628"/>
                      <a:pt x="176451" y="82628"/>
                      <a:pt x="167324" y="76543"/>
                    </a:cubicBezTo>
                    <a:cubicBezTo>
                      <a:pt x="149070" y="67416"/>
                      <a:pt x="88225" y="49163"/>
                      <a:pt x="24338" y="52205"/>
                    </a:cubicBezTo>
                    <a:cubicBezTo>
                      <a:pt x="21296" y="52205"/>
                      <a:pt x="18253" y="49163"/>
                      <a:pt x="18253" y="46121"/>
                    </a:cubicBezTo>
                    <a:cubicBezTo>
                      <a:pt x="18253" y="43078"/>
                      <a:pt x="21296" y="40036"/>
                      <a:pt x="24338" y="40036"/>
                    </a:cubicBezTo>
                    <a:cubicBezTo>
                      <a:pt x="88225" y="33952"/>
                      <a:pt x="149070" y="52205"/>
                      <a:pt x="173408" y="64374"/>
                    </a:cubicBezTo>
                    <a:cubicBezTo>
                      <a:pt x="191662" y="73501"/>
                      <a:pt x="206873" y="64374"/>
                      <a:pt x="209915" y="61332"/>
                    </a:cubicBezTo>
                    <a:cubicBezTo>
                      <a:pt x="209915" y="61332"/>
                      <a:pt x="212958" y="58290"/>
                      <a:pt x="209915" y="52205"/>
                    </a:cubicBezTo>
                    <a:cubicBezTo>
                      <a:pt x="209915" y="46121"/>
                      <a:pt x="200789" y="33952"/>
                      <a:pt x="167324" y="21783"/>
                    </a:cubicBezTo>
                    <a:cubicBezTo>
                      <a:pt x="118648" y="487"/>
                      <a:pt x="9127" y="18740"/>
                      <a:pt x="6084" y="18740"/>
                    </a:cubicBezTo>
                    <a:cubicBezTo>
                      <a:pt x="3042" y="18740"/>
                      <a:pt x="0" y="15698"/>
                      <a:pt x="0" y="12656"/>
                    </a:cubicBezTo>
                    <a:cubicBezTo>
                      <a:pt x="0" y="9613"/>
                      <a:pt x="3042" y="6571"/>
                      <a:pt x="6084" y="6571"/>
                    </a:cubicBezTo>
                    <a:cubicBezTo>
                      <a:pt x="12169" y="6571"/>
                      <a:pt x="121690" y="-11682"/>
                      <a:pt x="173408" y="12656"/>
                    </a:cubicBezTo>
                    <a:cubicBezTo>
                      <a:pt x="200789" y="24825"/>
                      <a:pt x="216000" y="36994"/>
                      <a:pt x="222084" y="49163"/>
                    </a:cubicBezTo>
                    <a:cubicBezTo>
                      <a:pt x="225127" y="55247"/>
                      <a:pt x="222084" y="61332"/>
                      <a:pt x="219042" y="67416"/>
                    </a:cubicBezTo>
                    <a:cubicBezTo>
                      <a:pt x="212958" y="76543"/>
                      <a:pt x="200789" y="82628"/>
                      <a:pt x="188620" y="8262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5" name="任意多边形: 形状 224">
                <a:extLst>
                  <a:ext uri="{FF2B5EF4-FFF2-40B4-BE49-F238E27FC236}">
                    <a16:creationId xmlns:a16="http://schemas.microsoft.com/office/drawing/2014/main" id="{518590FD-BC2B-4F3F-8956-E3C1C56B31AF}"/>
                  </a:ext>
                </a:extLst>
              </p:cNvPr>
              <p:cNvSpPr/>
              <p:nvPr/>
            </p:nvSpPr>
            <p:spPr>
              <a:xfrm>
                <a:off x="4074426" y="3183381"/>
                <a:ext cx="148899" cy="66929"/>
              </a:xfrm>
              <a:custGeom>
                <a:avLst/>
                <a:gdLst>
                  <a:gd name="connsiteX0" fmla="*/ 127014 w 148899"/>
                  <a:gd name="connsiteY0" fmla="*/ 66930 h 66929"/>
                  <a:gd name="connsiteX1" fmla="*/ 96592 w 148899"/>
                  <a:gd name="connsiteY1" fmla="*/ 63887 h 66929"/>
                  <a:gd name="connsiteX2" fmla="*/ 11408 w 148899"/>
                  <a:gd name="connsiteY2" fmla="*/ 63887 h 66929"/>
                  <a:gd name="connsiteX3" fmla="*/ 2282 w 148899"/>
                  <a:gd name="connsiteY3" fmla="*/ 63887 h 66929"/>
                  <a:gd name="connsiteX4" fmla="*/ 2282 w 148899"/>
                  <a:gd name="connsiteY4" fmla="*/ 54761 h 66929"/>
                  <a:gd name="connsiteX5" fmla="*/ 99634 w 148899"/>
                  <a:gd name="connsiteY5" fmla="*/ 51718 h 66929"/>
                  <a:gd name="connsiteX6" fmla="*/ 130056 w 148899"/>
                  <a:gd name="connsiteY6" fmla="*/ 54761 h 66929"/>
                  <a:gd name="connsiteX7" fmla="*/ 139183 w 148899"/>
                  <a:gd name="connsiteY7" fmla="*/ 51718 h 66929"/>
                  <a:gd name="connsiteX8" fmla="*/ 123972 w 148899"/>
                  <a:gd name="connsiteY8" fmla="*/ 33465 h 66929"/>
                  <a:gd name="connsiteX9" fmla="*/ 23578 w 148899"/>
                  <a:gd name="connsiteY9" fmla="*/ 12169 h 66929"/>
                  <a:gd name="connsiteX10" fmla="*/ 17493 w 148899"/>
                  <a:gd name="connsiteY10" fmla="*/ 6085 h 66929"/>
                  <a:gd name="connsiteX11" fmla="*/ 23578 w 148899"/>
                  <a:gd name="connsiteY11" fmla="*/ 0 h 66929"/>
                  <a:gd name="connsiteX12" fmla="*/ 130056 w 148899"/>
                  <a:gd name="connsiteY12" fmla="*/ 24338 h 66929"/>
                  <a:gd name="connsiteX13" fmla="*/ 148310 w 148899"/>
                  <a:gd name="connsiteY13" fmla="*/ 54761 h 66929"/>
                  <a:gd name="connsiteX14" fmla="*/ 127014 w 148899"/>
                  <a:gd name="connsiteY14" fmla="*/ 66930 h 66929"/>
                  <a:gd name="connsiteX15" fmla="*/ 127014 w 148899"/>
                  <a:gd name="connsiteY15" fmla="*/ 66930 h 66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8899" h="66929">
                    <a:moveTo>
                      <a:pt x="127014" y="66930"/>
                    </a:moveTo>
                    <a:cubicBezTo>
                      <a:pt x="120930" y="66930"/>
                      <a:pt x="108761" y="66930"/>
                      <a:pt x="96592" y="63887"/>
                    </a:cubicBezTo>
                    <a:cubicBezTo>
                      <a:pt x="69211" y="60845"/>
                      <a:pt x="20535" y="54761"/>
                      <a:pt x="11408" y="63887"/>
                    </a:cubicBezTo>
                    <a:cubicBezTo>
                      <a:pt x="8366" y="66930"/>
                      <a:pt x="5324" y="66930"/>
                      <a:pt x="2282" y="63887"/>
                    </a:cubicBezTo>
                    <a:cubicBezTo>
                      <a:pt x="-761" y="60845"/>
                      <a:pt x="-761" y="57803"/>
                      <a:pt x="2282" y="54761"/>
                    </a:cubicBezTo>
                    <a:cubicBezTo>
                      <a:pt x="14451" y="42592"/>
                      <a:pt x="50958" y="45634"/>
                      <a:pt x="99634" y="51718"/>
                    </a:cubicBezTo>
                    <a:cubicBezTo>
                      <a:pt x="111803" y="54761"/>
                      <a:pt x="123972" y="54761"/>
                      <a:pt x="130056" y="54761"/>
                    </a:cubicBezTo>
                    <a:cubicBezTo>
                      <a:pt x="133099" y="54761"/>
                      <a:pt x="136141" y="54761"/>
                      <a:pt x="139183" y="51718"/>
                    </a:cubicBezTo>
                    <a:cubicBezTo>
                      <a:pt x="139183" y="48676"/>
                      <a:pt x="136141" y="39549"/>
                      <a:pt x="123972" y="33465"/>
                    </a:cubicBezTo>
                    <a:cubicBezTo>
                      <a:pt x="108761" y="24338"/>
                      <a:pt x="44873" y="15211"/>
                      <a:pt x="23578" y="12169"/>
                    </a:cubicBezTo>
                    <a:cubicBezTo>
                      <a:pt x="20535" y="12169"/>
                      <a:pt x="17493" y="9127"/>
                      <a:pt x="17493" y="6085"/>
                    </a:cubicBezTo>
                    <a:cubicBezTo>
                      <a:pt x="17493" y="3042"/>
                      <a:pt x="20535" y="0"/>
                      <a:pt x="23578" y="0"/>
                    </a:cubicBezTo>
                    <a:cubicBezTo>
                      <a:pt x="32704" y="0"/>
                      <a:pt x="111803" y="9127"/>
                      <a:pt x="130056" y="24338"/>
                    </a:cubicBezTo>
                    <a:cubicBezTo>
                      <a:pt x="142225" y="33465"/>
                      <a:pt x="151352" y="45634"/>
                      <a:pt x="148310" y="54761"/>
                    </a:cubicBezTo>
                    <a:cubicBezTo>
                      <a:pt x="145268" y="60845"/>
                      <a:pt x="142225" y="66930"/>
                      <a:pt x="127014" y="66930"/>
                    </a:cubicBezTo>
                    <a:cubicBezTo>
                      <a:pt x="130056" y="66930"/>
                      <a:pt x="127014" y="66930"/>
                      <a:pt x="127014" y="6693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365" name="图形 1">
            <a:extLst>
              <a:ext uri="{FF2B5EF4-FFF2-40B4-BE49-F238E27FC236}">
                <a16:creationId xmlns:a16="http://schemas.microsoft.com/office/drawing/2014/main" id="{E37F79C1-4061-47F0-8DFC-4337294AAFF0}"/>
              </a:ext>
            </a:extLst>
          </p:cNvPr>
          <p:cNvGrpSpPr/>
          <p:nvPr/>
        </p:nvGrpSpPr>
        <p:grpSpPr>
          <a:xfrm>
            <a:off x="6393319" y="2403932"/>
            <a:ext cx="3006693" cy="4455846"/>
            <a:chOff x="6245835" y="2069707"/>
            <a:chExt cx="3006693" cy="4455846"/>
          </a:xfrm>
        </p:grpSpPr>
        <p:sp>
          <p:nvSpPr>
            <p:cNvPr id="366" name="任意多边形: 形状 365">
              <a:extLst>
                <a:ext uri="{FF2B5EF4-FFF2-40B4-BE49-F238E27FC236}">
                  <a16:creationId xmlns:a16="http://schemas.microsoft.com/office/drawing/2014/main" id="{965D293D-9C4B-4AE2-B601-79294E4BA166}"/>
                </a:ext>
              </a:extLst>
            </p:cNvPr>
            <p:cNvSpPr/>
            <p:nvPr/>
          </p:nvSpPr>
          <p:spPr>
            <a:xfrm>
              <a:off x="7188245" y="2069707"/>
              <a:ext cx="478871" cy="836011"/>
            </a:xfrm>
            <a:custGeom>
              <a:avLst/>
              <a:gdLst>
                <a:gd name="connsiteX0" fmla="*/ 31111 w 478871"/>
                <a:gd name="connsiteY0" fmla="*/ 824660 h 836011"/>
                <a:gd name="connsiteX1" fmla="*/ 237985 w 478871"/>
                <a:gd name="connsiteY1" fmla="*/ 772941 h 836011"/>
                <a:gd name="connsiteX2" fmla="*/ 323168 w 478871"/>
                <a:gd name="connsiteY2" fmla="*/ 566068 h 836011"/>
                <a:gd name="connsiteX3" fmla="*/ 408351 w 478871"/>
                <a:gd name="connsiteY3" fmla="*/ 608660 h 836011"/>
                <a:gd name="connsiteX4" fmla="*/ 359675 w 478871"/>
                <a:gd name="connsiteY4" fmla="*/ 343984 h 836011"/>
                <a:gd name="connsiteX5" fmla="*/ 408351 w 478871"/>
                <a:gd name="connsiteY5" fmla="*/ 200998 h 836011"/>
                <a:gd name="connsiteX6" fmla="*/ 435731 w 478871"/>
                <a:gd name="connsiteY6" fmla="*/ 121899 h 836011"/>
                <a:gd name="connsiteX7" fmla="*/ 472238 w 478871"/>
                <a:gd name="connsiteY7" fmla="*/ 103646 h 836011"/>
                <a:gd name="connsiteX8" fmla="*/ 466154 w 478871"/>
                <a:gd name="connsiteY8" fmla="*/ 76265 h 836011"/>
                <a:gd name="connsiteX9" fmla="*/ 323168 w 478871"/>
                <a:gd name="connsiteY9" fmla="*/ 209 h 836011"/>
                <a:gd name="connsiteX10" fmla="*/ 259280 w 478871"/>
                <a:gd name="connsiteY10" fmla="*/ 24547 h 836011"/>
                <a:gd name="connsiteX11" fmla="*/ 237985 w 478871"/>
                <a:gd name="connsiteY11" fmla="*/ 51927 h 836011"/>
                <a:gd name="connsiteX12" fmla="*/ 140633 w 478871"/>
                <a:gd name="connsiteY12" fmla="*/ 149279 h 836011"/>
                <a:gd name="connsiteX13" fmla="*/ 85872 w 478871"/>
                <a:gd name="connsiteY13" fmla="*/ 243589 h 836011"/>
                <a:gd name="connsiteX14" fmla="*/ 91956 w 478871"/>
                <a:gd name="connsiteY14" fmla="*/ 258800 h 836011"/>
                <a:gd name="connsiteX15" fmla="*/ 73703 w 478871"/>
                <a:gd name="connsiteY15" fmla="*/ 347026 h 836011"/>
                <a:gd name="connsiteX16" fmla="*/ 52407 w 478871"/>
                <a:gd name="connsiteY16" fmla="*/ 471758 h 836011"/>
                <a:gd name="connsiteX17" fmla="*/ 28069 w 478871"/>
                <a:gd name="connsiteY17" fmla="*/ 593448 h 836011"/>
                <a:gd name="connsiteX18" fmla="*/ 21984 w 478871"/>
                <a:gd name="connsiteY18" fmla="*/ 684716 h 836011"/>
                <a:gd name="connsiteX19" fmla="*/ 31111 w 478871"/>
                <a:gd name="connsiteY19" fmla="*/ 824660 h 836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78871" h="836011">
                  <a:moveTo>
                    <a:pt x="31111" y="824660"/>
                  </a:moveTo>
                  <a:cubicBezTo>
                    <a:pt x="91956" y="861167"/>
                    <a:pt x="186266" y="800322"/>
                    <a:pt x="237985" y="772941"/>
                  </a:cubicBezTo>
                  <a:cubicBezTo>
                    <a:pt x="329252" y="727307"/>
                    <a:pt x="344464" y="645167"/>
                    <a:pt x="323168" y="566068"/>
                  </a:cubicBezTo>
                  <a:cubicBezTo>
                    <a:pt x="411393" y="639082"/>
                    <a:pt x="399224" y="660378"/>
                    <a:pt x="408351" y="608660"/>
                  </a:cubicBezTo>
                  <a:cubicBezTo>
                    <a:pt x="417477" y="566068"/>
                    <a:pt x="353590" y="395702"/>
                    <a:pt x="359675" y="343984"/>
                  </a:cubicBezTo>
                  <a:cubicBezTo>
                    <a:pt x="368802" y="292265"/>
                    <a:pt x="384013" y="246631"/>
                    <a:pt x="408351" y="200998"/>
                  </a:cubicBezTo>
                  <a:cubicBezTo>
                    <a:pt x="417477" y="179702"/>
                    <a:pt x="426604" y="149279"/>
                    <a:pt x="435731" y="121899"/>
                  </a:cubicBezTo>
                  <a:cubicBezTo>
                    <a:pt x="447900" y="115815"/>
                    <a:pt x="460069" y="109730"/>
                    <a:pt x="472238" y="103646"/>
                  </a:cubicBezTo>
                  <a:cubicBezTo>
                    <a:pt x="484407" y="94519"/>
                    <a:pt x="478322" y="79307"/>
                    <a:pt x="466154" y="76265"/>
                  </a:cubicBezTo>
                  <a:cubicBezTo>
                    <a:pt x="447900" y="27589"/>
                    <a:pt x="380970" y="-2833"/>
                    <a:pt x="323168" y="209"/>
                  </a:cubicBezTo>
                  <a:cubicBezTo>
                    <a:pt x="307957" y="209"/>
                    <a:pt x="280576" y="9336"/>
                    <a:pt x="259280" y="24547"/>
                  </a:cubicBezTo>
                  <a:cubicBezTo>
                    <a:pt x="250153" y="30631"/>
                    <a:pt x="244069" y="39758"/>
                    <a:pt x="237985" y="51927"/>
                  </a:cubicBezTo>
                  <a:cubicBezTo>
                    <a:pt x="177140" y="45843"/>
                    <a:pt x="131506" y="88434"/>
                    <a:pt x="140633" y="149279"/>
                  </a:cubicBezTo>
                  <a:cubicBezTo>
                    <a:pt x="94999" y="149279"/>
                    <a:pt x="76745" y="197955"/>
                    <a:pt x="85872" y="243589"/>
                  </a:cubicBezTo>
                  <a:cubicBezTo>
                    <a:pt x="88914" y="252716"/>
                    <a:pt x="88914" y="255758"/>
                    <a:pt x="91956" y="258800"/>
                  </a:cubicBezTo>
                  <a:cubicBezTo>
                    <a:pt x="67618" y="283139"/>
                    <a:pt x="58491" y="316603"/>
                    <a:pt x="73703" y="347026"/>
                  </a:cubicBezTo>
                  <a:cubicBezTo>
                    <a:pt x="31111" y="368322"/>
                    <a:pt x="28069" y="432209"/>
                    <a:pt x="52407" y="471758"/>
                  </a:cubicBezTo>
                  <a:cubicBezTo>
                    <a:pt x="9816" y="499138"/>
                    <a:pt x="9816" y="547815"/>
                    <a:pt x="28069" y="593448"/>
                  </a:cubicBezTo>
                  <a:cubicBezTo>
                    <a:pt x="-5396" y="614744"/>
                    <a:pt x="689" y="654293"/>
                    <a:pt x="21984" y="684716"/>
                  </a:cubicBezTo>
                  <a:cubicBezTo>
                    <a:pt x="-11480" y="718181"/>
                    <a:pt x="-5396" y="803364"/>
                    <a:pt x="31111" y="824660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7" name="任意多边形: 形状 366">
              <a:extLst>
                <a:ext uri="{FF2B5EF4-FFF2-40B4-BE49-F238E27FC236}">
                  <a16:creationId xmlns:a16="http://schemas.microsoft.com/office/drawing/2014/main" id="{1AB8F650-1D66-4E69-BF12-E2D82D267ADC}"/>
                </a:ext>
              </a:extLst>
            </p:cNvPr>
            <p:cNvSpPr/>
            <p:nvPr/>
          </p:nvSpPr>
          <p:spPr>
            <a:xfrm>
              <a:off x="7550781" y="2074469"/>
              <a:ext cx="601647" cy="965117"/>
            </a:xfrm>
            <a:custGeom>
              <a:avLst/>
              <a:gdLst>
                <a:gd name="connsiteX0" fmla="*/ 48857 w 601647"/>
                <a:gd name="connsiteY0" fmla="*/ 263165 h 965117"/>
                <a:gd name="connsiteX1" fmla="*/ 70152 w 601647"/>
                <a:gd name="connsiteY1" fmla="*/ 89757 h 965117"/>
                <a:gd name="connsiteX2" fmla="*/ 67110 w 601647"/>
                <a:gd name="connsiteY2" fmla="*/ 74545 h 965117"/>
                <a:gd name="connsiteX3" fmla="*/ 231392 w 601647"/>
                <a:gd name="connsiteY3" fmla="*/ 53249 h 965117"/>
                <a:gd name="connsiteX4" fmla="*/ 322660 w 601647"/>
                <a:gd name="connsiteY4" fmla="*/ 98883 h 965117"/>
                <a:gd name="connsiteX5" fmla="*/ 319617 w 601647"/>
                <a:gd name="connsiteY5" fmla="*/ 162771 h 965117"/>
                <a:gd name="connsiteX6" fmla="*/ 319617 w 601647"/>
                <a:gd name="connsiteY6" fmla="*/ 162771 h 965117"/>
                <a:gd name="connsiteX7" fmla="*/ 398716 w 601647"/>
                <a:gd name="connsiteY7" fmla="*/ 254038 h 965117"/>
                <a:gd name="connsiteX8" fmla="*/ 435223 w 601647"/>
                <a:gd name="connsiteY8" fmla="*/ 287503 h 965117"/>
                <a:gd name="connsiteX9" fmla="*/ 426096 w 601647"/>
                <a:gd name="connsiteY9" fmla="*/ 339221 h 965117"/>
                <a:gd name="connsiteX10" fmla="*/ 468688 w 601647"/>
                <a:gd name="connsiteY10" fmla="*/ 406151 h 965117"/>
                <a:gd name="connsiteX11" fmla="*/ 462603 w 601647"/>
                <a:gd name="connsiteY11" fmla="*/ 448742 h 965117"/>
                <a:gd name="connsiteX12" fmla="*/ 544744 w 601647"/>
                <a:gd name="connsiteY12" fmla="*/ 524799 h 965117"/>
                <a:gd name="connsiteX13" fmla="*/ 517364 w 601647"/>
                <a:gd name="connsiteY13" fmla="*/ 594771 h 965117"/>
                <a:gd name="connsiteX14" fmla="*/ 559955 w 601647"/>
                <a:gd name="connsiteY14" fmla="*/ 765137 h 965117"/>
                <a:gd name="connsiteX15" fmla="*/ 584294 w 601647"/>
                <a:gd name="connsiteY15" fmla="*/ 889869 h 965117"/>
                <a:gd name="connsiteX16" fmla="*/ 511279 w 601647"/>
                <a:gd name="connsiteY16" fmla="*/ 892912 h 965117"/>
                <a:gd name="connsiteX17" fmla="*/ 404800 w 601647"/>
                <a:gd name="connsiteY17" fmla="*/ 962883 h 965117"/>
                <a:gd name="connsiteX18" fmla="*/ 337871 w 601647"/>
                <a:gd name="connsiteY18" fmla="*/ 832066 h 965117"/>
                <a:gd name="connsiteX19" fmla="*/ 301364 w 601647"/>
                <a:gd name="connsiteY19" fmla="*/ 798602 h 965117"/>
                <a:gd name="connsiteX20" fmla="*/ 264857 w 601647"/>
                <a:gd name="connsiteY20" fmla="*/ 783390 h 965117"/>
                <a:gd name="connsiteX21" fmla="*/ 100575 w 601647"/>
                <a:gd name="connsiteY21" fmla="*/ 719503 h 965117"/>
                <a:gd name="connsiteX22" fmla="*/ 30603 w 601647"/>
                <a:gd name="connsiteY22" fmla="*/ 664743 h 965117"/>
                <a:gd name="connsiteX23" fmla="*/ 48857 w 601647"/>
                <a:gd name="connsiteY23" fmla="*/ 491334 h 965117"/>
                <a:gd name="connsiteX24" fmla="*/ 48857 w 601647"/>
                <a:gd name="connsiteY24" fmla="*/ 263165 h 96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01647" h="965117">
                  <a:moveTo>
                    <a:pt x="48857" y="263165"/>
                  </a:moveTo>
                  <a:cubicBezTo>
                    <a:pt x="-8946" y="217531"/>
                    <a:pt x="39730" y="141475"/>
                    <a:pt x="70152" y="89757"/>
                  </a:cubicBezTo>
                  <a:cubicBezTo>
                    <a:pt x="67110" y="86714"/>
                    <a:pt x="64068" y="80630"/>
                    <a:pt x="67110" y="74545"/>
                  </a:cubicBezTo>
                  <a:cubicBezTo>
                    <a:pt x="88406" y="-7596"/>
                    <a:pt x="234434" y="-31934"/>
                    <a:pt x="231392" y="53249"/>
                  </a:cubicBezTo>
                  <a:cubicBezTo>
                    <a:pt x="267899" y="56292"/>
                    <a:pt x="304406" y="65418"/>
                    <a:pt x="322660" y="98883"/>
                  </a:cubicBezTo>
                  <a:cubicBezTo>
                    <a:pt x="334828" y="120179"/>
                    <a:pt x="331786" y="144517"/>
                    <a:pt x="319617" y="162771"/>
                  </a:cubicBezTo>
                  <a:lnTo>
                    <a:pt x="319617" y="162771"/>
                  </a:lnTo>
                  <a:cubicBezTo>
                    <a:pt x="365251" y="174940"/>
                    <a:pt x="404800" y="202320"/>
                    <a:pt x="398716" y="254038"/>
                  </a:cubicBezTo>
                  <a:cubicBezTo>
                    <a:pt x="416970" y="257080"/>
                    <a:pt x="429138" y="266207"/>
                    <a:pt x="435223" y="287503"/>
                  </a:cubicBezTo>
                  <a:cubicBezTo>
                    <a:pt x="441307" y="305757"/>
                    <a:pt x="423054" y="327052"/>
                    <a:pt x="426096" y="339221"/>
                  </a:cubicBezTo>
                  <a:cubicBezTo>
                    <a:pt x="453477" y="348348"/>
                    <a:pt x="465645" y="375728"/>
                    <a:pt x="468688" y="406151"/>
                  </a:cubicBezTo>
                  <a:cubicBezTo>
                    <a:pt x="471730" y="424404"/>
                    <a:pt x="468688" y="436573"/>
                    <a:pt x="462603" y="448742"/>
                  </a:cubicBezTo>
                  <a:cubicBezTo>
                    <a:pt x="499110" y="460911"/>
                    <a:pt x="538660" y="482207"/>
                    <a:pt x="544744" y="524799"/>
                  </a:cubicBezTo>
                  <a:cubicBezTo>
                    <a:pt x="550829" y="555221"/>
                    <a:pt x="538660" y="579559"/>
                    <a:pt x="517364" y="594771"/>
                  </a:cubicBezTo>
                  <a:cubicBezTo>
                    <a:pt x="562997" y="640404"/>
                    <a:pt x="623842" y="734714"/>
                    <a:pt x="559955" y="765137"/>
                  </a:cubicBezTo>
                  <a:cubicBezTo>
                    <a:pt x="593420" y="798602"/>
                    <a:pt x="620800" y="850320"/>
                    <a:pt x="584294" y="889869"/>
                  </a:cubicBezTo>
                  <a:cubicBezTo>
                    <a:pt x="559955" y="914207"/>
                    <a:pt x="529533" y="911165"/>
                    <a:pt x="511279" y="892912"/>
                  </a:cubicBezTo>
                  <a:cubicBezTo>
                    <a:pt x="489983" y="935503"/>
                    <a:pt x="456518" y="975052"/>
                    <a:pt x="404800" y="962883"/>
                  </a:cubicBezTo>
                  <a:cubicBezTo>
                    <a:pt x="343955" y="947672"/>
                    <a:pt x="331786" y="886827"/>
                    <a:pt x="337871" y="832066"/>
                  </a:cubicBezTo>
                  <a:cubicBezTo>
                    <a:pt x="322660" y="825982"/>
                    <a:pt x="310491" y="813813"/>
                    <a:pt x="301364" y="798602"/>
                  </a:cubicBezTo>
                  <a:cubicBezTo>
                    <a:pt x="289195" y="795559"/>
                    <a:pt x="277026" y="789475"/>
                    <a:pt x="264857" y="783390"/>
                  </a:cubicBezTo>
                  <a:cubicBezTo>
                    <a:pt x="216181" y="868573"/>
                    <a:pt x="88406" y="819897"/>
                    <a:pt x="100575" y="719503"/>
                  </a:cubicBezTo>
                  <a:cubicBezTo>
                    <a:pt x="61026" y="716461"/>
                    <a:pt x="45814" y="716461"/>
                    <a:pt x="30603" y="664743"/>
                  </a:cubicBezTo>
                  <a:cubicBezTo>
                    <a:pt x="15392" y="606940"/>
                    <a:pt x="24519" y="546095"/>
                    <a:pt x="48857" y="491334"/>
                  </a:cubicBezTo>
                  <a:cubicBezTo>
                    <a:pt x="-33284" y="430489"/>
                    <a:pt x="3223" y="342264"/>
                    <a:pt x="48857" y="263165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68" name="图形 1">
              <a:extLst>
                <a:ext uri="{FF2B5EF4-FFF2-40B4-BE49-F238E27FC236}">
                  <a16:creationId xmlns:a16="http://schemas.microsoft.com/office/drawing/2014/main" id="{E37F79C1-4061-47F0-8DFC-4337294AAFF0}"/>
                </a:ext>
              </a:extLst>
            </p:cNvPr>
            <p:cNvGrpSpPr/>
            <p:nvPr/>
          </p:nvGrpSpPr>
          <p:grpSpPr>
            <a:xfrm>
              <a:off x="7078958" y="6164789"/>
              <a:ext cx="394425" cy="360763"/>
              <a:chOff x="7078958" y="6164789"/>
              <a:chExt cx="394425" cy="360763"/>
            </a:xfrm>
          </p:grpSpPr>
          <p:sp>
            <p:nvSpPr>
              <p:cNvPr id="369" name="任意多边形: 形状 368">
                <a:extLst>
                  <a:ext uri="{FF2B5EF4-FFF2-40B4-BE49-F238E27FC236}">
                    <a16:creationId xmlns:a16="http://schemas.microsoft.com/office/drawing/2014/main" id="{A1F33186-0ECF-4B39-B26F-AB088243C619}"/>
                  </a:ext>
                </a:extLst>
              </p:cNvPr>
              <p:cNvSpPr/>
              <p:nvPr/>
            </p:nvSpPr>
            <p:spPr>
              <a:xfrm>
                <a:off x="7078958" y="6289522"/>
                <a:ext cx="394425" cy="236031"/>
              </a:xfrm>
              <a:custGeom>
                <a:avLst/>
                <a:gdLst>
                  <a:gd name="connsiteX0" fmla="*/ 286426 w 394425"/>
                  <a:gd name="connsiteY0" fmla="*/ 0 h 236031"/>
                  <a:gd name="connsiteX1" fmla="*/ 128229 w 394425"/>
                  <a:gd name="connsiteY1" fmla="*/ 124732 h 236031"/>
                  <a:gd name="connsiteX2" fmla="*/ 322933 w 394425"/>
                  <a:gd name="connsiteY2" fmla="*/ 76056 h 236031"/>
                  <a:gd name="connsiteX3" fmla="*/ 392905 w 394425"/>
                  <a:gd name="connsiteY3" fmla="*/ 51718 h 236031"/>
                  <a:gd name="connsiteX4" fmla="*/ 386820 w 394425"/>
                  <a:gd name="connsiteY4" fmla="*/ 158197 h 236031"/>
                  <a:gd name="connsiteX5" fmla="*/ 155609 w 394425"/>
                  <a:gd name="connsiteY5" fmla="*/ 231211 h 236031"/>
                  <a:gd name="connsiteX6" fmla="*/ 18707 w 394425"/>
                  <a:gd name="connsiteY6" fmla="*/ 231211 h 236031"/>
                  <a:gd name="connsiteX7" fmla="*/ 12623 w 394425"/>
                  <a:gd name="connsiteY7" fmla="*/ 176450 h 236031"/>
                  <a:gd name="connsiteX8" fmla="*/ 286426 w 394425"/>
                  <a:gd name="connsiteY8" fmla="*/ 0 h 236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4425" h="236031">
                    <a:moveTo>
                      <a:pt x="286426" y="0"/>
                    </a:moveTo>
                    <a:cubicBezTo>
                      <a:pt x="286426" y="0"/>
                      <a:pt x="113017" y="112563"/>
                      <a:pt x="128229" y="124732"/>
                    </a:cubicBezTo>
                    <a:cubicBezTo>
                      <a:pt x="140397" y="139943"/>
                      <a:pt x="322933" y="76056"/>
                      <a:pt x="322933" y="76056"/>
                    </a:cubicBezTo>
                    <a:lnTo>
                      <a:pt x="392905" y="51718"/>
                    </a:lnTo>
                    <a:cubicBezTo>
                      <a:pt x="392905" y="51718"/>
                      <a:pt x="398989" y="133859"/>
                      <a:pt x="386820" y="158197"/>
                    </a:cubicBezTo>
                    <a:cubicBezTo>
                      <a:pt x="313806" y="194704"/>
                      <a:pt x="228623" y="219042"/>
                      <a:pt x="155609" y="231211"/>
                    </a:cubicBezTo>
                    <a:cubicBezTo>
                      <a:pt x="109975" y="240338"/>
                      <a:pt x="27834" y="234253"/>
                      <a:pt x="18707" y="231211"/>
                    </a:cubicBezTo>
                    <a:cubicBezTo>
                      <a:pt x="9580" y="228169"/>
                      <a:pt x="-14758" y="203831"/>
                      <a:pt x="12623" y="176450"/>
                    </a:cubicBezTo>
                    <a:cubicBezTo>
                      <a:pt x="73468" y="109521"/>
                      <a:pt x="286426" y="0"/>
                      <a:pt x="286426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0" name="任意多边形: 形状 369">
                <a:extLst>
                  <a:ext uri="{FF2B5EF4-FFF2-40B4-BE49-F238E27FC236}">
                    <a16:creationId xmlns:a16="http://schemas.microsoft.com/office/drawing/2014/main" id="{47C6A89E-22AD-4322-ACCB-FB1EF72C5014}"/>
                  </a:ext>
                </a:extLst>
              </p:cNvPr>
              <p:cNvSpPr/>
              <p:nvPr/>
            </p:nvSpPr>
            <p:spPr>
              <a:xfrm>
                <a:off x="7205863" y="6164789"/>
                <a:ext cx="266000" cy="253529"/>
              </a:xfrm>
              <a:custGeom>
                <a:avLst/>
                <a:gdLst>
                  <a:gd name="connsiteX0" fmla="*/ 144310 w 266000"/>
                  <a:gd name="connsiteY0" fmla="*/ 0 h 253529"/>
                  <a:gd name="connsiteX1" fmla="*/ 159522 w 266000"/>
                  <a:gd name="connsiteY1" fmla="*/ 124733 h 253529"/>
                  <a:gd name="connsiteX2" fmla="*/ 1325 w 266000"/>
                  <a:gd name="connsiteY2" fmla="*/ 249465 h 253529"/>
                  <a:gd name="connsiteX3" fmla="*/ 238620 w 266000"/>
                  <a:gd name="connsiteY3" fmla="*/ 206873 h 253529"/>
                  <a:gd name="connsiteX4" fmla="*/ 266001 w 266000"/>
                  <a:gd name="connsiteY4" fmla="*/ 176451 h 253529"/>
                  <a:gd name="connsiteX5" fmla="*/ 266001 w 266000"/>
                  <a:gd name="connsiteY5" fmla="*/ 42591 h 253529"/>
                  <a:gd name="connsiteX6" fmla="*/ 144310 w 266000"/>
                  <a:gd name="connsiteY6" fmla="*/ 0 h 253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6000" h="253529">
                    <a:moveTo>
                      <a:pt x="144310" y="0"/>
                    </a:moveTo>
                    <a:lnTo>
                      <a:pt x="159522" y="124733"/>
                    </a:lnTo>
                    <a:cubicBezTo>
                      <a:pt x="159522" y="124733"/>
                      <a:pt x="-16929" y="228169"/>
                      <a:pt x="1325" y="249465"/>
                    </a:cubicBezTo>
                    <a:cubicBezTo>
                      <a:pt x="13493" y="264676"/>
                      <a:pt x="168648" y="234253"/>
                      <a:pt x="238620" y="206873"/>
                    </a:cubicBezTo>
                    <a:cubicBezTo>
                      <a:pt x="262958" y="197746"/>
                      <a:pt x="266001" y="176451"/>
                      <a:pt x="266001" y="176451"/>
                    </a:cubicBezTo>
                    <a:lnTo>
                      <a:pt x="266001" y="42591"/>
                    </a:lnTo>
                    <a:lnTo>
                      <a:pt x="144310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71" name="图形 1">
              <a:extLst>
                <a:ext uri="{FF2B5EF4-FFF2-40B4-BE49-F238E27FC236}">
                  <a16:creationId xmlns:a16="http://schemas.microsoft.com/office/drawing/2014/main" id="{E37F79C1-4061-47F0-8DFC-4337294AAFF0}"/>
                </a:ext>
              </a:extLst>
            </p:cNvPr>
            <p:cNvGrpSpPr/>
            <p:nvPr/>
          </p:nvGrpSpPr>
          <p:grpSpPr>
            <a:xfrm>
              <a:off x="8375412" y="5821015"/>
              <a:ext cx="304225" cy="489172"/>
              <a:chOff x="8375412" y="5821015"/>
              <a:chExt cx="304225" cy="489172"/>
            </a:xfrm>
          </p:grpSpPr>
          <p:sp>
            <p:nvSpPr>
              <p:cNvPr id="372" name="任意多边形: 形状 371">
                <a:extLst>
                  <a:ext uri="{FF2B5EF4-FFF2-40B4-BE49-F238E27FC236}">
                    <a16:creationId xmlns:a16="http://schemas.microsoft.com/office/drawing/2014/main" id="{08D8B927-8533-42C8-9549-D0016A55BCD8}"/>
                  </a:ext>
                </a:extLst>
              </p:cNvPr>
              <p:cNvSpPr/>
              <p:nvPr/>
            </p:nvSpPr>
            <p:spPr>
              <a:xfrm>
                <a:off x="8483281" y="5890987"/>
                <a:ext cx="196356" cy="419200"/>
              </a:xfrm>
              <a:custGeom>
                <a:avLst/>
                <a:gdLst>
                  <a:gd name="connsiteX0" fmla="*/ 4695 w 196356"/>
                  <a:gd name="connsiteY0" fmla="*/ 63888 h 419200"/>
                  <a:gd name="connsiteX1" fmla="*/ 32075 w 196356"/>
                  <a:gd name="connsiteY1" fmla="*/ 264676 h 419200"/>
                  <a:gd name="connsiteX2" fmla="*/ 92920 w 196356"/>
                  <a:gd name="connsiteY2" fmla="*/ 73014 h 419200"/>
                  <a:gd name="connsiteX3" fmla="*/ 108132 w 196356"/>
                  <a:gd name="connsiteY3" fmla="*/ 0 h 419200"/>
                  <a:gd name="connsiteX4" fmla="*/ 196357 w 196356"/>
                  <a:gd name="connsiteY4" fmla="*/ 60845 h 419200"/>
                  <a:gd name="connsiteX5" fmla="*/ 138554 w 196356"/>
                  <a:gd name="connsiteY5" fmla="*/ 295099 h 419200"/>
                  <a:gd name="connsiteX6" fmla="*/ 65540 w 196356"/>
                  <a:gd name="connsiteY6" fmla="*/ 413747 h 419200"/>
                  <a:gd name="connsiteX7" fmla="*/ 13822 w 196356"/>
                  <a:gd name="connsiteY7" fmla="*/ 389409 h 419200"/>
                  <a:gd name="connsiteX8" fmla="*/ 4695 w 196356"/>
                  <a:gd name="connsiteY8" fmla="*/ 63888 h 419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6356" h="419200">
                    <a:moveTo>
                      <a:pt x="4695" y="63888"/>
                    </a:moveTo>
                    <a:cubicBezTo>
                      <a:pt x="4695" y="63888"/>
                      <a:pt x="10779" y="267718"/>
                      <a:pt x="32075" y="264676"/>
                    </a:cubicBezTo>
                    <a:cubicBezTo>
                      <a:pt x="50329" y="261634"/>
                      <a:pt x="92920" y="73014"/>
                      <a:pt x="92920" y="73014"/>
                    </a:cubicBezTo>
                    <a:lnTo>
                      <a:pt x="108132" y="0"/>
                    </a:lnTo>
                    <a:cubicBezTo>
                      <a:pt x="108132" y="0"/>
                      <a:pt x="181146" y="36507"/>
                      <a:pt x="196357" y="60845"/>
                    </a:cubicBezTo>
                    <a:cubicBezTo>
                      <a:pt x="190272" y="139944"/>
                      <a:pt x="165934" y="225127"/>
                      <a:pt x="138554" y="295099"/>
                    </a:cubicBezTo>
                    <a:cubicBezTo>
                      <a:pt x="120301" y="337690"/>
                      <a:pt x="74667" y="407662"/>
                      <a:pt x="65540" y="413747"/>
                    </a:cubicBezTo>
                    <a:cubicBezTo>
                      <a:pt x="56413" y="419831"/>
                      <a:pt x="22949" y="428958"/>
                      <a:pt x="13822" y="389409"/>
                    </a:cubicBezTo>
                    <a:cubicBezTo>
                      <a:pt x="-10516" y="301183"/>
                      <a:pt x="4695" y="63888"/>
                      <a:pt x="4695" y="63888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3" name="任意多边形: 形状 372">
                <a:extLst>
                  <a:ext uri="{FF2B5EF4-FFF2-40B4-BE49-F238E27FC236}">
                    <a16:creationId xmlns:a16="http://schemas.microsoft.com/office/drawing/2014/main" id="{AD8394A6-FEE7-4E47-81E2-BADA5ABD1CA8}"/>
                  </a:ext>
                </a:extLst>
              </p:cNvPr>
              <p:cNvSpPr/>
              <p:nvPr/>
            </p:nvSpPr>
            <p:spPr>
              <a:xfrm>
                <a:off x="8375412" y="5821015"/>
                <a:ext cx="229410" cy="334681"/>
              </a:xfrm>
              <a:custGeom>
                <a:avLst/>
                <a:gdLst>
                  <a:gd name="connsiteX0" fmla="*/ 0 w 229410"/>
                  <a:gd name="connsiteY0" fmla="*/ 82141 h 334681"/>
                  <a:gd name="connsiteX1" fmla="*/ 112563 w 229410"/>
                  <a:gd name="connsiteY1" fmla="*/ 133859 h 334681"/>
                  <a:gd name="connsiteX2" fmla="*/ 139944 w 229410"/>
                  <a:gd name="connsiteY2" fmla="*/ 334648 h 334681"/>
                  <a:gd name="connsiteX3" fmla="*/ 228169 w 229410"/>
                  <a:gd name="connsiteY3" fmla="*/ 109521 h 334681"/>
                  <a:gd name="connsiteX4" fmla="*/ 216000 w 229410"/>
                  <a:gd name="connsiteY4" fmla="*/ 69972 h 334681"/>
                  <a:gd name="connsiteX5" fmla="*/ 100394 w 229410"/>
                  <a:gd name="connsiteY5" fmla="*/ 0 h 334681"/>
                  <a:gd name="connsiteX6" fmla="*/ 0 w 229410"/>
                  <a:gd name="connsiteY6" fmla="*/ 82141 h 334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9410" h="334681">
                    <a:moveTo>
                      <a:pt x="0" y="82141"/>
                    </a:moveTo>
                    <a:lnTo>
                      <a:pt x="112563" y="133859"/>
                    </a:lnTo>
                    <a:cubicBezTo>
                      <a:pt x="112563" y="133859"/>
                      <a:pt x="112563" y="337690"/>
                      <a:pt x="139944" y="334648"/>
                    </a:cubicBezTo>
                    <a:cubicBezTo>
                      <a:pt x="161240" y="331606"/>
                      <a:pt x="212958" y="182535"/>
                      <a:pt x="228169" y="109521"/>
                    </a:cubicBezTo>
                    <a:cubicBezTo>
                      <a:pt x="234253" y="85183"/>
                      <a:pt x="216000" y="69972"/>
                      <a:pt x="216000" y="69972"/>
                    </a:cubicBezTo>
                    <a:lnTo>
                      <a:pt x="100394" y="0"/>
                    </a:lnTo>
                    <a:lnTo>
                      <a:pt x="0" y="82141"/>
                    </a:ln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74" name="图形 1">
              <a:extLst>
                <a:ext uri="{FF2B5EF4-FFF2-40B4-BE49-F238E27FC236}">
                  <a16:creationId xmlns:a16="http://schemas.microsoft.com/office/drawing/2014/main" id="{E37F79C1-4061-47F0-8DFC-4337294AAFF0}"/>
                </a:ext>
              </a:extLst>
            </p:cNvPr>
            <p:cNvGrpSpPr/>
            <p:nvPr/>
          </p:nvGrpSpPr>
          <p:grpSpPr>
            <a:xfrm>
              <a:off x="6245835" y="3746046"/>
              <a:ext cx="351021" cy="280278"/>
              <a:chOff x="6245835" y="3746046"/>
              <a:chExt cx="351021" cy="280278"/>
            </a:xfrm>
          </p:grpSpPr>
          <p:sp>
            <p:nvSpPr>
              <p:cNvPr id="375" name="任意多边形: 形状 374">
                <a:extLst>
                  <a:ext uri="{FF2B5EF4-FFF2-40B4-BE49-F238E27FC236}">
                    <a16:creationId xmlns:a16="http://schemas.microsoft.com/office/drawing/2014/main" id="{0FE889DA-686A-466A-ACD8-6F3F2985EECC}"/>
                  </a:ext>
                </a:extLst>
              </p:cNvPr>
              <p:cNvSpPr/>
              <p:nvPr/>
            </p:nvSpPr>
            <p:spPr>
              <a:xfrm>
                <a:off x="6250721" y="3746046"/>
                <a:ext cx="346135" cy="280278"/>
              </a:xfrm>
              <a:custGeom>
                <a:avLst/>
                <a:gdLst>
                  <a:gd name="connsiteX0" fmla="*/ 159395 w 346135"/>
                  <a:gd name="connsiteY0" fmla="*/ 267871 h 280278"/>
                  <a:gd name="connsiteX1" fmla="*/ 232410 w 346135"/>
                  <a:gd name="connsiteY1" fmla="*/ 231363 h 280278"/>
                  <a:gd name="connsiteX2" fmla="*/ 335846 w 346135"/>
                  <a:gd name="connsiteY2" fmla="*/ 152265 h 280278"/>
                  <a:gd name="connsiteX3" fmla="*/ 326719 w 346135"/>
                  <a:gd name="connsiteY3" fmla="*/ 54913 h 280278"/>
                  <a:gd name="connsiteX4" fmla="*/ 320635 w 346135"/>
                  <a:gd name="connsiteY4" fmla="*/ 54913 h 280278"/>
                  <a:gd name="connsiteX5" fmla="*/ 320635 w 346135"/>
                  <a:gd name="connsiteY5" fmla="*/ 54913 h 280278"/>
                  <a:gd name="connsiteX6" fmla="*/ 110720 w 346135"/>
                  <a:gd name="connsiteY6" fmla="*/ 18406 h 280278"/>
                  <a:gd name="connsiteX7" fmla="*/ 110720 w 346135"/>
                  <a:gd name="connsiteY7" fmla="*/ 39701 h 280278"/>
                  <a:gd name="connsiteX8" fmla="*/ 208072 w 346135"/>
                  <a:gd name="connsiteY8" fmla="*/ 67082 h 280278"/>
                  <a:gd name="connsiteX9" fmla="*/ 22494 w 346135"/>
                  <a:gd name="connsiteY9" fmla="*/ 130969 h 280278"/>
                  <a:gd name="connsiteX10" fmla="*/ 13367 w 346135"/>
                  <a:gd name="connsiteY10" fmla="*/ 164434 h 280278"/>
                  <a:gd name="connsiteX11" fmla="*/ 62043 w 346135"/>
                  <a:gd name="connsiteY11" fmla="*/ 155307 h 280278"/>
                  <a:gd name="connsiteX12" fmla="*/ 122888 w 346135"/>
                  <a:gd name="connsiteY12" fmla="*/ 140096 h 280278"/>
                  <a:gd name="connsiteX13" fmla="*/ 52916 w 346135"/>
                  <a:gd name="connsiteY13" fmla="*/ 182687 h 280278"/>
                  <a:gd name="connsiteX14" fmla="*/ 4241 w 346135"/>
                  <a:gd name="connsiteY14" fmla="*/ 216152 h 280278"/>
                  <a:gd name="connsiteX15" fmla="*/ 7283 w 346135"/>
                  <a:gd name="connsiteY15" fmla="*/ 246575 h 280278"/>
                  <a:gd name="connsiteX16" fmla="*/ 40748 w 346135"/>
                  <a:gd name="connsiteY16" fmla="*/ 255701 h 280278"/>
                  <a:gd name="connsiteX17" fmla="*/ 40748 w 346135"/>
                  <a:gd name="connsiteY17" fmla="*/ 258744 h 280278"/>
                  <a:gd name="connsiteX18" fmla="*/ 43790 w 346135"/>
                  <a:gd name="connsiteY18" fmla="*/ 264828 h 280278"/>
                  <a:gd name="connsiteX19" fmla="*/ 95508 w 346135"/>
                  <a:gd name="connsiteY19" fmla="*/ 261786 h 280278"/>
                  <a:gd name="connsiteX20" fmla="*/ 119846 w 346135"/>
                  <a:gd name="connsiteY20" fmla="*/ 249617 h 280278"/>
                  <a:gd name="connsiteX21" fmla="*/ 116804 w 346135"/>
                  <a:gd name="connsiteY21" fmla="*/ 255701 h 280278"/>
                  <a:gd name="connsiteX22" fmla="*/ 119846 w 346135"/>
                  <a:gd name="connsiteY22" fmla="*/ 276997 h 280278"/>
                  <a:gd name="connsiteX23" fmla="*/ 159395 w 346135"/>
                  <a:gd name="connsiteY23" fmla="*/ 267871 h 280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6135" h="280278">
                    <a:moveTo>
                      <a:pt x="159395" y="267871"/>
                    </a:moveTo>
                    <a:cubicBezTo>
                      <a:pt x="183733" y="255701"/>
                      <a:pt x="208072" y="243532"/>
                      <a:pt x="232410" y="231363"/>
                    </a:cubicBezTo>
                    <a:cubicBezTo>
                      <a:pt x="271959" y="213110"/>
                      <a:pt x="320635" y="197899"/>
                      <a:pt x="335846" y="152265"/>
                    </a:cubicBezTo>
                    <a:cubicBezTo>
                      <a:pt x="344973" y="121842"/>
                      <a:pt x="357142" y="79251"/>
                      <a:pt x="326719" y="54913"/>
                    </a:cubicBezTo>
                    <a:cubicBezTo>
                      <a:pt x="323677" y="54913"/>
                      <a:pt x="323677" y="54913"/>
                      <a:pt x="320635" y="54913"/>
                    </a:cubicBezTo>
                    <a:cubicBezTo>
                      <a:pt x="320635" y="54913"/>
                      <a:pt x="320635" y="54913"/>
                      <a:pt x="320635" y="54913"/>
                    </a:cubicBezTo>
                    <a:cubicBezTo>
                      <a:pt x="256748" y="-2890"/>
                      <a:pt x="162438" y="-15059"/>
                      <a:pt x="110720" y="18406"/>
                    </a:cubicBezTo>
                    <a:cubicBezTo>
                      <a:pt x="107677" y="21448"/>
                      <a:pt x="107677" y="36659"/>
                      <a:pt x="110720" y="39701"/>
                    </a:cubicBezTo>
                    <a:cubicBezTo>
                      <a:pt x="144184" y="51870"/>
                      <a:pt x="186776" y="36659"/>
                      <a:pt x="208072" y="67082"/>
                    </a:cubicBezTo>
                    <a:cubicBezTo>
                      <a:pt x="147226" y="94462"/>
                      <a:pt x="77255" y="91420"/>
                      <a:pt x="22494" y="130969"/>
                    </a:cubicBezTo>
                    <a:cubicBezTo>
                      <a:pt x="13367" y="137054"/>
                      <a:pt x="-7928" y="158349"/>
                      <a:pt x="13367" y="164434"/>
                    </a:cubicBezTo>
                    <a:cubicBezTo>
                      <a:pt x="25536" y="167476"/>
                      <a:pt x="46832" y="158349"/>
                      <a:pt x="62043" y="155307"/>
                    </a:cubicBezTo>
                    <a:cubicBezTo>
                      <a:pt x="83339" y="149223"/>
                      <a:pt x="104635" y="146180"/>
                      <a:pt x="122888" y="140096"/>
                    </a:cubicBezTo>
                    <a:cubicBezTo>
                      <a:pt x="98550" y="155307"/>
                      <a:pt x="77255" y="167476"/>
                      <a:pt x="52916" y="182687"/>
                    </a:cubicBezTo>
                    <a:cubicBezTo>
                      <a:pt x="37705" y="191814"/>
                      <a:pt x="16409" y="200941"/>
                      <a:pt x="4241" y="216152"/>
                    </a:cubicBezTo>
                    <a:cubicBezTo>
                      <a:pt x="-1844" y="225279"/>
                      <a:pt x="-1844" y="237448"/>
                      <a:pt x="7283" y="246575"/>
                    </a:cubicBezTo>
                    <a:cubicBezTo>
                      <a:pt x="16409" y="255701"/>
                      <a:pt x="28579" y="255701"/>
                      <a:pt x="40748" y="255701"/>
                    </a:cubicBezTo>
                    <a:cubicBezTo>
                      <a:pt x="40748" y="255701"/>
                      <a:pt x="40748" y="258744"/>
                      <a:pt x="40748" y="258744"/>
                    </a:cubicBezTo>
                    <a:cubicBezTo>
                      <a:pt x="40748" y="261786"/>
                      <a:pt x="40748" y="264828"/>
                      <a:pt x="43790" y="264828"/>
                    </a:cubicBezTo>
                    <a:cubicBezTo>
                      <a:pt x="62043" y="273955"/>
                      <a:pt x="77255" y="270913"/>
                      <a:pt x="95508" y="261786"/>
                    </a:cubicBezTo>
                    <a:cubicBezTo>
                      <a:pt x="104635" y="258744"/>
                      <a:pt x="110720" y="252659"/>
                      <a:pt x="119846" y="249617"/>
                    </a:cubicBezTo>
                    <a:cubicBezTo>
                      <a:pt x="116804" y="252659"/>
                      <a:pt x="116804" y="252659"/>
                      <a:pt x="116804" y="255701"/>
                    </a:cubicBezTo>
                    <a:cubicBezTo>
                      <a:pt x="113761" y="261786"/>
                      <a:pt x="110720" y="270913"/>
                      <a:pt x="119846" y="276997"/>
                    </a:cubicBezTo>
                    <a:cubicBezTo>
                      <a:pt x="128973" y="286124"/>
                      <a:pt x="147226" y="273955"/>
                      <a:pt x="159395" y="267871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6" name="任意多边形: 形状 375">
                <a:extLst>
                  <a:ext uri="{FF2B5EF4-FFF2-40B4-BE49-F238E27FC236}">
                    <a16:creationId xmlns:a16="http://schemas.microsoft.com/office/drawing/2014/main" id="{DBE5784A-3D86-45A6-8383-8B4BAE595706}"/>
                  </a:ext>
                </a:extLst>
              </p:cNvPr>
              <p:cNvSpPr/>
              <p:nvPr/>
            </p:nvSpPr>
            <p:spPr>
              <a:xfrm>
                <a:off x="6466659" y="3833163"/>
                <a:ext cx="68189" cy="40809"/>
              </a:xfrm>
              <a:custGeom>
                <a:avLst/>
                <a:gdLst>
                  <a:gd name="connsiteX0" fmla="*/ 52978 w 68189"/>
                  <a:gd name="connsiteY0" fmla="*/ 40809 h 40809"/>
                  <a:gd name="connsiteX1" fmla="*/ 1260 w 68189"/>
                  <a:gd name="connsiteY1" fmla="*/ 10387 h 40809"/>
                  <a:gd name="connsiteX2" fmla="*/ 4302 w 68189"/>
                  <a:gd name="connsiteY2" fmla="*/ 1260 h 40809"/>
                  <a:gd name="connsiteX3" fmla="*/ 13429 w 68189"/>
                  <a:gd name="connsiteY3" fmla="*/ 4302 h 40809"/>
                  <a:gd name="connsiteX4" fmla="*/ 62105 w 68189"/>
                  <a:gd name="connsiteY4" fmla="*/ 25598 h 40809"/>
                  <a:gd name="connsiteX5" fmla="*/ 68190 w 68189"/>
                  <a:gd name="connsiteY5" fmla="*/ 28640 h 40809"/>
                  <a:gd name="connsiteX6" fmla="*/ 65147 w 68189"/>
                  <a:gd name="connsiteY6" fmla="*/ 34725 h 40809"/>
                  <a:gd name="connsiteX7" fmla="*/ 52978 w 68189"/>
                  <a:gd name="connsiteY7" fmla="*/ 40809 h 40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189" h="40809">
                    <a:moveTo>
                      <a:pt x="52978" y="40809"/>
                    </a:moveTo>
                    <a:cubicBezTo>
                      <a:pt x="22556" y="40809"/>
                      <a:pt x="4302" y="13429"/>
                      <a:pt x="1260" y="10387"/>
                    </a:cubicBezTo>
                    <a:cubicBezTo>
                      <a:pt x="-1782" y="7345"/>
                      <a:pt x="1260" y="4302"/>
                      <a:pt x="4302" y="1260"/>
                    </a:cubicBezTo>
                    <a:cubicBezTo>
                      <a:pt x="7345" y="-1782"/>
                      <a:pt x="10387" y="1260"/>
                      <a:pt x="13429" y="4302"/>
                    </a:cubicBezTo>
                    <a:cubicBezTo>
                      <a:pt x="13429" y="4302"/>
                      <a:pt x="31683" y="34725"/>
                      <a:pt x="62105" y="25598"/>
                    </a:cubicBezTo>
                    <a:cubicBezTo>
                      <a:pt x="65147" y="25598"/>
                      <a:pt x="68190" y="25598"/>
                      <a:pt x="68190" y="28640"/>
                    </a:cubicBezTo>
                    <a:cubicBezTo>
                      <a:pt x="68190" y="31683"/>
                      <a:pt x="68190" y="34725"/>
                      <a:pt x="65147" y="34725"/>
                    </a:cubicBezTo>
                    <a:cubicBezTo>
                      <a:pt x="59063" y="40809"/>
                      <a:pt x="56021" y="40809"/>
                      <a:pt x="52978" y="4080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7" name="任意多边形: 形状 376">
                <a:extLst>
                  <a:ext uri="{FF2B5EF4-FFF2-40B4-BE49-F238E27FC236}">
                    <a16:creationId xmlns:a16="http://schemas.microsoft.com/office/drawing/2014/main" id="{E2517424-CF5E-4CA4-9FC9-33CC76FD7262}"/>
                  </a:ext>
                </a:extLst>
              </p:cNvPr>
              <p:cNvSpPr/>
              <p:nvPr/>
            </p:nvSpPr>
            <p:spPr>
              <a:xfrm>
                <a:off x="6245835" y="3883099"/>
                <a:ext cx="149070" cy="121690"/>
              </a:xfrm>
              <a:custGeom>
                <a:avLst/>
                <a:gdLst>
                  <a:gd name="connsiteX0" fmla="*/ 33465 w 149070"/>
                  <a:gd name="connsiteY0" fmla="*/ 121690 h 121690"/>
                  <a:gd name="connsiteX1" fmla="*/ 12169 w 149070"/>
                  <a:gd name="connsiteY1" fmla="*/ 115606 h 121690"/>
                  <a:gd name="connsiteX2" fmla="*/ 0 w 149070"/>
                  <a:gd name="connsiteY2" fmla="*/ 91268 h 121690"/>
                  <a:gd name="connsiteX3" fmla="*/ 82141 w 149070"/>
                  <a:gd name="connsiteY3" fmla="*/ 24338 h 121690"/>
                  <a:gd name="connsiteX4" fmla="*/ 15211 w 149070"/>
                  <a:gd name="connsiteY4" fmla="*/ 36507 h 121690"/>
                  <a:gd name="connsiteX5" fmla="*/ 9127 w 149070"/>
                  <a:gd name="connsiteY5" fmla="*/ 30423 h 121690"/>
                  <a:gd name="connsiteX6" fmla="*/ 15211 w 149070"/>
                  <a:gd name="connsiteY6" fmla="*/ 24338 h 121690"/>
                  <a:gd name="connsiteX7" fmla="*/ 121690 w 149070"/>
                  <a:gd name="connsiteY7" fmla="*/ 0 h 121690"/>
                  <a:gd name="connsiteX8" fmla="*/ 127775 w 149070"/>
                  <a:gd name="connsiteY8" fmla="*/ 3042 h 121690"/>
                  <a:gd name="connsiteX9" fmla="*/ 124733 w 149070"/>
                  <a:gd name="connsiteY9" fmla="*/ 9127 h 121690"/>
                  <a:gd name="connsiteX10" fmla="*/ 9127 w 149070"/>
                  <a:gd name="connsiteY10" fmla="*/ 88225 h 121690"/>
                  <a:gd name="connsiteX11" fmla="*/ 15211 w 149070"/>
                  <a:gd name="connsiteY11" fmla="*/ 103437 h 121690"/>
                  <a:gd name="connsiteX12" fmla="*/ 39549 w 149070"/>
                  <a:gd name="connsiteY12" fmla="*/ 106479 h 121690"/>
                  <a:gd name="connsiteX13" fmla="*/ 139944 w 149070"/>
                  <a:gd name="connsiteY13" fmla="*/ 57803 h 121690"/>
                  <a:gd name="connsiteX14" fmla="*/ 149070 w 149070"/>
                  <a:gd name="connsiteY14" fmla="*/ 60845 h 121690"/>
                  <a:gd name="connsiteX15" fmla="*/ 146028 w 149070"/>
                  <a:gd name="connsiteY15" fmla="*/ 69972 h 121690"/>
                  <a:gd name="connsiteX16" fmla="*/ 42591 w 149070"/>
                  <a:gd name="connsiteY16" fmla="*/ 118648 h 121690"/>
                  <a:gd name="connsiteX17" fmla="*/ 33465 w 149070"/>
                  <a:gd name="connsiteY17" fmla="*/ 121690 h 121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9070" h="121690">
                    <a:moveTo>
                      <a:pt x="33465" y="121690"/>
                    </a:moveTo>
                    <a:cubicBezTo>
                      <a:pt x="24338" y="121690"/>
                      <a:pt x="18254" y="118648"/>
                      <a:pt x="12169" y="115606"/>
                    </a:cubicBezTo>
                    <a:cubicBezTo>
                      <a:pt x="6084" y="109521"/>
                      <a:pt x="0" y="100394"/>
                      <a:pt x="0" y="91268"/>
                    </a:cubicBezTo>
                    <a:cubicBezTo>
                      <a:pt x="0" y="76056"/>
                      <a:pt x="45634" y="48676"/>
                      <a:pt x="82141" y="24338"/>
                    </a:cubicBezTo>
                    <a:cubicBezTo>
                      <a:pt x="48676" y="30423"/>
                      <a:pt x="18254" y="36507"/>
                      <a:pt x="15211" y="36507"/>
                    </a:cubicBezTo>
                    <a:cubicBezTo>
                      <a:pt x="12169" y="36507"/>
                      <a:pt x="9127" y="33465"/>
                      <a:pt x="9127" y="30423"/>
                    </a:cubicBezTo>
                    <a:cubicBezTo>
                      <a:pt x="9127" y="27380"/>
                      <a:pt x="12169" y="24338"/>
                      <a:pt x="15211" y="24338"/>
                    </a:cubicBezTo>
                    <a:cubicBezTo>
                      <a:pt x="15211" y="24338"/>
                      <a:pt x="85183" y="12169"/>
                      <a:pt x="121690" y="0"/>
                    </a:cubicBezTo>
                    <a:cubicBezTo>
                      <a:pt x="124733" y="0"/>
                      <a:pt x="127775" y="0"/>
                      <a:pt x="127775" y="3042"/>
                    </a:cubicBezTo>
                    <a:cubicBezTo>
                      <a:pt x="127775" y="6084"/>
                      <a:pt x="127775" y="9127"/>
                      <a:pt x="124733" y="9127"/>
                    </a:cubicBezTo>
                    <a:cubicBezTo>
                      <a:pt x="69972" y="39549"/>
                      <a:pt x="9127" y="76056"/>
                      <a:pt x="9127" y="88225"/>
                    </a:cubicBezTo>
                    <a:cubicBezTo>
                      <a:pt x="9127" y="94310"/>
                      <a:pt x="12169" y="100394"/>
                      <a:pt x="15211" y="103437"/>
                    </a:cubicBezTo>
                    <a:cubicBezTo>
                      <a:pt x="21296" y="106479"/>
                      <a:pt x="30423" y="109521"/>
                      <a:pt x="39549" y="106479"/>
                    </a:cubicBezTo>
                    <a:cubicBezTo>
                      <a:pt x="57803" y="100394"/>
                      <a:pt x="139944" y="57803"/>
                      <a:pt x="139944" y="57803"/>
                    </a:cubicBezTo>
                    <a:cubicBezTo>
                      <a:pt x="142986" y="57803"/>
                      <a:pt x="146028" y="57803"/>
                      <a:pt x="149070" y="60845"/>
                    </a:cubicBezTo>
                    <a:cubicBezTo>
                      <a:pt x="149070" y="63887"/>
                      <a:pt x="149070" y="66929"/>
                      <a:pt x="146028" y="69972"/>
                    </a:cubicBezTo>
                    <a:cubicBezTo>
                      <a:pt x="142986" y="73014"/>
                      <a:pt x="60845" y="112563"/>
                      <a:pt x="42591" y="118648"/>
                    </a:cubicBezTo>
                    <a:cubicBezTo>
                      <a:pt x="42591" y="118648"/>
                      <a:pt x="36507" y="121690"/>
                      <a:pt x="33465" y="12169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8" name="任意多边形: 形状 377">
                <a:extLst>
                  <a:ext uri="{FF2B5EF4-FFF2-40B4-BE49-F238E27FC236}">
                    <a16:creationId xmlns:a16="http://schemas.microsoft.com/office/drawing/2014/main" id="{17C2FCA5-35C5-4F42-9346-79F04B916010}"/>
                  </a:ext>
                </a:extLst>
              </p:cNvPr>
              <p:cNvSpPr/>
              <p:nvPr/>
            </p:nvSpPr>
            <p:spPr>
              <a:xfrm>
                <a:off x="6285384" y="3946987"/>
                <a:ext cx="152112" cy="76056"/>
              </a:xfrm>
              <a:custGeom>
                <a:avLst/>
                <a:gdLst>
                  <a:gd name="connsiteX0" fmla="*/ 21296 w 152112"/>
                  <a:gd name="connsiteY0" fmla="*/ 76056 h 76056"/>
                  <a:gd name="connsiteX1" fmla="*/ 21296 w 152112"/>
                  <a:gd name="connsiteY1" fmla="*/ 76056 h 76056"/>
                  <a:gd name="connsiteX2" fmla="*/ 0 w 152112"/>
                  <a:gd name="connsiteY2" fmla="*/ 48676 h 76056"/>
                  <a:gd name="connsiteX3" fmla="*/ 6084 w 152112"/>
                  <a:gd name="connsiteY3" fmla="*/ 42592 h 76056"/>
                  <a:gd name="connsiteX4" fmla="*/ 12169 w 152112"/>
                  <a:gd name="connsiteY4" fmla="*/ 48676 h 76056"/>
                  <a:gd name="connsiteX5" fmla="*/ 21296 w 152112"/>
                  <a:gd name="connsiteY5" fmla="*/ 63887 h 76056"/>
                  <a:gd name="connsiteX6" fmla="*/ 21296 w 152112"/>
                  <a:gd name="connsiteY6" fmla="*/ 63887 h 76056"/>
                  <a:gd name="connsiteX7" fmla="*/ 85183 w 152112"/>
                  <a:gd name="connsiteY7" fmla="*/ 36507 h 76056"/>
                  <a:gd name="connsiteX8" fmla="*/ 146028 w 152112"/>
                  <a:gd name="connsiteY8" fmla="*/ 0 h 76056"/>
                  <a:gd name="connsiteX9" fmla="*/ 152113 w 152112"/>
                  <a:gd name="connsiteY9" fmla="*/ 9127 h 76056"/>
                  <a:gd name="connsiteX10" fmla="*/ 91268 w 152112"/>
                  <a:gd name="connsiteY10" fmla="*/ 45634 h 76056"/>
                  <a:gd name="connsiteX11" fmla="*/ 21296 w 152112"/>
                  <a:gd name="connsiteY11" fmla="*/ 76056 h 76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2112" h="76056">
                    <a:moveTo>
                      <a:pt x="21296" y="76056"/>
                    </a:moveTo>
                    <a:cubicBezTo>
                      <a:pt x="21296" y="76056"/>
                      <a:pt x="18253" y="76056"/>
                      <a:pt x="21296" y="76056"/>
                    </a:cubicBezTo>
                    <a:cubicBezTo>
                      <a:pt x="6084" y="76056"/>
                      <a:pt x="0" y="57803"/>
                      <a:pt x="0" y="48676"/>
                    </a:cubicBezTo>
                    <a:cubicBezTo>
                      <a:pt x="0" y="45634"/>
                      <a:pt x="3042" y="42592"/>
                      <a:pt x="6084" y="42592"/>
                    </a:cubicBezTo>
                    <a:cubicBezTo>
                      <a:pt x="9127" y="42592"/>
                      <a:pt x="12169" y="45634"/>
                      <a:pt x="12169" y="48676"/>
                    </a:cubicBezTo>
                    <a:cubicBezTo>
                      <a:pt x="12169" y="48676"/>
                      <a:pt x="12169" y="63887"/>
                      <a:pt x="21296" y="63887"/>
                    </a:cubicBezTo>
                    <a:cubicBezTo>
                      <a:pt x="21296" y="63887"/>
                      <a:pt x="21296" y="63887"/>
                      <a:pt x="21296" y="63887"/>
                    </a:cubicBezTo>
                    <a:cubicBezTo>
                      <a:pt x="33465" y="63887"/>
                      <a:pt x="73014" y="45634"/>
                      <a:pt x="85183" y="36507"/>
                    </a:cubicBezTo>
                    <a:cubicBezTo>
                      <a:pt x="94310" y="30423"/>
                      <a:pt x="146028" y="0"/>
                      <a:pt x="146028" y="0"/>
                    </a:cubicBezTo>
                    <a:lnTo>
                      <a:pt x="152113" y="9127"/>
                    </a:lnTo>
                    <a:cubicBezTo>
                      <a:pt x="152113" y="9127"/>
                      <a:pt x="100394" y="39549"/>
                      <a:pt x="91268" y="45634"/>
                    </a:cubicBezTo>
                    <a:cubicBezTo>
                      <a:pt x="85183" y="51718"/>
                      <a:pt x="39549" y="76056"/>
                      <a:pt x="21296" y="7605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79" name="任意多边形: 形状 378">
              <a:extLst>
                <a:ext uri="{FF2B5EF4-FFF2-40B4-BE49-F238E27FC236}">
                  <a16:creationId xmlns:a16="http://schemas.microsoft.com/office/drawing/2014/main" id="{72845284-4A3C-4F73-81CE-2F4AFBA77690}"/>
                </a:ext>
              </a:extLst>
            </p:cNvPr>
            <p:cNvSpPr/>
            <p:nvPr/>
          </p:nvSpPr>
          <p:spPr>
            <a:xfrm>
              <a:off x="6528746" y="2821650"/>
              <a:ext cx="912846" cy="1113463"/>
            </a:xfrm>
            <a:custGeom>
              <a:avLst/>
              <a:gdLst>
                <a:gd name="connsiteX0" fmla="*/ 581088 w 912846"/>
                <a:gd name="connsiteY0" fmla="*/ 322182 h 1113463"/>
                <a:gd name="connsiteX1" fmla="*/ 450272 w 912846"/>
                <a:gd name="connsiteY1" fmla="*/ 690295 h 1113463"/>
                <a:gd name="connsiteX2" fmla="*/ 18 w 912846"/>
                <a:gd name="connsiteY2" fmla="*/ 921506 h 1113463"/>
                <a:gd name="connsiteX3" fmla="*/ 82159 w 912846"/>
                <a:gd name="connsiteY3" fmla="*/ 1113168 h 1113463"/>
                <a:gd name="connsiteX4" fmla="*/ 663229 w 912846"/>
                <a:gd name="connsiteY4" fmla="*/ 875872 h 1113463"/>
                <a:gd name="connsiteX5" fmla="*/ 900525 w 912846"/>
                <a:gd name="connsiteY5" fmla="*/ 264379 h 1113463"/>
                <a:gd name="connsiteX6" fmla="*/ 845765 w 912846"/>
                <a:gd name="connsiteY6" fmla="*/ 2745 h 1113463"/>
                <a:gd name="connsiteX7" fmla="*/ 581088 w 912846"/>
                <a:gd name="connsiteY7" fmla="*/ 322182 h 1113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2846" h="1113463">
                  <a:moveTo>
                    <a:pt x="581088" y="322182"/>
                  </a:moveTo>
                  <a:cubicBezTo>
                    <a:pt x="553708" y="407365"/>
                    <a:pt x="498947" y="614238"/>
                    <a:pt x="450272" y="690295"/>
                  </a:cubicBezTo>
                  <a:cubicBezTo>
                    <a:pt x="380300" y="802858"/>
                    <a:pt x="-3024" y="912379"/>
                    <a:pt x="18" y="921506"/>
                  </a:cubicBezTo>
                  <a:cubicBezTo>
                    <a:pt x="9145" y="991478"/>
                    <a:pt x="27398" y="1070577"/>
                    <a:pt x="82159" y="1113168"/>
                  </a:cubicBezTo>
                  <a:cubicBezTo>
                    <a:pt x="91286" y="1119253"/>
                    <a:pt x="508074" y="1031027"/>
                    <a:pt x="663229" y="875872"/>
                  </a:cubicBezTo>
                  <a:cubicBezTo>
                    <a:pt x="711905" y="827196"/>
                    <a:pt x="851849" y="404323"/>
                    <a:pt x="900525" y="264379"/>
                  </a:cubicBezTo>
                  <a:cubicBezTo>
                    <a:pt x="927905" y="182238"/>
                    <a:pt x="909652" y="17957"/>
                    <a:pt x="845765" y="2745"/>
                  </a:cubicBezTo>
                  <a:cubicBezTo>
                    <a:pt x="745370" y="-24635"/>
                    <a:pt x="632807" y="157900"/>
                    <a:pt x="581088" y="322182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0" name="任意多边形: 形状 379">
              <a:extLst>
                <a:ext uri="{FF2B5EF4-FFF2-40B4-BE49-F238E27FC236}">
                  <a16:creationId xmlns:a16="http://schemas.microsoft.com/office/drawing/2014/main" id="{A77FAD2C-0CD3-41E8-A543-D8A1D0916B24}"/>
                </a:ext>
              </a:extLst>
            </p:cNvPr>
            <p:cNvSpPr/>
            <p:nvPr/>
          </p:nvSpPr>
          <p:spPr>
            <a:xfrm>
              <a:off x="7065274" y="4199099"/>
              <a:ext cx="1267546" cy="1214850"/>
            </a:xfrm>
            <a:custGeom>
              <a:avLst/>
              <a:gdLst>
                <a:gd name="connsiteX0" fmla="*/ 29349 w 1267546"/>
                <a:gd name="connsiteY0" fmla="*/ 1199043 h 1214850"/>
                <a:gd name="connsiteX1" fmla="*/ 47603 w 1267546"/>
                <a:gd name="connsiteY1" fmla="*/ 1214254 h 1214850"/>
                <a:gd name="connsiteX2" fmla="*/ 491772 w 1267546"/>
                <a:gd name="connsiteY2" fmla="*/ 1132113 h 1214850"/>
                <a:gd name="connsiteX3" fmla="*/ 984617 w 1267546"/>
                <a:gd name="connsiteY3" fmla="*/ 1083437 h 1214850"/>
                <a:gd name="connsiteX4" fmla="*/ 1267547 w 1267546"/>
                <a:gd name="connsiteY4" fmla="*/ 1013465 h 1214850"/>
                <a:gd name="connsiteX5" fmla="*/ 1100223 w 1267546"/>
                <a:gd name="connsiteY5" fmla="*/ 639268 h 1214850"/>
                <a:gd name="connsiteX6" fmla="*/ 1100223 w 1267546"/>
                <a:gd name="connsiteY6" fmla="*/ 347212 h 1214850"/>
                <a:gd name="connsiteX7" fmla="*/ 625631 w 1267546"/>
                <a:gd name="connsiteY7" fmla="*/ 286367 h 1214850"/>
                <a:gd name="connsiteX8" fmla="*/ 379208 w 1267546"/>
                <a:gd name="connsiteY8" fmla="*/ 21690 h 1214850"/>
                <a:gd name="connsiteX9" fmla="*/ 99321 w 1267546"/>
                <a:gd name="connsiteY9" fmla="*/ 58198 h 1214850"/>
                <a:gd name="connsiteX10" fmla="*/ 74983 w 1267546"/>
                <a:gd name="connsiteY10" fmla="*/ 70366 h 1214850"/>
                <a:gd name="connsiteX11" fmla="*/ 50645 w 1267546"/>
                <a:gd name="connsiteY11" fmla="*/ 383719 h 1214850"/>
                <a:gd name="connsiteX12" fmla="*/ 8053 w 1267546"/>
                <a:gd name="connsiteY12" fmla="*/ 633183 h 1214850"/>
                <a:gd name="connsiteX13" fmla="*/ 29349 w 1267546"/>
                <a:gd name="connsiteY13" fmla="*/ 1199043 h 121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7546" h="1214850">
                  <a:moveTo>
                    <a:pt x="29349" y="1199043"/>
                  </a:moveTo>
                  <a:cubicBezTo>
                    <a:pt x="29349" y="1208169"/>
                    <a:pt x="38476" y="1217296"/>
                    <a:pt x="47603" y="1214254"/>
                  </a:cubicBezTo>
                  <a:cubicBezTo>
                    <a:pt x="190589" y="1168620"/>
                    <a:pt x="342701" y="1153409"/>
                    <a:pt x="491772" y="1132113"/>
                  </a:cubicBezTo>
                  <a:lnTo>
                    <a:pt x="984617" y="1083437"/>
                  </a:lnTo>
                  <a:cubicBezTo>
                    <a:pt x="993744" y="1083437"/>
                    <a:pt x="1267547" y="1022592"/>
                    <a:pt x="1267547" y="1013465"/>
                  </a:cubicBezTo>
                  <a:cubicBezTo>
                    <a:pt x="1249293" y="949578"/>
                    <a:pt x="1127603" y="700113"/>
                    <a:pt x="1100223" y="639268"/>
                  </a:cubicBezTo>
                  <a:cubicBezTo>
                    <a:pt x="1069800" y="569296"/>
                    <a:pt x="1130645" y="417183"/>
                    <a:pt x="1100223" y="347212"/>
                  </a:cubicBezTo>
                  <a:cubicBezTo>
                    <a:pt x="1048504" y="222479"/>
                    <a:pt x="695603" y="401972"/>
                    <a:pt x="625631" y="286367"/>
                  </a:cubicBezTo>
                  <a:cubicBezTo>
                    <a:pt x="564786" y="189014"/>
                    <a:pt x="488730" y="70366"/>
                    <a:pt x="379208" y="21690"/>
                  </a:cubicBezTo>
                  <a:cubicBezTo>
                    <a:pt x="284899" y="-20901"/>
                    <a:pt x="181462" y="3437"/>
                    <a:pt x="99321" y="58198"/>
                  </a:cubicBezTo>
                  <a:cubicBezTo>
                    <a:pt x="90194" y="52113"/>
                    <a:pt x="74983" y="58198"/>
                    <a:pt x="74983" y="70366"/>
                  </a:cubicBezTo>
                  <a:cubicBezTo>
                    <a:pt x="71941" y="176845"/>
                    <a:pt x="68899" y="280282"/>
                    <a:pt x="50645" y="383719"/>
                  </a:cubicBezTo>
                  <a:cubicBezTo>
                    <a:pt x="35434" y="465859"/>
                    <a:pt x="17180" y="548000"/>
                    <a:pt x="8053" y="633183"/>
                  </a:cubicBezTo>
                  <a:cubicBezTo>
                    <a:pt x="-10200" y="818761"/>
                    <a:pt x="5011" y="1010423"/>
                    <a:pt x="29349" y="1199043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1" name="任意多边形: 形状 380">
              <a:extLst>
                <a:ext uri="{FF2B5EF4-FFF2-40B4-BE49-F238E27FC236}">
                  <a16:creationId xmlns:a16="http://schemas.microsoft.com/office/drawing/2014/main" id="{D8822C6A-4C05-40B0-9F1A-61559E65AAEC}"/>
                </a:ext>
              </a:extLst>
            </p:cNvPr>
            <p:cNvSpPr/>
            <p:nvPr/>
          </p:nvSpPr>
          <p:spPr>
            <a:xfrm>
              <a:off x="7142126" y="3746198"/>
              <a:ext cx="1400609" cy="2518986"/>
            </a:xfrm>
            <a:custGeom>
              <a:avLst/>
              <a:gdLst>
                <a:gd name="connsiteX0" fmla="*/ 786075 w 1400609"/>
                <a:gd name="connsiteY0" fmla="*/ 0 h 2518986"/>
                <a:gd name="connsiteX1" fmla="*/ 119821 w 1400609"/>
                <a:gd name="connsiteY1" fmla="*/ 0 h 2518986"/>
                <a:gd name="connsiteX2" fmla="*/ 1173 w 1400609"/>
                <a:gd name="connsiteY2" fmla="*/ 459380 h 2518986"/>
                <a:gd name="connsiteX3" fmla="*/ 183708 w 1400609"/>
                <a:gd name="connsiteY3" fmla="*/ 2494648 h 2518986"/>
                <a:gd name="connsiteX4" fmla="*/ 354075 w 1400609"/>
                <a:gd name="connsiteY4" fmla="*/ 2518986 h 2518986"/>
                <a:gd name="connsiteX5" fmla="*/ 460554 w 1400609"/>
                <a:gd name="connsiteY5" fmla="*/ 812282 h 2518986"/>
                <a:gd name="connsiteX6" fmla="*/ 551821 w 1400609"/>
                <a:gd name="connsiteY6" fmla="*/ 1755380 h 2518986"/>
                <a:gd name="connsiteX7" fmla="*/ 1272835 w 1400609"/>
                <a:gd name="connsiteY7" fmla="*/ 2272563 h 2518986"/>
                <a:gd name="connsiteX8" fmla="*/ 1400610 w 1400609"/>
                <a:gd name="connsiteY8" fmla="*/ 2044394 h 2518986"/>
                <a:gd name="connsiteX9" fmla="*/ 883427 w 1400609"/>
                <a:gd name="connsiteY9" fmla="*/ 1654986 h 2518986"/>
                <a:gd name="connsiteX10" fmla="*/ 919934 w 1400609"/>
                <a:gd name="connsiteY10" fmla="*/ 416789 h 2518986"/>
                <a:gd name="connsiteX11" fmla="*/ 786075 w 1400609"/>
                <a:gd name="connsiteY11" fmla="*/ 0 h 2518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00609" h="2518986">
                  <a:moveTo>
                    <a:pt x="786075" y="0"/>
                  </a:moveTo>
                  <a:lnTo>
                    <a:pt x="119821" y="0"/>
                  </a:lnTo>
                  <a:cubicBezTo>
                    <a:pt x="119821" y="0"/>
                    <a:pt x="22469" y="304225"/>
                    <a:pt x="1173" y="459380"/>
                  </a:cubicBezTo>
                  <a:cubicBezTo>
                    <a:pt x="-17080" y="611493"/>
                    <a:pt x="183708" y="2494648"/>
                    <a:pt x="183708" y="2494648"/>
                  </a:cubicBezTo>
                  <a:lnTo>
                    <a:pt x="354075" y="2518986"/>
                  </a:lnTo>
                  <a:lnTo>
                    <a:pt x="460554" y="812282"/>
                  </a:lnTo>
                  <a:cubicBezTo>
                    <a:pt x="460554" y="812282"/>
                    <a:pt x="545736" y="1740169"/>
                    <a:pt x="551821" y="1755380"/>
                  </a:cubicBezTo>
                  <a:lnTo>
                    <a:pt x="1272835" y="2272563"/>
                  </a:lnTo>
                  <a:lnTo>
                    <a:pt x="1400610" y="2044394"/>
                  </a:lnTo>
                  <a:lnTo>
                    <a:pt x="883427" y="1654986"/>
                  </a:lnTo>
                  <a:cubicBezTo>
                    <a:pt x="883427" y="1654986"/>
                    <a:pt x="913849" y="480676"/>
                    <a:pt x="919934" y="416789"/>
                  </a:cubicBezTo>
                  <a:cubicBezTo>
                    <a:pt x="929061" y="295099"/>
                    <a:pt x="786075" y="0"/>
                    <a:pt x="786075" y="0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2" name="任意多边形: 形状 381">
              <a:extLst>
                <a:ext uri="{FF2B5EF4-FFF2-40B4-BE49-F238E27FC236}">
                  <a16:creationId xmlns:a16="http://schemas.microsoft.com/office/drawing/2014/main" id="{4D0ABF9F-F791-496D-8C27-99D45D05CF52}"/>
                </a:ext>
              </a:extLst>
            </p:cNvPr>
            <p:cNvSpPr/>
            <p:nvPr/>
          </p:nvSpPr>
          <p:spPr>
            <a:xfrm>
              <a:off x="7554004" y="4135606"/>
              <a:ext cx="54760" cy="428957"/>
            </a:xfrm>
            <a:custGeom>
              <a:avLst/>
              <a:gdLst>
                <a:gd name="connsiteX0" fmla="*/ 48676 w 54760"/>
                <a:gd name="connsiteY0" fmla="*/ 428958 h 428957"/>
                <a:gd name="connsiteX1" fmla="*/ 42591 w 54760"/>
                <a:gd name="connsiteY1" fmla="*/ 422873 h 428957"/>
                <a:gd name="connsiteX2" fmla="*/ 0 w 54760"/>
                <a:gd name="connsiteY2" fmla="*/ 6084 h 428957"/>
                <a:gd name="connsiteX3" fmla="*/ 6084 w 54760"/>
                <a:gd name="connsiteY3" fmla="*/ 0 h 428957"/>
                <a:gd name="connsiteX4" fmla="*/ 12169 w 54760"/>
                <a:gd name="connsiteY4" fmla="*/ 6084 h 428957"/>
                <a:gd name="connsiteX5" fmla="*/ 54761 w 54760"/>
                <a:gd name="connsiteY5" fmla="*/ 422873 h 428957"/>
                <a:gd name="connsiteX6" fmla="*/ 48676 w 54760"/>
                <a:gd name="connsiteY6" fmla="*/ 428958 h 428957"/>
                <a:gd name="connsiteX7" fmla="*/ 48676 w 54760"/>
                <a:gd name="connsiteY7" fmla="*/ 428958 h 428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60" h="428957">
                  <a:moveTo>
                    <a:pt x="48676" y="428958"/>
                  </a:moveTo>
                  <a:cubicBezTo>
                    <a:pt x="45634" y="428958"/>
                    <a:pt x="42591" y="425916"/>
                    <a:pt x="42591" y="422873"/>
                  </a:cubicBezTo>
                  <a:lnTo>
                    <a:pt x="0" y="6084"/>
                  </a:lnTo>
                  <a:cubicBezTo>
                    <a:pt x="0" y="3042"/>
                    <a:pt x="3042" y="0"/>
                    <a:pt x="6084" y="0"/>
                  </a:cubicBezTo>
                  <a:cubicBezTo>
                    <a:pt x="9127" y="0"/>
                    <a:pt x="12169" y="3042"/>
                    <a:pt x="12169" y="6084"/>
                  </a:cubicBezTo>
                  <a:lnTo>
                    <a:pt x="54761" y="422873"/>
                  </a:lnTo>
                  <a:cubicBezTo>
                    <a:pt x="54761" y="422873"/>
                    <a:pt x="51718" y="425916"/>
                    <a:pt x="48676" y="428958"/>
                  </a:cubicBezTo>
                  <a:cubicBezTo>
                    <a:pt x="48676" y="428958"/>
                    <a:pt x="48676" y="428958"/>
                    <a:pt x="48676" y="428958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3" name="任意多边形: 形状 382">
              <a:extLst>
                <a:ext uri="{FF2B5EF4-FFF2-40B4-BE49-F238E27FC236}">
                  <a16:creationId xmlns:a16="http://schemas.microsoft.com/office/drawing/2014/main" id="{77F896BA-E5CC-4890-9D8B-1A6BC0B9B73A}"/>
                </a:ext>
              </a:extLst>
            </p:cNvPr>
            <p:cNvSpPr/>
            <p:nvPr/>
          </p:nvSpPr>
          <p:spPr>
            <a:xfrm>
              <a:off x="7876483" y="3901353"/>
              <a:ext cx="180752" cy="188619"/>
            </a:xfrm>
            <a:custGeom>
              <a:avLst/>
              <a:gdLst>
                <a:gd name="connsiteX0" fmla="*/ 176450 w 180752"/>
                <a:gd name="connsiteY0" fmla="*/ 188620 h 188619"/>
                <a:gd name="connsiteX1" fmla="*/ 176450 w 180752"/>
                <a:gd name="connsiteY1" fmla="*/ 188620 h 188619"/>
                <a:gd name="connsiteX2" fmla="*/ 0 w 180752"/>
                <a:gd name="connsiteY2" fmla="*/ 6085 h 188619"/>
                <a:gd name="connsiteX3" fmla="*/ 3042 w 180752"/>
                <a:gd name="connsiteY3" fmla="*/ 0 h 188619"/>
                <a:gd name="connsiteX4" fmla="*/ 9126 w 180752"/>
                <a:gd name="connsiteY4" fmla="*/ 3042 h 188619"/>
                <a:gd name="connsiteX5" fmla="*/ 176450 w 180752"/>
                <a:gd name="connsiteY5" fmla="*/ 179493 h 188619"/>
                <a:gd name="connsiteX6" fmla="*/ 179493 w 180752"/>
                <a:gd name="connsiteY6" fmla="*/ 185577 h 188619"/>
                <a:gd name="connsiteX7" fmla="*/ 176450 w 180752"/>
                <a:gd name="connsiteY7" fmla="*/ 188620 h 188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752" h="188619">
                  <a:moveTo>
                    <a:pt x="176450" y="188620"/>
                  </a:moveTo>
                  <a:cubicBezTo>
                    <a:pt x="176450" y="188620"/>
                    <a:pt x="176450" y="188620"/>
                    <a:pt x="176450" y="188620"/>
                  </a:cubicBezTo>
                  <a:cubicBezTo>
                    <a:pt x="57803" y="155155"/>
                    <a:pt x="3042" y="12169"/>
                    <a:pt x="0" y="6085"/>
                  </a:cubicBezTo>
                  <a:cubicBezTo>
                    <a:pt x="0" y="3042"/>
                    <a:pt x="0" y="0"/>
                    <a:pt x="3042" y="0"/>
                  </a:cubicBezTo>
                  <a:cubicBezTo>
                    <a:pt x="6084" y="0"/>
                    <a:pt x="9126" y="0"/>
                    <a:pt x="9126" y="3042"/>
                  </a:cubicBezTo>
                  <a:cubicBezTo>
                    <a:pt x="9126" y="3042"/>
                    <a:pt x="63887" y="149070"/>
                    <a:pt x="176450" y="179493"/>
                  </a:cubicBezTo>
                  <a:cubicBezTo>
                    <a:pt x="179493" y="179493"/>
                    <a:pt x="182535" y="182535"/>
                    <a:pt x="179493" y="185577"/>
                  </a:cubicBezTo>
                  <a:cubicBezTo>
                    <a:pt x="182535" y="185577"/>
                    <a:pt x="179493" y="188620"/>
                    <a:pt x="176450" y="188620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4" name="任意多边形: 形状 383">
              <a:extLst>
                <a:ext uri="{FF2B5EF4-FFF2-40B4-BE49-F238E27FC236}">
                  <a16:creationId xmlns:a16="http://schemas.microsoft.com/office/drawing/2014/main" id="{66FC46BC-2664-469A-B93F-115250844C7E}"/>
                </a:ext>
              </a:extLst>
            </p:cNvPr>
            <p:cNvSpPr/>
            <p:nvPr/>
          </p:nvSpPr>
          <p:spPr>
            <a:xfrm>
              <a:off x="7158511" y="3901353"/>
              <a:ext cx="173408" cy="191662"/>
            </a:xfrm>
            <a:custGeom>
              <a:avLst/>
              <a:gdLst>
                <a:gd name="connsiteX0" fmla="*/ 6084 w 173408"/>
                <a:gd name="connsiteY0" fmla="*/ 191662 h 191662"/>
                <a:gd name="connsiteX1" fmla="*/ 0 w 173408"/>
                <a:gd name="connsiteY1" fmla="*/ 188620 h 191662"/>
                <a:gd name="connsiteX2" fmla="*/ 3042 w 173408"/>
                <a:gd name="connsiteY2" fmla="*/ 182535 h 191662"/>
                <a:gd name="connsiteX3" fmla="*/ 161240 w 173408"/>
                <a:gd name="connsiteY3" fmla="*/ 3042 h 191662"/>
                <a:gd name="connsiteX4" fmla="*/ 170366 w 173408"/>
                <a:gd name="connsiteY4" fmla="*/ 0 h 191662"/>
                <a:gd name="connsiteX5" fmla="*/ 173408 w 173408"/>
                <a:gd name="connsiteY5" fmla="*/ 9127 h 191662"/>
                <a:gd name="connsiteX6" fmla="*/ 6084 w 173408"/>
                <a:gd name="connsiteY6" fmla="*/ 191662 h 191662"/>
                <a:gd name="connsiteX7" fmla="*/ 6084 w 173408"/>
                <a:gd name="connsiteY7" fmla="*/ 191662 h 191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408" h="191662">
                  <a:moveTo>
                    <a:pt x="6084" y="191662"/>
                  </a:moveTo>
                  <a:cubicBezTo>
                    <a:pt x="3042" y="191662"/>
                    <a:pt x="3042" y="191662"/>
                    <a:pt x="0" y="188620"/>
                  </a:cubicBezTo>
                  <a:cubicBezTo>
                    <a:pt x="0" y="185577"/>
                    <a:pt x="0" y="182535"/>
                    <a:pt x="3042" y="182535"/>
                  </a:cubicBezTo>
                  <a:cubicBezTo>
                    <a:pt x="82141" y="152113"/>
                    <a:pt x="161240" y="3042"/>
                    <a:pt x="161240" y="3042"/>
                  </a:cubicBezTo>
                  <a:cubicBezTo>
                    <a:pt x="161240" y="0"/>
                    <a:pt x="167324" y="0"/>
                    <a:pt x="170366" y="0"/>
                  </a:cubicBezTo>
                  <a:cubicBezTo>
                    <a:pt x="173408" y="0"/>
                    <a:pt x="173408" y="6085"/>
                    <a:pt x="173408" y="9127"/>
                  </a:cubicBezTo>
                  <a:cubicBezTo>
                    <a:pt x="170366" y="12169"/>
                    <a:pt x="91268" y="158197"/>
                    <a:pt x="6084" y="191662"/>
                  </a:cubicBezTo>
                  <a:cubicBezTo>
                    <a:pt x="9127" y="191662"/>
                    <a:pt x="6084" y="191662"/>
                    <a:pt x="6084" y="191662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5" name="任意多边形: 形状 384">
              <a:extLst>
                <a:ext uri="{FF2B5EF4-FFF2-40B4-BE49-F238E27FC236}">
                  <a16:creationId xmlns:a16="http://schemas.microsoft.com/office/drawing/2014/main" id="{D11381E8-ABD8-4C9D-BB4F-F808D40EF302}"/>
                </a:ext>
              </a:extLst>
            </p:cNvPr>
            <p:cNvSpPr/>
            <p:nvPr/>
          </p:nvSpPr>
          <p:spPr>
            <a:xfrm>
              <a:off x="7159616" y="2789517"/>
              <a:ext cx="818823" cy="984150"/>
            </a:xfrm>
            <a:custGeom>
              <a:avLst/>
              <a:gdLst>
                <a:gd name="connsiteX0" fmla="*/ 774669 w 818823"/>
                <a:gd name="connsiteY0" fmla="*/ 390821 h 984150"/>
                <a:gd name="connsiteX1" fmla="*/ 759458 w 818823"/>
                <a:gd name="connsiteY1" fmla="*/ 68342 h 984150"/>
                <a:gd name="connsiteX2" fmla="*/ 391345 w 818823"/>
                <a:gd name="connsiteY2" fmla="*/ 4455 h 984150"/>
                <a:gd name="connsiteX3" fmla="*/ 90162 w 818823"/>
                <a:gd name="connsiteY3" fmla="*/ 104849 h 984150"/>
                <a:gd name="connsiteX4" fmla="*/ 50613 w 818823"/>
                <a:gd name="connsiteY4" fmla="*/ 652455 h 984150"/>
                <a:gd name="connsiteX5" fmla="*/ 93205 w 818823"/>
                <a:gd name="connsiteY5" fmla="*/ 977976 h 984150"/>
                <a:gd name="connsiteX6" fmla="*/ 768585 w 818823"/>
                <a:gd name="connsiteY6" fmla="*/ 962765 h 984150"/>
                <a:gd name="connsiteX7" fmla="*/ 774669 w 818823"/>
                <a:gd name="connsiteY7" fmla="*/ 390821 h 9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8823" h="984150">
                  <a:moveTo>
                    <a:pt x="774669" y="390821"/>
                  </a:moveTo>
                  <a:cubicBezTo>
                    <a:pt x="783796" y="360399"/>
                    <a:pt x="878106" y="132230"/>
                    <a:pt x="759458" y="68342"/>
                  </a:cubicBezTo>
                  <a:cubicBezTo>
                    <a:pt x="656022" y="13582"/>
                    <a:pt x="509993" y="-10756"/>
                    <a:pt x="391345" y="4455"/>
                  </a:cubicBezTo>
                  <a:cubicBezTo>
                    <a:pt x="260529" y="19666"/>
                    <a:pt x="129712" y="40962"/>
                    <a:pt x="90162" y="104849"/>
                  </a:cubicBezTo>
                  <a:cubicBezTo>
                    <a:pt x="-22401" y="290427"/>
                    <a:pt x="-22401" y="454709"/>
                    <a:pt x="50613" y="652455"/>
                  </a:cubicBezTo>
                  <a:cubicBezTo>
                    <a:pt x="71909" y="710258"/>
                    <a:pt x="77994" y="844117"/>
                    <a:pt x="93205" y="977976"/>
                  </a:cubicBezTo>
                  <a:cubicBezTo>
                    <a:pt x="93205" y="977976"/>
                    <a:pt x="376134" y="999272"/>
                    <a:pt x="768585" y="962765"/>
                  </a:cubicBezTo>
                  <a:cubicBezTo>
                    <a:pt x="738163" y="743723"/>
                    <a:pt x="765543" y="415159"/>
                    <a:pt x="774669" y="390821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6" name="任意多边形: 形状 385">
              <a:extLst>
                <a:ext uri="{FF2B5EF4-FFF2-40B4-BE49-F238E27FC236}">
                  <a16:creationId xmlns:a16="http://schemas.microsoft.com/office/drawing/2014/main" id="{FB193DEE-D1A4-4D33-B18D-40089BBAB981}"/>
                </a:ext>
              </a:extLst>
            </p:cNvPr>
            <p:cNvSpPr/>
            <p:nvPr/>
          </p:nvSpPr>
          <p:spPr>
            <a:xfrm>
              <a:off x="7441440" y="2614383"/>
              <a:ext cx="307267" cy="325617"/>
            </a:xfrm>
            <a:custGeom>
              <a:avLst/>
              <a:gdLst>
                <a:gd name="connsiteX0" fmla="*/ 54761 w 307267"/>
                <a:gd name="connsiteY0" fmla="*/ 60942 h 325617"/>
                <a:gd name="connsiteX1" fmla="*/ 0 w 307267"/>
                <a:gd name="connsiteY1" fmla="*/ 200885 h 325617"/>
                <a:gd name="connsiteX2" fmla="*/ 39549 w 307267"/>
                <a:gd name="connsiteY2" fmla="*/ 325618 h 325617"/>
                <a:gd name="connsiteX3" fmla="*/ 307267 w 307267"/>
                <a:gd name="connsiteY3" fmla="*/ 185674 h 325617"/>
                <a:gd name="connsiteX4" fmla="*/ 255549 w 307267"/>
                <a:gd name="connsiteY4" fmla="*/ 96 h 325617"/>
                <a:gd name="connsiteX5" fmla="*/ 54761 w 307267"/>
                <a:gd name="connsiteY5" fmla="*/ 60942 h 325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267" h="325617">
                  <a:moveTo>
                    <a:pt x="54761" y="60942"/>
                  </a:moveTo>
                  <a:cubicBezTo>
                    <a:pt x="54761" y="60942"/>
                    <a:pt x="60845" y="170463"/>
                    <a:pt x="0" y="200885"/>
                  </a:cubicBezTo>
                  <a:lnTo>
                    <a:pt x="39549" y="325618"/>
                  </a:lnTo>
                  <a:cubicBezTo>
                    <a:pt x="39549" y="325618"/>
                    <a:pt x="255549" y="216097"/>
                    <a:pt x="307267" y="185674"/>
                  </a:cubicBezTo>
                  <a:cubicBezTo>
                    <a:pt x="252507" y="143082"/>
                    <a:pt x="255549" y="60942"/>
                    <a:pt x="255549" y="96"/>
                  </a:cubicBezTo>
                  <a:cubicBezTo>
                    <a:pt x="255549" y="-2946"/>
                    <a:pt x="106479" y="67026"/>
                    <a:pt x="54761" y="60942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7" name="任意多边形: 形状 386">
              <a:extLst>
                <a:ext uri="{FF2B5EF4-FFF2-40B4-BE49-F238E27FC236}">
                  <a16:creationId xmlns:a16="http://schemas.microsoft.com/office/drawing/2014/main" id="{7D02117D-3A53-430F-91A7-4740ECDCDEB6}"/>
                </a:ext>
              </a:extLst>
            </p:cNvPr>
            <p:cNvSpPr/>
            <p:nvPr/>
          </p:nvSpPr>
          <p:spPr>
            <a:xfrm>
              <a:off x="7157686" y="2891325"/>
              <a:ext cx="101219" cy="556732"/>
            </a:xfrm>
            <a:custGeom>
              <a:avLst/>
              <a:gdLst>
                <a:gd name="connsiteX0" fmla="*/ 55586 w 101219"/>
                <a:gd name="connsiteY0" fmla="*/ 556732 h 556732"/>
                <a:gd name="connsiteX1" fmla="*/ 49501 w 101219"/>
                <a:gd name="connsiteY1" fmla="*/ 553690 h 556732"/>
                <a:gd name="connsiteX2" fmla="*/ 34290 w 101219"/>
                <a:gd name="connsiteY2" fmla="*/ 498930 h 556732"/>
                <a:gd name="connsiteX3" fmla="*/ 825 w 101219"/>
                <a:gd name="connsiteY3" fmla="*/ 346817 h 556732"/>
                <a:gd name="connsiteX4" fmla="*/ 89050 w 101219"/>
                <a:gd name="connsiteY4" fmla="*/ 3042 h 556732"/>
                <a:gd name="connsiteX5" fmla="*/ 98177 w 101219"/>
                <a:gd name="connsiteY5" fmla="*/ 0 h 556732"/>
                <a:gd name="connsiteX6" fmla="*/ 101220 w 101219"/>
                <a:gd name="connsiteY6" fmla="*/ 9127 h 556732"/>
                <a:gd name="connsiteX7" fmla="*/ 12994 w 101219"/>
                <a:gd name="connsiteY7" fmla="*/ 346817 h 556732"/>
                <a:gd name="connsiteX8" fmla="*/ 46459 w 101219"/>
                <a:gd name="connsiteY8" fmla="*/ 495887 h 556732"/>
                <a:gd name="connsiteX9" fmla="*/ 61670 w 101219"/>
                <a:gd name="connsiteY9" fmla="*/ 550648 h 556732"/>
                <a:gd name="connsiteX10" fmla="*/ 55586 w 101219"/>
                <a:gd name="connsiteY10" fmla="*/ 556732 h 556732"/>
                <a:gd name="connsiteX11" fmla="*/ 55586 w 101219"/>
                <a:gd name="connsiteY11" fmla="*/ 556732 h 556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219" h="556732">
                  <a:moveTo>
                    <a:pt x="55586" y="556732"/>
                  </a:moveTo>
                  <a:cubicBezTo>
                    <a:pt x="52543" y="556732"/>
                    <a:pt x="49501" y="553690"/>
                    <a:pt x="49501" y="553690"/>
                  </a:cubicBezTo>
                  <a:cubicBezTo>
                    <a:pt x="43417" y="535437"/>
                    <a:pt x="40375" y="517183"/>
                    <a:pt x="34290" y="498930"/>
                  </a:cubicBezTo>
                  <a:cubicBezTo>
                    <a:pt x="19079" y="447211"/>
                    <a:pt x="3868" y="395493"/>
                    <a:pt x="825" y="346817"/>
                  </a:cubicBezTo>
                  <a:cubicBezTo>
                    <a:pt x="-5259" y="222084"/>
                    <a:pt x="22121" y="106479"/>
                    <a:pt x="89050" y="3042"/>
                  </a:cubicBezTo>
                  <a:cubicBezTo>
                    <a:pt x="92093" y="0"/>
                    <a:pt x="95135" y="0"/>
                    <a:pt x="98177" y="0"/>
                  </a:cubicBezTo>
                  <a:cubicBezTo>
                    <a:pt x="101220" y="3042"/>
                    <a:pt x="101220" y="6084"/>
                    <a:pt x="101220" y="9127"/>
                  </a:cubicBezTo>
                  <a:cubicBezTo>
                    <a:pt x="37332" y="112563"/>
                    <a:pt x="6910" y="225127"/>
                    <a:pt x="12994" y="346817"/>
                  </a:cubicBezTo>
                  <a:cubicBezTo>
                    <a:pt x="16036" y="392451"/>
                    <a:pt x="31248" y="444169"/>
                    <a:pt x="46459" y="495887"/>
                  </a:cubicBezTo>
                  <a:cubicBezTo>
                    <a:pt x="52543" y="514141"/>
                    <a:pt x="58628" y="532394"/>
                    <a:pt x="61670" y="550648"/>
                  </a:cubicBezTo>
                  <a:cubicBezTo>
                    <a:pt x="61670" y="550648"/>
                    <a:pt x="61670" y="553690"/>
                    <a:pt x="55586" y="556732"/>
                  </a:cubicBezTo>
                  <a:cubicBezTo>
                    <a:pt x="58628" y="556732"/>
                    <a:pt x="55586" y="556732"/>
                    <a:pt x="55586" y="556732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8" name="任意多边形: 形状 387">
              <a:extLst>
                <a:ext uri="{FF2B5EF4-FFF2-40B4-BE49-F238E27FC236}">
                  <a16:creationId xmlns:a16="http://schemas.microsoft.com/office/drawing/2014/main" id="{4504961A-ADAB-4FEC-AF81-1E4F9AE02FBE}"/>
                </a:ext>
              </a:extLst>
            </p:cNvPr>
            <p:cNvSpPr/>
            <p:nvPr/>
          </p:nvSpPr>
          <p:spPr>
            <a:xfrm>
              <a:off x="7280201" y="3332645"/>
              <a:ext cx="399795" cy="36313"/>
            </a:xfrm>
            <a:custGeom>
              <a:avLst/>
              <a:gdLst>
                <a:gd name="connsiteX0" fmla="*/ 6084 w 399795"/>
                <a:gd name="connsiteY0" fmla="*/ 36313 h 36313"/>
                <a:gd name="connsiteX1" fmla="*/ 0 w 399795"/>
                <a:gd name="connsiteY1" fmla="*/ 33271 h 36313"/>
                <a:gd name="connsiteX2" fmla="*/ 3042 w 399795"/>
                <a:gd name="connsiteY2" fmla="*/ 27187 h 36313"/>
                <a:gd name="connsiteX3" fmla="*/ 395493 w 399795"/>
                <a:gd name="connsiteY3" fmla="*/ 15018 h 36313"/>
                <a:gd name="connsiteX4" fmla="*/ 398535 w 399795"/>
                <a:gd name="connsiteY4" fmla="*/ 21102 h 36313"/>
                <a:gd name="connsiteX5" fmla="*/ 392451 w 399795"/>
                <a:gd name="connsiteY5" fmla="*/ 24144 h 36313"/>
                <a:gd name="connsiteX6" fmla="*/ 6084 w 399795"/>
                <a:gd name="connsiteY6" fmla="*/ 36313 h 36313"/>
                <a:gd name="connsiteX7" fmla="*/ 6084 w 399795"/>
                <a:gd name="connsiteY7" fmla="*/ 36313 h 3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9795" h="36313">
                  <a:moveTo>
                    <a:pt x="6084" y="36313"/>
                  </a:moveTo>
                  <a:cubicBezTo>
                    <a:pt x="3042" y="36313"/>
                    <a:pt x="3042" y="36313"/>
                    <a:pt x="0" y="33271"/>
                  </a:cubicBezTo>
                  <a:cubicBezTo>
                    <a:pt x="0" y="30229"/>
                    <a:pt x="0" y="27187"/>
                    <a:pt x="3042" y="27187"/>
                  </a:cubicBezTo>
                  <a:cubicBezTo>
                    <a:pt x="88225" y="-3236"/>
                    <a:pt x="295099" y="-9320"/>
                    <a:pt x="395493" y="15018"/>
                  </a:cubicBezTo>
                  <a:cubicBezTo>
                    <a:pt x="398535" y="15018"/>
                    <a:pt x="401577" y="18060"/>
                    <a:pt x="398535" y="21102"/>
                  </a:cubicBezTo>
                  <a:cubicBezTo>
                    <a:pt x="398535" y="24144"/>
                    <a:pt x="395493" y="27187"/>
                    <a:pt x="392451" y="24144"/>
                  </a:cubicBezTo>
                  <a:cubicBezTo>
                    <a:pt x="295099" y="-194"/>
                    <a:pt x="91268" y="5891"/>
                    <a:pt x="6084" y="36313"/>
                  </a:cubicBezTo>
                  <a:cubicBezTo>
                    <a:pt x="6084" y="36313"/>
                    <a:pt x="6084" y="36313"/>
                    <a:pt x="6084" y="36313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9" name="任意多边形: 形状 388">
              <a:extLst>
                <a:ext uri="{FF2B5EF4-FFF2-40B4-BE49-F238E27FC236}">
                  <a16:creationId xmlns:a16="http://schemas.microsoft.com/office/drawing/2014/main" id="{F0EF2D6F-050A-413D-9CC6-4AC2FADAEDA9}"/>
                </a:ext>
              </a:extLst>
            </p:cNvPr>
            <p:cNvSpPr/>
            <p:nvPr/>
          </p:nvSpPr>
          <p:spPr>
            <a:xfrm>
              <a:off x="7252821" y="3740113"/>
              <a:ext cx="313351" cy="30422"/>
            </a:xfrm>
            <a:custGeom>
              <a:avLst/>
              <a:gdLst>
                <a:gd name="connsiteX0" fmla="*/ 6084 w 313351"/>
                <a:gd name="connsiteY0" fmla="*/ 30423 h 30422"/>
                <a:gd name="connsiteX1" fmla="*/ 0 w 313351"/>
                <a:gd name="connsiteY1" fmla="*/ 24338 h 30422"/>
                <a:gd name="connsiteX2" fmla="*/ 6084 w 313351"/>
                <a:gd name="connsiteY2" fmla="*/ 18253 h 30422"/>
                <a:gd name="connsiteX3" fmla="*/ 307267 w 313351"/>
                <a:gd name="connsiteY3" fmla="*/ 0 h 30422"/>
                <a:gd name="connsiteX4" fmla="*/ 313352 w 313351"/>
                <a:gd name="connsiteY4" fmla="*/ 3042 h 30422"/>
                <a:gd name="connsiteX5" fmla="*/ 310310 w 313351"/>
                <a:gd name="connsiteY5" fmla="*/ 9127 h 30422"/>
                <a:gd name="connsiteX6" fmla="*/ 6084 w 313351"/>
                <a:gd name="connsiteY6" fmla="*/ 30423 h 30422"/>
                <a:gd name="connsiteX7" fmla="*/ 6084 w 313351"/>
                <a:gd name="connsiteY7" fmla="*/ 30423 h 30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3351" h="30422">
                  <a:moveTo>
                    <a:pt x="6084" y="30423"/>
                  </a:moveTo>
                  <a:cubicBezTo>
                    <a:pt x="3042" y="30423"/>
                    <a:pt x="0" y="27380"/>
                    <a:pt x="0" y="24338"/>
                  </a:cubicBezTo>
                  <a:cubicBezTo>
                    <a:pt x="0" y="21296"/>
                    <a:pt x="3042" y="18253"/>
                    <a:pt x="6084" y="18253"/>
                  </a:cubicBezTo>
                  <a:cubicBezTo>
                    <a:pt x="9126" y="18253"/>
                    <a:pt x="216000" y="15211"/>
                    <a:pt x="307267" y="0"/>
                  </a:cubicBezTo>
                  <a:cubicBezTo>
                    <a:pt x="310310" y="0"/>
                    <a:pt x="313352" y="0"/>
                    <a:pt x="313352" y="3042"/>
                  </a:cubicBezTo>
                  <a:cubicBezTo>
                    <a:pt x="313352" y="6084"/>
                    <a:pt x="313352" y="9127"/>
                    <a:pt x="310310" y="9127"/>
                  </a:cubicBezTo>
                  <a:cubicBezTo>
                    <a:pt x="212958" y="30423"/>
                    <a:pt x="6084" y="30423"/>
                    <a:pt x="6084" y="30423"/>
                  </a:cubicBezTo>
                  <a:lnTo>
                    <a:pt x="6084" y="30423"/>
                  </a:ln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0" name="任意多边形: 形状 389">
              <a:extLst>
                <a:ext uri="{FF2B5EF4-FFF2-40B4-BE49-F238E27FC236}">
                  <a16:creationId xmlns:a16="http://schemas.microsoft.com/office/drawing/2014/main" id="{768CA42C-F6FB-4797-9B15-BD2B73F98347}"/>
                </a:ext>
              </a:extLst>
            </p:cNvPr>
            <p:cNvSpPr/>
            <p:nvPr/>
          </p:nvSpPr>
          <p:spPr>
            <a:xfrm>
              <a:off x="7545907" y="2784846"/>
              <a:ext cx="1242207" cy="2605988"/>
            </a:xfrm>
            <a:custGeom>
              <a:avLst/>
              <a:gdLst>
                <a:gd name="connsiteX0" fmla="*/ 23308 w 1242207"/>
                <a:gd name="connsiteY0" fmla="*/ 307268 h 2605988"/>
                <a:gd name="connsiteX1" fmla="*/ 75026 w 1242207"/>
                <a:gd name="connsiteY1" fmla="*/ 1034366 h 2605988"/>
                <a:gd name="connsiteX2" fmla="*/ 224097 w 1242207"/>
                <a:gd name="connsiteY2" fmla="*/ 1606310 h 2605988"/>
                <a:gd name="connsiteX3" fmla="*/ 452266 w 1242207"/>
                <a:gd name="connsiteY3" fmla="*/ 2083944 h 2605988"/>
                <a:gd name="connsiteX4" fmla="*/ 452266 w 1242207"/>
                <a:gd name="connsiteY4" fmla="*/ 2083944 h 2605988"/>
                <a:gd name="connsiteX5" fmla="*/ 689561 w 1242207"/>
                <a:gd name="connsiteY5" fmla="*/ 2598085 h 2605988"/>
                <a:gd name="connsiteX6" fmla="*/ 710857 w 1242207"/>
                <a:gd name="connsiteY6" fmla="*/ 2604169 h 2605988"/>
                <a:gd name="connsiteX7" fmla="*/ 1212829 w 1242207"/>
                <a:gd name="connsiteY7" fmla="*/ 2509859 h 2605988"/>
                <a:gd name="connsiteX8" fmla="*/ 1240209 w 1242207"/>
                <a:gd name="connsiteY8" fmla="*/ 2506817 h 2605988"/>
                <a:gd name="connsiteX9" fmla="*/ 1237167 w 1242207"/>
                <a:gd name="connsiteY9" fmla="*/ 2485521 h 2605988"/>
                <a:gd name="connsiteX10" fmla="*/ 993787 w 1242207"/>
                <a:gd name="connsiteY10" fmla="*/ 1813183 h 2605988"/>
                <a:gd name="connsiteX11" fmla="*/ 573956 w 1242207"/>
                <a:gd name="connsiteY11" fmla="*/ 1268620 h 2605988"/>
                <a:gd name="connsiteX12" fmla="*/ 446181 w 1242207"/>
                <a:gd name="connsiteY12" fmla="*/ 857915 h 2605988"/>
                <a:gd name="connsiteX13" fmla="*/ 446181 w 1242207"/>
                <a:gd name="connsiteY13" fmla="*/ 389408 h 2605988"/>
                <a:gd name="connsiteX14" fmla="*/ 446181 w 1242207"/>
                <a:gd name="connsiteY14" fmla="*/ 118648 h 2605988"/>
                <a:gd name="connsiteX15" fmla="*/ 184547 w 1242207"/>
                <a:gd name="connsiteY15" fmla="*/ 0 h 2605988"/>
                <a:gd name="connsiteX16" fmla="*/ 23308 w 1242207"/>
                <a:gd name="connsiteY16" fmla="*/ 307268 h 2605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42207" h="2605988">
                  <a:moveTo>
                    <a:pt x="23308" y="307268"/>
                  </a:moveTo>
                  <a:cubicBezTo>
                    <a:pt x="-37537" y="541521"/>
                    <a:pt x="35477" y="790986"/>
                    <a:pt x="75026" y="1034366"/>
                  </a:cubicBezTo>
                  <a:cubicBezTo>
                    <a:pt x="108491" y="1229071"/>
                    <a:pt x="154125" y="1423775"/>
                    <a:pt x="224097" y="1606310"/>
                  </a:cubicBezTo>
                  <a:cubicBezTo>
                    <a:pt x="287984" y="1770592"/>
                    <a:pt x="367083" y="1928789"/>
                    <a:pt x="452266" y="2083944"/>
                  </a:cubicBezTo>
                  <a:cubicBezTo>
                    <a:pt x="452266" y="2083944"/>
                    <a:pt x="452266" y="2083944"/>
                    <a:pt x="452266" y="2083944"/>
                  </a:cubicBezTo>
                  <a:cubicBezTo>
                    <a:pt x="522237" y="2260394"/>
                    <a:pt x="601336" y="2430761"/>
                    <a:pt x="689561" y="2598085"/>
                  </a:cubicBezTo>
                  <a:cubicBezTo>
                    <a:pt x="692604" y="2607211"/>
                    <a:pt x="701731" y="2607211"/>
                    <a:pt x="710857" y="2604169"/>
                  </a:cubicBezTo>
                  <a:cubicBezTo>
                    <a:pt x="869054" y="2525071"/>
                    <a:pt x="1039420" y="2494648"/>
                    <a:pt x="1212829" y="2509859"/>
                  </a:cubicBezTo>
                  <a:cubicBezTo>
                    <a:pt x="1215871" y="2525071"/>
                    <a:pt x="1237167" y="2518986"/>
                    <a:pt x="1240209" y="2506817"/>
                  </a:cubicBezTo>
                  <a:cubicBezTo>
                    <a:pt x="1243252" y="2500732"/>
                    <a:pt x="1243252" y="2491606"/>
                    <a:pt x="1237167" y="2485521"/>
                  </a:cubicBezTo>
                  <a:cubicBezTo>
                    <a:pt x="1197618" y="2242141"/>
                    <a:pt x="1145899" y="2013972"/>
                    <a:pt x="993787" y="1813183"/>
                  </a:cubicBezTo>
                  <a:cubicBezTo>
                    <a:pt x="856885" y="1630648"/>
                    <a:pt x="674350" y="1478535"/>
                    <a:pt x="573956" y="1268620"/>
                  </a:cubicBezTo>
                  <a:cubicBezTo>
                    <a:pt x="513111" y="1140845"/>
                    <a:pt x="473561" y="997859"/>
                    <a:pt x="446181" y="857915"/>
                  </a:cubicBezTo>
                  <a:cubicBezTo>
                    <a:pt x="415758" y="702761"/>
                    <a:pt x="406632" y="544563"/>
                    <a:pt x="446181" y="389408"/>
                  </a:cubicBezTo>
                  <a:cubicBezTo>
                    <a:pt x="470519" y="298141"/>
                    <a:pt x="507026" y="203831"/>
                    <a:pt x="446181" y="118648"/>
                  </a:cubicBezTo>
                  <a:cubicBezTo>
                    <a:pt x="394463" y="48676"/>
                    <a:pt x="263646" y="12169"/>
                    <a:pt x="184547" y="0"/>
                  </a:cubicBezTo>
                  <a:cubicBezTo>
                    <a:pt x="184547" y="3042"/>
                    <a:pt x="50688" y="206873"/>
                    <a:pt x="23308" y="307268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1" name="任意多边形: 形状 390">
              <a:extLst>
                <a:ext uri="{FF2B5EF4-FFF2-40B4-BE49-F238E27FC236}">
                  <a16:creationId xmlns:a16="http://schemas.microsoft.com/office/drawing/2014/main" id="{D2ED8804-3219-434C-BD13-F7240A51EC86}"/>
                </a:ext>
              </a:extLst>
            </p:cNvPr>
            <p:cNvSpPr/>
            <p:nvPr/>
          </p:nvSpPr>
          <p:spPr>
            <a:xfrm>
              <a:off x="7903863" y="3603212"/>
              <a:ext cx="543802" cy="943098"/>
            </a:xfrm>
            <a:custGeom>
              <a:avLst/>
              <a:gdLst>
                <a:gd name="connsiteX0" fmla="*/ 535437 w 543802"/>
                <a:gd name="connsiteY0" fmla="*/ 943099 h 943098"/>
                <a:gd name="connsiteX1" fmla="*/ 532394 w 543802"/>
                <a:gd name="connsiteY1" fmla="*/ 940056 h 943098"/>
                <a:gd name="connsiteX2" fmla="*/ 200789 w 543802"/>
                <a:gd name="connsiteY2" fmla="*/ 416789 h 943098"/>
                <a:gd name="connsiteX3" fmla="*/ 0 w 543802"/>
                <a:gd name="connsiteY3" fmla="*/ 6085 h 943098"/>
                <a:gd name="connsiteX4" fmla="*/ 3042 w 543802"/>
                <a:gd name="connsiteY4" fmla="*/ 0 h 943098"/>
                <a:gd name="connsiteX5" fmla="*/ 9127 w 543802"/>
                <a:gd name="connsiteY5" fmla="*/ 3042 h 943098"/>
                <a:gd name="connsiteX6" fmla="*/ 209915 w 543802"/>
                <a:gd name="connsiteY6" fmla="*/ 413747 h 943098"/>
                <a:gd name="connsiteX7" fmla="*/ 541521 w 543802"/>
                <a:gd name="connsiteY7" fmla="*/ 933972 h 943098"/>
                <a:gd name="connsiteX8" fmla="*/ 541521 w 543802"/>
                <a:gd name="connsiteY8" fmla="*/ 943099 h 943098"/>
                <a:gd name="connsiteX9" fmla="*/ 535437 w 543802"/>
                <a:gd name="connsiteY9" fmla="*/ 943099 h 943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3802" h="943098">
                  <a:moveTo>
                    <a:pt x="535437" y="943099"/>
                  </a:moveTo>
                  <a:cubicBezTo>
                    <a:pt x="532394" y="943099"/>
                    <a:pt x="532394" y="943099"/>
                    <a:pt x="532394" y="940056"/>
                  </a:cubicBezTo>
                  <a:cubicBezTo>
                    <a:pt x="438084" y="824451"/>
                    <a:pt x="200789" y="419831"/>
                    <a:pt x="200789" y="416789"/>
                  </a:cubicBezTo>
                  <a:lnTo>
                    <a:pt x="0" y="6085"/>
                  </a:lnTo>
                  <a:cubicBezTo>
                    <a:pt x="0" y="3042"/>
                    <a:pt x="0" y="0"/>
                    <a:pt x="3042" y="0"/>
                  </a:cubicBezTo>
                  <a:cubicBezTo>
                    <a:pt x="6084" y="0"/>
                    <a:pt x="9127" y="0"/>
                    <a:pt x="9127" y="3042"/>
                  </a:cubicBezTo>
                  <a:lnTo>
                    <a:pt x="209915" y="413747"/>
                  </a:lnTo>
                  <a:cubicBezTo>
                    <a:pt x="212958" y="416789"/>
                    <a:pt x="447211" y="818366"/>
                    <a:pt x="541521" y="933972"/>
                  </a:cubicBezTo>
                  <a:cubicBezTo>
                    <a:pt x="544563" y="937014"/>
                    <a:pt x="544563" y="940056"/>
                    <a:pt x="541521" y="943099"/>
                  </a:cubicBezTo>
                  <a:cubicBezTo>
                    <a:pt x="538479" y="943099"/>
                    <a:pt x="538479" y="943099"/>
                    <a:pt x="535437" y="943099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2" name="任意多边形: 形状 391">
              <a:extLst>
                <a:ext uri="{FF2B5EF4-FFF2-40B4-BE49-F238E27FC236}">
                  <a16:creationId xmlns:a16="http://schemas.microsoft.com/office/drawing/2014/main" id="{ECC73AC1-0662-4C91-8DDA-4DDDE9A88850}"/>
                </a:ext>
              </a:extLst>
            </p:cNvPr>
            <p:cNvSpPr/>
            <p:nvPr/>
          </p:nvSpPr>
          <p:spPr>
            <a:xfrm>
              <a:off x="7121742" y="2800057"/>
              <a:ext cx="344036" cy="1453551"/>
            </a:xfrm>
            <a:custGeom>
              <a:avLst/>
              <a:gdLst>
                <a:gd name="connsiteX0" fmla="*/ 262 w 344036"/>
                <a:gd name="connsiteY0" fmla="*/ 1438986 h 1453551"/>
                <a:gd name="connsiteX1" fmla="*/ 27642 w 344036"/>
                <a:gd name="connsiteY1" fmla="*/ 1445070 h 1453551"/>
                <a:gd name="connsiteX2" fmla="*/ 30685 w 344036"/>
                <a:gd name="connsiteY2" fmla="*/ 1438986 h 1453551"/>
                <a:gd name="connsiteX3" fmla="*/ 131079 w 344036"/>
                <a:gd name="connsiteY3" fmla="*/ 1076958 h 1453551"/>
                <a:gd name="connsiteX4" fmla="*/ 149332 w 344036"/>
                <a:gd name="connsiteY4" fmla="*/ 733183 h 1453551"/>
                <a:gd name="connsiteX5" fmla="*/ 319699 w 344036"/>
                <a:gd name="connsiteY5" fmla="*/ 18253 h 1453551"/>
                <a:gd name="connsiteX6" fmla="*/ 344037 w 344036"/>
                <a:gd name="connsiteY6" fmla="*/ 0 h 1453551"/>
                <a:gd name="connsiteX7" fmla="*/ 12431 w 344036"/>
                <a:gd name="connsiteY7" fmla="*/ 489803 h 1453551"/>
                <a:gd name="connsiteX8" fmla="*/ 42853 w 344036"/>
                <a:gd name="connsiteY8" fmla="*/ 721014 h 1453551"/>
                <a:gd name="connsiteX9" fmla="*/ 39811 w 344036"/>
                <a:gd name="connsiteY9" fmla="*/ 952225 h 1453551"/>
                <a:gd name="connsiteX10" fmla="*/ 262 w 344036"/>
                <a:gd name="connsiteY10" fmla="*/ 1438986 h 1453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4036" h="1453551">
                  <a:moveTo>
                    <a:pt x="262" y="1438986"/>
                  </a:moveTo>
                  <a:cubicBezTo>
                    <a:pt x="-2780" y="1457240"/>
                    <a:pt x="21558" y="1457240"/>
                    <a:pt x="27642" y="1445070"/>
                  </a:cubicBezTo>
                  <a:cubicBezTo>
                    <a:pt x="30685" y="1442028"/>
                    <a:pt x="30685" y="1442028"/>
                    <a:pt x="30685" y="1438986"/>
                  </a:cubicBezTo>
                  <a:cubicBezTo>
                    <a:pt x="48938" y="1308169"/>
                    <a:pt x="85445" y="1198648"/>
                    <a:pt x="131079" y="1076958"/>
                  </a:cubicBezTo>
                  <a:cubicBezTo>
                    <a:pt x="170628" y="964394"/>
                    <a:pt x="161502" y="851831"/>
                    <a:pt x="149332" y="733183"/>
                  </a:cubicBezTo>
                  <a:cubicBezTo>
                    <a:pt x="121952" y="477634"/>
                    <a:pt x="161502" y="228169"/>
                    <a:pt x="319699" y="18253"/>
                  </a:cubicBezTo>
                  <a:cubicBezTo>
                    <a:pt x="322741" y="15211"/>
                    <a:pt x="331867" y="15211"/>
                    <a:pt x="344037" y="0"/>
                  </a:cubicBezTo>
                  <a:cubicBezTo>
                    <a:pt x="88487" y="6084"/>
                    <a:pt x="-11907" y="279887"/>
                    <a:pt x="12431" y="489803"/>
                  </a:cubicBezTo>
                  <a:cubicBezTo>
                    <a:pt x="21558" y="568901"/>
                    <a:pt x="39811" y="641915"/>
                    <a:pt x="42853" y="721014"/>
                  </a:cubicBezTo>
                  <a:cubicBezTo>
                    <a:pt x="45896" y="797070"/>
                    <a:pt x="42853" y="876169"/>
                    <a:pt x="39811" y="952225"/>
                  </a:cubicBezTo>
                  <a:cubicBezTo>
                    <a:pt x="33726" y="1113465"/>
                    <a:pt x="18515" y="1274704"/>
                    <a:pt x="262" y="1438986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3" name="任意多边形: 形状 392">
              <a:extLst>
                <a:ext uri="{FF2B5EF4-FFF2-40B4-BE49-F238E27FC236}">
                  <a16:creationId xmlns:a16="http://schemas.microsoft.com/office/drawing/2014/main" id="{C426DAC5-695D-47D9-A419-146C44A1772E}"/>
                </a:ext>
              </a:extLst>
            </p:cNvPr>
            <p:cNvSpPr/>
            <p:nvPr/>
          </p:nvSpPr>
          <p:spPr>
            <a:xfrm>
              <a:off x="8210157" y="4111268"/>
              <a:ext cx="70458" cy="189612"/>
            </a:xfrm>
            <a:custGeom>
              <a:avLst/>
              <a:gdLst>
                <a:gd name="connsiteX0" fmla="*/ 58776 w 70458"/>
                <a:gd name="connsiteY0" fmla="*/ 0 h 189612"/>
                <a:gd name="connsiteX1" fmla="*/ 974 w 70458"/>
                <a:gd name="connsiteY1" fmla="*/ 109521 h 189612"/>
                <a:gd name="connsiteX2" fmla="*/ 13142 w 70458"/>
                <a:gd name="connsiteY2" fmla="*/ 188620 h 189612"/>
                <a:gd name="connsiteX3" fmla="*/ 67903 w 70458"/>
                <a:gd name="connsiteY3" fmla="*/ 82141 h 189612"/>
                <a:gd name="connsiteX4" fmla="*/ 58776 w 70458"/>
                <a:gd name="connsiteY4" fmla="*/ 0 h 189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458" h="189612">
                  <a:moveTo>
                    <a:pt x="58776" y="0"/>
                  </a:moveTo>
                  <a:cubicBezTo>
                    <a:pt x="58776" y="0"/>
                    <a:pt x="974" y="79099"/>
                    <a:pt x="974" y="109521"/>
                  </a:cubicBezTo>
                  <a:cubicBezTo>
                    <a:pt x="974" y="139944"/>
                    <a:pt x="-5111" y="182535"/>
                    <a:pt x="13142" y="188620"/>
                  </a:cubicBezTo>
                  <a:cubicBezTo>
                    <a:pt x="52692" y="200789"/>
                    <a:pt x="34438" y="97352"/>
                    <a:pt x="67903" y="82141"/>
                  </a:cubicBezTo>
                  <a:cubicBezTo>
                    <a:pt x="77030" y="79099"/>
                    <a:pt x="58776" y="0"/>
                    <a:pt x="58776" y="0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4" name="任意多边形: 形状 393">
              <a:extLst>
                <a:ext uri="{FF2B5EF4-FFF2-40B4-BE49-F238E27FC236}">
                  <a16:creationId xmlns:a16="http://schemas.microsoft.com/office/drawing/2014/main" id="{2F0E8358-FFB5-433A-A102-BA095B31BC43}"/>
                </a:ext>
              </a:extLst>
            </p:cNvPr>
            <p:cNvSpPr/>
            <p:nvPr/>
          </p:nvSpPr>
          <p:spPr>
            <a:xfrm>
              <a:off x="7120465" y="2979550"/>
              <a:ext cx="65426" cy="751436"/>
            </a:xfrm>
            <a:custGeom>
              <a:avLst/>
              <a:gdLst>
                <a:gd name="connsiteX0" fmla="*/ 41089 w 65426"/>
                <a:gd name="connsiteY0" fmla="*/ 751437 h 751436"/>
                <a:gd name="connsiteX1" fmla="*/ 41089 w 65426"/>
                <a:gd name="connsiteY1" fmla="*/ 751437 h 751436"/>
                <a:gd name="connsiteX2" fmla="*/ 35004 w 65426"/>
                <a:gd name="connsiteY2" fmla="*/ 745352 h 751436"/>
                <a:gd name="connsiteX3" fmla="*/ 10666 w 65426"/>
                <a:gd name="connsiteY3" fmla="*/ 328563 h 751436"/>
                <a:gd name="connsiteX4" fmla="*/ 1539 w 65426"/>
                <a:gd name="connsiteY4" fmla="*/ 264676 h 751436"/>
                <a:gd name="connsiteX5" fmla="*/ 56300 w 65426"/>
                <a:gd name="connsiteY5" fmla="*/ 3042 h 751436"/>
                <a:gd name="connsiteX6" fmla="*/ 62384 w 65426"/>
                <a:gd name="connsiteY6" fmla="*/ 0 h 751436"/>
                <a:gd name="connsiteX7" fmla="*/ 65426 w 65426"/>
                <a:gd name="connsiteY7" fmla="*/ 6085 h 751436"/>
                <a:gd name="connsiteX8" fmla="*/ 10666 w 65426"/>
                <a:gd name="connsiteY8" fmla="*/ 261634 h 751436"/>
                <a:gd name="connsiteX9" fmla="*/ 19793 w 65426"/>
                <a:gd name="connsiteY9" fmla="*/ 325521 h 751436"/>
                <a:gd name="connsiteX10" fmla="*/ 44131 w 65426"/>
                <a:gd name="connsiteY10" fmla="*/ 745352 h 751436"/>
                <a:gd name="connsiteX11" fmla="*/ 41089 w 65426"/>
                <a:gd name="connsiteY11" fmla="*/ 751437 h 75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5426" h="751436">
                  <a:moveTo>
                    <a:pt x="41089" y="751437"/>
                  </a:moveTo>
                  <a:cubicBezTo>
                    <a:pt x="41089" y="751437"/>
                    <a:pt x="41089" y="751437"/>
                    <a:pt x="41089" y="751437"/>
                  </a:cubicBezTo>
                  <a:cubicBezTo>
                    <a:pt x="38046" y="751437"/>
                    <a:pt x="35004" y="748394"/>
                    <a:pt x="35004" y="745352"/>
                  </a:cubicBezTo>
                  <a:cubicBezTo>
                    <a:pt x="47173" y="626704"/>
                    <a:pt x="25877" y="447211"/>
                    <a:pt x="10666" y="328563"/>
                  </a:cubicBezTo>
                  <a:cubicBezTo>
                    <a:pt x="7624" y="304225"/>
                    <a:pt x="4581" y="282930"/>
                    <a:pt x="1539" y="264676"/>
                  </a:cubicBezTo>
                  <a:cubicBezTo>
                    <a:pt x="-10630" y="158197"/>
                    <a:pt x="53258" y="9127"/>
                    <a:pt x="56300" y="3042"/>
                  </a:cubicBezTo>
                  <a:cubicBezTo>
                    <a:pt x="56300" y="0"/>
                    <a:pt x="59342" y="0"/>
                    <a:pt x="62384" y="0"/>
                  </a:cubicBezTo>
                  <a:cubicBezTo>
                    <a:pt x="65426" y="0"/>
                    <a:pt x="65426" y="3042"/>
                    <a:pt x="65426" y="6085"/>
                  </a:cubicBezTo>
                  <a:cubicBezTo>
                    <a:pt x="65426" y="6085"/>
                    <a:pt x="-1503" y="158197"/>
                    <a:pt x="10666" y="261634"/>
                  </a:cubicBezTo>
                  <a:cubicBezTo>
                    <a:pt x="13708" y="279887"/>
                    <a:pt x="16751" y="301183"/>
                    <a:pt x="19793" y="325521"/>
                  </a:cubicBezTo>
                  <a:cubicBezTo>
                    <a:pt x="35004" y="444169"/>
                    <a:pt x="59342" y="623662"/>
                    <a:pt x="44131" y="745352"/>
                  </a:cubicBezTo>
                  <a:cubicBezTo>
                    <a:pt x="47173" y="748394"/>
                    <a:pt x="44131" y="751437"/>
                    <a:pt x="41089" y="751437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5" name="任意多边形: 形状 394">
              <a:extLst>
                <a:ext uri="{FF2B5EF4-FFF2-40B4-BE49-F238E27FC236}">
                  <a16:creationId xmlns:a16="http://schemas.microsoft.com/office/drawing/2014/main" id="{1C6921E3-EE4E-444B-963B-3A6619C0BC99}"/>
                </a:ext>
              </a:extLst>
            </p:cNvPr>
            <p:cNvSpPr/>
            <p:nvPr/>
          </p:nvSpPr>
          <p:spPr>
            <a:xfrm>
              <a:off x="7381775" y="2151169"/>
              <a:ext cx="421693" cy="567066"/>
            </a:xfrm>
            <a:custGeom>
              <a:avLst/>
              <a:gdLst>
                <a:gd name="connsiteX0" fmla="*/ 7947 w 421693"/>
                <a:gd name="connsiteY0" fmla="*/ 183423 h 567066"/>
                <a:gd name="connsiteX1" fmla="*/ 20116 w 421693"/>
                <a:gd name="connsiteY1" fmla="*/ 438972 h 567066"/>
                <a:gd name="connsiteX2" fmla="*/ 169186 w 421693"/>
                <a:gd name="connsiteY2" fmla="*/ 566747 h 567066"/>
                <a:gd name="connsiteX3" fmla="*/ 385186 w 421693"/>
                <a:gd name="connsiteY3" fmla="*/ 423761 h 567066"/>
                <a:gd name="connsiteX4" fmla="*/ 421693 w 421693"/>
                <a:gd name="connsiteY4" fmla="*/ 198634 h 567066"/>
                <a:gd name="connsiteX5" fmla="*/ 208736 w 421693"/>
                <a:gd name="connsiteY5" fmla="*/ 888 h 567066"/>
                <a:gd name="connsiteX6" fmla="*/ 7947 w 421693"/>
                <a:gd name="connsiteY6" fmla="*/ 183423 h 567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693" h="567066">
                  <a:moveTo>
                    <a:pt x="7947" y="183423"/>
                  </a:moveTo>
                  <a:cubicBezTo>
                    <a:pt x="7947" y="183423"/>
                    <a:pt x="-16391" y="372043"/>
                    <a:pt x="20116" y="438972"/>
                  </a:cubicBezTo>
                  <a:cubicBezTo>
                    <a:pt x="56623" y="505902"/>
                    <a:pt x="117468" y="563705"/>
                    <a:pt x="169186" y="566747"/>
                  </a:cubicBezTo>
                  <a:cubicBezTo>
                    <a:pt x="236116" y="572832"/>
                    <a:pt x="348680" y="490691"/>
                    <a:pt x="385186" y="423761"/>
                  </a:cubicBezTo>
                  <a:cubicBezTo>
                    <a:pt x="421693" y="356831"/>
                    <a:pt x="421693" y="250353"/>
                    <a:pt x="421693" y="198634"/>
                  </a:cubicBezTo>
                  <a:cubicBezTo>
                    <a:pt x="418651" y="104324"/>
                    <a:pt x="394313" y="25226"/>
                    <a:pt x="208736" y="888"/>
                  </a:cubicBezTo>
                  <a:cubicBezTo>
                    <a:pt x="120510" y="-11281"/>
                    <a:pt x="26200" y="104324"/>
                    <a:pt x="7947" y="183423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6" name="任意多边形: 形状 395">
              <a:extLst>
                <a:ext uri="{FF2B5EF4-FFF2-40B4-BE49-F238E27FC236}">
                  <a16:creationId xmlns:a16="http://schemas.microsoft.com/office/drawing/2014/main" id="{8EA19464-2D5A-4AD0-A648-6C60E6121EEB}"/>
                </a:ext>
              </a:extLst>
            </p:cNvPr>
            <p:cNvSpPr/>
            <p:nvPr/>
          </p:nvSpPr>
          <p:spPr>
            <a:xfrm>
              <a:off x="7517497" y="2418515"/>
              <a:ext cx="54760" cy="132077"/>
            </a:xfrm>
            <a:custGeom>
              <a:avLst/>
              <a:gdLst>
                <a:gd name="connsiteX0" fmla="*/ 30423 w 54760"/>
                <a:gd name="connsiteY0" fmla="*/ 132077 h 132077"/>
                <a:gd name="connsiteX1" fmla="*/ 6084 w 54760"/>
                <a:gd name="connsiteY1" fmla="*/ 125993 h 132077"/>
                <a:gd name="connsiteX2" fmla="*/ 0 w 54760"/>
                <a:gd name="connsiteY2" fmla="*/ 113824 h 132077"/>
                <a:gd name="connsiteX3" fmla="*/ 27380 w 54760"/>
                <a:gd name="connsiteY3" fmla="*/ 4302 h 132077"/>
                <a:gd name="connsiteX4" fmla="*/ 33465 w 54760"/>
                <a:gd name="connsiteY4" fmla="*/ 1260 h 132077"/>
                <a:gd name="connsiteX5" fmla="*/ 36507 w 54760"/>
                <a:gd name="connsiteY5" fmla="*/ 7345 h 132077"/>
                <a:gd name="connsiteX6" fmla="*/ 9127 w 54760"/>
                <a:gd name="connsiteY6" fmla="*/ 113824 h 132077"/>
                <a:gd name="connsiteX7" fmla="*/ 9127 w 54760"/>
                <a:gd name="connsiteY7" fmla="*/ 116866 h 132077"/>
                <a:gd name="connsiteX8" fmla="*/ 48676 w 54760"/>
                <a:gd name="connsiteY8" fmla="*/ 116866 h 132077"/>
                <a:gd name="connsiteX9" fmla="*/ 54761 w 54760"/>
                <a:gd name="connsiteY9" fmla="*/ 122950 h 132077"/>
                <a:gd name="connsiteX10" fmla="*/ 48676 w 54760"/>
                <a:gd name="connsiteY10" fmla="*/ 129035 h 132077"/>
                <a:gd name="connsiteX11" fmla="*/ 30423 w 54760"/>
                <a:gd name="connsiteY11" fmla="*/ 132077 h 132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760" h="132077">
                  <a:moveTo>
                    <a:pt x="30423" y="132077"/>
                  </a:moveTo>
                  <a:cubicBezTo>
                    <a:pt x="21296" y="132077"/>
                    <a:pt x="12169" y="132077"/>
                    <a:pt x="6084" y="125993"/>
                  </a:cubicBezTo>
                  <a:cubicBezTo>
                    <a:pt x="3042" y="122950"/>
                    <a:pt x="0" y="119908"/>
                    <a:pt x="0" y="113824"/>
                  </a:cubicBezTo>
                  <a:cubicBezTo>
                    <a:pt x="0" y="92528"/>
                    <a:pt x="27380" y="7345"/>
                    <a:pt x="27380" y="4302"/>
                  </a:cubicBezTo>
                  <a:cubicBezTo>
                    <a:pt x="27380" y="1260"/>
                    <a:pt x="30423" y="-1782"/>
                    <a:pt x="33465" y="1260"/>
                  </a:cubicBezTo>
                  <a:cubicBezTo>
                    <a:pt x="36507" y="1260"/>
                    <a:pt x="39549" y="4302"/>
                    <a:pt x="36507" y="7345"/>
                  </a:cubicBezTo>
                  <a:cubicBezTo>
                    <a:pt x="30423" y="31683"/>
                    <a:pt x="9127" y="95570"/>
                    <a:pt x="9127" y="113824"/>
                  </a:cubicBezTo>
                  <a:cubicBezTo>
                    <a:pt x="9127" y="113824"/>
                    <a:pt x="9127" y="116866"/>
                    <a:pt x="9127" y="116866"/>
                  </a:cubicBezTo>
                  <a:cubicBezTo>
                    <a:pt x="15211" y="122950"/>
                    <a:pt x="36507" y="119908"/>
                    <a:pt x="48676" y="116866"/>
                  </a:cubicBezTo>
                  <a:cubicBezTo>
                    <a:pt x="51718" y="116866"/>
                    <a:pt x="54761" y="116866"/>
                    <a:pt x="54761" y="122950"/>
                  </a:cubicBezTo>
                  <a:cubicBezTo>
                    <a:pt x="54761" y="125993"/>
                    <a:pt x="54761" y="129035"/>
                    <a:pt x="48676" y="129035"/>
                  </a:cubicBezTo>
                  <a:cubicBezTo>
                    <a:pt x="48676" y="132077"/>
                    <a:pt x="39549" y="132077"/>
                    <a:pt x="30423" y="132077"/>
                  </a:cubicBez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7" name="任意多边形: 形状 396">
              <a:extLst>
                <a:ext uri="{FF2B5EF4-FFF2-40B4-BE49-F238E27FC236}">
                  <a16:creationId xmlns:a16="http://schemas.microsoft.com/office/drawing/2014/main" id="{4C2A86F4-A282-4EC9-BC78-7745A000C7AC}"/>
                </a:ext>
              </a:extLst>
            </p:cNvPr>
            <p:cNvSpPr/>
            <p:nvPr/>
          </p:nvSpPr>
          <p:spPr>
            <a:xfrm>
              <a:off x="7499243" y="2602310"/>
              <a:ext cx="106478" cy="54760"/>
            </a:xfrm>
            <a:custGeom>
              <a:avLst/>
              <a:gdLst>
                <a:gd name="connsiteX0" fmla="*/ 106479 w 106478"/>
                <a:gd name="connsiteY0" fmla="*/ 0 h 54760"/>
                <a:gd name="connsiteX1" fmla="*/ 0 w 106478"/>
                <a:gd name="connsiteY1" fmla="*/ 0 h 54760"/>
                <a:gd name="connsiteX2" fmla="*/ 51718 w 106478"/>
                <a:gd name="connsiteY2" fmla="*/ 54761 h 54760"/>
                <a:gd name="connsiteX3" fmla="*/ 106479 w 106478"/>
                <a:gd name="connsiteY3" fmla="*/ 0 h 5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478" h="54760">
                  <a:moveTo>
                    <a:pt x="106479" y="0"/>
                  </a:moveTo>
                  <a:cubicBezTo>
                    <a:pt x="51718" y="24338"/>
                    <a:pt x="0" y="0"/>
                    <a:pt x="0" y="0"/>
                  </a:cubicBezTo>
                  <a:cubicBezTo>
                    <a:pt x="0" y="0"/>
                    <a:pt x="15211" y="54761"/>
                    <a:pt x="51718" y="54761"/>
                  </a:cubicBezTo>
                  <a:cubicBezTo>
                    <a:pt x="91268" y="51718"/>
                    <a:pt x="106479" y="0"/>
                    <a:pt x="106479" y="0"/>
                  </a:cubicBezTo>
                  <a:close/>
                </a:path>
              </a:pathLst>
            </a:custGeom>
            <a:solidFill>
              <a:srgbClr val="FFFFFF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8" name="任意多边形: 形状 397">
              <a:extLst>
                <a:ext uri="{FF2B5EF4-FFF2-40B4-BE49-F238E27FC236}">
                  <a16:creationId xmlns:a16="http://schemas.microsoft.com/office/drawing/2014/main" id="{76DA0FB0-2EFE-4ED9-8982-18DE6EB99E77}"/>
                </a:ext>
              </a:extLst>
            </p:cNvPr>
            <p:cNvSpPr/>
            <p:nvPr/>
          </p:nvSpPr>
          <p:spPr>
            <a:xfrm>
              <a:off x="7443886" y="2391620"/>
              <a:ext cx="40921" cy="41099"/>
            </a:xfrm>
            <a:custGeom>
              <a:avLst/>
              <a:gdLst>
                <a:gd name="connsiteX0" fmla="*/ 40146 w 40921"/>
                <a:gd name="connsiteY0" fmla="*/ 25113 h 41099"/>
                <a:gd name="connsiteX1" fmla="*/ 15808 w 40921"/>
                <a:gd name="connsiteY1" fmla="*/ 40325 h 41099"/>
                <a:gd name="connsiteX2" fmla="*/ 597 w 40921"/>
                <a:gd name="connsiteY2" fmla="*/ 15987 h 41099"/>
                <a:gd name="connsiteX3" fmla="*/ 24935 w 40921"/>
                <a:gd name="connsiteY3" fmla="*/ 775 h 41099"/>
                <a:gd name="connsiteX4" fmla="*/ 40146 w 40921"/>
                <a:gd name="connsiteY4" fmla="*/ 25113 h 41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21" h="41099">
                  <a:moveTo>
                    <a:pt x="40146" y="25113"/>
                  </a:moveTo>
                  <a:cubicBezTo>
                    <a:pt x="37104" y="37282"/>
                    <a:pt x="27977" y="43367"/>
                    <a:pt x="15808" y="40325"/>
                  </a:cubicBezTo>
                  <a:cubicBezTo>
                    <a:pt x="6682" y="37282"/>
                    <a:pt x="-2445" y="28156"/>
                    <a:pt x="597" y="15987"/>
                  </a:cubicBezTo>
                  <a:cubicBezTo>
                    <a:pt x="3639" y="3818"/>
                    <a:pt x="12766" y="-2267"/>
                    <a:pt x="24935" y="775"/>
                  </a:cubicBezTo>
                  <a:cubicBezTo>
                    <a:pt x="37104" y="3818"/>
                    <a:pt x="43188" y="12944"/>
                    <a:pt x="40146" y="25113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9" name="任意多边形: 形状 398">
              <a:extLst>
                <a:ext uri="{FF2B5EF4-FFF2-40B4-BE49-F238E27FC236}">
                  <a16:creationId xmlns:a16="http://schemas.microsoft.com/office/drawing/2014/main" id="{BA7E9077-AA5B-4F64-AFB2-A8D54B2C8B18}"/>
                </a:ext>
              </a:extLst>
            </p:cNvPr>
            <p:cNvSpPr/>
            <p:nvPr/>
          </p:nvSpPr>
          <p:spPr>
            <a:xfrm>
              <a:off x="7635369" y="2397704"/>
              <a:ext cx="40324" cy="40921"/>
            </a:xfrm>
            <a:custGeom>
              <a:avLst/>
              <a:gdLst>
                <a:gd name="connsiteX0" fmla="*/ 40325 w 40324"/>
                <a:gd name="connsiteY0" fmla="*/ 25113 h 40921"/>
                <a:gd name="connsiteX1" fmla="*/ 15986 w 40324"/>
                <a:gd name="connsiteY1" fmla="*/ 40325 h 40921"/>
                <a:gd name="connsiteX2" fmla="*/ 775 w 40324"/>
                <a:gd name="connsiteY2" fmla="*/ 15987 h 40921"/>
                <a:gd name="connsiteX3" fmla="*/ 25113 w 40324"/>
                <a:gd name="connsiteY3" fmla="*/ 775 h 40921"/>
                <a:gd name="connsiteX4" fmla="*/ 40325 w 40324"/>
                <a:gd name="connsiteY4" fmla="*/ 25113 h 40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24" h="40921">
                  <a:moveTo>
                    <a:pt x="40325" y="25113"/>
                  </a:moveTo>
                  <a:cubicBezTo>
                    <a:pt x="37282" y="34240"/>
                    <a:pt x="28156" y="43367"/>
                    <a:pt x="15986" y="40325"/>
                  </a:cubicBezTo>
                  <a:cubicBezTo>
                    <a:pt x="3818" y="37282"/>
                    <a:pt x="-2267" y="28156"/>
                    <a:pt x="775" y="15987"/>
                  </a:cubicBezTo>
                  <a:cubicBezTo>
                    <a:pt x="3818" y="3817"/>
                    <a:pt x="12944" y="-2267"/>
                    <a:pt x="25113" y="775"/>
                  </a:cubicBezTo>
                  <a:cubicBezTo>
                    <a:pt x="34240" y="3817"/>
                    <a:pt x="40325" y="15987"/>
                    <a:pt x="40325" y="25113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0" name="任意多边形: 形状 399">
              <a:extLst>
                <a:ext uri="{FF2B5EF4-FFF2-40B4-BE49-F238E27FC236}">
                  <a16:creationId xmlns:a16="http://schemas.microsoft.com/office/drawing/2014/main" id="{C52A58C6-1858-43D5-B10D-83542D3BA453}"/>
                </a:ext>
              </a:extLst>
            </p:cNvPr>
            <p:cNvSpPr/>
            <p:nvPr/>
          </p:nvSpPr>
          <p:spPr>
            <a:xfrm>
              <a:off x="7420905" y="2342556"/>
              <a:ext cx="91767" cy="34627"/>
            </a:xfrm>
            <a:custGeom>
              <a:avLst/>
              <a:gdLst>
                <a:gd name="connsiteX0" fmla="*/ 8366 w 91767"/>
                <a:gd name="connsiteY0" fmla="*/ 34627 h 34627"/>
                <a:gd name="connsiteX1" fmla="*/ 2281 w 91767"/>
                <a:gd name="connsiteY1" fmla="*/ 31585 h 34627"/>
                <a:gd name="connsiteX2" fmla="*/ 2281 w 91767"/>
                <a:gd name="connsiteY2" fmla="*/ 19416 h 34627"/>
                <a:gd name="connsiteX3" fmla="*/ 87465 w 91767"/>
                <a:gd name="connsiteY3" fmla="*/ 10289 h 34627"/>
                <a:gd name="connsiteX4" fmla="*/ 90507 w 91767"/>
                <a:gd name="connsiteY4" fmla="*/ 19416 h 34627"/>
                <a:gd name="connsiteX5" fmla="*/ 81380 w 91767"/>
                <a:gd name="connsiteY5" fmla="*/ 22458 h 34627"/>
                <a:gd name="connsiteX6" fmla="*/ 14451 w 91767"/>
                <a:gd name="connsiteY6" fmla="*/ 28543 h 34627"/>
                <a:gd name="connsiteX7" fmla="*/ 8366 w 91767"/>
                <a:gd name="connsiteY7" fmla="*/ 34627 h 34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4627">
                  <a:moveTo>
                    <a:pt x="8366" y="34627"/>
                  </a:moveTo>
                  <a:cubicBezTo>
                    <a:pt x="5324" y="34627"/>
                    <a:pt x="5324" y="34627"/>
                    <a:pt x="2281" y="31585"/>
                  </a:cubicBezTo>
                  <a:cubicBezTo>
                    <a:pt x="-760" y="28543"/>
                    <a:pt x="-760" y="22458"/>
                    <a:pt x="2281" y="19416"/>
                  </a:cubicBezTo>
                  <a:cubicBezTo>
                    <a:pt x="29662" y="-11007"/>
                    <a:pt x="69211" y="1162"/>
                    <a:pt x="87465" y="10289"/>
                  </a:cubicBezTo>
                  <a:cubicBezTo>
                    <a:pt x="90507" y="13331"/>
                    <a:pt x="93549" y="16374"/>
                    <a:pt x="90507" y="19416"/>
                  </a:cubicBezTo>
                  <a:cubicBezTo>
                    <a:pt x="87465" y="22458"/>
                    <a:pt x="84422" y="25501"/>
                    <a:pt x="81380" y="22458"/>
                  </a:cubicBezTo>
                  <a:cubicBezTo>
                    <a:pt x="78338" y="22458"/>
                    <a:pt x="38788" y="1162"/>
                    <a:pt x="14451" y="28543"/>
                  </a:cubicBezTo>
                  <a:cubicBezTo>
                    <a:pt x="11408" y="34627"/>
                    <a:pt x="8366" y="34627"/>
                    <a:pt x="8366" y="34627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1" name="任意多边形: 形状 400">
              <a:extLst>
                <a:ext uri="{FF2B5EF4-FFF2-40B4-BE49-F238E27FC236}">
                  <a16:creationId xmlns:a16="http://schemas.microsoft.com/office/drawing/2014/main" id="{15BA9B07-BD6E-4E36-B93C-6FB91C9F5C31}"/>
                </a:ext>
              </a:extLst>
            </p:cNvPr>
            <p:cNvSpPr/>
            <p:nvPr/>
          </p:nvSpPr>
          <p:spPr>
            <a:xfrm>
              <a:off x="7607504" y="2340986"/>
              <a:ext cx="91767" cy="36197"/>
            </a:xfrm>
            <a:custGeom>
              <a:avLst/>
              <a:gdLst>
                <a:gd name="connsiteX0" fmla="*/ 86443 w 91767"/>
                <a:gd name="connsiteY0" fmla="*/ 36197 h 36197"/>
                <a:gd name="connsiteX1" fmla="*/ 80359 w 91767"/>
                <a:gd name="connsiteY1" fmla="*/ 33155 h 36197"/>
                <a:gd name="connsiteX2" fmla="*/ 13429 w 91767"/>
                <a:gd name="connsiteY2" fmla="*/ 27071 h 36197"/>
                <a:gd name="connsiteX3" fmla="*/ 1260 w 91767"/>
                <a:gd name="connsiteY3" fmla="*/ 24028 h 36197"/>
                <a:gd name="connsiteX4" fmla="*/ 4302 w 91767"/>
                <a:gd name="connsiteY4" fmla="*/ 11859 h 36197"/>
                <a:gd name="connsiteX5" fmla="*/ 89485 w 91767"/>
                <a:gd name="connsiteY5" fmla="*/ 20986 h 36197"/>
                <a:gd name="connsiteX6" fmla="*/ 89485 w 91767"/>
                <a:gd name="connsiteY6" fmla="*/ 33155 h 36197"/>
                <a:gd name="connsiteX7" fmla="*/ 86443 w 91767"/>
                <a:gd name="connsiteY7" fmla="*/ 36197 h 36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6197">
                  <a:moveTo>
                    <a:pt x="86443" y="36197"/>
                  </a:moveTo>
                  <a:cubicBezTo>
                    <a:pt x="83401" y="36197"/>
                    <a:pt x="83401" y="36197"/>
                    <a:pt x="80359" y="33155"/>
                  </a:cubicBezTo>
                  <a:cubicBezTo>
                    <a:pt x="80359" y="33155"/>
                    <a:pt x="49936" y="2733"/>
                    <a:pt x="13429" y="27071"/>
                  </a:cubicBezTo>
                  <a:cubicBezTo>
                    <a:pt x="10387" y="30113"/>
                    <a:pt x="4302" y="27071"/>
                    <a:pt x="1260" y="24028"/>
                  </a:cubicBezTo>
                  <a:cubicBezTo>
                    <a:pt x="-1782" y="20986"/>
                    <a:pt x="1260" y="14902"/>
                    <a:pt x="4302" y="11859"/>
                  </a:cubicBezTo>
                  <a:cubicBezTo>
                    <a:pt x="40810" y="-12479"/>
                    <a:pt x="77317" y="5775"/>
                    <a:pt x="89485" y="20986"/>
                  </a:cubicBezTo>
                  <a:cubicBezTo>
                    <a:pt x="92528" y="24028"/>
                    <a:pt x="92528" y="30113"/>
                    <a:pt x="89485" y="33155"/>
                  </a:cubicBezTo>
                  <a:cubicBezTo>
                    <a:pt x="89485" y="36197"/>
                    <a:pt x="89485" y="36197"/>
                    <a:pt x="86443" y="36197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2" name="任意多边形: 形状 401">
              <a:extLst>
                <a:ext uri="{FF2B5EF4-FFF2-40B4-BE49-F238E27FC236}">
                  <a16:creationId xmlns:a16="http://schemas.microsoft.com/office/drawing/2014/main" id="{5FF9511F-E477-441E-8AF4-D8FFEDB35A1A}"/>
                </a:ext>
              </a:extLst>
            </p:cNvPr>
            <p:cNvSpPr/>
            <p:nvPr/>
          </p:nvSpPr>
          <p:spPr>
            <a:xfrm>
              <a:off x="7362204" y="2118911"/>
              <a:ext cx="276027" cy="258272"/>
            </a:xfrm>
            <a:custGeom>
              <a:avLst/>
              <a:gdLst>
                <a:gd name="connsiteX0" fmla="*/ 273941 w 276027"/>
                <a:gd name="connsiteY0" fmla="*/ 2723 h 258272"/>
                <a:gd name="connsiteX1" fmla="*/ 237434 w 276027"/>
                <a:gd name="connsiteY1" fmla="*/ 130498 h 258272"/>
                <a:gd name="connsiteX2" fmla="*/ 138 w 276027"/>
                <a:gd name="connsiteY2" fmla="*/ 258272 h 258272"/>
                <a:gd name="connsiteX3" fmla="*/ 273941 w 276027"/>
                <a:gd name="connsiteY3" fmla="*/ 2723 h 258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027" h="258272">
                  <a:moveTo>
                    <a:pt x="273941" y="2723"/>
                  </a:moveTo>
                  <a:cubicBezTo>
                    <a:pt x="273941" y="2723"/>
                    <a:pt x="289152" y="90948"/>
                    <a:pt x="237434" y="130498"/>
                  </a:cubicBezTo>
                  <a:cubicBezTo>
                    <a:pt x="237434" y="130498"/>
                    <a:pt x="27519" y="173089"/>
                    <a:pt x="138" y="258272"/>
                  </a:cubicBezTo>
                  <a:cubicBezTo>
                    <a:pt x="138" y="255230"/>
                    <a:pt x="-15073" y="-30742"/>
                    <a:pt x="273941" y="2723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3" name="任意多边形: 形状 402">
              <a:extLst>
                <a:ext uri="{FF2B5EF4-FFF2-40B4-BE49-F238E27FC236}">
                  <a16:creationId xmlns:a16="http://schemas.microsoft.com/office/drawing/2014/main" id="{744AF0C9-E4C7-4C5E-9CAF-DA988E16DC59}"/>
                </a:ext>
              </a:extLst>
            </p:cNvPr>
            <p:cNvSpPr/>
            <p:nvPr/>
          </p:nvSpPr>
          <p:spPr>
            <a:xfrm>
              <a:off x="7599638" y="2121634"/>
              <a:ext cx="223775" cy="313845"/>
            </a:xfrm>
            <a:custGeom>
              <a:avLst/>
              <a:gdLst>
                <a:gd name="connsiteX0" fmla="*/ 0 w 223775"/>
                <a:gd name="connsiteY0" fmla="*/ 127775 h 313845"/>
                <a:gd name="connsiteX1" fmla="*/ 139944 w 223775"/>
                <a:gd name="connsiteY1" fmla="*/ 182535 h 313845"/>
                <a:gd name="connsiteX2" fmla="*/ 197746 w 223775"/>
                <a:gd name="connsiteY2" fmla="*/ 301183 h 313845"/>
                <a:gd name="connsiteX3" fmla="*/ 222085 w 223775"/>
                <a:gd name="connsiteY3" fmla="*/ 298141 h 313845"/>
                <a:gd name="connsiteX4" fmla="*/ 33465 w 223775"/>
                <a:gd name="connsiteY4" fmla="*/ 0 h 313845"/>
                <a:gd name="connsiteX5" fmla="*/ 0 w 223775"/>
                <a:gd name="connsiteY5" fmla="*/ 127775 h 313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3775" h="313845">
                  <a:moveTo>
                    <a:pt x="0" y="127775"/>
                  </a:moveTo>
                  <a:cubicBezTo>
                    <a:pt x="0" y="127775"/>
                    <a:pt x="91268" y="176451"/>
                    <a:pt x="139944" y="182535"/>
                  </a:cubicBezTo>
                  <a:cubicBezTo>
                    <a:pt x="191662" y="188620"/>
                    <a:pt x="197746" y="301183"/>
                    <a:pt x="197746" y="301183"/>
                  </a:cubicBezTo>
                  <a:cubicBezTo>
                    <a:pt x="197746" y="301183"/>
                    <a:pt x="219042" y="331606"/>
                    <a:pt x="222085" y="298141"/>
                  </a:cubicBezTo>
                  <a:cubicBezTo>
                    <a:pt x="228169" y="219042"/>
                    <a:pt x="228169" y="21296"/>
                    <a:pt x="33465" y="0"/>
                  </a:cubicBezTo>
                  <a:cubicBezTo>
                    <a:pt x="36507" y="0"/>
                    <a:pt x="24338" y="121690"/>
                    <a:pt x="0" y="127775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4" name="任意多边形: 形状 403">
              <a:extLst>
                <a:ext uri="{FF2B5EF4-FFF2-40B4-BE49-F238E27FC236}">
                  <a16:creationId xmlns:a16="http://schemas.microsoft.com/office/drawing/2014/main" id="{C1BC3EC4-D49E-4CF5-B11C-5E7CFA36FC1B}"/>
                </a:ext>
              </a:extLst>
            </p:cNvPr>
            <p:cNvSpPr/>
            <p:nvPr/>
          </p:nvSpPr>
          <p:spPr>
            <a:xfrm>
              <a:off x="7596595" y="2164226"/>
              <a:ext cx="155155" cy="142985"/>
            </a:xfrm>
            <a:custGeom>
              <a:avLst/>
              <a:gdLst>
                <a:gd name="connsiteX0" fmla="*/ 146028 w 155155"/>
                <a:gd name="connsiteY0" fmla="*/ 142986 h 142985"/>
                <a:gd name="connsiteX1" fmla="*/ 146028 w 155155"/>
                <a:gd name="connsiteY1" fmla="*/ 142986 h 142985"/>
                <a:gd name="connsiteX2" fmla="*/ 48676 w 155155"/>
                <a:gd name="connsiteY2" fmla="*/ 109521 h 142985"/>
                <a:gd name="connsiteX3" fmla="*/ 3042 w 155155"/>
                <a:gd name="connsiteY3" fmla="*/ 85183 h 142985"/>
                <a:gd name="connsiteX4" fmla="*/ 0 w 155155"/>
                <a:gd name="connsiteY4" fmla="*/ 82141 h 142985"/>
                <a:gd name="connsiteX5" fmla="*/ 0 w 155155"/>
                <a:gd name="connsiteY5" fmla="*/ 76056 h 142985"/>
                <a:gd name="connsiteX6" fmla="*/ 27381 w 155155"/>
                <a:gd name="connsiteY6" fmla="*/ 6085 h 142985"/>
                <a:gd name="connsiteX7" fmla="*/ 33465 w 155155"/>
                <a:gd name="connsiteY7" fmla="*/ 0 h 142985"/>
                <a:gd name="connsiteX8" fmla="*/ 33465 w 155155"/>
                <a:gd name="connsiteY8" fmla="*/ 0 h 142985"/>
                <a:gd name="connsiteX9" fmla="*/ 39549 w 155155"/>
                <a:gd name="connsiteY9" fmla="*/ 6085 h 142985"/>
                <a:gd name="connsiteX10" fmla="*/ 15211 w 155155"/>
                <a:gd name="connsiteY10" fmla="*/ 76056 h 142985"/>
                <a:gd name="connsiteX11" fmla="*/ 54761 w 155155"/>
                <a:gd name="connsiteY11" fmla="*/ 97352 h 142985"/>
                <a:gd name="connsiteX12" fmla="*/ 149071 w 155155"/>
                <a:gd name="connsiteY12" fmla="*/ 127775 h 142985"/>
                <a:gd name="connsiteX13" fmla="*/ 155155 w 155155"/>
                <a:gd name="connsiteY13" fmla="*/ 133859 h 142985"/>
                <a:gd name="connsiteX14" fmla="*/ 146028 w 155155"/>
                <a:gd name="connsiteY14" fmla="*/ 142986 h 14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5155" h="142985">
                  <a:moveTo>
                    <a:pt x="146028" y="142986"/>
                  </a:moveTo>
                  <a:cubicBezTo>
                    <a:pt x="146028" y="142986"/>
                    <a:pt x="146028" y="142986"/>
                    <a:pt x="146028" y="142986"/>
                  </a:cubicBezTo>
                  <a:cubicBezTo>
                    <a:pt x="115606" y="139944"/>
                    <a:pt x="82141" y="127775"/>
                    <a:pt x="48676" y="109521"/>
                  </a:cubicBezTo>
                  <a:cubicBezTo>
                    <a:pt x="21296" y="97352"/>
                    <a:pt x="3042" y="85183"/>
                    <a:pt x="3042" y="85183"/>
                  </a:cubicBezTo>
                  <a:cubicBezTo>
                    <a:pt x="3042" y="85183"/>
                    <a:pt x="0" y="82141"/>
                    <a:pt x="0" y="82141"/>
                  </a:cubicBezTo>
                  <a:cubicBezTo>
                    <a:pt x="0" y="79099"/>
                    <a:pt x="0" y="79099"/>
                    <a:pt x="0" y="76056"/>
                  </a:cubicBezTo>
                  <a:cubicBezTo>
                    <a:pt x="6085" y="69972"/>
                    <a:pt x="24338" y="30423"/>
                    <a:pt x="27381" y="6085"/>
                  </a:cubicBezTo>
                  <a:cubicBezTo>
                    <a:pt x="27381" y="3042"/>
                    <a:pt x="30423" y="0"/>
                    <a:pt x="33465" y="0"/>
                  </a:cubicBezTo>
                  <a:cubicBezTo>
                    <a:pt x="33465" y="0"/>
                    <a:pt x="33465" y="0"/>
                    <a:pt x="33465" y="0"/>
                  </a:cubicBezTo>
                  <a:cubicBezTo>
                    <a:pt x="36507" y="0"/>
                    <a:pt x="39549" y="3042"/>
                    <a:pt x="39549" y="6085"/>
                  </a:cubicBezTo>
                  <a:cubicBezTo>
                    <a:pt x="39549" y="30423"/>
                    <a:pt x="24338" y="63887"/>
                    <a:pt x="15211" y="76056"/>
                  </a:cubicBezTo>
                  <a:cubicBezTo>
                    <a:pt x="21296" y="79099"/>
                    <a:pt x="36507" y="88225"/>
                    <a:pt x="54761" y="97352"/>
                  </a:cubicBezTo>
                  <a:cubicBezTo>
                    <a:pt x="88226" y="112563"/>
                    <a:pt x="121690" y="124732"/>
                    <a:pt x="149071" y="127775"/>
                  </a:cubicBezTo>
                  <a:cubicBezTo>
                    <a:pt x="152113" y="127775"/>
                    <a:pt x="155155" y="130817"/>
                    <a:pt x="155155" y="133859"/>
                  </a:cubicBezTo>
                  <a:cubicBezTo>
                    <a:pt x="152113" y="142986"/>
                    <a:pt x="149071" y="142986"/>
                    <a:pt x="146028" y="142986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5" name="任意多边形: 形状 404">
              <a:extLst>
                <a:ext uri="{FF2B5EF4-FFF2-40B4-BE49-F238E27FC236}">
                  <a16:creationId xmlns:a16="http://schemas.microsoft.com/office/drawing/2014/main" id="{1984EA4A-393F-4086-B258-45808A998277}"/>
                </a:ext>
              </a:extLst>
            </p:cNvPr>
            <p:cNvSpPr/>
            <p:nvPr/>
          </p:nvSpPr>
          <p:spPr>
            <a:xfrm>
              <a:off x="7481750" y="2643642"/>
              <a:ext cx="222583" cy="80358"/>
            </a:xfrm>
            <a:custGeom>
              <a:avLst/>
              <a:gdLst>
                <a:gd name="connsiteX0" fmla="*/ 72253 w 222583"/>
                <a:gd name="connsiteY0" fmla="*/ 80359 h 80358"/>
                <a:gd name="connsiteX1" fmla="*/ 2281 w 222583"/>
                <a:gd name="connsiteY1" fmla="*/ 52978 h 80358"/>
                <a:gd name="connsiteX2" fmla="*/ 2281 w 222583"/>
                <a:gd name="connsiteY2" fmla="*/ 43852 h 80358"/>
                <a:gd name="connsiteX3" fmla="*/ 11408 w 222583"/>
                <a:gd name="connsiteY3" fmla="*/ 43852 h 80358"/>
                <a:gd name="connsiteX4" fmla="*/ 81380 w 222583"/>
                <a:gd name="connsiteY4" fmla="*/ 68190 h 80358"/>
                <a:gd name="connsiteX5" fmla="*/ 212197 w 222583"/>
                <a:gd name="connsiteY5" fmla="*/ 1260 h 80358"/>
                <a:gd name="connsiteX6" fmla="*/ 221324 w 222583"/>
                <a:gd name="connsiteY6" fmla="*/ 4302 h 80358"/>
                <a:gd name="connsiteX7" fmla="*/ 218282 w 222583"/>
                <a:gd name="connsiteY7" fmla="*/ 13429 h 80358"/>
                <a:gd name="connsiteX8" fmla="*/ 81380 w 222583"/>
                <a:gd name="connsiteY8" fmla="*/ 80359 h 80358"/>
                <a:gd name="connsiteX9" fmla="*/ 72253 w 222583"/>
                <a:gd name="connsiteY9" fmla="*/ 80359 h 8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583" h="80358">
                  <a:moveTo>
                    <a:pt x="72253" y="80359"/>
                  </a:moveTo>
                  <a:cubicBezTo>
                    <a:pt x="32704" y="80359"/>
                    <a:pt x="5324" y="52978"/>
                    <a:pt x="2281" y="52978"/>
                  </a:cubicBezTo>
                  <a:cubicBezTo>
                    <a:pt x="-760" y="49936"/>
                    <a:pt x="-760" y="46894"/>
                    <a:pt x="2281" y="43852"/>
                  </a:cubicBezTo>
                  <a:cubicBezTo>
                    <a:pt x="5324" y="40809"/>
                    <a:pt x="8366" y="40809"/>
                    <a:pt x="11408" y="43852"/>
                  </a:cubicBezTo>
                  <a:cubicBezTo>
                    <a:pt x="11408" y="43852"/>
                    <a:pt x="44873" y="74274"/>
                    <a:pt x="81380" y="68190"/>
                  </a:cubicBezTo>
                  <a:cubicBezTo>
                    <a:pt x="120930" y="62105"/>
                    <a:pt x="212197" y="1260"/>
                    <a:pt x="212197" y="1260"/>
                  </a:cubicBezTo>
                  <a:cubicBezTo>
                    <a:pt x="215239" y="-1782"/>
                    <a:pt x="218282" y="1260"/>
                    <a:pt x="221324" y="4302"/>
                  </a:cubicBezTo>
                  <a:cubicBezTo>
                    <a:pt x="224366" y="7345"/>
                    <a:pt x="221324" y="10387"/>
                    <a:pt x="218282" y="13429"/>
                  </a:cubicBezTo>
                  <a:cubicBezTo>
                    <a:pt x="215239" y="16471"/>
                    <a:pt x="123972" y="77316"/>
                    <a:pt x="81380" y="80359"/>
                  </a:cubicBezTo>
                  <a:cubicBezTo>
                    <a:pt x="78338" y="80359"/>
                    <a:pt x="75296" y="80359"/>
                    <a:pt x="72253" y="80359"/>
                  </a:cubicBez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6" name="任意多边形: 形状 405">
              <a:extLst>
                <a:ext uri="{FF2B5EF4-FFF2-40B4-BE49-F238E27FC236}">
                  <a16:creationId xmlns:a16="http://schemas.microsoft.com/office/drawing/2014/main" id="{13C80769-A726-484E-9ADB-2A917B690083}"/>
                </a:ext>
              </a:extLst>
            </p:cNvPr>
            <p:cNvSpPr/>
            <p:nvPr/>
          </p:nvSpPr>
          <p:spPr>
            <a:xfrm>
              <a:off x="7762567" y="2406125"/>
              <a:ext cx="78768" cy="113805"/>
            </a:xfrm>
            <a:custGeom>
              <a:avLst/>
              <a:gdLst>
                <a:gd name="connsiteX0" fmla="*/ 13521 w 78768"/>
                <a:gd name="connsiteY0" fmla="*/ 16693 h 113805"/>
                <a:gd name="connsiteX1" fmla="*/ 71324 w 78768"/>
                <a:gd name="connsiteY1" fmla="*/ 7566 h 113805"/>
                <a:gd name="connsiteX2" fmla="*/ 13521 w 78768"/>
                <a:gd name="connsiteY2" fmla="*/ 111003 h 113805"/>
                <a:gd name="connsiteX3" fmla="*/ 13521 w 78768"/>
                <a:gd name="connsiteY3" fmla="*/ 16693 h 113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68" h="113805">
                  <a:moveTo>
                    <a:pt x="13521" y="16693"/>
                  </a:moveTo>
                  <a:cubicBezTo>
                    <a:pt x="13521" y="16693"/>
                    <a:pt x="46986" y="-13730"/>
                    <a:pt x="71324" y="7566"/>
                  </a:cubicBezTo>
                  <a:cubicBezTo>
                    <a:pt x="95662" y="25819"/>
                    <a:pt x="56112" y="132298"/>
                    <a:pt x="13521" y="111003"/>
                  </a:cubicBezTo>
                  <a:cubicBezTo>
                    <a:pt x="-16901" y="92749"/>
                    <a:pt x="13521" y="16693"/>
                    <a:pt x="13521" y="16693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7" name="任意多边形: 形状 406">
              <a:extLst>
                <a:ext uri="{FF2B5EF4-FFF2-40B4-BE49-F238E27FC236}">
                  <a16:creationId xmlns:a16="http://schemas.microsoft.com/office/drawing/2014/main" id="{A94DC755-3244-412F-9272-02D8D549C55A}"/>
                </a:ext>
              </a:extLst>
            </p:cNvPr>
            <p:cNvSpPr/>
            <p:nvPr/>
          </p:nvSpPr>
          <p:spPr>
            <a:xfrm>
              <a:off x="7356257" y="2240282"/>
              <a:ext cx="252507" cy="158197"/>
            </a:xfrm>
            <a:custGeom>
              <a:avLst/>
              <a:gdLst>
                <a:gd name="connsiteX0" fmla="*/ 6084 w 252507"/>
                <a:gd name="connsiteY0" fmla="*/ 158197 h 158197"/>
                <a:gd name="connsiteX1" fmla="*/ 6084 w 252507"/>
                <a:gd name="connsiteY1" fmla="*/ 158197 h 158197"/>
                <a:gd name="connsiteX2" fmla="*/ 0 w 252507"/>
                <a:gd name="connsiteY2" fmla="*/ 152113 h 158197"/>
                <a:gd name="connsiteX3" fmla="*/ 109521 w 252507"/>
                <a:gd name="connsiteY3" fmla="*/ 45634 h 158197"/>
                <a:gd name="connsiteX4" fmla="*/ 243380 w 252507"/>
                <a:gd name="connsiteY4" fmla="*/ 0 h 158197"/>
                <a:gd name="connsiteX5" fmla="*/ 252507 w 252507"/>
                <a:gd name="connsiteY5" fmla="*/ 3042 h 158197"/>
                <a:gd name="connsiteX6" fmla="*/ 249465 w 252507"/>
                <a:gd name="connsiteY6" fmla="*/ 12169 h 158197"/>
                <a:gd name="connsiteX7" fmla="*/ 115606 w 252507"/>
                <a:gd name="connsiteY7" fmla="*/ 57803 h 158197"/>
                <a:gd name="connsiteX8" fmla="*/ 15211 w 252507"/>
                <a:gd name="connsiteY8" fmla="*/ 155155 h 158197"/>
                <a:gd name="connsiteX9" fmla="*/ 6084 w 252507"/>
                <a:gd name="connsiteY9" fmla="*/ 158197 h 158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2507" h="158197">
                  <a:moveTo>
                    <a:pt x="6084" y="158197"/>
                  </a:moveTo>
                  <a:cubicBezTo>
                    <a:pt x="6084" y="158197"/>
                    <a:pt x="6084" y="158197"/>
                    <a:pt x="6084" y="158197"/>
                  </a:cubicBezTo>
                  <a:cubicBezTo>
                    <a:pt x="3042" y="158197"/>
                    <a:pt x="0" y="155155"/>
                    <a:pt x="0" y="152113"/>
                  </a:cubicBezTo>
                  <a:cubicBezTo>
                    <a:pt x="12169" y="82141"/>
                    <a:pt x="60845" y="60845"/>
                    <a:pt x="109521" y="45634"/>
                  </a:cubicBezTo>
                  <a:cubicBezTo>
                    <a:pt x="176451" y="27380"/>
                    <a:pt x="240338" y="0"/>
                    <a:pt x="243380" y="0"/>
                  </a:cubicBezTo>
                  <a:cubicBezTo>
                    <a:pt x="246423" y="0"/>
                    <a:pt x="249465" y="0"/>
                    <a:pt x="252507" y="3042"/>
                  </a:cubicBezTo>
                  <a:cubicBezTo>
                    <a:pt x="252507" y="6085"/>
                    <a:pt x="252507" y="9127"/>
                    <a:pt x="249465" y="12169"/>
                  </a:cubicBezTo>
                  <a:cubicBezTo>
                    <a:pt x="249465" y="12169"/>
                    <a:pt x="182535" y="36507"/>
                    <a:pt x="115606" y="57803"/>
                  </a:cubicBezTo>
                  <a:cubicBezTo>
                    <a:pt x="60845" y="73014"/>
                    <a:pt x="24338" y="97352"/>
                    <a:pt x="15211" y="155155"/>
                  </a:cubicBezTo>
                  <a:cubicBezTo>
                    <a:pt x="12169" y="155155"/>
                    <a:pt x="9127" y="158197"/>
                    <a:pt x="6084" y="158197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08" name="图形 1">
              <a:extLst>
                <a:ext uri="{FF2B5EF4-FFF2-40B4-BE49-F238E27FC236}">
                  <a16:creationId xmlns:a16="http://schemas.microsoft.com/office/drawing/2014/main" id="{E37F79C1-4061-47F0-8DFC-4337294AAFF0}"/>
                </a:ext>
              </a:extLst>
            </p:cNvPr>
            <p:cNvGrpSpPr/>
            <p:nvPr/>
          </p:nvGrpSpPr>
          <p:grpSpPr>
            <a:xfrm>
              <a:off x="7629113" y="4192833"/>
              <a:ext cx="1623415" cy="1224509"/>
              <a:chOff x="7629113" y="4192833"/>
              <a:chExt cx="1623415" cy="1224509"/>
            </a:xfrm>
          </p:grpSpPr>
          <p:grpSp>
            <p:nvGrpSpPr>
              <p:cNvPr id="409" name="图形 1">
                <a:extLst>
                  <a:ext uri="{FF2B5EF4-FFF2-40B4-BE49-F238E27FC236}">
                    <a16:creationId xmlns:a16="http://schemas.microsoft.com/office/drawing/2014/main" id="{E37F79C1-4061-47F0-8DFC-4337294AAFF0}"/>
                  </a:ext>
                </a:extLst>
              </p:cNvPr>
              <p:cNvGrpSpPr/>
              <p:nvPr/>
            </p:nvGrpSpPr>
            <p:grpSpPr>
              <a:xfrm>
                <a:off x="7629113" y="4192833"/>
                <a:ext cx="1623415" cy="1224509"/>
                <a:chOff x="7629113" y="4192833"/>
                <a:chExt cx="1623415" cy="1224509"/>
              </a:xfrm>
            </p:grpSpPr>
            <p:sp>
              <p:nvSpPr>
                <p:cNvPr id="410" name="任意多边形: 形状 409">
                  <a:extLst>
                    <a:ext uri="{FF2B5EF4-FFF2-40B4-BE49-F238E27FC236}">
                      <a16:creationId xmlns:a16="http://schemas.microsoft.com/office/drawing/2014/main" id="{91F6290A-81FF-47FB-8AD7-C7231BBC2349}"/>
                    </a:ext>
                  </a:extLst>
                </p:cNvPr>
                <p:cNvSpPr/>
                <p:nvPr/>
              </p:nvSpPr>
              <p:spPr>
                <a:xfrm>
                  <a:off x="8107117" y="4192833"/>
                  <a:ext cx="460533" cy="411280"/>
                </a:xfrm>
                <a:custGeom>
                  <a:avLst/>
                  <a:gdLst>
                    <a:gd name="connsiteX0" fmla="*/ 18830 w 460533"/>
                    <a:gd name="connsiteY0" fmla="*/ 307844 h 411280"/>
                    <a:gd name="connsiteX1" fmla="*/ 576 w 460533"/>
                    <a:gd name="connsiteY1" fmla="*/ 158774 h 411280"/>
                    <a:gd name="connsiteX2" fmla="*/ 24915 w 460533"/>
                    <a:gd name="connsiteY2" fmla="*/ 70548 h 411280"/>
                    <a:gd name="connsiteX3" fmla="*/ 104013 w 460533"/>
                    <a:gd name="connsiteY3" fmla="*/ 24915 h 411280"/>
                    <a:gd name="connsiteX4" fmla="*/ 307844 w 460533"/>
                    <a:gd name="connsiteY4" fmla="*/ 576 h 411280"/>
                    <a:gd name="connsiteX5" fmla="*/ 396069 w 460533"/>
                    <a:gd name="connsiteY5" fmla="*/ 24915 h 411280"/>
                    <a:gd name="connsiteX6" fmla="*/ 441703 w 460533"/>
                    <a:gd name="connsiteY6" fmla="*/ 104013 h 411280"/>
                    <a:gd name="connsiteX7" fmla="*/ 459957 w 460533"/>
                    <a:gd name="connsiteY7" fmla="*/ 253084 h 411280"/>
                    <a:gd name="connsiteX8" fmla="*/ 435619 w 460533"/>
                    <a:gd name="connsiteY8" fmla="*/ 341309 h 411280"/>
                    <a:gd name="connsiteX9" fmla="*/ 356520 w 460533"/>
                    <a:gd name="connsiteY9" fmla="*/ 386943 h 411280"/>
                    <a:gd name="connsiteX10" fmla="*/ 152689 w 460533"/>
                    <a:gd name="connsiteY10" fmla="*/ 411281 h 411280"/>
                    <a:gd name="connsiteX11" fmla="*/ 152689 w 460533"/>
                    <a:gd name="connsiteY11" fmla="*/ 411281 h 411280"/>
                    <a:gd name="connsiteX12" fmla="*/ 119225 w 460533"/>
                    <a:gd name="connsiteY12" fmla="*/ 411281 h 411280"/>
                    <a:gd name="connsiteX13" fmla="*/ 18830 w 460533"/>
                    <a:gd name="connsiteY13" fmla="*/ 307844 h 411280"/>
                    <a:gd name="connsiteX14" fmla="*/ 347394 w 460533"/>
                    <a:gd name="connsiteY14" fmla="*/ 332182 h 411280"/>
                    <a:gd name="connsiteX15" fmla="*/ 389985 w 460533"/>
                    <a:gd name="connsiteY15" fmla="*/ 307844 h 411280"/>
                    <a:gd name="connsiteX16" fmla="*/ 402154 w 460533"/>
                    <a:gd name="connsiteY16" fmla="*/ 262210 h 411280"/>
                    <a:gd name="connsiteX17" fmla="*/ 383901 w 460533"/>
                    <a:gd name="connsiteY17" fmla="*/ 113140 h 411280"/>
                    <a:gd name="connsiteX18" fmla="*/ 359562 w 460533"/>
                    <a:gd name="connsiteY18" fmla="*/ 70548 h 411280"/>
                    <a:gd name="connsiteX19" fmla="*/ 313929 w 460533"/>
                    <a:gd name="connsiteY19" fmla="*/ 58379 h 411280"/>
                    <a:gd name="connsiteX20" fmla="*/ 110098 w 460533"/>
                    <a:gd name="connsiteY20" fmla="*/ 82717 h 411280"/>
                    <a:gd name="connsiteX21" fmla="*/ 67506 w 460533"/>
                    <a:gd name="connsiteY21" fmla="*/ 107055 h 411280"/>
                    <a:gd name="connsiteX22" fmla="*/ 55337 w 460533"/>
                    <a:gd name="connsiteY22" fmla="*/ 152689 h 411280"/>
                    <a:gd name="connsiteX23" fmla="*/ 73591 w 460533"/>
                    <a:gd name="connsiteY23" fmla="*/ 301760 h 411280"/>
                    <a:gd name="connsiteX24" fmla="*/ 140520 w 460533"/>
                    <a:gd name="connsiteY24" fmla="*/ 356520 h 411280"/>
                    <a:gd name="connsiteX25" fmla="*/ 347394 w 460533"/>
                    <a:gd name="connsiteY25" fmla="*/ 332182 h 411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460533" h="411280">
                      <a:moveTo>
                        <a:pt x="18830" y="307844"/>
                      </a:moveTo>
                      <a:lnTo>
                        <a:pt x="576" y="158774"/>
                      </a:lnTo>
                      <a:cubicBezTo>
                        <a:pt x="-2466" y="128351"/>
                        <a:pt x="6661" y="94887"/>
                        <a:pt x="24915" y="70548"/>
                      </a:cubicBezTo>
                      <a:cubicBezTo>
                        <a:pt x="46210" y="46210"/>
                        <a:pt x="73591" y="30999"/>
                        <a:pt x="104013" y="24915"/>
                      </a:cubicBezTo>
                      <a:lnTo>
                        <a:pt x="307844" y="576"/>
                      </a:lnTo>
                      <a:cubicBezTo>
                        <a:pt x="338267" y="-2466"/>
                        <a:pt x="371731" y="6661"/>
                        <a:pt x="396069" y="24915"/>
                      </a:cubicBezTo>
                      <a:cubicBezTo>
                        <a:pt x="420408" y="46210"/>
                        <a:pt x="435619" y="73591"/>
                        <a:pt x="441703" y="104013"/>
                      </a:cubicBezTo>
                      <a:lnTo>
                        <a:pt x="459957" y="253084"/>
                      </a:lnTo>
                      <a:cubicBezTo>
                        <a:pt x="462999" y="283506"/>
                        <a:pt x="453872" y="316971"/>
                        <a:pt x="435619" y="341309"/>
                      </a:cubicBezTo>
                      <a:cubicBezTo>
                        <a:pt x="414323" y="365647"/>
                        <a:pt x="386943" y="380858"/>
                        <a:pt x="356520" y="386943"/>
                      </a:cubicBezTo>
                      <a:lnTo>
                        <a:pt x="152689" y="411281"/>
                      </a:lnTo>
                      <a:lnTo>
                        <a:pt x="152689" y="411281"/>
                      </a:lnTo>
                      <a:cubicBezTo>
                        <a:pt x="140520" y="411281"/>
                        <a:pt x="131393" y="411281"/>
                        <a:pt x="119225" y="411281"/>
                      </a:cubicBezTo>
                      <a:cubicBezTo>
                        <a:pt x="64464" y="405196"/>
                        <a:pt x="24915" y="362605"/>
                        <a:pt x="18830" y="307844"/>
                      </a:cubicBezTo>
                      <a:close/>
                      <a:moveTo>
                        <a:pt x="347394" y="332182"/>
                      </a:moveTo>
                      <a:cubicBezTo>
                        <a:pt x="362605" y="329140"/>
                        <a:pt x="377816" y="323056"/>
                        <a:pt x="389985" y="307844"/>
                      </a:cubicBezTo>
                      <a:cubicBezTo>
                        <a:pt x="399112" y="295675"/>
                        <a:pt x="405196" y="277422"/>
                        <a:pt x="402154" y="262210"/>
                      </a:cubicBezTo>
                      <a:lnTo>
                        <a:pt x="383901" y="113140"/>
                      </a:lnTo>
                      <a:cubicBezTo>
                        <a:pt x="380858" y="97929"/>
                        <a:pt x="374774" y="82717"/>
                        <a:pt x="359562" y="70548"/>
                      </a:cubicBezTo>
                      <a:cubicBezTo>
                        <a:pt x="347394" y="61422"/>
                        <a:pt x="332182" y="55337"/>
                        <a:pt x="313929" y="58379"/>
                      </a:cubicBezTo>
                      <a:lnTo>
                        <a:pt x="110098" y="82717"/>
                      </a:lnTo>
                      <a:cubicBezTo>
                        <a:pt x="94886" y="85760"/>
                        <a:pt x="79675" y="91844"/>
                        <a:pt x="67506" y="107055"/>
                      </a:cubicBezTo>
                      <a:cubicBezTo>
                        <a:pt x="58380" y="119224"/>
                        <a:pt x="52295" y="137478"/>
                        <a:pt x="55337" y="152689"/>
                      </a:cubicBezTo>
                      <a:lnTo>
                        <a:pt x="73591" y="301760"/>
                      </a:lnTo>
                      <a:cubicBezTo>
                        <a:pt x="76633" y="335224"/>
                        <a:pt x="107055" y="359563"/>
                        <a:pt x="140520" y="356520"/>
                      </a:cubicBezTo>
                      <a:lnTo>
                        <a:pt x="347394" y="332182"/>
                      </a:lnTo>
                      <a:close/>
                    </a:path>
                  </a:pathLst>
                </a:custGeom>
                <a:solidFill>
                  <a:srgbClr val="38343B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11" name="任意多边形: 形状 410">
                  <a:extLst>
                    <a:ext uri="{FF2B5EF4-FFF2-40B4-BE49-F238E27FC236}">
                      <a16:creationId xmlns:a16="http://schemas.microsoft.com/office/drawing/2014/main" id="{F0300F04-9724-468B-B9F8-DB512AB8FECC}"/>
                    </a:ext>
                  </a:extLst>
                </p:cNvPr>
                <p:cNvSpPr/>
                <p:nvPr/>
              </p:nvSpPr>
              <p:spPr>
                <a:xfrm>
                  <a:off x="7729507" y="4277645"/>
                  <a:ext cx="1523021" cy="1127528"/>
                </a:xfrm>
                <a:custGeom>
                  <a:avLst/>
                  <a:gdLst>
                    <a:gd name="connsiteX0" fmla="*/ 244328 w 1523021"/>
                    <a:gd name="connsiteY0" fmla="*/ 1126581 h 1127528"/>
                    <a:gd name="connsiteX1" fmla="*/ 1391257 w 1523021"/>
                    <a:gd name="connsiteY1" fmla="*/ 995764 h 1127528"/>
                    <a:gd name="connsiteX2" fmla="*/ 1522074 w 1523021"/>
                    <a:gd name="connsiteY2" fmla="*/ 831483 h 1127528"/>
                    <a:gd name="connsiteX3" fmla="*/ 1442975 w 1523021"/>
                    <a:gd name="connsiteY3" fmla="*/ 131764 h 1127528"/>
                    <a:gd name="connsiteX4" fmla="*/ 1278694 w 1523021"/>
                    <a:gd name="connsiteY4" fmla="*/ 947 h 1127528"/>
                    <a:gd name="connsiteX5" fmla="*/ 131764 w 1523021"/>
                    <a:gd name="connsiteY5" fmla="*/ 131764 h 1127528"/>
                    <a:gd name="connsiteX6" fmla="*/ 947 w 1523021"/>
                    <a:gd name="connsiteY6" fmla="*/ 296046 h 1127528"/>
                    <a:gd name="connsiteX7" fmla="*/ 80046 w 1523021"/>
                    <a:gd name="connsiteY7" fmla="*/ 995764 h 1127528"/>
                    <a:gd name="connsiteX8" fmla="*/ 244328 w 1523021"/>
                    <a:gd name="connsiteY8" fmla="*/ 1126581 h 1127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23021" h="1127528">
                      <a:moveTo>
                        <a:pt x="244328" y="1126581"/>
                      </a:moveTo>
                      <a:lnTo>
                        <a:pt x="1391257" y="995764"/>
                      </a:lnTo>
                      <a:cubicBezTo>
                        <a:pt x="1473398" y="986638"/>
                        <a:pt x="1531201" y="913623"/>
                        <a:pt x="1522074" y="831483"/>
                      </a:cubicBezTo>
                      <a:lnTo>
                        <a:pt x="1442975" y="131764"/>
                      </a:lnTo>
                      <a:cubicBezTo>
                        <a:pt x="1433849" y="49623"/>
                        <a:pt x="1360835" y="-8179"/>
                        <a:pt x="1278694" y="947"/>
                      </a:cubicBezTo>
                      <a:lnTo>
                        <a:pt x="131764" y="131764"/>
                      </a:lnTo>
                      <a:cubicBezTo>
                        <a:pt x="49623" y="140891"/>
                        <a:pt x="-8179" y="213905"/>
                        <a:pt x="947" y="296046"/>
                      </a:cubicBezTo>
                      <a:lnTo>
                        <a:pt x="80046" y="995764"/>
                      </a:lnTo>
                      <a:cubicBezTo>
                        <a:pt x="89173" y="1077905"/>
                        <a:pt x="162187" y="1135708"/>
                        <a:pt x="244328" y="1126581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12" name="任意多边形: 形状 411">
                  <a:extLst>
                    <a:ext uri="{FF2B5EF4-FFF2-40B4-BE49-F238E27FC236}">
                      <a16:creationId xmlns:a16="http://schemas.microsoft.com/office/drawing/2014/main" id="{9F9EB652-64CA-4F15-B1B3-A7F833B4EE67}"/>
                    </a:ext>
                  </a:extLst>
                </p:cNvPr>
                <p:cNvSpPr/>
                <p:nvPr/>
              </p:nvSpPr>
              <p:spPr>
                <a:xfrm>
                  <a:off x="7629113" y="4289814"/>
                  <a:ext cx="1523021" cy="1127528"/>
                </a:xfrm>
                <a:custGeom>
                  <a:avLst/>
                  <a:gdLst>
                    <a:gd name="connsiteX0" fmla="*/ 244328 w 1523021"/>
                    <a:gd name="connsiteY0" fmla="*/ 1126581 h 1127528"/>
                    <a:gd name="connsiteX1" fmla="*/ 1391257 w 1523021"/>
                    <a:gd name="connsiteY1" fmla="*/ 995764 h 1127528"/>
                    <a:gd name="connsiteX2" fmla="*/ 1522074 w 1523021"/>
                    <a:gd name="connsiteY2" fmla="*/ 831482 h 1127528"/>
                    <a:gd name="connsiteX3" fmla="*/ 1442975 w 1523021"/>
                    <a:gd name="connsiteY3" fmla="*/ 131764 h 1127528"/>
                    <a:gd name="connsiteX4" fmla="*/ 1278694 w 1523021"/>
                    <a:gd name="connsiteY4" fmla="*/ 947 h 1127528"/>
                    <a:gd name="connsiteX5" fmla="*/ 131764 w 1523021"/>
                    <a:gd name="connsiteY5" fmla="*/ 131764 h 1127528"/>
                    <a:gd name="connsiteX6" fmla="*/ 947 w 1523021"/>
                    <a:gd name="connsiteY6" fmla="*/ 296046 h 1127528"/>
                    <a:gd name="connsiteX7" fmla="*/ 80046 w 1523021"/>
                    <a:gd name="connsiteY7" fmla="*/ 995764 h 1127528"/>
                    <a:gd name="connsiteX8" fmla="*/ 244328 w 1523021"/>
                    <a:gd name="connsiteY8" fmla="*/ 1126581 h 1127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23021" h="1127528">
                      <a:moveTo>
                        <a:pt x="244328" y="1126581"/>
                      </a:moveTo>
                      <a:lnTo>
                        <a:pt x="1391257" y="995764"/>
                      </a:lnTo>
                      <a:cubicBezTo>
                        <a:pt x="1473398" y="986638"/>
                        <a:pt x="1531201" y="913623"/>
                        <a:pt x="1522074" y="831482"/>
                      </a:cubicBezTo>
                      <a:lnTo>
                        <a:pt x="1442975" y="131764"/>
                      </a:lnTo>
                      <a:cubicBezTo>
                        <a:pt x="1433849" y="49623"/>
                        <a:pt x="1360835" y="-8179"/>
                        <a:pt x="1278694" y="947"/>
                      </a:cubicBezTo>
                      <a:lnTo>
                        <a:pt x="131764" y="131764"/>
                      </a:lnTo>
                      <a:cubicBezTo>
                        <a:pt x="49624" y="140891"/>
                        <a:pt x="-8179" y="213905"/>
                        <a:pt x="947" y="296046"/>
                      </a:cubicBezTo>
                      <a:lnTo>
                        <a:pt x="80046" y="995764"/>
                      </a:lnTo>
                      <a:cubicBezTo>
                        <a:pt x="89173" y="1077905"/>
                        <a:pt x="162187" y="1135708"/>
                        <a:pt x="244328" y="1126581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13" name="任意多边形: 形状 412">
                <a:extLst>
                  <a:ext uri="{FF2B5EF4-FFF2-40B4-BE49-F238E27FC236}">
                    <a16:creationId xmlns:a16="http://schemas.microsoft.com/office/drawing/2014/main" id="{9242589B-6D4F-4CE6-97AC-FC8CC4D901E2}"/>
                  </a:ext>
                </a:extLst>
              </p:cNvPr>
              <p:cNvSpPr/>
              <p:nvPr/>
            </p:nvSpPr>
            <p:spPr>
              <a:xfrm>
                <a:off x="7651356" y="4674085"/>
                <a:ext cx="1454197" cy="170366"/>
              </a:xfrm>
              <a:custGeom>
                <a:avLst/>
                <a:gdLst>
                  <a:gd name="connsiteX0" fmla="*/ 6084 w 1454197"/>
                  <a:gd name="connsiteY0" fmla="*/ 170366 h 170366"/>
                  <a:gd name="connsiteX1" fmla="*/ 0 w 1454197"/>
                  <a:gd name="connsiteY1" fmla="*/ 164282 h 170366"/>
                  <a:gd name="connsiteX2" fmla="*/ 6084 w 1454197"/>
                  <a:gd name="connsiteY2" fmla="*/ 158197 h 170366"/>
                  <a:gd name="connsiteX3" fmla="*/ 1448113 w 1454197"/>
                  <a:gd name="connsiteY3" fmla="*/ 0 h 170366"/>
                  <a:gd name="connsiteX4" fmla="*/ 1454197 w 1454197"/>
                  <a:gd name="connsiteY4" fmla="*/ 6084 h 170366"/>
                  <a:gd name="connsiteX5" fmla="*/ 1448113 w 1454197"/>
                  <a:gd name="connsiteY5" fmla="*/ 12169 h 170366"/>
                  <a:gd name="connsiteX6" fmla="*/ 6084 w 1454197"/>
                  <a:gd name="connsiteY6" fmla="*/ 170366 h 170366"/>
                  <a:gd name="connsiteX7" fmla="*/ 6084 w 1454197"/>
                  <a:gd name="connsiteY7" fmla="*/ 170366 h 17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54197" h="170366">
                    <a:moveTo>
                      <a:pt x="6084" y="170366"/>
                    </a:moveTo>
                    <a:cubicBezTo>
                      <a:pt x="3042" y="170366"/>
                      <a:pt x="0" y="167324"/>
                      <a:pt x="0" y="164282"/>
                    </a:cubicBezTo>
                    <a:cubicBezTo>
                      <a:pt x="0" y="161240"/>
                      <a:pt x="3042" y="158197"/>
                      <a:pt x="6084" y="158197"/>
                    </a:cubicBezTo>
                    <a:lnTo>
                      <a:pt x="1448113" y="0"/>
                    </a:lnTo>
                    <a:cubicBezTo>
                      <a:pt x="1451155" y="0"/>
                      <a:pt x="1454197" y="3042"/>
                      <a:pt x="1454197" y="6084"/>
                    </a:cubicBezTo>
                    <a:cubicBezTo>
                      <a:pt x="1454197" y="9127"/>
                      <a:pt x="1451155" y="12169"/>
                      <a:pt x="1448113" y="12169"/>
                    </a:cubicBezTo>
                    <a:lnTo>
                      <a:pt x="6084" y="170366"/>
                    </a:lnTo>
                    <a:cubicBezTo>
                      <a:pt x="6084" y="170366"/>
                      <a:pt x="6084" y="170366"/>
                      <a:pt x="6084" y="17036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4" name="任意多边形: 形状 413">
                <a:extLst>
                  <a:ext uri="{FF2B5EF4-FFF2-40B4-BE49-F238E27FC236}">
                    <a16:creationId xmlns:a16="http://schemas.microsoft.com/office/drawing/2014/main" id="{7B926320-AECD-4EA4-9557-1DF4A1626F5D}"/>
                  </a:ext>
                </a:extLst>
              </p:cNvPr>
              <p:cNvSpPr/>
              <p:nvPr/>
            </p:nvSpPr>
            <p:spPr>
              <a:xfrm>
                <a:off x="8696959" y="4647978"/>
                <a:ext cx="136559" cy="137396"/>
              </a:xfrm>
              <a:custGeom>
                <a:avLst/>
                <a:gdLst>
                  <a:gd name="connsiteX0" fmla="*/ 932 w 136559"/>
                  <a:gd name="connsiteY0" fmla="*/ 56530 h 137396"/>
                  <a:gd name="connsiteX1" fmla="*/ 80030 w 136559"/>
                  <a:gd name="connsiteY1" fmla="*/ 1769 h 137396"/>
                  <a:gd name="connsiteX2" fmla="*/ 134791 w 136559"/>
                  <a:gd name="connsiteY2" fmla="*/ 80868 h 137396"/>
                  <a:gd name="connsiteX3" fmla="*/ 55692 w 136559"/>
                  <a:gd name="connsiteY3" fmla="*/ 135628 h 137396"/>
                  <a:gd name="connsiteX4" fmla="*/ 932 w 136559"/>
                  <a:gd name="connsiteY4" fmla="*/ 56530 h 137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559" h="137396">
                    <a:moveTo>
                      <a:pt x="932" y="56530"/>
                    </a:moveTo>
                    <a:cubicBezTo>
                      <a:pt x="7016" y="20023"/>
                      <a:pt x="43523" y="-7358"/>
                      <a:pt x="80030" y="1769"/>
                    </a:cubicBezTo>
                    <a:cubicBezTo>
                      <a:pt x="116537" y="7853"/>
                      <a:pt x="143918" y="44360"/>
                      <a:pt x="134791" y="80868"/>
                    </a:cubicBezTo>
                    <a:cubicBezTo>
                      <a:pt x="128706" y="117375"/>
                      <a:pt x="92200" y="144755"/>
                      <a:pt x="55692" y="135628"/>
                    </a:cubicBezTo>
                    <a:cubicBezTo>
                      <a:pt x="19185" y="129544"/>
                      <a:pt x="-5153" y="96079"/>
                      <a:pt x="932" y="5653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5" name="任意多边形: 形状 414">
                <a:extLst>
                  <a:ext uri="{FF2B5EF4-FFF2-40B4-BE49-F238E27FC236}">
                    <a16:creationId xmlns:a16="http://schemas.microsoft.com/office/drawing/2014/main" id="{50580A0B-B7F5-4ADB-A8B3-FEE1B06F64C4}"/>
                  </a:ext>
                </a:extLst>
              </p:cNvPr>
              <p:cNvSpPr/>
              <p:nvPr/>
            </p:nvSpPr>
            <p:spPr>
              <a:xfrm>
                <a:off x="7978987" y="4730119"/>
                <a:ext cx="136559" cy="137396"/>
              </a:xfrm>
              <a:custGeom>
                <a:avLst/>
                <a:gdLst>
                  <a:gd name="connsiteX0" fmla="*/ 932 w 136559"/>
                  <a:gd name="connsiteY0" fmla="*/ 56529 h 137396"/>
                  <a:gd name="connsiteX1" fmla="*/ 80031 w 136559"/>
                  <a:gd name="connsiteY1" fmla="*/ 1769 h 137396"/>
                  <a:gd name="connsiteX2" fmla="*/ 134791 w 136559"/>
                  <a:gd name="connsiteY2" fmla="*/ 80867 h 137396"/>
                  <a:gd name="connsiteX3" fmla="*/ 55692 w 136559"/>
                  <a:gd name="connsiteY3" fmla="*/ 135628 h 137396"/>
                  <a:gd name="connsiteX4" fmla="*/ 932 w 136559"/>
                  <a:gd name="connsiteY4" fmla="*/ 56529 h 137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559" h="137396">
                    <a:moveTo>
                      <a:pt x="932" y="56529"/>
                    </a:moveTo>
                    <a:cubicBezTo>
                      <a:pt x="7016" y="20022"/>
                      <a:pt x="43523" y="-7358"/>
                      <a:pt x="80031" y="1769"/>
                    </a:cubicBezTo>
                    <a:cubicBezTo>
                      <a:pt x="116538" y="7853"/>
                      <a:pt x="143918" y="44361"/>
                      <a:pt x="134791" y="80867"/>
                    </a:cubicBezTo>
                    <a:cubicBezTo>
                      <a:pt x="128706" y="117374"/>
                      <a:pt x="92199" y="144755"/>
                      <a:pt x="55692" y="135628"/>
                    </a:cubicBezTo>
                    <a:cubicBezTo>
                      <a:pt x="19185" y="129543"/>
                      <a:pt x="-5153" y="93037"/>
                      <a:pt x="932" y="56529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16" name="图形 1">
              <a:extLst>
                <a:ext uri="{FF2B5EF4-FFF2-40B4-BE49-F238E27FC236}">
                  <a16:creationId xmlns:a16="http://schemas.microsoft.com/office/drawing/2014/main" id="{E37F79C1-4061-47F0-8DFC-4337294AAFF0}"/>
                </a:ext>
              </a:extLst>
            </p:cNvPr>
            <p:cNvGrpSpPr/>
            <p:nvPr/>
          </p:nvGrpSpPr>
          <p:grpSpPr>
            <a:xfrm>
              <a:off x="8238173" y="4017517"/>
              <a:ext cx="213295" cy="300624"/>
              <a:chOff x="8238173" y="4017517"/>
              <a:chExt cx="213295" cy="300624"/>
            </a:xfrm>
          </p:grpSpPr>
          <p:sp>
            <p:nvSpPr>
              <p:cNvPr id="417" name="任意多边形: 形状 416">
                <a:extLst>
                  <a:ext uri="{FF2B5EF4-FFF2-40B4-BE49-F238E27FC236}">
                    <a16:creationId xmlns:a16="http://schemas.microsoft.com/office/drawing/2014/main" id="{B20A81EA-63A3-4455-8056-2441607CFB7C}"/>
                  </a:ext>
                </a:extLst>
              </p:cNvPr>
              <p:cNvSpPr/>
              <p:nvPr/>
            </p:nvSpPr>
            <p:spPr>
              <a:xfrm>
                <a:off x="8244230" y="4017517"/>
                <a:ext cx="207238" cy="294788"/>
              </a:xfrm>
              <a:custGeom>
                <a:avLst/>
                <a:gdLst>
                  <a:gd name="connsiteX0" fmla="*/ 143351 w 207238"/>
                  <a:gd name="connsiteY0" fmla="*/ 2483 h 294788"/>
                  <a:gd name="connsiteX1" fmla="*/ 15576 w 207238"/>
                  <a:gd name="connsiteY1" fmla="*/ 26822 h 294788"/>
                  <a:gd name="connsiteX2" fmla="*/ 3407 w 207238"/>
                  <a:gd name="connsiteY2" fmla="*/ 239779 h 294788"/>
                  <a:gd name="connsiteX3" fmla="*/ 27746 w 207238"/>
                  <a:gd name="connsiteY3" fmla="*/ 294540 h 294788"/>
                  <a:gd name="connsiteX4" fmla="*/ 61210 w 207238"/>
                  <a:gd name="connsiteY4" fmla="*/ 282371 h 294788"/>
                  <a:gd name="connsiteX5" fmla="*/ 112928 w 207238"/>
                  <a:gd name="connsiteY5" fmla="*/ 276286 h 294788"/>
                  <a:gd name="connsiteX6" fmla="*/ 143351 w 207238"/>
                  <a:gd name="connsiteY6" fmla="*/ 279329 h 294788"/>
                  <a:gd name="connsiteX7" fmla="*/ 164647 w 207238"/>
                  <a:gd name="connsiteY7" fmla="*/ 245864 h 294788"/>
                  <a:gd name="connsiteX8" fmla="*/ 207238 w 207238"/>
                  <a:gd name="connsiteY8" fmla="*/ 218483 h 294788"/>
                  <a:gd name="connsiteX9" fmla="*/ 182900 w 207238"/>
                  <a:gd name="connsiteY9" fmla="*/ 142427 h 294788"/>
                  <a:gd name="connsiteX10" fmla="*/ 170731 w 207238"/>
                  <a:gd name="connsiteY10" fmla="*/ 45075 h 294788"/>
                  <a:gd name="connsiteX11" fmla="*/ 143351 w 207238"/>
                  <a:gd name="connsiteY11" fmla="*/ 2483 h 294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7238" h="294788">
                    <a:moveTo>
                      <a:pt x="143351" y="2483"/>
                    </a:moveTo>
                    <a:cubicBezTo>
                      <a:pt x="103802" y="-9686"/>
                      <a:pt x="15576" y="26822"/>
                      <a:pt x="15576" y="26822"/>
                    </a:cubicBezTo>
                    <a:cubicBezTo>
                      <a:pt x="15576" y="115047"/>
                      <a:pt x="-8762" y="151554"/>
                      <a:pt x="3407" y="239779"/>
                    </a:cubicBezTo>
                    <a:cubicBezTo>
                      <a:pt x="6449" y="254991"/>
                      <a:pt x="-5719" y="288455"/>
                      <a:pt x="27746" y="294540"/>
                    </a:cubicBezTo>
                    <a:cubicBezTo>
                      <a:pt x="36872" y="294540"/>
                      <a:pt x="55126" y="297582"/>
                      <a:pt x="61210" y="282371"/>
                    </a:cubicBezTo>
                    <a:cubicBezTo>
                      <a:pt x="73379" y="300624"/>
                      <a:pt x="112928" y="291498"/>
                      <a:pt x="112928" y="276286"/>
                    </a:cubicBezTo>
                    <a:cubicBezTo>
                      <a:pt x="119013" y="279329"/>
                      <a:pt x="137266" y="282371"/>
                      <a:pt x="143351" y="279329"/>
                    </a:cubicBezTo>
                    <a:cubicBezTo>
                      <a:pt x="158562" y="270202"/>
                      <a:pt x="167689" y="264117"/>
                      <a:pt x="164647" y="245864"/>
                    </a:cubicBezTo>
                    <a:cubicBezTo>
                      <a:pt x="185943" y="251948"/>
                      <a:pt x="207238" y="245864"/>
                      <a:pt x="207238" y="218483"/>
                    </a:cubicBezTo>
                    <a:cubicBezTo>
                      <a:pt x="207238" y="185019"/>
                      <a:pt x="188985" y="175892"/>
                      <a:pt x="182900" y="142427"/>
                    </a:cubicBezTo>
                    <a:cubicBezTo>
                      <a:pt x="176816" y="112005"/>
                      <a:pt x="176816" y="78540"/>
                      <a:pt x="170731" y="45075"/>
                    </a:cubicBezTo>
                    <a:cubicBezTo>
                      <a:pt x="170731" y="17695"/>
                      <a:pt x="167689" y="11610"/>
                      <a:pt x="143351" y="2483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8" name="任意多边形: 形状 417">
                <a:extLst>
                  <a:ext uri="{FF2B5EF4-FFF2-40B4-BE49-F238E27FC236}">
                    <a16:creationId xmlns:a16="http://schemas.microsoft.com/office/drawing/2014/main" id="{BA33FEDD-6CAF-434B-860B-BBB430FEFD39}"/>
                  </a:ext>
                </a:extLst>
              </p:cNvPr>
              <p:cNvSpPr/>
              <p:nvPr/>
            </p:nvSpPr>
            <p:spPr>
              <a:xfrm>
                <a:off x="8238173" y="4167811"/>
                <a:ext cx="75633" cy="150330"/>
              </a:xfrm>
              <a:custGeom>
                <a:avLst/>
                <a:gdLst>
                  <a:gd name="connsiteX0" fmla="*/ 36845 w 75633"/>
                  <a:gd name="connsiteY0" fmla="*/ 150331 h 150330"/>
                  <a:gd name="connsiteX1" fmla="*/ 30760 w 75633"/>
                  <a:gd name="connsiteY1" fmla="*/ 150331 h 150330"/>
                  <a:gd name="connsiteX2" fmla="*/ 9465 w 75633"/>
                  <a:gd name="connsiteY2" fmla="*/ 135119 h 150330"/>
                  <a:gd name="connsiteX3" fmla="*/ 9465 w 75633"/>
                  <a:gd name="connsiteY3" fmla="*/ 4302 h 150330"/>
                  <a:gd name="connsiteX4" fmla="*/ 15549 w 75633"/>
                  <a:gd name="connsiteY4" fmla="*/ 1260 h 150330"/>
                  <a:gd name="connsiteX5" fmla="*/ 18592 w 75633"/>
                  <a:gd name="connsiteY5" fmla="*/ 7345 h 150330"/>
                  <a:gd name="connsiteX6" fmla="*/ 18592 w 75633"/>
                  <a:gd name="connsiteY6" fmla="*/ 129035 h 150330"/>
                  <a:gd name="connsiteX7" fmla="*/ 30760 w 75633"/>
                  <a:gd name="connsiteY7" fmla="*/ 138162 h 150330"/>
                  <a:gd name="connsiteX8" fmla="*/ 64225 w 75633"/>
                  <a:gd name="connsiteY8" fmla="*/ 125992 h 150330"/>
                  <a:gd name="connsiteX9" fmla="*/ 73352 w 75633"/>
                  <a:gd name="connsiteY9" fmla="*/ 125992 h 150330"/>
                  <a:gd name="connsiteX10" fmla="*/ 73352 w 75633"/>
                  <a:gd name="connsiteY10" fmla="*/ 135119 h 150330"/>
                  <a:gd name="connsiteX11" fmla="*/ 36845 w 75633"/>
                  <a:gd name="connsiteY11" fmla="*/ 150331 h 150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5633" h="150330">
                    <a:moveTo>
                      <a:pt x="36845" y="150331"/>
                    </a:moveTo>
                    <a:cubicBezTo>
                      <a:pt x="33803" y="150331"/>
                      <a:pt x="33803" y="150331"/>
                      <a:pt x="30760" y="150331"/>
                    </a:cubicBezTo>
                    <a:cubicBezTo>
                      <a:pt x="21634" y="147288"/>
                      <a:pt x="15549" y="144246"/>
                      <a:pt x="9465" y="135119"/>
                    </a:cubicBezTo>
                    <a:cubicBezTo>
                      <a:pt x="-11831" y="95570"/>
                      <a:pt x="9465" y="10387"/>
                      <a:pt x="9465" y="4302"/>
                    </a:cubicBezTo>
                    <a:cubicBezTo>
                      <a:pt x="9465" y="1260"/>
                      <a:pt x="12507" y="-1782"/>
                      <a:pt x="15549" y="1260"/>
                    </a:cubicBezTo>
                    <a:cubicBezTo>
                      <a:pt x="18592" y="1260"/>
                      <a:pt x="21634" y="4302"/>
                      <a:pt x="18592" y="7345"/>
                    </a:cubicBezTo>
                    <a:cubicBezTo>
                      <a:pt x="18592" y="7345"/>
                      <a:pt x="338" y="92528"/>
                      <a:pt x="18592" y="129035"/>
                    </a:cubicBezTo>
                    <a:cubicBezTo>
                      <a:pt x="21634" y="135119"/>
                      <a:pt x="24676" y="138162"/>
                      <a:pt x="30760" y="138162"/>
                    </a:cubicBezTo>
                    <a:cubicBezTo>
                      <a:pt x="42929" y="141204"/>
                      <a:pt x="58141" y="129035"/>
                      <a:pt x="64225" y="125992"/>
                    </a:cubicBezTo>
                    <a:cubicBezTo>
                      <a:pt x="67267" y="122950"/>
                      <a:pt x="70310" y="122950"/>
                      <a:pt x="73352" y="125992"/>
                    </a:cubicBezTo>
                    <a:cubicBezTo>
                      <a:pt x="76394" y="129035"/>
                      <a:pt x="76394" y="132077"/>
                      <a:pt x="73352" y="135119"/>
                    </a:cubicBezTo>
                    <a:cubicBezTo>
                      <a:pt x="73352" y="135119"/>
                      <a:pt x="55099" y="150331"/>
                      <a:pt x="36845" y="15033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9" name="任意多边形: 形状 418">
                <a:extLst>
                  <a:ext uri="{FF2B5EF4-FFF2-40B4-BE49-F238E27FC236}">
                    <a16:creationId xmlns:a16="http://schemas.microsoft.com/office/drawing/2014/main" id="{D3031F14-9374-4645-A55F-9CBF6F877D7F}"/>
                  </a:ext>
                </a:extLst>
              </p:cNvPr>
              <p:cNvSpPr/>
              <p:nvPr/>
            </p:nvSpPr>
            <p:spPr>
              <a:xfrm>
                <a:off x="8314567" y="4223832"/>
                <a:ext cx="88225" cy="42591"/>
              </a:xfrm>
              <a:custGeom>
                <a:avLst/>
                <a:gdLst>
                  <a:gd name="connsiteX0" fmla="*/ 6084 w 88225"/>
                  <a:gd name="connsiteY0" fmla="*/ 42592 h 42591"/>
                  <a:gd name="connsiteX1" fmla="*/ 0 w 88225"/>
                  <a:gd name="connsiteY1" fmla="*/ 36507 h 42591"/>
                  <a:gd name="connsiteX2" fmla="*/ 6084 w 88225"/>
                  <a:gd name="connsiteY2" fmla="*/ 30423 h 42591"/>
                  <a:gd name="connsiteX3" fmla="*/ 79099 w 88225"/>
                  <a:gd name="connsiteY3" fmla="*/ 0 h 42591"/>
                  <a:gd name="connsiteX4" fmla="*/ 88225 w 88225"/>
                  <a:gd name="connsiteY4" fmla="*/ 3042 h 42591"/>
                  <a:gd name="connsiteX5" fmla="*/ 85183 w 88225"/>
                  <a:gd name="connsiteY5" fmla="*/ 12169 h 42591"/>
                  <a:gd name="connsiteX6" fmla="*/ 6084 w 88225"/>
                  <a:gd name="connsiteY6" fmla="*/ 42592 h 42591"/>
                  <a:gd name="connsiteX7" fmla="*/ 6084 w 88225"/>
                  <a:gd name="connsiteY7" fmla="*/ 42592 h 42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225" h="42591">
                    <a:moveTo>
                      <a:pt x="6084" y="42592"/>
                    </a:moveTo>
                    <a:cubicBezTo>
                      <a:pt x="3042" y="42592"/>
                      <a:pt x="0" y="39549"/>
                      <a:pt x="0" y="36507"/>
                    </a:cubicBezTo>
                    <a:cubicBezTo>
                      <a:pt x="0" y="33465"/>
                      <a:pt x="3042" y="30423"/>
                      <a:pt x="6084" y="30423"/>
                    </a:cubicBezTo>
                    <a:cubicBezTo>
                      <a:pt x="21296" y="30423"/>
                      <a:pt x="63888" y="9127"/>
                      <a:pt x="79099" y="0"/>
                    </a:cubicBezTo>
                    <a:cubicBezTo>
                      <a:pt x="82141" y="0"/>
                      <a:pt x="85183" y="0"/>
                      <a:pt x="88225" y="3042"/>
                    </a:cubicBezTo>
                    <a:cubicBezTo>
                      <a:pt x="88225" y="6085"/>
                      <a:pt x="88225" y="9127"/>
                      <a:pt x="85183" y="12169"/>
                    </a:cubicBezTo>
                    <a:cubicBezTo>
                      <a:pt x="82141" y="12169"/>
                      <a:pt x="27380" y="39549"/>
                      <a:pt x="6084" y="42592"/>
                    </a:cubicBezTo>
                    <a:cubicBezTo>
                      <a:pt x="6084" y="42592"/>
                      <a:pt x="6084" y="42592"/>
                      <a:pt x="6084" y="4259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20" name="任意多边形: 形状 419">
              <a:extLst>
                <a:ext uri="{FF2B5EF4-FFF2-40B4-BE49-F238E27FC236}">
                  <a16:creationId xmlns:a16="http://schemas.microsoft.com/office/drawing/2014/main" id="{DE8C086D-12CD-4D30-AAB5-27896CBFAE01}"/>
                </a:ext>
              </a:extLst>
            </p:cNvPr>
            <p:cNvSpPr/>
            <p:nvPr/>
          </p:nvSpPr>
          <p:spPr>
            <a:xfrm>
              <a:off x="7785619" y="2839246"/>
              <a:ext cx="655822" cy="1244677"/>
            </a:xfrm>
            <a:custGeom>
              <a:avLst/>
              <a:gdLst>
                <a:gd name="connsiteX0" fmla="*/ 112159 w 655822"/>
                <a:gd name="connsiteY0" fmla="*/ 374557 h 1244677"/>
                <a:gd name="connsiteX1" fmla="*/ 343370 w 655822"/>
                <a:gd name="connsiteY1" fmla="*/ 645318 h 1244677"/>
                <a:gd name="connsiteX2" fmla="*/ 458976 w 655822"/>
                <a:gd name="connsiteY2" fmla="*/ 1229431 h 1244677"/>
                <a:gd name="connsiteX3" fmla="*/ 647596 w 655822"/>
                <a:gd name="connsiteY3" fmla="*/ 1220304 h 1244677"/>
                <a:gd name="connsiteX4" fmla="*/ 605004 w 655822"/>
                <a:gd name="connsiteY4" fmla="*/ 538839 h 1244677"/>
                <a:gd name="connsiteX5" fmla="*/ 288610 w 655822"/>
                <a:gd name="connsiteY5" fmla="*/ 88585 h 1244677"/>
                <a:gd name="connsiteX6" fmla="*/ 30019 w 655822"/>
                <a:gd name="connsiteY6" fmla="*/ 15571 h 1244677"/>
                <a:gd name="connsiteX7" fmla="*/ 112159 w 655822"/>
                <a:gd name="connsiteY7" fmla="*/ 374557 h 1244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55822" h="1244677">
                  <a:moveTo>
                    <a:pt x="112159" y="374557"/>
                  </a:moveTo>
                  <a:cubicBezTo>
                    <a:pt x="169962" y="441487"/>
                    <a:pt x="297737" y="566219"/>
                    <a:pt x="343370" y="645318"/>
                  </a:cubicBezTo>
                  <a:cubicBezTo>
                    <a:pt x="410300" y="757881"/>
                    <a:pt x="452892" y="1226388"/>
                    <a:pt x="458976" y="1229431"/>
                  </a:cubicBezTo>
                  <a:cubicBezTo>
                    <a:pt x="525906" y="1253769"/>
                    <a:pt x="586751" y="1247684"/>
                    <a:pt x="647596" y="1220304"/>
                  </a:cubicBezTo>
                  <a:cubicBezTo>
                    <a:pt x="656723" y="1217261"/>
                    <a:pt x="671934" y="748754"/>
                    <a:pt x="605004" y="538839"/>
                  </a:cubicBezTo>
                  <a:cubicBezTo>
                    <a:pt x="583709" y="474952"/>
                    <a:pt x="422469" y="201149"/>
                    <a:pt x="288610" y="88585"/>
                  </a:cubicBezTo>
                  <a:cubicBezTo>
                    <a:pt x="221680" y="33825"/>
                    <a:pt x="75652" y="-30062"/>
                    <a:pt x="30019" y="15571"/>
                  </a:cubicBezTo>
                  <a:cubicBezTo>
                    <a:pt x="-42996" y="94670"/>
                    <a:pt x="30019" y="283290"/>
                    <a:pt x="112159" y="374557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1" name="任意多边形: 形状 420">
              <a:extLst>
                <a:ext uri="{FF2B5EF4-FFF2-40B4-BE49-F238E27FC236}">
                  <a16:creationId xmlns:a16="http://schemas.microsoft.com/office/drawing/2014/main" id="{EBED6B94-668E-4BE2-B499-B8FE90C15C8F}"/>
                </a:ext>
              </a:extLst>
            </p:cNvPr>
            <p:cNvSpPr/>
            <p:nvPr/>
          </p:nvSpPr>
          <p:spPr>
            <a:xfrm>
              <a:off x="7785575" y="2852536"/>
              <a:ext cx="220963" cy="482957"/>
            </a:xfrm>
            <a:custGeom>
              <a:avLst/>
              <a:gdLst>
                <a:gd name="connsiteX0" fmla="*/ 215640 w 220963"/>
                <a:gd name="connsiteY0" fmla="*/ 479916 h 482957"/>
                <a:gd name="connsiteX1" fmla="*/ 212598 w 220963"/>
                <a:gd name="connsiteY1" fmla="*/ 479916 h 482957"/>
                <a:gd name="connsiteX2" fmla="*/ 30063 w 220963"/>
                <a:gd name="connsiteY2" fmla="*/ 236535 h 482957"/>
                <a:gd name="connsiteX3" fmla="*/ 23978 w 220963"/>
                <a:gd name="connsiteY3" fmla="*/ 2282 h 482957"/>
                <a:gd name="connsiteX4" fmla="*/ 33105 w 220963"/>
                <a:gd name="connsiteY4" fmla="*/ 2282 h 482957"/>
                <a:gd name="connsiteX5" fmla="*/ 33105 w 220963"/>
                <a:gd name="connsiteY5" fmla="*/ 11408 h 482957"/>
                <a:gd name="connsiteX6" fmla="*/ 39189 w 220963"/>
                <a:gd name="connsiteY6" fmla="*/ 233493 h 482957"/>
                <a:gd name="connsiteX7" fmla="*/ 218682 w 220963"/>
                <a:gd name="connsiteY7" fmla="*/ 473831 h 482957"/>
                <a:gd name="connsiteX8" fmla="*/ 218682 w 220963"/>
                <a:gd name="connsiteY8" fmla="*/ 482958 h 482957"/>
                <a:gd name="connsiteX9" fmla="*/ 215640 w 220963"/>
                <a:gd name="connsiteY9" fmla="*/ 479916 h 482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963" h="482957">
                  <a:moveTo>
                    <a:pt x="215640" y="479916"/>
                  </a:moveTo>
                  <a:cubicBezTo>
                    <a:pt x="215640" y="479916"/>
                    <a:pt x="212598" y="479916"/>
                    <a:pt x="212598" y="479916"/>
                  </a:cubicBezTo>
                  <a:cubicBezTo>
                    <a:pt x="212598" y="479916"/>
                    <a:pt x="93950" y="388648"/>
                    <a:pt x="30063" y="236535"/>
                  </a:cubicBezTo>
                  <a:cubicBezTo>
                    <a:pt x="-33825" y="84423"/>
                    <a:pt x="23978" y="5324"/>
                    <a:pt x="23978" y="2282"/>
                  </a:cubicBezTo>
                  <a:cubicBezTo>
                    <a:pt x="27020" y="-761"/>
                    <a:pt x="30063" y="-761"/>
                    <a:pt x="33105" y="2282"/>
                  </a:cubicBezTo>
                  <a:cubicBezTo>
                    <a:pt x="36147" y="5324"/>
                    <a:pt x="36147" y="8366"/>
                    <a:pt x="33105" y="11408"/>
                  </a:cubicBezTo>
                  <a:cubicBezTo>
                    <a:pt x="33105" y="11408"/>
                    <a:pt x="-21656" y="87465"/>
                    <a:pt x="39189" y="233493"/>
                  </a:cubicBezTo>
                  <a:cubicBezTo>
                    <a:pt x="103077" y="382563"/>
                    <a:pt x="218682" y="470789"/>
                    <a:pt x="218682" y="473831"/>
                  </a:cubicBezTo>
                  <a:cubicBezTo>
                    <a:pt x="221724" y="476873"/>
                    <a:pt x="221724" y="479916"/>
                    <a:pt x="218682" y="482958"/>
                  </a:cubicBezTo>
                  <a:cubicBezTo>
                    <a:pt x="218682" y="476873"/>
                    <a:pt x="215640" y="479916"/>
                    <a:pt x="215640" y="479916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0836106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4D0A77E6-9F60-4AD9-98BC-BE7BD7CDD84A}"/>
              </a:ext>
            </a:extLst>
          </p:cNvPr>
          <p:cNvGrpSpPr/>
          <p:nvPr/>
        </p:nvGrpSpPr>
        <p:grpSpPr>
          <a:xfrm>
            <a:off x="2994904" y="2072536"/>
            <a:ext cx="2757124" cy="4785464"/>
            <a:chOff x="10428091" y="1738311"/>
            <a:chExt cx="2757124" cy="4785464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B117B2E2-1164-4E29-A498-54608E218F34}"/>
                </a:ext>
              </a:extLst>
            </p:cNvPr>
            <p:cNvSpPr/>
            <p:nvPr/>
          </p:nvSpPr>
          <p:spPr>
            <a:xfrm>
              <a:off x="12632596" y="2939205"/>
              <a:ext cx="249154" cy="301978"/>
            </a:xfrm>
            <a:custGeom>
              <a:avLst/>
              <a:gdLst>
                <a:gd name="connsiteX0" fmla="*/ 242309 w 249154"/>
                <a:gd name="connsiteY0" fmla="*/ 165077 h 301978"/>
                <a:gd name="connsiteX1" fmla="*/ 248394 w 249154"/>
                <a:gd name="connsiteY1" fmla="*/ 110317 h 301978"/>
                <a:gd name="connsiteX2" fmla="*/ 245352 w 249154"/>
                <a:gd name="connsiteY2" fmla="*/ 73810 h 301978"/>
                <a:gd name="connsiteX3" fmla="*/ 202760 w 249154"/>
                <a:gd name="connsiteY3" fmla="*/ 37303 h 301978"/>
                <a:gd name="connsiteX4" fmla="*/ 169296 w 249154"/>
                <a:gd name="connsiteY4" fmla="*/ 796 h 301978"/>
                <a:gd name="connsiteX5" fmla="*/ 5014 w 249154"/>
                <a:gd name="connsiteY5" fmla="*/ 219838 h 301978"/>
                <a:gd name="connsiteX6" fmla="*/ 120619 w 249154"/>
                <a:gd name="connsiteY6" fmla="*/ 301979 h 301978"/>
                <a:gd name="connsiteX7" fmla="*/ 224056 w 249154"/>
                <a:gd name="connsiteY7" fmla="*/ 207669 h 301978"/>
                <a:gd name="connsiteX8" fmla="*/ 242309 w 249154"/>
                <a:gd name="connsiteY8" fmla="*/ 165077 h 301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154" h="301978">
                  <a:moveTo>
                    <a:pt x="242309" y="165077"/>
                  </a:moveTo>
                  <a:cubicBezTo>
                    <a:pt x="239267" y="155951"/>
                    <a:pt x="248394" y="128570"/>
                    <a:pt x="248394" y="110317"/>
                  </a:cubicBezTo>
                  <a:cubicBezTo>
                    <a:pt x="248394" y="107275"/>
                    <a:pt x="251437" y="82937"/>
                    <a:pt x="245352" y="73810"/>
                  </a:cubicBezTo>
                  <a:cubicBezTo>
                    <a:pt x="239267" y="61641"/>
                    <a:pt x="190592" y="52514"/>
                    <a:pt x="202760" y="37303"/>
                  </a:cubicBezTo>
                  <a:cubicBezTo>
                    <a:pt x="208844" y="25134"/>
                    <a:pt x="178422" y="-5289"/>
                    <a:pt x="169296" y="796"/>
                  </a:cubicBezTo>
                  <a:cubicBezTo>
                    <a:pt x="114535" y="37303"/>
                    <a:pt x="-28451" y="140739"/>
                    <a:pt x="5014" y="219838"/>
                  </a:cubicBezTo>
                  <a:cubicBezTo>
                    <a:pt x="5014" y="219838"/>
                    <a:pt x="87154" y="298937"/>
                    <a:pt x="120619" y="301979"/>
                  </a:cubicBezTo>
                  <a:cubicBezTo>
                    <a:pt x="169296" y="301979"/>
                    <a:pt x="190592" y="238091"/>
                    <a:pt x="224056" y="207669"/>
                  </a:cubicBezTo>
                  <a:cubicBezTo>
                    <a:pt x="245352" y="186373"/>
                    <a:pt x="248394" y="180289"/>
                    <a:pt x="242309" y="165077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43080353-CA2A-493E-959B-263C352F8295}"/>
                </a:ext>
              </a:extLst>
            </p:cNvPr>
            <p:cNvGrpSpPr/>
            <p:nvPr/>
          </p:nvGrpSpPr>
          <p:grpSpPr>
            <a:xfrm>
              <a:off x="10428091" y="2608319"/>
              <a:ext cx="1070391" cy="1259798"/>
              <a:chOff x="10428091" y="2608319"/>
              <a:chExt cx="1070391" cy="1259798"/>
            </a:xfrm>
          </p:grpSpPr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46254652-631B-4CDD-8D70-31FF284E950B}"/>
                  </a:ext>
                </a:extLst>
              </p:cNvPr>
              <p:cNvSpPr/>
              <p:nvPr/>
            </p:nvSpPr>
            <p:spPr>
              <a:xfrm>
                <a:off x="10503607" y="2608319"/>
                <a:ext cx="994876" cy="1259798"/>
              </a:xfrm>
              <a:custGeom>
                <a:avLst/>
                <a:gdLst>
                  <a:gd name="connsiteX0" fmla="*/ 965778 w 994876"/>
                  <a:gd name="connsiteY0" fmla="*/ 371231 h 1259798"/>
                  <a:gd name="connsiteX1" fmla="*/ 816707 w 994876"/>
                  <a:gd name="connsiteY1" fmla="*/ 88302 h 1259798"/>
                  <a:gd name="connsiteX2" fmla="*/ 448595 w 994876"/>
                  <a:gd name="connsiteY2" fmla="*/ 3119 h 1259798"/>
                  <a:gd name="connsiteX3" fmla="*/ 159581 w 994876"/>
                  <a:gd name="connsiteY3" fmla="*/ 225203 h 1259798"/>
                  <a:gd name="connsiteX4" fmla="*/ 31806 w 994876"/>
                  <a:gd name="connsiteY4" fmla="*/ 1077034 h 1259798"/>
                  <a:gd name="connsiteX5" fmla="*/ 378622 w 994876"/>
                  <a:gd name="connsiteY5" fmla="*/ 1259570 h 1259798"/>
                  <a:gd name="connsiteX6" fmla="*/ 984031 w 994876"/>
                  <a:gd name="connsiteY6" fmla="*/ 742386 h 1259798"/>
                  <a:gd name="connsiteX7" fmla="*/ 965778 w 994876"/>
                  <a:gd name="connsiteY7" fmla="*/ 371231 h 1259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4876" h="1259798">
                    <a:moveTo>
                      <a:pt x="965778" y="371231"/>
                    </a:moveTo>
                    <a:cubicBezTo>
                      <a:pt x="941439" y="261710"/>
                      <a:pt x="895805" y="155231"/>
                      <a:pt x="816707" y="88302"/>
                    </a:cubicBezTo>
                    <a:cubicBezTo>
                      <a:pt x="713270" y="76"/>
                      <a:pt x="573326" y="-6008"/>
                      <a:pt x="448595" y="3119"/>
                    </a:cubicBezTo>
                    <a:cubicBezTo>
                      <a:pt x="326905" y="12245"/>
                      <a:pt x="205214" y="143062"/>
                      <a:pt x="159581" y="225203"/>
                    </a:cubicBezTo>
                    <a:cubicBezTo>
                      <a:pt x="56143" y="422950"/>
                      <a:pt x="-56420" y="800189"/>
                      <a:pt x="31806" y="1077034"/>
                    </a:cubicBezTo>
                    <a:cubicBezTo>
                      <a:pt x="68313" y="1186555"/>
                      <a:pt x="281271" y="1250443"/>
                      <a:pt x="378622" y="1259570"/>
                    </a:cubicBezTo>
                    <a:cubicBezTo>
                      <a:pt x="515524" y="1268696"/>
                      <a:pt x="938397" y="1004020"/>
                      <a:pt x="984031" y="742386"/>
                    </a:cubicBezTo>
                    <a:cubicBezTo>
                      <a:pt x="1005327" y="620696"/>
                      <a:pt x="993158" y="489879"/>
                      <a:pt x="965778" y="371231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0C75E172-F0DD-4F7E-8B6C-6927BE473FAF}"/>
                  </a:ext>
                </a:extLst>
              </p:cNvPr>
              <p:cNvSpPr/>
              <p:nvPr/>
            </p:nvSpPr>
            <p:spPr>
              <a:xfrm>
                <a:off x="10432678" y="3302867"/>
                <a:ext cx="178790" cy="390598"/>
              </a:xfrm>
              <a:custGeom>
                <a:avLst/>
                <a:gdLst>
                  <a:gd name="connsiteX0" fmla="*/ 178791 w 178790"/>
                  <a:gd name="connsiteY0" fmla="*/ 26542 h 390598"/>
                  <a:gd name="connsiteX1" fmla="*/ 178791 w 178790"/>
                  <a:gd name="connsiteY1" fmla="*/ 382486 h 390598"/>
                  <a:gd name="connsiteX2" fmla="*/ 44932 w 178790"/>
                  <a:gd name="connsiteY2" fmla="*/ 382486 h 390598"/>
                  <a:gd name="connsiteX3" fmla="*/ 17552 w 178790"/>
                  <a:gd name="connsiteY3" fmla="*/ 26542 h 390598"/>
                  <a:gd name="connsiteX4" fmla="*/ 178791 w 178790"/>
                  <a:gd name="connsiteY4" fmla="*/ 26542 h 390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8790" h="390598">
                    <a:moveTo>
                      <a:pt x="178791" y="26542"/>
                    </a:moveTo>
                    <a:cubicBezTo>
                      <a:pt x="178791" y="26542"/>
                      <a:pt x="139242" y="224289"/>
                      <a:pt x="178791" y="382486"/>
                    </a:cubicBezTo>
                    <a:cubicBezTo>
                      <a:pt x="178791" y="382486"/>
                      <a:pt x="93608" y="400740"/>
                      <a:pt x="44932" y="382486"/>
                    </a:cubicBezTo>
                    <a:cubicBezTo>
                      <a:pt x="-3745" y="364233"/>
                      <a:pt x="-12871" y="56965"/>
                      <a:pt x="17552" y="26542"/>
                    </a:cubicBezTo>
                    <a:cubicBezTo>
                      <a:pt x="47974" y="-838"/>
                      <a:pt x="148368" y="-16049"/>
                      <a:pt x="178791" y="26542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049B0DE9-0728-44C6-9412-9603F28B5DE7}"/>
                  </a:ext>
                </a:extLst>
              </p:cNvPr>
              <p:cNvSpPr/>
              <p:nvPr/>
            </p:nvSpPr>
            <p:spPr>
              <a:xfrm>
                <a:off x="10428091" y="3297420"/>
                <a:ext cx="189462" cy="403143"/>
              </a:xfrm>
              <a:custGeom>
                <a:avLst/>
                <a:gdLst>
                  <a:gd name="connsiteX0" fmla="*/ 104279 w 189462"/>
                  <a:gd name="connsiteY0" fmla="*/ 403144 h 403143"/>
                  <a:gd name="connsiteX1" fmla="*/ 46476 w 189462"/>
                  <a:gd name="connsiteY1" fmla="*/ 394017 h 403143"/>
                  <a:gd name="connsiteX2" fmla="*/ 13011 w 189462"/>
                  <a:gd name="connsiteY2" fmla="*/ 321003 h 403143"/>
                  <a:gd name="connsiteX3" fmla="*/ 19096 w 189462"/>
                  <a:gd name="connsiteY3" fmla="*/ 28947 h 403143"/>
                  <a:gd name="connsiteX4" fmla="*/ 131659 w 189462"/>
                  <a:gd name="connsiteY4" fmla="*/ 1566 h 403143"/>
                  <a:gd name="connsiteX5" fmla="*/ 189463 w 189462"/>
                  <a:gd name="connsiteY5" fmla="*/ 31989 h 403143"/>
                  <a:gd name="connsiteX6" fmla="*/ 189463 w 189462"/>
                  <a:gd name="connsiteY6" fmla="*/ 35031 h 403143"/>
                  <a:gd name="connsiteX7" fmla="*/ 189463 w 189462"/>
                  <a:gd name="connsiteY7" fmla="*/ 38073 h 403143"/>
                  <a:gd name="connsiteX8" fmla="*/ 183378 w 189462"/>
                  <a:gd name="connsiteY8" fmla="*/ 357510 h 403143"/>
                  <a:gd name="connsiteX9" fmla="*/ 177293 w 189462"/>
                  <a:gd name="connsiteY9" fmla="*/ 387933 h 403143"/>
                  <a:gd name="connsiteX10" fmla="*/ 149913 w 189462"/>
                  <a:gd name="connsiteY10" fmla="*/ 403144 h 403143"/>
                  <a:gd name="connsiteX11" fmla="*/ 104279 w 189462"/>
                  <a:gd name="connsiteY11" fmla="*/ 403144 h 403143"/>
                  <a:gd name="connsiteX12" fmla="*/ 110364 w 189462"/>
                  <a:gd name="connsiteY12" fmla="*/ 10693 h 403143"/>
                  <a:gd name="connsiteX13" fmla="*/ 22139 w 189462"/>
                  <a:gd name="connsiteY13" fmla="*/ 35031 h 403143"/>
                  <a:gd name="connsiteX14" fmla="*/ 19096 w 189462"/>
                  <a:gd name="connsiteY14" fmla="*/ 317961 h 403143"/>
                  <a:gd name="connsiteX15" fmla="*/ 46476 w 189462"/>
                  <a:gd name="connsiteY15" fmla="*/ 381848 h 403143"/>
                  <a:gd name="connsiteX16" fmla="*/ 143829 w 189462"/>
                  <a:gd name="connsiteY16" fmla="*/ 387933 h 403143"/>
                  <a:gd name="connsiteX17" fmla="*/ 162082 w 189462"/>
                  <a:gd name="connsiteY17" fmla="*/ 375763 h 403143"/>
                  <a:gd name="connsiteX18" fmla="*/ 168167 w 189462"/>
                  <a:gd name="connsiteY18" fmla="*/ 354468 h 403143"/>
                  <a:gd name="connsiteX19" fmla="*/ 174251 w 189462"/>
                  <a:gd name="connsiteY19" fmla="*/ 31989 h 403143"/>
                  <a:gd name="connsiteX20" fmla="*/ 125575 w 189462"/>
                  <a:gd name="connsiteY20" fmla="*/ 10693 h 403143"/>
                  <a:gd name="connsiteX21" fmla="*/ 110364 w 189462"/>
                  <a:gd name="connsiteY21" fmla="*/ 10693 h 403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89462" h="403143">
                    <a:moveTo>
                      <a:pt x="104279" y="403144"/>
                    </a:moveTo>
                    <a:cubicBezTo>
                      <a:pt x="82984" y="403144"/>
                      <a:pt x="61688" y="400102"/>
                      <a:pt x="46476" y="394017"/>
                    </a:cubicBezTo>
                    <a:cubicBezTo>
                      <a:pt x="31265" y="387933"/>
                      <a:pt x="19096" y="363595"/>
                      <a:pt x="13011" y="321003"/>
                    </a:cubicBezTo>
                    <a:cubicBezTo>
                      <a:pt x="-5242" y="226693"/>
                      <a:pt x="-5242" y="53285"/>
                      <a:pt x="19096" y="28947"/>
                    </a:cubicBezTo>
                    <a:cubicBezTo>
                      <a:pt x="40392" y="7651"/>
                      <a:pt x="89068" y="-4518"/>
                      <a:pt x="131659" y="1566"/>
                    </a:cubicBezTo>
                    <a:cubicBezTo>
                      <a:pt x="159040" y="4609"/>
                      <a:pt x="180335" y="13735"/>
                      <a:pt x="189463" y="31989"/>
                    </a:cubicBezTo>
                    <a:lnTo>
                      <a:pt x="189463" y="35031"/>
                    </a:lnTo>
                    <a:lnTo>
                      <a:pt x="189463" y="38073"/>
                    </a:lnTo>
                    <a:cubicBezTo>
                      <a:pt x="189463" y="41116"/>
                      <a:pt x="155998" y="211482"/>
                      <a:pt x="183378" y="357510"/>
                    </a:cubicBezTo>
                    <a:cubicBezTo>
                      <a:pt x="186420" y="366637"/>
                      <a:pt x="183378" y="378806"/>
                      <a:pt x="177293" y="387933"/>
                    </a:cubicBezTo>
                    <a:cubicBezTo>
                      <a:pt x="171209" y="397059"/>
                      <a:pt x="162082" y="403144"/>
                      <a:pt x="149913" y="403144"/>
                    </a:cubicBezTo>
                    <a:cubicBezTo>
                      <a:pt x="134702" y="400102"/>
                      <a:pt x="119490" y="403144"/>
                      <a:pt x="104279" y="403144"/>
                    </a:cubicBezTo>
                    <a:close/>
                    <a:moveTo>
                      <a:pt x="110364" y="10693"/>
                    </a:moveTo>
                    <a:cubicBezTo>
                      <a:pt x="76899" y="10693"/>
                      <a:pt x="40392" y="19820"/>
                      <a:pt x="22139" y="35031"/>
                    </a:cubicBezTo>
                    <a:cubicBezTo>
                      <a:pt x="3885" y="53285"/>
                      <a:pt x="-2200" y="217566"/>
                      <a:pt x="19096" y="317961"/>
                    </a:cubicBezTo>
                    <a:cubicBezTo>
                      <a:pt x="28223" y="369679"/>
                      <a:pt x="40392" y="378806"/>
                      <a:pt x="46476" y="381848"/>
                    </a:cubicBezTo>
                    <a:cubicBezTo>
                      <a:pt x="73857" y="390975"/>
                      <a:pt x="113406" y="390975"/>
                      <a:pt x="143829" y="387933"/>
                    </a:cubicBezTo>
                    <a:cubicBezTo>
                      <a:pt x="152955" y="387933"/>
                      <a:pt x="159040" y="381848"/>
                      <a:pt x="162082" y="375763"/>
                    </a:cubicBezTo>
                    <a:cubicBezTo>
                      <a:pt x="165124" y="369679"/>
                      <a:pt x="168167" y="363595"/>
                      <a:pt x="168167" y="354468"/>
                    </a:cubicBezTo>
                    <a:cubicBezTo>
                      <a:pt x="143829" y="214524"/>
                      <a:pt x="171209" y="53285"/>
                      <a:pt x="174251" y="31989"/>
                    </a:cubicBezTo>
                    <a:cubicBezTo>
                      <a:pt x="162082" y="16778"/>
                      <a:pt x="140786" y="10693"/>
                      <a:pt x="125575" y="10693"/>
                    </a:cubicBezTo>
                    <a:cubicBezTo>
                      <a:pt x="122533" y="10693"/>
                      <a:pt x="116448" y="10693"/>
                      <a:pt x="110364" y="1069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710D382F-443A-43A5-8944-4524F99A1348}"/>
                  </a:ext>
                </a:extLst>
              </p:cNvPr>
              <p:cNvSpPr/>
              <p:nvPr/>
            </p:nvSpPr>
            <p:spPr>
              <a:xfrm>
                <a:off x="10477465" y="2812250"/>
                <a:ext cx="258735" cy="392426"/>
              </a:xfrm>
              <a:custGeom>
                <a:avLst/>
                <a:gdLst>
                  <a:gd name="connsiteX0" fmla="*/ 258736 w 258735"/>
                  <a:gd name="connsiteY0" fmla="*/ 60821 h 392426"/>
                  <a:gd name="connsiteX1" fmla="*/ 137046 w 258735"/>
                  <a:gd name="connsiteY1" fmla="*/ 392427 h 392426"/>
                  <a:gd name="connsiteX2" fmla="*/ 9271 w 258735"/>
                  <a:gd name="connsiteY2" fmla="*/ 346793 h 392426"/>
                  <a:gd name="connsiteX3" fmla="*/ 106623 w 258735"/>
                  <a:gd name="connsiteY3" fmla="*/ 6060 h 392426"/>
                  <a:gd name="connsiteX4" fmla="*/ 258736 w 258735"/>
                  <a:gd name="connsiteY4" fmla="*/ 60821 h 392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8735" h="392426">
                    <a:moveTo>
                      <a:pt x="258736" y="60821"/>
                    </a:moveTo>
                    <a:cubicBezTo>
                      <a:pt x="258736" y="60821"/>
                      <a:pt x="152257" y="234229"/>
                      <a:pt x="137046" y="392427"/>
                    </a:cubicBezTo>
                    <a:cubicBezTo>
                      <a:pt x="137046" y="392427"/>
                      <a:pt x="48821" y="380258"/>
                      <a:pt x="9271" y="346793"/>
                    </a:cubicBezTo>
                    <a:cubicBezTo>
                      <a:pt x="-30278" y="313328"/>
                      <a:pt x="67073" y="21272"/>
                      <a:pt x="106623" y="6060"/>
                    </a:cubicBezTo>
                    <a:cubicBezTo>
                      <a:pt x="146172" y="-12193"/>
                      <a:pt x="246567" y="12145"/>
                      <a:pt x="258736" y="60821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1452E8DF-53B5-4833-8BD0-0FB2EB41CF5A}"/>
                  </a:ext>
                </a:extLst>
              </p:cNvPr>
              <p:cNvSpPr/>
              <p:nvPr/>
            </p:nvSpPr>
            <p:spPr>
              <a:xfrm>
                <a:off x="10471525" y="2805895"/>
                <a:ext cx="270760" cy="398781"/>
              </a:xfrm>
              <a:custGeom>
                <a:avLst/>
                <a:gdLst>
                  <a:gd name="connsiteX0" fmla="*/ 115606 w 270760"/>
                  <a:gd name="connsiteY0" fmla="*/ 398782 h 398781"/>
                  <a:gd name="connsiteX1" fmla="*/ 106479 w 270760"/>
                  <a:gd name="connsiteY1" fmla="*/ 398782 h 398781"/>
                  <a:gd name="connsiteX2" fmla="*/ 12169 w 270760"/>
                  <a:gd name="connsiteY2" fmla="*/ 359233 h 398781"/>
                  <a:gd name="connsiteX3" fmla="*/ 3042 w 270760"/>
                  <a:gd name="connsiteY3" fmla="*/ 280134 h 398781"/>
                  <a:gd name="connsiteX4" fmla="*/ 109521 w 270760"/>
                  <a:gd name="connsiteY4" fmla="*/ 6331 h 398781"/>
                  <a:gd name="connsiteX5" fmla="*/ 225127 w 270760"/>
                  <a:gd name="connsiteY5" fmla="*/ 18500 h 398781"/>
                  <a:gd name="connsiteX6" fmla="*/ 270760 w 270760"/>
                  <a:gd name="connsiteY6" fmla="*/ 67176 h 398781"/>
                  <a:gd name="connsiteX7" fmla="*/ 270760 w 270760"/>
                  <a:gd name="connsiteY7" fmla="*/ 70218 h 398781"/>
                  <a:gd name="connsiteX8" fmla="*/ 270760 w 270760"/>
                  <a:gd name="connsiteY8" fmla="*/ 73261 h 398781"/>
                  <a:gd name="connsiteX9" fmla="*/ 155155 w 270760"/>
                  <a:gd name="connsiteY9" fmla="*/ 371401 h 398781"/>
                  <a:gd name="connsiteX10" fmla="*/ 139944 w 270760"/>
                  <a:gd name="connsiteY10" fmla="*/ 395739 h 398781"/>
                  <a:gd name="connsiteX11" fmla="*/ 115606 w 270760"/>
                  <a:gd name="connsiteY11" fmla="*/ 398782 h 398781"/>
                  <a:gd name="connsiteX12" fmla="*/ 146029 w 270760"/>
                  <a:gd name="connsiteY12" fmla="*/ 12416 h 398781"/>
                  <a:gd name="connsiteX13" fmla="*/ 115606 w 270760"/>
                  <a:gd name="connsiteY13" fmla="*/ 18500 h 398781"/>
                  <a:gd name="connsiteX14" fmla="*/ 15211 w 270760"/>
                  <a:gd name="connsiteY14" fmla="*/ 283176 h 398781"/>
                  <a:gd name="connsiteX15" fmla="*/ 18254 w 270760"/>
                  <a:gd name="connsiteY15" fmla="*/ 353148 h 398781"/>
                  <a:gd name="connsiteX16" fmla="*/ 106479 w 270760"/>
                  <a:gd name="connsiteY16" fmla="*/ 392697 h 398781"/>
                  <a:gd name="connsiteX17" fmla="*/ 127775 w 270760"/>
                  <a:gd name="connsiteY17" fmla="*/ 389655 h 398781"/>
                  <a:gd name="connsiteX18" fmla="*/ 139944 w 270760"/>
                  <a:gd name="connsiteY18" fmla="*/ 371401 h 398781"/>
                  <a:gd name="connsiteX19" fmla="*/ 255549 w 270760"/>
                  <a:gd name="connsiteY19" fmla="*/ 73261 h 398781"/>
                  <a:gd name="connsiteX20" fmla="*/ 216000 w 270760"/>
                  <a:gd name="connsiteY20" fmla="*/ 36754 h 398781"/>
                  <a:gd name="connsiteX21" fmla="*/ 146029 w 270760"/>
                  <a:gd name="connsiteY21" fmla="*/ 12416 h 398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0760" h="398781">
                    <a:moveTo>
                      <a:pt x="115606" y="398782"/>
                    </a:moveTo>
                    <a:cubicBezTo>
                      <a:pt x="112564" y="398782"/>
                      <a:pt x="109521" y="398782"/>
                      <a:pt x="106479" y="398782"/>
                    </a:cubicBezTo>
                    <a:cubicBezTo>
                      <a:pt x="76056" y="392697"/>
                      <a:pt x="36507" y="380528"/>
                      <a:pt x="12169" y="359233"/>
                    </a:cubicBezTo>
                    <a:cubicBezTo>
                      <a:pt x="0" y="350106"/>
                      <a:pt x="-3042" y="322725"/>
                      <a:pt x="3042" y="280134"/>
                    </a:cubicBezTo>
                    <a:cubicBezTo>
                      <a:pt x="18254" y="185824"/>
                      <a:pt x="76056" y="21542"/>
                      <a:pt x="109521" y="6331"/>
                    </a:cubicBezTo>
                    <a:cubicBezTo>
                      <a:pt x="136901" y="-5838"/>
                      <a:pt x="185578" y="246"/>
                      <a:pt x="225127" y="18500"/>
                    </a:cubicBezTo>
                    <a:cubicBezTo>
                      <a:pt x="249465" y="30669"/>
                      <a:pt x="264676" y="45880"/>
                      <a:pt x="270760" y="67176"/>
                    </a:cubicBezTo>
                    <a:lnTo>
                      <a:pt x="270760" y="70218"/>
                    </a:lnTo>
                    <a:lnTo>
                      <a:pt x="270760" y="73261"/>
                    </a:lnTo>
                    <a:cubicBezTo>
                      <a:pt x="270760" y="73261"/>
                      <a:pt x="179493" y="225373"/>
                      <a:pt x="155155" y="371401"/>
                    </a:cubicBezTo>
                    <a:cubicBezTo>
                      <a:pt x="152113" y="380528"/>
                      <a:pt x="146029" y="389655"/>
                      <a:pt x="139944" y="395739"/>
                    </a:cubicBezTo>
                    <a:cubicBezTo>
                      <a:pt x="130817" y="398782"/>
                      <a:pt x="124733" y="398782"/>
                      <a:pt x="115606" y="398782"/>
                    </a:cubicBezTo>
                    <a:close/>
                    <a:moveTo>
                      <a:pt x="146029" y="12416"/>
                    </a:moveTo>
                    <a:cubicBezTo>
                      <a:pt x="133859" y="12416"/>
                      <a:pt x="121690" y="15458"/>
                      <a:pt x="115606" y="18500"/>
                    </a:cubicBezTo>
                    <a:cubicBezTo>
                      <a:pt x="91268" y="27627"/>
                      <a:pt x="30423" y="179739"/>
                      <a:pt x="15211" y="283176"/>
                    </a:cubicBezTo>
                    <a:cubicBezTo>
                      <a:pt x="6085" y="334894"/>
                      <a:pt x="15211" y="350106"/>
                      <a:pt x="18254" y="353148"/>
                    </a:cubicBezTo>
                    <a:cubicBezTo>
                      <a:pt x="39550" y="371401"/>
                      <a:pt x="79099" y="383571"/>
                      <a:pt x="106479" y="392697"/>
                    </a:cubicBezTo>
                    <a:cubicBezTo>
                      <a:pt x="112564" y="395739"/>
                      <a:pt x="121690" y="392697"/>
                      <a:pt x="127775" y="389655"/>
                    </a:cubicBezTo>
                    <a:cubicBezTo>
                      <a:pt x="133859" y="386613"/>
                      <a:pt x="136901" y="377486"/>
                      <a:pt x="139944" y="371401"/>
                    </a:cubicBezTo>
                    <a:cubicBezTo>
                      <a:pt x="164282" y="231458"/>
                      <a:pt x="246423" y="91514"/>
                      <a:pt x="255549" y="73261"/>
                    </a:cubicBezTo>
                    <a:cubicBezTo>
                      <a:pt x="249465" y="55007"/>
                      <a:pt x="231211" y="42838"/>
                      <a:pt x="216000" y="36754"/>
                    </a:cubicBezTo>
                    <a:cubicBezTo>
                      <a:pt x="197747" y="18500"/>
                      <a:pt x="170366" y="12416"/>
                      <a:pt x="146029" y="1241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752554FC-E990-4054-8C45-51EB7EA1802B}"/>
                </a:ext>
              </a:extLst>
            </p:cNvPr>
            <p:cNvGrpSpPr/>
            <p:nvPr/>
          </p:nvGrpSpPr>
          <p:grpSpPr>
            <a:xfrm>
              <a:off x="10501966" y="5909240"/>
              <a:ext cx="394170" cy="576363"/>
              <a:chOff x="10501966" y="5909240"/>
              <a:chExt cx="394170" cy="576363"/>
            </a:xfrm>
          </p:grpSpPr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B4E7BAC9-798F-40FD-B888-2D92CBA8734C}"/>
                  </a:ext>
                </a:extLst>
              </p:cNvPr>
              <p:cNvSpPr/>
              <p:nvPr/>
            </p:nvSpPr>
            <p:spPr>
              <a:xfrm>
                <a:off x="10602342" y="5909240"/>
                <a:ext cx="273802" cy="258591"/>
              </a:xfrm>
              <a:custGeom>
                <a:avLst/>
                <a:gdLst>
                  <a:gd name="connsiteX0" fmla="*/ 18253 w 273802"/>
                  <a:gd name="connsiteY0" fmla="*/ 136901 h 258591"/>
                  <a:gd name="connsiteX1" fmla="*/ 142985 w 273802"/>
                  <a:gd name="connsiteY1" fmla="*/ 0 h 258591"/>
                  <a:gd name="connsiteX2" fmla="*/ 273803 w 273802"/>
                  <a:gd name="connsiteY2" fmla="*/ 127775 h 258591"/>
                  <a:gd name="connsiteX3" fmla="*/ 127774 w 273802"/>
                  <a:gd name="connsiteY3" fmla="*/ 258592 h 258591"/>
                  <a:gd name="connsiteX4" fmla="*/ 0 w 273802"/>
                  <a:gd name="connsiteY4" fmla="*/ 173408 h 258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802" h="258591">
                    <a:moveTo>
                      <a:pt x="18253" y="136901"/>
                    </a:moveTo>
                    <a:lnTo>
                      <a:pt x="142985" y="0"/>
                    </a:lnTo>
                    <a:lnTo>
                      <a:pt x="273803" y="127775"/>
                    </a:lnTo>
                    <a:lnTo>
                      <a:pt x="127774" y="258592"/>
                    </a:lnTo>
                    <a:lnTo>
                      <a:pt x="0" y="173408"/>
                    </a:ln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2CD15536-DF9A-4234-B2F9-B16CF769BF75}"/>
                  </a:ext>
                </a:extLst>
              </p:cNvPr>
              <p:cNvSpPr/>
              <p:nvPr/>
            </p:nvSpPr>
            <p:spPr>
              <a:xfrm>
                <a:off x="10532370" y="6037015"/>
                <a:ext cx="363766" cy="416788"/>
              </a:xfrm>
              <a:custGeom>
                <a:avLst/>
                <a:gdLst>
                  <a:gd name="connsiteX0" fmla="*/ 79099 w 363766"/>
                  <a:gd name="connsiteY0" fmla="*/ 0 h 416788"/>
                  <a:gd name="connsiteX1" fmla="*/ 246423 w 363766"/>
                  <a:gd name="connsiteY1" fmla="*/ 94310 h 416788"/>
                  <a:gd name="connsiteX2" fmla="*/ 285972 w 363766"/>
                  <a:gd name="connsiteY2" fmla="*/ 243380 h 416788"/>
                  <a:gd name="connsiteX3" fmla="*/ 352902 w 363766"/>
                  <a:gd name="connsiteY3" fmla="*/ 416789 h 416788"/>
                  <a:gd name="connsiteX4" fmla="*/ 0 w 363766"/>
                  <a:gd name="connsiteY4" fmla="*/ 82141 h 416788"/>
                  <a:gd name="connsiteX5" fmla="*/ 79099 w 363766"/>
                  <a:gd name="connsiteY5" fmla="*/ 0 h 41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3766" h="416788">
                    <a:moveTo>
                      <a:pt x="79099" y="0"/>
                    </a:moveTo>
                    <a:cubicBezTo>
                      <a:pt x="79099" y="0"/>
                      <a:pt x="155155" y="100394"/>
                      <a:pt x="246423" y="94310"/>
                    </a:cubicBezTo>
                    <a:cubicBezTo>
                      <a:pt x="246423" y="94310"/>
                      <a:pt x="261634" y="206873"/>
                      <a:pt x="285972" y="243380"/>
                    </a:cubicBezTo>
                    <a:cubicBezTo>
                      <a:pt x="313353" y="279887"/>
                      <a:pt x="392451" y="355944"/>
                      <a:pt x="352902" y="416789"/>
                    </a:cubicBezTo>
                    <a:lnTo>
                      <a:pt x="0" y="82141"/>
                    </a:lnTo>
                    <a:cubicBezTo>
                      <a:pt x="0" y="82141"/>
                      <a:pt x="30423" y="24338"/>
                      <a:pt x="79099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DAF51F1C-5873-440C-ABB6-8EFCA52A3B78}"/>
                  </a:ext>
                </a:extLst>
              </p:cNvPr>
              <p:cNvSpPr/>
              <p:nvPr/>
            </p:nvSpPr>
            <p:spPr>
              <a:xfrm rot="-2778769">
                <a:off x="10670897" y="6057629"/>
                <a:ext cx="45632" cy="486745"/>
              </a:xfrm>
              <a:custGeom>
                <a:avLst/>
                <a:gdLst>
                  <a:gd name="connsiteX0" fmla="*/ 0 w 45632"/>
                  <a:gd name="connsiteY0" fmla="*/ 0 h 486745"/>
                  <a:gd name="connsiteX1" fmla="*/ 45632 w 45632"/>
                  <a:gd name="connsiteY1" fmla="*/ 0 h 486745"/>
                  <a:gd name="connsiteX2" fmla="*/ 45632 w 45632"/>
                  <a:gd name="connsiteY2" fmla="*/ 486746 h 486745"/>
                  <a:gd name="connsiteX3" fmla="*/ 0 w 45632"/>
                  <a:gd name="connsiteY3" fmla="*/ 486746 h 486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632" h="486745">
                    <a:moveTo>
                      <a:pt x="0" y="0"/>
                    </a:moveTo>
                    <a:lnTo>
                      <a:pt x="45632" y="0"/>
                    </a:lnTo>
                    <a:lnTo>
                      <a:pt x="45632" y="486746"/>
                    </a:lnTo>
                    <a:lnTo>
                      <a:pt x="0" y="486746"/>
                    </a:lnTo>
                    <a:close/>
                  </a:path>
                </a:pathLst>
              </a:custGeom>
              <a:solidFill>
                <a:srgbClr val="38333D"/>
              </a:solidFill>
              <a:ln w="304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A94A365A-35EF-42C4-8A40-A82E6C02B43A}"/>
                  </a:ext>
                </a:extLst>
              </p:cNvPr>
              <p:cNvSpPr/>
              <p:nvPr/>
            </p:nvSpPr>
            <p:spPr>
              <a:xfrm>
                <a:off x="10604032" y="6029578"/>
                <a:ext cx="177803" cy="107831"/>
              </a:xfrm>
              <a:custGeom>
                <a:avLst/>
                <a:gdLst>
                  <a:gd name="connsiteX0" fmla="*/ 171718 w 177803"/>
                  <a:gd name="connsiteY0" fmla="*/ 107831 h 107831"/>
                  <a:gd name="connsiteX1" fmla="*/ 171718 w 177803"/>
                  <a:gd name="connsiteY1" fmla="*/ 107831 h 107831"/>
                  <a:gd name="connsiteX2" fmla="*/ 1352 w 177803"/>
                  <a:gd name="connsiteY2" fmla="*/ 10479 h 107831"/>
                  <a:gd name="connsiteX3" fmla="*/ 1352 w 177803"/>
                  <a:gd name="connsiteY3" fmla="*/ 1352 h 107831"/>
                  <a:gd name="connsiteX4" fmla="*/ 10479 w 177803"/>
                  <a:gd name="connsiteY4" fmla="*/ 1352 h 107831"/>
                  <a:gd name="connsiteX5" fmla="*/ 171718 w 177803"/>
                  <a:gd name="connsiteY5" fmla="*/ 92620 h 107831"/>
                  <a:gd name="connsiteX6" fmla="*/ 177803 w 177803"/>
                  <a:gd name="connsiteY6" fmla="*/ 98704 h 107831"/>
                  <a:gd name="connsiteX7" fmla="*/ 171718 w 177803"/>
                  <a:gd name="connsiteY7" fmla="*/ 107831 h 107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7803" h="107831">
                    <a:moveTo>
                      <a:pt x="171718" y="107831"/>
                    </a:moveTo>
                    <a:lnTo>
                      <a:pt x="171718" y="107831"/>
                    </a:lnTo>
                    <a:cubicBezTo>
                      <a:pt x="74367" y="104789"/>
                      <a:pt x="4394" y="13521"/>
                      <a:pt x="1352" y="10479"/>
                    </a:cubicBezTo>
                    <a:cubicBezTo>
                      <a:pt x="-1690" y="7437"/>
                      <a:pt x="1352" y="4394"/>
                      <a:pt x="1352" y="1352"/>
                    </a:cubicBezTo>
                    <a:cubicBezTo>
                      <a:pt x="4394" y="-1690"/>
                      <a:pt x="7437" y="1352"/>
                      <a:pt x="10479" y="1352"/>
                    </a:cubicBezTo>
                    <a:cubicBezTo>
                      <a:pt x="10479" y="1352"/>
                      <a:pt x="80451" y="89577"/>
                      <a:pt x="171718" y="92620"/>
                    </a:cubicBezTo>
                    <a:cubicBezTo>
                      <a:pt x="174761" y="92620"/>
                      <a:pt x="177803" y="95662"/>
                      <a:pt x="177803" y="98704"/>
                    </a:cubicBezTo>
                    <a:cubicBezTo>
                      <a:pt x="177803" y="104789"/>
                      <a:pt x="174761" y="107831"/>
                      <a:pt x="171718" y="1078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68392551-F196-44A7-98EF-C39040F60DE3}"/>
                  </a:ext>
                </a:extLst>
              </p:cNvPr>
              <p:cNvSpPr/>
              <p:nvPr/>
            </p:nvSpPr>
            <p:spPr>
              <a:xfrm>
                <a:off x="10742285" y="6170874"/>
                <a:ext cx="48676" cy="12169"/>
              </a:xfrm>
              <a:custGeom>
                <a:avLst/>
                <a:gdLst>
                  <a:gd name="connsiteX0" fmla="*/ 6085 w 48676"/>
                  <a:gd name="connsiteY0" fmla="*/ 12169 h 12169"/>
                  <a:gd name="connsiteX1" fmla="*/ 0 w 48676"/>
                  <a:gd name="connsiteY1" fmla="*/ 6084 h 12169"/>
                  <a:gd name="connsiteX2" fmla="*/ 6085 w 48676"/>
                  <a:gd name="connsiteY2" fmla="*/ 0 h 12169"/>
                  <a:gd name="connsiteX3" fmla="*/ 42592 w 48676"/>
                  <a:gd name="connsiteY3" fmla="*/ 0 h 12169"/>
                  <a:gd name="connsiteX4" fmla="*/ 48676 w 48676"/>
                  <a:gd name="connsiteY4" fmla="*/ 6084 h 12169"/>
                  <a:gd name="connsiteX5" fmla="*/ 42592 w 48676"/>
                  <a:gd name="connsiteY5" fmla="*/ 12169 h 12169"/>
                  <a:gd name="connsiteX6" fmla="*/ 6085 w 48676"/>
                  <a:gd name="connsiteY6" fmla="*/ 12169 h 12169"/>
                  <a:gd name="connsiteX7" fmla="*/ 6085 w 48676"/>
                  <a:gd name="connsiteY7" fmla="*/ 12169 h 12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676" h="12169">
                    <a:moveTo>
                      <a:pt x="6085" y="12169"/>
                    </a:moveTo>
                    <a:cubicBezTo>
                      <a:pt x="3042" y="12169"/>
                      <a:pt x="0" y="9127"/>
                      <a:pt x="0" y="6084"/>
                    </a:cubicBezTo>
                    <a:cubicBezTo>
                      <a:pt x="0" y="3042"/>
                      <a:pt x="3042" y="0"/>
                      <a:pt x="6085" y="0"/>
                    </a:cubicBezTo>
                    <a:lnTo>
                      <a:pt x="42592" y="0"/>
                    </a:lnTo>
                    <a:cubicBezTo>
                      <a:pt x="45634" y="0"/>
                      <a:pt x="48676" y="3042"/>
                      <a:pt x="48676" y="6084"/>
                    </a:cubicBezTo>
                    <a:cubicBezTo>
                      <a:pt x="48676" y="9127"/>
                      <a:pt x="45634" y="12169"/>
                      <a:pt x="42592" y="12169"/>
                    </a:cubicBezTo>
                    <a:lnTo>
                      <a:pt x="6085" y="12169"/>
                    </a:lnTo>
                    <a:lnTo>
                      <a:pt x="6085" y="12169"/>
                    </a:ln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081E6587-3B16-4AF2-9FD0-0BBBA50EC2F9}"/>
                  </a:ext>
                </a:extLst>
              </p:cNvPr>
              <p:cNvSpPr/>
              <p:nvPr/>
            </p:nvSpPr>
            <p:spPr>
              <a:xfrm>
                <a:off x="10751412" y="6216508"/>
                <a:ext cx="48676" cy="12169"/>
              </a:xfrm>
              <a:custGeom>
                <a:avLst/>
                <a:gdLst>
                  <a:gd name="connsiteX0" fmla="*/ 6084 w 48676"/>
                  <a:gd name="connsiteY0" fmla="*/ 12169 h 12169"/>
                  <a:gd name="connsiteX1" fmla="*/ 0 w 48676"/>
                  <a:gd name="connsiteY1" fmla="*/ 6084 h 12169"/>
                  <a:gd name="connsiteX2" fmla="*/ 6084 w 48676"/>
                  <a:gd name="connsiteY2" fmla="*/ 0 h 12169"/>
                  <a:gd name="connsiteX3" fmla="*/ 42591 w 48676"/>
                  <a:gd name="connsiteY3" fmla="*/ 0 h 12169"/>
                  <a:gd name="connsiteX4" fmla="*/ 48676 w 48676"/>
                  <a:gd name="connsiteY4" fmla="*/ 6084 h 12169"/>
                  <a:gd name="connsiteX5" fmla="*/ 42591 w 48676"/>
                  <a:gd name="connsiteY5" fmla="*/ 12169 h 12169"/>
                  <a:gd name="connsiteX6" fmla="*/ 6084 w 48676"/>
                  <a:gd name="connsiteY6" fmla="*/ 12169 h 12169"/>
                  <a:gd name="connsiteX7" fmla="*/ 6084 w 48676"/>
                  <a:gd name="connsiteY7" fmla="*/ 12169 h 12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676" h="12169">
                    <a:moveTo>
                      <a:pt x="6084" y="12169"/>
                    </a:moveTo>
                    <a:cubicBezTo>
                      <a:pt x="3042" y="12169"/>
                      <a:pt x="0" y="9127"/>
                      <a:pt x="0" y="6084"/>
                    </a:cubicBezTo>
                    <a:cubicBezTo>
                      <a:pt x="0" y="3042"/>
                      <a:pt x="3042" y="0"/>
                      <a:pt x="6084" y="0"/>
                    </a:cubicBezTo>
                    <a:lnTo>
                      <a:pt x="42591" y="0"/>
                    </a:lnTo>
                    <a:cubicBezTo>
                      <a:pt x="45634" y="0"/>
                      <a:pt x="48676" y="3042"/>
                      <a:pt x="48676" y="6084"/>
                    </a:cubicBezTo>
                    <a:cubicBezTo>
                      <a:pt x="48676" y="9127"/>
                      <a:pt x="45634" y="12169"/>
                      <a:pt x="42591" y="12169"/>
                    </a:cubicBezTo>
                    <a:lnTo>
                      <a:pt x="6084" y="12169"/>
                    </a:lnTo>
                    <a:lnTo>
                      <a:pt x="6084" y="12169"/>
                    </a:ln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7899B220-131D-41A3-A574-41CAA41E5EE6}"/>
                </a:ext>
              </a:extLst>
            </p:cNvPr>
            <p:cNvGrpSpPr/>
            <p:nvPr/>
          </p:nvGrpSpPr>
          <p:grpSpPr>
            <a:xfrm>
              <a:off x="11646849" y="6183043"/>
              <a:ext cx="494873" cy="340732"/>
              <a:chOff x="11646849" y="6183043"/>
              <a:chExt cx="494873" cy="340732"/>
            </a:xfrm>
          </p:grpSpPr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E0B1CDCD-1DF8-46F6-AE90-D7B89D555D06}"/>
                  </a:ext>
                </a:extLst>
              </p:cNvPr>
              <p:cNvSpPr/>
              <p:nvPr/>
            </p:nvSpPr>
            <p:spPr>
              <a:xfrm>
                <a:off x="11664088" y="6183043"/>
                <a:ext cx="182535" cy="222084"/>
              </a:xfrm>
              <a:custGeom>
                <a:avLst/>
                <a:gdLst>
                  <a:gd name="connsiteX0" fmla="*/ 6084 w 182535"/>
                  <a:gd name="connsiteY0" fmla="*/ 185577 h 222084"/>
                  <a:gd name="connsiteX1" fmla="*/ 0 w 182535"/>
                  <a:gd name="connsiteY1" fmla="*/ 0 h 222084"/>
                  <a:gd name="connsiteX2" fmla="*/ 182535 w 182535"/>
                  <a:gd name="connsiteY2" fmla="*/ 0 h 222084"/>
                  <a:gd name="connsiteX3" fmla="*/ 167324 w 182535"/>
                  <a:gd name="connsiteY3" fmla="*/ 194704 h 222084"/>
                  <a:gd name="connsiteX4" fmla="*/ 18254 w 182535"/>
                  <a:gd name="connsiteY4" fmla="*/ 222084 h 222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535" h="222084">
                    <a:moveTo>
                      <a:pt x="6084" y="185577"/>
                    </a:moveTo>
                    <a:lnTo>
                      <a:pt x="0" y="0"/>
                    </a:lnTo>
                    <a:lnTo>
                      <a:pt x="182535" y="0"/>
                    </a:lnTo>
                    <a:lnTo>
                      <a:pt x="167324" y="194704"/>
                    </a:lnTo>
                    <a:lnTo>
                      <a:pt x="18254" y="222084"/>
                    </a:ln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6C6B5BDD-926A-40D8-BAE4-7D110E666916}"/>
                  </a:ext>
                </a:extLst>
              </p:cNvPr>
              <p:cNvSpPr/>
              <p:nvPr/>
            </p:nvSpPr>
            <p:spPr>
              <a:xfrm>
                <a:off x="11646849" y="6322986"/>
                <a:ext cx="494872" cy="158197"/>
              </a:xfrm>
              <a:custGeom>
                <a:avLst/>
                <a:gdLst>
                  <a:gd name="connsiteX0" fmla="*/ 8112 w 494872"/>
                  <a:gd name="connsiteY0" fmla="*/ 45634 h 158197"/>
                  <a:gd name="connsiteX1" fmla="*/ 193690 w 494872"/>
                  <a:gd name="connsiteY1" fmla="*/ 0 h 158197"/>
                  <a:gd name="connsiteX2" fmla="*/ 327549 w 494872"/>
                  <a:gd name="connsiteY2" fmla="*/ 79099 h 158197"/>
                  <a:gd name="connsiteX3" fmla="*/ 494873 w 494872"/>
                  <a:gd name="connsiteY3" fmla="*/ 158197 h 158197"/>
                  <a:gd name="connsiteX4" fmla="*/ 8112 w 494872"/>
                  <a:gd name="connsiteY4" fmla="*/ 158197 h 158197"/>
                  <a:gd name="connsiteX5" fmla="*/ 8112 w 494872"/>
                  <a:gd name="connsiteY5" fmla="*/ 45634 h 158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4872" h="158197">
                    <a:moveTo>
                      <a:pt x="8112" y="45634"/>
                    </a:moveTo>
                    <a:cubicBezTo>
                      <a:pt x="8112" y="45634"/>
                      <a:pt x="132845" y="63888"/>
                      <a:pt x="193690" y="0"/>
                    </a:cubicBezTo>
                    <a:cubicBezTo>
                      <a:pt x="193690" y="0"/>
                      <a:pt x="281915" y="69972"/>
                      <a:pt x="327549" y="79099"/>
                    </a:cubicBezTo>
                    <a:cubicBezTo>
                      <a:pt x="373183" y="88226"/>
                      <a:pt x="482704" y="85183"/>
                      <a:pt x="494873" y="158197"/>
                    </a:cubicBezTo>
                    <a:lnTo>
                      <a:pt x="8112" y="158197"/>
                    </a:lnTo>
                    <a:cubicBezTo>
                      <a:pt x="8112" y="155155"/>
                      <a:pt x="-10140" y="94310"/>
                      <a:pt x="8112" y="4563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C2C39C52-04AA-4365-9053-02FB240CCE5B}"/>
                  </a:ext>
                </a:extLst>
              </p:cNvPr>
              <p:cNvSpPr/>
              <p:nvPr/>
            </p:nvSpPr>
            <p:spPr>
              <a:xfrm>
                <a:off x="11654961" y="6478141"/>
                <a:ext cx="486760" cy="45633"/>
              </a:xfrm>
              <a:custGeom>
                <a:avLst/>
                <a:gdLst>
                  <a:gd name="connsiteX0" fmla="*/ 0 w 486760"/>
                  <a:gd name="connsiteY0" fmla="*/ 0 h 45633"/>
                  <a:gd name="connsiteX1" fmla="*/ 486760 w 486760"/>
                  <a:gd name="connsiteY1" fmla="*/ 0 h 45633"/>
                  <a:gd name="connsiteX2" fmla="*/ 486760 w 486760"/>
                  <a:gd name="connsiteY2" fmla="*/ 45634 h 45633"/>
                  <a:gd name="connsiteX3" fmla="*/ 0 w 486760"/>
                  <a:gd name="connsiteY3" fmla="*/ 45634 h 45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6760" h="45633">
                    <a:moveTo>
                      <a:pt x="0" y="0"/>
                    </a:moveTo>
                    <a:lnTo>
                      <a:pt x="486760" y="0"/>
                    </a:lnTo>
                    <a:lnTo>
                      <a:pt x="486760" y="45634"/>
                    </a:lnTo>
                    <a:lnTo>
                      <a:pt x="0" y="45634"/>
                    </a:lnTo>
                    <a:close/>
                  </a:path>
                </a:pathLst>
              </a:custGeom>
              <a:solidFill>
                <a:srgbClr val="38333D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A2080531-01E1-4F33-8F01-87A3C1F5F191}"/>
                  </a:ext>
                </a:extLst>
              </p:cNvPr>
              <p:cNvSpPr/>
              <p:nvPr/>
            </p:nvSpPr>
            <p:spPr>
              <a:xfrm>
                <a:off x="11648877" y="6311578"/>
                <a:ext cx="200028" cy="63126"/>
              </a:xfrm>
              <a:custGeom>
                <a:avLst/>
                <a:gdLst>
                  <a:gd name="connsiteX0" fmla="*/ 42591 w 200028"/>
                  <a:gd name="connsiteY0" fmla="*/ 63127 h 63126"/>
                  <a:gd name="connsiteX1" fmla="*/ 6084 w 200028"/>
                  <a:gd name="connsiteY1" fmla="*/ 60085 h 63126"/>
                  <a:gd name="connsiteX2" fmla="*/ 0 w 200028"/>
                  <a:gd name="connsiteY2" fmla="*/ 54000 h 63126"/>
                  <a:gd name="connsiteX3" fmla="*/ 6084 w 200028"/>
                  <a:gd name="connsiteY3" fmla="*/ 47915 h 63126"/>
                  <a:gd name="connsiteX4" fmla="*/ 188619 w 200028"/>
                  <a:gd name="connsiteY4" fmla="*/ 2281 h 63126"/>
                  <a:gd name="connsiteX5" fmla="*/ 197746 w 200028"/>
                  <a:gd name="connsiteY5" fmla="*/ 2281 h 63126"/>
                  <a:gd name="connsiteX6" fmla="*/ 197746 w 200028"/>
                  <a:gd name="connsiteY6" fmla="*/ 11408 h 63126"/>
                  <a:gd name="connsiteX7" fmla="*/ 42591 w 200028"/>
                  <a:gd name="connsiteY7" fmla="*/ 63127 h 63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0028" h="63126">
                    <a:moveTo>
                      <a:pt x="42591" y="63127"/>
                    </a:moveTo>
                    <a:cubicBezTo>
                      <a:pt x="21295" y="63127"/>
                      <a:pt x="9126" y="60085"/>
                      <a:pt x="6084" y="60085"/>
                    </a:cubicBezTo>
                    <a:cubicBezTo>
                      <a:pt x="3042" y="60085"/>
                      <a:pt x="0" y="57042"/>
                      <a:pt x="0" y="54000"/>
                    </a:cubicBezTo>
                    <a:cubicBezTo>
                      <a:pt x="0" y="50958"/>
                      <a:pt x="3042" y="47915"/>
                      <a:pt x="6084" y="47915"/>
                    </a:cubicBezTo>
                    <a:cubicBezTo>
                      <a:pt x="6084" y="47915"/>
                      <a:pt x="118648" y="63127"/>
                      <a:pt x="188619" y="2281"/>
                    </a:cubicBezTo>
                    <a:cubicBezTo>
                      <a:pt x="191662" y="-760"/>
                      <a:pt x="194704" y="-760"/>
                      <a:pt x="197746" y="2281"/>
                    </a:cubicBezTo>
                    <a:cubicBezTo>
                      <a:pt x="200789" y="5324"/>
                      <a:pt x="200789" y="8366"/>
                      <a:pt x="197746" y="11408"/>
                    </a:cubicBezTo>
                    <a:cubicBezTo>
                      <a:pt x="149070" y="57042"/>
                      <a:pt x="82140" y="63127"/>
                      <a:pt x="42591" y="6312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1141278D-D0A0-442F-9C80-44AA123974EE}"/>
                  </a:ext>
                </a:extLst>
              </p:cNvPr>
              <p:cNvSpPr/>
              <p:nvPr/>
            </p:nvSpPr>
            <p:spPr>
              <a:xfrm>
                <a:off x="11844342" y="6338958"/>
                <a:ext cx="41070" cy="41831"/>
              </a:xfrm>
              <a:custGeom>
                <a:avLst/>
                <a:gdLst>
                  <a:gd name="connsiteX0" fmla="*/ 5324 w 41070"/>
                  <a:gd name="connsiteY0" fmla="*/ 41831 h 41831"/>
                  <a:gd name="connsiteX1" fmla="*/ 2282 w 41070"/>
                  <a:gd name="connsiteY1" fmla="*/ 38789 h 41831"/>
                  <a:gd name="connsiteX2" fmla="*/ 2282 w 41070"/>
                  <a:gd name="connsiteY2" fmla="*/ 29662 h 41831"/>
                  <a:gd name="connsiteX3" fmla="*/ 29662 w 41070"/>
                  <a:gd name="connsiteY3" fmla="*/ 2282 h 41831"/>
                  <a:gd name="connsiteX4" fmla="*/ 38788 w 41070"/>
                  <a:gd name="connsiteY4" fmla="*/ 2282 h 41831"/>
                  <a:gd name="connsiteX5" fmla="*/ 38788 w 41070"/>
                  <a:gd name="connsiteY5" fmla="*/ 11409 h 41831"/>
                  <a:gd name="connsiteX6" fmla="*/ 11408 w 41070"/>
                  <a:gd name="connsiteY6" fmla="*/ 38789 h 41831"/>
                  <a:gd name="connsiteX7" fmla="*/ 5324 w 41070"/>
                  <a:gd name="connsiteY7" fmla="*/ 41831 h 41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070" h="41831">
                    <a:moveTo>
                      <a:pt x="5324" y="41831"/>
                    </a:moveTo>
                    <a:cubicBezTo>
                      <a:pt x="5324" y="41831"/>
                      <a:pt x="2282" y="41831"/>
                      <a:pt x="2282" y="38789"/>
                    </a:cubicBezTo>
                    <a:cubicBezTo>
                      <a:pt x="-761" y="35746"/>
                      <a:pt x="-761" y="32704"/>
                      <a:pt x="2282" y="29662"/>
                    </a:cubicBezTo>
                    <a:lnTo>
                      <a:pt x="29662" y="2282"/>
                    </a:lnTo>
                    <a:cubicBezTo>
                      <a:pt x="32704" y="-761"/>
                      <a:pt x="35747" y="-761"/>
                      <a:pt x="38788" y="2282"/>
                    </a:cubicBezTo>
                    <a:cubicBezTo>
                      <a:pt x="41831" y="5324"/>
                      <a:pt x="41831" y="8366"/>
                      <a:pt x="38788" y="11409"/>
                    </a:cubicBezTo>
                    <a:lnTo>
                      <a:pt x="11408" y="38789"/>
                    </a:lnTo>
                    <a:cubicBezTo>
                      <a:pt x="8366" y="38789"/>
                      <a:pt x="8366" y="41831"/>
                      <a:pt x="5324" y="418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E70E8784-BC0B-4FED-9CC4-BDA530B13A8A}"/>
                  </a:ext>
                </a:extLst>
              </p:cNvPr>
              <p:cNvSpPr/>
              <p:nvPr/>
            </p:nvSpPr>
            <p:spPr>
              <a:xfrm>
                <a:off x="11883891" y="6363296"/>
                <a:ext cx="38028" cy="41830"/>
              </a:xfrm>
              <a:custGeom>
                <a:avLst/>
                <a:gdLst>
                  <a:gd name="connsiteX0" fmla="*/ 5324 w 38028"/>
                  <a:gd name="connsiteY0" fmla="*/ 41831 h 41830"/>
                  <a:gd name="connsiteX1" fmla="*/ 2282 w 38028"/>
                  <a:gd name="connsiteY1" fmla="*/ 38789 h 41830"/>
                  <a:gd name="connsiteX2" fmla="*/ 2282 w 38028"/>
                  <a:gd name="connsiteY2" fmla="*/ 29662 h 41830"/>
                  <a:gd name="connsiteX3" fmla="*/ 26620 w 38028"/>
                  <a:gd name="connsiteY3" fmla="*/ 2282 h 41830"/>
                  <a:gd name="connsiteX4" fmla="*/ 35747 w 38028"/>
                  <a:gd name="connsiteY4" fmla="*/ 2282 h 41830"/>
                  <a:gd name="connsiteX5" fmla="*/ 35747 w 38028"/>
                  <a:gd name="connsiteY5" fmla="*/ 11408 h 41830"/>
                  <a:gd name="connsiteX6" fmla="*/ 11409 w 38028"/>
                  <a:gd name="connsiteY6" fmla="*/ 38789 h 41830"/>
                  <a:gd name="connsiteX7" fmla="*/ 5324 w 38028"/>
                  <a:gd name="connsiteY7" fmla="*/ 41831 h 41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028" h="41830">
                    <a:moveTo>
                      <a:pt x="5324" y="41831"/>
                    </a:moveTo>
                    <a:cubicBezTo>
                      <a:pt x="5324" y="41831"/>
                      <a:pt x="2282" y="41831"/>
                      <a:pt x="2282" y="38789"/>
                    </a:cubicBezTo>
                    <a:cubicBezTo>
                      <a:pt x="-761" y="35746"/>
                      <a:pt x="-761" y="32704"/>
                      <a:pt x="2282" y="29662"/>
                    </a:cubicBezTo>
                    <a:lnTo>
                      <a:pt x="26620" y="2282"/>
                    </a:lnTo>
                    <a:cubicBezTo>
                      <a:pt x="29662" y="-761"/>
                      <a:pt x="32704" y="-761"/>
                      <a:pt x="35747" y="2282"/>
                    </a:cubicBezTo>
                    <a:cubicBezTo>
                      <a:pt x="38789" y="5324"/>
                      <a:pt x="38789" y="8366"/>
                      <a:pt x="35747" y="11408"/>
                    </a:cubicBezTo>
                    <a:lnTo>
                      <a:pt x="11409" y="38789"/>
                    </a:lnTo>
                    <a:cubicBezTo>
                      <a:pt x="8367" y="41831"/>
                      <a:pt x="5324" y="41831"/>
                      <a:pt x="5324" y="418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C6A77ED4-9C24-4F00-BC71-5D1156724C08}"/>
                </a:ext>
              </a:extLst>
            </p:cNvPr>
            <p:cNvSpPr/>
            <p:nvPr/>
          </p:nvSpPr>
          <p:spPr>
            <a:xfrm>
              <a:off x="10608426" y="3971325"/>
              <a:ext cx="1383045" cy="2290816"/>
            </a:xfrm>
            <a:custGeom>
              <a:avLst/>
              <a:gdLst>
                <a:gd name="connsiteX0" fmla="*/ 1375099 w 1383045"/>
                <a:gd name="connsiteY0" fmla="*/ 21296 h 2290816"/>
                <a:gd name="connsiteX1" fmla="*/ 1362930 w 1383045"/>
                <a:gd name="connsiteY1" fmla="*/ 1402479 h 2290816"/>
                <a:gd name="connsiteX2" fmla="*/ 1292958 w 1383045"/>
                <a:gd name="connsiteY2" fmla="*/ 2290817 h 2290816"/>
                <a:gd name="connsiteX3" fmla="*/ 997860 w 1383045"/>
                <a:gd name="connsiteY3" fmla="*/ 2290817 h 2290816"/>
                <a:gd name="connsiteX4" fmla="*/ 961352 w 1383045"/>
                <a:gd name="connsiteY4" fmla="*/ 1426817 h 2290816"/>
                <a:gd name="connsiteX5" fmla="*/ 879211 w 1383045"/>
                <a:gd name="connsiteY5" fmla="*/ 501972 h 2290816"/>
                <a:gd name="connsiteX6" fmla="*/ 839662 w 1383045"/>
                <a:gd name="connsiteY6" fmla="*/ 1408563 h 2290816"/>
                <a:gd name="connsiteX7" fmla="*/ 803155 w 1383045"/>
                <a:gd name="connsiteY7" fmla="*/ 1505916 h 2290816"/>
                <a:gd name="connsiteX8" fmla="*/ 285972 w 1383045"/>
                <a:gd name="connsiteY8" fmla="*/ 2175211 h 2290816"/>
                <a:gd name="connsiteX9" fmla="*/ 0 w 1383045"/>
                <a:gd name="connsiteY9" fmla="*/ 1934873 h 2290816"/>
                <a:gd name="connsiteX10" fmla="*/ 432000 w 1383045"/>
                <a:gd name="connsiteY10" fmla="*/ 1338592 h 2290816"/>
                <a:gd name="connsiteX11" fmla="*/ 352902 w 1383045"/>
                <a:gd name="connsiteY11" fmla="*/ 0 h 2290816"/>
                <a:gd name="connsiteX12" fmla="*/ 1375099 w 1383045"/>
                <a:gd name="connsiteY12" fmla="*/ 21296 h 2290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83045" h="2290816">
                  <a:moveTo>
                    <a:pt x="1375099" y="21296"/>
                  </a:moveTo>
                  <a:cubicBezTo>
                    <a:pt x="1375099" y="21296"/>
                    <a:pt x="1399437" y="1092169"/>
                    <a:pt x="1362930" y="1402479"/>
                  </a:cubicBezTo>
                  <a:cubicBezTo>
                    <a:pt x="1332508" y="1673239"/>
                    <a:pt x="1292958" y="2290817"/>
                    <a:pt x="1292958" y="2290817"/>
                  </a:cubicBezTo>
                  <a:lnTo>
                    <a:pt x="997860" y="2290817"/>
                  </a:lnTo>
                  <a:cubicBezTo>
                    <a:pt x="997860" y="2290817"/>
                    <a:pt x="964395" y="1524169"/>
                    <a:pt x="961352" y="1426817"/>
                  </a:cubicBezTo>
                  <a:cubicBezTo>
                    <a:pt x="955267" y="1286873"/>
                    <a:pt x="894422" y="532394"/>
                    <a:pt x="879211" y="501972"/>
                  </a:cubicBezTo>
                  <a:cubicBezTo>
                    <a:pt x="867042" y="477634"/>
                    <a:pt x="845747" y="1201690"/>
                    <a:pt x="839662" y="1408563"/>
                  </a:cubicBezTo>
                  <a:cubicBezTo>
                    <a:pt x="839662" y="1445070"/>
                    <a:pt x="827493" y="1478535"/>
                    <a:pt x="803155" y="1505916"/>
                  </a:cubicBezTo>
                  <a:lnTo>
                    <a:pt x="285972" y="2175211"/>
                  </a:lnTo>
                  <a:lnTo>
                    <a:pt x="0" y="1934873"/>
                  </a:lnTo>
                  <a:lnTo>
                    <a:pt x="432000" y="1338592"/>
                  </a:lnTo>
                  <a:cubicBezTo>
                    <a:pt x="432000" y="1338592"/>
                    <a:pt x="310310" y="97352"/>
                    <a:pt x="352902" y="0"/>
                  </a:cubicBezTo>
                  <a:cubicBezTo>
                    <a:pt x="1052620" y="33465"/>
                    <a:pt x="1375099" y="21296"/>
                    <a:pt x="1375099" y="21296"/>
                  </a:cubicBez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F6D6C432-5EFC-4322-8636-C19318CCB092}"/>
                </a:ext>
              </a:extLst>
            </p:cNvPr>
            <p:cNvSpPr/>
            <p:nvPr/>
          </p:nvSpPr>
          <p:spPr>
            <a:xfrm>
              <a:off x="11481553" y="4117353"/>
              <a:ext cx="69971" cy="365070"/>
            </a:xfrm>
            <a:custGeom>
              <a:avLst/>
              <a:gdLst>
                <a:gd name="connsiteX0" fmla="*/ 6084 w 69971"/>
                <a:gd name="connsiteY0" fmla="*/ 365070 h 365070"/>
                <a:gd name="connsiteX1" fmla="*/ 6084 w 69971"/>
                <a:gd name="connsiteY1" fmla="*/ 365070 h 365070"/>
                <a:gd name="connsiteX2" fmla="*/ 0 w 69971"/>
                <a:gd name="connsiteY2" fmla="*/ 355944 h 365070"/>
                <a:gd name="connsiteX3" fmla="*/ 57803 w 69971"/>
                <a:gd name="connsiteY3" fmla="*/ 6085 h 365070"/>
                <a:gd name="connsiteX4" fmla="*/ 63888 w 69971"/>
                <a:gd name="connsiteY4" fmla="*/ 0 h 365070"/>
                <a:gd name="connsiteX5" fmla="*/ 63888 w 69971"/>
                <a:gd name="connsiteY5" fmla="*/ 0 h 365070"/>
                <a:gd name="connsiteX6" fmla="*/ 69971 w 69971"/>
                <a:gd name="connsiteY6" fmla="*/ 6085 h 365070"/>
                <a:gd name="connsiteX7" fmla="*/ 12169 w 69971"/>
                <a:gd name="connsiteY7" fmla="*/ 358986 h 365070"/>
                <a:gd name="connsiteX8" fmla="*/ 6084 w 69971"/>
                <a:gd name="connsiteY8" fmla="*/ 365070 h 36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971" h="365070">
                  <a:moveTo>
                    <a:pt x="6084" y="365070"/>
                  </a:moveTo>
                  <a:cubicBezTo>
                    <a:pt x="6084" y="365070"/>
                    <a:pt x="6084" y="365070"/>
                    <a:pt x="6084" y="365070"/>
                  </a:cubicBezTo>
                  <a:cubicBezTo>
                    <a:pt x="0" y="362028"/>
                    <a:pt x="0" y="358986"/>
                    <a:pt x="0" y="355944"/>
                  </a:cubicBezTo>
                  <a:cubicBezTo>
                    <a:pt x="48676" y="243380"/>
                    <a:pt x="57803" y="9127"/>
                    <a:pt x="57803" y="6085"/>
                  </a:cubicBezTo>
                  <a:cubicBezTo>
                    <a:pt x="57803" y="3042"/>
                    <a:pt x="60845" y="0"/>
                    <a:pt x="63888" y="0"/>
                  </a:cubicBezTo>
                  <a:cubicBezTo>
                    <a:pt x="63888" y="0"/>
                    <a:pt x="63888" y="0"/>
                    <a:pt x="63888" y="0"/>
                  </a:cubicBezTo>
                  <a:cubicBezTo>
                    <a:pt x="66929" y="0"/>
                    <a:pt x="69971" y="3042"/>
                    <a:pt x="69971" y="6085"/>
                  </a:cubicBezTo>
                  <a:cubicBezTo>
                    <a:pt x="69971" y="15211"/>
                    <a:pt x="60845" y="243380"/>
                    <a:pt x="12169" y="358986"/>
                  </a:cubicBezTo>
                  <a:cubicBezTo>
                    <a:pt x="12169" y="362028"/>
                    <a:pt x="9126" y="365070"/>
                    <a:pt x="6084" y="365070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3A487769-0A6D-4A72-80F4-3D06986060B5}"/>
                </a:ext>
              </a:extLst>
            </p:cNvPr>
            <p:cNvSpPr/>
            <p:nvPr/>
          </p:nvSpPr>
          <p:spPr>
            <a:xfrm>
              <a:off x="11510716" y="4047381"/>
              <a:ext cx="156415" cy="355943"/>
            </a:xfrm>
            <a:custGeom>
              <a:avLst/>
              <a:gdLst>
                <a:gd name="connsiteX0" fmla="*/ 7344 w 156415"/>
                <a:gd name="connsiteY0" fmla="*/ 355944 h 355943"/>
                <a:gd name="connsiteX1" fmla="*/ 1260 w 156415"/>
                <a:gd name="connsiteY1" fmla="*/ 352901 h 355943"/>
                <a:gd name="connsiteX2" fmla="*/ 4303 w 156415"/>
                <a:gd name="connsiteY2" fmla="*/ 343775 h 355943"/>
                <a:gd name="connsiteX3" fmla="*/ 110782 w 156415"/>
                <a:gd name="connsiteY3" fmla="*/ 267718 h 355943"/>
                <a:gd name="connsiteX4" fmla="*/ 144246 w 156415"/>
                <a:gd name="connsiteY4" fmla="*/ 6084 h 355943"/>
                <a:gd name="connsiteX5" fmla="*/ 150330 w 156415"/>
                <a:gd name="connsiteY5" fmla="*/ 0 h 355943"/>
                <a:gd name="connsiteX6" fmla="*/ 156415 w 156415"/>
                <a:gd name="connsiteY6" fmla="*/ 6084 h 355943"/>
                <a:gd name="connsiteX7" fmla="*/ 122950 w 156415"/>
                <a:gd name="connsiteY7" fmla="*/ 273803 h 355943"/>
                <a:gd name="connsiteX8" fmla="*/ 13429 w 156415"/>
                <a:gd name="connsiteY8" fmla="*/ 352901 h 355943"/>
                <a:gd name="connsiteX9" fmla="*/ 7344 w 156415"/>
                <a:gd name="connsiteY9" fmla="*/ 355944 h 35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415" h="355943">
                  <a:moveTo>
                    <a:pt x="7344" y="355944"/>
                  </a:moveTo>
                  <a:cubicBezTo>
                    <a:pt x="4303" y="355944"/>
                    <a:pt x="4303" y="355944"/>
                    <a:pt x="1260" y="352901"/>
                  </a:cubicBezTo>
                  <a:cubicBezTo>
                    <a:pt x="-1782" y="349859"/>
                    <a:pt x="1260" y="346817"/>
                    <a:pt x="4303" y="343775"/>
                  </a:cubicBezTo>
                  <a:cubicBezTo>
                    <a:pt x="43852" y="319437"/>
                    <a:pt x="101654" y="276845"/>
                    <a:pt x="110782" y="267718"/>
                  </a:cubicBezTo>
                  <a:cubicBezTo>
                    <a:pt x="119908" y="255549"/>
                    <a:pt x="135119" y="100394"/>
                    <a:pt x="144246" y="6084"/>
                  </a:cubicBezTo>
                  <a:cubicBezTo>
                    <a:pt x="144246" y="3042"/>
                    <a:pt x="147288" y="0"/>
                    <a:pt x="150330" y="0"/>
                  </a:cubicBezTo>
                  <a:cubicBezTo>
                    <a:pt x="153373" y="0"/>
                    <a:pt x="156415" y="3042"/>
                    <a:pt x="156415" y="6084"/>
                  </a:cubicBezTo>
                  <a:cubicBezTo>
                    <a:pt x="153373" y="48676"/>
                    <a:pt x="132077" y="258592"/>
                    <a:pt x="122950" y="273803"/>
                  </a:cubicBezTo>
                  <a:cubicBezTo>
                    <a:pt x="110782" y="289014"/>
                    <a:pt x="22555" y="346817"/>
                    <a:pt x="13429" y="352901"/>
                  </a:cubicBezTo>
                  <a:cubicBezTo>
                    <a:pt x="7344" y="355944"/>
                    <a:pt x="7344" y="355944"/>
                    <a:pt x="7344" y="355944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A85CF47B-28EB-462A-8325-4DE2A5FFE70D}"/>
                </a:ext>
              </a:extLst>
            </p:cNvPr>
            <p:cNvSpPr/>
            <p:nvPr/>
          </p:nvSpPr>
          <p:spPr>
            <a:xfrm>
              <a:off x="11857911" y="2831647"/>
              <a:ext cx="901388" cy="867244"/>
            </a:xfrm>
            <a:custGeom>
              <a:avLst/>
              <a:gdLst>
                <a:gd name="connsiteX0" fmla="*/ 22178 w 901388"/>
                <a:gd name="connsiteY0" fmla="*/ 281763 h 867244"/>
                <a:gd name="connsiteX1" fmla="*/ 98234 w 901388"/>
                <a:gd name="connsiteY1" fmla="*/ 1875 h 867244"/>
                <a:gd name="connsiteX2" fmla="*/ 347698 w 901388"/>
                <a:gd name="connsiteY2" fmla="*/ 287847 h 867244"/>
                <a:gd name="connsiteX3" fmla="*/ 496768 w 901388"/>
                <a:gd name="connsiteY3" fmla="*/ 585988 h 867244"/>
                <a:gd name="connsiteX4" fmla="*/ 855755 w 901388"/>
                <a:gd name="connsiteY4" fmla="*/ 251340 h 867244"/>
                <a:gd name="connsiteX5" fmla="*/ 901389 w 901388"/>
                <a:gd name="connsiteY5" fmla="*/ 391284 h 867244"/>
                <a:gd name="connsiteX6" fmla="*/ 408543 w 901388"/>
                <a:gd name="connsiteY6" fmla="*/ 862833 h 867244"/>
                <a:gd name="connsiteX7" fmla="*/ 22178 w 901388"/>
                <a:gd name="connsiteY7" fmla="*/ 281763 h 867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1388" h="867244">
                  <a:moveTo>
                    <a:pt x="22178" y="281763"/>
                  </a:moveTo>
                  <a:cubicBezTo>
                    <a:pt x="-32584" y="144861"/>
                    <a:pt x="22178" y="-19421"/>
                    <a:pt x="98234" y="1875"/>
                  </a:cubicBezTo>
                  <a:cubicBezTo>
                    <a:pt x="186459" y="26213"/>
                    <a:pt x="289895" y="120523"/>
                    <a:pt x="347698" y="287847"/>
                  </a:cubicBezTo>
                  <a:cubicBezTo>
                    <a:pt x="381163" y="385199"/>
                    <a:pt x="478516" y="589030"/>
                    <a:pt x="496768" y="585988"/>
                  </a:cubicBezTo>
                  <a:cubicBezTo>
                    <a:pt x="505896" y="585988"/>
                    <a:pt x="855755" y="251340"/>
                    <a:pt x="855755" y="251340"/>
                  </a:cubicBezTo>
                  <a:cubicBezTo>
                    <a:pt x="855755" y="312185"/>
                    <a:pt x="901389" y="391284"/>
                    <a:pt x="901389" y="391284"/>
                  </a:cubicBezTo>
                  <a:cubicBezTo>
                    <a:pt x="901389" y="391284"/>
                    <a:pt x="600206" y="920636"/>
                    <a:pt x="408543" y="862833"/>
                  </a:cubicBezTo>
                  <a:cubicBezTo>
                    <a:pt x="308149" y="832410"/>
                    <a:pt x="89107" y="452129"/>
                    <a:pt x="22178" y="281763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82E1C6A-AEDB-4D2A-A67B-8D9636DB086E}"/>
                </a:ext>
              </a:extLst>
            </p:cNvPr>
            <p:cNvSpPr/>
            <p:nvPr/>
          </p:nvSpPr>
          <p:spPr>
            <a:xfrm>
              <a:off x="10943074" y="3983494"/>
              <a:ext cx="146028" cy="240337"/>
            </a:xfrm>
            <a:custGeom>
              <a:avLst/>
              <a:gdLst>
                <a:gd name="connsiteX0" fmla="*/ 6085 w 146028"/>
                <a:gd name="connsiteY0" fmla="*/ 240338 h 240337"/>
                <a:gd name="connsiteX1" fmla="*/ 0 w 146028"/>
                <a:gd name="connsiteY1" fmla="*/ 234253 h 240337"/>
                <a:gd name="connsiteX2" fmla="*/ 6085 w 146028"/>
                <a:gd name="connsiteY2" fmla="*/ 228169 h 240337"/>
                <a:gd name="connsiteX3" fmla="*/ 121690 w 146028"/>
                <a:gd name="connsiteY3" fmla="*/ 200789 h 240337"/>
                <a:gd name="connsiteX4" fmla="*/ 133859 w 146028"/>
                <a:gd name="connsiteY4" fmla="*/ 6084 h 240337"/>
                <a:gd name="connsiteX5" fmla="*/ 139944 w 146028"/>
                <a:gd name="connsiteY5" fmla="*/ 0 h 240337"/>
                <a:gd name="connsiteX6" fmla="*/ 139944 w 146028"/>
                <a:gd name="connsiteY6" fmla="*/ 0 h 240337"/>
                <a:gd name="connsiteX7" fmla="*/ 146029 w 146028"/>
                <a:gd name="connsiteY7" fmla="*/ 6084 h 240337"/>
                <a:gd name="connsiteX8" fmla="*/ 130817 w 146028"/>
                <a:gd name="connsiteY8" fmla="*/ 203831 h 240337"/>
                <a:gd name="connsiteX9" fmla="*/ 6085 w 146028"/>
                <a:gd name="connsiteY9" fmla="*/ 240338 h 240337"/>
                <a:gd name="connsiteX10" fmla="*/ 6085 w 146028"/>
                <a:gd name="connsiteY10" fmla="*/ 240338 h 24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028" h="240337">
                  <a:moveTo>
                    <a:pt x="6085" y="240338"/>
                  </a:moveTo>
                  <a:cubicBezTo>
                    <a:pt x="3042" y="240338"/>
                    <a:pt x="0" y="237296"/>
                    <a:pt x="0" y="234253"/>
                  </a:cubicBezTo>
                  <a:cubicBezTo>
                    <a:pt x="0" y="231211"/>
                    <a:pt x="3042" y="228169"/>
                    <a:pt x="6085" y="228169"/>
                  </a:cubicBezTo>
                  <a:cubicBezTo>
                    <a:pt x="57803" y="222084"/>
                    <a:pt x="118648" y="209915"/>
                    <a:pt x="121690" y="200789"/>
                  </a:cubicBezTo>
                  <a:cubicBezTo>
                    <a:pt x="127775" y="188620"/>
                    <a:pt x="133859" y="76056"/>
                    <a:pt x="133859" y="6084"/>
                  </a:cubicBezTo>
                  <a:cubicBezTo>
                    <a:pt x="133859" y="3042"/>
                    <a:pt x="136901" y="0"/>
                    <a:pt x="139944" y="0"/>
                  </a:cubicBezTo>
                  <a:cubicBezTo>
                    <a:pt x="139944" y="0"/>
                    <a:pt x="139944" y="0"/>
                    <a:pt x="139944" y="0"/>
                  </a:cubicBezTo>
                  <a:cubicBezTo>
                    <a:pt x="142986" y="0"/>
                    <a:pt x="146029" y="3042"/>
                    <a:pt x="146029" y="6084"/>
                  </a:cubicBezTo>
                  <a:cubicBezTo>
                    <a:pt x="146029" y="24338"/>
                    <a:pt x="142986" y="185577"/>
                    <a:pt x="130817" y="203831"/>
                  </a:cubicBezTo>
                  <a:cubicBezTo>
                    <a:pt x="121690" y="225127"/>
                    <a:pt x="33465" y="237296"/>
                    <a:pt x="6085" y="240338"/>
                  </a:cubicBezTo>
                  <a:cubicBezTo>
                    <a:pt x="6085" y="240338"/>
                    <a:pt x="6085" y="240338"/>
                    <a:pt x="6085" y="240338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F722B6BE-7596-4911-93CD-8578F10F3C85}"/>
                </a:ext>
              </a:extLst>
            </p:cNvPr>
            <p:cNvSpPr/>
            <p:nvPr/>
          </p:nvSpPr>
          <p:spPr>
            <a:xfrm>
              <a:off x="11892257" y="3998705"/>
              <a:ext cx="91267" cy="206873"/>
            </a:xfrm>
            <a:custGeom>
              <a:avLst/>
              <a:gdLst>
                <a:gd name="connsiteX0" fmla="*/ 79099 w 91267"/>
                <a:gd name="connsiteY0" fmla="*/ 203831 h 206873"/>
                <a:gd name="connsiteX1" fmla="*/ 21295 w 91267"/>
                <a:gd name="connsiteY1" fmla="*/ 179493 h 206873"/>
                <a:gd name="connsiteX2" fmla="*/ 0 w 91267"/>
                <a:gd name="connsiteY2" fmla="*/ 6084 h 206873"/>
                <a:gd name="connsiteX3" fmla="*/ 6084 w 91267"/>
                <a:gd name="connsiteY3" fmla="*/ 0 h 206873"/>
                <a:gd name="connsiteX4" fmla="*/ 6084 w 91267"/>
                <a:gd name="connsiteY4" fmla="*/ 0 h 206873"/>
                <a:gd name="connsiteX5" fmla="*/ 12169 w 91267"/>
                <a:gd name="connsiteY5" fmla="*/ 6084 h 206873"/>
                <a:gd name="connsiteX6" fmla="*/ 30423 w 91267"/>
                <a:gd name="connsiteY6" fmla="*/ 176451 h 206873"/>
                <a:gd name="connsiteX7" fmla="*/ 85183 w 91267"/>
                <a:gd name="connsiteY7" fmla="*/ 194704 h 206873"/>
                <a:gd name="connsiteX8" fmla="*/ 91268 w 91267"/>
                <a:gd name="connsiteY8" fmla="*/ 200789 h 206873"/>
                <a:gd name="connsiteX9" fmla="*/ 85183 w 91267"/>
                <a:gd name="connsiteY9" fmla="*/ 206873 h 206873"/>
                <a:gd name="connsiteX10" fmla="*/ 79099 w 91267"/>
                <a:gd name="connsiteY10" fmla="*/ 203831 h 2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267" h="206873">
                  <a:moveTo>
                    <a:pt x="79099" y="203831"/>
                  </a:moveTo>
                  <a:cubicBezTo>
                    <a:pt x="63888" y="203831"/>
                    <a:pt x="33465" y="200789"/>
                    <a:pt x="21295" y="179493"/>
                  </a:cubicBezTo>
                  <a:cubicBezTo>
                    <a:pt x="6084" y="152113"/>
                    <a:pt x="0" y="21296"/>
                    <a:pt x="0" y="6084"/>
                  </a:cubicBezTo>
                  <a:cubicBezTo>
                    <a:pt x="0" y="3042"/>
                    <a:pt x="3042" y="0"/>
                    <a:pt x="6084" y="0"/>
                  </a:cubicBezTo>
                  <a:cubicBezTo>
                    <a:pt x="6084" y="0"/>
                    <a:pt x="6084" y="0"/>
                    <a:pt x="6084" y="0"/>
                  </a:cubicBezTo>
                  <a:cubicBezTo>
                    <a:pt x="9126" y="0"/>
                    <a:pt x="12169" y="3042"/>
                    <a:pt x="12169" y="6084"/>
                  </a:cubicBezTo>
                  <a:cubicBezTo>
                    <a:pt x="15211" y="45634"/>
                    <a:pt x="21295" y="155155"/>
                    <a:pt x="30423" y="176451"/>
                  </a:cubicBezTo>
                  <a:cubicBezTo>
                    <a:pt x="42591" y="197746"/>
                    <a:pt x="82140" y="194704"/>
                    <a:pt x="85183" y="194704"/>
                  </a:cubicBezTo>
                  <a:cubicBezTo>
                    <a:pt x="88225" y="194704"/>
                    <a:pt x="91268" y="197746"/>
                    <a:pt x="91268" y="200789"/>
                  </a:cubicBezTo>
                  <a:cubicBezTo>
                    <a:pt x="91268" y="203831"/>
                    <a:pt x="88225" y="206873"/>
                    <a:pt x="85183" y="206873"/>
                  </a:cubicBezTo>
                  <a:cubicBezTo>
                    <a:pt x="85183" y="203831"/>
                    <a:pt x="82140" y="203831"/>
                    <a:pt x="79099" y="203831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409C5B65-3B8C-48CE-A31D-A46C9F0F2BB4}"/>
                </a:ext>
              </a:extLst>
            </p:cNvPr>
            <p:cNvSpPr/>
            <p:nvPr/>
          </p:nvSpPr>
          <p:spPr>
            <a:xfrm>
              <a:off x="11350736" y="2304170"/>
              <a:ext cx="249465" cy="257689"/>
            </a:xfrm>
            <a:custGeom>
              <a:avLst/>
              <a:gdLst>
                <a:gd name="connsiteX0" fmla="*/ 249465 w 249465"/>
                <a:gd name="connsiteY0" fmla="*/ 39549 h 257689"/>
                <a:gd name="connsiteX1" fmla="*/ 243380 w 249465"/>
                <a:gd name="connsiteY1" fmla="*/ 212958 h 257689"/>
                <a:gd name="connsiteX2" fmla="*/ 0 w 249465"/>
                <a:gd name="connsiteY2" fmla="*/ 203831 h 257689"/>
                <a:gd name="connsiteX3" fmla="*/ 15211 w 249465"/>
                <a:gd name="connsiteY3" fmla="*/ 0 h 257689"/>
                <a:gd name="connsiteX4" fmla="*/ 249465 w 249465"/>
                <a:gd name="connsiteY4" fmla="*/ 39549 h 257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465" h="257689">
                  <a:moveTo>
                    <a:pt x="249465" y="39549"/>
                  </a:moveTo>
                  <a:cubicBezTo>
                    <a:pt x="249465" y="39549"/>
                    <a:pt x="243380" y="139944"/>
                    <a:pt x="243380" y="212958"/>
                  </a:cubicBezTo>
                  <a:cubicBezTo>
                    <a:pt x="243380" y="212958"/>
                    <a:pt x="149071" y="319437"/>
                    <a:pt x="0" y="203831"/>
                  </a:cubicBezTo>
                  <a:cubicBezTo>
                    <a:pt x="0" y="142986"/>
                    <a:pt x="12170" y="63887"/>
                    <a:pt x="15211" y="0"/>
                  </a:cubicBezTo>
                  <a:cubicBezTo>
                    <a:pt x="12170" y="0"/>
                    <a:pt x="197746" y="51718"/>
                    <a:pt x="249465" y="39549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5E9FC1AA-9002-402A-BC04-0FDBE973FFEA}"/>
                </a:ext>
              </a:extLst>
            </p:cNvPr>
            <p:cNvSpPr/>
            <p:nvPr/>
          </p:nvSpPr>
          <p:spPr>
            <a:xfrm>
              <a:off x="11259468" y="2185522"/>
              <a:ext cx="69972" cy="136901"/>
            </a:xfrm>
            <a:custGeom>
              <a:avLst/>
              <a:gdLst>
                <a:gd name="connsiteX0" fmla="*/ 0 w 69972"/>
                <a:gd name="connsiteY0" fmla="*/ 0 h 136901"/>
                <a:gd name="connsiteX1" fmla="*/ 66930 w 69972"/>
                <a:gd name="connsiteY1" fmla="*/ 136901 h 136901"/>
                <a:gd name="connsiteX2" fmla="*/ 69972 w 69972"/>
                <a:gd name="connsiteY2" fmla="*/ 51718 h 136901"/>
                <a:gd name="connsiteX3" fmla="*/ 0 w 69972"/>
                <a:gd name="connsiteY3" fmla="*/ 0 h 136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972" h="136901">
                  <a:moveTo>
                    <a:pt x="0" y="0"/>
                  </a:moveTo>
                  <a:cubicBezTo>
                    <a:pt x="0" y="0"/>
                    <a:pt x="15211" y="118648"/>
                    <a:pt x="66930" y="136901"/>
                  </a:cubicBezTo>
                  <a:lnTo>
                    <a:pt x="69972" y="517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0DD773B9-99D6-4882-8611-4F5AA6B5AA08}"/>
                </a:ext>
              </a:extLst>
            </p:cNvPr>
            <p:cNvSpPr/>
            <p:nvPr/>
          </p:nvSpPr>
          <p:spPr>
            <a:xfrm>
              <a:off x="11614962" y="1978649"/>
              <a:ext cx="102415" cy="237308"/>
            </a:xfrm>
            <a:custGeom>
              <a:avLst/>
              <a:gdLst>
                <a:gd name="connsiteX0" fmla="*/ 94761 w 102415"/>
                <a:gd name="connsiteY0" fmla="*/ 0 h 237308"/>
                <a:gd name="connsiteX1" fmla="*/ 55211 w 102415"/>
                <a:gd name="connsiteY1" fmla="*/ 234254 h 237308"/>
                <a:gd name="connsiteX2" fmla="*/ 451 w 102415"/>
                <a:gd name="connsiteY2" fmla="*/ 15211 h 237308"/>
                <a:gd name="connsiteX3" fmla="*/ 94761 w 102415"/>
                <a:gd name="connsiteY3" fmla="*/ 0 h 23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415" h="237308">
                  <a:moveTo>
                    <a:pt x="94761" y="0"/>
                  </a:moveTo>
                  <a:cubicBezTo>
                    <a:pt x="94761" y="0"/>
                    <a:pt x="128226" y="194704"/>
                    <a:pt x="55211" y="234254"/>
                  </a:cubicBezTo>
                  <a:cubicBezTo>
                    <a:pt x="-8676" y="267718"/>
                    <a:pt x="451" y="15211"/>
                    <a:pt x="451" y="15211"/>
                  </a:cubicBezTo>
                  <a:lnTo>
                    <a:pt x="94761" y="0"/>
                  </a:ln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2D40305B-5D4D-48D1-AB2A-3CB9161BEB84}"/>
                </a:ext>
              </a:extLst>
            </p:cNvPr>
            <p:cNvSpPr/>
            <p:nvPr/>
          </p:nvSpPr>
          <p:spPr>
            <a:xfrm>
              <a:off x="11259468" y="1840837"/>
              <a:ext cx="422482" cy="567371"/>
            </a:xfrm>
            <a:custGeom>
              <a:avLst/>
              <a:gdLst>
                <a:gd name="connsiteX0" fmla="*/ 410704 w 422482"/>
                <a:gd name="connsiteY0" fmla="*/ 180403 h 567371"/>
                <a:gd name="connsiteX1" fmla="*/ 413747 w 422482"/>
                <a:gd name="connsiteY1" fmla="*/ 429867 h 567371"/>
                <a:gd name="connsiteX2" fmla="*/ 255550 w 422482"/>
                <a:gd name="connsiteY2" fmla="*/ 566769 h 567371"/>
                <a:gd name="connsiteX3" fmla="*/ 39550 w 422482"/>
                <a:gd name="connsiteY3" fmla="*/ 426825 h 567371"/>
                <a:gd name="connsiteX4" fmla="*/ 0 w 422482"/>
                <a:gd name="connsiteY4" fmla="*/ 201698 h 567371"/>
                <a:gd name="connsiteX5" fmla="*/ 209916 w 422482"/>
                <a:gd name="connsiteY5" fmla="*/ 910 h 567371"/>
                <a:gd name="connsiteX6" fmla="*/ 410704 w 422482"/>
                <a:gd name="connsiteY6" fmla="*/ 180403 h 56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2482" h="567371">
                  <a:moveTo>
                    <a:pt x="410704" y="180403"/>
                  </a:moveTo>
                  <a:cubicBezTo>
                    <a:pt x="410704" y="180403"/>
                    <a:pt x="435043" y="356853"/>
                    <a:pt x="413747" y="429867"/>
                  </a:cubicBezTo>
                  <a:cubicBezTo>
                    <a:pt x="395493" y="496797"/>
                    <a:pt x="307268" y="560684"/>
                    <a:pt x="255550" y="566769"/>
                  </a:cubicBezTo>
                  <a:cubicBezTo>
                    <a:pt x="188620" y="572853"/>
                    <a:pt x="69972" y="533304"/>
                    <a:pt x="39550" y="426825"/>
                  </a:cubicBezTo>
                  <a:cubicBezTo>
                    <a:pt x="18254" y="353811"/>
                    <a:pt x="0" y="253417"/>
                    <a:pt x="0" y="201698"/>
                  </a:cubicBezTo>
                  <a:cubicBezTo>
                    <a:pt x="0" y="107389"/>
                    <a:pt x="27381" y="28290"/>
                    <a:pt x="209916" y="910"/>
                  </a:cubicBezTo>
                  <a:cubicBezTo>
                    <a:pt x="295099" y="-11259"/>
                    <a:pt x="389409" y="101304"/>
                    <a:pt x="410704" y="180403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F025BD8B-53F8-4F04-A2AA-DA471C0DBF28}"/>
                </a:ext>
              </a:extLst>
            </p:cNvPr>
            <p:cNvSpPr/>
            <p:nvPr/>
          </p:nvSpPr>
          <p:spPr>
            <a:xfrm>
              <a:off x="11487637" y="2100339"/>
              <a:ext cx="57803" cy="139943"/>
            </a:xfrm>
            <a:custGeom>
              <a:avLst/>
              <a:gdLst>
                <a:gd name="connsiteX0" fmla="*/ 27381 w 57803"/>
                <a:gd name="connsiteY0" fmla="*/ 139944 h 139943"/>
                <a:gd name="connsiteX1" fmla="*/ 6085 w 57803"/>
                <a:gd name="connsiteY1" fmla="*/ 136901 h 139943"/>
                <a:gd name="connsiteX2" fmla="*/ 0 w 57803"/>
                <a:gd name="connsiteY2" fmla="*/ 130817 h 139943"/>
                <a:gd name="connsiteX3" fmla="*/ 6085 w 57803"/>
                <a:gd name="connsiteY3" fmla="*/ 124732 h 139943"/>
                <a:gd name="connsiteX4" fmla="*/ 45634 w 57803"/>
                <a:gd name="connsiteY4" fmla="*/ 121690 h 139943"/>
                <a:gd name="connsiteX5" fmla="*/ 45634 w 57803"/>
                <a:gd name="connsiteY5" fmla="*/ 118648 h 139943"/>
                <a:gd name="connsiteX6" fmla="*/ 27381 w 57803"/>
                <a:gd name="connsiteY6" fmla="*/ 6085 h 139943"/>
                <a:gd name="connsiteX7" fmla="*/ 33465 w 57803"/>
                <a:gd name="connsiteY7" fmla="*/ 0 h 139943"/>
                <a:gd name="connsiteX8" fmla="*/ 39550 w 57803"/>
                <a:gd name="connsiteY8" fmla="*/ 6085 h 139943"/>
                <a:gd name="connsiteX9" fmla="*/ 57804 w 57803"/>
                <a:gd name="connsiteY9" fmla="*/ 118648 h 139943"/>
                <a:gd name="connsiteX10" fmla="*/ 51719 w 57803"/>
                <a:gd name="connsiteY10" fmla="*/ 130817 h 139943"/>
                <a:gd name="connsiteX11" fmla="*/ 27381 w 57803"/>
                <a:gd name="connsiteY11" fmla="*/ 139944 h 139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803" h="139943">
                  <a:moveTo>
                    <a:pt x="27381" y="139944"/>
                  </a:moveTo>
                  <a:cubicBezTo>
                    <a:pt x="18254" y="139944"/>
                    <a:pt x="9127" y="136901"/>
                    <a:pt x="6085" y="136901"/>
                  </a:cubicBezTo>
                  <a:cubicBezTo>
                    <a:pt x="3042" y="136901"/>
                    <a:pt x="0" y="133859"/>
                    <a:pt x="0" y="130817"/>
                  </a:cubicBezTo>
                  <a:cubicBezTo>
                    <a:pt x="0" y="127775"/>
                    <a:pt x="3042" y="124732"/>
                    <a:pt x="6085" y="124732"/>
                  </a:cubicBezTo>
                  <a:cubicBezTo>
                    <a:pt x="18254" y="127775"/>
                    <a:pt x="39550" y="127775"/>
                    <a:pt x="45634" y="121690"/>
                  </a:cubicBezTo>
                  <a:cubicBezTo>
                    <a:pt x="45634" y="121690"/>
                    <a:pt x="45634" y="118648"/>
                    <a:pt x="45634" y="118648"/>
                  </a:cubicBezTo>
                  <a:cubicBezTo>
                    <a:pt x="45634" y="100394"/>
                    <a:pt x="27381" y="9127"/>
                    <a:pt x="27381" y="6085"/>
                  </a:cubicBezTo>
                  <a:cubicBezTo>
                    <a:pt x="27381" y="3042"/>
                    <a:pt x="27381" y="0"/>
                    <a:pt x="33465" y="0"/>
                  </a:cubicBezTo>
                  <a:cubicBezTo>
                    <a:pt x="36507" y="0"/>
                    <a:pt x="39550" y="0"/>
                    <a:pt x="39550" y="6085"/>
                  </a:cubicBezTo>
                  <a:cubicBezTo>
                    <a:pt x="39550" y="9127"/>
                    <a:pt x="57804" y="100394"/>
                    <a:pt x="57804" y="118648"/>
                  </a:cubicBezTo>
                  <a:cubicBezTo>
                    <a:pt x="57804" y="124732"/>
                    <a:pt x="54761" y="127775"/>
                    <a:pt x="51719" y="130817"/>
                  </a:cubicBezTo>
                  <a:cubicBezTo>
                    <a:pt x="48676" y="139944"/>
                    <a:pt x="36507" y="139944"/>
                    <a:pt x="27381" y="139944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9D7F2D0A-7C43-4BAF-9345-329B21B44029}"/>
                </a:ext>
              </a:extLst>
            </p:cNvPr>
            <p:cNvSpPr/>
            <p:nvPr/>
          </p:nvSpPr>
          <p:spPr>
            <a:xfrm>
              <a:off x="11575088" y="2081488"/>
              <a:ext cx="40921" cy="40742"/>
            </a:xfrm>
            <a:custGeom>
              <a:avLst/>
              <a:gdLst>
                <a:gd name="connsiteX0" fmla="*/ 775 w 40921"/>
                <a:gd name="connsiteY0" fmla="*/ 24935 h 40742"/>
                <a:gd name="connsiteX1" fmla="*/ 25113 w 40921"/>
                <a:gd name="connsiteY1" fmla="*/ 40146 h 40742"/>
                <a:gd name="connsiteX2" fmla="*/ 40324 w 40921"/>
                <a:gd name="connsiteY2" fmla="*/ 15808 h 40742"/>
                <a:gd name="connsiteX3" fmla="*/ 15987 w 40921"/>
                <a:gd name="connsiteY3" fmla="*/ 597 h 40742"/>
                <a:gd name="connsiteX4" fmla="*/ 775 w 40921"/>
                <a:gd name="connsiteY4" fmla="*/ 24935 h 40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21" h="40742">
                  <a:moveTo>
                    <a:pt x="775" y="24935"/>
                  </a:moveTo>
                  <a:cubicBezTo>
                    <a:pt x="3817" y="34062"/>
                    <a:pt x="12944" y="43188"/>
                    <a:pt x="25113" y="40146"/>
                  </a:cubicBezTo>
                  <a:cubicBezTo>
                    <a:pt x="34239" y="37104"/>
                    <a:pt x="43367" y="27977"/>
                    <a:pt x="40324" y="15808"/>
                  </a:cubicBezTo>
                  <a:cubicBezTo>
                    <a:pt x="37282" y="6681"/>
                    <a:pt x="28155" y="-2446"/>
                    <a:pt x="15987" y="597"/>
                  </a:cubicBezTo>
                  <a:cubicBezTo>
                    <a:pt x="3817" y="3639"/>
                    <a:pt x="-2267" y="12766"/>
                    <a:pt x="775" y="24935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6B508328-7B5E-4B65-A18C-DACACC8CDF01}"/>
                </a:ext>
              </a:extLst>
            </p:cNvPr>
            <p:cNvSpPr/>
            <p:nvPr/>
          </p:nvSpPr>
          <p:spPr>
            <a:xfrm>
              <a:off x="11392553" y="2099742"/>
              <a:ext cx="40921" cy="40742"/>
            </a:xfrm>
            <a:custGeom>
              <a:avLst/>
              <a:gdLst>
                <a:gd name="connsiteX0" fmla="*/ 775 w 40921"/>
                <a:gd name="connsiteY0" fmla="*/ 24935 h 40742"/>
                <a:gd name="connsiteX1" fmla="*/ 25113 w 40921"/>
                <a:gd name="connsiteY1" fmla="*/ 40146 h 40742"/>
                <a:gd name="connsiteX2" fmla="*/ 40324 w 40921"/>
                <a:gd name="connsiteY2" fmla="*/ 15808 h 40742"/>
                <a:gd name="connsiteX3" fmla="*/ 15987 w 40921"/>
                <a:gd name="connsiteY3" fmla="*/ 597 h 40742"/>
                <a:gd name="connsiteX4" fmla="*/ 775 w 40921"/>
                <a:gd name="connsiteY4" fmla="*/ 24935 h 40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21" h="40742">
                  <a:moveTo>
                    <a:pt x="775" y="24935"/>
                  </a:moveTo>
                  <a:cubicBezTo>
                    <a:pt x="3817" y="34062"/>
                    <a:pt x="12944" y="43188"/>
                    <a:pt x="25113" y="40146"/>
                  </a:cubicBezTo>
                  <a:cubicBezTo>
                    <a:pt x="34239" y="37104"/>
                    <a:pt x="43367" y="27977"/>
                    <a:pt x="40324" y="15808"/>
                  </a:cubicBezTo>
                  <a:cubicBezTo>
                    <a:pt x="37282" y="6681"/>
                    <a:pt x="28155" y="-2445"/>
                    <a:pt x="15987" y="597"/>
                  </a:cubicBezTo>
                  <a:cubicBezTo>
                    <a:pt x="3817" y="3639"/>
                    <a:pt x="-2267" y="15808"/>
                    <a:pt x="775" y="24935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85FEE506-854A-460B-BDA0-D84A9CACFD0F}"/>
                </a:ext>
              </a:extLst>
            </p:cNvPr>
            <p:cNvSpPr/>
            <p:nvPr/>
          </p:nvSpPr>
          <p:spPr>
            <a:xfrm>
              <a:off x="11544180" y="2030367"/>
              <a:ext cx="91767" cy="33464"/>
            </a:xfrm>
            <a:custGeom>
              <a:avLst/>
              <a:gdLst>
                <a:gd name="connsiteX0" fmla="*/ 86443 w 91767"/>
                <a:gd name="connsiteY0" fmla="*/ 33465 h 33464"/>
                <a:gd name="connsiteX1" fmla="*/ 80358 w 91767"/>
                <a:gd name="connsiteY1" fmla="*/ 30423 h 33464"/>
                <a:gd name="connsiteX2" fmla="*/ 13429 w 91767"/>
                <a:gd name="connsiteY2" fmla="*/ 24338 h 33464"/>
                <a:gd name="connsiteX3" fmla="*/ 1260 w 91767"/>
                <a:gd name="connsiteY3" fmla="*/ 21296 h 33464"/>
                <a:gd name="connsiteX4" fmla="*/ 4302 w 91767"/>
                <a:gd name="connsiteY4" fmla="*/ 9127 h 33464"/>
                <a:gd name="connsiteX5" fmla="*/ 89485 w 91767"/>
                <a:gd name="connsiteY5" fmla="*/ 18254 h 33464"/>
                <a:gd name="connsiteX6" fmla="*/ 89485 w 91767"/>
                <a:gd name="connsiteY6" fmla="*/ 30423 h 33464"/>
                <a:gd name="connsiteX7" fmla="*/ 86443 w 91767"/>
                <a:gd name="connsiteY7" fmla="*/ 33465 h 33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3464">
                  <a:moveTo>
                    <a:pt x="86443" y="33465"/>
                  </a:moveTo>
                  <a:cubicBezTo>
                    <a:pt x="83401" y="33465"/>
                    <a:pt x="83401" y="33465"/>
                    <a:pt x="80358" y="30423"/>
                  </a:cubicBezTo>
                  <a:cubicBezTo>
                    <a:pt x="52978" y="3042"/>
                    <a:pt x="16472" y="24338"/>
                    <a:pt x="13429" y="24338"/>
                  </a:cubicBezTo>
                  <a:cubicBezTo>
                    <a:pt x="10387" y="27380"/>
                    <a:pt x="4302" y="24338"/>
                    <a:pt x="1260" y="21296"/>
                  </a:cubicBezTo>
                  <a:cubicBezTo>
                    <a:pt x="-1782" y="18254"/>
                    <a:pt x="1260" y="12169"/>
                    <a:pt x="4302" y="9127"/>
                  </a:cubicBezTo>
                  <a:cubicBezTo>
                    <a:pt x="22555" y="0"/>
                    <a:pt x="62105" y="-9127"/>
                    <a:pt x="89485" y="18254"/>
                  </a:cubicBezTo>
                  <a:cubicBezTo>
                    <a:pt x="92528" y="21296"/>
                    <a:pt x="92528" y="27380"/>
                    <a:pt x="89485" y="30423"/>
                  </a:cubicBezTo>
                  <a:cubicBezTo>
                    <a:pt x="92528" y="33465"/>
                    <a:pt x="89485" y="33465"/>
                    <a:pt x="86443" y="33465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AF59F9C1-538D-4453-AE92-6D795DE5279E}"/>
                </a:ext>
              </a:extLst>
            </p:cNvPr>
            <p:cNvSpPr/>
            <p:nvPr/>
          </p:nvSpPr>
          <p:spPr>
            <a:xfrm>
              <a:off x="11357581" y="2033719"/>
              <a:ext cx="91767" cy="36197"/>
            </a:xfrm>
            <a:custGeom>
              <a:avLst/>
              <a:gdLst>
                <a:gd name="connsiteX0" fmla="*/ 8366 w 91767"/>
                <a:gd name="connsiteY0" fmla="*/ 36197 h 36197"/>
                <a:gd name="connsiteX1" fmla="*/ 2282 w 91767"/>
                <a:gd name="connsiteY1" fmla="*/ 33155 h 36197"/>
                <a:gd name="connsiteX2" fmla="*/ 2282 w 91767"/>
                <a:gd name="connsiteY2" fmla="*/ 20986 h 36197"/>
                <a:gd name="connsiteX3" fmla="*/ 87465 w 91767"/>
                <a:gd name="connsiteY3" fmla="*/ 11859 h 36197"/>
                <a:gd name="connsiteX4" fmla="*/ 90507 w 91767"/>
                <a:gd name="connsiteY4" fmla="*/ 24028 h 36197"/>
                <a:gd name="connsiteX5" fmla="*/ 78338 w 91767"/>
                <a:gd name="connsiteY5" fmla="*/ 27071 h 36197"/>
                <a:gd name="connsiteX6" fmla="*/ 11408 w 91767"/>
                <a:gd name="connsiteY6" fmla="*/ 33155 h 36197"/>
                <a:gd name="connsiteX7" fmla="*/ 8366 w 91767"/>
                <a:gd name="connsiteY7" fmla="*/ 36197 h 36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6197">
                  <a:moveTo>
                    <a:pt x="8366" y="36197"/>
                  </a:moveTo>
                  <a:cubicBezTo>
                    <a:pt x="5324" y="36197"/>
                    <a:pt x="5324" y="36197"/>
                    <a:pt x="2282" y="33155"/>
                  </a:cubicBezTo>
                  <a:cubicBezTo>
                    <a:pt x="-761" y="30113"/>
                    <a:pt x="-761" y="24028"/>
                    <a:pt x="2282" y="20986"/>
                  </a:cubicBezTo>
                  <a:cubicBezTo>
                    <a:pt x="14451" y="5775"/>
                    <a:pt x="50958" y="-12479"/>
                    <a:pt x="87465" y="11859"/>
                  </a:cubicBezTo>
                  <a:cubicBezTo>
                    <a:pt x="90507" y="14902"/>
                    <a:pt x="93549" y="17944"/>
                    <a:pt x="90507" y="24028"/>
                  </a:cubicBezTo>
                  <a:cubicBezTo>
                    <a:pt x="87465" y="27071"/>
                    <a:pt x="84422" y="30113"/>
                    <a:pt x="78338" y="27071"/>
                  </a:cubicBezTo>
                  <a:cubicBezTo>
                    <a:pt x="41831" y="2733"/>
                    <a:pt x="14451" y="33155"/>
                    <a:pt x="11408" y="33155"/>
                  </a:cubicBezTo>
                  <a:cubicBezTo>
                    <a:pt x="11408" y="36197"/>
                    <a:pt x="11408" y="36197"/>
                    <a:pt x="8366" y="36197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D5575B62-33B3-4CB0-B46A-8B246F4E9BD5}"/>
                </a:ext>
              </a:extLst>
            </p:cNvPr>
            <p:cNvSpPr/>
            <p:nvPr/>
          </p:nvSpPr>
          <p:spPr>
            <a:xfrm>
              <a:off x="11353778" y="2349803"/>
              <a:ext cx="230450" cy="63887"/>
            </a:xfrm>
            <a:custGeom>
              <a:avLst/>
              <a:gdLst>
                <a:gd name="connsiteX0" fmla="*/ 149070 w 230450"/>
                <a:gd name="connsiteY0" fmla="*/ 63887 h 63887"/>
                <a:gd name="connsiteX1" fmla="*/ 3042 w 230450"/>
                <a:gd name="connsiteY1" fmla="*/ 12169 h 63887"/>
                <a:gd name="connsiteX2" fmla="*/ 0 w 230450"/>
                <a:gd name="connsiteY2" fmla="*/ 3042 h 63887"/>
                <a:gd name="connsiteX3" fmla="*/ 9127 w 230450"/>
                <a:gd name="connsiteY3" fmla="*/ 0 h 63887"/>
                <a:gd name="connsiteX4" fmla="*/ 149070 w 230450"/>
                <a:gd name="connsiteY4" fmla="*/ 48676 h 63887"/>
                <a:gd name="connsiteX5" fmla="*/ 149070 w 230450"/>
                <a:gd name="connsiteY5" fmla="*/ 48676 h 63887"/>
                <a:gd name="connsiteX6" fmla="*/ 219043 w 230450"/>
                <a:gd name="connsiteY6" fmla="*/ 24338 h 63887"/>
                <a:gd name="connsiteX7" fmla="*/ 228169 w 230450"/>
                <a:gd name="connsiteY7" fmla="*/ 24338 h 63887"/>
                <a:gd name="connsiteX8" fmla="*/ 228169 w 230450"/>
                <a:gd name="connsiteY8" fmla="*/ 33465 h 63887"/>
                <a:gd name="connsiteX9" fmla="*/ 149070 w 230450"/>
                <a:gd name="connsiteY9" fmla="*/ 63887 h 63887"/>
                <a:gd name="connsiteX10" fmla="*/ 149070 w 230450"/>
                <a:gd name="connsiteY10" fmla="*/ 63887 h 63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0450" h="63887">
                  <a:moveTo>
                    <a:pt x="149070" y="63887"/>
                  </a:moveTo>
                  <a:cubicBezTo>
                    <a:pt x="97352" y="63887"/>
                    <a:pt x="9127" y="15211"/>
                    <a:pt x="3042" y="12169"/>
                  </a:cubicBezTo>
                  <a:cubicBezTo>
                    <a:pt x="0" y="9127"/>
                    <a:pt x="0" y="6084"/>
                    <a:pt x="0" y="3042"/>
                  </a:cubicBezTo>
                  <a:cubicBezTo>
                    <a:pt x="3042" y="0"/>
                    <a:pt x="6085" y="0"/>
                    <a:pt x="9127" y="0"/>
                  </a:cubicBezTo>
                  <a:cubicBezTo>
                    <a:pt x="9127" y="0"/>
                    <a:pt x="100395" y="48676"/>
                    <a:pt x="149070" y="48676"/>
                  </a:cubicBezTo>
                  <a:cubicBezTo>
                    <a:pt x="149070" y="48676"/>
                    <a:pt x="149070" y="48676"/>
                    <a:pt x="149070" y="48676"/>
                  </a:cubicBezTo>
                  <a:cubicBezTo>
                    <a:pt x="188620" y="48676"/>
                    <a:pt x="219043" y="24338"/>
                    <a:pt x="219043" y="24338"/>
                  </a:cubicBezTo>
                  <a:cubicBezTo>
                    <a:pt x="222085" y="21296"/>
                    <a:pt x="225127" y="21296"/>
                    <a:pt x="228169" y="24338"/>
                  </a:cubicBezTo>
                  <a:cubicBezTo>
                    <a:pt x="231211" y="27380"/>
                    <a:pt x="231211" y="30423"/>
                    <a:pt x="228169" y="33465"/>
                  </a:cubicBezTo>
                  <a:cubicBezTo>
                    <a:pt x="225127" y="36507"/>
                    <a:pt x="191663" y="63887"/>
                    <a:pt x="149070" y="63887"/>
                  </a:cubicBezTo>
                  <a:cubicBezTo>
                    <a:pt x="149070" y="63887"/>
                    <a:pt x="149070" y="63887"/>
                    <a:pt x="149070" y="63887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8F5129BA-28B6-4E83-9C14-988CEC038818}"/>
                </a:ext>
              </a:extLst>
            </p:cNvPr>
            <p:cNvSpPr/>
            <p:nvPr/>
          </p:nvSpPr>
          <p:spPr>
            <a:xfrm>
              <a:off x="11219604" y="1866085"/>
              <a:ext cx="112879" cy="267718"/>
            </a:xfrm>
            <a:custGeom>
              <a:avLst/>
              <a:gdLst>
                <a:gd name="connsiteX0" fmla="*/ 112879 w 112879"/>
                <a:gd name="connsiteY0" fmla="*/ 127775 h 267718"/>
                <a:gd name="connsiteX1" fmla="*/ 64203 w 112879"/>
                <a:gd name="connsiteY1" fmla="*/ 267718 h 267718"/>
                <a:gd name="connsiteX2" fmla="*/ 6400 w 112879"/>
                <a:gd name="connsiteY2" fmla="*/ 167324 h 267718"/>
                <a:gd name="connsiteX3" fmla="*/ 64203 w 112879"/>
                <a:gd name="connsiteY3" fmla="*/ 0 h 267718"/>
                <a:gd name="connsiteX4" fmla="*/ 112879 w 112879"/>
                <a:gd name="connsiteY4" fmla="*/ 127775 h 26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879" h="267718">
                  <a:moveTo>
                    <a:pt x="112879" y="127775"/>
                  </a:moveTo>
                  <a:cubicBezTo>
                    <a:pt x="112879" y="127775"/>
                    <a:pt x="58118" y="237296"/>
                    <a:pt x="64203" y="267718"/>
                  </a:cubicBezTo>
                  <a:cubicBezTo>
                    <a:pt x="64203" y="267718"/>
                    <a:pt x="21611" y="222085"/>
                    <a:pt x="6400" y="167324"/>
                  </a:cubicBezTo>
                  <a:cubicBezTo>
                    <a:pt x="-8811" y="109521"/>
                    <a:pt x="315" y="15211"/>
                    <a:pt x="64203" y="0"/>
                  </a:cubicBezTo>
                  <a:cubicBezTo>
                    <a:pt x="64203" y="0"/>
                    <a:pt x="73329" y="106479"/>
                    <a:pt x="112879" y="127775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6E4BB60A-0B2D-4F19-8260-17BE1EEAB04B}"/>
                </a:ext>
              </a:extLst>
            </p:cNvPr>
            <p:cNvSpPr/>
            <p:nvPr/>
          </p:nvSpPr>
          <p:spPr>
            <a:xfrm>
              <a:off x="11273881" y="1745732"/>
              <a:ext cx="499729" cy="257285"/>
            </a:xfrm>
            <a:custGeom>
              <a:avLst/>
              <a:gdLst>
                <a:gd name="connsiteX0" fmla="*/ 58602 w 499729"/>
                <a:gd name="connsiteY0" fmla="*/ 248128 h 257285"/>
                <a:gd name="connsiteX1" fmla="*/ 180293 w 499729"/>
                <a:gd name="connsiteY1" fmla="*/ 208579 h 257285"/>
                <a:gd name="connsiteX2" fmla="*/ 499729 w 499729"/>
                <a:gd name="connsiteY2" fmla="*/ 196410 h 257285"/>
                <a:gd name="connsiteX3" fmla="*/ 405419 w 499729"/>
                <a:gd name="connsiteY3" fmla="*/ 135564 h 257285"/>
                <a:gd name="connsiteX4" fmla="*/ 128574 w 499729"/>
                <a:gd name="connsiteY4" fmla="*/ 10832 h 257285"/>
                <a:gd name="connsiteX5" fmla="*/ 9926 w 499729"/>
                <a:gd name="connsiteY5" fmla="*/ 117311 h 257285"/>
                <a:gd name="connsiteX6" fmla="*/ 58602 w 499729"/>
                <a:gd name="connsiteY6" fmla="*/ 248128 h 257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9729" h="257285">
                  <a:moveTo>
                    <a:pt x="58602" y="248128"/>
                  </a:moveTo>
                  <a:cubicBezTo>
                    <a:pt x="58602" y="248128"/>
                    <a:pt x="152911" y="208579"/>
                    <a:pt x="180293" y="208579"/>
                  </a:cubicBezTo>
                  <a:cubicBezTo>
                    <a:pt x="280687" y="211621"/>
                    <a:pt x="408462" y="324184"/>
                    <a:pt x="499729" y="196410"/>
                  </a:cubicBezTo>
                  <a:cubicBezTo>
                    <a:pt x="448010" y="208579"/>
                    <a:pt x="423673" y="159903"/>
                    <a:pt x="405419" y="135564"/>
                  </a:cubicBezTo>
                  <a:cubicBezTo>
                    <a:pt x="362828" y="74719"/>
                    <a:pt x="292855" y="-34802"/>
                    <a:pt x="128574" y="10832"/>
                  </a:cubicBezTo>
                  <a:cubicBezTo>
                    <a:pt x="49475" y="32128"/>
                    <a:pt x="16010" y="80804"/>
                    <a:pt x="9926" y="117311"/>
                  </a:cubicBezTo>
                  <a:cubicBezTo>
                    <a:pt x="9926" y="120353"/>
                    <a:pt x="-32665" y="235959"/>
                    <a:pt x="58602" y="248128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8EFFA42E-4732-4512-9413-0573AC262136}"/>
                </a:ext>
              </a:extLst>
            </p:cNvPr>
            <p:cNvSpPr/>
            <p:nvPr/>
          </p:nvSpPr>
          <p:spPr>
            <a:xfrm>
              <a:off x="11221913" y="2100149"/>
              <a:ext cx="77105" cy="110265"/>
            </a:xfrm>
            <a:custGeom>
              <a:avLst/>
              <a:gdLst>
                <a:gd name="connsiteX0" fmla="*/ 64936 w 77105"/>
                <a:gd name="connsiteY0" fmla="*/ 15401 h 110265"/>
                <a:gd name="connsiteX1" fmla="*/ 7133 w 77105"/>
                <a:gd name="connsiteY1" fmla="*/ 6275 h 110265"/>
                <a:gd name="connsiteX2" fmla="*/ 64936 w 77105"/>
                <a:gd name="connsiteY2" fmla="*/ 106669 h 110265"/>
                <a:gd name="connsiteX3" fmla="*/ 64936 w 77105"/>
                <a:gd name="connsiteY3" fmla="*/ 15401 h 11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05" h="110265">
                  <a:moveTo>
                    <a:pt x="64936" y="15401"/>
                  </a:moveTo>
                  <a:cubicBezTo>
                    <a:pt x="64936" y="15401"/>
                    <a:pt x="31471" y="-11979"/>
                    <a:pt x="7133" y="6275"/>
                  </a:cubicBezTo>
                  <a:cubicBezTo>
                    <a:pt x="-17205" y="24528"/>
                    <a:pt x="25386" y="131007"/>
                    <a:pt x="64936" y="106669"/>
                  </a:cubicBezTo>
                  <a:cubicBezTo>
                    <a:pt x="92316" y="91458"/>
                    <a:pt x="64936" y="15401"/>
                    <a:pt x="64936" y="15401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64D7D5BB-ECE5-476F-A12E-3CC0AFBA8137}"/>
                </a:ext>
              </a:extLst>
            </p:cNvPr>
            <p:cNvSpPr/>
            <p:nvPr/>
          </p:nvSpPr>
          <p:spPr>
            <a:xfrm>
              <a:off x="10936990" y="2468451"/>
              <a:ext cx="1068645" cy="1563534"/>
            </a:xfrm>
            <a:custGeom>
              <a:avLst/>
              <a:gdLst>
                <a:gd name="connsiteX0" fmla="*/ 395493 w 1068645"/>
                <a:gd name="connsiteY0" fmla="*/ 0 h 1563534"/>
                <a:gd name="connsiteX1" fmla="*/ 684507 w 1068645"/>
                <a:gd name="connsiteY1" fmla="*/ 0 h 1563534"/>
                <a:gd name="connsiteX2" fmla="*/ 982648 w 1068645"/>
                <a:gd name="connsiteY2" fmla="*/ 130817 h 1563534"/>
                <a:gd name="connsiteX3" fmla="*/ 1067830 w 1068645"/>
                <a:gd name="connsiteY3" fmla="*/ 1533296 h 1563534"/>
                <a:gd name="connsiteX4" fmla="*/ 0 w 1068645"/>
                <a:gd name="connsiteY4" fmla="*/ 1508958 h 1563534"/>
                <a:gd name="connsiteX5" fmla="*/ 115605 w 1068645"/>
                <a:gd name="connsiteY5" fmla="*/ 103437 h 1563534"/>
                <a:gd name="connsiteX6" fmla="*/ 395493 w 1068645"/>
                <a:gd name="connsiteY6" fmla="*/ 0 h 1563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8645" h="1563534">
                  <a:moveTo>
                    <a:pt x="395493" y="0"/>
                  </a:moveTo>
                  <a:cubicBezTo>
                    <a:pt x="395493" y="0"/>
                    <a:pt x="568901" y="54761"/>
                    <a:pt x="684507" y="0"/>
                  </a:cubicBezTo>
                  <a:cubicBezTo>
                    <a:pt x="684507" y="0"/>
                    <a:pt x="958310" y="97352"/>
                    <a:pt x="982648" y="130817"/>
                  </a:cubicBezTo>
                  <a:cubicBezTo>
                    <a:pt x="1006985" y="161239"/>
                    <a:pt x="1076958" y="1466366"/>
                    <a:pt x="1067830" y="1533296"/>
                  </a:cubicBezTo>
                  <a:cubicBezTo>
                    <a:pt x="1067830" y="1533296"/>
                    <a:pt x="578028" y="1615437"/>
                    <a:pt x="0" y="1508958"/>
                  </a:cubicBezTo>
                  <a:cubicBezTo>
                    <a:pt x="0" y="1153014"/>
                    <a:pt x="73014" y="133859"/>
                    <a:pt x="115605" y="103437"/>
                  </a:cubicBezTo>
                  <a:cubicBezTo>
                    <a:pt x="158197" y="69972"/>
                    <a:pt x="395493" y="0"/>
                    <a:pt x="395493" y="0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80AFE66D-4AA1-484D-93BB-6350F97E084A}"/>
                </a:ext>
              </a:extLst>
            </p:cNvPr>
            <p:cNvSpPr/>
            <p:nvPr/>
          </p:nvSpPr>
          <p:spPr>
            <a:xfrm>
              <a:off x="11762058" y="2558158"/>
              <a:ext cx="449635" cy="610011"/>
            </a:xfrm>
            <a:custGeom>
              <a:avLst/>
              <a:gdLst>
                <a:gd name="connsiteX0" fmla="*/ 63269 w 449635"/>
                <a:gd name="connsiteY0" fmla="*/ 610012 h 610011"/>
                <a:gd name="connsiteX1" fmla="*/ 51100 w 449635"/>
                <a:gd name="connsiteY1" fmla="*/ 10688 h 610011"/>
                <a:gd name="connsiteX2" fmla="*/ 449636 w 449635"/>
                <a:gd name="connsiteY2" fmla="*/ 442688 h 610011"/>
                <a:gd name="connsiteX3" fmla="*/ 63269 w 449635"/>
                <a:gd name="connsiteY3" fmla="*/ 610012 h 610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635" h="610011">
                  <a:moveTo>
                    <a:pt x="63269" y="610012"/>
                  </a:moveTo>
                  <a:cubicBezTo>
                    <a:pt x="63269" y="610012"/>
                    <a:pt x="-70590" y="89786"/>
                    <a:pt x="51100" y="10688"/>
                  </a:cubicBezTo>
                  <a:cubicBezTo>
                    <a:pt x="194087" y="-80580"/>
                    <a:pt x="449636" y="442688"/>
                    <a:pt x="449636" y="442688"/>
                  </a:cubicBezTo>
                  <a:cubicBezTo>
                    <a:pt x="449636" y="442688"/>
                    <a:pt x="276227" y="591758"/>
                    <a:pt x="63269" y="610012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7CFAB737-4B94-4473-8A03-5138DFA71D45}"/>
                </a:ext>
              </a:extLst>
            </p:cNvPr>
            <p:cNvSpPr/>
            <p:nvPr/>
          </p:nvSpPr>
          <p:spPr>
            <a:xfrm>
              <a:off x="11913553" y="2593184"/>
              <a:ext cx="52978" cy="550647"/>
            </a:xfrm>
            <a:custGeom>
              <a:avLst/>
              <a:gdLst>
                <a:gd name="connsiteX0" fmla="*/ 48676 w 52978"/>
                <a:gd name="connsiteY0" fmla="*/ 550648 h 550647"/>
                <a:gd name="connsiteX1" fmla="*/ 42592 w 52978"/>
                <a:gd name="connsiteY1" fmla="*/ 544563 h 550647"/>
                <a:gd name="connsiteX2" fmla="*/ 0 w 52978"/>
                <a:gd name="connsiteY2" fmla="*/ 6084 h 550647"/>
                <a:gd name="connsiteX3" fmla="*/ 3042 w 52978"/>
                <a:gd name="connsiteY3" fmla="*/ 0 h 550647"/>
                <a:gd name="connsiteX4" fmla="*/ 9127 w 52978"/>
                <a:gd name="connsiteY4" fmla="*/ 3042 h 550647"/>
                <a:gd name="connsiteX5" fmla="*/ 51719 w 52978"/>
                <a:gd name="connsiteY5" fmla="*/ 544563 h 550647"/>
                <a:gd name="connsiteX6" fmla="*/ 48676 w 52978"/>
                <a:gd name="connsiteY6" fmla="*/ 550648 h 550647"/>
                <a:gd name="connsiteX7" fmla="*/ 48676 w 52978"/>
                <a:gd name="connsiteY7" fmla="*/ 550648 h 550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978" h="550647">
                  <a:moveTo>
                    <a:pt x="48676" y="550648"/>
                  </a:moveTo>
                  <a:cubicBezTo>
                    <a:pt x="45634" y="550648"/>
                    <a:pt x="42592" y="547606"/>
                    <a:pt x="42592" y="544563"/>
                  </a:cubicBezTo>
                  <a:cubicBezTo>
                    <a:pt x="42592" y="538479"/>
                    <a:pt x="6085" y="45634"/>
                    <a:pt x="0" y="6084"/>
                  </a:cubicBezTo>
                  <a:cubicBezTo>
                    <a:pt x="0" y="3042"/>
                    <a:pt x="0" y="0"/>
                    <a:pt x="3042" y="0"/>
                  </a:cubicBezTo>
                  <a:cubicBezTo>
                    <a:pt x="6085" y="0"/>
                    <a:pt x="9127" y="0"/>
                    <a:pt x="9127" y="3042"/>
                  </a:cubicBezTo>
                  <a:cubicBezTo>
                    <a:pt x="18254" y="42592"/>
                    <a:pt x="51719" y="523268"/>
                    <a:pt x="51719" y="544563"/>
                  </a:cubicBezTo>
                  <a:cubicBezTo>
                    <a:pt x="54761" y="547606"/>
                    <a:pt x="51719" y="550648"/>
                    <a:pt x="48676" y="550648"/>
                  </a:cubicBezTo>
                  <a:cubicBezTo>
                    <a:pt x="48676" y="550648"/>
                    <a:pt x="48676" y="550648"/>
                    <a:pt x="48676" y="550648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35AB2E20-5622-49BE-9383-7E0AA08872EE}"/>
                </a:ext>
              </a:extLst>
            </p:cNvPr>
            <p:cNvSpPr/>
            <p:nvPr/>
          </p:nvSpPr>
          <p:spPr>
            <a:xfrm>
              <a:off x="10773527" y="3031268"/>
              <a:ext cx="297321" cy="719606"/>
            </a:xfrm>
            <a:custGeom>
              <a:avLst/>
              <a:gdLst>
                <a:gd name="connsiteX0" fmla="*/ 297322 w 297321"/>
                <a:gd name="connsiteY0" fmla="*/ 24338 h 719606"/>
                <a:gd name="connsiteX1" fmla="*/ 190843 w 297321"/>
                <a:gd name="connsiteY1" fmla="*/ 556732 h 719606"/>
                <a:gd name="connsiteX2" fmla="*/ 50899 w 297321"/>
                <a:gd name="connsiteY2" fmla="*/ 702761 h 719606"/>
                <a:gd name="connsiteX3" fmla="*/ 29603 w 297321"/>
                <a:gd name="connsiteY3" fmla="*/ 0 h 719606"/>
                <a:gd name="connsiteX4" fmla="*/ 297322 w 297321"/>
                <a:gd name="connsiteY4" fmla="*/ 24338 h 71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321" h="719606">
                  <a:moveTo>
                    <a:pt x="297322" y="24338"/>
                  </a:moveTo>
                  <a:lnTo>
                    <a:pt x="190843" y="556732"/>
                  </a:lnTo>
                  <a:cubicBezTo>
                    <a:pt x="190843" y="556732"/>
                    <a:pt x="151293" y="781859"/>
                    <a:pt x="50899" y="702761"/>
                  </a:cubicBezTo>
                  <a:cubicBezTo>
                    <a:pt x="-49495" y="623662"/>
                    <a:pt x="29603" y="0"/>
                    <a:pt x="29603" y="0"/>
                  </a:cubicBezTo>
                  <a:lnTo>
                    <a:pt x="297322" y="24338"/>
                  </a:ln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241865F3-14CB-4A3B-8987-83DBDD052071}"/>
                </a:ext>
              </a:extLst>
            </p:cNvPr>
            <p:cNvSpPr/>
            <p:nvPr/>
          </p:nvSpPr>
          <p:spPr>
            <a:xfrm>
              <a:off x="10742285" y="2571888"/>
              <a:ext cx="428523" cy="582528"/>
            </a:xfrm>
            <a:custGeom>
              <a:avLst/>
              <a:gdLst>
                <a:gd name="connsiteX0" fmla="*/ 0 w 428523"/>
                <a:gd name="connsiteY0" fmla="*/ 511099 h 582528"/>
                <a:gd name="connsiteX1" fmla="*/ 310310 w 428523"/>
                <a:gd name="connsiteY1" fmla="*/ 0 h 582528"/>
                <a:gd name="connsiteX2" fmla="*/ 416789 w 428523"/>
                <a:gd name="connsiteY2" fmla="*/ 578028 h 582528"/>
                <a:gd name="connsiteX3" fmla="*/ 0 w 428523"/>
                <a:gd name="connsiteY3" fmla="*/ 511099 h 58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8523" h="582528">
                  <a:moveTo>
                    <a:pt x="0" y="511099"/>
                  </a:moveTo>
                  <a:cubicBezTo>
                    <a:pt x="0" y="511099"/>
                    <a:pt x="164282" y="0"/>
                    <a:pt x="310310" y="0"/>
                  </a:cubicBezTo>
                  <a:cubicBezTo>
                    <a:pt x="480677" y="0"/>
                    <a:pt x="416789" y="578028"/>
                    <a:pt x="416789" y="578028"/>
                  </a:cubicBezTo>
                  <a:cubicBezTo>
                    <a:pt x="416789" y="578028"/>
                    <a:pt x="188620" y="608451"/>
                    <a:pt x="0" y="511099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16CCB12F-39D0-4625-8778-A53C1365AF45}"/>
                </a:ext>
              </a:extLst>
            </p:cNvPr>
            <p:cNvSpPr/>
            <p:nvPr/>
          </p:nvSpPr>
          <p:spPr>
            <a:xfrm>
              <a:off x="11460257" y="2295803"/>
              <a:ext cx="119999" cy="29661"/>
            </a:xfrm>
            <a:custGeom>
              <a:avLst/>
              <a:gdLst>
                <a:gd name="connsiteX0" fmla="*/ 66930 w 119999"/>
                <a:gd name="connsiteY0" fmla="*/ 29662 h 29661"/>
                <a:gd name="connsiteX1" fmla="*/ 3042 w 119999"/>
                <a:gd name="connsiteY1" fmla="*/ 14451 h 29661"/>
                <a:gd name="connsiteX2" fmla="*/ 0 w 119999"/>
                <a:gd name="connsiteY2" fmla="*/ 5324 h 29661"/>
                <a:gd name="connsiteX3" fmla="*/ 9127 w 119999"/>
                <a:gd name="connsiteY3" fmla="*/ 2282 h 29661"/>
                <a:gd name="connsiteX4" fmla="*/ 109521 w 119999"/>
                <a:gd name="connsiteY4" fmla="*/ 2282 h 29661"/>
                <a:gd name="connsiteX5" fmla="*/ 118648 w 119999"/>
                <a:gd name="connsiteY5" fmla="*/ 2282 h 29661"/>
                <a:gd name="connsiteX6" fmla="*/ 118648 w 119999"/>
                <a:gd name="connsiteY6" fmla="*/ 11408 h 29661"/>
                <a:gd name="connsiteX7" fmla="*/ 66930 w 119999"/>
                <a:gd name="connsiteY7" fmla="*/ 29662 h 2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999" h="29661">
                  <a:moveTo>
                    <a:pt x="66930" y="29662"/>
                  </a:moveTo>
                  <a:cubicBezTo>
                    <a:pt x="33465" y="29662"/>
                    <a:pt x="6085" y="14451"/>
                    <a:pt x="3042" y="14451"/>
                  </a:cubicBezTo>
                  <a:cubicBezTo>
                    <a:pt x="0" y="14451"/>
                    <a:pt x="0" y="8366"/>
                    <a:pt x="0" y="5324"/>
                  </a:cubicBezTo>
                  <a:cubicBezTo>
                    <a:pt x="0" y="2282"/>
                    <a:pt x="6085" y="2282"/>
                    <a:pt x="9127" y="2282"/>
                  </a:cubicBezTo>
                  <a:cubicBezTo>
                    <a:pt x="9127" y="2282"/>
                    <a:pt x="73014" y="32704"/>
                    <a:pt x="109521" y="2282"/>
                  </a:cubicBezTo>
                  <a:cubicBezTo>
                    <a:pt x="112564" y="-761"/>
                    <a:pt x="115606" y="-761"/>
                    <a:pt x="118648" y="2282"/>
                  </a:cubicBezTo>
                  <a:cubicBezTo>
                    <a:pt x="121690" y="5324"/>
                    <a:pt x="118648" y="8366"/>
                    <a:pt x="118648" y="11408"/>
                  </a:cubicBezTo>
                  <a:cubicBezTo>
                    <a:pt x="103436" y="26620"/>
                    <a:pt x="85184" y="29662"/>
                    <a:pt x="66930" y="29662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749D72EA-489C-449B-8C7A-C9808FA678F3}"/>
                </a:ext>
              </a:extLst>
            </p:cNvPr>
            <p:cNvSpPr/>
            <p:nvPr/>
          </p:nvSpPr>
          <p:spPr>
            <a:xfrm>
              <a:off x="11012440" y="2486022"/>
              <a:ext cx="375834" cy="1037766"/>
            </a:xfrm>
            <a:custGeom>
              <a:avLst/>
              <a:gdLst>
                <a:gd name="connsiteX0" fmla="*/ 12775 w 375834"/>
                <a:gd name="connsiteY0" fmla="*/ 1025922 h 1037766"/>
                <a:gd name="connsiteX1" fmla="*/ 37112 w 375834"/>
                <a:gd name="connsiteY1" fmla="*/ 1032007 h 1037766"/>
                <a:gd name="connsiteX2" fmla="*/ 58409 w 375834"/>
                <a:gd name="connsiteY2" fmla="*/ 1032007 h 1037766"/>
                <a:gd name="connsiteX3" fmla="*/ 79704 w 375834"/>
                <a:gd name="connsiteY3" fmla="*/ 1004626 h 1037766"/>
                <a:gd name="connsiteX4" fmla="*/ 125338 w 375834"/>
                <a:gd name="connsiteY4" fmla="*/ 949866 h 1037766"/>
                <a:gd name="connsiteX5" fmla="*/ 374803 w 375834"/>
                <a:gd name="connsiteY5" fmla="*/ 496570 h 1037766"/>
                <a:gd name="connsiteX6" fmla="*/ 250070 w 375834"/>
                <a:gd name="connsiteY6" fmla="*/ 683 h 1037766"/>
                <a:gd name="connsiteX7" fmla="*/ 152719 w 375834"/>
                <a:gd name="connsiteY7" fmla="*/ 34147 h 1037766"/>
                <a:gd name="connsiteX8" fmla="*/ 286578 w 375834"/>
                <a:gd name="connsiteY8" fmla="*/ 469190 h 1037766"/>
                <a:gd name="connsiteX9" fmla="*/ 125338 w 375834"/>
                <a:gd name="connsiteY9" fmla="*/ 843387 h 1037766"/>
                <a:gd name="connsiteX10" fmla="*/ 46240 w 375834"/>
                <a:gd name="connsiteY10" fmla="*/ 931612 h 1037766"/>
                <a:gd name="connsiteX11" fmla="*/ 12775 w 375834"/>
                <a:gd name="connsiteY11" fmla="*/ 955950 h 1037766"/>
                <a:gd name="connsiteX12" fmla="*/ 12775 w 375834"/>
                <a:gd name="connsiteY12" fmla="*/ 1025922 h 103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5834" h="1037766">
                  <a:moveTo>
                    <a:pt x="12775" y="1025922"/>
                  </a:moveTo>
                  <a:cubicBezTo>
                    <a:pt x="21901" y="1032007"/>
                    <a:pt x="27986" y="1035049"/>
                    <a:pt x="37112" y="1032007"/>
                  </a:cubicBezTo>
                  <a:cubicBezTo>
                    <a:pt x="43197" y="1038091"/>
                    <a:pt x="52324" y="1041133"/>
                    <a:pt x="58409" y="1032007"/>
                  </a:cubicBezTo>
                  <a:cubicBezTo>
                    <a:pt x="64492" y="1022880"/>
                    <a:pt x="73620" y="1013753"/>
                    <a:pt x="79704" y="1004626"/>
                  </a:cubicBezTo>
                  <a:cubicBezTo>
                    <a:pt x="94915" y="989415"/>
                    <a:pt x="110126" y="968119"/>
                    <a:pt x="125338" y="949866"/>
                  </a:cubicBezTo>
                  <a:cubicBezTo>
                    <a:pt x="234859" y="816007"/>
                    <a:pt x="371760" y="666936"/>
                    <a:pt x="374803" y="496570"/>
                  </a:cubicBezTo>
                  <a:cubicBezTo>
                    <a:pt x="380888" y="314035"/>
                    <a:pt x="362634" y="134542"/>
                    <a:pt x="250070" y="683"/>
                  </a:cubicBezTo>
                  <a:cubicBezTo>
                    <a:pt x="216605" y="-5402"/>
                    <a:pt x="143591" y="31105"/>
                    <a:pt x="152719" y="34147"/>
                  </a:cubicBezTo>
                  <a:cubicBezTo>
                    <a:pt x="253113" y="67612"/>
                    <a:pt x="289620" y="405302"/>
                    <a:pt x="286578" y="469190"/>
                  </a:cubicBezTo>
                  <a:cubicBezTo>
                    <a:pt x="280493" y="618260"/>
                    <a:pt x="201394" y="721697"/>
                    <a:pt x="125338" y="843387"/>
                  </a:cubicBezTo>
                  <a:cubicBezTo>
                    <a:pt x="104042" y="876852"/>
                    <a:pt x="79704" y="907274"/>
                    <a:pt x="46240" y="931612"/>
                  </a:cubicBezTo>
                  <a:cubicBezTo>
                    <a:pt x="34070" y="940739"/>
                    <a:pt x="21901" y="946824"/>
                    <a:pt x="12775" y="955950"/>
                  </a:cubicBezTo>
                  <a:cubicBezTo>
                    <a:pt x="606" y="980288"/>
                    <a:pt x="-8521" y="1007669"/>
                    <a:pt x="12775" y="1025922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2EC1374B-5DDD-442C-B161-4E013791E8CF}"/>
                </a:ext>
              </a:extLst>
            </p:cNvPr>
            <p:cNvSpPr/>
            <p:nvPr/>
          </p:nvSpPr>
          <p:spPr>
            <a:xfrm>
              <a:off x="11329946" y="2455482"/>
              <a:ext cx="298458" cy="54039"/>
            </a:xfrm>
            <a:custGeom>
              <a:avLst/>
              <a:gdLst>
                <a:gd name="connsiteX0" fmla="*/ 17748 w 298458"/>
                <a:gd name="connsiteY0" fmla="*/ 800 h 54039"/>
                <a:gd name="connsiteX1" fmla="*/ 279382 w 298458"/>
                <a:gd name="connsiteY1" fmla="*/ 800 h 54039"/>
                <a:gd name="connsiteX2" fmla="*/ 288509 w 298458"/>
                <a:gd name="connsiteY2" fmla="*/ 31223 h 54039"/>
                <a:gd name="connsiteX3" fmla="*/ 8621 w 298458"/>
                <a:gd name="connsiteY3" fmla="*/ 31223 h 54039"/>
                <a:gd name="connsiteX4" fmla="*/ 17748 w 298458"/>
                <a:gd name="connsiteY4" fmla="*/ 800 h 54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458" h="54039">
                  <a:moveTo>
                    <a:pt x="17748" y="800"/>
                  </a:moveTo>
                  <a:cubicBezTo>
                    <a:pt x="105974" y="28180"/>
                    <a:pt x="194199" y="28180"/>
                    <a:pt x="279382" y="800"/>
                  </a:cubicBezTo>
                  <a:cubicBezTo>
                    <a:pt x="297635" y="-5284"/>
                    <a:pt x="306763" y="25138"/>
                    <a:pt x="288509" y="31223"/>
                  </a:cubicBezTo>
                  <a:cubicBezTo>
                    <a:pt x="197241" y="61645"/>
                    <a:pt x="102931" y="61645"/>
                    <a:pt x="8621" y="31223"/>
                  </a:cubicBezTo>
                  <a:cubicBezTo>
                    <a:pt x="-6590" y="25138"/>
                    <a:pt x="-505" y="-5284"/>
                    <a:pt x="17748" y="800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EC0928C6-1744-4D5C-9FA8-42574A65A8F1}"/>
                </a:ext>
              </a:extLst>
            </p:cNvPr>
            <p:cNvSpPr/>
            <p:nvPr/>
          </p:nvSpPr>
          <p:spPr>
            <a:xfrm>
              <a:off x="11946195" y="2983444"/>
              <a:ext cx="284343" cy="159040"/>
            </a:xfrm>
            <a:custGeom>
              <a:avLst/>
              <a:gdLst>
                <a:gd name="connsiteX0" fmla="*/ 9950 w 284343"/>
                <a:gd name="connsiteY0" fmla="*/ 129966 h 159040"/>
                <a:gd name="connsiteX1" fmla="*/ 259414 w 284343"/>
                <a:gd name="connsiteY1" fmla="*/ 5233 h 159040"/>
                <a:gd name="connsiteX2" fmla="*/ 280710 w 284343"/>
                <a:gd name="connsiteY2" fmla="*/ 26529 h 159040"/>
                <a:gd name="connsiteX3" fmla="*/ 19076 w 284343"/>
                <a:gd name="connsiteY3" fmla="*/ 157346 h 159040"/>
                <a:gd name="connsiteX4" fmla="*/ 9950 w 284343"/>
                <a:gd name="connsiteY4" fmla="*/ 129966 h 159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4343" h="159040">
                  <a:moveTo>
                    <a:pt x="9950" y="129966"/>
                  </a:moveTo>
                  <a:cubicBezTo>
                    <a:pt x="101218" y="102585"/>
                    <a:pt x="192485" y="75205"/>
                    <a:pt x="259414" y="5233"/>
                  </a:cubicBezTo>
                  <a:cubicBezTo>
                    <a:pt x="271583" y="-9978"/>
                    <a:pt x="292879" y="11318"/>
                    <a:pt x="280710" y="26529"/>
                  </a:cubicBezTo>
                  <a:cubicBezTo>
                    <a:pt x="210738" y="99543"/>
                    <a:pt x="113386" y="129966"/>
                    <a:pt x="19076" y="157346"/>
                  </a:cubicBezTo>
                  <a:cubicBezTo>
                    <a:pt x="823" y="166473"/>
                    <a:pt x="-8304" y="136050"/>
                    <a:pt x="9950" y="129966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02430398-76AB-4D6F-84FE-1E5311AC790B}"/>
                </a:ext>
              </a:extLst>
            </p:cNvPr>
            <p:cNvSpPr/>
            <p:nvPr/>
          </p:nvSpPr>
          <p:spPr>
            <a:xfrm>
              <a:off x="10729966" y="3069944"/>
              <a:ext cx="442798" cy="92140"/>
            </a:xfrm>
            <a:custGeom>
              <a:avLst/>
              <a:gdLst>
                <a:gd name="connsiteX0" fmla="*/ 18404 w 442798"/>
                <a:gd name="connsiteY0" fmla="*/ 873 h 92140"/>
                <a:gd name="connsiteX1" fmla="*/ 429108 w 442798"/>
                <a:gd name="connsiteY1" fmla="*/ 61718 h 92140"/>
                <a:gd name="connsiteX2" fmla="*/ 429108 w 442798"/>
                <a:gd name="connsiteY2" fmla="*/ 92141 h 92140"/>
                <a:gd name="connsiteX3" fmla="*/ 12319 w 442798"/>
                <a:gd name="connsiteY3" fmla="*/ 31296 h 92140"/>
                <a:gd name="connsiteX4" fmla="*/ 18404 w 442798"/>
                <a:gd name="connsiteY4" fmla="*/ 873 h 92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2798" h="92140">
                  <a:moveTo>
                    <a:pt x="18404" y="873"/>
                  </a:moveTo>
                  <a:cubicBezTo>
                    <a:pt x="152263" y="43465"/>
                    <a:pt x="289165" y="61718"/>
                    <a:pt x="429108" y="61718"/>
                  </a:cubicBezTo>
                  <a:cubicBezTo>
                    <a:pt x="447362" y="61718"/>
                    <a:pt x="447362" y="92141"/>
                    <a:pt x="429108" y="92141"/>
                  </a:cubicBezTo>
                  <a:cubicBezTo>
                    <a:pt x="286122" y="92141"/>
                    <a:pt x="149221" y="73887"/>
                    <a:pt x="12319" y="31296"/>
                  </a:cubicBezTo>
                  <a:cubicBezTo>
                    <a:pt x="-8976" y="22169"/>
                    <a:pt x="150" y="-5211"/>
                    <a:pt x="18404" y="873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9D6EC477-FAF3-4540-A3F2-F1F67524209F}"/>
                </a:ext>
              </a:extLst>
            </p:cNvPr>
            <p:cNvSpPr/>
            <p:nvPr/>
          </p:nvSpPr>
          <p:spPr>
            <a:xfrm>
              <a:off x="11046510" y="2568846"/>
              <a:ext cx="122311" cy="568901"/>
            </a:xfrm>
            <a:custGeom>
              <a:avLst/>
              <a:gdLst>
                <a:gd name="connsiteX0" fmla="*/ 112564 w 122311"/>
                <a:gd name="connsiteY0" fmla="*/ 568901 h 568901"/>
                <a:gd name="connsiteX1" fmla="*/ 112564 w 122311"/>
                <a:gd name="connsiteY1" fmla="*/ 568901 h 568901"/>
                <a:gd name="connsiteX2" fmla="*/ 106479 w 122311"/>
                <a:gd name="connsiteY2" fmla="*/ 562817 h 568901"/>
                <a:gd name="connsiteX3" fmla="*/ 112564 w 122311"/>
                <a:gd name="connsiteY3" fmla="*/ 222084 h 568901"/>
                <a:gd name="connsiteX4" fmla="*/ 3042 w 122311"/>
                <a:gd name="connsiteY4" fmla="*/ 9127 h 568901"/>
                <a:gd name="connsiteX5" fmla="*/ 0 w 122311"/>
                <a:gd name="connsiteY5" fmla="*/ 3042 h 568901"/>
                <a:gd name="connsiteX6" fmla="*/ 6085 w 122311"/>
                <a:gd name="connsiteY6" fmla="*/ 0 h 568901"/>
                <a:gd name="connsiteX7" fmla="*/ 121690 w 122311"/>
                <a:gd name="connsiteY7" fmla="*/ 225127 h 568901"/>
                <a:gd name="connsiteX8" fmla="*/ 115606 w 122311"/>
                <a:gd name="connsiteY8" fmla="*/ 565859 h 568901"/>
                <a:gd name="connsiteX9" fmla="*/ 112564 w 122311"/>
                <a:gd name="connsiteY9" fmla="*/ 568901 h 56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2311" h="568901">
                  <a:moveTo>
                    <a:pt x="112564" y="568901"/>
                  </a:moveTo>
                  <a:cubicBezTo>
                    <a:pt x="112564" y="568901"/>
                    <a:pt x="112564" y="568901"/>
                    <a:pt x="112564" y="568901"/>
                  </a:cubicBezTo>
                  <a:cubicBezTo>
                    <a:pt x="109521" y="568901"/>
                    <a:pt x="106479" y="565859"/>
                    <a:pt x="106479" y="562817"/>
                  </a:cubicBezTo>
                  <a:cubicBezTo>
                    <a:pt x="106479" y="559775"/>
                    <a:pt x="115606" y="404620"/>
                    <a:pt x="112564" y="222084"/>
                  </a:cubicBezTo>
                  <a:cubicBezTo>
                    <a:pt x="109521" y="45634"/>
                    <a:pt x="6085" y="9127"/>
                    <a:pt x="3042" y="9127"/>
                  </a:cubicBezTo>
                  <a:cubicBezTo>
                    <a:pt x="0" y="9127"/>
                    <a:pt x="0" y="6085"/>
                    <a:pt x="0" y="3042"/>
                  </a:cubicBezTo>
                  <a:cubicBezTo>
                    <a:pt x="0" y="0"/>
                    <a:pt x="3042" y="0"/>
                    <a:pt x="6085" y="0"/>
                  </a:cubicBezTo>
                  <a:cubicBezTo>
                    <a:pt x="12170" y="0"/>
                    <a:pt x="118649" y="39549"/>
                    <a:pt x="121690" y="225127"/>
                  </a:cubicBezTo>
                  <a:cubicBezTo>
                    <a:pt x="124733" y="407662"/>
                    <a:pt x="115606" y="565859"/>
                    <a:pt x="115606" y="565859"/>
                  </a:cubicBezTo>
                  <a:cubicBezTo>
                    <a:pt x="118649" y="565859"/>
                    <a:pt x="115606" y="568901"/>
                    <a:pt x="112564" y="568901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2F495769-DFA0-41E8-8C36-87CFF87042FC}"/>
                </a:ext>
              </a:extLst>
            </p:cNvPr>
            <p:cNvSpPr/>
            <p:nvPr/>
          </p:nvSpPr>
          <p:spPr>
            <a:xfrm>
              <a:off x="11341682" y="2850175"/>
              <a:ext cx="120545" cy="197701"/>
            </a:xfrm>
            <a:custGeom>
              <a:avLst/>
              <a:gdLst>
                <a:gd name="connsiteX0" fmla="*/ 18181 w 120545"/>
                <a:gd name="connsiteY0" fmla="*/ 22896 h 197701"/>
                <a:gd name="connsiteX1" fmla="*/ 66857 w 120545"/>
                <a:gd name="connsiteY1" fmla="*/ 1600 h 197701"/>
                <a:gd name="connsiteX2" fmla="*/ 82068 w 120545"/>
                <a:gd name="connsiteY2" fmla="*/ 32023 h 197701"/>
                <a:gd name="connsiteX3" fmla="*/ 79026 w 120545"/>
                <a:gd name="connsiteY3" fmla="*/ 38107 h 197701"/>
                <a:gd name="connsiteX4" fmla="*/ 85110 w 120545"/>
                <a:gd name="connsiteY4" fmla="*/ 38107 h 197701"/>
                <a:gd name="connsiteX5" fmla="*/ 97280 w 120545"/>
                <a:gd name="connsiteY5" fmla="*/ 44192 h 197701"/>
                <a:gd name="connsiteX6" fmla="*/ 97280 w 120545"/>
                <a:gd name="connsiteY6" fmla="*/ 74614 h 197701"/>
                <a:gd name="connsiteX7" fmla="*/ 109449 w 120545"/>
                <a:gd name="connsiteY7" fmla="*/ 123290 h 197701"/>
                <a:gd name="connsiteX8" fmla="*/ 106406 w 120545"/>
                <a:gd name="connsiteY8" fmla="*/ 126333 h 197701"/>
                <a:gd name="connsiteX9" fmla="*/ 118575 w 120545"/>
                <a:gd name="connsiteY9" fmla="*/ 147628 h 197701"/>
                <a:gd name="connsiteX10" fmla="*/ 63815 w 120545"/>
                <a:gd name="connsiteY10" fmla="*/ 196304 h 197701"/>
                <a:gd name="connsiteX11" fmla="*/ 42519 w 120545"/>
                <a:gd name="connsiteY11" fmla="*/ 178051 h 197701"/>
                <a:gd name="connsiteX12" fmla="*/ 27307 w 120545"/>
                <a:gd name="connsiteY12" fmla="*/ 156755 h 197701"/>
                <a:gd name="connsiteX13" fmla="*/ 27307 w 120545"/>
                <a:gd name="connsiteY13" fmla="*/ 153713 h 197701"/>
                <a:gd name="connsiteX14" fmla="*/ 30350 w 120545"/>
                <a:gd name="connsiteY14" fmla="*/ 150671 h 197701"/>
                <a:gd name="connsiteX15" fmla="*/ 36435 w 120545"/>
                <a:gd name="connsiteY15" fmla="*/ 141544 h 197701"/>
                <a:gd name="connsiteX16" fmla="*/ 21223 w 120545"/>
                <a:gd name="connsiteY16" fmla="*/ 132417 h 197701"/>
                <a:gd name="connsiteX17" fmla="*/ 24265 w 120545"/>
                <a:gd name="connsiteY17" fmla="*/ 98952 h 197701"/>
                <a:gd name="connsiteX18" fmla="*/ 15139 w 120545"/>
                <a:gd name="connsiteY18" fmla="*/ 95910 h 197701"/>
                <a:gd name="connsiteX19" fmla="*/ 18181 w 120545"/>
                <a:gd name="connsiteY19" fmla="*/ 22896 h 197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0545" h="197701">
                  <a:moveTo>
                    <a:pt x="18181" y="22896"/>
                  </a:moveTo>
                  <a:cubicBezTo>
                    <a:pt x="30350" y="7685"/>
                    <a:pt x="54687" y="-4484"/>
                    <a:pt x="66857" y="1600"/>
                  </a:cubicBezTo>
                  <a:cubicBezTo>
                    <a:pt x="75984" y="4642"/>
                    <a:pt x="85110" y="22896"/>
                    <a:pt x="82068" y="32023"/>
                  </a:cubicBezTo>
                  <a:cubicBezTo>
                    <a:pt x="82068" y="35065"/>
                    <a:pt x="79026" y="35065"/>
                    <a:pt x="79026" y="38107"/>
                  </a:cubicBezTo>
                  <a:cubicBezTo>
                    <a:pt x="82068" y="38107"/>
                    <a:pt x="82068" y="38107"/>
                    <a:pt x="85110" y="38107"/>
                  </a:cubicBezTo>
                  <a:cubicBezTo>
                    <a:pt x="88152" y="38107"/>
                    <a:pt x="94237" y="41149"/>
                    <a:pt x="97280" y="44192"/>
                  </a:cubicBezTo>
                  <a:cubicBezTo>
                    <a:pt x="106406" y="53318"/>
                    <a:pt x="106406" y="65487"/>
                    <a:pt x="97280" y="74614"/>
                  </a:cubicBezTo>
                  <a:cubicBezTo>
                    <a:pt x="115533" y="80699"/>
                    <a:pt x="121617" y="105037"/>
                    <a:pt x="109449" y="123290"/>
                  </a:cubicBezTo>
                  <a:cubicBezTo>
                    <a:pt x="109449" y="123290"/>
                    <a:pt x="109449" y="123290"/>
                    <a:pt x="106406" y="126333"/>
                  </a:cubicBezTo>
                  <a:cubicBezTo>
                    <a:pt x="115533" y="126333"/>
                    <a:pt x="124660" y="135459"/>
                    <a:pt x="118575" y="147628"/>
                  </a:cubicBezTo>
                  <a:cubicBezTo>
                    <a:pt x="106406" y="168924"/>
                    <a:pt x="88152" y="187178"/>
                    <a:pt x="63815" y="196304"/>
                  </a:cubicBezTo>
                  <a:cubicBezTo>
                    <a:pt x="48604" y="202389"/>
                    <a:pt x="39476" y="187178"/>
                    <a:pt x="42519" y="178051"/>
                  </a:cubicBezTo>
                  <a:cubicBezTo>
                    <a:pt x="33392" y="178051"/>
                    <a:pt x="24265" y="165882"/>
                    <a:pt x="27307" y="156755"/>
                  </a:cubicBezTo>
                  <a:cubicBezTo>
                    <a:pt x="27307" y="156755"/>
                    <a:pt x="27307" y="156755"/>
                    <a:pt x="27307" y="153713"/>
                  </a:cubicBezTo>
                  <a:cubicBezTo>
                    <a:pt x="27307" y="153713"/>
                    <a:pt x="27307" y="150671"/>
                    <a:pt x="30350" y="150671"/>
                  </a:cubicBezTo>
                  <a:cubicBezTo>
                    <a:pt x="33392" y="147628"/>
                    <a:pt x="33392" y="144586"/>
                    <a:pt x="36435" y="141544"/>
                  </a:cubicBezTo>
                  <a:cubicBezTo>
                    <a:pt x="30350" y="141544"/>
                    <a:pt x="21223" y="138501"/>
                    <a:pt x="21223" y="132417"/>
                  </a:cubicBezTo>
                  <a:cubicBezTo>
                    <a:pt x="18181" y="123290"/>
                    <a:pt x="18181" y="111121"/>
                    <a:pt x="24265" y="98952"/>
                  </a:cubicBezTo>
                  <a:cubicBezTo>
                    <a:pt x="21223" y="98952"/>
                    <a:pt x="15139" y="98952"/>
                    <a:pt x="15139" y="95910"/>
                  </a:cubicBezTo>
                  <a:cubicBezTo>
                    <a:pt x="-12242" y="77656"/>
                    <a:pt x="2970" y="44192"/>
                    <a:pt x="18181" y="22896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B6F0C7FE-1A0E-4641-B403-BF6C8419442B}"/>
                </a:ext>
              </a:extLst>
            </p:cNvPr>
            <p:cNvSpPr/>
            <p:nvPr/>
          </p:nvSpPr>
          <p:spPr>
            <a:xfrm>
              <a:off x="11253167" y="2803675"/>
              <a:ext cx="103653" cy="168246"/>
            </a:xfrm>
            <a:custGeom>
              <a:avLst/>
              <a:gdLst>
                <a:gd name="connsiteX0" fmla="*/ 21512 w 103653"/>
                <a:gd name="connsiteY0" fmla="*/ 51143 h 168246"/>
                <a:gd name="connsiteX1" fmla="*/ 79316 w 103653"/>
                <a:gd name="connsiteY1" fmla="*/ 2467 h 168246"/>
                <a:gd name="connsiteX2" fmla="*/ 103653 w 103653"/>
                <a:gd name="connsiteY2" fmla="*/ 23762 h 168246"/>
                <a:gd name="connsiteX3" fmla="*/ 67146 w 103653"/>
                <a:gd name="connsiteY3" fmla="*/ 78523 h 168246"/>
                <a:gd name="connsiteX4" fmla="*/ 42808 w 103653"/>
                <a:gd name="connsiteY4" fmla="*/ 139368 h 168246"/>
                <a:gd name="connsiteX5" fmla="*/ 30639 w 103653"/>
                <a:gd name="connsiteY5" fmla="*/ 145453 h 168246"/>
                <a:gd name="connsiteX6" fmla="*/ 6301 w 103653"/>
                <a:gd name="connsiteY6" fmla="*/ 163706 h 168246"/>
                <a:gd name="connsiteX7" fmla="*/ 21512 w 103653"/>
                <a:gd name="connsiteY7" fmla="*/ 51143 h 168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653" h="168246">
                  <a:moveTo>
                    <a:pt x="21512" y="51143"/>
                  </a:moveTo>
                  <a:cubicBezTo>
                    <a:pt x="36723" y="29847"/>
                    <a:pt x="58019" y="14636"/>
                    <a:pt x="79316" y="2467"/>
                  </a:cubicBezTo>
                  <a:cubicBezTo>
                    <a:pt x="94527" y="-6660"/>
                    <a:pt x="103653" y="11594"/>
                    <a:pt x="103653" y="23762"/>
                  </a:cubicBezTo>
                  <a:cubicBezTo>
                    <a:pt x="97568" y="48100"/>
                    <a:pt x="79316" y="60270"/>
                    <a:pt x="67146" y="78523"/>
                  </a:cubicBezTo>
                  <a:cubicBezTo>
                    <a:pt x="54977" y="96777"/>
                    <a:pt x="58019" y="121115"/>
                    <a:pt x="42808" y="139368"/>
                  </a:cubicBezTo>
                  <a:cubicBezTo>
                    <a:pt x="39766" y="142410"/>
                    <a:pt x="36723" y="145453"/>
                    <a:pt x="30639" y="145453"/>
                  </a:cubicBezTo>
                  <a:cubicBezTo>
                    <a:pt x="21512" y="151537"/>
                    <a:pt x="12386" y="178917"/>
                    <a:pt x="6301" y="163706"/>
                  </a:cubicBezTo>
                  <a:cubicBezTo>
                    <a:pt x="-8911" y="121115"/>
                    <a:pt x="6301" y="72439"/>
                    <a:pt x="21512" y="51143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45B1BBA2-1229-415A-A074-1605D17C81B8}"/>
                </a:ext>
              </a:extLst>
            </p:cNvPr>
            <p:cNvSpPr/>
            <p:nvPr/>
          </p:nvSpPr>
          <p:spPr>
            <a:xfrm>
              <a:off x="11260664" y="2851775"/>
              <a:ext cx="161626" cy="244969"/>
            </a:xfrm>
            <a:custGeom>
              <a:avLst/>
              <a:gdLst>
                <a:gd name="connsiteX0" fmla="*/ 126579 w 161626"/>
                <a:gd name="connsiteY0" fmla="*/ 0 h 244969"/>
                <a:gd name="connsiteX1" fmla="*/ 1847 w 161626"/>
                <a:gd name="connsiteY1" fmla="*/ 106479 h 244969"/>
                <a:gd name="connsiteX2" fmla="*/ 47481 w 161626"/>
                <a:gd name="connsiteY2" fmla="*/ 240338 h 244969"/>
                <a:gd name="connsiteX3" fmla="*/ 153960 w 161626"/>
                <a:gd name="connsiteY3" fmla="*/ 188620 h 244969"/>
                <a:gd name="connsiteX4" fmla="*/ 126579 w 161626"/>
                <a:gd name="connsiteY4" fmla="*/ 0 h 244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626" h="244969">
                  <a:moveTo>
                    <a:pt x="126579" y="0"/>
                  </a:moveTo>
                  <a:cubicBezTo>
                    <a:pt x="126579" y="0"/>
                    <a:pt x="38354" y="36507"/>
                    <a:pt x="1847" y="106479"/>
                  </a:cubicBezTo>
                  <a:cubicBezTo>
                    <a:pt x="-10322" y="127775"/>
                    <a:pt x="41397" y="219042"/>
                    <a:pt x="47481" y="240338"/>
                  </a:cubicBezTo>
                  <a:cubicBezTo>
                    <a:pt x="53566" y="258592"/>
                    <a:pt x="129622" y="219042"/>
                    <a:pt x="153960" y="188620"/>
                  </a:cubicBezTo>
                  <a:cubicBezTo>
                    <a:pt x="181340" y="161240"/>
                    <a:pt x="126579" y="0"/>
                    <a:pt x="126579" y="0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E41ED26A-E735-422A-9188-87842A7A9A43}"/>
                </a:ext>
              </a:extLst>
            </p:cNvPr>
            <p:cNvSpPr/>
            <p:nvPr/>
          </p:nvSpPr>
          <p:spPr>
            <a:xfrm>
              <a:off x="10788532" y="2942858"/>
              <a:ext cx="537865" cy="827315"/>
            </a:xfrm>
            <a:custGeom>
              <a:avLst/>
              <a:gdLst>
                <a:gd name="connsiteX0" fmla="*/ 537866 w 537865"/>
                <a:gd name="connsiteY0" fmla="*/ 140129 h 827315"/>
                <a:gd name="connsiteX1" fmla="*/ 178880 w 537865"/>
                <a:gd name="connsiteY1" fmla="*/ 818551 h 827315"/>
                <a:gd name="connsiteX2" fmla="*/ 5471 w 537865"/>
                <a:gd name="connsiteY2" fmla="*/ 657312 h 827315"/>
                <a:gd name="connsiteX3" fmla="*/ 477021 w 537865"/>
                <a:gd name="connsiteY3" fmla="*/ 185 h 827315"/>
                <a:gd name="connsiteX4" fmla="*/ 537866 w 537865"/>
                <a:gd name="connsiteY4" fmla="*/ 140129 h 82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865" h="827315">
                  <a:moveTo>
                    <a:pt x="537866" y="140129"/>
                  </a:moveTo>
                  <a:cubicBezTo>
                    <a:pt x="537866" y="140129"/>
                    <a:pt x="261020" y="782044"/>
                    <a:pt x="178880" y="818551"/>
                  </a:cubicBezTo>
                  <a:cubicBezTo>
                    <a:pt x="99781" y="855058"/>
                    <a:pt x="-27994" y="772917"/>
                    <a:pt x="5471" y="657312"/>
                  </a:cubicBezTo>
                  <a:cubicBezTo>
                    <a:pt x="38936" y="544748"/>
                    <a:pt x="470936" y="6270"/>
                    <a:pt x="477021" y="185"/>
                  </a:cubicBezTo>
                  <a:cubicBezTo>
                    <a:pt x="483106" y="-5899"/>
                    <a:pt x="537866" y="140129"/>
                    <a:pt x="537866" y="140129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B37E03F4-4E74-4CA0-BD1A-58B04A699385}"/>
                </a:ext>
              </a:extLst>
            </p:cNvPr>
            <p:cNvSpPr/>
            <p:nvPr/>
          </p:nvSpPr>
          <p:spPr>
            <a:xfrm>
              <a:off x="10900483" y="3235860"/>
              <a:ext cx="139183" cy="163521"/>
            </a:xfrm>
            <a:custGeom>
              <a:avLst/>
              <a:gdLst>
                <a:gd name="connsiteX0" fmla="*/ 6085 w 139183"/>
                <a:gd name="connsiteY0" fmla="*/ 163521 h 163521"/>
                <a:gd name="connsiteX1" fmla="*/ 6085 w 139183"/>
                <a:gd name="connsiteY1" fmla="*/ 163521 h 163521"/>
                <a:gd name="connsiteX2" fmla="*/ 0 w 139183"/>
                <a:gd name="connsiteY2" fmla="*/ 154394 h 163521"/>
                <a:gd name="connsiteX3" fmla="*/ 127775 w 139183"/>
                <a:gd name="connsiteY3" fmla="*/ 2282 h 163521"/>
                <a:gd name="connsiteX4" fmla="*/ 136901 w 139183"/>
                <a:gd name="connsiteY4" fmla="*/ 2282 h 163521"/>
                <a:gd name="connsiteX5" fmla="*/ 136901 w 139183"/>
                <a:gd name="connsiteY5" fmla="*/ 11408 h 163521"/>
                <a:gd name="connsiteX6" fmla="*/ 9126 w 139183"/>
                <a:gd name="connsiteY6" fmla="*/ 163521 h 163521"/>
                <a:gd name="connsiteX7" fmla="*/ 6085 w 139183"/>
                <a:gd name="connsiteY7" fmla="*/ 163521 h 163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183" h="163521">
                  <a:moveTo>
                    <a:pt x="6085" y="163521"/>
                  </a:moveTo>
                  <a:cubicBezTo>
                    <a:pt x="3042" y="163521"/>
                    <a:pt x="3042" y="163521"/>
                    <a:pt x="6085" y="163521"/>
                  </a:cubicBezTo>
                  <a:cubicBezTo>
                    <a:pt x="0" y="160479"/>
                    <a:pt x="0" y="157437"/>
                    <a:pt x="0" y="154394"/>
                  </a:cubicBezTo>
                  <a:cubicBezTo>
                    <a:pt x="36507" y="93549"/>
                    <a:pt x="124733" y="5324"/>
                    <a:pt x="127775" y="2282"/>
                  </a:cubicBezTo>
                  <a:cubicBezTo>
                    <a:pt x="130817" y="-761"/>
                    <a:pt x="133859" y="-761"/>
                    <a:pt x="136901" y="2282"/>
                  </a:cubicBezTo>
                  <a:cubicBezTo>
                    <a:pt x="139944" y="5324"/>
                    <a:pt x="139944" y="8366"/>
                    <a:pt x="136901" y="11408"/>
                  </a:cubicBezTo>
                  <a:cubicBezTo>
                    <a:pt x="136901" y="11408"/>
                    <a:pt x="45634" y="102676"/>
                    <a:pt x="9126" y="163521"/>
                  </a:cubicBezTo>
                  <a:cubicBezTo>
                    <a:pt x="9126" y="163521"/>
                    <a:pt x="6085" y="163521"/>
                    <a:pt x="6085" y="163521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5679E1AC-AFA7-4072-AC42-9D038941804A}"/>
                </a:ext>
              </a:extLst>
            </p:cNvPr>
            <p:cNvSpPr/>
            <p:nvPr/>
          </p:nvSpPr>
          <p:spPr>
            <a:xfrm>
              <a:off x="11296736" y="2847802"/>
              <a:ext cx="165519" cy="213888"/>
            </a:xfrm>
            <a:custGeom>
              <a:avLst/>
              <a:gdLst>
                <a:gd name="connsiteX0" fmla="*/ 105718 w 165519"/>
                <a:gd name="connsiteY0" fmla="*/ 213889 h 213888"/>
                <a:gd name="connsiteX1" fmla="*/ 99633 w 165519"/>
                <a:gd name="connsiteY1" fmla="*/ 210846 h 213888"/>
                <a:gd name="connsiteX2" fmla="*/ 102676 w 165519"/>
                <a:gd name="connsiteY2" fmla="*/ 201720 h 213888"/>
                <a:gd name="connsiteX3" fmla="*/ 151352 w 165519"/>
                <a:gd name="connsiteY3" fmla="*/ 159128 h 213888"/>
                <a:gd name="connsiteX4" fmla="*/ 154395 w 165519"/>
                <a:gd name="connsiteY4" fmla="*/ 140874 h 213888"/>
                <a:gd name="connsiteX5" fmla="*/ 148310 w 165519"/>
                <a:gd name="connsiteY5" fmla="*/ 134790 h 213888"/>
                <a:gd name="connsiteX6" fmla="*/ 145267 w 165519"/>
                <a:gd name="connsiteY6" fmla="*/ 131748 h 213888"/>
                <a:gd name="connsiteX7" fmla="*/ 145267 w 165519"/>
                <a:gd name="connsiteY7" fmla="*/ 125663 h 213888"/>
                <a:gd name="connsiteX8" fmla="*/ 151352 w 165519"/>
                <a:gd name="connsiteY8" fmla="*/ 98283 h 213888"/>
                <a:gd name="connsiteX9" fmla="*/ 142226 w 165519"/>
                <a:gd name="connsiteY9" fmla="*/ 89156 h 213888"/>
                <a:gd name="connsiteX10" fmla="*/ 139183 w 165519"/>
                <a:gd name="connsiteY10" fmla="*/ 83072 h 213888"/>
                <a:gd name="connsiteX11" fmla="*/ 139183 w 165519"/>
                <a:gd name="connsiteY11" fmla="*/ 58734 h 213888"/>
                <a:gd name="connsiteX12" fmla="*/ 117887 w 165519"/>
                <a:gd name="connsiteY12" fmla="*/ 52649 h 213888"/>
                <a:gd name="connsiteX13" fmla="*/ 111803 w 165519"/>
                <a:gd name="connsiteY13" fmla="*/ 49607 h 213888"/>
                <a:gd name="connsiteX14" fmla="*/ 111803 w 165519"/>
                <a:gd name="connsiteY14" fmla="*/ 43522 h 213888"/>
                <a:gd name="connsiteX15" fmla="*/ 120930 w 165519"/>
                <a:gd name="connsiteY15" fmla="*/ 19184 h 213888"/>
                <a:gd name="connsiteX16" fmla="*/ 111803 w 165519"/>
                <a:gd name="connsiteY16" fmla="*/ 13100 h 213888"/>
                <a:gd name="connsiteX17" fmla="*/ 11408 w 165519"/>
                <a:gd name="connsiteY17" fmla="*/ 67860 h 213888"/>
                <a:gd name="connsiteX18" fmla="*/ 2282 w 165519"/>
                <a:gd name="connsiteY18" fmla="*/ 67860 h 213888"/>
                <a:gd name="connsiteX19" fmla="*/ 2282 w 165519"/>
                <a:gd name="connsiteY19" fmla="*/ 58734 h 213888"/>
                <a:gd name="connsiteX20" fmla="*/ 114845 w 165519"/>
                <a:gd name="connsiteY20" fmla="*/ 931 h 213888"/>
                <a:gd name="connsiteX21" fmla="*/ 130056 w 165519"/>
                <a:gd name="connsiteY21" fmla="*/ 16142 h 213888"/>
                <a:gd name="connsiteX22" fmla="*/ 127014 w 165519"/>
                <a:gd name="connsiteY22" fmla="*/ 40480 h 213888"/>
                <a:gd name="connsiteX23" fmla="*/ 148310 w 165519"/>
                <a:gd name="connsiteY23" fmla="*/ 49607 h 213888"/>
                <a:gd name="connsiteX24" fmla="*/ 151352 w 165519"/>
                <a:gd name="connsiteY24" fmla="*/ 83072 h 213888"/>
                <a:gd name="connsiteX25" fmla="*/ 163521 w 165519"/>
                <a:gd name="connsiteY25" fmla="*/ 98283 h 213888"/>
                <a:gd name="connsiteX26" fmla="*/ 157437 w 165519"/>
                <a:gd name="connsiteY26" fmla="*/ 131748 h 213888"/>
                <a:gd name="connsiteX27" fmla="*/ 163521 w 165519"/>
                <a:gd name="connsiteY27" fmla="*/ 140874 h 213888"/>
                <a:gd name="connsiteX28" fmla="*/ 160478 w 165519"/>
                <a:gd name="connsiteY28" fmla="*/ 168255 h 213888"/>
                <a:gd name="connsiteX29" fmla="*/ 105718 w 165519"/>
                <a:gd name="connsiteY29" fmla="*/ 213889 h 213888"/>
                <a:gd name="connsiteX30" fmla="*/ 105718 w 165519"/>
                <a:gd name="connsiteY30" fmla="*/ 213889 h 213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65519" h="213888">
                  <a:moveTo>
                    <a:pt x="105718" y="213889"/>
                  </a:moveTo>
                  <a:cubicBezTo>
                    <a:pt x="102676" y="213889"/>
                    <a:pt x="102676" y="213889"/>
                    <a:pt x="99633" y="210846"/>
                  </a:cubicBezTo>
                  <a:cubicBezTo>
                    <a:pt x="99633" y="207804"/>
                    <a:pt x="99633" y="204762"/>
                    <a:pt x="102676" y="201720"/>
                  </a:cubicBezTo>
                  <a:cubicBezTo>
                    <a:pt x="102676" y="201720"/>
                    <a:pt x="142226" y="183466"/>
                    <a:pt x="151352" y="159128"/>
                  </a:cubicBezTo>
                  <a:cubicBezTo>
                    <a:pt x="154395" y="153044"/>
                    <a:pt x="154395" y="143917"/>
                    <a:pt x="154395" y="140874"/>
                  </a:cubicBezTo>
                  <a:cubicBezTo>
                    <a:pt x="151352" y="137832"/>
                    <a:pt x="148310" y="134790"/>
                    <a:pt x="148310" y="134790"/>
                  </a:cubicBezTo>
                  <a:cubicBezTo>
                    <a:pt x="145267" y="134790"/>
                    <a:pt x="145267" y="131748"/>
                    <a:pt x="145267" y="131748"/>
                  </a:cubicBezTo>
                  <a:cubicBezTo>
                    <a:pt x="145267" y="128706"/>
                    <a:pt x="145267" y="128706"/>
                    <a:pt x="145267" y="125663"/>
                  </a:cubicBezTo>
                  <a:cubicBezTo>
                    <a:pt x="151352" y="113494"/>
                    <a:pt x="154395" y="104368"/>
                    <a:pt x="151352" y="98283"/>
                  </a:cubicBezTo>
                  <a:cubicBezTo>
                    <a:pt x="148310" y="92198"/>
                    <a:pt x="142226" y="89156"/>
                    <a:pt x="142226" y="89156"/>
                  </a:cubicBezTo>
                  <a:cubicBezTo>
                    <a:pt x="139183" y="89156"/>
                    <a:pt x="136141" y="86114"/>
                    <a:pt x="139183" y="83072"/>
                  </a:cubicBezTo>
                  <a:cubicBezTo>
                    <a:pt x="142226" y="73945"/>
                    <a:pt x="145267" y="64818"/>
                    <a:pt x="139183" y="58734"/>
                  </a:cubicBezTo>
                  <a:cubicBezTo>
                    <a:pt x="133098" y="52649"/>
                    <a:pt x="120930" y="52649"/>
                    <a:pt x="117887" y="52649"/>
                  </a:cubicBezTo>
                  <a:cubicBezTo>
                    <a:pt x="114845" y="52649"/>
                    <a:pt x="111803" y="52649"/>
                    <a:pt x="111803" y="49607"/>
                  </a:cubicBezTo>
                  <a:cubicBezTo>
                    <a:pt x="111803" y="46565"/>
                    <a:pt x="111803" y="43522"/>
                    <a:pt x="111803" y="43522"/>
                  </a:cubicBezTo>
                  <a:cubicBezTo>
                    <a:pt x="114845" y="40480"/>
                    <a:pt x="123972" y="28311"/>
                    <a:pt x="120930" y="19184"/>
                  </a:cubicBezTo>
                  <a:cubicBezTo>
                    <a:pt x="120930" y="19184"/>
                    <a:pt x="120930" y="13100"/>
                    <a:pt x="111803" y="13100"/>
                  </a:cubicBezTo>
                  <a:cubicBezTo>
                    <a:pt x="93549" y="7015"/>
                    <a:pt x="38788" y="43522"/>
                    <a:pt x="11408" y="67860"/>
                  </a:cubicBezTo>
                  <a:cubicBezTo>
                    <a:pt x="8366" y="70903"/>
                    <a:pt x="5324" y="70903"/>
                    <a:pt x="2282" y="67860"/>
                  </a:cubicBezTo>
                  <a:cubicBezTo>
                    <a:pt x="-761" y="64818"/>
                    <a:pt x="-761" y="61776"/>
                    <a:pt x="2282" y="58734"/>
                  </a:cubicBezTo>
                  <a:cubicBezTo>
                    <a:pt x="11408" y="52649"/>
                    <a:pt x="84422" y="-8196"/>
                    <a:pt x="114845" y="931"/>
                  </a:cubicBezTo>
                  <a:cubicBezTo>
                    <a:pt x="127014" y="3973"/>
                    <a:pt x="130056" y="10058"/>
                    <a:pt x="130056" y="16142"/>
                  </a:cubicBezTo>
                  <a:cubicBezTo>
                    <a:pt x="133098" y="25269"/>
                    <a:pt x="130056" y="34396"/>
                    <a:pt x="127014" y="40480"/>
                  </a:cubicBezTo>
                  <a:cubicBezTo>
                    <a:pt x="133098" y="40480"/>
                    <a:pt x="142226" y="43522"/>
                    <a:pt x="148310" y="49607"/>
                  </a:cubicBezTo>
                  <a:cubicBezTo>
                    <a:pt x="154395" y="55691"/>
                    <a:pt x="154395" y="67860"/>
                    <a:pt x="151352" y="83072"/>
                  </a:cubicBezTo>
                  <a:cubicBezTo>
                    <a:pt x="154395" y="86114"/>
                    <a:pt x="160478" y="89156"/>
                    <a:pt x="163521" y="98283"/>
                  </a:cubicBezTo>
                  <a:cubicBezTo>
                    <a:pt x="166563" y="107410"/>
                    <a:pt x="166563" y="119579"/>
                    <a:pt x="157437" y="131748"/>
                  </a:cubicBezTo>
                  <a:cubicBezTo>
                    <a:pt x="160478" y="134790"/>
                    <a:pt x="163521" y="137832"/>
                    <a:pt x="163521" y="140874"/>
                  </a:cubicBezTo>
                  <a:cubicBezTo>
                    <a:pt x="166563" y="150001"/>
                    <a:pt x="166563" y="159128"/>
                    <a:pt x="160478" y="168255"/>
                  </a:cubicBezTo>
                  <a:cubicBezTo>
                    <a:pt x="151352" y="192593"/>
                    <a:pt x="108761" y="210846"/>
                    <a:pt x="105718" y="213889"/>
                  </a:cubicBezTo>
                  <a:cubicBezTo>
                    <a:pt x="105718" y="213889"/>
                    <a:pt x="105718" y="213889"/>
                    <a:pt x="105718" y="213889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9E649A90-E4B6-4AD0-85B0-79EE2C420695}"/>
                </a:ext>
              </a:extLst>
            </p:cNvPr>
            <p:cNvSpPr/>
            <p:nvPr/>
          </p:nvSpPr>
          <p:spPr>
            <a:xfrm>
              <a:off x="12302962" y="3411550"/>
              <a:ext cx="57802" cy="97352"/>
            </a:xfrm>
            <a:custGeom>
              <a:avLst/>
              <a:gdLst>
                <a:gd name="connsiteX0" fmla="*/ 6084 w 57802"/>
                <a:gd name="connsiteY0" fmla="*/ 97352 h 97352"/>
                <a:gd name="connsiteX1" fmla="*/ 6084 w 57802"/>
                <a:gd name="connsiteY1" fmla="*/ 97352 h 97352"/>
                <a:gd name="connsiteX2" fmla="*/ 0 w 57802"/>
                <a:gd name="connsiteY2" fmla="*/ 88225 h 97352"/>
                <a:gd name="connsiteX3" fmla="*/ 45634 w 57802"/>
                <a:gd name="connsiteY3" fmla="*/ 3042 h 97352"/>
                <a:gd name="connsiteX4" fmla="*/ 54760 w 57802"/>
                <a:gd name="connsiteY4" fmla="*/ 0 h 97352"/>
                <a:gd name="connsiteX5" fmla="*/ 57803 w 57802"/>
                <a:gd name="connsiteY5" fmla="*/ 9127 h 97352"/>
                <a:gd name="connsiteX6" fmla="*/ 12169 w 57802"/>
                <a:gd name="connsiteY6" fmla="*/ 94310 h 97352"/>
                <a:gd name="connsiteX7" fmla="*/ 6084 w 57802"/>
                <a:gd name="connsiteY7" fmla="*/ 97352 h 97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802" h="97352">
                  <a:moveTo>
                    <a:pt x="6084" y="97352"/>
                  </a:moveTo>
                  <a:cubicBezTo>
                    <a:pt x="6084" y="97352"/>
                    <a:pt x="3042" y="97352"/>
                    <a:pt x="6084" y="97352"/>
                  </a:cubicBezTo>
                  <a:cubicBezTo>
                    <a:pt x="0" y="94310"/>
                    <a:pt x="0" y="91268"/>
                    <a:pt x="0" y="88225"/>
                  </a:cubicBezTo>
                  <a:lnTo>
                    <a:pt x="45634" y="3042"/>
                  </a:lnTo>
                  <a:cubicBezTo>
                    <a:pt x="48676" y="0"/>
                    <a:pt x="51718" y="0"/>
                    <a:pt x="54760" y="0"/>
                  </a:cubicBezTo>
                  <a:cubicBezTo>
                    <a:pt x="57803" y="0"/>
                    <a:pt x="57803" y="6085"/>
                    <a:pt x="57803" y="9127"/>
                  </a:cubicBezTo>
                  <a:lnTo>
                    <a:pt x="12169" y="94310"/>
                  </a:lnTo>
                  <a:cubicBezTo>
                    <a:pt x="9126" y="97352"/>
                    <a:pt x="9126" y="97352"/>
                    <a:pt x="6084" y="97352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EFD45E63-C11C-4EC7-9309-0CD75C7DAA73}"/>
                </a:ext>
              </a:extLst>
            </p:cNvPr>
            <p:cNvSpPr/>
            <p:nvPr/>
          </p:nvSpPr>
          <p:spPr>
            <a:xfrm>
              <a:off x="11036124" y="5308656"/>
              <a:ext cx="133336" cy="34724"/>
            </a:xfrm>
            <a:custGeom>
              <a:avLst/>
              <a:gdLst>
                <a:gd name="connsiteX0" fmla="*/ 129035 w 133336"/>
                <a:gd name="connsiteY0" fmla="*/ 34725 h 34724"/>
                <a:gd name="connsiteX1" fmla="*/ 129035 w 133336"/>
                <a:gd name="connsiteY1" fmla="*/ 34725 h 34724"/>
                <a:gd name="connsiteX2" fmla="*/ 4303 w 133336"/>
                <a:gd name="connsiteY2" fmla="*/ 10387 h 34724"/>
                <a:gd name="connsiteX3" fmla="*/ 1260 w 133336"/>
                <a:gd name="connsiteY3" fmla="*/ 4302 h 34724"/>
                <a:gd name="connsiteX4" fmla="*/ 7345 w 133336"/>
                <a:gd name="connsiteY4" fmla="*/ 1260 h 34724"/>
                <a:gd name="connsiteX5" fmla="*/ 129035 w 133336"/>
                <a:gd name="connsiteY5" fmla="*/ 25598 h 34724"/>
                <a:gd name="connsiteX6" fmla="*/ 132077 w 133336"/>
                <a:gd name="connsiteY6" fmla="*/ 31683 h 34724"/>
                <a:gd name="connsiteX7" fmla="*/ 129035 w 133336"/>
                <a:gd name="connsiteY7" fmla="*/ 34725 h 3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3336" h="34724">
                  <a:moveTo>
                    <a:pt x="129035" y="34725"/>
                  </a:moveTo>
                  <a:cubicBezTo>
                    <a:pt x="129035" y="34725"/>
                    <a:pt x="129035" y="34725"/>
                    <a:pt x="129035" y="34725"/>
                  </a:cubicBezTo>
                  <a:lnTo>
                    <a:pt x="4303" y="10387"/>
                  </a:lnTo>
                  <a:cubicBezTo>
                    <a:pt x="1260" y="10387"/>
                    <a:pt x="-1782" y="7345"/>
                    <a:pt x="1260" y="4302"/>
                  </a:cubicBezTo>
                  <a:cubicBezTo>
                    <a:pt x="1260" y="1260"/>
                    <a:pt x="4303" y="-1782"/>
                    <a:pt x="7345" y="1260"/>
                  </a:cubicBezTo>
                  <a:lnTo>
                    <a:pt x="129035" y="25598"/>
                  </a:lnTo>
                  <a:cubicBezTo>
                    <a:pt x="132077" y="25598"/>
                    <a:pt x="135119" y="28640"/>
                    <a:pt x="132077" y="31683"/>
                  </a:cubicBezTo>
                  <a:cubicBezTo>
                    <a:pt x="135119" y="31683"/>
                    <a:pt x="132077" y="34725"/>
                    <a:pt x="129035" y="34725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5" name="图形 1">
              <a:extLst>
                <a:ext uri="{FF2B5EF4-FFF2-40B4-BE49-F238E27FC236}">
                  <a16:creationId xmlns:a16="http://schemas.microsoft.com/office/drawing/2014/main" id="{204AC886-B0EB-4E78-8C6B-E5363BC724FB}"/>
                </a:ext>
              </a:extLst>
            </p:cNvPr>
            <p:cNvGrpSpPr/>
            <p:nvPr/>
          </p:nvGrpSpPr>
          <p:grpSpPr>
            <a:xfrm>
              <a:off x="12309046" y="2432374"/>
              <a:ext cx="876169" cy="1192133"/>
              <a:chOff x="12309046" y="2432374"/>
              <a:chExt cx="876169" cy="1192133"/>
            </a:xfrm>
          </p:grpSpPr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BA486B88-E58B-44AF-B852-8CB1424E2BB6}"/>
                  </a:ext>
                </a:extLst>
              </p:cNvPr>
              <p:cNvSpPr/>
              <p:nvPr/>
            </p:nvSpPr>
            <p:spPr>
              <a:xfrm>
                <a:off x="12309046" y="2432374"/>
                <a:ext cx="876169" cy="1192133"/>
              </a:xfrm>
              <a:custGeom>
                <a:avLst/>
                <a:gdLst>
                  <a:gd name="connsiteX0" fmla="*/ 295099 w 876169"/>
                  <a:gd name="connsiteY0" fmla="*/ 23908 h 1192133"/>
                  <a:gd name="connsiteX1" fmla="*/ 876170 w 876169"/>
                  <a:gd name="connsiteY1" fmla="*/ 1046105 h 1192133"/>
                  <a:gd name="connsiteX2" fmla="*/ 641916 w 876169"/>
                  <a:gd name="connsiteY2" fmla="*/ 1192133 h 1192133"/>
                  <a:gd name="connsiteX3" fmla="*/ 0 w 876169"/>
                  <a:gd name="connsiteY3" fmla="*/ 160809 h 1192133"/>
                  <a:gd name="connsiteX4" fmla="*/ 295099 w 876169"/>
                  <a:gd name="connsiteY4" fmla="*/ 23908 h 1192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6169" h="1192133">
                    <a:moveTo>
                      <a:pt x="295099" y="23908"/>
                    </a:moveTo>
                    <a:cubicBezTo>
                      <a:pt x="295099" y="23908"/>
                      <a:pt x="505014" y="586725"/>
                      <a:pt x="876170" y="1046105"/>
                    </a:cubicBezTo>
                    <a:cubicBezTo>
                      <a:pt x="876170" y="1046105"/>
                      <a:pt x="778817" y="1179964"/>
                      <a:pt x="641916" y="1192133"/>
                    </a:cubicBezTo>
                    <a:cubicBezTo>
                      <a:pt x="641916" y="1192133"/>
                      <a:pt x="325522" y="401147"/>
                      <a:pt x="0" y="160809"/>
                    </a:cubicBezTo>
                    <a:cubicBezTo>
                      <a:pt x="0" y="157767"/>
                      <a:pt x="149071" y="-73444"/>
                      <a:pt x="295099" y="23908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DB82CC8D-DA96-4B32-A2C5-621A10B78A39}"/>
                  </a:ext>
                </a:extLst>
              </p:cNvPr>
              <p:cNvSpPr/>
              <p:nvPr/>
            </p:nvSpPr>
            <p:spPr>
              <a:xfrm>
                <a:off x="12360764" y="2454001"/>
                <a:ext cx="237766" cy="361267"/>
              </a:xfrm>
              <a:custGeom>
                <a:avLst/>
                <a:gdLst>
                  <a:gd name="connsiteX0" fmla="*/ 149070 w 237766"/>
                  <a:gd name="connsiteY0" fmla="*/ 355183 h 361267"/>
                  <a:gd name="connsiteX1" fmla="*/ 142986 w 237766"/>
                  <a:gd name="connsiteY1" fmla="*/ 352141 h 361267"/>
                  <a:gd name="connsiteX2" fmla="*/ 3042 w 237766"/>
                  <a:gd name="connsiteY2" fmla="*/ 111803 h 361267"/>
                  <a:gd name="connsiteX3" fmla="*/ 0 w 237766"/>
                  <a:gd name="connsiteY3" fmla="*/ 105718 h 361267"/>
                  <a:gd name="connsiteX4" fmla="*/ 9126 w 237766"/>
                  <a:gd name="connsiteY4" fmla="*/ 105718 h 361267"/>
                  <a:gd name="connsiteX5" fmla="*/ 228169 w 237766"/>
                  <a:gd name="connsiteY5" fmla="*/ 35747 h 361267"/>
                  <a:gd name="connsiteX6" fmla="*/ 228169 w 237766"/>
                  <a:gd name="connsiteY6" fmla="*/ 23577 h 361267"/>
                  <a:gd name="connsiteX7" fmla="*/ 158198 w 237766"/>
                  <a:gd name="connsiteY7" fmla="*/ 11408 h 361267"/>
                  <a:gd name="connsiteX8" fmla="*/ 51719 w 237766"/>
                  <a:gd name="connsiteY8" fmla="*/ 69211 h 361267"/>
                  <a:gd name="connsiteX9" fmla="*/ 51719 w 237766"/>
                  <a:gd name="connsiteY9" fmla="*/ 75296 h 361267"/>
                  <a:gd name="connsiteX10" fmla="*/ 142986 w 237766"/>
                  <a:gd name="connsiteY10" fmla="*/ 35747 h 361267"/>
                  <a:gd name="connsiteX11" fmla="*/ 152113 w 237766"/>
                  <a:gd name="connsiteY11" fmla="*/ 38789 h 361267"/>
                  <a:gd name="connsiteX12" fmla="*/ 149070 w 237766"/>
                  <a:gd name="connsiteY12" fmla="*/ 47916 h 361267"/>
                  <a:gd name="connsiteX13" fmla="*/ 42591 w 237766"/>
                  <a:gd name="connsiteY13" fmla="*/ 87465 h 361267"/>
                  <a:gd name="connsiteX14" fmla="*/ 39549 w 237766"/>
                  <a:gd name="connsiteY14" fmla="*/ 69211 h 361267"/>
                  <a:gd name="connsiteX15" fmla="*/ 155155 w 237766"/>
                  <a:gd name="connsiteY15" fmla="*/ 2282 h 361267"/>
                  <a:gd name="connsiteX16" fmla="*/ 234254 w 237766"/>
                  <a:gd name="connsiteY16" fmla="*/ 20535 h 361267"/>
                  <a:gd name="connsiteX17" fmla="*/ 234254 w 237766"/>
                  <a:gd name="connsiteY17" fmla="*/ 44873 h 361267"/>
                  <a:gd name="connsiteX18" fmla="*/ 12169 w 237766"/>
                  <a:gd name="connsiteY18" fmla="*/ 120930 h 361267"/>
                  <a:gd name="connsiteX19" fmla="*/ 146028 w 237766"/>
                  <a:gd name="connsiteY19" fmla="*/ 352141 h 361267"/>
                  <a:gd name="connsiteX20" fmla="*/ 146028 w 237766"/>
                  <a:gd name="connsiteY20" fmla="*/ 361268 h 361267"/>
                  <a:gd name="connsiteX21" fmla="*/ 149070 w 237766"/>
                  <a:gd name="connsiteY21" fmla="*/ 355183 h 361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37766" h="361267">
                    <a:moveTo>
                      <a:pt x="149070" y="355183"/>
                    </a:moveTo>
                    <a:cubicBezTo>
                      <a:pt x="146028" y="355183"/>
                      <a:pt x="146028" y="355183"/>
                      <a:pt x="142986" y="352141"/>
                    </a:cubicBezTo>
                    <a:cubicBezTo>
                      <a:pt x="88225" y="273042"/>
                      <a:pt x="6085" y="114845"/>
                      <a:pt x="3042" y="111803"/>
                    </a:cubicBezTo>
                    <a:lnTo>
                      <a:pt x="0" y="105718"/>
                    </a:lnTo>
                    <a:lnTo>
                      <a:pt x="9126" y="105718"/>
                    </a:lnTo>
                    <a:cubicBezTo>
                      <a:pt x="63888" y="96592"/>
                      <a:pt x="212958" y="69211"/>
                      <a:pt x="228169" y="35747"/>
                    </a:cubicBezTo>
                    <a:cubicBezTo>
                      <a:pt x="231211" y="32704"/>
                      <a:pt x="231211" y="26620"/>
                      <a:pt x="228169" y="23577"/>
                    </a:cubicBezTo>
                    <a:cubicBezTo>
                      <a:pt x="222084" y="11408"/>
                      <a:pt x="194704" y="5324"/>
                      <a:pt x="158198" y="11408"/>
                    </a:cubicBezTo>
                    <a:cubicBezTo>
                      <a:pt x="112564" y="17493"/>
                      <a:pt x="60845" y="38789"/>
                      <a:pt x="51719" y="69211"/>
                    </a:cubicBezTo>
                    <a:cubicBezTo>
                      <a:pt x="51719" y="72254"/>
                      <a:pt x="51719" y="75296"/>
                      <a:pt x="51719" y="75296"/>
                    </a:cubicBezTo>
                    <a:cubicBezTo>
                      <a:pt x="60845" y="81380"/>
                      <a:pt x="106479" y="60085"/>
                      <a:pt x="142986" y="35747"/>
                    </a:cubicBezTo>
                    <a:cubicBezTo>
                      <a:pt x="146028" y="32704"/>
                      <a:pt x="149070" y="35747"/>
                      <a:pt x="152113" y="38789"/>
                    </a:cubicBezTo>
                    <a:cubicBezTo>
                      <a:pt x="155155" y="41831"/>
                      <a:pt x="152113" y="44873"/>
                      <a:pt x="149070" y="47916"/>
                    </a:cubicBezTo>
                    <a:cubicBezTo>
                      <a:pt x="127775" y="60085"/>
                      <a:pt x="60845" y="99634"/>
                      <a:pt x="42591" y="87465"/>
                    </a:cubicBezTo>
                    <a:cubicBezTo>
                      <a:pt x="39549" y="84423"/>
                      <a:pt x="36507" y="78338"/>
                      <a:pt x="39549" y="69211"/>
                    </a:cubicBezTo>
                    <a:cubicBezTo>
                      <a:pt x="51719" y="32704"/>
                      <a:pt x="106479" y="8366"/>
                      <a:pt x="155155" y="2282"/>
                    </a:cubicBezTo>
                    <a:cubicBezTo>
                      <a:pt x="194704" y="-3803"/>
                      <a:pt x="225127" y="2282"/>
                      <a:pt x="234254" y="20535"/>
                    </a:cubicBezTo>
                    <a:cubicBezTo>
                      <a:pt x="237295" y="26620"/>
                      <a:pt x="240338" y="35747"/>
                      <a:pt x="234254" y="44873"/>
                    </a:cubicBezTo>
                    <a:cubicBezTo>
                      <a:pt x="212958" y="87465"/>
                      <a:pt x="54760" y="114845"/>
                      <a:pt x="12169" y="120930"/>
                    </a:cubicBezTo>
                    <a:cubicBezTo>
                      <a:pt x="27380" y="151352"/>
                      <a:pt x="97352" y="285211"/>
                      <a:pt x="146028" y="352141"/>
                    </a:cubicBezTo>
                    <a:cubicBezTo>
                      <a:pt x="149070" y="355183"/>
                      <a:pt x="146028" y="358225"/>
                      <a:pt x="146028" y="361268"/>
                    </a:cubicBezTo>
                    <a:cubicBezTo>
                      <a:pt x="149070" y="355183"/>
                      <a:pt x="149070" y="355183"/>
                      <a:pt x="149070" y="35518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6" name="图形 1">
              <a:extLst>
                <a:ext uri="{FF2B5EF4-FFF2-40B4-BE49-F238E27FC236}">
                  <a16:creationId xmlns:a16="http://schemas.microsoft.com/office/drawing/2014/main" id="{3A9045C5-C764-4F4B-859D-1805B30A1D7F}"/>
                </a:ext>
              </a:extLst>
            </p:cNvPr>
            <p:cNvGrpSpPr/>
            <p:nvPr/>
          </p:nvGrpSpPr>
          <p:grpSpPr>
            <a:xfrm>
              <a:off x="12765384" y="2912620"/>
              <a:ext cx="163238" cy="227133"/>
              <a:chOff x="12765384" y="2912620"/>
              <a:chExt cx="163238" cy="227133"/>
            </a:xfrm>
          </p:grpSpPr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AD2C97D1-8CDE-491E-A684-0D2B90B8745C}"/>
                  </a:ext>
                </a:extLst>
              </p:cNvPr>
              <p:cNvSpPr/>
              <p:nvPr/>
            </p:nvSpPr>
            <p:spPr>
              <a:xfrm>
                <a:off x="12772124" y="2912620"/>
                <a:ext cx="117992" cy="131868"/>
              </a:xfrm>
              <a:custGeom>
                <a:avLst/>
                <a:gdLst>
                  <a:gd name="connsiteX0" fmla="*/ 90612 w 117992"/>
                  <a:gd name="connsiteY0" fmla="*/ 0 h 131868"/>
                  <a:gd name="connsiteX1" fmla="*/ 20641 w 117992"/>
                  <a:gd name="connsiteY1" fmla="*/ 54761 h 131868"/>
                  <a:gd name="connsiteX2" fmla="*/ 8471 w 117992"/>
                  <a:gd name="connsiteY2" fmla="*/ 63887 h 131868"/>
                  <a:gd name="connsiteX3" fmla="*/ 2387 w 117992"/>
                  <a:gd name="connsiteY3" fmla="*/ 79099 h 131868"/>
                  <a:gd name="connsiteX4" fmla="*/ 14556 w 117992"/>
                  <a:gd name="connsiteY4" fmla="*/ 127775 h 131868"/>
                  <a:gd name="connsiteX5" fmla="*/ 54105 w 117992"/>
                  <a:gd name="connsiteY5" fmla="*/ 115606 h 131868"/>
                  <a:gd name="connsiteX6" fmla="*/ 96697 w 117992"/>
                  <a:gd name="connsiteY6" fmla="*/ 76056 h 131868"/>
                  <a:gd name="connsiteX7" fmla="*/ 117992 w 117992"/>
                  <a:gd name="connsiteY7" fmla="*/ 36507 h 131868"/>
                  <a:gd name="connsiteX8" fmla="*/ 90612 w 117992"/>
                  <a:gd name="connsiteY8" fmla="*/ 0 h 131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7992" h="131868">
                    <a:moveTo>
                      <a:pt x="90612" y="0"/>
                    </a:moveTo>
                    <a:cubicBezTo>
                      <a:pt x="63232" y="3042"/>
                      <a:pt x="44979" y="30423"/>
                      <a:pt x="20641" y="54761"/>
                    </a:cubicBezTo>
                    <a:cubicBezTo>
                      <a:pt x="17598" y="57803"/>
                      <a:pt x="11514" y="60845"/>
                      <a:pt x="8471" y="63887"/>
                    </a:cubicBezTo>
                    <a:cubicBezTo>
                      <a:pt x="5430" y="66930"/>
                      <a:pt x="2387" y="73014"/>
                      <a:pt x="2387" y="79099"/>
                    </a:cubicBezTo>
                    <a:cubicBezTo>
                      <a:pt x="-3698" y="94310"/>
                      <a:pt x="2387" y="115606"/>
                      <a:pt x="14556" y="127775"/>
                    </a:cubicBezTo>
                    <a:cubicBezTo>
                      <a:pt x="29767" y="139944"/>
                      <a:pt x="41936" y="121690"/>
                      <a:pt x="54105" y="115606"/>
                    </a:cubicBezTo>
                    <a:cubicBezTo>
                      <a:pt x="69316" y="103437"/>
                      <a:pt x="81486" y="91268"/>
                      <a:pt x="96697" y="76056"/>
                    </a:cubicBezTo>
                    <a:cubicBezTo>
                      <a:pt x="105824" y="66930"/>
                      <a:pt x="117992" y="54761"/>
                      <a:pt x="117992" y="36507"/>
                    </a:cubicBezTo>
                    <a:cubicBezTo>
                      <a:pt x="114950" y="12169"/>
                      <a:pt x="102781" y="0"/>
                      <a:pt x="90612" y="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DBF63FF7-510A-4A9C-A297-73D0E55378C9}"/>
                  </a:ext>
                </a:extLst>
              </p:cNvPr>
              <p:cNvSpPr/>
              <p:nvPr/>
            </p:nvSpPr>
            <p:spPr>
              <a:xfrm>
                <a:off x="12790378" y="2966752"/>
                <a:ext cx="117992" cy="129454"/>
              </a:xfrm>
              <a:custGeom>
                <a:avLst/>
                <a:gdLst>
                  <a:gd name="connsiteX0" fmla="*/ 87570 w 117992"/>
                  <a:gd name="connsiteY0" fmla="*/ 629 h 129454"/>
                  <a:gd name="connsiteX1" fmla="*/ 11514 w 117992"/>
                  <a:gd name="connsiteY1" fmla="*/ 55389 h 129454"/>
                  <a:gd name="connsiteX2" fmla="*/ 8471 w 117992"/>
                  <a:gd name="connsiteY2" fmla="*/ 61474 h 129454"/>
                  <a:gd name="connsiteX3" fmla="*/ 2387 w 117992"/>
                  <a:gd name="connsiteY3" fmla="*/ 76685 h 129454"/>
                  <a:gd name="connsiteX4" fmla="*/ 14556 w 117992"/>
                  <a:gd name="connsiteY4" fmla="*/ 125361 h 129454"/>
                  <a:gd name="connsiteX5" fmla="*/ 54105 w 117992"/>
                  <a:gd name="connsiteY5" fmla="*/ 113192 h 129454"/>
                  <a:gd name="connsiteX6" fmla="*/ 96696 w 117992"/>
                  <a:gd name="connsiteY6" fmla="*/ 73643 h 129454"/>
                  <a:gd name="connsiteX7" fmla="*/ 117992 w 117992"/>
                  <a:gd name="connsiteY7" fmla="*/ 34094 h 129454"/>
                  <a:gd name="connsiteX8" fmla="*/ 87570 w 117992"/>
                  <a:gd name="connsiteY8" fmla="*/ 629 h 129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7992" h="129454">
                    <a:moveTo>
                      <a:pt x="87570" y="629"/>
                    </a:moveTo>
                    <a:cubicBezTo>
                      <a:pt x="54105" y="-5456"/>
                      <a:pt x="35851" y="34094"/>
                      <a:pt x="11514" y="55389"/>
                    </a:cubicBezTo>
                    <a:cubicBezTo>
                      <a:pt x="8471" y="58432"/>
                      <a:pt x="8471" y="58432"/>
                      <a:pt x="8471" y="61474"/>
                    </a:cubicBezTo>
                    <a:cubicBezTo>
                      <a:pt x="5429" y="64516"/>
                      <a:pt x="2387" y="70601"/>
                      <a:pt x="2387" y="76685"/>
                    </a:cubicBezTo>
                    <a:cubicBezTo>
                      <a:pt x="-3698" y="91896"/>
                      <a:pt x="2387" y="113192"/>
                      <a:pt x="14556" y="125361"/>
                    </a:cubicBezTo>
                    <a:cubicBezTo>
                      <a:pt x="29767" y="137530"/>
                      <a:pt x="41936" y="119277"/>
                      <a:pt x="54105" y="113192"/>
                    </a:cubicBezTo>
                    <a:cubicBezTo>
                      <a:pt x="69316" y="101023"/>
                      <a:pt x="81485" y="88854"/>
                      <a:pt x="96696" y="73643"/>
                    </a:cubicBezTo>
                    <a:cubicBezTo>
                      <a:pt x="105824" y="64516"/>
                      <a:pt x="117992" y="52347"/>
                      <a:pt x="117992" y="34094"/>
                    </a:cubicBezTo>
                    <a:cubicBezTo>
                      <a:pt x="111908" y="12798"/>
                      <a:pt x="99739" y="629"/>
                      <a:pt x="87570" y="629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913955A9-9548-46B3-AECF-2ADEB26F1372}"/>
                  </a:ext>
                </a:extLst>
              </p:cNvPr>
              <p:cNvSpPr/>
              <p:nvPr/>
            </p:nvSpPr>
            <p:spPr>
              <a:xfrm>
                <a:off x="12816005" y="3015845"/>
                <a:ext cx="101967" cy="106880"/>
              </a:xfrm>
              <a:custGeom>
                <a:avLst/>
                <a:gdLst>
                  <a:gd name="connsiteX0" fmla="*/ 80196 w 101967"/>
                  <a:gd name="connsiteY0" fmla="*/ 212 h 106880"/>
                  <a:gd name="connsiteX1" fmla="*/ 10224 w 101967"/>
                  <a:gd name="connsiteY1" fmla="*/ 45846 h 106880"/>
                  <a:gd name="connsiteX2" fmla="*/ 7182 w 101967"/>
                  <a:gd name="connsiteY2" fmla="*/ 51930 h 106880"/>
                  <a:gd name="connsiteX3" fmla="*/ 1097 w 101967"/>
                  <a:gd name="connsiteY3" fmla="*/ 64099 h 106880"/>
                  <a:gd name="connsiteX4" fmla="*/ 13266 w 101967"/>
                  <a:gd name="connsiteY4" fmla="*/ 103649 h 106880"/>
                  <a:gd name="connsiteX5" fmla="*/ 46731 w 101967"/>
                  <a:gd name="connsiteY5" fmla="*/ 91480 h 106880"/>
                  <a:gd name="connsiteX6" fmla="*/ 83239 w 101967"/>
                  <a:gd name="connsiteY6" fmla="*/ 58015 h 106880"/>
                  <a:gd name="connsiteX7" fmla="*/ 101491 w 101967"/>
                  <a:gd name="connsiteY7" fmla="*/ 24550 h 106880"/>
                  <a:gd name="connsiteX8" fmla="*/ 80196 w 101967"/>
                  <a:gd name="connsiteY8" fmla="*/ 212 h 106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967" h="106880">
                    <a:moveTo>
                      <a:pt x="80196" y="212"/>
                    </a:moveTo>
                    <a:cubicBezTo>
                      <a:pt x="49774" y="-2830"/>
                      <a:pt x="31520" y="27592"/>
                      <a:pt x="10224" y="45846"/>
                    </a:cubicBezTo>
                    <a:cubicBezTo>
                      <a:pt x="7182" y="48888"/>
                      <a:pt x="7182" y="48888"/>
                      <a:pt x="7182" y="51930"/>
                    </a:cubicBezTo>
                    <a:cubicBezTo>
                      <a:pt x="4140" y="54972"/>
                      <a:pt x="1097" y="58015"/>
                      <a:pt x="1097" y="64099"/>
                    </a:cubicBezTo>
                    <a:cubicBezTo>
                      <a:pt x="-1945" y="76268"/>
                      <a:pt x="1097" y="94522"/>
                      <a:pt x="13266" y="103649"/>
                    </a:cubicBezTo>
                    <a:cubicBezTo>
                      <a:pt x="25435" y="112775"/>
                      <a:pt x="37605" y="100606"/>
                      <a:pt x="46731" y="91480"/>
                    </a:cubicBezTo>
                    <a:cubicBezTo>
                      <a:pt x="58900" y="82353"/>
                      <a:pt x="71069" y="70184"/>
                      <a:pt x="83239" y="58015"/>
                    </a:cubicBezTo>
                    <a:cubicBezTo>
                      <a:pt x="92365" y="48888"/>
                      <a:pt x="104534" y="39761"/>
                      <a:pt x="101491" y="24550"/>
                    </a:cubicBezTo>
                    <a:cubicBezTo>
                      <a:pt x="101491" y="9339"/>
                      <a:pt x="92365" y="212"/>
                      <a:pt x="80196" y="21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A480E054-ACCF-4352-8B0F-F54DAEA58FA0}"/>
                  </a:ext>
                </a:extLst>
              </p:cNvPr>
              <p:cNvSpPr/>
              <p:nvPr/>
            </p:nvSpPr>
            <p:spPr>
              <a:xfrm>
                <a:off x="12849426" y="3061430"/>
                <a:ext cx="77197" cy="78323"/>
              </a:xfrm>
              <a:custGeom>
                <a:avLst/>
                <a:gdLst>
                  <a:gd name="connsiteX0" fmla="*/ 61986 w 77197"/>
                  <a:gd name="connsiteY0" fmla="*/ 261 h 78323"/>
                  <a:gd name="connsiteX1" fmla="*/ 10267 w 77197"/>
                  <a:gd name="connsiteY1" fmla="*/ 33725 h 78323"/>
                  <a:gd name="connsiteX2" fmla="*/ 7225 w 77197"/>
                  <a:gd name="connsiteY2" fmla="*/ 36768 h 78323"/>
                  <a:gd name="connsiteX3" fmla="*/ 1141 w 77197"/>
                  <a:gd name="connsiteY3" fmla="*/ 45895 h 78323"/>
                  <a:gd name="connsiteX4" fmla="*/ 10267 w 77197"/>
                  <a:gd name="connsiteY4" fmla="*/ 76317 h 78323"/>
                  <a:gd name="connsiteX5" fmla="*/ 34606 w 77197"/>
                  <a:gd name="connsiteY5" fmla="*/ 67190 h 78323"/>
                  <a:gd name="connsiteX6" fmla="*/ 61986 w 77197"/>
                  <a:gd name="connsiteY6" fmla="*/ 42852 h 78323"/>
                  <a:gd name="connsiteX7" fmla="*/ 77197 w 77197"/>
                  <a:gd name="connsiteY7" fmla="*/ 18514 h 78323"/>
                  <a:gd name="connsiteX8" fmla="*/ 61986 w 77197"/>
                  <a:gd name="connsiteY8" fmla="*/ 261 h 78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7197" h="78323">
                    <a:moveTo>
                      <a:pt x="61986" y="261"/>
                    </a:moveTo>
                    <a:cubicBezTo>
                      <a:pt x="40690" y="-2781"/>
                      <a:pt x="25479" y="21557"/>
                      <a:pt x="10267" y="33725"/>
                    </a:cubicBezTo>
                    <a:cubicBezTo>
                      <a:pt x="10267" y="33725"/>
                      <a:pt x="7225" y="36768"/>
                      <a:pt x="7225" y="36768"/>
                    </a:cubicBezTo>
                    <a:cubicBezTo>
                      <a:pt x="4183" y="39810"/>
                      <a:pt x="4183" y="42852"/>
                      <a:pt x="1141" y="45895"/>
                    </a:cubicBezTo>
                    <a:cubicBezTo>
                      <a:pt x="-1902" y="55021"/>
                      <a:pt x="1141" y="70233"/>
                      <a:pt x="10267" y="76317"/>
                    </a:cubicBezTo>
                    <a:cubicBezTo>
                      <a:pt x="19395" y="82402"/>
                      <a:pt x="28521" y="73275"/>
                      <a:pt x="34606" y="67190"/>
                    </a:cubicBezTo>
                    <a:cubicBezTo>
                      <a:pt x="43732" y="61106"/>
                      <a:pt x="52859" y="51979"/>
                      <a:pt x="61986" y="42852"/>
                    </a:cubicBezTo>
                    <a:cubicBezTo>
                      <a:pt x="68070" y="36768"/>
                      <a:pt x="77197" y="30683"/>
                      <a:pt x="77197" y="18514"/>
                    </a:cubicBezTo>
                    <a:cubicBezTo>
                      <a:pt x="77197" y="9387"/>
                      <a:pt x="68070" y="3303"/>
                      <a:pt x="61986" y="26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3879DFA6-8BE6-4786-94E3-A6356F94458E}"/>
                  </a:ext>
                </a:extLst>
              </p:cNvPr>
              <p:cNvSpPr/>
              <p:nvPr/>
            </p:nvSpPr>
            <p:spPr>
              <a:xfrm>
                <a:off x="12765384" y="2926479"/>
                <a:ext cx="143644" cy="168676"/>
              </a:xfrm>
              <a:custGeom>
                <a:avLst/>
                <a:gdLst>
                  <a:gd name="connsiteX0" fmla="*/ 42592 w 143644"/>
                  <a:gd name="connsiteY0" fmla="*/ 168676 h 168676"/>
                  <a:gd name="connsiteX1" fmla="*/ 42592 w 143644"/>
                  <a:gd name="connsiteY1" fmla="*/ 168676 h 168676"/>
                  <a:gd name="connsiteX2" fmla="*/ 24339 w 143644"/>
                  <a:gd name="connsiteY2" fmla="*/ 159549 h 168676"/>
                  <a:gd name="connsiteX3" fmla="*/ 15211 w 143644"/>
                  <a:gd name="connsiteY3" fmla="*/ 110873 h 168676"/>
                  <a:gd name="connsiteX4" fmla="*/ 15211 w 143644"/>
                  <a:gd name="connsiteY4" fmla="*/ 110873 h 168676"/>
                  <a:gd name="connsiteX5" fmla="*/ 6085 w 143644"/>
                  <a:gd name="connsiteY5" fmla="*/ 101747 h 168676"/>
                  <a:gd name="connsiteX6" fmla="*/ 0 w 143644"/>
                  <a:gd name="connsiteY6" fmla="*/ 80451 h 168676"/>
                  <a:gd name="connsiteX7" fmla="*/ 63888 w 143644"/>
                  <a:gd name="connsiteY7" fmla="*/ 1352 h 168676"/>
                  <a:gd name="connsiteX8" fmla="*/ 73015 w 143644"/>
                  <a:gd name="connsiteY8" fmla="*/ 1352 h 168676"/>
                  <a:gd name="connsiteX9" fmla="*/ 73015 w 143644"/>
                  <a:gd name="connsiteY9" fmla="*/ 10479 h 168676"/>
                  <a:gd name="connsiteX10" fmla="*/ 12170 w 143644"/>
                  <a:gd name="connsiteY10" fmla="*/ 80451 h 168676"/>
                  <a:gd name="connsiteX11" fmla="*/ 15211 w 143644"/>
                  <a:gd name="connsiteY11" fmla="*/ 95662 h 168676"/>
                  <a:gd name="connsiteX12" fmla="*/ 30423 w 143644"/>
                  <a:gd name="connsiteY12" fmla="*/ 104789 h 168676"/>
                  <a:gd name="connsiteX13" fmla="*/ 109521 w 143644"/>
                  <a:gd name="connsiteY13" fmla="*/ 40901 h 168676"/>
                  <a:gd name="connsiteX14" fmla="*/ 121690 w 143644"/>
                  <a:gd name="connsiteY14" fmla="*/ 37859 h 168676"/>
                  <a:gd name="connsiteX15" fmla="*/ 139944 w 143644"/>
                  <a:gd name="connsiteY15" fmla="*/ 56113 h 168676"/>
                  <a:gd name="connsiteX16" fmla="*/ 91268 w 143644"/>
                  <a:gd name="connsiteY16" fmla="*/ 150423 h 168676"/>
                  <a:gd name="connsiteX17" fmla="*/ 42592 w 143644"/>
                  <a:gd name="connsiteY17" fmla="*/ 168676 h 168676"/>
                  <a:gd name="connsiteX18" fmla="*/ 27381 w 143644"/>
                  <a:gd name="connsiteY18" fmla="*/ 113915 h 168676"/>
                  <a:gd name="connsiteX19" fmla="*/ 33465 w 143644"/>
                  <a:gd name="connsiteY19" fmla="*/ 153465 h 168676"/>
                  <a:gd name="connsiteX20" fmla="*/ 39550 w 143644"/>
                  <a:gd name="connsiteY20" fmla="*/ 159549 h 168676"/>
                  <a:gd name="connsiteX21" fmla="*/ 79099 w 143644"/>
                  <a:gd name="connsiteY21" fmla="*/ 135211 h 168676"/>
                  <a:gd name="connsiteX22" fmla="*/ 124733 w 143644"/>
                  <a:gd name="connsiteY22" fmla="*/ 56113 h 168676"/>
                  <a:gd name="connsiteX23" fmla="*/ 115606 w 143644"/>
                  <a:gd name="connsiteY23" fmla="*/ 46986 h 168676"/>
                  <a:gd name="connsiteX24" fmla="*/ 112564 w 143644"/>
                  <a:gd name="connsiteY24" fmla="*/ 46986 h 168676"/>
                  <a:gd name="connsiteX25" fmla="*/ 27381 w 143644"/>
                  <a:gd name="connsiteY25" fmla="*/ 113915 h 168676"/>
                  <a:gd name="connsiteX26" fmla="*/ 27381 w 143644"/>
                  <a:gd name="connsiteY26" fmla="*/ 113915 h 168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43644" h="168676">
                    <a:moveTo>
                      <a:pt x="42592" y="168676"/>
                    </a:moveTo>
                    <a:cubicBezTo>
                      <a:pt x="42592" y="168676"/>
                      <a:pt x="39550" y="168676"/>
                      <a:pt x="42592" y="168676"/>
                    </a:cubicBezTo>
                    <a:cubicBezTo>
                      <a:pt x="33465" y="168676"/>
                      <a:pt x="30423" y="165634"/>
                      <a:pt x="24339" y="159549"/>
                    </a:cubicBezTo>
                    <a:cubicBezTo>
                      <a:pt x="12170" y="141296"/>
                      <a:pt x="15211" y="110873"/>
                      <a:pt x="15211" y="110873"/>
                    </a:cubicBezTo>
                    <a:cubicBezTo>
                      <a:pt x="15211" y="110873"/>
                      <a:pt x="15211" y="110873"/>
                      <a:pt x="15211" y="110873"/>
                    </a:cubicBezTo>
                    <a:cubicBezTo>
                      <a:pt x="9127" y="107831"/>
                      <a:pt x="6085" y="104789"/>
                      <a:pt x="6085" y="101747"/>
                    </a:cubicBezTo>
                    <a:cubicBezTo>
                      <a:pt x="0" y="95662"/>
                      <a:pt x="0" y="86535"/>
                      <a:pt x="0" y="80451"/>
                    </a:cubicBezTo>
                    <a:cubicBezTo>
                      <a:pt x="6085" y="46986"/>
                      <a:pt x="60845" y="4394"/>
                      <a:pt x="63888" y="1352"/>
                    </a:cubicBezTo>
                    <a:cubicBezTo>
                      <a:pt x="66930" y="-1690"/>
                      <a:pt x="69972" y="1352"/>
                      <a:pt x="73015" y="1352"/>
                    </a:cubicBezTo>
                    <a:cubicBezTo>
                      <a:pt x="76056" y="4394"/>
                      <a:pt x="73015" y="7437"/>
                      <a:pt x="73015" y="10479"/>
                    </a:cubicBezTo>
                    <a:cubicBezTo>
                      <a:pt x="57804" y="22648"/>
                      <a:pt x="18254" y="56113"/>
                      <a:pt x="12170" y="80451"/>
                    </a:cubicBezTo>
                    <a:cubicBezTo>
                      <a:pt x="12170" y="86535"/>
                      <a:pt x="12170" y="89577"/>
                      <a:pt x="15211" y="95662"/>
                    </a:cubicBezTo>
                    <a:cubicBezTo>
                      <a:pt x="18254" y="101747"/>
                      <a:pt x="24339" y="104789"/>
                      <a:pt x="30423" y="104789"/>
                    </a:cubicBezTo>
                    <a:cubicBezTo>
                      <a:pt x="45634" y="104789"/>
                      <a:pt x="73015" y="83493"/>
                      <a:pt x="109521" y="40901"/>
                    </a:cubicBezTo>
                    <a:cubicBezTo>
                      <a:pt x="109521" y="40901"/>
                      <a:pt x="115606" y="34817"/>
                      <a:pt x="121690" y="37859"/>
                    </a:cubicBezTo>
                    <a:cubicBezTo>
                      <a:pt x="127775" y="37859"/>
                      <a:pt x="133860" y="43944"/>
                      <a:pt x="139944" y="56113"/>
                    </a:cubicBezTo>
                    <a:cubicBezTo>
                      <a:pt x="152113" y="80451"/>
                      <a:pt x="133860" y="113915"/>
                      <a:pt x="91268" y="150423"/>
                    </a:cubicBezTo>
                    <a:cubicBezTo>
                      <a:pt x="66930" y="159549"/>
                      <a:pt x="54761" y="168676"/>
                      <a:pt x="42592" y="168676"/>
                    </a:cubicBezTo>
                    <a:close/>
                    <a:moveTo>
                      <a:pt x="27381" y="113915"/>
                    </a:moveTo>
                    <a:cubicBezTo>
                      <a:pt x="27381" y="123042"/>
                      <a:pt x="27381" y="144338"/>
                      <a:pt x="33465" y="153465"/>
                    </a:cubicBezTo>
                    <a:cubicBezTo>
                      <a:pt x="36507" y="156507"/>
                      <a:pt x="39550" y="159549"/>
                      <a:pt x="39550" y="159549"/>
                    </a:cubicBezTo>
                    <a:cubicBezTo>
                      <a:pt x="48676" y="159549"/>
                      <a:pt x="63888" y="147380"/>
                      <a:pt x="79099" y="135211"/>
                    </a:cubicBezTo>
                    <a:cubicBezTo>
                      <a:pt x="118649" y="101747"/>
                      <a:pt x="133860" y="74366"/>
                      <a:pt x="124733" y="56113"/>
                    </a:cubicBezTo>
                    <a:cubicBezTo>
                      <a:pt x="121690" y="50028"/>
                      <a:pt x="118649" y="46986"/>
                      <a:pt x="115606" y="46986"/>
                    </a:cubicBezTo>
                    <a:cubicBezTo>
                      <a:pt x="115606" y="46986"/>
                      <a:pt x="112564" y="46986"/>
                      <a:pt x="112564" y="46986"/>
                    </a:cubicBezTo>
                    <a:cubicBezTo>
                      <a:pt x="63888" y="104789"/>
                      <a:pt x="42592" y="113915"/>
                      <a:pt x="27381" y="113915"/>
                    </a:cubicBezTo>
                    <a:cubicBezTo>
                      <a:pt x="30423" y="113915"/>
                      <a:pt x="27381" y="113915"/>
                      <a:pt x="27381" y="11391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C11E63FA-8BAA-4E2D-824E-411B8302CF6D}"/>
                  </a:ext>
                </a:extLst>
              </p:cNvPr>
              <p:cNvSpPr/>
              <p:nvPr/>
            </p:nvSpPr>
            <p:spPr>
              <a:xfrm>
                <a:off x="12807976" y="3009972"/>
                <a:ext cx="120646" cy="118647"/>
              </a:xfrm>
              <a:custGeom>
                <a:avLst/>
                <a:gdLst>
                  <a:gd name="connsiteX0" fmla="*/ 30423 w 120646"/>
                  <a:gd name="connsiteY0" fmla="*/ 118648 h 118647"/>
                  <a:gd name="connsiteX1" fmla="*/ 21295 w 120646"/>
                  <a:gd name="connsiteY1" fmla="*/ 115606 h 118647"/>
                  <a:gd name="connsiteX2" fmla="*/ 0 w 120646"/>
                  <a:gd name="connsiteY2" fmla="*/ 82141 h 118647"/>
                  <a:gd name="connsiteX3" fmla="*/ 6084 w 120646"/>
                  <a:gd name="connsiteY3" fmla="*/ 76056 h 118647"/>
                  <a:gd name="connsiteX4" fmla="*/ 12169 w 120646"/>
                  <a:gd name="connsiteY4" fmla="*/ 82141 h 118647"/>
                  <a:gd name="connsiteX5" fmla="*/ 27380 w 120646"/>
                  <a:gd name="connsiteY5" fmla="*/ 106479 h 118647"/>
                  <a:gd name="connsiteX6" fmla="*/ 42591 w 120646"/>
                  <a:gd name="connsiteY6" fmla="*/ 103437 h 118647"/>
                  <a:gd name="connsiteX7" fmla="*/ 106479 w 120646"/>
                  <a:gd name="connsiteY7" fmla="*/ 39549 h 118647"/>
                  <a:gd name="connsiteX8" fmla="*/ 103436 w 120646"/>
                  <a:gd name="connsiteY8" fmla="*/ 24338 h 118647"/>
                  <a:gd name="connsiteX9" fmla="*/ 91268 w 120646"/>
                  <a:gd name="connsiteY9" fmla="*/ 12169 h 118647"/>
                  <a:gd name="connsiteX10" fmla="*/ 85183 w 120646"/>
                  <a:gd name="connsiteY10" fmla="*/ 6085 h 118647"/>
                  <a:gd name="connsiteX11" fmla="*/ 91268 w 120646"/>
                  <a:gd name="connsiteY11" fmla="*/ 0 h 118647"/>
                  <a:gd name="connsiteX12" fmla="*/ 91268 w 120646"/>
                  <a:gd name="connsiteY12" fmla="*/ 0 h 118647"/>
                  <a:gd name="connsiteX13" fmla="*/ 115605 w 120646"/>
                  <a:gd name="connsiteY13" fmla="*/ 18254 h 118647"/>
                  <a:gd name="connsiteX14" fmla="*/ 118648 w 120646"/>
                  <a:gd name="connsiteY14" fmla="*/ 42592 h 118647"/>
                  <a:gd name="connsiteX15" fmla="*/ 48675 w 120646"/>
                  <a:gd name="connsiteY15" fmla="*/ 112563 h 118647"/>
                  <a:gd name="connsiteX16" fmla="*/ 30423 w 120646"/>
                  <a:gd name="connsiteY16" fmla="*/ 118648 h 118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0646" h="118647">
                    <a:moveTo>
                      <a:pt x="30423" y="118648"/>
                    </a:moveTo>
                    <a:cubicBezTo>
                      <a:pt x="27380" y="118648"/>
                      <a:pt x="24338" y="118648"/>
                      <a:pt x="21295" y="115606"/>
                    </a:cubicBezTo>
                    <a:cubicBezTo>
                      <a:pt x="6084" y="106479"/>
                      <a:pt x="0" y="82141"/>
                      <a:pt x="0" y="82141"/>
                    </a:cubicBezTo>
                    <a:cubicBezTo>
                      <a:pt x="0" y="79099"/>
                      <a:pt x="3042" y="76056"/>
                      <a:pt x="6084" y="76056"/>
                    </a:cubicBezTo>
                    <a:cubicBezTo>
                      <a:pt x="9126" y="76056"/>
                      <a:pt x="12169" y="79099"/>
                      <a:pt x="12169" y="82141"/>
                    </a:cubicBezTo>
                    <a:cubicBezTo>
                      <a:pt x="12169" y="88225"/>
                      <a:pt x="18253" y="103437"/>
                      <a:pt x="27380" y="106479"/>
                    </a:cubicBezTo>
                    <a:cubicBezTo>
                      <a:pt x="30423" y="109521"/>
                      <a:pt x="36506" y="106479"/>
                      <a:pt x="42591" y="103437"/>
                    </a:cubicBezTo>
                    <a:cubicBezTo>
                      <a:pt x="73014" y="85183"/>
                      <a:pt x="103436" y="51718"/>
                      <a:pt x="106479" y="39549"/>
                    </a:cubicBezTo>
                    <a:cubicBezTo>
                      <a:pt x="109520" y="33465"/>
                      <a:pt x="106479" y="27380"/>
                      <a:pt x="103436" y="24338"/>
                    </a:cubicBezTo>
                    <a:cubicBezTo>
                      <a:pt x="97352" y="15211"/>
                      <a:pt x="91268" y="12169"/>
                      <a:pt x="91268" y="12169"/>
                    </a:cubicBezTo>
                    <a:cubicBezTo>
                      <a:pt x="88225" y="12169"/>
                      <a:pt x="85183" y="9127"/>
                      <a:pt x="85183" y="6085"/>
                    </a:cubicBezTo>
                    <a:cubicBezTo>
                      <a:pt x="85183" y="3042"/>
                      <a:pt x="88225" y="0"/>
                      <a:pt x="91268" y="0"/>
                    </a:cubicBezTo>
                    <a:lnTo>
                      <a:pt x="91268" y="0"/>
                    </a:lnTo>
                    <a:cubicBezTo>
                      <a:pt x="100394" y="0"/>
                      <a:pt x="109520" y="9127"/>
                      <a:pt x="115605" y="18254"/>
                    </a:cubicBezTo>
                    <a:cubicBezTo>
                      <a:pt x="121690" y="27380"/>
                      <a:pt x="121690" y="36507"/>
                      <a:pt x="118648" y="42592"/>
                    </a:cubicBezTo>
                    <a:cubicBezTo>
                      <a:pt x="112563" y="57803"/>
                      <a:pt x="82140" y="94310"/>
                      <a:pt x="48675" y="112563"/>
                    </a:cubicBezTo>
                    <a:cubicBezTo>
                      <a:pt x="39549" y="115606"/>
                      <a:pt x="33464" y="118648"/>
                      <a:pt x="30423" y="11864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E0E4FC68-0E9E-4954-B2C4-61DD6F8912D7}"/>
                </a:ext>
              </a:extLst>
            </p:cNvPr>
            <p:cNvSpPr/>
            <p:nvPr/>
          </p:nvSpPr>
          <p:spPr>
            <a:xfrm>
              <a:off x="12667100" y="3009818"/>
              <a:ext cx="156208" cy="152640"/>
            </a:xfrm>
            <a:custGeom>
              <a:avLst/>
              <a:gdLst>
                <a:gd name="connsiteX0" fmla="*/ 89157 w 156208"/>
                <a:gd name="connsiteY0" fmla="*/ 154 h 152640"/>
                <a:gd name="connsiteX1" fmla="*/ 932 w 156208"/>
                <a:gd name="connsiteY1" fmla="*/ 67084 h 152640"/>
                <a:gd name="connsiteX2" fmla="*/ 55692 w 156208"/>
                <a:gd name="connsiteY2" fmla="*/ 152267 h 152640"/>
                <a:gd name="connsiteX3" fmla="*/ 64820 w 156208"/>
                <a:gd name="connsiteY3" fmla="*/ 79253 h 152640"/>
                <a:gd name="connsiteX4" fmla="*/ 125665 w 156208"/>
                <a:gd name="connsiteY4" fmla="*/ 51873 h 152640"/>
                <a:gd name="connsiteX5" fmla="*/ 156087 w 156208"/>
                <a:gd name="connsiteY5" fmla="*/ 51873 h 152640"/>
                <a:gd name="connsiteX6" fmla="*/ 89157 w 156208"/>
                <a:gd name="connsiteY6" fmla="*/ 154 h 152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208" h="152640">
                  <a:moveTo>
                    <a:pt x="89157" y="154"/>
                  </a:moveTo>
                  <a:cubicBezTo>
                    <a:pt x="52650" y="-2888"/>
                    <a:pt x="13101" y="39704"/>
                    <a:pt x="932" y="67084"/>
                  </a:cubicBezTo>
                  <a:cubicBezTo>
                    <a:pt x="-8195" y="88380"/>
                    <a:pt x="52650" y="158352"/>
                    <a:pt x="55692" y="152267"/>
                  </a:cubicBezTo>
                  <a:cubicBezTo>
                    <a:pt x="92200" y="118802"/>
                    <a:pt x="55692" y="91422"/>
                    <a:pt x="64820" y="79253"/>
                  </a:cubicBezTo>
                  <a:cubicBezTo>
                    <a:pt x="80031" y="57957"/>
                    <a:pt x="98284" y="54915"/>
                    <a:pt x="125665" y="51873"/>
                  </a:cubicBezTo>
                  <a:cubicBezTo>
                    <a:pt x="134791" y="51873"/>
                    <a:pt x="153045" y="61000"/>
                    <a:pt x="156087" y="51873"/>
                  </a:cubicBezTo>
                  <a:cubicBezTo>
                    <a:pt x="159129" y="30577"/>
                    <a:pt x="104368" y="154"/>
                    <a:pt x="89157" y="154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642114C7-52ED-4ADA-A371-C3B2B9447421}"/>
                </a:ext>
              </a:extLst>
            </p:cNvPr>
            <p:cNvSpPr/>
            <p:nvPr/>
          </p:nvSpPr>
          <p:spPr>
            <a:xfrm>
              <a:off x="12658905" y="3006171"/>
              <a:ext cx="166280" cy="165041"/>
            </a:xfrm>
            <a:custGeom>
              <a:avLst/>
              <a:gdLst>
                <a:gd name="connsiteX0" fmla="*/ 63888 w 166280"/>
                <a:gd name="connsiteY0" fmla="*/ 161999 h 165041"/>
                <a:gd name="connsiteX1" fmla="*/ 57804 w 166280"/>
                <a:gd name="connsiteY1" fmla="*/ 158957 h 165041"/>
                <a:gd name="connsiteX2" fmla="*/ 57804 w 166280"/>
                <a:gd name="connsiteY2" fmla="*/ 149830 h 165041"/>
                <a:gd name="connsiteX3" fmla="*/ 63888 w 166280"/>
                <a:gd name="connsiteY3" fmla="*/ 85943 h 165041"/>
                <a:gd name="connsiteX4" fmla="*/ 63888 w 166280"/>
                <a:gd name="connsiteY4" fmla="*/ 79858 h 165041"/>
                <a:gd name="connsiteX5" fmla="*/ 133860 w 166280"/>
                <a:gd name="connsiteY5" fmla="*/ 55520 h 165041"/>
                <a:gd name="connsiteX6" fmla="*/ 155155 w 166280"/>
                <a:gd name="connsiteY6" fmla="*/ 52478 h 165041"/>
                <a:gd name="connsiteX7" fmla="*/ 155155 w 166280"/>
                <a:gd name="connsiteY7" fmla="*/ 46394 h 165041"/>
                <a:gd name="connsiteX8" fmla="*/ 94310 w 166280"/>
                <a:gd name="connsiteY8" fmla="*/ 9886 h 165041"/>
                <a:gd name="connsiteX9" fmla="*/ 12170 w 166280"/>
                <a:gd name="connsiteY9" fmla="*/ 76816 h 165041"/>
                <a:gd name="connsiteX10" fmla="*/ 3042 w 166280"/>
                <a:gd name="connsiteY10" fmla="*/ 79858 h 165041"/>
                <a:gd name="connsiteX11" fmla="*/ 0 w 166280"/>
                <a:gd name="connsiteY11" fmla="*/ 70732 h 165041"/>
                <a:gd name="connsiteX12" fmla="*/ 94310 w 166280"/>
                <a:gd name="connsiteY12" fmla="*/ 760 h 165041"/>
                <a:gd name="connsiteX13" fmla="*/ 164282 w 166280"/>
                <a:gd name="connsiteY13" fmla="*/ 46394 h 165041"/>
                <a:gd name="connsiteX14" fmla="*/ 161240 w 166280"/>
                <a:gd name="connsiteY14" fmla="*/ 64647 h 165041"/>
                <a:gd name="connsiteX15" fmla="*/ 130817 w 166280"/>
                <a:gd name="connsiteY15" fmla="*/ 70732 h 165041"/>
                <a:gd name="connsiteX16" fmla="*/ 73015 w 166280"/>
                <a:gd name="connsiteY16" fmla="*/ 88985 h 165041"/>
                <a:gd name="connsiteX17" fmla="*/ 60845 w 166280"/>
                <a:gd name="connsiteY17" fmla="*/ 165041 h 165041"/>
                <a:gd name="connsiteX18" fmla="*/ 63888 w 166280"/>
                <a:gd name="connsiteY18" fmla="*/ 161999 h 165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6280" h="165041">
                  <a:moveTo>
                    <a:pt x="63888" y="161999"/>
                  </a:moveTo>
                  <a:cubicBezTo>
                    <a:pt x="60845" y="161999"/>
                    <a:pt x="60845" y="161999"/>
                    <a:pt x="57804" y="158957"/>
                  </a:cubicBezTo>
                  <a:cubicBezTo>
                    <a:pt x="54761" y="155915"/>
                    <a:pt x="57804" y="152872"/>
                    <a:pt x="57804" y="149830"/>
                  </a:cubicBezTo>
                  <a:cubicBezTo>
                    <a:pt x="85184" y="131577"/>
                    <a:pt x="63888" y="85943"/>
                    <a:pt x="63888" y="85943"/>
                  </a:cubicBezTo>
                  <a:cubicBezTo>
                    <a:pt x="63888" y="82901"/>
                    <a:pt x="63888" y="82901"/>
                    <a:pt x="63888" y="79858"/>
                  </a:cubicBezTo>
                  <a:cubicBezTo>
                    <a:pt x="85184" y="52478"/>
                    <a:pt x="112564" y="52478"/>
                    <a:pt x="133860" y="55520"/>
                  </a:cubicBezTo>
                  <a:cubicBezTo>
                    <a:pt x="142986" y="55520"/>
                    <a:pt x="152113" y="55520"/>
                    <a:pt x="155155" y="52478"/>
                  </a:cubicBezTo>
                  <a:cubicBezTo>
                    <a:pt x="155155" y="52478"/>
                    <a:pt x="158198" y="49436"/>
                    <a:pt x="155155" y="46394"/>
                  </a:cubicBezTo>
                  <a:cubicBezTo>
                    <a:pt x="149071" y="31182"/>
                    <a:pt x="124733" y="15971"/>
                    <a:pt x="94310" y="9886"/>
                  </a:cubicBezTo>
                  <a:cubicBezTo>
                    <a:pt x="54761" y="3802"/>
                    <a:pt x="12170" y="73774"/>
                    <a:pt x="12170" y="76816"/>
                  </a:cubicBezTo>
                  <a:cubicBezTo>
                    <a:pt x="9127" y="79858"/>
                    <a:pt x="6085" y="79858"/>
                    <a:pt x="3042" y="79858"/>
                  </a:cubicBezTo>
                  <a:cubicBezTo>
                    <a:pt x="0" y="76816"/>
                    <a:pt x="0" y="73774"/>
                    <a:pt x="0" y="70732"/>
                  </a:cubicBezTo>
                  <a:cubicBezTo>
                    <a:pt x="3042" y="67689"/>
                    <a:pt x="45634" y="-8367"/>
                    <a:pt x="94310" y="760"/>
                  </a:cubicBezTo>
                  <a:cubicBezTo>
                    <a:pt x="130817" y="6844"/>
                    <a:pt x="158198" y="28140"/>
                    <a:pt x="164282" y="46394"/>
                  </a:cubicBezTo>
                  <a:cubicBezTo>
                    <a:pt x="167324" y="52478"/>
                    <a:pt x="167324" y="58562"/>
                    <a:pt x="161240" y="64647"/>
                  </a:cubicBezTo>
                  <a:cubicBezTo>
                    <a:pt x="155155" y="70732"/>
                    <a:pt x="142986" y="70732"/>
                    <a:pt x="130817" y="70732"/>
                  </a:cubicBezTo>
                  <a:cubicBezTo>
                    <a:pt x="112564" y="70732"/>
                    <a:pt x="91268" y="67689"/>
                    <a:pt x="73015" y="88985"/>
                  </a:cubicBezTo>
                  <a:cubicBezTo>
                    <a:pt x="79099" y="101154"/>
                    <a:pt x="91268" y="143746"/>
                    <a:pt x="60845" y="165041"/>
                  </a:cubicBezTo>
                  <a:cubicBezTo>
                    <a:pt x="66930" y="161999"/>
                    <a:pt x="63888" y="161999"/>
                    <a:pt x="63888" y="161999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9" name="图形 1">
              <a:extLst>
                <a:ext uri="{FF2B5EF4-FFF2-40B4-BE49-F238E27FC236}">
                  <a16:creationId xmlns:a16="http://schemas.microsoft.com/office/drawing/2014/main" id="{B2494B9B-D462-45DB-9A43-0082CA9BD7FF}"/>
                </a:ext>
              </a:extLst>
            </p:cNvPr>
            <p:cNvGrpSpPr/>
            <p:nvPr/>
          </p:nvGrpSpPr>
          <p:grpSpPr>
            <a:xfrm>
              <a:off x="11220712" y="1738311"/>
              <a:ext cx="599257" cy="371154"/>
              <a:chOff x="11220712" y="1738311"/>
              <a:chExt cx="599257" cy="371154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3CB4FD26-6FE0-4CA8-84F2-0AD86F9FEFE2}"/>
                  </a:ext>
                </a:extLst>
              </p:cNvPr>
              <p:cNvSpPr/>
              <p:nvPr/>
            </p:nvSpPr>
            <p:spPr>
              <a:xfrm>
                <a:off x="11220712" y="1739653"/>
                <a:ext cx="492052" cy="369811"/>
              </a:xfrm>
              <a:custGeom>
                <a:avLst/>
                <a:gdLst>
                  <a:gd name="connsiteX0" fmla="*/ 96560 w 492052"/>
                  <a:gd name="connsiteY0" fmla="*/ 214657 h 369811"/>
                  <a:gd name="connsiteX1" fmla="*/ 38756 w 492052"/>
                  <a:gd name="connsiteY1" fmla="*/ 369812 h 369811"/>
                  <a:gd name="connsiteX2" fmla="*/ 126983 w 492052"/>
                  <a:gd name="connsiteY2" fmla="*/ 38206 h 369811"/>
                  <a:gd name="connsiteX3" fmla="*/ 492053 w 492052"/>
                  <a:gd name="connsiteY3" fmla="*/ 135558 h 369811"/>
                  <a:gd name="connsiteX4" fmla="*/ 96560 w 492052"/>
                  <a:gd name="connsiteY4" fmla="*/ 214657 h 369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2052" h="369811">
                    <a:moveTo>
                      <a:pt x="96560" y="214657"/>
                    </a:moveTo>
                    <a:cubicBezTo>
                      <a:pt x="60053" y="245080"/>
                      <a:pt x="38756" y="302882"/>
                      <a:pt x="38756" y="369812"/>
                    </a:cubicBezTo>
                    <a:cubicBezTo>
                      <a:pt x="38756" y="369812"/>
                      <a:pt x="-92060" y="175108"/>
                      <a:pt x="126983" y="38206"/>
                    </a:cubicBezTo>
                    <a:cubicBezTo>
                      <a:pt x="276053" y="-53061"/>
                      <a:pt x="428165" y="35164"/>
                      <a:pt x="492053" y="135558"/>
                    </a:cubicBezTo>
                    <a:cubicBezTo>
                      <a:pt x="492053" y="135558"/>
                      <a:pt x="257799" y="77756"/>
                      <a:pt x="96560" y="214657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2FFB28E9-E47A-4184-9811-F75B7A523989}"/>
                  </a:ext>
                </a:extLst>
              </p:cNvPr>
              <p:cNvSpPr/>
              <p:nvPr/>
            </p:nvSpPr>
            <p:spPr>
              <a:xfrm>
                <a:off x="11302060" y="1781746"/>
                <a:ext cx="517908" cy="218197"/>
              </a:xfrm>
              <a:custGeom>
                <a:avLst/>
                <a:gdLst>
                  <a:gd name="connsiteX0" fmla="*/ 0 w 517908"/>
                  <a:gd name="connsiteY0" fmla="*/ 187775 h 218197"/>
                  <a:gd name="connsiteX1" fmla="*/ 219042 w 517908"/>
                  <a:gd name="connsiteY1" fmla="*/ 47832 h 218197"/>
                  <a:gd name="connsiteX2" fmla="*/ 514141 w 517908"/>
                  <a:gd name="connsiteY2" fmla="*/ 60001 h 218197"/>
                  <a:gd name="connsiteX3" fmla="*/ 410704 w 517908"/>
                  <a:gd name="connsiteY3" fmla="*/ 218198 h 218197"/>
                  <a:gd name="connsiteX4" fmla="*/ 0 w 517908"/>
                  <a:gd name="connsiteY4" fmla="*/ 187775 h 218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7908" h="218197">
                    <a:moveTo>
                      <a:pt x="0" y="187775"/>
                    </a:moveTo>
                    <a:cubicBezTo>
                      <a:pt x="0" y="187775"/>
                      <a:pt x="76056" y="111719"/>
                      <a:pt x="219042" y="47832"/>
                    </a:cubicBezTo>
                    <a:cubicBezTo>
                      <a:pt x="368112" y="-22140"/>
                      <a:pt x="486761" y="-13013"/>
                      <a:pt x="514141" y="60001"/>
                    </a:cubicBezTo>
                    <a:cubicBezTo>
                      <a:pt x="541521" y="133015"/>
                      <a:pt x="410704" y="218198"/>
                      <a:pt x="410704" y="218198"/>
                    </a:cubicBezTo>
                    <a:cubicBezTo>
                      <a:pt x="410704" y="218198"/>
                      <a:pt x="264676" y="78254"/>
                      <a:pt x="0" y="187775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E11951EE-1C60-492F-963D-848D638951BE}"/>
                  </a:ext>
                </a:extLst>
              </p:cNvPr>
              <p:cNvSpPr/>
              <p:nvPr/>
            </p:nvSpPr>
            <p:spPr>
              <a:xfrm>
                <a:off x="11314229" y="1738311"/>
                <a:ext cx="57802" cy="54760"/>
              </a:xfrm>
              <a:custGeom>
                <a:avLst/>
                <a:gdLst>
                  <a:gd name="connsiteX0" fmla="*/ 0 w 57802"/>
                  <a:gd name="connsiteY0" fmla="*/ 27380 h 54760"/>
                  <a:gd name="connsiteX1" fmla="*/ 30423 w 57802"/>
                  <a:gd name="connsiteY1" fmla="*/ 0 h 54760"/>
                  <a:gd name="connsiteX2" fmla="*/ 57803 w 57802"/>
                  <a:gd name="connsiteY2" fmla="*/ 27380 h 54760"/>
                  <a:gd name="connsiteX3" fmla="*/ 27380 w 57802"/>
                  <a:gd name="connsiteY3" fmla="*/ 54761 h 54760"/>
                  <a:gd name="connsiteX4" fmla="*/ 0 w 57802"/>
                  <a:gd name="connsiteY4" fmla="*/ 27380 h 5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802" h="54760">
                    <a:moveTo>
                      <a:pt x="0" y="27380"/>
                    </a:moveTo>
                    <a:cubicBezTo>
                      <a:pt x="0" y="12169"/>
                      <a:pt x="12169" y="0"/>
                      <a:pt x="30423" y="0"/>
                    </a:cubicBezTo>
                    <a:cubicBezTo>
                      <a:pt x="45634" y="0"/>
                      <a:pt x="57803" y="12169"/>
                      <a:pt x="57803" y="27380"/>
                    </a:cubicBezTo>
                    <a:cubicBezTo>
                      <a:pt x="57803" y="42592"/>
                      <a:pt x="45634" y="54761"/>
                      <a:pt x="27380" y="54761"/>
                    </a:cubicBezTo>
                    <a:cubicBezTo>
                      <a:pt x="12169" y="54761"/>
                      <a:pt x="0" y="42592"/>
                      <a:pt x="0" y="2738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57A90FA9-EB3A-436C-96C5-22D263BD943F}"/>
                </a:ext>
              </a:extLst>
            </p:cNvPr>
            <p:cNvSpPr/>
            <p:nvPr/>
          </p:nvSpPr>
          <p:spPr>
            <a:xfrm>
              <a:off x="11526147" y="1914761"/>
              <a:ext cx="213997" cy="88225"/>
            </a:xfrm>
            <a:custGeom>
              <a:avLst/>
              <a:gdLst>
                <a:gd name="connsiteX0" fmla="*/ 137942 w 213997"/>
                <a:gd name="connsiteY0" fmla="*/ 88225 h 88225"/>
                <a:gd name="connsiteX1" fmla="*/ 213998 w 213997"/>
                <a:gd name="connsiteY1" fmla="*/ 0 h 88225"/>
                <a:gd name="connsiteX2" fmla="*/ 13209 w 213997"/>
                <a:gd name="connsiteY2" fmla="*/ 18254 h 88225"/>
                <a:gd name="connsiteX3" fmla="*/ 137942 w 213997"/>
                <a:gd name="connsiteY3" fmla="*/ 88225 h 88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997" h="88225">
                  <a:moveTo>
                    <a:pt x="137942" y="88225"/>
                  </a:moveTo>
                  <a:cubicBezTo>
                    <a:pt x="137942" y="88225"/>
                    <a:pt x="198787" y="79099"/>
                    <a:pt x="213998" y="0"/>
                  </a:cubicBezTo>
                  <a:cubicBezTo>
                    <a:pt x="213998" y="0"/>
                    <a:pt x="95350" y="33465"/>
                    <a:pt x="13209" y="18254"/>
                  </a:cubicBezTo>
                  <a:cubicBezTo>
                    <a:pt x="-50679" y="9127"/>
                    <a:pt x="137942" y="88225"/>
                    <a:pt x="137942" y="88225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91A17A6A-3BBA-4D55-AF72-3095B5C2E404}"/>
                </a:ext>
              </a:extLst>
            </p:cNvPr>
            <p:cNvSpPr/>
            <p:nvPr/>
          </p:nvSpPr>
          <p:spPr>
            <a:xfrm>
              <a:off x="11296736" y="1771989"/>
              <a:ext cx="530193" cy="203617"/>
            </a:xfrm>
            <a:custGeom>
              <a:avLst/>
              <a:gdLst>
                <a:gd name="connsiteX0" fmla="*/ 5324 w 530193"/>
                <a:gd name="connsiteY0" fmla="*/ 203617 h 203617"/>
                <a:gd name="connsiteX1" fmla="*/ 2282 w 530193"/>
                <a:gd name="connsiteY1" fmla="*/ 203617 h 203617"/>
                <a:gd name="connsiteX2" fmla="*/ 2282 w 530193"/>
                <a:gd name="connsiteY2" fmla="*/ 194491 h 203617"/>
                <a:gd name="connsiteX3" fmla="*/ 336930 w 530193"/>
                <a:gd name="connsiteY3" fmla="*/ 5871 h 203617"/>
                <a:gd name="connsiteX4" fmla="*/ 525549 w 530193"/>
                <a:gd name="connsiteY4" fmla="*/ 66716 h 203617"/>
                <a:gd name="connsiteX5" fmla="*/ 467746 w 530193"/>
                <a:gd name="connsiteY5" fmla="*/ 194491 h 203617"/>
                <a:gd name="connsiteX6" fmla="*/ 458620 w 530193"/>
                <a:gd name="connsiteY6" fmla="*/ 194491 h 203617"/>
                <a:gd name="connsiteX7" fmla="*/ 458620 w 530193"/>
                <a:gd name="connsiteY7" fmla="*/ 185364 h 203617"/>
                <a:gd name="connsiteX8" fmla="*/ 513380 w 530193"/>
                <a:gd name="connsiteY8" fmla="*/ 72801 h 203617"/>
                <a:gd name="connsiteX9" fmla="*/ 336930 w 530193"/>
                <a:gd name="connsiteY9" fmla="*/ 18040 h 203617"/>
                <a:gd name="connsiteX10" fmla="*/ 8366 w 530193"/>
                <a:gd name="connsiteY10" fmla="*/ 200575 h 203617"/>
                <a:gd name="connsiteX11" fmla="*/ 5324 w 530193"/>
                <a:gd name="connsiteY11" fmla="*/ 203617 h 203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0193" h="203617">
                  <a:moveTo>
                    <a:pt x="5324" y="203617"/>
                  </a:moveTo>
                  <a:cubicBezTo>
                    <a:pt x="5324" y="203617"/>
                    <a:pt x="2282" y="203617"/>
                    <a:pt x="2282" y="203617"/>
                  </a:cubicBezTo>
                  <a:cubicBezTo>
                    <a:pt x="-761" y="200575"/>
                    <a:pt x="-761" y="197533"/>
                    <a:pt x="2282" y="194491"/>
                  </a:cubicBezTo>
                  <a:cubicBezTo>
                    <a:pt x="111803" y="57589"/>
                    <a:pt x="245662" y="21082"/>
                    <a:pt x="336930" y="5871"/>
                  </a:cubicBezTo>
                  <a:cubicBezTo>
                    <a:pt x="382564" y="-3256"/>
                    <a:pt x="495126" y="-12383"/>
                    <a:pt x="525549" y="66716"/>
                  </a:cubicBezTo>
                  <a:cubicBezTo>
                    <a:pt x="549887" y="130603"/>
                    <a:pt x="470789" y="191448"/>
                    <a:pt x="467746" y="194491"/>
                  </a:cubicBezTo>
                  <a:cubicBezTo>
                    <a:pt x="464704" y="197533"/>
                    <a:pt x="461662" y="194491"/>
                    <a:pt x="458620" y="194491"/>
                  </a:cubicBezTo>
                  <a:cubicBezTo>
                    <a:pt x="455577" y="191448"/>
                    <a:pt x="458620" y="188406"/>
                    <a:pt x="458620" y="185364"/>
                  </a:cubicBezTo>
                  <a:cubicBezTo>
                    <a:pt x="458620" y="185364"/>
                    <a:pt x="534676" y="127561"/>
                    <a:pt x="513380" y="72801"/>
                  </a:cubicBezTo>
                  <a:cubicBezTo>
                    <a:pt x="486000" y="2829"/>
                    <a:pt x="382564" y="11955"/>
                    <a:pt x="336930" y="18040"/>
                  </a:cubicBezTo>
                  <a:cubicBezTo>
                    <a:pt x="245662" y="33251"/>
                    <a:pt x="114845" y="66716"/>
                    <a:pt x="8366" y="200575"/>
                  </a:cubicBezTo>
                  <a:cubicBezTo>
                    <a:pt x="8366" y="200575"/>
                    <a:pt x="8366" y="203617"/>
                    <a:pt x="5324" y="203617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80" name="图形 1">
            <a:extLst>
              <a:ext uri="{FF2B5EF4-FFF2-40B4-BE49-F238E27FC236}">
                <a16:creationId xmlns:a16="http://schemas.microsoft.com/office/drawing/2014/main" id="{FA5E9B11-37DB-4DFA-A620-D402B61685C2}"/>
              </a:ext>
            </a:extLst>
          </p:cNvPr>
          <p:cNvGrpSpPr/>
          <p:nvPr/>
        </p:nvGrpSpPr>
        <p:grpSpPr>
          <a:xfrm>
            <a:off x="6397641" y="2339927"/>
            <a:ext cx="4170274" cy="4521294"/>
            <a:chOff x="13830828" y="2005702"/>
            <a:chExt cx="4170274" cy="4521294"/>
          </a:xfrm>
        </p:grpSpPr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91701C15-651B-4223-B77B-7473F8BBCAE1}"/>
                </a:ext>
              </a:extLst>
            </p:cNvPr>
            <p:cNvSpPr/>
            <p:nvPr/>
          </p:nvSpPr>
          <p:spPr>
            <a:xfrm>
              <a:off x="16407839" y="3846592"/>
              <a:ext cx="108643" cy="172775"/>
            </a:xfrm>
            <a:custGeom>
              <a:avLst/>
              <a:gdLst>
                <a:gd name="connsiteX0" fmla="*/ 108644 w 108643"/>
                <a:gd name="connsiteY0" fmla="*/ 0 h 172775"/>
                <a:gd name="connsiteX1" fmla="*/ 11291 w 108643"/>
                <a:gd name="connsiteY1" fmla="*/ 100394 h 172775"/>
                <a:gd name="connsiteX2" fmla="*/ 5207 w 108643"/>
                <a:gd name="connsiteY2" fmla="*/ 170366 h 172775"/>
                <a:gd name="connsiteX3" fmla="*/ 72136 w 108643"/>
                <a:gd name="connsiteY3" fmla="*/ 91268 h 172775"/>
                <a:gd name="connsiteX4" fmla="*/ 108644 w 108643"/>
                <a:gd name="connsiteY4" fmla="*/ 0 h 172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643" h="172775">
                  <a:moveTo>
                    <a:pt x="108644" y="0"/>
                  </a:moveTo>
                  <a:cubicBezTo>
                    <a:pt x="108644" y="0"/>
                    <a:pt x="29545" y="39549"/>
                    <a:pt x="11291" y="100394"/>
                  </a:cubicBezTo>
                  <a:cubicBezTo>
                    <a:pt x="5207" y="124732"/>
                    <a:pt x="-6963" y="161239"/>
                    <a:pt x="5207" y="170366"/>
                  </a:cubicBezTo>
                  <a:cubicBezTo>
                    <a:pt x="35630" y="188620"/>
                    <a:pt x="41714" y="97352"/>
                    <a:pt x="72136" y="91268"/>
                  </a:cubicBezTo>
                  <a:cubicBezTo>
                    <a:pt x="84305" y="88225"/>
                    <a:pt x="108644" y="0"/>
                    <a:pt x="108644" y="0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BDF518AE-9879-4221-A937-C2240154B828}"/>
                </a:ext>
              </a:extLst>
            </p:cNvPr>
            <p:cNvSpPr/>
            <p:nvPr/>
          </p:nvSpPr>
          <p:spPr>
            <a:xfrm>
              <a:off x="14967929" y="2104467"/>
              <a:ext cx="994910" cy="362897"/>
            </a:xfrm>
            <a:custGeom>
              <a:avLst/>
              <a:gdLst>
                <a:gd name="connsiteX0" fmla="*/ 991821 w 994910"/>
                <a:gd name="connsiteY0" fmla="*/ 306181 h 362897"/>
                <a:gd name="connsiteX1" fmla="*/ 444216 w 994910"/>
                <a:gd name="connsiteY1" fmla="*/ 312266 h 362897"/>
                <a:gd name="connsiteX2" fmla="*/ 3089 w 994910"/>
                <a:gd name="connsiteY2" fmla="*/ 56717 h 362897"/>
                <a:gd name="connsiteX3" fmla="*/ 550695 w 994910"/>
                <a:gd name="connsiteY3" fmla="*/ 50632 h 362897"/>
                <a:gd name="connsiteX4" fmla="*/ 991821 w 994910"/>
                <a:gd name="connsiteY4" fmla="*/ 306181 h 362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910" h="362897">
                  <a:moveTo>
                    <a:pt x="991821" y="306181"/>
                  </a:moveTo>
                  <a:cubicBezTo>
                    <a:pt x="961399" y="379195"/>
                    <a:pt x="718019" y="382238"/>
                    <a:pt x="444216" y="312266"/>
                  </a:cubicBezTo>
                  <a:cubicBezTo>
                    <a:pt x="170413" y="245336"/>
                    <a:pt x="-27334" y="129731"/>
                    <a:pt x="3089" y="56717"/>
                  </a:cubicBezTo>
                  <a:cubicBezTo>
                    <a:pt x="33511" y="-16298"/>
                    <a:pt x="276892" y="-19340"/>
                    <a:pt x="550695" y="50632"/>
                  </a:cubicBezTo>
                  <a:cubicBezTo>
                    <a:pt x="824497" y="120604"/>
                    <a:pt x="1022244" y="233167"/>
                    <a:pt x="991821" y="306181"/>
                  </a:cubicBez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3" name="图形 1">
              <a:extLst>
                <a:ext uri="{FF2B5EF4-FFF2-40B4-BE49-F238E27FC236}">
                  <a16:creationId xmlns:a16="http://schemas.microsoft.com/office/drawing/2014/main" id="{3EEC2F9C-DBF4-43A4-9852-CA546772583F}"/>
                </a:ext>
              </a:extLst>
            </p:cNvPr>
            <p:cNvGrpSpPr/>
            <p:nvPr/>
          </p:nvGrpSpPr>
          <p:grpSpPr>
            <a:xfrm>
              <a:off x="16338581" y="3913522"/>
              <a:ext cx="1662522" cy="2573746"/>
              <a:chOff x="16338581" y="3913522"/>
              <a:chExt cx="1662522" cy="2573746"/>
            </a:xfrm>
          </p:grpSpPr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B92BB6FE-7700-493D-8E9B-1E3F5DF59D7E}"/>
                  </a:ext>
                </a:extLst>
              </p:cNvPr>
              <p:cNvSpPr/>
              <p:nvPr/>
            </p:nvSpPr>
            <p:spPr>
              <a:xfrm>
                <a:off x="17432201" y="6335156"/>
                <a:ext cx="152112" cy="152112"/>
              </a:xfrm>
              <a:custGeom>
                <a:avLst/>
                <a:gdLst>
                  <a:gd name="connsiteX0" fmla="*/ 0 w 152112"/>
                  <a:gd name="connsiteY0" fmla="*/ 76056 h 152112"/>
                  <a:gd name="connsiteX1" fmla="*/ 76056 w 152112"/>
                  <a:gd name="connsiteY1" fmla="*/ 152113 h 152112"/>
                  <a:gd name="connsiteX2" fmla="*/ 152113 w 152112"/>
                  <a:gd name="connsiteY2" fmla="*/ 76056 h 152112"/>
                  <a:gd name="connsiteX3" fmla="*/ 76056 w 152112"/>
                  <a:gd name="connsiteY3" fmla="*/ 0 h 152112"/>
                  <a:gd name="connsiteX4" fmla="*/ 0 w 152112"/>
                  <a:gd name="connsiteY4" fmla="*/ 76056 h 152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112" h="152112">
                    <a:moveTo>
                      <a:pt x="0" y="76056"/>
                    </a:moveTo>
                    <a:cubicBezTo>
                      <a:pt x="0" y="118648"/>
                      <a:pt x="33464" y="152113"/>
                      <a:pt x="76056" y="152113"/>
                    </a:cubicBezTo>
                    <a:cubicBezTo>
                      <a:pt x="118648" y="152113"/>
                      <a:pt x="152113" y="118648"/>
                      <a:pt x="152113" y="76056"/>
                    </a:cubicBezTo>
                    <a:cubicBezTo>
                      <a:pt x="152113" y="33465"/>
                      <a:pt x="118648" y="0"/>
                      <a:pt x="76056" y="0"/>
                    </a:cubicBezTo>
                    <a:cubicBezTo>
                      <a:pt x="33464" y="3042"/>
                      <a:pt x="0" y="36507"/>
                      <a:pt x="0" y="7605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6DA5D008-7A1A-4384-9ABF-B6229AEF39A4}"/>
                  </a:ext>
                </a:extLst>
              </p:cNvPr>
              <p:cNvSpPr/>
              <p:nvPr/>
            </p:nvSpPr>
            <p:spPr>
              <a:xfrm>
                <a:off x="17848989" y="6055268"/>
                <a:ext cx="152113" cy="152112"/>
              </a:xfrm>
              <a:custGeom>
                <a:avLst/>
                <a:gdLst>
                  <a:gd name="connsiteX0" fmla="*/ 0 w 152113"/>
                  <a:gd name="connsiteY0" fmla="*/ 76056 h 152112"/>
                  <a:gd name="connsiteX1" fmla="*/ 76056 w 152113"/>
                  <a:gd name="connsiteY1" fmla="*/ 152113 h 152112"/>
                  <a:gd name="connsiteX2" fmla="*/ 152114 w 152113"/>
                  <a:gd name="connsiteY2" fmla="*/ 76056 h 152112"/>
                  <a:gd name="connsiteX3" fmla="*/ 76056 w 152113"/>
                  <a:gd name="connsiteY3" fmla="*/ 0 h 152112"/>
                  <a:gd name="connsiteX4" fmla="*/ 0 w 152113"/>
                  <a:gd name="connsiteY4" fmla="*/ 76056 h 152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113" h="152112">
                    <a:moveTo>
                      <a:pt x="0" y="76056"/>
                    </a:moveTo>
                    <a:cubicBezTo>
                      <a:pt x="0" y="118648"/>
                      <a:pt x="33465" y="152113"/>
                      <a:pt x="76056" y="152113"/>
                    </a:cubicBezTo>
                    <a:cubicBezTo>
                      <a:pt x="118648" y="152113"/>
                      <a:pt x="152114" y="118648"/>
                      <a:pt x="152114" y="76056"/>
                    </a:cubicBezTo>
                    <a:cubicBezTo>
                      <a:pt x="152114" y="33465"/>
                      <a:pt x="118648" y="0"/>
                      <a:pt x="76056" y="0"/>
                    </a:cubicBezTo>
                    <a:cubicBezTo>
                      <a:pt x="33465" y="3042"/>
                      <a:pt x="0" y="36507"/>
                      <a:pt x="0" y="7605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D8D59550-555B-4FA2-B310-3162DA3CA6CF}"/>
                  </a:ext>
                </a:extLst>
              </p:cNvPr>
              <p:cNvSpPr/>
              <p:nvPr/>
            </p:nvSpPr>
            <p:spPr>
              <a:xfrm>
                <a:off x="16842003" y="6335156"/>
                <a:ext cx="152112" cy="152112"/>
              </a:xfrm>
              <a:custGeom>
                <a:avLst/>
                <a:gdLst>
                  <a:gd name="connsiteX0" fmla="*/ 0 w 152112"/>
                  <a:gd name="connsiteY0" fmla="*/ 76056 h 152112"/>
                  <a:gd name="connsiteX1" fmla="*/ 76056 w 152112"/>
                  <a:gd name="connsiteY1" fmla="*/ 152113 h 152112"/>
                  <a:gd name="connsiteX2" fmla="*/ 152113 w 152112"/>
                  <a:gd name="connsiteY2" fmla="*/ 76056 h 152112"/>
                  <a:gd name="connsiteX3" fmla="*/ 76056 w 152112"/>
                  <a:gd name="connsiteY3" fmla="*/ 0 h 152112"/>
                  <a:gd name="connsiteX4" fmla="*/ 0 w 152112"/>
                  <a:gd name="connsiteY4" fmla="*/ 76056 h 152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112" h="152112">
                    <a:moveTo>
                      <a:pt x="0" y="76056"/>
                    </a:moveTo>
                    <a:cubicBezTo>
                      <a:pt x="0" y="118648"/>
                      <a:pt x="33465" y="152113"/>
                      <a:pt x="76056" y="152113"/>
                    </a:cubicBezTo>
                    <a:cubicBezTo>
                      <a:pt x="118649" y="152113"/>
                      <a:pt x="152113" y="118648"/>
                      <a:pt x="152113" y="76056"/>
                    </a:cubicBezTo>
                    <a:cubicBezTo>
                      <a:pt x="152113" y="33465"/>
                      <a:pt x="118649" y="0"/>
                      <a:pt x="76056" y="0"/>
                    </a:cubicBezTo>
                    <a:cubicBezTo>
                      <a:pt x="33465" y="3042"/>
                      <a:pt x="0" y="36507"/>
                      <a:pt x="0" y="7605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40" name="图形 1">
                <a:extLst>
                  <a:ext uri="{FF2B5EF4-FFF2-40B4-BE49-F238E27FC236}">
                    <a16:creationId xmlns:a16="http://schemas.microsoft.com/office/drawing/2014/main" id="{AEA7A0D4-77D3-4A32-ADE9-1B7BBA21DB83}"/>
                  </a:ext>
                </a:extLst>
              </p:cNvPr>
              <p:cNvGrpSpPr/>
              <p:nvPr/>
            </p:nvGrpSpPr>
            <p:grpSpPr>
              <a:xfrm>
                <a:off x="16338581" y="4604113"/>
                <a:ext cx="1657887" cy="1749295"/>
                <a:chOff x="16338581" y="4604113"/>
                <a:chExt cx="1657887" cy="1749295"/>
              </a:xfrm>
            </p:grpSpPr>
            <p:sp>
              <p:nvSpPr>
                <p:cNvPr id="143" name="任意多边形: 形状 142">
                  <a:extLst>
                    <a:ext uri="{FF2B5EF4-FFF2-40B4-BE49-F238E27FC236}">
                      <a16:creationId xmlns:a16="http://schemas.microsoft.com/office/drawing/2014/main" id="{DBB28AAD-E25B-490E-9018-FBD6027BEB82}"/>
                    </a:ext>
                  </a:extLst>
                </p:cNvPr>
                <p:cNvSpPr/>
                <p:nvPr/>
              </p:nvSpPr>
              <p:spPr>
                <a:xfrm>
                  <a:off x="16642806" y="4604113"/>
                  <a:ext cx="1353662" cy="1487662"/>
                </a:xfrm>
                <a:custGeom>
                  <a:avLst/>
                  <a:gdLst>
                    <a:gd name="connsiteX0" fmla="*/ 500381 w 1353662"/>
                    <a:gd name="connsiteY0" fmla="*/ 1487662 h 1487662"/>
                    <a:gd name="connsiteX1" fmla="*/ 1270071 w 1353662"/>
                    <a:gd name="connsiteY1" fmla="*/ 1487662 h 1487662"/>
                    <a:gd name="connsiteX2" fmla="*/ 1349169 w 1353662"/>
                    <a:gd name="connsiteY2" fmla="*/ 1378141 h 1487662"/>
                    <a:gd name="connsiteX3" fmla="*/ 935423 w 1353662"/>
                    <a:gd name="connsiteY3" fmla="*/ 57803 h 1487662"/>
                    <a:gd name="connsiteX4" fmla="*/ 856324 w 1353662"/>
                    <a:gd name="connsiteY4" fmla="*/ 0 h 1487662"/>
                    <a:gd name="connsiteX5" fmla="*/ 83592 w 1353662"/>
                    <a:gd name="connsiteY5" fmla="*/ 0 h 1487662"/>
                    <a:gd name="connsiteX6" fmla="*/ 4493 w 1353662"/>
                    <a:gd name="connsiteY6" fmla="*/ 109521 h 1487662"/>
                    <a:gd name="connsiteX7" fmla="*/ 418240 w 1353662"/>
                    <a:gd name="connsiteY7" fmla="*/ 1429859 h 1487662"/>
                    <a:gd name="connsiteX8" fmla="*/ 500381 w 1353662"/>
                    <a:gd name="connsiteY8" fmla="*/ 1487662 h 148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3662" h="1487662">
                      <a:moveTo>
                        <a:pt x="500381" y="1487662"/>
                      </a:moveTo>
                      <a:lnTo>
                        <a:pt x="1270071" y="1487662"/>
                      </a:lnTo>
                      <a:cubicBezTo>
                        <a:pt x="1327874" y="1487662"/>
                        <a:pt x="1367423" y="1432902"/>
                        <a:pt x="1349169" y="1378141"/>
                      </a:cubicBezTo>
                      <a:lnTo>
                        <a:pt x="935423" y="57803"/>
                      </a:lnTo>
                      <a:cubicBezTo>
                        <a:pt x="923254" y="21296"/>
                        <a:pt x="892832" y="0"/>
                        <a:pt x="856324" y="0"/>
                      </a:cubicBezTo>
                      <a:lnTo>
                        <a:pt x="83592" y="0"/>
                      </a:lnTo>
                      <a:cubicBezTo>
                        <a:pt x="25789" y="0"/>
                        <a:pt x="-13761" y="54761"/>
                        <a:pt x="4493" y="109521"/>
                      </a:cubicBezTo>
                      <a:lnTo>
                        <a:pt x="418240" y="1429859"/>
                      </a:lnTo>
                      <a:cubicBezTo>
                        <a:pt x="430409" y="1463324"/>
                        <a:pt x="463874" y="1487662"/>
                        <a:pt x="500381" y="148766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4" name="任意多边形: 形状 143">
                  <a:extLst>
                    <a:ext uri="{FF2B5EF4-FFF2-40B4-BE49-F238E27FC236}">
                      <a16:creationId xmlns:a16="http://schemas.microsoft.com/office/drawing/2014/main" id="{52C04C8C-5C60-4902-A33E-4DED138F2B9F}"/>
                    </a:ext>
                  </a:extLst>
                </p:cNvPr>
                <p:cNvSpPr/>
                <p:nvPr/>
              </p:nvSpPr>
              <p:spPr>
                <a:xfrm>
                  <a:off x="16361328" y="4628451"/>
                  <a:ext cx="1621520" cy="1691493"/>
                </a:xfrm>
                <a:custGeom>
                  <a:avLst/>
                  <a:gdLst>
                    <a:gd name="connsiteX0" fmla="*/ 307268 w 1621520"/>
                    <a:gd name="connsiteY0" fmla="*/ 0 h 1691493"/>
                    <a:gd name="connsiteX1" fmla="*/ 0 w 1621520"/>
                    <a:gd name="connsiteY1" fmla="*/ 261634 h 1691493"/>
                    <a:gd name="connsiteX2" fmla="*/ 1314254 w 1621520"/>
                    <a:gd name="connsiteY2" fmla="*/ 1691493 h 1691493"/>
                    <a:gd name="connsiteX3" fmla="*/ 1621521 w 1621520"/>
                    <a:gd name="connsiteY3" fmla="*/ 1429859 h 1691493"/>
                    <a:gd name="connsiteX4" fmla="*/ 1031324 w 1621520"/>
                    <a:gd name="connsiteY4" fmla="*/ 112563 h 16914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21520" h="1691493">
                      <a:moveTo>
                        <a:pt x="307268" y="0"/>
                      </a:moveTo>
                      <a:lnTo>
                        <a:pt x="0" y="261634"/>
                      </a:lnTo>
                      <a:lnTo>
                        <a:pt x="1314254" y="1691493"/>
                      </a:lnTo>
                      <a:lnTo>
                        <a:pt x="1621521" y="1429859"/>
                      </a:lnTo>
                      <a:lnTo>
                        <a:pt x="1031324" y="112563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5" name="任意多边形: 形状 144">
                  <a:extLst>
                    <a:ext uri="{FF2B5EF4-FFF2-40B4-BE49-F238E27FC236}">
                      <a16:creationId xmlns:a16="http://schemas.microsoft.com/office/drawing/2014/main" id="{3C68EEFC-D15E-4218-B039-A5FCAA778EDA}"/>
                    </a:ext>
                  </a:extLst>
                </p:cNvPr>
                <p:cNvSpPr/>
                <p:nvPr/>
              </p:nvSpPr>
              <p:spPr>
                <a:xfrm>
                  <a:off x="16338581" y="4865747"/>
                  <a:ext cx="1353662" cy="1487661"/>
                </a:xfrm>
                <a:custGeom>
                  <a:avLst/>
                  <a:gdLst>
                    <a:gd name="connsiteX0" fmla="*/ 497339 w 1353662"/>
                    <a:gd name="connsiteY0" fmla="*/ 1487662 h 1487661"/>
                    <a:gd name="connsiteX1" fmla="*/ 1270071 w 1353662"/>
                    <a:gd name="connsiteY1" fmla="*/ 1487662 h 1487661"/>
                    <a:gd name="connsiteX2" fmla="*/ 1349170 w 1353662"/>
                    <a:gd name="connsiteY2" fmla="*/ 1378141 h 1487661"/>
                    <a:gd name="connsiteX3" fmla="*/ 935423 w 1353662"/>
                    <a:gd name="connsiteY3" fmla="*/ 57803 h 1487661"/>
                    <a:gd name="connsiteX4" fmla="*/ 856324 w 1353662"/>
                    <a:gd name="connsiteY4" fmla="*/ 0 h 1487661"/>
                    <a:gd name="connsiteX5" fmla="*/ 83592 w 1353662"/>
                    <a:gd name="connsiteY5" fmla="*/ 0 h 1487661"/>
                    <a:gd name="connsiteX6" fmla="*/ 4493 w 1353662"/>
                    <a:gd name="connsiteY6" fmla="*/ 109521 h 1487661"/>
                    <a:gd name="connsiteX7" fmla="*/ 418240 w 1353662"/>
                    <a:gd name="connsiteY7" fmla="*/ 1429859 h 1487661"/>
                    <a:gd name="connsiteX8" fmla="*/ 497339 w 1353662"/>
                    <a:gd name="connsiteY8" fmla="*/ 1487662 h 14876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3662" h="1487661">
                      <a:moveTo>
                        <a:pt x="497339" y="1487662"/>
                      </a:moveTo>
                      <a:lnTo>
                        <a:pt x="1270071" y="1487662"/>
                      </a:lnTo>
                      <a:cubicBezTo>
                        <a:pt x="1327873" y="1487662"/>
                        <a:pt x="1367423" y="1432901"/>
                        <a:pt x="1349170" y="1378141"/>
                      </a:cubicBezTo>
                      <a:lnTo>
                        <a:pt x="935423" y="57803"/>
                      </a:lnTo>
                      <a:cubicBezTo>
                        <a:pt x="923254" y="21296"/>
                        <a:pt x="892832" y="0"/>
                        <a:pt x="856324" y="0"/>
                      </a:cubicBezTo>
                      <a:lnTo>
                        <a:pt x="83592" y="0"/>
                      </a:lnTo>
                      <a:cubicBezTo>
                        <a:pt x="25789" y="0"/>
                        <a:pt x="-13761" y="54760"/>
                        <a:pt x="4493" y="109521"/>
                      </a:cubicBezTo>
                      <a:lnTo>
                        <a:pt x="418240" y="1429859"/>
                      </a:lnTo>
                      <a:cubicBezTo>
                        <a:pt x="427366" y="1463324"/>
                        <a:pt x="460831" y="1487662"/>
                        <a:pt x="497339" y="1487662"/>
                      </a:cubicBezTo>
                      <a:close/>
                    </a:path>
                  </a:pathLst>
                </a:custGeom>
                <a:solidFill>
                  <a:srgbClr val="C6554F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6" name="任意多边形: 形状 145">
                  <a:extLst>
                    <a:ext uri="{FF2B5EF4-FFF2-40B4-BE49-F238E27FC236}">
                      <a16:creationId xmlns:a16="http://schemas.microsoft.com/office/drawing/2014/main" id="{B3CF34EB-FE3D-4EEF-B954-10D89B6F3CB3}"/>
                    </a:ext>
                  </a:extLst>
                </p:cNvPr>
                <p:cNvSpPr/>
                <p:nvPr/>
              </p:nvSpPr>
              <p:spPr>
                <a:xfrm>
                  <a:off x="16568201" y="4701465"/>
                  <a:ext cx="1299042" cy="1463323"/>
                </a:xfrm>
                <a:custGeom>
                  <a:avLst/>
                  <a:gdLst>
                    <a:gd name="connsiteX0" fmla="*/ 1292958 w 1299042"/>
                    <a:gd name="connsiteY0" fmla="*/ 1463324 h 1463323"/>
                    <a:gd name="connsiteX1" fmla="*/ 1286874 w 1299042"/>
                    <a:gd name="connsiteY1" fmla="*/ 1460282 h 1463323"/>
                    <a:gd name="connsiteX2" fmla="*/ 851831 w 1299042"/>
                    <a:gd name="connsiteY2" fmla="*/ 66929 h 1463323"/>
                    <a:gd name="connsiteX3" fmla="*/ 775775 w 1299042"/>
                    <a:gd name="connsiteY3" fmla="*/ 12169 h 1463323"/>
                    <a:gd name="connsiteX4" fmla="*/ 6085 w 1299042"/>
                    <a:gd name="connsiteY4" fmla="*/ 12169 h 1463323"/>
                    <a:gd name="connsiteX5" fmla="*/ 0 w 1299042"/>
                    <a:gd name="connsiteY5" fmla="*/ 6084 h 1463323"/>
                    <a:gd name="connsiteX6" fmla="*/ 6085 w 1299042"/>
                    <a:gd name="connsiteY6" fmla="*/ 0 h 1463323"/>
                    <a:gd name="connsiteX7" fmla="*/ 778817 w 1299042"/>
                    <a:gd name="connsiteY7" fmla="*/ 0 h 1463323"/>
                    <a:gd name="connsiteX8" fmla="*/ 864001 w 1299042"/>
                    <a:gd name="connsiteY8" fmla="*/ 63887 h 1463323"/>
                    <a:gd name="connsiteX9" fmla="*/ 1299043 w 1299042"/>
                    <a:gd name="connsiteY9" fmla="*/ 1457240 h 1463323"/>
                    <a:gd name="connsiteX10" fmla="*/ 1292958 w 1299042"/>
                    <a:gd name="connsiteY10" fmla="*/ 1463324 h 1463323"/>
                    <a:gd name="connsiteX11" fmla="*/ 1292958 w 1299042"/>
                    <a:gd name="connsiteY11" fmla="*/ 1463324 h 14633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99042" h="1463323">
                      <a:moveTo>
                        <a:pt x="1292958" y="1463324"/>
                      </a:moveTo>
                      <a:cubicBezTo>
                        <a:pt x="1289916" y="1463324"/>
                        <a:pt x="1286874" y="1460282"/>
                        <a:pt x="1286874" y="1460282"/>
                      </a:cubicBezTo>
                      <a:lnTo>
                        <a:pt x="851831" y="66929"/>
                      </a:lnTo>
                      <a:cubicBezTo>
                        <a:pt x="842705" y="33465"/>
                        <a:pt x="812282" y="12169"/>
                        <a:pt x="775775" y="12169"/>
                      </a:cubicBezTo>
                      <a:lnTo>
                        <a:pt x="6085" y="12169"/>
                      </a:lnTo>
                      <a:cubicBezTo>
                        <a:pt x="3042" y="12169"/>
                        <a:pt x="0" y="9127"/>
                        <a:pt x="0" y="6084"/>
                      </a:cubicBezTo>
                      <a:cubicBezTo>
                        <a:pt x="0" y="3042"/>
                        <a:pt x="3042" y="0"/>
                        <a:pt x="6085" y="0"/>
                      </a:cubicBezTo>
                      <a:lnTo>
                        <a:pt x="778817" y="0"/>
                      </a:lnTo>
                      <a:cubicBezTo>
                        <a:pt x="818367" y="0"/>
                        <a:pt x="851831" y="24338"/>
                        <a:pt x="864001" y="63887"/>
                      </a:cubicBezTo>
                      <a:lnTo>
                        <a:pt x="1299043" y="1457240"/>
                      </a:lnTo>
                      <a:cubicBezTo>
                        <a:pt x="1299043" y="1460282"/>
                        <a:pt x="1299043" y="1463324"/>
                        <a:pt x="1292958" y="1463324"/>
                      </a:cubicBezTo>
                      <a:cubicBezTo>
                        <a:pt x="1296000" y="1463324"/>
                        <a:pt x="1292958" y="1463324"/>
                        <a:pt x="1292958" y="1463324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7" name="任意多边形: 形状 146">
                  <a:extLst>
                    <a:ext uri="{FF2B5EF4-FFF2-40B4-BE49-F238E27FC236}">
                      <a16:creationId xmlns:a16="http://schemas.microsoft.com/office/drawing/2014/main" id="{884BE6C4-7338-4DAC-8BC3-02BFAEDFB5B1}"/>
                    </a:ext>
                  </a:extLst>
                </p:cNvPr>
                <p:cNvSpPr/>
                <p:nvPr/>
              </p:nvSpPr>
              <p:spPr>
                <a:xfrm>
                  <a:off x="16632088" y="4865747"/>
                  <a:ext cx="374197" cy="127774"/>
                </a:xfrm>
                <a:custGeom>
                  <a:avLst/>
                  <a:gdLst>
                    <a:gd name="connsiteX0" fmla="*/ 45634 w 374197"/>
                    <a:gd name="connsiteY0" fmla="*/ 127775 h 127774"/>
                    <a:gd name="connsiteX1" fmla="*/ 374198 w 374197"/>
                    <a:gd name="connsiteY1" fmla="*/ 127775 h 127774"/>
                    <a:gd name="connsiteX2" fmla="*/ 331605 w 374197"/>
                    <a:gd name="connsiteY2" fmla="*/ 0 h 127774"/>
                    <a:gd name="connsiteX3" fmla="*/ 0 w 374197"/>
                    <a:gd name="connsiteY3" fmla="*/ 0 h 127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4197" h="127774">
                      <a:moveTo>
                        <a:pt x="45634" y="127775"/>
                      </a:moveTo>
                      <a:lnTo>
                        <a:pt x="374198" y="127775"/>
                      </a:lnTo>
                      <a:lnTo>
                        <a:pt x="33160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8343B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A6DE842A-D7E1-4122-B86B-4BCC28FD539E}"/>
                    </a:ext>
                  </a:extLst>
                </p:cNvPr>
                <p:cNvSpPr/>
                <p:nvPr/>
              </p:nvSpPr>
              <p:spPr>
                <a:xfrm>
                  <a:off x="16632088" y="4777522"/>
                  <a:ext cx="404620" cy="88225"/>
                </a:xfrm>
                <a:custGeom>
                  <a:avLst/>
                  <a:gdLst>
                    <a:gd name="connsiteX0" fmla="*/ 0 w 404620"/>
                    <a:gd name="connsiteY0" fmla="*/ 88225 h 88225"/>
                    <a:gd name="connsiteX1" fmla="*/ 331605 w 404620"/>
                    <a:gd name="connsiteY1" fmla="*/ 88225 h 88225"/>
                    <a:gd name="connsiteX2" fmla="*/ 404620 w 404620"/>
                    <a:gd name="connsiteY2" fmla="*/ 0 h 88225"/>
                    <a:gd name="connsiteX3" fmla="*/ 76056 w 404620"/>
                    <a:gd name="connsiteY3" fmla="*/ 0 h 882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4620" h="88225">
                      <a:moveTo>
                        <a:pt x="0" y="88225"/>
                      </a:moveTo>
                      <a:lnTo>
                        <a:pt x="331605" y="88225"/>
                      </a:lnTo>
                      <a:lnTo>
                        <a:pt x="404620" y="0"/>
                      </a:lnTo>
                      <a:lnTo>
                        <a:pt x="76056" y="0"/>
                      </a:lnTo>
                      <a:close/>
                    </a:path>
                  </a:pathLst>
                </a:custGeom>
                <a:solidFill>
                  <a:srgbClr val="38343B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59853F87-9E0F-42D9-A8E6-84A8E6E7F817}"/>
                  </a:ext>
                </a:extLst>
              </p:cNvPr>
              <p:cNvSpPr/>
              <p:nvPr/>
            </p:nvSpPr>
            <p:spPr>
              <a:xfrm>
                <a:off x="16417311" y="3953071"/>
                <a:ext cx="559361" cy="885295"/>
              </a:xfrm>
              <a:custGeom>
                <a:avLst/>
                <a:gdLst>
                  <a:gd name="connsiteX0" fmla="*/ 543341 w 559361"/>
                  <a:gd name="connsiteY0" fmla="*/ 885296 h 885295"/>
                  <a:gd name="connsiteX1" fmla="*/ 528130 w 559361"/>
                  <a:gd name="connsiteY1" fmla="*/ 876169 h 885295"/>
                  <a:gd name="connsiteX2" fmla="*/ 263454 w 559361"/>
                  <a:gd name="connsiteY2" fmla="*/ 39549 h 885295"/>
                  <a:gd name="connsiteX3" fmla="*/ 251285 w 559361"/>
                  <a:gd name="connsiteY3" fmla="*/ 30423 h 885295"/>
                  <a:gd name="connsiteX4" fmla="*/ 44411 w 559361"/>
                  <a:gd name="connsiteY4" fmla="*/ 30423 h 885295"/>
                  <a:gd name="connsiteX5" fmla="*/ 32242 w 559361"/>
                  <a:gd name="connsiteY5" fmla="*/ 36507 h 885295"/>
                  <a:gd name="connsiteX6" fmla="*/ 29200 w 559361"/>
                  <a:gd name="connsiteY6" fmla="*/ 48676 h 885295"/>
                  <a:gd name="connsiteX7" fmla="*/ 290834 w 559361"/>
                  <a:gd name="connsiteY7" fmla="*/ 864000 h 885295"/>
                  <a:gd name="connsiteX8" fmla="*/ 281707 w 559361"/>
                  <a:gd name="connsiteY8" fmla="*/ 882254 h 885295"/>
                  <a:gd name="connsiteX9" fmla="*/ 263454 w 559361"/>
                  <a:gd name="connsiteY9" fmla="*/ 873127 h 885295"/>
                  <a:gd name="connsiteX10" fmla="*/ 1820 w 559361"/>
                  <a:gd name="connsiteY10" fmla="*/ 57803 h 885295"/>
                  <a:gd name="connsiteX11" fmla="*/ 7904 w 559361"/>
                  <a:gd name="connsiteY11" fmla="*/ 18253 h 885295"/>
                  <a:gd name="connsiteX12" fmla="*/ 44411 w 559361"/>
                  <a:gd name="connsiteY12" fmla="*/ 0 h 885295"/>
                  <a:gd name="connsiteX13" fmla="*/ 251285 w 559361"/>
                  <a:gd name="connsiteY13" fmla="*/ 0 h 885295"/>
                  <a:gd name="connsiteX14" fmla="*/ 293876 w 559361"/>
                  <a:gd name="connsiteY14" fmla="*/ 30423 h 885295"/>
                  <a:gd name="connsiteX15" fmla="*/ 558553 w 559361"/>
                  <a:gd name="connsiteY15" fmla="*/ 867042 h 885295"/>
                  <a:gd name="connsiteX16" fmla="*/ 549425 w 559361"/>
                  <a:gd name="connsiteY16" fmla="*/ 885296 h 885295"/>
                  <a:gd name="connsiteX17" fmla="*/ 543341 w 559361"/>
                  <a:gd name="connsiteY17" fmla="*/ 885296 h 885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59361" h="885295">
                    <a:moveTo>
                      <a:pt x="543341" y="885296"/>
                    </a:moveTo>
                    <a:cubicBezTo>
                      <a:pt x="537256" y="885296"/>
                      <a:pt x="531172" y="882254"/>
                      <a:pt x="528130" y="876169"/>
                    </a:cubicBezTo>
                    <a:lnTo>
                      <a:pt x="263454" y="39549"/>
                    </a:lnTo>
                    <a:cubicBezTo>
                      <a:pt x="260411" y="33465"/>
                      <a:pt x="257369" y="30423"/>
                      <a:pt x="251285" y="30423"/>
                    </a:cubicBezTo>
                    <a:lnTo>
                      <a:pt x="44411" y="30423"/>
                    </a:lnTo>
                    <a:cubicBezTo>
                      <a:pt x="41369" y="30423"/>
                      <a:pt x="35285" y="33465"/>
                      <a:pt x="32242" y="36507"/>
                    </a:cubicBezTo>
                    <a:cubicBezTo>
                      <a:pt x="29200" y="39549"/>
                      <a:pt x="29200" y="45634"/>
                      <a:pt x="29200" y="48676"/>
                    </a:cubicBezTo>
                    <a:lnTo>
                      <a:pt x="290834" y="864000"/>
                    </a:lnTo>
                    <a:cubicBezTo>
                      <a:pt x="293876" y="873127"/>
                      <a:pt x="287791" y="879211"/>
                      <a:pt x="281707" y="882254"/>
                    </a:cubicBezTo>
                    <a:cubicBezTo>
                      <a:pt x="272580" y="885296"/>
                      <a:pt x="266496" y="879211"/>
                      <a:pt x="263454" y="873127"/>
                    </a:cubicBezTo>
                    <a:lnTo>
                      <a:pt x="1820" y="57803"/>
                    </a:lnTo>
                    <a:cubicBezTo>
                      <a:pt x="-1223" y="45634"/>
                      <a:pt x="-1223" y="30423"/>
                      <a:pt x="7904" y="18253"/>
                    </a:cubicBezTo>
                    <a:cubicBezTo>
                      <a:pt x="17031" y="6084"/>
                      <a:pt x="29200" y="0"/>
                      <a:pt x="44411" y="0"/>
                    </a:cubicBezTo>
                    <a:lnTo>
                      <a:pt x="251285" y="0"/>
                    </a:lnTo>
                    <a:cubicBezTo>
                      <a:pt x="269538" y="0"/>
                      <a:pt x="287791" y="12169"/>
                      <a:pt x="293876" y="30423"/>
                    </a:cubicBezTo>
                    <a:lnTo>
                      <a:pt x="558553" y="867042"/>
                    </a:lnTo>
                    <a:cubicBezTo>
                      <a:pt x="561594" y="876169"/>
                      <a:pt x="555510" y="882254"/>
                      <a:pt x="549425" y="885296"/>
                    </a:cubicBezTo>
                    <a:cubicBezTo>
                      <a:pt x="546383" y="885296"/>
                      <a:pt x="543341" y="885296"/>
                      <a:pt x="543341" y="88529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C2968F50-B8B0-4987-B0E1-DD6C5F205835}"/>
                  </a:ext>
                </a:extLst>
              </p:cNvPr>
              <p:cNvSpPr/>
              <p:nvPr/>
            </p:nvSpPr>
            <p:spPr>
              <a:xfrm>
                <a:off x="16361328" y="3913522"/>
                <a:ext cx="404619" cy="109521"/>
              </a:xfrm>
              <a:custGeom>
                <a:avLst/>
                <a:gdLst>
                  <a:gd name="connsiteX0" fmla="*/ 54760 w 404619"/>
                  <a:gd name="connsiteY0" fmla="*/ 109521 h 109521"/>
                  <a:gd name="connsiteX1" fmla="*/ 349859 w 404619"/>
                  <a:gd name="connsiteY1" fmla="*/ 109521 h 109521"/>
                  <a:gd name="connsiteX2" fmla="*/ 404619 w 404619"/>
                  <a:gd name="connsiteY2" fmla="*/ 54761 h 109521"/>
                  <a:gd name="connsiteX3" fmla="*/ 404619 w 404619"/>
                  <a:gd name="connsiteY3" fmla="*/ 54761 h 109521"/>
                  <a:gd name="connsiteX4" fmla="*/ 349859 w 404619"/>
                  <a:gd name="connsiteY4" fmla="*/ 0 h 109521"/>
                  <a:gd name="connsiteX5" fmla="*/ 54760 w 404619"/>
                  <a:gd name="connsiteY5" fmla="*/ 0 h 109521"/>
                  <a:gd name="connsiteX6" fmla="*/ 0 w 404619"/>
                  <a:gd name="connsiteY6" fmla="*/ 54761 h 109521"/>
                  <a:gd name="connsiteX7" fmla="*/ 0 w 404619"/>
                  <a:gd name="connsiteY7" fmla="*/ 54761 h 109521"/>
                  <a:gd name="connsiteX8" fmla="*/ 54760 w 404619"/>
                  <a:gd name="connsiteY8" fmla="*/ 109521 h 109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4619" h="109521">
                    <a:moveTo>
                      <a:pt x="54760" y="109521"/>
                    </a:moveTo>
                    <a:lnTo>
                      <a:pt x="349859" y="109521"/>
                    </a:lnTo>
                    <a:cubicBezTo>
                      <a:pt x="380282" y="109521"/>
                      <a:pt x="404619" y="85183"/>
                      <a:pt x="404619" y="54761"/>
                    </a:cubicBezTo>
                    <a:lnTo>
                      <a:pt x="404619" y="54761"/>
                    </a:lnTo>
                    <a:cubicBezTo>
                      <a:pt x="404619" y="24338"/>
                      <a:pt x="380282" y="0"/>
                      <a:pt x="349859" y="0"/>
                    </a:cubicBezTo>
                    <a:lnTo>
                      <a:pt x="54760" y="0"/>
                    </a:lnTo>
                    <a:cubicBezTo>
                      <a:pt x="24338" y="0"/>
                      <a:pt x="0" y="24338"/>
                      <a:pt x="0" y="54761"/>
                    </a:cubicBezTo>
                    <a:lnTo>
                      <a:pt x="0" y="54761"/>
                    </a:lnTo>
                    <a:cubicBezTo>
                      <a:pt x="0" y="85183"/>
                      <a:pt x="24338" y="109521"/>
                      <a:pt x="54760" y="10952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4" name="图形 1">
              <a:extLst>
                <a:ext uri="{FF2B5EF4-FFF2-40B4-BE49-F238E27FC236}">
                  <a16:creationId xmlns:a16="http://schemas.microsoft.com/office/drawing/2014/main" id="{5054B0A2-FF74-4478-AFAE-2AEC61DF459F}"/>
                </a:ext>
              </a:extLst>
            </p:cNvPr>
            <p:cNvGrpSpPr/>
            <p:nvPr/>
          </p:nvGrpSpPr>
          <p:grpSpPr>
            <a:xfrm>
              <a:off x="16462111" y="3787200"/>
              <a:ext cx="196736" cy="252981"/>
              <a:chOff x="16462111" y="3787200"/>
              <a:chExt cx="196736" cy="252981"/>
            </a:xfrm>
          </p:grpSpPr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3FB1E520-EC5F-4BD4-ADA4-A12B1DA82BBB}"/>
                  </a:ext>
                </a:extLst>
              </p:cNvPr>
              <p:cNvSpPr/>
              <p:nvPr/>
            </p:nvSpPr>
            <p:spPr>
              <a:xfrm>
                <a:off x="16469678" y="3787200"/>
                <a:ext cx="189169" cy="252981"/>
              </a:xfrm>
              <a:custGeom>
                <a:avLst/>
                <a:gdLst>
                  <a:gd name="connsiteX0" fmla="*/ 10298 w 189169"/>
                  <a:gd name="connsiteY0" fmla="*/ 1590 h 252981"/>
                  <a:gd name="connsiteX1" fmla="*/ 4214 w 189169"/>
                  <a:gd name="connsiteY1" fmla="*/ 193252 h 252981"/>
                  <a:gd name="connsiteX2" fmla="*/ 16383 w 189169"/>
                  <a:gd name="connsiteY2" fmla="*/ 244970 h 252981"/>
                  <a:gd name="connsiteX3" fmla="*/ 46805 w 189169"/>
                  <a:gd name="connsiteY3" fmla="*/ 238885 h 252981"/>
                  <a:gd name="connsiteX4" fmla="*/ 92439 w 189169"/>
                  <a:gd name="connsiteY4" fmla="*/ 241928 h 252981"/>
                  <a:gd name="connsiteX5" fmla="*/ 119819 w 189169"/>
                  <a:gd name="connsiteY5" fmla="*/ 251054 h 252981"/>
                  <a:gd name="connsiteX6" fmla="*/ 144157 w 189169"/>
                  <a:gd name="connsiteY6" fmla="*/ 226716 h 252981"/>
                  <a:gd name="connsiteX7" fmla="*/ 186749 w 189169"/>
                  <a:gd name="connsiteY7" fmla="*/ 211505 h 252981"/>
                  <a:gd name="connsiteX8" fmla="*/ 119819 w 189169"/>
                  <a:gd name="connsiteY8" fmla="*/ 13759 h 252981"/>
                  <a:gd name="connsiteX9" fmla="*/ 10298 w 189169"/>
                  <a:gd name="connsiteY9" fmla="*/ 1590 h 252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9169" h="252981">
                    <a:moveTo>
                      <a:pt x="10298" y="1590"/>
                    </a:moveTo>
                    <a:cubicBezTo>
                      <a:pt x="-7956" y="77646"/>
                      <a:pt x="13340" y="114153"/>
                      <a:pt x="4214" y="193252"/>
                    </a:cubicBezTo>
                    <a:cubicBezTo>
                      <a:pt x="4214" y="205421"/>
                      <a:pt x="-10998" y="235843"/>
                      <a:pt x="16383" y="244970"/>
                    </a:cubicBezTo>
                    <a:cubicBezTo>
                      <a:pt x="22466" y="248012"/>
                      <a:pt x="40720" y="254097"/>
                      <a:pt x="46805" y="238885"/>
                    </a:cubicBezTo>
                    <a:cubicBezTo>
                      <a:pt x="55931" y="257139"/>
                      <a:pt x="89396" y="257139"/>
                      <a:pt x="92439" y="241928"/>
                    </a:cubicBezTo>
                    <a:cubicBezTo>
                      <a:pt x="95481" y="248012"/>
                      <a:pt x="113734" y="251054"/>
                      <a:pt x="119819" y="251054"/>
                    </a:cubicBezTo>
                    <a:cubicBezTo>
                      <a:pt x="135030" y="248012"/>
                      <a:pt x="141115" y="241928"/>
                      <a:pt x="144157" y="226716"/>
                    </a:cubicBezTo>
                    <a:cubicBezTo>
                      <a:pt x="159368" y="235843"/>
                      <a:pt x="180664" y="232801"/>
                      <a:pt x="186749" y="211505"/>
                    </a:cubicBezTo>
                    <a:cubicBezTo>
                      <a:pt x="192833" y="184125"/>
                      <a:pt x="192833" y="77646"/>
                      <a:pt x="119819" y="13759"/>
                    </a:cubicBezTo>
                    <a:cubicBezTo>
                      <a:pt x="104608" y="-1453"/>
                      <a:pt x="7255" y="-1453"/>
                      <a:pt x="10298" y="1590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BEDC588E-F56F-46DE-B000-25B3A98E341F}"/>
                  </a:ext>
                </a:extLst>
              </p:cNvPr>
              <p:cNvSpPr/>
              <p:nvPr/>
            </p:nvSpPr>
            <p:spPr>
              <a:xfrm>
                <a:off x="16462111" y="3901353"/>
                <a:ext cx="64758" cy="136901"/>
              </a:xfrm>
              <a:custGeom>
                <a:avLst/>
                <a:gdLst>
                  <a:gd name="connsiteX0" fmla="*/ 30033 w 64758"/>
                  <a:gd name="connsiteY0" fmla="*/ 136901 h 136901"/>
                  <a:gd name="connsiteX1" fmla="*/ 17864 w 64758"/>
                  <a:gd name="connsiteY1" fmla="*/ 133859 h 136901"/>
                  <a:gd name="connsiteX2" fmla="*/ 2653 w 64758"/>
                  <a:gd name="connsiteY2" fmla="*/ 115606 h 136901"/>
                  <a:gd name="connsiteX3" fmla="*/ 26992 w 64758"/>
                  <a:gd name="connsiteY3" fmla="*/ 3042 h 136901"/>
                  <a:gd name="connsiteX4" fmla="*/ 36118 w 64758"/>
                  <a:gd name="connsiteY4" fmla="*/ 0 h 136901"/>
                  <a:gd name="connsiteX5" fmla="*/ 39161 w 64758"/>
                  <a:gd name="connsiteY5" fmla="*/ 9127 h 136901"/>
                  <a:gd name="connsiteX6" fmla="*/ 14822 w 64758"/>
                  <a:gd name="connsiteY6" fmla="*/ 112564 h 136901"/>
                  <a:gd name="connsiteX7" fmla="*/ 23949 w 64758"/>
                  <a:gd name="connsiteY7" fmla="*/ 124732 h 136901"/>
                  <a:gd name="connsiteX8" fmla="*/ 54372 w 64758"/>
                  <a:gd name="connsiteY8" fmla="*/ 118648 h 136901"/>
                  <a:gd name="connsiteX9" fmla="*/ 63498 w 64758"/>
                  <a:gd name="connsiteY9" fmla="*/ 121690 h 136901"/>
                  <a:gd name="connsiteX10" fmla="*/ 60456 w 64758"/>
                  <a:gd name="connsiteY10" fmla="*/ 130817 h 136901"/>
                  <a:gd name="connsiteX11" fmla="*/ 30033 w 64758"/>
                  <a:gd name="connsiteY11" fmla="*/ 136901 h 136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4758" h="136901">
                    <a:moveTo>
                      <a:pt x="30033" y="136901"/>
                    </a:moveTo>
                    <a:cubicBezTo>
                      <a:pt x="26992" y="136901"/>
                      <a:pt x="20907" y="136901"/>
                      <a:pt x="17864" y="133859"/>
                    </a:cubicBezTo>
                    <a:cubicBezTo>
                      <a:pt x="11780" y="130817"/>
                      <a:pt x="5696" y="124732"/>
                      <a:pt x="2653" y="115606"/>
                    </a:cubicBezTo>
                    <a:cubicBezTo>
                      <a:pt x="-9516" y="79099"/>
                      <a:pt x="23949" y="6085"/>
                      <a:pt x="26992" y="3042"/>
                    </a:cubicBezTo>
                    <a:cubicBezTo>
                      <a:pt x="26992" y="0"/>
                      <a:pt x="33076" y="0"/>
                      <a:pt x="36118" y="0"/>
                    </a:cubicBezTo>
                    <a:cubicBezTo>
                      <a:pt x="39161" y="0"/>
                      <a:pt x="39161" y="6085"/>
                      <a:pt x="39161" y="9127"/>
                    </a:cubicBezTo>
                    <a:cubicBezTo>
                      <a:pt x="39161" y="9127"/>
                      <a:pt x="5696" y="79099"/>
                      <a:pt x="14822" y="112564"/>
                    </a:cubicBezTo>
                    <a:cubicBezTo>
                      <a:pt x="17864" y="118648"/>
                      <a:pt x="17864" y="121690"/>
                      <a:pt x="23949" y="124732"/>
                    </a:cubicBezTo>
                    <a:cubicBezTo>
                      <a:pt x="33076" y="127775"/>
                      <a:pt x="48287" y="121690"/>
                      <a:pt x="54372" y="118648"/>
                    </a:cubicBezTo>
                    <a:cubicBezTo>
                      <a:pt x="57414" y="115606"/>
                      <a:pt x="60456" y="118648"/>
                      <a:pt x="63498" y="121690"/>
                    </a:cubicBezTo>
                    <a:cubicBezTo>
                      <a:pt x="66541" y="124732"/>
                      <a:pt x="63498" y="127775"/>
                      <a:pt x="60456" y="130817"/>
                    </a:cubicBezTo>
                    <a:cubicBezTo>
                      <a:pt x="57414" y="130817"/>
                      <a:pt x="42203" y="136901"/>
                      <a:pt x="30033" y="13690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00F7F6DF-6497-40D1-9653-2B7E4369C348}"/>
                  </a:ext>
                </a:extLst>
              </p:cNvPr>
              <p:cNvSpPr/>
              <p:nvPr/>
            </p:nvSpPr>
            <p:spPr>
              <a:xfrm>
                <a:off x="16528652" y="3977409"/>
                <a:ext cx="79098" cy="24338"/>
              </a:xfrm>
              <a:custGeom>
                <a:avLst/>
                <a:gdLst>
                  <a:gd name="connsiteX0" fmla="*/ 12169 w 79098"/>
                  <a:gd name="connsiteY0" fmla="*/ 24338 h 24338"/>
                  <a:gd name="connsiteX1" fmla="*/ 6085 w 79098"/>
                  <a:gd name="connsiteY1" fmla="*/ 24338 h 24338"/>
                  <a:gd name="connsiteX2" fmla="*/ 0 w 79098"/>
                  <a:gd name="connsiteY2" fmla="*/ 18253 h 24338"/>
                  <a:gd name="connsiteX3" fmla="*/ 6085 w 79098"/>
                  <a:gd name="connsiteY3" fmla="*/ 12169 h 24338"/>
                  <a:gd name="connsiteX4" fmla="*/ 73014 w 79098"/>
                  <a:gd name="connsiteY4" fmla="*/ 0 h 24338"/>
                  <a:gd name="connsiteX5" fmla="*/ 79099 w 79098"/>
                  <a:gd name="connsiteY5" fmla="*/ 3042 h 24338"/>
                  <a:gd name="connsiteX6" fmla="*/ 76056 w 79098"/>
                  <a:gd name="connsiteY6" fmla="*/ 9127 h 24338"/>
                  <a:gd name="connsiteX7" fmla="*/ 12169 w 79098"/>
                  <a:gd name="connsiteY7" fmla="*/ 24338 h 24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98" h="24338">
                    <a:moveTo>
                      <a:pt x="12169" y="24338"/>
                    </a:moveTo>
                    <a:cubicBezTo>
                      <a:pt x="9126" y="24338"/>
                      <a:pt x="9126" y="24338"/>
                      <a:pt x="6085" y="24338"/>
                    </a:cubicBezTo>
                    <a:cubicBezTo>
                      <a:pt x="3042" y="24338"/>
                      <a:pt x="0" y="21296"/>
                      <a:pt x="0" y="18253"/>
                    </a:cubicBezTo>
                    <a:cubicBezTo>
                      <a:pt x="0" y="15211"/>
                      <a:pt x="3042" y="12169"/>
                      <a:pt x="6085" y="12169"/>
                    </a:cubicBezTo>
                    <a:cubicBezTo>
                      <a:pt x="21296" y="15211"/>
                      <a:pt x="60845" y="3042"/>
                      <a:pt x="73014" y="0"/>
                    </a:cubicBezTo>
                    <a:cubicBezTo>
                      <a:pt x="76056" y="0"/>
                      <a:pt x="79099" y="0"/>
                      <a:pt x="79099" y="3042"/>
                    </a:cubicBezTo>
                    <a:cubicBezTo>
                      <a:pt x="79099" y="6085"/>
                      <a:pt x="79099" y="9127"/>
                      <a:pt x="76056" y="9127"/>
                    </a:cubicBezTo>
                    <a:cubicBezTo>
                      <a:pt x="73014" y="12169"/>
                      <a:pt x="30423" y="24338"/>
                      <a:pt x="12169" y="2433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868A91F7-A406-4366-AE16-6ACC5AB6CC73}"/>
                </a:ext>
              </a:extLst>
            </p:cNvPr>
            <p:cNvSpPr/>
            <p:nvPr/>
          </p:nvSpPr>
          <p:spPr>
            <a:xfrm>
              <a:off x="15441856" y="2117132"/>
              <a:ext cx="553310" cy="915644"/>
            </a:xfrm>
            <a:custGeom>
              <a:avLst/>
              <a:gdLst>
                <a:gd name="connsiteX0" fmla="*/ 25050 w 553310"/>
                <a:gd name="connsiteY0" fmla="*/ 658587 h 915644"/>
                <a:gd name="connsiteX1" fmla="*/ 149782 w 553310"/>
                <a:gd name="connsiteY1" fmla="*/ 898925 h 915644"/>
                <a:gd name="connsiteX2" fmla="*/ 314064 w 553310"/>
                <a:gd name="connsiteY2" fmla="*/ 914137 h 915644"/>
                <a:gd name="connsiteX3" fmla="*/ 475303 w 553310"/>
                <a:gd name="connsiteY3" fmla="*/ 889799 h 915644"/>
                <a:gd name="connsiteX4" fmla="*/ 548317 w 553310"/>
                <a:gd name="connsiteY4" fmla="*/ 749855 h 915644"/>
                <a:gd name="connsiteX5" fmla="*/ 432711 w 553310"/>
                <a:gd name="connsiteY5" fmla="*/ 582531 h 915644"/>
                <a:gd name="connsiteX6" fmla="*/ 417500 w 553310"/>
                <a:gd name="connsiteY6" fmla="*/ 442587 h 915644"/>
                <a:gd name="connsiteX7" fmla="*/ 335359 w 553310"/>
                <a:gd name="connsiteY7" fmla="*/ 363489 h 915644"/>
                <a:gd name="connsiteX8" fmla="*/ 295810 w 553310"/>
                <a:gd name="connsiteY8" fmla="*/ 187038 h 915644"/>
                <a:gd name="connsiteX9" fmla="*/ 6796 w 553310"/>
                <a:gd name="connsiteY9" fmla="*/ 1461 h 915644"/>
                <a:gd name="connsiteX10" fmla="*/ 58515 w 553310"/>
                <a:gd name="connsiteY10" fmla="*/ 44052 h 915644"/>
                <a:gd name="connsiteX11" fmla="*/ 113275 w 553310"/>
                <a:gd name="connsiteY11" fmla="*/ 68390 h 915644"/>
                <a:gd name="connsiteX12" fmla="*/ 25050 w 553310"/>
                <a:gd name="connsiteY12" fmla="*/ 658587 h 91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3310" h="915644">
                  <a:moveTo>
                    <a:pt x="25050" y="658587"/>
                  </a:moveTo>
                  <a:cubicBezTo>
                    <a:pt x="43303" y="752897"/>
                    <a:pt x="46345" y="862418"/>
                    <a:pt x="149782" y="898925"/>
                  </a:cubicBezTo>
                  <a:cubicBezTo>
                    <a:pt x="201500" y="917179"/>
                    <a:pt x="259303" y="917179"/>
                    <a:pt x="314064" y="914137"/>
                  </a:cubicBezTo>
                  <a:cubicBezTo>
                    <a:pt x="365781" y="911094"/>
                    <a:pt x="426626" y="911094"/>
                    <a:pt x="475303" y="889799"/>
                  </a:cubicBezTo>
                  <a:cubicBezTo>
                    <a:pt x="533105" y="865461"/>
                    <a:pt x="566570" y="810700"/>
                    <a:pt x="548317" y="749855"/>
                  </a:cubicBezTo>
                  <a:cubicBezTo>
                    <a:pt x="527021" y="682925"/>
                    <a:pt x="444880" y="649461"/>
                    <a:pt x="432711" y="582531"/>
                  </a:cubicBezTo>
                  <a:cubicBezTo>
                    <a:pt x="423585" y="533855"/>
                    <a:pt x="447923" y="488221"/>
                    <a:pt x="417500" y="442587"/>
                  </a:cubicBezTo>
                  <a:cubicBezTo>
                    <a:pt x="396204" y="409123"/>
                    <a:pt x="356655" y="393911"/>
                    <a:pt x="335359" y="363489"/>
                  </a:cubicBezTo>
                  <a:cubicBezTo>
                    <a:pt x="295810" y="311770"/>
                    <a:pt x="320148" y="244841"/>
                    <a:pt x="295810" y="187038"/>
                  </a:cubicBezTo>
                  <a:cubicBezTo>
                    <a:pt x="256261" y="92728"/>
                    <a:pt x="116317" y="-13751"/>
                    <a:pt x="6796" y="1461"/>
                  </a:cubicBezTo>
                  <a:cubicBezTo>
                    <a:pt x="-11458" y="4503"/>
                    <a:pt x="40261" y="34925"/>
                    <a:pt x="58515" y="44052"/>
                  </a:cubicBezTo>
                  <a:cubicBezTo>
                    <a:pt x="76767" y="50137"/>
                    <a:pt x="95021" y="59263"/>
                    <a:pt x="113275" y="68390"/>
                  </a:cubicBezTo>
                  <a:cubicBezTo>
                    <a:pt x="-35796" y="202249"/>
                    <a:pt x="-5373" y="479094"/>
                    <a:pt x="25050" y="658587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6FBA64BF-A023-4ADB-8682-DC5B6EF055EE}"/>
                </a:ext>
              </a:extLst>
            </p:cNvPr>
            <p:cNvSpPr/>
            <p:nvPr/>
          </p:nvSpPr>
          <p:spPr>
            <a:xfrm>
              <a:off x="14934580" y="2107071"/>
              <a:ext cx="517501" cy="852633"/>
            </a:xfrm>
            <a:custGeom>
              <a:avLst/>
              <a:gdLst>
                <a:gd name="connsiteX0" fmla="*/ 450184 w 517501"/>
                <a:gd name="connsiteY0" fmla="*/ 467859 h 852633"/>
                <a:gd name="connsiteX1" fmla="*/ 441058 w 517501"/>
                <a:gd name="connsiteY1" fmla="*/ 306620 h 852633"/>
                <a:gd name="connsiteX2" fmla="*/ 483649 w 517501"/>
                <a:gd name="connsiteY2" fmla="*/ 160591 h 852633"/>
                <a:gd name="connsiteX3" fmla="*/ 517114 w 517501"/>
                <a:gd name="connsiteY3" fmla="*/ 8479 h 852633"/>
                <a:gd name="connsiteX4" fmla="*/ 206804 w 517501"/>
                <a:gd name="connsiteY4" fmla="*/ 191014 h 852633"/>
                <a:gd name="connsiteX5" fmla="*/ 206804 w 517501"/>
                <a:gd name="connsiteY5" fmla="*/ 248817 h 852633"/>
                <a:gd name="connsiteX6" fmla="*/ 158128 w 517501"/>
                <a:gd name="connsiteY6" fmla="*/ 306620 h 852633"/>
                <a:gd name="connsiteX7" fmla="*/ 106410 w 517501"/>
                <a:gd name="connsiteY7" fmla="*/ 373549 h 852633"/>
                <a:gd name="connsiteX8" fmla="*/ 106410 w 517501"/>
                <a:gd name="connsiteY8" fmla="*/ 461775 h 852633"/>
                <a:gd name="connsiteX9" fmla="*/ 85114 w 517501"/>
                <a:gd name="connsiteY9" fmla="*/ 537831 h 852633"/>
                <a:gd name="connsiteX10" fmla="*/ 15142 w 517501"/>
                <a:gd name="connsiteY10" fmla="*/ 638225 h 852633"/>
                <a:gd name="connsiteX11" fmla="*/ 63818 w 517501"/>
                <a:gd name="connsiteY11" fmla="*/ 826845 h 852633"/>
                <a:gd name="connsiteX12" fmla="*/ 267649 w 517501"/>
                <a:gd name="connsiteY12" fmla="*/ 851183 h 852633"/>
                <a:gd name="connsiteX13" fmla="*/ 273734 w 517501"/>
                <a:gd name="connsiteY13" fmla="*/ 759915 h 852633"/>
                <a:gd name="connsiteX14" fmla="*/ 368044 w 517501"/>
                <a:gd name="connsiteY14" fmla="*/ 750789 h 852633"/>
                <a:gd name="connsiteX15" fmla="*/ 459311 w 517501"/>
                <a:gd name="connsiteY15" fmla="*/ 592592 h 852633"/>
                <a:gd name="connsiteX16" fmla="*/ 450184 w 517501"/>
                <a:gd name="connsiteY16" fmla="*/ 467859 h 852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17501" h="852633">
                  <a:moveTo>
                    <a:pt x="450184" y="467859"/>
                  </a:moveTo>
                  <a:cubicBezTo>
                    <a:pt x="441058" y="416141"/>
                    <a:pt x="434973" y="361380"/>
                    <a:pt x="441058" y="306620"/>
                  </a:cubicBezTo>
                  <a:cubicBezTo>
                    <a:pt x="447142" y="254901"/>
                    <a:pt x="462353" y="206225"/>
                    <a:pt x="483649" y="160591"/>
                  </a:cubicBezTo>
                  <a:cubicBezTo>
                    <a:pt x="504945" y="111915"/>
                    <a:pt x="520157" y="8479"/>
                    <a:pt x="517114" y="8479"/>
                  </a:cubicBezTo>
                  <a:cubicBezTo>
                    <a:pt x="401508" y="-28028"/>
                    <a:pt x="203761" y="57155"/>
                    <a:pt x="206804" y="191014"/>
                  </a:cubicBezTo>
                  <a:cubicBezTo>
                    <a:pt x="206804" y="212310"/>
                    <a:pt x="209846" y="230563"/>
                    <a:pt x="206804" y="248817"/>
                  </a:cubicBezTo>
                  <a:cubicBezTo>
                    <a:pt x="200720" y="279239"/>
                    <a:pt x="182466" y="291408"/>
                    <a:pt x="158128" y="306620"/>
                  </a:cubicBezTo>
                  <a:cubicBezTo>
                    <a:pt x="133790" y="324873"/>
                    <a:pt x="115536" y="346169"/>
                    <a:pt x="106410" y="373549"/>
                  </a:cubicBezTo>
                  <a:cubicBezTo>
                    <a:pt x="97283" y="403972"/>
                    <a:pt x="100325" y="431352"/>
                    <a:pt x="106410" y="461775"/>
                  </a:cubicBezTo>
                  <a:cubicBezTo>
                    <a:pt x="112494" y="492197"/>
                    <a:pt x="112494" y="516535"/>
                    <a:pt x="85114" y="537831"/>
                  </a:cubicBezTo>
                  <a:cubicBezTo>
                    <a:pt x="69902" y="553042"/>
                    <a:pt x="21226" y="619972"/>
                    <a:pt x="15142" y="638225"/>
                  </a:cubicBezTo>
                  <a:cubicBezTo>
                    <a:pt x="-24408" y="741662"/>
                    <a:pt x="21226" y="784254"/>
                    <a:pt x="63818" y="826845"/>
                  </a:cubicBezTo>
                  <a:cubicBezTo>
                    <a:pt x="121621" y="881606"/>
                    <a:pt x="206804" y="814676"/>
                    <a:pt x="267649" y="851183"/>
                  </a:cubicBezTo>
                  <a:cubicBezTo>
                    <a:pt x="291988" y="866394"/>
                    <a:pt x="243311" y="756873"/>
                    <a:pt x="273734" y="759915"/>
                  </a:cubicBezTo>
                  <a:cubicBezTo>
                    <a:pt x="301114" y="762958"/>
                    <a:pt x="340663" y="759915"/>
                    <a:pt x="368044" y="750789"/>
                  </a:cubicBezTo>
                  <a:cubicBezTo>
                    <a:pt x="419762" y="729493"/>
                    <a:pt x="450184" y="644310"/>
                    <a:pt x="459311" y="592592"/>
                  </a:cubicBezTo>
                  <a:cubicBezTo>
                    <a:pt x="468438" y="553042"/>
                    <a:pt x="456269" y="510451"/>
                    <a:pt x="450184" y="467859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7061012A-787B-490C-AD23-E93286FF67CD}"/>
                </a:ext>
              </a:extLst>
            </p:cNvPr>
            <p:cNvSpPr/>
            <p:nvPr/>
          </p:nvSpPr>
          <p:spPr>
            <a:xfrm>
              <a:off x="13988317" y="2763426"/>
              <a:ext cx="970863" cy="416177"/>
            </a:xfrm>
            <a:custGeom>
              <a:avLst/>
              <a:gdLst>
                <a:gd name="connsiteX0" fmla="*/ 836673 w 970863"/>
                <a:gd name="connsiteY0" fmla="*/ 118772 h 416177"/>
                <a:gd name="connsiteX1" fmla="*/ 404672 w 970863"/>
                <a:gd name="connsiteY1" fmla="*/ 213082 h 416177"/>
                <a:gd name="connsiteX2" fmla="*/ 45687 w 970863"/>
                <a:gd name="connsiteY2" fmla="*/ 124 h 416177"/>
                <a:gd name="connsiteX3" fmla="*/ 53 w 970863"/>
                <a:gd name="connsiteY3" fmla="*/ 94434 h 416177"/>
                <a:gd name="connsiteX4" fmla="*/ 340786 w 970863"/>
                <a:gd name="connsiteY4" fmla="*/ 401702 h 416177"/>
                <a:gd name="connsiteX5" fmla="*/ 906644 w 970863"/>
                <a:gd name="connsiteY5" fmla="*/ 383448 h 416177"/>
                <a:gd name="connsiteX6" fmla="*/ 836673 w 970863"/>
                <a:gd name="connsiteY6" fmla="*/ 118772 h 416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0863" h="416177">
                  <a:moveTo>
                    <a:pt x="836673" y="118772"/>
                  </a:moveTo>
                  <a:cubicBezTo>
                    <a:pt x="748448" y="127899"/>
                    <a:pt x="404672" y="213082"/>
                    <a:pt x="404672" y="213082"/>
                  </a:cubicBezTo>
                  <a:cubicBezTo>
                    <a:pt x="404672" y="213082"/>
                    <a:pt x="51772" y="-5960"/>
                    <a:pt x="45687" y="124"/>
                  </a:cubicBezTo>
                  <a:cubicBezTo>
                    <a:pt x="-15158" y="36632"/>
                    <a:pt x="21349" y="27505"/>
                    <a:pt x="53" y="94434"/>
                  </a:cubicBezTo>
                  <a:cubicBezTo>
                    <a:pt x="-2989" y="103561"/>
                    <a:pt x="124786" y="267843"/>
                    <a:pt x="340786" y="401702"/>
                  </a:cubicBezTo>
                  <a:cubicBezTo>
                    <a:pt x="398589" y="438209"/>
                    <a:pt x="760617" y="395617"/>
                    <a:pt x="906644" y="383448"/>
                  </a:cubicBezTo>
                  <a:cubicBezTo>
                    <a:pt x="994870" y="374322"/>
                    <a:pt x="1010082" y="97477"/>
                    <a:pt x="836673" y="118772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8A4A6B8E-AE8B-421D-968C-76B81142042D}"/>
                </a:ext>
              </a:extLst>
            </p:cNvPr>
            <p:cNvSpPr/>
            <p:nvPr/>
          </p:nvSpPr>
          <p:spPr>
            <a:xfrm>
              <a:off x="14794521" y="2803423"/>
              <a:ext cx="460060" cy="404295"/>
            </a:xfrm>
            <a:custGeom>
              <a:avLst/>
              <a:gdLst>
                <a:gd name="connsiteX0" fmla="*/ 70017 w 460060"/>
                <a:gd name="connsiteY0" fmla="*/ 404296 h 404295"/>
                <a:gd name="connsiteX1" fmla="*/ 459427 w 460060"/>
                <a:gd name="connsiteY1" fmla="*/ 66606 h 404295"/>
                <a:gd name="connsiteX2" fmla="*/ 9172 w 460060"/>
                <a:gd name="connsiteY2" fmla="*/ 36183 h 404295"/>
                <a:gd name="connsiteX3" fmla="*/ 70017 w 460060"/>
                <a:gd name="connsiteY3" fmla="*/ 404296 h 404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0060" h="404295">
                  <a:moveTo>
                    <a:pt x="70017" y="404296"/>
                  </a:moveTo>
                  <a:cubicBezTo>
                    <a:pt x="252553" y="395169"/>
                    <a:pt x="447258" y="145704"/>
                    <a:pt x="459427" y="66606"/>
                  </a:cubicBezTo>
                  <a:cubicBezTo>
                    <a:pt x="474638" y="-36831"/>
                    <a:pt x="213004" y="2718"/>
                    <a:pt x="9172" y="36183"/>
                  </a:cubicBezTo>
                  <a:cubicBezTo>
                    <a:pt x="-21250" y="103113"/>
                    <a:pt x="30469" y="306944"/>
                    <a:pt x="70017" y="404296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9" name="图形 1">
              <a:extLst>
                <a:ext uri="{FF2B5EF4-FFF2-40B4-BE49-F238E27FC236}">
                  <a16:creationId xmlns:a16="http://schemas.microsoft.com/office/drawing/2014/main" id="{CC8A6A38-6466-491C-A5D3-F13C20F96512}"/>
                </a:ext>
              </a:extLst>
            </p:cNvPr>
            <p:cNvGrpSpPr/>
            <p:nvPr/>
          </p:nvGrpSpPr>
          <p:grpSpPr>
            <a:xfrm>
              <a:off x="14921581" y="6134367"/>
              <a:ext cx="363765" cy="388364"/>
              <a:chOff x="14921581" y="6134367"/>
              <a:chExt cx="363765" cy="388364"/>
            </a:xfrm>
          </p:grpSpPr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0AC5841B-6563-4FF3-895D-B6F55A3AE3CB}"/>
                  </a:ext>
                </a:extLst>
              </p:cNvPr>
              <p:cNvSpPr/>
              <p:nvPr/>
            </p:nvSpPr>
            <p:spPr>
              <a:xfrm>
                <a:off x="14921581" y="6262141"/>
                <a:ext cx="363765" cy="260590"/>
              </a:xfrm>
              <a:custGeom>
                <a:avLst/>
                <a:gdLst>
                  <a:gd name="connsiteX0" fmla="*/ 225887 w 363765"/>
                  <a:gd name="connsiteY0" fmla="*/ 0 h 260590"/>
                  <a:gd name="connsiteX1" fmla="*/ 107240 w 363765"/>
                  <a:gd name="connsiteY1" fmla="*/ 164282 h 260590"/>
                  <a:gd name="connsiteX2" fmla="*/ 323239 w 363765"/>
                  <a:gd name="connsiteY2" fmla="*/ 36507 h 260590"/>
                  <a:gd name="connsiteX3" fmla="*/ 344535 w 363765"/>
                  <a:gd name="connsiteY3" fmla="*/ 21296 h 260590"/>
                  <a:gd name="connsiteX4" fmla="*/ 362789 w 363765"/>
                  <a:gd name="connsiteY4" fmla="*/ 97352 h 260590"/>
                  <a:gd name="connsiteX5" fmla="*/ 350620 w 363765"/>
                  <a:gd name="connsiteY5" fmla="*/ 234253 h 260590"/>
                  <a:gd name="connsiteX6" fmla="*/ 323239 w 363765"/>
                  <a:gd name="connsiteY6" fmla="*/ 234253 h 260590"/>
                  <a:gd name="connsiteX7" fmla="*/ 308028 w 363765"/>
                  <a:gd name="connsiteY7" fmla="*/ 124733 h 260590"/>
                  <a:gd name="connsiteX8" fmla="*/ 165042 w 363765"/>
                  <a:gd name="connsiteY8" fmla="*/ 255550 h 260590"/>
                  <a:gd name="connsiteX9" fmla="*/ 6845 w 363765"/>
                  <a:gd name="connsiteY9" fmla="*/ 258592 h 260590"/>
                  <a:gd name="connsiteX10" fmla="*/ 6845 w 363765"/>
                  <a:gd name="connsiteY10" fmla="*/ 212958 h 260590"/>
                  <a:gd name="connsiteX11" fmla="*/ 225887 w 363765"/>
                  <a:gd name="connsiteY11" fmla="*/ 0 h 260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3765" h="260590">
                    <a:moveTo>
                      <a:pt x="225887" y="0"/>
                    </a:moveTo>
                    <a:cubicBezTo>
                      <a:pt x="225887" y="0"/>
                      <a:pt x="92028" y="155155"/>
                      <a:pt x="107240" y="164282"/>
                    </a:cubicBezTo>
                    <a:cubicBezTo>
                      <a:pt x="125492" y="173408"/>
                      <a:pt x="323239" y="36507"/>
                      <a:pt x="323239" y="36507"/>
                    </a:cubicBezTo>
                    <a:lnTo>
                      <a:pt x="344535" y="21296"/>
                    </a:lnTo>
                    <a:cubicBezTo>
                      <a:pt x="344535" y="21296"/>
                      <a:pt x="368873" y="69972"/>
                      <a:pt x="362789" y="97352"/>
                    </a:cubicBezTo>
                    <a:cubicBezTo>
                      <a:pt x="356704" y="124733"/>
                      <a:pt x="350620" y="234253"/>
                      <a:pt x="350620" y="234253"/>
                    </a:cubicBezTo>
                    <a:lnTo>
                      <a:pt x="323239" y="234253"/>
                    </a:lnTo>
                    <a:lnTo>
                      <a:pt x="308028" y="124733"/>
                    </a:lnTo>
                    <a:cubicBezTo>
                      <a:pt x="308028" y="124733"/>
                      <a:pt x="186338" y="252507"/>
                      <a:pt x="165042" y="255550"/>
                    </a:cubicBezTo>
                    <a:cubicBezTo>
                      <a:pt x="143746" y="261634"/>
                      <a:pt x="19014" y="261634"/>
                      <a:pt x="6845" y="258592"/>
                    </a:cubicBezTo>
                    <a:cubicBezTo>
                      <a:pt x="-2282" y="258592"/>
                      <a:pt x="-2282" y="219042"/>
                      <a:pt x="6845" y="212958"/>
                    </a:cubicBezTo>
                    <a:cubicBezTo>
                      <a:pt x="85944" y="170366"/>
                      <a:pt x="225887" y="0"/>
                      <a:pt x="225887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490E1B4E-B3F4-49C2-B852-B13F036E3773}"/>
                  </a:ext>
                </a:extLst>
              </p:cNvPr>
              <p:cNvSpPr/>
              <p:nvPr/>
            </p:nvSpPr>
            <p:spPr>
              <a:xfrm>
                <a:off x="15029657" y="6134367"/>
                <a:ext cx="236491" cy="293794"/>
              </a:xfrm>
              <a:custGeom>
                <a:avLst/>
                <a:gdLst>
                  <a:gd name="connsiteX0" fmla="*/ 169529 w 236491"/>
                  <a:gd name="connsiteY0" fmla="*/ 0 h 293794"/>
                  <a:gd name="connsiteX1" fmla="*/ 120854 w 236491"/>
                  <a:gd name="connsiteY1" fmla="*/ 127775 h 293794"/>
                  <a:gd name="connsiteX2" fmla="*/ 2205 w 236491"/>
                  <a:gd name="connsiteY2" fmla="*/ 292057 h 293794"/>
                  <a:gd name="connsiteX3" fmla="*/ 236459 w 236491"/>
                  <a:gd name="connsiteY3" fmla="*/ 149070 h 293794"/>
                  <a:gd name="connsiteX4" fmla="*/ 227333 w 236491"/>
                  <a:gd name="connsiteY4" fmla="*/ 0 h 293794"/>
                  <a:gd name="connsiteX5" fmla="*/ 169529 w 236491"/>
                  <a:gd name="connsiteY5" fmla="*/ 0 h 293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6491" h="293794">
                    <a:moveTo>
                      <a:pt x="169529" y="0"/>
                    </a:moveTo>
                    <a:lnTo>
                      <a:pt x="120854" y="127775"/>
                    </a:lnTo>
                    <a:cubicBezTo>
                      <a:pt x="120854" y="127775"/>
                      <a:pt x="-19090" y="276845"/>
                      <a:pt x="2205" y="292057"/>
                    </a:cubicBezTo>
                    <a:cubicBezTo>
                      <a:pt x="23501" y="310310"/>
                      <a:pt x="239502" y="179493"/>
                      <a:pt x="236459" y="149070"/>
                    </a:cubicBezTo>
                    <a:cubicBezTo>
                      <a:pt x="236459" y="100394"/>
                      <a:pt x="227333" y="0"/>
                      <a:pt x="227333" y="0"/>
                    </a:cubicBezTo>
                    <a:lnTo>
                      <a:pt x="169529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0" name="图形 1">
              <a:extLst>
                <a:ext uri="{FF2B5EF4-FFF2-40B4-BE49-F238E27FC236}">
                  <a16:creationId xmlns:a16="http://schemas.microsoft.com/office/drawing/2014/main" id="{B5C68722-AC1B-4EDE-B661-5122D4AD3FEA}"/>
                </a:ext>
              </a:extLst>
            </p:cNvPr>
            <p:cNvGrpSpPr/>
            <p:nvPr/>
          </p:nvGrpSpPr>
          <p:grpSpPr>
            <a:xfrm>
              <a:off x="15810908" y="6076564"/>
              <a:ext cx="328335" cy="450432"/>
              <a:chOff x="15810908" y="6076564"/>
              <a:chExt cx="328335" cy="450432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370AEFAF-5623-4556-8FB8-378F95653CA2}"/>
                  </a:ext>
                </a:extLst>
              </p:cNvPr>
              <p:cNvSpPr/>
              <p:nvPr/>
            </p:nvSpPr>
            <p:spPr>
              <a:xfrm>
                <a:off x="15810908" y="6183043"/>
                <a:ext cx="328335" cy="343953"/>
              </a:xfrm>
              <a:custGeom>
                <a:avLst/>
                <a:gdLst>
                  <a:gd name="connsiteX0" fmla="*/ 133631 w 328335"/>
                  <a:gd name="connsiteY0" fmla="*/ 18253 h 343953"/>
                  <a:gd name="connsiteX1" fmla="*/ 78870 w 328335"/>
                  <a:gd name="connsiteY1" fmla="*/ 212958 h 343953"/>
                  <a:gd name="connsiteX2" fmla="*/ 237068 w 328335"/>
                  <a:gd name="connsiteY2" fmla="*/ 21296 h 343953"/>
                  <a:gd name="connsiteX3" fmla="*/ 249237 w 328335"/>
                  <a:gd name="connsiteY3" fmla="*/ 0 h 343953"/>
                  <a:gd name="connsiteX4" fmla="*/ 291828 w 328335"/>
                  <a:gd name="connsiteY4" fmla="*/ 66929 h 343953"/>
                  <a:gd name="connsiteX5" fmla="*/ 328336 w 328335"/>
                  <a:gd name="connsiteY5" fmla="*/ 200788 h 343953"/>
                  <a:gd name="connsiteX6" fmla="*/ 303997 w 328335"/>
                  <a:gd name="connsiteY6" fmla="*/ 209915 h 343953"/>
                  <a:gd name="connsiteX7" fmla="*/ 252279 w 328335"/>
                  <a:gd name="connsiteY7" fmla="*/ 112563 h 343953"/>
                  <a:gd name="connsiteX8" fmla="*/ 164053 w 328335"/>
                  <a:gd name="connsiteY8" fmla="*/ 285972 h 343953"/>
                  <a:gd name="connsiteX9" fmla="*/ 18025 w 328335"/>
                  <a:gd name="connsiteY9" fmla="*/ 343774 h 343953"/>
                  <a:gd name="connsiteX10" fmla="*/ 2814 w 328335"/>
                  <a:gd name="connsiteY10" fmla="*/ 298140 h 343953"/>
                  <a:gd name="connsiteX11" fmla="*/ 133631 w 328335"/>
                  <a:gd name="connsiteY11" fmla="*/ 18253 h 343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8335" h="343953">
                    <a:moveTo>
                      <a:pt x="133631" y="18253"/>
                    </a:moveTo>
                    <a:cubicBezTo>
                      <a:pt x="133631" y="18253"/>
                      <a:pt x="60617" y="209915"/>
                      <a:pt x="78870" y="212958"/>
                    </a:cubicBezTo>
                    <a:cubicBezTo>
                      <a:pt x="97124" y="216000"/>
                      <a:pt x="237068" y="21296"/>
                      <a:pt x="237068" y="21296"/>
                    </a:cubicBezTo>
                    <a:lnTo>
                      <a:pt x="249237" y="0"/>
                    </a:lnTo>
                    <a:cubicBezTo>
                      <a:pt x="249237" y="0"/>
                      <a:pt x="288786" y="39549"/>
                      <a:pt x="291828" y="66929"/>
                    </a:cubicBezTo>
                    <a:cubicBezTo>
                      <a:pt x="297913" y="94310"/>
                      <a:pt x="328336" y="200788"/>
                      <a:pt x="328336" y="200788"/>
                    </a:cubicBezTo>
                    <a:lnTo>
                      <a:pt x="303997" y="209915"/>
                    </a:lnTo>
                    <a:lnTo>
                      <a:pt x="252279" y="112563"/>
                    </a:lnTo>
                    <a:cubicBezTo>
                      <a:pt x="252279" y="112563"/>
                      <a:pt x="182307" y="273803"/>
                      <a:pt x="164053" y="285972"/>
                    </a:cubicBezTo>
                    <a:cubicBezTo>
                      <a:pt x="145800" y="298140"/>
                      <a:pt x="27152" y="340732"/>
                      <a:pt x="18025" y="343774"/>
                    </a:cubicBezTo>
                    <a:cubicBezTo>
                      <a:pt x="8899" y="346817"/>
                      <a:pt x="-6312" y="310310"/>
                      <a:pt x="2814" y="298140"/>
                    </a:cubicBezTo>
                    <a:cubicBezTo>
                      <a:pt x="57574" y="228169"/>
                      <a:pt x="133631" y="18253"/>
                      <a:pt x="133631" y="18253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52EBFE7E-6B74-4F51-A036-5C641AAE33EB}"/>
                  </a:ext>
                </a:extLst>
              </p:cNvPr>
              <p:cNvSpPr/>
              <p:nvPr/>
            </p:nvSpPr>
            <p:spPr>
              <a:xfrm>
                <a:off x="15884191" y="6076564"/>
                <a:ext cx="179383" cy="319747"/>
              </a:xfrm>
              <a:custGeom>
                <a:avLst/>
                <a:gdLst>
                  <a:gd name="connsiteX0" fmla="*/ 17757 w 179383"/>
                  <a:gd name="connsiteY0" fmla="*/ 6084 h 319747"/>
                  <a:gd name="connsiteX1" fmla="*/ 60348 w 179383"/>
                  <a:gd name="connsiteY1" fmla="*/ 124732 h 319747"/>
                  <a:gd name="connsiteX2" fmla="*/ 5588 w 179383"/>
                  <a:gd name="connsiteY2" fmla="*/ 319437 h 319747"/>
                  <a:gd name="connsiteX3" fmla="*/ 178997 w 179383"/>
                  <a:gd name="connsiteY3" fmla="*/ 103436 h 319747"/>
                  <a:gd name="connsiteX4" fmla="*/ 66433 w 179383"/>
                  <a:gd name="connsiteY4" fmla="*/ 0 h 319747"/>
                  <a:gd name="connsiteX5" fmla="*/ 17757 w 179383"/>
                  <a:gd name="connsiteY5" fmla="*/ 6084 h 319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383" h="319747">
                    <a:moveTo>
                      <a:pt x="17757" y="6084"/>
                    </a:moveTo>
                    <a:lnTo>
                      <a:pt x="60348" y="124732"/>
                    </a:lnTo>
                    <a:cubicBezTo>
                      <a:pt x="60348" y="124732"/>
                      <a:pt x="-21792" y="310310"/>
                      <a:pt x="5588" y="319437"/>
                    </a:cubicBezTo>
                    <a:cubicBezTo>
                      <a:pt x="32968" y="328563"/>
                      <a:pt x="188123" y="133859"/>
                      <a:pt x="178997" y="103436"/>
                    </a:cubicBezTo>
                    <a:cubicBezTo>
                      <a:pt x="127278" y="66929"/>
                      <a:pt x="66433" y="0"/>
                      <a:pt x="66433" y="0"/>
                    </a:cubicBezTo>
                    <a:lnTo>
                      <a:pt x="17757" y="6084"/>
                    </a:ln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DE28FE90-43D3-49E7-B41A-11E5146CB745}"/>
                </a:ext>
              </a:extLst>
            </p:cNvPr>
            <p:cNvSpPr/>
            <p:nvPr/>
          </p:nvSpPr>
          <p:spPr>
            <a:xfrm>
              <a:off x="14990967" y="3706648"/>
              <a:ext cx="1072219" cy="2576788"/>
            </a:xfrm>
            <a:custGeom>
              <a:avLst/>
              <a:gdLst>
                <a:gd name="connsiteX0" fmla="*/ 786247 w 1072219"/>
                <a:gd name="connsiteY0" fmla="*/ 0 h 2576788"/>
                <a:gd name="connsiteX1" fmla="*/ 119994 w 1072219"/>
                <a:gd name="connsiteY1" fmla="*/ 0 h 2576788"/>
                <a:gd name="connsiteX2" fmla="*/ 1346 w 1072219"/>
                <a:gd name="connsiteY2" fmla="*/ 459380 h 2576788"/>
                <a:gd name="connsiteX3" fmla="*/ 156501 w 1072219"/>
                <a:gd name="connsiteY3" fmla="*/ 2555493 h 2576788"/>
                <a:gd name="connsiteX4" fmla="*/ 275149 w 1072219"/>
                <a:gd name="connsiteY4" fmla="*/ 2576789 h 2576788"/>
                <a:gd name="connsiteX5" fmla="*/ 460727 w 1072219"/>
                <a:gd name="connsiteY5" fmla="*/ 812282 h 2576788"/>
                <a:gd name="connsiteX6" fmla="*/ 530698 w 1072219"/>
                <a:gd name="connsiteY6" fmla="*/ 1621521 h 2576788"/>
                <a:gd name="connsiteX7" fmla="*/ 542867 w 1072219"/>
                <a:gd name="connsiteY7" fmla="*/ 1673239 h 2576788"/>
                <a:gd name="connsiteX8" fmla="*/ 953571 w 1072219"/>
                <a:gd name="connsiteY8" fmla="*/ 2494648 h 2576788"/>
                <a:gd name="connsiteX9" fmla="*/ 1072220 w 1072219"/>
                <a:gd name="connsiteY9" fmla="*/ 2473352 h 2576788"/>
                <a:gd name="connsiteX10" fmla="*/ 883600 w 1072219"/>
                <a:gd name="connsiteY10" fmla="*/ 1651944 h 2576788"/>
                <a:gd name="connsiteX11" fmla="*/ 920107 w 1072219"/>
                <a:gd name="connsiteY11" fmla="*/ 413747 h 2576788"/>
                <a:gd name="connsiteX12" fmla="*/ 786247 w 1072219"/>
                <a:gd name="connsiteY12" fmla="*/ 0 h 257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2219" h="2576788">
                  <a:moveTo>
                    <a:pt x="786247" y="0"/>
                  </a:moveTo>
                  <a:lnTo>
                    <a:pt x="119994" y="0"/>
                  </a:lnTo>
                  <a:cubicBezTo>
                    <a:pt x="119994" y="0"/>
                    <a:pt x="22642" y="304225"/>
                    <a:pt x="1346" y="459380"/>
                  </a:cubicBezTo>
                  <a:cubicBezTo>
                    <a:pt x="-16907" y="611493"/>
                    <a:pt x="156501" y="2555493"/>
                    <a:pt x="156501" y="2555493"/>
                  </a:cubicBezTo>
                  <a:lnTo>
                    <a:pt x="275149" y="2576789"/>
                  </a:lnTo>
                  <a:lnTo>
                    <a:pt x="460727" y="812282"/>
                  </a:lnTo>
                  <a:lnTo>
                    <a:pt x="530698" y="1621521"/>
                  </a:lnTo>
                  <a:cubicBezTo>
                    <a:pt x="533741" y="1639775"/>
                    <a:pt x="536783" y="1658028"/>
                    <a:pt x="542867" y="1673239"/>
                  </a:cubicBezTo>
                  <a:lnTo>
                    <a:pt x="953571" y="2494648"/>
                  </a:lnTo>
                  <a:lnTo>
                    <a:pt x="1072220" y="2473352"/>
                  </a:lnTo>
                  <a:lnTo>
                    <a:pt x="883600" y="1651944"/>
                  </a:lnTo>
                  <a:cubicBezTo>
                    <a:pt x="883600" y="1651944"/>
                    <a:pt x="914022" y="477634"/>
                    <a:pt x="920107" y="413747"/>
                  </a:cubicBezTo>
                  <a:cubicBezTo>
                    <a:pt x="929234" y="295099"/>
                    <a:pt x="786247" y="0"/>
                    <a:pt x="786247" y="0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FC6AAD65-2EB6-4C9E-A3BF-6459EEBCD7E0}"/>
                </a:ext>
              </a:extLst>
            </p:cNvPr>
            <p:cNvSpPr/>
            <p:nvPr/>
          </p:nvSpPr>
          <p:spPr>
            <a:xfrm>
              <a:off x="15008630" y="2749968"/>
              <a:ext cx="818823" cy="984150"/>
            </a:xfrm>
            <a:custGeom>
              <a:avLst/>
              <a:gdLst>
                <a:gd name="connsiteX0" fmla="*/ 774670 w 818823"/>
                <a:gd name="connsiteY0" fmla="*/ 390821 h 984150"/>
                <a:gd name="connsiteX1" fmla="*/ 759458 w 818823"/>
                <a:gd name="connsiteY1" fmla="*/ 68342 h 984150"/>
                <a:gd name="connsiteX2" fmla="*/ 391346 w 818823"/>
                <a:gd name="connsiteY2" fmla="*/ 4455 h 984150"/>
                <a:gd name="connsiteX3" fmla="*/ 90163 w 818823"/>
                <a:gd name="connsiteY3" fmla="*/ 104849 h 984150"/>
                <a:gd name="connsiteX4" fmla="*/ 50614 w 818823"/>
                <a:gd name="connsiteY4" fmla="*/ 652455 h 984150"/>
                <a:gd name="connsiteX5" fmla="*/ 93205 w 818823"/>
                <a:gd name="connsiteY5" fmla="*/ 977976 h 984150"/>
                <a:gd name="connsiteX6" fmla="*/ 768585 w 818823"/>
                <a:gd name="connsiteY6" fmla="*/ 962765 h 984150"/>
                <a:gd name="connsiteX7" fmla="*/ 774670 w 818823"/>
                <a:gd name="connsiteY7" fmla="*/ 390821 h 9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8823" h="984150">
                  <a:moveTo>
                    <a:pt x="774670" y="390821"/>
                  </a:moveTo>
                  <a:cubicBezTo>
                    <a:pt x="783796" y="360399"/>
                    <a:pt x="878106" y="132230"/>
                    <a:pt x="759458" y="68342"/>
                  </a:cubicBezTo>
                  <a:cubicBezTo>
                    <a:pt x="656022" y="13582"/>
                    <a:pt x="509993" y="-10756"/>
                    <a:pt x="391346" y="4455"/>
                  </a:cubicBezTo>
                  <a:cubicBezTo>
                    <a:pt x="260529" y="19666"/>
                    <a:pt x="129712" y="40962"/>
                    <a:pt x="90163" y="104849"/>
                  </a:cubicBezTo>
                  <a:cubicBezTo>
                    <a:pt x="-22401" y="290427"/>
                    <a:pt x="-22401" y="454709"/>
                    <a:pt x="50614" y="652455"/>
                  </a:cubicBezTo>
                  <a:cubicBezTo>
                    <a:pt x="71909" y="710258"/>
                    <a:pt x="77994" y="844117"/>
                    <a:pt x="93205" y="977976"/>
                  </a:cubicBezTo>
                  <a:cubicBezTo>
                    <a:pt x="93205" y="977976"/>
                    <a:pt x="376134" y="999272"/>
                    <a:pt x="768585" y="962765"/>
                  </a:cubicBezTo>
                  <a:cubicBezTo>
                    <a:pt x="738162" y="743723"/>
                    <a:pt x="768585" y="415159"/>
                    <a:pt x="774670" y="390821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5842749A-7080-450B-AC11-060C3B05F132}"/>
                </a:ext>
              </a:extLst>
            </p:cNvPr>
            <p:cNvSpPr/>
            <p:nvPr/>
          </p:nvSpPr>
          <p:spPr>
            <a:xfrm>
              <a:off x="15290454" y="2574834"/>
              <a:ext cx="310310" cy="325617"/>
            </a:xfrm>
            <a:custGeom>
              <a:avLst/>
              <a:gdLst>
                <a:gd name="connsiteX0" fmla="*/ 54761 w 310310"/>
                <a:gd name="connsiteY0" fmla="*/ 60942 h 325617"/>
                <a:gd name="connsiteX1" fmla="*/ 0 w 310310"/>
                <a:gd name="connsiteY1" fmla="*/ 200885 h 325617"/>
                <a:gd name="connsiteX2" fmla="*/ 115606 w 310310"/>
                <a:gd name="connsiteY2" fmla="*/ 325618 h 325617"/>
                <a:gd name="connsiteX3" fmla="*/ 310310 w 310310"/>
                <a:gd name="connsiteY3" fmla="*/ 185674 h 325617"/>
                <a:gd name="connsiteX4" fmla="*/ 258592 w 310310"/>
                <a:gd name="connsiteY4" fmla="*/ 96 h 325617"/>
                <a:gd name="connsiteX5" fmla="*/ 54761 w 310310"/>
                <a:gd name="connsiteY5" fmla="*/ 60942 h 325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0310" h="325617">
                  <a:moveTo>
                    <a:pt x="54761" y="60942"/>
                  </a:moveTo>
                  <a:cubicBezTo>
                    <a:pt x="54761" y="60942"/>
                    <a:pt x="60845" y="170463"/>
                    <a:pt x="0" y="200885"/>
                  </a:cubicBezTo>
                  <a:lnTo>
                    <a:pt x="115606" y="325618"/>
                  </a:lnTo>
                  <a:cubicBezTo>
                    <a:pt x="115606" y="325618"/>
                    <a:pt x="255550" y="216096"/>
                    <a:pt x="310310" y="185674"/>
                  </a:cubicBezTo>
                  <a:cubicBezTo>
                    <a:pt x="255550" y="143082"/>
                    <a:pt x="258592" y="60942"/>
                    <a:pt x="258592" y="96"/>
                  </a:cubicBezTo>
                  <a:cubicBezTo>
                    <a:pt x="255550" y="-2946"/>
                    <a:pt x="106479" y="67026"/>
                    <a:pt x="54761" y="60942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BC4D252A-6111-4457-ACF2-418C913F3A46}"/>
                </a:ext>
              </a:extLst>
            </p:cNvPr>
            <p:cNvSpPr/>
            <p:nvPr/>
          </p:nvSpPr>
          <p:spPr>
            <a:xfrm>
              <a:off x="15006700" y="2854818"/>
              <a:ext cx="101219" cy="553690"/>
            </a:xfrm>
            <a:custGeom>
              <a:avLst/>
              <a:gdLst>
                <a:gd name="connsiteX0" fmla="*/ 55585 w 101219"/>
                <a:gd name="connsiteY0" fmla="*/ 553690 h 553690"/>
                <a:gd name="connsiteX1" fmla="*/ 49502 w 101219"/>
                <a:gd name="connsiteY1" fmla="*/ 550648 h 553690"/>
                <a:gd name="connsiteX2" fmla="*/ 34290 w 101219"/>
                <a:gd name="connsiteY2" fmla="*/ 495887 h 553690"/>
                <a:gd name="connsiteX3" fmla="*/ 825 w 101219"/>
                <a:gd name="connsiteY3" fmla="*/ 346817 h 553690"/>
                <a:gd name="connsiteX4" fmla="*/ 89050 w 101219"/>
                <a:gd name="connsiteY4" fmla="*/ 3042 h 553690"/>
                <a:gd name="connsiteX5" fmla="*/ 98178 w 101219"/>
                <a:gd name="connsiteY5" fmla="*/ 0 h 553690"/>
                <a:gd name="connsiteX6" fmla="*/ 101219 w 101219"/>
                <a:gd name="connsiteY6" fmla="*/ 9127 h 553690"/>
                <a:gd name="connsiteX7" fmla="*/ 12994 w 101219"/>
                <a:gd name="connsiteY7" fmla="*/ 346817 h 553690"/>
                <a:gd name="connsiteX8" fmla="*/ 46459 w 101219"/>
                <a:gd name="connsiteY8" fmla="*/ 495887 h 553690"/>
                <a:gd name="connsiteX9" fmla="*/ 61670 w 101219"/>
                <a:gd name="connsiteY9" fmla="*/ 550648 h 553690"/>
                <a:gd name="connsiteX10" fmla="*/ 55585 w 101219"/>
                <a:gd name="connsiteY10" fmla="*/ 553690 h 553690"/>
                <a:gd name="connsiteX11" fmla="*/ 55585 w 101219"/>
                <a:gd name="connsiteY11" fmla="*/ 553690 h 553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219" h="553690">
                  <a:moveTo>
                    <a:pt x="55585" y="553690"/>
                  </a:moveTo>
                  <a:cubicBezTo>
                    <a:pt x="52544" y="553690"/>
                    <a:pt x="49502" y="550648"/>
                    <a:pt x="49502" y="550648"/>
                  </a:cubicBezTo>
                  <a:cubicBezTo>
                    <a:pt x="43417" y="532394"/>
                    <a:pt x="40374" y="514141"/>
                    <a:pt x="34290" y="495887"/>
                  </a:cubicBezTo>
                  <a:cubicBezTo>
                    <a:pt x="19079" y="444169"/>
                    <a:pt x="3868" y="392451"/>
                    <a:pt x="825" y="346817"/>
                  </a:cubicBezTo>
                  <a:cubicBezTo>
                    <a:pt x="-5260" y="222084"/>
                    <a:pt x="22121" y="106479"/>
                    <a:pt x="89050" y="3042"/>
                  </a:cubicBezTo>
                  <a:cubicBezTo>
                    <a:pt x="92093" y="0"/>
                    <a:pt x="95135" y="0"/>
                    <a:pt x="98178" y="0"/>
                  </a:cubicBezTo>
                  <a:cubicBezTo>
                    <a:pt x="101219" y="3042"/>
                    <a:pt x="101219" y="6085"/>
                    <a:pt x="101219" y="9127"/>
                  </a:cubicBezTo>
                  <a:cubicBezTo>
                    <a:pt x="37333" y="112563"/>
                    <a:pt x="6910" y="225127"/>
                    <a:pt x="12994" y="346817"/>
                  </a:cubicBezTo>
                  <a:cubicBezTo>
                    <a:pt x="16037" y="392451"/>
                    <a:pt x="31248" y="444169"/>
                    <a:pt x="46459" y="495887"/>
                  </a:cubicBezTo>
                  <a:cubicBezTo>
                    <a:pt x="52544" y="514141"/>
                    <a:pt x="58628" y="532394"/>
                    <a:pt x="61670" y="550648"/>
                  </a:cubicBezTo>
                  <a:cubicBezTo>
                    <a:pt x="61670" y="547606"/>
                    <a:pt x="61670" y="550648"/>
                    <a:pt x="55585" y="553690"/>
                  </a:cubicBezTo>
                  <a:cubicBezTo>
                    <a:pt x="58628" y="553690"/>
                    <a:pt x="58628" y="553690"/>
                    <a:pt x="55585" y="553690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73681603-D17C-4125-9933-8BB1AD349445}"/>
                </a:ext>
              </a:extLst>
            </p:cNvPr>
            <p:cNvSpPr/>
            <p:nvPr/>
          </p:nvSpPr>
          <p:spPr>
            <a:xfrm>
              <a:off x="15129215" y="3293096"/>
              <a:ext cx="399795" cy="36313"/>
            </a:xfrm>
            <a:custGeom>
              <a:avLst/>
              <a:gdLst>
                <a:gd name="connsiteX0" fmla="*/ 6085 w 399795"/>
                <a:gd name="connsiteY0" fmla="*/ 36313 h 36313"/>
                <a:gd name="connsiteX1" fmla="*/ 0 w 399795"/>
                <a:gd name="connsiteY1" fmla="*/ 33271 h 36313"/>
                <a:gd name="connsiteX2" fmla="*/ 3042 w 399795"/>
                <a:gd name="connsiteY2" fmla="*/ 27187 h 36313"/>
                <a:gd name="connsiteX3" fmla="*/ 395493 w 399795"/>
                <a:gd name="connsiteY3" fmla="*/ 15018 h 36313"/>
                <a:gd name="connsiteX4" fmla="*/ 398535 w 399795"/>
                <a:gd name="connsiteY4" fmla="*/ 21102 h 36313"/>
                <a:gd name="connsiteX5" fmla="*/ 392451 w 399795"/>
                <a:gd name="connsiteY5" fmla="*/ 24144 h 36313"/>
                <a:gd name="connsiteX6" fmla="*/ 6085 w 399795"/>
                <a:gd name="connsiteY6" fmla="*/ 36313 h 36313"/>
                <a:gd name="connsiteX7" fmla="*/ 6085 w 399795"/>
                <a:gd name="connsiteY7" fmla="*/ 36313 h 3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9795" h="36313">
                  <a:moveTo>
                    <a:pt x="6085" y="36313"/>
                  </a:moveTo>
                  <a:cubicBezTo>
                    <a:pt x="3042" y="36313"/>
                    <a:pt x="3042" y="36313"/>
                    <a:pt x="0" y="33271"/>
                  </a:cubicBezTo>
                  <a:cubicBezTo>
                    <a:pt x="0" y="30229"/>
                    <a:pt x="0" y="27187"/>
                    <a:pt x="3042" y="27187"/>
                  </a:cubicBezTo>
                  <a:cubicBezTo>
                    <a:pt x="88225" y="-3236"/>
                    <a:pt x="295099" y="-9320"/>
                    <a:pt x="395493" y="15018"/>
                  </a:cubicBezTo>
                  <a:cubicBezTo>
                    <a:pt x="398535" y="15018"/>
                    <a:pt x="401578" y="18060"/>
                    <a:pt x="398535" y="21102"/>
                  </a:cubicBezTo>
                  <a:cubicBezTo>
                    <a:pt x="398535" y="24144"/>
                    <a:pt x="395493" y="27187"/>
                    <a:pt x="392451" y="24144"/>
                  </a:cubicBezTo>
                  <a:cubicBezTo>
                    <a:pt x="295099" y="-194"/>
                    <a:pt x="91268" y="5891"/>
                    <a:pt x="6085" y="36313"/>
                  </a:cubicBezTo>
                  <a:cubicBezTo>
                    <a:pt x="6085" y="33271"/>
                    <a:pt x="6085" y="36313"/>
                    <a:pt x="6085" y="36313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E0DA587A-1CF2-4236-B2D2-E96592C6F5B9}"/>
                </a:ext>
              </a:extLst>
            </p:cNvPr>
            <p:cNvSpPr/>
            <p:nvPr/>
          </p:nvSpPr>
          <p:spPr>
            <a:xfrm>
              <a:off x="15263074" y="2760508"/>
              <a:ext cx="358986" cy="155154"/>
            </a:xfrm>
            <a:custGeom>
              <a:avLst/>
              <a:gdLst>
                <a:gd name="connsiteX0" fmla="*/ 36507 w 358986"/>
                <a:gd name="connsiteY0" fmla="*/ 6085 h 155154"/>
                <a:gd name="connsiteX1" fmla="*/ 139944 w 358986"/>
                <a:gd name="connsiteY1" fmla="*/ 121690 h 155154"/>
                <a:gd name="connsiteX2" fmla="*/ 334648 w 358986"/>
                <a:gd name="connsiteY2" fmla="*/ 0 h 155154"/>
                <a:gd name="connsiteX3" fmla="*/ 358986 w 358986"/>
                <a:gd name="connsiteY3" fmla="*/ 9127 h 155154"/>
                <a:gd name="connsiteX4" fmla="*/ 136901 w 358986"/>
                <a:gd name="connsiteY4" fmla="*/ 155155 h 155154"/>
                <a:gd name="connsiteX5" fmla="*/ 0 w 358986"/>
                <a:gd name="connsiteY5" fmla="*/ 15211 h 155154"/>
                <a:gd name="connsiteX6" fmla="*/ 36507 w 358986"/>
                <a:gd name="connsiteY6" fmla="*/ 6085 h 155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8986" h="155154">
                  <a:moveTo>
                    <a:pt x="36507" y="6085"/>
                  </a:moveTo>
                  <a:lnTo>
                    <a:pt x="139944" y="121690"/>
                  </a:lnTo>
                  <a:cubicBezTo>
                    <a:pt x="139944" y="121690"/>
                    <a:pt x="270760" y="21296"/>
                    <a:pt x="334648" y="0"/>
                  </a:cubicBezTo>
                  <a:lnTo>
                    <a:pt x="358986" y="9127"/>
                  </a:lnTo>
                  <a:lnTo>
                    <a:pt x="136901" y="155155"/>
                  </a:lnTo>
                  <a:lnTo>
                    <a:pt x="0" y="15211"/>
                  </a:lnTo>
                  <a:cubicBezTo>
                    <a:pt x="3042" y="15211"/>
                    <a:pt x="18254" y="9127"/>
                    <a:pt x="36507" y="6085"/>
                  </a:cubicBezTo>
                  <a:close/>
                </a:path>
              </a:pathLst>
            </a:custGeom>
            <a:solidFill>
              <a:srgbClr val="D16156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D2C1200D-B250-4ED1-8378-C34F510909D5}"/>
                </a:ext>
              </a:extLst>
            </p:cNvPr>
            <p:cNvSpPr/>
            <p:nvPr/>
          </p:nvSpPr>
          <p:spPr>
            <a:xfrm>
              <a:off x="13830828" y="2574013"/>
              <a:ext cx="263007" cy="296651"/>
            </a:xfrm>
            <a:custGeom>
              <a:avLst/>
              <a:gdLst>
                <a:gd name="connsiteX0" fmla="*/ 17598 w 263007"/>
                <a:gd name="connsiteY0" fmla="*/ 153030 h 296651"/>
                <a:gd name="connsiteX1" fmla="*/ 63232 w 263007"/>
                <a:gd name="connsiteY1" fmla="*/ 213875 h 296651"/>
                <a:gd name="connsiteX2" fmla="*/ 151457 w 263007"/>
                <a:gd name="connsiteY2" fmla="*/ 296016 h 296651"/>
                <a:gd name="connsiteX3" fmla="*/ 254894 w 263007"/>
                <a:gd name="connsiteY3" fmla="*/ 262551 h 296651"/>
                <a:gd name="connsiteX4" fmla="*/ 117993 w 263007"/>
                <a:gd name="connsiteY4" fmla="*/ 13086 h 296651"/>
                <a:gd name="connsiteX5" fmla="*/ 87570 w 263007"/>
                <a:gd name="connsiteY5" fmla="*/ 10044 h 296651"/>
                <a:gd name="connsiteX6" fmla="*/ 102782 w 263007"/>
                <a:gd name="connsiteY6" fmla="*/ 49593 h 296651"/>
                <a:gd name="connsiteX7" fmla="*/ 127119 w 263007"/>
                <a:gd name="connsiteY7" fmla="*/ 101311 h 296651"/>
                <a:gd name="connsiteX8" fmla="*/ 78443 w 263007"/>
                <a:gd name="connsiteY8" fmla="*/ 46551 h 296651"/>
                <a:gd name="connsiteX9" fmla="*/ 41937 w 263007"/>
                <a:gd name="connsiteY9" fmla="*/ 10044 h 296651"/>
                <a:gd name="connsiteX10" fmla="*/ 14556 w 263007"/>
                <a:gd name="connsiteY10" fmla="*/ 16128 h 296651"/>
                <a:gd name="connsiteX11" fmla="*/ 11514 w 263007"/>
                <a:gd name="connsiteY11" fmla="*/ 46551 h 296651"/>
                <a:gd name="connsiteX12" fmla="*/ 8472 w 263007"/>
                <a:gd name="connsiteY12" fmla="*/ 46551 h 296651"/>
                <a:gd name="connsiteX13" fmla="*/ 2387 w 263007"/>
                <a:gd name="connsiteY13" fmla="*/ 49593 h 296651"/>
                <a:gd name="connsiteX14" fmla="*/ 14556 w 263007"/>
                <a:gd name="connsiteY14" fmla="*/ 95227 h 296651"/>
                <a:gd name="connsiteX15" fmla="*/ 29767 w 263007"/>
                <a:gd name="connsiteY15" fmla="*/ 116523 h 296651"/>
                <a:gd name="connsiteX16" fmla="*/ 23683 w 263007"/>
                <a:gd name="connsiteY16" fmla="*/ 113480 h 296651"/>
                <a:gd name="connsiteX17" fmla="*/ 5429 w 263007"/>
                <a:gd name="connsiteY17" fmla="*/ 119565 h 296651"/>
                <a:gd name="connsiteX18" fmla="*/ 17598 w 263007"/>
                <a:gd name="connsiteY18" fmla="*/ 153030 h 296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63007" h="296651">
                  <a:moveTo>
                    <a:pt x="17598" y="153030"/>
                  </a:moveTo>
                  <a:cubicBezTo>
                    <a:pt x="32809" y="174325"/>
                    <a:pt x="48021" y="192579"/>
                    <a:pt x="63232" y="213875"/>
                  </a:cubicBezTo>
                  <a:cubicBezTo>
                    <a:pt x="87570" y="247339"/>
                    <a:pt x="105823" y="286889"/>
                    <a:pt x="151457" y="296016"/>
                  </a:cubicBezTo>
                  <a:cubicBezTo>
                    <a:pt x="178838" y="302100"/>
                    <a:pt x="254894" y="262551"/>
                    <a:pt x="254894" y="262551"/>
                  </a:cubicBezTo>
                  <a:cubicBezTo>
                    <a:pt x="297486" y="195621"/>
                    <a:pt x="160584" y="52635"/>
                    <a:pt x="117993" y="13086"/>
                  </a:cubicBezTo>
                  <a:cubicBezTo>
                    <a:pt x="111908" y="7001"/>
                    <a:pt x="90612" y="-11252"/>
                    <a:pt x="87570" y="10044"/>
                  </a:cubicBezTo>
                  <a:cubicBezTo>
                    <a:pt x="84528" y="22213"/>
                    <a:pt x="99739" y="40466"/>
                    <a:pt x="102782" y="49593"/>
                  </a:cubicBezTo>
                  <a:cubicBezTo>
                    <a:pt x="111908" y="67847"/>
                    <a:pt x="117993" y="86100"/>
                    <a:pt x="127119" y="101311"/>
                  </a:cubicBezTo>
                  <a:cubicBezTo>
                    <a:pt x="111908" y="83058"/>
                    <a:pt x="93654" y="64804"/>
                    <a:pt x="78443" y="46551"/>
                  </a:cubicBezTo>
                  <a:cubicBezTo>
                    <a:pt x="66274" y="34382"/>
                    <a:pt x="57148" y="16128"/>
                    <a:pt x="41937" y="10044"/>
                  </a:cubicBezTo>
                  <a:cubicBezTo>
                    <a:pt x="32809" y="3959"/>
                    <a:pt x="20640" y="7001"/>
                    <a:pt x="14556" y="16128"/>
                  </a:cubicBezTo>
                  <a:cubicBezTo>
                    <a:pt x="8472" y="25255"/>
                    <a:pt x="8472" y="37424"/>
                    <a:pt x="11514" y="46551"/>
                  </a:cubicBezTo>
                  <a:cubicBezTo>
                    <a:pt x="11514" y="46551"/>
                    <a:pt x="8472" y="46551"/>
                    <a:pt x="8472" y="46551"/>
                  </a:cubicBezTo>
                  <a:cubicBezTo>
                    <a:pt x="5429" y="46551"/>
                    <a:pt x="5429" y="46551"/>
                    <a:pt x="2387" y="49593"/>
                  </a:cubicBezTo>
                  <a:cubicBezTo>
                    <a:pt x="-3697" y="67847"/>
                    <a:pt x="2387" y="80016"/>
                    <a:pt x="14556" y="95227"/>
                  </a:cubicBezTo>
                  <a:cubicBezTo>
                    <a:pt x="20640" y="101311"/>
                    <a:pt x="23683" y="107396"/>
                    <a:pt x="29767" y="116523"/>
                  </a:cubicBezTo>
                  <a:cubicBezTo>
                    <a:pt x="26725" y="116523"/>
                    <a:pt x="26725" y="113480"/>
                    <a:pt x="23683" y="113480"/>
                  </a:cubicBezTo>
                  <a:cubicBezTo>
                    <a:pt x="17598" y="110438"/>
                    <a:pt x="8472" y="110438"/>
                    <a:pt x="5429" y="119565"/>
                  </a:cubicBezTo>
                  <a:cubicBezTo>
                    <a:pt x="-3697" y="131734"/>
                    <a:pt x="8472" y="143903"/>
                    <a:pt x="17598" y="153030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5A70C6D6-4845-409B-AAE7-2FB5CC8FE75B}"/>
                </a:ext>
              </a:extLst>
            </p:cNvPr>
            <p:cNvSpPr/>
            <p:nvPr/>
          </p:nvSpPr>
          <p:spPr>
            <a:xfrm>
              <a:off x="13936651" y="2687161"/>
              <a:ext cx="134357" cy="134780"/>
            </a:xfrm>
            <a:custGeom>
              <a:avLst/>
              <a:gdLst>
                <a:gd name="connsiteX0" fmla="*/ 0 w 134357"/>
                <a:gd name="connsiteY0" fmla="*/ 36840 h 134780"/>
                <a:gd name="connsiteX1" fmla="*/ 27381 w 134357"/>
                <a:gd name="connsiteY1" fmla="*/ 42924 h 134780"/>
                <a:gd name="connsiteX2" fmla="*/ 76056 w 134357"/>
                <a:gd name="connsiteY2" fmla="*/ 76389 h 134780"/>
                <a:gd name="connsiteX3" fmla="*/ 88226 w 134357"/>
                <a:gd name="connsiteY3" fmla="*/ 134192 h 134780"/>
                <a:gd name="connsiteX4" fmla="*/ 133860 w 134357"/>
                <a:gd name="connsiteY4" fmla="*/ 76389 h 134780"/>
                <a:gd name="connsiteX5" fmla="*/ 66930 w 134357"/>
                <a:gd name="connsiteY5" fmla="*/ 333 h 134780"/>
                <a:gd name="connsiteX6" fmla="*/ 0 w 134357"/>
                <a:gd name="connsiteY6" fmla="*/ 36840 h 13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357" h="134780">
                  <a:moveTo>
                    <a:pt x="0" y="36840"/>
                  </a:moveTo>
                  <a:cubicBezTo>
                    <a:pt x="0" y="45967"/>
                    <a:pt x="18254" y="39882"/>
                    <a:pt x="27381" y="42924"/>
                  </a:cubicBezTo>
                  <a:cubicBezTo>
                    <a:pt x="48676" y="49009"/>
                    <a:pt x="63888" y="55093"/>
                    <a:pt x="76056" y="76389"/>
                  </a:cubicBezTo>
                  <a:cubicBezTo>
                    <a:pt x="82141" y="88558"/>
                    <a:pt x="85184" y="118981"/>
                    <a:pt x="88226" y="134192"/>
                  </a:cubicBezTo>
                  <a:cubicBezTo>
                    <a:pt x="88226" y="140277"/>
                    <a:pt x="139944" y="97685"/>
                    <a:pt x="133860" y="76389"/>
                  </a:cubicBezTo>
                  <a:cubicBezTo>
                    <a:pt x="127775" y="49009"/>
                    <a:pt x="100395" y="6417"/>
                    <a:pt x="66930" y="333"/>
                  </a:cubicBezTo>
                  <a:cubicBezTo>
                    <a:pt x="51719" y="-2709"/>
                    <a:pt x="0" y="15544"/>
                    <a:pt x="0" y="36840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89DD729C-31D9-479B-89B6-3DC1B500C512}"/>
                </a:ext>
              </a:extLst>
            </p:cNvPr>
            <p:cNvSpPr/>
            <p:nvPr/>
          </p:nvSpPr>
          <p:spPr>
            <a:xfrm>
              <a:off x="13931328" y="2678367"/>
              <a:ext cx="145267" cy="133859"/>
            </a:xfrm>
            <a:custGeom>
              <a:avLst/>
              <a:gdLst>
                <a:gd name="connsiteX0" fmla="*/ 66168 w 145267"/>
                <a:gd name="connsiteY0" fmla="*/ 133859 h 133859"/>
                <a:gd name="connsiteX1" fmla="*/ 60084 w 145267"/>
                <a:gd name="connsiteY1" fmla="*/ 127775 h 133859"/>
                <a:gd name="connsiteX2" fmla="*/ 75296 w 145267"/>
                <a:gd name="connsiteY2" fmla="*/ 82141 h 133859"/>
                <a:gd name="connsiteX3" fmla="*/ 29662 w 145267"/>
                <a:gd name="connsiteY3" fmla="*/ 57803 h 133859"/>
                <a:gd name="connsiteX4" fmla="*/ 2282 w 145267"/>
                <a:gd name="connsiteY4" fmla="*/ 45634 h 133859"/>
                <a:gd name="connsiteX5" fmla="*/ 2282 w 145267"/>
                <a:gd name="connsiteY5" fmla="*/ 27380 h 133859"/>
                <a:gd name="connsiteX6" fmla="*/ 69211 w 145267"/>
                <a:gd name="connsiteY6" fmla="*/ 0 h 133859"/>
                <a:gd name="connsiteX7" fmla="*/ 72253 w 145267"/>
                <a:gd name="connsiteY7" fmla="*/ 0 h 133859"/>
                <a:gd name="connsiteX8" fmla="*/ 145267 w 145267"/>
                <a:gd name="connsiteY8" fmla="*/ 79099 h 133859"/>
                <a:gd name="connsiteX9" fmla="*/ 142225 w 145267"/>
                <a:gd name="connsiteY9" fmla="*/ 85183 h 133859"/>
                <a:gd name="connsiteX10" fmla="*/ 136141 w 145267"/>
                <a:gd name="connsiteY10" fmla="*/ 82141 h 133859"/>
                <a:gd name="connsiteX11" fmla="*/ 75296 w 145267"/>
                <a:gd name="connsiteY11" fmla="*/ 9127 h 133859"/>
                <a:gd name="connsiteX12" fmla="*/ 72253 w 145267"/>
                <a:gd name="connsiteY12" fmla="*/ 9127 h 133859"/>
                <a:gd name="connsiteX13" fmla="*/ 14451 w 145267"/>
                <a:gd name="connsiteY13" fmla="*/ 30423 h 133859"/>
                <a:gd name="connsiteX14" fmla="*/ 14451 w 145267"/>
                <a:gd name="connsiteY14" fmla="*/ 36507 h 133859"/>
                <a:gd name="connsiteX15" fmla="*/ 32704 w 145267"/>
                <a:gd name="connsiteY15" fmla="*/ 42592 h 133859"/>
                <a:gd name="connsiteX16" fmla="*/ 90507 w 145267"/>
                <a:gd name="connsiteY16" fmla="*/ 76056 h 133859"/>
                <a:gd name="connsiteX17" fmla="*/ 90507 w 145267"/>
                <a:gd name="connsiteY17" fmla="*/ 82141 h 133859"/>
                <a:gd name="connsiteX18" fmla="*/ 75296 w 145267"/>
                <a:gd name="connsiteY18" fmla="*/ 118648 h 133859"/>
                <a:gd name="connsiteX19" fmla="*/ 66168 w 145267"/>
                <a:gd name="connsiteY19" fmla="*/ 133859 h 133859"/>
                <a:gd name="connsiteX20" fmla="*/ 66168 w 145267"/>
                <a:gd name="connsiteY20" fmla="*/ 133859 h 133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5267" h="133859">
                  <a:moveTo>
                    <a:pt x="66168" y="133859"/>
                  </a:moveTo>
                  <a:cubicBezTo>
                    <a:pt x="63127" y="133859"/>
                    <a:pt x="60084" y="130817"/>
                    <a:pt x="60084" y="127775"/>
                  </a:cubicBezTo>
                  <a:cubicBezTo>
                    <a:pt x="57042" y="109521"/>
                    <a:pt x="69211" y="91268"/>
                    <a:pt x="75296" y="82141"/>
                  </a:cubicBezTo>
                  <a:cubicBezTo>
                    <a:pt x="63127" y="63887"/>
                    <a:pt x="44873" y="60845"/>
                    <a:pt x="29662" y="57803"/>
                  </a:cubicBezTo>
                  <a:cubicBezTo>
                    <a:pt x="17493" y="54761"/>
                    <a:pt x="8366" y="54761"/>
                    <a:pt x="2282" y="45634"/>
                  </a:cubicBezTo>
                  <a:cubicBezTo>
                    <a:pt x="-761" y="39549"/>
                    <a:pt x="-761" y="33465"/>
                    <a:pt x="2282" y="27380"/>
                  </a:cubicBezTo>
                  <a:cubicBezTo>
                    <a:pt x="11408" y="12169"/>
                    <a:pt x="38788" y="0"/>
                    <a:pt x="69211" y="0"/>
                  </a:cubicBezTo>
                  <a:cubicBezTo>
                    <a:pt x="69211" y="0"/>
                    <a:pt x="72253" y="0"/>
                    <a:pt x="72253" y="0"/>
                  </a:cubicBezTo>
                  <a:cubicBezTo>
                    <a:pt x="117887" y="0"/>
                    <a:pt x="142225" y="76056"/>
                    <a:pt x="145267" y="79099"/>
                  </a:cubicBezTo>
                  <a:cubicBezTo>
                    <a:pt x="145267" y="82141"/>
                    <a:pt x="145267" y="85183"/>
                    <a:pt x="142225" y="85183"/>
                  </a:cubicBezTo>
                  <a:cubicBezTo>
                    <a:pt x="139183" y="85183"/>
                    <a:pt x="136141" y="85183"/>
                    <a:pt x="136141" y="82141"/>
                  </a:cubicBezTo>
                  <a:cubicBezTo>
                    <a:pt x="136141" y="82141"/>
                    <a:pt x="111802" y="12169"/>
                    <a:pt x="75296" y="9127"/>
                  </a:cubicBezTo>
                  <a:cubicBezTo>
                    <a:pt x="75296" y="9127"/>
                    <a:pt x="75296" y="9127"/>
                    <a:pt x="72253" y="9127"/>
                  </a:cubicBezTo>
                  <a:cubicBezTo>
                    <a:pt x="44873" y="9127"/>
                    <a:pt x="20535" y="21296"/>
                    <a:pt x="14451" y="30423"/>
                  </a:cubicBezTo>
                  <a:cubicBezTo>
                    <a:pt x="11408" y="33465"/>
                    <a:pt x="14451" y="36507"/>
                    <a:pt x="14451" y="36507"/>
                  </a:cubicBezTo>
                  <a:cubicBezTo>
                    <a:pt x="17493" y="39549"/>
                    <a:pt x="23577" y="39549"/>
                    <a:pt x="32704" y="42592"/>
                  </a:cubicBezTo>
                  <a:cubicBezTo>
                    <a:pt x="50957" y="45634"/>
                    <a:pt x="75296" y="48676"/>
                    <a:pt x="90507" y="76056"/>
                  </a:cubicBezTo>
                  <a:cubicBezTo>
                    <a:pt x="90507" y="79099"/>
                    <a:pt x="90507" y="82141"/>
                    <a:pt x="90507" y="82141"/>
                  </a:cubicBezTo>
                  <a:cubicBezTo>
                    <a:pt x="84422" y="88225"/>
                    <a:pt x="75296" y="106479"/>
                    <a:pt x="75296" y="118648"/>
                  </a:cubicBezTo>
                  <a:cubicBezTo>
                    <a:pt x="72253" y="130817"/>
                    <a:pt x="72253" y="133859"/>
                    <a:pt x="66168" y="133859"/>
                  </a:cubicBezTo>
                  <a:cubicBezTo>
                    <a:pt x="66168" y="133859"/>
                    <a:pt x="66168" y="133859"/>
                    <a:pt x="66168" y="133859"/>
                  </a:cubicBez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154B64B0-83AC-4170-99F1-E7BA1ACFF367}"/>
                </a:ext>
              </a:extLst>
            </p:cNvPr>
            <p:cNvSpPr/>
            <p:nvPr/>
          </p:nvSpPr>
          <p:spPr>
            <a:xfrm>
              <a:off x="15208213" y="2154232"/>
              <a:ext cx="415603" cy="566802"/>
            </a:xfrm>
            <a:custGeom>
              <a:avLst/>
              <a:gdLst>
                <a:gd name="connsiteX0" fmla="*/ 3143 w 415603"/>
                <a:gd name="connsiteY0" fmla="*/ 186444 h 566802"/>
                <a:gd name="connsiteX1" fmla="*/ 24438 w 415603"/>
                <a:gd name="connsiteY1" fmla="*/ 441994 h 566802"/>
                <a:gd name="connsiteX2" fmla="*/ 176551 w 415603"/>
                <a:gd name="connsiteY2" fmla="*/ 566726 h 566802"/>
                <a:gd name="connsiteX3" fmla="*/ 386466 w 415603"/>
                <a:gd name="connsiteY3" fmla="*/ 414613 h 566802"/>
                <a:gd name="connsiteX4" fmla="*/ 413847 w 415603"/>
                <a:gd name="connsiteY4" fmla="*/ 189487 h 566802"/>
                <a:gd name="connsiteX5" fmla="*/ 191762 w 415603"/>
                <a:gd name="connsiteY5" fmla="*/ 867 h 566802"/>
                <a:gd name="connsiteX6" fmla="*/ 3143 w 415603"/>
                <a:gd name="connsiteY6" fmla="*/ 186444 h 566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5603" h="566802">
                  <a:moveTo>
                    <a:pt x="3143" y="186444"/>
                  </a:moveTo>
                  <a:cubicBezTo>
                    <a:pt x="3143" y="186444"/>
                    <a:pt x="-12068" y="375064"/>
                    <a:pt x="24438" y="441994"/>
                  </a:cubicBezTo>
                  <a:cubicBezTo>
                    <a:pt x="63988" y="508923"/>
                    <a:pt x="127875" y="563684"/>
                    <a:pt x="176551" y="566726"/>
                  </a:cubicBezTo>
                  <a:cubicBezTo>
                    <a:pt x="243481" y="569768"/>
                    <a:pt x="353002" y="481543"/>
                    <a:pt x="386466" y="414613"/>
                  </a:cubicBezTo>
                  <a:cubicBezTo>
                    <a:pt x="419931" y="347684"/>
                    <a:pt x="416889" y="238163"/>
                    <a:pt x="413847" y="189487"/>
                  </a:cubicBezTo>
                  <a:cubicBezTo>
                    <a:pt x="407762" y="95177"/>
                    <a:pt x="377340" y="19121"/>
                    <a:pt x="191762" y="867"/>
                  </a:cubicBezTo>
                  <a:cubicBezTo>
                    <a:pt x="109622" y="-11302"/>
                    <a:pt x="21396" y="107346"/>
                    <a:pt x="3143" y="186444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0E35A268-70D2-4488-8EC6-548E735B17D2}"/>
                </a:ext>
              </a:extLst>
            </p:cNvPr>
            <p:cNvSpPr/>
            <p:nvPr/>
          </p:nvSpPr>
          <p:spPr>
            <a:xfrm>
              <a:off x="15348258" y="2418515"/>
              <a:ext cx="57802" cy="132077"/>
            </a:xfrm>
            <a:custGeom>
              <a:avLst/>
              <a:gdLst>
                <a:gd name="connsiteX0" fmla="*/ 27380 w 57802"/>
                <a:gd name="connsiteY0" fmla="*/ 132077 h 132077"/>
                <a:gd name="connsiteX1" fmla="*/ 6084 w 57802"/>
                <a:gd name="connsiteY1" fmla="*/ 125993 h 132077"/>
                <a:gd name="connsiteX2" fmla="*/ 0 w 57802"/>
                <a:gd name="connsiteY2" fmla="*/ 113824 h 132077"/>
                <a:gd name="connsiteX3" fmla="*/ 24338 w 57802"/>
                <a:gd name="connsiteY3" fmla="*/ 4302 h 132077"/>
                <a:gd name="connsiteX4" fmla="*/ 30423 w 57802"/>
                <a:gd name="connsiteY4" fmla="*/ 1260 h 132077"/>
                <a:gd name="connsiteX5" fmla="*/ 33464 w 57802"/>
                <a:gd name="connsiteY5" fmla="*/ 7345 h 132077"/>
                <a:gd name="connsiteX6" fmla="*/ 9126 w 57802"/>
                <a:gd name="connsiteY6" fmla="*/ 113824 h 132077"/>
                <a:gd name="connsiteX7" fmla="*/ 12169 w 57802"/>
                <a:gd name="connsiteY7" fmla="*/ 116866 h 132077"/>
                <a:gd name="connsiteX8" fmla="*/ 51718 w 57802"/>
                <a:gd name="connsiteY8" fmla="*/ 116866 h 132077"/>
                <a:gd name="connsiteX9" fmla="*/ 57803 w 57802"/>
                <a:gd name="connsiteY9" fmla="*/ 119908 h 132077"/>
                <a:gd name="connsiteX10" fmla="*/ 54760 w 57802"/>
                <a:gd name="connsiteY10" fmla="*/ 125993 h 132077"/>
                <a:gd name="connsiteX11" fmla="*/ 27380 w 57802"/>
                <a:gd name="connsiteY11" fmla="*/ 132077 h 132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802" h="132077">
                  <a:moveTo>
                    <a:pt x="27380" y="132077"/>
                  </a:moveTo>
                  <a:cubicBezTo>
                    <a:pt x="18253" y="132077"/>
                    <a:pt x="9126" y="132077"/>
                    <a:pt x="6084" y="125993"/>
                  </a:cubicBezTo>
                  <a:cubicBezTo>
                    <a:pt x="3042" y="122950"/>
                    <a:pt x="0" y="119908"/>
                    <a:pt x="0" y="113824"/>
                  </a:cubicBezTo>
                  <a:cubicBezTo>
                    <a:pt x="0" y="92528"/>
                    <a:pt x="21295" y="7345"/>
                    <a:pt x="24338" y="4302"/>
                  </a:cubicBezTo>
                  <a:cubicBezTo>
                    <a:pt x="24338" y="1260"/>
                    <a:pt x="27380" y="-1782"/>
                    <a:pt x="30423" y="1260"/>
                  </a:cubicBezTo>
                  <a:cubicBezTo>
                    <a:pt x="33464" y="1260"/>
                    <a:pt x="36506" y="4302"/>
                    <a:pt x="33464" y="7345"/>
                  </a:cubicBezTo>
                  <a:cubicBezTo>
                    <a:pt x="27380" y="31683"/>
                    <a:pt x="9126" y="98612"/>
                    <a:pt x="9126" y="113824"/>
                  </a:cubicBezTo>
                  <a:cubicBezTo>
                    <a:pt x="9126" y="113824"/>
                    <a:pt x="9126" y="116866"/>
                    <a:pt x="12169" y="116866"/>
                  </a:cubicBezTo>
                  <a:cubicBezTo>
                    <a:pt x="18253" y="122950"/>
                    <a:pt x="39549" y="119908"/>
                    <a:pt x="51718" y="116866"/>
                  </a:cubicBezTo>
                  <a:cubicBezTo>
                    <a:pt x="54760" y="116866"/>
                    <a:pt x="57803" y="116866"/>
                    <a:pt x="57803" y="119908"/>
                  </a:cubicBezTo>
                  <a:cubicBezTo>
                    <a:pt x="57803" y="122950"/>
                    <a:pt x="57803" y="125993"/>
                    <a:pt x="54760" y="125993"/>
                  </a:cubicBezTo>
                  <a:cubicBezTo>
                    <a:pt x="51718" y="129035"/>
                    <a:pt x="39549" y="132077"/>
                    <a:pt x="27380" y="132077"/>
                  </a:cubicBez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09690C6C-C6EE-402E-9BE0-D35E4F95F9BB}"/>
                </a:ext>
              </a:extLst>
            </p:cNvPr>
            <p:cNvSpPr/>
            <p:nvPr/>
          </p:nvSpPr>
          <p:spPr>
            <a:xfrm>
              <a:off x="15333046" y="2599268"/>
              <a:ext cx="106478" cy="57913"/>
            </a:xfrm>
            <a:custGeom>
              <a:avLst/>
              <a:gdLst>
                <a:gd name="connsiteX0" fmla="*/ 106479 w 106478"/>
                <a:gd name="connsiteY0" fmla="*/ 0 h 57913"/>
                <a:gd name="connsiteX1" fmla="*/ 0 w 106478"/>
                <a:gd name="connsiteY1" fmla="*/ 3042 h 57913"/>
                <a:gd name="connsiteX2" fmla="*/ 42591 w 106478"/>
                <a:gd name="connsiteY2" fmla="*/ 57803 h 57913"/>
                <a:gd name="connsiteX3" fmla="*/ 106479 w 106478"/>
                <a:gd name="connsiteY3" fmla="*/ 0 h 57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478" h="57913">
                  <a:moveTo>
                    <a:pt x="106479" y="0"/>
                  </a:moveTo>
                  <a:cubicBezTo>
                    <a:pt x="54760" y="30423"/>
                    <a:pt x="0" y="3042"/>
                    <a:pt x="0" y="3042"/>
                  </a:cubicBezTo>
                  <a:cubicBezTo>
                    <a:pt x="0" y="3042"/>
                    <a:pt x="9126" y="51718"/>
                    <a:pt x="42591" y="57803"/>
                  </a:cubicBezTo>
                  <a:cubicBezTo>
                    <a:pt x="79098" y="60845"/>
                    <a:pt x="106479" y="0"/>
                    <a:pt x="106479" y="0"/>
                  </a:cubicBezTo>
                  <a:close/>
                </a:path>
              </a:pathLst>
            </a:custGeom>
            <a:solidFill>
              <a:srgbClr val="FFFFFF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70130E89-A154-45BB-AB02-DE53DC8F5F89}"/>
                </a:ext>
              </a:extLst>
            </p:cNvPr>
            <p:cNvSpPr/>
            <p:nvPr/>
          </p:nvSpPr>
          <p:spPr>
            <a:xfrm>
              <a:off x="15271426" y="2394662"/>
              <a:ext cx="40921" cy="41099"/>
            </a:xfrm>
            <a:custGeom>
              <a:avLst/>
              <a:gdLst>
                <a:gd name="connsiteX0" fmla="*/ 40324 w 40921"/>
                <a:gd name="connsiteY0" fmla="*/ 25113 h 41099"/>
                <a:gd name="connsiteX1" fmla="*/ 15987 w 40921"/>
                <a:gd name="connsiteY1" fmla="*/ 40325 h 41099"/>
                <a:gd name="connsiteX2" fmla="*/ 775 w 40921"/>
                <a:gd name="connsiteY2" fmla="*/ 15987 h 41099"/>
                <a:gd name="connsiteX3" fmla="*/ 25113 w 40921"/>
                <a:gd name="connsiteY3" fmla="*/ 775 h 41099"/>
                <a:gd name="connsiteX4" fmla="*/ 40324 w 40921"/>
                <a:gd name="connsiteY4" fmla="*/ 25113 h 41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21" h="41099">
                  <a:moveTo>
                    <a:pt x="40324" y="25113"/>
                  </a:moveTo>
                  <a:cubicBezTo>
                    <a:pt x="37282" y="37282"/>
                    <a:pt x="28155" y="43367"/>
                    <a:pt x="15987" y="40325"/>
                  </a:cubicBezTo>
                  <a:cubicBezTo>
                    <a:pt x="3817" y="37282"/>
                    <a:pt x="-2267" y="28156"/>
                    <a:pt x="775" y="15987"/>
                  </a:cubicBezTo>
                  <a:cubicBezTo>
                    <a:pt x="3817" y="3818"/>
                    <a:pt x="12944" y="-2267"/>
                    <a:pt x="25113" y="775"/>
                  </a:cubicBezTo>
                  <a:cubicBezTo>
                    <a:pt x="34239" y="3818"/>
                    <a:pt x="43367" y="12944"/>
                    <a:pt x="40324" y="25113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B6BFCDE3-88A4-496F-8AE3-B08D345D72CC}"/>
                </a:ext>
              </a:extLst>
            </p:cNvPr>
            <p:cNvSpPr/>
            <p:nvPr/>
          </p:nvSpPr>
          <p:spPr>
            <a:xfrm>
              <a:off x="15463088" y="2391620"/>
              <a:ext cx="40324" cy="41099"/>
            </a:xfrm>
            <a:custGeom>
              <a:avLst/>
              <a:gdLst>
                <a:gd name="connsiteX0" fmla="*/ 40324 w 40324"/>
                <a:gd name="connsiteY0" fmla="*/ 25113 h 41099"/>
                <a:gd name="connsiteX1" fmla="*/ 15987 w 40324"/>
                <a:gd name="connsiteY1" fmla="*/ 40325 h 41099"/>
                <a:gd name="connsiteX2" fmla="*/ 775 w 40324"/>
                <a:gd name="connsiteY2" fmla="*/ 15987 h 41099"/>
                <a:gd name="connsiteX3" fmla="*/ 25113 w 40324"/>
                <a:gd name="connsiteY3" fmla="*/ 775 h 41099"/>
                <a:gd name="connsiteX4" fmla="*/ 40324 w 40324"/>
                <a:gd name="connsiteY4" fmla="*/ 25113 h 41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24" h="41099">
                  <a:moveTo>
                    <a:pt x="40324" y="25113"/>
                  </a:moveTo>
                  <a:cubicBezTo>
                    <a:pt x="37283" y="37282"/>
                    <a:pt x="28155" y="43367"/>
                    <a:pt x="15987" y="40325"/>
                  </a:cubicBezTo>
                  <a:cubicBezTo>
                    <a:pt x="3818" y="37282"/>
                    <a:pt x="-2267" y="28156"/>
                    <a:pt x="775" y="15987"/>
                  </a:cubicBezTo>
                  <a:cubicBezTo>
                    <a:pt x="3818" y="3818"/>
                    <a:pt x="12944" y="-2267"/>
                    <a:pt x="25113" y="775"/>
                  </a:cubicBezTo>
                  <a:cubicBezTo>
                    <a:pt x="34240" y="6860"/>
                    <a:pt x="40324" y="15987"/>
                    <a:pt x="40324" y="25113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7B1B27EA-052C-45A8-B5E5-D8FF076070BA}"/>
                </a:ext>
              </a:extLst>
            </p:cNvPr>
            <p:cNvSpPr/>
            <p:nvPr/>
          </p:nvSpPr>
          <p:spPr>
            <a:xfrm>
              <a:off x="15245581" y="2343621"/>
              <a:ext cx="91767" cy="36605"/>
            </a:xfrm>
            <a:custGeom>
              <a:avLst/>
              <a:gdLst>
                <a:gd name="connsiteX0" fmla="*/ 8367 w 91767"/>
                <a:gd name="connsiteY0" fmla="*/ 36605 h 36605"/>
                <a:gd name="connsiteX1" fmla="*/ 2282 w 91767"/>
                <a:gd name="connsiteY1" fmla="*/ 33563 h 36605"/>
                <a:gd name="connsiteX2" fmla="*/ 2282 w 91767"/>
                <a:gd name="connsiteY2" fmla="*/ 21394 h 36605"/>
                <a:gd name="connsiteX3" fmla="*/ 87465 w 91767"/>
                <a:gd name="connsiteY3" fmla="*/ 6183 h 36605"/>
                <a:gd name="connsiteX4" fmla="*/ 90507 w 91767"/>
                <a:gd name="connsiteY4" fmla="*/ 15310 h 36605"/>
                <a:gd name="connsiteX5" fmla="*/ 81381 w 91767"/>
                <a:gd name="connsiteY5" fmla="*/ 18352 h 36605"/>
                <a:gd name="connsiteX6" fmla="*/ 14451 w 91767"/>
                <a:gd name="connsiteY6" fmla="*/ 27479 h 36605"/>
                <a:gd name="connsiteX7" fmla="*/ 8367 w 91767"/>
                <a:gd name="connsiteY7" fmla="*/ 36605 h 36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6605">
                  <a:moveTo>
                    <a:pt x="8367" y="36605"/>
                  </a:moveTo>
                  <a:cubicBezTo>
                    <a:pt x="5324" y="36605"/>
                    <a:pt x="5324" y="36605"/>
                    <a:pt x="2282" y="33563"/>
                  </a:cubicBezTo>
                  <a:cubicBezTo>
                    <a:pt x="-761" y="30521"/>
                    <a:pt x="-761" y="24436"/>
                    <a:pt x="2282" y="21394"/>
                  </a:cubicBezTo>
                  <a:cubicBezTo>
                    <a:pt x="29662" y="-9028"/>
                    <a:pt x="69212" y="98"/>
                    <a:pt x="87465" y="6183"/>
                  </a:cubicBezTo>
                  <a:cubicBezTo>
                    <a:pt x="90507" y="9225"/>
                    <a:pt x="93549" y="12267"/>
                    <a:pt x="90507" y="15310"/>
                  </a:cubicBezTo>
                  <a:cubicBezTo>
                    <a:pt x="87465" y="18352"/>
                    <a:pt x="84423" y="21394"/>
                    <a:pt x="81381" y="18352"/>
                  </a:cubicBezTo>
                  <a:cubicBezTo>
                    <a:pt x="78338" y="18352"/>
                    <a:pt x="38789" y="98"/>
                    <a:pt x="14451" y="27479"/>
                  </a:cubicBezTo>
                  <a:cubicBezTo>
                    <a:pt x="11409" y="36605"/>
                    <a:pt x="8367" y="36605"/>
                    <a:pt x="8367" y="36605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4256D2C4-8979-49B4-BF02-156C4BBEFE07}"/>
                </a:ext>
              </a:extLst>
            </p:cNvPr>
            <p:cNvSpPr/>
            <p:nvPr/>
          </p:nvSpPr>
          <p:spPr>
            <a:xfrm>
              <a:off x="15431442" y="2337021"/>
              <a:ext cx="92505" cy="34078"/>
            </a:xfrm>
            <a:custGeom>
              <a:avLst/>
              <a:gdLst>
                <a:gd name="connsiteX0" fmla="*/ 87181 w 92505"/>
                <a:gd name="connsiteY0" fmla="*/ 34079 h 34078"/>
                <a:gd name="connsiteX1" fmla="*/ 81097 w 92505"/>
                <a:gd name="connsiteY1" fmla="*/ 31036 h 34078"/>
                <a:gd name="connsiteX2" fmla="*/ 14167 w 92505"/>
                <a:gd name="connsiteY2" fmla="*/ 27994 h 34078"/>
                <a:gd name="connsiteX3" fmla="*/ 1998 w 92505"/>
                <a:gd name="connsiteY3" fmla="*/ 24952 h 34078"/>
                <a:gd name="connsiteX4" fmla="*/ 5041 w 92505"/>
                <a:gd name="connsiteY4" fmla="*/ 12783 h 34078"/>
                <a:gd name="connsiteX5" fmla="*/ 90224 w 92505"/>
                <a:gd name="connsiteY5" fmla="*/ 18867 h 34078"/>
                <a:gd name="connsiteX6" fmla="*/ 90224 w 92505"/>
                <a:gd name="connsiteY6" fmla="*/ 31036 h 34078"/>
                <a:gd name="connsiteX7" fmla="*/ 87181 w 92505"/>
                <a:gd name="connsiteY7" fmla="*/ 34079 h 34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05" h="34078">
                  <a:moveTo>
                    <a:pt x="87181" y="34079"/>
                  </a:moveTo>
                  <a:cubicBezTo>
                    <a:pt x="84140" y="34079"/>
                    <a:pt x="84140" y="34079"/>
                    <a:pt x="81097" y="31036"/>
                  </a:cubicBezTo>
                  <a:cubicBezTo>
                    <a:pt x="81097" y="31036"/>
                    <a:pt x="50675" y="3656"/>
                    <a:pt x="14167" y="27994"/>
                  </a:cubicBezTo>
                  <a:cubicBezTo>
                    <a:pt x="11125" y="31036"/>
                    <a:pt x="5041" y="31036"/>
                    <a:pt x="1998" y="24952"/>
                  </a:cubicBezTo>
                  <a:cubicBezTo>
                    <a:pt x="-1044" y="21910"/>
                    <a:pt x="-1044" y="15825"/>
                    <a:pt x="5041" y="12783"/>
                  </a:cubicBezTo>
                  <a:cubicBezTo>
                    <a:pt x="41547" y="-11555"/>
                    <a:pt x="78055" y="3656"/>
                    <a:pt x="90224" y="18867"/>
                  </a:cubicBezTo>
                  <a:cubicBezTo>
                    <a:pt x="93266" y="21910"/>
                    <a:pt x="93266" y="27994"/>
                    <a:pt x="90224" y="31036"/>
                  </a:cubicBezTo>
                  <a:cubicBezTo>
                    <a:pt x="90224" y="34079"/>
                    <a:pt x="90224" y="34079"/>
                    <a:pt x="87181" y="34079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FB76A126-82D4-4292-AFFF-DA2453494F0C}"/>
                </a:ext>
              </a:extLst>
            </p:cNvPr>
            <p:cNvSpPr/>
            <p:nvPr/>
          </p:nvSpPr>
          <p:spPr>
            <a:xfrm>
              <a:off x="15186335" y="2117459"/>
              <a:ext cx="268711" cy="265809"/>
            </a:xfrm>
            <a:custGeom>
              <a:avLst/>
              <a:gdLst>
                <a:gd name="connsiteX0" fmla="*/ 265359 w 268711"/>
                <a:gd name="connsiteY0" fmla="*/ 1133 h 265809"/>
                <a:gd name="connsiteX1" fmla="*/ 234936 w 268711"/>
                <a:gd name="connsiteY1" fmla="*/ 128908 h 265809"/>
                <a:gd name="connsiteX2" fmla="*/ 683 w 268711"/>
                <a:gd name="connsiteY2" fmla="*/ 265809 h 265809"/>
                <a:gd name="connsiteX3" fmla="*/ 265359 w 268711"/>
                <a:gd name="connsiteY3" fmla="*/ 1133 h 265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711" h="265809">
                  <a:moveTo>
                    <a:pt x="265359" y="1133"/>
                  </a:moveTo>
                  <a:cubicBezTo>
                    <a:pt x="265359" y="1133"/>
                    <a:pt x="283613" y="89358"/>
                    <a:pt x="234936" y="128908"/>
                  </a:cubicBezTo>
                  <a:cubicBezTo>
                    <a:pt x="234936" y="128908"/>
                    <a:pt x="28063" y="180626"/>
                    <a:pt x="683" y="265809"/>
                  </a:cubicBezTo>
                  <a:cubicBezTo>
                    <a:pt x="683" y="265809"/>
                    <a:pt x="-26697" y="-20163"/>
                    <a:pt x="265359" y="1133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08953903-E7ED-4D83-8496-29B086B5B750}"/>
                </a:ext>
              </a:extLst>
            </p:cNvPr>
            <p:cNvSpPr/>
            <p:nvPr/>
          </p:nvSpPr>
          <p:spPr>
            <a:xfrm>
              <a:off x="15421272" y="2118592"/>
              <a:ext cx="232445" cy="306982"/>
            </a:xfrm>
            <a:custGeom>
              <a:avLst/>
              <a:gdLst>
                <a:gd name="connsiteX0" fmla="*/ 0 w 232445"/>
                <a:gd name="connsiteY0" fmla="*/ 127775 h 306982"/>
                <a:gd name="connsiteX1" fmla="*/ 142985 w 232445"/>
                <a:gd name="connsiteY1" fmla="*/ 176451 h 306982"/>
                <a:gd name="connsiteX2" fmla="*/ 206873 w 232445"/>
                <a:gd name="connsiteY2" fmla="*/ 295099 h 306982"/>
                <a:gd name="connsiteX3" fmla="*/ 231211 w 232445"/>
                <a:gd name="connsiteY3" fmla="*/ 289014 h 306982"/>
                <a:gd name="connsiteX4" fmla="*/ 30423 w 232445"/>
                <a:gd name="connsiteY4" fmla="*/ 0 h 306982"/>
                <a:gd name="connsiteX5" fmla="*/ 0 w 232445"/>
                <a:gd name="connsiteY5" fmla="*/ 127775 h 306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2445" h="306982">
                  <a:moveTo>
                    <a:pt x="0" y="127775"/>
                  </a:moveTo>
                  <a:cubicBezTo>
                    <a:pt x="0" y="127775"/>
                    <a:pt x="91268" y="173408"/>
                    <a:pt x="142985" y="176451"/>
                  </a:cubicBezTo>
                  <a:cubicBezTo>
                    <a:pt x="194704" y="179493"/>
                    <a:pt x="206873" y="295099"/>
                    <a:pt x="206873" y="295099"/>
                  </a:cubicBezTo>
                  <a:cubicBezTo>
                    <a:pt x="206873" y="295099"/>
                    <a:pt x="228169" y="325521"/>
                    <a:pt x="231211" y="289014"/>
                  </a:cubicBezTo>
                  <a:cubicBezTo>
                    <a:pt x="237295" y="209915"/>
                    <a:pt x="228169" y="12169"/>
                    <a:pt x="30423" y="0"/>
                  </a:cubicBezTo>
                  <a:cubicBezTo>
                    <a:pt x="30423" y="0"/>
                    <a:pt x="24338" y="121690"/>
                    <a:pt x="0" y="127775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6DE433DC-1530-4BD3-8EF1-9885827EE9D8}"/>
                </a:ext>
              </a:extLst>
            </p:cNvPr>
            <p:cNvSpPr/>
            <p:nvPr/>
          </p:nvSpPr>
          <p:spPr>
            <a:xfrm>
              <a:off x="15591548" y="2395689"/>
              <a:ext cx="76104" cy="112780"/>
            </a:xfrm>
            <a:custGeom>
              <a:avLst/>
              <a:gdLst>
                <a:gd name="connsiteX0" fmla="*/ 9217 w 76104"/>
                <a:gd name="connsiteY0" fmla="*/ 18002 h 112780"/>
                <a:gd name="connsiteX1" fmla="*/ 67019 w 76104"/>
                <a:gd name="connsiteY1" fmla="*/ 5832 h 112780"/>
                <a:gd name="connsiteX2" fmla="*/ 15301 w 76104"/>
                <a:gd name="connsiteY2" fmla="*/ 109269 h 112780"/>
                <a:gd name="connsiteX3" fmla="*/ 9217 w 76104"/>
                <a:gd name="connsiteY3" fmla="*/ 18002 h 11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104" h="112780">
                  <a:moveTo>
                    <a:pt x="9217" y="18002"/>
                  </a:moveTo>
                  <a:cubicBezTo>
                    <a:pt x="9217" y="18002"/>
                    <a:pt x="42681" y="-12421"/>
                    <a:pt x="67019" y="5832"/>
                  </a:cubicBezTo>
                  <a:cubicBezTo>
                    <a:pt x="94399" y="24086"/>
                    <a:pt x="54850" y="133607"/>
                    <a:pt x="15301" y="109269"/>
                  </a:cubicBezTo>
                  <a:cubicBezTo>
                    <a:pt x="-15121" y="94058"/>
                    <a:pt x="9217" y="18002"/>
                    <a:pt x="9217" y="18002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407EF56E-E3EC-4A3F-BC0C-2117AF4AB165}"/>
                </a:ext>
              </a:extLst>
            </p:cNvPr>
            <p:cNvSpPr/>
            <p:nvPr/>
          </p:nvSpPr>
          <p:spPr>
            <a:xfrm>
              <a:off x="15412144" y="2115550"/>
              <a:ext cx="217260" cy="292056"/>
            </a:xfrm>
            <a:custGeom>
              <a:avLst/>
              <a:gdLst>
                <a:gd name="connsiteX0" fmla="*/ 212958 w 217260"/>
                <a:gd name="connsiteY0" fmla="*/ 292056 h 292056"/>
                <a:gd name="connsiteX1" fmla="*/ 206874 w 217260"/>
                <a:gd name="connsiteY1" fmla="*/ 285972 h 292056"/>
                <a:gd name="connsiteX2" fmla="*/ 152113 w 217260"/>
                <a:gd name="connsiteY2" fmla="*/ 185577 h 292056"/>
                <a:gd name="connsiteX3" fmla="*/ 6085 w 217260"/>
                <a:gd name="connsiteY3" fmla="*/ 133859 h 292056"/>
                <a:gd name="connsiteX4" fmla="*/ 0 w 217260"/>
                <a:gd name="connsiteY4" fmla="*/ 130817 h 292056"/>
                <a:gd name="connsiteX5" fmla="*/ 3042 w 217260"/>
                <a:gd name="connsiteY5" fmla="*/ 124732 h 292056"/>
                <a:gd name="connsiteX6" fmla="*/ 21296 w 217260"/>
                <a:gd name="connsiteY6" fmla="*/ 100394 h 292056"/>
                <a:gd name="connsiteX7" fmla="*/ 30423 w 217260"/>
                <a:gd name="connsiteY7" fmla="*/ 60845 h 292056"/>
                <a:gd name="connsiteX8" fmla="*/ 33465 w 217260"/>
                <a:gd name="connsiteY8" fmla="*/ 33465 h 292056"/>
                <a:gd name="connsiteX9" fmla="*/ 36507 w 217260"/>
                <a:gd name="connsiteY9" fmla="*/ 6085 h 292056"/>
                <a:gd name="connsiteX10" fmla="*/ 42592 w 217260"/>
                <a:gd name="connsiteY10" fmla="*/ 0 h 292056"/>
                <a:gd name="connsiteX11" fmla="*/ 48676 w 217260"/>
                <a:gd name="connsiteY11" fmla="*/ 6085 h 292056"/>
                <a:gd name="connsiteX12" fmla="*/ 45634 w 217260"/>
                <a:gd name="connsiteY12" fmla="*/ 33465 h 292056"/>
                <a:gd name="connsiteX13" fmla="*/ 42592 w 217260"/>
                <a:gd name="connsiteY13" fmla="*/ 60845 h 292056"/>
                <a:gd name="connsiteX14" fmla="*/ 33465 w 217260"/>
                <a:gd name="connsiteY14" fmla="*/ 106479 h 292056"/>
                <a:gd name="connsiteX15" fmla="*/ 18254 w 217260"/>
                <a:gd name="connsiteY15" fmla="*/ 127775 h 292056"/>
                <a:gd name="connsiteX16" fmla="*/ 152113 w 217260"/>
                <a:gd name="connsiteY16" fmla="*/ 173408 h 292056"/>
                <a:gd name="connsiteX17" fmla="*/ 216000 w 217260"/>
                <a:gd name="connsiteY17" fmla="*/ 285972 h 292056"/>
                <a:gd name="connsiteX18" fmla="*/ 212958 w 217260"/>
                <a:gd name="connsiteY18" fmla="*/ 292056 h 292056"/>
                <a:gd name="connsiteX19" fmla="*/ 212958 w 217260"/>
                <a:gd name="connsiteY19" fmla="*/ 292056 h 29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7260" h="292056">
                  <a:moveTo>
                    <a:pt x="212958" y="292056"/>
                  </a:moveTo>
                  <a:cubicBezTo>
                    <a:pt x="209916" y="292056"/>
                    <a:pt x="206874" y="289014"/>
                    <a:pt x="206874" y="285972"/>
                  </a:cubicBezTo>
                  <a:cubicBezTo>
                    <a:pt x="206874" y="285972"/>
                    <a:pt x="200789" y="191662"/>
                    <a:pt x="152113" y="185577"/>
                  </a:cubicBezTo>
                  <a:cubicBezTo>
                    <a:pt x="82141" y="176451"/>
                    <a:pt x="9127" y="136901"/>
                    <a:pt x="6085" y="133859"/>
                  </a:cubicBezTo>
                  <a:lnTo>
                    <a:pt x="0" y="130817"/>
                  </a:lnTo>
                  <a:lnTo>
                    <a:pt x="3042" y="124732"/>
                  </a:lnTo>
                  <a:cubicBezTo>
                    <a:pt x="9127" y="115606"/>
                    <a:pt x="15211" y="109521"/>
                    <a:pt x="21296" y="100394"/>
                  </a:cubicBezTo>
                  <a:cubicBezTo>
                    <a:pt x="27381" y="88225"/>
                    <a:pt x="27381" y="73014"/>
                    <a:pt x="30423" y="60845"/>
                  </a:cubicBezTo>
                  <a:cubicBezTo>
                    <a:pt x="30423" y="54761"/>
                    <a:pt x="30423" y="42592"/>
                    <a:pt x="33465" y="33465"/>
                  </a:cubicBezTo>
                  <a:cubicBezTo>
                    <a:pt x="33465" y="21296"/>
                    <a:pt x="36507" y="12169"/>
                    <a:pt x="36507" y="6085"/>
                  </a:cubicBezTo>
                  <a:cubicBezTo>
                    <a:pt x="36507" y="3042"/>
                    <a:pt x="39550" y="0"/>
                    <a:pt x="42592" y="0"/>
                  </a:cubicBezTo>
                  <a:cubicBezTo>
                    <a:pt x="45634" y="0"/>
                    <a:pt x="48676" y="3042"/>
                    <a:pt x="48676" y="6085"/>
                  </a:cubicBezTo>
                  <a:cubicBezTo>
                    <a:pt x="48676" y="12169"/>
                    <a:pt x="48676" y="24338"/>
                    <a:pt x="45634" y="33465"/>
                  </a:cubicBezTo>
                  <a:cubicBezTo>
                    <a:pt x="45634" y="45634"/>
                    <a:pt x="42592" y="54761"/>
                    <a:pt x="42592" y="60845"/>
                  </a:cubicBezTo>
                  <a:cubicBezTo>
                    <a:pt x="42592" y="76056"/>
                    <a:pt x="39550" y="91268"/>
                    <a:pt x="33465" y="106479"/>
                  </a:cubicBezTo>
                  <a:cubicBezTo>
                    <a:pt x="30423" y="115606"/>
                    <a:pt x="24339" y="121690"/>
                    <a:pt x="18254" y="127775"/>
                  </a:cubicBezTo>
                  <a:cubicBezTo>
                    <a:pt x="36507" y="136901"/>
                    <a:pt x="97352" y="167324"/>
                    <a:pt x="152113" y="173408"/>
                  </a:cubicBezTo>
                  <a:cubicBezTo>
                    <a:pt x="209916" y="179493"/>
                    <a:pt x="216000" y="279887"/>
                    <a:pt x="216000" y="285972"/>
                  </a:cubicBezTo>
                  <a:cubicBezTo>
                    <a:pt x="219043" y="289014"/>
                    <a:pt x="216000" y="292056"/>
                    <a:pt x="212958" y="292056"/>
                  </a:cubicBezTo>
                  <a:lnTo>
                    <a:pt x="212958" y="292056"/>
                  </a:ln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61E45651-436F-4EEE-905D-7737F262BCEB}"/>
                </a:ext>
              </a:extLst>
            </p:cNvPr>
            <p:cNvSpPr/>
            <p:nvPr/>
          </p:nvSpPr>
          <p:spPr>
            <a:xfrm>
              <a:off x="15318595" y="2640508"/>
              <a:ext cx="222675" cy="83492"/>
            </a:xfrm>
            <a:custGeom>
              <a:avLst/>
              <a:gdLst>
                <a:gd name="connsiteX0" fmla="*/ 69211 w 222675"/>
                <a:gd name="connsiteY0" fmla="*/ 83493 h 83492"/>
                <a:gd name="connsiteX1" fmla="*/ 2281 w 222675"/>
                <a:gd name="connsiteY1" fmla="*/ 59155 h 83492"/>
                <a:gd name="connsiteX2" fmla="*/ 2281 w 222675"/>
                <a:gd name="connsiteY2" fmla="*/ 50028 h 83492"/>
                <a:gd name="connsiteX3" fmla="*/ 11408 w 222675"/>
                <a:gd name="connsiteY3" fmla="*/ 50028 h 83492"/>
                <a:gd name="connsiteX4" fmla="*/ 81380 w 222675"/>
                <a:gd name="connsiteY4" fmla="*/ 71324 h 83492"/>
                <a:gd name="connsiteX5" fmla="*/ 212197 w 222675"/>
                <a:gd name="connsiteY5" fmla="*/ 1352 h 83492"/>
                <a:gd name="connsiteX6" fmla="*/ 221324 w 222675"/>
                <a:gd name="connsiteY6" fmla="*/ 1352 h 83492"/>
                <a:gd name="connsiteX7" fmla="*/ 221324 w 222675"/>
                <a:gd name="connsiteY7" fmla="*/ 10479 h 83492"/>
                <a:gd name="connsiteX8" fmla="*/ 87465 w 222675"/>
                <a:gd name="connsiteY8" fmla="*/ 83493 h 83492"/>
                <a:gd name="connsiteX9" fmla="*/ 69211 w 222675"/>
                <a:gd name="connsiteY9" fmla="*/ 83493 h 83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675" h="83492">
                  <a:moveTo>
                    <a:pt x="69211" y="83493"/>
                  </a:moveTo>
                  <a:cubicBezTo>
                    <a:pt x="32704" y="83493"/>
                    <a:pt x="5324" y="59155"/>
                    <a:pt x="2281" y="59155"/>
                  </a:cubicBezTo>
                  <a:cubicBezTo>
                    <a:pt x="-760" y="56113"/>
                    <a:pt x="-760" y="53070"/>
                    <a:pt x="2281" y="50028"/>
                  </a:cubicBezTo>
                  <a:cubicBezTo>
                    <a:pt x="5324" y="46986"/>
                    <a:pt x="8366" y="46986"/>
                    <a:pt x="11408" y="50028"/>
                  </a:cubicBezTo>
                  <a:cubicBezTo>
                    <a:pt x="11408" y="50028"/>
                    <a:pt x="44873" y="77408"/>
                    <a:pt x="81380" y="71324"/>
                  </a:cubicBezTo>
                  <a:cubicBezTo>
                    <a:pt x="120930" y="65239"/>
                    <a:pt x="209155" y="1352"/>
                    <a:pt x="212197" y="1352"/>
                  </a:cubicBezTo>
                  <a:cubicBezTo>
                    <a:pt x="215239" y="-1690"/>
                    <a:pt x="218281" y="1352"/>
                    <a:pt x="221324" y="1352"/>
                  </a:cubicBezTo>
                  <a:cubicBezTo>
                    <a:pt x="224366" y="4394"/>
                    <a:pt x="221324" y="7437"/>
                    <a:pt x="221324" y="10479"/>
                  </a:cubicBezTo>
                  <a:cubicBezTo>
                    <a:pt x="218281" y="13521"/>
                    <a:pt x="127014" y="77408"/>
                    <a:pt x="87465" y="83493"/>
                  </a:cubicBezTo>
                  <a:cubicBezTo>
                    <a:pt x="78337" y="83493"/>
                    <a:pt x="75296" y="83493"/>
                    <a:pt x="69211" y="83493"/>
                  </a:cubicBez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2A2F243E-4BDE-490C-B1D0-AF44FE6E58A2}"/>
                </a:ext>
              </a:extLst>
            </p:cNvPr>
            <p:cNvSpPr/>
            <p:nvPr/>
          </p:nvSpPr>
          <p:spPr>
            <a:xfrm>
              <a:off x="15716370" y="2480620"/>
              <a:ext cx="120929" cy="292056"/>
            </a:xfrm>
            <a:custGeom>
              <a:avLst/>
              <a:gdLst>
                <a:gd name="connsiteX0" fmla="*/ 112564 w 120929"/>
                <a:gd name="connsiteY0" fmla="*/ 292056 h 292056"/>
                <a:gd name="connsiteX1" fmla="*/ 109521 w 120929"/>
                <a:gd name="connsiteY1" fmla="*/ 289014 h 292056"/>
                <a:gd name="connsiteX2" fmla="*/ 85184 w 120929"/>
                <a:gd name="connsiteY2" fmla="*/ 185577 h 292056"/>
                <a:gd name="connsiteX3" fmla="*/ 36507 w 120929"/>
                <a:gd name="connsiteY3" fmla="*/ 79099 h 292056"/>
                <a:gd name="connsiteX4" fmla="*/ 0 w 120929"/>
                <a:gd name="connsiteY4" fmla="*/ 6085 h 292056"/>
                <a:gd name="connsiteX5" fmla="*/ 6085 w 120929"/>
                <a:gd name="connsiteY5" fmla="*/ 0 h 292056"/>
                <a:gd name="connsiteX6" fmla="*/ 12170 w 120929"/>
                <a:gd name="connsiteY6" fmla="*/ 6085 h 292056"/>
                <a:gd name="connsiteX7" fmla="*/ 45634 w 120929"/>
                <a:gd name="connsiteY7" fmla="*/ 73014 h 292056"/>
                <a:gd name="connsiteX8" fmla="*/ 97352 w 120929"/>
                <a:gd name="connsiteY8" fmla="*/ 188620 h 292056"/>
                <a:gd name="connsiteX9" fmla="*/ 118649 w 120929"/>
                <a:gd name="connsiteY9" fmla="*/ 282930 h 292056"/>
                <a:gd name="connsiteX10" fmla="*/ 118649 w 120929"/>
                <a:gd name="connsiteY10" fmla="*/ 292056 h 292056"/>
                <a:gd name="connsiteX11" fmla="*/ 112564 w 120929"/>
                <a:gd name="connsiteY11" fmla="*/ 292056 h 29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0929" h="292056">
                  <a:moveTo>
                    <a:pt x="112564" y="292056"/>
                  </a:moveTo>
                  <a:cubicBezTo>
                    <a:pt x="109521" y="292056"/>
                    <a:pt x="109521" y="292056"/>
                    <a:pt x="109521" y="289014"/>
                  </a:cubicBezTo>
                  <a:cubicBezTo>
                    <a:pt x="91268" y="267718"/>
                    <a:pt x="76056" y="222085"/>
                    <a:pt x="85184" y="185577"/>
                  </a:cubicBezTo>
                  <a:cubicBezTo>
                    <a:pt x="94310" y="149070"/>
                    <a:pt x="66930" y="103437"/>
                    <a:pt x="36507" y="79099"/>
                  </a:cubicBezTo>
                  <a:cubicBezTo>
                    <a:pt x="3042" y="51718"/>
                    <a:pt x="0" y="6085"/>
                    <a:pt x="0" y="6085"/>
                  </a:cubicBezTo>
                  <a:cubicBezTo>
                    <a:pt x="0" y="3042"/>
                    <a:pt x="3042" y="0"/>
                    <a:pt x="6085" y="0"/>
                  </a:cubicBezTo>
                  <a:cubicBezTo>
                    <a:pt x="9127" y="0"/>
                    <a:pt x="12170" y="3042"/>
                    <a:pt x="12170" y="6085"/>
                  </a:cubicBezTo>
                  <a:cubicBezTo>
                    <a:pt x="12170" y="6085"/>
                    <a:pt x="15211" y="48676"/>
                    <a:pt x="45634" y="73014"/>
                  </a:cubicBezTo>
                  <a:cubicBezTo>
                    <a:pt x="79099" y="100394"/>
                    <a:pt x="106479" y="149070"/>
                    <a:pt x="97352" y="188620"/>
                  </a:cubicBezTo>
                  <a:cubicBezTo>
                    <a:pt x="88226" y="225127"/>
                    <a:pt x="103437" y="264676"/>
                    <a:pt x="118649" y="282930"/>
                  </a:cubicBezTo>
                  <a:cubicBezTo>
                    <a:pt x="121690" y="285972"/>
                    <a:pt x="121690" y="289014"/>
                    <a:pt x="118649" y="292056"/>
                  </a:cubicBezTo>
                  <a:cubicBezTo>
                    <a:pt x="115606" y="292056"/>
                    <a:pt x="112564" y="292056"/>
                    <a:pt x="112564" y="292056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7ED510B6-7D99-41E0-93F6-13761378B5B1}"/>
                </a:ext>
              </a:extLst>
            </p:cNvPr>
            <p:cNvSpPr/>
            <p:nvPr/>
          </p:nvSpPr>
          <p:spPr>
            <a:xfrm>
              <a:off x="15905750" y="2851775"/>
              <a:ext cx="27213" cy="100394"/>
            </a:xfrm>
            <a:custGeom>
              <a:avLst/>
              <a:gdLst>
                <a:gd name="connsiteX0" fmla="*/ 8366 w 27213"/>
                <a:gd name="connsiteY0" fmla="*/ 100394 h 100394"/>
                <a:gd name="connsiteX1" fmla="*/ 2282 w 27213"/>
                <a:gd name="connsiteY1" fmla="*/ 97352 h 100394"/>
                <a:gd name="connsiteX2" fmla="*/ 2282 w 27213"/>
                <a:gd name="connsiteY2" fmla="*/ 88225 h 100394"/>
                <a:gd name="connsiteX3" fmla="*/ 11408 w 27213"/>
                <a:gd name="connsiteY3" fmla="*/ 6085 h 100394"/>
                <a:gd name="connsiteX4" fmla="*/ 14451 w 27213"/>
                <a:gd name="connsiteY4" fmla="*/ 0 h 100394"/>
                <a:gd name="connsiteX5" fmla="*/ 20536 w 27213"/>
                <a:gd name="connsiteY5" fmla="*/ 3042 h 100394"/>
                <a:gd name="connsiteX6" fmla="*/ 8366 w 27213"/>
                <a:gd name="connsiteY6" fmla="*/ 100394 h 100394"/>
                <a:gd name="connsiteX7" fmla="*/ 8366 w 27213"/>
                <a:gd name="connsiteY7" fmla="*/ 100394 h 100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213" h="100394">
                  <a:moveTo>
                    <a:pt x="8366" y="100394"/>
                  </a:moveTo>
                  <a:cubicBezTo>
                    <a:pt x="5324" y="100394"/>
                    <a:pt x="5324" y="100394"/>
                    <a:pt x="2282" y="97352"/>
                  </a:cubicBezTo>
                  <a:cubicBezTo>
                    <a:pt x="-761" y="94310"/>
                    <a:pt x="-761" y="91268"/>
                    <a:pt x="2282" y="88225"/>
                  </a:cubicBezTo>
                  <a:cubicBezTo>
                    <a:pt x="29662" y="66930"/>
                    <a:pt x="11408" y="6085"/>
                    <a:pt x="11408" y="6085"/>
                  </a:cubicBezTo>
                  <a:cubicBezTo>
                    <a:pt x="11408" y="3042"/>
                    <a:pt x="11408" y="0"/>
                    <a:pt x="14451" y="0"/>
                  </a:cubicBezTo>
                  <a:cubicBezTo>
                    <a:pt x="17493" y="0"/>
                    <a:pt x="20536" y="0"/>
                    <a:pt x="20536" y="3042"/>
                  </a:cubicBezTo>
                  <a:cubicBezTo>
                    <a:pt x="20536" y="6085"/>
                    <a:pt x="41831" y="73014"/>
                    <a:pt x="8366" y="100394"/>
                  </a:cubicBezTo>
                  <a:cubicBezTo>
                    <a:pt x="11408" y="100394"/>
                    <a:pt x="11408" y="100394"/>
                    <a:pt x="8366" y="100394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1B3C1233-642E-458C-8B43-BC189AFCABBB}"/>
                </a:ext>
              </a:extLst>
            </p:cNvPr>
            <p:cNvSpPr/>
            <p:nvPr/>
          </p:nvSpPr>
          <p:spPr>
            <a:xfrm>
              <a:off x="15087384" y="2451888"/>
              <a:ext cx="67520" cy="241690"/>
            </a:xfrm>
            <a:custGeom>
              <a:avLst/>
              <a:gdLst>
                <a:gd name="connsiteX0" fmla="*/ 5323 w 67520"/>
                <a:gd name="connsiteY0" fmla="*/ 241690 h 241690"/>
                <a:gd name="connsiteX1" fmla="*/ 2282 w 67520"/>
                <a:gd name="connsiteY1" fmla="*/ 238648 h 241690"/>
                <a:gd name="connsiteX2" fmla="*/ 2282 w 67520"/>
                <a:gd name="connsiteY2" fmla="*/ 229521 h 241690"/>
                <a:gd name="connsiteX3" fmla="*/ 14451 w 67520"/>
                <a:gd name="connsiteY3" fmla="*/ 92620 h 241690"/>
                <a:gd name="connsiteX4" fmla="*/ 57042 w 67520"/>
                <a:gd name="connsiteY4" fmla="*/ 1352 h 241690"/>
                <a:gd name="connsiteX5" fmla="*/ 66168 w 67520"/>
                <a:gd name="connsiteY5" fmla="*/ 1352 h 241690"/>
                <a:gd name="connsiteX6" fmla="*/ 66168 w 67520"/>
                <a:gd name="connsiteY6" fmla="*/ 10479 h 241690"/>
                <a:gd name="connsiteX7" fmla="*/ 29662 w 67520"/>
                <a:gd name="connsiteY7" fmla="*/ 89577 h 241690"/>
                <a:gd name="connsiteX8" fmla="*/ 14451 w 67520"/>
                <a:gd name="connsiteY8" fmla="*/ 235606 h 241690"/>
                <a:gd name="connsiteX9" fmla="*/ 5323 w 67520"/>
                <a:gd name="connsiteY9" fmla="*/ 241690 h 241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7520" h="241690">
                  <a:moveTo>
                    <a:pt x="5323" y="241690"/>
                  </a:moveTo>
                  <a:cubicBezTo>
                    <a:pt x="2282" y="241690"/>
                    <a:pt x="2282" y="241690"/>
                    <a:pt x="2282" y="238648"/>
                  </a:cubicBezTo>
                  <a:cubicBezTo>
                    <a:pt x="-761" y="235606"/>
                    <a:pt x="-761" y="232563"/>
                    <a:pt x="2282" y="229521"/>
                  </a:cubicBezTo>
                  <a:cubicBezTo>
                    <a:pt x="32704" y="205183"/>
                    <a:pt x="26619" y="147380"/>
                    <a:pt x="14451" y="92620"/>
                  </a:cubicBezTo>
                  <a:cubicBezTo>
                    <a:pt x="2282" y="40901"/>
                    <a:pt x="54000" y="1352"/>
                    <a:pt x="57042" y="1352"/>
                  </a:cubicBezTo>
                  <a:cubicBezTo>
                    <a:pt x="60084" y="-1690"/>
                    <a:pt x="63127" y="1352"/>
                    <a:pt x="66168" y="1352"/>
                  </a:cubicBezTo>
                  <a:cubicBezTo>
                    <a:pt x="69211" y="4394"/>
                    <a:pt x="66168" y="7437"/>
                    <a:pt x="66168" y="10479"/>
                  </a:cubicBezTo>
                  <a:cubicBezTo>
                    <a:pt x="66168" y="10479"/>
                    <a:pt x="20535" y="46986"/>
                    <a:pt x="29662" y="89577"/>
                  </a:cubicBezTo>
                  <a:cubicBezTo>
                    <a:pt x="41831" y="147380"/>
                    <a:pt x="47916" y="208225"/>
                    <a:pt x="14451" y="235606"/>
                  </a:cubicBezTo>
                  <a:cubicBezTo>
                    <a:pt x="8366" y="241690"/>
                    <a:pt x="8366" y="241690"/>
                    <a:pt x="5323" y="241690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24ADA141-63B8-4290-91DB-EE44CDF7360E}"/>
                </a:ext>
              </a:extLst>
            </p:cNvPr>
            <p:cNvSpPr/>
            <p:nvPr/>
          </p:nvSpPr>
          <p:spPr>
            <a:xfrm>
              <a:off x="15143074" y="2635775"/>
              <a:ext cx="59680" cy="118647"/>
            </a:xfrm>
            <a:custGeom>
              <a:avLst/>
              <a:gdLst>
                <a:gd name="connsiteX0" fmla="*/ 4395 w 59680"/>
                <a:gd name="connsiteY0" fmla="*/ 118648 h 118647"/>
                <a:gd name="connsiteX1" fmla="*/ 1352 w 59680"/>
                <a:gd name="connsiteY1" fmla="*/ 115606 h 118647"/>
                <a:gd name="connsiteX2" fmla="*/ 1352 w 59680"/>
                <a:gd name="connsiteY2" fmla="*/ 106479 h 118647"/>
                <a:gd name="connsiteX3" fmla="*/ 46986 w 59680"/>
                <a:gd name="connsiteY3" fmla="*/ 6085 h 118647"/>
                <a:gd name="connsiteX4" fmla="*/ 53071 w 59680"/>
                <a:gd name="connsiteY4" fmla="*/ 0 h 118647"/>
                <a:gd name="connsiteX5" fmla="*/ 59155 w 59680"/>
                <a:gd name="connsiteY5" fmla="*/ 6085 h 118647"/>
                <a:gd name="connsiteX6" fmla="*/ 10479 w 59680"/>
                <a:gd name="connsiteY6" fmla="*/ 115606 h 118647"/>
                <a:gd name="connsiteX7" fmla="*/ 4395 w 59680"/>
                <a:gd name="connsiteY7" fmla="*/ 118648 h 118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680" h="118647">
                  <a:moveTo>
                    <a:pt x="4395" y="118648"/>
                  </a:moveTo>
                  <a:cubicBezTo>
                    <a:pt x="1352" y="118648"/>
                    <a:pt x="1352" y="118648"/>
                    <a:pt x="1352" y="115606"/>
                  </a:cubicBezTo>
                  <a:cubicBezTo>
                    <a:pt x="-1690" y="112563"/>
                    <a:pt x="1352" y="109521"/>
                    <a:pt x="1352" y="106479"/>
                  </a:cubicBezTo>
                  <a:cubicBezTo>
                    <a:pt x="53071" y="69972"/>
                    <a:pt x="46986" y="9127"/>
                    <a:pt x="46986" y="6085"/>
                  </a:cubicBezTo>
                  <a:cubicBezTo>
                    <a:pt x="46986" y="3042"/>
                    <a:pt x="50028" y="0"/>
                    <a:pt x="53071" y="0"/>
                  </a:cubicBezTo>
                  <a:cubicBezTo>
                    <a:pt x="56112" y="0"/>
                    <a:pt x="59155" y="3042"/>
                    <a:pt x="59155" y="6085"/>
                  </a:cubicBezTo>
                  <a:cubicBezTo>
                    <a:pt x="59155" y="9127"/>
                    <a:pt x="68282" y="73014"/>
                    <a:pt x="10479" y="115606"/>
                  </a:cubicBezTo>
                  <a:cubicBezTo>
                    <a:pt x="4395" y="118648"/>
                    <a:pt x="4395" y="118648"/>
                    <a:pt x="4395" y="118648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6" name="图形 1">
              <a:extLst>
                <a:ext uri="{FF2B5EF4-FFF2-40B4-BE49-F238E27FC236}">
                  <a16:creationId xmlns:a16="http://schemas.microsoft.com/office/drawing/2014/main" id="{F13E7090-1A49-4166-8338-2165BE0F5F0D}"/>
                </a:ext>
              </a:extLst>
            </p:cNvPr>
            <p:cNvGrpSpPr/>
            <p:nvPr/>
          </p:nvGrpSpPr>
          <p:grpSpPr>
            <a:xfrm>
              <a:off x="14700257" y="3706648"/>
              <a:ext cx="1664113" cy="1648994"/>
              <a:chOff x="14700257" y="3706648"/>
              <a:chExt cx="1664113" cy="1648994"/>
            </a:xfrm>
          </p:grpSpPr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A620689B-0E76-4A44-A24F-65802D96CD97}"/>
                  </a:ext>
                </a:extLst>
              </p:cNvPr>
              <p:cNvSpPr/>
              <p:nvPr/>
            </p:nvSpPr>
            <p:spPr>
              <a:xfrm>
                <a:off x="14700257" y="3706648"/>
                <a:ext cx="1664113" cy="1648994"/>
              </a:xfrm>
              <a:custGeom>
                <a:avLst/>
                <a:gdLst>
                  <a:gd name="connsiteX0" fmla="*/ 1664113 w 1664113"/>
                  <a:gd name="connsiteY0" fmla="*/ 1384225 h 1648994"/>
                  <a:gd name="connsiteX1" fmla="*/ 1630648 w 1664113"/>
                  <a:gd name="connsiteY1" fmla="*/ 1411606 h 1648994"/>
                  <a:gd name="connsiteX2" fmla="*/ 0 w 1664113"/>
                  <a:gd name="connsiteY2" fmla="*/ 1566761 h 1648994"/>
                  <a:gd name="connsiteX3" fmla="*/ 142986 w 1664113"/>
                  <a:gd name="connsiteY3" fmla="*/ 1265578 h 1648994"/>
                  <a:gd name="connsiteX4" fmla="*/ 152113 w 1664113"/>
                  <a:gd name="connsiteY4" fmla="*/ 1238197 h 1648994"/>
                  <a:gd name="connsiteX5" fmla="*/ 237296 w 1664113"/>
                  <a:gd name="connsiteY5" fmla="*/ 949183 h 1648994"/>
                  <a:gd name="connsiteX6" fmla="*/ 243380 w 1664113"/>
                  <a:gd name="connsiteY6" fmla="*/ 918761 h 1648994"/>
                  <a:gd name="connsiteX7" fmla="*/ 285972 w 1664113"/>
                  <a:gd name="connsiteY7" fmla="*/ 556733 h 1648994"/>
                  <a:gd name="connsiteX8" fmla="*/ 285972 w 1664113"/>
                  <a:gd name="connsiteY8" fmla="*/ 526310 h 1648994"/>
                  <a:gd name="connsiteX9" fmla="*/ 289014 w 1664113"/>
                  <a:gd name="connsiteY9" fmla="*/ 459380 h 1648994"/>
                  <a:gd name="connsiteX10" fmla="*/ 334648 w 1664113"/>
                  <a:gd name="connsiteY10" fmla="*/ 203831 h 1648994"/>
                  <a:gd name="connsiteX11" fmla="*/ 343775 w 1664113"/>
                  <a:gd name="connsiteY11" fmla="*/ 173409 h 1648994"/>
                  <a:gd name="connsiteX12" fmla="*/ 404620 w 1664113"/>
                  <a:gd name="connsiteY12" fmla="*/ 18254 h 1648994"/>
                  <a:gd name="connsiteX13" fmla="*/ 1073916 w 1664113"/>
                  <a:gd name="connsiteY13" fmla="*/ 0 h 1648994"/>
                  <a:gd name="connsiteX14" fmla="*/ 1146930 w 1664113"/>
                  <a:gd name="connsiteY14" fmla="*/ 103437 h 1648994"/>
                  <a:gd name="connsiteX15" fmla="*/ 1162141 w 1664113"/>
                  <a:gd name="connsiteY15" fmla="*/ 127775 h 1648994"/>
                  <a:gd name="connsiteX16" fmla="*/ 1162141 w 1664113"/>
                  <a:gd name="connsiteY16" fmla="*/ 127775 h 1648994"/>
                  <a:gd name="connsiteX17" fmla="*/ 1326423 w 1664113"/>
                  <a:gd name="connsiteY17" fmla="*/ 462423 h 1648994"/>
                  <a:gd name="connsiteX18" fmla="*/ 1338592 w 1664113"/>
                  <a:gd name="connsiteY18" fmla="*/ 489803 h 1648994"/>
                  <a:gd name="connsiteX19" fmla="*/ 1478535 w 1664113"/>
                  <a:gd name="connsiteY19" fmla="*/ 888338 h 1648994"/>
                  <a:gd name="connsiteX20" fmla="*/ 1487662 w 1664113"/>
                  <a:gd name="connsiteY20" fmla="*/ 918761 h 1648994"/>
                  <a:gd name="connsiteX21" fmla="*/ 1658028 w 1664113"/>
                  <a:gd name="connsiteY21" fmla="*/ 1375099 h 1648994"/>
                  <a:gd name="connsiteX22" fmla="*/ 1658028 w 1664113"/>
                  <a:gd name="connsiteY22" fmla="*/ 1375099 h 1648994"/>
                  <a:gd name="connsiteX23" fmla="*/ 1664113 w 1664113"/>
                  <a:gd name="connsiteY23" fmla="*/ 1384225 h 1648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64113" h="1648994">
                    <a:moveTo>
                      <a:pt x="1664113" y="1384225"/>
                    </a:moveTo>
                    <a:cubicBezTo>
                      <a:pt x="1651944" y="1393352"/>
                      <a:pt x="1639775" y="1402479"/>
                      <a:pt x="1630648" y="1411606"/>
                    </a:cubicBezTo>
                    <a:cubicBezTo>
                      <a:pt x="1259493" y="1676282"/>
                      <a:pt x="584113" y="1706704"/>
                      <a:pt x="0" y="1566761"/>
                    </a:cubicBezTo>
                    <a:cubicBezTo>
                      <a:pt x="60845" y="1460282"/>
                      <a:pt x="106479" y="1359888"/>
                      <a:pt x="142986" y="1265578"/>
                    </a:cubicBezTo>
                    <a:cubicBezTo>
                      <a:pt x="146029" y="1256451"/>
                      <a:pt x="149070" y="1247324"/>
                      <a:pt x="152113" y="1238197"/>
                    </a:cubicBezTo>
                    <a:cubicBezTo>
                      <a:pt x="191663" y="1134761"/>
                      <a:pt x="219043" y="1037409"/>
                      <a:pt x="237296" y="949183"/>
                    </a:cubicBezTo>
                    <a:cubicBezTo>
                      <a:pt x="240338" y="940056"/>
                      <a:pt x="240338" y="927887"/>
                      <a:pt x="243380" y="918761"/>
                    </a:cubicBezTo>
                    <a:cubicBezTo>
                      <a:pt x="273803" y="772732"/>
                      <a:pt x="282930" y="654085"/>
                      <a:pt x="285972" y="556733"/>
                    </a:cubicBezTo>
                    <a:cubicBezTo>
                      <a:pt x="285972" y="544563"/>
                      <a:pt x="285972" y="535437"/>
                      <a:pt x="285972" y="526310"/>
                    </a:cubicBezTo>
                    <a:cubicBezTo>
                      <a:pt x="285972" y="501972"/>
                      <a:pt x="289014" y="480676"/>
                      <a:pt x="289014" y="459380"/>
                    </a:cubicBezTo>
                    <a:cubicBezTo>
                      <a:pt x="295099" y="368113"/>
                      <a:pt x="313353" y="276845"/>
                      <a:pt x="334648" y="203831"/>
                    </a:cubicBezTo>
                    <a:cubicBezTo>
                      <a:pt x="337690" y="194704"/>
                      <a:pt x="340733" y="185578"/>
                      <a:pt x="343775" y="173409"/>
                    </a:cubicBezTo>
                    <a:cubicBezTo>
                      <a:pt x="374198" y="69972"/>
                      <a:pt x="404620" y="18254"/>
                      <a:pt x="404620" y="18254"/>
                    </a:cubicBezTo>
                    <a:cubicBezTo>
                      <a:pt x="404620" y="18254"/>
                      <a:pt x="693634" y="39549"/>
                      <a:pt x="1073916" y="0"/>
                    </a:cubicBezTo>
                    <a:cubicBezTo>
                      <a:pt x="1098254" y="30423"/>
                      <a:pt x="1122591" y="66930"/>
                      <a:pt x="1146930" y="103437"/>
                    </a:cubicBezTo>
                    <a:cubicBezTo>
                      <a:pt x="1153014" y="112564"/>
                      <a:pt x="1159099" y="121690"/>
                      <a:pt x="1162141" y="127775"/>
                    </a:cubicBezTo>
                    <a:lnTo>
                      <a:pt x="1162141" y="127775"/>
                    </a:lnTo>
                    <a:cubicBezTo>
                      <a:pt x="1222986" y="228169"/>
                      <a:pt x="1277747" y="343775"/>
                      <a:pt x="1326423" y="462423"/>
                    </a:cubicBezTo>
                    <a:cubicBezTo>
                      <a:pt x="1329465" y="471549"/>
                      <a:pt x="1332508" y="480676"/>
                      <a:pt x="1338592" y="489803"/>
                    </a:cubicBezTo>
                    <a:cubicBezTo>
                      <a:pt x="1390310" y="620620"/>
                      <a:pt x="1432902" y="754479"/>
                      <a:pt x="1478535" y="888338"/>
                    </a:cubicBezTo>
                    <a:cubicBezTo>
                      <a:pt x="1481578" y="897465"/>
                      <a:pt x="1484620" y="906592"/>
                      <a:pt x="1487662" y="918761"/>
                    </a:cubicBezTo>
                    <a:cubicBezTo>
                      <a:pt x="1542423" y="1080000"/>
                      <a:pt x="1594141" y="1238197"/>
                      <a:pt x="1658028" y="1375099"/>
                    </a:cubicBezTo>
                    <a:lnTo>
                      <a:pt x="1658028" y="1375099"/>
                    </a:lnTo>
                    <a:cubicBezTo>
                      <a:pt x="1661071" y="1378141"/>
                      <a:pt x="1661071" y="1381183"/>
                      <a:pt x="1664113" y="1384225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EE0FA935-F27A-4992-8479-CE7DAEA93137}"/>
                  </a:ext>
                </a:extLst>
              </p:cNvPr>
              <p:cNvSpPr/>
              <p:nvPr/>
            </p:nvSpPr>
            <p:spPr>
              <a:xfrm>
                <a:off x="15037947" y="3807043"/>
                <a:ext cx="827493" cy="143800"/>
              </a:xfrm>
              <a:custGeom>
                <a:avLst/>
                <a:gdLst>
                  <a:gd name="connsiteX0" fmla="*/ 827493 w 827493"/>
                  <a:gd name="connsiteY0" fmla="*/ 27380 h 143800"/>
                  <a:gd name="connsiteX1" fmla="*/ 435042 w 827493"/>
                  <a:gd name="connsiteY1" fmla="*/ 136901 h 143800"/>
                  <a:gd name="connsiteX2" fmla="*/ 0 w 827493"/>
                  <a:gd name="connsiteY2" fmla="*/ 100394 h 143800"/>
                  <a:gd name="connsiteX3" fmla="*/ 9126 w 827493"/>
                  <a:gd name="connsiteY3" fmla="*/ 69972 h 143800"/>
                  <a:gd name="connsiteX4" fmla="*/ 410704 w 827493"/>
                  <a:gd name="connsiteY4" fmla="*/ 106479 h 143800"/>
                  <a:gd name="connsiteX5" fmla="*/ 812282 w 827493"/>
                  <a:gd name="connsiteY5" fmla="*/ 0 h 143800"/>
                  <a:gd name="connsiteX6" fmla="*/ 827493 w 827493"/>
                  <a:gd name="connsiteY6" fmla="*/ 27380 h 143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27493" h="143800">
                    <a:moveTo>
                      <a:pt x="827493" y="27380"/>
                    </a:moveTo>
                    <a:cubicBezTo>
                      <a:pt x="711887" y="103437"/>
                      <a:pt x="571943" y="127775"/>
                      <a:pt x="435042" y="136901"/>
                    </a:cubicBezTo>
                    <a:cubicBezTo>
                      <a:pt x="292057" y="146028"/>
                      <a:pt x="136901" y="155155"/>
                      <a:pt x="0" y="100394"/>
                    </a:cubicBezTo>
                    <a:cubicBezTo>
                      <a:pt x="3042" y="91268"/>
                      <a:pt x="6085" y="82141"/>
                      <a:pt x="9126" y="69972"/>
                    </a:cubicBezTo>
                    <a:cubicBezTo>
                      <a:pt x="133859" y="118648"/>
                      <a:pt x="276845" y="112563"/>
                      <a:pt x="410704" y="106479"/>
                    </a:cubicBezTo>
                    <a:cubicBezTo>
                      <a:pt x="550648" y="97352"/>
                      <a:pt x="693633" y="76056"/>
                      <a:pt x="812282" y="0"/>
                    </a:cubicBezTo>
                    <a:cubicBezTo>
                      <a:pt x="818366" y="9127"/>
                      <a:pt x="824451" y="18253"/>
                      <a:pt x="827493" y="2738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71D82FA7-DBB1-4369-93F6-3EB351D41EF9}"/>
                  </a:ext>
                </a:extLst>
              </p:cNvPr>
              <p:cNvSpPr/>
              <p:nvPr/>
            </p:nvSpPr>
            <p:spPr>
              <a:xfrm>
                <a:off x="14989271" y="4172113"/>
                <a:ext cx="1052619" cy="137746"/>
              </a:xfrm>
              <a:custGeom>
                <a:avLst/>
                <a:gdLst>
                  <a:gd name="connsiteX0" fmla="*/ 1052620 w 1052619"/>
                  <a:gd name="connsiteY0" fmla="*/ 24338 h 137746"/>
                  <a:gd name="connsiteX1" fmla="*/ 465465 w 1052619"/>
                  <a:gd name="connsiteY1" fmla="*/ 136901 h 137746"/>
                  <a:gd name="connsiteX2" fmla="*/ 0 w 1052619"/>
                  <a:gd name="connsiteY2" fmla="*/ 91268 h 137746"/>
                  <a:gd name="connsiteX3" fmla="*/ 0 w 1052619"/>
                  <a:gd name="connsiteY3" fmla="*/ 60845 h 137746"/>
                  <a:gd name="connsiteX4" fmla="*/ 465465 w 1052619"/>
                  <a:gd name="connsiteY4" fmla="*/ 109521 h 137746"/>
                  <a:gd name="connsiteX5" fmla="*/ 1040451 w 1052619"/>
                  <a:gd name="connsiteY5" fmla="*/ 0 h 137746"/>
                  <a:gd name="connsiteX6" fmla="*/ 1052620 w 1052619"/>
                  <a:gd name="connsiteY6" fmla="*/ 24338 h 137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2619" h="137746">
                    <a:moveTo>
                      <a:pt x="1052620" y="24338"/>
                    </a:moveTo>
                    <a:cubicBezTo>
                      <a:pt x="867042" y="100394"/>
                      <a:pt x="666253" y="133859"/>
                      <a:pt x="465465" y="136901"/>
                    </a:cubicBezTo>
                    <a:cubicBezTo>
                      <a:pt x="313353" y="139944"/>
                      <a:pt x="149070" y="136901"/>
                      <a:pt x="0" y="91268"/>
                    </a:cubicBezTo>
                    <a:cubicBezTo>
                      <a:pt x="0" y="79099"/>
                      <a:pt x="0" y="69972"/>
                      <a:pt x="0" y="60845"/>
                    </a:cubicBezTo>
                    <a:cubicBezTo>
                      <a:pt x="149070" y="106479"/>
                      <a:pt x="313353" y="109521"/>
                      <a:pt x="465465" y="109521"/>
                    </a:cubicBezTo>
                    <a:cubicBezTo>
                      <a:pt x="663212" y="106479"/>
                      <a:pt x="857916" y="73014"/>
                      <a:pt x="1040451" y="0"/>
                    </a:cubicBezTo>
                    <a:cubicBezTo>
                      <a:pt x="1043494" y="6084"/>
                      <a:pt x="1046535" y="15211"/>
                      <a:pt x="1052620" y="24338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18DFA0D2-945F-4D89-98BD-46C6392CA5BD}"/>
                  </a:ext>
                </a:extLst>
              </p:cNvPr>
              <p:cNvSpPr/>
              <p:nvPr/>
            </p:nvSpPr>
            <p:spPr>
              <a:xfrm>
                <a:off x="14940595" y="4594987"/>
                <a:ext cx="1250366" cy="151009"/>
              </a:xfrm>
              <a:custGeom>
                <a:avLst/>
                <a:gdLst>
                  <a:gd name="connsiteX0" fmla="*/ 1250366 w 1250366"/>
                  <a:gd name="connsiteY0" fmla="*/ 30423 h 151009"/>
                  <a:gd name="connsiteX1" fmla="*/ 660169 w 1250366"/>
                  <a:gd name="connsiteY1" fmla="*/ 149070 h 151009"/>
                  <a:gd name="connsiteX2" fmla="*/ 0 w 1250366"/>
                  <a:gd name="connsiteY2" fmla="*/ 60845 h 151009"/>
                  <a:gd name="connsiteX3" fmla="*/ 6085 w 1250366"/>
                  <a:gd name="connsiteY3" fmla="*/ 30423 h 151009"/>
                  <a:gd name="connsiteX4" fmla="*/ 629747 w 1250366"/>
                  <a:gd name="connsiteY4" fmla="*/ 118648 h 151009"/>
                  <a:gd name="connsiteX5" fmla="*/ 1241240 w 1250366"/>
                  <a:gd name="connsiteY5" fmla="*/ 0 h 151009"/>
                  <a:gd name="connsiteX6" fmla="*/ 1250366 w 1250366"/>
                  <a:gd name="connsiteY6" fmla="*/ 30423 h 151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50366" h="151009">
                    <a:moveTo>
                      <a:pt x="1250366" y="30423"/>
                    </a:moveTo>
                    <a:cubicBezTo>
                      <a:pt x="1070874" y="121690"/>
                      <a:pt x="860958" y="142986"/>
                      <a:pt x="660169" y="149070"/>
                    </a:cubicBezTo>
                    <a:cubicBezTo>
                      <a:pt x="435043" y="155155"/>
                      <a:pt x="203831" y="152113"/>
                      <a:pt x="0" y="60845"/>
                    </a:cubicBezTo>
                    <a:cubicBezTo>
                      <a:pt x="3042" y="51718"/>
                      <a:pt x="3042" y="39549"/>
                      <a:pt x="6085" y="30423"/>
                    </a:cubicBezTo>
                    <a:cubicBezTo>
                      <a:pt x="197746" y="115605"/>
                      <a:pt x="416789" y="124732"/>
                      <a:pt x="629747" y="118648"/>
                    </a:cubicBezTo>
                    <a:cubicBezTo>
                      <a:pt x="839662" y="112563"/>
                      <a:pt x="1055662" y="97352"/>
                      <a:pt x="1241240" y="0"/>
                    </a:cubicBezTo>
                    <a:cubicBezTo>
                      <a:pt x="1241240" y="12169"/>
                      <a:pt x="1244282" y="21296"/>
                      <a:pt x="1250366" y="30423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36128794-4A88-4089-9275-FAF3C90F8B34}"/>
                  </a:ext>
                </a:extLst>
              </p:cNvPr>
              <p:cNvSpPr/>
              <p:nvPr/>
            </p:nvSpPr>
            <p:spPr>
              <a:xfrm>
                <a:off x="14843243" y="4944846"/>
                <a:ext cx="1521126" cy="203122"/>
              </a:xfrm>
              <a:custGeom>
                <a:avLst/>
                <a:gdLst>
                  <a:gd name="connsiteX0" fmla="*/ 1521127 w 1521126"/>
                  <a:gd name="connsiteY0" fmla="*/ 146028 h 203122"/>
                  <a:gd name="connsiteX1" fmla="*/ 1487662 w 1521126"/>
                  <a:gd name="connsiteY1" fmla="*/ 173408 h 203122"/>
                  <a:gd name="connsiteX2" fmla="*/ 736225 w 1521126"/>
                  <a:gd name="connsiteY2" fmla="*/ 182535 h 203122"/>
                  <a:gd name="connsiteX3" fmla="*/ 0 w 1521126"/>
                  <a:gd name="connsiteY3" fmla="*/ 27380 h 203122"/>
                  <a:gd name="connsiteX4" fmla="*/ 9126 w 1521126"/>
                  <a:gd name="connsiteY4" fmla="*/ 0 h 203122"/>
                  <a:gd name="connsiteX5" fmla="*/ 763606 w 1521126"/>
                  <a:gd name="connsiteY5" fmla="*/ 155155 h 203122"/>
                  <a:gd name="connsiteX6" fmla="*/ 1515042 w 1521126"/>
                  <a:gd name="connsiteY6" fmla="*/ 136901 h 203122"/>
                  <a:gd name="connsiteX7" fmla="*/ 1521127 w 1521126"/>
                  <a:gd name="connsiteY7" fmla="*/ 146028 h 203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21126" h="203122">
                    <a:moveTo>
                      <a:pt x="1521127" y="146028"/>
                    </a:moveTo>
                    <a:cubicBezTo>
                      <a:pt x="1508958" y="155155"/>
                      <a:pt x="1496788" y="164282"/>
                      <a:pt x="1487662" y="173408"/>
                    </a:cubicBezTo>
                    <a:cubicBezTo>
                      <a:pt x="1241239" y="212958"/>
                      <a:pt x="988732" y="209916"/>
                      <a:pt x="736225" y="182535"/>
                    </a:cubicBezTo>
                    <a:cubicBezTo>
                      <a:pt x="486761" y="155155"/>
                      <a:pt x="234253" y="118648"/>
                      <a:pt x="0" y="27380"/>
                    </a:cubicBezTo>
                    <a:cubicBezTo>
                      <a:pt x="3042" y="18253"/>
                      <a:pt x="6084" y="9127"/>
                      <a:pt x="9126" y="0"/>
                    </a:cubicBezTo>
                    <a:cubicBezTo>
                      <a:pt x="249464" y="94310"/>
                      <a:pt x="508056" y="127775"/>
                      <a:pt x="763606" y="155155"/>
                    </a:cubicBezTo>
                    <a:cubicBezTo>
                      <a:pt x="1019155" y="182535"/>
                      <a:pt x="1268619" y="182535"/>
                      <a:pt x="1515042" y="136901"/>
                    </a:cubicBezTo>
                    <a:cubicBezTo>
                      <a:pt x="1518084" y="139944"/>
                      <a:pt x="1518084" y="142986"/>
                      <a:pt x="1521127" y="146028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BDD0CD56-873B-4CFF-BA68-8E22359E3735}"/>
                </a:ext>
              </a:extLst>
            </p:cNvPr>
            <p:cNvSpPr/>
            <p:nvPr/>
          </p:nvSpPr>
          <p:spPr>
            <a:xfrm>
              <a:off x="15101835" y="3667099"/>
              <a:ext cx="681464" cy="65211"/>
            </a:xfrm>
            <a:custGeom>
              <a:avLst/>
              <a:gdLst>
                <a:gd name="connsiteX0" fmla="*/ 681465 w 681464"/>
                <a:gd name="connsiteY0" fmla="*/ 42592 h 65211"/>
                <a:gd name="connsiteX1" fmla="*/ 6084 w 681464"/>
                <a:gd name="connsiteY1" fmla="*/ 57803 h 65211"/>
                <a:gd name="connsiteX2" fmla="*/ 0 w 681464"/>
                <a:gd name="connsiteY2" fmla="*/ 12169 h 65211"/>
                <a:gd name="connsiteX3" fmla="*/ 675380 w 681464"/>
                <a:gd name="connsiteY3" fmla="*/ 0 h 65211"/>
                <a:gd name="connsiteX4" fmla="*/ 681465 w 681464"/>
                <a:gd name="connsiteY4" fmla="*/ 42592 h 65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1464" h="65211">
                  <a:moveTo>
                    <a:pt x="681465" y="42592"/>
                  </a:moveTo>
                  <a:cubicBezTo>
                    <a:pt x="495887" y="82141"/>
                    <a:pt x="6084" y="57803"/>
                    <a:pt x="6084" y="57803"/>
                  </a:cubicBezTo>
                  <a:lnTo>
                    <a:pt x="0" y="12169"/>
                  </a:lnTo>
                  <a:cubicBezTo>
                    <a:pt x="0" y="12169"/>
                    <a:pt x="410704" y="39549"/>
                    <a:pt x="675380" y="0"/>
                  </a:cubicBezTo>
                  <a:lnTo>
                    <a:pt x="681465" y="42592"/>
                  </a:ln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1F16A231-E781-42CB-8374-F6E32112547D}"/>
                </a:ext>
              </a:extLst>
            </p:cNvPr>
            <p:cNvSpPr/>
            <p:nvPr/>
          </p:nvSpPr>
          <p:spPr>
            <a:xfrm>
              <a:off x="15708806" y="2852483"/>
              <a:ext cx="883733" cy="997623"/>
            </a:xfrm>
            <a:custGeom>
              <a:avLst/>
              <a:gdLst>
                <a:gd name="connsiteX0" fmla="*/ 153593 w 883733"/>
                <a:gd name="connsiteY0" fmla="*/ 14504 h 997623"/>
                <a:gd name="connsiteX1" fmla="*/ 59283 w 883733"/>
                <a:gd name="connsiteY1" fmla="*/ 248757 h 997623"/>
                <a:gd name="connsiteX2" fmla="*/ 488241 w 883733"/>
                <a:gd name="connsiteY2" fmla="*/ 580363 h 997623"/>
                <a:gd name="connsiteX3" fmla="*/ 777255 w 883733"/>
                <a:gd name="connsiteY3" fmla="*/ 997152 h 997623"/>
                <a:gd name="connsiteX4" fmla="*/ 883734 w 883733"/>
                <a:gd name="connsiteY4" fmla="*/ 948476 h 997623"/>
                <a:gd name="connsiteX5" fmla="*/ 664691 w 883733"/>
                <a:gd name="connsiteY5" fmla="*/ 422166 h 997623"/>
                <a:gd name="connsiteX6" fmla="*/ 153593 w 883733"/>
                <a:gd name="connsiteY6" fmla="*/ 14504 h 99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733" h="997623">
                  <a:moveTo>
                    <a:pt x="153593" y="14504"/>
                  </a:moveTo>
                  <a:cubicBezTo>
                    <a:pt x="-16774" y="-58510"/>
                    <a:pt x="-41111" y="163574"/>
                    <a:pt x="59283" y="248757"/>
                  </a:cubicBezTo>
                  <a:cubicBezTo>
                    <a:pt x="156635" y="333940"/>
                    <a:pt x="433480" y="516476"/>
                    <a:pt x="488241" y="580363"/>
                  </a:cubicBezTo>
                  <a:cubicBezTo>
                    <a:pt x="555170" y="662504"/>
                    <a:pt x="777255" y="997152"/>
                    <a:pt x="777255" y="997152"/>
                  </a:cubicBezTo>
                  <a:cubicBezTo>
                    <a:pt x="807677" y="1003236"/>
                    <a:pt x="883734" y="948476"/>
                    <a:pt x="883734" y="948476"/>
                  </a:cubicBezTo>
                  <a:cubicBezTo>
                    <a:pt x="883734" y="948476"/>
                    <a:pt x="752916" y="592532"/>
                    <a:pt x="664691" y="422166"/>
                  </a:cubicBezTo>
                  <a:cubicBezTo>
                    <a:pt x="631226" y="361321"/>
                    <a:pt x="330043" y="90560"/>
                    <a:pt x="153593" y="14504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068724BF-E7AE-49B4-815E-7B01778C824E}"/>
                </a:ext>
              </a:extLst>
            </p:cNvPr>
            <p:cNvSpPr/>
            <p:nvPr/>
          </p:nvSpPr>
          <p:spPr>
            <a:xfrm>
              <a:off x="15627943" y="2797848"/>
              <a:ext cx="423074" cy="428124"/>
            </a:xfrm>
            <a:custGeom>
              <a:avLst/>
              <a:gdLst>
                <a:gd name="connsiteX0" fmla="*/ 423075 w 423074"/>
                <a:gd name="connsiteY0" fmla="*/ 120856 h 428124"/>
                <a:gd name="connsiteX1" fmla="*/ 30624 w 423074"/>
                <a:gd name="connsiteY1" fmla="*/ 23504 h 428124"/>
                <a:gd name="connsiteX2" fmla="*/ 207075 w 423074"/>
                <a:gd name="connsiteY2" fmla="*/ 428124 h 428124"/>
                <a:gd name="connsiteX3" fmla="*/ 423075 w 423074"/>
                <a:gd name="connsiteY3" fmla="*/ 120856 h 428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074" h="428124">
                  <a:moveTo>
                    <a:pt x="423075" y="120856"/>
                  </a:moveTo>
                  <a:cubicBezTo>
                    <a:pt x="286173" y="-834"/>
                    <a:pt x="94512" y="-25172"/>
                    <a:pt x="30624" y="23504"/>
                  </a:cubicBezTo>
                  <a:cubicBezTo>
                    <a:pt x="-51516" y="87392"/>
                    <a:pt x="39751" y="309476"/>
                    <a:pt x="207075" y="428124"/>
                  </a:cubicBezTo>
                  <a:cubicBezTo>
                    <a:pt x="277047" y="397702"/>
                    <a:pt x="383526" y="215166"/>
                    <a:pt x="423075" y="120856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E3B414E2-0635-4A11-ADCD-44931E2C5DF1}"/>
                </a:ext>
              </a:extLst>
            </p:cNvPr>
            <p:cNvSpPr/>
            <p:nvPr/>
          </p:nvSpPr>
          <p:spPr>
            <a:xfrm>
              <a:off x="15621032" y="2825156"/>
              <a:ext cx="322745" cy="406901"/>
            </a:xfrm>
            <a:custGeom>
              <a:avLst/>
              <a:gdLst>
                <a:gd name="connsiteX0" fmla="*/ 213986 w 322745"/>
                <a:gd name="connsiteY0" fmla="*/ 406901 h 406901"/>
                <a:gd name="connsiteX1" fmla="*/ 213986 w 322745"/>
                <a:gd name="connsiteY1" fmla="*/ 406901 h 406901"/>
                <a:gd name="connsiteX2" fmla="*/ 22323 w 322745"/>
                <a:gd name="connsiteY2" fmla="*/ 169606 h 406901"/>
                <a:gd name="connsiteX3" fmla="*/ 19281 w 322745"/>
                <a:gd name="connsiteY3" fmla="*/ 160479 h 406901"/>
                <a:gd name="connsiteX4" fmla="*/ 19281 w 322745"/>
                <a:gd name="connsiteY4" fmla="*/ 2282 h 406901"/>
                <a:gd name="connsiteX5" fmla="*/ 28408 w 322745"/>
                <a:gd name="connsiteY5" fmla="*/ 2282 h 406901"/>
                <a:gd name="connsiteX6" fmla="*/ 28408 w 322745"/>
                <a:gd name="connsiteY6" fmla="*/ 11408 h 406901"/>
                <a:gd name="connsiteX7" fmla="*/ 28408 w 322745"/>
                <a:gd name="connsiteY7" fmla="*/ 157437 h 406901"/>
                <a:gd name="connsiteX8" fmla="*/ 31451 w 322745"/>
                <a:gd name="connsiteY8" fmla="*/ 166563 h 406901"/>
                <a:gd name="connsiteX9" fmla="*/ 213986 w 322745"/>
                <a:gd name="connsiteY9" fmla="*/ 394732 h 406901"/>
                <a:gd name="connsiteX10" fmla="*/ 311338 w 322745"/>
                <a:gd name="connsiteY10" fmla="*/ 294338 h 406901"/>
                <a:gd name="connsiteX11" fmla="*/ 320465 w 322745"/>
                <a:gd name="connsiteY11" fmla="*/ 294338 h 406901"/>
                <a:gd name="connsiteX12" fmla="*/ 320465 w 322745"/>
                <a:gd name="connsiteY12" fmla="*/ 303465 h 406901"/>
                <a:gd name="connsiteX13" fmla="*/ 213986 w 322745"/>
                <a:gd name="connsiteY13" fmla="*/ 406901 h 406901"/>
                <a:gd name="connsiteX14" fmla="*/ 213986 w 322745"/>
                <a:gd name="connsiteY14" fmla="*/ 406901 h 406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2745" h="406901">
                  <a:moveTo>
                    <a:pt x="213986" y="406901"/>
                  </a:moveTo>
                  <a:lnTo>
                    <a:pt x="213986" y="406901"/>
                  </a:lnTo>
                  <a:cubicBezTo>
                    <a:pt x="183563" y="388648"/>
                    <a:pt x="55788" y="273042"/>
                    <a:pt x="22323" y="169606"/>
                  </a:cubicBezTo>
                  <a:cubicBezTo>
                    <a:pt x="22323" y="166563"/>
                    <a:pt x="19281" y="163521"/>
                    <a:pt x="19281" y="160479"/>
                  </a:cubicBezTo>
                  <a:cubicBezTo>
                    <a:pt x="7112" y="127014"/>
                    <a:pt x="-17225" y="57042"/>
                    <a:pt x="19281" y="2282"/>
                  </a:cubicBezTo>
                  <a:cubicBezTo>
                    <a:pt x="22323" y="-761"/>
                    <a:pt x="25366" y="-761"/>
                    <a:pt x="28408" y="2282"/>
                  </a:cubicBezTo>
                  <a:cubicBezTo>
                    <a:pt x="31451" y="5324"/>
                    <a:pt x="31451" y="8366"/>
                    <a:pt x="28408" y="11408"/>
                  </a:cubicBezTo>
                  <a:cubicBezTo>
                    <a:pt x="-5057" y="63127"/>
                    <a:pt x="16239" y="127014"/>
                    <a:pt x="28408" y="157437"/>
                  </a:cubicBezTo>
                  <a:cubicBezTo>
                    <a:pt x="28408" y="160479"/>
                    <a:pt x="31451" y="163521"/>
                    <a:pt x="31451" y="166563"/>
                  </a:cubicBezTo>
                  <a:cubicBezTo>
                    <a:pt x="61873" y="260873"/>
                    <a:pt x="180521" y="373437"/>
                    <a:pt x="213986" y="394732"/>
                  </a:cubicBezTo>
                  <a:cubicBezTo>
                    <a:pt x="238324" y="385606"/>
                    <a:pt x="268746" y="349099"/>
                    <a:pt x="311338" y="294338"/>
                  </a:cubicBezTo>
                  <a:cubicBezTo>
                    <a:pt x="314380" y="291296"/>
                    <a:pt x="317422" y="291296"/>
                    <a:pt x="320465" y="294338"/>
                  </a:cubicBezTo>
                  <a:cubicBezTo>
                    <a:pt x="323506" y="297380"/>
                    <a:pt x="323506" y="300422"/>
                    <a:pt x="320465" y="303465"/>
                  </a:cubicBezTo>
                  <a:cubicBezTo>
                    <a:pt x="274831" y="358225"/>
                    <a:pt x="244409" y="394732"/>
                    <a:pt x="213986" y="406901"/>
                  </a:cubicBezTo>
                  <a:lnTo>
                    <a:pt x="213986" y="406901"/>
                  </a:ln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1" name="图形 1">
              <a:extLst>
                <a:ext uri="{FF2B5EF4-FFF2-40B4-BE49-F238E27FC236}">
                  <a16:creationId xmlns:a16="http://schemas.microsoft.com/office/drawing/2014/main" id="{9F6541BA-B34D-4BEB-8B8A-CC8506D4F130}"/>
                </a:ext>
              </a:extLst>
            </p:cNvPr>
            <p:cNvGrpSpPr/>
            <p:nvPr/>
          </p:nvGrpSpPr>
          <p:grpSpPr>
            <a:xfrm>
              <a:off x="14961876" y="2005702"/>
              <a:ext cx="997921" cy="450580"/>
              <a:chOff x="14961876" y="2005702"/>
              <a:chExt cx="997921" cy="450580"/>
            </a:xfrm>
          </p:grpSpPr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49C3A614-0A20-453C-9DAB-D6BDDA76D40B}"/>
                  </a:ext>
                </a:extLst>
              </p:cNvPr>
              <p:cNvSpPr/>
              <p:nvPr/>
            </p:nvSpPr>
            <p:spPr>
              <a:xfrm>
                <a:off x="15253948" y="2005702"/>
                <a:ext cx="437750" cy="237622"/>
              </a:xfrm>
              <a:custGeom>
                <a:avLst/>
                <a:gdLst>
                  <a:gd name="connsiteX0" fmla="*/ 431999 w 437750"/>
                  <a:gd name="connsiteY0" fmla="*/ 237623 h 237622"/>
                  <a:gd name="connsiteX1" fmla="*/ 383324 w 437750"/>
                  <a:gd name="connsiteY1" fmla="*/ 52045 h 237622"/>
                  <a:gd name="connsiteX2" fmla="*/ 139944 w 437750"/>
                  <a:gd name="connsiteY2" fmla="*/ 327 h 237622"/>
                  <a:gd name="connsiteX3" fmla="*/ 0 w 437750"/>
                  <a:gd name="connsiteY3" fmla="*/ 140271 h 237622"/>
                  <a:gd name="connsiteX4" fmla="*/ 431999 w 437750"/>
                  <a:gd name="connsiteY4" fmla="*/ 237623 h 23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7750" h="237622">
                    <a:moveTo>
                      <a:pt x="431999" y="237623"/>
                    </a:moveTo>
                    <a:cubicBezTo>
                      <a:pt x="431999" y="237623"/>
                      <a:pt x="462422" y="103764"/>
                      <a:pt x="383324" y="52045"/>
                    </a:cubicBezTo>
                    <a:cubicBezTo>
                      <a:pt x="328563" y="15538"/>
                      <a:pt x="203830" y="-2715"/>
                      <a:pt x="139944" y="327"/>
                    </a:cubicBezTo>
                    <a:cubicBezTo>
                      <a:pt x="30423" y="6412"/>
                      <a:pt x="9126" y="94637"/>
                      <a:pt x="0" y="140271"/>
                    </a:cubicBezTo>
                    <a:lnTo>
                      <a:pt x="431999" y="237623"/>
                    </a:ln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A37E9D29-7C95-4D5F-A36F-CAFD361A6B13}"/>
                  </a:ext>
                </a:extLst>
              </p:cNvPr>
              <p:cNvSpPr/>
              <p:nvPr/>
            </p:nvSpPr>
            <p:spPr>
              <a:xfrm>
                <a:off x="14961876" y="2106746"/>
                <a:ext cx="997921" cy="349535"/>
              </a:xfrm>
              <a:custGeom>
                <a:avLst/>
                <a:gdLst>
                  <a:gd name="connsiteX0" fmla="*/ 532410 w 997921"/>
                  <a:gd name="connsiteY0" fmla="*/ 121367 h 349535"/>
                  <a:gd name="connsiteX1" fmla="*/ 918776 w 997921"/>
                  <a:gd name="connsiteY1" fmla="*/ 349536 h 349535"/>
                  <a:gd name="connsiteX2" fmla="*/ 994833 w 997921"/>
                  <a:gd name="connsiteY2" fmla="*/ 303902 h 349535"/>
                  <a:gd name="connsiteX3" fmla="*/ 553706 w 997921"/>
                  <a:gd name="connsiteY3" fmla="*/ 48353 h 349535"/>
                  <a:gd name="connsiteX4" fmla="*/ 6100 w 997921"/>
                  <a:gd name="connsiteY4" fmla="*/ 54437 h 349535"/>
                  <a:gd name="connsiteX5" fmla="*/ 27396 w 997921"/>
                  <a:gd name="connsiteY5" fmla="*/ 118325 h 349535"/>
                  <a:gd name="connsiteX6" fmla="*/ 532410 w 997921"/>
                  <a:gd name="connsiteY6" fmla="*/ 121367 h 34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97921" h="349535">
                    <a:moveTo>
                      <a:pt x="532410" y="121367"/>
                    </a:moveTo>
                    <a:cubicBezTo>
                      <a:pt x="760579" y="179170"/>
                      <a:pt x="927903" y="279564"/>
                      <a:pt x="918776" y="349536"/>
                    </a:cubicBezTo>
                    <a:cubicBezTo>
                      <a:pt x="961368" y="340409"/>
                      <a:pt x="988748" y="325198"/>
                      <a:pt x="994833" y="303902"/>
                    </a:cubicBezTo>
                    <a:cubicBezTo>
                      <a:pt x="1025255" y="230888"/>
                      <a:pt x="827509" y="118325"/>
                      <a:pt x="553706" y="48353"/>
                    </a:cubicBezTo>
                    <a:cubicBezTo>
                      <a:pt x="279903" y="-18577"/>
                      <a:pt x="33480" y="-15535"/>
                      <a:pt x="6100" y="54437"/>
                    </a:cubicBezTo>
                    <a:cubicBezTo>
                      <a:pt x="-3027" y="78775"/>
                      <a:pt x="-6069" y="87902"/>
                      <a:pt x="27396" y="118325"/>
                    </a:cubicBezTo>
                    <a:cubicBezTo>
                      <a:pt x="66945" y="51395"/>
                      <a:pt x="298156" y="60522"/>
                      <a:pt x="532410" y="121367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54FE513D-81D3-40DB-B96F-18852B65B495}"/>
                  </a:ext>
                </a:extLst>
              </p:cNvPr>
              <p:cNvSpPr/>
              <p:nvPr/>
            </p:nvSpPr>
            <p:spPr>
              <a:xfrm>
                <a:off x="15247863" y="2103381"/>
                <a:ext cx="447211" cy="109521"/>
              </a:xfrm>
              <a:custGeom>
                <a:avLst/>
                <a:gdLst>
                  <a:gd name="connsiteX0" fmla="*/ 444169 w 447211"/>
                  <a:gd name="connsiteY0" fmla="*/ 109521 h 109521"/>
                  <a:gd name="connsiteX1" fmla="*/ 444169 w 447211"/>
                  <a:gd name="connsiteY1" fmla="*/ 109521 h 109521"/>
                  <a:gd name="connsiteX2" fmla="*/ 6085 w 447211"/>
                  <a:gd name="connsiteY2" fmla="*/ 12169 h 109521"/>
                  <a:gd name="connsiteX3" fmla="*/ 0 w 447211"/>
                  <a:gd name="connsiteY3" fmla="*/ 6085 h 109521"/>
                  <a:gd name="connsiteX4" fmla="*/ 6085 w 447211"/>
                  <a:gd name="connsiteY4" fmla="*/ 0 h 109521"/>
                  <a:gd name="connsiteX5" fmla="*/ 444169 w 447211"/>
                  <a:gd name="connsiteY5" fmla="*/ 97352 h 109521"/>
                  <a:gd name="connsiteX6" fmla="*/ 447212 w 447211"/>
                  <a:gd name="connsiteY6" fmla="*/ 103437 h 109521"/>
                  <a:gd name="connsiteX7" fmla="*/ 444169 w 447211"/>
                  <a:gd name="connsiteY7" fmla="*/ 109521 h 109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7211" h="109521">
                    <a:moveTo>
                      <a:pt x="444169" y="109521"/>
                    </a:moveTo>
                    <a:cubicBezTo>
                      <a:pt x="441127" y="109521"/>
                      <a:pt x="441127" y="109521"/>
                      <a:pt x="444169" y="109521"/>
                    </a:cubicBezTo>
                    <a:cubicBezTo>
                      <a:pt x="252508" y="39549"/>
                      <a:pt x="9127" y="12169"/>
                      <a:pt x="6085" y="12169"/>
                    </a:cubicBezTo>
                    <a:cubicBezTo>
                      <a:pt x="3042" y="12169"/>
                      <a:pt x="0" y="9127"/>
                      <a:pt x="0" y="6085"/>
                    </a:cubicBezTo>
                    <a:cubicBezTo>
                      <a:pt x="0" y="3042"/>
                      <a:pt x="3042" y="0"/>
                      <a:pt x="6085" y="0"/>
                    </a:cubicBezTo>
                    <a:cubicBezTo>
                      <a:pt x="9127" y="0"/>
                      <a:pt x="252508" y="27380"/>
                      <a:pt x="444169" y="97352"/>
                    </a:cubicBezTo>
                    <a:cubicBezTo>
                      <a:pt x="447212" y="97352"/>
                      <a:pt x="447212" y="100394"/>
                      <a:pt x="447212" y="103437"/>
                    </a:cubicBezTo>
                    <a:cubicBezTo>
                      <a:pt x="447212" y="109521"/>
                      <a:pt x="444169" y="109521"/>
                      <a:pt x="444169" y="109521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828165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18EFB700-8225-4456-87AD-826035EF325A}"/>
              </a:ext>
            </a:extLst>
          </p:cNvPr>
          <p:cNvGrpSpPr/>
          <p:nvPr/>
        </p:nvGrpSpPr>
        <p:grpSpPr>
          <a:xfrm>
            <a:off x="6702622" y="2212956"/>
            <a:ext cx="2119024" cy="4646822"/>
            <a:chOff x="23486286" y="1878731"/>
            <a:chExt cx="2119024" cy="4646822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E9842F83-2B58-43A0-94C1-365762329FED}"/>
                </a:ext>
              </a:extLst>
            </p:cNvPr>
            <p:cNvSpPr/>
            <p:nvPr/>
          </p:nvSpPr>
          <p:spPr>
            <a:xfrm>
              <a:off x="24888764" y="1878731"/>
              <a:ext cx="681465" cy="799418"/>
            </a:xfrm>
            <a:custGeom>
              <a:avLst/>
              <a:gdLst>
                <a:gd name="connsiteX0" fmla="*/ 0 w 681465"/>
                <a:gd name="connsiteY0" fmla="*/ 175974 h 799418"/>
                <a:gd name="connsiteX1" fmla="*/ 334648 w 681465"/>
                <a:gd name="connsiteY1" fmla="*/ 2566 h 799418"/>
                <a:gd name="connsiteX2" fmla="*/ 581072 w 681465"/>
                <a:gd name="connsiteY2" fmla="*/ 425439 h 799418"/>
                <a:gd name="connsiteX3" fmla="*/ 681466 w 681465"/>
                <a:gd name="connsiteY3" fmla="*/ 720538 h 799418"/>
                <a:gd name="connsiteX4" fmla="*/ 352903 w 681465"/>
                <a:gd name="connsiteY4" fmla="*/ 717495 h 799418"/>
                <a:gd name="connsiteX5" fmla="*/ 152113 w 681465"/>
                <a:gd name="connsiteY5" fmla="*/ 233777 h 799418"/>
                <a:gd name="connsiteX6" fmla="*/ 0 w 681465"/>
                <a:gd name="connsiteY6" fmla="*/ 175974 h 79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1465" h="799418">
                  <a:moveTo>
                    <a:pt x="0" y="175974"/>
                  </a:moveTo>
                  <a:cubicBezTo>
                    <a:pt x="0" y="175974"/>
                    <a:pt x="33466" y="-24815"/>
                    <a:pt x="334648" y="2566"/>
                  </a:cubicBezTo>
                  <a:cubicBezTo>
                    <a:pt x="520226" y="17777"/>
                    <a:pt x="611494" y="294622"/>
                    <a:pt x="581072" y="425439"/>
                  </a:cubicBezTo>
                  <a:cubicBezTo>
                    <a:pt x="550649" y="556256"/>
                    <a:pt x="571943" y="668819"/>
                    <a:pt x="681466" y="720538"/>
                  </a:cubicBezTo>
                  <a:cubicBezTo>
                    <a:pt x="681466" y="720538"/>
                    <a:pt x="465464" y="900031"/>
                    <a:pt x="352903" y="717495"/>
                  </a:cubicBezTo>
                  <a:cubicBezTo>
                    <a:pt x="307269" y="641439"/>
                    <a:pt x="292057" y="273326"/>
                    <a:pt x="152113" y="233777"/>
                  </a:cubicBezTo>
                  <a:cubicBezTo>
                    <a:pt x="91268" y="215523"/>
                    <a:pt x="0" y="175974"/>
                    <a:pt x="0" y="175974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3489F254-D261-439E-A9C1-3C1EC7963BBF}"/>
                </a:ext>
              </a:extLst>
            </p:cNvPr>
            <p:cNvSpPr/>
            <p:nvPr/>
          </p:nvSpPr>
          <p:spPr>
            <a:xfrm>
              <a:off x="25375524" y="2434987"/>
              <a:ext cx="197746" cy="167323"/>
            </a:xfrm>
            <a:custGeom>
              <a:avLst/>
              <a:gdLst>
                <a:gd name="connsiteX0" fmla="*/ 188620 w 197746"/>
                <a:gd name="connsiteY0" fmla="*/ 167324 h 167323"/>
                <a:gd name="connsiteX1" fmla="*/ 0 w 197746"/>
                <a:gd name="connsiteY1" fmla="*/ 6085 h 167323"/>
                <a:gd name="connsiteX2" fmla="*/ 3043 w 197746"/>
                <a:gd name="connsiteY2" fmla="*/ 0 h 167323"/>
                <a:gd name="connsiteX3" fmla="*/ 9126 w 197746"/>
                <a:gd name="connsiteY3" fmla="*/ 3042 h 167323"/>
                <a:gd name="connsiteX4" fmla="*/ 191662 w 197746"/>
                <a:gd name="connsiteY4" fmla="*/ 155155 h 167323"/>
                <a:gd name="connsiteX5" fmla="*/ 197746 w 197746"/>
                <a:gd name="connsiteY5" fmla="*/ 161239 h 167323"/>
                <a:gd name="connsiteX6" fmla="*/ 191662 w 197746"/>
                <a:gd name="connsiteY6" fmla="*/ 167324 h 167323"/>
                <a:gd name="connsiteX7" fmla="*/ 188620 w 197746"/>
                <a:gd name="connsiteY7" fmla="*/ 167324 h 167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7746" h="167323">
                  <a:moveTo>
                    <a:pt x="188620" y="167324"/>
                  </a:moveTo>
                  <a:cubicBezTo>
                    <a:pt x="158198" y="167324"/>
                    <a:pt x="45634" y="155155"/>
                    <a:pt x="0" y="6085"/>
                  </a:cubicBezTo>
                  <a:cubicBezTo>
                    <a:pt x="0" y="3042"/>
                    <a:pt x="0" y="0"/>
                    <a:pt x="3043" y="0"/>
                  </a:cubicBezTo>
                  <a:cubicBezTo>
                    <a:pt x="6085" y="0"/>
                    <a:pt x="9126" y="0"/>
                    <a:pt x="9126" y="3042"/>
                  </a:cubicBezTo>
                  <a:cubicBezTo>
                    <a:pt x="57804" y="170366"/>
                    <a:pt x="191662" y="155155"/>
                    <a:pt x="191662" y="155155"/>
                  </a:cubicBezTo>
                  <a:cubicBezTo>
                    <a:pt x="194705" y="155155"/>
                    <a:pt x="197746" y="158197"/>
                    <a:pt x="197746" y="161239"/>
                  </a:cubicBezTo>
                  <a:cubicBezTo>
                    <a:pt x="197746" y="164282"/>
                    <a:pt x="194705" y="167324"/>
                    <a:pt x="191662" y="167324"/>
                  </a:cubicBezTo>
                  <a:cubicBezTo>
                    <a:pt x="197746" y="167324"/>
                    <a:pt x="194705" y="167324"/>
                    <a:pt x="188620" y="167324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6965412E-30A5-4519-9744-ADF752BA847E}"/>
                </a:ext>
              </a:extLst>
            </p:cNvPr>
            <p:cNvGrpSpPr/>
            <p:nvPr/>
          </p:nvGrpSpPr>
          <p:grpSpPr>
            <a:xfrm>
              <a:off x="24660933" y="2769474"/>
              <a:ext cx="944377" cy="1110844"/>
              <a:chOff x="24660933" y="2769474"/>
              <a:chExt cx="944377" cy="1110844"/>
            </a:xfrm>
          </p:grpSpPr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2942DF7E-F366-4A8C-9B1C-4241B065B311}"/>
                  </a:ext>
                </a:extLst>
              </p:cNvPr>
              <p:cNvSpPr/>
              <p:nvPr/>
            </p:nvSpPr>
            <p:spPr>
              <a:xfrm>
                <a:off x="24660933" y="2769474"/>
                <a:ext cx="874032" cy="1110844"/>
              </a:xfrm>
              <a:custGeom>
                <a:avLst/>
                <a:gdLst>
                  <a:gd name="connsiteX0" fmla="*/ 8788 w 874032"/>
                  <a:gd name="connsiteY0" fmla="*/ 657288 h 1110844"/>
                  <a:gd name="connsiteX1" fmla="*/ 541182 w 874032"/>
                  <a:gd name="connsiteY1" fmla="*/ 1110583 h 1110844"/>
                  <a:gd name="connsiteX2" fmla="*/ 845408 w 874032"/>
                  <a:gd name="connsiteY2" fmla="*/ 949344 h 1110844"/>
                  <a:gd name="connsiteX3" fmla="*/ 732846 w 874032"/>
                  <a:gd name="connsiteY3" fmla="*/ 200950 h 1110844"/>
                  <a:gd name="connsiteX4" fmla="*/ 480337 w 874032"/>
                  <a:gd name="connsiteY4" fmla="*/ 3203 h 1110844"/>
                  <a:gd name="connsiteX5" fmla="*/ 157859 w 874032"/>
                  <a:gd name="connsiteY5" fmla="*/ 79259 h 1110844"/>
                  <a:gd name="connsiteX6" fmla="*/ 27043 w 874032"/>
                  <a:gd name="connsiteY6" fmla="*/ 328724 h 1110844"/>
                  <a:gd name="connsiteX7" fmla="*/ 8788 w 874032"/>
                  <a:gd name="connsiteY7" fmla="*/ 657288 h 11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74032" h="1110844">
                    <a:moveTo>
                      <a:pt x="8788" y="657288"/>
                    </a:moveTo>
                    <a:cubicBezTo>
                      <a:pt x="48339" y="888499"/>
                      <a:pt x="419492" y="1119710"/>
                      <a:pt x="541182" y="1110583"/>
                    </a:cubicBezTo>
                    <a:cubicBezTo>
                      <a:pt x="626367" y="1104499"/>
                      <a:pt x="814985" y="1046696"/>
                      <a:pt x="845408" y="949344"/>
                    </a:cubicBezTo>
                    <a:cubicBezTo>
                      <a:pt x="924507" y="709006"/>
                      <a:pt x="824113" y="374358"/>
                      <a:pt x="732846" y="200950"/>
                    </a:cubicBezTo>
                    <a:cubicBezTo>
                      <a:pt x="693295" y="124893"/>
                      <a:pt x="586816" y="12330"/>
                      <a:pt x="480337" y="3203"/>
                    </a:cubicBezTo>
                    <a:cubicBezTo>
                      <a:pt x="373858" y="-5924"/>
                      <a:pt x="246085" y="161"/>
                      <a:pt x="157859" y="79259"/>
                    </a:cubicBezTo>
                    <a:cubicBezTo>
                      <a:pt x="87888" y="140104"/>
                      <a:pt x="48339" y="234414"/>
                      <a:pt x="27043" y="328724"/>
                    </a:cubicBezTo>
                    <a:cubicBezTo>
                      <a:pt x="2705" y="435203"/>
                      <a:pt x="-9465" y="550809"/>
                      <a:pt x="8788" y="657288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7E5CBDD4-0759-4670-A6C0-25E38985A8F5}"/>
                  </a:ext>
                </a:extLst>
              </p:cNvPr>
              <p:cNvSpPr/>
              <p:nvPr/>
            </p:nvSpPr>
            <p:spPr>
              <a:xfrm>
                <a:off x="25442454" y="3385467"/>
                <a:ext cx="157221" cy="340111"/>
              </a:xfrm>
              <a:custGeom>
                <a:avLst/>
                <a:gdLst>
                  <a:gd name="connsiteX0" fmla="*/ 0 w 157221"/>
                  <a:gd name="connsiteY0" fmla="*/ 23041 h 340111"/>
                  <a:gd name="connsiteX1" fmla="*/ 0 w 157221"/>
                  <a:gd name="connsiteY1" fmla="*/ 333351 h 340111"/>
                  <a:gd name="connsiteX2" fmla="*/ 118649 w 157221"/>
                  <a:gd name="connsiteY2" fmla="*/ 333351 h 340111"/>
                  <a:gd name="connsiteX3" fmla="*/ 142986 w 157221"/>
                  <a:gd name="connsiteY3" fmla="*/ 23041 h 340111"/>
                  <a:gd name="connsiteX4" fmla="*/ 0 w 157221"/>
                  <a:gd name="connsiteY4" fmla="*/ 23041 h 340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221" h="340111">
                    <a:moveTo>
                      <a:pt x="0" y="23041"/>
                    </a:moveTo>
                    <a:cubicBezTo>
                      <a:pt x="0" y="23041"/>
                      <a:pt x="36507" y="196449"/>
                      <a:pt x="0" y="333351"/>
                    </a:cubicBezTo>
                    <a:cubicBezTo>
                      <a:pt x="0" y="333351"/>
                      <a:pt x="76056" y="348562"/>
                      <a:pt x="118649" y="333351"/>
                    </a:cubicBezTo>
                    <a:cubicBezTo>
                      <a:pt x="161239" y="318139"/>
                      <a:pt x="167324" y="47379"/>
                      <a:pt x="142986" y="23041"/>
                    </a:cubicBezTo>
                    <a:cubicBezTo>
                      <a:pt x="115605" y="-1297"/>
                      <a:pt x="24338" y="-13466"/>
                      <a:pt x="0" y="23041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F876616C-DC4A-4F39-82E6-D185276841BE}"/>
                  </a:ext>
                </a:extLst>
              </p:cNvPr>
              <p:cNvSpPr/>
              <p:nvPr/>
            </p:nvSpPr>
            <p:spPr>
              <a:xfrm>
                <a:off x="25439413" y="3377509"/>
                <a:ext cx="165897" cy="356520"/>
              </a:xfrm>
              <a:custGeom>
                <a:avLst/>
                <a:gdLst>
                  <a:gd name="connsiteX0" fmla="*/ 73013 w 165897"/>
                  <a:gd name="connsiteY0" fmla="*/ 356520 h 356520"/>
                  <a:gd name="connsiteX1" fmla="*/ 36506 w 165897"/>
                  <a:gd name="connsiteY1" fmla="*/ 353478 h 356520"/>
                  <a:gd name="connsiteX2" fmla="*/ 12168 w 165897"/>
                  <a:gd name="connsiteY2" fmla="*/ 338267 h 356520"/>
                  <a:gd name="connsiteX3" fmla="*/ 6083 w 165897"/>
                  <a:gd name="connsiteY3" fmla="*/ 310886 h 356520"/>
                  <a:gd name="connsiteX4" fmla="*/ 0 w 165897"/>
                  <a:gd name="connsiteY4" fmla="*/ 30999 h 356520"/>
                  <a:gd name="connsiteX5" fmla="*/ 0 w 165897"/>
                  <a:gd name="connsiteY5" fmla="*/ 27957 h 356520"/>
                  <a:gd name="connsiteX6" fmla="*/ 0 w 165897"/>
                  <a:gd name="connsiteY6" fmla="*/ 24915 h 356520"/>
                  <a:gd name="connsiteX7" fmla="*/ 51717 w 165897"/>
                  <a:gd name="connsiteY7" fmla="*/ 577 h 356520"/>
                  <a:gd name="connsiteX8" fmla="*/ 149069 w 165897"/>
                  <a:gd name="connsiteY8" fmla="*/ 24915 h 356520"/>
                  <a:gd name="connsiteX9" fmla="*/ 155154 w 165897"/>
                  <a:gd name="connsiteY9" fmla="*/ 283506 h 356520"/>
                  <a:gd name="connsiteX10" fmla="*/ 124732 w 165897"/>
                  <a:gd name="connsiteY10" fmla="*/ 347393 h 356520"/>
                  <a:gd name="connsiteX11" fmla="*/ 73013 w 165897"/>
                  <a:gd name="connsiteY11" fmla="*/ 356520 h 356520"/>
                  <a:gd name="connsiteX12" fmla="*/ 9126 w 165897"/>
                  <a:gd name="connsiteY12" fmla="*/ 34041 h 356520"/>
                  <a:gd name="connsiteX13" fmla="*/ 15211 w 165897"/>
                  <a:gd name="connsiteY13" fmla="*/ 316971 h 356520"/>
                  <a:gd name="connsiteX14" fmla="*/ 18253 w 165897"/>
                  <a:gd name="connsiteY14" fmla="*/ 335224 h 356520"/>
                  <a:gd name="connsiteX15" fmla="*/ 33464 w 165897"/>
                  <a:gd name="connsiteY15" fmla="*/ 344351 h 356520"/>
                  <a:gd name="connsiteX16" fmla="*/ 118647 w 165897"/>
                  <a:gd name="connsiteY16" fmla="*/ 338267 h 356520"/>
                  <a:gd name="connsiteX17" fmla="*/ 142984 w 165897"/>
                  <a:gd name="connsiteY17" fmla="*/ 283506 h 356520"/>
                  <a:gd name="connsiteX18" fmla="*/ 139943 w 165897"/>
                  <a:gd name="connsiteY18" fmla="*/ 37083 h 356520"/>
                  <a:gd name="connsiteX19" fmla="*/ 51717 w 165897"/>
                  <a:gd name="connsiteY19" fmla="*/ 15788 h 356520"/>
                  <a:gd name="connsiteX20" fmla="*/ 9126 w 165897"/>
                  <a:gd name="connsiteY20" fmla="*/ 34041 h 356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65897" h="356520">
                    <a:moveTo>
                      <a:pt x="73013" y="356520"/>
                    </a:moveTo>
                    <a:cubicBezTo>
                      <a:pt x="60845" y="356520"/>
                      <a:pt x="45634" y="356520"/>
                      <a:pt x="36506" y="353478"/>
                    </a:cubicBezTo>
                    <a:cubicBezTo>
                      <a:pt x="27379" y="353478"/>
                      <a:pt x="18253" y="347393"/>
                      <a:pt x="12168" y="338267"/>
                    </a:cubicBezTo>
                    <a:cubicBezTo>
                      <a:pt x="6083" y="329140"/>
                      <a:pt x="3042" y="320013"/>
                      <a:pt x="6083" y="310886"/>
                    </a:cubicBezTo>
                    <a:cubicBezTo>
                      <a:pt x="30423" y="183112"/>
                      <a:pt x="0" y="30999"/>
                      <a:pt x="0" y="30999"/>
                    </a:cubicBezTo>
                    <a:lnTo>
                      <a:pt x="0" y="27957"/>
                    </a:lnTo>
                    <a:lnTo>
                      <a:pt x="0" y="24915"/>
                    </a:lnTo>
                    <a:cubicBezTo>
                      <a:pt x="9126" y="9703"/>
                      <a:pt x="27379" y="577"/>
                      <a:pt x="51717" y="577"/>
                    </a:cubicBezTo>
                    <a:cubicBezTo>
                      <a:pt x="88224" y="-2466"/>
                      <a:pt x="130817" y="6661"/>
                      <a:pt x="149069" y="24915"/>
                    </a:cubicBezTo>
                    <a:cubicBezTo>
                      <a:pt x="170365" y="46210"/>
                      <a:pt x="170365" y="198323"/>
                      <a:pt x="155154" y="283506"/>
                    </a:cubicBezTo>
                    <a:cubicBezTo>
                      <a:pt x="146028" y="320013"/>
                      <a:pt x="136901" y="341309"/>
                      <a:pt x="124732" y="347393"/>
                    </a:cubicBezTo>
                    <a:cubicBezTo>
                      <a:pt x="109520" y="353478"/>
                      <a:pt x="91268" y="356520"/>
                      <a:pt x="73013" y="356520"/>
                    </a:cubicBezTo>
                    <a:close/>
                    <a:moveTo>
                      <a:pt x="9126" y="34041"/>
                    </a:moveTo>
                    <a:cubicBezTo>
                      <a:pt x="12168" y="55337"/>
                      <a:pt x="36506" y="195281"/>
                      <a:pt x="15211" y="316971"/>
                    </a:cubicBezTo>
                    <a:cubicBezTo>
                      <a:pt x="15211" y="323055"/>
                      <a:pt x="15211" y="329140"/>
                      <a:pt x="18253" y="335224"/>
                    </a:cubicBezTo>
                    <a:cubicBezTo>
                      <a:pt x="21294" y="341309"/>
                      <a:pt x="27379" y="344351"/>
                      <a:pt x="33464" y="344351"/>
                    </a:cubicBezTo>
                    <a:cubicBezTo>
                      <a:pt x="57802" y="347393"/>
                      <a:pt x="94309" y="350436"/>
                      <a:pt x="118647" y="338267"/>
                    </a:cubicBezTo>
                    <a:cubicBezTo>
                      <a:pt x="121690" y="335224"/>
                      <a:pt x="133858" y="329140"/>
                      <a:pt x="142984" y="283506"/>
                    </a:cubicBezTo>
                    <a:cubicBezTo>
                      <a:pt x="161239" y="195281"/>
                      <a:pt x="158196" y="52295"/>
                      <a:pt x="139943" y="37083"/>
                    </a:cubicBezTo>
                    <a:cubicBezTo>
                      <a:pt x="124732" y="21872"/>
                      <a:pt x="82139" y="12745"/>
                      <a:pt x="51717" y="15788"/>
                    </a:cubicBezTo>
                    <a:cubicBezTo>
                      <a:pt x="36506" y="15788"/>
                      <a:pt x="18253" y="18830"/>
                      <a:pt x="9126" y="3404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79C1995D-C589-4102-80B5-6899C0F42990}"/>
                  </a:ext>
                </a:extLst>
              </p:cNvPr>
              <p:cNvSpPr/>
              <p:nvPr/>
            </p:nvSpPr>
            <p:spPr>
              <a:xfrm>
                <a:off x="25329891" y="2953353"/>
                <a:ext cx="227732" cy="345633"/>
              </a:xfrm>
              <a:custGeom>
                <a:avLst/>
                <a:gdLst>
                  <a:gd name="connsiteX0" fmla="*/ 0 w 227732"/>
                  <a:gd name="connsiteY0" fmla="*/ 53577 h 345633"/>
                  <a:gd name="connsiteX1" fmla="*/ 106479 w 227732"/>
                  <a:gd name="connsiteY1" fmla="*/ 345633 h 345633"/>
                  <a:gd name="connsiteX2" fmla="*/ 219043 w 227732"/>
                  <a:gd name="connsiteY2" fmla="*/ 306084 h 345633"/>
                  <a:gd name="connsiteX3" fmla="*/ 133860 w 227732"/>
                  <a:gd name="connsiteY3" fmla="*/ 4901 h 345633"/>
                  <a:gd name="connsiteX4" fmla="*/ 0 w 227732"/>
                  <a:gd name="connsiteY4" fmla="*/ 53577 h 345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7732" h="345633">
                    <a:moveTo>
                      <a:pt x="0" y="53577"/>
                    </a:moveTo>
                    <a:cubicBezTo>
                      <a:pt x="0" y="53577"/>
                      <a:pt x="94311" y="205690"/>
                      <a:pt x="106479" y="345633"/>
                    </a:cubicBezTo>
                    <a:cubicBezTo>
                      <a:pt x="106479" y="345633"/>
                      <a:pt x="182535" y="336507"/>
                      <a:pt x="219043" y="306084"/>
                    </a:cubicBezTo>
                    <a:cubicBezTo>
                      <a:pt x="255550" y="275662"/>
                      <a:pt x="167324" y="20112"/>
                      <a:pt x="133860" y="4901"/>
                    </a:cubicBezTo>
                    <a:cubicBezTo>
                      <a:pt x="100394" y="-10310"/>
                      <a:pt x="12170" y="10985"/>
                      <a:pt x="0" y="53577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E2EA55C0-822D-4694-AFA3-2D2A48779843}"/>
                  </a:ext>
                </a:extLst>
              </p:cNvPr>
              <p:cNvSpPr/>
              <p:nvPr/>
            </p:nvSpPr>
            <p:spPr>
              <a:xfrm>
                <a:off x="25326849" y="2942654"/>
                <a:ext cx="237418" cy="356332"/>
              </a:xfrm>
              <a:custGeom>
                <a:avLst/>
                <a:gdLst>
                  <a:gd name="connsiteX0" fmla="*/ 136901 w 237418"/>
                  <a:gd name="connsiteY0" fmla="*/ 356333 h 356332"/>
                  <a:gd name="connsiteX1" fmla="*/ 118647 w 237418"/>
                  <a:gd name="connsiteY1" fmla="*/ 350248 h 356332"/>
                  <a:gd name="connsiteX2" fmla="*/ 103436 w 237418"/>
                  <a:gd name="connsiteY2" fmla="*/ 325910 h 356332"/>
                  <a:gd name="connsiteX3" fmla="*/ 0 w 237418"/>
                  <a:gd name="connsiteY3" fmla="*/ 64276 h 356332"/>
                  <a:gd name="connsiteX4" fmla="*/ 0 w 237418"/>
                  <a:gd name="connsiteY4" fmla="*/ 61234 h 356332"/>
                  <a:gd name="connsiteX5" fmla="*/ 0 w 237418"/>
                  <a:gd name="connsiteY5" fmla="*/ 58192 h 356332"/>
                  <a:gd name="connsiteX6" fmla="*/ 39549 w 237418"/>
                  <a:gd name="connsiteY6" fmla="*/ 15600 h 356332"/>
                  <a:gd name="connsiteX7" fmla="*/ 139943 w 237418"/>
                  <a:gd name="connsiteY7" fmla="*/ 6474 h 356332"/>
                  <a:gd name="connsiteX8" fmla="*/ 234254 w 237418"/>
                  <a:gd name="connsiteY8" fmla="*/ 246812 h 356332"/>
                  <a:gd name="connsiteX9" fmla="*/ 228169 w 237418"/>
                  <a:gd name="connsiteY9" fmla="*/ 316783 h 356332"/>
                  <a:gd name="connsiteX10" fmla="*/ 146028 w 237418"/>
                  <a:gd name="connsiteY10" fmla="*/ 353291 h 356332"/>
                  <a:gd name="connsiteX11" fmla="*/ 136901 w 237418"/>
                  <a:gd name="connsiteY11" fmla="*/ 356333 h 356332"/>
                  <a:gd name="connsiteX12" fmla="*/ 9126 w 237418"/>
                  <a:gd name="connsiteY12" fmla="*/ 64276 h 356332"/>
                  <a:gd name="connsiteX13" fmla="*/ 112564 w 237418"/>
                  <a:gd name="connsiteY13" fmla="*/ 328953 h 356332"/>
                  <a:gd name="connsiteX14" fmla="*/ 121690 w 237418"/>
                  <a:gd name="connsiteY14" fmla="*/ 344164 h 356332"/>
                  <a:gd name="connsiteX15" fmla="*/ 139943 w 237418"/>
                  <a:gd name="connsiteY15" fmla="*/ 347206 h 356332"/>
                  <a:gd name="connsiteX16" fmla="*/ 219043 w 237418"/>
                  <a:gd name="connsiteY16" fmla="*/ 313741 h 356332"/>
                  <a:gd name="connsiteX17" fmla="*/ 222084 w 237418"/>
                  <a:gd name="connsiteY17" fmla="*/ 252896 h 356332"/>
                  <a:gd name="connsiteX18" fmla="*/ 133858 w 237418"/>
                  <a:gd name="connsiteY18" fmla="*/ 21685 h 356332"/>
                  <a:gd name="connsiteX19" fmla="*/ 42590 w 237418"/>
                  <a:gd name="connsiteY19" fmla="*/ 30812 h 356332"/>
                  <a:gd name="connsiteX20" fmla="*/ 9126 w 237418"/>
                  <a:gd name="connsiteY20" fmla="*/ 64276 h 356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37418" h="356332">
                    <a:moveTo>
                      <a:pt x="136901" y="356333"/>
                    </a:moveTo>
                    <a:cubicBezTo>
                      <a:pt x="130817" y="356333"/>
                      <a:pt x="124732" y="353291"/>
                      <a:pt x="118647" y="350248"/>
                    </a:cubicBezTo>
                    <a:cubicBezTo>
                      <a:pt x="109520" y="344164"/>
                      <a:pt x="106479" y="338079"/>
                      <a:pt x="103436" y="325910"/>
                    </a:cubicBezTo>
                    <a:cubicBezTo>
                      <a:pt x="82141" y="198136"/>
                      <a:pt x="3042" y="64276"/>
                      <a:pt x="0" y="64276"/>
                    </a:cubicBezTo>
                    <a:lnTo>
                      <a:pt x="0" y="61234"/>
                    </a:lnTo>
                    <a:lnTo>
                      <a:pt x="0" y="58192"/>
                    </a:lnTo>
                    <a:cubicBezTo>
                      <a:pt x="3042" y="42981"/>
                      <a:pt x="18253" y="27769"/>
                      <a:pt x="39549" y="15600"/>
                    </a:cubicBezTo>
                    <a:cubicBezTo>
                      <a:pt x="73013" y="389"/>
                      <a:pt x="118647" y="-5695"/>
                      <a:pt x="139943" y="6474"/>
                    </a:cubicBezTo>
                    <a:cubicBezTo>
                      <a:pt x="167324" y="18643"/>
                      <a:pt x="222084" y="161629"/>
                      <a:pt x="234254" y="246812"/>
                    </a:cubicBezTo>
                    <a:cubicBezTo>
                      <a:pt x="240337" y="286361"/>
                      <a:pt x="237295" y="307657"/>
                      <a:pt x="228169" y="316783"/>
                    </a:cubicBezTo>
                    <a:cubicBezTo>
                      <a:pt x="206873" y="335037"/>
                      <a:pt x="170365" y="347206"/>
                      <a:pt x="146028" y="353291"/>
                    </a:cubicBezTo>
                    <a:cubicBezTo>
                      <a:pt x="142986" y="356333"/>
                      <a:pt x="139943" y="356333"/>
                      <a:pt x="136901" y="356333"/>
                    </a:cubicBezTo>
                    <a:close/>
                    <a:moveTo>
                      <a:pt x="9126" y="64276"/>
                    </a:moveTo>
                    <a:cubicBezTo>
                      <a:pt x="18253" y="82530"/>
                      <a:pt x="91268" y="204220"/>
                      <a:pt x="112564" y="328953"/>
                    </a:cubicBezTo>
                    <a:cubicBezTo>
                      <a:pt x="112564" y="335037"/>
                      <a:pt x="118647" y="341121"/>
                      <a:pt x="121690" y="344164"/>
                    </a:cubicBezTo>
                    <a:cubicBezTo>
                      <a:pt x="127775" y="347206"/>
                      <a:pt x="133858" y="350248"/>
                      <a:pt x="139943" y="347206"/>
                    </a:cubicBezTo>
                    <a:cubicBezTo>
                      <a:pt x="164281" y="341121"/>
                      <a:pt x="197746" y="331995"/>
                      <a:pt x="219043" y="313741"/>
                    </a:cubicBezTo>
                    <a:cubicBezTo>
                      <a:pt x="222084" y="310699"/>
                      <a:pt x="228169" y="298530"/>
                      <a:pt x="222084" y="252896"/>
                    </a:cubicBezTo>
                    <a:cubicBezTo>
                      <a:pt x="209914" y="164671"/>
                      <a:pt x="155154" y="30812"/>
                      <a:pt x="133858" y="21685"/>
                    </a:cubicBezTo>
                    <a:cubicBezTo>
                      <a:pt x="112564" y="12558"/>
                      <a:pt x="73013" y="18643"/>
                      <a:pt x="42590" y="30812"/>
                    </a:cubicBezTo>
                    <a:cubicBezTo>
                      <a:pt x="30423" y="36896"/>
                      <a:pt x="15211" y="49065"/>
                      <a:pt x="9126" y="6427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00F7A469-0BDD-4152-B4A9-2CCE42303E7A}"/>
                </a:ext>
              </a:extLst>
            </p:cNvPr>
            <p:cNvGrpSpPr/>
            <p:nvPr/>
          </p:nvGrpSpPr>
          <p:grpSpPr>
            <a:xfrm>
              <a:off x="24350285" y="2605353"/>
              <a:ext cx="1006987" cy="273802"/>
              <a:chOff x="24350285" y="2605353"/>
              <a:chExt cx="1006987" cy="273802"/>
            </a:xfrm>
          </p:grpSpPr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ABB1A848-0281-4330-8ECD-BA99D7252BA4}"/>
                  </a:ext>
                </a:extLst>
              </p:cNvPr>
              <p:cNvSpPr/>
              <p:nvPr/>
            </p:nvSpPr>
            <p:spPr>
              <a:xfrm>
                <a:off x="24350285" y="2608395"/>
                <a:ext cx="930930" cy="270760"/>
              </a:xfrm>
              <a:custGeom>
                <a:avLst/>
                <a:gdLst>
                  <a:gd name="connsiteX0" fmla="*/ 76056 w 930930"/>
                  <a:gd name="connsiteY0" fmla="*/ 9127 h 270760"/>
                  <a:gd name="connsiteX1" fmla="*/ 927887 w 930930"/>
                  <a:gd name="connsiteY1" fmla="*/ 0 h 270760"/>
                  <a:gd name="connsiteX2" fmla="*/ 930931 w 930930"/>
                  <a:gd name="connsiteY2" fmla="*/ 261634 h 270760"/>
                  <a:gd name="connsiteX3" fmla="*/ 79100 w 930930"/>
                  <a:gd name="connsiteY3" fmla="*/ 270761 h 270760"/>
                  <a:gd name="connsiteX4" fmla="*/ 0 w 930930"/>
                  <a:gd name="connsiteY4" fmla="*/ 139944 h 270760"/>
                  <a:gd name="connsiteX5" fmla="*/ 76056 w 930930"/>
                  <a:gd name="connsiteY5" fmla="*/ 9127 h 270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30930" h="270760">
                    <a:moveTo>
                      <a:pt x="76056" y="9127"/>
                    </a:moveTo>
                    <a:lnTo>
                      <a:pt x="927887" y="0"/>
                    </a:lnTo>
                    <a:lnTo>
                      <a:pt x="930931" y="261634"/>
                    </a:lnTo>
                    <a:lnTo>
                      <a:pt x="79100" y="270761"/>
                    </a:lnTo>
                    <a:cubicBezTo>
                      <a:pt x="36507" y="270761"/>
                      <a:pt x="0" y="212958"/>
                      <a:pt x="0" y="139944"/>
                    </a:cubicBezTo>
                    <a:cubicBezTo>
                      <a:pt x="0" y="66930"/>
                      <a:pt x="33466" y="9127"/>
                      <a:pt x="76056" y="9127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FC7EAD76-E21D-4485-BC99-905FFAC43A34}"/>
                  </a:ext>
                </a:extLst>
              </p:cNvPr>
              <p:cNvSpPr/>
              <p:nvPr/>
            </p:nvSpPr>
            <p:spPr>
              <a:xfrm>
                <a:off x="25202116" y="2605353"/>
                <a:ext cx="155156" cy="261633"/>
              </a:xfrm>
              <a:custGeom>
                <a:avLst/>
                <a:gdLst>
                  <a:gd name="connsiteX0" fmla="*/ 155156 w 155156"/>
                  <a:gd name="connsiteY0" fmla="*/ 130817 h 261633"/>
                  <a:gd name="connsiteX1" fmla="*/ 79100 w 155156"/>
                  <a:gd name="connsiteY1" fmla="*/ 261634 h 261633"/>
                  <a:gd name="connsiteX2" fmla="*/ 0 w 155156"/>
                  <a:gd name="connsiteY2" fmla="*/ 130817 h 261633"/>
                  <a:gd name="connsiteX3" fmla="*/ 76056 w 155156"/>
                  <a:gd name="connsiteY3" fmla="*/ 0 h 261633"/>
                  <a:gd name="connsiteX4" fmla="*/ 155156 w 155156"/>
                  <a:gd name="connsiteY4" fmla="*/ 130817 h 261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5156" h="261633">
                    <a:moveTo>
                      <a:pt x="155156" y="130817"/>
                    </a:moveTo>
                    <a:cubicBezTo>
                      <a:pt x="155156" y="203831"/>
                      <a:pt x="121690" y="261634"/>
                      <a:pt x="79100" y="261634"/>
                    </a:cubicBezTo>
                    <a:cubicBezTo>
                      <a:pt x="36507" y="261634"/>
                      <a:pt x="0" y="203831"/>
                      <a:pt x="0" y="130817"/>
                    </a:cubicBezTo>
                    <a:cubicBezTo>
                      <a:pt x="0" y="57803"/>
                      <a:pt x="33466" y="0"/>
                      <a:pt x="76056" y="0"/>
                    </a:cubicBezTo>
                    <a:cubicBezTo>
                      <a:pt x="121690" y="3042"/>
                      <a:pt x="155156" y="60845"/>
                      <a:pt x="155156" y="130817"/>
                    </a:cubicBezTo>
                    <a:close/>
                  </a:path>
                </a:pathLst>
              </a:custGeom>
              <a:solidFill>
                <a:srgbClr val="E2CCA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F020BD84-A570-4335-8390-90B645887789}"/>
                  </a:ext>
                </a:extLst>
              </p:cNvPr>
              <p:cNvSpPr/>
              <p:nvPr/>
            </p:nvSpPr>
            <p:spPr>
              <a:xfrm>
                <a:off x="25229091" y="2626649"/>
                <a:ext cx="118526" cy="209915"/>
              </a:xfrm>
              <a:custGeom>
                <a:avLst/>
                <a:gdLst>
                  <a:gd name="connsiteX0" fmla="*/ 58209 w 118526"/>
                  <a:gd name="connsiteY0" fmla="*/ 209915 h 209915"/>
                  <a:gd name="connsiteX1" fmla="*/ 9532 w 118526"/>
                  <a:gd name="connsiteY1" fmla="*/ 173408 h 209915"/>
                  <a:gd name="connsiteX2" fmla="*/ 15617 w 118526"/>
                  <a:gd name="connsiteY2" fmla="*/ 36507 h 209915"/>
                  <a:gd name="connsiteX3" fmla="*/ 49081 w 118526"/>
                  <a:gd name="connsiteY3" fmla="*/ 30423 h 209915"/>
                  <a:gd name="connsiteX4" fmla="*/ 73421 w 118526"/>
                  <a:gd name="connsiteY4" fmla="*/ 82141 h 209915"/>
                  <a:gd name="connsiteX5" fmla="*/ 73421 w 118526"/>
                  <a:gd name="connsiteY5" fmla="*/ 91268 h 209915"/>
                  <a:gd name="connsiteX6" fmla="*/ 52124 w 118526"/>
                  <a:gd name="connsiteY6" fmla="*/ 161239 h 209915"/>
                  <a:gd name="connsiteX7" fmla="*/ 33870 w 118526"/>
                  <a:gd name="connsiteY7" fmla="*/ 158197 h 209915"/>
                  <a:gd name="connsiteX8" fmla="*/ 21702 w 118526"/>
                  <a:gd name="connsiteY8" fmla="*/ 112563 h 209915"/>
                  <a:gd name="connsiteX9" fmla="*/ 30828 w 118526"/>
                  <a:gd name="connsiteY9" fmla="*/ 103437 h 209915"/>
                  <a:gd name="connsiteX10" fmla="*/ 46040 w 118526"/>
                  <a:gd name="connsiteY10" fmla="*/ 106479 h 209915"/>
                  <a:gd name="connsiteX11" fmla="*/ 52124 w 118526"/>
                  <a:gd name="connsiteY11" fmla="*/ 121690 h 209915"/>
                  <a:gd name="connsiteX12" fmla="*/ 46040 w 118526"/>
                  <a:gd name="connsiteY12" fmla="*/ 127775 h 209915"/>
                  <a:gd name="connsiteX13" fmla="*/ 39955 w 118526"/>
                  <a:gd name="connsiteY13" fmla="*/ 121690 h 209915"/>
                  <a:gd name="connsiteX14" fmla="*/ 39955 w 118526"/>
                  <a:gd name="connsiteY14" fmla="*/ 118648 h 209915"/>
                  <a:gd name="connsiteX15" fmla="*/ 36913 w 118526"/>
                  <a:gd name="connsiteY15" fmla="*/ 118648 h 209915"/>
                  <a:gd name="connsiteX16" fmla="*/ 36913 w 118526"/>
                  <a:gd name="connsiteY16" fmla="*/ 121690 h 209915"/>
                  <a:gd name="connsiteX17" fmla="*/ 49081 w 118526"/>
                  <a:gd name="connsiteY17" fmla="*/ 158197 h 209915"/>
                  <a:gd name="connsiteX18" fmla="*/ 52124 w 118526"/>
                  <a:gd name="connsiteY18" fmla="*/ 158197 h 209915"/>
                  <a:gd name="connsiteX19" fmla="*/ 67336 w 118526"/>
                  <a:gd name="connsiteY19" fmla="*/ 97352 h 209915"/>
                  <a:gd name="connsiteX20" fmla="*/ 67336 w 118526"/>
                  <a:gd name="connsiteY20" fmla="*/ 88225 h 209915"/>
                  <a:gd name="connsiteX21" fmla="*/ 49081 w 118526"/>
                  <a:gd name="connsiteY21" fmla="*/ 45634 h 209915"/>
                  <a:gd name="connsiteX22" fmla="*/ 27787 w 118526"/>
                  <a:gd name="connsiteY22" fmla="*/ 48676 h 209915"/>
                  <a:gd name="connsiteX23" fmla="*/ 21702 w 118526"/>
                  <a:gd name="connsiteY23" fmla="*/ 170366 h 209915"/>
                  <a:gd name="connsiteX24" fmla="*/ 67336 w 118526"/>
                  <a:gd name="connsiteY24" fmla="*/ 200789 h 209915"/>
                  <a:gd name="connsiteX25" fmla="*/ 100800 w 118526"/>
                  <a:gd name="connsiteY25" fmla="*/ 155155 h 209915"/>
                  <a:gd name="connsiteX26" fmla="*/ 52124 w 118526"/>
                  <a:gd name="connsiteY26" fmla="*/ 9127 h 209915"/>
                  <a:gd name="connsiteX27" fmla="*/ 49081 w 118526"/>
                  <a:gd name="connsiteY27" fmla="*/ 3042 h 209915"/>
                  <a:gd name="connsiteX28" fmla="*/ 55166 w 118526"/>
                  <a:gd name="connsiteY28" fmla="*/ 0 h 209915"/>
                  <a:gd name="connsiteX29" fmla="*/ 109926 w 118526"/>
                  <a:gd name="connsiteY29" fmla="*/ 158197 h 209915"/>
                  <a:gd name="connsiteX30" fmla="*/ 67336 w 118526"/>
                  <a:gd name="connsiteY30" fmla="*/ 209915 h 209915"/>
                  <a:gd name="connsiteX31" fmla="*/ 58209 w 118526"/>
                  <a:gd name="connsiteY31" fmla="*/ 209915 h 209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18526" h="209915">
                    <a:moveTo>
                      <a:pt x="58209" y="209915"/>
                    </a:moveTo>
                    <a:cubicBezTo>
                      <a:pt x="36913" y="209915"/>
                      <a:pt x="18659" y="191662"/>
                      <a:pt x="9532" y="173408"/>
                    </a:cubicBezTo>
                    <a:cubicBezTo>
                      <a:pt x="406" y="155155"/>
                      <a:pt x="-8721" y="63887"/>
                      <a:pt x="15617" y="36507"/>
                    </a:cubicBezTo>
                    <a:cubicBezTo>
                      <a:pt x="21702" y="30423"/>
                      <a:pt x="33870" y="24338"/>
                      <a:pt x="49081" y="30423"/>
                    </a:cubicBezTo>
                    <a:cubicBezTo>
                      <a:pt x="67336" y="39549"/>
                      <a:pt x="70377" y="63887"/>
                      <a:pt x="73421" y="82141"/>
                    </a:cubicBezTo>
                    <a:cubicBezTo>
                      <a:pt x="73421" y="85183"/>
                      <a:pt x="73421" y="88225"/>
                      <a:pt x="73421" y="91268"/>
                    </a:cubicBezTo>
                    <a:cubicBezTo>
                      <a:pt x="76462" y="115606"/>
                      <a:pt x="79504" y="142986"/>
                      <a:pt x="52124" y="161239"/>
                    </a:cubicBezTo>
                    <a:cubicBezTo>
                      <a:pt x="46040" y="164282"/>
                      <a:pt x="36913" y="164282"/>
                      <a:pt x="33870" y="158197"/>
                    </a:cubicBezTo>
                    <a:cubicBezTo>
                      <a:pt x="21702" y="142986"/>
                      <a:pt x="18659" y="130817"/>
                      <a:pt x="21702" y="112563"/>
                    </a:cubicBezTo>
                    <a:cubicBezTo>
                      <a:pt x="21702" y="106479"/>
                      <a:pt x="24743" y="103437"/>
                      <a:pt x="30828" y="103437"/>
                    </a:cubicBezTo>
                    <a:cubicBezTo>
                      <a:pt x="36913" y="100394"/>
                      <a:pt x="39955" y="103437"/>
                      <a:pt x="46040" y="106479"/>
                    </a:cubicBezTo>
                    <a:cubicBezTo>
                      <a:pt x="49081" y="109521"/>
                      <a:pt x="52124" y="115606"/>
                      <a:pt x="52124" y="121690"/>
                    </a:cubicBezTo>
                    <a:cubicBezTo>
                      <a:pt x="52124" y="124732"/>
                      <a:pt x="49081" y="127775"/>
                      <a:pt x="46040" y="127775"/>
                    </a:cubicBezTo>
                    <a:cubicBezTo>
                      <a:pt x="42998" y="127775"/>
                      <a:pt x="39955" y="124732"/>
                      <a:pt x="39955" y="121690"/>
                    </a:cubicBezTo>
                    <a:cubicBezTo>
                      <a:pt x="39955" y="121690"/>
                      <a:pt x="39955" y="118648"/>
                      <a:pt x="39955" y="118648"/>
                    </a:cubicBezTo>
                    <a:cubicBezTo>
                      <a:pt x="39955" y="118648"/>
                      <a:pt x="36913" y="118648"/>
                      <a:pt x="36913" y="118648"/>
                    </a:cubicBezTo>
                    <a:cubicBezTo>
                      <a:pt x="36913" y="118648"/>
                      <a:pt x="36913" y="118648"/>
                      <a:pt x="36913" y="121690"/>
                    </a:cubicBezTo>
                    <a:cubicBezTo>
                      <a:pt x="33870" y="136901"/>
                      <a:pt x="36913" y="146028"/>
                      <a:pt x="49081" y="158197"/>
                    </a:cubicBezTo>
                    <a:cubicBezTo>
                      <a:pt x="49081" y="158197"/>
                      <a:pt x="52124" y="158197"/>
                      <a:pt x="52124" y="158197"/>
                    </a:cubicBezTo>
                    <a:cubicBezTo>
                      <a:pt x="70377" y="142986"/>
                      <a:pt x="73421" y="124732"/>
                      <a:pt x="67336" y="97352"/>
                    </a:cubicBezTo>
                    <a:cubicBezTo>
                      <a:pt x="67336" y="94310"/>
                      <a:pt x="67336" y="91268"/>
                      <a:pt x="67336" y="88225"/>
                    </a:cubicBezTo>
                    <a:cubicBezTo>
                      <a:pt x="64292" y="73014"/>
                      <a:pt x="61251" y="48676"/>
                      <a:pt x="49081" y="45634"/>
                    </a:cubicBezTo>
                    <a:cubicBezTo>
                      <a:pt x="36913" y="39549"/>
                      <a:pt x="30828" y="45634"/>
                      <a:pt x="27787" y="48676"/>
                    </a:cubicBezTo>
                    <a:cubicBezTo>
                      <a:pt x="6491" y="69972"/>
                      <a:pt x="15617" y="155155"/>
                      <a:pt x="21702" y="170366"/>
                    </a:cubicBezTo>
                    <a:cubicBezTo>
                      <a:pt x="30828" y="188620"/>
                      <a:pt x="49081" y="203831"/>
                      <a:pt x="67336" y="200789"/>
                    </a:cubicBezTo>
                    <a:cubicBezTo>
                      <a:pt x="85588" y="197746"/>
                      <a:pt x="97758" y="167324"/>
                      <a:pt x="100800" y="155155"/>
                    </a:cubicBezTo>
                    <a:cubicBezTo>
                      <a:pt x="116011" y="106479"/>
                      <a:pt x="109926" y="30423"/>
                      <a:pt x="52124" y="9127"/>
                    </a:cubicBezTo>
                    <a:cubicBezTo>
                      <a:pt x="49081" y="9127"/>
                      <a:pt x="49081" y="6084"/>
                      <a:pt x="49081" y="3042"/>
                    </a:cubicBezTo>
                    <a:cubicBezTo>
                      <a:pt x="49081" y="0"/>
                      <a:pt x="52124" y="0"/>
                      <a:pt x="55166" y="0"/>
                    </a:cubicBezTo>
                    <a:cubicBezTo>
                      <a:pt x="112969" y="21296"/>
                      <a:pt x="131222" y="100394"/>
                      <a:pt x="109926" y="158197"/>
                    </a:cubicBezTo>
                    <a:cubicBezTo>
                      <a:pt x="103843" y="176451"/>
                      <a:pt x="91673" y="203831"/>
                      <a:pt x="67336" y="209915"/>
                    </a:cubicBezTo>
                    <a:cubicBezTo>
                      <a:pt x="64292" y="209915"/>
                      <a:pt x="61251" y="209915"/>
                      <a:pt x="58209" y="209915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5121B608-D891-4B39-8C1D-D3822BA4E720}"/>
                </a:ext>
              </a:extLst>
            </p:cNvPr>
            <p:cNvGrpSpPr/>
            <p:nvPr/>
          </p:nvGrpSpPr>
          <p:grpSpPr>
            <a:xfrm>
              <a:off x="24912649" y="6164789"/>
              <a:ext cx="394425" cy="360763"/>
              <a:chOff x="24912649" y="6164789"/>
              <a:chExt cx="394425" cy="360763"/>
            </a:xfrm>
          </p:grpSpPr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E293971A-BD98-4F86-B7B2-BF98D7DE5CE9}"/>
                  </a:ext>
                </a:extLst>
              </p:cNvPr>
              <p:cNvSpPr/>
              <p:nvPr/>
            </p:nvSpPr>
            <p:spPr>
              <a:xfrm>
                <a:off x="24912649" y="6289522"/>
                <a:ext cx="394425" cy="236031"/>
              </a:xfrm>
              <a:custGeom>
                <a:avLst/>
                <a:gdLst>
                  <a:gd name="connsiteX0" fmla="*/ 286426 w 394425"/>
                  <a:gd name="connsiteY0" fmla="*/ 0 h 236031"/>
                  <a:gd name="connsiteX1" fmla="*/ 128228 w 394425"/>
                  <a:gd name="connsiteY1" fmla="*/ 124732 h 236031"/>
                  <a:gd name="connsiteX2" fmla="*/ 322933 w 394425"/>
                  <a:gd name="connsiteY2" fmla="*/ 76056 h 236031"/>
                  <a:gd name="connsiteX3" fmla="*/ 392904 w 394425"/>
                  <a:gd name="connsiteY3" fmla="*/ 51718 h 236031"/>
                  <a:gd name="connsiteX4" fmla="*/ 386820 w 394425"/>
                  <a:gd name="connsiteY4" fmla="*/ 158197 h 236031"/>
                  <a:gd name="connsiteX5" fmla="*/ 155609 w 394425"/>
                  <a:gd name="connsiteY5" fmla="*/ 231211 h 236031"/>
                  <a:gd name="connsiteX6" fmla="*/ 18708 w 394425"/>
                  <a:gd name="connsiteY6" fmla="*/ 231211 h 236031"/>
                  <a:gd name="connsiteX7" fmla="*/ 12623 w 394425"/>
                  <a:gd name="connsiteY7" fmla="*/ 176450 h 236031"/>
                  <a:gd name="connsiteX8" fmla="*/ 286426 w 394425"/>
                  <a:gd name="connsiteY8" fmla="*/ 0 h 236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4425" h="236031">
                    <a:moveTo>
                      <a:pt x="286426" y="0"/>
                    </a:moveTo>
                    <a:cubicBezTo>
                      <a:pt x="286426" y="0"/>
                      <a:pt x="113017" y="112563"/>
                      <a:pt x="128228" y="124732"/>
                    </a:cubicBezTo>
                    <a:cubicBezTo>
                      <a:pt x="140398" y="139943"/>
                      <a:pt x="322933" y="76056"/>
                      <a:pt x="322933" y="76056"/>
                    </a:cubicBezTo>
                    <a:lnTo>
                      <a:pt x="392904" y="51718"/>
                    </a:lnTo>
                    <a:cubicBezTo>
                      <a:pt x="392904" y="51718"/>
                      <a:pt x="398989" y="133859"/>
                      <a:pt x="386820" y="158197"/>
                    </a:cubicBezTo>
                    <a:cubicBezTo>
                      <a:pt x="313807" y="194704"/>
                      <a:pt x="228622" y="219042"/>
                      <a:pt x="155609" y="231211"/>
                    </a:cubicBezTo>
                    <a:cubicBezTo>
                      <a:pt x="109975" y="240338"/>
                      <a:pt x="27834" y="234253"/>
                      <a:pt x="18708" y="231211"/>
                    </a:cubicBezTo>
                    <a:cubicBezTo>
                      <a:pt x="9581" y="228169"/>
                      <a:pt x="-14758" y="203831"/>
                      <a:pt x="12623" y="176450"/>
                    </a:cubicBezTo>
                    <a:cubicBezTo>
                      <a:pt x="76509" y="109521"/>
                      <a:pt x="286426" y="0"/>
                      <a:pt x="286426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03C41FDC-D319-4B44-A1DF-353415F9F39D}"/>
                  </a:ext>
                </a:extLst>
              </p:cNvPr>
              <p:cNvSpPr/>
              <p:nvPr/>
            </p:nvSpPr>
            <p:spPr>
              <a:xfrm>
                <a:off x="25039552" y="6164789"/>
                <a:ext cx="266000" cy="253529"/>
              </a:xfrm>
              <a:custGeom>
                <a:avLst/>
                <a:gdLst>
                  <a:gd name="connsiteX0" fmla="*/ 144311 w 266000"/>
                  <a:gd name="connsiteY0" fmla="*/ 0 h 253529"/>
                  <a:gd name="connsiteX1" fmla="*/ 159522 w 266000"/>
                  <a:gd name="connsiteY1" fmla="*/ 124733 h 253529"/>
                  <a:gd name="connsiteX2" fmla="*/ 1324 w 266000"/>
                  <a:gd name="connsiteY2" fmla="*/ 249465 h 253529"/>
                  <a:gd name="connsiteX3" fmla="*/ 238620 w 266000"/>
                  <a:gd name="connsiteY3" fmla="*/ 206873 h 253529"/>
                  <a:gd name="connsiteX4" fmla="*/ 266001 w 266000"/>
                  <a:gd name="connsiteY4" fmla="*/ 176451 h 253529"/>
                  <a:gd name="connsiteX5" fmla="*/ 266001 w 266000"/>
                  <a:gd name="connsiteY5" fmla="*/ 42591 h 253529"/>
                  <a:gd name="connsiteX6" fmla="*/ 144311 w 266000"/>
                  <a:gd name="connsiteY6" fmla="*/ 0 h 253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6000" h="253529">
                    <a:moveTo>
                      <a:pt x="144311" y="0"/>
                    </a:moveTo>
                    <a:lnTo>
                      <a:pt x="159522" y="124733"/>
                    </a:lnTo>
                    <a:cubicBezTo>
                      <a:pt x="159522" y="124733"/>
                      <a:pt x="-16928" y="228169"/>
                      <a:pt x="1324" y="249465"/>
                    </a:cubicBezTo>
                    <a:cubicBezTo>
                      <a:pt x="13494" y="264676"/>
                      <a:pt x="168648" y="234253"/>
                      <a:pt x="238620" y="206873"/>
                    </a:cubicBezTo>
                    <a:cubicBezTo>
                      <a:pt x="262959" y="197746"/>
                      <a:pt x="266001" y="176451"/>
                      <a:pt x="266001" y="176451"/>
                    </a:cubicBezTo>
                    <a:lnTo>
                      <a:pt x="266001" y="42591"/>
                    </a:lnTo>
                    <a:lnTo>
                      <a:pt x="144311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709BCCEA-4E57-4CA1-9350-5B6A16B87726}"/>
                </a:ext>
              </a:extLst>
            </p:cNvPr>
            <p:cNvGrpSpPr/>
            <p:nvPr/>
          </p:nvGrpSpPr>
          <p:grpSpPr>
            <a:xfrm>
              <a:off x="24203803" y="6164789"/>
              <a:ext cx="394426" cy="360763"/>
              <a:chOff x="24203803" y="6164789"/>
              <a:chExt cx="394426" cy="360763"/>
            </a:xfrm>
          </p:grpSpPr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35AEAFB4-6DDF-4548-A72D-9038FA02CA24}"/>
                  </a:ext>
                </a:extLst>
              </p:cNvPr>
              <p:cNvSpPr/>
              <p:nvPr/>
            </p:nvSpPr>
            <p:spPr>
              <a:xfrm>
                <a:off x="24203803" y="6289522"/>
                <a:ext cx="394426" cy="236031"/>
              </a:xfrm>
              <a:custGeom>
                <a:avLst/>
                <a:gdLst>
                  <a:gd name="connsiteX0" fmla="*/ 286426 w 394426"/>
                  <a:gd name="connsiteY0" fmla="*/ 0 h 236031"/>
                  <a:gd name="connsiteX1" fmla="*/ 128228 w 394426"/>
                  <a:gd name="connsiteY1" fmla="*/ 124732 h 236031"/>
                  <a:gd name="connsiteX2" fmla="*/ 322933 w 394426"/>
                  <a:gd name="connsiteY2" fmla="*/ 76056 h 236031"/>
                  <a:gd name="connsiteX3" fmla="*/ 392905 w 394426"/>
                  <a:gd name="connsiteY3" fmla="*/ 51718 h 236031"/>
                  <a:gd name="connsiteX4" fmla="*/ 386820 w 394426"/>
                  <a:gd name="connsiteY4" fmla="*/ 158197 h 236031"/>
                  <a:gd name="connsiteX5" fmla="*/ 155610 w 394426"/>
                  <a:gd name="connsiteY5" fmla="*/ 231211 h 236031"/>
                  <a:gd name="connsiteX6" fmla="*/ 18708 w 394426"/>
                  <a:gd name="connsiteY6" fmla="*/ 231211 h 236031"/>
                  <a:gd name="connsiteX7" fmla="*/ 12623 w 394426"/>
                  <a:gd name="connsiteY7" fmla="*/ 176450 h 236031"/>
                  <a:gd name="connsiteX8" fmla="*/ 286426 w 394426"/>
                  <a:gd name="connsiteY8" fmla="*/ 0 h 236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4426" h="236031">
                    <a:moveTo>
                      <a:pt x="286426" y="0"/>
                    </a:moveTo>
                    <a:cubicBezTo>
                      <a:pt x="286426" y="0"/>
                      <a:pt x="113017" y="112563"/>
                      <a:pt x="128228" y="124732"/>
                    </a:cubicBezTo>
                    <a:cubicBezTo>
                      <a:pt x="140398" y="139943"/>
                      <a:pt x="322933" y="76056"/>
                      <a:pt x="322933" y="76056"/>
                    </a:cubicBezTo>
                    <a:lnTo>
                      <a:pt x="392905" y="51718"/>
                    </a:lnTo>
                    <a:cubicBezTo>
                      <a:pt x="392905" y="51718"/>
                      <a:pt x="398990" y="133859"/>
                      <a:pt x="386820" y="158197"/>
                    </a:cubicBezTo>
                    <a:cubicBezTo>
                      <a:pt x="313805" y="194704"/>
                      <a:pt x="228622" y="219042"/>
                      <a:pt x="155610" y="231211"/>
                    </a:cubicBezTo>
                    <a:cubicBezTo>
                      <a:pt x="109976" y="240338"/>
                      <a:pt x="27834" y="234253"/>
                      <a:pt x="18708" y="231211"/>
                    </a:cubicBezTo>
                    <a:cubicBezTo>
                      <a:pt x="9580" y="228169"/>
                      <a:pt x="-14758" y="203831"/>
                      <a:pt x="12623" y="176450"/>
                    </a:cubicBezTo>
                    <a:cubicBezTo>
                      <a:pt x="73468" y="109521"/>
                      <a:pt x="286426" y="0"/>
                      <a:pt x="286426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0F4C6760-E84A-4BCD-8ADD-C0B54EF087E7}"/>
                  </a:ext>
                </a:extLst>
              </p:cNvPr>
              <p:cNvSpPr/>
              <p:nvPr/>
            </p:nvSpPr>
            <p:spPr>
              <a:xfrm>
                <a:off x="24330707" y="6164789"/>
                <a:ext cx="266000" cy="253529"/>
              </a:xfrm>
              <a:custGeom>
                <a:avLst/>
                <a:gdLst>
                  <a:gd name="connsiteX0" fmla="*/ 144311 w 266000"/>
                  <a:gd name="connsiteY0" fmla="*/ 0 h 253529"/>
                  <a:gd name="connsiteX1" fmla="*/ 159522 w 266000"/>
                  <a:gd name="connsiteY1" fmla="*/ 124733 h 253529"/>
                  <a:gd name="connsiteX2" fmla="*/ 1324 w 266000"/>
                  <a:gd name="connsiteY2" fmla="*/ 249465 h 253529"/>
                  <a:gd name="connsiteX3" fmla="*/ 238620 w 266000"/>
                  <a:gd name="connsiteY3" fmla="*/ 206873 h 253529"/>
                  <a:gd name="connsiteX4" fmla="*/ 266001 w 266000"/>
                  <a:gd name="connsiteY4" fmla="*/ 176451 h 253529"/>
                  <a:gd name="connsiteX5" fmla="*/ 266001 w 266000"/>
                  <a:gd name="connsiteY5" fmla="*/ 42591 h 253529"/>
                  <a:gd name="connsiteX6" fmla="*/ 144311 w 266000"/>
                  <a:gd name="connsiteY6" fmla="*/ 0 h 253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6000" h="253529">
                    <a:moveTo>
                      <a:pt x="144311" y="0"/>
                    </a:moveTo>
                    <a:lnTo>
                      <a:pt x="159522" y="124733"/>
                    </a:lnTo>
                    <a:cubicBezTo>
                      <a:pt x="159522" y="124733"/>
                      <a:pt x="-16928" y="228169"/>
                      <a:pt x="1324" y="249465"/>
                    </a:cubicBezTo>
                    <a:cubicBezTo>
                      <a:pt x="13494" y="264676"/>
                      <a:pt x="168648" y="234253"/>
                      <a:pt x="238620" y="206873"/>
                    </a:cubicBezTo>
                    <a:cubicBezTo>
                      <a:pt x="262957" y="197746"/>
                      <a:pt x="266001" y="176451"/>
                      <a:pt x="266001" y="176451"/>
                    </a:cubicBezTo>
                    <a:lnTo>
                      <a:pt x="266001" y="42591"/>
                    </a:lnTo>
                    <a:lnTo>
                      <a:pt x="144311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3680FD0A-40AD-497A-A3B0-43E3E0642968}"/>
                </a:ext>
              </a:extLst>
            </p:cNvPr>
            <p:cNvSpPr/>
            <p:nvPr/>
          </p:nvSpPr>
          <p:spPr>
            <a:xfrm>
              <a:off x="24815717" y="2035179"/>
              <a:ext cx="231084" cy="150169"/>
            </a:xfrm>
            <a:custGeom>
              <a:avLst/>
              <a:gdLst>
                <a:gd name="connsiteX0" fmla="*/ 34 w 231084"/>
                <a:gd name="connsiteY0" fmla="*/ 68202 h 150169"/>
                <a:gd name="connsiteX1" fmla="*/ 118681 w 231084"/>
                <a:gd name="connsiteY1" fmla="*/ 1273 h 150169"/>
                <a:gd name="connsiteX2" fmla="*/ 225160 w 231084"/>
                <a:gd name="connsiteY2" fmla="*/ 122963 h 150169"/>
                <a:gd name="connsiteX3" fmla="*/ 34 w 231084"/>
                <a:gd name="connsiteY3" fmla="*/ 68202 h 15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084" h="150169">
                  <a:moveTo>
                    <a:pt x="34" y="68202"/>
                  </a:moveTo>
                  <a:cubicBezTo>
                    <a:pt x="34" y="68202"/>
                    <a:pt x="24372" y="-10896"/>
                    <a:pt x="118681" y="1273"/>
                  </a:cubicBezTo>
                  <a:cubicBezTo>
                    <a:pt x="179526" y="10400"/>
                    <a:pt x="252541" y="56033"/>
                    <a:pt x="225160" y="122963"/>
                  </a:cubicBezTo>
                  <a:cubicBezTo>
                    <a:pt x="197781" y="192935"/>
                    <a:pt x="-3009" y="110794"/>
                    <a:pt x="34" y="68202"/>
                  </a:cubicBez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D7BC01AF-C22A-4BA2-A09E-69EFE10AC5A1}"/>
                </a:ext>
              </a:extLst>
            </p:cNvPr>
            <p:cNvSpPr/>
            <p:nvPr/>
          </p:nvSpPr>
          <p:spPr>
            <a:xfrm>
              <a:off x="24371502" y="2940784"/>
              <a:ext cx="239343" cy="735129"/>
            </a:xfrm>
            <a:custGeom>
              <a:avLst/>
              <a:gdLst>
                <a:gd name="connsiteX0" fmla="*/ 203910 w 239343"/>
                <a:gd name="connsiteY0" fmla="*/ 297357 h 735129"/>
                <a:gd name="connsiteX1" fmla="*/ 206952 w 239343"/>
                <a:gd name="connsiteY1" fmla="*/ 5301 h 735129"/>
                <a:gd name="connsiteX2" fmla="*/ 18334 w 239343"/>
                <a:gd name="connsiteY2" fmla="*/ 233470 h 735129"/>
                <a:gd name="connsiteX3" fmla="*/ 79 w 239343"/>
                <a:gd name="connsiteY3" fmla="*/ 610709 h 735129"/>
                <a:gd name="connsiteX4" fmla="*/ 164362 w 239343"/>
                <a:gd name="connsiteY4" fmla="*/ 692850 h 735129"/>
                <a:gd name="connsiteX5" fmla="*/ 203910 w 239343"/>
                <a:gd name="connsiteY5" fmla="*/ 297357 h 73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43" h="735129">
                  <a:moveTo>
                    <a:pt x="203910" y="297357"/>
                  </a:moveTo>
                  <a:cubicBezTo>
                    <a:pt x="200869" y="114822"/>
                    <a:pt x="283008" y="32681"/>
                    <a:pt x="206952" y="5301"/>
                  </a:cubicBezTo>
                  <a:cubicBezTo>
                    <a:pt x="121769" y="-28164"/>
                    <a:pt x="39628" y="102653"/>
                    <a:pt x="18334" y="233470"/>
                  </a:cubicBezTo>
                  <a:cubicBezTo>
                    <a:pt x="3122" y="333864"/>
                    <a:pt x="79" y="610709"/>
                    <a:pt x="79" y="610709"/>
                  </a:cubicBezTo>
                  <a:cubicBezTo>
                    <a:pt x="-2962" y="714146"/>
                    <a:pt x="82220" y="784118"/>
                    <a:pt x="164362" y="692850"/>
                  </a:cubicBezTo>
                  <a:cubicBezTo>
                    <a:pt x="246503" y="601583"/>
                    <a:pt x="206952" y="479893"/>
                    <a:pt x="203910" y="297357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3FA06927-407F-413E-B2A2-8DC25DFE3BF1}"/>
                </a:ext>
              </a:extLst>
            </p:cNvPr>
            <p:cNvSpPr/>
            <p:nvPr/>
          </p:nvSpPr>
          <p:spPr>
            <a:xfrm>
              <a:off x="24316821" y="2826545"/>
              <a:ext cx="384609" cy="433056"/>
            </a:xfrm>
            <a:custGeom>
              <a:avLst/>
              <a:gdLst>
                <a:gd name="connsiteX0" fmla="*/ 355944 w 384609"/>
                <a:gd name="connsiteY0" fmla="*/ 432893 h 433056"/>
                <a:gd name="connsiteX1" fmla="*/ 316395 w 384609"/>
                <a:gd name="connsiteY1" fmla="*/ 6977 h 433056"/>
                <a:gd name="connsiteX2" fmla="*/ 0 w 384609"/>
                <a:gd name="connsiteY2" fmla="*/ 344667 h 433056"/>
                <a:gd name="connsiteX3" fmla="*/ 355944 w 384609"/>
                <a:gd name="connsiteY3" fmla="*/ 432893 h 433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609" h="433056">
                  <a:moveTo>
                    <a:pt x="355944" y="432893"/>
                  </a:moveTo>
                  <a:cubicBezTo>
                    <a:pt x="407663" y="256442"/>
                    <a:pt x="386367" y="43484"/>
                    <a:pt x="316395" y="6977"/>
                  </a:cubicBezTo>
                  <a:cubicBezTo>
                    <a:pt x="225128" y="-41699"/>
                    <a:pt x="45634" y="174301"/>
                    <a:pt x="0" y="344667"/>
                  </a:cubicBezTo>
                  <a:cubicBezTo>
                    <a:pt x="54760" y="396386"/>
                    <a:pt x="255550" y="435935"/>
                    <a:pt x="355944" y="432893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65646955-F9A6-4B8A-8A4B-1C417D33049C}"/>
                </a:ext>
              </a:extLst>
            </p:cNvPr>
            <p:cNvSpPr/>
            <p:nvPr/>
          </p:nvSpPr>
          <p:spPr>
            <a:xfrm>
              <a:off x="24424571" y="3712733"/>
              <a:ext cx="921265" cy="2518985"/>
            </a:xfrm>
            <a:custGeom>
              <a:avLst/>
              <a:gdLst>
                <a:gd name="connsiteX0" fmla="*/ 789714 w 921265"/>
                <a:gd name="connsiteY0" fmla="*/ 0 h 2518985"/>
                <a:gd name="connsiteX1" fmla="*/ 123460 w 921265"/>
                <a:gd name="connsiteY1" fmla="*/ 0 h 2518985"/>
                <a:gd name="connsiteX2" fmla="*/ 4813 w 921265"/>
                <a:gd name="connsiteY2" fmla="*/ 459380 h 2518985"/>
                <a:gd name="connsiteX3" fmla="*/ 26109 w 921265"/>
                <a:gd name="connsiteY3" fmla="*/ 2518986 h 2518985"/>
                <a:gd name="connsiteX4" fmla="*/ 205601 w 921265"/>
                <a:gd name="connsiteY4" fmla="*/ 2518986 h 2518985"/>
                <a:gd name="connsiteX5" fmla="*/ 421602 w 921265"/>
                <a:gd name="connsiteY5" fmla="*/ 864000 h 2518985"/>
                <a:gd name="connsiteX6" fmla="*/ 722784 w 921265"/>
                <a:gd name="connsiteY6" fmla="*/ 2509859 h 2518985"/>
                <a:gd name="connsiteX7" fmla="*/ 917489 w 921265"/>
                <a:gd name="connsiteY7" fmla="*/ 2509859 h 2518985"/>
                <a:gd name="connsiteX8" fmla="*/ 920531 w 921265"/>
                <a:gd name="connsiteY8" fmla="*/ 419831 h 2518985"/>
                <a:gd name="connsiteX9" fmla="*/ 789714 w 921265"/>
                <a:gd name="connsiteY9" fmla="*/ 0 h 2518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1265" h="2518985">
                  <a:moveTo>
                    <a:pt x="789714" y="0"/>
                  </a:moveTo>
                  <a:lnTo>
                    <a:pt x="123460" y="0"/>
                  </a:lnTo>
                  <a:cubicBezTo>
                    <a:pt x="123460" y="0"/>
                    <a:pt x="26109" y="304225"/>
                    <a:pt x="4813" y="459380"/>
                  </a:cubicBezTo>
                  <a:cubicBezTo>
                    <a:pt x="-13441" y="611493"/>
                    <a:pt x="26109" y="2518986"/>
                    <a:pt x="26109" y="2518986"/>
                  </a:cubicBezTo>
                  <a:lnTo>
                    <a:pt x="205601" y="2518986"/>
                  </a:lnTo>
                  <a:lnTo>
                    <a:pt x="421602" y="864000"/>
                  </a:lnTo>
                  <a:lnTo>
                    <a:pt x="722784" y="2509859"/>
                  </a:lnTo>
                  <a:lnTo>
                    <a:pt x="917489" y="2509859"/>
                  </a:lnTo>
                  <a:cubicBezTo>
                    <a:pt x="917489" y="2509859"/>
                    <a:pt x="911405" y="538479"/>
                    <a:pt x="920531" y="419831"/>
                  </a:cubicBezTo>
                  <a:cubicBezTo>
                    <a:pt x="932701" y="295099"/>
                    <a:pt x="789714" y="0"/>
                    <a:pt x="789714" y="0"/>
                  </a:cubicBez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D6E9C2F9-3573-4F22-B459-AC155F0BE2AE}"/>
                </a:ext>
              </a:extLst>
            </p:cNvPr>
            <p:cNvSpPr/>
            <p:nvPr/>
          </p:nvSpPr>
          <p:spPr>
            <a:xfrm>
              <a:off x="24523693" y="3758367"/>
              <a:ext cx="717972" cy="12169"/>
            </a:xfrm>
            <a:custGeom>
              <a:avLst/>
              <a:gdLst>
                <a:gd name="connsiteX0" fmla="*/ 711888 w 717972"/>
                <a:gd name="connsiteY0" fmla="*/ 12169 h 12169"/>
                <a:gd name="connsiteX1" fmla="*/ 6085 w 717972"/>
                <a:gd name="connsiteY1" fmla="*/ 12169 h 12169"/>
                <a:gd name="connsiteX2" fmla="*/ 0 w 717972"/>
                <a:gd name="connsiteY2" fmla="*/ 6084 h 12169"/>
                <a:gd name="connsiteX3" fmla="*/ 6085 w 717972"/>
                <a:gd name="connsiteY3" fmla="*/ 0 h 12169"/>
                <a:gd name="connsiteX4" fmla="*/ 711888 w 717972"/>
                <a:gd name="connsiteY4" fmla="*/ 0 h 12169"/>
                <a:gd name="connsiteX5" fmla="*/ 717973 w 717972"/>
                <a:gd name="connsiteY5" fmla="*/ 6084 h 12169"/>
                <a:gd name="connsiteX6" fmla="*/ 711888 w 717972"/>
                <a:gd name="connsiteY6" fmla="*/ 12169 h 12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7972" h="12169">
                  <a:moveTo>
                    <a:pt x="711888" y="12169"/>
                  </a:moveTo>
                  <a:lnTo>
                    <a:pt x="6085" y="12169"/>
                  </a:lnTo>
                  <a:cubicBezTo>
                    <a:pt x="3043" y="12169"/>
                    <a:pt x="0" y="9127"/>
                    <a:pt x="0" y="6084"/>
                  </a:cubicBezTo>
                  <a:cubicBezTo>
                    <a:pt x="0" y="3042"/>
                    <a:pt x="3043" y="0"/>
                    <a:pt x="6085" y="0"/>
                  </a:cubicBezTo>
                  <a:lnTo>
                    <a:pt x="711888" y="0"/>
                  </a:lnTo>
                  <a:cubicBezTo>
                    <a:pt x="714930" y="0"/>
                    <a:pt x="717973" y="3042"/>
                    <a:pt x="717973" y="6084"/>
                  </a:cubicBezTo>
                  <a:cubicBezTo>
                    <a:pt x="717973" y="9127"/>
                    <a:pt x="714930" y="12169"/>
                    <a:pt x="711888" y="12169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A7E01575-860D-47D5-8329-30D714BF0ED9}"/>
                </a:ext>
              </a:extLst>
            </p:cNvPr>
            <p:cNvSpPr/>
            <p:nvPr/>
          </p:nvSpPr>
          <p:spPr>
            <a:xfrm>
              <a:off x="24840089" y="4102141"/>
              <a:ext cx="313351" cy="2123493"/>
            </a:xfrm>
            <a:custGeom>
              <a:avLst/>
              <a:gdLst>
                <a:gd name="connsiteX0" fmla="*/ 307267 w 313351"/>
                <a:gd name="connsiteY0" fmla="*/ 2123493 h 2123493"/>
                <a:gd name="connsiteX1" fmla="*/ 301182 w 313351"/>
                <a:gd name="connsiteY1" fmla="*/ 2120451 h 2123493"/>
                <a:gd name="connsiteX2" fmla="*/ 0 w 313351"/>
                <a:gd name="connsiteY2" fmla="*/ 474592 h 2123493"/>
                <a:gd name="connsiteX3" fmla="*/ 0 w 313351"/>
                <a:gd name="connsiteY3" fmla="*/ 6085 h 2123493"/>
                <a:gd name="connsiteX4" fmla="*/ 6085 w 313351"/>
                <a:gd name="connsiteY4" fmla="*/ 0 h 2123493"/>
                <a:gd name="connsiteX5" fmla="*/ 12168 w 313351"/>
                <a:gd name="connsiteY5" fmla="*/ 6085 h 2123493"/>
                <a:gd name="connsiteX6" fmla="*/ 12168 w 313351"/>
                <a:gd name="connsiteY6" fmla="*/ 474592 h 2123493"/>
                <a:gd name="connsiteX7" fmla="*/ 313352 w 313351"/>
                <a:gd name="connsiteY7" fmla="*/ 2120451 h 2123493"/>
                <a:gd name="connsiteX8" fmla="*/ 307267 w 313351"/>
                <a:gd name="connsiteY8" fmla="*/ 2123493 h 2123493"/>
                <a:gd name="connsiteX9" fmla="*/ 307267 w 313351"/>
                <a:gd name="connsiteY9" fmla="*/ 2123493 h 212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3351" h="2123493">
                  <a:moveTo>
                    <a:pt x="307267" y="2123493"/>
                  </a:moveTo>
                  <a:cubicBezTo>
                    <a:pt x="304225" y="2123493"/>
                    <a:pt x="301182" y="2120451"/>
                    <a:pt x="301182" y="2120451"/>
                  </a:cubicBezTo>
                  <a:lnTo>
                    <a:pt x="0" y="474592"/>
                  </a:lnTo>
                  <a:lnTo>
                    <a:pt x="0" y="6085"/>
                  </a:lnTo>
                  <a:cubicBezTo>
                    <a:pt x="0" y="3042"/>
                    <a:pt x="3042" y="0"/>
                    <a:pt x="6085" y="0"/>
                  </a:cubicBezTo>
                  <a:cubicBezTo>
                    <a:pt x="9126" y="0"/>
                    <a:pt x="12168" y="3042"/>
                    <a:pt x="12168" y="6085"/>
                  </a:cubicBezTo>
                  <a:lnTo>
                    <a:pt x="12168" y="474592"/>
                  </a:lnTo>
                  <a:lnTo>
                    <a:pt x="313352" y="2120451"/>
                  </a:lnTo>
                  <a:cubicBezTo>
                    <a:pt x="313352" y="2120451"/>
                    <a:pt x="310310" y="2123493"/>
                    <a:pt x="307267" y="2123493"/>
                  </a:cubicBezTo>
                  <a:cubicBezTo>
                    <a:pt x="307267" y="2123493"/>
                    <a:pt x="307267" y="2123493"/>
                    <a:pt x="307267" y="2123493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140C72EA-4339-4815-964A-60801F97CEFC}"/>
                </a:ext>
              </a:extLst>
            </p:cNvPr>
            <p:cNvSpPr/>
            <p:nvPr/>
          </p:nvSpPr>
          <p:spPr>
            <a:xfrm>
              <a:off x="24454827" y="2762137"/>
              <a:ext cx="818823" cy="984150"/>
            </a:xfrm>
            <a:custGeom>
              <a:avLst/>
              <a:gdLst>
                <a:gd name="connsiteX0" fmla="*/ 774670 w 818823"/>
                <a:gd name="connsiteY0" fmla="*/ 390821 h 984150"/>
                <a:gd name="connsiteX1" fmla="*/ 759458 w 818823"/>
                <a:gd name="connsiteY1" fmla="*/ 68342 h 984150"/>
                <a:gd name="connsiteX2" fmla="*/ 391347 w 818823"/>
                <a:gd name="connsiteY2" fmla="*/ 4455 h 984150"/>
                <a:gd name="connsiteX3" fmla="*/ 90163 w 818823"/>
                <a:gd name="connsiteY3" fmla="*/ 104849 h 984150"/>
                <a:gd name="connsiteX4" fmla="*/ 50614 w 818823"/>
                <a:gd name="connsiteY4" fmla="*/ 652455 h 984150"/>
                <a:gd name="connsiteX5" fmla="*/ 93204 w 818823"/>
                <a:gd name="connsiteY5" fmla="*/ 977976 h 984150"/>
                <a:gd name="connsiteX6" fmla="*/ 768585 w 818823"/>
                <a:gd name="connsiteY6" fmla="*/ 962765 h 984150"/>
                <a:gd name="connsiteX7" fmla="*/ 774670 w 818823"/>
                <a:gd name="connsiteY7" fmla="*/ 390821 h 9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8823" h="984150">
                  <a:moveTo>
                    <a:pt x="774670" y="390821"/>
                  </a:moveTo>
                  <a:cubicBezTo>
                    <a:pt x="783796" y="360399"/>
                    <a:pt x="878107" y="132230"/>
                    <a:pt x="759458" y="68342"/>
                  </a:cubicBezTo>
                  <a:cubicBezTo>
                    <a:pt x="656021" y="13582"/>
                    <a:pt x="509993" y="-10756"/>
                    <a:pt x="391347" y="4455"/>
                  </a:cubicBezTo>
                  <a:cubicBezTo>
                    <a:pt x="260528" y="19666"/>
                    <a:pt x="129712" y="40962"/>
                    <a:pt x="90163" y="104849"/>
                  </a:cubicBezTo>
                  <a:cubicBezTo>
                    <a:pt x="-22401" y="290427"/>
                    <a:pt x="-22401" y="454709"/>
                    <a:pt x="50614" y="652455"/>
                  </a:cubicBezTo>
                  <a:cubicBezTo>
                    <a:pt x="71910" y="710258"/>
                    <a:pt x="77993" y="844117"/>
                    <a:pt x="93204" y="977976"/>
                  </a:cubicBezTo>
                  <a:cubicBezTo>
                    <a:pt x="93204" y="977976"/>
                    <a:pt x="376135" y="999272"/>
                    <a:pt x="768585" y="962765"/>
                  </a:cubicBezTo>
                  <a:cubicBezTo>
                    <a:pt x="738162" y="743723"/>
                    <a:pt x="765543" y="412117"/>
                    <a:pt x="774670" y="390821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226BDB2F-9DD1-4FDD-A9F1-B381BF219F34}"/>
                </a:ext>
              </a:extLst>
            </p:cNvPr>
            <p:cNvSpPr/>
            <p:nvPr/>
          </p:nvSpPr>
          <p:spPr>
            <a:xfrm>
              <a:off x="24613518" y="2087535"/>
              <a:ext cx="324254" cy="597577"/>
            </a:xfrm>
            <a:custGeom>
              <a:avLst/>
              <a:gdLst>
                <a:gd name="connsiteX0" fmla="*/ 235697 w 324254"/>
                <a:gd name="connsiteY0" fmla="*/ 301817 h 597577"/>
                <a:gd name="connsiteX1" fmla="*/ 284372 w 324254"/>
                <a:gd name="connsiteY1" fmla="*/ 158831 h 597577"/>
                <a:gd name="connsiteX2" fmla="*/ 323923 w 324254"/>
                <a:gd name="connsiteY2" fmla="*/ 9761 h 597577"/>
                <a:gd name="connsiteX3" fmla="*/ 10569 w 324254"/>
                <a:gd name="connsiteY3" fmla="*/ 183169 h 597577"/>
                <a:gd name="connsiteX4" fmla="*/ 187022 w 324254"/>
                <a:gd name="connsiteY4" fmla="*/ 517817 h 597577"/>
                <a:gd name="connsiteX5" fmla="*/ 284372 w 324254"/>
                <a:gd name="connsiteY5" fmla="*/ 569536 h 597577"/>
                <a:gd name="connsiteX6" fmla="*/ 235697 w 324254"/>
                <a:gd name="connsiteY6" fmla="*/ 301817 h 597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4254" h="597577">
                  <a:moveTo>
                    <a:pt x="235697" y="301817"/>
                  </a:moveTo>
                  <a:cubicBezTo>
                    <a:pt x="244823" y="250099"/>
                    <a:pt x="260035" y="204465"/>
                    <a:pt x="284372" y="158831"/>
                  </a:cubicBezTo>
                  <a:cubicBezTo>
                    <a:pt x="308712" y="110155"/>
                    <a:pt x="326965" y="9761"/>
                    <a:pt x="323923" y="9761"/>
                  </a:cubicBezTo>
                  <a:cubicBezTo>
                    <a:pt x="211359" y="-29788"/>
                    <a:pt x="44035" y="55395"/>
                    <a:pt x="10569" y="183169"/>
                  </a:cubicBezTo>
                  <a:cubicBezTo>
                    <a:pt x="-4642" y="247057"/>
                    <a:pt x="-35064" y="435676"/>
                    <a:pt x="187022" y="517817"/>
                  </a:cubicBezTo>
                  <a:cubicBezTo>
                    <a:pt x="284372" y="599958"/>
                    <a:pt x="272204" y="621254"/>
                    <a:pt x="284372" y="569536"/>
                  </a:cubicBezTo>
                  <a:cubicBezTo>
                    <a:pt x="290457" y="523902"/>
                    <a:pt x="226571" y="356578"/>
                    <a:pt x="235697" y="301817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21795749-7BD1-4083-A805-F11432203163}"/>
                </a:ext>
              </a:extLst>
            </p:cNvPr>
            <p:cNvSpPr/>
            <p:nvPr/>
          </p:nvSpPr>
          <p:spPr>
            <a:xfrm>
              <a:off x="24680029" y="2126831"/>
              <a:ext cx="421692" cy="567066"/>
            </a:xfrm>
            <a:custGeom>
              <a:avLst/>
              <a:gdLst>
                <a:gd name="connsiteX0" fmla="*/ 7947 w 421692"/>
                <a:gd name="connsiteY0" fmla="*/ 183423 h 567066"/>
                <a:gd name="connsiteX1" fmla="*/ 20115 w 421692"/>
                <a:gd name="connsiteY1" fmla="*/ 438972 h 567066"/>
                <a:gd name="connsiteX2" fmla="*/ 169186 w 421692"/>
                <a:gd name="connsiteY2" fmla="*/ 566747 h 567066"/>
                <a:gd name="connsiteX3" fmla="*/ 385186 w 421692"/>
                <a:gd name="connsiteY3" fmla="*/ 423761 h 567066"/>
                <a:gd name="connsiteX4" fmla="*/ 421693 w 421692"/>
                <a:gd name="connsiteY4" fmla="*/ 198634 h 567066"/>
                <a:gd name="connsiteX5" fmla="*/ 208735 w 421692"/>
                <a:gd name="connsiteY5" fmla="*/ 888 h 567066"/>
                <a:gd name="connsiteX6" fmla="*/ 7947 w 421692"/>
                <a:gd name="connsiteY6" fmla="*/ 183423 h 567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692" h="567066">
                  <a:moveTo>
                    <a:pt x="7947" y="183423"/>
                  </a:moveTo>
                  <a:cubicBezTo>
                    <a:pt x="7947" y="183423"/>
                    <a:pt x="-16390" y="372043"/>
                    <a:pt x="20115" y="438972"/>
                  </a:cubicBezTo>
                  <a:cubicBezTo>
                    <a:pt x="56622" y="505902"/>
                    <a:pt x="117468" y="563705"/>
                    <a:pt x="169186" y="566747"/>
                  </a:cubicBezTo>
                  <a:cubicBezTo>
                    <a:pt x="236116" y="572832"/>
                    <a:pt x="348680" y="490691"/>
                    <a:pt x="385186" y="423761"/>
                  </a:cubicBezTo>
                  <a:cubicBezTo>
                    <a:pt x="421693" y="356831"/>
                    <a:pt x="421693" y="250353"/>
                    <a:pt x="421693" y="198634"/>
                  </a:cubicBezTo>
                  <a:cubicBezTo>
                    <a:pt x="418651" y="104324"/>
                    <a:pt x="391270" y="25226"/>
                    <a:pt x="208735" y="888"/>
                  </a:cubicBezTo>
                  <a:cubicBezTo>
                    <a:pt x="123552" y="-11281"/>
                    <a:pt x="29243" y="104324"/>
                    <a:pt x="7947" y="183423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D7BA1C55-C58D-4BEF-984B-434293856543}"/>
                </a:ext>
              </a:extLst>
            </p:cNvPr>
            <p:cNvSpPr/>
            <p:nvPr/>
          </p:nvSpPr>
          <p:spPr>
            <a:xfrm>
              <a:off x="24815751" y="2394177"/>
              <a:ext cx="54760" cy="132077"/>
            </a:xfrm>
            <a:custGeom>
              <a:avLst/>
              <a:gdLst>
                <a:gd name="connsiteX0" fmla="*/ 30423 w 54760"/>
                <a:gd name="connsiteY0" fmla="*/ 132077 h 132077"/>
                <a:gd name="connsiteX1" fmla="*/ 6083 w 54760"/>
                <a:gd name="connsiteY1" fmla="*/ 125993 h 132077"/>
                <a:gd name="connsiteX2" fmla="*/ 0 w 54760"/>
                <a:gd name="connsiteY2" fmla="*/ 113823 h 132077"/>
                <a:gd name="connsiteX3" fmla="*/ 27379 w 54760"/>
                <a:gd name="connsiteY3" fmla="*/ 4302 h 132077"/>
                <a:gd name="connsiteX4" fmla="*/ 33464 w 54760"/>
                <a:gd name="connsiteY4" fmla="*/ 1260 h 132077"/>
                <a:gd name="connsiteX5" fmla="*/ 36506 w 54760"/>
                <a:gd name="connsiteY5" fmla="*/ 7345 h 132077"/>
                <a:gd name="connsiteX6" fmla="*/ 9126 w 54760"/>
                <a:gd name="connsiteY6" fmla="*/ 113823 h 132077"/>
                <a:gd name="connsiteX7" fmla="*/ 9126 w 54760"/>
                <a:gd name="connsiteY7" fmla="*/ 116866 h 132077"/>
                <a:gd name="connsiteX8" fmla="*/ 48675 w 54760"/>
                <a:gd name="connsiteY8" fmla="*/ 116866 h 132077"/>
                <a:gd name="connsiteX9" fmla="*/ 54760 w 54760"/>
                <a:gd name="connsiteY9" fmla="*/ 122950 h 132077"/>
                <a:gd name="connsiteX10" fmla="*/ 48675 w 54760"/>
                <a:gd name="connsiteY10" fmla="*/ 129035 h 132077"/>
                <a:gd name="connsiteX11" fmla="*/ 30423 w 54760"/>
                <a:gd name="connsiteY11" fmla="*/ 132077 h 132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760" h="132077">
                  <a:moveTo>
                    <a:pt x="30423" y="132077"/>
                  </a:moveTo>
                  <a:cubicBezTo>
                    <a:pt x="21294" y="132077"/>
                    <a:pt x="12168" y="132077"/>
                    <a:pt x="6083" y="125993"/>
                  </a:cubicBezTo>
                  <a:cubicBezTo>
                    <a:pt x="3042" y="122950"/>
                    <a:pt x="0" y="119908"/>
                    <a:pt x="0" y="113823"/>
                  </a:cubicBezTo>
                  <a:cubicBezTo>
                    <a:pt x="0" y="92528"/>
                    <a:pt x="27379" y="7345"/>
                    <a:pt x="27379" y="4302"/>
                  </a:cubicBezTo>
                  <a:cubicBezTo>
                    <a:pt x="27379" y="1260"/>
                    <a:pt x="30423" y="-1782"/>
                    <a:pt x="33464" y="1260"/>
                  </a:cubicBezTo>
                  <a:cubicBezTo>
                    <a:pt x="36506" y="1260"/>
                    <a:pt x="39549" y="4302"/>
                    <a:pt x="36506" y="7345"/>
                  </a:cubicBezTo>
                  <a:cubicBezTo>
                    <a:pt x="30423" y="31683"/>
                    <a:pt x="9126" y="95570"/>
                    <a:pt x="9126" y="113823"/>
                  </a:cubicBezTo>
                  <a:cubicBezTo>
                    <a:pt x="9126" y="113823"/>
                    <a:pt x="9126" y="116866"/>
                    <a:pt x="9126" y="116866"/>
                  </a:cubicBezTo>
                  <a:cubicBezTo>
                    <a:pt x="15211" y="122950"/>
                    <a:pt x="36506" y="119908"/>
                    <a:pt x="48675" y="116866"/>
                  </a:cubicBezTo>
                  <a:cubicBezTo>
                    <a:pt x="51717" y="116866"/>
                    <a:pt x="54760" y="116866"/>
                    <a:pt x="54760" y="122950"/>
                  </a:cubicBezTo>
                  <a:cubicBezTo>
                    <a:pt x="54760" y="125993"/>
                    <a:pt x="54760" y="129035"/>
                    <a:pt x="48675" y="129035"/>
                  </a:cubicBezTo>
                  <a:cubicBezTo>
                    <a:pt x="51717" y="132077"/>
                    <a:pt x="42590" y="132077"/>
                    <a:pt x="30423" y="132077"/>
                  </a:cubicBez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48EB595D-BCBA-49D8-9455-4A25F7521F2E}"/>
                </a:ext>
              </a:extLst>
            </p:cNvPr>
            <p:cNvSpPr/>
            <p:nvPr/>
          </p:nvSpPr>
          <p:spPr>
            <a:xfrm>
              <a:off x="24800540" y="2577972"/>
              <a:ext cx="106478" cy="54760"/>
            </a:xfrm>
            <a:custGeom>
              <a:avLst/>
              <a:gdLst>
                <a:gd name="connsiteX0" fmla="*/ 106479 w 106478"/>
                <a:gd name="connsiteY0" fmla="*/ 0 h 54760"/>
                <a:gd name="connsiteX1" fmla="*/ 0 w 106478"/>
                <a:gd name="connsiteY1" fmla="*/ 0 h 54760"/>
                <a:gd name="connsiteX2" fmla="*/ 51717 w 106478"/>
                <a:gd name="connsiteY2" fmla="*/ 54761 h 54760"/>
                <a:gd name="connsiteX3" fmla="*/ 106479 w 106478"/>
                <a:gd name="connsiteY3" fmla="*/ 0 h 5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478" h="54760">
                  <a:moveTo>
                    <a:pt x="106479" y="0"/>
                  </a:moveTo>
                  <a:cubicBezTo>
                    <a:pt x="51717" y="24338"/>
                    <a:pt x="0" y="0"/>
                    <a:pt x="0" y="0"/>
                  </a:cubicBezTo>
                  <a:cubicBezTo>
                    <a:pt x="0" y="0"/>
                    <a:pt x="15211" y="54761"/>
                    <a:pt x="51717" y="54761"/>
                  </a:cubicBezTo>
                  <a:cubicBezTo>
                    <a:pt x="91268" y="51718"/>
                    <a:pt x="106479" y="0"/>
                    <a:pt x="106479" y="0"/>
                  </a:cubicBezTo>
                  <a:close/>
                </a:path>
              </a:pathLst>
            </a:custGeom>
            <a:solidFill>
              <a:srgbClr val="FFFFFF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2B308B4C-0379-4BC6-89A2-664C7B8EC716}"/>
                </a:ext>
              </a:extLst>
            </p:cNvPr>
            <p:cNvSpPr/>
            <p:nvPr/>
          </p:nvSpPr>
          <p:spPr>
            <a:xfrm>
              <a:off x="24745003" y="2367460"/>
              <a:ext cx="41100" cy="40921"/>
            </a:xfrm>
            <a:custGeom>
              <a:avLst/>
              <a:gdLst>
                <a:gd name="connsiteX0" fmla="*/ 40326 w 41100"/>
                <a:gd name="connsiteY0" fmla="*/ 24935 h 40921"/>
                <a:gd name="connsiteX1" fmla="*/ 15986 w 41100"/>
                <a:gd name="connsiteY1" fmla="*/ 40146 h 40921"/>
                <a:gd name="connsiteX2" fmla="*/ 775 w 41100"/>
                <a:gd name="connsiteY2" fmla="*/ 15808 h 40921"/>
                <a:gd name="connsiteX3" fmla="*/ 25114 w 41100"/>
                <a:gd name="connsiteY3" fmla="*/ 597 h 40921"/>
                <a:gd name="connsiteX4" fmla="*/ 40326 w 41100"/>
                <a:gd name="connsiteY4" fmla="*/ 24935 h 40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00" h="40921">
                  <a:moveTo>
                    <a:pt x="40326" y="24935"/>
                  </a:moveTo>
                  <a:cubicBezTo>
                    <a:pt x="37282" y="37104"/>
                    <a:pt x="28156" y="43188"/>
                    <a:pt x="15986" y="40146"/>
                  </a:cubicBezTo>
                  <a:cubicBezTo>
                    <a:pt x="3818" y="37104"/>
                    <a:pt x="-2267" y="27977"/>
                    <a:pt x="775" y="15808"/>
                  </a:cubicBezTo>
                  <a:cubicBezTo>
                    <a:pt x="3818" y="6681"/>
                    <a:pt x="12945" y="-2446"/>
                    <a:pt x="25114" y="597"/>
                  </a:cubicBezTo>
                  <a:cubicBezTo>
                    <a:pt x="37282" y="3639"/>
                    <a:pt x="43367" y="12766"/>
                    <a:pt x="40326" y="24935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E1BBA7C2-8011-429B-B7C7-CEC1DD4EA21C}"/>
                </a:ext>
              </a:extLst>
            </p:cNvPr>
            <p:cNvSpPr/>
            <p:nvPr/>
          </p:nvSpPr>
          <p:spPr>
            <a:xfrm>
              <a:off x="24933623" y="2373545"/>
              <a:ext cx="41099" cy="40921"/>
            </a:xfrm>
            <a:custGeom>
              <a:avLst/>
              <a:gdLst>
                <a:gd name="connsiteX0" fmla="*/ 40324 w 41099"/>
                <a:gd name="connsiteY0" fmla="*/ 24935 h 40921"/>
                <a:gd name="connsiteX1" fmla="*/ 15986 w 41099"/>
                <a:gd name="connsiteY1" fmla="*/ 40146 h 40921"/>
                <a:gd name="connsiteX2" fmla="*/ 775 w 41099"/>
                <a:gd name="connsiteY2" fmla="*/ 15808 h 40921"/>
                <a:gd name="connsiteX3" fmla="*/ 25113 w 41099"/>
                <a:gd name="connsiteY3" fmla="*/ 597 h 40921"/>
                <a:gd name="connsiteX4" fmla="*/ 40324 w 41099"/>
                <a:gd name="connsiteY4" fmla="*/ 24935 h 40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99" h="40921">
                  <a:moveTo>
                    <a:pt x="40324" y="24935"/>
                  </a:moveTo>
                  <a:cubicBezTo>
                    <a:pt x="37282" y="37104"/>
                    <a:pt x="28156" y="43188"/>
                    <a:pt x="15986" y="40146"/>
                  </a:cubicBezTo>
                  <a:cubicBezTo>
                    <a:pt x="3818" y="37104"/>
                    <a:pt x="-2267" y="27977"/>
                    <a:pt x="775" y="15808"/>
                  </a:cubicBezTo>
                  <a:cubicBezTo>
                    <a:pt x="3818" y="6681"/>
                    <a:pt x="12945" y="-2446"/>
                    <a:pt x="25113" y="597"/>
                  </a:cubicBezTo>
                  <a:cubicBezTo>
                    <a:pt x="37282" y="3639"/>
                    <a:pt x="43367" y="15808"/>
                    <a:pt x="40324" y="24935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DFB4EB78-360C-4B55-8890-A271E35D1891}"/>
                </a:ext>
              </a:extLst>
            </p:cNvPr>
            <p:cNvSpPr/>
            <p:nvPr/>
          </p:nvSpPr>
          <p:spPr>
            <a:xfrm>
              <a:off x="24719159" y="2317860"/>
              <a:ext cx="91767" cy="34985"/>
            </a:xfrm>
            <a:custGeom>
              <a:avLst/>
              <a:gdLst>
                <a:gd name="connsiteX0" fmla="*/ 8366 w 91767"/>
                <a:gd name="connsiteY0" fmla="*/ 34986 h 34985"/>
                <a:gd name="connsiteX1" fmla="*/ 2281 w 91767"/>
                <a:gd name="connsiteY1" fmla="*/ 31944 h 34985"/>
                <a:gd name="connsiteX2" fmla="*/ 2281 w 91767"/>
                <a:gd name="connsiteY2" fmla="*/ 19775 h 34985"/>
                <a:gd name="connsiteX3" fmla="*/ 87464 w 91767"/>
                <a:gd name="connsiteY3" fmla="*/ 7606 h 34985"/>
                <a:gd name="connsiteX4" fmla="*/ 90507 w 91767"/>
                <a:gd name="connsiteY4" fmla="*/ 16732 h 34985"/>
                <a:gd name="connsiteX5" fmla="*/ 81381 w 91767"/>
                <a:gd name="connsiteY5" fmla="*/ 19775 h 34985"/>
                <a:gd name="connsiteX6" fmla="*/ 14451 w 91767"/>
                <a:gd name="connsiteY6" fmla="*/ 25859 h 34985"/>
                <a:gd name="connsiteX7" fmla="*/ 8366 w 91767"/>
                <a:gd name="connsiteY7" fmla="*/ 34986 h 34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4985">
                  <a:moveTo>
                    <a:pt x="8366" y="34986"/>
                  </a:moveTo>
                  <a:cubicBezTo>
                    <a:pt x="5325" y="34986"/>
                    <a:pt x="5325" y="34986"/>
                    <a:pt x="2281" y="31944"/>
                  </a:cubicBezTo>
                  <a:cubicBezTo>
                    <a:pt x="-760" y="28901"/>
                    <a:pt x="-760" y="22817"/>
                    <a:pt x="2281" y="19775"/>
                  </a:cubicBezTo>
                  <a:cubicBezTo>
                    <a:pt x="29662" y="-10648"/>
                    <a:pt x="69211" y="1521"/>
                    <a:pt x="87464" y="7606"/>
                  </a:cubicBezTo>
                  <a:cubicBezTo>
                    <a:pt x="90507" y="10648"/>
                    <a:pt x="93549" y="13690"/>
                    <a:pt x="90507" y="16732"/>
                  </a:cubicBezTo>
                  <a:cubicBezTo>
                    <a:pt x="87464" y="19775"/>
                    <a:pt x="84422" y="22817"/>
                    <a:pt x="81381" y="19775"/>
                  </a:cubicBezTo>
                  <a:cubicBezTo>
                    <a:pt x="78337" y="19775"/>
                    <a:pt x="38789" y="-1521"/>
                    <a:pt x="14451" y="25859"/>
                  </a:cubicBezTo>
                  <a:cubicBezTo>
                    <a:pt x="14451" y="34986"/>
                    <a:pt x="11408" y="34986"/>
                    <a:pt x="8366" y="34986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F0BADDD2-059F-487F-9959-87F5E1B6D2D4}"/>
                </a:ext>
              </a:extLst>
            </p:cNvPr>
            <p:cNvSpPr/>
            <p:nvPr/>
          </p:nvSpPr>
          <p:spPr>
            <a:xfrm>
              <a:off x="24908800" y="2316648"/>
              <a:ext cx="91767" cy="36197"/>
            </a:xfrm>
            <a:custGeom>
              <a:avLst/>
              <a:gdLst>
                <a:gd name="connsiteX0" fmla="*/ 86443 w 91767"/>
                <a:gd name="connsiteY0" fmla="*/ 36197 h 36197"/>
                <a:gd name="connsiteX1" fmla="*/ 80358 w 91767"/>
                <a:gd name="connsiteY1" fmla="*/ 33155 h 36197"/>
                <a:gd name="connsiteX2" fmla="*/ 13430 w 91767"/>
                <a:gd name="connsiteY2" fmla="*/ 27071 h 36197"/>
                <a:gd name="connsiteX3" fmla="*/ 1260 w 91767"/>
                <a:gd name="connsiteY3" fmla="*/ 24028 h 36197"/>
                <a:gd name="connsiteX4" fmla="*/ 4301 w 91767"/>
                <a:gd name="connsiteY4" fmla="*/ 11859 h 36197"/>
                <a:gd name="connsiteX5" fmla="*/ 89486 w 91767"/>
                <a:gd name="connsiteY5" fmla="*/ 20986 h 36197"/>
                <a:gd name="connsiteX6" fmla="*/ 89486 w 91767"/>
                <a:gd name="connsiteY6" fmla="*/ 33155 h 36197"/>
                <a:gd name="connsiteX7" fmla="*/ 86443 w 91767"/>
                <a:gd name="connsiteY7" fmla="*/ 36197 h 36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6197">
                  <a:moveTo>
                    <a:pt x="86443" y="36197"/>
                  </a:moveTo>
                  <a:cubicBezTo>
                    <a:pt x="83401" y="36197"/>
                    <a:pt x="83401" y="36197"/>
                    <a:pt x="80358" y="33155"/>
                  </a:cubicBezTo>
                  <a:cubicBezTo>
                    <a:pt x="80358" y="33155"/>
                    <a:pt x="49935" y="2733"/>
                    <a:pt x="13430" y="27071"/>
                  </a:cubicBezTo>
                  <a:cubicBezTo>
                    <a:pt x="10386" y="30113"/>
                    <a:pt x="4301" y="27071"/>
                    <a:pt x="1260" y="24028"/>
                  </a:cubicBezTo>
                  <a:cubicBezTo>
                    <a:pt x="-1782" y="20986"/>
                    <a:pt x="1260" y="14902"/>
                    <a:pt x="4301" y="11859"/>
                  </a:cubicBezTo>
                  <a:cubicBezTo>
                    <a:pt x="40809" y="-12479"/>
                    <a:pt x="77316" y="5775"/>
                    <a:pt x="89486" y="20986"/>
                  </a:cubicBezTo>
                  <a:cubicBezTo>
                    <a:pt x="92527" y="24028"/>
                    <a:pt x="92527" y="30113"/>
                    <a:pt x="89486" y="33155"/>
                  </a:cubicBezTo>
                  <a:cubicBezTo>
                    <a:pt x="89486" y="36197"/>
                    <a:pt x="86443" y="36197"/>
                    <a:pt x="86443" y="36197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5631BD23-AC4E-42E4-BC2F-DFA22E75A167}"/>
                </a:ext>
              </a:extLst>
            </p:cNvPr>
            <p:cNvSpPr/>
            <p:nvPr/>
          </p:nvSpPr>
          <p:spPr>
            <a:xfrm>
              <a:off x="24663413" y="2094573"/>
              <a:ext cx="276114" cy="258272"/>
            </a:xfrm>
            <a:custGeom>
              <a:avLst/>
              <a:gdLst>
                <a:gd name="connsiteX0" fmla="*/ 274028 w 276114"/>
                <a:gd name="connsiteY0" fmla="*/ 2723 h 258272"/>
                <a:gd name="connsiteX1" fmla="*/ 237521 w 276114"/>
                <a:gd name="connsiteY1" fmla="*/ 130498 h 258272"/>
                <a:gd name="connsiteX2" fmla="*/ 225 w 276114"/>
                <a:gd name="connsiteY2" fmla="*/ 258272 h 258272"/>
                <a:gd name="connsiteX3" fmla="*/ 274028 w 276114"/>
                <a:gd name="connsiteY3" fmla="*/ 2723 h 258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114" h="258272">
                  <a:moveTo>
                    <a:pt x="274028" y="2723"/>
                  </a:moveTo>
                  <a:cubicBezTo>
                    <a:pt x="274028" y="2723"/>
                    <a:pt x="289239" y="90948"/>
                    <a:pt x="237521" y="130498"/>
                  </a:cubicBezTo>
                  <a:cubicBezTo>
                    <a:pt x="237521" y="130498"/>
                    <a:pt x="27605" y="173089"/>
                    <a:pt x="225" y="258272"/>
                  </a:cubicBezTo>
                  <a:cubicBezTo>
                    <a:pt x="225" y="255230"/>
                    <a:pt x="-18029" y="-30742"/>
                    <a:pt x="274028" y="2723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1914256D-82AD-4515-982E-25DD2C520863}"/>
                </a:ext>
              </a:extLst>
            </p:cNvPr>
            <p:cNvSpPr/>
            <p:nvPr/>
          </p:nvSpPr>
          <p:spPr>
            <a:xfrm>
              <a:off x="24900934" y="2097296"/>
              <a:ext cx="223775" cy="313845"/>
            </a:xfrm>
            <a:custGeom>
              <a:avLst/>
              <a:gdLst>
                <a:gd name="connsiteX0" fmla="*/ 0 w 223775"/>
                <a:gd name="connsiteY0" fmla="*/ 127775 h 313845"/>
                <a:gd name="connsiteX1" fmla="*/ 139943 w 223775"/>
                <a:gd name="connsiteY1" fmla="*/ 182535 h 313845"/>
                <a:gd name="connsiteX2" fmla="*/ 197746 w 223775"/>
                <a:gd name="connsiteY2" fmla="*/ 301183 h 313845"/>
                <a:gd name="connsiteX3" fmla="*/ 222084 w 223775"/>
                <a:gd name="connsiteY3" fmla="*/ 298141 h 313845"/>
                <a:gd name="connsiteX4" fmla="*/ 33464 w 223775"/>
                <a:gd name="connsiteY4" fmla="*/ 0 h 313845"/>
                <a:gd name="connsiteX5" fmla="*/ 0 w 223775"/>
                <a:gd name="connsiteY5" fmla="*/ 127775 h 313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3775" h="313845">
                  <a:moveTo>
                    <a:pt x="0" y="127775"/>
                  </a:moveTo>
                  <a:cubicBezTo>
                    <a:pt x="0" y="127775"/>
                    <a:pt x="91268" y="176451"/>
                    <a:pt x="139943" y="182535"/>
                  </a:cubicBezTo>
                  <a:cubicBezTo>
                    <a:pt x="191662" y="188620"/>
                    <a:pt x="197746" y="301183"/>
                    <a:pt x="197746" y="301183"/>
                  </a:cubicBezTo>
                  <a:cubicBezTo>
                    <a:pt x="197746" y="301183"/>
                    <a:pt x="219043" y="331606"/>
                    <a:pt x="222084" y="298141"/>
                  </a:cubicBezTo>
                  <a:cubicBezTo>
                    <a:pt x="228169" y="219042"/>
                    <a:pt x="228169" y="21296"/>
                    <a:pt x="33464" y="0"/>
                  </a:cubicBezTo>
                  <a:cubicBezTo>
                    <a:pt x="36507" y="0"/>
                    <a:pt x="24338" y="121690"/>
                    <a:pt x="0" y="127775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AB75EC1E-A047-4105-9886-C467819BBBBB}"/>
                </a:ext>
              </a:extLst>
            </p:cNvPr>
            <p:cNvSpPr/>
            <p:nvPr/>
          </p:nvSpPr>
          <p:spPr>
            <a:xfrm>
              <a:off x="24897890" y="2139888"/>
              <a:ext cx="155156" cy="142985"/>
            </a:xfrm>
            <a:custGeom>
              <a:avLst/>
              <a:gdLst>
                <a:gd name="connsiteX0" fmla="*/ 146030 w 155156"/>
                <a:gd name="connsiteY0" fmla="*/ 142986 h 142985"/>
                <a:gd name="connsiteX1" fmla="*/ 146030 w 155156"/>
                <a:gd name="connsiteY1" fmla="*/ 142986 h 142985"/>
                <a:gd name="connsiteX2" fmla="*/ 48677 w 155156"/>
                <a:gd name="connsiteY2" fmla="*/ 109521 h 142985"/>
                <a:gd name="connsiteX3" fmla="*/ 3043 w 155156"/>
                <a:gd name="connsiteY3" fmla="*/ 85183 h 142985"/>
                <a:gd name="connsiteX4" fmla="*/ 0 w 155156"/>
                <a:gd name="connsiteY4" fmla="*/ 82141 h 142985"/>
                <a:gd name="connsiteX5" fmla="*/ 0 w 155156"/>
                <a:gd name="connsiteY5" fmla="*/ 76056 h 142985"/>
                <a:gd name="connsiteX6" fmla="*/ 27381 w 155156"/>
                <a:gd name="connsiteY6" fmla="*/ 6085 h 142985"/>
                <a:gd name="connsiteX7" fmla="*/ 33466 w 155156"/>
                <a:gd name="connsiteY7" fmla="*/ 0 h 142985"/>
                <a:gd name="connsiteX8" fmla="*/ 39551 w 155156"/>
                <a:gd name="connsiteY8" fmla="*/ 6085 h 142985"/>
                <a:gd name="connsiteX9" fmla="*/ 15211 w 155156"/>
                <a:gd name="connsiteY9" fmla="*/ 76056 h 142985"/>
                <a:gd name="connsiteX10" fmla="*/ 54762 w 155156"/>
                <a:gd name="connsiteY10" fmla="*/ 97352 h 142985"/>
                <a:gd name="connsiteX11" fmla="*/ 149071 w 155156"/>
                <a:gd name="connsiteY11" fmla="*/ 127775 h 142985"/>
                <a:gd name="connsiteX12" fmla="*/ 155156 w 155156"/>
                <a:gd name="connsiteY12" fmla="*/ 133859 h 142985"/>
                <a:gd name="connsiteX13" fmla="*/ 146030 w 155156"/>
                <a:gd name="connsiteY13" fmla="*/ 142986 h 14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5156" h="142985">
                  <a:moveTo>
                    <a:pt x="146030" y="142986"/>
                  </a:moveTo>
                  <a:cubicBezTo>
                    <a:pt x="142986" y="142986"/>
                    <a:pt x="142986" y="142986"/>
                    <a:pt x="146030" y="142986"/>
                  </a:cubicBezTo>
                  <a:cubicBezTo>
                    <a:pt x="115607" y="139944"/>
                    <a:pt x="82141" y="127775"/>
                    <a:pt x="48677" y="109521"/>
                  </a:cubicBezTo>
                  <a:cubicBezTo>
                    <a:pt x="21296" y="97352"/>
                    <a:pt x="3043" y="85183"/>
                    <a:pt x="3043" y="85183"/>
                  </a:cubicBezTo>
                  <a:cubicBezTo>
                    <a:pt x="3043" y="85183"/>
                    <a:pt x="0" y="82141"/>
                    <a:pt x="0" y="82141"/>
                  </a:cubicBezTo>
                  <a:cubicBezTo>
                    <a:pt x="0" y="79099"/>
                    <a:pt x="0" y="79099"/>
                    <a:pt x="0" y="76056"/>
                  </a:cubicBezTo>
                  <a:cubicBezTo>
                    <a:pt x="6085" y="69972"/>
                    <a:pt x="24340" y="30423"/>
                    <a:pt x="27381" y="6085"/>
                  </a:cubicBezTo>
                  <a:cubicBezTo>
                    <a:pt x="27381" y="3042"/>
                    <a:pt x="30423" y="0"/>
                    <a:pt x="33466" y="0"/>
                  </a:cubicBezTo>
                  <a:cubicBezTo>
                    <a:pt x="36507" y="0"/>
                    <a:pt x="39551" y="3042"/>
                    <a:pt x="39551" y="6085"/>
                  </a:cubicBezTo>
                  <a:cubicBezTo>
                    <a:pt x="39551" y="30423"/>
                    <a:pt x="24340" y="63887"/>
                    <a:pt x="15211" y="76056"/>
                  </a:cubicBezTo>
                  <a:cubicBezTo>
                    <a:pt x="21296" y="79099"/>
                    <a:pt x="36507" y="88225"/>
                    <a:pt x="54762" y="97352"/>
                  </a:cubicBezTo>
                  <a:cubicBezTo>
                    <a:pt x="79100" y="109521"/>
                    <a:pt x="115607" y="124732"/>
                    <a:pt x="149071" y="127775"/>
                  </a:cubicBezTo>
                  <a:cubicBezTo>
                    <a:pt x="152113" y="127775"/>
                    <a:pt x="155156" y="130817"/>
                    <a:pt x="155156" y="133859"/>
                  </a:cubicBezTo>
                  <a:cubicBezTo>
                    <a:pt x="149071" y="142986"/>
                    <a:pt x="149071" y="142986"/>
                    <a:pt x="146030" y="142986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69166DAE-3F7B-44B7-A3B8-AA02E5C78CF0}"/>
                </a:ext>
              </a:extLst>
            </p:cNvPr>
            <p:cNvSpPr/>
            <p:nvPr/>
          </p:nvSpPr>
          <p:spPr>
            <a:xfrm>
              <a:off x="24736651" y="2584057"/>
              <a:ext cx="307268" cy="223830"/>
            </a:xfrm>
            <a:custGeom>
              <a:avLst/>
              <a:gdLst>
                <a:gd name="connsiteX0" fmla="*/ 54760 w 307268"/>
                <a:gd name="connsiteY0" fmla="*/ 60845 h 223830"/>
                <a:gd name="connsiteX1" fmla="*/ 0 w 307268"/>
                <a:gd name="connsiteY1" fmla="*/ 200789 h 223830"/>
                <a:gd name="connsiteX2" fmla="*/ 307269 w 307268"/>
                <a:gd name="connsiteY2" fmla="*/ 185578 h 223830"/>
                <a:gd name="connsiteX3" fmla="*/ 255550 w 307268"/>
                <a:gd name="connsiteY3" fmla="*/ 0 h 223830"/>
                <a:gd name="connsiteX4" fmla="*/ 54760 w 307268"/>
                <a:gd name="connsiteY4" fmla="*/ 60845 h 223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268" h="223830">
                  <a:moveTo>
                    <a:pt x="54760" y="60845"/>
                  </a:moveTo>
                  <a:cubicBezTo>
                    <a:pt x="54760" y="60845"/>
                    <a:pt x="60845" y="170366"/>
                    <a:pt x="0" y="200789"/>
                  </a:cubicBezTo>
                  <a:cubicBezTo>
                    <a:pt x="0" y="200789"/>
                    <a:pt x="179494" y="261634"/>
                    <a:pt x="307269" y="185578"/>
                  </a:cubicBezTo>
                  <a:cubicBezTo>
                    <a:pt x="252507" y="142986"/>
                    <a:pt x="255550" y="60845"/>
                    <a:pt x="255550" y="0"/>
                  </a:cubicBezTo>
                  <a:cubicBezTo>
                    <a:pt x="255550" y="0"/>
                    <a:pt x="106479" y="66930"/>
                    <a:pt x="54760" y="60845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A7222F68-B63E-48BB-86E5-D828B08B9FB6}"/>
                </a:ext>
              </a:extLst>
            </p:cNvPr>
            <p:cNvSpPr/>
            <p:nvPr/>
          </p:nvSpPr>
          <p:spPr>
            <a:xfrm>
              <a:off x="24780004" y="2619304"/>
              <a:ext cx="222583" cy="80358"/>
            </a:xfrm>
            <a:custGeom>
              <a:avLst/>
              <a:gdLst>
                <a:gd name="connsiteX0" fmla="*/ 72253 w 222583"/>
                <a:gd name="connsiteY0" fmla="*/ 80359 h 80358"/>
                <a:gd name="connsiteX1" fmla="*/ 2281 w 222583"/>
                <a:gd name="connsiteY1" fmla="*/ 52978 h 80358"/>
                <a:gd name="connsiteX2" fmla="*/ 2281 w 222583"/>
                <a:gd name="connsiteY2" fmla="*/ 43852 h 80358"/>
                <a:gd name="connsiteX3" fmla="*/ 11408 w 222583"/>
                <a:gd name="connsiteY3" fmla="*/ 43852 h 80358"/>
                <a:gd name="connsiteX4" fmla="*/ 81381 w 222583"/>
                <a:gd name="connsiteY4" fmla="*/ 68190 h 80358"/>
                <a:gd name="connsiteX5" fmla="*/ 212197 w 222583"/>
                <a:gd name="connsiteY5" fmla="*/ 1260 h 80358"/>
                <a:gd name="connsiteX6" fmla="*/ 221324 w 222583"/>
                <a:gd name="connsiteY6" fmla="*/ 4302 h 80358"/>
                <a:gd name="connsiteX7" fmla="*/ 218282 w 222583"/>
                <a:gd name="connsiteY7" fmla="*/ 13429 h 80358"/>
                <a:gd name="connsiteX8" fmla="*/ 81381 w 222583"/>
                <a:gd name="connsiteY8" fmla="*/ 80359 h 80358"/>
                <a:gd name="connsiteX9" fmla="*/ 72253 w 222583"/>
                <a:gd name="connsiteY9" fmla="*/ 80359 h 8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583" h="80358">
                  <a:moveTo>
                    <a:pt x="72253" y="80359"/>
                  </a:moveTo>
                  <a:cubicBezTo>
                    <a:pt x="32704" y="80359"/>
                    <a:pt x="5325" y="52978"/>
                    <a:pt x="2281" y="52978"/>
                  </a:cubicBezTo>
                  <a:cubicBezTo>
                    <a:pt x="-760" y="49936"/>
                    <a:pt x="-760" y="46894"/>
                    <a:pt x="2281" y="43852"/>
                  </a:cubicBezTo>
                  <a:cubicBezTo>
                    <a:pt x="5325" y="40809"/>
                    <a:pt x="8366" y="40809"/>
                    <a:pt x="11408" y="43852"/>
                  </a:cubicBezTo>
                  <a:cubicBezTo>
                    <a:pt x="11408" y="43852"/>
                    <a:pt x="44873" y="74274"/>
                    <a:pt x="81381" y="68190"/>
                  </a:cubicBezTo>
                  <a:cubicBezTo>
                    <a:pt x="120930" y="62105"/>
                    <a:pt x="212197" y="1260"/>
                    <a:pt x="212197" y="1260"/>
                  </a:cubicBezTo>
                  <a:cubicBezTo>
                    <a:pt x="215239" y="-1782"/>
                    <a:pt x="218282" y="1260"/>
                    <a:pt x="221324" y="4302"/>
                  </a:cubicBezTo>
                  <a:cubicBezTo>
                    <a:pt x="224365" y="7345"/>
                    <a:pt x="221324" y="10387"/>
                    <a:pt x="218282" y="13429"/>
                  </a:cubicBezTo>
                  <a:cubicBezTo>
                    <a:pt x="215239" y="16471"/>
                    <a:pt x="123971" y="77316"/>
                    <a:pt x="81381" y="80359"/>
                  </a:cubicBezTo>
                  <a:cubicBezTo>
                    <a:pt x="81381" y="80359"/>
                    <a:pt x="75296" y="80359"/>
                    <a:pt x="72253" y="80359"/>
                  </a:cubicBez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548748F8-B014-40CD-961A-ECFF55BE93E5}"/>
                </a:ext>
              </a:extLst>
            </p:cNvPr>
            <p:cNvSpPr/>
            <p:nvPr/>
          </p:nvSpPr>
          <p:spPr>
            <a:xfrm>
              <a:off x="24452897" y="2863944"/>
              <a:ext cx="101219" cy="553690"/>
            </a:xfrm>
            <a:custGeom>
              <a:avLst/>
              <a:gdLst>
                <a:gd name="connsiteX0" fmla="*/ 55585 w 101219"/>
                <a:gd name="connsiteY0" fmla="*/ 553690 h 553690"/>
                <a:gd name="connsiteX1" fmla="*/ 49501 w 101219"/>
                <a:gd name="connsiteY1" fmla="*/ 550648 h 553690"/>
                <a:gd name="connsiteX2" fmla="*/ 34289 w 101219"/>
                <a:gd name="connsiteY2" fmla="*/ 495887 h 553690"/>
                <a:gd name="connsiteX3" fmla="*/ 825 w 101219"/>
                <a:gd name="connsiteY3" fmla="*/ 346817 h 553690"/>
                <a:gd name="connsiteX4" fmla="*/ 89051 w 101219"/>
                <a:gd name="connsiteY4" fmla="*/ 3042 h 553690"/>
                <a:gd name="connsiteX5" fmla="*/ 98178 w 101219"/>
                <a:gd name="connsiteY5" fmla="*/ 0 h 553690"/>
                <a:gd name="connsiteX6" fmla="*/ 101219 w 101219"/>
                <a:gd name="connsiteY6" fmla="*/ 9127 h 553690"/>
                <a:gd name="connsiteX7" fmla="*/ 12995 w 101219"/>
                <a:gd name="connsiteY7" fmla="*/ 346817 h 553690"/>
                <a:gd name="connsiteX8" fmla="*/ 46459 w 101219"/>
                <a:gd name="connsiteY8" fmla="*/ 495887 h 553690"/>
                <a:gd name="connsiteX9" fmla="*/ 61670 w 101219"/>
                <a:gd name="connsiteY9" fmla="*/ 550648 h 553690"/>
                <a:gd name="connsiteX10" fmla="*/ 55585 w 101219"/>
                <a:gd name="connsiteY10" fmla="*/ 553690 h 553690"/>
                <a:gd name="connsiteX11" fmla="*/ 55585 w 101219"/>
                <a:gd name="connsiteY11" fmla="*/ 553690 h 553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219" h="553690">
                  <a:moveTo>
                    <a:pt x="55585" y="553690"/>
                  </a:moveTo>
                  <a:cubicBezTo>
                    <a:pt x="52544" y="553690"/>
                    <a:pt x="49501" y="550648"/>
                    <a:pt x="49501" y="550648"/>
                  </a:cubicBezTo>
                  <a:cubicBezTo>
                    <a:pt x="43418" y="532394"/>
                    <a:pt x="40374" y="514141"/>
                    <a:pt x="34289" y="495887"/>
                  </a:cubicBezTo>
                  <a:cubicBezTo>
                    <a:pt x="19078" y="444169"/>
                    <a:pt x="3867" y="392451"/>
                    <a:pt x="825" y="346817"/>
                  </a:cubicBezTo>
                  <a:cubicBezTo>
                    <a:pt x="-5260" y="222084"/>
                    <a:pt x="22121" y="106479"/>
                    <a:pt x="89051" y="3042"/>
                  </a:cubicBezTo>
                  <a:cubicBezTo>
                    <a:pt x="92093" y="0"/>
                    <a:pt x="95134" y="0"/>
                    <a:pt x="98178" y="0"/>
                  </a:cubicBezTo>
                  <a:cubicBezTo>
                    <a:pt x="101219" y="3042"/>
                    <a:pt x="101219" y="6085"/>
                    <a:pt x="101219" y="9127"/>
                  </a:cubicBezTo>
                  <a:cubicBezTo>
                    <a:pt x="37333" y="112563"/>
                    <a:pt x="6910" y="225127"/>
                    <a:pt x="12995" y="346817"/>
                  </a:cubicBezTo>
                  <a:cubicBezTo>
                    <a:pt x="16037" y="392451"/>
                    <a:pt x="31248" y="444169"/>
                    <a:pt x="46459" y="495887"/>
                  </a:cubicBezTo>
                  <a:cubicBezTo>
                    <a:pt x="52544" y="514141"/>
                    <a:pt x="58629" y="532394"/>
                    <a:pt x="61670" y="550648"/>
                  </a:cubicBezTo>
                  <a:cubicBezTo>
                    <a:pt x="61670" y="550648"/>
                    <a:pt x="61670" y="553690"/>
                    <a:pt x="55585" y="553690"/>
                  </a:cubicBezTo>
                  <a:cubicBezTo>
                    <a:pt x="55585" y="553690"/>
                    <a:pt x="55585" y="553690"/>
                    <a:pt x="55585" y="553690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6538D347-D925-40A6-BE09-E0A79B0613D0}"/>
                </a:ext>
              </a:extLst>
            </p:cNvPr>
            <p:cNvSpPr/>
            <p:nvPr/>
          </p:nvSpPr>
          <p:spPr>
            <a:xfrm>
              <a:off x="24575412" y="3302222"/>
              <a:ext cx="399795" cy="36313"/>
            </a:xfrm>
            <a:custGeom>
              <a:avLst/>
              <a:gdLst>
                <a:gd name="connsiteX0" fmla="*/ 6085 w 399795"/>
                <a:gd name="connsiteY0" fmla="*/ 36313 h 36313"/>
                <a:gd name="connsiteX1" fmla="*/ 0 w 399795"/>
                <a:gd name="connsiteY1" fmla="*/ 33271 h 36313"/>
                <a:gd name="connsiteX2" fmla="*/ 3042 w 399795"/>
                <a:gd name="connsiteY2" fmla="*/ 27187 h 36313"/>
                <a:gd name="connsiteX3" fmla="*/ 395493 w 399795"/>
                <a:gd name="connsiteY3" fmla="*/ 15018 h 36313"/>
                <a:gd name="connsiteX4" fmla="*/ 398534 w 399795"/>
                <a:gd name="connsiteY4" fmla="*/ 21102 h 36313"/>
                <a:gd name="connsiteX5" fmla="*/ 392451 w 399795"/>
                <a:gd name="connsiteY5" fmla="*/ 24144 h 36313"/>
                <a:gd name="connsiteX6" fmla="*/ 6085 w 399795"/>
                <a:gd name="connsiteY6" fmla="*/ 36313 h 36313"/>
                <a:gd name="connsiteX7" fmla="*/ 6085 w 399795"/>
                <a:gd name="connsiteY7" fmla="*/ 36313 h 3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9795" h="36313">
                  <a:moveTo>
                    <a:pt x="6085" y="36313"/>
                  </a:moveTo>
                  <a:cubicBezTo>
                    <a:pt x="3042" y="36313"/>
                    <a:pt x="3042" y="36313"/>
                    <a:pt x="0" y="33271"/>
                  </a:cubicBezTo>
                  <a:cubicBezTo>
                    <a:pt x="0" y="30229"/>
                    <a:pt x="0" y="27187"/>
                    <a:pt x="3042" y="27187"/>
                  </a:cubicBezTo>
                  <a:cubicBezTo>
                    <a:pt x="88226" y="-3236"/>
                    <a:pt x="295099" y="-9320"/>
                    <a:pt x="395493" y="15018"/>
                  </a:cubicBezTo>
                  <a:cubicBezTo>
                    <a:pt x="398534" y="15018"/>
                    <a:pt x="401578" y="18060"/>
                    <a:pt x="398534" y="21102"/>
                  </a:cubicBezTo>
                  <a:cubicBezTo>
                    <a:pt x="398534" y="24144"/>
                    <a:pt x="395493" y="27187"/>
                    <a:pt x="392451" y="24144"/>
                  </a:cubicBezTo>
                  <a:cubicBezTo>
                    <a:pt x="295099" y="-194"/>
                    <a:pt x="88226" y="5891"/>
                    <a:pt x="6085" y="36313"/>
                  </a:cubicBezTo>
                  <a:cubicBezTo>
                    <a:pt x="6085" y="36313"/>
                    <a:pt x="6085" y="36313"/>
                    <a:pt x="6085" y="36313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8C070D6F-0817-41A8-AD0A-351ACF60A3FF}"/>
                </a:ext>
              </a:extLst>
            </p:cNvPr>
            <p:cNvSpPr/>
            <p:nvPr/>
          </p:nvSpPr>
          <p:spPr>
            <a:xfrm>
              <a:off x="24709272" y="2769634"/>
              <a:ext cx="358985" cy="63887"/>
            </a:xfrm>
            <a:custGeom>
              <a:avLst/>
              <a:gdLst>
                <a:gd name="connsiteX0" fmla="*/ 36506 w 358985"/>
                <a:gd name="connsiteY0" fmla="*/ 9127 h 63887"/>
                <a:gd name="connsiteX1" fmla="*/ 334648 w 358985"/>
                <a:gd name="connsiteY1" fmla="*/ 0 h 63887"/>
                <a:gd name="connsiteX2" fmla="*/ 358986 w 358985"/>
                <a:gd name="connsiteY2" fmla="*/ 9127 h 63887"/>
                <a:gd name="connsiteX3" fmla="*/ 170365 w 358985"/>
                <a:gd name="connsiteY3" fmla="*/ 63887 h 63887"/>
                <a:gd name="connsiteX4" fmla="*/ 0 w 358985"/>
                <a:gd name="connsiteY4" fmla="*/ 15211 h 63887"/>
                <a:gd name="connsiteX5" fmla="*/ 36506 w 358985"/>
                <a:gd name="connsiteY5" fmla="*/ 9127 h 63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8985" h="63887">
                  <a:moveTo>
                    <a:pt x="36506" y="9127"/>
                  </a:moveTo>
                  <a:cubicBezTo>
                    <a:pt x="36506" y="9127"/>
                    <a:pt x="149069" y="66929"/>
                    <a:pt x="334648" y="0"/>
                  </a:cubicBezTo>
                  <a:lnTo>
                    <a:pt x="358986" y="9127"/>
                  </a:lnTo>
                  <a:cubicBezTo>
                    <a:pt x="358986" y="9127"/>
                    <a:pt x="279886" y="63887"/>
                    <a:pt x="170365" y="63887"/>
                  </a:cubicBezTo>
                  <a:cubicBezTo>
                    <a:pt x="66928" y="63887"/>
                    <a:pt x="0" y="15211"/>
                    <a:pt x="0" y="15211"/>
                  </a:cubicBezTo>
                  <a:cubicBezTo>
                    <a:pt x="0" y="15211"/>
                    <a:pt x="15211" y="9127"/>
                    <a:pt x="36506" y="9127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E64EB712-546A-4C44-9277-26702AABEA2F}"/>
                </a:ext>
              </a:extLst>
            </p:cNvPr>
            <p:cNvSpPr/>
            <p:nvPr/>
          </p:nvSpPr>
          <p:spPr>
            <a:xfrm>
              <a:off x="25162567" y="3867888"/>
              <a:ext cx="180753" cy="188619"/>
            </a:xfrm>
            <a:custGeom>
              <a:avLst/>
              <a:gdLst>
                <a:gd name="connsiteX0" fmla="*/ 176450 w 180753"/>
                <a:gd name="connsiteY0" fmla="*/ 188620 h 188619"/>
                <a:gd name="connsiteX1" fmla="*/ 176450 w 180753"/>
                <a:gd name="connsiteY1" fmla="*/ 188620 h 188619"/>
                <a:gd name="connsiteX2" fmla="*/ 0 w 180753"/>
                <a:gd name="connsiteY2" fmla="*/ 6084 h 188619"/>
                <a:gd name="connsiteX3" fmla="*/ 3043 w 180753"/>
                <a:gd name="connsiteY3" fmla="*/ 0 h 188619"/>
                <a:gd name="connsiteX4" fmla="*/ 9126 w 180753"/>
                <a:gd name="connsiteY4" fmla="*/ 3042 h 188619"/>
                <a:gd name="connsiteX5" fmla="*/ 176450 w 180753"/>
                <a:gd name="connsiteY5" fmla="*/ 179493 h 188619"/>
                <a:gd name="connsiteX6" fmla="*/ 179494 w 180753"/>
                <a:gd name="connsiteY6" fmla="*/ 185577 h 188619"/>
                <a:gd name="connsiteX7" fmla="*/ 176450 w 180753"/>
                <a:gd name="connsiteY7" fmla="*/ 188620 h 188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753" h="188619">
                  <a:moveTo>
                    <a:pt x="176450" y="188620"/>
                  </a:moveTo>
                  <a:cubicBezTo>
                    <a:pt x="176450" y="188620"/>
                    <a:pt x="176450" y="188620"/>
                    <a:pt x="176450" y="188620"/>
                  </a:cubicBezTo>
                  <a:cubicBezTo>
                    <a:pt x="57804" y="155155"/>
                    <a:pt x="3043" y="12169"/>
                    <a:pt x="0" y="6084"/>
                  </a:cubicBezTo>
                  <a:cubicBezTo>
                    <a:pt x="0" y="3042"/>
                    <a:pt x="0" y="0"/>
                    <a:pt x="3043" y="0"/>
                  </a:cubicBezTo>
                  <a:cubicBezTo>
                    <a:pt x="6085" y="0"/>
                    <a:pt x="9126" y="0"/>
                    <a:pt x="9126" y="3042"/>
                  </a:cubicBezTo>
                  <a:cubicBezTo>
                    <a:pt x="9126" y="3042"/>
                    <a:pt x="63888" y="149070"/>
                    <a:pt x="176450" y="179493"/>
                  </a:cubicBezTo>
                  <a:cubicBezTo>
                    <a:pt x="179494" y="179493"/>
                    <a:pt x="182535" y="182535"/>
                    <a:pt x="179494" y="185577"/>
                  </a:cubicBezTo>
                  <a:cubicBezTo>
                    <a:pt x="179494" y="188620"/>
                    <a:pt x="179494" y="188620"/>
                    <a:pt x="176450" y="188620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813D516F-61F8-47C6-9603-EFE7DBA77D53}"/>
                </a:ext>
              </a:extLst>
            </p:cNvPr>
            <p:cNvSpPr/>
            <p:nvPr/>
          </p:nvSpPr>
          <p:spPr>
            <a:xfrm>
              <a:off x="24444596" y="3867888"/>
              <a:ext cx="170365" cy="191662"/>
            </a:xfrm>
            <a:custGeom>
              <a:avLst/>
              <a:gdLst>
                <a:gd name="connsiteX0" fmla="*/ 6085 w 170365"/>
                <a:gd name="connsiteY0" fmla="*/ 191662 h 191662"/>
                <a:gd name="connsiteX1" fmla="*/ 0 w 170365"/>
                <a:gd name="connsiteY1" fmla="*/ 188620 h 191662"/>
                <a:gd name="connsiteX2" fmla="*/ 3042 w 170365"/>
                <a:gd name="connsiteY2" fmla="*/ 182535 h 191662"/>
                <a:gd name="connsiteX3" fmla="*/ 161239 w 170365"/>
                <a:gd name="connsiteY3" fmla="*/ 3042 h 191662"/>
                <a:gd name="connsiteX4" fmla="*/ 167324 w 170365"/>
                <a:gd name="connsiteY4" fmla="*/ 0 h 191662"/>
                <a:gd name="connsiteX5" fmla="*/ 170365 w 170365"/>
                <a:gd name="connsiteY5" fmla="*/ 6084 h 191662"/>
                <a:gd name="connsiteX6" fmla="*/ 6085 w 170365"/>
                <a:gd name="connsiteY6" fmla="*/ 191662 h 191662"/>
                <a:gd name="connsiteX7" fmla="*/ 6085 w 170365"/>
                <a:gd name="connsiteY7" fmla="*/ 191662 h 191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365" h="191662">
                  <a:moveTo>
                    <a:pt x="6085" y="191662"/>
                  </a:moveTo>
                  <a:cubicBezTo>
                    <a:pt x="3042" y="191662"/>
                    <a:pt x="3042" y="191662"/>
                    <a:pt x="0" y="188620"/>
                  </a:cubicBezTo>
                  <a:cubicBezTo>
                    <a:pt x="0" y="185577"/>
                    <a:pt x="0" y="182535"/>
                    <a:pt x="3042" y="182535"/>
                  </a:cubicBezTo>
                  <a:cubicBezTo>
                    <a:pt x="82141" y="152113"/>
                    <a:pt x="161239" y="3042"/>
                    <a:pt x="161239" y="3042"/>
                  </a:cubicBezTo>
                  <a:cubicBezTo>
                    <a:pt x="161239" y="0"/>
                    <a:pt x="167324" y="0"/>
                    <a:pt x="167324" y="0"/>
                  </a:cubicBezTo>
                  <a:cubicBezTo>
                    <a:pt x="170365" y="0"/>
                    <a:pt x="170365" y="6084"/>
                    <a:pt x="170365" y="6084"/>
                  </a:cubicBezTo>
                  <a:cubicBezTo>
                    <a:pt x="170365" y="12169"/>
                    <a:pt x="88224" y="158197"/>
                    <a:pt x="6085" y="191662"/>
                  </a:cubicBezTo>
                  <a:cubicBezTo>
                    <a:pt x="6085" y="191662"/>
                    <a:pt x="6085" y="191662"/>
                    <a:pt x="6085" y="191662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7F408A7F-6B1A-41C7-8C39-DA0004AF1CF3}"/>
                </a:ext>
              </a:extLst>
            </p:cNvPr>
            <p:cNvSpPr/>
            <p:nvPr/>
          </p:nvSpPr>
          <p:spPr>
            <a:xfrm>
              <a:off x="25062173" y="2381787"/>
              <a:ext cx="77415" cy="113804"/>
            </a:xfrm>
            <a:custGeom>
              <a:avLst/>
              <a:gdLst>
                <a:gd name="connsiteX0" fmla="*/ 12169 w 77415"/>
                <a:gd name="connsiteY0" fmla="*/ 16693 h 113804"/>
                <a:gd name="connsiteX1" fmla="*/ 69971 w 77415"/>
                <a:gd name="connsiteY1" fmla="*/ 7566 h 113804"/>
                <a:gd name="connsiteX2" fmla="*/ 12169 w 77415"/>
                <a:gd name="connsiteY2" fmla="*/ 111003 h 113804"/>
                <a:gd name="connsiteX3" fmla="*/ 12169 w 77415"/>
                <a:gd name="connsiteY3" fmla="*/ 16693 h 113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415" h="113804">
                  <a:moveTo>
                    <a:pt x="12169" y="16693"/>
                  </a:moveTo>
                  <a:cubicBezTo>
                    <a:pt x="12169" y="16693"/>
                    <a:pt x="45633" y="-13730"/>
                    <a:pt x="69971" y="7566"/>
                  </a:cubicBezTo>
                  <a:cubicBezTo>
                    <a:pt x="94309" y="25820"/>
                    <a:pt x="54760" y="132298"/>
                    <a:pt x="12169" y="111003"/>
                  </a:cubicBezTo>
                  <a:cubicBezTo>
                    <a:pt x="-15212" y="92749"/>
                    <a:pt x="12169" y="16693"/>
                    <a:pt x="12169" y="16693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74C960FE-0749-49A8-9116-C96874D3945B}"/>
                </a:ext>
              </a:extLst>
            </p:cNvPr>
            <p:cNvSpPr/>
            <p:nvPr/>
          </p:nvSpPr>
          <p:spPr>
            <a:xfrm>
              <a:off x="24657553" y="2215944"/>
              <a:ext cx="252506" cy="158197"/>
            </a:xfrm>
            <a:custGeom>
              <a:avLst/>
              <a:gdLst>
                <a:gd name="connsiteX0" fmla="*/ 6085 w 252506"/>
                <a:gd name="connsiteY0" fmla="*/ 158197 h 158197"/>
                <a:gd name="connsiteX1" fmla="*/ 6085 w 252506"/>
                <a:gd name="connsiteY1" fmla="*/ 158197 h 158197"/>
                <a:gd name="connsiteX2" fmla="*/ 0 w 252506"/>
                <a:gd name="connsiteY2" fmla="*/ 152113 h 158197"/>
                <a:gd name="connsiteX3" fmla="*/ 109520 w 252506"/>
                <a:gd name="connsiteY3" fmla="*/ 45634 h 158197"/>
                <a:gd name="connsiteX4" fmla="*/ 243380 w 252506"/>
                <a:gd name="connsiteY4" fmla="*/ 0 h 158197"/>
                <a:gd name="connsiteX5" fmla="*/ 252507 w 252506"/>
                <a:gd name="connsiteY5" fmla="*/ 3042 h 158197"/>
                <a:gd name="connsiteX6" fmla="*/ 249465 w 252506"/>
                <a:gd name="connsiteY6" fmla="*/ 12169 h 158197"/>
                <a:gd name="connsiteX7" fmla="*/ 115605 w 252506"/>
                <a:gd name="connsiteY7" fmla="*/ 57803 h 158197"/>
                <a:gd name="connsiteX8" fmla="*/ 15211 w 252506"/>
                <a:gd name="connsiteY8" fmla="*/ 155155 h 158197"/>
                <a:gd name="connsiteX9" fmla="*/ 6085 w 252506"/>
                <a:gd name="connsiteY9" fmla="*/ 158197 h 158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2506" h="158197">
                  <a:moveTo>
                    <a:pt x="6085" y="158197"/>
                  </a:moveTo>
                  <a:cubicBezTo>
                    <a:pt x="6085" y="158197"/>
                    <a:pt x="6085" y="158197"/>
                    <a:pt x="6085" y="158197"/>
                  </a:cubicBezTo>
                  <a:cubicBezTo>
                    <a:pt x="3042" y="158197"/>
                    <a:pt x="0" y="155155"/>
                    <a:pt x="0" y="152113"/>
                  </a:cubicBezTo>
                  <a:cubicBezTo>
                    <a:pt x="12168" y="82141"/>
                    <a:pt x="60845" y="60845"/>
                    <a:pt x="109520" y="45634"/>
                  </a:cubicBezTo>
                  <a:cubicBezTo>
                    <a:pt x="176450" y="27380"/>
                    <a:pt x="240337" y="0"/>
                    <a:pt x="243380" y="0"/>
                  </a:cubicBezTo>
                  <a:cubicBezTo>
                    <a:pt x="246422" y="0"/>
                    <a:pt x="249465" y="0"/>
                    <a:pt x="252507" y="3042"/>
                  </a:cubicBezTo>
                  <a:cubicBezTo>
                    <a:pt x="252507" y="6085"/>
                    <a:pt x="252507" y="9127"/>
                    <a:pt x="249465" y="12169"/>
                  </a:cubicBezTo>
                  <a:cubicBezTo>
                    <a:pt x="249465" y="12169"/>
                    <a:pt x="182535" y="36507"/>
                    <a:pt x="115605" y="57803"/>
                  </a:cubicBezTo>
                  <a:cubicBezTo>
                    <a:pt x="60845" y="73014"/>
                    <a:pt x="24338" y="97352"/>
                    <a:pt x="15211" y="155155"/>
                  </a:cubicBezTo>
                  <a:cubicBezTo>
                    <a:pt x="12168" y="155155"/>
                    <a:pt x="9126" y="158197"/>
                    <a:pt x="6085" y="158197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9AEA1922-230F-442F-89D5-7DA6D8DB3EC5}"/>
                </a:ext>
              </a:extLst>
            </p:cNvPr>
            <p:cNvSpPr/>
            <p:nvPr/>
          </p:nvSpPr>
          <p:spPr>
            <a:xfrm>
              <a:off x="24499130" y="3207424"/>
              <a:ext cx="197972" cy="137196"/>
            </a:xfrm>
            <a:custGeom>
              <a:avLst/>
              <a:gdLst>
                <a:gd name="connsiteX0" fmla="*/ 197973 w 197972"/>
                <a:gd name="connsiteY0" fmla="*/ 137197 h 137196"/>
                <a:gd name="connsiteX1" fmla="*/ 128001 w 197972"/>
                <a:gd name="connsiteY1" fmla="*/ 6380 h 137196"/>
                <a:gd name="connsiteX2" fmla="*/ 226 w 197972"/>
                <a:gd name="connsiteY2" fmla="*/ 18549 h 137196"/>
                <a:gd name="connsiteX3" fmla="*/ 128001 w 197972"/>
                <a:gd name="connsiteY3" fmla="*/ 103732 h 137196"/>
                <a:gd name="connsiteX4" fmla="*/ 197973 w 197972"/>
                <a:gd name="connsiteY4" fmla="*/ 137197 h 137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972" h="137196">
                  <a:moveTo>
                    <a:pt x="197973" y="137197"/>
                  </a:moveTo>
                  <a:cubicBezTo>
                    <a:pt x="197973" y="137197"/>
                    <a:pt x="161465" y="18549"/>
                    <a:pt x="128001" y="6380"/>
                  </a:cubicBezTo>
                  <a:cubicBezTo>
                    <a:pt x="82367" y="-8832"/>
                    <a:pt x="6311" y="6380"/>
                    <a:pt x="226" y="18549"/>
                  </a:cubicBezTo>
                  <a:cubicBezTo>
                    <a:pt x="-5859" y="30718"/>
                    <a:pt x="112790" y="94605"/>
                    <a:pt x="128001" y="103732"/>
                  </a:cubicBezTo>
                  <a:cubicBezTo>
                    <a:pt x="149297" y="118943"/>
                    <a:pt x="197973" y="137197"/>
                    <a:pt x="197973" y="137197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7" name="图形 1">
              <a:extLst>
                <a:ext uri="{FF2B5EF4-FFF2-40B4-BE49-F238E27FC236}">
                  <a16:creationId xmlns:a16="http://schemas.microsoft.com/office/drawing/2014/main" id="{A88707E6-631C-4515-B3F5-F55B6D85A70E}"/>
                </a:ext>
              </a:extLst>
            </p:cNvPr>
            <p:cNvGrpSpPr/>
            <p:nvPr/>
          </p:nvGrpSpPr>
          <p:grpSpPr>
            <a:xfrm>
              <a:off x="23486286" y="2672282"/>
              <a:ext cx="1283831" cy="1478535"/>
              <a:chOff x="23486286" y="2672282"/>
              <a:chExt cx="1283831" cy="1478535"/>
            </a:xfrm>
          </p:grpSpPr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7A7FF678-CF84-46F3-9177-E4C8FA234ACC}"/>
                  </a:ext>
                </a:extLst>
              </p:cNvPr>
              <p:cNvSpPr/>
              <p:nvPr/>
            </p:nvSpPr>
            <p:spPr>
              <a:xfrm>
                <a:off x="23486286" y="2672282"/>
                <a:ext cx="1283831" cy="1478535"/>
              </a:xfrm>
              <a:custGeom>
                <a:avLst/>
                <a:gdLst>
                  <a:gd name="connsiteX0" fmla="*/ 142986 w 1283831"/>
                  <a:gd name="connsiteY0" fmla="*/ 1003944 h 1478535"/>
                  <a:gd name="connsiteX1" fmla="*/ 85183 w 1283831"/>
                  <a:gd name="connsiteY1" fmla="*/ 1378141 h 1478535"/>
                  <a:gd name="connsiteX2" fmla="*/ 407661 w 1283831"/>
                  <a:gd name="connsiteY2" fmla="*/ 1390310 h 1478535"/>
                  <a:gd name="connsiteX3" fmla="*/ 468506 w 1283831"/>
                  <a:gd name="connsiteY3" fmla="*/ 1393352 h 1478535"/>
                  <a:gd name="connsiteX4" fmla="*/ 544562 w 1283831"/>
                  <a:gd name="connsiteY4" fmla="*/ 1396394 h 1478535"/>
                  <a:gd name="connsiteX5" fmla="*/ 605407 w 1283831"/>
                  <a:gd name="connsiteY5" fmla="*/ 1399437 h 1478535"/>
                  <a:gd name="connsiteX6" fmla="*/ 702760 w 1283831"/>
                  <a:gd name="connsiteY6" fmla="*/ 1402479 h 1478535"/>
                  <a:gd name="connsiteX7" fmla="*/ 702760 w 1283831"/>
                  <a:gd name="connsiteY7" fmla="*/ 1478535 h 1478535"/>
                  <a:gd name="connsiteX8" fmla="*/ 909633 w 1283831"/>
                  <a:gd name="connsiteY8" fmla="*/ 1463324 h 1478535"/>
                  <a:gd name="connsiteX9" fmla="*/ 973521 w 1283831"/>
                  <a:gd name="connsiteY9" fmla="*/ 1457239 h 1478535"/>
                  <a:gd name="connsiteX10" fmla="*/ 1271662 w 1283831"/>
                  <a:gd name="connsiteY10" fmla="*/ 1432902 h 1478535"/>
                  <a:gd name="connsiteX11" fmla="*/ 1207775 w 1283831"/>
                  <a:gd name="connsiteY11" fmla="*/ 1271662 h 1478535"/>
                  <a:gd name="connsiteX12" fmla="*/ 1186479 w 1283831"/>
                  <a:gd name="connsiteY12" fmla="*/ 1213859 h 1478535"/>
                  <a:gd name="connsiteX13" fmla="*/ 1095211 w 1283831"/>
                  <a:gd name="connsiteY13" fmla="*/ 830535 h 1478535"/>
                  <a:gd name="connsiteX14" fmla="*/ 1107379 w 1283831"/>
                  <a:gd name="connsiteY14" fmla="*/ 711887 h 1478535"/>
                  <a:gd name="connsiteX15" fmla="*/ 1119549 w 1283831"/>
                  <a:gd name="connsiteY15" fmla="*/ 651042 h 1478535"/>
                  <a:gd name="connsiteX16" fmla="*/ 1283831 w 1283831"/>
                  <a:gd name="connsiteY16" fmla="*/ 97352 h 1478535"/>
                  <a:gd name="connsiteX17" fmla="*/ 967436 w 1283831"/>
                  <a:gd name="connsiteY17" fmla="*/ 100394 h 1478535"/>
                  <a:gd name="connsiteX18" fmla="*/ 906591 w 1283831"/>
                  <a:gd name="connsiteY18" fmla="*/ 97352 h 1478535"/>
                  <a:gd name="connsiteX19" fmla="*/ 648000 w 1283831"/>
                  <a:gd name="connsiteY19" fmla="*/ 79099 h 1478535"/>
                  <a:gd name="connsiteX20" fmla="*/ 587155 w 1283831"/>
                  <a:gd name="connsiteY20" fmla="*/ 73014 h 1478535"/>
                  <a:gd name="connsiteX21" fmla="*/ 383323 w 1283831"/>
                  <a:gd name="connsiteY21" fmla="*/ 51718 h 1478535"/>
                  <a:gd name="connsiteX22" fmla="*/ 322478 w 1283831"/>
                  <a:gd name="connsiteY22" fmla="*/ 45634 h 1478535"/>
                  <a:gd name="connsiteX23" fmla="*/ 0 w 1283831"/>
                  <a:gd name="connsiteY23" fmla="*/ 0 h 1478535"/>
                  <a:gd name="connsiteX24" fmla="*/ 146028 w 1283831"/>
                  <a:gd name="connsiteY24" fmla="*/ 483718 h 1478535"/>
                  <a:gd name="connsiteX25" fmla="*/ 164281 w 1283831"/>
                  <a:gd name="connsiteY25" fmla="*/ 547606 h 1478535"/>
                  <a:gd name="connsiteX26" fmla="*/ 176450 w 1283831"/>
                  <a:gd name="connsiteY26" fmla="*/ 599324 h 1478535"/>
                  <a:gd name="connsiteX27" fmla="*/ 158198 w 1283831"/>
                  <a:gd name="connsiteY27" fmla="*/ 940056 h 1478535"/>
                  <a:gd name="connsiteX28" fmla="*/ 142986 w 1283831"/>
                  <a:gd name="connsiteY28" fmla="*/ 1003944 h 1478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283831" h="1478535">
                    <a:moveTo>
                      <a:pt x="142986" y="1003944"/>
                    </a:moveTo>
                    <a:cubicBezTo>
                      <a:pt x="118647" y="1195606"/>
                      <a:pt x="85183" y="1378141"/>
                      <a:pt x="85183" y="1378141"/>
                    </a:cubicBezTo>
                    <a:lnTo>
                      <a:pt x="407661" y="1390310"/>
                    </a:lnTo>
                    <a:lnTo>
                      <a:pt x="468506" y="1393352"/>
                    </a:lnTo>
                    <a:lnTo>
                      <a:pt x="544562" y="1396394"/>
                    </a:lnTo>
                    <a:lnTo>
                      <a:pt x="605407" y="1399437"/>
                    </a:lnTo>
                    <a:lnTo>
                      <a:pt x="702760" y="1402479"/>
                    </a:lnTo>
                    <a:lnTo>
                      <a:pt x="702760" y="1478535"/>
                    </a:lnTo>
                    <a:lnTo>
                      <a:pt x="909633" y="1463324"/>
                    </a:lnTo>
                    <a:lnTo>
                      <a:pt x="973521" y="1457239"/>
                    </a:lnTo>
                    <a:lnTo>
                      <a:pt x="1271662" y="1432902"/>
                    </a:lnTo>
                    <a:cubicBezTo>
                      <a:pt x="1271662" y="1432902"/>
                      <a:pt x="1241239" y="1365972"/>
                      <a:pt x="1207775" y="1271662"/>
                    </a:cubicBezTo>
                    <a:cubicBezTo>
                      <a:pt x="1201690" y="1253409"/>
                      <a:pt x="1192564" y="1232113"/>
                      <a:pt x="1186479" y="1213859"/>
                    </a:cubicBezTo>
                    <a:cubicBezTo>
                      <a:pt x="1143887" y="1089127"/>
                      <a:pt x="1098253" y="933972"/>
                      <a:pt x="1095211" y="830535"/>
                    </a:cubicBezTo>
                    <a:cubicBezTo>
                      <a:pt x="1095211" y="797070"/>
                      <a:pt x="1098253" y="757521"/>
                      <a:pt x="1107379" y="711887"/>
                    </a:cubicBezTo>
                    <a:cubicBezTo>
                      <a:pt x="1110423" y="693634"/>
                      <a:pt x="1113464" y="672338"/>
                      <a:pt x="1119549" y="651042"/>
                    </a:cubicBezTo>
                    <a:cubicBezTo>
                      <a:pt x="1168224" y="413746"/>
                      <a:pt x="1283831" y="97352"/>
                      <a:pt x="1283831" y="97352"/>
                    </a:cubicBezTo>
                    <a:cubicBezTo>
                      <a:pt x="1192564" y="106479"/>
                      <a:pt x="1083042" y="106479"/>
                      <a:pt x="967436" y="100394"/>
                    </a:cubicBezTo>
                    <a:cubicBezTo>
                      <a:pt x="946140" y="100394"/>
                      <a:pt x="927887" y="97352"/>
                      <a:pt x="906591" y="97352"/>
                    </a:cubicBezTo>
                    <a:cubicBezTo>
                      <a:pt x="821408" y="94310"/>
                      <a:pt x="733182" y="85183"/>
                      <a:pt x="648000" y="79099"/>
                    </a:cubicBezTo>
                    <a:cubicBezTo>
                      <a:pt x="626704" y="76056"/>
                      <a:pt x="608451" y="76056"/>
                      <a:pt x="587155" y="73014"/>
                    </a:cubicBezTo>
                    <a:cubicBezTo>
                      <a:pt x="517183" y="66930"/>
                      <a:pt x="447212" y="57803"/>
                      <a:pt x="383323" y="51718"/>
                    </a:cubicBezTo>
                    <a:cubicBezTo>
                      <a:pt x="362027" y="48676"/>
                      <a:pt x="343774" y="45634"/>
                      <a:pt x="322478" y="45634"/>
                    </a:cubicBezTo>
                    <a:cubicBezTo>
                      <a:pt x="133858" y="21296"/>
                      <a:pt x="0" y="0"/>
                      <a:pt x="0" y="0"/>
                    </a:cubicBezTo>
                    <a:cubicBezTo>
                      <a:pt x="0" y="0"/>
                      <a:pt x="91268" y="295099"/>
                      <a:pt x="146028" y="483718"/>
                    </a:cubicBezTo>
                    <a:cubicBezTo>
                      <a:pt x="152113" y="508056"/>
                      <a:pt x="158198" y="529352"/>
                      <a:pt x="164281" y="547606"/>
                    </a:cubicBezTo>
                    <a:cubicBezTo>
                      <a:pt x="170365" y="568901"/>
                      <a:pt x="173409" y="587155"/>
                      <a:pt x="176450" y="599324"/>
                    </a:cubicBezTo>
                    <a:cubicBezTo>
                      <a:pt x="188620" y="654085"/>
                      <a:pt x="176450" y="794028"/>
                      <a:pt x="158198" y="940056"/>
                    </a:cubicBezTo>
                    <a:cubicBezTo>
                      <a:pt x="149069" y="964394"/>
                      <a:pt x="146028" y="982648"/>
                      <a:pt x="142986" y="1003944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387822A3-C570-4248-B72A-714A52BC9627}"/>
                  </a:ext>
                </a:extLst>
              </p:cNvPr>
              <p:cNvSpPr/>
              <p:nvPr/>
            </p:nvSpPr>
            <p:spPr>
              <a:xfrm>
                <a:off x="23626229" y="2751381"/>
                <a:ext cx="1061747" cy="1381183"/>
              </a:xfrm>
              <a:custGeom>
                <a:avLst/>
                <a:gdLst>
                  <a:gd name="connsiteX0" fmla="*/ 228169 w 1061747"/>
                  <a:gd name="connsiteY0" fmla="*/ 930930 h 1381183"/>
                  <a:gd name="connsiteX1" fmla="*/ 219043 w 1061747"/>
                  <a:gd name="connsiteY1" fmla="*/ 1028282 h 1381183"/>
                  <a:gd name="connsiteX2" fmla="*/ 243380 w 1061747"/>
                  <a:gd name="connsiteY2" fmla="*/ 1080000 h 1381183"/>
                  <a:gd name="connsiteX3" fmla="*/ 285973 w 1061747"/>
                  <a:gd name="connsiteY3" fmla="*/ 1104338 h 1381183"/>
                  <a:gd name="connsiteX4" fmla="*/ 282929 w 1061747"/>
                  <a:gd name="connsiteY4" fmla="*/ 1116507 h 1381183"/>
                  <a:gd name="connsiteX5" fmla="*/ 267718 w 1061747"/>
                  <a:gd name="connsiteY5" fmla="*/ 1308169 h 1381183"/>
                  <a:gd name="connsiteX6" fmla="*/ 328563 w 1061747"/>
                  <a:gd name="connsiteY6" fmla="*/ 1311211 h 1381183"/>
                  <a:gd name="connsiteX7" fmla="*/ 343774 w 1061747"/>
                  <a:gd name="connsiteY7" fmla="*/ 1125634 h 1381183"/>
                  <a:gd name="connsiteX8" fmla="*/ 416789 w 1061747"/>
                  <a:gd name="connsiteY8" fmla="*/ 1149972 h 1381183"/>
                  <a:gd name="connsiteX9" fmla="*/ 401578 w 1061747"/>
                  <a:gd name="connsiteY9" fmla="*/ 1314254 h 1381183"/>
                  <a:gd name="connsiteX10" fmla="*/ 462423 w 1061747"/>
                  <a:gd name="connsiteY10" fmla="*/ 1317296 h 1381183"/>
                  <a:gd name="connsiteX11" fmla="*/ 501972 w 1061747"/>
                  <a:gd name="connsiteY11" fmla="*/ 815324 h 1381183"/>
                  <a:gd name="connsiteX12" fmla="*/ 724056 w 1061747"/>
                  <a:gd name="connsiteY12" fmla="*/ 845746 h 1381183"/>
                  <a:gd name="connsiteX13" fmla="*/ 766648 w 1061747"/>
                  <a:gd name="connsiteY13" fmla="*/ 1043493 h 1381183"/>
                  <a:gd name="connsiteX14" fmla="*/ 763607 w 1061747"/>
                  <a:gd name="connsiteY14" fmla="*/ 1381183 h 1381183"/>
                  <a:gd name="connsiteX15" fmla="*/ 827493 w 1061747"/>
                  <a:gd name="connsiteY15" fmla="*/ 1375099 h 1381183"/>
                  <a:gd name="connsiteX16" fmla="*/ 836620 w 1061747"/>
                  <a:gd name="connsiteY16" fmla="*/ 1207775 h 1381183"/>
                  <a:gd name="connsiteX17" fmla="*/ 1061747 w 1061747"/>
                  <a:gd name="connsiteY17" fmla="*/ 1192563 h 1381183"/>
                  <a:gd name="connsiteX18" fmla="*/ 1040451 w 1061747"/>
                  <a:gd name="connsiteY18" fmla="*/ 1134761 h 1381183"/>
                  <a:gd name="connsiteX19" fmla="*/ 839663 w 1061747"/>
                  <a:gd name="connsiteY19" fmla="*/ 1146930 h 1381183"/>
                  <a:gd name="connsiteX20" fmla="*/ 818367 w 1061747"/>
                  <a:gd name="connsiteY20" fmla="*/ 864000 h 1381183"/>
                  <a:gd name="connsiteX21" fmla="*/ 505015 w 1061747"/>
                  <a:gd name="connsiteY21" fmla="*/ 754479 h 1381183"/>
                  <a:gd name="connsiteX22" fmla="*/ 526310 w 1061747"/>
                  <a:gd name="connsiteY22" fmla="*/ 383324 h 1381183"/>
                  <a:gd name="connsiteX23" fmla="*/ 730141 w 1061747"/>
                  <a:gd name="connsiteY23" fmla="*/ 392451 h 1381183"/>
                  <a:gd name="connsiteX24" fmla="*/ 736226 w 1061747"/>
                  <a:gd name="connsiteY24" fmla="*/ 459380 h 1381183"/>
                  <a:gd name="connsiteX25" fmla="*/ 961353 w 1061747"/>
                  <a:gd name="connsiteY25" fmla="*/ 632789 h 1381183"/>
                  <a:gd name="connsiteX26" fmla="*/ 973521 w 1061747"/>
                  <a:gd name="connsiteY26" fmla="*/ 571944 h 1381183"/>
                  <a:gd name="connsiteX27" fmla="*/ 851831 w 1061747"/>
                  <a:gd name="connsiteY27" fmla="*/ 508056 h 1381183"/>
                  <a:gd name="connsiteX28" fmla="*/ 803156 w 1061747"/>
                  <a:gd name="connsiteY28" fmla="*/ 313352 h 1381183"/>
                  <a:gd name="connsiteX29" fmla="*/ 818367 w 1061747"/>
                  <a:gd name="connsiteY29" fmla="*/ 24338 h 1381183"/>
                  <a:gd name="connsiteX30" fmla="*/ 757522 w 1061747"/>
                  <a:gd name="connsiteY30" fmla="*/ 21296 h 1381183"/>
                  <a:gd name="connsiteX31" fmla="*/ 742311 w 1061747"/>
                  <a:gd name="connsiteY31" fmla="*/ 243380 h 1381183"/>
                  <a:gd name="connsiteX32" fmla="*/ 733184 w 1061747"/>
                  <a:gd name="connsiteY32" fmla="*/ 334648 h 1381183"/>
                  <a:gd name="connsiteX33" fmla="*/ 587155 w 1061747"/>
                  <a:gd name="connsiteY33" fmla="*/ 328563 h 1381183"/>
                  <a:gd name="connsiteX34" fmla="*/ 514142 w 1061747"/>
                  <a:gd name="connsiteY34" fmla="*/ 301183 h 1381183"/>
                  <a:gd name="connsiteX35" fmla="*/ 505015 w 1061747"/>
                  <a:gd name="connsiteY35" fmla="*/ 219042 h 1381183"/>
                  <a:gd name="connsiteX36" fmla="*/ 495887 w 1061747"/>
                  <a:gd name="connsiteY36" fmla="*/ 6085 h 1381183"/>
                  <a:gd name="connsiteX37" fmla="*/ 435042 w 1061747"/>
                  <a:gd name="connsiteY37" fmla="*/ 0 h 1381183"/>
                  <a:gd name="connsiteX38" fmla="*/ 438085 w 1061747"/>
                  <a:gd name="connsiteY38" fmla="*/ 149070 h 1381183"/>
                  <a:gd name="connsiteX39" fmla="*/ 462423 w 1061747"/>
                  <a:gd name="connsiteY39" fmla="*/ 337690 h 1381183"/>
                  <a:gd name="connsiteX40" fmla="*/ 468508 w 1061747"/>
                  <a:gd name="connsiteY40" fmla="*/ 346817 h 1381183"/>
                  <a:gd name="connsiteX41" fmla="*/ 468508 w 1061747"/>
                  <a:gd name="connsiteY41" fmla="*/ 349859 h 1381183"/>
                  <a:gd name="connsiteX42" fmla="*/ 438085 w 1061747"/>
                  <a:gd name="connsiteY42" fmla="*/ 870085 h 1381183"/>
                  <a:gd name="connsiteX43" fmla="*/ 9126 w 1061747"/>
                  <a:gd name="connsiteY43" fmla="*/ 867042 h 1381183"/>
                  <a:gd name="connsiteX44" fmla="*/ 0 w 1061747"/>
                  <a:gd name="connsiteY44" fmla="*/ 927887 h 1381183"/>
                  <a:gd name="connsiteX45" fmla="*/ 228169 w 1061747"/>
                  <a:gd name="connsiteY45" fmla="*/ 930930 h 1381183"/>
                  <a:gd name="connsiteX46" fmla="*/ 279888 w 1061747"/>
                  <a:gd name="connsiteY46" fmla="*/ 1034366 h 1381183"/>
                  <a:gd name="connsiteX47" fmla="*/ 285973 w 1061747"/>
                  <a:gd name="connsiteY47" fmla="*/ 930930 h 1381183"/>
                  <a:gd name="connsiteX48" fmla="*/ 435042 w 1061747"/>
                  <a:gd name="connsiteY48" fmla="*/ 927887 h 1381183"/>
                  <a:gd name="connsiteX49" fmla="*/ 422874 w 1061747"/>
                  <a:gd name="connsiteY49" fmla="*/ 1089127 h 1381183"/>
                  <a:gd name="connsiteX50" fmla="*/ 352903 w 1061747"/>
                  <a:gd name="connsiteY50" fmla="*/ 1064789 h 1381183"/>
                  <a:gd name="connsiteX51" fmla="*/ 279888 w 1061747"/>
                  <a:gd name="connsiteY51" fmla="*/ 1034366 h 1381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1061747" h="1381183">
                    <a:moveTo>
                      <a:pt x="228169" y="930930"/>
                    </a:moveTo>
                    <a:cubicBezTo>
                      <a:pt x="225128" y="964394"/>
                      <a:pt x="222084" y="997859"/>
                      <a:pt x="219043" y="1028282"/>
                    </a:cubicBezTo>
                    <a:cubicBezTo>
                      <a:pt x="219043" y="1052620"/>
                      <a:pt x="222084" y="1067831"/>
                      <a:pt x="243380" y="1080000"/>
                    </a:cubicBezTo>
                    <a:cubicBezTo>
                      <a:pt x="255550" y="1089127"/>
                      <a:pt x="270761" y="1095211"/>
                      <a:pt x="285973" y="1104338"/>
                    </a:cubicBezTo>
                    <a:cubicBezTo>
                      <a:pt x="282929" y="1107380"/>
                      <a:pt x="282929" y="1113465"/>
                      <a:pt x="282929" y="1116507"/>
                    </a:cubicBezTo>
                    <a:cubicBezTo>
                      <a:pt x="276846" y="1180394"/>
                      <a:pt x="273803" y="1244282"/>
                      <a:pt x="267718" y="1308169"/>
                    </a:cubicBezTo>
                    <a:lnTo>
                      <a:pt x="328563" y="1311211"/>
                    </a:lnTo>
                    <a:cubicBezTo>
                      <a:pt x="334648" y="1250366"/>
                      <a:pt x="340733" y="1186479"/>
                      <a:pt x="343774" y="1125634"/>
                    </a:cubicBezTo>
                    <a:cubicBezTo>
                      <a:pt x="368114" y="1134761"/>
                      <a:pt x="395493" y="1143887"/>
                      <a:pt x="416789" y="1149972"/>
                    </a:cubicBezTo>
                    <a:cubicBezTo>
                      <a:pt x="413748" y="1204733"/>
                      <a:pt x="407663" y="1259493"/>
                      <a:pt x="401578" y="1314254"/>
                    </a:cubicBezTo>
                    <a:lnTo>
                      <a:pt x="462423" y="1317296"/>
                    </a:lnTo>
                    <a:cubicBezTo>
                      <a:pt x="477634" y="1149972"/>
                      <a:pt x="492845" y="982648"/>
                      <a:pt x="501972" y="815324"/>
                    </a:cubicBezTo>
                    <a:cubicBezTo>
                      <a:pt x="568902" y="821408"/>
                      <a:pt x="666254" y="815324"/>
                      <a:pt x="724056" y="845746"/>
                    </a:cubicBezTo>
                    <a:cubicBezTo>
                      <a:pt x="784901" y="879211"/>
                      <a:pt x="766648" y="973521"/>
                      <a:pt x="766648" y="1043493"/>
                    </a:cubicBezTo>
                    <a:cubicBezTo>
                      <a:pt x="766648" y="1156057"/>
                      <a:pt x="763607" y="1268620"/>
                      <a:pt x="763607" y="1381183"/>
                    </a:cubicBezTo>
                    <a:lnTo>
                      <a:pt x="827493" y="1375099"/>
                    </a:lnTo>
                    <a:cubicBezTo>
                      <a:pt x="830535" y="1320338"/>
                      <a:pt x="833578" y="1262535"/>
                      <a:pt x="836620" y="1207775"/>
                    </a:cubicBezTo>
                    <a:cubicBezTo>
                      <a:pt x="912676" y="1204733"/>
                      <a:pt x="985691" y="1198648"/>
                      <a:pt x="1061747" y="1192563"/>
                    </a:cubicBezTo>
                    <a:cubicBezTo>
                      <a:pt x="1055662" y="1174310"/>
                      <a:pt x="1046536" y="1153014"/>
                      <a:pt x="1040451" y="1134761"/>
                    </a:cubicBezTo>
                    <a:cubicBezTo>
                      <a:pt x="973521" y="1140845"/>
                      <a:pt x="906591" y="1143887"/>
                      <a:pt x="839663" y="1146930"/>
                    </a:cubicBezTo>
                    <a:cubicBezTo>
                      <a:pt x="842705" y="1049578"/>
                      <a:pt x="839663" y="952225"/>
                      <a:pt x="818367" y="864000"/>
                    </a:cubicBezTo>
                    <a:cubicBezTo>
                      <a:pt x="787944" y="733183"/>
                      <a:pt x="617577" y="763606"/>
                      <a:pt x="505015" y="754479"/>
                    </a:cubicBezTo>
                    <a:cubicBezTo>
                      <a:pt x="514142" y="629747"/>
                      <a:pt x="520226" y="508056"/>
                      <a:pt x="526310" y="383324"/>
                    </a:cubicBezTo>
                    <a:cubicBezTo>
                      <a:pt x="587155" y="401578"/>
                      <a:pt x="672339" y="395493"/>
                      <a:pt x="730141" y="392451"/>
                    </a:cubicBezTo>
                    <a:cubicBezTo>
                      <a:pt x="730141" y="416789"/>
                      <a:pt x="730141" y="438085"/>
                      <a:pt x="736226" y="459380"/>
                    </a:cubicBezTo>
                    <a:cubicBezTo>
                      <a:pt x="757522" y="556732"/>
                      <a:pt x="873127" y="593239"/>
                      <a:pt x="961353" y="632789"/>
                    </a:cubicBezTo>
                    <a:cubicBezTo>
                      <a:pt x="964395" y="614535"/>
                      <a:pt x="967436" y="593239"/>
                      <a:pt x="973521" y="571944"/>
                    </a:cubicBezTo>
                    <a:cubicBezTo>
                      <a:pt x="930931" y="553690"/>
                      <a:pt x="882254" y="535437"/>
                      <a:pt x="851831" y="508056"/>
                    </a:cubicBezTo>
                    <a:cubicBezTo>
                      <a:pt x="781860" y="447211"/>
                      <a:pt x="800112" y="389408"/>
                      <a:pt x="803156" y="313352"/>
                    </a:cubicBezTo>
                    <a:cubicBezTo>
                      <a:pt x="806197" y="216000"/>
                      <a:pt x="812282" y="121690"/>
                      <a:pt x="818367" y="24338"/>
                    </a:cubicBezTo>
                    <a:cubicBezTo>
                      <a:pt x="797071" y="24338"/>
                      <a:pt x="778818" y="21296"/>
                      <a:pt x="757522" y="21296"/>
                    </a:cubicBezTo>
                    <a:cubicBezTo>
                      <a:pt x="751437" y="94310"/>
                      <a:pt x="748396" y="167324"/>
                      <a:pt x="742311" y="243380"/>
                    </a:cubicBezTo>
                    <a:cubicBezTo>
                      <a:pt x="742311" y="270761"/>
                      <a:pt x="736226" y="301183"/>
                      <a:pt x="733184" y="334648"/>
                    </a:cubicBezTo>
                    <a:cubicBezTo>
                      <a:pt x="684507" y="334648"/>
                      <a:pt x="632788" y="334648"/>
                      <a:pt x="587155" y="328563"/>
                    </a:cubicBezTo>
                    <a:cubicBezTo>
                      <a:pt x="562817" y="325521"/>
                      <a:pt x="529353" y="328563"/>
                      <a:pt x="514142" y="301183"/>
                    </a:cubicBezTo>
                    <a:cubicBezTo>
                      <a:pt x="501972" y="282930"/>
                      <a:pt x="505015" y="240338"/>
                      <a:pt x="505015" y="219042"/>
                    </a:cubicBezTo>
                    <a:cubicBezTo>
                      <a:pt x="498930" y="149070"/>
                      <a:pt x="495887" y="76056"/>
                      <a:pt x="495887" y="6085"/>
                    </a:cubicBezTo>
                    <a:cubicBezTo>
                      <a:pt x="474593" y="3042"/>
                      <a:pt x="456338" y="3042"/>
                      <a:pt x="435042" y="0"/>
                    </a:cubicBezTo>
                    <a:cubicBezTo>
                      <a:pt x="435042" y="48676"/>
                      <a:pt x="435042" y="100394"/>
                      <a:pt x="438085" y="149070"/>
                    </a:cubicBezTo>
                    <a:cubicBezTo>
                      <a:pt x="441127" y="206873"/>
                      <a:pt x="438085" y="282930"/>
                      <a:pt x="462423" y="337690"/>
                    </a:cubicBezTo>
                    <a:cubicBezTo>
                      <a:pt x="462423" y="340732"/>
                      <a:pt x="465464" y="343775"/>
                      <a:pt x="468508" y="346817"/>
                    </a:cubicBezTo>
                    <a:cubicBezTo>
                      <a:pt x="468508" y="346817"/>
                      <a:pt x="468508" y="349859"/>
                      <a:pt x="468508" y="349859"/>
                    </a:cubicBezTo>
                    <a:cubicBezTo>
                      <a:pt x="459381" y="523268"/>
                      <a:pt x="450253" y="696676"/>
                      <a:pt x="438085" y="870085"/>
                    </a:cubicBezTo>
                    <a:cubicBezTo>
                      <a:pt x="295099" y="876169"/>
                      <a:pt x="152113" y="873127"/>
                      <a:pt x="9126" y="867042"/>
                    </a:cubicBezTo>
                    <a:cubicBezTo>
                      <a:pt x="6085" y="888338"/>
                      <a:pt x="3043" y="906592"/>
                      <a:pt x="0" y="927887"/>
                    </a:cubicBezTo>
                    <a:cubicBezTo>
                      <a:pt x="79100" y="927887"/>
                      <a:pt x="152113" y="930930"/>
                      <a:pt x="228169" y="930930"/>
                    </a:cubicBezTo>
                    <a:close/>
                    <a:moveTo>
                      <a:pt x="279888" y="1034366"/>
                    </a:moveTo>
                    <a:cubicBezTo>
                      <a:pt x="279888" y="1000901"/>
                      <a:pt x="282929" y="964394"/>
                      <a:pt x="285973" y="930930"/>
                    </a:cubicBezTo>
                    <a:cubicBezTo>
                      <a:pt x="334648" y="930930"/>
                      <a:pt x="386367" y="930930"/>
                      <a:pt x="435042" y="927887"/>
                    </a:cubicBezTo>
                    <a:cubicBezTo>
                      <a:pt x="432000" y="982648"/>
                      <a:pt x="425916" y="1034366"/>
                      <a:pt x="422874" y="1089127"/>
                    </a:cubicBezTo>
                    <a:cubicBezTo>
                      <a:pt x="398536" y="1080000"/>
                      <a:pt x="377240" y="1073916"/>
                      <a:pt x="352903" y="1064789"/>
                    </a:cubicBezTo>
                    <a:cubicBezTo>
                      <a:pt x="334648" y="1058704"/>
                      <a:pt x="301184" y="1049578"/>
                      <a:pt x="279888" y="1034366"/>
                    </a:cubicBezTo>
                    <a:close/>
                  </a:path>
                </a:pathLst>
              </a:custGeom>
              <a:solidFill>
                <a:srgbClr val="EDE2E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44AB3C77-5AB5-4879-9DF6-623BE1700304}"/>
                  </a:ext>
                </a:extLst>
              </p:cNvPr>
              <p:cNvSpPr/>
              <p:nvPr/>
            </p:nvSpPr>
            <p:spPr>
              <a:xfrm>
                <a:off x="23623187" y="2720958"/>
                <a:ext cx="240336" cy="501971"/>
              </a:xfrm>
              <a:custGeom>
                <a:avLst/>
                <a:gdLst>
                  <a:gd name="connsiteX0" fmla="*/ 0 w 240336"/>
                  <a:gd name="connsiteY0" fmla="*/ 438085 h 501971"/>
                  <a:gd name="connsiteX1" fmla="*/ 18253 w 240336"/>
                  <a:gd name="connsiteY1" fmla="*/ 501972 h 501971"/>
                  <a:gd name="connsiteX2" fmla="*/ 194703 w 240336"/>
                  <a:gd name="connsiteY2" fmla="*/ 428958 h 501971"/>
                  <a:gd name="connsiteX3" fmla="*/ 231211 w 240336"/>
                  <a:gd name="connsiteY3" fmla="*/ 194704 h 501971"/>
                  <a:gd name="connsiteX4" fmla="*/ 240337 w 240336"/>
                  <a:gd name="connsiteY4" fmla="*/ 6085 h 501971"/>
                  <a:gd name="connsiteX5" fmla="*/ 179492 w 240336"/>
                  <a:gd name="connsiteY5" fmla="*/ 0 h 501971"/>
                  <a:gd name="connsiteX6" fmla="*/ 158198 w 240336"/>
                  <a:gd name="connsiteY6" fmla="*/ 292056 h 501971"/>
                  <a:gd name="connsiteX7" fmla="*/ 85183 w 240336"/>
                  <a:gd name="connsiteY7" fmla="*/ 432000 h 501971"/>
                  <a:gd name="connsiteX8" fmla="*/ 0 w 240336"/>
                  <a:gd name="connsiteY8" fmla="*/ 438085 h 50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0336" h="501971">
                    <a:moveTo>
                      <a:pt x="0" y="438085"/>
                    </a:moveTo>
                    <a:cubicBezTo>
                      <a:pt x="6085" y="462423"/>
                      <a:pt x="12168" y="483718"/>
                      <a:pt x="18253" y="501972"/>
                    </a:cubicBezTo>
                    <a:cubicBezTo>
                      <a:pt x="91268" y="501972"/>
                      <a:pt x="167324" y="492845"/>
                      <a:pt x="194703" y="428958"/>
                    </a:cubicBezTo>
                    <a:cubicBezTo>
                      <a:pt x="222084" y="362028"/>
                      <a:pt x="222084" y="267718"/>
                      <a:pt x="231211" y="194704"/>
                    </a:cubicBezTo>
                    <a:cubicBezTo>
                      <a:pt x="237295" y="130817"/>
                      <a:pt x="240337" y="66930"/>
                      <a:pt x="240337" y="6085"/>
                    </a:cubicBezTo>
                    <a:cubicBezTo>
                      <a:pt x="219043" y="3042"/>
                      <a:pt x="200788" y="0"/>
                      <a:pt x="179492" y="0"/>
                    </a:cubicBezTo>
                    <a:cubicBezTo>
                      <a:pt x="179492" y="97352"/>
                      <a:pt x="173409" y="194704"/>
                      <a:pt x="158198" y="292056"/>
                    </a:cubicBezTo>
                    <a:cubicBezTo>
                      <a:pt x="149069" y="355944"/>
                      <a:pt x="158198" y="413747"/>
                      <a:pt x="85183" y="432000"/>
                    </a:cubicBezTo>
                    <a:cubicBezTo>
                      <a:pt x="57802" y="435042"/>
                      <a:pt x="30423" y="438085"/>
                      <a:pt x="0" y="438085"/>
                    </a:cubicBezTo>
                    <a:close/>
                  </a:path>
                </a:pathLst>
              </a:custGeom>
              <a:solidFill>
                <a:srgbClr val="EDE2E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F4371D64-EE61-4DE0-9BFA-1D2D0FC5DBC7}"/>
                </a:ext>
              </a:extLst>
            </p:cNvPr>
            <p:cNvSpPr/>
            <p:nvPr/>
          </p:nvSpPr>
          <p:spPr>
            <a:xfrm>
              <a:off x="24151192" y="3489388"/>
              <a:ext cx="39852" cy="664471"/>
            </a:xfrm>
            <a:custGeom>
              <a:avLst/>
              <a:gdLst>
                <a:gd name="connsiteX0" fmla="*/ 34812 w 39852"/>
                <a:gd name="connsiteY0" fmla="*/ 664472 h 664471"/>
                <a:gd name="connsiteX1" fmla="*/ 28727 w 39852"/>
                <a:gd name="connsiteY1" fmla="*/ 658387 h 664471"/>
                <a:gd name="connsiteX2" fmla="*/ 13516 w 39852"/>
                <a:gd name="connsiteY2" fmla="*/ 4302 h 664471"/>
                <a:gd name="connsiteX3" fmla="*/ 19601 w 39852"/>
                <a:gd name="connsiteY3" fmla="*/ 1260 h 664471"/>
                <a:gd name="connsiteX4" fmla="*/ 22642 w 39852"/>
                <a:gd name="connsiteY4" fmla="*/ 7345 h 664471"/>
                <a:gd name="connsiteX5" fmla="*/ 37854 w 39852"/>
                <a:gd name="connsiteY5" fmla="*/ 658387 h 664471"/>
                <a:gd name="connsiteX6" fmla="*/ 34812 w 39852"/>
                <a:gd name="connsiteY6" fmla="*/ 664472 h 664471"/>
                <a:gd name="connsiteX7" fmla="*/ 34812 w 39852"/>
                <a:gd name="connsiteY7" fmla="*/ 664472 h 664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852" h="664471">
                  <a:moveTo>
                    <a:pt x="34812" y="664472"/>
                  </a:moveTo>
                  <a:cubicBezTo>
                    <a:pt x="31769" y="664472"/>
                    <a:pt x="28727" y="661429"/>
                    <a:pt x="28727" y="658387"/>
                  </a:cubicBezTo>
                  <a:cubicBezTo>
                    <a:pt x="25686" y="637091"/>
                    <a:pt x="-22991" y="150331"/>
                    <a:pt x="13516" y="4302"/>
                  </a:cubicBezTo>
                  <a:cubicBezTo>
                    <a:pt x="13516" y="1260"/>
                    <a:pt x="16558" y="-1782"/>
                    <a:pt x="19601" y="1260"/>
                  </a:cubicBezTo>
                  <a:cubicBezTo>
                    <a:pt x="22642" y="1260"/>
                    <a:pt x="25686" y="4302"/>
                    <a:pt x="22642" y="7345"/>
                  </a:cubicBezTo>
                  <a:cubicBezTo>
                    <a:pt x="-13865" y="150331"/>
                    <a:pt x="37854" y="652302"/>
                    <a:pt x="37854" y="658387"/>
                  </a:cubicBezTo>
                  <a:cubicBezTo>
                    <a:pt x="40897" y="661429"/>
                    <a:pt x="40897" y="664472"/>
                    <a:pt x="34812" y="664472"/>
                  </a:cubicBezTo>
                  <a:cubicBezTo>
                    <a:pt x="37854" y="664472"/>
                    <a:pt x="34812" y="664472"/>
                    <a:pt x="34812" y="664472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9" name="图形 1">
              <a:extLst>
                <a:ext uri="{FF2B5EF4-FFF2-40B4-BE49-F238E27FC236}">
                  <a16:creationId xmlns:a16="http://schemas.microsoft.com/office/drawing/2014/main" id="{C4112E27-1146-4C68-9126-43B4FF1ED875}"/>
                </a:ext>
              </a:extLst>
            </p:cNvPr>
            <p:cNvGrpSpPr/>
            <p:nvPr/>
          </p:nvGrpSpPr>
          <p:grpSpPr>
            <a:xfrm>
              <a:off x="23621243" y="3247430"/>
              <a:ext cx="81654" cy="184359"/>
              <a:chOff x="23621243" y="3247430"/>
              <a:chExt cx="81654" cy="184359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0092196C-433D-4270-B1F0-6F8623A4AF8B}"/>
                  </a:ext>
                </a:extLst>
              </p:cNvPr>
              <p:cNvSpPr/>
              <p:nvPr/>
            </p:nvSpPr>
            <p:spPr>
              <a:xfrm>
                <a:off x="23625420" y="3253353"/>
                <a:ext cx="75821" cy="178437"/>
              </a:xfrm>
              <a:custGeom>
                <a:avLst/>
                <a:gdLst>
                  <a:gd name="connsiteX0" fmla="*/ 9935 w 75821"/>
                  <a:gd name="connsiteY0" fmla="*/ 42592 h 178437"/>
                  <a:gd name="connsiteX1" fmla="*/ 9935 w 75821"/>
                  <a:gd name="connsiteY1" fmla="*/ 42592 h 178437"/>
                  <a:gd name="connsiteX2" fmla="*/ 9935 w 75821"/>
                  <a:gd name="connsiteY2" fmla="*/ 39549 h 178437"/>
                  <a:gd name="connsiteX3" fmla="*/ 16020 w 75821"/>
                  <a:gd name="connsiteY3" fmla="*/ 3042 h 178437"/>
                  <a:gd name="connsiteX4" fmla="*/ 22105 w 75821"/>
                  <a:gd name="connsiteY4" fmla="*/ 0 h 178437"/>
                  <a:gd name="connsiteX5" fmla="*/ 28190 w 75821"/>
                  <a:gd name="connsiteY5" fmla="*/ 3042 h 178437"/>
                  <a:gd name="connsiteX6" fmla="*/ 70780 w 75821"/>
                  <a:gd name="connsiteY6" fmla="*/ 27380 h 178437"/>
                  <a:gd name="connsiteX7" fmla="*/ 73824 w 75821"/>
                  <a:gd name="connsiteY7" fmla="*/ 63887 h 178437"/>
                  <a:gd name="connsiteX8" fmla="*/ 64697 w 75821"/>
                  <a:gd name="connsiteY8" fmla="*/ 73014 h 178437"/>
                  <a:gd name="connsiteX9" fmla="*/ 64697 w 75821"/>
                  <a:gd name="connsiteY9" fmla="*/ 106479 h 178437"/>
                  <a:gd name="connsiteX10" fmla="*/ 58612 w 75821"/>
                  <a:gd name="connsiteY10" fmla="*/ 112563 h 178437"/>
                  <a:gd name="connsiteX11" fmla="*/ 61654 w 75821"/>
                  <a:gd name="connsiteY11" fmla="*/ 142986 h 178437"/>
                  <a:gd name="connsiteX12" fmla="*/ 52528 w 75821"/>
                  <a:gd name="connsiteY12" fmla="*/ 149070 h 178437"/>
                  <a:gd name="connsiteX13" fmla="*/ 55569 w 75821"/>
                  <a:gd name="connsiteY13" fmla="*/ 173408 h 178437"/>
                  <a:gd name="connsiteX14" fmla="*/ 43401 w 75821"/>
                  <a:gd name="connsiteY14" fmla="*/ 176451 h 178437"/>
                  <a:gd name="connsiteX15" fmla="*/ 25146 w 75821"/>
                  <a:gd name="connsiteY15" fmla="*/ 167324 h 178437"/>
                  <a:gd name="connsiteX16" fmla="*/ 12979 w 75821"/>
                  <a:gd name="connsiteY16" fmla="*/ 152113 h 178437"/>
                  <a:gd name="connsiteX17" fmla="*/ 16020 w 75821"/>
                  <a:gd name="connsiteY17" fmla="*/ 130817 h 178437"/>
                  <a:gd name="connsiteX18" fmla="*/ 6894 w 75821"/>
                  <a:gd name="connsiteY18" fmla="*/ 112563 h 178437"/>
                  <a:gd name="connsiteX19" fmla="*/ 6894 w 75821"/>
                  <a:gd name="connsiteY19" fmla="*/ 88225 h 178437"/>
                  <a:gd name="connsiteX20" fmla="*/ 809 w 75821"/>
                  <a:gd name="connsiteY20" fmla="*/ 76056 h 178437"/>
                  <a:gd name="connsiteX21" fmla="*/ 9935 w 75821"/>
                  <a:gd name="connsiteY21" fmla="*/ 42592 h 178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5821" h="178437">
                    <a:moveTo>
                      <a:pt x="9935" y="42592"/>
                    </a:moveTo>
                    <a:cubicBezTo>
                      <a:pt x="9935" y="42592"/>
                      <a:pt x="9935" y="42592"/>
                      <a:pt x="9935" y="42592"/>
                    </a:cubicBezTo>
                    <a:cubicBezTo>
                      <a:pt x="12979" y="39549"/>
                      <a:pt x="9935" y="39549"/>
                      <a:pt x="9935" y="39549"/>
                    </a:cubicBezTo>
                    <a:cubicBezTo>
                      <a:pt x="6894" y="24338"/>
                      <a:pt x="9935" y="6085"/>
                      <a:pt x="16020" y="3042"/>
                    </a:cubicBezTo>
                    <a:cubicBezTo>
                      <a:pt x="19063" y="0"/>
                      <a:pt x="19063" y="0"/>
                      <a:pt x="22105" y="0"/>
                    </a:cubicBezTo>
                    <a:cubicBezTo>
                      <a:pt x="22105" y="0"/>
                      <a:pt x="28190" y="3042"/>
                      <a:pt x="28190" y="3042"/>
                    </a:cubicBezTo>
                    <a:cubicBezTo>
                      <a:pt x="43401" y="9127"/>
                      <a:pt x="61654" y="9127"/>
                      <a:pt x="70780" y="27380"/>
                    </a:cubicBezTo>
                    <a:cubicBezTo>
                      <a:pt x="76865" y="36507"/>
                      <a:pt x="76865" y="51718"/>
                      <a:pt x="73824" y="63887"/>
                    </a:cubicBezTo>
                    <a:cubicBezTo>
                      <a:pt x="70780" y="69972"/>
                      <a:pt x="67739" y="73014"/>
                      <a:pt x="64697" y="73014"/>
                    </a:cubicBezTo>
                    <a:cubicBezTo>
                      <a:pt x="67739" y="82141"/>
                      <a:pt x="70780" y="97352"/>
                      <a:pt x="64697" y="106479"/>
                    </a:cubicBezTo>
                    <a:cubicBezTo>
                      <a:pt x="61654" y="112563"/>
                      <a:pt x="61654" y="112563"/>
                      <a:pt x="58612" y="112563"/>
                    </a:cubicBezTo>
                    <a:cubicBezTo>
                      <a:pt x="61654" y="121690"/>
                      <a:pt x="64697" y="133859"/>
                      <a:pt x="61654" y="142986"/>
                    </a:cubicBezTo>
                    <a:cubicBezTo>
                      <a:pt x="58612" y="149070"/>
                      <a:pt x="55569" y="149070"/>
                      <a:pt x="52528" y="149070"/>
                    </a:cubicBezTo>
                    <a:cubicBezTo>
                      <a:pt x="55569" y="155155"/>
                      <a:pt x="55569" y="164282"/>
                      <a:pt x="55569" y="173408"/>
                    </a:cubicBezTo>
                    <a:cubicBezTo>
                      <a:pt x="52528" y="182535"/>
                      <a:pt x="46443" y="176451"/>
                      <a:pt x="43401" y="176451"/>
                    </a:cubicBezTo>
                    <a:cubicBezTo>
                      <a:pt x="37316" y="173408"/>
                      <a:pt x="31231" y="173408"/>
                      <a:pt x="25146" y="167324"/>
                    </a:cubicBezTo>
                    <a:cubicBezTo>
                      <a:pt x="22105" y="164282"/>
                      <a:pt x="12979" y="164282"/>
                      <a:pt x="12979" y="152113"/>
                    </a:cubicBezTo>
                    <a:cubicBezTo>
                      <a:pt x="12979" y="142986"/>
                      <a:pt x="12979" y="136901"/>
                      <a:pt x="16020" y="130817"/>
                    </a:cubicBezTo>
                    <a:cubicBezTo>
                      <a:pt x="12979" y="127775"/>
                      <a:pt x="6894" y="124732"/>
                      <a:pt x="6894" y="112563"/>
                    </a:cubicBezTo>
                    <a:cubicBezTo>
                      <a:pt x="3852" y="103437"/>
                      <a:pt x="6894" y="94310"/>
                      <a:pt x="6894" y="88225"/>
                    </a:cubicBezTo>
                    <a:cubicBezTo>
                      <a:pt x="3852" y="85183"/>
                      <a:pt x="3852" y="82141"/>
                      <a:pt x="809" y="76056"/>
                    </a:cubicBezTo>
                    <a:cubicBezTo>
                      <a:pt x="-2233" y="63887"/>
                      <a:pt x="3852" y="48676"/>
                      <a:pt x="9935" y="4259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75DDE07E-0A20-4ACF-AA04-299D7830C1F9}"/>
                  </a:ext>
                </a:extLst>
              </p:cNvPr>
              <p:cNvSpPr/>
              <p:nvPr/>
            </p:nvSpPr>
            <p:spPr>
              <a:xfrm>
                <a:off x="23623187" y="3247430"/>
                <a:ext cx="79710" cy="121527"/>
              </a:xfrm>
              <a:custGeom>
                <a:avLst/>
                <a:gdLst>
                  <a:gd name="connsiteX0" fmla="*/ 57802 w 79710"/>
                  <a:gd name="connsiteY0" fmla="*/ 121528 h 121527"/>
                  <a:gd name="connsiteX1" fmla="*/ 30423 w 79710"/>
                  <a:gd name="connsiteY1" fmla="*/ 112401 h 121527"/>
                  <a:gd name="connsiteX2" fmla="*/ 0 w 79710"/>
                  <a:gd name="connsiteY2" fmla="*/ 72852 h 121527"/>
                  <a:gd name="connsiteX3" fmla="*/ 9126 w 79710"/>
                  <a:gd name="connsiteY3" fmla="*/ 36345 h 121527"/>
                  <a:gd name="connsiteX4" fmla="*/ 9126 w 79710"/>
                  <a:gd name="connsiteY4" fmla="*/ 36345 h 121527"/>
                  <a:gd name="connsiteX5" fmla="*/ 6085 w 79710"/>
                  <a:gd name="connsiteY5" fmla="*/ 24176 h 121527"/>
                  <a:gd name="connsiteX6" fmla="*/ 15211 w 79710"/>
                  <a:gd name="connsiteY6" fmla="*/ 2880 h 121527"/>
                  <a:gd name="connsiteX7" fmla="*/ 63887 w 79710"/>
                  <a:gd name="connsiteY7" fmla="*/ 12007 h 121527"/>
                  <a:gd name="connsiteX8" fmla="*/ 66930 w 79710"/>
                  <a:gd name="connsiteY8" fmla="*/ 21134 h 121527"/>
                  <a:gd name="connsiteX9" fmla="*/ 57802 w 79710"/>
                  <a:gd name="connsiteY9" fmla="*/ 24176 h 121527"/>
                  <a:gd name="connsiteX10" fmla="*/ 21296 w 79710"/>
                  <a:gd name="connsiteY10" fmla="*/ 15049 h 121527"/>
                  <a:gd name="connsiteX11" fmla="*/ 18253 w 79710"/>
                  <a:gd name="connsiteY11" fmla="*/ 27218 h 121527"/>
                  <a:gd name="connsiteX12" fmla="*/ 69971 w 79710"/>
                  <a:gd name="connsiteY12" fmla="*/ 69810 h 121527"/>
                  <a:gd name="connsiteX13" fmla="*/ 79098 w 79710"/>
                  <a:gd name="connsiteY13" fmla="*/ 97190 h 121527"/>
                  <a:gd name="connsiteX14" fmla="*/ 66930 w 79710"/>
                  <a:gd name="connsiteY14" fmla="*/ 118486 h 121527"/>
                  <a:gd name="connsiteX15" fmla="*/ 57802 w 79710"/>
                  <a:gd name="connsiteY15" fmla="*/ 121528 h 121527"/>
                  <a:gd name="connsiteX16" fmla="*/ 12168 w 79710"/>
                  <a:gd name="connsiteY16" fmla="*/ 54598 h 121527"/>
                  <a:gd name="connsiteX17" fmla="*/ 9126 w 79710"/>
                  <a:gd name="connsiteY17" fmla="*/ 75894 h 121527"/>
                  <a:gd name="connsiteX18" fmla="*/ 33464 w 79710"/>
                  <a:gd name="connsiteY18" fmla="*/ 103274 h 121527"/>
                  <a:gd name="connsiteX19" fmla="*/ 63887 w 79710"/>
                  <a:gd name="connsiteY19" fmla="*/ 109359 h 121527"/>
                  <a:gd name="connsiteX20" fmla="*/ 69971 w 79710"/>
                  <a:gd name="connsiteY20" fmla="*/ 97190 h 121527"/>
                  <a:gd name="connsiteX21" fmla="*/ 69971 w 79710"/>
                  <a:gd name="connsiteY21" fmla="*/ 81979 h 121527"/>
                  <a:gd name="connsiteX22" fmla="*/ 12168 w 79710"/>
                  <a:gd name="connsiteY22" fmla="*/ 54598 h 121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9710" h="121527">
                    <a:moveTo>
                      <a:pt x="57802" y="121528"/>
                    </a:moveTo>
                    <a:cubicBezTo>
                      <a:pt x="48675" y="121528"/>
                      <a:pt x="39549" y="118486"/>
                      <a:pt x="30423" y="112401"/>
                    </a:cubicBezTo>
                    <a:cubicBezTo>
                      <a:pt x="12168" y="103274"/>
                      <a:pt x="0" y="97190"/>
                      <a:pt x="0" y="72852"/>
                    </a:cubicBezTo>
                    <a:cubicBezTo>
                      <a:pt x="0" y="54598"/>
                      <a:pt x="9126" y="39387"/>
                      <a:pt x="9126" y="36345"/>
                    </a:cubicBezTo>
                    <a:cubicBezTo>
                      <a:pt x="9126" y="36345"/>
                      <a:pt x="9126" y="36345"/>
                      <a:pt x="9126" y="36345"/>
                    </a:cubicBezTo>
                    <a:cubicBezTo>
                      <a:pt x="9126" y="33303"/>
                      <a:pt x="9126" y="27218"/>
                      <a:pt x="6085" y="24176"/>
                    </a:cubicBezTo>
                    <a:cubicBezTo>
                      <a:pt x="6085" y="12007"/>
                      <a:pt x="12168" y="5922"/>
                      <a:pt x="15211" y="2880"/>
                    </a:cubicBezTo>
                    <a:cubicBezTo>
                      <a:pt x="30423" y="-6247"/>
                      <a:pt x="57802" y="8965"/>
                      <a:pt x="63887" y="12007"/>
                    </a:cubicBezTo>
                    <a:cubicBezTo>
                      <a:pt x="66930" y="15049"/>
                      <a:pt x="66930" y="18091"/>
                      <a:pt x="66930" y="21134"/>
                    </a:cubicBezTo>
                    <a:cubicBezTo>
                      <a:pt x="63887" y="24176"/>
                      <a:pt x="60845" y="24176"/>
                      <a:pt x="57802" y="24176"/>
                    </a:cubicBezTo>
                    <a:cubicBezTo>
                      <a:pt x="45634" y="18091"/>
                      <a:pt x="27379" y="8965"/>
                      <a:pt x="21296" y="15049"/>
                    </a:cubicBezTo>
                    <a:cubicBezTo>
                      <a:pt x="18253" y="15049"/>
                      <a:pt x="18253" y="21134"/>
                      <a:pt x="18253" y="27218"/>
                    </a:cubicBezTo>
                    <a:cubicBezTo>
                      <a:pt x="18253" y="42429"/>
                      <a:pt x="18253" y="63725"/>
                      <a:pt x="69971" y="69810"/>
                    </a:cubicBezTo>
                    <a:cubicBezTo>
                      <a:pt x="73013" y="69810"/>
                      <a:pt x="82141" y="75894"/>
                      <a:pt x="79098" y="97190"/>
                    </a:cubicBezTo>
                    <a:cubicBezTo>
                      <a:pt x="79098" y="106317"/>
                      <a:pt x="73013" y="115443"/>
                      <a:pt x="66930" y="118486"/>
                    </a:cubicBezTo>
                    <a:cubicBezTo>
                      <a:pt x="66930" y="121528"/>
                      <a:pt x="60845" y="121528"/>
                      <a:pt x="57802" y="121528"/>
                    </a:cubicBezTo>
                    <a:close/>
                    <a:moveTo>
                      <a:pt x="12168" y="54598"/>
                    </a:moveTo>
                    <a:cubicBezTo>
                      <a:pt x="9126" y="60683"/>
                      <a:pt x="6085" y="66767"/>
                      <a:pt x="9126" y="75894"/>
                    </a:cubicBezTo>
                    <a:cubicBezTo>
                      <a:pt x="9126" y="91105"/>
                      <a:pt x="15211" y="94148"/>
                      <a:pt x="33464" y="103274"/>
                    </a:cubicBezTo>
                    <a:cubicBezTo>
                      <a:pt x="51719" y="112401"/>
                      <a:pt x="60845" y="109359"/>
                      <a:pt x="63887" y="109359"/>
                    </a:cubicBezTo>
                    <a:cubicBezTo>
                      <a:pt x="63887" y="109359"/>
                      <a:pt x="69971" y="106317"/>
                      <a:pt x="69971" y="97190"/>
                    </a:cubicBezTo>
                    <a:cubicBezTo>
                      <a:pt x="69971" y="88063"/>
                      <a:pt x="69971" y="81979"/>
                      <a:pt x="69971" y="81979"/>
                    </a:cubicBezTo>
                    <a:cubicBezTo>
                      <a:pt x="36507" y="75894"/>
                      <a:pt x="21296" y="66767"/>
                      <a:pt x="12168" y="5459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DB5E0109-AC26-4F11-88F6-62940968FF1E}"/>
                  </a:ext>
                </a:extLst>
              </p:cNvPr>
              <p:cNvSpPr/>
              <p:nvPr/>
            </p:nvSpPr>
            <p:spPr>
              <a:xfrm>
                <a:off x="23621243" y="3337276"/>
                <a:ext cx="70133" cy="74274"/>
              </a:xfrm>
              <a:custGeom>
                <a:avLst/>
                <a:gdLst>
                  <a:gd name="connsiteX0" fmla="*/ 59746 w 70133"/>
                  <a:gd name="connsiteY0" fmla="*/ 74274 h 74274"/>
                  <a:gd name="connsiteX1" fmla="*/ 14112 w 70133"/>
                  <a:gd name="connsiteY1" fmla="*/ 56021 h 74274"/>
                  <a:gd name="connsiteX2" fmla="*/ 1944 w 70133"/>
                  <a:gd name="connsiteY2" fmla="*/ 4302 h 74274"/>
                  <a:gd name="connsiteX3" fmla="*/ 8029 w 70133"/>
                  <a:gd name="connsiteY3" fmla="*/ 1260 h 74274"/>
                  <a:gd name="connsiteX4" fmla="*/ 11071 w 70133"/>
                  <a:gd name="connsiteY4" fmla="*/ 7345 h 74274"/>
                  <a:gd name="connsiteX5" fmla="*/ 17155 w 70133"/>
                  <a:gd name="connsiteY5" fmla="*/ 46894 h 74274"/>
                  <a:gd name="connsiteX6" fmla="*/ 56704 w 70133"/>
                  <a:gd name="connsiteY6" fmla="*/ 62105 h 74274"/>
                  <a:gd name="connsiteX7" fmla="*/ 53663 w 70133"/>
                  <a:gd name="connsiteY7" fmla="*/ 34725 h 74274"/>
                  <a:gd name="connsiteX8" fmla="*/ 56704 w 70133"/>
                  <a:gd name="connsiteY8" fmla="*/ 25598 h 74274"/>
                  <a:gd name="connsiteX9" fmla="*/ 65831 w 70133"/>
                  <a:gd name="connsiteY9" fmla="*/ 28640 h 74274"/>
                  <a:gd name="connsiteX10" fmla="*/ 68874 w 70133"/>
                  <a:gd name="connsiteY10" fmla="*/ 65148 h 74274"/>
                  <a:gd name="connsiteX11" fmla="*/ 62789 w 70133"/>
                  <a:gd name="connsiteY11" fmla="*/ 71232 h 74274"/>
                  <a:gd name="connsiteX12" fmla="*/ 59746 w 70133"/>
                  <a:gd name="connsiteY12" fmla="*/ 74274 h 74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0133" h="74274">
                    <a:moveTo>
                      <a:pt x="59746" y="74274"/>
                    </a:moveTo>
                    <a:cubicBezTo>
                      <a:pt x="47578" y="74274"/>
                      <a:pt x="29323" y="68190"/>
                      <a:pt x="14112" y="56021"/>
                    </a:cubicBezTo>
                    <a:cubicBezTo>
                      <a:pt x="-7182" y="37767"/>
                      <a:pt x="1944" y="4302"/>
                      <a:pt x="1944" y="4302"/>
                    </a:cubicBezTo>
                    <a:cubicBezTo>
                      <a:pt x="1944" y="1260"/>
                      <a:pt x="4986" y="-1782"/>
                      <a:pt x="8029" y="1260"/>
                    </a:cubicBezTo>
                    <a:cubicBezTo>
                      <a:pt x="11071" y="1260"/>
                      <a:pt x="14112" y="4302"/>
                      <a:pt x="11071" y="7345"/>
                    </a:cubicBezTo>
                    <a:cubicBezTo>
                      <a:pt x="11071" y="7345"/>
                      <a:pt x="4986" y="34725"/>
                      <a:pt x="17155" y="46894"/>
                    </a:cubicBezTo>
                    <a:cubicBezTo>
                      <a:pt x="35408" y="62105"/>
                      <a:pt x="53663" y="62105"/>
                      <a:pt x="56704" y="62105"/>
                    </a:cubicBezTo>
                    <a:cubicBezTo>
                      <a:pt x="59746" y="59063"/>
                      <a:pt x="56704" y="40810"/>
                      <a:pt x="53663" y="34725"/>
                    </a:cubicBezTo>
                    <a:cubicBezTo>
                      <a:pt x="53663" y="31683"/>
                      <a:pt x="53663" y="28640"/>
                      <a:pt x="56704" y="25598"/>
                    </a:cubicBezTo>
                    <a:cubicBezTo>
                      <a:pt x="59746" y="25598"/>
                      <a:pt x="62789" y="25598"/>
                      <a:pt x="65831" y="28640"/>
                    </a:cubicBezTo>
                    <a:cubicBezTo>
                      <a:pt x="68874" y="34725"/>
                      <a:pt x="71916" y="56021"/>
                      <a:pt x="68874" y="65148"/>
                    </a:cubicBezTo>
                    <a:cubicBezTo>
                      <a:pt x="68874" y="68190"/>
                      <a:pt x="65831" y="71232"/>
                      <a:pt x="62789" y="71232"/>
                    </a:cubicBezTo>
                    <a:cubicBezTo>
                      <a:pt x="65831" y="71232"/>
                      <a:pt x="65831" y="74274"/>
                      <a:pt x="59746" y="7427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A942FDB0-9239-4271-9838-4D397DFAE551}"/>
                </a:ext>
              </a:extLst>
            </p:cNvPr>
            <p:cNvSpPr/>
            <p:nvPr/>
          </p:nvSpPr>
          <p:spPr>
            <a:xfrm>
              <a:off x="24847904" y="2773055"/>
              <a:ext cx="472860" cy="942720"/>
            </a:xfrm>
            <a:custGeom>
              <a:avLst/>
              <a:gdLst>
                <a:gd name="connsiteX0" fmla="*/ 220353 w 472860"/>
                <a:gd name="connsiteY0" fmla="*/ 2664 h 942720"/>
                <a:gd name="connsiteX1" fmla="*/ 22607 w 472860"/>
                <a:gd name="connsiteY1" fmla="*/ 714552 h 942720"/>
                <a:gd name="connsiteX2" fmla="*/ 472860 w 472860"/>
                <a:gd name="connsiteY2" fmla="*/ 942721 h 942720"/>
                <a:gd name="connsiteX3" fmla="*/ 463734 w 472860"/>
                <a:gd name="connsiteY3" fmla="*/ 857538 h 942720"/>
                <a:gd name="connsiteX4" fmla="*/ 116916 w 472860"/>
                <a:gd name="connsiteY4" fmla="*/ 690214 h 942720"/>
                <a:gd name="connsiteX5" fmla="*/ 293366 w 472860"/>
                <a:gd name="connsiteY5" fmla="*/ 23960 h 942720"/>
                <a:gd name="connsiteX6" fmla="*/ 220353 w 472860"/>
                <a:gd name="connsiteY6" fmla="*/ 2664 h 942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860" h="942720">
                  <a:moveTo>
                    <a:pt x="220353" y="2664"/>
                  </a:moveTo>
                  <a:cubicBezTo>
                    <a:pt x="220353" y="2664"/>
                    <a:pt x="-83872" y="471171"/>
                    <a:pt x="22607" y="714552"/>
                  </a:cubicBezTo>
                  <a:cubicBezTo>
                    <a:pt x="71282" y="827115"/>
                    <a:pt x="472860" y="942721"/>
                    <a:pt x="472860" y="942721"/>
                  </a:cubicBezTo>
                  <a:lnTo>
                    <a:pt x="463734" y="857538"/>
                  </a:lnTo>
                  <a:cubicBezTo>
                    <a:pt x="463734" y="857538"/>
                    <a:pt x="138212" y="744974"/>
                    <a:pt x="116916" y="690214"/>
                  </a:cubicBezTo>
                  <a:cubicBezTo>
                    <a:pt x="31733" y="468129"/>
                    <a:pt x="293366" y="23960"/>
                    <a:pt x="293366" y="23960"/>
                  </a:cubicBezTo>
                  <a:cubicBezTo>
                    <a:pt x="293366" y="23960"/>
                    <a:pt x="272072" y="-9505"/>
                    <a:pt x="220353" y="2664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7A3C3ECD-3820-4B8B-A5BA-9D4FF1664B21}"/>
                </a:ext>
              </a:extLst>
            </p:cNvPr>
            <p:cNvSpPr/>
            <p:nvPr/>
          </p:nvSpPr>
          <p:spPr>
            <a:xfrm>
              <a:off x="24948065" y="3092113"/>
              <a:ext cx="320980" cy="748418"/>
            </a:xfrm>
            <a:custGeom>
              <a:avLst/>
              <a:gdLst>
                <a:gd name="connsiteX0" fmla="*/ 114107 w 320980"/>
                <a:gd name="connsiteY0" fmla="*/ 0 h 748418"/>
                <a:gd name="connsiteX1" fmla="*/ 1544 w 320980"/>
                <a:gd name="connsiteY1" fmla="*/ 465465 h 748418"/>
                <a:gd name="connsiteX2" fmla="*/ 95855 w 320980"/>
                <a:gd name="connsiteY2" fmla="*/ 748394 h 748418"/>
                <a:gd name="connsiteX3" fmla="*/ 320980 w 320980"/>
                <a:gd name="connsiteY3" fmla="*/ 127775 h 748418"/>
                <a:gd name="connsiteX4" fmla="*/ 114107 w 320980"/>
                <a:gd name="connsiteY4" fmla="*/ 0 h 748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980" h="748418">
                  <a:moveTo>
                    <a:pt x="114107" y="0"/>
                  </a:moveTo>
                  <a:lnTo>
                    <a:pt x="1544" y="465465"/>
                  </a:lnTo>
                  <a:cubicBezTo>
                    <a:pt x="1544" y="465465"/>
                    <a:pt x="-19752" y="751437"/>
                    <a:pt x="95855" y="748394"/>
                  </a:cubicBezTo>
                  <a:cubicBezTo>
                    <a:pt x="241882" y="742310"/>
                    <a:pt x="320980" y="127775"/>
                    <a:pt x="320980" y="127775"/>
                  </a:cubicBezTo>
                  <a:lnTo>
                    <a:pt x="114107" y="0"/>
                  </a:ln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3A3D5EC8-1C7E-404A-BA61-02DAD62EB16C}"/>
                </a:ext>
              </a:extLst>
            </p:cNvPr>
            <p:cNvSpPr/>
            <p:nvPr/>
          </p:nvSpPr>
          <p:spPr>
            <a:xfrm>
              <a:off x="24638566" y="3338536"/>
              <a:ext cx="481380" cy="500667"/>
            </a:xfrm>
            <a:custGeom>
              <a:avLst/>
              <a:gdLst>
                <a:gd name="connsiteX0" fmla="*/ 70706 w 481380"/>
                <a:gd name="connsiteY0" fmla="*/ 0 h 500667"/>
                <a:gd name="connsiteX1" fmla="*/ 466199 w 481380"/>
                <a:gd name="connsiteY1" fmla="*/ 325521 h 500667"/>
                <a:gd name="connsiteX2" fmla="*/ 362762 w 481380"/>
                <a:gd name="connsiteY2" fmla="*/ 495887 h 500667"/>
                <a:gd name="connsiteX3" fmla="*/ 733 w 481380"/>
                <a:gd name="connsiteY3" fmla="*/ 112563 h 500667"/>
                <a:gd name="connsiteX4" fmla="*/ 70706 w 481380"/>
                <a:gd name="connsiteY4" fmla="*/ 0 h 50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1380" h="500667">
                  <a:moveTo>
                    <a:pt x="70706" y="0"/>
                  </a:moveTo>
                  <a:cubicBezTo>
                    <a:pt x="70706" y="0"/>
                    <a:pt x="429692" y="246423"/>
                    <a:pt x="466199" y="325521"/>
                  </a:cubicBezTo>
                  <a:cubicBezTo>
                    <a:pt x="502705" y="404620"/>
                    <a:pt x="475326" y="526310"/>
                    <a:pt x="362762" y="495887"/>
                  </a:cubicBezTo>
                  <a:cubicBezTo>
                    <a:pt x="250198" y="465465"/>
                    <a:pt x="6818" y="118648"/>
                    <a:pt x="733" y="112563"/>
                  </a:cubicBezTo>
                  <a:cubicBezTo>
                    <a:pt x="-8393" y="109521"/>
                    <a:pt x="70706" y="0"/>
                    <a:pt x="70706" y="0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9B39A53B-4C7B-484D-B4F5-C3EBF747D7CF}"/>
                </a:ext>
              </a:extLst>
            </p:cNvPr>
            <p:cNvSpPr/>
            <p:nvPr/>
          </p:nvSpPr>
          <p:spPr>
            <a:xfrm>
              <a:off x="24953413" y="3515747"/>
              <a:ext cx="107999" cy="93549"/>
            </a:xfrm>
            <a:custGeom>
              <a:avLst/>
              <a:gdLst>
                <a:gd name="connsiteX0" fmla="*/ 99634 w 107999"/>
                <a:gd name="connsiteY0" fmla="*/ 93549 h 93549"/>
                <a:gd name="connsiteX1" fmla="*/ 96590 w 107999"/>
                <a:gd name="connsiteY1" fmla="*/ 90507 h 93549"/>
                <a:gd name="connsiteX2" fmla="*/ 2281 w 107999"/>
                <a:gd name="connsiteY2" fmla="*/ 11408 h 93549"/>
                <a:gd name="connsiteX3" fmla="*/ 2281 w 107999"/>
                <a:gd name="connsiteY3" fmla="*/ 2282 h 93549"/>
                <a:gd name="connsiteX4" fmla="*/ 11408 w 107999"/>
                <a:gd name="connsiteY4" fmla="*/ 2282 h 93549"/>
                <a:gd name="connsiteX5" fmla="*/ 105718 w 107999"/>
                <a:gd name="connsiteY5" fmla="*/ 81380 h 93549"/>
                <a:gd name="connsiteX6" fmla="*/ 105718 w 107999"/>
                <a:gd name="connsiteY6" fmla="*/ 90507 h 93549"/>
                <a:gd name="connsiteX7" fmla="*/ 99634 w 107999"/>
                <a:gd name="connsiteY7" fmla="*/ 93549 h 93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999" h="93549">
                  <a:moveTo>
                    <a:pt x="99634" y="93549"/>
                  </a:moveTo>
                  <a:cubicBezTo>
                    <a:pt x="99634" y="93549"/>
                    <a:pt x="96590" y="93549"/>
                    <a:pt x="96590" y="90507"/>
                  </a:cubicBezTo>
                  <a:cubicBezTo>
                    <a:pt x="81379" y="75296"/>
                    <a:pt x="5323" y="11408"/>
                    <a:pt x="2281" y="11408"/>
                  </a:cubicBezTo>
                  <a:cubicBezTo>
                    <a:pt x="-760" y="8366"/>
                    <a:pt x="-760" y="5324"/>
                    <a:pt x="2281" y="2282"/>
                  </a:cubicBezTo>
                  <a:cubicBezTo>
                    <a:pt x="5323" y="-761"/>
                    <a:pt x="8366" y="-761"/>
                    <a:pt x="11408" y="2282"/>
                  </a:cubicBezTo>
                  <a:cubicBezTo>
                    <a:pt x="14451" y="5324"/>
                    <a:pt x="90507" y="66169"/>
                    <a:pt x="105718" y="81380"/>
                  </a:cubicBezTo>
                  <a:cubicBezTo>
                    <a:pt x="108760" y="84423"/>
                    <a:pt x="108760" y="87465"/>
                    <a:pt x="105718" y="90507"/>
                  </a:cubicBezTo>
                  <a:cubicBezTo>
                    <a:pt x="102675" y="93549"/>
                    <a:pt x="99634" y="93549"/>
                    <a:pt x="99634" y="93549"/>
                  </a:cubicBez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4" name="图形 1">
              <a:extLst>
                <a:ext uri="{FF2B5EF4-FFF2-40B4-BE49-F238E27FC236}">
                  <a16:creationId xmlns:a16="http://schemas.microsoft.com/office/drawing/2014/main" id="{0FD42484-E3E3-444F-AF21-D7D86B45C4C7}"/>
                </a:ext>
              </a:extLst>
            </p:cNvPr>
            <p:cNvGrpSpPr/>
            <p:nvPr/>
          </p:nvGrpSpPr>
          <p:grpSpPr>
            <a:xfrm>
              <a:off x="24367279" y="3216446"/>
              <a:ext cx="354161" cy="238866"/>
              <a:chOff x="24367279" y="3216446"/>
              <a:chExt cx="354161" cy="238866"/>
            </a:xfrm>
          </p:grpSpPr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6DFAFD3E-60D4-45B8-8857-226E12478C8D}"/>
                  </a:ext>
                </a:extLst>
              </p:cNvPr>
              <p:cNvSpPr/>
              <p:nvPr/>
            </p:nvSpPr>
            <p:spPr>
              <a:xfrm>
                <a:off x="24374542" y="3216446"/>
                <a:ext cx="346898" cy="238866"/>
              </a:xfrm>
              <a:custGeom>
                <a:avLst/>
                <a:gdLst>
                  <a:gd name="connsiteX0" fmla="*/ 346898 w 346898"/>
                  <a:gd name="connsiteY0" fmla="*/ 140343 h 238866"/>
                  <a:gd name="connsiteX1" fmla="*/ 237378 w 346898"/>
                  <a:gd name="connsiteY1" fmla="*/ 12568 h 238866"/>
                  <a:gd name="connsiteX2" fmla="*/ 15294 w 346898"/>
                  <a:gd name="connsiteY2" fmla="*/ 21695 h 238866"/>
                  <a:gd name="connsiteX3" fmla="*/ 79180 w 346898"/>
                  <a:gd name="connsiteY3" fmla="*/ 39949 h 238866"/>
                  <a:gd name="connsiteX4" fmla="*/ 83 w 346898"/>
                  <a:gd name="connsiteY4" fmla="*/ 79498 h 238866"/>
                  <a:gd name="connsiteX5" fmla="*/ 30505 w 346898"/>
                  <a:gd name="connsiteY5" fmla="*/ 106878 h 238866"/>
                  <a:gd name="connsiteX6" fmla="*/ 63969 w 346898"/>
                  <a:gd name="connsiteY6" fmla="*/ 134259 h 238866"/>
                  <a:gd name="connsiteX7" fmla="*/ 60928 w 346898"/>
                  <a:gd name="connsiteY7" fmla="*/ 164681 h 238866"/>
                  <a:gd name="connsiteX8" fmla="*/ 170448 w 346898"/>
                  <a:gd name="connsiteY8" fmla="*/ 164681 h 238866"/>
                  <a:gd name="connsiteX9" fmla="*/ 225208 w 346898"/>
                  <a:gd name="connsiteY9" fmla="*/ 222484 h 238866"/>
                  <a:gd name="connsiteX10" fmla="*/ 313434 w 346898"/>
                  <a:gd name="connsiteY10" fmla="*/ 234653 h 238866"/>
                  <a:gd name="connsiteX11" fmla="*/ 346898 w 346898"/>
                  <a:gd name="connsiteY11" fmla="*/ 140343 h 23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46898" h="238866">
                    <a:moveTo>
                      <a:pt x="346898" y="140343"/>
                    </a:moveTo>
                    <a:cubicBezTo>
                      <a:pt x="346898" y="140343"/>
                      <a:pt x="270842" y="27780"/>
                      <a:pt x="237378" y="12568"/>
                    </a:cubicBezTo>
                    <a:cubicBezTo>
                      <a:pt x="203912" y="-2643"/>
                      <a:pt x="18335" y="-8727"/>
                      <a:pt x="15294" y="21695"/>
                    </a:cubicBezTo>
                    <a:cubicBezTo>
                      <a:pt x="12250" y="52118"/>
                      <a:pt x="79180" y="39949"/>
                      <a:pt x="79180" y="39949"/>
                    </a:cubicBezTo>
                    <a:cubicBezTo>
                      <a:pt x="79180" y="39949"/>
                      <a:pt x="-2961" y="55160"/>
                      <a:pt x="83" y="79498"/>
                    </a:cubicBezTo>
                    <a:cubicBezTo>
                      <a:pt x="3124" y="103836"/>
                      <a:pt x="30505" y="106878"/>
                      <a:pt x="30505" y="106878"/>
                    </a:cubicBezTo>
                    <a:cubicBezTo>
                      <a:pt x="30505" y="106878"/>
                      <a:pt x="15294" y="137301"/>
                      <a:pt x="63969" y="134259"/>
                    </a:cubicBezTo>
                    <a:cubicBezTo>
                      <a:pt x="63969" y="134259"/>
                      <a:pt x="39631" y="158597"/>
                      <a:pt x="60928" y="164681"/>
                    </a:cubicBezTo>
                    <a:cubicBezTo>
                      <a:pt x="82222" y="167723"/>
                      <a:pt x="155237" y="155554"/>
                      <a:pt x="170448" y="164681"/>
                    </a:cubicBezTo>
                    <a:cubicBezTo>
                      <a:pt x="185659" y="173808"/>
                      <a:pt x="194786" y="207273"/>
                      <a:pt x="225208" y="222484"/>
                    </a:cubicBezTo>
                    <a:cubicBezTo>
                      <a:pt x="283012" y="249864"/>
                      <a:pt x="313434" y="234653"/>
                      <a:pt x="313434" y="234653"/>
                    </a:cubicBezTo>
                    <a:lnTo>
                      <a:pt x="346898" y="140343"/>
                    </a:ln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7D8B94AD-6020-46AB-877E-9738A4CDDF58}"/>
                  </a:ext>
                </a:extLst>
              </p:cNvPr>
              <p:cNvSpPr/>
              <p:nvPr/>
            </p:nvSpPr>
            <p:spPr>
              <a:xfrm>
                <a:off x="24374285" y="3216506"/>
                <a:ext cx="314888" cy="97691"/>
              </a:xfrm>
              <a:custGeom>
                <a:avLst/>
                <a:gdLst>
                  <a:gd name="connsiteX0" fmla="*/ 310648 w 314888"/>
                  <a:gd name="connsiteY0" fmla="*/ 97692 h 97691"/>
                  <a:gd name="connsiteX1" fmla="*/ 304565 w 314888"/>
                  <a:gd name="connsiteY1" fmla="*/ 94649 h 97691"/>
                  <a:gd name="connsiteX2" fmla="*/ 234592 w 314888"/>
                  <a:gd name="connsiteY2" fmla="*/ 21635 h 97691"/>
                  <a:gd name="connsiteX3" fmla="*/ 30762 w 314888"/>
                  <a:gd name="connsiteY3" fmla="*/ 18593 h 97691"/>
                  <a:gd name="connsiteX4" fmla="*/ 15551 w 314888"/>
                  <a:gd name="connsiteY4" fmla="*/ 27720 h 97691"/>
                  <a:gd name="connsiteX5" fmla="*/ 73353 w 314888"/>
                  <a:gd name="connsiteY5" fmla="*/ 39889 h 97691"/>
                  <a:gd name="connsiteX6" fmla="*/ 79437 w 314888"/>
                  <a:gd name="connsiteY6" fmla="*/ 45973 h 97691"/>
                  <a:gd name="connsiteX7" fmla="*/ 73353 w 314888"/>
                  <a:gd name="connsiteY7" fmla="*/ 52058 h 97691"/>
                  <a:gd name="connsiteX8" fmla="*/ 340 w 314888"/>
                  <a:gd name="connsiteY8" fmla="*/ 30762 h 97691"/>
                  <a:gd name="connsiteX9" fmla="*/ 21634 w 314888"/>
                  <a:gd name="connsiteY9" fmla="*/ 9466 h 97691"/>
                  <a:gd name="connsiteX10" fmla="*/ 231550 w 314888"/>
                  <a:gd name="connsiteY10" fmla="*/ 12509 h 97691"/>
                  <a:gd name="connsiteX11" fmla="*/ 307606 w 314888"/>
                  <a:gd name="connsiteY11" fmla="*/ 94649 h 97691"/>
                  <a:gd name="connsiteX12" fmla="*/ 310648 w 314888"/>
                  <a:gd name="connsiteY12" fmla="*/ 97692 h 97691"/>
                  <a:gd name="connsiteX13" fmla="*/ 310648 w 314888"/>
                  <a:gd name="connsiteY13" fmla="*/ 97692 h 97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14888" h="97691">
                    <a:moveTo>
                      <a:pt x="310648" y="97692"/>
                    </a:moveTo>
                    <a:cubicBezTo>
                      <a:pt x="307606" y="97692"/>
                      <a:pt x="307606" y="97692"/>
                      <a:pt x="304565" y="94649"/>
                    </a:cubicBezTo>
                    <a:cubicBezTo>
                      <a:pt x="304565" y="94649"/>
                      <a:pt x="271099" y="27720"/>
                      <a:pt x="234592" y="21635"/>
                    </a:cubicBezTo>
                    <a:cubicBezTo>
                      <a:pt x="198086" y="15551"/>
                      <a:pt x="79437" y="3382"/>
                      <a:pt x="30762" y="18593"/>
                    </a:cubicBezTo>
                    <a:cubicBezTo>
                      <a:pt x="18592" y="21635"/>
                      <a:pt x="15551" y="27720"/>
                      <a:pt x="15551" y="27720"/>
                    </a:cubicBezTo>
                    <a:cubicBezTo>
                      <a:pt x="18592" y="33804"/>
                      <a:pt x="49015" y="39889"/>
                      <a:pt x="73353" y="39889"/>
                    </a:cubicBezTo>
                    <a:cubicBezTo>
                      <a:pt x="76396" y="39889"/>
                      <a:pt x="79437" y="42931"/>
                      <a:pt x="79437" y="45973"/>
                    </a:cubicBezTo>
                    <a:cubicBezTo>
                      <a:pt x="79437" y="49016"/>
                      <a:pt x="76396" y="52058"/>
                      <a:pt x="73353" y="52058"/>
                    </a:cubicBezTo>
                    <a:cubicBezTo>
                      <a:pt x="52056" y="55100"/>
                      <a:pt x="6423" y="49016"/>
                      <a:pt x="340" y="30762"/>
                    </a:cubicBezTo>
                    <a:cubicBezTo>
                      <a:pt x="-2704" y="18593"/>
                      <a:pt x="15551" y="12509"/>
                      <a:pt x="21634" y="9466"/>
                    </a:cubicBezTo>
                    <a:cubicBezTo>
                      <a:pt x="70311" y="-8787"/>
                      <a:pt x="192001" y="3382"/>
                      <a:pt x="231550" y="12509"/>
                    </a:cubicBezTo>
                    <a:cubicBezTo>
                      <a:pt x="274142" y="21635"/>
                      <a:pt x="307606" y="91607"/>
                      <a:pt x="307606" y="94649"/>
                    </a:cubicBezTo>
                    <a:cubicBezTo>
                      <a:pt x="316733" y="91607"/>
                      <a:pt x="316733" y="94649"/>
                      <a:pt x="310648" y="97692"/>
                    </a:cubicBezTo>
                    <a:cubicBezTo>
                      <a:pt x="313691" y="97692"/>
                      <a:pt x="310648" y="97692"/>
                      <a:pt x="310648" y="9769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9C66FE4C-4BE8-4454-B0C9-5D5AD4CAFF0D}"/>
                  </a:ext>
                </a:extLst>
              </p:cNvPr>
              <p:cNvSpPr/>
              <p:nvPr/>
            </p:nvSpPr>
            <p:spPr>
              <a:xfrm>
                <a:off x="24548031" y="3248029"/>
                <a:ext cx="41831" cy="87464"/>
              </a:xfrm>
              <a:custGeom>
                <a:avLst/>
                <a:gdLst>
                  <a:gd name="connsiteX0" fmla="*/ 6085 w 41831"/>
                  <a:gd name="connsiteY0" fmla="*/ 87465 h 87464"/>
                  <a:gd name="connsiteX1" fmla="*/ 6085 w 41831"/>
                  <a:gd name="connsiteY1" fmla="*/ 87465 h 87464"/>
                  <a:gd name="connsiteX2" fmla="*/ 0 w 41831"/>
                  <a:gd name="connsiteY2" fmla="*/ 81380 h 87464"/>
                  <a:gd name="connsiteX3" fmla="*/ 30423 w 41831"/>
                  <a:gd name="connsiteY3" fmla="*/ 2282 h 87464"/>
                  <a:gd name="connsiteX4" fmla="*/ 39551 w 41831"/>
                  <a:gd name="connsiteY4" fmla="*/ 2282 h 87464"/>
                  <a:gd name="connsiteX5" fmla="*/ 39551 w 41831"/>
                  <a:gd name="connsiteY5" fmla="*/ 11408 h 87464"/>
                  <a:gd name="connsiteX6" fmla="*/ 9128 w 41831"/>
                  <a:gd name="connsiteY6" fmla="*/ 84423 h 87464"/>
                  <a:gd name="connsiteX7" fmla="*/ 6085 w 41831"/>
                  <a:gd name="connsiteY7" fmla="*/ 87465 h 87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831" h="87464">
                    <a:moveTo>
                      <a:pt x="6085" y="87465"/>
                    </a:moveTo>
                    <a:cubicBezTo>
                      <a:pt x="6085" y="87465"/>
                      <a:pt x="6085" y="87465"/>
                      <a:pt x="6085" y="87465"/>
                    </a:cubicBezTo>
                    <a:cubicBezTo>
                      <a:pt x="3043" y="87465"/>
                      <a:pt x="0" y="84423"/>
                      <a:pt x="0" y="81380"/>
                    </a:cubicBezTo>
                    <a:cubicBezTo>
                      <a:pt x="3043" y="41831"/>
                      <a:pt x="30423" y="2282"/>
                      <a:pt x="30423" y="2282"/>
                    </a:cubicBezTo>
                    <a:cubicBezTo>
                      <a:pt x="33466" y="-761"/>
                      <a:pt x="36507" y="-761"/>
                      <a:pt x="39551" y="2282"/>
                    </a:cubicBezTo>
                    <a:cubicBezTo>
                      <a:pt x="42592" y="5324"/>
                      <a:pt x="42592" y="8366"/>
                      <a:pt x="39551" y="11408"/>
                    </a:cubicBezTo>
                    <a:cubicBezTo>
                      <a:pt x="39551" y="11408"/>
                      <a:pt x="12170" y="47916"/>
                      <a:pt x="9128" y="84423"/>
                    </a:cubicBezTo>
                    <a:cubicBezTo>
                      <a:pt x="12170" y="84423"/>
                      <a:pt x="9128" y="87465"/>
                      <a:pt x="6085" y="8746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4414FCA0-D7EA-4F04-A983-B42D984DDF02}"/>
                  </a:ext>
                </a:extLst>
              </p:cNvPr>
              <p:cNvSpPr/>
              <p:nvPr/>
            </p:nvSpPr>
            <p:spPr>
              <a:xfrm>
                <a:off x="24367279" y="3254374"/>
                <a:ext cx="202048" cy="71992"/>
              </a:xfrm>
              <a:custGeom>
                <a:avLst/>
                <a:gdLst>
                  <a:gd name="connsiteX0" fmla="*/ 31683 w 202048"/>
                  <a:gd name="connsiteY0" fmla="*/ 71993 h 71992"/>
                  <a:gd name="connsiteX1" fmla="*/ 4302 w 202048"/>
                  <a:gd name="connsiteY1" fmla="*/ 59823 h 71992"/>
                  <a:gd name="connsiteX2" fmla="*/ 1261 w 202048"/>
                  <a:gd name="connsiteY2" fmla="*/ 44612 h 71992"/>
                  <a:gd name="connsiteX3" fmla="*/ 43851 w 202048"/>
                  <a:gd name="connsiteY3" fmla="*/ 11147 h 71992"/>
                  <a:gd name="connsiteX4" fmla="*/ 195964 w 202048"/>
                  <a:gd name="connsiteY4" fmla="*/ 8105 h 71992"/>
                  <a:gd name="connsiteX5" fmla="*/ 202049 w 202048"/>
                  <a:gd name="connsiteY5" fmla="*/ 14190 h 71992"/>
                  <a:gd name="connsiteX6" fmla="*/ 195964 w 202048"/>
                  <a:gd name="connsiteY6" fmla="*/ 20274 h 71992"/>
                  <a:gd name="connsiteX7" fmla="*/ 49936 w 202048"/>
                  <a:gd name="connsiteY7" fmla="*/ 23316 h 71992"/>
                  <a:gd name="connsiteX8" fmla="*/ 13429 w 202048"/>
                  <a:gd name="connsiteY8" fmla="*/ 50697 h 71992"/>
                  <a:gd name="connsiteX9" fmla="*/ 13429 w 202048"/>
                  <a:gd name="connsiteY9" fmla="*/ 56781 h 71992"/>
                  <a:gd name="connsiteX10" fmla="*/ 43851 w 202048"/>
                  <a:gd name="connsiteY10" fmla="*/ 59823 h 71992"/>
                  <a:gd name="connsiteX11" fmla="*/ 177711 w 202048"/>
                  <a:gd name="connsiteY11" fmla="*/ 38528 h 71992"/>
                  <a:gd name="connsiteX12" fmla="*/ 183796 w 202048"/>
                  <a:gd name="connsiteY12" fmla="*/ 44612 h 71992"/>
                  <a:gd name="connsiteX13" fmla="*/ 177711 w 202048"/>
                  <a:gd name="connsiteY13" fmla="*/ 50697 h 71992"/>
                  <a:gd name="connsiteX14" fmla="*/ 46894 w 202048"/>
                  <a:gd name="connsiteY14" fmla="*/ 71993 h 71992"/>
                  <a:gd name="connsiteX15" fmla="*/ 31683 w 202048"/>
                  <a:gd name="connsiteY15" fmla="*/ 71993 h 71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2048" h="71992">
                    <a:moveTo>
                      <a:pt x="31683" y="71993"/>
                    </a:moveTo>
                    <a:cubicBezTo>
                      <a:pt x="19513" y="71993"/>
                      <a:pt x="10387" y="65908"/>
                      <a:pt x="4302" y="59823"/>
                    </a:cubicBezTo>
                    <a:cubicBezTo>
                      <a:pt x="1261" y="53739"/>
                      <a:pt x="-1783" y="50697"/>
                      <a:pt x="1261" y="44612"/>
                    </a:cubicBezTo>
                    <a:cubicBezTo>
                      <a:pt x="4302" y="32443"/>
                      <a:pt x="19513" y="20274"/>
                      <a:pt x="43851" y="11147"/>
                    </a:cubicBezTo>
                    <a:cubicBezTo>
                      <a:pt x="92528" y="-10148"/>
                      <a:pt x="189881" y="5063"/>
                      <a:pt x="195964" y="8105"/>
                    </a:cubicBezTo>
                    <a:cubicBezTo>
                      <a:pt x="199007" y="8105"/>
                      <a:pt x="202049" y="11147"/>
                      <a:pt x="202049" y="14190"/>
                    </a:cubicBezTo>
                    <a:cubicBezTo>
                      <a:pt x="202049" y="17232"/>
                      <a:pt x="199007" y="20274"/>
                      <a:pt x="195964" y="20274"/>
                    </a:cubicBezTo>
                    <a:cubicBezTo>
                      <a:pt x="195964" y="20274"/>
                      <a:pt x="95570" y="5063"/>
                      <a:pt x="49936" y="23316"/>
                    </a:cubicBezTo>
                    <a:cubicBezTo>
                      <a:pt x="19513" y="35485"/>
                      <a:pt x="13429" y="44612"/>
                      <a:pt x="13429" y="50697"/>
                    </a:cubicBezTo>
                    <a:cubicBezTo>
                      <a:pt x="13429" y="53739"/>
                      <a:pt x="13429" y="56781"/>
                      <a:pt x="13429" y="56781"/>
                    </a:cubicBezTo>
                    <a:cubicBezTo>
                      <a:pt x="16472" y="59823"/>
                      <a:pt x="28640" y="68950"/>
                      <a:pt x="43851" y="59823"/>
                    </a:cubicBezTo>
                    <a:cubicBezTo>
                      <a:pt x="65147" y="50697"/>
                      <a:pt x="119907" y="32443"/>
                      <a:pt x="177711" y="38528"/>
                    </a:cubicBezTo>
                    <a:cubicBezTo>
                      <a:pt x="180753" y="38528"/>
                      <a:pt x="183796" y="41570"/>
                      <a:pt x="183796" y="44612"/>
                    </a:cubicBezTo>
                    <a:cubicBezTo>
                      <a:pt x="183796" y="47655"/>
                      <a:pt x="180753" y="50697"/>
                      <a:pt x="177711" y="50697"/>
                    </a:cubicBezTo>
                    <a:cubicBezTo>
                      <a:pt x="119907" y="47655"/>
                      <a:pt x="65147" y="62866"/>
                      <a:pt x="46894" y="71993"/>
                    </a:cubicBezTo>
                    <a:cubicBezTo>
                      <a:pt x="43851" y="68950"/>
                      <a:pt x="37768" y="71993"/>
                      <a:pt x="31683" y="7199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AA30CD52-E310-4D05-BA57-87D1F9AA2421}"/>
                  </a:ext>
                </a:extLst>
              </p:cNvPr>
              <p:cNvSpPr/>
              <p:nvPr/>
            </p:nvSpPr>
            <p:spPr>
              <a:xfrm>
                <a:off x="24416625" y="3326367"/>
                <a:ext cx="136730" cy="60845"/>
              </a:xfrm>
              <a:custGeom>
                <a:avLst/>
                <a:gdLst>
                  <a:gd name="connsiteX0" fmla="*/ 18844 w 136730"/>
                  <a:gd name="connsiteY0" fmla="*/ 60845 h 60845"/>
                  <a:gd name="connsiteX1" fmla="*/ 18844 w 136730"/>
                  <a:gd name="connsiteY1" fmla="*/ 60845 h 60845"/>
                  <a:gd name="connsiteX2" fmla="*/ 589 w 136730"/>
                  <a:gd name="connsiteY2" fmla="*/ 51718 h 60845"/>
                  <a:gd name="connsiteX3" fmla="*/ 18844 w 136730"/>
                  <a:gd name="connsiteY3" fmla="*/ 21296 h 60845"/>
                  <a:gd name="connsiteX4" fmla="*/ 116195 w 136730"/>
                  <a:gd name="connsiteY4" fmla="*/ 0 h 60845"/>
                  <a:gd name="connsiteX5" fmla="*/ 122280 w 136730"/>
                  <a:gd name="connsiteY5" fmla="*/ 6085 h 60845"/>
                  <a:gd name="connsiteX6" fmla="*/ 116195 w 136730"/>
                  <a:gd name="connsiteY6" fmla="*/ 12169 h 60845"/>
                  <a:gd name="connsiteX7" fmla="*/ 24927 w 136730"/>
                  <a:gd name="connsiteY7" fmla="*/ 30423 h 60845"/>
                  <a:gd name="connsiteX8" fmla="*/ 12759 w 136730"/>
                  <a:gd name="connsiteY8" fmla="*/ 45634 h 60845"/>
                  <a:gd name="connsiteX9" fmla="*/ 18844 w 136730"/>
                  <a:gd name="connsiteY9" fmla="*/ 48676 h 60845"/>
                  <a:gd name="connsiteX10" fmla="*/ 18844 w 136730"/>
                  <a:gd name="connsiteY10" fmla="*/ 48676 h 60845"/>
                  <a:gd name="connsiteX11" fmla="*/ 46223 w 136730"/>
                  <a:gd name="connsiteY11" fmla="*/ 45634 h 60845"/>
                  <a:gd name="connsiteX12" fmla="*/ 134449 w 136730"/>
                  <a:gd name="connsiteY12" fmla="*/ 48676 h 60845"/>
                  <a:gd name="connsiteX13" fmla="*/ 134449 w 136730"/>
                  <a:gd name="connsiteY13" fmla="*/ 57803 h 60845"/>
                  <a:gd name="connsiteX14" fmla="*/ 125323 w 136730"/>
                  <a:gd name="connsiteY14" fmla="*/ 57803 h 60845"/>
                  <a:gd name="connsiteX15" fmla="*/ 49267 w 136730"/>
                  <a:gd name="connsiteY15" fmla="*/ 57803 h 60845"/>
                  <a:gd name="connsiteX16" fmla="*/ 18844 w 136730"/>
                  <a:gd name="connsiteY16" fmla="*/ 60845 h 60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6730" h="60845">
                    <a:moveTo>
                      <a:pt x="18844" y="60845"/>
                    </a:moveTo>
                    <a:lnTo>
                      <a:pt x="18844" y="60845"/>
                    </a:lnTo>
                    <a:cubicBezTo>
                      <a:pt x="6674" y="60845"/>
                      <a:pt x="589" y="54761"/>
                      <a:pt x="589" y="51718"/>
                    </a:cubicBezTo>
                    <a:cubicBezTo>
                      <a:pt x="-2452" y="42591"/>
                      <a:pt x="6674" y="30423"/>
                      <a:pt x="18844" y="21296"/>
                    </a:cubicBezTo>
                    <a:cubicBezTo>
                      <a:pt x="37097" y="9127"/>
                      <a:pt x="107068" y="0"/>
                      <a:pt x="116195" y="0"/>
                    </a:cubicBezTo>
                    <a:cubicBezTo>
                      <a:pt x="119238" y="0"/>
                      <a:pt x="122280" y="3042"/>
                      <a:pt x="122280" y="6085"/>
                    </a:cubicBezTo>
                    <a:cubicBezTo>
                      <a:pt x="122280" y="9127"/>
                      <a:pt x="119238" y="12169"/>
                      <a:pt x="116195" y="12169"/>
                    </a:cubicBezTo>
                    <a:cubicBezTo>
                      <a:pt x="85772" y="15211"/>
                      <a:pt x="37097" y="24338"/>
                      <a:pt x="24927" y="30423"/>
                    </a:cubicBezTo>
                    <a:cubicBezTo>
                      <a:pt x="15801" y="36507"/>
                      <a:pt x="12759" y="45634"/>
                      <a:pt x="12759" y="45634"/>
                    </a:cubicBezTo>
                    <a:cubicBezTo>
                      <a:pt x="12759" y="45634"/>
                      <a:pt x="15801" y="48676"/>
                      <a:pt x="18844" y="48676"/>
                    </a:cubicBezTo>
                    <a:lnTo>
                      <a:pt x="18844" y="48676"/>
                    </a:lnTo>
                    <a:cubicBezTo>
                      <a:pt x="24927" y="48676"/>
                      <a:pt x="34055" y="48676"/>
                      <a:pt x="46223" y="45634"/>
                    </a:cubicBezTo>
                    <a:cubicBezTo>
                      <a:pt x="88815" y="39549"/>
                      <a:pt x="122280" y="36507"/>
                      <a:pt x="134449" y="48676"/>
                    </a:cubicBezTo>
                    <a:cubicBezTo>
                      <a:pt x="137491" y="51718"/>
                      <a:pt x="137491" y="54761"/>
                      <a:pt x="134449" y="57803"/>
                    </a:cubicBezTo>
                    <a:cubicBezTo>
                      <a:pt x="131406" y="60845"/>
                      <a:pt x="128364" y="60845"/>
                      <a:pt x="125323" y="57803"/>
                    </a:cubicBezTo>
                    <a:cubicBezTo>
                      <a:pt x="116195" y="48676"/>
                      <a:pt x="73604" y="54761"/>
                      <a:pt x="49267" y="57803"/>
                    </a:cubicBezTo>
                    <a:cubicBezTo>
                      <a:pt x="34055" y="60845"/>
                      <a:pt x="24927" y="60845"/>
                      <a:pt x="18844" y="6084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05AAB267-364C-4E16-998B-75F5CF7E5524}"/>
                </a:ext>
              </a:extLst>
            </p:cNvPr>
            <p:cNvSpPr/>
            <p:nvPr/>
          </p:nvSpPr>
          <p:spPr>
            <a:xfrm>
              <a:off x="24952652" y="2835319"/>
              <a:ext cx="392727" cy="408906"/>
            </a:xfrm>
            <a:custGeom>
              <a:avLst/>
              <a:gdLst>
                <a:gd name="connsiteX0" fmla="*/ 365070 w 392727"/>
                <a:gd name="connsiteY0" fmla="*/ 408907 h 408906"/>
                <a:gd name="connsiteX1" fmla="*/ 307267 w 392727"/>
                <a:gd name="connsiteY1" fmla="*/ 10371 h 408906"/>
                <a:gd name="connsiteX2" fmla="*/ 0 w 392727"/>
                <a:gd name="connsiteY2" fmla="*/ 326766 h 408906"/>
                <a:gd name="connsiteX3" fmla="*/ 365070 w 392727"/>
                <a:gd name="connsiteY3" fmla="*/ 408907 h 408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2727" h="408906">
                  <a:moveTo>
                    <a:pt x="365070" y="408907"/>
                  </a:moveTo>
                  <a:cubicBezTo>
                    <a:pt x="425916" y="235498"/>
                    <a:pt x="377238" y="49921"/>
                    <a:pt x="307267" y="10371"/>
                  </a:cubicBezTo>
                  <a:cubicBezTo>
                    <a:pt x="215999" y="-44389"/>
                    <a:pt x="45634" y="125977"/>
                    <a:pt x="0" y="326766"/>
                  </a:cubicBezTo>
                  <a:cubicBezTo>
                    <a:pt x="51717" y="381526"/>
                    <a:pt x="261633" y="405864"/>
                    <a:pt x="365070" y="408907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40B84F7E-5595-479A-B351-1D8DC73E7A01}"/>
                </a:ext>
              </a:extLst>
            </p:cNvPr>
            <p:cNvSpPr/>
            <p:nvPr/>
          </p:nvSpPr>
          <p:spPr>
            <a:xfrm>
              <a:off x="24946567" y="2822063"/>
              <a:ext cx="290273" cy="394782"/>
            </a:xfrm>
            <a:custGeom>
              <a:avLst/>
              <a:gdLst>
                <a:gd name="connsiteX0" fmla="*/ 142986 w 290273"/>
                <a:gd name="connsiteY0" fmla="*/ 394782 h 394782"/>
                <a:gd name="connsiteX1" fmla="*/ 142986 w 290273"/>
                <a:gd name="connsiteY1" fmla="*/ 394782 h 394782"/>
                <a:gd name="connsiteX2" fmla="*/ 0 w 290273"/>
                <a:gd name="connsiteY2" fmla="*/ 340022 h 394782"/>
                <a:gd name="connsiteX3" fmla="*/ 0 w 290273"/>
                <a:gd name="connsiteY3" fmla="*/ 340022 h 394782"/>
                <a:gd name="connsiteX4" fmla="*/ 0 w 290273"/>
                <a:gd name="connsiteY4" fmla="*/ 336980 h 394782"/>
                <a:gd name="connsiteX5" fmla="*/ 215999 w 290273"/>
                <a:gd name="connsiteY5" fmla="*/ 17543 h 394782"/>
                <a:gd name="connsiteX6" fmla="*/ 285971 w 290273"/>
                <a:gd name="connsiteY6" fmla="*/ 2332 h 394782"/>
                <a:gd name="connsiteX7" fmla="*/ 289014 w 290273"/>
                <a:gd name="connsiteY7" fmla="*/ 8416 h 394782"/>
                <a:gd name="connsiteX8" fmla="*/ 282929 w 290273"/>
                <a:gd name="connsiteY8" fmla="*/ 11458 h 394782"/>
                <a:gd name="connsiteX9" fmla="*/ 222084 w 290273"/>
                <a:gd name="connsiteY9" fmla="*/ 23627 h 394782"/>
                <a:gd name="connsiteX10" fmla="*/ 12168 w 290273"/>
                <a:gd name="connsiteY10" fmla="*/ 333937 h 394782"/>
                <a:gd name="connsiteX11" fmla="*/ 142986 w 290273"/>
                <a:gd name="connsiteY11" fmla="*/ 379571 h 394782"/>
                <a:gd name="connsiteX12" fmla="*/ 146028 w 290273"/>
                <a:gd name="connsiteY12" fmla="*/ 385656 h 394782"/>
                <a:gd name="connsiteX13" fmla="*/ 142986 w 290273"/>
                <a:gd name="connsiteY13" fmla="*/ 394782 h 394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273" h="394782">
                  <a:moveTo>
                    <a:pt x="142986" y="394782"/>
                  </a:moveTo>
                  <a:cubicBezTo>
                    <a:pt x="142986" y="394782"/>
                    <a:pt x="139943" y="394782"/>
                    <a:pt x="142986" y="394782"/>
                  </a:cubicBezTo>
                  <a:cubicBezTo>
                    <a:pt x="18253" y="370444"/>
                    <a:pt x="3042" y="346106"/>
                    <a:pt x="0" y="340022"/>
                  </a:cubicBezTo>
                  <a:lnTo>
                    <a:pt x="0" y="340022"/>
                  </a:lnTo>
                  <a:lnTo>
                    <a:pt x="0" y="336980"/>
                  </a:lnTo>
                  <a:cubicBezTo>
                    <a:pt x="21296" y="236585"/>
                    <a:pt x="124732" y="69261"/>
                    <a:pt x="215999" y="17543"/>
                  </a:cubicBezTo>
                  <a:cubicBezTo>
                    <a:pt x="243380" y="2332"/>
                    <a:pt x="267718" y="-3753"/>
                    <a:pt x="285971" y="2332"/>
                  </a:cubicBezTo>
                  <a:cubicBezTo>
                    <a:pt x="289014" y="2332"/>
                    <a:pt x="292056" y="5374"/>
                    <a:pt x="289014" y="8416"/>
                  </a:cubicBezTo>
                  <a:cubicBezTo>
                    <a:pt x="289014" y="11458"/>
                    <a:pt x="285971" y="14501"/>
                    <a:pt x="282929" y="11458"/>
                  </a:cubicBezTo>
                  <a:cubicBezTo>
                    <a:pt x="264676" y="5374"/>
                    <a:pt x="243380" y="11458"/>
                    <a:pt x="222084" y="23627"/>
                  </a:cubicBezTo>
                  <a:cubicBezTo>
                    <a:pt x="136901" y="75346"/>
                    <a:pt x="36507" y="236585"/>
                    <a:pt x="12168" y="333937"/>
                  </a:cubicBezTo>
                  <a:cubicBezTo>
                    <a:pt x="15211" y="336980"/>
                    <a:pt x="39549" y="358275"/>
                    <a:pt x="142986" y="379571"/>
                  </a:cubicBezTo>
                  <a:cubicBezTo>
                    <a:pt x="146028" y="379571"/>
                    <a:pt x="149069" y="382613"/>
                    <a:pt x="146028" y="385656"/>
                  </a:cubicBezTo>
                  <a:cubicBezTo>
                    <a:pt x="146028" y="394782"/>
                    <a:pt x="146028" y="394782"/>
                    <a:pt x="142986" y="394782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70" name="图形 1">
            <a:extLst>
              <a:ext uri="{FF2B5EF4-FFF2-40B4-BE49-F238E27FC236}">
                <a16:creationId xmlns:a16="http://schemas.microsoft.com/office/drawing/2014/main" id="{2851DF6F-F0C9-443E-92CE-6E1E51090B37}"/>
              </a:ext>
            </a:extLst>
          </p:cNvPr>
          <p:cNvGrpSpPr/>
          <p:nvPr/>
        </p:nvGrpSpPr>
        <p:grpSpPr>
          <a:xfrm>
            <a:off x="2835075" y="2103470"/>
            <a:ext cx="3596785" cy="4754529"/>
            <a:chOff x="19618739" y="1769245"/>
            <a:chExt cx="3596785" cy="4754529"/>
          </a:xfrm>
        </p:grpSpPr>
        <p:grpSp>
          <p:nvGrpSpPr>
            <p:cNvPr id="71" name="图形 1">
              <a:extLst>
                <a:ext uri="{FF2B5EF4-FFF2-40B4-BE49-F238E27FC236}">
                  <a16:creationId xmlns:a16="http://schemas.microsoft.com/office/drawing/2014/main" id="{DD519A3A-6102-4F65-8160-AE6E43CC2953}"/>
                </a:ext>
              </a:extLst>
            </p:cNvPr>
            <p:cNvGrpSpPr/>
            <p:nvPr/>
          </p:nvGrpSpPr>
          <p:grpSpPr>
            <a:xfrm>
              <a:off x="19618739" y="2605276"/>
              <a:ext cx="1070391" cy="1259798"/>
              <a:chOff x="19618739" y="2605276"/>
              <a:chExt cx="1070391" cy="1259798"/>
            </a:xfrm>
          </p:grpSpPr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F17058AC-45DE-4849-9645-72238CC6F088}"/>
                  </a:ext>
                </a:extLst>
              </p:cNvPr>
              <p:cNvSpPr/>
              <p:nvPr/>
            </p:nvSpPr>
            <p:spPr>
              <a:xfrm>
                <a:off x="19694254" y="2605276"/>
                <a:ext cx="994876" cy="1259798"/>
              </a:xfrm>
              <a:custGeom>
                <a:avLst/>
                <a:gdLst>
                  <a:gd name="connsiteX0" fmla="*/ 965777 w 994876"/>
                  <a:gd name="connsiteY0" fmla="*/ 371231 h 1259798"/>
                  <a:gd name="connsiteX1" fmla="*/ 816708 w 994876"/>
                  <a:gd name="connsiteY1" fmla="*/ 88302 h 1259798"/>
                  <a:gd name="connsiteX2" fmla="*/ 448594 w 994876"/>
                  <a:gd name="connsiteY2" fmla="*/ 3119 h 1259798"/>
                  <a:gd name="connsiteX3" fmla="*/ 159580 w 994876"/>
                  <a:gd name="connsiteY3" fmla="*/ 225203 h 1259798"/>
                  <a:gd name="connsiteX4" fmla="*/ 31805 w 994876"/>
                  <a:gd name="connsiteY4" fmla="*/ 1077034 h 1259798"/>
                  <a:gd name="connsiteX5" fmla="*/ 378623 w 994876"/>
                  <a:gd name="connsiteY5" fmla="*/ 1259570 h 1259798"/>
                  <a:gd name="connsiteX6" fmla="*/ 984032 w 994876"/>
                  <a:gd name="connsiteY6" fmla="*/ 742386 h 1259798"/>
                  <a:gd name="connsiteX7" fmla="*/ 965777 w 994876"/>
                  <a:gd name="connsiteY7" fmla="*/ 371231 h 1259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4876" h="1259798">
                    <a:moveTo>
                      <a:pt x="965777" y="371231"/>
                    </a:moveTo>
                    <a:cubicBezTo>
                      <a:pt x="941440" y="261710"/>
                      <a:pt x="895806" y="155231"/>
                      <a:pt x="816708" y="88302"/>
                    </a:cubicBezTo>
                    <a:cubicBezTo>
                      <a:pt x="713271" y="76"/>
                      <a:pt x="573328" y="-6008"/>
                      <a:pt x="448594" y="3119"/>
                    </a:cubicBezTo>
                    <a:cubicBezTo>
                      <a:pt x="326904" y="12245"/>
                      <a:pt x="205214" y="143062"/>
                      <a:pt x="159580" y="225203"/>
                    </a:cubicBezTo>
                    <a:cubicBezTo>
                      <a:pt x="56144" y="422950"/>
                      <a:pt x="-56419" y="800189"/>
                      <a:pt x="31805" y="1077034"/>
                    </a:cubicBezTo>
                    <a:cubicBezTo>
                      <a:pt x="68312" y="1186555"/>
                      <a:pt x="281270" y="1250443"/>
                      <a:pt x="378623" y="1259570"/>
                    </a:cubicBezTo>
                    <a:cubicBezTo>
                      <a:pt x="515524" y="1268696"/>
                      <a:pt x="938398" y="1004020"/>
                      <a:pt x="984032" y="742386"/>
                    </a:cubicBezTo>
                    <a:cubicBezTo>
                      <a:pt x="1005326" y="620696"/>
                      <a:pt x="993158" y="489879"/>
                      <a:pt x="965777" y="371231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397941A8-B0B6-4121-B7E9-C9BAE85773E4}"/>
                  </a:ext>
                </a:extLst>
              </p:cNvPr>
              <p:cNvSpPr/>
              <p:nvPr/>
            </p:nvSpPr>
            <p:spPr>
              <a:xfrm>
                <a:off x="19623325" y="3299824"/>
                <a:ext cx="178790" cy="390598"/>
              </a:xfrm>
              <a:custGeom>
                <a:avLst/>
                <a:gdLst>
                  <a:gd name="connsiteX0" fmla="*/ 178791 w 178790"/>
                  <a:gd name="connsiteY0" fmla="*/ 26543 h 390598"/>
                  <a:gd name="connsiteX1" fmla="*/ 178791 w 178790"/>
                  <a:gd name="connsiteY1" fmla="*/ 382486 h 390598"/>
                  <a:gd name="connsiteX2" fmla="*/ 44933 w 178790"/>
                  <a:gd name="connsiteY2" fmla="*/ 382486 h 390598"/>
                  <a:gd name="connsiteX3" fmla="*/ 17552 w 178790"/>
                  <a:gd name="connsiteY3" fmla="*/ 26543 h 390598"/>
                  <a:gd name="connsiteX4" fmla="*/ 178791 w 178790"/>
                  <a:gd name="connsiteY4" fmla="*/ 26543 h 390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8790" h="390598">
                    <a:moveTo>
                      <a:pt x="178791" y="26543"/>
                    </a:moveTo>
                    <a:cubicBezTo>
                      <a:pt x="178791" y="26543"/>
                      <a:pt x="139242" y="224289"/>
                      <a:pt x="178791" y="382486"/>
                    </a:cubicBezTo>
                    <a:cubicBezTo>
                      <a:pt x="178791" y="382486"/>
                      <a:pt x="93608" y="400740"/>
                      <a:pt x="44933" y="382486"/>
                    </a:cubicBezTo>
                    <a:cubicBezTo>
                      <a:pt x="-3745" y="364233"/>
                      <a:pt x="-12871" y="56965"/>
                      <a:pt x="17552" y="26543"/>
                    </a:cubicBezTo>
                    <a:cubicBezTo>
                      <a:pt x="47974" y="-838"/>
                      <a:pt x="148368" y="-16049"/>
                      <a:pt x="178791" y="26543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B01C9286-647D-47EE-9689-46D5EEBA42B8}"/>
                  </a:ext>
                </a:extLst>
              </p:cNvPr>
              <p:cNvSpPr/>
              <p:nvPr/>
            </p:nvSpPr>
            <p:spPr>
              <a:xfrm>
                <a:off x="19618739" y="3291336"/>
                <a:ext cx="189461" cy="403143"/>
              </a:xfrm>
              <a:custGeom>
                <a:avLst/>
                <a:gdLst>
                  <a:gd name="connsiteX0" fmla="*/ 104278 w 189461"/>
                  <a:gd name="connsiteY0" fmla="*/ 403144 h 403143"/>
                  <a:gd name="connsiteX1" fmla="*/ 46475 w 189461"/>
                  <a:gd name="connsiteY1" fmla="*/ 394017 h 403143"/>
                  <a:gd name="connsiteX2" fmla="*/ 13011 w 189461"/>
                  <a:gd name="connsiteY2" fmla="*/ 321003 h 403143"/>
                  <a:gd name="connsiteX3" fmla="*/ 19096 w 189461"/>
                  <a:gd name="connsiteY3" fmla="*/ 28947 h 403143"/>
                  <a:gd name="connsiteX4" fmla="*/ 131659 w 189461"/>
                  <a:gd name="connsiteY4" fmla="*/ 1566 h 403143"/>
                  <a:gd name="connsiteX5" fmla="*/ 189461 w 189461"/>
                  <a:gd name="connsiteY5" fmla="*/ 31989 h 403143"/>
                  <a:gd name="connsiteX6" fmla="*/ 189461 w 189461"/>
                  <a:gd name="connsiteY6" fmla="*/ 35031 h 403143"/>
                  <a:gd name="connsiteX7" fmla="*/ 189461 w 189461"/>
                  <a:gd name="connsiteY7" fmla="*/ 38073 h 403143"/>
                  <a:gd name="connsiteX8" fmla="*/ 183376 w 189461"/>
                  <a:gd name="connsiteY8" fmla="*/ 357510 h 403143"/>
                  <a:gd name="connsiteX9" fmla="*/ 177293 w 189461"/>
                  <a:gd name="connsiteY9" fmla="*/ 387932 h 403143"/>
                  <a:gd name="connsiteX10" fmla="*/ 149912 w 189461"/>
                  <a:gd name="connsiteY10" fmla="*/ 403144 h 403143"/>
                  <a:gd name="connsiteX11" fmla="*/ 104278 w 189461"/>
                  <a:gd name="connsiteY11" fmla="*/ 403144 h 403143"/>
                  <a:gd name="connsiteX12" fmla="*/ 113405 w 189461"/>
                  <a:gd name="connsiteY12" fmla="*/ 13735 h 403143"/>
                  <a:gd name="connsiteX13" fmla="*/ 25181 w 189461"/>
                  <a:gd name="connsiteY13" fmla="*/ 38073 h 403143"/>
                  <a:gd name="connsiteX14" fmla="*/ 22137 w 189461"/>
                  <a:gd name="connsiteY14" fmla="*/ 321003 h 403143"/>
                  <a:gd name="connsiteX15" fmla="*/ 49518 w 189461"/>
                  <a:gd name="connsiteY15" fmla="*/ 384890 h 403143"/>
                  <a:gd name="connsiteX16" fmla="*/ 146871 w 189461"/>
                  <a:gd name="connsiteY16" fmla="*/ 390975 h 403143"/>
                  <a:gd name="connsiteX17" fmla="*/ 165123 w 189461"/>
                  <a:gd name="connsiteY17" fmla="*/ 378806 h 403143"/>
                  <a:gd name="connsiteX18" fmla="*/ 171208 w 189461"/>
                  <a:gd name="connsiteY18" fmla="*/ 357510 h 403143"/>
                  <a:gd name="connsiteX19" fmla="*/ 177293 w 189461"/>
                  <a:gd name="connsiteY19" fmla="*/ 35031 h 403143"/>
                  <a:gd name="connsiteX20" fmla="*/ 128616 w 189461"/>
                  <a:gd name="connsiteY20" fmla="*/ 13735 h 403143"/>
                  <a:gd name="connsiteX21" fmla="*/ 113405 w 189461"/>
                  <a:gd name="connsiteY21" fmla="*/ 13735 h 403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89461" h="403143">
                    <a:moveTo>
                      <a:pt x="104278" y="403144"/>
                    </a:moveTo>
                    <a:cubicBezTo>
                      <a:pt x="82982" y="403144"/>
                      <a:pt x="61686" y="400101"/>
                      <a:pt x="46475" y="394017"/>
                    </a:cubicBezTo>
                    <a:cubicBezTo>
                      <a:pt x="31264" y="387932"/>
                      <a:pt x="19096" y="363594"/>
                      <a:pt x="13011" y="321003"/>
                    </a:cubicBezTo>
                    <a:cubicBezTo>
                      <a:pt x="-5242" y="226693"/>
                      <a:pt x="-5242" y="53285"/>
                      <a:pt x="19096" y="28947"/>
                    </a:cubicBezTo>
                    <a:cubicBezTo>
                      <a:pt x="40392" y="7651"/>
                      <a:pt x="89067" y="-4518"/>
                      <a:pt x="131659" y="1566"/>
                    </a:cubicBezTo>
                    <a:cubicBezTo>
                      <a:pt x="159039" y="4609"/>
                      <a:pt x="180335" y="13735"/>
                      <a:pt x="189461" y="31989"/>
                    </a:cubicBezTo>
                    <a:lnTo>
                      <a:pt x="189461" y="35031"/>
                    </a:lnTo>
                    <a:lnTo>
                      <a:pt x="189461" y="38073"/>
                    </a:lnTo>
                    <a:cubicBezTo>
                      <a:pt x="189461" y="41116"/>
                      <a:pt x="155997" y="211482"/>
                      <a:pt x="183376" y="357510"/>
                    </a:cubicBezTo>
                    <a:cubicBezTo>
                      <a:pt x="186420" y="366637"/>
                      <a:pt x="183376" y="378806"/>
                      <a:pt x="177293" y="387932"/>
                    </a:cubicBezTo>
                    <a:cubicBezTo>
                      <a:pt x="171208" y="397059"/>
                      <a:pt x="162082" y="403144"/>
                      <a:pt x="149912" y="403144"/>
                    </a:cubicBezTo>
                    <a:cubicBezTo>
                      <a:pt x="134701" y="403144"/>
                      <a:pt x="119490" y="403144"/>
                      <a:pt x="104278" y="403144"/>
                    </a:cubicBezTo>
                    <a:close/>
                    <a:moveTo>
                      <a:pt x="113405" y="13735"/>
                    </a:moveTo>
                    <a:cubicBezTo>
                      <a:pt x="79941" y="13735"/>
                      <a:pt x="43433" y="22862"/>
                      <a:pt x="25181" y="38073"/>
                    </a:cubicBezTo>
                    <a:cubicBezTo>
                      <a:pt x="6926" y="56327"/>
                      <a:pt x="841" y="220609"/>
                      <a:pt x="22137" y="321003"/>
                    </a:cubicBezTo>
                    <a:cubicBezTo>
                      <a:pt x="31264" y="372721"/>
                      <a:pt x="43433" y="381848"/>
                      <a:pt x="49518" y="384890"/>
                    </a:cubicBezTo>
                    <a:cubicBezTo>
                      <a:pt x="76897" y="394017"/>
                      <a:pt x="116448" y="394017"/>
                      <a:pt x="146871" y="390975"/>
                    </a:cubicBezTo>
                    <a:cubicBezTo>
                      <a:pt x="152954" y="390975"/>
                      <a:pt x="162082" y="384890"/>
                      <a:pt x="165123" y="378806"/>
                    </a:cubicBezTo>
                    <a:cubicBezTo>
                      <a:pt x="168165" y="372721"/>
                      <a:pt x="171208" y="366637"/>
                      <a:pt x="171208" y="357510"/>
                    </a:cubicBezTo>
                    <a:cubicBezTo>
                      <a:pt x="146871" y="217566"/>
                      <a:pt x="174250" y="56327"/>
                      <a:pt x="177293" y="35031"/>
                    </a:cubicBezTo>
                    <a:cubicBezTo>
                      <a:pt x="165123" y="19820"/>
                      <a:pt x="143827" y="13735"/>
                      <a:pt x="128616" y="13735"/>
                    </a:cubicBezTo>
                    <a:cubicBezTo>
                      <a:pt x="122531" y="13735"/>
                      <a:pt x="116448" y="13735"/>
                      <a:pt x="113405" y="1373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D93B6396-0BAD-4EC6-8F9E-4F352CB924AE}"/>
                  </a:ext>
                </a:extLst>
              </p:cNvPr>
              <p:cNvSpPr/>
              <p:nvPr/>
            </p:nvSpPr>
            <p:spPr>
              <a:xfrm>
                <a:off x="19668113" y="2808833"/>
                <a:ext cx="258735" cy="392801"/>
              </a:xfrm>
              <a:custGeom>
                <a:avLst/>
                <a:gdLst>
                  <a:gd name="connsiteX0" fmla="*/ 258736 w 258735"/>
                  <a:gd name="connsiteY0" fmla="*/ 61196 h 392801"/>
                  <a:gd name="connsiteX1" fmla="*/ 137046 w 258735"/>
                  <a:gd name="connsiteY1" fmla="*/ 392802 h 392801"/>
                  <a:gd name="connsiteX2" fmla="*/ 9271 w 258735"/>
                  <a:gd name="connsiteY2" fmla="*/ 347168 h 392801"/>
                  <a:gd name="connsiteX3" fmla="*/ 106623 w 258735"/>
                  <a:gd name="connsiteY3" fmla="*/ 6435 h 392801"/>
                  <a:gd name="connsiteX4" fmla="*/ 258736 w 258735"/>
                  <a:gd name="connsiteY4" fmla="*/ 61196 h 392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8735" h="392801">
                    <a:moveTo>
                      <a:pt x="258736" y="61196"/>
                    </a:moveTo>
                    <a:cubicBezTo>
                      <a:pt x="258736" y="61196"/>
                      <a:pt x="152257" y="234604"/>
                      <a:pt x="137046" y="392802"/>
                    </a:cubicBezTo>
                    <a:cubicBezTo>
                      <a:pt x="137046" y="392802"/>
                      <a:pt x="48820" y="380633"/>
                      <a:pt x="9271" y="347168"/>
                    </a:cubicBezTo>
                    <a:cubicBezTo>
                      <a:pt x="-30278" y="313703"/>
                      <a:pt x="67074" y="21647"/>
                      <a:pt x="106623" y="6435"/>
                    </a:cubicBezTo>
                    <a:cubicBezTo>
                      <a:pt x="146172" y="-11818"/>
                      <a:pt x="246566" y="9478"/>
                      <a:pt x="258736" y="61196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BF16BD23-EBA8-435A-B4AE-934C2E682EBC}"/>
                  </a:ext>
                </a:extLst>
              </p:cNvPr>
              <p:cNvSpPr/>
              <p:nvPr/>
            </p:nvSpPr>
            <p:spPr>
              <a:xfrm>
                <a:off x="19662173" y="2802853"/>
                <a:ext cx="270761" cy="398781"/>
              </a:xfrm>
              <a:custGeom>
                <a:avLst/>
                <a:gdLst>
                  <a:gd name="connsiteX0" fmla="*/ 115605 w 270761"/>
                  <a:gd name="connsiteY0" fmla="*/ 398782 h 398781"/>
                  <a:gd name="connsiteX1" fmla="*/ 106479 w 270761"/>
                  <a:gd name="connsiteY1" fmla="*/ 398782 h 398781"/>
                  <a:gd name="connsiteX2" fmla="*/ 12170 w 270761"/>
                  <a:gd name="connsiteY2" fmla="*/ 359232 h 398781"/>
                  <a:gd name="connsiteX3" fmla="*/ 3041 w 270761"/>
                  <a:gd name="connsiteY3" fmla="*/ 280134 h 398781"/>
                  <a:gd name="connsiteX4" fmla="*/ 109520 w 270761"/>
                  <a:gd name="connsiteY4" fmla="*/ 6331 h 398781"/>
                  <a:gd name="connsiteX5" fmla="*/ 225127 w 270761"/>
                  <a:gd name="connsiteY5" fmla="*/ 18500 h 398781"/>
                  <a:gd name="connsiteX6" fmla="*/ 270761 w 270761"/>
                  <a:gd name="connsiteY6" fmla="*/ 67176 h 398781"/>
                  <a:gd name="connsiteX7" fmla="*/ 270761 w 270761"/>
                  <a:gd name="connsiteY7" fmla="*/ 70218 h 398781"/>
                  <a:gd name="connsiteX8" fmla="*/ 270761 w 270761"/>
                  <a:gd name="connsiteY8" fmla="*/ 73261 h 398781"/>
                  <a:gd name="connsiteX9" fmla="*/ 155154 w 270761"/>
                  <a:gd name="connsiteY9" fmla="*/ 371402 h 398781"/>
                  <a:gd name="connsiteX10" fmla="*/ 139943 w 270761"/>
                  <a:gd name="connsiteY10" fmla="*/ 395740 h 398781"/>
                  <a:gd name="connsiteX11" fmla="*/ 115605 w 270761"/>
                  <a:gd name="connsiteY11" fmla="*/ 398782 h 398781"/>
                  <a:gd name="connsiteX12" fmla="*/ 146028 w 270761"/>
                  <a:gd name="connsiteY12" fmla="*/ 12416 h 398781"/>
                  <a:gd name="connsiteX13" fmla="*/ 115605 w 270761"/>
                  <a:gd name="connsiteY13" fmla="*/ 18500 h 398781"/>
                  <a:gd name="connsiteX14" fmla="*/ 15211 w 270761"/>
                  <a:gd name="connsiteY14" fmla="*/ 283176 h 398781"/>
                  <a:gd name="connsiteX15" fmla="*/ 18253 w 270761"/>
                  <a:gd name="connsiteY15" fmla="*/ 353148 h 398781"/>
                  <a:gd name="connsiteX16" fmla="*/ 106479 w 270761"/>
                  <a:gd name="connsiteY16" fmla="*/ 392697 h 398781"/>
                  <a:gd name="connsiteX17" fmla="*/ 127775 w 270761"/>
                  <a:gd name="connsiteY17" fmla="*/ 389655 h 398781"/>
                  <a:gd name="connsiteX18" fmla="*/ 139943 w 270761"/>
                  <a:gd name="connsiteY18" fmla="*/ 371402 h 398781"/>
                  <a:gd name="connsiteX19" fmla="*/ 255550 w 270761"/>
                  <a:gd name="connsiteY19" fmla="*/ 73261 h 398781"/>
                  <a:gd name="connsiteX20" fmla="*/ 215999 w 270761"/>
                  <a:gd name="connsiteY20" fmla="*/ 36754 h 398781"/>
                  <a:gd name="connsiteX21" fmla="*/ 146028 w 270761"/>
                  <a:gd name="connsiteY21" fmla="*/ 12416 h 398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0761" h="398781">
                    <a:moveTo>
                      <a:pt x="115605" y="398782"/>
                    </a:moveTo>
                    <a:cubicBezTo>
                      <a:pt x="112564" y="398782"/>
                      <a:pt x="109520" y="398782"/>
                      <a:pt x="106479" y="398782"/>
                    </a:cubicBezTo>
                    <a:cubicBezTo>
                      <a:pt x="76056" y="392697"/>
                      <a:pt x="36507" y="380528"/>
                      <a:pt x="12170" y="359232"/>
                    </a:cubicBezTo>
                    <a:cubicBezTo>
                      <a:pt x="0" y="350106"/>
                      <a:pt x="-3042" y="322725"/>
                      <a:pt x="3041" y="280134"/>
                    </a:cubicBezTo>
                    <a:cubicBezTo>
                      <a:pt x="18253" y="185824"/>
                      <a:pt x="76056" y="21542"/>
                      <a:pt x="109520" y="6331"/>
                    </a:cubicBezTo>
                    <a:cubicBezTo>
                      <a:pt x="136901" y="-5838"/>
                      <a:pt x="185577" y="247"/>
                      <a:pt x="225127" y="18500"/>
                    </a:cubicBezTo>
                    <a:cubicBezTo>
                      <a:pt x="249465" y="30669"/>
                      <a:pt x="264676" y="45880"/>
                      <a:pt x="270761" y="67176"/>
                    </a:cubicBezTo>
                    <a:lnTo>
                      <a:pt x="270761" y="70218"/>
                    </a:lnTo>
                    <a:lnTo>
                      <a:pt x="270761" y="73261"/>
                    </a:lnTo>
                    <a:cubicBezTo>
                      <a:pt x="270761" y="73261"/>
                      <a:pt x="179494" y="225373"/>
                      <a:pt x="155154" y="371402"/>
                    </a:cubicBezTo>
                    <a:cubicBezTo>
                      <a:pt x="152113" y="380528"/>
                      <a:pt x="146028" y="389655"/>
                      <a:pt x="139943" y="395740"/>
                    </a:cubicBezTo>
                    <a:cubicBezTo>
                      <a:pt x="130816" y="398782"/>
                      <a:pt x="124732" y="398782"/>
                      <a:pt x="115605" y="398782"/>
                    </a:cubicBezTo>
                    <a:close/>
                    <a:moveTo>
                      <a:pt x="146028" y="12416"/>
                    </a:moveTo>
                    <a:cubicBezTo>
                      <a:pt x="133860" y="12416"/>
                      <a:pt x="121690" y="15458"/>
                      <a:pt x="115605" y="18500"/>
                    </a:cubicBezTo>
                    <a:cubicBezTo>
                      <a:pt x="91267" y="27627"/>
                      <a:pt x="30422" y="179740"/>
                      <a:pt x="15211" y="283176"/>
                    </a:cubicBezTo>
                    <a:cubicBezTo>
                      <a:pt x="6085" y="334894"/>
                      <a:pt x="15211" y="350106"/>
                      <a:pt x="18253" y="353148"/>
                    </a:cubicBezTo>
                    <a:cubicBezTo>
                      <a:pt x="39549" y="371402"/>
                      <a:pt x="79098" y="383570"/>
                      <a:pt x="106479" y="392697"/>
                    </a:cubicBezTo>
                    <a:cubicBezTo>
                      <a:pt x="112564" y="395740"/>
                      <a:pt x="121690" y="392697"/>
                      <a:pt x="127775" y="389655"/>
                    </a:cubicBezTo>
                    <a:cubicBezTo>
                      <a:pt x="133860" y="386613"/>
                      <a:pt x="136901" y="380528"/>
                      <a:pt x="139943" y="371402"/>
                    </a:cubicBezTo>
                    <a:cubicBezTo>
                      <a:pt x="164282" y="231458"/>
                      <a:pt x="246422" y="91514"/>
                      <a:pt x="255550" y="73261"/>
                    </a:cubicBezTo>
                    <a:cubicBezTo>
                      <a:pt x="249465" y="55007"/>
                      <a:pt x="231210" y="42838"/>
                      <a:pt x="215999" y="36754"/>
                    </a:cubicBezTo>
                    <a:cubicBezTo>
                      <a:pt x="197746" y="18500"/>
                      <a:pt x="170365" y="12416"/>
                      <a:pt x="146028" y="1241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2" name="图形 1">
              <a:extLst>
                <a:ext uri="{FF2B5EF4-FFF2-40B4-BE49-F238E27FC236}">
                  <a16:creationId xmlns:a16="http://schemas.microsoft.com/office/drawing/2014/main" id="{89C2A722-A500-4484-844F-E3D6E4A371B9}"/>
                </a:ext>
              </a:extLst>
            </p:cNvPr>
            <p:cNvGrpSpPr/>
            <p:nvPr/>
          </p:nvGrpSpPr>
          <p:grpSpPr>
            <a:xfrm>
              <a:off x="21414510" y="6079606"/>
              <a:ext cx="566060" cy="387151"/>
              <a:chOff x="21414510" y="6079606"/>
              <a:chExt cx="566060" cy="387151"/>
            </a:xfrm>
          </p:grpSpPr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71F39F5B-1C29-4B79-A26B-55E86F5D0BC9}"/>
                  </a:ext>
                </a:extLst>
              </p:cNvPr>
              <p:cNvSpPr/>
              <p:nvPr/>
            </p:nvSpPr>
            <p:spPr>
              <a:xfrm>
                <a:off x="21414510" y="6079606"/>
                <a:ext cx="225127" cy="267718"/>
              </a:xfrm>
              <a:custGeom>
                <a:avLst/>
                <a:gdLst>
                  <a:gd name="connsiteX0" fmla="*/ 66930 w 225127"/>
                  <a:gd name="connsiteY0" fmla="*/ 234253 h 267718"/>
                  <a:gd name="connsiteX1" fmla="*/ 0 w 225127"/>
                  <a:gd name="connsiteY1" fmla="*/ 60845 h 267718"/>
                  <a:gd name="connsiteX2" fmla="*/ 173409 w 225127"/>
                  <a:gd name="connsiteY2" fmla="*/ 0 h 267718"/>
                  <a:gd name="connsiteX3" fmla="*/ 225128 w 225127"/>
                  <a:gd name="connsiteY3" fmla="*/ 188620 h 267718"/>
                  <a:gd name="connsiteX4" fmla="*/ 91268 w 225127"/>
                  <a:gd name="connsiteY4" fmla="*/ 267718 h 267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127" h="267718">
                    <a:moveTo>
                      <a:pt x="66930" y="234253"/>
                    </a:moveTo>
                    <a:lnTo>
                      <a:pt x="0" y="60845"/>
                    </a:lnTo>
                    <a:lnTo>
                      <a:pt x="173409" y="0"/>
                    </a:lnTo>
                    <a:lnTo>
                      <a:pt x="225128" y="188620"/>
                    </a:lnTo>
                    <a:lnTo>
                      <a:pt x="91268" y="267718"/>
                    </a:ln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5A90B3AE-50C6-477A-A0E7-A90BEF5D91F8}"/>
                  </a:ext>
                </a:extLst>
              </p:cNvPr>
              <p:cNvSpPr/>
              <p:nvPr/>
            </p:nvSpPr>
            <p:spPr>
              <a:xfrm>
                <a:off x="21469105" y="6210423"/>
                <a:ext cx="496053" cy="212957"/>
              </a:xfrm>
              <a:custGeom>
                <a:avLst/>
                <a:gdLst>
                  <a:gd name="connsiteX0" fmla="*/ 167 w 496053"/>
                  <a:gd name="connsiteY0" fmla="*/ 106479 h 212957"/>
                  <a:gd name="connsiteX1" fmla="*/ 158363 w 496053"/>
                  <a:gd name="connsiteY1" fmla="*/ 0 h 212957"/>
                  <a:gd name="connsiteX2" fmla="*/ 310475 w 496053"/>
                  <a:gd name="connsiteY2" fmla="*/ 30423 h 212957"/>
                  <a:gd name="connsiteX3" fmla="*/ 496054 w 496053"/>
                  <a:gd name="connsiteY3" fmla="*/ 48676 h 212957"/>
                  <a:gd name="connsiteX4" fmla="*/ 36673 w 496053"/>
                  <a:gd name="connsiteY4" fmla="*/ 212958 h 212957"/>
                  <a:gd name="connsiteX5" fmla="*/ 167 w 496053"/>
                  <a:gd name="connsiteY5" fmla="*/ 106479 h 212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6053" h="212957">
                    <a:moveTo>
                      <a:pt x="167" y="106479"/>
                    </a:moveTo>
                    <a:cubicBezTo>
                      <a:pt x="167" y="106479"/>
                      <a:pt x="121857" y="82141"/>
                      <a:pt x="158363" y="0"/>
                    </a:cubicBezTo>
                    <a:cubicBezTo>
                      <a:pt x="158363" y="0"/>
                      <a:pt x="264842" y="36507"/>
                      <a:pt x="310475" y="30423"/>
                    </a:cubicBezTo>
                    <a:cubicBezTo>
                      <a:pt x="356109" y="24338"/>
                      <a:pt x="459547" y="-15211"/>
                      <a:pt x="496054" y="48676"/>
                    </a:cubicBezTo>
                    <a:lnTo>
                      <a:pt x="36673" y="212958"/>
                    </a:lnTo>
                    <a:cubicBezTo>
                      <a:pt x="36673" y="212958"/>
                      <a:pt x="-2876" y="161240"/>
                      <a:pt x="167" y="106479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5A6E235A-B418-4912-A995-3309249FA224}"/>
                  </a:ext>
                </a:extLst>
              </p:cNvPr>
              <p:cNvSpPr/>
              <p:nvPr/>
            </p:nvSpPr>
            <p:spPr>
              <a:xfrm rot="-1175784">
                <a:off x="21500244" y="6340815"/>
                <a:ext cx="486771" cy="45634"/>
              </a:xfrm>
              <a:custGeom>
                <a:avLst/>
                <a:gdLst>
                  <a:gd name="connsiteX0" fmla="*/ 1 w 486771"/>
                  <a:gd name="connsiteY0" fmla="*/ 0 h 45634"/>
                  <a:gd name="connsiteX1" fmla="*/ 486772 w 486771"/>
                  <a:gd name="connsiteY1" fmla="*/ 0 h 45634"/>
                  <a:gd name="connsiteX2" fmla="*/ 486772 w 486771"/>
                  <a:gd name="connsiteY2" fmla="*/ 45635 h 45634"/>
                  <a:gd name="connsiteX3" fmla="*/ 1 w 486771"/>
                  <a:gd name="connsiteY3" fmla="*/ 45635 h 45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6771" h="45634">
                    <a:moveTo>
                      <a:pt x="1" y="0"/>
                    </a:moveTo>
                    <a:lnTo>
                      <a:pt x="486772" y="0"/>
                    </a:lnTo>
                    <a:lnTo>
                      <a:pt x="486772" y="45635"/>
                    </a:lnTo>
                    <a:lnTo>
                      <a:pt x="1" y="45635"/>
                    </a:lnTo>
                    <a:close/>
                  </a:path>
                </a:pathLst>
              </a:custGeom>
              <a:solidFill>
                <a:srgbClr val="38333D"/>
              </a:solidFill>
              <a:ln w="30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7AE34B89-6A62-4B7A-80F9-92678D0557E9}"/>
                  </a:ext>
                </a:extLst>
              </p:cNvPr>
              <p:cNvSpPr/>
              <p:nvPr/>
            </p:nvSpPr>
            <p:spPr>
              <a:xfrm>
                <a:off x="21463187" y="6207381"/>
                <a:ext cx="170365" cy="115605"/>
              </a:xfrm>
              <a:custGeom>
                <a:avLst/>
                <a:gdLst>
                  <a:gd name="connsiteX0" fmla="*/ 6085 w 170365"/>
                  <a:gd name="connsiteY0" fmla="*/ 115606 h 115605"/>
                  <a:gd name="connsiteX1" fmla="*/ 0 w 170365"/>
                  <a:gd name="connsiteY1" fmla="*/ 112564 h 115605"/>
                  <a:gd name="connsiteX2" fmla="*/ 3042 w 170365"/>
                  <a:gd name="connsiteY2" fmla="*/ 106479 h 115605"/>
                  <a:gd name="connsiteX3" fmla="*/ 158198 w 170365"/>
                  <a:gd name="connsiteY3" fmla="*/ 3042 h 115605"/>
                  <a:gd name="connsiteX4" fmla="*/ 167324 w 170365"/>
                  <a:gd name="connsiteY4" fmla="*/ 0 h 115605"/>
                  <a:gd name="connsiteX5" fmla="*/ 170365 w 170365"/>
                  <a:gd name="connsiteY5" fmla="*/ 9127 h 115605"/>
                  <a:gd name="connsiteX6" fmla="*/ 6085 w 170365"/>
                  <a:gd name="connsiteY6" fmla="*/ 115606 h 115605"/>
                  <a:gd name="connsiteX7" fmla="*/ 6085 w 170365"/>
                  <a:gd name="connsiteY7" fmla="*/ 115606 h 115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0365" h="115605">
                    <a:moveTo>
                      <a:pt x="6085" y="115606"/>
                    </a:moveTo>
                    <a:cubicBezTo>
                      <a:pt x="3042" y="115606"/>
                      <a:pt x="0" y="112564"/>
                      <a:pt x="0" y="112564"/>
                    </a:cubicBezTo>
                    <a:cubicBezTo>
                      <a:pt x="0" y="109521"/>
                      <a:pt x="0" y="106479"/>
                      <a:pt x="3042" y="106479"/>
                    </a:cubicBezTo>
                    <a:cubicBezTo>
                      <a:pt x="3042" y="106479"/>
                      <a:pt x="115605" y="82141"/>
                      <a:pt x="158198" y="3042"/>
                    </a:cubicBezTo>
                    <a:cubicBezTo>
                      <a:pt x="161239" y="0"/>
                      <a:pt x="164281" y="0"/>
                      <a:pt x="167324" y="0"/>
                    </a:cubicBezTo>
                    <a:cubicBezTo>
                      <a:pt x="170365" y="0"/>
                      <a:pt x="170365" y="6085"/>
                      <a:pt x="170365" y="9127"/>
                    </a:cubicBezTo>
                    <a:cubicBezTo>
                      <a:pt x="121690" y="91268"/>
                      <a:pt x="12168" y="115606"/>
                      <a:pt x="6085" y="115606"/>
                    </a:cubicBezTo>
                    <a:cubicBezTo>
                      <a:pt x="6085" y="115606"/>
                      <a:pt x="6085" y="115606"/>
                      <a:pt x="6085" y="11560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C36E38BC-BB91-4CC6-97F4-42A1CE441F0C}"/>
                  </a:ext>
                </a:extLst>
              </p:cNvPr>
              <p:cNvSpPr/>
              <p:nvPr/>
            </p:nvSpPr>
            <p:spPr>
              <a:xfrm>
                <a:off x="21648764" y="6219550"/>
                <a:ext cx="24337" cy="45633"/>
              </a:xfrm>
              <a:custGeom>
                <a:avLst/>
                <a:gdLst>
                  <a:gd name="connsiteX0" fmla="*/ 6085 w 24337"/>
                  <a:gd name="connsiteY0" fmla="*/ 45634 h 45633"/>
                  <a:gd name="connsiteX1" fmla="*/ 6085 w 24337"/>
                  <a:gd name="connsiteY1" fmla="*/ 45634 h 45633"/>
                  <a:gd name="connsiteX2" fmla="*/ 0 w 24337"/>
                  <a:gd name="connsiteY2" fmla="*/ 36507 h 45633"/>
                  <a:gd name="connsiteX3" fmla="*/ 15211 w 24337"/>
                  <a:gd name="connsiteY3" fmla="*/ 3042 h 45633"/>
                  <a:gd name="connsiteX4" fmla="*/ 21296 w 24337"/>
                  <a:gd name="connsiteY4" fmla="*/ 0 h 45633"/>
                  <a:gd name="connsiteX5" fmla="*/ 24338 w 24337"/>
                  <a:gd name="connsiteY5" fmla="*/ 6084 h 45633"/>
                  <a:gd name="connsiteX6" fmla="*/ 9126 w 24337"/>
                  <a:gd name="connsiteY6" fmla="*/ 39549 h 45633"/>
                  <a:gd name="connsiteX7" fmla="*/ 6085 w 24337"/>
                  <a:gd name="connsiteY7" fmla="*/ 45634 h 45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7" h="45633">
                    <a:moveTo>
                      <a:pt x="6085" y="45634"/>
                    </a:moveTo>
                    <a:cubicBezTo>
                      <a:pt x="6085" y="45634"/>
                      <a:pt x="3043" y="45634"/>
                      <a:pt x="6085" y="45634"/>
                    </a:cubicBezTo>
                    <a:cubicBezTo>
                      <a:pt x="0" y="42591"/>
                      <a:pt x="0" y="39549"/>
                      <a:pt x="0" y="36507"/>
                    </a:cubicBezTo>
                    <a:lnTo>
                      <a:pt x="15211" y="3042"/>
                    </a:lnTo>
                    <a:cubicBezTo>
                      <a:pt x="15211" y="0"/>
                      <a:pt x="21296" y="0"/>
                      <a:pt x="21296" y="0"/>
                    </a:cubicBezTo>
                    <a:cubicBezTo>
                      <a:pt x="24338" y="0"/>
                      <a:pt x="24338" y="6084"/>
                      <a:pt x="24338" y="6084"/>
                    </a:cubicBezTo>
                    <a:lnTo>
                      <a:pt x="9126" y="39549"/>
                    </a:lnTo>
                    <a:cubicBezTo>
                      <a:pt x="9126" y="42591"/>
                      <a:pt x="9126" y="45634"/>
                      <a:pt x="6085" y="4563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EAEECF32-2371-4C4A-94EC-EE5D2DD978C6}"/>
                  </a:ext>
                </a:extLst>
              </p:cNvPr>
              <p:cNvSpPr/>
              <p:nvPr/>
            </p:nvSpPr>
            <p:spPr>
              <a:xfrm>
                <a:off x="21694398" y="6231719"/>
                <a:ext cx="24337" cy="45633"/>
              </a:xfrm>
              <a:custGeom>
                <a:avLst/>
                <a:gdLst>
                  <a:gd name="connsiteX0" fmla="*/ 6085 w 24337"/>
                  <a:gd name="connsiteY0" fmla="*/ 45634 h 45633"/>
                  <a:gd name="connsiteX1" fmla="*/ 6085 w 24337"/>
                  <a:gd name="connsiteY1" fmla="*/ 45634 h 45633"/>
                  <a:gd name="connsiteX2" fmla="*/ 0 w 24337"/>
                  <a:gd name="connsiteY2" fmla="*/ 36507 h 45633"/>
                  <a:gd name="connsiteX3" fmla="*/ 15211 w 24337"/>
                  <a:gd name="connsiteY3" fmla="*/ 3042 h 45633"/>
                  <a:gd name="connsiteX4" fmla="*/ 21296 w 24337"/>
                  <a:gd name="connsiteY4" fmla="*/ 0 h 45633"/>
                  <a:gd name="connsiteX5" fmla="*/ 24338 w 24337"/>
                  <a:gd name="connsiteY5" fmla="*/ 6084 h 45633"/>
                  <a:gd name="connsiteX6" fmla="*/ 9126 w 24337"/>
                  <a:gd name="connsiteY6" fmla="*/ 39549 h 45633"/>
                  <a:gd name="connsiteX7" fmla="*/ 6085 w 24337"/>
                  <a:gd name="connsiteY7" fmla="*/ 45634 h 45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7" h="45633">
                    <a:moveTo>
                      <a:pt x="6085" y="45634"/>
                    </a:moveTo>
                    <a:cubicBezTo>
                      <a:pt x="3043" y="45634"/>
                      <a:pt x="3043" y="45634"/>
                      <a:pt x="6085" y="45634"/>
                    </a:cubicBezTo>
                    <a:cubicBezTo>
                      <a:pt x="0" y="42592"/>
                      <a:pt x="0" y="39549"/>
                      <a:pt x="0" y="36507"/>
                    </a:cubicBezTo>
                    <a:lnTo>
                      <a:pt x="15211" y="3042"/>
                    </a:lnTo>
                    <a:cubicBezTo>
                      <a:pt x="15211" y="0"/>
                      <a:pt x="21296" y="0"/>
                      <a:pt x="21296" y="0"/>
                    </a:cubicBezTo>
                    <a:cubicBezTo>
                      <a:pt x="24338" y="0"/>
                      <a:pt x="24338" y="6084"/>
                      <a:pt x="24338" y="6084"/>
                    </a:cubicBezTo>
                    <a:lnTo>
                      <a:pt x="9126" y="39549"/>
                    </a:lnTo>
                    <a:cubicBezTo>
                      <a:pt x="9126" y="45634"/>
                      <a:pt x="6085" y="45634"/>
                      <a:pt x="6085" y="4563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C17B3C93-9036-4917-8287-9A1DB4B90DCB}"/>
                </a:ext>
              </a:extLst>
            </p:cNvPr>
            <p:cNvGrpSpPr/>
            <p:nvPr/>
          </p:nvGrpSpPr>
          <p:grpSpPr>
            <a:xfrm>
              <a:off x="20218905" y="6183043"/>
              <a:ext cx="495887" cy="340732"/>
              <a:chOff x="20218905" y="6183043"/>
              <a:chExt cx="495887" cy="340732"/>
            </a:xfrm>
          </p:grpSpPr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3ACD0CB2-5875-4DF5-A224-EC17BBFBFFDF}"/>
                  </a:ext>
                </a:extLst>
              </p:cNvPr>
              <p:cNvSpPr/>
              <p:nvPr/>
            </p:nvSpPr>
            <p:spPr>
              <a:xfrm>
                <a:off x="20240201" y="6183043"/>
                <a:ext cx="182535" cy="222084"/>
              </a:xfrm>
              <a:custGeom>
                <a:avLst/>
                <a:gdLst>
                  <a:gd name="connsiteX0" fmla="*/ 0 w 182535"/>
                  <a:gd name="connsiteY0" fmla="*/ 185577 h 222084"/>
                  <a:gd name="connsiteX1" fmla="*/ 0 w 182535"/>
                  <a:gd name="connsiteY1" fmla="*/ 0 h 222084"/>
                  <a:gd name="connsiteX2" fmla="*/ 182535 w 182535"/>
                  <a:gd name="connsiteY2" fmla="*/ 0 h 222084"/>
                  <a:gd name="connsiteX3" fmla="*/ 164282 w 182535"/>
                  <a:gd name="connsiteY3" fmla="*/ 194704 h 222084"/>
                  <a:gd name="connsiteX4" fmla="*/ 12170 w 182535"/>
                  <a:gd name="connsiteY4" fmla="*/ 222084 h 222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535" h="222084">
                    <a:moveTo>
                      <a:pt x="0" y="185577"/>
                    </a:moveTo>
                    <a:lnTo>
                      <a:pt x="0" y="0"/>
                    </a:lnTo>
                    <a:lnTo>
                      <a:pt x="182535" y="0"/>
                    </a:lnTo>
                    <a:lnTo>
                      <a:pt x="164282" y="194704"/>
                    </a:lnTo>
                    <a:lnTo>
                      <a:pt x="12170" y="222084"/>
                    </a:ln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E82E6EC4-F17F-42A5-A9E5-52DF865BFF76}"/>
                  </a:ext>
                </a:extLst>
              </p:cNvPr>
              <p:cNvSpPr/>
              <p:nvPr/>
            </p:nvSpPr>
            <p:spPr>
              <a:xfrm>
                <a:off x="20219919" y="6322986"/>
                <a:ext cx="494872" cy="158197"/>
              </a:xfrm>
              <a:custGeom>
                <a:avLst/>
                <a:gdLst>
                  <a:gd name="connsiteX0" fmla="*/ 8112 w 494872"/>
                  <a:gd name="connsiteY0" fmla="*/ 45634 h 158197"/>
                  <a:gd name="connsiteX1" fmla="*/ 193691 w 494872"/>
                  <a:gd name="connsiteY1" fmla="*/ 0 h 158197"/>
                  <a:gd name="connsiteX2" fmla="*/ 327549 w 494872"/>
                  <a:gd name="connsiteY2" fmla="*/ 79099 h 158197"/>
                  <a:gd name="connsiteX3" fmla="*/ 494873 w 494872"/>
                  <a:gd name="connsiteY3" fmla="*/ 158197 h 158197"/>
                  <a:gd name="connsiteX4" fmla="*/ 8112 w 494872"/>
                  <a:gd name="connsiteY4" fmla="*/ 158197 h 158197"/>
                  <a:gd name="connsiteX5" fmla="*/ 8112 w 494872"/>
                  <a:gd name="connsiteY5" fmla="*/ 45634 h 158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4872" h="158197">
                    <a:moveTo>
                      <a:pt x="8112" y="45634"/>
                    </a:moveTo>
                    <a:cubicBezTo>
                      <a:pt x="8112" y="45634"/>
                      <a:pt x="132846" y="63888"/>
                      <a:pt x="193691" y="0"/>
                    </a:cubicBezTo>
                    <a:cubicBezTo>
                      <a:pt x="193691" y="0"/>
                      <a:pt x="281915" y="69972"/>
                      <a:pt x="327549" y="79099"/>
                    </a:cubicBezTo>
                    <a:cubicBezTo>
                      <a:pt x="373183" y="88226"/>
                      <a:pt x="482705" y="85183"/>
                      <a:pt x="494873" y="158197"/>
                    </a:cubicBezTo>
                    <a:lnTo>
                      <a:pt x="8112" y="158197"/>
                    </a:lnTo>
                    <a:cubicBezTo>
                      <a:pt x="8112" y="155155"/>
                      <a:pt x="-10140" y="94310"/>
                      <a:pt x="8112" y="45634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EADA4639-C832-44E8-84AA-8EF9B262406A}"/>
                  </a:ext>
                </a:extLst>
              </p:cNvPr>
              <p:cNvSpPr/>
              <p:nvPr/>
            </p:nvSpPr>
            <p:spPr>
              <a:xfrm>
                <a:off x="20228032" y="6478141"/>
                <a:ext cx="486760" cy="45633"/>
              </a:xfrm>
              <a:custGeom>
                <a:avLst/>
                <a:gdLst>
                  <a:gd name="connsiteX0" fmla="*/ -1 w 486760"/>
                  <a:gd name="connsiteY0" fmla="*/ 0 h 45633"/>
                  <a:gd name="connsiteX1" fmla="*/ 486760 w 486760"/>
                  <a:gd name="connsiteY1" fmla="*/ 0 h 45633"/>
                  <a:gd name="connsiteX2" fmla="*/ 486760 w 486760"/>
                  <a:gd name="connsiteY2" fmla="*/ 45634 h 45633"/>
                  <a:gd name="connsiteX3" fmla="*/ -1 w 486760"/>
                  <a:gd name="connsiteY3" fmla="*/ 45634 h 45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6760" h="45633">
                    <a:moveTo>
                      <a:pt x="-1" y="0"/>
                    </a:moveTo>
                    <a:lnTo>
                      <a:pt x="486760" y="0"/>
                    </a:lnTo>
                    <a:lnTo>
                      <a:pt x="486760" y="45634"/>
                    </a:lnTo>
                    <a:lnTo>
                      <a:pt x="-1" y="45634"/>
                    </a:lnTo>
                    <a:close/>
                  </a:path>
                </a:pathLst>
              </a:custGeom>
              <a:solidFill>
                <a:srgbClr val="38333D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C01696A2-42B8-40BB-B20A-05716571A908}"/>
                  </a:ext>
                </a:extLst>
              </p:cNvPr>
              <p:cNvSpPr/>
              <p:nvPr/>
            </p:nvSpPr>
            <p:spPr>
              <a:xfrm>
                <a:off x="20218905" y="6311578"/>
                <a:ext cx="200029" cy="63126"/>
              </a:xfrm>
              <a:custGeom>
                <a:avLst/>
                <a:gdLst>
                  <a:gd name="connsiteX0" fmla="*/ 42592 w 200029"/>
                  <a:gd name="connsiteY0" fmla="*/ 63127 h 63126"/>
                  <a:gd name="connsiteX1" fmla="*/ 6085 w 200029"/>
                  <a:gd name="connsiteY1" fmla="*/ 60085 h 63126"/>
                  <a:gd name="connsiteX2" fmla="*/ 0 w 200029"/>
                  <a:gd name="connsiteY2" fmla="*/ 54000 h 63126"/>
                  <a:gd name="connsiteX3" fmla="*/ 6085 w 200029"/>
                  <a:gd name="connsiteY3" fmla="*/ 47915 h 63126"/>
                  <a:gd name="connsiteX4" fmla="*/ 188620 w 200029"/>
                  <a:gd name="connsiteY4" fmla="*/ 2281 h 63126"/>
                  <a:gd name="connsiteX5" fmla="*/ 197746 w 200029"/>
                  <a:gd name="connsiteY5" fmla="*/ 2281 h 63126"/>
                  <a:gd name="connsiteX6" fmla="*/ 197746 w 200029"/>
                  <a:gd name="connsiteY6" fmla="*/ 11408 h 63126"/>
                  <a:gd name="connsiteX7" fmla="*/ 42592 w 200029"/>
                  <a:gd name="connsiteY7" fmla="*/ 63127 h 63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0029" h="63126">
                    <a:moveTo>
                      <a:pt x="42592" y="63127"/>
                    </a:moveTo>
                    <a:cubicBezTo>
                      <a:pt x="21296" y="63127"/>
                      <a:pt x="9126" y="60085"/>
                      <a:pt x="6085" y="60085"/>
                    </a:cubicBezTo>
                    <a:cubicBezTo>
                      <a:pt x="3043" y="60085"/>
                      <a:pt x="0" y="57042"/>
                      <a:pt x="0" y="54000"/>
                    </a:cubicBezTo>
                    <a:cubicBezTo>
                      <a:pt x="0" y="50958"/>
                      <a:pt x="3043" y="47915"/>
                      <a:pt x="6085" y="47915"/>
                    </a:cubicBezTo>
                    <a:cubicBezTo>
                      <a:pt x="6085" y="47915"/>
                      <a:pt x="118649" y="63127"/>
                      <a:pt x="188620" y="2281"/>
                    </a:cubicBezTo>
                    <a:cubicBezTo>
                      <a:pt x="191662" y="-760"/>
                      <a:pt x="194705" y="-760"/>
                      <a:pt x="197746" y="2281"/>
                    </a:cubicBezTo>
                    <a:cubicBezTo>
                      <a:pt x="200790" y="5324"/>
                      <a:pt x="200790" y="8366"/>
                      <a:pt x="197746" y="11408"/>
                    </a:cubicBezTo>
                    <a:cubicBezTo>
                      <a:pt x="149071" y="57042"/>
                      <a:pt x="85183" y="63127"/>
                      <a:pt x="42592" y="6312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A3BA1347-9418-4108-8A01-197DE9F8804D}"/>
                  </a:ext>
                </a:extLst>
              </p:cNvPr>
              <p:cNvSpPr/>
              <p:nvPr/>
            </p:nvSpPr>
            <p:spPr>
              <a:xfrm>
                <a:off x="20417412" y="6338958"/>
                <a:ext cx="41070" cy="41831"/>
              </a:xfrm>
              <a:custGeom>
                <a:avLst/>
                <a:gdLst>
                  <a:gd name="connsiteX0" fmla="*/ 5324 w 41070"/>
                  <a:gd name="connsiteY0" fmla="*/ 41831 h 41831"/>
                  <a:gd name="connsiteX1" fmla="*/ 2283 w 41070"/>
                  <a:gd name="connsiteY1" fmla="*/ 38789 h 41831"/>
                  <a:gd name="connsiteX2" fmla="*/ 2283 w 41070"/>
                  <a:gd name="connsiteY2" fmla="*/ 29662 h 41831"/>
                  <a:gd name="connsiteX3" fmla="*/ 29662 w 41070"/>
                  <a:gd name="connsiteY3" fmla="*/ 2282 h 41831"/>
                  <a:gd name="connsiteX4" fmla="*/ 38788 w 41070"/>
                  <a:gd name="connsiteY4" fmla="*/ 2282 h 41831"/>
                  <a:gd name="connsiteX5" fmla="*/ 38788 w 41070"/>
                  <a:gd name="connsiteY5" fmla="*/ 11409 h 41831"/>
                  <a:gd name="connsiteX6" fmla="*/ 11409 w 41070"/>
                  <a:gd name="connsiteY6" fmla="*/ 38789 h 41831"/>
                  <a:gd name="connsiteX7" fmla="*/ 5324 w 41070"/>
                  <a:gd name="connsiteY7" fmla="*/ 41831 h 41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070" h="41831">
                    <a:moveTo>
                      <a:pt x="5324" y="41831"/>
                    </a:moveTo>
                    <a:cubicBezTo>
                      <a:pt x="5324" y="41831"/>
                      <a:pt x="2283" y="41831"/>
                      <a:pt x="2283" y="38789"/>
                    </a:cubicBezTo>
                    <a:cubicBezTo>
                      <a:pt x="-761" y="35746"/>
                      <a:pt x="-761" y="32704"/>
                      <a:pt x="2283" y="29662"/>
                    </a:cubicBezTo>
                    <a:lnTo>
                      <a:pt x="29662" y="2282"/>
                    </a:lnTo>
                    <a:cubicBezTo>
                      <a:pt x="32705" y="-761"/>
                      <a:pt x="35747" y="-761"/>
                      <a:pt x="38788" y="2282"/>
                    </a:cubicBezTo>
                    <a:cubicBezTo>
                      <a:pt x="41831" y="5324"/>
                      <a:pt x="41831" y="8366"/>
                      <a:pt x="38788" y="11409"/>
                    </a:cubicBezTo>
                    <a:lnTo>
                      <a:pt x="11409" y="38789"/>
                    </a:lnTo>
                    <a:cubicBezTo>
                      <a:pt x="8366" y="38789"/>
                      <a:pt x="5324" y="41831"/>
                      <a:pt x="5324" y="418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64D175D4-56AA-4DE5-8DE4-CF40CF672B7A}"/>
                  </a:ext>
                </a:extLst>
              </p:cNvPr>
              <p:cNvSpPr/>
              <p:nvPr/>
            </p:nvSpPr>
            <p:spPr>
              <a:xfrm>
                <a:off x="20453919" y="6363296"/>
                <a:ext cx="41071" cy="41830"/>
              </a:xfrm>
              <a:custGeom>
                <a:avLst/>
                <a:gdLst>
                  <a:gd name="connsiteX0" fmla="*/ 5325 w 41071"/>
                  <a:gd name="connsiteY0" fmla="*/ 41831 h 41830"/>
                  <a:gd name="connsiteX1" fmla="*/ 2281 w 41071"/>
                  <a:gd name="connsiteY1" fmla="*/ 38789 h 41830"/>
                  <a:gd name="connsiteX2" fmla="*/ 2281 w 41071"/>
                  <a:gd name="connsiteY2" fmla="*/ 29662 h 41830"/>
                  <a:gd name="connsiteX3" fmla="*/ 29662 w 41071"/>
                  <a:gd name="connsiteY3" fmla="*/ 2282 h 41830"/>
                  <a:gd name="connsiteX4" fmla="*/ 38789 w 41071"/>
                  <a:gd name="connsiteY4" fmla="*/ 2282 h 41830"/>
                  <a:gd name="connsiteX5" fmla="*/ 38789 w 41071"/>
                  <a:gd name="connsiteY5" fmla="*/ 11408 h 41830"/>
                  <a:gd name="connsiteX6" fmla="*/ 11409 w 41071"/>
                  <a:gd name="connsiteY6" fmla="*/ 38789 h 41830"/>
                  <a:gd name="connsiteX7" fmla="*/ 5325 w 41071"/>
                  <a:gd name="connsiteY7" fmla="*/ 41831 h 41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071" h="41830">
                    <a:moveTo>
                      <a:pt x="5325" y="41831"/>
                    </a:moveTo>
                    <a:cubicBezTo>
                      <a:pt x="5325" y="41831"/>
                      <a:pt x="2281" y="41831"/>
                      <a:pt x="2281" y="38789"/>
                    </a:cubicBezTo>
                    <a:cubicBezTo>
                      <a:pt x="-760" y="35746"/>
                      <a:pt x="-760" y="32704"/>
                      <a:pt x="2281" y="29662"/>
                    </a:cubicBezTo>
                    <a:lnTo>
                      <a:pt x="29662" y="2282"/>
                    </a:lnTo>
                    <a:cubicBezTo>
                      <a:pt x="32704" y="-761"/>
                      <a:pt x="35747" y="-761"/>
                      <a:pt x="38789" y="2282"/>
                    </a:cubicBezTo>
                    <a:cubicBezTo>
                      <a:pt x="41832" y="5324"/>
                      <a:pt x="41832" y="8366"/>
                      <a:pt x="38789" y="11408"/>
                    </a:cubicBezTo>
                    <a:lnTo>
                      <a:pt x="11409" y="38789"/>
                    </a:lnTo>
                    <a:cubicBezTo>
                      <a:pt x="8366" y="41831"/>
                      <a:pt x="8366" y="41831"/>
                      <a:pt x="5325" y="418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984D813F-4952-43AB-B875-12FFE07DD7F0}"/>
                </a:ext>
              </a:extLst>
            </p:cNvPr>
            <p:cNvSpPr/>
            <p:nvPr/>
          </p:nvSpPr>
          <p:spPr>
            <a:xfrm>
              <a:off x="20126141" y="3974367"/>
              <a:ext cx="1522622" cy="2278647"/>
            </a:xfrm>
            <a:custGeom>
              <a:avLst/>
              <a:gdLst>
                <a:gd name="connsiteX0" fmla="*/ 1032821 w 1522622"/>
                <a:gd name="connsiteY0" fmla="*/ 18253 h 2278647"/>
                <a:gd name="connsiteX1" fmla="*/ 1352258 w 1522622"/>
                <a:gd name="connsiteY1" fmla="*/ 1125634 h 2278647"/>
                <a:gd name="connsiteX2" fmla="*/ 1522623 w 1522622"/>
                <a:gd name="connsiteY2" fmla="*/ 2123493 h 2278647"/>
                <a:gd name="connsiteX3" fmla="*/ 1233609 w 1522622"/>
                <a:gd name="connsiteY3" fmla="*/ 2239099 h 2278647"/>
                <a:gd name="connsiteX4" fmla="*/ 935468 w 1522622"/>
                <a:gd name="connsiteY4" fmla="*/ 1332507 h 2278647"/>
                <a:gd name="connsiteX5" fmla="*/ 536934 w 1522622"/>
                <a:gd name="connsiteY5" fmla="*/ 501972 h 2278647"/>
                <a:gd name="connsiteX6" fmla="*/ 491300 w 1522622"/>
                <a:gd name="connsiteY6" fmla="*/ 1472451 h 2278647"/>
                <a:gd name="connsiteX7" fmla="*/ 345270 w 1522622"/>
                <a:gd name="connsiteY7" fmla="*/ 2269521 h 2278647"/>
                <a:gd name="connsiteX8" fmla="*/ 59300 w 1522622"/>
                <a:gd name="connsiteY8" fmla="*/ 2278648 h 2278647"/>
                <a:gd name="connsiteX9" fmla="*/ 89722 w 1522622"/>
                <a:gd name="connsiteY9" fmla="*/ 1454197 h 2278647"/>
                <a:gd name="connsiteX10" fmla="*/ 10623 w 1522622"/>
                <a:gd name="connsiteY10" fmla="*/ 0 h 2278647"/>
                <a:gd name="connsiteX11" fmla="*/ 1032821 w 1522622"/>
                <a:gd name="connsiteY11" fmla="*/ 18253 h 2278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22622" h="2278647">
                  <a:moveTo>
                    <a:pt x="1032821" y="18253"/>
                  </a:moveTo>
                  <a:lnTo>
                    <a:pt x="1352258" y="1125634"/>
                  </a:lnTo>
                  <a:lnTo>
                    <a:pt x="1522623" y="2123493"/>
                  </a:lnTo>
                  <a:lnTo>
                    <a:pt x="1233609" y="2239099"/>
                  </a:lnTo>
                  <a:lnTo>
                    <a:pt x="935468" y="1332507"/>
                  </a:lnTo>
                  <a:cubicBezTo>
                    <a:pt x="935468" y="1332507"/>
                    <a:pt x="546060" y="517183"/>
                    <a:pt x="536934" y="501972"/>
                  </a:cubicBezTo>
                  <a:cubicBezTo>
                    <a:pt x="521723" y="471549"/>
                    <a:pt x="491300" y="1472451"/>
                    <a:pt x="491300" y="1472451"/>
                  </a:cubicBezTo>
                  <a:lnTo>
                    <a:pt x="345270" y="2269521"/>
                  </a:lnTo>
                  <a:lnTo>
                    <a:pt x="59300" y="2278648"/>
                  </a:lnTo>
                  <a:cubicBezTo>
                    <a:pt x="59300" y="2278648"/>
                    <a:pt x="95807" y="1554592"/>
                    <a:pt x="89722" y="1454197"/>
                  </a:cubicBezTo>
                  <a:cubicBezTo>
                    <a:pt x="80596" y="1302085"/>
                    <a:pt x="-35011" y="97352"/>
                    <a:pt x="10623" y="0"/>
                  </a:cubicBezTo>
                  <a:cubicBezTo>
                    <a:pt x="707299" y="30423"/>
                    <a:pt x="1032821" y="18253"/>
                    <a:pt x="1032821" y="18253"/>
                  </a:cubicBezTo>
                  <a:close/>
                </a:path>
              </a:pathLst>
            </a:custGeom>
            <a:solidFill>
              <a:srgbClr val="708686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D009516C-AD64-48CD-9B97-C6AEB5CF6E4C}"/>
                </a:ext>
              </a:extLst>
            </p:cNvPr>
            <p:cNvSpPr/>
            <p:nvPr/>
          </p:nvSpPr>
          <p:spPr>
            <a:xfrm>
              <a:off x="20656990" y="4117353"/>
              <a:ext cx="69971" cy="365070"/>
            </a:xfrm>
            <a:custGeom>
              <a:avLst/>
              <a:gdLst>
                <a:gd name="connsiteX0" fmla="*/ 6085 w 69971"/>
                <a:gd name="connsiteY0" fmla="*/ 365070 h 365070"/>
                <a:gd name="connsiteX1" fmla="*/ 6085 w 69971"/>
                <a:gd name="connsiteY1" fmla="*/ 365070 h 365070"/>
                <a:gd name="connsiteX2" fmla="*/ 0 w 69971"/>
                <a:gd name="connsiteY2" fmla="*/ 355944 h 365070"/>
                <a:gd name="connsiteX3" fmla="*/ 57802 w 69971"/>
                <a:gd name="connsiteY3" fmla="*/ 6085 h 365070"/>
                <a:gd name="connsiteX4" fmla="*/ 63887 w 69971"/>
                <a:gd name="connsiteY4" fmla="*/ 0 h 365070"/>
                <a:gd name="connsiteX5" fmla="*/ 63887 w 69971"/>
                <a:gd name="connsiteY5" fmla="*/ 0 h 365070"/>
                <a:gd name="connsiteX6" fmla="*/ 69971 w 69971"/>
                <a:gd name="connsiteY6" fmla="*/ 6085 h 365070"/>
                <a:gd name="connsiteX7" fmla="*/ 12168 w 69971"/>
                <a:gd name="connsiteY7" fmla="*/ 358986 h 365070"/>
                <a:gd name="connsiteX8" fmla="*/ 6085 w 69971"/>
                <a:gd name="connsiteY8" fmla="*/ 365070 h 36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971" h="365070">
                  <a:moveTo>
                    <a:pt x="6085" y="365070"/>
                  </a:moveTo>
                  <a:cubicBezTo>
                    <a:pt x="3042" y="365070"/>
                    <a:pt x="3042" y="365070"/>
                    <a:pt x="6085" y="365070"/>
                  </a:cubicBezTo>
                  <a:cubicBezTo>
                    <a:pt x="0" y="362028"/>
                    <a:pt x="0" y="358986"/>
                    <a:pt x="0" y="355944"/>
                  </a:cubicBezTo>
                  <a:cubicBezTo>
                    <a:pt x="48675" y="243380"/>
                    <a:pt x="57802" y="9127"/>
                    <a:pt x="57802" y="6085"/>
                  </a:cubicBezTo>
                  <a:cubicBezTo>
                    <a:pt x="57802" y="3042"/>
                    <a:pt x="60845" y="0"/>
                    <a:pt x="63887" y="0"/>
                  </a:cubicBezTo>
                  <a:cubicBezTo>
                    <a:pt x="63887" y="0"/>
                    <a:pt x="63887" y="0"/>
                    <a:pt x="63887" y="0"/>
                  </a:cubicBezTo>
                  <a:cubicBezTo>
                    <a:pt x="66930" y="0"/>
                    <a:pt x="69971" y="3042"/>
                    <a:pt x="69971" y="6085"/>
                  </a:cubicBezTo>
                  <a:cubicBezTo>
                    <a:pt x="69971" y="15211"/>
                    <a:pt x="60845" y="243380"/>
                    <a:pt x="12168" y="358986"/>
                  </a:cubicBezTo>
                  <a:cubicBezTo>
                    <a:pt x="9126" y="362028"/>
                    <a:pt x="6085" y="365070"/>
                    <a:pt x="6085" y="365070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3992C879-CA47-4DED-A7FA-05CCB6F1530C}"/>
                </a:ext>
              </a:extLst>
            </p:cNvPr>
            <p:cNvSpPr/>
            <p:nvPr/>
          </p:nvSpPr>
          <p:spPr>
            <a:xfrm>
              <a:off x="20683109" y="4047381"/>
              <a:ext cx="156415" cy="355943"/>
            </a:xfrm>
            <a:custGeom>
              <a:avLst/>
              <a:gdLst>
                <a:gd name="connsiteX0" fmla="*/ 7345 w 156415"/>
                <a:gd name="connsiteY0" fmla="*/ 355944 h 355943"/>
                <a:gd name="connsiteX1" fmla="*/ 1260 w 156415"/>
                <a:gd name="connsiteY1" fmla="*/ 352901 h 355943"/>
                <a:gd name="connsiteX2" fmla="*/ 4303 w 156415"/>
                <a:gd name="connsiteY2" fmla="*/ 343775 h 355943"/>
                <a:gd name="connsiteX3" fmla="*/ 110782 w 156415"/>
                <a:gd name="connsiteY3" fmla="*/ 267718 h 355943"/>
                <a:gd name="connsiteX4" fmla="*/ 144246 w 156415"/>
                <a:gd name="connsiteY4" fmla="*/ 6084 h 355943"/>
                <a:gd name="connsiteX5" fmla="*/ 150331 w 156415"/>
                <a:gd name="connsiteY5" fmla="*/ 0 h 355943"/>
                <a:gd name="connsiteX6" fmla="*/ 156416 w 156415"/>
                <a:gd name="connsiteY6" fmla="*/ 6084 h 355943"/>
                <a:gd name="connsiteX7" fmla="*/ 122950 w 156415"/>
                <a:gd name="connsiteY7" fmla="*/ 273803 h 355943"/>
                <a:gd name="connsiteX8" fmla="*/ 13430 w 156415"/>
                <a:gd name="connsiteY8" fmla="*/ 352901 h 355943"/>
                <a:gd name="connsiteX9" fmla="*/ 7345 w 156415"/>
                <a:gd name="connsiteY9" fmla="*/ 355944 h 35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415" h="355943">
                  <a:moveTo>
                    <a:pt x="7345" y="355944"/>
                  </a:moveTo>
                  <a:cubicBezTo>
                    <a:pt x="4303" y="355944"/>
                    <a:pt x="4303" y="355944"/>
                    <a:pt x="1260" y="352901"/>
                  </a:cubicBezTo>
                  <a:cubicBezTo>
                    <a:pt x="-1782" y="349859"/>
                    <a:pt x="1260" y="346817"/>
                    <a:pt x="4303" y="343775"/>
                  </a:cubicBezTo>
                  <a:cubicBezTo>
                    <a:pt x="43852" y="319437"/>
                    <a:pt x="101656" y="276845"/>
                    <a:pt x="110782" y="267718"/>
                  </a:cubicBezTo>
                  <a:cubicBezTo>
                    <a:pt x="119908" y="255549"/>
                    <a:pt x="135120" y="100394"/>
                    <a:pt x="144246" y="6084"/>
                  </a:cubicBezTo>
                  <a:cubicBezTo>
                    <a:pt x="144246" y="3042"/>
                    <a:pt x="147289" y="0"/>
                    <a:pt x="150331" y="0"/>
                  </a:cubicBezTo>
                  <a:cubicBezTo>
                    <a:pt x="153372" y="0"/>
                    <a:pt x="156416" y="3042"/>
                    <a:pt x="156416" y="6084"/>
                  </a:cubicBezTo>
                  <a:cubicBezTo>
                    <a:pt x="153372" y="48676"/>
                    <a:pt x="132078" y="258592"/>
                    <a:pt x="122950" y="273803"/>
                  </a:cubicBezTo>
                  <a:cubicBezTo>
                    <a:pt x="110782" y="289014"/>
                    <a:pt x="22556" y="346817"/>
                    <a:pt x="13430" y="352901"/>
                  </a:cubicBezTo>
                  <a:cubicBezTo>
                    <a:pt x="10388" y="355944"/>
                    <a:pt x="10388" y="355944"/>
                    <a:pt x="7345" y="355944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48BA73E1-AC08-4E0E-8777-0F178923D8BB}"/>
                </a:ext>
              </a:extLst>
            </p:cNvPr>
            <p:cNvSpPr/>
            <p:nvPr/>
          </p:nvSpPr>
          <p:spPr>
            <a:xfrm>
              <a:off x="20971733" y="2733109"/>
              <a:ext cx="929537" cy="979631"/>
            </a:xfrm>
            <a:custGeom>
              <a:avLst/>
              <a:gdLst>
                <a:gd name="connsiteX0" fmla="*/ 62496 w 929537"/>
                <a:gd name="connsiteY0" fmla="*/ 6103 h 979631"/>
                <a:gd name="connsiteX1" fmla="*/ 369764 w 929537"/>
                <a:gd name="connsiteY1" fmla="*/ 310328 h 979631"/>
                <a:gd name="connsiteX2" fmla="*/ 540130 w 929537"/>
                <a:gd name="connsiteY2" fmla="*/ 699736 h 979631"/>
                <a:gd name="connsiteX3" fmla="*/ 883904 w 929537"/>
                <a:gd name="connsiteY3" fmla="*/ 374215 h 979631"/>
                <a:gd name="connsiteX4" fmla="*/ 929538 w 929537"/>
                <a:gd name="connsiteY4" fmla="*/ 501990 h 979631"/>
                <a:gd name="connsiteX5" fmla="*/ 527962 w 929537"/>
                <a:gd name="connsiteY5" fmla="*/ 979624 h 979631"/>
                <a:gd name="connsiteX6" fmla="*/ 62496 w 929537"/>
                <a:gd name="connsiteY6" fmla="*/ 6103 h 97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9537" h="979631">
                  <a:moveTo>
                    <a:pt x="62496" y="6103"/>
                  </a:moveTo>
                  <a:cubicBezTo>
                    <a:pt x="168975" y="-42574"/>
                    <a:pt x="315004" y="212976"/>
                    <a:pt x="369764" y="310328"/>
                  </a:cubicBezTo>
                  <a:cubicBezTo>
                    <a:pt x="418440" y="398553"/>
                    <a:pt x="540130" y="699736"/>
                    <a:pt x="540130" y="699736"/>
                  </a:cubicBezTo>
                  <a:lnTo>
                    <a:pt x="883904" y="374215"/>
                  </a:lnTo>
                  <a:lnTo>
                    <a:pt x="929538" y="501990"/>
                  </a:lnTo>
                  <a:cubicBezTo>
                    <a:pt x="929538" y="501990"/>
                    <a:pt x="640524" y="976582"/>
                    <a:pt x="527962" y="979624"/>
                  </a:cubicBezTo>
                  <a:cubicBezTo>
                    <a:pt x="339342" y="982666"/>
                    <a:pt x="-177841" y="112581"/>
                    <a:pt x="62496" y="6103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0DA45A71-AF5E-4F14-95D2-A13DE49CF6AE}"/>
                </a:ext>
              </a:extLst>
            </p:cNvPr>
            <p:cNvSpPr/>
            <p:nvPr/>
          </p:nvSpPr>
          <p:spPr>
            <a:xfrm>
              <a:off x="20520089" y="2313296"/>
              <a:ext cx="249465" cy="257689"/>
            </a:xfrm>
            <a:custGeom>
              <a:avLst/>
              <a:gdLst>
                <a:gd name="connsiteX0" fmla="*/ 249465 w 249465"/>
                <a:gd name="connsiteY0" fmla="*/ 39549 h 257689"/>
                <a:gd name="connsiteX1" fmla="*/ 243380 w 249465"/>
                <a:gd name="connsiteY1" fmla="*/ 212958 h 257689"/>
                <a:gd name="connsiteX2" fmla="*/ 0 w 249465"/>
                <a:gd name="connsiteY2" fmla="*/ 203831 h 257689"/>
                <a:gd name="connsiteX3" fmla="*/ 15211 w 249465"/>
                <a:gd name="connsiteY3" fmla="*/ 0 h 257689"/>
                <a:gd name="connsiteX4" fmla="*/ 249465 w 249465"/>
                <a:gd name="connsiteY4" fmla="*/ 39549 h 257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465" h="257689">
                  <a:moveTo>
                    <a:pt x="249465" y="39549"/>
                  </a:moveTo>
                  <a:cubicBezTo>
                    <a:pt x="249465" y="39549"/>
                    <a:pt x="243380" y="139944"/>
                    <a:pt x="243380" y="212958"/>
                  </a:cubicBezTo>
                  <a:cubicBezTo>
                    <a:pt x="243380" y="212958"/>
                    <a:pt x="149069" y="319437"/>
                    <a:pt x="0" y="203831"/>
                  </a:cubicBezTo>
                  <a:cubicBezTo>
                    <a:pt x="0" y="142986"/>
                    <a:pt x="12168" y="63887"/>
                    <a:pt x="15211" y="0"/>
                  </a:cubicBezTo>
                  <a:cubicBezTo>
                    <a:pt x="12168" y="0"/>
                    <a:pt x="194703" y="51718"/>
                    <a:pt x="249465" y="39549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88CC0734-EFB0-48EA-A22A-F971DAB8DF49}"/>
                </a:ext>
              </a:extLst>
            </p:cNvPr>
            <p:cNvSpPr/>
            <p:nvPr/>
          </p:nvSpPr>
          <p:spPr>
            <a:xfrm>
              <a:off x="20440989" y="2191606"/>
              <a:ext cx="66929" cy="139943"/>
            </a:xfrm>
            <a:custGeom>
              <a:avLst/>
              <a:gdLst>
                <a:gd name="connsiteX0" fmla="*/ 0 w 66929"/>
                <a:gd name="connsiteY0" fmla="*/ 0 h 139943"/>
                <a:gd name="connsiteX1" fmla="*/ 60845 w 66929"/>
                <a:gd name="connsiteY1" fmla="*/ 139944 h 139943"/>
                <a:gd name="connsiteX2" fmla="*/ 66930 w 66929"/>
                <a:gd name="connsiteY2" fmla="*/ 54761 h 139943"/>
                <a:gd name="connsiteX3" fmla="*/ 0 w 66929"/>
                <a:gd name="connsiteY3" fmla="*/ 0 h 139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929" h="139943">
                  <a:moveTo>
                    <a:pt x="0" y="0"/>
                  </a:moveTo>
                  <a:cubicBezTo>
                    <a:pt x="0" y="0"/>
                    <a:pt x="9128" y="118648"/>
                    <a:pt x="60845" y="139944"/>
                  </a:cubicBezTo>
                  <a:lnTo>
                    <a:pt x="66930" y="547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D2386B58-A259-466D-8AE7-7588923672A1}"/>
                </a:ext>
              </a:extLst>
            </p:cNvPr>
            <p:cNvSpPr/>
            <p:nvPr/>
          </p:nvSpPr>
          <p:spPr>
            <a:xfrm>
              <a:off x="20803646" y="2002987"/>
              <a:ext cx="103472" cy="237275"/>
            </a:xfrm>
            <a:custGeom>
              <a:avLst/>
              <a:gdLst>
                <a:gd name="connsiteX0" fmla="*/ 99766 w 103472"/>
                <a:gd name="connsiteY0" fmla="*/ 0 h 237275"/>
                <a:gd name="connsiteX1" fmla="*/ 48047 w 103472"/>
                <a:gd name="connsiteY1" fmla="*/ 234254 h 237275"/>
                <a:gd name="connsiteX2" fmla="*/ 2414 w 103472"/>
                <a:gd name="connsiteY2" fmla="*/ 12169 h 237275"/>
                <a:gd name="connsiteX3" fmla="*/ 99766 w 103472"/>
                <a:gd name="connsiteY3" fmla="*/ 0 h 23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472" h="237275">
                  <a:moveTo>
                    <a:pt x="99766" y="0"/>
                  </a:moveTo>
                  <a:cubicBezTo>
                    <a:pt x="99766" y="0"/>
                    <a:pt x="124104" y="194704"/>
                    <a:pt x="48047" y="234254"/>
                  </a:cubicBezTo>
                  <a:cubicBezTo>
                    <a:pt x="-15839" y="267718"/>
                    <a:pt x="2414" y="12169"/>
                    <a:pt x="2414" y="12169"/>
                  </a:cubicBezTo>
                  <a:lnTo>
                    <a:pt x="99766" y="0"/>
                  </a:lnTo>
                  <a:close/>
                </a:path>
              </a:pathLst>
            </a:custGeom>
            <a:solidFill>
              <a:srgbClr val="664241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6F17BCF9-2971-401F-A764-8D1594AB3086}"/>
                </a:ext>
              </a:extLst>
            </p:cNvPr>
            <p:cNvSpPr/>
            <p:nvPr/>
          </p:nvSpPr>
          <p:spPr>
            <a:xfrm>
              <a:off x="20447074" y="1856462"/>
              <a:ext cx="418442" cy="569549"/>
            </a:xfrm>
            <a:custGeom>
              <a:avLst/>
              <a:gdLst>
                <a:gd name="connsiteX0" fmla="*/ 413748 w 418442"/>
                <a:gd name="connsiteY0" fmla="*/ 189117 h 569549"/>
                <a:gd name="connsiteX1" fmla="*/ 404619 w 418442"/>
                <a:gd name="connsiteY1" fmla="*/ 438581 h 569549"/>
                <a:gd name="connsiteX2" fmla="*/ 240339 w 418442"/>
                <a:gd name="connsiteY2" fmla="*/ 569398 h 569549"/>
                <a:gd name="connsiteX3" fmla="*/ 30423 w 418442"/>
                <a:gd name="connsiteY3" fmla="*/ 417286 h 569549"/>
                <a:gd name="connsiteX4" fmla="*/ 0 w 418442"/>
                <a:gd name="connsiteY4" fmla="*/ 192159 h 569549"/>
                <a:gd name="connsiteX5" fmla="*/ 219043 w 418442"/>
                <a:gd name="connsiteY5" fmla="*/ 497 h 569549"/>
                <a:gd name="connsiteX6" fmla="*/ 413748 w 418442"/>
                <a:gd name="connsiteY6" fmla="*/ 189117 h 569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442" h="569549">
                  <a:moveTo>
                    <a:pt x="413748" y="189117"/>
                  </a:moveTo>
                  <a:cubicBezTo>
                    <a:pt x="413748" y="189117"/>
                    <a:pt x="428959" y="365567"/>
                    <a:pt x="404619" y="438581"/>
                  </a:cubicBezTo>
                  <a:cubicBezTo>
                    <a:pt x="383325" y="502469"/>
                    <a:pt x="292057" y="566356"/>
                    <a:pt x="240339" y="569398"/>
                  </a:cubicBezTo>
                  <a:cubicBezTo>
                    <a:pt x="173409" y="572441"/>
                    <a:pt x="57804" y="529849"/>
                    <a:pt x="30423" y="417286"/>
                  </a:cubicBezTo>
                  <a:cubicBezTo>
                    <a:pt x="12170" y="344271"/>
                    <a:pt x="0" y="243877"/>
                    <a:pt x="0" y="192159"/>
                  </a:cubicBezTo>
                  <a:cubicBezTo>
                    <a:pt x="6085" y="97849"/>
                    <a:pt x="33466" y="18750"/>
                    <a:pt x="219043" y="497"/>
                  </a:cubicBezTo>
                  <a:cubicBezTo>
                    <a:pt x="307269" y="-8630"/>
                    <a:pt x="395493" y="110018"/>
                    <a:pt x="413748" y="189117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02A9BD14-2F4E-4D40-8584-F72ABF2C7A71}"/>
                </a:ext>
              </a:extLst>
            </p:cNvPr>
            <p:cNvSpPr/>
            <p:nvPr/>
          </p:nvSpPr>
          <p:spPr>
            <a:xfrm>
              <a:off x="20667898" y="2124677"/>
              <a:ext cx="59063" cy="133859"/>
            </a:xfrm>
            <a:custGeom>
              <a:avLst/>
              <a:gdLst>
                <a:gd name="connsiteX0" fmla="*/ 31682 w 59063"/>
                <a:gd name="connsiteY0" fmla="*/ 133859 h 133859"/>
                <a:gd name="connsiteX1" fmla="*/ 4303 w 59063"/>
                <a:gd name="connsiteY1" fmla="*/ 130817 h 133859"/>
                <a:gd name="connsiteX2" fmla="*/ 1260 w 59063"/>
                <a:gd name="connsiteY2" fmla="*/ 124732 h 133859"/>
                <a:gd name="connsiteX3" fmla="*/ 7345 w 59063"/>
                <a:gd name="connsiteY3" fmla="*/ 121690 h 133859"/>
                <a:gd name="connsiteX4" fmla="*/ 46894 w 59063"/>
                <a:gd name="connsiteY4" fmla="*/ 121690 h 133859"/>
                <a:gd name="connsiteX5" fmla="*/ 46894 w 59063"/>
                <a:gd name="connsiteY5" fmla="*/ 118648 h 133859"/>
                <a:gd name="connsiteX6" fmla="*/ 34726 w 59063"/>
                <a:gd name="connsiteY6" fmla="*/ 6085 h 133859"/>
                <a:gd name="connsiteX7" fmla="*/ 40811 w 59063"/>
                <a:gd name="connsiteY7" fmla="*/ 0 h 133859"/>
                <a:gd name="connsiteX8" fmla="*/ 46894 w 59063"/>
                <a:gd name="connsiteY8" fmla="*/ 6085 h 133859"/>
                <a:gd name="connsiteX9" fmla="*/ 59063 w 59063"/>
                <a:gd name="connsiteY9" fmla="*/ 118648 h 133859"/>
                <a:gd name="connsiteX10" fmla="*/ 52978 w 59063"/>
                <a:gd name="connsiteY10" fmla="*/ 130817 h 133859"/>
                <a:gd name="connsiteX11" fmla="*/ 31682 w 59063"/>
                <a:gd name="connsiteY11" fmla="*/ 133859 h 133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063" h="133859">
                  <a:moveTo>
                    <a:pt x="31682" y="133859"/>
                  </a:moveTo>
                  <a:cubicBezTo>
                    <a:pt x="19514" y="133859"/>
                    <a:pt x="7345" y="130817"/>
                    <a:pt x="4303" y="130817"/>
                  </a:cubicBezTo>
                  <a:cubicBezTo>
                    <a:pt x="1260" y="130817"/>
                    <a:pt x="-1782" y="127775"/>
                    <a:pt x="1260" y="124732"/>
                  </a:cubicBezTo>
                  <a:cubicBezTo>
                    <a:pt x="1260" y="121690"/>
                    <a:pt x="4303" y="118648"/>
                    <a:pt x="7345" y="121690"/>
                  </a:cubicBezTo>
                  <a:cubicBezTo>
                    <a:pt x="19514" y="124732"/>
                    <a:pt x="40811" y="127775"/>
                    <a:pt x="46894" y="121690"/>
                  </a:cubicBezTo>
                  <a:cubicBezTo>
                    <a:pt x="46894" y="121690"/>
                    <a:pt x="46894" y="118648"/>
                    <a:pt x="46894" y="118648"/>
                  </a:cubicBezTo>
                  <a:cubicBezTo>
                    <a:pt x="46894" y="100394"/>
                    <a:pt x="34726" y="6085"/>
                    <a:pt x="34726" y="6085"/>
                  </a:cubicBezTo>
                  <a:cubicBezTo>
                    <a:pt x="34726" y="3042"/>
                    <a:pt x="37767" y="0"/>
                    <a:pt x="40811" y="0"/>
                  </a:cubicBezTo>
                  <a:cubicBezTo>
                    <a:pt x="43852" y="0"/>
                    <a:pt x="46894" y="3042"/>
                    <a:pt x="46894" y="6085"/>
                  </a:cubicBezTo>
                  <a:cubicBezTo>
                    <a:pt x="46894" y="9127"/>
                    <a:pt x="59063" y="100394"/>
                    <a:pt x="59063" y="118648"/>
                  </a:cubicBezTo>
                  <a:cubicBezTo>
                    <a:pt x="59063" y="124732"/>
                    <a:pt x="56022" y="127775"/>
                    <a:pt x="52978" y="130817"/>
                  </a:cubicBezTo>
                  <a:cubicBezTo>
                    <a:pt x="49937" y="130817"/>
                    <a:pt x="40811" y="133859"/>
                    <a:pt x="31682" y="133859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E299D1DC-A479-41BD-B6A0-484BDE39E8F1}"/>
                </a:ext>
              </a:extLst>
            </p:cNvPr>
            <p:cNvSpPr/>
            <p:nvPr/>
          </p:nvSpPr>
          <p:spPr>
            <a:xfrm>
              <a:off x="20635694" y="2307212"/>
              <a:ext cx="106478" cy="54760"/>
            </a:xfrm>
            <a:custGeom>
              <a:avLst/>
              <a:gdLst>
                <a:gd name="connsiteX0" fmla="*/ 106479 w 106478"/>
                <a:gd name="connsiteY0" fmla="*/ 3042 h 54760"/>
                <a:gd name="connsiteX1" fmla="*/ 0 w 106478"/>
                <a:gd name="connsiteY1" fmla="*/ 0 h 54760"/>
                <a:gd name="connsiteX2" fmla="*/ 51719 w 106478"/>
                <a:gd name="connsiteY2" fmla="*/ 54761 h 54760"/>
                <a:gd name="connsiteX3" fmla="*/ 106479 w 106478"/>
                <a:gd name="connsiteY3" fmla="*/ 3042 h 5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478" h="54760">
                  <a:moveTo>
                    <a:pt x="106479" y="3042"/>
                  </a:moveTo>
                  <a:cubicBezTo>
                    <a:pt x="106479" y="3042"/>
                    <a:pt x="51719" y="15211"/>
                    <a:pt x="0" y="0"/>
                  </a:cubicBezTo>
                  <a:cubicBezTo>
                    <a:pt x="0" y="0"/>
                    <a:pt x="0" y="51718"/>
                    <a:pt x="51719" y="54761"/>
                  </a:cubicBezTo>
                  <a:cubicBezTo>
                    <a:pt x="91268" y="54761"/>
                    <a:pt x="106479" y="3042"/>
                    <a:pt x="106479" y="3042"/>
                  </a:cubicBezTo>
                  <a:close/>
                </a:path>
              </a:pathLst>
            </a:custGeom>
            <a:solidFill>
              <a:srgbClr val="FFFFFF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AF0C5DA3-0D9B-45F2-A478-28C9183794AE}"/>
                </a:ext>
              </a:extLst>
            </p:cNvPr>
            <p:cNvSpPr/>
            <p:nvPr/>
          </p:nvSpPr>
          <p:spPr>
            <a:xfrm>
              <a:off x="20762693" y="2099563"/>
              <a:ext cx="41099" cy="41099"/>
            </a:xfrm>
            <a:custGeom>
              <a:avLst/>
              <a:gdLst>
                <a:gd name="connsiteX0" fmla="*/ 776 w 41099"/>
                <a:gd name="connsiteY0" fmla="*/ 25113 h 41099"/>
                <a:gd name="connsiteX1" fmla="*/ 25113 w 41099"/>
                <a:gd name="connsiteY1" fmla="*/ 40325 h 41099"/>
                <a:gd name="connsiteX2" fmla="*/ 40325 w 41099"/>
                <a:gd name="connsiteY2" fmla="*/ 15987 h 41099"/>
                <a:gd name="connsiteX3" fmla="*/ 15987 w 41099"/>
                <a:gd name="connsiteY3" fmla="*/ 775 h 41099"/>
                <a:gd name="connsiteX4" fmla="*/ 776 w 41099"/>
                <a:gd name="connsiteY4" fmla="*/ 25113 h 41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99" h="41099">
                  <a:moveTo>
                    <a:pt x="776" y="25113"/>
                  </a:moveTo>
                  <a:cubicBezTo>
                    <a:pt x="3817" y="37282"/>
                    <a:pt x="12944" y="43367"/>
                    <a:pt x="25113" y="40325"/>
                  </a:cubicBezTo>
                  <a:cubicBezTo>
                    <a:pt x="37283" y="37282"/>
                    <a:pt x="43366" y="28156"/>
                    <a:pt x="40325" y="15987"/>
                  </a:cubicBezTo>
                  <a:cubicBezTo>
                    <a:pt x="37283" y="3818"/>
                    <a:pt x="28155" y="-2267"/>
                    <a:pt x="15987" y="775"/>
                  </a:cubicBezTo>
                  <a:cubicBezTo>
                    <a:pt x="3817" y="3818"/>
                    <a:pt x="-2268" y="15987"/>
                    <a:pt x="776" y="25113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A975ECA8-3C0C-4865-96EC-5BCE2C06546C}"/>
                </a:ext>
              </a:extLst>
            </p:cNvPr>
            <p:cNvSpPr/>
            <p:nvPr/>
          </p:nvSpPr>
          <p:spPr>
            <a:xfrm>
              <a:off x="20577890" y="2111732"/>
              <a:ext cx="40325" cy="41099"/>
            </a:xfrm>
            <a:custGeom>
              <a:avLst/>
              <a:gdLst>
                <a:gd name="connsiteX0" fmla="*/ 0 w 40325"/>
                <a:gd name="connsiteY0" fmla="*/ 25113 h 41099"/>
                <a:gd name="connsiteX1" fmla="*/ 24340 w 40325"/>
                <a:gd name="connsiteY1" fmla="*/ 40325 h 41099"/>
                <a:gd name="connsiteX2" fmla="*/ 39551 w 40325"/>
                <a:gd name="connsiteY2" fmla="*/ 15987 h 41099"/>
                <a:gd name="connsiteX3" fmla="*/ 15211 w 40325"/>
                <a:gd name="connsiteY3" fmla="*/ 775 h 41099"/>
                <a:gd name="connsiteX4" fmla="*/ 0 w 40325"/>
                <a:gd name="connsiteY4" fmla="*/ 25113 h 41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25" h="41099">
                  <a:moveTo>
                    <a:pt x="0" y="25113"/>
                  </a:moveTo>
                  <a:cubicBezTo>
                    <a:pt x="3043" y="37282"/>
                    <a:pt x="12170" y="43367"/>
                    <a:pt x="24340" y="40325"/>
                  </a:cubicBezTo>
                  <a:cubicBezTo>
                    <a:pt x="36507" y="37282"/>
                    <a:pt x="42592" y="28156"/>
                    <a:pt x="39551" y="15987"/>
                  </a:cubicBezTo>
                  <a:cubicBezTo>
                    <a:pt x="36507" y="3818"/>
                    <a:pt x="27381" y="-2267"/>
                    <a:pt x="15211" y="775"/>
                  </a:cubicBezTo>
                  <a:cubicBezTo>
                    <a:pt x="6085" y="3818"/>
                    <a:pt x="0" y="12944"/>
                    <a:pt x="0" y="25113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7E4E665F-6DAE-4F6D-8479-0C6D8951168A}"/>
                </a:ext>
              </a:extLst>
            </p:cNvPr>
            <p:cNvSpPr/>
            <p:nvPr/>
          </p:nvSpPr>
          <p:spPr>
            <a:xfrm>
              <a:off x="20737871" y="2055063"/>
              <a:ext cx="91767" cy="33106"/>
            </a:xfrm>
            <a:custGeom>
              <a:avLst/>
              <a:gdLst>
                <a:gd name="connsiteX0" fmla="*/ 83400 w 91767"/>
                <a:gd name="connsiteY0" fmla="*/ 33107 h 33106"/>
                <a:gd name="connsiteX1" fmla="*/ 77317 w 91767"/>
                <a:gd name="connsiteY1" fmla="*/ 30064 h 33106"/>
                <a:gd name="connsiteX2" fmla="*/ 10387 w 91767"/>
                <a:gd name="connsiteY2" fmla="*/ 20938 h 33106"/>
                <a:gd name="connsiteX3" fmla="*/ 1261 w 91767"/>
                <a:gd name="connsiteY3" fmla="*/ 17895 h 33106"/>
                <a:gd name="connsiteX4" fmla="*/ 4302 w 91767"/>
                <a:gd name="connsiteY4" fmla="*/ 8769 h 33106"/>
                <a:gd name="connsiteX5" fmla="*/ 89485 w 91767"/>
                <a:gd name="connsiteY5" fmla="*/ 20938 h 33106"/>
                <a:gd name="connsiteX6" fmla="*/ 89485 w 91767"/>
                <a:gd name="connsiteY6" fmla="*/ 33107 h 33106"/>
                <a:gd name="connsiteX7" fmla="*/ 83400 w 91767"/>
                <a:gd name="connsiteY7" fmla="*/ 33107 h 33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3106">
                  <a:moveTo>
                    <a:pt x="83400" y="33107"/>
                  </a:moveTo>
                  <a:cubicBezTo>
                    <a:pt x="80359" y="33107"/>
                    <a:pt x="80359" y="33107"/>
                    <a:pt x="77317" y="30064"/>
                  </a:cubicBezTo>
                  <a:cubicBezTo>
                    <a:pt x="52977" y="2684"/>
                    <a:pt x="10387" y="20938"/>
                    <a:pt x="10387" y="20938"/>
                  </a:cubicBezTo>
                  <a:cubicBezTo>
                    <a:pt x="7344" y="23980"/>
                    <a:pt x="1261" y="20938"/>
                    <a:pt x="1261" y="17895"/>
                  </a:cubicBezTo>
                  <a:cubicBezTo>
                    <a:pt x="-1783" y="14853"/>
                    <a:pt x="1261" y="8769"/>
                    <a:pt x="4302" y="8769"/>
                  </a:cubicBezTo>
                  <a:cubicBezTo>
                    <a:pt x="22555" y="-358"/>
                    <a:pt x="62106" y="-9485"/>
                    <a:pt x="89485" y="20938"/>
                  </a:cubicBezTo>
                  <a:cubicBezTo>
                    <a:pt x="92528" y="23980"/>
                    <a:pt x="92528" y="30064"/>
                    <a:pt x="89485" y="33107"/>
                  </a:cubicBezTo>
                  <a:cubicBezTo>
                    <a:pt x="86443" y="30064"/>
                    <a:pt x="83400" y="33107"/>
                    <a:pt x="83400" y="33107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05110436-A6BD-4ABE-AF44-08AD4227D621}"/>
                </a:ext>
              </a:extLst>
            </p:cNvPr>
            <p:cNvSpPr/>
            <p:nvPr/>
          </p:nvSpPr>
          <p:spPr>
            <a:xfrm>
              <a:off x="20548229" y="2045751"/>
              <a:ext cx="90506" cy="33292"/>
            </a:xfrm>
            <a:custGeom>
              <a:avLst/>
              <a:gdLst>
                <a:gd name="connsiteX0" fmla="*/ 8367 w 90506"/>
                <a:gd name="connsiteY0" fmla="*/ 33292 h 33292"/>
                <a:gd name="connsiteX1" fmla="*/ 2283 w 90506"/>
                <a:gd name="connsiteY1" fmla="*/ 30250 h 33292"/>
                <a:gd name="connsiteX2" fmla="*/ 2283 w 90506"/>
                <a:gd name="connsiteY2" fmla="*/ 18081 h 33292"/>
                <a:gd name="connsiteX3" fmla="*/ 87465 w 90506"/>
                <a:gd name="connsiteY3" fmla="*/ 11997 h 33292"/>
                <a:gd name="connsiteX4" fmla="*/ 90507 w 90506"/>
                <a:gd name="connsiteY4" fmla="*/ 24166 h 33292"/>
                <a:gd name="connsiteX5" fmla="*/ 78339 w 90506"/>
                <a:gd name="connsiteY5" fmla="*/ 27208 h 33292"/>
                <a:gd name="connsiteX6" fmla="*/ 11409 w 90506"/>
                <a:gd name="connsiteY6" fmla="*/ 30250 h 33292"/>
                <a:gd name="connsiteX7" fmla="*/ 8367 w 90506"/>
                <a:gd name="connsiteY7" fmla="*/ 33292 h 33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506" h="33292">
                  <a:moveTo>
                    <a:pt x="8367" y="33292"/>
                  </a:moveTo>
                  <a:cubicBezTo>
                    <a:pt x="5324" y="33292"/>
                    <a:pt x="5324" y="33292"/>
                    <a:pt x="2283" y="30250"/>
                  </a:cubicBezTo>
                  <a:cubicBezTo>
                    <a:pt x="-761" y="27208"/>
                    <a:pt x="-761" y="21123"/>
                    <a:pt x="2283" y="18081"/>
                  </a:cubicBezTo>
                  <a:cubicBezTo>
                    <a:pt x="17494" y="5912"/>
                    <a:pt x="50958" y="-12342"/>
                    <a:pt x="87465" y="11997"/>
                  </a:cubicBezTo>
                  <a:cubicBezTo>
                    <a:pt x="90507" y="15039"/>
                    <a:pt x="90507" y="18081"/>
                    <a:pt x="90507" y="24166"/>
                  </a:cubicBezTo>
                  <a:cubicBezTo>
                    <a:pt x="87465" y="27208"/>
                    <a:pt x="84424" y="27208"/>
                    <a:pt x="78339" y="27208"/>
                  </a:cubicBezTo>
                  <a:cubicBezTo>
                    <a:pt x="41831" y="2870"/>
                    <a:pt x="14450" y="30250"/>
                    <a:pt x="11409" y="30250"/>
                  </a:cubicBezTo>
                  <a:cubicBezTo>
                    <a:pt x="11409" y="33292"/>
                    <a:pt x="8367" y="33292"/>
                    <a:pt x="8367" y="33292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8C898EAB-8428-4586-9484-CE1ABC219B81}"/>
                </a:ext>
              </a:extLst>
            </p:cNvPr>
            <p:cNvSpPr/>
            <p:nvPr/>
          </p:nvSpPr>
          <p:spPr>
            <a:xfrm>
              <a:off x="20529215" y="2358930"/>
              <a:ext cx="226479" cy="69971"/>
            </a:xfrm>
            <a:custGeom>
              <a:avLst/>
              <a:gdLst>
                <a:gd name="connsiteX0" fmla="*/ 149071 w 226479"/>
                <a:gd name="connsiteY0" fmla="*/ 69972 h 69971"/>
                <a:gd name="connsiteX1" fmla="*/ 146028 w 226479"/>
                <a:gd name="connsiteY1" fmla="*/ 69972 h 69971"/>
                <a:gd name="connsiteX2" fmla="*/ 3042 w 226479"/>
                <a:gd name="connsiteY2" fmla="*/ 12169 h 69971"/>
                <a:gd name="connsiteX3" fmla="*/ 0 w 226479"/>
                <a:gd name="connsiteY3" fmla="*/ 3042 h 69971"/>
                <a:gd name="connsiteX4" fmla="*/ 9126 w 226479"/>
                <a:gd name="connsiteY4" fmla="*/ 0 h 69971"/>
                <a:gd name="connsiteX5" fmla="*/ 146028 w 226479"/>
                <a:gd name="connsiteY5" fmla="*/ 54761 h 69971"/>
                <a:gd name="connsiteX6" fmla="*/ 149071 w 226479"/>
                <a:gd name="connsiteY6" fmla="*/ 54761 h 69971"/>
                <a:gd name="connsiteX7" fmla="*/ 215999 w 226479"/>
                <a:gd name="connsiteY7" fmla="*/ 33465 h 69971"/>
                <a:gd name="connsiteX8" fmla="*/ 225128 w 226479"/>
                <a:gd name="connsiteY8" fmla="*/ 33465 h 69971"/>
                <a:gd name="connsiteX9" fmla="*/ 225128 w 226479"/>
                <a:gd name="connsiteY9" fmla="*/ 42592 h 69971"/>
                <a:gd name="connsiteX10" fmla="*/ 149071 w 226479"/>
                <a:gd name="connsiteY10" fmla="*/ 69972 h 69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6479" h="69971">
                  <a:moveTo>
                    <a:pt x="149071" y="69972"/>
                  </a:moveTo>
                  <a:cubicBezTo>
                    <a:pt x="149071" y="69972"/>
                    <a:pt x="146028" y="69972"/>
                    <a:pt x="146028" y="69972"/>
                  </a:cubicBezTo>
                  <a:cubicBezTo>
                    <a:pt x="94309" y="66930"/>
                    <a:pt x="6085" y="15211"/>
                    <a:pt x="3042" y="12169"/>
                  </a:cubicBezTo>
                  <a:cubicBezTo>
                    <a:pt x="0" y="9127"/>
                    <a:pt x="0" y="6085"/>
                    <a:pt x="0" y="3042"/>
                  </a:cubicBezTo>
                  <a:cubicBezTo>
                    <a:pt x="3042" y="0"/>
                    <a:pt x="6085" y="0"/>
                    <a:pt x="9126" y="0"/>
                  </a:cubicBezTo>
                  <a:cubicBezTo>
                    <a:pt x="9126" y="0"/>
                    <a:pt x="97352" y="54761"/>
                    <a:pt x="146028" y="54761"/>
                  </a:cubicBezTo>
                  <a:cubicBezTo>
                    <a:pt x="146028" y="54761"/>
                    <a:pt x="149071" y="54761"/>
                    <a:pt x="149071" y="54761"/>
                  </a:cubicBezTo>
                  <a:cubicBezTo>
                    <a:pt x="185577" y="54761"/>
                    <a:pt x="215999" y="33465"/>
                    <a:pt x="215999" y="33465"/>
                  </a:cubicBezTo>
                  <a:cubicBezTo>
                    <a:pt x="219043" y="30423"/>
                    <a:pt x="222084" y="33465"/>
                    <a:pt x="225128" y="33465"/>
                  </a:cubicBezTo>
                  <a:cubicBezTo>
                    <a:pt x="228169" y="36507"/>
                    <a:pt x="225128" y="39549"/>
                    <a:pt x="225128" y="42592"/>
                  </a:cubicBezTo>
                  <a:cubicBezTo>
                    <a:pt x="225128" y="48676"/>
                    <a:pt x="191662" y="69972"/>
                    <a:pt x="149071" y="69972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26017142-7A52-4C76-9F7A-04A668AA564C}"/>
                </a:ext>
              </a:extLst>
            </p:cNvPr>
            <p:cNvSpPr/>
            <p:nvPr/>
          </p:nvSpPr>
          <p:spPr>
            <a:xfrm>
              <a:off x="20412478" y="1875150"/>
              <a:ext cx="113695" cy="267780"/>
            </a:xfrm>
            <a:custGeom>
              <a:avLst/>
              <a:gdLst>
                <a:gd name="connsiteX0" fmla="*/ 113696 w 113695"/>
                <a:gd name="connsiteY0" fmla="*/ 127837 h 267780"/>
                <a:gd name="connsiteX1" fmla="*/ 58933 w 113695"/>
                <a:gd name="connsiteY1" fmla="*/ 267781 h 267780"/>
                <a:gd name="connsiteX2" fmla="*/ 4173 w 113695"/>
                <a:gd name="connsiteY2" fmla="*/ 164344 h 267780"/>
                <a:gd name="connsiteX3" fmla="*/ 71103 w 113695"/>
                <a:gd name="connsiteY3" fmla="*/ 62 h 267780"/>
                <a:gd name="connsiteX4" fmla="*/ 113696 w 113695"/>
                <a:gd name="connsiteY4" fmla="*/ 127837 h 267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695" h="267780">
                  <a:moveTo>
                    <a:pt x="113696" y="127837"/>
                  </a:moveTo>
                  <a:cubicBezTo>
                    <a:pt x="113696" y="127837"/>
                    <a:pt x="52850" y="234316"/>
                    <a:pt x="58933" y="267781"/>
                  </a:cubicBezTo>
                  <a:cubicBezTo>
                    <a:pt x="58933" y="267781"/>
                    <a:pt x="19385" y="222147"/>
                    <a:pt x="4173" y="164344"/>
                  </a:cubicBezTo>
                  <a:cubicBezTo>
                    <a:pt x="-7995" y="103499"/>
                    <a:pt x="4173" y="12231"/>
                    <a:pt x="71103" y="62"/>
                  </a:cubicBezTo>
                  <a:cubicBezTo>
                    <a:pt x="71103" y="-2980"/>
                    <a:pt x="74145" y="106541"/>
                    <a:pt x="113696" y="127837"/>
                  </a:cubicBezTo>
                  <a:close/>
                </a:path>
              </a:pathLst>
            </a:custGeom>
            <a:solidFill>
              <a:srgbClr val="664241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F48939BB-8D27-4D82-83F7-A47CA7C8E90E}"/>
                </a:ext>
              </a:extLst>
            </p:cNvPr>
            <p:cNvSpPr/>
            <p:nvPr/>
          </p:nvSpPr>
          <p:spPr>
            <a:xfrm>
              <a:off x="20470952" y="1769245"/>
              <a:ext cx="434742" cy="358473"/>
            </a:xfrm>
            <a:custGeom>
              <a:avLst/>
              <a:gdLst>
                <a:gd name="connsiteX0" fmla="*/ 55222 w 434742"/>
                <a:gd name="connsiteY0" fmla="*/ 233741 h 358473"/>
                <a:gd name="connsiteX1" fmla="*/ 179953 w 434742"/>
                <a:gd name="connsiteY1" fmla="*/ 200276 h 358473"/>
                <a:gd name="connsiteX2" fmla="*/ 414207 w 434742"/>
                <a:gd name="connsiteY2" fmla="*/ 358474 h 358473"/>
                <a:gd name="connsiteX3" fmla="*/ 426375 w 434742"/>
                <a:gd name="connsiteY3" fmla="*/ 191150 h 358473"/>
                <a:gd name="connsiteX4" fmla="*/ 341192 w 434742"/>
                <a:gd name="connsiteY4" fmla="*/ 39037 h 358473"/>
                <a:gd name="connsiteX5" fmla="*/ 140404 w 434742"/>
                <a:gd name="connsiteY5" fmla="*/ 14699 h 358473"/>
                <a:gd name="connsiteX6" fmla="*/ 15671 w 434742"/>
                <a:gd name="connsiteY6" fmla="*/ 105966 h 358473"/>
                <a:gd name="connsiteX7" fmla="*/ 55222 w 434742"/>
                <a:gd name="connsiteY7" fmla="*/ 233741 h 358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4742" h="358473">
                  <a:moveTo>
                    <a:pt x="55222" y="233741"/>
                  </a:moveTo>
                  <a:cubicBezTo>
                    <a:pt x="55222" y="233741"/>
                    <a:pt x="152572" y="200276"/>
                    <a:pt x="179953" y="200276"/>
                  </a:cubicBezTo>
                  <a:cubicBezTo>
                    <a:pt x="280347" y="209403"/>
                    <a:pt x="432460" y="285459"/>
                    <a:pt x="414207" y="358474"/>
                  </a:cubicBezTo>
                  <a:cubicBezTo>
                    <a:pt x="414207" y="358474"/>
                    <a:pt x="450715" y="258079"/>
                    <a:pt x="426375" y="191150"/>
                  </a:cubicBezTo>
                  <a:cubicBezTo>
                    <a:pt x="426375" y="191150"/>
                    <a:pt x="432460" y="66417"/>
                    <a:pt x="341192" y="39037"/>
                  </a:cubicBezTo>
                  <a:cubicBezTo>
                    <a:pt x="249925" y="11657"/>
                    <a:pt x="213417" y="-18766"/>
                    <a:pt x="140404" y="14699"/>
                  </a:cubicBezTo>
                  <a:cubicBezTo>
                    <a:pt x="67390" y="51206"/>
                    <a:pt x="21756" y="69459"/>
                    <a:pt x="15671" y="105966"/>
                  </a:cubicBezTo>
                  <a:cubicBezTo>
                    <a:pt x="12629" y="102924"/>
                    <a:pt x="-36046" y="215488"/>
                    <a:pt x="55222" y="233741"/>
                  </a:cubicBezTo>
                  <a:close/>
                </a:path>
              </a:pathLst>
            </a:custGeom>
            <a:solidFill>
              <a:srgbClr val="664241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42C39077-8F96-4DEB-A40D-F483FA422AED}"/>
                </a:ext>
              </a:extLst>
            </p:cNvPr>
            <p:cNvSpPr/>
            <p:nvPr/>
          </p:nvSpPr>
          <p:spPr>
            <a:xfrm>
              <a:off x="20404561" y="2106675"/>
              <a:ext cx="78165" cy="112780"/>
            </a:xfrm>
            <a:custGeom>
              <a:avLst/>
              <a:gdLst>
                <a:gd name="connsiteX0" fmla="*/ 66850 w 78165"/>
                <a:gd name="connsiteY0" fmla="*/ 18001 h 112780"/>
                <a:gd name="connsiteX1" fmla="*/ 9048 w 78165"/>
                <a:gd name="connsiteY1" fmla="*/ 5832 h 112780"/>
                <a:gd name="connsiteX2" fmla="*/ 63809 w 78165"/>
                <a:gd name="connsiteY2" fmla="*/ 109269 h 112780"/>
                <a:gd name="connsiteX3" fmla="*/ 66850 w 78165"/>
                <a:gd name="connsiteY3" fmla="*/ 18001 h 11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165" h="112780">
                  <a:moveTo>
                    <a:pt x="66850" y="18001"/>
                  </a:moveTo>
                  <a:cubicBezTo>
                    <a:pt x="66850" y="18001"/>
                    <a:pt x="33386" y="-12421"/>
                    <a:pt x="9048" y="5832"/>
                  </a:cubicBezTo>
                  <a:cubicBezTo>
                    <a:pt x="-18333" y="24086"/>
                    <a:pt x="21216" y="133607"/>
                    <a:pt x="63809" y="109269"/>
                  </a:cubicBezTo>
                  <a:cubicBezTo>
                    <a:pt x="94231" y="91016"/>
                    <a:pt x="66850" y="18001"/>
                    <a:pt x="66850" y="18001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116132AF-2FF8-4D85-93CB-BD842464FB04}"/>
                </a:ext>
              </a:extLst>
            </p:cNvPr>
            <p:cNvSpPr/>
            <p:nvPr/>
          </p:nvSpPr>
          <p:spPr>
            <a:xfrm>
              <a:off x="20461525" y="1890423"/>
              <a:ext cx="73774" cy="240338"/>
            </a:xfrm>
            <a:custGeom>
              <a:avLst/>
              <a:gdLst>
                <a:gd name="connsiteX0" fmla="*/ 9886 w 73774"/>
                <a:gd name="connsiteY0" fmla="*/ 240338 h 240338"/>
                <a:gd name="connsiteX1" fmla="*/ 9886 w 73774"/>
                <a:gd name="connsiteY1" fmla="*/ 240338 h 240338"/>
                <a:gd name="connsiteX2" fmla="*/ 3803 w 73774"/>
                <a:gd name="connsiteY2" fmla="*/ 234254 h 240338"/>
                <a:gd name="connsiteX3" fmla="*/ 52479 w 73774"/>
                <a:gd name="connsiteY3" fmla="*/ 115606 h 240338"/>
                <a:gd name="connsiteX4" fmla="*/ 6845 w 73774"/>
                <a:gd name="connsiteY4" fmla="*/ 69972 h 240338"/>
                <a:gd name="connsiteX5" fmla="*/ 6845 w 73774"/>
                <a:gd name="connsiteY5" fmla="*/ 3042 h 240338"/>
                <a:gd name="connsiteX6" fmla="*/ 15971 w 73774"/>
                <a:gd name="connsiteY6" fmla="*/ 0 h 240338"/>
                <a:gd name="connsiteX7" fmla="*/ 19015 w 73774"/>
                <a:gd name="connsiteY7" fmla="*/ 9127 h 240338"/>
                <a:gd name="connsiteX8" fmla="*/ 19015 w 73774"/>
                <a:gd name="connsiteY8" fmla="*/ 66930 h 240338"/>
                <a:gd name="connsiteX9" fmla="*/ 64648 w 73774"/>
                <a:gd name="connsiteY9" fmla="*/ 109521 h 240338"/>
                <a:gd name="connsiteX10" fmla="*/ 73775 w 73774"/>
                <a:gd name="connsiteY10" fmla="*/ 112563 h 240338"/>
                <a:gd name="connsiteX11" fmla="*/ 67690 w 73774"/>
                <a:gd name="connsiteY11" fmla="*/ 115606 h 240338"/>
                <a:gd name="connsiteX12" fmla="*/ 15971 w 73774"/>
                <a:gd name="connsiteY12" fmla="*/ 234254 h 240338"/>
                <a:gd name="connsiteX13" fmla="*/ 9886 w 73774"/>
                <a:gd name="connsiteY13" fmla="*/ 240338 h 24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774" h="240338">
                  <a:moveTo>
                    <a:pt x="9886" y="240338"/>
                  </a:moveTo>
                  <a:cubicBezTo>
                    <a:pt x="9886" y="240338"/>
                    <a:pt x="9886" y="240338"/>
                    <a:pt x="9886" y="240338"/>
                  </a:cubicBezTo>
                  <a:cubicBezTo>
                    <a:pt x="6845" y="240338"/>
                    <a:pt x="3803" y="237296"/>
                    <a:pt x="3803" y="234254"/>
                  </a:cubicBezTo>
                  <a:cubicBezTo>
                    <a:pt x="9886" y="182535"/>
                    <a:pt x="40309" y="133859"/>
                    <a:pt x="52479" y="115606"/>
                  </a:cubicBezTo>
                  <a:cubicBezTo>
                    <a:pt x="40309" y="109521"/>
                    <a:pt x="15971" y="97352"/>
                    <a:pt x="6845" y="69972"/>
                  </a:cubicBezTo>
                  <a:cubicBezTo>
                    <a:pt x="-2282" y="51718"/>
                    <a:pt x="-2282" y="27380"/>
                    <a:pt x="6845" y="3042"/>
                  </a:cubicBezTo>
                  <a:cubicBezTo>
                    <a:pt x="6845" y="0"/>
                    <a:pt x="12930" y="0"/>
                    <a:pt x="15971" y="0"/>
                  </a:cubicBezTo>
                  <a:cubicBezTo>
                    <a:pt x="19015" y="0"/>
                    <a:pt x="22056" y="6085"/>
                    <a:pt x="19015" y="9127"/>
                  </a:cubicBezTo>
                  <a:cubicBezTo>
                    <a:pt x="9886" y="30423"/>
                    <a:pt x="9886" y="48676"/>
                    <a:pt x="19015" y="66930"/>
                  </a:cubicBezTo>
                  <a:cubicBezTo>
                    <a:pt x="31182" y="97352"/>
                    <a:pt x="64648" y="109521"/>
                    <a:pt x="64648" y="109521"/>
                  </a:cubicBezTo>
                  <a:lnTo>
                    <a:pt x="73775" y="112563"/>
                  </a:lnTo>
                  <a:lnTo>
                    <a:pt x="67690" y="115606"/>
                  </a:lnTo>
                  <a:cubicBezTo>
                    <a:pt x="67690" y="115606"/>
                    <a:pt x="25098" y="173408"/>
                    <a:pt x="15971" y="234254"/>
                  </a:cubicBezTo>
                  <a:cubicBezTo>
                    <a:pt x="15971" y="237296"/>
                    <a:pt x="12930" y="240338"/>
                    <a:pt x="9886" y="240338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7CD2E868-B075-43A8-89A8-61F830E7517A}"/>
                </a:ext>
              </a:extLst>
            </p:cNvPr>
            <p:cNvSpPr/>
            <p:nvPr/>
          </p:nvSpPr>
          <p:spPr>
            <a:xfrm>
              <a:off x="20641779" y="1941944"/>
              <a:ext cx="193942" cy="33662"/>
            </a:xfrm>
            <a:custGeom>
              <a:avLst/>
              <a:gdLst>
                <a:gd name="connsiteX0" fmla="*/ 191662 w 193942"/>
                <a:gd name="connsiteY0" fmla="*/ 33662 h 33662"/>
                <a:gd name="connsiteX1" fmla="*/ 188620 w 193942"/>
                <a:gd name="connsiteY1" fmla="*/ 33662 h 33662"/>
                <a:gd name="connsiteX2" fmla="*/ 9126 w 193942"/>
                <a:gd name="connsiteY2" fmla="*/ 33662 h 33662"/>
                <a:gd name="connsiteX3" fmla="*/ 0 w 193942"/>
                <a:gd name="connsiteY3" fmla="*/ 30620 h 33662"/>
                <a:gd name="connsiteX4" fmla="*/ 3042 w 193942"/>
                <a:gd name="connsiteY4" fmla="*/ 21493 h 33662"/>
                <a:gd name="connsiteX5" fmla="*/ 191662 w 193942"/>
                <a:gd name="connsiteY5" fmla="*/ 24535 h 33662"/>
                <a:gd name="connsiteX6" fmla="*/ 191662 w 193942"/>
                <a:gd name="connsiteY6" fmla="*/ 33662 h 33662"/>
                <a:gd name="connsiteX7" fmla="*/ 191662 w 193942"/>
                <a:gd name="connsiteY7" fmla="*/ 33662 h 3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3942" h="33662">
                  <a:moveTo>
                    <a:pt x="191662" y="33662"/>
                  </a:moveTo>
                  <a:cubicBezTo>
                    <a:pt x="191662" y="33662"/>
                    <a:pt x="188620" y="33662"/>
                    <a:pt x="188620" y="33662"/>
                  </a:cubicBezTo>
                  <a:cubicBezTo>
                    <a:pt x="124732" y="-15014"/>
                    <a:pt x="12168" y="30620"/>
                    <a:pt x="9126" y="33662"/>
                  </a:cubicBezTo>
                  <a:cubicBezTo>
                    <a:pt x="6085" y="33662"/>
                    <a:pt x="3042" y="33662"/>
                    <a:pt x="0" y="30620"/>
                  </a:cubicBezTo>
                  <a:cubicBezTo>
                    <a:pt x="0" y="27578"/>
                    <a:pt x="0" y="24535"/>
                    <a:pt x="3042" y="21493"/>
                  </a:cubicBezTo>
                  <a:cubicBezTo>
                    <a:pt x="9126" y="18451"/>
                    <a:pt x="124732" y="-27183"/>
                    <a:pt x="191662" y="24535"/>
                  </a:cubicBezTo>
                  <a:cubicBezTo>
                    <a:pt x="194703" y="27578"/>
                    <a:pt x="194703" y="30620"/>
                    <a:pt x="191662" y="33662"/>
                  </a:cubicBezTo>
                  <a:cubicBezTo>
                    <a:pt x="194703" y="33662"/>
                    <a:pt x="191662" y="33662"/>
                    <a:pt x="191662" y="33662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6C577405-36DF-4C30-981E-032C6F362AD3}"/>
                </a:ext>
              </a:extLst>
            </p:cNvPr>
            <p:cNvSpPr/>
            <p:nvPr/>
          </p:nvSpPr>
          <p:spPr>
            <a:xfrm>
              <a:off x="20106341" y="2474536"/>
              <a:ext cx="1068647" cy="1563534"/>
            </a:xfrm>
            <a:custGeom>
              <a:avLst/>
              <a:gdLst>
                <a:gd name="connsiteX0" fmla="*/ 395493 w 1068647"/>
                <a:gd name="connsiteY0" fmla="*/ 0 h 1563534"/>
                <a:gd name="connsiteX1" fmla="*/ 684507 w 1068647"/>
                <a:gd name="connsiteY1" fmla="*/ 0 h 1563534"/>
                <a:gd name="connsiteX2" fmla="*/ 982649 w 1068647"/>
                <a:gd name="connsiteY2" fmla="*/ 130817 h 1563534"/>
                <a:gd name="connsiteX3" fmla="*/ 1067832 w 1068647"/>
                <a:gd name="connsiteY3" fmla="*/ 1533296 h 1563534"/>
                <a:gd name="connsiteX4" fmla="*/ 0 w 1068647"/>
                <a:gd name="connsiteY4" fmla="*/ 1508958 h 1563534"/>
                <a:gd name="connsiteX5" fmla="*/ 115607 w 1068647"/>
                <a:gd name="connsiteY5" fmla="*/ 103437 h 1563534"/>
                <a:gd name="connsiteX6" fmla="*/ 395493 w 1068647"/>
                <a:gd name="connsiteY6" fmla="*/ 0 h 1563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8647" h="1563534">
                  <a:moveTo>
                    <a:pt x="395493" y="0"/>
                  </a:moveTo>
                  <a:cubicBezTo>
                    <a:pt x="395493" y="0"/>
                    <a:pt x="568902" y="54761"/>
                    <a:pt x="684507" y="0"/>
                  </a:cubicBezTo>
                  <a:cubicBezTo>
                    <a:pt x="684507" y="0"/>
                    <a:pt x="958310" y="97352"/>
                    <a:pt x="982649" y="130817"/>
                  </a:cubicBezTo>
                  <a:cubicBezTo>
                    <a:pt x="1006987" y="161239"/>
                    <a:pt x="1076959" y="1466366"/>
                    <a:pt x="1067832" y="1533296"/>
                  </a:cubicBezTo>
                  <a:cubicBezTo>
                    <a:pt x="1067832" y="1533296"/>
                    <a:pt x="578028" y="1615437"/>
                    <a:pt x="0" y="1508958"/>
                  </a:cubicBezTo>
                  <a:cubicBezTo>
                    <a:pt x="0" y="1153014"/>
                    <a:pt x="73015" y="133859"/>
                    <a:pt x="115607" y="103437"/>
                  </a:cubicBezTo>
                  <a:cubicBezTo>
                    <a:pt x="155156" y="69972"/>
                    <a:pt x="395493" y="0"/>
                    <a:pt x="395493" y="0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89B728FC-BE57-46A2-AA9C-8BE4555A3FDE}"/>
                </a:ext>
              </a:extLst>
            </p:cNvPr>
            <p:cNvSpPr/>
            <p:nvPr/>
          </p:nvSpPr>
          <p:spPr>
            <a:xfrm>
              <a:off x="20931411" y="2564242"/>
              <a:ext cx="449635" cy="610011"/>
            </a:xfrm>
            <a:custGeom>
              <a:avLst/>
              <a:gdLst>
                <a:gd name="connsiteX0" fmla="*/ 63269 w 449635"/>
                <a:gd name="connsiteY0" fmla="*/ 610012 h 610011"/>
                <a:gd name="connsiteX1" fmla="*/ 51101 w 449635"/>
                <a:gd name="connsiteY1" fmla="*/ 10688 h 610011"/>
                <a:gd name="connsiteX2" fmla="*/ 449635 w 449635"/>
                <a:gd name="connsiteY2" fmla="*/ 442688 h 610011"/>
                <a:gd name="connsiteX3" fmla="*/ 63269 w 449635"/>
                <a:gd name="connsiteY3" fmla="*/ 610012 h 610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635" h="610011">
                  <a:moveTo>
                    <a:pt x="63269" y="610012"/>
                  </a:moveTo>
                  <a:cubicBezTo>
                    <a:pt x="63269" y="610012"/>
                    <a:pt x="-70590" y="89786"/>
                    <a:pt x="51101" y="10688"/>
                  </a:cubicBezTo>
                  <a:cubicBezTo>
                    <a:pt x="194085" y="-80580"/>
                    <a:pt x="449635" y="442688"/>
                    <a:pt x="449635" y="442688"/>
                  </a:cubicBezTo>
                  <a:cubicBezTo>
                    <a:pt x="449635" y="442688"/>
                    <a:pt x="276226" y="591758"/>
                    <a:pt x="63269" y="610012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23CD4F12-FC6B-408C-B32A-CAD3E688CCF9}"/>
                </a:ext>
              </a:extLst>
            </p:cNvPr>
            <p:cNvSpPr/>
            <p:nvPr/>
          </p:nvSpPr>
          <p:spPr>
            <a:xfrm>
              <a:off x="21079862" y="2599268"/>
              <a:ext cx="53717" cy="550647"/>
            </a:xfrm>
            <a:custGeom>
              <a:avLst/>
              <a:gdLst>
                <a:gd name="connsiteX0" fmla="*/ 48677 w 53717"/>
                <a:gd name="connsiteY0" fmla="*/ 550648 h 550647"/>
                <a:gd name="connsiteX1" fmla="*/ 42592 w 53717"/>
                <a:gd name="connsiteY1" fmla="*/ 544563 h 550647"/>
                <a:gd name="connsiteX2" fmla="*/ 0 w 53717"/>
                <a:gd name="connsiteY2" fmla="*/ 6085 h 550647"/>
                <a:gd name="connsiteX3" fmla="*/ 3043 w 53717"/>
                <a:gd name="connsiteY3" fmla="*/ 0 h 550647"/>
                <a:gd name="connsiteX4" fmla="*/ 9128 w 53717"/>
                <a:gd name="connsiteY4" fmla="*/ 3042 h 550647"/>
                <a:gd name="connsiteX5" fmla="*/ 51719 w 53717"/>
                <a:gd name="connsiteY5" fmla="*/ 544563 h 550647"/>
                <a:gd name="connsiteX6" fmla="*/ 48677 w 53717"/>
                <a:gd name="connsiteY6" fmla="*/ 550648 h 550647"/>
                <a:gd name="connsiteX7" fmla="*/ 48677 w 53717"/>
                <a:gd name="connsiteY7" fmla="*/ 550648 h 550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717" h="550647">
                  <a:moveTo>
                    <a:pt x="48677" y="550648"/>
                  </a:moveTo>
                  <a:cubicBezTo>
                    <a:pt x="45634" y="550648"/>
                    <a:pt x="42592" y="547606"/>
                    <a:pt x="42592" y="544563"/>
                  </a:cubicBezTo>
                  <a:cubicBezTo>
                    <a:pt x="42592" y="538479"/>
                    <a:pt x="6085" y="45634"/>
                    <a:pt x="0" y="6085"/>
                  </a:cubicBezTo>
                  <a:cubicBezTo>
                    <a:pt x="0" y="3042"/>
                    <a:pt x="0" y="0"/>
                    <a:pt x="3043" y="0"/>
                  </a:cubicBezTo>
                  <a:cubicBezTo>
                    <a:pt x="6085" y="0"/>
                    <a:pt x="9128" y="0"/>
                    <a:pt x="9128" y="3042"/>
                  </a:cubicBezTo>
                  <a:cubicBezTo>
                    <a:pt x="18255" y="42592"/>
                    <a:pt x="51719" y="523268"/>
                    <a:pt x="51719" y="544563"/>
                  </a:cubicBezTo>
                  <a:cubicBezTo>
                    <a:pt x="54762" y="547606"/>
                    <a:pt x="54762" y="550648"/>
                    <a:pt x="48677" y="550648"/>
                  </a:cubicBezTo>
                  <a:cubicBezTo>
                    <a:pt x="51719" y="550648"/>
                    <a:pt x="48677" y="550648"/>
                    <a:pt x="48677" y="550648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6BD5D90D-438C-4564-92D2-137A40101CA5}"/>
                </a:ext>
              </a:extLst>
            </p:cNvPr>
            <p:cNvSpPr/>
            <p:nvPr/>
          </p:nvSpPr>
          <p:spPr>
            <a:xfrm>
              <a:off x="21828258" y="3037193"/>
              <a:ext cx="279887" cy="215568"/>
            </a:xfrm>
            <a:custGeom>
              <a:avLst/>
              <a:gdLst>
                <a:gd name="connsiteX0" fmla="*/ 228169 w 279887"/>
                <a:gd name="connsiteY0" fmla="*/ 137062 h 215568"/>
                <a:gd name="connsiteX1" fmla="*/ 264676 w 279887"/>
                <a:gd name="connsiteY1" fmla="*/ 109681 h 215568"/>
                <a:gd name="connsiteX2" fmla="*/ 279888 w 279887"/>
                <a:gd name="connsiteY2" fmla="*/ 76217 h 215568"/>
                <a:gd name="connsiteX3" fmla="*/ 261633 w 279887"/>
                <a:gd name="connsiteY3" fmla="*/ 24498 h 215568"/>
                <a:gd name="connsiteX4" fmla="*/ 234254 w 279887"/>
                <a:gd name="connsiteY4" fmla="*/ 3202 h 215568"/>
                <a:gd name="connsiteX5" fmla="*/ 0 w 279887"/>
                <a:gd name="connsiteY5" fmla="*/ 109681 h 215568"/>
                <a:gd name="connsiteX6" fmla="*/ 57802 w 279887"/>
                <a:gd name="connsiteY6" fmla="*/ 210076 h 215568"/>
                <a:gd name="connsiteX7" fmla="*/ 197746 w 279887"/>
                <a:gd name="connsiteY7" fmla="*/ 161400 h 215568"/>
                <a:gd name="connsiteX8" fmla="*/ 228169 w 279887"/>
                <a:gd name="connsiteY8" fmla="*/ 137062 h 21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9887" h="215568">
                  <a:moveTo>
                    <a:pt x="228169" y="137062"/>
                  </a:moveTo>
                  <a:cubicBezTo>
                    <a:pt x="228169" y="127935"/>
                    <a:pt x="258592" y="127935"/>
                    <a:pt x="264676" y="109681"/>
                  </a:cubicBezTo>
                  <a:cubicBezTo>
                    <a:pt x="264676" y="106639"/>
                    <a:pt x="279888" y="88385"/>
                    <a:pt x="279888" y="76217"/>
                  </a:cubicBezTo>
                  <a:cubicBezTo>
                    <a:pt x="279888" y="64047"/>
                    <a:pt x="243380" y="30583"/>
                    <a:pt x="261633" y="24498"/>
                  </a:cubicBezTo>
                  <a:cubicBezTo>
                    <a:pt x="273803" y="18414"/>
                    <a:pt x="243380" y="3202"/>
                    <a:pt x="234254" y="3202"/>
                  </a:cubicBezTo>
                  <a:cubicBezTo>
                    <a:pt x="149069" y="-12009"/>
                    <a:pt x="12168" y="27540"/>
                    <a:pt x="0" y="109681"/>
                  </a:cubicBezTo>
                  <a:cubicBezTo>
                    <a:pt x="0" y="109681"/>
                    <a:pt x="30423" y="194864"/>
                    <a:pt x="57802" y="210076"/>
                  </a:cubicBezTo>
                  <a:cubicBezTo>
                    <a:pt x="97352" y="234414"/>
                    <a:pt x="155154" y="170526"/>
                    <a:pt x="197746" y="161400"/>
                  </a:cubicBezTo>
                  <a:cubicBezTo>
                    <a:pt x="228169" y="152273"/>
                    <a:pt x="225126" y="152273"/>
                    <a:pt x="228169" y="137062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8" name="图形 1">
              <a:extLst>
                <a:ext uri="{FF2B5EF4-FFF2-40B4-BE49-F238E27FC236}">
                  <a16:creationId xmlns:a16="http://schemas.microsoft.com/office/drawing/2014/main" id="{B50F6B4D-E8BF-4B06-943D-75D40450A7C2}"/>
                </a:ext>
              </a:extLst>
            </p:cNvPr>
            <p:cNvGrpSpPr/>
            <p:nvPr/>
          </p:nvGrpSpPr>
          <p:grpSpPr>
            <a:xfrm>
              <a:off x="22016878" y="2228113"/>
              <a:ext cx="1198646" cy="894422"/>
              <a:chOff x="22016878" y="2228113"/>
              <a:chExt cx="1198646" cy="894422"/>
            </a:xfrm>
          </p:grpSpPr>
          <p:grpSp>
            <p:nvGrpSpPr>
              <p:cNvPr id="119" name="图形 1">
                <a:extLst>
                  <a:ext uri="{FF2B5EF4-FFF2-40B4-BE49-F238E27FC236}">
                    <a16:creationId xmlns:a16="http://schemas.microsoft.com/office/drawing/2014/main" id="{7E2BE733-B9A2-47D4-8025-0D7436440623}"/>
                  </a:ext>
                </a:extLst>
              </p:cNvPr>
              <p:cNvGrpSpPr/>
              <p:nvPr/>
            </p:nvGrpSpPr>
            <p:grpSpPr>
              <a:xfrm>
                <a:off x="22859580" y="2228113"/>
                <a:ext cx="355944" cy="194704"/>
                <a:chOff x="22859580" y="2228113"/>
                <a:chExt cx="355944" cy="194704"/>
              </a:xfrm>
            </p:grpSpPr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33C22F2B-0443-4818-92EA-BADAD6D79F49}"/>
                    </a:ext>
                  </a:extLst>
                </p:cNvPr>
                <p:cNvSpPr/>
                <p:nvPr/>
              </p:nvSpPr>
              <p:spPr>
                <a:xfrm>
                  <a:off x="22859580" y="2304170"/>
                  <a:ext cx="352902" cy="118647"/>
                </a:xfrm>
                <a:custGeom>
                  <a:avLst/>
                  <a:gdLst>
                    <a:gd name="connsiteX0" fmla="*/ 352903 w 352902"/>
                    <a:gd name="connsiteY0" fmla="*/ 94310 h 118647"/>
                    <a:gd name="connsiteX1" fmla="*/ 352903 w 352902"/>
                    <a:gd name="connsiteY1" fmla="*/ 0 h 118647"/>
                    <a:gd name="connsiteX2" fmla="*/ 337691 w 352902"/>
                    <a:gd name="connsiteY2" fmla="*/ 0 h 118647"/>
                    <a:gd name="connsiteX3" fmla="*/ 337691 w 352902"/>
                    <a:gd name="connsiteY3" fmla="*/ 48676 h 118647"/>
                    <a:gd name="connsiteX4" fmla="*/ 337691 w 352902"/>
                    <a:gd name="connsiteY4" fmla="*/ 82141 h 118647"/>
                    <a:gd name="connsiteX5" fmla="*/ 313354 w 352902"/>
                    <a:gd name="connsiteY5" fmla="*/ 103437 h 118647"/>
                    <a:gd name="connsiteX6" fmla="*/ 57804 w 352902"/>
                    <a:gd name="connsiteY6" fmla="*/ 106479 h 118647"/>
                    <a:gd name="connsiteX7" fmla="*/ 33466 w 352902"/>
                    <a:gd name="connsiteY7" fmla="*/ 85183 h 118647"/>
                    <a:gd name="connsiteX8" fmla="*/ 33466 w 352902"/>
                    <a:gd name="connsiteY8" fmla="*/ 3042 h 118647"/>
                    <a:gd name="connsiteX9" fmla="*/ 3043 w 352902"/>
                    <a:gd name="connsiteY9" fmla="*/ 3042 h 118647"/>
                    <a:gd name="connsiteX10" fmla="*/ 0 w 352902"/>
                    <a:gd name="connsiteY10" fmla="*/ 97352 h 118647"/>
                    <a:gd name="connsiteX11" fmla="*/ 24340 w 352902"/>
                    <a:gd name="connsiteY11" fmla="*/ 118648 h 118647"/>
                    <a:gd name="connsiteX12" fmla="*/ 328565 w 352902"/>
                    <a:gd name="connsiteY12" fmla="*/ 115606 h 118647"/>
                    <a:gd name="connsiteX13" fmla="*/ 352903 w 352902"/>
                    <a:gd name="connsiteY13" fmla="*/ 94310 h 118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52902" h="118647">
                      <a:moveTo>
                        <a:pt x="352903" y="94310"/>
                      </a:moveTo>
                      <a:lnTo>
                        <a:pt x="352903" y="0"/>
                      </a:lnTo>
                      <a:lnTo>
                        <a:pt x="337691" y="0"/>
                      </a:lnTo>
                      <a:lnTo>
                        <a:pt x="337691" y="48676"/>
                      </a:lnTo>
                      <a:lnTo>
                        <a:pt x="337691" y="82141"/>
                      </a:lnTo>
                      <a:cubicBezTo>
                        <a:pt x="337691" y="94310"/>
                        <a:pt x="325522" y="103437"/>
                        <a:pt x="313354" y="103437"/>
                      </a:cubicBezTo>
                      <a:lnTo>
                        <a:pt x="57804" y="106479"/>
                      </a:lnTo>
                      <a:cubicBezTo>
                        <a:pt x="45634" y="106479"/>
                        <a:pt x="33466" y="97352"/>
                        <a:pt x="33466" y="85183"/>
                      </a:cubicBezTo>
                      <a:lnTo>
                        <a:pt x="33466" y="3042"/>
                      </a:lnTo>
                      <a:lnTo>
                        <a:pt x="3043" y="3042"/>
                      </a:lnTo>
                      <a:lnTo>
                        <a:pt x="0" y="97352"/>
                      </a:lnTo>
                      <a:cubicBezTo>
                        <a:pt x="0" y="109521"/>
                        <a:pt x="12170" y="118648"/>
                        <a:pt x="24340" y="118648"/>
                      </a:cubicBezTo>
                      <a:lnTo>
                        <a:pt x="328565" y="115606"/>
                      </a:lnTo>
                      <a:cubicBezTo>
                        <a:pt x="340733" y="115606"/>
                        <a:pt x="352903" y="106479"/>
                        <a:pt x="352903" y="94310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1F6E94FE-B0F1-44EB-926B-182B426D3827}"/>
                    </a:ext>
                  </a:extLst>
                </p:cNvPr>
                <p:cNvSpPr/>
                <p:nvPr/>
              </p:nvSpPr>
              <p:spPr>
                <a:xfrm>
                  <a:off x="22859580" y="2228113"/>
                  <a:ext cx="355944" cy="182535"/>
                </a:xfrm>
                <a:custGeom>
                  <a:avLst/>
                  <a:gdLst>
                    <a:gd name="connsiteX0" fmla="*/ 352903 w 355944"/>
                    <a:gd name="connsiteY0" fmla="*/ 161239 h 182535"/>
                    <a:gd name="connsiteX1" fmla="*/ 352903 w 355944"/>
                    <a:gd name="connsiteY1" fmla="*/ 161239 h 182535"/>
                    <a:gd name="connsiteX2" fmla="*/ 355944 w 355944"/>
                    <a:gd name="connsiteY2" fmla="*/ 21296 h 182535"/>
                    <a:gd name="connsiteX3" fmla="*/ 331606 w 355944"/>
                    <a:gd name="connsiteY3" fmla="*/ 0 h 182535"/>
                    <a:gd name="connsiteX4" fmla="*/ 27381 w 355944"/>
                    <a:gd name="connsiteY4" fmla="*/ 3042 h 182535"/>
                    <a:gd name="connsiteX5" fmla="*/ 3043 w 355944"/>
                    <a:gd name="connsiteY5" fmla="*/ 24338 h 182535"/>
                    <a:gd name="connsiteX6" fmla="*/ 0 w 355944"/>
                    <a:gd name="connsiteY6" fmla="*/ 164282 h 182535"/>
                    <a:gd name="connsiteX7" fmla="*/ 0 w 355944"/>
                    <a:gd name="connsiteY7" fmla="*/ 164282 h 182535"/>
                    <a:gd name="connsiteX8" fmla="*/ 24340 w 355944"/>
                    <a:gd name="connsiteY8" fmla="*/ 182535 h 182535"/>
                    <a:gd name="connsiteX9" fmla="*/ 328565 w 355944"/>
                    <a:gd name="connsiteY9" fmla="*/ 179493 h 182535"/>
                    <a:gd name="connsiteX10" fmla="*/ 352903 w 355944"/>
                    <a:gd name="connsiteY10" fmla="*/ 161239 h 1825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55944" h="182535">
                      <a:moveTo>
                        <a:pt x="352903" y="161239"/>
                      </a:moveTo>
                      <a:cubicBezTo>
                        <a:pt x="352903" y="158197"/>
                        <a:pt x="352903" y="158197"/>
                        <a:pt x="352903" y="161239"/>
                      </a:cubicBezTo>
                      <a:lnTo>
                        <a:pt x="355944" y="21296"/>
                      </a:lnTo>
                      <a:cubicBezTo>
                        <a:pt x="355944" y="9127"/>
                        <a:pt x="343776" y="0"/>
                        <a:pt x="331606" y="0"/>
                      </a:cubicBezTo>
                      <a:lnTo>
                        <a:pt x="27381" y="3042"/>
                      </a:lnTo>
                      <a:cubicBezTo>
                        <a:pt x="15211" y="3042"/>
                        <a:pt x="3043" y="12169"/>
                        <a:pt x="3043" y="24338"/>
                      </a:cubicBezTo>
                      <a:lnTo>
                        <a:pt x="0" y="164282"/>
                      </a:lnTo>
                      <a:cubicBezTo>
                        <a:pt x="0" y="164282"/>
                        <a:pt x="0" y="164282"/>
                        <a:pt x="0" y="164282"/>
                      </a:cubicBezTo>
                      <a:cubicBezTo>
                        <a:pt x="0" y="176451"/>
                        <a:pt x="12170" y="182535"/>
                        <a:pt x="24340" y="182535"/>
                      </a:cubicBezTo>
                      <a:lnTo>
                        <a:pt x="328565" y="179493"/>
                      </a:lnTo>
                      <a:cubicBezTo>
                        <a:pt x="340733" y="179493"/>
                        <a:pt x="349859" y="170366"/>
                        <a:pt x="352903" y="161239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2098D720-4F10-427C-8BB1-4B67B92DC7E8}"/>
                  </a:ext>
                </a:extLst>
              </p:cNvPr>
              <p:cNvSpPr/>
              <p:nvPr/>
            </p:nvSpPr>
            <p:spPr>
              <a:xfrm>
                <a:off x="23160764" y="2304170"/>
                <a:ext cx="30422" cy="30422"/>
              </a:xfrm>
              <a:custGeom>
                <a:avLst/>
                <a:gdLst>
                  <a:gd name="connsiteX0" fmla="*/ 30423 w 30422"/>
                  <a:gd name="connsiteY0" fmla="*/ 15211 h 30422"/>
                  <a:gd name="connsiteX1" fmla="*/ 15211 w 30422"/>
                  <a:gd name="connsiteY1" fmla="*/ 0 h 30422"/>
                  <a:gd name="connsiteX2" fmla="*/ 0 w 30422"/>
                  <a:gd name="connsiteY2" fmla="*/ 15211 h 30422"/>
                  <a:gd name="connsiteX3" fmla="*/ 15211 w 30422"/>
                  <a:gd name="connsiteY3" fmla="*/ 30423 h 30422"/>
                  <a:gd name="connsiteX4" fmla="*/ 30423 w 30422"/>
                  <a:gd name="connsiteY4" fmla="*/ 15211 h 30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422" h="30422">
                    <a:moveTo>
                      <a:pt x="30423" y="15211"/>
                    </a:moveTo>
                    <a:cubicBezTo>
                      <a:pt x="30423" y="6084"/>
                      <a:pt x="24338" y="0"/>
                      <a:pt x="15211" y="0"/>
                    </a:cubicBezTo>
                    <a:cubicBezTo>
                      <a:pt x="6085" y="0"/>
                      <a:pt x="0" y="6084"/>
                      <a:pt x="0" y="15211"/>
                    </a:cubicBezTo>
                    <a:cubicBezTo>
                      <a:pt x="0" y="24338"/>
                      <a:pt x="6085" y="30423"/>
                      <a:pt x="15211" y="30423"/>
                    </a:cubicBezTo>
                    <a:cubicBezTo>
                      <a:pt x="24338" y="30423"/>
                      <a:pt x="30423" y="21296"/>
                      <a:pt x="30423" y="15211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59CD3BBA-8391-4730-BA00-37E94F535CE4}"/>
                  </a:ext>
                </a:extLst>
              </p:cNvPr>
              <p:cNvSpPr/>
              <p:nvPr/>
            </p:nvSpPr>
            <p:spPr>
              <a:xfrm>
                <a:off x="22975188" y="2322423"/>
                <a:ext cx="130816" cy="85183"/>
              </a:xfrm>
              <a:custGeom>
                <a:avLst/>
                <a:gdLst>
                  <a:gd name="connsiteX0" fmla="*/ 127773 w 130816"/>
                  <a:gd name="connsiteY0" fmla="*/ 85183 h 85183"/>
                  <a:gd name="connsiteX1" fmla="*/ 0 w 130816"/>
                  <a:gd name="connsiteY1" fmla="*/ 85183 h 85183"/>
                  <a:gd name="connsiteX2" fmla="*/ 0 w 130816"/>
                  <a:gd name="connsiteY2" fmla="*/ 15211 h 85183"/>
                  <a:gd name="connsiteX3" fmla="*/ 15211 w 130816"/>
                  <a:gd name="connsiteY3" fmla="*/ 0 h 85183"/>
                  <a:gd name="connsiteX4" fmla="*/ 115605 w 130816"/>
                  <a:gd name="connsiteY4" fmla="*/ 0 h 85183"/>
                  <a:gd name="connsiteX5" fmla="*/ 130817 w 130816"/>
                  <a:gd name="connsiteY5" fmla="*/ 15211 h 85183"/>
                  <a:gd name="connsiteX6" fmla="*/ 130817 w 130816"/>
                  <a:gd name="connsiteY6" fmla="*/ 85183 h 85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816" h="85183">
                    <a:moveTo>
                      <a:pt x="127773" y="85183"/>
                    </a:moveTo>
                    <a:lnTo>
                      <a:pt x="0" y="85183"/>
                    </a:lnTo>
                    <a:lnTo>
                      <a:pt x="0" y="15211"/>
                    </a:lnTo>
                    <a:cubicBezTo>
                      <a:pt x="0" y="6084"/>
                      <a:pt x="6083" y="0"/>
                      <a:pt x="15211" y="0"/>
                    </a:cubicBezTo>
                    <a:lnTo>
                      <a:pt x="115605" y="0"/>
                    </a:lnTo>
                    <a:cubicBezTo>
                      <a:pt x="124732" y="0"/>
                      <a:pt x="130817" y="6084"/>
                      <a:pt x="130817" y="15211"/>
                    </a:cubicBezTo>
                    <a:lnTo>
                      <a:pt x="130817" y="85183"/>
                    </a:lnTo>
                    <a:close/>
                  </a:path>
                </a:pathLst>
              </a:custGeom>
              <a:solidFill>
                <a:srgbClr val="6C5D6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526C864E-0E57-4B46-800E-26375903771A}"/>
                  </a:ext>
                </a:extLst>
              </p:cNvPr>
              <p:cNvSpPr/>
              <p:nvPr/>
            </p:nvSpPr>
            <p:spPr>
              <a:xfrm>
                <a:off x="22966059" y="2407606"/>
                <a:ext cx="136901" cy="12169"/>
              </a:xfrm>
              <a:custGeom>
                <a:avLst/>
                <a:gdLst>
                  <a:gd name="connsiteX0" fmla="*/ 6085 w 136901"/>
                  <a:gd name="connsiteY0" fmla="*/ 3042 h 12169"/>
                  <a:gd name="connsiteX1" fmla="*/ 0 w 136901"/>
                  <a:gd name="connsiteY1" fmla="*/ 12169 h 12169"/>
                  <a:gd name="connsiteX2" fmla="*/ 127775 w 136901"/>
                  <a:gd name="connsiteY2" fmla="*/ 12169 h 12169"/>
                  <a:gd name="connsiteX3" fmla="*/ 136901 w 136901"/>
                  <a:gd name="connsiteY3" fmla="*/ 0 h 12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901" h="12169">
                    <a:moveTo>
                      <a:pt x="6085" y="3042"/>
                    </a:moveTo>
                    <a:lnTo>
                      <a:pt x="0" y="12169"/>
                    </a:lnTo>
                    <a:lnTo>
                      <a:pt x="127775" y="12169"/>
                    </a:lnTo>
                    <a:lnTo>
                      <a:pt x="136901" y="0"/>
                    </a:lnTo>
                    <a:close/>
                  </a:path>
                </a:pathLst>
              </a:custGeom>
              <a:solidFill>
                <a:srgbClr val="6C5D6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69D75807-4CC9-4BD0-8940-D01459E43FA1}"/>
                  </a:ext>
                </a:extLst>
              </p:cNvPr>
              <p:cNvSpPr/>
              <p:nvPr/>
            </p:nvSpPr>
            <p:spPr>
              <a:xfrm>
                <a:off x="22016878" y="2413691"/>
                <a:ext cx="1040449" cy="708845"/>
              </a:xfrm>
              <a:custGeom>
                <a:avLst/>
                <a:gdLst>
                  <a:gd name="connsiteX0" fmla="*/ 15211 w 1040449"/>
                  <a:gd name="connsiteY0" fmla="*/ 708845 h 708845"/>
                  <a:gd name="connsiteX1" fmla="*/ 1040449 w 1040449"/>
                  <a:gd name="connsiteY1" fmla="*/ 6084 h 708845"/>
                  <a:gd name="connsiteX2" fmla="*/ 991774 w 1040449"/>
                  <a:gd name="connsiteY2" fmla="*/ 0 h 708845"/>
                  <a:gd name="connsiteX3" fmla="*/ 0 w 1040449"/>
                  <a:gd name="connsiteY3" fmla="*/ 684507 h 708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0449" h="708845">
                    <a:moveTo>
                      <a:pt x="15211" y="708845"/>
                    </a:moveTo>
                    <a:lnTo>
                      <a:pt x="1040449" y="6084"/>
                    </a:lnTo>
                    <a:lnTo>
                      <a:pt x="991774" y="0"/>
                    </a:lnTo>
                    <a:lnTo>
                      <a:pt x="0" y="684507"/>
                    </a:lnTo>
                    <a:close/>
                  </a:path>
                </a:pathLst>
              </a:custGeom>
              <a:solidFill>
                <a:srgbClr val="6C5D6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5DB30D97-1BF1-4998-B4B2-E24A8772637A}"/>
                </a:ext>
              </a:extLst>
            </p:cNvPr>
            <p:cNvSpPr/>
            <p:nvPr/>
          </p:nvSpPr>
          <p:spPr>
            <a:xfrm>
              <a:off x="21876659" y="2985360"/>
              <a:ext cx="303925" cy="234802"/>
            </a:xfrm>
            <a:custGeom>
              <a:avLst/>
              <a:gdLst>
                <a:gd name="connsiteX0" fmla="*/ 295373 w 303925"/>
                <a:gd name="connsiteY0" fmla="*/ 58077 h 234802"/>
                <a:gd name="connsiteX1" fmla="*/ 45908 w 303925"/>
                <a:gd name="connsiteY1" fmla="*/ 231486 h 234802"/>
                <a:gd name="connsiteX2" fmla="*/ 21570 w 303925"/>
                <a:gd name="connsiteY2" fmla="*/ 228443 h 234802"/>
                <a:gd name="connsiteX3" fmla="*/ 3317 w 303925"/>
                <a:gd name="connsiteY3" fmla="*/ 201063 h 234802"/>
                <a:gd name="connsiteX4" fmla="*/ 6359 w 303925"/>
                <a:gd name="connsiteY4" fmla="*/ 176725 h 234802"/>
                <a:gd name="connsiteX5" fmla="*/ 255824 w 303925"/>
                <a:gd name="connsiteY5" fmla="*/ 3317 h 234802"/>
                <a:gd name="connsiteX6" fmla="*/ 280161 w 303925"/>
                <a:gd name="connsiteY6" fmla="*/ 6359 h 234802"/>
                <a:gd name="connsiteX7" fmla="*/ 298414 w 303925"/>
                <a:gd name="connsiteY7" fmla="*/ 33739 h 234802"/>
                <a:gd name="connsiteX8" fmla="*/ 295373 w 303925"/>
                <a:gd name="connsiteY8" fmla="*/ 58077 h 234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3925" h="234802">
                  <a:moveTo>
                    <a:pt x="295373" y="58077"/>
                  </a:moveTo>
                  <a:lnTo>
                    <a:pt x="45908" y="231486"/>
                  </a:lnTo>
                  <a:cubicBezTo>
                    <a:pt x="36781" y="237570"/>
                    <a:pt x="27655" y="234528"/>
                    <a:pt x="21570" y="228443"/>
                  </a:cubicBezTo>
                  <a:lnTo>
                    <a:pt x="3317" y="201063"/>
                  </a:lnTo>
                  <a:cubicBezTo>
                    <a:pt x="-2768" y="191936"/>
                    <a:pt x="274" y="182810"/>
                    <a:pt x="6359" y="176725"/>
                  </a:cubicBezTo>
                  <a:lnTo>
                    <a:pt x="255824" y="3317"/>
                  </a:lnTo>
                  <a:cubicBezTo>
                    <a:pt x="264950" y="-2768"/>
                    <a:pt x="274077" y="274"/>
                    <a:pt x="280161" y="6359"/>
                  </a:cubicBezTo>
                  <a:lnTo>
                    <a:pt x="298414" y="33739"/>
                  </a:lnTo>
                  <a:cubicBezTo>
                    <a:pt x="307542" y="42866"/>
                    <a:pt x="304499" y="55035"/>
                    <a:pt x="295373" y="58077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0" name="图形 1">
              <a:extLst>
                <a:ext uri="{FF2B5EF4-FFF2-40B4-BE49-F238E27FC236}">
                  <a16:creationId xmlns:a16="http://schemas.microsoft.com/office/drawing/2014/main" id="{F8CC6856-52CB-46F7-97F2-596ED3AA4ACC}"/>
                </a:ext>
              </a:extLst>
            </p:cNvPr>
            <p:cNvGrpSpPr/>
            <p:nvPr/>
          </p:nvGrpSpPr>
          <p:grpSpPr>
            <a:xfrm>
              <a:off x="21955435" y="3031123"/>
              <a:ext cx="223263" cy="175600"/>
              <a:chOff x="21955435" y="3031123"/>
              <a:chExt cx="223263" cy="175600"/>
            </a:xfrm>
          </p:grpSpPr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C9287DCE-C5AE-47B8-B34D-A510B3DD9C87}"/>
                  </a:ext>
                </a:extLst>
              </p:cNvPr>
              <p:cNvSpPr/>
              <p:nvPr/>
            </p:nvSpPr>
            <p:spPr>
              <a:xfrm>
                <a:off x="22039999" y="3037353"/>
                <a:ext cx="138700" cy="100633"/>
              </a:xfrm>
              <a:custGeom>
                <a:avLst/>
                <a:gdLst>
                  <a:gd name="connsiteX0" fmla="*/ 138118 w 138700"/>
                  <a:gd name="connsiteY0" fmla="*/ 66930 h 100633"/>
                  <a:gd name="connsiteX1" fmla="*/ 68147 w 138700"/>
                  <a:gd name="connsiteY1" fmla="*/ 12169 h 100633"/>
                  <a:gd name="connsiteX2" fmla="*/ 59018 w 138700"/>
                  <a:gd name="connsiteY2" fmla="*/ 3042 h 100633"/>
                  <a:gd name="connsiteX3" fmla="*/ 43807 w 138700"/>
                  <a:gd name="connsiteY3" fmla="*/ 0 h 100633"/>
                  <a:gd name="connsiteX4" fmla="*/ 1217 w 138700"/>
                  <a:gd name="connsiteY4" fmla="*/ 24338 h 100633"/>
                  <a:gd name="connsiteX5" fmla="*/ 22513 w 138700"/>
                  <a:gd name="connsiteY5" fmla="*/ 57803 h 100633"/>
                  <a:gd name="connsiteX6" fmla="*/ 71188 w 138700"/>
                  <a:gd name="connsiteY6" fmla="*/ 88225 h 100633"/>
                  <a:gd name="connsiteX7" fmla="*/ 116822 w 138700"/>
                  <a:gd name="connsiteY7" fmla="*/ 97352 h 100633"/>
                  <a:gd name="connsiteX8" fmla="*/ 138118 w 138700"/>
                  <a:gd name="connsiteY8" fmla="*/ 66930 h 100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700" h="100633">
                    <a:moveTo>
                      <a:pt x="138118" y="66930"/>
                    </a:moveTo>
                    <a:cubicBezTo>
                      <a:pt x="128992" y="42591"/>
                      <a:pt x="95526" y="30423"/>
                      <a:pt x="68147" y="12169"/>
                    </a:cubicBezTo>
                    <a:cubicBezTo>
                      <a:pt x="65103" y="9127"/>
                      <a:pt x="59018" y="3042"/>
                      <a:pt x="59018" y="3042"/>
                    </a:cubicBezTo>
                    <a:cubicBezTo>
                      <a:pt x="52935" y="0"/>
                      <a:pt x="49892" y="0"/>
                      <a:pt x="43807" y="0"/>
                    </a:cubicBezTo>
                    <a:cubicBezTo>
                      <a:pt x="28596" y="0"/>
                      <a:pt x="7302" y="9127"/>
                      <a:pt x="1217" y="24338"/>
                    </a:cubicBezTo>
                    <a:cubicBezTo>
                      <a:pt x="-4868" y="39549"/>
                      <a:pt x="13385" y="51718"/>
                      <a:pt x="22513" y="57803"/>
                    </a:cubicBezTo>
                    <a:cubicBezTo>
                      <a:pt x="37724" y="69972"/>
                      <a:pt x="52935" y="79099"/>
                      <a:pt x="71188" y="88225"/>
                    </a:cubicBezTo>
                    <a:cubicBezTo>
                      <a:pt x="83358" y="94310"/>
                      <a:pt x="95526" y="106479"/>
                      <a:pt x="116822" y="97352"/>
                    </a:cubicBezTo>
                    <a:cubicBezTo>
                      <a:pt x="132033" y="91268"/>
                      <a:pt x="141160" y="76056"/>
                      <a:pt x="138118" y="6693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1A57FF0E-9685-4386-9CC8-FFEE9DE8AB3D}"/>
                  </a:ext>
                </a:extLst>
              </p:cNvPr>
              <p:cNvSpPr/>
              <p:nvPr/>
            </p:nvSpPr>
            <p:spPr>
              <a:xfrm>
                <a:off x="21988280" y="3064733"/>
                <a:ext cx="141736" cy="100633"/>
              </a:xfrm>
              <a:custGeom>
                <a:avLst/>
                <a:gdLst>
                  <a:gd name="connsiteX0" fmla="*/ 141159 w 141736"/>
                  <a:gd name="connsiteY0" fmla="*/ 66930 h 100633"/>
                  <a:gd name="connsiteX1" fmla="*/ 68146 w 141736"/>
                  <a:gd name="connsiteY1" fmla="*/ 6085 h 100633"/>
                  <a:gd name="connsiteX2" fmla="*/ 59020 w 141736"/>
                  <a:gd name="connsiteY2" fmla="*/ 3042 h 100633"/>
                  <a:gd name="connsiteX3" fmla="*/ 43809 w 141736"/>
                  <a:gd name="connsiteY3" fmla="*/ 0 h 100633"/>
                  <a:gd name="connsiteX4" fmla="*/ 1217 w 141736"/>
                  <a:gd name="connsiteY4" fmla="*/ 24338 h 100633"/>
                  <a:gd name="connsiteX5" fmla="*/ 22513 w 141736"/>
                  <a:gd name="connsiteY5" fmla="*/ 57803 h 100633"/>
                  <a:gd name="connsiteX6" fmla="*/ 71188 w 141736"/>
                  <a:gd name="connsiteY6" fmla="*/ 88225 h 100633"/>
                  <a:gd name="connsiteX7" fmla="*/ 116822 w 141736"/>
                  <a:gd name="connsiteY7" fmla="*/ 97352 h 100633"/>
                  <a:gd name="connsiteX8" fmla="*/ 141159 w 141736"/>
                  <a:gd name="connsiteY8" fmla="*/ 66930 h 100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1736" h="100633">
                    <a:moveTo>
                      <a:pt x="141159" y="66930"/>
                    </a:moveTo>
                    <a:cubicBezTo>
                      <a:pt x="138118" y="33465"/>
                      <a:pt x="95526" y="24338"/>
                      <a:pt x="68146" y="6085"/>
                    </a:cubicBezTo>
                    <a:cubicBezTo>
                      <a:pt x="65103" y="3042"/>
                      <a:pt x="62062" y="3042"/>
                      <a:pt x="59020" y="3042"/>
                    </a:cubicBezTo>
                    <a:cubicBezTo>
                      <a:pt x="52935" y="0"/>
                      <a:pt x="49892" y="0"/>
                      <a:pt x="43809" y="0"/>
                    </a:cubicBezTo>
                    <a:cubicBezTo>
                      <a:pt x="28598" y="0"/>
                      <a:pt x="7301" y="9127"/>
                      <a:pt x="1217" y="24338"/>
                    </a:cubicBezTo>
                    <a:cubicBezTo>
                      <a:pt x="-4868" y="39549"/>
                      <a:pt x="13386" y="51718"/>
                      <a:pt x="22513" y="57803"/>
                    </a:cubicBezTo>
                    <a:cubicBezTo>
                      <a:pt x="37724" y="69972"/>
                      <a:pt x="52935" y="79099"/>
                      <a:pt x="71188" y="88225"/>
                    </a:cubicBezTo>
                    <a:cubicBezTo>
                      <a:pt x="83358" y="94310"/>
                      <a:pt x="95526" y="106479"/>
                      <a:pt x="116822" y="97352"/>
                    </a:cubicBezTo>
                    <a:cubicBezTo>
                      <a:pt x="135076" y="91268"/>
                      <a:pt x="144203" y="76056"/>
                      <a:pt x="141159" y="6693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47359AF0-A881-4515-A186-196E04D68816}"/>
                  </a:ext>
                </a:extLst>
              </p:cNvPr>
              <p:cNvSpPr/>
              <p:nvPr/>
            </p:nvSpPr>
            <p:spPr>
              <a:xfrm>
                <a:off x="21969846" y="3098198"/>
                <a:ext cx="117762" cy="90231"/>
              </a:xfrm>
              <a:custGeom>
                <a:avLst/>
                <a:gdLst>
                  <a:gd name="connsiteX0" fmla="*/ 117003 w 117762"/>
                  <a:gd name="connsiteY0" fmla="*/ 63887 h 90231"/>
                  <a:gd name="connsiteX1" fmla="*/ 56158 w 117762"/>
                  <a:gd name="connsiteY1" fmla="*/ 6085 h 90231"/>
                  <a:gd name="connsiteX2" fmla="*/ 50073 w 117762"/>
                  <a:gd name="connsiteY2" fmla="*/ 3042 h 90231"/>
                  <a:gd name="connsiteX3" fmla="*/ 37903 w 117762"/>
                  <a:gd name="connsiteY3" fmla="*/ 0 h 90231"/>
                  <a:gd name="connsiteX4" fmla="*/ 1397 w 117762"/>
                  <a:gd name="connsiteY4" fmla="*/ 21296 h 90231"/>
                  <a:gd name="connsiteX5" fmla="*/ 19650 w 117762"/>
                  <a:gd name="connsiteY5" fmla="*/ 51718 h 90231"/>
                  <a:gd name="connsiteX6" fmla="*/ 62242 w 117762"/>
                  <a:gd name="connsiteY6" fmla="*/ 79099 h 90231"/>
                  <a:gd name="connsiteX7" fmla="*/ 98748 w 117762"/>
                  <a:gd name="connsiteY7" fmla="*/ 88225 h 90231"/>
                  <a:gd name="connsiteX8" fmla="*/ 117003 w 117762"/>
                  <a:gd name="connsiteY8" fmla="*/ 63887 h 90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7762" h="90231">
                    <a:moveTo>
                      <a:pt x="117003" y="63887"/>
                    </a:moveTo>
                    <a:cubicBezTo>
                      <a:pt x="113959" y="33465"/>
                      <a:pt x="80495" y="24338"/>
                      <a:pt x="56158" y="6085"/>
                    </a:cubicBezTo>
                    <a:cubicBezTo>
                      <a:pt x="53114" y="6085"/>
                      <a:pt x="53114" y="3042"/>
                      <a:pt x="50073" y="3042"/>
                    </a:cubicBezTo>
                    <a:cubicBezTo>
                      <a:pt x="47031" y="0"/>
                      <a:pt x="40946" y="0"/>
                      <a:pt x="37903" y="0"/>
                    </a:cubicBezTo>
                    <a:cubicBezTo>
                      <a:pt x="22692" y="0"/>
                      <a:pt x="7480" y="6085"/>
                      <a:pt x="1397" y="21296"/>
                    </a:cubicBezTo>
                    <a:cubicBezTo>
                      <a:pt x="-4687" y="36507"/>
                      <a:pt x="10524" y="45634"/>
                      <a:pt x="19650" y="51718"/>
                    </a:cubicBezTo>
                    <a:cubicBezTo>
                      <a:pt x="31820" y="60845"/>
                      <a:pt x="47031" y="73014"/>
                      <a:pt x="62242" y="79099"/>
                    </a:cubicBezTo>
                    <a:cubicBezTo>
                      <a:pt x="71369" y="85183"/>
                      <a:pt x="83537" y="94310"/>
                      <a:pt x="98748" y="88225"/>
                    </a:cubicBezTo>
                    <a:cubicBezTo>
                      <a:pt x="113959" y="85183"/>
                      <a:pt x="120044" y="73014"/>
                      <a:pt x="117003" y="63887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323C2B9E-2FD6-42AE-A211-679B1898A6AA}"/>
                  </a:ext>
                </a:extLst>
              </p:cNvPr>
              <p:cNvSpPr/>
              <p:nvPr/>
            </p:nvSpPr>
            <p:spPr>
              <a:xfrm>
                <a:off x="21955435" y="3137747"/>
                <a:ext cx="88821" cy="68976"/>
              </a:xfrm>
              <a:custGeom>
                <a:avLst/>
                <a:gdLst>
                  <a:gd name="connsiteX0" fmla="*/ 88821 w 88821"/>
                  <a:gd name="connsiteY0" fmla="*/ 48676 h 68976"/>
                  <a:gd name="connsiteX1" fmla="*/ 43188 w 88821"/>
                  <a:gd name="connsiteY1" fmla="*/ 6085 h 68976"/>
                  <a:gd name="connsiteX2" fmla="*/ 37103 w 88821"/>
                  <a:gd name="connsiteY2" fmla="*/ 3042 h 68976"/>
                  <a:gd name="connsiteX3" fmla="*/ 27976 w 88821"/>
                  <a:gd name="connsiteY3" fmla="*/ 0 h 68976"/>
                  <a:gd name="connsiteX4" fmla="*/ 597 w 88821"/>
                  <a:gd name="connsiteY4" fmla="*/ 15211 h 68976"/>
                  <a:gd name="connsiteX5" fmla="*/ 15808 w 88821"/>
                  <a:gd name="connsiteY5" fmla="*/ 39549 h 68976"/>
                  <a:gd name="connsiteX6" fmla="*/ 46231 w 88821"/>
                  <a:gd name="connsiteY6" fmla="*/ 60845 h 68976"/>
                  <a:gd name="connsiteX7" fmla="*/ 73610 w 88821"/>
                  <a:gd name="connsiteY7" fmla="*/ 66930 h 68976"/>
                  <a:gd name="connsiteX8" fmla="*/ 88821 w 88821"/>
                  <a:gd name="connsiteY8" fmla="*/ 48676 h 68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8821" h="68976">
                    <a:moveTo>
                      <a:pt x="88821" y="48676"/>
                    </a:moveTo>
                    <a:cubicBezTo>
                      <a:pt x="85780" y="27380"/>
                      <a:pt x="61442" y="18253"/>
                      <a:pt x="43188" y="6085"/>
                    </a:cubicBezTo>
                    <a:cubicBezTo>
                      <a:pt x="43188" y="6085"/>
                      <a:pt x="40146" y="3042"/>
                      <a:pt x="37103" y="3042"/>
                    </a:cubicBezTo>
                    <a:cubicBezTo>
                      <a:pt x="34061" y="3042"/>
                      <a:pt x="31020" y="0"/>
                      <a:pt x="27976" y="0"/>
                    </a:cubicBezTo>
                    <a:cubicBezTo>
                      <a:pt x="18850" y="0"/>
                      <a:pt x="3639" y="6085"/>
                      <a:pt x="597" y="15211"/>
                    </a:cubicBezTo>
                    <a:cubicBezTo>
                      <a:pt x="-2446" y="27380"/>
                      <a:pt x="6680" y="33465"/>
                      <a:pt x="15808" y="39549"/>
                    </a:cubicBezTo>
                    <a:cubicBezTo>
                      <a:pt x="24935" y="48676"/>
                      <a:pt x="34061" y="54761"/>
                      <a:pt x="46231" y="60845"/>
                    </a:cubicBezTo>
                    <a:cubicBezTo>
                      <a:pt x="52314" y="63887"/>
                      <a:pt x="61442" y="73014"/>
                      <a:pt x="73610" y="66930"/>
                    </a:cubicBezTo>
                    <a:cubicBezTo>
                      <a:pt x="85780" y="63887"/>
                      <a:pt x="88821" y="54761"/>
                      <a:pt x="88821" y="4867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9666C83F-AB40-484F-9E49-0B9A87654AD2}"/>
                  </a:ext>
                </a:extLst>
              </p:cNvPr>
              <p:cNvSpPr/>
              <p:nvPr/>
            </p:nvSpPr>
            <p:spPr>
              <a:xfrm>
                <a:off x="21986455" y="3031123"/>
                <a:ext cx="172646" cy="134004"/>
              </a:xfrm>
              <a:custGeom>
                <a:avLst/>
                <a:gdLst>
                  <a:gd name="connsiteX0" fmla="*/ 115605 w 172646"/>
                  <a:gd name="connsiteY0" fmla="*/ 134005 h 134004"/>
                  <a:gd name="connsiteX1" fmla="*/ 36506 w 172646"/>
                  <a:gd name="connsiteY1" fmla="*/ 100540 h 134004"/>
                  <a:gd name="connsiteX2" fmla="*/ 0 w 172646"/>
                  <a:gd name="connsiteY2" fmla="*/ 60991 h 134004"/>
                  <a:gd name="connsiteX3" fmla="*/ 6083 w 172646"/>
                  <a:gd name="connsiteY3" fmla="*/ 42737 h 134004"/>
                  <a:gd name="connsiteX4" fmla="*/ 51717 w 172646"/>
                  <a:gd name="connsiteY4" fmla="*/ 21441 h 134004"/>
                  <a:gd name="connsiteX5" fmla="*/ 51717 w 172646"/>
                  <a:gd name="connsiteY5" fmla="*/ 21441 h 134004"/>
                  <a:gd name="connsiteX6" fmla="*/ 57802 w 172646"/>
                  <a:gd name="connsiteY6" fmla="*/ 9272 h 134004"/>
                  <a:gd name="connsiteX7" fmla="*/ 79098 w 172646"/>
                  <a:gd name="connsiteY7" fmla="*/ 146 h 134004"/>
                  <a:gd name="connsiteX8" fmla="*/ 170365 w 172646"/>
                  <a:gd name="connsiteY8" fmla="*/ 42737 h 134004"/>
                  <a:gd name="connsiteX9" fmla="*/ 170365 w 172646"/>
                  <a:gd name="connsiteY9" fmla="*/ 51864 h 134004"/>
                  <a:gd name="connsiteX10" fmla="*/ 161239 w 172646"/>
                  <a:gd name="connsiteY10" fmla="*/ 51864 h 134004"/>
                  <a:gd name="connsiteX11" fmla="*/ 79098 w 172646"/>
                  <a:gd name="connsiteY11" fmla="*/ 9272 h 134004"/>
                  <a:gd name="connsiteX12" fmla="*/ 66928 w 172646"/>
                  <a:gd name="connsiteY12" fmla="*/ 15357 h 134004"/>
                  <a:gd name="connsiteX13" fmla="*/ 60845 w 172646"/>
                  <a:gd name="connsiteY13" fmla="*/ 30568 h 134004"/>
                  <a:gd name="connsiteX14" fmla="*/ 142984 w 172646"/>
                  <a:gd name="connsiteY14" fmla="*/ 91413 h 134004"/>
                  <a:gd name="connsiteX15" fmla="*/ 149069 w 172646"/>
                  <a:gd name="connsiteY15" fmla="*/ 103582 h 134004"/>
                  <a:gd name="connsiteX16" fmla="*/ 136901 w 172646"/>
                  <a:gd name="connsiteY16" fmla="*/ 124878 h 134004"/>
                  <a:gd name="connsiteX17" fmla="*/ 115605 w 172646"/>
                  <a:gd name="connsiteY17" fmla="*/ 134005 h 134004"/>
                  <a:gd name="connsiteX18" fmla="*/ 51717 w 172646"/>
                  <a:gd name="connsiteY18" fmla="*/ 33610 h 134004"/>
                  <a:gd name="connsiteX19" fmla="*/ 15211 w 172646"/>
                  <a:gd name="connsiteY19" fmla="*/ 48822 h 134004"/>
                  <a:gd name="connsiteX20" fmla="*/ 12168 w 172646"/>
                  <a:gd name="connsiteY20" fmla="*/ 57948 h 134004"/>
                  <a:gd name="connsiteX21" fmla="*/ 45634 w 172646"/>
                  <a:gd name="connsiteY21" fmla="*/ 88371 h 134004"/>
                  <a:gd name="connsiteX22" fmla="*/ 133858 w 172646"/>
                  <a:gd name="connsiteY22" fmla="*/ 115751 h 134004"/>
                  <a:gd name="connsiteX23" fmla="*/ 142984 w 172646"/>
                  <a:gd name="connsiteY23" fmla="*/ 106624 h 134004"/>
                  <a:gd name="connsiteX24" fmla="*/ 142984 w 172646"/>
                  <a:gd name="connsiteY24" fmla="*/ 106624 h 134004"/>
                  <a:gd name="connsiteX25" fmla="*/ 51717 w 172646"/>
                  <a:gd name="connsiteY25" fmla="*/ 33610 h 134004"/>
                  <a:gd name="connsiteX26" fmla="*/ 51717 w 172646"/>
                  <a:gd name="connsiteY26" fmla="*/ 33610 h 134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72646" h="134004">
                    <a:moveTo>
                      <a:pt x="115605" y="134005"/>
                    </a:moveTo>
                    <a:cubicBezTo>
                      <a:pt x="94309" y="134005"/>
                      <a:pt x="69971" y="121836"/>
                      <a:pt x="36506" y="100540"/>
                    </a:cubicBezTo>
                    <a:cubicBezTo>
                      <a:pt x="12168" y="82286"/>
                      <a:pt x="0" y="73160"/>
                      <a:pt x="0" y="60991"/>
                    </a:cubicBezTo>
                    <a:cubicBezTo>
                      <a:pt x="0" y="54906"/>
                      <a:pt x="0" y="48822"/>
                      <a:pt x="6083" y="42737"/>
                    </a:cubicBezTo>
                    <a:cubicBezTo>
                      <a:pt x="18253" y="27526"/>
                      <a:pt x="51717" y="21441"/>
                      <a:pt x="51717" y="21441"/>
                    </a:cubicBezTo>
                    <a:cubicBezTo>
                      <a:pt x="51717" y="21441"/>
                      <a:pt x="51717" y="21441"/>
                      <a:pt x="51717" y="21441"/>
                    </a:cubicBezTo>
                    <a:cubicBezTo>
                      <a:pt x="54760" y="15357"/>
                      <a:pt x="57802" y="12315"/>
                      <a:pt x="57802" y="9272"/>
                    </a:cubicBezTo>
                    <a:cubicBezTo>
                      <a:pt x="63887" y="3188"/>
                      <a:pt x="69971" y="146"/>
                      <a:pt x="79098" y="146"/>
                    </a:cubicBezTo>
                    <a:cubicBezTo>
                      <a:pt x="112562" y="-2897"/>
                      <a:pt x="167324" y="42737"/>
                      <a:pt x="170365" y="42737"/>
                    </a:cubicBezTo>
                    <a:cubicBezTo>
                      <a:pt x="173407" y="45779"/>
                      <a:pt x="173407" y="48822"/>
                      <a:pt x="170365" y="51864"/>
                    </a:cubicBezTo>
                    <a:cubicBezTo>
                      <a:pt x="167324" y="54906"/>
                      <a:pt x="164281" y="54906"/>
                      <a:pt x="161239" y="51864"/>
                    </a:cubicBezTo>
                    <a:cubicBezTo>
                      <a:pt x="146028" y="39695"/>
                      <a:pt x="103436" y="9272"/>
                      <a:pt x="79098" y="9272"/>
                    </a:cubicBezTo>
                    <a:cubicBezTo>
                      <a:pt x="73013" y="9272"/>
                      <a:pt x="69971" y="12315"/>
                      <a:pt x="66928" y="15357"/>
                    </a:cubicBezTo>
                    <a:cubicBezTo>
                      <a:pt x="60845" y="21441"/>
                      <a:pt x="60845" y="24484"/>
                      <a:pt x="60845" y="30568"/>
                    </a:cubicBezTo>
                    <a:cubicBezTo>
                      <a:pt x="63887" y="45779"/>
                      <a:pt x="91268" y="67075"/>
                      <a:pt x="142984" y="91413"/>
                    </a:cubicBezTo>
                    <a:cubicBezTo>
                      <a:pt x="142984" y="91413"/>
                      <a:pt x="149069" y="94455"/>
                      <a:pt x="149069" y="103582"/>
                    </a:cubicBezTo>
                    <a:cubicBezTo>
                      <a:pt x="149069" y="109667"/>
                      <a:pt x="146028" y="115751"/>
                      <a:pt x="136901" y="124878"/>
                    </a:cubicBezTo>
                    <a:cubicBezTo>
                      <a:pt x="133858" y="130963"/>
                      <a:pt x="124732" y="134005"/>
                      <a:pt x="115605" y="134005"/>
                    </a:cubicBezTo>
                    <a:close/>
                    <a:moveTo>
                      <a:pt x="51717" y="33610"/>
                    </a:moveTo>
                    <a:cubicBezTo>
                      <a:pt x="42590" y="33610"/>
                      <a:pt x="24338" y="39695"/>
                      <a:pt x="15211" y="48822"/>
                    </a:cubicBezTo>
                    <a:cubicBezTo>
                      <a:pt x="12168" y="51864"/>
                      <a:pt x="12168" y="54906"/>
                      <a:pt x="12168" y="57948"/>
                    </a:cubicBezTo>
                    <a:cubicBezTo>
                      <a:pt x="12168" y="67075"/>
                      <a:pt x="30423" y="79244"/>
                      <a:pt x="45634" y="88371"/>
                    </a:cubicBezTo>
                    <a:cubicBezTo>
                      <a:pt x="85183" y="118794"/>
                      <a:pt x="118647" y="127920"/>
                      <a:pt x="133858" y="115751"/>
                    </a:cubicBezTo>
                    <a:cubicBezTo>
                      <a:pt x="139943" y="109667"/>
                      <a:pt x="142984" y="106624"/>
                      <a:pt x="142984" y="106624"/>
                    </a:cubicBezTo>
                    <a:cubicBezTo>
                      <a:pt x="142984" y="106624"/>
                      <a:pt x="142984" y="106624"/>
                      <a:pt x="142984" y="106624"/>
                    </a:cubicBezTo>
                    <a:cubicBezTo>
                      <a:pt x="66928" y="67075"/>
                      <a:pt x="54760" y="48822"/>
                      <a:pt x="51717" y="33610"/>
                    </a:cubicBezTo>
                    <a:cubicBezTo>
                      <a:pt x="51717" y="36653"/>
                      <a:pt x="51717" y="33610"/>
                      <a:pt x="51717" y="3361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ABD9A5C3-E635-4015-B072-05132EC68F5B}"/>
                  </a:ext>
                </a:extLst>
              </p:cNvPr>
              <p:cNvSpPr/>
              <p:nvPr/>
            </p:nvSpPr>
            <p:spPr>
              <a:xfrm>
                <a:off x="21964018" y="3089071"/>
                <a:ext cx="129707" cy="106478"/>
              </a:xfrm>
              <a:custGeom>
                <a:avLst/>
                <a:gdLst>
                  <a:gd name="connsiteX0" fmla="*/ 98494 w 129707"/>
                  <a:gd name="connsiteY0" fmla="*/ 106479 h 106478"/>
                  <a:gd name="connsiteX1" fmla="*/ 95450 w 129707"/>
                  <a:gd name="connsiteY1" fmla="*/ 106479 h 106478"/>
                  <a:gd name="connsiteX2" fmla="*/ 10268 w 129707"/>
                  <a:gd name="connsiteY2" fmla="*/ 54761 h 106478"/>
                  <a:gd name="connsiteX3" fmla="*/ 1141 w 129707"/>
                  <a:gd name="connsiteY3" fmla="*/ 27380 h 106478"/>
                  <a:gd name="connsiteX4" fmla="*/ 28520 w 129707"/>
                  <a:gd name="connsiteY4" fmla="*/ 0 h 106478"/>
                  <a:gd name="connsiteX5" fmla="*/ 37649 w 129707"/>
                  <a:gd name="connsiteY5" fmla="*/ 3042 h 106478"/>
                  <a:gd name="connsiteX6" fmla="*/ 34605 w 129707"/>
                  <a:gd name="connsiteY6" fmla="*/ 12169 h 106478"/>
                  <a:gd name="connsiteX7" fmla="*/ 13309 w 129707"/>
                  <a:gd name="connsiteY7" fmla="*/ 30423 h 106478"/>
                  <a:gd name="connsiteX8" fmla="*/ 19394 w 129707"/>
                  <a:gd name="connsiteY8" fmla="*/ 45634 h 106478"/>
                  <a:gd name="connsiteX9" fmla="*/ 98494 w 129707"/>
                  <a:gd name="connsiteY9" fmla="*/ 94310 h 106478"/>
                  <a:gd name="connsiteX10" fmla="*/ 110662 w 129707"/>
                  <a:gd name="connsiteY10" fmla="*/ 88225 h 106478"/>
                  <a:gd name="connsiteX11" fmla="*/ 119788 w 129707"/>
                  <a:gd name="connsiteY11" fmla="*/ 73014 h 106478"/>
                  <a:gd name="connsiteX12" fmla="*/ 122831 w 129707"/>
                  <a:gd name="connsiteY12" fmla="*/ 66929 h 106478"/>
                  <a:gd name="connsiteX13" fmla="*/ 128916 w 129707"/>
                  <a:gd name="connsiteY13" fmla="*/ 69972 h 106478"/>
                  <a:gd name="connsiteX14" fmla="*/ 116747 w 129707"/>
                  <a:gd name="connsiteY14" fmla="*/ 97352 h 106478"/>
                  <a:gd name="connsiteX15" fmla="*/ 98494 w 129707"/>
                  <a:gd name="connsiteY15" fmla="*/ 106479 h 106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9707" h="106478">
                    <a:moveTo>
                      <a:pt x="98494" y="106479"/>
                    </a:moveTo>
                    <a:cubicBezTo>
                      <a:pt x="98494" y="106479"/>
                      <a:pt x="95450" y="106479"/>
                      <a:pt x="95450" y="106479"/>
                    </a:cubicBezTo>
                    <a:cubicBezTo>
                      <a:pt x="80239" y="103437"/>
                      <a:pt x="37649" y="82141"/>
                      <a:pt x="10268" y="54761"/>
                    </a:cubicBezTo>
                    <a:cubicBezTo>
                      <a:pt x="1141" y="45634"/>
                      <a:pt x="-1902" y="36507"/>
                      <a:pt x="1141" y="27380"/>
                    </a:cubicBezTo>
                    <a:cubicBezTo>
                      <a:pt x="4183" y="9127"/>
                      <a:pt x="28520" y="0"/>
                      <a:pt x="28520" y="0"/>
                    </a:cubicBezTo>
                    <a:cubicBezTo>
                      <a:pt x="31564" y="0"/>
                      <a:pt x="34605" y="0"/>
                      <a:pt x="37649" y="3042"/>
                    </a:cubicBezTo>
                    <a:cubicBezTo>
                      <a:pt x="37649" y="6084"/>
                      <a:pt x="37649" y="9127"/>
                      <a:pt x="34605" y="12169"/>
                    </a:cubicBezTo>
                    <a:cubicBezTo>
                      <a:pt x="28520" y="15211"/>
                      <a:pt x="16353" y="21296"/>
                      <a:pt x="13309" y="30423"/>
                    </a:cubicBezTo>
                    <a:cubicBezTo>
                      <a:pt x="13309" y="36507"/>
                      <a:pt x="13309" y="39549"/>
                      <a:pt x="19394" y="45634"/>
                    </a:cubicBezTo>
                    <a:cubicBezTo>
                      <a:pt x="43732" y="73014"/>
                      <a:pt x="83283" y="91268"/>
                      <a:pt x="98494" y="94310"/>
                    </a:cubicBezTo>
                    <a:cubicBezTo>
                      <a:pt x="104577" y="94310"/>
                      <a:pt x="107620" y="91268"/>
                      <a:pt x="110662" y="88225"/>
                    </a:cubicBezTo>
                    <a:cubicBezTo>
                      <a:pt x="116747" y="82141"/>
                      <a:pt x="119788" y="73014"/>
                      <a:pt x="119788" y="73014"/>
                    </a:cubicBezTo>
                    <a:cubicBezTo>
                      <a:pt x="119788" y="69972"/>
                      <a:pt x="119788" y="66929"/>
                      <a:pt x="122831" y="66929"/>
                    </a:cubicBezTo>
                    <a:cubicBezTo>
                      <a:pt x="125873" y="66929"/>
                      <a:pt x="128916" y="66929"/>
                      <a:pt x="128916" y="69972"/>
                    </a:cubicBezTo>
                    <a:cubicBezTo>
                      <a:pt x="131958" y="79099"/>
                      <a:pt x="125873" y="88225"/>
                      <a:pt x="116747" y="97352"/>
                    </a:cubicBezTo>
                    <a:cubicBezTo>
                      <a:pt x="113705" y="103437"/>
                      <a:pt x="104577" y="106479"/>
                      <a:pt x="98494" y="10647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7C1A761E-72EA-46B5-8874-432CD861023B}"/>
                </a:ext>
              </a:extLst>
            </p:cNvPr>
            <p:cNvSpPr/>
            <p:nvPr/>
          </p:nvSpPr>
          <p:spPr>
            <a:xfrm>
              <a:off x="21882595" y="3041282"/>
              <a:ext cx="154828" cy="111762"/>
            </a:xfrm>
            <a:custGeom>
              <a:avLst/>
              <a:gdLst>
                <a:gd name="connsiteX0" fmla="*/ 122113 w 154828"/>
                <a:gd name="connsiteY0" fmla="*/ 8240 h 111762"/>
                <a:gd name="connsiteX1" fmla="*/ 12592 w 154828"/>
                <a:gd name="connsiteY1" fmla="*/ 23451 h 111762"/>
                <a:gd name="connsiteX2" fmla="*/ 3464 w 154828"/>
                <a:gd name="connsiteY2" fmla="*/ 111677 h 111762"/>
                <a:gd name="connsiteX3" fmla="*/ 58226 w 154828"/>
                <a:gd name="connsiteY3" fmla="*/ 63001 h 111762"/>
                <a:gd name="connsiteX4" fmla="*/ 122113 w 154828"/>
                <a:gd name="connsiteY4" fmla="*/ 69085 h 111762"/>
                <a:gd name="connsiteX5" fmla="*/ 149494 w 154828"/>
                <a:gd name="connsiteY5" fmla="*/ 84296 h 111762"/>
                <a:gd name="connsiteX6" fmla="*/ 122113 w 154828"/>
                <a:gd name="connsiteY6" fmla="*/ 8240 h 111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828" h="111762">
                  <a:moveTo>
                    <a:pt x="122113" y="8240"/>
                  </a:moveTo>
                  <a:cubicBezTo>
                    <a:pt x="91690" y="-10014"/>
                    <a:pt x="36930" y="5198"/>
                    <a:pt x="12592" y="23451"/>
                  </a:cubicBezTo>
                  <a:cubicBezTo>
                    <a:pt x="-5662" y="35620"/>
                    <a:pt x="423" y="114719"/>
                    <a:pt x="3464" y="111677"/>
                  </a:cubicBezTo>
                  <a:cubicBezTo>
                    <a:pt x="52141" y="102550"/>
                    <a:pt x="46056" y="69085"/>
                    <a:pt x="58226" y="63001"/>
                  </a:cubicBezTo>
                  <a:cubicBezTo>
                    <a:pt x="82564" y="53874"/>
                    <a:pt x="100817" y="59958"/>
                    <a:pt x="122113" y="69085"/>
                  </a:cubicBezTo>
                  <a:cubicBezTo>
                    <a:pt x="131239" y="72127"/>
                    <a:pt x="140365" y="90381"/>
                    <a:pt x="149494" y="84296"/>
                  </a:cubicBezTo>
                  <a:cubicBezTo>
                    <a:pt x="167746" y="69085"/>
                    <a:pt x="134282" y="17367"/>
                    <a:pt x="122113" y="8240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9A44DE5E-2A7E-455D-B2F0-88F82E70F737}"/>
                </a:ext>
              </a:extLst>
            </p:cNvPr>
            <p:cNvSpPr/>
            <p:nvPr/>
          </p:nvSpPr>
          <p:spPr>
            <a:xfrm>
              <a:off x="21879976" y="3029494"/>
              <a:ext cx="167707" cy="129548"/>
            </a:xfrm>
            <a:custGeom>
              <a:avLst/>
              <a:gdLst>
                <a:gd name="connsiteX0" fmla="*/ 6083 w 167707"/>
                <a:gd name="connsiteY0" fmla="*/ 129549 h 129548"/>
                <a:gd name="connsiteX1" fmla="*/ 6083 w 167707"/>
                <a:gd name="connsiteY1" fmla="*/ 129549 h 129548"/>
                <a:gd name="connsiteX2" fmla="*/ 0 w 167707"/>
                <a:gd name="connsiteY2" fmla="*/ 123464 h 129548"/>
                <a:gd name="connsiteX3" fmla="*/ 6083 w 167707"/>
                <a:gd name="connsiteY3" fmla="*/ 117380 h 129548"/>
                <a:gd name="connsiteX4" fmla="*/ 6083 w 167707"/>
                <a:gd name="connsiteY4" fmla="*/ 117380 h 129548"/>
                <a:gd name="connsiteX5" fmla="*/ 6083 w 167707"/>
                <a:gd name="connsiteY5" fmla="*/ 117380 h 129548"/>
                <a:gd name="connsiteX6" fmla="*/ 57802 w 167707"/>
                <a:gd name="connsiteY6" fmla="*/ 74788 h 129548"/>
                <a:gd name="connsiteX7" fmla="*/ 60845 w 167707"/>
                <a:gd name="connsiteY7" fmla="*/ 71746 h 129548"/>
                <a:gd name="connsiteX8" fmla="*/ 133858 w 167707"/>
                <a:gd name="connsiteY8" fmla="*/ 83915 h 129548"/>
                <a:gd name="connsiteX9" fmla="*/ 152113 w 167707"/>
                <a:gd name="connsiteY9" fmla="*/ 93042 h 129548"/>
                <a:gd name="connsiteX10" fmla="*/ 155154 w 167707"/>
                <a:gd name="connsiteY10" fmla="*/ 86957 h 129548"/>
                <a:gd name="connsiteX11" fmla="*/ 121690 w 167707"/>
                <a:gd name="connsiteY11" fmla="*/ 23070 h 129548"/>
                <a:gd name="connsiteX12" fmla="*/ 18253 w 167707"/>
                <a:gd name="connsiteY12" fmla="*/ 38281 h 129548"/>
                <a:gd name="connsiteX13" fmla="*/ 9126 w 167707"/>
                <a:gd name="connsiteY13" fmla="*/ 35239 h 129548"/>
                <a:gd name="connsiteX14" fmla="*/ 12168 w 167707"/>
                <a:gd name="connsiteY14" fmla="*/ 26112 h 129548"/>
                <a:gd name="connsiteX15" fmla="*/ 127773 w 167707"/>
                <a:gd name="connsiteY15" fmla="*/ 10901 h 129548"/>
                <a:gd name="connsiteX16" fmla="*/ 167324 w 167707"/>
                <a:gd name="connsiteY16" fmla="*/ 83915 h 129548"/>
                <a:gd name="connsiteX17" fmla="*/ 155154 w 167707"/>
                <a:gd name="connsiteY17" fmla="*/ 99126 h 129548"/>
                <a:gd name="connsiteX18" fmla="*/ 124732 w 167707"/>
                <a:gd name="connsiteY18" fmla="*/ 89999 h 129548"/>
                <a:gd name="connsiteX19" fmla="*/ 63887 w 167707"/>
                <a:gd name="connsiteY19" fmla="*/ 77830 h 129548"/>
                <a:gd name="connsiteX20" fmla="*/ 6083 w 167707"/>
                <a:gd name="connsiteY20" fmla="*/ 129549 h 129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67707" h="129548">
                  <a:moveTo>
                    <a:pt x="6083" y="129549"/>
                  </a:moveTo>
                  <a:cubicBezTo>
                    <a:pt x="6083" y="129549"/>
                    <a:pt x="6083" y="129549"/>
                    <a:pt x="6083" y="129549"/>
                  </a:cubicBezTo>
                  <a:cubicBezTo>
                    <a:pt x="3042" y="129549"/>
                    <a:pt x="0" y="126506"/>
                    <a:pt x="0" y="123464"/>
                  </a:cubicBezTo>
                  <a:cubicBezTo>
                    <a:pt x="0" y="120422"/>
                    <a:pt x="3042" y="117380"/>
                    <a:pt x="6083" y="117380"/>
                  </a:cubicBezTo>
                  <a:lnTo>
                    <a:pt x="6083" y="117380"/>
                  </a:lnTo>
                  <a:cubicBezTo>
                    <a:pt x="6083" y="117380"/>
                    <a:pt x="6083" y="117380"/>
                    <a:pt x="6083" y="117380"/>
                  </a:cubicBezTo>
                  <a:cubicBezTo>
                    <a:pt x="45634" y="117380"/>
                    <a:pt x="54760" y="74788"/>
                    <a:pt x="57802" y="74788"/>
                  </a:cubicBezTo>
                  <a:cubicBezTo>
                    <a:pt x="57802" y="71746"/>
                    <a:pt x="60845" y="71746"/>
                    <a:pt x="60845" y="71746"/>
                  </a:cubicBezTo>
                  <a:cubicBezTo>
                    <a:pt x="91268" y="59577"/>
                    <a:pt x="115605" y="74788"/>
                    <a:pt x="133858" y="83915"/>
                  </a:cubicBezTo>
                  <a:cubicBezTo>
                    <a:pt x="142984" y="89999"/>
                    <a:pt x="149069" y="93042"/>
                    <a:pt x="152113" y="93042"/>
                  </a:cubicBezTo>
                  <a:cubicBezTo>
                    <a:pt x="152113" y="93042"/>
                    <a:pt x="155154" y="93042"/>
                    <a:pt x="155154" y="86957"/>
                  </a:cubicBezTo>
                  <a:cubicBezTo>
                    <a:pt x="158196" y="71746"/>
                    <a:pt x="146028" y="44366"/>
                    <a:pt x="121690" y="23070"/>
                  </a:cubicBezTo>
                  <a:cubicBezTo>
                    <a:pt x="91268" y="-4310"/>
                    <a:pt x="18253" y="38281"/>
                    <a:pt x="18253" y="38281"/>
                  </a:cubicBezTo>
                  <a:cubicBezTo>
                    <a:pt x="15211" y="41323"/>
                    <a:pt x="12168" y="38281"/>
                    <a:pt x="9126" y="35239"/>
                  </a:cubicBezTo>
                  <a:cubicBezTo>
                    <a:pt x="6083" y="32197"/>
                    <a:pt x="9126" y="29154"/>
                    <a:pt x="12168" y="26112"/>
                  </a:cubicBezTo>
                  <a:cubicBezTo>
                    <a:pt x="15211" y="23070"/>
                    <a:pt x="91268" y="-19522"/>
                    <a:pt x="127773" y="10901"/>
                  </a:cubicBezTo>
                  <a:cubicBezTo>
                    <a:pt x="155154" y="35239"/>
                    <a:pt x="170365" y="65661"/>
                    <a:pt x="167324" y="83915"/>
                  </a:cubicBezTo>
                  <a:cubicBezTo>
                    <a:pt x="167324" y="89999"/>
                    <a:pt x="161239" y="96084"/>
                    <a:pt x="155154" y="99126"/>
                  </a:cubicBezTo>
                  <a:cubicBezTo>
                    <a:pt x="146028" y="102168"/>
                    <a:pt x="136901" y="96084"/>
                    <a:pt x="124732" y="89999"/>
                  </a:cubicBezTo>
                  <a:cubicBezTo>
                    <a:pt x="109520" y="80873"/>
                    <a:pt x="91268" y="68704"/>
                    <a:pt x="63887" y="77830"/>
                  </a:cubicBezTo>
                  <a:cubicBezTo>
                    <a:pt x="60845" y="93042"/>
                    <a:pt x="45634" y="129549"/>
                    <a:pt x="6083" y="129549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A1F9C0ED-9CD7-4CDD-9648-D43ABE8096C4}"/>
                </a:ext>
              </a:extLst>
            </p:cNvPr>
            <p:cNvSpPr/>
            <p:nvPr/>
          </p:nvSpPr>
          <p:spPr>
            <a:xfrm>
              <a:off x="19964175" y="3028226"/>
              <a:ext cx="297321" cy="719606"/>
            </a:xfrm>
            <a:custGeom>
              <a:avLst/>
              <a:gdLst>
                <a:gd name="connsiteX0" fmla="*/ 297322 w 297321"/>
                <a:gd name="connsiteY0" fmla="*/ 24338 h 719606"/>
                <a:gd name="connsiteX1" fmla="*/ 190843 w 297321"/>
                <a:gd name="connsiteY1" fmla="*/ 556732 h 719606"/>
                <a:gd name="connsiteX2" fmla="*/ 50898 w 297321"/>
                <a:gd name="connsiteY2" fmla="*/ 702761 h 719606"/>
                <a:gd name="connsiteX3" fmla="*/ 29604 w 297321"/>
                <a:gd name="connsiteY3" fmla="*/ 0 h 719606"/>
                <a:gd name="connsiteX4" fmla="*/ 297322 w 297321"/>
                <a:gd name="connsiteY4" fmla="*/ 24338 h 71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321" h="719606">
                  <a:moveTo>
                    <a:pt x="297322" y="24338"/>
                  </a:moveTo>
                  <a:lnTo>
                    <a:pt x="190843" y="556732"/>
                  </a:lnTo>
                  <a:cubicBezTo>
                    <a:pt x="190843" y="556732"/>
                    <a:pt x="151294" y="781859"/>
                    <a:pt x="50898" y="702761"/>
                  </a:cubicBezTo>
                  <a:cubicBezTo>
                    <a:pt x="-49496" y="623662"/>
                    <a:pt x="29604" y="0"/>
                    <a:pt x="29604" y="0"/>
                  </a:cubicBezTo>
                  <a:lnTo>
                    <a:pt x="297322" y="24338"/>
                  </a:ln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384C8FA9-C630-4A78-B6D1-27730005A68A}"/>
                </a:ext>
              </a:extLst>
            </p:cNvPr>
            <p:cNvSpPr/>
            <p:nvPr/>
          </p:nvSpPr>
          <p:spPr>
            <a:xfrm>
              <a:off x="19932934" y="2565803"/>
              <a:ext cx="428522" cy="583382"/>
            </a:xfrm>
            <a:custGeom>
              <a:avLst/>
              <a:gdLst>
                <a:gd name="connsiteX0" fmla="*/ 0 w 428522"/>
                <a:gd name="connsiteY0" fmla="*/ 511099 h 583382"/>
                <a:gd name="connsiteX1" fmla="*/ 310308 w 428522"/>
                <a:gd name="connsiteY1" fmla="*/ 0 h 583382"/>
                <a:gd name="connsiteX2" fmla="*/ 416787 w 428522"/>
                <a:gd name="connsiteY2" fmla="*/ 578028 h 583382"/>
                <a:gd name="connsiteX3" fmla="*/ 0 w 428522"/>
                <a:gd name="connsiteY3" fmla="*/ 511099 h 583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8522" h="583382">
                  <a:moveTo>
                    <a:pt x="0" y="511099"/>
                  </a:moveTo>
                  <a:cubicBezTo>
                    <a:pt x="0" y="511099"/>
                    <a:pt x="164281" y="0"/>
                    <a:pt x="310308" y="0"/>
                  </a:cubicBezTo>
                  <a:cubicBezTo>
                    <a:pt x="480676" y="0"/>
                    <a:pt x="416787" y="578028"/>
                    <a:pt x="416787" y="578028"/>
                  </a:cubicBezTo>
                  <a:cubicBezTo>
                    <a:pt x="416787" y="578028"/>
                    <a:pt x="188618" y="611493"/>
                    <a:pt x="0" y="511099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5FD471F4-180B-4035-8E5B-5EF701E2370B}"/>
                </a:ext>
              </a:extLst>
            </p:cNvPr>
            <p:cNvSpPr/>
            <p:nvPr/>
          </p:nvSpPr>
          <p:spPr>
            <a:xfrm>
              <a:off x="20203088" y="2479938"/>
              <a:ext cx="375833" cy="1037766"/>
            </a:xfrm>
            <a:custGeom>
              <a:avLst/>
              <a:gdLst>
                <a:gd name="connsiteX0" fmla="*/ 12775 w 375833"/>
                <a:gd name="connsiteY0" fmla="*/ 1025922 h 1037766"/>
                <a:gd name="connsiteX1" fmla="*/ 37113 w 375833"/>
                <a:gd name="connsiteY1" fmla="*/ 1032007 h 1037766"/>
                <a:gd name="connsiteX2" fmla="*/ 58409 w 375833"/>
                <a:gd name="connsiteY2" fmla="*/ 1032007 h 1037766"/>
                <a:gd name="connsiteX3" fmla="*/ 79705 w 375833"/>
                <a:gd name="connsiteY3" fmla="*/ 1004626 h 1037766"/>
                <a:gd name="connsiteX4" fmla="*/ 125339 w 375833"/>
                <a:gd name="connsiteY4" fmla="*/ 949866 h 1037766"/>
                <a:gd name="connsiteX5" fmla="*/ 374802 w 375833"/>
                <a:gd name="connsiteY5" fmla="*/ 496570 h 1037766"/>
                <a:gd name="connsiteX6" fmla="*/ 250070 w 375833"/>
                <a:gd name="connsiteY6" fmla="*/ 683 h 1037766"/>
                <a:gd name="connsiteX7" fmla="*/ 152718 w 375833"/>
                <a:gd name="connsiteY7" fmla="*/ 34147 h 1037766"/>
                <a:gd name="connsiteX8" fmla="*/ 286578 w 375833"/>
                <a:gd name="connsiteY8" fmla="*/ 469190 h 1037766"/>
                <a:gd name="connsiteX9" fmla="*/ 125339 w 375833"/>
                <a:gd name="connsiteY9" fmla="*/ 843387 h 1037766"/>
                <a:gd name="connsiteX10" fmla="*/ 46239 w 375833"/>
                <a:gd name="connsiteY10" fmla="*/ 931612 h 1037766"/>
                <a:gd name="connsiteX11" fmla="*/ 12775 w 375833"/>
                <a:gd name="connsiteY11" fmla="*/ 955950 h 1037766"/>
                <a:gd name="connsiteX12" fmla="*/ 12775 w 375833"/>
                <a:gd name="connsiteY12" fmla="*/ 1025922 h 103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5833" h="1037766">
                  <a:moveTo>
                    <a:pt x="12775" y="1025922"/>
                  </a:moveTo>
                  <a:cubicBezTo>
                    <a:pt x="21901" y="1032007"/>
                    <a:pt x="27986" y="1035049"/>
                    <a:pt x="37113" y="1032007"/>
                  </a:cubicBezTo>
                  <a:cubicBezTo>
                    <a:pt x="43198" y="1038091"/>
                    <a:pt x="52324" y="1041133"/>
                    <a:pt x="58409" y="1032007"/>
                  </a:cubicBezTo>
                  <a:cubicBezTo>
                    <a:pt x="64494" y="1022880"/>
                    <a:pt x="73620" y="1013753"/>
                    <a:pt x="79705" y="1004626"/>
                  </a:cubicBezTo>
                  <a:cubicBezTo>
                    <a:pt x="94916" y="989415"/>
                    <a:pt x="110128" y="968119"/>
                    <a:pt x="125339" y="949866"/>
                  </a:cubicBezTo>
                  <a:cubicBezTo>
                    <a:pt x="234859" y="816007"/>
                    <a:pt x="371761" y="666936"/>
                    <a:pt x="374802" y="496570"/>
                  </a:cubicBezTo>
                  <a:cubicBezTo>
                    <a:pt x="380887" y="314035"/>
                    <a:pt x="362634" y="134542"/>
                    <a:pt x="250070" y="683"/>
                  </a:cubicBezTo>
                  <a:cubicBezTo>
                    <a:pt x="216606" y="-5402"/>
                    <a:pt x="143592" y="31105"/>
                    <a:pt x="152718" y="34147"/>
                  </a:cubicBezTo>
                  <a:cubicBezTo>
                    <a:pt x="253112" y="67612"/>
                    <a:pt x="289619" y="405302"/>
                    <a:pt x="286578" y="469190"/>
                  </a:cubicBezTo>
                  <a:cubicBezTo>
                    <a:pt x="280493" y="618260"/>
                    <a:pt x="201395" y="721697"/>
                    <a:pt x="125339" y="843387"/>
                  </a:cubicBezTo>
                  <a:cubicBezTo>
                    <a:pt x="104043" y="876852"/>
                    <a:pt x="79705" y="907274"/>
                    <a:pt x="46239" y="931612"/>
                  </a:cubicBezTo>
                  <a:cubicBezTo>
                    <a:pt x="34071" y="940739"/>
                    <a:pt x="21901" y="946824"/>
                    <a:pt x="12775" y="955950"/>
                  </a:cubicBezTo>
                  <a:cubicBezTo>
                    <a:pt x="605" y="980288"/>
                    <a:pt x="-8521" y="1010711"/>
                    <a:pt x="12775" y="1025922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E6615272-9B04-462D-A45D-E0A02AB06485}"/>
                </a:ext>
              </a:extLst>
            </p:cNvPr>
            <p:cNvSpPr/>
            <p:nvPr/>
          </p:nvSpPr>
          <p:spPr>
            <a:xfrm>
              <a:off x="20237159" y="2562761"/>
              <a:ext cx="122310" cy="568901"/>
            </a:xfrm>
            <a:custGeom>
              <a:avLst/>
              <a:gdLst>
                <a:gd name="connsiteX0" fmla="*/ 112562 w 122310"/>
                <a:gd name="connsiteY0" fmla="*/ 568901 h 568901"/>
                <a:gd name="connsiteX1" fmla="*/ 112562 w 122310"/>
                <a:gd name="connsiteY1" fmla="*/ 568901 h 568901"/>
                <a:gd name="connsiteX2" fmla="*/ 106479 w 122310"/>
                <a:gd name="connsiteY2" fmla="*/ 562817 h 568901"/>
                <a:gd name="connsiteX3" fmla="*/ 112562 w 122310"/>
                <a:gd name="connsiteY3" fmla="*/ 222085 h 568901"/>
                <a:gd name="connsiteX4" fmla="*/ 3042 w 122310"/>
                <a:gd name="connsiteY4" fmla="*/ 9127 h 568901"/>
                <a:gd name="connsiteX5" fmla="*/ 0 w 122310"/>
                <a:gd name="connsiteY5" fmla="*/ 3042 h 568901"/>
                <a:gd name="connsiteX6" fmla="*/ 6083 w 122310"/>
                <a:gd name="connsiteY6" fmla="*/ 0 h 568901"/>
                <a:gd name="connsiteX7" fmla="*/ 121690 w 122310"/>
                <a:gd name="connsiteY7" fmla="*/ 225127 h 568901"/>
                <a:gd name="connsiteX8" fmla="*/ 115605 w 122310"/>
                <a:gd name="connsiteY8" fmla="*/ 565859 h 568901"/>
                <a:gd name="connsiteX9" fmla="*/ 112562 w 122310"/>
                <a:gd name="connsiteY9" fmla="*/ 568901 h 56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2310" h="568901">
                  <a:moveTo>
                    <a:pt x="112562" y="568901"/>
                  </a:moveTo>
                  <a:cubicBezTo>
                    <a:pt x="112562" y="568901"/>
                    <a:pt x="112562" y="568901"/>
                    <a:pt x="112562" y="568901"/>
                  </a:cubicBezTo>
                  <a:cubicBezTo>
                    <a:pt x="109520" y="568901"/>
                    <a:pt x="106479" y="565859"/>
                    <a:pt x="106479" y="562817"/>
                  </a:cubicBezTo>
                  <a:cubicBezTo>
                    <a:pt x="106479" y="559775"/>
                    <a:pt x="115605" y="404620"/>
                    <a:pt x="112562" y="222085"/>
                  </a:cubicBezTo>
                  <a:cubicBezTo>
                    <a:pt x="109520" y="45634"/>
                    <a:pt x="6083" y="9127"/>
                    <a:pt x="3042" y="9127"/>
                  </a:cubicBezTo>
                  <a:cubicBezTo>
                    <a:pt x="0" y="9127"/>
                    <a:pt x="0" y="6084"/>
                    <a:pt x="0" y="3042"/>
                  </a:cubicBezTo>
                  <a:cubicBezTo>
                    <a:pt x="0" y="0"/>
                    <a:pt x="3042" y="0"/>
                    <a:pt x="6083" y="0"/>
                  </a:cubicBezTo>
                  <a:cubicBezTo>
                    <a:pt x="12168" y="0"/>
                    <a:pt x="118647" y="39549"/>
                    <a:pt x="121690" y="225127"/>
                  </a:cubicBezTo>
                  <a:cubicBezTo>
                    <a:pt x="124732" y="407662"/>
                    <a:pt x="115605" y="565859"/>
                    <a:pt x="115605" y="565859"/>
                  </a:cubicBezTo>
                  <a:cubicBezTo>
                    <a:pt x="118647" y="568901"/>
                    <a:pt x="115605" y="568901"/>
                    <a:pt x="112562" y="568901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E9D282A4-3B18-4EFD-A7D2-D66045EF41B2}"/>
                </a:ext>
              </a:extLst>
            </p:cNvPr>
            <p:cNvSpPr/>
            <p:nvPr/>
          </p:nvSpPr>
          <p:spPr>
            <a:xfrm>
              <a:off x="20532330" y="2847133"/>
              <a:ext cx="120545" cy="197701"/>
            </a:xfrm>
            <a:custGeom>
              <a:avLst/>
              <a:gdLst>
                <a:gd name="connsiteX0" fmla="*/ 18181 w 120545"/>
                <a:gd name="connsiteY0" fmla="*/ 22896 h 197701"/>
                <a:gd name="connsiteX1" fmla="*/ 66856 w 120545"/>
                <a:gd name="connsiteY1" fmla="*/ 1600 h 197701"/>
                <a:gd name="connsiteX2" fmla="*/ 82068 w 120545"/>
                <a:gd name="connsiteY2" fmla="*/ 32023 h 197701"/>
                <a:gd name="connsiteX3" fmla="*/ 79026 w 120545"/>
                <a:gd name="connsiteY3" fmla="*/ 38107 h 197701"/>
                <a:gd name="connsiteX4" fmla="*/ 85111 w 120545"/>
                <a:gd name="connsiteY4" fmla="*/ 38107 h 197701"/>
                <a:gd name="connsiteX5" fmla="*/ 97279 w 120545"/>
                <a:gd name="connsiteY5" fmla="*/ 44192 h 197701"/>
                <a:gd name="connsiteX6" fmla="*/ 97279 w 120545"/>
                <a:gd name="connsiteY6" fmla="*/ 74614 h 197701"/>
                <a:gd name="connsiteX7" fmla="*/ 109449 w 120545"/>
                <a:gd name="connsiteY7" fmla="*/ 123290 h 197701"/>
                <a:gd name="connsiteX8" fmla="*/ 106405 w 120545"/>
                <a:gd name="connsiteY8" fmla="*/ 126332 h 197701"/>
                <a:gd name="connsiteX9" fmla="*/ 118575 w 120545"/>
                <a:gd name="connsiteY9" fmla="*/ 147628 h 197701"/>
                <a:gd name="connsiteX10" fmla="*/ 63815 w 120545"/>
                <a:gd name="connsiteY10" fmla="*/ 196304 h 197701"/>
                <a:gd name="connsiteX11" fmla="*/ 42519 w 120545"/>
                <a:gd name="connsiteY11" fmla="*/ 178051 h 197701"/>
                <a:gd name="connsiteX12" fmla="*/ 27308 w 120545"/>
                <a:gd name="connsiteY12" fmla="*/ 156755 h 197701"/>
                <a:gd name="connsiteX13" fmla="*/ 27308 w 120545"/>
                <a:gd name="connsiteY13" fmla="*/ 153713 h 197701"/>
                <a:gd name="connsiteX14" fmla="*/ 30349 w 120545"/>
                <a:gd name="connsiteY14" fmla="*/ 150671 h 197701"/>
                <a:gd name="connsiteX15" fmla="*/ 36434 w 120545"/>
                <a:gd name="connsiteY15" fmla="*/ 141544 h 197701"/>
                <a:gd name="connsiteX16" fmla="*/ 21223 w 120545"/>
                <a:gd name="connsiteY16" fmla="*/ 132417 h 197701"/>
                <a:gd name="connsiteX17" fmla="*/ 24266 w 120545"/>
                <a:gd name="connsiteY17" fmla="*/ 98952 h 197701"/>
                <a:gd name="connsiteX18" fmla="*/ 15138 w 120545"/>
                <a:gd name="connsiteY18" fmla="*/ 95910 h 197701"/>
                <a:gd name="connsiteX19" fmla="*/ 18181 w 120545"/>
                <a:gd name="connsiteY19" fmla="*/ 22896 h 197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0545" h="197701">
                  <a:moveTo>
                    <a:pt x="18181" y="22896"/>
                  </a:moveTo>
                  <a:cubicBezTo>
                    <a:pt x="30349" y="7685"/>
                    <a:pt x="54689" y="-4484"/>
                    <a:pt x="66856" y="1600"/>
                  </a:cubicBezTo>
                  <a:cubicBezTo>
                    <a:pt x="75983" y="4642"/>
                    <a:pt x="85111" y="22896"/>
                    <a:pt x="82068" y="32023"/>
                  </a:cubicBezTo>
                  <a:cubicBezTo>
                    <a:pt x="82068" y="35065"/>
                    <a:pt x="79026" y="35065"/>
                    <a:pt x="79026" y="38107"/>
                  </a:cubicBezTo>
                  <a:cubicBezTo>
                    <a:pt x="82068" y="38107"/>
                    <a:pt x="82068" y="38107"/>
                    <a:pt x="85111" y="38107"/>
                  </a:cubicBezTo>
                  <a:cubicBezTo>
                    <a:pt x="88153" y="38107"/>
                    <a:pt x="94238" y="41149"/>
                    <a:pt x="97279" y="44192"/>
                  </a:cubicBezTo>
                  <a:cubicBezTo>
                    <a:pt x="106405" y="53318"/>
                    <a:pt x="106405" y="65487"/>
                    <a:pt x="97279" y="74614"/>
                  </a:cubicBezTo>
                  <a:cubicBezTo>
                    <a:pt x="115534" y="80699"/>
                    <a:pt x="121617" y="105037"/>
                    <a:pt x="109449" y="123290"/>
                  </a:cubicBezTo>
                  <a:cubicBezTo>
                    <a:pt x="109449" y="123290"/>
                    <a:pt x="109449" y="123290"/>
                    <a:pt x="106405" y="126332"/>
                  </a:cubicBezTo>
                  <a:cubicBezTo>
                    <a:pt x="115534" y="126332"/>
                    <a:pt x="124660" y="135459"/>
                    <a:pt x="118575" y="147628"/>
                  </a:cubicBezTo>
                  <a:cubicBezTo>
                    <a:pt x="106405" y="168924"/>
                    <a:pt x="88153" y="187178"/>
                    <a:pt x="63815" y="196304"/>
                  </a:cubicBezTo>
                  <a:cubicBezTo>
                    <a:pt x="48604" y="202389"/>
                    <a:pt x="39477" y="187178"/>
                    <a:pt x="42519" y="178051"/>
                  </a:cubicBezTo>
                  <a:cubicBezTo>
                    <a:pt x="33392" y="178051"/>
                    <a:pt x="24266" y="165882"/>
                    <a:pt x="27308" y="156755"/>
                  </a:cubicBezTo>
                  <a:cubicBezTo>
                    <a:pt x="27308" y="156755"/>
                    <a:pt x="27308" y="156755"/>
                    <a:pt x="27308" y="153713"/>
                  </a:cubicBezTo>
                  <a:cubicBezTo>
                    <a:pt x="27308" y="153713"/>
                    <a:pt x="27308" y="150671"/>
                    <a:pt x="30349" y="150671"/>
                  </a:cubicBezTo>
                  <a:cubicBezTo>
                    <a:pt x="33392" y="147628"/>
                    <a:pt x="33392" y="144586"/>
                    <a:pt x="36434" y="141544"/>
                  </a:cubicBezTo>
                  <a:cubicBezTo>
                    <a:pt x="30349" y="141544"/>
                    <a:pt x="21223" y="138502"/>
                    <a:pt x="21223" y="132417"/>
                  </a:cubicBezTo>
                  <a:cubicBezTo>
                    <a:pt x="18181" y="123290"/>
                    <a:pt x="18181" y="111121"/>
                    <a:pt x="24266" y="98952"/>
                  </a:cubicBezTo>
                  <a:cubicBezTo>
                    <a:pt x="21223" y="98952"/>
                    <a:pt x="15138" y="98952"/>
                    <a:pt x="15138" y="95910"/>
                  </a:cubicBezTo>
                  <a:cubicBezTo>
                    <a:pt x="-12241" y="77656"/>
                    <a:pt x="2970" y="41149"/>
                    <a:pt x="18181" y="22896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3703CF00-D94C-41C0-B9C6-979E3C5245B7}"/>
                </a:ext>
              </a:extLst>
            </p:cNvPr>
            <p:cNvSpPr/>
            <p:nvPr/>
          </p:nvSpPr>
          <p:spPr>
            <a:xfrm>
              <a:off x="20443816" y="2797590"/>
              <a:ext cx="103651" cy="168246"/>
            </a:xfrm>
            <a:custGeom>
              <a:avLst/>
              <a:gdLst>
                <a:gd name="connsiteX0" fmla="*/ 21512 w 103651"/>
                <a:gd name="connsiteY0" fmla="*/ 51143 h 168246"/>
                <a:gd name="connsiteX1" fmla="*/ 79314 w 103651"/>
                <a:gd name="connsiteY1" fmla="*/ 2467 h 168246"/>
                <a:gd name="connsiteX2" fmla="*/ 103651 w 103651"/>
                <a:gd name="connsiteY2" fmla="*/ 23762 h 168246"/>
                <a:gd name="connsiteX3" fmla="*/ 67146 w 103651"/>
                <a:gd name="connsiteY3" fmla="*/ 78523 h 168246"/>
                <a:gd name="connsiteX4" fmla="*/ 42806 w 103651"/>
                <a:gd name="connsiteY4" fmla="*/ 139368 h 168246"/>
                <a:gd name="connsiteX5" fmla="*/ 30638 w 103651"/>
                <a:gd name="connsiteY5" fmla="*/ 145453 h 168246"/>
                <a:gd name="connsiteX6" fmla="*/ 6301 w 103651"/>
                <a:gd name="connsiteY6" fmla="*/ 163706 h 168246"/>
                <a:gd name="connsiteX7" fmla="*/ 21512 w 103651"/>
                <a:gd name="connsiteY7" fmla="*/ 51143 h 168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651" h="168246">
                  <a:moveTo>
                    <a:pt x="21512" y="51143"/>
                  </a:moveTo>
                  <a:cubicBezTo>
                    <a:pt x="36723" y="29847"/>
                    <a:pt x="58018" y="14636"/>
                    <a:pt x="79314" y="2467"/>
                  </a:cubicBezTo>
                  <a:cubicBezTo>
                    <a:pt x="94525" y="-6660"/>
                    <a:pt x="103651" y="11593"/>
                    <a:pt x="103651" y="23762"/>
                  </a:cubicBezTo>
                  <a:cubicBezTo>
                    <a:pt x="97568" y="48101"/>
                    <a:pt x="79314" y="60269"/>
                    <a:pt x="67146" y="78523"/>
                  </a:cubicBezTo>
                  <a:cubicBezTo>
                    <a:pt x="54976" y="96777"/>
                    <a:pt x="58018" y="121115"/>
                    <a:pt x="42806" y="139368"/>
                  </a:cubicBezTo>
                  <a:cubicBezTo>
                    <a:pt x="39765" y="142410"/>
                    <a:pt x="36723" y="145453"/>
                    <a:pt x="30638" y="145453"/>
                  </a:cubicBezTo>
                  <a:cubicBezTo>
                    <a:pt x="21512" y="151537"/>
                    <a:pt x="12384" y="178917"/>
                    <a:pt x="6301" y="163706"/>
                  </a:cubicBezTo>
                  <a:cubicBezTo>
                    <a:pt x="-8911" y="124157"/>
                    <a:pt x="6301" y="75481"/>
                    <a:pt x="21512" y="51143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19308ACE-7522-40BA-AE25-95974C3054A3}"/>
                </a:ext>
              </a:extLst>
            </p:cNvPr>
            <p:cNvSpPr/>
            <p:nvPr/>
          </p:nvSpPr>
          <p:spPr>
            <a:xfrm>
              <a:off x="20451311" y="2848733"/>
              <a:ext cx="161626" cy="244969"/>
            </a:xfrm>
            <a:custGeom>
              <a:avLst/>
              <a:gdLst>
                <a:gd name="connsiteX0" fmla="*/ 126579 w 161626"/>
                <a:gd name="connsiteY0" fmla="*/ 0 h 244969"/>
                <a:gd name="connsiteX1" fmla="*/ 1847 w 161626"/>
                <a:gd name="connsiteY1" fmla="*/ 106479 h 244969"/>
                <a:gd name="connsiteX2" fmla="*/ 47481 w 161626"/>
                <a:gd name="connsiteY2" fmla="*/ 240338 h 244969"/>
                <a:gd name="connsiteX3" fmla="*/ 153960 w 161626"/>
                <a:gd name="connsiteY3" fmla="*/ 188620 h 244969"/>
                <a:gd name="connsiteX4" fmla="*/ 126579 w 161626"/>
                <a:gd name="connsiteY4" fmla="*/ 0 h 244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626" h="244969">
                  <a:moveTo>
                    <a:pt x="126579" y="0"/>
                  </a:moveTo>
                  <a:cubicBezTo>
                    <a:pt x="126579" y="0"/>
                    <a:pt x="38355" y="36507"/>
                    <a:pt x="1847" y="106479"/>
                  </a:cubicBezTo>
                  <a:cubicBezTo>
                    <a:pt x="-10323" y="127775"/>
                    <a:pt x="41396" y="219042"/>
                    <a:pt x="47481" y="240338"/>
                  </a:cubicBezTo>
                  <a:cubicBezTo>
                    <a:pt x="53566" y="258592"/>
                    <a:pt x="129622" y="219042"/>
                    <a:pt x="153960" y="188620"/>
                  </a:cubicBezTo>
                  <a:cubicBezTo>
                    <a:pt x="181341" y="161239"/>
                    <a:pt x="126579" y="0"/>
                    <a:pt x="126579" y="0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04FED712-F760-4943-A54C-91E7EFB8889A}"/>
                </a:ext>
              </a:extLst>
            </p:cNvPr>
            <p:cNvSpPr/>
            <p:nvPr/>
          </p:nvSpPr>
          <p:spPr>
            <a:xfrm>
              <a:off x="19979180" y="2939816"/>
              <a:ext cx="537865" cy="827315"/>
            </a:xfrm>
            <a:custGeom>
              <a:avLst/>
              <a:gdLst>
                <a:gd name="connsiteX0" fmla="*/ 537865 w 537865"/>
                <a:gd name="connsiteY0" fmla="*/ 140129 h 827315"/>
                <a:gd name="connsiteX1" fmla="*/ 178880 w 537865"/>
                <a:gd name="connsiteY1" fmla="*/ 818551 h 827315"/>
                <a:gd name="connsiteX2" fmla="*/ 5471 w 537865"/>
                <a:gd name="connsiteY2" fmla="*/ 657312 h 827315"/>
                <a:gd name="connsiteX3" fmla="*/ 477020 w 537865"/>
                <a:gd name="connsiteY3" fmla="*/ 185 h 827315"/>
                <a:gd name="connsiteX4" fmla="*/ 537865 w 537865"/>
                <a:gd name="connsiteY4" fmla="*/ 140129 h 82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865" h="827315">
                  <a:moveTo>
                    <a:pt x="537865" y="140129"/>
                  </a:moveTo>
                  <a:cubicBezTo>
                    <a:pt x="537865" y="140129"/>
                    <a:pt x="261021" y="782044"/>
                    <a:pt x="178880" y="818551"/>
                  </a:cubicBezTo>
                  <a:cubicBezTo>
                    <a:pt x="99782" y="855058"/>
                    <a:pt x="-27993" y="772917"/>
                    <a:pt x="5471" y="657312"/>
                  </a:cubicBezTo>
                  <a:cubicBezTo>
                    <a:pt x="38937" y="544748"/>
                    <a:pt x="470937" y="6270"/>
                    <a:pt x="477020" y="185"/>
                  </a:cubicBezTo>
                  <a:cubicBezTo>
                    <a:pt x="483105" y="-5900"/>
                    <a:pt x="537865" y="140129"/>
                    <a:pt x="537865" y="140129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49A1133C-062B-45D7-A724-80150FE81A91}"/>
                </a:ext>
              </a:extLst>
            </p:cNvPr>
            <p:cNvSpPr/>
            <p:nvPr/>
          </p:nvSpPr>
          <p:spPr>
            <a:xfrm>
              <a:off x="20091130" y="3232818"/>
              <a:ext cx="139183" cy="163521"/>
            </a:xfrm>
            <a:custGeom>
              <a:avLst/>
              <a:gdLst>
                <a:gd name="connsiteX0" fmla="*/ 6085 w 139183"/>
                <a:gd name="connsiteY0" fmla="*/ 163521 h 163521"/>
                <a:gd name="connsiteX1" fmla="*/ 6085 w 139183"/>
                <a:gd name="connsiteY1" fmla="*/ 163521 h 163521"/>
                <a:gd name="connsiteX2" fmla="*/ 0 w 139183"/>
                <a:gd name="connsiteY2" fmla="*/ 154394 h 163521"/>
                <a:gd name="connsiteX3" fmla="*/ 127775 w 139183"/>
                <a:gd name="connsiteY3" fmla="*/ 2282 h 163521"/>
                <a:gd name="connsiteX4" fmla="*/ 136901 w 139183"/>
                <a:gd name="connsiteY4" fmla="*/ 2282 h 163521"/>
                <a:gd name="connsiteX5" fmla="*/ 136901 w 139183"/>
                <a:gd name="connsiteY5" fmla="*/ 11408 h 163521"/>
                <a:gd name="connsiteX6" fmla="*/ 9128 w 139183"/>
                <a:gd name="connsiteY6" fmla="*/ 163521 h 163521"/>
                <a:gd name="connsiteX7" fmla="*/ 6085 w 139183"/>
                <a:gd name="connsiteY7" fmla="*/ 163521 h 163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183" h="163521">
                  <a:moveTo>
                    <a:pt x="6085" y="163521"/>
                  </a:moveTo>
                  <a:cubicBezTo>
                    <a:pt x="3043" y="163521"/>
                    <a:pt x="3043" y="163521"/>
                    <a:pt x="6085" y="163521"/>
                  </a:cubicBezTo>
                  <a:cubicBezTo>
                    <a:pt x="0" y="160479"/>
                    <a:pt x="0" y="157437"/>
                    <a:pt x="0" y="154394"/>
                  </a:cubicBezTo>
                  <a:cubicBezTo>
                    <a:pt x="36507" y="93549"/>
                    <a:pt x="124734" y="5324"/>
                    <a:pt x="127775" y="2282"/>
                  </a:cubicBezTo>
                  <a:cubicBezTo>
                    <a:pt x="130818" y="-761"/>
                    <a:pt x="133860" y="-761"/>
                    <a:pt x="136901" y="2282"/>
                  </a:cubicBezTo>
                  <a:cubicBezTo>
                    <a:pt x="139945" y="5324"/>
                    <a:pt x="139945" y="8366"/>
                    <a:pt x="136901" y="11408"/>
                  </a:cubicBezTo>
                  <a:cubicBezTo>
                    <a:pt x="136901" y="11408"/>
                    <a:pt x="45634" y="102676"/>
                    <a:pt x="9128" y="163521"/>
                  </a:cubicBezTo>
                  <a:cubicBezTo>
                    <a:pt x="9128" y="163521"/>
                    <a:pt x="6085" y="163521"/>
                    <a:pt x="6085" y="163521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43DC73B9-6640-43CE-86AD-77E86935262D}"/>
                </a:ext>
              </a:extLst>
            </p:cNvPr>
            <p:cNvSpPr/>
            <p:nvPr/>
          </p:nvSpPr>
          <p:spPr>
            <a:xfrm>
              <a:off x="20487384" y="2844760"/>
              <a:ext cx="165519" cy="213888"/>
            </a:xfrm>
            <a:custGeom>
              <a:avLst/>
              <a:gdLst>
                <a:gd name="connsiteX0" fmla="*/ 105718 w 165519"/>
                <a:gd name="connsiteY0" fmla="*/ 213889 h 213888"/>
                <a:gd name="connsiteX1" fmla="*/ 99635 w 165519"/>
                <a:gd name="connsiteY1" fmla="*/ 210846 h 213888"/>
                <a:gd name="connsiteX2" fmla="*/ 102677 w 165519"/>
                <a:gd name="connsiteY2" fmla="*/ 201720 h 213888"/>
                <a:gd name="connsiteX3" fmla="*/ 151352 w 165519"/>
                <a:gd name="connsiteY3" fmla="*/ 159128 h 213888"/>
                <a:gd name="connsiteX4" fmla="*/ 154395 w 165519"/>
                <a:gd name="connsiteY4" fmla="*/ 140874 h 213888"/>
                <a:gd name="connsiteX5" fmla="*/ 148310 w 165519"/>
                <a:gd name="connsiteY5" fmla="*/ 134790 h 213888"/>
                <a:gd name="connsiteX6" fmla="*/ 145269 w 165519"/>
                <a:gd name="connsiteY6" fmla="*/ 131748 h 213888"/>
                <a:gd name="connsiteX7" fmla="*/ 145269 w 165519"/>
                <a:gd name="connsiteY7" fmla="*/ 125663 h 213888"/>
                <a:gd name="connsiteX8" fmla="*/ 151352 w 165519"/>
                <a:gd name="connsiteY8" fmla="*/ 98283 h 213888"/>
                <a:gd name="connsiteX9" fmla="*/ 142225 w 165519"/>
                <a:gd name="connsiteY9" fmla="*/ 89156 h 213888"/>
                <a:gd name="connsiteX10" fmla="*/ 139184 w 165519"/>
                <a:gd name="connsiteY10" fmla="*/ 83072 h 213888"/>
                <a:gd name="connsiteX11" fmla="*/ 139184 w 165519"/>
                <a:gd name="connsiteY11" fmla="*/ 58734 h 213888"/>
                <a:gd name="connsiteX12" fmla="*/ 117888 w 165519"/>
                <a:gd name="connsiteY12" fmla="*/ 52649 h 213888"/>
                <a:gd name="connsiteX13" fmla="*/ 111803 w 165519"/>
                <a:gd name="connsiteY13" fmla="*/ 49607 h 213888"/>
                <a:gd name="connsiteX14" fmla="*/ 111803 w 165519"/>
                <a:gd name="connsiteY14" fmla="*/ 43522 h 213888"/>
                <a:gd name="connsiteX15" fmla="*/ 120929 w 165519"/>
                <a:gd name="connsiteY15" fmla="*/ 19184 h 213888"/>
                <a:gd name="connsiteX16" fmla="*/ 111803 w 165519"/>
                <a:gd name="connsiteY16" fmla="*/ 13100 h 213888"/>
                <a:gd name="connsiteX17" fmla="*/ 11409 w 165519"/>
                <a:gd name="connsiteY17" fmla="*/ 67860 h 213888"/>
                <a:gd name="connsiteX18" fmla="*/ 2283 w 165519"/>
                <a:gd name="connsiteY18" fmla="*/ 67860 h 213888"/>
                <a:gd name="connsiteX19" fmla="*/ 2283 w 165519"/>
                <a:gd name="connsiteY19" fmla="*/ 58734 h 213888"/>
                <a:gd name="connsiteX20" fmla="*/ 114846 w 165519"/>
                <a:gd name="connsiteY20" fmla="*/ 931 h 213888"/>
                <a:gd name="connsiteX21" fmla="*/ 130058 w 165519"/>
                <a:gd name="connsiteY21" fmla="*/ 16142 h 213888"/>
                <a:gd name="connsiteX22" fmla="*/ 127014 w 165519"/>
                <a:gd name="connsiteY22" fmla="*/ 40480 h 213888"/>
                <a:gd name="connsiteX23" fmla="*/ 148310 w 165519"/>
                <a:gd name="connsiteY23" fmla="*/ 49607 h 213888"/>
                <a:gd name="connsiteX24" fmla="*/ 151352 w 165519"/>
                <a:gd name="connsiteY24" fmla="*/ 83072 h 213888"/>
                <a:gd name="connsiteX25" fmla="*/ 163522 w 165519"/>
                <a:gd name="connsiteY25" fmla="*/ 98283 h 213888"/>
                <a:gd name="connsiteX26" fmla="*/ 157437 w 165519"/>
                <a:gd name="connsiteY26" fmla="*/ 131748 h 213888"/>
                <a:gd name="connsiteX27" fmla="*/ 163522 w 165519"/>
                <a:gd name="connsiteY27" fmla="*/ 140874 h 213888"/>
                <a:gd name="connsiteX28" fmla="*/ 160480 w 165519"/>
                <a:gd name="connsiteY28" fmla="*/ 168255 h 213888"/>
                <a:gd name="connsiteX29" fmla="*/ 105718 w 165519"/>
                <a:gd name="connsiteY29" fmla="*/ 213889 h 213888"/>
                <a:gd name="connsiteX30" fmla="*/ 105718 w 165519"/>
                <a:gd name="connsiteY30" fmla="*/ 213889 h 213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65519" h="213888">
                  <a:moveTo>
                    <a:pt x="105718" y="213889"/>
                  </a:moveTo>
                  <a:cubicBezTo>
                    <a:pt x="102677" y="213889"/>
                    <a:pt x="102677" y="213889"/>
                    <a:pt x="99635" y="210846"/>
                  </a:cubicBezTo>
                  <a:cubicBezTo>
                    <a:pt x="99635" y="207804"/>
                    <a:pt x="99635" y="204762"/>
                    <a:pt x="102677" y="201720"/>
                  </a:cubicBezTo>
                  <a:cubicBezTo>
                    <a:pt x="102677" y="201720"/>
                    <a:pt x="142225" y="183466"/>
                    <a:pt x="151352" y="159128"/>
                  </a:cubicBezTo>
                  <a:cubicBezTo>
                    <a:pt x="154395" y="150001"/>
                    <a:pt x="154395" y="143917"/>
                    <a:pt x="154395" y="140874"/>
                  </a:cubicBezTo>
                  <a:cubicBezTo>
                    <a:pt x="151352" y="137832"/>
                    <a:pt x="148310" y="134790"/>
                    <a:pt x="148310" y="134790"/>
                  </a:cubicBezTo>
                  <a:cubicBezTo>
                    <a:pt x="145269" y="134790"/>
                    <a:pt x="145269" y="131748"/>
                    <a:pt x="145269" y="131748"/>
                  </a:cubicBezTo>
                  <a:cubicBezTo>
                    <a:pt x="145269" y="128705"/>
                    <a:pt x="145269" y="128705"/>
                    <a:pt x="145269" y="125663"/>
                  </a:cubicBezTo>
                  <a:cubicBezTo>
                    <a:pt x="151352" y="113494"/>
                    <a:pt x="154395" y="104367"/>
                    <a:pt x="151352" y="98283"/>
                  </a:cubicBezTo>
                  <a:cubicBezTo>
                    <a:pt x="148310" y="92198"/>
                    <a:pt x="142225" y="89156"/>
                    <a:pt x="142225" y="89156"/>
                  </a:cubicBezTo>
                  <a:cubicBezTo>
                    <a:pt x="139184" y="89156"/>
                    <a:pt x="136141" y="86114"/>
                    <a:pt x="139184" y="83072"/>
                  </a:cubicBezTo>
                  <a:cubicBezTo>
                    <a:pt x="142225" y="73945"/>
                    <a:pt x="145269" y="64818"/>
                    <a:pt x="139184" y="58734"/>
                  </a:cubicBezTo>
                  <a:cubicBezTo>
                    <a:pt x="133099" y="52649"/>
                    <a:pt x="117888" y="52649"/>
                    <a:pt x="117888" y="52649"/>
                  </a:cubicBezTo>
                  <a:cubicBezTo>
                    <a:pt x="114846" y="52649"/>
                    <a:pt x="111803" y="52649"/>
                    <a:pt x="111803" y="49607"/>
                  </a:cubicBezTo>
                  <a:cubicBezTo>
                    <a:pt x="111803" y="46565"/>
                    <a:pt x="111803" y="43522"/>
                    <a:pt x="111803" y="43522"/>
                  </a:cubicBezTo>
                  <a:cubicBezTo>
                    <a:pt x="114846" y="40480"/>
                    <a:pt x="123973" y="28311"/>
                    <a:pt x="120929" y="19184"/>
                  </a:cubicBezTo>
                  <a:cubicBezTo>
                    <a:pt x="120929" y="19184"/>
                    <a:pt x="120929" y="13100"/>
                    <a:pt x="111803" y="13100"/>
                  </a:cubicBezTo>
                  <a:cubicBezTo>
                    <a:pt x="93550" y="7015"/>
                    <a:pt x="38790" y="43522"/>
                    <a:pt x="11409" y="67860"/>
                  </a:cubicBezTo>
                  <a:cubicBezTo>
                    <a:pt x="8367" y="70903"/>
                    <a:pt x="5324" y="70903"/>
                    <a:pt x="2283" y="67860"/>
                  </a:cubicBezTo>
                  <a:cubicBezTo>
                    <a:pt x="-761" y="64818"/>
                    <a:pt x="-761" y="61776"/>
                    <a:pt x="2283" y="58734"/>
                  </a:cubicBezTo>
                  <a:cubicBezTo>
                    <a:pt x="11409" y="52649"/>
                    <a:pt x="84424" y="-8196"/>
                    <a:pt x="114846" y="931"/>
                  </a:cubicBezTo>
                  <a:cubicBezTo>
                    <a:pt x="127014" y="3973"/>
                    <a:pt x="130058" y="10058"/>
                    <a:pt x="130058" y="16142"/>
                  </a:cubicBezTo>
                  <a:cubicBezTo>
                    <a:pt x="133099" y="25269"/>
                    <a:pt x="130058" y="34396"/>
                    <a:pt x="127014" y="40480"/>
                  </a:cubicBezTo>
                  <a:cubicBezTo>
                    <a:pt x="133099" y="40480"/>
                    <a:pt x="142225" y="43522"/>
                    <a:pt x="148310" y="49607"/>
                  </a:cubicBezTo>
                  <a:cubicBezTo>
                    <a:pt x="154395" y="55691"/>
                    <a:pt x="154395" y="67860"/>
                    <a:pt x="151352" y="83072"/>
                  </a:cubicBezTo>
                  <a:cubicBezTo>
                    <a:pt x="154395" y="86114"/>
                    <a:pt x="160480" y="89156"/>
                    <a:pt x="163522" y="98283"/>
                  </a:cubicBezTo>
                  <a:cubicBezTo>
                    <a:pt x="166563" y="107410"/>
                    <a:pt x="166563" y="119579"/>
                    <a:pt x="157437" y="131748"/>
                  </a:cubicBezTo>
                  <a:cubicBezTo>
                    <a:pt x="160480" y="134790"/>
                    <a:pt x="163522" y="137832"/>
                    <a:pt x="163522" y="140874"/>
                  </a:cubicBezTo>
                  <a:cubicBezTo>
                    <a:pt x="166563" y="150001"/>
                    <a:pt x="166563" y="159128"/>
                    <a:pt x="160480" y="168255"/>
                  </a:cubicBezTo>
                  <a:cubicBezTo>
                    <a:pt x="151352" y="192593"/>
                    <a:pt x="108761" y="210846"/>
                    <a:pt x="105718" y="213889"/>
                  </a:cubicBezTo>
                  <a:cubicBezTo>
                    <a:pt x="105718" y="213889"/>
                    <a:pt x="105718" y="213889"/>
                    <a:pt x="105718" y="213889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86722381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8CF01B64-50CB-42FE-ABB0-584B7447EB2A}"/>
              </a:ext>
            </a:extLst>
          </p:cNvPr>
          <p:cNvGrpSpPr/>
          <p:nvPr/>
        </p:nvGrpSpPr>
        <p:grpSpPr>
          <a:xfrm>
            <a:off x="2514446" y="2083333"/>
            <a:ext cx="3542026" cy="4774667"/>
            <a:chOff x="2366962" y="7687587"/>
            <a:chExt cx="3542026" cy="4774667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141FA160-BE6E-46B0-8101-11907BC513F3}"/>
                </a:ext>
              </a:extLst>
            </p:cNvPr>
            <p:cNvSpPr/>
            <p:nvPr/>
          </p:nvSpPr>
          <p:spPr>
            <a:xfrm>
              <a:off x="3608201" y="10207944"/>
              <a:ext cx="909633" cy="2117408"/>
            </a:xfrm>
            <a:custGeom>
              <a:avLst/>
              <a:gdLst>
                <a:gd name="connsiteX0" fmla="*/ 909634 w 909633"/>
                <a:gd name="connsiteY0" fmla="*/ 1971381 h 2117408"/>
                <a:gd name="connsiteX1" fmla="*/ 696676 w 909633"/>
                <a:gd name="connsiteY1" fmla="*/ 870085 h 2117408"/>
                <a:gd name="connsiteX2" fmla="*/ 450254 w 909633"/>
                <a:gd name="connsiteY2" fmla="*/ 0 h 2117408"/>
                <a:gd name="connsiteX3" fmla="*/ 0 w 909633"/>
                <a:gd name="connsiteY3" fmla="*/ 237296 h 2117408"/>
                <a:gd name="connsiteX4" fmla="*/ 377239 w 909633"/>
                <a:gd name="connsiteY4" fmla="*/ 985690 h 2117408"/>
                <a:gd name="connsiteX5" fmla="*/ 784901 w 909633"/>
                <a:gd name="connsiteY5" fmla="*/ 2117409 h 2117408"/>
                <a:gd name="connsiteX6" fmla="*/ 909634 w 909633"/>
                <a:gd name="connsiteY6" fmla="*/ 1971381 h 2117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9633" h="2117408">
                  <a:moveTo>
                    <a:pt x="909634" y="1971381"/>
                  </a:moveTo>
                  <a:cubicBezTo>
                    <a:pt x="909634" y="1971381"/>
                    <a:pt x="711887" y="909634"/>
                    <a:pt x="696676" y="870085"/>
                  </a:cubicBezTo>
                  <a:cubicBezTo>
                    <a:pt x="684507" y="830536"/>
                    <a:pt x="450254" y="0"/>
                    <a:pt x="450254" y="0"/>
                  </a:cubicBezTo>
                  <a:lnTo>
                    <a:pt x="0" y="237296"/>
                  </a:lnTo>
                  <a:cubicBezTo>
                    <a:pt x="0" y="237296"/>
                    <a:pt x="362028" y="946141"/>
                    <a:pt x="377239" y="985690"/>
                  </a:cubicBezTo>
                  <a:cubicBezTo>
                    <a:pt x="392451" y="1028282"/>
                    <a:pt x="784901" y="2117409"/>
                    <a:pt x="784901" y="2117409"/>
                  </a:cubicBezTo>
                  <a:lnTo>
                    <a:pt x="909634" y="1971381"/>
                  </a:ln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C2ABED1B-2149-471C-997E-2BDCE64224AB}"/>
                </a:ext>
              </a:extLst>
            </p:cNvPr>
            <p:cNvSpPr/>
            <p:nvPr/>
          </p:nvSpPr>
          <p:spPr>
            <a:xfrm>
              <a:off x="3075807" y="10375268"/>
              <a:ext cx="404619" cy="1968338"/>
            </a:xfrm>
            <a:custGeom>
              <a:avLst/>
              <a:gdLst>
                <a:gd name="connsiteX0" fmla="*/ 51718 w 404619"/>
                <a:gd name="connsiteY0" fmla="*/ 1968338 h 1968338"/>
                <a:gd name="connsiteX1" fmla="*/ 97352 w 404619"/>
                <a:gd name="connsiteY1" fmla="*/ 1010029 h 1968338"/>
                <a:gd name="connsiteX2" fmla="*/ 0 w 404619"/>
                <a:gd name="connsiteY2" fmla="*/ 24339 h 1968338"/>
                <a:gd name="connsiteX3" fmla="*/ 404620 w 404619"/>
                <a:gd name="connsiteY3" fmla="*/ 0 h 1968338"/>
                <a:gd name="connsiteX4" fmla="*/ 389408 w 404619"/>
                <a:gd name="connsiteY4" fmla="*/ 997860 h 1968338"/>
                <a:gd name="connsiteX5" fmla="*/ 197746 w 404619"/>
                <a:gd name="connsiteY5" fmla="*/ 1937916 h 1968338"/>
                <a:gd name="connsiteX6" fmla="*/ 51718 w 404619"/>
                <a:gd name="connsiteY6" fmla="*/ 1968338 h 1968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4619" h="1968338">
                  <a:moveTo>
                    <a:pt x="51718" y="1968338"/>
                  </a:moveTo>
                  <a:cubicBezTo>
                    <a:pt x="51718" y="1968338"/>
                    <a:pt x="100394" y="1040451"/>
                    <a:pt x="97352" y="1010029"/>
                  </a:cubicBezTo>
                  <a:cubicBezTo>
                    <a:pt x="94310" y="979606"/>
                    <a:pt x="0" y="24339"/>
                    <a:pt x="0" y="24339"/>
                  </a:cubicBezTo>
                  <a:lnTo>
                    <a:pt x="404620" y="0"/>
                  </a:lnTo>
                  <a:cubicBezTo>
                    <a:pt x="404620" y="0"/>
                    <a:pt x="395493" y="924845"/>
                    <a:pt x="389408" y="997860"/>
                  </a:cubicBezTo>
                  <a:cubicBezTo>
                    <a:pt x="380282" y="1070874"/>
                    <a:pt x="197746" y="1937916"/>
                    <a:pt x="197746" y="1937916"/>
                  </a:cubicBezTo>
                  <a:lnTo>
                    <a:pt x="51718" y="1968338"/>
                  </a:ln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AB597BB1-1C85-4629-B0C1-4F10135C0E1D}"/>
                </a:ext>
              </a:extLst>
            </p:cNvPr>
            <p:cNvSpPr/>
            <p:nvPr/>
          </p:nvSpPr>
          <p:spPr>
            <a:xfrm>
              <a:off x="4848609" y="8760180"/>
              <a:ext cx="347648" cy="282121"/>
            </a:xfrm>
            <a:custGeom>
              <a:avLst/>
              <a:gdLst>
                <a:gd name="connsiteX0" fmla="*/ 311142 w 347648"/>
                <a:gd name="connsiteY0" fmla="*/ 157849 h 282121"/>
                <a:gd name="connsiteX1" fmla="*/ 292888 w 347648"/>
                <a:gd name="connsiteY1" fmla="*/ 145680 h 282121"/>
                <a:gd name="connsiteX2" fmla="*/ 286803 w 347648"/>
                <a:gd name="connsiteY2" fmla="*/ 145680 h 282121"/>
                <a:gd name="connsiteX3" fmla="*/ 311142 w 347648"/>
                <a:gd name="connsiteY3" fmla="*/ 133511 h 282121"/>
                <a:gd name="connsiteX4" fmla="*/ 341564 w 347648"/>
                <a:gd name="connsiteY4" fmla="*/ 93962 h 282121"/>
                <a:gd name="connsiteX5" fmla="*/ 338522 w 347648"/>
                <a:gd name="connsiteY5" fmla="*/ 87877 h 282121"/>
                <a:gd name="connsiteX6" fmla="*/ 335479 w 347648"/>
                <a:gd name="connsiteY6" fmla="*/ 87877 h 282121"/>
                <a:gd name="connsiteX7" fmla="*/ 347649 w 347648"/>
                <a:gd name="connsiteY7" fmla="*/ 54413 h 282121"/>
                <a:gd name="connsiteX8" fmla="*/ 323310 w 347648"/>
                <a:gd name="connsiteY8" fmla="*/ 36159 h 282121"/>
                <a:gd name="connsiteX9" fmla="*/ 271592 w 347648"/>
                <a:gd name="connsiteY9" fmla="*/ 57455 h 282121"/>
                <a:gd name="connsiteX10" fmla="*/ 198578 w 347648"/>
                <a:gd name="connsiteY10" fmla="*/ 90920 h 282121"/>
                <a:gd name="connsiteX11" fmla="*/ 244212 w 347648"/>
                <a:gd name="connsiteY11" fmla="*/ 48328 h 282121"/>
                <a:gd name="connsiteX12" fmla="*/ 277677 w 347648"/>
                <a:gd name="connsiteY12" fmla="*/ 14863 h 282121"/>
                <a:gd name="connsiteX13" fmla="*/ 244212 w 347648"/>
                <a:gd name="connsiteY13" fmla="*/ 5736 h 282121"/>
                <a:gd name="connsiteX14" fmla="*/ 832 w 347648"/>
                <a:gd name="connsiteY14" fmla="*/ 203483 h 282121"/>
                <a:gd name="connsiteX15" fmla="*/ 92099 w 347648"/>
                <a:gd name="connsiteY15" fmla="*/ 279539 h 282121"/>
                <a:gd name="connsiteX16" fmla="*/ 213789 w 347648"/>
                <a:gd name="connsiteY16" fmla="*/ 233905 h 282121"/>
                <a:gd name="connsiteX17" fmla="*/ 283761 w 347648"/>
                <a:gd name="connsiteY17" fmla="*/ 191314 h 282121"/>
                <a:gd name="connsiteX18" fmla="*/ 311142 w 347648"/>
                <a:gd name="connsiteY18" fmla="*/ 157849 h 282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47648" h="282121">
                  <a:moveTo>
                    <a:pt x="311142" y="157849"/>
                  </a:moveTo>
                  <a:cubicBezTo>
                    <a:pt x="308099" y="148722"/>
                    <a:pt x="302015" y="145680"/>
                    <a:pt x="292888" y="145680"/>
                  </a:cubicBezTo>
                  <a:cubicBezTo>
                    <a:pt x="289846" y="145680"/>
                    <a:pt x="286803" y="145680"/>
                    <a:pt x="286803" y="145680"/>
                  </a:cubicBezTo>
                  <a:cubicBezTo>
                    <a:pt x="295930" y="142638"/>
                    <a:pt x="302015" y="136553"/>
                    <a:pt x="311142" y="133511"/>
                  </a:cubicBezTo>
                  <a:cubicBezTo>
                    <a:pt x="326353" y="124384"/>
                    <a:pt x="338522" y="112215"/>
                    <a:pt x="341564" y="93962"/>
                  </a:cubicBezTo>
                  <a:cubicBezTo>
                    <a:pt x="341564" y="90920"/>
                    <a:pt x="338522" y="87877"/>
                    <a:pt x="338522" y="87877"/>
                  </a:cubicBezTo>
                  <a:cubicBezTo>
                    <a:pt x="338522" y="87877"/>
                    <a:pt x="335479" y="87877"/>
                    <a:pt x="335479" y="87877"/>
                  </a:cubicBezTo>
                  <a:cubicBezTo>
                    <a:pt x="341564" y="78750"/>
                    <a:pt x="347649" y="69624"/>
                    <a:pt x="347649" y="54413"/>
                  </a:cubicBezTo>
                  <a:cubicBezTo>
                    <a:pt x="344606" y="42243"/>
                    <a:pt x="335479" y="36159"/>
                    <a:pt x="323310" y="36159"/>
                  </a:cubicBezTo>
                  <a:cubicBezTo>
                    <a:pt x="305057" y="36159"/>
                    <a:pt x="286803" y="51370"/>
                    <a:pt x="271592" y="57455"/>
                  </a:cubicBezTo>
                  <a:cubicBezTo>
                    <a:pt x="247254" y="69624"/>
                    <a:pt x="222916" y="81793"/>
                    <a:pt x="198578" y="90920"/>
                  </a:cubicBezTo>
                  <a:cubicBezTo>
                    <a:pt x="213789" y="75708"/>
                    <a:pt x="229001" y="60497"/>
                    <a:pt x="244212" y="48328"/>
                  </a:cubicBezTo>
                  <a:cubicBezTo>
                    <a:pt x="253339" y="39201"/>
                    <a:pt x="274634" y="27032"/>
                    <a:pt x="277677" y="14863"/>
                  </a:cubicBezTo>
                  <a:cubicBezTo>
                    <a:pt x="283761" y="-6432"/>
                    <a:pt x="253339" y="-348"/>
                    <a:pt x="244212" y="5736"/>
                  </a:cubicBezTo>
                  <a:cubicBezTo>
                    <a:pt x="183367" y="30075"/>
                    <a:pt x="-14380" y="118300"/>
                    <a:pt x="832" y="203483"/>
                  </a:cubicBezTo>
                  <a:cubicBezTo>
                    <a:pt x="832" y="203483"/>
                    <a:pt x="61677" y="273455"/>
                    <a:pt x="92099" y="279539"/>
                  </a:cubicBezTo>
                  <a:cubicBezTo>
                    <a:pt x="137733" y="291708"/>
                    <a:pt x="177282" y="258244"/>
                    <a:pt x="213789" y="233905"/>
                  </a:cubicBezTo>
                  <a:cubicBezTo>
                    <a:pt x="238127" y="218694"/>
                    <a:pt x="259423" y="206525"/>
                    <a:pt x="283761" y="191314"/>
                  </a:cubicBezTo>
                  <a:cubicBezTo>
                    <a:pt x="292888" y="185229"/>
                    <a:pt x="314184" y="176103"/>
                    <a:pt x="311142" y="157849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FC053379-4FBF-483F-AF23-79D374A9F751}"/>
                </a:ext>
              </a:extLst>
            </p:cNvPr>
            <p:cNvSpPr/>
            <p:nvPr/>
          </p:nvSpPr>
          <p:spPr>
            <a:xfrm>
              <a:off x="4761215" y="8936283"/>
              <a:ext cx="219042" cy="228169"/>
            </a:xfrm>
            <a:custGeom>
              <a:avLst/>
              <a:gdLst>
                <a:gd name="connsiteX0" fmla="*/ 97352 w 219042"/>
                <a:gd name="connsiteY0" fmla="*/ 0 h 228169"/>
                <a:gd name="connsiteX1" fmla="*/ 0 w 219042"/>
                <a:gd name="connsiteY1" fmla="*/ 109521 h 228169"/>
                <a:gd name="connsiteX2" fmla="*/ 94310 w 219042"/>
                <a:gd name="connsiteY2" fmla="*/ 228169 h 228169"/>
                <a:gd name="connsiteX3" fmla="*/ 219042 w 219042"/>
                <a:gd name="connsiteY3" fmla="*/ 103436 h 228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042" h="228169">
                  <a:moveTo>
                    <a:pt x="97352" y="0"/>
                  </a:moveTo>
                  <a:lnTo>
                    <a:pt x="0" y="109521"/>
                  </a:lnTo>
                  <a:lnTo>
                    <a:pt x="94310" y="228169"/>
                  </a:lnTo>
                  <a:lnTo>
                    <a:pt x="219042" y="103436"/>
                  </a:ln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5373F09D-E0B6-45D2-B5A7-28CB67D582FA}"/>
                </a:ext>
              </a:extLst>
            </p:cNvPr>
            <p:cNvSpPr/>
            <p:nvPr/>
          </p:nvSpPr>
          <p:spPr>
            <a:xfrm>
              <a:off x="3787121" y="8500554"/>
              <a:ext cx="1159671" cy="1132411"/>
            </a:xfrm>
            <a:custGeom>
              <a:avLst/>
              <a:gdLst>
                <a:gd name="connsiteX0" fmla="*/ 73587 w 1159671"/>
                <a:gd name="connsiteY0" fmla="*/ 6770 h 1132411"/>
                <a:gd name="connsiteX1" fmla="*/ 426488 w 1159671"/>
                <a:gd name="connsiteY1" fmla="*/ 356629 h 1132411"/>
                <a:gd name="connsiteX2" fmla="*/ 621193 w 1159671"/>
                <a:gd name="connsiteY2" fmla="*/ 806883 h 1132411"/>
                <a:gd name="connsiteX3" fmla="*/ 1016686 w 1159671"/>
                <a:gd name="connsiteY3" fmla="*/ 435728 h 1132411"/>
                <a:gd name="connsiteX4" fmla="*/ 1159672 w 1159671"/>
                <a:gd name="connsiteY4" fmla="*/ 596967 h 1132411"/>
                <a:gd name="connsiteX5" fmla="*/ 605981 w 1159671"/>
                <a:gd name="connsiteY5" fmla="*/ 1132404 h 1132411"/>
                <a:gd name="connsiteX6" fmla="*/ 73587 w 1159671"/>
                <a:gd name="connsiteY6" fmla="*/ 6770 h 1132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9671" h="1132411">
                  <a:moveTo>
                    <a:pt x="73587" y="6770"/>
                  </a:moveTo>
                  <a:cubicBezTo>
                    <a:pt x="198319" y="-47990"/>
                    <a:pt x="362601" y="244066"/>
                    <a:pt x="426488" y="356629"/>
                  </a:cubicBezTo>
                  <a:cubicBezTo>
                    <a:pt x="484291" y="457024"/>
                    <a:pt x="621193" y="806883"/>
                    <a:pt x="621193" y="806883"/>
                  </a:cubicBezTo>
                  <a:lnTo>
                    <a:pt x="1016686" y="435728"/>
                  </a:lnTo>
                  <a:lnTo>
                    <a:pt x="1159672" y="596967"/>
                  </a:lnTo>
                  <a:cubicBezTo>
                    <a:pt x="1159672" y="596967"/>
                    <a:pt x="733756" y="1129362"/>
                    <a:pt x="605981" y="1132404"/>
                  </a:cubicBezTo>
                  <a:cubicBezTo>
                    <a:pt x="386939" y="1135447"/>
                    <a:pt x="-206300" y="131503"/>
                    <a:pt x="73587" y="6770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C92B7BE1-2A3A-4E50-92AD-295A6A3B46D3}"/>
                </a:ext>
              </a:extLst>
            </p:cNvPr>
            <p:cNvGrpSpPr/>
            <p:nvPr/>
          </p:nvGrpSpPr>
          <p:grpSpPr>
            <a:xfrm>
              <a:off x="4353553" y="12145860"/>
              <a:ext cx="516746" cy="259709"/>
              <a:chOff x="4353553" y="12145860"/>
              <a:chExt cx="516746" cy="259709"/>
            </a:xfrm>
          </p:grpSpPr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18CF7712-9E40-4A71-A8B4-D47A31ABC4C6}"/>
                  </a:ext>
                </a:extLst>
              </p:cNvPr>
              <p:cNvSpPr/>
              <p:nvPr/>
            </p:nvSpPr>
            <p:spPr>
              <a:xfrm>
                <a:off x="4359471" y="12148902"/>
                <a:ext cx="496054" cy="212957"/>
              </a:xfrm>
              <a:custGeom>
                <a:avLst/>
                <a:gdLst>
                  <a:gd name="connsiteX0" fmla="*/ 167 w 496054"/>
                  <a:gd name="connsiteY0" fmla="*/ 106479 h 212957"/>
                  <a:gd name="connsiteX1" fmla="*/ 158364 w 496054"/>
                  <a:gd name="connsiteY1" fmla="*/ 0 h 212957"/>
                  <a:gd name="connsiteX2" fmla="*/ 310477 w 496054"/>
                  <a:gd name="connsiteY2" fmla="*/ 30423 h 212957"/>
                  <a:gd name="connsiteX3" fmla="*/ 496054 w 496054"/>
                  <a:gd name="connsiteY3" fmla="*/ 48675 h 212957"/>
                  <a:gd name="connsiteX4" fmla="*/ 36674 w 496054"/>
                  <a:gd name="connsiteY4" fmla="*/ 212958 h 212957"/>
                  <a:gd name="connsiteX5" fmla="*/ 167 w 496054"/>
                  <a:gd name="connsiteY5" fmla="*/ 106479 h 212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6054" h="212957">
                    <a:moveTo>
                      <a:pt x="167" y="106479"/>
                    </a:moveTo>
                    <a:cubicBezTo>
                      <a:pt x="167" y="106479"/>
                      <a:pt x="121857" y="82140"/>
                      <a:pt x="158364" y="0"/>
                    </a:cubicBezTo>
                    <a:cubicBezTo>
                      <a:pt x="158364" y="0"/>
                      <a:pt x="264843" y="36506"/>
                      <a:pt x="310477" y="30423"/>
                    </a:cubicBezTo>
                    <a:cubicBezTo>
                      <a:pt x="356111" y="24338"/>
                      <a:pt x="459547" y="-15211"/>
                      <a:pt x="496054" y="48675"/>
                    </a:cubicBezTo>
                    <a:lnTo>
                      <a:pt x="36674" y="212958"/>
                    </a:lnTo>
                    <a:cubicBezTo>
                      <a:pt x="36674" y="212958"/>
                      <a:pt x="-2875" y="161239"/>
                      <a:pt x="167" y="106479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396A0489-E617-4BFE-9BD4-3383DFE60DAE}"/>
                  </a:ext>
                </a:extLst>
              </p:cNvPr>
              <p:cNvSpPr/>
              <p:nvPr/>
            </p:nvSpPr>
            <p:spPr>
              <a:xfrm rot="-1175460">
                <a:off x="4389983" y="12279652"/>
                <a:ext cx="486755" cy="45633"/>
              </a:xfrm>
              <a:custGeom>
                <a:avLst/>
                <a:gdLst>
                  <a:gd name="connsiteX0" fmla="*/ 0 w 486755"/>
                  <a:gd name="connsiteY0" fmla="*/ 0 h 45633"/>
                  <a:gd name="connsiteX1" fmla="*/ 486755 w 486755"/>
                  <a:gd name="connsiteY1" fmla="*/ 0 h 45633"/>
                  <a:gd name="connsiteX2" fmla="*/ 486755 w 486755"/>
                  <a:gd name="connsiteY2" fmla="*/ 45633 h 45633"/>
                  <a:gd name="connsiteX3" fmla="*/ 0 w 486755"/>
                  <a:gd name="connsiteY3" fmla="*/ 45633 h 45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6755" h="45633">
                    <a:moveTo>
                      <a:pt x="0" y="0"/>
                    </a:moveTo>
                    <a:lnTo>
                      <a:pt x="486755" y="0"/>
                    </a:lnTo>
                    <a:lnTo>
                      <a:pt x="486755" y="45633"/>
                    </a:lnTo>
                    <a:lnTo>
                      <a:pt x="0" y="45633"/>
                    </a:lnTo>
                    <a:close/>
                  </a:path>
                </a:pathLst>
              </a:custGeom>
              <a:solidFill>
                <a:srgbClr val="38333D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E21433FD-524F-465C-B7D1-C22EAD89FE64}"/>
                  </a:ext>
                </a:extLst>
              </p:cNvPr>
              <p:cNvSpPr/>
              <p:nvPr/>
            </p:nvSpPr>
            <p:spPr>
              <a:xfrm>
                <a:off x="4353553" y="12145860"/>
                <a:ext cx="170366" cy="115605"/>
              </a:xfrm>
              <a:custGeom>
                <a:avLst/>
                <a:gdLst>
                  <a:gd name="connsiteX0" fmla="*/ 6084 w 170366"/>
                  <a:gd name="connsiteY0" fmla="*/ 115605 h 115605"/>
                  <a:gd name="connsiteX1" fmla="*/ 0 w 170366"/>
                  <a:gd name="connsiteY1" fmla="*/ 112563 h 115605"/>
                  <a:gd name="connsiteX2" fmla="*/ 3042 w 170366"/>
                  <a:gd name="connsiteY2" fmla="*/ 106479 h 115605"/>
                  <a:gd name="connsiteX3" fmla="*/ 158197 w 170366"/>
                  <a:gd name="connsiteY3" fmla="*/ 3042 h 115605"/>
                  <a:gd name="connsiteX4" fmla="*/ 167324 w 170366"/>
                  <a:gd name="connsiteY4" fmla="*/ 0 h 115605"/>
                  <a:gd name="connsiteX5" fmla="*/ 170366 w 170366"/>
                  <a:gd name="connsiteY5" fmla="*/ 9126 h 115605"/>
                  <a:gd name="connsiteX6" fmla="*/ 6084 w 170366"/>
                  <a:gd name="connsiteY6" fmla="*/ 115605 h 115605"/>
                  <a:gd name="connsiteX7" fmla="*/ 6084 w 170366"/>
                  <a:gd name="connsiteY7" fmla="*/ 115605 h 115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0366" h="115605">
                    <a:moveTo>
                      <a:pt x="6084" y="115605"/>
                    </a:moveTo>
                    <a:cubicBezTo>
                      <a:pt x="3042" y="115605"/>
                      <a:pt x="0" y="112563"/>
                      <a:pt x="0" y="112563"/>
                    </a:cubicBezTo>
                    <a:cubicBezTo>
                      <a:pt x="0" y="109521"/>
                      <a:pt x="0" y="106479"/>
                      <a:pt x="3042" y="106479"/>
                    </a:cubicBezTo>
                    <a:cubicBezTo>
                      <a:pt x="3042" y="106479"/>
                      <a:pt x="115605" y="82140"/>
                      <a:pt x="158197" y="3042"/>
                    </a:cubicBezTo>
                    <a:cubicBezTo>
                      <a:pt x="158197" y="0"/>
                      <a:pt x="164282" y="0"/>
                      <a:pt x="167324" y="0"/>
                    </a:cubicBezTo>
                    <a:cubicBezTo>
                      <a:pt x="170366" y="0"/>
                      <a:pt x="170366" y="6084"/>
                      <a:pt x="170366" y="9126"/>
                    </a:cubicBezTo>
                    <a:cubicBezTo>
                      <a:pt x="121690" y="91268"/>
                      <a:pt x="12169" y="115605"/>
                      <a:pt x="6084" y="115605"/>
                    </a:cubicBezTo>
                    <a:cubicBezTo>
                      <a:pt x="6084" y="115605"/>
                      <a:pt x="6084" y="115605"/>
                      <a:pt x="6084" y="11560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F140A2D2-7AF7-4ADC-A72B-A9DDCE1ECF4B}"/>
                  </a:ext>
                </a:extLst>
              </p:cNvPr>
              <p:cNvSpPr/>
              <p:nvPr/>
            </p:nvSpPr>
            <p:spPr>
              <a:xfrm>
                <a:off x="4539131" y="12158029"/>
                <a:ext cx="24337" cy="45633"/>
              </a:xfrm>
              <a:custGeom>
                <a:avLst/>
                <a:gdLst>
                  <a:gd name="connsiteX0" fmla="*/ 6084 w 24337"/>
                  <a:gd name="connsiteY0" fmla="*/ 45634 h 45633"/>
                  <a:gd name="connsiteX1" fmla="*/ 6084 w 24337"/>
                  <a:gd name="connsiteY1" fmla="*/ 45634 h 45633"/>
                  <a:gd name="connsiteX2" fmla="*/ 0 w 24337"/>
                  <a:gd name="connsiteY2" fmla="*/ 36507 h 45633"/>
                  <a:gd name="connsiteX3" fmla="*/ 15211 w 24337"/>
                  <a:gd name="connsiteY3" fmla="*/ 3042 h 45633"/>
                  <a:gd name="connsiteX4" fmla="*/ 21296 w 24337"/>
                  <a:gd name="connsiteY4" fmla="*/ 0 h 45633"/>
                  <a:gd name="connsiteX5" fmla="*/ 24338 w 24337"/>
                  <a:gd name="connsiteY5" fmla="*/ 6085 h 45633"/>
                  <a:gd name="connsiteX6" fmla="*/ 9127 w 24337"/>
                  <a:gd name="connsiteY6" fmla="*/ 39549 h 45633"/>
                  <a:gd name="connsiteX7" fmla="*/ 6084 w 24337"/>
                  <a:gd name="connsiteY7" fmla="*/ 45634 h 45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7" h="45633">
                    <a:moveTo>
                      <a:pt x="6084" y="45634"/>
                    </a:moveTo>
                    <a:cubicBezTo>
                      <a:pt x="6084" y="45634"/>
                      <a:pt x="3042" y="45634"/>
                      <a:pt x="6084" y="45634"/>
                    </a:cubicBezTo>
                    <a:cubicBezTo>
                      <a:pt x="0" y="42591"/>
                      <a:pt x="0" y="39549"/>
                      <a:pt x="0" y="36507"/>
                    </a:cubicBezTo>
                    <a:lnTo>
                      <a:pt x="15211" y="3042"/>
                    </a:lnTo>
                    <a:cubicBezTo>
                      <a:pt x="15211" y="0"/>
                      <a:pt x="21296" y="0"/>
                      <a:pt x="21296" y="0"/>
                    </a:cubicBezTo>
                    <a:cubicBezTo>
                      <a:pt x="24338" y="0"/>
                      <a:pt x="24338" y="6085"/>
                      <a:pt x="24338" y="6085"/>
                    </a:cubicBezTo>
                    <a:lnTo>
                      <a:pt x="9127" y="39549"/>
                    </a:lnTo>
                    <a:cubicBezTo>
                      <a:pt x="9127" y="42591"/>
                      <a:pt x="9127" y="45634"/>
                      <a:pt x="6084" y="4563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F21AE488-44B9-4AE4-B327-45FD80F6D4CB}"/>
                  </a:ext>
                </a:extLst>
              </p:cNvPr>
              <p:cNvSpPr/>
              <p:nvPr/>
            </p:nvSpPr>
            <p:spPr>
              <a:xfrm>
                <a:off x="4584764" y="12170198"/>
                <a:ext cx="24337" cy="45633"/>
              </a:xfrm>
              <a:custGeom>
                <a:avLst/>
                <a:gdLst>
                  <a:gd name="connsiteX0" fmla="*/ 6084 w 24337"/>
                  <a:gd name="connsiteY0" fmla="*/ 45634 h 45633"/>
                  <a:gd name="connsiteX1" fmla="*/ 6084 w 24337"/>
                  <a:gd name="connsiteY1" fmla="*/ 45634 h 45633"/>
                  <a:gd name="connsiteX2" fmla="*/ 0 w 24337"/>
                  <a:gd name="connsiteY2" fmla="*/ 36507 h 45633"/>
                  <a:gd name="connsiteX3" fmla="*/ 15211 w 24337"/>
                  <a:gd name="connsiteY3" fmla="*/ 3042 h 45633"/>
                  <a:gd name="connsiteX4" fmla="*/ 21296 w 24337"/>
                  <a:gd name="connsiteY4" fmla="*/ 0 h 45633"/>
                  <a:gd name="connsiteX5" fmla="*/ 24338 w 24337"/>
                  <a:gd name="connsiteY5" fmla="*/ 6085 h 45633"/>
                  <a:gd name="connsiteX6" fmla="*/ 9127 w 24337"/>
                  <a:gd name="connsiteY6" fmla="*/ 39550 h 45633"/>
                  <a:gd name="connsiteX7" fmla="*/ 6084 w 24337"/>
                  <a:gd name="connsiteY7" fmla="*/ 45634 h 45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7" h="45633">
                    <a:moveTo>
                      <a:pt x="6084" y="45634"/>
                    </a:moveTo>
                    <a:cubicBezTo>
                      <a:pt x="3042" y="45634"/>
                      <a:pt x="3042" y="45634"/>
                      <a:pt x="6084" y="45634"/>
                    </a:cubicBezTo>
                    <a:cubicBezTo>
                      <a:pt x="0" y="42591"/>
                      <a:pt x="0" y="39550"/>
                      <a:pt x="0" y="36507"/>
                    </a:cubicBezTo>
                    <a:lnTo>
                      <a:pt x="15211" y="3042"/>
                    </a:lnTo>
                    <a:cubicBezTo>
                      <a:pt x="15211" y="0"/>
                      <a:pt x="21296" y="0"/>
                      <a:pt x="21296" y="0"/>
                    </a:cubicBezTo>
                    <a:cubicBezTo>
                      <a:pt x="24338" y="0"/>
                      <a:pt x="24338" y="6085"/>
                      <a:pt x="24338" y="6085"/>
                    </a:cubicBezTo>
                    <a:lnTo>
                      <a:pt x="9127" y="39550"/>
                    </a:lnTo>
                    <a:cubicBezTo>
                      <a:pt x="9127" y="42591"/>
                      <a:pt x="6084" y="45634"/>
                      <a:pt x="6084" y="4563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图形 1">
              <a:extLst>
                <a:ext uri="{FF2B5EF4-FFF2-40B4-BE49-F238E27FC236}">
                  <a16:creationId xmlns:a16="http://schemas.microsoft.com/office/drawing/2014/main" id="{0FDFC44C-B932-4210-A402-E75E2656D963}"/>
                </a:ext>
              </a:extLst>
            </p:cNvPr>
            <p:cNvGrpSpPr/>
            <p:nvPr/>
          </p:nvGrpSpPr>
          <p:grpSpPr>
            <a:xfrm>
              <a:off x="3109271" y="12250057"/>
              <a:ext cx="495887" cy="212197"/>
              <a:chOff x="3109271" y="12250057"/>
              <a:chExt cx="495887" cy="212197"/>
            </a:xfrm>
          </p:grpSpPr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B1CCEEBE-6071-4616-A0F9-1C1F53ACCED3}"/>
                  </a:ext>
                </a:extLst>
              </p:cNvPr>
              <p:cNvSpPr/>
              <p:nvPr/>
            </p:nvSpPr>
            <p:spPr>
              <a:xfrm>
                <a:off x="3110285" y="12258423"/>
                <a:ext cx="494873" cy="158197"/>
              </a:xfrm>
              <a:custGeom>
                <a:avLst/>
                <a:gdLst>
                  <a:gd name="connsiteX0" fmla="*/ 8113 w 494873"/>
                  <a:gd name="connsiteY0" fmla="*/ 45634 h 158197"/>
                  <a:gd name="connsiteX1" fmla="*/ 193690 w 494873"/>
                  <a:gd name="connsiteY1" fmla="*/ 0 h 158197"/>
                  <a:gd name="connsiteX2" fmla="*/ 327549 w 494873"/>
                  <a:gd name="connsiteY2" fmla="*/ 79099 h 158197"/>
                  <a:gd name="connsiteX3" fmla="*/ 494873 w 494873"/>
                  <a:gd name="connsiteY3" fmla="*/ 158198 h 158197"/>
                  <a:gd name="connsiteX4" fmla="*/ 8113 w 494873"/>
                  <a:gd name="connsiteY4" fmla="*/ 158198 h 158197"/>
                  <a:gd name="connsiteX5" fmla="*/ 8113 w 494873"/>
                  <a:gd name="connsiteY5" fmla="*/ 45634 h 158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4873" h="158197">
                    <a:moveTo>
                      <a:pt x="8113" y="45634"/>
                    </a:moveTo>
                    <a:cubicBezTo>
                      <a:pt x="8113" y="45634"/>
                      <a:pt x="132845" y="63888"/>
                      <a:pt x="193690" y="0"/>
                    </a:cubicBezTo>
                    <a:cubicBezTo>
                      <a:pt x="193690" y="0"/>
                      <a:pt x="281916" y="69972"/>
                      <a:pt x="327549" y="79099"/>
                    </a:cubicBezTo>
                    <a:cubicBezTo>
                      <a:pt x="373183" y="88226"/>
                      <a:pt x="482704" y="85184"/>
                      <a:pt x="494873" y="158198"/>
                    </a:cubicBezTo>
                    <a:lnTo>
                      <a:pt x="8113" y="158198"/>
                    </a:lnTo>
                    <a:cubicBezTo>
                      <a:pt x="8113" y="158198"/>
                      <a:pt x="-10141" y="97352"/>
                      <a:pt x="8113" y="45634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4D5053F4-C9E2-4828-B7A3-A31042AAC699}"/>
                  </a:ext>
                </a:extLst>
              </p:cNvPr>
              <p:cNvSpPr/>
              <p:nvPr/>
            </p:nvSpPr>
            <p:spPr>
              <a:xfrm>
                <a:off x="3118398" y="12416620"/>
                <a:ext cx="486760" cy="45633"/>
              </a:xfrm>
              <a:custGeom>
                <a:avLst/>
                <a:gdLst>
                  <a:gd name="connsiteX0" fmla="*/ 0 w 486760"/>
                  <a:gd name="connsiteY0" fmla="*/ 0 h 45633"/>
                  <a:gd name="connsiteX1" fmla="*/ 486761 w 486760"/>
                  <a:gd name="connsiteY1" fmla="*/ 0 h 45633"/>
                  <a:gd name="connsiteX2" fmla="*/ 486761 w 486760"/>
                  <a:gd name="connsiteY2" fmla="*/ 45634 h 45633"/>
                  <a:gd name="connsiteX3" fmla="*/ 0 w 486760"/>
                  <a:gd name="connsiteY3" fmla="*/ 45634 h 45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6760" h="45633">
                    <a:moveTo>
                      <a:pt x="0" y="0"/>
                    </a:moveTo>
                    <a:lnTo>
                      <a:pt x="486761" y="0"/>
                    </a:lnTo>
                    <a:lnTo>
                      <a:pt x="486761" y="45634"/>
                    </a:lnTo>
                    <a:lnTo>
                      <a:pt x="0" y="45634"/>
                    </a:lnTo>
                    <a:close/>
                  </a:path>
                </a:pathLst>
              </a:custGeom>
              <a:solidFill>
                <a:srgbClr val="38333D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335CC30B-83DA-43C8-9EDD-F37CF8346CF6}"/>
                  </a:ext>
                </a:extLst>
              </p:cNvPr>
              <p:cNvSpPr/>
              <p:nvPr/>
            </p:nvSpPr>
            <p:spPr>
              <a:xfrm>
                <a:off x="3109271" y="12250057"/>
                <a:ext cx="200028" cy="63126"/>
              </a:xfrm>
              <a:custGeom>
                <a:avLst/>
                <a:gdLst>
                  <a:gd name="connsiteX0" fmla="*/ 42592 w 200028"/>
                  <a:gd name="connsiteY0" fmla="*/ 63127 h 63126"/>
                  <a:gd name="connsiteX1" fmla="*/ 6085 w 200028"/>
                  <a:gd name="connsiteY1" fmla="*/ 60084 h 63126"/>
                  <a:gd name="connsiteX2" fmla="*/ 0 w 200028"/>
                  <a:gd name="connsiteY2" fmla="*/ 54000 h 63126"/>
                  <a:gd name="connsiteX3" fmla="*/ 6085 w 200028"/>
                  <a:gd name="connsiteY3" fmla="*/ 47916 h 63126"/>
                  <a:gd name="connsiteX4" fmla="*/ 188620 w 200028"/>
                  <a:gd name="connsiteY4" fmla="*/ 2282 h 63126"/>
                  <a:gd name="connsiteX5" fmla="*/ 197746 w 200028"/>
                  <a:gd name="connsiteY5" fmla="*/ 2282 h 63126"/>
                  <a:gd name="connsiteX6" fmla="*/ 197746 w 200028"/>
                  <a:gd name="connsiteY6" fmla="*/ 11408 h 63126"/>
                  <a:gd name="connsiteX7" fmla="*/ 42592 w 200028"/>
                  <a:gd name="connsiteY7" fmla="*/ 63127 h 63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0028" h="63126">
                    <a:moveTo>
                      <a:pt x="42592" y="63127"/>
                    </a:moveTo>
                    <a:cubicBezTo>
                      <a:pt x="21296" y="63127"/>
                      <a:pt x="9127" y="60084"/>
                      <a:pt x="6085" y="60084"/>
                    </a:cubicBezTo>
                    <a:cubicBezTo>
                      <a:pt x="3042" y="60084"/>
                      <a:pt x="0" y="57042"/>
                      <a:pt x="0" y="54000"/>
                    </a:cubicBezTo>
                    <a:cubicBezTo>
                      <a:pt x="0" y="50958"/>
                      <a:pt x="3042" y="47916"/>
                      <a:pt x="6085" y="47916"/>
                    </a:cubicBezTo>
                    <a:cubicBezTo>
                      <a:pt x="6085" y="47916"/>
                      <a:pt x="118648" y="63127"/>
                      <a:pt x="188620" y="2282"/>
                    </a:cubicBezTo>
                    <a:cubicBezTo>
                      <a:pt x="191662" y="-761"/>
                      <a:pt x="194704" y="-761"/>
                      <a:pt x="197746" y="2282"/>
                    </a:cubicBezTo>
                    <a:cubicBezTo>
                      <a:pt x="200789" y="5324"/>
                      <a:pt x="200789" y="8366"/>
                      <a:pt x="197746" y="11408"/>
                    </a:cubicBezTo>
                    <a:cubicBezTo>
                      <a:pt x="149070" y="57042"/>
                      <a:pt x="85183" y="63127"/>
                      <a:pt x="42592" y="6312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FA359AC9-7B94-4698-88E0-38687F778E7C}"/>
                  </a:ext>
                </a:extLst>
              </p:cNvPr>
              <p:cNvSpPr/>
              <p:nvPr/>
            </p:nvSpPr>
            <p:spPr>
              <a:xfrm>
                <a:off x="3307778" y="12277437"/>
                <a:ext cx="38028" cy="41830"/>
              </a:xfrm>
              <a:custGeom>
                <a:avLst/>
                <a:gdLst>
                  <a:gd name="connsiteX0" fmla="*/ 5324 w 38028"/>
                  <a:gd name="connsiteY0" fmla="*/ 41831 h 41830"/>
                  <a:gd name="connsiteX1" fmla="*/ 2282 w 38028"/>
                  <a:gd name="connsiteY1" fmla="*/ 38789 h 41830"/>
                  <a:gd name="connsiteX2" fmla="*/ 2282 w 38028"/>
                  <a:gd name="connsiteY2" fmla="*/ 29662 h 41830"/>
                  <a:gd name="connsiteX3" fmla="*/ 26620 w 38028"/>
                  <a:gd name="connsiteY3" fmla="*/ 2282 h 41830"/>
                  <a:gd name="connsiteX4" fmla="*/ 35746 w 38028"/>
                  <a:gd name="connsiteY4" fmla="*/ 2282 h 41830"/>
                  <a:gd name="connsiteX5" fmla="*/ 35746 w 38028"/>
                  <a:gd name="connsiteY5" fmla="*/ 11408 h 41830"/>
                  <a:gd name="connsiteX6" fmla="*/ 11408 w 38028"/>
                  <a:gd name="connsiteY6" fmla="*/ 38789 h 41830"/>
                  <a:gd name="connsiteX7" fmla="*/ 5324 w 38028"/>
                  <a:gd name="connsiteY7" fmla="*/ 41831 h 41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028" h="41830">
                    <a:moveTo>
                      <a:pt x="5324" y="41831"/>
                    </a:moveTo>
                    <a:cubicBezTo>
                      <a:pt x="5324" y="41831"/>
                      <a:pt x="2282" y="41831"/>
                      <a:pt x="2282" y="38789"/>
                    </a:cubicBezTo>
                    <a:cubicBezTo>
                      <a:pt x="-761" y="35747"/>
                      <a:pt x="-761" y="32704"/>
                      <a:pt x="2282" y="29662"/>
                    </a:cubicBezTo>
                    <a:lnTo>
                      <a:pt x="26620" y="2282"/>
                    </a:lnTo>
                    <a:cubicBezTo>
                      <a:pt x="29662" y="-761"/>
                      <a:pt x="32704" y="-761"/>
                      <a:pt x="35746" y="2282"/>
                    </a:cubicBezTo>
                    <a:cubicBezTo>
                      <a:pt x="38789" y="5324"/>
                      <a:pt x="38789" y="8367"/>
                      <a:pt x="35746" y="11408"/>
                    </a:cubicBezTo>
                    <a:lnTo>
                      <a:pt x="11408" y="38789"/>
                    </a:lnTo>
                    <a:cubicBezTo>
                      <a:pt x="8366" y="38789"/>
                      <a:pt x="5324" y="41831"/>
                      <a:pt x="5324" y="418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147FECE7-56E8-4B66-AAEC-185CBBAB328E}"/>
                  </a:ext>
                </a:extLst>
              </p:cNvPr>
              <p:cNvSpPr/>
              <p:nvPr/>
            </p:nvSpPr>
            <p:spPr>
              <a:xfrm>
                <a:off x="3344285" y="12301775"/>
                <a:ext cx="41070" cy="41830"/>
              </a:xfrm>
              <a:custGeom>
                <a:avLst/>
                <a:gdLst>
                  <a:gd name="connsiteX0" fmla="*/ 5324 w 41070"/>
                  <a:gd name="connsiteY0" fmla="*/ 41831 h 41830"/>
                  <a:gd name="connsiteX1" fmla="*/ 2282 w 41070"/>
                  <a:gd name="connsiteY1" fmla="*/ 38789 h 41830"/>
                  <a:gd name="connsiteX2" fmla="*/ 2282 w 41070"/>
                  <a:gd name="connsiteY2" fmla="*/ 29662 h 41830"/>
                  <a:gd name="connsiteX3" fmla="*/ 29662 w 41070"/>
                  <a:gd name="connsiteY3" fmla="*/ 2281 h 41830"/>
                  <a:gd name="connsiteX4" fmla="*/ 38789 w 41070"/>
                  <a:gd name="connsiteY4" fmla="*/ 2281 h 41830"/>
                  <a:gd name="connsiteX5" fmla="*/ 38789 w 41070"/>
                  <a:gd name="connsiteY5" fmla="*/ 11408 h 41830"/>
                  <a:gd name="connsiteX6" fmla="*/ 11408 w 41070"/>
                  <a:gd name="connsiteY6" fmla="*/ 38789 h 41830"/>
                  <a:gd name="connsiteX7" fmla="*/ 5324 w 41070"/>
                  <a:gd name="connsiteY7" fmla="*/ 41831 h 41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070" h="41830">
                    <a:moveTo>
                      <a:pt x="5324" y="41831"/>
                    </a:moveTo>
                    <a:cubicBezTo>
                      <a:pt x="5324" y="41831"/>
                      <a:pt x="2282" y="41831"/>
                      <a:pt x="2282" y="38789"/>
                    </a:cubicBezTo>
                    <a:cubicBezTo>
                      <a:pt x="-761" y="35746"/>
                      <a:pt x="-761" y="32704"/>
                      <a:pt x="2282" y="29662"/>
                    </a:cubicBezTo>
                    <a:lnTo>
                      <a:pt x="29662" y="2281"/>
                    </a:lnTo>
                    <a:cubicBezTo>
                      <a:pt x="32704" y="-760"/>
                      <a:pt x="35746" y="-760"/>
                      <a:pt x="38789" y="2281"/>
                    </a:cubicBezTo>
                    <a:cubicBezTo>
                      <a:pt x="41831" y="5324"/>
                      <a:pt x="41831" y="8366"/>
                      <a:pt x="38789" y="11408"/>
                    </a:cubicBezTo>
                    <a:lnTo>
                      <a:pt x="11408" y="38789"/>
                    </a:lnTo>
                    <a:cubicBezTo>
                      <a:pt x="8366" y="41831"/>
                      <a:pt x="8366" y="41831"/>
                      <a:pt x="5324" y="418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13D2789A-EE99-454C-8AF4-CA9EB69F696B}"/>
                </a:ext>
              </a:extLst>
            </p:cNvPr>
            <p:cNvSpPr/>
            <p:nvPr/>
          </p:nvSpPr>
          <p:spPr>
            <a:xfrm>
              <a:off x="3014853" y="9909804"/>
              <a:ext cx="1353911" cy="1378478"/>
            </a:xfrm>
            <a:custGeom>
              <a:avLst/>
              <a:gdLst>
                <a:gd name="connsiteX0" fmla="*/ 1034475 w 1353911"/>
                <a:gd name="connsiteY0" fmla="*/ 21295 h 1378478"/>
                <a:gd name="connsiteX1" fmla="*/ 1353912 w 1353911"/>
                <a:gd name="connsiteY1" fmla="*/ 1128676 h 1378478"/>
                <a:gd name="connsiteX2" fmla="*/ 912785 w 1353911"/>
                <a:gd name="connsiteY2" fmla="*/ 1299042 h 1378478"/>
                <a:gd name="connsiteX3" fmla="*/ 538588 w 1353911"/>
                <a:gd name="connsiteY3" fmla="*/ 501972 h 1378478"/>
                <a:gd name="connsiteX4" fmla="*/ 538588 w 1353911"/>
                <a:gd name="connsiteY4" fmla="*/ 1356845 h 1378478"/>
                <a:gd name="connsiteX5" fmla="*/ 48785 w 1353911"/>
                <a:gd name="connsiteY5" fmla="*/ 1356845 h 1378478"/>
                <a:gd name="connsiteX6" fmla="*/ 15320 w 1353911"/>
                <a:gd name="connsiteY6" fmla="*/ 0 h 1378478"/>
                <a:gd name="connsiteX7" fmla="*/ 1034475 w 1353911"/>
                <a:gd name="connsiteY7" fmla="*/ 21295 h 137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53911" h="1378478">
                  <a:moveTo>
                    <a:pt x="1034475" y="21295"/>
                  </a:moveTo>
                  <a:lnTo>
                    <a:pt x="1353912" y="1128676"/>
                  </a:lnTo>
                  <a:cubicBezTo>
                    <a:pt x="1353912" y="1128676"/>
                    <a:pt x="1074024" y="1308169"/>
                    <a:pt x="912785" y="1299042"/>
                  </a:cubicBezTo>
                  <a:cubicBezTo>
                    <a:pt x="708954" y="903549"/>
                    <a:pt x="547714" y="517183"/>
                    <a:pt x="538588" y="501972"/>
                  </a:cubicBezTo>
                  <a:cubicBezTo>
                    <a:pt x="523376" y="471549"/>
                    <a:pt x="538588" y="1356845"/>
                    <a:pt x="538588" y="1356845"/>
                  </a:cubicBezTo>
                  <a:cubicBezTo>
                    <a:pt x="538588" y="1356845"/>
                    <a:pt x="279996" y="1405521"/>
                    <a:pt x="48785" y="1356845"/>
                  </a:cubicBezTo>
                  <a:cubicBezTo>
                    <a:pt x="39658" y="1204733"/>
                    <a:pt x="-30314" y="97352"/>
                    <a:pt x="15320" y="0"/>
                  </a:cubicBezTo>
                  <a:cubicBezTo>
                    <a:pt x="708954" y="33465"/>
                    <a:pt x="1034475" y="21295"/>
                    <a:pt x="1034475" y="21295"/>
                  </a:cubicBez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1FD867C9-A4A9-4BBB-9ED6-1D2C65902184}"/>
                </a:ext>
              </a:extLst>
            </p:cNvPr>
            <p:cNvSpPr/>
            <p:nvPr/>
          </p:nvSpPr>
          <p:spPr>
            <a:xfrm>
              <a:off x="3547356" y="10055831"/>
              <a:ext cx="69971" cy="365070"/>
            </a:xfrm>
            <a:custGeom>
              <a:avLst/>
              <a:gdLst>
                <a:gd name="connsiteX0" fmla="*/ 6085 w 69971"/>
                <a:gd name="connsiteY0" fmla="*/ 365070 h 365070"/>
                <a:gd name="connsiteX1" fmla="*/ 6085 w 69971"/>
                <a:gd name="connsiteY1" fmla="*/ 365070 h 365070"/>
                <a:gd name="connsiteX2" fmla="*/ 0 w 69971"/>
                <a:gd name="connsiteY2" fmla="*/ 355944 h 365070"/>
                <a:gd name="connsiteX3" fmla="*/ 57803 w 69971"/>
                <a:gd name="connsiteY3" fmla="*/ 6085 h 365070"/>
                <a:gd name="connsiteX4" fmla="*/ 63887 w 69971"/>
                <a:gd name="connsiteY4" fmla="*/ 0 h 365070"/>
                <a:gd name="connsiteX5" fmla="*/ 69972 w 69971"/>
                <a:gd name="connsiteY5" fmla="*/ 6085 h 365070"/>
                <a:gd name="connsiteX6" fmla="*/ 12169 w 69971"/>
                <a:gd name="connsiteY6" fmla="*/ 358986 h 365070"/>
                <a:gd name="connsiteX7" fmla="*/ 6085 w 69971"/>
                <a:gd name="connsiteY7" fmla="*/ 365070 h 36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971" h="365070">
                  <a:moveTo>
                    <a:pt x="6085" y="365070"/>
                  </a:moveTo>
                  <a:cubicBezTo>
                    <a:pt x="3042" y="365070"/>
                    <a:pt x="3042" y="365070"/>
                    <a:pt x="6085" y="365070"/>
                  </a:cubicBezTo>
                  <a:cubicBezTo>
                    <a:pt x="0" y="362028"/>
                    <a:pt x="0" y="358986"/>
                    <a:pt x="0" y="355944"/>
                  </a:cubicBezTo>
                  <a:cubicBezTo>
                    <a:pt x="48676" y="243380"/>
                    <a:pt x="57803" y="9127"/>
                    <a:pt x="57803" y="6085"/>
                  </a:cubicBezTo>
                  <a:cubicBezTo>
                    <a:pt x="57803" y="3042"/>
                    <a:pt x="60845" y="0"/>
                    <a:pt x="63887" y="0"/>
                  </a:cubicBezTo>
                  <a:cubicBezTo>
                    <a:pt x="66930" y="0"/>
                    <a:pt x="69972" y="3042"/>
                    <a:pt x="69972" y="6085"/>
                  </a:cubicBezTo>
                  <a:cubicBezTo>
                    <a:pt x="69972" y="15211"/>
                    <a:pt x="60845" y="243380"/>
                    <a:pt x="12169" y="358986"/>
                  </a:cubicBezTo>
                  <a:cubicBezTo>
                    <a:pt x="9127" y="362028"/>
                    <a:pt x="6085" y="365070"/>
                    <a:pt x="6085" y="365070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637E4687-3003-41E3-9F88-995061784F42}"/>
                </a:ext>
              </a:extLst>
            </p:cNvPr>
            <p:cNvSpPr/>
            <p:nvPr/>
          </p:nvSpPr>
          <p:spPr>
            <a:xfrm>
              <a:off x="3573476" y="9985860"/>
              <a:ext cx="156415" cy="355943"/>
            </a:xfrm>
            <a:custGeom>
              <a:avLst/>
              <a:gdLst>
                <a:gd name="connsiteX0" fmla="*/ 7345 w 156415"/>
                <a:gd name="connsiteY0" fmla="*/ 355943 h 355943"/>
                <a:gd name="connsiteX1" fmla="*/ 1260 w 156415"/>
                <a:gd name="connsiteY1" fmla="*/ 352902 h 355943"/>
                <a:gd name="connsiteX2" fmla="*/ 4302 w 156415"/>
                <a:gd name="connsiteY2" fmla="*/ 343774 h 355943"/>
                <a:gd name="connsiteX3" fmla="*/ 110781 w 156415"/>
                <a:gd name="connsiteY3" fmla="*/ 267718 h 355943"/>
                <a:gd name="connsiteX4" fmla="*/ 144246 w 156415"/>
                <a:gd name="connsiteY4" fmla="*/ 6084 h 355943"/>
                <a:gd name="connsiteX5" fmla="*/ 150331 w 156415"/>
                <a:gd name="connsiteY5" fmla="*/ 0 h 355943"/>
                <a:gd name="connsiteX6" fmla="*/ 156415 w 156415"/>
                <a:gd name="connsiteY6" fmla="*/ 6084 h 355943"/>
                <a:gd name="connsiteX7" fmla="*/ 122950 w 156415"/>
                <a:gd name="connsiteY7" fmla="*/ 273803 h 355943"/>
                <a:gd name="connsiteX8" fmla="*/ 13429 w 156415"/>
                <a:gd name="connsiteY8" fmla="*/ 352902 h 355943"/>
                <a:gd name="connsiteX9" fmla="*/ 7345 w 156415"/>
                <a:gd name="connsiteY9" fmla="*/ 355943 h 35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415" h="355943">
                  <a:moveTo>
                    <a:pt x="7345" y="355943"/>
                  </a:moveTo>
                  <a:cubicBezTo>
                    <a:pt x="4302" y="355943"/>
                    <a:pt x="4302" y="355943"/>
                    <a:pt x="1260" y="352902"/>
                  </a:cubicBezTo>
                  <a:cubicBezTo>
                    <a:pt x="-1782" y="349859"/>
                    <a:pt x="1260" y="346817"/>
                    <a:pt x="4302" y="343774"/>
                  </a:cubicBezTo>
                  <a:cubicBezTo>
                    <a:pt x="43852" y="319437"/>
                    <a:pt x="101655" y="276845"/>
                    <a:pt x="110781" y="267718"/>
                  </a:cubicBezTo>
                  <a:cubicBezTo>
                    <a:pt x="119908" y="255549"/>
                    <a:pt x="135119" y="100394"/>
                    <a:pt x="144246" y="6084"/>
                  </a:cubicBezTo>
                  <a:cubicBezTo>
                    <a:pt x="144246" y="3042"/>
                    <a:pt x="147288" y="0"/>
                    <a:pt x="150331" y="0"/>
                  </a:cubicBezTo>
                  <a:cubicBezTo>
                    <a:pt x="153373" y="0"/>
                    <a:pt x="156415" y="3042"/>
                    <a:pt x="156415" y="6084"/>
                  </a:cubicBezTo>
                  <a:cubicBezTo>
                    <a:pt x="153373" y="48676"/>
                    <a:pt x="132077" y="258592"/>
                    <a:pt x="122950" y="273803"/>
                  </a:cubicBezTo>
                  <a:cubicBezTo>
                    <a:pt x="110781" y="289014"/>
                    <a:pt x="22556" y="346817"/>
                    <a:pt x="13429" y="352902"/>
                  </a:cubicBezTo>
                  <a:cubicBezTo>
                    <a:pt x="10387" y="355943"/>
                    <a:pt x="10387" y="355943"/>
                    <a:pt x="7345" y="355943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8F2EA608-3020-40F9-BCDE-7372EC58F32E}"/>
                </a:ext>
              </a:extLst>
            </p:cNvPr>
            <p:cNvSpPr/>
            <p:nvPr/>
          </p:nvSpPr>
          <p:spPr>
            <a:xfrm>
              <a:off x="3413497" y="8242649"/>
              <a:ext cx="249464" cy="257689"/>
            </a:xfrm>
            <a:custGeom>
              <a:avLst/>
              <a:gdLst>
                <a:gd name="connsiteX0" fmla="*/ 249465 w 249464"/>
                <a:gd name="connsiteY0" fmla="*/ 39549 h 257689"/>
                <a:gd name="connsiteX1" fmla="*/ 243380 w 249464"/>
                <a:gd name="connsiteY1" fmla="*/ 212958 h 257689"/>
                <a:gd name="connsiteX2" fmla="*/ 0 w 249464"/>
                <a:gd name="connsiteY2" fmla="*/ 203831 h 257689"/>
                <a:gd name="connsiteX3" fmla="*/ 15211 w 249464"/>
                <a:gd name="connsiteY3" fmla="*/ 0 h 257689"/>
                <a:gd name="connsiteX4" fmla="*/ 249465 w 249464"/>
                <a:gd name="connsiteY4" fmla="*/ 39549 h 257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464" h="257689">
                  <a:moveTo>
                    <a:pt x="249465" y="39549"/>
                  </a:moveTo>
                  <a:cubicBezTo>
                    <a:pt x="249465" y="39549"/>
                    <a:pt x="243380" y="139943"/>
                    <a:pt x="243380" y="212958"/>
                  </a:cubicBezTo>
                  <a:cubicBezTo>
                    <a:pt x="243380" y="212958"/>
                    <a:pt x="149070" y="319437"/>
                    <a:pt x="0" y="203831"/>
                  </a:cubicBezTo>
                  <a:cubicBezTo>
                    <a:pt x="0" y="142986"/>
                    <a:pt x="12169" y="63887"/>
                    <a:pt x="15211" y="0"/>
                  </a:cubicBezTo>
                  <a:cubicBezTo>
                    <a:pt x="15211" y="0"/>
                    <a:pt x="197746" y="51718"/>
                    <a:pt x="249465" y="39549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61AC2CA-6717-45AE-8661-B737356ECD4A}"/>
                </a:ext>
              </a:extLst>
            </p:cNvPr>
            <p:cNvSpPr/>
            <p:nvPr/>
          </p:nvSpPr>
          <p:spPr>
            <a:xfrm>
              <a:off x="3322229" y="8124000"/>
              <a:ext cx="69971" cy="136901"/>
            </a:xfrm>
            <a:custGeom>
              <a:avLst/>
              <a:gdLst>
                <a:gd name="connsiteX0" fmla="*/ 0 w 69971"/>
                <a:gd name="connsiteY0" fmla="*/ 0 h 136901"/>
                <a:gd name="connsiteX1" fmla="*/ 66930 w 69971"/>
                <a:gd name="connsiteY1" fmla="*/ 136901 h 136901"/>
                <a:gd name="connsiteX2" fmla="*/ 69972 w 69971"/>
                <a:gd name="connsiteY2" fmla="*/ 51719 h 136901"/>
                <a:gd name="connsiteX3" fmla="*/ 0 w 69971"/>
                <a:gd name="connsiteY3" fmla="*/ 0 h 136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971" h="136901">
                  <a:moveTo>
                    <a:pt x="0" y="0"/>
                  </a:moveTo>
                  <a:cubicBezTo>
                    <a:pt x="0" y="0"/>
                    <a:pt x="15211" y="118648"/>
                    <a:pt x="66930" y="136901"/>
                  </a:cubicBezTo>
                  <a:lnTo>
                    <a:pt x="69972" y="51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B891C02A-769B-47F9-AB18-B804095000E3}"/>
                </a:ext>
              </a:extLst>
            </p:cNvPr>
            <p:cNvSpPr/>
            <p:nvPr/>
          </p:nvSpPr>
          <p:spPr>
            <a:xfrm>
              <a:off x="3680764" y="7914085"/>
              <a:ext cx="102415" cy="237308"/>
            </a:xfrm>
            <a:custGeom>
              <a:avLst/>
              <a:gdLst>
                <a:gd name="connsiteX0" fmla="*/ 94761 w 102415"/>
                <a:gd name="connsiteY0" fmla="*/ 0 h 237308"/>
                <a:gd name="connsiteX1" fmla="*/ 55211 w 102415"/>
                <a:gd name="connsiteY1" fmla="*/ 234253 h 237308"/>
                <a:gd name="connsiteX2" fmla="*/ 451 w 102415"/>
                <a:gd name="connsiteY2" fmla="*/ 15211 h 237308"/>
                <a:gd name="connsiteX3" fmla="*/ 94761 w 102415"/>
                <a:gd name="connsiteY3" fmla="*/ 0 h 23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415" h="237308">
                  <a:moveTo>
                    <a:pt x="94761" y="0"/>
                  </a:moveTo>
                  <a:cubicBezTo>
                    <a:pt x="94761" y="0"/>
                    <a:pt x="128225" y="194704"/>
                    <a:pt x="55211" y="234253"/>
                  </a:cubicBezTo>
                  <a:cubicBezTo>
                    <a:pt x="-8676" y="267718"/>
                    <a:pt x="451" y="15211"/>
                    <a:pt x="451" y="15211"/>
                  </a:cubicBezTo>
                  <a:lnTo>
                    <a:pt x="94761" y="0"/>
                  </a:ln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78125585-4002-4DF8-9243-B05740AB7067}"/>
                </a:ext>
              </a:extLst>
            </p:cNvPr>
            <p:cNvSpPr/>
            <p:nvPr/>
          </p:nvSpPr>
          <p:spPr>
            <a:xfrm>
              <a:off x="3325271" y="7779316"/>
              <a:ext cx="422482" cy="567370"/>
            </a:xfrm>
            <a:custGeom>
              <a:avLst/>
              <a:gdLst>
                <a:gd name="connsiteX0" fmla="*/ 410704 w 422482"/>
                <a:gd name="connsiteY0" fmla="*/ 180403 h 567370"/>
                <a:gd name="connsiteX1" fmla="*/ 413746 w 422482"/>
                <a:gd name="connsiteY1" fmla="*/ 429867 h 567370"/>
                <a:gd name="connsiteX2" fmla="*/ 255549 w 422482"/>
                <a:gd name="connsiteY2" fmla="*/ 566769 h 567370"/>
                <a:gd name="connsiteX3" fmla="*/ 39549 w 422482"/>
                <a:gd name="connsiteY3" fmla="*/ 426825 h 567370"/>
                <a:gd name="connsiteX4" fmla="*/ 0 w 422482"/>
                <a:gd name="connsiteY4" fmla="*/ 201698 h 567370"/>
                <a:gd name="connsiteX5" fmla="*/ 209916 w 422482"/>
                <a:gd name="connsiteY5" fmla="*/ 910 h 567370"/>
                <a:gd name="connsiteX6" fmla="*/ 410704 w 422482"/>
                <a:gd name="connsiteY6" fmla="*/ 180403 h 567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2482" h="567370">
                  <a:moveTo>
                    <a:pt x="410704" y="180403"/>
                  </a:moveTo>
                  <a:cubicBezTo>
                    <a:pt x="410704" y="180403"/>
                    <a:pt x="435042" y="356853"/>
                    <a:pt x="413746" y="429867"/>
                  </a:cubicBezTo>
                  <a:cubicBezTo>
                    <a:pt x="395493" y="496797"/>
                    <a:pt x="307268" y="560684"/>
                    <a:pt x="255549" y="566769"/>
                  </a:cubicBezTo>
                  <a:cubicBezTo>
                    <a:pt x="188620" y="572853"/>
                    <a:pt x="69972" y="533304"/>
                    <a:pt x="39549" y="426825"/>
                  </a:cubicBezTo>
                  <a:cubicBezTo>
                    <a:pt x="18253" y="353811"/>
                    <a:pt x="0" y="253416"/>
                    <a:pt x="0" y="201698"/>
                  </a:cubicBezTo>
                  <a:cubicBezTo>
                    <a:pt x="0" y="107389"/>
                    <a:pt x="27380" y="28290"/>
                    <a:pt x="209916" y="910"/>
                  </a:cubicBezTo>
                  <a:cubicBezTo>
                    <a:pt x="292056" y="-11260"/>
                    <a:pt x="389408" y="101304"/>
                    <a:pt x="410704" y="180403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AFCA405E-B43C-4A52-8626-C4F37AF02E26}"/>
                </a:ext>
              </a:extLst>
            </p:cNvPr>
            <p:cNvSpPr/>
            <p:nvPr/>
          </p:nvSpPr>
          <p:spPr>
            <a:xfrm>
              <a:off x="3550398" y="8038818"/>
              <a:ext cx="57802" cy="139943"/>
            </a:xfrm>
            <a:custGeom>
              <a:avLst/>
              <a:gdLst>
                <a:gd name="connsiteX0" fmla="*/ 27380 w 57802"/>
                <a:gd name="connsiteY0" fmla="*/ 139943 h 139943"/>
                <a:gd name="connsiteX1" fmla="*/ 6084 w 57802"/>
                <a:gd name="connsiteY1" fmla="*/ 136901 h 139943"/>
                <a:gd name="connsiteX2" fmla="*/ 0 w 57802"/>
                <a:gd name="connsiteY2" fmla="*/ 130817 h 139943"/>
                <a:gd name="connsiteX3" fmla="*/ 6084 w 57802"/>
                <a:gd name="connsiteY3" fmla="*/ 124732 h 139943"/>
                <a:gd name="connsiteX4" fmla="*/ 45634 w 57802"/>
                <a:gd name="connsiteY4" fmla="*/ 121690 h 139943"/>
                <a:gd name="connsiteX5" fmla="*/ 45634 w 57802"/>
                <a:gd name="connsiteY5" fmla="*/ 118648 h 139943"/>
                <a:gd name="connsiteX6" fmla="*/ 27380 w 57802"/>
                <a:gd name="connsiteY6" fmla="*/ 6084 h 139943"/>
                <a:gd name="connsiteX7" fmla="*/ 33465 w 57802"/>
                <a:gd name="connsiteY7" fmla="*/ 0 h 139943"/>
                <a:gd name="connsiteX8" fmla="*/ 39549 w 57802"/>
                <a:gd name="connsiteY8" fmla="*/ 6084 h 139943"/>
                <a:gd name="connsiteX9" fmla="*/ 57803 w 57802"/>
                <a:gd name="connsiteY9" fmla="*/ 118648 h 139943"/>
                <a:gd name="connsiteX10" fmla="*/ 51718 w 57802"/>
                <a:gd name="connsiteY10" fmla="*/ 130817 h 139943"/>
                <a:gd name="connsiteX11" fmla="*/ 27380 w 57802"/>
                <a:gd name="connsiteY11" fmla="*/ 139943 h 139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802" h="139943">
                  <a:moveTo>
                    <a:pt x="27380" y="139943"/>
                  </a:moveTo>
                  <a:cubicBezTo>
                    <a:pt x="18253" y="139943"/>
                    <a:pt x="9127" y="136901"/>
                    <a:pt x="6084" y="136901"/>
                  </a:cubicBezTo>
                  <a:cubicBezTo>
                    <a:pt x="3042" y="136901"/>
                    <a:pt x="0" y="133859"/>
                    <a:pt x="0" y="130817"/>
                  </a:cubicBezTo>
                  <a:cubicBezTo>
                    <a:pt x="0" y="127775"/>
                    <a:pt x="3042" y="124732"/>
                    <a:pt x="6084" y="124732"/>
                  </a:cubicBezTo>
                  <a:cubicBezTo>
                    <a:pt x="18253" y="127775"/>
                    <a:pt x="39549" y="127775"/>
                    <a:pt x="45634" y="121690"/>
                  </a:cubicBezTo>
                  <a:cubicBezTo>
                    <a:pt x="45634" y="121690"/>
                    <a:pt x="45634" y="118648"/>
                    <a:pt x="45634" y="118648"/>
                  </a:cubicBezTo>
                  <a:cubicBezTo>
                    <a:pt x="45634" y="100394"/>
                    <a:pt x="27380" y="9126"/>
                    <a:pt x="27380" y="6084"/>
                  </a:cubicBezTo>
                  <a:cubicBezTo>
                    <a:pt x="27380" y="3042"/>
                    <a:pt x="27380" y="0"/>
                    <a:pt x="33465" y="0"/>
                  </a:cubicBezTo>
                  <a:cubicBezTo>
                    <a:pt x="36507" y="0"/>
                    <a:pt x="39549" y="0"/>
                    <a:pt x="39549" y="6084"/>
                  </a:cubicBezTo>
                  <a:cubicBezTo>
                    <a:pt x="39549" y="9126"/>
                    <a:pt x="57803" y="100394"/>
                    <a:pt x="57803" y="118648"/>
                  </a:cubicBezTo>
                  <a:cubicBezTo>
                    <a:pt x="57803" y="124732"/>
                    <a:pt x="54761" y="127775"/>
                    <a:pt x="51718" y="130817"/>
                  </a:cubicBezTo>
                  <a:cubicBezTo>
                    <a:pt x="48676" y="139943"/>
                    <a:pt x="39549" y="139943"/>
                    <a:pt x="27380" y="139943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A6E7F597-A2D6-451F-B9E0-3E406269DD73}"/>
                </a:ext>
              </a:extLst>
            </p:cNvPr>
            <p:cNvSpPr/>
            <p:nvPr/>
          </p:nvSpPr>
          <p:spPr>
            <a:xfrm>
              <a:off x="3638623" y="8019967"/>
              <a:ext cx="40146" cy="40742"/>
            </a:xfrm>
            <a:custGeom>
              <a:avLst/>
              <a:gdLst>
                <a:gd name="connsiteX0" fmla="*/ 0 w 40146"/>
                <a:gd name="connsiteY0" fmla="*/ 24935 h 40742"/>
                <a:gd name="connsiteX1" fmla="*/ 24338 w 40146"/>
                <a:gd name="connsiteY1" fmla="*/ 40146 h 40742"/>
                <a:gd name="connsiteX2" fmla="*/ 39549 w 40146"/>
                <a:gd name="connsiteY2" fmla="*/ 15808 h 40742"/>
                <a:gd name="connsiteX3" fmla="*/ 15211 w 40146"/>
                <a:gd name="connsiteY3" fmla="*/ 597 h 40742"/>
                <a:gd name="connsiteX4" fmla="*/ 0 w 40146"/>
                <a:gd name="connsiteY4" fmla="*/ 24935 h 40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46" h="40742">
                  <a:moveTo>
                    <a:pt x="0" y="24935"/>
                  </a:moveTo>
                  <a:cubicBezTo>
                    <a:pt x="3042" y="34062"/>
                    <a:pt x="12169" y="43188"/>
                    <a:pt x="24338" y="40146"/>
                  </a:cubicBezTo>
                  <a:cubicBezTo>
                    <a:pt x="33465" y="37104"/>
                    <a:pt x="42592" y="27977"/>
                    <a:pt x="39549" y="15808"/>
                  </a:cubicBezTo>
                  <a:cubicBezTo>
                    <a:pt x="36507" y="6681"/>
                    <a:pt x="27380" y="-2446"/>
                    <a:pt x="15211" y="597"/>
                  </a:cubicBezTo>
                  <a:cubicBezTo>
                    <a:pt x="6085" y="3639"/>
                    <a:pt x="0" y="12766"/>
                    <a:pt x="0" y="24935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5F08CB2A-B2EE-4763-B00F-95D3C5A26836}"/>
                </a:ext>
              </a:extLst>
            </p:cNvPr>
            <p:cNvSpPr/>
            <p:nvPr/>
          </p:nvSpPr>
          <p:spPr>
            <a:xfrm>
              <a:off x="3456088" y="8038221"/>
              <a:ext cx="40146" cy="40742"/>
            </a:xfrm>
            <a:custGeom>
              <a:avLst/>
              <a:gdLst>
                <a:gd name="connsiteX0" fmla="*/ 0 w 40146"/>
                <a:gd name="connsiteY0" fmla="*/ 24934 h 40742"/>
                <a:gd name="connsiteX1" fmla="*/ 24338 w 40146"/>
                <a:gd name="connsiteY1" fmla="*/ 40146 h 40742"/>
                <a:gd name="connsiteX2" fmla="*/ 39549 w 40146"/>
                <a:gd name="connsiteY2" fmla="*/ 15808 h 40742"/>
                <a:gd name="connsiteX3" fmla="*/ 15211 w 40146"/>
                <a:gd name="connsiteY3" fmla="*/ 597 h 40742"/>
                <a:gd name="connsiteX4" fmla="*/ 0 w 40146"/>
                <a:gd name="connsiteY4" fmla="*/ 24934 h 40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46" h="40742">
                  <a:moveTo>
                    <a:pt x="0" y="24934"/>
                  </a:moveTo>
                  <a:cubicBezTo>
                    <a:pt x="3042" y="34061"/>
                    <a:pt x="12169" y="43188"/>
                    <a:pt x="24338" y="40146"/>
                  </a:cubicBezTo>
                  <a:cubicBezTo>
                    <a:pt x="33465" y="37104"/>
                    <a:pt x="42592" y="27977"/>
                    <a:pt x="39549" y="15808"/>
                  </a:cubicBezTo>
                  <a:cubicBezTo>
                    <a:pt x="36507" y="6681"/>
                    <a:pt x="27380" y="-2446"/>
                    <a:pt x="15211" y="597"/>
                  </a:cubicBezTo>
                  <a:cubicBezTo>
                    <a:pt x="6085" y="3639"/>
                    <a:pt x="0" y="15808"/>
                    <a:pt x="0" y="24934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107D4CE4-2E90-45DE-A10A-FF7DFD7FF6CF}"/>
                </a:ext>
              </a:extLst>
            </p:cNvPr>
            <p:cNvSpPr/>
            <p:nvPr/>
          </p:nvSpPr>
          <p:spPr>
            <a:xfrm>
              <a:off x="3609983" y="7968846"/>
              <a:ext cx="91767" cy="33464"/>
            </a:xfrm>
            <a:custGeom>
              <a:avLst/>
              <a:gdLst>
                <a:gd name="connsiteX0" fmla="*/ 86443 w 91767"/>
                <a:gd name="connsiteY0" fmla="*/ 33465 h 33464"/>
                <a:gd name="connsiteX1" fmla="*/ 80359 w 91767"/>
                <a:gd name="connsiteY1" fmla="*/ 30423 h 33464"/>
                <a:gd name="connsiteX2" fmla="*/ 13429 w 91767"/>
                <a:gd name="connsiteY2" fmla="*/ 24338 h 33464"/>
                <a:gd name="connsiteX3" fmla="*/ 1260 w 91767"/>
                <a:gd name="connsiteY3" fmla="*/ 21296 h 33464"/>
                <a:gd name="connsiteX4" fmla="*/ 4302 w 91767"/>
                <a:gd name="connsiteY4" fmla="*/ 9127 h 33464"/>
                <a:gd name="connsiteX5" fmla="*/ 89485 w 91767"/>
                <a:gd name="connsiteY5" fmla="*/ 18253 h 33464"/>
                <a:gd name="connsiteX6" fmla="*/ 89485 w 91767"/>
                <a:gd name="connsiteY6" fmla="*/ 30423 h 33464"/>
                <a:gd name="connsiteX7" fmla="*/ 86443 w 91767"/>
                <a:gd name="connsiteY7" fmla="*/ 33465 h 33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3464">
                  <a:moveTo>
                    <a:pt x="86443" y="33465"/>
                  </a:moveTo>
                  <a:cubicBezTo>
                    <a:pt x="83401" y="33465"/>
                    <a:pt x="83401" y="33465"/>
                    <a:pt x="80359" y="30423"/>
                  </a:cubicBezTo>
                  <a:cubicBezTo>
                    <a:pt x="52978" y="3042"/>
                    <a:pt x="13429" y="24338"/>
                    <a:pt x="13429" y="24338"/>
                  </a:cubicBezTo>
                  <a:cubicBezTo>
                    <a:pt x="10387" y="27380"/>
                    <a:pt x="4302" y="24338"/>
                    <a:pt x="1260" y="21296"/>
                  </a:cubicBezTo>
                  <a:cubicBezTo>
                    <a:pt x="-1782" y="18253"/>
                    <a:pt x="1260" y="12169"/>
                    <a:pt x="4302" y="9127"/>
                  </a:cubicBezTo>
                  <a:cubicBezTo>
                    <a:pt x="22556" y="0"/>
                    <a:pt x="62105" y="-9127"/>
                    <a:pt x="89485" y="18253"/>
                  </a:cubicBezTo>
                  <a:cubicBezTo>
                    <a:pt x="92528" y="21296"/>
                    <a:pt x="92528" y="27380"/>
                    <a:pt x="89485" y="30423"/>
                  </a:cubicBezTo>
                  <a:cubicBezTo>
                    <a:pt x="89485" y="33465"/>
                    <a:pt x="89485" y="33465"/>
                    <a:pt x="86443" y="33465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F0305826-20D5-40F6-BACB-FF5C5F05B384}"/>
                </a:ext>
              </a:extLst>
            </p:cNvPr>
            <p:cNvSpPr/>
            <p:nvPr/>
          </p:nvSpPr>
          <p:spPr>
            <a:xfrm>
              <a:off x="3423384" y="7972198"/>
              <a:ext cx="91767" cy="36197"/>
            </a:xfrm>
            <a:custGeom>
              <a:avLst/>
              <a:gdLst>
                <a:gd name="connsiteX0" fmla="*/ 8366 w 91767"/>
                <a:gd name="connsiteY0" fmla="*/ 36198 h 36197"/>
                <a:gd name="connsiteX1" fmla="*/ 2282 w 91767"/>
                <a:gd name="connsiteY1" fmla="*/ 33155 h 36197"/>
                <a:gd name="connsiteX2" fmla="*/ 2282 w 91767"/>
                <a:gd name="connsiteY2" fmla="*/ 20986 h 36197"/>
                <a:gd name="connsiteX3" fmla="*/ 87465 w 91767"/>
                <a:gd name="connsiteY3" fmla="*/ 11859 h 36197"/>
                <a:gd name="connsiteX4" fmla="*/ 90507 w 91767"/>
                <a:gd name="connsiteY4" fmla="*/ 24028 h 36197"/>
                <a:gd name="connsiteX5" fmla="*/ 78338 w 91767"/>
                <a:gd name="connsiteY5" fmla="*/ 27071 h 36197"/>
                <a:gd name="connsiteX6" fmla="*/ 11408 w 91767"/>
                <a:gd name="connsiteY6" fmla="*/ 33155 h 36197"/>
                <a:gd name="connsiteX7" fmla="*/ 8366 w 91767"/>
                <a:gd name="connsiteY7" fmla="*/ 36198 h 36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6197">
                  <a:moveTo>
                    <a:pt x="8366" y="36198"/>
                  </a:moveTo>
                  <a:cubicBezTo>
                    <a:pt x="5324" y="36198"/>
                    <a:pt x="5324" y="36198"/>
                    <a:pt x="2282" y="33155"/>
                  </a:cubicBezTo>
                  <a:cubicBezTo>
                    <a:pt x="-761" y="30113"/>
                    <a:pt x="-761" y="24028"/>
                    <a:pt x="2282" y="20986"/>
                  </a:cubicBezTo>
                  <a:cubicBezTo>
                    <a:pt x="14451" y="5775"/>
                    <a:pt x="50958" y="-12479"/>
                    <a:pt x="87465" y="11859"/>
                  </a:cubicBezTo>
                  <a:cubicBezTo>
                    <a:pt x="90507" y="14901"/>
                    <a:pt x="93549" y="17944"/>
                    <a:pt x="90507" y="24028"/>
                  </a:cubicBezTo>
                  <a:cubicBezTo>
                    <a:pt x="87465" y="27071"/>
                    <a:pt x="84423" y="30113"/>
                    <a:pt x="78338" y="27071"/>
                  </a:cubicBezTo>
                  <a:cubicBezTo>
                    <a:pt x="41831" y="2733"/>
                    <a:pt x="14451" y="33155"/>
                    <a:pt x="11408" y="33155"/>
                  </a:cubicBezTo>
                  <a:cubicBezTo>
                    <a:pt x="11408" y="36198"/>
                    <a:pt x="8366" y="36198"/>
                    <a:pt x="8366" y="36198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2D817D3A-DFF0-40FE-BAED-D2C21E3976A0}"/>
                </a:ext>
              </a:extLst>
            </p:cNvPr>
            <p:cNvSpPr/>
            <p:nvPr/>
          </p:nvSpPr>
          <p:spPr>
            <a:xfrm>
              <a:off x="3416539" y="8288282"/>
              <a:ext cx="230450" cy="63887"/>
            </a:xfrm>
            <a:custGeom>
              <a:avLst/>
              <a:gdLst>
                <a:gd name="connsiteX0" fmla="*/ 149070 w 230450"/>
                <a:gd name="connsiteY0" fmla="*/ 63887 h 63887"/>
                <a:gd name="connsiteX1" fmla="*/ 3042 w 230450"/>
                <a:gd name="connsiteY1" fmla="*/ 12169 h 63887"/>
                <a:gd name="connsiteX2" fmla="*/ 0 w 230450"/>
                <a:gd name="connsiteY2" fmla="*/ 3042 h 63887"/>
                <a:gd name="connsiteX3" fmla="*/ 9127 w 230450"/>
                <a:gd name="connsiteY3" fmla="*/ 0 h 63887"/>
                <a:gd name="connsiteX4" fmla="*/ 149070 w 230450"/>
                <a:gd name="connsiteY4" fmla="*/ 48676 h 63887"/>
                <a:gd name="connsiteX5" fmla="*/ 219042 w 230450"/>
                <a:gd name="connsiteY5" fmla="*/ 24338 h 63887"/>
                <a:gd name="connsiteX6" fmla="*/ 228169 w 230450"/>
                <a:gd name="connsiteY6" fmla="*/ 24338 h 63887"/>
                <a:gd name="connsiteX7" fmla="*/ 228169 w 230450"/>
                <a:gd name="connsiteY7" fmla="*/ 33465 h 63887"/>
                <a:gd name="connsiteX8" fmla="*/ 149070 w 230450"/>
                <a:gd name="connsiteY8" fmla="*/ 63887 h 63887"/>
                <a:gd name="connsiteX9" fmla="*/ 149070 w 230450"/>
                <a:gd name="connsiteY9" fmla="*/ 63887 h 63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0450" h="63887">
                  <a:moveTo>
                    <a:pt x="149070" y="63887"/>
                  </a:moveTo>
                  <a:cubicBezTo>
                    <a:pt x="97352" y="63887"/>
                    <a:pt x="9127" y="15211"/>
                    <a:pt x="3042" y="12169"/>
                  </a:cubicBezTo>
                  <a:cubicBezTo>
                    <a:pt x="0" y="9127"/>
                    <a:pt x="0" y="6084"/>
                    <a:pt x="0" y="3042"/>
                  </a:cubicBezTo>
                  <a:cubicBezTo>
                    <a:pt x="3042" y="0"/>
                    <a:pt x="6085" y="0"/>
                    <a:pt x="9127" y="0"/>
                  </a:cubicBezTo>
                  <a:cubicBezTo>
                    <a:pt x="9127" y="0"/>
                    <a:pt x="100394" y="48676"/>
                    <a:pt x="149070" y="48676"/>
                  </a:cubicBezTo>
                  <a:cubicBezTo>
                    <a:pt x="188620" y="48676"/>
                    <a:pt x="219042" y="24338"/>
                    <a:pt x="219042" y="24338"/>
                  </a:cubicBezTo>
                  <a:cubicBezTo>
                    <a:pt x="222084" y="21296"/>
                    <a:pt x="225127" y="21296"/>
                    <a:pt x="228169" y="24338"/>
                  </a:cubicBezTo>
                  <a:cubicBezTo>
                    <a:pt x="231211" y="27380"/>
                    <a:pt x="231211" y="30423"/>
                    <a:pt x="228169" y="33465"/>
                  </a:cubicBezTo>
                  <a:cubicBezTo>
                    <a:pt x="225127" y="36507"/>
                    <a:pt x="191662" y="63887"/>
                    <a:pt x="149070" y="63887"/>
                  </a:cubicBezTo>
                  <a:cubicBezTo>
                    <a:pt x="149070" y="63887"/>
                    <a:pt x="149070" y="63887"/>
                    <a:pt x="149070" y="63887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EF4E6238-C879-4B0E-98D7-5E29B1258A86}"/>
                </a:ext>
              </a:extLst>
            </p:cNvPr>
            <p:cNvSpPr/>
            <p:nvPr/>
          </p:nvSpPr>
          <p:spPr>
            <a:xfrm>
              <a:off x="3285406" y="7804564"/>
              <a:ext cx="112879" cy="267718"/>
            </a:xfrm>
            <a:custGeom>
              <a:avLst/>
              <a:gdLst>
                <a:gd name="connsiteX0" fmla="*/ 112879 w 112879"/>
                <a:gd name="connsiteY0" fmla="*/ 127775 h 267718"/>
                <a:gd name="connsiteX1" fmla="*/ 64203 w 112879"/>
                <a:gd name="connsiteY1" fmla="*/ 267718 h 267718"/>
                <a:gd name="connsiteX2" fmla="*/ 6400 w 112879"/>
                <a:gd name="connsiteY2" fmla="*/ 167324 h 267718"/>
                <a:gd name="connsiteX3" fmla="*/ 64203 w 112879"/>
                <a:gd name="connsiteY3" fmla="*/ 0 h 267718"/>
                <a:gd name="connsiteX4" fmla="*/ 112879 w 112879"/>
                <a:gd name="connsiteY4" fmla="*/ 127775 h 26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879" h="267718">
                  <a:moveTo>
                    <a:pt x="112879" y="127775"/>
                  </a:moveTo>
                  <a:cubicBezTo>
                    <a:pt x="112879" y="127775"/>
                    <a:pt x="58118" y="237296"/>
                    <a:pt x="64203" y="267718"/>
                  </a:cubicBezTo>
                  <a:cubicBezTo>
                    <a:pt x="64203" y="267718"/>
                    <a:pt x="21611" y="222085"/>
                    <a:pt x="6400" y="167324"/>
                  </a:cubicBezTo>
                  <a:cubicBezTo>
                    <a:pt x="-8811" y="109521"/>
                    <a:pt x="316" y="15211"/>
                    <a:pt x="64203" y="0"/>
                  </a:cubicBezTo>
                  <a:cubicBezTo>
                    <a:pt x="64203" y="0"/>
                    <a:pt x="73330" y="106479"/>
                    <a:pt x="112879" y="127775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F09CFD3E-B611-43C1-8D60-215CAA7B1D35}"/>
                </a:ext>
              </a:extLst>
            </p:cNvPr>
            <p:cNvSpPr/>
            <p:nvPr/>
          </p:nvSpPr>
          <p:spPr>
            <a:xfrm>
              <a:off x="3338572" y="7687587"/>
              <a:ext cx="500840" cy="253909"/>
            </a:xfrm>
            <a:custGeom>
              <a:avLst/>
              <a:gdLst>
                <a:gd name="connsiteX0" fmla="*/ 59714 w 500840"/>
                <a:gd name="connsiteY0" fmla="*/ 244752 h 253909"/>
                <a:gd name="connsiteX1" fmla="*/ 181404 w 500840"/>
                <a:gd name="connsiteY1" fmla="*/ 205202 h 253909"/>
                <a:gd name="connsiteX2" fmla="*/ 500840 w 500840"/>
                <a:gd name="connsiteY2" fmla="*/ 193033 h 253909"/>
                <a:gd name="connsiteX3" fmla="*/ 129685 w 500840"/>
                <a:gd name="connsiteY3" fmla="*/ 10498 h 253909"/>
                <a:gd name="connsiteX4" fmla="*/ 11037 w 500840"/>
                <a:gd name="connsiteY4" fmla="*/ 116977 h 253909"/>
                <a:gd name="connsiteX5" fmla="*/ 59714 w 500840"/>
                <a:gd name="connsiteY5" fmla="*/ 244752 h 253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0840" h="253909">
                  <a:moveTo>
                    <a:pt x="59714" y="244752"/>
                  </a:moveTo>
                  <a:cubicBezTo>
                    <a:pt x="59714" y="244752"/>
                    <a:pt x="154023" y="205202"/>
                    <a:pt x="181404" y="205202"/>
                  </a:cubicBezTo>
                  <a:cubicBezTo>
                    <a:pt x="281798" y="208244"/>
                    <a:pt x="409573" y="320808"/>
                    <a:pt x="500840" y="193033"/>
                  </a:cubicBezTo>
                  <a:cubicBezTo>
                    <a:pt x="455207" y="92639"/>
                    <a:pt x="293967" y="-38178"/>
                    <a:pt x="129685" y="10498"/>
                  </a:cubicBezTo>
                  <a:cubicBezTo>
                    <a:pt x="50587" y="31794"/>
                    <a:pt x="17122" y="80470"/>
                    <a:pt x="11037" y="116977"/>
                  </a:cubicBezTo>
                  <a:cubicBezTo>
                    <a:pt x="11037" y="116977"/>
                    <a:pt x="-34596" y="232582"/>
                    <a:pt x="59714" y="244752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016F0EBA-29F6-4B02-85F9-983A0E1A3B1F}"/>
                </a:ext>
              </a:extLst>
            </p:cNvPr>
            <p:cNvSpPr/>
            <p:nvPr/>
          </p:nvSpPr>
          <p:spPr>
            <a:xfrm>
              <a:off x="3284674" y="8038627"/>
              <a:ext cx="78456" cy="110265"/>
            </a:xfrm>
            <a:custGeom>
              <a:avLst/>
              <a:gdLst>
                <a:gd name="connsiteX0" fmla="*/ 64936 w 78456"/>
                <a:gd name="connsiteY0" fmla="*/ 15402 h 110265"/>
                <a:gd name="connsiteX1" fmla="*/ 7133 w 78456"/>
                <a:gd name="connsiteY1" fmla="*/ 6275 h 110265"/>
                <a:gd name="connsiteX2" fmla="*/ 64936 w 78456"/>
                <a:gd name="connsiteY2" fmla="*/ 106669 h 110265"/>
                <a:gd name="connsiteX3" fmla="*/ 64936 w 78456"/>
                <a:gd name="connsiteY3" fmla="*/ 15402 h 11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456" h="110265">
                  <a:moveTo>
                    <a:pt x="64936" y="15402"/>
                  </a:moveTo>
                  <a:cubicBezTo>
                    <a:pt x="64936" y="15402"/>
                    <a:pt x="31471" y="-11979"/>
                    <a:pt x="7133" y="6275"/>
                  </a:cubicBezTo>
                  <a:cubicBezTo>
                    <a:pt x="-17205" y="24528"/>
                    <a:pt x="25386" y="131007"/>
                    <a:pt x="64936" y="106669"/>
                  </a:cubicBezTo>
                  <a:cubicBezTo>
                    <a:pt x="95358" y="88415"/>
                    <a:pt x="64936" y="15402"/>
                    <a:pt x="64936" y="15402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5FBA190C-AE02-484B-BE27-FC0671F31660}"/>
                </a:ext>
              </a:extLst>
            </p:cNvPr>
            <p:cNvSpPr/>
            <p:nvPr/>
          </p:nvSpPr>
          <p:spPr>
            <a:xfrm>
              <a:off x="3331930" y="7818515"/>
              <a:ext cx="72440" cy="241598"/>
            </a:xfrm>
            <a:custGeom>
              <a:avLst/>
              <a:gdLst>
                <a:gd name="connsiteX0" fmla="*/ 17680 w 72440"/>
                <a:gd name="connsiteY0" fmla="*/ 241598 h 241598"/>
                <a:gd name="connsiteX1" fmla="*/ 17680 w 72440"/>
                <a:gd name="connsiteY1" fmla="*/ 241598 h 241598"/>
                <a:gd name="connsiteX2" fmla="*/ 11595 w 72440"/>
                <a:gd name="connsiteY2" fmla="*/ 235514 h 241598"/>
                <a:gd name="connsiteX3" fmla="*/ 57229 w 72440"/>
                <a:gd name="connsiteY3" fmla="*/ 113824 h 241598"/>
                <a:gd name="connsiteX4" fmla="*/ 8553 w 72440"/>
                <a:gd name="connsiteY4" fmla="*/ 71232 h 241598"/>
                <a:gd name="connsiteX5" fmla="*/ 5511 w 72440"/>
                <a:gd name="connsiteY5" fmla="*/ 4302 h 241598"/>
                <a:gd name="connsiteX6" fmla="*/ 11595 w 72440"/>
                <a:gd name="connsiteY6" fmla="*/ 1260 h 241598"/>
                <a:gd name="connsiteX7" fmla="*/ 14637 w 72440"/>
                <a:gd name="connsiteY7" fmla="*/ 7345 h 241598"/>
                <a:gd name="connsiteX8" fmla="*/ 14637 w 72440"/>
                <a:gd name="connsiteY8" fmla="*/ 65148 h 241598"/>
                <a:gd name="connsiteX9" fmla="*/ 63313 w 72440"/>
                <a:gd name="connsiteY9" fmla="*/ 104697 h 241598"/>
                <a:gd name="connsiteX10" fmla="*/ 72440 w 72440"/>
                <a:gd name="connsiteY10" fmla="*/ 107739 h 241598"/>
                <a:gd name="connsiteX11" fmla="*/ 66356 w 72440"/>
                <a:gd name="connsiteY11" fmla="*/ 113824 h 241598"/>
                <a:gd name="connsiteX12" fmla="*/ 20722 w 72440"/>
                <a:gd name="connsiteY12" fmla="*/ 235514 h 241598"/>
                <a:gd name="connsiteX13" fmla="*/ 17680 w 72440"/>
                <a:gd name="connsiteY13" fmla="*/ 241598 h 241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2440" h="241598">
                  <a:moveTo>
                    <a:pt x="17680" y="241598"/>
                  </a:moveTo>
                  <a:lnTo>
                    <a:pt x="17680" y="241598"/>
                  </a:lnTo>
                  <a:cubicBezTo>
                    <a:pt x="14637" y="241598"/>
                    <a:pt x="11595" y="238556"/>
                    <a:pt x="11595" y="235514"/>
                  </a:cubicBezTo>
                  <a:cubicBezTo>
                    <a:pt x="14637" y="183795"/>
                    <a:pt x="45060" y="132077"/>
                    <a:pt x="57229" y="113824"/>
                  </a:cubicBezTo>
                  <a:cubicBezTo>
                    <a:pt x="45060" y="107739"/>
                    <a:pt x="20722" y="95570"/>
                    <a:pt x="8553" y="71232"/>
                  </a:cubicBezTo>
                  <a:cubicBezTo>
                    <a:pt x="-574" y="52979"/>
                    <a:pt x="-3616" y="28641"/>
                    <a:pt x="5511" y="4302"/>
                  </a:cubicBezTo>
                  <a:cubicBezTo>
                    <a:pt x="5511" y="1260"/>
                    <a:pt x="8553" y="-1782"/>
                    <a:pt x="11595" y="1260"/>
                  </a:cubicBezTo>
                  <a:cubicBezTo>
                    <a:pt x="14637" y="1260"/>
                    <a:pt x="17680" y="4302"/>
                    <a:pt x="14637" y="7345"/>
                  </a:cubicBezTo>
                  <a:cubicBezTo>
                    <a:pt x="8553" y="28641"/>
                    <a:pt x="8553" y="46894"/>
                    <a:pt x="14637" y="65148"/>
                  </a:cubicBezTo>
                  <a:cubicBezTo>
                    <a:pt x="29849" y="92528"/>
                    <a:pt x="63313" y="104697"/>
                    <a:pt x="63313" y="104697"/>
                  </a:cubicBezTo>
                  <a:lnTo>
                    <a:pt x="72440" y="107739"/>
                  </a:lnTo>
                  <a:lnTo>
                    <a:pt x="66356" y="113824"/>
                  </a:lnTo>
                  <a:cubicBezTo>
                    <a:pt x="66356" y="113824"/>
                    <a:pt x="23764" y="174669"/>
                    <a:pt x="20722" y="235514"/>
                  </a:cubicBezTo>
                  <a:cubicBezTo>
                    <a:pt x="23764" y="238556"/>
                    <a:pt x="20722" y="241598"/>
                    <a:pt x="17680" y="241598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FBBC10FE-00C5-43D3-94F2-C2315A03A86A}"/>
                </a:ext>
              </a:extLst>
            </p:cNvPr>
            <p:cNvSpPr/>
            <p:nvPr/>
          </p:nvSpPr>
          <p:spPr>
            <a:xfrm>
              <a:off x="3513891" y="7859846"/>
              <a:ext cx="193943" cy="39027"/>
            </a:xfrm>
            <a:custGeom>
              <a:avLst/>
              <a:gdLst>
                <a:gd name="connsiteX0" fmla="*/ 6085 w 193943"/>
                <a:gd name="connsiteY0" fmla="*/ 39028 h 39027"/>
                <a:gd name="connsiteX1" fmla="*/ 0 w 193943"/>
                <a:gd name="connsiteY1" fmla="*/ 35985 h 39027"/>
                <a:gd name="connsiteX2" fmla="*/ 3042 w 193943"/>
                <a:gd name="connsiteY2" fmla="*/ 26859 h 39027"/>
                <a:gd name="connsiteX3" fmla="*/ 191662 w 193943"/>
                <a:gd name="connsiteY3" fmla="*/ 20774 h 39027"/>
                <a:gd name="connsiteX4" fmla="*/ 191662 w 193943"/>
                <a:gd name="connsiteY4" fmla="*/ 29901 h 39027"/>
                <a:gd name="connsiteX5" fmla="*/ 182535 w 193943"/>
                <a:gd name="connsiteY5" fmla="*/ 29901 h 39027"/>
                <a:gd name="connsiteX6" fmla="*/ 6085 w 193943"/>
                <a:gd name="connsiteY6" fmla="*/ 39028 h 39027"/>
                <a:gd name="connsiteX7" fmla="*/ 6085 w 193943"/>
                <a:gd name="connsiteY7" fmla="*/ 39028 h 3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3943" h="39027">
                  <a:moveTo>
                    <a:pt x="6085" y="39028"/>
                  </a:moveTo>
                  <a:cubicBezTo>
                    <a:pt x="3042" y="39028"/>
                    <a:pt x="3042" y="39028"/>
                    <a:pt x="0" y="35985"/>
                  </a:cubicBezTo>
                  <a:cubicBezTo>
                    <a:pt x="0" y="32943"/>
                    <a:pt x="0" y="29901"/>
                    <a:pt x="3042" y="26859"/>
                  </a:cubicBezTo>
                  <a:cubicBezTo>
                    <a:pt x="9127" y="23816"/>
                    <a:pt x="121690" y="-27902"/>
                    <a:pt x="191662" y="20774"/>
                  </a:cubicBezTo>
                  <a:cubicBezTo>
                    <a:pt x="194704" y="23816"/>
                    <a:pt x="194704" y="26859"/>
                    <a:pt x="191662" y="29901"/>
                  </a:cubicBezTo>
                  <a:cubicBezTo>
                    <a:pt x="188620" y="32943"/>
                    <a:pt x="185577" y="32943"/>
                    <a:pt x="182535" y="29901"/>
                  </a:cubicBezTo>
                  <a:cubicBezTo>
                    <a:pt x="118648" y="-12691"/>
                    <a:pt x="9127" y="39028"/>
                    <a:pt x="6085" y="39028"/>
                  </a:cubicBezTo>
                  <a:cubicBezTo>
                    <a:pt x="6085" y="39028"/>
                    <a:pt x="6085" y="39028"/>
                    <a:pt x="6085" y="39028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FAC3C8AE-44D2-44A0-AB1A-A5EC273555EA}"/>
                </a:ext>
              </a:extLst>
            </p:cNvPr>
            <p:cNvSpPr/>
            <p:nvPr/>
          </p:nvSpPr>
          <p:spPr>
            <a:xfrm>
              <a:off x="3002792" y="8406930"/>
              <a:ext cx="1068646" cy="1563534"/>
            </a:xfrm>
            <a:custGeom>
              <a:avLst/>
              <a:gdLst>
                <a:gd name="connsiteX0" fmla="*/ 395493 w 1068646"/>
                <a:gd name="connsiteY0" fmla="*/ 0 h 1563534"/>
                <a:gd name="connsiteX1" fmla="*/ 684507 w 1068646"/>
                <a:gd name="connsiteY1" fmla="*/ 0 h 1563534"/>
                <a:gd name="connsiteX2" fmla="*/ 982648 w 1068646"/>
                <a:gd name="connsiteY2" fmla="*/ 130817 h 1563534"/>
                <a:gd name="connsiteX3" fmla="*/ 1067831 w 1068646"/>
                <a:gd name="connsiteY3" fmla="*/ 1533296 h 1563534"/>
                <a:gd name="connsiteX4" fmla="*/ 0 w 1068646"/>
                <a:gd name="connsiteY4" fmla="*/ 1508958 h 1563534"/>
                <a:gd name="connsiteX5" fmla="*/ 115606 w 1068646"/>
                <a:gd name="connsiteY5" fmla="*/ 103437 h 1563534"/>
                <a:gd name="connsiteX6" fmla="*/ 395493 w 1068646"/>
                <a:gd name="connsiteY6" fmla="*/ 0 h 1563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8646" h="1563534">
                  <a:moveTo>
                    <a:pt x="395493" y="0"/>
                  </a:moveTo>
                  <a:cubicBezTo>
                    <a:pt x="395493" y="0"/>
                    <a:pt x="568901" y="54761"/>
                    <a:pt x="684507" y="0"/>
                  </a:cubicBezTo>
                  <a:cubicBezTo>
                    <a:pt x="684507" y="0"/>
                    <a:pt x="958310" y="97352"/>
                    <a:pt x="982648" y="130817"/>
                  </a:cubicBezTo>
                  <a:cubicBezTo>
                    <a:pt x="1006986" y="161240"/>
                    <a:pt x="1076958" y="1466366"/>
                    <a:pt x="1067831" y="1533296"/>
                  </a:cubicBezTo>
                  <a:cubicBezTo>
                    <a:pt x="1067831" y="1533296"/>
                    <a:pt x="578028" y="1615436"/>
                    <a:pt x="0" y="1508958"/>
                  </a:cubicBezTo>
                  <a:cubicBezTo>
                    <a:pt x="0" y="1153014"/>
                    <a:pt x="73014" y="133859"/>
                    <a:pt x="115606" y="103437"/>
                  </a:cubicBezTo>
                  <a:cubicBezTo>
                    <a:pt x="155155" y="69972"/>
                    <a:pt x="395493" y="0"/>
                    <a:pt x="395493" y="0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15748516-683C-41EA-ADC0-3F77B291A596}"/>
                </a:ext>
              </a:extLst>
            </p:cNvPr>
            <p:cNvSpPr/>
            <p:nvPr/>
          </p:nvSpPr>
          <p:spPr>
            <a:xfrm>
              <a:off x="3976314" y="8531663"/>
              <a:ext cx="52978" cy="739267"/>
            </a:xfrm>
            <a:custGeom>
              <a:avLst/>
              <a:gdLst>
                <a:gd name="connsiteX0" fmla="*/ 48676 w 52978"/>
                <a:gd name="connsiteY0" fmla="*/ 739268 h 739267"/>
                <a:gd name="connsiteX1" fmla="*/ 42591 w 52978"/>
                <a:gd name="connsiteY1" fmla="*/ 733183 h 739267"/>
                <a:gd name="connsiteX2" fmla="*/ 0 w 52978"/>
                <a:gd name="connsiteY2" fmla="*/ 6084 h 739267"/>
                <a:gd name="connsiteX3" fmla="*/ 3042 w 52978"/>
                <a:gd name="connsiteY3" fmla="*/ 0 h 739267"/>
                <a:gd name="connsiteX4" fmla="*/ 9127 w 52978"/>
                <a:gd name="connsiteY4" fmla="*/ 3042 h 739267"/>
                <a:gd name="connsiteX5" fmla="*/ 51718 w 52978"/>
                <a:gd name="connsiteY5" fmla="*/ 733183 h 739267"/>
                <a:gd name="connsiteX6" fmla="*/ 48676 w 52978"/>
                <a:gd name="connsiteY6" fmla="*/ 739268 h 739267"/>
                <a:gd name="connsiteX7" fmla="*/ 48676 w 52978"/>
                <a:gd name="connsiteY7" fmla="*/ 739268 h 73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978" h="739267">
                  <a:moveTo>
                    <a:pt x="48676" y="739268"/>
                  </a:moveTo>
                  <a:cubicBezTo>
                    <a:pt x="45634" y="739268"/>
                    <a:pt x="42591" y="736225"/>
                    <a:pt x="42591" y="733183"/>
                  </a:cubicBezTo>
                  <a:cubicBezTo>
                    <a:pt x="42591" y="727098"/>
                    <a:pt x="6084" y="45634"/>
                    <a:pt x="0" y="6084"/>
                  </a:cubicBezTo>
                  <a:cubicBezTo>
                    <a:pt x="0" y="3042"/>
                    <a:pt x="0" y="0"/>
                    <a:pt x="3042" y="0"/>
                  </a:cubicBezTo>
                  <a:cubicBezTo>
                    <a:pt x="6084" y="0"/>
                    <a:pt x="9127" y="0"/>
                    <a:pt x="9127" y="3042"/>
                  </a:cubicBezTo>
                  <a:cubicBezTo>
                    <a:pt x="18253" y="42591"/>
                    <a:pt x="51718" y="705803"/>
                    <a:pt x="51718" y="733183"/>
                  </a:cubicBezTo>
                  <a:cubicBezTo>
                    <a:pt x="54761" y="736225"/>
                    <a:pt x="51718" y="739268"/>
                    <a:pt x="48676" y="739268"/>
                  </a:cubicBezTo>
                  <a:cubicBezTo>
                    <a:pt x="48676" y="739268"/>
                    <a:pt x="48676" y="739268"/>
                    <a:pt x="48676" y="739268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565B0181-54B8-4E06-BD3A-C3255B38E50E}"/>
                </a:ext>
              </a:extLst>
            </p:cNvPr>
            <p:cNvSpPr/>
            <p:nvPr/>
          </p:nvSpPr>
          <p:spPr>
            <a:xfrm>
              <a:off x="3526060" y="8234282"/>
              <a:ext cx="120000" cy="29661"/>
            </a:xfrm>
            <a:custGeom>
              <a:avLst/>
              <a:gdLst>
                <a:gd name="connsiteX0" fmla="*/ 66930 w 120000"/>
                <a:gd name="connsiteY0" fmla="*/ 29662 h 29661"/>
                <a:gd name="connsiteX1" fmla="*/ 3042 w 120000"/>
                <a:gd name="connsiteY1" fmla="*/ 14451 h 29661"/>
                <a:gd name="connsiteX2" fmla="*/ 0 w 120000"/>
                <a:gd name="connsiteY2" fmla="*/ 5324 h 29661"/>
                <a:gd name="connsiteX3" fmla="*/ 9127 w 120000"/>
                <a:gd name="connsiteY3" fmla="*/ 2282 h 29661"/>
                <a:gd name="connsiteX4" fmla="*/ 109521 w 120000"/>
                <a:gd name="connsiteY4" fmla="*/ 2282 h 29661"/>
                <a:gd name="connsiteX5" fmla="*/ 118648 w 120000"/>
                <a:gd name="connsiteY5" fmla="*/ 2282 h 29661"/>
                <a:gd name="connsiteX6" fmla="*/ 118648 w 120000"/>
                <a:gd name="connsiteY6" fmla="*/ 11408 h 29661"/>
                <a:gd name="connsiteX7" fmla="*/ 66930 w 120000"/>
                <a:gd name="connsiteY7" fmla="*/ 29662 h 2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000" h="29661">
                  <a:moveTo>
                    <a:pt x="66930" y="29662"/>
                  </a:moveTo>
                  <a:cubicBezTo>
                    <a:pt x="33465" y="29662"/>
                    <a:pt x="6085" y="14451"/>
                    <a:pt x="3042" y="14451"/>
                  </a:cubicBezTo>
                  <a:cubicBezTo>
                    <a:pt x="0" y="14451"/>
                    <a:pt x="0" y="8366"/>
                    <a:pt x="0" y="5324"/>
                  </a:cubicBezTo>
                  <a:cubicBezTo>
                    <a:pt x="0" y="2282"/>
                    <a:pt x="6085" y="2282"/>
                    <a:pt x="9127" y="2282"/>
                  </a:cubicBezTo>
                  <a:cubicBezTo>
                    <a:pt x="9127" y="2282"/>
                    <a:pt x="73014" y="32704"/>
                    <a:pt x="109521" y="2282"/>
                  </a:cubicBezTo>
                  <a:cubicBezTo>
                    <a:pt x="112563" y="-761"/>
                    <a:pt x="115606" y="-761"/>
                    <a:pt x="118648" y="2282"/>
                  </a:cubicBezTo>
                  <a:cubicBezTo>
                    <a:pt x="121690" y="5324"/>
                    <a:pt x="118648" y="8366"/>
                    <a:pt x="118648" y="11408"/>
                  </a:cubicBezTo>
                  <a:cubicBezTo>
                    <a:pt x="100394" y="23578"/>
                    <a:pt x="85183" y="29662"/>
                    <a:pt x="66930" y="29662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6050E363-4785-49E5-BA20-554484ECBB94}"/>
                </a:ext>
              </a:extLst>
            </p:cNvPr>
            <p:cNvSpPr/>
            <p:nvPr/>
          </p:nvSpPr>
          <p:spPr>
            <a:xfrm>
              <a:off x="2878060" y="9788114"/>
              <a:ext cx="138054" cy="205659"/>
            </a:xfrm>
            <a:custGeom>
              <a:avLst/>
              <a:gdLst>
                <a:gd name="connsiteX0" fmla="*/ 0 w 138054"/>
                <a:gd name="connsiteY0" fmla="*/ 0 h 205659"/>
                <a:gd name="connsiteX1" fmla="*/ 100394 w 138054"/>
                <a:gd name="connsiteY1" fmla="*/ 60845 h 205659"/>
                <a:gd name="connsiteX2" fmla="*/ 130817 w 138054"/>
                <a:gd name="connsiteY2" fmla="*/ 194704 h 205659"/>
                <a:gd name="connsiteX3" fmla="*/ 94310 w 138054"/>
                <a:gd name="connsiteY3" fmla="*/ 182535 h 205659"/>
                <a:gd name="connsiteX4" fmla="*/ 0 w 138054"/>
                <a:gd name="connsiteY4" fmla="*/ 0 h 205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054" h="205659">
                  <a:moveTo>
                    <a:pt x="0" y="0"/>
                  </a:moveTo>
                  <a:cubicBezTo>
                    <a:pt x="0" y="0"/>
                    <a:pt x="76056" y="24338"/>
                    <a:pt x="100394" y="60845"/>
                  </a:cubicBezTo>
                  <a:cubicBezTo>
                    <a:pt x="121690" y="97352"/>
                    <a:pt x="152113" y="164282"/>
                    <a:pt x="130817" y="194704"/>
                  </a:cubicBezTo>
                  <a:cubicBezTo>
                    <a:pt x="109521" y="225127"/>
                    <a:pt x="94310" y="182535"/>
                    <a:pt x="94310" y="18253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2" name="图形 1">
              <a:extLst>
                <a:ext uri="{FF2B5EF4-FFF2-40B4-BE49-F238E27FC236}">
                  <a16:creationId xmlns:a16="http://schemas.microsoft.com/office/drawing/2014/main" id="{E7684A5A-EEAC-4B61-BA3F-19FA2EC275B2}"/>
                </a:ext>
              </a:extLst>
            </p:cNvPr>
            <p:cNvGrpSpPr/>
            <p:nvPr/>
          </p:nvGrpSpPr>
          <p:grpSpPr>
            <a:xfrm>
              <a:off x="2366962" y="9906761"/>
              <a:ext cx="1311211" cy="2555492"/>
              <a:chOff x="2366962" y="9906761"/>
              <a:chExt cx="1311211" cy="2555492"/>
            </a:xfrm>
          </p:grpSpPr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2B07E3EB-40B1-410B-914C-16DD10DB910A}"/>
                  </a:ext>
                </a:extLst>
              </p:cNvPr>
              <p:cNvSpPr/>
              <p:nvPr/>
            </p:nvSpPr>
            <p:spPr>
              <a:xfrm>
                <a:off x="2735074" y="12297973"/>
                <a:ext cx="164281" cy="164281"/>
              </a:xfrm>
              <a:custGeom>
                <a:avLst/>
                <a:gdLst>
                  <a:gd name="connsiteX0" fmla="*/ 0 w 164281"/>
                  <a:gd name="connsiteY0" fmla="*/ 82140 h 164281"/>
                  <a:gd name="connsiteX1" fmla="*/ 82141 w 164281"/>
                  <a:gd name="connsiteY1" fmla="*/ 164282 h 164281"/>
                  <a:gd name="connsiteX2" fmla="*/ 164282 w 164281"/>
                  <a:gd name="connsiteY2" fmla="*/ 82140 h 164281"/>
                  <a:gd name="connsiteX3" fmla="*/ 82141 w 164281"/>
                  <a:gd name="connsiteY3" fmla="*/ 0 h 164281"/>
                  <a:gd name="connsiteX4" fmla="*/ 0 w 164281"/>
                  <a:gd name="connsiteY4" fmla="*/ 82140 h 164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281" h="164281">
                    <a:moveTo>
                      <a:pt x="0" y="82140"/>
                    </a:moveTo>
                    <a:cubicBezTo>
                      <a:pt x="0" y="127774"/>
                      <a:pt x="36507" y="164282"/>
                      <a:pt x="82141" y="164282"/>
                    </a:cubicBezTo>
                    <a:cubicBezTo>
                      <a:pt x="127775" y="164282"/>
                      <a:pt x="164282" y="127774"/>
                      <a:pt x="164282" y="82140"/>
                    </a:cubicBezTo>
                    <a:cubicBezTo>
                      <a:pt x="164282" y="36506"/>
                      <a:pt x="127775" y="0"/>
                      <a:pt x="82141" y="0"/>
                    </a:cubicBezTo>
                    <a:cubicBezTo>
                      <a:pt x="36507" y="0"/>
                      <a:pt x="0" y="36506"/>
                      <a:pt x="0" y="8214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EE8B319C-04FC-435A-A157-34428821B936}"/>
                  </a:ext>
                </a:extLst>
              </p:cNvPr>
              <p:cNvSpPr/>
              <p:nvPr/>
            </p:nvSpPr>
            <p:spPr>
              <a:xfrm>
                <a:off x="3395243" y="12297973"/>
                <a:ext cx="164281" cy="164281"/>
              </a:xfrm>
              <a:custGeom>
                <a:avLst/>
                <a:gdLst>
                  <a:gd name="connsiteX0" fmla="*/ 0 w 164281"/>
                  <a:gd name="connsiteY0" fmla="*/ 82140 h 164281"/>
                  <a:gd name="connsiteX1" fmla="*/ 82141 w 164281"/>
                  <a:gd name="connsiteY1" fmla="*/ 164282 h 164281"/>
                  <a:gd name="connsiteX2" fmla="*/ 164282 w 164281"/>
                  <a:gd name="connsiteY2" fmla="*/ 82140 h 164281"/>
                  <a:gd name="connsiteX3" fmla="*/ 82141 w 164281"/>
                  <a:gd name="connsiteY3" fmla="*/ 0 h 164281"/>
                  <a:gd name="connsiteX4" fmla="*/ 0 w 164281"/>
                  <a:gd name="connsiteY4" fmla="*/ 82140 h 164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281" h="164281">
                    <a:moveTo>
                      <a:pt x="0" y="82140"/>
                    </a:moveTo>
                    <a:cubicBezTo>
                      <a:pt x="0" y="127774"/>
                      <a:pt x="36507" y="164282"/>
                      <a:pt x="82141" y="164282"/>
                    </a:cubicBezTo>
                    <a:cubicBezTo>
                      <a:pt x="127775" y="164282"/>
                      <a:pt x="164282" y="127774"/>
                      <a:pt x="164282" y="82140"/>
                    </a:cubicBezTo>
                    <a:cubicBezTo>
                      <a:pt x="164282" y="36506"/>
                      <a:pt x="127775" y="0"/>
                      <a:pt x="82141" y="0"/>
                    </a:cubicBezTo>
                    <a:cubicBezTo>
                      <a:pt x="36507" y="0"/>
                      <a:pt x="0" y="36506"/>
                      <a:pt x="0" y="8214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29637A87-09C3-41A6-8015-8A205F52519D}"/>
                  </a:ext>
                </a:extLst>
              </p:cNvPr>
              <p:cNvSpPr/>
              <p:nvPr/>
            </p:nvSpPr>
            <p:spPr>
              <a:xfrm>
                <a:off x="2512990" y="12297973"/>
                <a:ext cx="164281" cy="164281"/>
              </a:xfrm>
              <a:custGeom>
                <a:avLst/>
                <a:gdLst>
                  <a:gd name="connsiteX0" fmla="*/ 0 w 164281"/>
                  <a:gd name="connsiteY0" fmla="*/ 82140 h 164281"/>
                  <a:gd name="connsiteX1" fmla="*/ 82141 w 164281"/>
                  <a:gd name="connsiteY1" fmla="*/ 164282 h 164281"/>
                  <a:gd name="connsiteX2" fmla="*/ 164282 w 164281"/>
                  <a:gd name="connsiteY2" fmla="*/ 82140 h 164281"/>
                  <a:gd name="connsiteX3" fmla="*/ 82141 w 164281"/>
                  <a:gd name="connsiteY3" fmla="*/ 0 h 164281"/>
                  <a:gd name="connsiteX4" fmla="*/ 0 w 164281"/>
                  <a:gd name="connsiteY4" fmla="*/ 82140 h 164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281" h="164281">
                    <a:moveTo>
                      <a:pt x="0" y="82140"/>
                    </a:moveTo>
                    <a:cubicBezTo>
                      <a:pt x="0" y="127774"/>
                      <a:pt x="36507" y="164282"/>
                      <a:pt x="82141" y="164282"/>
                    </a:cubicBezTo>
                    <a:cubicBezTo>
                      <a:pt x="127775" y="164282"/>
                      <a:pt x="164282" y="127774"/>
                      <a:pt x="164282" y="82140"/>
                    </a:cubicBezTo>
                    <a:cubicBezTo>
                      <a:pt x="164282" y="36506"/>
                      <a:pt x="127775" y="0"/>
                      <a:pt x="82141" y="0"/>
                    </a:cubicBezTo>
                    <a:cubicBezTo>
                      <a:pt x="36507" y="0"/>
                      <a:pt x="0" y="36506"/>
                      <a:pt x="0" y="8214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A5B1A7E8-44FA-483D-89FD-60E8AE929F7D}"/>
                  </a:ext>
                </a:extLst>
              </p:cNvPr>
              <p:cNvSpPr/>
              <p:nvPr/>
            </p:nvSpPr>
            <p:spPr>
              <a:xfrm>
                <a:off x="3173159" y="12297973"/>
                <a:ext cx="164281" cy="164281"/>
              </a:xfrm>
              <a:custGeom>
                <a:avLst/>
                <a:gdLst>
                  <a:gd name="connsiteX0" fmla="*/ 0 w 164281"/>
                  <a:gd name="connsiteY0" fmla="*/ 82140 h 164281"/>
                  <a:gd name="connsiteX1" fmla="*/ 82141 w 164281"/>
                  <a:gd name="connsiteY1" fmla="*/ 164282 h 164281"/>
                  <a:gd name="connsiteX2" fmla="*/ 164282 w 164281"/>
                  <a:gd name="connsiteY2" fmla="*/ 82140 h 164281"/>
                  <a:gd name="connsiteX3" fmla="*/ 82141 w 164281"/>
                  <a:gd name="connsiteY3" fmla="*/ 0 h 164281"/>
                  <a:gd name="connsiteX4" fmla="*/ 0 w 164281"/>
                  <a:gd name="connsiteY4" fmla="*/ 82140 h 164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281" h="164281">
                    <a:moveTo>
                      <a:pt x="0" y="82140"/>
                    </a:moveTo>
                    <a:cubicBezTo>
                      <a:pt x="0" y="127774"/>
                      <a:pt x="36507" y="164282"/>
                      <a:pt x="82141" y="164282"/>
                    </a:cubicBezTo>
                    <a:cubicBezTo>
                      <a:pt x="127775" y="164282"/>
                      <a:pt x="164282" y="127774"/>
                      <a:pt x="164282" y="82140"/>
                    </a:cubicBezTo>
                    <a:cubicBezTo>
                      <a:pt x="164282" y="36506"/>
                      <a:pt x="127775" y="0"/>
                      <a:pt x="82141" y="0"/>
                    </a:cubicBezTo>
                    <a:cubicBezTo>
                      <a:pt x="36507" y="0"/>
                      <a:pt x="0" y="36506"/>
                      <a:pt x="0" y="8214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1ACFDB52-2BE9-4E6D-9502-085F320254DD}"/>
                  </a:ext>
                </a:extLst>
              </p:cNvPr>
              <p:cNvSpPr/>
              <p:nvPr/>
            </p:nvSpPr>
            <p:spPr>
              <a:xfrm>
                <a:off x="2704652" y="9943269"/>
                <a:ext cx="422873" cy="1603267"/>
              </a:xfrm>
              <a:custGeom>
                <a:avLst/>
                <a:gdLst>
                  <a:gd name="connsiteX0" fmla="*/ 422873 w 422873"/>
                  <a:gd name="connsiteY0" fmla="*/ 1603267 h 1603267"/>
                  <a:gd name="connsiteX1" fmla="*/ 0 w 422873"/>
                  <a:gd name="connsiteY1" fmla="*/ 1603267 h 1603267"/>
                  <a:gd name="connsiteX2" fmla="*/ 0 w 422873"/>
                  <a:gd name="connsiteY2" fmla="*/ 0 h 1603267"/>
                  <a:gd name="connsiteX3" fmla="*/ 422873 w 422873"/>
                  <a:gd name="connsiteY3" fmla="*/ 0 h 1603267"/>
                  <a:gd name="connsiteX4" fmla="*/ 422873 w 422873"/>
                  <a:gd name="connsiteY4" fmla="*/ 1603267 h 1603267"/>
                  <a:gd name="connsiteX5" fmla="*/ 30423 w 422873"/>
                  <a:gd name="connsiteY5" fmla="*/ 1572845 h 1603267"/>
                  <a:gd name="connsiteX6" fmla="*/ 392451 w 422873"/>
                  <a:gd name="connsiteY6" fmla="*/ 1572845 h 1603267"/>
                  <a:gd name="connsiteX7" fmla="*/ 392451 w 422873"/>
                  <a:gd name="connsiteY7" fmla="*/ 30423 h 1603267"/>
                  <a:gd name="connsiteX8" fmla="*/ 30423 w 422873"/>
                  <a:gd name="connsiteY8" fmla="*/ 30423 h 1603267"/>
                  <a:gd name="connsiteX9" fmla="*/ 30423 w 422873"/>
                  <a:gd name="connsiteY9" fmla="*/ 1572845 h 1603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22873" h="1603267">
                    <a:moveTo>
                      <a:pt x="422873" y="1603267"/>
                    </a:moveTo>
                    <a:lnTo>
                      <a:pt x="0" y="1603267"/>
                    </a:lnTo>
                    <a:lnTo>
                      <a:pt x="0" y="0"/>
                    </a:lnTo>
                    <a:lnTo>
                      <a:pt x="422873" y="0"/>
                    </a:lnTo>
                    <a:lnTo>
                      <a:pt x="422873" y="1603267"/>
                    </a:lnTo>
                    <a:close/>
                    <a:moveTo>
                      <a:pt x="30423" y="1572845"/>
                    </a:moveTo>
                    <a:lnTo>
                      <a:pt x="392451" y="1572845"/>
                    </a:lnTo>
                    <a:lnTo>
                      <a:pt x="392451" y="30423"/>
                    </a:lnTo>
                    <a:lnTo>
                      <a:pt x="30423" y="30423"/>
                    </a:lnTo>
                    <a:lnTo>
                      <a:pt x="30423" y="1572845"/>
                    </a:lnTo>
                    <a:close/>
                  </a:path>
                </a:pathLst>
              </a:custGeom>
              <a:solidFill>
                <a:srgbClr val="6C5D6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B1D1AAE9-4EEA-439C-BF5E-4B30BE6D2443}"/>
                  </a:ext>
                </a:extLst>
              </p:cNvPr>
              <p:cNvSpPr/>
              <p:nvPr/>
            </p:nvSpPr>
            <p:spPr>
              <a:xfrm>
                <a:off x="2474937" y="12112485"/>
                <a:ext cx="182089" cy="167161"/>
              </a:xfrm>
              <a:custGeom>
                <a:avLst/>
                <a:gdLst>
                  <a:gd name="connsiteX0" fmla="*/ 4587 w 182089"/>
                  <a:gd name="connsiteY0" fmla="*/ 15122 h 167161"/>
                  <a:gd name="connsiteX1" fmla="*/ 165827 w 182089"/>
                  <a:gd name="connsiteY1" fmla="*/ 5995 h 167161"/>
                  <a:gd name="connsiteX2" fmla="*/ 177996 w 182089"/>
                  <a:gd name="connsiteY2" fmla="*/ 148981 h 167161"/>
                  <a:gd name="connsiteX3" fmla="*/ 13714 w 182089"/>
                  <a:gd name="connsiteY3" fmla="*/ 152023 h 167161"/>
                  <a:gd name="connsiteX4" fmla="*/ 4587 w 182089"/>
                  <a:gd name="connsiteY4" fmla="*/ 15122 h 167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089" h="167161">
                    <a:moveTo>
                      <a:pt x="4587" y="15122"/>
                    </a:moveTo>
                    <a:cubicBezTo>
                      <a:pt x="16757" y="-3132"/>
                      <a:pt x="165827" y="-3132"/>
                      <a:pt x="165827" y="5995"/>
                    </a:cubicBezTo>
                    <a:cubicBezTo>
                      <a:pt x="171911" y="33375"/>
                      <a:pt x="190165" y="133769"/>
                      <a:pt x="177996" y="148981"/>
                    </a:cubicBezTo>
                    <a:cubicBezTo>
                      <a:pt x="165827" y="164192"/>
                      <a:pt x="19799" y="179403"/>
                      <a:pt x="13714" y="152023"/>
                    </a:cubicBezTo>
                    <a:cubicBezTo>
                      <a:pt x="7630" y="130727"/>
                      <a:pt x="-7582" y="33375"/>
                      <a:pt x="4587" y="15122"/>
                    </a:cubicBezTo>
                    <a:close/>
                  </a:path>
                </a:pathLst>
              </a:custGeom>
              <a:solidFill>
                <a:srgbClr val="F0515C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FB59A49E-C489-4EA0-8560-C55AAED85320}"/>
                  </a:ext>
                </a:extLst>
              </p:cNvPr>
              <p:cNvSpPr/>
              <p:nvPr/>
            </p:nvSpPr>
            <p:spPr>
              <a:xfrm>
                <a:off x="2668145" y="10746423"/>
                <a:ext cx="1010028" cy="1572844"/>
              </a:xfrm>
              <a:custGeom>
                <a:avLst/>
                <a:gdLst>
                  <a:gd name="connsiteX0" fmla="*/ 0 w 1010028"/>
                  <a:gd name="connsiteY0" fmla="*/ 146028 h 1572844"/>
                  <a:gd name="connsiteX1" fmla="*/ 0 w 1010028"/>
                  <a:gd name="connsiteY1" fmla="*/ 1426817 h 1572844"/>
                  <a:gd name="connsiteX2" fmla="*/ 146028 w 1010028"/>
                  <a:gd name="connsiteY2" fmla="*/ 1572845 h 1572844"/>
                  <a:gd name="connsiteX3" fmla="*/ 864000 w 1010028"/>
                  <a:gd name="connsiteY3" fmla="*/ 1572845 h 1572844"/>
                  <a:gd name="connsiteX4" fmla="*/ 1010028 w 1010028"/>
                  <a:gd name="connsiteY4" fmla="*/ 1426817 h 1572844"/>
                  <a:gd name="connsiteX5" fmla="*/ 1010028 w 1010028"/>
                  <a:gd name="connsiteY5" fmla="*/ 146028 h 1572844"/>
                  <a:gd name="connsiteX6" fmla="*/ 1010028 w 1010028"/>
                  <a:gd name="connsiteY6" fmla="*/ 130817 h 1572844"/>
                  <a:gd name="connsiteX7" fmla="*/ 952225 w 1010028"/>
                  <a:gd name="connsiteY7" fmla="*/ 30423 h 1572844"/>
                  <a:gd name="connsiteX8" fmla="*/ 864000 w 1010028"/>
                  <a:gd name="connsiteY8" fmla="*/ 0 h 1572844"/>
                  <a:gd name="connsiteX9" fmla="*/ 146028 w 1010028"/>
                  <a:gd name="connsiteY9" fmla="*/ 0 h 1572844"/>
                  <a:gd name="connsiteX10" fmla="*/ 0 w 1010028"/>
                  <a:gd name="connsiteY10" fmla="*/ 146028 h 157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10028" h="1572844">
                    <a:moveTo>
                      <a:pt x="0" y="146028"/>
                    </a:moveTo>
                    <a:lnTo>
                      <a:pt x="0" y="1426817"/>
                    </a:lnTo>
                    <a:cubicBezTo>
                      <a:pt x="0" y="1508958"/>
                      <a:pt x="66930" y="1572845"/>
                      <a:pt x="146028" y="1572845"/>
                    </a:cubicBezTo>
                    <a:lnTo>
                      <a:pt x="864000" y="1572845"/>
                    </a:lnTo>
                    <a:cubicBezTo>
                      <a:pt x="946141" y="1572845"/>
                      <a:pt x="1010028" y="1505916"/>
                      <a:pt x="1010028" y="1426817"/>
                    </a:cubicBezTo>
                    <a:lnTo>
                      <a:pt x="1010028" y="146028"/>
                    </a:lnTo>
                    <a:cubicBezTo>
                      <a:pt x="1010028" y="139944"/>
                      <a:pt x="1010028" y="133859"/>
                      <a:pt x="1010028" y="130817"/>
                    </a:cubicBezTo>
                    <a:cubicBezTo>
                      <a:pt x="1006986" y="91268"/>
                      <a:pt x="985690" y="54760"/>
                      <a:pt x="952225" y="30423"/>
                    </a:cubicBezTo>
                    <a:cubicBezTo>
                      <a:pt x="927887" y="12169"/>
                      <a:pt x="897465" y="0"/>
                      <a:pt x="864000" y="0"/>
                    </a:cubicBezTo>
                    <a:lnTo>
                      <a:pt x="146028" y="0"/>
                    </a:lnTo>
                    <a:cubicBezTo>
                      <a:pt x="63887" y="0"/>
                      <a:pt x="0" y="63888"/>
                      <a:pt x="0" y="146028"/>
                    </a:cubicBezTo>
                    <a:close/>
                  </a:path>
                </a:pathLst>
              </a:custGeom>
              <a:solidFill>
                <a:srgbClr val="C6554F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DB2A4806-7F9C-4043-9FF0-4120048E1491}"/>
                  </a:ext>
                </a:extLst>
              </p:cNvPr>
              <p:cNvSpPr/>
              <p:nvPr/>
            </p:nvSpPr>
            <p:spPr>
              <a:xfrm>
                <a:off x="2366962" y="10746423"/>
                <a:ext cx="1095211" cy="1572844"/>
              </a:xfrm>
              <a:custGeom>
                <a:avLst/>
                <a:gdLst>
                  <a:gd name="connsiteX0" fmla="*/ 146028 w 1095211"/>
                  <a:gd name="connsiteY0" fmla="*/ 1572845 h 1572844"/>
                  <a:gd name="connsiteX1" fmla="*/ 949183 w 1095211"/>
                  <a:gd name="connsiteY1" fmla="*/ 1572845 h 1572844"/>
                  <a:gd name="connsiteX2" fmla="*/ 1095211 w 1095211"/>
                  <a:gd name="connsiteY2" fmla="*/ 1426817 h 1572844"/>
                  <a:gd name="connsiteX3" fmla="*/ 1095211 w 1095211"/>
                  <a:gd name="connsiteY3" fmla="*/ 146028 h 1572844"/>
                  <a:gd name="connsiteX4" fmla="*/ 949183 w 1095211"/>
                  <a:gd name="connsiteY4" fmla="*/ 0 h 1572844"/>
                  <a:gd name="connsiteX5" fmla="*/ 146028 w 1095211"/>
                  <a:gd name="connsiteY5" fmla="*/ 0 h 1572844"/>
                  <a:gd name="connsiteX6" fmla="*/ 0 w 1095211"/>
                  <a:gd name="connsiteY6" fmla="*/ 146028 h 1572844"/>
                  <a:gd name="connsiteX7" fmla="*/ 0 w 1095211"/>
                  <a:gd name="connsiteY7" fmla="*/ 1426817 h 1572844"/>
                  <a:gd name="connsiteX8" fmla="*/ 146028 w 1095211"/>
                  <a:gd name="connsiteY8" fmla="*/ 1572845 h 157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5211" h="1572844">
                    <a:moveTo>
                      <a:pt x="146028" y="1572845"/>
                    </a:moveTo>
                    <a:lnTo>
                      <a:pt x="949183" y="1572845"/>
                    </a:lnTo>
                    <a:cubicBezTo>
                      <a:pt x="1031324" y="1572845"/>
                      <a:pt x="1095211" y="1505916"/>
                      <a:pt x="1095211" y="1426817"/>
                    </a:cubicBezTo>
                    <a:lnTo>
                      <a:pt x="1095211" y="146028"/>
                    </a:lnTo>
                    <a:cubicBezTo>
                      <a:pt x="1095211" y="63888"/>
                      <a:pt x="1028282" y="0"/>
                      <a:pt x="949183" y="0"/>
                    </a:cubicBezTo>
                    <a:lnTo>
                      <a:pt x="146028" y="0"/>
                    </a:lnTo>
                    <a:cubicBezTo>
                      <a:pt x="63887" y="0"/>
                      <a:pt x="0" y="63888"/>
                      <a:pt x="0" y="146028"/>
                    </a:cubicBezTo>
                    <a:lnTo>
                      <a:pt x="0" y="1426817"/>
                    </a:lnTo>
                    <a:cubicBezTo>
                      <a:pt x="0" y="1508958"/>
                      <a:pt x="66930" y="1572845"/>
                      <a:pt x="146028" y="1572845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B8553F46-A55E-4707-9835-BFEDAD0C1367}"/>
                  </a:ext>
                </a:extLst>
              </p:cNvPr>
              <p:cNvSpPr/>
              <p:nvPr/>
            </p:nvSpPr>
            <p:spPr>
              <a:xfrm>
                <a:off x="2506905" y="10740338"/>
                <a:ext cx="961352" cy="1585014"/>
              </a:xfrm>
              <a:custGeom>
                <a:avLst/>
                <a:gdLst>
                  <a:gd name="connsiteX0" fmla="*/ 809239 w 961352"/>
                  <a:gd name="connsiteY0" fmla="*/ 1585014 h 1585014"/>
                  <a:gd name="connsiteX1" fmla="*/ 6085 w 961352"/>
                  <a:gd name="connsiteY1" fmla="*/ 1585014 h 1585014"/>
                  <a:gd name="connsiteX2" fmla="*/ 0 w 961352"/>
                  <a:gd name="connsiteY2" fmla="*/ 1578929 h 1585014"/>
                  <a:gd name="connsiteX3" fmla="*/ 6085 w 961352"/>
                  <a:gd name="connsiteY3" fmla="*/ 1572846 h 1585014"/>
                  <a:gd name="connsiteX4" fmla="*/ 809239 w 961352"/>
                  <a:gd name="connsiteY4" fmla="*/ 1572846 h 1585014"/>
                  <a:gd name="connsiteX5" fmla="*/ 949183 w 961352"/>
                  <a:gd name="connsiteY5" fmla="*/ 1432902 h 1585014"/>
                  <a:gd name="connsiteX6" fmla="*/ 949183 w 961352"/>
                  <a:gd name="connsiteY6" fmla="*/ 152113 h 1585014"/>
                  <a:gd name="connsiteX7" fmla="*/ 809239 w 961352"/>
                  <a:gd name="connsiteY7" fmla="*/ 12169 h 1585014"/>
                  <a:gd name="connsiteX8" fmla="*/ 803155 w 961352"/>
                  <a:gd name="connsiteY8" fmla="*/ 6085 h 1585014"/>
                  <a:gd name="connsiteX9" fmla="*/ 809239 w 961352"/>
                  <a:gd name="connsiteY9" fmla="*/ 0 h 1585014"/>
                  <a:gd name="connsiteX10" fmla="*/ 961352 w 961352"/>
                  <a:gd name="connsiteY10" fmla="*/ 152113 h 1585014"/>
                  <a:gd name="connsiteX11" fmla="*/ 961352 w 961352"/>
                  <a:gd name="connsiteY11" fmla="*/ 1432902 h 1585014"/>
                  <a:gd name="connsiteX12" fmla="*/ 809239 w 961352"/>
                  <a:gd name="connsiteY12" fmla="*/ 1585014 h 158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61352" h="1585014">
                    <a:moveTo>
                      <a:pt x="809239" y="1585014"/>
                    </a:moveTo>
                    <a:lnTo>
                      <a:pt x="6085" y="1585014"/>
                    </a:lnTo>
                    <a:cubicBezTo>
                      <a:pt x="3042" y="1585014"/>
                      <a:pt x="0" y="1581972"/>
                      <a:pt x="0" y="1578929"/>
                    </a:cubicBezTo>
                    <a:cubicBezTo>
                      <a:pt x="0" y="1575888"/>
                      <a:pt x="3042" y="1572846"/>
                      <a:pt x="6085" y="1572846"/>
                    </a:cubicBezTo>
                    <a:lnTo>
                      <a:pt x="809239" y="1572846"/>
                    </a:lnTo>
                    <a:cubicBezTo>
                      <a:pt x="885296" y="1572846"/>
                      <a:pt x="949183" y="1508958"/>
                      <a:pt x="949183" y="1432902"/>
                    </a:cubicBezTo>
                    <a:lnTo>
                      <a:pt x="949183" y="152113"/>
                    </a:lnTo>
                    <a:cubicBezTo>
                      <a:pt x="949183" y="76056"/>
                      <a:pt x="885296" y="12169"/>
                      <a:pt x="809239" y="12169"/>
                    </a:cubicBezTo>
                    <a:cubicBezTo>
                      <a:pt x="806197" y="12169"/>
                      <a:pt x="803155" y="9127"/>
                      <a:pt x="803155" y="6085"/>
                    </a:cubicBezTo>
                    <a:cubicBezTo>
                      <a:pt x="803155" y="3042"/>
                      <a:pt x="806197" y="0"/>
                      <a:pt x="809239" y="0"/>
                    </a:cubicBezTo>
                    <a:cubicBezTo>
                      <a:pt x="891380" y="0"/>
                      <a:pt x="961352" y="66930"/>
                      <a:pt x="961352" y="152113"/>
                    </a:cubicBezTo>
                    <a:lnTo>
                      <a:pt x="961352" y="1432902"/>
                    </a:lnTo>
                    <a:cubicBezTo>
                      <a:pt x="961352" y="1518084"/>
                      <a:pt x="894423" y="1585014"/>
                      <a:pt x="809239" y="158501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73B5AC55-CBCF-405A-AA1E-C7CE80FA8F19}"/>
                  </a:ext>
                </a:extLst>
              </p:cNvPr>
              <p:cNvSpPr/>
              <p:nvPr/>
            </p:nvSpPr>
            <p:spPr>
              <a:xfrm>
                <a:off x="2649891" y="9906761"/>
                <a:ext cx="529609" cy="103436"/>
              </a:xfrm>
              <a:custGeom>
                <a:avLst/>
                <a:gdLst>
                  <a:gd name="connsiteX0" fmla="*/ 477634 w 529609"/>
                  <a:gd name="connsiteY0" fmla="*/ 103436 h 103436"/>
                  <a:gd name="connsiteX1" fmla="*/ 51718 w 529609"/>
                  <a:gd name="connsiteY1" fmla="*/ 103436 h 103436"/>
                  <a:gd name="connsiteX2" fmla="*/ 0 w 529609"/>
                  <a:gd name="connsiteY2" fmla="*/ 51719 h 103436"/>
                  <a:gd name="connsiteX3" fmla="*/ 0 w 529609"/>
                  <a:gd name="connsiteY3" fmla="*/ 51719 h 103436"/>
                  <a:gd name="connsiteX4" fmla="*/ 51718 w 529609"/>
                  <a:gd name="connsiteY4" fmla="*/ 0 h 103436"/>
                  <a:gd name="connsiteX5" fmla="*/ 477634 w 529609"/>
                  <a:gd name="connsiteY5" fmla="*/ 0 h 103436"/>
                  <a:gd name="connsiteX6" fmla="*/ 529352 w 529609"/>
                  <a:gd name="connsiteY6" fmla="*/ 51719 h 103436"/>
                  <a:gd name="connsiteX7" fmla="*/ 529352 w 529609"/>
                  <a:gd name="connsiteY7" fmla="*/ 51719 h 103436"/>
                  <a:gd name="connsiteX8" fmla="*/ 477634 w 529609"/>
                  <a:gd name="connsiteY8" fmla="*/ 103436 h 103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9609" h="103436">
                    <a:moveTo>
                      <a:pt x="477634" y="103436"/>
                    </a:moveTo>
                    <a:lnTo>
                      <a:pt x="51718" y="103436"/>
                    </a:lnTo>
                    <a:cubicBezTo>
                      <a:pt x="21296" y="103436"/>
                      <a:pt x="0" y="79099"/>
                      <a:pt x="0" y="51719"/>
                    </a:cubicBezTo>
                    <a:lnTo>
                      <a:pt x="0" y="51719"/>
                    </a:lnTo>
                    <a:cubicBezTo>
                      <a:pt x="0" y="21296"/>
                      <a:pt x="24338" y="0"/>
                      <a:pt x="51718" y="0"/>
                    </a:cubicBezTo>
                    <a:lnTo>
                      <a:pt x="477634" y="0"/>
                    </a:lnTo>
                    <a:cubicBezTo>
                      <a:pt x="508056" y="0"/>
                      <a:pt x="529352" y="24338"/>
                      <a:pt x="529352" y="51719"/>
                    </a:cubicBezTo>
                    <a:lnTo>
                      <a:pt x="529352" y="51719"/>
                    </a:lnTo>
                    <a:cubicBezTo>
                      <a:pt x="532394" y="82141"/>
                      <a:pt x="508056" y="103436"/>
                      <a:pt x="477634" y="10343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C8F6975B-9C82-4B00-A2E3-E08F7D400EA4}"/>
                  </a:ext>
                </a:extLst>
              </p:cNvPr>
              <p:cNvSpPr/>
              <p:nvPr/>
            </p:nvSpPr>
            <p:spPr>
              <a:xfrm>
                <a:off x="2494736" y="10883325"/>
                <a:ext cx="839661" cy="422873"/>
              </a:xfrm>
              <a:custGeom>
                <a:avLst/>
                <a:gdLst>
                  <a:gd name="connsiteX0" fmla="*/ 778817 w 839661"/>
                  <a:gd name="connsiteY0" fmla="*/ 422873 h 422873"/>
                  <a:gd name="connsiteX1" fmla="*/ 60845 w 839661"/>
                  <a:gd name="connsiteY1" fmla="*/ 422873 h 422873"/>
                  <a:gd name="connsiteX2" fmla="*/ 0 w 839661"/>
                  <a:gd name="connsiteY2" fmla="*/ 362028 h 422873"/>
                  <a:gd name="connsiteX3" fmla="*/ 0 w 839661"/>
                  <a:gd name="connsiteY3" fmla="*/ 60845 h 422873"/>
                  <a:gd name="connsiteX4" fmla="*/ 60845 w 839661"/>
                  <a:gd name="connsiteY4" fmla="*/ 0 h 422873"/>
                  <a:gd name="connsiteX5" fmla="*/ 778817 w 839661"/>
                  <a:gd name="connsiteY5" fmla="*/ 0 h 422873"/>
                  <a:gd name="connsiteX6" fmla="*/ 839662 w 839661"/>
                  <a:gd name="connsiteY6" fmla="*/ 60845 h 422873"/>
                  <a:gd name="connsiteX7" fmla="*/ 839662 w 839661"/>
                  <a:gd name="connsiteY7" fmla="*/ 362028 h 422873"/>
                  <a:gd name="connsiteX8" fmla="*/ 778817 w 839661"/>
                  <a:gd name="connsiteY8" fmla="*/ 422873 h 422873"/>
                  <a:gd name="connsiteX9" fmla="*/ 60845 w 839661"/>
                  <a:gd name="connsiteY9" fmla="*/ 15211 h 422873"/>
                  <a:gd name="connsiteX10" fmla="*/ 12169 w 839661"/>
                  <a:gd name="connsiteY10" fmla="*/ 63888 h 422873"/>
                  <a:gd name="connsiteX11" fmla="*/ 12169 w 839661"/>
                  <a:gd name="connsiteY11" fmla="*/ 365070 h 422873"/>
                  <a:gd name="connsiteX12" fmla="*/ 60845 w 839661"/>
                  <a:gd name="connsiteY12" fmla="*/ 413747 h 422873"/>
                  <a:gd name="connsiteX13" fmla="*/ 778817 w 839661"/>
                  <a:gd name="connsiteY13" fmla="*/ 413747 h 422873"/>
                  <a:gd name="connsiteX14" fmla="*/ 827493 w 839661"/>
                  <a:gd name="connsiteY14" fmla="*/ 365070 h 422873"/>
                  <a:gd name="connsiteX15" fmla="*/ 827493 w 839661"/>
                  <a:gd name="connsiteY15" fmla="*/ 63888 h 422873"/>
                  <a:gd name="connsiteX16" fmla="*/ 778817 w 839661"/>
                  <a:gd name="connsiteY16" fmla="*/ 15211 h 422873"/>
                  <a:gd name="connsiteX17" fmla="*/ 60845 w 839661"/>
                  <a:gd name="connsiteY17" fmla="*/ 15211 h 42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839661" h="422873">
                    <a:moveTo>
                      <a:pt x="778817" y="422873"/>
                    </a:moveTo>
                    <a:lnTo>
                      <a:pt x="60845" y="422873"/>
                    </a:lnTo>
                    <a:cubicBezTo>
                      <a:pt x="27380" y="422873"/>
                      <a:pt x="0" y="395493"/>
                      <a:pt x="0" y="362028"/>
                    </a:cubicBezTo>
                    <a:lnTo>
                      <a:pt x="0" y="60845"/>
                    </a:lnTo>
                    <a:cubicBezTo>
                      <a:pt x="0" y="27380"/>
                      <a:pt x="27380" y="0"/>
                      <a:pt x="60845" y="0"/>
                    </a:cubicBezTo>
                    <a:lnTo>
                      <a:pt x="778817" y="0"/>
                    </a:lnTo>
                    <a:cubicBezTo>
                      <a:pt x="812282" y="0"/>
                      <a:pt x="839662" y="27380"/>
                      <a:pt x="839662" y="60845"/>
                    </a:cubicBezTo>
                    <a:lnTo>
                      <a:pt x="839662" y="362028"/>
                    </a:lnTo>
                    <a:cubicBezTo>
                      <a:pt x="839662" y="395493"/>
                      <a:pt x="812282" y="422873"/>
                      <a:pt x="778817" y="422873"/>
                    </a:cubicBezTo>
                    <a:close/>
                    <a:moveTo>
                      <a:pt x="60845" y="15211"/>
                    </a:moveTo>
                    <a:cubicBezTo>
                      <a:pt x="33465" y="15211"/>
                      <a:pt x="12169" y="36506"/>
                      <a:pt x="12169" y="63888"/>
                    </a:cubicBezTo>
                    <a:lnTo>
                      <a:pt x="12169" y="365070"/>
                    </a:lnTo>
                    <a:cubicBezTo>
                      <a:pt x="12169" y="392451"/>
                      <a:pt x="33465" y="413747"/>
                      <a:pt x="60845" y="413747"/>
                    </a:cubicBezTo>
                    <a:lnTo>
                      <a:pt x="778817" y="413747"/>
                    </a:lnTo>
                    <a:cubicBezTo>
                      <a:pt x="806197" y="413747"/>
                      <a:pt x="827493" y="392451"/>
                      <a:pt x="827493" y="365070"/>
                    </a:cubicBezTo>
                    <a:lnTo>
                      <a:pt x="827493" y="63888"/>
                    </a:lnTo>
                    <a:cubicBezTo>
                      <a:pt x="827493" y="36506"/>
                      <a:pt x="806197" y="15211"/>
                      <a:pt x="778817" y="15211"/>
                    </a:cubicBezTo>
                    <a:lnTo>
                      <a:pt x="60845" y="15211"/>
                    </a:ln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177A2E25-52E9-4B8A-B978-38689D0EF776}"/>
                  </a:ext>
                </a:extLst>
              </p:cNvPr>
              <p:cNvSpPr/>
              <p:nvPr/>
            </p:nvSpPr>
            <p:spPr>
              <a:xfrm>
                <a:off x="2494736" y="11379212"/>
                <a:ext cx="839661" cy="821408"/>
              </a:xfrm>
              <a:custGeom>
                <a:avLst/>
                <a:gdLst>
                  <a:gd name="connsiteX0" fmla="*/ 778817 w 839661"/>
                  <a:gd name="connsiteY0" fmla="*/ 821408 h 821408"/>
                  <a:gd name="connsiteX1" fmla="*/ 60845 w 839661"/>
                  <a:gd name="connsiteY1" fmla="*/ 821408 h 821408"/>
                  <a:gd name="connsiteX2" fmla="*/ 0 w 839661"/>
                  <a:gd name="connsiteY2" fmla="*/ 760563 h 821408"/>
                  <a:gd name="connsiteX3" fmla="*/ 0 w 839661"/>
                  <a:gd name="connsiteY3" fmla="*/ 60845 h 821408"/>
                  <a:gd name="connsiteX4" fmla="*/ 60845 w 839661"/>
                  <a:gd name="connsiteY4" fmla="*/ 0 h 821408"/>
                  <a:gd name="connsiteX5" fmla="*/ 778817 w 839661"/>
                  <a:gd name="connsiteY5" fmla="*/ 0 h 821408"/>
                  <a:gd name="connsiteX6" fmla="*/ 839662 w 839661"/>
                  <a:gd name="connsiteY6" fmla="*/ 60845 h 821408"/>
                  <a:gd name="connsiteX7" fmla="*/ 839662 w 839661"/>
                  <a:gd name="connsiteY7" fmla="*/ 760563 h 821408"/>
                  <a:gd name="connsiteX8" fmla="*/ 778817 w 839661"/>
                  <a:gd name="connsiteY8" fmla="*/ 821408 h 821408"/>
                  <a:gd name="connsiteX9" fmla="*/ 60845 w 839661"/>
                  <a:gd name="connsiteY9" fmla="*/ 15211 h 821408"/>
                  <a:gd name="connsiteX10" fmla="*/ 12169 w 839661"/>
                  <a:gd name="connsiteY10" fmla="*/ 63888 h 821408"/>
                  <a:gd name="connsiteX11" fmla="*/ 12169 w 839661"/>
                  <a:gd name="connsiteY11" fmla="*/ 763606 h 821408"/>
                  <a:gd name="connsiteX12" fmla="*/ 60845 w 839661"/>
                  <a:gd name="connsiteY12" fmla="*/ 812282 h 821408"/>
                  <a:gd name="connsiteX13" fmla="*/ 778817 w 839661"/>
                  <a:gd name="connsiteY13" fmla="*/ 812282 h 821408"/>
                  <a:gd name="connsiteX14" fmla="*/ 827493 w 839661"/>
                  <a:gd name="connsiteY14" fmla="*/ 763606 h 821408"/>
                  <a:gd name="connsiteX15" fmla="*/ 827493 w 839661"/>
                  <a:gd name="connsiteY15" fmla="*/ 63888 h 821408"/>
                  <a:gd name="connsiteX16" fmla="*/ 778817 w 839661"/>
                  <a:gd name="connsiteY16" fmla="*/ 15211 h 821408"/>
                  <a:gd name="connsiteX17" fmla="*/ 60845 w 839661"/>
                  <a:gd name="connsiteY17" fmla="*/ 15211 h 821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839661" h="821408">
                    <a:moveTo>
                      <a:pt x="778817" y="821408"/>
                    </a:moveTo>
                    <a:lnTo>
                      <a:pt x="60845" y="821408"/>
                    </a:lnTo>
                    <a:cubicBezTo>
                      <a:pt x="27380" y="821408"/>
                      <a:pt x="0" y="794028"/>
                      <a:pt x="0" y="760563"/>
                    </a:cubicBezTo>
                    <a:lnTo>
                      <a:pt x="0" y="60845"/>
                    </a:lnTo>
                    <a:cubicBezTo>
                      <a:pt x="0" y="27380"/>
                      <a:pt x="27380" y="0"/>
                      <a:pt x="60845" y="0"/>
                    </a:cubicBezTo>
                    <a:lnTo>
                      <a:pt x="778817" y="0"/>
                    </a:lnTo>
                    <a:cubicBezTo>
                      <a:pt x="812282" y="0"/>
                      <a:pt x="839662" y="27380"/>
                      <a:pt x="839662" y="60845"/>
                    </a:cubicBezTo>
                    <a:lnTo>
                      <a:pt x="839662" y="760563"/>
                    </a:lnTo>
                    <a:cubicBezTo>
                      <a:pt x="839662" y="794028"/>
                      <a:pt x="812282" y="821408"/>
                      <a:pt x="778817" y="821408"/>
                    </a:cubicBezTo>
                    <a:close/>
                    <a:moveTo>
                      <a:pt x="60845" y="15211"/>
                    </a:moveTo>
                    <a:cubicBezTo>
                      <a:pt x="33465" y="15211"/>
                      <a:pt x="12169" y="36507"/>
                      <a:pt x="12169" y="63888"/>
                    </a:cubicBezTo>
                    <a:lnTo>
                      <a:pt x="12169" y="763606"/>
                    </a:lnTo>
                    <a:cubicBezTo>
                      <a:pt x="12169" y="790986"/>
                      <a:pt x="33465" y="812282"/>
                      <a:pt x="60845" y="812282"/>
                    </a:cubicBezTo>
                    <a:lnTo>
                      <a:pt x="778817" y="812282"/>
                    </a:lnTo>
                    <a:cubicBezTo>
                      <a:pt x="806197" y="812282"/>
                      <a:pt x="827493" y="790986"/>
                      <a:pt x="827493" y="763606"/>
                    </a:cubicBezTo>
                    <a:lnTo>
                      <a:pt x="827493" y="63888"/>
                    </a:lnTo>
                    <a:cubicBezTo>
                      <a:pt x="827493" y="36507"/>
                      <a:pt x="806197" y="15211"/>
                      <a:pt x="778817" y="15211"/>
                    </a:cubicBezTo>
                    <a:lnTo>
                      <a:pt x="60845" y="15211"/>
                    </a:ln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B181B7A6-801F-4517-8072-03511389E277}"/>
                  </a:ext>
                </a:extLst>
              </p:cNvPr>
              <p:cNvSpPr/>
              <p:nvPr/>
            </p:nvSpPr>
            <p:spPr>
              <a:xfrm>
                <a:off x="3267469" y="10883325"/>
                <a:ext cx="73603" cy="200788"/>
              </a:xfrm>
              <a:custGeom>
                <a:avLst/>
                <a:gdLst>
                  <a:gd name="connsiteX0" fmla="*/ 54761 w 73603"/>
                  <a:gd name="connsiteY0" fmla="*/ 0 h 200788"/>
                  <a:gd name="connsiteX1" fmla="*/ 21296 w 73603"/>
                  <a:gd name="connsiteY1" fmla="*/ 0 h 200788"/>
                  <a:gd name="connsiteX2" fmla="*/ 0 w 73603"/>
                  <a:gd name="connsiteY2" fmla="*/ 21295 h 200788"/>
                  <a:gd name="connsiteX3" fmla="*/ 0 w 73603"/>
                  <a:gd name="connsiteY3" fmla="*/ 88225 h 200788"/>
                  <a:gd name="connsiteX4" fmla="*/ 15211 w 73603"/>
                  <a:gd name="connsiteY4" fmla="*/ 106479 h 200788"/>
                  <a:gd name="connsiteX5" fmla="*/ 6084 w 73603"/>
                  <a:gd name="connsiteY5" fmla="*/ 164282 h 200788"/>
                  <a:gd name="connsiteX6" fmla="*/ 36507 w 73603"/>
                  <a:gd name="connsiteY6" fmla="*/ 200789 h 200788"/>
                  <a:gd name="connsiteX7" fmla="*/ 66930 w 73603"/>
                  <a:gd name="connsiteY7" fmla="*/ 164282 h 200788"/>
                  <a:gd name="connsiteX8" fmla="*/ 57803 w 73603"/>
                  <a:gd name="connsiteY8" fmla="*/ 106479 h 200788"/>
                  <a:gd name="connsiteX9" fmla="*/ 73014 w 73603"/>
                  <a:gd name="connsiteY9" fmla="*/ 88225 h 200788"/>
                  <a:gd name="connsiteX10" fmla="*/ 73014 w 73603"/>
                  <a:gd name="connsiteY10" fmla="*/ 21295 h 200788"/>
                  <a:gd name="connsiteX11" fmla="*/ 54761 w 73603"/>
                  <a:gd name="connsiteY11" fmla="*/ 0 h 200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3603" h="200788">
                    <a:moveTo>
                      <a:pt x="54761" y="0"/>
                    </a:moveTo>
                    <a:lnTo>
                      <a:pt x="21296" y="0"/>
                    </a:lnTo>
                    <a:cubicBezTo>
                      <a:pt x="9127" y="0"/>
                      <a:pt x="0" y="9126"/>
                      <a:pt x="0" y="21295"/>
                    </a:cubicBezTo>
                    <a:lnTo>
                      <a:pt x="0" y="88225"/>
                    </a:lnTo>
                    <a:cubicBezTo>
                      <a:pt x="0" y="97352"/>
                      <a:pt x="6084" y="106479"/>
                      <a:pt x="15211" y="106479"/>
                    </a:cubicBezTo>
                    <a:lnTo>
                      <a:pt x="6084" y="164282"/>
                    </a:lnTo>
                    <a:cubicBezTo>
                      <a:pt x="3042" y="182535"/>
                      <a:pt x="18254" y="200789"/>
                      <a:pt x="36507" y="200789"/>
                    </a:cubicBezTo>
                    <a:cubicBezTo>
                      <a:pt x="54761" y="200789"/>
                      <a:pt x="69972" y="182535"/>
                      <a:pt x="66930" y="164282"/>
                    </a:cubicBezTo>
                    <a:lnTo>
                      <a:pt x="57803" y="106479"/>
                    </a:lnTo>
                    <a:cubicBezTo>
                      <a:pt x="66930" y="103436"/>
                      <a:pt x="73014" y="97352"/>
                      <a:pt x="73014" y="88225"/>
                    </a:cubicBezTo>
                    <a:lnTo>
                      <a:pt x="73014" y="21295"/>
                    </a:lnTo>
                    <a:cubicBezTo>
                      <a:pt x="76056" y="9126"/>
                      <a:pt x="66930" y="0"/>
                      <a:pt x="54761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F25A4FDA-AA7A-4281-93B5-FD4D0E39606B}"/>
                  </a:ext>
                </a:extLst>
              </p:cNvPr>
              <p:cNvSpPr/>
              <p:nvPr/>
            </p:nvSpPr>
            <p:spPr>
              <a:xfrm>
                <a:off x="3267469" y="11376169"/>
                <a:ext cx="73603" cy="200788"/>
              </a:xfrm>
              <a:custGeom>
                <a:avLst/>
                <a:gdLst>
                  <a:gd name="connsiteX0" fmla="*/ 54761 w 73603"/>
                  <a:gd name="connsiteY0" fmla="*/ 0 h 200788"/>
                  <a:gd name="connsiteX1" fmla="*/ 21296 w 73603"/>
                  <a:gd name="connsiteY1" fmla="*/ 0 h 200788"/>
                  <a:gd name="connsiteX2" fmla="*/ 0 w 73603"/>
                  <a:gd name="connsiteY2" fmla="*/ 21296 h 200788"/>
                  <a:gd name="connsiteX3" fmla="*/ 0 w 73603"/>
                  <a:gd name="connsiteY3" fmla="*/ 88226 h 200788"/>
                  <a:gd name="connsiteX4" fmla="*/ 15211 w 73603"/>
                  <a:gd name="connsiteY4" fmla="*/ 106479 h 200788"/>
                  <a:gd name="connsiteX5" fmla="*/ 6084 w 73603"/>
                  <a:gd name="connsiteY5" fmla="*/ 164282 h 200788"/>
                  <a:gd name="connsiteX6" fmla="*/ 36507 w 73603"/>
                  <a:gd name="connsiteY6" fmla="*/ 200789 h 200788"/>
                  <a:gd name="connsiteX7" fmla="*/ 66930 w 73603"/>
                  <a:gd name="connsiteY7" fmla="*/ 164282 h 200788"/>
                  <a:gd name="connsiteX8" fmla="*/ 57803 w 73603"/>
                  <a:gd name="connsiteY8" fmla="*/ 106479 h 200788"/>
                  <a:gd name="connsiteX9" fmla="*/ 73014 w 73603"/>
                  <a:gd name="connsiteY9" fmla="*/ 88226 h 200788"/>
                  <a:gd name="connsiteX10" fmla="*/ 73014 w 73603"/>
                  <a:gd name="connsiteY10" fmla="*/ 21296 h 200788"/>
                  <a:gd name="connsiteX11" fmla="*/ 54761 w 73603"/>
                  <a:gd name="connsiteY11" fmla="*/ 0 h 200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3603" h="200788">
                    <a:moveTo>
                      <a:pt x="54761" y="0"/>
                    </a:moveTo>
                    <a:lnTo>
                      <a:pt x="21296" y="0"/>
                    </a:lnTo>
                    <a:cubicBezTo>
                      <a:pt x="9127" y="0"/>
                      <a:pt x="0" y="9127"/>
                      <a:pt x="0" y="21296"/>
                    </a:cubicBezTo>
                    <a:lnTo>
                      <a:pt x="0" y="88226"/>
                    </a:lnTo>
                    <a:cubicBezTo>
                      <a:pt x="0" y="97352"/>
                      <a:pt x="6084" y="106479"/>
                      <a:pt x="15211" y="106479"/>
                    </a:cubicBezTo>
                    <a:lnTo>
                      <a:pt x="6084" y="164282"/>
                    </a:lnTo>
                    <a:cubicBezTo>
                      <a:pt x="3042" y="182535"/>
                      <a:pt x="18254" y="200789"/>
                      <a:pt x="36507" y="200789"/>
                    </a:cubicBezTo>
                    <a:cubicBezTo>
                      <a:pt x="54761" y="200789"/>
                      <a:pt x="69972" y="182535"/>
                      <a:pt x="66930" y="164282"/>
                    </a:cubicBezTo>
                    <a:lnTo>
                      <a:pt x="57803" y="106479"/>
                    </a:lnTo>
                    <a:cubicBezTo>
                      <a:pt x="66930" y="103437"/>
                      <a:pt x="73014" y="97352"/>
                      <a:pt x="73014" y="88226"/>
                    </a:cubicBezTo>
                    <a:lnTo>
                      <a:pt x="73014" y="21296"/>
                    </a:lnTo>
                    <a:cubicBezTo>
                      <a:pt x="76056" y="9127"/>
                      <a:pt x="66930" y="0"/>
                      <a:pt x="54761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3" name="图形 1">
              <a:extLst>
                <a:ext uri="{FF2B5EF4-FFF2-40B4-BE49-F238E27FC236}">
                  <a16:creationId xmlns:a16="http://schemas.microsoft.com/office/drawing/2014/main" id="{59629A16-281A-4F33-8313-14EB6A695D96}"/>
                </a:ext>
              </a:extLst>
            </p:cNvPr>
            <p:cNvGrpSpPr/>
            <p:nvPr/>
          </p:nvGrpSpPr>
          <p:grpSpPr>
            <a:xfrm>
              <a:off x="2736944" y="9754268"/>
              <a:ext cx="295516" cy="384465"/>
              <a:chOff x="2736944" y="9754268"/>
              <a:chExt cx="295516" cy="384465"/>
            </a:xfrm>
          </p:grpSpPr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AEC58FBA-A654-4BBA-AE1A-2DA9DE4D3A9C}"/>
                  </a:ext>
                </a:extLst>
              </p:cNvPr>
              <p:cNvSpPr/>
              <p:nvPr/>
            </p:nvSpPr>
            <p:spPr>
              <a:xfrm>
                <a:off x="2736944" y="9754268"/>
                <a:ext cx="289973" cy="384465"/>
              </a:xfrm>
              <a:custGeom>
                <a:avLst/>
                <a:gdLst>
                  <a:gd name="connsiteX0" fmla="*/ 7257 w 289973"/>
                  <a:gd name="connsiteY0" fmla="*/ 97733 h 384465"/>
                  <a:gd name="connsiteX1" fmla="*/ 46807 w 289973"/>
                  <a:gd name="connsiteY1" fmla="*/ 185958 h 384465"/>
                  <a:gd name="connsiteX2" fmla="*/ 77229 w 289973"/>
                  <a:gd name="connsiteY2" fmla="*/ 280268 h 384465"/>
                  <a:gd name="connsiteX3" fmla="*/ 104609 w 289973"/>
                  <a:gd name="connsiteY3" fmla="*/ 328943 h 384465"/>
                  <a:gd name="connsiteX4" fmla="*/ 116779 w 289973"/>
                  <a:gd name="connsiteY4" fmla="*/ 262014 h 384465"/>
                  <a:gd name="connsiteX5" fmla="*/ 138074 w 289973"/>
                  <a:gd name="connsiteY5" fmla="*/ 313732 h 384465"/>
                  <a:gd name="connsiteX6" fmla="*/ 186750 w 289973"/>
                  <a:gd name="connsiteY6" fmla="*/ 374577 h 384465"/>
                  <a:gd name="connsiteX7" fmla="*/ 201962 w 289973"/>
                  <a:gd name="connsiteY7" fmla="*/ 365451 h 384465"/>
                  <a:gd name="connsiteX8" fmla="*/ 229342 w 289973"/>
                  <a:gd name="connsiteY8" fmla="*/ 383704 h 384465"/>
                  <a:gd name="connsiteX9" fmla="*/ 244553 w 289973"/>
                  <a:gd name="connsiteY9" fmla="*/ 316775 h 384465"/>
                  <a:gd name="connsiteX10" fmla="*/ 232384 w 289973"/>
                  <a:gd name="connsiteY10" fmla="*/ 255929 h 384465"/>
                  <a:gd name="connsiteX11" fmla="*/ 259764 w 289973"/>
                  <a:gd name="connsiteY11" fmla="*/ 292437 h 384465"/>
                  <a:gd name="connsiteX12" fmla="*/ 278018 w 289973"/>
                  <a:gd name="connsiteY12" fmla="*/ 301563 h 384465"/>
                  <a:gd name="connsiteX13" fmla="*/ 271933 w 289973"/>
                  <a:gd name="connsiteY13" fmla="*/ 225507 h 384465"/>
                  <a:gd name="connsiteX14" fmla="*/ 135032 w 289973"/>
                  <a:gd name="connsiteY14" fmla="*/ 380 h 384465"/>
                  <a:gd name="connsiteX15" fmla="*/ 13342 w 289973"/>
                  <a:gd name="connsiteY15" fmla="*/ 46014 h 384465"/>
                  <a:gd name="connsiteX16" fmla="*/ 7257 w 289973"/>
                  <a:gd name="connsiteY16" fmla="*/ 97733 h 3844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9973" h="384465">
                    <a:moveTo>
                      <a:pt x="7257" y="97733"/>
                    </a:moveTo>
                    <a:cubicBezTo>
                      <a:pt x="19426" y="128155"/>
                      <a:pt x="34638" y="155535"/>
                      <a:pt x="46807" y="185958"/>
                    </a:cubicBezTo>
                    <a:cubicBezTo>
                      <a:pt x="58976" y="216381"/>
                      <a:pt x="65060" y="249845"/>
                      <a:pt x="77229" y="280268"/>
                    </a:cubicBezTo>
                    <a:cubicBezTo>
                      <a:pt x="80271" y="292437"/>
                      <a:pt x="89398" y="325902"/>
                      <a:pt x="104609" y="328943"/>
                    </a:cubicBezTo>
                    <a:cubicBezTo>
                      <a:pt x="125905" y="331986"/>
                      <a:pt x="122863" y="295479"/>
                      <a:pt x="116779" y="262014"/>
                    </a:cubicBezTo>
                    <a:cubicBezTo>
                      <a:pt x="122863" y="280268"/>
                      <a:pt x="131990" y="295479"/>
                      <a:pt x="138074" y="313732"/>
                    </a:cubicBezTo>
                    <a:cubicBezTo>
                      <a:pt x="147201" y="331986"/>
                      <a:pt x="165455" y="371536"/>
                      <a:pt x="186750" y="374577"/>
                    </a:cubicBezTo>
                    <a:cubicBezTo>
                      <a:pt x="195877" y="374577"/>
                      <a:pt x="198919" y="371536"/>
                      <a:pt x="201962" y="365451"/>
                    </a:cubicBezTo>
                    <a:cubicBezTo>
                      <a:pt x="211088" y="380662"/>
                      <a:pt x="220215" y="386747"/>
                      <a:pt x="229342" y="383704"/>
                    </a:cubicBezTo>
                    <a:cubicBezTo>
                      <a:pt x="247595" y="374577"/>
                      <a:pt x="244553" y="335028"/>
                      <a:pt x="244553" y="316775"/>
                    </a:cubicBezTo>
                    <a:cubicBezTo>
                      <a:pt x="241511" y="295479"/>
                      <a:pt x="238469" y="274183"/>
                      <a:pt x="232384" y="255929"/>
                    </a:cubicBezTo>
                    <a:cubicBezTo>
                      <a:pt x="241511" y="268098"/>
                      <a:pt x="250638" y="280268"/>
                      <a:pt x="259764" y="292437"/>
                    </a:cubicBezTo>
                    <a:cubicBezTo>
                      <a:pt x="265849" y="298521"/>
                      <a:pt x="268891" y="304606"/>
                      <a:pt x="278018" y="301563"/>
                    </a:cubicBezTo>
                    <a:cubicBezTo>
                      <a:pt x="305398" y="295479"/>
                      <a:pt x="278018" y="237676"/>
                      <a:pt x="271933" y="225507"/>
                    </a:cubicBezTo>
                    <a:cubicBezTo>
                      <a:pt x="235426" y="143367"/>
                      <a:pt x="180666" y="76437"/>
                      <a:pt x="135032" y="380"/>
                    </a:cubicBezTo>
                    <a:cubicBezTo>
                      <a:pt x="138074" y="-2662"/>
                      <a:pt x="43764" y="12549"/>
                      <a:pt x="13342" y="46014"/>
                    </a:cubicBezTo>
                    <a:cubicBezTo>
                      <a:pt x="-4912" y="67310"/>
                      <a:pt x="-1869" y="76437"/>
                      <a:pt x="7257" y="97733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6651A31D-2EB1-46BD-9E7F-19F11FEEDB71}"/>
                  </a:ext>
                </a:extLst>
              </p:cNvPr>
              <p:cNvSpPr/>
              <p:nvPr/>
            </p:nvSpPr>
            <p:spPr>
              <a:xfrm>
                <a:off x="2885835" y="9957128"/>
                <a:ext cx="56112" cy="171717"/>
              </a:xfrm>
              <a:custGeom>
                <a:avLst/>
                <a:gdLst>
                  <a:gd name="connsiteX0" fmla="*/ 50028 w 56112"/>
                  <a:gd name="connsiteY0" fmla="*/ 171718 h 171717"/>
                  <a:gd name="connsiteX1" fmla="*/ 43944 w 56112"/>
                  <a:gd name="connsiteY1" fmla="*/ 165634 h 171717"/>
                  <a:gd name="connsiteX2" fmla="*/ 1352 w 56112"/>
                  <a:gd name="connsiteY2" fmla="*/ 10479 h 171717"/>
                  <a:gd name="connsiteX3" fmla="*/ 1352 w 56112"/>
                  <a:gd name="connsiteY3" fmla="*/ 1352 h 171717"/>
                  <a:gd name="connsiteX4" fmla="*/ 10479 w 56112"/>
                  <a:gd name="connsiteY4" fmla="*/ 1352 h 171717"/>
                  <a:gd name="connsiteX5" fmla="*/ 56113 w 56112"/>
                  <a:gd name="connsiteY5" fmla="*/ 162591 h 171717"/>
                  <a:gd name="connsiteX6" fmla="*/ 50028 w 56112"/>
                  <a:gd name="connsiteY6" fmla="*/ 171718 h 171717"/>
                  <a:gd name="connsiteX7" fmla="*/ 50028 w 56112"/>
                  <a:gd name="connsiteY7" fmla="*/ 171718 h 17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112" h="171717">
                    <a:moveTo>
                      <a:pt x="50028" y="171718"/>
                    </a:moveTo>
                    <a:cubicBezTo>
                      <a:pt x="46986" y="171718"/>
                      <a:pt x="43944" y="168676"/>
                      <a:pt x="43944" y="165634"/>
                    </a:cubicBezTo>
                    <a:cubicBezTo>
                      <a:pt x="43944" y="165634"/>
                      <a:pt x="19606" y="37859"/>
                      <a:pt x="1352" y="10479"/>
                    </a:cubicBezTo>
                    <a:cubicBezTo>
                      <a:pt x="-1690" y="7436"/>
                      <a:pt x="1352" y="4394"/>
                      <a:pt x="1352" y="1352"/>
                    </a:cubicBezTo>
                    <a:cubicBezTo>
                      <a:pt x="4394" y="-1690"/>
                      <a:pt x="7437" y="1352"/>
                      <a:pt x="10479" y="1352"/>
                    </a:cubicBezTo>
                    <a:cubicBezTo>
                      <a:pt x="31775" y="31775"/>
                      <a:pt x="56113" y="156506"/>
                      <a:pt x="56113" y="162591"/>
                    </a:cubicBezTo>
                    <a:cubicBezTo>
                      <a:pt x="56113" y="168676"/>
                      <a:pt x="56113" y="171718"/>
                      <a:pt x="50028" y="171718"/>
                    </a:cubicBezTo>
                    <a:cubicBezTo>
                      <a:pt x="53070" y="171718"/>
                      <a:pt x="53070" y="171718"/>
                      <a:pt x="50028" y="17171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7511C51F-5EDD-4727-936F-CC08A75401BE}"/>
                  </a:ext>
                </a:extLst>
              </p:cNvPr>
              <p:cNvSpPr/>
              <p:nvPr/>
            </p:nvSpPr>
            <p:spPr>
              <a:xfrm>
                <a:off x="2823300" y="9967606"/>
                <a:ext cx="33739" cy="57802"/>
              </a:xfrm>
              <a:custGeom>
                <a:avLst/>
                <a:gdLst>
                  <a:gd name="connsiteX0" fmla="*/ 27380 w 33739"/>
                  <a:gd name="connsiteY0" fmla="*/ 57803 h 57802"/>
                  <a:gd name="connsiteX1" fmla="*/ 21296 w 33739"/>
                  <a:gd name="connsiteY1" fmla="*/ 54760 h 57802"/>
                  <a:gd name="connsiteX2" fmla="*/ 0 w 33739"/>
                  <a:gd name="connsiteY2" fmla="*/ 6085 h 57802"/>
                  <a:gd name="connsiteX3" fmla="*/ 3042 w 33739"/>
                  <a:gd name="connsiteY3" fmla="*/ 0 h 57802"/>
                  <a:gd name="connsiteX4" fmla="*/ 9127 w 33739"/>
                  <a:gd name="connsiteY4" fmla="*/ 3042 h 57802"/>
                  <a:gd name="connsiteX5" fmla="*/ 30423 w 33739"/>
                  <a:gd name="connsiteY5" fmla="*/ 51719 h 57802"/>
                  <a:gd name="connsiteX6" fmla="*/ 27380 w 33739"/>
                  <a:gd name="connsiteY6" fmla="*/ 57803 h 57802"/>
                  <a:gd name="connsiteX7" fmla="*/ 27380 w 33739"/>
                  <a:gd name="connsiteY7" fmla="*/ 57803 h 57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739" h="57802">
                    <a:moveTo>
                      <a:pt x="27380" y="57803"/>
                    </a:moveTo>
                    <a:cubicBezTo>
                      <a:pt x="24338" y="57803"/>
                      <a:pt x="24338" y="57803"/>
                      <a:pt x="21296" y="54760"/>
                    </a:cubicBezTo>
                    <a:lnTo>
                      <a:pt x="0" y="6085"/>
                    </a:lnTo>
                    <a:cubicBezTo>
                      <a:pt x="0" y="3042"/>
                      <a:pt x="0" y="0"/>
                      <a:pt x="3042" y="0"/>
                    </a:cubicBezTo>
                    <a:cubicBezTo>
                      <a:pt x="6085" y="0"/>
                      <a:pt x="9127" y="0"/>
                      <a:pt x="9127" y="3042"/>
                    </a:cubicBezTo>
                    <a:lnTo>
                      <a:pt x="30423" y="51719"/>
                    </a:lnTo>
                    <a:cubicBezTo>
                      <a:pt x="36507" y="54760"/>
                      <a:pt x="33465" y="57803"/>
                      <a:pt x="27380" y="57803"/>
                    </a:cubicBezTo>
                    <a:cubicBezTo>
                      <a:pt x="30423" y="57803"/>
                      <a:pt x="30423" y="57803"/>
                      <a:pt x="27380" y="5780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7A02F31A-26D2-4853-BA50-B30932AA3C18}"/>
                  </a:ext>
                </a:extLst>
              </p:cNvPr>
              <p:cNvSpPr/>
              <p:nvPr/>
            </p:nvSpPr>
            <p:spPr>
              <a:xfrm>
                <a:off x="2805046" y="9874057"/>
                <a:ext cx="102676" cy="57042"/>
              </a:xfrm>
              <a:custGeom>
                <a:avLst/>
                <a:gdLst>
                  <a:gd name="connsiteX0" fmla="*/ 6085 w 102676"/>
                  <a:gd name="connsiteY0" fmla="*/ 57042 h 57042"/>
                  <a:gd name="connsiteX1" fmla="*/ 0 w 102676"/>
                  <a:gd name="connsiteY1" fmla="*/ 50958 h 57042"/>
                  <a:gd name="connsiteX2" fmla="*/ 6085 w 102676"/>
                  <a:gd name="connsiteY2" fmla="*/ 44873 h 57042"/>
                  <a:gd name="connsiteX3" fmla="*/ 91268 w 102676"/>
                  <a:gd name="connsiteY3" fmla="*/ 2282 h 57042"/>
                  <a:gd name="connsiteX4" fmla="*/ 100394 w 102676"/>
                  <a:gd name="connsiteY4" fmla="*/ 2282 h 57042"/>
                  <a:gd name="connsiteX5" fmla="*/ 100394 w 102676"/>
                  <a:gd name="connsiteY5" fmla="*/ 11408 h 57042"/>
                  <a:gd name="connsiteX6" fmla="*/ 6085 w 102676"/>
                  <a:gd name="connsiteY6" fmla="*/ 57042 h 57042"/>
                  <a:gd name="connsiteX7" fmla="*/ 6085 w 102676"/>
                  <a:gd name="connsiteY7" fmla="*/ 57042 h 57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676" h="57042">
                    <a:moveTo>
                      <a:pt x="6085" y="57042"/>
                    </a:moveTo>
                    <a:cubicBezTo>
                      <a:pt x="3042" y="57042"/>
                      <a:pt x="0" y="54001"/>
                      <a:pt x="0" y="50958"/>
                    </a:cubicBezTo>
                    <a:cubicBezTo>
                      <a:pt x="0" y="47916"/>
                      <a:pt x="3042" y="44873"/>
                      <a:pt x="6085" y="44873"/>
                    </a:cubicBezTo>
                    <a:cubicBezTo>
                      <a:pt x="57803" y="41831"/>
                      <a:pt x="91268" y="5324"/>
                      <a:pt x="91268" y="2282"/>
                    </a:cubicBezTo>
                    <a:cubicBezTo>
                      <a:pt x="94310" y="-761"/>
                      <a:pt x="97352" y="-761"/>
                      <a:pt x="100394" y="2282"/>
                    </a:cubicBezTo>
                    <a:cubicBezTo>
                      <a:pt x="103437" y="5324"/>
                      <a:pt x="103437" y="8367"/>
                      <a:pt x="100394" y="11408"/>
                    </a:cubicBezTo>
                    <a:cubicBezTo>
                      <a:pt x="100394" y="14451"/>
                      <a:pt x="63887" y="57042"/>
                      <a:pt x="6085" y="57042"/>
                    </a:cubicBezTo>
                    <a:cubicBezTo>
                      <a:pt x="6085" y="57042"/>
                      <a:pt x="6085" y="57042"/>
                      <a:pt x="6085" y="5704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0881EA9C-9531-496D-A785-C1EEE2CE53A7}"/>
                  </a:ext>
                </a:extLst>
              </p:cNvPr>
              <p:cNvSpPr/>
              <p:nvPr/>
            </p:nvSpPr>
            <p:spPr>
              <a:xfrm>
                <a:off x="2913215" y="9817184"/>
                <a:ext cx="119245" cy="247774"/>
              </a:xfrm>
              <a:custGeom>
                <a:avLst/>
                <a:gdLst>
                  <a:gd name="connsiteX0" fmla="*/ 98704 w 119245"/>
                  <a:gd name="connsiteY0" fmla="*/ 247775 h 247774"/>
                  <a:gd name="connsiteX1" fmla="*/ 46986 w 119245"/>
                  <a:gd name="connsiteY1" fmla="*/ 199099 h 247774"/>
                  <a:gd name="connsiteX2" fmla="*/ 46986 w 119245"/>
                  <a:gd name="connsiteY2" fmla="*/ 196056 h 247774"/>
                  <a:gd name="connsiteX3" fmla="*/ 13521 w 119245"/>
                  <a:gd name="connsiteY3" fmla="*/ 116957 h 247774"/>
                  <a:gd name="connsiteX4" fmla="*/ 16563 w 119245"/>
                  <a:gd name="connsiteY4" fmla="*/ 107831 h 247774"/>
                  <a:gd name="connsiteX5" fmla="*/ 25690 w 119245"/>
                  <a:gd name="connsiteY5" fmla="*/ 110874 h 247774"/>
                  <a:gd name="connsiteX6" fmla="*/ 62197 w 119245"/>
                  <a:gd name="connsiteY6" fmla="*/ 193014 h 247774"/>
                  <a:gd name="connsiteX7" fmla="*/ 101746 w 119245"/>
                  <a:gd name="connsiteY7" fmla="*/ 235605 h 247774"/>
                  <a:gd name="connsiteX8" fmla="*/ 104789 w 119245"/>
                  <a:gd name="connsiteY8" fmla="*/ 232564 h 247774"/>
                  <a:gd name="connsiteX9" fmla="*/ 1352 w 119245"/>
                  <a:gd name="connsiteY9" fmla="*/ 10479 h 247774"/>
                  <a:gd name="connsiteX10" fmla="*/ 1352 w 119245"/>
                  <a:gd name="connsiteY10" fmla="*/ 1352 h 247774"/>
                  <a:gd name="connsiteX11" fmla="*/ 10479 w 119245"/>
                  <a:gd name="connsiteY11" fmla="*/ 1352 h 247774"/>
                  <a:gd name="connsiteX12" fmla="*/ 116958 w 119245"/>
                  <a:gd name="connsiteY12" fmla="*/ 235605 h 247774"/>
                  <a:gd name="connsiteX13" fmla="*/ 98704 w 119245"/>
                  <a:gd name="connsiteY13" fmla="*/ 247775 h 247774"/>
                  <a:gd name="connsiteX14" fmla="*/ 98704 w 119245"/>
                  <a:gd name="connsiteY14" fmla="*/ 247775 h 247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9245" h="247774">
                    <a:moveTo>
                      <a:pt x="98704" y="247775"/>
                    </a:moveTo>
                    <a:cubicBezTo>
                      <a:pt x="71324" y="247775"/>
                      <a:pt x="50028" y="202141"/>
                      <a:pt x="46986" y="199099"/>
                    </a:cubicBezTo>
                    <a:cubicBezTo>
                      <a:pt x="46986" y="199099"/>
                      <a:pt x="46986" y="196056"/>
                      <a:pt x="46986" y="196056"/>
                    </a:cubicBezTo>
                    <a:cubicBezTo>
                      <a:pt x="43944" y="186930"/>
                      <a:pt x="28732" y="144338"/>
                      <a:pt x="13521" y="116957"/>
                    </a:cubicBezTo>
                    <a:cubicBezTo>
                      <a:pt x="10479" y="113915"/>
                      <a:pt x="13521" y="110874"/>
                      <a:pt x="16563" y="107831"/>
                    </a:cubicBezTo>
                    <a:cubicBezTo>
                      <a:pt x="19606" y="104789"/>
                      <a:pt x="22648" y="107831"/>
                      <a:pt x="25690" y="110874"/>
                    </a:cubicBezTo>
                    <a:cubicBezTo>
                      <a:pt x="31775" y="123042"/>
                      <a:pt x="59155" y="174760"/>
                      <a:pt x="62197" y="193014"/>
                    </a:cubicBezTo>
                    <a:cubicBezTo>
                      <a:pt x="68282" y="205183"/>
                      <a:pt x="86535" y="235605"/>
                      <a:pt x="101746" y="235605"/>
                    </a:cubicBezTo>
                    <a:cubicBezTo>
                      <a:pt x="101746" y="235605"/>
                      <a:pt x="101746" y="235605"/>
                      <a:pt x="104789" y="232564"/>
                    </a:cubicBezTo>
                    <a:cubicBezTo>
                      <a:pt x="113916" y="217352"/>
                      <a:pt x="89577" y="132169"/>
                      <a:pt x="1352" y="10479"/>
                    </a:cubicBezTo>
                    <a:cubicBezTo>
                      <a:pt x="-1690" y="7436"/>
                      <a:pt x="1352" y="4395"/>
                      <a:pt x="1352" y="1352"/>
                    </a:cubicBezTo>
                    <a:cubicBezTo>
                      <a:pt x="4394" y="-1690"/>
                      <a:pt x="7437" y="1352"/>
                      <a:pt x="10479" y="1352"/>
                    </a:cubicBezTo>
                    <a:cubicBezTo>
                      <a:pt x="92620" y="113915"/>
                      <a:pt x="129127" y="208225"/>
                      <a:pt x="116958" y="235605"/>
                    </a:cubicBezTo>
                    <a:cubicBezTo>
                      <a:pt x="110873" y="244732"/>
                      <a:pt x="104789" y="247775"/>
                      <a:pt x="98704" y="247775"/>
                    </a:cubicBezTo>
                    <a:cubicBezTo>
                      <a:pt x="101746" y="247775"/>
                      <a:pt x="98704" y="247775"/>
                      <a:pt x="98704" y="24777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917C8970-0A75-4391-B4B6-DD5B38E2CF5D}"/>
                </a:ext>
              </a:extLst>
            </p:cNvPr>
            <p:cNvSpPr/>
            <p:nvPr/>
          </p:nvSpPr>
          <p:spPr>
            <a:xfrm>
              <a:off x="2473427" y="8513811"/>
              <a:ext cx="757730" cy="1374696"/>
            </a:xfrm>
            <a:custGeom>
              <a:avLst/>
              <a:gdLst>
                <a:gd name="connsiteX0" fmla="*/ 724069 w 757730"/>
                <a:gd name="connsiteY0" fmla="*/ 23936 h 1374696"/>
                <a:gd name="connsiteX1" fmla="*/ 593253 w 757730"/>
                <a:gd name="connsiteY1" fmla="*/ 525908 h 1374696"/>
                <a:gd name="connsiteX2" fmla="*/ 285985 w 757730"/>
                <a:gd name="connsiteY2" fmla="*/ 805796 h 1374696"/>
                <a:gd name="connsiteX3" fmla="*/ 447224 w 757730"/>
                <a:gd name="connsiteY3" fmla="*/ 1259092 h 1374696"/>
                <a:gd name="connsiteX4" fmla="*/ 279900 w 757730"/>
                <a:gd name="connsiteY4" fmla="*/ 1374697 h 1374696"/>
                <a:gd name="connsiteX5" fmla="*/ 13 w 757730"/>
                <a:gd name="connsiteY5" fmla="*/ 729739 h 1374696"/>
                <a:gd name="connsiteX6" fmla="*/ 724069 w 757730"/>
                <a:gd name="connsiteY6" fmla="*/ 23936 h 1374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7730" h="1374696">
                  <a:moveTo>
                    <a:pt x="724069" y="23936"/>
                  </a:moveTo>
                  <a:cubicBezTo>
                    <a:pt x="827506" y="112162"/>
                    <a:pt x="666267" y="416387"/>
                    <a:pt x="593253" y="525908"/>
                  </a:cubicBezTo>
                  <a:cubicBezTo>
                    <a:pt x="529365" y="623260"/>
                    <a:pt x="285985" y="805796"/>
                    <a:pt x="285985" y="805796"/>
                  </a:cubicBezTo>
                  <a:lnTo>
                    <a:pt x="447224" y="1259092"/>
                  </a:lnTo>
                  <a:lnTo>
                    <a:pt x="279900" y="1374697"/>
                  </a:lnTo>
                  <a:cubicBezTo>
                    <a:pt x="279900" y="1374697"/>
                    <a:pt x="3055" y="857514"/>
                    <a:pt x="13" y="729739"/>
                  </a:cubicBezTo>
                  <a:cubicBezTo>
                    <a:pt x="-3029" y="589796"/>
                    <a:pt x="526323" y="-140345"/>
                    <a:pt x="724069" y="23936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B8C87AC6-73D2-4785-8423-7F88A804DA66}"/>
                </a:ext>
              </a:extLst>
            </p:cNvPr>
            <p:cNvSpPr/>
            <p:nvPr/>
          </p:nvSpPr>
          <p:spPr>
            <a:xfrm>
              <a:off x="3033976" y="8501140"/>
              <a:ext cx="206149" cy="581170"/>
            </a:xfrm>
            <a:custGeom>
              <a:avLst/>
              <a:gdLst>
                <a:gd name="connsiteX0" fmla="*/ 5324 w 206149"/>
                <a:gd name="connsiteY0" fmla="*/ 581171 h 581170"/>
                <a:gd name="connsiteX1" fmla="*/ 2282 w 206149"/>
                <a:gd name="connsiteY1" fmla="*/ 581171 h 581170"/>
                <a:gd name="connsiteX2" fmla="*/ 2282 w 206149"/>
                <a:gd name="connsiteY2" fmla="*/ 572044 h 581170"/>
                <a:gd name="connsiteX3" fmla="*/ 193944 w 206149"/>
                <a:gd name="connsiteY3" fmla="*/ 179593 h 581170"/>
                <a:gd name="connsiteX4" fmla="*/ 145268 w 206149"/>
                <a:gd name="connsiteY4" fmla="*/ 33565 h 581170"/>
                <a:gd name="connsiteX5" fmla="*/ 87465 w 206149"/>
                <a:gd name="connsiteY5" fmla="*/ 12269 h 581170"/>
                <a:gd name="connsiteX6" fmla="*/ 81380 w 206149"/>
                <a:gd name="connsiteY6" fmla="*/ 6185 h 581170"/>
                <a:gd name="connsiteX7" fmla="*/ 87465 w 206149"/>
                <a:gd name="connsiteY7" fmla="*/ 101 h 581170"/>
                <a:gd name="connsiteX8" fmla="*/ 154394 w 206149"/>
                <a:gd name="connsiteY8" fmla="*/ 24439 h 581170"/>
                <a:gd name="connsiteX9" fmla="*/ 206113 w 206149"/>
                <a:gd name="connsiteY9" fmla="*/ 176551 h 581170"/>
                <a:gd name="connsiteX10" fmla="*/ 11408 w 206149"/>
                <a:gd name="connsiteY10" fmla="*/ 575086 h 581170"/>
                <a:gd name="connsiteX11" fmla="*/ 5324 w 206149"/>
                <a:gd name="connsiteY11" fmla="*/ 581171 h 581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149" h="581170">
                  <a:moveTo>
                    <a:pt x="5324" y="581171"/>
                  </a:moveTo>
                  <a:cubicBezTo>
                    <a:pt x="5324" y="581171"/>
                    <a:pt x="2282" y="581171"/>
                    <a:pt x="2282" y="581171"/>
                  </a:cubicBezTo>
                  <a:cubicBezTo>
                    <a:pt x="-761" y="578129"/>
                    <a:pt x="-761" y="575086"/>
                    <a:pt x="2282" y="572044"/>
                  </a:cubicBezTo>
                  <a:cubicBezTo>
                    <a:pt x="5324" y="569002"/>
                    <a:pt x="196986" y="359087"/>
                    <a:pt x="193944" y="179593"/>
                  </a:cubicBezTo>
                  <a:cubicBezTo>
                    <a:pt x="190901" y="109621"/>
                    <a:pt x="175690" y="60946"/>
                    <a:pt x="145268" y="33565"/>
                  </a:cubicBezTo>
                  <a:cubicBezTo>
                    <a:pt x="117887" y="9227"/>
                    <a:pt x="87465" y="12269"/>
                    <a:pt x="87465" y="12269"/>
                  </a:cubicBezTo>
                  <a:cubicBezTo>
                    <a:pt x="84423" y="12269"/>
                    <a:pt x="81380" y="9227"/>
                    <a:pt x="81380" y="6185"/>
                  </a:cubicBezTo>
                  <a:cubicBezTo>
                    <a:pt x="81380" y="3143"/>
                    <a:pt x="84423" y="101"/>
                    <a:pt x="87465" y="101"/>
                  </a:cubicBezTo>
                  <a:cubicBezTo>
                    <a:pt x="87465" y="101"/>
                    <a:pt x="123972" y="-2942"/>
                    <a:pt x="154394" y="24439"/>
                  </a:cubicBezTo>
                  <a:cubicBezTo>
                    <a:pt x="187859" y="54861"/>
                    <a:pt x="206113" y="106579"/>
                    <a:pt x="206113" y="176551"/>
                  </a:cubicBezTo>
                  <a:cubicBezTo>
                    <a:pt x="209155" y="359087"/>
                    <a:pt x="20535" y="565959"/>
                    <a:pt x="11408" y="575086"/>
                  </a:cubicBezTo>
                  <a:cubicBezTo>
                    <a:pt x="8366" y="581171"/>
                    <a:pt x="5324" y="581171"/>
                    <a:pt x="5324" y="581171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290EA6E0-D82C-4597-9D57-6793D48AAFF9}"/>
                </a:ext>
              </a:extLst>
            </p:cNvPr>
            <p:cNvGrpSpPr/>
            <p:nvPr/>
          </p:nvGrpSpPr>
          <p:grpSpPr>
            <a:xfrm>
              <a:off x="4947416" y="8433609"/>
              <a:ext cx="961571" cy="520926"/>
              <a:chOff x="4947416" y="8433609"/>
              <a:chExt cx="961571" cy="520926"/>
            </a:xfrm>
          </p:grpSpPr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3CA8803E-2FE0-4224-8BAF-2E3C69099E75}"/>
                  </a:ext>
                </a:extLst>
              </p:cNvPr>
              <p:cNvSpPr/>
              <p:nvPr/>
            </p:nvSpPr>
            <p:spPr>
              <a:xfrm>
                <a:off x="4947416" y="8494065"/>
                <a:ext cx="957062" cy="458518"/>
              </a:xfrm>
              <a:custGeom>
                <a:avLst/>
                <a:gdLst>
                  <a:gd name="connsiteX0" fmla="*/ 5461 w 957062"/>
                  <a:gd name="connsiteY0" fmla="*/ 423963 h 458518"/>
                  <a:gd name="connsiteX1" fmla="*/ 550024 w 957062"/>
                  <a:gd name="connsiteY1" fmla="*/ 350950 h 458518"/>
                  <a:gd name="connsiteX2" fmla="*/ 951602 w 957062"/>
                  <a:gd name="connsiteY2" fmla="*/ 34555 h 458518"/>
                  <a:gd name="connsiteX3" fmla="*/ 407038 w 957062"/>
                  <a:gd name="connsiteY3" fmla="*/ 107569 h 458518"/>
                  <a:gd name="connsiteX4" fmla="*/ 5461 w 957062"/>
                  <a:gd name="connsiteY4" fmla="*/ 423963 h 458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7062" h="458518">
                    <a:moveTo>
                      <a:pt x="5461" y="423963"/>
                    </a:moveTo>
                    <a:cubicBezTo>
                      <a:pt x="45010" y="490893"/>
                      <a:pt x="288391" y="457428"/>
                      <a:pt x="550024" y="350950"/>
                    </a:cubicBezTo>
                    <a:cubicBezTo>
                      <a:pt x="811658" y="244471"/>
                      <a:pt x="991151" y="101484"/>
                      <a:pt x="951602" y="34555"/>
                    </a:cubicBezTo>
                    <a:cubicBezTo>
                      <a:pt x="912053" y="-32375"/>
                      <a:pt x="668672" y="1090"/>
                      <a:pt x="407038" y="107569"/>
                    </a:cubicBezTo>
                    <a:cubicBezTo>
                      <a:pt x="145405" y="217090"/>
                      <a:pt x="-34088" y="357034"/>
                      <a:pt x="5461" y="423963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40" name="图形 1">
                <a:extLst>
                  <a:ext uri="{FF2B5EF4-FFF2-40B4-BE49-F238E27FC236}">
                    <a16:creationId xmlns:a16="http://schemas.microsoft.com/office/drawing/2014/main" id="{F4959019-647D-4F64-9D76-D16CA65F5ACA}"/>
                  </a:ext>
                </a:extLst>
              </p:cNvPr>
              <p:cNvGrpSpPr/>
              <p:nvPr/>
            </p:nvGrpSpPr>
            <p:grpSpPr>
              <a:xfrm>
                <a:off x="4947416" y="8433609"/>
                <a:ext cx="961571" cy="520926"/>
                <a:chOff x="4947416" y="8433609"/>
                <a:chExt cx="961571" cy="520926"/>
              </a:xfrm>
            </p:grpSpPr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4B902CCA-8695-4011-8A0C-08A6E91946E2}"/>
                    </a:ext>
                  </a:extLst>
                </p:cNvPr>
                <p:cNvSpPr/>
                <p:nvPr/>
              </p:nvSpPr>
              <p:spPr>
                <a:xfrm>
                  <a:off x="5181527" y="8433609"/>
                  <a:ext cx="431518" cy="280588"/>
                </a:xfrm>
                <a:custGeom>
                  <a:avLst/>
                  <a:gdLst>
                    <a:gd name="connsiteX0" fmla="*/ 17772 w 431518"/>
                    <a:gd name="connsiteY0" fmla="*/ 280589 h 280588"/>
                    <a:gd name="connsiteX1" fmla="*/ 39068 w 431518"/>
                    <a:gd name="connsiteY1" fmla="*/ 88927 h 280588"/>
                    <a:gd name="connsiteX2" fmla="*/ 273322 w 431518"/>
                    <a:gd name="connsiteY2" fmla="*/ 701 h 280588"/>
                    <a:gd name="connsiteX3" fmla="*/ 431519 w 431518"/>
                    <a:gd name="connsiteY3" fmla="*/ 119349 h 280588"/>
                    <a:gd name="connsiteX4" fmla="*/ 17772 w 431518"/>
                    <a:gd name="connsiteY4" fmla="*/ 280589 h 280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31518" h="280588">
                      <a:moveTo>
                        <a:pt x="17772" y="280589"/>
                      </a:moveTo>
                      <a:cubicBezTo>
                        <a:pt x="17772" y="280589"/>
                        <a:pt x="-33946" y="152814"/>
                        <a:pt x="39068" y="88927"/>
                      </a:cubicBezTo>
                      <a:cubicBezTo>
                        <a:pt x="87744" y="46335"/>
                        <a:pt x="209434" y="6786"/>
                        <a:pt x="273322" y="701"/>
                      </a:cubicBezTo>
                      <a:cubicBezTo>
                        <a:pt x="382843" y="-8425"/>
                        <a:pt x="416308" y="73715"/>
                        <a:pt x="431519" y="119349"/>
                      </a:cubicBezTo>
                      <a:lnTo>
                        <a:pt x="17772" y="280589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3" name="任意多边形: 形状 42">
                  <a:extLst>
                    <a:ext uri="{FF2B5EF4-FFF2-40B4-BE49-F238E27FC236}">
                      <a16:creationId xmlns:a16="http://schemas.microsoft.com/office/drawing/2014/main" id="{5ECD2E7D-4865-44A0-BDDE-D025753F168F}"/>
                    </a:ext>
                  </a:extLst>
                </p:cNvPr>
                <p:cNvSpPr/>
                <p:nvPr/>
              </p:nvSpPr>
              <p:spPr>
                <a:xfrm>
                  <a:off x="4947416" y="8497108"/>
                  <a:ext cx="961571" cy="457428"/>
                </a:xfrm>
                <a:custGeom>
                  <a:avLst/>
                  <a:gdLst>
                    <a:gd name="connsiteX0" fmla="*/ 437461 w 961571"/>
                    <a:gd name="connsiteY0" fmla="*/ 174498 h 457428"/>
                    <a:gd name="connsiteX1" fmla="*/ 87602 w 961571"/>
                    <a:gd name="connsiteY1" fmla="*/ 457428 h 457428"/>
                    <a:gd name="connsiteX2" fmla="*/ 5461 w 961571"/>
                    <a:gd name="connsiteY2" fmla="*/ 423964 h 457428"/>
                    <a:gd name="connsiteX3" fmla="*/ 407038 w 961571"/>
                    <a:gd name="connsiteY3" fmla="*/ 107569 h 457428"/>
                    <a:gd name="connsiteX4" fmla="*/ 951602 w 961571"/>
                    <a:gd name="connsiteY4" fmla="*/ 34555 h 457428"/>
                    <a:gd name="connsiteX5" fmla="*/ 939433 w 961571"/>
                    <a:gd name="connsiteY5" fmla="*/ 98442 h 457428"/>
                    <a:gd name="connsiteX6" fmla="*/ 437461 w 961571"/>
                    <a:gd name="connsiteY6" fmla="*/ 174498 h 4574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61571" h="457428">
                      <a:moveTo>
                        <a:pt x="437461" y="174498"/>
                      </a:moveTo>
                      <a:cubicBezTo>
                        <a:pt x="218419" y="262724"/>
                        <a:pt x="69348" y="387456"/>
                        <a:pt x="87602" y="457428"/>
                      </a:cubicBezTo>
                      <a:cubicBezTo>
                        <a:pt x="45010" y="454386"/>
                        <a:pt x="14588" y="442217"/>
                        <a:pt x="5461" y="423964"/>
                      </a:cubicBezTo>
                      <a:cubicBezTo>
                        <a:pt x="-34088" y="357034"/>
                        <a:pt x="145405" y="217090"/>
                        <a:pt x="407038" y="107569"/>
                      </a:cubicBezTo>
                      <a:cubicBezTo>
                        <a:pt x="668672" y="1090"/>
                        <a:pt x="912053" y="-32374"/>
                        <a:pt x="951602" y="34555"/>
                      </a:cubicBezTo>
                      <a:cubicBezTo>
                        <a:pt x="963771" y="55851"/>
                        <a:pt x="969855" y="68020"/>
                        <a:pt x="939433" y="98442"/>
                      </a:cubicBezTo>
                      <a:cubicBezTo>
                        <a:pt x="890757" y="40639"/>
                        <a:pt x="662588" y="80189"/>
                        <a:pt x="437461" y="174498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34D83B78-F831-49CF-9B2F-A66633BEA16F}"/>
                    </a:ext>
                  </a:extLst>
                </p:cNvPr>
                <p:cNvSpPr/>
                <p:nvPr/>
              </p:nvSpPr>
              <p:spPr>
                <a:xfrm>
                  <a:off x="5184088" y="8513409"/>
                  <a:ext cx="428957" cy="173408"/>
                </a:xfrm>
                <a:custGeom>
                  <a:avLst/>
                  <a:gdLst>
                    <a:gd name="connsiteX0" fmla="*/ 6085 w 428957"/>
                    <a:gd name="connsiteY0" fmla="*/ 173408 h 173408"/>
                    <a:gd name="connsiteX1" fmla="*/ 0 w 428957"/>
                    <a:gd name="connsiteY1" fmla="*/ 170366 h 173408"/>
                    <a:gd name="connsiteX2" fmla="*/ 3042 w 428957"/>
                    <a:gd name="connsiteY2" fmla="*/ 161240 h 173408"/>
                    <a:gd name="connsiteX3" fmla="*/ 422873 w 428957"/>
                    <a:gd name="connsiteY3" fmla="*/ 0 h 173408"/>
                    <a:gd name="connsiteX4" fmla="*/ 428958 w 428957"/>
                    <a:gd name="connsiteY4" fmla="*/ 3042 h 173408"/>
                    <a:gd name="connsiteX5" fmla="*/ 425916 w 428957"/>
                    <a:gd name="connsiteY5" fmla="*/ 9127 h 173408"/>
                    <a:gd name="connsiteX6" fmla="*/ 6085 w 428957"/>
                    <a:gd name="connsiteY6" fmla="*/ 173408 h 173408"/>
                    <a:gd name="connsiteX7" fmla="*/ 6085 w 428957"/>
                    <a:gd name="connsiteY7" fmla="*/ 173408 h 17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8957" h="173408">
                      <a:moveTo>
                        <a:pt x="6085" y="173408"/>
                      </a:moveTo>
                      <a:cubicBezTo>
                        <a:pt x="3042" y="173408"/>
                        <a:pt x="3042" y="173408"/>
                        <a:pt x="0" y="170366"/>
                      </a:cubicBezTo>
                      <a:cubicBezTo>
                        <a:pt x="0" y="167324"/>
                        <a:pt x="0" y="164282"/>
                        <a:pt x="3042" y="161240"/>
                      </a:cubicBezTo>
                      <a:cubicBezTo>
                        <a:pt x="182535" y="63888"/>
                        <a:pt x="419831" y="3042"/>
                        <a:pt x="422873" y="0"/>
                      </a:cubicBezTo>
                      <a:cubicBezTo>
                        <a:pt x="425916" y="0"/>
                        <a:pt x="428958" y="0"/>
                        <a:pt x="428958" y="3042"/>
                      </a:cubicBezTo>
                      <a:cubicBezTo>
                        <a:pt x="428958" y="6084"/>
                        <a:pt x="428958" y="9127"/>
                        <a:pt x="425916" y="9127"/>
                      </a:cubicBezTo>
                      <a:cubicBezTo>
                        <a:pt x="422873" y="12169"/>
                        <a:pt x="185577" y="76056"/>
                        <a:pt x="6085" y="173408"/>
                      </a:cubicBezTo>
                      <a:cubicBezTo>
                        <a:pt x="6085" y="173408"/>
                        <a:pt x="6085" y="173408"/>
                        <a:pt x="6085" y="173408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C6898FFC-B648-4D37-B04C-925E79F8C5F9}"/>
                  </a:ext>
                </a:extLst>
              </p:cNvPr>
              <p:cNvSpPr/>
              <p:nvPr/>
            </p:nvSpPr>
            <p:spPr>
              <a:xfrm>
                <a:off x="5190173" y="8586399"/>
                <a:ext cx="486546" cy="207732"/>
              </a:xfrm>
              <a:custGeom>
                <a:avLst/>
                <a:gdLst>
                  <a:gd name="connsiteX0" fmla="*/ 0 w 486546"/>
                  <a:gd name="connsiteY0" fmla="*/ 188644 h 207732"/>
                  <a:gd name="connsiteX1" fmla="*/ 456338 w 486546"/>
                  <a:gd name="connsiteY1" fmla="*/ 24 h 207732"/>
                  <a:gd name="connsiteX2" fmla="*/ 0 w 486546"/>
                  <a:gd name="connsiteY2" fmla="*/ 188644 h 207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6546" h="207732">
                    <a:moveTo>
                      <a:pt x="0" y="188644"/>
                    </a:moveTo>
                    <a:cubicBezTo>
                      <a:pt x="0" y="155179"/>
                      <a:pt x="279887" y="6109"/>
                      <a:pt x="456338" y="24"/>
                    </a:cubicBezTo>
                    <a:cubicBezTo>
                      <a:pt x="629746" y="-3018"/>
                      <a:pt x="0" y="282953"/>
                      <a:pt x="0" y="188644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3F7ADAC1-0082-4780-BB7D-1D7CB91732C2}"/>
                </a:ext>
              </a:extLst>
            </p:cNvPr>
            <p:cNvSpPr/>
            <p:nvPr/>
          </p:nvSpPr>
          <p:spPr>
            <a:xfrm>
              <a:off x="4886130" y="8843477"/>
              <a:ext cx="159850" cy="129417"/>
            </a:xfrm>
            <a:custGeom>
              <a:avLst/>
              <a:gdLst>
                <a:gd name="connsiteX0" fmla="*/ 103254 w 159850"/>
                <a:gd name="connsiteY0" fmla="*/ 1538 h 129417"/>
                <a:gd name="connsiteX1" fmla="*/ 2859 w 159850"/>
                <a:gd name="connsiteY1" fmla="*/ 50213 h 129417"/>
                <a:gd name="connsiteX2" fmla="*/ 24155 w 159850"/>
                <a:gd name="connsiteY2" fmla="*/ 129312 h 129417"/>
                <a:gd name="connsiteX3" fmla="*/ 60662 w 159850"/>
                <a:gd name="connsiteY3" fmla="*/ 77594 h 129417"/>
                <a:gd name="connsiteX4" fmla="*/ 124549 w 159850"/>
                <a:gd name="connsiteY4" fmla="*/ 62383 h 129417"/>
                <a:gd name="connsiteX5" fmla="*/ 158014 w 159850"/>
                <a:gd name="connsiteY5" fmla="*/ 62383 h 129417"/>
                <a:gd name="connsiteX6" fmla="*/ 103254 w 159850"/>
                <a:gd name="connsiteY6" fmla="*/ 1538 h 12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850" h="129417">
                  <a:moveTo>
                    <a:pt x="103254" y="1538"/>
                  </a:moveTo>
                  <a:cubicBezTo>
                    <a:pt x="69789" y="-7589"/>
                    <a:pt x="21113" y="25875"/>
                    <a:pt x="2859" y="50213"/>
                  </a:cubicBezTo>
                  <a:cubicBezTo>
                    <a:pt x="-9310" y="68467"/>
                    <a:pt x="21113" y="132354"/>
                    <a:pt x="24155" y="129312"/>
                  </a:cubicBezTo>
                  <a:cubicBezTo>
                    <a:pt x="33282" y="117143"/>
                    <a:pt x="48493" y="86720"/>
                    <a:pt x="60662" y="77594"/>
                  </a:cubicBezTo>
                  <a:cubicBezTo>
                    <a:pt x="81958" y="62383"/>
                    <a:pt x="100211" y="59340"/>
                    <a:pt x="124549" y="62383"/>
                  </a:cubicBezTo>
                  <a:cubicBezTo>
                    <a:pt x="133676" y="62383"/>
                    <a:pt x="151930" y="71509"/>
                    <a:pt x="158014" y="62383"/>
                  </a:cubicBezTo>
                  <a:cubicBezTo>
                    <a:pt x="170183" y="38045"/>
                    <a:pt x="118465" y="4580"/>
                    <a:pt x="103254" y="1538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3A294C09-557C-4EA3-B0FF-54902156B40E}"/>
                </a:ext>
              </a:extLst>
            </p:cNvPr>
            <p:cNvSpPr/>
            <p:nvPr/>
          </p:nvSpPr>
          <p:spPr>
            <a:xfrm>
              <a:off x="4889750" y="8833550"/>
              <a:ext cx="169605" cy="139239"/>
            </a:xfrm>
            <a:custGeom>
              <a:avLst/>
              <a:gdLst>
                <a:gd name="connsiteX0" fmla="*/ 57042 w 169605"/>
                <a:gd name="connsiteY0" fmla="*/ 139239 h 139239"/>
                <a:gd name="connsiteX1" fmla="*/ 54000 w 169605"/>
                <a:gd name="connsiteY1" fmla="*/ 139239 h 139239"/>
                <a:gd name="connsiteX2" fmla="*/ 54000 w 169605"/>
                <a:gd name="connsiteY2" fmla="*/ 130112 h 139239"/>
                <a:gd name="connsiteX3" fmla="*/ 57042 w 169605"/>
                <a:gd name="connsiteY3" fmla="*/ 84478 h 139239"/>
                <a:gd name="connsiteX4" fmla="*/ 60085 w 169605"/>
                <a:gd name="connsiteY4" fmla="*/ 78394 h 139239"/>
                <a:gd name="connsiteX5" fmla="*/ 133099 w 169605"/>
                <a:gd name="connsiteY5" fmla="*/ 66225 h 139239"/>
                <a:gd name="connsiteX6" fmla="*/ 154394 w 169605"/>
                <a:gd name="connsiteY6" fmla="*/ 69267 h 139239"/>
                <a:gd name="connsiteX7" fmla="*/ 157437 w 169605"/>
                <a:gd name="connsiteY7" fmla="*/ 63183 h 139239"/>
                <a:gd name="connsiteX8" fmla="*/ 105718 w 169605"/>
                <a:gd name="connsiteY8" fmla="*/ 14506 h 139239"/>
                <a:gd name="connsiteX9" fmla="*/ 11409 w 169605"/>
                <a:gd name="connsiteY9" fmla="*/ 63183 h 139239"/>
                <a:gd name="connsiteX10" fmla="*/ 2282 w 169605"/>
                <a:gd name="connsiteY10" fmla="*/ 63183 h 139239"/>
                <a:gd name="connsiteX11" fmla="*/ 2282 w 169605"/>
                <a:gd name="connsiteY11" fmla="*/ 54056 h 139239"/>
                <a:gd name="connsiteX12" fmla="*/ 108761 w 169605"/>
                <a:gd name="connsiteY12" fmla="*/ 2338 h 139239"/>
                <a:gd name="connsiteX13" fmla="*/ 169606 w 169605"/>
                <a:gd name="connsiteY13" fmla="*/ 60140 h 139239"/>
                <a:gd name="connsiteX14" fmla="*/ 163521 w 169605"/>
                <a:gd name="connsiteY14" fmla="*/ 78394 h 139239"/>
                <a:gd name="connsiteX15" fmla="*/ 133099 w 169605"/>
                <a:gd name="connsiteY15" fmla="*/ 78394 h 139239"/>
                <a:gd name="connsiteX16" fmla="*/ 72254 w 169605"/>
                <a:gd name="connsiteY16" fmla="*/ 84478 h 139239"/>
                <a:gd name="connsiteX17" fmla="*/ 69211 w 169605"/>
                <a:gd name="connsiteY17" fmla="*/ 136197 h 139239"/>
                <a:gd name="connsiteX18" fmla="*/ 57042 w 169605"/>
                <a:gd name="connsiteY18" fmla="*/ 139239 h 13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9605" h="139239">
                  <a:moveTo>
                    <a:pt x="57042" y="139239"/>
                  </a:moveTo>
                  <a:cubicBezTo>
                    <a:pt x="57042" y="139239"/>
                    <a:pt x="54000" y="139239"/>
                    <a:pt x="54000" y="139239"/>
                  </a:cubicBezTo>
                  <a:cubicBezTo>
                    <a:pt x="50958" y="136197"/>
                    <a:pt x="50958" y="133155"/>
                    <a:pt x="54000" y="130112"/>
                  </a:cubicBezTo>
                  <a:cubicBezTo>
                    <a:pt x="63127" y="117943"/>
                    <a:pt x="57042" y="93605"/>
                    <a:pt x="57042" y="84478"/>
                  </a:cubicBezTo>
                  <a:cubicBezTo>
                    <a:pt x="57042" y="81436"/>
                    <a:pt x="57042" y="81436"/>
                    <a:pt x="60085" y="78394"/>
                  </a:cubicBezTo>
                  <a:cubicBezTo>
                    <a:pt x="84422" y="57098"/>
                    <a:pt x="111803" y="63183"/>
                    <a:pt x="133099" y="66225"/>
                  </a:cubicBezTo>
                  <a:cubicBezTo>
                    <a:pt x="142225" y="69267"/>
                    <a:pt x="151352" y="69267"/>
                    <a:pt x="154394" y="69267"/>
                  </a:cubicBezTo>
                  <a:cubicBezTo>
                    <a:pt x="154394" y="69267"/>
                    <a:pt x="157437" y="66225"/>
                    <a:pt x="157437" y="63183"/>
                  </a:cubicBezTo>
                  <a:cubicBezTo>
                    <a:pt x="154394" y="47971"/>
                    <a:pt x="133099" y="26676"/>
                    <a:pt x="105718" y="14506"/>
                  </a:cubicBezTo>
                  <a:cubicBezTo>
                    <a:pt x="69211" y="-705"/>
                    <a:pt x="11409" y="60140"/>
                    <a:pt x="11409" y="63183"/>
                  </a:cubicBezTo>
                  <a:cubicBezTo>
                    <a:pt x="8366" y="66225"/>
                    <a:pt x="5324" y="66225"/>
                    <a:pt x="2282" y="63183"/>
                  </a:cubicBezTo>
                  <a:cubicBezTo>
                    <a:pt x="-761" y="60140"/>
                    <a:pt x="-761" y="57098"/>
                    <a:pt x="2282" y="54056"/>
                  </a:cubicBezTo>
                  <a:cubicBezTo>
                    <a:pt x="5324" y="51013"/>
                    <a:pt x="63127" y="-12874"/>
                    <a:pt x="108761" y="2338"/>
                  </a:cubicBezTo>
                  <a:cubicBezTo>
                    <a:pt x="142225" y="14506"/>
                    <a:pt x="166563" y="41887"/>
                    <a:pt x="169606" y="60140"/>
                  </a:cubicBezTo>
                  <a:cubicBezTo>
                    <a:pt x="169606" y="66225"/>
                    <a:pt x="169606" y="72310"/>
                    <a:pt x="163521" y="78394"/>
                  </a:cubicBezTo>
                  <a:cubicBezTo>
                    <a:pt x="157437" y="84478"/>
                    <a:pt x="145267" y="81436"/>
                    <a:pt x="133099" y="78394"/>
                  </a:cubicBezTo>
                  <a:cubicBezTo>
                    <a:pt x="114845" y="75352"/>
                    <a:pt x="93549" y="69267"/>
                    <a:pt x="72254" y="84478"/>
                  </a:cubicBezTo>
                  <a:cubicBezTo>
                    <a:pt x="75296" y="93605"/>
                    <a:pt x="78338" y="117943"/>
                    <a:pt x="69211" y="136197"/>
                  </a:cubicBezTo>
                  <a:cubicBezTo>
                    <a:pt x="60085" y="139239"/>
                    <a:pt x="57042" y="139239"/>
                    <a:pt x="57042" y="139239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74" name="图形 1">
            <a:extLst>
              <a:ext uri="{FF2B5EF4-FFF2-40B4-BE49-F238E27FC236}">
                <a16:creationId xmlns:a16="http://schemas.microsoft.com/office/drawing/2014/main" id="{2A78C9DD-3294-4335-83F9-E94EDD70E0F8}"/>
              </a:ext>
            </a:extLst>
          </p:cNvPr>
          <p:cNvGrpSpPr/>
          <p:nvPr/>
        </p:nvGrpSpPr>
        <p:grpSpPr>
          <a:xfrm>
            <a:off x="6700587" y="2395662"/>
            <a:ext cx="3878873" cy="4462337"/>
            <a:chOff x="6553103" y="7999916"/>
            <a:chExt cx="3878873" cy="4462337"/>
          </a:xfrm>
        </p:grpSpPr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83FBB591-364A-4C2E-A36A-E684A57672BC}"/>
                </a:ext>
              </a:extLst>
            </p:cNvPr>
            <p:cNvSpPr/>
            <p:nvPr/>
          </p:nvSpPr>
          <p:spPr>
            <a:xfrm>
              <a:off x="9528047" y="9833747"/>
              <a:ext cx="100773" cy="173249"/>
            </a:xfrm>
            <a:custGeom>
              <a:avLst/>
              <a:gdLst>
                <a:gd name="connsiteX0" fmla="*/ 100774 w 100773"/>
                <a:gd name="connsiteY0" fmla="*/ 0 h 173249"/>
                <a:gd name="connsiteX1" fmla="*/ 15590 w 100773"/>
                <a:gd name="connsiteY1" fmla="*/ 91268 h 173249"/>
                <a:gd name="connsiteX2" fmla="*/ 6464 w 100773"/>
                <a:gd name="connsiteY2" fmla="*/ 170366 h 173249"/>
                <a:gd name="connsiteX3" fmla="*/ 85562 w 100773"/>
                <a:gd name="connsiteY3" fmla="*/ 82140 h 173249"/>
                <a:gd name="connsiteX4" fmla="*/ 100774 w 100773"/>
                <a:gd name="connsiteY4" fmla="*/ 0 h 173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773" h="173249">
                  <a:moveTo>
                    <a:pt x="100774" y="0"/>
                  </a:moveTo>
                  <a:cubicBezTo>
                    <a:pt x="100774" y="0"/>
                    <a:pt x="24717" y="60845"/>
                    <a:pt x="15590" y="91268"/>
                  </a:cubicBezTo>
                  <a:cubicBezTo>
                    <a:pt x="6464" y="118648"/>
                    <a:pt x="-8747" y="161239"/>
                    <a:pt x="6464" y="170366"/>
                  </a:cubicBezTo>
                  <a:cubicBezTo>
                    <a:pt x="39929" y="191662"/>
                    <a:pt x="52098" y="88225"/>
                    <a:pt x="85562" y="82140"/>
                  </a:cubicBezTo>
                  <a:cubicBezTo>
                    <a:pt x="97732" y="79099"/>
                    <a:pt x="100774" y="0"/>
                    <a:pt x="100774" y="0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BD617B4C-E48F-41B6-A1ED-7EA130C05A64}"/>
                </a:ext>
              </a:extLst>
            </p:cNvPr>
            <p:cNvSpPr/>
            <p:nvPr/>
          </p:nvSpPr>
          <p:spPr>
            <a:xfrm>
              <a:off x="7843018" y="8772900"/>
              <a:ext cx="847936" cy="896600"/>
            </a:xfrm>
            <a:custGeom>
              <a:avLst/>
              <a:gdLst>
                <a:gd name="connsiteX0" fmla="*/ 790986 w 847936"/>
                <a:gd name="connsiteY0" fmla="*/ 5185 h 896600"/>
                <a:gd name="connsiteX1" fmla="*/ 508056 w 847936"/>
                <a:gd name="connsiteY1" fmla="*/ 282030 h 896600"/>
                <a:gd name="connsiteX2" fmla="*/ 352902 w 847936"/>
                <a:gd name="connsiteY2" fmla="*/ 637974 h 896600"/>
                <a:gd name="connsiteX3" fmla="*/ 39549 w 847936"/>
                <a:gd name="connsiteY3" fmla="*/ 342875 h 896600"/>
                <a:gd name="connsiteX4" fmla="*/ 0 w 847936"/>
                <a:gd name="connsiteY4" fmla="*/ 458481 h 896600"/>
                <a:gd name="connsiteX5" fmla="*/ 368113 w 847936"/>
                <a:gd name="connsiteY5" fmla="*/ 896566 h 896600"/>
                <a:gd name="connsiteX6" fmla="*/ 790986 w 847936"/>
                <a:gd name="connsiteY6" fmla="*/ 5185 h 896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936" h="896600">
                  <a:moveTo>
                    <a:pt x="790986" y="5185"/>
                  </a:moveTo>
                  <a:cubicBezTo>
                    <a:pt x="693634" y="-37406"/>
                    <a:pt x="559774" y="193805"/>
                    <a:pt x="508056" y="282030"/>
                  </a:cubicBezTo>
                  <a:cubicBezTo>
                    <a:pt x="462422" y="361129"/>
                    <a:pt x="352902" y="637974"/>
                    <a:pt x="352902" y="637974"/>
                  </a:cubicBezTo>
                  <a:lnTo>
                    <a:pt x="39549" y="342875"/>
                  </a:lnTo>
                  <a:lnTo>
                    <a:pt x="0" y="458481"/>
                  </a:lnTo>
                  <a:cubicBezTo>
                    <a:pt x="0" y="458481"/>
                    <a:pt x="264676" y="893523"/>
                    <a:pt x="368113" y="896566"/>
                  </a:cubicBezTo>
                  <a:cubicBezTo>
                    <a:pt x="538479" y="902650"/>
                    <a:pt x="1010028" y="105579"/>
                    <a:pt x="790986" y="5185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EC8D2186-B838-479E-B159-986BA3B77087}"/>
                </a:ext>
              </a:extLst>
            </p:cNvPr>
            <p:cNvGrpSpPr/>
            <p:nvPr/>
          </p:nvGrpSpPr>
          <p:grpSpPr>
            <a:xfrm>
              <a:off x="8432455" y="12057635"/>
              <a:ext cx="363765" cy="396752"/>
              <a:chOff x="8432455" y="12057635"/>
              <a:chExt cx="363765" cy="396752"/>
            </a:xfrm>
          </p:grpSpPr>
          <p:grpSp>
            <p:nvGrpSpPr>
              <p:cNvPr id="152" name="图形 1">
                <a:extLst>
                  <a:ext uri="{FF2B5EF4-FFF2-40B4-BE49-F238E27FC236}">
                    <a16:creationId xmlns:a16="http://schemas.microsoft.com/office/drawing/2014/main" id="{9220B238-48F2-4F6D-A44C-A1AEBE2DFD8D}"/>
                  </a:ext>
                </a:extLst>
              </p:cNvPr>
              <p:cNvGrpSpPr/>
              <p:nvPr/>
            </p:nvGrpSpPr>
            <p:grpSpPr>
              <a:xfrm>
                <a:off x="8432455" y="12057635"/>
                <a:ext cx="363765" cy="396752"/>
                <a:chOff x="8432455" y="12057635"/>
                <a:chExt cx="363765" cy="396752"/>
              </a:xfrm>
            </p:grpSpPr>
            <p:sp>
              <p:nvSpPr>
                <p:cNvPr id="154" name="任意多边形: 形状 153">
                  <a:extLst>
                    <a:ext uri="{FF2B5EF4-FFF2-40B4-BE49-F238E27FC236}">
                      <a16:creationId xmlns:a16="http://schemas.microsoft.com/office/drawing/2014/main" id="{3B50D850-1B1D-4CC5-8947-8622521919B6}"/>
                    </a:ext>
                  </a:extLst>
                </p:cNvPr>
                <p:cNvSpPr/>
                <p:nvPr/>
              </p:nvSpPr>
              <p:spPr>
                <a:xfrm>
                  <a:off x="8432455" y="12191494"/>
                  <a:ext cx="363765" cy="262893"/>
                </a:xfrm>
                <a:custGeom>
                  <a:avLst/>
                  <a:gdLst>
                    <a:gd name="connsiteX0" fmla="*/ 225887 w 363765"/>
                    <a:gd name="connsiteY0" fmla="*/ 0 h 262893"/>
                    <a:gd name="connsiteX1" fmla="*/ 107239 w 363765"/>
                    <a:gd name="connsiteY1" fmla="*/ 164282 h 262893"/>
                    <a:gd name="connsiteX2" fmla="*/ 323239 w 363765"/>
                    <a:gd name="connsiteY2" fmla="*/ 36506 h 262893"/>
                    <a:gd name="connsiteX3" fmla="*/ 344535 w 363765"/>
                    <a:gd name="connsiteY3" fmla="*/ 21295 h 262893"/>
                    <a:gd name="connsiteX4" fmla="*/ 362789 w 363765"/>
                    <a:gd name="connsiteY4" fmla="*/ 97352 h 262893"/>
                    <a:gd name="connsiteX5" fmla="*/ 350619 w 363765"/>
                    <a:gd name="connsiteY5" fmla="*/ 219042 h 262893"/>
                    <a:gd name="connsiteX6" fmla="*/ 332366 w 363765"/>
                    <a:gd name="connsiteY6" fmla="*/ 237295 h 262893"/>
                    <a:gd name="connsiteX7" fmla="*/ 165042 w 363765"/>
                    <a:gd name="connsiteY7" fmla="*/ 258592 h 262893"/>
                    <a:gd name="connsiteX8" fmla="*/ 6845 w 363765"/>
                    <a:gd name="connsiteY8" fmla="*/ 261634 h 262893"/>
                    <a:gd name="connsiteX9" fmla="*/ 6845 w 363765"/>
                    <a:gd name="connsiteY9" fmla="*/ 216000 h 262893"/>
                    <a:gd name="connsiteX10" fmla="*/ 225887 w 363765"/>
                    <a:gd name="connsiteY10" fmla="*/ 0 h 2628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3765" h="262893">
                      <a:moveTo>
                        <a:pt x="225887" y="0"/>
                      </a:moveTo>
                      <a:cubicBezTo>
                        <a:pt x="225887" y="0"/>
                        <a:pt x="92028" y="155155"/>
                        <a:pt x="107239" y="164282"/>
                      </a:cubicBezTo>
                      <a:cubicBezTo>
                        <a:pt x="125493" y="173408"/>
                        <a:pt x="323239" y="36506"/>
                        <a:pt x="323239" y="36506"/>
                      </a:cubicBezTo>
                      <a:lnTo>
                        <a:pt x="344535" y="21295"/>
                      </a:lnTo>
                      <a:cubicBezTo>
                        <a:pt x="344535" y="21295"/>
                        <a:pt x="368873" y="69971"/>
                        <a:pt x="362789" y="97352"/>
                      </a:cubicBezTo>
                      <a:cubicBezTo>
                        <a:pt x="359746" y="118648"/>
                        <a:pt x="353662" y="185578"/>
                        <a:pt x="350619" y="219042"/>
                      </a:cubicBezTo>
                      <a:cubicBezTo>
                        <a:pt x="350619" y="228169"/>
                        <a:pt x="341493" y="237295"/>
                        <a:pt x="332366" y="237295"/>
                      </a:cubicBezTo>
                      <a:cubicBezTo>
                        <a:pt x="292817" y="240338"/>
                        <a:pt x="198507" y="252507"/>
                        <a:pt x="165042" y="258592"/>
                      </a:cubicBezTo>
                      <a:cubicBezTo>
                        <a:pt x="143747" y="261634"/>
                        <a:pt x="19014" y="264676"/>
                        <a:pt x="6845" y="261634"/>
                      </a:cubicBezTo>
                      <a:cubicBezTo>
                        <a:pt x="-2282" y="261634"/>
                        <a:pt x="-2282" y="222084"/>
                        <a:pt x="6845" y="216000"/>
                      </a:cubicBezTo>
                      <a:cubicBezTo>
                        <a:pt x="85943" y="170366"/>
                        <a:pt x="225887" y="0"/>
                        <a:pt x="225887" y="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5" name="任意多边形: 形状 154">
                  <a:extLst>
                    <a:ext uri="{FF2B5EF4-FFF2-40B4-BE49-F238E27FC236}">
                      <a16:creationId xmlns:a16="http://schemas.microsoft.com/office/drawing/2014/main" id="{D89410D8-3FDF-4F84-94F9-5346E139F4D2}"/>
                    </a:ext>
                  </a:extLst>
                </p:cNvPr>
                <p:cNvSpPr/>
                <p:nvPr/>
              </p:nvSpPr>
              <p:spPr>
                <a:xfrm>
                  <a:off x="8537488" y="12057635"/>
                  <a:ext cx="239501" cy="299879"/>
                </a:xfrm>
                <a:custGeom>
                  <a:avLst/>
                  <a:gdLst>
                    <a:gd name="connsiteX0" fmla="*/ 120854 w 239501"/>
                    <a:gd name="connsiteY0" fmla="*/ 0 h 299879"/>
                    <a:gd name="connsiteX1" fmla="*/ 120854 w 239501"/>
                    <a:gd name="connsiteY1" fmla="*/ 133859 h 299879"/>
                    <a:gd name="connsiteX2" fmla="*/ 2205 w 239501"/>
                    <a:gd name="connsiteY2" fmla="*/ 298140 h 299879"/>
                    <a:gd name="connsiteX3" fmla="*/ 236459 w 239501"/>
                    <a:gd name="connsiteY3" fmla="*/ 155154 h 299879"/>
                    <a:gd name="connsiteX4" fmla="*/ 239501 w 239501"/>
                    <a:gd name="connsiteY4" fmla="*/ 0 h 299879"/>
                    <a:gd name="connsiteX5" fmla="*/ 120854 w 239501"/>
                    <a:gd name="connsiteY5" fmla="*/ 0 h 299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39501" h="299879">
                      <a:moveTo>
                        <a:pt x="120854" y="0"/>
                      </a:moveTo>
                      <a:lnTo>
                        <a:pt x="120854" y="133859"/>
                      </a:lnTo>
                      <a:cubicBezTo>
                        <a:pt x="120854" y="133859"/>
                        <a:pt x="-19090" y="282929"/>
                        <a:pt x="2205" y="298140"/>
                      </a:cubicBezTo>
                      <a:cubicBezTo>
                        <a:pt x="23502" y="316394"/>
                        <a:pt x="239501" y="185577"/>
                        <a:pt x="236459" y="155154"/>
                      </a:cubicBezTo>
                      <a:cubicBezTo>
                        <a:pt x="236459" y="106479"/>
                        <a:pt x="239501" y="0"/>
                        <a:pt x="239501" y="0"/>
                      </a:cubicBezTo>
                      <a:lnTo>
                        <a:pt x="120854" y="0"/>
                      </a:lnTo>
                      <a:close/>
                    </a:path>
                  </a:pathLst>
                </a:custGeom>
                <a:solidFill>
                  <a:srgbClr val="F5A398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4486A1BB-7FB4-4D74-972E-C7EFB3A79E8E}"/>
                  </a:ext>
                </a:extLst>
              </p:cNvPr>
              <p:cNvSpPr/>
              <p:nvPr/>
            </p:nvSpPr>
            <p:spPr>
              <a:xfrm>
                <a:off x="8634004" y="12320958"/>
                <a:ext cx="156507" cy="101747"/>
              </a:xfrm>
              <a:custGeom>
                <a:avLst/>
                <a:gdLst>
                  <a:gd name="connsiteX0" fmla="*/ 6084 w 156507"/>
                  <a:gd name="connsiteY0" fmla="*/ 101747 h 101747"/>
                  <a:gd name="connsiteX1" fmla="*/ 0 w 156507"/>
                  <a:gd name="connsiteY1" fmla="*/ 98705 h 101747"/>
                  <a:gd name="connsiteX2" fmla="*/ 3042 w 156507"/>
                  <a:gd name="connsiteY2" fmla="*/ 92620 h 101747"/>
                  <a:gd name="connsiteX3" fmla="*/ 146028 w 156507"/>
                  <a:gd name="connsiteY3" fmla="*/ 1352 h 101747"/>
                  <a:gd name="connsiteX4" fmla="*/ 155155 w 156507"/>
                  <a:gd name="connsiteY4" fmla="*/ 1352 h 101747"/>
                  <a:gd name="connsiteX5" fmla="*/ 155155 w 156507"/>
                  <a:gd name="connsiteY5" fmla="*/ 10480 h 101747"/>
                  <a:gd name="connsiteX6" fmla="*/ 6084 w 156507"/>
                  <a:gd name="connsiteY6" fmla="*/ 101747 h 101747"/>
                  <a:gd name="connsiteX7" fmla="*/ 6084 w 156507"/>
                  <a:gd name="connsiteY7" fmla="*/ 101747 h 101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6507" h="101747">
                    <a:moveTo>
                      <a:pt x="6084" y="101747"/>
                    </a:moveTo>
                    <a:cubicBezTo>
                      <a:pt x="3042" y="101747"/>
                      <a:pt x="3042" y="101747"/>
                      <a:pt x="0" y="98705"/>
                    </a:cubicBezTo>
                    <a:cubicBezTo>
                      <a:pt x="0" y="95662"/>
                      <a:pt x="0" y="92620"/>
                      <a:pt x="3042" y="92620"/>
                    </a:cubicBezTo>
                    <a:cubicBezTo>
                      <a:pt x="39549" y="74366"/>
                      <a:pt x="146028" y="1352"/>
                      <a:pt x="146028" y="1352"/>
                    </a:cubicBezTo>
                    <a:cubicBezTo>
                      <a:pt x="149070" y="-1690"/>
                      <a:pt x="152113" y="1352"/>
                      <a:pt x="155155" y="1352"/>
                    </a:cubicBezTo>
                    <a:cubicBezTo>
                      <a:pt x="158197" y="4395"/>
                      <a:pt x="155155" y="7437"/>
                      <a:pt x="155155" y="10480"/>
                    </a:cubicBezTo>
                    <a:cubicBezTo>
                      <a:pt x="146028" y="10480"/>
                      <a:pt x="45634" y="80451"/>
                      <a:pt x="6084" y="101747"/>
                    </a:cubicBezTo>
                    <a:cubicBezTo>
                      <a:pt x="6084" y="101747"/>
                      <a:pt x="6084" y="101747"/>
                      <a:pt x="6084" y="10174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8" name="图形 1">
              <a:extLst>
                <a:ext uri="{FF2B5EF4-FFF2-40B4-BE49-F238E27FC236}">
                  <a16:creationId xmlns:a16="http://schemas.microsoft.com/office/drawing/2014/main" id="{86A5D594-E29F-448A-92BD-BFD7131E0FE5}"/>
                </a:ext>
              </a:extLst>
            </p:cNvPr>
            <p:cNvGrpSpPr/>
            <p:nvPr/>
          </p:nvGrpSpPr>
          <p:grpSpPr>
            <a:xfrm>
              <a:off x="9315278" y="11942029"/>
              <a:ext cx="332587" cy="480676"/>
              <a:chOff x="9315278" y="11942029"/>
              <a:chExt cx="332587" cy="480676"/>
            </a:xfrm>
          </p:grpSpPr>
          <p:grpSp>
            <p:nvGrpSpPr>
              <p:cNvPr id="148" name="图形 1">
                <a:extLst>
                  <a:ext uri="{FF2B5EF4-FFF2-40B4-BE49-F238E27FC236}">
                    <a16:creationId xmlns:a16="http://schemas.microsoft.com/office/drawing/2014/main" id="{6879FF94-FEBB-42F1-BF02-E40B0A413B36}"/>
                  </a:ext>
                </a:extLst>
              </p:cNvPr>
              <p:cNvGrpSpPr/>
              <p:nvPr/>
            </p:nvGrpSpPr>
            <p:grpSpPr>
              <a:xfrm>
                <a:off x="9315278" y="11942029"/>
                <a:ext cx="332587" cy="480676"/>
                <a:chOff x="9315278" y="11942029"/>
                <a:chExt cx="332587" cy="480676"/>
              </a:xfrm>
            </p:grpSpPr>
            <p:sp>
              <p:nvSpPr>
                <p:cNvPr id="150" name="任意多边形: 形状 149">
                  <a:extLst>
                    <a:ext uri="{FF2B5EF4-FFF2-40B4-BE49-F238E27FC236}">
                      <a16:creationId xmlns:a16="http://schemas.microsoft.com/office/drawing/2014/main" id="{017CC181-E72F-47C1-96EA-E68DEC1FE0CF}"/>
                    </a:ext>
                  </a:extLst>
                </p:cNvPr>
                <p:cNvSpPr/>
                <p:nvPr/>
              </p:nvSpPr>
              <p:spPr>
                <a:xfrm>
                  <a:off x="9315278" y="12094141"/>
                  <a:ext cx="332587" cy="328563"/>
                </a:xfrm>
                <a:custGeom>
                  <a:avLst/>
                  <a:gdLst>
                    <a:gd name="connsiteX0" fmla="*/ 146218 w 332587"/>
                    <a:gd name="connsiteY0" fmla="*/ 12169 h 328563"/>
                    <a:gd name="connsiteX1" fmla="*/ 82331 w 332587"/>
                    <a:gd name="connsiteY1" fmla="*/ 203831 h 328563"/>
                    <a:gd name="connsiteX2" fmla="*/ 252697 w 332587"/>
                    <a:gd name="connsiteY2" fmla="*/ 21296 h 328563"/>
                    <a:gd name="connsiteX3" fmla="*/ 267908 w 332587"/>
                    <a:gd name="connsiteY3" fmla="*/ 0 h 328563"/>
                    <a:gd name="connsiteX4" fmla="*/ 307458 w 332587"/>
                    <a:gd name="connsiteY4" fmla="*/ 69972 h 328563"/>
                    <a:gd name="connsiteX5" fmla="*/ 331796 w 332587"/>
                    <a:gd name="connsiteY5" fmla="*/ 188620 h 328563"/>
                    <a:gd name="connsiteX6" fmla="*/ 319627 w 332587"/>
                    <a:gd name="connsiteY6" fmla="*/ 212958 h 328563"/>
                    <a:gd name="connsiteX7" fmla="*/ 164472 w 332587"/>
                    <a:gd name="connsiteY7" fmla="*/ 279888 h 328563"/>
                    <a:gd name="connsiteX8" fmla="*/ 15401 w 332587"/>
                    <a:gd name="connsiteY8" fmla="*/ 328564 h 328563"/>
                    <a:gd name="connsiteX9" fmla="*/ 3232 w 332587"/>
                    <a:gd name="connsiteY9" fmla="*/ 282930 h 328563"/>
                    <a:gd name="connsiteX10" fmla="*/ 146218 w 332587"/>
                    <a:gd name="connsiteY10" fmla="*/ 12169 h 3285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32587" h="328563">
                      <a:moveTo>
                        <a:pt x="146218" y="12169"/>
                      </a:moveTo>
                      <a:cubicBezTo>
                        <a:pt x="146218" y="12169"/>
                        <a:pt x="61035" y="200789"/>
                        <a:pt x="82331" y="203831"/>
                      </a:cubicBezTo>
                      <a:cubicBezTo>
                        <a:pt x="103627" y="206874"/>
                        <a:pt x="252697" y="21296"/>
                        <a:pt x="252697" y="21296"/>
                      </a:cubicBezTo>
                      <a:lnTo>
                        <a:pt x="267908" y="0"/>
                      </a:lnTo>
                      <a:cubicBezTo>
                        <a:pt x="267908" y="0"/>
                        <a:pt x="304415" y="42591"/>
                        <a:pt x="307458" y="69972"/>
                      </a:cubicBezTo>
                      <a:cubicBezTo>
                        <a:pt x="310500" y="91268"/>
                        <a:pt x="325711" y="158198"/>
                        <a:pt x="331796" y="188620"/>
                      </a:cubicBezTo>
                      <a:cubicBezTo>
                        <a:pt x="334838" y="197746"/>
                        <a:pt x="328753" y="206874"/>
                        <a:pt x="319627" y="212958"/>
                      </a:cubicBezTo>
                      <a:cubicBezTo>
                        <a:pt x="283120" y="228169"/>
                        <a:pt x="194894" y="267719"/>
                        <a:pt x="164472" y="279888"/>
                      </a:cubicBezTo>
                      <a:cubicBezTo>
                        <a:pt x="143176" y="289014"/>
                        <a:pt x="24528" y="328564"/>
                        <a:pt x="15401" y="328564"/>
                      </a:cubicBezTo>
                      <a:cubicBezTo>
                        <a:pt x="6275" y="328564"/>
                        <a:pt x="-5894" y="292057"/>
                        <a:pt x="3232" y="282930"/>
                      </a:cubicBezTo>
                      <a:cubicBezTo>
                        <a:pt x="61035" y="216000"/>
                        <a:pt x="146218" y="12169"/>
                        <a:pt x="146218" y="1216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1" name="任意多边形: 形状 150">
                  <a:extLst>
                    <a:ext uri="{FF2B5EF4-FFF2-40B4-BE49-F238E27FC236}">
                      <a16:creationId xmlns:a16="http://schemas.microsoft.com/office/drawing/2014/main" id="{7B04AB5B-F766-4E74-97A5-D3C3FC043558}"/>
                    </a:ext>
                  </a:extLst>
                </p:cNvPr>
                <p:cNvSpPr/>
                <p:nvPr/>
              </p:nvSpPr>
              <p:spPr>
                <a:xfrm>
                  <a:off x="9392485" y="11942029"/>
                  <a:ext cx="188291" cy="353227"/>
                </a:xfrm>
                <a:custGeom>
                  <a:avLst/>
                  <a:gdLst>
                    <a:gd name="connsiteX0" fmla="*/ 29462 w 188291"/>
                    <a:gd name="connsiteY0" fmla="*/ 33465 h 353227"/>
                    <a:gd name="connsiteX1" fmla="*/ 69011 w 188291"/>
                    <a:gd name="connsiteY1" fmla="*/ 161240 h 353227"/>
                    <a:gd name="connsiteX2" fmla="*/ 5124 w 188291"/>
                    <a:gd name="connsiteY2" fmla="*/ 352902 h 353227"/>
                    <a:gd name="connsiteX3" fmla="*/ 187659 w 188291"/>
                    <a:gd name="connsiteY3" fmla="*/ 149070 h 353227"/>
                    <a:gd name="connsiteX4" fmla="*/ 145068 w 188291"/>
                    <a:gd name="connsiteY4" fmla="*/ 0 h 353227"/>
                    <a:gd name="connsiteX5" fmla="*/ 29462 w 188291"/>
                    <a:gd name="connsiteY5" fmla="*/ 33465 h 3532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88291" h="353227">
                      <a:moveTo>
                        <a:pt x="29462" y="33465"/>
                      </a:moveTo>
                      <a:lnTo>
                        <a:pt x="69011" y="161240"/>
                      </a:lnTo>
                      <a:cubicBezTo>
                        <a:pt x="69011" y="161240"/>
                        <a:pt x="-22256" y="343775"/>
                        <a:pt x="5124" y="352902"/>
                      </a:cubicBezTo>
                      <a:cubicBezTo>
                        <a:pt x="32504" y="362028"/>
                        <a:pt x="199828" y="176451"/>
                        <a:pt x="187659" y="149070"/>
                      </a:cubicBezTo>
                      <a:cubicBezTo>
                        <a:pt x="175490" y="100395"/>
                        <a:pt x="145068" y="0"/>
                        <a:pt x="145068" y="0"/>
                      </a:cubicBezTo>
                      <a:lnTo>
                        <a:pt x="29462" y="33465"/>
                      </a:lnTo>
                      <a:close/>
                    </a:path>
                  </a:pathLst>
                </a:custGeom>
                <a:solidFill>
                  <a:srgbClr val="F5A398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2C166906-BEBA-4415-A796-3B2B02274B68}"/>
                  </a:ext>
                </a:extLst>
              </p:cNvPr>
              <p:cNvSpPr/>
              <p:nvPr/>
            </p:nvSpPr>
            <p:spPr>
              <a:xfrm>
                <a:off x="9501807" y="12186170"/>
                <a:ext cx="123211" cy="145268"/>
              </a:xfrm>
              <a:custGeom>
                <a:avLst/>
                <a:gdLst>
                  <a:gd name="connsiteX0" fmla="*/ 5324 w 123211"/>
                  <a:gd name="connsiteY0" fmla="*/ 145268 h 145268"/>
                  <a:gd name="connsiteX1" fmla="*/ 2282 w 123211"/>
                  <a:gd name="connsiteY1" fmla="*/ 142226 h 145268"/>
                  <a:gd name="connsiteX2" fmla="*/ 2282 w 123211"/>
                  <a:gd name="connsiteY2" fmla="*/ 133098 h 145268"/>
                  <a:gd name="connsiteX3" fmla="*/ 111803 w 123211"/>
                  <a:gd name="connsiteY3" fmla="*/ 2282 h 145268"/>
                  <a:gd name="connsiteX4" fmla="*/ 120930 w 123211"/>
                  <a:gd name="connsiteY4" fmla="*/ 2282 h 145268"/>
                  <a:gd name="connsiteX5" fmla="*/ 120930 w 123211"/>
                  <a:gd name="connsiteY5" fmla="*/ 11408 h 145268"/>
                  <a:gd name="connsiteX6" fmla="*/ 11408 w 123211"/>
                  <a:gd name="connsiteY6" fmla="*/ 142226 h 145268"/>
                  <a:gd name="connsiteX7" fmla="*/ 5324 w 123211"/>
                  <a:gd name="connsiteY7" fmla="*/ 145268 h 145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3211" h="145268">
                    <a:moveTo>
                      <a:pt x="5324" y="145268"/>
                    </a:moveTo>
                    <a:cubicBezTo>
                      <a:pt x="5324" y="145268"/>
                      <a:pt x="2282" y="145268"/>
                      <a:pt x="2282" y="142226"/>
                    </a:cubicBezTo>
                    <a:cubicBezTo>
                      <a:pt x="-761" y="139183"/>
                      <a:pt x="-761" y="136141"/>
                      <a:pt x="2282" y="133098"/>
                    </a:cubicBezTo>
                    <a:cubicBezTo>
                      <a:pt x="32704" y="105718"/>
                      <a:pt x="111803" y="5324"/>
                      <a:pt x="111803" y="2282"/>
                    </a:cubicBezTo>
                    <a:cubicBezTo>
                      <a:pt x="114845" y="-761"/>
                      <a:pt x="117887" y="-761"/>
                      <a:pt x="120930" y="2282"/>
                    </a:cubicBezTo>
                    <a:cubicBezTo>
                      <a:pt x="123972" y="5324"/>
                      <a:pt x="123972" y="8367"/>
                      <a:pt x="120930" y="11408"/>
                    </a:cubicBezTo>
                    <a:cubicBezTo>
                      <a:pt x="117887" y="14451"/>
                      <a:pt x="38789" y="114846"/>
                      <a:pt x="11408" y="142226"/>
                    </a:cubicBezTo>
                    <a:cubicBezTo>
                      <a:pt x="8366" y="145268"/>
                      <a:pt x="8366" y="145268"/>
                      <a:pt x="5324" y="1452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CC78B9D2-2EE9-47B1-9984-B8FE0B3DA70C}"/>
                </a:ext>
              </a:extLst>
            </p:cNvPr>
            <p:cNvSpPr/>
            <p:nvPr/>
          </p:nvSpPr>
          <p:spPr>
            <a:xfrm>
              <a:off x="8953337" y="8006935"/>
              <a:ext cx="555744" cy="915644"/>
            </a:xfrm>
            <a:custGeom>
              <a:avLst/>
              <a:gdLst>
                <a:gd name="connsiteX0" fmla="*/ 27483 w 555744"/>
                <a:gd name="connsiteY0" fmla="*/ 658587 h 915644"/>
                <a:gd name="connsiteX1" fmla="*/ 152216 w 555744"/>
                <a:gd name="connsiteY1" fmla="*/ 898925 h 915644"/>
                <a:gd name="connsiteX2" fmla="*/ 316497 w 555744"/>
                <a:gd name="connsiteY2" fmla="*/ 914137 h 915644"/>
                <a:gd name="connsiteX3" fmla="*/ 477737 w 555744"/>
                <a:gd name="connsiteY3" fmla="*/ 889799 h 915644"/>
                <a:gd name="connsiteX4" fmla="*/ 550751 w 555744"/>
                <a:gd name="connsiteY4" fmla="*/ 749855 h 915644"/>
                <a:gd name="connsiteX5" fmla="*/ 432103 w 555744"/>
                <a:gd name="connsiteY5" fmla="*/ 582531 h 915644"/>
                <a:gd name="connsiteX6" fmla="*/ 416892 w 555744"/>
                <a:gd name="connsiteY6" fmla="*/ 442587 h 915644"/>
                <a:gd name="connsiteX7" fmla="*/ 334751 w 555744"/>
                <a:gd name="connsiteY7" fmla="*/ 363489 h 915644"/>
                <a:gd name="connsiteX8" fmla="*/ 295201 w 555744"/>
                <a:gd name="connsiteY8" fmla="*/ 187038 h 915644"/>
                <a:gd name="connsiteX9" fmla="*/ 6187 w 555744"/>
                <a:gd name="connsiteY9" fmla="*/ 1461 h 915644"/>
                <a:gd name="connsiteX10" fmla="*/ 57906 w 555744"/>
                <a:gd name="connsiteY10" fmla="*/ 44052 h 915644"/>
                <a:gd name="connsiteX11" fmla="*/ 112666 w 555744"/>
                <a:gd name="connsiteY11" fmla="*/ 68390 h 915644"/>
                <a:gd name="connsiteX12" fmla="*/ 27483 w 555744"/>
                <a:gd name="connsiteY12" fmla="*/ 658587 h 91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5744" h="915644">
                  <a:moveTo>
                    <a:pt x="27483" y="658587"/>
                  </a:moveTo>
                  <a:cubicBezTo>
                    <a:pt x="45737" y="752897"/>
                    <a:pt x="48779" y="862418"/>
                    <a:pt x="152216" y="898925"/>
                  </a:cubicBezTo>
                  <a:cubicBezTo>
                    <a:pt x="203934" y="917179"/>
                    <a:pt x="261737" y="917179"/>
                    <a:pt x="316497" y="914137"/>
                  </a:cubicBezTo>
                  <a:cubicBezTo>
                    <a:pt x="368216" y="911094"/>
                    <a:pt x="429061" y="911094"/>
                    <a:pt x="477737" y="889799"/>
                  </a:cubicBezTo>
                  <a:cubicBezTo>
                    <a:pt x="535540" y="865460"/>
                    <a:pt x="569004" y="810700"/>
                    <a:pt x="550751" y="749855"/>
                  </a:cubicBezTo>
                  <a:cubicBezTo>
                    <a:pt x="529455" y="682925"/>
                    <a:pt x="447314" y="649460"/>
                    <a:pt x="432103" y="582531"/>
                  </a:cubicBezTo>
                  <a:cubicBezTo>
                    <a:pt x="422976" y="533855"/>
                    <a:pt x="447314" y="488221"/>
                    <a:pt x="416892" y="442587"/>
                  </a:cubicBezTo>
                  <a:cubicBezTo>
                    <a:pt x="395596" y="409122"/>
                    <a:pt x="356047" y="393911"/>
                    <a:pt x="334751" y="363489"/>
                  </a:cubicBezTo>
                  <a:cubicBezTo>
                    <a:pt x="295201" y="311770"/>
                    <a:pt x="319540" y="244841"/>
                    <a:pt x="295201" y="187038"/>
                  </a:cubicBezTo>
                  <a:cubicBezTo>
                    <a:pt x="255652" y="92728"/>
                    <a:pt x="115709" y="-13751"/>
                    <a:pt x="6187" y="1461"/>
                  </a:cubicBezTo>
                  <a:cubicBezTo>
                    <a:pt x="-12066" y="4503"/>
                    <a:pt x="39652" y="34925"/>
                    <a:pt x="57906" y="44052"/>
                  </a:cubicBezTo>
                  <a:cubicBezTo>
                    <a:pt x="76159" y="50136"/>
                    <a:pt x="94413" y="59263"/>
                    <a:pt x="112666" y="68390"/>
                  </a:cubicBezTo>
                  <a:cubicBezTo>
                    <a:pt x="-36404" y="205291"/>
                    <a:pt x="-5981" y="482136"/>
                    <a:pt x="27483" y="658587"/>
                  </a:cubicBez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995EBAA7-523A-462C-B256-1962F45DFD36}"/>
                </a:ext>
              </a:extLst>
            </p:cNvPr>
            <p:cNvSpPr/>
            <p:nvPr/>
          </p:nvSpPr>
          <p:spPr>
            <a:xfrm>
              <a:off x="8445453" y="7999916"/>
              <a:ext cx="517501" cy="852633"/>
            </a:xfrm>
            <a:custGeom>
              <a:avLst/>
              <a:gdLst>
                <a:gd name="connsiteX0" fmla="*/ 450184 w 517501"/>
                <a:gd name="connsiteY0" fmla="*/ 467859 h 852633"/>
                <a:gd name="connsiteX1" fmla="*/ 441057 w 517501"/>
                <a:gd name="connsiteY1" fmla="*/ 306619 h 852633"/>
                <a:gd name="connsiteX2" fmla="*/ 483649 w 517501"/>
                <a:gd name="connsiteY2" fmla="*/ 160592 h 852633"/>
                <a:gd name="connsiteX3" fmla="*/ 517114 w 517501"/>
                <a:gd name="connsiteY3" fmla="*/ 8479 h 852633"/>
                <a:gd name="connsiteX4" fmla="*/ 206804 w 517501"/>
                <a:gd name="connsiteY4" fmla="*/ 191014 h 852633"/>
                <a:gd name="connsiteX5" fmla="*/ 206804 w 517501"/>
                <a:gd name="connsiteY5" fmla="*/ 248817 h 852633"/>
                <a:gd name="connsiteX6" fmla="*/ 158128 w 517501"/>
                <a:gd name="connsiteY6" fmla="*/ 306619 h 852633"/>
                <a:gd name="connsiteX7" fmla="*/ 106410 w 517501"/>
                <a:gd name="connsiteY7" fmla="*/ 373549 h 852633"/>
                <a:gd name="connsiteX8" fmla="*/ 106410 w 517501"/>
                <a:gd name="connsiteY8" fmla="*/ 461775 h 852633"/>
                <a:gd name="connsiteX9" fmla="*/ 85114 w 517501"/>
                <a:gd name="connsiteY9" fmla="*/ 537831 h 852633"/>
                <a:gd name="connsiteX10" fmla="*/ 15142 w 517501"/>
                <a:gd name="connsiteY10" fmla="*/ 638225 h 852633"/>
                <a:gd name="connsiteX11" fmla="*/ 63818 w 517501"/>
                <a:gd name="connsiteY11" fmla="*/ 826845 h 852633"/>
                <a:gd name="connsiteX12" fmla="*/ 267649 w 517501"/>
                <a:gd name="connsiteY12" fmla="*/ 851183 h 852633"/>
                <a:gd name="connsiteX13" fmla="*/ 273734 w 517501"/>
                <a:gd name="connsiteY13" fmla="*/ 759916 h 852633"/>
                <a:gd name="connsiteX14" fmla="*/ 368043 w 517501"/>
                <a:gd name="connsiteY14" fmla="*/ 750789 h 852633"/>
                <a:gd name="connsiteX15" fmla="*/ 459311 w 517501"/>
                <a:gd name="connsiteY15" fmla="*/ 592592 h 852633"/>
                <a:gd name="connsiteX16" fmla="*/ 450184 w 517501"/>
                <a:gd name="connsiteY16" fmla="*/ 467859 h 852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17501" h="852633">
                  <a:moveTo>
                    <a:pt x="450184" y="467859"/>
                  </a:moveTo>
                  <a:cubicBezTo>
                    <a:pt x="441057" y="416141"/>
                    <a:pt x="434973" y="361380"/>
                    <a:pt x="441057" y="306619"/>
                  </a:cubicBezTo>
                  <a:cubicBezTo>
                    <a:pt x="447142" y="254901"/>
                    <a:pt x="462353" y="206225"/>
                    <a:pt x="483649" y="160592"/>
                  </a:cubicBezTo>
                  <a:cubicBezTo>
                    <a:pt x="504945" y="111915"/>
                    <a:pt x="520156" y="8479"/>
                    <a:pt x="517114" y="8479"/>
                  </a:cubicBezTo>
                  <a:cubicBezTo>
                    <a:pt x="401508" y="-28028"/>
                    <a:pt x="203762" y="57155"/>
                    <a:pt x="206804" y="191014"/>
                  </a:cubicBezTo>
                  <a:cubicBezTo>
                    <a:pt x="206804" y="212310"/>
                    <a:pt x="209846" y="230563"/>
                    <a:pt x="206804" y="248817"/>
                  </a:cubicBezTo>
                  <a:cubicBezTo>
                    <a:pt x="200719" y="279239"/>
                    <a:pt x="182466" y="291408"/>
                    <a:pt x="158128" y="306619"/>
                  </a:cubicBezTo>
                  <a:cubicBezTo>
                    <a:pt x="133790" y="324873"/>
                    <a:pt x="115536" y="346169"/>
                    <a:pt x="106410" y="373549"/>
                  </a:cubicBezTo>
                  <a:cubicBezTo>
                    <a:pt x="97283" y="403972"/>
                    <a:pt x="100325" y="431352"/>
                    <a:pt x="106410" y="461775"/>
                  </a:cubicBezTo>
                  <a:cubicBezTo>
                    <a:pt x="112494" y="492197"/>
                    <a:pt x="112494" y="516535"/>
                    <a:pt x="85114" y="537831"/>
                  </a:cubicBezTo>
                  <a:cubicBezTo>
                    <a:pt x="69903" y="553042"/>
                    <a:pt x="21226" y="619972"/>
                    <a:pt x="15142" y="638225"/>
                  </a:cubicBezTo>
                  <a:cubicBezTo>
                    <a:pt x="-24407" y="741662"/>
                    <a:pt x="21226" y="784254"/>
                    <a:pt x="63818" y="826845"/>
                  </a:cubicBezTo>
                  <a:cubicBezTo>
                    <a:pt x="121621" y="881606"/>
                    <a:pt x="206804" y="814676"/>
                    <a:pt x="267649" y="851183"/>
                  </a:cubicBezTo>
                  <a:cubicBezTo>
                    <a:pt x="291987" y="866394"/>
                    <a:pt x="243311" y="756873"/>
                    <a:pt x="273734" y="759916"/>
                  </a:cubicBezTo>
                  <a:cubicBezTo>
                    <a:pt x="301114" y="762957"/>
                    <a:pt x="340663" y="759916"/>
                    <a:pt x="368043" y="750789"/>
                  </a:cubicBezTo>
                  <a:cubicBezTo>
                    <a:pt x="419762" y="729493"/>
                    <a:pt x="450184" y="644310"/>
                    <a:pt x="459311" y="592592"/>
                  </a:cubicBezTo>
                  <a:cubicBezTo>
                    <a:pt x="468438" y="553042"/>
                    <a:pt x="456269" y="510451"/>
                    <a:pt x="450184" y="467859"/>
                  </a:cubicBez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8D3BEEB6-9B08-4030-8C93-8D4E3B8C1E81}"/>
                </a:ext>
              </a:extLst>
            </p:cNvPr>
            <p:cNvSpPr/>
            <p:nvPr/>
          </p:nvSpPr>
          <p:spPr>
            <a:xfrm>
              <a:off x="8384539" y="8695948"/>
              <a:ext cx="401156" cy="419827"/>
            </a:xfrm>
            <a:custGeom>
              <a:avLst/>
              <a:gdLst>
                <a:gd name="connsiteX0" fmla="*/ 349859 w 401156"/>
                <a:gd name="connsiteY0" fmla="*/ 419827 h 419827"/>
                <a:gd name="connsiteX1" fmla="*/ 343775 w 401156"/>
                <a:gd name="connsiteY1" fmla="*/ 15208 h 419827"/>
                <a:gd name="connsiteX2" fmla="*/ 0 w 401156"/>
                <a:gd name="connsiteY2" fmla="*/ 292053 h 419827"/>
                <a:gd name="connsiteX3" fmla="*/ 349859 w 401156"/>
                <a:gd name="connsiteY3" fmla="*/ 419827 h 419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1156" h="419827">
                  <a:moveTo>
                    <a:pt x="349859" y="419827"/>
                  </a:moveTo>
                  <a:cubicBezTo>
                    <a:pt x="432000" y="255546"/>
                    <a:pt x="404620" y="63884"/>
                    <a:pt x="343775" y="15208"/>
                  </a:cubicBezTo>
                  <a:cubicBezTo>
                    <a:pt x="261634" y="-48679"/>
                    <a:pt x="69972" y="97348"/>
                    <a:pt x="0" y="292053"/>
                  </a:cubicBezTo>
                  <a:cubicBezTo>
                    <a:pt x="42591" y="352898"/>
                    <a:pt x="249465" y="407659"/>
                    <a:pt x="349859" y="419827"/>
                  </a:cubicBezTo>
                  <a:close/>
                </a:path>
              </a:pathLst>
            </a:custGeom>
            <a:solidFill>
              <a:srgbClr val="D16156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CDDB7041-B72C-4C84-9885-3CD90122F80B}"/>
                </a:ext>
              </a:extLst>
            </p:cNvPr>
            <p:cNvSpPr/>
            <p:nvPr/>
          </p:nvSpPr>
          <p:spPr>
            <a:xfrm>
              <a:off x="8501841" y="9599493"/>
              <a:ext cx="1072219" cy="2576789"/>
            </a:xfrm>
            <a:custGeom>
              <a:avLst/>
              <a:gdLst>
                <a:gd name="connsiteX0" fmla="*/ 786248 w 1072219"/>
                <a:gd name="connsiteY0" fmla="*/ 0 h 2576789"/>
                <a:gd name="connsiteX1" fmla="*/ 119994 w 1072219"/>
                <a:gd name="connsiteY1" fmla="*/ 0 h 2576789"/>
                <a:gd name="connsiteX2" fmla="*/ 1346 w 1072219"/>
                <a:gd name="connsiteY2" fmla="*/ 459380 h 2576789"/>
                <a:gd name="connsiteX3" fmla="*/ 156501 w 1072219"/>
                <a:gd name="connsiteY3" fmla="*/ 2555493 h 2576789"/>
                <a:gd name="connsiteX4" fmla="*/ 275149 w 1072219"/>
                <a:gd name="connsiteY4" fmla="*/ 2576789 h 2576789"/>
                <a:gd name="connsiteX5" fmla="*/ 460727 w 1072219"/>
                <a:gd name="connsiteY5" fmla="*/ 812282 h 2576789"/>
                <a:gd name="connsiteX6" fmla="*/ 530699 w 1072219"/>
                <a:gd name="connsiteY6" fmla="*/ 1621522 h 2576789"/>
                <a:gd name="connsiteX7" fmla="*/ 542867 w 1072219"/>
                <a:gd name="connsiteY7" fmla="*/ 1673239 h 2576789"/>
                <a:gd name="connsiteX8" fmla="*/ 953572 w 1072219"/>
                <a:gd name="connsiteY8" fmla="*/ 2494648 h 2576789"/>
                <a:gd name="connsiteX9" fmla="*/ 1072219 w 1072219"/>
                <a:gd name="connsiteY9" fmla="*/ 2473353 h 2576789"/>
                <a:gd name="connsiteX10" fmla="*/ 883600 w 1072219"/>
                <a:gd name="connsiteY10" fmla="*/ 1651944 h 2576789"/>
                <a:gd name="connsiteX11" fmla="*/ 920107 w 1072219"/>
                <a:gd name="connsiteY11" fmla="*/ 413747 h 2576789"/>
                <a:gd name="connsiteX12" fmla="*/ 786248 w 1072219"/>
                <a:gd name="connsiteY12" fmla="*/ 0 h 2576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2219" h="2576789">
                  <a:moveTo>
                    <a:pt x="786248" y="0"/>
                  </a:moveTo>
                  <a:lnTo>
                    <a:pt x="119994" y="0"/>
                  </a:lnTo>
                  <a:cubicBezTo>
                    <a:pt x="119994" y="0"/>
                    <a:pt x="22642" y="304225"/>
                    <a:pt x="1346" y="459380"/>
                  </a:cubicBezTo>
                  <a:cubicBezTo>
                    <a:pt x="-16907" y="611493"/>
                    <a:pt x="156501" y="2555493"/>
                    <a:pt x="156501" y="2555493"/>
                  </a:cubicBezTo>
                  <a:lnTo>
                    <a:pt x="275149" y="2576789"/>
                  </a:lnTo>
                  <a:lnTo>
                    <a:pt x="460727" y="812282"/>
                  </a:lnTo>
                  <a:lnTo>
                    <a:pt x="530699" y="1621522"/>
                  </a:lnTo>
                  <a:cubicBezTo>
                    <a:pt x="533741" y="1639775"/>
                    <a:pt x="536783" y="1658028"/>
                    <a:pt x="542867" y="1673239"/>
                  </a:cubicBezTo>
                  <a:lnTo>
                    <a:pt x="953572" y="2494648"/>
                  </a:lnTo>
                  <a:lnTo>
                    <a:pt x="1072219" y="2473353"/>
                  </a:lnTo>
                  <a:lnTo>
                    <a:pt x="883600" y="1651944"/>
                  </a:lnTo>
                  <a:cubicBezTo>
                    <a:pt x="883600" y="1651944"/>
                    <a:pt x="914022" y="477634"/>
                    <a:pt x="920107" y="413747"/>
                  </a:cubicBezTo>
                  <a:cubicBezTo>
                    <a:pt x="932276" y="295099"/>
                    <a:pt x="786248" y="0"/>
                    <a:pt x="786248" y="0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A8B5F98C-8B20-497F-8A18-FCCB1355CF48}"/>
                </a:ext>
              </a:extLst>
            </p:cNvPr>
            <p:cNvSpPr/>
            <p:nvPr/>
          </p:nvSpPr>
          <p:spPr>
            <a:xfrm>
              <a:off x="8265891" y="9586772"/>
              <a:ext cx="1378140" cy="1642180"/>
            </a:xfrm>
            <a:custGeom>
              <a:avLst/>
              <a:gdLst>
                <a:gd name="connsiteX0" fmla="*/ 1055662 w 1378140"/>
                <a:gd name="connsiteY0" fmla="*/ 85736 h 1642180"/>
                <a:gd name="connsiteX1" fmla="*/ 355944 w 1378140"/>
                <a:gd name="connsiteY1" fmla="*/ 12722 h 1642180"/>
                <a:gd name="connsiteX2" fmla="*/ 237296 w 1378140"/>
                <a:gd name="connsiteY2" fmla="*/ 472102 h 1642180"/>
                <a:gd name="connsiteX3" fmla="*/ 0 w 1378140"/>
                <a:gd name="connsiteY3" fmla="*/ 1451708 h 1642180"/>
                <a:gd name="connsiteX4" fmla="*/ 1378141 w 1378140"/>
                <a:gd name="connsiteY4" fmla="*/ 1546017 h 1642180"/>
                <a:gd name="connsiteX5" fmla="*/ 1055662 w 1378140"/>
                <a:gd name="connsiteY5" fmla="*/ 85736 h 1642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8140" h="1642180">
                  <a:moveTo>
                    <a:pt x="1055662" y="85736"/>
                  </a:moveTo>
                  <a:cubicBezTo>
                    <a:pt x="952225" y="-45081"/>
                    <a:pt x="355944" y="12722"/>
                    <a:pt x="355944" y="12722"/>
                  </a:cubicBezTo>
                  <a:cubicBezTo>
                    <a:pt x="355944" y="12722"/>
                    <a:pt x="258592" y="316947"/>
                    <a:pt x="237296" y="472102"/>
                  </a:cubicBezTo>
                  <a:cubicBezTo>
                    <a:pt x="228169" y="551201"/>
                    <a:pt x="167324" y="946694"/>
                    <a:pt x="0" y="1451708"/>
                  </a:cubicBezTo>
                  <a:cubicBezTo>
                    <a:pt x="352902" y="1640327"/>
                    <a:pt x="1095211" y="1719426"/>
                    <a:pt x="1378141" y="1546017"/>
                  </a:cubicBezTo>
                  <a:cubicBezTo>
                    <a:pt x="1189521" y="1129229"/>
                    <a:pt x="1341634" y="438637"/>
                    <a:pt x="1055662" y="85736"/>
                  </a:cubicBez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EF623BA2-FACC-4B79-B44F-498E42C6E4FF}"/>
                </a:ext>
              </a:extLst>
            </p:cNvPr>
            <p:cNvSpPr/>
            <p:nvPr/>
          </p:nvSpPr>
          <p:spPr>
            <a:xfrm>
              <a:off x="8522546" y="8642813"/>
              <a:ext cx="818823" cy="984150"/>
            </a:xfrm>
            <a:custGeom>
              <a:avLst/>
              <a:gdLst>
                <a:gd name="connsiteX0" fmla="*/ 774669 w 818823"/>
                <a:gd name="connsiteY0" fmla="*/ 390821 h 984150"/>
                <a:gd name="connsiteX1" fmla="*/ 759458 w 818823"/>
                <a:gd name="connsiteY1" fmla="*/ 68342 h 984150"/>
                <a:gd name="connsiteX2" fmla="*/ 391345 w 818823"/>
                <a:gd name="connsiteY2" fmla="*/ 4455 h 984150"/>
                <a:gd name="connsiteX3" fmla="*/ 90162 w 818823"/>
                <a:gd name="connsiteY3" fmla="*/ 104849 h 984150"/>
                <a:gd name="connsiteX4" fmla="*/ 50613 w 818823"/>
                <a:gd name="connsiteY4" fmla="*/ 652455 h 984150"/>
                <a:gd name="connsiteX5" fmla="*/ 93204 w 818823"/>
                <a:gd name="connsiteY5" fmla="*/ 977976 h 984150"/>
                <a:gd name="connsiteX6" fmla="*/ 768585 w 818823"/>
                <a:gd name="connsiteY6" fmla="*/ 962765 h 984150"/>
                <a:gd name="connsiteX7" fmla="*/ 774669 w 818823"/>
                <a:gd name="connsiteY7" fmla="*/ 390821 h 9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8823" h="984150">
                  <a:moveTo>
                    <a:pt x="774669" y="390821"/>
                  </a:moveTo>
                  <a:cubicBezTo>
                    <a:pt x="783796" y="360399"/>
                    <a:pt x="878106" y="132230"/>
                    <a:pt x="759458" y="68342"/>
                  </a:cubicBezTo>
                  <a:cubicBezTo>
                    <a:pt x="656021" y="13581"/>
                    <a:pt x="509993" y="-10756"/>
                    <a:pt x="391345" y="4455"/>
                  </a:cubicBezTo>
                  <a:cubicBezTo>
                    <a:pt x="260528" y="19666"/>
                    <a:pt x="129712" y="40962"/>
                    <a:pt x="90162" y="104849"/>
                  </a:cubicBezTo>
                  <a:cubicBezTo>
                    <a:pt x="-22401" y="290427"/>
                    <a:pt x="-22401" y="454708"/>
                    <a:pt x="50613" y="652455"/>
                  </a:cubicBezTo>
                  <a:cubicBezTo>
                    <a:pt x="71909" y="710258"/>
                    <a:pt x="77993" y="844117"/>
                    <a:pt x="93204" y="977976"/>
                  </a:cubicBezTo>
                  <a:cubicBezTo>
                    <a:pt x="93204" y="977976"/>
                    <a:pt x="376134" y="999271"/>
                    <a:pt x="768585" y="962765"/>
                  </a:cubicBezTo>
                  <a:cubicBezTo>
                    <a:pt x="738163" y="743722"/>
                    <a:pt x="765543" y="415159"/>
                    <a:pt x="774669" y="390821"/>
                  </a:cubicBezTo>
                  <a:close/>
                </a:path>
              </a:pathLst>
            </a:custGeom>
            <a:solidFill>
              <a:srgbClr val="D16156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1B95595D-71AA-4BDC-AA92-FE56196E0501}"/>
                </a:ext>
              </a:extLst>
            </p:cNvPr>
            <p:cNvSpPr/>
            <p:nvPr/>
          </p:nvSpPr>
          <p:spPr>
            <a:xfrm>
              <a:off x="8801328" y="8464733"/>
              <a:ext cx="310309" cy="325521"/>
            </a:xfrm>
            <a:custGeom>
              <a:avLst/>
              <a:gdLst>
                <a:gd name="connsiteX0" fmla="*/ 54761 w 310309"/>
                <a:gd name="connsiteY0" fmla="*/ 60845 h 325521"/>
                <a:gd name="connsiteX1" fmla="*/ 0 w 310309"/>
                <a:gd name="connsiteY1" fmla="*/ 200788 h 325521"/>
                <a:gd name="connsiteX2" fmla="*/ 115606 w 310309"/>
                <a:gd name="connsiteY2" fmla="*/ 325521 h 325521"/>
                <a:gd name="connsiteX3" fmla="*/ 310310 w 310309"/>
                <a:gd name="connsiteY3" fmla="*/ 185577 h 325521"/>
                <a:gd name="connsiteX4" fmla="*/ 258592 w 310309"/>
                <a:gd name="connsiteY4" fmla="*/ 0 h 325521"/>
                <a:gd name="connsiteX5" fmla="*/ 54761 w 310309"/>
                <a:gd name="connsiteY5" fmla="*/ 60845 h 325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0309" h="325521">
                  <a:moveTo>
                    <a:pt x="54761" y="60845"/>
                  </a:moveTo>
                  <a:cubicBezTo>
                    <a:pt x="54761" y="60845"/>
                    <a:pt x="60845" y="170366"/>
                    <a:pt x="0" y="200788"/>
                  </a:cubicBezTo>
                  <a:lnTo>
                    <a:pt x="115606" y="325521"/>
                  </a:lnTo>
                  <a:cubicBezTo>
                    <a:pt x="115606" y="325521"/>
                    <a:pt x="255549" y="216000"/>
                    <a:pt x="310310" y="185577"/>
                  </a:cubicBezTo>
                  <a:cubicBezTo>
                    <a:pt x="255549" y="142986"/>
                    <a:pt x="258592" y="60845"/>
                    <a:pt x="258592" y="0"/>
                  </a:cubicBezTo>
                  <a:cubicBezTo>
                    <a:pt x="258592" y="0"/>
                    <a:pt x="109521" y="69971"/>
                    <a:pt x="54761" y="60845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2A48D903-26E4-474A-B6BA-0625239B87AA}"/>
                </a:ext>
              </a:extLst>
            </p:cNvPr>
            <p:cNvSpPr/>
            <p:nvPr/>
          </p:nvSpPr>
          <p:spPr>
            <a:xfrm>
              <a:off x="8520615" y="8744620"/>
              <a:ext cx="101219" cy="553690"/>
            </a:xfrm>
            <a:custGeom>
              <a:avLst/>
              <a:gdLst>
                <a:gd name="connsiteX0" fmla="*/ 55586 w 101219"/>
                <a:gd name="connsiteY0" fmla="*/ 553690 h 553690"/>
                <a:gd name="connsiteX1" fmla="*/ 49501 w 101219"/>
                <a:gd name="connsiteY1" fmla="*/ 550648 h 553690"/>
                <a:gd name="connsiteX2" fmla="*/ 34290 w 101219"/>
                <a:gd name="connsiteY2" fmla="*/ 495887 h 553690"/>
                <a:gd name="connsiteX3" fmla="*/ 825 w 101219"/>
                <a:gd name="connsiteY3" fmla="*/ 346817 h 553690"/>
                <a:gd name="connsiteX4" fmla="*/ 89050 w 101219"/>
                <a:gd name="connsiteY4" fmla="*/ 3042 h 553690"/>
                <a:gd name="connsiteX5" fmla="*/ 98177 w 101219"/>
                <a:gd name="connsiteY5" fmla="*/ 0 h 553690"/>
                <a:gd name="connsiteX6" fmla="*/ 101220 w 101219"/>
                <a:gd name="connsiteY6" fmla="*/ 9127 h 553690"/>
                <a:gd name="connsiteX7" fmla="*/ 12994 w 101219"/>
                <a:gd name="connsiteY7" fmla="*/ 346817 h 553690"/>
                <a:gd name="connsiteX8" fmla="*/ 46459 w 101219"/>
                <a:gd name="connsiteY8" fmla="*/ 495887 h 553690"/>
                <a:gd name="connsiteX9" fmla="*/ 61670 w 101219"/>
                <a:gd name="connsiteY9" fmla="*/ 550648 h 553690"/>
                <a:gd name="connsiteX10" fmla="*/ 55586 w 101219"/>
                <a:gd name="connsiteY10" fmla="*/ 553690 h 553690"/>
                <a:gd name="connsiteX11" fmla="*/ 55586 w 101219"/>
                <a:gd name="connsiteY11" fmla="*/ 553690 h 553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219" h="553690">
                  <a:moveTo>
                    <a:pt x="55586" y="553690"/>
                  </a:moveTo>
                  <a:cubicBezTo>
                    <a:pt x="52543" y="553690"/>
                    <a:pt x="49501" y="550648"/>
                    <a:pt x="49501" y="550648"/>
                  </a:cubicBezTo>
                  <a:cubicBezTo>
                    <a:pt x="43417" y="532394"/>
                    <a:pt x="40375" y="514141"/>
                    <a:pt x="34290" y="495887"/>
                  </a:cubicBezTo>
                  <a:cubicBezTo>
                    <a:pt x="19078" y="444169"/>
                    <a:pt x="3867" y="392451"/>
                    <a:pt x="825" y="346817"/>
                  </a:cubicBezTo>
                  <a:cubicBezTo>
                    <a:pt x="-5259" y="222085"/>
                    <a:pt x="22121" y="106479"/>
                    <a:pt x="89050" y="3042"/>
                  </a:cubicBezTo>
                  <a:cubicBezTo>
                    <a:pt x="92093" y="0"/>
                    <a:pt x="95135" y="0"/>
                    <a:pt x="98177" y="0"/>
                  </a:cubicBezTo>
                  <a:cubicBezTo>
                    <a:pt x="101220" y="3042"/>
                    <a:pt x="101220" y="6084"/>
                    <a:pt x="101220" y="9127"/>
                  </a:cubicBezTo>
                  <a:cubicBezTo>
                    <a:pt x="37332" y="112563"/>
                    <a:pt x="6910" y="225127"/>
                    <a:pt x="12994" y="346817"/>
                  </a:cubicBezTo>
                  <a:cubicBezTo>
                    <a:pt x="16036" y="392451"/>
                    <a:pt x="31248" y="444169"/>
                    <a:pt x="46459" y="495887"/>
                  </a:cubicBezTo>
                  <a:cubicBezTo>
                    <a:pt x="52543" y="514141"/>
                    <a:pt x="58628" y="532394"/>
                    <a:pt x="61670" y="550648"/>
                  </a:cubicBezTo>
                  <a:cubicBezTo>
                    <a:pt x="61670" y="550648"/>
                    <a:pt x="58628" y="553690"/>
                    <a:pt x="55586" y="553690"/>
                  </a:cubicBezTo>
                  <a:cubicBezTo>
                    <a:pt x="55586" y="553690"/>
                    <a:pt x="55586" y="553690"/>
                    <a:pt x="55586" y="553690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28F6AB74-DCCC-43A9-8E88-80AA1D77A888}"/>
                </a:ext>
              </a:extLst>
            </p:cNvPr>
            <p:cNvSpPr/>
            <p:nvPr/>
          </p:nvSpPr>
          <p:spPr>
            <a:xfrm>
              <a:off x="8640088" y="9182898"/>
              <a:ext cx="399795" cy="36313"/>
            </a:xfrm>
            <a:custGeom>
              <a:avLst/>
              <a:gdLst>
                <a:gd name="connsiteX0" fmla="*/ 6084 w 399795"/>
                <a:gd name="connsiteY0" fmla="*/ 36313 h 36313"/>
                <a:gd name="connsiteX1" fmla="*/ 0 w 399795"/>
                <a:gd name="connsiteY1" fmla="*/ 33271 h 36313"/>
                <a:gd name="connsiteX2" fmla="*/ 3042 w 399795"/>
                <a:gd name="connsiteY2" fmla="*/ 27187 h 36313"/>
                <a:gd name="connsiteX3" fmla="*/ 395493 w 399795"/>
                <a:gd name="connsiteY3" fmla="*/ 15018 h 36313"/>
                <a:gd name="connsiteX4" fmla="*/ 398535 w 399795"/>
                <a:gd name="connsiteY4" fmla="*/ 21102 h 36313"/>
                <a:gd name="connsiteX5" fmla="*/ 392451 w 399795"/>
                <a:gd name="connsiteY5" fmla="*/ 24144 h 36313"/>
                <a:gd name="connsiteX6" fmla="*/ 6084 w 399795"/>
                <a:gd name="connsiteY6" fmla="*/ 36313 h 36313"/>
                <a:gd name="connsiteX7" fmla="*/ 6084 w 399795"/>
                <a:gd name="connsiteY7" fmla="*/ 36313 h 3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9795" h="36313">
                  <a:moveTo>
                    <a:pt x="6084" y="36313"/>
                  </a:moveTo>
                  <a:cubicBezTo>
                    <a:pt x="3042" y="36313"/>
                    <a:pt x="3042" y="36313"/>
                    <a:pt x="0" y="33271"/>
                  </a:cubicBezTo>
                  <a:cubicBezTo>
                    <a:pt x="0" y="30229"/>
                    <a:pt x="0" y="27187"/>
                    <a:pt x="3042" y="27187"/>
                  </a:cubicBezTo>
                  <a:cubicBezTo>
                    <a:pt x="88226" y="-3236"/>
                    <a:pt x="295099" y="-9321"/>
                    <a:pt x="395493" y="15018"/>
                  </a:cubicBezTo>
                  <a:cubicBezTo>
                    <a:pt x="398535" y="15018"/>
                    <a:pt x="401577" y="18060"/>
                    <a:pt x="398535" y="21102"/>
                  </a:cubicBezTo>
                  <a:cubicBezTo>
                    <a:pt x="398535" y="24144"/>
                    <a:pt x="395493" y="27187"/>
                    <a:pt x="392451" y="24144"/>
                  </a:cubicBezTo>
                  <a:cubicBezTo>
                    <a:pt x="298141" y="2849"/>
                    <a:pt x="91268" y="8933"/>
                    <a:pt x="6084" y="36313"/>
                  </a:cubicBezTo>
                  <a:cubicBezTo>
                    <a:pt x="9127" y="36313"/>
                    <a:pt x="9127" y="36313"/>
                    <a:pt x="6084" y="36313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6669CFEA-E323-477B-8135-92644AC73378}"/>
                </a:ext>
              </a:extLst>
            </p:cNvPr>
            <p:cNvSpPr/>
            <p:nvPr/>
          </p:nvSpPr>
          <p:spPr>
            <a:xfrm>
              <a:off x="8776990" y="8653353"/>
              <a:ext cx="358986" cy="155154"/>
            </a:xfrm>
            <a:custGeom>
              <a:avLst/>
              <a:gdLst>
                <a:gd name="connsiteX0" fmla="*/ 36507 w 358986"/>
                <a:gd name="connsiteY0" fmla="*/ 6084 h 155154"/>
                <a:gd name="connsiteX1" fmla="*/ 139944 w 358986"/>
                <a:gd name="connsiteY1" fmla="*/ 121690 h 155154"/>
                <a:gd name="connsiteX2" fmla="*/ 334648 w 358986"/>
                <a:gd name="connsiteY2" fmla="*/ 0 h 155154"/>
                <a:gd name="connsiteX3" fmla="*/ 358986 w 358986"/>
                <a:gd name="connsiteY3" fmla="*/ 9127 h 155154"/>
                <a:gd name="connsiteX4" fmla="*/ 136901 w 358986"/>
                <a:gd name="connsiteY4" fmla="*/ 155155 h 155154"/>
                <a:gd name="connsiteX5" fmla="*/ 0 w 358986"/>
                <a:gd name="connsiteY5" fmla="*/ 15211 h 155154"/>
                <a:gd name="connsiteX6" fmla="*/ 36507 w 358986"/>
                <a:gd name="connsiteY6" fmla="*/ 6084 h 155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8986" h="155154">
                  <a:moveTo>
                    <a:pt x="36507" y="6084"/>
                  </a:moveTo>
                  <a:lnTo>
                    <a:pt x="139944" y="121690"/>
                  </a:lnTo>
                  <a:cubicBezTo>
                    <a:pt x="139944" y="121690"/>
                    <a:pt x="270761" y="21296"/>
                    <a:pt x="334648" y="0"/>
                  </a:cubicBezTo>
                  <a:lnTo>
                    <a:pt x="358986" y="9127"/>
                  </a:lnTo>
                  <a:lnTo>
                    <a:pt x="136901" y="155155"/>
                  </a:lnTo>
                  <a:lnTo>
                    <a:pt x="0" y="15211"/>
                  </a:lnTo>
                  <a:cubicBezTo>
                    <a:pt x="0" y="12169"/>
                    <a:pt x="15211" y="9127"/>
                    <a:pt x="36507" y="6084"/>
                  </a:cubicBezTo>
                  <a:close/>
                </a:path>
              </a:pathLst>
            </a:custGeom>
            <a:solidFill>
              <a:srgbClr val="D16156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4EFC9E14-06EE-4594-AEA8-0779B97DD6A6}"/>
                </a:ext>
              </a:extLst>
            </p:cNvPr>
            <p:cNvSpPr/>
            <p:nvPr/>
          </p:nvSpPr>
          <p:spPr>
            <a:xfrm>
              <a:off x="8491018" y="9578198"/>
              <a:ext cx="924844" cy="190309"/>
            </a:xfrm>
            <a:custGeom>
              <a:avLst/>
              <a:gdLst>
                <a:gd name="connsiteX0" fmla="*/ 800113 w 924844"/>
                <a:gd name="connsiteY0" fmla="*/ 0 h 190309"/>
                <a:gd name="connsiteX1" fmla="*/ 924845 w 924844"/>
                <a:gd name="connsiteY1" fmla="*/ 130817 h 190309"/>
                <a:gd name="connsiteX2" fmla="*/ 0 w 924844"/>
                <a:gd name="connsiteY2" fmla="*/ 130817 h 190309"/>
                <a:gd name="connsiteX3" fmla="*/ 127775 w 924844"/>
                <a:gd name="connsiteY3" fmla="*/ 42591 h 190309"/>
                <a:gd name="connsiteX4" fmla="*/ 800113 w 924844"/>
                <a:gd name="connsiteY4" fmla="*/ 0 h 190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4844" h="190309">
                  <a:moveTo>
                    <a:pt x="800113" y="0"/>
                  </a:moveTo>
                  <a:lnTo>
                    <a:pt x="924845" y="130817"/>
                  </a:lnTo>
                  <a:cubicBezTo>
                    <a:pt x="924845" y="130817"/>
                    <a:pt x="501972" y="264676"/>
                    <a:pt x="0" y="130817"/>
                  </a:cubicBezTo>
                  <a:lnTo>
                    <a:pt x="127775" y="42591"/>
                  </a:lnTo>
                  <a:cubicBezTo>
                    <a:pt x="127775" y="39549"/>
                    <a:pt x="708845" y="21295"/>
                    <a:pt x="800113" y="0"/>
                  </a:cubicBezTo>
                  <a:close/>
                </a:path>
              </a:pathLst>
            </a:custGeom>
            <a:solidFill>
              <a:srgbClr val="D16156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A127F8C9-BCD4-4FE4-A812-CF86D5407844}"/>
                </a:ext>
              </a:extLst>
            </p:cNvPr>
            <p:cNvSpPr/>
            <p:nvPr/>
          </p:nvSpPr>
          <p:spPr>
            <a:xfrm>
              <a:off x="8612708" y="9593409"/>
              <a:ext cx="313352" cy="30422"/>
            </a:xfrm>
            <a:custGeom>
              <a:avLst/>
              <a:gdLst>
                <a:gd name="connsiteX0" fmla="*/ 6084 w 313352"/>
                <a:gd name="connsiteY0" fmla="*/ 30423 h 30422"/>
                <a:gd name="connsiteX1" fmla="*/ 0 w 313352"/>
                <a:gd name="connsiteY1" fmla="*/ 24338 h 30422"/>
                <a:gd name="connsiteX2" fmla="*/ 6084 w 313352"/>
                <a:gd name="connsiteY2" fmla="*/ 18253 h 30422"/>
                <a:gd name="connsiteX3" fmla="*/ 307267 w 313352"/>
                <a:gd name="connsiteY3" fmla="*/ 0 h 30422"/>
                <a:gd name="connsiteX4" fmla="*/ 313352 w 313352"/>
                <a:gd name="connsiteY4" fmla="*/ 3042 h 30422"/>
                <a:gd name="connsiteX5" fmla="*/ 310310 w 313352"/>
                <a:gd name="connsiteY5" fmla="*/ 9126 h 30422"/>
                <a:gd name="connsiteX6" fmla="*/ 6084 w 313352"/>
                <a:gd name="connsiteY6" fmla="*/ 30423 h 30422"/>
                <a:gd name="connsiteX7" fmla="*/ 6084 w 313352"/>
                <a:gd name="connsiteY7" fmla="*/ 30423 h 30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3352" h="30422">
                  <a:moveTo>
                    <a:pt x="6084" y="30423"/>
                  </a:moveTo>
                  <a:cubicBezTo>
                    <a:pt x="3042" y="30423"/>
                    <a:pt x="0" y="27380"/>
                    <a:pt x="0" y="24338"/>
                  </a:cubicBezTo>
                  <a:cubicBezTo>
                    <a:pt x="0" y="21295"/>
                    <a:pt x="3042" y="18253"/>
                    <a:pt x="6084" y="18253"/>
                  </a:cubicBezTo>
                  <a:cubicBezTo>
                    <a:pt x="9127" y="18253"/>
                    <a:pt x="216000" y="15211"/>
                    <a:pt x="307267" y="0"/>
                  </a:cubicBezTo>
                  <a:cubicBezTo>
                    <a:pt x="310310" y="0"/>
                    <a:pt x="313352" y="0"/>
                    <a:pt x="313352" y="3042"/>
                  </a:cubicBezTo>
                  <a:cubicBezTo>
                    <a:pt x="313352" y="6084"/>
                    <a:pt x="313352" y="9126"/>
                    <a:pt x="310310" y="9126"/>
                  </a:cubicBezTo>
                  <a:cubicBezTo>
                    <a:pt x="216000" y="27380"/>
                    <a:pt x="9127" y="30423"/>
                    <a:pt x="6084" y="30423"/>
                  </a:cubicBezTo>
                  <a:lnTo>
                    <a:pt x="6084" y="30423"/>
                  </a:ln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9785FD15-7B90-4B41-9545-5544E9318D67}"/>
                </a:ext>
              </a:extLst>
            </p:cNvPr>
            <p:cNvSpPr/>
            <p:nvPr/>
          </p:nvSpPr>
          <p:spPr>
            <a:xfrm>
              <a:off x="9211657" y="8765526"/>
              <a:ext cx="627454" cy="1040841"/>
            </a:xfrm>
            <a:custGeom>
              <a:avLst/>
              <a:gdLst>
                <a:gd name="connsiteX0" fmla="*/ 155530 w 627454"/>
                <a:gd name="connsiteY0" fmla="*/ 15602 h 1040841"/>
                <a:gd name="connsiteX1" fmla="*/ 55135 w 627454"/>
                <a:gd name="connsiteY1" fmla="*/ 249855 h 1040841"/>
                <a:gd name="connsiteX2" fmla="*/ 435417 w 627454"/>
                <a:gd name="connsiteY2" fmla="*/ 605799 h 1040841"/>
                <a:gd name="connsiteX3" fmla="*/ 435417 w 627454"/>
                <a:gd name="connsiteY3" fmla="*/ 1019546 h 1040841"/>
                <a:gd name="connsiteX4" fmla="*/ 560149 w 627454"/>
                <a:gd name="connsiteY4" fmla="*/ 1040842 h 1040841"/>
                <a:gd name="connsiteX5" fmla="*/ 624037 w 627454"/>
                <a:gd name="connsiteY5" fmla="*/ 520616 h 1040841"/>
                <a:gd name="connsiteX6" fmla="*/ 155530 w 627454"/>
                <a:gd name="connsiteY6" fmla="*/ 15602 h 1040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7454" h="1040841">
                  <a:moveTo>
                    <a:pt x="155530" y="15602"/>
                  </a:moveTo>
                  <a:cubicBezTo>
                    <a:pt x="-11794" y="-60455"/>
                    <a:pt x="-42217" y="161630"/>
                    <a:pt x="55135" y="249855"/>
                  </a:cubicBezTo>
                  <a:cubicBezTo>
                    <a:pt x="152487" y="335038"/>
                    <a:pt x="368487" y="557123"/>
                    <a:pt x="435417" y="605799"/>
                  </a:cubicBezTo>
                  <a:cubicBezTo>
                    <a:pt x="465839" y="694024"/>
                    <a:pt x="435417" y="1019546"/>
                    <a:pt x="435417" y="1019546"/>
                  </a:cubicBezTo>
                  <a:cubicBezTo>
                    <a:pt x="465839" y="1025630"/>
                    <a:pt x="560149" y="1040842"/>
                    <a:pt x="560149" y="1040842"/>
                  </a:cubicBezTo>
                  <a:cubicBezTo>
                    <a:pt x="560149" y="1040842"/>
                    <a:pt x="645332" y="666644"/>
                    <a:pt x="624037" y="520616"/>
                  </a:cubicBezTo>
                  <a:cubicBezTo>
                    <a:pt x="608825" y="450644"/>
                    <a:pt x="331980" y="94701"/>
                    <a:pt x="155530" y="15602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B5AB5CE7-6A17-463E-BAE0-1A4B37CF8D12}"/>
                </a:ext>
              </a:extLst>
            </p:cNvPr>
            <p:cNvSpPr/>
            <p:nvPr/>
          </p:nvSpPr>
          <p:spPr>
            <a:xfrm>
              <a:off x="9130356" y="8708708"/>
              <a:ext cx="422407" cy="428362"/>
            </a:xfrm>
            <a:custGeom>
              <a:avLst/>
              <a:gdLst>
                <a:gd name="connsiteX0" fmla="*/ 422408 w 422407"/>
                <a:gd name="connsiteY0" fmla="*/ 127180 h 428362"/>
                <a:gd name="connsiteX1" fmla="*/ 32999 w 422407"/>
                <a:gd name="connsiteY1" fmla="*/ 20701 h 428362"/>
                <a:gd name="connsiteX2" fmla="*/ 200323 w 422407"/>
                <a:gd name="connsiteY2" fmla="*/ 428363 h 428362"/>
                <a:gd name="connsiteX3" fmla="*/ 422408 w 422407"/>
                <a:gd name="connsiteY3" fmla="*/ 127180 h 428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407" h="428362">
                  <a:moveTo>
                    <a:pt x="422408" y="127180"/>
                  </a:moveTo>
                  <a:cubicBezTo>
                    <a:pt x="285506" y="2447"/>
                    <a:pt x="96887" y="-24933"/>
                    <a:pt x="32999" y="20701"/>
                  </a:cubicBezTo>
                  <a:cubicBezTo>
                    <a:pt x="-52183" y="81546"/>
                    <a:pt x="36042" y="306672"/>
                    <a:pt x="200323" y="428363"/>
                  </a:cubicBezTo>
                  <a:cubicBezTo>
                    <a:pt x="273338" y="404024"/>
                    <a:pt x="379816" y="221489"/>
                    <a:pt x="422408" y="127180"/>
                  </a:cubicBezTo>
                  <a:close/>
                </a:path>
              </a:pathLst>
            </a:custGeom>
            <a:solidFill>
              <a:srgbClr val="D16156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B4274136-45B2-4FD6-8385-C586AFC81DB4}"/>
                </a:ext>
              </a:extLst>
            </p:cNvPr>
            <p:cNvSpPr/>
            <p:nvPr/>
          </p:nvSpPr>
          <p:spPr>
            <a:xfrm>
              <a:off x="9124733" y="8736254"/>
              <a:ext cx="314707" cy="409943"/>
            </a:xfrm>
            <a:custGeom>
              <a:avLst/>
              <a:gdLst>
                <a:gd name="connsiteX0" fmla="*/ 205947 w 314707"/>
                <a:gd name="connsiteY0" fmla="*/ 409944 h 409943"/>
                <a:gd name="connsiteX1" fmla="*/ 205947 w 314707"/>
                <a:gd name="connsiteY1" fmla="*/ 409944 h 409943"/>
                <a:gd name="connsiteX2" fmla="*/ 20370 w 314707"/>
                <a:gd name="connsiteY2" fmla="*/ 169606 h 409943"/>
                <a:gd name="connsiteX3" fmla="*/ 17327 w 314707"/>
                <a:gd name="connsiteY3" fmla="*/ 160479 h 409943"/>
                <a:gd name="connsiteX4" fmla="*/ 20370 w 314707"/>
                <a:gd name="connsiteY4" fmla="*/ 2282 h 409943"/>
                <a:gd name="connsiteX5" fmla="*/ 29497 w 314707"/>
                <a:gd name="connsiteY5" fmla="*/ 2282 h 409943"/>
                <a:gd name="connsiteX6" fmla="*/ 29497 w 314707"/>
                <a:gd name="connsiteY6" fmla="*/ 11408 h 409943"/>
                <a:gd name="connsiteX7" fmla="*/ 26454 w 314707"/>
                <a:gd name="connsiteY7" fmla="*/ 157436 h 409943"/>
                <a:gd name="connsiteX8" fmla="*/ 29497 w 314707"/>
                <a:gd name="connsiteY8" fmla="*/ 166563 h 409943"/>
                <a:gd name="connsiteX9" fmla="*/ 205947 w 314707"/>
                <a:gd name="connsiteY9" fmla="*/ 397775 h 409943"/>
                <a:gd name="connsiteX10" fmla="*/ 303299 w 314707"/>
                <a:gd name="connsiteY10" fmla="*/ 300422 h 409943"/>
                <a:gd name="connsiteX11" fmla="*/ 312426 w 314707"/>
                <a:gd name="connsiteY11" fmla="*/ 300422 h 409943"/>
                <a:gd name="connsiteX12" fmla="*/ 312426 w 314707"/>
                <a:gd name="connsiteY12" fmla="*/ 309549 h 409943"/>
                <a:gd name="connsiteX13" fmla="*/ 205947 w 314707"/>
                <a:gd name="connsiteY13" fmla="*/ 409944 h 409943"/>
                <a:gd name="connsiteX14" fmla="*/ 205947 w 314707"/>
                <a:gd name="connsiteY14" fmla="*/ 409944 h 409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4707" h="409943">
                  <a:moveTo>
                    <a:pt x="205947" y="409944"/>
                  </a:moveTo>
                  <a:lnTo>
                    <a:pt x="205947" y="409944"/>
                  </a:lnTo>
                  <a:cubicBezTo>
                    <a:pt x="175524" y="391690"/>
                    <a:pt x="50792" y="273042"/>
                    <a:pt x="20370" y="169606"/>
                  </a:cubicBezTo>
                  <a:cubicBezTo>
                    <a:pt x="20370" y="166563"/>
                    <a:pt x="17327" y="163521"/>
                    <a:pt x="17327" y="160479"/>
                  </a:cubicBezTo>
                  <a:cubicBezTo>
                    <a:pt x="5158" y="127014"/>
                    <a:pt x="-16137" y="57042"/>
                    <a:pt x="20370" y="2282"/>
                  </a:cubicBezTo>
                  <a:cubicBezTo>
                    <a:pt x="23412" y="-761"/>
                    <a:pt x="26454" y="-761"/>
                    <a:pt x="29497" y="2282"/>
                  </a:cubicBezTo>
                  <a:cubicBezTo>
                    <a:pt x="32539" y="5324"/>
                    <a:pt x="32539" y="8366"/>
                    <a:pt x="29497" y="11408"/>
                  </a:cubicBezTo>
                  <a:cubicBezTo>
                    <a:pt x="-7011" y="60084"/>
                    <a:pt x="17327" y="127014"/>
                    <a:pt x="26454" y="157436"/>
                  </a:cubicBezTo>
                  <a:cubicBezTo>
                    <a:pt x="26454" y="160479"/>
                    <a:pt x="29497" y="163521"/>
                    <a:pt x="29497" y="166563"/>
                  </a:cubicBezTo>
                  <a:cubicBezTo>
                    <a:pt x="59919" y="263915"/>
                    <a:pt x="175524" y="376479"/>
                    <a:pt x="205947" y="397775"/>
                  </a:cubicBezTo>
                  <a:cubicBezTo>
                    <a:pt x="230285" y="388648"/>
                    <a:pt x="260708" y="355183"/>
                    <a:pt x="303299" y="300422"/>
                  </a:cubicBezTo>
                  <a:cubicBezTo>
                    <a:pt x="306341" y="297380"/>
                    <a:pt x="309384" y="297380"/>
                    <a:pt x="312426" y="300422"/>
                  </a:cubicBezTo>
                  <a:cubicBezTo>
                    <a:pt x="315468" y="303465"/>
                    <a:pt x="315468" y="306507"/>
                    <a:pt x="312426" y="309549"/>
                  </a:cubicBezTo>
                  <a:cubicBezTo>
                    <a:pt x="269834" y="364310"/>
                    <a:pt x="236369" y="397775"/>
                    <a:pt x="205947" y="409944"/>
                  </a:cubicBezTo>
                  <a:lnTo>
                    <a:pt x="205947" y="409944"/>
                  </a:ln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7FDC567C-CB21-4F7C-9CBA-7C5C94782CC0}"/>
                </a:ext>
              </a:extLst>
            </p:cNvPr>
            <p:cNvSpPr/>
            <p:nvPr/>
          </p:nvSpPr>
          <p:spPr>
            <a:xfrm>
              <a:off x="8722129" y="8046644"/>
              <a:ext cx="415603" cy="567236"/>
            </a:xfrm>
            <a:custGeom>
              <a:avLst/>
              <a:gdLst>
                <a:gd name="connsiteX0" fmla="*/ 3143 w 415603"/>
                <a:gd name="connsiteY0" fmla="*/ 186878 h 567236"/>
                <a:gd name="connsiteX1" fmla="*/ 24439 w 415603"/>
                <a:gd name="connsiteY1" fmla="*/ 442427 h 567236"/>
                <a:gd name="connsiteX2" fmla="*/ 176551 w 415603"/>
                <a:gd name="connsiteY2" fmla="*/ 567160 h 567236"/>
                <a:gd name="connsiteX3" fmla="*/ 386467 w 415603"/>
                <a:gd name="connsiteY3" fmla="*/ 415047 h 567236"/>
                <a:gd name="connsiteX4" fmla="*/ 413847 w 415603"/>
                <a:gd name="connsiteY4" fmla="*/ 189920 h 567236"/>
                <a:gd name="connsiteX5" fmla="*/ 191762 w 415603"/>
                <a:gd name="connsiteY5" fmla="*/ 1300 h 567236"/>
                <a:gd name="connsiteX6" fmla="*/ 3143 w 415603"/>
                <a:gd name="connsiteY6" fmla="*/ 186878 h 567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5603" h="567236">
                  <a:moveTo>
                    <a:pt x="3143" y="186878"/>
                  </a:moveTo>
                  <a:cubicBezTo>
                    <a:pt x="3143" y="186878"/>
                    <a:pt x="-12068" y="375497"/>
                    <a:pt x="24439" y="442427"/>
                  </a:cubicBezTo>
                  <a:cubicBezTo>
                    <a:pt x="63988" y="509357"/>
                    <a:pt x="127875" y="564117"/>
                    <a:pt x="176551" y="567160"/>
                  </a:cubicBezTo>
                  <a:cubicBezTo>
                    <a:pt x="243481" y="570202"/>
                    <a:pt x="353002" y="481976"/>
                    <a:pt x="386467" y="415047"/>
                  </a:cubicBezTo>
                  <a:cubicBezTo>
                    <a:pt x="419931" y="348117"/>
                    <a:pt x="416890" y="238596"/>
                    <a:pt x="413847" y="189920"/>
                  </a:cubicBezTo>
                  <a:cubicBezTo>
                    <a:pt x="407763" y="95610"/>
                    <a:pt x="377340" y="19554"/>
                    <a:pt x="191762" y="1300"/>
                  </a:cubicBezTo>
                  <a:cubicBezTo>
                    <a:pt x="109622" y="-13911"/>
                    <a:pt x="18354" y="107779"/>
                    <a:pt x="3143" y="186878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91E28EF6-C0B8-40A0-BFE4-0B7A6D63FA15}"/>
                </a:ext>
              </a:extLst>
            </p:cNvPr>
            <p:cNvSpPr/>
            <p:nvPr/>
          </p:nvSpPr>
          <p:spPr>
            <a:xfrm>
              <a:off x="8862173" y="8323529"/>
              <a:ext cx="57802" cy="132077"/>
            </a:xfrm>
            <a:custGeom>
              <a:avLst/>
              <a:gdLst>
                <a:gd name="connsiteX0" fmla="*/ 27380 w 57802"/>
                <a:gd name="connsiteY0" fmla="*/ 132077 h 132077"/>
                <a:gd name="connsiteX1" fmla="*/ 6084 w 57802"/>
                <a:gd name="connsiteY1" fmla="*/ 125993 h 132077"/>
                <a:gd name="connsiteX2" fmla="*/ 0 w 57802"/>
                <a:gd name="connsiteY2" fmla="*/ 113824 h 132077"/>
                <a:gd name="connsiteX3" fmla="*/ 24338 w 57802"/>
                <a:gd name="connsiteY3" fmla="*/ 4303 h 132077"/>
                <a:gd name="connsiteX4" fmla="*/ 30423 w 57802"/>
                <a:gd name="connsiteY4" fmla="*/ 1260 h 132077"/>
                <a:gd name="connsiteX5" fmla="*/ 33465 w 57802"/>
                <a:gd name="connsiteY5" fmla="*/ 7345 h 132077"/>
                <a:gd name="connsiteX6" fmla="*/ 9127 w 57802"/>
                <a:gd name="connsiteY6" fmla="*/ 113824 h 132077"/>
                <a:gd name="connsiteX7" fmla="*/ 12169 w 57802"/>
                <a:gd name="connsiteY7" fmla="*/ 116866 h 132077"/>
                <a:gd name="connsiteX8" fmla="*/ 51718 w 57802"/>
                <a:gd name="connsiteY8" fmla="*/ 116866 h 132077"/>
                <a:gd name="connsiteX9" fmla="*/ 57803 w 57802"/>
                <a:gd name="connsiteY9" fmla="*/ 119908 h 132077"/>
                <a:gd name="connsiteX10" fmla="*/ 54761 w 57802"/>
                <a:gd name="connsiteY10" fmla="*/ 125993 h 132077"/>
                <a:gd name="connsiteX11" fmla="*/ 27380 w 57802"/>
                <a:gd name="connsiteY11" fmla="*/ 132077 h 132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802" h="132077">
                  <a:moveTo>
                    <a:pt x="27380" y="132077"/>
                  </a:moveTo>
                  <a:cubicBezTo>
                    <a:pt x="18254" y="132077"/>
                    <a:pt x="9127" y="132077"/>
                    <a:pt x="6084" y="125993"/>
                  </a:cubicBezTo>
                  <a:cubicBezTo>
                    <a:pt x="3042" y="122950"/>
                    <a:pt x="0" y="119908"/>
                    <a:pt x="0" y="113824"/>
                  </a:cubicBezTo>
                  <a:cubicBezTo>
                    <a:pt x="0" y="92528"/>
                    <a:pt x="21296" y="7345"/>
                    <a:pt x="24338" y="4303"/>
                  </a:cubicBezTo>
                  <a:cubicBezTo>
                    <a:pt x="24338" y="1260"/>
                    <a:pt x="27380" y="-1782"/>
                    <a:pt x="30423" y="1260"/>
                  </a:cubicBezTo>
                  <a:cubicBezTo>
                    <a:pt x="33465" y="1260"/>
                    <a:pt x="36507" y="4303"/>
                    <a:pt x="33465" y="7345"/>
                  </a:cubicBezTo>
                  <a:cubicBezTo>
                    <a:pt x="27380" y="31683"/>
                    <a:pt x="9127" y="98612"/>
                    <a:pt x="9127" y="113824"/>
                  </a:cubicBezTo>
                  <a:cubicBezTo>
                    <a:pt x="9127" y="113824"/>
                    <a:pt x="9127" y="116866"/>
                    <a:pt x="12169" y="116866"/>
                  </a:cubicBezTo>
                  <a:cubicBezTo>
                    <a:pt x="18254" y="122950"/>
                    <a:pt x="39549" y="119908"/>
                    <a:pt x="51718" y="116866"/>
                  </a:cubicBezTo>
                  <a:cubicBezTo>
                    <a:pt x="54761" y="116866"/>
                    <a:pt x="57803" y="116866"/>
                    <a:pt x="57803" y="119908"/>
                  </a:cubicBezTo>
                  <a:cubicBezTo>
                    <a:pt x="57803" y="122950"/>
                    <a:pt x="57803" y="125993"/>
                    <a:pt x="54761" y="125993"/>
                  </a:cubicBezTo>
                  <a:cubicBezTo>
                    <a:pt x="51718" y="129035"/>
                    <a:pt x="39549" y="132077"/>
                    <a:pt x="27380" y="132077"/>
                  </a:cubicBez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0509332F-E905-4D3B-92AA-77B135A42D18}"/>
                </a:ext>
              </a:extLst>
            </p:cNvPr>
            <p:cNvSpPr/>
            <p:nvPr/>
          </p:nvSpPr>
          <p:spPr>
            <a:xfrm>
              <a:off x="8837835" y="8484769"/>
              <a:ext cx="119908" cy="28640"/>
            </a:xfrm>
            <a:custGeom>
              <a:avLst/>
              <a:gdLst>
                <a:gd name="connsiteX0" fmla="*/ 57803 w 119908"/>
                <a:gd name="connsiteY0" fmla="*/ 28640 h 28640"/>
                <a:gd name="connsiteX1" fmla="*/ 3042 w 119908"/>
                <a:gd name="connsiteY1" fmla="*/ 16471 h 28640"/>
                <a:gd name="connsiteX2" fmla="*/ 0 w 119908"/>
                <a:gd name="connsiteY2" fmla="*/ 7345 h 28640"/>
                <a:gd name="connsiteX3" fmla="*/ 9127 w 119908"/>
                <a:gd name="connsiteY3" fmla="*/ 4302 h 28640"/>
                <a:gd name="connsiteX4" fmla="*/ 109521 w 119908"/>
                <a:gd name="connsiteY4" fmla="*/ 1260 h 28640"/>
                <a:gd name="connsiteX5" fmla="*/ 118648 w 119908"/>
                <a:gd name="connsiteY5" fmla="*/ 4302 h 28640"/>
                <a:gd name="connsiteX6" fmla="*/ 115606 w 119908"/>
                <a:gd name="connsiteY6" fmla="*/ 13429 h 28640"/>
                <a:gd name="connsiteX7" fmla="*/ 57803 w 119908"/>
                <a:gd name="connsiteY7" fmla="*/ 28640 h 28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908" h="28640">
                  <a:moveTo>
                    <a:pt x="57803" y="28640"/>
                  </a:moveTo>
                  <a:cubicBezTo>
                    <a:pt x="27381" y="28640"/>
                    <a:pt x="6084" y="16471"/>
                    <a:pt x="3042" y="16471"/>
                  </a:cubicBezTo>
                  <a:cubicBezTo>
                    <a:pt x="0" y="16471"/>
                    <a:pt x="0" y="10387"/>
                    <a:pt x="0" y="7345"/>
                  </a:cubicBezTo>
                  <a:cubicBezTo>
                    <a:pt x="0" y="4302"/>
                    <a:pt x="6084" y="4302"/>
                    <a:pt x="9127" y="4302"/>
                  </a:cubicBezTo>
                  <a:cubicBezTo>
                    <a:pt x="9127" y="4302"/>
                    <a:pt x="60845" y="28640"/>
                    <a:pt x="109521" y="1260"/>
                  </a:cubicBezTo>
                  <a:cubicBezTo>
                    <a:pt x="112563" y="-1782"/>
                    <a:pt x="115606" y="1260"/>
                    <a:pt x="118648" y="4302"/>
                  </a:cubicBezTo>
                  <a:cubicBezTo>
                    <a:pt x="121690" y="7345"/>
                    <a:pt x="118648" y="10387"/>
                    <a:pt x="115606" y="13429"/>
                  </a:cubicBezTo>
                  <a:cubicBezTo>
                    <a:pt x="97352" y="22556"/>
                    <a:pt x="76056" y="28640"/>
                    <a:pt x="57803" y="28640"/>
                  </a:cubicBez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AC9758CB-1A49-4720-A11E-2E4F3A6DC746}"/>
                </a:ext>
              </a:extLst>
            </p:cNvPr>
            <p:cNvSpPr/>
            <p:nvPr/>
          </p:nvSpPr>
          <p:spPr>
            <a:xfrm>
              <a:off x="8785341" y="8299676"/>
              <a:ext cx="40921" cy="41099"/>
            </a:xfrm>
            <a:custGeom>
              <a:avLst/>
              <a:gdLst>
                <a:gd name="connsiteX0" fmla="*/ 40325 w 40921"/>
                <a:gd name="connsiteY0" fmla="*/ 25113 h 41099"/>
                <a:gd name="connsiteX1" fmla="*/ 15987 w 40921"/>
                <a:gd name="connsiteY1" fmla="*/ 40325 h 41099"/>
                <a:gd name="connsiteX2" fmla="*/ 775 w 40921"/>
                <a:gd name="connsiteY2" fmla="*/ 15986 h 41099"/>
                <a:gd name="connsiteX3" fmla="*/ 25113 w 40921"/>
                <a:gd name="connsiteY3" fmla="*/ 775 h 41099"/>
                <a:gd name="connsiteX4" fmla="*/ 40325 w 40921"/>
                <a:gd name="connsiteY4" fmla="*/ 25113 h 41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21" h="41099">
                  <a:moveTo>
                    <a:pt x="40325" y="25113"/>
                  </a:moveTo>
                  <a:cubicBezTo>
                    <a:pt x="37282" y="37282"/>
                    <a:pt x="28155" y="43367"/>
                    <a:pt x="15987" y="40325"/>
                  </a:cubicBezTo>
                  <a:cubicBezTo>
                    <a:pt x="3818" y="37282"/>
                    <a:pt x="-2267" y="28156"/>
                    <a:pt x="775" y="15986"/>
                  </a:cubicBezTo>
                  <a:cubicBezTo>
                    <a:pt x="3818" y="3818"/>
                    <a:pt x="12944" y="-2267"/>
                    <a:pt x="25113" y="775"/>
                  </a:cubicBezTo>
                  <a:cubicBezTo>
                    <a:pt x="34240" y="3818"/>
                    <a:pt x="43367" y="12944"/>
                    <a:pt x="40325" y="25113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6B37DC88-6BDF-4B7A-B5AC-426D5D4B4752}"/>
                </a:ext>
              </a:extLst>
            </p:cNvPr>
            <p:cNvSpPr/>
            <p:nvPr/>
          </p:nvSpPr>
          <p:spPr>
            <a:xfrm>
              <a:off x="8955707" y="8296634"/>
              <a:ext cx="40921" cy="41099"/>
            </a:xfrm>
            <a:custGeom>
              <a:avLst/>
              <a:gdLst>
                <a:gd name="connsiteX0" fmla="*/ 40324 w 40921"/>
                <a:gd name="connsiteY0" fmla="*/ 25113 h 41099"/>
                <a:gd name="connsiteX1" fmla="*/ 15987 w 40921"/>
                <a:gd name="connsiteY1" fmla="*/ 40324 h 41099"/>
                <a:gd name="connsiteX2" fmla="*/ 775 w 40921"/>
                <a:gd name="connsiteY2" fmla="*/ 15987 h 41099"/>
                <a:gd name="connsiteX3" fmla="*/ 25113 w 40921"/>
                <a:gd name="connsiteY3" fmla="*/ 775 h 41099"/>
                <a:gd name="connsiteX4" fmla="*/ 40324 w 40921"/>
                <a:gd name="connsiteY4" fmla="*/ 25113 h 41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21" h="41099">
                  <a:moveTo>
                    <a:pt x="40324" y="25113"/>
                  </a:moveTo>
                  <a:cubicBezTo>
                    <a:pt x="37282" y="37282"/>
                    <a:pt x="28155" y="43367"/>
                    <a:pt x="15987" y="40324"/>
                  </a:cubicBezTo>
                  <a:cubicBezTo>
                    <a:pt x="3817" y="37282"/>
                    <a:pt x="-2267" y="28155"/>
                    <a:pt x="775" y="15987"/>
                  </a:cubicBezTo>
                  <a:cubicBezTo>
                    <a:pt x="3817" y="3817"/>
                    <a:pt x="12944" y="-2267"/>
                    <a:pt x="25113" y="775"/>
                  </a:cubicBezTo>
                  <a:cubicBezTo>
                    <a:pt x="34240" y="3817"/>
                    <a:pt x="43367" y="12944"/>
                    <a:pt x="40324" y="25113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C4A444D6-54DB-4297-BA04-D27FAF7CC977}"/>
                </a:ext>
              </a:extLst>
            </p:cNvPr>
            <p:cNvSpPr/>
            <p:nvPr/>
          </p:nvSpPr>
          <p:spPr>
            <a:xfrm>
              <a:off x="8750370" y="8245586"/>
              <a:ext cx="103936" cy="36611"/>
            </a:xfrm>
            <a:custGeom>
              <a:avLst/>
              <a:gdLst>
                <a:gd name="connsiteX0" fmla="*/ 8366 w 103936"/>
                <a:gd name="connsiteY0" fmla="*/ 36612 h 36611"/>
                <a:gd name="connsiteX1" fmla="*/ 2281 w 103936"/>
                <a:gd name="connsiteY1" fmla="*/ 33569 h 36611"/>
                <a:gd name="connsiteX2" fmla="*/ 2281 w 103936"/>
                <a:gd name="connsiteY2" fmla="*/ 21400 h 36611"/>
                <a:gd name="connsiteX3" fmla="*/ 99634 w 103936"/>
                <a:gd name="connsiteY3" fmla="*/ 9231 h 36611"/>
                <a:gd name="connsiteX4" fmla="*/ 102676 w 103936"/>
                <a:gd name="connsiteY4" fmla="*/ 18358 h 36611"/>
                <a:gd name="connsiteX5" fmla="*/ 93549 w 103936"/>
                <a:gd name="connsiteY5" fmla="*/ 21400 h 36611"/>
                <a:gd name="connsiteX6" fmla="*/ 14451 w 103936"/>
                <a:gd name="connsiteY6" fmla="*/ 30527 h 36611"/>
                <a:gd name="connsiteX7" fmla="*/ 8366 w 103936"/>
                <a:gd name="connsiteY7" fmla="*/ 36612 h 3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936" h="36611">
                  <a:moveTo>
                    <a:pt x="8366" y="36612"/>
                  </a:moveTo>
                  <a:cubicBezTo>
                    <a:pt x="5324" y="36612"/>
                    <a:pt x="5324" y="36612"/>
                    <a:pt x="2281" y="33569"/>
                  </a:cubicBezTo>
                  <a:cubicBezTo>
                    <a:pt x="-760" y="30527"/>
                    <a:pt x="-760" y="24442"/>
                    <a:pt x="2281" y="21400"/>
                  </a:cubicBezTo>
                  <a:cubicBezTo>
                    <a:pt x="44873" y="-18149"/>
                    <a:pt x="96592" y="9231"/>
                    <a:pt x="99634" y="9231"/>
                  </a:cubicBezTo>
                  <a:cubicBezTo>
                    <a:pt x="102676" y="12274"/>
                    <a:pt x="105718" y="15316"/>
                    <a:pt x="102676" y="18358"/>
                  </a:cubicBezTo>
                  <a:cubicBezTo>
                    <a:pt x="99634" y="21400"/>
                    <a:pt x="96592" y="24442"/>
                    <a:pt x="93549" y="21400"/>
                  </a:cubicBezTo>
                  <a:cubicBezTo>
                    <a:pt x="90507" y="21400"/>
                    <a:pt x="47915" y="104"/>
                    <a:pt x="14451" y="30527"/>
                  </a:cubicBezTo>
                  <a:cubicBezTo>
                    <a:pt x="11408" y="36612"/>
                    <a:pt x="11408" y="36612"/>
                    <a:pt x="8366" y="36612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2A3C9F01-CA09-4348-B69F-5FA2D8EE6810}"/>
                </a:ext>
              </a:extLst>
            </p:cNvPr>
            <p:cNvSpPr/>
            <p:nvPr/>
          </p:nvSpPr>
          <p:spPr>
            <a:xfrm>
              <a:off x="8924062" y="8240460"/>
              <a:ext cx="103652" cy="29568"/>
            </a:xfrm>
            <a:custGeom>
              <a:avLst/>
              <a:gdLst>
                <a:gd name="connsiteX0" fmla="*/ 8083 w 103652"/>
                <a:gd name="connsiteY0" fmla="*/ 29569 h 29568"/>
                <a:gd name="connsiteX1" fmla="*/ 1998 w 103652"/>
                <a:gd name="connsiteY1" fmla="*/ 26527 h 29568"/>
                <a:gd name="connsiteX2" fmla="*/ 5040 w 103652"/>
                <a:gd name="connsiteY2" fmla="*/ 14357 h 29568"/>
                <a:gd name="connsiteX3" fmla="*/ 99350 w 103652"/>
                <a:gd name="connsiteY3" fmla="*/ 11316 h 29568"/>
                <a:gd name="connsiteX4" fmla="*/ 102392 w 103652"/>
                <a:gd name="connsiteY4" fmla="*/ 23484 h 29568"/>
                <a:gd name="connsiteX5" fmla="*/ 90224 w 103652"/>
                <a:gd name="connsiteY5" fmla="*/ 26527 h 29568"/>
                <a:gd name="connsiteX6" fmla="*/ 11125 w 103652"/>
                <a:gd name="connsiteY6" fmla="*/ 29569 h 29568"/>
                <a:gd name="connsiteX7" fmla="*/ 8083 w 103652"/>
                <a:gd name="connsiteY7" fmla="*/ 29569 h 29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652" h="29568">
                  <a:moveTo>
                    <a:pt x="8083" y="29569"/>
                  </a:moveTo>
                  <a:cubicBezTo>
                    <a:pt x="5040" y="29569"/>
                    <a:pt x="1998" y="29569"/>
                    <a:pt x="1998" y="26527"/>
                  </a:cubicBezTo>
                  <a:cubicBezTo>
                    <a:pt x="-1044" y="23484"/>
                    <a:pt x="-1044" y="17400"/>
                    <a:pt x="5040" y="14357"/>
                  </a:cubicBezTo>
                  <a:cubicBezTo>
                    <a:pt x="50674" y="-16065"/>
                    <a:pt x="99350" y="11316"/>
                    <a:pt x="99350" y="11316"/>
                  </a:cubicBezTo>
                  <a:cubicBezTo>
                    <a:pt x="102392" y="14357"/>
                    <a:pt x="105435" y="17400"/>
                    <a:pt x="102392" y="23484"/>
                  </a:cubicBezTo>
                  <a:cubicBezTo>
                    <a:pt x="99350" y="26527"/>
                    <a:pt x="96308" y="29569"/>
                    <a:pt x="90224" y="26527"/>
                  </a:cubicBezTo>
                  <a:cubicBezTo>
                    <a:pt x="87181" y="26527"/>
                    <a:pt x="47632" y="2189"/>
                    <a:pt x="11125" y="29569"/>
                  </a:cubicBezTo>
                  <a:cubicBezTo>
                    <a:pt x="11125" y="29569"/>
                    <a:pt x="11125" y="29569"/>
                    <a:pt x="8083" y="29569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F336BF7A-8649-4FE1-8531-5F4672B12848}"/>
                </a:ext>
              </a:extLst>
            </p:cNvPr>
            <p:cNvSpPr/>
            <p:nvPr/>
          </p:nvSpPr>
          <p:spPr>
            <a:xfrm>
              <a:off x="8700251" y="8010293"/>
              <a:ext cx="268711" cy="265820"/>
            </a:xfrm>
            <a:custGeom>
              <a:avLst/>
              <a:gdLst>
                <a:gd name="connsiteX0" fmla="*/ 265359 w 268711"/>
                <a:gd name="connsiteY0" fmla="*/ 1144 h 265820"/>
                <a:gd name="connsiteX1" fmla="*/ 234936 w 268711"/>
                <a:gd name="connsiteY1" fmla="*/ 128919 h 265820"/>
                <a:gd name="connsiteX2" fmla="*/ 683 w 268711"/>
                <a:gd name="connsiteY2" fmla="*/ 265820 h 265820"/>
                <a:gd name="connsiteX3" fmla="*/ 265359 w 268711"/>
                <a:gd name="connsiteY3" fmla="*/ 1144 h 26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711" h="265820">
                  <a:moveTo>
                    <a:pt x="265359" y="1144"/>
                  </a:moveTo>
                  <a:cubicBezTo>
                    <a:pt x="265359" y="1144"/>
                    <a:pt x="283612" y="89370"/>
                    <a:pt x="234936" y="128919"/>
                  </a:cubicBezTo>
                  <a:cubicBezTo>
                    <a:pt x="234936" y="128919"/>
                    <a:pt x="28063" y="180638"/>
                    <a:pt x="683" y="265820"/>
                  </a:cubicBezTo>
                  <a:cubicBezTo>
                    <a:pt x="683" y="262778"/>
                    <a:pt x="-26697" y="-20151"/>
                    <a:pt x="265359" y="1144"/>
                  </a:cubicBez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3D0B3C1F-059E-437D-8267-6456E3C09B24}"/>
                </a:ext>
              </a:extLst>
            </p:cNvPr>
            <p:cNvSpPr/>
            <p:nvPr/>
          </p:nvSpPr>
          <p:spPr>
            <a:xfrm>
              <a:off x="8932145" y="8011437"/>
              <a:ext cx="232444" cy="306982"/>
            </a:xfrm>
            <a:custGeom>
              <a:avLst/>
              <a:gdLst>
                <a:gd name="connsiteX0" fmla="*/ 0 w 232444"/>
                <a:gd name="connsiteY0" fmla="*/ 127775 h 306982"/>
                <a:gd name="connsiteX1" fmla="*/ 142986 w 232444"/>
                <a:gd name="connsiteY1" fmla="*/ 176451 h 306982"/>
                <a:gd name="connsiteX2" fmla="*/ 206873 w 232444"/>
                <a:gd name="connsiteY2" fmla="*/ 295099 h 306982"/>
                <a:gd name="connsiteX3" fmla="*/ 231211 w 232444"/>
                <a:gd name="connsiteY3" fmla="*/ 289014 h 306982"/>
                <a:gd name="connsiteX4" fmla="*/ 30423 w 232444"/>
                <a:gd name="connsiteY4" fmla="*/ 0 h 306982"/>
                <a:gd name="connsiteX5" fmla="*/ 0 w 232444"/>
                <a:gd name="connsiteY5" fmla="*/ 127775 h 306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2444" h="306982">
                  <a:moveTo>
                    <a:pt x="0" y="127775"/>
                  </a:moveTo>
                  <a:cubicBezTo>
                    <a:pt x="0" y="127775"/>
                    <a:pt x="91268" y="173408"/>
                    <a:pt x="142986" y="176451"/>
                  </a:cubicBezTo>
                  <a:cubicBezTo>
                    <a:pt x="194704" y="179493"/>
                    <a:pt x="206873" y="295099"/>
                    <a:pt x="206873" y="295099"/>
                  </a:cubicBezTo>
                  <a:cubicBezTo>
                    <a:pt x="206873" y="295099"/>
                    <a:pt x="228169" y="325521"/>
                    <a:pt x="231211" y="289014"/>
                  </a:cubicBezTo>
                  <a:cubicBezTo>
                    <a:pt x="237296" y="209916"/>
                    <a:pt x="228169" y="12169"/>
                    <a:pt x="30423" y="0"/>
                  </a:cubicBezTo>
                  <a:cubicBezTo>
                    <a:pt x="33465" y="0"/>
                    <a:pt x="24338" y="121690"/>
                    <a:pt x="0" y="127775"/>
                  </a:cubicBez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683D7505-43F7-4AF6-A4B6-79AD56BE1D5D}"/>
                </a:ext>
              </a:extLst>
            </p:cNvPr>
            <p:cNvSpPr/>
            <p:nvPr/>
          </p:nvSpPr>
          <p:spPr>
            <a:xfrm>
              <a:off x="9104131" y="8288534"/>
              <a:ext cx="77436" cy="112780"/>
            </a:xfrm>
            <a:custGeom>
              <a:avLst/>
              <a:gdLst>
                <a:gd name="connsiteX0" fmla="*/ 10549 w 77436"/>
                <a:gd name="connsiteY0" fmla="*/ 18001 h 112780"/>
                <a:gd name="connsiteX1" fmla="*/ 68351 w 77436"/>
                <a:gd name="connsiteY1" fmla="*/ 5833 h 112780"/>
                <a:gd name="connsiteX2" fmla="*/ 16633 w 77436"/>
                <a:gd name="connsiteY2" fmla="*/ 109269 h 112780"/>
                <a:gd name="connsiteX3" fmla="*/ 10549 w 77436"/>
                <a:gd name="connsiteY3" fmla="*/ 18001 h 11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436" h="112780">
                  <a:moveTo>
                    <a:pt x="10549" y="18001"/>
                  </a:moveTo>
                  <a:cubicBezTo>
                    <a:pt x="10549" y="18001"/>
                    <a:pt x="44013" y="-12421"/>
                    <a:pt x="68351" y="5833"/>
                  </a:cubicBezTo>
                  <a:cubicBezTo>
                    <a:pt x="95732" y="24086"/>
                    <a:pt x="56182" y="133607"/>
                    <a:pt x="16633" y="109269"/>
                  </a:cubicBezTo>
                  <a:cubicBezTo>
                    <a:pt x="-16832" y="94058"/>
                    <a:pt x="10549" y="18001"/>
                    <a:pt x="10549" y="18001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7C22FCAC-AC2E-44DF-9961-E82ADE9F1070}"/>
                </a:ext>
              </a:extLst>
            </p:cNvPr>
            <p:cNvSpPr/>
            <p:nvPr/>
          </p:nvSpPr>
          <p:spPr>
            <a:xfrm>
              <a:off x="8926060" y="8008395"/>
              <a:ext cx="213428" cy="292056"/>
            </a:xfrm>
            <a:custGeom>
              <a:avLst/>
              <a:gdLst>
                <a:gd name="connsiteX0" fmla="*/ 209915 w 213428"/>
                <a:gd name="connsiteY0" fmla="*/ 292056 h 292056"/>
                <a:gd name="connsiteX1" fmla="*/ 203831 w 213428"/>
                <a:gd name="connsiteY1" fmla="*/ 285972 h 292056"/>
                <a:gd name="connsiteX2" fmla="*/ 149070 w 213428"/>
                <a:gd name="connsiteY2" fmla="*/ 185577 h 292056"/>
                <a:gd name="connsiteX3" fmla="*/ 3042 w 213428"/>
                <a:gd name="connsiteY3" fmla="*/ 133859 h 292056"/>
                <a:gd name="connsiteX4" fmla="*/ 0 w 213428"/>
                <a:gd name="connsiteY4" fmla="*/ 130817 h 292056"/>
                <a:gd name="connsiteX5" fmla="*/ 0 w 213428"/>
                <a:gd name="connsiteY5" fmla="*/ 124732 h 292056"/>
                <a:gd name="connsiteX6" fmla="*/ 15211 w 213428"/>
                <a:gd name="connsiteY6" fmla="*/ 100394 h 292056"/>
                <a:gd name="connsiteX7" fmla="*/ 24338 w 213428"/>
                <a:gd name="connsiteY7" fmla="*/ 60845 h 292056"/>
                <a:gd name="connsiteX8" fmla="*/ 27380 w 213428"/>
                <a:gd name="connsiteY8" fmla="*/ 33465 h 292056"/>
                <a:gd name="connsiteX9" fmla="*/ 30423 w 213428"/>
                <a:gd name="connsiteY9" fmla="*/ 6084 h 292056"/>
                <a:gd name="connsiteX10" fmla="*/ 36507 w 213428"/>
                <a:gd name="connsiteY10" fmla="*/ 0 h 292056"/>
                <a:gd name="connsiteX11" fmla="*/ 42591 w 213428"/>
                <a:gd name="connsiteY11" fmla="*/ 6084 h 292056"/>
                <a:gd name="connsiteX12" fmla="*/ 39549 w 213428"/>
                <a:gd name="connsiteY12" fmla="*/ 33465 h 292056"/>
                <a:gd name="connsiteX13" fmla="*/ 36507 w 213428"/>
                <a:gd name="connsiteY13" fmla="*/ 60845 h 292056"/>
                <a:gd name="connsiteX14" fmla="*/ 27380 w 213428"/>
                <a:gd name="connsiteY14" fmla="*/ 106479 h 292056"/>
                <a:gd name="connsiteX15" fmla="*/ 12169 w 213428"/>
                <a:gd name="connsiteY15" fmla="*/ 127775 h 292056"/>
                <a:gd name="connsiteX16" fmla="*/ 146028 w 213428"/>
                <a:gd name="connsiteY16" fmla="*/ 173408 h 292056"/>
                <a:gd name="connsiteX17" fmla="*/ 209915 w 213428"/>
                <a:gd name="connsiteY17" fmla="*/ 285972 h 292056"/>
                <a:gd name="connsiteX18" fmla="*/ 209915 w 213428"/>
                <a:gd name="connsiteY18" fmla="*/ 292056 h 292056"/>
                <a:gd name="connsiteX19" fmla="*/ 209915 w 213428"/>
                <a:gd name="connsiteY19" fmla="*/ 292056 h 29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3428" h="292056">
                  <a:moveTo>
                    <a:pt x="209915" y="292056"/>
                  </a:moveTo>
                  <a:cubicBezTo>
                    <a:pt x="206873" y="292056"/>
                    <a:pt x="203831" y="289014"/>
                    <a:pt x="203831" y="285972"/>
                  </a:cubicBezTo>
                  <a:cubicBezTo>
                    <a:pt x="203831" y="285972"/>
                    <a:pt x="197746" y="191662"/>
                    <a:pt x="149070" y="185577"/>
                  </a:cubicBezTo>
                  <a:cubicBezTo>
                    <a:pt x="79098" y="176450"/>
                    <a:pt x="6084" y="136901"/>
                    <a:pt x="3042" y="133859"/>
                  </a:cubicBezTo>
                  <a:cubicBezTo>
                    <a:pt x="3042" y="133859"/>
                    <a:pt x="0" y="130817"/>
                    <a:pt x="0" y="130817"/>
                  </a:cubicBezTo>
                  <a:cubicBezTo>
                    <a:pt x="0" y="127775"/>
                    <a:pt x="0" y="127775"/>
                    <a:pt x="0" y="124732"/>
                  </a:cubicBezTo>
                  <a:cubicBezTo>
                    <a:pt x="6084" y="118648"/>
                    <a:pt x="12169" y="109521"/>
                    <a:pt x="15211" y="100394"/>
                  </a:cubicBezTo>
                  <a:cubicBezTo>
                    <a:pt x="21296" y="88225"/>
                    <a:pt x="21296" y="73014"/>
                    <a:pt x="24338" y="60845"/>
                  </a:cubicBezTo>
                  <a:cubicBezTo>
                    <a:pt x="24338" y="54760"/>
                    <a:pt x="24338" y="42591"/>
                    <a:pt x="27380" y="33465"/>
                  </a:cubicBezTo>
                  <a:cubicBezTo>
                    <a:pt x="27380" y="21296"/>
                    <a:pt x="30423" y="12169"/>
                    <a:pt x="30423" y="6084"/>
                  </a:cubicBezTo>
                  <a:cubicBezTo>
                    <a:pt x="30423" y="3042"/>
                    <a:pt x="33465" y="0"/>
                    <a:pt x="36507" y="0"/>
                  </a:cubicBezTo>
                  <a:cubicBezTo>
                    <a:pt x="39549" y="0"/>
                    <a:pt x="42591" y="3042"/>
                    <a:pt x="42591" y="6084"/>
                  </a:cubicBezTo>
                  <a:cubicBezTo>
                    <a:pt x="42591" y="12169"/>
                    <a:pt x="42591" y="24338"/>
                    <a:pt x="39549" y="33465"/>
                  </a:cubicBezTo>
                  <a:cubicBezTo>
                    <a:pt x="39549" y="45634"/>
                    <a:pt x="36507" y="54760"/>
                    <a:pt x="36507" y="60845"/>
                  </a:cubicBezTo>
                  <a:cubicBezTo>
                    <a:pt x="36507" y="76056"/>
                    <a:pt x="33465" y="91268"/>
                    <a:pt x="27380" y="106479"/>
                  </a:cubicBezTo>
                  <a:cubicBezTo>
                    <a:pt x="24338" y="112563"/>
                    <a:pt x="18253" y="121690"/>
                    <a:pt x="12169" y="127775"/>
                  </a:cubicBezTo>
                  <a:cubicBezTo>
                    <a:pt x="30423" y="136901"/>
                    <a:pt x="91268" y="167324"/>
                    <a:pt x="146028" y="173408"/>
                  </a:cubicBezTo>
                  <a:cubicBezTo>
                    <a:pt x="206873" y="179493"/>
                    <a:pt x="209915" y="279887"/>
                    <a:pt x="209915" y="285972"/>
                  </a:cubicBezTo>
                  <a:cubicBezTo>
                    <a:pt x="216000" y="289014"/>
                    <a:pt x="212958" y="292056"/>
                    <a:pt x="209915" y="292056"/>
                  </a:cubicBezTo>
                  <a:lnTo>
                    <a:pt x="209915" y="292056"/>
                  </a:ln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3267A681-7108-4CB8-9DD4-FEECFC396B0D}"/>
                </a:ext>
              </a:extLst>
            </p:cNvPr>
            <p:cNvSpPr/>
            <p:nvPr/>
          </p:nvSpPr>
          <p:spPr>
            <a:xfrm>
              <a:off x="8832511" y="8533353"/>
              <a:ext cx="222675" cy="83493"/>
            </a:xfrm>
            <a:custGeom>
              <a:avLst/>
              <a:gdLst>
                <a:gd name="connsiteX0" fmla="*/ 69211 w 222675"/>
                <a:gd name="connsiteY0" fmla="*/ 83493 h 83493"/>
                <a:gd name="connsiteX1" fmla="*/ 2282 w 222675"/>
                <a:gd name="connsiteY1" fmla="*/ 59155 h 83493"/>
                <a:gd name="connsiteX2" fmla="*/ 2282 w 222675"/>
                <a:gd name="connsiteY2" fmla="*/ 50028 h 83493"/>
                <a:gd name="connsiteX3" fmla="*/ 11408 w 222675"/>
                <a:gd name="connsiteY3" fmla="*/ 50028 h 83493"/>
                <a:gd name="connsiteX4" fmla="*/ 81380 w 222675"/>
                <a:gd name="connsiteY4" fmla="*/ 71324 h 83493"/>
                <a:gd name="connsiteX5" fmla="*/ 212197 w 222675"/>
                <a:gd name="connsiteY5" fmla="*/ 1352 h 83493"/>
                <a:gd name="connsiteX6" fmla="*/ 221324 w 222675"/>
                <a:gd name="connsiteY6" fmla="*/ 1352 h 83493"/>
                <a:gd name="connsiteX7" fmla="*/ 221324 w 222675"/>
                <a:gd name="connsiteY7" fmla="*/ 10479 h 83493"/>
                <a:gd name="connsiteX8" fmla="*/ 87465 w 222675"/>
                <a:gd name="connsiteY8" fmla="*/ 83493 h 83493"/>
                <a:gd name="connsiteX9" fmla="*/ 69211 w 222675"/>
                <a:gd name="connsiteY9" fmla="*/ 83493 h 8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675" h="83493">
                  <a:moveTo>
                    <a:pt x="69211" y="83493"/>
                  </a:moveTo>
                  <a:cubicBezTo>
                    <a:pt x="32704" y="83493"/>
                    <a:pt x="5324" y="59155"/>
                    <a:pt x="2282" y="59155"/>
                  </a:cubicBezTo>
                  <a:cubicBezTo>
                    <a:pt x="-761" y="56113"/>
                    <a:pt x="-761" y="53071"/>
                    <a:pt x="2282" y="50028"/>
                  </a:cubicBezTo>
                  <a:cubicBezTo>
                    <a:pt x="5324" y="46986"/>
                    <a:pt x="8366" y="46986"/>
                    <a:pt x="11408" y="50028"/>
                  </a:cubicBezTo>
                  <a:cubicBezTo>
                    <a:pt x="11408" y="50028"/>
                    <a:pt x="44873" y="77408"/>
                    <a:pt x="81380" y="71324"/>
                  </a:cubicBezTo>
                  <a:cubicBezTo>
                    <a:pt x="120930" y="65240"/>
                    <a:pt x="209155" y="1352"/>
                    <a:pt x="212197" y="1352"/>
                  </a:cubicBezTo>
                  <a:cubicBezTo>
                    <a:pt x="215240" y="-1690"/>
                    <a:pt x="218282" y="1352"/>
                    <a:pt x="221324" y="1352"/>
                  </a:cubicBezTo>
                  <a:cubicBezTo>
                    <a:pt x="224366" y="4394"/>
                    <a:pt x="221324" y="7437"/>
                    <a:pt x="221324" y="10479"/>
                  </a:cubicBezTo>
                  <a:cubicBezTo>
                    <a:pt x="218282" y="13521"/>
                    <a:pt x="127014" y="77408"/>
                    <a:pt x="87465" y="83493"/>
                  </a:cubicBezTo>
                  <a:cubicBezTo>
                    <a:pt x="75296" y="83493"/>
                    <a:pt x="72253" y="83493"/>
                    <a:pt x="69211" y="83493"/>
                  </a:cubicBez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B707409B-5D12-4A8A-8C24-AD55024CE90C}"/>
                </a:ext>
              </a:extLst>
            </p:cNvPr>
            <p:cNvSpPr/>
            <p:nvPr/>
          </p:nvSpPr>
          <p:spPr>
            <a:xfrm>
              <a:off x="9224201" y="8373466"/>
              <a:ext cx="120929" cy="295098"/>
            </a:xfrm>
            <a:custGeom>
              <a:avLst/>
              <a:gdLst>
                <a:gd name="connsiteX0" fmla="*/ 115606 w 120929"/>
                <a:gd name="connsiteY0" fmla="*/ 292056 h 295098"/>
                <a:gd name="connsiteX1" fmla="*/ 109521 w 120929"/>
                <a:gd name="connsiteY1" fmla="*/ 289014 h 295098"/>
                <a:gd name="connsiteX2" fmla="*/ 85183 w 120929"/>
                <a:gd name="connsiteY2" fmla="*/ 185577 h 295098"/>
                <a:gd name="connsiteX3" fmla="*/ 36507 w 120929"/>
                <a:gd name="connsiteY3" fmla="*/ 79098 h 295098"/>
                <a:gd name="connsiteX4" fmla="*/ 0 w 120929"/>
                <a:gd name="connsiteY4" fmla="*/ 6084 h 295098"/>
                <a:gd name="connsiteX5" fmla="*/ 6085 w 120929"/>
                <a:gd name="connsiteY5" fmla="*/ 0 h 295098"/>
                <a:gd name="connsiteX6" fmla="*/ 12169 w 120929"/>
                <a:gd name="connsiteY6" fmla="*/ 6084 h 295098"/>
                <a:gd name="connsiteX7" fmla="*/ 45634 w 120929"/>
                <a:gd name="connsiteY7" fmla="*/ 73014 h 295098"/>
                <a:gd name="connsiteX8" fmla="*/ 97352 w 120929"/>
                <a:gd name="connsiteY8" fmla="*/ 191662 h 295098"/>
                <a:gd name="connsiteX9" fmla="*/ 118648 w 120929"/>
                <a:gd name="connsiteY9" fmla="*/ 285972 h 295098"/>
                <a:gd name="connsiteX10" fmla="*/ 118648 w 120929"/>
                <a:gd name="connsiteY10" fmla="*/ 295099 h 295098"/>
                <a:gd name="connsiteX11" fmla="*/ 115606 w 120929"/>
                <a:gd name="connsiteY11" fmla="*/ 292056 h 29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0929" h="295098">
                  <a:moveTo>
                    <a:pt x="115606" y="292056"/>
                  </a:moveTo>
                  <a:cubicBezTo>
                    <a:pt x="112564" y="292056"/>
                    <a:pt x="112564" y="292056"/>
                    <a:pt x="109521" y="289014"/>
                  </a:cubicBezTo>
                  <a:cubicBezTo>
                    <a:pt x="91268" y="267718"/>
                    <a:pt x="76056" y="222084"/>
                    <a:pt x="85183" y="185577"/>
                  </a:cubicBezTo>
                  <a:cubicBezTo>
                    <a:pt x="94310" y="149070"/>
                    <a:pt x="66930" y="106479"/>
                    <a:pt x="36507" y="79098"/>
                  </a:cubicBezTo>
                  <a:cubicBezTo>
                    <a:pt x="3042" y="51718"/>
                    <a:pt x="0" y="6084"/>
                    <a:pt x="0" y="6084"/>
                  </a:cubicBezTo>
                  <a:cubicBezTo>
                    <a:pt x="0" y="3042"/>
                    <a:pt x="3042" y="0"/>
                    <a:pt x="6085" y="0"/>
                  </a:cubicBezTo>
                  <a:cubicBezTo>
                    <a:pt x="9127" y="0"/>
                    <a:pt x="12169" y="3042"/>
                    <a:pt x="12169" y="6084"/>
                  </a:cubicBezTo>
                  <a:cubicBezTo>
                    <a:pt x="12169" y="6084"/>
                    <a:pt x="15211" y="48676"/>
                    <a:pt x="45634" y="73014"/>
                  </a:cubicBezTo>
                  <a:cubicBezTo>
                    <a:pt x="79099" y="100394"/>
                    <a:pt x="106479" y="149070"/>
                    <a:pt x="97352" y="191662"/>
                  </a:cubicBezTo>
                  <a:cubicBezTo>
                    <a:pt x="88226" y="228169"/>
                    <a:pt x="103437" y="267718"/>
                    <a:pt x="118648" y="285972"/>
                  </a:cubicBezTo>
                  <a:cubicBezTo>
                    <a:pt x="121690" y="289014"/>
                    <a:pt x="121690" y="292056"/>
                    <a:pt x="118648" y="295099"/>
                  </a:cubicBezTo>
                  <a:cubicBezTo>
                    <a:pt x="118648" y="289014"/>
                    <a:pt x="118648" y="292056"/>
                    <a:pt x="115606" y="292056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DEB6F744-5550-463F-848B-135726DA2957}"/>
                </a:ext>
              </a:extLst>
            </p:cNvPr>
            <p:cNvSpPr/>
            <p:nvPr/>
          </p:nvSpPr>
          <p:spPr>
            <a:xfrm>
              <a:off x="9419666" y="8744620"/>
              <a:ext cx="27213" cy="100394"/>
            </a:xfrm>
            <a:custGeom>
              <a:avLst/>
              <a:gdLst>
                <a:gd name="connsiteX0" fmla="*/ 8366 w 27213"/>
                <a:gd name="connsiteY0" fmla="*/ 100394 h 100394"/>
                <a:gd name="connsiteX1" fmla="*/ 2281 w 27213"/>
                <a:gd name="connsiteY1" fmla="*/ 97352 h 100394"/>
                <a:gd name="connsiteX2" fmla="*/ 2281 w 27213"/>
                <a:gd name="connsiteY2" fmla="*/ 88225 h 100394"/>
                <a:gd name="connsiteX3" fmla="*/ 11408 w 27213"/>
                <a:gd name="connsiteY3" fmla="*/ 6084 h 100394"/>
                <a:gd name="connsiteX4" fmla="*/ 14451 w 27213"/>
                <a:gd name="connsiteY4" fmla="*/ 0 h 100394"/>
                <a:gd name="connsiteX5" fmla="*/ 20535 w 27213"/>
                <a:gd name="connsiteY5" fmla="*/ 3042 h 100394"/>
                <a:gd name="connsiteX6" fmla="*/ 8366 w 27213"/>
                <a:gd name="connsiteY6" fmla="*/ 100394 h 100394"/>
                <a:gd name="connsiteX7" fmla="*/ 8366 w 27213"/>
                <a:gd name="connsiteY7" fmla="*/ 100394 h 100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213" h="100394">
                  <a:moveTo>
                    <a:pt x="8366" y="100394"/>
                  </a:moveTo>
                  <a:cubicBezTo>
                    <a:pt x="5324" y="100394"/>
                    <a:pt x="5324" y="100394"/>
                    <a:pt x="2281" y="97352"/>
                  </a:cubicBezTo>
                  <a:cubicBezTo>
                    <a:pt x="-760" y="94310"/>
                    <a:pt x="-760" y="91268"/>
                    <a:pt x="2281" y="88225"/>
                  </a:cubicBezTo>
                  <a:cubicBezTo>
                    <a:pt x="29662" y="66929"/>
                    <a:pt x="11408" y="6084"/>
                    <a:pt x="11408" y="6084"/>
                  </a:cubicBezTo>
                  <a:cubicBezTo>
                    <a:pt x="11408" y="3042"/>
                    <a:pt x="11408" y="0"/>
                    <a:pt x="14451" y="0"/>
                  </a:cubicBezTo>
                  <a:cubicBezTo>
                    <a:pt x="17493" y="0"/>
                    <a:pt x="20535" y="0"/>
                    <a:pt x="20535" y="3042"/>
                  </a:cubicBezTo>
                  <a:cubicBezTo>
                    <a:pt x="20535" y="6084"/>
                    <a:pt x="41831" y="73014"/>
                    <a:pt x="8366" y="100394"/>
                  </a:cubicBezTo>
                  <a:cubicBezTo>
                    <a:pt x="8366" y="97352"/>
                    <a:pt x="8366" y="100394"/>
                    <a:pt x="8366" y="100394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8D760AFA-43EA-4DFB-8216-DE7D3995F2F1}"/>
                </a:ext>
              </a:extLst>
            </p:cNvPr>
            <p:cNvSpPr/>
            <p:nvPr/>
          </p:nvSpPr>
          <p:spPr>
            <a:xfrm>
              <a:off x="8601299" y="8344733"/>
              <a:ext cx="67521" cy="241690"/>
            </a:xfrm>
            <a:custGeom>
              <a:avLst/>
              <a:gdLst>
                <a:gd name="connsiteX0" fmla="*/ 5324 w 67521"/>
                <a:gd name="connsiteY0" fmla="*/ 241690 h 241690"/>
                <a:gd name="connsiteX1" fmla="*/ 2282 w 67521"/>
                <a:gd name="connsiteY1" fmla="*/ 238648 h 241690"/>
                <a:gd name="connsiteX2" fmla="*/ 2282 w 67521"/>
                <a:gd name="connsiteY2" fmla="*/ 229521 h 241690"/>
                <a:gd name="connsiteX3" fmla="*/ 14451 w 67521"/>
                <a:gd name="connsiteY3" fmla="*/ 92620 h 241690"/>
                <a:gd name="connsiteX4" fmla="*/ 57042 w 67521"/>
                <a:gd name="connsiteY4" fmla="*/ 1352 h 241690"/>
                <a:gd name="connsiteX5" fmla="*/ 66169 w 67521"/>
                <a:gd name="connsiteY5" fmla="*/ 1352 h 241690"/>
                <a:gd name="connsiteX6" fmla="*/ 66169 w 67521"/>
                <a:gd name="connsiteY6" fmla="*/ 10479 h 241690"/>
                <a:gd name="connsiteX7" fmla="*/ 29662 w 67521"/>
                <a:gd name="connsiteY7" fmla="*/ 89578 h 241690"/>
                <a:gd name="connsiteX8" fmla="*/ 14451 w 67521"/>
                <a:gd name="connsiteY8" fmla="*/ 238648 h 241690"/>
                <a:gd name="connsiteX9" fmla="*/ 5324 w 67521"/>
                <a:gd name="connsiteY9" fmla="*/ 241690 h 241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7521" h="241690">
                  <a:moveTo>
                    <a:pt x="5324" y="241690"/>
                  </a:moveTo>
                  <a:cubicBezTo>
                    <a:pt x="2282" y="241690"/>
                    <a:pt x="2282" y="241690"/>
                    <a:pt x="2282" y="238648"/>
                  </a:cubicBezTo>
                  <a:cubicBezTo>
                    <a:pt x="-761" y="235605"/>
                    <a:pt x="-761" y="232563"/>
                    <a:pt x="2282" y="229521"/>
                  </a:cubicBezTo>
                  <a:cubicBezTo>
                    <a:pt x="32704" y="205183"/>
                    <a:pt x="26620" y="150423"/>
                    <a:pt x="14451" y="92620"/>
                  </a:cubicBezTo>
                  <a:cubicBezTo>
                    <a:pt x="2282" y="40901"/>
                    <a:pt x="54000" y="1352"/>
                    <a:pt x="57042" y="1352"/>
                  </a:cubicBezTo>
                  <a:cubicBezTo>
                    <a:pt x="60084" y="-1690"/>
                    <a:pt x="63127" y="1352"/>
                    <a:pt x="66169" y="1352"/>
                  </a:cubicBezTo>
                  <a:cubicBezTo>
                    <a:pt x="69211" y="4394"/>
                    <a:pt x="66169" y="7436"/>
                    <a:pt x="66169" y="10479"/>
                  </a:cubicBezTo>
                  <a:cubicBezTo>
                    <a:pt x="66169" y="10479"/>
                    <a:pt x="20536" y="46986"/>
                    <a:pt x="29662" y="89578"/>
                  </a:cubicBezTo>
                  <a:cubicBezTo>
                    <a:pt x="41831" y="147380"/>
                    <a:pt x="47916" y="208225"/>
                    <a:pt x="14451" y="238648"/>
                  </a:cubicBezTo>
                  <a:cubicBezTo>
                    <a:pt x="5324" y="238648"/>
                    <a:pt x="5324" y="241690"/>
                    <a:pt x="5324" y="241690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2392F36B-2678-4B8D-BB74-EB0F7A41C1D4}"/>
                </a:ext>
              </a:extLst>
            </p:cNvPr>
            <p:cNvSpPr/>
            <p:nvPr/>
          </p:nvSpPr>
          <p:spPr>
            <a:xfrm>
              <a:off x="8650905" y="8528620"/>
              <a:ext cx="59640" cy="118648"/>
            </a:xfrm>
            <a:custGeom>
              <a:avLst/>
              <a:gdLst>
                <a:gd name="connsiteX0" fmla="*/ 7437 w 59640"/>
                <a:gd name="connsiteY0" fmla="*/ 118648 h 118648"/>
                <a:gd name="connsiteX1" fmla="*/ 1352 w 59640"/>
                <a:gd name="connsiteY1" fmla="*/ 115606 h 118648"/>
                <a:gd name="connsiteX2" fmla="*/ 1352 w 59640"/>
                <a:gd name="connsiteY2" fmla="*/ 106479 h 118648"/>
                <a:gd name="connsiteX3" fmla="*/ 46986 w 59640"/>
                <a:gd name="connsiteY3" fmla="*/ 6084 h 118648"/>
                <a:gd name="connsiteX4" fmla="*/ 53070 w 59640"/>
                <a:gd name="connsiteY4" fmla="*/ 0 h 118648"/>
                <a:gd name="connsiteX5" fmla="*/ 59155 w 59640"/>
                <a:gd name="connsiteY5" fmla="*/ 6084 h 118648"/>
                <a:gd name="connsiteX6" fmla="*/ 7437 w 59640"/>
                <a:gd name="connsiteY6" fmla="*/ 115606 h 118648"/>
                <a:gd name="connsiteX7" fmla="*/ 7437 w 59640"/>
                <a:gd name="connsiteY7" fmla="*/ 118648 h 11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640" h="118648">
                  <a:moveTo>
                    <a:pt x="7437" y="118648"/>
                  </a:moveTo>
                  <a:cubicBezTo>
                    <a:pt x="4394" y="118648"/>
                    <a:pt x="4394" y="118648"/>
                    <a:pt x="1352" y="115606"/>
                  </a:cubicBezTo>
                  <a:cubicBezTo>
                    <a:pt x="-1690" y="112563"/>
                    <a:pt x="1352" y="109521"/>
                    <a:pt x="1352" y="106479"/>
                  </a:cubicBezTo>
                  <a:cubicBezTo>
                    <a:pt x="53070" y="69972"/>
                    <a:pt x="46986" y="9127"/>
                    <a:pt x="46986" y="6084"/>
                  </a:cubicBezTo>
                  <a:cubicBezTo>
                    <a:pt x="46986" y="3042"/>
                    <a:pt x="50028" y="0"/>
                    <a:pt x="53070" y="0"/>
                  </a:cubicBezTo>
                  <a:cubicBezTo>
                    <a:pt x="56112" y="0"/>
                    <a:pt x="59155" y="3042"/>
                    <a:pt x="59155" y="6084"/>
                  </a:cubicBezTo>
                  <a:cubicBezTo>
                    <a:pt x="59155" y="9127"/>
                    <a:pt x="68282" y="73014"/>
                    <a:pt x="7437" y="115606"/>
                  </a:cubicBezTo>
                  <a:cubicBezTo>
                    <a:pt x="10479" y="118648"/>
                    <a:pt x="7437" y="118648"/>
                    <a:pt x="7437" y="118648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0" name="图形 1">
              <a:extLst>
                <a:ext uri="{FF2B5EF4-FFF2-40B4-BE49-F238E27FC236}">
                  <a16:creationId xmlns:a16="http://schemas.microsoft.com/office/drawing/2014/main" id="{19DA5CC3-A7E8-4A8A-BA32-1B1850B766F0}"/>
                </a:ext>
              </a:extLst>
            </p:cNvPr>
            <p:cNvGrpSpPr/>
            <p:nvPr/>
          </p:nvGrpSpPr>
          <p:grpSpPr>
            <a:xfrm>
              <a:off x="9120764" y="9906761"/>
              <a:ext cx="1311211" cy="2555492"/>
              <a:chOff x="9120764" y="9906761"/>
              <a:chExt cx="1311211" cy="2555492"/>
            </a:xfrm>
          </p:grpSpPr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3F265245-05FA-4EE8-9C33-8EB4AD436BCA}"/>
                  </a:ext>
                </a:extLst>
              </p:cNvPr>
              <p:cNvSpPr/>
              <p:nvPr/>
            </p:nvSpPr>
            <p:spPr>
              <a:xfrm>
                <a:off x="9491919" y="12297973"/>
                <a:ext cx="164281" cy="164281"/>
              </a:xfrm>
              <a:custGeom>
                <a:avLst/>
                <a:gdLst>
                  <a:gd name="connsiteX0" fmla="*/ 0 w 164281"/>
                  <a:gd name="connsiteY0" fmla="*/ 82140 h 164281"/>
                  <a:gd name="connsiteX1" fmla="*/ 82141 w 164281"/>
                  <a:gd name="connsiteY1" fmla="*/ 164282 h 164281"/>
                  <a:gd name="connsiteX2" fmla="*/ 164282 w 164281"/>
                  <a:gd name="connsiteY2" fmla="*/ 82140 h 164281"/>
                  <a:gd name="connsiteX3" fmla="*/ 82141 w 164281"/>
                  <a:gd name="connsiteY3" fmla="*/ 0 h 164281"/>
                  <a:gd name="connsiteX4" fmla="*/ 0 w 164281"/>
                  <a:gd name="connsiteY4" fmla="*/ 82140 h 164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281" h="164281">
                    <a:moveTo>
                      <a:pt x="0" y="82140"/>
                    </a:moveTo>
                    <a:cubicBezTo>
                      <a:pt x="0" y="127774"/>
                      <a:pt x="36507" y="164282"/>
                      <a:pt x="82141" y="164282"/>
                    </a:cubicBezTo>
                    <a:cubicBezTo>
                      <a:pt x="127775" y="164282"/>
                      <a:pt x="164282" y="127774"/>
                      <a:pt x="164282" y="82140"/>
                    </a:cubicBezTo>
                    <a:cubicBezTo>
                      <a:pt x="164282" y="36506"/>
                      <a:pt x="127775" y="0"/>
                      <a:pt x="82141" y="0"/>
                    </a:cubicBezTo>
                    <a:cubicBezTo>
                      <a:pt x="36507" y="0"/>
                      <a:pt x="0" y="36506"/>
                      <a:pt x="0" y="8214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DE5AC3E7-7EC4-4AE1-8336-6E2F37400E54}"/>
                  </a:ext>
                </a:extLst>
              </p:cNvPr>
              <p:cNvSpPr/>
              <p:nvPr/>
            </p:nvSpPr>
            <p:spPr>
              <a:xfrm>
                <a:off x="10152088" y="12297973"/>
                <a:ext cx="164281" cy="164281"/>
              </a:xfrm>
              <a:custGeom>
                <a:avLst/>
                <a:gdLst>
                  <a:gd name="connsiteX0" fmla="*/ 0 w 164281"/>
                  <a:gd name="connsiteY0" fmla="*/ 82140 h 164281"/>
                  <a:gd name="connsiteX1" fmla="*/ 82141 w 164281"/>
                  <a:gd name="connsiteY1" fmla="*/ 164282 h 164281"/>
                  <a:gd name="connsiteX2" fmla="*/ 164282 w 164281"/>
                  <a:gd name="connsiteY2" fmla="*/ 82140 h 164281"/>
                  <a:gd name="connsiteX3" fmla="*/ 82141 w 164281"/>
                  <a:gd name="connsiteY3" fmla="*/ 0 h 164281"/>
                  <a:gd name="connsiteX4" fmla="*/ 0 w 164281"/>
                  <a:gd name="connsiteY4" fmla="*/ 82140 h 164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281" h="164281">
                    <a:moveTo>
                      <a:pt x="0" y="82140"/>
                    </a:moveTo>
                    <a:cubicBezTo>
                      <a:pt x="0" y="127774"/>
                      <a:pt x="36507" y="164282"/>
                      <a:pt x="82141" y="164282"/>
                    </a:cubicBezTo>
                    <a:cubicBezTo>
                      <a:pt x="127775" y="164282"/>
                      <a:pt x="164282" y="127774"/>
                      <a:pt x="164282" y="82140"/>
                    </a:cubicBezTo>
                    <a:cubicBezTo>
                      <a:pt x="164282" y="36506"/>
                      <a:pt x="127775" y="0"/>
                      <a:pt x="82141" y="0"/>
                    </a:cubicBezTo>
                    <a:cubicBezTo>
                      <a:pt x="36507" y="0"/>
                      <a:pt x="0" y="36506"/>
                      <a:pt x="0" y="8214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B5551774-B595-4D50-8A72-31E100D22B6F}"/>
                  </a:ext>
                </a:extLst>
              </p:cNvPr>
              <p:cNvSpPr/>
              <p:nvPr/>
            </p:nvSpPr>
            <p:spPr>
              <a:xfrm>
                <a:off x="9266793" y="12297973"/>
                <a:ext cx="164281" cy="164281"/>
              </a:xfrm>
              <a:custGeom>
                <a:avLst/>
                <a:gdLst>
                  <a:gd name="connsiteX0" fmla="*/ 0 w 164281"/>
                  <a:gd name="connsiteY0" fmla="*/ 82140 h 164281"/>
                  <a:gd name="connsiteX1" fmla="*/ 82141 w 164281"/>
                  <a:gd name="connsiteY1" fmla="*/ 164282 h 164281"/>
                  <a:gd name="connsiteX2" fmla="*/ 164282 w 164281"/>
                  <a:gd name="connsiteY2" fmla="*/ 82140 h 164281"/>
                  <a:gd name="connsiteX3" fmla="*/ 82141 w 164281"/>
                  <a:gd name="connsiteY3" fmla="*/ 0 h 164281"/>
                  <a:gd name="connsiteX4" fmla="*/ 0 w 164281"/>
                  <a:gd name="connsiteY4" fmla="*/ 82140 h 164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281" h="164281">
                    <a:moveTo>
                      <a:pt x="0" y="82140"/>
                    </a:moveTo>
                    <a:cubicBezTo>
                      <a:pt x="0" y="127774"/>
                      <a:pt x="36507" y="164282"/>
                      <a:pt x="82141" y="164282"/>
                    </a:cubicBezTo>
                    <a:cubicBezTo>
                      <a:pt x="127775" y="164282"/>
                      <a:pt x="164282" y="127774"/>
                      <a:pt x="164282" y="82140"/>
                    </a:cubicBezTo>
                    <a:cubicBezTo>
                      <a:pt x="164282" y="36506"/>
                      <a:pt x="127775" y="0"/>
                      <a:pt x="82141" y="0"/>
                    </a:cubicBezTo>
                    <a:cubicBezTo>
                      <a:pt x="36507" y="0"/>
                      <a:pt x="0" y="36506"/>
                      <a:pt x="0" y="8214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061E90AC-0521-4A88-BAE1-0A57B8D85809}"/>
                  </a:ext>
                </a:extLst>
              </p:cNvPr>
              <p:cNvSpPr/>
              <p:nvPr/>
            </p:nvSpPr>
            <p:spPr>
              <a:xfrm>
                <a:off x="9926961" y="12297973"/>
                <a:ext cx="164281" cy="164281"/>
              </a:xfrm>
              <a:custGeom>
                <a:avLst/>
                <a:gdLst>
                  <a:gd name="connsiteX0" fmla="*/ 0 w 164281"/>
                  <a:gd name="connsiteY0" fmla="*/ 82140 h 164281"/>
                  <a:gd name="connsiteX1" fmla="*/ 82141 w 164281"/>
                  <a:gd name="connsiteY1" fmla="*/ 164282 h 164281"/>
                  <a:gd name="connsiteX2" fmla="*/ 164282 w 164281"/>
                  <a:gd name="connsiteY2" fmla="*/ 82140 h 164281"/>
                  <a:gd name="connsiteX3" fmla="*/ 82141 w 164281"/>
                  <a:gd name="connsiteY3" fmla="*/ 0 h 164281"/>
                  <a:gd name="connsiteX4" fmla="*/ 0 w 164281"/>
                  <a:gd name="connsiteY4" fmla="*/ 82140 h 164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281" h="164281">
                    <a:moveTo>
                      <a:pt x="0" y="82140"/>
                    </a:moveTo>
                    <a:cubicBezTo>
                      <a:pt x="0" y="127774"/>
                      <a:pt x="36507" y="164282"/>
                      <a:pt x="82141" y="164282"/>
                    </a:cubicBezTo>
                    <a:cubicBezTo>
                      <a:pt x="127775" y="164282"/>
                      <a:pt x="164282" y="127774"/>
                      <a:pt x="164282" y="82140"/>
                    </a:cubicBezTo>
                    <a:cubicBezTo>
                      <a:pt x="164282" y="36506"/>
                      <a:pt x="127775" y="0"/>
                      <a:pt x="82141" y="0"/>
                    </a:cubicBezTo>
                    <a:cubicBezTo>
                      <a:pt x="36507" y="0"/>
                      <a:pt x="0" y="36506"/>
                      <a:pt x="0" y="8214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AB5241EF-B4C1-4ABB-8AFE-B2BD00492DD9}"/>
                  </a:ext>
                </a:extLst>
              </p:cNvPr>
              <p:cNvSpPr/>
              <p:nvPr/>
            </p:nvSpPr>
            <p:spPr>
              <a:xfrm>
                <a:off x="9458455" y="9943269"/>
                <a:ext cx="422873" cy="1603267"/>
              </a:xfrm>
              <a:custGeom>
                <a:avLst/>
                <a:gdLst>
                  <a:gd name="connsiteX0" fmla="*/ 422873 w 422873"/>
                  <a:gd name="connsiteY0" fmla="*/ 1603267 h 1603267"/>
                  <a:gd name="connsiteX1" fmla="*/ 0 w 422873"/>
                  <a:gd name="connsiteY1" fmla="*/ 1603267 h 1603267"/>
                  <a:gd name="connsiteX2" fmla="*/ 0 w 422873"/>
                  <a:gd name="connsiteY2" fmla="*/ 0 h 1603267"/>
                  <a:gd name="connsiteX3" fmla="*/ 422873 w 422873"/>
                  <a:gd name="connsiteY3" fmla="*/ 0 h 1603267"/>
                  <a:gd name="connsiteX4" fmla="*/ 422873 w 422873"/>
                  <a:gd name="connsiteY4" fmla="*/ 1603267 h 1603267"/>
                  <a:gd name="connsiteX5" fmla="*/ 30423 w 422873"/>
                  <a:gd name="connsiteY5" fmla="*/ 1572845 h 1603267"/>
                  <a:gd name="connsiteX6" fmla="*/ 392451 w 422873"/>
                  <a:gd name="connsiteY6" fmla="*/ 1572845 h 1603267"/>
                  <a:gd name="connsiteX7" fmla="*/ 392451 w 422873"/>
                  <a:gd name="connsiteY7" fmla="*/ 30423 h 1603267"/>
                  <a:gd name="connsiteX8" fmla="*/ 30423 w 422873"/>
                  <a:gd name="connsiteY8" fmla="*/ 30423 h 1603267"/>
                  <a:gd name="connsiteX9" fmla="*/ 30423 w 422873"/>
                  <a:gd name="connsiteY9" fmla="*/ 1572845 h 1603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22873" h="1603267">
                    <a:moveTo>
                      <a:pt x="422873" y="1603267"/>
                    </a:moveTo>
                    <a:lnTo>
                      <a:pt x="0" y="1603267"/>
                    </a:lnTo>
                    <a:lnTo>
                      <a:pt x="0" y="0"/>
                    </a:lnTo>
                    <a:lnTo>
                      <a:pt x="422873" y="0"/>
                    </a:lnTo>
                    <a:lnTo>
                      <a:pt x="422873" y="1603267"/>
                    </a:lnTo>
                    <a:close/>
                    <a:moveTo>
                      <a:pt x="30423" y="1572845"/>
                    </a:moveTo>
                    <a:lnTo>
                      <a:pt x="392451" y="1572845"/>
                    </a:lnTo>
                    <a:lnTo>
                      <a:pt x="392451" y="30423"/>
                    </a:lnTo>
                    <a:lnTo>
                      <a:pt x="30423" y="30423"/>
                    </a:lnTo>
                    <a:lnTo>
                      <a:pt x="30423" y="1572845"/>
                    </a:lnTo>
                    <a:close/>
                  </a:path>
                </a:pathLst>
              </a:custGeom>
              <a:solidFill>
                <a:srgbClr val="6C5D6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8535F1F1-C761-48A0-98C3-1F061047F248}"/>
                  </a:ext>
                </a:extLst>
              </p:cNvPr>
              <p:cNvSpPr/>
              <p:nvPr/>
            </p:nvSpPr>
            <p:spPr>
              <a:xfrm>
                <a:off x="9229191" y="12112485"/>
                <a:ext cx="181638" cy="165854"/>
              </a:xfrm>
              <a:custGeom>
                <a:avLst/>
                <a:gdLst>
                  <a:gd name="connsiteX0" fmla="*/ 4137 w 181638"/>
                  <a:gd name="connsiteY0" fmla="*/ 15122 h 165854"/>
                  <a:gd name="connsiteX1" fmla="*/ 165376 w 181638"/>
                  <a:gd name="connsiteY1" fmla="*/ 5995 h 165854"/>
                  <a:gd name="connsiteX2" fmla="*/ 177545 w 181638"/>
                  <a:gd name="connsiteY2" fmla="*/ 148981 h 165854"/>
                  <a:gd name="connsiteX3" fmla="*/ 13264 w 181638"/>
                  <a:gd name="connsiteY3" fmla="*/ 152023 h 165854"/>
                  <a:gd name="connsiteX4" fmla="*/ 4137 w 181638"/>
                  <a:gd name="connsiteY4" fmla="*/ 15122 h 165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638" h="165854">
                    <a:moveTo>
                      <a:pt x="4137" y="15122"/>
                    </a:moveTo>
                    <a:cubicBezTo>
                      <a:pt x="16306" y="-3132"/>
                      <a:pt x="165376" y="-3132"/>
                      <a:pt x="165376" y="5995"/>
                    </a:cubicBezTo>
                    <a:cubicBezTo>
                      <a:pt x="171461" y="33375"/>
                      <a:pt x="189715" y="133769"/>
                      <a:pt x="177545" y="148981"/>
                    </a:cubicBezTo>
                    <a:cubicBezTo>
                      <a:pt x="165376" y="164192"/>
                      <a:pt x="19348" y="176361"/>
                      <a:pt x="13264" y="152023"/>
                    </a:cubicBezTo>
                    <a:cubicBezTo>
                      <a:pt x="10221" y="130727"/>
                      <a:pt x="-8032" y="33375"/>
                      <a:pt x="4137" y="15122"/>
                    </a:cubicBezTo>
                    <a:close/>
                  </a:path>
                </a:pathLst>
              </a:custGeom>
              <a:solidFill>
                <a:srgbClr val="F0515C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979F4EEE-819E-4653-9D22-0A2ED853B03F}"/>
                  </a:ext>
                </a:extLst>
              </p:cNvPr>
              <p:cNvSpPr/>
              <p:nvPr/>
            </p:nvSpPr>
            <p:spPr>
              <a:xfrm>
                <a:off x="9421947" y="10746423"/>
                <a:ext cx="1010028" cy="1572844"/>
              </a:xfrm>
              <a:custGeom>
                <a:avLst/>
                <a:gdLst>
                  <a:gd name="connsiteX0" fmla="*/ 0 w 1010028"/>
                  <a:gd name="connsiteY0" fmla="*/ 146028 h 1572844"/>
                  <a:gd name="connsiteX1" fmla="*/ 0 w 1010028"/>
                  <a:gd name="connsiteY1" fmla="*/ 1426817 h 1572844"/>
                  <a:gd name="connsiteX2" fmla="*/ 146028 w 1010028"/>
                  <a:gd name="connsiteY2" fmla="*/ 1572845 h 1572844"/>
                  <a:gd name="connsiteX3" fmla="*/ 864000 w 1010028"/>
                  <a:gd name="connsiteY3" fmla="*/ 1572845 h 1572844"/>
                  <a:gd name="connsiteX4" fmla="*/ 1010029 w 1010028"/>
                  <a:gd name="connsiteY4" fmla="*/ 1426817 h 1572844"/>
                  <a:gd name="connsiteX5" fmla="*/ 1010029 w 1010028"/>
                  <a:gd name="connsiteY5" fmla="*/ 146028 h 1572844"/>
                  <a:gd name="connsiteX6" fmla="*/ 1010029 w 1010028"/>
                  <a:gd name="connsiteY6" fmla="*/ 130817 h 1572844"/>
                  <a:gd name="connsiteX7" fmla="*/ 952226 w 1010028"/>
                  <a:gd name="connsiteY7" fmla="*/ 30423 h 1572844"/>
                  <a:gd name="connsiteX8" fmla="*/ 864000 w 1010028"/>
                  <a:gd name="connsiteY8" fmla="*/ 0 h 1572844"/>
                  <a:gd name="connsiteX9" fmla="*/ 146028 w 1010028"/>
                  <a:gd name="connsiteY9" fmla="*/ 0 h 1572844"/>
                  <a:gd name="connsiteX10" fmla="*/ 0 w 1010028"/>
                  <a:gd name="connsiteY10" fmla="*/ 146028 h 157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10028" h="1572844">
                    <a:moveTo>
                      <a:pt x="0" y="146028"/>
                    </a:moveTo>
                    <a:lnTo>
                      <a:pt x="0" y="1426817"/>
                    </a:lnTo>
                    <a:cubicBezTo>
                      <a:pt x="0" y="1508958"/>
                      <a:pt x="66930" y="1572845"/>
                      <a:pt x="146028" y="1572845"/>
                    </a:cubicBezTo>
                    <a:lnTo>
                      <a:pt x="864000" y="1572845"/>
                    </a:lnTo>
                    <a:cubicBezTo>
                      <a:pt x="946141" y="1572845"/>
                      <a:pt x="1010029" y="1505916"/>
                      <a:pt x="1010029" y="1426817"/>
                    </a:cubicBezTo>
                    <a:lnTo>
                      <a:pt x="1010029" y="146028"/>
                    </a:lnTo>
                    <a:cubicBezTo>
                      <a:pt x="1010029" y="139944"/>
                      <a:pt x="1010029" y="133859"/>
                      <a:pt x="1010029" y="130817"/>
                    </a:cubicBezTo>
                    <a:cubicBezTo>
                      <a:pt x="1006986" y="91268"/>
                      <a:pt x="985690" y="54760"/>
                      <a:pt x="952226" y="30423"/>
                    </a:cubicBezTo>
                    <a:cubicBezTo>
                      <a:pt x="927887" y="12169"/>
                      <a:pt x="897465" y="0"/>
                      <a:pt x="864000" y="0"/>
                    </a:cubicBezTo>
                    <a:lnTo>
                      <a:pt x="146028" y="0"/>
                    </a:lnTo>
                    <a:cubicBezTo>
                      <a:pt x="66930" y="0"/>
                      <a:pt x="0" y="63888"/>
                      <a:pt x="0" y="146028"/>
                    </a:cubicBezTo>
                    <a:close/>
                  </a:path>
                </a:pathLst>
              </a:custGeom>
              <a:solidFill>
                <a:srgbClr val="718AAF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D6C60A03-3E74-4F5B-B972-DBCA053FE32B}"/>
                  </a:ext>
                </a:extLst>
              </p:cNvPr>
              <p:cNvSpPr/>
              <p:nvPr/>
            </p:nvSpPr>
            <p:spPr>
              <a:xfrm>
                <a:off x="9120764" y="10746423"/>
                <a:ext cx="1095211" cy="1572844"/>
              </a:xfrm>
              <a:custGeom>
                <a:avLst/>
                <a:gdLst>
                  <a:gd name="connsiteX0" fmla="*/ 146028 w 1095211"/>
                  <a:gd name="connsiteY0" fmla="*/ 1572845 h 1572844"/>
                  <a:gd name="connsiteX1" fmla="*/ 949183 w 1095211"/>
                  <a:gd name="connsiteY1" fmla="*/ 1572845 h 1572844"/>
                  <a:gd name="connsiteX2" fmla="*/ 1095211 w 1095211"/>
                  <a:gd name="connsiteY2" fmla="*/ 1426817 h 1572844"/>
                  <a:gd name="connsiteX3" fmla="*/ 1095211 w 1095211"/>
                  <a:gd name="connsiteY3" fmla="*/ 146028 h 1572844"/>
                  <a:gd name="connsiteX4" fmla="*/ 949183 w 1095211"/>
                  <a:gd name="connsiteY4" fmla="*/ 0 h 1572844"/>
                  <a:gd name="connsiteX5" fmla="*/ 146028 w 1095211"/>
                  <a:gd name="connsiteY5" fmla="*/ 0 h 1572844"/>
                  <a:gd name="connsiteX6" fmla="*/ 0 w 1095211"/>
                  <a:gd name="connsiteY6" fmla="*/ 146028 h 1572844"/>
                  <a:gd name="connsiteX7" fmla="*/ 0 w 1095211"/>
                  <a:gd name="connsiteY7" fmla="*/ 1426817 h 1572844"/>
                  <a:gd name="connsiteX8" fmla="*/ 146028 w 1095211"/>
                  <a:gd name="connsiteY8" fmla="*/ 1572845 h 157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5211" h="1572844">
                    <a:moveTo>
                      <a:pt x="146028" y="1572845"/>
                    </a:moveTo>
                    <a:lnTo>
                      <a:pt x="949183" y="1572845"/>
                    </a:lnTo>
                    <a:cubicBezTo>
                      <a:pt x="1031324" y="1572845"/>
                      <a:pt x="1095211" y="1505916"/>
                      <a:pt x="1095211" y="1426817"/>
                    </a:cubicBezTo>
                    <a:lnTo>
                      <a:pt x="1095211" y="146028"/>
                    </a:lnTo>
                    <a:cubicBezTo>
                      <a:pt x="1095211" y="63888"/>
                      <a:pt x="1028282" y="0"/>
                      <a:pt x="949183" y="0"/>
                    </a:cubicBezTo>
                    <a:lnTo>
                      <a:pt x="146028" y="0"/>
                    </a:lnTo>
                    <a:cubicBezTo>
                      <a:pt x="63888" y="0"/>
                      <a:pt x="0" y="63888"/>
                      <a:pt x="0" y="146028"/>
                    </a:cubicBezTo>
                    <a:lnTo>
                      <a:pt x="0" y="1426817"/>
                    </a:lnTo>
                    <a:cubicBezTo>
                      <a:pt x="0" y="1508958"/>
                      <a:pt x="66929" y="1572845"/>
                      <a:pt x="146028" y="1572845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21B6159A-4BEE-4488-953D-43BB9EBC55B8}"/>
                  </a:ext>
                </a:extLst>
              </p:cNvPr>
              <p:cNvSpPr/>
              <p:nvPr/>
            </p:nvSpPr>
            <p:spPr>
              <a:xfrm>
                <a:off x="9263750" y="10740338"/>
                <a:ext cx="961351" cy="1585014"/>
              </a:xfrm>
              <a:custGeom>
                <a:avLst/>
                <a:gdLst>
                  <a:gd name="connsiteX0" fmla="*/ 809240 w 961351"/>
                  <a:gd name="connsiteY0" fmla="*/ 1585014 h 1585014"/>
                  <a:gd name="connsiteX1" fmla="*/ 6084 w 961351"/>
                  <a:gd name="connsiteY1" fmla="*/ 1585014 h 1585014"/>
                  <a:gd name="connsiteX2" fmla="*/ 0 w 961351"/>
                  <a:gd name="connsiteY2" fmla="*/ 1578929 h 1585014"/>
                  <a:gd name="connsiteX3" fmla="*/ 6084 w 961351"/>
                  <a:gd name="connsiteY3" fmla="*/ 1572846 h 1585014"/>
                  <a:gd name="connsiteX4" fmla="*/ 809240 w 961351"/>
                  <a:gd name="connsiteY4" fmla="*/ 1572846 h 1585014"/>
                  <a:gd name="connsiteX5" fmla="*/ 949183 w 961351"/>
                  <a:gd name="connsiteY5" fmla="*/ 1432902 h 1585014"/>
                  <a:gd name="connsiteX6" fmla="*/ 949183 w 961351"/>
                  <a:gd name="connsiteY6" fmla="*/ 152113 h 1585014"/>
                  <a:gd name="connsiteX7" fmla="*/ 809240 w 961351"/>
                  <a:gd name="connsiteY7" fmla="*/ 12169 h 1585014"/>
                  <a:gd name="connsiteX8" fmla="*/ 803155 w 961351"/>
                  <a:gd name="connsiteY8" fmla="*/ 6085 h 1585014"/>
                  <a:gd name="connsiteX9" fmla="*/ 809240 w 961351"/>
                  <a:gd name="connsiteY9" fmla="*/ 0 h 1585014"/>
                  <a:gd name="connsiteX10" fmla="*/ 961352 w 961351"/>
                  <a:gd name="connsiteY10" fmla="*/ 152113 h 1585014"/>
                  <a:gd name="connsiteX11" fmla="*/ 961352 w 961351"/>
                  <a:gd name="connsiteY11" fmla="*/ 1432902 h 1585014"/>
                  <a:gd name="connsiteX12" fmla="*/ 809240 w 961351"/>
                  <a:gd name="connsiteY12" fmla="*/ 1585014 h 158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61351" h="1585014">
                    <a:moveTo>
                      <a:pt x="809240" y="1585014"/>
                    </a:moveTo>
                    <a:lnTo>
                      <a:pt x="6084" y="1585014"/>
                    </a:lnTo>
                    <a:cubicBezTo>
                      <a:pt x="3042" y="1585014"/>
                      <a:pt x="0" y="1581972"/>
                      <a:pt x="0" y="1578929"/>
                    </a:cubicBezTo>
                    <a:cubicBezTo>
                      <a:pt x="0" y="1575888"/>
                      <a:pt x="3042" y="1572846"/>
                      <a:pt x="6084" y="1572846"/>
                    </a:cubicBezTo>
                    <a:lnTo>
                      <a:pt x="809240" y="1572846"/>
                    </a:lnTo>
                    <a:cubicBezTo>
                      <a:pt x="885296" y="1572846"/>
                      <a:pt x="949183" y="1508958"/>
                      <a:pt x="949183" y="1432902"/>
                    </a:cubicBezTo>
                    <a:lnTo>
                      <a:pt x="949183" y="152113"/>
                    </a:lnTo>
                    <a:cubicBezTo>
                      <a:pt x="949183" y="76056"/>
                      <a:pt x="885296" y="12169"/>
                      <a:pt x="809240" y="12169"/>
                    </a:cubicBezTo>
                    <a:cubicBezTo>
                      <a:pt x="806197" y="12169"/>
                      <a:pt x="803155" y="9127"/>
                      <a:pt x="803155" y="6085"/>
                    </a:cubicBezTo>
                    <a:cubicBezTo>
                      <a:pt x="803155" y="3042"/>
                      <a:pt x="806197" y="0"/>
                      <a:pt x="809240" y="0"/>
                    </a:cubicBezTo>
                    <a:cubicBezTo>
                      <a:pt x="894423" y="0"/>
                      <a:pt x="961352" y="66930"/>
                      <a:pt x="961352" y="152113"/>
                    </a:cubicBezTo>
                    <a:lnTo>
                      <a:pt x="961352" y="1432902"/>
                    </a:lnTo>
                    <a:cubicBezTo>
                      <a:pt x="961352" y="1518084"/>
                      <a:pt x="891380" y="1585014"/>
                      <a:pt x="809240" y="158501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B6EA86B8-77CC-4DC0-92AC-1C9808861678}"/>
                  </a:ext>
                </a:extLst>
              </p:cNvPr>
              <p:cNvSpPr/>
              <p:nvPr/>
            </p:nvSpPr>
            <p:spPr>
              <a:xfrm>
                <a:off x="9403694" y="9906761"/>
                <a:ext cx="529609" cy="103436"/>
              </a:xfrm>
              <a:custGeom>
                <a:avLst/>
                <a:gdLst>
                  <a:gd name="connsiteX0" fmla="*/ 477634 w 529609"/>
                  <a:gd name="connsiteY0" fmla="*/ 103436 h 103436"/>
                  <a:gd name="connsiteX1" fmla="*/ 51718 w 529609"/>
                  <a:gd name="connsiteY1" fmla="*/ 103436 h 103436"/>
                  <a:gd name="connsiteX2" fmla="*/ 0 w 529609"/>
                  <a:gd name="connsiteY2" fmla="*/ 51719 h 103436"/>
                  <a:gd name="connsiteX3" fmla="*/ 0 w 529609"/>
                  <a:gd name="connsiteY3" fmla="*/ 51719 h 103436"/>
                  <a:gd name="connsiteX4" fmla="*/ 51718 w 529609"/>
                  <a:gd name="connsiteY4" fmla="*/ 0 h 103436"/>
                  <a:gd name="connsiteX5" fmla="*/ 477634 w 529609"/>
                  <a:gd name="connsiteY5" fmla="*/ 0 h 103436"/>
                  <a:gd name="connsiteX6" fmla="*/ 529352 w 529609"/>
                  <a:gd name="connsiteY6" fmla="*/ 51719 h 103436"/>
                  <a:gd name="connsiteX7" fmla="*/ 529352 w 529609"/>
                  <a:gd name="connsiteY7" fmla="*/ 51719 h 103436"/>
                  <a:gd name="connsiteX8" fmla="*/ 477634 w 529609"/>
                  <a:gd name="connsiteY8" fmla="*/ 103436 h 103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9609" h="103436">
                    <a:moveTo>
                      <a:pt x="477634" y="103436"/>
                    </a:moveTo>
                    <a:lnTo>
                      <a:pt x="51718" y="103436"/>
                    </a:lnTo>
                    <a:cubicBezTo>
                      <a:pt x="21296" y="103436"/>
                      <a:pt x="0" y="79099"/>
                      <a:pt x="0" y="51719"/>
                    </a:cubicBezTo>
                    <a:lnTo>
                      <a:pt x="0" y="51719"/>
                    </a:lnTo>
                    <a:cubicBezTo>
                      <a:pt x="0" y="21296"/>
                      <a:pt x="24338" y="0"/>
                      <a:pt x="51718" y="0"/>
                    </a:cubicBezTo>
                    <a:lnTo>
                      <a:pt x="477634" y="0"/>
                    </a:lnTo>
                    <a:cubicBezTo>
                      <a:pt x="508056" y="0"/>
                      <a:pt x="529352" y="24338"/>
                      <a:pt x="529352" y="51719"/>
                    </a:cubicBezTo>
                    <a:lnTo>
                      <a:pt x="529352" y="51719"/>
                    </a:lnTo>
                    <a:cubicBezTo>
                      <a:pt x="532394" y="82141"/>
                      <a:pt x="508056" y="103436"/>
                      <a:pt x="477634" y="10343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360F7BDB-7616-41A6-9FDD-5B741428A977}"/>
                  </a:ext>
                </a:extLst>
              </p:cNvPr>
              <p:cNvSpPr/>
              <p:nvPr/>
            </p:nvSpPr>
            <p:spPr>
              <a:xfrm>
                <a:off x="9248539" y="10883325"/>
                <a:ext cx="839662" cy="681464"/>
              </a:xfrm>
              <a:custGeom>
                <a:avLst/>
                <a:gdLst>
                  <a:gd name="connsiteX0" fmla="*/ 778817 w 839662"/>
                  <a:gd name="connsiteY0" fmla="*/ 681465 h 681464"/>
                  <a:gd name="connsiteX1" fmla="*/ 60845 w 839662"/>
                  <a:gd name="connsiteY1" fmla="*/ 681465 h 681464"/>
                  <a:gd name="connsiteX2" fmla="*/ 0 w 839662"/>
                  <a:gd name="connsiteY2" fmla="*/ 620620 h 681464"/>
                  <a:gd name="connsiteX3" fmla="*/ 0 w 839662"/>
                  <a:gd name="connsiteY3" fmla="*/ 60845 h 681464"/>
                  <a:gd name="connsiteX4" fmla="*/ 60845 w 839662"/>
                  <a:gd name="connsiteY4" fmla="*/ 0 h 681464"/>
                  <a:gd name="connsiteX5" fmla="*/ 778817 w 839662"/>
                  <a:gd name="connsiteY5" fmla="*/ 0 h 681464"/>
                  <a:gd name="connsiteX6" fmla="*/ 839662 w 839662"/>
                  <a:gd name="connsiteY6" fmla="*/ 60845 h 681464"/>
                  <a:gd name="connsiteX7" fmla="*/ 839662 w 839662"/>
                  <a:gd name="connsiteY7" fmla="*/ 620620 h 681464"/>
                  <a:gd name="connsiteX8" fmla="*/ 778817 w 839662"/>
                  <a:gd name="connsiteY8" fmla="*/ 681465 h 681464"/>
                  <a:gd name="connsiteX9" fmla="*/ 63888 w 839662"/>
                  <a:gd name="connsiteY9" fmla="*/ 15211 h 681464"/>
                  <a:gd name="connsiteX10" fmla="*/ 15211 w 839662"/>
                  <a:gd name="connsiteY10" fmla="*/ 63888 h 681464"/>
                  <a:gd name="connsiteX11" fmla="*/ 15211 w 839662"/>
                  <a:gd name="connsiteY11" fmla="*/ 623662 h 681464"/>
                  <a:gd name="connsiteX12" fmla="*/ 63888 w 839662"/>
                  <a:gd name="connsiteY12" fmla="*/ 672338 h 681464"/>
                  <a:gd name="connsiteX13" fmla="*/ 781859 w 839662"/>
                  <a:gd name="connsiteY13" fmla="*/ 672338 h 681464"/>
                  <a:gd name="connsiteX14" fmla="*/ 830535 w 839662"/>
                  <a:gd name="connsiteY14" fmla="*/ 623662 h 681464"/>
                  <a:gd name="connsiteX15" fmla="*/ 830535 w 839662"/>
                  <a:gd name="connsiteY15" fmla="*/ 63888 h 681464"/>
                  <a:gd name="connsiteX16" fmla="*/ 781859 w 839662"/>
                  <a:gd name="connsiteY16" fmla="*/ 15211 h 681464"/>
                  <a:gd name="connsiteX17" fmla="*/ 63888 w 839662"/>
                  <a:gd name="connsiteY17" fmla="*/ 15211 h 681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839662" h="681464">
                    <a:moveTo>
                      <a:pt x="778817" y="681465"/>
                    </a:moveTo>
                    <a:lnTo>
                      <a:pt x="60845" y="681465"/>
                    </a:lnTo>
                    <a:cubicBezTo>
                      <a:pt x="27381" y="681465"/>
                      <a:pt x="0" y="654085"/>
                      <a:pt x="0" y="620620"/>
                    </a:cubicBezTo>
                    <a:lnTo>
                      <a:pt x="0" y="60845"/>
                    </a:lnTo>
                    <a:cubicBezTo>
                      <a:pt x="0" y="27380"/>
                      <a:pt x="27381" y="0"/>
                      <a:pt x="60845" y="0"/>
                    </a:cubicBezTo>
                    <a:lnTo>
                      <a:pt x="778817" y="0"/>
                    </a:lnTo>
                    <a:cubicBezTo>
                      <a:pt x="812282" y="0"/>
                      <a:pt x="839662" y="27380"/>
                      <a:pt x="839662" y="60845"/>
                    </a:cubicBezTo>
                    <a:lnTo>
                      <a:pt x="839662" y="620620"/>
                    </a:lnTo>
                    <a:cubicBezTo>
                      <a:pt x="839662" y="654085"/>
                      <a:pt x="812282" y="681465"/>
                      <a:pt x="778817" y="681465"/>
                    </a:cubicBezTo>
                    <a:close/>
                    <a:moveTo>
                      <a:pt x="63888" y="15211"/>
                    </a:moveTo>
                    <a:cubicBezTo>
                      <a:pt x="36507" y="15211"/>
                      <a:pt x="15211" y="36506"/>
                      <a:pt x="15211" y="63888"/>
                    </a:cubicBezTo>
                    <a:lnTo>
                      <a:pt x="15211" y="623662"/>
                    </a:lnTo>
                    <a:cubicBezTo>
                      <a:pt x="15211" y="651042"/>
                      <a:pt x="36507" y="672338"/>
                      <a:pt x="63888" y="672338"/>
                    </a:cubicBezTo>
                    <a:lnTo>
                      <a:pt x="781859" y="672338"/>
                    </a:lnTo>
                    <a:cubicBezTo>
                      <a:pt x="809240" y="672338"/>
                      <a:pt x="830535" y="651042"/>
                      <a:pt x="830535" y="623662"/>
                    </a:cubicBezTo>
                    <a:lnTo>
                      <a:pt x="830535" y="63888"/>
                    </a:lnTo>
                    <a:cubicBezTo>
                      <a:pt x="830535" y="36506"/>
                      <a:pt x="809240" y="15211"/>
                      <a:pt x="781859" y="15211"/>
                    </a:cubicBezTo>
                    <a:lnTo>
                      <a:pt x="63888" y="15211"/>
                    </a:ln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9C07E23A-E0A1-453F-AFE6-0A537F77261E}"/>
                  </a:ext>
                </a:extLst>
              </p:cNvPr>
              <p:cNvSpPr/>
              <p:nvPr/>
            </p:nvSpPr>
            <p:spPr>
              <a:xfrm>
                <a:off x="9248539" y="11643888"/>
                <a:ext cx="839662" cy="529351"/>
              </a:xfrm>
              <a:custGeom>
                <a:avLst/>
                <a:gdLst>
                  <a:gd name="connsiteX0" fmla="*/ 778817 w 839662"/>
                  <a:gd name="connsiteY0" fmla="*/ 529352 h 529351"/>
                  <a:gd name="connsiteX1" fmla="*/ 60845 w 839662"/>
                  <a:gd name="connsiteY1" fmla="*/ 529352 h 529351"/>
                  <a:gd name="connsiteX2" fmla="*/ 0 w 839662"/>
                  <a:gd name="connsiteY2" fmla="*/ 468507 h 529351"/>
                  <a:gd name="connsiteX3" fmla="*/ 0 w 839662"/>
                  <a:gd name="connsiteY3" fmla="*/ 60845 h 529351"/>
                  <a:gd name="connsiteX4" fmla="*/ 60845 w 839662"/>
                  <a:gd name="connsiteY4" fmla="*/ 0 h 529351"/>
                  <a:gd name="connsiteX5" fmla="*/ 778817 w 839662"/>
                  <a:gd name="connsiteY5" fmla="*/ 0 h 529351"/>
                  <a:gd name="connsiteX6" fmla="*/ 839662 w 839662"/>
                  <a:gd name="connsiteY6" fmla="*/ 60845 h 529351"/>
                  <a:gd name="connsiteX7" fmla="*/ 839662 w 839662"/>
                  <a:gd name="connsiteY7" fmla="*/ 468507 h 529351"/>
                  <a:gd name="connsiteX8" fmla="*/ 778817 w 839662"/>
                  <a:gd name="connsiteY8" fmla="*/ 529352 h 529351"/>
                  <a:gd name="connsiteX9" fmla="*/ 63888 w 839662"/>
                  <a:gd name="connsiteY9" fmla="*/ 12169 h 529351"/>
                  <a:gd name="connsiteX10" fmla="*/ 15211 w 839662"/>
                  <a:gd name="connsiteY10" fmla="*/ 60845 h 529351"/>
                  <a:gd name="connsiteX11" fmla="*/ 15211 w 839662"/>
                  <a:gd name="connsiteY11" fmla="*/ 468507 h 529351"/>
                  <a:gd name="connsiteX12" fmla="*/ 63888 w 839662"/>
                  <a:gd name="connsiteY12" fmla="*/ 517183 h 529351"/>
                  <a:gd name="connsiteX13" fmla="*/ 781859 w 839662"/>
                  <a:gd name="connsiteY13" fmla="*/ 517183 h 529351"/>
                  <a:gd name="connsiteX14" fmla="*/ 830535 w 839662"/>
                  <a:gd name="connsiteY14" fmla="*/ 468507 h 529351"/>
                  <a:gd name="connsiteX15" fmla="*/ 830535 w 839662"/>
                  <a:gd name="connsiteY15" fmla="*/ 60845 h 529351"/>
                  <a:gd name="connsiteX16" fmla="*/ 781859 w 839662"/>
                  <a:gd name="connsiteY16" fmla="*/ 12169 h 529351"/>
                  <a:gd name="connsiteX17" fmla="*/ 63888 w 839662"/>
                  <a:gd name="connsiteY17" fmla="*/ 12169 h 529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839662" h="529351">
                    <a:moveTo>
                      <a:pt x="778817" y="529352"/>
                    </a:moveTo>
                    <a:lnTo>
                      <a:pt x="60845" y="529352"/>
                    </a:lnTo>
                    <a:cubicBezTo>
                      <a:pt x="27381" y="529352"/>
                      <a:pt x="0" y="501972"/>
                      <a:pt x="0" y="468507"/>
                    </a:cubicBezTo>
                    <a:lnTo>
                      <a:pt x="0" y="60845"/>
                    </a:lnTo>
                    <a:cubicBezTo>
                      <a:pt x="0" y="27380"/>
                      <a:pt x="27381" y="0"/>
                      <a:pt x="60845" y="0"/>
                    </a:cubicBezTo>
                    <a:lnTo>
                      <a:pt x="778817" y="0"/>
                    </a:lnTo>
                    <a:cubicBezTo>
                      <a:pt x="812282" y="0"/>
                      <a:pt x="839662" y="27380"/>
                      <a:pt x="839662" y="60845"/>
                    </a:cubicBezTo>
                    <a:lnTo>
                      <a:pt x="839662" y="468507"/>
                    </a:lnTo>
                    <a:cubicBezTo>
                      <a:pt x="839662" y="501972"/>
                      <a:pt x="812282" y="529352"/>
                      <a:pt x="778817" y="529352"/>
                    </a:cubicBezTo>
                    <a:close/>
                    <a:moveTo>
                      <a:pt x="63888" y="12169"/>
                    </a:moveTo>
                    <a:cubicBezTo>
                      <a:pt x="36507" y="12169"/>
                      <a:pt x="15211" y="33465"/>
                      <a:pt x="15211" y="60845"/>
                    </a:cubicBezTo>
                    <a:lnTo>
                      <a:pt x="15211" y="468507"/>
                    </a:lnTo>
                    <a:cubicBezTo>
                      <a:pt x="15211" y="495887"/>
                      <a:pt x="36507" y="517183"/>
                      <a:pt x="63888" y="517183"/>
                    </a:cubicBezTo>
                    <a:lnTo>
                      <a:pt x="781859" y="517183"/>
                    </a:lnTo>
                    <a:cubicBezTo>
                      <a:pt x="809240" y="517183"/>
                      <a:pt x="830535" y="495887"/>
                      <a:pt x="830535" y="468507"/>
                    </a:cubicBezTo>
                    <a:lnTo>
                      <a:pt x="830535" y="60845"/>
                    </a:lnTo>
                    <a:cubicBezTo>
                      <a:pt x="830535" y="33465"/>
                      <a:pt x="809240" y="12169"/>
                      <a:pt x="781859" y="12169"/>
                    </a:cubicBezTo>
                    <a:lnTo>
                      <a:pt x="63888" y="12169"/>
                    </a:ln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B0F14534-9384-4C7D-8C38-D2AB2A59A1A7}"/>
                  </a:ext>
                </a:extLst>
              </p:cNvPr>
              <p:cNvSpPr/>
              <p:nvPr/>
            </p:nvSpPr>
            <p:spPr>
              <a:xfrm>
                <a:off x="9218116" y="10938085"/>
                <a:ext cx="73603" cy="200788"/>
              </a:xfrm>
              <a:custGeom>
                <a:avLst/>
                <a:gdLst>
                  <a:gd name="connsiteX0" fmla="*/ 54761 w 73603"/>
                  <a:gd name="connsiteY0" fmla="*/ 0 h 200788"/>
                  <a:gd name="connsiteX1" fmla="*/ 21296 w 73603"/>
                  <a:gd name="connsiteY1" fmla="*/ 0 h 200788"/>
                  <a:gd name="connsiteX2" fmla="*/ 0 w 73603"/>
                  <a:gd name="connsiteY2" fmla="*/ 21296 h 200788"/>
                  <a:gd name="connsiteX3" fmla="*/ 0 w 73603"/>
                  <a:gd name="connsiteY3" fmla="*/ 88225 h 200788"/>
                  <a:gd name="connsiteX4" fmla="*/ 15211 w 73603"/>
                  <a:gd name="connsiteY4" fmla="*/ 106479 h 200788"/>
                  <a:gd name="connsiteX5" fmla="*/ 6084 w 73603"/>
                  <a:gd name="connsiteY5" fmla="*/ 164282 h 200788"/>
                  <a:gd name="connsiteX6" fmla="*/ 36507 w 73603"/>
                  <a:gd name="connsiteY6" fmla="*/ 200789 h 200788"/>
                  <a:gd name="connsiteX7" fmla="*/ 66929 w 73603"/>
                  <a:gd name="connsiteY7" fmla="*/ 164282 h 200788"/>
                  <a:gd name="connsiteX8" fmla="*/ 57803 w 73603"/>
                  <a:gd name="connsiteY8" fmla="*/ 106479 h 200788"/>
                  <a:gd name="connsiteX9" fmla="*/ 73014 w 73603"/>
                  <a:gd name="connsiteY9" fmla="*/ 88225 h 200788"/>
                  <a:gd name="connsiteX10" fmla="*/ 73014 w 73603"/>
                  <a:gd name="connsiteY10" fmla="*/ 21296 h 200788"/>
                  <a:gd name="connsiteX11" fmla="*/ 54761 w 73603"/>
                  <a:gd name="connsiteY11" fmla="*/ 0 h 200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3603" h="200788">
                    <a:moveTo>
                      <a:pt x="54761" y="0"/>
                    </a:moveTo>
                    <a:lnTo>
                      <a:pt x="21296" y="0"/>
                    </a:lnTo>
                    <a:cubicBezTo>
                      <a:pt x="9127" y="0"/>
                      <a:pt x="0" y="9127"/>
                      <a:pt x="0" y="21296"/>
                    </a:cubicBezTo>
                    <a:lnTo>
                      <a:pt x="0" y="88225"/>
                    </a:lnTo>
                    <a:cubicBezTo>
                      <a:pt x="0" y="97352"/>
                      <a:pt x="6084" y="106479"/>
                      <a:pt x="15211" y="106479"/>
                    </a:cubicBezTo>
                    <a:lnTo>
                      <a:pt x="6084" y="164282"/>
                    </a:lnTo>
                    <a:cubicBezTo>
                      <a:pt x="3042" y="182535"/>
                      <a:pt x="18254" y="200789"/>
                      <a:pt x="36507" y="200789"/>
                    </a:cubicBezTo>
                    <a:cubicBezTo>
                      <a:pt x="54761" y="200789"/>
                      <a:pt x="69972" y="182535"/>
                      <a:pt x="66929" y="164282"/>
                    </a:cubicBezTo>
                    <a:lnTo>
                      <a:pt x="57803" y="106479"/>
                    </a:lnTo>
                    <a:cubicBezTo>
                      <a:pt x="66929" y="103436"/>
                      <a:pt x="73014" y="97352"/>
                      <a:pt x="73014" y="88225"/>
                    </a:cubicBezTo>
                    <a:lnTo>
                      <a:pt x="73014" y="21296"/>
                    </a:lnTo>
                    <a:cubicBezTo>
                      <a:pt x="76056" y="9127"/>
                      <a:pt x="66929" y="0"/>
                      <a:pt x="54761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0CE9D407-BEB7-460B-BE00-1349CD3ACC98}"/>
                  </a:ext>
                </a:extLst>
              </p:cNvPr>
              <p:cNvSpPr/>
              <p:nvPr/>
            </p:nvSpPr>
            <p:spPr>
              <a:xfrm>
                <a:off x="9218116" y="11674311"/>
                <a:ext cx="73603" cy="200788"/>
              </a:xfrm>
              <a:custGeom>
                <a:avLst/>
                <a:gdLst>
                  <a:gd name="connsiteX0" fmla="*/ 54761 w 73603"/>
                  <a:gd name="connsiteY0" fmla="*/ 0 h 200788"/>
                  <a:gd name="connsiteX1" fmla="*/ 21296 w 73603"/>
                  <a:gd name="connsiteY1" fmla="*/ 0 h 200788"/>
                  <a:gd name="connsiteX2" fmla="*/ 0 w 73603"/>
                  <a:gd name="connsiteY2" fmla="*/ 21295 h 200788"/>
                  <a:gd name="connsiteX3" fmla="*/ 0 w 73603"/>
                  <a:gd name="connsiteY3" fmla="*/ 88225 h 200788"/>
                  <a:gd name="connsiteX4" fmla="*/ 15211 w 73603"/>
                  <a:gd name="connsiteY4" fmla="*/ 106479 h 200788"/>
                  <a:gd name="connsiteX5" fmla="*/ 6084 w 73603"/>
                  <a:gd name="connsiteY5" fmla="*/ 164282 h 200788"/>
                  <a:gd name="connsiteX6" fmla="*/ 36507 w 73603"/>
                  <a:gd name="connsiteY6" fmla="*/ 200789 h 200788"/>
                  <a:gd name="connsiteX7" fmla="*/ 66929 w 73603"/>
                  <a:gd name="connsiteY7" fmla="*/ 164282 h 200788"/>
                  <a:gd name="connsiteX8" fmla="*/ 57803 w 73603"/>
                  <a:gd name="connsiteY8" fmla="*/ 106479 h 200788"/>
                  <a:gd name="connsiteX9" fmla="*/ 73014 w 73603"/>
                  <a:gd name="connsiteY9" fmla="*/ 88225 h 200788"/>
                  <a:gd name="connsiteX10" fmla="*/ 73014 w 73603"/>
                  <a:gd name="connsiteY10" fmla="*/ 21295 h 200788"/>
                  <a:gd name="connsiteX11" fmla="*/ 54761 w 73603"/>
                  <a:gd name="connsiteY11" fmla="*/ 0 h 200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3603" h="200788">
                    <a:moveTo>
                      <a:pt x="54761" y="0"/>
                    </a:moveTo>
                    <a:lnTo>
                      <a:pt x="21296" y="0"/>
                    </a:lnTo>
                    <a:cubicBezTo>
                      <a:pt x="9127" y="0"/>
                      <a:pt x="0" y="9126"/>
                      <a:pt x="0" y="21295"/>
                    </a:cubicBezTo>
                    <a:lnTo>
                      <a:pt x="0" y="88225"/>
                    </a:lnTo>
                    <a:cubicBezTo>
                      <a:pt x="0" y="97352"/>
                      <a:pt x="6084" y="106479"/>
                      <a:pt x="15211" y="106479"/>
                    </a:cubicBezTo>
                    <a:lnTo>
                      <a:pt x="6084" y="164282"/>
                    </a:lnTo>
                    <a:cubicBezTo>
                      <a:pt x="3042" y="182535"/>
                      <a:pt x="18254" y="200789"/>
                      <a:pt x="36507" y="200789"/>
                    </a:cubicBezTo>
                    <a:cubicBezTo>
                      <a:pt x="54761" y="200789"/>
                      <a:pt x="69972" y="182535"/>
                      <a:pt x="66929" y="164282"/>
                    </a:cubicBezTo>
                    <a:lnTo>
                      <a:pt x="57803" y="106479"/>
                    </a:lnTo>
                    <a:cubicBezTo>
                      <a:pt x="66929" y="103436"/>
                      <a:pt x="73014" y="97352"/>
                      <a:pt x="73014" y="88225"/>
                    </a:cubicBezTo>
                    <a:lnTo>
                      <a:pt x="73014" y="21295"/>
                    </a:lnTo>
                    <a:cubicBezTo>
                      <a:pt x="76056" y="9126"/>
                      <a:pt x="66929" y="0"/>
                      <a:pt x="54761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DF6695A4-59F1-4E2C-BF6F-B7A02481E2D2}"/>
                </a:ext>
              </a:extLst>
            </p:cNvPr>
            <p:cNvSpPr/>
            <p:nvPr/>
          </p:nvSpPr>
          <p:spPr>
            <a:xfrm>
              <a:off x="7654217" y="9048493"/>
              <a:ext cx="252688" cy="197949"/>
            </a:xfrm>
            <a:custGeom>
              <a:avLst/>
              <a:gdLst>
                <a:gd name="connsiteX0" fmla="*/ 70153 w 252688"/>
                <a:gd name="connsiteY0" fmla="*/ 149423 h 197949"/>
                <a:gd name="connsiteX1" fmla="*/ 197928 w 252688"/>
                <a:gd name="connsiteY1" fmla="*/ 192015 h 197949"/>
                <a:gd name="connsiteX2" fmla="*/ 252688 w 252688"/>
                <a:gd name="connsiteY2" fmla="*/ 100748 h 197949"/>
                <a:gd name="connsiteX3" fmla="*/ 39731 w 252688"/>
                <a:gd name="connsiteY3" fmla="*/ 3395 h 197949"/>
                <a:gd name="connsiteX4" fmla="*/ 15393 w 252688"/>
                <a:gd name="connsiteY4" fmla="*/ 24691 h 197949"/>
                <a:gd name="connsiteX5" fmla="*/ 181 w 252688"/>
                <a:gd name="connsiteY5" fmla="*/ 73367 h 197949"/>
                <a:gd name="connsiteX6" fmla="*/ 15393 w 252688"/>
                <a:gd name="connsiteY6" fmla="*/ 103790 h 197949"/>
                <a:gd name="connsiteX7" fmla="*/ 48857 w 252688"/>
                <a:gd name="connsiteY7" fmla="*/ 128128 h 197949"/>
                <a:gd name="connsiteX8" fmla="*/ 70153 w 252688"/>
                <a:gd name="connsiteY8" fmla="*/ 149423 h 197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2688" h="197949">
                  <a:moveTo>
                    <a:pt x="70153" y="149423"/>
                  </a:moveTo>
                  <a:cubicBezTo>
                    <a:pt x="109702" y="158550"/>
                    <a:pt x="161421" y="216353"/>
                    <a:pt x="197928" y="192015"/>
                  </a:cubicBezTo>
                  <a:cubicBezTo>
                    <a:pt x="222266" y="176804"/>
                    <a:pt x="252688" y="100748"/>
                    <a:pt x="252688" y="100748"/>
                  </a:cubicBezTo>
                  <a:cubicBezTo>
                    <a:pt x="240519" y="24691"/>
                    <a:pt x="118829" y="-11816"/>
                    <a:pt x="39731" y="3395"/>
                  </a:cubicBezTo>
                  <a:cubicBezTo>
                    <a:pt x="30604" y="6438"/>
                    <a:pt x="3223" y="18606"/>
                    <a:pt x="15393" y="24691"/>
                  </a:cubicBezTo>
                  <a:cubicBezTo>
                    <a:pt x="33646" y="33818"/>
                    <a:pt x="-2861" y="61198"/>
                    <a:pt x="181" y="73367"/>
                  </a:cubicBezTo>
                  <a:cubicBezTo>
                    <a:pt x="181" y="85536"/>
                    <a:pt x="15393" y="103790"/>
                    <a:pt x="15393" y="103790"/>
                  </a:cubicBezTo>
                  <a:cubicBezTo>
                    <a:pt x="24519" y="119001"/>
                    <a:pt x="48857" y="122043"/>
                    <a:pt x="48857" y="128128"/>
                  </a:cubicBezTo>
                  <a:cubicBezTo>
                    <a:pt x="48857" y="143339"/>
                    <a:pt x="45815" y="146381"/>
                    <a:pt x="70153" y="149423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2" name="图形 1">
              <a:extLst>
                <a:ext uri="{FF2B5EF4-FFF2-40B4-BE49-F238E27FC236}">
                  <a16:creationId xmlns:a16="http://schemas.microsoft.com/office/drawing/2014/main" id="{840ADF5C-A631-40F7-BE9A-B3B6BA36703C}"/>
                </a:ext>
              </a:extLst>
            </p:cNvPr>
            <p:cNvGrpSpPr/>
            <p:nvPr/>
          </p:nvGrpSpPr>
          <p:grpSpPr>
            <a:xfrm>
              <a:off x="6553103" y="8224395"/>
              <a:ext cx="1198647" cy="894422"/>
              <a:chOff x="6553103" y="8224395"/>
              <a:chExt cx="1198647" cy="894422"/>
            </a:xfrm>
          </p:grpSpPr>
          <p:grpSp>
            <p:nvGrpSpPr>
              <p:cNvPr id="127" name="图形 1">
                <a:extLst>
                  <a:ext uri="{FF2B5EF4-FFF2-40B4-BE49-F238E27FC236}">
                    <a16:creationId xmlns:a16="http://schemas.microsoft.com/office/drawing/2014/main" id="{92F87FCC-2570-4D79-8A85-C81B986C43DF}"/>
                  </a:ext>
                </a:extLst>
              </p:cNvPr>
              <p:cNvGrpSpPr/>
              <p:nvPr/>
            </p:nvGrpSpPr>
            <p:grpSpPr>
              <a:xfrm>
                <a:off x="6553103" y="8224395"/>
                <a:ext cx="355943" cy="191662"/>
                <a:chOff x="6553103" y="8224395"/>
                <a:chExt cx="355943" cy="191662"/>
              </a:xfrm>
            </p:grpSpPr>
            <p:sp>
              <p:nvSpPr>
                <p:cNvPr id="132" name="任意多边形: 形状 131">
                  <a:extLst>
                    <a:ext uri="{FF2B5EF4-FFF2-40B4-BE49-F238E27FC236}">
                      <a16:creationId xmlns:a16="http://schemas.microsoft.com/office/drawing/2014/main" id="{8CE3DE9B-A8D1-464C-A392-247740A19B7F}"/>
                    </a:ext>
                  </a:extLst>
                </p:cNvPr>
                <p:cNvSpPr/>
                <p:nvPr/>
              </p:nvSpPr>
              <p:spPr>
                <a:xfrm>
                  <a:off x="6553103" y="8297409"/>
                  <a:ext cx="352901" cy="118647"/>
                </a:xfrm>
                <a:custGeom>
                  <a:avLst/>
                  <a:gdLst>
                    <a:gd name="connsiteX0" fmla="*/ 0 w 352901"/>
                    <a:gd name="connsiteY0" fmla="*/ 94310 h 118647"/>
                    <a:gd name="connsiteX1" fmla="*/ 0 w 352901"/>
                    <a:gd name="connsiteY1" fmla="*/ 0 h 118647"/>
                    <a:gd name="connsiteX2" fmla="*/ 15211 w 352901"/>
                    <a:gd name="connsiteY2" fmla="*/ 0 h 118647"/>
                    <a:gd name="connsiteX3" fmla="*/ 15211 w 352901"/>
                    <a:gd name="connsiteY3" fmla="*/ 48676 h 118647"/>
                    <a:gd name="connsiteX4" fmla="*/ 15211 w 352901"/>
                    <a:gd name="connsiteY4" fmla="*/ 82141 h 118647"/>
                    <a:gd name="connsiteX5" fmla="*/ 39549 w 352901"/>
                    <a:gd name="connsiteY5" fmla="*/ 103436 h 118647"/>
                    <a:gd name="connsiteX6" fmla="*/ 295099 w 352901"/>
                    <a:gd name="connsiteY6" fmla="*/ 106479 h 118647"/>
                    <a:gd name="connsiteX7" fmla="*/ 319437 w 352901"/>
                    <a:gd name="connsiteY7" fmla="*/ 85183 h 118647"/>
                    <a:gd name="connsiteX8" fmla="*/ 319437 w 352901"/>
                    <a:gd name="connsiteY8" fmla="*/ 3042 h 118647"/>
                    <a:gd name="connsiteX9" fmla="*/ 349859 w 352901"/>
                    <a:gd name="connsiteY9" fmla="*/ 3042 h 118647"/>
                    <a:gd name="connsiteX10" fmla="*/ 352901 w 352901"/>
                    <a:gd name="connsiteY10" fmla="*/ 97352 h 118647"/>
                    <a:gd name="connsiteX11" fmla="*/ 328563 w 352901"/>
                    <a:gd name="connsiteY11" fmla="*/ 118648 h 118647"/>
                    <a:gd name="connsiteX12" fmla="*/ 24338 w 352901"/>
                    <a:gd name="connsiteY12" fmla="*/ 115605 h 118647"/>
                    <a:gd name="connsiteX13" fmla="*/ 0 w 352901"/>
                    <a:gd name="connsiteY13" fmla="*/ 94310 h 118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52901" h="118647">
                      <a:moveTo>
                        <a:pt x="0" y="94310"/>
                      </a:moveTo>
                      <a:lnTo>
                        <a:pt x="0" y="0"/>
                      </a:lnTo>
                      <a:lnTo>
                        <a:pt x="15211" y="0"/>
                      </a:lnTo>
                      <a:lnTo>
                        <a:pt x="15211" y="48676"/>
                      </a:lnTo>
                      <a:lnTo>
                        <a:pt x="15211" y="82141"/>
                      </a:lnTo>
                      <a:cubicBezTo>
                        <a:pt x="15211" y="94310"/>
                        <a:pt x="27380" y="103436"/>
                        <a:pt x="39549" y="103436"/>
                      </a:cubicBezTo>
                      <a:lnTo>
                        <a:pt x="295099" y="106479"/>
                      </a:lnTo>
                      <a:cubicBezTo>
                        <a:pt x="307267" y="106479"/>
                        <a:pt x="319437" y="97352"/>
                        <a:pt x="319437" y="85183"/>
                      </a:cubicBezTo>
                      <a:lnTo>
                        <a:pt x="319437" y="3042"/>
                      </a:lnTo>
                      <a:lnTo>
                        <a:pt x="349859" y="3042"/>
                      </a:lnTo>
                      <a:lnTo>
                        <a:pt x="352901" y="97352"/>
                      </a:lnTo>
                      <a:cubicBezTo>
                        <a:pt x="352901" y="109521"/>
                        <a:pt x="340732" y="118648"/>
                        <a:pt x="328563" y="118648"/>
                      </a:cubicBezTo>
                      <a:lnTo>
                        <a:pt x="24338" y="115605"/>
                      </a:lnTo>
                      <a:cubicBezTo>
                        <a:pt x="12169" y="115605"/>
                        <a:pt x="0" y="106479"/>
                        <a:pt x="0" y="94310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3" name="任意多边形: 形状 132">
                  <a:extLst>
                    <a:ext uri="{FF2B5EF4-FFF2-40B4-BE49-F238E27FC236}">
                      <a16:creationId xmlns:a16="http://schemas.microsoft.com/office/drawing/2014/main" id="{FF6F4524-8D1A-4141-9448-2DE320142D3F}"/>
                    </a:ext>
                  </a:extLst>
                </p:cNvPr>
                <p:cNvSpPr/>
                <p:nvPr/>
              </p:nvSpPr>
              <p:spPr>
                <a:xfrm>
                  <a:off x="6553103" y="8224395"/>
                  <a:ext cx="355943" cy="182535"/>
                </a:xfrm>
                <a:custGeom>
                  <a:avLst/>
                  <a:gdLst>
                    <a:gd name="connsiteX0" fmla="*/ 27380 w 355943"/>
                    <a:gd name="connsiteY0" fmla="*/ 179493 h 182535"/>
                    <a:gd name="connsiteX1" fmla="*/ 331605 w 355943"/>
                    <a:gd name="connsiteY1" fmla="*/ 182535 h 182535"/>
                    <a:gd name="connsiteX2" fmla="*/ 355944 w 355943"/>
                    <a:gd name="connsiteY2" fmla="*/ 164282 h 182535"/>
                    <a:gd name="connsiteX3" fmla="*/ 355944 w 355943"/>
                    <a:gd name="connsiteY3" fmla="*/ 164282 h 182535"/>
                    <a:gd name="connsiteX4" fmla="*/ 352901 w 355943"/>
                    <a:gd name="connsiteY4" fmla="*/ 24338 h 182535"/>
                    <a:gd name="connsiteX5" fmla="*/ 328563 w 355943"/>
                    <a:gd name="connsiteY5" fmla="*/ 3042 h 182535"/>
                    <a:gd name="connsiteX6" fmla="*/ 24338 w 355943"/>
                    <a:gd name="connsiteY6" fmla="*/ 0 h 182535"/>
                    <a:gd name="connsiteX7" fmla="*/ 0 w 355943"/>
                    <a:gd name="connsiteY7" fmla="*/ 21296 h 182535"/>
                    <a:gd name="connsiteX8" fmla="*/ 3042 w 355943"/>
                    <a:gd name="connsiteY8" fmla="*/ 161240 h 182535"/>
                    <a:gd name="connsiteX9" fmla="*/ 3042 w 355943"/>
                    <a:gd name="connsiteY9" fmla="*/ 161240 h 182535"/>
                    <a:gd name="connsiteX10" fmla="*/ 27380 w 355943"/>
                    <a:gd name="connsiteY10" fmla="*/ 179493 h 1825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55943" h="182535">
                      <a:moveTo>
                        <a:pt x="27380" y="179493"/>
                      </a:moveTo>
                      <a:lnTo>
                        <a:pt x="331605" y="182535"/>
                      </a:lnTo>
                      <a:cubicBezTo>
                        <a:pt x="343774" y="182535"/>
                        <a:pt x="355944" y="173408"/>
                        <a:pt x="355944" y="164282"/>
                      </a:cubicBezTo>
                      <a:cubicBezTo>
                        <a:pt x="355944" y="164282"/>
                        <a:pt x="355944" y="164282"/>
                        <a:pt x="355944" y="164282"/>
                      </a:cubicBezTo>
                      <a:lnTo>
                        <a:pt x="352901" y="24338"/>
                      </a:lnTo>
                      <a:cubicBezTo>
                        <a:pt x="352901" y="12169"/>
                        <a:pt x="340732" y="3042"/>
                        <a:pt x="328563" y="3042"/>
                      </a:cubicBezTo>
                      <a:lnTo>
                        <a:pt x="24338" y="0"/>
                      </a:lnTo>
                      <a:cubicBezTo>
                        <a:pt x="12169" y="0"/>
                        <a:pt x="0" y="9127"/>
                        <a:pt x="0" y="21296"/>
                      </a:cubicBezTo>
                      <a:lnTo>
                        <a:pt x="3042" y="161240"/>
                      </a:lnTo>
                      <a:cubicBezTo>
                        <a:pt x="3042" y="161240"/>
                        <a:pt x="3042" y="161240"/>
                        <a:pt x="3042" y="161240"/>
                      </a:cubicBezTo>
                      <a:cubicBezTo>
                        <a:pt x="3042" y="170366"/>
                        <a:pt x="12169" y="179493"/>
                        <a:pt x="27380" y="179493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6F73F695-826C-4309-B28D-849B3D6A30C1}"/>
                  </a:ext>
                </a:extLst>
              </p:cNvPr>
              <p:cNvSpPr/>
              <p:nvPr/>
            </p:nvSpPr>
            <p:spPr>
              <a:xfrm>
                <a:off x="6574398" y="8297409"/>
                <a:ext cx="30422" cy="30422"/>
              </a:xfrm>
              <a:custGeom>
                <a:avLst/>
                <a:gdLst>
                  <a:gd name="connsiteX0" fmla="*/ 0 w 30422"/>
                  <a:gd name="connsiteY0" fmla="*/ 15211 h 30422"/>
                  <a:gd name="connsiteX1" fmla="*/ 15211 w 30422"/>
                  <a:gd name="connsiteY1" fmla="*/ 0 h 30422"/>
                  <a:gd name="connsiteX2" fmla="*/ 30423 w 30422"/>
                  <a:gd name="connsiteY2" fmla="*/ 15211 h 30422"/>
                  <a:gd name="connsiteX3" fmla="*/ 15211 w 30422"/>
                  <a:gd name="connsiteY3" fmla="*/ 30423 h 30422"/>
                  <a:gd name="connsiteX4" fmla="*/ 0 w 30422"/>
                  <a:gd name="connsiteY4" fmla="*/ 15211 h 30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422" h="30422">
                    <a:moveTo>
                      <a:pt x="0" y="15211"/>
                    </a:moveTo>
                    <a:cubicBezTo>
                      <a:pt x="0" y="6084"/>
                      <a:pt x="6084" y="0"/>
                      <a:pt x="15211" y="0"/>
                    </a:cubicBezTo>
                    <a:cubicBezTo>
                      <a:pt x="24338" y="0"/>
                      <a:pt x="30423" y="6084"/>
                      <a:pt x="30423" y="15211"/>
                    </a:cubicBezTo>
                    <a:cubicBezTo>
                      <a:pt x="30423" y="24338"/>
                      <a:pt x="24338" y="30423"/>
                      <a:pt x="15211" y="30423"/>
                    </a:cubicBezTo>
                    <a:cubicBezTo>
                      <a:pt x="6084" y="30423"/>
                      <a:pt x="0" y="24338"/>
                      <a:pt x="0" y="15211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D14A7132-1198-45FE-A739-DA92B555E54B}"/>
                  </a:ext>
                </a:extLst>
              </p:cNvPr>
              <p:cNvSpPr/>
              <p:nvPr/>
            </p:nvSpPr>
            <p:spPr>
              <a:xfrm>
                <a:off x="6662623" y="8318705"/>
                <a:ext cx="130816" cy="85183"/>
              </a:xfrm>
              <a:custGeom>
                <a:avLst/>
                <a:gdLst>
                  <a:gd name="connsiteX0" fmla="*/ 3042 w 130816"/>
                  <a:gd name="connsiteY0" fmla="*/ 85183 h 85183"/>
                  <a:gd name="connsiteX1" fmla="*/ 130817 w 130816"/>
                  <a:gd name="connsiteY1" fmla="*/ 85183 h 85183"/>
                  <a:gd name="connsiteX2" fmla="*/ 130817 w 130816"/>
                  <a:gd name="connsiteY2" fmla="*/ 15211 h 85183"/>
                  <a:gd name="connsiteX3" fmla="*/ 115606 w 130816"/>
                  <a:gd name="connsiteY3" fmla="*/ 0 h 85183"/>
                  <a:gd name="connsiteX4" fmla="*/ 15211 w 130816"/>
                  <a:gd name="connsiteY4" fmla="*/ 0 h 85183"/>
                  <a:gd name="connsiteX5" fmla="*/ 0 w 130816"/>
                  <a:gd name="connsiteY5" fmla="*/ 15211 h 85183"/>
                  <a:gd name="connsiteX6" fmla="*/ 0 w 130816"/>
                  <a:gd name="connsiteY6" fmla="*/ 85183 h 85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816" h="85183">
                    <a:moveTo>
                      <a:pt x="3042" y="85183"/>
                    </a:moveTo>
                    <a:lnTo>
                      <a:pt x="130817" y="85183"/>
                    </a:lnTo>
                    <a:lnTo>
                      <a:pt x="130817" y="15211"/>
                    </a:lnTo>
                    <a:cubicBezTo>
                      <a:pt x="130817" y="6084"/>
                      <a:pt x="124733" y="0"/>
                      <a:pt x="115606" y="0"/>
                    </a:cubicBezTo>
                    <a:lnTo>
                      <a:pt x="15211" y="0"/>
                    </a:lnTo>
                    <a:cubicBezTo>
                      <a:pt x="6084" y="0"/>
                      <a:pt x="0" y="6084"/>
                      <a:pt x="0" y="15211"/>
                    </a:cubicBezTo>
                    <a:lnTo>
                      <a:pt x="0" y="85183"/>
                    </a:lnTo>
                    <a:close/>
                  </a:path>
                </a:pathLst>
              </a:custGeom>
              <a:solidFill>
                <a:srgbClr val="6C5D6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1411DFB3-7F21-4E67-A5D0-E3BBD23188C2}"/>
                  </a:ext>
                </a:extLst>
              </p:cNvPr>
              <p:cNvSpPr/>
              <p:nvPr/>
            </p:nvSpPr>
            <p:spPr>
              <a:xfrm>
                <a:off x="6665666" y="8403888"/>
                <a:ext cx="133858" cy="12168"/>
              </a:xfrm>
              <a:custGeom>
                <a:avLst/>
                <a:gdLst>
                  <a:gd name="connsiteX0" fmla="*/ 127775 w 133858"/>
                  <a:gd name="connsiteY0" fmla="*/ 0 h 12168"/>
                  <a:gd name="connsiteX1" fmla="*/ 133859 w 133858"/>
                  <a:gd name="connsiteY1" fmla="*/ 12169 h 12168"/>
                  <a:gd name="connsiteX2" fmla="*/ 6084 w 133858"/>
                  <a:gd name="connsiteY2" fmla="*/ 12169 h 12168"/>
                  <a:gd name="connsiteX3" fmla="*/ 0 w 133858"/>
                  <a:gd name="connsiteY3" fmla="*/ 0 h 12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858" h="12168">
                    <a:moveTo>
                      <a:pt x="127775" y="0"/>
                    </a:moveTo>
                    <a:lnTo>
                      <a:pt x="133859" y="12169"/>
                    </a:lnTo>
                    <a:lnTo>
                      <a:pt x="6084" y="121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C5D6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75FE7E0A-5674-455A-8CB4-D0F7A8901BB5}"/>
                  </a:ext>
                </a:extLst>
              </p:cNvPr>
              <p:cNvSpPr/>
              <p:nvPr/>
            </p:nvSpPr>
            <p:spPr>
              <a:xfrm>
                <a:off x="6711300" y="8409973"/>
                <a:ext cx="1040450" cy="708845"/>
              </a:xfrm>
              <a:custGeom>
                <a:avLst/>
                <a:gdLst>
                  <a:gd name="connsiteX0" fmla="*/ 1022197 w 1040450"/>
                  <a:gd name="connsiteY0" fmla="*/ 708845 h 708845"/>
                  <a:gd name="connsiteX1" fmla="*/ 0 w 1040450"/>
                  <a:gd name="connsiteY1" fmla="*/ 3042 h 708845"/>
                  <a:gd name="connsiteX2" fmla="*/ 45634 w 1040450"/>
                  <a:gd name="connsiteY2" fmla="*/ 0 h 708845"/>
                  <a:gd name="connsiteX3" fmla="*/ 1040451 w 1040450"/>
                  <a:gd name="connsiteY3" fmla="*/ 684507 h 708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0450" h="708845">
                    <a:moveTo>
                      <a:pt x="1022197" y="708845"/>
                    </a:moveTo>
                    <a:lnTo>
                      <a:pt x="0" y="3042"/>
                    </a:lnTo>
                    <a:lnTo>
                      <a:pt x="45634" y="0"/>
                    </a:lnTo>
                    <a:lnTo>
                      <a:pt x="1040451" y="684507"/>
                    </a:lnTo>
                    <a:close/>
                  </a:path>
                </a:pathLst>
              </a:custGeom>
              <a:solidFill>
                <a:srgbClr val="6C5D6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DE276B79-2324-4D88-A581-ABC3E83CDEE8}"/>
                </a:ext>
              </a:extLst>
            </p:cNvPr>
            <p:cNvSpPr/>
            <p:nvPr/>
          </p:nvSpPr>
          <p:spPr>
            <a:xfrm>
              <a:off x="7586270" y="8981642"/>
              <a:ext cx="302655" cy="234802"/>
            </a:xfrm>
            <a:custGeom>
              <a:avLst/>
              <a:gdLst>
                <a:gd name="connsiteX0" fmla="*/ 7283 w 302655"/>
                <a:gd name="connsiteY0" fmla="*/ 58077 h 234802"/>
                <a:gd name="connsiteX1" fmla="*/ 256748 w 302655"/>
                <a:gd name="connsiteY1" fmla="*/ 231485 h 234802"/>
                <a:gd name="connsiteX2" fmla="*/ 281086 w 302655"/>
                <a:gd name="connsiteY2" fmla="*/ 228443 h 234802"/>
                <a:gd name="connsiteX3" fmla="*/ 299339 w 302655"/>
                <a:gd name="connsiteY3" fmla="*/ 201063 h 234802"/>
                <a:gd name="connsiteX4" fmla="*/ 296297 w 302655"/>
                <a:gd name="connsiteY4" fmla="*/ 176725 h 234802"/>
                <a:gd name="connsiteX5" fmla="*/ 46832 w 302655"/>
                <a:gd name="connsiteY5" fmla="*/ 3316 h 234802"/>
                <a:gd name="connsiteX6" fmla="*/ 22494 w 302655"/>
                <a:gd name="connsiteY6" fmla="*/ 6359 h 234802"/>
                <a:gd name="connsiteX7" fmla="*/ 4240 w 302655"/>
                <a:gd name="connsiteY7" fmla="*/ 33739 h 234802"/>
                <a:gd name="connsiteX8" fmla="*/ 7283 w 302655"/>
                <a:gd name="connsiteY8" fmla="*/ 58077 h 234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2655" h="234802">
                  <a:moveTo>
                    <a:pt x="7283" y="58077"/>
                  </a:moveTo>
                  <a:lnTo>
                    <a:pt x="256748" y="231485"/>
                  </a:lnTo>
                  <a:cubicBezTo>
                    <a:pt x="265874" y="237570"/>
                    <a:pt x="275001" y="234528"/>
                    <a:pt x="281086" y="228443"/>
                  </a:cubicBezTo>
                  <a:lnTo>
                    <a:pt x="299339" y="201063"/>
                  </a:lnTo>
                  <a:cubicBezTo>
                    <a:pt x="305424" y="191936"/>
                    <a:pt x="302381" y="182810"/>
                    <a:pt x="296297" y="176725"/>
                  </a:cubicBezTo>
                  <a:lnTo>
                    <a:pt x="46832" y="3316"/>
                  </a:lnTo>
                  <a:cubicBezTo>
                    <a:pt x="37705" y="-2768"/>
                    <a:pt x="28579" y="274"/>
                    <a:pt x="22494" y="6359"/>
                  </a:cubicBezTo>
                  <a:lnTo>
                    <a:pt x="4240" y="33739"/>
                  </a:lnTo>
                  <a:cubicBezTo>
                    <a:pt x="-1844" y="42866"/>
                    <a:pt x="-1844" y="51993"/>
                    <a:pt x="7283" y="58077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4" name="图形 1">
              <a:extLst>
                <a:ext uri="{FF2B5EF4-FFF2-40B4-BE49-F238E27FC236}">
                  <a16:creationId xmlns:a16="http://schemas.microsoft.com/office/drawing/2014/main" id="{1A24400F-1013-499E-9214-653BE34CA1D2}"/>
                </a:ext>
              </a:extLst>
            </p:cNvPr>
            <p:cNvGrpSpPr/>
            <p:nvPr/>
          </p:nvGrpSpPr>
          <p:grpSpPr>
            <a:xfrm>
              <a:off x="7586886" y="9048846"/>
              <a:ext cx="202512" cy="159026"/>
              <a:chOff x="7586886" y="9048846"/>
              <a:chExt cx="202512" cy="159026"/>
            </a:xfrm>
          </p:grpSpPr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B55EDD33-C197-4AA2-939A-DD19CB651D12}"/>
                  </a:ext>
                </a:extLst>
              </p:cNvPr>
              <p:cNvSpPr/>
              <p:nvPr/>
            </p:nvSpPr>
            <p:spPr>
              <a:xfrm>
                <a:off x="7586886" y="9048846"/>
                <a:ext cx="129742" cy="90231"/>
              </a:xfrm>
              <a:custGeom>
                <a:avLst/>
                <a:gdLst>
                  <a:gd name="connsiteX0" fmla="*/ 583 w 129742"/>
                  <a:gd name="connsiteY0" fmla="*/ 63887 h 90231"/>
                  <a:gd name="connsiteX1" fmla="*/ 64470 w 129742"/>
                  <a:gd name="connsiteY1" fmla="*/ 12169 h 90231"/>
                  <a:gd name="connsiteX2" fmla="*/ 73597 w 129742"/>
                  <a:gd name="connsiteY2" fmla="*/ 3042 h 90231"/>
                  <a:gd name="connsiteX3" fmla="*/ 88808 w 129742"/>
                  <a:gd name="connsiteY3" fmla="*/ 0 h 90231"/>
                  <a:gd name="connsiteX4" fmla="*/ 128358 w 129742"/>
                  <a:gd name="connsiteY4" fmla="*/ 21296 h 90231"/>
                  <a:gd name="connsiteX5" fmla="*/ 107062 w 129742"/>
                  <a:gd name="connsiteY5" fmla="*/ 51718 h 90231"/>
                  <a:gd name="connsiteX6" fmla="*/ 61428 w 129742"/>
                  <a:gd name="connsiteY6" fmla="*/ 79098 h 90231"/>
                  <a:gd name="connsiteX7" fmla="*/ 21879 w 129742"/>
                  <a:gd name="connsiteY7" fmla="*/ 88225 h 90231"/>
                  <a:gd name="connsiteX8" fmla="*/ 583 w 129742"/>
                  <a:gd name="connsiteY8" fmla="*/ 63887 h 90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9742" h="90231">
                    <a:moveTo>
                      <a:pt x="583" y="63887"/>
                    </a:moveTo>
                    <a:cubicBezTo>
                      <a:pt x="6667" y="42591"/>
                      <a:pt x="40132" y="30423"/>
                      <a:pt x="64470" y="12169"/>
                    </a:cubicBezTo>
                    <a:cubicBezTo>
                      <a:pt x="67512" y="12169"/>
                      <a:pt x="70554" y="3042"/>
                      <a:pt x="73597" y="3042"/>
                    </a:cubicBezTo>
                    <a:cubicBezTo>
                      <a:pt x="76639" y="0"/>
                      <a:pt x="82724" y="0"/>
                      <a:pt x="88808" y="0"/>
                    </a:cubicBezTo>
                    <a:cubicBezTo>
                      <a:pt x="104019" y="0"/>
                      <a:pt x="122273" y="9127"/>
                      <a:pt x="128358" y="21296"/>
                    </a:cubicBezTo>
                    <a:cubicBezTo>
                      <a:pt x="134442" y="36507"/>
                      <a:pt x="119231" y="45634"/>
                      <a:pt x="107062" y="51718"/>
                    </a:cubicBezTo>
                    <a:cubicBezTo>
                      <a:pt x="91851" y="60845"/>
                      <a:pt x="79681" y="73014"/>
                      <a:pt x="61428" y="79098"/>
                    </a:cubicBezTo>
                    <a:cubicBezTo>
                      <a:pt x="52301" y="85183"/>
                      <a:pt x="37090" y="94310"/>
                      <a:pt x="21879" y="88225"/>
                    </a:cubicBezTo>
                    <a:cubicBezTo>
                      <a:pt x="6667" y="88225"/>
                      <a:pt x="-2459" y="76056"/>
                      <a:pt x="583" y="6388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933B0226-52A7-48BE-A0D3-3EC47F8450FD}"/>
                  </a:ext>
                </a:extLst>
              </p:cNvPr>
              <p:cNvSpPr/>
              <p:nvPr/>
            </p:nvSpPr>
            <p:spPr>
              <a:xfrm>
                <a:off x="7632355" y="9073184"/>
                <a:ext cx="129906" cy="90231"/>
              </a:xfrm>
              <a:custGeom>
                <a:avLst/>
                <a:gdLst>
                  <a:gd name="connsiteX0" fmla="*/ 747 w 129906"/>
                  <a:gd name="connsiteY0" fmla="*/ 63887 h 90231"/>
                  <a:gd name="connsiteX1" fmla="*/ 67677 w 129906"/>
                  <a:gd name="connsiteY1" fmla="*/ 6084 h 90231"/>
                  <a:gd name="connsiteX2" fmla="*/ 73761 w 129906"/>
                  <a:gd name="connsiteY2" fmla="*/ 3042 h 90231"/>
                  <a:gd name="connsiteX3" fmla="*/ 88972 w 129906"/>
                  <a:gd name="connsiteY3" fmla="*/ 0 h 90231"/>
                  <a:gd name="connsiteX4" fmla="*/ 128522 w 129906"/>
                  <a:gd name="connsiteY4" fmla="*/ 21296 h 90231"/>
                  <a:gd name="connsiteX5" fmla="*/ 107226 w 129906"/>
                  <a:gd name="connsiteY5" fmla="*/ 51718 h 90231"/>
                  <a:gd name="connsiteX6" fmla="*/ 61592 w 129906"/>
                  <a:gd name="connsiteY6" fmla="*/ 79098 h 90231"/>
                  <a:gd name="connsiteX7" fmla="*/ 22043 w 129906"/>
                  <a:gd name="connsiteY7" fmla="*/ 88225 h 90231"/>
                  <a:gd name="connsiteX8" fmla="*/ 747 w 129906"/>
                  <a:gd name="connsiteY8" fmla="*/ 63887 h 90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9906" h="90231">
                    <a:moveTo>
                      <a:pt x="747" y="63887"/>
                    </a:moveTo>
                    <a:cubicBezTo>
                      <a:pt x="3789" y="33465"/>
                      <a:pt x="40296" y="24338"/>
                      <a:pt x="67677" y="6084"/>
                    </a:cubicBezTo>
                    <a:cubicBezTo>
                      <a:pt x="70719" y="6084"/>
                      <a:pt x="70719" y="3042"/>
                      <a:pt x="73761" y="3042"/>
                    </a:cubicBezTo>
                    <a:cubicBezTo>
                      <a:pt x="76803" y="0"/>
                      <a:pt x="82888" y="0"/>
                      <a:pt x="88972" y="0"/>
                    </a:cubicBezTo>
                    <a:cubicBezTo>
                      <a:pt x="104184" y="0"/>
                      <a:pt x="122437" y="9126"/>
                      <a:pt x="128522" y="21296"/>
                    </a:cubicBezTo>
                    <a:cubicBezTo>
                      <a:pt x="134606" y="36507"/>
                      <a:pt x="119395" y="45634"/>
                      <a:pt x="107226" y="51718"/>
                    </a:cubicBezTo>
                    <a:cubicBezTo>
                      <a:pt x="92015" y="60845"/>
                      <a:pt x="76803" y="73014"/>
                      <a:pt x="61592" y="79098"/>
                    </a:cubicBezTo>
                    <a:cubicBezTo>
                      <a:pt x="52465" y="85183"/>
                      <a:pt x="37254" y="94310"/>
                      <a:pt x="22043" y="88225"/>
                    </a:cubicBezTo>
                    <a:cubicBezTo>
                      <a:pt x="3789" y="88225"/>
                      <a:pt x="-2295" y="76056"/>
                      <a:pt x="747" y="6388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2AA9BEAD-B7E0-49F9-ABBA-D28A47B7E221}"/>
                  </a:ext>
                </a:extLst>
              </p:cNvPr>
              <p:cNvSpPr/>
              <p:nvPr/>
            </p:nvSpPr>
            <p:spPr>
              <a:xfrm>
                <a:off x="7669609" y="9109691"/>
                <a:ext cx="107876" cy="84147"/>
              </a:xfrm>
              <a:custGeom>
                <a:avLst/>
                <a:gdLst>
                  <a:gd name="connsiteX0" fmla="*/ 0 w 107876"/>
                  <a:gd name="connsiteY0" fmla="*/ 57803 h 84147"/>
                  <a:gd name="connsiteX1" fmla="*/ 54761 w 107876"/>
                  <a:gd name="connsiteY1" fmla="*/ 6084 h 84147"/>
                  <a:gd name="connsiteX2" fmla="*/ 60845 w 107876"/>
                  <a:gd name="connsiteY2" fmla="*/ 3042 h 84147"/>
                  <a:gd name="connsiteX3" fmla="*/ 73014 w 107876"/>
                  <a:gd name="connsiteY3" fmla="*/ 0 h 84147"/>
                  <a:gd name="connsiteX4" fmla="*/ 106479 w 107876"/>
                  <a:gd name="connsiteY4" fmla="*/ 18253 h 84147"/>
                  <a:gd name="connsiteX5" fmla="*/ 88225 w 107876"/>
                  <a:gd name="connsiteY5" fmla="*/ 45634 h 84147"/>
                  <a:gd name="connsiteX6" fmla="*/ 48676 w 107876"/>
                  <a:gd name="connsiteY6" fmla="*/ 73014 h 84147"/>
                  <a:gd name="connsiteX7" fmla="*/ 15211 w 107876"/>
                  <a:gd name="connsiteY7" fmla="*/ 82141 h 84147"/>
                  <a:gd name="connsiteX8" fmla="*/ 0 w 107876"/>
                  <a:gd name="connsiteY8" fmla="*/ 57803 h 8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876" h="84147">
                    <a:moveTo>
                      <a:pt x="0" y="57803"/>
                    </a:moveTo>
                    <a:cubicBezTo>
                      <a:pt x="3042" y="30423"/>
                      <a:pt x="33465" y="21296"/>
                      <a:pt x="54761" y="6084"/>
                    </a:cubicBezTo>
                    <a:cubicBezTo>
                      <a:pt x="57803" y="6084"/>
                      <a:pt x="57803" y="3042"/>
                      <a:pt x="60845" y="3042"/>
                    </a:cubicBezTo>
                    <a:cubicBezTo>
                      <a:pt x="63887" y="0"/>
                      <a:pt x="66929" y="0"/>
                      <a:pt x="73014" y="0"/>
                    </a:cubicBezTo>
                    <a:cubicBezTo>
                      <a:pt x="85183" y="0"/>
                      <a:pt x="100394" y="6084"/>
                      <a:pt x="106479" y="18253"/>
                    </a:cubicBezTo>
                    <a:cubicBezTo>
                      <a:pt x="112563" y="30423"/>
                      <a:pt x="97352" y="39549"/>
                      <a:pt x="88225" y="45634"/>
                    </a:cubicBezTo>
                    <a:cubicBezTo>
                      <a:pt x="76056" y="54761"/>
                      <a:pt x="63887" y="63887"/>
                      <a:pt x="48676" y="73014"/>
                    </a:cubicBezTo>
                    <a:cubicBezTo>
                      <a:pt x="39549" y="79098"/>
                      <a:pt x="30423" y="88225"/>
                      <a:pt x="15211" y="82141"/>
                    </a:cubicBezTo>
                    <a:cubicBezTo>
                      <a:pt x="6084" y="76056"/>
                      <a:pt x="0" y="66929"/>
                      <a:pt x="0" y="57803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035B2C3B-EB8F-4C52-A0F2-7357D9F33632}"/>
                  </a:ext>
                </a:extLst>
              </p:cNvPr>
              <p:cNvSpPr/>
              <p:nvPr/>
            </p:nvSpPr>
            <p:spPr>
              <a:xfrm>
                <a:off x="7709159" y="9146198"/>
                <a:ext cx="79702" cy="61674"/>
              </a:xfrm>
              <a:custGeom>
                <a:avLst/>
                <a:gdLst>
                  <a:gd name="connsiteX0" fmla="*/ 0 w 79702"/>
                  <a:gd name="connsiteY0" fmla="*/ 42591 h 61674"/>
                  <a:gd name="connsiteX1" fmla="*/ 42591 w 79702"/>
                  <a:gd name="connsiteY1" fmla="*/ 6084 h 61674"/>
                  <a:gd name="connsiteX2" fmla="*/ 45634 w 79702"/>
                  <a:gd name="connsiteY2" fmla="*/ 3042 h 61674"/>
                  <a:gd name="connsiteX3" fmla="*/ 54760 w 79702"/>
                  <a:gd name="connsiteY3" fmla="*/ 0 h 61674"/>
                  <a:gd name="connsiteX4" fmla="*/ 79098 w 79702"/>
                  <a:gd name="connsiteY4" fmla="*/ 15211 h 61674"/>
                  <a:gd name="connsiteX5" fmla="*/ 66929 w 79702"/>
                  <a:gd name="connsiteY5" fmla="*/ 36507 h 61674"/>
                  <a:gd name="connsiteX6" fmla="*/ 39549 w 79702"/>
                  <a:gd name="connsiteY6" fmla="*/ 54761 h 61674"/>
                  <a:gd name="connsiteX7" fmla="*/ 15211 w 79702"/>
                  <a:gd name="connsiteY7" fmla="*/ 60845 h 61674"/>
                  <a:gd name="connsiteX8" fmla="*/ 0 w 79702"/>
                  <a:gd name="connsiteY8" fmla="*/ 42591 h 61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9702" h="61674">
                    <a:moveTo>
                      <a:pt x="0" y="42591"/>
                    </a:moveTo>
                    <a:cubicBezTo>
                      <a:pt x="3042" y="21296"/>
                      <a:pt x="24338" y="15211"/>
                      <a:pt x="42591" y="6084"/>
                    </a:cubicBezTo>
                    <a:cubicBezTo>
                      <a:pt x="42591" y="6084"/>
                      <a:pt x="45634" y="6084"/>
                      <a:pt x="45634" y="3042"/>
                    </a:cubicBezTo>
                    <a:cubicBezTo>
                      <a:pt x="48676" y="3042"/>
                      <a:pt x="51718" y="0"/>
                      <a:pt x="54760" y="0"/>
                    </a:cubicBezTo>
                    <a:cubicBezTo>
                      <a:pt x="63887" y="0"/>
                      <a:pt x="76056" y="6084"/>
                      <a:pt x="79098" y="15211"/>
                    </a:cubicBezTo>
                    <a:cubicBezTo>
                      <a:pt x="82141" y="24338"/>
                      <a:pt x="73014" y="30423"/>
                      <a:pt x="66929" y="36507"/>
                    </a:cubicBezTo>
                    <a:cubicBezTo>
                      <a:pt x="57803" y="42591"/>
                      <a:pt x="48676" y="48676"/>
                      <a:pt x="39549" y="54761"/>
                    </a:cubicBezTo>
                    <a:cubicBezTo>
                      <a:pt x="33465" y="57803"/>
                      <a:pt x="24338" y="63888"/>
                      <a:pt x="15211" y="60845"/>
                    </a:cubicBezTo>
                    <a:cubicBezTo>
                      <a:pt x="6084" y="57803"/>
                      <a:pt x="0" y="48676"/>
                      <a:pt x="0" y="42591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4C1DDF92-8D1A-4F37-807C-2E409B1F1EDC}"/>
                  </a:ext>
                </a:extLst>
              </p:cNvPr>
              <p:cNvSpPr/>
              <p:nvPr/>
            </p:nvSpPr>
            <p:spPr>
              <a:xfrm>
                <a:off x="7597356" y="9048846"/>
                <a:ext cx="157436" cy="121690"/>
              </a:xfrm>
              <a:custGeom>
                <a:avLst/>
                <a:gdLst>
                  <a:gd name="connsiteX0" fmla="*/ 60084 w 157436"/>
                  <a:gd name="connsiteY0" fmla="*/ 121690 h 121690"/>
                  <a:gd name="connsiteX1" fmla="*/ 35747 w 157436"/>
                  <a:gd name="connsiteY1" fmla="*/ 115606 h 121690"/>
                  <a:gd name="connsiteX2" fmla="*/ 23578 w 157436"/>
                  <a:gd name="connsiteY2" fmla="*/ 97352 h 121690"/>
                  <a:gd name="connsiteX3" fmla="*/ 29662 w 157436"/>
                  <a:gd name="connsiteY3" fmla="*/ 88225 h 121690"/>
                  <a:gd name="connsiteX4" fmla="*/ 105718 w 157436"/>
                  <a:gd name="connsiteY4" fmla="*/ 33465 h 121690"/>
                  <a:gd name="connsiteX5" fmla="*/ 99634 w 157436"/>
                  <a:gd name="connsiteY5" fmla="*/ 18253 h 121690"/>
                  <a:gd name="connsiteX6" fmla="*/ 87465 w 157436"/>
                  <a:gd name="connsiteY6" fmla="*/ 12169 h 121690"/>
                  <a:gd name="connsiteX7" fmla="*/ 11409 w 157436"/>
                  <a:gd name="connsiteY7" fmla="*/ 48676 h 121690"/>
                  <a:gd name="connsiteX8" fmla="*/ 2282 w 157436"/>
                  <a:gd name="connsiteY8" fmla="*/ 48676 h 121690"/>
                  <a:gd name="connsiteX9" fmla="*/ 2282 w 157436"/>
                  <a:gd name="connsiteY9" fmla="*/ 39549 h 121690"/>
                  <a:gd name="connsiteX10" fmla="*/ 81381 w 157436"/>
                  <a:gd name="connsiteY10" fmla="*/ 0 h 121690"/>
                  <a:gd name="connsiteX11" fmla="*/ 84423 w 157436"/>
                  <a:gd name="connsiteY11" fmla="*/ 0 h 121690"/>
                  <a:gd name="connsiteX12" fmla="*/ 102676 w 157436"/>
                  <a:gd name="connsiteY12" fmla="*/ 9127 h 121690"/>
                  <a:gd name="connsiteX13" fmla="*/ 108761 w 157436"/>
                  <a:gd name="connsiteY13" fmla="*/ 21296 h 121690"/>
                  <a:gd name="connsiteX14" fmla="*/ 108761 w 157436"/>
                  <a:gd name="connsiteY14" fmla="*/ 21296 h 121690"/>
                  <a:gd name="connsiteX15" fmla="*/ 151352 w 157436"/>
                  <a:gd name="connsiteY15" fmla="*/ 39549 h 121690"/>
                  <a:gd name="connsiteX16" fmla="*/ 157437 w 157436"/>
                  <a:gd name="connsiteY16" fmla="*/ 54761 h 121690"/>
                  <a:gd name="connsiteX17" fmla="*/ 123972 w 157436"/>
                  <a:gd name="connsiteY17" fmla="*/ 91268 h 121690"/>
                  <a:gd name="connsiteX18" fmla="*/ 60084 w 157436"/>
                  <a:gd name="connsiteY18" fmla="*/ 121690 h 121690"/>
                  <a:gd name="connsiteX19" fmla="*/ 117888 w 157436"/>
                  <a:gd name="connsiteY19" fmla="*/ 30423 h 121690"/>
                  <a:gd name="connsiteX20" fmla="*/ 117888 w 157436"/>
                  <a:gd name="connsiteY20" fmla="*/ 30423 h 121690"/>
                  <a:gd name="connsiteX21" fmla="*/ 35747 w 157436"/>
                  <a:gd name="connsiteY21" fmla="*/ 94310 h 121690"/>
                  <a:gd name="connsiteX22" fmla="*/ 41831 w 157436"/>
                  <a:gd name="connsiteY22" fmla="*/ 103436 h 121690"/>
                  <a:gd name="connsiteX23" fmla="*/ 123972 w 157436"/>
                  <a:gd name="connsiteY23" fmla="*/ 79098 h 121690"/>
                  <a:gd name="connsiteX24" fmla="*/ 154395 w 157436"/>
                  <a:gd name="connsiteY24" fmla="*/ 51718 h 121690"/>
                  <a:gd name="connsiteX25" fmla="*/ 151352 w 157436"/>
                  <a:gd name="connsiteY25" fmla="*/ 45634 h 121690"/>
                  <a:gd name="connsiteX26" fmla="*/ 117888 w 157436"/>
                  <a:gd name="connsiteY26" fmla="*/ 30423 h 121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7436" h="121690">
                    <a:moveTo>
                      <a:pt x="60084" y="121690"/>
                    </a:moveTo>
                    <a:cubicBezTo>
                      <a:pt x="50958" y="121690"/>
                      <a:pt x="41831" y="118648"/>
                      <a:pt x="35747" y="115606"/>
                    </a:cubicBezTo>
                    <a:cubicBezTo>
                      <a:pt x="26620" y="109521"/>
                      <a:pt x="23578" y="103436"/>
                      <a:pt x="23578" y="97352"/>
                    </a:cubicBezTo>
                    <a:cubicBezTo>
                      <a:pt x="23578" y="91268"/>
                      <a:pt x="29662" y="88225"/>
                      <a:pt x="29662" y="88225"/>
                    </a:cubicBezTo>
                    <a:cubicBezTo>
                      <a:pt x="87465" y="60845"/>
                      <a:pt x="102676" y="42591"/>
                      <a:pt x="105718" y="33465"/>
                    </a:cubicBezTo>
                    <a:cubicBezTo>
                      <a:pt x="105718" y="27380"/>
                      <a:pt x="105718" y="24338"/>
                      <a:pt x="99634" y="18253"/>
                    </a:cubicBezTo>
                    <a:cubicBezTo>
                      <a:pt x="96592" y="15211"/>
                      <a:pt x="93549" y="12169"/>
                      <a:pt x="87465" y="12169"/>
                    </a:cubicBezTo>
                    <a:cubicBezTo>
                      <a:pt x="63127" y="9127"/>
                      <a:pt x="26620" y="39549"/>
                      <a:pt x="11409" y="48676"/>
                    </a:cubicBezTo>
                    <a:cubicBezTo>
                      <a:pt x="8366" y="51718"/>
                      <a:pt x="5324" y="51718"/>
                      <a:pt x="2282" y="48676"/>
                    </a:cubicBezTo>
                    <a:cubicBezTo>
                      <a:pt x="-761" y="45634"/>
                      <a:pt x="-761" y="42591"/>
                      <a:pt x="2282" y="39549"/>
                    </a:cubicBezTo>
                    <a:cubicBezTo>
                      <a:pt x="5324" y="36507"/>
                      <a:pt x="50958" y="0"/>
                      <a:pt x="81381" y="0"/>
                    </a:cubicBezTo>
                    <a:cubicBezTo>
                      <a:pt x="81381" y="0"/>
                      <a:pt x="84423" y="0"/>
                      <a:pt x="84423" y="0"/>
                    </a:cubicBezTo>
                    <a:cubicBezTo>
                      <a:pt x="93549" y="0"/>
                      <a:pt x="99634" y="3042"/>
                      <a:pt x="102676" y="9127"/>
                    </a:cubicBezTo>
                    <a:cubicBezTo>
                      <a:pt x="105718" y="12169"/>
                      <a:pt x="108761" y="15211"/>
                      <a:pt x="108761" y="21296"/>
                    </a:cubicBezTo>
                    <a:cubicBezTo>
                      <a:pt x="108761" y="21296"/>
                      <a:pt x="108761" y="21296"/>
                      <a:pt x="108761" y="21296"/>
                    </a:cubicBezTo>
                    <a:cubicBezTo>
                      <a:pt x="108761" y="21296"/>
                      <a:pt x="139183" y="24338"/>
                      <a:pt x="151352" y="39549"/>
                    </a:cubicBezTo>
                    <a:cubicBezTo>
                      <a:pt x="154395" y="45634"/>
                      <a:pt x="157437" y="48676"/>
                      <a:pt x="157437" y="54761"/>
                    </a:cubicBezTo>
                    <a:cubicBezTo>
                      <a:pt x="157437" y="66929"/>
                      <a:pt x="145268" y="76056"/>
                      <a:pt x="123972" y="91268"/>
                    </a:cubicBezTo>
                    <a:cubicBezTo>
                      <a:pt x="102676" y="109521"/>
                      <a:pt x="78338" y="121690"/>
                      <a:pt x="60084" y="121690"/>
                    </a:cubicBezTo>
                    <a:close/>
                    <a:moveTo>
                      <a:pt x="117888" y="30423"/>
                    </a:moveTo>
                    <a:cubicBezTo>
                      <a:pt x="117888" y="30423"/>
                      <a:pt x="117888" y="30423"/>
                      <a:pt x="117888" y="30423"/>
                    </a:cubicBezTo>
                    <a:cubicBezTo>
                      <a:pt x="114845" y="42591"/>
                      <a:pt x="105718" y="60845"/>
                      <a:pt x="35747" y="94310"/>
                    </a:cubicBezTo>
                    <a:cubicBezTo>
                      <a:pt x="35747" y="97352"/>
                      <a:pt x="35747" y="100394"/>
                      <a:pt x="41831" y="103436"/>
                    </a:cubicBezTo>
                    <a:cubicBezTo>
                      <a:pt x="57042" y="115606"/>
                      <a:pt x="87465" y="106479"/>
                      <a:pt x="123972" y="79098"/>
                    </a:cubicBezTo>
                    <a:cubicBezTo>
                      <a:pt x="136141" y="69972"/>
                      <a:pt x="151352" y="57803"/>
                      <a:pt x="154395" y="51718"/>
                    </a:cubicBezTo>
                    <a:cubicBezTo>
                      <a:pt x="154395" y="51718"/>
                      <a:pt x="154395" y="48676"/>
                      <a:pt x="151352" y="45634"/>
                    </a:cubicBezTo>
                    <a:cubicBezTo>
                      <a:pt x="145268" y="36507"/>
                      <a:pt x="127014" y="30423"/>
                      <a:pt x="117888" y="3042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D4479762-B7FF-4130-80BA-E1F057C8571E}"/>
                  </a:ext>
                </a:extLst>
              </p:cNvPr>
              <p:cNvSpPr/>
              <p:nvPr/>
            </p:nvSpPr>
            <p:spPr>
              <a:xfrm>
                <a:off x="7665758" y="9100564"/>
                <a:ext cx="123640" cy="97352"/>
              </a:xfrm>
              <a:custGeom>
                <a:avLst/>
                <a:gdLst>
                  <a:gd name="connsiteX0" fmla="*/ 28190 w 123640"/>
                  <a:gd name="connsiteY0" fmla="*/ 97352 h 97352"/>
                  <a:gd name="connsiteX1" fmla="*/ 9936 w 123640"/>
                  <a:gd name="connsiteY1" fmla="*/ 88225 h 97352"/>
                  <a:gd name="connsiteX2" fmla="*/ 809 w 123640"/>
                  <a:gd name="connsiteY2" fmla="*/ 63888 h 97352"/>
                  <a:gd name="connsiteX3" fmla="*/ 6893 w 123640"/>
                  <a:gd name="connsiteY3" fmla="*/ 60845 h 97352"/>
                  <a:gd name="connsiteX4" fmla="*/ 9936 w 123640"/>
                  <a:gd name="connsiteY4" fmla="*/ 66929 h 97352"/>
                  <a:gd name="connsiteX5" fmla="*/ 19063 w 123640"/>
                  <a:gd name="connsiteY5" fmla="*/ 82141 h 97352"/>
                  <a:gd name="connsiteX6" fmla="*/ 31232 w 123640"/>
                  <a:gd name="connsiteY6" fmla="*/ 88225 h 97352"/>
                  <a:gd name="connsiteX7" fmla="*/ 104246 w 123640"/>
                  <a:gd name="connsiteY7" fmla="*/ 45634 h 97352"/>
                  <a:gd name="connsiteX8" fmla="*/ 110330 w 123640"/>
                  <a:gd name="connsiteY8" fmla="*/ 30423 h 97352"/>
                  <a:gd name="connsiteX9" fmla="*/ 92077 w 123640"/>
                  <a:gd name="connsiteY9" fmla="*/ 12169 h 97352"/>
                  <a:gd name="connsiteX10" fmla="*/ 89035 w 123640"/>
                  <a:gd name="connsiteY10" fmla="*/ 3042 h 97352"/>
                  <a:gd name="connsiteX11" fmla="*/ 98161 w 123640"/>
                  <a:gd name="connsiteY11" fmla="*/ 0 h 97352"/>
                  <a:gd name="connsiteX12" fmla="*/ 122499 w 123640"/>
                  <a:gd name="connsiteY12" fmla="*/ 24338 h 97352"/>
                  <a:gd name="connsiteX13" fmla="*/ 113372 w 123640"/>
                  <a:gd name="connsiteY13" fmla="*/ 48676 h 97352"/>
                  <a:gd name="connsiteX14" fmla="*/ 34274 w 123640"/>
                  <a:gd name="connsiteY14" fmla="*/ 97352 h 97352"/>
                  <a:gd name="connsiteX15" fmla="*/ 28190 w 123640"/>
                  <a:gd name="connsiteY15" fmla="*/ 97352 h 97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3640" h="97352">
                    <a:moveTo>
                      <a:pt x="28190" y="97352"/>
                    </a:moveTo>
                    <a:cubicBezTo>
                      <a:pt x="22105" y="97352"/>
                      <a:pt x="16020" y="94310"/>
                      <a:pt x="9936" y="88225"/>
                    </a:cubicBezTo>
                    <a:cubicBezTo>
                      <a:pt x="3852" y="82141"/>
                      <a:pt x="-2233" y="69972"/>
                      <a:pt x="809" y="63888"/>
                    </a:cubicBezTo>
                    <a:cubicBezTo>
                      <a:pt x="809" y="60845"/>
                      <a:pt x="3852" y="57803"/>
                      <a:pt x="6893" y="60845"/>
                    </a:cubicBezTo>
                    <a:cubicBezTo>
                      <a:pt x="9936" y="60845"/>
                      <a:pt x="12978" y="63888"/>
                      <a:pt x="9936" y="66929"/>
                    </a:cubicBezTo>
                    <a:cubicBezTo>
                      <a:pt x="9936" y="69972"/>
                      <a:pt x="12978" y="76056"/>
                      <a:pt x="19063" y="82141"/>
                    </a:cubicBezTo>
                    <a:cubicBezTo>
                      <a:pt x="22105" y="85183"/>
                      <a:pt x="25147" y="88225"/>
                      <a:pt x="31232" y="88225"/>
                    </a:cubicBezTo>
                    <a:cubicBezTo>
                      <a:pt x="43401" y="85183"/>
                      <a:pt x="79908" y="69972"/>
                      <a:pt x="104246" y="45634"/>
                    </a:cubicBezTo>
                    <a:cubicBezTo>
                      <a:pt x="110330" y="39549"/>
                      <a:pt x="110330" y="36507"/>
                      <a:pt x="110330" y="30423"/>
                    </a:cubicBezTo>
                    <a:cubicBezTo>
                      <a:pt x="107288" y="21296"/>
                      <a:pt x="95119" y="15211"/>
                      <a:pt x="92077" y="12169"/>
                    </a:cubicBezTo>
                    <a:cubicBezTo>
                      <a:pt x="89035" y="12169"/>
                      <a:pt x="89035" y="6084"/>
                      <a:pt x="89035" y="3042"/>
                    </a:cubicBezTo>
                    <a:cubicBezTo>
                      <a:pt x="89035" y="0"/>
                      <a:pt x="95119" y="0"/>
                      <a:pt x="98161" y="0"/>
                    </a:cubicBezTo>
                    <a:cubicBezTo>
                      <a:pt x="101204" y="0"/>
                      <a:pt x="119457" y="9127"/>
                      <a:pt x="122499" y="24338"/>
                    </a:cubicBezTo>
                    <a:cubicBezTo>
                      <a:pt x="125542" y="33465"/>
                      <a:pt x="122499" y="39549"/>
                      <a:pt x="113372" y="48676"/>
                    </a:cubicBezTo>
                    <a:cubicBezTo>
                      <a:pt x="89035" y="76056"/>
                      <a:pt x="49485" y="94310"/>
                      <a:pt x="34274" y="97352"/>
                    </a:cubicBezTo>
                    <a:cubicBezTo>
                      <a:pt x="31232" y="97352"/>
                      <a:pt x="28190" y="97352"/>
                      <a:pt x="28190" y="9735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EF1AD001-AEC2-4E74-84AC-4452C1D6D7BE}"/>
                </a:ext>
              </a:extLst>
            </p:cNvPr>
            <p:cNvSpPr/>
            <p:nvPr/>
          </p:nvSpPr>
          <p:spPr>
            <a:xfrm>
              <a:off x="7717160" y="9057167"/>
              <a:ext cx="141829" cy="104334"/>
            </a:xfrm>
            <a:custGeom>
              <a:avLst/>
              <a:gdLst>
                <a:gd name="connsiteX0" fmla="*/ 4167 w 141829"/>
                <a:gd name="connsiteY0" fmla="*/ 79904 h 104334"/>
                <a:gd name="connsiteX1" fmla="*/ 28505 w 141829"/>
                <a:gd name="connsiteY1" fmla="*/ 67735 h 104334"/>
                <a:gd name="connsiteX2" fmla="*/ 86308 w 141829"/>
                <a:gd name="connsiteY2" fmla="*/ 61651 h 104334"/>
                <a:gd name="connsiteX3" fmla="*/ 138026 w 141829"/>
                <a:gd name="connsiteY3" fmla="*/ 104242 h 104334"/>
                <a:gd name="connsiteX4" fmla="*/ 131942 w 141829"/>
                <a:gd name="connsiteY4" fmla="*/ 22101 h 104334"/>
                <a:gd name="connsiteX5" fmla="*/ 31547 w 141829"/>
                <a:gd name="connsiteY5" fmla="*/ 6890 h 104334"/>
                <a:gd name="connsiteX6" fmla="*/ 4167 w 141829"/>
                <a:gd name="connsiteY6" fmla="*/ 79904 h 104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829" h="104334">
                  <a:moveTo>
                    <a:pt x="4167" y="79904"/>
                  </a:moveTo>
                  <a:cubicBezTo>
                    <a:pt x="10252" y="85988"/>
                    <a:pt x="22421" y="70777"/>
                    <a:pt x="28505" y="67735"/>
                  </a:cubicBezTo>
                  <a:cubicBezTo>
                    <a:pt x="49801" y="58608"/>
                    <a:pt x="65012" y="52524"/>
                    <a:pt x="86308" y="61651"/>
                  </a:cubicBezTo>
                  <a:cubicBezTo>
                    <a:pt x="98477" y="67735"/>
                    <a:pt x="92392" y="95115"/>
                    <a:pt x="138026" y="104242"/>
                  </a:cubicBezTo>
                  <a:cubicBezTo>
                    <a:pt x="141069" y="107285"/>
                    <a:pt x="147153" y="34270"/>
                    <a:pt x="131942" y="22101"/>
                  </a:cubicBezTo>
                  <a:cubicBezTo>
                    <a:pt x="107604" y="3848"/>
                    <a:pt x="58928" y="-8321"/>
                    <a:pt x="31547" y="6890"/>
                  </a:cubicBezTo>
                  <a:cubicBezTo>
                    <a:pt x="19378" y="16017"/>
                    <a:pt x="-11044" y="64693"/>
                    <a:pt x="4167" y="79904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19EE6BD3-0791-40AD-8A7A-33732DBB475B}"/>
                </a:ext>
              </a:extLst>
            </p:cNvPr>
            <p:cNvSpPr/>
            <p:nvPr/>
          </p:nvSpPr>
          <p:spPr>
            <a:xfrm>
              <a:off x="7708702" y="9051359"/>
              <a:ext cx="155611" cy="116134"/>
            </a:xfrm>
            <a:custGeom>
              <a:avLst/>
              <a:gdLst>
                <a:gd name="connsiteX0" fmla="*/ 146484 w 155611"/>
                <a:gd name="connsiteY0" fmla="*/ 116134 h 116134"/>
                <a:gd name="connsiteX1" fmla="*/ 91724 w 155611"/>
                <a:gd name="connsiteY1" fmla="*/ 70501 h 116134"/>
                <a:gd name="connsiteX2" fmla="*/ 40005 w 155611"/>
                <a:gd name="connsiteY2" fmla="*/ 82670 h 116134"/>
                <a:gd name="connsiteX3" fmla="*/ 12625 w 155611"/>
                <a:gd name="connsiteY3" fmla="*/ 91796 h 116134"/>
                <a:gd name="connsiteX4" fmla="*/ 456 w 155611"/>
                <a:gd name="connsiteY4" fmla="*/ 76585 h 116134"/>
                <a:gd name="connsiteX5" fmla="*/ 36963 w 155611"/>
                <a:gd name="connsiteY5" fmla="*/ 9656 h 116134"/>
                <a:gd name="connsiteX6" fmla="*/ 143442 w 155611"/>
                <a:gd name="connsiteY6" fmla="*/ 21825 h 116134"/>
                <a:gd name="connsiteX7" fmla="*/ 146484 w 155611"/>
                <a:gd name="connsiteY7" fmla="*/ 30951 h 116134"/>
                <a:gd name="connsiteX8" fmla="*/ 137358 w 155611"/>
                <a:gd name="connsiteY8" fmla="*/ 33994 h 116134"/>
                <a:gd name="connsiteX9" fmla="*/ 43048 w 155611"/>
                <a:gd name="connsiteY9" fmla="*/ 18782 h 116134"/>
                <a:gd name="connsiteX10" fmla="*/ 12625 w 155611"/>
                <a:gd name="connsiteY10" fmla="*/ 76585 h 116134"/>
                <a:gd name="connsiteX11" fmla="*/ 15668 w 155611"/>
                <a:gd name="connsiteY11" fmla="*/ 82670 h 116134"/>
                <a:gd name="connsiteX12" fmla="*/ 33921 w 155611"/>
                <a:gd name="connsiteY12" fmla="*/ 73543 h 116134"/>
                <a:gd name="connsiteX13" fmla="*/ 100850 w 155611"/>
                <a:gd name="connsiteY13" fmla="*/ 61374 h 116134"/>
                <a:gd name="connsiteX14" fmla="*/ 103893 w 155611"/>
                <a:gd name="connsiteY14" fmla="*/ 64416 h 116134"/>
                <a:gd name="connsiteX15" fmla="*/ 149527 w 155611"/>
                <a:gd name="connsiteY15" fmla="*/ 103966 h 116134"/>
                <a:gd name="connsiteX16" fmla="*/ 149527 w 155611"/>
                <a:gd name="connsiteY16" fmla="*/ 103966 h 116134"/>
                <a:gd name="connsiteX17" fmla="*/ 149527 w 155611"/>
                <a:gd name="connsiteY17" fmla="*/ 103966 h 116134"/>
                <a:gd name="connsiteX18" fmla="*/ 155611 w 155611"/>
                <a:gd name="connsiteY18" fmla="*/ 110050 h 116134"/>
                <a:gd name="connsiteX19" fmla="*/ 146484 w 155611"/>
                <a:gd name="connsiteY19" fmla="*/ 116134 h 116134"/>
                <a:gd name="connsiteX20" fmla="*/ 146484 w 155611"/>
                <a:gd name="connsiteY20" fmla="*/ 116134 h 116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5611" h="116134">
                  <a:moveTo>
                    <a:pt x="146484" y="116134"/>
                  </a:moveTo>
                  <a:cubicBezTo>
                    <a:pt x="113020" y="116134"/>
                    <a:pt x="94766" y="88754"/>
                    <a:pt x="91724" y="70501"/>
                  </a:cubicBezTo>
                  <a:cubicBezTo>
                    <a:pt x="70428" y="61374"/>
                    <a:pt x="52175" y="73543"/>
                    <a:pt x="40005" y="82670"/>
                  </a:cubicBezTo>
                  <a:cubicBezTo>
                    <a:pt x="30879" y="88754"/>
                    <a:pt x="21752" y="94839"/>
                    <a:pt x="12625" y="91796"/>
                  </a:cubicBezTo>
                  <a:cubicBezTo>
                    <a:pt x="6541" y="88754"/>
                    <a:pt x="3498" y="85712"/>
                    <a:pt x="456" y="76585"/>
                  </a:cubicBezTo>
                  <a:cubicBezTo>
                    <a:pt x="-2586" y="61374"/>
                    <a:pt x="9583" y="30951"/>
                    <a:pt x="36963" y="9656"/>
                  </a:cubicBezTo>
                  <a:cubicBezTo>
                    <a:pt x="70428" y="-17724"/>
                    <a:pt x="140400" y="21825"/>
                    <a:pt x="143442" y="21825"/>
                  </a:cubicBezTo>
                  <a:cubicBezTo>
                    <a:pt x="146484" y="24867"/>
                    <a:pt x="146484" y="27909"/>
                    <a:pt x="146484" y="30951"/>
                  </a:cubicBezTo>
                  <a:cubicBezTo>
                    <a:pt x="143442" y="33994"/>
                    <a:pt x="140400" y="33994"/>
                    <a:pt x="137358" y="33994"/>
                  </a:cubicBezTo>
                  <a:cubicBezTo>
                    <a:pt x="137358" y="33994"/>
                    <a:pt x="70428" y="-2513"/>
                    <a:pt x="43048" y="18782"/>
                  </a:cubicBezTo>
                  <a:cubicBezTo>
                    <a:pt x="18710" y="37036"/>
                    <a:pt x="9583" y="64416"/>
                    <a:pt x="12625" y="76585"/>
                  </a:cubicBezTo>
                  <a:cubicBezTo>
                    <a:pt x="12625" y="79628"/>
                    <a:pt x="15668" y="82670"/>
                    <a:pt x="15668" y="82670"/>
                  </a:cubicBezTo>
                  <a:cubicBezTo>
                    <a:pt x="18710" y="82670"/>
                    <a:pt x="24794" y="79628"/>
                    <a:pt x="33921" y="73543"/>
                  </a:cubicBezTo>
                  <a:cubicBezTo>
                    <a:pt x="49132" y="64416"/>
                    <a:pt x="70428" y="49205"/>
                    <a:pt x="100850" y="61374"/>
                  </a:cubicBezTo>
                  <a:cubicBezTo>
                    <a:pt x="103893" y="61374"/>
                    <a:pt x="103893" y="64416"/>
                    <a:pt x="103893" y="64416"/>
                  </a:cubicBezTo>
                  <a:cubicBezTo>
                    <a:pt x="103893" y="67459"/>
                    <a:pt x="113020" y="103966"/>
                    <a:pt x="149527" y="103966"/>
                  </a:cubicBezTo>
                  <a:cubicBezTo>
                    <a:pt x="149527" y="103966"/>
                    <a:pt x="149527" y="103966"/>
                    <a:pt x="149527" y="103966"/>
                  </a:cubicBezTo>
                  <a:lnTo>
                    <a:pt x="149527" y="103966"/>
                  </a:lnTo>
                  <a:cubicBezTo>
                    <a:pt x="152569" y="103966"/>
                    <a:pt x="155611" y="107008"/>
                    <a:pt x="155611" y="110050"/>
                  </a:cubicBezTo>
                  <a:cubicBezTo>
                    <a:pt x="152569" y="113093"/>
                    <a:pt x="149527" y="116134"/>
                    <a:pt x="146484" y="116134"/>
                  </a:cubicBezTo>
                  <a:lnTo>
                    <a:pt x="146484" y="116134"/>
                  </a:ln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7" name="图形 1">
              <a:extLst>
                <a:ext uri="{FF2B5EF4-FFF2-40B4-BE49-F238E27FC236}">
                  <a16:creationId xmlns:a16="http://schemas.microsoft.com/office/drawing/2014/main" id="{A8D1A5ED-CCB1-40AC-80E1-F7D956ACD839}"/>
                </a:ext>
              </a:extLst>
            </p:cNvPr>
            <p:cNvGrpSpPr/>
            <p:nvPr/>
          </p:nvGrpSpPr>
          <p:grpSpPr>
            <a:xfrm>
              <a:off x="9557567" y="9778522"/>
              <a:ext cx="217991" cy="274266"/>
              <a:chOff x="9557567" y="9778522"/>
              <a:chExt cx="217991" cy="274266"/>
            </a:xfrm>
          </p:grpSpPr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222B8250-8E37-43F3-B8DC-4297FC9E291A}"/>
                  </a:ext>
                </a:extLst>
              </p:cNvPr>
              <p:cNvSpPr/>
              <p:nvPr/>
            </p:nvSpPr>
            <p:spPr>
              <a:xfrm>
                <a:off x="9559773" y="9778522"/>
                <a:ext cx="215784" cy="274266"/>
              </a:xfrm>
              <a:custGeom>
                <a:avLst/>
                <a:gdLst>
                  <a:gd name="connsiteX0" fmla="*/ 84258 w 215784"/>
                  <a:gd name="connsiteY0" fmla="*/ 6549 h 274266"/>
                  <a:gd name="connsiteX1" fmla="*/ 8202 w 215784"/>
                  <a:gd name="connsiteY1" fmla="*/ 198210 h 274266"/>
                  <a:gd name="connsiteX2" fmla="*/ 17329 w 215784"/>
                  <a:gd name="connsiteY2" fmla="*/ 256014 h 274266"/>
                  <a:gd name="connsiteX3" fmla="*/ 53836 w 215784"/>
                  <a:gd name="connsiteY3" fmla="*/ 252971 h 274266"/>
                  <a:gd name="connsiteX4" fmla="*/ 105554 w 215784"/>
                  <a:gd name="connsiteY4" fmla="*/ 262098 h 274266"/>
                  <a:gd name="connsiteX5" fmla="*/ 135977 w 215784"/>
                  <a:gd name="connsiteY5" fmla="*/ 274267 h 274266"/>
                  <a:gd name="connsiteX6" fmla="*/ 163357 w 215784"/>
                  <a:gd name="connsiteY6" fmla="*/ 246887 h 274266"/>
                  <a:gd name="connsiteX7" fmla="*/ 212033 w 215784"/>
                  <a:gd name="connsiteY7" fmla="*/ 234718 h 274266"/>
                  <a:gd name="connsiteX8" fmla="*/ 208991 w 215784"/>
                  <a:gd name="connsiteY8" fmla="*/ 155619 h 274266"/>
                  <a:gd name="connsiteX9" fmla="*/ 205949 w 215784"/>
                  <a:gd name="connsiteY9" fmla="*/ 33929 h 274266"/>
                  <a:gd name="connsiteX10" fmla="*/ 84258 w 215784"/>
                  <a:gd name="connsiteY10" fmla="*/ 6549 h 274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15784" h="274266">
                    <a:moveTo>
                      <a:pt x="84258" y="6549"/>
                    </a:moveTo>
                    <a:cubicBezTo>
                      <a:pt x="41667" y="79563"/>
                      <a:pt x="23413" y="109985"/>
                      <a:pt x="8202" y="198210"/>
                    </a:cubicBezTo>
                    <a:cubicBezTo>
                      <a:pt x="5160" y="213422"/>
                      <a:pt x="-13094" y="243844"/>
                      <a:pt x="17329" y="256014"/>
                    </a:cubicBezTo>
                    <a:cubicBezTo>
                      <a:pt x="26456" y="259055"/>
                      <a:pt x="41667" y="268183"/>
                      <a:pt x="53836" y="252971"/>
                    </a:cubicBezTo>
                    <a:cubicBezTo>
                      <a:pt x="62963" y="274267"/>
                      <a:pt x="102512" y="277309"/>
                      <a:pt x="105554" y="262098"/>
                    </a:cubicBezTo>
                    <a:cubicBezTo>
                      <a:pt x="108596" y="268183"/>
                      <a:pt x="126850" y="274267"/>
                      <a:pt x="135977" y="274267"/>
                    </a:cubicBezTo>
                    <a:cubicBezTo>
                      <a:pt x="154230" y="271225"/>
                      <a:pt x="163357" y="265140"/>
                      <a:pt x="163357" y="246887"/>
                    </a:cubicBezTo>
                    <a:cubicBezTo>
                      <a:pt x="181610" y="259055"/>
                      <a:pt x="205949" y="256014"/>
                      <a:pt x="212033" y="234718"/>
                    </a:cubicBezTo>
                    <a:cubicBezTo>
                      <a:pt x="221160" y="201253"/>
                      <a:pt x="205949" y="189084"/>
                      <a:pt x="208991" y="155619"/>
                    </a:cubicBezTo>
                    <a:cubicBezTo>
                      <a:pt x="212033" y="122154"/>
                      <a:pt x="224202" y="79563"/>
                      <a:pt x="205949" y="33929"/>
                    </a:cubicBezTo>
                    <a:cubicBezTo>
                      <a:pt x="199864" y="3506"/>
                      <a:pt x="126850" y="-8663"/>
                      <a:pt x="84258" y="654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6F5ECD06-EA99-410D-970E-E5ED3D468066}"/>
                  </a:ext>
                </a:extLst>
              </p:cNvPr>
              <p:cNvSpPr/>
              <p:nvPr/>
            </p:nvSpPr>
            <p:spPr>
              <a:xfrm>
                <a:off x="9557567" y="9891550"/>
                <a:ext cx="65169" cy="152112"/>
              </a:xfrm>
              <a:custGeom>
                <a:avLst/>
                <a:gdLst>
                  <a:gd name="connsiteX0" fmla="*/ 31705 w 65169"/>
                  <a:gd name="connsiteY0" fmla="*/ 152113 h 152112"/>
                  <a:gd name="connsiteX1" fmla="*/ 16493 w 65169"/>
                  <a:gd name="connsiteY1" fmla="*/ 149070 h 152112"/>
                  <a:gd name="connsiteX2" fmla="*/ 1282 w 65169"/>
                  <a:gd name="connsiteY2" fmla="*/ 127775 h 152112"/>
                  <a:gd name="connsiteX3" fmla="*/ 34747 w 65169"/>
                  <a:gd name="connsiteY3" fmla="*/ 3042 h 152112"/>
                  <a:gd name="connsiteX4" fmla="*/ 43874 w 65169"/>
                  <a:gd name="connsiteY4" fmla="*/ 0 h 152112"/>
                  <a:gd name="connsiteX5" fmla="*/ 46916 w 65169"/>
                  <a:gd name="connsiteY5" fmla="*/ 9126 h 152112"/>
                  <a:gd name="connsiteX6" fmla="*/ 13451 w 65169"/>
                  <a:gd name="connsiteY6" fmla="*/ 124733 h 152112"/>
                  <a:gd name="connsiteX7" fmla="*/ 22578 w 65169"/>
                  <a:gd name="connsiteY7" fmla="*/ 136901 h 152112"/>
                  <a:gd name="connsiteX8" fmla="*/ 56043 w 65169"/>
                  <a:gd name="connsiteY8" fmla="*/ 133859 h 152112"/>
                  <a:gd name="connsiteX9" fmla="*/ 65170 w 65169"/>
                  <a:gd name="connsiteY9" fmla="*/ 136901 h 152112"/>
                  <a:gd name="connsiteX10" fmla="*/ 62127 w 65169"/>
                  <a:gd name="connsiteY10" fmla="*/ 146028 h 152112"/>
                  <a:gd name="connsiteX11" fmla="*/ 31705 w 65169"/>
                  <a:gd name="connsiteY11" fmla="*/ 152113 h 152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5169" h="152112">
                    <a:moveTo>
                      <a:pt x="31705" y="152113"/>
                    </a:moveTo>
                    <a:cubicBezTo>
                      <a:pt x="25620" y="152113"/>
                      <a:pt x="22578" y="152113"/>
                      <a:pt x="16493" y="149070"/>
                    </a:cubicBezTo>
                    <a:cubicBezTo>
                      <a:pt x="7367" y="146028"/>
                      <a:pt x="4324" y="136901"/>
                      <a:pt x="1282" y="127775"/>
                    </a:cubicBezTo>
                    <a:cubicBezTo>
                      <a:pt x="-7844" y="85183"/>
                      <a:pt x="34747" y="6085"/>
                      <a:pt x="34747" y="3042"/>
                    </a:cubicBezTo>
                    <a:cubicBezTo>
                      <a:pt x="37789" y="0"/>
                      <a:pt x="40831" y="0"/>
                      <a:pt x="43874" y="0"/>
                    </a:cubicBezTo>
                    <a:cubicBezTo>
                      <a:pt x="46916" y="3042"/>
                      <a:pt x="46916" y="6085"/>
                      <a:pt x="46916" y="9126"/>
                    </a:cubicBezTo>
                    <a:cubicBezTo>
                      <a:pt x="46916" y="9126"/>
                      <a:pt x="4324" y="88225"/>
                      <a:pt x="13451" y="124733"/>
                    </a:cubicBezTo>
                    <a:cubicBezTo>
                      <a:pt x="16493" y="130817"/>
                      <a:pt x="19536" y="136901"/>
                      <a:pt x="22578" y="136901"/>
                    </a:cubicBezTo>
                    <a:cubicBezTo>
                      <a:pt x="34747" y="142986"/>
                      <a:pt x="49958" y="136901"/>
                      <a:pt x="56043" y="133859"/>
                    </a:cubicBezTo>
                    <a:cubicBezTo>
                      <a:pt x="59085" y="133859"/>
                      <a:pt x="62127" y="133859"/>
                      <a:pt x="65170" y="136901"/>
                    </a:cubicBezTo>
                    <a:cubicBezTo>
                      <a:pt x="65170" y="139944"/>
                      <a:pt x="65170" y="142986"/>
                      <a:pt x="62127" y="146028"/>
                    </a:cubicBezTo>
                    <a:cubicBezTo>
                      <a:pt x="59085" y="146028"/>
                      <a:pt x="46916" y="152113"/>
                      <a:pt x="31705" y="15211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3A86F3B7-0617-475C-AFBF-BE6EE8D0831A}"/>
                  </a:ext>
                </a:extLst>
              </p:cNvPr>
              <p:cNvSpPr/>
              <p:nvPr/>
            </p:nvSpPr>
            <p:spPr>
              <a:xfrm>
                <a:off x="9631863" y="9982818"/>
                <a:ext cx="91267" cy="21296"/>
              </a:xfrm>
              <a:custGeom>
                <a:avLst/>
                <a:gdLst>
                  <a:gd name="connsiteX0" fmla="*/ 15211 w 91267"/>
                  <a:gd name="connsiteY0" fmla="*/ 21296 h 21296"/>
                  <a:gd name="connsiteX1" fmla="*/ 6084 w 91267"/>
                  <a:gd name="connsiteY1" fmla="*/ 21296 h 21296"/>
                  <a:gd name="connsiteX2" fmla="*/ 0 w 91267"/>
                  <a:gd name="connsiteY2" fmla="*/ 15211 h 21296"/>
                  <a:gd name="connsiteX3" fmla="*/ 6084 w 91267"/>
                  <a:gd name="connsiteY3" fmla="*/ 9126 h 21296"/>
                  <a:gd name="connsiteX4" fmla="*/ 85183 w 91267"/>
                  <a:gd name="connsiteY4" fmla="*/ 0 h 21296"/>
                  <a:gd name="connsiteX5" fmla="*/ 91268 w 91267"/>
                  <a:gd name="connsiteY5" fmla="*/ 6085 h 21296"/>
                  <a:gd name="connsiteX6" fmla="*/ 85183 w 91267"/>
                  <a:gd name="connsiteY6" fmla="*/ 12169 h 21296"/>
                  <a:gd name="connsiteX7" fmla="*/ 15211 w 91267"/>
                  <a:gd name="connsiteY7" fmla="*/ 21296 h 21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267" h="21296">
                    <a:moveTo>
                      <a:pt x="15211" y="21296"/>
                    </a:moveTo>
                    <a:cubicBezTo>
                      <a:pt x="12169" y="21296"/>
                      <a:pt x="9127" y="21296"/>
                      <a:pt x="6084" y="21296"/>
                    </a:cubicBezTo>
                    <a:cubicBezTo>
                      <a:pt x="3042" y="21296"/>
                      <a:pt x="0" y="18254"/>
                      <a:pt x="0" y="15211"/>
                    </a:cubicBezTo>
                    <a:cubicBezTo>
                      <a:pt x="0" y="12169"/>
                      <a:pt x="3042" y="9126"/>
                      <a:pt x="6084" y="9126"/>
                    </a:cubicBezTo>
                    <a:cubicBezTo>
                      <a:pt x="21296" y="12169"/>
                      <a:pt x="66929" y="3042"/>
                      <a:pt x="85183" y="0"/>
                    </a:cubicBezTo>
                    <a:cubicBezTo>
                      <a:pt x="88225" y="0"/>
                      <a:pt x="91268" y="0"/>
                      <a:pt x="91268" y="6085"/>
                    </a:cubicBezTo>
                    <a:cubicBezTo>
                      <a:pt x="91268" y="9126"/>
                      <a:pt x="91268" y="12169"/>
                      <a:pt x="85183" y="12169"/>
                    </a:cubicBezTo>
                    <a:cubicBezTo>
                      <a:pt x="85183" y="12169"/>
                      <a:pt x="39549" y="21296"/>
                      <a:pt x="15211" y="2129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70398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892">
            <a:extLst>
              <a:ext uri="{FF2B5EF4-FFF2-40B4-BE49-F238E27FC236}">
                <a16:creationId xmlns:a16="http://schemas.microsoft.com/office/drawing/2014/main" id="{071F3908-58F1-426B-9A7D-B912123E9C7F}"/>
              </a:ext>
            </a:extLst>
          </p:cNvPr>
          <p:cNvGrpSpPr/>
          <p:nvPr/>
        </p:nvGrpSpPr>
        <p:grpSpPr>
          <a:xfrm>
            <a:off x="3026833" y="2149474"/>
            <a:ext cx="6138333" cy="4533319"/>
            <a:chOff x="10120022" y="2149474"/>
            <a:chExt cx="6138333" cy="4533319"/>
          </a:xfrm>
        </p:grpSpPr>
        <p:grpSp>
          <p:nvGrpSpPr>
            <p:cNvPr id="3" name="图形 892">
              <a:extLst>
                <a:ext uri="{FF2B5EF4-FFF2-40B4-BE49-F238E27FC236}">
                  <a16:creationId xmlns:a16="http://schemas.microsoft.com/office/drawing/2014/main" id="{5E23FF64-DD61-47C6-BA42-B2002DB06C7B}"/>
                </a:ext>
              </a:extLst>
            </p:cNvPr>
            <p:cNvGrpSpPr/>
            <p:nvPr/>
          </p:nvGrpSpPr>
          <p:grpSpPr>
            <a:xfrm>
              <a:off x="13638585" y="3831348"/>
              <a:ext cx="1270642" cy="2851444"/>
              <a:chOff x="13638585" y="3831348"/>
              <a:chExt cx="1270642" cy="2851444"/>
            </a:xfrm>
          </p:grpSpPr>
          <p:grpSp>
            <p:nvGrpSpPr>
              <p:cNvPr id="124" name="图形 892">
                <a:extLst>
                  <a:ext uri="{FF2B5EF4-FFF2-40B4-BE49-F238E27FC236}">
                    <a16:creationId xmlns:a16="http://schemas.microsoft.com/office/drawing/2014/main" id="{D75DFD80-4805-4FE6-9CB3-40AA6DF515DA}"/>
                  </a:ext>
                </a:extLst>
              </p:cNvPr>
              <p:cNvGrpSpPr/>
              <p:nvPr/>
            </p:nvGrpSpPr>
            <p:grpSpPr>
              <a:xfrm>
                <a:off x="13638585" y="3831348"/>
                <a:ext cx="1270642" cy="2716337"/>
                <a:chOff x="13638585" y="3831348"/>
                <a:chExt cx="1270642" cy="2716337"/>
              </a:xfrm>
            </p:grpSpPr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49346AAE-F86E-4BE8-A355-948488E3895B}"/>
                    </a:ext>
                  </a:extLst>
                </p:cNvPr>
                <p:cNvSpPr/>
                <p:nvPr/>
              </p:nvSpPr>
              <p:spPr>
                <a:xfrm rot="-10800000">
                  <a:off x="14286468" y="5237184"/>
                  <a:ext cx="122379" cy="1281926"/>
                </a:xfrm>
                <a:custGeom>
                  <a:avLst/>
                  <a:gdLst>
                    <a:gd name="connsiteX0" fmla="*/ 0 w 122379"/>
                    <a:gd name="connsiteY0" fmla="*/ 0 h 1281926"/>
                    <a:gd name="connsiteX1" fmla="*/ 122379 w 122379"/>
                    <a:gd name="connsiteY1" fmla="*/ 0 h 1281926"/>
                    <a:gd name="connsiteX2" fmla="*/ 122379 w 122379"/>
                    <a:gd name="connsiteY2" fmla="*/ 1281926 h 1281926"/>
                    <a:gd name="connsiteX3" fmla="*/ 0 w 122379"/>
                    <a:gd name="connsiteY3" fmla="*/ 1281926 h 1281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2379" h="1281926">
                      <a:moveTo>
                        <a:pt x="0" y="0"/>
                      </a:moveTo>
                      <a:lnTo>
                        <a:pt x="122379" y="0"/>
                      </a:lnTo>
                      <a:lnTo>
                        <a:pt x="122379" y="1281926"/>
                      </a:lnTo>
                      <a:lnTo>
                        <a:pt x="0" y="1281926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71D2E172-C499-4464-9AAA-BB4E60F3153C}"/>
                    </a:ext>
                  </a:extLst>
                </p:cNvPr>
                <p:cNvSpPr/>
                <p:nvPr/>
              </p:nvSpPr>
              <p:spPr>
                <a:xfrm rot="-10800000">
                  <a:off x="14017233" y="6492615"/>
                  <a:ext cx="657790" cy="55070"/>
                </a:xfrm>
                <a:custGeom>
                  <a:avLst/>
                  <a:gdLst>
                    <a:gd name="connsiteX0" fmla="*/ 0 w 657790"/>
                    <a:gd name="connsiteY0" fmla="*/ 0 h 55070"/>
                    <a:gd name="connsiteX1" fmla="*/ 657791 w 657790"/>
                    <a:gd name="connsiteY1" fmla="*/ 0 h 55070"/>
                    <a:gd name="connsiteX2" fmla="*/ 657791 w 657790"/>
                    <a:gd name="connsiteY2" fmla="*/ 55071 h 55070"/>
                    <a:gd name="connsiteX3" fmla="*/ 0 w 657790"/>
                    <a:gd name="connsiteY3" fmla="*/ 55071 h 55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57790" h="55070">
                      <a:moveTo>
                        <a:pt x="0" y="0"/>
                      </a:moveTo>
                      <a:lnTo>
                        <a:pt x="657791" y="0"/>
                      </a:lnTo>
                      <a:lnTo>
                        <a:pt x="657791" y="55071"/>
                      </a:lnTo>
                      <a:lnTo>
                        <a:pt x="0" y="55071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E8D75DF6-BAE2-46A4-B593-2DAA1CD2F573}"/>
                    </a:ext>
                  </a:extLst>
                </p:cNvPr>
                <p:cNvSpPr/>
                <p:nvPr/>
              </p:nvSpPr>
              <p:spPr>
                <a:xfrm>
                  <a:off x="13638585" y="3831348"/>
                  <a:ext cx="964693" cy="1398187"/>
                </a:xfrm>
                <a:custGeom>
                  <a:avLst/>
                  <a:gdLst>
                    <a:gd name="connsiteX0" fmla="*/ 187583 w 964693"/>
                    <a:gd name="connsiteY0" fmla="*/ 1398187 h 1398187"/>
                    <a:gd name="connsiteX1" fmla="*/ 964693 w 964693"/>
                    <a:gd name="connsiteY1" fmla="*/ 1398187 h 1398187"/>
                    <a:gd name="connsiteX2" fmla="*/ 775005 w 964693"/>
                    <a:gd name="connsiteY2" fmla="*/ 110142 h 1398187"/>
                    <a:gd name="connsiteX3" fmla="*/ 646506 w 964693"/>
                    <a:gd name="connsiteY3" fmla="*/ 0 h 1398187"/>
                    <a:gd name="connsiteX4" fmla="*/ 129453 w 964693"/>
                    <a:gd name="connsiteY4" fmla="*/ 0 h 1398187"/>
                    <a:gd name="connsiteX5" fmla="*/ 954 w 964693"/>
                    <a:gd name="connsiteY5" fmla="*/ 146856 h 1398187"/>
                    <a:gd name="connsiteX6" fmla="*/ 187583 w 964693"/>
                    <a:gd name="connsiteY6" fmla="*/ 1398187 h 1398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64693" h="1398187">
                      <a:moveTo>
                        <a:pt x="187583" y="1398187"/>
                      </a:moveTo>
                      <a:lnTo>
                        <a:pt x="964693" y="1398187"/>
                      </a:lnTo>
                      <a:lnTo>
                        <a:pt x="775005" y="110142"/>
                      </a:lnTo>
                      <a:cubicBezTo>
                        <a:pt x="765826" y="45892"/>
                        <a:pt x="710756" y="0"/>
                        <a:pt x="646506" y="0"/>
                      </a:cubicBezTo>
                      <a:lnTo>
                        <a:pt x="129453" y="0"/>
                      </a:lnTo>
                      <a:cubicBezTo>
                        <a:pt x="49906" y="0"/>
                        <a:pt x="-8224" y="70368"/>
                        <a:pt x="954" y="146856"/>
                      </a:cubicBezTo>
                      <a:lnTo>
                        <a:pt x="187583" y="1398187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32A48D7C-6574-4943-8B9F-1CD5D4306C72}"/>
                    </a:ext>
                  </a:extLst>
                </p:cNvPr>
                <p:cNvSpPr/>
                <p:nvPr/>
              </p:nvSpPr>
              <p:spPr>
                <a:xfrm>
                  <a:off x="13712013" y="3831348"/>
                  <a:ext cx="964693" cy="1398187"/>
                </a:xfrm>
                <a:custGeom>
                  <a:avLst/>
                  <a:gdLst>
                    <a:gd name="connsiteX0" fmla="*/ 187582 w 964693"/>
                    <a:gd name="connsiteY0" fmla="*/ 1398187 h 1398187"/>
                    <a:gd name="connsiteX1" fmla="*/ 964693 w 964693"/>
                    <a:gd name="connsiteY1" fmla="*/ 1398187 h 1398187"/>
                    <a:gd name="connsiteX2" fmla="*/ 775005 w 964693"/>
                    <a:gd name="connsiteY2" fmla="*/ 110142 h 1398187"/>
                    <a:gd name="connsiteX3" fmla="*/ 646506 w 964693"/>
                    <a:gd name="connsiteY3" fmla="*/ 0 h 1398187"/>
                    <a:gd name="connsiteX4" fmla="*/ 129452 w 964693"/>
                    <a:gd name="connsiteY4" fmla="*/ 0 h 1398187"/>
                    <a:gd name="connsiteX5" fmla="*/ 954 w 964693"/>
                    <a:gd name="connsiteY5" fmla="*/ 146856 h 1398187"/>
                    <a:gd name="connsiteX6" fmla="*/ 187582 w 964693"/>
                    <a:gd name="connsiteY6" fmla="*/ 1398187 h 1398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64693" h="1398187">
                      <a:moveTo>
                        <a:pt x="187582" y="1398187"/>
                      </a:moveTo>
                      <a:lnTo>
                        <a:pt x="964693" y="1398187"/>
                      </a:lnTo>
                      <a:lnTo>
                        <a:pt x="775005" y="110142"/>
                      </a:lnTo>
                      <a:cubicBezTo>
                        <a:pt x="765826" y="45892"/>
                        <a:pt x="710755" y="0"/>
                        <a:pt x="646506" y="0"/>
                      </a:cubicBezTo>
                      <a:lnTo>
                        <a:pt x="129452" y="0"/>
                      </a:lnTo>
                      <a:cubicBezTo>
                        <a:pt x="49905" y="0"/>
                        <a:pt x="-8225" y="70368"/>
                        <a:pt x="954" y="146856"/>
                      </a:cubicBezTo>
                      <a:lnTo>
                        <a:pt x="187582" y="1398187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2" name="任意多边形: 形状 131">
                  <a:extLst>
                    <a:ext uri="{FF2B5EF4-FFF2-40B4-BE49-F238E27FC236}">
                      <a16:creationId xmlns:a16="http://schemas.microsoft.com/office/drawing/2014/main" id="{E7DC4440-979E-4DA1-90A4-4FF3D6D40CB0}"/>
                    </a:ext>
                  </a:extLst>
                </p:cNvPr>
                <p:cNvSpPr/>
                <p:nvPr/>
              </p:nvSpPr>
              <p:spPr>
                <a:xfrm>
                  <a:off x="13722145" y="5104096"/>
                  <a:ext cx="1122833" cy="214164"/>
                </a:xfrm>
                <a:custGeom>
                  <a:avLst/>
                  <a:gdLst>
                    <a:gd name="connsiteX0" fmla="*/ 107082 w 1122833"/>
                    <a:gd name="connsiteY0" fmla="*/ 214164 h 214164"/>
                    <a:gd name="connsiteX1" fmla="*/ 1015751 w 1122833"/>
                    <a:gd name="connsiteY1" fmla="*/ 214164 h 214164"/>
                    <a:gd name="connsiteX2" fmla="*/ 1122833 w 1122833"/>
                    <a:gd name="connsiteY2" fmla="*/ 107082 h 214164"/>
                    <a:gd name="connsiteX3" fmla="*/ 1122833 w 1122833"/>
                    <a:gd name="connsiteY3" fmla="*/ 107082 h 214164"/>
                    <a:gd name="connsiteX4" fmla="*/ 1015751 w 1122833"/>
                    <a:gd name="connsiteY4" fmla="*/ 0 h 214164"/>
                    <a:gd name="connsiteX5" fmla="*/ 107082 w 1122833"/>
                    <a:gd name="connsiteY5" fmla="*/ 0 h 214164"/>
                    <a:gd name="connsiteX6" fmla="*/ 0 w 1122833"/>
                    <a:gd name="connsiteY6" fmla="*/ 107082 h 214164"/>
                    <a:gd name="connsiteX7" fmla="*/ 0 w 1122833"/>
                    <a:gd name="connsiteY7" fmla="*/ 107082 h 214164"/>
                    <a:gd name="connsiteX8" fmla="*/ 107082 w 1122833"/>
                    <a:gd name="connsiteY8" fmla="*/ 214164 h 214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22833" h="214164">
                      <a:moveTo>
                        <a:pt x="107082" y="214164"/>
                      </a:moveTo>
                      <a:lnTo>
                        <a:pt x="1015751" y="214164"/>
                      </a:lnTo>
                      <a:cubicBezTo>
                        <a:pt x="1073881" y="214164"/>
                        <a:pt x="1122833" y="165213"/>
                        <a:pt x="1122833" y="107082"/>
                      </a:cubicBezTo>
                      <a:lnTo>
                        <a:pt x="1122833" y="107082"/>
                      </a:lnTo>
                      <a:cubicBezTo>
                        <a:pt x="1122833" y="48952"/>
                        <a:pt x="1073881" y="0"/>
                        <a:pt x="1015751" y="0"/>
                      </a:cubicBezTo>
                      <a:lnTo>
                        <a:pt x="107082" y="0"/>
                      </a:lnTo>
                      <a:cubicBezTo>
                        <a:pt x="48952" y="0"/>
                        <a:pt x="0" y="48952"/>
                        <a:pt x="0" y="107082"/>
                      </a:cubicBezTo>
                      <a:lnTo>
                        <a:pt x="0" y="107082"/>
                      </a:lnTo>
                      <a:cubicBezTo>
                        <a:pt x="0" y="165213"/>
                        <a:pt x="48952" y="214164"/>
                        <a:pt x="107082" y="214164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3" name="任意多边形: 形状 132">
                  <a:extLst>
                    <a:ext uri="{FF2B5EF4-FFF2-40B4-BE49-F238E27FC236}">
                      <a16:creationId xmlns:a16="http://schemas.microsoft.com/office/drawing/2014/main" id="{0A99B629-9508-47FB-84D4-78ACD8DDDEB4}"/>
                    </a:ext>
                  </a:extLst>
                </p:cNvPr>
                <p:cNvSpPr/>
                <p:nvPr/>
              </p:nvSpPr>
              <p:spPr>
                <a:xfrm>
                  <a:off x="13786395" y="5104096"/>
                  <a:ext cx="1122832" cy="214164"/>
                </a:xfrm>
                <a:custGeom>
                  <a:avLst/>
                  <a:gdLst>
                    <a:gd name="connsiteX0" fmla="*/ 107082 w 1122832"/>
                    <a:gd name="connsiteY0" fmla="*/ 214164 h 214164"/>
                    <a:gd name="connsiteX1" fmla="*/ 1015750 w 1122832"/>
                    <a:gd name="connsiteY1" fmla="*/ 214164 h 214164"/>
                    <a:gd name="connsiteX2" fmla="*/ 1122832 w 1122832"/>
                    <a:gd name="connsiteY2" fmla="*/ 107082 h 214164"/>
                    <a:gd name="connsiteX3" fmla="*/ 1122832 w 1122832"/>
                    <a:gd name="connsiteY3" fmla="*/ 107082 h 214164"/>
                    <a:gd name="connsiteX4" fmla="*/ 1015750 w 1122832"/>
                    <a:gd name="connsiteY4" fmla="*/ 0 h 214164"/>
                    <a:gd name="connsiteX5" fmla="*/ 107082 w 1122832"/>
                    <a:gd name="connsiteY5" fmla="*/ 0 h 214164"/>
                    <a:gd name="connsiteX6" fmla="*/ 0 w 1122832"/>
                    <a:gd name="connsiteY6" fmla="*/ 107082 h 214164"/>
                    <a:gd name="connsiteX7" fmla="*/ 0 w 1122832"/>
                    <a:gd name="connsiteY7" fmla="*/ 107082 h 214164"/>
                    <a:gd name="connsiteX8" fmla="*/ 107082 w 1122832"/>
                    <a:gd name="connsiteY8" fmla="*/ 214164 h 214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22832" h="214164">
                      <a:moveTo>
                        <a:pt x="107082" y="214164"/>
                      </a:moveTo>
                      <a:lnTo>
                        <a:pt x="1015750" y="214164"/>
                      </a:lnTo>
                      <a:cubicBezTo>
                        <a:pt x="1073881" y="214164"/>
                        <a:pt x="1122832" y="165213"/>
                        <a:pt x="1122832" y="107082"/>
                      </a:cubicBezTo>
                      <a:lnTo>
                        <a:pt x="1122832" y="107082"/>
                      </a:lnTo>
                      <a:cubicBezTo>
                        <a:pt x="1122832" y="48952"/>
                        <a:pt x="1073881" y="0"/>
                        <a:pt x="1015750" y="0"/>
                      </a:cubicBezTo>
                      <a:lnTo>
                        <a:pt x="107082" y="0"/>
                      </a:lnTo>
                      <a:cubicBezTo>
                        <a:pt x="48952" y="0"/>
                        <a:pt x="0" y="48952"/>
                        <a:pt x="0" y="107082"/>
                      </a:cubicBezTo>
                      <a:lnTo>
                        <a:pt x="0" y="107082"/>
                      </a:lnTo>
                      <a:cubicBezTo>
                        <a:pt x="0" y="165213"/>
                        <a:pt x="45892" y="214164"/>
                        <a:pt x="107082" y="214164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2C03D26C-9F38-41D8-8813-6777F33C5EC4}"/>
                  </a:ext>
                </a:extLst>
              </p:cNvPr>
              <p:cNvSpPr/>
              <p:nvPr/>
            </p:nvSpPr>
            <p:spPr>
              <a:xfrm>
                <a:off x="14018916" y="6548175"/>
                <a:ext cx="134617" cy="134617"/>
              </a:xfrm>
              <a:custGeom>
                <a:avLst/>
                <a:gdLst>
                  <a:gd name="connsiteX0" fmla="*/ 134617 w 134617"/>
                  <a:gd name="connsiteY0" fmla="*/ 67309 h 134617"/>
                  <a:gd name="connsiteX1" fmla="*/ 67308 w 134617"/>
                  <a:gd name="connsiteY1" fmla="*/ 134618 h 134617"/>
                  <a:gd name="connsiteX2" fmla="*/ 0 w 134617"/>
                  <a:gd name="connsiteY2" fmla="*/ 67309 h 134617"/>
                  <a:gd name="connsiteX3" fmla="*/ 67308 w 134617"/>
                  <a:gd name="connsiteY3" fmla="*/ 0 h 134617"/>
                  <a:gd name="connsiteX4" fmla="*/ 134617 w 134617"/>
                  <a:gd name="connsiteY4" fmla="*/ 67309 h 134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617" h="134617">
                    <a:moveTo>
                      <a:pt x="134617" y="67309"/>
                    </a:moveTo>
                    <a:cubicBezTo>
                      <a:pt x="134617" y="104023"/>
                      <a:pt x="104022" y="134618"/>
                      <a:pt x="67308" y="134618"/>
                    </a:cubicBezTo>
                    <a:cubicBezTo>
                      <a:pt x="30595" y="134618"/>
                      <a:pt x="0" y="104023"/>
                      <a:pt x="0" y="67309"/>
                    </a:cubicBezTo>
                    <a:cubicBezTo>
                      <a:pt x="0" y="30595"/>
                      <a:pt x="30595" y="0"/>
                      <a:pt x="67308" y="0"/>
                    </a:cubicBezTo>
                    <a:cubicBezTo>
                      <a:pt x="107082" y="0"/>
                      <a:pt x="134617" y="30595"/>
                      <a:pt x="134617" y="67309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FF458609-69D2-4820-9AF1-B30F7A64AD4D}"/>
                  </a:ext>
                </a:extLst>
              </p:cNvPr>
              <p:cNvSpPr/>
              <p:nvPr/>
            </p:nvSpPr>
            <p:spPr>
              <a:xfrm>
                <a:off x="14278973" y="6548175"/>
                <a:ext cx="134617" cy="134617"/>
              </a:xfrm>
              <a:custGeom>
                <a:avLst/>
                <a:gdLst>
                  <a:gd name="connsiteX0" fmla="*/ 134617 w 134617"/>
                  <a:gd name="connsiteY0" fmla="*/ 67309 h 134617"/>
                  <a:gd name="connsiteX1" fmla="*/ 67308 w 134617"/>
                  <a:gd name="connsiteY1" fmla="*/ 134618 h 134617"/>
                  <a:gd name="connsiteX2" fmla="*/ 0 w 134617"/>
                  <a:gd name="connsiteY2" fmla="*/ 67309 h 134617"/>
                  <a:gd name="connsiteX3" fmla="*/ 67308 w 134617"/>
                  <a:gd name="connsiteY3" fmla="*/ 0 h 134617"/>
                  <a:gd name="connsiteX4" fmla="*/ 134617 w 134617"/>
                  <a:gd name="connsiteY4" fmla="*/ 67309 h 134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617" h="134617">
                    <a:moveTo>
                      <a:pt x="134617" y="67309"/>
                    </a:moveTo>
                    <a:cubicBezTo>
                      <a:pt x="134617" y="104023"/>
                      <a:pt x="104022" y="134618"/>
                      <a:pt x="67308" y="134618"/>
                    </a:cubicBezTo>
                    <a:cubicBezTo>
                      <a:pt x="30595" y="134618"/>
                      <a:pt x="0" y="104023"/>
                      <a:pt x="0" y="67309"/>
                    </a:cubicBezTo>
                    <a:cubicBezTo>
                      <a:pt x="0" y="30595"/>
                      <a:pt x="30595" y="0"/>
                      <a:pt x="67308" y="0"/>
                    </a:cubicBezTo>
                    <a:cubicBezTo>
                      <a:pt x="104022" y="0"/>
                      <a:pt x="134617" y="30595"/>
                      <a:pt x="134617" y="67309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C006D0EA-64B9-4FB3-85F8-3B98D91F5C9A}"/>
                  </a:ext>
                </a:extLst>
              </p:cNvPr>
              <p:cNvSpPr/>
              <p:nvPr/>
            </p:nvSpPr>
            <p:spPr>
              <a:xfrm>
                <a:off x="14535970" y="6548175"/>
                <a:ext cx="134617" cy="134617"/>
              </a:xfrm>
              <a:custGeom>
                <a:avLst/>
                <a:gdLst>
                  <a:gd name="connsiteX0" fmla="*/ 134617 w 134617"/>
                  <a:gd name="connsiteY0" fmla="*/ 67309 h 134617"/>
                  <a:gd name="connsiteX1" fmla="*/ 67308 w 134617"/>
                  <a:gd name="connsiteY1" fmla="*/ 134618 h 134617"/>
                  <a:gd name="connsiteX2" fmla="*/ 0 w 134617"/>
                  <a:gd name="connsiteY2" fmla="*/ 67309 h 134617"/>
                  <a:gd name="connsiteX3" fmla="*/ 67308 w 134617"/>
                  <a:gd name="connsiteY3" fmla="*/ 0 h 134617"/>
                  <a:gd name="connsiteX4" fmla="*/ 134617 w 134617"/>
                  <a:gd name="connsiteY4" fmla="*/ 67309 h 134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617" h="134617">
                    <a:moveTo>
                      <a:pt x="134617" y="67309"/>
                    </a:moveTo>
                    <a:cubicBezTo>
                      <a:pt x="134617" y="104023"/>
                      <a:pt x="104022" y="134618"/>
                      <a:pt x="67308" y="134618"/>
                    </a:cubicBezTo>
                    <a:cubicBezTo>
                      <a:pt x="30595" y="134618"/>
                      <a:pt x="0" y="104023"/>
                      <a:pt x="0" y="67309"/>
                    </a:cubicBezTo>
                    <a:cubicBezTo>
                      <a:pt x="0" y="30595"/>
                      <a:pt x="30595" y="0"/>
                      <a:pt x="67308" y="0"/>
                    </a:cubicBezTo>
                    <a:cubicBezTo>
                      <a:pt x="107082" y="0"/>
                      <a:pt x="134617" y="30595"/>
                      <a:pt x="134617" y="67309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3B81F50D-3B45-48BD-B5B7-9EE0657ED4FB}"/>
                </a:ext>
              </a:extLst>
            </p:cNvPr>
            <p:cNvSpPr/>
            <p:nvPr/>
          </p:nvSpPr>
          <p:spPr>
            <a:xfrm>
              <a:off x="10411777" y="3485626"/>
              <a:ext cx="174391" cy="171331"/>
            </a:xfrm>
            <a:custGeom>
              <a:avLst/>
              <a:gdLst>
                <a:gd name="connsiteX0" fmla="*/ 30595 w 174391"/>
                <a:gd name="connsiteY0" fmla="*/ 0 h 171331"/>
                <a:gd name="connsiteX1" fmla="*/ 174391 w 174391"/>
                <a:gd name="connsiteY1" fmla="*/ 24476 h 171331"/>
                <a:gd name="connsiteX2" fmla="*/ 174391 w 174391"/>
                <a:gd name="connsiteY2" fmla="*/ 171332 h 171331"/>
                <a:gd name="connsiteX3" fmla="*/ 0 w 174391"/>
                <a:gd name="connsiteY3" fmla="*/ 149915 h 171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391" h="171331">
                  <a:moveTo>
                    <a:pt x="30595" y="0"/>
                  </a:moveTo>
                  <a:lnTo>
                    <a:pt x="174391" y="24476"/>
                  </a:lnTo>
                  <a:lnTo>
                    <a:pt x="174391" y="171332"/>
                  </a:lnTo>
                  <a:lnTo>
                    <a:pt x="0" y="149915"/>
                  </a:ln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" name="图形 892">
              <a:extLst>
                <a:ext uri="{FF2B5EF4-FFF2-40B4-BE49-F238E27FC236}">
                  <a16:creationId xmlns:a16="http://schemas.microsoft.com/office/drawing/2014/main" id="{5C68519D-2B99-4EA9-A786-86453B2F4637}"/>
                </a:ext>
              </a:extLst>
            </p:cNvPr>
            <p:cNvGrpSpPr/>
            <p:nvPr/>
          </p:nvGrpSpPr>
          <p:grpSpPr>
            <a:xfrm>
              <a:off x="11096338" y="6226929"/>
              <a:ext cx="365826" cy="390565"/>
              <a:chOff x="11096338" y="6226929"/>
              <a:chExt cx="365826" cy="390565"/>
            </a:xfrm>
          </p:grpSpPr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1ADED76D-9C15-4E9F-9CDD-49AFBECB2E30}"/>
                  </a:ext>
                </a:extLst>
              </p:cNvPr>
              <p:cNvSpPr/>
              <p:nvPr/>
            </p:nvSpPr>
            <p:spPr>
              <a:xfrm>
                <a:off x="11096338" y="6355428"/>
                <a:ext cx="365826" cy="262066"/>
              </a:xfrm>
              <a:custGeom>
                <a:avLst/>
                <a:gdLst>
                  <a:gd name="connsiteX0" fmla="*/ 227167 w 365826"/>
                  <a:gd name="connsiteY0" fmla="*/ 0 h 262066"/>
                  <a:gd name="connsiteX1" fmla="*/ 107847 w 365826"/>
                  <a:gd name="connsiteY1" fmla="*/ 165212 h 262066"/>
                  <a:gd name="connsiteX2" fmla="*/ 325070 w 365826"/>
                  <a:gd name="connsiteY2" fmla="*/ 36714 h 262066"/>
                  <a:gd name="connsiteX3" fmla="*/ 346487 w 365826"/>
                  <a:gd name="connsiteY3" fmla="*/ 21416 h 262066"/>
                  <a:gd name="connsiteX4" fmla="*/ 364844 w 365826"/>
                  <a:gd name="connsiteY4" fmla="*/ 97904 h 262066"/>
                  <a:gd name="connsiteX5" fmla="*/ 352607 w 365826"/>
                  <a:gd name="connsiteY5" fmla="*/ 235581 h 262066"/>
                  <a:gd name="connsiteX6" fmla="*/ 325070 w 365826"/>
                  <a:gd name="connsiteY6" fmla="*/ 235581 h 262066"/>
                  <a:gd name="connsiteX7" fmla="*/ 309773 w 365826"/>
                  <a:gd name="connsiteY7" fmla="*/ 125439 h 262066"/>
                  <a:gd name="connsiteX8" fmla="*/ 165977 w 365826"/>
                  <a:gd name="connsiteY8" fmla="*/ 256997 h 262066"/>
                  <a:gd name="connsiteX9" fmla="*/ 6884 w 365826"/>
                  <a:gd name="connsiteY9" fmla="*/ 260057 h 262066"/>
                  <a:gd name="connsiteX10" fmla="*/ 6884 w 365826"/>
                  <a:gd name="connsiteY10" fmla="*/ 214164 h 262066"/>
                  <a:gd name="connsiteX11" fmla="*/ 227167 w 365826"/>
                  <a:gd name="connsiteY11" fmla="*/ 0 h 262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5826" h="262066">
                    <a:moveTo>
                      <a:pt x="227167" y="0"/>
                    </a:moveTo>
                    <a:cubicBezTo>
                      <a:pt x="227167" y="0"/>
                      <a:pt x="92550" y="156034"/>
                      <a:pt x="107847" y="165212"/>
                    </a:cubicBezTo>
                    <a:cubicBezTo>
                      <a:pt x="126204" y="174391"/>
                      <a:pt x="325070" y="36714"/>
                      <a:pt x="325070" y="36714"/>
                    </a:cubicBezTo>
                    <a:lnTo>
                      <a:pt x="346487" y="21416"/>
                    </a:lnTo>
                    <a:cubicBezTo>
                      <a:pt x="346487" y="21416"/>
                      <a:pt x="370963" y="70368"/>
                      <a:pt x="364844" y="97904"/>
                    </a:cubicBezTo>
                    <a:cubicBezTo>
                      <a:pt x="358725" y="125439"/>
                      <a:pt x="352607" y="235581"/>
                      <a:pt x="352607" y="235581"/>
                    </a:cubicBezTo>
                    <a:lnTo>
                      <a:pt x="325070" y="235581"/>
                    </a:lnTo>
                    <a:lnTo>
                      <a:pt x="309773" y="125439"/>
                    </a:lnTo>
                    <a:cubicBezTo>
                      <a:pt x="309773" y="125439"/>
                      <a:pt x="187393" y="253937"/>
                      <a:pt x="165977" y="256997"/>
                    </a:cubicBezTo>
                    <a:cubicBezTo>
                      <a:pt x="144561" y="263116"/>
                      <a:pt x="19121" y="263116"/>
                      <a:pt x="6884" y="260057"/>
                    </a:cubicBezTo>
                    <a:cubicBezTo>
                      <a:pt x="-2295" y="260057"/>
                      <a:pt x="-2295" y="220283"/>
                      <a:pt x="6884" y="214164"/>
                    </a:cubicBezTo>
                    <a:cubicBezTo>
                      <a:pt x="86431" y="171331"/>
                      <a:pt x="227167" y="0"/>
                      <a:pt x="227167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647FE79E-B225-4106-957B-09FC8E188DDC}"/>
                  </a:ext>
                </a:extLst>
              </p:cNvPr>
              <p:cNvSpPr/>
              <p:nvPr/>
            </p:nvSpPr>
            <p:spPr>
              <a:xfrm>
                <a:off x="11201968" y="6226929"/>
                <a:ext cx="237830" cy="295459"/>
              </a:xfrm>
              <a:custGeom>
                <a:avLst/>
                <a:gdLst>
                  <a:gd name="connsiteX0" fmla="*/ 118478 w 237830"/>
                  <a:gd name="connsiteY0" fmla="*/ 36714 h 295459"/>
                  <a:gd name="connsiteX1" fmla="*/ 121538 w 237830"/>
                  <a:gd name="connsiteY1" fmla="*/ 128499 h 295459"/>
                  <a:gd name="connsiteX2" fmla="*/ 2218 w 237830"/>
                  <a:gd name="connsiteY2" fmla="*/ 293711 h 295459"/>
                  <a:gd name="connsiteX3" fmla="*/ 237798 w 237830"/>
                  <a:gd name="connsiteY3" fmla="*/ 149915 h 295459"/>
                  <a:gd name="connsiteX4" fmla="*/ 234738 w 237830"/>
                  <a:gd name="connsiteY4" fmla="*/ 0 h 295459"/>
                  <a:gd name="connsiteX5" fmla="*/ 118478 w 237830"/>
                  <a:gd name="connsiteY5" fmla="*/ 36714 h 295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830" h="295459">
                    <a:moveTo>
                      <a:pt x="118478" y="36714"/>
                    </a:moveTo>
                    <a:lnTo>
                      <a:pt x="121538" y="128499"/>
                    </a:lnTo>
                    <a:cubicBezTo>
                      <a:pt x="121538" y="128499"/>
                      <a:pt x="-19199" y="278414"/>
                      <a:pt x="2218" y="293711"/>
                    </a:cubicBezTo>
                    <a:cubicBezTo>
                      <a:pt x="23634" y="312068"/>
                      <a:pt x="240858" y="180510"/>
                      <a:pt x="237798" y="149915"/>
                    </a:cubicBezTo>
                    <a:cubicBezTo>
                      <a:pt x="237798" y="100963"/>
                      <a:pt x="234738" y="0"/>
                      <a:pt x="234738" y="0"/>
                    </a:cubicBezTo>
                    <a:lnTo>
                      <a:pt x="118478" y="36714"/>
                    </a:ln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698BB7AA-C804-4F76-B281-A0925988E98B}"/>
                </a:ext>
              </a:extLst>
            </p:cNvPr>
            <p:cNvSpPr/>
            <p:nvPr/>
          </p:nvSpPr>
          <p:spPr>
            <a:xfrm>
              <a:off x="11870172" y="6355428"/>
              <a:ext cx="365826" cy="262066"/>
            </a:xfrm>
            <a:custGeom>
              <a:avLst/>
              <a:gdLst>
                <a:gd name="connsiteX0" fmla="*/ 138659 w 365826"/>
                <a:gd name="connsiteY0" fmla="*/ 0 h 262066"/>
                <a:gd name="connsiteX1" fmla="*/ 257979 w 365826"/>
                <a:gd name="connsiteY1" fmla="*/ 165212 h 262066"/>
                <a:gd name="connsiteX2" fmla="*/ 40755 w 365826"/>
                <a:gd name="connsiteY2" fmla="*/ 36714 h 262066"/>
                <a:gd name="connsiteX3" fmla="*/ 19339 w 365826"/>
                <a:gd name="connsiteY3" fmla="*/ 21416 h 262066"/>
                <a:gd name="connsiteX4" fmla="*/ 982 w 365826"/>
                <a:gd name="connsiteY4" fmla="*/ 97904 h 262066"/>
                <a:gd name="connsiteX5" fmla="*/ 13220 w 365826"/>
                <a:gd name="connsiteY5" fmla="*/ 235581 h 262066"/>
                <a:gd name="connsiteX6" fmla="*/ 40755 w 365826"/>
                <a:gd name="connsiteY6" fmla="*/ 235581 h 262066"/>
                <a:gd name="connsiteX7" fmla="*/ 56053 w 365826"/>
                <a:gd name="connsiteY7" fmla="*/ 125439 h 262066"/>
                <a:gd name="connsiteX8" fmla="*/ 199849 w 365826"/>
                <a:gd name="connsiteY8" fmla="*/ 256997 h 262066"/>
                <a:gd name="connsiteX9" fmla="*/ 358943 w 365826"/>
                <a:gd name="connsiteY9" fmla="*/ 260057 h 262066"/>
                <a:gd name="connsiteX10" fmla="*/ 358943 w 365826"/>
                <a:gd name="connsiteY10" fmla="*/ 214164 h 262066"/>
                <a:gd name="connsiteX11" fmla="*/ 138659 w 365826"/>
                <a:gd name="connsiteY11" fmla="*/ 0 h 262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5826" h="262066">
                  <a:moveTo>
                    <a:pt x="138659" y="0"/>
                  </a:moveTo>
                  <a:cubicBezTo>
                    <a:pt x="138659" y="0"/>
                    <a:pt x="273277" y="156034"/>
                    <a:pt x="257979" y="165212"/>
                  </a:cubicBezTo>
                  <a:cubicBezTo>
                    <a:pt x="239622" y="174391"/>
                    <a:pt x="40755" y="36714"/>
                    <a:pt x="40755" y="36714"/>
                  </a:cubicBezTo>
                  <a:lnTo>
                    <a:pt x="19339" y="21416"/>
                  </a:lnTo>
                  <a:cubicBezTo>
                    <a:pt x="19339" y="21416"/>
                    <a:pt x="-5137" y="70368"/>
                    <a:pt x="982" y="97904"/>
                  </a:cubicBezTo>
                  <a:cubicBezTo>
                    <a:pt x="7102" y="125439"/>
                    <a:pt x="13220" y="235581"/>
                    <a:pt x="13220" y="235581"/>
                  </a:cubicBezTo>
                  <a:lnTo>
                    <a:pt x="40755" y="235581"/>
                  </a:lnTo>
                  <a:lnTo>
                    <a:pt x="56053" y="125439"/>
                  </a:lnTo>
                  <a:cubicBezTo>
                    <a:pt x="56053" y="125439"/>
                    <a:pt x="178432" y="253937"/>
                    <a:pt x="199849" y="256997"/>
                  </a:cubicBezTo>
                  <a:cubicBezTo>
                    <a:pt x="221266" y="263116"/>
                    <a:pt x="346704" y="263116"/>
                    <a:pt x="358943" y="260057"/>
                  </a:cubicBezTo>
                  <a:cubicBezTo>
                    <a:pt x="368121" y="260057"/>
                    <a:pt x="368121" y="220283"/>
                    <a:pt x="358943" y="214164"/>
                  </a:cubicBezTo>
                  <a:cubicBezTo>
                    <a:pt x="279396" y="171331"/>
                    <a:pt x="138659" y="0"/>
                    <a:pt x="138659" y="0"/>
                  </a:cubicBezTo>
                  <a:close/>
                </a:path>
              </a:pathLst>
            </a:custGeom>
            <a:solidFill>
              <a:srgbClr val="7F95BC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D6D144CC-D2FA-450F-9F8A-3506C1A4D024}"/>
                </a:ext>
              </a:extLst>
            </p:cNvPr>
            <p:cNvSpPr/>
            <p:nvPr/>
          </p:nvSpPr>
          <p:spPr>
            <a:xfrm>
              <a:off x="11892539" y="6226929"/>
              <a:ext cx="237830" cy="295459"/>
            </a:xfrm>
            <a:custGeom>
              <a:avLst/>
              <a:gdLst>
                <a:gd name="connsiteX0" fmla="*/ 119352 w 237830"/>
                <a:gd name="connsiteY0" fmla="*/ 36714 h 295459"/>
                <a:gd name="connsiteX1" fmla="*/ 116292 w 237830"/>
                <a:gd name="connsiteY1" fmla="*/ 128499 h 295459"/>
                <a:gd name="connsiteX2" fmla="*/ 235612 w 237830"/>
                <a:gd name="connsiteY2" fmla="*/ 293711 h 295459"/>
                <a:gd name="connsiteX3" fmla="*/ 32 w 237830"/>
                <a:gd name="connsiteY3" fmla="*/ 149915 h 295459"/>
                <a:gd name="connsiteX4" fmla="*/ 3091 w 237830"/>
                <a:gd name="connsiteY4" fmla="*/ 0 h 295459"/>
                <a:gd name="connsiteX5" fmla="*/ 119352 w 237830"/>
                <a:gd name="connsiteY5" fmla="*/ 36714 h 295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830" h="295459">
                  <a:moveTo>
                    <a:pt x="119352" y="36714"/>
                  </a:moveTo>
                  <a:lnTo>
                    <a:pt x="116292" y="128499"/>
                  </a:lnTo>
                  <a:cubicBezTo>
                    <a:pt x="116292" y="128499"/>
                    <a:pt x="257029" y="278414"/>
                    <a:pt x="235612" y="293711"/>
                  </a:cubicBezTo>
                  <a:cubicBezTo>
                    <a:pt x="214196" y="312068"/>
                    <a:pt x="-3028" y="180510"/>
                    <a:pt x="32" y="149915"/>
                  </a:cubicBezTo>
                  <a:cubicBezTo>
                    <a:pt x="32" y="100963"/>
                    <a:pt x="3091" y="0"/>
                    <a:pt x="3091" y="0"/>
                  </a:cubicBezTo>
                  <a:lnTo>
                    <a:pt x="119352" y="36714"/>
                  </a:ln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5E38CC69-A05A-4F5A-A5C7-F85FC55BEBEC}"/>
                </a:ext>
              </a:extLst>
            </p:cNvPr>
            <p:cNvSpPr/>
            <p:nvPr/>
          </p:nvSpPr>
          <p:spPr>
            <a:xfrm>
              <a:off x="14903109" y="3840527"/>
              <a:ext cx="966799" cy="838300"/>
            </a:xfrm>
            <a:custGeom>
              <a:avLst/>
              <a:gdLst>
                <a:gd name="connsiteX0" fmla="*/ 290652 w 966799"/>
                <a:gd name="connsiteY0" fmla="*/ 0 h 838300"/>
                <a:gd name="connsiteX1" fmla="*/ 553768 w 966799"/>
                <a:gd name="connsiteY1" fmla="*/ 544589 h 838300"/>
                <a:gd name="connsiteX2" fmla="*/ 966799 w 966799"/>
                <a:gd name="connsiteY2" fmla="*/ 688385 h 838300"/>
                <a:gd name="connsiteX3" fmla="*/ 899490 w 966799"/>
                <a:gd name="connsiteY3" fmla="*/ 838300 h 838300"/>
                <a:gd name="connsiteX4" fmla="*/ 318187 w 966799"/>
                <a:gd name="connsiteY4" fmla="*/ 685326 h 838300"/>
                <a:gd name="connsiteX5" fmla="*/ 0 w 966799"/>
                <a:gd name="connsiteY5" fmla="*/ 97904 h 838300"/>
                <a:gd name="connsiteX6" fmla="*/ 290652 w 966799"/>
                <a:gd name="connsiteY6" fmla="*/ 0 h 8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66799" h="838300">
                  <a:moveTo>
                    <a:pt x="290652" y="0"/>
                  </a:moveTo>
                  <a:lnTo>
                    <a:pt x="553768" y="544589"/>
                  </a:lnTo>
                  <a:lnTo>
                    <a:pt x="966799" y="688385"/>
                  </a:lnTo>
                  <a:lnTo>
                    <a:pt x="899490" y="838300"/>
                  </a:lnTo>
                  <a:cubicBezTo>
                    <a:pt x="899490" y="838300"/>
                    <a:pt x="416091" y="764873"/>
                    <a:pt x="318187" y="685326"/>
                  </a:cubicBezTo>
                  <a:cubicBezTo>
                    <a:pt x="217224" y="605779"/>
                    <a:pt x="0" y="97904"/>
                    <a:pt x="0" y="97904"/>
                  </a:cubicBezTo>
                  <a:lnTo>
                    <a:pt x="290652" y="0"/>
                  </a:ln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" name="图形 892">
              <a:extLst>
                <a:ext uri="{FF2B5EF4-FFF2-40B4-BE49-F238E27FC236}">
                  <a16:creationId xmlns:a16="http://schemas.microsoft.com/office/drawing/2014/main" id="{4ACAB9D8-E85E-4F30-9F73-7389D3D9D379}"/>
                </a:ext>
              </a:extLst>
            </p:cNvPr>
            <p:cNvGrpSpPr/>
            <p:nvPr/>
          </p:nvGrpSpPr>
          <p:grpSpPr>
            <a:xfrm>
              <a:off x="15649624" y="6190215"/>
              <a:ext cx="608731" cy="399447"/>
              <a:chOff x="15649624" y="6190215"/>
              <a:chExt cx="608731" cy="399447"/>
            </a:xfrm>
          </p:grpSpPr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BC8293CE-1D30-472C-8C4F-50BF964AD729}"/>
                  </a:ext>
                </a:extLst>
              </p:cNvPr>
              <p:cNvSpPr/>
              <p:nvPr/>
            </p:nvSpPr>
            <p:spPr>
              <a:xfrm>
                <a:off x="15649624" y="6190215"/>
                <a:ext cx="241699" cy="266175"/>
              </a:xfrm>
              <a:custGeom>
                <a:avLst/>
                <a:gdLst>
                  <a:gd name="connsiteX0" fmla="*/ 61190 w 241699"/>
                  <a:gd name="connsiteY0" fmla="*/ 226403 h 266175"/>
                  <a:gd name="connsiteX1" fmla="*/ 0 w 241699"/>
                  <a:gd name="connsiteY1" fmla="*/ 30595 h 266175"/>
                  <a:gd name="connsiteX2" fmla="*/ 177450 w 241699"/>
                  <a:gd name="connsiteY2" fmla="*/ 0 h 266175"/>
                  <a:gd name="connsiteX3" fmla="*/ 241700 w 241699"/>
                  <a:gd name="connsiteY3" fmla="*/ 208045 h 266175"/>
                  <a:gd name="connsiteX4" fmla="*/ 82607 w 241699"/>
                  <a:gd name="connsiteY4" fmla="*/ 266176 h 266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1699" h="266175">
                    <a:moveTo>
                      <a:pt x="61190" y="226403"/>
                    </a:moveTo>
                    <a:lnTo>
                      <a:pt x="0" y="30595"/>
                    </a:lnTo>
                    <a:lnTo>
                      <a:pt x="177450" y="0"/>
                    </a:lnTo>
                    <a:lnTo>
                      <a:pt x="241700" y="208045"/>
                    </a:lnTo>
                    <a:lnTo>
                      <a:pt x="82607" y="266176"/>
                    </a:ln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60FE04D3-0D4C-45FF-805B-BF1EF08F27BA}"/>
                  </a:ext>
                </a:extLst>
              </p:cNvPr>
              <p:cNvSpPr/>
              <p:nvPr/>
            </p:nvSpPr>
            <p:spPr>
              <a:xfrm>
                <a:off x="15709103" y="6334011"/>
                <a:ext cx="543240" cy="208045"/>
              </a:xfrm>
              <a:custGeom>
                <a:avLst/>
                <a:gdLst>
                  <a:gd name="connsiteX0" fmla="*/ 1711 w 543240"/>
                  <a:gd name="connsiteY0" fmla="*/ 82607 h 208045"/>
                  <a:gd name="connsiteX1" fmla="*/ 182221 w 543240"/>
                  <a:gd name="connsiteY1" fmla="*/ 0 h 208045"/>
                  <a:gd name="connsiteX2" fmla="*/ 344374 w 543240"/>
                  <a:gd name="connsiteY2" fmla="*/ 64249 h 208045"/>
                  <a:gd name="connsiteX3" fmla="*/ 543241 w 543240"/>
                  <a:gd name="connsiteY3" fmla="*/ 119320 h 208045"/>
                  <a:gd name="connsiteX4" fmla="*/ 26186 w 543240"/>
                  <a:gd name="connsiteY4" fmla="*/ 208045 h 208045"/>
                  <a:gd name="connsiteX5" fmla="*/ 1711 w 543240"/>
                  <a:gd name="connsiteY5" fmla="*/ 82607 h 208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3240" h="208045">
                    <a:moveTo>
                      <a:pt x="1711" y="82607"/>
                    </a:moveTo>
                    <a:cubicBezTo>
                      <a:pt x="1711" y="82607"/>
                      <a:pt x="127150" y="82607"/>
                      <a:pt x="182221" y="0"/>
                    </a:cubicBezTo>
                    <a:cubicBezTo>
                      <a:pt x="182221" y="0"/>
                      <a:pt x="292362" y="61190"/>
                      <a:pt x="344374" y="64249"/>
                    </a:cubicBezTo>
                    <a:cubicBezTo>
                      <a:pt x="396385" y="67309"/>
                      <a:pt x="515705" y="42833"/>
                      <a:pt x="543241" y="119320"/>
                    </a:cubicBezTo>
                    <a:lnTo>
                      <a:pt x="26186" y="208045"/>
                    </a:lnTo>
                    <a:cubicBezTo>
                      <a:pt x="23128" y="204986"/>
                      <a:pt x="-7467" y="140737"/>
                      <a:pt x="1711" y="8260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1FF92855-6593-4AFC-97C1-DC1CEB76E5DF}"/>
                  </a:ext>
                </a:extLst>
              </p:cNvPr>
              <p:cNvSpPr/>
              <p:nvPr/>
            </p:nvSpPr>
            <p:spPr>
              <a:xfrm rot="-589386">
                <a:off x="15731826" y="6496184"/>
                <a:ext cx="526211" cy="48949"/>
              </a:xfrm>
              <a:custGeom>
                <a:avLst/>
                <a:gdLst>
                  <a:gd name="connsiteX0" fmla="*/ 0 w 526211"/>
                  <a:gd name="connsiteY0" fmla="*/ 0 h 48949"/>
                  <a:gd name="connsiteX1" fmla="*/ 526212 w 526211"/>
                  <a:gd name="connsiteY1" fmla="*/ 0 h 48949"/>
                  <a:gd name="connsiteX2" fmla="*/ 526212 w 526211"/>
                  <a:gd name="connsiteY2" fmla="*/ 48950 h 48949"/>
                  <a:gd name="connsiteX3" fmla="*/ 0 w 526211"/>
                  <a:gd name="connsiteY3" fmla="*/ 48950 h 48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6211" h="48949">
                    <a:moveTo>
                      <a:pt x="0" y="0"/>
                    </a:moveTo>
                    <a:lnTo>
                      <a:pt x="526212" y="0"/>
                    </a:lnTo>
                    <a:lnTo>
                      <a:pt x="526212" y="48950"/>
                    </a:lnTo>
                    <a:lnTo>
                      <a:pt x="0" y="48950"/>
                    </a:lnTo>
                    <a:close/>
                  </a:path>
                </a:pathLst>
              </a:custGeom>
              <a:solidFill>
                <a:srgbClr val="38333D"/>
              </a:solidFill>
              <a:ln w="305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6FAB15D5-EECA-4406-8E7A-54D07ACE6CBF}"/>
                  </a:ext>
                </a:extLst>
              </p:cNvPr>
              <p:cNvSpPr/>
              <p:nvPr/>
            </p:nvSpPr>
            <p:spPr>
              <a:xfrm>
                <a:off x="15704695" y="6325598"/>
                <a:ext cx="191983" cy="97138"/>
              </a:xfrm>
              <a:custGeom>
                <a:avLst/>
                <a:gdLst>
                  <a:gd name="connsiteX0" fmla="*/ 6119 w 191983"/>
                  <a:gd name="connsiteY0" fmla="*/ 97139 h 97138"/>
                  <a:gd name="connsiteX1" fmla="*/ 0 w 191983"/>
                  <a:gd name="connsiteY1" fmla="*/ 91020 h 97138"/>
                  <a:gd name="connsiteX2" fmla="*/ 6119 w 191983"/>
                  <a:gd name="connsiteY2" fmla="*/ 84901 h 97138"/>
                  <a:gd name="connsiteX3" fmla="*/ 180511 w 191983"/>
                  <a:gd name="connsiteY3" fmla="*/ 2294 h 97138"/>
                  <a:gd name="connsiteX4" fmla="*/ 189689 w 191983"/>
                  <a:gd name="connsiteY4" fmla="*/ 2294 h 97138"/>
                  <a:gd name="connsiteX5" fmla="*/ 189689 w 191983"/>
                  <a:gd name="connsiteY5" fmla="*/ 11473 h 97138"/>
                  <a:gd name="connsiteX6" fmla="*/ 6119 w 191983"/>
                  <a:gd name="connsiteY6" fmla="*/ 97139 h 97138"/>
                  <a:gd name="connsiteX7" fmla="*/ 6119 w 191983"/>
                  <a:gd name="connsiteY7" fmla="*/ 97139 h 97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1983" h="97138">
                    <a:moveTo>
                      <a:pt x="6119" y="97139"/>
                    </a:moveTo>
                    <a:cubicBezTo>
                      <a:pt x="3060" y="97139"/>
                      <a:pt x="0" y="94079"/>
                      <a:pt x="0" y="91020"/>
                    </a:cubicBezTo>
                    <a:cubicBezTo>
                      <a:pt x="0" y="87960"/>
                      <a:pt x="3060" y="84901"/>
                      <a:pt x="6119" y="84901"/>
                    </a:cubicBezTo>
                    <a:cubicBezTo>
                      <a:pt x="6119" y="84901"/>
                      <a:pt x="119321" y="81841"/>
                      <a:pt x="180511" y="2294"/>
                    </a:cubicBezTo>
                    <a:cubicBezTo>
                      <a:pt x="183569" y="-765"/>
                      <a:pt x="186629" y="-765"/>
                      <a:pt x="189689" y="2294"/>
                    </a:cubicBezTo>
                    <a:cubicBezTo>
                      <a:pt x="192748" y="5354"/>
                      <a:pt x="192748" y="8413"/>
                      <a:pt x="189689" y="11473"/>
                    </a:cubicBezTo>
                    <a:cubicBezTo>
                      <a:pt x="125439" y="97139"/>
                      <a:pt x="12239" y="97139"/>
                      <a:pt x="6119" y="97139"/>
                    </a:cubicBezTo>
                    <a:lnTo>
                      <a:pt x="6119" y="97139"/>
                    </a:ln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0FA199D2-F35A-4EFE-93ED-2A4DB45289BB}"/>
                  </a:ext>
                </a:extLst>
              </p:cNvPr>
              <p:cNvSpPr/>
              <p:nvPr/>
            </p:nvSpPr>
            <p:spPr>
              <a:xfrm>
                <a:off x="15906621" y="6349308"/>
                <a:ext cx="36714" cy="45892"/>
              </a:xfrm>
              <a:custGeom>
                <a:avLst/>
                <a:gdLst>
                  <a:gd name="connsiteX0" fmla="*/ 6119 w 36714"/>
                  <a:gd name="connsiteY0" fmla="*/ 45892 h 45892"/>
                  <a:gd name="connsiteX1" fmla="*/ 3060 w 36714"/>
                  <a:gd name="connsiteY1" fmla="*/ 45892 h 45892"/>
                  <a:gd name="connsiteX2" fmla="*/ 0 w 36714"/>
                  <a:gd name="connsiteY2" fmla="*/ 36714 h 45892"/>
                  <a:gd name="connsiteX3" fmla="*/ 24476 w 36714"/>
                  <a:gd name="connsiteY3" fmla="*/ 3060 h 45892"/>
                  <a:gd name="connsiteX4" fmla="*/ 33655 w 36714"/>
                  <a:gd name="connsiteY4" fmla="*/ 0 h 45892"/>
                  <a:gd name="connsiteX5" fmla="*/ 36714 w 36714"/>
                  <a:gd name="connsiteY5" fmla="*/ 9179 h 45892"/>
                  <a:gd name="connsiteX6" fmla="*/ 12238 w 36714"/>
                  <a:gd name="connsiteY6" fmla="*/ 42833 h 45892"/>
                  <a:gd name="connsiteX7" fmla="*/ 6119 w 36714"/>
                  <a:gd name="connsiteY7" fmla="*/ 45892 h 45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714" h="45892">
                    <a:moveTo>
                      <a:pt x="6119" y="45892"/>
                    </a:moveTo>
                    <a:cubicBezTo>
                      <a:pt x="6119" y="45892"/>
                      <a:pt x="3060" y="45892"/>
                      <a:pt x="3060" y="45892"/>
                    </a:cubicBezTo>
                    <a:cubicBezTo>
                      <a:pt x="0" y="42833"/>
                      <a:pt x="0" y="39773"/>
                      <a:pt x="0" y="36714"/>
                    </a:cubicBezTo>
                    <a:lnTo>
                      <a:pt x="24476" y="3060"/>
                    </a:lnTo>
                    <a:cubicBezTo>
                      <a:pt x="27535" y="0"/>
                      <a:pt x="30595" y="0"/>
                      <a:pt x="33655" y="0"/>
                    </a:cubicBezTo>
                    <a:cubicBezTo>
                      <a:pt x="36714" y="3060"/>
                      <a:pt x="36714" y="6119"/>
                      <a:pt x="36714" y="9179"/>
                    </a:cubicBezTo>
                    <a:lnTo>
                      <a:pt x="12238" y="42833"/>
                    </a:lnTo>
                    <a:cubicBezTo>
                      <a:pt x="9179" y="45892"/>
                      <a:pt x="6119" y="45892"/>
                      <a:pt x="6119" y="4589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73627F55-41C5-456D-9AD2-952FD2AA0366}"/>
                  </a:ext>
                </a:extLst>
              </p:cNvPr>
              <p:cNvSpPr/>
              <p:nvPr/>
            </p:nvSpPr>
            <p:spPr>
              <a:xfrm>
                <a:off x="15952514" y="6373784"/>
                <a:ext cx="36714" cy="45892"/>
              </a:xfrm>
              <a:custGeom>
                <a:avLst/>
                <a:gdLst>
                  <a:gd name="connsiteX0" fmla="*/ 6119 w 36714"/>
                  <a:gd name="connsiteY0" fmla="*/ 45892 h 45892"/>
                  <a:gd name="connsiteX1" fmla="*/ 3060 w 36714"/>
                  <a:gd name="connsiteY1" fmla="*/ 45892 h 45892"/>
                  <a:gd name="connsiteX2" fmla="*/ 0 w 36714"/>
                  <a:gd name="connsiteY2" fmla="*/ 36714 h 45892"/>
                  <a:gd name="connsiteX3" fmla="*/ 24476 w 36714"/>
                  <a:gd name="connsiteY3" fmla="*/ 3060 h 45892"/>
                  <a:gd name="connsiteX4" fmla="*/ 33655 w 36714"/>
                  <a:gd name="connsiteY4" fmla="*/ 0 h 45892"/>
                  <a:gd name="connsiteX5" fmla="*/ 36714 w 36714"/>
                  <a:gd name="connsiteY5" fmla="*/ 9179 h 45892"/>
                  <a:gd name="connsiteX6" fmla="*/ 12238 w 36714"/>
                  <a:gd name="connsiteY6" fmla="*/ 42833 h 45892"/>
                  <a:gd name="connsiteX7" fmla="*/ 6119 w 36714"/>
                  <a:gd name="connsiteY7" fmla="*/ 45892 h 45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714" h="45892">
                    <a:moveTo>
                      <a:pt x="6119" y="45892"/>
                    </a:moveTo>
                    <a:cubicBezTo>
                      <a:pt x="6119" y="45892"/>
                      <a:pt x="3060" y="45892"/>
                      <a:pt x="3060" y="45892"/>
                    </a:cubicBezTo>
                    <a:cubicBezTo>
                      <a:pt x="0" y="42833"/>
                      <a:pt x="0" y="39773"/>
                      <a:pt x="0" y="36714"/>
                    </a:cubicBezTo>
                    <a:lnTo>
                      <a:pt x="24476" y="3060"/>
                    </a:lnTo>
                    <a:cubicBezTo>
                      <a:pt x="27535" y="0"/>
                      <a:pt x="30595" y="0"/>
                      <a:pt x="33655" y="0"/>
                    </a:cubicBezTo>
                    <a:cubicBezTo>
                      <a:pt x="36714" y="3060"/>
                      <a:pt x="36714" y="6119"/>
                      <a:pt x="36714" y="9179"/>
                    </a:cubicBezTo>
                    <a:lnTo>
                      <a:pt x="12238" y="42833"/>
                    </a:lnTo>
                    <a:cubicBezTo>
                      <a:pt x="9179" y="42833"/>
                      <a:pt x="9179" y="45892"/>
                      <a:pt x="6119" y="4589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图形 892">
              <a:extLst>
                <a:ext uri="{FF2B5EF4-FFF2-40B4-BE49-F238E27FC236}">
                  <a16:creationId xmlns:a16="http://schemas.microsoft.com/office/drawing/2014/main" id="{E0CF93E8-EA47-4635-A0C3-532AAF870CA7}"/>
                </a:ext>
              </a:extLst>
            </p:cNvPr>
            <p:cNvGrpSpPr/>
            <p:nvPr/>
          </p:nvGrpSpPr>
          <p:grpSpPr>
            <a:xfrm>
              <a:off x="15092797" y="6297297"/>
              <a:ext cx="557598" cy="381989"/>
              <a:chOff x="15092797" y="6297297"/>
              <a:chExt cx="557598" cy="381989"/>
            </a:xfrm>
          </p:grpSpPr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D7D1A3E3-DA15-421D-A3C7-016B68DED0CE}"/>
                  </a:ext>
                </a:extLst>
              </p:cNvPr>
              <p:cNvSpPr/>
              <p:nvPr/>
            </p:nvSpPr>
            <p:spPr>
              <a:xfrm>
                <a:off x="15092797" y="6297297"/>
                <a:ext cx="211105" cy="250878"/>
              </a:xfrm>
              <a:custGeom>
                <a:avLst/>
                <a:gdLst>
                  <a:gd name="connsiteX0" fmla="*/ 30595 w 211105"/>
                  <a:gd name="connsiteY0" fmla="*/ 208045 h 250878"/>
                  <a:gd name="connsiteX1" fmla="*/ 0 w 211105"/>
                  <a:gd name="connsiteY1" fmla="*/ 3060 h 250878"/>
                  <a:gd name="connsiteX2" fmla="*/ 180511 w 211105"/>
                  <a:gd name="connsiteY2" fmla="*/ 0 h 250878"/>
                  <a:gd name="connsiteX3" fmla="*/ 211106 w 211105"/>
                  <a:gd name="connsiteY3" fmla="*/ 217224 h 250878"/>
                  <a:gd name="connsiteX4" fmla="*/ 42834 w 211105"/>
                  <a:gd name="connsiteY4" fmla="*/ 250878 h 250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105" h="250878">
                    <a:moveTo>
                      <a:pt x="30595" y="208045"/>
                    </a:moveTo>
                    <a:lnTo>
                      <a:pt x="0" y="3060"/>
                    </a:lnTo>
                    <a:lnTo>
                      <a:pt x="180511" y="0"/>
                    </a:lnTo>
                    <a:lnTo>
                      <a:pt x="211106" y="217224"/>
                    </a:lnTo>
                    <a:lnTo>
                      <a:pt x="42834" y="250878"/>
                    </a:ln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25EBD5DE-C467-43AC-8A07-657B6E121E03}"/>
                  </a:ext>
                </a:extLst>
              </p:cNvPr>
              <p:cNvSpPr/>
              <p:nvPr/>
            </p:nvSpPr>
            <p:spPr>
              <a:xfrm>
                <a:off x="15113873" y="6450272"/>
                <a:ext cx="535750" cy="180510"/>
              </a:xfrm>
              <a:custGeom>
                <a:avLst/>
                <a:gdLst>
                  <a:gd name="connsiteX0" fmla="*/ 9518 w 535750"/>
                  <a:gd name="connsiteY0" fmla="*/ 55071 h 180510"/>
                  <a:gd name="connsiteX1" fmla="*/ 199207 w 535750"/>
                  <a:gd name="connsiteY1" fmla="*/ 0 h 180510"/>
                  <a:gd name="connsiteX2" fmla="*/ 349122 w 535750"/>
                  <a:gd name="connsiteY2" fmla="*/ 88725 h 180510"/>
                  <a:gd name="connsiteX3" fmla="*/ 535751 w 535750"/>
                  <a:gd name="connsiteY3" fmla="*/ 174391 h 180510"/>
                  <a:gd name="connsiteX4" fmla="*/ 9518 w 535750"/>
                  <a:gd name="connsiteY4" fmla="*/ 180510 h 180510"/>
                  <a:gd name="connsiteX5" fmla="*/ 9518 w 535750"/>
                  <a:gd name="connsiteY5" fmla="*/ 55071 h 180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5750" h="180510">
                    <a:moveTo>
                      <a:pt x="9518" y="55071"/>
                    </a:moveTo>
                    <a:cubicBezTo>
                      <a:pt x="9518" y="55071"/>
                      <a:pt x="131898" y="73428"/>
                      <a:pt x="199207" y="0"/>
                    </a:cubicBezTo>
                    <a:cubicBezTo>
                      <a:pt x="199207" y="0"/>
                      <a:pt x="297111" y="79547"/>
                      <a:pt x="349122" y="88725"/>
                    </a:cubicBezTo>
                    <a:cubicBezTo>
                      <a:pt x="398074" y="97904"/>
                      <a:pt x="520453" y="94844"/>
                      <a:pt x="535751" y="174391"/>
                    </a:cubicBezTo>
                    <a:lnTo>
                      <a:pt x="9518" y="180510"/>
                    </a:lnTo>
                    <a:cubicBezTo>
                      <a:pt x="9518" y="177451"/>
                      <a:pt x="-11898" y="110142"/>
                      <a:pt x="9518" y="55071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555FD19F-105A-4077-A646-DCAE391B189D}"/>
                  </a:ext>
                </a:extLst>
              </p:cNvPr>
              <p:cNvSpPr/>
              <p:nvPr/>
            </p:nvSpPr>
            <p:spPr>
              <a:xfrm rot="-31428">
                <a:off x="15123928" y="6627928"/>
                <a:ext cx="526254" cy="48953"/>
              </a:xfrm>
              <a:custGeom>
                <a:avLst/>
                <a:gdLst>
                  <a:gd name="connsiteX0" fmla="*/ 0 w 526254"/>
                  <a:gd name="connsiteY0" fmla="*/ 0 h 48953"/>
                  <a:gd name="connsiteX1" fmla="*/ 526254 w 526254"/>
                  <a:gd name="connsiteY1" fmla="*/ 0 h 48953"/>
                  <a:gd name="connsiteX2" fmla="*/ 526254 w 526254"/>
                  <a:gd name="connsiteY2" fmla="*/ 48954 h 48953"/>
                  <a:gd name="connsiteX3" fmla="*/ 0 w 526254"/>
                  <a:gd name="connsiteY3" fmla="*/ 48954 h 48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6254" h="48953">
                    <a:moveTo>
                      <a:pt x="0" y="0"/>
                    </a:moveTo>
                    <a:lnTo>
                      <a:pt x="526254" y="0"/>
                    </a:lnTo>
                    <a:lnTo>
                      <a:pt x="526254" y="48954"/>
                    </a:lnTo>
                    <a:lnTo>
                      <a:pt x="0" y="48954"/>
                    </a:lnTo>
                    <a:close/>
                  </a:path>
                </a:pathLst>
              </a:custGeom>
              <a:solidFill>
                <a:srgbClr val="38333D"/>
              </a:solidFill>
              <a:ln w="305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233FF869-DBBE-4667-ACEF-AF653C3902C6}"/>
                  </a:ext>
                </a:extLst>
              </p:cNvPr>
              <p:cNvSpPr/>
              <p:nvPr/>
            </p:nvSpPr>
            <p:spPr>
              <a:xfrm>
                <a:off x="15114213" y="6441858"/>
                <a:ext cx="204221" cy="69603"/>
              </a:xfrm>
              <a:custGeom>
                <a:avLst/>
                <a:gdLst>
                  <a:gd name="connsiteX0" fmla="*/ 39773 w 204221"/>
                  <a:gd name="connsiteY0" fmla="*/ 69603 h 69603"/>
                  <a:gd name="connsiteX1" fmla="*/ 6119 w 204221"/>
                  <a:gd name="connsiteY1" fmla="*/ 66544 h 69603"/>
                  <a:gd name="connsiteX2" fmla="*/ 0 w 204221"/>
                  <a:gd name="connsiteY2" fmla="*/ 60425 h 69603"/>
                  <a:gd name="connsiteX3" fmla="*/ 6119 w 204221"/>
                  <a:gd name="connsiteY3" fmla="*/ 54306 h 69603"/>
                  <a:gd name="connsiteX4" fmla="*/ 192748 w 204221"/>
                  <a:gd name="connsiteY4" fmla="*/ 2295 h 69603"/>
                  <a:gd name="connsiteX5" fmla="*/ 201927 w 204221"/>
                  <a:gd name="connsiteY5" fmla="*/ 2295 h 69603"/>
                  <a:gd name="connsiteX6" fmla="*/ 201927 w 204221"/>
                  <a:gd name="connsiteY6" fmla="*/ 11473 h 69603"/>
                  <a:gd name="connsiteX7" fmla="*/ 39773 w 204221"/>
                  <a:gd name="connsiteY7" fmla="*/ 69603 h 69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4221" h="69603">
                    <a:moveTo>
                      <a:pt x="39773" y="69603"/>
                    </a:moveTo>
                    <a:cubicBezTo>
                      <a:pt x="21417" y="69603"/>
                      <a:pt x="9178" y="66544"/>
                      <a:pt x="6119" y="66544"/>
                    </a:cubicBezTo>
                    <a:cubicBezTo>
                      <a:pt x="3060" y="66544"/>
                      <a:pt x="0" y="63485"/>
                      <a:pt x="0" y="60425"/>
                    </a:cubicBezTo>
                    <a:cubicBezTo>
                      <a:pt x="0" y="57366"/>
                      <a:pt x="3060" y="54306"/>
                      <a:pt x="6119" y="54306"/>
                    </a:cubicBezTo>
                    <a:cubicBezTo>
                      <a:pt x="6119" y="54306"/>
                      <a:pt x="116260" y="69603"/>
                      <a:pt x="192748" y="2295"/>
                    </a:cubicBezTo>
                    <a:cubicBezTo>
                      <a:pt x="195807" y="-765"/>
                      <a:pt x="198867" y="-765"/>
                      <a:pt x="201927" y="2295"/>
                    </a:cubicBezTo>
                    <a:cubicBezTo>
                      <a:pt x="204986" y="5354"/>
                      <a:pt x="204986" y="8414"/>
                      <a:pt x="201927" y="11473"/>
                    </a:cubicBezTo>
                    <a:cubicBezTo>
                      <a:pt x="149915" y="63485"/>
                      <a:pt x="79547" y="69603"/>
                      <a:pt x="39773" y="6960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3C40A023-D411-4387-8BA3-1AC7C9081CDD}"/>
                  </a:ext>
                </a:extLst>
              </p:cNvPr>
              <p:cNvSpPr/>
              <p:nvPr/>
            </p:nvSpPr>
            <p:spPr>
              <a:xfrm>
                <a:off x="15319964" y="6469394"/>
                <a:ext cx="41303" cy="45127"/>
              </a:xfrm>
              <a:custGeom>
                <a:avLst/>
                <a:gdLst>
                  <a:gd name="connsiteX0" fmla="*/ 5354 w 41303"/>
                  <a:gd name="connsiteY0" fmla="*/ 45128 h 45127"/>
                  <a:gd name="connsiteX1" fmla="*/ 2294 w 41303"/>
                  <a:gd name="connsiteY1" fmla="*/ 42068 h 45127"/>
                  <a:gd name="connsiteX2" fmla="*/ 2294 w 41303"/>
                  <a:gd name="connsiteY2" fmla="*/ 32889 h 45127"/>
                  <a:gd name="connsiteX3" fmla="*/ 29830 w 41303"/>
                  <a:gd name="connsiteY3" fmla="*/ 2294 h 45127"/>
                  <a:gd name="connsiteX4" fmla="*/ 39008 w 41303"/>
                  <a:gd name="connsiteY4" fmla="*/ 2294 h 45127"/>
                  <a:gd name="connsiteX5" fmla="*/ 39008 w 41303"/>
                  <a:gd name="connsiteY5" fmla="*/ 11473 h 45127"/>
                  <a:gd name="connsiteX6" fmla="*/ 11473 w 41303"/>
                  <a:gd name="connsiteY6" fmla="*/ 42068 h 45127"/>
                  <a:gd name="connsiteX7" fmla="*/ 5354 w 41303"/>
                  <a:gd name="connsiteY7" fmla="*/ 45128 h 45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303" h="45127">
                    <a:moveTo>
                      <a:pt x="5354" y="45128"/>
                    </a:moveTo>
                    <a:cubicBezTo>
                      <a:pt x="2294" y="45128"/>
                      <a:pt x="2294" y="45128"/>
                      <a:pt x="2294" y="42068"/>
                    </a:cubicBezTo>
                    <a:cubicBezTo>
                      <a:pt x="-765" y="39009"/>
                      <a:pt x="-765" y="35949"/>
                      <a:pt x="2294" y="32889"/>
                    </a:cubicBezTo>
                    <a:lnTo>
                      <a:pt x="29830" y="2294"/>
                    </a:lnTo>
                    <a:cubicBezTo>
                      <a:pt x="32889" y="-765"/>
                      <a:pt x="35949" y="-765"/>
                      <a:pt x="39008" y="2294"/>
                    </a:cubicBezTo>
                    <a:cubicBezTo>
                      <a:pt x="42068" y="5354"/>
                      <a:pt x="42068" y="8414"/>
                      <a:pt x="39008" y="11473"/>
                    </a:cubicBezTo>
                    <a:lnTo>
                      <a:pt x="11473" y="42068"/>
                    </a:lnTo>
                    <a:cubicBezTo>
                      <a:pt x="8413" y="45128"/>
                      <a:pt x="5354" y="45128"/>
                      <a:pt x="5354" y="451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1685D189-9EC0-4039-9946-B9FFAC5BA81F}"/>
                  </a:ext>
                </a:extLst>
              </p:cNvPr>
              <p:cNvSpPr/>
              <p:nvPr/>
            </p:nvSpPr>
            <p:spPr>
              <a:xfrm>
                <a:off x="15359738" y="6499988"/>
                <a:ext cx="41302" cy="45127"/>
              </a:xfrm>
              <a:custGeom>
                <a:avLst/>
                <a:gdLst>
                  <a:gd name="connsiteX0" fmla="*/ 5354 w 41302"/>
                  <a:gd name="connsiteY0" fmla="*/ 45128 h 45127"/>
                  <a:gd name="connsiteX1" fmla="*/ 2295 w 41302"/>
                  <a:gd name="connsiteY1" fmla="*/ 42068 h 45127"/>
                  <a:gd name="connsiteX2" fmla="*/ 2295 w 41302"/>
                  <a:gd name="connsiteY2" fmla="*/ 32889 h 45127"/>
                  <a:gd name="connsiteX3" fmla="*/ 29830 w 41302"/>
                  <a:gd name="connsiteY3" fmla="*/ 2294 h 45127"/>
                  <a:gd name="connsiteX4" fmla="*/ 39008 w 41302"/>
                  <a:gd name="connsiteY4" fmla="*/ 2294 h 45127"/>
                  <a:gd name="connsiteX5" fmla="*/ 39008 w 41302"/>
                  <a:gd name="connsiteY5" fmla="*/ 11473 h 45127"/>
                  <a:gd name="connsiteX6" fmla="*/ 11473 w 41302"/>
                  <a:gd name="connsiteY6" fmla="*/ 42068 h 45127"/>
                  <a:gd name="connsiteX7" fmla="*/ 5354 w 41302"/>
                  <a:gd name="connsiteY7" fmla="*/ 45128 h 45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302" h="45127">
                    <a:moveTo>
                      <a:pt x="5354" y="45128"/>
                    </a:moveTo>
                    <a:cubicBezTo>
                      <a:pt x="2295" y="45128"/>
                      <a:pt x="2295" y="45128"/>
                      <a:pt x="2295" y="42068"/>
                    </a:cubicBezTo>
                    <a:cubicBezTo>
                      <a:pt x="-765" y="39009"/>
                      <a:pt x="-765" y="35949"/>
                      <a:pt x="2295" y="32889"/>
                    </a:cubicBezTo>
                    <a:lnTo>
                      <a:pt x="29830" y="2294"/>
                    </a:lnTo>
                    <a:cubicBezTo>
                      <a:pt x="32890" y="-765"/>
                      <a:pt x="35949" y="-765"/>
                      <a:pt x="39008" y="2294"/>
                    </a:cubicBezTo>
                    <a:cubicBezTo>
                      <a:pt x="42068" y="5354"/>
                      <a:pt x="42068" y="8414"/>
                      <a:pt x="39008" y="11473"/>
                    </a:cubicBezTo>
                    <a:lnTo>
                      <a:pt x="11473" y="42068"/>
                    </a:lnTo>
                    <a:cubicBezTo>
                      <a:pt x="11473" y="45128"/>
                      <a:pt x="8413" y="45128"/>
                      <a:pt x="5354" y="451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5B1397B4-AC5C-405C-99C6-6206B420AF3A}"/>
                </a:ext>
              </a:extLst>
            </p:cNvPr>
            <p:cNvSpPr/>
            <p:nvPr/>
          </p:nvSpPr>
          <p:spPr>
            <a:xfrm>
              <a:off x="14014694" y="4755314"/>
              <a:ext cx="1322861" cy="1640308"/>
            </a:xfrm>
            <a:custGeom>
              <a:avLst/>
              <a:gdLst>
                <a:gd name="connsiteX0" fmla="*/ 19520 w 1322861"/>
                <a:gd name="connsiteY0" fmla="*/ 0 h 1640308"/>
                <a:gd name="connsiteX1" fmla="*/ 22578 w 1322861"/>
                <a:gd name="connsiteY1" fmla="*/ 342663 h 1640308"/>
                <a:gd name="connsiteX2" fmla="*/ 802748 w 1322861"/>
                <a:gd name="connsiteY2" fmla="*/ 685326 h 1640308"/>
                <a:gd name="connsiteX3" fmla="*/ 1035270 w 1322861"/>
                <a:gd name="connsiteY3" fmla="*/ 1636827 h 1640308"/>
                <a:gd name="connsiteX4" fmla="*/ 1322862 w 1322861"/>
                <a:gd name="connsiteY4" fmla="*/ 1627649 h 1640308"/>
                <a:gd name="connsiteX5" fmla="*/ 1221899 w 1322861"/>
                <a:gd name="connsiteY5" fmla="*/ 593541 h 1640308"/>
                <a:gd name="connsiteX6" fmla="*/ 521276 w 1322861"/>
                <a:gd name="connsiteY6" fmla="*/ 64249 h 1640308"/>
                <a:gd name="connsiteX7" fmla="*/ 19520 w 1322861"/>
                <a:gd name="connsiteY7" fmla="*/ 0 h 1640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2861" h="1640308">
                  <a:moveTo>
                    <a:pt x="19520" y="0"/>
                  </a:moveTo>
                  <a:cubicBezTo>
                    <a:pt x="19520" y="0"/>
                    <a:pt x="-26373" y="229462"/>
                    <a:pt x="22578" y="342663"/>
                  </a:cubicBezTo>
                  <a:cubicBezTo>
                    <a:pt x="68471" y="455864"/>
                    <a:pt x="775213" y="630255"/>
                    <a:pt x="802748" y="685326"/>
                  </a:cubicBezTo>
                  <a:cubicBezTo>
                    <a:pt x="830285" y="740397"/>
                    <a:pt x="1035270" y="1636827"/>
                    <a:pt x="1035270" y="1636827"/>
                  </a:cubicBezTo>
                  <a:cubicBezTo>
                    <a:pt x="1035270" y="1636827"/>
                    <a:pt x="1249434" y="1649065"/>
                    <a:pt x="1322862" y="1627649"/>
                  </a:cubicBezTo>
                  <a:cubicBezTo>
                    <a:pt x="1322862" y="1627649"/>
                    <a:pt x="1249434" y="737337"/>
                    <a:pt x="1221899" y="593541"/>
                  </a:cubicBezTo>
                  <a:cubicBezTo>
                    <a:pt x="1194364" y="449745"/>
                    <a:pt x="585525" y="79547"/>
                    <a:pt x="521276" y="64249"/>
                  </a:cubicBezTo>
                  <a:cubicBezTo>
                    <a:pt x="457026" y="48952"/>
                    <a:pt x="19520" y="0"/>
                    <a:pt x="19520" y="0"/>
                  </a:cubicBezTo>
                  <a:close/>
                </a:path>
              </a:pathLst>
            </a:custGeom>
            <a:solidFill>
              <a:srgbClr val="F1DDBA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2F996377-CDC1-48FE-8220-3AFC57C5AD06}"/>
                </a:ext>
              </a:extLst>
            </p:cNvPr>
            <p:cNvSpPr/>
            <p:nvPr/>
          </p:nvSpPr>
          <p:spPr>
            <a:xfrm>
              <a:off x="14407471" y="4788251"/>
              <a:ext cx="1517507" cy="1570235"/>
            </a:xfrm>
            <a:custGeom>
              <a:avLst/>
              <a:gdLst>
                <a:gd name="connsiteX0" fmla="*/ 0 w 1517507"/>
                <a:gd name="connsiteY0" fmla="*/ 12956 h 1570235"/>
                <a:gd name="connsiteX1" fmla="*/ 152975 w 1517507"/>
                <a:gd name="connsiteY1" fmla="*/ 309726 h 1570235"/>
                <a:gd name="connsiteX2" fmla="*/ 933145 w 1517507"/>
                <a:gd name="connsiteY2" fmla="*/ 530009 h 1570235"/>
                <a:gd name="connsiteX3" fmla="*/ 1193201 w 1517507"/>
                <a:gd name="connsiteY3" fmla="*/ 1570236 h 1570235"/>
                <a:gd name="connsiteX4" fmla="*/ 1517507 w 1517507"/>
                <a:gd name="connsiteY4" fmla="*/ 1444797 h 1570235"/>
                <a:gd name="connsiteX5" fmla="*/ 1223796 w 1517507"/>
                <a:gd name="connsiteY5" fmla="*/ 276072 h 1570235"/>
                <a:gd name="connsiteX6" fmla="*/ 618017 w 1517507"/>
                <a:gd name="connsiteY6" fmla="*/ 3777 h 1570235"/>
                <a:gd name="connsiteX7" fmla="*/ 0 w 1517507"/>
                <a:gd name="connsiteY7" fmla="*/ 12956 h 1570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7507" h="1570235">
                  <a:moveTo>
                    <a:pt x="0" y="12956"/>
                  </a:moveTo>
                  <a:cubicBezTo>
                    <a:pt x="0" y="12956"/>
                    <a:pt x="107082" y="196525"/>
                    <a:pt x="152975" y="309726"/>
                  </a:cubicBezTo>
                  <a:cubicBezTo>
                    <a:pt x="198867" y="422927"/>
                    <a:pt x="905609" y="474939"/>
                    <a:pt x="933145" y="530009"/>
                  </a:cubicBezTo>
                  <a:cubicBezTo>
                    <a:pt x="960680" y="585080"/>
                    <a:pt x="1193201" y="1570236"/>
                    <a:pt x="1193201" y="1570236"/>
                  </a:cubicBezTo>
                  <a:cubicBezTo>
                    <a:pt x="1193201" y="1570236"/>
                    <a:pt x="1434901" y="1527403"/>
                    <a:pt x="1517507" y="1444797"/>
                  </a:cubicBezTo>
                  <a:cubicBezTo>
                    <a:pt x="1517507" y="1444797"/>
                    <a:pt x="1327819" y="487177"/>
                    <a:pt x="1223796" y="276072"/>
                  </a:cubicBezTo>
                  <a:cubicBezTo>
                    <a:pt x="1159547" y="144514"/>
                    <a:pt x="682267" y="19075"/>
                    <a:pt x="618017" y="3777"/>
                  </a:cubicBezTo>
                  <a:cubicBezTo>
                    <a:pt x="550708" y="-8461"/>
                    <a:pt x="0" y="12956"/>
                    <a:pt x="0" y="12956"/>
                  </a:cubicBezTo>
                  <a:close/>
                </a:path>
              </a:pathLst>
            </a:custGeom>
            <a:solidFill>
              <a:srgbClr val="F1DDBA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1BB95608-42B4-4469-A835-2B072F6917FD}"/>
                </a:ext>
              </a:extLst>
            </p:cNvPr>
            <p:cNvSpPr/>
            <p:nvPr/>
          </p:nvSpPr>
          <p:spPr>
            <a:xfrm>
              <a:off x="14808264" y="4935824"/>
              <a:ext cx="446685" cy="471161"/>
            </a:xfrm>
            <a:custGeom>
              <a:avLst/>
              <a:gdLst>
                <a:gd name="connsiteX0" fmla="*/ 440566 w 446685"/>
                <a:gd name="connsiteY0" fmla="*/ 471162 h 471161"/>
                <a:gd name="connsiteX1" fmla="*/ 434448 w 446685"/>
                <a:gd name="connsiteY1" fmla="*/ 465043 h 471161"/>
                <a:gd name="connsiteX2" fmla="*/ 379377 w 446685"/>
                <a:gd name="connsiteY2" fmla="*/ 336544 h 471161"/>
                <a:gd name="connsiteX3" fmla="*/ 3060 w 446685"/>
                <a:gd name="connsiteY3" fmla="*/ 12238 h 471161"/>
                <a:gd name="connsiteX4" fmla="*/ 0 w 446685"/>
                <a:gd name="connsiteY4" fmla="*/ 3060 h 471161"/>
                <a:gd name="connsiteX5" fmla="*/ 9178 w 446685"/>
                <a:gd name="connsiteY5" fmla="*/ 0 h 471161"/>
                <a:gd name="connsiteX6" fmla="*/ 388556 w 446685"/>
                <a:gd name="connsiteY6" fmla="*/ 327366 h 471161"/>
                <a:gd name="connsiteX7" fmla="*/ 446686 w 446685"/>
                <a:gd name="connsiteY7" fmla="*/ 458924 h 471161"/>
                <a:gd name="connsiteX8" fmla="*/ 440566 w 446685"/>
                <a:gd name="connsiteY8" fmla="*/ 471162 h 471161"/>
                <a:gd name="connsiteX9" fmla="*/ 440566 w 446685"/>
                <a:gd name="connsiteY9" fmla="*/ 471162 h 47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6685" h="471161">
                  <a:moveTo>
                    <a:pt x="440566" y="471162"/>
                  </a:moveTo>
                  <a:cubicBezTo>
                    <a:pt x="437507" y="471162"/>
                    <a:pt x="434448" y="468102"/>
                    <a:pt x="434448" y="465043"/>
                  </a:cubicBezTo>
                  <a:cubicBezTo>
                    <a:pt x="425269" y="419150"/>
                    <a:pt x="403853" y="367139"/>
                    <a:pt x="379377" y="336544"/>
                  </a:cubicBezTo>
                  <a:cubicBezTo>
                    <a:pt x="376317" y="333484"/>
                    <a:pt x="208045" y="128499"/>
                    <a:pt x="3060" y="12238"/>
                  </a:cubicBezTo>
                  <a:cubicBezTo>
                    <a:pt x="0" y="9179"/>
                    <a:pt x="0" y="6119"/>
                    <a:pt x="0" y="3060"/>
                  </a:cubicBezTo>
                  <a:cubicBezTo>
                    <a:pt x="3060" y="0"/>
                    <a:pt x="6119" y="0"/>
                    <a:pt x="9178" y="0"/>
                  </a:cubicBezTo>
                  <a:cubicBezTo>
                    <a:pt x="217224" y="116261"/>
                    <a:pt x="388556" y="324306"/>
                    <a:pt x="388556" y="327366"/>
                  </a:cubicBezTo>
                  <a:cubicBezTo>
                    <a:pt x="413031" y="357960"/>
                    <a:pt x="437507" y="413031"/>
                    <a:pt x="446686" y="458924"/>
                  </a:cubicBezTo>
                  <a:cubicBezTo>
                    <a:pt x="446686" y="468102"/>
                    <a:pt x="443626" y="471162"/>
                    <a:pt x="440566" y="471162"/>
                  </a:cubicBezTo>
                  <a:cubicBezTo>
                    <a:pt x="440566" y="471162"/>
                    <a:pt x="440566" y="471162"/>
                    <a:pt x="440566" y="471162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4CB574AC-24F8-46A4-B52F-6F6002B8ED34}"/>
                </a:ext>
              </a:extLst>
            </p:cNvPr>
            <p:cNvSpPr/>
            <p:nvPr/>
          </p:nvSpPr>
          <p:spPr>
            <a:xfrm>
              <a:off x="14404411" y="3250045"/>
              <a:ext cx="250878" cy="259149"/>
            </a:xfrm>
            <a:custGeom>
              <a:avLst/>
              <a:gdLst>
                <a:gd name="connsiteX0" fmla="*/ 250879 w 250878"/>
                <a:gd name="connsiteY0" fmla="*/ 39773 h 259149"/>
                <a:gd name="connsiteX1" fmla="*/ 244759 w 250878"/>
                <a:gd name="connsiteY1" fmla="*/ 214164 h 259149"/>
                <a:gd name="connsiteX2" fmla="*/ 0 w 250878"/>
                <a:gd name="connsiteY2" fmla="*/ 204986 h 259149"/>
                <a:gd name="connsiteX3" fmla="*/ 15297 w 250878"/>
                <a:gd name="connsiteY3" fmla="*/ 0 h 259149"/>
                <a:gd name="connsiteX4" fmla="*/ 250879 w 250878"/>
                <a:gd name="connsiteY4" fmla="*/ 39773 h 25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878" h="259149">
                  <a:moveTo>
                    <a:pt x="250879" y="39773"/>
                  </a:moveTo>
                  <a:cubicBezTo>
                    <a:pt x="250879" y="39773"/>
                    <a:pt x="244759" y="140737"/>
                    <a:pt x="244759" y="214164"/>
                  </a:cubicBezTo>
                  <a:cubicBezTo>
                    <a:pt x="244759" y="214164"/>
                    <a:pt x="149916" y="321246"/>
                    <a:pt x="0" y="204986"/>
                  </a:cubicBezTo>
                  <a:cubicBezTo>
                    <a:pt x="0" y="143796"/>
                    <a:pt x="12239" y="64249"/>
                    <a:pt x="15297" y="0"/>
                  </a:cubicBezTo>
                  <a:cubicBezTo>
                    <a:pt x="12239" y="0"/>
                    <a:pt x="198867" y="52011"/>
                    <a:pt x="250879" y="39773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950507CA-DDDE-43A3-88CA-E7378D76E91F}"/>
                </a:ext>
              </a:extLst>
            </p:cNvPr>
            <p:cNvSpPr/>
            <p:nvPr/>
          </p:nvSpPr>
          <p:spPr>
            <a:xfrm>
              <a:off x="13963845" y="3412198"/>
              <a:ext cx="1061180" cy="1511761"/>
            </a:xfrm>
            <a:custGeom>
              <a:avLst/>
              <a:gdLst>
                <a:gd name="connsiteX0" fmla="*/ 422210 w 1061180"/>
                <a:gd name="connsiteY0" fmla="*/ 0 h 1511761"/>
                <a:gd name="connsiteX1" fmla="*/ 712862 w 1061180"/>
                <a:gd name="connsiteY1" fmla="*/ 0 h 1511761"/>
                <a:gd name="connsiteX2" fmla="*/ 1012691 w 1061180"/>
                <a:gd name="connsiteY2" fmla="*/ 131558 h 1511761"/>
                <a:gd name="connsiteX3" fmla="*/ 1058584 w 1061180"/>
                <a:gd name="connsiteY3" fmla="*/ 1382889 h 1511761"/>
                <a:gd name="connsiteX4" fmla="*/ 0 w 1061180"/>
                <a:gd name="connsiteY4" fmla="*/ 1480793 h 1511761"/>
                <a:gd name="connsiteX5" fmla="*/ 137677 w 1061180"/>
                <a:gd name="connsiteY5" fmla="*/ 107082 h 1511761"/>
                <a:gd name="connsiteX6" fmla="*/ 422210 w 1061180"/>
                <a:gd name="connsiteY6" fmla="*/ 0 h 1511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1180" h="1511761">
                  <a:moveTo>
                    <a:pt x="422210" y="0"/>
                  </a:moveTo>
                  <a:cubicBezTo>
                    <a:pt x="422210" y="0"/>
                    <a:pt x="596601" y="55071"/>
                    <a:pt x="712862" y="0"/>
                  </a:cubicBezTo>
                  <a:cubicBezTo>
                    <a:pt x="712862" y="0"/>
                    <a:pt x="988216" y="97904"/>
                    <a:pt x="1012691" y="131558"/>
                  </a:cubicBezTo>
                  <a:cubicBezTo>
                    <a:pt x="1037167" y="162153"/>
                    <a:pt x="1070822" y="1315581"/>
                    <a:pt x="1058584" y="1382889"/>
                  </a:cubicBezTo>
                  <a:cubicBezTo>
                    <a:pt x="1058584" y="1382889"/>
                    <a:pt x="581303" y="1587875"/>
                    <a:pt x="0" y="1480793"/>
                  </a:cubicBezTo>
                  <a:cubicBezTo>
                    <a:pt x="0" y="1122833"/>
                    <a:pt x="97904" y="137677"/>
                    <a:pt x="137677" y="107082"/>
                  </a:cubicBezTo>
                  <a:cubicBezTo>
                    <a:pt x="183569" y="70368"/>
                    <a:pt x="422210" y="0"/>
                    <a:pt x="422210" y="0"/>
                  </a:cubicBezTo>
                  <a:close/>
                </a:path>
              </a:pathLst>
            </a:custGeom>
            <a:solidFill>
              <a:srgbClr val="7F95BC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2DB822F2-8663-4F5B-AA81-C7C2193035EA}"/>
                </a:ext>
              </a:extLst>
            </p:cNvPr>
            <p:cNvSpPr/>
            <p:nvPr/>
          </p:nvSpPr>
          <p:spPr>
            <a:xfrm>
              <a:off x="14386055" y="3414959"/>
              <a:ext cx="180509" cy="119618"/>
            </a:xfrm>
            <a:custGeom>
              <a:avLst/>
              <a:gdLst>
                <a:gd name="connsiteX0" fmla="*/ 180510 w 180509"/>
                <a:gd name="connsiteY0" fmla="*/ 21715 h 119618"/>
                <a:gd name="connsiteX1" fmla="*/ 152975 w 180509"/>
                <a:gd name="connsiteY1" fmla="*/ 119618 h 119618"/>
                <a:gd name="connsiteX2" fmla="*/ 0 w 180509"/>
                <a:gd name="connsiteY2" fmla="*/ 298 h 119618"/>
                <a:gd name="connsiteX3" fmla="*/ 180510 w 180509"/>
                <a:gd name="connsiteY3" fmla="*/ 21715 h 11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509" h="119618">
                  <a:moveTo>
                    <a:pt x="180510" y="21715"/>
                  </a:moveTo>
                  <a:lnTo>
                    <a:pt x="152975" y="119618"/>
                  </a:lnTo>
                  <a:lnTo>
                    <a:pt x="0" y="298"/>
                  </a:lnTo>
                  <a:cubicBezTo>
                    <a:pt x="0" y="-2761"/>
                    <a:pt x="137677" y="18655"/>
                    <a:pt x="180510" y="21715"/>
                  </a:cubicBezTo>
                  <a:close/>
                </a:path>
              </a:pathLst>
            </a:custGeom>
            <a:solidFill>
              <a:srgbClr val="FFFFFF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49173113-E130-4017-B1F3-9ED4BDBB45A6}"/>
                </a:ext>
              </a:extLst>
            </p:cNvPr>
            <p:cNvSpPr/>
            <p:nvPr/>
          </p:nvSpPr>
          <p:spPr>
            <a:xfrm>
              <a:off x="14566565" y="3414993"/>
              <a:ext cx="110141" cy="116525"/>
            </a:xfrm>
            <a:custGeom>
              <a:avLst/>
              <a:gdLst>
                <a:gd name="connsiteX0" fmla="*/ 0 w 110141"/>
                <a:gd name="connsiteY0" fmla="*/ 21681 h 116525"/>
                <a:gd name="connsiteX1" fmla="*/ 36713 w 110141"/>
                <a:gd name="connsiteY1" fmla="*/ 116525 h 116525"/>
                <a:gd name="connsiteX2" fmla="*/ 110142 w 110141"/>
                <a:gd name="connsiteY2" fmla="*/ 265 h 116525"/>
                <a:gd name="connsiteX3" fmla="*/ 0 w 110141"/>
                <a:gd name="connsiteY3" fmla="*/ 21681 h 116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41" h="116525">
                  <a:moveTo>
                    <a:pt x="0" y="21681"/>
                  </a:moveTo>
                  <a:lnTo>
                    <a:pt x="36713" y="116525"/>
                  </a:lnTo>
                  <a:lnTo>
                    <a:pt x="110142" y="265"/>
                  </a:lnTo>
                  <a:cubicBezTo>
                    <a:pt x="110142" y="-2795"/>
                    <a:pt x="39773" y="21681"/>
                    <a:pt x="0" y="21681"/>
                  </a:cubicBezTo>
                  <a:close/>
                </a:path>
              </a:pathLst>
            </a:custGeom>
            <a:solidFill>
              <a:srgbClr val="FFFFFF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C717FB94-F5DA-47B5-B74C-851F40D582E6}"/>
                </a:ext>
              </a:extLst>
            </p:cNvPr>
            <p:cNvSpPr/>
            <p:nvPr/>
          </p:nvSpPr>
          <p:spPr>
            <a:xfrm>
              <a:off x="14818064" y="3502413"/>
              <a:ext cx="452183" cy="613467"/>
            </a:xfrm>
            <a:custGeom>
              <a:avLst/>
              <a:gdLst>
                <a:gd name="connsiteX0" fmla="*/ 63628 w 452183"/>
                <a:gd name="connsiteY0" fmla="*/ 613468 h 613467"/>
                <a:gd name="connsiteX1" fmla="*/ 51390 w 452183"/>
                <a:gd name="connsiteY1" fmla="*/ 10748 h 613467"/>
                <a:gd name="connsiteX2" fmla="*/ 452183 w 452183"/>
                <a:gd name="connsiteY2" fmla="*/ 445196 h 613467"/>
                <a:gd name="connsiteX3" fmla="*/ 63628 w 452183"/>
                <a:gd name="connsiteY3" fmla="*/ 613468 h 61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2183" h="613467">
                  <a:moveTo>
                    <a:pt x="63628" y="613468"/>
                  </a:moveTo>
                  <a:cubicBezTo>
                    <a:pt x="63628" y="613468"/>
                    <a:pt x="-70990" y="90295"/>
                    <a:pt x="51390" y="10748"/>
                  </a:cubicBezTo>
                  <a:cubicBezTo>
                    <a:pt x="195186" y="-81036"/>
                    <a:pt x="452183" y="445196"/>
                    <a:pt x="452183" y="445196"/>
                  </a:cubicBezTo>
                  <a:cubicBezTo>
                    <a:pt x="452183" y="445196"/>
                    <a:pt x="277792" y="595111"/>
                    <a:pt x="63628" y="613468"/>
                  </a:cubicBezTo>
                  <a:close/>
                </a:path>
              </a:pathLst>
            </a:custGeom>
            <a:solidFill>
              <a:srgbClr val="7F95BC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45C93F7D-14EC-4012-8712-F9670779A6FE}"/>
                </a:ext>
              </a:extLst>
            </p:cNvPr>
            <p:cNvSpPr/>
            <p:nvPr/>
          </p:nvSpPr>
          <p:spPr>
            <a:xfrm>
              <a:off x="14970417" y="3537637"/>
              <a:ext cx="53279" cy="553767"/>
            </a:xfrm>
            <a:custGeom>
              <a:avLst/>
              <a:gdLst>
                <a:gd name="connsiteX0" fmla="*/ 48952 w 53279"/>
                <a:gd name="connsiteY0" fmla="*/ 553768 h 553767"/>
                <a:gd name="connsiteX1" fmla="*/ 42834 w 53279"/>
                <a:gd name="connsiteY1" fmla="*/ 547649 h 553767"/>
                <a:gd name="connsiteX2" fmla="*/ 0 w 53279"/>
                <a:gd name="connsiteY2" fmla="*/ 6119 h 553767"/>
                <a:gd name="connsiteX3" fmla="*/ 3060 w 53279"/>
                <a:gd name="connsiteY3" fmla="*/ 0 h 553767"/>
                <a:gd name="connsiteX4" fmla="*/ 9179 w 53279"/>
                <a:gd name="connsiteY4" fmla="*/ 3059 h 553767"/>
                <a:gd name="connsiteX5" fmla="*/ 52012 w 53279"/>
                <a:gd name="connsiteY5" fmla="*/ 547649 h 553767"/>
                <a:gd name="connsiteX6" fmla="*/ 48952 w 53279"/>
                <a:gd name="connsiteY6" fmla="*/ 553768 h 553767"/>
                <a:gd name="connsiteX7" fmla="*/ 48952 w 53279"/>
                <a:gd name="connsiteY7" fmla="*/ 553768 h 553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279" h="553767">
                  <a:moveTo>
                    <a:pt x="48952" y="553768"/>
                  </a:moveTo>
                  <a:cubicBezTo>
                    <a:pt x="45892" y="553768"/>
                    <a:pt x="42834" y="550708"/>
                    <a:pt x="42834" y="547649"/>
                  </a:cubicBezTo>
                  <a:cubicBezTo>
                    <a:pt x="42834" y="541530"/>
                    <a:pt x="6119" y="45892"/>
                    <a:pt x="0" y="6119"/>
                  </a:cubicBezTo>
                  <a:cubicBezTo>
                    <a:pt x="0" y="3059"/>
                    <a:pt x="0" y="0"/>
                    <a:pt x="3060" y="0"/>
                  </a:cubicBezTo>
                  <a:cubicBezTo>
                    <a:pt x="6119" y="0"/>
                    <a:pt x="9179" y="0"/>
                    <a:pt x="9179" y="3059"/>
                  </a:cubicBezTo>
                  <a:cubicBezTo>
                    <a:pt x="18357" y="42833"/>
                    <a:pt x="52012" y="526232"/>
                    <a:pt x="52012" y="547649"/>
                  </a:cubicBezTo>
                  <a:cubicBezTo>
                    <a:pt x="55071" y="550708"/>
                    <a:pt x="52012" y="553768"/>
                    <a:pt x="48952" y="553768"/>
                  </a:cubicBezTo>
                  <a:cubicBezTo>
                    <a:pt x="48952" y="553768"/>
                    <a:pt x="48952" y="553768"/>
                    <a:pt x="48952" y="553768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8B6A61CB-5962-46BD-BA52-5D7ABD301B07}"/>
                </a:ext>
              </a:extLst>
            </p:cNvPr>
            <p:cNvSpPr/>
            <p:nvPr/>
          </p:nvSpPr>
          <p:spPr>
            <a:xfrm>
              <a:off x="13912056" y="3831348"/>
              <a:ext cx="691222" cy="1009631"/>
            </a:xfrm>
            <a:custGeom>
              <a:avLst/>
              <a:gdLst>
                <a:gd name="connsiteX0" fmla="*/ 317965 w 691222"/>
                <a:gd name="connsiteY0" fmla="*/ 0 h 1009631"/>
                <a:gd name="connsiteX1" fmla="*/ 278191 w 691222"/>
                <a:gd name="connsiteY1" fmla="*/ 657790 h 1009631"/>
                <a:gd name="connsiteX2" fmla="*/ 691222 w 691222"/>
                <a:gd name="connsiteY2" fmla="*/ 902550 h 1009631"/>
                <a:gd name="connsiteX3" fmla="*/ 675925 w 691222"/>
                <a:gd name="connsiteY3" fmla="*/ 1009632 h 1009631"/>
                <a:gd name="connsiteX4" fmla="*/ 42611 w 691222"/>
                <a:gd name="connsiteY4" fmla="*/ 798527 h 1009631"/>
                <a:gd name="connsiteX5" fmla="*/ 51789 w 691222"/>
                <a:gd name="connsiteY5" fmla="*/ 0 h 1009631"/>
                <a:gd name="connsiteX6" fmla="*/ 317965 w 691222"/>
                <a:gd name="connsiteY6" fmla="*/ 0 h 100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1222" h="1009631">
                  <a:moveTo>
                    <a:pt x="317965" y="0"/>
                  </a:moveTo>
                  <a:lnTo>
                    <a:pt x="278191" y="657790"/>
                  </a:lnTo>
                  <a:lnTo>
                    <a:pt x="691222" y="902550"/>
                  </a:lnTo>
                  <a:lnTo>
                    <a:pt x="675925" y="1009632"/>
                  </a:lnTo>
                  <a:cubicBezTo>
                    <a:pt x="675925" y="1009632"/>
                    <a:pt x="143574" y="881133"/>
                    <a:pt x="42611" y="798527"/>
                  </a:cubicBezTo>
                  <a:cubicBezTo>
                    <a:pt x="-58353" y="718980"/>
                    <a:pt x="51789" y="0"/>
                    <a:pt x="51789" y="0"/>
                  </a:cubicBezTo>
                  <a:lnTo>
                    <a:pt x="317965" y="0"/>
                  </a:ln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F7D34101-F45B-4552-9377-9C145F89D281}"/>
                </a:ext>
              </a:extLst>
            </p:cNvPr>
            <p:cNvSpPr/>
            <p:nvPr/>
          </p:nvSpPr>
          <p:spPr>
            <a:xfrm>
              <a:off x="13847585" y="3506621"/>
              <a:ext cx="422236" cy="588053"/>
            </a:xfrm>
            <a:custGeom>
              <a:avLst/>
              <a:gdLst>
                <a:gd name="connsiteX0" fmla="*/ 0 w 422236"/>
                <a:gd name="connsiteY0" fmla="*/ 545011 h 588053"/>
                <a:gd name="connsiteX1" fmla="*/ 256997 w 422236"/>
                <a:gd name="connsiteY1" fmla="*/ 421 h 588053"/>
                <a:gd name="connsiteX2" fmla="*/ 422209 w 422236"/>
                <a:gd name="connsiteY2" fmla="*/ 569487 h 588053"/>
                <a:gd name="connsiteX3" fmla="*/ 0 w 422236"/>
                <a:gd name="connsiteY3" fmla="*/ 545011 h 588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236" h="588053">
                  <a:moveTo>
                    <a:pt x="0" y="545011"/>
                  </a:moveTo>
                  <a:cubicBezTo>
                    <a:pt x="0" y="545011"/>
                    <a:pt x="110142" y="15719"/>
                    <a:pt x="256997" y="421"/>
                  </a:cubicBezTo>
                  <a:cubicBezTo>
                    <a:pt x="428329" y="-17935"/>
                    <a:pt x="422209" y="569487"/>
                    <a:pt x="422209" y="569487"/>
                  </a:cubicBezTo>
                  <a:cubicBezTo>
                    <a:pt x="422209" y="569487"/>
                    <a:pt x="198867" y="624558"/>
                    <a:pt x="0" y="545011"/>
                  </a:cubicBezTo>
                  <a:close/>
                </a:path>
              </a:pathLst>
            </a:custGeom>
            <a:solidFill>
              <a:srgbClr val="7F95BC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A539A37F-4A7C-4BCA-A5FB-88A658F5D7CA}"/>
                </a:ext>
              </a:extLst>
            </p:cNvPr>
            <p:cNvSpPr/>
            <p:nvPr/>
          </p:nvSpPr>
          <p:spPr>
            <a:xfrm>
              <a:off x="14097195" y="3502716"/>
              <a:ext cx="178717" cy="597867"/>
            </a:xfrm>
            <a:custGeom>
              <a:avLst/>
              <a:gdLst>
                <a:gd name="connsiteX0" fmla="*/ 41041 w 178717"/>
                <a:gd name="connsiteY0" fmla="*/ 597868 h 597867"/>
                <a:gd name="connsiteX1" fmla="*/ 41041 w 178717"/>
                <a:gd name="connsiteY1" fmla="*/ 597868 h 597867"/>
                <a:gd name="connsiteX2" fmla="*/ 31862 w 178717"/>
                <a:gd name="connsiteY2" fmla="*/ 591749 h 597867"/>
                <a:gd name="connsiteX3" fmla="*/ 37981 w 178717"/>
                <a:gd name="connsiteY3" fmla="*/ 585630 h 597867"/>
                <a:gd name="connsiteX4" fmla="*/ 41041 w 178717"/>
                <a:gd name="connsiteY4" fmla="*/ 585630 h 597867"/>
                <a:gd name="connsiteX5" fmla="*/ 166480 w 178717"/>
                <a:gd name="connsiteY5" fmla="*/ 567273 h 597867"/>
                <a:gd name="connsiteX6" fmla="*/ 135885 w 178717"/>
                <a:gd name="connsiteY6" fmla="*/ 212372 h 597867"/>
                <a:gd name="connsiteX7" fmla="*/ 4327 w 178717"/>
                <a:gd name="connsiteY7" fmla="*/ 10446 h 597867"/>
                <a:gd name="connsiteX8" fmla="*/ 1267 w 178717"/>
                <a:gd name="connsiteY8" fmla="*/ 4327 h 597867"/>
                <a:gd name="connsiteX9" fmla="*/ 7386 w 178717"/>
                <a:gd name="connsiteY9" fmla="*/ 1267 h 597867"/>
                <a:gd name="connsiteX10" fmla="*/ 148123 w 178717"/>
                <a:gd name="connsiteY10" fmla="*/ 212372 h 597867"/>
                <a:gd name="connsiteX11" fmla="*/ 178718 w 178717"/>
                <a:gd name="connsiteY11" fmla="*/ 573392 h 597867"/>
                <a:gd name="connsiteX12" fmla="*/ 178718 w 178717"/>
                <a:gd name="connsiteY12" fmla="*/ 576451 h 597867"/>
                <a:gd name="connsiteX13" fmla="*/ 175658 w 178717"/>
                <a:gd name="connsiteY13" fmla="*/ 576451 h 597867"/>
                <a:gd name="connsiteX14" fmla="*/ 41041 w 178717"/>
                <a:gd name="connsiteY14" fmla="*/ 597868 h 597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8717" h="597867">
                  <a:moveTo>
                    <a:pt x="41041" y="597868"/>
                  </a:moveTo>
                  <a:cubicBezTo>
                    <a:pt x="41041" y="597868"/>
                    <a:pt x="41041" y="597868"/>
                    <a:pt x="41041" y="597868"/>
                  </a:cubicBezTo>
                  <a:cubicBezTo>
                    <a:pt x="34922" y="597868"/>
                    <a:pt x="31862" y="594808"/>
                    <a:pt x="31862" y="591749"/>
                  </a:cubicBezTo>
                  <a:cubicBezTo>
                    <a:pt x="31862" y="588689"/>
                    <a:pt x="34922" y="585630"/>
                    <a:pt x="37981" y="585630"/>
                  </a:cubicBezTo>
                  <a:cubicBezTo>
                    <a:pt x="37981" y="585630"/>
                    <a:pt x="41041" y="585630"/>
                    <a:pt x="41041" y="585630"/>
                  </a:cubicBezTo>
                  <a:cubicBezTo>
                    <a:pt x="96111" y="585630"/>
                    <a:pt x="151183" y="573392"/>
                    <a:pt x="166480" y="567273"/>
                  </a:cubicBezTo>
                  <a:cubicBezTo>
                    <a:pt x="166480" y="539738"/>
                    <a:pt x="157301" y="377584"/>
                    <a:pt x="135885" y="212372"/>
                  </a:cubicBezTo>
                  <a:cubicBezTo>
                    <a:pt x="114468" y="34922"/>
                    <a:pt x="7386" y="10446"/>
                    <a:pt x="4327" y="10446"/>
                  </a:cubicBezTo>
                  <a:cubicBezTo>
                    <a:pt x="1267" y="10446"/>
                    <a:pt x="-1792" y="7386"/>
                    <a:pt x="1267" y="4327"/>
                  </a:cubicBezTo>
                  <a:cubicBezTo>
                    <a:pt x="1267" y="1267"/>
                    <a:pt x="4327" y="-1792"/>
                    <a:pt x="7386" y="1267"/>
                  </a:cubicBezTo>
                  <a:cubicBezTo>
                    <a:pt x="13506" y="1267"/>
                    <a:pt x="123647" y="28803"/>
                    <a:pt x="148123" y="212372"/>
                  </a:cubicBezTo>
                  <a:cubicBezTo>
                    <a:pt x="172599" y="392882"/>
                    <a:pt x="178718" y="570332"/>
                    <a:pt x="178718" y="573392"/>
                  </a:cubicBezTo>
                  <a:lnTo>
                    <a:pt x="178718" y="576451"/>
                  </a:lnTo>
                  <a:lnTo>
                    <a:pt x="175658" y="576451"/>
                  </a:lnTo>
                  <a:cubicBezTo>
                    <a:pt x="175658" y="579511"/>
                    <a:pt x="108349" y="597868"/>
                    <a:pt x="41041" y="597868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9A318096-C0C9-4553-BDEB-6AE205D4BD2F}"/>
                </a:ext>
              </a:extLst>
            </p:cNvPr>
            <p:cNvSpPr/>
            <p:nvPr/>
          </p:nvSpPr>
          <p:spPr>
            <a:xfrm>
              <a:off x="14015857" y="4911348"/>
              <a:ext cx="107082" cy="140736"/>
            </a:xfrm>
            <a:custGeom>
              <a:avLst/>
              <a:gdLst>
                <a:gd name="connsiteX0" fmla="*/ 6118 w 107082"/>
                <a:gd name="connsiteY0" fmla="*/ 140737 h 140736"/>
                <a:gd name="connsiteX1" fmla="*/ 0 w 107082"/>
                <a:gd name="connsiteY1" fmla="*/ 137677 h 140736"/>
                <a:gd name="connsiteX2" fmla="*/ 3060 w 107082"/>
                <a:gd name="connsiteY2" fmla="*/ 131558 h 140736"/>
                <a:gd name="connsiteX3" fmla="*/ 76487 w 107082"/>
                <a:gd name="connsiteY3" fmla="*/ 100963 h 140736"/>
                <a:gd name="connsiteX4" fmla="*/ 94844 w 107082"/>
                <a:gd name="connsiteY4" fmla="*/ 6119 h 140736"/>
                <a:gd name="connsiteX5" fmla="*/ 100963 w 107082"/>
                <a:gd name="connsiteY5" fmla="*/ 0 h 140736"/>
                <a:gd name="connsiteX6" fmla="*/ 107082 w 107082"/>
                <a:gd name="connsiteY6" fmla="*/ 6119 h 140736"/>
                <a:gd name="connsiteX7" fmla="*/ 85665 w 107082"/>
                <a:gd name="connsiteY7" fmla="*/ 107082 h 140736"/>
                <a:gd name="connsiteX8" fmla="*/ 6118 w 107082"/>
                <a:gd name="connsiteY8" fmla="*/ 140737 h 140736"/>
                <a:gd name="connsiteX9" fmla="*/ 6118 w 107082"/>
                <a:gd name="connsiteY9" fmla="*/ 140737 h 14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7082" h="140736">
                  <a:moveTo>
                    <a:pt x="6118" y="140737"/>
                  </a:moveTo>
                  <a:cubicBezTo>
                    <a:pt x="3060" y="140737"/>
                    <a:pt x="0" y="137677"/>
                    <a:pt x="0" y="137677"/>
                  </a:cubicBezTo>
                  <a:cubicBezTo>
                    <a:pt x="0" y="134618"/>
                    <a:pt x="0" y="131558"/>
                    <a:pt x="3060" y="131558"/>
                  </a:cubicBezTo>
                  <a:cubicBezTo>
                    <a:pt x="27535" y="125439"/>
                    <a:pt x="67308" y="110142"/>
                    <a:pt x="76487" y="100963"/>
                  </a:cubicBezTo>
                  <a:cubicBezTo>
                    <a:pt x="85665" y="91785"/>
                    <a:pt x="91785" y="36714"/>
                    <a:pt x="94844" y="6119"/>
                  </a:cubicBezTo>
                  <a:cubicBezTo>
                    <a:pt x="94844" y="3059"/>
                    <a:pt x="97903" y="0"/>
                    <a:pt x="100963" y="0"/>
                  </a:cubicBezTo>
                  <a:cubicBezTo>
                    <a:pt x="104022" y="0"/>
                    <a:pt x="107082" y="3059"/>
                    <a:pt x="107082" y="6119"/>
                  </a:cubicBezTo>
                  <a:cubicBezTo>
                    <a:pt x="107082" y="15297"/>
                    <a:pt x="97903" y="91785"/>
                    <a:pt x="85665" y="107082"/>
                  </a:cubicBezTo>
                  <a:cubicBezTo>
                    <a:pt x="73428" y="119320"/>
                    <a:pt x="15297" y="137677"/>
                    <a:pt x="6118" y="140737"/>
                  </a:cubicBezTo>
                  <a:cubicBezTo>
                    <a:pt x="6118" y="140737"/>
                    <a:pt x="6118" y="140737"/>
                    <a:pt x="6118" y="140737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E1700C24-7F14-427A-8153-D15BA35CC092}"/>
                </a:ext>
              </a:extLst>
            </p:cNvPr>
            <p:cNvSpPr/>
            <p:nvPr/>
          </p:nvSpPr>
          <p:spPr>
            <a:xfrm>
              <a:off x="11117577" y="3760980"/>
              <a:ext cx="976771" cy="2521284"/>
            </a:xfrm>
            <a:custGeom>
              <a:avLst/>
              <a:gdLst>
                <a:gd name="connsiteX0" fmla="*/ 126381 w 976771"/>
                <a:gd name="connsiteY0" fmla="*/ 48952 h 2521284"/>
                <a:gd name="connsiteX1" fmla="*/ 790291 w 976771"/>
                <a:gd name="connsiteY1" fmla="*/ 0 h 2521284"/>
                <a:gd name="connsiteX2" fmla="*/ 924908 w 976771"/>
                <a:gd name="connsiteY2" fmla="*/ 324306 h 2521284"/>
                <a:gd name="connsiteX3" fmla="*/ 955503 w 976771"/>
                <a:gd name="connsiteY3" fmla="*/ 2499603 h 2521284"/>
                <a:gd name="connsiteX4" fmla="*/ 716862 w 976771"/>
                <a:gd name="connsiteY4" fmla="*/ 2521020 h 2521284"/>
                <a:gd name="connsiteX5" fmla="*/ 487401 w 976771"/>
                <a:gd name="connsiteY5" fmla="*/ 706742 h 2521284"/>
                <a:gd name="connsiteX6" fmla="*/ 374200 w 976771"/>
                <a:gd name="connsiteY6" fmla="*/ 2514901 h 2521284"/>
                <a:gd name="connsiteX7" fmla="*/ 160036 w 976771"/>
                <a:gd name="connsiteY7" fmla="*/ 2521020 h 2521284"/>
                <a:gd name="connsiteX8" fmla="*/ 4002 w 976771"/>
                <a:gd name="connsiteY8" fmla="*/ 443626 h 2521284"/>
                <a:gd name="connsiteX9" fmla="*/ 126381 w 976771"/>
                <a:gd name="connsiteY9" fmla="*/ 48952 h 252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6771" h="2521284">
                  <a:moveTo>
                    <a:pt x="126381" y="48952"/>
                  </a:moveTo>
                  <a:cubicBezTo>
                    <a:pt x="126381" y="48952"/>
                    <a:pt x="465985" y="21416"/>
                    <a:pt x="790291" y="0"/>
                  </a:cubicBezTo>
                  <a:cubicBezTo>
                    <a:pt x="827004" y="85666"/>
                    <a:pt x="900432" y="217224"/>
                    <a:pt x="924908" y="324306"/>
                  </a:cubicBezTo>
                  <a:cubicBezTo>
                    <a:pt x="1019753" y="767932"/>
                    <a:pt x="955503" y="2499603"/>
                    <a:pt x="955503" y="2499603"/>
                  </a:cubicBezTo>
                  <a:cubicBezTo>
                    <a:pt x="955503" y="2499603"/>
                    <a:pt x="793350" y="2524079"/>
                    <a:pt x="716862" y="2521020"/>
                  </a:cubicBezTo>
                  <a:lnTo>
                    <a:pt x="487401" y="706742"/>
                  </a:lnTo>
                  <a:lnTo>
                    <a:pt x="374200" y="2514901"/>
                  </a:lnTo>
                  <a:lnTo>
                    <a:pt x="160036" y="2521020"/>
                  </a:lnTo>
                  <a:cubicBezTo>
                    <a:pt x="160036" y="2521020"/>
                    <a:pt x="-29653" y="709802"/>
                    <a:pt x="4002" y="443626"/>
                  </a:cubicBezTo>
                  <a:cubicBezTo>
                    <a:pt x="34597" y="177450"/>
                    <a:pt x="126381" y="48952"/>
                    <a:pt x="126381" y="48952"/>
                  </a:cubicBezTo>
                  <a:close/>
                </a:path>
              </a:pathLst>
            </a:custGeom>
            <a:solidFill>
              <a:srgbClr val="F6EBE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123D4AFF-54CB-4C42-A35A-420FC9BD884B}"/>
                </a:ext>
              </a:extLst>
            </p:cNvPr>
            <p:cNvSpPr/>
            <p:nvPr/>
          </p:nvSpPr>
          <p:spPr>
            <a:xfrm>
              <a:off x="10491324" y="2890199"/>
              <a:ext cx="927912" cy="843205"/>
            </a:xfrm>
            <a:custGeom>
              <a:avLst/>
              <a:gdLst>
                <a:gd name="connsiteX0" fmla="*/ 905609 w 927912"/>
                <a:gd name="connsiteY0" fmla="*/ 283359 h 843205"/>
                <a:gd name="connsiteX1" fmla="*/ 829122 w 927912"/>
                <a:gd name="connsiteY1" fmla="*/ 1886 h 843205"/>
                <a:gd name="connsiteX2" fmla="*/ 578243 w 927912"/>
                <a:gd name="connsiteY2" fmla="*/ 289478 h 843205"/>
                <a:gd name="connsiteX3" fmla="*/ 428329 w 927912"/>
                <a:gd name="connsiteY3" fmla="*/ 589308 h 843205"/>
                <a:gd name="connsiteX4" fmla="*/ 6119 w 927912"/>
                <a:gd name="connsiteY4" fmla="*/ 577070 h 843205"/>
                <a:gd name="connsiteX5" fmla="*/ 0 w 927912"/>
                <a:gd name="connsiteY5" fmla="*/ 772877 h 843205"/>
                <a:gd name="connsiteX6" fmla="*/ 559887 w 927912"/>
                <a:gd name="connsiteY6" fmla="*/ 837127 h 843205"/>
                <a:gd name="connsiteX7" fmla="*/ 905609 w 927912"/>
                <a:gd name="connsiteY7" fmla="*/ 283359 h 843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7912" h="843205">
                  <a:moveTo>
                    <a:pt x="905609" y="283359"/>
                  </a:moveTo>
                  <a:cubicBezTo>
                    <a:pt x="960680" y="145682"/>
                    <a:pt x="905609" y="-19531"/>
                    <a:pt x="829122" y="1886"/>
                  </a:cubicBezTo>
                  <a:cubicBezTo>
                    <a:pt x="740397" y="26362"/>
                    <a:pt x="636375" y="121206"/>
                    <a:pt x="578243" y="289478"/>
                  </a:cubicBezTo>
                  <a:cubicBezTo>
                    <a:pt x="544590" y="387382"/>
                    <a:pt x="446686" y="592367"/>
                    <a:pt x="428329" y="589308"/>
                  </a:cubicBezTo>
                  <a:cubicBezTo>
                    <a:pt x="422210" y="589308"/>
                    <a:pt x="6119" y="577070"/>
                    <a:pt x="6119" y="577070"/>
                  </a:cubicBezTo>
                  <a:cubicBezTo>
                    <a:pt x="6119" y="638260"/>
                    <a:pt x="0" y="772877"/>
                    <a:pt x="0" y="772877"/>
                  </a:cubicBezTo>
                  <a:cubicBezTo>
                    <a:pt x="0" y="772877"/>
                    <a:pt x="480340" y="867721"/>
                    <a:pt x="559887" y="837127"/>
                  </a:cubicBezTo>
                  <a:cubicBezTo>
                    <a:pt x="654731" y="797353"/>
                    <a:pt x="835241" y="454690"/>
                    <a:pt x="905609" y="283359"/>
                  </a:cubicBezTo>
                  <a:close/>
                </a:path>
              </a:pathLst>
            </a:custGeom>
            <a:solidFill>
              <a:srgbClr val="708686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35B30BCD-23DB-44D1-B277-C26EAE3D47B9}"/>
                </a:ext>
              </a:extLst>
            </p:cNvPr>
            <p:cNvSpPr/>
            <p:nvPr/>
          </p:nvSpPr>
          <p:spPr>
            <a:xfrm>
              <a:off x="11144107" y="2829474"/>
              <a:ext cx="823462" cy="989726"/>
            </a:xfrm>
            <a:custGeom>
              <a:avLst/>
              <a:gdLst>
                <a:gd name="connsiteX0" fmla="*/ 779059 w 823462"/>
                <a:gd name="connsiteY0" fmla="*/ 393036 h 989726"/>
                <a:gd name="connsiteX1" fmla="*/ 763762 w 823462"/>
                <a:gd name="connsiteY1" fmla="*/ 68730 h 989726"/>
                <a:gd name="connsiteX2" fmla="*/ 393563 w 823462"/>
                <a:gd name="connsiteY2" fmla="*/ 4480 h 989726"/>
                <a:gd name="connsiteX3" fmla="*/ 90674 w 823462"/>
                <a:gd name="connsiteY3" fmla="*/ 105443 h 989726"/>
                <a:gd name="connsiteX4" fmla="*/ 50900 w 823462"/>
                <a:gd name="connsiteY4" fmla="*/ 656152 h 989726"/>
                <a:gd name="connsiteX5" fmla="*/ 93732 w 823462"/>
                <a:gd name="connsiteY5" fmla="*/ 983517 h 989726"/>
                <a:gd name="connsiteX6" fmla="*/ 772940 w 823462"/>
                <a:gd name="connsiteY6" fmla="*/ 968220 h 989726"/>
                <a:gd name="connsiteX7" fmla="*/ 779059 w 823462"/>
                <a:gd name="connsiteY7" fmla="*/ 393036 h 989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3462" h="989726">
                  <a:moveTo>
                    <a:pt x="779059" y="393036"/>
                  </a:moveTo>
                  <a:cubicBezTo>
                    <a:pt x="788237" y="362441"/>
                    <a:pt x="883081" y="132979"/>
                    <a:pt x="763762" y="68730"/>
                  </a:cubicBezTo>
                  <a:cubicBezTo>
                    <a:pt x="659738" y="13659"/>
                    <a:pt x="512883" y="-10817"/>
                    <a:pt x="393563" y="4480"/>
                  </a:cubicBezTo>
                  <a:cubicBezTo>
                    <a:pt x="262004" y="19778"/>
                    <a:pt x="130447" y="41194"/>
                    <a:pt x="90674" y="105443"/>
                  </a:cubicBezTo>
                  <a:cubicBezTo>
                    <a:pt x="-22528" y="292072"/>
                    <a:pt x="-22528" y="457285"/>
                    <a:pt x="50900" y="656152"/>
                  </a:cubicBezTo>
                  <a:cubicBezTo>
                    <a:pt x="72317" y="714282"/>
                    <a:pt x="78435" y="848900"/>
                    <a:pt x="93732" y="983517"/>
                  </a:cubicBezTo>
                  <a:cubicBezTo>
                    <a:pt x="93732" y="983517"/>
                    <a:pt x="378266" y="1004933"/>
                    <a:pt x="772940" y="968220"/>
                  </a:cubicBezTo>
                  <a:cubicBezTo>
                    <a:pt x="742345" y="747936"/>
                    <a:pt x="769880" y="414452"/>
                    <a:pt x="779059" y="393036"/>
                  </a:cubicBezTo>
                  <a:close/>
                </a:path>
              </a:pathLst>
            </a:custGeom>
            <a:solidFill>
              <a:srgbClr val="708686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A8C5EEDE-AABD-4F8B-ACB4-99A351A37BF4}"/>
                </a:ext>
              </a:extLst>
            </p:cNvPr>
            <p:cNvSpPr/>
            <p:nvPr/>
          </p:nvSpPr>
          <p:spPr>
            <a:xfrm>
              <a:off x="11491777" y="2518827"/>
              <a:ext cx="296769" cy="275354"/>
            </a:xfrm>
            <a:custGeom>
              <a:avLst/>
              <a:gdLst>
                <a:gd name="connsiteX0" fmla="*/ 0 w 296769"/>
                <a:gd name="connsiteY0" fmla="*/ 266176 h 275354"/>
                <a:gd name="connsiteX1" fmla="*/ 278414 w 296769"/>
                <a:gd name="connsiteY1" fmla="*/ 275354 h 275354"/>
                <a:gd name="connsiteX2" fmla="*/ 296770 w 296769"/>
                <a:gd name="connsiteY2" fmla="*/ 131558 h 275354"/>
                <a:gd name="connsiteX3" fmla="*/ 293711 w 296769"/>
                <a:gd name="connsiteY3" fmla="*/ 18357 h 275354"/>
                <a:gd name="connsiteX4" fmla="*/ 220283 w 296769"/>
                <a:gd name="connsiteY4" fmla="*/ 0 h 275354"/>
                <a:gd name="connsiteX5" fmla="*/ 58130 w 296769"/>
                <a:gd name="connsiteY5" fmla="*/ 82606 h 275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6769" h="275354">
                  <a:moveTo>
                    <a:pt x="0" y="266176"/>
                  </a:moveTo>
                  <a:lnTo>
                    <a:pt x="278414" y="275354"/>
                  </a:lnTo>
                  <a:lnTo>
                    <a:pt x="296770" y="131558"/>
                  </a:lnTo>
                  <a:lnTo>
                    <a:pt x="293711" y="18357"/>
                  </a:lnTo>
                  <a:lnTo>
                    <a:pt x="220283" y="0"/>
                  </a:lnTo>
                  <a:lnTo>
                    <a:pt x="58130" y="82606"/>
                  </a:lnTo>
                  <a:close/>
                </a:path>
              </a:pathLst>
            </a:custGeom>
            <a:solidFill>
              <a:srgbClr val="F1DDBA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9892D7A6-FEA7-4EFF-9418-B7FB16A07096}"/>
                </a:ext>
              </a:extLst>
            </p:cNvPr>
            <p:cNvSpPr/>
            <p:nvPr/>
          </p:nvSpPr>
          <p:spPr>
            <a:xfrm>
              <a:off x="11136876" y="2149474"/>
              <a:ext cx="492911" cy="664336"/>
            </a:xfrm>
            <a:custGeom>
              <a:avLst/>
              <a:gdLst>
                <a:gd name="connsiteX0" fmla="*/ 406912 w 492911"/>
                <a:gd name="connsiteY0" fmla="*/ 467257 h 664336"/>
                <a:gd name="connsiteX1" fmla="*/ 403853 w 492911"/>
                <a:gd name="connsiteY1" fmla="*/ 305104 h 664336"/>
                <a:gd name="connsiteX2" fmla="*/ 452804 w 492911"/>
                <a:gd name="connsiteY2" fmla="*/ 161308 h 664336"/>
                <a:gd name="connsiteX3" fmla="*/ 492578 w 492911"/>
                <a:gd name="connsiteY3" fmla="*/ 11393 h 664336"/>
                <a:gd name="connsiteX4" fmla="*/ 159094 w 492911"/>
                <a:gd name="connsiteY4" fmla="*/ 167427 h 664336"/>
                <a:gd name="connsiteX5" fmla="*/ 0 w 492911"/>
                <a:gd name="connsiteY5" fmla="*/ 568220 h 664336"/>
                <a:gd name="connsiteX6" fmla="*/ 422209 w 492911"/>
                <a:gd name="connsiteY6" fmla="*/ 641648 h 664336"/>
                <a:gd name="connsiteX7" fmla="*/ 406912 w 492911"/>
                <a:gd name="connsiteY7" fmla="*/ 467257 h 664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2911" h="664336">
                  <a:moveTo>
                    <a:pt x="406912" y="467257"/>
                  </a:moveTo>
                  <a:cubicBezTo>
                    <a:pt x="400793" y="415245"/>
                    <a:pt x="397734" y="360175"/>
                    <a:pt x="403853" y="305104"/>
                  </a:cubicBezTo>
                  <a:cubicBezTo>
                    <a:pt x="413031" y="253092"/>
                    <a:pt x="428329" y="207200"/>
                    <a:pt x="452804" y="161308"/>
                  </a:cubicBezTo>
                  <a:cubicBezTo>
                    <a:pt x="477281" y="112356"/>
                    <a:pt x="495638" y="11393"/>
                    <a:pt x="492578" y="11393"/>
                  </a:cubicBezTo>
                  <a:cubicBezTo>
                    <a:pt x="379377" y="-28381"/>
                    <a:pt x="189689" y="38928"/>
                    <a:pt x="159094" y="167427"/>
                  </a:cubicBezTo>
                  <a:cubicBezTo>
                    <a:pt x="143796" y="231676"/>
                    <a:pt x="125439" y="406067"/>
                    <a:pt x="0" y="568220"/>
                  </a:cubicBezTo>
                  <a:cubicBezTo>
                    <a:pt x="97904" y="650826"/>
                    <a:pt x="409971" y="693659"/>
                    <a:pt x="422209" y="641648"/>
                  </a:cubicBezTo>
                  <a:cubicBezTo>
                    <a:pt x="431388" y="595755"/>
                    <a:pt x="413031" y="510090"/>
                    <a:pt x="406912" y="467257"/>
                  </a:cubicBezTo>
                  <a:close/>
                </a:path>
              </a:pathLst>
            </a:custGeom>
            <a:solidFill>
              <a:srgbClr val="F1DDBA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92E4E8E1-B084-4D9E-8D64-00B5C25B552D}"/>
                </a:ext>
              </a:extLst>
            </p:cNvPr>
            <p:cNvSpPr/>
            <p:nvPr/>
          </p:nvSpPr>
          <p:spPr>
            <a:xfrm>
              <a:off x="11373644" y="2190569"/>
              <a:ext cx="424082" cy="570278"/>
            </a:xfrm>
            <a:custGeom>
              <a:avLst/>
              <a:gdLst>
                <a:gd name="connsiteX0" fmla="*/ 7992 w 424082"/>
                <a:gd name="connsiteY0" fmla="*/ 184462 h 570278"/>
                <a:gd name="connsiteX1" fmla="*/ 20230 w 424082"/>
                <a:gd name="connsiteY1" fmla="*/ 441459 h 570278"/>
                <a:gd name="connsiteX2" fmla="*/ 170145 w 424082"/>
                <a:gd name="connsiteY2" fmla="*/ 569958 h 570278"/>
                <a:gd name="connsiteX3" fmla="*/ 387369 w 424082"/>
                <a:gd name="connsiteY3" fmla="*/ 426162 h 570278"/>
                <a:gd name="connsiteX4" fmla="*/ 424083 w 424082"/>
                <a:gd name="connsiteY4" fmla="*/ 199760 h 570278"/>
                <a:gd name="connsiteX5" fmla="*/ 209919 w 424082"/>
                <a:gd name="connsiteY5" fmla="*/ 893 h 570278"/>
                <a:gd name="connsiteX6" fmla="*/ 7992 w 424082"/>
                <a:gd name="connsiteY6" fmla="*/ 184462 h 570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082" h="570278">
                  <a:moveTo>
                    <a:pt x="7992" y="184462"/>
                  </a:moveTo>
                  <a:cubicBezTo>
                    <a:pt x="7992" y="184462"/>
                    <a:pt x="-16484" y="374151"/>
                    <a:pt x="20230" y="441459"/>
                  </a:cubicBezTo>
                  <a:cubicBezTo>
                    <a:pt x="56944" y="508768"/>
                    <a:pt x="118134" y="566899"/>
                    <a:pt x="170145" y="569958"/>
                  </a:cubicBezTo>
                  <a:cubicBezTo>
                    <a:pt x="237454" y="576077"/>
                    <a:pt x="350655" y="493471"/>
                    <a:pt x="387369" y="426162"/>
                  </a:cubicBezTo>
                  <a:cubicBezTo>
                    <a:pt x="424083" y="358853"/>
                    <a:pt x="424083" y="251771"/>
                    <a:pt x="424083" y="199760"/>
                  </a:cubicBezTo>
                  <a:cubicBezTo>
                    <a:pt x="421023" y="104916"/>
                    <a:pt x="393488" y="25369"/>
                    <a:pt x="209919" y="893"/>
                  </a:cubicBezTo>
                  <a:cubicBezTo>
                    <a:pt x="121194" y="-11345"/>
                    <a:pt x="26349" y="104916"/>
                    <a:pt x="7992" y="184462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D61CAD77-5F96-467B-87BB-4342E841CB5C}"/>
                </a:ext>
              </a:extLst>
            </p:cNvPr>
            <p:cNvSpPr/>
            <p:nvPr/>
          </p:nvSpPr>
          <p:spPr>
            <a:xfrm>
              <a:off x="11507075" y="2459429"/>
              <a:ext cx="55070" cy="132825"/>
            </a:xfrm>
            <a:custGeom>
              <a:avLst/>
              <a:gdLst>
                <a:gd name="connsiteX0" fmla="*/ 30595 w 55070"/>
                <a:gd name="connsiteY0" fmla="*/ 132825 h 132825"/>
                <a:gd name="connsiteX1" fmla="*/ 6118 w 55070"/>
                <a:gd name="connsiteY1" fmla="*/ 126706 h 132825"/>
                <a:gd name="connsiteX2" fmla="*/ 0 w 55070"/>
                <a:gd name="connsiteY2" fmla="*/ 114468 h 132825"/>
                <a:gd name="connsiteX3" fmla="*/ 27535 w 55070"/>
                <a:gd name="connsiteY3" fmla="*/ 4327 h 132825"/>
                <a:gd name="connsiteX4" fmla="*/ 33655 w 55070"/>
                <a:gd name="connsiteY4" fmla="*/ 1267 h 132825"/>
                <a:gd name="connsiteX5" fmla="*/ 36713 w 55070"/>
                <a:gd name="connsiteY5" fmla="*/ 7386 h 132825"/>
                <a:gd name="connsiteX6" fmla="*/ 9178 w 55070"/>
                <a:gd name="connsiteY6" fmla="*/ 114468 h 132825"/>
                <a:gd name="connsiteX7" fmla="*/ 9178 w 55070"/>
                <a:gd name="connsiteY7" fmla="*/ 117528 h 132825"/>
                <a:gd name="connsiteX8" fmla="*/ 48952 w 55070"/>
                <a:gd name="connsiteY8" fmla="*/ 117528 h 132825"/>
                <a:gd name="connsiteX9" fmla="*/ 55070 w 55070"/>
                <a:gd name="connsiteY9" fmla="*/ 123647 h 132825"/>
                <a:gd name="connsiteX10" fmla="*/ 48952 w 55070"/>
                <a:gd name="connsiteY10" fmla="*/ 129766 h 132825"/>
                <a:gd name="connsiteX11" fmla="*/ 30595 w 55070"/>
                <a:gd name="connsiteY11" fmla="*/ 132825 h 132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070" h="132825">
                  <a:moveTo>
                    <a:pt x="30595" y="132825"/>
                  </a:moveTo>
                  <a:cubicBezTo>
                    <a:pt x="21416" y="132825"/>
                    <a:pt x="12238" y="132825"/>
                    <a:pt x="6118" y="126706"/>
                  </a:cubicBezTo>
                  <a:cubicBezTo>
                    <a:pt x="3060" y="123647"/>
                    <a:pt x="0" y="120587"/>
                    <a:pt x="0" y="114468"/>
                  </a:cubicBezTo>
                  <a:cubicBezTo>
                    <a:pt x="0" y="93052"/>
                    <a:pt x="27535" y="7386"/>
                    <a:pt x="27535" y="4327"/>
                  </a:cubicBezTo>
                  <a:cubicBezTo>
                    <a:pt x="27535" y="1267"/>
                    <a:pt x="30595" y="-1792"/>
                    <a:pt x="33655" y="1267"/>
                  </a:cubicBezTo>
                  <a:cubicBezTo>
                    <a:pt x="36713" y="1267"/>
                    <a:pt x="39773" y="4327"/>
                    <a:pt x="36713" y="7386"/>
                  </a:cubicBezTo>
                  <a:cubicBezTo>
                    <a:pt x="30595" y="31862"/>
                    <a:pt x="9178" y="96111"/>
                    <a:pt x="9178" y="114468"/>
                  </a:cubicBezTo>
                  <a:cubicBezTo>
                    <a:pt x="9178" y="114468"/>
                    <a:pt x="9178" y="117528"/>
                    <a:pt x="9178" y="117528"/>
                  </a:cubicBezTo>
                  <a:cubicBezTo>
                    <a:pt x="15297" y="123647"/>
                    <a:pt x="36713" y="120587"/>
                    <a:pt x="48952" y="117528"/>
                  </a:cubicBezTo>
                  <a:cubicBezTo>
                    <a:pt x="52011" y="117528"/>
                    <a:pt x="55070" y="117528"/>
                    <a:pt x="55070" y="123647"/>
                  </a:cubicBezTo>
                  <a:cubicBezTo>
                    <a:pt x="55070" y="126706"/>
                    <a:pt x="55070" y="129766"/>
                    <a:pt x="48952" y="129766"/>
                  </a:cubicBezTo>
                  <a:cubicBezTo>
                    <a:pt x="52011" y="129766"/>
                    <a:pt x="42833" y="132825"/>
                    <a:pt x="30595" y="132825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5CA7A282-10DE-43D7-9DF6-525B943AFE97}"/>
                </a:ext>
              </a:extLst>
            </p:cNvPr>
            <p:cNvSpPr/>
            <p:nvPr/>
          </p:nvSpPr>
          <p:spPr>
            <a:xfrm>
              <a:off x="11491777" y="2644266"/>
              <a:ext cx="107082" cy="55070"/>
            </a:xfrm>
            <a:custGeom>
              <a:avLst/>
              <a:gdLst>
                <a:gd name="connsiteX0" fmla="*/ 107082 w 107082"/>
                <a:gd name="connsiteY0" fmla="*/ 0 h 55070"/>
                <a:gd name="connsiteX1" fmla="*/ 0 w 107082"/>
                <a:gd name="connsiteY1" fmla="*/ 0 h 55070"/>
                <a:gd name="connsiteX2" fmla="*/ 52011 w 107082"/>
                <a:gd name="connsiteY2" fmla="*/ 55071 h 55070"/>
                <a:gd name="connsiteX3" fmla="*/ 107082 w 107082"/>
                <a:gd name="connsiteY3" fmla="*/ 0 h 5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82" h="55070">
                  <a:moveTo>
                    <a:pt x="107082" y="0"/>
                  </a:moveTo>
                  <a:cubicBezTo>
                    <a:pt x="52011" y="24476"/>
                    <a:pt x="0" y="0"/>
                    <a:pt x="0" y="0"/>
                  </a:cubicBezTo>
                  <a:cubicBezTo>
                    <a:pt x="0" y="0"/>
                    <a:pt x="15297" y="55071"/>
                    <a:pt x="52011" y="55071"/>
                  </a:cubicBezTo>
                  <a:cubicBezTo>
                    <a:pt x="91785" y="52011"/>
                    <a:pt x="107082" y="0"/>
                    <a:pt x="107082" y="0"/>
                  </a:cubicBezTo>
                  <a:close/>
                </a:path>
              </a:pathLst>
            </a:custGeom>
            <a:solidFill>
              <a:srgbClr val="FFFFFF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D573BE15-E60F-4411-B505-1A7A3F05FA4F}"/>
                </a:ext>
              </a:extLst>
            </p:cNvPr>
            <p:cNvSpPr/>
            <p:nvPr/>
          </p:nvSpPr>
          <p:spPr>
            <a:xfrm>
              <a:off x="11435927" y="2432382"/>
              <a:ext cx="41333" cy="41153"/>
            </a:xfrm>
            <a:custGeom>
              <a:avLst/>
              <a:gdLst>
                <a:gd name="connsiteX0" fmla="*/ 40553 w 41333"/>
                <a:gd name="connsiteY0" fmla="*/ 25256 h 41153"/>
                <a:gd name="connsiteX1" fmla="*/ 16077 w 41333"/>
                <a:gd name="connsiteY1" fmla="*/ 40553 h 41153"/>
                <a:gd name="connsiteX2" fmla="*/ 779 w 41333"/>
                <a:gd name="connsiteY2" fmla="*/ 16077 h 41153"/>
                <a:gd name="connsiteX3" fmla="*/ 25256 w 41333"/>
                <a:gd name="connsiteY3" fmla="*/ 780 h 41153"/>
                <a:gd name="connsiteX4" fmla="*/ 40553 w 41333"/>
                <a:gd name="connsiteY4" fmla="*/ 25256 h 4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33" h="41153">
                  <a:moveTo>
                    <a:pt x="40553" y="25256"/>
                  </a:moveTo>
                  <a:cubicBezTo>
                    <a:pt x="37494" y="34434"/>
                    <a:pt x="28316" y="43613"/>
                    <a:pt x="16077" y="40553"/>
                  </a:cubicBezTo>
                  <a:cubicBezTo>
                    <a:pt x="3839" y="37494"/>
                    <a:pt x="-2279" y="28315"/>
                    <a:pt x="779" y="16077"/>
                  </a:cubicBezTo>
                  <a:cubicBezTo>
                    <a:pt x="3839" y="3839"/>
                    <a:pt x="13018" y="-2280"/>
                    <a:pt x="25256" y="780"/>
                  </a:cubicBezTo>
                  <a:cubicBezTo>
                    <a:pt x="37494" y="3839"/>
                    <a:pt x="43613" y="13018"/>
                    <a:pt x="40553" y="2525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8E658EF2-32A8-4C2D-B58B-C563B67F6497}"/>
                </a:ext>
              </a:extLst>
            </p:cNvPr>
            <p:cNvSpPr/>
            <p:nvPr/>
          </p:nvSpPr>
          <p:spPr>
            <a:xfrm>
              <a:off x="11628675" y="2438680"/>
              <a:ext cx="40552" cy="41153"/>
            </a:xfrm>
            <a:custGeom>
              <a:avLst/>
              <a:gdLst>
                <a:gd name="connsiteX0" fmla="*/ 40553 w 40552"/>
                <a:gd name="connsiteY0" fmla="*/ 25076 h 41153"/>
                <a:gd name="connsiteX1" fmla="*/ 16077 w 40552"/>
                <a:gd name="connsiteY1" fmla="*/ 40373 h 41153"/>
                <a:gd name="connsiteX2" fmla="*/ 780 w 40552"/>
                <a:gd name="connsiteY2" fmla="*/ 15898 h 41153"/>
                <a:gd name="connsiteX3" fmla="*/ 25255 w 40552"/>
                <a:gd name="connsiteY3" fmla="*/ 600 h 41153"/>
                <a:gd name="connsiteX4" fmla="*/ 40553 w 40552"/>
                <a:gd name="connsiteY4" fmla="*/ 25076 h 4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52" h="41153">
                  <a:moveTo>
                    <a:pt x="40553" y="25076"/>
                  </a:moveTo>
                  <a:cubicBezTo>
                    <a:pt x="37493" y="37314"/>
                    <a:pt x="28315" y="43433"/>
                    <a:pt x="16077" y="40373"/>
                  </a:cubicBezTo>
                  <a:cubicBezTo>
                    <a:pt x="3839" y="37314"/>
                    <a:pt x="-2280" y="28136"/>
                    <a:pt x="780" y="15898"/>
                  </a:cubicBezTo>
                  <a:cubicBezTo>
                    <a:pt x="3839" y="6719"/>
                    <a:pt x="13017" y="-2459"/>
                    <a:pt x="25255" y="600"/>
                  </a:cubicBezTo>
                  <a:cubicBezTo>
                    <a:pt x="34434" y="3660"/>
                    <a:pt x="40553" y="12838"/>
                    <a:pt x="40553" y="2507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778D9CEB-D4AB-4A89-A866-42CD1F3DB1F7}"/>
                </a:ext>
              </a:extLst>
            </p:cNvPr>
            <p:cNvSpPr/>
            <p:nvPr/>
          </p:nvSpPr>
          <p:spPr>
            <a:xfrm>
              <a:off x="11409936" y="2382680"/>
              <a:ext cx="92287" cy="35184"/>
            </a:xfrm>
            <a:custGeom>
              <a:avLst/>
              <a:gdLst>
                <a:gd name="connsiteX0" fmla="*/ 8414 w 92287"/>
                <a:gd name="connsiteY0" fmla="*/ 35184 h 35184"/>
                <a:gd name="connsiteX1" fmla="*/ 2295 w 92287"/>
                <a:gd name="connsiteY1" fmla="*/ 32125 h 35184"/>
                <a:gd name="connsiteX2" fmla="*/ 2295 w 92287"/>
                <a:gd name="connsiteY2" fmla="*/ 19887 h 35184"/>
                <a:gd name="connsiteX3" fmla="*/ 87960 w 92287"/>
                <a:gd name="connsiteY3" fmla="*/ 7649 h 35184"/>
                <a:gd name="connsiteX4" fmla="*/ 91020 w 92287"/>
                <a:gd name="connsiteY4" fmla="*/ 16827 h 35184"/>
                <a:gd name="connsiteX5" fmla="*/ 81842 w 92287"/>
                <a:gd name="connsiteY5" fmla="*/ 19887 h 35184"/>
                <a:gd name="connsiteX6" fmla="*/ 14533 w 92287"/>
                <a:gd name="connsiteY6" fmla="*/ 26006 h 35184"/>
                <a:gd name="connsiteX7" fmla="*/ 8414 w 92287"/>
                <a:gd name="connsiteY7" fmla="*/ 35184 h 35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87" h="35184">
                  <a:moveTo>
                    <a:pt x="8414" y="35184"/>
                  </a:moveTo>
                  <a:cubicBezTo>
                    <a:pt x="5354" y="35184"/>
                    <a:pt x="5354" y="35184"/>
                    <a:pt x="2295" y="32125"/>
                  </a:cubicBezTo>
                  <a:cubicBezTo>
                    <a:pt x="-765" y="29065"/>
                    <a:pt x="-765" y="22946"/>
                    <a:pt x="2295" y="19887"/>
                  </a:cubicBezTo>
                  <a:cubicBezTo>
                    <a:pt x="29830" y="-10708"/>
                    <a:pt x="69604" y="1530"/>
                    <a:pt x="87960" y="7649"/>
                  </a:cubicBezTo>
                  <a:cubicBezTo>
                    <a:pt x="91020" y="10708"/>
                    <a:pt x="94079" y="13768"/>
                    <a:pt x="91020" y="16827"/>
                  </a:cubicBezTo>
                  <a:cubicBezTo>
                    <a:pt x="87960" y="19887"/>
                    <a:pt x="84901" y="22946"/>
                    <a:pt x="81842" y="19887"/>
                  </a:cubicBezTo>
                  <a:cubicBezTo>
                    <a:pt x="78782" y="19887"/>
                    <a:pt x="39009" y="-1530"/>
                    <a:pt x="14533" y="26006"/>
                  </a:cubicBezTo>
                  <a:cubicBezTo>
                    <a:pt x="14533" y="35184"/>
                    <a:pt x="11473" y="35184"/>
                    <a:pt x="8414" y="35184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B9A65748-A9CF-4EF5-B09E-0B97B2781A03}"/>
                </a:ext>
              </a:extLst>
            </p:cNvPr>
            <p:cNvSpPr/>
            <p:nvPr/>
          </p:nvSpPr>
          <p:spPr>
            <a:xfrm>
              <a:off x="11600652" y="2381461"/>
              <a:ext cx="92287" cy="36402"/>
            </a:xfrm>
            <a:custGeom>
              <a:avLst/>
              <a:gdLst>
                <a:gd name="connsiteX0" fmla="*/ 86933 w 92287"/>
                <a:gd name="connsiteY0" fmla="*/ 36403 h 36402"/>
                <a:gd name="connsiteX1" fmla="*/ 80813 w 92287"/>
                <a:gd name="connsiteY1" fmla="*/ 33343 h 36402"/>
                <a:gd name="connsiteX2" fmla="*/ 13505 w 92287"/>
                <a:gd name="connsiteY2" fmla="*/ 27224 h 36402"/>
                <a:gd name="connsiteX3" fmla="*/ 1267 w 92287"/>
                <a:gd name="connsiteY3" fmla="*/ 24165 h 36402"/>
                <a:gd name="connsiteX4" fmla="*/ 4326 w 92287"/>
                <a:gd name="connsiteY4" fmla="*/ 11927 h 36402"/>
                <a:gd name="connsiteX5" fmla="*/ 89992 w 92287"/>
                <a:gd name="connsiteY5" fmla="*/ 21105 h 36402"/>
                <a:gd name="connsiteX6" fmla="*/ 89992 w 92287"/>
                <a:gd name="connsiteY6" fmla="*/ 33343 h 36402"/>
                <a:gd name="connsiteX7" fmla="*/ 86933 w 92287"/>
                <a:gd name="connsiteY7" fmla="*/ 36403 h 3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87" h="36402">
                  <a:moveTo>
                    <a:pt x="86933" y="36403"/>
                  </a:moveTo>
                  <a:cubicBezTo>
                    <a:pt x="83873" y="36403"/>
                    <a:pt x="83873" y="36403"/>
                    <a:pt x="80813" y="33343"/>
                  </a:cubicBezTo>
                  <a:cubicBezTo>
                    <a:pt x="80813" y="33343"/>
                    <a:pt x="50218" y="2748"/>
                    <a:pt x="13505" y="27224"/>
                  </a:cubicBezTo>
                  <a:cubicBezTo>
                    <a:pt x="10445" y="30284"/>
                    <a:pt x="4326" y="27224"/>
                    <a:pt x="1267" y="24165"/>
                  </a:cubicBezTo>
                  <a:cubicBezTo>
                    <a:pt x="-1792" y="21105"/>
                    <a:pt x="1267" y="14986"/>
                    <a:pt x="4326" y="11927"/>
                  </a:cubicBezTo>
                  <a:cubicBezTo>
                    <a:pt x="41040" y="-12549"/>
                    <a:pt x="77755" y="5808"/>
                    <a:pt x="89992" y="21105"/>
                  </a:cubicBezTo>
                  <a:cubicBezTo>
                    <a:pt x="93052" y="24165"/>
                    <a:pt x="93052" y="30284"/>
                    <a:pt x="89992" y="33343"/>
                  </a:cubicBezTo>
                  <a:cubicBezTo>
                    <a:pt x="89992" y="36403"/>
                    <a:pt x="86933" y="36403"/>
                    <a:pt x="86933" y="36403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7F38713E-A015-4BB3-B650-E8E4F687DC2C}"/>
                </a:ext>
              </a:extLst>
            </p:cNvPr>
            <p:cNvSpPr/>
            <p:nvPr/>
          </p:nvSpPr>
          <p:spPr>
            <a:xfrm>
              <a:off x="11353874" y="2158128"/>
              <a:ext cx="277679" cy="259735"/>
            </a:xfrm>
            <a:custGeom>
              <a:avLst/>
              <a:gdLst>
                <a:gd name="connsiteX0" fmla="*/ 275581 w 277679"/>
                <a:gd name="connsiteY0" fmla="*/ 2739 h 259735"/>
                <a:gd name="connsiteX1" fmla="*/ 238866 w 277679"/>
                <a:gd name="connsiteY1" fmla="*/ 131237 h 259735"/>
                <a:gd name="connsiteX2" fmla="*/ 227 w 277679"/>
                <a:gd name="connsiteY2" fmla="*/ 259736 h 259735"/>
                <a:gd name="connsiteX3" fmla="*/ 275581 w 277679"/>
                <a:gd name="connsiteY3" fmla="*/ 2739 h 25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7679" h="259735">
                  <a:moveTo>
                    <a:pt x="275581" y="2739"/>
                  </a:moveTo>
                  <a:cubicBezTo>
                    <a:pt x="275581" y="2739"/>
                    <a:pt x="290878" y="91464"/>
                    <a:pt x="238866" y="131237"/>
                  </a:cubicBezTo>
                  <a:cubicBezTo>
                    <a:pt x="238866" y="131237"/>
                    <a:pt x="27762" y="174070"/>
                    <a:pt x="227" y="259736"/>
                  </a:cubicBezTo>
                  <a:cubicBezTo>
                    <a:pt x="227" y="256676"/>
                    <a:pt x="-18130" y="-30916"/>
                    <a:pt x="275581" y="2739"/>
                  </a:cubicBezTo>
                  <a:close/>
                </a:path>
              </a:pathLst>
            </a:custGeom>
            <a:solidFill>
              <a:srgbClr val="F1DDBA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A35E4EE9-17C4-47E9-8AD3-166F9DD38264}"/>
                </a:ext>
              </a:extLst>
            </p:cNvPr>
            <p:cNvSpPr/>
            <p:nvPr/>
          </p:nvSpPr>
          <p:spPr>
            <a:xfrm>
              <a:off x="11592740" y="2160867"/>
              <a:ext cx="225043" cy="315624"/>
            </a:xfrm>
            <a:custGeom>
              <a:avLst/>
              <a:gdLst>
                <a:gd name="connsiteX0" fmla="*/ 0 w 225043"/>
                <a:gd name="connsiteY0" fmla="*/ 128499 h 315624"/>
                <a:gd name="connsiteX1" fmla="*/ 140737 w 225043"/>
                <a:gd name="connsiteY1" fmla="*/ 183569 h 315624"/>
                <a:gd name="connsiteX2" fmla="*/ 198867 w 225043"/>
                <a:gd name="connsiteY2" fmla="*/ 302890 h 315624"/>
                <a:gd name="connsiteX3" fmla="*/ 223343 w 225043"/>
                <a:gd name="connsiteY3" fmla="*/ 299830 h 315624"/>
                <a:gd name="connsiteX4" fmla="*/ 33655 w 225043"/>
                <a:gd name="connsiteY4" fmla="*/ 0 h 315624"/>
                <a:gd name="connsiteX5" fmla="*/ 0 w 225043"/>
                <a:gd name="connsiteY5" fmla="*/ 128499 h 31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5043" h="315624">
                  <a:moveTo>
                    <a:pt x="0" y="128499"/>
                  </a:moveTo>
                  <a:cubicBezTo>
                    <a:pt x="0" y="128499"/>
                    <a:pt x="91785" y="177450"/>
                    <a:pt x="140737" y="183569"/>
                  </a:cubicBezTo>
                  <a:cubicBezTo>
                    <a:pt x="192748" y="189688"/>
                    <a:pt x="198867" y="302890"/>
                    <a:pt x="198867" y="302890"/>
                  </a:cubicBezTo>
                  <a:cubicBezTo>
                    <a:pt x="198867" y="302890"/>
                    <a:pt x="220284" y="333484"/>
                    <a:pt x="223343" y="299830"/>
                  </a:cubicBezTo>
                  <a:cubicBezTo>
                    <a:pt x="229462" y="220283"/>
                    <a:pt x="229462" y="21416"/>
                    <a:pt x="33655" y="0"/>
                  </a:cubicBezTo>
                  <a:cubicBezTo>
                    <a:pt x="36714" y="0"/>
                    <a:pt x="24476" y="122380"/>
                    <a:pt x="0" y="128499"/>
                  </a:cubicBezTo>
                  <a:close/>
                </a:path>
              </a:pathLst>
            </a:custGeom>
            <a:solidFill>
              <a:srgbClr val="F1DDBA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DF7B27EB-1F9A-49BA-B466-66913DD54C48}"/>
                </a:ext>
              </a:extLst>
            </p:cNvPr>
            <p:cNvSpPr/>
            <p:nvPr/>
          </p:nvSpPr>
          <p:spPr>
            <a:xfrm>
              <a:off x="11589680" y="2154748"/>
              <a:ext cx="152974" cy="192747"/>
            </a:xfrm>
            <a:custGeom>
              <a:avLst/>
              <a:gdLst>
                <a:gd name="connsiteX0" fmla="*/ 146856 w 152974"/>
                <a:gd name="connsiteY0" fmla="*/ 192748 h 192747"/>
                <a:gd name="connsiteX1" fmla="*/ 146856 w 152974"/>
                <a:gd name="connsiteY1" fmla="*/ 192748 h 192747"/>
                <a:gd name="connsiteX2" fmla="*/ 48952 w 152974"/>
                <a:gd name="connsiteY2" fmla="*/ 159093 h 192747"/>
                <a:gd name="connsiteX3" fmla="*/ 3060 w 152974"/>
                <a:gd name="connsiteY3" fmla="*/ 134618 h 192747"/>
                <a:gd name="connsiteX4" fmla="*/ 0 w 152974"/>
                <a:gd name="connsiteY4" fmla="*/ 131558 h 192747"/>
                <a:gd name="connsiteX5" fmla="*/ 0 w 152974"/>
                <a:gd name="connsiteY5" fmla="*/ 125439 h 192747"/>
                <a:gd name="connsiteX6" fmla="*/ 18357 w 152974"/>
                <a:gd name="connsiteY6" fmla="*/ 100963 h 192747"/>
                <a:gd name="connsiteX7" fmla="*/ 27536 w 152974"/>
                <a:gd name="connsiteY7" fmla="*/ 61190 h 192747"/>
                <a:gd name="connsiteX8" fmla="*/ 30595 w 152974"/>
                <a:gd name="connsiteY8" fmla="*/ 33654 h 192747"/>
                <a:gd name="connsiteX9" fmla="*/ 33655 w 152974"/>
                <a:gd name="connsiteY9" fmla="*/ 6119 h 192747"/>
                <a:gd name="connsiteX10" fmla="*/ 39774 w 152974"/>
                <a:gd name="connsiteY10" fmla="*/ 0 h 192747"/>
                <a:gd name="connsiteX11" fmla="*/ 45892 w 152974"/>
                <a:gd name="connsiteY11" fmla="*/ 6119 h 192747"/>
                <a:gd name="connsiteX12" fmla="*/ 42834 w 152974"/>
                <a:gd name="connsiteY12" fmla="*/ 33654 h 192747"/>
                <a:gd name="connsiteX13" fmla="*/ 39774 w 152974"/>
                <a:gd name="connsiteY13" fmla="*/ 61190 h 192747"/>
                <a:gd name="connsiteX14" fmla="*/ 27536 w 152974"/>
                <a:gd name="connsiteY14" fmla="*/ 104023 h 192747"/>
                <a:gd name="connsiteX15" fmla="*/ 12239 w 152974"/>
                <a:gd name="connsiteY15" fmla="*/ 125439 h 192747"/>
                <a:gd name="connsiteX16" fmla="*/ 52012 w 152974"/>
                <a:gd name="connsiteY16" fmla="*/ 146856 h 192747"/>
                <a:gd name="connsiteX17" fmla="*/ 146856 w 152974"/>
                <a:gd name="connsiteY17" fmla="*/ 177450 h 192747"/>
                <a:gd name="connsiteX18" fmla="*/ 152975 w 152974"/>
                <a:gd name="connsiteY18" fmla="*/ 183569 h 192747"/>
                <a:gd name="connsiteX19" fmla="*/ 146856 w 152974"/>
                <a:gd name="connsiteY19" fmla="*/ 192748 h 192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2974" h="192747">
                  <a:moveTo>
                    <a:pt x="146856" y="192748"/>
                  </a:moveTo>
                  <a:cubicBezTo>
                    <a:pt x="146856" y="192748"/>
                    <a:pt x="143796" y="192748"/>
                    <a:pt x="146856" y="192748"/>
                  </a:cubicBezTo>
                  <a:cubicBezTo>
                    <a:pt x="116261" y="189688"/>
                    <a:pt x="82607" y="177450"/>
                    <a:pt x="48952" y="159093"/>
                  </a:cubicBezTo>
                  <a:cubicBezTo>
                    <a:pt x="21417" y="146856"/>
                    <a:pt x="3060" y="134618"/>
                    <a:pt x="3060" y="134618"/>
                  </a:cubicBezTo>
                  <a:cubicBezTo>
                    <a:pt x="3060" y="134618"/>
                    <a:pt x="0" y="131558"/>
                    <a:pt x="0" y="131558"/>
                  </a:cubicBezTo>
                  <a:cubicBezTo>
                    <a:pt x="0" y="128499"/>
                    <a:pt x="0" y="128499"/>
                    <a:pt x="0" y="125439"/>
                  </a:cubicBezTo>
                  <a:cubicBezTo>
                    <a:pt x="6119" y="119320"/>
                    <a:pt x="12239" y="110142"/>
                    <a:pt x="18357" y="100963"/>
                  </a:cubicBezTo>
                  <a:cubicBezTo>
                    <a:pt x="24476" y="88725"/>
                    <a:pt x="27536" y="73428"/>
                    <a:pt x="27536" y="61190"/>
                  </a:cubicBezTo>
                  <a:cubicBezTo>
                    <a:pt x="27536" y="55071"/>
                    <a:pt x="30595" y="42833"/>
                    <a:pt x="30595" y="33654"/>
                  </a:cubicBezTo>
                  <a:cubicBezTo>
                    <a:pt x="30595" y="21416"/>
                    <a:pt x="33655" y="12238"/>
                    <a:pt x="33655" y="6119"/>
                  </a:cubicBezTo>
                  <a:cubicBezTo>
                    <a:pt x="33655" y="3059"/>
                    <a:pt x="36714" y="0"/>
                    <a:pt x="39774" y="0"/>
                  </a:cubicBezTo>
                  <a:cubicBezTo>
                    <a:pt x="42834" y="0"/>
                    <a:pt x="45892" y="3059"/>
                    <a:pt x="45892" y="6119"/>
                  </a:cubicBezTo>
                  <a:cubicBezTo>
                    <a:pt x="45892" y="12238"/>
                    <a:pt x="42834" y="24476"/>
                    <a:pt x="42834" y="33654"/>
                  </a:cubicBezTo>
                  <a:cubicBezTo>
                    <a:pt x="42834" y="45892"/>
                    <a:pt x="39774" y="55071"/>
                    <a:pt x="39774" y="61190"/>
                  </a:cubicBezTo>
                  <a:cubicBezTo>
                    <a:pt x="36714" y="76487"/>
                    <a:pt x="36714" y="91785"/>
                    <a:pt x="27536" y="104023"/>
                  </a:cubicBezTo>
                  <a:cubicBezTo>
                    <a:pt x="24476" y="110142"/>
                    <a:pt x="18357" y="119320"/>
                    <a:pt x="12239" y="125439"/>
                  </a:cubicBezTo>
                  <a:cubicBezTo>
                    <a:pt x="18357" y="128499"/>
                    <a:pt x="33655" y="137677"/>
                    <a:pt x="52012" y="146856"/>
                  </a:cubicBezTo>
                  <a:cubicBezTo>
                    <a:pt x="85666" y="162153"/>
                    <a:pt x="119321" y="174391"/>
                    <a:pt x="146856" y="177450"/>
                  </a:cubicBezTo>
                  <a:cubicBezTo>
                    <a:pt x="149916" y="177450"/>
                    <a:pt x="152975" y="180510"/>
                    <a:pt x="152975" y="183569"/>
                  </a:cubicBezTo>
                  <a:cubicBezTo>
                    <a:pt x="149916" y="189688"/>
                    <a:pt x="149916" y="192748"/>
                    <a:pt x="146856" y="192748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473D2DDC-66E5-42CC-90D7-858329305A70}"/>
                </a:ext>
              </a:extLst>
            </p:cNvPr>
            <p:cNvSpPr/>
            <p:nvPr/>
          </p:nvSpPr>
          <p:spPr>
            <a:xfrm>
              <a:off x="11427528" y="2650385"/>
              <a:ext cx="309008" cy="225098"/>
            </a:xfrm>
            <a:custGeom>
              <a:avLst/>
              <a:gdLst>
                <a:gd name="connsiteX0" fmla="*/ 55070 w 309008"/>
                <a:gd name="connsiteY0" fmla="*/ 61190 h 225098"/>
                <a:gd name="connsiteX1" fmla="*/ 0 w 309008"/>
                <a:gd name="connsiteY1" fmla="*/ 201926 h 225098"/>
                <a:gd name="connsiteX2" fmla="*/ 309009 w 309008"/>
                <a:gd name="connsiteY2" fmla="*/ 186629 h 225098"/>
                <a:gd name="connsiteX3" fmla="*/ 256997 w 309008"/>
                <a:gd name="connsiteY3" fmla="*/ 0 h 225098"/>
                <a:gd name="connsiteX4" fmla="*/ 55070 w 309008"/>
                <a:gd name="connsiteY4" fmla="*/ 61190 h 22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008" h="225098">
                  <a:moveTo>
                    <a:pt x="55070" y="61190"/>
                  </a:moveTo>
                  <a:cubicBezTo>
                    <a:pt x="55070" y="61190"/>
                    <a:pt x="61190" y="171331"/>
                    <a:pt x="0" y="201926"/>
                  </a:cubicBezTo>
                  <a:cubicBezTo>
                    <a:pt x="0" y="201926"/>
                    <a:pt x="180510" y="263116"/>
                    <a:pt x="309009" y="186629"/>
                  </a:cubicBezTo>
                  <a:cubicBezTo>
                    <a:pt x="253937" y="143796"/>
                    <a:pt x="256997" y="61190"/>
                    <a:pt x="256997" y="0"/>
                  </a:cubicBezTo>
                  <a:cubicBezTo>
                    <a:pt x="256997" y="0"/>
                    <a:pt x="107082" y="67309"/>
                    <a:pt x="55070" y="61190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612D545D-AD23-4453-82C7-52D359CE1873}"/>
                </a:ext>
              </a:extLst>
            </p:cNvPr>
            <p:cNvSpPr/>
            <p:nvPr/>
          </p:nvSpPr>
          <p:spPr>
            <a:xfrm>
              <a:off x="11471125" y="2685832"/>
              <a:ext cx="223845" cy="80813"/>
            </a:xfrm>
            <a:custGeom>
              <a:avLst/>
              <a:gdLst>
                <a:gd name="connsiteX0" fmla="*/ 72663 w 223845"/>
                <a:gd name="connsiteY0" fmla="*/ 80814 h 80813"/>
                <a:gd name="connsiteX1" fmla="*/ 2295 w 223845"/>
                <a:gd name="connsiteY1" fmla="*/ 53279 h 80813"/>
                <a:gd name="connsiteX2" fmla="*/ 2295 w 223845"/>
                <a:gd name="connsiteY2" fmla="*/ 44100 h 80813"/>
                <a:gd name="connsiteX3" fmla="*/ 11473 w 223845"/>
                <a:gd name="connsiteY3" fmla="*/ 44100 h 80813"/>
                <a:gd name="connsiteX4" fmla="*/ 81842 w 223845"/>
                <a:gd name="connsiteY4" fmla="*/ 68576 h 80813"/>
                <a:gd name="connsiteX5" fmla="*/ 213399 w 223845"/>
                <a:gd name="connsiteY5" fmla="*/ 1267 h 80813"/>
                <a:gd name="connsiteX6" fmla="*/ 222578 w 223845"/>
                <a:gd name="connsiteY6" fmla="*/ 4327 h 80813"/>
                <a:gd name="connsiteX7" fmla="*/ 219519 w 223845"/>
                <a:gd name="connsiteY7" fmla="*/ 13505 h 80813"/>
                <a:gd name="connsiteX8" fmla="*/ 81842 w 223845"/>
                <a:gd name="connsiteY8" fmla="*/ 80814 h 80813"/>
                <a:gd name="connsiteX9" fmla="*/ 72663 w 223845"/>
                <a:gd name="connsiteY9" fmla="*/ 80814 h 80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845" h="80813">
                  <a:moveTo>
                    <a:pt x="72663" y="80814"/>
                  </a:moveTo>
                  <a:cubicBezTo>
                    <a:pt x="32890" y="80814"/>
                    <a:pt x="5354" y="53279"/>
                    <a:pt x="2295" y="53279"/>
                  </a:cubicBezTo>
                  <a:cubicBezTo>
                    <a:pt x="-765" y="50219"/>
                    <a:pt x="-765" y="47160"/>
                    <a:pt x="2295" y="44100"/>
                  </a:cubicBezTo>
                  <a:cubicBezTo>
                    <a:pt x="5354" y="41041"/>
                    <a:pt x="8414" y="41041"/>
                    <a:pt x="11473" y="44100"/>
                  </a:cubicBezTo>
                  <a:cubicBezTo>
                    <a:pt x="11473" y="44100"/>
                    <a:pt x="45127" y="74695"/>
                    <a:pt x="81842" y="68576"/>
                  </a:cubicBezTo>
                  <a:cubicBezTo>
                    <a:pt x="121615" y="62457"/>
                    <a:pt x="213399" y="1267"/>
                    <a:pt x="213399" y="1267"/>
                  </a:cubicBezTo>
                  <a:cubicBezTo>
                    <a:pt x="216459" y="-1792"/>
                    <a:pt x="219519" y="1267"/>
                    <a:pt x="222578" y="4327"/>
                  </a:cubicBezTo>
                  <a:cubicBezTo>
                    <a:pt x="225637" y="7386"/>
                    <a:pt x="222578" y="10446"/>
                    <a:pt x="219519" y="13505"/>
                  </a:cubicBezTo>
                  <a:cubicBezTo>
                    <a:pt x="216459" y="16565"/>
                    <a:pt x="124674" y="77755"/>
                    <a:pt x="81842" y="80814"/>
                  </a:cubicBezTo>
                  <a:cubicBezTo>
                    <a:pt x="81842" y="80814"/>
                    <a:pt x="78782" y="80814"/>
                    <a:pt x="72663" y="80814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EFAD09EE-7CC9-4C62-B32E-AF3BE0E32050}"/>
                </a:ext>
              </a:extLst>
            </p:cNvPr>
            <p:cNvSpPr/>
            <p:nvPr/>
          </p:nvSpPr>
          <p:spPr>
            <a:xfrm>
              <a:off x="11142166" y="2931858"/>
              <a:ext cx="101792" cy="556827"/>
            </a:xfrm>
            <a:custGeom>
              <a:avLst/>
              <a:gdLst>
                <a:gd name="connsiteX0" fmla="*/ 55900 w 101792"/>
                <a:gd name="connsiteY0" fmla="*/ 556827 h 556827"/>
                <a:gd name="connsiteX1" fmla="*/ 49781 w 101792"/>
                <a:gd name="connsiteY1" fmla="*/ 553768 h 556827"/>
                <a:gd name="connsiteX2" fmla="*/ 34484 w 101792"/>
                <a:gd name="connsiteY2" fmla="*/ 498697 h 556827"/>
                <a:gd name="connsiteX3" fmla="*/ 830 w 101792"/>
                <a:gd name="connsiteY3" fmla="*/ 348782 h 556827"/>
                <a:gd name="connsiteX4" fmla="*/ 89555 w 101792"/>
                <a:gd name="connsiteY4" fmla="*/ 3059 h 556827"/>
                <a:gd name="connsiteX5" fmla="*/ 98733 w 101792"/>
                <a:gd name="connsiteY5" fmla="*/ 0 h 556827"/>
                <a:gd name="connsiteX6" fmla="*/ 101793 w 101792"/>
                <a:gd name="connsiteY6" fmla="*/ 9178 h 556827"/>
                <a:gd name="connsiteX7" fmla="*/ 13068 w 101792"/>
                <a:gd name="connsiteY7" fmla="*/ 348782 h 556827"/>
                <a:gd name="connsiteX8" fmla="*/ 46722 w 101792"/>
                <a:gd name="connsiteY8" fmla="*/ 498697 h 556827"/>
                <a:gd name="connsiteX9" fmla="*/ 62020 w 101792"/>
                <a:gd name="connsiteY9" fmla="*/ 553768 h 556827"/>
                <a:gd name="connsiteX10" fmla="*/ 55900 w 101792"/>
                <a:gd name="connsiteY10" fmla="*/ 556827 h 556827"/>
                <a:gd name="connsiteX11" fmla="*/ 55900 w 101792"/>
                <a:gd name="connsiteY11" fmla="*/ 556827 h 556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792" h="556827">
                  <a:moveTo>
                    <a:pt x="55900" y="556827"/>
                  </a:moveTo>
                  <a:cubicBezTo>
                    <a:pt x="52841" y="556827"/>
                    <a:pt x="49781" y="553768"/>
                    <a:pt x="49781" y="553768"/>
                  </a:cubicBezTo>
                  <a:cubicBezTo>
                    <a:pt x="43663" y="535411"/>
                    <a:pt x="40603" y="517054"/>
                    <a:pt x="34484" y="498697"/>
                  </a:cubicBezTo>
                  <a:cubicBezTo>
                    <a:pt x="19186" y="446686"/>
                    <a:pt x="3889" y="394674"/>
                    <a:pt x="830" y="348782"/>
                  </a:cubicBezTo>
                  <a:cubicBezTo>
                    <a:pt x="-5289" y="223343"/>
                    <a:pt x="22246" y="107082"/>
                    <a:pt x="89555" y="3059"/>
                  </a:cubicBezTo>
                  <a:cubicBezTo>
                    <a:pt x="92615" y="0"/>
                    <a:pt x="95673" y="0"/>
                    <a:pt x="98733" y="0"/>
                  </a:cubicBezTo>
                  <a:cubicBezTo>
                    <a:pt x="101793" y="3059"/>
                    <a:pt x="101793" y="6119"/>
                    <a:pt x="101793" y="9178"/>
                  </a:cubicBezTo>
                  <a:cubicBezTo>
                    <a:pt x="37543" y="113201"/>
                    <a:pt x="6948" y="226402"/>
                    <a:pt x="13068" y="348782"/>
                  </a:cubicBezTo>
                  <a:cubicBezTo>
                    <a:pt x="16127" y="394674"/>
                    <a:pt x="31425" y="446686"/>
                    <a:pt x="46722" y="498697"/>
                  </a:cubicBezTo>
                  <a:cubicBezTo>
                    <a:pt x="52841" y="517054"/>
                    <a:pt x="58960" y="535411"/>
                    <a:pt x="62020" y="553768"/>
                  </a:cubicBezTo>
                  <a:cubicBezTo>
                    <a:pt x="62020" y="553768"/>
                    <a:pt x="62020" y="556827"/>
                    <a:pt x="55900" y="556827"/>
                  </a:cubicBezTo>
                  <a:cubicBezTo>
                    <a:pt x="58960" y="556827"/>
                    <a:pt x="55900" y="556827"/>
                    <a:pt x="55900" y="556827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4B3BCEB6-442F-4667-9BCC-C20B003A6DFD}"/>
                </a:ext>
              </a:extLst>
            </p:cNvPr>
            <p:cNvSpPr/>
            <p:nvPr/>
          </p:nvSpPr>
          <p:spPr>
            <a:xfrm>
              <a:off x="11265375" y="3372619"/>
              <a:ext cx="402059" cy="36519"/>
            </a:xfrm>
            <a:custGeom>
              <a:avLst/>
              <a:gdLst>
                <a:gd name="connsiteX0" fmla="*/ 6118 w 402059"/>
                <a:gd name="connsiteY0" fmla="*/ 36519 h 36519"/>
                <a:gd name="connsiteX1" fmla="*/ 0 w 402059"/>
                <a:gd name="connsiteY1" fmla="*/ 33460 h 36519"/>
                <a:gd name="connsiteX2" fmla="*/ 3059 w 402059"/>
                <a:gd name="connsiteY2" fmla="*/ 27341 h 36519"/>
                <a:gd name="connsiteX3" fmla="*/ 397734 w 402059"/>
                <a:gd name="connsiteY3" fmla="*/ 15103 h 36519"/>
                <a:gd name="connsiteX4" fmla="*/ 400792 w 402059"/>
                <a:gd name="connsiteY4" fmla="*/ 21222 h 36519"/>
                <a:gd name="connsiteX5" fmla="*/ 394674 w 402059"/>
                <a:gd name="connsiteY5" fmla="*/ 24281 h 36519"/>
                <a:gd name="connsiteX6" fmla="*/ 6118 w 402059"/>
                <a:gd name="connsiteY6" fmla="*/ 36519 h 36519"/>
                <a:gd name="connsiteX7" fmla="*/ 6118 w 402059"/>
                <a:gd name="connsiteY7" fmla="*/ 36519 h 36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2059" h="36519">
                  <a:moveTo>
                    <a:pt x="6118" y="36519"/>
                  </a:moveTo>
                  <a:cubicBezTo>
                    <a:pt x="3059" y="36519"/>
                    <a:pt x="3059" y="36519"/>
                    <a:pt x="0" y="33460"/>
                  </a:cubicBezTo>
                  <a:cubicBezTo>
                    <a:pt x="0" y="30400"/>
                    <a:pt x="0" y="27341"/>
                    <a:pt x="3059" y="27341"/>
                  </a:cubicBezTo>
                  <a:cubicBezTo>
                    <a:pt x="88725" y="-3254"/>
                    <a:pt x="296770" y="-9373"/>
                    <a:pt x="397734" y="15103"/>
                  </a:cubicBezTo>
                  <a:cubicBezTo>
                    <a:pt x="400792" y="15103"/>
                    <a:pt x="403852" y="18162"/>
                    <a:pt x="400792" y="21222"/>
                  </a:cubicBezTo>
                  <a:cubicBezTo>
                    <a:pt x="400792" y="24281"/>
                    <a:pt x="397734" y="27341"/>
                    <a:pt x="394674" y="24281"/>
                  </a:cubicBezTo>
                  <a:cubicBezTo>
                    <a:pt x="296770" y="-195"/>
                    <a:pt x="91785" y="5924"/>
                    <a:pt x="6118" y="36519"/>
                  </a:cubicBezTo>
                  <a:cubicBezTo>
                    <a:pt x="6118" y="36519"/>
                    <a:pt x="6118" y="36519"/>
                    <a:pt x="6118" y="36519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483CDD26-FF2A-479F-A03D-8BBC737048D0}"/>
                </a:ext>
              </a:extLst>
            </p:cNvPr>
            <p:cNvSpPr/>
            <p:nvPr/>
          </p:nvSpPr>
          <p:spPr>
            <a:xfrm>
              <a:off x="11663109" y="2531065"/>
              <a:ext cx="165212" cy="280647"/>
            </a:xfrm>
            <a:custGeom>
              <a:avLst/>
              <a:gdLst>
                <a:gd name="connsiteX0" fmla="*/ 116260 w 165212"/>
                <a:gd name="connsiteY0" fmla="*/ 30595 h 280647"/>
                <a:gd name="connsiteX1" fmla="*/ 0 w 165212"/>
                <a:gd name="connsiteY1" fmla="*/ 275354 h 280647"/>
                <a:gd name="connsiteX2" fmla="*/ 165212 w 165212"/>
                <a:gd name="connsiteY2" fmla="*/ 269235 h 280647"/>
                <a:gd name="connsiteX3" fmla="*/ 159093 w 165212"/>
                <a:gd name="connsiteY3" fmla="*/ 0 h 280647"/>
                <a:gd name="connsiteX4" fmla="*/ 116260 w 165212"/>
                <a:gd name="connsiteY4" fmla="*/ 30595 h 280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212" h="280647">
                  <a:moveTo>
                    <a:pt x="116260" y="30595"/>
                  </a:moveTo>
                  <a:cubicBezTo>
                    <a:pt x="116260" y="30595"/>
                    <a:pt x="82606" y="223343"/>
                    <a:pt x="0" y="275354"/>
                  </a:cubicBezTo>
                  <a:cubicBezTo>
                    <a:pt x="0" y="275354"/>
                    <a:pt x="107082" y="290652"/>
                    <a:pt x="165212" y="269235"/>
                  </a:cubicBezTo>
                  <a:lnTo>
                    <a:pt x="159093" y="0"/>
                  </a:lnTo>
                  <a:lnTo>
                    <a:pt x="116260" y="30595"/>
                  </a:lnTo>
                  <a:close/>
                </a:path>
              </a:pathLst>
            </a:custGeom>
            <a:solidFill>
              <a:srgbClr val="F1DDBA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B6976F28-9063-49FA-B829-80337803EB91}"/>
                </a:ext>
              </a:extLst>
            </p:cNvPr>
            <p:cNvSpPr/>
            <p:nvPr/>
          </p:nvSpPr>
          <p:spPr>
            <a:xfrm>
              <a:off x="11754894" y="2446969"/>
              <a:ext cx="77854" cy="114449"/>
            </a:xfrm>
            <a:custGeom>
              <a:avLst/>
              <a:gdLst>
                <a:gd name="connsiteX0" fmla="*/ 12238 w 77854"/>
                <a:gd name="connsiteY0" fmla="*/ 16787 h 114449"/>
                <a:gd name="connsiteX1" fmla="*/ 70368 w 77854"/>
                <a:gd name="connsiteY1" fmla="*/ 7609 h 114449"/>
                <a:gd name="connsiteX2" fmla="*/ 12238 w 77854"/>
                <a:gd name="connsiteY2" fmla="*/ 111632 h 114449"/>
                <a:gd name="connsiteX3" fmla="*/ 12238 w 77854"/>
                <a:gd name="connsiteY3" fmla="*/ 16787 h 11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54" h="114449">
                  <a:moveTo>
                    <a:pt x="12238" y="16787"/>
                  </a:moveTo>
                  <a:cubicBezTo>
                    <a:pt x="12238" y="16787"/>
                    <a:pt x="45892" y="-13808"/>
                    <a:pt x="70368" y="7609"/>
                  </a:cubicBezTo>
                  <a:cubicBezTo>
                    <a:pt x="94844" y="25966"/>
                    <a:pt x="55071" y="133048"/>
                    <a:pt x="12238" y="111632"/>
                  </a:cubicBezTo>
                  <a:cubicBezTo>
                    <a:pt x="-15297" y="93275"/>
                    <a:pt x="12238" y="16787"/>
                    <a:pt x="12238" y="16787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FB9CA7A1-1DCB-4ADC-9AF6-839A9FB973A7}"/>
                </a:ext>
              </a:extLst>
            </p:cNvPr>
            <p:cNvSpPr/>
            <p:nvPr/>
          </p:nvSpPr>
          <p:spPr>
            <a:xfrm>
              <a:off x="11320446" y="2326079"/>
              <a:ext cx="146855" cy="165212"/>
            </a:xfrm>
            <a:custGeom>
              <a:avLst/>
              <a:gdLst>
                <a:gd name="connsiteX0" fmla="*/ 6119 w 146855"/>
                <a:gd name="connsiteY0" fmla="*/ 165212 h 165212"/>
                <a:gd name="connsiteX1" fmla="*/ 6119 w 146855"/>
                <a:gd name="connsiteY1" fmla="*/ 165212 h 165212"/>
                <a:gd name="connsiteX2" fmla="*/ 0 w 146855"/>
                <a:gd name="connsiteY2" fmla="*/ 159094 h 165212"/>
                <a:gd name="connsiteX3" fmla="*/ 140737 w 146855"/>
                <a:gd name="connsiteY3" fmla="*/ 0 h 165212"/>
                <a:gd name="connsiteX4" fmla="*/ 146855 w 146855"/>
                <a:gd name="connsiteY4" fmla="*/ 3060 h 165212"/>
                <a:gd name="connsiteX5" fmla="*/ 143796 w 146855"/>
                <a:gd name="connsiteY5" fmla="*/ 9179 h 165212"/>
                <a:gd name="connsiteX6" fmla="*/ 12238 w 146855"/>
                <a:gd name="connsiteY6" fmla="*/ 159094 h 165212"/>
                <a:gd name="connsiteX7" fmla="*/ 6119 w 146855"/>
                <a:gd name="connsiteY7" fmla="*/ 165212 h 165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855" h="165212">
                  <a:moveTo>
                    <a:pt x="6119" y="165212"/>
                  </a:moveTo>
                  <a:cubicBezTo>
                    <a:pt x="6119" y="165212"/>
                    <a:pt x="6119" y="165212"/>
                    <a:pt x="6119" y="165212"/>
                  </a:cubicBezTo>
                  <a:cubicBezTo>
                    <a:pt x="3060" y="165212"/>
                    <a:pt x="0" y="162153"/>
                    <a:pt x="0" y="159094"/>
                  </a:cubicBezTo>
                  <a:cubicBezTo>
                    <a:pt x="24476" y="30595"/>
                    <a:pt x="140737" y="0"/>
                    <a:pt x="140737" y="0"/>
                  </a:cubicBezTo>
                  <a:cubicBezTo>
                    <a:pt x="143796" y="0"/>
                    <a:pt x="146855" y="0"/>
                    <a:pt x="146855" y="3060"/>
                  </a:cubicBezTo>
                  <a:cubicBezTo>
                    <a:pt x="146855" y="6119"/>
                    <a:pt x="146855" y="9179"/>
                    <a:pt x="143796" y="9179"/>
                  </a:cubicBezTo>
                  <a:cubicBezTo>
                    <a:pt x="143796" y="9179"/>
                    <a:pt x="36714" y="39773"/>
                    <a:pt x="12238" y="159094"/>
                  </a:cubicBezTo>
                  <a:cubicBezTo>
                    <a:pt x="12238" y="162153"/>
                    <a:pt x="9178" y="165212"/>
                    <a:pt x="6119" y="165212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1317A011-B885-49DE-9354-05999EE52ADD}"/>
                </a:ext>
              </a:extLst>
            </p:cNvPr>
            <p:cNvSpPr/>
            <p:nvPr/>
          </p:nvSpPr>
          <p:spPr>
            <a:xfrm>
              <a:off x="11204950" y="2532857"/>
              <a:ext cx="92286" cy="184836"/>
            </a:xfrm>
            <a:custGeom>
              <a:avLst/>
              <a:gdLst>
                <a:gd name="connsiteX0" fmla="*/ 5354 w 92286"/>
                <a:gd name="connsiteY0" fmla="*/ 184837 h 184836"/>
                <a:gd name="connsiteX1" fmla="*/ 2294 w 92286"/>
                <a:gd name="connsiteY1" fmla="*/ 181777 h 184836"/>
                <a:gd name="connsiteX2" fmla="*/ 2294 w 92286"/>
                <a:gd name="connsiteY2" fmla="*/ 172599 h 184836"/>
                <a:gd name="connsiteX3" fmla="*/ 81841 w 92286"/>
                <a:gd name="connsiteY3" fmla="*/ 4327 h 184836"/>
                <a:gd name="connsiteX4" fmla="*/ 87960 w 92286"/>
                <a:gd name="connsiteY4" fmla="*/ 1267 h 184836"/>
                <a:gd name="connsiteX5" fmla="*/ 91020 w 92286"/>
                <a:gd name="connsiteY5" fmla="*/ 7386 h 184836"/>
                <a:gd name="connsiteX6" fmla="*/ 8413 w 92286"/>
                <a:gd name="connsiteY6" fmla="*/ 178718 h 184836"/>
                <a:gd name="connsiteX7" fmla="*/ 5354 w 92286"/>
                <a:gd name="connsiteY7" fmla="*/ 184837 h 184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86" h="184836">
                  <a:moveTo>
                    <a:pt x="5354" y="184837"/>
                  </a:moveTo>
                  <a:cubicBezTo>
                    <a:pt x="2294" y="184837"/>
                    <a:pt x="2294" y="184837"/>
                    <a:pt x="2294" y="181777"/>
                  </a:cubicBezTo>
                  <a:cubicBezTo>
                    <a:pt x="-765" y="178718"/>
                    <a:pt x="-765" y="175658"/>
                    <a:pt x="2294" y="172599"/>
                  </a:cubicBezTo>
                  <a:cubicBezTo>
                    <a:pt x="57365" y="120587"/>
                    <a:pt x="81841" y="7386"/>
                    <a:pt x="81841" y="4327"/>
                  </a:cubicBezTo>
                  <a:cubicBezTo>
                    <a:pt x="81841" y="1267"/>
                    <a:pt x="84901" y="-1792"/>
                    <a:pt x="87960" y="1267"/>
                  </a:cubicBezTo>
                  <a:cubicBezTo>
                    <a:pt x="91020" y="1267"/>
                    <a:pt x="94079" y="4327"/>
                    <a:pt x="91020" y="7386"/>
                  </a:cubicBezTo>
                  <a:cubicBezTo>
                    <a:pt x="91020" y="13505"/>
                    <a:pt x="66544" y="123647"/>
                    <a:pt x="8413" y="178718"/>
                  </a:cubicBezTo>
                  <a:cubicBezTo>
                    <a:pt x="8413" y="181777"/>
                    <a:pt x="5354" y="184837"/>
                    <a:pt x="5354" y="184837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4907B088-CF25-42F2-8BA3-8C6836E237A8}"/>
                </a:ext>
              </a:extLst>
            </p:cNvPr>
            <p:cNvSpPr/>
            <p:nvPr/>
          </p:nvSpPr>
          <p:spPr>
            <a:xfrm>
              <a:off x="11248718" y="2609344"/>
              <a:ext cx="76054" cy="129765"/>
            </a:xfrm>
            <a:custGeom>
              <a:avLst/>
              <a:gdLst>
                <a:gd name="connsiteX0" fmla="*/ 7478 w 76054"/>
                <a:gd name="connsiteY0" fmla="*/ 129766 h 129765"/>
                <a:gd name="connsiteX1" fmla="*/ 1360 w 76054"/>
                <a:gd name="connsiteY1" fmla="*/ 126706 h 129765"/>
                <a:gd name="connsiteX2" fmla="*/ 1360 w 76054"/>
                <a:gd name="connsiteY2" fmla="*/ 117528 h 129765"/>
                <a:gd name="connsiteX3" fmla="*/ 65608 w 76054"/>
                <a:gd name="connsiteY3" fmla="*/ 4327 h 129765"/>
                <a:gd name="connsiteX4" fmla="*/ 71728 w 76054"/>
                <a:gd name="connsiteY4" fmla="*/ 1267 h 129765"/>
                <a:gd name="connsiteX5" fmla="*/ 74787 w 76054"/>
                <a:gd name="connsiteY5" fmla="*/ 7386 h 129765"/>
                <a:gd name="connsiteX6" fmla="*/ 7478 w 76054"/>
                <a:gd name="connsiteY6" fmla="*/ 123647 h 129765"/>
                <a:gd name="connsiteX7" fmla="*/ 7478 w 76054"/>
                <a:gd name="connsiteY7" fmla="*/ 129766 h 129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054" h="129765">
                  <a:moveTo>
                    <a:pt x="7478" y="129766"/>
                  </a:moveTo>
                  <a:cubicBezTo>
                    <a:pt x="4419" y="129766"/>
                    <a:pt x="4419" y="129766"/>
                    <a:pt x="1360" y="126706"/>
                  </a:cubicBezTo>
                  <a:cubicBezTo>
                    <a:pt x="-1700" y="123647"/>
                    <a:pt x="1360" y="120587"/>
                    <a:pt x="1360" y="117528"/>
                  </a:cubicBezTo>
                  <a:cubicBezTo>
                    <a:pt x="35014" y="93052"/>
                    <a:pt x="65608" y="7386"/>
                    <a:pt x="65608" y="4327"/>
                  </a:cubicBezTo>
                  <a:cubicBezTo>
                    <a:pt x="65608" y="1267"/>
                    <a:pt x="68668" y="-1792"/>
                    <a:pt x="71728" y="1267"/>
                  </a:cubicBezTo>
                  <a:cubicBezTo>
                    <a:pt x="74787" y="1267"/>
                    <a:pt x="77847" y="4327"/>
                    <a:pt x="74787" y="7386"/>
                  </a:cubicBezTo>
                  <a:cubicBezTo>
                    <a:pt x="74787" y="10446"/>
                    <a:pt x="41133" y="99171"/>
                    <a:pt x="7478" y="123647"/>
                  </a:cubicBezTo>
                  <a:cubicBezTo>
                    <a:pt x="7478" y="129766"/>
                    <a:pt x="7478" y="129766"/>
                    <a:pt x="7478" y="129766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8E3A9C90-A73F-4FB0-8540-4484ABF39C5A}"/>
                </a:ext>
              </a:extLst>
            </p:cNvPr>
            <p:cNvSpPr/>
            <p:nvPr/>
          </p:nvSpPr>
          <p:spPr>
            <a:xfrm>
              <a:off x="11657755" y="2549422"/>
              <a:ext cx="121614" cy="263116"/>
            </a:xfrm>
            <a:custGeom>
              <a:avLst/>
              <a:gdLst>
                <a:gd name="connsiteX0" fmla="*/ 5354 w 121614"/>
                <a:gd name="connsiteY0" fmla="*/ 263116 h 263116"/>
                <a:gd name="connsiteX1" fmla="*/ 2295 w 121614"/>
                <a:gd name="connsiteY1" fmla="*/ 260057 h 263116"/>
                <a:gd name="connsiteX2" fmla="*/ 2295 w 121614"/>
                <a:gd name="connsiteY2" fmla="*/ 250878 h 263116"/>
                <a:gd name="connsiteX3" fmla="*/ 109377 w 121614"/>
                <a:gd name="connsiteY3" fmla="*/ 6119 h 263116"/>
                <a:gd name="connsiteX4" fmla="*/ 115495 w 121614"/>
                <a:gd name="connsiteY4" fmla="*/ 0 h 263116"/>
                <a:gd name="connsiteX5" fmla="*/ 121615 w 121614"/>
                <a:gd name="connsiteY5" fmla="*/ 6119 h 263116"/>
                <a:gd name="connsiteX6" fmla="*/ 11473 w 121614"/>
                <a:gd name="connsiteY6" fmla="*/ 256997 h 263116"/>
                <a:gd name="connsiteX7" fmla="*/ 5354 w 121614"/>
                <a:gd name="connsiteY7" fmla="*/ 263116 h 263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614" h="263116">
                  <a:moveTo>
                    <a:pt x="5354" y="263116"/>
                  </a:moveTo>
                  <a:cubicBezTo>
                    <a:pt x="5354" y="263116"/>
                    <a:pt x="2295" y="263116"/>
                    <a:pt x="2295" y="260057"/>
                  </a:cubicBezTo>
                  <a:cubicBezTo>
                    <a:pt x="-765" y="256997"/>
                    <a:pt x="-765" y="253938"/>
                    <a:pt x="2295" y="250878"/>
                  </a:cubicBezTo>
                  <a:cubicBezTo>
                    <a:pt x="87960" y="159093"/>
                    <a:pt x="109377" y="6119"/>
                    <a:pt x="109377" y="6119"/>
                  </a:cubicBezTo>
                  <a:cubicBezTo>
                    <a:pt x="109377" y="3059"/>
                    <a:pt x="112437" y="0"/>
                    <a:pt x="115495" y="0"/>
                  </a:cubicBezTo>
                  <a:cubicBezTo>
                    <a:pt x="118555" y="0"/>
                    <a:pt x="121615" y="3059"/>
                    <a:pt x="121615" y="6119"/>
                  </a:cubicBezTo>
                  <a:cubicBezTo>
                    <a:pt x="121615" y="12238"/>
                    <a:pt x="100198" y="162153"/>
                    <a:pt x="11473" y="256997"/>
                  </a:cubicBezTo>
                  <a:cubicBezTo>
                    <a:pt x="8413" y="263116"/>
                    <a:pt x="5354" y="263116"/>
                    <a:pt x="5354" y="263116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D2A2B7E2-F30B-4ED8-9209-9E0CE4B1E7FA}"/>
                </a:ext>
              </a:extLst>
            </p:cNvPr>
            <p:cNvSpPr/>
            <p:nvPr/>
          </p:nvSpPr>
          <p:spPr>
            <a:xfrm>
              <a:off x="11687585" y="2271008"/>
              <a:ext cx="113201" cy="186628"/>
            </a:xfrm>
            <a:custGeom>
              <a:avLst/>
              <a:gdLst>
                <a:gd name="connsiteX0" fmla="*/ 107082 w 113201"/>
                <a:gd name="connsiteY0" fmla="*/ 186629 h 186628"/>
                <a:gd name="connsiteX1" fmla="*/ 100963 w 113201"/>
                <a:gd name="connsiteY1" fmla="*/ 180510 h 186628"/>
                <a:gd name="connsiteX2" fmla="*/ 55070 w 113201"/>
                <a:gd name="connsiteY2" fmla="*/ 76487 h 186628"/>
                <a:gd name="connsiteX3" fmla="*/ 0 w 113201"/>
                <a:gd name="connsiteY3" fmla="*/ 9178 h 186628"/>
                <a:gd name="connsiteX4" fmla="*/ 3060 w 113201"/>
                <a:gd name="connsiteY4" fmla="*/ 0 h 186628"/>
                <a:gd name="connsiteX5" fmla="*/ 12238 w 113201"/>
                <a:gd name="connsiteY5" fmla="*/ 3060 h 186628"/>
                <a:gd name="connsiteX6" fmla="*/ 61190 w 113201"/>
                <a:gd name="connsiteY6" fmla="*/ 67309 h 186628"/>
                <a:gd name="connsiteX7" fmla="*/ 113202 w 113201"/>
                <a:gd name="connsiteY7" fmla="*/ 180510 h 186628"/>
                <a:gd name="connsiteX8" fmla="*/ 107082 w 113201"/>
                <a:gd name="connsiteY8" fmla="*/ 186629 h 186628"/>
                <a:gd name="connsiteX9" fmla="*/ 107082 w 113201"/>
                <a:gd name="connsiteY9" fmla="*/ 186629 h 186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3201" h="186628">
                  <a:moveTo>
                    <a:pt x="107082" y="186629"/>
                  </a:moveTo>
                  <a:cubicBezTo>
                    <a:pt x="104022" y="186629"/>
                    <a:pt x="100963" y="183569"/>
                    <a:pt x="100963" y="180510"/>
                  </a:cubicBezTo>
                  <a:cubicBezTo>
                    <a:pt x="97904" y="143796"/>
                    <a:pt x="82607" y="94844"/>
                    <a:pt x="55070" y="76487"/>
                  </a:cubicBezTo>
                  <a:cubicBezTo>
                    <a:pt x="21417" y="52011"/>
                    <a:pt x="3060" y="9178"/>
                    <a:pt x="0" y="9178"/>
                  </a:cubicBezTo>
                  <a:cubicBezTo>
                    <a:pt x="0" y="6119"/>
                    <a:pt x="0" y="3060"/>
                    <a:pt x="3060" y="0"/>
                  </a:cubicBezTo>
                  <a:cubicBezTo>
                    <a:pt x="6119" y="0"/>
                    <a:pt x="9178" y="0"/>
                    <a:pt x="12238" y="3060"/>
                  </a:cubicBezTo>
                  <a:cubicBezTo>
                    <a:pt x="12238" y="3060"/>
                    <a:pt x="30595" y="42833"/>
                    <a:pt x="61190" y="67309"/>
                  </a:cubicBezTo>
                  <a:cubicBezTo>
                    <a:pt x="100963" y="94844"/>
                    <a:pt x="110142" y="168272"/>
                    <a:pt x="113202" y="180510"/>
                  </a:cubicBezTo>
                  <a:cubicBezTo>
                    <a:pt x="113202" y="183569"/>
                    <a:pt x="110142" y="186629"/>
                    <a:pt x="107082" y="186629"/>
                  </a:cubicBezTo>
                  <a:cubicBezTo>
                    <a:pt x="107082" y="186629"/>
                    <a:pt x="107082" y="186629"/>
                    <a:pt x="107082" y="186629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C51146DD-472F-493A-B983-BDC628AA0EDF}"/>
                </a:ext>
              </a:extLst>
            </p:cNvPr>
            <p:cNvSpPr/>
            <p:nvPr/>
          </p:nvSpPr>
          <p:spPr>
            <a:xfrm>
              <a:off x="11507075" y="2171789"/>
              <a:ext cx="122852" cy="25791"/>
            </a:xfrm>
            <a:custGeom>
              <a:avLst/>
              <a:gdLst>
                <a:gd name="connsiteX0" fmla="*/ 119320 w 122852"/>
                <a:gd name="connsiteY0" fmla="*/ 25791 h 25791"/>
                <a:gd name="connsiteX1" fmla="*/ 119320 w 122852"/>
                <a:gd name="connsiteY1" fmla="*/ 25791 h 25791"/>
                <a:gd name="connsiteX2" fmla="*/ 9178 w 122852"/>
                <a:gd name="connsiteY2" fmla="*/ 19673 h 25791"/>
                <a:gd name="connsiteX3" fmla="*/ 0 w 122852"/>
                <a:gd name="connsiteY3" fmla="*/ 16613 h 25791"/>
                <a:gd name="connsiteX4" fmla="*/ 3060 w 122852"/>
                <a:gd name="connsiteY4" fmla="*/ 7435 h 25791"/>
                <a:gd name="connsiteX5" fmla="*/ 116260 w 122852"/>
                <a:gd name="connsiteY5" fmla="*/ 10494 h 25791"/>
                <a:gd name="connsiteX6" fmla="*/ 119320 w 122852"/>
                <a:gd name="connsiteY6" fmla="*/ 16613 h 25791"/>
                <a:gd name="connsiteX7" fmla="*/ 119320 w 122852"/>
                <a:gd name="connsiteY7" fmla="*/ 25791 h 25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852" h="25791">
                  <a:moveTo>
                    <a:pt x="119320" y="25791"/>
                  </a:moveTo>
                  <a:cubicBezTo>
                    <a:pt x="119320" y="25791"/>
                    <a:pt x="119320" y="25791"/>
                    <a:pt x="119320" y="25791"/>
                  </a:cubicBezTo>
                  <a:cubicBezTo>
                    <a:pt x="116260" y="25791"/>
                    <a:pt x="55070" y="4375"/>
                    <a:pt x="9178" y="19673"/>
                  </a:cubicBezTo>
                  <a:cubicBezTo>
                    <a:pt x="6118" y="19673"/>
                    <a:pt x="3060" y="19673"/>
                    <a:pt x="0" y="16613"/>
                  </a:cubicBezTo>
                  <a:cubicBezTo>
                    <a:pt x="0" y="13554"/>
                    <a:pt x="0" y="10494"/>
                    <a:pt x="3060" y="7435"/>
                  </a:cubicBezTo>
                  <a:cubicBezTo>
                    <a:pt x="52011" y="-10922"/>
                    <a:pt x="116260" y="10494"/>
                    <a:pt x="116260" y="10494"/>
                  </a:cubicBezTo>
                  <a:cubicBezTo>
                    <a:pt x="119320" y="10494"/>
                    <a:pt x="122380" y="13554"/>
                    <a:pt x="119320" y="16613"/>
                  </a:cubicBezTo>
                  <a:cubicBezTo>
                    <a:pt x="125439" y="25791"/>
                    <a:pt x="122380" y="25791"/>
                    <a:pt x="119320" y="25791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84CCE600-A1A7-4BFE-A6BA-CD13D44A7C8B}"/>
                </a:ext>
              </a:extLst>
            </p:cNvPr>
            <p:cNvSpPr/>
            <p:nvPr/>
          </p:nvSpPr>
          <p:spPr>
            <a:xfrm>
              <a:off x="11507075" y="4238260"/>
              <a:ext cx="102972" cy="232521"/>
            </a:xfrm>
            <a:custGeom>
              <a:avLst/>
              <a:gdLst>
                <a:gd name="connsiteX0" fmla="*/ 97903 w 102972"/>
                <a:gd name="connsiteY0" fmla="*/ 232521 h 232521"/>
                <a:gd name="connsiteX1" fmla="*/ 91785 w 102972"/>
                <a:gd name="connsiteY1" fmla="*/ 229462 h 232521"/>
                <a:gd name="connsiteX2" fmla="*/ 0 w 102972"/>
                <a:gd name="connsiteY2" fmla="*/ 6119 h 232521"/>
                <a:gd name="connsiteX3" fmla="*/ 3060 w 102972"/>
                <a:gd name="connsiteY3" fmla="*/ 0 h 232521"/>
                <a:gd name="connsiteX4" fmla="*/ 9178 w 102972"/>
                <a:gd name="connsiteY4" fmla="*/ 3059 h 232521"/>
                <a:gd name="connsiteX5" fmla="*/ 100963 w 102972"/>
                <a:gd name="connsiteY5" fmla="*/ 226402 h 232521"/>
                <a:gd name="connsiteX6" fmla="*/ 97903 w 102972"/>
                <a:gd name="connsiteY6" fmla="*/ 232521 h 232521"/>
                <a:gd name="connsiteX7" fmla="*/ 97903 w 102972"/>
                <a:gd name="connsiteY7" fmla="*/ 232521 h 232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972" h="232521">
                  <a:moveTo>
                    <a:pt x="97903" y="232521"/>
                  </a:moveTo>
                  <a:cubicBezTo>
                    <a:pt x="94844" y="232521"/>
                    <a:pt x="94844" y="232521"/>
                    <a:pt x="91785" y="229462"/>
                  </a:cubicBezTo>
                  <a:lnTo>
                    <a:pt x="0" y="6119"/>
                  </a:lnTo>
                  <a:cubicBezTo>
                    <a:pt x="0" y="3059"/>
                    <a:pt x="0" y="0"/>
                    <a:pt x="3060" y="0"/>
                  </a:cubicBezTo>
                  <a:cubicBezTo>
                    <a:pt x="6118" y="0"/>
                    <a:pt x="9178" y="0"/>
                    <a:pt x="9178" y="3059"/>
                  </a:cubicBezTo>
                  <a:lnTo>
                    <a:pt x="100963" y="226402"/>
                  </a:lnTo>
                  <a:cubicBezTo>
                    <a:pt x="104022" y="226402"/>
                    <a:pt x="104022" y="229462"/>
                    <a:pt x="97903" y="232521"/>
                  </a:cubicBezTo>
                  <a:cubicBezTo>
                    <a:pt x="97903" y="232521"/>
                    <a:pt x="97903" y="232521"/>
                    <a:pt x="97903" y="232521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6F0090D6-0473-4E91-ABDD-29BF4468B864}"/>
                </a:ext>
              </a:extLst>
            </p:cNvPr>
            <p:cNvSpPr/>
            <p:nvPr/>
          </p:nvSpPr>
          <p:spPr>
            <a:xfrm>
              <a:off x="11234780" y="3782396"/>
              <a:ext cx="688385" cy="39773"/>
            </a:xfrm>
            <a:custGeom>
              <a:avLst/>
              <a:gdLst>
                <a:gd name="connsiteX0" fmla="*/ 235580 w 688385"/>
                <a:gd name="connsiteY0" fmla="*/ 39773 h 39773"/>
                <a:gd name="connsiteX1" fmla="*/ 6118 w 688385"/>
                <a:gd name="connsiteY1" fmla="*/ 30595 h 39773"/>
                <a:gd name="connsiteX2" fmla="*/ 0 w 688385"/>
                <a:gd name="connsiteY2" fmla="*/ 24476 h 39773"/>
                <a:gd name="connsiteX3" fmla="*/ 6118 w 688385"/>
                <a:gd name="connsiteY3" fmla="*/ 18357 h 39773"/>
                <a:gd name="connsiteX4" fmla="*/ 682266 w 688385"/>
                <a:gd name="connsiteY4" fmla="*/ 0 h 39773"/>
                <a:gd name="connsiteX5" fmla="*/ 688385 w 688385"/>
                <a:gd name="connsiteY5" fmla="*/ 6119 h 39773"/>
                <a:gd name="connsiteX6" fmla="*/ 682266 w 688385"/>
                <a:gd name="connsiteY6" fmla="*/ 12238 h 39773"/>
                <a:gd name="connsiteX7" fmla="*/ 235580 w 688385"/>
                <a:gd name="connsiteY7" fmla="*/ 39773 h 39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8385" h="39773">
                  <a:moveTo>
                    <a:pt x="235580" y="39773"/>
                  </a:moveTo>
                  <a:cubicBezTo>
                    <a:pt x="94843" y="39773"/>
                    <a:pt x="9178" y="30595"/>
                    <a:pt x="6118" y="30595"/>
                  </a:cubicBezTo>
                  <a:cubicBezTo>
                    <a:pt x="3059" y="30595"/>
                    <a:pt x="0" y="27535"/>
                    <a:pt x="0" y="24476"/>
                  </a:cubicBezTo>
                  <a:cubicBezTo>
                    <a:pt x="0" y="21416"/>
                    <a:pt x="3059" y="18357"/>
                    <a:pt x="6118" y="18357"/>
                  </a:cubicBezTo>
                  <a:cubicBezTo>
                    <a:pt x="9178" y="18357"/>
                    <a:pt x="312067" y="45892"/>
                    <a:pt x="682266" y="0"/>
                  </a:cubicBezTo>
                  <a:cubicBezTo>
                    <a:pt x="685326" y="0"/>
                    <a:pt x="688385" y="3059"/>
                    <a:pt x="688385" y="6119"/>
                  </a:cubicBezTo>
                  <a:cubicBezTo>
                    <a:pt x="688385" y="9179"/>
                    <a:pt x="685326" y="12238"/>
                    <a:pt x="682266" y="12238"/>
                  </a:cubicBezTo>
                  <a:cubicBezTo>
                    <a:pt x="513994" y="33654"/>
                    <a:pt x="357960" y="39773"/>
                    <a:pt x="235580" y="39773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BE9C90BF-2378-43A0-8A1D-2ED7441596AB}"/>
                </a:ext>
              </a:extLst>
            </p:cNvPr>
            <p:cNvSpPr/>
            <p:nvPr/>
          </p:nvSpPr>
          <p:spPr>
            <a:xfrm>
              <a:off x="11399993" y="2837014"/>
              <a:ext cx="361019" cy="64249"/>
            </a:xfrm>
            <a:custGeom>
              <a:avLst/>
              <a:gdLst>
                <a:gd name="connsiteX0" fmla="*/ 36713 w 361019"/>
                <a:gd name="connsiteY0" fmla="*/ 9179 h 64249"/>
                <a:gd name="connsiteX1" fmla="*/ 336544 w 361019"/>
                <a:gd name="connsiteY1" fmla="*/ 0 h 64249"/>
                <a:gd name="connsiteX2" fmla="*/ 361019 w 361019"/>
                <a:gd name="connsiteY2" fmla="*/ 9179 h 64249"/>
                <a:gd name="connsiteX3" fmla="*/ 171332 w 361019"/>
                <a:gd name="connsiteY3" fmla="*/ 64249 h 64249"/>
                <a:gd name="connsiteX4" fmla="*/ 0 w 361019"/>
                <a:gd name="connsiteY4" fmla="*/ 15297 h 64249"/>
                <a:gd name="connsiteX5" fmla="*/ 36713 w 361019"/>
                <a:gd name="connsiteY5" fmla="*/ 9179 h 6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1019" h="64249">
                  <a:moveTo>
                    <a:pt x="36713" y="9179"/>
                  </a:moveTo>
                  <a:cubicBezTo>
                    <a:pt x="36713" y="9179"/>
                    <a:pt x="149915" y="67309"/>
                    <a:pt x="336544" y="0"/>
                  </a:cubicBezTo>
                  <a:lnTo>
                    <a:pt x="361019" y="9179"/>
                  </a:lnTo>
                  <a:cubicBezTo>
                    <a:pt x="361019" y="9179"/>
                    <a:pt x="281473" y="64249"/>
                    <a:pt x="171332" y="64249"/>
                  </a:cubicBezTo>
                  <a:cubicBezTo>
                    <a:pt x="67308" y="64249"/>
                    <a:pt x="0" y="15297"/>
                    <a:pt x="0" y="15297"/>
                  </a:cubicBezTo>
                  <a:cubicBezTo>
                    <a:pt x="0" y="15297"/>
                    <a:pt x="18357" y="9179"/>
                    <a:pt x="36713" y="9179"/>
                  </a:cubicBezTo>
                  <a:close/>
                </a:path>
              </a:pathLst>
            </a:custGeom>
            <a:solidFill>
              <a:srgbClr val="F6EBE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4" name="图形 892">
              <a:extLst>
                <a:ext uri="{FF2B5EF4-FFF2-40B4-BE49-F238E27FC236}">
                  <a16:creationId xmlns:a16="http://schemas.microsoft.com/office/drawing/2014/main" id="{5EBFA32C-F3E6-4750-8755-C49A3315533C}"/>
                </a:ext>
              </a:extLst>
            </p:cNvPr>
            <p:cNvGrpSpPr/>
            <p:nvPr/>
          </p:nvGrpSpPr>
          <p:grpSpPr>
            <a:xfrm>
              <a:off x="11056106" y="3738340"/>
              <a:ext cx="947829" cy="975365"/>
              <a:chOff x="11056106" y="3738340"/>
              <a:chExt cx="947829" cy="975365"/>
            </a:xfrm>
          </p:grpSpPr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83B14C2D-4635-4BFF-87C9-E7E1EAAE832C}"/>
                  </a:ext>
                </a:extLst>
              </p:cNvPr>
              <p:cNvSpPr/>
              <p:nvPr/>
            </p:nvSpPr>
            <p:spPr>
              <a:xfrm>
                <a:off x="11056106" y="3738340"/>
                <a:ext cx="947829" cy="975365"/>
              </a:xfrm>
              <a:custGeom>
                <a:avLst/>
                <a:gdLst>
                  <a:gd name="connsiteX0" fmla="*/ 931308 w 947829"/>
                  <a:gd name="connsiteY0" fmla="*/ 637598 h 975365"/>
                  <a:gd name="connsiteX1" fmla="*/ 487682 w 947829"/>
                  <a:gd name="connsiteY1" fmla="*/ 968023 h 975365"/>
                  <a:gd name="connsiteX2" fmla="*/ 429552 w 947829"/>
                  <a:gd name="connsiteY2" fmla="*/ 958844 h 975365"/>
                  <a:gd name="connsiteX3" fmla="*/ 7343 w 947829"/>
                  <a:gd name="connsiteY3" fmla="*/ 395898 h 975365"/>
                  <a:gd name="connsiteX4" fmla="*/ 16521 w 947829"/>
                  <a:gd name="connsiteY4" fmla="*/ 337768 h 975365"/>
                  <a:gd name="connsiteX5" fmla="*/ 460147 w 947829"/>
                  <a:gd name="connsiteY5" fmla="*/ 7343 h 975365"/>
                  <a:gd name="connsiteX6" fmla="*/ 518277 w 947829"/>
                  <a:gd name="connsiteY6" fmla="*/ 16521 h 975365"/>
                  <a:gd name="connsiteX7" fmla="*/ 940487 w 947829"/>
                  <a:gd name="connsiteY7" fmla="*/ 579467 h 975365"/>
                  <a:gd name="connsiteX8" fmla="*/ 931308 w 947829"/>
                  <a:gd name="connsiteY8" fmla="*/ 637598 h 975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7829" h="975365">
                    <a:moveTo>
                      <a:pt x="931308" y="637598"/>
                    </a:moveTo>
                    <a:lnTo>
                      <a:pt x="487682" y="968023"/>
                    </a:lnTo>
                    <a:cubicBezTo>
                      <a:pt x="469326" y="980261"/>
                      <a:pt x="444850" y="977201"/>
                      <a:pt x="429552" y="958844"/>
                    </a:cubicBezTo>
                    <a:lnTo>
                      <a:pt x="7343" y="395898"/>
                    </a:lnTo>
                    <a:cubicBezTo>
                      <a:pt x="-4895" y="377541"/>
                      <a:pt x="-1836" y="353065"/>
                      <a:pt x="16521" y="337768"/>
                    </a:cubicBezTo>
                    <a:lnTo>
                      <a:pt x="460147" y="7343"/>
                    </a:lnTo>
                    <a:cubicBezTo>
                      <a:pt x="478504" y="-4895"/>
                      <a:pt x="502980" y="-1836"/>
                      <a:pt x="518277" y="16521"/>
                    </a:cubicBezTo>
                    <a:lnTo>
                      <a:pt x="940487" y="579467"/>
                    </a:lnTo>
                    <a:cubicBezTo>
                      <a:pt x="952725" y="597824"/>
                      <a:pt x="949665" y="625360"/>
                      <a:pt x="931308" y="637598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78F85DD2-966D-4018-AFD9-5A70F1FCC542}"/>
                  </a:ext>
                </a:extLst>
              </p:cNvPr>
              <p:cNvSpPr/>
              <p:nvPr/>
            </p:nvSpPr>
            <p:spPr>
              <a:xfrm>
                <a:off x="11178898" y="3796882"/>
                <a:ext cx="231085" cy="231085"/>
              </a:xfrm>
              <a:custGeom>
                <a:avLst/>
                <a:gdLst>
                  <a:gd name="connsiteX0" fmla="*/ 46704 w 231085"/>
                  <a:gd name="connsiteY0" fmla="*/ 22228 h 231085"/>
                  <a:gd name="connsiteX1" fmla="*/ 22228 w 231085"/>
                  <a:gd name="connsiteY1" fmla="*/ 184381 h 231085"/>
                  <a:gd name="connsiteX2" fmla="*/ 184381 w 231085"/>
                  <a:gd name="connsiteY2" fmla="*/ 208857 h 231085"/>
                  <a:gd name="connsiteX3" fmla="*/ 208857 w 231085"/>
                  <a:gd name="connsiteY3" fmla="*/ 46704 h 231085"/>
                  <a:gd name="connsiteX4" fmla="*/ 46704 w 231085"/>
                  <a:gd name="connsiteY4" fmla="*/ 22228 h 231085"/>
                  <a:gd name="connsiteX5" fmla="*/ 156846 w 231085"/>
                  <a:gd name="connsiteY5" fmla="*/ 172143 h 231085"/>
                  <a:gd name="connsiteX6" fmla="*/ 58942 w 231085"/>
                  <a:gd name="connsiteY6" fmla="*/ 156846 h 231085"/>
                  <a:gd name="connsiteX7" fmla="*/ 74239 w 231085"/>
                  <a:gd name="connsiteY7" fmla="*/ 58942 h 231085"/>
                  <a:gd name="connsiteX8" fmla="*/ 172143 w 231085"/>
                  <a:gd name="connsiteY8" fmla="*/ 74240 h 231085"/>
                  <a:gd name="connsiteX9" fmla="*/ 156846 w 231085"/>
                  <a:gd name="connsiteY9" fmla="*/ 172143 h 231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1085" h="231085">
                    <a:moveTo>
                      <a:pt x="46704" y="22228"/>
                    </a:moveTo>
                    <a:cubicBezTo>
                      <a:pt x="-5307" y="62002"/>
                      <a:pt x="-14486" y="132370"/>
                      <a:pt x="22228" y="184381"/>
                    </a:cubicBezTo>
                    <a:cubicBezTo>
                      <a:pt x="62001" y="236392"/>
                      <a:pt x="132370" y="245571"/>
                      <a:pt x="184381" y="208857"/>
                    </a:cubicBezTo>
                    <a:cubicBezTo>
                      <a:pt x="236393" y="169084"/>
                      <a:pt x="245571" y="98715"/>
                      <a:pt x="208857" y="46704"/>
                    </a:cubicBezTo>
                    <a:cubicBezTo>
                      <a:pt x="169083" y="-5307"/>
                      <a:pt x="98716" y="-14486"/>
                      <a:pt x="46704" y="22228"/>
                    </a:cubicBezTo>
                    <a:close/>
                    <a:moveTo>
                      <a:pt x="156846" y="172143"/>
                    </a:moveTo>
                    <a:cubicBezTo>
                      <a:pt x="126251" y="196619"/>
                      <a:pt x="80358" y="190500"/>
                      <a:pt x="58942" y="156846"/>
                    </a:cubicBezTo>
                    <a:cubicBezTo>
                      <a:pt x="34466" y="126251"/>
                      <a:pt x="40585" y="80358"/>
                      <a:pt x="74239" y="58942"/>
                    </a:cubicBezTo>
                    <a:cubicBezTo>
                      <a:pt x="104834" y="34466"/>
                      <a:pt x="150726" y="40585"/>
                      <a:pt x="172143" y="74240"/>
                    </a:cubicBezTo>
                    <a:cubicBezTo>
                      <a:pt x="196619" y="104834"/>
                      <a:pt x="187441" y="147667"/>
                      <a:pt x="156846" y="172143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31582123-8AEC-42E4-9752-E400286A540E}"/>
                  </a:ext>
                </a:extLst>
              </p:cNvPr>
              <p:cNvSpPr/>
              <p:nvPr/>
            </p:nvSpPr>
            <p:spPr>
              <a:xfrm rot="-2210956">
                <a:off x="11270385" y="3904362"/>
                <a:ext cx="520102" cy="642480"/>
              </a:xfrm>
              <a:custGeom>
                <a:avLst/>
                <a:gdLst>
                  <a:gd name="connsiteX0" fmla="*/ 0 w 520102"/>
                  <a:gd name="connsiteY0" fmla="*/ 0 h 642480"/>
                  <a:gd name="connsiteX1" fmla="*/ 520103 w 520102"/>
                  <a:gd name="connsiteY1" fmla="*/ 0 h 642480"/>
                  <a:gd name="connsiteX2" fmla="*/ 520103 w 520102"/>
                  <a:gd name="connsiteY2" fmla="*/ 642480 h 642480"/>
                  <a:gd name="connsiteX3" fmla="*/ 0 w 520102"/>
                  <a:gd name="connsiteY3" fmla="*/ 642480 h 64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0102" h="642480">
                    <a:moveTo>
                      <a:pt x="0" y="0"/>
                    </a:moveTo>
                    <a:lnTo>
                      <a:pt x="520103" y="0"/>
                    </a:lnTo>
                    <a:lnTo>
                      <a:pt x="520103" y="642480"/>
                    </a:lnTo>
                    <a:lnTo>
                      <a:pt x="0" y="642480"/>
                    </a:lnTo>
                    <a:close/>
                  </a:path>
                </a:pathLst>
              </a:custGeom>
              <a:solidFill>
                <a:srgbClr val="F6EBEB"/>
              </a:solidFill>
              <a:ln w="305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CF9C3B5D-E6EA-49CB-B5A7-9C0DA95C6F5B}"/>
                  </a:ext>
                </a:extLst>
              </p:cNvPr>
              <p:cNvSpPr/>
              <p:nvPr/>
            </p:nvSpPr>
            <p:spPr>
              <a:xfrm>
                <a:off x="11227301" y="3909535"/>
                <a:ext cx="317846" cy="243059"/>
              </a:xfrm>
              <a:custGeom>
                <a:avLst/>
                <a:gdLst>
                  <a:gd name="connsiteX0" fmla="*/ 4420 w 317846"/>
                  <a:gd name="connsiteY0" fmla="*/ 243060 h 243059"/>
                  <a:gd name="connsiteX1" fmla="*/ 1360 w 317846"/>
                  <a:gd name="connsiteY1" fmla="*/ 240000 h 243059"/>
                  <a:gd name="connsiteX2" fmla="*/ 1360 w 317846"/>
                  <a:gd name="connsiteY2" fmla="*/ 230822 h 243059"/>
                  <a:gd name="connsiteX3" fmla="*/ 307309 w 317846"/>
                  <a:gd name="connsiteY3" fmla="*/ 1360 h 243059"/>
                  <a:gd name="connsiteX4" fmla="*/ 316487 w 317846"/>
                  <a:gd name="connsiteY4" fmla="*/ 1360 h 243059"/>
                  <a:gd name="connsiteX5" fmla="*/ 316487 w 317846"/>
                  <a:gd name="connsiteY5" fmla="*/ 10538 h 243059"/>
                  <a:gd name="connsiteX6" fmla="*/ 10538 w 317846"/>
                  <a:gd name="connsiteY6" fmla="*/ 240000 h 243059"/>
                  <a:gd name="connsiteX7" fmla="*/ 4420 w 317846"/>
                  <a:gd name="connsiteY7" fmla="*/ 243060 h 243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7846" h="243059">
                    <a:moveTo>
                      <a:pt x="4420" y="243060"/>
                    </a:moveTo>
                    <a:cubicBezTo>
                      <a:pt x="1360" y="243060"/>
                      <a:pt x="1360" y="243060"/>
                      <a:pt x="1360" y="240000"/>
                    </a:cubicBezTo>
                    <a:cubicBezTo>
                      <a:pt x="-1700" y="236941"/>
                      <a:pt x="1360" y="233881"/>
                      <a:pt x="1360" y="230822"/>
                    </a:cubicBezTo>
                    <a:lnTo>
                      <a:pt x="307309" y="1360"/>
                    </a:lnTo>
                    <a:cubicBezTo>
                      <a:pt x="310369" y="-1700"/>
                      <a:pt x="313428" y="1360"/>
                      <a:pt x="316487" y="1360"/>
                    </a:cubicBezTo>
                    <a:cubicBezTo>
                      <a:pt x="319547" y="4419"/>
                      <a:pt x="316487" y="7479"/>
                      <a:pt x="316487" y="10538"/>
                    </a:cubicBezTo>
                    <a:lnTo>
                      <a:pt x="10538" y="240000"/>
                    </a:lnTo>
                    <a:cubicBezTo>
                      <a:pt x="7479" y="243060"/>
                      <a:pt x="7479" y="243060"/>
                      <a:pt x="4420" y="24306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00BED75C-4531-4F7E-B05E-1CE13EA30209}"/>
                  </a:ext>
                </a:extLst>
              </p:cNvPr>
              <p:cNvSpPr/>
              <p:nvPr/>
            </p:nvSpPr>
            <p:spPr>
              <a:xfrm>
                <a:off x="11279313" y="3976844"/>
                <a:ext cx="317846" cy="243059"/>
              </a:xfrm>
              <a:custGeom>
                <a:avLst/>
                <a:gdLst>
                  <a:gd name="connsiteX0" fmla="*/ 4419 w 317846"/>
                  <a:gd name="connsiteY0" fmla="*/ 243060 h 243059"/>
                  <a:gd name="connsiteX1" fmla="*/ 1360 w 317846"/>
                  <a:gd name="connsiteY1" fmla="*/ 240000 h 243059"/>
                  <a:gd name="connsiteX2" fmla="*/ 1360 w 317846"/>
                  <a:gd name="connsiteY2" fmla="*/ 230822 h 243059"/>
                  <a:gd name="connsiteX3" fmla="*/ 307309 w 317846"/>
                  <a:gd name="connsiteY3" fmla="*/ 1360 h 243059"/>
                  <a:gd name="connsiteX4" fmla="*/ 316487 w 317846"/>
                  <a:gd name="connsiteY4" fmla="*/ 1360 h 243059"/>
                  <a:gd name="connsiteX5" fmla="*/ 316487 w 317846"/>
                  <a:gd name="connsiteY5" fmla="*/ 10538 h 243059"/>
                  <a:gd name="connsiteX6" fmla="*/ 10538 w 317846"/>
                  <a:gd name="connsiteY6" fmla="*/ 240000 h 243059"/>
                  <a:gd name="connsiteX7" fmla="*/ 4419 w 317846"/>
                  <a:gd name="connsiteY7" fmla="*/ 243060 h 243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7846" h="243059">
                    <a:moveTo>
                      <a:pt x="4419" y="243060"/>
                    </a:moveTo>
                    <a:cubicBezTo>
                      <a:pt x="1360" y="243060"/>
                      <a:pt x="1360" y="243060"/>
                      <a:pt x="1360" y="240000"/>
                    </a:cubicBezTo>
                    <a:cubicBezTo>
                      <a:pt x="-1700" y="236940"/>
                      <a:pt x="1360" y="233881"/>
                      <a:pt x="1360" y="230822"/>
                    </a:cubicBezTo>
                    <a:lnTo>
                      <a:pt x="307309" y="1360"/>
                    </a:lnTo>
                    <a:cubicBezTo>
                      <a:pt x="310368" y="-1700"/>
                      <a:pt x="313427" y="1360"/>
                      <a:pt x="316487" y="1360"/>
                    </a:cubicBezTo>
                    <a:cubicBezTo>
                      <a:pt x="319547" y="4419"/>
                      <a:pt x="316487" y="7479"/>
                      <a:pt x="316487" y="10538"/>
                    </a:cubicBezTo>
                    <a:lnTo>
                      <a:pt x="10538" y="240000"/>
                    </a:lnTo>
                    <a:cubicBezTo>
                      <a:pt x="4419" y="243060"/>
                      <a:pt x="4419" y="243060"/>
                      <a:pt x="4419" y="24306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2663BC26-DEC5-401E-944D-218A269F96BE}"/>
                  </a:ext>
                </a:extLst>
              </p:cNvPr>
              <p:cNvSpPr/>
              <p:nvPr/>
            </p:nvSpPr>
            <p:spPr>
              <a:xfrm>
                <a:off x="11328264" y="4044153"/>
                <a:ext cx="317847" cy="243059"/>
              </a:xfrm>
              <a:custGeom>
                <a:avLst/>
                <a:gdLst>
                  <a:gd name="connsiteX0" fmla="*/ 4419 w 317847"/>
                  <a:gd name="connsiteY0" fmla="*/ 243060 h 243059"/>
                  <a:gd name="connsiteX1" fmla="*/ 1359 w 317847"/>
                  <a:gd name="connsiteY1" fmla="*/ 240000 h 243059"/>
                  <a:gd name="connsiteX2" fmla="*/ 1359 w 317847"/>
                  <a:gd name="connsiteY2" fmla="*/ 230822 h 243059"/>
                  <a:gd name="connsiteX3" fmla="*/ 307308 w 317847"/>
                  <a:gd name="connsiteY3" fmla="*/ 1360 h 243059"/>
                  <a:gd name="connsiteX4" fmla="*/ 316487 w 317847"/>
                  <a:gd name="connsiteY4" fmla="*/ 1360 h 243059"/>
                  <a:gd name="connsiteX5" fmla="*/ 316487 w 317847"/>
                  <a:gd name="connsiteY5" fmla="*/ 10538 h 243059"/>
                  <a:gd name="connsiteX6" fmla="*/ 10538 w 317847"/>
                  <a:gd name="connsiteY6" fmla="*/ 240000 h 243059"/>
                  <a:gd name="connsiteX7" fmla="*/ 4419 w 317847"/>
                  <a:gd name="connsiteY7" fmla="*/ 243060 h 243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7847" h="243059">
                    <a:moveTo>
                      <a:pt x="4419" y="243060"/>
                    </a:moveTo>
                    <a:cubicBezTo>
                      <a:pt x="1359" y="243060"/>
                      <a:pt x="1359" y="243060"/>
                      <a:pt x="1359" y="240000"/>
                    </a:cubicBezTo>
                    <a:cubicBezTo>
                      <a:pt x="-1699" y="236941"/>
                      <a:pt x="1359" y="233881"/>
                      <a:pt x="1359" y="230822"/>
                    </a:cubicBezTo>
                    <a:lnTo>
                      <a:pt x="307308" y="1360"/>
                    </a:lnTo>
                    <a:cubicBezTo>
                      <a:pt x="310368" y="-1700"/>
                      <a:pt x="313428" y="1360"/>
                      <a:pt x="316487" y="1360"/>
                    </a:cubicBezTo>
                    <a:cubicBezTo>
                      <a:pt x="319547" y="4419"/>
                      <a:pt x="316487" y="7479"/>
                      <a:pt x="316487" y="10538"/>
                    </a:cubicBezTo>
                    <a:lnTo>
                      <a:pt x="10538" y="240000"/>
                    </a:lnTo>
                    <a:cubicBezTo>
                      <a:pt x="7479" y="243060"/>
                      <a:pt x="4419" y="243060"/>
                      <a:pt x="4419" y="24306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BEE70667-ECAD-4B88-8B03-C1037800E0EC}"/>
                  </a:ext>
                </a:extLst>
              </p:cNvPr>
              <p:cNvSpPr/>
              <p:nvPr/>
            </p:nvSpPr>
            <p:spPr>
              <a:xfrm>
                <a:off x="11377216" y="4111462"/>
                <a:ext cx="317847" cy="243059"/>
              </a:xfrm>
              <a:custGeom>
                <a:avLst/>
                <a:gdLst>
                  <a:gd name="connsiteX0" fmla="*/ 4420 w 317847"/>
                  <a:gd name="connsiteY0" fmla="*/ 243059 h 243059"/>
                  <a:gd name="connsiteX1" fmla="*/ 1360 w 317847"/>
                  <a:gd name="connsiteY1" fmla="*/ 240000 h 243059"/>
                  <a:gd name="connsiteX2" fmla="*/ 1360 w 317847"/>
                  <a:gd name="connsiteY2" fmla="*/ 230822 h 243059"/>
                  <a:gd name="connsiteX3" fmla="*/ 307309 w 317847"/>
                  <a:gd name="connsiteY3" fmla="*/ 1360 h 243059"/>
                  <a:gd name="connsiteX4" fmla="*/ 316488 w 317847"/>
                  <a:gd name="connsiteY4" fmla="*/ 1360 h 243059"/>
                  <a:gd name="connsiteX5" fmla="*/ 316488 w 317847"/>
                  <a:gd name="connsiteY5" fmla="*/ 10538 h 243059"/>
                  <a:gd name="connsiteX6" fmla="*/ 10539 w 317847"/>
                  <a:gd name="connsiteY6" fmla="*/ 240000 h 243059"/>
                  <a:gd name="connsiteX7" fmla="*/ 4420 w 317847"/>
                  <a:gd name="connsiteY7" fmla="*/ 243059 h 243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7847" h="243059">
                    <a:moveTo>
                      <a:pt x="4420" y="243059"/>
                    </a:moveTo>
                    <a:cubicBezTo>
                      <a:pt x="1360" y="243059"/>
                      <a:pt x="1360" y="243059"/>
                      <a:pt x="1360" y="240000"/>
                    </a:cubicBezTo>
                    <a:cubicBezTo>
                      <a:pt x="-1700" y="236941"/>
                      <a:pt x="1360" y="233881"/>
                      <a:pt x="1360" y="230822"/>
                    </a:cubicBezTo>
                    <a:lnTo>
                      <a:pt x="307309" y="1360"/>
                    </a:lnTo>
                    <a:cubicBezTo>
                      <a:pt x="310369" y="-1700"/>
                      <a:pt x="313428" y="1360"/>
                      <a:pt x="316488" y="1360"/>
                    </a:cubicBezTo>
                    <a:cubicBezTo>
                      <a:pt x="319547" y="4419"/>
                      <a:pt x="316488" y="7479"/>
                      <a:pt x="316488" y="10538"/>
                    </a:cubicBezTo>
                    <a:lnTo>
                      <a:pt x="10539" y="240000"/>
                    </a:lnTo>
                    <a:cubicBezTo>
                      <a:pt x="7479" y="240000"/>
                      <a:pt x="7479" y="243059"/>
                      <a:pt x="4420" y="24305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A64A7850-C07B-4B69-A809-1AC344CF611D}"/>
                  </a:ext>
                </a:extLst>
              </p:cNvPr>
              <p:cNvSpPr/>
              <p:nvPr/>
            </p:nvSpPr>
            <p:spPr>
              <a:xfrm>
                <a:off x="11478180" y="4243020"/>
                <a:ext cx="317846" cy="243059"/>
              </a:xfrm>
              <a:custGeom>
                <a:avLst/>
                <a:gdLst>
                  <a:gd name="connsiteX0" fmla="*/ 4419 w 317846"/>
                  <a:gd name="connsiteY0" fmla="*/ 243060 h 243059"/>
                  <a:gd name="connsiteX1" fmla="*/ 1360 w 317846"/>
                  <a:gd name="connsiteY1" fmla="*/ 240000 h 243059"/>
                  <a:gd name="connsiteX2" fmla="*/ 1360 w 317846"/>
                  <a:gd name="connsiteY2" fmla="*/ 230822 h 243059"/>
                  <a:gd name="connsiteX3" fmla="*/ 307309 w 317846"/>
                  <a:gd name="connsiteY3" fmla="*/ 1360 h 243059"/>
                  <a:gd name="connsiteX4" fmla="*/ 316487 w 317846"/>
                  <a:gd name="connsiteY4" fmla="*/ 1360 h 243059"/>
                  <a:gd name="connsiteX5" fmla="*/ 316487 w 317846"/>
                  <a:gd name="connsiteY5" fmla="*/ 10538 h 243059"/>
                  <a:gd name="connsiteX6" fmla="*/ 10538 w 317846"/>
                  <a:gd name="connsiteY6" fmla="*/ 240000 h 243059"/>
                  <a:gd name="connsiteX7" fmla="*/ 4419 w 317846"/>
                  <a:gd name="connsiteY7" fmla="*/ 243060 h 243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7846" h="243059">
                    <a:moveTo>
                      <a:pt x="4419" y="243060"/>
                    </a:moveTo>
                    <a:cubicBezTo>
                      <a:pt x="1360" y="243060"/>
                      <a:pt x="1360" y="243060"/>
                      <a:pt x="1360" y="240000"/>
                    </a:cubicBezTo>
                    <a:cubicBezTo>
                      <a:pt x="-1700" y="236941"/>
                      <a:pt x="1360" y="233881"/>
                      <a:pt x="1360" y="230822"/>
                    </a:cubicBezTo>
                    <a:lnTo>
                      <a:pt x="307309" y="1360"/>
                    </a:lnTo>
                    <a:cubicBezTo>
                      <a:pt x="310368" y="-1700"/>
                      <a:pt x="313427" y="1360"/>
                      <a:pt x="316487" y="1360"/>
                    </a:cubicBezTo>
                    <a:cubicBezTo>
                      <a:pt x="319547" y="4419"/>
                      <a:pt x="316487" y="7479"/>
                      <a:pt x="316487" y="10538"/>
                    </a:cubicBezTo>
                    <a:lnTo>
                      <a:pt x="10538" y="240000"/>
                    </a:lnTo>
                    <a:cubicBezTo>
                      <a:pt x="7478" y="243060"/>
                      <a:pt x="4419" y="243060"/>
                      <a:pt x="4419" y="24306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E7C8339B-3017-48FF-B931-F6609BFC0B9F}"/>
                  </a:ext>
                </a:extLst>
              </p:cNvPr>
              <p:cNvSpPr/>
              <p:nvPr/>
            </p:nvSpPr>
            <p:spPr>
              <a:xfrm>
                <a:off x="11527131" y="4310328"/>
                <a:ext cx="317847" cy="243059"/>
              </a:xfrm>
              <a:custGeom>
                <a:avLst/>
                <a:gdLst>
                  <a:gd name="connsiteX0" fmla="*/ 4419 w 317847"/>
                  <a:gd name="connsiteY0" fmla="*/ 243059 h 243059"/>
                  <a:gd name="connsiteX1" fmla="*/ 1359 w 317847"/>
                  <a:gd name="connsiteY1" fmla="*/ 240000 h 243059"/>
                  <a:gd name="connsiteX2" fmla="*/ 1359 w 317847"/>
                  <a:gd name="connsiteY2" fmla="*/ 230822 h 243059"/>
                  <a:gd name="connsiteX3" fmla="*/ 307308 w 317847"/>
                  <a:gd name="connsiteY3" fmla="*/ 1360 h 243059"/>
                  <a:gd name="connsiteX4" fmla="*/ 316487 w 317847"/>
                  <a:gd name="connsiteY4" fmla="*/ 1360 h 243059"/>
                  <a:gd name="connsiteX5" fmla="*/ 316487 w 317847"/>
                  <a:gd name="connsiteY5" fmla="*/ 10538 h 243059"/>
                  <a:gd name="connsiteX6" fmla="*/ 10538 w 317847"/>
                  <a:gd name="connsiteY6" fmla="*/ 240000 h 243059"/>
                  <a:gd name="connsiteX7" fmla="*/ 4419 w 317847"/>
                  <a:gd name="connsiteY7" fmla="*/ 243059 h 243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7847" h="243059">
                    <a:moveTo>
                      <a:pt x="4419" y="243059"/>
                    </a:moveTo>
                    <a:cubicBezTo>
                      <a:pt x="1359" y="243059"/>
                      <a:pt x="1359" y="243059"/>
                      <a:pt x="1359" y="240000"/>
                    </a:cubicBezTo>
                    <a:cubicBezTo>
                      <a:pt x="-1699" y="236941"/>
                      <a:pt x="1359" y="233881"/>
                      <a:pt x="1359" y="230822"/>
                    </a:cubicBezTo>
                    <a:lnTo>
                      <a:pt x="307308" y="1360"/>
                    </a:lnTo>
                    <a:cubicBezTo>
                      <a:pt x="310368" y="-1700"/>
                      <a:pt x="313428" y="1360"/>
                      <a:pt x="316487" y="1360"/>
                    </a:cubicBezTo>
                    <a:cubicBezTo>
                      <a:pt x="319547" y="4419"/>
                      <a:pt x="316487" y="7479"/>
                      <a:pt x="316487" y="10538"/>
                    </a:cubicBezTo>
                    <a:lnTo>
                      <a:pt x="10538" y="240000"/>
                    </a:lnTo>
                    <a:cubicBezTo>
                      <a:pt x="7479" y="243059"/>
                      <a:pt x="7479" y="243059"/>
                      <a:pt x="4419" y="24305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AAB92C87-FA4D-4A20-9895-6B90B254BD5C}"/>
                </a:ext>
              </a:extLst>
            </p:cNvPr>
            <p:cNvSpPr/>
            <p:nvPr/>
          </p:nvSpPr>
          <p:spPr>
            <a:xfrm>
              <a:off x="11724299" y="3871122"/>
              <a:ext cx="156033" cy="146855"/>
            </a:xfrm>
            <a:custGeom>
              <a:avLst/>
              <a:gdLst>
                <a:gd name="connsiteX0" fmla="*/ 85665 w 156033"/>
                <a:gd name="connsiteY0" fmla="*/ 0 h 146855"/>
                <a:gd name="connsiteX1" fmla="*/ 0 w 156033"/>
                <a:gd name="connsiteY1" fmla="*/ 70368 h 146855"/>
                <a:gd name="connsiteX2" fmla="*/ 85665 w 156033"/>
                <a:gd name="connsiteY2" fmla="*/ 146855 h 146855"/>
                <a:gd name="connsiteX3" fmla="*/ 156033 w 156033"/>
                <a:gd name="connsiteY3" fmla="*/ 85666 h 146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033" h="146855">
                  <a:moveTo>
                    <a:pt x="85665" y="0"/>
                  </a:moveTo>
                  <a:lnTo>
                    <a:pt x="0" y="70368"/>
                  </a:lnTo>
                  <a:lnTo>
                    <a:pt x="85665" y="146855"/>
                  </a:lnTo>
                  <a:lnTo>
                    <a:pt x="156033" y="85666"/>
                  </a:ln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86FDD712-7E62-4C74-B427-5A32A615DFEE}"/>
                </a:ext>
              </a:extLst>
            </p:cNvPr>
            <p:cNvSpPr/>
            <p:nvPr/>
          </p:nvSpPr>
          <p:spPr>
            <a:xfrm>
              <a:off x="11754894" y="2893021"/>
              <a:ext cx="513421" cy="1103539"/>
            </a:xfrm>
            <a:custGeom>
              <a:avLst/>
              <a:gdLst>
                <a:gd name="connsiteX0" fmla="*/ 333484 w 513421"/>
                <a:gd name="connsiteY0" fmla="*/ 173455 h 1103539"/>
                <a:gd name="connsiteX1" fmla="*/ 110141 w 513421"/>
                <a:gd name="connsiteY1" fmla="*/ 5183 h 1103539"/>
                <a:gd name="connsiteX2" fmla="*/ 100963 w 513421"/>
                <a:gd name="connsiteY2" fmla="*/ 283597 h 1103539"/>
                <a:gd name="connsiteX3" fmla="*/ 275354 w 513421"/>
                <a:gd name="connsiteY3" fmla="*/ 659914 h 1103539"/>
                <a:gd name="connsiteX4" fmla="*/ 0 w 513421"/>
                <a:gd name="connsiteY4" fmla="*/ 984220 h 1103539"/>
                <a:gd name="connsiteX5" fmla="*/ 122380 w 513421"/>
                <a:gd name="connsiteY5" fmla="*/ 1103540 h 1103539"/>
                <a:gd name="connsiteX6" fmla="*/ 510934 w 513421"/>
                <a:gd name="connsiteY6" fmla="*/ 699687 h 1103539"/>
                <a:gd name="connsiteX7" fmla="*/ 333484 w 513421"/>
                <a:gd name="connsiteY7" fmla="*/ 173455 h 1103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3421" h="1103539">
                  <a:moveTo>
                    <a:pt x="333484" y="173455"/>
                  </a:moveTo>
                  <a:cubicBezTo>
                    <a:pt x="223342" y="26599"/>
                    <a:pt x="189688" y="-16233"/>
                    <a:pt x="110141" y="5183"/>
                  </a:cubicBezTo>
                  <a:cubicBezTo>
                    <a:pt x="21416" y="29659"/>
                    <a:pt x="39773" y="167336"/>
                    <a:pt x="100963" y="283597"/>
                  </a:cubicBezTo>
                  <a:cubicBezTo>
                    <a:pt x="146855" y="375381"/>
                    <a:pt x="293710" y="635438"/>
                    <a:pt x="275354" y="659914"/>
                  </a:cubicBezTo>
                  <a:cubicBezTo>
                    <a:pt x="256997" y="721104"/>
                    <a:pt x="0" y="984220"/>
                    <a:pt x="0" y="984220"/>
                  </a:cubicBezTo>
                  <a:cubicBezTo>
                    <a:pt x="15297" y="1011755"/>
                    <a:pt x="122380" y="1103540"/>
                    <a:pt x="122380" y="1103540"/>
                  </a:cubicBezTo>
                  <a:cubicBezTo>
                    <a:pt x="122380" y="1103540"/>
                    <a:pt x="489518" y="776174"/>
                    <a:pt x="510934" y="699687"/>
                  </a:cubicBezTo>
                  <a:cubicBezTo>
                    <a:pt x="529291" y="629319"/>
                    <a:pt x="443626" y="320310"/>
                    <a:pt x="333484" y="173455"/>
                  </a:cubicBezTo>
                  <a:close/>
                </a:path>
              </a:pathLst>
            </a:custGeom>
            <a:solidFill>
              <a:srgbClr val="708686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A8842837-445C-4E73-B6FD-DC4694E1DAA5}"/>
                </a:ext>
              </a:extLst>
            </p:cNvPr>
            <p:cNvSpPr/>
            <p:nvPr/>
          </p:nvSpPr>
          <p:spPr>
            <a:xfrm>
              <a:off x="11786013" y="2885966"/>
              <a:ext cx="142506" cy="425269"/>
            </a:xfrm>
            <a:custGeom>
              <a:avLst/>
              <a:gdLst>
                <a:gd name="connsiteX0" fmla="*/ 137153 w 142506"/>
                <a:gd name="connsiteY0" fmla="*/ 422210 h 425269"/>
                <a:gd name="connsiteX1" fmla="*/ 134093 w 142506"/>
                <a:gd name="connsiteY1" fmla="*/ 419150 h 425269"/>
                <a:gd name="connsiteX2" fmla="*/ 8654 w 142506"/>
                <a:gd name="connsiteY2" fmla="*/ 192748 h 425269"/>
                <a:gd name="connsiteX3" fmla="*/ 2534 w 142506"/>
                <a:gd name="connsiteY3" fmla="*/ 104023 h 425269"/>
                <a:gd name="connsiteX4" fmla="*/ 109616 w 142506"/>
                <a:gd name="connsiteY4" fmla="*/ 0 h 425269"/>
                <a:gd name="connsiteX5" fmla="*/ 115736 w 142506"/>
                <a:gd name="connsiteY5" fmla="*/ 6119 h 425269"/>
                <a:gd name="connsiteX6" fmla="*/ 109616 w 142506"/>
                <a:gd name="connsiteY6" fmla="*/ 12238 h 425269"/>
                <a:gd name="connsiteX7" fmla="*/ 11713 w 142506"/>
                <a:gd name="connsiteY7" fmla="*/ 107082 h 425269"/>
                <a:gd name="connsiteX8" fmla="*/ 17832 w 142506"/>
                <a:gd name="connsiteY8" fmla="*/ 192748 h 425269"/>
                <a:gd name="connsiteX9" fmla="*/ 140211 w 142506"/>
                <a:gd name="connsiteY9" fmla="*/ 416091 h 425269"/>
                <a:gd name="connsiteX10" fmla="*/ 140211 w 142506"/>
                <a:gd name="connsiteY10" fmla="*/ 425269 h 425269"/>
                <a:gd name="connsiteX11" fmla="*/ 137153 w 142506"/>
                <a:gd name="connsiteY11" fmla="*/ 422210 h 425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2506" h="425269">
                  <a:moveTo>
                    <a:pt x="137153" y="422210"/>
                  </a:moveTo>
                  <a:cubicBezTo>
                    <a:pt x="134093" y="422210"/>
                    <a:pt x="134093" y="422210"/>
                    <a:pt x="134093" y="419150"/>
                  </a:cubicBezTo>
                  <a:cubicBezTo>
                    <a:pt x="66784" y="342663"/>
                    <a:pt x="23951" y="266176"/>
                    <a:pt x="8654" y="192748"/>
                  </a:cubicBezTo>
                  <a:cubicBezTo>
                    <a:pt x="2534" y="165212"/>
                    <a:pt x="-3584" y="134618"/>
                    <a:pt x="2534" y="104023"/>
                  </a:cubicBezTo>
                  <a:cubicBezTo>
                    <a:pt x="8654" y="67309"/>
                    <a:pt x="42308" y="9178"/>
                    <a:pt x="109616" y="0"/>
                  </a:cubicBezTo>
                  <a:cubicBezTo>
                    <a:pt x="112676" y="0"/>
                    <a:pt x="115736" y="3059"/>
                    <a:pt x="115736" y="6119"/>
                  </a:cubicBezTo>
                  <a:cubicBezTo>
                    <a:pt x="115736" y="9178"/>
                    <a:pt x="112676" y="12238"/>
                    <a:pt x="109616" y="12238"/>
                  </a:cubicBezTo>
                  <a:cubicBezTo>
                    <a:pt x="39249" y="21416"/>
                    <a:pt x="14773" y="82606"/>
                    <a:pt x="11713" y="107082"/>
                  </a:cubicBezTo>
                  <a:cubicBezTo>
                    <a:pt x="5594" y="137677"/>
                    <a:pt x="11713" y="168272"/>
                    <a:pt x="17832" y="192748"/>
                  </a:cubicBezTo>
                  <a:cubicBezTo>
                    <a:pt x="33129" y="266176"/>
                    <a:pt x="75963" y="339603"/>
                    <a:pt x="140211" y="416091"/>
                  </a:cubicBezTo>
                  <a:cubicBezTo>
                    <a:pt x="143271" y="419150"/>
                    <a:pt x="143271" y="422210"/>
                    <a:pt x="140211" y="425269"/>
                  </a:cubicBezTo>
                  <a:cubicBezTo>
                    <a:pt x="140211" y="422210"/>
                    <a:pt x="140211" y="422210"/>
                    <a:pt x="137153" y="422210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8" name="图形 892">
              <a:extLst>
                <a:ext uri="{FF2B5EF4-FFF2-40B4-BE49-F238E27FC236}">
                  <a16:creationId xmlns:a16="http://schemas.microsoft.com/office/drawing/2014/main" id="{34198846-FAEB-4566-A213-7E5210F55406}"/>
                </a:ext>
              </a:extLst>
            </p:cNvPr>
            <p:cNvGrpSpPr/>
            <p:nvPr/>
          </p:nvGrpSpPr>
          <p:grpSpPr>
            <a:xfrm>
              <a:off x="11585997" y="3927985"/>
              <a:ext cx="237536" cy="282740"/>
              <a:chOff x="11585997" y="3927985"/>
              <a:chExt cx="237536" cy="282740"/>
            </a:xfrm>
          </p:grpSpPr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682E89A6-7B06-4D0C-96F6-9A7B8B3AA93F}"/>
                  </a:ext>
                </a:extLst>
              </p:cNvPr>
              <p:cNvSpPr/>
              <p:nvPr/>
            </p:nvSpPr>
            <p:spPr>
              <a:xfrm>
                <a:off x="11591976" y="3927985"/>
                <a:ext cx="231557" cy="273837"/>
              </a:xfrm>
              <a:custGeom>
                <a:avLst/>
                <a:gdLst>
                  <a:gd name="connsiteX0" fmla="*/ 156799 w 231557"/>
                  <a:gd name="connsiteY0" fmla="*/ 4327 h 273837"/>
                  <a:gd name="connsiteX1" fmla="*/ 147621 w 231557"/>
                  <a:gd name="connsiteY1" fmla="*/ 1267 h 273837"/>
                  <a:gd name="connsiteX2" fmla="*/ 28300 w 231557"/>
                  <a:gd name="connsiteY2" fmla="*/ 80814 h 273837"/>
                  <a:gd name="connsiteX3" fmla="*/ 3824 w 231557"/>
                  <a:gd name="connsiteY3" fmla="*/ 172599 h 273837"/>
                  <a:gd name="connsiteX4" fmla="*/ 9944 w 231557"/>
                  <a:gd name="connsiteY4" fmla="*/ 209313 h 273837"/>
                  <a:gd name="connsiteX5" fmla="*/ 19122 w 231557"/>
                  <a:gd name="connsiteY5" fmla="*/ 209313 h 273837"/>
                  <a:gd name="connsiteX6" fmla="*/ 31359 w 231557"/>
                  <a:gd name="connsiteY6" fmla="*/ 197075 h 273837"/>
                  <a:gd name="connsiteX7" fmla="*/ 31359 w 231557"/>
                  <a:gd name="connsiteY7" fmla="*/ 239907 h 273837"/>
                  <a:gd name="connsiteX8" fmla="*/ 46657 w 231557"/>
                  <a:gd name="connsiteY8" fmla="*/ 270502 h 273837"/>
                  <a:gd name="connsiteX9" fmla="*/ 71133 w 231557"/>
                  <a:gd name="connsiteY9" fmla="*/ 267443 h 273837"/>
                  <a:gd name="connsiteX10" fmla="*/ 71133 w 231557"/>
                  <a:gd name="connsiteY10" fmla="*/ 267443 h 273837"/>
                  <a:gd name="connsiteX11" fmla="*/ 80312 w 231557"/>
                  <a:gd name="connsiteY11" fmla="*/ 273562 h 273837"/>
                  <a:gd name="connsiteX12" fmla="*/ 120084 w 231557"/>
                  <a:gd name="connsiteY12" fmla="*/ 218491 h 273837"/>
                  <a:gd name="connsiteX13" fmla="*/ 135382 w 231557"/>
                  <a:gd name="connsiteY13" fmla="*/ 233789 h 273837"/>
                  <a:gd name="connsiteX14" fmla="*/ 147621 w 231557"/>
                  <a:gd name="connsiteY14" fmla="*/ 230729 h 273837"/>
                  <a:gd name="connsiteX15" fmla="*/ 181274 w 231557"/>
                  <a:gd name="connsiteY15" fmla="*/ 135885 h 273837"/>
                  <a:gd name="connsiteX16" fmla="*/ 230226 w 231557"/>
                  <a:gd name="connsiteY16" fmla="*/ 83874 h 273837"/>
                  <a:gd name="connsiteX17" fmla="*/ 156799 w 231557"/>
                  <a:gd name="connsiteY17" fmla="*/ 4327 h 273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31557" h="273837">
                    <a:moveTo>
                      <a:pt x="156799" y="4327"/>
                    </a:moveTo>
                    <a:cubicBezTo>
                      <a:pt x="153739" y="1267"/>
                      <a:pt x="150679" y="-1792"/>
                      <a:pt x="147621" y="1267"/>
                    </a:cubicBezTo>
                    <a:cubicBezTo>
                      <a:pt x="107847" y="19624"/>
                      <a:pt x="46657" y="37981"/>
                      <a:pt x="28300" y="80814"/>
                    </a:cubicBezTo>
                    <a:cubicBezTo>
                      <a:pt x="16062" y="108350"/>
                      <a:pt x="9944" y="142004"/>
                      <a:pt x="3824" y="172599"/>
                    </a:cubicBezTo>
                    <a:cubicBezTo>
                      <a:pt x="765" y="187896"/>
                      <a:pt x="-5354" y="200134"/>
                      <a:pt x="9944" y="209313"/>
                    </a:cubicBezTo>
                    <a:cubicBezTo>
                      <a:pt x="13002" y="212372"/>
                      <a:pt x="16062" y="212372"/>
                      <a:pt x="19122" y="209313"/>
                    </a:cubicBezTo>
                    <a:cubicBezTo>
                      <a:pt x="22181" y="206253"/>
                      <a:pt x="28300" y="203194"/>
                      <a:pt x="31359" y="197075"/>
                    </a:cubicBezTo>
                    <a:cubicBezTo>
                      <a:pt x="31359" y="212372"/>
                      <a:pt x="31359" y="224610"/>
                      <a:pt x="31359" y="239907"/>
                    </a:cubicBezTo>
                    <a:cubicBezTo>
                      <a:pt x="31359" y="252145"/>
                      <a:pt x="31359" y="264383"/>
                      <a:pt x="46657" y="270502"/>
                    </a:cubicBezTo>
                    <a:cubicBezTo>
                      <a:pt x="55836" y="276621"/>
                      <a:pt x="65014" y="273562"/>
                      <a:pt x="71133" y="267443"/>
                    </a:cubicBezTo>
                    <a:cubicBezTo>
                      <a:pt x="71133" y="267443"/>
                      <a:pt x="71133" y="267443"/>
                      <a:pt x="71133" y="267443"/>
                    </a:cubicBezTo>
                    <a:cubicBezTo>
                      <a:pt x="74192" y="270502"/>
                      <a:pt x="74192" y="273562"/>
                      <a:pt x="80312" y="273562"/>
                    </a:cubicBezTo>
                    <a:cubicBezTo>
                      <a:pt x="104787" y="276621"/>
                      <a:pt x="113966" y="246027"/>
                      <a:pt x="120084" y="218491"/>
                    </a:cubicBezTo>
                    <a:cubicBezTo>
                      <a:pt x="123144" y="224610"/>
                      <a:pt x="129264" y="227669"/>
                      <a:pt x="135382" y="233789"/>
                    </a:cubicBezTo>
                    <a:cubicBezTo>
                      <a:pt x="138442" y="236848"/>
                      <a:pt x="144561" y="233789"/>
                      <a:pt x="147621" y="230729"/>
                    </a:cubicBezTo>
                    <a:cubicBezTo>
                      <a:pt x="165977" y="203194"/>
                      <a:pt x="159858" y="163420"/>
                      <a:pt x="181274" y="135885"/>
                    </a:cubicBezTo>
                    <a:cubicBezTo>
                      <a:pt x="196572" y="117528"/>
                      <a:pt x="221048" y="108350"/>
                      <a:pt x="230226" y="83874"/>
                    </a:cubicBezTo>
                    <a:cubicBezTo>
                      <a:pt x="239405" y="37981"/>
                      <a:pt x="199631" y="7386"/>
                      <a:pt x="156799" y="432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8ABFB2A4-33FC-447F-8FA0-71C092C52C7D}"/>
                  </a:ext>
                </a:extLst>
              </p:cNvPr>
              <p:cNvSpPr/>
              <p:nvPr/>
            </p:nvSpPr>
            <p:spPr>
              <a:xfrm>
                <a:off x="11585997" y="3996561"/>
                <a:ext cx="48810" cy="146855"/>
              </a:xfrm>
              <a:custGeom>
                <a:avLst/>
                <a:gdLst>
                  <a:gd name="connsiteX0" fmla="*/ 15922 w 48810"/>
                  <a:gd name="connsiteY0" fmla="*/ 146856 h 146855"/>
                  <a:gd name="connsiteX1" fmla="*/ 15922 w 48810"/>
                  <a:gd name="connsiteY1" fmla="*/ 146856 h 146855"/>
                  <a:gd name="connsiteX2" fmla="*/ 3683 w 48810"/>
                  <a:gd name="connsiteY2" fmla="*/ 140737 h 146855"/>
                  <a:gd name="connsiteX3" fmla="*/ 34278 w 48810"/>
                  <a:gd name="connsiteY3" fmla="*/ 3059 h 146855"/>
                  <a:gd name="connsiteX4" fmla="*/ 43457 w 48810"/>
                  <a:gd name="connsiteY4" fmla="*/ 0 h 146855"/>
                  <a:gd name="connsiteX5" fmla="*/ 46517 w 48810"/>
                  <a:gd name="connsiteY5" fmla="*/ 9179 h 146855"/>
                  <a:gd name="connsiteX6" fmla="*/ 15922 w 48810"/>
                  <a:gd name="connsiteY6" fmla="*/ 137677 h 146855"/>
                  <a:gd name="connsiteX7" fmla="*/ 18981 w 48810"/>
                  <a:gd name="connsiteY7" fmla="*/ 140737 h 146855"/>
                  <a:gd name="connsiteX8" fmla="*/ 37338 w 48810"/>
                  <a:gd name="connsiteY8" fmla="*/ 131558 h 146855"/>
                  <a:gd name="connsiteX9" fmla="*/ 46517 w 48810"/>
                  <a:gd name="connsiteY9" fmla="*/ 131558 h 146855"/>
                  <a:gd name="connsiteX10" fmla="*/ 46517 w 48810"/>
                  <a:gd name="connsiteY10" fmla="*/ 140737 h 146855"/>
                  <a:gd name="connsiteX11" fmla="*/ 15922 w 48810"/>
                  <a:gd name="connsiteY11" fmla="*/ 146856 h 146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8810" h="146855">
                    <a:moveTo>
                      <a:pt x="15922" y="146856"/>
                    </a:moveTo>
                    <a:cubicBezTo>
                      <a:pt x="15922" y="146856"/>
                      <a:pt x="15922" y="146856"/>
                      <a:pt x="15922" y="146856"/>
                    </a:cubicBezTo>
                    <a:cubicBezTo>
                      <a:pt x="9803" y="146856"/>
                      <a:pt x="3683" y="143796"/>
                      <a:pt x="3683" y="140737"/>
                    </a:cubicBezTo>
                    <a:cubicBezTo>
                      <a:pt x="-11614" y="116261"/>
                      <a:pt x="25100" y="21416"/>
                      <a:pt x="34278" y="3059"/>
                    </a:cubicBezTo>
                    <a:cubicBezTo>
                      <a:pt x="34278" y="0"/>
                      <a:pt x="40398" y="0"/>
                      <a:pt x="43457" y="0"/>
                    </a:cubicBezTo>
                    <a:cubicBezTo>
                      <a:pt x="46517" y="0"/>
                      <a:pt x="46517" y="6119"/>
                      <a:pt x="46517" y="9179"/>
                    </a:cubicBezTo>
                    <a:cubicBezTo>
                      <a:pt x="31219" y="48952"/>
                      <a:pt x="6743" y="119320"/>
                      <a:pt x="15922" y="137677"/>
                    </a:cubicBezTo>
                    <a:cubicBezTo>
                      <a:pt x="15922" y="137677"/>
                      <a:pt x="15922" y="140737"/>
                      <a:pt x="18981" y="140737"/>
                    </a:cubicBezTo>
                    <a:cubicBezTo>
                      <a:pt x="25100" y="140737"/>
                      <a:pt x="31219" y="134618"/>
                      <a:pt x="37338" y="131558"/>
                    </a:cubicBezTo>
                    <a:cubicBezTo>
                      <a:pt x="40398" y="128498"/>
                      <a:pt x="43457" y="128498"/>
                      <a:pt x="46517" y="131558"/>
                    </a:cubicBezTo>
                    <a:cubicBezTo>
                      <a:pt x="49576" y="134618"/>
                      <a:pt x="49576" y="137677"/>
                      <a:pt x="46517" y="140737"/>
                    </a:cubicBezTo>
                    <a:cubicBezTo>
                      <a:pt x="40398" y="134618"/>
                      <a:pt x="28160" y="146856"/>
                      <a:pt x="15922" y="14685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60ED7D0C-9828-40D7-A373-53446D1CC1A6}"/>
                  </a:ext>
                </a:extLst>
              </p:cNvPr>
              <p:cNvSpPr/>
              <p:nvPr/>
            </p:nvSpPr>
            <p:spPr>
              <a:xfrm>
                <a:off x="11617217" y="4038126"/>
                <a:ext cx="61189" cy="169539"/>
              </a:xfrm>
              <a:custGeom>
                <a:avLst/>
                <a:gdLst>
                  <a:gd name="connsiteX0" fmla="*/ 27535 w 61189"/>
                  <a:gd name="connsiteY0" fmla="*/ 169539 h 169539"/>
                  <a:gd name="connsiteX1" fmla="*/ 15297 w 61189"/>
                  <a:gd name="connsiteY1" fmla="*/ 166480 h 169539"/>
                  <a:gd name="connsiteX2" fmla="*/ 0 w 61189"/>
                  <a:gd name="connsiteY2" fmla="*/ 117528 h 169539"/>
                  <a:gd name="connsiteX3" fmla="*/ 0 w 61189"/>
                  <a:gd name="connsiteY3" fmla="*/ 114468 h 169539"/>
                  <a:gd name="connsiteX4" fmla="*/ 18356 w 61189"/>
                  <a:gd name="connsiteY4" fmla="*/ 4327 h 169539"/>
                  <a:gd name="connsiteX5" fmla="*/ 24476 w 61189"/>
                  <a:gd name="connsiteY5" fmla="*/ 1267 h 169539"/>
                  <a:gd name="connsiteX6" fmla="*/ 27535 w 61189"/>
                  <a:gd name="connsiteY6" fmla="*/ 7386 h 169539"/>
                  <a:gd name="connsiteX7" fmla="*/ 9178 w 61189"/>
                  <a:gd name="connsiteY7" fmla="*/ 111409 h 169539"/>
                  <a:gd name="connsiteX8" fmla="*/ 9178 w 61189"/>
                  <a:gd name="connsiteY8" fmla="*/ 114468 h 169539"/>
                  <a:gd name="connsiteX9" fmla="*/ 21416 w 61189"/>
                  <a:gd name="connsiteY9" fmla="*/ 154242 h 169539"/>
                  <a:gd name="connsiteX10" fmla="*/ 36713 w 61189"/>
                  <a:gd name="connsiteY10" fmla="*/ 154242 h 169539"/>
                  <a:gd name="connsiteX11" fmla="*/ 48951 w 61189"/>
                  <a:gd name="connsiteY11" fmla="*/ 25743 h 169539"/>
                  <a:gd name="connsiteX12" fmla="*/ 58130 w 61189"/>
                  <a:gd name="connsiteY12" fmla="*/ 22684 h 169539"/>
                  <a:gd name="connsiteX13" fmla="*/ 61190 w 61189"/>
                  <a:gd name="connsiteY13" fmla="*/ 31862 h 169539"/>
                  <a:gd name="connsiteX14" fmla="*/ 48951 w 61189"/>
                  <a:gd name="connsiteY14" fmla="*/ 157301 h 169539"/>
                  <a:gd name="connsiteX15" fmla="*/ 45892 w 61189"/>
                  <a:gd name="connsiteY15" fmla="*/ 163420 h 169539"/>
                  <a:gd name="connsiteX16" fmla="*/ 27535 w 61189"/>
                  <a:gd name="connsiteY16" fmla="*/ 169539 h 169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1189" h="169539">
                    <a:moveTo>
                      <a:pt x="27535" y="169539"/>
                    </a:moveTo>
                    <a:cubicBezTo>
                      <a:pt x="21416" y="169539"/>
                      <a:pt x="18356" y="169539"/>
                      <a:pt x="15297" y="166480"/>
                    </a:cubicBezTo>
                    <a:cubicBezTo>
                      <a:pt x="0" y="157301"/>
                      <a:pt x="0" y="135885"/>
                      <a:pt x="0" y="117528"/>
                    </a:cubicBezTo>
                    <a:lnTo>
                      <a:pt x="0" y="114468"/>
                    </a:lnTo>
                    <a:cubicBezTo>
                      <a:pt x="0" y="89993"/>
                      <a:pt x="18356" y="7386"/>
                      <a:pt x="18356" y="4327"/>
                    </a:cubicBezTo>
                    <a:cubicBezTo>
                      <a:pt x="18356" y="1267"/>
                      <a:pt x="21416" y="-1792"/>
                      <a:pt x="24476" y="1267"/>
                    </a:cubicBezTo>
                    <a:cubicBezTo>
                      <a:pt x="27535" y="1267"/>
                      <a:pt x="30595" y="4327"/>
                      <a:pt x="27535" y="7386"/>
                    </a:cubicBezTo>
                    <a:cubicBezTo>
                      <a:pt x="27535" y="7386"/>
                      <a:pt x="6118" y="89993"/>
                      <a:pt x="9178" y="111409"/>
                    </a:cubicBezTo>
                    <a:lnTo>
                      <a:pt x="9178" y="114468"/>
                    </a:lnTo>
                    <a:cubicBezTo>
                      <a:pt x="9178" y="129766"/>
                      <a:pt x="12238" y="148123"/>
                      <a:pt x="21416" y="154242"/>
                    </a:cubicBezTo>
                    <a:cubicBezTo>
                      <a:pt x="24476" y="157301"/>
                      <a:pt x="30595" y="157301"/>
                      <a:pt x="36713" y="154242"/>
                    </a:cubicBezTo>
                    <a:cubicBezTo>
                      <a:pt x="36713" y="135885"/>
                      <a:pt x="33654" y="56338"/>
                      <a:pt x="48951" y="25743"/>
                    </a:cubicBezTo>
                    <a:cubicBezTo>
                      <a:pt x="48951" y="22684"/>
                      <a:pt x="55070" y="22684"/>
                      <a:pt x="58130" y="22684"/>
                    </a:cubicBezTo>
                    <a:cubicBezTo>
                      <a:pt x="61190" y="22684"/>
                      <a:pt x="61190" y="28803"/>
                      <a:pt x="61190" y="31862"/>
                    </a:cubicBezTo>
                    <a:cubicBezTo>
                      <a:pt x="45892" y="62457"/>
                      <a:pt x="48951" y="157301"/>
                      <a:pt x="48951" y="157301"/>
                    </a:cubicBezTo>
                    <a:cubicBezTo>
                      <a:pt x="48951" y="160361"/>
                      <a:pt x="48951" y="163420"/>
                      <a:pt x="45892" y="163420"/>
                    </a:cubicBezTo>
                    <a:cubicBezTo>
                      <a:pt x="39773" y="169539"/>
                      <a:pt x="33654" y="169539"/>
                      <a:pt x="27535" y="16953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91931DBD-2CC8-427B-B87E-2BB8BA0308FD}"/>
                  </a:ext>
                </a:extLst>
              </p:cNvPr>
              <p:cNvSpPr/>
              <p:nvPr/>
            </p:nvSpPr>
            <p:spPr>
              <a:xfrm>
                <a:off x="11654695" y="4037099"/>
                <a:ext cx="90254" cy="173625"/>
              </a:xfrm>
              <a:custGeom>
                <a:avLst/>
                <a:gdLst>
                  <a:gd name="connsiteX0" fmla="*/ 17592 w 90254"/>
                  <a:gd name="connsiteY0" fmla="*/ 173626 h 173625"/>
                  <a:gd name="connsiteX1" fmla="*/ 2295 w 90254"/>
                  <a:gd name="connsiteY1" fmla="*/ 167507 h 173625"/>
                  <a:gd name="connsiteX2" fmla="*/ 2295 w 90254"/>
                  <a:gd name="connsiteY2" fmla="*/ 158329 h 173625"/>
                  <a:gd name="connsiteX3" fmla="*/ 11473 w 90254"/>
                  <a:gd name="connsiteY3" fmla="*/ 158329 h 173625"/>
                  <a:gd name="connsiteX4" fmla="*/ 32890 w 90254"/>
                  <a:gd name="connsiteY4" fmla="*/ 155269 h 173625"/>
                  <a:gd name="connsiteX5" fmla="*/ 48187 w 90254"/>
                  <a:gd name="connsiteY5" fmla="*/ 112436 h 173625"/>
                  <a:gd name="connsiteX6" fmla="*/ 48187 w 90254"/>
                  <a:gd name="connsiteY6" fmla="*/ 39008 h 173625"/>
                  <a:gd name="connsiteX7" fmla="*/ 78782 w 90254"/>
                  <a:gd name="connsiteY7" fmla="*/ 2295 h 173625"/>
                  <a:gd name="connsiteX8" fmla="*/ 87960 w 90254"/>
                  <a:gd name="connsiteY8" fmla="*/ 2295 h 173625"/>
                  <a:gd name="connsiteX9" fmla="*/ 87960 w 90254"/>
                  <a:gd name="connsiteY9" fmla="*/ 11473 h 173625"/>
                  <a:gd name="connsiteX10" fmla="*/ 60425 w 90254"/>
                  <a:gd name="connsiteY10" fmla="*/ 45127 h 173625"/>
                  <a:gd name="connsiteX11" fmla="*/ 60425 w 90254"/>
                  <a:gd name="connsiteY11" fmla="*/ 115496 h 173625"/>
                  <a:gd name="connsiteX12" fmla="*/ 42068 w 90254"/>
                  <a:gd name="connsiteY12" fmla="*/ 164447 h 173625"/>
                  <a:gd name="connsiteX13" fmla="*/ 17592 w 90254"/>
                  <a:gd name="connsiteY13" fmla="*/ 173626 h 173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0254" h="173625">
                    <a:moveTo>
                      <a:pt x="17592" y="173626"/>
                    </a:moveTo>
                    <a:cubicBezTo>
                      <a:pt x="11473" y="173626"/>
                      <a:pt x="5354" y="170567"/>
                      <a:pt x="2295" y="167507"/>
                    </a:cubicBezTo>
                    <a:cubicBezTo>
                      <a:pt x="-765" y="164447"/>
                      <a:pt x="-765" y="161388"/>
                      <a:pt x="2295" y="158329"/>
                    </a:cubicBezTo>
                    <a:cubicBezTo>
                      <a:pt x="5354" y="155269"/>
                      <a:pt x="8414" y="155269"/>
                      <a:pt x="11473" y="158329"/>
                    </a:cubicBezTo>
                    <a:cubicBezTo>
                      <a:pt x="14533" y="158329"/>
                      <a:pt x="23712" y="167507"/>
                      <a:pt x="32890" y="155269"/>
                    </a:cubicBezTo>
                    <a:cubicBezTo>
                      <a:pt x="45127" y="139972"/>
                      <a:pt x="48187" y="112436"/>
                      <a:pt x="48187" y="112436"/>
                    </a:cubicBezTo>
                    <a:cubicBezTo>
                      <a:pt x="48187" y="103258"/>
                      <a:pt x="42068" y="51246"/>
                      <a:pt x="48187" y="39008"/>
                    </a:cubicBezTo>
                    <a:cubicBezTo>
                      <a:pt x="54306" y="26770"/>
                      <a:pt x="75722" y="5354"/>
                      <a:pt x="78782" y="2295"/>
                    </a:cubicBezTo>
                    <a:cubicBezTo>
                      <a:pt x="81842" y="-765"/>
                      <a:pt x="84901" y="-765"/>
                      <a:pt x="87960" y="2295"/>
                    </a:cubicBezTo>
                    <a:cubicBezTo>
                      <a:pt x="91020" y="5354"/>
                      <a:pt x="91020" y="8413"/>
                      <a:pt x="87960" y="11473"/>
                    </a:cubicBezTo>
                    <a:cubicBezTo>
                      <a:pt x="81842" y="17592"/>
                      <a:pt x="63485" y="35949"/>
                      <a:pt x="60425" y="45127"/>
                    </a:cubicBezTo>
                    <a:cubicBezTo>
                      <a:pt x="57365" y="51246"/>
                      <a:pt x="60425" y="91020"/>
                      <a:pt x="60425" y="115496"/>
                    </a:cubicBezTo>
                    <a:cubicBezTo>
                      <a:pt x="60425" y="118555"/>
                      <a:pt x="57365" y="149150"/>
                      <a:pt x="42068" y="164447"/>
                    </a:cubicBezTo>
                    <a:cubicBezTo>
                      <a:pt x="32890" y="170567"/>
                      <a:pt x="26770" y="173626"/>
                      <a:pt x="17592" y="17362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01C6F8A3-29AD-45A2-9AF7-00A9F2D8B870}"/>
                </a:ext>
              </a:extLst>
            </p:cNvPr>
            <p:cNvSpPr/>
            <p:nvPr/>
          </p:nvSpPr>
          <p:spPr>
            <a:xfrm>
              <a:off x="11289851" y="5162226"/>
              <a:ext cx="76487" cy="1119773"/>
            </a:xfrm>
            <a:custGeom>
              <a:avLst/>
              <a:gdLst>
                <a:gd name="connsiteX0" fmla="*/ 70368 w 76487"/>
                <a:gd name="connsiteY0" fmla="*/ 1119773 h 1119773"/>
                <a:gd name="connsiteX1" fmla="*/ 64249 w 76487"/>
                <a:gd name="connsiteY1" fmla="*/ 1113655 h 1119773"/>
                <a:gd name="connsiteX2" fmla="*/ 0 w 76487"/>
                <a:gd name="connsiteY2" fmla="*/ 6119 h 1119773"/>
                <a:gd name="connsiteX3" fmla="*/ 6119 w 76487"/>
                <a:gd name="connsiteY3" fmla="*/ 0 h 1119773"/>
                <a:gd name="connsiteX4" fmla="*/ 12238 w 76487"/>
                <a:gd name="connsiteY4" fmla="*/ 6119 h 1119773"/>
                <a:gd name="connsiteX5" fmla="*/ 76487 w 76487"/>
                <a:gd name="connsiteY5" fmla="*/ 1113655 h 1119773"/>
                <a:gd name="connsiteX6" fmla="*/ 70368 w 76487"/>
                <a:gd name="connsiteY6" fmla="*/ 1119773 h 1119773"/>
                <a:gd name="connsiteX7" fmla="*/ 70368 w 76487"/>
                <a:gd name="connsiteY7" fmla="*/ 1119773 h 1119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487" h="1119773">
                  <a:moveTo>
                    <a:pt x="70368" y="1119773"/>
                  </a:moveTo>
                  <a:cubicBezTo>
                    <a:pt x="67309" y="1119773"/>
                    <a:pt x="64249" y="1116714"/>
                    <a:pt x="64249" y="1113655"/>
                  </a:cubicBezTo>
                  <a:lnTo>
                    <a:pt x="0" y="6119"/>
                  </a:lnTo>
                  <a:cubicBezTo>
                    <a:pt x="0" y="3059"/>
                    <a:pt x="3060" y="0"/>
                    <a:pt x="6119" y="0"/>
                  </a:cubicBezTo>
                  <a:cubicBezTo>
                    <a:pt x="9178" y="0"/>
                    <a:pt x="12238" y="3059"/>
                    <a:pt x="12238" y="6119"/>
                  </a:cubicBezTo>
                  <a:lnTo>
                    <a:pt x="76487" y="1113655"/>
                  </a:lnTo>
                  <a:cubicBezTo>
                    <a:pt x="76487" y="1119773"/>
                    <a:pt x="73428" y="1119773"/>
                    <a:pt x="70368" y="1119773"/>
                  </a:cubicBezTo>
                  <a:cubicBezTo>
                    <a:pt x="70368" y="1119773"/>
                    <a:pt x="70368" y="1119773"/>
                    <a:pt x="70368" y="1119773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FDECA758-CDBE-46FC-95C0-9721B93F37E8}"/>
                </a:ext>
              </a:extLst>
            </p:cNvPr>
            <p:cNvSpPr/>
            <p:nvPr/>
          </p:nvSpPr>
          <p:spPr>
            <a:xfrm>
              <a:off x="11981296" y="5336617"/>
              <a:ext cx="107082" cy="933144"/>
            </a:xfrm>
            <a:custGeom>
              <a:avLst/>
              <a:gdLst>
                <a:gd name="connsiteX0" fmla="*/ 24476 w 107082"/>
                <a:gd name="connsiteY0" fmla="*/ 933145 h 933144"/>
                <a:gd name="connsiteX1" fmla="*/ 0 w 107082"/>
                <a:gd name="connsiteY1" fmla="*/ 6119 h 933144"/>
                <a:gd name="connsiteX2" fmla="*/ 6118 w 107082"/>
                <a:gd name="connsiteY2" fmla="*/ 0 h 933144"/>
                <a:gd name="connsiteX3" fmla="*/ 6118 w 107082"/>
                <a:gd name="connsiteY3" fmla="*/ 0 h 933144"/>
                <a:gd name="connsiteX4" fmla="*/ 12238 w 107082"/>
                <a:gd name="connsiteY4" fmla="*/ 6119 h 933144"/>
                <a:gd name="connsiteX5" fmla="*/ 36713 w 107082"/>
                <a:gd name="connsiteY5" fmla="*/ 923966 h 933144"/>
                <a:gd name="connsiteX6" fmla="*/ 85665 w 107082"/>
                <a:gd name="connsiteY6" fmla="*/ 920906 h 933144"/>
                <a:gd name="connsiteX7" fmla="*/ 94844 w 107082"/>
                <a:gd name="connsiteY7" fmla="*/ 584362 h 933144"/>
                <a:gd name="connsiteX8" fmla="*/ 100963 w 107082"/>
                <a:gd name="connsiteY8" fmla="*/ 578243 h 933144"/>
                <a:gd name="connsiteX9" fmla="*/ 107082 w 107082"/>
                <a:gd name="connsiteY9" fmla="*/ 584362 h 933144"/>
                <a:gd name="connsiteX10" fmla="*/ 97903 w 107082"/>
                <a:gd name="connsiteY10" fmla="*/ 930085 h 933144"/>
                <a:gd name="connsiteX11" fmla="*/ 24476 w 107082"/>
                <a:gd name="connsiteY11" fmla="*/ 933145 h 933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7082" h="933144">
                  <a:moveTo>
                    <a:pt x="24476" y="933145"/>
                  </a:moveTo>
                  <a:lnTo>
                    <a:pt x="0" y="6119"/>
                  </a:lnTo>
                  <a:cubicBezTo>
                    <a:pt x="0" y="3059"/>
                    <a:pt x="3060" y="0"/>
                    <a:pt x="6118" y="0"/>
                  </a:cubicBezTo>
                  <a:cubicBezTo>
                    <a:pt x="6118" y="0"/>
                    <a:pt x="6118" y="0"/>
                    <a:pt x="6118" y="0"/>
                  </a:cubicBezTo>
                  <a:cubicBezTo>
                    <a:pt x="9178" y="0"/>
                    <a:pt x="12238" y="3059"/>
                    <a:pt x="12238" y="6119"/>
                  </a:cubicBezTo>
                  <a:lnTo>
                    <a:pt x="36713" y="923966"/>
                  </a:lnTo>
                  <a:lnTo>
                    <a:pt x="85665" y="920906"/>
                  </a:lnTo>
                  <a:lnTo>
                    <a:pt x="94844" y="584362"/>
                  </a:lnTo>
                  <a:cubicBezTo>
                    <a:pt x="94844" y="581303"/>
                    <a:pt x="97903" y="578243"/>
                    <a:pt x="100963" y="578243"/>
                  </a:cubicBezTo>
                  <a:cubicBezTo>
                    <a:pt x="104022" y="578243"/>
                    <a:pt x="107082" y="581303"/>
                    <a:pt x="107082" y="584362"/>
                  </a:cubicBezTo>
                  <a:lnTo>
                    <a:pt x="97903" y="930085"/>
                  </a:lnTo>
                  <a:lnTo>
                    <a:pt x="24476" y="933145"/>
                  </a:ln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1" name="图形 892">
              <a:extLst>
                <a:ext uri="{FF2B5EF4-FFF2-40B4-BE49-F238E27FC236}">
                  <a16:creationId xmlns:a16="http://schemas.microsoft.com/office/drawing/2014/main" id="{A6C67F6F-E2E9-4F73-BF0A-2016D92331F4}"/>
                </a:ext>
              </a:extLst>
            </p:cNvPr>
            <p:cNvGrpSpPr/>
            <p:nvPr/>
          </p:nvGrpSpPr>
          <p:grpSpPr>
            <a:xfrm>
              <a:off x="10120022" y="3395947"/>
              <a:ext cx="383020" cy="247882"/>
              <a:chOff x="10120022" y="3395947"/>
              <a:chExt cx="383020" cy="247882"/>
            </a:xfrm>
          </p:grpSpPr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32F46586-C7A1-42A4-A3D0-CFF29672B470}"/>
                  </a:ext>
                </a:extLst>
              </p:cNvPr>
              <p:cNvSpPr/>
              <p:nvPr/>
            </p:nvSpPr>
            <p:spPr>
              <a:xfrm>
                <a:off x="10120022" y="3395947"/>
                <a:ext cx="383020" cy="247882"/>
              </a:xfrm>
              <a:custGeom>
                <a:avLst/>
                <a:gdLst>
                  <a:gd name="connsiteX0" fmla="*/ 129602 w 383020"/>
                  <a:gd name="connsiteY0" fmla="*/ 242653 h 247882"/>
                  <a:gd name="connsiteX1" fmla="*/ 212209 w 383020"/>
                  <a:gd name="connsiteY1" fmla="*/ 245713 h 247882"/>
                  <a:gd name="connsiteX2" fmla="*/ 340707 w 383020"/>
                  <a:gd name="connsiteY2" fmla="*/ 224297 h 247882"/>
                  <a:gd name="connsiteX3" fmla="*/ 377421 w 383020"/>
                  <a:gd name="connsiteY3" fmla="*/ 135571 h 247882"/>
                  <a:gd name="connsiteX4" fmla="*/ 371302 w 383020"/>
                  <a:gd name="connsiteY4" fmla="*/ 132512 h 247882"/>
                  <a:gd name="connsiteX5" fmla="*/ 371302 w 383020"/>
                  <a:gd name="connsiteY5" fmla="*/ 129452 h 247882"/>
                  <a:gd name="connsiteX6" fmla="*/ 199970 w 383020"/>
                  <a:gd name="connsiteY6" fmla="*/ 954 h 247882"/>
                  <a:gd name="connsiteX7" fmla="*/ 190792 w 383020"/>
                  <a:gd name="connsiteY7" fmla="*/ 19311 h 247882"/>
                  <a:gd name="connsiteX8" fmla="*/ 264219 w 383020"/>
                  <a:gd name="connsiteY8" fmla="*/ 89679 h 247882"/>
                  <a:gd name="connsiteX9" fmla="*/ 68412 w 383020"/>
                  <a:gd name="connsiteY9" fmla="*/ 62144 h 247882"/>
                  <a:gd name="connsiteX10" fmla="*/ 43936 w 383020"/>
                  <a:gd name="connsiteY10" fmla="*/ 86620 h 247882"/>
                  <a:gd name="connsiteX11" fmla="*/ 89829 w 383020"/>
                  <a:gd name="connsiteY11" fmla="*/ 98857 h 247882"/>
                  <a:gd name="connsiteX12" fmla="*/ 151018 w 383020"/>
                  <a:gd name="connsiteY12" fmla="*/ 114155 h 247882"/>
                  <a:gd name="connsiteX13" fmla="*/ 71472 w 383020"/>
                  <a:gd name="connsiteY13" fmla="*/ 120274 h 247882"/>
                  <a:gd name="connsiteX14" fmla="*/ 13341 w 383020"/>
                  <a:gd name="connsiteY14" fmla="*/ 126393 h 247882"/>
                  <a:gd name="connsiteX15" fmla="*/ 1104 w 383020"/>
                  <a:gd name="connsiteY15" fmla="*/ 153928 h 247882"/>
                  <a:gd name="connsiteX16" fmla="*/ 25580 w 383020"/>
                  <a:gd name="connsiteY16" fmla="*/ 175345 h 247882"/>
                  <a:gd name="connsiteX17" fmla="*/ 22520 w 383020"/>
                  <a:gd name="connsiteY17" fmla="*/ 178404 h 247882"/>
                  <a:gd name="connsiteX18" fmla="*/ 22520 w 383020"/>
                  <a:gd name="connsiteY18" fmla="*/ 184523 h 247882"/>
                  <a:gd name="connsiteX19" fmla="*/ 68412 w 383020"/>
                  <a:gd name="connsiteY19" fmla="*/ 205940 h 247882"/>
                  <a:gd name="connsiteX20" fmla="*/ 95947 w 383020"/>
                  <a:gd name="connsiteY20" fmla="*/ 205940 h 247882"/>
                  <a:gd name="connsiteX21" fmla="*/ 89829 w 383020"/>
                  <a:gd name="connsiteY21" fmla="*/ 208999 h 247882"/>
                  <a:gd name="connsiteX22" fmla="*/ 80650 w 383020"/>
                  <a:gd name="connsiteY22" fmla="*/ 230416 h 247882"/>
                  <a:gd name="connsiteX23" fmla="*/ 129602 w 383020"/>
                  <a:gd name="connsiteY23" fmla="*/ 242653 h 247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83020" h="247882">
                    <a:moveTo>
                      <a:pt x="129602" y="242653"/>
                    </a:moveTo>
                    <a:cubicBezTo>
                      <a:pt x="157137" y="242653"/>
                      <a:pt x="184673" y="242653"/>
                      <a:pt x="212209" y="245713"/>
                    </a:cubicBezTo>
                    <a:cubicBezTo>
                      <a:pt x="258101" y="245713"/>
                      <a:pt x="307052" y="257951"/>
                      <a:pt x="340707" y="224297"/>
                    </a:cubicBezTo>
                    <a:cubicBezTo>
                      <a:pt x="365183" y="202880"/>
                      <a:pt x="395778" y="169226"/>
                      <a:pt x="377421" y="135571"/>
                    </a:cubicBezTo>
                    <a:cubicBezTo>
                      <a:pt x="377421" y="132512"/>
                      <a:pt x="374361" y="132512"/>
                      <a:pt x="371302" y="132512"/>
                    </a:cubicBezTo>
                    <a:cubicBezTo>
                      <a:pt x="371302" y="132512"/>
                      <a:pt x="371302" y="132512"/>
                      <a:pt x="371302" y="129452"/>
                    </a:cubicBezTo>
                    <a:cubicBezTo>
                      <a:pt x="340707" y="49906"/>
                      <a:pt x="261160" y="-8225"/>
                      <a:pt x="199970" y="954"/>
                    </a:cubicBezTo>
                    <a:cubicBezTo>
                      <a:pt x="193852" y="954"/>
                      <a:pt x="187732" y="16251"/>
                      <a:pt x="190792" y="19311"/>
                    </a:cubicBezTo>
                    <a:cubicBezTo>
                      <a:pt x="212209" y="46846"/>
                      <a:pt x="261160" y="52965"/>
                      <a:pt x="264219" y="89679"/>
                    </a:cubicBezTo>
                    <a:cubicBezTo>
                      <a:pt x="199970" y="86620"/>
                      <a:pt x="135721" y="49906"/>
                      <a:pt x="68412" y="62144"/>
                    </a:cubicBezTo>
                    <a:cubicBezTo>
                      <a:pt x="56174" y="65203"/>
                      <a:pt x="28639" y="71322"/>
                      <a:pt x="43936" y="86620"/>
                    </a:cubicBezTo>
                    <a:cubicBezTo>
                      <a:pt x="53115" y="95798"/>
                      <a:pt x="77591" y="95798"/>
                      <a:pt x="89829" y="98857"/>
                    </a:cubicBezTo>
                    <a:cubicBezTo>
                      <a:pt x="111245" y="104976"/>
                      <a:pt x="129602" y="108036"/>
                      <a:pt x="151018" y="114155"/>
                    </a:cubicBezTo>
                    <a:cubicBezTo>
                      <a:pt x="123483" y="117214"/>
                      <a:pt x="95947" y="117214"/>
                      <a:pt x="71472" y="120274"/>
                    </a:cubicBezTo>
                    <a:cubicBezTo>
                      <a:pt x="53115" y="120274"/>
                      <a:pt x="31698" y="120274"/>
                      <a:pt x="13341" y="126393"/>
                    </a:cubicBezTo>
                    <a:cubicBezTo>
                      <a:pt x="1104" y="132512"/>
                      <a:pt x="-1956" y="141690"/>
                      <a:pt x="1104" y="153928"/>
                    </a:cubicBezTo>
                    <a:cubicBezTo>
                      <a:pt x="4163" y="166166"/>
                      <a:pt x="16401" y="172285"/>
                      <a:pt x="25580" y="175345"/>
                    </a:cubicBezTo>
                    <a:cubicBezTo>
                      <a:pt x="25580" y="175345"/>
                      <a:pt x="25580" y="175345"/>
                      <a:pt x="22520" y="178404"/>
                    </a:cubicBezTo>
                    <a:cubicBezTo>
                      <a:pt x="19460" y="178404"/>
                      <a:pt x="19460" y="181464"/>
                      <a:pt x="22520" y="184523"/>
                    </a:cubicBezTo>
                    <a:cubicBezTo>
                      <a:pt x="34758" y="199821"/>
                      <a:pt x="50055" y="205940"/>
                      <a:pt x="68412" y="205940"/>
                    </a:cubicBezTo>
                    <a:cubicBezTo>
                      <a:pt x="77591" y="205940"/>
                      <a:pt x="86769" y="205940"/>
                      <a:pt x="95947" y="205940"/>
                    </a:cubicBezTo>
                    <a:cubicBezTo>
                      <a:pt x="92888" y="205940"/>
                      <a:pt x="89829" y="208999"/>
                      <a:pt x="89829" y="208999"/>
                    </a:cubicBezTo>
                    <a:cubicBezTo>
                      <a:pt x="83710" y="215118"/>
                      <a:pt x="77591" y="221237"/>
                      <a:pt x="80650" y="230416"/>
                    </a:cubicBezTo>
                    <a:cubicBezTo>
                      <a:pt x="95947" y="245713"/>
                      <a:pt x="117364" y="242653"/>
                      <a:pt x="129602" y="242653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2A6AD8C0-D81A-4F18-B7CA-8BEF7A40AADD}"/>
                  </a:ext>
                </a:extLst>
              </p:cNvPr>
              <p:cNvSpPr/>
              <p:nvPr/>
            </p:nvSpPr>
            <p:spPr>
              <a:xfrm>
                <a:off x="10381182" y="3510102"/>
                <a:ext cx="50219" cy="61189"/>
              </a:xfrm>
              <a:custGeom>
                <a:avLst/>
                <a:gdLst>
                  <a:gd name="connsiteX0" fmla="*/ 45892 w 50219"/>
                  <a:gd name="connsiteY0" fmla="*/ 61190 h 61189"/>
                  <a:gd name="connsiteX1" fmla="*/ 45892 w 50219"/>
                  <a:gd name="connsiteY1" fmla="*/ 61190 h 61189"/>
                  <a:gd name="connsiteX2" fmla="*/ 0 w 50219"/>
                  <a:gd name="connsiteY2" fmla="*/ 6119 h 61189"/>
                  <a:gd name="connsiteX3" fmla="*/ 6119 w 50219"/>
                  <a:gd name="connsiteY3" fmla="*/ 0 h 61189"/>
                  <a:gd name="connsiteX4" fmla="*/ 12239 w 50219"/>
                  <a:gd name="connsiteY4" fmla="*/ 6119 h 61189"/>
                  <a:gd name="connsiteX5" fmla="*/ 45892 w 50219"/>
                  <a:gd name="connsiteY5" fmla="*/ 48952 h 61189"/>
                  <a:gd name="connsiteX6" fmla="*/ 48952 w 50219"/>
                  <a:gd name="connsiteY6" fmla="*/ 55071 h 61189"/>
                  <a:gd name="connsiteX7" fmla="*/ 45892 w 50219"/>
                  <a:gd name="connsiteY7" fmla="*/ 61190 h 6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219" h="61189">
                    <a:moveTo>
                      <a:pt x="45892" y="61190"/>
                    </a:moveTo>
                    <a:cubicBezTo>
                      <a:pt x="45892" y="61190"/>
                      <a:pt x="42834" y="61190"/>
                      <a:pt x="45892" y="61190"/>
                    </a:cubicBezTo>
                    <a:cubicBezTo>
                      <a:pt x="6119" y="52011"/>
                      <a:pt x="0" y="9179"/>
                      <a:pt x="0" y="6119"/>
                    </a:cubicBezTo>
                    <a:cubicBezTo>
                      <a:pt x="0" y="3060"/>
                      <a:pt x="3060" y="0"/>
                      <a:pt x="6119" y="0"/>
                    </a:cubicBezTo>
                    <a:cubicBezTo>
                      <a:pt x="9179" y="0"/>
                      <a:pt x="12239" y="3060"/>
                      <a:pt x="12239" y="6119"/>
                    </a:cubicBezTo>
                    <a:cubicBezTo>
                      <a:pt x="12239" y="6119"/>
                      <a:pt x="15297" y="39773"/>
                      <a:pt x="45892" y="48952"/>
                    </a:cubicBezTo>
                    <a:cubicBezTo>
                      <a:pt x="48952" y="48952"/>
                      <a:pt x="52012" y="52011"/>
                      <a:pt x="48952" y="55071"/>
                    </a:cubicBezTo>
                    <a:cubicBezTo>
                      <a:pt x="48952" y="58130"/>
                      <a:pt x="48952" y="61190"/>
                      <a:pt x="45892" y="6119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2CE0178F-3244-4A28-860A-4FE8A538F38E}"/>
                  </a:ext>
                </a:extLst>
              </p:cNvPr>
              <p:cNvSpPr/>
              <p:nvPr/>
            </p:nvSpPr>
            <p:spPr>
              <a:xfrm>
                <a:off x="10122175" y="3478240"/>
                <a:ext cx="161103" cy="99170"/>
              </a:xfrm>
              <a:custGeom>
                <a:avLst/>
                <a:gdLst>
                  <a:gd name="connsiteX0" fmla="*/ 142746 w 161103"/>
                  <a:gd name="connsiteY0" fmla="*/ 99171 h 99170"/>
                  <a:gd name="connsiteX1" fmla="*/ 142746 w 161103"/>
                  <a:gd name="connsiteY1" fmla="*/ 99171 h 99170"/>
                  <a:gd name="connsiteX2" fmla="*/ 29545 w 161103"/>
                  <a:gd name="connsiteY2" fmla="*/ 96112 h 99170"/>
                  <a:gd name="connsiteX3" fmla="*/ 2009 w 161103"/>
                  <a:gd name="connsiteY3" fmla="*/ 77755 h 99170"/>
                  <a:gd name="connsiteX4" fmla="*/ 5069 w 161103"/>
                  <a:gd name="connsiteY4" fmla="*/ 50219 h 99170"/>
                  <a:gd name="connsiteX5" fmla="*/ 109092 w 161103"/>
                  <a:gd name="connsiteY5" fmla="*/ 28803 h 99170"/>
                  <a:gd name="connsiteX6" fmla="*/ 44843 w 161103"/>
                  <a:gd name="connsiteY6" fmla="*/ 10446 h 99170"/>
                  <a:gd name="connsiteX7" fmla="*/ 41783 w 161103"/>
                  <a:gd name="connsiteY7" fmla="*/ 4327 h 99170"/>
                  <a:gd name="connsiteX8" fmla="*/ 47902 w 161103"/>
                  <a:gd name="connsiteY8" fmla="*/ 1267 h 99170"/>
                  <a:gd name="connsiteX9" fmla="*/ 154984 w 161103"/>
                  <a:gd name="connsiteY9" fmla="*/ 28803 h 99170"/>
                  <a:gd name="connsiteX10" fmla="*/ 161103 w 161103"/>
                  <a:gd name="connsiteY10" fmla="*/ 34922 h 99170"/>
                  <a:gd name="connsiteX11" fmla="*/ 154984 w 161103"/>
                  <a:gd name="connsiteY11" fmla="*/ 41041 h 99170"/>
                  <a:gd name="connsiteX12" fmla="*/ 14248 w 161103"/>
                  <a:gd name="connsiteY12" fmla="*/ 56338 h 99170"/>
                  <a:gd name="connsiteX13" fmla="*/ 14248 w 161103"/>
                  <a:gd name="connsiteY13" fmla="*/ 71636 h 99170"/>
                  <a:gd name="connsiteX14" fmla="*/ 32604 w 161103"/>
                  <a:gd name="connsiteY14" fmla="*/ 83874 h 99170"/>
                  <a:gd name="connsiteX15" fmla="*/ 145806 w 161103"/>
                  <a:gd name="connsiteY15" fmla="*/ 86933 h 99170"/>
                  <a:gd name="connsiteX16" fmla="*/ 151925 w 161103"/>
                  <a:gd name="connsiteY16" fmla="*/ 93052 h 99170"/>
                  <a:gd name="connsiteX17" fmla="*/ 142746 w 161103"/>
                  <a:gd name="connsiteY17" fmla="*/ 99171 h 99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1103" h="99170">
                    <a:moveTo>
                      <a:pt x="142746" y="99171"/>
                    </a:moveTo>
                    <a:lnTo>
                      <a:pt x="142746" y="99171"/>
                    </a:lnTo>
                    <a:cubicBezTo>
                      <a:pt x="139686" y="99171"/>
                      <a:pt x="47902" y="99171"/>
                      <a:pt x="29545" y="96112"/>
                    </a:cubicBezTo>
                    <a:cubicBezTo>
                      <a:pt x="17307" y="93052"/>
                      <a:pt x="5069" y="86933"/>
                      <a:pt x="2009" y="77755"/>
                    </a:cubicBezTo>
                    <a:cubicBezTo>
                      <a:pt x="-1050" y="68576"/>
                      <a:pt x="-1050" y="59398"/>
                      <a:pt x="5069" y="50219"/>
                    </a:cubicBezTo>
                    <a:cubicBezTo>
                      <a:pt x="11188" y="37981"/>
                      <a:pt x="66259" y="31862"/>
                      <a:pt x="109092" y="28803"/>
                    </a:cubicBezTo>
                    <a:cubicBezTo>
                      <a:pt x="78497" y="19624"/>
                      <a:pt x="47902" y="10446"/>
                      <a:pt x="44843" y="10446"/>
                    </a:cubicBezTo>
                    <a:cubicBezTo>
                      <a:pt x="41783" y="10446"/>
                      <a:pt x="38724" y="7386"/>
                      <a:pt x="41783" y="4327"/>
                    </a:cubicBezTo>
                    <a:cubicBezTo>
                      <a:pt x="41783" y="1267"/>
                      <a:pt x="44843" y="-1792"/>
                      <a:pt x="47902" y="1267"/>
                    </a:cubicBezTo>
                    <a:cubicBezTo>
                      <a:pt x="47902" y="1267"/>
                      <a:pt x="115211" y="22684"/>
                      <a:pt x="154984" y="28803"/>
                    </a:cubicBezTo>
                    <a:cubicBezTo>
                      <a:pt x="158044" y="28803"/>
                      <a:pt x="161103" y="31862"/>
                      <a:pt x="161103" y="34922"/>
                    </a:cubicBezTo>
                    <a:cubicBezTo>
                      <a:pt x="161103" y="37981"/>
                      <a:pt x="158044" y="41041"/>
                      <a:pt x="154984" y="41041"/>
                    </a:cubicBezTo>
                    <a:cubicBezTo>
                      <a:pt x="93794" y="41041"/>
                      <a:pt x="20367" y="50219"/>
                      <a:pt x="14248" y="56338"/>
                    </a:cubicBezTo>
                    <a:cubicBezTo>
                      <a:pt x="11188" y="62457"/>
                      <a:pt x="11188" y="68576"/>
                      <a:pt x="14248" y="71636"/>
                    </a:cubicBezTo>
                    <a:cubicBezTo>
                      <a:pt x="17307" y="77755"/>
                      <a:pt x="23426" y="83874"/>
                      <a:pt x="32604" y="83874"/>
                    </a:cubicBezTo>
                    <a:cubicBezTo>
                      <a:pt x="50961" y="86933"/>
                      <a:pt x="142746" y="86933"/>
                      <a:pt x="145806" y="86933"/>
                    </a:cubicBezTo>
                    <a:cubicBezTo>
                      <a:pt x="148865" y="86933"/>
                      <a:pt x="151925" y="89993"/>
                      <a:pt x="151925" y="93052"/>
                    </a:cubicBezTo>
                    <a:cubicBezTo>
                      <a:pt x="148865" y="96112"/>
                      <a:pt x="145806" y="99171"/>
                      <a:pt x="142746" y="9917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106B62A5-CEFD-4A27-98D4-0ACCCC77C30F}"/>
                  </a:ext>
                </a:extLst>
              </p:cNvPr>
              <p:cNvSpPr/>
              <p:nvPr/>
            </p:nvSpPr>
            <p:spPr>
              <a:xfrm>
                <a:off x="10145925" y="3562113"/>
                <a:ext cx="158770" cy="45892"/>
              </a:xfrm>
              <a:custGeom>
                <a:avLst/>
                <a:gdLst>
                  <a:gd name="connsiteX0" fmla="*/ 70045 w 158770"/>
                  <a:gd name="connsiteY0" fmla="*/ 45892 h 45892"/>
                  <a:gd name="connsiteX1" fmla="*/ 8855 w 158770"/>
                  <a:gd name="connsiteY1" fmla="*/ 36714 h 45892"/>
                  <a:gd name="connsiteX2" fmla="*/ 2736 w 158770"/>
                  <a:gd name="connsiteY2" fmla="*/ 3060 h 45892"/>
                  <a:gd name="connsiteX3" fmla="*/ 11915 w 158770"/>
                  <a:gd name="connsiteY3" fmla="*/ 0 h 45892"/>
                  <a:gd name="connsiteX4" fmla="*/ 14975 w 158770"/>
                  <a:gd name="connsiteY4" fmla="*/ 9178 h 45892"/>
                  <a:gd name="connsiteX5" fmla="*/ 14975 w 158770"/>
                  <a:gd name="connsiteY5" fmla="*/ 27535 h 45892"/>
                  <a:gd name="connsiteX6" fmla="*/ 85342 w 158770"/>
                  <a:gd name="connsiteY6" fmla="*/ 33654 h 45892"/>
                  <a:gd name="connsiteX7" fmla="*/ 158770 w 158770"/>
                  <a:gd name="connsiteY7" fmla="*/ 27535 h 45892"/>
                  <a:gd name="connsiteX8" fmla="*/ 158770 w 158770"/>
                  <a:gd name="connsiteY8" fmla="*/ 39773 h 45892"/>
                  <a:gd name="connsiteX9" fmla="*/ 85342 w 158770"/>
                  <a:gd name="connsiteY9" fmla="*/ 45892 h 45892"/>
                  <a:gd name="connsiteX10" fmla="*/ 70045 w 158770"/>
                  <a:gd name="connsiteY10" fmla="*/ 45892 h 45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8770" h="45892">
                    <a:moveTo>
                      <a:pt x="70045" y="45892"/>
                    </a:moveTo>
                    <a:cubicBezTo>
                      <a:pt x="51688" y="45892"/>
                      <a:pt x="18034" y="45892"/>
                      <a:pt x="8855" y="36714"/>
                    </a:cubicBezTo>
                    <a:cubicBezTo>
                      <a:pt x="-3383" y="27535"/>
                      <a:pt x="-323" y="12238"/>
                      <a:pt x="2736" y="3060"/>
                    </a:cubicBezTo>
                    <a:cubicBezTo>
                      <a:pt x="2736" y="0"/>
                      <a:pt x="8855" y="0"/>
                      <a:pt x="11915" y="0"/>
                    </a:cubicBezTo>
                    <a:cubicBezTo>
                      <a:pt x="14975" y="0"/>
                      <a:pt x="14975" y="6119"/>
                      <a:pt x="14975" y="9178"/>
                    </a:cubicBezTo>
                    <a:cubicBezTo>
                      <a:pt x="14975" y="9178"/>
                      <a:pt x="8855" y="24476"/>
                      <a:pt x="14975" y="27535"/>
                    </a:cubicBezTo>
                    <a:cubicBezTo>
                      <a:pt x="24153" y="33654"/>
                      <a:pt x="70045" y="33654"/>
                      <a:pt x="85342" y="33654"/>
                    </a:cubicBezTo>
                    <a:cubicBezTo>
                      <a:pt x="97581" y="33654"/>
                      <a:pt x="158770" y="27535"/>
                      <a:pt x="158770" y="27535"/>
                    </a:cubicBezTo>
                    <a:lnTo>
                      <a:pt x="158770" y="39773"/>
                    </a:lnTo>
                    <a:cubicBezTo>
                      <a:pt x="158770" y="39773"/>
                      <a:pt x="97581" y="42833"/>
                      <a:pt x="85342" y="45892"/>
                    </a:cubicBezTo>
                    <a:cubicBezTo>
                      <a:pt x="82283" y="45892"/>
                      <a:pt x="76164" y="45892"/>
                      <a:pt x="70045" y="4589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790F71A5-EC86-4018-8585-826FDC37B7AD}"/>
                </a:ext>
              </a:extLst>
            </p:cNvPr>
            <p:cNvSpPr/>
            <p:nvPr/>
          </p:nvSpPr>
          <p:spPr>
            <a:xfrm>
              <a:off x="14526791" y="4834861"/>
              <a:ext cx="774051" cy="91784"/>
            </a:xfrm>
            <a:custGeom>
              <a:avLst/>
              <a:gdLst>
                <a:gd name="connsiteX0" fmla="*/ 0 w 774051"/>
                <a:gd name="connsiteY0" fmla="*/ 27535 h 91784"/>
                <a:gd name="connsiteX1" fmla="*/ 330426 w 774051"/>
                <a:gd name="connsiteY1" fmla="*/ 91785 h 91784"/>
                <a:gd name="connsiteX2" fmla="*/ 709802 w 774051"/>
                <a:gd name="connsiteY2" fmla="*/ 91785 h 91784"/>
                <a:gd name="connsiteX3" fmla="*/ 774052 w 774051"/>
                <a:gd name="connsiteY3" fmla="*/ 0 h 9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4051" h="91784">
                  <a:moveTo>
                    <a:pt x="0" y="27535"/>
                  </a:moveTo>
                  <a:lnTo>
                    <a:pt x="330426" y="91785"/>
                  </a:lnTo>
                  <a:lnTo>
                    <a:pt x="709802" y="91785"/>
                  </a:lnTo>
                  <a:lnTo>
                    <a:pt x="774052" y="0"/>
                  </a:lnTo>
                  <a:close/>
                </a:path>
              </a:pathLst>
            </a:custGeom>
            <a:solidFill>
              <a:srgbClr val="E5D1D1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3" name="图形 892">
              <a:extLst>
                <a:ext uri="{FF2B5EF4-FFF2-40B4-BE49-F238E27FC236}">
                  <a16:creationId xmlns:a16="http://schemas.microsoft.com/office/drawing/2014/main" id="{57B89D6C-C1D7-4A11-8DEC-431BF9CD75EC}"/>
                </a:ext>
              </a:extLst>
            </p:cNvPr>
            <p:cNvGrpSpPr/>
            <p:nvPr/>
          </p:nvGrpSpPr>
          <p:grpSpPr>
            <a:xfrm>
              <a:off x="14565134" y="4729883"/>
              <a:ext cx="332428" cy="169964"/>
              <a:chOff x="14565134" y="4729883"/>
              <a:chExt cx="332428" cy="169964"/>
            </a:xfrm>
          </p:grpSpPr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E4BD7CE4-9049-4AD6-B334-B9D8A88F38DB}"/>
                  </a:ext>
                </a:extLst>
              </p:cNvPr>
              <p:cNvSpPr/>
              <p:nvPr/>
            </p:nvSpPr>
            <p:spPr>
              <a:xfrm>
                <a:off x="14565134" y="4729883"/>
                <a:ext cx="332428" cy="169964"/>
              </a:xfrm>
              <a:custGeom>
                <a:avLst/>
                <a:gdLst>
                  <a:gd name="connsiteX0" fmla="*/ 10609 w 332428"/>
                  <a:gd name="connsiteY0" fmla="*/ 65205 h 169964"/>
                  <a:gd name="connsiteX1" fmla="*/ 13669 w 332428"/>
                  <a:gd name="connsiteY1" fmla="*/ 31551 h 169964"/>
                  <a:gd name="connsiteX2" fmla="*/ 1431 w 332428"/>
                  <a:gd name="connsiteY2" fmla="*/ 956 h 169964"/>
                  <a:gd name="connsiteX3" fmla="*/ 178881 w 332428"/>
                  <a:gd name="connsiteY3" fmla="*/ 28491 h 169964"/>
                  <a:gd name="connsiteX4" fmla="*/ 267606 w 332428"/>
                  <a:gd name="connsiteY4" fmla="*/ 77443 h 169964"/>
                  <a:gd name="connsiteX5" fmla="*/ 325737 w 332428"/>
                  <a:gd name="connsiteY5" fmla="*/ 135573 h 169964"/>
                  <a:gd name="connsiteX6" fmla="*/ 322678 w 332428"/>
                  <a:gd name="connsiteY6" fmla="*/ 169228 h 169964"/>
                  <a:gd name="connsiteX7" fmla="*/ 197238 w 332428"/>
                  <a:gd name="connsiteY7" fmla="*/ 129454 h 169964"/>
                  <a:gd name="connsiteX8" fmla="*/ 105454 w 332428"/>
                  <a:gd name="connsiteY8" fmla="*/ 135573 h 169964"/>
                  <a:gd name="connsiteX9" fmla="*/ 10609 w 332428"/>
                  <a:gd name="connsiteY9" fmla="*/ 83562 h 169964"/>
                  <a:gd name="connsiteX10" fmla="*/ 13669 w 332428"/>
                  <a:gd name="connsiteY10" fmla="*/ 71324 h 169964"/>
                  <a:gd name="connsiteX11" fmla="*/ 10609 w 332428"/>
                  <a:gd name="connsiteY11" fmla="*/ 65205 h 169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2428" h="169964">
                    <a:moveTo>
                      <a:pt x="10609" y="65205"/>
                    </a:moveTo>
                    <a:cubicBezTo>
                      <a:pt x="7550" y="56027"/>
                      <a:pt x="7550" y="43789"/>
                      <a:pt x="13669" y="31551"/>
                    </a:cubicBezTo>
                    <a:cubicBezTo>
                      <a:pt x="10609" y="22372"/>
                      <a:pt x="-4688" y="956"/>
                      <a:pt x="1431" y="956"/>
                    </a:cubicBezTo>
                    <a:cubicBezTo>
                      <a:pt x="53442" y="-2104"/>
                      <a:pt x="126870" y="956"/>
                      <a:pt x="178881" y="28491"/>
                    </a:cubicBezTo>
                    <a:cubicBezTo>
                      <a:pt x="206416" y="43789"/>
                      <a:pt x="243131" y="56027"/>
                      <a:pt x="267606" y="77443"/>
                    </a:cubicBezTo>
                    <a:cubicBezTo>
                      <a:pt x="285963" y="89681"/>
                      <a:pt x="322678" y="132514"/>
                      <a:pt x="325737" y="135573"/>
                    </a:cubicBezTo>
                    <a:cubicBezTo>
                      <a:pt x="341035" y="147811"/>
                      <a:pt x="325737" y="169228"/>
                      <a:pt x="322678" y="169228"/>
                    </a:cubicBezTo>
                    <a:cubicBezTo>
                      <a:pt x="316558" y="175347"/>
                      <a:pt x="267606" y="141692"/>
                      <a:pt x="197238" y="129454"/>
                    </a:cubicBezTo>
                    <a:cubicBezTo>
                      <a:pt x="172763" y="126395"/>
                      <a:pt x="129929" y="135573"/>
                      <a:pt x="105454" y="135573"/>
                    </a:cubicBezTo>
                    <a:cubicBezTo>
                      <a:pt x="77918" y="135573"/>
                      <a:pt x="10609" y="126395"/>
                      <a:pt x="10609" y="83562"/>
                    </a:cubicBezTo>
                    <a:cubicBezTo>
                      <a:pt x="10609" y="80502"/>
                      <a:pt x="10609" y="74384"/>
                      <a:pt x="13669" y="71324"/>
                    </a:cubicBezTo>
                    <a:cubicBezTo>
                      <a:pt x="10609" y="74384"/>
                      <a:pt x="10609" y="68264"/>
                      <a:pt x="10609" y="65205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A4EAA9EA-028F-40D1-B2F3-A91726389264}"/>
                  </a:ext>
                </a:extLst>
              </p:cNvPr>
              <p:cNvSpPr/>
              <p:nvPr/>
            </p:nvSpPr>
            <p:spPr>
              <a:xfrm>
                <a:off x="14673647" y="4798147"/>
                <a:ext cx="159155" cy="82606"/>
              </a:xfrm>
              <a:custGeom>
                <a:avLst/>
                <a:gdLst>
                  <a:gd name="connsiteX0" fmla="*/ 134617 w 159155"/>
                  <a:gd name="connsiteY0" fmla="*/ 82606 h 82606"/>
                  <a:gd name="connsiteX1" fmla="*/ 104022 w 159155"/>
                  <a:gd name="connsiteY1" fmla="*/ 76487 h 82606"/>
                  <a:gd name="connsiteX2" fmla="*/ 100963 w 159155"/>
                  <a:gd name="connsiteY2" fmla="*/ 70368 h 82606"/>
                  <a:gd name="connsiteX3" fmla="*/ 107082 w 159155"/>
                  <a:gd name="connsiteY3" fmla="*/ 67309 h 82606"/>
                  <a:gd name="connsiteX4" fmla="*/ 143795 w 159155"/>
                  <a:gd name="connsiteY4" fmla="*/ 70368 h 82606"/>
                  <a:gd name="connsiteX5" fmla="*/ 149915 w 159155"/>
                  <a:gd name="connsiteY5" fmla="*/ 61190 h 82606"/>
                  <a:gd name="connsiteX6" fmla="*/ 6118 w 159155"/>
                  <a:gd name="connsiteY6" fmla="*/ 12238 h 82606"/>
                  <a:gd name="connsiteX7" fmla="*/ 0 w 159155"/>
                  <a:gd name="connsiteY7" fmla="*/ 6119 h 82606"/>
                  <a:gd name="connsiteX8" fmla="*/ 6118 w 159155"/>
                  <a:gd name="connsiteY8" fmla="*/ 0 h 82606"/>
                  <a:gd name="connsiteX9" fmla="*/ 159093 w 159155"/>
                  <a:gd name="connsiteY9" fmla="*/ 61190 h 82606"/>
                  <a:gd name="connsiteX10" fmla="*/ 149915 w 159155"/>
                  <a:gd name="connsiteY10" fmla="*/ 76487 h 82606"/>
                  <a:gd name="connsiteX11" fmla="*/ 134617 w 159155"/>
                  <a:gd name="connsiteY11" fmla="*/ 82606 h 82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9155" h="82606">
                    <a:moveTo>
                      <a:pt x="134617" y="82606"/>
                    </a:moveTo>
                    <a:cubicBezTo>
                      <a:pt x="122380" y="82606"/>
                      <a:pt x="107082" y="76487"/>
                      <a:pt x="104022" y="76487"/>
                    </a:cubicBezTo>
                    <a:cubicBezTo>
                      <a:pt x="100963" y="76487"/>
                      <a:pt x="100963" y="73428"/>
                      <a:pt x="100963" y="70368"/>
                    </a:cubicBezTo>
                    <a:cubicBezTo>
                      <a:pt x="100963" y="67309"/>
                      <a:pt x="104022" y="67309"/>
                      <a:pt x="107082" y="67309"/>
                    </a:cubicBezTo>
                    <a:cubicBezTo>
                      <a:pt x="113201" y="70368"/>
                      <a:pt x="134617" y="76487"/>
                      <a:pt x="143795" y="70368"/>
                    </a:cubicBezTo>
                    <a:cubicBezTo>
                      <a:pt x="146855" y="70368"/>
                      <a:pt x="146855" y="67309"/>
                      <a:pt x="149915" y="61190"/>
                    </a:cubicBezTo>
                    <a:cubicBezTo>
                      <a:pt x="149915" y="48952"/>
                      <a:pt x="85665" y="27535"/>
                      <a:pt x="6118" y="12238"/>
                    </a:cubicBezTo>
                    <a:cubicBezTo>
                      <a:pt x="3060" y="12238"/>
                      <a:pt x="0" y="9179"/>
                      <a:pt x="0" y="6119"/>
                    </a:cubicBezTo>
                    <a:cubicBezTo>
                      <a:pt x="0" y="3060"/>
                      <a:pt x="3060" y="0"/>
                      <a:pt x="6118" y="0"/>
                    </a:cubicBezTo>
                    <a:cubicBezTo>
                      <a:pt x="52011" y="9179"/>
                      <a:pt x="162153" y="30595"/>
                      <a:pt x="159093" y="61190"/>
                    </a:cubicBezTo>
                    <a:cubicBezTo>
                      <a:pt x="159093" y="70368"/>
                      <a:pt x="152975" y="76487"/>
                      <a:pt x="149915" y="76487"/>
                    </a:cubicBezTo>
                    <a:cubicBezTo>
                      <a:pt x="146855" y="79547"/>
                      <a:pt x="140737" y="82606"/>
                      <a:pt x="134617" y="8260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B1EFBC6A-E3AC-474E-94A9-ABEAC10D2390}"/>
                  </a:ext>
                </a:extLst>
              </p:cNvPr>
              <p:cNvSpPr/>
              <p:nvPr/>
            </p:nvSpPr>
            <p:spPr>
              <a:xfrm>
                <a:off x="14748867" y="4778523"/>
                <a:ext cx="127973" cy="108349"/>
              </a:xfrm>
              <a:custGeom>
                <a:avLst/>
                <a:gdLst>
                  <a:gd name="connsiteX0" fmla="*/ 99170 w 127973"/>
                  <a:gd name="connsiteY0" fmla="*/ 108349 h 108349"/>
                  <a:gd name="connsiteX1" fmla="*/ 68576 w 127973"/>
                  <a:gd name="connsiteY1" fmla="*/ 99171 h 108349"/>
                  <a:gd name="connsiteX2" fmla="*/ 65517 w 127973"/>
                  <a:gd name="connsiteY2" fmla="*/ 89993 h 108349"/>
                  <a:gd name="connsiteX3" fmla="*/ 74695 w 127973"/>
                  <a:gd name="connsiteY3" fmla="*/ 86933 h 108349"/>
                  <a:gd name="connsiteX4" fmla="*/ 114468 w 127973"/>
                  <a:gd name="connsiteY4" fmla="*/ 86933 h 108349"/>
                  <a:gd name="connsiteX5" fmla="*/ 114468 w 127973"/>
                  <a:gd name="connsiteY5" fmla="*/ 83874 h 108349"/>
                  <a:gd name="connsiteX6" fmla="*/ 4327 w 127973"/>
                  <a:gd name="connsiteY6" fmla="*/ 10446 h 108349"/>
                  <a:gd name="connsiteX7" fmla="*/ 1267 w 127973"/>
                  <a:gd name="connsiteY7" fmla="*/ 4327 h 108349"/>
                  <a:gd name="connsiteX8" fmla="*/ 7386 w 127973"/>
                  <a:gd name="connsiteY8" fmla="*/ 1267 h 108349"/>
                  <a:gd name="connsiteX9" fmla="*/ 126707 w 127973"/>
                  <a:gd name="connsiteY9" fmla="*/ 83874 h 108349"/>
                  <a:gd name="connsiteX10" fmla="*/ 123647 w 127973"/>
                  <a:gd name="connsiteY10" fmla="*/ 99171 h 108349"/>
                  <a:gd name="connsiteX11" fmla="*/ 99170 w 127973"/>
                  <a:gd name="connsiteY11" fmla="*/ 108349 h 108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7973" h="108349">
                    <a:moveTo>
                      <a:pt x="99170" y="108349"/>
                    </a:moveTo>
                    <a:cubicBezTo>
                      <a:pt x="83873" y="108349"/>
                      <a:pt x="71635" y="99171"/>
                      <a:pt x="68576" y="99171"/>
                    </a:cubicBezTo>
                    <a:cubicBezTo>
                      <a:pt x="65517" y="96111"/>
                      <a:pt x="65517" y="93052"/>
                      <a:pt x="65517" y="89993"/>
                    </a:cubicBezTo>
                    <a:cubicBezTo>
                      <a:pt x="68576" y="86933"/>
                      <a:pt x="71635" y="86933"/>
                      <a:pt x="74695" y="86933"/>
                    </a:cubicBezTo>
                    <a:cubicBezTo>
                      <a:pt x="74695" y="86933"/>
                      <a:pt x="99170" y="102231"/>
                      <a:pt x="114468" y="86933"/>
                    </a:cubicBezTo>
                    <a:cubicBezTo>
                      <a:pt x="114468" y="86933"/>
                      <a:pt x="114468" y="86933"/>
                      <a:pt x="114468" y="83874"/>
                    </a:cubicBezTo>
                    <a:cubicBezTo>
                      <a:pt x="108350" y="62457"/>
                      <a:pt x="44100" y="22684"/>
                      <a:pt x="4327" y="10446"/>
                    </a:cubicBezTo>
                    <a:cubicBezTo>
                      <a:pt x="1267" y="10446"/>
                      <a:pt x="-1792" y="7386"/>
                      <a:pt x="1267" y="4327"/>
                    </a:cubicBezTo>
                    <a:cubicBezTo>
                      <a:pt x="1267" y="1267"/>
                      <a:pt x="4327" y="-1792"/>
                      <a:pt x="7386" y="1267"/>
                    </a:cubicBezTo>
                    <a:cubicBezTo>
                      <a:pt x="47160" y="13505"/>
                      <a:pt x="120587" y="56338"/>
                      <a:pt x="126707" y="83874"/>
                    </a:cubicBezTo>
                    <a:cubicBezTo>
                      <a:pt x="129765" y="89993"/>
                      <a:pt x="126707" y="96111"/>
                      <a:pt x="123647" y="99171"/>
                    </a:cubicBezTo>
                    <a:cubicBezTo>
                      <a:pt x="117528" y="108349"/>
                      <a:pt x="108350" y="108349"/>
                      <a:pt x="99170" y="10834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4" name="图形 892">
              <a:extLst>
                <a:ext uri="{FF2B5EF4-FFF2-40B4-BE49-F238E27FC236}">
                  <a16:creationId xmlns:a16="http://schemas.microsoft.com/office/drawing/2014/main" id="{D27BD16A-84FE-4B5E-BA66-7CD8CF502D87}"/>
                </a:ext>
              </a:extLst>
            </p:cNvPr>
            <p:cNvGrpSpPr/>
            <p:nvPr/>
          </p:nvGrpSpPr>
          <p:grpSpPr>
            <a:xfrm>
              <a:off x="14526791" y="4424889"/>
              <a:ext cx="1398074" cy="541529"/>
              <a:chOff x="14526791" y="4424889"/>
              <a:chExt cx="1398074" cy="541529"/>
            </a:xfrm>
          </p:grpSpPr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0041ECC6-2C2B-4DD9-9294-653A2264E972}"/>
                  </a:ext>
                </a:extLst>
              </p:cNvPr>
              <p:cNvSpPr/>
              <p:nvPr/>
            </p:nvSpPr>
            <p:spPr>
              <a:xfrm>
                <a:off x="14857216" y="4424889"/>
                <a:ext cx="1067648" cy="501756"/>
              </a:xfrm>
              <a:custGeom>
                <a:avLst/>
                <a:gdLst>
                  <a:gd name="connsiteX0" fmla="*/ 0 w 1067648"/>
                  <a:gd name="connsiteY0" fmla="*/ 501756 h 501756"/>
                  <a:gd name="connsiteX1" fmla="*/ 923965 w 1067648"/>
                  <a:gd name="connsiteY1" fmla="*/ 501756 h 501756"/>
                  <a:gd name="connsiteX2" fmla="*/ 1064702 w 1067648"/>
                  <a:gd name="connsiteY2" fmla="*/ 73428 h 501756"/>
                  <a:gd name="connsiteX3" fmla="*/ 1012691 w 1067648"/>
                  <a:gd name="connsiteY3" fmla="*/ 0 h 501756"/>
                  <a:gd name="connsiteX4" fmla="*/ 204985 w 1067648"/>
                  <a:gd name="connsiteY4" fmla="*/ 0 h 501756"/>
                  <a:gd name="connsiteX5" fmla="*/ 152975 w 1067648"/>
                  <a:gd name="connsiteY5" fmla="*/ 36714 h 501756"/>
                  <a:gd name="connsiteX6" fmla="*/ 0 w 1067648"/>
                  <a:gd name="connsiteY6" fmla="*/ 501756 h 501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67648" h="501756">
                    <a:moveTo>
                      <a:pt x="0" y="501756"/>
                    </a:moveTo>
                    <a:lnTo>
                      <a:pt x="923965" y="501756"/>
                    </a:lnTo>
                    <a:lnTo>
                      <a:pt x="1064702" y="73428"/>
                    </a:lnTo>
                    <a:cubicBezTo>
                      <a:pt x="1076940" y="36714"/>
                      <a:pt x="1049405" y="0"/>
                      <a:pt x="1012691" y="0"/>
                    </a:cubicBezTo>
                    <a:lnTo>
                      <a:pt x="204985" y="0"/>
                    </a:lnTo>
                    <a:cubicBezTo>
                      <a:pt x="180510" y="0"/>
                      <a:pt x="159093" y="15297"/>
                      <a:pt x="152975" y="36714"/>
                    </a:cubicBezTo>
                    <a:lnTo>
                      <a:pt x="0" y="501756"/>
                    </a:lnTo>
                    <a:close/>
                  </a:path>
                </a:pathLst>
              </a:custGeom>
              <a:solidFill>
                <a:srgbClr val="F6EBE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2F299174-F64A-45EB-8258-B3907CF74F94}"/>
                  </a:ext>
                </a:extLst>
              </p:cNvPr>
              <p:cNvSpPr/>
              <p:nvPr/>
            </p:nvSpPr>
            <p:spPr>
              <a:xfrm rot="-10800000">
                <a:off x="14857002" y="4929246"/>
                <a:ext cx="923966" cy="36713"/>
              </a:xfrm>
              <a:custGeom>
                <a:avLst/>
                <a:gdLst>
                  <a:gd name="connsiteX0" fmla="*/ 0 w 923966"/>
                  <a:gd name="connsiteY0" fmla="*/ 0 h 36713"/>
                  <a:gd name="connsiteX1" fmla="*/ 923967 w 923966"/>
                  <a:gd name="connsiteY1" fmla="*/ 0 h 36713"/>
                  <a:gd name="connsiteX2" fmla="*/ 923967 w 923966"/>
                  <a:gd name="connsiteY2" fmla="*/ 36714 h 36713"/>
                  <a:gd name="connsiteX3" fmla="*/ 0 w 923966"/>
                  <a:gd name="connsiteY3" fmla="*/ 36714 h 36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3966" h="36713">
                    <a:moveTo>
                      <a:pt x="0" y="0"/>
                    </a:moveTo>
                    <a:lnTo>
                      <a:pt x="923967" y="0"/>
                    </a:lnTo>
                    <a:lnTo>
                      <a:pt x="923967" y="36714"/>
                    </a:lnTo>
                    <a:lnTo>
                      <a:pt x="0" y="36714"/>
                    </a:lnTo>
                    <a:close/>
                  </a:path>
                </a:pathLst>
              </a:custGeom>
              <a:solidFill>
                <a:srgbClr val="E5D1D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E81B4FEC-4E81-4478-80E9-6DBE597768D3}"/>
                  </a:ext>
                </a:extLst>
              </p:cNvPr>
              <p:cNvSpPr/>
              <p:nvPr/>
            </p:nvSpPr>
            <p:spPr>
              <a:xfrm>
                <a:off x="14526791" y="4862396"/>
                <a:ext cx="330425" cy="104022"/>
              </a:xfrm>
              <a:custGeom>
                <a:avLst/>
                <a:gdLst>
                  <a:gd name="connsiteX0" fmla="*/ 0 w 330425"/>
                  <a:gd name="connsiteY0" fmla="*/ 39773 h 104022"/>
                  <a:gd name="connsiteX1" fmla="*/ 330426 w 330425"/>
                  <a:gd name="connsiteY1" fmla="*/ 104022 h 104022"/>
                  <a:gd name="connsiteX2" fmla="*/ 330426 w 330425"/>
                  <a:gd name="connsiteY2" fmla="*/ 64249 h 104022"/>
                  <a:gd name="connsiteX3" fmla="*/ 0 w 330425"/>
                  <a:gd name="connsiteY3" fmla="*/ 0 h 104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0425" h="104022">
                    <a:moveTo>
                      <a:pt x="0" y="39773"/>
                    </a:moveTo>
                    <a:lnTo>
                      <a:pt x="330426" y="104022"/>
                    </a:lnTo>
                    <a:lnTo>
                      <a:pt x="330426" y="642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6EBE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5" name="图形 892">
              <a:extLst>
                <a:ext uri="{FF2B5EF4-FFF2-40B4-BE49-F238E27FC236}">
                  <a16:creationId xmlns:a16="http://schemas.microsoft.com/office/drawing/2014/main" id="{5D683613-6057-4469-BA53-43999E2FA44E}"/>
                </a:ext>
              </a:extLst>
            </p:cNvPr>
            <p:cNvGrpSpPr/>
            <p:nvPr/>
          </p:nvGrpSpPr>
          <p:grpSpPr>
            <a:xfrm>
              <a:off x="15779764" y="4583983"/>
              <a:ext cx="171049" cy="165702"/>
              <a:chOff x="15779764" y="4583983"/>
              <a:chExt cx="171049" cy="165702"/>
            </a:xfrm>
          </p:grpSpPr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0A004259-4B63-422A-9B96-56398C42D502}"/>
                  </a:ext>
                </a:extLst>
              </p:cNvPr>
              <p:cNvSpPr/>
              <p:nvPr/>
            </p:nvSpPr>
            <p:spPr>
              <a:xfrm>
                <a:off x="15795120" y="4586127"/>
                <a:ext cx="155694" cy="63313"/>
              </a:xfrm>
              <a:custGeom>
                <a:avLst/>
                <a:gdLst>
                  <a:gd name="connsiteX0" fmla="*/ 142096 w 155694"/>
                  <a:gd name="connsiteY0" fmla="*/ 3974 h 63313"/>
                  <a:gd name="connsiteX1" fmla="*/ 44193 w 155694"/>
                  <a:gd name="connsiteY1" fmla="*/ 7034 h 63313"/>
                  <a:gd name="connsiteX2" fmla="*/ 28896 w 155694"/>
                  <a:gd name="connsiteY2" fmla="*/ 7034 h 63313"/>
                  <a:gd name="connsiteX3" fmla="*/ 13598 w 155694"/>
                  <a:gd name="connsiteY3" fmla="*/ 13153 h 63313"/>
                  <a:gd name="connsiteX4" fmla="*/ 4419 w 155694"/>
                  <a:gd name="connsiteY4" fmla="*/ 52926 h 63313"/>
                  <a:gd name="connsiteX5" fmla="*/ 50311 w 155694"/>
                  <a:gd name="connsiteY5" fmla="*/ 62105 h 63313"/>
                  <a:gd name="connsiteX6" fmla="*/ 111501 w 155694"/>
                  <a:gd name="connsiteY6" fmla="*/ 52926 h 63313"/>
                  <a:gd name="connsiteX7" fmla="*/ 151275 w 155694"/>
                  <a:gd name="connsiteY7" fmla="*/ 34569 h 63313"/>
                  <a:gd name="connsiteX8" fmla="*/ 142096 w 155694"/>
                  <a:gd name="connsiteY8" fmla="*/ 3974 h 63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5694" h="63313">
                    <a:moveTo>
                      <a:pt x="142096" y="3974"/>
                    </a:moveTo>
                    <a:cubicBezTo>
                      <a:pt x="114561" y="-5204"/>
                      <a:pt x="77847" y="3974"/>
                      <a:pt x="44193" y="7034"/>
                    </a:cubicBezTo>
                    <a:cubicBezTo>
                      <a:pt x="41133" y="7034"/>
                      <a:pt x="31954" y="7034"/>
                      <a:pt x="28896" y="7034"/>
                    </a:cubicBezTo>
                    <a:cubicBezTo>
                      <a:pt x="22776" y="7034"/>
                      <a:pt x="19717" y="10093"/>
                      <a:pt x="13598" y="13153"/>
                    </a:cubicBezTo>
                    <a:cubicBezTo>
                      <a:pt x="1359" y="22331"/>
                      <a:pt x="-4759" y="37629"/>
                      <a:pt x="4419" y="52926"/>
                    </a:cubicBezTo>
                    <a:cubicBezTo>
                      <a:pt x="13598" y="68224"/>
                      <a:pt x="35014" y="62105"/>
                      <a:pt x="50311" y="62105"/>
                    </a:cubicBezTo>
                    <a:cubicBezTo>
                      <a:pt x="71728" y="62105"/>
                      <a:pt x="93144" y="59045"/>
                      <a:pt x="111501" y="52926"/>
                    </a:cubicBezTo>
                    <a:cubicBezTo>
                      <a:pt x="123739" y="49867"/>
                      <a:pt x="145156" y="49867"/>
                      <a:pt x="151275" y="34569"/>
                    </a:cubicBezTo>
                    <a:cubicBezTo>
                      <a:pt x="160453" y="22331"/>
                      <a:pt x="154334" y="7034"/>
                      <a:pt x="142096" y="397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9797E7B8-2004-493D-98D8-34A79E9461E5}"/>
                  </a:ext>
                </a:extLst>
              </p:cNvPr>
              <p:cNvSpPr/>
              <p:nvPr/>
            </p:nvSpPr>
            <p:spPr>
              <a:xfrm>
                <a:off x="15782882" y="4624191"/>
                <a:ext cx="157945" cy="71141"/>
              </a:xfrm>
              <a:custGeom>
                <a:avLst/>
                <a:gdLst>
                  <a:gd name="connsiteX0" fmla="*/ 145156 w 157945"/>
                  <a:gd name="connsiteY0" fmla="*/ 8743 h 71141"/>
                  <a:gd name="connsiteX1" fmla="*/ 38074 w 157945"/>
                  <a:gd name="connsiteY1" fmla="*/ 11803 h 71141"/>
                  <a:gd name="connsiteX2" fmla="*/ 28895 w 157945"/>
                  <a:gd name="connsiteY2" fmla="*/ 14862 h 71141"/>
                  <a:gd name="connsiteX3" fmla="*/ 13597 w 157945"/>
                  <a:gd name="connsiteY3" fmla="*/ 20981 h 71141"/>
                  <a:gd name="connsiteX4" fmla="*/ 4419 w 157945"/>
                  <a:gd name="connsiteY4" fmla="*/ 60755 h 71141"/>
                  <a:gd name="connsiteX5" fmla="*/ 50312 w 157945"/>
                  <a:gd name="connsiteY5" fmla="*/ 69933 h 71141"/>
                  <a:gd name="connsiteX6" fmla="*/ 111501 w 157945"/>
                  <a:gd name="connsiteY6" fmla="*/ 60755 h 71141"/>
                  <a:gd name="connsiteX7" fmla="*/ 151274 w 157945"/>
                  <a:gd name="connsiteY7" fmla="*/ 42398 h 71141"/>
                  <a:gd name="connsiteX8" fmla="*/ 145156 w 157945"/>
                  <a:gd name="connsiteY8" fmla="*/ 8743 h 71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945" h="71141">
                    <a:moveTo>
                      <a:pt x="145156" y="8743"/>
                    </a:moveTo>
                    <a:cubicBezTo>
                      <a:pt x="111501" y="-9614"/>
                      <a:pt x="74787" y="5684"/>
                      <a:pt x="38074" y="11803"/>
                    </a:cubicBezTo>
                    <a:cubicBezTo>
                      <a:pt x="35014" y="11803"/>
                      <a:pt x="31954" y="11803"/>
                      <a:pt x="28895" y="14862"/>
                    </a:cubicBezTo>
                    <a:cubicBezTo>
                      <a:pt x="22776" y="14862"/>
                      <a:pt x="19717" y="17922"/>
                      <a:pt x="13597" y="20981"/>
                    </a:cubicBezTo>
                    <a:cubicBezTo>
                      <a:pt x="1359" y="30160"/>
                      <a:pt x="-4759" y="45457"/>
                      <a:pt x="4419" y="60755"/>
                    </a:cubicBezTo>
                    <a:cubicBezTo>
                      <a:pt x="13597" y="76052"/>
                      <a:pt x="35014" y="69933"/>
                      <a:pt x="50312" y="69933"/>
                    </a:cubicBezTo>
                    <a:cubicBezTo>
                      <a:pt x="71728" y="69933"/>
                      <a:pt x="93144" y="66874"/>
                      <a:pt x="111501" y="60755"/>
                    </a:cubicBezTo>
                    <a:cubicBezTo>
                      <a:pt x="123739" y="57695"/>
                      <a:pt x="145156" y="57695"/>
                      <a:pt x="151274" y="42398"/>
                    </a:cubicBezTo>
                    <a:cubicBezTo>
                      <a:pt x="163513" y="27100"/>
                      <a:pt x="157394" y="14862"/>
                      <a:pt x="145156" y="8743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79C70E40-5A31-4216-841F-2C0E2A10BB69}"/>
                  </a:ext>
                </a:extLst>
              </p:cNvPr>
              <p:cNvSpPr/>
              <p:nvPr/>
            </p:nvSpPr>
            <p:spPr>
              <a:xfrm>
                <a:off x="15801118" y="4663826"/>
                <a:ext cx="139937" cy="61233"/>
              </a:xfrm>
              <a:custGeom>
                <a:avLst/>
                <a:gdLst>
                  <a:gd name="connsiteX0" fmla="*/ 123861 w 139937"/>
                  <a:gd name="connsiteY0" fmla="*/ 8882 h 61233"/>
                  <a:gd name="connsiteX1" fmla="*/ 29016 w 139937"/>
                  <a:gd name="connsiteY1" fmla="*/ 8882 h 61233"/>
                  <a:gd name="connsiteX2" fmla="*/ 22898 w 139937"/>
                  <a:gd name="connsiteY2" fmla="*/ 11941 h 61233"/>
                  <a:gd name="connsiteX3" fmla="*/ 10659 w 139937"/>
                  <a:gd name="connsiteY3" fmla="*/ 18061 h 61233"/>
                  <a:gd name="connsiteX4" fmla="*/ 4541 w 139937"/>
                  <a:gd name="connsiteY4" fmla="*/ 51715 h 61233"/>
                  <a:gd name="connsiteX5" fmla="*/ 47373 w 139937"/>
                  <a:gd name="connsiteY5" fmla="*/ 60893 h 61233"/>
                  <a:gd name="connsiteX6" fmla="*/ 102444 w 139937"/>
                  <a:gd name="connsiteY6" fmla="*/ 54774 h 61233"/>
                  <a:gd name="connsiteX7" fmla="*/ 139158 w 139937"/>
                  <a:gd name="connsiteY7" fmla="*/ 39477 h 61233"/>
                  <a:gd name="connsiteX8" fmla="*/ 123861 w 139937"/>
                  <a:gd name="connsiteY8" fmla="*/ 8882 h 61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937" h="61233">
                    <a:moveTo>
                      <a:pt x="123861" y="8882"/>
                    </a:moveTo>
                    <a:cubicBezTo>
                      <a:pt x="93266" y="-9475"/>
                      <a:pt x="59611" y="5823"/>
                      <a:pt x="29016" y="8882"/>
                    </a:cubicBezTo>
                    <a:cubicBezTo>
                      <a:pt x="25957" y="8882"/>
                      <a:pt x="22898" y="8882"/>
                      <a:pt x="22898" y="11941"/>
                    </a:cubicBezTo>
                    <a:cubicBezTo>
                      <a:pt x="19838" y="11941"/>
                      <a:pt x="13719" y="15001"/>
                      <a:pt x="10659" y="18061"/>
                    </a:cubicBezTo>
                    <a:cubicBezTo>
                      <a:pt x="1481" y="24179"/>
                      <a:pt x="-4638" y="39477"/>
                      <a:pt x="4541" y="51715"/>
                    </a:cubicBezTo>
                    <a:cubicBezTo>
                      <a:pt x="13719" y="63953"/>
                      <a:pt x="32076" y="60893"/>
                      <a:pt x="47373" y="60893"/>
                    </a:cubicBezTo>
                    <a:cubicBezTo>
                      <a:pt x="65730" y="60893"/>
                      <a:pt x="84088" y="57834"/>
                      <a:pt x="102444" y="54774"/>
                    </a:cubicBezTo>
                    <a:cubicBezTo>
                      <a:pt x="114682" y="51715"/>
                      <a:pt x="129980" y="51715"/>
                      <a:pt x="139158" y="39477"/>
                    </a:cubicBezTo>
                    <a:cubicBezTo>
                      <a:pt x="142218" y="27239"/>
                      <a:pt x="136098" y="15001"/>
                      <a:pt x="123861" y="888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5FB08CE5-F362-4E2F-ABB2-697758D5EF87}"/>
                  </a:ext>
                </a:extLst>
              </p:cNvPr>
              <p:cNvSpPr/>
              <p:nvPr/>
            </p:nvSpPr>
            <p:spPr>
              <a:xfrm>
                <a:off x="15823891" y="4706297"/>
                <a:ext cx="103621" cy="43388"/>
              </a:xfrm>
              <a:custGeom>
                <a:avLst/>
                <a:gdLst>
                  <a:gd name="connsiteX0" fmla="*/ 94968 w 103621"/>
                  <a:gd name="connsiteY0" fmla="*/ 6185 h 43388"/>
                  <a:gd name="connsiteX1" fmla="*/ 24600 w 103621"/>
                  <a:gd name="connsiteY1" fmla="*/ 6185 h 43388"/>
                  <a:gd name="connsiteX2" fmla="*/ 18480 w 103621"/>
                  <a:gd name="connsiteY2" fmla="*/ 9244 h 43388"/>
                  <a:gd name="connsiteX3" fmla="*/ 9302 w 103621"/>
                  <a:gd name="connsiteY3" fmla="*/ 12304 h 43388"/>
                  <a:gd name="connsiteX4" fmla="*/ 3183 w 103621"/>
                  <a:gd name="connsiteY4" fmla="*/ 36780 h 43388"/>
                  <a:gd name="connsiteX5" fmla="*/ 33778 w 103621"/>
                  <a:gd name="connsiteY5" fmla="*/ 42899 h 43388"/>
                  <a:gd name="connsiteX6" fmla="*/ 73552 w 103621"/>
                  <a:gd name="connsiteY6" fmla="*/ 39839 h 43388"/>
                  <a:gd name="connsiteX7" fmla="*/ 101087 w 103621"/>
                  <a:gd name="connsiteY7" fmla="*/ 30661 h 43388"/>
                  <a:gd name="connsiteX8" fmla="*/ 94968 w 103621"/>
                  <a:gd name="connsiteY8" fmla="*/ 6185 h 43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3621" h="43388">
                    <a:moveTo>
                      <a:pt x="94968" y="6185"/>
                    </a:moveTo>
                    <a:cubicBezTo>
                      <a:pt x="73552" y="-6053"/>
                      <a:pt x="49075" y="3125"/>
                      <a:pt x="24600" y="6185"/>
                    </a:cubicBezTo>
                    <a:cubicBezTo>
                      <a:pt x="21540" y="6185"/>
                      <a:pt x="21540" y="6185"/>
                      <a:pt x="18480" y="9244"/>
                    </a:cubicBezTo>
                    <a:cubicBezTo>
                      <a:pt x="15422" y="9244"/>
                      <a:pt x="12362" y="12304"/>
                      <a:pt x="9302" y="12304"/>
                    </a:cubicBezTo>
                    <a:cubicBezTo>
                      <a:pt x="124" y="18423"/>
                      <a:pt x="-2935" y="27601"/>
                      <a:pt x="3183" y="36780"/>
                    </a:cubicBezTo>
                    <a:cubicBezTo>
                      <a:pt x="9302" y="45958"/>
                      <a:pt x="24600" y="42899"/>
                      <a:pt x="33778" y="42899"/>
                    </a:cubicBezTo>
                    <a:cubicBezTo>
                      <a:pt x="46017" y="42899"/>
                      <a:pt x="61314" y="39839"/>
                      <a:pt x="73552" y="39839"/>
                    </a:cubicBezTo>
                    <a:cubicBezTo>
                      <a:pt x="82730" y="39839"/>
                      <a:pt x="94968" y="36780"/>
                      <a:pt x="101087" y="30661"/>
                    </a:cubicBezTo>
                    <a:cubicBezTo>
                      <a:pt x="107206" y="18423"/>
                      <a:pt x="101087" y="12304"/>
                      <a:pt x="94968" y="6185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C024F2D5-DE4C-40F1-98A0-34CE0A99FC8D}"/>
                  </a:ext>
                </a:extLst>
              </p:cNvPr>
              <p:cNvSpPr/>
              <p:nvPr/>
            </p:nvSpPr>
            <p:spPr>
              <a:xfrm>
                <a:off x="15779764" y="4583983"/>
                <a:ext cx="169689" cy="110141"/>
              </a:xfrm>
              <a:custGeom>
                <a:avLst/>
                <a:gdLst>
                  <a:gd name="connsiteX0" fmla="*/ 41191 w 169689"/>
                  <a:gd name="connsiteY0" fmla="*/ 110142 h 110141"/>
                  <a:gd name="connsiteX1" fmla="*/ 1418 w 169689"/>
                  <a:gd name="connsiteY1" fmla="*/ 91785 h 110141"/>
                  <a:gd name="connsiteX2" fmla="*/ 16715 w 169689"/>
                  <a:gd name="connsiteY2" fmla="*/ 52011 h 110141"/>
                  <a:gd name="connsiteX3" fmla="*/ 10597 w 169689"/>
                  <a:gd name="connsiteY3" fmla="*/ 42833 h 110141"/>
                  <a:gd name="connsiteX4" fmla="*/ 13656 w 169689"/>
                  <a:gd name="connsiteY4" fmla="*/ 27535 h 110141"/>
                  <a:gd name="connsiteX5" fmla="*/ 120738 w 169689"/>
                  <a:gd name="connsiteY5" fmla="*/ 0 h 110141"/>
                  <a:gd name="connsiteX6" fmla="*/ 120738 w 169689"/>
                  <a:gd name="connsiteY6" fmla="*/ 0 h 110141"/>
                  <a:gd name="connsiteX7" fmla="*/ 126857 w 169689"/>
                  <a:gd name="connsiteY7" fmla="*/ 6119 h 110141"/>
                  <a:gd name="connsiteX8" fmla="*/ 120738 w 169689"/>
                  <a:gd name="connsiteY8" fmla="*/ 12238 h 110141"/>
                  <a:gd name="connsiteX9" fmla="*/ 22834 w 169689"/>
                  <a:gd name="connsiteY9" fmla="*/ 33655 h 110141"/>
                  <a:gd name="connsiteX10" fmla="*/ 22834 w 169689"/>
                  <a:gd name="connsiteY10" fmla="*/ 39773 h 110141"/>
                  <a:gd name="connsiteX11" fmla="*/ 148274 w 169689"/>
                  <a:gd name="connsiteY11" fmla="*/ 45892 h 110141"/>
                  <a:gd name="connsiteX12" fmla="*/ 163571 w 169689"/>
                  <a:gd name="connsiteY12" fmla="*/ 48952 h 110141"/>
                  <a:gd name="connsiteX13" fmla="*/ 169689 w 169689"/>
                  <a:gd name="connsiteY13" fmla="*/ 67309 h 110141"/>
                  <a:gd name="connsiteX14" fmla="*/ 71786 w 169689"/>
                  <a:gd name="connsiteY14" fmla="*/ 110142 h 110141"/>
                  <a:gd name="connsiteX15" fmla="*/ 41191 w 169689"/>
                  <a:gd name="connsiteY15" fmla="*/ 110142 h 110141"/>
                  <a:gd name="connsiteX16" fmla="*/ 22834 w 169689"/>
                  <a:gd name="connsiteY16" fmla="*/ 58130 h 110141"/>
                  <a:gd name="connsiteX17" fmla="*/ 10597 w 169689"/>
                  <a:gd name="connsiteY17" fmla="*/ 85666 h 110141"/>
                  <a:gd name="connsiteX18" fmla="*/ 68727 w 169689"/>
                  <a:gd name="connsiteY18" fmla="*/ 94844 h 110141"/>
                  <a:gd name="connsiteX19" fmla="*/ 154392 w 169689"/>
                  <a:gd name="connsiteY19" fmla="*/ 64249 h 110141"/>
                  <a:gd name="connsiteX20" fmla="*/ 151333 w 169689"/>
                  <a:gd name="connsiteY20" fmla="*/ 55071 h 110141"/>
                  <a:gd name="connsiteX21" fmla="*/ 145214 w 169689"/>
                  <a:gd name="connsiteY21" fmla="*/ 55071 h 110141"/>
                  <a:gd name="connsiteX22" fmla="*/ 22834 w 169689"/>
                  <a:gd name="connsiteY22" fmla="*/ 58130 h 110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69689" h="110141">
                    <a:moveTo>
                      <a:pt x="41191" y="110142"/>
                    </a:moveTo>
                    <a:cubicBezTo>
                      <a:pt x="19775" y="110142"/>
                      <a:pt x="4477" y="107082"/>
                      <a:pt x="1418" y="91785"/>
                    </a:cubicBezTo>
                    <a:cubicBezTo>
                      <a:pt x="-4701" y="76487"/>
                      <a:pt x="10597" y="58130"/>
                      <a:pt x="16715" y="52011"/>
                    </a:cubicBezTo>
                    <a:cubicBezTo>
                      <a:pt x="13656" y="48952"/>
                      <a:pt x="13656" y="45892"/>
                      <a:pt x="10597" y="42833"/>
                    </a:cubicBezTo>
                    <a:cubicBezTo>
                      <a:pt x="7537" y="36714"/>
                      <a:pt x="10597" y="30595"/>
                      <a:pt x="13656" y="27535"/>
                    </a:cubicBezTo>
                    <a:cubicBezTo>
                      <a:pt x="32012" y="3060"/>
                      <a:pt x="111559" y="0"/>
                      <a:pt x="120738" y="0"/>
                    </a:cubicBezTo>
                    <a:cubicBezTo>
                      <a:pt x="120738" y="0"/>
                      <a:pt x="120738" y="0"/>
                      <a:pt x="120738" y="0"/>
                    </a:cubicBezTo>
                    <a:cubicBezTo>
                      <a:pt x="123797" y="0"/>
                      <a:pt x="126857" y="3060"/>
                      <a:pt x="126857" y="6119"/>
                    </a:cubicBezTo>
                    <a:cubicBezTo>
                      <a:pt x="126857" y="9179"/>
                      <a:pt x="123797" y="12238"/>
                      <a:pt x="120738" y="12238"/>
                    </a:cubicBezTo>
                    <a:cubicBezTo>
                      <a:pt x="90143" y="12238"/>
                      <a:pt x="35072" y="18357"/>
                      <a:pt x="22834" y="33655"/>
                    </a:cubicBezTo>
                    <a:cubicBezTo>
                      <a:pt x="19775" y="36714"/>
                      <a:pt x="19775" y="36714"/>
                      <a:pt x="22834" y="39773"/>
                    </a:cubicBezTo>
                    <a:cubicBezTo>
                      <a:pt x="25894" y="48952"/>
                      <a:pt x="32012" y="70368"/>
                      <a:pt x="148274" y="45892"/>
                    </a:cubicBezTo>
                    <a:cubicBezTo>
                      <a:pt x="148274" y="45892"/>
                      <a:pt x="157452" y="45892"/>
                      <a:pt x="163571" y="48952"/>
                    </a:cubicBezTo>
                    <a:cubicBezTo>
                      <a:pt x="169689" y="52011"/>
                      <a:pt x="169689" y="58130"/>
                      <a:pt x="169689" y="67309"/>
                    </a:cubicBezTo>
                    <a:cubicBezTo>
                      <a:pt x="169689" y="91785"/>
                      <a:pt x="136036" y="104023"/>
                      <a:pt x="71786" y="110142"/>
                    </a:cubicBezTo>
                    <a:cubicBezTo>
                      <a:pt x="59549" y="110142"/>
                      <a:pt x="50370" y="110142"/>
                      <a:pt x="41191" y="110142"/>
                    </a:cubicBezTo>
                    <a:close/>
                    <a:moveTo>
                      <a:pt x="22834" y="58130"/>
                    </a:moveTo>
                    <a:cubicBezTo>
                      <a:pt x="16715" y="64249"/>
                      <a:pt x="7537" y="76487"/>
                      <a:pt x="10597" y="85666"/>
                    </a:cubicBezTo>
                    <a:cubicBezTo>
                      <a:pt x="13656" y="97904"/>
                      <a:pt x="32012" y="97904"/>
                      <a:pt x="68727" y="94844"/>
                    </a:cubicBezTo>
                    <a:cubicBezTo>
                      <a:pt x="123797" y="88725"/>
                      <a:pt x="154392" y="79547"/>
                      <a:pt x="154392" y="64249"/>
                    </a:cubicBezTo>
                    <a:cubicBezTo>
                      <a:pt x="154392" y="58130"/>
                      <a:pt x="154392" y="55071"/>
                      <a:pt x="151333" y="55071"/>
                    </a:cubicBezTo>
                    <a:cubicBezTo>
                      <a:pt x="148274" y="52011"/>
                      <a:pt x="145214" y="55071"/>
                      <a:pt x="145214" y="55071"/>
                    </a:cubicBezTo>
                    <a:cubicBezTo>
                      <a:pt x="71786" y="70368"/>
                      <a:pt x="38132" y="67309"/>
                      <a:pt x="22834" y="5813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6E056CD5-EE66-4FE6-A99F-2DA5BE2E8567}"/>
                  </a:ext>
                </a:extLst>
              </p:cNvPr>
              <p:cNvSpPr/>
              <p:nvPr/>
            </p:nvSpPr>
            <p:spPr>
              <a:xfrm>
                <a:off x="15794482" y="4666589"/>
                <a:ext cx="145794" cy="61189"/>
              </a:xfrm>
              <a:custGeom>
                <a:avLst/>
                <a:gdLst>
                  <a:gd name="connsiteX0" fmla="*/ 47890 w 145794"/>
                  <a:gd name="connsiteY0" fmla="*/ 61190 h 61189"/>
                  <a:gd name="connsiteX1" fmla="*/ 35652 w 145794"/>
                  <a:gd name="connsiteY1" fmla="*/ 61190 h 61189"/>
                  <a:gd name="connsiteX2" fmla="*/ 5057 w 145794"/>
                  <a:gd name="connsiteY2" fmla="*/ 45892 h 61189"/>
                  <a:gd name="connsiteX3" fmla="*/ 1998 w 145794"/>
                  <a:gd name="connsiteY3" fmla="*/ 18357 h 61189"/>
                  <a:gd name="connsiteX4" fmla="*/ 8117 w 145794"/>
                  <a:gd name="connsiteY4" fmla="*/ 15297 h 61189"/>
                  <a:gd name="connsiteX5" fmla="*/ 11177 w 145794"/>
                  <a:gd name="connsiteY5" fmla="*/ 21416 h 61189"/>
                  <a:gd name="connsiteX6" fmla="*/ 11177 w 145794"/>
                  <a:gd name="connsiteY6" fmla="*/ 39773 h 61189"/>
                  <a:gd name="connsiteX7" fmla="*/ 32593 w 145794"/>
                  <a:gd name="connsiteY7" fmla="*/ 48952 h 61189"/>
                  <a:gd name="connsiteX8" fmla="*/ 133556 w 145794"/>
                  <a:gd name="connsiteY8" fmla="*/ 33654 h 61189"/>
                  <a:gd name="connsiteX9" fmla="*/ 136616 w 145794"/>
                  <a:gd name="connsiteY9" fmla="*/ 27535 h 61189"/>
                  <a:gd name="connsiteX10" fmla="*/ 127437 w 145794"/>
                  <a:gd name="connsiteY10" fmla="*/ 9178 h 61189"/>
                  <a:gd name="connsiteX11" fmla="*/ 124377 w 145794"/>
                  <a:gd name="connsiteY11" fmla="*/ 3059 h 61189"/>
                  <a:gd name="connsiteX12" fmla="*/ 130497 w 145794"/>
                  <a:gd name="connsiteY12" fmla="*/ 0 h 61189"/>
                  <a:gd name="connsiteX13" fmla="*/ 145794 w 145794"/>
                  <a:gd name="connsiteY13" fmla="*/ 27535 h 61189"/>
                  <a:gd name="connsiteX14" fmla="*/ 136616 w 145794"/>
                  <a:gd name="connsiteY14" fmla="*/ 42833 h 61189"/>
                  <a:gd name="connsiteX15" fmla="*/ 47890 w 145794"/>
                  <a:gd name="connsiteY15" fmla="*/ 61190 h 6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5794" h="61189">
                    <a:moveTo>
                      <a:pt x="47890" y="61190"/>
                    </a:moveTo>
                    <a:cubicBezTo>
                      <a:pt x="44831" y="61190"/>
                      <a:pt x="38712" y="61190"/>
                      <a:pt x="35652" y="61190"/>
                    </a:cubicBezTo>
                    <a:cubicBezTo>
                      <a:pt x="20355" y="61190"/>
                      <a:pt x="8117" y="55071"/>
                      <a:pt x="5057" y="45892"/>
                    </a:cubicBezTo>
                    <a:cubicBezTo>
                      <a:pt x="-4121" y="33654"/>
                      <a:pt x="1998" y="18357"/>
                      <a:pt x="1998" y="18357"/>
                    </a:cubicBezTo>
                    <a:cubicBezTo>
                      <a:pt x="1998" y="15297"/>
                      <a:pt x="5057" y="15297"/>
                      <a:pt x="8117" y="15297"/>
                    </a:cubicBezTo>
                    <a:cubicBezTo>
                      <a:pt x="11177" y="15297"/>
                      <a:pt x="11177" y="18357"/>
                      <a:pt x="11177" y="21416"/>
                    </a:cubicBezTo>
                    <a:cubicBezTo>
                      <a:pt x="11177" y="21416"/>
                      <a:pt x="8117" y="33654"/>
                      <a:pt x="11177" y="39773"/>
                    </a:cubicBezTo>
                    <a:cubicBezTo>
                      <a:pt x="14236" y="45892"/>
                      <a:pt x="23415" y="48952"/>
                      <a:pt x="32593" y="48952"/>
                    </a:cubicBezTo>
                    <a:cubicBezTo>
                      <a:pt x="72367" y="52011"/>
                      <a:pt x="121319" y="39773"/>
                      <a:pt x="133556" y="33654"/>
                    </a:cubicBezTo>
                    <a:cubicBezTo>
                      <a:pt x="133556" y="33654"/>
                      <a:pt x="136616" y="30595"/>
                      <a:pt x="136616" y="27535"/>
                    </a:cubicBezTo>
                    <a:cubicBezTo>
                      <a:pt x="136616" y="21416"/>
                      <a:pt x="130497" y="12238"/>
                      <a:pt x="127437" y="9178"/>
                    </a:cubicBezTo>
                    <a:cubicBezTo>
                      <a:pt x="124377" y="9178"/>
                      <a:pt x="124377" y="3059"/>
                      <a:pt x="124377" y="3059"/>
                    </a:cubicBezTo>
                    <a:cubicBezTo>
                      <a:pt x="124377" y="0"/>
                      <a:pt x="130497" y="0"/>
                      <a:pt x="130497" y="0"/>
                    </a:cubicBezTo>
                    <a:cubicBezTo>
                      <a:pt x="139675" y="3059"/>
                      <a:pt x="145794" y="15297"/>
                      <a:pt x="145794" y="27535"/>
                    </a:cubicBezTo>
                    <a:cubicBezTo>
                      <a:pt x="145794" y="33654"/>
                      <a:pt x="142735" y="39773"/>
                      <a:pt x="136616" y="42833"/>
                    </a:cubicBezTo>
                    <a:cubicBezTo>
                      <a:pt x="127437" y="52011"/>
                      <a:pt x="87664" y="61190"/>
                      <a:pt x="47890" y="6119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9A44B8DF-3B79-42A5-80B3-D6BF1F88BE94}"/>
                </a:ext>
              </a:extLst>
            </p:cNvPr>
            <p:cNvSpPr/>
            <p:nvPr/>
          </p:nvSpPr>
          <p:spPr>
            <a:xfrm>
              <a:off x="14343222" y="3112368"/>
              <a:ext cx="61189" cy="146855"/>
            </a:xfrm>
            <a:custGeom>
              <a:avLst/>
              <a:gdLst>
                <a:gd name="connsiteX0" fmla="*/ 0 w 61189"/>
                <a:gd name="connsiteY0" fmla="*/ 0 h 146855"/>
                <a:gd name="connsiteX1" fmla="*/ 48952 w 61189"/>
                <a:gd name="connsiteY1" fmla="*/ 146856 h 146855"/>
                <a:gd name="connsiteX2" fmla="*/ 61190 w 61189"/>
                <a:gd name="connsiteY2" fmla="*/ 61190 h 146855"/>
                <a:gd name="connsiteX3" fmla="*/ 0 w 61189"/>
                <a:gd name="connsiteY3" fmla="*/ 0 h 146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89" h="146855">
                  <a:moveTo>
                    <a:pt x="0" y="0"/>
                  </a:moveTo>
                  <a:cubicBezTo>
                    <a:pt x="0" y="0"/>
                    <a:pt x="0" y="122380"/>
                    <a:pt x="48952" y="146856"/>
                  </a:cubicBezTo>
                  <a:lnTo>
                    <a:pt x="61190" y="611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0F11DD4A-43D9-483B-9142-E609D26EC859}"/>
                </a:ext>
              </a:extLst>
            </p:cNvPr>
            <p:cNvSpPr/>
            <p:nvPr/>
          </p:nvSpPr>
          <p:spPr>
            <a:xfrm>
              <a:off x="14709545" y="2956334"/>
              <a:ext cx="111279" cy="231549"/>
            </a:xfrm>
            <a:custGeom>
              <a:avLst/>
              <a:gdLst>
                <a:gd name="connsiteX0" fmla="*/ 110957 w 111279"/>
                <a:gd name="connsiteY0" fmla="*/ 0 h 231549"/>
                <a:gd name="connsiteX1" fmla="*/ 40589 w 111279"/>
                <a:gd name="connsiteY1" fmla="*/ 229462 h 231549"/>
                <a:gd name="connsiteX2" fmla="*/ 9994 w 111279"/>
                <a:gd name="connsiteY2" fmla="*/ 3059 h 231549"/>
                <a:gd name="connsiteX3" fmla="*/ 110957 w 111279"/>
                <a:gd name="connsiteY3" fmla="*/ 0 h 231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279" h="231549">
                  <a:moveTo>
                    <a:pt x="110957" y="0"/>
                  </a:moveTo>
                  <a:cubicBezTo>
                    <a:pt x="110957" y="0"/>
                    <a:pt x="120136" y="198867"/>
                    <a:pt x="40589" y="229462"/>
                  </a:cubicBezTo>
                  <a:cubicBezTo>
                    <a:pt x="-26720" y="256997"/>
                    <a:pt x="9994" y="3059"/>
                    <a:pt x="9994" y="3059"/>
                  </a:cubicBezTo>
                  <a:lnTo>
                    <a:pt x="110957" y="0"/>
                  </a:ln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3C21BE3B-AA43-4997-BB7D-FD975CA31354}"/>
                </a:ext>
              </a:extLst>
            </p:cNvPr>
            <p:cNvSpPr/>
            <p:nvPr/>
          </p:nvSpPr>
          <p:spPr>
            <a:xfrm>
              <a:off x="14359178" y="2791122"/>
              <a:ext cx="415516" cy="572246"/>
            </a:xfrm>
            <a:custGeom>
              <a:avLst/>
              <a:gdLst>
                <a:gd name="connsiteX0" fmla="*/ 415431 w 415516"/>
                <a:gd name="connsiteY0" fmla="*/ 204986 h 572246"/>
                <a:gd name="connsiteX1" fmla="*/ 387896 w 415516"/>
                <a:gd name="connsiteY1" fmla="*/ 455864 h 572246"/>
                <a:gd name="connsiteX2" fmla="*/ 213505 w 415516"/>
                <a:gd name="connsiteY2" fmla="*/ 572125 h 572246"/>
                <a:gd name="connsiteX3" fmla="*/ 14638 w 415516"/>
                <a:gd name="connsiteY3" fmla="*/ 403853 h 572246"/>
                <a:gd name="connsiteX4" fmla="*/ 2400 w 415516"/>
                <a:gd name="connsiteY4" fmla="*/ 174391 h 572246"/>
                <a:gd name="connsiteX5" fmla="*/ 237981 w 415516"/>
                <a:gd name="connsiteY5" fmla="*/ 0 h 572246"/>
                <a:gd name="connsiteX6" fmla="*/ 415431 w 415516"/>
                <a:gd name="connsiteY6" fmla="*/ 204986 h 572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5516" h="572246">
                  <a:moveTo>
                    <a:pt x="415431" y="204986"/>
                  </a:moveTo>
                  <a:cubicBezTo>
                    <a:pt x="415431" y="204986"/>
                    <a:pt x="418491" y="382436"/>
                    <a:pt x="387896" y="455864"/>
                  </a:cubicBezTo>
                  <a:cubicBezTo>
                    <a:pt x="360361" y="520113"/>
                    <a:pt x="265517" y="575184"/>
                    <a:pt x="213505" y="572125"/>
                  </a:cubicBezTo>
                  <a:cubicBezTo>
                    <a:pt x="146197" y="569065"/>
                    <a:pt x="32995" y="517054"/>
                    <a:pt x="14638" y="403853"/>
                  </a:cubicBezTo>
                  <a:cubicBezTo>
                    <a:pt x="2400" y="327365"/>
                    <a:pt x="-3718" y="226402"/>
                    <a:pt x="2400" y="174391"/>
                  </a:cubicBezTo>
                  <a:cubicBezTo>
                    <a:pt x="14638" y="79547"/>
                    <a:pt x="48293" y="3060"/>
                    <a:pt x="237981" y="0"/>
                  </a:cubicBezTo>
                  <a:cubicBezTo>
                    <a:pt x="323647" y="0"/>
                    <a:pt x="406253" y="125439"/>
                    <a:pt x="415431" y="204986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C14BB2C0-E83E-4FA7-B83F-94317D828A29}"/>
                </a:ext>
              </a:extLst>
            </p:cNvPr>
            <p:cNvSpPr/>
            <p:nvPr/>
          </p:nvSpPr>
          <p:spPr>
            <a:xfrm>
              <a:off x="14565298" y="3063416"/>
              <a:ext cx="63313" cy="134617"/>
            </a:xfrm>
            <a:custGeom>
              <a:avLst/>
              <a:gdLst>
                <a:gd name="connsiteX0" fmla="*/ 37981 w 63313"/>
                <a:gd name="connsiteY0" fmla="*/ 134618 h 134617"/>
                <a:gd name="connsiteX1" fmla="*/ 4327 w 63313"/>
                <a:gd name="connsiteY1" fmla="*/ 128499 h 134617"/>
                <a:gd name="connsiteX2" fmla="*/ 1267 w 63313"/>
                <a:gd name="connsiteY2" fmla="*/ 122380 h 134617"/>
                <a:gd name="connsiteX3" fmla="*/ 7386 w 63313"/>
                <a:gd name="connsiteY3" fmla="*/ 119320 h 134617"/>
                <a:gd name="connsiteX4" fmla="*/ 47160 w 63313"/>
                <a:gd name="connsiteY4" fmla="*/ 122380 h 134617"/>
                <a:gd name="connsiteX5" fmla="*/ 50219 w 63313"/>
                <a:gd name="connsiteY5" fmla="*/ 119320 h 134617"/>
                <a:gd name="connsiteX6" fmla="*/ 47160 w 63313"/>
                <a:gd name="connsiteY6" fmla="*/ 6119 h 134617"/>
                <a:gd name="connsiteX7" fmla="*/ 53278 w 63313"/>
                <a:gd name="connsiteY7" fmla="*/ 0 h 134617"/>
                <a:gd name="connsiteX8" fmla="*/ 59397 w 63313"/>
                <a:gd name="connsiteY8" fmla="*/ 6119 h 134617"/>
                <a:gd name="connsiteX9" fmla="*/ 62457 w 63313"/>
                <a:gd name="connsiteY9" fmla="*/ 122380 h 134617"/>
                <a:gd name="connsiteX10" fmla="*/ 56338 w 63313"/>
                <a:gd name="connsiteY10" fmla="*/ 134618 h 134617"/>
                <a:gd name="connsiteX11" fmla="*/ 37981 w 63313"/>
                <a:gd name="connsiteY11" fmla="*/ 134618 h 134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3313" h="134617">
                  <a:moveTo>
                    <a:pt x="37981" y="134618"/>
                  </a:moveTo>
                  <a:cubicBezTo>
                    <a:pt x="25743" y="134618"/>
                    <a:pt x="10445" y="131558"/>
                    <a:pt x="4327" y="128499"/>
                  </a:cubicBezTo>
                  <a:cubicBezTo>
                    <a:pt x="1267" y="128499"/>
                    <a:pt x="-1792" y="125439"/>
                    <a:pt x="1267" y="122380"/>
                  </a:cubicBezTo>
                  <a:cubicBezTo>
                    <a:pt x="1267" y="119320"/>
                    <a:pt x="4327" y="116261"/>
                    <a:pt x="7386" y="119320"/>
                  </a:cubicBezTo>
                  <a:cubicBezTo>
                    <a:pt x="19624" y="122380"/>
                    <a:pt x="41040" y="125439"/>
                    <a:pt x="47160" y="122380"/>
                  </a:cubicBezTo>
                  <a:cubicBezTo>
                    <a:pt x="47160" y="122380"/>
                    <a:pt x="50219" y="119320"/>
                    <a:pt x="50219" y="119320"/>
                  </a:cubicBezTo>
                  <a:cubicBezTo>
                    <a:pt x="53278" y="100963"/>
                    <a:pt x="47160" y="6119"/>
                    <a:pt x="47160" y="6119"/>
                  </a:cubicBezTo>
                  <a:cubicBezTo>
                    <a:pt x="47160" y="3059"/>
                    <a:pt x="50219" y="0"/>
                    <a:pt x="53278" y="0"/>
                  </a:cubicBezTo>
                  <a:cubicBezTo>
                    <a:pt x="56338" y="0"/>
                    <a:pt x="59397" y="3059"/>
                    <a:pt x="59397" y="6119"/>
                  </a:cubicBezTo>
                  <a:cubicBezTo>
                    <a:pt x="59397" y="9178"/>
                    <a:pt x="65517" y="100963"/>
                    <a:pt x="62457" y="122380"/>
                  </a:cubicBezTo>
                  <a:cubicBezTo>
                    <a:pt x="62457" y="128499"/>
                    <a:pt x="59397" y="131558"/>
                    <a:pt x="56338" y="134618"/>
                  </a:cubicBezTo>
                  <a:cubicBezTo>
                    <a:pt x="50219" y="134618"/>
                    <a:pt x="44100" y="134618"/>
                    <a:pt x="37981" y="134618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6FA32B11-6FA2-468B-8C91-EC7397864A31}"/>
                </a:ext>
              </a:extLst>
            </p:cNvPr>
            <p:cNvSpPr/>
            <p:nvPr/>
          </p:nvSpPr>
          <p:spPr>
            <a:xfrm>
              <a:off x="14669994" y="3048119"/>
              <a:ext cx="40366" cy="39773"/>
            </a:xfrm>
            <a:custGeom>
              <a:avLst/>
              <a:gdLst>
                <a:gd name="connsiteX0" fmla="*/ 593 w 40366"/>
                <a:gd name="connsiteY0" fmla="*/ 21416 h 39773"/>
                <a:gd name="connsiteX1" fmla="*/ 22010 w 40366"/>
                <a:gd name="connsiteY1" fmla="*/ 39773 h 39773"/>
                <a:gd name="connsiteX2" fmla="*/ 40366 w 40366"/>
                <a:gd name="connsiteY2" fmla="*/ 18357 h 39773"/>
                <a:gd name="connsiteX3" fmla="*/ 18950 w 40366"/>
                <a:gd name="connsiteY3" fmla="*/ 0 h 39773"/>
                <a:gd name="connsiteX4" fmla="*/ 593 w 40366"/>
                <a:gd name="connsiteY4" fmla="*/ 21416 h 39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66" h="39773">
                  <a:moveTo>
                    <a:pt x="593" y="21416"/>
                  </a:moveTo>
                  <a:cubicBezTo>
                    <a:pt x="593" y="33654"/>
                    <a:pt x="12831" y="39773"/>
                    <a:pt x="22010" y="39773"/>
                  </a:cubicBezTo>
                  <a:cubicBezTo>
                    <a:pt x="34248" y="39773"/>
                    <a:pt x="40366" y="27535"/>
                    <a:pt x="40366" y="18357"/>
                  </a:cubicBezTo>
                  <a:cubicBezTo>
                    <a:pt x="40366" y="6119"/>
                    <a:pt x="28128" y="0"/>
                    <a:pt x="18950" y="0"/>
                  </a:cubicBezTo>
                  <a:cubicBezTo>
                    <a:pt x="6712" y="0"/>
                    <a:pt x="-2467" y="9178"/>
                    <a:pt x="593" y="2141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7F5946CA-DEE0-4D0F-AF05-102ACCD22445}"/>
                </a:ext>
              </a:extLst>
            </p:cNvPr>
            <p:cNvSpPr/>
            <p:nvPr/>
          </p:nvSpPr>
          <p:spPr>
            <a:xfrm>
              <a:off x="14483958" y="3045059"/>
              <a:ext cx="39773" cy="39773"/>
            </a:xfrm>
            <a:custGeom>
              <a:avLst/>
              <a:gdLst>
                <a:gd name="connsiteX0" fmla="*/ 0 w 39773"/>
                <a:gd name="connsiteY0" fmla="*/ 21416 h 39773"/>
                <a:gd name="connsiteX1" fmla="*/ 21417 w 39773"/>
                <a:gd name="connsiteY1" fmla="*/ 39773 h 39773"/>
                <a:gd name="connsiteX2" fmla="*/ 39774 w 39773"/>
                <a:gd name="connsiteY2" fmla="*/ 18357 h 39773"/>
                <a:gd name="connsiteX3" fmla="*/ 18357 w 39773"/>
                <a:gd name="connsiteY3" fmla="*/ 0 h 39773"/>
                <a:gd name="connsiteX4" fmla="*/ 0 w 39773"/>
                <a:gd name="connsiteY4" fmla="*/ 21416 h 39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773" h="39773">
                  <a:moveTo>
                    <a:pt x="0" y="21416"/>
                  </a:moveTo>
                  <a:cubicBezTo>
                    <a:pt x="0" y="33654"/>
                    <a:pt x="12238" y="39773"/>
                    <a:pt x="21417" y="39773"/>
                  </a:cubicBezTo>
                  <a:cubicBezTo>
                    <a:pt x="33655" y="39773"/>
                    <a:pt x="39774" y="27535"/>
                    <a:pt x="39774" y="18357"/>
                  </a:cubicBezTo>
                  <a:cubicBezTo>
                    <a:pt x="39774" y="6119"/>
                    <a:pt x="27535" y="0"/>
                    <a:pt x="18357" y="0"/>
                  </a:cubicBezTo>
                  <a:cubicBezTo>
                    <a:pt x="9179" y="0"/>
                    <a:pt x="0" y="12238"/>
                    <a:pt x="0" y="2141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E222B6C6-0D2B-4615-959C-1058C13FB1CB}"/>
                </a:ext>
              </a:extLst>
            </p:cNvPr>
            <p:cNvSpPr/>
            <p:nvPr/>
          </p:nvSpPr>
          <p:spPr>
            <a:xfrm>
              <a:off x="14647904" y="3000290"/>
              <a:ext cx="92001" cy="35590"/>
            </a:xfrm>
            <a:custGeom>
              <a:avLst/>
              <a:gdLst>
                <a:gd name="connsiteX0" fmla="*/ 83874 w 92001"/>
                <a:gd name="connsiteY0" fmla="*/ 35591 h 35590"/>
                <a:gd name="connsiteX1" fmla="*/ 77754 w 92001"/>
                <a:gd name="connsiteY1" fmla="*/ 32532 h 35590"/>
                <a:gd name="connsiteX2" fmla="*/ 10446 w 92001"/>
                <a:gd name="connsiteY2" fmla="*/ 17234 h 35590"/>
                <a:gd name="connsiteX3" fmla="*/ 1267 w 92001"/>
                <a:gd name="connsiteY3" fmla="*/ 14175 h 35590"/>
                <a:gd name="connsiteX4" fmla="*/ 4327 w 92001"/>
                <a:gd name="connsiteY4" fmla="*/ 4996 h 35590"/>
                <a:gd name="connsiteX5" fmla="*/ 89993 w 92001"/>
                <a:gd name="connsiteY5" fmla="*/ 23353 h 35590"/>
                <a:gd name="connsiteX6" fmla="*/ 86933 w 92001"/>
                <a:gd name="connsiteY6" fmla="*/ 35591 h 35590"/>
                <a:gd name="connsiteX7" fmla="*/ 83874 w 92001"/>
                <a:gd name="connsiteY7" fmla="*/ 35591 h 3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01" h="35590">
                  <a:moveTo>
                    <a:pt x="83874" y="35591"/>
                  </a:moveTo>
                  <a:cubicBezTo>
                    <a:pt x="80814" y="35591"/>
                    <a:pt x="77754" y="35591"/>
                    <a:pt x="77754" y="32532"/>
                  </a:cubicBezTo>
                  <a:cubicBezTo>
                    <a:pt x="56338" y="1937"/>
                    <a:pt x="13506" y="17234"/>
                    <a:pt x="10446" y="17234"/>
                  </a:cubicBezTo>
                  <a:cubicBezTo>
                    <a:pt x="7386" y="20294"/>
                    <a:pt x="1267" y="17234"/>
                    <a:pt x="1267" y="14175"/>
                  </a:cubicBezTo>
                  <a:cubicBezTo>
                    <a:pt x="-1792" y="11115"/>
                    <a:pt x="1267" y="4996"/>
                    <a:pt x="4327" y="4996"/>
                  </a:cubicBezTo>
                  <a:cubicBezTo>
                    <a:pt x="22684" y="-1123"/>
                    <a:pt x="65516" y="-7242"/>
                    <a:pt x="89993" y="23353"/>
                  </a:cubicBezTo>
                  <a:cubicBezTo>
                    <a:pt x="93052" y="26413"/>
                    <a:pt x="93052" y="32532"/>
                    <a:pt x="86933" y="35591"/>
                  </a:cubicBezTo>
                  <a:cubicBezTo>
                    <a:pt x="86933" y="35591"/>
                    <a:pt x="86933" y="35591"/>
                    <a:pt x="83874" y="35591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6A05CC26-B000-4E3D-96FF-673519D78476}"/>
                </a:ext>
              </a:extLst>
            </p:cNvPr>
            <p:cNvSpPr/>
            <p:nvPr/>
          </p:nvSpPr>
          <p:spPr>
            <a:xfrm>
              <a:off x="14454128" y="2977617"/>
              <a:ext cx="91493" cy="30728"/>
            </a:xfrm>
            <a:custGeom>
              <a:avLst/>
              <a:gdLst>
                <a:gd name="connsiteX0" fmla="*/ 87960 w 91493"/>
                <a:gd name="connsiteY0" fmla="*/ 30729 h 30728"/>
                <a:gd name="connsiteX1" fmla="*/ 81842 w 91493"/>
                <a:gd name="connsiteY1" fmla="*/ 27669 h 30728"/>
                <a:gd name="connsiteX2" fmla="*/ 14533 w 91493"/>
                <a:gd name="connsiteY2" fmla="*/ 27669 h 30728"/>
                <a:gd name="connsiteX3" fmla="*/ 2295 w 91493"/>
                <a:gd name="connsiteY3" fmla="*/ 27669 h 30728"/>
                <a:gd name="connsiteX4" fmla="*/ 2295 w 91493"/>
                <a:gd name="connsiteY4" fmla="*/ 15431 h 30728"/>
                <a:gd name="connsiteX5" fmla="*/ 87960 w 91493"/>
                <a:gd name="connsiteY5" fmla="*/ 15431 h 30728"/>
                <a:gd name="connsiteX6" fmla="*/ 87960 w 91493"/>
                <a:gd name="connsiteY6" fmla="*/ 27669 h 30728"/>
                <a:gd name="connsiteX7" fmla="*/ 87960 w 91493"/>
                <a:gd name="connsiteY7" fmla="*/ 30729 h 3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493" h="30728">
                  <a:moveTo>
                    <a:pt x="87960" y="30729"/>
                  </a:moveTo>
                  <a:cubicBezTo>
                    <a:pt x="84901" y="30729"/>
                    <a:pt x="84901" y="30729"/>
                    <a:pt x="81842" y="27669"/>
                  </a:cubicBezTo>
                  <a:cubicBezTo>
                    <a:pt x="48187" y="134"/>
                    <a:pt x="17592" y="24610"/>
                    <a:pt x="14533" y="27669"/>
                  </a:cubicBezTo>
                  <a:cubicBezTo>
                    <a:pt x="11473" y="30729"/>
                    <a:pt x="5354" y="30729"/>
                    <a:pt x="2295" y="27669"/>
                  </a:cubicBezTo>
                  <a:cubicBezTo>
                    <a:pt x="-765" y="24610"/>
                    <a:pt x="-765" y="18491"/>
                    <a:pt x="2295" y="15431"/>
                  </a:cubicBezTo>
                  <a:cubicBezTo>
                    <a:pt x="17592" y="3193"/>
                    <a:pt x="54306" y="-12104"/>
                    <a:pt x="87960" y="15431"/>
                  </a:cubicBezTo>
                  <a:cubicBezTo>
                    <a:pt x="91020" y="18491"/>
                    <a:pt x="91020" y="24610"/>
                    <a:pt x="87960" y="27669"/>
                  </a:cubicBezTo>
                  <a:cubicBezTo>
                    <a:pt x="94079" y="30729"/>
                    <a:pt x="91020" y="30729"/>
                    <a:pt x="87960" y="30729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9D0355BB-ED05-4D1E-BD81-45E77145561C}"/>
                </a:ext>
              </a:extLst>
            </p:cNvPr>
            <p:cNvSpPr/>
            <p:nvPr/>
          </p:nvSpPr>
          <p:spPr>
            <a:xfrm>
              <a:off x="14420474" y="3290583"/>
              <a:ext cx="229964" cy="78781"/>
            </a:xfrm>
            <a:custGeom>
              <a:avLst/>
              <a:gdLst>
                <a:gd name="connsiteX0" fmla="*/ 152210 w 229964"/>
                <a:gd name="connsiteY0" fmla="*/ 78782 h 78781"/>
                <a:gd name="connsiteX1" fmla="*/ 139972 w 229964"/>
                <a:gd name="connsiteY1" fmla="*/ 78782 h 78781"/>
                <a:gd name="connsiteX2" fmla="*/ 2295 w 229964"/>
                <a:gd name="connsiteY2" fmla="*/ 11473 h 78781"/>
                <a:gd name="connsiteX3" fmla="*/ 2295 w 229964"/>
                <a:gd name="connsiteY3" fmla="*/ 2295 h 78781"/>
                <a:gd name="connsiteX4" fmla="*/ 11474 w 229964"/>
                <a:gd name="connsiteY4" fmla="*/ 2295 h 78781"/>
                <a:gd name="connsiteX5" fmla="*/ 146091 w 229964"/>
                <a:gd name="connsiteY5" fmla="*/ 69603 h 78781"/>
                <a:gd name="connsiteX6" fmla="*/ 219519 w 229964"/>
                <a:gd name="connsiteY6" fmla="*/ 51246 h 78781"/>
                <a:gd name="connsiteX7" fmla="*/ 228697 w 229964"/>
                <a:gd name="connsiteY7" fmla="*/ 54306 h 78781"/>
                <a:gd name="connsiteX8" fmla="*/ 225638 w 229964"/>
                <a:gd name="connsiteY8" fmla="*/ 63484 h 78781"/>
                <a:gd name="connsiteX9" fmla="*/ 152210 w 229964"/>
                <a:gd name="connsiteY9" fmla="*/ 78782 h 78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9964" h="78781">
                  <a:moveTo>
                    <a:pt x="152210" y="78782"/>
                  </a:moveTo>
                  <a:cubicBezTo>
                    <a:pt x="149151" y="78782"/>
                    <a:pt x="143031" y="78782"/>
                    <a:pt x="139972" y="78782"/>
                  </a:cubicBezTo>
                  <a:cubicBezTo>
                    <a:pt x="87961" y="72663"/>
                    <a:pt x="5354" y="11473"/>
                    <a:pt x="2295" y="11473"/>
                  </a:cubicBezTo>
                  <a:cubicBezTo>
                    <a:pt x="-765" y="8414"/>
                    <a:pt x="-765" y="5354"/>
                    <a:pt x="2295" y="2295"/>
                  </a:cubicBezTo>
                  <a:cubicBezTo>
                    <a:pt x="5354" y="-765"/>
                    <a:pt x="8414" y="-765"/>
                    <a:pt x="11474" y="2295"/>
                  </a:cubicBezTo>
                  <a:cubicBezTo>
                    <a:pt x="11474" y="2295"/>
                    <a:pt x="97139" y="63484"/>
                    <a:pt x="146091" y="69603"/>
                  </a:cubicBezTo>
                  <a:cubicBezTo>
                    <a:pt x="185864" y="72663"/>
                    <a:pt x="219519" y="54306"/>
                    <a:pt x="219519" y="51246"/>
                  </a:cubicBezTo>
                  <a:cubicBezTo>
                    <a:pt x="222578" y="48187"/>
                    <a:pt x="225638" y="51246"/>
                    <a:pt x="228697" y="54306"/>
                  </a:cubicBezTo>
                  <a:cubicBezTo>
                    <a:pt x="231757" y="57365"/>
                    <a:pt x="228697" y="60425"/>
                    <a:pt x="225638" y="63484"/>
                  </a:cubicBezTo>
                  <a:cubicBezTo>
                    <a:pt x="219519" y="60425"/>
                    <a:pt x="188924" y="78782"/>
                    <a:pt x="152210" y="78782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BC2DAE0D-59E3-447C-9D41-1DC586FD3B7A}"/>
                </a:ext>
              </a:extLst>
            </p:cNvPr>
            <p:cNvSpPr/>
            <p:nvPr/>
          </p:nvSpPr>
          <p:spPr>
            <a:xfrm>
              <a:off x="14311308" y="3024283"/>
              <a:ext cx="75344" cy="115247"/>
            </a:xfrm>
            <a:custGeom>
              <a:avLst/>
              <a:gdLst>
                <a:gd name="connsiteX0" fmla="*/ 68628 w 75344"/>
                <a:gd name="connsiteY0" fmla="*/ 20776 h 115247"/>
                <a:gd name="connsiteX1" fmla="*/ 10498 w 75344"/>
                <a:gd name="connsiteY1" fmla="*/ 5479 h 115247"/>
                <a:gd name="connsiteX2" fmla="*/ 56390 w 75344"/>
                <a:gd name="connsiteY2" fmla="*/ 112561 h 115247"/>
                <a:gd name="connsiteX3" fmla="*/ 68628 w 75344"/>
                <a:gd name="connsiteY3" fmla="*/ 20776 h 115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344" h="115247">
                  <a:moveTo>
                    <a:pt x="68628" y="20776"/>
                  </a:moveTo>
                  <a:cubicBezTo>
                    <a:pt x="68628" y="20776"/>
                    <a:pt x="38033" y="-12878"/>
                    <a:pt x="10498" y="5479"/>
                  </a:cubicBezTo>
                  <a:cubicBezTo>
                    <a:pt x="-17037" y="20776"/>
                    <a:pt x="13558" y="133978"/>
                    <a:pt x="56390" y="112561"/>
                  </a:cubicBezTo>
                  <a:cubicBezTo>
                    <a:pt x="90045" y="97264"/>
                    <a:pt x="68628" y="20776"/>
                    <a:pt x="68628" y="20776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B96B7D43-12B1-4AB7-9004-E96DC478F7C1}"/>
                </a:ext>
              </a:extLst>
            </p:cNvPr>
            <p:cNvSpPr/>
            <p:nvPr/>
          </p:nvSpPr>
          <p:spPr>
            <a:xfrm>
              <a:off x="14328730" y="2689128"/>
              <a:ext cx="508644" cy="392645"/>
            </a:xfrm>
            <a:custGeom>
              <a:avLst/>
              <a:gdLst>
                <a:gd name="connsiteX0" fmla="*/ 2254 w 508644"/>
                <a:gd name="connsiteY0" fmla="*/ 267206 h 392645"/>
                <a:gd name="connsiteX1" fmla="*/ 48146 w 508644"/>
                <a:gd name="connsiteY1" fmla="*/ 374288 h 392645"/>
                <a:gd name="connsiteX2" fmla="*/ 112395 w 508644"/>
                <a:gd name="connsiteY2" fmla="*/ 239671 h 392645"/>
                <a:gd name="connsiteX3" fmla="*/ 121574 w 508644"/>
                <a:gd name="connsiteY3" fmla="*/ 236611 h 392645"/>
                <a:gd name="connsiteX4" fmla="*/ 201121 w 508644"/>
                <a:gd name="connsiteY4" fmla="*/ 218254 h 392645"/>
                <a:gd name="connsiteX5" fmla="*/ 213358 w 508644"/>
                <a:gd name="connsiteY5" fmla="*/ 215195 h 392645"/>
                <a:gd name="connsiteX6" fmla="*/ 247013 w 508644"/>
                <a:gd name="connsiteY6" fmla="*/ 239671 h 392645"/>
                <a:gd name="connsiteX7" fmla="*/ 265370 w 508644"/>
                <a:gd name="connsiteY7" fmla="*/ 230492 h 392645"/>
                <a:gd name="connsiteX8" fmla="*/ 314322 w 508644"/>
                <a:gd name="connsiteY8" fmla="*/ 251909 h 392645"/>
                <a:gd name="connsiteX9" fmla="*/ 347977 w 508644"/>
                <a:gd name="connsiteY9" fmla="*/ 264147 h 392645"/>
                <a:gd name="connsiteX10" fmla="*/ 360214 w 508644"/>
                <a:gd name="connsiteY10" fmla="*/ 264147 h 392645"/>
                <a:gd name="connsiteX11" fmla="*/ 372452 w 508644"/>
                <a:gd name="connsiteY11" fmla="*/ 264147 h 392645"/>
                <a:gd name="connsiteX12" fmla="*/ 381630 w 508644"/>
                <a:gd name="connsiteY12" fmla="*/ 270266 h 392645"/>
                <a:gd name="connsiteX13" fmla="*/ 384690 w 508644"/>
                <a:gd name="connsiteY13" fmla="*/ 276385 h 392645"/>
                <a:gd name="connsiteX14" fmla="*/ 390809 w 508644"/>
                <a:gd name="connsiteY14" fmla="*/ 279444 h 392645"/>
                <a:gd name="connsiteX15" fmla="*/ 396928 w 508644"/>
                <a:gd name="connsiteY15" fmla="*/ 285563 h 392645"/>
                <a:gd name="connsiteX16" fmla="*/ 403047 w 508644"/>
                <a:gd name="connsiteY16" fmla="*/ 294742 h 392645"/>
                <a:gd name="connsiteX17" fmla="*/ 418344 w 508644"/>
                <a:gd name="connsiteY17" fmla="*/ 319218 h 392645"/>
                <a:gd name="connsiteX18" fmla="*/ 445880 w 508644"/>
                <a:gd name="connsiteY18" fmla="*/ 334515 h 392645"/>
                <a:gd name="connsiteX19" fmla="*/ 458117 w 508644"/>
                <a:gd name="connsiteY19" fmla="*/ 392645 h 392645"/>
                <a:gd name="connsiteX20" fmla="*/ 470356 w 508644"/>
                <a:gd name="connsiteY20" fmla="*/ 365110 h 392645"/>
                <a:gd name="connsiteX21" fmla="*/ 479534 w 508644"/>
                <a:gd name="connsiteY21" fmla="*/ 365110 h 392645"/>
                <a:gd name="connsiteX22" fmla="*/ 507070 w 508644"/>
                <a:gd name="connsiteY22" fmla="*/ 270266 h 392645"/>
                <a:gd name="connsiteX23" fmla="*/ 491772 w 508644"/>
                <a:gd name="connsiteY23" fmla="*/ 227433 h 392645"/>
                <a:gd name="connsiteX24" fmla="*/ 497891 w 508644"/>
                <a:gd name="connsiteY24" fmla="*/ 193778 h 392645"/>
                <a:gd name="connsiteX25" fmla="*/ 494832 w 508644"/>
                <a:gd name="connsiteY25" fmla="*/ 157065 h 392645"/>
                <a:gd name="connsiteX26" fmla="*/ 479534 w 508644"/>
                <a:gd name="connsiteY26" fmla="*/ 126470 h 392645"/>
                <a:gd name="connsiteX27" fmla="*/ 467297 w 508644"/>
                <a:gd name="connsiteY27" fmla="*/ 80577 h 392645"/>
                <a:gd name="connsiteX28" fmla="*/ 409166 w 508644"/>
                <a:gd name="connsiteY28" fmla="*/ 49982 h 392645"/>
                <a:gd name="connsiteX29" fmla="*/ 289846 w 508644"/>
                <a:gd name="connsiteY29" fmla="*/ 1031 h 392645"/>
                <a:gd name="connsiteX30" fmla="*/ 274548 w 508644"/>
                <a:gd name="connsiteY30" fmla="*/ 7150 h 392645"/>
                <a:gd name="connsiteX31" fmla="*/ 216418 w 508644"/>
                <a:gd name="connsiteY31" fmla="*/ 16328 h 392645"/>
                <a:gd name="connsiteX32" fmla="*/ 182763 w 508644"/>
                <a:gd name="connsiteY32" fmla="*/ 16328 h 392645"/>
                <a:gd name="connsiteX33" fmla="*/ 149110 w 508644"/>
                <a:gd name="connsiteY33" fmla="*/ 43863 h 392645"/>
                <a:gd name="connsiteX34" fmla="*/ 133812 w 508644"/>
                <a:gd name="connsiteY34" fmla="*/ 62220 h 392645"/>
                <a:gd name="connsiteX35" fmla="*/ 100158 w 508644"/>
                <a:gd name="connsiteY35" fmla="*/ 80577 h 392645"/>
                <a:gd name="connsiteX36" fmla="*/ 87920 w 508644"/>
                <a:gd name="connsiteY36" fmla="*/ 77518 h 392645"/>
                <a:gd name="connsiteX37" fmla="*/ 66503 w 508644"/>
                <a:gd name="connsiteY37" fmla="*/ 117291 h 392645"/>
                <a:gd name="connsiteX38" fmla="*/ 2254 w 508644"/>
                <a:gd name="connsiteY38" fmla="*/ 267206 h 39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08644" h="392645">
                  <a:moveTo>
                    <a:pt x="2254" y="267206"/>
                  </a:moveTo>
                  <a:cubicBezTo>
                    <a:pt x="11433" y="325337"/>
                    <a:pt x="48146" y="374288"/>
                    <a:pt x="48146" y="374288"/>
                  </a:cubicBezTo>
                  <a:cubicBezTo>
                    <a:pt x="45086" y="343693"/>
                    <a:pt x="112395" y="239671"/>
                    <a:pt x="112395" y="239671"/>
                  </a:cubicBezTo>
                  <a:cubicBezTo>
                    <a:pt x="112395" y="239671"/>
                    <a:pt x="115455" y="239671"/>
                    <a:pt x="121574" y="236611"/>
                  </a:cubicBezTo>
                  <a:cubicBezTo>
                    <a:pt x="149110" y="239671"/>
                    <a:pt x="176645" y="233552"/>
                    <a:pt x="201121" y="218254"/>
                  </a:cubicBezTo>
                  <a:cubicBezTo>
                    <a:pt x="204180" y="218254"/>
                    <a:pt x="210300" y="218254"/>
                    <a:pt x="213358" y="215195"/>
                  </a:cubicBezTo>
                  <a:cubicBezTo>
                    <a:pt x="219478" y="230492"/>
                    <a:pt x="228656" y="242730"/>
                    <a:pt x="247013" y="239671"/>
                  </a:cubicBezTo>
                  <a:cubicBezTo>
                    <a:pt x="256192" y="239671"/>
                    <a:pt x="259251" y="233552"/>
                    <a:pt x="265370" y="230492"/>
                  </a:cubicBezTo>
                  <a:cubicBezTo>
                    <a:pt x="286787" y="224373"/>
                    <a:pt x="295965" y="239671"/>
                    <a:pt x="314322" y="251909"/>
                  </a:cubicBezTo>
                  <a:cubicBezTo>
                    <a:pt x="323500" y="258028"/>
                    <a:pt x="335738" y="264147"/>
                    <a:pt x="347977" y="264147"/>
                  </a:cubicBezTo>
                  <a:cubicBezTo>
                    <a:pt x="351035" y="264147"/>
                    <a:pt x="357155" y="264147"/>
                    <a:pt x="360214" y="264147"/>
                  </a:cubicBezTo>
                  <a:cubicBezTo>
                    <a:pt x="366333" y="261087"/>
                    <a:pt x="369392" y="261087"/>
                    <a:pt x="372452" y="264147"/>
                  </a:cubicBezTo>
                  <a:cubicBezTo>
                    <a:pt x="375512" y="267206"/>
                    <a:pt x="378571" y="267206"/>
                    <a:pt x="381630" y="270266"/>
                  </a:cubicBezTo>
                  <a:cubicBezTo>
                    <a:pt x="381630" y="270266"/>
                    <a:pt x="384690" y="273325"/>
                    <a:pt x="384690" y="276385"/>
                  </a:cubicBezTo>
                  <a:cubicBezTo>
                    <a:pt x="387750" y="276385"/>
                    <a:pt x="387750" y="276385"/>
                    <a:pt x="390809" y="279444"/>
                  </a:cubicBezTo>
                  <a:cubicBezTo>
                    <a:pt x="393869" y="282504"/>
                    <a:pt x="396928" y="282504"/>
                    <a:pt x="396928" y="285563"/>
                  </a:cubicBezTo>
                  <a:cubicBezTo>
                    <a:pt x="399987" y="288623"/>
                    <a:pt x="399987" y="291682"/>
                    <a:pt x="403047" y="294742"/>
                  </a:cubicBezTo>
                  <a:cubicBezTo>
                    <a:pt x="409166" y="303920"/>
                    <a:pt x="409166" y="313099"/>
                    <a:pt x="418344" y="319218"/>
                  </a:cubicBezTo>
                  <a:cubicBezTo>
                    <a:pt x="424464" y="325337"/>
                    <a:pt x="436702" y="328396"/>
                    <a:pt x="445880" y="334515"/>
                  </a:cubicBezTo>
                  <a:cubicBezTo>
                    <a:pt x="458117" y="352872"/>
                    <a:pt x="464237" y="374288"/>
                    <a:pt x="458117" y="392645"/>
                  </a:cubicBezTo>
                  <a:cubicBezTo>
                    <a:pt x="458117" y="392645"/>
                    <a:pt x="464237" y="380407"/>
                    <a:pt x="470356" y="365110"/>
                  </a:cubicBezTo>
                  <a:cubicBezTo>
                    <a:pt x="473415" y="368169"/>
                    <a:pt x="476475" y="368169"/>
                    <a:pt x="479534" y="365110"/>
                  </a:cubicBezTo>
                  <a:cubicBezTo>
                    <a:pt x="500951" y="337574"/>
                    <a:pt x="513189" y="303920"/>
                    <a:pt x="507070" y="270266"/>
                  </a:cubicBezTo>
                  <a:cubicBezTo>
                    <a:pt x="504010" y="254968"/>
                    <a:pt x="497891" y="239671"/>
                    <a:pt x="491772" y="227433"/>
                  </a:cubicBezTo>
                  <a:cubicBezTo>
                    <a:pt x="485654" y="209076"/>
                    <a:pt x="494832" y="209076"/>
                    <a:pt x="497891" y="193778"/>
                  </a:cubicBezTo>
                  <a:cubicBezTo>
                    <a:pt x="500951" y="181540"/>
                    <a:pt x="497891" y="169302"/>
                    <a:pt x="494832" y="157065"/>
                  </a:cubicBezTo>
                  <a:cubicBezTo>
                    <a:pt x="491772" y="144827"/>
                    <a:pt x="485654" y="135648"/>
                    <a:pt x="479534" y="126470"/>
                  </a:cubicBezTo>
                  <a:cubicBezTo>
                    <a:pt x="470356" y="108113"/>
                    <a:pt x="473415" y="98934"/>
                    <a:pt x="467297" y="80577"/>
                  </a:cubicBezTo>
                  <a:cubicBezTo>
                    <a:pt x="458117" y="53042"/>
                    <a:pt x="433642" y="53042"/>
                    <a:pt x="409166" y="49982"/>
                  </a:cubicBezTo>
                  <a:cubicBezTo>
                    <a:pt x="366333" y="46923"/>
                    <a:pt x="335738" y="-8148"/>
                    <a:pt x="289846" y="1031"/>
                  </a:cubicBezTo>
                  <a:cubicBezTo>
                    <a:pt x="283727" y="1031"/>
                    <a:pt x="280667" y="4090"/>
                    <a:pt x="274548" y="7150"/>
                  </a:cubicBezTo>
                  <a:cubicBezTo>
                    <a:pt x="256192" y="13269"/>
                    <a:pt x="237835" y="19387"/>
                    <a:pt x="216418" y="16328"/>
                  </a:cubicBezTo>
                  <a:cubicBezTo>
                    <a:pt x="204180" y="13269"/>
                    <a:pt x="195002" y="10209"/>
                    <a:pt x="182763" y="16328"/>
                  </a:cubicBezTo>
                  <a:cubicBezTo>
                    <a:pt x="167466" y="22447"/>
                    <a:pt x="158288" y="34685"/>
                    <a:pt x="149110" y="43863"/>
                  </a:cubicBezTo>
                  <a:cubicBezTo>
                    <a:pt x="142990" y="49982"/>
                    <a:pt x="139931" y="56101"/>
                    <a:pt x="133812" y="62220"/>
                  </a:cubicBezTo>
                  <a:cubicBezTo>
                    <a:pt x="121574" y="68339"/>
                    <a:pt x="109336" y="74458"/>
                    <a:pt x="100158" y="80577"/>
                  </a:cubicBezTo>
                  <a:cubicBezTo>
                    <a:pt x="100158" y="77518"/>
                    <a:pt x="106276" y="68339"/>
                    <a:pt x="87920" y="77518"/>
                  </a:cubicBezTo>
                  <a:cubicBezTo>
                    <a:pt x="72622" y="86696"/>
                    <a:pt x="66503" y="98934"/>
                    <a:pt x="66503" y="117291"/>
                  </a:cubicBezTo>
                  <a:cubicBezTo>
                    <a:pt x="11433" y="123410"/>
                    <a:pt x="-6924" y="209076"/>
                    <a:pt x="2254" y="267206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C1C51A14-DE35-4697-8DE4-97C10DE7978B}"/>
                </a:ext>
              </a:extLst>
            </p:cNvPr>
            <p:cNvSpPr/>
            <p:nvPr/>
          </p:nvSpPr>
          <p:spPr>
            <a:xfrm>
              <a:off x="14373816" y="2809479"/>
              <a:ext cx="70368" cy="241699"/>
            </a:xfrm>
            <a:custGeom>
              <a:avLst/>
              <a:gdLst>
                <a:gd name="connsiteX0" fmla="*/ 6119 w 70368"/>
                <a:gd name="connsiteY0" fmla="*/ 241700 h 241699"/>
                <a:gd name="connsiteX1" fmla="*/ 6119 w 70368"/>
                <a:gd name="connsiteY1" fmla="*/ 241700 h 241699"/>
                <a:gd name="connsiteX2" fmla="*/ 0 w 70368"/>
                <a:gd name="connsiteY2" fmla="*/ 235581 h 241699"/>
                <a:gd name="connsiteX3" fmla="*/ 58131 w 70368"/>
                <a:gd name="connsiteY3" fmla="*/ 119320 h 241699"/>
                <a:gd name="connsiteX4" fmla="*/ 15297 w 70368"/>
                <a:gd name="connsiteY4" fmla="*/ 70368 h 241699"/>
                <a:gd name="connsiteX5" fmla="*/ 21417 w 70368"/>
                <a:gd name="connsiteY5" fmla="*/ 3059 h 241699"/>
                <a:gd name="connsiteX6" fmla="*/ 27536 w 70368"/>
                <a:gd name="connsiteY6" fmla="*/ 0 h 241699"/>
                <a:gd name="connsiteX7" fmla="*/ 30595 w 70368"/>
                <a:gd name="connsiteY7" fmla="*/ 6119 h 241699"/>
                <a:gd name="connsiteX8" fmla="*/ 24476 w 70368"/>
                <a:gd name="connsiteY8" fmla="*/ 64249 h 241699"/>
                <a:gd name="connsiteX9" fmla="*/ 67309 w 70368"/>
                <a:gd name="connsiteY9" fmla="*/ 110142 h 241699"/>
                <a:gd name="connsiteX10" fmla="*/ 70369 w 70368"/>
                <a:gd name="connsiteY10" fmla="*/ 113201 h 241699"/>
                <a:gd name="connsiteX11" fmla="*/ 70369 w 70368"/>
                <a:gd name="connsiteY11" fmla="*/ 119320 h 241699"/>
                <a:gd name="connsiteX12" fmla="*/ 9179 w 70368"/>
                <a:gd name="connsiteY12" fmla="*/ 235581 h 241699"/>
                <a:gd name="connsiteX13" fmla="*/ 6119 w 70368"/>
                <a:gd name="connsiteY13" fmla="*/ 241700 h 241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368" h="241699">
                  <a:moveTo>
                    <a:pt x="6119" y="241700"/>
                  </a:moveTo>
                  <a:cubicBezTo>
                    <a:pt x="6119" y="241700"/>
                    <a:pt x="6119" y="241700"/>
                    <a:pt x="6119" y="241700"/>
                  </a:cubicBezTo>
                  <a:cubicBezTo>
                    <a:pt x="3060" y="241700"/>
                    <a:pt x="0" y="238640"/>
                    <a:pt x="0" y="235581"/>
                  </a:cubicBezTo>
                  <a:cubicBezTo>
                    <a:pt x="9179" y="183569"/>
                    <a:pt x="45892" y="137677"/>
                    <a:pt x="58131" y="119320"/>
                  </a:cubicBezTo>
                  <a:cubicBezTo>
                    <a:pt x="45892" y="113201"/>
                    <a:pt x="24476" y="97904"/>
                    <a:pt x="15297" y="70368"/>
                  </a:cubicBezTo>
                  <a:cubicBezTo>
                    <a:pt x="9179" y="48952"/>
                    <a:pt x="9179" y="27535"/>
                    <a:pt x="21417" y="3059"/>
                  </a:cubicBezTo>
                  <a:cubicBezTo>
                    <a:pt x="21417" y="0"/>
                    <a:pt x="27536" y="0"/>
                    <a:pt x="27536" y="0"/>
                  </a:cubicBezTo>
                  <a:cubicBezTo>
                    <a:pt x="30595" y="0"/>
                    <a:pt x="30595" y="6119"/>
                    <a:pt x="30595" y="6119"/>
                  </a:cubicBezTo>
                  <a:cubicBezTo>
                    <a:pt x="21417" y="27535"/>
                    <a:pt x="18357" y="45892"/>
                    <a:pt x="24476" y="64249"/>
                  </a:cubicBezTo>
                  <a:cubicBezTo>
                    <a:pt x="36714" y="94844"/>
                    <a:pt x="67309" y="110142"/>
                    <a:pt x="67309" y="110142"/>
                  </a:cubicBezTo>
                  <a:cubicBezTo>
                    <a:pt x="70369" y="110142"/>
                    <a:pt x="70369" y="113201"/>
                    <a:pt x="70369" y="113201"/>
                  </a:cubicBezTo>
                  <a:cubicBezTo>
                    <a:pt x="70369" y="116261"/>
                    <a:pt x="70369" y="116261"/>
                    <a:pt x="70369" y="119320"/>
                  </a:cubicBezTo>
                  <a:cubicBezTo>
                    <a:pt x="70369" y="119320"/>
                    <a:pt x="21417" y="174391"/>
                    <a:pt x="9179" y="235581"/>
                  </a:cubicBezTo>
                  <a:cubicBezTo>
                    <a:pt x="9179" y="238640"/>
                    <a:pt x="9179" y="241700"/>
                    <a:pt x="6119" y="241700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53872E45-6977-4516-97C8-D788615E14EB}"/>
                </a:ext>
              </a:extLst>
            </p:cNvPr>
            <p:cNvSpPr/>
            <p:nvPr/>
          </p:nvSpPr>
          <p:spPr>
            <a:xfrm>
              <a:off x="14506140" y="3244691"/>
              <a:ext cx="115495" cy="45127"/>
            </a:xfrm>
            <a:custGeom>
              <a:avLst/>
              <a:gdLst>
                <a:gd name="connsiteX0" fmla="*/ 94079 w 115495"/>
                <a:gd name="connsiteY0" fmla="*/ 45127 h 45127"/>
                <a:gd name="connsiteX1" fmla="*/ 2295 w 115495"/>
                <a:gd name="connsiteY1" fmla="*/ 11473 h 45127"/>
                <a:gd name="connsiteX2" fmla="*/ 2295 w 115495"/>
                <a:gd name="connsiteY2" fmla="*/ 2295 h 45127"/>
                <a:gd name="connsiteX3" fmla="*/ 11473 w 115495"/>
                <a:gd name="connsiteY3" fmla="*/ 2295 h 45127"/>
                <a:gd name="connsiteX4" fmla="*/ 109377 w 115495"/>
                <a:gd name="connsiteY4" fmla="*/ 32889 h 45127"/>
                <a:gd name="connsiteX5" fmla="*/ 115495 w 115495"/>
                <a:gd name="connsiteY5" fmla="*/ 39008 h 45127"/>
                <a:gd name="connsiteX6" fmla="*/ 109377 w 115495"/>
                <a:gd name="connsiteY6" fmla="*/ 45127 h 45127"/>
                <a:gd name="connsiteX7" fmla="*/ 94079 w 115495"/>
                <a:gd name="connsiteY7" fmla="*/ 45127 h 45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495" h="45127">
                  <a:moveTo>
                    <a:pt x="94079" y="45127"/>
                  </a:moveTo>
                  <a:cubicBezTo>
                    <a:pt x="69603" y="45127"/>
                    <a:pt x="26770" y="42068"/>
                    <a:pt x="2295" y="11473"/>
                  </a:cubicBezTo>
                  <a:cubicBezTo>
                    <a:pt x="-765" y="8414"/>
                    <a:pt x="-765" y="5354"/>
                    <a:pt x="2295" y="2295"/>
                  </a:cubicBezTo>
                  <a:cubicBezTo>
                    <a:pt x="5354" y="-765"/>
                    <a:pt x="8413" y="-765"/>
                    <a:pt x="11473" y="2295"/>
                  </a:cubicBezTo>
                  <a:cubicBezTo>
                    <a:pt x="42068" y="39008"/>
                    <a:pt x="106317" y="32889"/>
                    <a:pt x="109377" y="32889"/>
                  </a:cubicBezTo>
                  <a:cubicBezTo>
                    <a:pt x="112436" y="32889"/>
                    <a:pt x="115495" y="35949"/>
                    <a:pt x="115495" y="39008"/>
                  </a:cubicBezTo>
                  <a:cubicBezTo>
                    <a:pt x="115495" y="42068"/>
                    <a:pt x="112436" y="45127"/>
                    <a:pt x="109377" y="45127"/>
                  </a:cubicBezTo>
                  <a:cubicBezTo>
                    <a:pt x="109377" y="45127"/>
                    <a:pt x="103258" y="45127"/>
                    <a:pt x="94079" y="45127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8FEA253E-05F3-4D64-94D5-22A09051BA24}"/>
                </a:ext>
              </a:extLst>
            </p:cNvPr>
            <p:cNvSpPr/>
            <p:nvPr/>
          </p:nvSpPr>
          <p:spPr>
            <a:xfrm>
              <a:off x="14499256" y="2806745"/>
              <a:ext cx="249086" cy="103696"/>
            </a:xfrm>
            <a:custGeom>
              <a:avLst/>
              <a:gdLst>
                <a:gd name="connsiteX0" fmla="*/ 241700 w 249086"/>
                <a:gd name="connsiteY0" fmla="*/ 103697 h 103696"/>
                <a:gd name="connsiteX1" fmla="*/ 241700 w 249086"/>
                <a:gd name="connsiteY1" fmla="*/ 103697 h 103696"/>
                <a:gd name="connsiteX2" fmla="*/ 189689 w 249086"/>
                <a:gd name="connsiteY2" fmla="*/ 73102 h 103696"/>
                <a:gd name="connsiteX3" fmla="*/ 180510 w 249086"/>
                <a:gd name="connsiteY3" fmla="*/ 63923 h 103696"/>
                <a:gd name="connsiteX4" fmla="*/ 152975 w 249086"/>
                <a:gd name="connsiteY4" fmla="*/ 42507 h 103696"/>
                <a:gd name="connsiteX5" fmla="*/ 128499 w 249086"/>
                <a:gd name="connsiteY5" fmla="*/ 48626 h 103696"/>
                <a:gd name="connsiteX6" fmla="*/ 94844 w 249086"/>
                <a:gd name="connsiteY6" fmla="*/ 51685 h 103696"/>
                <a:gd name="connsiteX7" fmla="*/ 70369 w 249086"/>
                <a:gd name="connsiteY7" fmla="*/ 30269 h 103696"/>
                <a:gd name="connsiteX8" fmla="*/ 55071 w 249086"/>
                <a:gd name="connsiteY8" fmla="*/ 14971 h 103696"/>
                <a:gd name="connsiteX9" fmla="*/ 27535 w 249086"/>
                <a:gd name="connsiteY9" fmla="*/ 14971 h 103696"/>
                <a:gd name="connsiteX10" fmla="*/ 9179 w 249086"/>
                <a:gd name="connsiteY10" fmla="*/ 39447 h 103696"/>
                <a:gd name="connsiteX11" fmla="*/ 3060 w 249086"/>
                <a:gd name="connsiteY11" fmla="*/ 42507 h 103696"/>
                <a:gd name="connsiteX12" fmla="*/ 0 w 249086"/>
                <a:gd name="connsiteY12" fmla="*/ 36388 h 103696"/>
                <a:gd name="connsiteX13" fmla="*/ 24476 w 249086"/>
                <a:gd name="connsiteY13" fmla="*/ 5793 h 103696"/>
                <a:gd name="connsiteX14" fmla="*/ 64249 w 249086"/>
                <a:gd name="connsiteY14" fmla="*/ 5793 h 103696"/>
                <a:gd name="connsiteX15" fmla="*/ 82607 w 249086"/>
                <a:gd name="connsiteY15" fmla="*/ 24150 h 103696"/>
                <a:gd name="connsiteX16" fmla="*/ 100964 w 249086"/>
                <a:gd name="connsiteY16" fmla="*/ 42507 h 103696"/>
                <a:gd name="connsiteX17" fmla="*/ 128499 w 249086"/>
                <a:gd name="connsiteY17" fmla="*/ 39447 h 103696"/>
                <a:gd name="connsiteX18" fmla="*/ 159094 w 249086"/>
                <a:gd name="connsiteY18" fmla="*/ 33328 h 103696"/>
                <a:gd name="connsiteX19" fmla="*/ 192748 w 249086"/>
                <a:gd name="connsiteY19" fmla="*/ 57804 h 103696"/>
                <a:gd name="connsiteX20" fmla="*/ 198867 w 249086"/>
                <a:gd name="connsiteY20" fmla="*/ 66983 h 103696"/>
                <a:gd name="connsiteX21" fmla="*/ 244759 w 249086"/>
                <a:gd name="connsiteY21" fmla="*/ 91459 h 103696"/>
                <a:gd name="connsiteX22" fmla="*/ 247819 w 249086"/>
                <a:gd name="connsiteY22" fmla="*/ 97578 h 103696"/>
                <a:gd name="connsiteX23" fmla="*/ 241700 w 249086"/>
                <a:gd name="connsiteY23" fmla="*/ 103697 h 103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49086" h="103696">
                  <a:moveTo>
                    <a:pt x="241700" y="103697"/>
                  </a:moveTo>
                  <a:cubicBezTo>
                    <a:pt x="241700" y="103697"/>
                    <a:pt x="241700" y="103697"/>
                    <a:pt x="241700" y="103697"/>
                  </a:cubicBezTo>
                  <a:cubicBezTo>
                    <a:pt x="220284" y="100637"/>
                    <a:pt x="201927" y="88399"/>
                    <a:pt x="189689" y="73102"/>
                  </a:cubicBezTo>
                  <a:cubicBezTo>
                    <a:pt x="186629" y="70042"/>
                    <a:pt x="183569" y="66983"/>
                    <a:pt x="180510" y="63923"/>
                  </a:cubicBezTo>
                  <a:cubicBezTo>
                    <a:pt x="171332" y="54745"/>
                    <a:pt x="165212" y="42507"/>
                    <a:pt x="152975" y="42507"/>
                  </a:cubicBezTo>
                  <a:cubicBezTo>
                    <a:pt x="143796" y="42507"/>
                    <a:pt x="137677" y="45566"/>
                    <a:pt x="128499" y="48626"/>
                  </a:cubicBezTo>
                  <a:cubicBezTo>
                    <a:pt x="116261" y="51685"/>
                    <a:pt x="107082" y="57804"/>
                    <a:pt x="94844" y="51685"/>
                  </a:cubicBezTo>
                  <a:cubicBezTo>
                    <a:pt x="82607" y="48626"/>
                    <a:pt x="76487" y="39447"/>
                    <a:pt x="70369" y="30269"/>
                  </a:cubicBezTo>
                  <a:cubicBezTo>
                    <a:pt x="64249" y="24150"/>
                    <a:pt x="61190" y="18031"/>
                    <a:pt x="55071" y="14971"/>
                  </a:cubicBezTo>
                  <a:cubicBezTo>
                    <a:pt x="45892" y="8852"/>
                    <a:pt x="36714" y="11912"/>
                    <a:pt x="27535" y="14971"/>
                  </a:cubicBezTo>
                  <a:cubicBezTo>
                    <a:pt x="18357" y="21090"/>
                    <a:pt x="12238" y="27209"/>
                    <a:pt x="9179" y="39447"/>
                  </a:cubicBezTo>
                  <a:cubicBezTo>
                    <a:pt x="9179" y="42507"/>
                    <a:pt x="6119" y="42507"/>
                    <a:pt x="3060" y="42507"/>
                  </a:cubicBezTo>
                  <a:cubicBezTo>
                    <a:pt x="0" y="42507"/>
                    <a:pt x="0" y="39447"/>
                    <a:pt x="0" y="36388"/>
                  </a:cubicBezTo>
                  <a:cubicBezTo>
                    <a:pt x="6119" y="24150"/>
                    <a:pt x="12238" y="11912"/>
                    <a:pt x="24476" y="5793"/>
                  </a:cubicBezTo>
                  <a:cubicBezTo>
                    <a:pt x="36714" y="-326"/>
                    <a:pt x="52012" y="-3386"/>
                    <a:pt x="64249" y="5793"/>
                  </a:cubicBezTo>
                  <a:cubicBezTo>
                    <a:pt x="73428" y="11912"/>
                    <a:pt x="76487" y="18031"/>
                    <a:pt x="82607" y="24150"/>
                  </a:cubicBezTo>
                  <a:cubicBezTo>
                    <a:pt x="88725" y="33328"/>
                    <a:pt x="94844" y="39447"/>
                    <a:pt x="100964" y="42507"/>
                  </a:cubicBezTo>
                  <a:cubicBezTo>
                    <a:pt x="110142" y="45566"/>
                    <a:pt x="119320" y="42507"/>
                    <a:pt x="128499" y="39447"/>
                  </a:cubicBezTo>
                  <a:cubicBezTo>
                    <a:pt x="137677" y="36388"/>
                    <a:pt x="149915" y="33328"/>
                    <a:pt x="159094" y="33328"/>
                  </a:cubicBezTo>
                  <a:cubicBezTo>
                    <a:pt x="174391" y="36388"/>
                    <a:pt x="183569" y="48626"/>
                    <a:pt x="192748" y="57804"/>
                  </a:cubicBezTo>
                  <a:cubicBezTo>
                    <a:pt x="195807" y="60864"/>
                    <a:pt x="198867" y="63923"/>
                    <a:pt x="198867" y="66983"/>
                  </a:cubicBezTo>
                  <a:cubicBezTo>
                    <a:pt x="211105" y="79221"/>
                    <a:pt x="226402" y="88399"/>
                    <a:pt x="244759" y="91459"/>
                  </a:cubicBezTo>
                  <a:cubicBezTo>
                    <a:pt x="247819" y="91459"/>
                    <a:pt x="250879" y="94518"/>
                    <a:pt x="247819" y="97578"/>
                  </a:cubicBezTo>
                  <a:cubicBezTo>
                    <a:pt x="247819" y="103697"/>
                    <a:pt x="244759" y="103697"/>
                    <a:pt x="241700" y="103697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85C3F7D0-4C17-4776-8E32-B04613BDC7FB}"/>
                </a:ext>
              </a:extLst>
            </p:cNvPr>
            <p:cNvSpPr/>
            <p:nvPr/>
          </p:nvSpPr>
          <p:spPr>
            <a:xfrm>
              <a:off x="14496961" y="2727397"/>
              <a:ext cx="281975" cy="103497"/>
            </a:xfrm>
            <a:custGeom>
              <a:avLst/>
              <a:gdLst>
                <a:gd name="connsiteX0" fmla="*/ 277649 w 281975"/>
                <a:gd name="connsiteY0" fmla="*/ 103498 h 103497"/>
                <a:gd name="connsiteX1" fmla="*/ 277649 w 281975"/>
                <a:gd name="connsiteY1" fmla="*/ 103498 h 103497"/>
                <a:gd name="connsiteX2" fmla="*/ 271530 w 281975"/>
                <a:gd name="connsiteY2" fmla="*/ 97379 h 103497"/>
                <a:gd name="connsiteX3" fmla="*/ 262351 w 281975"/>
                <a:gd name="connsiteY3" fmla="*/ 75962 h 103497"/>
                <a:gd name="connsiteX4" fmla="*/ 213399 w 281975"/>
                <a:gd name="connsiteY4" fmla="*/ 57605 h 103497"/>
                <a:gd name="connsiteX5" fmla="*/ 213399 w 281975"/>
                <a:gd name="connsiteY5" fmla="*/ 57605 h 103497"/>
                <a:gd name="connsiteX6" fmla="*/ 167507 w 281975"/>
                <a:gd name="connsiteY6" fmla="*/ 30070 h 103497"/>
                <a:gd name="connsiteX7" fmla="*/ 146091 w 281975"/>
                <a:gd name="connsiteY7" fmla="*/ 14773 h 103497"/>
                <a:gd name="connsiteX8" fmla="*/ 100199 w 281975"/>
                <a:gd name="connsiteY8" fmla="*/ 20892 h 103497"/>
                <a:gd name="connsiteX9" fmla="*/ 60425 w 281975"/>
                <a:gd name="connsiteY9" fmla="*/ 23951 h 103497"/>
                <a:gd name="connsiteX10" fmla="*/ 11474 w 281975"/>
                <a:gd name="connsiteY10" fmla="*/ 36189 h 103497"/>
                <a:gd name="connsiteX11" fmla="*/ 2295 w 281975"/>
                <a:gd name="connsiteY11" fmla="*/ 36189 h 103497"/>
                <a:gd name="connsiteX12" fmla="*/ 2295 w 281975"/>
                <a:gd name="connsiteY12" fmla="*/ 27011 h 103497"/>
                <a:gd name="connsiteX13" fmla="*/ 63485 w 281975"/>
                <a:gd name="connsiteY13" fmla="*/ 11713 h 103497"/>
                <a:gd name="connsiteX14" fmla="*/ 91020 w 281975"/>
                <a:gd name="connsiteY14" fmla="*/ 8654 h 103497"/>
                <a:gd name="connsiteX15" fmla="*/ 146091 w 281975"/>
                <a:gd name="connsiteY15" fmla="*/ 2535 h 103497"/>
                <a:gd name="connsiteX16" fmla="*/ 173626 w 281975"/>
                <a:gd name="connsiteY16" fmla="*/ 20892 h 103497"/>
                <a:gd name="connsiteX17" fmla="*/ 210341 w 281975"/>
                <a:gd name="connsiteY17" fmla="*/ 45367 h 103497"/>
                <a:gd name="connsiteX18" fmla="*/ 213399 w 281975"/>
                <a:gd name="connsiteY18" fmla="*/ 45367 h 103497"/>
                <a:gd name="connsiteX19" fmla="*/ 268471 w 281975"/>
                <a:gd name="connsiteY19" fmla="*/ 66784 h 103497"/>
                <a:gd name="connsiteX20" fmla="*/ 280709 w 281975"/>
                <a:gd name="connsiteY20" fmla="*/ 97379 h 103497"/>
                <a:gd name="connsiteX21" fmla="*/ 277649 w 281975"/>
                <a:gd name="connsiteY21" fmla="*/ 103498 h 10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81975" h="103497">
                  <a:moveTo>
                    <a:pt x="277649" y="103498"/>
                  </a:moveTo>
                  <a:cubicBezTo>
                    <a:pt x="277649" y="103498"/>
                    <a:pt x="277649" y="103498"/>
                    <a:pt x="277649" y="103498"/>
                  </a:cubicBezTo>
                  <a:cubicBezTo>
                    <a:pt x="274589" y="103498"/>
                    <a:pt x="271530" y="100438"/>
                    <a:pt x="271530" y="97379"/>
                  </a:cubicBezTo>
                  <a:cubicBezTo>
                    <a:pt x="271530" y="88200"/>
                    <a:pt x="268471" y="82081"/>
                    <a:pt x="262351" y="75962"/>
                  </a:cubicBezTo>
                  <a:cubicBezTo>
                    <a:pt x="250114" y="63724"/>
                    <a:pt x="225638" y="57605"/>
                    <a:pt x="213399" y="57605"/>
                  </a:cubicBezTo>
                  <a:cubicBezTo>
                    <a:pt x="213399" y="57605"/>
                    <a:pt x="213399" y="57605"/>
                    <a:pt x="213399" y="57605"/>
                  </a:cubicBezTo>
                  <a:cubicBezTo>
                    <a:pt x="198102" y="57605"/>
                    <a:pt x="182804" y="42308"/>
                    <a:pt x="167507" y="30070"/>
                  </a:cubicBezTo>
                  <a:cubicBezTo>
                    <a:pt x="158329" y="23951"/>
                    <a:pt x="149151" y="14773"/>
                    <a:pt x="146091" y="14773"/>
                  </a:cubicBezTo>
                  <a:cubicBezTo>
                    <a:pt x="124674" y="8654"/>
                    <a:pt x="112437" y="14773"/>
                    <a:pt x="100199" y="20892"/>
                  </a:cubicBezTo>
                  <a:cubicBezTo>
                    <a:pt x="87961" y="27011"/>
                    <a:pt x="75722" y="33129"/>
                    <a:pt x="60425" y="23951"/>
                  </a:cubicBezTo>
                  <a:cubicBezTo>
                    <a:pt x="39009" y="11713"/>
                    <a:pt x="11474" y="36189"/>
                    <a:pt x="11474" y="36189"/>
                  </a:cubicBezTo>
                  <a:cubicBezTo>
                    <a:pt x="8414" y="39248"/>
                    <a:pt x="5354" y="39248"/>
                    <a:pt x="2295" y="36189"/>
                  </a:cubicBezTo>
                  <a:cubicBezTo>
                    <a:pt x="-765" y="33129"/>
                    <a:pt x="-765" y="30070"/>
                    <a:pt x="2295" y="27011"/>
                  </a:cubicBezTo>
                  <a:cubicBezTo>
                    <a:pt x="2295" y="27011"/>
                    <a:pt x="35949" y="-3584"/>
                    <a:pt x="63485" y="11713"/>
                  </a:cubicBezTo>
                  <a:cubicBezTo>
                    <a:pt x="72664" y="17832"/>
                    <a:pt x="78782" y="14773"/>
                    <a:pt x="91020" y="8654"/>
                  </a:cubicBezTo>
                  <a:cubicBezTo>
                    <a:pt x="103258" y="2535"/>
                    <a:pt x="121615" y="-3584"/>
                    <a:pt x="146091" y="2535"/>
                  </a:cubicBezTo>
                  <a:cubicBezTo>
                    <a:pt x="155269" y="5594"/>
                    <a:pt x="161389" y="11713"/>
                    <a:pt x="173626" y="20892"/>
                  </a:cubicBezTo>
                  <a:cubicBezTo>
                    <a:pt x="185864" y="30070"/>
                    <a:pt x="201162" y="45367"/>
                    <a:pt x="210341" y="45367"/>
                  </a:cubicBezTo>
                  <a:cubicBezTo>
                    <a:pt x="210341" y="45367"/>
                    <a:pt x="213399" y="45367"/>
                    <a:pt x="213399" y="45367"/>
                  </a:cubicBezTo>
                  <a:cubicBezTo>
                    <a:pt x="228697" y="45367"/>
                    <a:pt x="253173" y="51486"/>
                    <a:pt x="268471" y="66784"/>
                  </a:cubicBezTo>
                  <a:cubicBezTo>
                    <a:pt x="277649" y="75962"/>
                    <a:pt x="280709" y="85141"/>
                    <a:pt x="280709" y="97379"/>
                  </a:cubicBezTo>
                  <a:cubicBezTo>
                    <a:pt x="283768" y="100438"/>
                    <a:pt x="280709" y="103498"/>
                    <a:pt x="277649" y="103498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097285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F53FB2C4-346D-46EF-B71A-6AD800924FFC}"/>
              </a:ext>
            </a:extLst>
          </p:cNvPr>
          <p:cNvGrpSpPr/>
          <p:nvPr/>
        </p:nvGrpSpPr>
        <p:grpSpPr>
          <a:xfrm>
            <a:off x="6024563" y="2385888"/>
            <a:ext cx="3237054" cy="4428256"/>
            <a:chOff x="13723598" y="8060113"/>
            <a:chExt cx="3237054" cy="4428256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12BE10A8-FADF-4F43-9CEF-1ECE0734A4A2}"/>
                </a:ext>
              </a:extLst>
            </p:cNvPr>
            <p:cNvSpPr/>
            <p:nvPr/>
          </p:nvSpPr>
          <p:spPr>
            <a:xfrm>
              <a:off x="15984088" y="10223155"/>
              <a:ext cx="897464" cy="1700619"/>
            </a:xfrm>
            <a:custGeom>
              <a:avLst/>
              <a:gdLst>
                <a:gd name="connsiteX0" fmla="*/ 794028 w 897464"/>
                <a:gd name="connsiteY0" fmla="*/ 1700620 h 1700619"/>
                <a:gd name="connsiteX1" fmla="*/ 94310 w 897464"/>
                <a:gd name="connsiteY1" fmla="*/ 1171268 h 1700619"/>
                <a:gd name="connsiteX2" fmla="*/ 0 w 897464"/>
                <a:gd name="connsiteY2" fmla="*/ 69972 h 1700619"/>
                <a:gd name="connsiteX3" fmla="*/ 377239 w 897464"/>
                <a:gd name="connsiteY3" fmla="*/ 0 h 1700619"/>
                <a:gd name="connsiteX4" fmla="*/ 377239 w 897464"/>
                <a:gd name="connsiteY4" fmla="*/ 1061746 h 1700619"/>
                <a:gd name="connsiteX5" fmla="*/ 897465 w 897464"/>
                <a:gd name="connsiteY5" fmla="*/ 1639775 h 1700619"/>
                <a:gd name="connsiteX6" fmla="*/ 794028 w 897464"/>
                <a:gd name="connsiteY6" fmla="*/ 1700620 h 1700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7464" h="1700619">
                  <a:moveTo>
                    <a:pt x="794028" y="1700620"/>
                  </a:moveTo>
                  <a:cubicBezTo>
                    <a:pt x="794028" y="1700620"/>
                    <a:pt x="127774" y="1238198"/>
                    <a:pt x="94310" y="1171268"/>
                  </a:cubicBezTo>
                  <a:cubicBezTo>
                    <a:pt x="60845" y="1104339"/>
                    <a:pt x="0" y="69972"/>
                    <a:pt x="0" y="69972"/>
                  </a:cubicBezTo>
                  <a:lnTo>
                    <a:pt x="377239" y="0"/>
                  </a:lnTo>
                  <a:cubicBezTo>
                    <a:pt x="377239" y="0"/>
                    <a:pt x="331605" y="1010029"/>
                    <a:pt x="377239" y="1061746"/>
                  </a:cubicBezTo>
                  <a:cubicBezTo>
                    <a:pt x="422873" y="1113465"/>
                    <a:pt x="897465" y="1639775"/>
                    <a:pt x="897465" y="1639775"/>
                  </a:cubicBezTo>
                  <a:lnTo>
                    <a:pt x="794028" y="1700620"/>
                  </a:ln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FCE1487E-86CA-4D25-91A0-2127DF5F1689}"/>
                </a:ext>
              </a:extLst>
            </p:cNvPr>
            <p:cNvSpPr/>
            <p:nvPr/>
          </p:nvSpPr>
          <p:spPr>
            <a:xfrm>
              <a:off x="15477843" y="10335719"/>
              <a:ext cx="457568" cy="1971379"/>
            </a:xfrm>
            <a:custGeom>
              <a:avLst/>
              <a:gdLst>
                <a:gd name="connsiteX0" fmla="*/ 296330 w 457568"/>
                <a:gd name="connsiteY0" fmla="*/ 1971380 h 1971379"/>
                <a:gd name="connsiteX1" fmla="*/ 284160 w 457568"/>
                <a:gd name="connsiteY1" fmla="*/ 885296 h 1971379"/>
                <a:gd name="connsiteX2" fmla="*/ 457569 w 457568"/>
                <a:gd name="connsiteY2" fmla="*/ 146028 h 1971379"/>
                <a:gd name="connsiteX3" fmla="*/ 116836 w 457568"/>
                <a:gd name="connsiteY3" fmla="*/ 0 h 1971379"/>
                <a:gd name="connsiteX4" fmla="*/ 1231 w 457568"/>
                <a:gd name="connsiteY4" fmla="*/ 860957 h 1971379"/>
                <a:gd name="connsiteX5" fmla="*/ 192892 w 457568"/>
                <a:gd name="connsiteY5" fmla="*/ 1916620 h 1971379"/>
                <a:gd name="connsiteX6" fmla="*/ 296330 w 457568"/>
                <a:gd name="connsiteY6" fmla="*/ 1971380 h 1971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7568" h="1971379">
                  <a:moveTo>
                    <a:pt x="296330" y="1971380"/>
                  </a:moveTo>
                  <a:cubicBezTo>
                    <a:pt x="296330" y="1971380"/>
                    <a:pt x="271991" y="973521"/>
                    <a:pt x="284160" y="885296"/>
                  </a:cubicBezTo>
                  <a:cubicBezTo>
                    <a:pt x="296330" y="800112"/>
                    <a:pt x="457569" y="146028"/>
                    <a:pt x="457569" y="146028"/>
                  </a:cubicBezTo>
                  <a:lnTo>
                    <a:pt x="116836" y="0"/>
                  </a:lnTo>
                  <a:cubicBezTo>
                    <a:pt x="116836" y="0"/>
                    <a:pt x="-13981" y="790986"/>
                    <a:pt x="1231" y="860957"/>
                  </a:cubicBezTo>
                  <a:cubicBezTo>
                    <a:pt x="16442" y="930930"/>
                    <a:pt x="192892" y="1916620"/>
                    <a:pt x="192892" y="1916620"/>
                  </a:cubicBezTo>
                  <a:lnTo>
                    <a:pt x="296330" y="1971380"/>
                  </a:ln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A0A97FC5-B8C1-4DDD-86F3-3E92E7174FD1}"/>
                </a:ext>
              </a:extLst>
            </p:cNvPr>
            <p:cNvGrpSpPr/>
            <p:nvPr/>
          </p:nvGrpSpPr>
          <p:grpSpPr>
            <a:xfrm>
              <a:off x="15381268" y="12130649"/>
              <a:ext cx="394425" cy="357721"/>
              <a:chOff x="15381268" y="12130649"/>
              <a:chExt cx="394425" cy="357721"/>
            </a:xfrm>
          </p:grpSpPr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A04565CF-FA7F-4229-9491-BC9FD9DDBF2C}"/>
                  </a:ext>
                </a:extLst>
              </p:cNvPr>
              <p:cNvSpPr/>
              <p:nvPr/>
            </p:nvSpPr>
            <p:spPr>
              <a:xfrm>
                <a:off x="15381268" y="12252339"/>
                <a:ext cx="394425" cy="236031"/>
              </a:xfrm>
              <a:custGeom>
                <a:avLst/>
                <a:gdLst>
                  <a:gd name="connsiteX0" fmla="*/ 286426 w 394425"/>
                  <a:gd name="connsiteY0" fmla="*/ 0 h 236031"/>
                  <a:gd name="connsiteX1" fmla="*/ 128228 w 394425"/>
                  <a:gd name="connsiteY1" fmla="*/ 124733 h 236031"/>
                  <a:gd name="connsiteX2" fmla="*/ 322932 w 394425"/>
                  <a:gd name="connsiteY2" fmla="*/ 76056 h 236031"/>
                  <a:gd name="connsiteX3" fmla="*/ 392905 w 394425"/>
                  <a:gd name="connsiteY3" fmla="*/ 51718 h 236031"/>
                  <a:gd name="connsiteX4" fmla="*/ 386820 w 394425"/>
                  <a:gd name="connsiteY4" fmla="*/ 158197 h 236031"/>
                  <a:gd name="connsiteX5" fmla="*/ 155608 w 394425"/>
                  <a:gd name="connsiteY5" fmla="*/ 231211 h 236031"/>
                  <a:gd name="connsiteX6" fmla="*/ 18707 w 394425"/>
                  <a:gd name="connsiteY6" fmla="*/ 231211 h 236031"/>
                  <a:gd name="connsiteX7" fmla="*/ 12623 w 394425"/>
                  <a:gd name="connsiteY7" fmla="*/ 176450 h 236031"/>
                  <a:gd name="connsiteX8" fmla="*/ 286426 w 394425"/>
                  <a:gd name="connsiteY8" fmla="*/ 0 h 236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4425" h="236031">
                    <a:moveTo>
                      <a:pt x="286426" y="0"/>
                    </a:moveTo>
                    <a:cubicBezTo>
                      <a:pt x="286426" y="0"/>
                      <a:pt x="113017" y="112563"/>
                      <a:pt x="128228" y="124733"/>
                    </a:cubicBezTo>
                    <a:cubicBezTo>
                      <a:pt x="140397" y="139944"/>
                      <a:pt x="322932" y="76056"/>
                      <a:pt x="322932" y="76056"/>
                    </a:cubicBezTo>
                    <a:lnTo>
                      <a:pt x="392905" y="51718"/>
                    </a:lnTo>
                    <a:cubicBezTo>
                      <a:pt x="392905" y="51718"/>
                      <a:pt x="398989" y="133859"/>
                      <a:pt x="386820" y="158197"/>
                    </a:cubicBezTo>
                    <a:cubicBezTo>
                      <a:pt x="313806" y="194704"/>
                      <a:pt x="228622" y="219042"/>
                      <a:pt x="155608" y="231211"/>
                    </a:cubicBezTo>
                    <a:cubicBezTo>
                      <a:pt x="109975" y="240338"/>
                      <a:pt x="27834" y="234253"/>
                      <a:pt x="18707" y="231211"/>
                    </a:cubicBezTo>
                    <a:cubicBezTo>
                      <a:pt x="9581" y="228169"/>
                      <a:pt x="-14758" y="203830"/>
                      <a:pt x="12623" y="176450"/>
                    </a:cubicBezTo>
                    <a:cubicBezTo>
                      <a:pt x="73468" y="112563"/>
                      <a:pt x="286426" y="0"/>
                      <a:pt x="286426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7245DED6-47A4-41F8-AB1F-AEE02D6C24F9}"/>
                  </a:ext>
                </a:extLst>
              </p:cNvPr>
              <p:cNvSpPr/>
              <p:nvPr/>
            </p:nvSpPr>
            <p:spPr>
              <a:xfrm>
                <a:off x="15508172" y="12130649"/>
                <a:ext cx="266000" cy="253529"/>
              </a:xfrm>
              <a:custGeom>
                <a:avLst/>
                <a:gdLst>
                  <a:gd name="connsiteX0" fmla="*/ 144311 w 266000"/>
                  <a:gd name="connsiteY0" fmla="*/ 0 h 253529"/>
                  <a:gd name="connsiteX1" fmla="*/ 159522 w 266000"/>
                  <a:gd name="connsiteY1" fmla="*/ 124733 h 253529"/>
                  <a:gd name="connsiteX2" fmla="*/ 1325 w 266000"/>
                  <a:gd name="connsiteY2" fmla="*/ 249464 h 253529"/>
                  <a:gd name="connsiteX3" fmla="*/ 238620 w 266000"/>
                  <a:gd name="connsiteY3" fmla="*/ 206873 h 253529"/>
                  <a:gd name="connsiteX4" fmla="*/ 266001 w 266000"/>
                  <a:gd name="connsiteY4" fmla="*/ 176450 h 253529"/>
                  <a:gd name="connsiteX5" fmla="*/ 262959 w 266000"/>
                  <a:gd name="connsiteY5" fmla="*/ 39549 h 253529"/>
                  <a:gd name="connsiteX6" fmla="*/ 144311 w 266000"/>
                  <a:gd name="connsiteY6" fmla="*/ 0 h 253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6000" h="253529">
                    <a:moveTo>
                      <a:pt x="144311" y="0"/>
                    </a:moveTo>
                    <a:lnTo>
                      <a:pt x="159522" y="124733"/>
                    </a:lnTo>
                    <a:cubicBezTo>
                      <a:pt x="159522" y="124733"/>
                      <a:pt x="-16929" y="228169"/>
                      <a:pt x="1325" y="249464"/>
                    </a:cubicBezTo>
                    <a:cubicBezTo>
                      <a:pt x="13493" y="264676"/>
                      <a:pt x="168648" y="234253"/>
                      <a:pt x="238620" y="206873"/>
                    </a:cubicBezTo>
                    <a:cubicBezTo>
                      <a:pt x="262959" y="197746"/>
                      <a:pt x="266001" y="176450"/>
                      <a:pt x="266001" y="176450"/>
                    </a:cubicBezTo>
                    <a:lnTo>
                      <a:pt x="262959" y="39549"/>
                    </a:lnTo>
                    <a:lnTo>
                      <a:pt x="144311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E5E40960-5E86-4A31-9CD5-E656E8B40B25}"/>
                </a:ext>
              </a:extLst>
            </p:cNvPr>
            <p:cNvGrpSpPr/>
            <p:nvPr/>
          </p:nvGrpSpPr>
          <p:grpSpPr>
            <a:xfrm>
              <a:off x="16668595" y="11777747"/>
              <a:ext cx="292056" cy="495105"/>
              <a:chOff x="16668595" y="11777747"/>
              <a:chExt cx="292056" cy="495105"/>
            </a:xfrm>
          </p:grpSpPr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8A4436BC-4344-4D84-BB8A-ADAA2E08B6F7}"/>
                  </a:ext>
                </a:extLst>
              </p:cNvPr>
              <p:cNvSpPr/>
              <p:nvPr/>
            </p:nvSpPr>
            <p:spPr>
              <a:xfrm>
                <a:off x="16733571" y="11865972"/>
                <a:ext cx="227080" cy="406879"/>
              </a:xfrm>
              <a:custGeom>
                <a:avLst/>
                <a:gdLst>
                  <a:gd name="connsiteX0" fmla="*/ 38460 w 227080"/>
                  <a:gd name="connsiteY0" fmla="*/ 48676 h 406879"/>
                  <a:gd name="connsiteX1" fmla="*/ 38460 w 227080"/>
                  <a:gd name="connsiteY1" fmla="*/ 252508 h 406879"/>
                  <a:gd name="connsiteX2" fmla="*/ 123643 w 227080"/>
                  <a:gd name="connsiteY2" fmla="*/ 69972 h 406879"/>
                  <a:gd name="connsiteX3" fmla="*/ 147982 w 227080"/>
                  <a:gd name="connsiteY3" fmla="*/ 0 h 406879"/>
                  <a:gd name="connsiteX4" fmla="*/ 227081 w 227080"/>
                  <a:gd name="connsiteY4" fmla="*/ 73014 h 406879"/>
                  <a:gd name="connsiteX5" fmla="*/ 138854 w 227080"/>
                  <a:gd name="connsiteY5" fmla="*/ 298141 h 406879"/>
                  <a:gd name="connsiteX6" fmla="*/ 50629 w 227080"/>
                  <a:gd name="connsiteY6" fmla="*/ 404620 h 406879"/>
                  <a:gd name="connsiteX7" fmla="*/ 1953 w 227080"/>
                  <a:gd name="connsiteY7" fmla="*/ 374198 h 406879"/>
                  <a:gd name="connsiteX8" fmla="*/ 38460 w 227080"/>
                  <a:gd name="connsiteY8" fmla="*/ 48676 h 406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080" h="406879">
                    <a:moveTo>
                      <a:pt x="38460" y="48676"/>
                    </a:moveTo>
                    <a:cubicBezTo>
                      <a:pt x="38460" y="48676"/>
                      <a:pt x="17164" y="252508"/>
                      <a:pt x="38460" y="252508"/>
                    </a:cubicBezTo>
                    <a:cubicBezTo>
                      <a:pt x="56714" y="249465"/>
                      <a:pt x="123643" y="69972"/>
                      <a:pt x="123643" y="69972"/>
                    </a:cubicBezTo>
                    <a:lnTo>
                      <a:pt x="147982" y="0"/>
                    </a:lnTo>
                    <a:cubicBezTo>
                      <a:pt x="147982" y="0"/>
                      <a:pt x="214911" y="45634"/>
                      <a:pt x="227081" y="73014"/>
                    </a:cubicBezTo>
                    <a:cubicBezTo>
                      <a:pt x="208827" y="152113"/>
                      <a:pt x="175362" y="234254"/>
                      <a:pt x="138854" y="298141"/>
                    </a:cubicBezTo>
                    <a:cubicBezTo>
                      <a:pt x="114517" y="337690"/>
                      <a:pt x="59757" y="401578"/>
                      <a:pt x="50629" y="404620"/>
                    </a:cubicBezTo>
                    <a:cubicBezTo>
                      <a:pt x="41503" y="407662"/>
                      <a:pt x="8038" y="413747"/>
                      <a:pt x="1953" y="374198"/>
                    </a:cubicBezTo>
                    <a:cubicBezTo>
                      <a:pt x="-10216" y="282930"/>
                      <a:pt x="38460" y="48676"/>
                      <a:pt x="38460" y="48676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B8538C3B-4F86-41F0-BA75-9B2DB28FBB38}"/>
                  </a:ext>
                </a:extLst>
              </p:cNvPr>
              <p:cNvSpPr/>
              <p:nvPr/>
            </p:nvSpPr>
            <p:spPr>
              <a:xfrm>
                <a:off x="16668595" y="11777747"/>
                <a:ext cx="221958" cy="340732"/>
              </a:xfrm>
              <a:custGeom>
                <a:avLst/>
                <a:gdLst>
                  <a:gd name="connsiteX0" fmla="*/ 0 w 221958"/>
                  <a:gd name="connsiteY0" fmla="*/ 66930 h 340732"/>
                  <a:gd name="connsiteX1" fmla="*/ 100394 w 221958"/>
                  <a:gd name="connsiteY1" fmla="*/ 136901 h 340732"/>
                  <a:gd name="connsiteX2" fmla="*/ 100394 w 221958"/>
                  <a:gd name="connsiteY2" fmla="*/ 340733 h 340732"/>
                  <a:gd name="connsiteX3" fmla="*/ 219042 w 221958"/>
                  <a:gd name="connsiteY3" fmla="*/ 127775 h 340732"/>
                  <a:gd name="connsiteX4" fmla="*/ 212958 w 221958"/>
                  <a:gd name="connsiteY4" fmla="*/ 85183 h 340732"/>
                  <a:gd name="connsiteX5" fmla="*/ 109521 w 221958"/>
                  <a:gd name="connsiteY5" fmla="*/ 0 h 340732"/>
                  <a:gd name="connsiteX6" fmla="*/ 0 w 221958"/>
                  <a:gd name="connsiteY6" fmla="*/ 66930 h 340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1958" h="340732">
                    <a:moveTo>
                      <a:pt x="0" y="66930"/>
                    </a:moveTo>
                    <a:lnTo>
                      <a:pt x="100394" y="136901"/>
                    </a:lnTo>
                    <a:cubicBezTo>
                      <a:pt x="100394" y="136901"/>
                      <a:pt x="69971" y="337690"/>
                      <a:pt x="100394" y="340733"/>
                    </a:cubicBezTo>
                    <a:cubicBezTo>
                      <a:pt x="121690" y="340733"/>
                      <a:pt x="194704" y="200789"/>
                      <a:pt x="219042" y="127775"/>
                    </a:cubicBezTo>
                    <a:cubicBezTo>
                      <a:pt x="228169" y="103436"/>
                      <a:pt x="212958" y="85183"/>
                      <a:pt x="212958" y="85183"/>
                    </a:cubicBezTo>
                    <a:lnTo>
                      <a:pt x="109521" y="0"/>
                    </a:lnTo>
                    <a:lnTo>
                      <a:pt x="0" y="66930"/>
                    </a:ln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97858A26-7A8B-4C97-A22C-CFDE7A5A0B0C}"/>
                </a:ext>
              </a:extLst>
            </p:cNvPr>
            <p:cNvSpPr/>
            <p:nvPr/>
          </p:nvSpPr>
          <p:spPr>
            <a:xfrm>
              <a:off x="15378680" y="9702930"/>
              <a:ext cx="1060209" cy="1438337"/>
            </a:xfrm>
            <a:custGeom>
              <a:avLst/>
              <a:gdLst>
                <a:gd name="connsiteX0" fmla="*/ 1031324 w 1060209"/>
                <a:gd name="connsiteY0" fmla="*/ 1402479 h 1438337"/>
                <a:gd name="connsiteX1" fmla="*/ 949183 w 1060209"/>
                <a:gd name="connsiteY1" fmla="*/ 1417690 h 1438337"/>
                <a:gd name="connsiteX2" fmla="*/ 888337 w 1060209"/>
                <a:gd name="connsiteY2" fmla="*/ 1426818 h 1438337"/>
                <a:gd name="connsiteX3" fmla="*/ 587155 w 1060209"/>
                <a:gd name="connsiteY3" fmla="*/ 1426818 h 1438337"/>
                <a:gd name="connsiteX4" fmla="*/ 602366 w 1060209"/>
                <a:gd name="connsiteY4" fmla="*/ 812282 h 1438337"/>
                <a:gd name="connsiteX5" fmla="*/ 471549 w 1060209"/>
                <a:gd name="connsiteY5" fmla="*/ 1417690 h 1438337"/>
                <a:gd name="connsiteX6" fmla="*/ 0 w 1060209"/>
                <a:gd name="connsiteY6" fmla="*/ 1365973 h 1438337"/>
                <a:gd name="connsiteX7" fmla="*/ 139943 w 1060209"/>
                <a:gd name="connsiteY7" fmla="*/ 459380 h 1438337"/>
                <a:gd name="connsiteX8" fmla="*/ 258592 w 1060209"/>
                <a:gd name="connsiteY8" fmla="*/ 0 h 1438337"/>
                <a:gd name="connsiteX9" fmla="*/ 924845 w 1060209"/>
                <a:gd name="connsiteY9" fmla="*/ 0 h 1438337"/>
                <a:gd name="connsiteX10" fmla="*/ 1055661 w 1060209"/>
                <a:gd name="connsiteY10" fmla="*/ 471549 h 1438337"/>
                <a:gd name="connsiteX11" fmla="*/ 1031324 w 1060209"/>
                <a:gd name="connsiteY11" fmla="*/ 1402479 h 143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60209" h="1438337">
                  <a:moveTo>
                    <a:pt x="1031324" y="1402479"/>
                  </a:moveTo>
                  <a:cubicBezTo>
                    <a:pt x="1031324" y="1402479"/>
                    <a:pt x="1000901" y="1411606"/>
                    <a:pt x="949183" y="1417690"/>
                  </a:cubicBezTo>
                  <a:cubicBezTo>
                    <a:pt x="930929" y="1420733"/>
                    <a:pt x="909634" y="1423775"/>
                    <a:pt x="888337" y="1426818"/>
                  </a:cubicBezTo>
                  <a:cubicBezTo>
                    <a:pt x="803155" y="1438987"/>
                    <a:pt x="690591" y="1445070"/>
                    <a:pt x="587155" y="1426818"/>
                  </a:cubicBezTo>
                  <a:cubicBezTo>
                    <a:pt x="565858" y="1268620"/>
                    <a:pt x="602366" y="812282"/>
                    <a:pt x="602366" y="812282"/>
                  </a:cubicBezTo>
                  <a:lnTo>
                    <a:pt x="471549" y="1417690"/>
                  </a:lnTo>
                  <a:cubicBezTo>
                    <a:pt x="328563" y="1435944"/>
                    <a:pt x="158197" y="1414648"/>
                    <a:pt x="0" y="1365973"/>
                  </a:cubicBezTo>
                  <a:cubicBezTo>
                    <a:pt x="27380" y="1137804"/>
                    <a:pt x="133859" y="520226"/>
                    <a:pt x="139943" y="459380"/>
                  </a:cubicBezTo>
                  <a:cubicBezTo>
                    <a:pt x="158197" y="307268"/>
                    <a:pt x="258592" y="0"/>
                    <a:pt x="258592" y="0"/>
                  </a:cubicBezTo>
                  <a:lnTo>
                    <a:pt x="924845" y="0"/>
                  </a:lnTo>
                  <a:cubicBezTo>
                    <a:pt x="924845" y="0"/>
                    <a:pt x="1028281" y="222085"/>
                    <a:pt x="1055661" y="471549"/>
                  </a:cubicBezTo>
                  <a:cubicBezTo>
                    <a:pt x="1073915" y="651043"/>
                    <a:pt x="1031324" y="1402479"/>
                    <a:pt x="1031324" y="1402479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B7E4DF4A-CCC0-484B-BA2C-B7A6FC20BE2A}"/>
                </a:ext>
              </a:extLst>
            </p:cNvPr>
            <p:cNvSpPr/>
            <p:nvPr/>
          </p:nvSpPr>
          <p:spPr>
            <a:xfrm>
              <a:off x="15929327" y="10092339"/>
              <a:ext cx="54761" cy="428957"/>
            </a:xfrm>
            <a:custGeom>
              <a:avLst/>
              <a:gdLst>
                <a:gd name="connsiteX0" fmla="*/ 48676 w 54761"/>
                <a:gd name="connsiteY0" fmla="*/ 428958 h 428957"/>
                <a:gd name="connsiteX1" fmla="*/ 42592 w 54761"/>
                <a:gd name="connsiteY1" fmla="*/ 422873 h 428957"/>
                <a:gd name="connsiteX2" fmla="*/ 0 w 54761"/>
                <a:gd name="connsiteY2" fmla="*/ 6084 h 428957"/>
                <a:gd name="connsiteX3" fmla="*/ 6085 w 54761"/>
                <a:gd name="connsiteY3" fmla="*/ 0 h 428957"/>
                <a:gd name="connsiteX4" fmla="*/ 12170 w 54761"/>
                <a:gd name="connsiteY4" fmla="*/ 6084 h 428957"/>
                <a:gd name="connsiteX5" fmla="*/ 54761 w 54761"/>
                <a:gd name="connsiteY5" fmla="*/ 422873 h 428957"/>
                <a:gd name="connsiteX6" fmla="*/ 48676 w 54761"/>
                <a:gd name="connsiteY6" fmla="*/ 428958 h 428957"/>
                <a:gd name="connsiteX7" fmla="*/ 48676 w 54761"/>
                <a:gd name="connsiteY7" fmla="*/ 428958 h 428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61" h="428957">
                  <a:moveTo>
                    <a:pt x="48676" y="428958"/>
                  </a:moveTo>
                  <a:cubicBezTo>
                    <a:pt x="45634" y="428958"/>
                    <a:pt x="42592" y="425916"/>
                    <a:pt x="42592" y="422873"/>
                  </a:cubicBezTo>
                  <a:lnTo>
                    <a:pt x="0" y="6084"/>
                  </a:lnTo>
                  <a:cubicBezTo>
                    <a:pt x="0" y="3042"/>
                    <a:pt x="3042" y="0"/>
                    <a:pt x="6085" y="0"/>
                  </a:cubicBezTo>
                  <a:cubicBezTo>
                    <a:pt x="9127" y="0"/>
                    <a:pt x="12170" y="3042"/>
                    <a:pt x="12170" y="6084"/>
                  </a:cubicBezTo>
                  <a:lnTo>
                    <a:pt x="54761" y="422873"/>
                  </a:lnTo>
                  <a:cubicBezTo>
                    <a:pt x="54761" y="425916"/>
                    <a:pt x="51719" y="428958"/>
                    <a:pt x="48676" y="428958"/>
                  </a:cubicBezTo>
                  <a:cubicBezTo>
                    <a:pt x="48676" y="428958"/>
                    <a:pt x="48676" y="428958"/>
                    <a:pt x="48676" y="428958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375B093C-EE59-4DC9-99E4-08D90D40DDC7}"/>
                </a:ext>
              </a:extLst>
            </p:cNvPr>
            <p:cNvSpPr/>
            <p:nvPr/>
          </p:nvSpPr>
          <p:spPr>
            <a:xfrm>
              <a:off x="16194277" y="9859859"/>
              <a:ext cx="152422" cy="1269888"/>
            </a:xfrm>
            <a:custGeom>
              <a:avLst/>
              <a:gdLst>
                <a:gd name="connsiteX0" fmla="*/ 151839 w 152422"/>
                <a:gd name="connsiteY0" fmla="*/ 564086 h 1269888"/>
                <a:gd name="connsiteX1" fmla="*/ 130543 w 152422"/>
                <a:gd name="connsiteY1" fmla="*/ 1260762 h 1269888"/>
                <a:gd name="connsiteX2" fmla="*/ 69698 w 152422"/>
                <a:gd name="connsiteY2" fmla="*/ 1269889 h 1269888"/>
                <a:gd name="connsiteX3" fmla="*/ 90994 w 152422"/>
                <a:gd name="connsiteY3" fmla="*/ 682734 h 1269888"/>
                <a:gd name="connsiteX4" fmla="*/ 2769 w 152422"/>
                <a:gd name="connsiteY4" fmla="*/ 46903 h 1269888"/>
                <a:gd name="connsiteX5" fmla="*/ 54487 w 152422"/>
                <a:gd name="connsiteY5" fmla="*/ 16480 h 1269888"/>
                <a:gd name="connsiteX6" fmla="*/ 151839 w 152422"/>
                <a:gd name="connsiteY6" fmla="*/ 564086 h 126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422" h="1269888">
                  <a:moveTo>
                    <a:pt x="151839" y="564086"/>
                  </a:moveTo>
                  <a:cubicBezTo>
                    <a:pt x="154882" y="798340"/>
                    <a:pt x="145754" y="1029550"/>
                    <a:pt x="130543" y="1260762"/>
                  </a:cubicBezTo>
                  <a:cubicBezTo>
                    <a:pt x="112290" y="1263804"/>
                    <a:pt x="90994" y="1266847"/>
                    <a:pt x="69698" y="1269889"/>
                  </a:cubicBezTo>
                  <a:cubicBezTo>
                    <a:pt x="81868" y="1075184"/>
                    <a:pt x="87952" y="877438"/>
                    <a:pt x="90994" y="682734"/>
                  </a:cubicBezTo>
                  <a:cubicBezTo>
                    <a:pt x="90994" y="466733"/>
                    <a:pt x="97079" y="247692"/>
                    <a:pt x="2769" y="46903"/>
                  </a:cubicBezTo>
                  <a:cubicBezTo>
                    <a:pt x="-12442" y="10395"/>
                    <a:pt x="39276" y="-20027"/>
                    <a:pt x="54487" y="16480"/>
                  </a:cubicBezTo>
                  <a:cubicBezTo>
                    <a:pt x="136628" y="192930"/>
                    <a:pt x="151839" y="375466"/>
                    <a:pt x="151839" y="564086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725EE2FC-C027-47ED-9AC3-B7DE9775BDFD}"/>
                </a:ext>
              </a:extLst>
            </p:cNvPr>
            <p:cNvSpPr/>
            <p:nvPr/>
          </p:nvSpPr>
          <p:spPr>
            <a:xfrm>
              <a:off x="14525164" y="8838905"/>
              <a:ext cx="1036434" cy="455797"/>
            </a:xfrm>
            <a:custGeom>
              <a:avLst/>
              <a:gdLst>
                <a:gd name="connsiteX0" fmla="*/ 908276 w 1036434"/>
                <a:gd name="connsiteY0" fmla="*/ 48702 h 455797"/>
                <a:gd name="connsiteX1" fmla="*/ 372839 w 1036434"/>
                <a:gd name="connsiteY1" fmla="*/ 267744 h 455797"/>
                <a:gd name="connsiteX2" fmla="*/ 71656 w 1036434"/>
                <a:gd name="connsiteY2" fmla="*/ 25 h 455797"/>
                <a:gd name="connsiteX3" fmla="*/ 4726 w 1036434"/>
                <a:gd name="connsiteY3" fmla="*/ 66955 h 455797"/>
                <a:gd name="connsiteX4" fmla="*/ 293740 w 1036434"/>
                <a:gd name="connsiteY4" fmla="*/ 447237 h 455797"/>
                <a:gd name="connsiteX5" fmla="*/ 975206 w 1036434"/>
                <a:gd name="connsiteY5" fmla="*/ 289040 h 455797"/>
                <a:gd name="connsiteX6" fmla="*/ 908276 w 1036434"/>
                <a:gd name="connsiteY6" fmla="*/ 48702 h 45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6434" h="455797">
                  <a:moveTo>
                    <a:pt x="908276" y="48702"/>
                  </a:moveTo>
                  <a:cubicBezTo>
                    <a:pt x="798755" y="79124"/>
                    <a:pt x="372839" y="267744"/>
                    <a:pt x="372839" y="267744"/>
                  </a:cubicBezTo>
                  <a:cubicBezTo>
                    <a:pt x="372839" y="267744"/>
                    <a:pt x="77741" y="-3017"/>
                    <a:pt x="71656" y="25"/>
                  </a:cubicBezTo>
                  <a:cubicBezTo>
                    <a:pt x="10811" y="30448"/>
                    <a:pt x="-10485" y="33490"/>
                    <a:pt x="4726" y="66955"/>
                  </a:cubicBezTo>
                  <a:cubicBezTo>
                    <a:pt x="7769" y="76082"/>
                    <a:pt x="108164" y="267744"/>
                    <a:pt x="293740" y="447237"/>
                  </a:cubicBezTo>
                  <a:cubicBezTo>
                    <a:pt x="342417" y="492871"/>
                    <a:pt x="832220" y="343800"/>
                    <a:pt x="975206" y="289040"/>
                  </a:cubicBezTo>
                  <a:cubicBezTo>
                    <a:pt x="1060389" y="261659"/>
                    <a:pt x="1072558" y="3068"/>
                    <a:pt x="908276" y="48702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EDC77CC9-44C6-4D10-A23E-EEC0F8ED35EC}"/>
                </a:ext>
              </a:extLst>
            </p:cNvPr>
            <p:cNvSpPr/>
            <p:nvPr/>
          </p:nvSpPr>
          <p:spPr>
            <a:xfrm>
              <a:off x="15740708" y="8506811"/>
              <a:ext cx="149070" cy="204344"/>
            </a:xfrm>
            <a:custGeom>
              <a:avLst/>
              <a:gdLst>
                <a:gd name="connsiteX0" fmla="*/ 0 w 149070"/>
                <a:gd name="connsiteY0" fmla="*/ 513 h 204344"/>
                <a:gd name="connsiteX1" fmla="*/ 39549 w 149070"/>
                <a:gd name="connsiteY1" fmla="*/ 189133 h 204344"/>
                <a:gd name="connsiteX2" fmla="*/ 103436 w 149070"/>
                <a:gd name="connsiteY2" fmla="*/ 204344 h 204344"/>
                <a:gd name="connsiteX3" fmla="*/ 149070 w 149070"/>
                <a:gd name="connsiteY3" fmla="*/ 106992 h 204344"/>
                <a:gd name="connsiteX4" fmla="*/ 0 w 149070"/>
                <a:gd name="connsiteY4" fmla="*/ 513 h 204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070" h="204344">
                  <a:moveTo>
                    <a:pt x="0" y="513"/>
                  </a:moveTo>
                  <a:lnTo>
                    <a:pt x="39549" y="189133"/>
                  </a:lnTo>
                  <a:lnTo>
                    <a:pt x="103436" y="204344"/>
                  </a:lnTo>
                  <a:lnTo>
                    <a:pt x="149070" y="106992"/>
                  </a:lnTo>
                  <a:cubicBezTo>
                    <a:pt x="149070" y="106992"/>
                    <a:pt x="97352" y="-8614"/>
                    <a:pt x="0" y="513"/>
                  </a:cubicBez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90B5384A-D65B-4E8E-A375-0824192F776C}"/>
                </a:ext>
              </a:extLst>
            </p:cNvPr>
            <p:cNvSpPr/>
            <p:nvPr/>
          </p:nvSpPr>
          <p:spPr>
            <a:xfrm>
              <a:off x="16038849" y="8352169"/>
              <a:ext cx="246422" cy="365070"/>
            </a:xfrm>
            <a:custGeom>
              <a:avLst/>
              <a:gdLst>
                <a:gd name="connsiteX0" fmla="*/ 246423 w 246422"/>
                <a:gd name="connsiteY0" fmla="*/ 0 h 365070"/>
                <a:gd name="connsiteX1" fmla="*/ 124733 w 246422"/>
                <a:gd name="connsiteY1" fmla="*/ 358986 h 365070"/>
                <a:gd name="connsiteX2" fmla="*/ 45634 w 246422"/>
                <a:gd name="connsiteY2" fmla="*/ 365070 h 365070"/>
                <a:gd name="connsiteX3" fmla="*/ 0 w 246422"/>
                <a:gd name="connsiteY3" fmla="*/ 249465 h 365070"/>
                <a:gd name="connsiteX4" fmla="*/ 91268 w 246422"/>
                <a:gd name="connsiteY4" fmla="*/ 112564 h 365070"/>
                <a:gd name="connsiteX5" fmla="*/ 246423 w 246422"/>
                <a:gd name="connsiteY5" fmla="*/ 0 h 36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6422" h="365070">
                  <a:moveTo>
                    <a:pt x="246423" y="0"/>
                  </a:moveTo>
                  <a:cubicBezTo>
                    <a:pt x="246423" y="0"/>
                    <a:pt x="246423" y="182535"/>
                    <a:pt x="124733" y="358986"/>
                  </a:cubicBezTo>
                  <a:lnTo>
                    <a:pt x="45634" y="365070"/>
                  </a:lnTo>
                  <a:lnTo>
                    <a:pt x="0" y="249465"/>
                  </a:lnTo>
                  <a:lnTo>
                    <a:pt x="91268" y="112564"/>
                  </a:lnTo>
                  <a:lnTo>
                    <a:pt x="246423" y="0"/>
                  </a:ln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5B80836C-8B22-4D1E-8350-DD02221ED14F}"/>
                </a:ext>
              </a:extLst>
            </p:cNvPr>
            <p:cNvSpPr/>
            <p:nvPr/>
          </p:nvSpPr>
          <p:spPr>
            <a:xfrm>
              <a:off x="15352035" y="8807669"/>
              <a:ext cx="504415" cy="411542"/>
            </a:xfrm>
            <a:custGeom>
              <a:avLst/>
              <a:gdLst>
                <a:gd name="connsiteX0" fmla="*/ 136166 w 504415"/>
                <a:gd name="connsiteY0" fmla="*/ 411543 h 411542"/>
                <a:gd name="connsiteX1" fmla="*/ 504279 w 504415"/>
                <a:gd name="connsiteY1" fmla="*/ 70811 h 411542"/>
                <a:gd name="connsiteX2" fmla="*/ 2307 w 504415"/>
                <a:gd name="connsiteY2" fmla="*/ 61684 h 411542"/>
                <a:gd name="connsiteX3" fmla="*/ 136166 w 504415"/>
                <a:gd name="connsiteY3" fmla="*/ 411543 h 41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415" h="411542">
                  <a:moveTo>
                    <a:pt x="136166" y="411543"/>
                  </a:moveTo>
                  <a:cubicBezTo>
                    <a:pt x="312617" y="365909"/>
                    <a:pt x="510363" y="149909"/>
                    <a:pt x="504279" y="70811"/>
                  </a:cubicBezTo>
                  <a:cubicBezTo>
                    <a:pt x="498195" y="-32626"/>
                    <a:pt x="193969" y="-11330"/>
                    <a:pt x="2307" y="61684"/>
                  </a:cubicBezTo>
                  <a:cubicBezTo>
                    <a:pt x="-15947" y="134698"/>
                    <a:pt x="78363" y="326360"/>
                    <a:pt x="136166" y="411543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F2CFE4DA-2C4C-4528-9FCB-D9DC4A54FB28}"/>
                </a:ext>
              </a:extLst>
            </p:cNvPr>
            <p:cNvSpPr/>
            <p:nvPr/>
          </p:nvSpPr>
          <p:spPr>
            <a:xfrm>
              <a:off x="15537982" y="8749292"/>
              <a:ext cx="818822" cy="984150"/>
            </a:xfrm>
            <a:custGeom>
              <a:avLst/>
              <a:gdLst>
                <a:gd name="connsiteX0" fmla="*/ 774669 w 818822"/>
                <a:gd name="connsiteY0" fmla="*/ 390821 h 984150"/>
                <a:gd name="connsiteX1" fmla="*/ 759458 w 818822"/>
                <a:gd name="connsiteY1" fmla="*/ 68342 h 984150"/>
                <a:gd name="connsiteX2" fmla="*/ 391345 w 818822"/>
                <a:gd name="connsiteY2" fmla="*/ 4455 h 984150"/>
                <a:gd name="connsiteX3" fmla="*/ 90162 w 818822"/>
                <a:gd name="connsiteY3" fmla="*/ 104849 h 984150"/>
                <a:gd name="connsiteX4" fmla="*/ 50613 w 818822"/>
                <a:gd name="connsiteY4" fmla="*/ 652455 h 984150"/>
                <a:gd name="connsiteX5" fmla="*/ 93204 w 818822"/>
                <a:gd name="connsiteY5" fmla="*/ 977976 h 984150"/>
                <a:gd name="connsiteX6" fmla="*/ 768585 w 818822"/>
                <a:gd name="connsiteY6" fmla="*/ 962765 h 984150"/>
                <a:gd name="connsiteX7" fmla="*/ 774669 w 818822"/>
                <a:gd name="connsiteY7" fmla="*/ 390821 h 9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8822" h="984150">
                  <a:moveTo>
                    <a:pt x="774669" y="390821"/>
                  </a:moveTo>
                  <a:cubicBezTo>
                    <a:pt x="783796" y="360399"/>
                    <a:pt x="878105" y="132230"/>
                    <a:pt x="759458" y="68342"/>
                  </a:cubicBezTo>
                  <a:cubicBezTo>
                    <a:pt x="656021" y="13581"/>
                    <a:pt x="509994" y="-10756"/>
                    <a:pt x="391345" y="4455"/>
                  </a:cubicBezTo>
                  <a:cubicBezTo>
                    <a:pt x="260528" y="19666"/>
                    <a:pt x="129712" y="40962"/>
                    <a:pt x="90162" y="104849"/>
                  </a:cubicBezTo>
                  <a:cubicBezTo>
                    <a:pt x="-22401" y="290427"/>
                    <a:pt x="-22401" y="454708"/>
                    <a:pt x="50613" y="652455"/>
                  </a:cubicBezTo>
                  <a:cubicBezTo>
                    <a:pt x="71908" y="710258"/>
                    <a:pt x="77993" y="844117"/>
                    <a:pt x="93204" y="977976"/>
                  </a:cubicBezTo>
                  <a:cubicBezTo>
                    <a:pt x="93204" y="977976"/>
                    <a:pt x="376134" y="999271"/>
                    <a:pt x="768585" y="962765"/>
                  </a:cubicBezTo>
                  <a:cubicBezTo>
                    <a:pt x="741204" y="743722"/>
                    <a:pt x="768585" y="415159"/>
                    <a:pt x="774669" y="390821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8394D328-CCC8-4517-B670-1BFAC26C9701}"/>
                </a:ext>
              </a:extLst>
            </p:cNvPr>
            <p:cNvSpPr/>
            <p:nvPr/>
          </p:nvSpPr>
          <p:spPr>
            <a:xfrm>
              <a:off x="15699690" y="8060448"/>
              <a:ext cx="321290" cy="588513"/>
            </a:xfrm>
            <a:custGeom>
              <a:avLst/>
              <a:gdLst>
                <a:gd name="connsiteX0" fmla="*/ 235722 w 321290"/>
                <a:gd name="connsiteY0" fmla="*/ 319102 h 588513"/>
                <a:gd name="connsiteX1" fmla="*/ 284398 w 321290"/>
                <a:gd name="connsiteY1" fmla="*/ 176117 h 588513"/>
                <a:gd name="connsiteX2" fmla="*/ 320905 w 321290"/>
                <a:gd name="connsiteY2" fmla="*/ 8793 h 588513"/>
                <a:gd name="connsiteX3" fmla="*/ 1468 w 321290"/>
                <a:gd name="connsiteY3" fmla="*/ 230877 h 588513"/>
                <a:gd name="connsiteX4" fmla="*/ 177920 w 321290"/>
                <a:gd name="connsiteY4" fmla="*/ 574651 h 588513"/>
                <a:gd name="connsiteX5" fmla="*/ 235722 w 321290"/>
                <a:gd name="connsiteY5" fmla="*/ 319102 h 588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1290" h="588513">
                  <a:moveTo>
                    <a:pt x="235722" y="319102"/>
                  </a:moveTo>
                  <a:cubicBezTo>
                    <a:pt x="244849" y="267384"/>
                    <a:pt x="260060" y="221750"/>
                    <a:pt x="284398" y="176117"/>
                  </a:cubicBezTo>
                  <a:cubicBezTo>
                    <a:pt x="308736" y="127440"/>
                    <a:pt x="323947" y="8793"/>
                    <a:pt x="320905" y="8793"/>
                  </a:cubicBezTo>
                  <a:cubicBezTo>
                    <a:pt x="208342" y="-30757"/>
                    <a:pt x="22764" y="66595"/>
                    <a:pt x="1468" y="230877"/>
                  </a:cubicBezTo>
                  <a:cubicBezTo>
                    <a:pt x="-7658" y="297807"/>
                    <a:pt x="22764" y="547271"/>
                    <a:pt x="177920" y="574651"/>
                  </a:cubicBezTo>
                  <a:cubicBezTo>
                    <a:pt x="275271" y="653750"/>
                    <a:pt x="226596" y="370821"/>
                    <a:pt x="235722" y="319102"/>
                  </a:cubicBez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637E9DB3-16F5-487D-8011-7C0D1C916455}"/>
                </a:ext>
              </a:extLst>
            </p:cNvPr>
            <p:cNvSpPr/>
            <p:nvPr/>
          </p:nvSpPr>
          <p:spPr>
            <a:xfrm>
              <a:off x="15766226" y="8113986"/>
              <a:ext cx="421693" cy="567065"/>
            </a:xfrm>
            <a:custGeom>
              <a:avLst/>
              <a:gdLst>
                <a:gd name="connsiteX0" fmla="*/ 7947 w 421693"/>
                <a:gd name="connsiteY0" fmla="*/ 183423 h 567065"/>
                <a:gd name="connsiteX1" fmla="*/ 20116 w 421693"/>
                <a:gd name="connsiteY1" fmla="*/ 438972 h 567065"/>
                <a:gd name="connsiteX2" fmla="*/ 169186 w 421693"/>
                <a:gd name="connsiteY2" fmla="*/ 566747 h 567065"/>
                <a:gd name="connsiteX3" fmla="*/ 385187 w 421693"/>
                <a:gd name="connsiteY3" fmla="*/ 423761 h 567065"/>
                <a:gd name="connsiteX4" fmla="*/ 421693 w 421693"/>
                <a:gd name="connsiteY4" fmla="*/ 198634 h 567065"/>
                <a:gd name="connsiteX5" fmla="*/ 208735 w 421693"/>
                <a:gd name="connsiteY5" fmla="*/ 888 h 567065"/>
                <a:gd name="connsiteX6" fmla="*/ 7947 w 421693"/>
                <a:gd name="connsiteY6" fmla="*/ 183423 h 56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693" h="567065">
                  <a:moveTo>
                    <a:pt x="7947" y="183423"/>
                  </a:moveTo>
                  <a:cubicBezTo>
                    <a:pt x="7947" y="183423"/>
                    <a:pt x="-16391" y="372043"/>
                    <a:pt x="20116" y="438972"/>
                  </a:cubicBezTo>
                  <a:cubicBezTo>
                    <a:pt x="56623" y="505902"/>
                    <a:pt x="117468" y="563705"/>
                    <a:pt x="169186" y="566747"/>
                  </a:cubicBezTo>
                  <a:cubicBezTo>
                    <a:pt x="236116" y="572831"/>
                    <a:pt x="348679" y="490690"/>
                    <a:pt x="385187" y="423761"/>
                  </a:cubicBezTo>
                  <a:cubicBezTo>
                    <a:pt x="421693" y="356831"/>
                    <a:pt x="421693" y="250353"/>
                    <a:pt x="421693" y="198634"/>
                  </a:cubicBezTo>
                  <a:cubicBezTo>
                    <a:pt x="418652" y="104324"/>
                    <a:pt x="391271" y="25226"/>
                    <a:pt x="208735" y="888"/>
                  </a:cubicBezTo>
                  <a:cubicBezTo>
                    <a:pt x="120510" y="-11281"/>
                    <a:pt x="26200" y="104324"/>
                    <a:pt x="7947" y="183423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511B543F-26BC-47DB-8D45-E1E40776189E}"/>
                </a:ext>
              </a:extLst>
            </p:cNvPr>
            <p:cNvSpPr/>
            <p:nvPr/>
          </p:nvSpPr>
          <p:spPr>
            <a:xfrm>
              <a:off x="15901947" y="8381332"/>
              <a:ext cx="54761" cy="132077"/>
            </a:xfrm>
            <a:custGeom>
              <a:avLst/>
              <a:gdLst>
                <a:gd name="connsiteX0" fmla="*/ 30423 w 54761"/>
                <a:gd name="connsiteY0" fmla="*/ 132077 h 132077"/>
                <a:gd name="connsiteX1" fmla="*/ 6085 w 54761"/>
                <a:gd name="connsiteY1" fmla="*/ 125993 h 132077"/>
                <a:gd name="connsiteX2" fmla="*/ 0 w 54761"/>
                <a:gd name="connsiteY2" fmla="*/ 113824 h 132077"/>
                <a:gd name="connsiteX3" fmla="*/ 27380 w 54761"/>
                <a:gd name="connsiteY3" fmla="*/ 4302 h 132077"/>
                <a:gd name="connsiteX4" fmla="*/ 33465 w 54761"/>
                <a:gd name="connsiteY4" fmla="*/ 1260 h 132077"/>
                <a:gd name="connsiteX5" fmla="*/ 36507 w 54761"/>
                <a:gd name="connsiteY5" fmla="*/ 7345 h 132077"/>
                <a:gd name="connsiteX6" fmla="*/ 9127 w 54761"/>
                <a:gd name="connsiteY6" fmla="*/ 113824 h 132077"/>
                <a:gd name="connsiteX7" fmla="*/ 9127 w 54761"/>
                <a:gd name="connsiteY7" fmla="*/ 116866 h 132077"/>
                <a:gd name="connsiteX8" fmla="*/ 48676 w 54761"/>
                <a:gd name="connsiteY8" fmla="*/ 116866 h 132077"/>
                <a:gd name="connsiteX9" fmla="*/ 54761 w 54761"/>
                <a:gd name="connsiteY9" fmla="*/ 122950 h 132077"/>
                <a:gd name="connsiteX10" fmla="*/ 48676 w 54761"/>
                <a:gd name="connsiteY10" fmla="*/ 129035 h 132077"/>
                <a:gd name="connsiteX11" fmla="*/ 30423 w 54761"/>
                <a:gd name="connsiteY11" fmla="*/ 132077 h 132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761" h="132077">
                  <a:moveTo>
                    <a:pt x="30423" y="132077"/>
                  </a:moveTo>
                  <a:cubicBezTo>
                    <a:pt x="21296" y="132077"/>
                    <a:pt x="12169" y="132077"/>
                    <a:pt x="6085" y="125993"/>
                  </a:cubicBezTo>
                  <a:cubicBezTo>
                    <a:pt x="3042" y="122950"/>
                    <a:pt x="0" y="119908"/>
                    <a:pt x="0" y="113824"/>
                  </a:cubicBezTo>
                  <a:cubicBezTo>
                    <a:pt x="0" y="92528"/>
                    <a:pt x="27380" y="7345"/>
                    <a:pt x="27380" y="4302"/>
                  </a:cubicBezTo>
                  <a:cubicBezTo>
                    <a:pt x="27380" y="1260"/>
                    <a:pt x="30423" y="-1782"/>
                    <a:pt x="33465" y="1260"/>
                  </a:cubicBezTo>
                  <a:cubicBezTo>
                    <a:pt x="36507" y="1260"/>
                    <a:pt x="39550" y="4302"/>
                    <a:pt x="36507" y="7345"/>
                  </a:cubicBezTo>
                  <a:cubicBezTo>
                    <a:pt x="30423" y="31683"/>
                    <a:pt x="9127" y="95570"/>
                    <a:pt x="9127" y="113824"/>
                  </a:cubicBezTo>
                  <a:cubicBezTo>
                    <a:pt x="9127" y="113824"/>
                    <a:pt x="9127" y="116866"/>
                    <a:pt x="9127" y="116866"/>
                  </a:cubicBezTo>
                  <a:cubicBezTo>
                    <a:pt x="15211" y="122950"/>
                    <a:pt x="36507" y="119908"/>
                    <a:pt x="48676" y="116866"/>
                  </a:cubicBezTo>
                  <a:cubicBezTo>
                    <a:pt x="51719" y="116866"/>
                    <a:pt x="54761" y="116866"/>
                    <a:pt x="54761" y="122950"/>
                  </a:cubicBezTo>
                  <a:cubicBezTo>
                    <a:pt x="54761" y="125993"/>
                    <a:pt x="54761" y="129035"/>
                    <a:pt x="48676" y="129035"/>
                  </a:cubicBezTo>
                  <a:cubicBezTo>
                    <a:pt x="51719" y="132077"/>
                    <a:pt x="42591" y="132077"/>
                    <a:pt x="30423" y="132077"/>
                  </a:cubicBez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4D5967DE-9F99-4AEF-ABD1-C017FBDD5979}"/>
                </a:ext>
              </a:extLst>
            </p:cNvPr>
            <p:cNvSpPr/>
            <p:nvPr/>
          </p:nvSpPr>
          <p:spPr>
            <a:xfrm>
              <a:off x="15883693" y="8565127"/>
              <a:ext cx="106478" cy="54760"/>
            </a:xfrm>
            <a:custGeom>
              <a:avLst/>
              <a:gdLst>
                <a:gd name="connsiteX0" fmla="*/ 106479 w 106478"/>
                <a:gd name="connsiteY0" fmla="*/ 0 h 54760"/>
                <a:gd name="connsiteX1" fmla="*/ 0 w 106478"/>
                <a:gd name="connsiteY1" fmla="*/ 0 h 54760"/>
                <a:gd name="connsiteX2" fmla="*/ 51719 w 106478"/>
                <a:gd name="connsiteY2" fmla="*/ 54761 h 54760"/>
                <a:gd name="connsiteX3" fmla="*/ 106479 w 106478"/>
                <a:gd name="connsiteY3" fmla="*/ 0 h 5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478" h="54760">
                  <a:moveTo>
                    <a:pt x="106479" y="0"/>
                  </a:moveTo>
                  <a:cubicBezTo>
                    <a:pt x="51719" y="24338"/>
                    <a:pt x="0" y="0"/>
                    <a:pt x="0" y="0"/>
                  </a:cubicBezTo>
                  <a:cubicBezTo>
                    <a:pt x="0" y="0"/>
                    <a:pt x="15211" y="54761"/>
                    <a:pt x="51719" y="54761"/>
                  </a:cubicBezTo>
                  <a:cubicBezTo>
                    <a:pt x="94310" y="51719"/>
                    <a:pt x="106479" y="0"/>
                    <a:pt x="106479" y="0"/>
                  </a:cubicBezTo>
                  <a:close/>
                </a:path>
              </a:pathLst>
            </a:custGeom>
            <a:solidFill>
              <a:srgbClr val="FFFFFF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436AAF01-0CC3-49E6-9928-081EC73FF67F}"/>
                </a:ext>
              </a:extLst>
            </p:cNvPr>
            <p:cNvSpPr/>
            <p:nvPr/>
          </p:nvSpPr>
          <p:spPr>
            <a:xfrm>
              <a:off x="15831379" y="8354437"/>
              <a:ext cx="40145" cy="41099"/>
            </a:xfrm>
            <a:custGeom>
              <a:avLst/>
              <a:gdLst>
                <a:gd name="connsiteX0" fmla="*/ 40146 w 40145"/>
                <a:gd name="connsiteY0" fmla="*/ 25113 h 41099"/>
                <a:gd name="connsiteX1" fmla="*/ 15808 w 40145"/>
                <a:gd name="connsiteY1" fmla="*/ 40325 h 41099"/>
                <a:gd name="connsiteX2" fmla="*/ 597 w 40145"/>
                <a:gd name="connsiteY2" fmla="*/ 15987 h 41099"/>
                <a:gd name="connsiteX3" fmla="*/ 24934 w 40145"/>
                <a:gd name="connsiteY3" fmla="*/ 775 h 41099"/>
                <a:gd name="connsiteX4" fmla="*/ 40146 w 40145"/>
                <a:gd name="connsiteY4" fmla="*/ 25113 h 41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45" h="41099">
                  <a:moveTo>
                    <a:pt x="40146" y="25113"/>
                  </a:moveTo>
                  <a:cubicBezTo>
                    <a:pt x="37103" y="37282"/>
                    <a:pt x="27977" y="43367"/>
                    <a:pt x="15808" y="40325"/>
                  </a:cubicBezTo>
                  <a:cubicBezTo>
                    <a:pt x="6681" y="37282"/>
                    <a:pt x="-2446" y="28155"/>
                    <a:pt x="597" y="15987"/>
                  </a:cubicBezTo>
                  <a:cubicBezTo>
                    <a:pt x="3639" y="3818"/>
                    <a:pt x="12766" y="-2267"/>
                    <a:pt x="24934" y="775"/>
                  </a:cubicBezTo>
                  <a:cubicBezTo>
                    <a:pt x="34062" y="3818"/>
                    <a:pt x="40146" y="15987"/>
                    <a:pt x="40146" y="25113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A3F24983-2500-450F-976B-79606889785A}"/>
                </a:ext>
              </a:extLst>
            </p:cNvPr>
            <p:cNvSpPr/>
            <p:nvPr/>
          </p:nvSpPr>
          <p:spPr>
            <a:xfrm>
              <a:off x="16019998" y="8360521"/>
              <a:ext cx="40921" cy="40921"/>
            </a:xfrm>
            <a:custGeom>
              <a:avLst/>
              <a:gdLst>
                <a:gd name="connsiteX0" fmla="*/ 40146 w 40921"/>
                <a:gd name="connsiteY0" fmla="*/ 25113 h 40921"/>
                <a:gd name="connsiteX1" fmla="*/ 15808 w 40921"/>
                <a:gd name="connsiteY1" fmla="*/ 40325 h 40921"/>
                <a:gd name="connsiteX2" fmla="*/ 597 w 40921"/>
                <a:gd name="connsiteY2" fmla="*/ 15986 h 40921"/>
                <a:gd name="connsiteX3" fmla="*/ 24935 w 40921"/>
                <a:gd name="connsiteY3" fmla="*/ 775 h 40921"/>
                <a:gd name="connsiteX4" fmla="*/ 40146 w 40921"/>
                <a:gd name="connsiteY4" fmla="*/ 25113 h 40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21" h="40921">
                  <a:moveTo>
                    <a:pt x="40146" y="25113"/>
                  </a:moveTo>
                  <a:cubicBezTo>
                    <a:pt x="37104" y="34240"/>
                    <a:pt x="27978" y="43367"/>
                    <a:pt x="15808" y="40325"/>
                  </a:cubicBezTo>
                  <a:cubicBezTo>
                    <a:pt x="6681" y="37282"/>
                    <a:pt x="-2445" y="28156"/>
                    <a:pt x="597" y="15986"/>
                  </a:cubicBezTo>
                  <a:cubicBezTo>
                    <a:pt x="3639" y="3818"/>
                    <a:pt x="12766" y="-2267"/>
                    <a:pt x="24935" y="775"/>
                  </a:cubicBezTo>
                  <a:cubicBezTo>
                    <a:pt x="37104" y="3818"/>
                    <a:pt x="43189" y="15986"/>
                    <a:pt x="40146" y="25113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C252D0B0-37A8-4AF1-B4EB-EA17BD2E2CA0}"/>
                </a:ext>
              </a:extLst>
            </p:cNvPr>
            <p:cNvSpPr/>
            <p:nvPr/>
          </p:nvSpPr>
          <p:spPr>
            <a:xfrm>
              <a:off x="15805356" y="8305373"/>
              <a:ext cx="91767" cy="34627"/>
            </a:xfrm>
            <a:custGeom>
              <a:avLst/>
              <a:gdLst>
                <a:gd name="connsiteX0" fmla="*/ 8366 w 91767"/>
                <a:gd name="connsiteY0" fmla="*/ 34627 h 34627"/>
                <a:gd name="connsiteX1" fmla="*/ 2281 w 91767"/>
                <a:gd name="connsiteY1" fmla="*/ 31585 h 34627"/>
                <a:gd name="connsiteX2" fmla="*/ 2281 w 91767"/>
                <a:gd name="connsiteY2" fmla="*/ 19416 h 34627"/>
                <a:gd name="connsiteX3" fmla="*/ 87465 w 91767"/>
                <a:gd name="connsiteY3" fmla="*/ 10289 h 34627"/>
                <a:gd name="connsiteX4" fmla="*/ 90507 w 91767"/>
                <a:gd name="connsiteY4" fmla="*/ 19416 h 34627"/>
                <a:gd name="connsiteX5" fmla="*/ 81380 w 91767"/>
                <a:gd name="connsiteY5" fmla="*/ 22459 h 34627"/>
                <a:gd name="connsiteX6" fmla="*/ 14451 w 91767"/>
                <a:gd name="connsiteY6" fmla="*/ 28543 h 34627"/>
                <a:gd name="connsiteX7" fmla="*/ 8366 w 91767"/>
                <a:gd name="connsiteY7" fmla="*/ 34627 h 34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4627">
                  <a:moveTo>
                    <a:pt x="8366" y="34627"/>
                  </a:moveTo>
                  <a:cubicBezTo>
                    <a:pt x="5324" y="34627"/>
                    <a:pt x="5324" y="34627"/>
                    <a:pt x="2281" y="31585"/>
                  </a:cubicBezTo>
                  <a:cubicBezTo>
                    <a:pt x="-760" y="28543"/>
                    <a:pt x="-760" y="22459"/>
                    <a:pt x="2281" y="19416"/>
                  </a:cubicBezTo>
                  <a:cubicBezTo>
                    <a:pt x="29662" y="-11006"/>
                    <a:pt x="69211" y="1162"/>
                    <a:pt x="87465" y="10289"/>
                  </a:cubicBezTo>
                  <a:cubicBezTo>
                    <a:pt x="90507" y="13332"/>
                    <a:pt x="93549" y="16374"/>
                    <a:pt x="90507" y="19416"/>
                  </a:cubicBezTo>
                  <a:cubicBezTo>
                    <a:pt x="87465" y="22459"/>
                    <a:pt x="84422" y="25500"/>
                    <a:pt x="81380" y="22459"/>
                  </a:cubicBezTo>
                  <a:cubicBezTo>
                    <a:pt x="78337" y="22459"/>
                    <a:pt x="38789" y="1162"/>
                    <a:pt x="14451" y="28543"/>
                  </a:cubicBezTo>
                  <a:cubicBezTo>
                    <a:pt x="11408" y="34627"/>
                    <a:pt x="11408" y="34627"/>
                    <a:pt x="8366" y="34627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3EA760DD-D7F2-46C6-AE73-542924C8F17C}"/>
                </a:ext>
              </a:extLst>
            </p:cNvPr>
            <p:cNvSpPr/>
            <p:nvPr/>
          </p:nvSpPr>
          <p:spPr>
            <a:xfrm>
              <a:off x="15991955" y="8303803"/>
              <a:ext cx="91767" cy="36197"/>
            </a:xfrm>
            <a:custGeom>
              <a:avLst/>
              <a:gdLst>
                <a:gd name="connsiteX0" fmla="*/ 86444 w 91767"/>
                <a:gd name="connsiteY0" fmla="*/ 36198 h 36197"/>
                <a:gd name="connsiteX1" fmla="*/ 80359 w 91767"/>
                <a:gd name="connsiteY1" fmla="*/ 33155 h 36197"/>
                <a:gd name="connsiteX2" fmla="*/ 13429 w 91767"/>
                <a:gd name="connsiteY2" fmla="*/ 27071 h 36197"/>
                <a:gd name="connsiteX3" fmla="*/ 1260 w 91767"/>
                <a:gd name="connsiteY3" fmla="*/ 24029 h 36197"/>
                <a:gd name="connsiteX4" fmla="*/ 4303 w 91767"/>
                <a:gd name="connsiteY4" fmla="*/ 11859 h 36197"/>
                <a:gd name="connsiteX5" fmla="*/ 89485 w 91767"/>
                <a:gd name="connsiteY5" fmla="*/ 20986 h 36197"/>
                <a:gd name="connsiteX6" fmla="*/ 89485 w 91767"/>
                <a:gd name="connsiteY6" fmla="*/ 33155 h 36197"/>
                <a:gd name="connsiteX7" fmla="*/ 86444 w 91767"/>
                <a:gd name="connsiteY7" fmla="*/ 36198 h 36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6197">
                  <a:moveTo>
                    <a:pt x="86444" y="36198"/>
                  </a:moveTo>
                  <a:cubicBezTo>
                    <a:pt x="83401" y="36198"/>
                    <a:pt x="83401" y="36198"/>
                    <a:pt x="80359" y="33155"/>
                  </a:cubicBezTo>
                  <a:cubicBezTo>
                    <a:pt x="80359" y="33155"/>
                    <a:pt x="49936" y="2733"/>
                    <a:pt x="13429" y="27071"/>
                  </a:cubicBezTo>
                  <a:cubicBezTo>
                    <a:pt x="10388" y="30113"/>
                    <a:pt x="4303" y="27071"/>
                    <a:pt x="1260" y="24029"/>
                  </a:cubicBezTo>
                  <a:cubicBezTo>
                    <a:pt x="-1782" y="20986"/>
                    <a:pt x="1260" y="14902"/>
                    <a:pt x="4303" y="11859"/>
                  </a:cubicBezTo>
                  <a:cubicBezTo>
                    <a:pt x="40810" y="-12479"/>
                    <a:pt x="77317" y="5775"/>
                    <a:pt x="89485" y="20986"/>
                  </a:cubicBezTo>
                  <a:cubicBezTo>
                    <a:pt x="92528" y="24029"/>
                    <a:pt x="92528" y="30113"/>
                    <a:pt x="89485" y="33155"/>
                  </a:cubicBezTo>
                  <a:cubicBezTo>
                    <a:pt x="92528" y="36198"/>
                    <a:pt x="89485" y="36198"/>
                    <a:pt x="86444" y="36198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CE5E1405-B942-47E8-98C1-8CFADCC56B4D}"/>
                </a:ext>
              </a:extLst>
            </p:cNvPr>
            <p:cNvSpPr/>
            <p:nvPr/>
          </p:nvSpPr>
          <p:spPr>
            <a:xfrm>
              <a:off x="15746792" y="8063627"/>
              <a:ext cx="273886" cy="276373"/>
            </a:xfrm>
            <a:custGeom>
              <a:avLst/>
              <a:gdLst>
                <a:gd name="connsiteX0" fmla="*/ 270761 w 273886"/>
                <a:gd name="connsiteY0" fmla="*/ 2571 h 276373"/>
                <a:gd name="connsiteX1" fmla="*/ 237296 w 273886"/>
                <a:gd name="connsiteY1" fmla="*/ 148599 h 276373"/>
                <a:gd name="connsiteX2" fmla="*/ 0 w 273886"/>
                <a:gd name="connsiteY2" fmla="*/ 276374 h 276373"/>
                <a:gd name="connsiteX3" fmla="*/ 270761 w 273886"/>
                <a:gd name="connsiteY3" fmla="*/ 2571 h 276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3886" h="276373">
                  <a:moveTo>
                    <a:pt x="270761" y="2571"/>
                  </a:moveTo>
                  <a:cubicBezTo>
                    <a:pt x="270761" y="2571"/>
                    <a:pt x="289014" y="109050"/>
                    <a:pt x="237296" y="148599"/>
                  </a:cubicBezTo>
                  <a:cubicBezTo>
                    <a:pt x="237296" y="148599"/>
                    <a:pt x="27381" y="191191"/>
                    <a:pt x="0" y="276374"/>
                  </a:cubicBezTo>
                  <a:cubicBezTo>
                    <a:pt x="3042" y="273331"/>
                    <a:pt x="-18253" y="-30894"/>
                    <a:pt x="270761" y="2571"/>
                  </a:cubicBez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5222CF1E-7414-4446-A293-36487B3F0FE9}"/>
                </a:ext>
              </a:extLst>
            </p:cNvPr>
            <p:cNvSpPr/>
            <p:nvPr/>
          </p:nvSpPr>
          <p:spPr>
            <a:xfrm>
              <a:off x="15987131" y="8066198"/>
              <a:ext cx="296486" cy="350317"/>
            </a:xfrm>
            <a:custGeom>
              <a:avLst/>
              <a:gdLst>
                <a:gd name="connsiteX0" fmla="*/ 0 w 296486"/>
                <a:gd name="connsiteY0" fmla="*/ 146028 h 350317"/>
                <a:gd name="connsiteX1" fmla="*/ 139943 w 296486"/>
                <a:gd name="connsiteY1" fmla="*/ 200789 h 350317"/>
                <a:gd name="connsiteX2" fmla="*/ 197746 w 296486"/>
                <a:gd name="connsiteY2" fmla="*/ 319437 h 350317"/>
                <a:gd name="connsiteX3" fmla="*/ 285972 w 296486"/>
                <a:gd name="connsiteY3" fmla="*/ 340732 h 350317"/>
                <a:gd name="connsiteX4" fmla="*/ 30423 w 296486"/>
                <a:gd name="connsiteY4" fmla="*/ 0 h 350317"/>
                <a:gd name="connsiteX5" fmla="*/ 0 w 296486"/>
                <a:gd name="connsiteY5" fmla="*/ 146028 h 35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6486" h="350317">
                  <a:moveTo>
                    <a:pt x="0" y="146028"/>
                  </a:moveTo>
                  <a:cubicBezTo>
                    <a:pt x="0" y="146028"/>
                    <a:pt x="91268" y="194704"/>
                    <a:pt x="139943" y="200789"/>
                  </a:cubicBezTo>
                  <a:cubicBezTo>
                    <a:pt x="191662" y="206873"/>
                    <a:pt x="197746" y="319437"/>
                    <a:pt x="197746" y="319437"/>
                  </a:cubicBezTo>
                  <a:cubicBezTo>
                    <a:pt x="197746" y="319437"/>
                    <a:pt x="270760" y="371155"/>
                    <a:pt x="285972" y="340732"/>
                  </a:cubicBezTo>
                  <a:cubicBezTo>
                    <a:pt x="319437" y="273803"/>
                    <a:pt x="282929" y="0"/>
                    <a:pt x="30423" y="0"/>
                  </a:cubicBezTo>
                  <a:cubicBezTo>
                    <a:pt x="30423" y="0"/>
                    <a:pt x="24338" y="139944"/>
                    <a:pt x="0" y="146028"/>
                  </a:cubicBez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95D6B7BC-BCFA-4947-BFDC-19CC19B65B85}"/>
                </a:ext>
              </a:extLst>
            </p:cNvPr>
            <p:cNvSpPr/>
            <p:nvPr/>
          </p:nvSpPr>
          <p:spPr>
            <a:xfrm>
              <a:off x="15981046" y="8060113"/>
              <a:ext cx="152112" cy="209915"/>
            </a:xfrm>
            <a:custGeom>
              <a:avLst/>
              <a:gdLst>
                <a:gd name="connsiteX0" fmla="*/ 146028 w 152112"/>
                <a:gd name="connsiteY0" fmla="*/ 209915 h 209915"/>
                <a:gd name="connsiteX1" fmla="*/ 146028 w 152112"/>
                <a:gd name="connsiteY1" fmla="*/ 209915 h 209915"/>
                <a:gd name="connsiteX2" fmla="*/ 48676 w 152112"/>
                <a:gd name="connsiteY2" fmla="*/ 176451 h 209915"/>
                <a:gd name="connsiteX3" fmla="*/ 3042 w 152112"/>
                <a:gd name="connsiteY3" fmla="*/ 152113 h 209915"/>
                <a:gd name="connsiteX4" fmla="*/ 0 w 152112"/>
                <a:gd name="connsiteY4" fmla="*/ 149070 h 209915"/>
                <a:gd name="connsiteX5" fmla="*/ 0 w 152112"/>
                <a:gd name="connsiteY5" fmla="*/ 146028 h 209915"/>
                <a:gd name="connsiteX6" fmla="*/ 18254 w 152112"/>
                <a:gd name="connsiteY6" fmla="*/ 121690 h 209915"/>
                <a:gd name="connsiteX7" fmla="*/ 27380 w 152112"/>
                <a:gd name="connsiteY7" fmla="*/ 82141 h 209915"/>
                <a:gd name="connsiteX8" fmla="*/ 30423 w 152112"/>
                <a:gd name="connsiteY8" fmla="*/ 45634 h 209915"/>
                <a:gd name="connsiteX9" fmla="*/ 33465 w 152112"/>
                <a:gd name="connsiteY9" fmla="*/ 6084 h 209915"/>
                <a:gd name="connsiteX10" fmla="*/ 39549 w 152112"/>
                <a:gd name="connsiteY10" fmla="*/ 0 h 209915"/>
                <a:gd name="connsiteX11" fmla="*/ 45634 w 152112"/>
                <a:gd name="connsiteY11" fmla="*/ 6084 h 209915"/>
                <a:gd name="connsiteX12" fmla="*/ 42591 w 152112"/>
                <a:gd name="connsiteY12" fmla="*/ 42591 h 209915"/>
                <a:gd name="connsiteX13" fmla="*/ 39549 w 152112"/>
                <a:gd name="connsiteY13" fmla="*/ 79098 h 209915"/>
                <a:gd name="connsiteX14" fmla="*/ 27380 w 152112"/>
                <a:gd name="connsiteY14" fmla="*/ 121690 h 209915"/>
                <a:gd name="connsiteX15" fmla="*/ 12169 w 152112"/>
                <a:gd name="connsiteY15" fmla="*/ 142986 h 209915"/>
                <a:gd name="connsiteX16" fmla="*/ 51719 w 152112"/>
                <a:gd name="connsiteY16" fmla="*/ 164282 h 209915"/>
                <a:gd name="connsiteX17" fmla="*/ 146028 w 152112"/>
                <a:gd name="connsiteY17" fmla="*/ 194704 h 209915"/>
                <a:gd name="connsiteX18" fmla="*/ 152113 w 152112"/>
                <a:gd name="connsiteY18" fmla="*/ 200788 h 209915"/>
                <a:gd name="connsiteX19" fmla="*/ 146028 w 152112"/>
                <a:gd name="connsiteY19" fmla="*/ 209915 h 20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2112" h="209915">
                  <a:moveTo>
                    <a:pt x="146028" y="209915"/>
                  </a:moveTo>
                  <a:cubicBezTo>
                    <a:pt x="146028" y="209915"/>
                    <a:pt x="146028" y="209915"/>
                    <a:pt x="146028" y="209915"/>
                  </a:cubicBezTo>
                  <a:cubicBezTo>
                    <a:pt x="115605" y="206873"/>
                    <a:pt x="82141" y="194704"/>
                    <a:pt x="48676" y="176451"/>
                  </a:cubicBezTo>
                  <a:cubicBezTo>
                    <a:pt x="21296" y="164282"/>
                    <a:pt x="3042" y="152113"/>
                    <a:pt x="3042" y="152113"/>
                  </a:cubicBezTo>
                  <a:cubicBezTo>
                    <a:pt x="3042" y="152113"/>
                    <a:pt x="0" y="149070"/>
                    <a:pt x="0" y="149070"/>
                  </a:cubicBezTo>
                  <a:cubicBezTo>
                    <a:pt x="0" y="146028"/>
                    <a:pt x="0" y="146028"/>
                    <a:pt x="0" y="146028"/>
                  </a:cubicBezTo>
                  <a:cubicBezTo>
                    <a:pt x="6085" y="139943"/>
                    <a:pt x="12169" y="130817"/>
                    <a:pt x="18254" y="121690"/>
                  </a:cubicBezTo>
                  <a:cubicBezTo>
                    <a:pt x="24338" y="109521"/>
                    <a:pt x="27380" y="94310"/>
                    <a:pt x="27380" y="82141"/>
                  </a:cubicBezTo>
                  <a:cubicBezTo>
                    <a:pt x="27380" y="76056"/>
                    <a:pt x="27380" y="60845"/>
                    <a:pt x="30423" y="45634"/>
                  </a:cubicBezTo>
                  <a:cubicBezTo>
                    <a:pt x="30423" y="30423"/>
                    <a:pt x="30423" y="15211"/>
                    <a:pt x="33465" y="6084"/>
                  </a:cubicBezTo>
                  <a:cubicBezTo>
                    <a:pt x="33465" y="3042"/>
                    <a:pt x="36507" y="0"/>
                    <a:pt x="39549" y="0"/>
                  </a:cubicBezTo>
                  <a:cubicBezTo>
                    <a:pt x="42591" y="0"/>
                    <a:pt x="45634" y="3042"/>
                    <a:pt x="45634" y="6084"/>
                  </a:cubicBezTo>
                  <a:cubicBezTo>
                    <a:pt x="45634" y="12169"/>
                    <a:pt x="45634" y="27380"/>
                    <a:pt x="42591" y="42591"/>
                  </a:cubicBezTo>
                  <a:cubicBezTo>
                    <a:pt x="42591" y="57803"/>
                    <a:pt x="42591" y="73014"/>
                    <a:pt x="39549" y="79098"/>
                  </a:cubicBezTo>
                  <a:cubicBezTo>
                    <a:pt x="36507" y="94310"/>
                    <a:pt x="36507" y="109521"/>
                    <a:pt x="27380" y="121690"/>
                  </a:cubicBezTo>
                  <a:cubicBezTo>
                    <a:pt x="24338" y="127775"/>
                    <a:pt x="18254" y="136901"/>
                    <a:pt x="12169" y="142986"/>
                  </a:cubicBezTo>
                  <a:cubicBezTo>
                    <a:pt x="18254" y="146028"/>
                    <a:pt x="33465" y="155155"/>
                    <a:pt x="51719" y="164282"/>
                  </a:cubicBezTo>
                  <a:cubicBezTo>
                    <a:pt x="85183" y="179493"/>
                    <a:pt x="118648" y="191662"/>
                    <a:pt x="146028" y="194704"/>
                  </a:cubicBezTo>
                  <a:cubicBezTo>
                    <a:pt x="149070" y="194704"/>
                    <a:pt x="152113" y="197746"/>
                    <a:pt x="152113" y="200788"/>
                  </a:cubicBezTo>
                  <a:cubicBezTo>
                    <a:pt x="152113" y="209915"/>
                    <a:pt x="149070" y="209915"/>
                    <a:pt x="146028" y="209915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6706D31C-3BCD-4889-BDF8-304248F7CE3B}"/>
                </a:ext>
              </a:extLst>
            </p:cNvPr>
            <p:cNvSpPr/>
            <p:nvPr/>
          </p:nvSpPr>
          <p:spPr>
            <a:xfrm>
              <a:off x="15819807" y="8571212"/>
              <a:ext cx="310309" cy="325521"/>
            </a:xfrm>
            <a:custGeom>
              <a:avLst/>
              <a:gdLst>
                <a:gd name="connsiteX0" fmla="*/ 54760 w 310309"/>
                <a:gd name="connsiteY0" fmla="*/ 60845 h 325521"/>
                <a:gd name="connsiteX1" fmla="*/ 0 w 310309"/>
                <a:gd name="connsiteY1" fmla="*/ 200788 h 325521"/>
                <a:gd name="connsiteX2" fmla="*/ 115605 w 310309"/>
                <a:gd name="connsiteY2" fmla="*/ 325521 h 325521"/>
                <a:gd name="connsiteX3" fmla="*/ 310309 w 310309"/>
                <a:gd name="connsiteY3" fmla="*/ 185577 h 325521"/>
                <a:gd name="connsiteX4" fmla="*/ 258592 w 310309"/>
                <a:gd name="connsiteY4" fmla="*/ 0 h 325521"/>
                <a:gd name="connsiteX5" fmla="*/ 54760 w 310309"/>
                <a:gd name="connsiteY5" fmla="*/ 60845 h 325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0309" h="325521">
                  <a:moveTo>
                    <a:pt x="54760" y="60845"/>
                  </a:moveTo>
                  <a:cubicBezTo>
                    <a:pt x="54760" y="60845"/>
                    <a:pt x="60845" y="170366"/>
                    <a:pt x="0" y="200788"/>
                  </a:cubicBezTo>
                  <a:lnTo>
                    <a:pt x="115605" y="325521"/>
                  </a:lnTo>
                  <a:cubicBezTo>
                    <a:pt x="115605" y="325521"/>
                    <a:pt x="255549" y="216000"/>
                    <a:pt x="310309" y="185577"/>
                  </a:cubicBezTo>
                  <a:cubicBezTo>
                    <a:pt x="255549" y="142986"/>
                    <a:pt x="258592" y="60845"/>
                    <a:pt x="258592" y="0"/>
                  </a:cubicBezTo>
                  <a:cubicBezTo>
                    <a:pt x="258592" y="0"/>
                    <a:pt x="109520" y="69971"/>
                    <a:pt x="54760" y="60845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AFF71A78-E6D1-43C0-9A90-E0A660A3F8E5}"/>
                </a:ext>
              </a:extLst>
            </p:cNvPr>
            <p:cNvSpPr/>
            <p:nvPr/>
          </p:nvSpPr>
          <p:spPr>
            <a:xfrm>
              <a:off x="15866201" y="8606459"/>
              <a:ext cx="222583" cy="80358"/>
            </a:xfrm>
            <a:custGeom>
              <a:avLst/>
              <a:gdLst>
                <a:gd name="connsiteX0" fmla="*/ 72254 w 222583"/>
                <a:gd name="connsiteY0" fmla="*/ 80359 h 80358"/>
                <a:gd name="connsiteX1" fmla="*/ 2281 w 222583"/>
                <a:gd name="connsiteY1" fmla="*/ 52978 h 80358"/>
                <a:gd name="connsiteX2" fmla="*/ 2281 w 222583"/>
                <a:gd name="connsiteY2" fmla="*/ 43852 h 80358"/>
                <a:gd name="connsiteX3" fmla="*/ 11408 w 222583"/>
                <a:gd name="connsiteY3" fmla="*/ 43852 h 80358"/>
                <a:gd name="connsiteX4" fmla="*/ 81380 w 222583"/>
                <a:gd name="connsiteY4" fmla="*/ 68190 h 80358"/>
                <a:gd name="connsiteX5" fmla="*/ 212197 w 222583"/>
                <a:gd name="connsiteY5" fmla="*/ 1260 h 80358"/>
                <a:gd name="connsiteX6" fmla="*/ 221324 w 222583"/>
                <a:gd name="connsiteY6" fmla="*/ 4302 h 80358"/>
                <a:gd name="connsiteX7" fmla="*/ 218281 w 222583"/>
                <a:gd name="connsiteY7" fmla="*/ 13429 h 80358"/>
                <a:gd name="connsiteX8" fmla="*/ 81380 w 222583"/>
                <a:gd name="connsiteY8" fmla="*/ 80359 h 80358"/>
                <a:gd name="connsiteX9" fmla="*/ 72254 w 222583"/>
                <a:gd name="connsiteY9" fmla="*/ 80359 h 8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583" h="80358">
                  <a:moveTo>
                    <a:pt x="72254" y="80359"/>
                  </a:moveTo>
                  <a:cubicBezTo>
                    <a:pt x="32704" y="80359"/>
                    <a:pt x="5324" y="52978"/>
                    <a:pt x="2281" y="52978"/>
                  </a:cubicBezTo>
                  <a:cubicBezTo>
                    <a:pt x="-760" y="49936"/>
                    <a:pt x="-760" y="46894"/>
                    <a:pt x="2281" y="43852"/>
                  </a:cubicBezTo>
                  <a:cubicBezTo>
                    <a:pt x="5324" y="40810"/>
                    <a:pt x="8366" y="40810"/>
                    <a:pt x="11408" y="43852"/>
                  </a:cubicBezTo>
                  <a:cubicBezTo>
                    <a:pt x="11408" y="43852"/>
                    <a:pt x="44873" y="74274"/>
                    <a:pt x="81380" y="68190"/>
                  </a:cubicBezTo>
                  <a:cubicBezTo>
                    <a:pt x="120930" y="62105"/>
                    <a:pt x="212197" y="1260"/>
                    <a:pt x="212197" y="1260"/>
                  </a:cubicBezTo>
                  <a:cubicBezTo>
                    <a:pt x="215239" y="-1782"/>
                    <a:pt x="218281" y="1260"/>
                    <a:pt x="221324" y="4302"/>
                  </a:cubicBezTo>
                  <a:cubicBezTo>
                    <a:pt x="224366" y="7345"/>
                    <a:pt x="221324" y="10387"/>
                    <a:pt x="218281" y="13429"/>
                  </a:cubicBezTo>
                  <a:cubicBezTo>
                    <a:pt x="215239" y="16471"/>
                    <a:pt x="123971" y="77317"/>
                    <a:pt x="81380" y="80359"/>
                  </a:cubicBezTo>
                  <a:cubicBezTo>
                    <a:pt x="78337" y="80359"/>
                    <a:pt x="75296" y="80359"/>
                    <a:pt x="72254" y="80359"/>
                  </a:cubicBez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40B5901-DD54-4583-9067-DBDEC3BFB9DB}"/>
                </a:ext>
              </a:extLst>
            </p:cNvPr>
            <p:cNvSpPr/>
            <p:nvPr/>
          </p:nvSpPr>
          <p:spPr>
            <a:xfrm>
              <a:off x="15539094" y="8848057"/>
              <a:ext cx="101219" cy="556732"/>
            </a:xfrm>
            <a:custGeom>
              <a:avLst/>
              <a:gdLst>
                <a:gd name="connsiteX0" fmla="*/ 55585 w 101219"/>
                <a:gd name="connsiteY0" fmla="*/ 556733 h 556732"/>
                <a:gd name="connsiteX1" fmla="*/ 49502 w 101219"/>
                <a:gd name="connsiteY1" fmla="*/ 553690 h 556732"/>
                <a:gd name="connsiteX2" fmla="*/ 34290 w 101219"/>
                <a:gd name="connsiteY2" fmla="*/ 498930 h 556732"/>
                <a:gd name="connsiteX3" fmla="*/ 825 w 101219"/>
                <a:gd name="connsiteY3" fmla="*/ 346817 h 556732"/>
                <a:gd name="connsiteX4" fmla="*/ 89050 w 101219"/>
                <a:gd name="connsiteY4" fmla="*/ 3042 h 556732"/>
                <a:gd name="connsiteX5" fmla="*/ 98178 w 101219"/>
                <a:gd name="connsiteY5" fmla="*/ 0 h 556732"/>
                <a:gd name="connsiteX6" fmla="*/ 101219 w 101219"/>
                <a:gd name="connsiteY6" fmla="*/ 9127 h 556732"/>
                <a:gd name="connsiteX7" fmla="*/ 12994 w 101219"/>
                <a:gd name="connsiteY7" fmla="*/ 346817 h 556732"/>
                <a:gd name="connsiteX8" fmla="*/ 46459 w 101219"/>
                <a:gd name="connsiteY8" fmla="*/ 495887 h 556732"/>
                <a:gd name="connsiteX9" fmla="*/ 61670 w 101219"/>
                <a:gd name="connsiteY9" fmla="*/ 550648 h 556732"/>
                <a:gd name="connsiteX10" fmla="*/ 55585 w 101219"/>
                <a:gd name="connsiteY10" fmla="*/ 556733 h 556732"/>
                <a:gd name="connsiteX11" fmla="*/ 55585 w 101219"/>
                <a:gd name="connsiteY11" fmla="*/ 556733 h 556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219" h="556732">
                  <a:moveTo>
                    <a:pt x="55585" y="556733"/>
                  </a:moveTo>
                  <a:cubicBezTo>
                    <a:pt x="52544" y="556733"/>
                    <a:pt x="49502" y="553690"/>
                    <a:pt x="49502" y="553690"/>
                  </a:cubicBezTo>
                  <a:cubicBezTo>
                    <a:pt x="43417" y="535437"/>
                    <a:pt x="40374" y="517183"/>
                    <a:pt x="34290" y="498930"/>
                  </a:cubicBezTo>
                  <a:cubicBezTo>
                    <a:pt x="19079" y="447211"/>
                    <a:pt x="3868" y="395493"/>
                    <a:pt x="825" y="346817"/>
                  </a:cubicBezTo>
                  <a:cubicBezTo>
                    <a:pt x="-5260" y="222085"/>
                    <a:pt x="22121" y="106479"/>
                    <a:pt x="89050" y="3042"/>
                  </a:cubicBezTo>
                  <a:cubicBezTo>
                    <a:pt x="92093" y="0"/>
                    <a:pt x="95135" y="0"/>
                    <a:pt x="98178" y="0"/>
                  </a:cubicBezTo>
                  <a:cubicBezTo>
                    <a:pt x="101219" y="3042"/>
                    <a:pt x="101219" y="6084"/>
                    <a:pt x="101219" y="9127"/>
                  </a:cubicBezTo>
                  <a:cubicBezTo>
                    <a:pt x="37333" y="112563"/>
                    <a:pt x="6910" y="225127"/>
                    <a:pt x="12994" y="346817"/>
                  </a:cubicBezTo>
                  <a:cubicBezTo>
                    <a:pt x="16037" y="392451"/>
                    <a:pt x="31248" y="444169"/>
                    <a:pt x="46459" y="495887"/>
                  </a:cubicBezTo>
                  <a:cubicBezTo>
                    <a:pt x="52544" y="514141"/>
                    <a:pt x="58628" y="532394"/>
                    <a:pt x="61670" y="550648"/>
                  </a:cubicBezTo>
                  <a:cubicBezTo>
                    <a:pt x="61670" y="553690"/>
                    <a:pt x="58628" y="556733"/>
                    <a:pt x="55585" y="556733"/>
                  </a:cubicBezTo>
                  <a:cubicBezTo>
                    <a:pt x="55585" y="556733"/>
                    <a:pt x="55585" y="556733"/>
                    <a:pt x="55585" y="556733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3E916C70-F61F-4A24-8FEA-C9FBED5404E0}"/>
                </a:ext>
              </a:extLst>
            </p:cNvPr>
            <p:cNvSpPr/>
            <p:nvPr/>
          </p:nvSpPr>
          <p:spPr>
            <a:xfrm>
              <a:off x="15658567" y="9289377"/>
              <a:ext cx="399795" cy="36313"/>
            </a:xfrm>
            <a:custGeom>
              <a:avLst/>
              <a:gdLst>
                <a:gd name="connsiteX0" fmla="*/ 6085 w 399795"/>
                <a:gd name="connsiteY0" fmla="*/ 36313 h 36313"/>
                <a:gd name="connsiteX1" fmla="*/ 0 w 399795"/>
                <a:gd name="connsiteY1" fmla="*/ 33271 h 36313"/>
                <a:gd name="connsiteX2" fmla="*/ 3042 w 399795"/>
                <a:gd name="connsiteY2" fmla="*/ 27187 h 36313"/>
                <a:gd name="connsiteX3" fmla="*/ 395493 w 399795"/>
                <a:gd name="connsiteY3" fmla="*/ 15018 h 36313"/>
                <a:gd name="connsiteX4" fmla="*/ 398535 w 399795"/>
                <a:gd name="connsiteY4" fmla="*/ 21102 h 36313"/>
                <a:gd name="connsiteX5" fmla="*/ 392451 w 399795"/>
                <a:gd name="connsiteY5" fmla="*/ 24144 h 36313"/>
                <a:gd name="connsiteX6" fmla="*/ 6085 w 399795"/>
                <a:gd name="connsiteY6" fmla="*/ 36313 h 36313"/>
                <a:gd name="connsiteX7" fmla="*/ 6085 w 399795"/>
                <a:gd name="connsiteY7" fmla="*/ 36313 h 3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9795" h="36313">
                  <a:moveTo>
                    <a:pt x="6085" y="36313"/>
                  </a:moveTo>
                  <a:cubicBezTo>
                    <a:pt x="3042" y="36313"/>
                    <a:pt x="3042" y="36313"/>
                    <a:pt x="0" y="33271"/>
                  </a:cubicBezTo>
                  <a:cubicBezTo>
                    <a:pt x="0" y="30229"/>
                    <a:pt x="0" y="27187"/>
                    <a:pt x="3042" y="27187"/>
                  </a:cubicBezTo>
                  <a:cubicBezTo>
                    <a:pt x="88225" y="-3236"/>
                    <a:pt x="295099" y="-9321"/>
                    <a:pt x="395493" y="15018"/>
                  </a:cubicBezTo>
                  <a:cubicBezTo>
                    <a:pt x="398535" y="15018"/>
                    <a:pt x="401578" y="18060"/>
                    <a:pt x="398535" y="21102"/>
                  </a:cubicBezTo>
                  <a:cubicBezTo>
                    <a:pt x="398535" y="24144"/>
                    <a:pt x="395493" y="27187"/>
                    <a:pt x="392451" y="24144"/>
                  </a:cubicBezTo>
                  <a:cubicBezTo>
                    <a:pt x="298141" y="-194"/>
                    <a:pt x="91268" y="5891"/>
                    <a:pt x="6085" y="36313"/>
                  </a:cubicBezTo>
                  <a:cubicBezTo>
                    <a:pt x="9127" y="36313"/>
                    <a:pt x="9127" y="36313"/>
                    <a:pt x="6085" y="36313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2818F614-E18D-49BF-A769-529E2EE0F6CF}"/>
                </a:ext>
              </a:extLst>
            </p:cNvPr>
            <p:cNvSpPr/>
            <p:nvPr/>
          </p:nvSpPr>
          <p:spPr>
            <a:xfrm>
              <a:off x="16148370" y="8368942"/>
              <a:ext cx="77416" cy="113805"/>
            </a:xfrm>
            <a:custGeom>
              <a:avLst/>
              <a:gdLst>
                <a:gd name="connsiteX0" fmla="*/ 12169 w 77416"/>
                <a:gd name="connsiteY0" fmla="*/ 16693 h 113805"/>
                <a:gd name="connsiteX1" fmla="*/ 69972 w 77416"/>
                <a:gd name="connsiteY1" fmla="*/ 7566 h 113805"/>
                <a:gd name="connsiteX2" fmla="*/ 12169 w 77416"/>
                <a:gd name="connsiteY2" fmla="*/ 111003 h 113805"/>
                <a:gd name="connsiteX3" fmla="*/ 12169 w 77416"/>
                <a:gd name="connsiteY3" fmla="*/ 16693 h 113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416" h="113805">
                  <a:moveTo>
                    <a:pt x="12169" y="16693"/>
                  </a:moveTo>
                  <a:cubicBezTo>
                    <a:pt x="12169" y="16693"/>
                    <a:pt x="45634" y="-13730"/>
                    <a:pt x="69972" y="7566"/>
                  </a:cubicBezTo>
                  <a:cubicBezTo>
                    <a:pt x="94310" y="25820"/>
                    <a:pt x="54760" y="132299"/>
                    <a:pt x="12169" y="111003"/>
                  </a:cubicBezTo>
                  <a:cubicBezTo>
                    <a:pt x="-15211" y="92749"/>
                    <a:pt x="12169" y="16693"/>
                    <a:pt x="12169" y="16693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2250D965-6CCC-49EF-9102-4045CDC740E8}"/>
                </a:ext>
              </a:extLst>
            </p:cNvPr>
            <p:cNvSpPr/>
            <p:nvPr/>
          </p:nvSpPr>
          <p:spPr>
            <a:xfrm>
              <a:off x="15713328" y="8248733"/>
              <a:ext cx="146027" cy="164281"/>
            </a:xfrm>
            <a:custGeom>
              <a:avLst/>
              <a:gdLst>
                <a:gd name="connsiteX0" fmla="*/ 6084 w 146027"/>
                <a:gd name="connsiteY0" fmla="*/ 164282 h 164281"/>
                <a:gd name="connsiteX1" fmla="*/ 6084 w 146027"/>
                <a:gd name="connsiteY1" fmla="*/ 164282 h 164281"/>
                <a:gd name="connsiteX2" fmla="*/ 0 w 146027"/>
                <a:gd name="connsiteY2" fmla="*/ 158197 h 164281"/>
                <a:gd name="connsiteX3" fmla="*/ 139943 w 146027"/>
                <a:gd name="connsiteY3" fmla="*/ 0 h 164281"/>
                <a:gd name="connsiteX4" fmla="*/ 146028 w 146027"/>
                <a:gd name="connsiteY4" fmla="*/ 3042 h 164281"/>
                <a:gd name="connsiteX5" fmla="*/ 142985 w 146027"/>
                <a:gd name="connsiteY5" fmla="*/ 9127 h 164281"/>
                <a:gd name="connsiteX6" fmla="*/ 12169 w 146027"/>
                <a:gd name="connsiteY6" fmla="*/ 158197 h 164281"/>
                <a:gd name="connsiteX7" fmla="*/ 6084 w 146027"/>
                <a:gd name="connsiteY7" fmla="*/ 164282 h 164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027" h="164281">
                  <a:moveTo>
                    <a:pt x="6084" y="164282"/>
                  </a:moveTo>
                  <a:cubicBezTo>
                    <a:pt x="6084" y="164282"/>
                    <a:pt x="6084" y="164282"/>
                    <a:pt x="6084" y="164282"/>
                  </a:cubicBezTo>
                  <a:cubicBezTo>
                    <a:pt x="3042" y="164282"/>
                    <a:pt x="0" y="161240"/>
                    <a:pt x="0" y="158197"/>
                  </a:cubicBezTo>
                  <a:cubicBezTo>
                    <a:pt x="24338" y="30423"/>
                    <a:pt x="139943" y="0"/>
                    <a:pt x="139943" y="0"/>
                  </a:cubicBezTo>
                  <a:cubicBezTo>
                    <a:pt x="142985" y="0"/>
                    <a:pt x="146028" y="0"/>
                    <a:pt x="146028" y="3042"/>
                  </a:cubicBezTo>
                  <a:cubicBezTo>
                    <a:pt x="146028" y="6084"/>
                    <a:pt x="146028" y="9127"/>
                    <a:pt x="142985" y="9127"/>
                  </a:cubicBezTo>
                  <a:cubicBezTo>
                    <a:pt x="142985" y="9127"/>
                    <a:pt x="36506" y="39549"/>
                    <a:pt x="12169" y="158197"/>
                  </a:cubicBezTo>
                  <a:cubicBezTo>
                    <a:pt x="12169" y="161240"/>
                    <a:pt x="9126" y="164282"/>
                    <a:pt x="6084" y="164282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043F4002-D28C-49CD-978E-42DD5B63660F}"/>
                </a:ext>
              </a:extLst>
            </p:cNvPr>
            <p:cNvSpPr/>
            <p:nvPr/>
          </p:nvSpPr>
          <p:spPr>
            <a:xfrm>
              <a:off x="16078398" y="8193972"/>
              <a:ext cx="110780" cy="185577"/>
            </a:xfrm>
            <a:custGeom>
              <a:avLst/>
              <a:gdLst>
                <a:gd name="connsiteX0" fmla="*/ 106479 w 110780"/>
                <a:gd name="connsiteY0" fmla="*/ 185578 h 185577"/>
                <a:gd name="connsiteX1" fmla="*/ 100394 w 110780"/>
                <a:gd name="connsiteY1" fmla="*/ 179493 h 185577"/>
                <a:gd name="connsiteX2" fmla="*/ 54760 w 110780"/>
                <a:gd name="connsiteY2" fmla="*/ 73014 h 185577"/>
                <a:gd name="connsiteX3" fmla="*/ 0 w 110780"/>
                <a:gd name="connsiteY3" fmla="*/ 6084 h 185577"/>
                <a:gd name="connsiteX4" fmla="*/ 3042 w 110780"/>
                <a:gd name="connsiteY4" fmla="*/ 0 h 185577"/>
                <a:gd name="connsiteX5" fmla="*/ 9126 w 110780"/>
                <a:gd name="connsiteY5" fmla="*/ 3042 h 185577"/>
                <a:gd name="connsiteX6" fmla="*/ 57803 w 110780"/>
                <a:gd name="connsiteY6" fmla="*/ 66929 h 185577"/>
                <a:gd name="connsiteX7" fmla="*/ 109520 w 110780"/>
                <a:gd name="connsiteY7" fmla="*/ 179493 h 185577"/>
                <a:gd name="connsiteX8" fmla="*/ 106479 w 110780"/>
                <a:gd name="connsiteY8" fmla="*/ 185578 h 185577"/>
                <a:gd name="connsiteX9" fmla="*/ 106479 w 110780"/>
                <a:gd name="connsiteY9" fmla="*/ 185578 h 185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780" h="185577">
                  <a:moveTo>
                    <a:pt x="106479" y="185578"/>
                  </a:moveTo>
                  <a:cubicBezTo>
                    <a:pt x="103436" y="185578"/>
                    <a:pt x="100394" y="182535"/>
                    <a:pt x="100394" y="179493"/>
                  </a:cubicBezTo>
                  <a:cubicBezTo>
                    <a:pt x="100394" y="167324"/>
                    <a:pt x="91268" y="100394"/>
                    <a:pt x="54760" y="73014"/>
                  </a:cubicBezTo>
                  <a:cubicBezTo>
                    <a:pt x="21295" y="48676"/>
                    <a:pt x="3042" y="6084"/>
                    <a:pt x="0" y="6084"/>
                  </a:cubicBezTo>
                  <a:cubicBezTo>
                    <a:pt x="0" y="3042"/>
                    <a:pt x="0" y="0"/>
                    <a:pt x="3042" y="0"/>
                  </a:cubicBezTo>
                  <a:cubicBezTo>
                    <a:pt x="6084" y="0"/>
                    <a:pt x="9126" y="0"/>
                    <a:pt x="9126" y="3042"/>
                  </a:cubicBezTo>
                  <a:cubicBezTo>
                    <a:pt x="9126" y="3042"/>
                    <a:pt x="27380" y="42592"/>
                    <a:pt x="57803" y="66929"/>
                  </a:cubicBezTo>
                  <a:cubicBezTo>
                    <a:pt x="97352" y="94310"/>
                    <a:pt x="106479" y="167324"/>
                    <a:pt x="109520" y="179493"/>
                  </a:cubicBezTo>
                  <a:cubicBezTo>
                    <a:pt x="112563" y="182535"/>
                    <a:pt x="109520" y="185578"/>
                    <a:pt x="106479" y="185578"/>
                  </a:cubicBezTo>
                  <a:cubicBezTo>
                    <a:pt x="106479" y="185578"/>
                    <a:pt x="106479" y="185578"/>
                    <a:pt x="106479" y="185578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AAB9FCFB-CE2F-4F39-AD65-958463ECE79E}"/>
                </a:ext>
              </a:extLst>
            </p:cNvPr>
            <p:cNvSpPr/>
            <p:nvPr/>
          </p:nvSpPr>
          <p:spPr>
            <a:xfrm>
              <a:off x="15795468" y="8759832"/>
              <a:ext cx="358986" cy="155154"/>
            </a:xfrm>
            <a:custGeom>
              <a:avLst/>
              <a:gdLst>
                <a:gd name="connsiteX0" fmla="*/ 36507 w 358986"/>
                <a:gd name="connsiteY0" fmla="*/ 6084 h 155154"/>
                <a:gd name="connsiteX1" fmla="*/ 139944 w 358986"/>
                <a:gd name="connsiteY1" fmla="*/ 121690 h 155154"/>
                <a:gd name="connsiteX2" fmla="*/ 334648 w 358986"/>
                <a:gd name="connsiteY2" fmla="*/ 0 h 155154"/>
                <a:gd name="connsiteX3" fmla="*/ 358986 w 358986"/>
                <a:gd name="connsiteY3" fmla="*/ 9127 h 155154"/>
                <a:gd name="connsiteX4" fmla="*/ 136901 w 358986"/>
                <a:gd name="connsiteY4" fmla="*/ 155155 h 155154"/>
                <a:gd name="connsiteX5" fmla="*/ 0 w 358986"/>
                <a:gd name="connsiteY5" fmla="*/ 15211 h 155154"/>
                <a:gd name="connsiteX6" fmla="*/ 36507 w 358986"/>
                <a:gd name="connsiteY6" fmla="*/ 6084 h 155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8986" h="155154">
                  <a:moveTo>
                    <a:pt x="36507" y="6084"/>
                  </a:moveTo>
                  <a:lnTo>
                    <a:pt x="139944" y="121690"/>
                  </a:lnTo>
                  <a:cubicBezTo>
                    <a:pt x="139944" y="121690"/>
                    <a:pt x="270760" y="21296"/>
                    <a:pt x="334648" y="0"/>
                  </a:cubicBezTo>
                  <a:lnTo>
                    <a:pt x="358986" y="9127"/>
                  </a:lnTo>
                  <a:lnTo>
                    <a:pt x="136901" y="155155"/>
                  </a:lnTo>
                  <a:lnTo>
                    <a:pt x="0" y="15211"/>
                  </a:lnTo>
                  <a:cubicBezTo>
                    <a:pt x="0" y="12169"/>
                    <a:pt x="15211" y="6084"/>
                    <a:pt x="36507" y="6084"/>
                  </a:cubicBezTo>
                  <a:close/>
                </a:path>
              </a:pathLst>
            </a:custGeom>
            <a:solidFill>
              <a:srgbClr val="D16156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EF6E02B6-E95B-4CB2-9514-31928A37CCB3}"/>
                </a:ext>
              </a:extLst>
            </p:cNvPr>
            <p:cNvSpPr/>
            <p:nvPr/>
          </p:nvSpPr>
          <p:spPr>
            <a:xfrm>
              <a:off x="15631187" y="9702930"/>
              <a:ext cx="675380" cy="48676"/>
            </a:xfrm>
            <a:custGeom>
              <a:avLst/>
              <a:gdLst>
                <a:gd name="connsiteX0" fmla="*/ 203831 w 675380"/>
                <a:gd name="connsiteY0" fmla="*/ 48676 h 48676"/>
                <a:gd name="connsiteX1" fmla="*/ 3042 w 675380"/>
                <a:gd name="connsiteY1" fmla="*/ 27381 h 48676"/>
                <a:gd name="connsiteX2" fmla="*/ 0 w 675380"/>
                <a:gd name="connsiteY2" fmla="*/ 21296 h 48676"/>
                <a:gd name="connsiteX3" fmla="*/ 6085 w 675380"/>
                <a:gd name="connsiteY3" fmla="*/ 18254 h 48676"/>
                <a:gd name="connsiteX4" fmla="*/ 669296 w 675380"/>
                <a:gd name="connsiteY4" fmla="*/ 0 h 48676"/>
                <a:gd name="connsiteX5" fmla="*/ 675381 w 675380"/>
                <a:gd name="connsiteY5" fmla="*/ 6085 h 48676"/>
                <a:gd name="connsiteX6" fmla="*/ 669296 w 675380"/>
                <a:gd name="connsiteY6" fmla="*/ 12170 h 48676"/>
                <a:gd name="connsiteX7" fmla="*/ 203831 w 675380"/>
                <a:gd name="connsiteY7" fmla="*/ 48676 h 48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5380" h="48676">
                  <a:moveTo>
                    <a:pt x="203831" y="48676"/>
                  </a:moveTo>
                  <a:cubicBezTo>
                    <a:pt x="54760" y="48676"/>
                    <a:pt x="6085" y="27381"/>
                    <a:pt x="3042" y="27381"/>
                  </a:cubicBezTo>
                  <a:cubicBezTo>
                    <a:pt x="0" y="27381"/>
                    <a:pt x="0" y="24339"/>
                    <a:pt x="0" y="21296"/>
                  </a:cubicBezTo>
                  <a:cubicBezTo>
                    <a:pt x="0" y="18254"/>
                    <a:pt x="3042" y="18254"/>
                    <a:pt x="6085" y="18254"/>
                  </a:cubicBezTo>
                  <a:cubicBezTo>
                    <a:pt x="6085" y="18254"/>
                    <a:pt x="142986" y="73015"/>
                    <a:pt x="669296" y="0"/>
                  </a:cubicBezTo>
                  <a:cubicBezTo>
                    <a:pt x="672338" y="0"/>
                    <a:pt x="675381" y="3042"/>
                    <a:pt x="675381" y="6085"/>
                  </a:cubicBezTo>
                  <a:cubicBezTo>
                    <a:pt x="675381" y="9127"/>
                    <a:pt x="672338" y="12170"/>
                    <a:pt x="669296" y="12170"/>
                  </a:cubicBezTo>
                  <a:cubicBezTo>
                    <a:pt x="456338" y="39550"/>
                    <a:pt x="307268" y="48676"/>
                    <a:pt x="203831" y="48676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72ECBC93-4D8E-4336-B0D9-1E68C8354AC5}"/>
                </a:ext>
              </a:extLst>
            </p:cNvPr>
            <p:cNvSpPr/>
            <p:nvPr/>
          </p:nvSpPr>
          <p:spPr>
            <a:xfrm>
              <a:off x="15921671" y="8671606"/>
              <a:ext cx="238867" cy="410704"/>
            </a:xfrm>
            <a:custGeom>
              <a:avLst/>
              <a:gdLst>
                <a:gd name="connsiteX0" fmla="*/ 205403 w 238867"/>
                <a:gd name="connsiteY0" fmla="*/ 0 h 410704"/>
                <a:gd name="connsiteX1" fmla="*/ 28952 w 238867"/>
                <a:gd name="connsiteY1" fmla="*/ 194705 h 410704"/>
                <a:gd name="connsiteX2" fmla="*/ 10699 w 238867"/>
                <a:gd name="connsiteY2" fmla="*/ 389409 h 410704"/>
                <a:gd name="connsiteX3" fmla="*/ 56332 w 238867"/>
                <a:gd name="connsiteY3" fmla="*/ 389409 h 410704"/>
                <a:gd name="connsiteX4" fmla="*/ 132389 w 238867"/>
                <a:gd name="connsiteY4" fmla="*/ 410704 h 410704"/>
                <a:gd name="connsiteX5" fmla="*/ 174980 w 238867"/>
                <a:gd name="connsiteY5" fmla="*/ 383324 h 410704"/>
                <a:gd name="connsiteX6" fmla="*/ 238868 w 238867"/>
                <a:gd name="connsiteY6" fmla="*/ 36507 h 410704"/>
                <a:gd name="connsiteX7" fmla="*/ 205403 w 238867"/>
                <a:gd name="connsiteY7" fmla="*/ 0 h 410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8867" h="410704">
                  <a:moveTo>
                    <a:pt x="205403" y="0"/>
                  </a:moveTo>
                  <a:cubicBezTo>
                    <a:pt x="205403" y="0"/>
                    <a:pt x="65460" y="91268"/>
                    <a:pt x="28952" y="194705"/>
                  </a:cubicBezTo>
                  <a:cubicBezTo>
                    <a:pt x="-7555" y="301183"/>
                    <a:pt x="-4513" y="380282"/>
                    <a:pt x="10699" y="389409"/>
                  </a:cubicBezTo>
                  <a:cubicBezTo>
                    <a:pt x="22867" y="398535"/>
                    <a:pt x="38079" y="380282"/>
                    <a:pt x="56332" y="389409"/>
                  </a:cubicBezTo>
                  <a:cubicBezTo>
                    <a:pt x="74586" y="398535"/>
                    <a:pt x="120220" y="410704"/>
                    <a:pt x="132389" y="410704"/>
                  </a:cubicBezTo>
                  <a:cubicBezTo>
                    <a:pt x="147600" y="410704"/>
                    <a:pt x="181065" y="395493"/>
                    <a:pt x="174980" y="383324"/>
                  </a:cubicBezTo>
                  <a:cubicBezTo>
                    <a:pt x="168896" y="371155"/>
                    <a:pt x="214530" y="63888"/>
                    <a:pt x="238868" y="36507"/>
                  </a:cubicBezTo>
                  <a:lnTo>
                    <a:pt x="205403" y="0"/>
                  </a:ln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76AD5D14-E99E-410E-9DD8-6874B4213836}"/>
                </a:ext>
              </a:extLst>
            </p:cNvPr>
            <p:cNvSpPr/>
            <p:nvPr/>
          </p:nvSpPr>
          <p:spPr>
            <a:xfrm>
              <a:off x="16072314" y="8658840"/>
              <a:ext cx="104816" cy="78666"/>
            </a:xfrm>
            <a:custGeom>
              <a:avLst/>
              <a:gdLst>
                <a:gd name="connsiteX0" fmla="*/ 0 w 104816"/>
                <a:gd name="connsiteY0" fmla="*/ 15808 h 78666"/>
                <a:gd name="connsiteX1" fmla="*/ 18254 w 104816"/>
                <a:gd name="connsiteY1" fmla="*/ 597 h 78666"/>
                <a:gd name="connsiteX2" fmla="*/ 94310 w 104816"/>
                <a:gd name="connsiteY2" fmla="*/ 24935 h 78666"/>
                <a:gd name="connsiteX3" fmla="*/ 100394 w 104816"/>
                <a:gd name="connsiteY3" fmla="*/ 52315 h 78666"/>
                <a:gd name="connsiteX4" fmla="*/ 82141 w 104816"/>
                <a:gd name="connsiteY4" fmla="*/ 76653 h 78666"/>
                <a:gd name="connsiteX5" fmla="*/ 15211 w 104816"/>
                <a:gd name="connsiteY5" fmla="*/ 55357 h 78666"/>
                <a:gd name="connsiteX6" fmla="*/ 6085 w 104816"/>
                <a:gd name="connsiteY6" fmla="*/ 40146 h 78666"/>
                <a:gd name="connsiteX7" fmla="*/ 0 w 104816"/>
                <a:gd name="connsiteY7" fmla="*/ 15808 h 78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816" h="78666">
                  <a:moveTo>
                    <a:pt x="0" y="15808"/>
                  </a:moveTo>
                  <a:cubicBezTo>
                    <a:pt x="0" y="6681"/>
                    <a:pt x="9126" y="-2446"/>
                    <a:pt x="18254" y="597"/>
                  </a:cubicBezTo>
                  <a:cubicBezTo>
                    <a:pt x="42591" y="9724"/>
                    <a:pt x="69971" y="15808"/>
                    <a:pt x="94310" y="24935"/>
                  </a:cubicBezTo>
                  <a:cubicBezTo>
                    <a:pt x="106479" y="27977"/>
                    <a:pt x="106479" y="46231"/>
                    <a:pt x="100394" y="52315"/>
                  </a:cubicBezTo>
                  <a:cubicBezTo>
                    <a:pt x="112564" y="61442"/>
                    <a:pt x="97352" y="85780"/>
                    <a:pt x="82141" y="76653"/>
                  </a:cubicBezTo>
                  <a:cubicBezTo>
                    <a:pt x="60845" y="64484"/>
                    <a:pt x="39549" y="58399"/>
                    <a:pt x="15211" y="55357"/>
                  </a:cubicBezTo>
                  <a:cubicBezTo>
                    <a:pt x="6085" y="55357"/>
                    <a:pt x="3042" y="46231"/>
                    <a:pt x="6085" y="40146"/>
                  </a:cubicBezTo>
                  <a:cubicBezTo>
                    <a:pt x="0" y="31019"/>
                    <a:pt x="0" y="21892"/>
                    <a:pt x="0" y="15808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A620621C-AA6A-4E75-9033-FB4BD93D4820}"/>
                </a:ext>
              </a:extLst>
            </p:cNvPr>
            <p:cNvSpPr/>
            <p:nvPr/>
          </p:nvSpPr>
          <p:spPr>
            <a:xfrm>
              <a:off x="15602234" y="8671606"/>
              <a:ext cx="238867" cy="410704"/>
            </a:xfrm>
            <a:custGeom>
              <a:avLst/>
              <a:gdLst>
                <a:gd name="connsiteX0" fmla="*/ 205403 w 238867"/>
                <a:gd name="connsiteY0" fmla="*/ 0 h 410704"/>
                <a:gd name="connsiteX1" fmla="*/ 28952 w 238867"/>
                <a:gd name="connsiteY1" fmla="*/ 194705 h 410704"/>
                <a:gd name="connsiteX2" fmla="*/ 10699 w 238867"/>
                <a:gd name="connsiteY2" fmla="*/ 389409 h 410704"/>
                <a:gd name="connsiteX3" fmla="*/ 56332 w 238867"/>
                <a:gd name="connsiteY3" fmla="*/ 389409 h 410704"/>
                <a:gd name="connsiteX4" fmla="*/ 132389 w 238867"/>
                <a:gd name="connsiteY4" fmla="*/ 410704 h 410704"/>
                <a:gd name="connsiteX5" fmla="*/ 174980 w 238867"/>
                <a:gd name="connsiteY5" fmla="*/ 383324 h 410704"/>
                <a:gd name="connsiteX6" fmla="*/ 238868 w 238867"/>
                <a:gd name="connsiteY6" fmla="*/ 36507 h 410704"/>
                <a:gd name="connsiteX7" fmla="*/ 205403 w 238867"/>
                <a:gd name="connsiteY7" fmla="*/ 0 h 410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8867" h="410704">
                  <a:moveTo>
                    <a:pt x="205403" y="0"/>
                  </a:moveTo>
                  <a:cubicBezTo>
                    <a:pt x="205403" y="0"/>
                    <a:pt x="65460" y="91268"/>
                    <a:pt x="28952" y="194705"/>
                  </a:cubicBezTo>
                  <a:cubicBezTo>
                    <a:pt x="-7555" y="301183"/>
                    <a:pt x="-4513" y="380282"/>
                    <a:pt x="10699" y="389409"/>
                  </a:cubicBezTo>
                  <a:cubicBezTo>
                    <a:pt x="25910" y="398535"/>
                    <a:pt x="38079" y="380282"/>
                    <a:pt x="56332" y="389409"/>
                  </a:cubicBezTo>
                  <a:cubicBezTo>
                    <a:pt x="74586" y="398535"/>
                    <a:pt x="120220" y="410704"/>
                    <a:pt x="132389" y="410704"/>
                  </a:cubicBezTo>
                  <a:cubicBezTo>
                    <a:pt x="147600" y="410704"/>
                    <a:pt x="181065" y="395493"/>
                    <a:pt x="174980" y="383324"/>
                  </a:cubicBezTo>
                  <a:cubicBezTo>
                    <a:pt x="168896" y="371155"/>
                    <a:pt x="214530" y="63888"/>
                    <a:pt x="238868" y="36507"/>
                  </a:cubicBezTo>
                  <a:lnTo>
                    <a:pt x="205403" y="0"/>
                  </a:ln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C59D90D6-F7DE-4E9F-BB15-5DF5F52E8286}"/>
                </a:ext>
              </a:extLst>
            </p:cNvPr>
            <p:cNvSpPr/>
            <p:nvPr/>
          </p:nvSpPr>
          <p:spPr>
            <a:xfrm>
              <a:off x="15752877" y="8658840"/>
              <a:ext cx="104816" cy="78666"/>
            </a:xfrm>
            <a:custGeom>
              <a:avLst/>
              <a:gdLst>
                <a:gd name="connsiteX0" fmla="*/ 0 w 104816"/>
                <a:gd name="connsiteY0" fmla="*/ 15808 h 78666"/>
                <a:gd name="connsiteX1" fmla="*/ 18254 w 104816"/>
                <a:gd name="connsiteY1" fmla="*/ 597 h 78666"/>
                <a:gd name="connsiteX2" fmla="*/ 94310 w 104816"/>
                <a:gd name="connsiteY2" fmla="*/ 24935 h 78666"/>
                <a:gd name="connsiteX3" fmla="*/ 100394 w 104816"/>
                <a:gd name="connsiteY3" fmla="*/ 52315 h 78666"/>
                <a:gd name="connsiteX4" fmla="*/ 82141 w 104816"/>
                <a:gd name="connsiteY4" fmla="*/ 76653 h 78666"/>
                <a:gd name="connsiteX5" fmla="*/ 15211 w 104816"/>
                <a:gd name="connsiteY5" fmla="*/ 55357 h 78666"/>
                <a:gd name="connsiteX6" fmla="*/ 6085 w 104816"/>
                <a:gd name="connsiteY6" fmla="*/ 40146 h 78666"/>
                <a:gd name="connsiteX7" fmla="*/ 0 w 104816"/>
                <a:gd name="connsiteY7" fmla="*/ 15808 h 78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816" h="78666">
                  <a:moveTo>
                    <a:pt x="0" y="15808"/>
                  </a:moveTo>
                  <a:cubicBezTo>
                    <a:pt x="0" y="6681"/>
                    <a:pt x="9126" y="-2446"/>
                    <a:pt x="18254" y="597"/>
                  </a:cubicBezTo>
                  <a:cubicBezTo>
                    <a:pt x="42591" y="9724"/>
                    <a:pt x="69971" y="15808"/>
                    <a:pt x="94310" y="24935"/>
                  </a:cubicBezTo>
                  <a:cubicBezTo>
                    <a:pt x="106479" y="27977"/>
                    <a:pt x="106479" y="46231"/>
                    <a:pt x="100394" y="52315"/>
                  </a:cubicBezTo>
                  <a:cubicBezTo>
                    <a:pt x="112564" y="61442"/>
                    <a:pt x="97352" y="85780"/>
                    <a:pt x="82141" y="76653"/>
                  </a:cubicBezTo>
                  <a:cubicBezTo>
                    <a:pt x="60845" y="64484"/>
                    <a:pt x="39549" y="58399"/>
                    <a:pt x="15211" y="55357"/>
                  </a:cubicBezTo>
                  <a:cubicBezTo>
                    <a:pt x="6085" y="55357"/>
                    <a:pt x="3042" y="46231"/>
                    <a:pt x="6085" y="40146"/>
                  </a:cubicBezTo>
                  <a:cubicBezTo>
                    <a:pt x="0" y="31019"/>
                    <a:pt x="0" y="21892"/>
                    <a:pt x="0" y="15808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4B7BB475-227C-4856-A15C-33857E222AE3}"/>
                </a:ext>
              </a:extLst>
            </p:cNvPr>
            <p:cNvSpPr/>
            <p:nvPr/>
          </p:nvSpPr>
          <p:spPr>
            <a:xfrm>
              <a:off x="16078398" y="8952805"/>
              <a:ext cx="579581" cy="984378"/>
            </a:xfrm>
            <a:custGeom>
              <a:avLst/>
              <a:gdLst>
                <a:gd name="connsiteX0" fmla="*/ 322478 w 579581"/>
                <a:gd name="connsiteY0" fmla="*/ 13900 h 984378"/>
                <a:gd name="connsiteX1" fmla="*/ 167324 w 579581"/>
                <a:gd name="connsiteY1" fmla="*/ 214688 h 984378"/>
                <a:gd name="connsiteX2" fmla="*/ 362028 w 579581"/>
                <a:gd name="connsiteY2" fmla="*/ 591928 h 984378"/>
                <a:gd name="connsiteX3" fmla="*/ 0 w 579581"/>
                <a:gd name="connsiteY3" fmla="*/ 883984 h 984378"/>
                <a:gd name="connsiteX4" fmla="*/ 124732 w 579581"/>
                <a:gd name="connsiteY4" fmla="*/ 984378 h 984378"/>
                <a:gd name="connsiteX5" fmla="*/ 578028 w 579581"/>
                <a:gd name="connsiteY5" fmla="*/ 610182 h 984378"/>
                <a:gd name="connsiteX6" fmla="*/ 322478 w 579581"/>
                <a:gd name="connsiteY6" fmla="*/ 13900 h 984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9581" h="984378">
                  <a:moveTo>
                    <a:pt x="322478" y="13900"/>
                  </a:moveTo>
                  <a:cubicBezTo>
                    <a:pt x="149070" y="-46945"/>
                    <a:pt x="94309" y="105167"/>
                    <a:pt x="167324" y="214688"/>
                  </a:cubicBezTo>
                  <a:cubicBezTo>
                    <a:pt x="240338" y="321167"/>
                    <a:pt x="365070" y="561505"/>
                    <a:pt x="362028" y="591928"/>
                  </a:cubicBezTo>
                  <a:cubicBezTo>
                    <a:pt x="322478" y="640604"/>
                    <a:pt x="0" y="883984"/>
                    <a:pt x="0" y="883984"/>
                  </a:cubicBezTo>
                  <a:cubicBezTo>
                    <a:pt x="30423" y="899196"/>
                    <a:pt x="124732" y="984378"/>
                    <a:pt x="124732" y="984378"/>
                  </a:cubicBezTo>
                  <a:cubicBezTo>
                    <a:pt x="124732" y="984378"/>
                    <a:pt x="550647" y="740998"/>
                    <a:pt x="578028" y="610182"/>
                  </a:cubicBezTo>
                  <a:cubicBezTo>
                    <a:pt x="593239" y="540209"/>
                    <a:pt x="495887" y="74745"/>
                    <a:pt x="322478" y="13900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BAF442BB-188F-46A3-85F6-23A9B5847A28}"/>
                </a:ext>
              </a:extLst>
            </p:cNvPr>
            <p:cNvSpPr/>
            <p:nvPr/>
          </p:nvSpPr>
          <p:spPr>
            <a:xfrm>
              <a:off x="16177771" y="8806273"/>
              <a:ext cx="423894" cy="443361"/>
            </a:xfrm>
            <a:custGeom>
              <a:avLst/>
              <a:gdLst>
                <a:gd name="connsiteX0" fmla="*/ 423894 w 423894"/>
                <a:gd name="connsiteY0" fmla="*/ 279080 h 443361"/>
                <a:gd name="connsiteX1" fmla="*/ 70993 w 423894"/>
                <a:gd name="connsiteY1" fmla="*/ 2234 h 443361"/>
                <a:gd name="connsiteX2" fmla="*/ 89246 w 423894"/>
                <a:gd name="connsiteY2" fmla="*/ 443361 h 443361"/>
                <a:gd name="connsiteX3" fmla="*/ 423894 w 423894"/>
                <a:gd name="connsiteY3" fmla="*/ 279080 h 443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894" h="443361">
                  <a:moveTo>
                    <a:pt x="423894" y="279080"/>
                  </a:moveTo>
                  <a:cubicBezTo>
                    <a:pt x="338712" y="114798"/>
                    <a:pt x="150092" y="-19061"/>
                    <a:pt x="70993" y="2234"/>
                  </a:cubicBezTo>
                  <a:cubicBezTo>
                    <a:pt x="-29401" y="29615"/>
                    <a:pt x="-23316" y="272995"/>
                    <a:pt x="89246" y="443361"/>
                  </a:cubicBezTo>
                  <a:cubicBezTo>
                    <a:pt x="165303" y="443361"/>
                    <a:pt x="350880" y="352093"/>
                    <a:pt x="423894" y="279080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0AC7E6B7-2056-4C27-8A94-CDBD0EDB130C}"/>
                </a:ext>
              </a:extLst>
            </p:cNvPr>
            <p:cNvSpPr/>
            <p:nvPr/>
          </p:nvSpPr>
          <p:spPr>
            <a:xfrm>
              <a:off x="16172362" y="8807156"/>
              <a:ext cx="243725" cy="448563"/>
            </a:xfrm>
            <a:custGeom>
              <a:avLst/>
              <a:gdLst>
                <a:gd name="connsiteX0" fmla="*/ 97698 w 243725"/>
                <a:gd name="connsiteY0" fmla="*/ 448564 h 448563"/>
                <a:gd name="connsiteX1" fmla="*/ 91613 w 243725"/>
                <a:gd name="connsiteY1" fmla="*/ 445521 h 448563"/>
                <a:gd name="connsiteX2" fmla="*/ 345 w 243725"/>
                <a:gd name="connsiteY2" fmla="*/ 156507 h 448563"/>
                <a:gd name="connsiteX3" fmla="*/ 345 w 243725"/>
                <a:gd name="connsiteY3" fmla="*/ 147380 h 448563"/>
                <a:gd name="connsiteX4" fmla="*/ 58149 w 243725"/>
                <a:gd name="connsiteY4" fmla="*/ 1352 h 448563"/>
                <a:gd name="connsiteX5" fmla="*/ 67275 w 243725"/>
                <a:gd name="connsiteY5" fmla="*/ 1352 h 448563"/>
                <a:gd name="connsiteX6" fmla="*/ 67275 w 243725"/>
                <a:gd name="connsiteY6" fmla="*/ 10479 h 448563"/>
                <a:gd name="connsiteX7" fmla="*/ 12515 w 243725"/>
                <a:gd name="connsiteY7" fmla="*/ 147380 h 448563"/>
                <a:gd name="connsiteX8" fmla="*/ 12515 w 243725"/>
                <a:gd name="connsiteY8" fmla="*/ 156507 h 448563"/>
                <a:gd name="connsiteX9" fmla="*/ 97698 w 243725"/>
                <a:gd name="connsiteY9" fmla="*/ 433352 h 448563"/>
                <a:gd name="connsiteX10" fmla="*/ 234599 w 243725"/>
                <a:gd name="connsiteY10" fmla="*/ 390761 h 448563"/>
                <a:gd name="connsiteX11" fmla="*/ 243726 w 243725"/>
                <a:gd name="connsiteY11" fmla="*/ 393803 h 448563"/>
                <a:gd name="connsiteX12" fmla="*/ 240684 w 243725"/>
                <a:gd name="connsiteY12" fmla="*/ 402930 h 448563"/>
                <a:gd name="connsiteX13" fmla="*/ 97698 w 243725"/>
                <a:gd name="connsiteY13" fmla="*/ 448564 h 448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3725" h="448563">
                  <a:moveTo>
                    <a:pt x="97698" y="448564"/>
                  </a:moveTo>
                  <a:cubicBezTo>
                    <a:pt x="94655" y="448564"/>
                    <a:pt x="91613" y="448564"/>
                    <a:pt x="91613" y="445521"/>
                  </a:cubicBezTo>
                  <a:cubicBezTo>
                    <a:pt x="70318" y="421183"/>
                    <a:pt x="-5739" y="266028"/>
                    <a:pt x="345" y="156507"/>
                  </a:cubicBezTo>
                  <a:cubicBezTo>
                    <a:pt x="345" y="153465"/>
                    <a:pt x="345" y="150423"/>
                    <a:pt x="345" y="147380"/>
                  </a:cubicBezTo>
                  <a:cubicBezTo>
                    <a:pt x="345" y="110873"/>
                    <a:pt x="3388" y="37859"/>
                    <a:pt x="58149" y="1352"/>
                  </a:cubicBezTo>
                  <a:cubicBezTo>
                    <a:pt x="61190" y="-1690"/>
                    <a:pt x="64233" y="1352"/>
                    <a:pt x="67275" y="1352"/>
                  </a:cubicBezTo>
                  <a:cubicBezTo>
                    <a:pt x="70318" y="1352"/>
                    <a:pt x="67275" y="7437"/>
                    <a:pt x="67275" y="10479"/>
                  </a:cubicBezTo>
                  <a:cubicBezTo>
                    <a:pt x="18599" y="43944"/>
                    <a:pt x="15557" y="113916"/>
                    <a:pt x="12515" y="147380"/>
                  </a:cubicBezTo>
                  <a:cubicBezTo>
                    <a:pt x="12515" y="150423"/>
                    <a:pt x="12515" y="153465"/>
                    <a:pt x="12515" y="156507"/>
                  </a:cubicBezTo>
                  <a:cubicBezTo>
                    <a:pt x="6430" y="256902"/>
                    <a:pt x="76402" y="405972"/>
                    <a:pt x="97698" y="433352"/>
                  </a:cubicBezTo>
                  <a:cubicBezTo>
                    <a:pt x="125078" y="433352"/>
                    <a:pt x="170712" y="424226"/>
                    <a:pt x="234599" y="390761"/>
                  </a:cubicBezTo>
                  <a:cubicBezTo>
                    <a:pt x="237642" y="390761"/>
                    <a:pt x="240684" y="390761"/>
                    <a:pt x="243726" y="393803"/>
                  </a:cubicBezTo>
                  <a:cubicBezTo>
                    <a:pt x="243726" y="396845"/>
                    <a:pt x="243726" y="399887"/>
                    <a:pt x="240684" y="402930"/>
                  </a:cubicBezTo>
                  <a:cubicBezTo>
                    <a:pt x="173754" y="439437"/>
                    <a:pt x="125078" y="448564"/>
                    <a:pt x="97698" y="448564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BF58E3D8-0251-4FF4-A90D-DEBFAC73C7C2}"/>
                </a:ext>
              </a:extLst>
            </p:cNvPr>
            <p:cNvSpPr/>
            <p:nvPr/>
          </p:nvSpPr>
          <p:spPr>
            <a:xfrm>
              <a:off x="15892095" y="9861127"/>
              <a:ext cx="174133" cy="100714"/>
            </a:xfrm>
            <a:custGeom>
              <a:avLst/>
              <a:gdLst>
                <a:gd name="connsiteX0" fmla="*/ 174134 w 174133"/>
                <a:gd name="connsiteY0" fmla="*/ 0 h 100714"/>
                <a:gd name="connsiteX1" fmla="*/ 52444 w 174133"/>
                <a:gd name="connsiteY1" fmla="*/ 30423 h 100714"/>
                <a:gd name="connsiteX2" fmla="*/ 726 w 174133"/>
                <a:gd name="connsiteY2" fmla="*/ 91268 h 100714"/>
                <a:gd name="connsiteX3" fmla="*/ 116331 w 174133"/>
                <a:gd name="connsiteY3" fmla="*/ 60845 h 100714"/>
                <a:gd name="connsiteX4" fmla="*/ 174134 w 174133"/>
                <a:gd name="connsiteY4" fmla="*/ 0 h 100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133" h="100714">
                  <a:moveTo>
                    <a:pt x="174134" y="0"/>
                  </a:moveTo>
                  <a:cubicBezTo>
                    <a:pt x="174134" y="0"/>
                    <a:pt x="76782" y="12169"/>
                    <a:pt x="52444" y="30423"/>
                  </a:cubicBezTo>
                  <a:cubicBezTo>
                    <a:pt x="28106" y="48676"/>
                    <a:pt x="-5359" y="76056"/>
                    <a:pt x="726" y="91268"/>
                  </a:cubicBezTo>
                  <a:cubicBezTo>
                    <a:pt x="18980" y="127775"/>
                    <a:pt x="82866" y="45634"/>
                    <a:pt x="116331" y="60845"/>
                  </a:cubicBezTo>
                  <a:cubicBezTo>
                    <a:pt x="128500" y="66930"/>
                    <a:pt x="174134" y="0"/>
                    <a:pt x="174134" y="0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A1265D38-88D4-48D7-AACF-D875973D89F9}"/>
                </a:ext>
              </a:extLst>
            </p:cNvPr>
            <p:cNvGrpSpPr/>
            <p:nvPr/>
          </p:nvGrpSpPr>
          <p:grpSpPr>
            <a:xfrm>
              <a:off x="14781368" y="9656266"/>
              <a:ext cx="1702680" cy="1654004"/>
              <a:chOff x="14781368" y="9656266"/>
              <a:chExt cx="1702680" cy="1654004"/>
            </a:xfrm>
          </p:grpSpPr>
          <p:grpSp>
            <p:nvGrpSpPr>
              <p:cNvPr id="58" name="图形 1">
                <a:extLst>
                  <a:ext uri="{FF2B5EF4-FFF2-40B4-BE49-F238E27FC236}">
                    <a16:creationId xmlns:a16="http://schemas.microsoft.com/office/drawing/2014/main" id="{D1E119C8-6E78-4D22-9CDF-D377B5FE8C11}"/>
                  </a:ext>
                </a:extLst>
              </p:cNvPr>
              <p:cNvGrpSpPr/>
              <p:nvPr/>
            </p:nvGrpSpPr>
            <p:grpSpPr>
              <a:xfrm>
                <a:off x="14781368" y="9656266"/>
                <a:ext cx="1702680" cy="1654004"/>
                <a:chOff x="14781368" y="9656266"/>
                <a:chExt cx="1702680" cy="1654004"/>
              </a:xfrm>
            </p:grpSpPr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95CBDB3A-F95F-4821-A4EA-0D4B0266AE07}"/>
                    </a:ext>
                  </a:extLst>
                </p:cNvPr>
                <p:cNvSpPr/>
                <p:nvPr/>
              </p:nvSpPr>
              <p:spPr>
                <a:xfrm>
                  <a:off x="15649480" y="9860665"/>
                  <a:ext cx="496309" cy="490728"/>
                </a:xfrm>
                <a:custGeom>
                  <a:avLst/>
                  <a:gdLst>
                    <a:gd name="connsiteX0" fmla="*/ 30383 w 496309"/>
                    <a:gd name="connsiteY0" fmla="*/ 152575 h 490728"/>
                    <a:gd name="connsiteX1" fmla="*/ 130777 w 496309"/>
                    <a:gd name="connsiteY1" fmla="*/ 40012 h 490728"/>
                    <a:gd name="connsiteX2" fmla="*/ 212918 w 496309"/>
                    <a:gd name="connsiteY2" fmla="*/ 463 h 490728"/>
                    <a:gd name="connsiteX3" fmla="*/ 301143 w 496309"/>
                    <a:gd name="connsiteY3" fmla="*/ 30885 h 490728"/>
                    <a:gd name="connsiteX4" fmla="*/ 456298 w 496309"/>
                    <a:gd name="connsiteY4" fmla="*/ 167787 h 490728"/>
                    <a:gd name="connsiteX5" fmla="*/ 495847 w 496309"/>
                    <a:gd name="connsiteY5" fmla="*/ 249928 h 490728"/>
                    <a:gd name="connsiteX6" fmla="*/ 465425 w 496309"/>
                    <a:gd name="connsiteY6" fmla="*/ 338153 h 490728"/>
                    <a:gd name="connsiteX7" fmla="*/ 365031 w 496309"/>
                    <a:gd name="connsiteY7" fmla="*/ 450716 h 490728"/>
                    <a:gd name="connsiteX8" fmla="*/ 282889 w 496309"/>
                    <a:gd name="connsiteY8" fmla="*/ 490266 h 490728"/>
                    <a:gd name="connsiteX9" fmla="*/ 194664 w 496309"/>
                    <a:gd name="connsiteY9" fmla="*/ 459843 h 490728"/>
                    <a:gd name="connsiteX10" fmla="*/ 39509 w 496309"/>
                    <a:gd name="connsiteY10" fmla="*/ 322942 h 490728"/>
                    <a:gd name="connsiteX11" fmla="*/ 39509 w 496309"/>
                    <a:gd name="connsiteY11" fmla="*/ 322942 h 490728"/>
                    <a:gd name="connsiteX12" fmla="*/ 18214 w 496309"/>
                    <a:gd name="connsiteY12" fmla="*/ 298603 h 490728"/>
                    <a:gd name="connsiteX13" fmla="*/ 30383 w 496309"/>
                    <a:gd name="connsiteY13" fmla="*/ 152575 h 490728"/>
                    <a:gd name="connsiteX14" fmla="*/ 234213 w 496309"/>
                    <a:gd name="connsiteY14" fmla="*/ 417252 h 490728"/>
                    <a:gd name="connsiteX15" fmla="*/ 279847 w 496309"/>
                    <a:gd name="connsiteY15" fmla="*/ 432463 h 490728"/>
                    <a:gd name="connsiteX16" fmla="*/ 322439 w 496309"/>
                    <a:gd name="connsiteY16" fmla="*/ 411167 h 490728"/>
                    <a:gd name="connsiteX17" fmla="*/ 422833 w 496309"/>
                    <a:gd name="connsiteY17" fmla="*/ 298603 h 490728"/>
                    <a:gd name="connsiteX18" fmla="*/ 438045 w 496309"/>
                    <a:gd name="connsiteY18" fmla="*/ 252969 h 490728"/>
                    <a:gd name="connsiteX19" fmla="*/ 416748 w 496309"/>
                    <a:gd name="connsiteY19" fmla="*/ 210378 h 490728"/>
                    <a:gd name="connsiteX20" fmla="*/ 261594 w 496309"/>
                    <a:gd name="connsiteY20" fmla="*/ 73477 h 490728"/>
                    <a:gd name="connsiteX21" fmla="*/ 215960 w 496309"/>
                    <a:gd name="connsiteY21" fmla="*/ 58265 h 490728"/>
                    <a:gd name="connsiteX22" fmla="*/ 173368 w 496309"/>
                    <a:gd name="connsiteY22" fmla="*/ 79561 h 490728"/>
                    <a:gd name="connsiteX23" fmla="*/ 72974 w 496309"/>
                    <a:gd name="connsiteY23" fmla="*/ 192124 h 490728"/>
                    <a:gd name="connsiteX24" fmla="*/ 79059 w 496309"/>
                    <a:gd name="connsiteY24" fmla="*/ 280350 h 490728"/>
                    <a:gd name="connsiteX25" fmla="*/ 234213 w 496309"/>
                    <a:gd name="connsiteY25" fmla="*/ 417252 h 490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496309" h="490728">
                      <a:moveTo>
                        <a:pt x="30383" y="152575"/>
                      </a:moveTo>
                      <a:lnTo>
                        <a:pt x="130777" y="40012"/>
                      </a:lnTo>
                      <a:cubicBezTo>
                        <a:pt x="152073" y="15674"/>
                        <a:pt x="182495" y="463"/>
                        <a:pt x="212918" y="463"/>
                      </a:cubicBezTo>
                      <a:cubicBezTo>
                        <a:pt x="246383" y="-2580"/>
                        <a:pt x="276805" y="9589"/>
                        <a:pt x="301143" y="30885"/>
                      </a:cubicBezTo>
                      <a:lnTo>
                        <a:pt x="456298" y="167787"/>
                      </a:lnTo>
                      <a:cubicBezTo>
                        <a:pt x="480636" y="189083"/>
                        <a:pt x="495847" y="219505"/>
                        <a:pt x="495847" y="249928"/>
                      </a:cubicBezTo>
                      <a:cubicBezTo>
                        <a:pt x="498890" y="283392"/>
                        <a:pt x="486721" y="313814"/>
                        <a:pt x="465425" y="338153"/>
                      </a:cubicBezTo>
                      <a:lnTo>
                        <a:pt x="365031" y="450716"/>
                      </a:lnTo>
                      <a:cubicBezTo>
                        <a:pt x="343735" y="475054"/>
                        <a:pt x="313312" y="490266"/>
                        <a:pt x="282889" y="490266"/>
                      </a:cubicBezTo>
                      <a:cubicBezTo>
                        <a:pt x="249424" y="493308"/>
                        <a:pt x="219002" y="481138"/>
                        <a:pt x="194664" y="459843"/>
                      </a:cubicBezTo>
                      <a:lnTo>
                        <a:pt x="39509" y="322942"/>
                      </a:lnTo>
                      <a:lnTo>
                        <a:pt x="39509" y="322942"/>
                      </a:lnTo>
                      <a:cubicBezTo>
                        <a:pt x="30383" y="313814"/>
                        <a:pt x="24298" y="307730"/>
                        <a:pt x="18214" y="298603"/>
                      </a:cubicBezTo>
                      <a:cubicBezTo>
                        <a:pt x="-9167" y="252969"/>
                        <a:pt x="-6125" y="195167"/>
                        <a:pt x="30383" y="152575"/>
                      </a:cubicBezTo>
                      <a:close/>
                      <a:moveTo>
                        <a:pt x="234213" y="417252"/>
                      </a:moveTo>
                      <a:cubicBezTo>
                        <a:pt x="246383" y="429421"/>
                        <a:pt x="261594" y="432463"/>
                        <a:pt x="279847" y="432463"/>
                      </a:cubicBezTo>
                      <a:cubicBezTo>
                        <a:pt x="295058" y="432463"/>
                        <a:pt x="310270" y="423336"/>
                        <a:pt x="322439" y="411167"/>
                      </a:cubicBezTo>
                      <a:lnTo>
                        <a:pt x="422833" y="298603"/>
                      </a:lnTo>
                      <a:cubicBezTo>
                        <a:pt x="435002" y="286434"/>
                        <a:pt x="438045" y="271223"/>
                        <a:pt x="438045" y="252969"/>
                      </a:cubicBezTo>
                      <a:cubicBezTo>
                        <a:pt x="438045" y="237758"/>
                        <a:pt x="428918" y="222547"/>
                        <a:pt x="416748" y="210378"/>
                      </a:cubicBezTo>
                      <a:lnTo>
                        <a:pt x="261594" y="73477"/>
                      </a:lnTo>
                      <a:cubicBezTo>
                        <a:pt x="249424" y="61308"/>
                        <a:pt x="234213" y="58265"/>
                        <a:pt x="215960" y="58265"/>
                      </a:cubicBezTo>
                      <a:cubicBezTo>
                        <a:pt x="200749" y="58265"/>
                        <a:pt x="185538" y="67393"/>
                        <a:pt x="173368" y="79561"/>
                      </a:cubicBezTo>
                      <a:lnTo>
                        <a:pt x="72974" y="192124"/>
                      </a:lnTo>
                      <a:cubicBezTo>
                        <a:pt x="51678" y="216463"/>
                        <a:pt x="51678" y="256012"/>
                        <a:pt x="79059" y="280350"/>
                      </a:cubicBezTo>
                      <a:lnTo>
                        <a:pt x="234213" y="417252"/>
                      </a:lnTo>
                      <a:close/>
                    </a:path>
                  </a:pathLst>
                </a:custGeom>
                <a:solidFill>
                  <a:srgbClr val="38343B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94AF5EDB-6F87-4E36-BF94-1D81432AADB1}"/>
                    </a:ext>
                  </a:extLst>
                </p:cNvPr>
                <p:cNvSpPr/>
                <p:nvPr/>
              </p:nvSpPr>
              <p:spPr>
                <a:xfrm>
                  <a:off x="14857424" y="9723196"/>
                  <a:ext cx="1626623" cy="1587074"/>
                </a:xfrm>
                <a:custGeom>
                  <a:avLst/>
                  <a:gdLst>
                    <a:gd name="connsiteX0" fmla="*/ 49707 w 1626623"/>
                    <a:gd name="connsiteY0" fmla="*/ 785931 h 1587074"/>
                    <a:gd name="connsiteX1" fmla="*/ 916749 w 1626623"/>
                    <a:gd name="connsiteY1" fmla="*/ 1549537 h 1587074"/>
                    <a:gd name="connsiteX2" fmla="*/ 1123622 w 1626623"/>
                    <a:gd name="connsiteY2" fmla="*/ 1537368 h 1587074"/>
                    <a:gd name="connsiteX3" fmla="*/ 1589086 w 1626623"/>
                    <a:gd name="connsiteY3" fmla="*/ 1008016 h 1587074"/>
                    <a:gd name="connsiteX4" fmla="*/ 1576917 w 1626623"/>
                    <a:gd name="connsiteY4" fmla="*/ 801143 h 1587074"/>
                    <a:gd name="connsiteX5" fmla="*/ 709875 w 1626623"/>
                    <a:gd name="connsiteY5" fmla="*/ 37538 h 1587074"/>
                    <a:gd name="connsiteX6" fmla="*/ 503002 w 1626623"/>
                    <a:gd name="connsiteY6" fmla="*/ 49707 h 1587074"/>
                    <a:gd name="connsiteX7" fmla="*/ 37537 w 1626623"/>
                    <a:gd name="connsiteY7" fmla="*/ 579059 h 1587074"/>
                    <a:gd name="connsiteX8" fmla="*/ 49707 w 1626623"/>
                    <a:gd name="connsiteY8" fmla="*/ 785931 h 1587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6623" h="1587074">
                      <a:moveTo>
                        <a:pt x="49707" y="785931"/>
                      </a:moveTo>
                      <a:lnTo>
                        <a:pt x="916749" y="1549537"/>
                      </a:lnTo>
                      <a:cubicBezTo>
                        <a:pt x="977594" y="1604298"/>
                        <a:pt x="1071903" y="1598213"/>
                        <a:pt x="1123622" y="1537368"/>
                      </a:cubicBezTo>
                      <a:lnTo>
                        <a:pt x="1589086" y="1008016"/>
                      </a:lnTo>
                      <a:cubicBezTo>
                        <a:pt x="1643847" y="947171"/>
                        <a:pt x="1637763" y="852861"/>
                        <a:pt x="1576917" y="801143"/>
                      </a:cubicBezTo>
                      <a:lnTo>
                        <a:pt x="709875" y="37538"/>
                      </a:lnTo>
                      <a:cubicBezTo>
                        <a:pt x="649030" y="-17223"/>
                        <a:pt x="554720" y="-11139"/>
                        <a:pt x="503002" y="49707"/>
                      </a:cubicBezTo>
                      <a:lnTo>
                        <a:pt x="37537" y="579059"/>
                      </a:lnTo>
                      <a:cubicBezTo>
                        <a:pt x="-17223" y="639904"/>
                        <a:pt x="-11138" y="731171"/>
                        <a:pt x="49707" y="785931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0A9B11B2-2A85-4AD9-8355-69744068D903}"/>
                    </a:ext>
                  </a:extLst>
                </p:cNvPr>
                <p:cNvSpPr/>
                <p:nvPr/>
              </p:nvSpPr>
              <p:spPr>
                <a:xfrm>
                  <a:off x="14781368" y="9656266"/>
                  <a:ext cx="1626623" cy="1587074"/>
                </a:xfrm>
                <a:custGeom>
                  <a:avLst/>
                  <a:gdLst>
                    <a:gd name="connsiteX0" fmla="*/ 49707 w 1626623"/>
                    <a:gd name="connsiteY0" fmla="*/ 785932 h 1587074"/>
                    <a:gd name="connsiteX1" fmla="*/ 916749 w 1626623"/>
                    <a:gd name="connsiteY1" fmla="*/ 1549538 h 1587074"/>
                    <a:gd name="connsiteX2" fmla="*/ 1123622 w 1626623"/>
                    <a:gd name="connsiteY2" fmla="*/ 1537368 h 1587074"/>
                    <a:gd name="connsiteX3" fmla="*/ 1589086 w 1626623"/>
                    <a:gd name="connsiteY3" fmla="*/ 1008016 h 1587074"/>
                    <a:gd name="connsiteX4" fmla="*/ 1576917 w 1626623"/>
                    <a:gd name="connsiteY4" fmla="*/ 801143 h 1587074"/>
                    <a:gd name="connsiteX5" fmla="*/ 709875 w 1626623"/>
                    <a:gd name="connsiteY5" fmla="*/ 37537 h 1587074"/>
                    <a:gd name="connsiteX6" fmla="*/ 503002 w 1626623"/>
                    <a:gd name="connsiteY6" fmla="*/ 49706 h 1587074"/>
                    <a:gd name="connsiteX7" fmla="*/ 37537 w 1626623"/>
                    <a:gd name="connsiteY7" fmla="*/ 579058 h 1587074"/>
                    <a:gd name="connsiteX8" fmla="*/ 49707 w 1626623"/>
                    <a:gd name="connsiteY8" fmla="*/ 785932 h 1587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6623" h="1587074">
                      <a:moveTo>
                        <a:pt x="49707" y="785932"/>
                      </a:moveTo>
                      <a:lnTo>
                        <a:pt x="916749" y="1549538"/>
                      </a:lnTo>
                      <a:cubicBezTo>
                        <a:pt x="977594" y="1604298"/>
                        <a:pt x="1071903" y="1598213"/>
                        <a:pt x="1123622" y="1537368"/>
                      </a:cubicBezTo>
                      <a:lnTo>
                        <a:pt x="1589086" y="1008016"/>
                      </a:lnTo>
                      <a:cubicBezTo>
                        <a:pt x="1643847" y="947171"/>
                        <a:pt x="1637763" y="852861"/>
                        <a:pt x="1576917" y="801143"/>
                      </a:cubicBezTo>
                      <a:lnTo>
                        <a:pt x="709875" y="37537"/>
                      </a:lnTo>
                      <a:cubicBezTo>
                        <a:pt x="649030" y="-17223"/>
                        <a:pt x="554720" y="-11139"/>
                        <a:pt x="503002" y="49706"/>
                      </a:cubicBezTo>
                      <a:lnTo>
                        <a:pt x="37537" y="579058"/>
                      </a:lnTo>
                      <a:cubicBezTo>
                        <a:pt x="-17223" y="639903"/>
                        <a:pt x="-11138" y="731171"/>
                        <a:pt x="49707" y="785932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2199723D-81CF-45D8-A86A-EAC11A993610}"/>
                  </a:ext>
                </a:extLst>
              </p:cNvPr>
              <p:cNvSpPr/>
              <p:nvPr/>
            </p:nvSpPr>
            <p:spPr>
              <a:xfrm>
                <a:off x="15111722" y="9886226"/>
                <a:ext cx="1096732" cy="978845"/>
              </a:xfrm>
              <a:custGeom>
                <a:avLst/>
                <a:gdLst>
                  <a:gd name="connsiteX0" fmla="*/ 1088367 w 1096732"/>
                  <a:gd name="connsiteY0" fmla="*/ 978845 h 978845"/>
                  <a:gd name="connsiteX1" fmla="*/ 1085324 w 1096732"/>
                  <a:gd name="connsiteY1" fmla="*/ 978845 h 978845"/>
                  <a:gd name="connsiteX2" fmla="*/ 2282 w 1096732"/>
                  <a:gd name="connsiteY2" fmla="*/ 11409 h 978845"/>
                  <a:gd name="connsiteX3" fmla="*/ 2282 w 1096732"/>
                  <a:gd name="connsiteY3" fmla="*/ 2282 h 978845"/>
                  <a:gd name="connsiteX4" fmla="*/ 11408 w 1096732"/>
                  <a:gd name="connsiteY4" fmla="*/ 2282 h 978845"/>
                  <a:gd name="connsiteX5" fmla="*/ 1094451 w 1096732"/>
                  <a:gd name="connsiteY5" fmla="*/ 966677 h 978845"/>
                  <a:gd name="connsiteX6" fmla="*/ 1094451 w 1096732"/>
                  <a:gd name="connsiteY6" fmla="*/ 975803 h 978845"/>
                  <a:gd name="connsiteX7" fmla="*/ 1088367 w 1096732"/>
                  <a:gd name="connsiteY7" fmla="*/ 978845 h 978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96732" h="978845">
                    <a:moveTo>
                      <a:pt x="1088367" y="978845"/>
                    </a:moveTo>
                    <a:cubicBezTo>
                      <a:pt x="1088367" y="978845"/>
                      <a:pt x="1085324" y="978845"/>
                      <a:pt x="1085324" y="978845"/>
                    </a:cubicBezTo>
                    <a:lnTo>
                      <a:pt x="2282" y="11409"/>
                    </a:lnTo>
                    <a:cubicBezTo>
                      <a:pt x="-761" y="8367"/>
                      <a:pt x="-761" y="5324"/>
                      <a:pt x="2282" y="2282"/>
                    </a:cubicBezTo>
                    <a:cubicBezTo>
                      <a:pt x="5324" y="-761"/>
                      <a:pt x="8367" y="-761"/>
                      <a:pt x="11408" y="2282"/>
                    </a:cubicBezTo>
                    <a:lnTo>
                      <a:pt x="1094451" y="966677"/>
                    </a:lnTo>
                    <a:cubicBezTo>
                      <a:pt x="1097493" y="969719"/>
                      <a:pt x="1097493" y="972761"/>
                      <a:pt x="1094451" y="975803"/>
                    </a:cubicBezTo>
                    <a:cubicBezTo>
                      <a:pt x="1091408" y="975803"/>
                      <a:pt x="1091408" y="978845"/>
                      <a:pt x="1088367" y="97884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565D4E22-D285-4A72-B50E-02AB4E875B39}"/>
                  </a:ext>
                </a:extLst>
              </p:cNvPr>
              <p:cNvSpPr/>
              <p:nvPr/>
            </p:nvSpPr>
            <p:spPr>
              <a:xfrm>
                <a:off x="15881365" y="10564601"/>
                <a:ext cx="138517" cy="138517"/>
              </a:xfrm>
              <a:custGeom>
                <a:avLst/>
                <a:gdLst>
                  <a:gd name="connsiteX0" fmla="*/ 32751 w 138517"/>
                  <a:gd name="connsiteY0" fmla="*/ 11456 h 138517"/>
                  <a:gd name="connsiteX1" fmla="*/ 127061 w 138517"/>
                  <a:gd name="connsiteY1" fmla="*/ 32752 h 138517"/>
                  <a:gd name="connsiteX2" fmla="*/ 105766 w 138517"/>
                  <a:gd name="connsiteY2" fmla="*/ 127061 h 138517"/>
                  <a:gd name="connsiteX3" fmla="*/ 11456 w 138517"/>
                  <a:gd name="connsiteY3" fmla="*/ 105766 h 138517"/>
                  <a:gd name="connsiteX4" fmla="*/ 32751 w 138517"/>
                  <a:gd name="connsiteY4" fmla="*/ 11456 h 138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517" h="138517">
                    <a:moveTo>
                      <a:pt x="32751" y="11456"/>
                    </a:moveTo>
                    <a:cubicBezTo>
                      <a:pt x="63174" y="-9840"/>
                      <a:pt x="105766" y="-713"/>
                      <a:pt x="127061" y="32752"/>
                    </a:cubicBezTo>
                    <a:cubicBezTo>
                      <a:pt x="148357" y="63175"/>
                      <a:pt x="139230" y="105766"/>
                      <a:pt x="105766" y="127061"/>
                    </a:cubicBezTo>
                    <a:cubicBezTo>
                      <a:pt x="75344" y="148357"/>
                      <a:pt x="32751" y="139231"/>
                      <a:pt x="11456" y="105766"/>
                    </a:cubicBezTo>
                    <a:cubicBezTo>
                      <a:pt x="-9840" y="75344"/>
                      <a:pt x="-713" y="32752"/>
                      <a:pt x="32751" y="11456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C670F606-C0B6-415C-9DC5-2AD0835C2A64}"/>
                  </a:ext>
                </a:extLst>
              </p:cNvPr>
              <p:cNvSpPr/>
              <p:nvPr/>
            </p:nvSpPr>
            <p:spPr>
              <a:xfrm>
                <a:off x="15338892" y="10086967"/>
                <a:ext cx="136427" cy="138517"/>
              </a:xfrm>
              <a:custGeom>
                <a:avLst/>
                <a:gdLst>
                  <a:gd name="connsiteX0" fmla="*/ 30661 w 136427"/>
                  <a:gd name="connsiteY0" fmla="*/ 11456 h 138517"/>
                  <a:gd name="connsiteX1" fmla="*/ 124971 w 136427"/>
                  <a:gd name="connsiteY1" fmla="*/ 32752 h 138517"/>
                  <a:gd name="connsiteX2" fmla="*/ 103675 w 136427"/>
                  <a:gd name="connsiteY2" fmla="*/ 127062 h 138517"/>
                  <a:gd name="connsiteX3" fmla="*/ 9366 w 136427"/>
                  <a:gd name="connsiteY3" fmla="*/ 105766 h 138517"/>
                  <a:gd name="connsiteX4" fmla="*/ 30661 w 136427"/>
                  <a:gd name="connsiteY4" fmla="*/ 11456 h 138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427" h="138517">
                    <a:moveTo>
                      <a:pt x="30661" y="11456"/>
                    </a:moveTo>
                    <a:cubicBezTo>
                      <a:pt x="61084" y="-9840"/>
                      <a:pt x="103675" y="-713"/>
                      <a:pt x="124971" y="32752"/>
                    </a:cubicBezTo>
                    <a:cubicBezTo>
                      <a:pt x="146267" y="63174"/>
                      <a:pt x="137140" y="105766"/>
                      <a:pt x="103675" y="127062"/>
                    </a:cubicBezTo>
                    <a:cubicBezTo>
                      <a:pt x="73252" y="148357"/>
                      <a:pt x="30661" y="139231"/>
                      <a:pt x="9366" y="105766"/>
                    </a:cubicBezTo>
                    <a:cubicBezTo>
                      <a:pt x="-8888" y="72301"/>
                      <a:pt x="239" y="29709"/>
                      <a:pt x="30661" y="11456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4" name="图形 1">
              <a:extLst>
                <a:ext uri="{FF2B5EF4-FFF2-40B4-BE49-F238E27FC236}">
                  <a16:creationId xmlns:a16="http://schemas.microsoft.com/office/drawing/2014/main" id="{81A96342-EB8D-4E23-9B24-09A9E4D33B88}"/>
                </a:ext>
              </a:extLst>
            </p:cNvPr>
            <p:cNvGrpSpPr/>
            <p:nvPr/>
          </p:nvGrpSpPr>
          <p:grpSpPr>
            <a:xfrm>
              <a:off x="15909076" y="9821578"/>
              <a:ext cx="310482" cy="263102"/>
              <a:chOff x="15909076" y="9821578"/>
              <a:chExt cx="310482" cy="263102"/>
            </a:xfrm>
          </p:grpSpPr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73D9DCA1-317F-48BB-8B5D-CD2E5D5CD86F}"/>
                  </a:ext>
                </a:extLst>
              </p:cNvPr>
              <p:cNvSpPr/>
              <p:nvPr/>
            </p:nvSpPr>
            <p:spPr>
              <a:xfrm>
                <a:off x="15914839" y="9821578"/>
                <a:ext cx="304719" cy="263102"/>
              </a:xfrm>
              <a:custGeom>
                <a:avLst/>
                <a:gdLst>
                  <a:gd name="connsiteX0" fmla="*/ 297419 w 304719"/>
                  <a:gd name="connsiteY0" fmla="*/ 66929 h 263102"/>
                  <a:gd name="connsiteX1" fmla="*/ 193982 w 304719"/>
                  <a:gd name="connsiteY1" fmla="*/ 0 h 263102"/>
                  <a:gd name="connsiteX2" fmla="*/ 29700 w 304719"/>
                  <a:gd name="connsiteY2" fmla="*/ 121690 h 263102"/>
                  <a:gd name="connsiteX3" fmla="*/ 5362 w 304719"/>
                  <a:gd name="connsiteY3" fmla="*/ 176450 h 263102"/>
                  <a:gd name="connsiteX4" fmla="*/ 38827 w 304719"/>
                  <a:gd name="connsiteY4" fmla="*/ 191662 h 263102"/>
                  <a:gd name="connsiteX5" fmla="*/ 78376 w 304719"/>
                  <a:gd name="connsiteY5" fmla="*/ 225127 h 263102"/>
                  <a:gd name="connsiteX6" fmla="*/ 96630 w 304719"/>
                  <a:gd name="connsiteY6" fmla="*/ 249464 h 263102"/>
                  <a:gd name="connsiteX7" fmla="*/ 136179 w 304719"/>
                  <a:gd name="connsiteY7" fmla="*/ 240338 h 263102"/>
                  <a:gd name="connsiteX8" fmla="*/ 184855 w 304719"/>
                  <a:gd name="connsiteY8" fmla="*/ 255549 h 263102"/>
                  <a:gd name="connsiteX9" fmla="*/ 224405 w 304719"/>
                  <a:gd name="connsiteY9" fmla="*/ 185577 h 263102"/>
                  <a:gd name="connsiteX10" fmla="*/ 288291 w 304719"/>
                  <a:gd name="connsiteY10" fmla="*/ 112563 h 263102"/>
                  <a:gd name="connsiteX11" fmla="*/ 297419 w 304719"/>
                  <a:gd name="connsiteY11" fmla="*/ 66929 h 263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4719" h="263102">
                    <a:moveTo>
                      <a:pt x="297419" y="66929"/>
                    </a:moveTo>
                    <a:cubicBezTo>
                      <a:pt x="279165" y="27380"/>
                      <a:pt x="236574" y="12169"/>
                      <a:pt x="193982" y="0"/>
                    </a:cubicBezTo>
                    <a:cubicBezTo>
                      <a:pt x="117926" y="39549"/>
                      <a:pt x="84461" y="54760"/>
                      <a:pt x="29700" y="121690"/>
                    </a:cubicBezTo>
                    <a:cubicBezTo>
                      <a:pt x="20573" y="130817"/>
                      <a:pt x="-12892" y="149070"/>
                      <a:pt x="5362" y="176450"/>
                    </a:cubicBezTo>
                    <a:cubicBezTo>
                      <a:pt x="11447" y="182535"/>
                      <a:pt x="20573" y="200788"/>
                      <a:pt x="38827" y="191662"/>
                    </a:cubicBezTo>
                    <a:cubicBezTo>
                      <a:pt x="32742" y="212958"/>
                      <a:pt x="66207" y="237295"/>
                      <a:pt x="78376" y="225127"/>
                    </a:cubicBezTo>
                    <a:cubicBezTo>
                      <a:pt x="78376" y="231211"/>
                      <a:pt x="90545" y="246422"/>
                      <a:pt x="96630" y="249464"/>
                    </a:cubicBezTo>
                    <a:cubicBezTo>
                      <a:pt x="111841" y="255549"/>
                      <a:pt x="124010" y="255549"/>
                      <a:pt x="136179" y="240338"/>
                    </a:cubicBezTo>
                    <a:cubicBezTo>
                      <a:pt x="145306" y="261633"/>
                      <a:pt x="166601" y="270760"/>
                      <a:pt x="184855" y="255549"/>
                    </a:cubicBezTo>
                    <a:cubicBezTo>
                      <a:pt x="209193" y="234253"/>
                      <a:pt x="206151" y="212958"/>
                      <a:pt x="224405" y="185577"/>
                    </a:cubicBezTo>
                    <a:cubicBezTo>
                      <a:pt x="242658" y="158197"/>
                      <a:pt x="266996" y="136901"/>
                      <a:pt x="288291" y="112563"/>
                    </a:cubicBezTo>
                    <a:cubicBezTo>
                      <a:pt x="306545" y="97352"/>
                      <a:pt x="309587" y="88225"/>
                      <a:pt x="297419" y="6692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F29A5F88-2C4B-45D8-A067-63007D7FF9AE}"/>
                  </a:ext>
                </a:extLst>
              </p:cNvPr>
              <p:cNvSpPr/>
              <p:nvPr/>
            </p:nvSpPr>
            <p:spPr>
              <a:xfrm>
                <a:off x="15909076" y="9881163"/>
                <a:ext cx="106695" cy="138161"/>
              </a:xfrm>
              <a:custGeom>
                <a:avLst/>
                <a:gdLst>
                  <a:gd name="connsiteX0" fmla="*/ 44590 w 106695"/>
                  <a:gd name="connsiteY0" fmla="*/ 138162 h 138161"/>
                  <a:gd name="connsiteX1" fmla="*/ 44590 w 106695"/>
                  <a:gd name="connsiteY1" fmla="*/ 138162 h 138161"/>
                  <a:gd name="connsiteX2" fmla="*/ 5040 w 106695"/>
                  <a:gd name="connsiteY2" fmla="*/ 116866 h 138161"/>
                  <a:gd name="connsiteX3" fmla="*/ 1999 w 106695"/>
                  <a:gd name="connsiteY3" fmla="*/ 89485 h 138161"/>
                  <a:gd name="connsiteX4" fmla="*/ 96308 w 106695"/>
                  <a:gd name="connsiteY4" fmla="*/ 1260 h 138161"/>
                  <a:gd name="connsiteX5" fmla="*/ 105435 w 106695"/>
                  <a:gd name="connsiteY5" fmla="*/ 4302 h 138161"/>
                  <a:gd name="connsiteX6" fmla="*/ 102393 w 106695"/>
                  <a:gd name="connsiteY6" fmla="*/ 13429 h 138161"/>
                  <a:gd name="connsiteX7" fmla="*/ 11125 w 106695"/>
                  <a:gd name="connsiteY7" fmla="*/ 95569 h 138161"/>
                  <a:gd name="connsiteX8" fmla="*/ 11125 w 106695"/>
                  <a:gd name="connsiteY8" fmla="*/ 110781 h 138161"/>
                  <a:gd name="connsiteX9" fmla="*/ 41547 w 106695"/>
                  <a:gd name="connsiteY9" fmla="*/ 125992 h 138161"/>
                  <a:gd name="connsiteX10" fmla="*/ 47632 w 106695"/>
                  <a:gd name="connsiteY10" fmla="*/ 132077 h 138161"/>
                  <a:gd name="connsiteX11" fmla="*/ 44590 w 106695"/>
                  <a:gd name="connsiteY11" fmla="*/ 138162 h 138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6695" h="138161">
                    <a:moveTo>
                      <a:pt x="44590" y="138162"/>
                    </a:moveTo>
                    <a:cubicBezTo>
                      <a:pt x="44590" y="138162"/>
                      <a:pt x="44590" y="138162"/>
                      <a:pt x="44590" y="138162"/>
                    </a:cubicBezTo>
                    <a:cubicBezTo>
                      <a:pt x="41547" y="138162"/>
                      <a:pt x="14167" y="135119"/>
                      <a:pt x="5040" y="116866"/>
                    </a:cubicBezTo>
                    <a:cubicBezTo>
                      <a:pt x="-1044" y="107739"/>
                      <a:pt x="-1044" y="101654"/>
                      <a:pt x="1999" y="89485"/>
                    </a:cubicBezTo>
                    <a:cubicBezTo>
                      <a:pt x="17210" y="46894"/>
                      <a:pt x="93266" y="4302"/>
                      <a:pt x="96308" y="1260"/>
                    </a:cubicBezTo>
                    <a:cubicBezTo>
                      <a:pt x="99350" y="-1782"/>
                      <a:pt x="102393" y="1260"/>
                      <a:pt x="105435" y="4302"/>
                    </a:cubicBezTo>
                    <a:cubicBezTo>
                      <a:pt x="108477" y="7344"/>
                      <a:pt x="105435" y="10387"/>
                      <a:pt x="102393" y="13429"/>
                    </a:cubicBezTo>
                    <a:cubicBezTo>
                      <a:pt x="102393" y="13429"/>
                      <a:pt x="26336" y="56020"/>
                      <a:pt x="11125" y="95569"/>
                    </a:cubicBezTo>
                    <a:cubicBezTo>
                      <a:pt x="8082" y="101654"/>
                      <a:pt x="8082" y="107739"/>
                      <a:pt x="11125" y="110781"/>
                    </a:cubicBezTo>
                    <a:cubicBezTo>
                      <a:pt x="17210" y="119908"/>
                      <a:pt x="35463" y="125992"/>
                      <a:pt x="41547" y="125992"/>
                    </a:cubicBezTo>
                    <a:cubicBezTo>
                      <a:pt x="44590" y="125992"/>
                      <a:pt x="47632" y="129034"/>
                      <a:pt x="47632" y="132077"/>
                    </a:cubicBezTo>
                    <a:cubicBezTo>
                      <a:pt x="50674" y="135119"/>
                      <a:pt x="47632" y="138162"/>
                      <a:pt x="44590" y="13816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D8328585-CDB1-44D0-9566-B7F6FEB8E064}"/>
                  </a:ext>
                </a:extLst>
              </p:cNvPr>
              <p:cNvSpPr/>
              <p:nvPr/>
            </p:nvSpPr>
            <p:spPr>
              <a:xfrm>
                <a:off x="15984849" y="9992705"/>
                <a:ext cx="85682" cy="47915"/>
              </a:xfrm>
              <a:custGeom>
                <a:avLst/>
                <a:gdLst>
                  <a:gd name="connsiteX0" fmla="*/ 78338 w 85682"/>
                  <a:gd name="connsiteY0" fmla="*/ 47916 h 47915"/>
                  <a:gd name="connsiteX1" fmla="*/ 78338 w 85682"/>
                  <a:gd name="connsiteY1" fmla="*/ 47916 h 47915"/>
                  <a:gd name="connsiteX2" fmla="*/ 2282 w 85682"/>
                  <a:gd name="connsiteY2" fmla="*/ 11409 h 47915"/>
                  <a:gd name="connsiteX3" fmla="*/ 2282 w 85682"/>
                  <a:gd name="connsiteY3" fmla="*/ 2282 h 47915"/>
                  <a:gd name="connsiteX4" fmla="*/ 11408 w 85682"/>
                  <a:gd name="connsiteY4" fmla="*/ 2282 h 47915"/>
                  <a:gd name="connsiteX5" fmla="*/ 81380 w 85682"/>
                  <a:gd name="connsiteY5" fmla="*/ 35747 h 47915"/>
                  <a:gd name="connsiteX6" fmla="*/ 84422 w 85682"/>
                  <a:gd name="connsiteY6" fmla="*/ 44873 h 47915"/>
                  <a:gd name="connsiteX7" fmla="*/ 78338 w 85682"/>
                  <a:gd name="connsiteY7" fmla="*/ 47916 h 47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5682" h="47915">
                    <a:moveTo>
                      <a:pt x="78338" y="47916"/>
                    </a:moveTo>
                    <a:cubicBezTo>
                      <a:pt x="78338" y="47916"/>
                      <a:pt x="78338" y="47916"/>
                      <a:pt x="78338" y="47916"/>
                    </a:cubicBezTo>
                    <a:cubicBezTo>
                      <a:pt x="75296" y="47916"/>
                      <a:pt x="17493" y="26620"/>
                      <a:pt x="2282" y="11409"/>
                    </a:cubicBezTo>
                    <a:cubicBezTo>
                      <a:pt x="-761" y="8367"/>
                      <a:pt x="-761" y="5324"/>
                      <a:pt x="2282" y="2282"/>
                    </a:cubicBezTo>
                    <a:cubicBezTo>
                      <a:pt x="5323" y="-761"/>
                      <a:pt x="8366" y="-761"/>
                      <a:pt x="11408" y="2282"/>
                    </a:cubicBezTo>
                    <a:cubicBezTo>
                      <a:pt x="23577" y="11409"/>
                      <a:pt x="66168" y="29662"/>
                      <a:pt x="81380" y="35747"/>
                    </a:cubicBezTo>
                    <a:cubicBezTo>
                      <a:pt x="84422" y="35747"/>
                      <a:pt x="87465" y="41832"/>
                      <a:pt x="84422" y="44873"/>
                    </a:cubicBezTo>
                    <a:cubicBezTo>
                      <a:pt x="84422" y="44873"/>
                      <a:pt x="81380" y="47916"/>
                      <a:pt x="78338" y="4791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11AF7293-FCFA-4D8D-9AFD-E70A64AB63D4}"/>
                </a:ext>
              </a:extLst>
            </p:cNvPr>
            <p:cNvSpPr/>
            <p:nvPr/>
          </p:nvSpPr>
          <p:spPr>
            <a:xfrm>
              <a:off x="14352631" y="8695522"/>
              <a:ext cx="266189" cy="221277"/>
            </a:xfrm>
            <a:custGeom>
              <a:avLst/>
              <a:gdLst>
                <a:gd name="connsiteX0" fmla="*/ 49485 w 266189"/>
                <a:gd name="connsiteY0" fmla="*/ 149493 h 221277"/>
                <a:gd name="connsiteX1" fmla="*/ 104246 w 266189"/>
                <a:gd name="connsiteY1" fmla="*/ 182957 h 221277"/>
                <a:gd name="connsiteX2" fmla="*/ 195513 w 266189"/>
                <a:gd name="connsiteY2" fmla="*/ 219464 h 221277"/>
                <a:gd name="connsiteX3" fmla="*/ 265486 w 266189"/>
                <a:gd name="connsiteY3" fmla="*/ 158619 h 221277"/>
                <a:gd name="connsiteX4" fmla="*/ 79908 w 266189"/>
                <a:gd name="connsiteY4" fmla="*/ 3465 h 221277"/>
                <a:gd name="connsiteX5" fmla="*/ 55569 w 266189"/>
                <a:gd name="connsiteY5" fmla="*/ 12592 h 221277"/>
                <a:gd name="connsiteX6" fmla="*/ 79908 w 266189"/>
                <a:gd name="connsiteY6" fmla="*/ 39972 h 221277"/>
                <a:gd name="connsiteX7" fmla="*/ 113373 w 266189"/>
                <a:gd name="connsiteY7" fmla="*/ 73437 h 221277"/>
                <a:gd name="connsiteX8" fmla="*/ 58612 w 266189"/>
                <a:gd name="connsiteY8" fmla="*/ 46056 h 221277"/>
                <a:gd name="connsiteX9" fmla="*/ 19063 w 266189"/>
                <a:gd name="connsiteY9" fmla="*/ 27803 h 221277"/>
                <a:gd name="connsiteX10" fmla="*/ 809 w 266189"/>
                <a:gd name="connsiteY10" fmla="*/ 43014 h 221277"/>
                <a:gd name="connsiteX11" fmla="*/ 9936 w 266189"/>
                <a:gd name="connsiteY11" fmla="*/ 67352 h 221277"/>
                <a:gd name="connsiteX12" fmla="*/ 6894 w 266189"/>
                <a:gd name="connsiteY12" fmla="*/ 67352 h 221277"/>
                <a:gd name="connsiteX13" fmla="*/ 3852 w 266189"/>
                <a:gd name="connsiteY13" fmla="*/ 70394 h 221277"/>
                <a:gd name="connsiteX14" fmla="*/ 28189 w 266189"/>
                <a:gd name="connsiteY14" fmla="*/ 103859 h 221277"/>
                <a:gd name="connsiteX15" fmla="*/ 46443 w 266189"/>
                <a:gd name="connsiteY15" fmla="*/ 112986 h 221277"/>
                <a:gd name="connsiteX16" fmla="*/ 40358 w 266189"/>
                <a:gd name="connsiteY16" fmla="*/ 112986 h 221277"/>
                <a:gd name="connsiteX17" fmla="*/ 28189 w 266189"/>
                <a:gd name="connsiteY17" fmla="*/ 122112 h 221277"/>
                <a:gd name="connsiteX18" fmla="*/ 49485 w 266189"/>
                <a:gd name="connsiteY18" fmla="*/ 149493 h 221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66189" h="221277">
                  <a:moveTo>
                    <a:pt x="49485" y="149493"/>
                  </a:moveTo>
                  <a:cubicBezTo>
                    <a:pt x="67739" y="161662"/>
                    <a:pt x="85992" y="170789"/>
                    <a:pt x="104246" y="182957"/>
                  </a:cubicBezTo>
                  <a:cubicBezTo>
                    <a:pt x="131626" y="201211"/>
                    <a:pt x="162048" y="228591"/>
                    <a:pt x="195513" y="219464"/>
                  </a:cubicBezTo>
                  <a:cubicBezTo>
                    <a:pt x="219852" y="213380"/>
                    <a:pt x="265486" y="158619"/>
                    <a:pt x="265486" y="158619"/>
                  </a:cubicBezTo>
                  <a:cubicBezTo>
                    <a:pt x="277655" y="91690"/>
                    <a:pt x="128584" y="21718"/>
                    <a:pt x="79908" y="3465"/>
                  </a:cubicBezTo>
                  <a:cubicBezTo>
                    <a:pt x="70781" y="422"/>
                    <a:pt x="49485" y="-5662"/>
                    <a:pt x="55569" y="12592"/>
                  </a:cubicBezTo>
                  <a:cubicBezTo>
                    <a:pt x="58612" y="24760"/>
                    <a:pt x="73823" y="33887"/>
                    <a:pt x="79908" y="39972"/>
                  </a:cubicBezTo>
                  <a:cubicBezTo>
                    <a:pt x="92077" y="52140"/>
                    <a:pt x="104246" y="64310"/>
                    <a:pt x="113373" y="73437"/>
                  </a:cubicBezTo>
                  <a:cubicBezTo>
                    <a:pt x="95119" y="64310"/>
                    <a:pt x="76866" y="55183"/>
                    <a:pt x="58612" y="46056"/>
                  </a:cubicBezTo>
                  <a:cubicBezTo>
                    <a:pt x="46443" y="39972"/>
                    <a:pt x="31232" y="27803"/>
                    <a:pt x="19063" y="27803"/>
                  </a:cubicBezTo>
                  <a:cubicBezTo>
                    <a:pt x="9936" y="27803"/>
                    <a:pt x="3852" y="33887"/>
                    <a:pt x="809" y="43014"/>
                  </a:cubicBezTo>
                  <a:cubicBezTo>
                    <a:pt x="-2233" y="52140"/>
                    <a:pt x="3852" y="61267"/>
                    <a:pt x="9936" y="67352"/>
                  </a:cubicBezTo>
                  <a:cubicBezTo>
                    <a:pt x="9936" y="67352"/>
                    <a:pt x="9936" y="67352"/>
                    <a:pt x="6894" y="67352"/>
                  </a:cubicBezTo>
                  <a:cubicBezTo>
                    <a:pt x="3852" y="67352"/>
                    <a:pt x="3852" y="70394"/>
                    <a:pt x="3852" y="70394"/>
                  </a:cubicBezTo>
                  <a:cubicBezTo>
                    <a:pt x="6894" y="85605"/>
                    <a:pt x="16021" y="94732"/>
                    <a:pt x="28189" y="103859"/>
                  </a:cubicBezTo>
                  <a:cubicBezTo>
                    <a:pt x="34274" y="106901"/>
                    <a:pt x="40358" y="109944"/>
                    <a:pt x="46443" y="112986"/>
                  </a:cubicBezTo>
                  <a:cubicBezTo>
                    <a:pt x="43401" y="112986"/>
                    <a:pt x="43401" y="112986"/>
                    <a:pt x="40358" y="112986"/>
                  </a:cubicBezTo>
                  <a:cubicBezTo>
                    <a:pt x="34274" y="112986"/>
                    <a:pt x="28189" y="116028"/>
                    <a:pt x="28189" y="122112"/>
                  </a:cubicBezTo>
                  <a:cubicBezTo>
                    <a:pt x="25147" y="137324"/>
                    <a:pt x="40358" y="143408"/>
                    <a:pt x="49485" y="149493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6" name="图形 1">
              <a:extLst>
                <a:ext uri="{FF2B5EF4-FFF2-40B4-BE49-F238E27FC236}">
                  <a16:creationId xmlns:a16="http://schemas.microsoft.com/office/drawing/2014/main" id="{C16A8DB5-0CCE-496C-A519-0A0C1FF1C0EC}"/>
                </a:ext>
              </a:extLst>
            </p:cNvPr>
            <p:cNvGrpSpPr/>
            <p:nvPr/>
          </p:nvGrpSpPr>
          <p:grpSpPr>
            <a:xfrm>
              <a:off x="13723598" y="8406149"/>
              <a:ext cx="848039" cy="458217"/>
              <a:chOff x="13723598" y="8406149"/>
              <a:chExt cx="848039" cy="458217"/>
            </a:xfrm>
          </p:grpSpPr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4AE718D4-61B4-4DDB-B010-D8FCF366509E}"/>
                  </a:ext>
                </a:extLst>
              </p:cNvPr>
              <p:cNvSpPr/>
              <p:nvPr/>
            </p:nvSpPr>
            <p:spPr>
              <a:xfrm>
                <a:off x="13727582" y="8457550"/>
                <a:ext cx="844054" cy="406817"/>
              </a:xfrm>
              <a:custGeom>
                <a:avLst/>
                <a:gdLst>
                  <a:gd name="connsiteX0" fmla="*/ 838816 w 844054"/>
                  <a:gd name="connsiteY0" fmla="*/ 375296 h 406817"/>
                  <a:gd name="connsiteX1" fmla="*/ 358140 w 844054"/>
                  <a:gd name="connsiteY1" fmla="*/ 311409 h 406817"/>
                  <a:gd name="connsiteX2" fmla="*/ 5239 w 844054"/>
                  <a:gd name="connsiteY2" fmla="*/ 31521 h 406817"/>
                  <a:gd name="connsiteX3" fmla="*/ 485915 w 844054"/>
                  <a:gd name="connsiteY3" fmla="*/ 95409 h 406817"/>
                  <a:gd name="connsiteX4" fmla="*/ 838816 w 844054"/>
                  <a:gd name="connsiteY4" fmla="*/ 375296 h 406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4054" h="406817">
                    <a:moveTo>
                      <a:pt x="838816" y="375296"/>
                    </a:moveTo>
                    <a:cubicBezTo>
                      <a:pt x="802309" y="436141"/>
                      <a:pt x="589351" y="405719"/>
                      <a:pt x="358140" y="311409"/>
                    </a:cubicBezTo>
                    <a:cubicBezTo>
                      <a:pt x="126929" y="217099"/>
                      <a:pt x="-31269" y="92366"/>
                      <a:pt x="5239" y="31521"/>
                    </a:cubicBezTo>
                    <a:cubicBezTo>
                      <a:pt x="41745" y="-29324"/>
                      <a:pt x="254703" y="1099"/>
                      <a:pt x="485915" y="95409"/>
                    </a:cubicBezTo>
                    <a:cubicBezTo>
                      <a:pt x="717126" y="189719"/>
                      <a:pt x="875324" y="314451"/>
                      <a:pt x="838816" y="375296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50" name="图形 1">
                <a:extLst>
                  <a:ext uri="{FF2B5EF4-FFF2-40B4-BE49-F238E27FC236}">
                    <a16:creationId xmlns:a16="http://schemas.microsoft.com/office/drawing/2014/main" id="{C3A32BC9-96C4-4B25-9EE8-E17FD6D44AAF}"/>
                  </a:ext>
                </a:extLst>
              </p:cNvPr>
              <p:cNvGrpSpPr/>
              <p:nvPr/>
            </p:nvGrpSpPr>
            <p:grpSpPr>
              <a:xfrm>
                <a:off x="13723598" y="8406149"/>
                <a:ext cx="847963" cy="457119"/>
                <a:chOff x="13723598" y="8406149"/>
                <a:chExt cx="847963" cy="457119"/>
              </a:xfrm>
            </p:grpSpPr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7A617E93-1A6C-4E23-B31B-F1797D81E444}"/>
                    </a:ext>
                  </a:extLst>
                </p:cNvPr>
                <p:cNvSpPr/>
                <p:nvPr/>
              </p:nvSpPr>
              <p:spPr>
                <a:xfrm>
                  <a:off x="13982285" y="8406149"/>
                  <a:ext cx="380860" cy="244161"/>
                </a:xfrm>
                <a:custGeom>
                  <a:avLst/>
                  <a:gdLst>
                    <a:gd name="connsiteX0" fmla="*/ 365070 w 380860"/>
                    <a:gd name="connsiteY0" fmla="*/ 244161 h 244161"/>
                    <a:gd name="connsiteX1" fmla="*/ 346818 w 380860"/>
                    <a:gd name="connsiteY1" fmla="*/ 76837 h 244161"/>
                    <a:gd name="connsiteX2" fmla="*/ 139944 w 380860"/>
                    <a:gd name="connsiteY2" fmla="*/ 781 h 244161"/>
                    <a:gd name="connsiteX3" fmla="*/ 0 w 380860"/>
                    <a:gd name="connsiteY3" fmla="*/ 107260 h 244161"/>
                    <a:gd name="connsiteX4" fmla="*/ 365070 w 380860"/>
                    <a:gd name="connsiteY4" fmla="*/ 244161 h 244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0860" h="244161">
                      <a:moveTo>
                        <a:pt x="365070" y="244161"/>
                      </a:moveTo>
                      <a:cubicBezTo>
                        <a:pt x="365070" y="244161"/>
                        <a:pt x="410704" y="131598"/>
                        <a:pt x="346818" y="76837"/>
                      </a:cubicBezTo>
                      <a:cubicBezTo>
                        <a:pt x="304225" y="40330"/>
                        <a:pt x="197746" y="3824"/>
                        <a:pt x="139944" y="781"/>
                      </a:cubicBezTo>
                      <a:cubicBezTo>
                        <a:pt x="42592" y="-8346"/>
                        <a:pt x="15211" y="64669"/>
                        <a:pt x="0" y="107260"/>
                      </a:cubicBezTo>
                      <a:lnTo>
                        <a:pt x="365070" y="244161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87971568-3FB0-48AC-8B82-5DC057256342}"/>
                    </a:ext>
                  </a:extLst>
                </p:cNvPr>
                <p:cNvSpPr/>
                <p:nvPr/>
              </p:nvSpPr>
              <p:spPr>
                <a:xfrm>
                  <a:off x="13723598" y="8458899"/>
                  <a:ext cx="847963" cy="404369"/>
                </a:xfrm>
                <a:custGeom>
                  <a:avLst/>
                  <a:gdLst>
                    <a:gd name="connsiteX0" fmla="*/ 459476 w 847963"/>
                    <a:gd name="connsiteY0" fmla="*/ 154905 h 404369"/>
                    <a:gd name="connsiteX1" fmla="*/ 769787 w 847963"/>
                    <a:gd name="connsiteY1" fmla="*/ 404370 h 404369"/>
                    <a:gd name="connsiteX2" fmla="*/ 842800 w 847963"/>
                    <a:gd name="connsiteY2" fmla="*/ 373947 h 404369"/>
                    <a:gd name="connsiteX3" fmla="*/ 489899 w 847963"/>
                    <a:gd name="connsiteY3" fmla="*/ 94060 h 404369"/>
                    <a:gd name="connsiteX4" fmla="*/ 9223 w 847963"/>
                    <a:gd name="connsiteY4" fmla="*/ 30172 h 404369"/>
                    <a:gd name="connsiteX5" fmla="*/ 18350 w 847963"/>
                    <a:gd name="connsiteY5" fmla="*/ 87975 h 404369"/>
                    <a:gd name="connsiteX6" fmla="*/ 459476 w 847963"/>
                    <a:gd name="connsiteY6" fmla="*/ 154905 h 4043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47963" h="404369">
                      <a:moveTo>
                        <a:pt x="459476" y="154905"/>
                      </a:moveTo>
                      <a:cubicBezTo>
                        <a:pt x="654180" y="234004"/>
                        <a:pt x="784998" y="343525"/>
                        <a:pt x="769787" y="404370"/>
                      </a:cubicBezTo>
                      <a:cubicBezTo>
                        <a:pt x="806293" y="401328"/>
                        <a:pt x="833674" y="392201"/>
                        <a:pt x="842800" y="373947"/>
                      </a:cubicBezTo>
                      <a:cubicBezTo>
                        <a:pt x="879308" y="313102"/>
                        <a:pt x="718068" y="191412"/>
                        <a:pt x="489899" y="94060"/>
                      </a:cubicBezTo>
                      <a:cubicBezTo>
                        <a:pt x="258687" y="-250"/>
                        <a:pt x="42688" y="-27630"/>
                        <a:pt x="9223" y="30172"/>
                      </a:cubicBezTo>
                      <a:cubicBezTo>
                        <a:pt x="-2946" y="48426"/>
                        <a:pt x="-5988" y="57553"/>
                        <a:pt x="18350" y="87975"/>
                      </a:cubicBezTo>
                      <a:cubicBezTo>
                        <a:pt x="60941" y="36257"/>
                        <a:pt x="261730" y="72764"/>
                        <a:pt x="459476" y="154905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4" name="任意多边形: 形状 53">
                  <a:extLst>
                    <a:ext uri="{FF2B5EF4-FFF2-40B4-BE49-F238E27FC236}">
                      <a16:creationId xmlns:a16="http://schemas.microsoft.com/office/drawing/2014/main" id="{D84A9F11-E0F3-4027-87E2-87666EEBBE4A}"/>
                    </a:ext>
                  </a:extLst>
                </p:cNvPr>
                <p:cNvSpPr/>
                <p:nvPr/>
              </p:nvSpPr>
              <p:spPr>
                <a:xfrm>
                  <a:off x="13984067" y="8478684"/>
                  <a:ext cx="381541" cy="150330"/>
                </a:xfrm>
                <a:custGeom>
                  <a:avLst/>
                  <a:gdLst>
                    <a:gd name="connsiteX0" fmla="*/ 375458 w 381541"/>
                    <a:gd name="connsiteY0" fmla="*/ 150330 h 150330"/>
                    <a:gd name="connsiteX1" fmla="*/ 375458 w 381541"/>
                    <a:gd name="connsiteY1" fmla="*/ 150330 h 150330"/>
                    <a:gd name="connsiteX2" fmla="*/ 4303 w 381541"/>
                    <a:gd name="connsiteY2" fmla="*/ 10387 h 150330"/>
                    <a:gd name="connsiteX3" fmla="*/ 1260 w 381541"/>
                    <a:gd name="connsiteY3" fmla="*/ 4302 h 150330"/>
                    <a:gd name="connsiteX4" fmla="*/ 7345 w 381541"/>
                    <a:gd name="connsiteY4" fmla="*/ 1260 h 150330"/>
                    <a:gd name="connsiteX5" fmla="*/ 378499 w 381541"/>
                    <a:gd name="connsiteY5" fmla="*/ 141204 h 150330"/>
                    <a:gd name="connsiteX6" fmla="*/ 381542 w 381541"/>
                    <a:gd name="connsiteY6" fmla="*/ 150330 h 150330"/>
                    <a:gd name="connsiteX7" fmla="*/ 375458 w 381541"/>
                    <a:gd name="connsiteY7" fmla="*/ 150330 h 150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81541" h="150330">
                      <a:moveTo>
                        <a:pt x="375458" y="150330"/>
                      </a:moveTo>
                      <a:cubicBezTo>
                        <a:pt x="372416" y="150330"/>
                        <a:pt x="372416" y="150330"/>
                        <a:pt x="375458" y="150330"/>
                      </a:cubicBezTo>
                      <a:cubicBezTo>
                        <a:pt x="217260" y="65147"/>
                        <a:pt x="7345" y="10387"/>
                        <a:pt x="4303" y="10387"/>
                      </a:cubicBezTo>
                      <a:cubicBezTo>
                        <a:pt x="1260" y="10387"/>
                        <a:pt x="-1782" y="7345"/>
                        <a:pt x="1260" y="4302"/>
                      </a:cubicBezTo>
                      <a:cubicBezTo>
                        <a:pt x="1260" y="1260"/>
                        <a:pt x="4303" y="-1782"/>
                        <a:pt x="7345" y="1260"/>
                      </a:cubicBezTo>
                      <a:cubicBezTo>
                        <a:pt x="10388" y="1260"/>
                        <a:pt x="220303" y="56020"/>
                        <a:pt x="378499" y="141204"/>
                      </a:cubicBezTo>
                      <a:cubicBezTo>
                        <a:pt x="381542" y="141204"/>
                        <a:pt x="381542" y="147288"/>
                        <a:pt x="381542" y="150330"/>
                      </a:cubicBezTo>
                      <a:cubicBezTo>
                        <a:pt x="378499" y="147288"/>
                        <a:pt x="375458" y="150330"/>
                        <a:pt x="375458" y="150330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F09D4CE5-87BF-4A6C-AE77-9FE3C02DDEAF}"/>
                  </a:ext>
                </a:extLst>
              </p:cNvPr>
              <p:cNvSpPr/>
              <p:nvPr/>
            </p:nvSpPr>
            <p:spPr>
              <a:xfrm>
                <a:off x="13927726" y="8540682"/>
                <a:ext cx="431798" cy="183719"/>
              </a:xfrm>
              <a:custGeom>
                <a:avLst/>
                <a:gdLst>
                  <a:gd name="connsiteX0" fmla="*/ 431799 w 431798"/>
                  <a:gd name="connsiteY0" fmla="*/ 167431 h 183719"/>
                  <a:gd name="connsiteX1" fmla="*/ 27179 w 431798"/>
                  <a:gd name="connsiteY1" fmla="*/ 107 h 183719"/>
                  <a:gd name="connsiteX2" fmla="*/ 431799 w 431798"/>
                  <a:gd name="connsiteY2" fmla="*/ 167431 h 183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1798" h="183719">
                    <a:moveTo>
                      <a:pt x="431799" y="167431"/>
                    </a:moveTo>
                    <a:cubicBezTo>
                      <a:pt x="431799" y="137009"/>
                      <a:pt x="182334" y="6192"/>
                      <a:pt x="27179" y="107"/>
                    </a:cubicBezTo>
                    <a:cubicBezTo>
                      <a:pt x="-127977" y="-5978"/>
                      <a:pt x="431799" y="249572"/>
                      <a:pt x="431799" y="167431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C5189E04-CD92-4DFA-89C3-D304600021B4}"/>
                </a:ext>
              </a:extLst>
            </p:cNvPr>
            <p:cNvSpPr/>
            <p:nvPr/>
          </p:nvSpPr>
          <p:spPr>
            <a:xfrm>
              <a:off x="14464650" y="8761924"/>
              <a:ext cx="122037" cy="101480"/>
            </a:xfrm>
            <a:custGeom>
              <a:avLst/>
              <a:gdLst>
                <a:gd name="connsiteX0" fmla="*/ 1354 w 122037"/>
                <a:gd name="connsiteY0" fmla="*/ 46583 h 101480"/>
                <a:gd name="connsiteX1" fmla="*/ 25692 w 122037"/>
                <a:gd name="connsiteY1" fmla="*/ 46583 h 101480"/>
                <a:gd name="connsiteX2" fmla="*/ 74368 w 122037"/>
                <a:gd name="connsiteY2" fmla="*/ 58752 h 101480"/>
                <a:gd name="connsiteX3" fmla="*/ 101748 w 122037"/>
                <a:gd name="connsiteY3" fmla="*/ 101344 h 101480"/>
                <a:gd name="connsiteX4" fmla="*/ 120002 w 122037"/>
                <a:gd name="connsiteY4" fmla="*/ 40499 h 101480"/>
                <a:gd name="connsiteX5" fmla="*/ 43946 w 122037"/>
                <a:gd name="connsiteY5" fmla="*/ 949 h 101480"/>
                <a:gd name="connsiteX6" fmla="*/ 1354 w 122037"/>
                <a:gd name="connsiteY6" fmla="*/ 46583 h 10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037" h="101480">
                  <a:moveTo>
                    <a:pt x="1354" y="46583"/>
                  </a:moveTo>
                  <a:cubicBezTo>
                    <a:pt x="4396" y="55710"/>
                    <a:pt x="19607" y="46583"/>
                    <a:pt x="25692" y="46583"/>
                  </a:cubicBezTo>
                  <a:cubicBezTo>
                    <a:pt x="43946" y="43541"/>
                    <a:pt x="59157" y="43541"/>
                    <a:pt x="74368" y="58752"/>
                  </a:cubicBezTo>
                  <a:cubicBezTo>
                    <a:pt x="83495" y="67879"/>
                    <a:pt x="95663" y="92217"/>
                    <a:pt x="101748" y="101344"/>
                  </a:cubicBezTo>
                  <a:cubicBezTo>
                    <a:pt x="104791" y="104386"/>
                    <a:pt x="129128" y="55710"/>
                    <a:pt x="120002" y="40499"/>
                  </a:cubicBezTo>
                  <a:cubicBezTo>
                    <a:pt x="107833" y="19203"/>
                    <a:pt x="71326" y="-5135"/>
                    <a:pt x="43946" y="949"/>
                  </a:cubicBezTo>
                  <a:cubicBezTo>
                    <a:pt x="31777" y="949"/>
                    <a:pt x="-7773" y="28330"/>
                    <a:pt x="1354" y="46583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D9548101-766B-4998-A9F6-AF68DA99BE35}"/>
                </a:ext>
              </a:extLst>
            </p:cNvPr>
            <p:cNvSpPr/>
            <p:nvPr/>
          </p:nvSpPr>
          <p:spPr>
            <a:xfrm>
              <a:off x="14459919" y="8754120"/>
              <a:ext cx="130056" cy="109148"/>
            </a:xfrm>
            <a:custGeom>
              <a:avLst/>
              <a:gdLst>
                <a:gd name="connsiteX0" fmla="*/ 82141 w 130056"/>
                <a:gd name="connsiteY0" fmla="*/ 109148 h 109148"/>
                <a:gd name="connsiteX1" fmla="*/ 76056 w 130056"/>
                <a:gd name="connsiteY1" fmla="*/ 106106 h 109148"/>
                <a:gd name="connsiteX2" fmla="*/ 73014 w 130056"/>
                <a:gd name="connsiteY2" fmla="*/ 66557 h 109148"/>
                <a:gd name="connsiteX3" fmla="*/ 30423 w 130056"/>
                <a:gd name="connsiteY3" fmla="*/ 63515 h 109148"/>
                <a:gd name="connsiteX4" fmla="*/ 6085 w 130056"/>
                <a:gd name="connsiteY4" fmla="*/ 63515 h 109148"/>
                <a:gd name="connsiteX5" fmla="*/ 0 w 130056"/>
                <a:gd name="connsiteY5" fmla="*/ 48303 h 109148"/>
                <a:gd name="connsiteX6" fmla="*/ 45634 w 130056"/>
                <a:gd name="connsiteY6" fmla="*/ 2669 h 109148"/>
                <a:gd name="connsiteX7" fmla="*/ 127775 w 130056"/>
                <a:gd name="connsiteY7" fmla="*/ 42219 h 109148"/>
                <a:gd name="connsiteX8" fmla="*/ 127775 w 130056"/>
                <a:gd name="connsiteY8" fmla="*/ 51346 h 109148"/>
                <a:gd name="connsiteX9" fmla="*/ 118648 w 130056"/>
                <a:gd name="connsiteY9" fmla="*/ 51346 h 109148"/>
                <a:gd name="connsiteX10" fmla="*/ 48676 w 130056"/>
                <a:gd name="connsiteY10" fmla="*/ 14839 h 109148"/>
                <a:gd name="connsiteX11" fmla="*/ 9126 w 130056"/>
                <a:gd name="connsiteY11" fmla="*/ 51346 h 109148"/>
                <a:gd name="connsiteX12" fmla="*/ 9126 w 130056"/>
                <a:gd name="connsiteY12" fmla="*/ 54388 h 109148"/>
                <a:gd name="connsiteX13" fmla="*/ 24338 w 130056"/>
                <a:gd name="connsiteY13" fmla="*/ 51346 h 109148"/>
                <a:gd name="connsiteX14" fmla="*/ 82141 w 130056"/>
                <a:gd name="connsiteY14" fmla="*/ 60473 h 109148"/>
                <a:gd name="connsiteX15" fmla="*/ 85183 w 130056"/>
                <a:gd name="connsiteY15" fmla="*/ 66557 h 109148"/>
                <a:gd name="connsiteX16" fmla="*/ 85183 w 130056"/>
                <a:gd name="connsiteY16" fmla="*/ 100021 h 109148"/>
                <a:gd name="connsiteX17" fmla="*/ 82141 w 130056"/>
                <a:gd name="connsiteY17" fmla="*/ 109148 h 109148"/>
                <a:gd name="connsiteX18" fmla="*/ 82141 w 130056"/>
                <a:gd name="connsiteY18" fmla="*/ 109148 h 10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0056" h="109148">
                  <a:moveTo>
                    <a:pt x="82141" y="109148"/>
                  </a:moveTo>
                  <a:cubicBezTo>
                    <a:pt x="79099" y="109148"/>
                    <a:pt x="79099" y="109148"/>
                    <a:pt x="76056" y="106106"/>
                  </a:cubicBezTo>
                  <a:cubicBezTo>
                    <a:pt x="66930" y="93937"/>
                    <a:pt x="69971" y="72641"/>
                    <a:pt x="73014" y="66557"/>
                  </a:cubicBezTo>
                  <a:cubicBezTo>
                    <a:pt x="57803" y="54388"/>
                    <a:pt x="42591" y="60473"/>
                    <a:pt x="30423" y="63515"/>
                  </a:cubicBezTo>
                  <a:cubicBezTo>
                    <a:pt x="21296" y="66557"/>
                    <a:pt x="12169" y="69599"/>
                    <a:pt x="6085" y="63515"/>
                  </a:cubicBezTo>
                  <a:cubicBezTo>
                    <a:pt x="3042" y="60473"/>
                    <a:pt x="0" y="54388"/>
                    <a:pt x="0" y="48303"/>
                  </a:cubicBezTo>
                  <a:cubicBezTo>
                    <a:pt x="3042" y="33092"/>
                    <a:pt x="18254" y="11796"/>
                    <a:pt x="45634" y="2669"/>
                  </a:cubicBezTo>
                  <a:cubicBezTo>
                    <a:pt x="82141" y="-12542"/>
                    <a:pt x="124733" y="42219"/>
                    <a:pt x="127775" y="42219"/>
                  </a:cubicBezTo>
                  <a:cubicBezTo>
                    <a:pt x="130817" y="45261"/>
                    <a:pt x="130817" y="48303"/>
                    <a:pt x="127775" y="51346"/>
                  </a:cubicBezTo>
                  <a:cubicBezTo>
                    <a:pt x="124733" y="54388"/>
                    <a:pt x="121690" y="54388"/>
                    <a:pt x="118648" y="51346"/>
                  </a:cubicBezTo>
                  <a:cubicBezTo>
                    <a:pt x="106479" y="39176"/>
                    <a:pt x="73014" y="5712"/>
                    <a:pt x="48676" y="14839"/>
                  </a:cubicBezTo>
                  <a:cubicBezTo>
                    <a:pt x="24338" y="23965"/>
                    <a:pt x="12169" y="42219"/>
                    <a:pt x="9126" y="51346"/>
                  </a:cubicBezTo>
                  <a:cubicBezTo>
                    <a:pt x="9126" y="51346"/>
                    <a:pt x="9126" y="54388"/>
                    <a:pt x="9126" y="54388"/>
                  </a:cubicBezTo>
                  <a:cubicBezTo>
                    <a:pt x="12169" y="54388"/>
                    <a:pt x="18254" y="54388"/>
                    <a:pt x="24338" y="51346"/>
                  </a:cubicBezTo>
                  <a:cubicBezTo>
                    <a:pt x="39549" y="48303"/>
                    <a:pt x="60845" y="42219"/>
                    <a:pt x="82141" y="60473"/>
                  </a:cubicBezTo>
                  <a:cubicBezTo>
                    <a:pt x="85183" y="63515"/>
                    <a:pt x="85183" y="63515"/>
                    <a:pt x="85183" y="66557"/>
                  </a:cubicBezTo>
                  <a:cubicBezTo>
                    <a:pt x="82141" y="72641"/>
                    <a:pt x="79099" y="90895"/>
                    <a:pt x="85183" y="100021"/>
                  </a:cubicBezTo>
                  <a:cubicBezTo>
                    <a:pt x="88225" y="103064"/>
                    <a:pt x="85183" y="106106"/>
                    <a:pt x="82141" y="109148"/>
                  </a:cubicBezTo>
                  <a:cubicBezTo>
                    <a:pt x="85183" y="109148"/>
                    <a:pt x="82141" y="109148"/>
                    <a:pt x="82141" y="109148"/>
                  </a:cubicBez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9" name="图形 1">
            <a:extLst>
              <a:ext uri="{FF2B5EF4-FFF2-40B4-BE49-F238E27FC236}">
                <a16:creationId xmlns:a16="http://schemas.microsoft.com/office/drawing/2014/main" id="{B1398EB5-06A3-4599-9EF6-EA6B3B5DD61B}"/>
              </a:ext>
            </a:extLst>
          </p:cNvPr>
          <p:cNvGrpSpPr/>
          <p:nvPr/>
        </p:nvGrpSpPr>
        <p:grpSpPr>
          <a:xfrm>
            <a:off x="3352718" y="1941719"/>
            <a:ext cx="1810983" cy="4916281"/>
            <a:chOff x="11051753" y="7615944"/>
            <a:chExt cx="1810983" cy="4916281"/>
          </a:xfrm>
        </p:grpSpPr>
        <p:grpSp>
          <p:nvGrpSpPr>
            <p:cNvPr id="70" name="图形 1">
              <a:extLst>
                <a:ext uri="{FF2B5EF4-FFF2-40B4-BE49-F238E27FC236}">
                  <a16:creationId xmlns:a16="http://schemas.microsoft.com/office/drawing/2014/main" id="{07F02013-18A0-465A-B097-D6FA88A4AA90}"/>
                </a:ext>
              </a:extLst>
            </p:cNvPr>
            <p:cNvGrpSpPr/>
            <p:nvPr/>
          </p:nvGrpSpPr>
          <p:grpSpPr>
            <a:xfrm>
              <a:off x="11051753" y="8349051"/>
              <a:ext cx="1068699" cy="1259799"/>
              <a:chOff x="11051753" y="8349051"/>
              <a:chExt cx="1068699" cy="1259799"/>
            </a:xfrm>
          </p:grpSpPr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C88A6307-55F1-4380-8125-314EB743152B}"/>
                  </a:ext>
                </a:extLst>
              </p:cNvPr>
              <p:cNvSpPr/>
              <p:nvPr/>
            </p:nvSpPr>
            <p:spPr>
              <a:xfrm>
                <a:off x="11124226" y="8349051"/>
                <a:ext cx="996225" cy="1259799"/>
              </a:xfrm>
              <a:custGeom>
                <a:avLst/>
                <a:gdLst>
                  <a:gd name="connsiteX0" fmla="*/ 965778 w 996225"/>
                  <a:gd name="connsiteY0" fmla="*/ 371231 h 1259799"/>
                  <a:gd name="connsiteX1" fmla="*/ 816707 w 996225"/>
                  <a:gd name="connsiteY1" fmla="*/ 88302 h 1259799"/>
                  <a:gd name="connsiteX2" fmla="*/ 448595 w 996225"/>
                  <a:gd name="connsiteY2" fmla="*/ 3119 h 1259799"/>
                  <a:gd name="connsiteX3" fmla="*/ 159580 w 996225"/>
                  <a:gd name="connsiteY3" fmla="*/ 225203 h 1259799"/>
                  <a:gd name="connsiteX4" fmla="*/ 31805 w 996225"/>
                  <a:gd name="connsiteY4" fmla="*/ 1077034 h 1259799"/>
                  <a:gd name="connsiteX5" fmla="*/ 378622 w 996225"/>
                  <a:gd name="connsiteY5" fmla="*/ 1259570 h 1259799"/>
                  <a:gd name="connsiteX6" fmla="*/ 984031 w 996225"/>
                  <a:gd name="connsiteY6" fmla="*/ 742386 h 1259799"/>
                  <a:gd name="connsiteX7" fmla="*/ 965778 w 996225"/>
                  <a:gd name="connsiteY7" fmla="*/ 371231 h 1259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6225" h="1259799">
                    <a:moveTo>
                      <a:pt x="965778" y="371231"/>
                    </a:moveTo>
                    <a:cubicBezTo>
                      <a:pt x="941439" y="261710"/>
                      <a:pt x="895805" y="155231"/>
                      <a:pt x="816707" y="88302"/>
                    </a:cubicBezTo>
                    <a:cubicBezTo>
                      <a:pt x="713270" y="77"/>
                      <a:pt x="573327" y="-6008"/>
                      <a:pt x="448595" y="3119"/>
                    </a:cubicBezTo>
                    <a:cubicBezTo>
                      <a:pt x="326904" y="12245"/>
                      <a:pt x="205214" y="143062"/>
                      <a:pt x="159580" y="225203"/>
                    </a:cubicBezTo>
                    <a:cubicBezTo>
                      <a:pt x="56144" y="422950"/>
                      <a:pt x="-56420" y="800189"/>
                      <a:pt x="31805" y="1077034"/>
                    </a:cubicBezTo>
                    <a:cubicBezTo>
                      <a:pt x="68313" y="1186555"/>
                      <a:pt x="281271" y="1250443"/>
                      <a:pt x="378622" y="1259570"/>
                    </a:cubicBezTo>
                    <a:cubicBezTo>
                      <a:pt x="515524" y="1268696"/>
                      <a:pt x="938398" y="1004020"/>
                      <a:pt x="984031" y="742386"/>
                    </a:cubicBezTo>
                    <a:cubicBezTo>
                      <a:pt x="1008369" y="620696"/>
                      <a:pt x="993158" y="486837"/>
                      <a:pt x="965778" y="371231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E9740B49-E589-4220-9B4F-ADB158C16A63}"/>
                  </a:ext>
                </a:extLst>
              </p:cNvPr>
              <p:cNvSpPr/>
              <p:nvPr/>
            </p:nvSpPr>
            <p:spPr>
              <a:xfrm>
                <a:off x="11053297" y="9042574"/>
                <a:ext cx="178790" cy="391624"/>
              </a:xfrm>
              <a:custGeom>
                <a:avLst/>
                <a:gdLst>
                  <a:gd name="connsiteX0" fmla="*/ 178791 w 178790"/>
                  <a:gd name="connsiteY0" fmla="*/ 27568 h 391624"/>
                  <a:gd name="connsiteX1" fmla="*/ 178791 w 178790"/>
                  <a:gd name="connsiteY1" fmla="*/ 383511 h 391624"/>
                  <a:gd name="connsiteX2" fmla="*/ 44932 w 178790"/>
                  <a:gd name="connsiteY2" fmla="*/ 383511 h 391624"/>
                  <a:gd name="connsiteX3" fmla="*/ 17552 w 178790"/>
                  <a:gd name="connsiteY3" fmla="*/ 27568 h 391624"/>
                  <a:gd name="connsiteX4" fmla="*/ 178791 w 178790"/>
                  <a:gd name="connsiteY4" fmla="*/ 27568 h 391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8790" h="391624">
                    <a:moveTo>
                      <a:pt x="178791" y="27568"/>
                    </a:moveTo>
                    <a:cubicBezTo>
                      <a:pt x="178791" y="27568"/>
                      <a:pt x="139242" y="225314"/>
                      <a:pt x="178791" y="383511"/>
                    </a:cubicBezTo>
                    <a:cubicBezTo>
                      <a:pt x="178791" y="383511"/>
                      <a:pt x="93608" y="401765"/>
                      <a:pt x="44932" y="383511"/>
                    </a:cubicBezTo>
                    <a:cubicBezTo>
                      <a:pt x="-3745" y="365258"/>
                      <a:pt x="-12871" y="57990"/>
                      <a:pt x="17552" y="27568"/>
                    </a:cubicBezTo>
                    <a:cubicBezTo>
                      <a:pt x="47974" y="-2855"/>
                      <a:pt x="151411" y="-15024"/>
                      <a:pt x="178791" y="27568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D3E4784F-07FD-4635-8930-1E1366EC5DCD}"/>
                  </a:ext>
                </a:extLst>
              </p:cNvPr>
              <p:cNvSpPr/>
              <p:nvPr/>
            </p:nvSpPr>
            <p:spPr>
              <a:xfrm>
                <a:off x="11051753" y="9035110"/>
                <a:ext cx="189462" cy="403144"/>
              </a:xfrm>
              <a:custGeom>
                <a:avLst/>
                <a:gdLst>
                  <a:gd name="connsiteX0" fmla="*/ 104279 w 189462"/>
                  <a:gd name="connsiteY0" fmla="*/ 403144 h 403144"/>
                  <a:gd name="connsiteX1" fmla="*/ 46476 w 189462"/>
                  <a:gd name="connsiteY1" fmla="*/ 394017 h 403144"/>
                  <a:gd name="connsiteX2" fmla="*/ 13011 w 189462"/>
                  <a:gd name="connsiteY2" fmla="*/ 321003 h 403144"/>
                  <a:gd name="connsiteX3" fmla="*/ 19096 w 189462"/>
                  <a:gd name="connsiteY3" fmla="*/ 28947 h 403144"/>
                  <a:gd name="connsiteX4" fmla="*/ 131659 w 189462"/>
                  <a:gd name="connsiteY4" fmla="*/ 1566 h 403144"/>
                  <a:gd name="connsiteX5" fmla="*/ 189463 w 189462"/>
                  <a:gd name="connsiteY5" fmla="*/ 31989 h 403144"/>
                  <a:gd name="connsiteX6" fmla="*/ 189463 w 189462"/>
                  <a:gd name="connsiteY6" fmla="*/ 35031 h 403144"/>
                  <a:gd name="connsiteX7" fmla="*/ 189463 w 189462"/>
                  <a:gd name="connsiteY7" fmla="*/ 38074 h 403144"/>
                  <a:gd name="connsiteX8" fmla="*/ 183378 w 189462"/>
                  <a:gd name="connsiteY8" fmla="*/ 357510 h 403144"/>
                  <a:gd name="connsiteX9" fmla="*/ 177293 w 189462"/>
                  <a:gd name="connsiteY9" fmla="*/ 387933 h 403144"/>
                  <a:gd name="connsiteX10" fmla="*/ 149913 w 189462"/>
                  <a:gd name="connsiteY10" fmla="*/ 403144 h 403144"/>
                  <a:gd name="connsiteX11" fmla="*/ 104279 w 189462"/>
                  <a:gd name="connsiteY11" fmla="*/ 403144 h 403144"/>
                  <a:gd name="connsiteX12" fmla="*/ 110364 w 189462"/>
                  <a:gd name="connsiteY12" fmla="*/ 13735 h 403144"/>
                  <a:gd name="connsiteX13" fmla="*/ 22139 w 189462"/>
                  <a:gd name="connsiteY13" fmla="*/ 38074 h 403144"/>
                  <a:gd name="connsiteX14" fmla="*/ 19096 w 189462"/>
                  <a:gd name="connsiteY14" fmla="*/ 321003 h 403144"/>
                  <a:gd name="connsiteX15" fmla="*/ 46476 w 189462"/>
                  <a:gd name="connsiteY15" fmla="*/ 384890 h 403144"/>
                  <a:gd name="connsiteX16" fmla="*/ 143829 w 189462"/>
                  <a:gd name="connsiteY16" fmla="*/ 390975 h 403144"/>
                  <a:gd name="connsiteX17" fmla="*/ 162082 w 189462"/>
                  <a:gd name="connsiteY17" fmla="*/ 378806 h 403144"/>
                  <a:gd name="connsiteX18" fmla="*/ 168167 w 189462"/>
                  <a:gd name="connsiteY18" fmla="*/ 357510 h 403144"/>
                  <a:gd name="connsiteX19" fmla="*/ 174251 w 189462"/>
                  <a:gd name="connsiteY19" fmla="*/ 35031 h 403144"/>
                  <a:gd name="connsiteX20" fmla="*/ 125575 w 189462"/>
                  <a:gd name="connsiteY20" fmla="*/ 13735 h 403144"/>
                  <a:gd name="connsiteX21" fmla="*/ 110364 w 189462"/>
                  <a:gd name="connsiteY21" fmla="*/ 13735 h 403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89462" h="403144">
                    <a:moveTo>
                      <a:pt x="104279" y="403144"/>
                    </a:moveTo>
                    <a:cubicBezTo>
                      <a:pt x="82984" y="403144"/>
                      <a:pt x="61688" y="400102"/>
                      <a:pt x="46476" y="394017"/>
                    </a:cubicBezTo>
                    <a:cubicBezTo>
                      <a:pt x="31265" y="387933"/>
                      <a:pt x="19096" y="363595"/>
                      <a:pt x="13011" y="321003"/>
                    </a:cubicBezTo>
                    <a:cubicBezTo>
                      <a:pt x="-5242" y="226693"/>
                      <a:pt x="-5242" y="53285"/>
                      <a:pt x="19096" y="28947"/>
                    </a:cubicBezTo>
                    <a:cubicBezTo>
                      <a:pt x="40392" y="7651"/>
                      <a:pt x="89068" y="-4518"/>
                      <a:pt x="131659" y="1566"/>
                    </a:cubicBezTo>
                    <a:cubicBezTo>
                      <a:pt x="159040" y="4609"/>
                      <a:pt x="180335" y="13735"/>
                      <a:pt x="189463" y="31989"/>
                    </a:cubicBezTo>
                    <a:lnTo>
                      <a:pt x="189463" y="35031"/>
                    </a:lnTo>
                    <a:lnTo>
                      <a:pt x="189463" y="38074"/>
                    </a:lnTo>
                    <a:cubicBezTo>
                      <a:pt x="189463" y="41116"/>
                      <a:pt x="155998" y="211482"/>
                      <a:pt x="183378" y="357510"/>
                    </a:cubicBezTo>
                    <a:cubicBezTo>
                      <a:pt x="186420" y="366637"/>
                      <a:pt x="183378" y="378806"/>
                      <a:pt x="177293" y="387933"/>
                    </a:cubicBezTo>
                    <a:cubicBezTo>
                      <a:pt x="171209" y="397059"/>
                      <a:pt x="162082" y="403144"/>
                      <a:pt x="149913" y="403144"/>
                    </a:cubicBezTo>
                    <a:cubicBezTo>
                      <a:pt x="131659" y="403144"/>
                      <a:pt x="119490" y="403144"/>
                      <a:pt x="104279" y="403144"/>
                    </a:cubicBezTo>
                    <a:close/>
                    <a:moveTo>
                      <a:pt x="110364" y="13735"/>
                    </a:moveTo>
                    <a:cubicBezTo>
                      <a:pt x="76899" y="13735"/>
                      <a:pt x="40392" y="22862"/>
                      <a:pt x="22139" y="38074"/>
                    </a:cubicBezTo>
                    <a:cubicBezTo>
                      <a:pt x="3885" y="56327"/>
                      <a:pt x="-2200" y="220609"/>
                      <a:pt x="19096" y="321003"/>
                    </a:cubicBezTo>
                    <a:cubicBezTo>
                      <a:pt x="28223" y="372722"/>
                      <a:pt x="40392" y="381848"/>
                      <a:pt x="46476" y="384890"/>
                    </a:cubicBezTo>
                    <a:cubicBezTo>
                      <a:pt x="73857" y="394017"/>
                      <a:pt x="113406" y="394017"/>
                      <a:pt x="143829" y="390975"/>
                    </a:cubicBezTo>
                    <a:cubicBezTo>
                      <a:pt x="152955" y="390975"/>
                      <a:pt x="159040" y="384890"/>
                      <a:pt x="162082" y="378806"/>
                    </a:cubicBezTo>
                    <a:cubicBezTo>
                      <a:pt x="165124" y="372722"/>
                      <a:pt x="168167" y="366637"/>
                      <a:pt x="168167" y="357510"/>
                    </a:cubicBezTo>
                    <a:cubicBezTo>
                      <a:pt x="143829" y="217566"/>
                      <a:pt x="171209" y="56327"/>
                      <a:pt x="174251" y="35031"/>
                    </a:cubicBezTo>
                    <a:cubicBezTo>
                      <a:pt x="162082" y="19820"/>
                      <a:pt x="140786" y="13735"/>
                      <a:pt x="125575" y="13735"/>
                    </a:cubicBezTo>
                    <a:cubicBezTo>
                      <a:pt x="119490" y="13735"/>
                      <a:pt x="116448" y="13735"/>
                      <a:pt x="110364" y="1373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9D0991F7-8185-426F-9DCC-E7E55ED6A4BC}"/>
                  </a:ext>
                </a:extLst>
              </p:cNvPr>
              <p:cNvSpPr/>
              <p:nvPr/>
            </p:nvSpPr>
            <p:spPr>
              <a:xfrm>
                <a:off x="11101127" y="8552608"/>
                <a:ext cx="258735" cy="392801"/>
              </a:xfrm>
              <a:custGeom>
                <a:avLst/>
                <a:gdLst>
                  <a:gd name="connsiteX0" fmla="*/ 258736 w 258735"/>
                  <a:gd name="connsiteY0" fmla="*/ 61196 h 392801"/>
                  <a:gd name="connsiteX1" fmla="*/ 137046 w 258735"/>
                  <a:gd name="connsiteY1" fmla="*/ 392801 h 392801"/>
                  <a:gd name="connsiteX2" fmla="*/ 9271 w 258735"/>
                  <a:gd name="connsiteY2" fmla="*/ 347168 h 392801"/>
                  <a:gd name="connsiteX3" fmla="*/ 106623 w 258735"/>
                  <a:gd name="connsiteY3" fmla="*/ 6435 h 392801"/>
                  <a:gd name="connsiteX4" fmla="*/ 258736 w 258735"/>
                  <a:gd name="connsiteY4" fmla="*/ 61196 h 392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8735" h="392801">
                    <a:moveTo>
                      <a:pt x="258736" y="61196"/>
                    </a:moveTo>
                    <a:cubicBezTo>
                      <a:pt x="258736" y="61196"/>
                      <a:pt x="152257" y="234604"/>
                      <a:pt x="137046" y="392801"/>
                    </a:cubicBezTo>
                    <a:cubicBezTo>
                      <a:pt x="137046" y="392801"/>
                      <a:pt x="48821" y="380633"/>
                      <a:pt x="9271" y="347168"/>
                    </a:cubicBezTo>
                    <a:cubicBezTo>
                      <a:pt x="-30278" y="313703"/>
                      <a:pt x="67073" y="21647"/>
                      <a:pt x="106623" y="6435"/>
                    </a:cubicBezTo>
                    <a:cubicBezTo>
                      <a:pt x="146172" y="-11818"/>
                      <a:pt x="246567" y="9478"/>
                      <a:pt x="258736" y="61196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7DD4C434-564D-41FD-B27D-3B5CB41FD1D6}"/>
                  </a:ext>
                </a:extLst>
              </p:cNvPr>
              <p:cNvSpPr/>
              <p:nvPr/>
            </p:nvSpPr>
            <p:spPr>
              <a:xfrm>
                <a:off x="11092145" y="8546627"/>
                <a:ext cx="270760" cy="398781"/>
              </a:xfrm>
              <a:custGeom>
                <a:avLst/>
                <a:gdLst>
                  <a:gd name="connsiteX0" fmla="*/ 115606 w 270760"/>
                  <a:gd name="connsiteY0" fmla="*/ 398781 h 398781"/>
                  <a:gd name="connsiteX1" fmla="*/ 106478 w 270760"/>
                  <a:gd name="connsiteY1" fmla="*/ 398781 h 398781"/>
                  <a:gd name="connsiteX2" fmla="*/ 12169 w 270760"/>
                  <a:gd name="connsiteY2" fmla="*/ 359233 h 398781"/>
                  <a:gd name="connsiteX3" fmla="*/ 3042 w 270760"/>
                  <a:gd name="connsiteY3" fmla="*/ 280134 h 398781"/>
                  <a:gd name="connsiteX4" fmla="*/ 109521 w 270760"/>
                  <a:gd name="connsiteY4" fmla="*/ 6331 h 398781"/>
                  <a:gd name="connsiteX5" fmla="*/ 225127 w 270760"/>
                  <a:gd name="connsiteY5" fmla="*/ 18500 h 398781"/>
                  <a:gd name="connsiteX6" fmla="*/ 270761 w 270760"/>
                  <a:gd name="connsiteY6" fmla="*/ 67176 h 398781"/>
                  <a:gd name="connsiteX7" fmla="*/ 270761 w 270760"/>
                  <a:gd name="connsiteY7" fmla="*/ 70218 h 398781"/>
                  <a:gd name="connsiteX8" fmla="*/ 270761 w 270760"/>
                  <a:gd name="connsiteY8" fmla="*/ 73260 h 398781"/>
                  <a:gd name="connsiteX9" fmla="*/ 155155 w 270760"/>
                  <a:gd name="connsiteY9" fmla="*/ 371401 h 398781"/>
                  <a:gd name="connsiteX10" fmla="*/ 139943 w 270760"/>
                  <a:gd name="connsiteY10" fmla="*/ 395740 h 398781"/>
                  <a:gd name="connsiteX11" fmla="*/ 115606 w 270760"/>
                  <a:gd name="connsiteY11" fmla="*/ 398781 h 398781"/>
                  <a:gd name="connsiteX12" fmla="*/ 149071 w 270760"/>
                  <a:gd name="connsiteY12" fmla="*/ 9373 h 398781"/>
                  <a:gd name="connsiteX13" fmla="*/ 118648 w 270760"/>
                  <a:gd name="connsiteY13" fmla="*/ 15458 h 398781"/>
                  <a:gd name="connsiteX14" fmla="*/ 18253 w 270760"/>
                  <a:gd name="connsiteY14" fmla="*/ 280134 h 398781"/>
                  <a:gd name="connsiteX15" fmla="*/ 21296 w 270760"/>
                  <a:gd name="connsiteY15" fmla="*/ 350106 h 398781"/>
                  <a:gd name="connsiteX16" fmla="*/ 109521 w 270760"/>
                  <a:gd name="connsiteY16" fmla="*/ 389655 h 398781"/>
                  <a:gd name="connsiteX17" fmla="*/ 130817 w 270760"/>
                  <a:gd name="connsiteY17" fmla="*/ 386613 h 398781"/>
                  <a:gd name="connsiteX18" fmla="*/ 142986 w 270760"/>
                  <a:gd name="connsiteY18" fmla="*/ 368359 h 398781"/>
                  <a:gd name="connsiteX19" fmla="*/ 258591 w 270760"/>
                  <a:gd name="connsiteY19" fmla="*/ 70218 h 398781"/>
                  <a:gd name="connsiteX20" fmla="*/ 219042 w 270760"/>
                  <a:gd name="connsiteY20" fmla="*/ 33711 h 398781"/>
                  <a:gd name="connsiteX21" fmla="*/ 149071 w 270760"/>
                  <a:gd name="connsiteY21" fmla="*/ 9373 h 398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0760" h="398781">
                    <a:moveTo>
                      <a:pt x="115606" y="398781"/>
                    </a:moveTo>
                    <a:cubicBezTo>
                      <a:pt x="112563" y="398781"/>
                      <a:pt x="109521" y="398781"/>
                      <a:pt x="106478" y="398781"/>
                    </a:cubicBezTo>
                    <a:cubicBezTo>
                      <a:pt x="76056" y="392697"/>
                      <a:pt x="36507" y="380528"/>
                      <a:pt x="12169" y="359233"/>
                    </a:cubicBezTo>
                    <a:cubicBezTo>
                      <a:pt x="0" y="350106"/>
                      <a:pt x="-3042" y="322725"/>
                      <a:pt x="3042" y="280134"/>
                    </a:cubicBezTo>
                    <a:cubicBezTo>
                      <a:pt x="18253" y="185824"/>
                      <a:pt x="76056" y="21542"/>
                      <a:pt x="109521" y="6331"/>
                    </a:cubicBezTo>
                    <a:cubicBezTo>
                      <a:pt x="136901" y="-5838"/>
                      <a:pt x="185577" y="247"/>
                      <a:pt x="225127" y="18500"/>
                    </a:cubicBezTo>
                    <a:cubicBezTo>
                      <a:pt x="249465" y="30669"/>
                      <a:pt x="264676" y="45880"/>
                      <a:pt x="270761" y="67176"/>
                    </a:cubicBezTo>
                    <a:lnTo>
                      <a:pt x="270761" y="70218"/>
                    </a:lnTo>
                    <a:lnTo>
                      <a:pt x="270761" y="73260"/>
                    </a:lnTo>
                    <a:cubicBezTo>
                      <a:pt x="270761" y="73260"/>
                      <a:pt x="179493" y="225373"/>
                      <a:pt x="155155" y="371401"/>
                    </a:cubicBezTo>
                    <a:cubicBezTo>
                      <a:pt x="152112" y="380528"/>
                      <a:pt x="146028" y="389655"/>
                      <a:pt x="139943" y="395740"/>
                    </a:cubicBezTo>
                    <a:cubicBezTo>
                      <a:pt x="130817" y="395740"/>
                      <a:pt x="124732" y="398781"/>
                      <a:pt x="115606" y="398781"/>
                    </a:cubicBezTo>
                    <a:close/>
                    <a:moveTo>
                      <a:pt x="149071" y="9373"/>
                    </a:moveTo>
                    <a:cubicBezTo>
                      <a:pt x="136901" y="9373"/>
                      <a:pt x="124732" y="12415"/>
                      <a:pt x="118648" y="15458"/>
                    </a:cubicBezTo>
                    <a:cubicBezTo>
                      <a:pt x="94310" y="24585"/>
                      <a:pt x="33465" y="176697"/>
                      <a:pt x="18253" y="280134"/>
                    </a:cubicBezTo>
                    <a:cubicBezTo>
                      <a:pt x="9127" y="331852"/>
                      <a:pt x="18253" y="347063"/>
                      <a:pt x="21296" y="350106"/>
                    </a:cubicBezTo>
                    <a:cubicBezTo>
                      <a:pt x="42592" y="368359"/>
                      <a:pt x="82141" y="380528"/>
                      <a:pt x="109521" y="389655"/>
                    </a:cubicBezTo>
                    <a:cubicBezTo>
                      <a:pt x="115606" y="392697"/>
                      <a:pt x="124732" y="389655"/>
                      <a:pt x="130817" y="386613"/>
                    </a:cubicBezTo>
                    <a:cubicBezTo>
                      <a:pt x="136901" y="383570"/>
                      <a:pt x="139943" y="377486"/>
                      <a:pt x="142986" y="368359"/>
                    </a:cubicBezTo>
                    <a:cubicBezTo>
                      <a:pt x="167324" y="228416"/>
                      <a:pt x="249465" y="88472"/>
                      <a:pt x="258591" y="70218"/>
                    </a:cubicBezTo>
                    <a:cubicBezTo>
                      <a:pt x="252507" y="51965"/>
                      <a:pt x="234253" y="39796"/>
                      <a:pt x="219042" y="33711"/>
                    </a:cubicBezTo>
                    <a:cubicBezTo>
                      <a:pt x="200789" y="15458"/>
                      <a:pt x="173408" y="9373"/>
                      <a:pt x="149071" y="937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ECCD3F0C-9F75-4932-96C2-19C841A55BED}"/>
                </a:ext>
              </a:extLst>
            </p:cNvPr>
            <p:cNvSpPr/>
            <p:nvPr/>
          </p:nvSpPr>
          <p:spPr>
            <a:xfrm>
              <a:off x="11496764" y="10691662"/>
              <a:ext cx="369464" cy="1618479"/>
            </a:xfrm>
            <a:custGeom>
              <a:avLst/>
              <a:gdLst>
                <a:gd name="connsiteX0" fmla="*/ 3042 w 369464"/>
                <a:gd name="connsiteY0" fmla="*/ 1524169 h 1618479"/>
                <a:gd name="connsiteX1" fmla="*/ 15211 w 369464"/>
                <a:gd name="connsiteY1" fmla="*/ 386367 h 1618479"/>
                <a:gd name="connsiteX2" fmla="*/ 0 w 369464"/>
                <a:gd name="connsiteY2" fmla="*/ 79099 h 1618479"/>
                <a:gd name="connsiteX3" fmla="*/ 368113 w 369464"/>
                <a:gd name="connsiteY3" fmla="*/ 0 h 1618479"/>
                <a:gd name="connsiteX4" fmla="*/ 368113 w 369464"/>
                <a:gd name="connsiteY4" fmla="*/ 413747 h 1618479"/>
                <a:gd name="connsiteX5" fmla="*/ 152113 w 369464"/>
                <a:gd name="connsiteY5" fmla="*/ 1618479 h 1618479"/>
                <a:gd name="connsiteX6" fmla="*/ 3042 w 369464"/>
                <a:gd name="connsiteY6" fmla="*/ 1524169 h 161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9464" h="1618479">
                  <a:moveTo>
                    <a:pt x="3042" y="1524169"/>
                  </a:moveTo>
                  <a:cubicBezTo>
                    <a:pt x="3042" y="1524169"/>
                    <a:pt x="12169" y="483719"/>
                    <a:pt x="15211" y="386367"/>
                  </a:cubicBezTo>
                  <a:cubicBezTo>
                    <a:pt x="18254" y="285973"/>
                    <a:pt x="0" y="79099"/>
                    <a:pt x="0" y="79099"/>
                  </a:cubicBezTo>
                  <a:lnTo>
                    <a:pt x="368113" y="0"/>
                  </a:lnTo>
                  <a:cubicBezTo>
                    <a:pt x="368113" y="0"/>
                    <a:pt x="371154" y="343775"/>
                    <a:pt x="368113" y="413747"/>
                  </a:cubicBezTo>
                  <a:cubicBezTo>
                    <a:pt x="365070" y="483719"/>
                    <a:pt x="152113" y="1618479"/>
                    <a:pt x="152113" y="1618479"/>
                  </a:cubicBezTo>
                  <a:lnTo>
                    <a:pt x="3042" y="1524169"/>
                  </a:ln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2" name="图形 1">
              <a:extLst>
                <a:ext uri="{FF2B5EF4-FFF2-40B4-BE49-F238E27FC236}">
                  <a16:creationId xmlns:a16="http://schemas.microsoft.com/office/drawing/2014/main" id="{00E56309-6969-495B-9AC6-45D4A56A47EC}"/>
                </a:ext>
              </a:extLst>
            </p:cNvPr>
            <p:cNvGrpSpPr/>
            <p:nvPr/>
          </p:nvGrpSpPr>
          <p:grpSpPr>
            <a:xfrm>
              <a:off x="12039300" y="10761635"/>
              <a:ext cx="482703" cy="1615436"/>
              <a:chOff x="12039300" y="10761635"/>
              <a:chExt cx="482703" cy="1615436"/>
            </a:xfrm>
          </p:grpSpPr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E303F38B-09F0-45D9-B843-9264823C908B}"/>
                  </a:ext>
                </a:extLst>
              </p:cNvPr>
              <p:cNvSpPr/>
              <p:nvPr/>
            </p:nvSpPr>
            <p:spPr>
              <a:xfrm>
                <a:off x="12047413" y="10761635"/>
                <a:ext cx="453191" cy="1475492"/>
              </a:xfrm>
              <a:custGeom>
                <a:avLst/>
                <a:gdLst>
                  <a:gd name="connsiteX0" fmla="*/ 164282 w 453191"/>
                  <a:gd name="connsiteY0" fmla="*/ 1451154 h 1475492"/>
                  <a:gd name="connsiteX1" fmla="*/ 447211 w 453191"/>
                  <a:gd name="connsiteY1" fmla="*/ 431999 h 1475492"/>
                  <a:gd name="connsiteX2" fmla="*/ 413746 w 453191"/>
                  <a:gd name="connsiteY2" fmla="*/ 0 h 1475492"/>
                  <a:gd name="connsiteX3" fmla="*/ 106479 w 453191"/>
                  <a:gd name="connsiteY3" fmla="*/ 45634 h 1475492"/>
                  <a:gd name="connsiteX4" fmla="*/ 136901 w 453191"/>
                  <a:gd name="connsiteY4" fmla="*/ 395493 h 1475492"/>
                  <a:gd name="connsiteX5" fmla="*/ 0 w 453191"/>
                  <a:gd name="connsiteY5" fmla="*/ 1475493 h 1475492"/>
                  <a:gd name="connsiteX6" fmla="*/ 164282 w 453191"/>
                  <a:gd name="connsiteY6" fmla="*/ 1451154 h 1475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3191" h="1475492">
                    <a:moveTo>
                      <a:pt x="164282" y="1451154"/>
                    </a:moveTo>
                    <a:cubicBezTo>
                      <a:pt x="164282" y="1451154"/>
                      <a:pt x="422873" y="544563"/>
                      <a:pt x="447211" y="431999"/>
                    </a:cubicBezTo>
                    <a:cubicBezTo>
                      <a:pt x="471549" y="319437"/>
                      <a:pt x="413746" y="0"/>
                      <a:pt x="413746" y="0"/>
                    </a:cubicBezTo>
                    <a:lnTo>
                      <a:pt x="106479" y="45634"/>
                    </a:lnTo>
                    <a:cubicBezTo>
                      <a:pt x="106479" y="45634"/>
                      <a:pt x="142985" y="334648"/>
                      <a:pt x="136901" y="395493"/>
                    </a:cubicBezTo>
                    <a:cubicBezTo>
                      <a:pt x="130817" y="450253"/>
                      <a:pt x="21295" y="1326423"/>
                      <a:pt x="0" y="1475493"/>
                    </a:cubicBezTo>
                    <a:lnTo>
                      <a:pt x="164282" y="1451154"/>
                    </a:ln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0D132101-5EAB-47DC-B6C6-23B47DD78AF2}"/>
                  </a:ext>
                </a:extLst>
              </p:cNvPr>
              <p:cNvSpPr/>
              <p:nvPr/>
            </p:nvSpPr>
            <p:spPr>
              <a:xfrm>
                <a:off x="12039300" y="12173240"/>
                <a:ext cx="482703" cy="158197"/>
              </a:xfrm>
              <a:custGeom>
                <a:avLst/>
                <a:gdLst>
                  <a:gd name="connsiteX0" fmla="*/ 8113 w 482703"/>
                  <a:gd name="connsiteY0" fmla="*/ 45634 h 158197"/>
                  <a:gd name="connsiteX1" fmla="*/ 181521 w 482703"/>
                  <a:gd name="connsiteY1" fmla="*/ 0 h 158197"/>
                  <a:gd name="connsiteX2" fmla="*/ 315380 w 482703"/>
                  <a:gd name="connsiteY2" fmla="*/ 79099 h 158197"/>
                  <a:gd name="connsiteX3" fmla="*/ 482704 w 482703"/>
                  <a:gd name="connsiteY3" fmla="*/ 158198 h 158197"/>
                  <a:gd name="connsiteX4" fmla="*/ 8113 w 482703"/>
                  <a:gd name="connsiteY4" fmla="*/ 158198 h 158197"/>
                  <a:gd name="connsiteX5" fmla="*/ 8113 w 482703"/>
                  <a:gd name="connsiteY5" fmla="*/ 45634 h 158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2703" h="158197">
                    <a:moveTo>
                      <a:pt x="8113" y="45634"/>
                    </a:moveTo>
                    <a:cubicBezTo>
                      <a:pt x="8113" y="45634"/>
                      <a:pt x="117633" y="63888"/>
                      <a:pt x="181521" y="0"/>
                    </a:cubicBezTo>
                    <a:cubicBezTo>
                      <a:pt x="181521" y="0"/>
                      <a:pt x="269746" y="69971"/>
                      <a:pt x="315380" y="79099"/>
                    </a:cubicBezTo>
                    <a:cubicBezTo>
                      <a:pt x="361013" y="88225"/>
                      <a:pt x="470535" y="85183"/>
                      <a:pt x="482704" y="158198"/>
                    </a:cubicBezTo>
                    <a:lnTo>
                      <a:pt x="8113" y="158198"/>
                    </a:lnTo>
                    <a:cubicBezTo>
                      <a:pt x="8113" y="158198"/>
                      <a:pt x="-10141" y="94310"/>
                      <a:pt x="8113" y="4563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972B2083-3B9F-4B28-8A73-F82B1958E77B}"/>
                  </a:ext>
                </a:extLst>
              </p:cNvPr>
              <p:cNvSpPr/>
              <p:nvPr/>
            </p:nvSpPr>
            <p:spPr>
              <a:xfrm>
                <a:off x="12047412" y="12331437"/>
                <a:ext cx="474591" cy="45633"/>
              </a:xfrm>
              <a:custGeom>
                <a:avLst/>
                <a:gdLst>
                  <a:gd name="connsiteX0" fmla="*/ 0 w 474591"/>
                  <a:gd name="connsiteY0" fmla="*/ 0 h 45633"/>
                  <a:gd name="connsiteX1" fmla="*/ 474592 w 474591"/>
                  <a:gd name="connsiteY1" fmla="*/ 0 h 45633"/>
                  <a:gd name="connsiteX2" fmla="*/ 474592 w 474591"/>
                  <a:gd name="connsiteY2" fmla="*/ 45634 h 45633"/>
                  <a:gd name="connsiteX3" fmla="*/ 0 w 474591"/>
                  <a:gd name="connsiteY3" fmla="*/ 45634 h 45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591" h="45633">
                    <a:moveTo>
                      <a:pt x="0" y="0"/>
                    </a:moveTo>
                    <a:lnTo>
                      <a:pt x="474592" y="0"/>
                    </a:lnTo>
                    <a:lnTo>
                      <a:pt x="474592" y="45634"/>
                    </a:lnTo>
                    <a:lnTo>
                      <a:pt x="0" y="45634"/>
                    </a:lnTo>
                    <a:close/>
                  </a:path>
                </a:pathLst>
              </a:custGeom>
              <a:solidFill>
                <a:srgbClr val="38333D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D2A9130A-62F4-4B13-B389-46B1C17F9783}"/>
                  </a:ext>
                </a:extLst>
              </p:cNvPr>
              <p:cNvSpPr/>
              <p:nvPr/>
            </p:nvSpPr>
            <p:spPr>
              <a:xfrm>
                <a:off x="12041328" y="12161832"/>
                <a:ext cx="184817" cy="63126"/>
              </a:xfrm>
              <a:custGeom>
                <a:avLst/>
                <a:gdLst>
                  <a:gd name="connsiteX0" fmla="*/ 39549 w 184817"/>
                  <a:gd name="connsiteY0" fmla="*/ 63127 h 63126"/>
                  <a:gd name="connsiteX1" fmla="*/ 6085 w 184817"/>
                  <a:gd name="connsiteY1" fmla="*/ 60084 h 63126"/>
                  <a:gd name="connsiteX2" fmla="*/ 0 w 184817"/>
                  <a:gd name="connsiteY2" fmla="*/ 54000 h 63126"/>
                  <a:gd name="connsiteX3" fmla="*/ 6085 w 184817"/>
                  <a:gd name="connsiteY3" fmla="*/ 47916 h 63126"/>
                  <a:gd name="connsiteX4" fmla="*/ 173409 w 184817"/>
                  <a:gd name="connsiteY4" fmla="*/ 2282 h 63126"/>
                  <a:gd name="connsiteX5" fmla="*/ 182535 w 184817"/>
                  <a:gd name="connsiteY5" fmla="*/ 2282 h 63126"/>
                  <a:gd name="connsiteX6" fmla="*/ 182535 w 184817"/>
                  <a:gd name="connsiteY6" fmla="*/ 11408 h 63126"/>
                  <a:gd name="connsiteX7" fmla="*/ 39549 w 184817"/>
                  <a:gd name="connsiteY7" fmla="*/ 63127 h 63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4817" h="63126">
                    <a:moveTo>
                      <a:pt x="39549" y="63127"/>
                    </a:moveTo>
                    <a:cubicBezTo>
                      <a:pt x="21296" y="63127"/>
                      <a:pt x="9126" y="60084"/>
                      <a:pt x="6085" y="60084"/>
                    </a:cubicBezTo>
                    <a:cubicBezTo>
                      <a:pt x="3042" y="60084"/>
                      <a:pt x="0" y="57042"/>
                      <a:pt x="0" y="54000"/>
                    </a:cubicBezTo>
                    <a:cubicBezTo>
                      <a:pt x="0" y="50957"/>
                      <a:pt x="3042" y="47916"/>
                      <a:pt x="6085" y="47916"/>
                    </a:cubicBezTo>
                    <a:cubicBezTo>
                      <a:pt x="6085" y="47916"/>
                      <a:pt x="106479" y="63127"/>
                      <a:pt x="173409" y="2282"/>
                    </a:cubicBezTo>
                    <a:cubicBezTo>
                      <a:pt x="176450" y="-761"/>
                      <a:pt x="179493" y="-761"/>
                      <a:pt x="182535" y="2282"/>
                    </a:cubicBezTo>
                    <a:cubicBezTo>
                      <a:pt x="185578" y="5323"/>
                      <a:pt x="185578" y="8366"/>
                      <a:pt x="182535" y="11408"/>
                    </a:cubicBezTo>
                    <a:cubicBezTo>
                      <a:pt x="133859" y="57042"/>
                      <a:pt x="76056" y="63127"/>
                      <a:pt x="39549" y="6312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A33F86F2-03FF-4552-AC97-876C2A38E949}"/>
                  </a:ext>
                </a:extLst>
              </p:cNvPr>
              <p:cNvSpPr/>
              <p:nvPr/>
            </p:nvSpPr>
            <p:spPr>
              <a:xfrm>
                <a:off x="12224623" y="12189212"/>
                <a:ext cx="38027" cy="41830"/>
              </a:xfrm>
              <a:custGeom>
                <a:avLst/>
                <a:gdLst>
                  <a:gd name="connsiteX0" fmla="*/ 5324 w 38027"/>
                  <a:gd name="connsiteY0" fmla="*/ 41831 h 41830"/>
                  <a:gd name="connsiteX1" fmla="*/ 2282 w 38027"/>
                  <a:gd name="connsiteY1" fmla="*/ 38788 h 41830"/>
                  <a:gd name="connsiteX2" fmla="*/ 2282 w 38027"/>
                  <a:gd name="connsiteY2" fmla="*/ 29662 h 41830"/>
                  <a:gd name="connsiteX3" fmla="*/ 26619 w 38027"/>
                  <a:gd name="connsiteY3" fmla="*/ 2282 h 41830"/>
                  <a:gd name="connsiteX4" fmla="*/ 35747 w 38027"/>
                  <a:gd name="connsiteY4" fmla="*/ 2282 h 41830"/>
                  <a:gd name="connsiteX5" fmla="*/ 35747 w 38027"/>
                  <a:gd name="connsiteY5" fmla="*/ 11408 h 41830"/>
                  <a:gd name="connsiteX6" fmla="*/ 11408 w 38027"/>
                  <a:gd name="connsiteY6" fmla="*/ 38788 h 41830"/>
                  <a:gd name="connsiteX7" fmla="*/ 5324 w 38027"/>
                  <a:gd name="connsiteY7" fmla="*/ 41831 h 41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027" h="41830">
                    <a:moveTo>
                      <a:pt x="5324" y="41831"/>
                    </a:moveTo>
                    <a:cubicBezTo>
                      <a:pt x="5324" y="41831"/>
                      <a:pt x="2282" y="41831"/>
                      <a:pt x="2282" y="38788"/>
                    </a:cubicBezTo>
                    <a:cubicBezTo>
                      <a:pt x="-761" y="35747"/>
                      <a:pt x="-761" y="32704"/>
                      <a:pt x="2282" y="29662"/>
                    </a:cubicBezTo>
                    <a:lnTo>
                      <a:pt x="26619" y="2282"/>
                    </a:lnTo>
                    <a:cubicBezTo>
                      <a:pt x="29662" y="-761"/>
                      <a:pt x="32704" y="-761"/>
                      <a:pt x="35747" y="2282"/>
                    </a:cubicBezTo>
                    <a:cubicBezTo>
                      <a:pt x="38788" y="5324"/>
                      <a:pt x="38788" y="8366"/>
                      <a:pt x="35747" y="11408"/>
                    </a:cubicBezTo>
                    <a:lnTo>
                      <a:pt x="11408" y="38788"/>
                    </a:lnTo>
                    <a:cubicBezTo>
                      <a:pt x="8366" y="41831"/>
                      <a:pt x="8366" y="41831"/>
                      <a:pt x="5324" y="418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77F8607F-9D3F-4122-83CC-962AB06F929D}"/>
                  </a:ext>
                </a:extLst>
              </p:cNvPr>
              <p:cNvSpPr/>
              <p:nvPr/>
            </p:nvSpPr>
            <p:spPr>
              <a:xfrm>
                <a:off x="12264172" y="12216592"/>
                <a:ext cx="41071" cy="41830"/>
              </a:xfrm>
              <a:custGeom>
                <a:avLst/>
                <a:gdLst>
                  <a:gd name="connsiteX0" fmla="*/ 5324 w 41071"/>
                  <a:gd name="connsiteY0" fmla="*/ 41831 h 41830"/>
                  <a:gd name="connsiteX1" fmla="*/ 2282 w 41071"/>
                  <a:gd name="connsiteY1" fmla="*/ 38789 h 41830"/>
                  <a:gd name="connsiteX2" fmla="*/ 2282 w 41071"/>
                  <a:gd name="connsiteY2" fmla="*/ 29662 h 41830"/>
                  <a:gd name="connsiteX3" fmla="*/ 29662 w 41071"/>
                  <a:gd name="connsiteY3" fmla="*/ 2282 h 41830"/>
                  <a:gd name="connsiteX4" fmla="*/ 38789 w 41071"/>
                  <a:gd name="connsiteY4" fmla="*/ 2282 h 41830"/>
                  <a:gd name="connsiteX5" fmla="*/ 38789 w 41071"/>
                  <a:gd name="connsiteY5" fmla="*/ 11408 h 41830"/>
                  <a:gd name="connsiteX6" fmla="*/ 11409 w 41071"/>
                  <a:gd name="connsiteY6" fmla="*/ 38789 h 41830"/>
                  <a:gd name="connsiteX7" fmla="*/ 5324 w 41071"/>
                  <a:gd name="connsiteY7" fmla="*/ 41831 h 41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071" h="41830">
                    <a:moveTo>
                      <a:pt x="5324" y="41831"/>
                    </a:moveTo>
                    <a:cubicBezTo>
                      <a:pt x="5324" y="41831"/>
                      <a:pt x="2282" y="41831"/>
                      <a:pt x="2282" y="38789"/>
                    </a:cubicBezTo>
                    <a:cubicBezTo>
                      <a:pt x="-761" y="35747"/>
                      <a:pt x="-761" y="32704"/>
                      <a:pt x="2282" y="29662"/>
                    </a:cubicBezTo>
                    <a:lnTo>
                      <a:pt x="29662" y="2282"/>
                    </a:lnTo>
                    <a:cubicBezTo>
                      <a:pt x="32704" y="-761"/>
                      <a:pt x="35747" y="-761"/>
                      <a:pt x="38789" y="2282"/>
                    </a:cubicBezTo>
                    <a:cubicBezTo>
                      <a:pt x="41832" y="5324"/>
                      <a:pt x="41832" y="8367"/>
                      <a:pt x="38789" y="11408"/>
                    </a:cubicBezTo>
                    <a:lnTo>
                      <a:pt x="11409" y="38789"/>
                    </a:lnTo>
                    <a:cubicBezTo>
                      <a:pt x="8367" y="38789"/>
                      <a:pt x="5324" y="41831"/>
                      <a:pt x="5324" y="418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004F9353-52A7-4C86-8A8C-8458A29F155B}"/>
                </a:ext>
              </a:extLst>
            </p:cNvPr>
            <p:cNvSpPr/>
            <p:nvPr/>
          </p:nvSpPr>
          <p:spPr>
            <a:xfrm>
              <a:off x="11807074" y="8178761"/>
              <a:ext cx="249465" cy="257689"/>
            </a:xfrm>
            <a:custGeom>
              <a:avLst/>
              <a:gdLst>
                <a:gd name="connsiteX0" fmla="*/ 249465 w 249465"/>
                <a:gd name="connsiteY0" fmla="*/ 39549 h 257689"/>
                <a:gd name="connsiteX1" fmla="*/ 243380 w 249465"/>
                <a:gd name="connsiteY1" fmla="*/ 212958 h 257689"/>
                <a:gd name="connsiteX2" fmla="*/ 0 w 249465"/>
                <a:gd name="connsiteY2" fmla="*/ 203831 h 257689"/>
                <a:gd name="connsiteX3" fmla="*/ 15211 w 249465"/>
                <a:gd name="connsiteY3" fmla="*/ 0 h 257689"/>
                <a:gd name="connsiteX4" fmla="*/ 249465 w 249465"/>
                <a:gd name="connsiteY4" fmla="*/ 39549 h 257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465" h="257689">
                  <a:moveTo>
                    <a:pt x="249465" y="39549"/>
                  </a:moveTo>
                  <a:cubicBezTo>
                    <a:pt x="249465" y="39549"/>
                    <a:pt x="243380" y="139944"/>
                    <a:pt x="243380" y="212958"/>
                  </a:cubicBezTo>
                  <a:cubicBezTo>
                    <a:pt x="243380" y="212958"/>
                    <a:pt x="149071" y="319437"/>
                    <a:pt x="0" y="203831"/>
                  </a:cubicBezTo>
                  <a:cubicBezTo>
                    <a:pt x="0" y="142986"/>
                    <a:pt x="12170" y="63888"/>
                    <a:pt x="15211" y="0"/>
                  </a:cubicBezTo>
                  <a:cubicBezTo>
                    <a:pt x="15211" y="0"/>
                    <a:pt x="197746" y="51718"/>
                    <a:pt x="249465" y="39549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3CFE7683-CE4F-489D-A059-610E4F16CD17}"/>
                </a:ext>
              </a:extLst>
            </p:cNvPr>
            <p:cNvSpPr/>
            <p:nvPr/>
          </p:nvSpPr>
          <p:spPr>
            <a:xfrm>
              <a:off x="11715806" y="8060113"/>
              <a:ext cx="69972" cy="136901"/>
            </a:xfrm>
            <a:custGeom>
              <a:avLst/>
              <a:gdLst>
                <a:gd name="connsiteX0" fmla="*/ 0 w 69972"/>
                <a:gd name="connsiteY0" fmla="*/ 0 h 136901"/>
                <a:gd name="connsiteX1" fmla="*/ 66930 w 69972"/>
                <a:gd name="connsiteY1" fmla="*/ 136901 h 136901"/>
                <a:gd name="connsiteX2" fmla="*/ 69972 w 69972"/>
                <a:gd name="connsiteY2" fmla="*/ 51718 h 136901"/>
                <a:gd name="connsiteX3" fmla="*/ 0 w 69972"/>
                <a:gd name="connsiteY3" fmla="*/ 0 h 136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972" h="136901">
                  <a:moveTo>
                    <a:pt x="0" y="0"/>
                  </a:moveTo>
                  <a:cubicBezTo>
                    <a:pt x="0" y="0"/>
                    <a:pt x="15211" y="118648"/>
                    <a:pt x="66930" y="136901"/>
                  </a:cubicBezTo>
                  <a:lnTo>
                    <a:pt x="69972" y="517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3A75BEF4-EC81-4545-A562-B82E04D34C85}"/>
                </a:ext>
              </a:extLst>
            </p:cNvPr>
            <p:cNvSpPr/>
            <p:nvPr/>
          </p:nvSpPr>
          <p:spPr>
            <a:xfrm>
              <a:off x="12071300" y="7853240"/>
              <a:ext cx="102415" cy="237308"/>
            </a:xfrm>
            <a:custGeom>
              <a:avLst/>
              <a:gdLst>
                <a:gd name="connsiteX0" fmla="*/ 94761 w 102415"/>
                <a:gd name="connsiteY0" fmla="*/ 0 h 237308"/>
                <a:gd name="connsiteX1" fmla="*/ 55211 w 102415"/>
                <a:gd name="connsiteY1" fmla="*/ 234253 h 237308"/>
                <a:gd name="connsiteX2" fmla="*/ 451 w 102415"/>
                <a:gd name="connsiteY2" fmla="*/ 15211 h 237308"/>
                <a:gd name="connsiteX3" fmla="*/ 94761 w 102415"/>
                <a:gd name="connsiteY3" fmla="*/ 0 h 23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415" h="237308">
                  <a:moveTo>
                    <a:pt x="94761" y="0"/>
                  </a:moveTo>
                  <a:cubicBezTo>
                    <a:pt x="94761" y="0"/>
                    <a:pt x="128226" y="194704"/>
                    <a:pt x="55211" y="234253"/>
                  </a:cubicBezTo>
                  <a:cubicBezTo>
                    <a:pt x="-8676" y="267718"/>
                    <a:pt x="451" y="15211"/>
                    <a:pt x="451" y="15211"/>
                  </a:cubicBezTo>
                  <a:lnTo>
                    <a:pt x="94761" y="0"/>
                  </a:lnTo>
                  <a:close/>
                </a:path>
              </a:pathLst>
            </a:custGeom>
            <a:solidFill>
              <a:srgbClr val="664241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643057A9-90D3-493B-BA9C-605015A19EC4}"/>
                </a:ext>
              </a:extLst>
            </p:cNvPr>
            <p:cNvSpPr/>
            <p:nvPr/>
          </p:nvSpPr>
          <p:spPr>
            <a:xfrm>
              <a:off x="11715806" y="7715451"/>
              <a:ext cx="422482" cy="567349"/>
            </a:xfrm>
            <a:custGeom>
              <a:avLst/>
              <a:gdLst>
                <a:gd name="connsiteX0" fmla="*/ 410704 w 422482"/>
                <a:gd name="connsiteY0" fmla="*/ 180381 h 567349"/>
                <a:gd name="connsiteX1" fmla="*/ 413747 w 422482"/>
                <a:gd name="connsiteY1" fmla="*/ 429846 h 567349"/>
                <a:gd name="connsiteX2" fmla="*/ 255550 w 422482"/>
                <a:gd name="connsiteY2" fmla="*/ 566748 h 567349"/>
                <a:gd name="connsiteX3" fmla="*/ 39550 w 422482"/>
                <a:gd name="connsiteY3" fmla="*/ 426804 h 567349"/>
                <a:gd name="connsiteX4" fmla="*/ 0 w 422482"/>
                <a:gd name="connsiteY4" fmla="*/ 201677 h 567349"/>
                <a:gd name="connsiteX5" fmla="*/ 209916 w 422482"/>
                <a:gd name="connsiteY5" fmla="*/ 888 h 567349"/>
                <a:gd name="connsiteX6" fmla="*/ 410704 w 422482"/>
                <a:gd name="connsiteY6" fmla="*/ 180381 h 567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2482" h="567349">
                  <a:moveTo>
                    <a:pt x="410704" y="180381"/>
                  </a:moveTo>
                  <a:cubicBezTo>
                    <a:pt x="410704" y="180381"/>
                    <a:pt x="435043" y="356832"/>
                    <a:pt x="413747" y="429846"/>
                  </a:cubicBezTo>
                  <a:cubicBezTo>
                    <a:pt x="395493" y="496776"/>
                    <a:pt x="307268" y="560663"/>
                    <a:pt x="255550" y="566748"/>
                  </a:cubicBezTo>
                  <a:cubicBezTo>
                    <a:pt x="188620" y="572832"/>
                    <a:pt x="69972" y="533283"/>
                    <a:pt x="39550" y="426804"/>
                  </a:cubicBezTo>
                  <a:cubicBezTo>
                    <a:pt x="18254" y="353790"/>
                    <a:pt x="0" y="253395"/>
                    <a:pt x="0" y="201677"/>
                  </a:cubicBezTo>
                  <a:cubicBezTo>
                    <a:pt x="0" y="107367"/>
                    <a:pt x="27381" y="28268"/>
                    <a:pt x="209916" y="888"/>
                  </a:cubicBezTo>
                  <a:cubicBezTo>
                    <a:pt x="295099" y="-11281"/>
                    <a:pt x="392451" y="104325"/>
                    <a:pt x="410704" y="180381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60D3EE10-FB4A-4FDE-92F8-62A25FFACB24}"/>
                </a:ext>
              </a:extLst>
            </p:cNvPr>
            <p:cNvSpPr/>
            <p:nvPr/>
          </p:nvSpPr>
          <p:spPr>
            <a:xfrm>
              <a:off x="11943975" y="7974930"/>
              <a:ext cx="57803" cy="139943"/>
            </a:xfrm>
            <a:custGeom>
              <a:avLst/>
              <a:gdLst>
                <a:gd name="connsiteX0" fmla="*/ 27381 w 57803"/>
                <a:gd name="connsiteY0" fmla="*/ 139944 h 139943"/>
                <a:gd name="connsiteX1" fmla="*/ 6085 w 57803"/>
                <a:gd name="connsiteY1" fmla="*/ 136901 h 139943"/>
                <a:gd name="connsiteX2" fmla="*/ 0 w 57803"/>
                <a:gd name="connsiteY2" fmla="*/ 130817 h 139943"/>
                <a:gd name="connsiteX3" fmla="*/ 6085 w 57803"/>
                <a:gd name="connsiteY3" fmla="*/ 124733 h 139943"/>
                <a:gd name="connsiteX4" fmla="*/ 45634 w 57803"/>
                <a:gd name="connsiteY4" fmla="*/ 121690 h 139943"/>
                <a:gd name="connsiteX5" fmla="*/ 45634 w 57803"/>
                <a:gd name="connsiteY5" fmla="*/ 118648 h 139943"/>
                <a:gd name="connsiteX6" fmla="*/ 27381 w 57803"/>
                <a:gd name="connsiteY6" fmla="*/ 6084 h 139943"/>
                <a:gd name="connsiteX7" fmla="*/ 33465 w 57803"/>
                <a:gd name="connsiteY7" fmla="*/ 0 h 139943"/>
                <a:gd name="connsiteX8" fmla="*/ 39550 w 57803"/>
                <a:gd name="connsiteY8" fmla="*/ 6084 h 139943"/>
                <a:gd name="connsiteX9" fmla="*/ 57804 w 57803"/>
                <a:gd name="connsiteY9" fmla="*/ 118648 h 139943"/>
                <a:gd name="connsiteX10" fmla="*/ 51719 w 57803"/>
                <a:gd name="connsiteY10" fmla="*/ 130817 h 139943"/>
                <a:gd name="connsiteX11" fmla="*/ 27381 w 57803"/>
                <a:gd name="connsiteY11" fmla="*/ 139944 h 139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803" h="139943">
                  <a:moveTo>
                    <a:pt x="27381" y="139944"/>
                  </a:moveTo>
                  <a:cubicBezTo>
                    <a:pt x="18254" y="139944"/>
                    <a:pt x="9127" y="136901"/>
                    <a:pt x="6085" y="136901"/>
                  </a:cubicBezTo>
                  <a:cubicBezTo>
                    <a:pt x="3042" y="136901"/>
                    <a:pt x="0" y="133859"/>
                    <a:pt x="0" y="130817"/>
                  </a:cubicBezTo>
                  <a:cubicBezTo>
                    <a:pt x="0" y="127775"/>
                    <a:pt x="3042" y="124733"/>
                    <a:pt x="6085" y="124733"/>
                  </a:cubicBezTo>
                  <a:cubicBezTo>
                    <a:pt x="18254" y="127775"/>
                    <a:pt x="39550" y="127775"/>
                    <a:pt x="45634" y="121690"/>
                  </a:cubicBezTo>
                  <a:cubicBezTo>
                    <a:pt x="45634" y="121690"/>
                    <a:pt x="45634" y="118648"/>
                    <a:pt x="45634" y="118648"/>
                  </a:cubicBezTo>
                  <a:cubicBezTo>
                    <a:pt x="45634" y="100394"/>
                    <a:pt x="27381" y="9127"/>
                    <a:pt x="27381" y="6084"/>
                  </a:cubicBezTo>
                  <a:cubicBezTo>
                    <a:pt x="27381" y="3042"/>
                    <a:pt x="27381" y="0"/>
                    <a:pt x="33465" y="0"/>
                  </a:cubicBezTo>
                  <a:cubicBezTo>
                    <a:pt x="36507" y="0"/>
                    <a:pt x="39550" y="0"/>
                    <a:pt x="39550" y="6084"/>
                  </a:cubicBezTo>
                  <a:cubicBezTo>
                    <a:pt x="39550" y="9127"/>
                    <a:pt x="57804" y="100394"/>
                    <a:pt x="57804" y="118648"/>
                  </a:cubicBezTo>
                  <a:cubicBezTo>
                    <a:pt x="57804" y="124733"/>
                    <a:pt x="54761" y="127775"/>
                    <a:pt x="51719" y="130817"/>
                  </a:cubicBezTo>
                  <a:cubicBezTo>
                    <a:pt x="48676" y="139944"/>
                    <a:pt x="36507" y="139944"/>
                    <a:pt x="27381" y="139944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8A80F6B1-EE06-451B-BC14-2D38F48A1FA0}"/>
                </a:ext>
              </a:extLst>
            </p:cNvPr>
            <p:cNvSpPr/>
            <p:nvPr/>
          </p:nvSpPr>
          <p:spPr>
            <a:xfrm>
              <a:off x="11913553" y="8166592"/>
              <a:ext cx="106478" cy="51718"/>
            </a:xfrm>
            <a:custGeom>
              <a:avLst/>
              <a:gdLst>
                <a:gd name="connsiteX0" fmla="*/ 106479 w 106478"/>
                <a:gd name="connsiteY0" fmla="*/ 0 h 51718"/>
                <a:gd name="connsiteX1" fmla="*/ 0 w 106478"/>
                <a:gd name="connsiteY1" fmla="*/ 0 h 51718"/>
                <a:gd name="connsiteX2" fmla="*/ 51719 w 106478"/>
                <a:gd name="connsiteY2" fmla="*/ 51718 h 51718"/>
                <a:gd name="connsiteX3" fmla="*/ 106479 w 106478"/>
                <a:gd name="connsiteY3" fmla="*/ 0 h 51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478" h="51718">
                  <a:moveTo>
                    <a:pt x="106479" y="0"/>
                  </a:moveTo>
                  <a:cubicBezTo>
                    <a:pt x="106479" y="0"/>
                    <a:pt x="51719" y="15211"/>
                    <a:pt x="0" y="0"/>
                  </a:cubicBezTo>
                  <a:cubicBezTo>
                    <a:pt x="0" y="0"/>
                    <a:pt x="3042" y="51718"/>
                    <a:pt x="51719" y="51718"/>
                  </a:cubicBezTo>
                  <a:cubicBezTo>
                    <a:pt x="97352" y="51718"/>
                    <a:pt x="106479" y="0"/>
                    <a:pt x="106479" y="0"/>
                  </a:cubicBezTo>
                  <a:close/>
                </a:path>
              </a:pathLst>
            </a:custGeom>
            <a:solidFill>
              <a:srgbClr val="FFFFFF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97F0053A-0AD0-4F5F-9144-15D97BEA03D0}"/>
                </a:ext>
              </a:extLst>
            </p:cNvPr>
            <p:cNvSpPr/>
            <p:nvPr/>
          </p:nvSpPr>
          <p:spPr>
            <a:xfrm>
              <a:off x="12031604" y="7956080"/>
              <a:ext cx="40742" cy="40742"/>
            </a:xfrm>
            <a:custGeom>
              <a:avLst/>
              <a:gdLst>
                <a:gd name="connsiteX0" fmla="*/ 597 w 40742"/>
                <a:gd name="connsiteY0" fmla="*/ 24935 h 40742"/>
                <a:gd name="connsiteX1" fmla="*/ 24934 w 40742"/>
                <a:gd name="connsiteY1" fmla="*/ 40146 h 40742"/>
                <a:gd name="connsiteX2" fmla="*/ 40146 w 40742"/>
                <a:gd name="connsiteY2" fmla="*/ 15808 h 40742"/>
                <a:gd name="connsiteX3" fmla="*/ 15808 w 40742"/>
                <a:gd name="connsiteY3" fmla="*/ 597 h 40742"/>
                <a:gd name="connsiteX4" fmla="*/ 597 w 40742"/>
                <a:gd name="connsiteY4" fmla="*/ 24935 h 40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42" h="40742">
                  <a:moveTo>
                    <a:pt x="597" y="24935"/>
                  </a:moveTo>
                  <a:cubicBezTo>
                    <a:pt x="3638" y="34062"/>
                    <a:pt x="12766" y="43188"/>
                    <a:pt x="24934" y="40146"/>
                  </a:cubicBezTo>
                  <a:cubicBezTo>
                    <a:pt x="34061" y="37104"/>
                    <a:pt x="43188" y="27977"/>
                    <a:pt x="40146" y="15808"/>
                  </a:cubicBezTo>
                  <a:cubicBezTo>
                    <a:pt x="37103" y="6682"/>
                    <a:pt x="27977" y="-2445"/>
                    <a:pt x="15808" y="597"/>
                  </a:cubicBezTo>
                  <a:cubicBezTo>
                    <a:pt x="6681" y="3639"/>
                    <a:pt x="-2446" y="12766"/>
                    <a:pt x="597" y="24935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241D2D2A-F8EE-41D4-B579-998F2892EA27}"/>
                </a:ext>
              </a:extLst>
            </p:cNvPr>
            <p:cNvSpPr/>
            <p:nvPr/>
          </p:nvSpPr>
          <p:spPr>
            <a:xfrm>
              <a:off x="11849069" y="7974333"/>
              <a:ext cx="40742" cy="40742"/>
            </a:xfrm>
            <a:custGeom>
              <a:avLst/>
              <a:gdLst>
                <a:gd name="connsiteX0" fmla="*/ 597 w 40742"/>
                <a:gd name="connsiteY0" fmla="*/ 24935 h 40742"/>
                <a:gd name="connsiteX1" fmla="*/ 24934 w 40742"/>
                <a:gd name="connsiteY1" fmla="*/ 40146 h 40742"/>
                <a:gd name="connsiteX2" fmla="*/ 40146 w 40742"/>
                <a:gd name="connsiteY2" fmla="*/ 15808 h 40742"/>
                <a:gd name="connsiteX3" fmla="*/ 15808 w 40742"/>
                <a:gd name="connsiteY3" fmla="*/ 597 h 40742"/>
                <a:gd name="connsiteX4" fmla="*/ 597 w 40742"/>
                <a:gd name="connsiteY4" fmla="*/ 24935 h 40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42" h="40742">
                  <a:moveTo>
                    <a:pt x="597" y="24935"/>
                  </a:moveTo>
                  <a:cubicBezTo>
                    <a:pt x="3638" y="34062"/>
                    <a:pt x="12766" y="43188"/>
                    <a:pt x="24934" y="40146"/>
                  </a:cubicBezTo>
                  <a:cubicBezTo>
                    <a:pt x="34061" y="37104"/>
                    <a:pt x="43188" y="27977"/>
                    <a:pt x="40146" y="15808"/>
                  </a:cubicBezTo>
                  <a:cubicBezTo>
                    <a:pt x="37103" y="6681"/>
                    <a:pt x="27977" y="-2446"/>
                    <a:pt x="15808" y="597"/>
                  </a:cubicBezTo>
                  <a:cubicBezTo>
                    <a:pt x="6681" y="3639"/>
                    <a:pt x="-2446" y="15808"/>
                    <a:pt x="597" y="24935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279CFE60-62D2-4EEF-B6FC-6D615D7DE353}"/>
                </a:ext>
              </a:extLst>
            </p:cNvPr>
            <p:cNvSpPr/>
            <p:nvPr/>
          </p:nvSpPr>
          <p:spPr>
            <a:xfrm>
              <a:off x="12003560" y="7904958"/>
              <a:ext cx="91767" cy="33464"/>
            </a:xfrm>
            <a:custGeom>
              <a:avLst/>
              <a:gdLst>
                <a:gd name="connsiteX0" fmla="*/ 86443 w 91767"/>
                <a:gd name="connsiteY0" fmla="*/ 33465 h 33464"/>
                <a:gd name="connsiteX1" fmla="*/ 80359 w 91767"/>
                <a:gd name="connsiteY1" fmla="*/ 30423 h 33464"/>
                <a:gd name="connsiteX2" fmla="*/ 13430 w 91767"/>
                <a:gd name="connsiteY2" fmla="*/ 24338 h 33464"/>
                <a:gd name="connsiteX3" fmla="*/ 1260 w 91767"/>
                <a:gd name="connsiteY3" fmla="*/ 21296 h 33464"/>
                <a:gd name="connsiteX4" fmla="*/ 4302 w 91767"/>
                <a:gd name="connsiteY4" fmla="*/ 9127 h 33464"/>
                <a:gd name="connsiteX5" fmla="*/ 89486 w 91767"/>
                <a:gd name="connsiteY5" fmla="*/ 18254 h 33464"/>
                <a:gd name="connsiteX6" fmla="*/ 89486 w 91767"/>
                <a:gd name="connsiteY6" fmla="*/ 30423 h 33464"/>
                <a:gd name="connsiteX7" fmla="*/ 86443 w 91767"/>
                <a:gd name="connsiteY7" fmla="*/ 33465 h 33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3464">
                  <a:moveTo>
                    <a:pt x="86443" y="33465"/>
                  </a:moveTo>
                  <a:cubicBezTo>
                    <a:pt x="83401" y="33465"/>
                    <a:pt x="83401" y="33465"/>
                    <a:pt x="80359" y="30423"/>
                  </a:cubicBezTo>
                  <a:cubicBezTo>
                    <a:pt x="52978" y="3042"/>
                    <a:pt x="16471" y="24338"/>
                    <a:pt x="13430" y="24338"/>
                  </a:cubicBezTo>
                  <a:cubicBezTo>
                    <a:pt x="10387" y="27381"/>
                    <a:pt x="4302" y="24338"/>
                    <a:pt x="1260" y="21296"/>
                  </a:cubicBezTo>
                  <a:cubicBezTo>
                    <a:pt x="-1782" y="18254"/>
                    <a:pt x="1260" y="12169"/>
                    <a:pt x="4302" y="9127"/>
                  </a:cubicBezTo>
                  <a:cubicBezTo>
                    <a:pt x="22556" y="0"/>
                    <a:pt x="62105" y="-9127"/>
                    <a:pt x="89486" y="18254"/>
                  </a:cubicBezTo>
                  <a:cubicBezTo>
                    <a:pt x="92527" y="21296"/>
                    <a:pt x="92527" y="27381"/>
                    <a:pt x="89486" y="30423"/>
                  </a:cubicBezTo>
                  <a:cubicBezTo>
                    <a:pt x="89486" y="33465"/>
                    <a:pt x="86443" y="33465"/>
                    <a:pt x="86443" y="33465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FD791599-35AC-4B02-982A-1405E449F64A}"/>
                </a:ext>
              </a:extLst>
            </p:cNvPr>
            <p:cNvSpPr/>
            <p:nvPr/>
          </p:nvSpPr>
          <p:spPr>
            <a:xfrm>
              <a:off x="11813919" y="7908310"/>
              <a:ext cx="91767" cy="36197"/>
            </a:xfrm>
            <a:custGeom>
              <a:avLst/>
              <a:gdLst>
                <a:gd name="connsiteX0" fmla="*/ 8366 w 91767"/>
                <a:gd name="connsiteY0" fmla="*/ 36198 h 36197"/>
                <a:gd name="connsiteX1" fmla="*/ 2282 w 91767"/>
                <a:gd name="connsiteY1" fmla="*/ 33155 h 36197"/>
                <a:gd name="connsiteX2" fmla="*/ 2282 w 91767"/>
                <a:gd name="connsiteY2" fmla="*/ 20986 h 36197"/>
                <a:gd name="connsiteX3" fmla="*/ 87465 w 91767"/>
                <a:gd name="connsiteY3" fmla="*/ 11859 h 36197"/>
                <a:gd name="connsiteX4" fmla="*/ 90507 w 91767"/>
                <a:gd name="connsiteY4" fmla="*/ 24029 h 36197"/>
                <a:gd name="connsiteX5" fmla="*/ 78338 w 91767"/>
                <a:gd name="connsiteY5" fmla="*/ 27071 h 36197"/>
                <a:gd name="connsiteX6" fmla="*/ 11408 w 91767"/>
                <a:gd name="connsiteY6" fmla="*/ 33155 h 36197"/>
                <a:gd name="connsiteX7" fmla="*/ 8366 w 91767"/>
                <a:gd name="connsiteY7" fmla="*/ 36198 h 36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6197">
                  <a:moveTo>
                    <a:pt x="8366" y="36198"/>
                  </a:moveTo>
                  <a:cubicBezTo>
                    <a:pt x="5324" y="36198"/>
                    <a:pt x="5324" y="36198"/>
                    <a:pt x="2282" y="33155"/>
                  </a:cubicBezTo>
                  <a:cubicBezTo>
                    <a:pt x="-761" y="30113"/>
                    <a:pt x="-761" y="24029"/>
                    <a:pt x="2282" y="20986"/>
                  </a:cubicBezTo>
                  <a:cubicBezTo>
                    <a:pt x="14451" y="5775"/>
                    <a:pt x="50958" y="-12479"/>
                    <a:pt x="87465" y="11859"/>
                  </a:cubicBezTo>
                  <a:cubicBezTo>
                    <a:pt x="90507" y="14902"/>
                    <a:pt x="93549" y="17944"/>
                    <a:pt x="90507" y="24029"/>
                  </a:cubicBezTo>
                  <a:cubicBezTo>
                    <a:pt x="87465" y="27071"/>
                    <a:pt x="84422" y="30113"/>
                    <a:pt x="78338" y="27071"/>
                  </a:cubicBezTo>
                  <a:cubicBezTo>
                    <a:pt x="41831" y="2733"/>
                    <a:pt x="14451" y="33155"/>
                    <a:pt x="11408" y="33155"/>
                  </a:cubicBezTo>
                  <a:cubicBezTo>
                    <a:pt x="14451" y="36198"/>
                    <a:pt x="11408" y="36198"/>
                    <a:pt x="8366" y="36198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E24AACCE-EA3D-4B51-8624-44C8205B26EB}"/>
                </a:ext>
              </a:extLst>
            </p:cNvPr>
            <p:cNvSpPr/>
            <p:nvPr/>
          </p:nvSpPr>
          <p:spPr>
            <a:xfrm>
              <a:off x="11810116" y="8224395"/>
              <a:ext cx="230450" cy="63887"/>
            </a:xfrm>
            <a:custGeom>
              <a:avLst/>
              <a:gdLst>
                <a:gd name="connsiteX0" fmla="*/ 149070 w 230450"/>
                <a:gd name="connsiteY0" fmla="*/ 63888 h 63887"/>
                <a:gd name="connsiteX1" fmla="*/ 3042 w 230450"/>
                <a:gd name="connsiteY1" fmla="*/ 12169 h 63887"/>
                <a:gd name="connsiteX2" fmla="*/ 0 w 230450"/>
                <a:gd name="connsiteY2" fmla="*/ 3042 h 63887"/>
                <a:gd name="connsiteX3" fmla="*/ 9127 w 230450"/>
                <a:gd name="connsiteY3" fmla="*/ 0 h 63887"/>
                <a:gd name="connsiteX4" fmla="*/ 149070 w 230450"/>
                <a:gd name="connsiteY4" fmla="*/ 48676 h 63887"/>
                <a:gd name="connsiteX5" fmla="*/ 149070 w 230450"/>
                <a:gd name="connsiteY5" fmla="*/ 48676 h 63887"/>
                <a:gd name="connsiteX6" fmla="*/ 219043 w 230450"/>
                <a:gd name="connsiteY6" fmla="*/ 24338 h 63887"/>
                <a:gd name="connsiteX7" fmla="*/ 228169 w 230450"/>
                <a:gd name="connsiteY7" fmla="*/ 24338 h 63887"/>
                <a:gd name="connsiteX8" fmla="*/ 228169 w 230450"/>
                <a:gd name="connsiteY8" fmla="*/ 33465 h 63887"/>
                <a:gd name="connsiteX9" fmla="*/ 149070 w 230450"/>
                <a:gd name="connsiteY9" fmla="*/ 63888 h 63887"/>
                <a:gd name="connsiteX10" fmla="*/ 149070 w 230450"/>
                <a:gd name="connsiteY10" fmla="*/ 63888 h 63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0450" h="63887">
                  <a:moveTo>
                    <a:pt x="149070" y="63888"/>
                  </a:moveTo>
                  <a:cubicBezTo>
                    <a:pt x="97352" y="63888"/>
                    <a:pt x="9127" y="15211"/>
                    <a:pt x="3042" y="12169"/>
                  </a:cubicBezTo>
                  <a:cubicBezTo>
                    <a:pt x="0" y="9127"/>
                    <a:pt x="0" y="6084"/>
                    <a:pt x="0" y="3042"/>
                  </a:cubicBezTo>
                  <a:cubicBezTo>
                    <a:pt x="3042" y="0"/>
                    <a:pt x="6085" y="0"/>
                    <a:pt x="9127" y="0"/>
                  </a:cubicBezTo>
                  <a:cubicBezTo>
                    <a:pt x="9127" y="0"/>
                    <a:pt x="100395" y="48676"/>
                    <a:pt x="149070" y="48676"/>
                  </a:cubicBezTo>
                  <a:cubicBezTo>
                    <a:pt x="149070" y="48676"/>
                    <a:pt x="149070" y="48676"/>
                    <a:pt x="149070" y="48676"/>
                  </a:cubicBezTo>
                  <a:cubicBezTo>
                    <a:pt x="188620" y="48676"/>
                    <a:pt x="219043" y="24338"/>
                    <a:pt x="219043" y="24338"/>
                  </a:cubicBezTo>
                  <a:cubicBezTo>
                    <a:pt x="222085" y="21296"/>
                    <a:pt x="225127" y="21296"/>
                    <a:pt x="228169" y="24338"/>
                  </a:cubicBezTo>
                  <a:cubicBezTo>
                    <a:pt x="231211" y="27381"/>
                    <a:pt x="231211" y="30423"/>
                    <a:pt x="228169" y="33465"/>
                  </a:cubicBezTo>
                  <a:cubicBezTo>
                    <a:pt x="225127" y="36507"/>
                    <a:pt x="191663" y="63888"/>
                    <a:pt x="149070" y="63888"/>
                  </a:cubicBezTo>
                  <a:cubicBezTo>
                    <a:pt x="149070" y="63888"/>
                    <a:pt x="149070" y="63888"/>
                    <a:pt x="149070" y="63888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B47287DA-818C-46CB-BFC8-505EF041400B}"/>
                </a:ext>
              </a:extLst>
            </p:cNvPr>
            <p:cNvSpPr/>
            <p:nvPr/>
          </p:nvSpPr>
          <p:spPr>
            <a:xfrm>
              <a:off x="11675942" y="7740677"/>
              <a:ext cx="112879" cy="267718"/>
            </a:xfrm>
            <a:custGeom>
              <a:avLst/>
              <a:gdLst>
                <a:gd name="connsiteX0" fmla="*/ 112879 w 112879"/>
                <a:gd name="connsiteY0" fmla="*/ 127775 h 267718"/>
                <a:gd name="connsiteX1" fmla="*/ 64203 w 112879"/>
                <a:gd name="connsiteY1" fmla="*/ 267718 h 267718"/>
                <a:gd name="connsiteX2" fmla="*/ 6400 w 112879"/>
                <a:gd name="connsiteY2" fmla="*/ 167324 h 267718"/>
                <a:gd name="connsiteX3" fmla="*/ 64203 w 112879"/>
                <a:gd name="connsiteY3" fmla="*/ 0 h 267718"/>
                <a:gd name="connsiteX4" fmla="*/ 112879 w 112879"/>
                <a:gd name="connsiteY4" fmla="*/ 127775 h 26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879" h="267718">
                  <a:moveTo>
                    <a:pt x="112879" y="127775"/>
                  </a:moveTo>
                  <a:cubicBezTo>
                    <a:pt x="112879" y="127775"/>
                    <a:pt x="58118" y="237296"/>
                    <a:pt x="64203" y="267718"/>
                  </a:cubicBezTo>
                  <a:cubicBezTo>
                    <a:pt x="64203" y="267718"/>
                    <a:pt x="21611" y="222085"/>
                    <a:pt x="6400" y="167324"/>
                  </a:cubicBezTo>
                  <a:cubicBezTo>
                    <a:pt x="-8811" y="109521"/>
                    <a:pt x="315" y="15211"/>
                    <a:pt x="64203" y="0"/>
                  </a:cubicBezTo>
                  <a:cubicBezTo>
                    <a:pt x="67245" y="0"/>
                    <a:pt x="73329" y="109521"/>
                    <a:pt x="112879" y="127775"/>
                  </a:cubicBezTo>
                  <a:close/>
                </a:path>
              </a:pathLst>
            </a:custGeom>
            <a:solidFill>
              <a:srgbClr val="664241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9BB22CE6-DC0B-4910-B549-4A81F30BED60}"/>
                </a:ext>
              </a:extLst>
            </p:cNvPr>
            <p:cNvSpPr/>
            <p:nvPr/>
          </p:nvSpPr>
          <p:spPr>
            <a:xfrm>
              <a:off x="11731388" y="7625601"/>
              <a:ext cx="435277" cy="349329"/>
            </a:xfrm>
            <a:custGeom>
              <a:avLst/>
              <a:gdLst>
                <a:gd name="connsiteX0" fmla="*/ 57433 w 435277"/>
                <a:gd name="connsiteY0" fmla="*/ 242850 h 349329"/>
                <a:gd name="connsiteX1" fmla="*/ 179123 w 435277"/>
                <a:gd name="connsiteY1" fmla="*/ 203301 h 349329"/>
                <a:gd name="connsiteX2" fmla="*/ 419461 w 435277"/>
                <a:gd name="connsiteY2" fmla="*/ 349329 h 349329"/>
                <a:gd name="connsiteX3" fmla="*/ 422503 w 435277"/>
                <a:gd name="connsiteY3" fmla="*/ 182005 h 349329"/>
                <a:gd name="connsiteX4" fmla="*/ 331235 w 435277"/>
                <a:gd name="connsiteY4" fmla="*/ 32935 h 349329"/>
                <a:gd name="connsiteX5" fmla="*/ 130446 w 435277"/>
                <a:gd name="connsiteY5" fmla="*/ 17724 h 349329"/>
                <a:gd name="connsiteX6" fmla="*/ 8756 w 435277"/>
                <a:gd name="connsiteY6" fmla="*/ 112033 h 349329"/>
                <a:gd name="connsiteX7" fmla="*/ 57433 w 435277"/>
                <a:gd name="connsiteY7" fmla="*/ 242850 h 349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5277" h="349329">
                  <a:moveTo>
                    <a:pt x="57433" y="242850"/>
                  </a:moveTo>
                  <a:cubicBezTo>
                    <a:pt x="57433" y="242850"/>
                    <a:pt x="151742" y="203301"/>
                    <a:pt x="179123" y="203301"/>
                  </a:cubicBezTo>
                  <a:cubicBezTo>
                    <a:pt x="279517" y="206343"/>
                    <a:pt x="434672" y="276315"/>
                    <a:pt x="419461" y="349329"/>
                  </a:cubicBezTo>
                  <a:cubicBezTo>
                    <a:pt x="419461" y="349329"/>
                    <a:pt x="452925" y="245893"/>
                    <a:pt x="422503" y="182005"/>
                  </a:cubicBezTo>
                  <a:cubicBezTo>
                    <a:pt x="422503" y="182005"/>
                    <a:pt x="422503" y="57273"/>
                    <a:pt x="331235" y="32935"/>
                  </a:cubicBezTo>
                  <a:cubicBezTo>
                    <a:pt x="239968" y="8597"/>
                    <a:pt x="200418" y="-18784"/>
                    <a:pt x="130446" y="17724"/>
                  </a:cubicBezTo>
                  <a:cubicBezTo>
                    <a:pt x="60474" y="57273"/>
                    <a:pt x="14840" y="75526"/>
                    <a:pt x="8756" y="112033"/>
                  </a:cubicBezTo>
                  <a:cubicBezTo>
                    <a:pt x="11799" y="115076"/>
                    <a:pt x="-33835" y="230681"/>
                    <a:pt x="57433" y="242850"/>
                  </a:cubicBezTo>
                  <a:close/>
                </a:path>
              </a:pathLst>
            </a:custGeom>
            <a:solidFill>
              <a:srgbClr val="664241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90AEE8A4-25C9-4D81-BEEF-7387F7A5EA4D}"/>
                </a:ext>
              </a:extLst>
            </p:cNvPr>
            <p:cNvSpPr/>
            <p:nvPr/>
          </p:nvSpPr>
          <p:spPr>
            <a:xfrm>
              <a:off x="11678251" y="7977782"/>
              <a:ext cx="78457" cy="110265"/>
            </a:xfrm>
            <a:custGeom>
              <a:avLst/>
              <a:gdLst>
                <a:gd name="connsiteX0" fmla="*/ 64936 w 78457"/>
                <a:gd name="connsiteY0" fmla="*/ 15402 h 110265"/>
                <a:gd name="connsiteX1" fmla="*/ 7133 w 78457"/>
                <a:gd name="connsiteY1" fmla="*/ 6275 h 110265"/>
                <a:gd name="connsiteX2" fmla="*/ 64936 w 78457"/>
                <a:gd name="connsiteY2" fmla="*/ 106669 h 110265"/>
                <a:gd name="connsiteX3" fmla="*/ 64936 w 78457"/>
                <a:gd name="connsiteY3" fmla="*/ 15402 h 11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457" h="110265">
                  <a:moveTo>
                    <a:pt x="64936" y="15402"/>
                  </a:moveTo>
                  <a:cubicBezTo>
                    <a:pt x="64936" y="15402"/>
                    <a:pt x="31471" y="-11979"/>
                    <a:pt x="7133" y="6275"/>
                  </a:cubicBezTo>
                  <a:cubicBezTo>
                    <a:pt x="-17205" y="24528"/>
                    <a:pt x="25386" y="131007"/>
                    <a:pt x="64936" y="106669"/>
                  </a:cubicBezTo>
                  <a:cubicBezTo>
                    <a:pt x="95359" y="88415"/>
                    <a:pt x="64936" y="15402"/>
                    <a:pt x="64936" y="15402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9002F88F-A73C-4575-87B3-10F215F74320}"/>
                </a:ext>
              </a:extLst>
            </p:cNvPr>
            <p:cNvSpPr/>
            <p:nvPr/>
          </p:nvSpPr>
          <p:spPr>
            <a:xfrm>
              <a:off x="11737102" y="7860085"/>
              <a:ext cx="60084" cy="136140"/>
            </a:xfrm>
            <a:custGeom>
              <a:avLst/>
              <a:gdLst>
                <a:gd name="connsiteX0" fmla="*/ 6085 w 60084"/>
                <a:gd name="connsiteY0" fmla="*/ 136141 h 136140"/>
                <a:gd name="connsiteX1" fmla="*/ 6085 w 60084"/>
                <a:gd name="connsiteY1" fmla="*/ 136141 h 136140"/>
                <a:gd name="connsiteX2" fmla="*/ 0 w 60084"/>
                <a:gd name="connsiteY2" fmla="*/ 130056 h 136140"/>
                <a:gd name="connsiteX3" fmla="*/ 48676 w 60084"/>
                <a:gd name="connsiteY3" fmla="*/ 2282 h 136140"/>
                <a:gd name="connsiteX4" fmla="*/ 57803 w 60084"/>
                <a:gd name="connsiteY4" fmla="*/ 2282 h 136140"/>
                <a:gd name="connsiteX5" fmla="*/ 57803 w 60084"/>
                <a:gd name="connsiteY5" fmla="*/ 11409 h 136140"/>
                <a:gd name="connsiteX6" fmla="*/ 12169 w 60084"/>
                <a:gd name="connsiteY6" fmla="*/ 133099 h 136140"/>
                <a:gd name="connsiteX7" fmla="*/ 6085 w 60084"/>
                <a:gd name="connsiteY7" fmla="*/ 136141 h 1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084" h="136140">
                  <a:moveTo>
                    <a:pt x="6085" y="136141"/>
                  </a:moveTo>
                  <a:lnTo>
                    <a:pt x="6085" y="136141"/>
                  </a:lnTo>
                  <a:cubicBezTo>
                    <a:pt x="3042" y="136141"/>
                    <a:pt x="0" y="133099"/>
                    <a:pt x="0" y="130056"/>
                  </a:cubicBezTo>
                  <a:cubicBezTo>
                    <a:pt x="6085" y="66169"/>
                    <a:pt x="45634" y="5324"/>
                    <a:pt x="48676" y="2282"/>
                  </a:cubicBezTo>
                  <a:cubicBezTo>
                    <a:pt x="51719" y="-761"/>
                    <a:pt x="54760" y="-761"/>
                    <a:pt x="57803" y="2282"/>
                  </a:cubicBezTo>
                  <a:cubicBezTo>
                    <a:pt x="60845" y="5324"/>
                    <a:pt x="60845" y="8366"/>
                    <a:pt x="57803" y="11409"/>
                  </a:cubicBezTo>
                  <a:cubicBezTo>
                    <a:pt x="57803" y="11409"/>
                    <a:pt x="15211" y="72254"/>
                    <a:pt x="12169" y="133099"/>
                  </a:cubicBezTo>
                  <a:cubicBezTo>
                    <a:pt x="12169" y="136141"/>
                    <a:pt x="9126" y="136141"/>
                    <a:pt x="6085" y="136141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B8FE3450-FC17-42DD-851F-0297FACD8570}"/>
                </a:ext>
              </a:extLst>
            </p:cNvPr>
            <p:cNvSpPr/>
            <p:nvPr/>
          </p:nvSpPr>
          <p:spPr>
            <a:xfrm>
              <a:off x="11499807" y="12002874"/>
              <a:ext cx="200787" cy="252507"/>
            </a:xfrm>
            <a:custGeom>
              <a:avLst/>
              <a:gdLst>
                <a:gd name="connsiteX0" fmla="*/ 0 w 200787"/>
                <a:gd name="connsiteY0" fmla="*/ 212958 h 252507"/>
                <a:gd name="connsiteX1" fmla="*/ 0 w 200787"/>
                <a:gd name="connsiteY1" fmla="*/ 0 h 252507"/>
                <a:gd name="connsiteX2" fmla="*/ 200788 w 200787"/>
                <a:gd name="connsiteY2" fmla="*/ 0 h 252507"/>
                <a:gd name="connsiteX3" fmla="*/ 164282 w 200787"/>
                <a:gd name="connsiteY3" fmla="*/ 225127 h 252507"/>
                <a:gd name="connsiteX4" fmla="*/ 12169 w 200787"/>
                <a:gd name="connsiteY4" fmla="*/ 252508 h 252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87" h="252507">
                  <a:moveTo>
                    <a:pt x="0" y="212958"/>
                  </a:moveTo>
                  <a:lnTo>
                    <a:pt x="0" y="0"/>
                  </a:lnTo>
                  <a:lnTo>
                    <a:pt x="200788" y="0"/>
                  </a:lnTo>
                  <a:lnTo>
                    <a:pt x="164282" y="225127"/>
                  </a:lnTo>
                  <a:lnTo>
                    <a:pt x="12169" y="252508"/>
                  </a:ln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F97F8FE3-AF4A-46AF-8C8E-E8E1B8FE1AE1}"/>
                </a:ext>
              </a:extLst>
            </p:cNvPr>
            <p:cNvSpPr/>
            <p:nvPr/>
          </p:nvSpPr>
          <p:spPr>
            <a:xfrm>
              <a:off x="11398942" y="9848959"/>
              <a:ext cx="1186557" cy="1226161"/>
            </a:xfrm>
            <a:custGeom>
              <a:avLst/>
              <a:gdLst>
                <a:gd name="connsiteX0" fmla="*/ 1040921 w 1186557"/>
                <a:gd name="connsiteY0" fmla="*/ 18254 h 1226161"/>
                <a:gd name="connsiteX1" fmla="*/ 1180865 w 1186557"/>
                <a:gd name="connsiteY1" fmla="*/ 1143888 h 1226161"/>
                <a:gd name="connsiteX2" fmla="*/ 697146 w 1186557"/>
                <a:gd name="connsiteY2" fmla="*/ 1198648 h 1226161"/>
                <a:gd name="connsiteX3" fmla="*/ 545033 w 1186557"/>
                <a:gd name="connsiteY3" fmla="*/ 501972 h 1226161"/>
                <a:gd name="connsiteX4" fmla="*/ 545033 w 1186557"/>
                <a:gd name="connsiteY4" fmla="*/ 1198648 h 1226161"/>
                <a:gd name="connsiteX5" fmla="*/ 24809 w 1186557"/>
                <a:gd name="connsiteY5" fmla="*/ 1195605 h 1226161"/>
                <a:gd name="connsiteX6" fmla="*/ 21766 w 1186557"/>
                <a:gd name="connsiteY6" fmla="*/ 0 h 1226161"/>
                <a:gd name="connsiteX7" fmla="*/ 1040921 w 1186557"/>
                <a:gd name="connsiteY7" fmla="*/ 18254 h 122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6557" h="1226161">
                  <a:moveTo>
                    <a:pt x="1040921" y="18254"/>
                  </a:moveTo>
                  <a:cubicBezTo>
                    <a:pt x="1040921" y="18254"/>
                    <a:pt x="1220414" y="1040450"/>
                    <a:pt x="1180865" y="1143888"/>
                  </a:cubicBezTo>
                  <a:cubicBezTo>
                    <a:pt x="1065259" y="1219944"/>
                    <a:pt x="846217" y="1207774"/>
                    <a:pt x="697146" y="1198648"/>
                  </a:cubicBezTo>
                  <a:cubicBezTo>
                    <a:pt x="703231" y="1101295"/>
                    <a:pt x="560244" y="529352"/>
                    <a:pt x="545033" y="501972"/>
                  </a:cubicBezTo>
                  <a:cubicBezTo>
                    <a:pt x="529822" y="471549"/>
                    <a:pt x="545033" y="1198648"/>
                    <a:pt x="545033" y="1198648"/>
                  </a:cubicBezTo>
                  <a:cubicBezTo>
                    <a:pt x="545033" y="1198648"/>
                    <a:pt x="201259" y="1262535"/>
                    <a:pt x="24809" y="1195605"/>
                  </a:cubicBezTo>
                  <a:cubicBezTo>
                    <a:pt x="9597" y="1098254"/>
                    <a:pt x="-20825" y="97352"/>
                    <a:pt x="21766" y="0"/>
                  </a:cubicBezTo>
                  <a:cubicBezTo>
                    <a:pt x="718442" y="33465"/>
                    <a:pt x="1040921" y="18254"/>
                    <a:pt x="1040921" y="18254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4D312527-828F-4F16-BA06-4DD8CB1124B4}"/>
                </a:ext>
              </a:extLst>
            </p:cNvPr>
            <p:cNvSpPr/>
            <p:nvPr/>
          </p:nvSpPr>
          <p:spPr>
            <a:xfrm>
              <a:off x="11396370" y="8343043"/>
              <a:ext cx="1068646" cy="1563534"/>
            </a:xfrm>
            <a:custGeom>
              <a:avLst/>
              <a:gdLst>
                <a:gd name="connsiteX0" fmla="*/ 395493 w 1068646"/>
                <a:gd name="connsiteY0" fmla="*/ 0 h 1563534"/>
                <a:gd name="connsiteX1" fmla="*/ 684507 w 1068646"/>
                <a:gd name="connsiteY1" fmla="*/ 0 h 1563534"/>
                <a:gd name="connsiteX2" fmla="*/ 982648 w 1068646"/>
                <a:gd name="connsiteY2" fmla="*/ 130817 h 1563534"/>
                <a:gd name="connsiteX3" fmla="*/ 1067831 w 1068646"/>
                <a:gd name="connsiteY3" fmla="*/ 1533296 h 1563534"/>
                <a:gd name="connsiteX4" fmla="*/ 0 w 1068646"/>
                <a:gd name="connsiteY4" fmla="*/ 1508958 h 1563534"/>
                <a:gd name="connsiteX5" fmla="*/ 115606 w 1068646"/>
                <a:gd name="connsiteY5" fmla="*/ 103436 h 1563534"/>
                <a:gd name="connsiteX6" fmla="*/ 395493 w 1068646"/>
                <a:gd name="connsiteY6" fmla="*/ 0 h 1563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8646" h="1563534">
                  <a:moveTo>
                    <a:pt x="395493" y="0"/>
                  </a:moveTo>
                  <a:cubicBezTo>
                    <a:pt x="395493" y="0"/>
                    <a:pt x="568902" y="54760"/>
                    <a:pt x="684507" y="0"/>
                  </a:cubicBezTo>
                  <a:cubicBezTo>
                    <a:pt x="684507" y="0"/>
                    <a:pt x="958310" y="97352"/>
                    <a:pt x="982648" y="130817"/>
                  </a:cubicBezTo>
                  <a:cubicBezTo>
                    <a:pt x="1006986" y="161239"/>
                    <a:pt x="1076959" y="1466366"/>
                    <a:pt x="1067831" y="1533296"/>
                  </a:cubicBezTo>
                  <a:cubicBezTo>
                    <a:pt x="1067831" y="1533296"/>
                    <a:pt x="578028" y="1615437"/>
                    <a:pt x="0" y="1508958"/>
                  </a:cubicBezTo>
                  <a:cubicBezTo>
                    <a:pt x="0" y="1153014"/>
                    <a:pt x="73015" y="133859"/>
                    <a:pt x="115606" y="103436"/>
                  </a:cubicBezTo>
                  <a:cubicBezTo>
                    <a:pt x="155155" y="69971"/>
                    <a:pt x="395493" y="0"/>
                    <a:pt x="395493" y="0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6814B9BF-8A8E-4FD8-A1B1-54EB53D9F6FF}"/>
                </a:ext>
              </a:extLst>
            </p:cNvPr>
            <p:cNvSpPr/>
            <p:nvPr/>
          </p:nvSpPr>
          <p:spPr>
            <a:xfrm>
              <a:off x="12221439" y="8432749"/>
              <a:ext cx="449635" cy="610012"/>
            </a:xfrm>
            <a:custGeom>
              <a:avLst/>
              <a:gdLst>
                <a:gd name="connsiteX0" fmla="*/ 63269 w 449635"/>
                <a:gd name="connsiteY0" fmla="*/ 610012 h 610012"/>
                <a:gd name="connsiteX1" fmla="*/ 51100 w 449635"/>
                <a:gd name="connsiteY1" fmla="*/ 10688 h 610012"/>
                <a:gd name="connsiteX2" fmla="*/ 449636 w 449635"/>
                <a:gd name="connsiteY2" fmla="*/ 442688 h 610012"/>
                <a:gd name="connsiteX3" fmla="*/ 63269 w 449635"/>
                <a:gd name="connsiteY3" fmla="*/ 610012 h 61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635" h="610012">
                  <a:moveTo>
                    <a:pt x="63269" y="610012"/>
                  </a:moveTo>
                  <a:cubicBezTo>
                    <a:pt x="63269" y="610012"/>
                    <a:pt x="-70590" y="89787"/>
                    <a:pt x="51100" y="10688"/>
                  </a:cubicBezTo>
                  <a:cubicBezTo>
                    <a:pt x="194086" y="-80580"/>
                    <a:pt x="449636" y="442688"/>
                    <a:pt x="449636" y="442688"/>
                  </a:cubicBezTo>
                  <a:cubicBezTo>
                    <a:pt x="449636" y="442688"/>
                    <a:pt x="273185" y="591758"/>
                    <a:pt x="63269" y="610012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BABB50FD-BC6A-4E90-B967-AD14D1E505AB}"/>
                </a:ext>
              </a:extLst>
            </p:cNvPr>
            <p:cNvSpPr/>
            <p:nvPr/>
          </p:nvSpPr>
          <p:spPr>
            <a:xfrm>
              <a:off x="12369891" y="8467775"/>
              <a:ext cx="52978" cy="550648"/>
            </a:xfrm>
            <a:custGeom>
              <a:avLst/>
              <a:gdLst>
                <a:gd name="connsiteX0" fmla="*/ 48676 w 52978"/>
                <a:gd name="connsiteY0" fmla="*/ 550648 h 550648"/>
                <a:gd name="connsiteX1" fmla="*/ 42592 w 52978"/>
                <a:gd name="connsiteY1" fmla="*/ 544564 h 550648"/>
                <a:gd name="connsiteX2" fmla="*/ 0 w 52978"/>
                <a:gd name="connsiteY2" fmla="*/ 6084 h 550648"/>
                <a:gd name="connsiteX3" fmla="*/ 3042 w 52978"/>
                <a:gd name="connsiteY3" fmla="*/ 0 h 550648"/>
                <a:gd name="connsiteX4" fmla="*/ 9127 w 52978"/>
                <a:gd name="connsiteY4" fmla="*/ 3042 h 550648"/>
                <a:gd name="connsiteX5" fmla="*/ 51719 w 52978"/>
                <a:gd name="connsiteY5" fmla="*/ 544564 h 550648"/>
                <a:gd name="connsiteX6" fmla="*/ 48676 w 52978"/>
                <a:gd name="connsiteY6" fmla="*/ 550648 h 550648"/>
                <a:gd name="connsiteX7" fmla="*/ 48676 w 52978"/>
                <a:gd name="connsiteY7" fmla="*/ 550648 h 550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978" h="550648">
                  <a:moveTo>
                    <a:pt x="48676" y="550648"/>
                  </a:moveTo>
                  <a:cubicBezTo>
                    <a:pt x="45634" y="550648"/>
                    <a:pt x="42592" y="547606"/>
                    <a:pt x="42592" y="544564"/>
                  </a:cubicBezTo>
                  <a:cubicBezTo>
                    <a:pt x="42592" y="538479"/>
                    <a:pt x="6085" y="45634"/>
                    <a:pt x="0" y="6084"/>
                  </a:cubicBezTo>
                  <a:cubicBezTo>
                    <a:pt x="0" y="3042"/>
                    <a:pt x="0" y="0"/>
                    <a:pt x="3042" y="0"/>
                  </a:cubicBezTo>
                  <a:cubicBezTo>
                    <a:pt x="6085" y="0"/>
                    <a:pt x="9127" y="0"/>
                    <a:pt x="9127" y="3042"/>
                  </a:cubicBezTo>
                  <a:cubicBezTo>
                    <a:pt x="18254" y="42592"/>
                    <a:pt x="51719" y="523268"/>
                    <a:pt x="51719" y="544564"/>
                  </a:cubicBezTo>
                  <a:cubicBezTo>
                    <a:pt x="54761" y="547606"/>
                    <a:pt x="51719" y="550648"/>
                    <a:pt x="48676" y="550648"/>
                  </a:cubicBezTo>
                  <a:lnTo>
                    <a:pt x="48676" y="550648"/>
                  </a:ln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F037E5BF-D716-4334-B932-59E805CEA55B}"/>
                </a:ext>
              </a:extLst>
            </p:cNvPr>
            <p:cNvSpPr/>
            <p:nvPr/>
          </p:nvSpPr>
          <p:spPr>
            <a:xfrm>
              <a:off x="11937891" y="9991944"/>
              <a:ext cx="69971" cy="365070"/>
            </a:xfrm>
            <a:custGeom>
              <a:avLst/>
              <a:gdLst>
                <a:gd name="connsiteX0" fmla="*/ 6084 w 69971"/>
                <a:gd name="connsiteY0" fmla="*/ 365070 h 365070"/>
                <a:gd name="connsiteX1" fmla="*/ 6084 w 69971"/>
                <a:gd name="connsiteY1" fmla="*/ 365070 h 365070"/>
                <a:gd name="connsiteX2" fmla="*/ 0 w 69971"/>
                <a:gd name="connsiteY2" fmla="*/ 355944 h 365070"/>
                <a:gd name="connsiteX3" fmla="*/ 57803 w 69971"/>
                <a:gd name="connsiteY3" fmla="*/ 6085 h 365070"/>
                <a:gd name="connsiteX4" fmla="*/ 63888 w 69971"/>
                <a:gd name="connsiteY4" fmla="*/ 0 h 365070"/>
                <a:gd name="connsiteX5" fmla="*/ 69971 w 69971"/>
                <a:gd name="connsiteY5" fmla="*/ 6085 h 365070"/>
                <a:gd name="connsiteX6" fmla="*/ 12169 w 69971"/>
                <a:gd name="connsiteY6" fmla="*/ 358986 h 365070"/>
                <a:gd name="connsiteX7" fmla="*/ 6084 w 69971"/>
                <a:gd name="connsiteY7" fmla="*/ 365070 h 36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971" h="365070">
                  <a:moveTo>
                    <a:pt x="6084" y="365070"/>
                  </a:moveTo>
                  <a:cubicBezTo>
                    <a:pt x="6084" y="365070"/>
                    <a:pt x="6084" y="365070"/>
                    <a:pt x="6084" y="365070"/>
                  </a:cubicBezTo>
                  <a:cubicBezTo>
                    <a:pt x="0" y="362029"/>
                    <a:pt x="0" y="358986"/>
                    <a:pt x="0" y="355944"/>
                  </a:cubicBezTo>
                  <a:cubicBezTo>
                    <a:pt x="48676" y="243380"/>
                    <a:pt x="57803" y="9127"/>
                    <a:pt x="57803" y="6085"/>
                  </a:cubicBezTo>
                  <a:cubicBezTo>
                    <a:pt x="57803" y="3042"/>
                    <a:pt x="60845" y="0"/>
                    <a:pt x="63888" y="0"/>
                  </a:cubicBezTo>
                  <a:cubicBezTo>
                    <a:pt x="66929" y="0"/>
                    <a:pt x="69971" y="3042"/>
                    <a:pt x="69971" y="6085"/>
                  </a:cubicBezTo>
                  <a:cubicBezTo>
                    <a:pt x="69971" y="15211"/>
                    <a:pt x="60845" y="243380"/>
                    <a:pt x="12169" y="358986"/>
                  </a:cubicBezTo>
                  <a:cubicBezTo>
                    <a:pt x="12169" y="365070"/>
                    <a:pt x="9126" y="365070"/>
                    <a:pt x="6084" y="365070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FFBD4C65-B5BD-4C24-B478-A52117512428}"/>
                </a:ext>
              </a:extLst>
            </p:cNvPr>
            <p:cNvSpPr/>
            <p:nvPr/>
          </p:nvSpPr>
          <p:spPr>
            <a:xfrm>
              <a:off x="11967054" y="9921972"/>
              <a:ext cx="156415" cy="355944"/>
            </a:xfrm>
            <a:custGeom>
              <a:avLst/>
              <a:gdLst>
                <a:gd name="connsiteX0" fmla="*/ 7344 w 156415"/>
                <a:gd name="connsiteY0" fmla="*/ 355944 h 355944"/>
                <a:gd name="connsiteX1" fmla="*/ 1260 w 156415"/>
                <a:gd name="connsiteY1" fmla="*/ 352902 h 355944"/>
                <a:gd name="connsiteX2" fmla="*/ 4303 w 156415"/>
                <a:gd name="connsiteY2" fmla="*/ 343774 h 355944"/>
                <a:gd name="connsiteX3" fmla="*/ 110782 w 156415"/>
                <a:gd name="connsiteY3" fmla="*/ 267718 h 355944"/>
                <a:gd name="connsiteX4" fmla="*/ 144246 w 156415"/>
                <a:gd name="connsiteY4" fmla="*/ 6085 h 355944"/>
                <a:gd name="connsiteX5" fmla="*/ 150330 w 156415"/>
                <a:gd name="connsiteY5" fmla="*/ 0 h 355944"/>
                <a:gd name="connsiteX6" fmla="*/ 156415 w 156415"/>
                <a:gd name="connsiteY6" fmla="*/ 6085 h 355944"/>
                <a:gd name="connsiteX7" fmla="*/ 122950 w 156415"/>
                <a:gd name="connsiteY7" fmla="*/ 273803 h 355944"/>
                <a:gd name="connsiteX8" fmla="*/ 13429 w 156415"/>
                <a:gd name="connsiteY8" fmla="*/ 352902 h 355944"/>
                <a:gd name="connsiteX9" fmla="*/ 7344 w 156415"/>
                <a:gd name="connsiteY9" fmla="*/ 355944 h 355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415" h="355944">
                  <a:moveTo>
                    <a:pt x="7344" y="355944"/>
                  </a:moveTo>
                  <a:cubicBezTo>
                    <a:pt x="4303" y="355944"/>
                    <a:pt x="4303" y="355944"/>
                    <a:pt x="1260" y="352902"/>
                  </a:cubicBezTo>
                  <a:cubicBezTo>
                    <a:pt x="-1782" y="349859"/>
                    <a:pt x="1260" y="346817"/>
                    <a:pt x="4303" y="343774"/>
                  </a:cubicBezTo>
                  <a:cubicBezTo>
                    <a:pt x="43852" y="319437"/>
                    <a:pt x="101654" y="276845"/>
                    <a:pt x="110782" y="267718"/>
                  </a:cubicBezTo>
                  <a:cubicBezTo>
                    <a:pt x="119908" y="255549"/>
                    <a:pt x="135119" y="100394"/>
                    <a:pt x="144246" y="6085"/>
                  </a:cubicBezTo>
                  <a:cubicBezTo>
                    <a:pt x="144246" y="3042"/>
                    <a:pt x="147288" y="0"/>
                    <a:pt x="150330" y="0"/>
                  </a:cubicBezTo>
                  <a:cubicBezTo>
                    <a:pt x="153373" y="0"/>
                    <a:pt x="156415" y="3042"/>
                    <a:pt x="156415" y="6085"/>
                  </a:cubicBezTo>
                  <a:cubicBezTo>
                    <a:pt x="153373" y="48676"/>
                    <a:pt x="132077" y="258592"/>
                    <a:pt x="122950" y="273803"/>
                  </a:cubicBezTo>
                  <a:cubicBezTo>
                    <a:pt x="110782" y="289014"/>
                    <a:pt x="22555" y="346817"/>
                    <a:pt x="13429" y="352902"/>
                  </a:cubicBezTo>
                  <a:cubicBezTo>
                    <a:pt x="10387" y="355944"/>
                    <a:pt x="7344" y="355944"/>
                    <a:pt x="7344" y="355944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55F70581-D4CA-4B8D-B6A5-91F6F6EB7AA9}"/>
                </a:ext>
              </a:extLst>
            </p:cNvPr>
            <p:cNvSpPr/>
            <p:nvPr/>
          </p:nvSpPr>
          <p:spPr>
            <a:xfrm>
              <a:off x="11418004" y="12197578"/>
              <a:ext cx="285381" cy="334647"/>
            </a:xfrm>
            <a:custGeom>
              <a:avLst/>
              <a:gdLst>
                <a:gd name="connsiteX0" fmla="*/ 2704 w 285381"/>
                <a:gd name="connsiteY0" fmla="*/ 225128 h 334647"/>
                <a:gd name="connsiteX1" fmla="*/ 2704 w 285381"/>
                <a:gd name="connsiteY1" fmla="*/ 279888 h 334647"/>
                <a:gd name="connsiteX2" fmla="*/ 136563 w 285381"/>
                <a:gd name="connsiteY2" fmla="*/ 334648 h 334647"/>
                <a:gd name="connsiteX3" fmla="*/ 279550 w 285381"/>
                <a:gd name="connsiteY3" fmla="*/ 279888 h 334647"/>
                <a:gd name="connsiteX4" fmla="*/ 267380 w 285381"/>
                <a:gd name="connsiteY4" fmla="*/ 39550 h 334647"/>
                <a:gd name="connsiteX5" fmla="*/ 252169 w 285381"/>
                <a:gd name="connsiteY5" fmla="*/ 0 h 334647"/>
                <a:gd name="connsiteX6" fmla="*/ 233916 w 285381"/>
                <a:gd name="connsiteY6" fmla="*/ 225128 h 334647"/>
                <a:gd name="connsiteX7" fmla="*/ 2704 w 285381"/>
                <a:gd name="connsiteY7" fmla="*/ 225128 h 334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5381" h="334647">
                  <a:moveTo>
                    <a:pt x="2704" y="225128"/>
                  </a:moveTo>
                  <a:cubicBezTo>
                    <a:pt x="2704" y="225128"/>
                    <a:pt x="-3380" y="267719"/>
                    <a:pt x="2704" y="279888"/>
                  </a:cubicBezTo>
                  <a:cubicBezTo>
                    <a:pt x="11831" y="298141"/>
                    <a:pt x="72676" y="334648"/>
                    <a:pt x="136563" y="334648"/>
                  </a:cubicBezTo>
                  <a:cubicBezTo>
                    <a:pt x="212620" y="334648"/>
                    <a:pt x="264338" y="298141"/>
                    <a:pt x="279550" y="279888"/>
                  </a:cubicBezTo>
                  <a:cubicBezTo>
                    <a:pt x="297802" y="261634"/>
                    <a:pt x="267380" y="39550"/>
                    <a:pt x="267380" y="39550"/>
                  </a:cubicBezTo>
                  <a:lnTo>
                    <a:pt x="252169" y="0"/>
                  </a:lnTo>
                  <a:lnTo>
                    <a:pt x="233916" y="225128"/>
                  </a:lnTo>
                  <a:lnTo>
                    <a:pt x="2704" y="225128"/>
                  </a:ln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EAEAB0C3-B1A6-42E0-9B0E-4754D1A04EE1}"/>
                </a:ext>
              </a:extLst>
            </p:cNvPr>
            <p:cNvSpPr/>
            <p:nvPr/>
          </p:nvSpPr>
          <p:spPr>
            <a:xfrm>
              <a:off x="11419857" y="12179325"/>
              <a:ext cx="270616" cy="310519"/>
            </a:xfrm>
            <a:custGeom>
              <a:avLst/>
              <a:gdLst>
                <a:gd name="connsiteX0" fmla="*/ 76907 w 270616"/>
                <a:gd name="connsiteY0" fmla="*/ 0 h 310519"/>
                <a:gd name="connsiteX1" fmla="*/ 253357 w 270616"/>
                <a:gd name="connsiteY1" fmla="*/ 15211 h 310519"/>
                <a:gd name="connsiteX2" fmla="*/ 268569 w 270616"/>
                <a:gd name="connsiteY2" fmla="*/ 249464 h 310519"/>
                <a:gd name="connsiteX3" fmla="*/ 128625 w 270616"/>
                <a:gd name="connsiteY3" fmla="*/ 310309 h 310519"/>
                <a:gd name="connsiteX4" fmla="*/ 851 w 270616"/>
                <a:gd name="connsiteY4" fmla="*/ 246422 h 310519"/>
                <a:gd name="connsiteX5" fmla="*/ 76907 w 270616"/>
                <a:gd name="connsiteY5" fmla="*/ 0 h 31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0616" h="310519">
                  <a:moveTo>
                    <a:pt x="76907" y="0"/>
                  </a:moveTo>
                  <a:cubicBezTo>
                    <a:pt x="76907" y="0"/>
                    <a:pt x="137752" y="69971"/>
                    <a:pt x="253357" y="15211"/>
                  </a:cubicBezTo>
                  <a:cubicBezTo>
                    <a:pt x="253357" y="15211"/>
                    <a:pt x="277696" y="215999"/>
                    <a:pt x="268569" y="249464"/>
                  </a:cubicBezTo>
                  <a:cubicBezTo>
                    <a:pt x="256400" y="282929"/>
                    <a:pt x="168175" y="313352"/>
                    <a:pt x="128625" y="310309"/>
                  </a:cubicBezTo>
                  <a:cubicBezTo>
                    <a:pt x="89076" y="307267"/>
                    <a:pt x="13019" y="270760"/>
                    <a:pt x="851" y="246422"/>
                  </a:cubicBezTo>
                  <a:cubicBezTo>
                    <a:pt x="-8277" y="228169"/>
                    <a:pt x="58653" y="54760"/>
                    <a:pt x="76907" y="0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6D40A566-E624-4FE3-B33B-BD7714587F49}"/>
                </a:ext>
              </a:extLst>
            </p:cNvPr>
            <p:cNvSpPr/>
            <p:nvPr/>
          </p:nvSpPr>
          <p:spPr>
            <a:xfrm>
              <a:off x="11489419" y="12171980"/>
              <a:ext cx="189880" cy="49936"/>
            </a:xfrm>
            <a:custGeom>
              <a:avLst/>
              <a:gdLst>
                <a:gd name="connsiteX0" fmla="*/ 92528 w 189880"/>
                <a:gd name="connsiteY0" fmla="*/ 49936 h 49936"/>
                <a:gd name="connsiteX1" fmla="*/ 1260 w 189880"/>
                <a:gd name="connsiteY1" fmla="*/ 10387 h 49936"/>
                <a:gd name="connsiteX2" fmla="*/ 4303 w 189880"/>
                <a:gd name="connsiteY2" fmla="*/ 1260 h 49936"/>
                <a:gd name="connsiteX3" fmla="*/ 13429 w 189880"/>
                <a:gd name="connsiteY3" fmla="*/ 4303 h 49936"/>
                <a:gd name="connsiteX4" fmla="*/ 183795 w 189880"/>
                <a:gd name="connsiteY4" fmla="*/ 16471 h 49936"/>
                <a:gd name="connsiteX5" fmla="*/ 189880 w 189880"/>
                <a:gd name="connsiteY5" fmla="*/ 19514 h 49936"/>
                <a:gd name="connsiteX6" fmla="*/ 186838 w 189880"/>
                <a:gd name="connsiteY6" fmla="*/ 25598 h 49936"/>
                <a:gd name="connsiteX7" fmla="*/ 92528 w 189880"/>
                <a:gd name="connsiteY7" fmla="*/ 49936 h 49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880" h="49936">
                  <a:moveTo>
                    <a:pt x="92528" y="49936"/>
                  </a:moveTo>
                  <a:cubicBezTo>
                    <a:pt x="28640" y="49936"/>
                    <a:pt x="4303" y="13429"/>
                    <a:pt x="1260" y="10387"/>
                  </a:cubicBezTo>
                  <a:cubicBezTo>
                    <a:pt x="-1782" y="7345"/>
                    <a:pt x="1260" y="4303"/>
                    <a:pt x="4303" y="1260"/>
                  </a:cubicBezTo>
                  <a:cubicBezTo>
                    <a:pt x="7345" y="-1782"/>
                    <a:pt x="10388" y="1260"/>
                    <a:pt x="13429" y="4303"/>
                  </a:cubicBezTo>
                  <a:cubicBezTo>
                    <a:pt x="16471" y="7345"/>
                    <a:pt x="59063" y="71232"/>
                    <a:pt x="183795" y="16471"/>
                  </a:cubicBezTo>
                  <a:cubicBezTo>
                    <a:pt x="186838" y="16471"/>
                    <a:pt x="189880" y="16471"/>
                    <a:pt x="189880" y="19514"/>
                  </a:cubicBezTo>
                  <a:cubicBezTo>
                    <a:pt x="189880" y="22556"/>
                    <a:pt x="189880" y="25598"/>
                    <a:pt x="186838" y="25598"/>
                  </a:cubicBezTo>
                  <a:cubicBezTo>
                    <a:pt x="150330" y="43852"/>
                    <a:pt x="116866" y="49936"/>
                    <a:pt x="92528" y="49936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94D6EA4A-0DDF-449D-BA91-81EE59440AD8}"/>
                </a:ext>
              </a:extLst>
            </p:cNvPr>
            <p:cNvSpPr/>
            <p:nvPr/>
          </p:nvSpPr>
          <p:spPr>
            <a:xfrm>
              <a:off x="11508933" y="12249296"/>
              <a:ext cx="121690" cy="27380"/>
            </a:xfrm>
            <a:custGeom>
              <a:avLst/>
              <a:gdLst>
                <a:gd name="connsiteX0" fmla="*/ 79099 w 121690"/>
                <a:gd name="connsiteY0" fmla="*/ 27380 h 27380"/>
                <a:gd name="connsiteX1" fmla="*/ 3042 w 121690"/>
                <a:gd name="connsiteY1" fmla="*/ 9126 h 27380"/>
                <a:gd name="connsiteX2" fmla="*/ 0 w 121690"/>
                <a:gd name="connsiteY2" fmla="*/ 3042 h 27380"/>
                <a:gd name="connsiteX3" fmla="*/ 6085 w 121690"/>
                <a:gd name="connsiteY3" fmla="*/ 0 h 27380"/>
                <a:gd name="connsiteX4" fmla="*/ 115605 w 121690"/>
                <a:gd name="connsiteY4" fmla="*/ 12169 h 27380"/>
                <a:gd name="connsiteX5" fmla="*/ 121690 w 121690"/>
                <a:gd name="connsiteY5" fmla="*/ 15211 h 27380"/>
                <a:gd name="connsiteX6" fmla="*/ 118648 w 121690"/>
                <a:gd name="connsiteY6" fmla="*/ 21296 h 27380"/>
                <a:gd name="connsiteX7" fmla="*/ 79099 w 121690"/>
                <a:gd name="connsiteY7" fmla="*/ 27380 h 27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690" h="27380">
                  <a:moveTo>
                    <a:pt x="79099" y="27380"/>
                  </a:moveTo>
                  <a:cubicBezTo>
                    <a:pt x="33465" y="27380"/>
                    <a:pt x="3042" y="12169"/>
                    <a:pt x="3042" y="9126"/>
                  </a:cubicBezTo>
                  <a:cubicBezTo>
                    <a:pt x="0" y="9126"/>
                    <a:pt x="0" y="3042"/>
                    <a:pt x="0" y="3042"/>
                  </a:cubicBezTo>
                  <a:cubicBezTo>
                    <a:pt x="0" y="0"/>
                    <a:pt x="6085" y="0"/>
                    <a:pt x="6085" y="0"/>
                  </a:cubicBezTo>
                  <a:cubicBezTo>
                    <a:pt x="6085" y="0"/>
                    <a:pt x="54760" y="24338"/>
                    <a:pt x="115605" y="12169"/>
                  </a:cubicBezTo>
                  <a:cubicBezTo>
                    <a:pt x="118648" y="12169"/>
                    <a:pt x="121690" y="12169"/>
                    <a:pt x="121690" y="15211"/>
                  </a:cubicBezTo>
                  <a:cubicBezTo>
                    <a:pt x="121690" y="18254"/>
                    <a:pt x="121690" y="21296"/>
                    <a:pt x="118648" y="21296"/>
                  </a:cubicBezTo>
                  <a:cubicBezTo>
                    <a:pt x="103436" y="27380"/>
                    <a:pt x="91268" y="27380"/>
                    <a:pt x="79099" y="27380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BAE82331-E28E-4C01-A026-388DD2984943}"/>
                </a:ext>
              </a:extLst>
            </p:cNvPr>
            <p:cNvSpPr/>
            <p:nvPr/>
          </p:nvSpPr>
          <p:spPr>
            <a:xfrm>
              <a:off x="11493722" y="12304057"/>
              <a:ext cx="121690" cy="27381"/>
            </a:xfrm>
            <a:custGeom>
              <a:avLst/>
              <a:gdLst>
                <a:gd name="connsiteX0" fmla="*/ 79099 w 121690"/>
                <a:gd name="connsiteY0" fmla="*/ 27381 h 27381"/>
                <a:gd name="connsiteX1" fmla="*/ 3042 w 121690"/>
                <a:gd name="connsiteY1" fmla="*/ 9127 h 27381"/>
                <a:gd name="connsiteX2" fmla="*/ 0 w 121690"/>
                <a:gd name="connsiteY2" fmla="*/ 3042 h 27381"/>
                <a:gd name="connsiteX3" fmla="*/ 6085 w 121690"/>
                <a:gd name="connsiteY3" fmla="*/ 0 h 27381"/>
                <a:gd name="connsiteX4" fmla="*/ 115605 w 121690"/>
                <a:gd name="connsiteY4" fmla="*/ 12170 h 27381"/>
                <a:gd name="connsiteX5" fmla="*/ 121690 w 121690"/>
                <a:gd name="connsiteY5" fmla="*/ 15211 h 27381"/>
                <a:gd name="connsiteX6" fmla="*/ 118648 w 121690"/>
                <a:gd name="connsiteY6" fmla="*/ 21296 h 27381"/>
                <a:gd name="connsiteX7" fmla="*/ 79099 w 121690"/>
                <a:gd name="connsiteY7" fmla="*/ 27381 h 27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690" h="27381">
                  <a:moveTo>
                    <a:pt x="79099" y="27381"/>
                  </a:moveTo>
                  <a:cubicBezTo>
                    <a:pt x="33465" y="27381"/>
                    <a:pt x="3042" y="12170"/>
                    <a:pt x="3042" y="9127"/>
                  </a:cubicBezTo>
                  <a:cubicBezTo>
                    <a:pt x="0" y="9127"/>
                    <a:pt x="0" y="3042"/>
                    <a:pt x="0" y="3042"/>
                  </a:cubicBezTo>
                  <a:cubicBezTo>
                    <a:pt x="0" y="0"/>
                    <a:pt x="6085" y="0"/>
                    <a:pt x="6085" y="0"/>
                  </a:cubicBezTo>
                  <a:cubicBezTo>
                    <a:pt x="6085" y="0"/>
                    <a:pt x="54760" y="24339"/>
                    <a:pt x="115605" y="12170"/>
                  </a:cubicBezTo>
                  <a:cubicBezTo>
                    <a:pt x="118648" y="12170"/>
                    <a:pt x="121690" y="12170"/>
                    <a:pt x="121690" y="15211"/>
                  </a:cubicBezTo>
                  <a:cubicBezTo>
                    <a:pt x="121690" y="18254"/>
                    <a:pt x="121690" y="21296"/>
                    <a:pt x="118648" y="21296"/>
                  </a:cubicBezTo>
                  <a:cubicBezTo>
                    <a:pt x="106479" y="27381"/>
                    <a:pt x="91268" y="27381"/>
                    <a:pt x="79099" y="27381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0" name="图形 1">
              <a:extLst>
                <a:ext uri="{FF2B5EF4-FFF2-40B4-BE49-F238E27FC236}">
                  <a16:creationId xmlns:a16="http://schemas.microsoft.com/office/drawing/2014/main" id="{1539C6C5-96AD-4F81-A9B2-D02E63F033F5}"/>
                </a:ext>
              </a:extLst>
            </p:cNvPr>
            <p:cNvGrpSpPr/>
            <p:nvPr/>
          </p:nvGrpSpPr>
          <p:grpSpPr>
            <a:xfrm>
              <a:off x="12312088" y="8702029"/>
              <a:ext cx="422873" cy="407662"/>
              <a:chOff x="12312088" y="8702029"/>
              <a:chExt cx="422873" cy="407662"/>
            </a:xfrm>
          </p:grpSpPr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5020D1D5-857E-47D5-B7F7-0CC89B9F4655}"/>
                  </a:ext>
                </a:extLst>
              </p:cNvPr>
              <p:cNvSpPr/>
              <p:nvPr/>
            </p:nvSpPr>
            <p:spPr>
              <a:xfrm>
                <a:off x="12549384" y="8702029"/>
                <a:ext cx="185576" cy="358986"/>
              </a:xfrm>
              <a:custGeom>
                <a:avLst/>
                <a:gdLst>
                  <a:gd name="connsiteX0" fmla="*/ 24338 w 185576"/>
                  <a:gd name="connsiteY0" fmla="*/ 358986 h 358986"/>
                  <a:gd name="connsiteX1" fmla="*/ 161239 w 185576"/>
                  <a:gd name="connsiteY1" fmla="*/ 358986 h 358986"/>
                  <a:gd name="connsiteX2" fmla="*/ 185577 w 185576"/>
                  <a:gd name="connsiteY2" fmla="*/ 334648 h 358986"/>
                  <a:gd name="connsiteX3" fmla="*/ 185577 w 185576"/>
                  <a:gd name="connsiteY3" fmla="*/ 24338 h 358986"/>
                  <a:gd name="connsiteX4" fmla="*/ 161239 w 185576"/>
                  <a:gd name="connsiteY4" fmla="*/ 0 h 358986"/>
                  <a:gd name="connsiteX5" fmla="*/ 24338 w 185576"/>
                  <a:gd name="connsiteY5" fmla="*/ 0 h 358986"/>
                  <a:gd name="connsiteX6" fmla="*/ 0 w 185576"/>
                  <a:gd name="connsiteY6" fmla="*/ 24338 h 358986"/>
                  <a:gd name="connsiteX7" fmla="*/ 0 w 185576"/>
                  <a:gd name="connsiteY7" fmla="*/ 337690 h 358986"/>
                  <a:gd name="connsiteX8" fmla="*/ 24338 w 185576"/>
                  <a:gd name="connsiteY8" fmla="*/ 358986 h 358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5576" h="358986">
                    <a:moveTo>
                      <a:pt x="24338" y="358986"/>
                    </a:moveTo>
                    <a:lnTo>
                      <a:pt x="161239" y="358986"/>
                    </a:lnTo>
                    <a:cubicBezTo>
                      <a:pt x="173408" y="358986"/>
                      <a:pt x="185577" y="349859"/>
                      <a:pt x="185577" y="334648"/>
                    </a:cubicBezTo>
                    <a:lnTo>
                      <a:pt x="185577" y="24338"/>
                    </a:lnTo>
                    <a:cubicBezTo>
                      <a:pt x="185577" y="12169"/>
                      <a:pt x="176450" y="0"/>
                      <a:pt x="161239" y="0"/>
                    </a:cubicBezTo>
                    <a:lnTo>
                      <a:pt x="24338" y="0"/>
                    </a:lnTo>
                    <a:cubicBezTo>
                      <a:pt x="12169" y="0"/>
                      <a:pt x="0" y="9127"/>
                      <a:pt x="0" y="24338"/>
                    </a:cubicBezTo>
                    <a:lnTo>
                      <a:pt x="0" y="337690"/>
                    </a:lnTo>
                    <a:cubicBezTo>
                      <a:pt x="0" y="349859"/>
                      <a:pt x="9126" y="358986"/>
                      <a:pt x="24338" y="35898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668C1A60-EC15-4536-B483-48B45E188752}"/>
                  </a:ext>
                </a:extLst>
              </p:cNvPr>
              <p:cNvSpPr/>
              <p:nvPr/>
            </p:nvSpPr>
            <p:spPr>
              <a:xfrm>
                <a:off x="12333384" y="8705071"/>
                <a:ext cx="380281" cy="401577"/>
              </a:xfrm>
              <a:custGeom>
                <a:avLst/>
                <a:gdLst>
                  <a:gd name="connsiteX0" fmla="*/ 231211 w 380281"/>
                  <a:gd name="connsiteY0" fmla="*/ 0 h 401577"/>
                  <a:gd name="connsiteX1" fmla="*/ 0 w 380281"/>
                  <a:gd name="connsiteY1" fmla="*/ 48676 h 401577"/>
                  <a:gd name="connsiteX2" fmla="*/ 124733 w 380281"/>
                  <a:gd name="connsiteY2" fmla="*/ 94310 h 401577"/>
                  <a:gd name="connsiteX3" fmla="*/ 149070 w 380281"/>
                  <a:gd name="connsiteY3" fmla="*/ 401577 h 401577"/>
                  <a:gd name="connsiteX4" fmla="*/ 380282 w 380281"/>
                  <a:gd name="connsiteY4" fmla="*/ 355944 h 401577"/>
                  <a:gd name="connsiteX5" fmla="*/ 355943 w 380281"/>
                  <a:gd name="connsiteY5" fmla="*/ 121690 h 401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0281" h="401577">
                    <a:moveTo>
                      <a:pt x="231211" y="0"/>
                    </a:moveTo>
                    <a:lnTo>
                      <a:pt x="0" y="48676"/>
                    </a:lnTo>
                    <a:lnTo>
                      <a:pt x="124733" y="94310"/>
                    </a:lnTo>
                    <a:lnTo>
                      <a:pt x="149070" y="401577"/>
                    </a:lnTo>
                    <a:lnTo>
                      <a:pt x="380282" y="355944"/>
                    </a:lnTo>
                    <a:lnTo>
                      <a:pt x="355943" y="121690"/>
                    </a:ln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21274E6F-E45D-40E8-8838-7122522D7AB9}"/>
                  </a:ext>
                </a:extLst>
              </p:cNvPr>
              <p:cNvSpPr/>
              <p:nvPr/>
            </p:nvSpPr>
            <p:spPr>
              <a:xfrm>
                <a:off x="12312088" y="8750705"/>
                <a:ext cx="185577" cy="358986"/>
              </a:xfrm>
              <a:custGeom>
                <a:avLst/>
                <a:gdLst>
                  <a:gd name="connsiteX0" fmla="*/ 24339 w 185577"/>
                  <a:gd name="connsiteY0" fmla="*/ 358986 h 358986"/>
                  <a:gd name="connsiteX1" fmla="*/ 161240 w 185577"/>
                  <a:gd name="connsiteY1" fmla="*/ 358986 h 358986"/>
                  <a:gd name="connsiteX2" fmla="*/ 185578 w 185577"/>
                  <a:gd name="connsiteY2" fmla="*/ 334648 h 358986"/>
                  <a:gd name="connsiteX3" fmla="*/ 185578 w 185577"/>
                  <a:gd name="connsiteY3" fmla="*/ 24338 h 358986"/>
                  <a:gd name="connsiteX4" fmla="*/ 161240 w 185577"/>
                  <a:gd name="connsiteY4" fmla="*/ 0 h 358986"/>
                  <a:gd name="connsiteX5" fmla="*/ 24339 w 185577"/>
                  <a:gd name="connsiteY5" fmla="*/ 0 h 358986"/>
                  <a:gd name="connsiteX6" fmla="*/ 0 w 185577"/>
                  <a:gd name="connsiteY6" fmla="*/ 24338 h 358986"/>
                  <a:gd name="connsiteX7" fmla="*/ 0 w 185577"/>
                  <a:gd name="connsiteY7" fmla="*/ 334648 h 358986"/>
                  <a:gd name="connsiteX8" fmla="*/ 24339 w 185577"/>
                  <a:gd name="connsiteY8" fmla="*/ 358986 h 358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5577" h="358986">
                    <a:moveTo>
                      <a:pt x="24339" y="358986"/>
                    </a:moveTo>
                    <a:lnTo>
                      <a:pt x="161240" y="358986"/>
                    </a:lnTo>
                    <a:cubicBezTo>
                      <a:pt x="173409" y="358986"/>
                      <a:pt x="185578" y="349859"/>
                      <a:pt x="185578" y="334648"/>
                    </a:cubicBezTo>
                    <a:lnTo>
                      <a:pt x="185578" y="24338"/>
                    </a:lnTo>
                    <a:cubicBezTo>
                      <a:pt x="185578" y="12169"/>
                      <a:pt x="176451" y="0"/>
                      <a:pt x="161240" y="0"/>
                    </a:cubicBezTo>
                    <a:lnTo>
                      <a:pt x="24339" y="0"/>
                    </a:lnTo>
                    <a:cubicBezTo>
                      <a:pt x="12169" y="0"/>
                      <a:pt x="0" y="9127"/>
                      <a:pt x="0" y="24338"/>
                    </a:cubicBezTo>
                    <a:lnTo>
                      <a:pt x="0" y="334648"/>
                    </a:lnTo>
                    <a:cubicBezTo>
                      <a:pt x="3042" y="346817"/>
                      <a:pt x="12169" y="358986"/>
                      <a:pt x="24339" y="35898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69FCCF44-88C1-4E49-94F0-092EAD682C6C}"/>
                </a:ext>
              </a:extLst>
            </p:cNvPr>
            <p:cNvSpPr/>
            <p:nvPr/>
          </p:nvSpPr>
          <p:spPr>
            <a:xfrm>
              <a:off x="12105215" y="8819039"/>
              <a:ext cx="216205" cy="150708"/>
            </a:xfrm>
            <a:custGeom>
              <a:avLst/>
              <a:gdLst>
                <a:gd name="connsiteX0" fmla="*/ 0 w 216205"/>
                <a:gd name="connsiteY0" fmla="*/ 150708 h 150708"/>
                <a:gd name="connsiteX1" fmla="*/ 76056 w 216205"/>
                <a:gd name="connsiteY1" fmla="*/ 7722 h 150708"/>
                <a:gd name="connsiteX2" fmla="*/ 216000 w 216205"/>
                <a:gd name="connsiteY2" fmla="*/ 19891 h 150708"/>
                <a:gd name="connsiteX3" fmla="*/ 73014 w 216205"/>
                <a:gd name="connsiteY3" fmla="*/ 114201 h 150708"/>
                <a:gd name="connsiteX4" fmla="*/ 0 w 216205"/>
                <a:gd name="connsiteY4" fmla="*/ 150708 h 150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205" h="150708">
                  <a:moveTo>
                    <a:pt x="0" y="150708"/>
                  </a:moveTo>
                  <a:cubicBezTo>
                    <a:pt x="0" y="150708"/>
                    <a:pt x="39549" y="19891"/>
                    <a:pt x="76056" y="7722"/>
                  </a:cubicBezTo>
                  <a:cubicBezTo>
                    <a:pt x="127774" y="-10531"/>
                    <a:pt x="209915" y="7722"/>
                    <a:pt x="216000" y="19891"/>
                  </a:cubicBezTo>
                  <a:cubicBezTo>
                    <a:pt x="222084" y="32061"/>
                    <a:pt x="91268" y="102032"/>
                    <a:pt x="73014" y="114201"/>
                  </a:cubicBezTo>
                  <a:cubicBezTo>
                    <a:pt x="57803" y="126370"/>
                    <a:pt x="0" y="150708"/>
                    <a:pt x="0" y="150708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2" name="图形 1">
              <a:extLst>
                <a:ext uri="{FF2B5EF4-FFF2-40B4-BE49-F238E27FC236}">
                  <a16:creationId xmlns:a16="http://schemas.microsoft.com/office/drawing/2014/main" id="{80249ED5-F1E4-46BD-BC53-5D6DDBF5F3DB}"/>
                </a:ext>
              </a:extLst>
            </p:cNvPr>
            <p:cNvGrpSpPr/>
            <p:nvPr/>
          </p:nvGrpSpPr>
          <p:grpSpPr>
            <a:xfrm>
              <a:off x="12676546" y="8694850"/>
              <a:ext cx="83241" cy="185616"/>
              <a:chOff x="12676546" y="8694850"/>
              <a:chExt cx="83241" cy="185616"/>
            </a:xfrm>
          </p:grpSpPr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7F4C9996-98B8-4552-80FD-09034EEE550B}"/>
                  </a:ext>
                </a:extLst>
              </p:cNvPr>
              <p:cNvSpPr/>
              <p:nvPr/>
            </p:nvSpPr>
            <p:spPr>
              <a:xfrm>
                <a:off x="12681245" y="8702029"/>
                <a:ext cx="75012" cy="178437"/>
              </a:xfrm>
              <a:custGeom>
                <a:avLst/>
                <a:gdLst>
                  <a:gd name="connsiteX0" fmla="*/ 65886 w 75012"/>
                  <a:gd name="connsiteY0" fmla="*/ 42592 h 178437"/>
                  <a:gd name="connsiteX1" fmla="*/ 65886 w 75012"/>
                  <a:gd name="connsiteY1" fmla="*/ 42592 h 178437"/>
                  <a:gd name="connsiteX2" fmla="*/ 65886 w 75012"/>
                  <a:gd name="connsiteY2" fmla="*/ 39549 h 178437"/>
                  <a:gd name="connsiteX3" fmla="*/ 59801 w 75012"/>
                  <a:gd name="connsiteY3" fmla="*/ 3042 h 178437"/>
                  <a:gd name="connsiteX4" fmla="*/ 53716 w 75012"/>
                  <a:gd name="connsiteY4" fmla="*/ 0 h 178437"/>
                  <a:gd name="connsiteX5" fmla="*/ 47632 w 75012"/>
                  <a:gd name="connsiteY5" fmla="*/ 3042 h 178437"/>
                  <a:gd name="connsiteX6" fmla="*/ 5041 w 75012"/>
                  <a:gd name="connsiteY6" fmla="*/ 27381 h 178437"/>
                  <a:gd name="connsiteX7" fmla="*/ 1998 w 75012"/>
                  <a:gd name="connsiteY7" fmla="*/ 63888 h 178437"/>
                  <a:gd name="connsiteX8" fmla="*/ 11125 w 75012"/>
                  <a:gd name="connsiteY8" fmla="*/ 73014 h 178437"/>
                  <a:gd name="connsiteX9" fmla="*/ 11125 w 75012"/>
                  <a:gd name="connsiteY9" fmla="*/ 106479 h 178437"/>
                  <a:gd name="connsiteX10" fmla="*/ 17210 w 75012"/>
                  <a:gd name="connsiteY10" fmla="*/ 112564 h 178437"/>
                  <a:gd name="connsiteX11" fmla="*/ 14167 w 75012"/>
                  <a:gd name="connsiteY11" fmla="*/ 142986 h 178437"/>
                  <a:gd name="connsiteX12" fmla="*/ 23294 w 75012"/>
                  <a:gd name="connsiteY12" fmla="*/ 149071 h 178437"/>
                  <a:gd name="connsiteX13" fmla="*/ 20252 w 75012"/>
                  <a:gd name="connsiteY13" fmla="*/ 173409 h 178437"/>
                  <a:gd name="connsiteX14" fmla="*/ 32421 w 75012"/>
                  <a:gd name="connsiteY14" fmla="*/ 176451 h 178437"/>
                  <a:gd name="connsiteX15" fmla="*/ 50675 w 75012"/>
                  <a:gd name="connsiteY15" fmla="*/ 167324 h 178437"/>
                  <a:gd name="connsiteX16" fmla="*/ 62844 w 75012"/>
                  <a:gd name="connsiteY16" fmla="*/ 152113 h 178437"/>
                  <a:gd name="connsiteX17" fmla="*/ 59801 w 75012"/>
                  <a:gd name="connsiteY17" fmla="*/ 130817 h 178437"/>
                  <a:gd name="connsiteX18" fmla="*/ 68927 w 75012"/>
                  <a:gd name="connsiteY18" fmla="*/ 112564 h 178437"/>
                  <a:gd name="connsiteX19" fmla="*/ 68927 w 75012"/>
                  <a:gd name="connsiteY19" fmla="*/ 88226 h 178437"/>
                  <a:gd name="connsiteX20" fmla="*/ 75012 w 75012"/>
                  <a:gd name="connsiteY20" fmla="*/ 76056 h 178437"/>
                  <a:gd name="connsiteX21" fmla="*/ 65886 w 75012"/>
                  <a:gd name="connsiteY21" fmla="*/ 42592 h 178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5012" h="178437">
                    <a:moveTo>
                      <a:pt x="65886" y="42592"/>
                    </a:moveTo>
                    <a:cubicBezTo>
                      <a:pt x="65886" y="42592"/>
                      <a:pt x="65886" y="42592"/>
                      <a:pt x="65886" y="42592"/>
                    </a:cubicBezTo>
                    <a:cubicBezTo>
                      <a:pt x="62844" y="39549"/>
                      <a:pt x="65886" y="39549"/>
                      <a:pt x="65886" y="39549"/>
                    </a:cubicBezTo>
                    <a:cubicBezTo>
                      <a:pt x="68927" y="24338"/>
                      <a:pt x="65886" y="6085"/>
                      <a:pt x="59801" y="3042"/>
                    </a:cubicBezTo>
                    <a:cubicBezTo>
                      <a:pt x="56759" y="0"/>
                      <a:pt x="56759" y="0"/>
                      <a:pt x="53716" y="0"/>
                    </a:cubicBezTo>
                    <a:cubicBezTo>
                      <a:pt x="53716" y="0"/>
                      <a:pt x="47632" y="3042"/>
                      <a:pt x="47632" y="3042"/>
                    </a:cubicBezTo>
                    <a:cubicBezTo>
                      <a:pt x="32421" y="9127"/>
                      <a:pt x="14167" y="9127"/>
                      <a:pt x="5041" y="27381"/>
                    </a:cubicBezTo>
                    <a:cubicBezTo>
                      <a:pt x="-1044" y="36507"/>
                      <a:pt x="-1044" y="51719"/>
                      <a:pt x="1998" y="63888"/>
                    </a:cubicBezTo>
                    <a:cubicBezTo>
                      <a:pt x="5041" y="69972"/>
                      <a:pt x="8082" y="73014"/>
                      <a:pt x="11125" y="73014"/>
                    </a:cubicBezTo>
                    <a:cubicBezTo>
                      <a:pt x="8082" y="82141"/>
                      <a:pt x="5041" y="97352"/>
                      <a:pt x="11125" y="106479"/>
                    </a:cubicBezTo>
                    <a:cubicBezTo>
                      <a:pt x="14167" y="112564"/>
                      <a:pt x="14167" y="112564"/>
                      <a:pt x="17210" y="112564"/>
                    </a:cubicBezTo>
                    <a:cubicBezTo>
                      <a:pt x="14167" y="121690"/>
                      <a:pt x="11125" y="133859"/>
                      <a:pt x="14167" y="142986"/>
                    </a:cubicBezTo>
                    <a:cubicBezTo>
                      <a:pt x="17210" y="149071"/>
                      <a:pt x="20252" y="149071"/>
                      <a:pt x="23294" y="149071"/>
                    </a:cubicBezTo>
                    <a:cubicBezTo>
                      <a:pt x="20252" y="155155"/>
                      <a:pt x="20252" y="164282"/>
                      <a:pt x="20252" y="173409"/>
                    </a:cubicBezTo>
                    <a:cubicBezTo>
                      <a:pt x="23294" y="182535"/>
                      <a:pt x="29379" y="176451"/>
                      <a:pt x="32421" y="176451"/>
                    </a:cubicBezTo>
                    <a:cubicBezTo>
                      <a:pt x="38505" y="173409"/>
                      <a:pt x="44590" y="173409"/>
                      <a:pt x="50675" y="167324"/>
                    </a:cubicBezTo>
                    <a:cubicBezTo>
                      <a:pt x="53716" y="164282"/>
                      <a:pt x="62844" y="164282"/>
                      <a:pt x="62844" y="152113"/>
                    </a:cubicBezTo>
                    <a:cubicBezTo>
                      <a:pt x="65886" y="142986"/>
                      <a:pt x="62844" y="136901"/>
                      <a:pt x="59801" y="130817"/>
                    </a:cubicBezTo>
                    <a:cubicBezTo>
                      <a:pt x="62844" y="127775"/>
                      <a:pt x="68927" y="124733"/>
                      <a:pt x="68927" y="112564"/>
                    </a:cubicBezTo>
                    <a:cubicBezTo>
                      <a:pt x="71970" y="103437"/>
                      <a:pt x="68927" y="94310"/>
                      <a:pt x="68927" y="88226"/>
                    </a:cubicBezTo>
                    <a:cubicBezTo>
                      <a:pt x="71970" y="85183"/>
                      <a:pt x="71970" y="82141"/>
                      <a:pt x="75012" y="76056"/>
                    </a:cubicBezTo>
                    <a:cubicBezTo>
                      <a:pt x="75012" y="63888"/>
                      <a:pt x="71970" y="48676"/>
                      <a:pt x="65886" y="4259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C891DA4E-BA96-491A-A479-58CFFF59C222}"/>
                  </a:ext>
                </a:extLst>
              </p:cNvPr>
              <p:cNvSpPr/>
              <p:nvPr/>
            </p:nvSpPr>
            <p:spPr>
              <a:xfrm>
                <a:off x="12676546" y="8694850"/>
                <a:ext cx="83241" cy="122784"/>
              </a:xfrm>
              <a:custGeom>
                <a:avLst/>
                <a:gdLst>
                  <a:gd name="connsiteX0" fmla="*/ 24951 w 83241"/>
                  <a:gd name="connsiteY0" fmla="*/ 122785 h 122784"/>
                  <a:gd name="connsiteX1" fmla="*/ 12781 w 83241"/>
                  <a:gd name="connsiteY1" fmla="*/ 119743 h 122784"/>
                  <a:gd name="connsiteX2" fmla="*/ 612 w 83241"/>
                  <a:gd name="connsiteY2" fmla="*/ 98447 h 122784"/>
                  <a:gd name="connsiteX3" fmla="*/ 9740 w 83241"/>
                  <a:gd name="connsiteY3" fmla="*/ 71067 h 122784"/>
                  <a:gd name="connsiteX4" fmla="*/ 64500 w 83241"/>
                  <a:gd name="connsiteY4" fmla="*/ 28475 h 122784"/>
                  <a:gd name="connsiteX5" fmla="*/ 61457 w 83241"/>
                  <a:gd name="connsiteY5" fmla="*/ 16306 h 122784"/>
                  <a:gd name="connsiteX6" fmla="*/ 24951 w 83241"/>
                  <a:gd name="connsiteY6" fmla="*/ 25433 h 122784"/>
                  <a:gd name="connsiteX7" fmla="*/ 15824 w 83241"/>
                  <a:gd name="connsiteY7" fmla="*/ 22390 h 122784"/>
                  <a:gd name="connsiteX8" fmla="*/ 18866 w 83241"/>
                  <a:gd name="connsiteY8" fmla="*/ 13264 h 122784"/>
                  <a:gd name="connsiteX9" fmla="*/ 67542 w 83241"/>
                  <a:gd name="connsiteY9" fmla="*/ 4137 h 122784"/>
                  <a:gd name="connsiteX10" fmla="*/ 76669 w 83241"/>
                  <a:gd name="connsiteY10" fmla="*/ 25433 h 122784"/>
                  <a:gd name="connsiteX11" fmla="*/ 73626 w 83241"/>
                  <a:gd name="connsiteY11" fmla="*/ 37602 h 122784"/>
                  <a:gd name="connsiteX12" fmla="*/ 73626 w 83241"/>
                  <a:gd name="connsiteY12" fmla="*/ 37602 h 122784"/>
                  <a:gd name="connsiteX13" fmla="*/ 82754 w 83241"/>
                  <a:gd name="connsiteY13" fmla="*/ 74109 h 122784"/>
                  <a:gd name="connsiteX14" fmla="*/ 52331 w 83241"/>
                  <a:gd name="connsiteY14" fmla="*/ 110616 h 122784"/>
                  <a:gd name="connsiteX15" fmla="*/ 24951 w 83241"/>
                  <a:gd name="connsiteY15" fmla="*/ 122785 h 122784"/>
                  <a:gd name="connsiteX16" fmla="*/ 15824 w 83241"/>
                  <a:gd name="connsiteY16" fmla="*/ 83235 h 122784"/>
                  <a:gd name="connsiteX17" fmla="*/ 12781 w 83241"/>
                  <a:gd name="connsiteY17" fmla="*/ 98447 h 122784"/>
                  <a:gd name="connsiteX18" fmla="*/ 18866 w 83241"/>
                  <a:gd name="connsiteY18" fmla="*/ 110616 h 122784"/>
                  <a:gd name="connsiteX19" fmla="*/ 49289 w 83241"/>
                  <a:gd name="connsiteY19" fmla="*/ 104532 h 122784"/>
                  <a:gd name="connsiteX20" fmla="*/ 73626 w 83241"/>
                  <a:gd name="connsiteY20" fmla="*/ 77151 h 122784"/>
                  <a:gd name="connsiteX21" fmla="*/ 70585 w 83241"/>
                  <a:gd name="connsiteY21" fmla="*/ 55855 h 122784"/>
                  <a:gd name="connsiteX22" fmla="*/ 15824 w 83241"/>
                  <a:gd name="connsiteY22" fmla="*/ 83235 h 12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83241" h="122784">
                    <a:moveTo>
                      <a:pt x="24951" y="122785"/>
                    </a:moveTo>
                    <a:cubicBezTo>
                      <a:pt x="18866" y="122785"/>
                      <a:pt x="15824" y="122785"/>
                      <a:pt x="12781" y="119743"/>
                    </a:cubicBezTo>
                    <a:cubicBezTo>
                      <a:pt x="6697" y="116700"/>
                      <a:pt x="3655" y="107574"/>
                      <a:pt x="612" y="98447"/>
                    </a:cubicBezTo>
                    <a:cubicBezTo>
                      <a:pt x="-2430" y="74109"/>
                      <a:pt x="6697" y="71067"/>
                      <a:pt x="9740" y="71067"/>
                    </a:cubicBezTo>
                    <a:cubicBezTo>
                      <a:pt x="61457" y="61940"/>
                      <a:pt x="61457" y="40644"/>
                      <a:pt x="64500" y="28475"/>
                    </a:cubicBezTo>
                    <a:cubicBezTo>
                      <a:pt x="64500" y="22390"/>
                      <a:pt x="64500" y="19348"/>
                      <a:pt x="61457" y="16306"/>
                    </a:cubicBezTo>
                    <a:cubicBezTo>
                      <a:pt x="52331" y="13264"/>
                      <a:pt x="34077" y="22390"/>
                      <a:pt x="24951" y="25433"/>
                    </a:cubicBezTo>
                    <a:cubicBezTo>
                      <a:pt x="21908" y="28475"/>
                      <a:pt x="18866" y="25433"/>
                      <a:pt x="15824" y="22390"/>
                    </a:cubicBezTo>
                    <a:cubicBezTo>
                      <a:pt x="12781" y="19348"/>
                      <a:pt x="15824" y="16306"/>
                      <a:pt x="18866" y="13264"/>
                    </a:cubicBezTo>
                    <a:cubicBezTo>
                      <a:pt x="21908" y="10222"/>
                      <a:pt x="52331" y="-8032"/>
                      <a:pt x="67542" y="4137"/>
                    </a:cubicBezTo>
                    <a:cubicBezTo>
                      <a:pt x="73626" y="7179"/>
                      <a:pt x="76669" y="16306"/>
                      <a:pt x="76669" y="25433"/>
                    </a:cubicBezTo>
                    <a:cubicBezTo>
                      <a:pt x="76669" y="31517"/>
                      <a:pt x="76669" y="34560"/>
                      <a:pt x="73626" y="37602"/>
                    </a:cubicBezTo>
                    <a:cubicBezTo>
                      <a:pt x="73626" y="37602"/>
                      <a:pt x="73626" y="37602"/>
                      <a:pt x="73626" y="37602"/>
                    </a:cubicBezTo>
                    <a:cubicBezTo>
                      <a:pt x="73626" y="37602"/>
                      <a:pt x="85796" y="52813"/>
                      <a:pt x="82754" y="74109"/>
                    </a:cubicBezTo>
                    <a:cubicBezTo>
                      <a:pt x="82754" y="95405"/>
                      <a:pt x="67542" y="104532"/>
                      <a:pt x="52331" y="110616"/>
                    </a:cubicBezTo>
                    <a:cubicBezTo>
                      <a:pt x="43204" y="119743"/>
                      <a:pt x="34077" y="122785"/>
                      <a:pt x="24951" y="122785"/>
                    </a:cubicBezTo>
                    <a:close/>
                    <a:moveTo>
                      <a:pt x="15824" y="83235"/>
                    </a:moveTo>
                    <a:cubicBezTo>
                      <a:pt x="15824" y="83235"/>
                      <a:pt x="12781" y="89320"/>
                      <a:pt x="12781" y="98447"/>
                    </a:cubicBezTo>
                    <a:cubicBezTo>
                      <a:pt x="12781" y="104532"/>
                      <a:pt x="15824" y="107574"/>
                      <a:pt x="18866" y="110616"/>
                    </a:cubicBezTo>
                    <a:cubicBezTo>
                      <a:pt x="21908" y="113658"/>
                      <a:pt x="31035" y="113658"/>
                      <a:pt x="49289" y="104532"/>
                    </a:cubicBezTo>
                    <a:cubicBezTo>
                      <a:pt x="67542" y="95405"/>
                      <a:pt x="73626" y="89320"/>
                      <a:pt x="73626" y="77151"/>
                    </a:cubicBezTo>
                    <a:cubicBezTo>
                      <a:pt x="73626" y="68024"/>
                      <a:pt x="70585" y="61940"/>
                      <a:pt x="70585" y="55855"/>
                    </a:cubicBezTo>
                    <a:cubicBezTo>
                      <a:pt x="61457" y="68024"/>
                      <a:pt x="46246" y="77151"/>
                      <a:pt x="15824" y="8323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27480A96-3B8A-445A-8C59-FF4D91F3B33B}"/>
                  </a:ext>
                </a:extLst>
              </p:cNvPr>
              <p:cNvSpPr/>
              <p:nvPr/>
            </p:nvSpPr>
            <p:spPr>
              <a:xfrm>
                <a:off x="12685026" y="8787212"/>
                <a:ext cx="70133" cy="69971"/>
              </a:xfrm>
              <a:custGeom>
                <a:avLst/>
                <a:gdLst>
                  <a:gd name="connsiteX0" fmla="*/ 16472 w 70133"/>
                  <a:gd name="connsiteY0" fmla="*/ 69972 h 69971"/>
                  <a:gd name="connsiteX1" fmla="*/ 7344 w 70133"/>
                  <a:gd name="connsiteY1" fmla="*/ 69972 h 69971"/>
                  <a:gd name="connsiteX2" fmla="*/ 1260 w 70133"/>
                  <a:gd name="connsiteY2" fmla="*/ 63888 h 69971"/>
                  <a:gd name="connsiteX3" fmla="*/ 4302 w 70133"/>
                  <a:gd name="connsiteY3" fmla="*/ 27381 h 69971"/>
                  <a:gd name="connsiteX4" fmla="*/ 10387 w 70133"/>
                  <a:gd name="connsiteY4" fmla="*/ 24338 h 69971"/>
                  <a:gd name="connsiteX5" fmla="*/ 13429 w 70133"/>
                  <a:gd name="connsiteY5" fmla="*/ 30423 h 69971"/>
                  <a:gd name="connsiteX6" fmla="*/ 10387 w 70133"/>
                  <a:gd name="connsiteY6" fmla="*/ 60845 h 69971"/>
                  <a:gd name="connsiteX7" fmla="*/ 49936 w 70133"/>
                  <a:gd name="connsiteY7" fmla="*/ 45634 h 69971"/>
                  <a:gd name="connsiteX8" fmla="*/ 59063 w 70133"/>
                  <a:gd name="connsiteY8" fmla="*/ 6084 h 69971"/>
                  <a:gd name="connsiteX9" fmla="*/ 62105 w 70133"/>
                  <a:gd name="connsiteY9" fmla="*/ 0 h 69971"/>
                  <a:gd name="connsiteX10" fmla="*/ 68189 w 70133"/>
                  <a:gd name="connsiteY10" fmla="*/ 3042 h 69971"/>
                  <a:gd name="connsiteX11" fmla="*/ 56020 w 70133"/>
                  <a:gd name="connsiteY11" fmla="*/ 54761 h 69971"/>
                  <a:gd name="connsiteX12" fmla="*/ 16472 w 70133"/>
                  <a:gd name="connsiteY12" fmla="*/ 69972 h 6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0133" h="69971">
                    <a:moveTo>
                      <a:pt x="16472" y="69972"/>
                    </a:moveTo>
                    <a:cubicBezTo>
                      <a:pt x="13429" y="69972"/>
                      <a:pt x="10387" y="69972"/>
                      <a:pt x="7344" y="69972"/>
                    </a:cubicBezTo>
                    <a:cubicBezTo>
                      <a:pt x="4302" y="69972"/>
                      <a:pt x="4302" y="66929"/>
                      <a:pt x="1260" y="63888"/>
                    </a:cubicBezTo>
                    <a:cubicBezTo>
                      <a:pt x="-1782" y="54761"/>
                      <a:pt x="1260" y="33465"/>
                      <a:pt x="4302" y="27381"/>
                    </a:cubicBezTo>
                    <a:cubicBezTo>
                      <a:pt x="4302" y="24338"/>
                      <a:pt x="10387" y="24338"/>
                      <a:pt x="10387" y="24338"/>
                    </a:cubicBezTo>
                    <a:cubicBezTo>
                      <a:pt x="13429" y="24338"/>
                      <a:pt x="13429" y="30423"/>
                      <a:pt x="13429" y="30423"/>
                    </a:cubicBezTo>
                    <a:cubicBezTo>
                      <a:pt x="10387" y="36507"/>
                      <a:pt x="10387" y="54761"/>
                      <a:pt x="10387" y="60845"/>
                    </a:cubicBezTo>
                    <a:cubicBezTo>
                      <a:pt x="13429" y="60845"/>
                      <a:pt x="31683" y="60845"/>
                      <a:pt x="49936" y="45634"/>
                    </a:cubicBezTo>
                    <a:cubicBezTo>
                      <a:pt x="65147" y="33465"/>
                      <a:pt x="59063" y="6084"/>
                      <a:pt x="59063" y="6084"/>
                    </a:cubicBezTo>
                    <a:cubicBezTo>
                      <a:pt x="59063" y="3042"/>
                      <a:pt x="59063" y="0"/>
                      <a:pt x="62105" y="0"/>
                    </a:cubicBezTo>
                    <a:cubicBezTo>
                      <a:pt x="65147" y="0"/>
                      <a:pt x="68189" y="0"/>
                      <a:pt x="68189" y="3042"/>
                    </a:cubicBezTo>
                    <a:cubicBezTo>
                      <a:pt x="68189" y="3042"/>
                      <a:pt x="77317" y="36507"/>
                      <a:pt x="56020" y="54761"/>
                    </a:cubicBezTo>
                    <a:cubicBezTo>
                      <a:pt x="43852" y="66929"/>
                      <a:pt x="25598" y="69972"/>
                      <a:pt x="16472" y="6997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3" name="图形 1">
              <a:extLst>
                <a:ext uri="{FF2B5EF4-FFF2-40B4-BE49-F238E27FC236}">
                  <a16:creationId xmlns:a16="http://schemas.microsoft.com/office/drawing/2014/main" id="{C054A5C9-0BFE-4ACB-B614-9479263EF320}"/>
                </a:ext>
              </a:extLst>
            </p:cNvPr>
            <p:cNvGrpSpPr/>
            <p:nvPr/>
          </p:nvGrpSpPr>
          <p:grpSpPr>
            <a:xfrm>
              <a:off x="12546342" y="8772001"/>
              <a:ext cx="316394" cy="273802"/>
              <a:chOff x="12546342" y="8772001"/>
              <a:chExt cx="316394" cy="273802"/>
            </a:xfrm>
          </p:grpSpPr>
          <p:grpSp>
            <p:nvGrpSpPr>
              <p:cNvPr id="121" name="图形 1">
                <a:extLst>
                  <a:ext uri="{FF2B5EF4-FFF2-40B4-BE49-F238E27FC236}">
                    <a16:creationId xmlns:a16="http://schemas.microsoft.com/office/drawing/2014/main" id="{CC3D5DD5-FACD-40D1-8277-284C32792FDF}"/>
                  </a:ext>
                </a:extLst>
              </p:cNvPr>
              <p:cNvGrpSpPr/>
              <p:nvPr/>
            </p:nvGrpSpPr>
            <p:grpSpPr>
              <a:xfrm>
                <a:off x="12546342" y="8772001"/>
                <a:ext cx="228168" cy="273802"/>
                <a:chOff x="12546342" y="8772001"/>
                <a:chExt cx="228168" cy="273802"/>
              </a:xfrm>
            </p:grpSpPr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591578BB-6EF7-4353-A17D-B4F8782C697F}"/>
                    </a:ext>
                  </a:extLst>
                </p:cNvPr>
                <p:cNvSpPr/>
                <p:nvPr/>
              </p:nvSpPr>
              <p:spPr>
                <a:xfrm>
                  <a:off x="12546342" y="8775043"/>
                  <a:ext cx="170366" cy="270760"/>
                </a:xfrm>
                <a:custGeom>
                  <a:avLst/>
                  <a:gdLst>
                    <a:gd name="connsiteX0" fmla="*/ 63888 w 170366"/>
                    <a:gd name="connsiteY0" fmla="*/ 267718 h 270760"/>
                    <a:gd name="connsiteX1" fmla="*/ 0 w 170366"/>
                    <a:gd name="connsiteY1" fmla="*/ 133859 h 270760"/>
                    <a:gd name="connsiteX2" fmla="*/ 63888 w 170366"/>
                    <a:gd name="connsiteY2" fmla="*/ 0 h 270760"/>
                    <a:gd name="connsiteX3" fmla="*/ 170366 w 170366"/>
                    <a:gd name="connsiteY3" fmla="*/ 0 h 270760"/>
                    <a:gd name="connsiteX4" fmla="*/ 170366 w 170366"/>
                    <a:gd name="connsiteY4" fmla="*/ 270760 h 270760"/>
                    <a:gd name="connsiteX5" fmla="*/ 63888 w 170366"/>
                    <a:gd name="connsiteY5" fmla="*/ 270760 h 270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70366" h="270760">
                      <a:moveTo>
                        <a:pt x="63888" y="267718"/>
                      </a:moveTo>
                      <a:cubicBezTo>
                        <a:pt x="30423" y="267718"/>
                        <a:pt x="0" y="206873"/>
                        <a:pt x="0" y="133859"/>
                      </a:cubicBezTo>
                      <a:cubicBezTo>
                        <a:pt x="0" y="57803"/>
                        <a:pt x="27380" y="0"/>
                        <a:pt x="63888" y="0"/>
                      </a:cubicBezTo>
                      <a:lnTo>
                        <a:pt x="170366" y="0"/>
                      </a:lnTo>
                      <a:lnTo>
                        <a:pt x="170366" y="270760"/>
                      </a:lnTo>
                      <a:lnTo>
                        <a:pt x="63888" y="270760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28CBF93A-3EC1-4043-AD98-4A78C83AC8D7}"/>
                    </a:ext>
                  </a:extLst>
                </p:cNvPr>
                <p:cNvSpPr/>
                <p:nvPr/>
              </p:nvSpPr>
              <p:spPr>
                <a:xfrm>
                  <a:off x="12646736" y="8772001"/>
                  <a:ext cx="127774" cy="267718"/>
                </a:xfrm>
                <a:custGeom>
                  <a:avLst/>
                  <a:gdLst>
                    <a:gd name="connsiteX0" fmla="*/ 127775 w 127774"/>
                    <a:gd name="connsiteY0" fmla="*/ 133859 h 267718"/>
                    <a:gd name="connsiteX1" fmla="*/ 63887 w 127774"/>
                    <a:gd name="connsiteY1" fmla="*/ 267718 h 267718"/>
                    <a:gd name="connsiteX2" fmla="*/ 0 w 127774"/>
                    <a:gd name="connsiteY2" fmla="*/ 133859 h 267718"/>
                    <a:gd name="connsiteX3" fmla="*/ 63887 w 127774"/>
                    <a:gd name="connsiteY3" fmla="*/ 0 h 267718"/>
                    <a:gd name="connsiteX4" fmla="*/ 127775 w 127774"/>
                    <a:gd name="connsiteY4" fmla="*/ 133859 h 2677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7774" h="267718">
                      <a:moveTo>
                        <a:pt x="127775" y="133859"/>
                      </a:moveTo>
                      <a:cubicBezTo>
                        <a:pt x="127775" y="207788"/>
                        <a:pt x="99171" y="267718"/>
                        <a:pt x="63887" y="267718"/>
                      </a:cubicBezTo>
                      <a:cubicBezTo>
                        <a:pt x="28604" y="267718"/>
                        <a:pt x="0" y="207788"/>
                        <a:pt x="0" y="133859"/>
                      </a:cubicBezTo>
                      <a:cubicBezTo>
                        <a:pt x="0" y="59931"/>
                        <a:pt x="28604" y="0"/>
                        <a:pt x="63887" y="0"/>
                      </a:cubicBezTo>
                      <a:cubicBezTo>
                        <a:pt x="99171" y="0"/>
                        <a:pt x="127775" y="59931"/>
                        <a:pt x="127775" y="133859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22" name="图形 1">
                <a:extLst>
                  <a:ext uri="{FF2B5EF4-FFF2-40B4-BE49-F238E27FC236}">
                    <a16:creationId xmlns:a16="http://schemas.microsoft.com/office/drawing/2014/main" id="{F3359B55-D420-4FF4-8780-A0BB734C3157}"/>
                  </a:ext>
                </a:extLst>
              </p:cNvPr>
              <p:cNvGrpSpPr/>
              <p:nvPr/>
            </p:nvGrpSpPr>
            <p:grpSpPr>
              <a:xfrm>
                <a:off x="12664990" y="8790254"/>
                <a:ext cx="197746" cy="234253"/>
                <a:chOff x="12664990" y="8790254"/>
                <a:chExt cx="197746" cy="234253"/>
              </a:xfrm>
            </p:grpSpPr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B09110CD-6EF4-4DE2-86B9-79CC08DECBB1}"/>
                    </a:ext>
                  </a:extLst>
                </p:cNvPr>
                <p:cNvSpPr/>
                <p:nvPr/>
              </p:nvSpPr>
              <p:spPr>
                <a:xfrm>
                  <a:off x="12664990" y="8793296"/>
                  <a:ext cx="146027" cy="231211"/>
                </a:xfrm>
                <a:custGeom>
                  <a:avLst/>
                  <a:gdLst>
                    <a:gd name="connsiteX0" fmla="*/ 54760 w 146027"/>
                    <a:gd name="connsiteY0" fmla="*/ 231211 h 231211"/>
                    <a:gd name="connsiteX1" fmla="*/ 0 w 146027"/>
                    <a:gd name="connsiteY1" fmla="*/ 115606 h 231211"/>
                    <a:gd name="connsiteX2" fmla="*/ 54760 w 146027"/>
                    <a:gd name="connsiteY2" fmla="*/ 0 h 231211"/>
                    <a:gd name="connsiteX3" fmla="*/ 146028 w 146027"/>
                    <a:gd name="connsiteY3" fmla="*/ 0 h 231211"/>
                    <a:gd name="connsiteX4" fmla="*/ 146028 w 146027"/>
                    <a:gd name="connsiteY4" fmla="*/ 231211 h 231211"/>
                    <a:gd name="connsiteX5" fmla="*/ 54760 w 146027"/>
                    <a:gd name="connsiteY5" fmla="*/ 231211 h 231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6027" h="231211">
                      <a:moveTo>
                        <a:pt x="54760" y="231211"/>
                      </a:moveTo>
                      <a:cubicBezTo>
                        <a:pt x="24338" y="231211"/>
                        <a:pt x="0" y="179493"/>
                        <a:pt x="0" y="115606"/>
                      </a:cubicBezTo>
                      <a:cubicBezTo>
                        <a:pt x="0" y="51719"/>
                        <a:pt x="24338" y="0"/>
                        <a:pt x="54760" y="0"/>
                      </a:cubicBezTo>
                      <a:lnTo>
                        <a:pt x="146028" y="0"/>
                      </a:lnTo>
                      <a:lnTo>
                        <a:pt x="146028" y="231211"/>
                      </a:lnTo>
                      <a:lnTo>
                        <a:pt x="54760" y="231211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F64380F3-C56C-4926-8D4E-FE839F79EF0C}"/>
                    </a:ext>
                  </a:extLst>
                </p:cNvPr>
                <p:cNvSpPr/>
                <p:nvPr/>
              </p:nvSpPr>
              <p:spPr>
                <a:xfrm>
                  <a:off x="12753215" y="8790254"/>
                  <a:ext cx="109521" cy="231210"/>
                </a:xfrm>
                <a:custGeom>
                  <a:avLst/>
                  <a:gdLst>
                    <a:gd name="connsiteX0" fmla="*/ 0 w 109521"/>
                    <a:gd name="connsiteY0" fmla="*/ 115606 h 231210"/>
                    <a:gd name="connsiteX1" fmla="*/ 54761 w 109521"/>
                    <a:gd name="connsiteY1" fmla="*/ 231211 h 231210"/>
                    <a:gd name="connsiteX2" fmla="*/ 109521 w 109521"/>
                    <a:gd name="connsiteY2" fmla="*/ 115606 h 231210"/>
                    <a:gd name="connsiteX3" fmla="*/ 54761 w 109521"/>
                    <a:gd name="connsiteY3" fmla="*/ 0 h 231210"/>
                    <a:gd name="connsiteX4" fmla="*/ 0 w 109521"/>
                    <a:gd name="connsiteY4" fmla="*/ 115606 h 2312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9521" h="231210">
                      <a:moveTo>
                        <a:pt x="0" y="115606"/>
                      </a:moveTo>
                      <a:cubicBezTo>
                        <a:pt x="0" y="179493"/>
                        <a:pt x="24339" y="231211"/>
                        <a:pt x="54761" y="231211"/>
                      </a:cubicBezTo>
                      <a:cubicBezTo>
                        <a:pt x="85184" y="231211"/>
                        <a:pt x="109521" y="179493"/>
                        <a:pt x="109521" y="115606"/>
                      </a:cubicBezTo>
                      <a:cubicBezTo>
                        <a:pt x="109521" y="51718"/>
                        <a:pt x="85184" y="0"/>
                        <a:pt x="54761" y="0"/>
                      </a:cubicBezTo>
                      <a:cubicBezTo>
                        <a:pt x="24339" y="0"/>
                        <a:pt x="0" y="51718"/>
                        <a:pt x="0" y="115606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DD802498-B468-4441-B3C8-2EE5C7F55480}"/>
                    </a:ext>
                  </a:extLst>
                </p:cNvPr>
                <p:cNvSpPr/>
                <p:nvPr/>
              </p:nvSpPr>
              <p:spPr>
                <a:xfrm>
                  <a:off x="12762342" y="8805466"/>
                  <a:ext cx="85182" cy="200788"/>
                </a:xfrm>
                <a:custGeom>
                  <a:avLst/>
                  <a:gdLst>
                    <a:gd name="connsiteX0" fmla="*/ 0 w 85182"/>
                    <a:gd name="connsiteY0" fmla="*/ 100394 h 200788"/>
                    <a:gd name="connsiteX1" fmla="*/ 42591 w 85182"/>
                    <a:gd name="connsiteY1" fmla="*/ 200788 h 200788"/>
                    <a:gd name="connsiteX2" fmla="*/ 85183 w 85182"/>
                    <a:gd name="connsiteY2" fmla="*/ 100394 h 200788"/>
                    <a:gd name="connsiteX3" fmla="*/ 42591 w 85182"/>
                    <a:gd name="connsiteY3" fmla="*/ 0 h 200788"/>
                    <a:gd name="connsiteX4" fmla="*/ 0 w 85182"/>
                    <a:gd name="connsiteY4" fmla="*/ 100394 h 200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5182" h="200788">
                      <a:moveTo>
                        <a:pt x="0" y="100394"/>
                      </a:moveTo>
                      <a:cubicBezTo>
                        <a:pt x="0" y="155155"/>
                        <a:pt x="18253" y="200788"/>
                        <a:pt x="42591" y="200788"/>
                      </a:cubicBezTo>
                      <a:cubicBezTo>
                        <a:pt x="66929" y="200788"/>
                        <a:pt x="85183" y="155155"/>
                        <a:pt x="85183" y="100394"/>
                      </a:cubicBezTo>
                      <a:cubicBezTo>
                        <a:pt x="85183" y="45634"/>
                        <a:pt x="66929" y="0"/>
                        <a:pt x="42591" y="0"/>
                      </a:cubicBezTo>
                      <a:cubicBezTo>
                        <a:pt x="21295" y="3042"/>
                        <a:pt x="0" y="45634"/>
                        <a:pt x="0" y="100394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04" name="图形 1">
              <a:extLst>
                <a:ext uri="{FF2B5EF4-FFF2-40B4-BE49-F238E27FC236}">
                  <a16:creationId xmlns:a16="http://schemas.microsoft.com/office/drawing/2014/main" id="{08B96C35-BFD1-4B30-9888-BB59E36657E4}"/>
                </a:ext>
              </a:extLst>
            </p:cNvPr>
            <p:cNvGrpSpPr/>
            <p:nvPr/>
          </p:nvGrpSpPr>
          <p:grpSpPr>
            <a:xfrm>
              <a:off x="11677845" y="7615944"/>
              <a:ext cx="595419" cy="362028"/>
              <a:chOff x="11677845" y="7615944"/>
              <a:chExt cx="595419" cy="362028"/>
            </a:xfrm>
          </p:grpSpPr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ABEA170E-9A86-42A1-96F6-6BBE184B2CDD}"/>
                  </a:ext>
                </a:extLst>
              </p:cNvPr>
              <p:cNvSpPr/>
              <p:nvPr/>
            </p:nvSpPr>
            <p:spPr>
              <a:xfrm>
                <a:off x="11677845" y="7617287"/>
                <a:ext cx="488214" cy="360685"/>
              </a:xfrm>
              <a:custGeom>
                <a:avLst/>
                <a:gdLst>
                  <a:gd name="connsiteX0" fmla="*/ 92722 w 488214"/>
                  <a:gd name="connsiteY0" fmla="*/ 214657 h 360685"/>
                  <a:gd name="connsiteX1" fmla="*/ 41003 w 488214"/>
                  <a:gd name="connsiteY1" fmla="*/ 360685 h 360685"/>
                  <a:gd name="connsiteX2" fmla="*/ 123144 w 488214"/>
                  <a:gd name="connsiteY2" fmla="*/ 38206 h 360685"/>
                  <a:gd name="connsiteX3" fmla="*/ 488215 w 488214"/>
                  <a:gd name="connsiteY3" fmla="*/ 135558 h 360685"/>
                  <a:gd name="connsiteX4" fmla="*/ 92722 w 488214"/>
                  <a:gd name="connsiteY4" fmla="*/ 214657 h 360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214" h="360685">
                    <a:moveTo>
                      <a:pt x="92722" y="214657"/>
                    </a:moveTo>
                    <a:cubicBezTo>
                      <a:pt x="56214" y="245080"/>
                      <a:pt x="41003" y="293756"/>
                      <a:pt x="41003" y="360685"/>
                    </a:cubicBezTo>
                    <a:cubicBezTo>
                      <a:pt x="41003" y="360685"/>
                      <a:pt x="-92856" y="172065"/>
                      <a:pt x="123144" y="38206"/>
                    </a:cubicBezTo>
                    <a:cubicBezTo>
                      <a:pt x="272215" y="-53061"/>
                      <a:pt x="424327" y="35164"/>
                      <a:pt x="488215" y="135558"/>
                    </a:cubicBezTo>
                    <a:cubicBezTo>
                      <a:pt x="485172" y="135558"/>
                      <a:pt x="253961" y="77756"/>
                      <a:pt x="92722" y="214657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EBF5B672-91B3-42D7-8B80-5D268B0CCD39}"/>
                  </a:ext>
                </a:extLst>
              </p:cNvPr>
              <p:cNvSpPr/>
              <p:nvPr/>
            </p:nvSpPr>
            <p:spPr>
              <a:xfrm>
                <a:off x="11755356" y="7659380"/>
                <a:ext cx="517908" cy="218198"/>
              </a:xfrm>
              <a:custGeom>
                <a:avLst/>
                <a:gdLst>
                  <a:gd name="connsiteX0" fmla="*/ 0 w 517908"/>
                  <a:gd name="connsiteY0" fmla="*/ 187776 h 218198"/>
                  <a:gd name="connsiteX1" fmla="*/ 219042 w 517908"/>
                  <a:gd name="connsiteY1" fmla="*/ 47832 h 218198"/>
                  <a:gd name="connsiteX2" fmla="*/ 514141 w 517908"/>
                  <a:gd name="connsiteY2" fmla="*/ 60001 h 218198"/>
                  <a:gd name="connsiteX3" fmla="*/ 410704 w 517908"/>
                  <a:gd name="connsiteY3" fmla="*/ 218198 h 218198"/>
                  <a:gd name="connsiteX4" fmla="*/ 0 w 517908"/>
                  <a:gd name="connsiteY4" fmla="*/ 187776 h 218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7908" h="218198">
                    <a:moveTo>
                      <a:pt x="0" y="187776"/>
                    </a:moveTo>
                    <a:cubicBezTo>
                      <a:pt x="0" y="187776"/>
                      <a:pt x="76056" y="111719"/>
                      <a:pt x="219042" y="47832"/>
                    </a:cubicBezTo>
                    <a:cubicBezTo>
                      <a:pt x="368113" y="-22140"/>
                      <a:pt x="486761" y="-13013"/>
                      <a:pt x="514141" y="60001"/>
                    </a:cubicBezTo>
                    <a:cubicBezTo>
                      <a:pt x="541521" y="133015"/>
                      <a:pt x="410704" y="218198"/>
                      <a:pt x="410704" y="218198"/>
                    </a:cubicBezTo>
                    <a:cubicBezTo>
                      <a:pt x="410704" y="218198"/>
                      <a:pt x="264676" y="78254"/>
                      <a:pt x="0" y="187776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CA5C0D28-277D-4B0C-834F-02F71738C2E7}"/>
                  </a:ext>
                </a:extLst>
              </p:cNvPr>
              <p:cNvSpPr/>
              <p:nvPr/>
            </p:nvSpPr>
            <p:spPr>
              <a:xfrm>
                <a:off x="11767525" y="7615944"/>
                <a:ext cx="57802" cy="54760"/>
              </a:xfrm>
              <a:custGeom>
                <a:avLst/>
                <a:gdLst>
                  <a:gd name="connsiteX0" fmla="*/ 0 w 57802"/>
                  <a:gd name="connsiteY0" fmla="*/ 27381 h 54760"/>
                  <a:gd name="connsiteX1" fmla="*/ 30423 w 57802"/>
                  <a:gd name="connsiteY1" fmla="*/ 0 h 54760"/>
                  <a:gd name="connsiteX2" fmla="*/ 57803 w 57802"/>
                  <a:gd name="connsiteY2" fmla="*/ 27381 h 54760"/>
                  <a:gd name="connsiteX3" fmla="*/ 27380 w 57802"/>
                  <a:gd name="connsiteY3" fmla="*/ 54761 h 54760"/>
                  <a:gd name="connsiteX4" fmla="*/ 0 w 57802"/>
                  <a:gd name="connsiteY4" fmla="*/ 27381 h 5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802" h="54760">
                    <a:moveTo>
                      <a:pt x="0" y="27381"/>
                    </a:moveTo>
                    <a:cubicBezTo>
                      <a:pt x="0" y="12169"/>
                      <a:pt x="12169" y="0"/>
                      <a:pt x="30423" y="0"/>
                    </a:cubicBezTo>
                    <a:cubicBezTo>
                      <a:pt x="45634" y="0"/>
                      <a:pt x="57803" y="12169"/>
                      <a:pt x="57803" y="27381"/>
                    </a:cubicBezTo>
                    <a:cubicBezTo>
                      <a:pt x="57803" y="42592"/>
                      <a:pt x="45634" y="54761"/>
                      <a:pt x="27380" y="54761"/>
                    </a:cubicBezTo>
                    <a:cubicBezTo>
                      <a:pt x="12169" y="54761"/>
                      <a:pt x="0" y="42592"/>
                      <a:pt x="0" y="2738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47A046AF-44E0-4B3C-8438-A9CFCB091C8C}"/>
                </a:ext>
              </a:extLst>
            </p:cNvPr>
            <p:cNvSpPr/>
            <p:nvPr/>
          </p:nvSpPr>
          <p:spPr>
            <a:xfrm>
              <a:off x="11750032" y="7649623"/>
              <a:ext cx="530193" cy="203617"/>
            </a:xfrm>
            <a:custGeom>
              <a:avLst/>
              <a:gdLst>
                <a:gd name="connsiteX0" fmla="*/ 5324 w 530193"/>
                <a:gd name="connsiteY0" fmla="*/ 203618 h 203617"/>
                <a:gd name="connsiteX1" fmla="*/ 2282 w 530193"/>
                <a:gd name="connsiteY1" fmla="*/ 203618 h 203617"/>
                <a:gd name="connsiteX2" fmla="*/ 2282 w 530193"/>
                <a:gd name="connsiteY2" fmla="*/ 194491 h 203617"/>
                <a:gd name="connsiteX3" fmla="*/ 336930 w 530193"/>
                <a:gd name="connsiteY3" fmla="*/ 5871 h 203617"/>
                <a:gd name="connsiteX4" fmla="*/ 525550 w 530193"/>
                <a:gd name="connsiteY4" fmla="*/ 66716 h 203617"/>
                <a:gd name="connsiteX5" fmla="*/ 467746 w 530193"/>
                <a:gd name="connsiteY5" fmla="*/ 194491 h 203617"/>
                <a:gd name="connsiteX6" fmla="*/ 458620 w 530193"/>
                <a:gd name="connsiteY6" fmla="*/ 194491 h 203617"/>
                <a:gd name="connsiteX7" fmla="*/ 458620 w 530193"/>
                <a:gd name="connsiteY7" fmla="*/ 185364 h 203617"/>
                <a:gd name="connsiteX8" fmla="*/ 513380 w 530193"/>
                <a:gd name="connsiteY8" fmla="*/ 72801 h 203617"/>
                <a:gd name="connsiteX9" fmla="*/ 336930 w 530193"/>
                <a:gd name="connsiteY9" fmla="*/ 18040 h 203617"/>
                <a:gd name="connsiteX10" fmla="*/ 8367 w 530193"/>
                <a:gd name="connsiteY10" fmla="*/ 200575 h 203617"/>
                <a:gd name="connsiteX11" fmla="*/ 5324 w 530193"/>
                <a:gd name="connsiteY11" fmla="*/ 203618 h 203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0193" h="203617">
                  <a:moveTo>
                    <a:pt x="5324" y="203618"/>
                  </a:moveTo>
                  <a:cubicBezTo>
                    <a:pt x="5324" y="203618"/>
                    <a:pt x="2282" y="203618"/>
                    <a:pt x="2282" y="203618"/>
                  </a:cubicBezTo>
                  <a:cubicBezTo>
                    <a:pt x="-761" y="200575"/>
                    <a:pt x="-761" y="197533"/>
                    <a:pt x="2282" y="194491"/>
                  </a:cubicBezTo>
                  <a:cubicBezTo>
                    <a:pt x="111803" y="57589"/>
                    <a:pt x="245662" y="21082"/>
                    <a:pt x="336930" y="5871"/>
                  </a:cubicBezTo>
                  <a:cubicBezTo>
                    <a:pt x="382564" y="-3256"/>
                    <a:pt x="495127" y="-12383"/>
                    <a:pt x="525550" y="66716"/>
                  </a:cubicBezTo>
                  <a:cubicBezTo>
                    <a:pt x="549887" y="130604"/>
                    <a:pt x="470789" y="191449"/>
                    <a:pt x="467746" y="194491"/>
                  </a:cubicBezTo>
                  <a:cubicBezTo>
                    <a:pt x="464705" y="197533"/>
                    <a:pt x="461662" y="194491"/>
                    <a:pt x="458620" y="194491"/>
                  </a:cubicBezTo>
                  <a:cubicBezTo>
                    <a:pt x="455577" y="191449"/>
                    <a:pt x="458620" y="188406"/>
                    <a:pt x="458620" y="185364"/>
                  </a:cubicBezTo>
                  <a:cubicBezTo>
                    <a:pt x="458620" y="185364"/>
                    <a:pt x="534676" y="127561"/>
                    <a:pt x="513380" y="72801"/>
                  </a:cubicBezTo>
                  <a:cubicBezTo>
                    <a:pt x="486000" y="2829"/>
                    <a:pt x="382564" y="11955"/>
                    <a:pt x="336930" y="18040"/>
                  </a:cubicBezTo>
                  <a:cubicBezTo>
                    <a:pt x="245662" y="33251"/>
                    <a:pt x="114846" y="66716"/>
                    <a:pt x="8367" y="200575"/>
                  </a:cubicBezTo>
                  <a:cubicBezTo>
                    <a:pt x="8367" y="200575"/>
                    <a:pt x="8367" y="203618"/>
                    <a:pt x="5324" y="203618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BF0F069C-F0BA-4B0F-810A-8C97FB766C79}"/>
                </a:ext>
              </a:extLst>
            </p:cNvPr>
            <p:cNvSpPr/>
            <p:nvPr/>
          </p:nvSpPr>
          <p:spPr>
            <a:xfrm>
              <a:off x="11372032" y="8342803"/>
              <a:ext cx="432745" cy="1080240"/>
            </a:xfrm>
            <a:custGeom>
              <a:avLst/>
              <a:gdLst>
                <a:gd name="connsiteX0" fmla="*/ 432000 w 432745"/>
                <a:gd name="connsiteY0" fmla="*/ 3282 h 1080240"/>
                <a:gd name="connsiteX1" fmla="*/ 395493 w 432745"/>
                <a:gd name="connsiteY1" fmla="*/ 900747 h 1080240"/>
                <a:gd name="connsiteX2" fmla="*/ 0 w 432745"/>
                <a:gd name="connsiteY2" fmla="*/ 1080241 h 1080240"/>
                <a:gd name="connsiteX3" fmla="*/ 12169 w 432745"/>
                <a:gd name="connsiteY3" fmla="*/ 982888 h 1080240"/>
                <a:gd name="connsiteX4" fmla="*/ 292057 w 432745"/>
                <a:gd name="connsiteY4" fmla="*/ 873367 h 1080240"/>
                <a:gd name="connsiteX5" fmla="*/ 343774 w 432745"/>
                <a:gd name="connsiteY5" fmla="*/ 30663 h 1080240"/>
                <a:gd name="connsiteX6" fmla="*/ 432000 w 432745"/>
                <a:gd name="connsiteY6" fmla="*/ 3282 h 108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745" h="1080240">
                  <a:moveTo>
                    <a:pt x="432000" y="3282"/>
                  </a:moveTo>
                  <a:cubicBezTo>
                    <a:pt x="432000" y="3282"/>
                    <a:pt x="441127" y="769930"/>
                    <a:pt x="395493" y="900747"/>
                  </a:cubicBezTo>
                  <a:cubicBezTo>
                    <a:pt x="349859" y="1031564"/>
                    <a:pt x="0" y="1080241"/>
                    <a:pt x="0" y="1080241"/>
                  </a:cubicBezTo>
                  <a:lnTo>
                    <a:pt x="12169" y="982888"/>
                  </a:lnTo>
                  <a:cubicBezTo>
                    <a:pt x="12169" y="982888"/>
                    <a:pt x="243380" y="919001"/>
                    <a:pt x="292057" y="873367"/>
                  </a:cubicBezTo>
                  <a:cubicBezTo>
                    <a:pt x="340733" y="827733"/>
                    <a:pt x="343774" y="30663"/>
                    <a:pt x="343774" y="30663"/>
                  </a:cubicBezTo>
                  <a:cubicBezTo>
                    <a:pt x="343774" y="30663"/>
                    <a:pt x="374197" y="-11929"/>
                    <a:pt x="432000" y="3282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EE7471BE-1EDA-4791-8419-A601AF83955A}"/>
                </a:ext>
              </a:extLst>
            </p:cNvPr>
            <p:cNvSpPr/>
            <p:nvPr/>
          </p:nvSpPr>
          <p:spPr>
            <a:xfrm>
              <a:off x="11475468" y="8686817"/>
              <a:ext cx="352901" cy="818388"/>
            </a:xfrm>
            <a:custGeom>
              <a:avLst/>
              <a:gdLst>
                <a:gd name="connsiteX0" fmla="*/ 228169 w 352901"/>
                <a:gd name="connsiteY0" fmla="*/ 0 h 818388"/>
                <a:gd name="connsiteX1" fmla="*/ 352902 w 352901"/>
                <a:gd name="connsiteY1" fmla="*/ 514141 h 818388"/>
                <a:gd name="connsiteX2" fmla="*/ 222085 w 352901"/>
                <a:gd name="connsiteY2" fmla="*/ 818367 h 818388"/>
                <a:gd name="connsiteX3" fmla="*/ 0 w 352901"/>
                <a:gd name="connsiteY3" fmla="*/ 142986 h 818388"/>
                <a:gd name="connsiteX4" fmla="*/ 228169 w 352901"/>
                <a:gd name="connsiteY4" fmla="*/ 0 h 818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2901" h="818388">
                  <a:moveTo>
                    <a:pt x="228169" y="0"/>
                  </a:moveTo>
                  <a:lnTo>
                    <a:pt x="352902" y="514141"/>
                  </a:lnTo>
                  <a:cubicBezTo>
                    <a:pt x="352902" y="514141"/>
                    <a:pt x="349859" y="821408"/>
                    <a:pt x="222085" y="818367"/>
                  </a:cubicBezTo>
                  <a:cubicBezTo>
                    <a:pt x="94310" y="815324"/>
                    <a:pt x="0" y="142986"/>
                    <a:pt x="0" y="142986"/>
                  </a:cubicBezTo>
                  <a:lnTo>
                    <a:pt x="228169" y="0"/>
                  </a:ln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014DEE17-98B6-4ECB-9C9B-AB0F200878E4}"/>
                </a:ext>
              </a:extLst>
            </p:cNvPr>
            <p:cNvSpPr/>
            <p:nvPr/>
          </p:nvSpPr>
          <p:spPr>
            <a:xfrm>
              <a:off x="11400030" y="8423702"/>
              <a:ext cx="437466" cy="593249"/>
            </a:xfrm>
            <a:custGeom>
              <a:avLst/>
              <a:gdLst>
                <a:gd name="connsiteX0" fmla="*/ 23720 w 437466"/>
                <a:gd name="connsiteY0" fmla="*/ 588637 h 593249"/>
                <a:gd name="connsiteX1" fmla="*/ 145410 w 437466"/>
                <a:gd name="connsiteY1" fmla="*/ 1482 h 593249"/>
                <a:gd name="connsiteX2" fmla="*/ 437466 w 437466"/>
                <a:gd name="connsiteY2" fmla="*/ 512580 h 593249"/>
                <a:gd name="connsiteX3" fmla="*/ 23720 w 437466"/>
                <a:gd name="connsiteY3" fmla="*/ 588637 h 593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7466" h="593249">
                  <a:moveTo>
                    <a:pt x="23720" y="588637"/>
                  </a:moveTo>
                  <a:cubicBezTo>
                    <a:pt x="23720" y="588637"/>
                    <a:pt x="-79717" y="44073"/>
                    <a:pt x="145410" y="1482"/>
                  </a:cubicBezTo>
                  <a:cubicBezTo>
                    <a:pt x="312734" y="-31983"/>
                    <a:pt x="437466" y="512580"/>
                    <a:pt x="437466" y="512580"/>
                  </a:cubicBezTo>
                  <a:cubicBezTo>
                    <a:pt x="437466" y="512580"/>
                    <a:pt x="233636" y="616017"/>
                    <a:pt x="23720" y="588637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AFDAE71F-5084-47E5-92DF-7B11E71BB693}"/>
                </a:ext>
              </a:extLst>
            </p:cNvPr>
            <p:cNvSpPr/>
            <p:nvPr/>
          </p:nvSpPr>
          <p:spPr>
            <a:xfrm>
              <a:off x="11639867" y="8960620"/>
              <a:ext cx="532961" cy="552769"/>
            </a:xfrm>
            <a:custGeom>
              <a:avLst/>
              <a:gdLst>
                <a:gd name="connsiteX0" fmla="*/ 456221 w 532961"/>
                <a:gd name="connsiteY0" fmla="*/ 0 h 552769"/>
                <a:gd name="connsiteX1" fmla="*/ 18136 w 532961"/>
                <a:gd name="connsiteY1" fmla="*/ 358986 h 552769"/>
                <a:gd name="connsiteX2" fmla="*/ 130700 w 532961"/>
                <a:gd name="connsiteY2" fmla="*/ 547606 h 552769"/>
                <a:gd name="connsiteX3" fmla="*/ 532277 w 532961"/>
                <a:gd name="connsiteY3" fmla="*/ 124733 h 552769"/>
                <a:gd name="connsiteX4" fmla="*/ 456221 w 532961"/>
                <a:gd name="connsiteY4" fmla="*/ 0 h 552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961" h="552769">
                  <a:moveTo>
                    <a:pt x="456221" y="0"/>
                  </a:moveTo>
                  <a:cubicBezTo>
                    <a:pt x="456221" y="0"/>
                    <a:pt x="60728" y="273803"/>
                    <a:pt x="18136" y="358986"/>
                  </a:cubicBezTo>
                  <a:cubicBezTo>
                    <a:pt x="-24455" y="444169"/>
                    <a:pt x="5968" y="581071"/>
                    <a:pt x="130700" y="547606"/>
                  </a:cubicBezTo>
                  <a:cubicBezTo>
                    <a:pt x="255433" y="514141"/>
                    <a:pt x="523151" y="130817"/>
                    <a:pt x="532277" y="124733"/>
                  </a:cubicBezTo>
                  <a:cubicBezTo>
                    <a:pt x="541404" y="118648"/>
                    <a:pt x="456221" y="0"/>
                    <a:pt x="456221" y="0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05EDC30C-B9CF-44F0-BB50-8E48B8E75E74}"/>
                </a:ext>
              </a:extLst>
            </p:cNvPr>
            <p:cNvSpPr/>
            <p:nvPr/>
          </p:nvSpPr>
          <p:spPr>
            <a:xfrm>
              <a:off x="11710483" y="9156085"/>
              <a:ext cx="117126" cy="102675"/>
            </a:xfrm>
            <a:custGeom>
              <a:avLst/>
              <a:gdLst>
                <a:gd name="connsiteX0" fmla="*/ 5323 w 117126"/>
                <a:gd name="connsiteY0" fmla="*/ 102676 h 102675"/>
                <a:gd name="connsiteX1" fmla="*/ 2282 w 117126"/>
                <a:gd name="connsiteY1" fmla="*/ 99634 h 102675"/>
                <a:gd name="connsiteX2" fmla="*/ 2282 w 117126"/>
                <a:gd name="connsiteY2" fmla="*/ 90507 h 102675"/>
                <a:gd name="connsiteX3" fmla="*/ 105718 w 117126"/>
                <a:gd name="connsiteY3" fmla="*/ 2281 h 102675"/>
                <a:gd name="connsiteX4" fmla="*/ 114845 w 117126"/>
                <a:gd name="connsiteY4" fmla="*/ 2281 h 102675"/>
                <a:gd name="connsiteX5" fmla="*/ 114845 w 117126"/>
                <a:gd name="connsiteY5" fmla="*/ 11408 h 102675"/>
                <a:gd name="connsiteX6" fmla="*/ 11408 w 117126"/>
                <a:gd name="connsiteY6" fmla="*/ 99634 h 102675"/>
                <a:gd name="connsiteX7" fmla="*/ 5323 w 117126"/>
                <a:gd name="connsiteY7" fmla="*/ 102676 h 10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126" h="102675">
                  <a:moveTo>
                    <a:pt x="5323" y="102676"/>
                  </a:moveTo>
                  <a:cubicBezTo>
                    <a:pt x="5323" y="102676"/>
                    <a:pt x="2282" y="102676"/>
                    <a:pt x="2282" y="99634"/>
                  </a:cubicBezTo>
                  <a:cubicBezTo>
                    <a:pt x="-761" y="96592"/>
                    <a:pt x="-761" y="93549"/>
                    <a:pt x="2282" y="90507"/>
                  </a:cubicBezTo>
                  <a:cubicBezTo>
                    <a:pt x="20535" y="72253"/>
                    <a:pt x="102676" y="5324"/>
                    <a:pt x="105718" y="2281"/>
                  </a:cubicBezTo>
                  <a:cubicBezTo>
                    <a:pt x="108761" y="-760"/>
                    <a:pt x="111802" y="-760"/>
                    <a:pt x="114845" y="2281"/>
                  </a:cubicBezTo>
                  <a:cubicBezTo>
                    <a:pt x="117887" y="5324"/>
                    <a:pt x="117887" y="8366"/>
                    <a:pt x="114845" y="11408"/>
                  </a:cubicBezTo>
                  <a:cubicBezTo>
                    <a:pt x="114845" y="11408"/>
                    <a:pt x="29662" y="81380"/>
                    <a:pt x="11408" y="99634"/>
                  </a:cubicBezTo>
                  <a:cubicBezTo>
                    <a:pt x="8366" y="102676"/>
                    <a:pt x="8366" y="102676"/>
                    <a:pt x="5323" y="102676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3AD3C49A-BD4D-4BC1-BB27-44D1848D1170}"/>
                </a:ext>
              </a:extLst>
            </p:cNvPr>
            <p:cNvSpPr/>
            <p:nvPr/>
          </p:nvSpPr>
          <p:spPr>
            <a:xfrm>
              <a:off x="11539356" y="8419099"/>
              <a:ext cx="301182" cy="571943"/>
            </a:xfrm>
            <a:custGeom>
              <a:avLst/>
              <a:gdLst>
                <a:gd name="connsiteX0" fmla="*/ 173409 w 301182"/>
                <a:gd name="connsiteY0" fmla="*/ 571943 h 571943"/>
                <a:gd name="connsiteX1" fmla="*/ 167324 w 301182"/>
                <a:gd name="connsiteY1" fmla="*/ 568901 h 571943"/>
                <a:gd name="connsiteX2" fmla="*/ 170366 w 301182"/>
                <a:gd name="connsiteY2" fmla="*/ 562817 h 571943"/>
                <a:gd name="connsiteX3" fmla="*/ 292057 w 301182"/>
                <a:gd name="connsiteY3" fmla="*/ 514141 h 571943"/>
                <a:gd name="connsiteX4" fmla="*/ 179493 w 301182"/>
                <a:gd name="connsiteY4" fmla="*/ 176450 h 571943"/>
                <a:gd name="connsiteX5" fmla="*/ 6085 w 301182"/>
                <a:gd name="connsiteY5" fmla="*/ 12169 h 571943"/>
                <a:gd name="connsiteX6" fmla="*/ 6085 w 301182"/>
                <a:gd name="connsiteY6" fmla="*/ 12169 h 571943"/>
                <a:gd name="connsiteX7" fmla="*/ 6085 w 301182"/>
                <a:gd name="connsiteY7" fmla="*/ 12169 h 571943"/>
                <a:gd name="connsiteX8" fmla="*/ 0 w 301182"/>
                <a:gd name="connsiteY8" fmla="*/ 6084 h 571943"/>
                <a:gd name="connsiteX9" fmla="*/ 6085 w 301182"/>
                <a:gd name="connsiteY9" fmla="*/ 0 h 571943"/>
                <a:gd name="connsiteX10" fmla="*/ 6085 w 301182"/>
                <a:gd name="connsiteY10" fmla="*/ 0 h 571943"/>
                <a:gd name="connsiteX11" fmla="*/ 188620 w 301182"/>
                <a:gd name="connsiteY11" fmla="*/ 173408 h 571943"/>
                <a:gd name="connsiteX12" fmla="*/ 301183 w 301182"/>
                <a:gd name="connsiteY12" fmla="*/ 514141 h 571943"/>
                <a:gd name="connsiteX13" fmla="*/ 301183 w 301182"/>
                <a:gd name="connsiteY13" fmla="*/ 517183 h 571943"/>
                <a:gd name="connsiteX14" fmla="*/ 298140 w 301182"/>
                <a:gd name="connsiteY14" fmla="*/ 520225 h 571943"/>
                <a:gd name="connsiteX15" fmla="*/ 173409 w 301182"/>
                <a:gd name="connsiteY15" fmla="*/ 571943 h 571943"/>
                <a:gd name="connsiteX16" fmla="*/ 173409 w 301182"/>
                <a:gd name="connsiteY16" fmla="*/ 571943 h 571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1182" h="571943">
                  <a:moveTo>
                    <a:pt x="173409" y="571943"/>
                  </a:moveTo>
                  <a:cubicBezTo>
                    <a:pt x="170366" y="571943"/>
                    <a:pt x="167324" y="568901"/>
                    <a:pt x="167324" y="568901"/>
                  </a:cubicBezTo>
                  <a:cubicBezTo>
                    <a:pt x="167324" y="565859"/>
                    <a:pt x="167324" y="562817"/>
                    <a:pt x="170366" y="562817"/>
                  </a:cubicBezTo>
                  <a:cubicBezTo>
                    <a:pt x="225127" y="550648"/>
                    <a:pt x="276845" y="523268"/>
                    <a:pt x="292057" y="514141"/>
                  </a:cubicBezTo>
                  <a:cubicBezTo>
                    <a:pt x="282929" y="486761"/>
                    <a:pt x="240338" y="331605"/>
                    <a:pt x="179493" y="176450"/>
                  </a:cubicBezTo>
                  <a:cubicBezTo>
                    <a:pt x="115605" y="12169"/>
                    <a:pt x="9126" y="12169"/>
                    <a:pt x="6085" y="12169"/>
                  </a:cubicBezTo>
                  <a:lnTo>
                    <a:pt x="6085" y="12169"/>
                  </a:lnTo>
                  <a:lnTo>
                    <a:pt x="6085" y="12169"/>
                  </a:lnTo>
                  <a:cubicBezTo>
                    <a:pt x="3042" y="12169"/>
                    <a:pt x="0" y="9126"/>
                    <a:pt x="0" y="6084"/>
                  </a:cubicBezTo>
                  <a:cubicBezTo>
                    <a:pt x="0" y="3042"/>
                    <a:pt x="3042" y="0"/>
                    <a:pt x="6085" y="0"/>
                  </a:cubicBezTo>
                  <a:cubicBezTo>
                    <a:pt x="6085" y="0"/>
                    <a:pt x="6085" y="0"/>
                    <a:pt x="6085" y="0"/>
                  </a:cubicBezTo>
                  <a:cubicBezTo>
                    <a:pt x="15211" y="0"/>
                    <a:pt x="124733" y="3042"/>
                    <a:pt x="188620" y="173408"/>
                  </a:cubicBezTo>
                  <a:cubicBezTo>
                    <a:pt x="252507" y="343774"/>
                    <a:pt x="301183" y="514141"/>
                    <a:pt x="301183" y="514141"/>
                  </a:cubicBezTo>
                  <a:lnTo>
                    <a:pt x="301183" y="517183"/>
                  </a:lnTo>
                  <a:lnTo>
                    <a:pt x="298140" y="520225"/>
                  </a:lnTo>
                  <a:cubicBezTo>
                    <a:pt x="301183" y="523268"/>
                    <a:pt x="237295" y="556732"/>
                    <a:pt x="173409" y="571943"/>
                  </a:cubicBezTo>
                  <a:cubicBezTo>
                    <a:pt x="173409" y="571943"/>
                    <a:pt x="173409" y="571943"/>
                    <a:pt x="173409" y="571943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2" name="图形 1">
              <a:extLst>
                <a:ext uri="{FF2B5EF4-FFF2-40B4-BE49-F238E27FC236}">
                  <a16:creationId xmlns:a16="http://schemas.microsoft.com/office/drawing/2014/main" id="{46B5FADB-7EFD-40B6-9349-C8DAC80C534E}"/>
                </a:ext>
              </a:extLst>
            </p:cNvPr>
            <p:cNvGrpSpPr/>
            <p:nvPr/>
          </p:nvGrpSpPr>
          <p:grpSpPr>
            <a:xfrm>
              <a:off x="12080877" y="8820337"/>
              <a:ext cx="390669" cy="273488"/>
              <a:chOff x="12080877" y="8820337"/>
              <a:chExt cx="390669" cy="273488"/>
            </a:xfrm>
          </p:grpSpPr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A67A82AD-A192-4B46-B2C7-4B1CE7F2F13E}"/>
                  </a:ext>
                </a:extLst>
              </p:cNvPr>
              <p:cNvSpPr/>
              <p:nvPr/>
            </p:nvSpPr>
            <p:spPr>
              <a:xfrm>
                <a:off x="12080877" y="8829731"/>
                <a:ext cx="380356" cy="264094"/>
              </a:xfrm>
              <a:custGeom>
                <a:avLst/>
                <a:gdLst>
                  <a:gd name="connsiteX0" fmla="*/ 0 w 380356"/>
                  <a:gd name="connsiteY0" fmla="*/ 152185 h 264094"/>
                  <a:gd name="connsiteX1" fmla="*/ 118649 w 380356"/>
                  <a:gd name="connsiteY1" fmla="*/ 12241 h 264094"/>
                  <a:gd name="connsiteX2" fmla="*/ 362029 w 380356"/>
                  <a:gd name="connsiteY2" fmla="*/ 24410 h 264094"/>
                  <a:gd name="connsiteX3" fmla="*/ 292057 w 380356"/>
                  <a:gd name="connsiteY3" fmla="*/ 42664 h 264094"/>
                  <a:gd name="connsiteX4" fmla="*/ 380282 w 380356"/>
                  <a:gd name="connsiteY4" fmla="*/ 88298 h 264094"/>
                  <a:gd name="connsiteX5" fmla="*/ 346818 w 380356"/>
                  <a:gd name="connsiteY5" fmla="*/ 118720 h 264094"/>
                  <a:gd name="connsiteX6" fmla="*/ 310310 w 380356"/>
                  <a:gd name="connsiteY6" fmla="*/ 149143 h 264094"/>
                  <a:gd name="connsiteX7" fmla="*/ 313353 w 380356"/>
                  <a:gd name="connsiteY7" fmla="*/ 182608 h 264094"/>
                  <a:gd name="connsiteX8" fmla="*/ 191663 w 380356"/>
                  <a:gd name="connsiteY8" fmla="*/ 182608 h 264094"/>
                  <a:gd name="connsiteX9" fmla="*/ 130817 w 380356"/>
                  <a:gd name="connsiteY9" fmla="*/ 246495 h 264094"/>
                  <a:gd name="connsiteX10" fmla="*/ 33465 w 380356"/>
                  <a:gd name="connsiteY10" fmla="*/ 258664 h 264094"/>
                  <a:gd name="connsiteX11" fmla="*/ 0 w 380356"/>
                  <a:gd name="connsiteY11" fmla="*/ 152185 h 264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0356" h="264094">
                    <a:moveTo>
                      <a:pt x="0" y="152185"/>
                    </a:moveTo>
                    <a:cubicBezTo>
                      <a:pt x="0" y="152185"/>
                      <a:pt x="85184" y="27453"/>
                      <a:pt x="118649" y="12241"/>
                    </a:cubicBezTo>
                    <a:cubicBezTo>
                      <a:pt x="155155" y="-2970"/>
                      <a:pt x="358986" y="-9054"/>
                      <a:pt x="362029" y="24410"/>
                    </a:cubicBezTo>
                    <a:cubicBezTo>
                      <a:pt x="365070" y="57875"/>
                      <a:pt x="292057" y="42664"/>
                      <a:pt x="292057" y="42664"/>
                    </a:cubicBezTo>
                    <a:cubicBezTo>
                      <a:pt x="292057" y="42664"/>
                      <a:pt x="383324" y="60918"/>
                      <a:pt x="380282" y="88298"/>
                    </a:cubicBezTo>
                    <a:cubicBezTo>
                      <a:pt x="377240" y="115678"/>
                      <a:pt x="346818" y="118720"/>
                      <a:pt x="346818" y="118720"/>
                    </a:cubicBezTo>
                    <a:cubicBezTo>
                      <a:pt x="346818" y="118720"/>
                      <a:pt x="365070" y="152185"/>
                      <a:pt x="310310" y="149143"/>
                    </a:cubicBezTo>
                    <a:cubicBezTo>
                      <a:pt x="310310" y="149143"/>
                      <a:pt x="337690" y="176523"/>
                      <a:pt x="313353" y="182608"/>
                    </a:cubicBezTo>
                    <a:cubicBezTo>
                      <a:pt x="289014" y="185650"/>
                      <a:pt x="209916" y="170438"/>
                      <a:pt x="191663" y="182608"/>
                    </a:cubicBezTo>
                    <a:cubicBezTo>
                      <a:pt x="173409" y="191734"/>
                      <a:pt x="164282" y="228241"/>
                      <a:pt x="130817" y="246495"/>
                    </a:cubicBezTo>
                    <a:cubicBezTo>
                      <a:pt x="66930" y="276917"/>
                      <a:pt x="33465" y="258664"/>
                      <a:pt x="33465" y="258664"/>
                    </a:cubicBezTo>
                    <a:lnTo>
                      <a:pt x="0" y="152185"/>
                    </a:ln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0D2434E1-A30E-4CB4-9124-507DF075B9BE}"/>
                  </a:ext>
                </a:extLst>
              </p:cNvPr>
              <p:cNvSpPr/>
              <p:nvPr/>
            </p:nvSpPr>
            <p:spPr>
              <a:xfrm>
                <a:off x="12114342" y="8820337"/>
                <a:ext cx="341028" cy="109860"/>
              </a:xfrm>
              <a:custGeom>
                <a:avLst/>
                <a:gdLst>
                  <a:gd name="connsiteX0" fmla="*/ 6085 w 341028"/>
                  <a:gd name="connsiteY0" fmla="*/ 109860 h 109860"/>
                  <a:gd name="connsiteX1" fmla="*/ 6085 w 341028"/>
                  <a:gd name="connsiteY1" fmla="*/ 109860 h 109860"/>
                  <a:gd name="connsiteX2" fmla="*/ 0 w 341028"/>
                  <a:gd name="connsiteY2" fmla="*/ 100734 h 109860"/>
                  <a:gd name="connsiteX3" fmla="*/ 85184 w 341028"/>
                  <a:gd name="connsiteY3" fmla="*/ 12508 h 109860"/>
                  <a:gd name="connsiteX4" fmla="*/ 316394 w 341028"/>
                  <a:gd name="connsiteY4" fmla="*/ 9467 h 109860"/>
                  <a:gd name="connsiteX5" fmla="*/ 340733 w 341028"/>
                  <a:gd name="connsiteY5" fmla="*/ 30762 h 109860"/>
                  <a:gd name="connsiteX6" fmla="*/ 261634 w 341028"/>
                  <a:gd name="connsiteY6" fmla="*/ 52058 h 109860"/>
                  <a:gd name="connsiteX7" fmla="*/ 255549 w 341028"/>
                  <a:gd name="connsiteY7" fmla="*/ 45973 h 109860"/>
                  <a:gd name="connsiteX8" fmla="*/ 261634 w 341028"/>
                  <a:gd name="connsiteY8" fmla="*/ 39889 h 109860"/>
                  <a:gd name="connsiteX9" fmla="*/ 328564 w 341028"/>
                  <a:gd name="connsiteY9" fmla="*/ 27720 h 109860"/>
                  <a:gd name="connsiteX10" fmla="*/ 328564 w 341028"/>
                  <a:gd name="connsiteY10" fmla="*/ 27720 h 109860"/>
                  <a:gd name="connsiteX11" fmla="*/ 313353 w 341028"/>
                  <a:gd name="connsiteY11" fmla="*/ 18593 h 109860"/>
                  <a:gd name="connsiteX12" fmla="*/ 88225 w 341028"/>
                  <a:gd name="connsiteY12" fmla="*/ 21635 h 109860"/>
                  <a:gd name="connsiteX13" fmla="*/ 12169 w 341028"/>
                  <a:gd name="connsiteY13" fmla="*/ 103776 h 109860"/>
                  <a:gd name="connsiteX14" fmla="*/ 6085 w 341028"/>
                  <a:gd name="connsiteY14" fmla="*/ 109860 h 109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1028" h="109860">
                    <a:moveTo>
                      <a:pt x="6085" y="109860"/>
                    </a:moveTo>
                    <a:cubicBezTo>
                      <a:pt x="6085" y="109860"/>
                      <a:pt x="6085" y="109860"/>
                      <a:pt x="6085" y="109860"/>
                    </a:cubicBezTo>
                    <a:cubicBezTo>
                      <a:pt x="0" y="106819"/>
                      <a:pt x="0" y="103776"/>
                      <a:pt x="0" y="100734"/>
                    </a:cubicBezTo>
                    <a:cubicBezTo>
                      <a:pt x="0" y="97692"/>
                      <a:pt x="36507" y="21635"/>
                      <a:pt x="85184" y="12508"/>
                    </a:cubicBezTo>
                    <a:cubicBezTo>
                      <a:pt x="127775" y="3382"/>
                      <a:pt x="261634" y="-8787"/>
                      <a:pt x="316394" y="9467"/>
                    </a:cubicBezTo>
                    <a:cubicBezTo>
                      <a:pt x="322479" y="12508"/>
                      <a:pt x="343775" y="18593"/>
                      <a:pt x="340733" y="30762"/>
                    </a:cubicBezTo>
                    <a:cubicBezTo>
                      <a:pt x="337690" y="49015"/>
                      <a:pt x="285972" y="55100"/>
                      <a:pt x="261634" y="52058"/>
                    </a:cubicBezTo>
                    <a:cubicBezTo>
                      <a:pt x="258592" y="52058"/>
                      <a:pt x="255549" y="49015"/>
                      <a:pt x="255549" y="45973"/>
                    </a:cubicBezTo>
                    <a:cubicBezTo>
                      <a:pt x="255549" y="42931"/>
                      <a:pt x="258592" y="39889"/>
                      <a:pt x="261634" y="39889"/>
                    </a:cubicBezTo>
                    <a:cubicBezTo>
                      <a:pt x="292057" y="42931"/>
                      <a:pt x="325522" y="33804"/>
                      <a:pt x="328564" y="27720"/>
                    </a:cubicBezTo>
                    <a:lnTo>
                      <a:pt x="328564" y="27720"/>
                    </a:lnTo>
                    <a:cubicBezTo>
                      <a:pt x="328564" y="27720"/>
                      <a:pt x="328564" y="24678"/>
                      <a:pt x="313353" y="18593"/>
                    </a:cubicBezTo>
                    <a:cubicBezTo>
                      <a:pt x="261634" y="340"/>
                      <a:pt x="130817" y="12508"/>
                      <a:pt x="88225" y="21635"/>
                    </a:cubicBezTo>
                    <a:cubicBezTo>
                      <a:pt x="48676" y="30762"/>
                      <a:pt x="12169" y="103776"/>
                      <a:pt x="12169" y="103776"/>
                    </a:cubicBezTo>
                    <a:cubicBezTo>
                      <a:pt x="12169" y="109860"/>
                      <a:pt x="9127" y="109860"/>
                      <a:pt x="6085" y="10986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339C6091-2529-4E2A-91E4-CE6693CC98E9}"/>
                  </a:ext>
                </a:extLst>
              </p:cNvPr>
              <p:cNvSpPr/>
              <p:nvPr/>
            </p:nvSpPr>
            <p:spPr>
              <a:xfrm>
                <a:off x="12225553" y="8855832"/>
                <a:ext cx="43943" cy="98704"/>
              </a:xfrm>
              <a:custGeom>
                <a:avLst/>
                <a:gdLst>
                  <a:gd name="connsiteX0" fmla="*/ 40901 w 43943"/>
                  <a:gd name="connsiteY0" fmla="*/ 98704 h 98704"/>
                  <a:gd name="connsiteX1" fmla="*/ 34817 w 43943"/>
                  <a:gd name="connsiteY1" fmla="*/ 92620 h 98704"/>
                  <a:gd name="connsiteX2" fmla="*/ 1352 w 43943"/>
                  <a:gd name="connsiteY2" fmla="*/ 10479 h 98704"/>
                  <a:gd name="connsiteX3" fmla="*/ 1352 w 43943"/>
                  <a:gd name="connsiteY3" fmla="*/ 1352 h 98704"/>
                  <a:gd name="connsiteX4" fmla="*/ 10479 w 43943"/>
                  <a:gd name="connsiteY4" fmla="*/ 1352 h 98704"/>
                  <a:gd name="connsiteX5" fmla="*/ 43944 w 43943"/>
                  <a:gd name="connsiteY5" fmla="*/ 89577 h 98704"/>
                  <a:gd name="connsiteX6" fmla="*/ 40901 w 43943"/>
                  <a:gd name="connsiteY6" fmla="*/ 98704 h 98704"/>
                  <a:gd name="connsiteX7" fmla="*/ 40901 w 43943"/>
                  <a:gd name="connsiteY7" fmla="*/ 98704 h 98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943" h="98704">
                    <a:moveTo>
                      <a:pt x="40901" y="98704"/>
                    </a:moveTo>
                    <a:cubicBezTo>
                      <a:pt x="37859" y="98704"/>
                      <a:pt x="34817" y="95662"/>
                      <a:pt x="34817" y="92620"/>
                    </a:cubicBezTo>
                    <a:cubicBezTo>
                      <a:pt x="31775" y="53070"/>
                      <a:pt x="4395" y="10479"/>
                      <a:pt x="1352" y="10479"/>
                    </a:cubicBezTo>
                    <a:cubicBezTo>
                      <a:pt x="-1690" y="7437"/>
                      <a:pt x="1352" y="4395"/>
                      <a:pt x="1352" y="1352"/>
                    </a:cubicBezTo>
                    <a:cubicBezTo>
                      <a:pt x="4395" y="-1690"/>
                      <a:pt x="7436" y="1352"/>
                      <a:pt x="10479" y="1352"/>
                    </a:cubicBezTo>
                    <a:cubicBezTo>
                      <a:pt x="10479" y="4395"/>
                      <a:pt x="40901" y="43944"/>
                      <a:pt x="43944" y="89577"/>
                    </a:cubicBezTo>
                    <a:cubicBezTo>
                      <a:pt x="43944" y="95662"/>
                      <a:pt x="43944" y="98704"/>
                      <a:pt x="40901" y="98704"/>
                    </a:cubicBezTo>
                    <a:cubicBezTo>
                      <a:pt x="40901" y="98704"/>
                      <a:pt x="40901" y="98704"/>
                      <a:pt x="40901" y="9870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EFC3ACCE-A041-4486-8F9C-FCC387BCE34F}"/>
                  </a:ext>
                </a:extLst>
              </p:cNvPr>
              <p:cNvSpPr/>
              <p:nvPr/>
            </p:nvSpPr>
            <p:spPr>
              <a:xfrm>
                <a:off x="12248201" y="8862782"/>
                <a:ext cx="223345" cy="82627"/>
              </a:xfrm>
              <a:custGeom>
                <a:avLst/>
                <a:gdLst>
                  <a:gd name="connsiteX0" fmla="*/ 188620 w 223345"/>
                  <a:gd name="connsiteY0" fmla="*/ 82627 h 82627"/>
                  <a:gd name="connsiteX1" fmla="*/ 167324 w 223345"/>
                  <a:gd name="connsiteY1" fmla="*/ 76543 h 82627"/>
                  <a:gd name="connsiteX2" fmla="*/ 24339 w 223345"/>
                  <a:gd name="connsiteY2" fmla="*/ 52205 h 82627"/>
                  <a:gd name="connsiteX3" fmla="*/ 18254 w 223345"/>
                  <a:gd name="connsiteY3" fmla="*/ 46120 h 82627"/>
                  <a:gd name="connsiteX4" fmla="*/ 24339 w 223345"/>
                  <a:gd name="connsiteY4" fmla="*/ 40036 h 82627"/>
                  <a:gd name="connsiteX5" fmla="*/ 173409 w 223345"/>
                  <a:gd name="connsiteY5" fmla="*/ 64374 h 82627"/>
                  <a:gd name="connsiteX6" fmla="*/ 209916 w 223345"/>
                  <a:gd name="connsiteY6" fmla="*/ 61332 h 82627"/>
                  <a:gd name="connsiteX7" fmla="*/ 209916 w 223345"/>
                  <a:gd name="connsiteY7" fmla="*/ 52205 h 82627"/>
                  <a:gd name="connsiteX8" fmla="*/ 167324 w 223345"/>
                  <a:gd name="connsiteY8" fmla="*/ 21782 h 82627"/>
                  <a:gd name="connsiteX9" fmla="*/ 6085 w 223345"/>
                  <a:gd name="connsiteY9" fmla="*/ 18740 h 82627"/>
                  <a:gd name="connsiteX10" fmla="*/ 0 w 223345"/>
                  <a:gd name="connsiteY10" fmla="*/ 12656 h 82627"/>
                  <a:gd name="connsiteX11" fmla="*/ 6085 w 223345"/>
                  <a:gd name="connsiteY11" fmla="*/ 6571 h 82627"/>
                  <a:gd name="connsiteX12" fmla="*/ 173409 w 223345"/>
                  <a:gd name="connsiteY12" fmla="*/ 12656 h 82627"/>
                  <a:gd name="connsiteX13" fmla="*/ 222085 w 223345"/>
                  <a:gd name="connsiteY13" fmla="*/ 49163 h 82627"/>
                  <a:gd name="connsiteX14" fmla="*/ 219043 w 223345"/>
                  <a:gd name="connsiteY14" fmla="*/ 67416 h 82627"/>
                  <a:gd name="connsiteX15" fmla="*/ 188620 w 223345"/>
                  <a:gd name="connsiteY15" fmla="*/ 82627 h 82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23345" h="82627">
                    <a:moveTo>
                      <a:pt x="188620" y="82627"/>
                    </a:moveTo>
                    <a:cubicBezTo>
                      <a:pt x="182535" y="82627"/>
                      <a:pt x="176451" y="82627"/>
                      <a:pt x="167324" y="76543"/>
                    </a:cubicBezTo>
                    <a:cubicBezTo>
                      <a:pt x="149071" y="67416"/>
                      <a:pt x="88226" y="49163"/>
                      <a:pt x="24339" y="52205"/>
                    </a:cubicBezTo>
                    <a:cubicBezTo>
                      <a:pt x="21296" y="52205"/>
                      <a:pt x="18254" y="49163"/>
                      <a:pt x="18254" y="46120"/>
                    </a:cubicBezTo>
                    <a:cubicBezTo>
                      <a:pt x="18254" y="43078"/>
                      <a:pt x="21296" y="40036"/>
                      <a:pt x="24339" y="40036"/>
                    </a:cubicBezTo>
                    <a:cubicBezTo>
                      <a:pt x="88226" y="33952"/>
                      <a:pt x="149071" y="52205"/>
                      <a:pt x="173409" y="64374"/>
                    </a:cubicBezTo>
                    <a:cubicBezTo>
                      <a:pt x="191663" y="73501"/>
                      <a:pt x="206874" y="64374"/>
                      <a:pt x="209916" y="61332"/>
                    </a:cubicBezTo>
                    <a:cubicBezTo>
                      <a:pt x="209916" y="61332"/>
                      <a:pt x="212958" y="58290"/>
                      <a:pt x="209916" y="52205"/>
                    </a:cubicBezTo>
                    <a:cubicBezTo>
                      <a:pt x="209916" y="46120"/>
                      <a:pt x="200789" y="33952"/>
                      <a:pt x="167324" y="21782"/>
                    </a:cubicBezTo>
                    <a:cubicBezTo>
                      <a:pt x="118649" y="487"/>
                      <a:pt x="6085" y="18740"/>
                      <a:pt x="6085" y="18740"/>
                    </a:cubicBezTo>
                    <a:cubicBezTo>
                      <a:pt x="3042" y="18740"/>
                      <a:pt x="0" y="15698"/>
                      <a:pt x="0" y="12656"/>
                    </a:cubicBezTo>
                    <a:cubicBezTo>
                      <a:pt x="0" y="9614"/>
                      <a:pt x="3042" y="6571"/>
                      <a:pt x="6085" y="6571"/>
                    </a:cubicBezTo>
                    <a:cubicBezTo>
                      <a:pt x="12170" y="6571"/>
                      <a:pt x="121690" y="-11682"/>
                      <a:pt x="173409" y="12656"/>
                    </a:cubicBezTo>
                    <a:cubicBezTo>
                      <a:pt x="200789" y="24825"/>
                      <a:pt x="216000" y="36994"/>
                      <a:pt x="222085" y="49163"/>
                    </a:cubicBezTo>
                    <a:cubicBezTo>
                      <a:pt x="225128" y="55247"/>
                      <a:pt x="222085" y="61332"/>
                      <a:pt x="219043" y="67416"/>
                    </a:cubicBezTo>
                    <a:cubicBezTo>
                      <a:pt x="212958" y="76543"/>
                      <a:pt x="200789" y="82627"/>
                      <a:pt x="188620" y="8262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43E8DA2E-8731-4E74-B536-8F65E878F5DA}"/>
                  </a:ext>
                </a:extLst>
              </p:cNvPr>
              <p:cNvSpPr/>
              <p:nvPr/>
            </p:nvSpPr>
            <p:spPr>
              <a:xfrm>
                <a:off x="12270257" y="8945409"/>
                <a:ext cx="148899" cy="66929"/>
              </a:xfrm>
              <a:custGeom>
                <a:avLst/>
                <a:gdLst>
                  <a:gd name="connsiteX0" fmla="*/ 127014 w 148899"/>
                  <a:gd name="connsiteY0" fmla="*/ 66930 h 66929"/>
                  <a:gd name="connsiteX1" fmla="*/ 96592 w 148899"/>
                  <a:gd name="connsiteY1" fmla="*/ 63888 h 66929"/>
                  <a:gd name="connsiteX2" fmla="*/ 11408 w 148899"/>
                  <a:gd name="connsiteY2" fmla="*/ 63888 h 66929"/>
                  <a:gd name="connsiteX3" fmla="*/ 2282 w 148899"/>
                  <a:gd name="connsiteY3" fmla="*/ 63888 h 66929"/>
                  <a:gd name="connsiteX4" fmla="*/ 2282 w 148899"/>
                  <a:gd name="connsiteY4" fmla="*/ 54761 h 66929"/>
                  <a:gd name="connsiteX5" fmla="*/ 99633 w 148899"/>
                  <a:gd name="connsiteY5" fmla="*/ 51719 h 66929"/>
                  <a:gd name="connsiteX6" fmla="*/ 130056 w 148899"/>
                  <a:gd name="connsiteY6" fmla="*/ 54761 h 66929"/>
                  <a:gd name="connsiteX7" fmla="*/ 139183 w 148899"/>
                  <a:gd name="connsiteY7" fmla="*/ 51719 h 66929"/>
                  <a:gd name="connsiteX8" fmla="*/ 123972 w 148899"/>
                  <a:gd name="connsiteY8" fmla="*/ 33465 h 66929"/>
                  <a:gd name="connsiteX9" fmla="*/ 23577 w 148899"/>
                  <a:gd name="connsiteY9" fmla="*/ 12169 h 66929"/>
                  <a:gd name="connsiteX10" fmla="*/ 17493 w 148899"/>
                  <a:gd name="connsiteY10" fmla="*/ 6085 h 66929"/>
                  <a:gd name="connsiteX11" fmla="*/ 23577 w 148899"/>
                  <a:gd name="connsiteY11" fmla="*/ 0 h 66929"/>
                  <a:gd name="connsiteX12" fmla="*/ 130056 w 148899"/>
                  <a:gd name="connsiteY12" fmla="*/ 24338 h 66929"/>
                  <a:gd name="connsiteX13" fmla="*/ 148310 w 148899"/>
                  <a:gd name="connsiteY13" fmla="*/ 54761 h 66929"/>
                  <a:gd name="connsiteX14" fmla="*/ 127014 w 148899"/>
                  <a:gd name="connsiteY14" fmla="*/ 66930 h 66929"/>
                  <a:gd name="connsiteX15" fmla="*/ 127014 w 148899"/>
                  <a:gd name="connsiteY15" fmla="*/ 66930 h 66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8899" h="66929">
                    <a:moveTo>
                      <a:pt x="127014" y="66930"/>
                    </a:moveTo>
                    <a:cubicBezTo>
                      <a:pt x="120930" y="66930"/>
                      <a:pt x="108761" y="66930"/>
                      <a:pt x="96592" y="63888"/>
                    </a:cubicBezTo>
                    <a:cubicBezTo>
                      <a:pt x="69211" y="60845"/>
                      <a:pt x="20536" y="54761"/>
                      <a:pt x="11408" y="63888"/>
                    </a:cubicBezTo>
                    <a:cubicBezTo>
                      <a:pt x="8366" y="66930"/>
                      <a:pt x="5324" y="66930"/>
                      <a:pt x="2282" y="63888"/>
                    </a:cubicBezTo>
                    <a:cubicBezTo>
                      <a:pt x="-761" y="60845"/>
                      <a:pt x="-761" y="57803"/>
                      <a:pt x="2282" y="54761"/>
                    </a:cubicBezTo>
                    <a:cubicBezTo>
                      <a:pt x="14451" y="42592"/>
                      <a:pt x="50958" y="45634"/>
                      <a:pt x="99633" y="51719"/>
                    </a:cubicBezTo>
                    <a:cubicBezTo>
                      <a:pt x="111803" y="54761"/>
                      <a:pt x="123972" y="54761"/>
                      <a:pt x="130056" y="54761"/>
                    </a:cubicBezTo>
                    <a:cubicBezTo>
                      <a:pt x="133098" y="54761"/>
                      <a:pt x="136141" y="54761"/>
                      <a:pt x="139183" y="51719"/>
                    </a:cubicBezTo>
                    <a:cubicBezTo>
                      <a:pt x="139183" y="48676"/>
                      <a:pt x="136141" y="39549"/>
                      <a:pt x="123972" y="33465"/>
                    </a:cubicBezTo>
                    <a:cubicBezTo>
                      <a:pt x="108761" y="24338"/>
                      <a:pt x="44873" y="15211"/>
                      <a:pt x="23577" y="12169"/>
                    </a:cubicBezTo>
                    <a:cubicBezTo>
                      <a:pt x="20536" y="12169"/>
                      <a:pt x="17493" y="9127"/>
                      <a:pt x="17493" y="6085"/>
                    </a:cubicBezTo>
                    <a:cubicBezTo>
                      <a:pt x="17493" y="3042"/>
                      <a:pt x="20536" y="0"/>
                      <a:pt x="23577" y="0"/>
                    </a:cubicBezTo>
                    <a:cubicBezTo>
                      <a:pt x="32704" y="0"/>
                      <a:pt x="111803" y="9127"/>
                      <a:pt x="130056" y="24338"/>
                    </a:cubicBezTo>
                    <a:cubicBezTo>
                      <a:pt x="142226" y="33465"/>
                      <a:pt x="151352" y="45634"/>
                      <a:pt x="148310" y="54761"/>
                    </a:cubicBezTo>
                    <a:cubicBezTo>
                      <a:pt x="145267" y="60845"/>
                      <a:pt x="142226" y="66930"/>
                      <a:pt x="127014" y="66930"/>
                    </a:cubicBezTo>
                    <a:cubicBezTo>
                      <a:pt x="127014" y="66930"/>
                      <a:pt x="127014" y="66930"/>
                      <a:pt x="127014" y="6693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9018720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7CBF9B22-DE82-4D99-BD96-A197B7A948DC}"/>
              </a:ext>
            </a:extLst>
          </p:cNvPr>
          <p:cNvGrpSpPr/>
          <p:nvPr/>
        </p:nvGrpSpPr>
        <p:grpSpPr>
          <a:xfrm>
            <a:off x="1401862" y="2046245"/>
            <a:ext cx="5059885" cy="4811755"/>
            <a:chOff x="17005656" y="7547062"/>
            <a:chExt cx="5059885" cy="4811755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34D7C497-3681-4875-8886-5CA22C9EAEA4}"/>
                </a:ext>
              </a:extLst>
            </p:cNvPr>
            <p:cNvSpPr/>
            <p:nvPr/>
          </p:nvSpPr>
          <p:spPr>
            <a:xfrm>
              <a:off x="18085581" y="9663381"/>
              <a:ext cx="85144" cy="220355"/>
            </a:xfrm>
            <a:custGeom>
              <a:avLst/>
              <a:gdLst>
                <a:gd name="connsiteX0" fmla="*/ 12872 w 85144"/>
                <a:gd name="connsiteY0" fmla="*/ 0 h 220355"/>
                <a:gd name="connsiteX1" fmla="*/ 82846 w 85144"/>
                <a:gd name="connsiteY1" fmla="*/ 127775 h 220355"/>
                <a:gd name="connsiteX2" fmla="*/ 70676 w 85144"/>
                <a:gd name="connsiteY2" fmla="*/ 219043 h 220355"/>
                <a:gd name="connsiteX3" fmla="*/ 6789 w 85144"/>
                <a:gd name="connsiteY3" fmla="*/ 97352 h 220355"/>
                <a:gd name="connsiteX4" fmla="*/ 12872 w 85144"/>
                <a:gd name="connsiteY4" fmla="*/ 0 h 220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44" h="220355">
                  <a:moveTo>
                    <a:pt x="12872" y="0"/>
                  </a:moveTo>
                  <a:cubicBezTo>
                    <a:pt x="12872" y="0"/>
                    <a:pt x="79802" y="94310"/>
                    <a:pt x="82846" y="127775"/>
                  </a:cubicBezTo>
                  <a:cubicBezTo>
                    <a:pt x="85887" y="164282"/>
                    <a:pt x="88929" y="212958"/>
                    <a:pt x="70676" y="219043"/>
                  </a:cubicBezTo>
                  <a:cubicBezTo>
                    <a:pt x="25042" y="234254"/>
                    <a:pt x="46338" y="112564"/>
                    <a:pt x="6789" y="97352"/>
                  </a:cubicBezTo>
                  <a:cubicBezTo>
                    <a:pt x="-11465" y="88225"/>
                    <a:pt x="12872" y="0"/>
                    <a:pt x="12872" y="0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EC6814B9-902C-4215-A2EE-3FE46109015D}"/>
                </a:ext>
              </a:extLst>
            </p:cNvPr>
            <p:cNvGrpSpPr/>
            <p:nvPr/>
          </p:nvGrpSpPr>
          <p:grpSpPr>
            <a:xfrm>
              <a:off x="17884224" y="11245353"/>
              <a:ext cx="381553" cy="550847"/>
              <a:chOff x="17884224" y="11245353"/>
              <a:chExt cx="381553" cy="550847"/>
            </a:xfrm>
          </p:grpSpPr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CABEC53B-F5BC-4D12-9C54-3B2C928C80B7}"/>
                  </a:ext>
                </a:extLst>
              </p:cNvPr>
              <p:cNvSpPr/>
              <p:nvPr/>
            </p:nvSpPr>
            <p:spPr>
              <a:xfrm>
                <a:off x="18004145" y="11245353"/>
                <a:ext cx="261633" cy="212957"/>
              </a:xfrm>
              <a:custGeom>
                <a:avLst/>
                <a:gdLst>
                  <a:gd name="connsiteX0" fmla="*/ 36507 w 261633"/>
                  <a:gd name="connsiteY0" fmla="*/ 54760 h 212957"/>
                  <a:gd name="connsiteX1" fmla="*/ 212958 w 261633"/>
                  <a:gd name="connsiteY1" fmla="*/ 0 h 212957"/>
                  <a:gd name="connsiteX2" fmla="*/ 261633 w 261633"/>
                  <a:gd name="connsiteY2" fmla="*/ 176450 h 212957"/>
                  <a:gd name="connsiteX3" fmla="*/ 69971 w 261633"/>
                  <a:gd name="connsiteY3" fmla="*/ 212958 h 212957"/>
                  <a:gd name="connsiteX4" fmla="*/ 0 w 261633"/>
                  <a:gd name="connsiteY4" fmla="*/ 76056 h 212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1633" h="212957">
                    <a:moveTo>
                      <a:pt x="36507" y="54760"/>
                    </a:moveTo>
                    <a:lnTo>
                      <a:pt x="212958" y="0"/>
                    </a:lnTo>
                    <a:lnTo>
                      <a:pt x="261633" y="176450"/>
                    </a:lnTo>
                    <a:lnTo>
                      <a:pt x="69971" y="212958"/>
                    </a:lnTo>
                    <a:lnTo>
                      <a:pt x="0" y="76056"/>
                    </a:ln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79A70573-E5E5-436A-BB11-A194A86EF460}"/>
                  </a:ext>
                </a:extLst>
              </p:cNvPr>
              <p:cNvSpPr/>
              <p:nvPr/>
            </p:nvSpPr>
            <p:spPr>
              <a:xfrm>
                <a:off x="17928088" y="11284706"/>
                <a:ext cx="203831" cy="499125"/>
              </a:xfrm>
              <a:custGeom>
                <a:avLst/>
                <a:gdLst>
                  <a:gd name="connsiteX0" fmla="*/ 109520 w 203831"/>
                  <a:gd name="connsiteY0" fmla="*/ 195 h 499125"/>
                  <a:gd name="connsiteX1" fmla="*/ 203831 w 203831"/>
                  <a:gd name="connsiteY1" fmla="*/ 167519 h 499125"/>
                  <a:gd name="connsiteX2" fmla="*/ 161239 w 203831"/>
                  <a:gd name="connsiteY2" fmla="*/ 316591 h 499125"/>
                  <a:gd name="connsiteX3" fmla="*/ 130817 w 203831"/>
                  <a:gd name="connsiteY3" fmla="*/ 499126 h 499125"/>
                  <a:gd name="connsiteX4" fmla="*/ 0 w 203831"/>
                  <a:gd name="connsiteY4" fmla="*/ 30618 h 499125"/>
                  <a:gd name="connsiteX5" fmla="*/ 109520 w 203831"/>
                  <a:gd name="connsiteY5" fmla="*/ 195 h 49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3831" h="499125">
                    <a:moveTo>
                      <a:pt x="109520" y="195"/>
                    </a:moveTo>
                    <a:cubicBezTo>
                      <a:pt x="109520" y="195"/>
                      <a:pt x="124732" y="124928"/>
                      <a:pt x="203831" y="167519"/>
                    </a:cubicBezTo>
                    <a:cubicBezTo>
                      <a:pt x="203831" y="167519"/>
                      <a:pt x="158198" y="270957"/>
                      <a:pt x="161239" y="316591"/>
                    </a:cubicBezTo>
                    <a:cubicBezTo>
                      <a:pt x="164282" y="362224"/>
                      <a:pt x="194705" y="468703"/>
                      <a:pt x="130817" y="499126"/>
                    </a:cubicBezTo>
                    <a:lnTo>
                      <a:pt x="0" y="30618"/>
                    </a:lnTo>
                    <a:cubicBezTo>
                      <a:pt x="0" y="30618"/>
                      <a:pt x="54760" y="-2846"/>
                      <a:pt x="109520" y="195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1F545722-FB44-4964-A99C-4B622E15518D}"/>
                  </a:ext>
                </a:extLst>
              </p:cNvPr>
              <p:cNvSpPr/>
              <p:nvPr/>
            </p:nvSpPr>
            <p:spPr>
              <a:xfrm rot="-941991">
                <a:off x="17949231" y="11312342"/>
                <a:ext cx="45634" cy="486764"/>
              </a:xfrm>
              <a:custGeom>
                <a:avLst/>
                <a:gdLst>
                  <a:gd name="connsiteX0" fmla="*/ 0 w 45634"/>
                  <a:gd name="connsiteY0" fmla="*/ 0 h 486764"/>
                  <a:gd name="connsiteX1" fmla="*/ 45635 w 45634"/>
                  <a:gd name="connsiteY1" fmla="*/ 0 h 486764"/>
                  <a:gd name="connsiteX2" fmla="*/ 45635 w 45634"/>
                  <a:gd name="connsiteY2" fmla="*/ 486765 h 486764"/>
                  <a:gd name="connsiteX3" fmla="*/ 0 w 45634"/>
                  <a:gd name="connsiteY3" fmla="*/ 486765 h 486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634" h="486764">
                    <a:moveTo>
                      <a:pt x="0" y="0"/>
                    </a:moveTo>
                    <a:lnTo>
                      <a:pt x="45635" y="0"/>
                    </a:lnTo>
                    <a:lnTo>
                      <a:pt x="45635" y="486765"/>
                    </a:lnTo>
                    <a:lnTo>
                      <a:pt x="0" y="486765"/>
                    </a:lnTo>
                    <a:close/>
                  </a:path>
                </a:pathLst>
              </a:custGeom>
              <a:solidFill>
                <a:srgbClr val="38333D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3C0D831B-B2F1-44E5-8A90-E7EA08D71C01}"/>
                  </a:ext>
                </a:extLst>
              </p:cNvPr>
              <p:cNvSpPr/>
              <p:nvPr/>
            </p:nvSpPr>
            <p:spPr>
              <a:xfrm>
                <a:off x="18031526" y="11281860"/>
                <a:ext cx="106478" cy="176450"/>
              </a:xfrm>
              <a:custGeom>
                <a:avLst/>
                <a:gdLst>
                  <a:gd name="connsiteX0" fmla="*/ 100394 w 106478"/>
                  <a:gd name="connsiteY0" fmla="*/ 176450 h 176450"/>
                  <a:gd name="connsiteX1" fmla="*/ 100394 w 106478"/>
                  <a:gd name="connsiteY1" fmla="*/ 176450 h 176450"/>
                  <a:gd name="connsiteX2" fmla="*/ 0 w 106478"/>
                  <a:gd name="connsiteY2" fmla="*/ 6084 h 176450"/>
                  <a:gd name="connsiteX3" fmla="*/ 6083 w 106478"/>
                  <a:gd name="connsiteY3" fmla="*/ 0 h 176450"/>
                  <a:gd name="connsiteX4" fmla="*/ 12168 w 106478"/>
                  <a:gd name="connsiteY4" fmla="*/ 6084 h 176450"/>
                  <a:gd name="connsiteX5" fmla="*/ 103436 w 106478"/>
                  <a:gd name="connsiteY5" fmla="*/ 167324 h 176450"/>
                  <a:gd name="connsiteX6" fmla="*/ 106479 w 106478"/>
                  <a:gd name="connsiteY6" fmla="*/ 176450 h 176450"/>
                  <a:gd name="connsiteX7" fmla="*/ 100394 w 106478"/>
                  <a:gd name="connsiteY7" fmla="*/ 176450 h 176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6478" h="176450">
                    <a:moveTo>
                      <a:pt x="100394" y="176450"/>
                    </a:moveTo>
                    <a:cubicBezTo>
                      <a:pt x="100394" y="176450"/>
                      <a:pt x="97351" y="176450"/>
                      <a:pt x="100394" y="176450"/>
                    </a:cubicBezTo>
                    <a:cubicBezTo>
                      <a:pt x="15211" y="124732"/>
                      <a:pt x="0" y="9126"/>
                      <a:pt x="0" y="6084"/>
                    </a:cubicBezTo>
                    <a:cubicBezTo>
                      <a:pt x="0" y="3042"/>
                      <a:pt x="3042" y="0"/>
                      <a:pt x="6083" y="0"/>
                    </a:cubicBezTo>
                    <a:cubicBezTo>
                      <a:pt x="9126" y="0"/>
                      <a:pt x="12168" y="3042"/>
                      <a:pt x="12168" y="6084"/>
                    </a:cubicBezTo>
                    <a:cubicBezTo>
                      <a:pt x="12168" y="6084"/>
                      <a:pt x="27379" y="118648"/>
                      <a:pt x="103436" y="167324"/>
                    </a:cubicBezTo>
                    <a:cubicBezTo>
                      <a:pt x="106479" y="170365"/>
                      <a:pt x="106479" y="173408"/>
                      <a:pt x="106479" y="176450"/>
                    </a:cubicBezTo>
                    <a:cubicBezTo>
                      <a:pt x="103436" y="176450"/>
                      <a:pt x="100394" y="176450"/>
                      <a:pt x="100394" y="17645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026756FE-4887-4160-95A7-5867B25F051E}"/>
                  </a:ext>
                </a:extLst>
              </p:cNvPr>
              <p:cNvSpPr/>
              <p:nvPr/>
            </p:nvSpPr>
            <p:spPr>
              <a:xfrm>
                <a:off x="18077159" y="11467437"/>
                <a:ext cx="45633" cy="30422"/>
              </a:xfrm>
              <a:custGeom>
                <a:avLst/>
                <a:gdLst>
                  <a:gd name="connsiteX0" fmla="*/ 39549 w 45633"/>
                  <a:gd name="connsiteY0" fmla="*/ 30423 h 30422"/>
                  <a:gd name="connsiteX1" fmla="*/ 39549 w 45633"/>
                  <a:gd name="connsiteY1" fmla="*/ 30423 h 30422"/>
                  <a:gd name="connsiteX2" fmla="*/ 3042 w 45633"/>
                  <a:gd name="connsiteY2" fmla="*/ 12170 h 30422"/>
                  <a:gd name="connsiteX3" fmla="*/ 0 w 45633"/>
                  <a:gd name="connsiteY3" fmla="*/ 3042 h 30422"/>
                  <a:gd name="connsiteX4" fmla="*/ 9126 w 45633"/>
                  <a:gd name="connsiteY4" fmla="*/ 0 h 30422"/>
                  <a:gd name="connsiteX5" fmla="*/ 42590 w 45633"/>
                  <a:gd name="connsiteY5" fmla="*/ 18254 h 30422"/>
                  <a:gd name="connsiteX6" fmla="*/ 45634 w 45633"/>
                  <a:gd name="connsiteY6" fmla="*/ 27381 h 30422"/>
                  <a:gd name="connsiteX7" fmla="*/ 39549 w 45633"/>
                  <a:gd name="connsiteY7" fmla="*/ 30423 h 30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633" h="30422">
                    <a:moveTo>
                      <a:pt x="39549" y="30423"/>
                    </a:moveTo>
                    <a:cubicBezTo>
                      <a:pt x="36506" y="30423"/>
                      <a:pt x="36506" y="30423"/>
                      <a:pt x="39549" y="30423"/>
                    </a:cubicBezTo>
                    <a:lnTo>
                      <a:pt x="3042" y="12170"/>
                    </a:lnTo>
                    <a:cubicBezTo>
                      <a:pt x="0" y="12170"/>
                      <a:pt x="0" y="6085"/>
                      <a:pt x="0" y="3042"/>
                    </a:cubicBezTo>
                    <a:cubicBezTo>
                      <a:pt x="0" y="0"/>
                      <a:pt x="6083" y="0"/>
                      <a:pt x="9126" y="0"/>
                    </a:cubicBezTo>
                    <a:lnTo>
                      <a:pt x="42590" y="18254"/>
                    </a:lnTo>
                    <a:cubicBezTo>
                      <a:pt x="45634" y="18254"/>
                      <a:pt x="45634" y="24339"/>
                      <a:pt x="45634" y="27381"/>
                    </a:cubicBezTo>
                    <a:cubicBezTo>
                      <a:pt x="42590" y="30423"/>
                      <a:pt x="39549" y="30423"/>
                      <a:pt x="39549" y="3042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F1E15B05-DAB9-4E2C-BE66-4DC4A32E719E}"/>
                  </a:ext>
                </a:extLst>
              </p:cNvPr>
              <p:cNvSpPr/>
              <p:nvPr/>
            </p:nvSpPr>
            <p:spPr>
              <a:xfrm>
                <a:off x="18058905" y="11513071"/>
                <a:ext cx="45633" cy="30422"/>
              </a:xfrm>
              <a:custGeom>
                <a:avLst/>
                <a:gdLst>
                  <a:gd name="connsiteX0" fmla="*/ 39549 w 45633"/>
                  <a:gd name="connsiteY0" fmla="*/ 30423 h 30422"/>
                  <a:gd name="connsiteX1" fmla="*/ 39549 w 45633"/>
                  <a:gd name="connsiteY1" fmla="*/ 30423 h 30422"/>
                  <a:gd name="connsiteX2" fmla="*/ 3043 w 45633"/>
                  <a:gd name="connsiteY2" fmla="*/ 12170 h 30422"/>
                  <a:gd name="connsiteX3" fmla="*/ 0 w 45633"/>
                  <a:gd name="connsiteY3" fmla="*/ 3042 h 30422"/>
                  <a:gd name="connsiteX4" fmla="*/ 9126 w 45633"/>
                  <a:gd name="connsiteY4" fmla="*/ 0 h 30422"/>
                  <a:gd name="connsiteX5" fmla="*/ 42592 w 45633"/>
                  <a:gd name="connsiteY5" fmla="*/ 18254 h 30422"/>
                  <a:gd name="connsiteX6" fmla="*/ 45634 w 45633"/>
                  <a:gd name="connsiteY6" fmla="*/ 27381 h 30422"/>
                  <a:gd name="connsiteX7" fmla="*/ 39549 w 45633"/>
                  <a:gd name="connsiteY7" fmla="*/ 30423 h 30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633" h="30422">
                    <a:moveTo>
                      <a:pt x="39549" y="30423"/>
                    </a:moveTo>
                    <a:cubicBezTo>
                      <a:pt x="39549" y="30423"/>
                      <a:pt x="39549" y="30423"/>
                      <a:pt x="39549" y="30423"/>
                    </a:cubicBezTo>
                    <a:lnTo>
                      <a:pt x="3043" y="12170"/>
                    </a:lnTo>
                    <a:cubicBezTo>
                      <a:pt x="0" y="12170"/>
                      <a:pt x="0" y="6085"/>
                      <a:pt x="0" y="3042"/>
                    </a:cubicBezTo>
                    <a:cubicBezTo>
                      <a:pt x="0" y="0"/>
                      <a:pt x="6085" y="0"/>
                      <a:pt x="9126" y="0"/>
                    </a:cubicBezTo>
                    <a:lnTo>
                      <a:pt x="42592" y="18254"/>
                    </a:lnTo>
                    <a:cubicBezTo>
                      <a:pt x="45634" y="18254"/>
                      <a:pt x="45634" y="24339"/>
                      <a:pt x="45634" y="27381"/>
                    </a:cubicBezTo>
                    <a:cubicBezTo>
                      <a:pt x="45634" y="27381"/>
                      <a:pt x="42592" y="30423"/>
                      <a:pt x="39549" y="3042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2FF23029-CE0B-4F3A-8D63-8C796CA8E716}"/>
                </a:ext>
              </a:extLst>
            </p:cNvPr>
            <p:cNvSpPr/>
            <p:nvPr/>
          </p:nvSpPr>
          <p:spPr>
            <a:xfrm>
              <a:off x="20638735" y="9246919"/>
              <a:ext cx="362152" cy="209588"/>
            </a:xfrm>
            <a:custGeom>
              <a:avLst/>
              <a:gdLst>
                <a:gd name="connsiteX0" fmla="*/ 270761 w 362152"/>
                <a:gd name="connsiteY0" fmla="*/ 197420 h 209588"/>
                <a:gd name="connsiteX1" fmla="*/ 264676 w 362152"/>
                <a:gd name="connsiteY1" fmla="*/ 176124 h 209588"/>
                <a:gd name="connsiteX2" fmla="*/ 258592 w 362152"/>
                <a:gd name="connsiteY2" fmla="*/ 173082 h 209588"/>
                <a:gd name="connsiteX3" fmla="*/ 285973 w 362152"/>
                <a:gd name="connsiteY3" fmla="*/ 179166 h 209588"/>
                <a:gd name="connsiteX4" fmla="*/ 334648 w 362152"/>
                <a:gd name="connsiteY4" fmla="*/ 166998 h 209588"/>
                <a:gd name="connsiteX5" fmla="*/ 334648 w 362152"/>
                <a:gd name="connsiteY5" fmla="*/ 160913 h 209588"/>
                <a:gd name="connsiteX6" fmla="*/ 331606 w 362152"/>
                <a:gd name="connsiteY6" fmla="*/ 157871 h 209588"/>
                <a:gd name="connsiteX7" fmla="*/ 358987 w 362152"/>
                <a:gd name="connsiteY7" fmla="*/ 139617 h 209588"/>
                <a:gd name="connsiteX8" fmla="*/ 352903 w 362152"/>
                <a:gd name="connsiteY8" fmla="*/ 109194 h 209588"/>
                <a:gd name="connsiteX9" fmla="*/ 298142 w 362152"/>
                <a:gd name="connsiteY9" fmla="*/ 93983 h 209588"/>
                <a:gd name="connsiteX10" fmla="*/ 219043 w 362152"/>
                <a:gd name="connsiteY10" fmla="*/ 75730 h 209588"/>
                <a:gd name="connsiteX11" fmla="*/ 282931 w 362152"/>
                <a:gd name="connsiteY11" fmla="*/ 69646 h 209588"/>
                <a:gd name="connsiteX12" fmla="*/ 331606 w 362152"/>
                <a:gd name="connsiteY12" fmla="*/ 63561 h 209588"/>
                <a:gd name="connsiteX13" fmla="*/ 313354 w 362152"/>
                <a:gd name="connsiteY13" fmla="*/ 36181 h 209588"/>
                <a:gd name="connsiteX14" fmla="*/ 0 w 362152"/>
                <a:gd name="connsiteY14" fmla="*/ 39223 h 209588"/>
                <a:gd name="connsiteX15" fmla="*/ 24340 w 362152"/>
                <a:gd name="connsiteY15" fmla="*/ 157871 h 209588"/>
                <a:gd name="connsiteX16" fmla="*/ 149071 w 362152"/>
                <a:gd name="connsiteY16" fmla="*/ 197420 h 209588"/>
                <a:gd name="connsiteX17" fmla="*/ 231212 w 362152"/>
                <a:gd name="connsiteY17" fmla="*/ 209589 h 209588"/>
                <a:gd name="connsiteX18" fmla="*/ 270761 w 362152"/>
                <a:gd name="connsiteY18" fmla="*/ 197420 h 20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62152" h="209588">
                  <a:moveTo>
                    <a:pt x="270761" y="197420"/>
                  </a:moveTo>
                  <a:cubicBezTo>
                    <a:pt x="276846" y="188293"/>
                    <a:pt x="270761" y="182209"/>
                    <a:pt x="264676" y="176124"/>
                  </a:cubicBezTo>
                  <a:cubicBezTo>
                    <a:pt x="261635" y="173082"/>
                    <a:pt x="261635" y="173082"/>
                    <a:pt x="258592" y="173082"/>
                  </a:cubicBezTo>
                  <a:cubicBezTo>
                    <a:pt x="267720" y="176124"/>
                    <a:pt x="276846" y="176124"/>
                    <a:pt x="285973" y="179166"/>
                  </a:cubicBezTo>
                  <a:cubicBezTo>
                    <a:pt x="304225" y="182209"/>
                    <a:pt x="322480" y="179166"/>
                    <a:pt x="334648" y="166998"/>
                  </a:cubicBezTo>
                  <a:cubicBezTo>
                    <a:pt x="334648" y="166998"/>
                    <a:pt x="334648" y="160913"/>
                    <a:pt x="334648" y="160913"/>
                  </a:cubicBezTo>
                  <a:cubicBezTo>
                    <a:pt x="334648" y="160913"/>
                    <a:pt x="334648" y="160913"/>
                    <a:pt x="331606" y="157871"/>
                  </a:cubicBezTo>
                  <a:cubicBezTo>
                    <a:pt x="343776" y="154828"/>
                    <a:pt x="355944" y="151786"/>
                    <a:pt x="358987" y="139617"/>
                  </a:cubicBezTo>
                  <a:cubicBezTo>
                    <a:pt x="365070" y="127448"/>
                    <a:pt x="362029" y="118321"/>
                    <a:pt x="352903" y="109194"/>
                  </a:cubicBezTo>
                  <a:cubicBezTo>
                    <a:pt x="337691" y="100068"/>
                    <a:pt x="313354" y="97026"/>
                    <a:pt x="298142" y="93983"/>
                  </a:cubicBezTo>
                  <a:cubicBezTo>
                    <a:pt x="270761" y="87899"/>
                    <a:pt x="246424" y="81814"/>
                    <a:pt x="219043" y="75730"/>
                  </a:cubicBezTo>
                  <a:cubicBezTo>
                    <a:pt x="240339" y="72687"/>
                    <a:pt x="261635" y="72687"/>
                    <a:pt x="282931" y="69646"/>
                  </a:cubicBezTo>
                  <a:cubicBezTo>
                    <a:pt x="295099" y="69646"/>
                    <a:pt x="319437" y="72687"/>
                    <a:pt x="331606" y="63561"/>
                  </a:cubicBezTo>
                  <a:cubicBezTo>
                    <a:pt x="349859" y="51392"/>
                    <a:pt x="322480" y="39223"/>
                    <a:pt x="313354" y="36181"/>
                  </a:cubicBezTo>
                  <a:cubicBezTo>
                    <a:pt x="249465" y="17927"/>
                    <a:pt x="39551" y="-36833"/>
                    <a:pt x="0" y="39223"/>
                  </a:cubicBezTo>
                  <a:cubicBezTo>
                    <a:pt x="0" y="39223"/>
                    <a:pt x="3043" y="130491"/>
                    <a:pt x="24340" y="157871"/>
                  </a:cubicBezTo>
                  <a:cubicBezTo>
                    <a:pt x="54762" y="194378"/>
                    <a:pt x="103437" y="194378"/>
                    <a:pt x="149071" y="197420"/>
                  </a:cubicBezTo>
                  <a:cubicBezTo>
                    <a:pt x="176452" y="200462"/>
                    <a:pt x="203831" y="203504"/>
                    <a:pt x="231212" y="209589"/>
                  </a:cubicBezTo>
                  <a:cubicBezTo>
                    <a:pt x="243380" y="206547"/>
                    <a:pt x="261635" y="212631"/>
                    <a:pt x="270761" y="197420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F1CDD5ED-A37D-4747-83C4-EAF0D4EF35E1}"/>
                </a:ext>
              </a:extLst>
            </p:cNvPr>
            <p:cNvSpPr/>
            <p:nvPr/>
          </p:nvSpPr>
          <p:spPr>
            <a:xfrm>
              <a:off x="19437867" y="8360356"/>
              <a:ext cx="1258672" cy="1096395"/>
            </a:xfrm>
            <a:custGeom>
              <a:avLst/>
              <a:gdLst>
                <a:gd name="connsiteX0" fmla="*/ 78278 w 1258672"/>
                <a:gd name="connsiteY0" fmla="*/ 7024 h 1096395"/>
                <a:gd name="connsiteX1" fmla="*/ 470728 w 1258672"/>
                <a:gd name="connsiteY1" fmla="*/ 344715 h 1096395"/>
                <a:gd name="connsiteX2" fmla="*/ 671518 w 1258672"/>
                <a:gd name="connsiteY2" fmla="*/ 761503 h 1096395"/>
                <a:gd name="connsiteX3" fmla="*/ 1225208 w 1258672"/>
                <a:gd name="connsiteY3" fmla="*/ 880152 h 1096395"/>
                <a:gd name="connsiteX4" fmla="*/ 1258672 w 1258672"/>
                <a:gd name="connsiteY4" fmla="*/ 1062687 h 1096395"/>
                <a:gd name="connsiteX5" fmla="*/ 479856 w 1258672"/>
                <a:gd name="connsiteY5" fmla="*/ 1074856 h 1096395"/>
                <a:gd name="connsiteX6" fmla="*/ 78278 w 1258672"/>
                <a:gd name="connsiteY6" fmla="*/ 7024 h 109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8672" h="1096395">
                  <a:moveTo>
                    <a:pt x="78278" y="7024"/>
                  </a:moveTo>
                  <a:cubicBezTo>
                    <a:pt x="203010" y="-47736"/>
                    <a:pt x="406841" y="232151"/>
                    <a:pt x="470728" y="344715"/>
                  </a:cubicBezTo>
                  <a:cubicBezTo>
                    <a:pt x="528531" y="445109"/>
                    <a:pt x="671518" y="761503"/>
                    <a:pt x="671518" y="761503"/>
                  </a:cubicBezTo>
                  <a:lnTo>
                    <a:pt x="1225208" y="880152"/>
                  </a:lnTo>
                  <a:lnTo>
                    <a:pt x="1258672" y="1062687"/>
                  </a:lnTo>
                  <a:cubicBezTo>
                    <a:pt x="1258672" y="1062687"/>
                    <a:pt x="595461" y="1129616"/>
                    <a:pt x="479856" y="1074856"/>
                  </a:cubicBezTo>
                  <a:cubicBezTo>
                    <a:pt x="349038" y="1020095"/>
                    <a:pt x="-201609" y="131757"/>
                    <a:pt x="78278" y="7024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98910111-E335-47CF-8907-B263EB3678CE}"/>
                </a:ext>
              </a:extLst>
            </p:cNvPr>
            <p:cNvSpPr/>
            <p:nvPr/>
          </p:nvSpPr>
          <p:spPr>
            <a:xfrm>
              <a:off x="19050681" y="8002310"/>
              <a:ext cx="66928" cy="139943"/>
            </a:xfrm>
            <a:custGeom>
              <a:avLst/>
              <a:gdLst>
                <a:gd name="connsiteX0" fmla="*/ 0 w 66928"/>
                <a:gd name="connsiteY0" fmla="*/ 0 h 139943"/>
                <a:gd name="connsiteX1" fmla="*/ 63887 w 66928"/>
                <a:gd name="connsiteY1" fmla="*/ 139944 h 139943"/>
                <a:gd name="connsiteX2" fmla="*/ 66928 w 66928"/>
                <a:gd name="connsiteY2" fmla="*/ 54761 h 139943"/>
                <a:gd name="connsiteX3" fmla="*/ 0 w 66928"/>
                <a:gd name="connsiteY3" fmla="*/ 0 h 139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928" h="139943">
                  <a:moveTo>
                    <a:pt x="0" y="0"/>
                  </a:moveTo>
                  <a:cubicBezTo>
                    <a:pt x="0" y="0"/>
                    <a:pt x="12168" y="118648"/>
                    <a:pt x="63887" y="139944"/>
                  </a:cubicBezTo>
                  <a:lnTo>
                    <a:pt x="66928" y="547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86CD2B09-6030-43DB-925E-128BE4194DC8}"/>
                </a:ext>
              </a:extLst>
            </p:cNvPr>
            <p:cNvSpPr/>
            <p:nvPr/>
          </p:nvSpPr>
          <p:spPr>
            <a:xfrm>
              <a:off x="19408740" y="7801522"/>
              <a:ext cx="101521" cy="237275"/>
            </a:xfrm>
            <a:custGeom>
              <a:avLst/>
              <a:gdLst>
                <a:gd name="connsiteX0" fmla="*/ 95235 w 101521"/>
                <a:gd name="connsiteY0" fmla="*/ 0 h 237275"/>
                <a:gd name="connsiteX1" fmla="*/ 52645 w 101521"/>
                <a:gd name="connsiteY1" fmla="*/ 234253 h 237275"/>
                <a:gd name="connsiteX2" fmla="*/ 926 w 101521"/>
                <a:gd name="connsiteY2" fmla="*/ 12169 h 237275"/>
                <a:gd name="connsiteX3" fmla="*/ 95235 w 101521"/>
                <a:gd name="connsiteY3" fmla="*/ 0 h 23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521" h="237275">
                  <a:moveTo>
                    <a:pt x="95235" y="0"/>
                  </a:moveTo>
                  <a:cubicBezTo>
                    <a:pt x="95235" y="0"/>
                    <a:pt x="125658" y="194704"/>
                    <a:pt x="52645" y="234253"/>
                  </a:cubicBezTo>
                  <a:cubicBezTo>
                    <a:pt x="-11244" y="267718"/>
                    <a:pt x="926" y="12169"/>
                    <a:pt x="926" y="12169"/>
                  </a:cubicBezTo>
                  <a:lnTo>
                    <a:pt x="95235" y="0"/>
                  </a:ln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126F3FEB-2DEB-4DF2-BA79-62846F5AE650}"/>
                </a:ext>
              </a:extLst>
            </p:cNvPr>
            <p:cNvSpPr/>
            <p:nvPr/>
          </p:nvSpPr>
          <p:spPr>
            <a:xfrm>
              <a:off x="19053722" y="7660690"/>
              <a:ext cx="420169" cy="567348"/>
            </a:xfrm>
            <a:custGeom>
              <a:avLst/>
              <a:gdLst>
                <a:gd name="connsiteX0" fmla="*/ 410704 w 420169"/>
                <a:gd name="connsiteY0" fmla="*/ 183423 h 567348"/>
                <a:gd name="connsiteX1" fmla="*/ 410704 w 420169"/>
                <a:gd name="connsiteY1" fmla="*/ 432888 h 567348"/>
                <a:gd name="connsiteX2" fmla="*/ 252507 w 420169"/>
                <a:gd name="connsiteY2" fmla="*/ 566747 h 567348"/>
                <a:gd name="connsiteX3" fmla="*/ 36507 w 420169"/>
                <a:gd name="connsiteY3" fmla="*/ 423761 h 567348"/>
                <a:gd name="connsiteX4" fmla="*/ 0 w 420169"/>
                <a:gd name="connsiteY4" fmla="*/ 198634 h 567348"/>
                <a:gd name="connsiteX5" fmla="*/ 212958 w 420169"/>
                <a:gd name="connsiteY5" fmla="*/ 888 h 567348"/>
                <a:gd name="connsiteX6" fmla="*/ 410704 w 420169"/>
                <a:gd name="connsiteY6" fmla="*/ 183423 h 56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0169" h="567348">
                  <a:moveTo>
                    <a:pt x="410704" y="183423"/>
                  </a:moveTo>
                  <a:cubicBezTo>
                    <a:pt x="410704" y="183423"/>
                    <a:pt x="432000" y="359874"/>
                    <a:pt x="410704" y="432888"/>
                  </a:cubicBezTo>
                  <a:cubicBezTo>
                    <a:pt x="392451" y="499818"/>
                    <a:pt x="301184" y="563705"/>
                    <a:pt x="252507" y="566747"/>
                  </a:cubicBezTo>
                  <a:cubicBezTo>
                    <a:pt x="185577" y="572832"/>
                    <a:pt x="66930" y="533282"/>
                    <a:pt x="36507" y="423761"/>
                  </a:cubicBezTo>
                  <a:cubicBezTo>
                    <a:pt x="15211" y="350747"/>
                    <a:pt x="0" y="250352"/>
                    <a:pt x="0" y="198634"/>
                  </a:cubicBezTo>
                  <a:cubicBezTo>
                    <a:pt x="3042" y="104325"/>
                    <a:pt x="27381" y="25226"/>
                    <a:pt x="212958" y="888"/>
                  </a:cubicBezTo>
                  <a:cubicBezTo>
                    <a:pt x="298140" y="-11281"/>
                    <a:pt x="392451" y="104325"/>
                    <a:pt x="410704" y="183423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32A23A09-684D-4D0F-A762-EFE6291517F7}"/>
                </a:ext>
              </a:extLst>
            </p:cNvPr>
            <p:cNvSpPr/>
            <p:nvPr/>
          </p:nvSpPr>
          <p:spPr>
            <a:xfrm>
              <a:off x="19275806" y="7926254"/>
              <a:ext cx="57803" cy="136901"/>
            </a:xfrm>
            <a:custGeom>
              <a:avLst/>
              <a:gdLst>
                <a:gd name="connsiteX0" fmla="*/ 30423 w 57803"/>
                <a:gd name="connsiteY0" fmla="*/ 136901 h 136901"/>
                <a:gd name="connsiteX1" fmla="*/ 6085 w 57803"/>
                <a:gd name="connsiteY1" fmla="*/ 133859 h 136901"/>
                <a:gd name="connsiteX2" fmla="*/ 0 w 57803"/>
                <a:gd name="connsiteY2" fmla="*/ 127775 h 136901"/>
                <a:gd name="connsiteX3" fmla="*/ 6085 w 57803"/>
                <a:gd name="connsiteY3" fmla="*/ 121690 h 136901"/>
                <a:gd name="connsiteX4" fmla="*/ 45634 w 57803"/>
                <a:gd name="connsiteY4" fmla="*/ 121690 h 136901"/>
                <a:gd name="connsiteX5" fmla="*/ 45634 w 57803"/>
                <a:gd name="connsiteY5" fmla="*/ 118648 h 136901"/>
                <a:gd name="connsiteX6" fmla="*/ 30423 w 57803"/>
                <a:gd name="connsiteY6" fmla="*/ 6085 h 136901"/>
                <a:gd name="connsiteX7" fmla="*/ 36507 w 57803"/>
                <a:gd name="connsiteY7" fmla="*/ 0 h 136901"/>
                <a:gd name="connsiteX8" fmla="*/ 42592 w 57803"/>
                <a:gd name="connsiteY8" fmla="*/ 6085 h 136901"/>
                <a:gd name="connsiteX9" fmla="*/ 57804 w 57803"/>
                <a:gd name="connsiteY9" fmla="*/ 118648 h 136901"/>
                <a:gd name="connsiteX10" fmla="*/ 51719 w 57803"/>
                <a:gd name="connsiteY10" fmla="*/ 130817 h 136901"/>
                <a:gd name="connsiteX11" fmla="*/ 30423 w 57803"/>
                <a:gd name="connsiteY11" fmla="*/ 136901 h 136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803" h="136901">
                  <a:moveTo>
                    <a:pt x="30423" y="136901"/>
                  </a:moveTo>
                  <a:cubicBezTo>
                    <a:pt x="18255" y="136901"/>
                    <a:pt x="9126" y="133859"/>
                    <a:pt x="6085" y="133859"/>
                  </a:cubicBezTo>
                  <a:cubicBezTo>
                    <a:pt x="3043" y="133859"/>
                    <a:pt x="0" y="130817"/>
                    <a:pt x="0" y="127775"/>
                  </a:cubicBezTo>
                  <a:cubicBezTo>
                    <a:pt x="0" y="124733"/>
                    <a:pt x="3043" y="121690"/>
                    <a:pt x="6085" y="121690"/>
                  </a:cubicBezTo>
                  <a:cubicBezTo>
                    <a:pt x="18255" y="124733"/>
                    <a:pt x="39549" y="124733"/>
                    <a:pt x="45634" y="121690"/>
                  </a:cubicBezTo>
                  <a:cubicBezTo>
                    <a:pt x="45634" y="121690"/>
                    <a:pt x="45634" y="118648"/>
                    <a:pt x="45634" y="118648"/>
                  </a:cubicBezTo>
                  <a:cubicBezTo>
                    <a:pt x="45634" y="100394"/>
                    <a:pt x="30423" y="9127"/>
                    <a:pt x="30423" y="6085"/>
                  </a:cubicBezTo>
                  <a:cubicBezTo>
                    <a:pt x="30423" y="3042"/>
                    <a:pt x="33466" y="0"/>
                    <a:pt x="36507" y="0"/>
                  </a:cubicBezTo>
                  <a:cubicBezTo>
                    <a:pt x="39549" y="0"/>
                    <a:pt x="42592" y="3042"/>
                    <a:pt x="42592" y="6085"/>
                  </a:cubicBezTo>
                  <a:cubicBezTo>
                    <a:pt x="42592" y="9127"/>
                    <a:pt x="57804" y="100394"/>
                    <a:pt x="57804" y="118648"/>
                  </a:cubicBezTo>
                  <a:cubicBezTo>
                    <a:pt x="57804" y="124733"/>
                    <a:pt x="54760" y="127775"/>
                    <a:pt x="51719" y="130817"/>
                  </a:cubicBezTo>
                  <a:cubicBezTo>
                    <a:pt x="51719" y="133859"/>
                    <a:pt x="42592" y="136901"/>
                    <a:pt x="30423" y="136901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2379C8B4-210B-4F1A-BA57-D4B5E401D504}"/>
                </a:ext>
              </a:extLst>
            </p:cNvPr>
            <p:cNvSpPr/>
            <p:nvPr/>
          </p:nvSpPr>
          <p:spPr>
            <a:xfrm>
              <a:off x="19369341" y="7901141"/>
              <a:ext cx="41099" cy="40921"/>
            </a:xfrm>
            <a:custGeom>
              <a:avLst/>
              <a:gdLst>
                <a:gd name="connsiteX0" fmla="*/ 776 w 41099"/>
                <a:gd name="connsiteY0" fmla="*/ 25113 h 40921"/>
                <a:gd name="connsiteX1" fmla="*/ 25113 w 41099"/>
                <a:gd name="connsiteY1" fmla="*/ 40324 h 40921"/>
                <a:gd name="connsiteX2" fmla="*/ 40325 w 41099"/>
                <a:gd name="connsiteY2" fmla="*/ 15987 h 40921"/>
                <a:gd name="connsiteX3" fmla="*/ 15987 w 41099"/>
                <a:gd name="connsiteY3" fmla="*/ 775 h 40921"/>
                <a:gd name="connsiteX4" fmla="*/ 776 w 41099"/>
                <a:gd name="connsiteY4" fmla="*/ 25113 h 40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99" h="40921">
                  <a:moveTo>
                    <a:pt x="776" y="25113"/>
                  </a:moveTo>
                  <a:cubicBezTo>
                    <a:pt x="3817" y="34240"/>
                    <a:pt x="12944" y="43367"/>
                    <a:pt x="25113" y="40324"/>
                  </a:cubicBezTo>
                  <a:cubicBezTo>
                    <a:pt x="37281" y="37282"/>
                    <a:pt x="43366" y="28155"/>
                    <a:pt x="40325" y="15987"/>
                  </a:cubicBezTo>
                  <a:cubicBezTo>
                    <a:pt x="37281" y="3817"/>
                    <a:pt x="28155" y="-2267"/>
                    <a:pt x="15987" y="775"/>
                  </a:cubicBezTo>
                  <a:cubicBezTo>
                    <a:pt x="3817" y="3817"/>
                    <a:pt x="-2268" y="15987"/>
                    <a:pt x="776" y="25113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C51F199A-3BCF-49D0-AB51-1C585F2A1ADD}"/>
                </a:ext>
              </a:extLst>
            </p:cNvPr>
            <p:cNvSpPr/>
            <p:nvPr/>
          </p:nvSpPr>
          <p:spPr>
            <a:xfrm>
              <a:off x="19186806" y="7919394"/>
              <a:ext cx="41099" cy="40921"/>
            </a:xfrm>
            <a:custGeom>
              <a:avLst/>
              <a:gdLst>
                <a:gd name="connsiteX0" fmla="*/ 776 w 41099"/>
                <a:gd name="connsiteY0" fmla="*/ 25113 h 40921"/>
                <a:gd name="connsiteX1" fmla="*/ 25113 w 41099"/>
                <a:gd name="connsiteY1" fmla="*/ 40325 h 40921"/>
                <a:gd name="connsiteX2" fmla="*/ 40325 w 41099"/>
                <a:gd name="connsiteY2" fmla="*/ 15986 h 40921"/>
                <a:gd name="connsiteX3" fmla="*/ 15987 w 41099"/>
                <a:gd name="connsiteY3" fmla="*/ 775 h 40921"/>
                <a:gd name="connsiteX4" fmla="*/ 776 w 41099"/>
                <a:gd name="connsiteY4" fmla="*/ 25113 h 40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99" h="40921">
                  <a:moveTo>
                    <a:pt x="776" y="25113"/>
                  </a:moveTo>
                  <a:cubicBezTo>
                    <a:pt x="3817" y="34240"/>
                    <a:pt x="12944" y="43367"/>
                    <a:pt x="25113" y="40325"/>
                  </a:cubicBezTo>
                  <a:cubicBezTo>
                    <a:pt x="37281" y="37282"/>
                    <a:pt x="43366" y="28156"/>
                    <a:pt x="40325" y="15986"/>
                  </a:cubicBezTo>
                  <a:cubicBezTo>
                    <a:pt x="37281" y="3818"/>
                    <a:pt x="28155" y="-2267"/>
                    <a:pt x="15987" y="775"/>
                  </a:cubicBezTo>
                  <a:cubicBezTo>
                    <a:pt x="3817" y="3818"/>
                    <a:pt x="-2268" y="12944"/>
                    <a:pt x="776" y="25113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F91C96C1-3849-4B25-B54F-A14CDCD755F6}"/>
                </a:ext>
              </a:extLst>
            </p:cNvPr>
            <p:cNvSpPr/>
            <p:nvPr/>
          </p:nvSpPr>
          <p:spPr>
            <a:xfrm>
              <a:off x="19341476" y="7856282"/>
              <a:ext cx="91767" cy="30422"/>
            </a:xfrm>
            <a:custGeom>
              <a:avLst/>
              <a:gdLst>
                <a:gd name="connsiteX0" fmla="*/ 83401 w 91767"/>
                <a:gd name="connsiteY0" fmla="*/ 30423 h 30422"/>
                <a:gd name="connsiteX1" fmla="*/ 77316 w 91767"/>
                <a:gd name="connsiteY1" fmla="*/ 27380 h 30422"/>
                <a:gd name="connsiteX2" fmla="*/ 10386 w 91767"/>
                <a:gd name="connsiteY2" fmla="*/ 21296 h 30422"/>
                <a:gd name="connsiteX3" fmla="*/ 1260 w 91767"/>
                <a:gd name="connsiteY3" fmla="*/ 18253 h 30422"/>
                <a:gd name="connsiteX4" fmla="*/ 4301 w 91767"/>
                <a:gd name="connsiteY4" fmla="*/ 9127 h 30422"/>
                <a:gd name="connsiteX5" fmla="*/ 89486 w 91767"/>
                <a:gd name="connsiteY5" fmla="*/ 18253 h 30422"/>
                <a:gd name="connsiteX6" fmla="*/ 89486 w 91767"/>
                <a:gd name="connsiteY6" fmla="*/ 30423 h 30422"/>
                <a:gd name="connsiteX7" fmla="*/ 83401 w 91767"/>
                <a:gd name="connsiteY7" fmla="*/ 30423 h 30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0422">
                  <a:moveTo>
                    <a:pt x="83401" y="30423"/>
                  </a:moveTo>
                  <a:cubicBezTo>
                    <a:pt x="80358" y="30423"/>
                    <a:pt x="80358" y="30423"/>
                    <a:pt x="77316" y="27380"/>
                  </a:cubicBezTo>
                  <a:cubicBezTo>
                    <a:pt x="52979" y="0"/>
                    <a:pt x="10386" y="21296"/>
                    <a:pt x="10386" y="21296"/>
                  </a:cubicBezTo>
                  <a:cubicBezTo>
                    <a:pt x="7345" y="24338"/>
                    <a:pt x="1260" y="21296"/>
                    <a:pt x="1260" y="18253"/>
                  </a:cubicBezTo>
                  <a:cubicBezTo>
                    <a:pt x="-1782" y="15211"/>
                    <a:pt x="1260" y="9127"/>
                    <a:pt x="4301" y="9127"/>
                  </a:cubicBezTo>
                  <a:cubicBezTo>
                    <a:pt x="22556" y="0"/>
                    <a:pt x="62105" y="-9127"/>
                    <a:pt x="89486" y="18253"/>
                  </a:cubicBezTo>
                  <a:cubicBezTo>
                    <a:pt x="92527" y="21296"/>
                    <a:pt x="92527" y="27380"/>
                    <a:pt x="89486" y="30423"/>
                  </a:cubicBezTo>
                  <a:cubicBezTo>
                    <a:pt x="89486" y="30423"/>
                    <a:pt x="86443" y="30423"/>
                    <a:pt x="83401" y="30423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C94B9556-A449-4392-933E-00389FE2FA10}"/>
                </a:ext>
              </a:extLst>
            </p:cNvPr>
            <p:cNvSpPr/>
            <p:nvPr/>
          </p:nvSpPr>
          <p:spPr>
            <a:xfrm>
              <a:off x="19151835" y="7853550"/>
              <a:ext cx="91767" cy="36197"/>
            </a:xfrm>
            <a:custGeom>
              <a:avLst/>
              <a:gdLst>
                <a:gd name="connsiteX0" fmla="*/ 8366 w 91767"/>
                <a:gd name="connsiteY0" fmla="*/ 36197 h 36197"/>
                <a:gd name="connsiteX1" fmla="*/ 2281 w 91767"/>
                <a:gd name="connsiteY1" fmla="*/ 33155 h 36197"/>
                <a:gd name="connsiteX2" fmla="*/ 2281 w 91767"/>
                <a:gd name="connsiteY2" fmla="*/ 20986 h 36197"/>
                <a:gd name="connsiteX3" fmla="*/ 87464 w 91767"/>
                <a:gd name="connsiteY3" fmla="*/ 11859 h 36197"/>
                <a:gd name="connsiteX4" fmla="*/ 90507 w 91767"/>
                <a:gd name="connsiteY4" fmla="*/ 24029 h 36197"/>
                <a:gd name="connsiteX5" fmla="*/ 78337 w 91767"/>
                <a:gd name="connsiteY5" fmla="*/ 27071 h 36197"/>
                <a:gd name="connsiteX6" fmla="*/ 11408 w 91767"/>
                <a:gd name="connsiteY6" fmla="*/ 33155 h 36197"/>
                <a:gd name="connsiteX7" fmla="*/ 8366 w 91767"/>
                <a:gd name="connsiteY7" fmla="*/ 36197 h 36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6197">
                  <a:moveTo>
                    <a:pt x="8366" y="36197"/>
                  </a:moveTo>
                  <a:cubicBezTo>
                    <a:pt x="5325" y="36197"/>
                    <a:pt x="5325" y="36197"/>
                    <a:pt x="2281" y="33155"/>
                  </a:cubicBezTo>
                  <a:cubicBezTo>
                    <a:pt x="-760" y="30113"/>
                    <a:pt x="-760" y="24029"/>
                    <a:pt x="2281" y="20986"/>
                  </a:cubicBezTo>
                  <a:cubicBezTo>
                    <a:pt x="14451" y="5775"/>
                    <a:pt x="50958" y="-12478"/>
                    <a:pt x="87464" y="11859"/>
                  </a:cubicBezTo>
                  <a:cubicBezTo>
                    <a:pt x="90507" y="14902"/>
                    <a:pt x="93549" y="17944"/>
                    <a:pt x="90507" y="24029"/>
                  </a:cubicBezTo>
                  <a:cubicBezTo>
                    <a:pt x="87464" y="27071"/>
                    <a:pt x="84422" y="30113"/>
                    <a:pt x="78337" y="27071"/>
                  </a:cubicBezTo>
                  <a:cubicBezTo>
                    <a:pt x="41830" y="2733"/>
                    <a:pt x="14451" y="33155"/>
                    <a:pt x="11408" y="33155"/>
                  </a:cubicBezTo>
                  <a:cubicBezTo>
                    <a:pt x="11408" y="36197"/>
                    <a:pt x="11408" y="36197"/>
                    <a:pt x="8366" y="36197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E5E19EFE-D171-496D-A5E0-DA41235F72F5}"/>
                </a:ext>
              </a:extLst>
            </p:cNvPr>
            <p:cNvSpPr/>
            <p:nvPr/>
          </p:nvSpPr>
          <p:spPr>
            <a:xfrm>
              <a:off x="19012813" y="7918688"/>
              <a:ext cx="78768" cy="113805"/>
            </a:xfrm>
            <a:custGeom>
              <a:avLst/>
              <a:gdLst>
                <a:gd name="connsiteX0" fmla="*/ 65247 w 78768"/>
                <a:gd name="connsiteY0" fmla="*/ 16693 h 113805"/>
                <a:gd name="connsiteX1" fmla="*/ 7445 w 78768"/>
                <a:gd name="connsiteY1" fmla="*/ 7566 h 113805"/>
                <a:gd name="connsiteX2" fmla="*/ 65247 w 78768"/>
                <a:gd name="connsiteY2" fmla="*/ 111003 h 113805"/>
                <a:gd name="connsiteX3" fmla="*/ 65247 w 78768"/>
                <a:gd name="connsiteY3" fmla="*/ 16693 h 113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768" h="113805">
                  <a:moveTo>
                    <a:pt x="65247" y="16693"/>
                  </a:moveTo>
                  <a:cubicBezTo>
                    <a:pt x="65247" y="16693"/>
                    <a:pt x="31783" y="-13730"/>
                    <a:pt x="7445" y="7566"/>
                  </a:cubicBezTo>
                  <a:cubicBezTo>
                    <a:pt x="-16894" y="25820"/>
                    <a:pt x="22657" y="132299"/>
                    <a:pt x="65247" y="111003"/>
                  </a:cubicBezTo>
                  <a:cubicBezTo>
                    <a:pt x="95670" y="89707"/>
                    <a:pt x="65247" y="16693"/>
                    <a:pt x="65247" y="16693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07AAFA5D-0773-4991-8F6A-9DC145862ECD}"/>
                </a:ext>
              </a:extLst>
            </p:cNvPr>
            <p:cNvSpPr/>
            <p:nvPr/>
          </p:nvSpPr>
          <p:spPr>
            <a:xfrm>
              <a:off x="19015265" y="7547062"/>
              <a:ext cx="516628" cy="403530"/>
            </a:xfrm>
            <a:custGeom>
              <a:avLst/>
              <a:gdLst>
                <a:gd name="connsiteX0" fmla="*/ 4992 w 516628"/>
                <a:gd name="connsiteY0" fmla="*/ 303136 h 403530"/>
                <a:gd name="connsiteX1" fmla="*/ 62794 w 516628"/>
                <a:gd name="connsiteY1" fmla="*/ 403530 h 403530"/>
                <a:gd name="connsiteX2" fmla="*/ 114513 w 516628"/>
                <a:gd name="connsiteY2" fmla="*/ 263587 h 403530"/>
                <a:gd name="connsiteX3" fmla="*/ 123639 w 516628"/>
                <a:gd name="connsiteY3" fmla="*/ 260545 h 403530"/>
                <a:gd name="connsiteX4" fmla="*/ 199696 w 516628"/>
                <a:gd name="connsiteY4" fmla="*/ 233164 h 403530"/>
                <a:gd name="connsiteX5" fmla="*/ 211865 w 516628"/>
                <a:gd name="connsiteY5" fmla="*/ 230122 h 403530"/>
                <a:gd name="connsiteX6" fmla="*/ 248373 w 516628"/>
                <a:gd name="connsiteY6" fmla="*/ 251418 h 403530"/>
                <a:gd name="connsiteX7" fmla="*/ 263584 w 516628"/>
                <a:gd name="connsiteY7" fmla="*/ 242291 h 403530"/>
                <a:gd name="connsiteX8" fmla="*/ 315301 w 516628"/>
                <a:gd name="connsiteY8" fmla="*/ 257502 h 403530"/>
                <a:gd name="connsiteX9" fmla="*/ 351808 w 516628"/>
                <a:gd name="connsiteY9" fmla="*/ 266629 h 403530"/>
                <a:gd name="connsiteX10" fmla="*/ 363978 w 516628"/>
                <a:gd name="connsiteY10" fmla="*/ 266629 h 403530"/>
                <a:gd name="connsiteX11" fmla="*/ 376146 w 516628"/>
                <a:gd name="connsiteY11" fmla="*/ 263587 h 403530"/>
                <a:gd name="connsiteX12" fmla="*/ 385274 w 516628"/>
                <a:gd name="connsiteY12" fmla="*/ 269671 h 403530"/>
                <a:gd name="connsiteX13" fmla="*/ 391357 w 516628"/>
                <a:gd name="connsiteY13" fmla="*/ 272713 h 403530"/>
                <a:gd name="connsiteX14" fmla="*/ 397442 w 516628"/>
                <a:gd name="connsiteY14" fmla="*/ 272713 h 403530"/>
                <a:gd name="connsiteX15" fmla="*/ 403527 w 516628"/>
                <a:gd name="connsiteY15" fmla="*/ 275756 h 403530"/>
                <a:gd name="connsiteX16" fmla="*/ 409612 w 516628"/>
                <a:gd name="connsiteY16" fmla="*/ 284883 h 403530"/>
                <a:gd name="connsiteX17" fmla="*/ 427865 w 516628"/>
                <a:gd name="connsiteY17" fmla="*/ 306178 h 403530"/>
                <a:gd name="connsiteX18" fmla="*/ 458287 w 516628"/>
                <a:gd name="connsiteY18" fmla="*/ 318347 h 403530"/>
                <a:gd name="connsiteX19" fmla="*/ 476542 w 516628"/>
                <a:gd name="connsiteY19" fmla="*/ 373108 h 403530"/>
                <a:gd name="connsiteX20" fmla="*/ 485668 w 516628"/>
                <a:gd name="connsiteY20" fmla="*/ 342685 h 403530"/>
                <a:gd name="connsiteX21" fmla="*/ 494795 w 516628"/>
                <a:gd name="connsiteY21" fmla="*/ 339643 h 403530"/>
                <a:gd name="connsiteX22" fmla="*/ 513047 w 516628"/>
                <a:gd name="connsiteY22" fmla="*/ 242291 h 403530"/>
                <a:gd name="connsiteX23" fmla="*/ 494795 w 516628"/>
                <a:gd name="connsiteY23" fmla="*/ 199699 h 403530"/>
                <a:gd name="connsiteX24" fmla="*/ 497836 w 516628"/>
                <a:gd name="connsiteY24" fmla="*/ 166235 h 403530"/>
                <a:gd name="connsiteX25" fmla="*/ 491753 w 516628"/>
                <a:gd name="connsiteY25" fmla="*/ 129728 h 403530"/>
                <a:gd name="connsiteX26" fmla="*/ 473498 w 516628"/>
                <a:gd name="connsiteY26" fmla="*/ 102347 h 403530"/>
                <a:gd name="connsiteX27" fmla="*/ 458287 w 516628"/>
                <a:gd name="connsiteY27" fmla="*/ 59756 h 403530"/>
                <a:gd name="connsiteX28" fmla="*/ 397442 w 516628"/>
                <a:gd name="connsiteY28" fmla="*/ 38460 h 403530"/>
                <a:gd name="connsiteX29" fmla="*/ 272710 w 516628"/>
                <a:gd name="connsiteY29" fmla="*/ 1953 h 403530"/>
                <a:gd name="connsiteX30" fmla="*/ 260541 w 516628"/>
                <a:gd name="connsiteY30" fmla="*/ 8037 h 403530"/>
                <a:gd name="connsiteX31" fmla="*/ 205780 w 516628"/>
                <a:gd name="connsiteY31" fmla="*/ 23249 h 403530"/>
                <a:gd name="connsiteX32" fmla="*/ 172316 w 516628"/>
                <a:gd name="connsiteY32" fmla="*/ 26291 h 403530"/>
                <a:gd name="connsiteX33" fmla="*/ 141894 w 516628"/>
                <a:gd name="connsiteY33" fmla="*/ 59756 h 403530"/>
                <a:gd name="connsiteX34" fmla="*/ 129724 w 516628"/>
                <a:gd name="connsiteY34" fmla="*/ 78009 h 403530"/>
                <a:gd name="connsiteX35" fmla="*/ 99302 w 516628"/>
                <a:gd name="connsiteY35" fmla="*/ 99305 h 403530"/>
                <a:gd name="connsiteX36" fmla="*/ 87132 w 516628"/>
                <a:gd name="connsiteY36" fmla="*/ 96263 h 403530"/>
                <a:gd name="connsiteX37" fmla="*/ 68879 w 516628"/>
                <a:gd name="connsiteY37" fmla="*/ 135812 h 403530"/>
                <a:gd name="connsiteX38" fmla="*/ 4992 w 516628"/>
                <a:gd name="connsiteY38" fmla="*/ 303136 h 403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6628" h="403530">
                  <a:moveTo>
                    <a:pt x="4992" y="303136"/>
                  </a:moveTo>
                  <a:cubicBezTo>
                    <a:pt x="20204" y="357897"/>
                    <a:pt x="62794" y="403530"/>
                    <a:pt x="62794" y="403530"/>
                  </a:cubicBezTo>
                  <a:cubicBezTo>
                    <a:pt x="56709" y="373108"/>
                    <a:pt x="114513" y="263587"/>
                    <a:pt x="114513" y="263587"/>
                  </a:cubicBezTo>
                  <a:cubicBezTo>
                    <a:pt x="114513" y="263587"/>
                    <a:pt x="117554" y="263587"/>
                    <a:pt x="123639" y="260545"/>
                  </a:cubicBezTo>
                  <a:cubicBezTo>
                    <a:pt x="151020" y="260545"/>
                    <a:pt x="178399" y="251418"/>
                    <a:pt x="199696" y="233164"/>
                  </a:cubicBezTo>
                  <a:cubicBezTo>
                    <a:pt x="202739" y="233164"/>
                    <a:pt x="208822" y="230122"/>
                    <a:pt x="211865" y="230122"/>
                  </a:cubicBezTo>
                  <a:cubicBezTo>
                    <a:pt x="220992" y="242291"/>
                    <a:pt x="230118" y="254460"/>
                    <a:pt x="248373" y="251418"/>
                  </a:cubicBezTo>
                  <a:cubicBezTo>
                    <a:pt x="257499" y="251418"/>
                    <a:pt x="260541" y="242291"/>
                    <a:pt x="263584" y="242291"/>
                  </a:cubicBezTo>
                  <a:cubicBezTo>
                    <a:pt x="284878" y="233164"/>
                    <a:pt x="297048" y="248376"/>
                    <a:pt x="315301" y="257502"/>
                  </a:cubicBezTo>
                  <a:cubicBezTo>
                    <a:pt x="327471" y="263587"/>
                    <a:pt x="339640" y="266629"/>
                    <a:pt x="351808" y="266629"/>
                  </a:cubicBezTo>
                  <a:cubicBezTo>
                    <a:pt x="354852" y="266629"/>
                    <a:pt x="360935" y="263587"/>
                    <a:pt x="363978" y="266629"/>
                  </a:cubicBezTo>
                  <a:cubicBezTo>
                    <a:pt x="370063" y="263587"/>
                    <a:pt x="373104" y="263587"/>
                    <a:pt x="376146" y="263587"/>
                  </a:cubicBezTo>
                  <a:cubicBezTo>
                    <a:pt x="379189" y="266629"/>
                    <a:pt x="382231" y="266629"/>
                    <a:pt x="385274" y="269671"/>
                  </a:cubicBezTo>
                  <a:cubicBezTo>
                    <a:pt x="388316" y="269671"/>
                    <a:pt x="388316" y="272713"/>
                    <a:pt x="391357" y="272713"/>
                  </a:cubicBezTo>
                  <a:cubicBezTo>
                    <a:pt x="394401" y="272713"/>
                    <a:pt x="394401" y="272713"/>
                    <a:pt x="397442" y="272713"/>
                  </a:cubicBezTo>
                  <a:cubicBezTo>
                    <a:pt x="400485" y="272713"/>
                    <a:pt x="403527" y="275756"/>
                    <a:pt x="403527" y="275756"/>
                  </a:cubicBezTo>
                  <a:cubicBezTo>
                    <a:pt x="406568" y="278798"/>
                    <a:pt x="409612" y="281840"/>
                    <a:pt x="409612" y="284883"/>
                  </a:cubicBezTo>
                  <a:cubicBezTo>
                    <a:pt x="415697" y="294010"/>
                    <a:pt x="418738" y="300094"/>
                    <a:pt x="427865" y="306178"/>
                  </a:cubicBezTo>
                  <a:cubicBezTo>
                    <a:pt x="433950" y="312263"/>
                    <a:pt x="446119" y="312263"/>
                    <a:pt x="458287" y="318347"/>
                  </a:cubicBezTo>
                  <a:cubicBezTo>
                    <a:pt x="473498" y="336601"/>
                    <a:pt x="479583" y="354855"/>
                    <a:pt x="476542" y="373108"/>
                  </a:cubicBezTo>
                  <a:cubicBezTo>
                    <a:pt x="476542" y="373108"/>
                    <a:pt x="479583" y="360939"/>
                    <a:pt x="485668" y="342685"/>
                  </a:cubicBezTo>
                  <a:cubicBezTo>
                    <a:pt x="488710" y="345728"/>
                    <a:pt x="491753" y="345728"/>
                    <a:pt x="494795" y="339643"/>
                  </a:cubicBezTo>
                  <a:cubicBezTo>
                    <a:pt x="513047" y="309221"/>
                    <a:pt x="522176" y="275756"/>
                    <a:pt x="513047" y="242291"/>
                  </a:cubicBezTo>
                  <a:cubicBezTo>
                    <a:pt x="510006" y="227080"/>
                    <a:pt x="500879" y="214911"/>
                    <a:pt x="494795" y="199699"/>
                  </a:cubicBezTo>
                  <a:cubicBezTo>
                    <a:pt x="485668" y="181446"/>
                    <a:pt x="494795" y="181446"/>
                    <a:pt x="497836" y="166235"/>
                  </a:cubicBezTo>
                  <a:cubicBezTo>
                    <a:pt x="500879" y="154066"/>
                    <a:pt x="494795" y="141897"/>
                    <a:pt x="491753" y="129728"/>
                  </a:cubicBezTo>
                  <a:cubicBezTo>
                    <a:pt x="485668" y="120601"/>
                    <a:pt x="479583" y="111474"/>
                    <a:pt x="473498" y="102347"/>
                  </a:cubicBezTo>
                  <a:cubicBezTo>
                    <a:pt x="461331" y="87136"/>
                    <a:pt x="464372" y="74967"/>
                    <a:pt x="458287" y="59756"/>
                  </a:cubicBezTo>
                  <a:cubicBezTo>
                    <a:pt x="446119" y="32376"/>
                    <a:pt x="421780" y="38460"/>
                    <a:pt x="397442" y="38460"/>
                  </a:cubicBezTo>
                  <a:cubicBezTo>
                    <a:pt x="354852" y="38460"/>
                    <a:pt x="318344" y="-10216"/>
                    <a:pt x="272710" y="1953"/>
                  </a:cubicBezTo>
                  <a:cubicBezTo>
                    <a:pt x="266626" y="1953"/>
                    <a:pt x="263584" y="4995"/>
                    <a:pt x="260541" y="8037"/>
                  </a:cubicBezTo>
                  <a:cubicBezTo>
                    <a:pt x="242288" y="17164"/>
                    <a:pt x="224033" y="23249"/>
                    <a:pt x="205780" y="23249"/>
                  </a:cubicBezTo>
                  <a:cubicBezTo>
                    <a:pt x="193611" y="23249"/>
                    <a:pt x="184484" y="20207"/>
                    <a:pt x="172316" y="26291"/>
                  </a:cubicBezTo>
                  <a:cubicBezTo>
                    <a:pt x="157105" y="32376"/>
                    <a:pt x="151020" y="47587"/>
                    <a:pt x="141894" y="59756"/>
                  </a:cubicBezTo>
                  <a:cubicBezTo>
                    <a:pt x="138851" y="65841"/>
                    <a:pt x="132766" y="71925"/>
                    <a:pt x="129724" y="78009"/>
                  </a:cubicBezTo>
                  <a:cubicBezTo>
                    <a:pt x="117554" y="84094"/>
                    <a:pt x="108428" y="93221"/>
                    <a:pt x="99302" y="99305"/>
                  </a:cubicBezTo>
                  <a:cubicBezTo>
                    <a:pt x="99302" y="96263"/>
                    <a:pt x="102343" y="84094"/>
                    <a:pt x="87132" y="96263"/>
                  </a:cubicBezTo>
                  <a:cubicBezTo>
                    <a:pt x="71921" y="105389"/>
                    <a:pt x="68879" y="120601"/>
                    <a:pt x="68879" y="135812"/>
                  </a:cubicBezTo>
                  <a:cubicBezTo>
                    <a:pt x="-1092" y="160150"/>
                    <a:pt x="-7177" y="248376"/>
                    <a:pt x="4992" y="303136"/>
                  </a:cubicBez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D0D1A0DA-7BB0-4D99-8C37-20227E475AFD}"/>
                </a:ext>
              </a:extLst>
            </p:cNvPr>
            <p:cNvSpPr/>
            <p:nvPr/>
          </p:nvSpPr>
          <p:spPr>
            <a:xfrm>
              <a:off x="19062088" y="7702910"/>
              <a:ext cx="67689" cy="238555"/>
            </a:xfrm>
            <a:custGeom>
              <a:avLst/>
              <a:gdLst>
                <a:gd name="connsiteX0" fmla="*/ 15971 w 67689"/>
                <a:gd name="connsiteY0" fmla="*/ 238556 h 238555"/>
                <a:gd name="connsiteX1" fmla="*/ 15971 w 67689"/>
                <a:gd name="connsiteY1" fmla="*/ 238556 h 238555"/>
                <a:gd name="connsiteX2" fmla="*/ 9886 w 67689"/>
                <a:gd name="connsiteY2" fmla="*/ 232471 h 238555"/>
                <a:gd name="connsiteX3" fmla="*/ 55520 w 67689"/>
                <a:gd name="connsiteY3" fmla="*/ 113824 h 238555"/>
                <a:gd name="connsiteX4" fmla="*/ 6845 w 67689"/>
                <a:gd name="connsiteY4" fmla="*/ 71232 h 238555"/>
                <a:gd name="connsiteX5" fmla="*/ 6845 w 67689"/>
                <a:gd name="connsiteY5" fmla="*/ 4302 h 238555"/>
                <a:gd name="connsiteX6" fmla="*/ 12930 w 67689"/>
                <a:gd name="connsiteY6" fmla="*/ 1260 h 238555"/>
                <a:gd name="connsiteX7" fmla="*/ 15971 w 67689"/>
                <a:gd name="connsiteY7" fmla="*/ 7345 h 238555"/>
                <a:gd name="connsiteX8" fmla="*/ 15971 w 67689"/>
                <a:gd name="connsiteY8" fmla="*/ 65147 h 238555"/>
                <a:gd name="connsiteX9" fmla="*/ 64648 w 67689"/>
                <a:gd name="connsiteY9" fmla="*/ 104697 h 238555"/>
                <a:gd name="connsiteX10" fmla="*/ 67690 w 67689"/>
                <a:gd name="connsiteY10" fmla="*/ 107739 h 238555"/>
                <a:gd name="connsiteX11" fmla="*/ 67690 w 67689"/>
                <a:gd name="connsiteY11" fmla="*/ 113824 h 238555"/>
                <a:gd name="connsiteX12" fmla="*/ 19015 w 67689"/>
                <a:gd name="connsiteY12" fmla="*/ 235514 h 238555"/>
                <a:gd name="connsiteX13" fmla="*/ 15971 w 67689"/>
                <a:gd name="connsiteY13" fmla="*/ 238556 h 238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7689" h="238555">
                  <a:moveTo>
                    <a:pt x="15971" y="238556"/>
                  </a:moveTo>
                  <a:cubicBezTo>
                    <a:pt x="15971" y="238556"/>
                    <a:pt x="15971" y="238556"/>
                    <a:pt x="15971" y="238556"/>
                  </a:cubicBezTo>
                  <a:cubicBezTo>
                    <a:pt x="12930" y="238556"/>
                    <a:pt x="9886" y="235514"/>
                    <a:pt x="9886" y="232471"/>
                  </a:cubicBezTo>
                  <a:cubicBezTo>
                    <a:pt x="15971" y="180753"/>
                    <a:pt x="43352" y="129035"/>
                    <a:pt x="55520" y="113824"/>
                  </a:cubicBezTo>
                  <a:cubicBezTo>
                    <a:pt x="43352" y="107739"/>
                    <a:pt x="19015" y="95570"/>
                    <a:pt x="6845" y="71232"/>
                  </a:cubicBezTo>
                  <a:cubicBezTo>
                    <a:pt x="-2282" y="52978"/>
                    <a:pt x="-2282" y="28640"/>
                    <a:pt x="6845" y="4302"/>
                  </a:cubicBezTo>
                  <a:cubicBezTo>
                    <a:pt x="6845" y="1260"/>
                    <a:pt x="9886" y="-1782"/>
                    <a:pt x="12930" y="1260"/>
                  </a:cubicBezTo>
                  <a:cubicBezTo>
                    <a:pt x="15971" y="1260"/>
                    <a:pt x="19015" y="4302"/>
                    <a:pt x="15971" y="7345"/>
                  </a:cubicBezTo>
                  <a:cubicBezTo>
                    <a:pt x="6845" y="28640"/>
                    <a:pt x="9886" y="46894"/>
                    <a:pt x="15971" y="65147"/>
                  </a:cubicBezTo>
                  <a:cubicBezTo>
                    <a:pt x="31182" y="92528"/>
                    <a:pt x="64648" y="104697"/>
                    <a:pt x="64648" y="104697"/>
                  </a:cubicBezTo>
                  <a:cubicBezTo>
                    <a:pt x="67690" y="104697"/>
                    <a:pt x="67690" y="107739"/>
                    <a:pt x="67690" y="107739"/>
                  </a:cubicBezTo>
                  <a:cubicBezTo>
                    <a:pt x="67690" y="110781"/>
                    <a:pt x="67690" y="110781"/>
                    <a:pt x="67690" y="113824"/>
                  </a:cubicBezTo>
                  <a:cubicBezTo>
                    <a:pt x="67690" y="113824"/>
                    <a:pt x="25098" y="171626"/>
                    <a:pt x="19015" y="235514"/>
                  </a:cubicBezTo>
                  <a:cubicBezTo>
                    <a:pt x="22056" y="235514"/>
                    <a:pt x="19015" y="238556"/>
                    <a:pt x="15971" y="238556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758072F0-8F55-45C3-8D14-1D3F5325BF01}"/>
                </a:ext>
              </a:extLst>
            </p:cNvPr>
            <p:cNvSpPr/>
            <p:nvPr/>
          </p:nvSpPr>
          <p:spPr>
            <a:xfrm>
              <a:off x="19224848" y="8118677"/>
              <a:ext cx="114846" cy="35746"/>
            </a:xfrm>
            <a:custGeom>
              <a:avLst/>
              <a:gdLst>
                <a:gd name="connsiteX0" fmla="*/ 78339 w 114846"/>
                <a:gd name="connsiteY0" fmla="*/ 35746 h 35746"/>
                <a:gd name="connsiteX1" fmla="*/ 2283 w 114846"/>
                <a:gd name="connsiteY1" fmla="*/ 11409 h 35746"/>
                <a:gd name="connsiteX2" fmla="*/ 2283 w 114846"/>
                <a:gd name="connsiteY2" fmla="*/ 2282 h 35746"/>
                <a:gd name="connsiteX3" fmla="*/ 11409 w 114846"/>
                <a:gd name="connsiteY3" fmla="*/ 2282 h 35746"/>
                <a:gd name="connsiteX4" fmla="*/ 108761 w 114846"/>
                <a:gd name="connsiteY4" fmla="*/ 20535 h 35746"/>
                <a:gd name="connsiteX5" fmla="*/ 114846 w 114846"/>
                <a:gd name="connsiteY5" fmla="*/ 23578 h 35746"/>
                <a:gd name="connsiteX6" fmla="*/ 111803 w 114846"/>
                <a:gd name="connsiteY6" fmla="*/ 29662 h 35746"/>
                <a:gd name="connsiteX7" fmla="*/ 78339 w 114846"/>
                <a:gd name="connsiteY7" fmla="*/ 35746 h 35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846" h="35746">
                  <a:moveTo>
                    <a:pt x="78339" y="35746"/>
                  </a:moveTo>
                  <a:cubicBezTo>
                    <a:pt x="54001" y="35746"/>
                    <a:pt x="23579" y="29662"/>
                    <a:pt x="2283" y="11409"/>
                  </a:cubicBezTo>
                  <a:cubicBezTo>
                    <a:pt x="-761" y="8366"/>
                    <a:pt x="-761" y="5324"/>
                    <a:pt x="2283" y="2282"/>
                  </a:cubicBezTo>
                  <a:cubicBezTo>
                    <a:pt x="5324" y="-761"/>
                    <a:pt x="8367" y="-761"/>
                    <a:pt x="11409" y="2282"/>
                  </a:cubicBezTo>
                  <a:cubicBezTo>
                    <a:pt x="44873" y="35746"/>
                    <a:pt x="108761" y="20535"/>
                    <a:pt x="108761" y="20535"/>
                  </a:cubicBezTo>
                  <a:cubicBezTo>
                    <a:pt x="111803" y="20535"/>
                    <a:pt x="114846" y="20535"/>
                    <a:pt x="114846" y="23578"/>
                  </a:cubicBezTo>
                  <a:cubicBezTo>
                    <a:pt x="114846" y="26620"/>
                    <a:pt x="114846" y="29662"/>
                    <a:pt x="111803" y="29662"/>
                  </a:cubicBezTo>
                  <a:cubicBezTo>
                    <a:pt x="111803" y="32704"/>
                    <a:pt x="96592" y="35746"/>
                    <a:pt x="78339" y="35746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E35F62A1-91DB-4F1A-8C63-455648C3E5CC}"/>
                </a:ext>
              </a:extLst>
            </p:cNvPr>
            <p:cNvSpPr/>
            <p:nvPr/>
          </p:nvSpPr>
          <p:spPr>
            <a:xfrm>
              <a:off x="19174152" y="7678012"/>
              <a:ext cx="259851" cy="87002"/>
            </a:xfrm>
            <a:custGeom>
              <a:avLst/>
              <a:gdLst>
                <a:gd name="connsiteX0" fmla="*/ 247682 w 259851"/>
                <a:gd name="connsiteY0" fmla="*/ 87003 h 87002"/>
                <a:gd name="connsiteX1" fmla="*/ 247682 w 259851"/>
                <a:gd name="connsiteY1" fmla="*/ 87003 h 87002"/>
                <a:gd name="connsiteX2" fmla="*/ 192921 w 259851"/>
                <a:gd name="connsiteY2" fmla="*/ 62665 h 87002"/>
                <a:gd name="connsiteX3" fmla="*/ 183795 w 259851"/>
                <a:gd name="connsiteY3" fmla="*/ 53538 h 87002"/>
                <a:gd name="connsiteX4" fmla="*/ 156414 w 259851"/>
                <a:gd name="connsiteY4" fmla="*/ 35284 h 87002"/>
                <a:gd name="connsiteX5" fmla="*/ 132076 w 259851"/>
                <a:gd name="connsiteY5" fmla="*/ 41369 h 87002"/>
                <a:gd name="connsiteX6" fmla="*/ 98612 w 259851"/>
                <a:gd name="connsiteY6" fmla="*/ 50495 h 87002"/>
                <a:gd name="connsiteX7" fmla="*/ 71231 w 259851"/>
                <a:gd name="connsiteY7" fmla="*/ 32242 h 87002"/>
                <a:gd name="connsiteX8" fmla="*/ 52979 w 259851"/>
                <a:gd name="connsiteY8" fmla="*/ 17031 h 87002"/>
                <a:gd name="connsiteX9" fmla="*/ 25597 w 259851"/>
                <a:gd name="connsiteY9" fmla="*/ 20073 h 87002"/>
                <a:gd name="connsiteX10" fmla="*/ 10386 w 259851"/>
                <a:gd name="connsiteY10" fmla="*/ 44411 h 87002"/>
                <a:gd name="connsiteX11" fmla="*/ 4301 w 259851"/>
                <a:gd name="connsiteY11" fmla="*/ 47453 h 87002"/>
                <a:gd name="connsiteX12" fmla="*/ 1260 w 259851"/>
                <a:gd name="connsiteY12" fmla="*/ 41369 h 87002"/>
                <a:gd name="connsiteX13" fmla="*/ 22556 w 259851"/>
                <a:gd name="connsiteY13" fmla="*/ 7904 h 87002"/>
                <a:gd name="connsiteX14" fmla="*/ 62105 w 259851"/>
                <a:gd name="connsiteY14" fmla="*/ 1820 h 87002"/>
                <a:gd name="connsiteX15" fmla="*/ 83401 w 259851"/>
                <a:gd name="connsiteY15" fmla="*/ 20073 h 87002"/>
                <a:gd name="connsiteX16" fmla="*/ 104697 w 259851"/>
                <a:gd name="connsiteY16" fmla="*/ 35284 h 87002"/>
                <a:gd name="connsiteX17" fmla="*/ 132076 w 259851"/>
                <a:gd name="connsiteY17" fmla="*/ 29200 h 87002"/>
                <a:gd name="connsiteX18" fmla="*/ 162499 w 259851"/>
                <a:gd name="connsiteY18" fmla="*/ 20073 h 87002"/>
                <a:gd name="connsiteX19" fmla="*/ 199006 w 259851"/>
                <a:gd name="connsiteY19" fmla="*/ 41369 h 87002"/>
                <a:gd name="connsiteX20" fmla="*/ 208133 w 259851"/>
                <a:gd name="connsiteY20" fmla="*/ 50495 h 87002"/>
                <a:gd name="connsiteX21" fmla="*/ 253767 w 259851"/>
                <a:gd name="connsiteY21" fmla="*/ 71792 h 87002"/>
                <a:gd name="connsiteX22" fmla="*/ 259851 w 259851"/>
                <a:gd name="connsiteY22" fmla="*/ 77876 h 87002"/>
                <a:gd name="connsiteX23" fmla="*/ 247682 w 259851"/>
                <a:gd name="connsiteY23" fmla="*/ 87003 h 87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59851" h="87002">
                  <a:moveTo>
                    <a:pt x="247682" y="87003"/>
                  </a:moveTo>
                  <a:cubicBezTo>
                    <a:pt x="247682" y="87003"/>
                    <a:pt x="247682" y="87003"/>
                    <a:pt x="247682" y="87003"/>
                  </a:cubicBezTo>
                  <a:cubicBezTo>
                    <a:pt x="226387" y="83960"/>
                    <a:pt x="208133" y="77876"/>
                    <a:pt x="192921" y="62665"/>
                  </a:cubicBezTo>
                  <a:cubicBezTo>
                    <a:pt x="189880" y="59622"/>
                    <a:pt x="186837" y="56580"/>
                    <a:pt x="183795" y="53538"/>
                  </a:cubicBezTo>
                  <a:cubicBezTo>
                    <a:pt x="174669" y="44411"/>
                    <a:pt x="165542" y="35284"/>
                    <a:pt x="156414" y="35284"/>
                  </a:cubicBezTo>
                  <a:cubicBezTo>
                    <a:pt x="147288" y="35284"/>
                    <a:pt x="141203" y="38327"/>
                    <a:pt x="132076" y="41369"/>
                  </a:cubicBezTo>
                  <a:cubicBezTo>
                    <a:pt x="122950" y="47453"/>
                    <a:pt x="110780" y="50495"/>
                    <a:pt x="98612" y="50495"/>
                  </a:cubicBezTo>
                  <a:cubicBezTo>
                    <a:pt x="86443" y="47453"/>
                    <a:pt x="80358" y="38327"/>
                    <a:pt x="71231" y="32242"/>
                  </a:cubicBezTo>
                  <a:cubicBezTo>
                    <a:pt x="65146" y="26158"/>
                    <a:pt x="62105" y="20073"/>
                    <a:pt x="52979" y="17031"/>
                  </a:cubicBezTo>
                  <a:cubicBezTo>
                    <a:pt x="43852" y="13988"/>
                    <a:pt x="34724" y="13988"/>
                    <a:pt x="25597" y="20073"/>
                  </a:cubicBezTo>
                  <a:cubicBezTo>
                    <a:pt x="16471" y="26158"/>
                    <a:pt x="13430" y="35284"/>
                    <a:pt x="10386" y="44411"/>
                  </a:cubicBezTo>
                  <a:cubicBezTo>
                    <a:pt x="10386" y="47453"/>
                    <a:pt x="7345" y="50495"/>
                    <a:pt x="4301" y="47453"/>
                  </a:cubicBezTo>
                  <a:cubicBezTo>
                    <a:pt x="1260" y="47453"/>
                    <a:pt x="-1782" y="44411"/>
                    <a:pt x="1260" y="41369"/>
                  </a:cubicBezTo>
                  <a:cubicBezTo>
                    <a:pt x="4301" y="26158"/>
                    <a:pt x="13430" y="17031"/>
                    <a:pt x="22556" y="7904"/>
                  </a:cubicBezTo>
                  <a:cubicBezTo>
                    <a:pt x="34724" y="-1223"/>
                    <a:pt x="49935" y="-1223"/>
                    <a:pt x="62105" y="1820"/>
                  </a:cubicBezTo>
                  <a:cubicBezTo>
                    <a:pt x="71231" y="4862"/>
                    <a:pt x="77316" y="13988"/>
                    <a:pt x="83401" y="20073"/>
                  </a:cubicBezTo>
                  <a:cubicBezTo>
                    <a:pt x="89486" y="26158"/>
                    <a:pt x="95569" y="32242"/>
                    <a:pt x="104697" y="35284"/>
                  </a:cubicBezTo>
                  <a:cubicBezTo>
                    <a:pt x="113824" y="38327"/>
                    <a:pt x="122950" y="32242"/>
                    <a:pt x="132076" y="29200"/>
                  </a:cubicBezTo>
                  <a:cubicBezTo>
                    <a:pt x="141203" y="23115"/>
                    <a:pt x="150331" y="20073"/>
                    <a:pt x="162499" y="20073"/>
                  </a:cubicBezTo>
                  <a:cubicBezTo>
                    <a:pt x="177710" y="20073"/>
                    <a:pt x="189880" y="32242"/>
                    <a:pt x="199006" y="41369"/>
                  </a:cubicBezTo>
                  <a:cubicBezTo>
                    <a:pt x="202048" y="44411"/>
                    <a:pt x="205091" y="47453"/>
                    <a:pt x="208133" y="50495"/>
                  </a:cubicBezTo>
                  <a:cubicBezTo>
                    <a:pt x="220302" y="62665"/>
                    <a:pt x="238555" y="68749"/>
                    <a:pt x="253767" y="71792"/>
                  </a:cubicBezTo>
                  <a:cubicBezTo>
                    <a:pt x="256810" y="71792"/>
                    <a:pt x="259851" y="74834"/>
                    <a:pt x="259851" y="77876"/>
                  </a:cubicBezTo>
                  <a:cubicBezTo>
                    <a:pt x="253767" y="83960"/>
                    <a:pt x="250725" y="87003"/>
                    <a:pt x="247682" y="87003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7AD18635-EBE9-49FD-B516-04B380E8BB84}"/>
                </a:ext>
              </a:extLst>
            </p:cNvPr>
            <p:cNvSpPr/>
            <p:nvPr/>
          </p:nvSpPr>
          <p:spPr>
            <a:xfrm>
              <a:off x="19160961" y="7592990"/>
              <a:ext cx="289513" cy="86841"/>
            </a:xfrm>
            <a:custGeom>
              <a:avLst/>
              <a:gdLst>
                <a:gd name="connsiteX0" fmla="*/ 285212 w 289513"/>
                <a:gd name="connsiteY0" fmla="*/ 86841 h 86841"/>
                <a:gd name="connsiteX1" fmla="*/ 279127 w 289513"/>
                <a:gd name="connsiteY1" fmla="*/ 80757 h 86841"/>
                <a:gd name="connsiteX2" fmla="*/ 266958 w 289513"/>
                <a:gd name="connsiteY2" fmla="*/ 62503 h 86841"/>
                <a:gd name="connsiteX3" fmla="*/ 215239 w 289513"/>
                <a:gd name="connsiteY3" fmla="*/ 50335 h 86841"/>
                <a:gd name="connsiteX4" fmla="*/ 166564 w 289513"/>
                <a:gd name="connsiteY4" fmla="*/ 29038 h 86841"/>
                <a:gd name="connsiteX5" fmla="*/ 142226 w 289513"/>
                <a:gd name="connsiteY5" fmla="*/ 13827 h 86841"/>
                <a:gd name="connsiteX6" fmla="*/ 96592 w 289513"/>
                <a:gd name="connsiteY6" fmla="*/ 25996 h 86841"/>
                <a:gd name="connsiteX7" fmla="*/ 57043 w 289513"/>
                <a:gd name="connsiteY7" fmla="*/ 32081 h 86841"/>
                <a:gd name="connsiteX8" fmla="*/ 11409 w 289513"/>
                <a:gd name="connsiteY8" fmla="*/ 50335 h 86841"/>
                <a:gd name="connsiteX9" fmla="*/ 2281 w 289513"/>
                <a:gd name="connsiteY9" fmla="*/ 50335 h 86841"/>
                <a:gd name="connsiteX10" fmla="*/ 2281 w 289513"/>
                <a:gd name="connsiteY10" fmla="*/ 41208 h 86841"/>
                <a:gd name="connsiteX11" fmla="*/ 63126 w 289513"/>
                <a:gd name="connsiteY11" fmla="*/ 19912 h 86841"/>
                <a:gd name="connsiteX12" fmla="*/ 90507 w 289513"/>
                <a:gd name="connsiteY12" fmla="*/ 13827 h 86841"/>
                <a:gd name="connsiteX13" fmla="*/ 145267 w 289513"/>
                <a:gd name="connsiteY13" fmla="*/ 1658 h 86841"/>
                <a:gd name="connsiteX14" fmla="*/ 172648 w 289513"/>
                <a:gd name="connsiteY14" fmla="*/ 16870 h 86841"/>
                <a:gd name="connsiteX15" fmla="*/ 212197 w 289513"/>
                <a:gd name="connsiteY15" fmla="*/ 35123 h 86841"/>
                <a:gd name="connsiteX16" fmla="*/ 273042 w 289513"/>
                <a:gd name="connsiteY16" fmla="*/ 50335 h 86841"/>
                <a:gd name="connsiteX17" fmla="*/ 288254 w 289513"/>
                <a:gd name="connsiteY17" fmla="*/ 77715 h 86841"/>
                <a:gd name="connsiteX18" fmla="*/ 285212 w 289513"/>
                <a:gd name="connsiteY18" fmla="*/ 86841 h 86841"/>
                <a:gd name="connsiteX19" fmla="*/ 285212 w 289513"/>
                <a:gd name="connsiteY19" fmla="*/ 86841 h 86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513" h="86841">
                  <a:moveTo>
                    <a:pt x="285212" y="86841"/>
                  </a:moveTo>
                  <a:cubicBezTo>
                    <a:pt x="282169" y="86841"/>
                    <a:pt x="279127" y="83799"/>
                    <a:pt x="279127" y="80757"/>
                  </a:cubicBezTo>
                  <a:cubicBezTo>
                    <a:pt x="279127" y="71630"/>
                    <a:pt x="276084" y="65546"/>
                    <a:pt x="266958" y="62503"/>
                  </a:cubicBezTo>
                  <a:cubicBezTo>
                    <a:pt x="251746" y="50335"/>
                    <a:pt x="227409" y="50335"/>
                    <a:pt x="215239" y="50335"/>
                  </a:cubicBezTo>
                  <a:cubicBezTo>
                    <a:pt x="200028" y="53376"/>
                    <a:pt x="181775" y="41208"/>
                    <a:pt x="166564" y="29038"/>
                  </a:cubicBezTo>
                  <a:cubicBezTo>
                    <a:pt x="157437" y="22954"/>
                    <a:pt x="148311" y="16870"/>
                    <a:pt x="142226" y="13827"/>
                  </a:cubicBezTo>
                  <a:cubicBezTo>
                    <a:pt x="120930" y="10785"/>
                    <a:pt x="108760" y="16870"/>
                    <a:pt x="96592" y="25996"/>
                  </a:cubicBezTo>
                  <a:cubicBezTo>
                    <a:pt x="84422" y="32081"/>
                    <a:pt x="72254" y="41208"/>
                    <a:pt x="57043" y="32081"/>
                  </a:cubicBezTo>
                  <a:cubicBezTo>
                    <a:pt x="35747" y="19912"/>
                    <a:pt x="11409" y="50335"/>
                    <a:pt x="11409" y="50335"/>
                  </a:cubicBezTo>
                  <a:cubicBezTo>
                    <a:pt x="8366" y="53376"/>
                    <a:pt x="5325" y="53376"/>
                    <a:pt x="2281" y="50335"/>
                  </a:cubicBezTo>
                  <a:cubicBezTo>
                    <a:pt x="-760" y="47292"/>
                    <a:pt x="-760" y="44250"/>
                    <a:pt x="2281" y="41208"/>
                  </a:cubicBezTo>
                  <a:cubicBezTo>
                    <a:pt x="2281" y="41208"/>
                    <a:pt x="32704" y="4701"/>
                    <a:pt x="63126" y="19912"/>
                  </a:cubicBezTo>
                  <a:cubicBezTo>
                    <a:pt x="72254" y="22954"/>
                    <a:pt x="78337" y="19912"/>
                    <a:pt x="90507" y="13827"/>
                  </a:cubicBezTo>
                  <a:cubicBezTo>
                    <a:pt x="102677" y="7743"/>
                    <a:pt x="117888" y="-4426"/>
                    <a:pt x="145267" y="1658"/>
                  </a:cubicBezTo>
                  <a:cubicBezTo>
                    <a:pt x="154394" y="1658"/>
                    <a:pt x="163522" y="10785"/>
                    <a:pt x="172648" y="16870"/>
                  </a:cubicBezTo>
                  <a:cubicBezTo>
                    <a:pt x="184816" y="25996"/>
                    <a:pt x="203071" y="38165"/>
                    <a:pt x="212197" y="35123"/>
                  </a:cubicBezTo>
                  <a:cubicBezTo>
                    <a:pt x="227409" y="32081"/>
                    <a:pt x="254790" y="35123"/>
                    <a:pt x="273042" y="50335"/>
                  </a:cubicBezTo>
                  <a:cubicBezTo>
                    <a:pt x="282169" y="56419"/>
                    <a:pt x="288254" y="65546"/>
                    <a:pt x="288254" y="77715"/>
                  </a:cubicBezTo>
                  <a:cubicBezTo>
                    <a:pt x="291295" y="83799"/>
                    <a:pt x="288254" y="86841"/>
                    <a:pt x="285212" y="86841"/>
                  </a:cubicBezTo>
                  <a:cubicBezTo>
                    <a:pt x="285212" y="86841"/>
                    <a:pt x="285212" y="86841"/>
                    <a:pt x="285212" y="86841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1" name="图形 1">
              <a:extLst>
                <a:ext uri="{FF2B5EF4-FFF2-40B4-BE49-F238E27FC236}">
                  <a16:creationId xmlns:a16="http://schemas.microsoft.com/office/drawing/2014/main" id="{A95BE3BD-98E1-4D2B-9F44-46B7EDAF3E16}"/>
                </a:ext>
              </a:extLst>
            </p:cNvPr>
            <p:cNvGrpSpPr/>
            <p:nvPr/>
          </p:nvGrpSpPr>
          <p:grpSpPr>
            <a:xfrm>
              <a:off x="19427581" y="12018085"/>
              <a:ext cx="496225" cy="340732"/>
              <a:chOff x="19427581" y="12018085"/>
              <a:chExt cx="496225" cy="340732"/>
            </a:xfrm>
          </p:grpSpPr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23C09E49-31B9-4A81-B46E-277E63E6045A}"/>
                  </a:ext>
                </a:extLst>
              </p:cNvPr>
              <p:cNvSpPr/>
              <p:nvPr/>
            </p:nvSpPr>
            <p:spPr>
              <a:xfrm>
                <a:off x="19446173" y="12018085"/>
                <a:ext cx="182535" cy="222085"/>
              </a:xfrm>
              <a:custGeom>
                <a:avLst/>
                <a:gdLst>
                  <a:gd name="connsiteX0" fmla="*/ 3042 w 182535"/>
                  <a:gd name="connsiteY0" fmla="*/ 185578 h 222085"/>
                  <a:gd name="connsiteX1" fmla="*/ 0 w 182535"/>
                  <a:gd name="connsiteY1" fmla="*/ 0 h 222085"/>
                  <a:gd name="connsiteX2" fmla="*/ 182535 w 182535"/>
                  <a:gd name="connsiteY2" fmla="*/ 0 h 222085"/>
                  <a:gd name="connsiteX3" fmla="*/ 167324 w 182535"/>
                  <a:gd name="connsiteY3" fmla="*/ 194704 h 222085"/>
                  <a:gd name="connsiteX4" fmla="*/ 15211 w 182535"/>
                  <a:gd name="connsiteY4" fmla="*/ 222085 h 222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535" h="222085">
                    <a:moveTo>
                      <a:pt x="3042" y="185578"/>
                    </a:moveTo>
                    <a:lnTo>
                      <a:pt x="0" y="0"/>
                    </a:lnTo>
                    <a:lnTo>
                      <a:pt x="182535" y="0"/>
                    </a:lnTo>
                    <a:lnTo>
                      <a:pt x="167324" y="194704"/>
                    </a:lnTo>
                    <a:lnTo>
                      <a:pt x="15211" y="222085"/>
                    </a:ln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77F841FB-5226-454F-BDD9-05D54809EE5A}"/>
                  </a:ext>
                </a:extLst>
              </p:cNvPr>
              <p:cNvSpPr/>
              <p:nvPr/>
            </p:nvSpPr>
            <p:spPr>
              <a:xfrm>
                <a:off x="19427581" y="12158029"/>
                <a:ext cx="496224" cy="158197"/>
              </a:xfrm>
              <a:custGeom>
                <a:avLst/>
                <a:gdLst>
                  <a:gd name="connsiteX0" fmla="*/ 9464 w 496224"/>
                  <a:gd name="connsiteY0" fmla="*/ 45634 h 158197"/>
                  <a:gd name="connsiteX1" fmla="*/ 195043 w 496224"/>
                  <a:gd name="connsiteY1" fmla="*/ 0 h 158197"/>
                  <a:gd name="connsiteX2" fmla="*/ 328901 w 496224"/>
                  <a:gd name="connsiteY2" fmla="*/ 79099 h 158197"/>
                  <a:gd name="connsiteX3" fmla="*/ 496225 w 496224"/>
                  <a:gd name="connsiteY3" fmla="*/ 158198 h 158197"/>
                  <a:gd name="connsiteX4" fmla="*/ 9464 w 496224"/>
                  <a:gd name="connsiteY4" fmla="*/ 158198 h 158197"/>
                  <a:gd name="connsiteX5" fmla="*/ 9464 w 496224"/>
                  <a:gd name="connsiteY5" fmla="*/ 45634 h 158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6224" h="158197">
                    <a:moveTo>
                      <a:pt x="9464" y="45634"/>
                    </a:moveTo>
                    <a:cubicBezTo>
                      <a:pt x="9464" y="45634"/>
                      <a:pt x="134198" y="63888"/>
                      <a:pt x="195043" y="0"/>
                    </a:cubicBezTo>
                    <a:cubicBezTo>
                      <a:pt x="195043" y="0"/>
                      <a:pt x="283267" y="69971"/>
                      <a:pt x="328901" y="79099"/>
                    </a:cubicBezTo>
                    <a:cubicBezTo>
                      <a:pt x="374535" y="88225"/>
                      <a:pt x="484057" y="85183"/>
                      <a:pt x="496225" y="158198"/>
                    </a:cubicBezTo>
                    <a:lnTo>
                      <a:pt x="9464" y="158198"/>
                    </a:lnTo>
                    <a:cubicBezTo>
                      <a:pt x="9464" y="155155"/>
                      <a:pt x="-11830" y="94310"/>
                      <a:pt x="9464" y="45634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2BE86B80-DCF4-44B9-8A23-BEC206ABE46B}"/>
                  </a:ext>
                </a:extLst>
              </p:cNvPr>
              <p:cNvSpPr/>
              <p:nvPr/>
            </p:nvSpPr>
            <p:spPr>
              <a:xfrm>
                <a:off x="19437046" y="12313184"/>
                <a:ext cx="486760" cy="45633"/>
              </a:xfrm>
              <a:custGeom>
                <a:avLst/>
                <a:gdLst>
                  <a:gd name="connsiteX0" fmla="*/ -1 w 486760"/>
                  <a:gd name="connsiteY0" fmla="*/ 0 h 45633"/>
                  <a:gd name="connsiteX1" fmla="*/ 486760 w 486760"/>
                  <a:gd name="connsiteY1" fmla="*/ 0 h 45633"/>
                  <a:gd name="connsiteX2" fmla="*/ 486760 w 486760"/>
                  <a:gd name="connsiteY2" fmla="*/ 45634 h 45633"/>
                  <a:gd name="connsiteX3" fmla="*/ -1 w 486760"/>
                  <a:gd name="connsiteY3" fmla="*/ 45634 h 45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6760" h="45633">
                    <a:moveTo>
                      <a:pt x="-1" y="0"/>
                    </a:moveTo>
                    <a:lnTo>
                      <a:pt x="486760" y="0"/>
                    </a:lnTo>
                    <a:lnTo>
                      <a:pt x="486760" y="45634"/>
                    </a:lnTo>
                    <a:lnTo>
                      <a:pt x="-1" y="45634"/>
                    </a:lnTo>
                    <a:close/>
                  </a:path>
                </a:pathLst>
              </a:custGeom>
              <a:solidFill>
                <a:srgbClr val="38333D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D34ED102-121F-4D25-B73F-85DC661DA11B}"/>
                  </a:ext>
                </a:extLst>
              </p:cNvPr>
              <p:cNvSpPr/>
              <p:nvPr/>
            </p:nvSpPr>
            <p:spPr>
              <a:xfrm>
                <a:off x="19427919" y="12146621"/>
                <a:ext cx="200029" cy="63126"/>
              </a:xfrm>
              <a:custGeom>
                <a:avLst/>
                <a:gdLst>
                  <a:gd name="connsiteX0" fmla="*/ 42592 w 200029"/>
                  <a:gd name="connsiteY0" fmla="*/ 63127 h 63126"/>
                  <a:gd name="connsiteX1" fmla="*/ 6085 w 200029"/>
                  <a:gd name="connsiteY1" fmla="*/ 60084 h 63126"/>
                  <a:gd name="connsiteX2" fmla="*/ 0 w 200029"/>
                  <a:gd name="connsiteY2" fmla="*/ 54000 h 63126"/>
                  <a:gd name="connsiteX3" fmla="*/ 6085 w 200029"/>
                  <a:gd name="connsiteY3" fmla="*/ 47916 h 63126"/>
                  <a:gd name="connsiteX4" fmla="*/ 188620 w 200029"/>
                  <a:gd name="connsiteY4" fmla="*/ 2282 h 63126"/>
                  <a:gd name="connsiteX5" fmla="*/ 197746 w 200029"/>
                  <a:gd name="connsiteY5" fmla="*/ 2282 h 63126"/>
                  <a:gd name="connsiteX6" fmla="*/ 197746 w 200029"/>
                  <a:gd name="connsiteY6" fmla="*/ 11408 h 63126"/>
                  <a:gd name="connsiteX7" fmla="*/ 42592 w 200029"/>
                  <a:gd name="connsiteY7" fmla="*/ 63127 h 63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0029" h="63126">
                    <a:moveTo>
                      <a:pt x="42592" y="63127"/>
                    </a:moveTo>
                    <a:cubicBezTo>
                      <a:pt x="21296" y="63127"/>
                      <a:pt x="9126" y="60084"/>
                      <a:pt x="6085" y="60084"/>
                    </a:cubicBezTo>
                    <a:cubicBezTo>
                      <a:pt x="3043" y="60084"/>
                      <a:pt x="0" y="57042"/>
                      <a:pt x="0" y="54000"/>
                    </a:cubicBezTo>
                    <a:cubicBezTo>
                      <a:pt x="0" y="50957"/>
                      <a:pt x="3043" y="47916"/>
                      <a:pt x="6085" y="47916"/>
                    </a:cubicBezTo>
                    <a:cubicBezTo>
                      <a:pt x="6085" y="47916"/>
                      <a:pt x="118649" y="63127"/>
                      <a:pt x="188620" y="2282"/>
                    </a:cubicBezTo>
                    <a:cubicBezTo>
                      <a:pt x="191662" y="-761"/>
                      <a:pt x="194705" y="-761"/>
                      <a:pt x="197746" y="2282"/>
                    </a:cubicBezTo>
                    <a:cubicBezTo>
                      <a:pt x="200790" y="5323"/>
                      <a:pt x="200790" y="8366"/>
                      <a:pt x="197746" y="11408"/>
                    </a:cubicBezTo>
                    <a:cubicBezTo>
                      <a:pt x="149071" y="57042"/>
                      <a:pt x="82141" y="63127"/>
                      <a:pt x="42592" y="6312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40996941-568D-4167-8677-D002F9C0DD01}"/>
                  </a:ext>
                </a:extLst>
              </p:cNvPr>
              <p:cNvSpPr/>
              <p:nvPr/>
            </p:nvSpPr>
            <p:spPr>
              <a:xfrm>
                <a:off x="19626426" y="12174001"/>
                <a:ext cx="41070" cy="41830"/>
              </a:xfrm>
              <a:custGeom>
                <a:avLst/>
                <a:gdLst>
                  <a:gd name="connsiteX0" fmla="*/ 5324 w 41070"/>
                  <a:gd name="connsiteY0" fmla="*/ 41831 h 41830"/>
                  <a:gd name="connsiteX1" fmla="*/ 2283 w 41070"/>
                  <a:gd name="connsiteY1" fmla="*/ 38788 h 41830"/>
                  <a:gd name="connsiteX2" fmla="*/ 2283 w 41070"/>
                  <a:gd name="connsiteY2" fmla="*/ 29662 h 41830"/>
                  <a:gd name="connsiteX3" fmla="*/ 29662 w 41070"/>
                  <a:gd name="connsiteY3" fmla="*/ 2282 h 41830"/>
                  <a:gd name="connsiteX4" fmla="*/ 38788 w 41070"/>
                  <a:gd name="connsiteY4" fmla="*/ 2282 h 41830"/>
                  <a:gd name="connsiteX5" fmla="*/ 38788 w 41070"/>
                  <a:gd name="connsiteY5" fmla="*/ 11408 h 41830"/>
                  <a:gd name="connsiteX6" fmla="*/ 11409 w 41070"/>
                  <a:gd name="connsiteY6" fmla="*/ 38788 h 41830"/>
                  <a:gd name="connsiteX7" fmla="*/ 5324 w 41070"/>
                  <a:gd name="connsiteY7" fmla="*/ 41831 h 41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070" h="41830">
                    <a:moveTo>
                      <a:pt x="5324" y="41831"/>
                    </a:moveTo>
                    <a:cubicBezTo>
                      <a:pt x="5324" y="41831"/>
                      <a:pt x="2283" y="41831"/>
                      <a:pt x="2283" y="38788"/>
                    </a:cubicBezTo>
                    <a:cubicBezTo>
                      <a:pt x="-761" y="35747"/>
                      <a:pt x="-761" y="32704"/>
                      <a:pt x="2283" y="29662"/>
                    </a:cubicBezTo>
                    <a:lnTo>
                      <a:pt x="29662" y="2282"/>
                    </a:lnTo>
                    <a:cubicBezTo>
                      <a:pt x="32705" y="-761"/>
                      <a:pt x="35747" y="-761"/>
                      <a:pt x="38788" y="2282"/>
                    </a:cubicBezTo>
                    <a:cubicBezTo>
                      <a:pt x="41831" y="5324"/>
                      <a:pt x="41831" y="8366"/>
                      <a:pt x="38788" y="11408"/>
                    </a:cubicBezTo>
                    <a:lnTo>
                      <a:pt x="11409" y="38788"/>
                    </a:lnTo>
                    <a:cubicBezTo>
                      <a:pt x="8366" y="38788"/>
                      <a:pt x="5324" y="41831"/>
                      <a:pt x="5324" y="4183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09FFC0D9-15C5-400C-A4E3-6016E6A1851F}"/>
                  </a:ext>
                </a:extLst>
              </p:cNvPr>
              <p:cNvSpPr/>
              <p:nvPr/>
            </p:nvSpPr>
            <p:spPr>
              <a:xfrm>
                <a:off x="19662933" y="12198338"/>
                <a:ext cx="38028" cy="41831"/>
              </a:xfrm>
              <a:custGeom>
                <a:avLst/>
                <a:gdLst>
                  <a:gd name="connsiteX0" fmla="*/ 5325 w 38028"/>
                  <a:gd name="connsiteY0" fmla="*/ 41832 h 41831"/>
                  <a:gd name="connsiteX1" fmla="*/ 2281 w 38028"/>
                  <a:gd name="connsiteY1" fmla="*/ 38789 h 41831"/>
                  <a:gd name="connsiteX2" fmla="*/ 2281 w 38028"/>
                  <a:gd name="connsiteY2" fmla="*/ 29662 h 41831"/>
                  <a:gd name="connsiteX3" fmla="*/ 26621 w 38028"/>
                  <a:gd name="connsiteY3" fmla="*/ 2282 h 41831"/>
                  <a:gd name="connsiteX4" fmla="*/ 35747 w 38028"/>
                  <a:gd name="connsiteY4" fmla="*/ 2282 h 41831"/>
                  <a:gd name="connsiteX5" fmla="*/ 35747 w 38028"/>
                  <a:gd name="connsiteY5" fmla="*/ 11409 h 41831"/>
                  <a:gd name="connsiteX6" fmla="*/ 11409 w 38028"/>
                  <a:gd name="connsiteY6" fmla="*/ 38789 h 41831"/>
                  <a:gd name="connsiteX7" fmla="*/ 5325 w 38028"/>
                  <a:gd name="connsiteY7" fmla="*/ 41832 h 41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028" h="41831">
                    <a:moveTo>
                      <a:pt x="5325" y="41832"/>
                    </a:moveTo>
                    <a:cubicBezTo>
                      <a:pt x="5325" y="41832"/>
                      <a:pt x="2281" y="41832"/>
                      <a:pt x="2281" y="38789"/>
                    </a:cubicBezTo>
                    <a:cubicBezTo>
                      <a:pt x="-760" y="35747"/>
                      <a:pt x="-760" y="32704"/>
                      <a:pt x="2281" y="29662"/>
                    </a:cubicBezTo>
                    <a:lnTo>
                      <a:pt x="26621" y="2282"/>
                    </a:lnTo>
                    <a:cubicBezTo>
                      <a:pt x="29662" y="-761"/>
                      <a:pt x="32704" y="-761"/>
                      <a:pt x="35747" y="2282"/>
                    </a:cubicBezTo>
                    <a:cubicBezTo>
                      <a:pt x="38789" y="5324"/>
                      <a:pt x="38789" y="8367"/>
                      <a:pt x="35747" y="11409"/>
                    </a:cubicBezTo>
                    <a:lnTo>
                      <a:pt x="11409" y="38789"/>
                    </a:lnTo>
                    <a:cubicBezTo>
                      <a:pt x="8366" y="41832"/>
                      <a:pt x="8366" y="41832"/>
                      <a:pt x="5325" y="4183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32D961B2-D2F8-4EC8-8A46-7A2F19F7677B}"/>
                </a:ext>
              </a:extLst>
            </p:cNvPr>
            <p:cNvSpPr/>
            <p:nvPr/>
          </p:nvSpPr>
          <p:spPr>
            <a:xfrm>
              <a:off x="18101497" y="9806367"/>
              <a:ext cx="1672059" cy="2290816"/>
            </a:xfrm>
            <a:custGeom>
              <a:avLst/>
              <a:gdLst>
                <a:gd name="connsiteX0" fmla="*/ 1664113 w 1672059"/>
                <a:gd name="connsiteY0" fmla="*/ 21295 h 2290816"/>
                <a:gd name="connsiteX1" fmla="*/ 1651943 w 1672059"/>
                <a:gd name="connsiteY1" fmla="*/ 1402478 h 2290816"/>
                <a:gd name="connsiteX2" fmla="*/ 1581972 w 1672059"/>
                <a:gd name="connsiteY2" fmla="*/ 2290817 h 2290816"/>
                <a:gd name="connsiteX3" fmla="*/ 1286873 w 1672059"/>
                <a:gd name="connsiteY3" fmla="*/ 2290817 h 2290816"/>
                <a:gd name="connsiteX4" fmla="*/ 1247324 w 1672059"/>
                <a:gd name="connsiteY4" fmla="*/ 1426817 h 2290816"/>
                <a:gd name="connsiteX5" fmla="*/ 1165183 w 1672059"/>
                <a:gd name="connsiteY5" fmla="*/ 501972 h 2290816"/>
                <a:gd name="connsiteX6" fmla="*/ 915718 w 1672059"/>
                <a:gd name="connsiteY6" fmla="*/ 1454197 h 2290816"/>
                <a:gd name="connsiteX7" fmla="*/ 118647 w 1672059"/>
                <a:gd name="connsiteY7" fmla="*/ 1731042 h 2290816"/>
                <a:gd name="connsiteX8" fmla="*/ 0 w 1672059"/>
                <a:gd name="connsiteY8" fmla="*/ 1365972 h 2290816"/>
                <a:gd name="connsiteX9" fmla="*/ 559774 w 1672059"/>
                <a:gd name="connsiteY9" fmla="*/ 1146929 h 2290816"/>
                <a:gd name="connsiteX10" fmla="*/ 638873 w 1672059"/>
                <a:gd name="connsiteY10" fmla="*/ 0 h 2290816"/>
                <a:gd name="connsiteX11" fmla="*/ 1664113 w 1672059"/>
                <a:gd name="connsiteY11" fmla="*/ 21295 h 2290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72059" h="2290816">
                  <a:moveTo>
                    <a:pt x="1664113" y="21295"/>
                  </a:moveTo>
                  <a:cubicBezTo>
                    <a:pt x="1664113" y="21295"/>
                    <a:pt x="1688451" y="1092169"/>
                    <a:pt x="1651943" y="1402478"/>
                  </a:cubicBezTo>
                  <a:cubicBezTo>
                    <a:pt x="1621521" y="1673239"/>
                    <a:pt x="1581972" y="2290817"/>
                    <a:pt x="1581972" y="2290817"/>
                  </a:cubicBezTo>
                  <a:lnTo>
                    <a:pt x="1286873" y="2290817"/>
                  </a:lnTo>
                  <a:cubicBezTo>
                    <a:pt x="1286873" y="2290817"/>
                    <a:pt x="1253409" y="1524168"/>
                    <a:pt x="1247324" y="1426817"/>
                  </a:cubicBezTo>
                  <a:cubicBezTo>
                    <a:pt x="1241239" y="1286873"/>
                    <a:pt x="1180394" y="532394"/>
                    <a:pt x="1165183" y="501972"/>
                  </a:cubicBezTo>
                  <a:cubicBezTo>
                    <a:pt x="1153013" y="477633"/>
                    <a:pt x="1031323" y="1265577"/>
                    <a:pt x="915718" y="1454197"/>
                  </a:cubicBezTo>
                  <a:cubicBezTo>
                    <a:pt x="882254" y="1508957"/>
                    <a:pt x="118647" y="1731042"/>
                    <a:pt x="118647" y="1731042"/>
                  </a:cubicBezTo>
                  <a:lnTo>
                    <a:pt x="0" y="1365972"/>
                  </a:lnTo>
                  <a:lnTo>
                    <a:pt x="559774" y="1146929"/>
                  </a:lnTo>
                  <a:cubicBezTo>
                    <a:pt x="559774" y="1146929"/>
                    <a:pt x="593239" y="100394"/>
                    <a:pt x="638873" y="0"/>
                  </a:cubicBezTo>
                  <a:cubicBezTo>
                    <a:pt x="1338592" y="33464"/>
                    <a:pt x="1664113" y="21295"/>
                    <a:pt x="1664113" y="21295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6FD92B0D-6300-4E34-A05C-61D4D4C56D15}"/>
                </a:ext>
              </a:extLst>
            </p:cNvPr>
            <p:cNvSpPr/>
            <p:nvPr/>
          </p:nvSpPr>
          <p:spPr>
            <a:xfrm>
              <a:off x="19263638" y="9952395"/>
              <a:ext cx="69971" cy="365070"/>
            </a:xfrm>
            <a:custGeom>
              <a:avLst/>
              <a:gdLst>
                <a:gd name="connsiteX0" fmla="*/ 6083 w 69971"/>
                <a:gd name="connsiteY0" fmla="*/ 365070 h 365070"/>
                <a:gd name="connsiteX1" fmla="*/ 6083 w 69971"/>
                <a:gd name="connsiteY1" fmla="*/ 365070 h 365070"/>
                <a:gd name="connsiteX2" fmla="*/ 0 w 69971"/>
                <a:gd name="connsiteY2" fmla="*/ 355944 h 365070"/>
                <a:gd name="connsiteX3" fmla="*/ 57802 w 69971"/>
                <a:gd name="connsiteY3" fmla="*/ 6085 h 365070"/>
                <a:gd name="connsiteX4" fmla="*/ 63887 w 69971"/>
                <a:gd name="connsiteY4" fmla="*/ 0 h 365070"/>
                <a:gd name="connsiteX5" fmla="*/ 63887 w 69971"/>
                <a:gd name="connsiteY5" fmla="*/ 0 h 365070"/>
                <a:gd name="connsiteX6" fmla="*/ 69971 w 69971"/>
                <a:gd name="connsiteY6" fmla="*/ 6085 h 365070"/>
                <a:gd name="connsiteX7" fmla="*/ 12168 w 69971"/>
                <a:gd name="connsiteY7" fmla="*/ 358986 h 365070"/>
                <a:gd name="connsiteX8" fmla="*/ 6083 w 69971"/>
                <a:gd name="connsiteY8" fmla="*/ 365070 h 36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971" h="365070">
                  <a:moveTo>
                    <a:pt x="6083" y="365070"/>
                  </a:moveTo>
                  <a:cubicBezTo>
                    <a:pt x="3042" y="365070"/>
                    <a:pt x="3042" y="365070"/>
                    <a:pt x="6083" y="365070"/>
                  </a:cubicBezTo>
                  <a:cubicBezTo>
                    <a:pt x="0" y="362028"/>
                    <a:pt x="0" y="358986"/>
                    <a:pt x="0" y="355944"/>
                  </a:cubicBezTo>
                  <a:cubicBezTo>
                    <a:pt x="48675" y="243380"/>
                    <a:pt x="57802" y="9126"/>
                    <a:pt x="57802" y="6085"/>
                  </a:cubicBezTo>
                  <a:cubicBezTo>
                    <a:pt x="57802" y="3042"/>
                    <a:pt x="60845" y="0"/>
                    <a:pt x="63887" y="0"/>
                  </a:cubicBezTo>
                  <a:cubicBezTo>
                    <a:pt x="63887" y="0"/>
                    <a:pt x="63887" y="0"/>
                    <a:pt x="63887" y="0"/>
                  </a:cubicBezTo>
                  <a:cubicBezTo>
                    <a:pt x="66928" y="0"/>
                    <a:pt x="69971" y="3042"/>
                    <a:pt x="69971" y="6085"/>
                  </a:cubicBezTo>
                  <a:cubicBezTo>
                    <a:pt x="69971" y="15211"/>
                    <a:pt x="60845" y="243380"/>
                    <a:pt x="12168" y="358986"/>
                  </a:cubicBezTo>
                  <a:cubicBezTo>
                    <a:pt x="9126" y="362028"/>
                    <a:pt x="6083" y="365070"/>
                    <a:pt x="6083" y="365070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BA974EE2-6B94-4E35-95CB-AB629327DDEF}"/>
                </a:ext>
              </a:extLst>
            </p:cNvPr>
            <p:cNvSpPr/>
            <p:nvPr/>
          </p:nvSpPr>
          <p:spPr>
            <a:xfrm>
              <a:off x="19289758" y="9882424"/>
              <a:ext cx="156415" cy="355943"/>
            </a:xfrm>
            <a:custGeom>
              <a:avLst/>
              <a:gdLst>
                <a:gd name="connsiteX0" fmla="*/ 7345 w 156415"/>
                <a:gd name="connsiteY0" fmla="*/ 355943 h 355943"/>
                <a:gd name="connsiteX1" fmla="*/ 1260 w 156415"/>
                <a:gd name="connsiteY1" fmla="*/ 352901 h 355943"/>
                <a:gd name="connsiteX2" fmla="*/ 4303 w 156415"/>
                <a:gd name="connsiteY2" fmla="*/ 343774 h 355943"/>
                <a:gd name="connsiteX3" fmla="*/ 110782 w 156415"/>
                <a:gd name="connsiteY3" fmla="*/ 267718 h 355943"/>
                <a:gd name="connsiteX4" fmla="*/ 144246 w 156415"/>
                <a:gd name="connsiteY4" fmla="*/ 6084 h 355943"/>
                <a:gd name="connsiteX5" fmla="*/ 150331 w 156415"/>
                <a:gd name="connsiteY5" fmla="*/ 0 h 355943"/>
                <a:gd name="connsiteX6" fmla="*/ 156416 w 156415"/>
                <a:gd name="connsiteY6" fmla="*/ 6084 h 355943"/>
                <a:gd name="connsiteX7" fmla="*/ 122950 w 156415"/>
                <a:gd name="connsiteY7" fmla="*/ 273803 h 355943"/>
                <a:gd name="connsiteX8" fmla="*/ 13430 w 156415"/>
                <a:gd name="connsiteY8" fmla="*/ 352901 h 355943"/>
                <a:gd name="connsiteX9" fmla="*/ 7345 w 156415"/>
                <a:gd name="connsiteY9" fmla="*/ 355943 h 35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415" h="355943">
                  <a:moveTo>
                    <a:pt x="7345" y="355943"/>
                  </a:moveTo>
                  <a:cubicBezTo>
                    <a:pt x="4303" y="355943"/>
                    <a:pt x="4303" y="355943"/>
                    <a:pt x="1260" y="352901"/>
                  </a:cubicBezTo>
                  <a:cubicBezTo>
                    <a:pt x="-1782" y="349859"/>
                    <a:pt x="1260" y="346817"/>
                    <a:pt x="4303" y="343774"/>
                  </a:cubicBezTo>
                  <a:cubicBezTo>
                    <a:pt x="43852" y="319437"/>
                    <a:pt x="101654" y="276844"/>
                    <a:pt x="110782" y="267718"/>
                  </a:cubicBezTo>
                  <a:cubicBezTo>
                    <a:pt x="119908" y="255549"/>
                    <a:pt x="135120" y="100394"/>
                    <a:pt x="144246" y="6084"/>
                  </a:cubicBezTo>
                  <a:cubicBezTo>
                    <a:pt x="144246" y="3042"/>
                    <a:pt x="147288" y="0"/>
                    <a:pt x="150331" y="0"/>
                  </a:cubicBezTo>
                  <a:cubicBezTo>
                    <a:pt x="153372" y="0"/>
                    <a:pt x="156416" y="3042"/>
                    <a:pt x="156416" y="6084"/>
                  </a:cubicBezTo>
                  <a:cubicBezTo>
                    <a:pt x="153372" y="48675"/>
                    <a:pt x="132076" y="258592"/>
                    <a:pt x="122950" y="273803"/>
                  </a:cubicBezTo>
                  <a:cubicBezTo>
                    <a:pt x="110782" y="289014"/>
                    <a:pt x="22556" y="346817"/>
                    <a:pt x="13430" y="352901"/>
                  </a:cubicBezTo>
                  <a:cubicBezTo>
                    <a:pt x="10386" y="355943"/>
                    <a:pt x="10386" y="355943"/>
                    <a:pt x="7345" y="355943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8A7ABA3B-6779-45EB-906E-BBC93ABE60A4}"/>
                </a:ext>
              </a:extLst>
            </p:cNvPr>
            <p:cNvSpPr/>
            <p:nvPr/>
          </p:nvSpPr>
          <p:spPr>
            <a:xfrm>
              <a:off x="19129778" y="8139212"/>
              <a:ext cx="249465" cy="257689"/>
            </a:xfrm>
            <a:custGeom>
              <a:avLst/>
              <a:gdLst>
                <a:gd name="connsiteX0" fmla="*/ 249465 w 249465"/>
                <a:gd name="connsiteY0" fmla="*/ 39549 h 257689"/>
                <a:gd name="connsiteX1" fmla="*/ 243380 w 249465"/>
                <a:gd name="connsiteY1" fmla="*/ 212958 h 257689"/>
                <a:gd name="connsiteX2" fmla="*/ 0 w 249465"/>
                <a:gd name="connsiteY2" fmla="*/ 203831 h 257689"/>
                <a:gd name="connsiteX3" fmla="*/ 15211 w 249465"/>
                <a:gd name="connsiteY3" fmla="*/ 0 h 257689"/>
                <a:gd name="connsiteX4" fmla="*/ 249465 w 249465"/>
                <a:gd name="connsiteY4" fmla="*/ 39549 h 257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465" h="257689">
                  <a:moveTo>
                    <a:pt x="249465" y="39549"/>
                  </a:moveTo>
                  <a:cubicBezTo>
                    <a:pt x="249465" y="39549"/>
                    <a:pt x="243380" y="139944"/>
                    <a:pt x="243380" y="212958"/>
                  </a:cubicBezTo>
                  <a:cubicBezTo>
                    <a:pt x="243380" y="212958"/>
                    <a:pt x="149071" y="319437"/>
                    <a:pt x="0" y="203831"/>
                  </a:cubicBezTo>
                  <a:cubicBezTo>
                    <a:pt x="0" y="142986"/>
                    <a:pt x="12170" y="63888"/>
                    <a:pt x="15211" y="0"/>
                  </a:cubicBezTo>
                  <a:cubicBezTo>
                    <a:pt x="15211" y="0"/>
                    <a:pt x="197746" y="51719"/>
                    <a:pt x="249465" y="39549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7A56D28A-0918-4178-AEED-848B4F8335AE}"/>
                </a:ext>
              </a:extLst>
            </p:cNvPr>
            <p:cNvSpPr/>
            <p:nvPr/>
          </p:nvSpPr>
          <p:spPr>
            <a:xfrm>
              <a:off x="18719074" y="8303494"/>
              <a:ext cx="1068646" cy="1563534"/>
            </a:xfrm>
            <a:custGeom>
              <a:avLst/>
              <a:gdLst>
                <a:gd name="connsiteX0" fmla="*/ 395493 w 1068646"/>
                <a:gd name="connsiteY0" fmla="*/ 0 h 1563534"/>
                <a:gd name="connsiteX1" fmla="*/ 684507 w 1068646"/>
                <a:gd name="connsiteY1" fmla="*/ 0 h 1563534"/>
                <a:gd name="connsiteX2" fmla="*/ 982648 w 1068646"/>
                <a:gd name="connsiteY2" fmla="*/ 130817 h 1563534"/>
                <a:gd name="connsiteX3" fmla="*/ 1067830 w 1068646"/>
                <a:gd name="connsiteY3" fmla="*/ 1533296 h 1563534"/>
                <a:gd name="connsiteX4" fmla="*/ 0 w 1068646"/>
                <a:gd name="connsiteY4" fmla="*/ 1508958 h 1563534"/>
                <a:gd name="connsiteX5" fmla="*/ 115605 w 1068646"/>
                <a:gd name="connsiteY5" fmla="*/ 103436 h 1563534"/>
                <a:gd name="connsiteX6" fmla="*/ 395493 w 1068646"/>
                <a:gd name="connsiteY6" fmla="*/ 0 h 1563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8646" h="1563534">
                  <a:moveTo>
                    <a:pt x="395493" y="0"/>
                  </a:moveTo>
                  <a:cubicBezTo>
                    <a:pt x="395493" y="0"/>
                    <a:pt x="568902" y="54761"/>
                    <a:pt x="684507" y="0"/>
                  </a:cubicBezTo>
                  <a:cubicBezTo>
                    <a:pt x="684507" y="0"/>
                    <a:pt x="958310" y="97352"/>
                    <a:pt x="982648" y="130817"/>
                  </a:cubicBezTo>
                  <a:cubicBezTo>
                    <a:pt x="1006985" y="161240"/>
                    <a:pt x="1076959" y="1466366"/>
                    <a:pt x="1067830" y="1533296"/>
                  </a:cubicBezTo>
                  <a:cubicBezTo>
                    <a:pt x="1067830" y="1533296"/>
                    <a:pt x="578028" y="1615436"/>
                    <a:pt x="0" y="1508958"/>
                  </a:cubicBezTo>
                  <a:cubicBezTo>
                    <a:pt x="0" y="1153014"/>
                    <a:pt x="73015" y="133859"/>
                    <a:pt x="115605" y="103436"/>
                  </a:cubicBezTo>
                  <a:cubicBezTo>
                    <a:pt x="158198" y="73014"/>
                    <a:pt x="395493" y="0"/>
                    <a:pt x="395493" y="0"/>
                  </a:cubicBezTo>
                  <a:close/>
                </a:path>
              </a:pathLst>
            </a:custGeom>
            <a:solidFill>
              <a:srgbClr val="F1DDBA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03C60978-1CCF-42FF-87B9-90A26D8CA698}"/>
                </a:ext>
              </a:extLst>
            </p:cNvPr>
            <p:cNvSpPr/>
            <p:nvPr/>
          </p:nvSpPr>
          <p:spPr>
            <a:xfrm>
              <a:off x="18670399" y="8303494"/>
              <a:ext cx="518575" cy="1585013"/>
            </a:xfrm>
            <a:custGeom>
              <a:avLst/>
              <a:gdLst>
                <a:gd name="connsiteX0" fmla="*/ 444168 w 518575"/>
                <a:gd name="connsiteY0" fmla="*/ 0 h 1585013"/>
                <a:gd name="connsiteX1" fmla="*/ 127773 w 518575"/>
                <a:gd name="connsiteY1" fmla="*/ 94310 h 1585013"/>
                <a:gd name="connsiteX2" fmla="*/ 0 w 518575"/>
                <a:gd name="connsiteY2" fmla="*/ 1521126 h 1585013"/>
                <a:gd name="connsiteX3" fmla="*/ 492844 w 518575"/>
                <a:gd name="connsiteY3" fmla="*/ 1585014 h 1585013"/>
                <a:gd name="connsiteX4" fmla="*/ 444168 w 518575"/>
                <a:gd name="connsiteY4" fmla="*/ 0 h 158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8575" h="1585013">
                  <a:moveTo>
                    <a:pt x="444168" y="0"/>
                  </a:moveTo>
                  <a:cubicBezTo>
                    <a:pt x="444168" y="0"/>
                    <a:pt x="191662" y="79098"/>
                    <a:pt x="127773" y="94310"/>
                  </a:cubicBezTo>
                  <a:cubicBezTo>
                    <a:pt x="63887" y="109521"/>
                    <a:pt x="0" y="1521126"/>
                    <a:pt x="0" y="1521126"/>
                  </a:cubicBezTo>
                  <a:cubicBezTo>
                    <a:pt x="0" y="1521126"/>
                    <a:pt x="365070" y="1578930"/>
                    <a:pt x="492844" y="1585014"/>
                  </a:cubicBezTo>
                  <a:cubicBezTo>
                    <a:pt x="489802" y="1585014"/>
                    <a:pt x="578028" y="456338"/>
                    <a:pt x="444168" y="0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9F694713-1692-4503-B1D5-577F43C6A244}"/>
                </a:ext>
              </a:extLst>
            </p:cNvPr>
            <p:cNvSpPr/>
            <p:nvPr/>
          </p:nvSpPr>
          <p:spPr>
            <a:xfrm>
              <a:off x="18664314" y="10947212"/>
              <a:ext cx="129034" cy="69971"/>
            </a:xfrm>
            <a:custGeom>
              <a:avLst/>
              <a:gdLst>
                <a:gd name="connsiteX0" fmla="*/ 27379 w 129034"/>
                <a:gd name="connsiteY0" fmla="*/ 69971 h 69971"/>
                <a:gd name="connsiteX1" fmla="*/ 21296 w 129034"/>
                <a:gd name="connsiteY1" fmla="*/ 66929 h 69971"/>
                <a:gd name="connsiteX2" fmla="*/ 0 w 129034"/>
                <a:gd name="connsiteY2" fmla="*/ 9126 h 69971"/>
                <a:gd name="connsiteX3" fmla="*/ 0 w 129034"/>
                <a:gd name="connsiteY3" fmla="*/ 3042 h 69971"/>
                <a:gd name="connsiteX4" fmla="*/ 6085 w 129034"/>
                <a:gd name="connsiteY4" fmla="*/ 0 h 69971"/>
                <a:gd name="connsiteX5" fmla="*/ 124732 w 129034"/>
                <a:gd name="connsiteY5" fmla="*/ 36506 h 69971"/>
                <a:gd name="connsiteX6" fmla="*/ 127775 w 129034"/>
                <a:gd name="connsiteY6" fmla="*/ 42591 h 69971"/>
                <a:gd name="connsiteX7" fmla="*/ 121690 w 129034"/>
                <a:gd name="connsiteY7" fmla="*/ 45634 h 69971"/>
                <a:gd name="connsiteX8" fmla="*/ 15211 w 129034"/>
                <a:gd name="connsiteY8" fmla="*/ 12169 h 69971"/>
                <a:gd name="connsiteX9" fmla="*/ 33464 w 129034"/>
                <a:gd name="connsiteY9" fmla="*/ 57803 h 69971"/>
                <a:gd name="connsiteX10" fmla="*/ 27379 w 129034"/>
                <a:gd name="connsiteY10" fmla="*/ 69971 h 69971"/>
                <a:gd name="connsiteX11" fmla="*/ 27379 w 129034"/>
                <a:gd name="connsiteY11" fmla="*/ 69971 h 69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034" h="69971">
                  <a:moveTo>
                    <a:pt x="27379" y="69971"/>
                  </a:moveTo>
                  <a:cubicBezTo>
                    <a:pt x="24338" y="69971"/>
                    <a:pt x="24338" y="69971"/>
                    <a:pt x="21296" y="66929"/>
                  </a:cubicBezTo>
                  <a:lnTo>
                    <a:pt x="0" y="9126"/>
                  </a:lnTo>
                  <a:cubicBezTo>
                    <a:pt x="0" y="6084"/>
                    <a:pt x="0" y="6084"/>
                    <a:pt x="0" y="3042"/>
                  </a:cubicBezTo>
                  <a:cubicBezTo>
                    <a:pt x="0" y="0"/>
                    <a:pt x="3042" y="0"/>
                    <a:pt x="6085" y="0"/>
                  </a:cubicBezTo>
                  <a:lnTo>
                    <a:pt x="124732" y="36506"/>
                  </a:lnTo>
                  <a:cubicBezTo>
                    <a:pt x="127775" y="36506"/>
                    <a:pt x="130817" y="39549"/>
                    <a:pt x="127775" y="42591"/>
                  </a:cubicBezTo>
                  <a:cubicBezTo>
                    <a:pt x="127775" y="45634"/>
                    <a:pt x="124732" y="45634"/>
                    <a:pt x="121690" y="45634"/>
                  </a:cubicBezTo>
                  <a:lnTo>
                    <a:pt x="15211" y="12169"/>
                  </a:lnTo>
                  <a:lnTo>
                    <a:pt x="33464" y="57803"/>
                  </a:lnTo>
                  <a:cubicBezTo>
                    <a:pt x="33464" y="63887"/>
                    <a:pt x="30423" y="66929"/>
                    <a:pt x="27379" y="69971"/>
                  </a:cubicBezTo>
                  <a:cubicBezTo>
                    <a:pt x="27379" y="69971"/>
                    <a:pt x="27379" y="69971"/>
                    <a:pt x="27379" y="69971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FB122B28-F180-45CF-B2D4-67525B1C3258}"/>
                </a:ext>
              </a:extLst>
            </p:cNvPr>
            <p:cNvSpPr/>
            <p:nvPr/>
          </p:nvSpPr>
          <p:spPr>
            <a:xfrm>
              <a:off x="19400540" y="8303494"/>
              <a:ext cx="435041" cy="1597615"/>
            </a:xfrm>
            <a:custGeom>
              <a:avLst/>
              <a:gdLst>
                <a:gd name="connsiteX0" fmla="*/ 0 w 435041"/>
                <a:gd name="connsiteY0" fmla="*/ 0 h 1597615"/>
                <a:gd name="connsiteX1" fmla="*/ 158196 w 435041"/>
                <a:gd name="connsiteY1" fmla="*/ 1597183 h 1597615"/>
                <a:gd name="connsiteX2" fmla="*/ 435042 w 435041"/>
                <a:gd name="connsiteY2" fmla="*/ 1569803 h 1597615"/>
                <a:gd name="connsiteX3" fmla="*/ 298140 w 435041"/>
                <a:gd name="connsiteY3" fmla="*/ 130817 h 1597615"/>
                <a:gd name="connsiteX4" fmla="*/ 0 w 435041"/>
                <a:gd name="connsiteY4" fmla="*/ 0 h 1597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041" h="1597615">
                  <a:moveTo>
                    <a:pt x="0" y="0"/>
                  </a:moveTo>
                  <a:cubicBezTo>
                    <a:pt x="0" y="0"/>
                    <a:pt x="203830" y="778817"/>
                    <a:pt x="158196" y="1597183"/>
                  </a:cubicBezTo>
                  <a:cubicBezTo>
                    <a:pt x="158196" y="1597183"/>
                    <a:pt x="355942" y="1603268"/>
                    <a:pt x="435042" y="1569803"/>
                  </a:cubicBezTo>
                  <a:cubicBezTo>
                    <a:pt x="435042" y="1569803"/>
                    <a:pt x="343774" y="182535"/>
                    <a:pt x="298140" y="130817"/>
                  </a:cubicBezTo>
                  <a:cubicBezTo>
                    <a:pt x="252507" y="7605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422C15BC-FFF0-40F8-A6E4-FD0279D6DCE6}"/>
                </a:ext>
              </a:extLst>
            </p:cNvPr>
            <p:cNvSpPr/>
            <p:nvPr/>
          </p:nvSpPr>
          <p:spPr>
            <a:xfrm>
              <a:off x="19692595" y="8428226"/>
              <a:ext cx="122949" cy="1080000"/>
            </a:xfrm>
            <a:custGeom>
              <a:avLst/>
              <a:gdLst>
                <a:gd name="connsiteX0" fmla="*/ 118649 w 122949"/>
                <a:gd name="connsiteY0" fmla="*/ 1080000 h 1080000"/>
                <a:gd name="connsiteX1" fmla="*/ 112564 w 122949"/>
                <a:gd name="connsiteY1" fmla="*/ 1073916 h 1080000"/>
                <a:gd name="connsiteX2" fmla="*/ 73015 w 122949"/>
                <a:gd name="connsiteY2" fmla="*/ 593239 h 1080000"/>
                <a:gd name="connsiteX3" fmla="*/ 0 w 122949"/>
                <a:gd name="connsiteY3" fmla="*/ 6085 h 1080000"/>
                <a:gd name="connsiteX4" fmla="*/ 3042 w 122949"/>
                <a:gd name="connsiteY4" fmla="*/ 0 h 1080000"/>
                <a:gd name="connsiteX5" fmla="*/ 9126 w 122949"/>
                <a:gd name="connsiteY5" fmla="*/ 3042 h 1080000"/>
                <a:gd name="connsiteX6" fmla="*/ 82141 w 122949"/>
                <a:gd name="connsiteY6" fmla="*/ 590197 h 1080000"/>
                <a:gd name="connsiteX7" fmla="*/ 121690 w 122949"/>
                <a:gd name="connsiteY7" fmla="*/ 1070874 h 1080000"/>
                <a:gd name="connsiteX8" fmla="*/ 118649 w 122949"/>
                <a:gd name="connsiteY8" fmla="*/ 1080000 h 1080000"/>
                <a:gd name="connsiteX9" fmla="*/ 118649 w 122949"/>
                <a:gd name="connsiteY9" fmla="*/ 1080000 h 10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2949" h="1080000">
                  <a:moveTo>
                    <a:pt x="118649" y="1080000"/>
                  </a:moveTo>
                  <a:cubicBezTo>
                    <a:pt x="115605" y="1080000"/>
                    <a:pt x="112564" y="1076958"/>
                    <a:pt x="112564" y="1073916"/>
                  </a:cubicBezTo>
                  <a:cubicBezTo>
                    <a:pt x="112564" y="1070874"/>
                    <a:pt x="82141" y="699718"/>
                    <a:pt x="73015" y="593239"/>
                  </a:cubicBezTo>
                  <a:cubicBezTo>
                    <a:pt x="73015" y="587155"/>
                    <a:pt x="6085" y="45634"/>
                    <a:pt x="0" y="6085"/>
                  </a:cubicBezTo>
                  <a:cubicBezTo>
                    <a:pt x="0" y="3042"/>
                    <a:pt x="0" y="0"/>
                    <a:pt x="3042" y="0"/>
                  </a:cubicBezTo>
                  <a:cubicBezTo>
                    <a:pt x="6085" y="0"/>
                    <a:pt x="9126" y="0"/>
                    <a:pt x="9126" y="3042"/>
                  </a:cubicBezTo>
                  <a:cubicBezTo>
                    <a:pt x="18253" y="42592"/>
                    <a:pt x="79098" y="568902"/>
                    <a:pt x="82141" y="590197"/>
                  </a:cubicBezTo>
                  <a:cubicBezTo>
                    <a:pt x="91268" y="696676"/>
                    <a:pt x="121690" y="1067831"/>
                    <a:pt x="121690" y="1070874"/>
                  </a:cubicBezTo>
                  <a:cubicBezTo>
                    <a:pt x="124732" y="1076958"/>
                    <a:pt x="121690" y="1080000"/>
                    <a:pt x="118649" y="1080000"/>
                  </a:cubicBezTo>
                  <a:cubicBezTo>
                    <a:pt x="118649" y="1080000"/>
                    <a:pt x="118649" y="1080000"/>
                    <a:pt x="118649" y="1080000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7CE9BC9F-6D19-47D1-BEF4-909A16E29C74}"/>
                </a:ext>
              </a:extLst>
            </p:cNvPr>
            <p:cNvSpPr/>
            <p:nvPr/>
          </p:nvSpPr>
          <p:spPr>
            <a:xfrm>
              <a:off x="19144990" y="8172677"/>
              <a:ext cx="244640" cy="63887"/>
            </a:xfrm>
            <a:custGeom>
              <a:avLst/>
              <a:gdLst>
                <a:gd name="connsiteX0" fmla="*/ 136901 w 244640"/>
                <a:gd name="connsiteY0" fmla="*/ 63888 h 63887"/>
                <a:gd name="connsiteX1" fmla="*/ 124732 w 244640"/>
                <a:gd name="connsiteY1" fmla="*/ 63888 h 63887"/>
                <a:gd name="connsiteX2" fmla="*/ 51719 w 244640"/>
                <a:gd name="connsiteY2" fmla="*/ 36507 h 63887"/>
                <a:gd name="connsiteX3" fmla="*/ 3042 w 244640"/>
                <a:gd name="connsiteY3" fmla="*/ 12169 h 63887"/>
                <a:gd name="connsiteX4" fmla="*/ 0 w 244640"/>
                <a:gd name="connsiteY4" fmla="*/ 3042 h 63887"/>
                <a:gd name="connsiteX5" fmla="*/ 9126 w 244640"/>
                <a:gd name="connsiteY5" fmla="*/ 0 h 63887"/>
                <a:gd name="connsiteX6" fmla="*/ 57804 w 244640"/>
                <a:gd name="connsiteY6" fmla="*/ 24338 h 63887"/>
                <a:gd name="connsiteX7" fmla="*/ 149071 w 244640"/>
                <a:gd name="connsiteY7" fmla="*/ 51718 h 63887"/>
                <a:gd name="connsiteX8" fmla="*/ 161239 w 244640"/>
                <a:gd name="connsiteY8" fmla="*/ 51718 h 63887"/>
                <a:gd name="connsiteX9" fmla="*/ 209916 w 244640"/>
                <a:gd name="connsiteY9" fmla="*/ 33465 h 63887"/>
                <a:gd name="connsiteX10" fmla="*/ 219043 w 244640"/>
                <a:gd name="connsiteY10" fmla="*/ 27380 h 63887"/>
                <a:gd name="connsiteX11" fmla="*/ 225128 w 244640"/>
                <a:gd name="connsiteY11" fmla="*/ 27380 h 63887"/>
                <a:gd name="connsiteX12" fmla="*/ 234254 w 244640"/>
                <a:gd name="connsiteY12" fmla="*/ 21296 h 63887"/>
                <a:gd name="connsiteX13" fmla="*/ 243380 w 244640"/>
                <a:gd name="connsiteY13" fmla="*/ 24338 h 63887"/>
                <a:gd name="connsiteX14" fmla="*/ 240339 w 244640"/>
                <a:gd name="connsiteY14" fmla="*/ 33465 h 63887"/>
                <a:gd name="connsiteX15" fmla="*/ 215999 w 244640"/>
                <a:gd name="connsiteY15" fmla="*/ 45634 h 63887"/>
                <a:gd name="connsiteX16" fmla="*/ 161239 w 244640"/>
                <a:gd name="connsiteY16" fmla="*/ 63888 h 63887"/>
                <a:gd name="connsiteX17" fmla="*/ 136901 w 244640"/>
                <a:gd name="connsiteY17" fmla="*/ 63888 h 63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4640" h="63887">
                  <a:moveTo>
                    <a:pt x="136901" y="63888"/>
                  </a:moveTo>
                  <a:cubicBezTo>
                    <a:pt x="130817" y="63888"/>
                    <a:pt x="127775" y="63888"/>
                    <a:pt x="124732" y="63888"/>
                  </a:cubicBezTo>
                  <a:cubicBezTo>
                    <a:pt x="106479" y="60845"/>
                    <a:pt x="76056" y="48676"/>
                    <a:pt x="51719" y="36507"/>
                  </a:cubicBezTo>
                  <a:cubicBezTo>
                    <a:pt x="24338" y="24338"/>
                    <a:pt x="3042" y="12169"/>
                    <a:pt x="3042" y="12169"/>
                  </a:cubicBezTo>
                  <a:cubicBezTo>
                    <a:pt x="0" y="9127"/>
                    <a:pt x="0" y="6084"/>
                    <a:pt x="0" y="3042"/>
                  </a:cubicBezTo>
                  <a:cubicBezTo>
                    <a:pt x="3042" y="0"/>
                    <a:pt x="6085" y="0"/>
                    <a:pt x="9126" y="0"/>
                  </a:cubicBezTo>
                  <a:cubicBezTo>
                    <a:pt x="9126" y="0"/>
                    <a:pt x="30423" y="12169"/>
                    <a:pt x="57804" y="24338"/>
                  </a:cubicBezTo>
                  <a:cubicBezTo>
                    <a:pt x="88226" y="36507"/>
                    <a:pt x="124732" y="51718"/>
                    <a:pt x="149071" y="51718"/>
                  </a:cubicBezTo>
                  <a:cubicBezTo>
                    <a:pt x="155154" y="51718"/>
                    <a:pt x="158198" y="51718"/>
                    <a:pt x="161239" y="51718"/>
                  </a:cubicBezTo>
                  <a:cubicBezTo>
                    <a:pt x="179494" y="48676"/>
                    <a:pt x="197746" y="39549"/>
                    <a:pt x="209916" y="33465"/>
                  </a:cubicBezTo>
                  <a:cubicBezTo>
                    <a:pt x="215999" y="30423"/>
                    <a:pt x="219043" y="27380"/>
                    <a:pt x="219043" y="27380"/>
                  </a:cubicBezTo>
                  <a:cubicBezTo>
                    <a:pt x="219043" y="27380"/>
                    <a:pt x="222084" y="24338"/>
                    <a:pt x="225128" y="27380"/>
                  </a:cubicBezTo>
                  <a:cubicBezTo>
                    <a:pt x="231211" y="24338"/>
                    <a:pt x="234254" y="21296"/>
                    <a:pt x="234254" y="21296"/>
                  </a:cubicBezTo>
                  <a:cubicBezTo>
                    <a:pt x="237295" y="18254"/>
                    <a:pt x="240339" y="21296"/>
                    <a:pt x="243380" y="24338"/>
                  </a:cubicBezTo>
                  <a:cubicBezTo>
                    <a:pt x="246422" y="27380"/>
                    <a:pt x="243380" y="30423"/>
                    <a:pt x="240339" y="33465"/>
                  </a:cubicBezTo>
                  <a:cubicBezTo>
                    <a:pt x="240339" y="33465"/>
                    <a:pt x="231211" y="39549"/>
                    <a:pt x="215999" y="45634"/>
                  </a:cubicBezTo>
                  <a:cubicBezTo>
                    <a:pt x="203831" y="51718"/>
                    <a:pt x="185577" y="60845"/>
                    <a:pt x="161239" y="63888"/>
                  </a:cubicBezTo>
                  <a:cubicBezTo>
                    <a:pt x="152113" y="63888"/>
                    <a:pt x="146028" y="63888"/>
                    <a:pt x="136901" y="63888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94BC605F-0FC4-4773-AEB3-F7A090660A5A}"/>
                </a:ext>
              </a:extLst>
            </p:cNvPr>
            <p:cNvSpPr/>
            <p:nvPr/>
          </p:nvSpPr>
          <p:spPr>
            <a:xfrm>
              <a:off x="18818116" y="9480846"/>
              <a:ext cx="214309" cy="249465"/>
            </a:xfrm>
            <a:custGeom>
              <a:avLst/>
              <a:gdLst>
                <a:gd name="connsiteX0" fmla="*/ 37859 w 214309"/>
                <a:gd name="connsiteY0" fmla="*/ 249465 h 249465"/>
                <a:gd name="connsiteX1" fmla="*/ 37859 w 214309"/>
                <a:gd name="connsiteY1" fmla="*/ 249465 h 249465"/>
                <a:gd name="connsiteX2" fmla="*/ 34818 w 214309"/>
                <a:gd name="connsiteY2" fmla="*/ 246423 h 249465"/>
                <a:gd name="connsiteX3" fmla="*/ 1352 w 214309"/>
                <a:gd name="connsiteY3" fmla="*/ 200789 h 249465"/>
                <a:gd name="connsiteX4" fmla="*/ 1352 w 214309"/>
                <a:gd name="connsiteY4" fmla="*/ 194704 h 249465"/>
                <a:gd name="connsiteX5" fmla="*/ 150423 w 214309"/>
                <a:gd name="connsiteY5" fmla="*/ 3042 h 249465"/>
                <a:gd name="connsiteX6" fmla="*/ 153464 w 214309"/>
                <a:gd name="connsiteY6" fmla="*/ 0 h 249465"/>
                <a:gd name="connsiteX7" fmla="*/ 159549 w 214309"/>
                <a:gd name="connsiteY7" fmla="*/ 0 h 249465"/>
                <a:gd name="connsiteX8" fmla="*/ 211268 w 214309"/>
                <a:gd name="connsiteY8" fmla="*/ 30423 h 249465"/>
                <a:gd name="connsiteX9" fmla="*/ 214310 w 214309"/>
                <a:gd name="connsiteY9" fmla="*/ 36507 h 249465"/>
                <a:gd name="connsiteX10" fmla="*/ 43944 w 214309"/>
                <a:gd name="connsiteY10" fmla="*/ 246423 h 249465"/>
                <a:gd name="connsiteX11" fmla="*/ 37859 w 214309"/>
                <a:gd name="connsiteY11" fmla="*/ 249465 h 249465"/>
                <a:gd name="connsiteX12" fmla="*/ 10478 w 214309"/>
                <a:gd name="connsiteY12" fmla="*/ 197746 h 249465"/>
                <a:gd name="connsiteX13" fmla="*/ 37859 w 214309"/>
                <a:gd name="connsiteY13" fmla="*/ 234254 h 249465"/>
                <a:gd name="connsiteX14" fmla="*/ 196057 w 214309"/>
                <a:gd name="connsiteY14" fmla="*/ 36507 h 249465"/>
                <a:gd name="connsiteX15" fmla="*/ 156508 w 214309"/>
                <a:gd name="connsiteY15" fmla="*/ 12169 h 249465"/>
                <a:gd name="connsiteX16" fmla="*/ 10478 w 214309"/>
                <a:gd name="connsiteY16" fmla="*/ 197746 h 249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4309" h="249465">
                  <a:moveTo>
                    <a:pt x="37859" y="249465"/>
                  </a:moveTo>
                  <a:cubicBezTo>
                    <a:pt x="37859" y="249465"/>
                    <a:pt x="37859" y="249465"/>
                    <a:pt x="37859" y="249465"/>
                  </a:cubicBezTo>
                  <a:cubicBezTo>
                    <a:pt x="34818" y="249465"/>
                    <a:pt x="34818" y="249465"/>
                    <a:pt x="34818" y="246423"/>
                  </a:cubicBezTo>
                  <a:lnTo>
                    <a:pt x="1352" y="200789"/>
                  </a:lnTo>
                  <a:cubicBezTo>
                    <a:pt x="-1690" y="197746"/>
                    <a:pt x="1352" y="194704"/>
                    <a:pt x="1352" y="194704"/>
                  </a:cubicBezTo>
                  <a:cubicBezTo>
                    <a:pt x="1352" y="194704"/>
                    <a:pt x="135212" y="54760"/>
                    <a:pt x="150423" y="3042"/>
                  </a:cubicBezTo>
                  <a:cubicBezTo>
                    <a:pt x="150423" y="0"/>
                    <a:pt x="153464" y="0"/>
                    <a:pt x="153464" y="0"/>
                  </a:cubicBezTo>
                  <a:cubicBezTo>
                    <a:pt x="156508" y="0"/>
                    <a:pt x="156508" y="0"/>
                    <a:pt x="159549" y="0"/>
                  </a:cubicBezTo>
                  <a:lnTo>
                    <a:pt x="211268" y="30423"/>
                  </a:lnTo>
                  <a:cubicBezTo>
                    <a:pt x="214310" y="30423"/>
                    <a:pt x="214310" y="36507"/>
                    <a:pt x="214310" y="36507"/>
                  </a:cubicBezTo>
                  <a:cubicBezTo>
                    <a:pt x="214310" y="36507"/>
                    <a:pt x="153464" y="161239"/>
                    <a:pt x="43944" y="246423"/>
                  </a:cubicBezTo>
                  <a:cubicBezTo>
                    <a:pt x="40901" y="249465"/>
                    <a:pt x="37859" y="249465"/>
                    <a:pt x="37859" y="249465"/>
                  </a:cubicBezTo>
                  <a:close/>
                  <a:moveTo>
                    <a:pt x="10478" y="197746"/>
                  </a:moveTo>
                  <a:lnTo>
                    <a:pt x="37859" y="234254"/>
                  </a:lnTo>
                  <a:cubicBezTo>
                    <a:pt x="129127" y="161239"/>
                    <a:pt x="183887" y="60845"/>
                    <a:pt x="196057" y="36507"/>
                  </a:cubicBezTo>
                  <a:lnTo>
                    <a:pt x="156508" y="12169"/>
                  </a:lnTo>
                  <a:cubicBezTo>
                    <a:pt x="135212" y="66930"/>
                    <a:pt x="31774" y="176450"/>
                    <a:pt x="10478" y="197746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BA8513C6-F028-462A-88CD-A5DCD0CBD395}"/>
                </a:ext>
              </a:extLst>
            </p:cNvPr>
            <p:cNvSpPr/>
            <p:nvPr/>
          </p:nvSpPr>
          <p:spPr>
            <a:xfrm>
              <a:off x="19741271" y="9508226"/>
              <a:ext cx="78338" cy="133858"/>
            </a:xfrm>
            <a:custGeom>
              <a:avLst/>
              <a:gdLst>
                <a:gd name="connsiteX0" fmla="*/ 73015 w 78338"/>
                <a:gd name="connsiteY0" fmla="*/ 133859 h 133858"/>
                <a:gd name="connsiteX1" fmla="*/ 73015 w 78338"/>
                <a:gd name="connsiteY1" fmla="*/ 133859 h 133858"/>
                <a:gd name="connsiteX2" fmla="*/ 0 w 78338"/>
                <a:gd name="connsiteY2" fmla="*/ 76056 h 133858"/>
                <a:gd name="connsiteX3" fmla="*/ 0 w 78338"/>
                <a:gd name="connsiteY3" fmla="*/ 73014 h 133858"/>
                <a:gd name="connsiteX4" fmla="*/ 0 w 78338"/>
                <a:gd name="connsiteY4" fmla="*/ 6085 h 133858"/>
                <a:gd name="connsiteX5" fmla="*/ 3043 w 78338"/>
                <a:gd name="connsiteY5" fmla="*/ 0 h 133858"/>
                <a:gd name="connsiteX6" fmla="*/ 9128 w 78338"/>
                <a:gd name="connsiteY6" fmla="*/ 3042 h 133858"/>
                <a:gd name="connsiteX7" fmla="*/ 76056 w 78338"/>
                <a:gd name="connsiteY7" fmla="*/ 73014 h 133858"/>
                <a:gd name="connsiteX8" fmla="*/ 76056 w 78338"/>
                <a:gd name="connsiteY8" fmla="*/ 82141 h 133858"/>
                <a:gd name="connsiteX9" fmla="*/ 66930 w 78338"/>
                <a:gd name="connsiteY9" fmla="*/ 82141 h 133858"/>
                <a:gd name="connsiteX10" fmla="*/ 9128 w 78338"/>
                <a:gd name="connsiteY10" fmla="*/ 21296 h 133858"/>
                <a:gd name="connsiteX11" fmla="*/ 9128 w 78338"/>
                <a:gd name="connsiteY11" fmla="*/ 69972 h 133858"/>
                <a:gd name="connsiteX12" fmla="*/ 73015 w 78338"/>
                <a:gd name="connsiteY12" fmla="*/ 124733 h 133858"/>
                <a:gd name="connsiteX13" fmla="*/ 76056 w 78338"/>
                <a:gd name="connsiteY13" fmla="*/ 130817 h 133858"/>
                <a:gd name="connsiteX14" fmla="*/ 73015 w 78338"/>
                <a:gd name="connsiteY14" fmla="*/ 133859 h 13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338" h="133858">
                  <a:moveTo>
                    <a:pt x="73015" y="133859"/>
                  </a:moveTo>
                  <a:cubicBezTo>
                    <a:pt x="73015" y="133859"/>
                    <a:pt x="73015" y="133859"/>
                    <a:pt x="73015" y="133859"/>
                  </a:cubicBezTo>
                  <a:cubicBezTo>
                    <a:pt x="39551" y="121690"/>
                    <a:pt x="3043" y="76056"/>
                    <a:pt x="0" y="76056"/>
                  </a:cubicBezTo>
                  <a:cubicBezTo>
                    <a:pt x="0" y="76056"/>
                    <a:pt x="0" y="73014"/>
                    <a:pt x="0" y="73014"/>
                  </a:cubicBezTo>
                  <a:lnTo>
                    <a:pt x="0" y="6085"/>
                  </a:lnTo>
                  <a:cubicBezTo>
                    <a:pt x="0" y="3042"/>
                    <a:pt x="3043" y="0"/>
                    <a:pt x="3043" y="0"/>
                  </a:cubicBezTo>
                  <a:cubicBezTo>
                    <a:pt x="6085" y="0"/>
                    <a:pt x="9128" y="0"/>
                    <a:pt x="9128" y="3042"/>
                  </a:cubicBezTo>
                  <a:cubicBezTo>
                    <a:pt x="9128" y="3042"/>
                    <a:pt x="42592" y="48676"/>
                    <a:pt x="76056" y="73014"/>
                  </a:cubicBezTo>
                  <a:cubicBezTo>
                    <a:pt x="79100" y="76056"/>
                    <a:pt x="79100" y="79099"/>
                    <a:pt x="76056" y="82141"/>
                  </a:cubicBezTo>
                  <a:cubicBezTo>
                    <a:pt x="73015" y="85184"/>
                    <a:pt x="69973" y="85184"/>
                    <a:pt x="66930" y="82141"/>
                  </a:cubicBezTo>
                  <a:cubicBezTo>
                    <a:pt x="42592" y="63888"/>
                    <a:pt x="21296" y="36507"/>
                    <a:pt x="9128" y="21296"/>
                  </a:cubicBezTo>
                  <a:lnTo>
                    <a:pt x="9128" y="69972"/>
                  </a:lnTo>
                  <a:cubicBezTo>
                    <a:pt x="15211" y="79099"/>
                    <a:pt x="45634" y="112564"/>
                    <a:pt x="73015" y="124733"/>
                  </a:cubicBezTo>
                  <a:cubicBezTo>
                    <a:pt x="76056" y="124733"/>
                    <a:pt x="76056" y="127775"/>
                    <a:pt x="76056" y="130817"/>
                  </a:cubicBezTo>
                  <a:cubicBezTo>
                    <a:pt x="79100" y="133859"/>
                    <a:pt x="76056" y="133859"/>
                    <a:pt x="73015" y="133859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694363A3-E30F-4DA3-B856-67753C4DE638}"/>
                </a:ext>
              </a:extLst>
            </p:cNvPr>
            <p:cNvGrpSpPr/>
            <p:nvPr/>
          </p:nvGrpSpPr>
          <p:grpSpPr>
            <a:xfrm>
              <a:off x="17005656" y="9723075"/>
              <a:ext cx="1674498" cy="1279527"/>
              <a:chOff x="17005656" y="9723075"/>
              <a:chExt cx="1674498" cy="1279527"/>
            </a:xfrm>
          </p:grpSpPr>
          <p:grpSp>
            <p:nvGrpSpPr>
              <p:cNvPr id="48" name="图形 1">
                <a:extLst>
                  <a:ext uri="{FF2B5EF4-FFF2-40B4-BE49-F238E27FC236}">
                    <a16:creationId xmlns:a16="http://schemas.microsoft.com/office/drawing/2014/main" id="{70F6F9F1-1E52-457B-8911-561C621AF4A6}"/>
                  </a:ext>
                </a:extLst>
              </p:cNvPr>
              <p:cNvGrpSpPr/>
              <p:nvPr/>
            </p:nvGrpSpPr>
            <p:grpSpPr>
              <a:xfrm>
                <a:off x="17005656" y="9723075"/>
                <a:ext cx="1674498" cy="1279527"/>
                <a:chOff x="17005656" y="9723075"/>
                <a:chExt cx="1674498" cy="1279527"/>
              </a:xfrm>
            </p:grpSpPr>
            <p:grpSp>
              <p:nvGrpSpPr>
                <p:cNvPr id="51" name="图形 1">
                  <a:extLst>
                    <a:ext uri="{FF2B5EF4-FFF2-40B4-BE49-F238E27FC236}">
                      <a16:creationId xmlns:a16="http://schemas.microsoft.com/office/drawing/2014/main" id="{20ECAEE1-39B2-4253-93ED-2AE178474FE4}"/>
                    </a:ext>
                  </a:extLst>
                </p:cNvPr>
                <p:cNvGrpSpPr/>
                <p:nvPr/>
              </p:nvGrpSpPr>
              <p:grpSpPr>
                <a:xfrm>
                  <a:off x="17005656" y="9723075"/>
                  <a:ext cx="1674498" cy="1279527"/>
                  <a:chOff x="17005656" y="9723075"/>
                  <a:chExt cx="1674498" cy="1279527"/>
                </a:xfrm>
              </p:grpSpPr>
              <p:sp>
                <p:nvSpPr>
                  <p:cNvPr id="53" name="任意多边形: 形状 52">
                    <a:extLst>
                      <a:ext uri="{FF2B5EF4-FFF2-40B4-BE49-F238E27FC236}">
                        <a16:creationId xmlns:a16="http://schemas.microsoft.com/office/drawing/2014/main" id="{09F9C979-DA2E-4578-8EE9-3D9277BF0656}"/>
                      </a:ext>
                    </a:extLst>
                  </p:cNvPr>
                  <p:cNvSpPr/>
                  <p:nvPr/>
                </p:nvSpPr>
                <p:spPr>
                  <a:xfrm>
                    <a:off x="17750487" y="9723075"/>
                    <a:ext cx="473851" cy="433151"/>
                  </a:xfrm>
                  <a:custGeom>
                    <a:avLst/>
                    <a:gdLst>
                      <a:gd name="connsiteX0" fmla="*/ 329714 w 473851"/>
                      <a:gd name="connsiteY0" fmla="*/ 433151 h 433151"/>
                      <a:gd name="connsiteX1" fmla="*/ 296250 w 473851"/>
                      <a:gd name="connsiteY1" fmla="*/ 430109 h 433151"/>
                      <a:gd name="connsiteX2" fmla="*/ 296250 w 473851"/>
                      <a:gd name="connsiteY2" fmla="*/ 430109 h 433151"/>
                      <a:gd name="connsiteX3" fmla="*/ 95460 w 473851"/>
                      <a:gd name="connsiteY3" fmla="*/ 387518 h 433151"/>
                      <a:gd name="connsiteX4" fmla="*/ 19404 w 473851"/>
                      <a:gd name="connsiteY4" fmla="*/ 335799 h 433151"/>
                      <a:gd name="connsiteX5" fmla="*/ 4193 w 473851"/>
                      <a:gd name="connsiteY5" fmla="*/ 244531 h 433151"/>
                      <a:gd name="connsiteX6" fmla="*/ 34615 w 473851"/>
                      <a:gd name="connsiteY6" fmla="*/ 95461 h 433151"/>
                      <a:gd name="connsiteX7" fmla="*/ 86334 w 473851"/>
                      <a:gd name="connsiteY7" fmla="*/ 19405 h 433151"/>
                      <a:gd name="connsiteX8" fmla="*/ 177602 w 473851"/>
                      <a:gd name="connsiteY8" fmla="*/ 4193 h 433151"/>
                      <a:gd name="connsiteX9" fmla="*/ 378390 w 473851"/>
                      <a:gd name="connsiteY9" fmla="*/ 46785 h 433151"/>
                      <a:gd name="connsiteX10" fmla="*/ 454446 w 473851"/>
                      <a:gd name="connsiteY10" fmla="*/ 98503 h 433151"/>
                      <a:gd name="connsiteX11" fmla="*/ 469657 w 473851"/>
                      <a:gd name="connsiteY11" fmla="*/ 189771 h 433151"/>
                      <a:gd name="connsiteX12" fmla="*/ 439235 w 473851"/>
                      <a:gd name="connsiteY12" fmla="*/ 338841 h 433151"/>
                      <a:gd name="connsiteX13" fmla="*/ 329714 w 473851"/>
                      <a:gd name="connsiteY13" fmla="*/ 433151 h 433151"/>
                      <a:gd name="connsiteX14" fmla="*/ 308418 w 473851"/>
                      <a:gd name="connsiteY14" fmla="*/ 375348 h 433151"/>
                      <a:gd name="connsiteX15" fmla="*/ 381433 w 473851"/>
                      <a:gd name="connsiteY15" fmla="*/ 329714 h 433151"/>
                      <a:gd name="connsiteX16" fmla="*/ 411856 w 473851"/>
                      <a:gd name="connsiteY16" fmla="*/ 180644 h 433151"/>
                      <a:gd name="connsiteX17" fmla="*/ 402729 w 473851"/>
                      <a:gd name="connsiteY17" fmla="*/ 135010 h 433151"/>
                      <a:gd name="connsiteX18" fmla="*/ 363178 w 473851"/>
                      <a:gd name="connsiteY18" fmla="*/ 107630 h 433151"/>
                      <a:gd name="connsiteX19" fmla="*/ 162390 w 473851"/>
                      <a:gd name="connsiteY19" fmla="*/ 65038 h 433151"/>
                      <a:gd name="connsiteX20" fmla="*/ 116757 w 473851"/>
                      <a:gd name="connsiteY20" fmla="*/ 74165 h 433151"/>
                      <a:gd name="connsiteX21" fmla="*/ 89376 w 473851"/>
                      <a:gd name="connsiteY21" fmla="*/ 113715 h 433151"/>
                      <a:gd name="connsiteX22" fmla="*/ 58954 w 473851"/>
                      <a:gd name="connsiteY22" fmla="*/ 262785 h 433151"/>
                      <a:gd name="connsiteX23" fmla="*/ 68080 w 473851"/>
                      <a:gd name="connsiteY23" fmla="*/ 308419 h 433151"/>
                      <a:gd name="connsiteX24" fmla="*/ 107630 w 473851"/>
                      <a:gd name="connsiteY24" fmla="*/ 335799 h 433151"/>
                      <a:gd name="connsiteX25" fmla="*/ 308418 w 473851"/>
                      <a:gd name="connsiteY25" fmla="*/ 375348 h 433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473851" h="433151">
                        <a:moveTo>
                          <a:pt x="329714" y="433151"/>
                        </a:moveTo>
                        <a:cubicBezTo>
                          <a:pt x="317545" y="433151"/>
                          <a:pt x="308418" y="433151"/>
                          <a:pt x="296250" y="430109"/>
                        </a:cubicBezTo>
                        <a:lnTo>
                          <a:pt x="296250" y="430109"/>
                        </a:lnTo>
                        <a:lnTo>
                          <a:pt x="95460" y="387518"/>
                        </a:lnTo>
                        <a:cubicBezTo>
                          <a:pt x="65038" y="381433"/>
                          <a:pt x="37658" y="363179"/>
                          <a:pt x="19404" y="335799"/>
                        </a:cubicBezTo>
                        <a:cubicBezTo>
                          <a:pt x="1151" y="308419"/>
                          <a:pt x="-4934" y="277996"/>
                          <a:pt x="4193" y="244531"/>
                        </a:cubicBezTo>
                        <a:lnTo>
                          <a:pt x="34615" y="95461"/>
                        </a:lnTo>
                        <a:cubicBezTo>
                          <a:pt x="40700" y="65038"/>
                          <a:pt x="58954" y="37658"/>
                          <a:pt x="86334" y="19405"/>
                        </a:cubicBezTo>
                        <a:cubicBezTo>
                          <a:pt x="113714" y="1151"/>
                          <a:pt x="144137" y="-4934"/>
                          <a:pt x="177602" y="4193"/>
                        </a:cubicBezTo>
                        <a:lnTo>
                          <a:pt x="378390" y="46785"/>
                        </a:lnTo>
                        <a:cubicBezTo>
                          <a:pt x="408812" y="52870"/>
                          <a:pt x="436193" y="71122"/>
                          <a:pt x="454446" y="98503"/>
                        </a:cubicBezTo>
                        <a:cubicBezTo>
                          <a:pt x="472701" y="125884"/>
                          <a:pt x="478785" y="156306"/>
                          <a:pt x="469657" y="189771"/>
                        </a:cubicBezTo>
                        <a:lnTo>
                          <a:pt x="439235" y="338841"/>
                        </a:lnTo>
                        <a:cubicBezTo>
                          <a:pt x="427067" y="393601"/>
                          <a:pt x="381433" y="430109"/>
                          <a:pt x="329714" y="433151"/>
                        </a:cubicBezTo>
                        <a:close/>
                        <a:moveTo>
                          <a:pt x="308418" y="375348"/>
                        </a:moveTo>
                        <a:cubicBezTo>
                          <a:pt x="341884" y="381433"/>
                          <a:pt x="375348" y="360137"/>
                          <a:pt x="381433" y="329714"/>
                        </a:cubicBezTo>
                        <a:lnTo>
                          <a:pt x="411856" y="180644"/>
                        </a:lnTo>
                        <a:cubicBezTo>
                          <a:pt x="414897" y="165432"/>
                          <a:pt x="411856" y="147179"/>
                          <a:pt x="402729" y="135010"/>
                        </a:cubicBezTo>
                        <a:cubicBezTo>
                          <a:pt x="393601" y="119799"/>
                          <a:pt x="381433" y="110672"/>
                          <a:pt x="363178" y="107630"/>
                        </a:cubicBezTo>
                        <a:lnTo>
                          <a:pt x="162390" y="65038"/>
                        </a:lnTo>
                        <a:cubicBezTo>
                          <a:pt x="147179" y="61996"/>
                          <a:pt x="128925" y="65038"/>
                          <a:pt x="116757" y="74165"/>
                        </a:cubicBezTo>
                        <a:cubicBezTo>
                          <a:pt x="101545" y="83292"/>
                          <a:pt x="92419" y="95461"/>
                          <a:pt x="89376" y="113715"/>
                        </a:cubicBezTo>
                        <a:lnTo>
                          <a:pt x="58954" y="262785"/>
                        </a:lnTo>
                        <a:cubicBezTo>
                          <a:pt x="55911" y="277996"/>
                          <a:pt x="58954" y="296250"/>
                          <a:pt x="68080" y="308419"/>
                        </a:cubicBezTo>
                        <a:cubicBezTo>
                          <a:pt x="77208" y="323630"/>
                          <a:pt x="89376" y="332756"/>
                          <a:pt x="107630" y="335799"/>
                        </a:cubicBezTo>
                        <a:lnTo>
                          <a:pt x="308418" y="375348"/>
                        </a:lnTo>
                        <a:close/>
                      </a:path>
                    </a:pathLst>
                  </a:custGeom>
                  <a:solidFill>
                    <a:srgbClr val="38343B"/>
                  </a:solidFill>
                  <a:ln w="3041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54" name="任意多边形: 形状 53">
                    <a:extLst>
                      <a:ext uri="{FF2B5EF4-FFF2-40B4-BE49-F238E27FC236}">
                        <a16:creationId xmlns:a16="http://schemas.microsoft.com/office/drawing/2014/main" id="{D168075A-108B-4736-8B3E-FB863B537754}"/>
                      </a:ext>
                    </a:extLst>
                  </p:cNvPr>
                  <p:cNvSpPr/>
                  <p:nvPr/>
                </p:nvSpPr>
                <p:spPr>
                  <a:xfrm>
                    <a:off x="17005656" y="9754019"/>
                    <a:ext cx="1574104" cy="1227287"/>
                  </a:xfrm>
                  <a:custGeom>
                    <a:avLst/>
                    <a:gdLst>
                      <a:gd name="connsiteX0" fmla="*/ 1244911 w 1574104"/>
                      <a:gd name="connsiteY0" fmla="*/ 1223616 h 1227287"/>
                      <a:gd name="connsiteX1" fmla="*/ 116235 w 1574104"/>
                      <a:gd name="connsiteY1" fmla="*/ 980236 h 1227287"/>
                      <a:gd name="connsiteX2" fmla="*/ 3672 w 1574104"/>
                      <a:gd name="connsiteY2" fmla="*/ 803784 h 1227287"/>
                      <a:gd name="connsiteX3" fmla="*/ 152743 w 1574104"/>
                      <a:gd name="connsiteY3" fmla="*/ 116235 h 1227287"/>
                      <a:gd name="connsiteX4" fmla="*/ 329193 w 1574104"/>
                      <a:gd name="connsiteY4" fmla="*/ 3672 h 1227287"/>
                      <a:gd name="connsiteX5" fmla="*/ 1457869 w 1574104"/>
                      <a:gd name="connsiteY5" fmla="*/ 247052 h 1227287"/>
                      <a:gd name="connsiteX6" fmla="*/ 1570432 w 1574104"/>
                      <a:gd name="connsiteY6" fmla="*/ 423503 h 1227287"/>
                      <a:gd name="connsiteX7" fmla="*/ 1421363 w 1574104"/>
                      <a:gd name="connsiteY7" fmla="*/ 1111052 h 1227287"/>
                      <a:gd name="connsiteX8" fmla="*/ 1244911 w 1574104"/>
                      <a:gd name="connsiteY8" fmla="*/ 1223616 h 1227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574104" h="1227287">
                        <a:moveTo>
                          <a:pt x="1244911" y="1223616"/>
                        </a:moveTo>
                        <a:lnTo>
                          <a:pt x="116235" y="980236"/>
                        </a:lnTo>
                        <a:cubicBezTo>
                          <a:pt x="37137" y="961982"/>
                          <a:pt x="-14581" y="885926"/>
                          <a:pt x="3672" y="803784"/>
                        </a:cubicBezTo>
                        <a:lnTo>
                          <a:pt x="152743" y="116235"/>
                        </a:lnTo>
                        <a:cubicBezTo>
                          <a:pt x="170996" y="37137"/>
                          <a:pt x="247052" y="-14582"/>
                          <a:pt x="329193" y="3672"/>
                        </a:cubicBezTo>
                        <a:lnTo>
                          <a:pt x="1457869" y="247052"/>
                        </a:lnTo>
                        <a:cubicBezTo>
                          <a:pt x="1536968" y="265306"/>
                          <a:pt x="1588687" y="341362"/>
                          <a:pt x="1570432" y="423503"/>
                        </a:cubicBezTo>
                        <a:lnTo>
                          <a:pt x="1421363" y="1111052"/>
                        </a:lnTo>
                        <a:cubicBezTo>
                          <a:pt x="1403108" y="1190151"/>
                          <a:pt x="1327052" y="1241869"/>
                          <a:pt x="1244911" y="1223616"/>
                        </a:cubicBezTo>
                        <a:close/>
                      </a:path>
                    </a:pathLst>
                  </a:custGeom>
                  <a:solidFill>
                    <a:srgbClr val="38343B"/>
                  </a:solidFill>
                  <a:ln w="3041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55" name="任意多边形: 形状 54">
                    <a:extLst>
                      <a:ext uri="{FF2B5EF4-FFF2-40B4-BE49-F238E27FC236}">
                        <a16:creationId xmlns:a16="http://schemas.microsoft.com/office/drawing/2014/main" id="{59610537-32C7-4631-88AC-BFB30FEC6285}"/>
                      </a:ext>
                    </a:extLst>
                  </p:cNvPr>
                  <p:cNvSpPr/>
                  <p:nvPr/>
                </p:nvSpPr>
                <p:spPr>
                  <a:xfrm>
                    <a:off x="17106050" y="9775314"/>
                    <a:ext cx="1574104" cy="1227287"/>
                  </a:xfrm>
                  <a:custGeom>
                    <a:avLst/>
                    <a:gdLst>
                      <a:gd name="connsiteX0" fmla="*/ 1244912 w 1574104"/>
                      <a:gd name="connsiteY0" fmla="*/ 1223616 h 1227287"/>
                      <a:gd name="connsiteX1" fmla="*/ 116235 w 1574104"/>
                      <a:gd name="connsiteY1" fmla="*/ 980235 h 1227287"/>
                      <a:gd name="connsiteX2" fmla="*/ 3672 w 1574104"/>
                      <a:gd name="connsiteY2" fmla="*/ 803785 h 1227287"/>
                      <a:gd name="connsiteX3" fmla="*/ 152742 w 1574104"/>
                      <a:gd name="connsiteY3" fmla="*/ 116235 h 1227287"/>
                      <a:gd name="connsiteX4" fmla="*/ 329193 w 1574104"/>
                      <a:gd name="connsiteY4" fmla="*/ 3672 h 1227287"/>
                      <a:gd name="connsiteX5" fmla="*/ 1457870 w 1574104"/>
                      <a:gd name="connsiteY5" fmla="*/ 247052 h 1227287"/>
                      <a:gd name="connsiteX6" fmla="*/ 1570432 w 1574104"/>
                      <a:gd name="connsiteY6" fmla="*/ 423503 h 1227287"/>
                      <a:gd name="connsiteX7" fmla="*/ 1421362 w 1574104"/>
                      <a:gd name="connsiteY7" fmla="*/ 1111053 h 1227287"/>
                      <a:gd name="connsiteX8" fmla="*/ 1244912 w 1574104"/>
                      <a:gd name="connsiteY8" fmla="*/ 1223616 h 1227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574104" h="1227287">
                        <a:moveTo>
                          <a:pt x="1244912" y="1223616"/>
                        </a:moveTo>
                        <a:lnTo>
                          <a:pt x="116235" y="980235"/>
                        </a:lnTo>
                        <a:cubicBezTo>
                          <a:pt x="37137" y="961982"/>
                          <a:pt x="-14582" y="885925"/>
                          <a:pt x="3672" y="803785"/>
                        </a:cubicBezTo>
                        <a:lnTo>
                          <a:pt x="152742" y="116235"/>
                        </a:lnTo>
                        <a:cubicBezTo>
                          <a:pt x="170996" y="37137"/>
                          <a:pt x="247052" y="-14581"/>
                          <a:pt x="329193" y="3672"/>
                        </a:cubicBezTo>
                        <a:lnTo>
                          <a:pt x="1457870" y="247052"/>
                        </a:lnTo>
                        <a:cubicBezTo>
                          <a:pt x="1536968" y="265306"/>
                          <a:pt x="1588686" y="341362"/>
                          <a:pt x="1570432" y="423503"/>
                        </a:cubicBezTo>
                        <a:lnTo>
                          <a:pt x="1421362" y="1111053"/>
                        </a:lnTo>
                        <a:cubicBezTo>
                          <a:pt x="1403108" y="1190151"/>
                          <a:pt x="1324010" y="1241869"/>
                          <a:pt x="1244912" y="1223616"/>
                        </a:cubicBezTo>
                        <a:close/>
                      </a:path>
                    </a:pathLst>
                  </a:custGeom>
                  <a:solidFill>
                    <a:srgbClr val="6C5D68"/>
                  </a:solidFill>
                  <a:ln w="3041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D65A1F7B-76BC-4B47-A5FD-C030276A1759}"/>
                    </a:ext>
                  </a:extLst>
                </p:cNvPr>
                <p:cNvSpPr/>
                <p:nvPr/>
              </p:nvSpPr>
              <p:spPr>
                <a:xfrm>
                  <a:off x="17196687" y="10139755"/>
                  <a:ext cx="1429337" cy="308527"/>
                </a:xfrm>
                <a:custGeom>
                  <a:avLst/>
                  <a:gdLst>
                    <a:gd name="connsiteX0" fmla="*/ 1425035 w 1429337"/>
                    <a:gd name="connsiteY0" fmla="*/ 308527 h 308527"/>
                    <a:gd name="connsiteX1" fmla="*/ 1425035 w 1429337"/>
                    <a:gd name="connsiteY1" fmla="*/ 308527 h 308527"/>
                    <a:gd name="connsiteX2" fmla="*/ 4303 w 1429337"/>
                    <a:gd name="connsiteY2" fmla="*/ 10387 h 308527"/>
                    <a:gd name="connsiteX3" fmla="*/ 1260 w 1429337"/>
                    <a:gd name="connsiteY3" fmla="*/ 4302 h 308527"/>
                    <a:gd name="connsiteX4" fmla="*/ 7345 w 1429337"/>
                    <a:gd name="connsiteY4" fmla="*/ 1260 h 308527"/>
                    <a:gd name="connsiteX5" fmla="*/ 1425035 w 1429337"/>
                    <a:gd name="connsiteY5" fmla="*/ 299401 h 308527"/>
                    <a:gd name="connsiteX6" fmla="*/ 1428078 w 1429337"/>
                    <a:gd name="connsiteY6" fmla="*/ 305486 h 308527"/>
                    <a:gd name="connsiteX7" fmla="*/ 1425035 w 1429337"/>
                    <a:gd name="connsiteY7" fmla="*/ 308527 h 308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29337" h="308527">
                      <a:moveTo>
                        <a:pt x="1425035" y="308527"/>
                      </a:moveTo>
                      <a:cubicBezTo>
                        <a:pt x="1425035" y="308527"/>
                        <a:pt x="1425035" y="308527"/>
                        <a:pt x="1425035" y="308527"/>
                      </a:cubicBezTo>
                      <a:lnTo>
                        <a:pt x="4303" y="10387"/>
                      </a:lnTo>
                      <a:cubicBezTo>
                        <a:pt x="1260" y="10387"/>
                        <a:pt x="-1782" y="7344"/>
                        <a:pt x="1260" y="4302"/>
                      </a:cubicBezTo>
                      <a:cubicBezTo>
                        <a:pt x="1260" y="1260"/>
                        <a:pt x="4303" y="-1782"/>
                        <a:pt x="7345" y="1260"/>
                      </a:cubicBezTo>
                      <a:lnTo>
                        <a:pt x="1425035" y="299401"/>
                      </a:lnTo>
                      <a:cubicBezTo>
                        <a:pt x="1428078" y="299401"/>
                        <a:pt x="1431119" y="302443"/>
                        <a:pt x="1428078" y="305486"/>
                      </a:cubicBezTo>
                      <a:cubicBezTo>
                        <a:pt x="1431119" y="308527"/>
                        <a:pt x="1428078" y="308527"/>
                        <a:pt x="1425035" y="308527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B6536F72-B4FB-41AE-8476-1E86C1D62295}"/>
                  </a:ext>
                </a:extLst>
              </p:cNvPr>
              <p:cNvSpPr/>
              <p:nvPr/>
            </p:nvSpPr>
            <p:spPr>
              <a:xfrm rot="-10097605">
                <a:off x="18258168" y="10279752"/>
                <a:ext cx="121690" cy="194704"/>
              </a:xfrm>
              <a:custGeom>
                <a:avLst/>
                <a:gdLst>
                  <a:gd name="connsiteX0" fmla="*/ 1 w 121690"/>
                  <a:gd name="connsiteY0" fmla="*/ 0 h 194704"/>
                  <a:gd name="connsiteX1" fmla="*/ 121691 w 121690"/>
                  <a:gd name="connsiteY1" fmla="*/ 0 h 194704"/>
                  <a:gd name="connsiteX2" fmla="*/ 121691 w 121690"/>
                  <a:gd name="connsiteY2" fmla="*/ 194705 h 194704"/>
                  <a:gd name="connsiteX3" fmla="*/ 1 w 121690"/>
                  <a:gd name="connsiteY3" fmla="*/ 194705 h 194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690" h="194704">
                    <a:moveTo>
                      <a:pt x="1" y="0"/>
                    </a:moveTo>
                    <a:lnTo>
                      <a:pt x="121691" y="0"/>
                    </a:lnTo>
                    <a:lnTo>
                      <a:pt x="121691" y="194705"/>
                    </a:lnTo>
                    <a:lnTo>
                      <a:pt x="1" y="194705"/>
                    </a:ln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FA029250-6B73-4561-B29F-20141B417D1D}"/>
                  </a:ext>
                </a:extLst>
              </p:cNvPr>
              <p:cNvSpPr/>
              <p:nvPr/>
            </p:nvSpPr>
            <p:spPr>
              <a:xfrm rot="-10097605">
                <a:off x="17474909" y="10115580"/>
                <a:ext cx="121690" cy="194704"/>
              </a:xfrm>
              <a:custGeom>
                <a:avLst/>
                <a:gdLst>
                  <a:gd name="connsiteX0" fmla="*/ 0 w 121690"/>
                  <a:gd name="connsiteY0" fmla="*/ 0 h 194704"/>
                  <a:gd name="connsiteX1" fmla="*/ 121690 w 121690"/>
                  <a:gd name="connsiteY1" fmla="*/ 0 h 194704"/>
                  <a:gd name="connsiteX2" fmla="*/ 121690 w 121690"/>
                  <a:gd name="connsiteY2" fmla="*/ 194704 h 194704"/>
                  <a:gd name="connsiteX3" fmla="*/ 0 w 121690"/>
                  <a:gd name="connsiteY3" fmla="*/ 194704 h 194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690" h="194704">
                    <a:moveTo>
                      <a:pt x="0" y="0"/>
                    </a:moveTo>
                    <a:lnTo>
                      <a:pt x="121690" y="0"/>
                    </a:lnTo>
                    <a:lnTo>
                      <a:pt x="121690" y="194704"/>
                    </a:lnTo>
                    <a:lnTo>
                      <a:pt x="0" y="194704"/>
                    </a:lnTo>
                    <a:close/>
                  </a:path>
                </a:pathLst>
              </a:custGeom>
              <a:solidFill>
                <a:srgbClr val="F1DDBA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5" name="图形 1">
              <a:extLst>
                <a:ext uri="{FF2B5EF4-FFF2-40B4-BE49-F238E27FC236}">
                  <a16:creationId xmlns:a16="http://schemas.microsoft.com/office/drawing/2014/main" id="{90F885C1-0C56-4E6C-97AD-FAF856750C45}"/>
                </a:ext>
              </a:extLst>
            </p:cNvPr>
            <p:cNvGrpSpPr/>
            <p:nvPr/>
          </p:nvGrpSpPr>
          <p:grpSpPr>
            <a:xfrm>
              <a:off x="20428832" y="8866322"/>
              <a:ext cx="1636708" cy="1715807"/>
              <a:chOff x="20428832" y="8866322"/>
              <a:chExt cx="1636708" cy="1715807"/>
            </a:xfrm>
          </p:grpSpPr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A4D8D0A2-CFCC-48D1-A377-B78A9A6E45D9}"/>
                  </a:ext>
                </a:extLst>
              </p:cNvPr>
              <p:cNvSpPr/>
              <p:nvPr/>
            </p:nvSpPr>
            <p:spPr>
              <a:xfrm>
                <a:off x="20680757" y="9145627"/>
                <a:ext cx="488468" cy="493986"/>
              </a:xfrm>
              <a:custGeom>
                <a:avLst/>
                <a:gdLst>
                  <a:gd name="connsiteX0" fmla="*/ 478204 w 488468"/>
                  <a:gd name="connsiteY0" fmla="*/ 265246 h 493986"/>
                  <a:gd name="connsiteX1" fmla="*/ 459950 w 488468"/>
                  <a:gd name="connsiteY1" fmla="*/ 292627 h 493986"/>
                  <a:gd name="connsiteX2" fmla="*/ 459950 w 488468"/>
                  <a:gd name="connsiteY2" fmla="*/ 292627 h 493986"/>
                  <a:gd name="connsiteX3" fmla="*/ 329133 w 488468"/>
                  <a:gd name="connsiteY3" fmla="*/ 450824 h 493986"/>
                  <a:gd name="connsiteX4" fmla="*/ 246992 w 488468"/>
                  <a:gd name="connsiteY4" fmla="*/ 493416 h 493986"/>
                  <a:gd name="connsiteX5" fmla="*/ 158768 w 488468"/>
                  <a:gd name="connsiteY5" fmla="*/ 466035 h 493986"/>
                  <a:gd name="connsiteX6" fmla="*/ 43162 w 488468"/>
                  <a:gd name="connsiteY6" fmla="*/ 371725 h 493986"/>
                  <a:gd name="connsiteX7" fmla="*/ 570 w 488468"/>
                  <a:gd name="connsiteY7" fmla="*/ 289585 h 493986"/>
                  <a:gd name="connsiteX8" fmla="*/ 27951 w 488468"/>
                  <a:gd name="connsiteY8" fmla="*/ 201359 h 493986"/>
                  <a:gd name="connsiteX9" fmla="*/ 158768 w 488468"/>
                  <a:gd name="connsiteY9" fmla="*/ 43162 h 493986"/>
                  <a:gd name="connsiteX10" fmla="*/ 240909 w 488468"/>
                  <a:gd name="connsiteY10" fmla="*/ 570 h 493986"/>
                  <a:gd name="connsiteX11" fmla="*/ 329133 w 488468"/>
                  <a:gd name="connsiteY11" fmla="*/ 27951 h 493986"/>
                  <a:gd name="connsiteX12" fmla="*/ 444738 w 488468"/>
                  <a:gd name="connsiteY12" fmla="*/ 122261 h 493986"/>
                  <a:gd name="connsiteX13" fmla="*/ 478204 w 488468"/>
                  <a:gd name="connsiteY13" fmla="*/ 265246 h 493986"/>
                  <a:gd name="connsiteX14" fmla="*/ 417359 w 488468"/>
                  <a:gd name="connsiteY14" fmla="*/ 256120 h 493986"/>
                  <a:gd name="connsiteX15" fmla="*/ 408233 w 488468"/>
                  <a:gd name="connsiteY15" fmla="*/ 170937 h 493986"/>
                  <a:gd name="connsiteX16" fmla="*/ 292626 w 488468"/>
                  <a:gd name="connsiteY16" fmla="*/ 76627 h 493986"/>
                  <a:gd name="connsiteX17" fmla="*/ 246992 w 488468"/>
                  <a:gd name="connsiteY17" fmla="*/ 64458 h 493986"/>
                  <a:gd name="connsiteX18" fmla="*/ 204402 w 488468"/>
                  <a:gd name="connsiteY18" fmla="*/ 85754 h 493986"/>
                  <a:gd name="connsiteX19" fmla="*/ 73585 w 488468"/>
                  <a:gd name="connsiteY19" fmla="*/ 243951 h 493986"/>
                  <a:gd name="connsiteX20" fmla="*/ 58374 w 488468"/>
                  <a:gd name="connsiteY20" fmla="*/ 289585 h 493986"/>
                  <a:gd name="connsiteX21" fmla="*/ 79668 w 488468"/>
                  <a:gd name="connsiteY21" fmla="*/ 332176 h 493986"/>
                  <a:gd name="connsiteX22" fmla="*/ 195275 w 488468"/>
                  <a:gd name="connsiteY22" fmla="*/ 426486 h 493986"/>
                  <a:gd name="connsiteX23" fmla="*/ 240909 w 488468"/>
                  <a:gd name="connsiteY23" fmla="*/ 438655 h 493986"/>
                  <a:gd name="connsiteX24" fmla="*/ 283499 w 488468"/>
                  <a:gd name="connsiteY24" fmla="*/ 417360 h 493986"/>
                  <a:gd name="connsiteX25" fmla="*/ 417359 w 488468"/>
                  <a:gd name="connsiteY25" fmla="*/ 256120 h 493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88468" h="493986">
                    <a:moveTo>
                      <a:pt x="478204" y="265246"/>
                    </a:moveTo>
                    <a:cubicBezTo>
                      <a:pt x="475161" y="274373"/>
                      <a:pt x="469078" y="283500"/>
                      <a:pt x="459950" y="292627"/>
                    </a:cubicBezTo>
                    <a:lnTo>
                      <a:pt x="459950" y="292627"/>
                    </a:lnTo>
                    <a:lnTo>
                      <a:pt x="329133" y="450824"/>
                    </a:lnTo>
                    <a:cubicBezTo>
                      <a:pt x="307837" y="475162"/>
                      <a:pt x="280458" y="490373"/>
                      <a:pt x="246992" y="493416"/>
                    </a:cubicBezTo>
                    <a:cubicBezTo>
                      <a:pt x="213528" y="496457"/>
                      <a:pt x="183105" y="487331"/>
                      <a:pt x="158768" y="466035"/>
                    </a:cubicBezTo>
                    <a:lnTo>
                      <a:pt x="43162" y="371725"/>
                    </a:lnTo>
                    <a:cubicBezTo>
                      <a:pt x="18823" y="350430"/>
                      <a:pt x="3612" y="323050"/>
                      <a:pt x="570" y="289585"/>
                    </a:cubicBezTo>
                    <a:cubicBezTo>
                      <a:pt x="-2471" y="259162"/>
                      <a:pt x="6655" y="225697"/>
                      <a:pt x="27951" y="201359"/>
                    </a:cubicBezTo>
                    <a:lnTo>
                      <a:pt x="158768" y="43162"/>
                    </a:lnTo>
                    <a:cubicBezTo>
                      <a:pt x="180064" y="18824"/>
                      <a:pt x="207443" y="3613"/>
                      <a:pt x="240909" y="570"/>
                    </a:cubicBezTo>
                    <a:cubicBezTo>
                      <a:pt x="274373" y="-2472"/>
                      <a:pt x="304796" y="6655"/>
                      <a:pt x="329133" y="27951"/>
                    </a:cubicBezTo>
                    <a:lnTo>
                      <a:pt x="444738" y="122261"/>
                    </a:lnTo>
                    <a:cubicBezTo>
                      <a:pt x="487331" y="158768"/>
                      <a:pt x="499501" y="216571"/>
                      <a:pt x="478204" y="265246"/>
                    </a:cubicBezTo>
                    <a:close/>
                    <a:moveTo>
                      <a:pt x="417359" y="256120"/>
                    </a:moveTo>
                    <a:cubicBezTo>
                      <a:pt x="438655" y="228740"/>
                      <a:pt x="435612" y="192233"/>
                      <a:pt x="408233" y="170937"/>
                    </a:cubicBezTo>
                    <a:lnTo>
                      <a:pt x="292626" y="76627"/>
                    </a:lnTo>
                    <a:cubicBezTo>
                      <a:pt x="280458" y="67500"/>
                      <a:pt x="265247" y="61416"/>
                      <a:pt x="246992" y="64458"/>
                    </a:cubicBezTo>
                    <a:cubicBezTo>
                      <a:pt x="231781" y="67500"/>
                      <a:pt x="216569" y="73584"/>
                      <a:pt x="204402" y="85754"/>
                    </a:cubicBezTo>
                    <a:lnTo>
                      <a:pt x="73585" y="243951"/>
                    </a:lnTo>
                    <a:cubicBezTo>
                      <a:pt x="64457" y="256120"/>
                      <a:pt x="58374" y="271331"/>
                      <a:pt x="58374" y="289585"/>
                    </a:cubicBezTo>
                    <a:cubicBezTo>
                      <a:pt x="61415" y="304796"/>
                      <a:pt x="67500" y="320007"/>
                      <a:pt x="79668" y="332176"/>
                    </a:cubicBezTo>
                    <a:lnTo>
                      <a:pt x="195275" y="426486"/>
                    </a:lnTo>
                    <a:cubicBezTo>
                      <a:pt x="207443" y="435612"/>
                      <a:pt x="222654" y="441697"/>
                      <a:pt x="240909" y="438655"/>
                    </a:cubicBezTo>
                    <a:cubicBezTo>
                      <a:pt x="256120" y="435612"/>
                      <a:pt x="271332" y="429528"/>
                      <a:pt x="283499" y="417360"/>
                    </a:cubicBezTo>
                    <a:lnTo>
                      <a:pt x="417359" y="256120"/>
                    </a:ln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F1CBF1AA-F5EF-469F-904C-D2D754C8C69A}"/>
                  </a:ext>
                </a:extLst>
              </p:cNvPr>
              <p:cNvSpPr/>
              <p:nvPr/>
            </p:nvSpPr>
            <p:spPr>
              <a:xfrm>
                <a:off x="20428832" y="8945421"/>
                <a:ext cx="1572821" cy="1636708"/>
              </a:xfrm>
              <a:custGeom>
                <a:avLst/>
                <a:gdLst>
                  <a:gd name="connsiteX0" fmla="*/ 1539368 w 1572821"/>
                  <a:gd name="connsiteY0" fmla="*/ 687538 h 1636708"/>
                  <a:gd name="connsiteX1" fmla="*/ 806186 w 1572821"/>
                  <a:gd name="connsiteY1" fmla="*/ 1581960 h 1636708"/>
                  <a:gd name="connsiteX2" fmla="*/ 599313 w 1572821"/>
                  <a:gd name="connsiteY2" fmla="*/ 1603256 h 1636708"/>
                  <a:gd name="connsiteX3" fmla="*/ 54749 w 1572821"/>
                  <a:gd name="connsiteY3" fmla="*/ 1156044 h 1636708"/>
                  <a:gd name="connsiteX4" fmla="*/ 33453 w 1572821"/>
                  <a:gd name="connsiteY4" fmla="*/ 949171 h 1636708"/>
                  <a:gd name="connsiteX5" fmla="*/ 766637 w 1572821"/>
                  <a:gd name="connsiteY5" fmla="*/ 54749 h 1636708"/>
                  <a:gd name="connsiteX6" fmla="*/ 973510 w 1572821"/>
                  <a:gd name="connsiteY6" fmla="*/ 33453 h 1636708"/>
                  <a:gd name="connsiteX7" fmla="*/ 1518072 w 1572821"/>
                  <a:gd name="connsiteY7" fmla="*/ 480664 h 1636708"/>
                  <a:gd name="connsiteX8" fmla="*/ 1539368 w 1572821"/>
                  <a:gd name="connsiteY8" fmla="*/ 687538 h 1636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2821" h="1636708">
                    <a:moveTo>
                      <a:pt x="1539368" y="687538"/>
                    </a:moveTo>
                    <a:lnTo>
                      <a:pt x="806186" y="1581960"/>
                    </a:lnTo>
                    <a:cubicBezTo>
                      <a:pt x="754467" y="1645847"/>
                      <a:pt x="663200" y="1654974"/>
                      <a:pt x="599313" y="1603256"/>
                    </a:cubicBezTo>
                    <a:lnTo>
                      <a:pt x="54749" y="1156044"/>
                    </a:lnTo>
                    <a:cubicBezTo>
                      <a:pt x="-9138" y="1104327"/>
                      <a:pt x="-18266" y="1013059"/>
                      <a:pt x="33453" y="949171"/>
                    </a:cubicBezTo>
                    <a:lnTo>
                      <a:pt x="766637" y="54749"/>
                    </a:lnTo>
                    <a:cubicBezTo>
                      <a:pt x="818354" y="-9138"/>
                      <a:pt x="909621" y="-18265"/>
                      <a:pt x="973510" y="33453"/>
                    </a:cubicBezTo>
                    <a:lnTo>
                      <a:pt x="1518072" y="480664"/>
                    </a:lnTo>
                    <a:cubicBezTo>
                      <a:pt x="1581961" y="532382"/>
                      <a:pt x="1591087" y="623650"/>
                      <a:pt x="1539368" y="68753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E8655DB6-617A-4DA5-954C-B6D6EE5B41A5}"/>
                  </a:ext>
                </a:extLst>
              </p:cNvPr>
              <p:cNvSpPr/>
              <p:nvPr/>
            </p:nvSpPr>
            <p:spPr>
              <a:xfrm>
                <a:off x="20492720" y="8866322"/>
                <a:ext cx="1572821" cy="1636709"/>
              </a:xfrm>
              <a:custGeom>
                <a:avLst/>
                <a:gdLst>
                  <a:gd name="connsiteX0" fmla="*/ 1539369 w 1572821"/>
                  <a:gd name="connsiteY0" fmla="*/ 687537 h 1636709"/>
                  <a:gd name="connsiteX1" fmla="*/ 806185 w 1572821"/>
                  <a:gd name="connsiteY1" fmla="*/ 1581960 h 1636709"/>
                  <a:gd name="connsiteX2" fmla="*/ 599312 w 1572821"/>
                  <a:gd name="connsiteY2" fmla="*/ 1603256 h 1636709"/>
                  <a:gd name="connsiteX3" fmla="*/ 54748 w 1572821"/>
                  <a:gd name="connsiteY3" fmla="*/ 1156044 h 1636709"/>
                  <a:gd name="connsiteX4" fmla="*/ 33454 w 1572821"/>
                  <a:gd name="connsiteY4" fmla="*/ 949171 h 1636709"/>
                  <a:gd name="connsiteX5" fmla="*/ 766636 w 1572821"/>
                  <a:gd name="connsiteY5" fmla="*/ 54749 h 1636709"/>
                  <a:gd name="connsiteX6" fmla="*/ 973509 w 1572821"/>
                  <a:gd name="connsiteY6" fmla="*/ 33453 h 1636709"/>
                  <a:gd name="connsiteX7" fmla="*/ 1518073 w 1572821"/>
                  <a:gd name="connsiteY7" fmla="*/ 480665 h 1636709"/>
                  <a:gd name="connsiteX8" fmla="*/ 1539369 w 1572821"/>
                  <a:gd name="connsiteY8" fmla="*/ 687537 h 1636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2821" h="1636709">
                    <a:moveTo>
                      <a:pt x="1539369" y="687537"/>
                    </a:moveTo>
                    <a:lnTo>
                      <a:pt x="806185" y="1581960"/>
                    </a:lnTo>
                    <a:cubicBezTo>
                      <a:pt x="754466" y="1645847"/>
                      <a:pt x="663199" y="1654975"/>
                      <a:pt x="599312" y="1603256"/>
                    </a:cubicBezTo>
                    <a:lnTo>
                      <a:pt x="54748" y="1156044"/>
                    </a:lnTo>
                    <a:cubicBezTo>
                      <a:pt x="-9139" y="1104327"/>
                      <a:pt x="-18265" y="1013059"/>
                      <a:pt x="33454" y="949171"/>
                    </a:cubicBezTo>
                    <a:lnTo>
                      <a:pt x="766636" y="54749"/>
                    </a:lnTo>
                    <a:cubicBezTo>
                      <a:pt x="818355" y="-9138"/>
                      <a:pt x="909622" y="-18265"/>
                      <a:pt x="973509" y="33453"/>
                    </a:cubicBezTo>
                    <a:lnTo>
                      <a:pt x="1518073" y="480665"/>
                    </a:lnTo>
                    <a:cubicBezTo>
                      <a:pt x="1581960" y="532383"/>
                      <a:pt x="1591086" y="626692"/>
                      <a:pt x="1539369" y="68753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49005168-3171-4FA4-BB09-0BDD6E0A23A5}"/>
                </a:ext>
              </a:extLst>
            </p:cNvPr>
            <p:cNvSpPr/>
            <p:nvPr/>
          </p:nvSpPr>
          <p:spPr>
            <a:xfrm>
              <a:off x="20696081" y="9251763"/>
              <a:ext cx="141375" cy="99923"/>
            </a:xfrm>
            <a:custGeom>
              <a:avLst/>
              <a:gdLst>
                <a:gd name="connsiteX0" fmla="*/ 128233 w 141375"/>
                <a:gd name="connsiteY0" fmla="*/ 28294 h 99923"/>
                <a:gd name="connsiteX1" fmla="*/ 18711 w 141375"/>
                <a:gd name="connsiteY1" fmla="*/ 3956 h 99923"/>
                <a:gd name="connsiteX2" fmla="*/ 3500 w 141375"/>
                <a:gd name="connsiteY2" fmla="*/ 98266 h 99923"/>
                <a:gd name="connsiteX3" fmla="*/ 49133 w 141375"/>
                <a:gd name="connsiteY3" fmla="*/ 58716 h 99923"/>
                <a:gd name="connsiteX4" fmla="*/ 106937 w 141375"/>
                <a:gd name="connsiteY4" fmla="*/ 86097 h 99923"/>
                <a:gd name="connsiteX5" fmla="*/ 128233 w 141375"/>
                <a:gd name="connsiteY5" fmla="*/ 98266 h 99923"/>
                <a:gd name="connsiteX6" fmla="*/ 128233 w 141375"/>
                <a:gd name="connsiteY6" fmla="*/ 28294 h 99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375" h="99923">
                  <a:moveTo>
                    <a:pt x="128233" y="28294"/>
                  </a:moveTo>
                  <a:cubicBezTo>
                    <a:pt x="106937" y="914"/>
                    <a:pt x="49133" y="-5171"/>
                    <a:pt x="18711" y="3956"/>
                  </a:cubicBezTo>
                  <a:cubicBezTo>
                    <a:pt x="-2583" y="10040"/>
                    <a:pt x="-2583" y="98266"/>
                    <a:pt x="3500" y="98266"/>
                  </a:cubicBezTo>
                  <a:cubicBezTo>
                    <a:pt x="49133" y="92181"/>
                    <a:pt x="33922" y="58716"/>
                    <a:pt x="49133" y="58716"/>
                  </a:cubicBezTo>
                  <a:cubicBezTo>
                    <a:pt x="76514" y="58716"/>
                    <a:pt x="91726" y="70886"/>
                    <a:pt x="106937" y="86097"/>
                  </a:cubicBezTo>
                  <a:cubicBezTo>
                    <a:pt x="113022" y="92181"/>
                    <a:pt x="119107" y="104350"/>
                    <a:pt x="128233" y="98266"/>
                  </a:cubicBezTo>
                  <a:cubicBezTo>
                    <a:pt x="152571" y="92181"/>
                    <a:pt x="137359" y="40463"/>
                    <a:pt x="128233" y="28294"/>
                  </a:cubicBezTo>
                  <a:close/>
                </a:path>
              </a:pathLst>
            </a:custGeom>
            <a:solidFill>
              <a:srgbClr val="F49F84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CD88BE89-9766-426D-A021-759174BB1519}"/>
                </a:ext>
              </a:extLst>
            </p:cNvPr>
            <p:cNvSpPr/>
            <p:nvPr/>
          </p:nvSpPr>
          <p:spPr>
            <a:xfrm>
              <a:off x="20705665" y="9253078"/>
              <a:ext cx="140540" cy="115204"/>
            </a:xfrm>
            <a:custGeom>
              <a:avLst/>
              <a:gdLst>
                <a:gd name="connsiteX0" fmla="*/ 118649 w 140540"/>
                <a:gd name="connsiteY0" fmla="*/ 115204 h 115204"/>
                <a:gd name="connsiteX1" fmla="*/ 94311 w 140540"/>
                <a:gd name="connsiteY1" fmla="*/ 96950 h 115204"/>
                <a:gd name="connsiteX2" fmla="*/ 42592 w 140540"/>
                <a:gd name="connsiteY2" fmla="*/ 63486 h 115204"/>
                <a:gd name="connsiteX3" fmla="*/ 6085 w 140540"/>
                <a:gd name="connsiteY3" fmla="*/ 99993 h 115204"/>
                <a:gd name="connsiteX4" fmla="*/ 0 w 140540"/>
                <a:gd name="connsiteY4" fmla="*/ 96950 h 115204"/>
                <a:gd name="connsiteX5" fmla="*/ 3043 w 140540"/>
                <a:gd name="connsiteY5" fmla="*/ 90866 h 115204"/>
                <a:gd name="connsiteX6" fmla="*/ 33466 w 140540"/>
                <a:gd name="connsiteY6" fmla="*/ 57401 h 115204"/>
                <a:gd name="connsiteX7" fmla="*/ 39549 w 140540"/>
                <a:gd name="connsiteY7" fmla="*/ 54359 h 115204"/>
                <a:gd name="connsiteX8" fmla="*/ 103437 w 140540"/>
                <a:gd name="connsiteY8" fmla="*/ 90866 h 115204"/>
                <a:gd name="connsiteX9" fmla="*/ 118649 w 140540"/>
                <a:gd name="connsiteY9" fmla="*/ 106077 h 115204"/>
                <a:gd name="connsiteX10" fmla="*/ 124734 w 140540"/>
                <a:gd name="connsiteY10" fmla="*/ 103035 h 115204"/>
                <a:gd name="connsiteX11" fmla="*/ 115605 w 140540"/>
                <a:gd name="connsiteY11" fmla="*/ 33063 h 115204"/>
                <a:gd name="connsiteX12" fmla="*/ 12170 w 140540"/>
                <a:gd name="connsiteY12" fmla="*/ 11767 h 115204"/>
                <a:gd name="connsiteX13" fmla="*/ 6085 w 140540"/>
                <a:gd name="connsiteY13" fmla="*/ 8725 h 115204"/>
                <a:gd name="connsiteX14" fmla="*/ 9126 w 140540"/>
                <a:gd name="connsiteY14" fmla="*/ 2641 h 115204"/>
                <a:gd name="connsiteX15" fmla="*/ 124734 w 140540"/>
                <a:gd name="connsiteY15" fmla="*/ 30021 h 115204"/>
                <a:gd name="connsiteX16" fmla="*/ 136901 w 140540"/>
                <a:gd name="connsiteY16" fmla="*/ 112162 h 115204"/>
                <a:gd name="connsiteX17" fmla="*/ 118649 w 140540"/>
                <a:gd name="connsiteY17" fmla="*/ 115204 h 115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0540" h="115204">
                  <a:moveTo>
                    <a:pt x="118649" y="115204"/>
                  </a:moveTo>
                  <a:cubicBezTo>
                    <a:pt x="109522" y="115204"/>
                    <a:pt x="103437" y="106077"/>
                    <a:pt x="94311" y="96950"/>
                  </a:cubicBezTo>
                  <a:cubicBezTo>
                    <a:pt x="82141" y="81739"/>
                    <a:pt x="69971" y="63486"/>
                    <a:pt x="42592" y="63486"/>
                  </a:cubicBezTo>
                  <a:cubicBezTo>
                    <a:pt x="39549" y="72612"/>
                    <a:pt x="27381" y="93908"/>
                    <a:pt x="6085" y="99993"/>
                  </a:cubicBezTo>
                  <a:cubicBezTo>
                    <a:pt x="3043" y="99993"/>
                    <a:pt x="0" y="99993"/>
                    <a:pt x="0" y="96950"/>
                  </a:cubicBezTo>
                  <a:cubicBezTo>
                    <a:pt x="0" y="93908"/>
                    <a:pt x="0" y="90866"/>
                    <a:pt x="3043" y="90866"/>
                  </a:cubicBezTo>
                  <a:cubicBezTo>
                    <a:pt x="21296" y="84782"/>
                    <a:pt x="33466" y="57401"/>
                    <a:pt x="33466" y="57401"/>
                  </a:cubicBezTo>
                  <a:cubicBezTo>
                    <a:pt x="33466" y="54359"/>
                    <a:pt x="36507" y="54359"/>
                    <a:pt x="39549" y="54359"/>
                  </a:cubicBezTo>
                  <a:cubicBezTo>
                    <a:pt x="73015" y="51317"/>
                    <a:pt x="91268" y="75655"/>
                    <a:pt x="103437" y="90866"/>
                  </a:cubicBezTo>
                  <a:cubicBezTo>
                    <a:pt x="109522" y="96950"/>
                    <a:pt x="115605" y="106077"/>
                    <a:pt x="118649" y="106077"/>
                  </a:cubicBezTo>
                  <a:cubicBezTo>
                    <a:pt x="118649" y="106077"/>
                    <a:pt x="121690" y="106077"/>
                    <a:pt x="124734" y="103035"/>
                  </a:cubicBezTo>
                  <a:cubicBezTo>
                    <a:pt x="130817" y="90866"/>
                    <a:pt x="130817" y="60443"/>
                    <a:pt x="115605" y="33063"/>
                  </a:cubicBezTo>
                  <a:cubicBezTo>
                    <a:pt x="94311" y="-3444"/>
                    <a:pt x="12170" y="11767"/>
                    <a:pt x="12170" y="11767"/>
                  </a:cubicBezTo>
                  <a:cubicBezTo>
                    <a:pt x="9126" y="11767"/>
                    <a:pt x="6085" y="11767"/>
                    <a:pt x="6085" y="8725"/>
                  </a:cubicBezTo>
                  <a:cubicBezTo>
                    <a:pt x="6085" y="5683"/>
                    <a:pt x="6085" y="2641"/>
                    <a:pt x="9126" y="2641"/>
                  </a:cubicBezTo>
                  <a:cubicBezTo>
                    <a:pt x="12170" y="2641"/>
                    <a:pt x="100394" y="-12570"/>
                    <a:pt x="124734" y="30021"/>
                  </a:cubicBezTo>
                  <a:cubicBezTo>
                    <a:pt x="142986" y="60443"/>
                    <a:pt x="142986" y="96950"/>
                    <a:pt x="136901" y="112162"/>
                  </a:cubicBezTo>
                  <a:cubicBezTo>
                    <a:pt x="130817" y="112162"/>
                    <a:pt x="124734" y="115204"/>
                    <a:pt x="118649" y="115204"/>
                  </a:cubicBezTo>
                  <a:close/>
                </a:path>
              </a:pathLst>
            </a:custGeom>
            <a:solidFill>
              <a:srgbClr val="E87952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8" name="图形 1">
              <a:extLst>
                <a:ext uri="{FF2B5EF4-FFF2-40B4-BE49-F238E27FC236}">
                  <a16:creationId xmlns:a16="http://schemas.microsoft.com/office/drawing/2014/main" id="{CDC2E04B-9F30-48CF-BC4E-B0199D65681E}"/>
                </a:ext>
              </a:extLst>
            </p:cNvPr>
            <p:cNvGrpSpPr/>
            <p:nvPr/>
          </p:nvGrpSpPr>
          <p:grpSpPr>
            <a:xfrm>
              <a:off x="17879412" y="9553194"/>
              <a:ext cx="254197" cy="347482"/>
              <a:chOff x="17879412" y="9553194"/>
              <a:chExt cx="254197" cy="347482"/>
            </a:xfrm>
          </p:grpSpPr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870281E3-6A2B-43D5-A3CB-E306926F940D}"/>
                  </a:ext>
                </a:extLst>
              </p:cNvPr>
              <p:cNvSpPr/>
              <p:nvPr/>
            </p:nvSpPr>
            <p:spPr>
              <a:xfrm>
                <a:off x="17879412" y="9553194"/>
                <a:ext cx="245855" cy="341588"/>
              </a:xfrm>
              <a:custGeom>
                <a:avLst/>
                <a:gdLst>
                  <a:gd name="connsiteX0" fmla="*/ 42591 w 245855"/>
                  <a:gd name="connsiteY0" fmla="*/ 49342 h 341588"/>
                  <a:gd name="connsiteX1" fmla="*/ 27380 w 245855"/>
                  <a:gd name="connsiteY1" fmla="*/ 161905 h 341588"/>
                  <a:gd name="connsiteX2" fmla="*/ 0 w 245855"/>
                  <a:gd name="connsiteY2" fmla="*/ 250131 h 341588"/>
                  <a:gd name="connsiteX3" fmla="*/ 51719 w 245855"/>
                  <a:gd name="connsiteY3" fmla="*/ 280553 h 341588"/>
                  <a:gd name="connsiteX4" fmla="*/ 76057 w 245855"/>
                  <a:gd name="connsiteY4" fmla="*/ 320102 h 341588"/>
                  <a:gd name="connsiteX5" fmla="*/ 112563 w 245855"/>
                  <a:gd name="connsiteY5" fmla="*/ 317060 h 341588"/>
                  <a:gd name="connsiteX6" fmla="*/ 173408 w 245855"/>
                  <a:gd name="connsiteY6" fmla="*/ 326187 h 341588"/>
                  <a:gd name="connsiteX7" fmla="*/ 212959 w 245855"/>
                  <a:gd name="connsiteY7" fmla="*/ 341398 h 341588"/>
                  <a:gd name="connsiteX8" fmla="*/ 243381 w 245855"/>
                  <a:gd name="connsiteY8" fmla="*/ 277511 h 341588"/>
                  <a:gd name="connsiteX9" fmla="*/ 216000 w 245855"/>
                  <a:gd name="connsiteY9" fmla="*/ 25004 h 341588"/>
                  <a:gd name="connsiteX10" fmla="*/ 79099 w 245855"/>
                  <a:gd name="connsiteY10" fmla="*/ 3708 h 341588"/>
                  <a:gd name="connsiteX11" fmla="*/ 42591 w 245855"/>
                  <a:gd name="connsiteY11" fmla="*/ 49342 h 341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5855" h="341588">
                    <a:moveTo>
                      <a:pt x="42591" y="49342"/>
                    </a:moveTo>
                    <a:cubicBezTo>
                      <a:pt x="36507" y="85849"/>
                      <a:pt x="33465" y="125398"/>
                      <a:pt x="27380" y="161905"/>
                    </a:cubicBezTo>
                    <a:cubicBezTo>
                      <a:pt x="21296" y="201454"/>
                      <a:pt x="0" y="213623"/>
                      <a:pt x="0" y="250131"/>
                    </a:cubicBezTo>
                    <a:cubicBezTo>
                      <a:pt x="0" y="280553"/>
                      <a:pt x="27380" y="289679"/>
                      <a:pt x="51719" y="280553"/>
                    </a:cubicBezTo>
                    <a:cubicBezTo>
                      <a:pt x="48676" y="301848"/>
                      <a:pt x="57803" y="310976"/>
                      <a:pt x="76057" y="320102"/>
                    </a:cubicBezTo>
                    <a:cubicBezTo>
                      <a:pt x="85184" y="323144"/>
                      <a:pt x="106480" y="323144"/>
                      <a:pt x="112563" y="317060"/>
                    </a:cubicBezTo>
                    <a:cubicBezTo>
                      <a:pt x="112563" y="335313"/>
                      <a:pt x="158197" y="347482"/>
                      <a:pt x="173408" y="326187"/>
                    </a:cubicBezTo>
                    <a:cubicBezTo>
                      <a:pt x="179493" y="344441"/>
                      <a:pt x="200789" y="341398"/>
                      <a:pt x="212959" y="341398"/>
                    </a:cubicBezTo>
                    <a:cubicBezTo>
                      <a:pt x="252508" y="335313"/>
                      <a:pt x="240338" y="295764"/>
                      <a:pt x="243381" y="277511"/>
                    </a:cubicBezTo>
                    <a:cubicBezTo>
                      <a:pt x="255549" y="174074"/>
                      <a:pt x="219042" y="128440"/>
                      <a:pt x="216000" y="25004"/>
                    </a:cubicBezTo>
                    <a:cubicBezTo>
                      <a:pt x="219042" y="25004"/>
                      <a:pt x="127774" y="-11503"/>
                      <a:pt x="79099" y="3708"/>
                    </a:cubicBezTo>
                    <a:cubicBezTo>
                      <a:pt x="51719" y="9793"/>
                      <a:pt x="48676" y="18919"/>
                      <a:pt x="42591" y="4934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0F7DF977-D034-4C28-B830-00F946390A4A}"/>
                  </a:ext>
                </a:extLst>
              </p:cNvPr>
              <p:cNvSpPr/>
              <p:nvPr/>
            </p:nvSpPr>
            <p:spPr>
              <a:xfrm>
                <a:off x="18047497" y="9727268"/>
                <a:ext cx="86112" cy="173407"/>
              </a:xfrm>
              <a:custGeom>
                <a:avLst/>
                <a:gdLst>
                  <a:gd name="connsiteX0" fmla="*/ 44873 w 86112"/>
                  <a:gd name="connsiteY0" fmla="*/ 173408 h 173407"/>
                  <a:gd name="connsiteX1" fmla="*/ 2281 w 86112"/>
                  <a:gd name="connsiteY1" fmla="*/ 155155 h 173407"/>
                  <a:gd name="connsiteX2" fmla="*/ 2281 w 86112"/>
                  <a:gd name="connsiteY2" fmla="*/ 146028 h 173407"/>
                  <a:gd name="connsiteX3" fmla="*/ 11408 w 86112"/>
                  <a:gd name="connsiteY3" fmla="*/ 146028 h 173407"/>
                  <a:gd name="connsiteX4" fmla="*/ 50956 w 86112"/>
                  <a:gd name="connsiteY4" fmla="*/ 161239 h 173407"/>
                  <a:gd name="connsiteX5" fmla="*/ 66168 w 86112"/>
                  <a:gd name="connsiteY5" fmla="*/ 149070 h 173407"/>
                  <a:gd name="connsiteX6" fmla="*/ 66168 w 86112"/>
                  <a:gd name="connsiteY6" fmla="*/ 6084 h 173407"/>
                  <a:gd name="connsiteX7" fmla="*/ 69211 w 86112"/>
                  <a:gd name="connsiteY7" fmla="*/ 0 h 173407"/>
                  <a:gd name="connsiteX8" fmla="*/ 75296 w 86112"/>
                  <a:gd name="connsiteY8" fmla="*/ 3042 h 173407"/>
                  <a:gd name="connsiteX9" fmla="*/ 75296 w 86112"/>
                  <a:gd name="connsiteY9" fmla="*/ 152113 h 173407"/>
                  <a:gd name="connsiteX10" fmla="*/ 50956 w 86112"/>
                  <a:gd name="connsiteY10" fmla="*/ 170366 h 173407"/>
                  <a:gd name="connsiteX11" fmla="*/ 44873 w 86112"/>
                  <a:gd name="connsiteY11" fmla="*/ 173408 h 173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6112" h="173407">
                    <a:moveTo>
                      <a:pt x="44873" y="173408"/>
                    </a:moveTo>
                    <a:cubicBezTo>
                      <a:pt x="23577" y="173408"/>
                      <a:pt x="5323" y="155155"/>
                      <a:pt x="2281" y="155155"/>
                    </a:cubicBezTo>
                    <a:cubicBezTo>
                      <a:pt x="-760" y="152113"/>
                      <a:pt x="-760" y="149070"/>
                      <a:pt x="2281" y="146028"/>
                    </a:cubicBezTo>
                    <a:cubicBezTo>
                      <a:pt x="5323" y="142985"/>
                      <a:pt x="8366" y="142985"/>
                      <a:pt x="11408" y="146028"/>
                    </a:cubicBezTo>
                    <a:cubicBezTo>
                      <a:pt x="11408" y="146028"/>
                      <a:pt x="32704" y="164282"/>
                      <a:pt x="50956" y="161239"/>
                    </a:cubicBezTo>
                    <a:cubicBezTo>
                      <a:pt x="57041" y="161239"/>
                      <a:pt x="63126" y="155155"/>
                      <a:pt x="66168" y="149070"/>
                    </a:cubicBezTo>
                    <a:cubicBezTo>
                      <a:pt x="87464" y="106479"/>
                      <a:pt x="66168" y="9126"/>
                      <a:pt x="66168" y="6084"/>
                    </a:cubicBezTo>
                    <a:cubicBezTo>
                      <a:pt x="66168" y="3042"/>
                      <a:pt x="66168" y="0"/>
                      <a:pt x="69211" y="0"/>
                    </a:cubicBezTo>
                    <a:cubicBezTo>
                      <a:pt x="72253" y="0"/>
                      <a:pt x="75296" y="0"/>
                      <a:pt x="75296" y="3042"/>
                    </a:cubicBezTo>
                    <a:cubicBezTo>
                      <a:pt x="75296" y="6084"/>
                      <a:pt x="99634" y="109521"/>
                      <a:pt x="75296" y="152113"/>
                    </a:cubicBezTo>
                    <a:cubicBezTo>
                      <a:pt x="69211" y="161239"/>
                      <a:pt x="60085" y="167324"/>
                      <a:pt x="50956" y="170366"/>
                    </a:cubicBezTo>
                    <a:cubicBezTo>
                      <a:pt x="47915" y="173408"/>
                      <a:pt x="44873" y="173408"/>
                      <a:pt x="44873" y="17340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76047771-E3AB-4E25-A3F1-1347D6A7BF59}"/>
                  </a:ext>
                </a:extLst>
              </p:cNvPr>
              <p:cNvSpPr/>
              <p:nvPr/>
            </p:nvSpPr>
            <p:spPr>
              <a:xfrm>
                <a:off x="17943299" y="9794197"/>
                <a:ext cx="98612" cy="45633"/>
              </a:xfrm>
              <a:custGeom>
                <a:avLst/>
                <a:gdLst>
                  <a:gd name="connsiteX0" fmla="*/ 94309 w 98612"/>
                  <a:gd name="connsiteY0" fmla="*/ 45634 h 45633"/>
                  <a:gd name="connsiteX1" fmla="*/ 94309 w 98612"/>
                  <a:gd name="connsiteY1" fmla="*/ 45634 h 45633"/>
                  <a:gd name="connsiteX2" fmla="*/ 3042 w 98612"/>
                  <a:gd name="connsiteY2" fmla="*/ 9127 h 45633"/>
                  <a:gd name="connsiteX3" fmla="*/ 0 w 98612"/>
                  <a:gd name="connsiteY3" fmla="*/ 3042 h 45633"/>
                  <a:gd name="connsiteX4" fmla="*/ 6085 w 98612"/>
                  <a:gd name="connsiteY4" fmla="*/ 0 h 45633"/>
                  <a:gd name="connsiteX5" fmla="*/ 91268 w 98612"/>
                  <a:gd name="connsiteY5" fmla="*/ 33465 h 45633"/>
                  <a:gd name="connsiteX6" fmla="*/ 97352 w 98612"/>
                  <a:gd name="connsiteY6" fmla="*/ 39550 h 45633"/>
                  <a:gd name="connsiteX7" fmla="*/ 94309 w 98612"/>
                  <a:gd name="connsiteY7" fmla="*/ 45634 h 45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612" h="45633">
                    <a:moveTo>
                      <a:pt x="94309" y="45634"/>
                    </a:moveTo>
                    <a:cubicBezTo>
                      <a:pt x="94309" y="45634"/>
                      <a:pt x="94309" y="45634"/>
                      <a:pt x="94309" y="45634"/>
                    </a:cubicBezTo>
                    <a:cubicBezTo>
                      <a:pt x="69971" y="42592"/>
                      <a:pt x="6085" y="12170"/>
                      <a:pt x="3042" y="9127"/>
                    </a:cubicBezTo>
                    <a:cubicBezTo>
                      <a:pt x="0" y="9127"/>
                      <a:pt x="0" y="3042"/>
                      <a:pt x="0" y="3042"/>
                    </a:cubicBezTo>
                    <a:cubicBezTo>
                      <a:pt x="0" y="0"/>
                      <a:pt x="6085" y="0"/>
                      <a:pt x="6085" y="0"/>
                    </a:cubicBezTo>
                    <a:cubicBezTo>
                      <a:pt x="6085" y="0"/>
                      <a:pt x="69971" y="33465"/>
                      <a:pt x="91268" y="33465"/>
                    </a:cubicBezTo>
                    <a:cubicBezTo>
                      <a:pt x="94309" y="33465"/>
                      <a:pt x="97352" y="36507"/>
                      <a:pt x="97352" y="39550"/>
                    </a:cubicBezTo>
                    <a:cubicBezTo>
                      <a:pt x="100394" y="42592"/>
                      <a:pt x="97352" y="45634"/>
                      <a:pt x="94309" y="4563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149071B8-7BFD-421C-89B5-195909318D4B}"/>
                </a:ext>
              </a:extLst>
            </p:cNvPr>
            <p:cNvSpPr/>
            <p:nvPr/>
          </p:nvSpPr>
          <p:spPr>
            <a:xfrm>
              <a:off x="17875488" y="8398264"/>
              <a:ext cx="1103052" cy="1249905"/>
            </a:xfrm>
            <a:custGeom>
              <a:avLst/>
              <a:gdLst>
                <a:gd name="connsiteX0" fmla="*/ 1096093 w 1103052"/>
                <a:gd name="connsiteY0" fmla="*/ 78638 h 1249905"/>
                <a:gd name="connsiteX1" fmla="*/ 755360 w 1103052"/>
                <a:gd name="connsiteY1" fmla="*/ 468046 h 1249905"/>
                <a:gd name="connsiteX2" fmla="*/ 335530 w 1103052"/>
                <a:gd name="connsiteY2" fmla="*/ 665793 h 1249905"/>
                <a:gd name="connsiteX3" fmla="*/ 244262 w 1103052"/>
                <a:gd name="connsiteY3" fmla="*/ 1231652 h 1249905"/>
                <a:gd name="connsiteX4" fmla="*/ 31304 w 1103052"/>
                <a:gd name="connsiteY4" fmla="*/ 1249905 h 1249905"/>
                <a:gd name="connsiteX5" fmla="*/ 22178 w 1103052"/>
                <a:gd name="connsiteY5" fmla="*/ 471088 h 1249905"/>
                <a:gd name="connsiteX6" fmla="*/ 1096093 w 1103052"/>
                <a:gd name="connsiteY6" fmla="*/ 78638 h 1249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3052" h="1249905">
                  <a:moveTo>
                    <a:pt x="1096093" y="78638"/>
                  </a:moveTo>
                  <a:cubicBezTo>
                    <a:pt x="1150853" y="203370"/>
                    <a:pt x="867924" y="404159"/>
                    <a:pt x="755360" y="468046"/>
                  </a:cubicBezTo>
                  <a:cubicBezTo>
                    <a:pt x="654966" y="525849"/>
                    <a:pt x="335530" y="665793"/>
                    <a:pt x="335530" y="665793"/>
                  </a:cubicBezTo>
                  <a:lnTo>
                    <a:pt x="244262" y="1231652"/>
                  </a:lnTo>
                  <a:lnTo>
                    <a:pt x="31304" y="1249905"/>
                  </a:lnTo>
                  <a:cubicBezTo>
                    <a:pt x="31304" y="1249905"/>
                    <a:pt x="-32582" y="586694"/>
                    <a:pt x="22178" y="471088"/>
                  </a:cubicBezTo>
                  <a:cubicBezTo>
                    <a:pt x="79982" y="346356"/>
                    <a:pt x="971361" y="-201250"/>
                    <a:pt x="1096093" y="78638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625C11E7-6A8E-4C17-82D9-DBCD7050F13C}"/>
                </a:ext>
              </a:extLst>
            </p:cNvPr>
            <p:cNvSpPr/>
            <p:nvPr/>
          </p:nvSpPr>
          <p:spPr>
            <a:xfrm>
              <a:off x="18624765" y="8416057"/>
              <a:ext cx="353914" cy="456338"/>
            </a:xfrm>
            <a:custGeom>
              <a:avLst/>
              <a:gdLst>
                <a:gd name="connsiteX0" fmla="*/ 6083 w 353914"/>
                <a:gd name="connsiteY0" fmla="*/ 456338 h 456338"/>
                <a:gd name="connsiteX1" fmla="*/ 0 w 353914"/>
                <a:gd name="connsiteY1" fmla="*/ 453296 h 456338"/>
                <a:gd name="connsiteX2" fmla="*/ 3042 w 353914"/>
                <a:gd name="connsiteY2" fmla="*/ 447211 h 456338"/>
                <a:gd name="connsiteX3" fmla="*/ 295097 w 353914"/>
                <a:gd name="connsiteY3" fmla="*/ 209915 h 456338"/>
                <a:gd name="connsiteX4" fmla="*/ 340731 w 353914"/>
                <a:gd name="connsiteY4" fmla="*/ 66929 h 456338"/>
                <a:gd name="connsiteX5" fmla="*/ 292056 w 353914"/>
                <a:gd name="connsiteY5" fmla="*/ 9127 h 456338"/>
                <a:gd name="connsiteX6" fmla="*/ 289014 w 353914"/>
                <a:gd name="connsiteY6" fmla="*/ 3042 h 456338"/>
                <a:gd name="connsiteX7" fmla="*/ 295097 w 353914"/>
                <a:gd name="connsiteY7" fmla="*/ 0 h 456338"/>
                <a:gd name="connsiteX8" fmla="*/ 349859 w 353914"/>
                <a:gd name="connsiteY8" fmla="*/ 66929 h 456338"/>
                <a:gd name="connsiteX9" fmla="*/ 304225 w 353914"/>
                <a:gd name="connsiteY9" fmla="*/ 219042 h 456338"/>
                <a:gd name="connsiteX10" fmla="*/ 6083 w 353914"/>
                <a:gd name="connsiteY10" fmla="*/ 456338 h 456338"/>
                <a:gd name="connsiteX11" fmla="*/ 6083 w 353914"/>
                <a:gd name="connsiteY11" fmla="*/ 456338 h 456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3914" h="456338">
                  <a:moveTo>
                    <a:pt x="6083" y="456338"/>
                  </a:moveTo>
                  <a:cubicBezTo>
                    <a:pt x="3042" y="456338"/>
                    <a:pt x="3042" y="456338"/>
                    <a:pt x="0" y="453296"/>
                  </a:cubicBezTo>
                  <a:cubicBezTo>
                    <a:pt x="0" y="450254"/>
                    <a:pt x="0" y="447211"/>
                    <a:pt x="3042" y="447211"/>
                  </a:cubicBezTo>
                  <a:cubicBezTo>
                    <a:pt x="6083" y="447211"/>
                    <a:pt x="188618" y="355944"/>
                    <a:pt x="295097" y="209915"/>
                  </a:cubicBezTo>
                  <a:cubicBezTo>
                    <a:pt x="334648" y="155155"/>
                    <a:pt x="349859" y="106479"/>
                    <a:pt x="340731" y="66929"/>
                  </a:cubicBezTo>
                  <a:cubicBezTo>
                    <a:pt x="328563" y="24338"/>
                    <a:pt x="292056" y="9127"/>
                    <a:pt x="292056" y="9127"/>
                  </a:cubicBezTo>
                  <a:cubicBezTo>
                    <a:pt x="289014" y="9127"/>
                    <a:pt x="289014" y="6084"/>
                    <a:pt x="289014" y="3042"/>
                  </a:cubicBezTo>
                  <a:cubicBezTo>
                    <a:pt x="289014" y="0"/>
                    <a:pt x="292056" y="0"/>
                    <a:pt x="295097" y="0"/>
                  </a:cubicBezTo>
                  <a:cubicBezTo>
                    <a:pt x="298140" y="0"/>
                    <a:pt x="337689" y="18254"/>
                    <a:pt x="349859" y="66929"/>
                  </a:cubicBezTo>
                  <a:cubicBezTo>
                    <a:pt x="362027" y="109521"/>
                    <a:pt x="346816" y="161240"/>
                    <a:pt x="304225" y="219042"/>
                  </a:cubicBezTo>
                  <a:cubicBezTo>
                    <a:pt x="197746" y="365070"/>
                    <a:pt x="9126" y="456338"/>
                    <a:pt x="6083" y="456338"/>
                  </a:cubicBezTo>
                  <a:cubicBezTo>
                    <a:pt x="9126" y="456338"/>
                    <a:pt x="6083" y="456338"/>
                    <a:pt x="6083" y="456338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88A4795E-369A-4765-9445-F0FD696223BD}"/>
                </a:ext>
              </a:extLst>
            </p:cNvPr>
            <p:cNvSpPr/>
            <p:nvPr/>
          </p:nvSpPr>
          <p:spPr>
            <a:xfrm>
              <a:off x="18134961" y="8955296"/>
              <a:ext cx="79099" cy="114845"/>
            </a:xfrm>
            <a:custGeom>
              <a:avLst/>
              <a:gdLst>
                <a:gd name="connsiteX0" fmla="*/ 76056 w 79099"/>
                <a:gd name="connsiteY0" fmla="*/ 114845 h 114845"/>
                <a:gd name="connsiteX1" fmla="*/ 73015 w 79099"/>
                <a:gd name="connsiteY1" fmla="*/ 114845 h 114845"/>
                <a:gd name="connsiteX2" fmla="*/ 6085 w 79099"/>
                <a:gd name="connsiteY2" fmla="*/ 81380 h 114845"/>
                <a:gd name="connsiteX3" fmla="*/ 0 w 79099"/>
                <a:gd name="connsiteY3" fmla="*/ 75296 h 114845"/>
                <a:gd name="connsiteX4" fmla="*/ 6085 w 79099"/>
                <a:gd name="connsiteY4" fmla="*/ 69211 h 114845"/>
                <a:gd name="connsiteX5" fmla="*/ 57804 w 79099"/>
                <a:gd name="connsiteY5" fmla="*/ 93549 h 114845"/>
                <a:gd name="connsiteX6" fmla="*/ 6085 w 79099"/>
                <a:gd name="connsiteY6" fmla="*/ 11409 h 114845"/>
                <a:gd name="connsiteX7" fmla="*/ 6085 w 79099"/>
                <a:gd name="connsiteY7" fmla="*/ 2282 h 114845"/>
                <a:gd name="connsiteX8" fmla="*/ 15211 w 79099"/>
                <a:gd name="connsiteY8" fmla="*/ 2282 h 114845"/>
                <a:gd name="connsiteX9" fmla="*/ 79100 w 79099"/>
                <a:gd name="connsiteY9" fmla="*/ 108761 h 114845"/>
                <a:gd name="connsiteX10" fmla="*/ 79100 w 79099"/>
                <a:gd name="connsiteY10" fmla="*/ 114845 h 114845"/>
                <a:gd name="connsiteX11" fmla="*/ 76056 w 79099"/>
                <a:gd name="connsiteY11" fmla="*/ 114845 h 114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9099" h="114845">
                  <a:moveTo>
                    <a:pt x="76056" y="114845"/>
                  </a:moveTo>
                  <a:cubicBezTo>
                    <a:pt x="76056" y="114845"/>
                    <a:pt x="73015" y="114845"/>
                    <a:pt x="73015" y="114845"/>
                  </a:cubicBezTo>
                  <a:cubicBezTo>
                    <a:pt x="73015" y="114845"/>
                    <a:pt x="33466" y="87465"/>
                    <a:pt x="6085" y="81380"/>
                  </a:cubicBezTo>
                  <a:cubicBezTo>
                    <a:pt x="3043" y="81380"/>
                    <a:pt x="0" y="78338"/>
                    <a:pt x="0" y="75296"/>
                  </a:cubicBezTo>
                  <a:cubicBezTo>
                    <a:pt x="0" y="72254"/>
                    <a:pt x="3043" y="69211"/>
                    <a:pt x="6085" y="69211"/>
                  </a:cubicBezTo>
                  <a:cubicBezTo>
                    <a:pt x="24338" y="72254"/>
                    <a:pt x="45634" y="84423"/>
                    <a:pt x="57804" y="93549"/>
                  </a:cubicBezTo>
                  <a:cubicBezTo>
                    <a:pt x="42592" y="63127"/>
                    <a:pt x="18255" y="20535"/>
                    <a:pt x="6085" y="11409"/>
                  </a:cubicBezTo>
                  <a:cubicBezTo>
                    <a:pt x="3043" y="8366"/>
                    <a:pt x="3043" y="5324"/>
                    <a:pt x="6085" y="2282"/>
                  </a:cubicBezTo>
                  <a:cubicBezTo>
                    <a:pt x="9126" y="-761"/>
                    <a:pt x="12170" y="-761"/>
                    <a:pt x="15211" y="2282"/>
                  </a:cubicBezTo>
                  <a:cubicBezTo>
                    <a:pt x="36507" y="17493"/>
                    <a:pt x="73015" y="99634"/>
                    <a:pt x="79100" y="108761"/>
                  </a:cubicBezTo>
                  <a:cubicBezTo>
                    <a:pt x="79100" y="111803"/>
                    <a:pt x="79100" y="114845"/>
                    <a:pt x="79100" y="114845"/>
                  </a:cubicBezTo>
                  <a:cubicBezTo>
                    <a:pt x="79100" y="114845"/>
                    <a:pt x="79100" y="114845"/>
                    <a:pt x="76056" y="114845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8" name="图形 1">
            <a:extLst>
              <a:ext uri="{FF2B5EF4-FFF2-40B4-BE49-F238E27FC236}">
                <a16:creationId xmlns:a16="http://schemas.microsoft.com/office/drawing/2014/main" id="{92D3C62E-23ED-4B83-9E80-4F84C5FC03B9}"/>
              </a:ext>
            </a:extLst>
          </p:cNvPr>
          <p:cNvGrpSpPr/>
          <p:nvPr/>
        </p:nvGrpSpPr>
        <p:grpSpPr>
          <a:xfrm>
            <a:off x="6662547" y="2334169"/>
            <a:ext cx="3924507" cy="4510397"/>
            <a:chOff x="22266341" y="7834986"/>
            <a:chExt cx="3924507" cy="4510397"/>
          </a:xfrm>
        </p:grpSpPr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5905AB34-EABA-4341-864D-60A1B71F0502}"/>
                </a:ext>
              </a:extLst>
            </p:cNvPr>
            <p:cNvSpPr/>
            <p:nvPr/>
          </p:nvSpPr>
          <p:spPr>
            <a:xfrm>
              <a:off x="23604933" y="8288282"/>
              <a:ext cx="289014" cy="273802"/>
            </a:xfrm>
            <a:custGeom>
              <a:avLst/>
              <a:gdLst>
                <a:gd name="connsiteX0" fmla="*/ 0 w 289014"/>
                <a:gd name="connsiteY0" fmla="*/ 273803 h 273802"/>
                <a:gd name="connsiteX1" fmla="*/ 276846 w 289014"/>
                <a:gd name="connsiteY1" fmla="*/ 270760 h 273802"/>
                <a:gd name="connsiteX2" fmla="*/ 289014 w 289014"/>
                <a:gd name="connsiteY2" fmla="*/ 130817 h 273802"/>
                <a:gd name="connsiteX3" fmla="*/ 279888 w 289014"/>
                <a:gd name="connsiteY3" fmla="*/ 18253 h 273802"/>
                <a:gd name="connsiteX4" fmla="*/ 206875 w 289014"/>
                <a:gd name="connsiteY4" fmla="*/ 0 h 273802"/>
                <a:gd name="connsiteX5" fmla="*/ 48677 w 289014"/>
                <a:gd name="connsiteY5" fmla="*/ 91268 h 273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014" h="273802">
                  <a:moveTo>
                    <a:pt x="0" y="273803"/>
                  </a:moveTo>
                  <a:lnTo>
                    <a:pt x="276846" y="270760"/>
                  </a:lnTo>
                  <a:lnTo>
                    <a:pt x="289014" y="130817"/>
                  </a:lnTo>
                  <a:lnTo>
                    <a:pt x="279888" y="18253"/>
                  </a:lnTo>
                  <a:lnTo>
                    <a:pt x="206875" y="0"/>
                  </a:lnTo>
                  <a:lnTo>
                    <a:pt x="48677" y="91268"/>
                  </a:lnTo>
                  <a:close/>
                </a:path>
              </a:pathLst>
            </a:custGeom>
            <a:solidFill>
              <a:srgbClr val="664241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377A8721-3823-47FF-8D7B-7972D10FB7B9}"/>
                </a:ext>
              </a:extLst>
            </p:cNvPr>
            <p:cNvSpPr/>
            <p:nvPr/>
          </p:nvSpPr>
          <p:spPr>
            <a:xfrm>
              <a:off x="23245947" y="7926223"/>
              <a:ext cx="468895" cy="661563"/>
            </a:xfrm>
            <a:custGeom>
              <a:avLst/>
              <a:gdLst>
                <a:gd name="connsiteX0" fmla="*/ 401578 w 468895"/>
                <a:gd name="connsiteY0" fmla="*/ 468539 h 661563"/>
                <a:gd name="connsiteX1" fmla="*/ 392451 w 468895"/>
                <a:gd name="connsiteY1" fmla="*/ 307299 h 661563"/>
                <a:gd name="connsiteX2" fmla="*/ 435042 w 468895"/>
                <a:gd name="connsiteY2" fmla="*/ 161271 h 661563"/>
                <a:gd name="connsiteX3" fmla="*/ 468508 w 468895"/>
                <a:gd name="connsiteY3" fmla="*/ 9158 h 661563"/>
                <a:gd name="connsiteX4" fmla="*/ 142986 w 468895"/>
                <a:gd name="connsiteY4" fmla="*/ 176482 h 661563"/>
                <a:gd name="connsiteX5" fmla="*/ 0 w 468895"/>
                <a:gd name="connsiteY5" fmla="*/ 581102 h 661563"/>
                <a:gd name="connsiteX6" fmla="*/ 422874 w 468895"/>
                <a:gd name="connsiteY6" fmla="*/ 635863 h 661563"/>
                <a:gd name="connsiteX7" fmla="*/ 401578 w 468895"/>
                <a:gd name="connsiteY7" fmla="*/ 468539 h 661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8895" h="661563">
                  <a:moveTo>
                    <a:pt x="401578" y="468539"/>
                  </a:moveTo>
                  <a:cubicBezTo>
                    <a:pt x="392451" y="416821"/>
                    <a:pt x="386367" y="362060"/>
                    <a:pt x="392451" y="307299"/>
                  </a:cubicBezTo>
                  <a:cubicBezTo>
                    <a:pt x="398536" y="255581"/>
                    <a:pt x="413748" y="206905"/>
                    <a:pt x="435042" y="161271"/>
                  </a:cubicBezTo>
                  <a:cubicBezTo>
                    <a:pt x="456338" y="112595"/>
                    <a:pt x="471549" y="9158"/>
                    <a:pt x="468508" y="9158"/>
                  </a:cubicBezTo>
                  <a:cubicBezTo>
                    <a:pt x="352903" y="-27349"/>
                    <a:pt x="170367" y="48708"/>
                    <a:pt x="142986" y="176482"/>
                  </a:cubicBezTo>
                  <a:cubicBezTo>
                    <a:pt x="130817" y="240370"/>
                    <a:pt x="121690" y="413778"/>
                    <a:pt x="0" y="581102"/>
                  </a:cubicBezTo>
                  <a:cubicBezTo>
                    <a:pt x="103437" y="657158"/>
                    <a:pt x="413748" y="687581"/>
                    <a:pt x="422874" y="635863"/>
                  </a:cubicBezTo>
                  <a:cubicBezTo>
                    <a:pt x="432000" y="593271"/>
                    <a:pt x="410704" y="511130"/>
                    <a:pt x="401578" y="468539"/>
                  </a:cubicBezTo>
                  <a:close/>
                </a:path>
              </a:pathLst>
            </a:custGeom>
            <a:solidFill>
              <a:srgbClr val="664241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EB4495A6-A60E-4B08-A06A-EE9011945F06}"/>
                </a:ext>
              </a:extLst>
            </p:cNvPr>
            <p:cNvSpPr/>
            <p:nvPr/>
          </p:nvSpPr>
          <p:spPr>
            <a:xfrm>
              <a:off x="22461824" y="9577120"/>
              <a:ext cx="273170" cy="205505"/>
            </a:xfrm>
            <a:custGeom>
              <a:avLst/>
              <a:gdLst>
                <a:gd name="connsiteX0" fmla="*/ 105701 w 273170"/>
                <a:gd name="connsiteY0" fmla="*/ 201867 h 205505"/>
                <a:gd name="connsiteX1" fmla="*/ 218264 w 273170"/>
                <a:gd name="connsiteY1" fmla="*/ 183614 h 205505"/>
                <a:gd name="connsiteX2" fmla="*/ 273025 w 273170"/>
                <a:gd name="connsiteY2" fmla="*/ 131895 h 205505"/>
                <a:gd name="connsiteX3" fmla="*/ 230432 w 273170"/>
                <a:gd name="connsiteY3" fmla="*/ 43670 h 205505"/>
                <a:gd name="connsiteX4" fmla="*/ 5307 w 273170"/>
                <a:gd name="connsiteY4" fmla="*/ 28459 h 205505"/>
                <a:gd name="connsiteX5" fmla="*/ 11392 w 273170"/>
                <a:gd name="connsiteY5" fmla="*/ 77135 h 205505"/>
                <a:gd name="connsiteX6" fmla="*/ 14433 w 273170"/>
                <a:gd name="connsiteY6" fmla="*/ 131895 h 205505"/>
                <a:gd name="connsiteX7" fmla="*/ 35729 w 273170"/>
                <a:gd name="connsiteY7" fmla="*/ 159275 h 205505"/>
                <a:gd name="connsiteX8" fmla="*/ 72237 w 273170"/>
                <a:gd name="connsiteY8" fmla="*/ 189698 h 205505"/>
                <a:gd name="connsiteX9" fmla="*/ 105701 w 273170"/>
                <a:gd name="connsiteY9" fmla="*/ 201867 h 205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3170" h="205505">
                  <a:moveTo>
                    <a:pt x="105701" y="201867"/>
                  </a:moveTo>
                  <a:cubicBezTo>
                    <a:pt x="142208" y="195783"/>
                    <a:pt x="193927" y="223163"/>
                    <a:pt x="218264" y="183614"/>
                  </a:cubicBezTo>
                  <a:cubicBezTo>
                    <a:pt x="224349" y="174486"/>
                    <a:pt x="239561" y="144064"/>
                    <a:pt x="273025" y="131895"/>
                  </a:cubicBezTo>
                  <a:cubicBezTo>
                    <a:pt x="276066" y="89304"/>
                    <a:pt x="230432" y="43670"/>
                    <a:pt x="230432" y="43670"/>
                  </a:cubicBezTo>
                  <a:cubicBezTo>
                    <a:pt x="196968" y="-32386"/>
                    <a:pt x="57025" y="10205"/>
                    <a:pt x="5307" y="28459"/>
                  </a:cubicBezTo>
                  <a:cubicBezTo>
                    <a:pt x="-3820" y="31501"/>
                    <a:pt x="-778" y="74092"/>
                    <a:pt x="11392" y="77135"/>
                  </a:cubicBezTo>
                  <a:cubicBezTo>
                    <a:pt x="29644" y="80176"/>
                    <a:pt x="8348" y="122769"/>
                    <a:pt x="14433" y="131895"/>
                  </a:cubicBezTo>
                  <a:cubicBezTo>
                    <a:pt x="20518" y="144064"/>
                    <a:pt x="35729" y="156233"/>
                    <a:pt x="35729" y="159275"/>
                  </a:cubicBezTo>
                  <a:cubicBezTo>
                    <a:pt x="47897" y="174486"/>
                    <a:pt x="69193" y="183614"/>
                    <a:pt x="72237" y="189698"/>
                  </a:cubicBezTo>
                  <a:cubicBezTo>
                    <a:pt x="75278" y="207951"/>
                    <a:pt x="81363" y="207951"/>
                    <a:pt x="105701" y="201867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2" name="图形 1">
              <a:extLst>
                <a:ext uri="{FF2B5EF4-FFF2-40B4-BE49-F238E27FC236}">
                  <a16:creationId xmlns:a16="http://schemas.microsoft.com/office/drawing/2014/main" id="{C27FBE2B-2D60-4E66-99C1-0E0F67D01BB3}"/>
                </a:ext>
              </a:extLst>
            </p:cNvPr>
            <p:cNvGrpSpPr/>
            <p:nvPr/>
          </p:nvGrpSpPr>
          <p:grpSpPr>
            <a:xfrm>
              <a:off x="22266341" y="9004067"/>
              <a:ext cx="550648" cy="1243913"/>
              <a:chOff x="22266341" y="9004067"/>
              <a:chExt cx="550648" cy="1243913"/>
            </a:xfrm>
          </p:grpSpPr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0CB21098-0252-4D95-9AE5-7694323717B5}"/>
                  </a:ext>
                </a:extLst>
              </p:cNvPr>
              <p:cNvSpPr/>
              <p:nvPr/>
            </p:nvSpPr>
            <p:spPr>
              <a:xfrm>
                <a:off x="22266341" y="9004067"/>
                <a:ext cx="550648" cy="1243913"/>
              </a:xfrm>
              <a:custGeom>
                <a:avLst/>
                <a:gdLst>
                  <a:gd name="connsiteX0" fmla="*/ 0 w 550648"/>
                  <a:gd name="connsiteY0" fmla="*/ 139089 h 1243913"/>
                  <a:gd name="connsiteX1" fmla="*/ 334648 w 550648"/>
                  <a:gd name="connsiteY1" fmla="*/ 1243427 h 1243913"/>
                  <a:gd name="connsiteX2" fmla="*/ 550649 w 550648"/>
                  <a:gd name="connsiteY2" fmla="*/ 1158244 h 1243913"/>
                  <a:gd name="connsiteX3" fmla="*/ 240339 w 550648"/>
                  <a:gd name="connsiteY3" fmla="*/ 5230 h 1243913"/>
                  <a:gd name="connsiteX4" fmla="*/ 0 w 550648"/>
                  <a:gd name="connsiteY4" fmla="*/ 139089 h 1243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0648" h="1243913">
                    <a:moveTo>
                      <a:pt x="0" y="139089"/>
                    </a:moveTo>
                    <a:cubicBezTo>
                      <a:pt x="0" y="139089"/>
                      <a:pt x="243380" y="659314"/>
                      <a:pt x="334648" y="1243427"/>
                    </a:cubicBezTo>
                    <a:cubicBezTo>
                      <a:pt x="334648" y="1243427"/>
                      <a:pt x="471549" y="1255596"/>
                      <a:pt x="550649" y="1158244"/>
                    </a:cubicBezTo>
                    <a:cubicBezTo>
                      <a:pt x="550649" y="1158244"/>
                      <a:pt x="219043" y="406807"/>
                      <a:pt x="240339" y="5230"/>
                    </a:cubicBezTo>
                    <a:cubicBezTo>
                      <a:pt x="243380" y="2187"/>
                      <a:pt x="15211" y="-34320"/>
                      <a:pt x="0" y="139089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B20BB19C-9210-4F3A-89EA-AEF016A3A072}"/>
                  </a:ext>
                </a:extLst>
              </p:cNvPr>
              <p:cNvSpPr/>
              <p:nvPr/>
            </p:nvSpPr>
            <p:spPr>
              <a:xfrm>
                <a:off x="22277728" y="9030163"/>
                <a:ext cx="265459" cy="271190"/>
              </a:xfrm>
              <a:custGeom>
                <a:avLst/>
                <a:gdLst>
                  <a:gd name="connsiteX0" fmla="*/ 259375 w 265459"/>
                  <a:gd name="connsiteY0" fmla="*/ 271190 h 271190"/>
                  <a:gd name="connsiteX1" fmla="*/ 253290 w 265459"/>
                  <a:gd name="connsiteY1" fmla="*/ 268148 h 271190"/>
                  <a:gd name="connsiteX2" fmla="*/ 180277 w 265459"/>
                  <a:gd name="connsiteY2" fmla="*/ 18683 h 271190"/>
                  <a:gd name="connsiteX3" fmla="*/ 15994 w 265459"/>
                  <a:gd name="connsiteY3" fmla="*/ 137331 h 271190"/>
                  <a:gd name="connsiteX4" fmla="*/ 783 w 265459"/>
                  <a:gd name="connsiteY4" fmla="*/ 122119 h 271190"/>
                  <a:gd name="connsiteX5" fmla="*/ 55543 w 265459"/>
                  <a:gd name="connsiteY5" fmla="*/ 27810 h 271190"/>
                  <a:gd name="connsiteX6" fmla="*/ 137685 w 265459"/>
                  <a:gd name="connsiteY6" fmla="*/ 3472 h 271190"/>
                  <a:gd name="connsiteX7" fmla="*/ 146811 w 265459"/>
                  <a:gd name="connsiteY7" fmla="*/ 18683 h 271190"/>
                  <a:gd name="connsiteX8" fmla="*/ 67713 w 265459"/>
                  <a:gd name="connsiteY8" fmla="*/ 73444 h 271190"/>
                  <a:gd name="connsiteX9" fmla="*/ 61628 w 265459"/>
                  <a:gd name="connsiteY9" fmla="*/ 70401 h 271190"/>
                  <a:gd name="connsiteX10" fmla="*/ 64670 w 265459"/>
                  <a:gd name="connsiteY10" fmla="*/ 64317 h 271190"/>
                  <a:gd name="connsiteX11" fmla="*/ 137685 w 265459"/>
                  <a:gd name="connsiteY11" fmla="*/ 18683 h 271190"/>
                  <a:gd name="connsiteX12" fmla="*/ 134643 w 265459"/>
                  <a:gd name="connsiteY12" fmla="*/ 15640 h 271190"/>
                  <a:gd name="connsiteX13" fmla="*/ 64670 w 265459"/>
                  <a:gd name="connsiteY13" fmla="*/ 36936 h 271190"/>
                  <a:gd name="connsiteX14" fmla="*/ 12953 w 265459"/>
                  <a:gd name="connsiteY14" fmla="*/ 119077 h 271190"/>
                  <a:gd name="connsiteX15" fmla="*/ 19036 w 265459"/>
                  <a:gd name="connsiteY15" fmla="*/ 128204 h 271190"/>
                  <a:gd name="connsiteX16" fmla="*/ 177234 w 265459"/>
                  <a:gd name="connsiteY16" fmla="*/ 6514 h 271190"/>
                  <a:gd name="connsiteX17" fmla="*/ 183318 w 265459"/>
                  <a:gd name="connsiteY17" fmla="*/ 429 h 271190"/>
                  <a:gd name="connsiteX18" fmla="*/ 186360 w 265459"/>
                  <a:gd name="connsiteY18" fmla="*/ 9556 h 271190"/>
                  <a:gd name="connsiteX19" fmla="*/ 265460 w 265459"/>
                  <a:gd name="connsiteY19" fmla="*/ 271190 h 271190"/>
                  <a:gd name="connsiteX20" fmla="*/ 259375 w 265459"/>
                  <a:gd name="connsiteY20" fmla="*/ 271190 h 271190"/>
                  <a:gd name="connsiteX21" fmla="*/ 259375 w 265459"/>
                  <a:gd name="connsiteY21" fmla="*/ 271190 h 271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65459" h="271190">
                    <a:moveTo>
                      <a:pt x="259375" y="271190"/>
                    </a:moveTo>
                    <a:cubicBezTo>
                      <a:pt x="256333" y="271190"/>
                      <a:pt x="253290" y="268148"/>
                      <a:pt x="253290" y="268148"/>
                    </a:cubicBezTo>
                    <a:cubicBezTo>
                      <a:pt x="235037" y="189049"/>
                      <a:pt x="192445" y="52147"/>
                      <a:pt x="180277" y="18683"/>
                    </a:cubicBezTo>
                    <a:cubicBezTo>
                      <a:pt x="152896" y="49105"/>
                      <a:pt x="55543" y="146457"/>
                      <a:pt x="15994" y="137331"/>
                    </a:cubicBezTo>
                    <a:cubicBezTo>
                      <a:pt x="9910" y="137331"/>
                      <a:pt x="3825" y="131246"/>
                      <a:pt x="783" y="122119"/>
                    </a:cubicBezTo>
                    <a:cubicBezTo>
                      <a:pt x="-5302" y="94739"/>
                      <a:pt x="25121" y="52147"/>
                      <a:pt x="55543" y="27810"/>
                    </a:cubicBezTo>
                    <a:cubicBezTo>
                      <a:pt x="85966" y="3472"/>
                      <a:pt x="116388" y="-5655"/>
                      <a:pt x="137685" y="3472"/>
                    </a:cubicBezTo>
                    <a:cubicBezTo>
                      <a:pt x="146811" y="6514"/>
                      <a:pt x="146811" y="12599"/>
                      <a:pt x="146811" y="18683"/>
                    </a:cubicBezTo>
                    <a:cubicBezTo>
                      <a:pt x="146811" y="39979"/>
                      <a:pt x="85966" y="67359"/>
                      <a:pt x="67713" y="73444"/>
                    </a:cubicBezTo>
                    <a:cubicBezTo>
                      <a:pt x="64670" y="73444"/>
                      <a:pt x="61628" y="73444"/>
                      <a:pt x="61628" y="70401"/>
                    </a:cubicBezTo>
                    <a:cubicBezTo>
                      <a:pt x="61628" y="67359"/>
                      <a:pt x="61628" y="64317"/>
                      <a:pt x="64670" y="64317"/>
                    </a:cubicBezTo>
                    <a:cubicBezTo>
                      <a:pt x="98136" y="49105"/>
                      <a:pt x="137685" y="27810"/>
                      <a:pt x="137685" y="18683"/>
                    </a:cubicBezTo>
                    <a:cubicBezTo>
                      <a:pt x="137685" y="18683"/>
                      <a:pt x="134643" y="15640"/>
                      <a:pt x="134643" y="15640"/>
                    </a:cubicBezTo>
                    <a:cubicBezTo>
                      <a:pt x="119432" y="6514"/>
                      <a:pt x="92051" y="15640"/>
                      <a:pt x="64670" y="36936"/>
                    </a:cubicBezTo>
                    <a:cubicBezTo>
                      <a:pt x="31206" y="64317"/>
                      <a:pt x="6868" y="100824"/>
                      <a:pt x="12953" y="119077"/>
                    </a:cubicBezTo>
                    <a:cubicBezTo>
                      <a:pt x="15994" y="125162"/>
                      <a:pt x="19036" y="128204"/>
                      <a:pt x="19036" y="128204"/>
                    </a:cubicBezTo>
                    <a:cubicBezTo>
                      <a:pt x="46417" y="134289"/>
                      <a:pt x="131600" y="58232"/>
                      <a:pt x="177234" y="6514"/>
                    </a:cubicBezTo>
                    <a:lnTo>
                      <a:pt x="183318" y="429"/>
                    </a:lnTo>
                    <a:lnTo>
                      <a:pt x="186360" y="9556"/>
                    </a:lnTo>
                    <a:cubicBezTo>
                      <a:pt x="186360" y="12599"/>
                      <a:pt x="244164" y="176880"/>
                      <a:pt x="265460" y="271190"/>
                    </a:cubicBezTo>
                    <a:cubicBezTo>
                      <a:pt x="265460" y="268148"/>
                      <a:pt x="262416" y="271190"/>
                      <a:pt x="259375" y="271190"/>
                    </a:cubicBezTo>
                    <a:cubicBezTo>
                      <a:pt x="259375" y="271190"/>
                      <a:pt x="259375" y="271190"/>
                      <a:pt x="259375" y="27119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012F6429-0678-4815-B661-E6AD392D5E53}"/>
                </a:ext>
              </a:extLst>
            </p:cNvPr>
            <p:cNvGrpSpPr/>
            <p:nvPr/>
          </p:nvGrpSpPr>
          <p:grpSpPr>
            <a:xfrm>
              <a:off x="22414214" y="9614705"/>
              <a:ext cx="157788" cy="186064"/>
              <a:chOff x="22414214" y="9614705"/>
              <a:chExt cx="157788" cy="186064"/>
            </a:xfrm>
          </p:grpSpPr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500F4E57-763F-446C-B81A-BAAE6B76C7B0}"/>
                  </a:ext>
                </a:extLst>
              </p:cNvPr>
              <p:cNvSpPr/>
              <p:nvPr/>
            </p:nvSpPr>
            <p:spPr>
              <a:xfrm>
                <a:off x="22414214" y="9614705"/>
                <a:ext cx="122887" cy="70310"/>
              </a:xfrm>
              <a:custGeom>
                <a:avLst/>
                <a:gdLst>
                  <a:gd name="connsiteX0" fmla="*/ 4239 w 122887"/>
                  <a:gd name="connsiteY0" fmla="*/ 21296 h 70310"/>
                  <a:gd name="connsiteX1" fmla="*/ 74213 w 122887"/>
                  <a:gd name="connsiteY1" fmla="*/ 3042 h 70310"/>
                  <a:gd name="connsiteX2" fmla="*/ 86381 w 122887"/>
                  <a:gd name="connsiteY2" fmla="*/ 0 h 70310"/>
                  <a:gd name="connsiteX3" fmla="*/ 98550 w 122887"/>
                  <a:gd name="connsiteY3" fmla="*/ 3042 h 70310"/>
                  <a:gd name="connsiteX4" fmla="*/ 122888 w 122887"/>
                  <a:gd name="connsiteY4" fmla="*/ 42591 h 70310"/>
                  <a:gd name="connsiteX5" fmla="*/ 92465 w 122887"/>
                  <a:gd name="connsiteY5" fmla="*/ 63888 h 70310"/>
                  <a:gd name="connsiteX6" fmla="*/ 43790 w 122887"/>
                  <a:gd name="connsiteY6" fmla="*/ 69972 h 70310"/>
                  <a:gd name="connsiteX7" fmla="*/ 7283 w 122887"/>
                  <a:gd name="connsiteY7" fmla="*/ 60845 h 70310"/>
                  <a:gd name="connsiteX8" fmla="*/ 4239 w 122887"/>
                  <a:gd name="connsiteY8" fmla="*/ 21296 h 70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2887" h="70310">
                    <a:moveTo>
                      <a:pt x="4239" y="21296"/>
                    </a:moveTo>
                    <a:cubicBezTo>
                      <a:pt x="19451" y="3042"/>
                      <a:pt x="49873" y="6085"/>
                      <a:pt x="74213" y="3042"/>
                    </a:cubicBezTo>
                    <a:cubicBezTo>
                      <a:pt x="77254" y="3042"/>
                      <a:pt x="83339" y="0"/>
                      <a:pt x="86381" y="0"/>
                    </a:cubicBezTo>
                    <a:cubicBezTo>
                      <a:pt x="89424" y="0"/>
                      <a:pt x="95507" y="0"/>
                      <a:pt x="98550" y="3042"/>
                    </a:cubicBezTo>
                    <a:cubicBezTo>
                      <a:pt x="110718" y="9127"/>
                      <a:pt x="122888" y="27380"/>
                      <a:pt x="122888" y="42591"/>
                    </a:cubicBezTo>
                    <a:cubicBezTo>
                      <a:pt x="122888" y="60845"/>
                      <a:pt x="104635" y="60845"/>
                      <a:pt x="92465" y="63888"/>
                    </a:cubicBezTo>
                    <a:cubicBezTo>
                      <a:pt x="77254" y="66930"/>
                      <a:pt x="62043" y="69972"/>
                      <a:pt x="43790" y="69972"/>
                    </a:cubicBezTo>
                    <a:cubicBezTo>
                      <a:pt x="31620" y="69972"/>
                      <a:pt x="19451" y="73014"/>
                      <a:pt x="7283" y="60845"/>
                    </a:cubicBezTo>
                    <a:cubicBezTo>
                      <a:pt x="-1844" y="48676"/>
                      <a:pt x="-1844" y="30423"/>
                      <a:pt x="4239" y="2129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85223035-B32C-42F7-9871-693DF64CD80E}"/>
                  </a:ext>
                </a:extLst>
              </p:cNvPr>
              <p:cNvSpPr/>
              <p:nvPr/>
            </p:nvSpPr>
            <p:spPr>
              <a:xfrm>
                <a:off x="22440794" y="9657296"/>
                <a:ext cx="120645" cy="70310"/>
              </a:xfrm>
              <a:custGeom>
                <a:avLst/>
                <a:gdLst>
                  <a:gd name="connsiteX0" fmla="*/ 1999 w 120645"/>
                  <a:gd name="connsiteY0" fmla="*/ 24339 h 70310"/>
                  <a:gd name="connsiteX1" fmla="*/ 78056 w 120645"/>
                  <a:gd name="connsiteY1" fmla="*/ 0 h 70310"/>
                  <a:gd name="connsiteX2" fmla="*/ 84139 w 120645"/>
                  <a:gd name="connsiteY2" fmla="*/ 0 h 70310"/>
                  <a:gd name="connsiteX3" fmla="*/ 96308 w 120645"/>
                  <a:gd name="connsiteY3" fmla="*/ 3042 h 70310"/>
                  <a:gd name="connsiteX4" fmla="*/ 120646 w 120645"/>
                  <a:gd name="connsiteY4" fmla="*/ 42592 h 70310"/>
                  <a:gd name="connsiteX5" fmla="*/ 90223 w 120645"/>
                  <a:gd name="connsiteY5" fmla="*/ 63888 h 70310"/>
                  <a:gd name="connsiteX6" fmla="*/ 41548 w 120645"/>
                  <a:gd name="connsiteY6" fmla="*/ 69972 h 70310"/>
                  <a:gd name="connsiteX7" fmla="*/ 5041 w 120645"/>
                  <a:gd name="connsiteY7" fmla="*/ 60845 h 70310"/>
                  <a:gd name="connsiteX8" fmla="*/ 1999 w 120645"/>
                  <a:gd name="connsiteY8" fmla="*/ 24339 h 70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645" h="70310">
                    <a:moveTo>
                      <a:pt x="1999" y="24339"/>
                    </a:moveTo>
                    <a:cubicBezTo>
                      <a:pt x="17210" y="-6084"/>
                      <a:pt x="50674" y="6085"/>
                      <a:pt x="78056" y="0"/>
                    </a:cubicBezTo>
                    <a:cubicBezTo>
                      <a:pt x="81097" y="0"/>
                      <a:pt x="81097" y="0"/>
                      <a:pt x="84139" y="0"/>
                    </a:cubicBezTo>
                    <a:cubicBezTo>
                      <a:pt x="87182" y="0"/>
                      <a:pt x="93267" y="0"/>
                      <a:pt x="96308" y="3042"/>
                    </a:cubicBezTo>
                    <a:cubicBezTo>
                      <a:pt x="108478" y="9127"/>
                      <a:pt x="120646" y="27381"/>
                      <a:pt x="120646" y="42592"/>
                    </a:cubicBezTo>
                    <a:cubicBezTo>
                      <a:pt x="120646" y="60845"/>
                      <a:pt x="102393" y="60845"/>
                      <a:pt x="90223" y="63888"/>
                    </a:cubicBezTo>
                    <a:cubicBezTo>
                      <a:pt x="75012" y="66930"/>
                      <a:pt x="59801" y="69972"/>
                      <a:pt x="41548" y="69972"/>
                    </a:cubicBezTo>
                    <a:cubicBezTo>
                      <a:pt x="29378" y="69972"/>
                      <a:pt x="17210" y="73015"/>
                      <a:pt x="5041" y="60845"/>
                    </a:cubicBezTo>
                    <a:cubicBezTo>
                      <a:pt x="-1044" y="51719"/>
                      <a:pt x="-1044" y="36507"/>
                      <a:pt x="1999" y="2433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B2FA5489-1C74-40D5-9163-9D9AD800DF61}"/>
                  </a:ext>
                </a:extLst>
              </p:cNvPr>
              <p:cNvSpPr/>
              <p:nvPr/>
            </p:nvSpPr>
            <p:spPr>
              <a:xfrm>
                <a:off x="22460092" y="9705972"/>
                <a:ext cx="107909" cy="61331"/>
              </a:xfrm>
              <a:custGeom>
                <a:avLst/>
                <a:gdLst>
                  <a:gd name="connsiteX0" fmla="*/ 3996 w 107909"/>
                  <a:gd name="connsiteY0" fmla="*/ 24339 h 61331"/>
                  <a:gd name="connsiteX1" fmla="*/ 70925 w 107909"/>
                  <a:gd name="connsiteY1" fmla="*/ 0 h 61331"/>
                  <a:gd name="connsiteX2" fmla="*/ 77010 w 107909"/>
                  <a:gd name="connsiteY2" fmla="*/ 0 h 61331"/>
                  <a:gd name="connsiteX3" fmla="*/ 89180 w 107909"/>
                  <a:gd name="connsiteY3" fmla="*/ 3042 h 61331"/>
                  <a:gd name="connsiteX4" fmla="*/ 107433 w 107909"/>
                  <a:gd name="connsiteY4" fmla="*/ 36507 h 61331"/>
                  <a:gd name="connsiteX5" fmla="*/ 83095 w 107909"/>
                  <a:gd name="connsiteY5" fmla="*/ 54761 h 61331"/>
                  <a:gd name="connsiteX6" fmla="*/ 40503 w 107909"/>
                  <a:gd name="connsiteY6" fmla="*/ 60845 h 61331"/>
                  <a:gd name="connsiteX7" fmla="*/ 10080 w 107909"/>
                  <a:gd name="connsiteY7" fmla="*/ 54761 h 61331"/>
                  <a:gd name="connsiteX8" fmla="*/ 3996 w 107909"/>
                  <a:gd name="connsiteY8" fmla="*/ 24339 h 61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909" h="61331">
                    <a:moveTo>
                      <a:pt x="3996" y="24339"/>
                    </a:moveTo>
                    <a:cubicBezTo>
                      <a:pt x="19207" y="-3042"/>
                      <a:pt x="46588" y="6085"/>
                      <a:pt x="70925" y="0"/>
                    </a:cubicBezTo>
                    <a:cubicBezTo>
                      <a:pt x="73969" y="0"/>
                      <a:pt x="73969" y="0"/>
                      <a:pt x="77010" y="0"/>
                    </a:cubicBezTo>
                    <a:cubicBezTo>
                      <a:pt x="80052" y="0"/>
                      <a:pt x="83095" y="0"/>
                      <a:pt x="89180" y="3042"/>
                    </a:cubicBezTo>
                    <a:cubicBezTo>
                      <a:pt x="98307" y="9127"/>
                      <a:pt x="110474" y="24339"/>
                      <a:pt x="107433" y="36507"/>
                    </a:cubicBezTo>
                    <a:cubicBezTo>
                      <a:pt x="107433" y="51719"/>
                      <a:pt x="92222" y="54761"/>
                      <a:pt x="83095" y="54761"/>
                    </a:cubicBezTo>
                    <a:cubicBezTo>
                      <a:pt x="70925" y="57803"/>
                      <a:pt x="55714" y="60845"/>
                      <a:pt x="40503" y="60845"/>
                    </a:cubicBezTo>
                    <a:cubicBezTo>
                      <a:pt x="31377" y="60845"/>
                      <a:pt x="19207" y="63888"/>
                      <a:pt x="10080" y="54761"/>
                    </a:cubicBezTo>
                    <a:cubicBezTo>
                      <a:pt x="-2087" y="45634"/>
                      <a:pt x="-2087" y="30423"/>
                      <a:pt x="3996" y="2433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69EAD7B7-5D32-40A7-A9D2-506497F6EC8A}"/>
                  </a:ext>
                </a:extLst>
              </p:cNvPr>
              <p:cNvSpPr/>
              <p:nvPr/>
            </p:nvSpPr>
            <p:spPr>
              <a:xfrm>
                <a:off x="22483386" y="9751606"/>
                <a:ext cx="78054" cy="49163"/>
              </a:xfrm>
              <a:custGeom>
                <a:avLst/>
                <a:gdLst>
                  <a:gd name="connsiteX0" fmla="*/ 1998 w 78054"/>
                  <a:gd name="connsiteY0" fmla="*/ 18254 h 49163"/>
                  <a:gd name="connsiteX1" fmla="*/ 50675 w 78054"/>
                  <a:gd name="connsiteY1" fmla="*/ 0 h 49163"/>
                  <a:gd name="connsiteX2" fmla="*/ 53716 w 78054"/>
                  <a:gd name="connsiteY2" fmla="*/ 0 h 49163"/>
                  <a:gd name="connsiteX3" fmla="*/ 62843 w 78054"/>
                  <a:gd name="connsiteY3" fmla="*/ 3042 h 49163"/>
                  <a:gd name="connsiteX4" fmla="*/ 78054 w 78054"/>
                  <a:gd name="connsiteY4" fmla="*/ 27380 h 49163"/>
                  <a:gd name="connsiteX5" fmla="*/ 59801 w 78054"/>
                  <a:gd name="connsiteY5" fmla="*/ 42591 h 49163"/>
                  <a:gd name="connsiteX6" fmla="*/ 29379 w 78054"/>
                  <a:gd name="connsiteY6" fmla="*/ 48676 h 49163"/>
                  <a:gd name="connsiteX7" fmla="*/ 5041 w 78054"/>
                  <a:gd name="connsiteY7" fmla="*/ 42591 h 49163"/>
                  <a:gd name="connsiteX8" fmla="*/ 1998 w 78054"/>
                  <a:gd name="connsiteY8" fmla="*/ 18254 h 49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8054" h="49163">
                    <a:moveTo>
                      <a:pt x="1998" y="18254"/>
                    </a:moveTo>
                    <a:cubicBezTo>
                      <a:pt x="11124" y="0"/>
                      <a:pt x="32420" y="3042"/>
                      <a:pt x="50675" y="0"/>
                    </a:cubicBezTo>
                    <a:cubicBezTo>
                      <a:pt x="50675" y="0"/>
                      <a:pt x="53716" y="0"/>
                      <a:pt x="53716" y="0"/>
                    </a:cubicBezTo>
                    <a:cubicBezTo>
                      <a:pt x="56758" y="0"/>
                      <a:pt x="59801" y="0"/>
                      <a:pt x="62843" y="3042"/>
                    </a:cubicBezTo>
                    <a:cubicBezTo>
                      <a:pt x="71969" y="6085"/>
                      <a:pt x="78054" y="18254"/>
                      <a:pt x="78054" y="27380"/>
                    </a:cubicBezTo>
                    <a:cubicBezTo>
                      <a:pt x="78054" y="39550"/>
                      <a:pt x="65886" y="39550"/>
                      <a:pt x="59801" y="42591"/>
                    </a:cubicBezTo>
                    <a:cubicBezTo>
                      <a:pt x="50675" y="45634"/>
                      <a:pt x="38505" y="45634"/>
                      <a:pt x="29379" y="48676"/>
                    </a:cubicBezTo>
                    <a:cubicBezTo>
                      <a:pt x="23294" y="48676"/>
                      <a:pt x="14167" y="51719"/>
                      <a:pt x="5041" y="42591"/>
                    </a:cubicBezTo>
                    <a:cubicBezTo>
                      <a:pt x="-1044" y="36507"/>
                      <a:pt x="-1044" y="24339"/>
                      <a:pt x="1998" y="1825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95F10A1E-FEAE-45B9-8989-55DA8ED0A02B}"/>
                  </a:ext>
                </a:extLst>
              </p:cNvPr>
              <p:cNvSpPr/>
              <p:nvPr/>
            </p:nvSpPr>
            <p:spPr>
              <a:xfrm>
                <a:off x="22433195" y="9617071"/>
                <a:ext cx="138230" cy="119323"/>
              </a:xfrm>
              <a:custGeom>
                <a:avLst/>
                <a:gdLst>
                  <a:gd name="connsiteX0" fmla="*/ 55232 w 138230"/>
                  <a:gd name="connsiteY0" fmla="*/ 116281 h 119323"/>
                  <a:gd name="connsiteX1" fmla="*/ 3513 w 138230"/>
                  <a:gd name="connsiteY1" fmla="*/ 88901 h 119323"/>
                  <a:gd name="connsiteX2" fmla="*/ 3513 w 138230"/>
                  <a:gd name="connsiteY2" fmla="*/ 64563 h 119323"/>
                  <a:gd name="connsiteX3" fmla="*/ 12640 w 138230"/>
                  <a:gd name="connsiteY3" fmla="*/ 58478 h 119323"/>
                  <a:gd name="connsiteX4" fmla="*/ 94781 w 138230"/>
                  <a:gd name="connsiteY4" fmla="*/ 43267 h 119323"/>
                  <a:gd name="connsiteX5" fmla="*/ 97823 w 138230"/>
                  <a:gd name="connsiteY5" fmla="*/ 25013 h 119323"/>
                  <a:gd name="connsiteX6" fmla="*/ 88696 w 138230"/>
                  <a:gd name="connsiteY6" fmla="*/ 12845 h 119323"/>
                  <a:gd name="connsiteX7" fmla="*/ 15681 w 138230"/>
                  <a:gd name="connsiteY7" fmla="*/ 15887 h 119323"/>
                  <a:gd name="connsiteX8" fmla="*/ 9598 w 138230"/>
                  <a:gd name="connsiteY8" fmla="*/ 12845 h 119323"/>
                  <a:gd name="connsiteX9" fmla="*/ 12640 w 138230"/>
                  <a:gd name="connsiteY9" fmla="*/ 6761 h 119323"/>
                  <a:gd name="connsiteX10" fmla="*/ 94781 w 138230"/>
                  <a:gd name="connsiteY10" fmla="*/ 6761 h 119323"/>
                  <a:gd name="connsiteX11" fmla="*/ 109992 w 138230"/>
                  <a:gd name="connsiteY11" fmla="*/ 28056 h 119323"/>
                  <a:gd name="connsiteX12" fmla="*/ 109992 w 138230"/>
                  <a:gd name="connsiteY12" fmla="*/ 43267 h 119323"/>
                  <a:gd name="connsiteX13" fmla="*/ 109992 w 138230"/>
                  <a:gd name="connsiteY13" fmla="*/ 43267 h 119323"/>
                  <a:gd name="connsiteX14" fmla="*/ 137371 w 138230"/>
                  <a:gd name="connsiteY14" fmla="*/ 82817 h 119323"/>
                  <a:gd name="connsiteX15" fmla="*/ 91738 w 138230"/>
                  <a:gd name="connsiteY15" fmla="*/ 119323 h 119323"/>
                  <a:gd name="connsiteX16" fmla="*/ 55232 w 138230"/>
                  <a:gd name="connsiteY16" fmla="*/ 116281 h 119323"/>
                  <a:gd name="connsiteX17" fmla="*/ 9598 w 138230"/>
                  <a:gd name="connsiteY17" fmla="*/ 70647 h 119323"/>
                  <a:gd name="connsiteX18" fmla="*/ 12640 w 138230"/>
                  <a:gd name="connsiteY18" fmla="*/ 85858 h 119323"/>
                  <a:gd name="connsiteX19" fmla="*/ 85655 w 138230"/>
                  <a:gd name="connsiteY19" fmla="*/ 101070 h 119323"/>
                  <a:gd name="connsiteX20" fmla="*/ 122160 w 138230"/>
                  <a:gd name="connsiteY20" fmla="*/ 76732 h 119323"/>
                  <a:gd name="connsiteX21" fmla="*/ 100866 w 138230"/>
                  <a:gd name="connsiteY21" fmla="*/ 46309 h 119323"/>
                  <a:gd name="connsiteX22" fmla="*/ 97823 w 138230"/>
                  <a:gd name="connsiteY22" fmla="*/ 49352 h 119323"/>
                  <a:gd name="connsiteX23" fmla="*/ 9598 w 138230"/>
                  <a:gd name="connsiteY23" fmla="*/ 70647 h 119323"/>
                  <a:gd name="connsiteX24" fmla="*/ 9598 w 138230"/>
                  <a:gd name="connsiteY24" fmla="*/ 70647 h 119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38230" h="119323">
                    <a:moveTo>
                      <a:pt x="55232" y="116281"/>
                    </a:moveTo>
                    <a:cubicBezTo>
                      <a:pt x="27851" y="116281"/>
                      <a:pt x="9598" y="107155"/>
                      <a:pt x="3513" y="88901"/>
                    </a:cubicBezTo>
                    <a:cubicBezTo>
                      <a:pt x="470" y="76732"/>
                      <a:pt x="-2571" y="70647"/>
                      <a:pt x="3513" y="64563"/>
                    </a:cubicBezTo>
                    <a:cubicBezTo>
                      <a:pt x="6555" y="61521"/>
                      <a:pt x="9598" y="58478"/>
                      <a:pt x="12640" y="58478"/>
                    </a:cubicBezTo>
                    <a:cubicBezTo>
                      <a:pt x="58274" y="58478"/>
                      <a:pt x="85655" y="52394"/>
                      <a:pt x="94781" y="43267"/>
                    </a:cubicBezTo>
                    <a:cubicBezTo>
                      <a:pt x="97823" y="37183"/>
                      <a:pt x="97823" y="31098"/>
                      <a:pt x="97823" y="25013"/>
                    </a:cubicBezTo>
                    <a:cubicBezTo>
                      <a:pt x="97823" y="18929"/>
                      <a:pt x="94781" y="15887"/>
                      <a:pt x="88696" y="12845"/>
                    </a:cubicBezTo>
                    <a:cubicBezTo>
                      <a:pt x="70443" y="676"/>
                      <a:pt x="30893" y="9802"/>
                      <a:pt x="15681" y="15887"/>
                    </a:cubicBezTo>
                    <a:cubicBezTo>
                      <a:pt x="12640" y="15887"/>
                      <a:pt x="9598" y="15887"/>
                      <a:pt x="9598" y="12845"/>
                    </a:cubicBezTo>
                    <a:cubicBezTo>
                      <a:pt x="9598" y="9802"/>
                      <a:pt x="9598" y="6761"/>
                      <a:pt x="12640" y="6761"/>
                    </a:cubicBezTo>
                    <a:cubicBezTo>
                      <a:pt x="15681" y="6761"/>
                      <a:pt x="67400" y="-8451"/>
                      <a:pt x="94781" y="6761"/>
                    </a:cubicBezTo>
                    <a:cubicBezTo>
                      <a:pt x="103907" y="12845"/>
                      <a:pt x="106949" y="18929"/>
                      <a:pt x="109992" y="28056"/>
                    </a:cubicBezTo>
                    <a:cubicBezTo>
                      <a:pt x="109992" y="31098"/>
                      <a:pt x="113034" y="37183"/>
                      <a:pt x="109992" y="43267"/>
                    </a:cubicBezTo>
                    <a:cubicBezTo>
                      <a:pt x="109992" y="43267"/>
                      <a:pt x="109992" y="43267"/>
                      <a:pt x="109992" y="43267"/>
                    </a:cubicBezTo>
                    <a:cubicBezTo>
                      <a:pt x="109992" y="43267"/>
                      <a:pt x="134330" y="61521"/>
                      <a:pt x="137371" y="82817"/>
                    </a:cubicBezTo>
                    <a:cubicBezTo>
                      <a:pt x="143456" y="110197"/>
                      <a:pt x="116077" y="116281"/>
                      <a:pt x="91738" y="119323"/>
                    </a:cubicBezTo>
                    <a:cubicBezTo>
                      <a:pt x="76526" y="116281"/>
                      <a:pt x="64358" y="116281"/>
                      <a:pt x="55232" y="116281"/>
                    </a:cubicBezTo>
                    <a:close/>
                    <a:moveTo>
                      <a:pt x="9598" y="70647"/>
                    </a:moveTo>
                    <a:cubicBezTo>
                      <a:pt x="9598" y="70647"/>
                      <a:pt x="9598" y="73690"/>
                      <a:pt x="12640" y="85858"/>
                    </a:cubicBezTo>
                    <a:cubicBezTo>
                      <a:pt x="21766" y="110197"/>
                      <a:pt x="64358" y="107155"/>
                      <a:pt x="85655" y="101070"/>
                    </a:cubicBezTo>
                    <a:cubicBezTo>
                      <a:pt x="119119" y="94986"/>
                      <a:pt x="122160" y="88901"/>
                      <a:pt x="122160" y="76732"/>
                    </a:cubicBezTo>
                    <a:cubicBezTo>
                      <a:pt x="119119" y="64563"/>
                      <a:pt x="106949" y="52394"/>
                      <a:pt x="100866" y="46309"/>
                    </a:cubicBezTo>
                    <a:cubicBezTo>
                      <a:pt x="100866" y="46309"/>
                      <a:pt x="100866" y="49352"/>
                      <a:pt x="97823" y="49352"/>
                    </a:cubicBezTo>
                    <a:cubicBezTo>
                      <a:pt x="88696" y="64563"/>
                      <a:pt x="61315" y="70647"/>
                      <a:pt x="9598" y="70647"/>
                    </a:cubicBezTo>
                    <a:cubicBezTo>
                      <a:pt x="12640" y="70647"/>
                      <a:pt x="9598" y="70647"/>
                      <a:pt x="9598" y="7064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C09C4682-A417-4576-B5E8-6D1A547C3ED6}"/>
                  </a:ext>
                </a:extLst>
              </p:cNvPr>
              <p:cNvSpPr/>
              <p:nvPr/>
            </p:nvSpPr>
            <p:spPr>
              <a:xfrm>
                <a:off x="22458765" y="9707663"/>
                <a:ext cx="113238" cy="68282"/>
              </a:xfrm>
              <a:custGeom>
                <a:avLst/>
                <a:gdLst>
                  <a:gd name="connsiteX0" fmla="*/ 38789 w 113238"/>
                  <a:gd name="connsiteY0" fmla="*/ 68282 h 68282"/>
                  <a:gd name="connsiteX1" fmla="*/ 14451 w 113238"/>
                  <a:gd name="connsiteY1" fmla="*/ 65240 h 68282"/>
                  <a:gd name="connsiteX2" fmla="*/ 2281 w 113238"/>
                  <a:gd name="connsiteY2" fmla="*/ 50028 h 68282"/>
                  <a:gd name="connsiteX3" fmla="*/ 2281 w 113238"/>
                  <a:gd name="connsiteY3" fmla="*/ 19606 h 68282"/>
                  <a:gd name="connsiteX4" fmla="*/ 11408 w 113238"/>
                  <a:gd name="connsiteY4" fmla="*/ 16563 h 68282"/>
                  <a:gd name="connsiteX5" fmla="*/ 14451 w 113238"/>
                  <a:gd name="connsiteY5" fmla="*/ 25690 h 68282"/>
                  <a:gd name="connsiteX6" fmla="*/ 14451 w 113238"/>
                  <a:gd name="connsiteY6" fmla="*/ 46986 h 68282"/>
                  <a:gd name="connsiteX7" fmla="*/ 20534 w 113238"/>
                  <a:gd name="connsiteY7" fmla="*/ 56112 h 68282"/>
                  <a:gd name="connsiteX8" fmla="*/ 93549 w 113238"/>
                  <a:gd name="connsiteY8" fmla="*/ 46986 h 68282"/>
                  <a:gd name="connsiteX9" fmla="*/ 102675 w 113238"/>
                  <a:gd name="connsiteY9" fmla="*/ 37860 h 68282"/>
                  <a:gd name="connsiteX10" fmla="*/ 93549 w 113238"/>
                  <a:gd name="connsiteY10" fmla="*/ 10479 h 68282"/>
                  <a:gd name="connsiteX11" fmla="*/ 93549 w 113238"/>
                  <a:gd name="connsiteY11" fmla="*/ 1352 h 68282"/>
                  <a:gd name="connsiteX12" fmla="*/ 102675 w 113238"/>
                  <a:gd name="connsiteY12" fmla="*/ 1352 h 68282"/>
                  <a:gd name="connsiteX13" fmla="*/ 111802 w 113238"/>
                  <a:gd name="connsiteY13" fmla="*/ 37860 h 68282"/>
                  <a:gd name="connsiteX14" fmla="*/ 96590 w 113238"/>
                  <a:gd name="connsiteY14" fmla="*/ 56112 h 68282"/>
                  <a:gd name="connsiteX15" fmla="*/ 38789 w 113238"/>
                  <a:gd name="connsiteY15" fmla="*/ 68282 h 68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3238" h="68282">
                    <a:moveTo>
                      <a:pt x="38789" y="68282"/>
                    </a:moveTo>
                    <a:cubicBezTo>
                      <a:pt x="29662" y="68282"/>
                      <a:pt x="20534" y="68282"/>
                      <a:pt x="14451" y="65240"/>
                    </a:cubicBezTo>
                    <a:cubicBezTo>
                      <a:pt x="8366" y="62197"/>
                      <a:pt x="2281" y="56112"/>
                      <a:pt x="2281" y="50028"/>
                    </a:cubicBezTo>
                    <a:cubicBezTo>
                      <a:pt x="-760" y="40901"/>
                      <a:pt x="-760" y="25690"/>
                      <a:pt x="2281" y="19606"/>
                    </a:cubicBezTo>
                    <a:cubicBezTo>
                      <a:pt x="5323" y="16563"/>
                      <a:pt x="8366" y="16563"/>
                      <a:pt x="11408" y="16563"/>
                    </a:cubicBezTo>
                    <a:cubicBezTo>
                      <a:pt x="14451" y="19606"/>
                      <a:pt x="14451" y="22648"/>
                      <a:pt x="14451" y="25690"/>
                    </a:cubicBezTo>
                    <a:cubicBezTo>
                      <a:pt x="14451" y="28732"/>
                      <a:pt x="11408" y="37860"/>
                      <a:pt x="14451" y="46986"/>
                    </a:cubicBezTo>
                    <a:cubicBezTo>
                      <a:pt x="17492" y="53071"/>
                      <a:pt x="17492" y="56112"/>
                      <a:pt x="20534" y="56112"/>
                    </a:cubicBezTo>
                    <a:cubicBezTo>
                      <a:pt x="32704" y="59155"/>
                      <a:pt x="66168" y="59155"/>
                      <a:pt x="93549" y="46986"/>
                    </a:cubicBezTo>
                    <a:cubicBezTo>
                      <a:pt x="99634" y="43944"/>
                      <a:pt x="102675" y="40901"/>
                      <a:pt x="102675" y="37860"/>
                    </a:cubicBezTo>
                    <a:cubicBezTo>
                      <a:pt x="105718" y="28732"/>
                      <a:pt x="96590" y="13521"/>
                      <a:pt x="93549" y="10479"/>
                    </a:cubicBezTo>
                    <a:cubicBezTo>
                      <a:pt x="90507" y="7437"/>
                      <a:pt x="93549" y="4395"/>
                      <a:pt x="93549" y="1352"/>
                    </a:cubicBezTo>
                    <a:cubicBezTo>
                      <a:pt x="96590" y="-1690"/>
                      <a:pt x="99634" y="1352"/>
                      <a:pt x="102675" y="1352"/>
                    </a:cubicBezTo>
                    <a:cubicBezTo>
                      <a:pt x="102675" y="1352"/>
                      <a:pt x="117886" y="22648"/>
                      <a:pt x="111802" y="37860"/>
                    </a:cubicBezTo>
                    <a:cubicBezTo>
                      <a:pt x="108760" y="46986"/>
                      <a:pt x="102675" y="53071"/>
                      <a:pt x="96590" y="56112"/>
                    </a:cubicBezTo>
                    <a:cubicBezTo>
                      <a:pt x="78337" y="65240"/>
                      <a:pt x="57041" y="68282"/>
                      <a:pt x="38789" y="6828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4DB71A8F-8850-4CAF-A649-DA769DA13BE4}"/>
                </a:ext>
              </a:extLst>
            </p:cNvPr>
            <p:cNvSpPr/>
            <p:nvPr/>
          </p:nvSpPr>
          <p:spPr>
            <a:xfrm>
              <a:off x="22525269" y="9591924"/>
              <a:ext cx="125980" cy="111344"/>
            </a:xfrm>
            <a:custGeom>
              <a:avLst/>
              <a:gdLst>
                <a:gd name="connsiteX0" fmla="*/ 11834 w 125980"/>
                <a:gd name="connsiteY0" fmla="*/ 111006 h 111344"/>
                <a:gd name="connsiteX1" fmla="*/ 27045 w 125980"/>
                <a:gd name="connsiteY1" fmla="*/ 89710 h 111344"/>
                <a:gd name="connsiteX2" fmla="*/ 75720 w 125980"/>
                <a:gd name="connsiteY2" fmla="*/ 62330 h 111344"/>
                <a:gd name="connsiteX3" fmla="*/ 124397 w 125980"/>
                <a:gd name="connsiteY3" fmla="*/ 101879 h 111344"/>
                <a:gd name="connsiteX4" fmla="*/ 100060 w 125980"/>
                <a:gd name="connsiteY4" fmla="*/ 4527 h 111344"/>
                <a:gd name="connsiteX5" fmla="*/ 11834 w 125980"/>
                <a:gd name="connsiteY5" fmla="*/ 28865 h 111344"/>
                <a:gd name="connsiteX6" fmla="*/ 11834 w 125980"/>
                <a:gd name="connsiteY6" fmla="*/ 111006 h 111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980" h="111344">
                  <a:moveTo>
                    <a:pt x="11834" y="111006"/>
                  </a:moveTo>
                  <a:cubicBezTo>
                    <a:pt x="20960" y="114048"/>
                    <a:pt x="24003" y="95794"/>
                    <a:pt x="27045" y="89710"/>
                  </a:cubicBezTo>
                  <a:cubicBezTo>
                    <a:pt x="42256" y="71457"/>
                    <a:pt x="54426" y="59288"/>
                    <a:pt x="75720" y="62330"/>
                  </a:cubicBezTo>
                  <a:cubicBezTo>
                    <a:pt x="87890" y="62330"/>
                    <a:pt x="84848" y="107964"/>
                    <a:pt x="124397" y="101879"/>
                  </a:cubicBezTo>
                  <a:cubicBezTo>
                    <a:pt x="130482" y="101879"/>
                    <a:pt x="118313" y="13654"/>
                    <a:pt x="100060" y="4527"/>
                  </a:cubicBezTo>
                  <a:cubicBezTo>
                    <a:pt x="75720" y="-4600"/>
                    <a:pt x="27045" y="-1557"/>
                    <a:pt x="11834" y="28865"/>
                  </a:cubicBezTo>
                  <a:cubicBezTo>
                    <a:pt x="2707" y="41034"/>
                    <a:pt x="-9462" y="98837"/>
                    <a:pt x="11834" y="111006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79A34483-205F-4ABE-A5A1-D430F88FE179}"/>
                </a:ext>
              </a:extLst>
            </p:cNvPr>
            <p:cNvSpPr/>
            <p:nvPr/>
          </p:nvSpPr>
          <p:spPr>
            <a:xfrm>
              <a:off x="22518938" y="9584684"/>
              <a:ext cx="142895" cy="124330"/>
            </a:xfrm>
            <a:custGeom>
              <a:avLst/>
              <a:gdLst>
                <a:gd name="connsiteX0" fmla="*/ 18164 w 142895"/>
                <a:gd name="connsiteY0" fmla="*/ 124331 h 124330"/>
                <a:gd name="connsiteX1" fmla="*/ 18164 w 142895"/>
                <a:gd name="connsiteY1" fmla="*/ 124331 h 124330"/>
                <a:gd name="connsiteX2" fmla="*/ 5995 w 142895"/>
                <a:gd name="connsiteY2" fmla="*/ 115205 h 124330"/>
                <a:gd name="connsiteX3" fmla="*/ 15123 w 142895"/>
                <a:gd name="connsiteY3" fmla="*/ 30021 h 124330"/>
                <a:gd name="connsiteX4" fmla="*/ 112473 w 142895"/>
                <a:gd name="connsiteY4" fmla="*/ 2641 h 124330"/>
                <a:gd name="connsiteX5" fmla="*/ 115517 w 142895"/>
                <a:gd name="connsiteY5" fmla="*/ 8726 h 124330"/>
                <a:gd name="connsiteX6" fmla="*/ 109432 w 142895"/>
                <a:gd name="connsiteY6" fmla="*/ 11767 h 124330"/>
                <a:gd name="connsiteX7" fmla="*/ 27291 w 142895"/>
                <a:gd name="connsiteY7" fmla="*/ 33063 h 124330"/>
                <a:gd name="connsiteX8" fmla="*/ 18164 w 142895"/>
                <a:gd name="connsiteY8" fmla="*/ 106077 h 124330"/>
                <a:gd name="connsiteX9" fmla="*/ 21206 w 142895"/>
                <a:gd name="connsiteY9" fmla="*/ 109120 h 124330"/>
                <a:gd name="connsiteX10" fmla="*/ 21206 w 142895"/>
                <a:gd name="connsiteY10" fmla="*/ 109120 h 124330"/>
                <a:gd name="connsiteX11" fmla="*/ 33376 w 142895"/>
                <a:gd name="connsiteY11" fmla="*/ 93908 h 124330"/>
                <a:gd name="connsiteX12" fmla="*/ 88136 w 142895"/>
                <a:gd name="connsiteY12" fmla="*/ 57401 h 124330"/>
                <a:gd name="connsiteX13" fmla="*/ 94221 w 142895"/>
                <a:gd name="connsiteY13" fmla="*/ 60443 h 124330"/>
                <a:gd name="connsiteX14" fmla="*/ 136813 w 142895"/>
                <a:gd name="connsiteY14" fmla="*/ 96951 h 124330"/>
                <a:gd name="connsiteX15" fmla="*/ 142896 w 142895"/>
                <a:gd name="connsiteY15" fmla="*/ 99993 h 124330"/>
                <a:gd name="connsiteX16" fmla="*/ 139854 w 142895"/>
                <a:gd name="connsiteY16" fmla="*/ 106077 h 124330"/>
                <a:gd name="connsiteX17" fmla="*/ 85094 w 142895"/>
                <a:gd name="connsiteY17" fmla="*/ 66528 h 124330"/>
                <a:gd name="connsiteX18" fmla="*/ 45545 w 142895"/>
                <a:gd name="connsiteY18" fmla="*/ 96951 h 124330"/>
                <a:gd name="connsiteX19" fmla="*/ 18164 w 142895"/>
                <a:gd name="connsiteY19" fmla="*/ 124331 h 12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2895" h="124330">
                  <a:moveTo>
                    <a:pt x="18164" y="124331"/>
                  </a:moveTo>
                  <a:lnTo>
                    <a:pt x="18164" y="124331"/>
                  </a:lnTo>
                  <a:cubicBezTo>
                    <a:pt x="12079" y="124331"/>
                    <a:pt x="9038" y="121289"/>
                    <a:pt x="5995" y="115205"/>
                  </a:cubicBezTo>
                  <a:cubicBezTo>
                    <a:pt x="-3132" y="99993"/>
                    <a:pt x="-3132" y="63486"/>
                    <a:pt x="15123" y="30021"/>
                  </a:cubicBezTo>
                  <a:cubicBezTo>
                    <a:pt x="36417" y="-12570"/>
                    <a:pt x="109432" y="2641"/>
                    <a:pt x="112473" y="2641"/>
                  </a:cubicBezTo>
                  <a:cubicBezTo>
                    <a:pt x="115517" y="2641"/>
                    <a:pt x="118558" y="5683"/>
                    <a:pt x="115517" y="8726"/>
                  </a:cubicBezTo>
                  <a:cubicBezTo>
                    <a:pt x="115517" y="11767"/>
                    <a:pt x="112473" y="14810"/>
                    <a:pt x="109432" y="11767"/>
                  </a:cubicBezTo>
                  <a:cubicBezTo>
                    <a:pt x="109432" y="11767"/>
                    <a:pt x="42502" y="-3444"/>
                    <a:pt x="27291" y="33063"/>
                  </a:cubicBezTo>
                  <a:cubicBezTo>
                    <a:pt x="12079" y="63486"/>
                    <a:pt x="12079" y="96951"/>
                    <a:pt x="18164" y="106077"/>
                  </a:cubicBezTo>
                  <a:cubicBezTo>
                    <a:pt x="18164" y="106077"/>
                    <a:pt x="21206" y="109120"/>
                    <a:pt x="21206" y="109120"/>
                  </a:cubicBezTo>
                  <a:lnTo>
                    <a:pt x="21206" y="109120"/>
                  </a:lnTo>
                  <a:cubicBezTo>
                    <a:pt x="24249" y="109120"/>
                    <a:pt x="30334" y="99993"/>
                    <a:pt x="33376" y="93908"/>
                  </a:cubicBezTo>
                  <a:cubicBezTo>
                    <a:pt x="42502" y="78697"/>
                    <a:pt x="57713" y="54360"/>
                    <a:pt x="88136" y="57401"/>
                  </a:cubicBezTo>
                  <a:cubicBezTo>
                    <a:pt x="91179" y="57401"/>
                    <a:pt x="91179" y="60443"/>
                    <a:pt x="94221" y="60443"/>
                  </a:cubicBezTo>
                  <a:cubicBezTo>
                    <a:pt x="94221" y="60443"/>
                    <a:pt x="112473" y="106077"/>
                    <a:pt x="136813" y="96951"/>
                  </a:cubicBezTo>
                  <a:cubicBezTo>
                    <a:pt x="139854" y="96951"/>
                    <a:pt x="142896" y="96951"/>
                    <a:pt x="142896" y="99993"/>
                  </a:cubicBezTo>
                  <a:cubicBezTo>
                    <a:pt x="142896" y="103035"/>
                    <a:pt x="142896" y="106077"/>
                    <a:pt x="139854" y="106077"/>
                  </a:cubicBezTo>
                  <a:cubicBezTo>
                    <a:pt x="109432" y="115205"/>
                    <a:pt x="91179" y="78697"/>
                    <a:pt x="85094" y="66528"/>
                  </a:cubicBezTo>
                  <a:cubicBezTo>
                    <a:pt x="66840" y="66528"/>
                    <a:pt x="54672" y="84782"/>
                    <a:pt x="45545" y="96951"/>
                  </a:cubicBezTo>
                  <a:cubicBezTo>
                    <a:pt x="30334" y="115205"/>
                    <a:pt x="27291" y="124331"/>
                    <a:pt x="18164" y="124331"/>
                  </a:cubicBez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A563C77A-78B4-4209-8150-AC8257425B90}"/>
                </a:ext>
              </a:extLst>
            </p:cNvPr>
            <p:cNvGrpSpPr/>
            <p:nvPr/>
          </p:nvGrpSpPr>
          <p:grpSpPr>
            <a:xfrm>
              <a:off x="23199860" y="11984620"/>
              <a:ext cx="394426" cy="360764"/>
              <a:chOff x="23199860" y="11984620"/>
              <a:chExt cx="394426" cy="360764"/>
            </a:xfrm>
          </p:grpSpPr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82C3AAD3-59DE-431D-AFDC-0B764DA5E9D6}"/>
                  </a:ext>
                </a:extLst>
              </p:cNvPr>
              <p:cNvSpPr/>
              <p:nvPr/>
            </p:nvSpPr>
            <p:spPr>
              <a:xfrm>
                <a:off x="23199860" y="12109353"/>
                <a:ext cx="394426" cy="236031"/>
              </a:xfrm>
              <a:custGeom>
                <a:avLst/>
                <a:gdLst>
                  <a:gd name="connsiteX0" fmla="*/ 286426 w 394426"/>
                  <a:gd name="connsiteY0" fmla="*/ 0 h 236031"/>
                  <a:gd name="connsiteX1" fmla="*/ 128228 w 394426"/>
                  <a:gd name="connsiteY1" fmla="*/ 124733 h 236031"/>
                  <a:gd name="connsiteX2" fmla="*/ 322933 w 394426"/>
                  <a:gd name="connsiteY2" fmla="*/ 76056 h 236031"/>
                  <a:gd name="connsiteX3" fmla="*/ 392905 w 394426"/>
                  <a:gd name="connsiteY3" fmla="*/ 51719 h 236031"/>
                  <a:gd name="connsiteX4" fmla="*/ 386820 w 394426"/>
                  <a:gd name="connsiteY4" fmla="*/ 158198 h 236031"/>
                  <a:gd name="connsiteX5" fmla="*/ 155610 w 394426"/>
                  <a:gd name="connsiteY5" fmla="*/ 231211 h 236031"/>
                  <a:gd name="connsiteX6" fmla="*/ 18708 w 394426"/>
                  <a:gd name="connsiteY6" fmla="*/ 231211 h 236031"/>
                  <a:gd name="connsiteX7" fmla="*/ 12623 w 394426"/>
                  <a:gd name="connsiteY7" fmla="*/ 176451 h 236031"/>
                  <a:gd name="connsiteX8" fmla="*/ 286426 w 394426"/>
                  <a:gd name="connsiteY8" fmla="*/ 0 h 236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4426" h="236031">
                    <a:moveTo>
                      <a:pt x="286426" y="0"/>
                    </a:moveTo>
                    <a:cubicBezTo>
                      <a:pt x="286426" y="0"/>
                      <a:pt x="113017" y="112564"/>
                      <a:pt x="128228" y="124733"/>
                    </a:cubicBezTo>
                    <a:cubicBezTo>
                      <a:pt x="140398" y="139944"/>
                      <a:pt x="322933" y="76056"/>
                      <a:pt x="322933" y="76056"/>
                    </a:cubicBezTo>
                    <a:lnTo>
                      <a:pt x="392905" y="51719"/>
                    </a:lnTo>
                    <a:cubicBezTo>
                      <a:pt x="392905" y="51719"/>
                      <a:pt x="398990" y="133859"/>
                      <a:pt x="386820" y="158198"/>
                    </a:cubicBezTo>
                    <a:cubicBezTo>
                      <a:pt x="313805" y="194704"/>
                      <a:pt x="228622" y="219043"/>
                      <a:pt x="155610" y="231211"/>
                    </a:cubicBezTo>
                    <a:cubicBezTo>
                      <a:pt x="109976" y="240338"/>
                      <a:pt x="27834" y="234254"/>
                      <a:pt x="18708" y="231211"/>
                    </a:cubicBezTo>
                    <a:cubicBezTo>
                      <a:pt x="9580" y="228169"/>
                      <a:pt x="-14758" y="203831"/>
                      <a:pt x="12623" y="176451"/>
                    </a:cubicBezTo>
                    <a:cubicBezTo>
                      <a:pt x="76510" y="112564"/>
                      <a:pt x="286426" y="0"/>
                      <a:pt x="286426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E22FFB3D-1CC6-463A-8C13-D8A724C364E3}"/>
                  </a:ext>
                </a:extLst>
              </p:cNvPr>
              <p:cNvSpPr/>
              <p:nvPr/>
            </p:nvSpPr>
            <p:spPr>
              <a:xfrm>
                <a:off x="23326764" y="11984620"/>
                <a:ext cx="266000" cy="253530"/>
              </a:xfrm>
              <a:custGeom>
                <a:avLst/>
                <a:gdLst>
                  <a:gd name="connsiteX0" fmla="*/ 144311 w 266000"/>
                  <a:gd name="connsiteY0" fmla="*/ 0 h 253530"/>
                  <a:gd name="connsiteX1" fmla="*/ 159522 w 266000"/>
                  <a:gd name="connsiteY1" fmla="*/ 124733 h 253530"/>
                  <a:gd name="connsiteX2" fmla="*/ 1324 w 266000"/>
                  <a:gd name="connsiteY2" fmla="*/ 249465 h 253530"/>
                  <a:gd name="connsiteX3" fmla="*/ 238620 w 266000"/>
                  <a:gd name="connsiteY3" fmla="*/ 206874 h 253530"/>
                  <a:gd name="connsiteX4" fmla="*/ 266001 w 266000"/>
                  <a:gd name="connsiteY4" fmla="*/ 176451 h 253530"/>
                  <a:gd name="connsiteX5" fmla="*/ 266001 w 266000"/>
                  <a:gd name="connsiteY5" fmla="*/ 42592 h 253530"/>
                  <a:gd name="connsiteX6" fmla="*/ 144311 w 266000"/>
                  <a:gd name="connsiteY6" fmla="*/ 0 h 253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6000" h="253530">
                    <a:moveTo>
                      <a:pt x="144311" y="0"/>
                    </a:moveTo>
                    <a:lnTo>
                      <a:pt x="159522" y="124733"/>
                    </a:lnTo>
                    <a:cubicBezTo>
                      <a:pt x="159522" y="124733"/>
                      <a:pt x="-16928" y="228169"/>
                      <a:pt x="1324" y="249465"/>
                    </a:cubicBezTo>
                    <a:cubicBezTo>
                      <a:pt x="13494" y="264676"/>
                      <a:pt x="168648" y="234254"/>
                      <a:pt x="238620" y="206874"/>
                    </a:cubicBezTo>
                    <a:cubicBezTo>
                      <a:pt x="262957" y="197746"/>
                      <a:pt x="266001" y="176451"/>
                      <a:pt x="266001" y="176451"/>
                    </a:cubicBezTo>
                    <a:lnTo>
                      <a:pt x="266001" y="42592"/>
                    </a:lnTo>
                    <a:lnTo>
                      <a:pt x="144311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10F19CB7-2406-4D2B-B728-4113453817EE}"/>
                </a:ext>
              </a:extLst>
            </p:cNvPr>
            <p:cNvGrpSpPr/>
            <p:nvPr/>
          </p:nvGrpSpPr>
          <p:grpSpPr>
            <a:xfrm>
              <a:off x="24481103" y="11665183"/>
              <a:ext cx="298140" cy="485119"/>
              <a:chOff x="24481103" y="11665183"/>
              <a:chExt cx="298140" cy="485119"/>
            </a:xfrm>
          </p:grpSpPr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AB74FB4F-26EB-4C11-A40C-27FEFB8824DE}"/>
                  </a:ext>
                </a:extLst>
              </p:cNvPr>
              <p:cNvSpPr/>
              <p:nvPr/>
            </p:nvSpPr>
            <p:spPr>
              <a:xfrm>
                <a:off x="24573853" y="11738198"/>
                <a:ext cx="205390" cy="412104"/>
              </a:xfrm>
              <a:custGeom>
                <a:avLst/>
                <a:gdLst>
                  <a:gd name="connsiteX0" fmla="*/ 16770 w 205390"/>
                  <a:gd name="connsiteY0" fmla="*/ 60845 h 412104"/>
                  <a:gd name="connsiteX1" fmla="*/ 31982 w 205390"/>
                  <a:gd name="connsiteY1" fmla="*/ 261633 h 412104"/>
                  <a:gd name="connsiteX2" fmla="*/ 101953 w 205390"/>
                  <a:gd name="connsiteY2" fmla="*/ 73014 h 412104"/>
                  <a:gd name="connsiteX3" fmla="*/ 120208 w 205390"/>
                  <a:gd name="connsiteY3" fmla="*/ 0 h 412104"/>
                  <a:gd name="connsiteX4" fmla="*/ 205391 w 205390"/>
                  <a:gd name="connsiteY4" fmla="*/ 63887 h 412104"/>
                  <a:gd name="connsiteX5" fmla="*/ 135419 w 205390"/>
                  <a:gd name="connsiteY5" fmla="*/ 295098 h 412104"/>
                  <a:gd name="connsiteX6" fmla="*/ 56319 w 205390"/>
                  <a:gd name="connsiteY6" fmla="*/ 407662 h 412104"/>
                  <a:gd name="connsiteX7" fmla="*/ 4601 w 205390"/>
                  <a:gd name="connsiteY7" fmla="*/ 380282 h 412104"/>
                  <a:gd name="connsiteX8" fmla="*/ 16770 w 205390"/>
                  <a:gd name="connsiteY8" fmla="*/ 60845 h 412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5390" h="412104">
                    <a:moveTo>
                      <a:pt x="16770" y="60845"/>
                    </a:moveTo>
                    <a:cubicBezTo>
                      <a:pt x="16770" y="60845"/>
                      <a:pt x="13729" y="264676"/>
                      <a:pt x="31982" y="261633"/>
                    </a:cubicBezTo>
                    <a:cubicBezTo>
                      <a:pt x="50234" y="258592"/>
                      <a:pt x="101953" y="73014"/>
                      <a:pt x="101953" y="73014"/>
                    </a:cubicBezTo>
                    <a:lnTo>
                      <a:pt x="120208" y="0"/>
                    </a:lnTo>
                    <a:cubicBezTo>
                      <a:pt x="120208" y="0"/>
                      <a:pt x="190179" y="42591"/>
                      <a:pt x="205391" y="63887"/>
                    </a:cubicBezTo>
                    <a:cubicBezTo>
                      <a:pt x="196264" y="142985"/>
                      <a:pt x="165842" y="228169"/>
                      <a:pt x="135419" y="295098"/>
                    </a:cubicBezTo>
                    <a:cubicBezTo>
                      <a:pt x="117164" y="337689"/>
                      <a:pt x="65446" y="404619"/>
                      <a:pt x="56319" y="407662"/>
                    </a:cubicBezTo>
                    <a:cubicBezTo>
                      <a:pt x="47193" y="413746"/>
                      <a:pt x="13729" y="419831"/>
                      <a:pt x="4601" y="380282"/>
                    </a:cubicBezTo>
                    <a:cubicBezTo>
                      <a:pt x="-10611" y="298140"/>
                      <a:pt x="16770" y="60845"/>
                      <a:pt x="16770" y="60845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C5311565-3682-4768-97FF-EB711F48488B}"/>
                  </a:ext>
                </a:extLst>
              </p:cNvPr>
              <p:cNvSpPr/>
              <p:nvPr/>
            </p:nvSpPr>
            <p:spPr>
              <a:xfrm>
                <a:off x="24481103" y="11665183"/>
                <a:ext cx="226367" cy="334681"/>
              </a:xfrm>
              <a:custGeom>
                <a:avLst/>
                <a:gdLst>
                  <a:gd name="connsiteX0" fmla="*/ 0 w 226367"/>
                  <a:gd name="connsiteY0" fmla="*/ 76056 h 334681"/>
                  <a:gd name="connsiteX1" fmla="*/ 109520 w 226367"/>
                  <a:gd name="connsiteY1" fmla="*/ 133860 h 334681"/>
                  <a:gd name="connsiteX2" fmla="*/ 124732 w 226367"/>
                  <a:gd name="connsiteY2" fmla="*/ 334648 h 334681"/>
                  <a:gd name="connsiteX3" fmla="*/ 225126 w 226367"/>
                  <a:gd name="connsiteY3" fmla="*/ 115606 h 334681"/>
                  <a:gd name="connsiteX4" fmla="*/ 212958 w 226367"/>
                  <a:gd name="connsiteY4" fmla="*/ 76056 h 334681"/>
                  <a:gd name="connsiteX5" fmla="*/ 103436 w 226367"/>
                  <a:gd name="connsiteY5" fmla="*/ 0 h 334681"/>
                  <a:gd name="connsiteX6" fmla="*/ 0 w 226367"/>
                  <a:gd name="connsiteY6" fmla="*/ 76056 h 334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6367" h="334681">
                    <a:moveTo>
                      <a:pt x="0" y="76056"/>
                    </a:moveTo>
                    <a:lnTo>
                      <a:pt x="109520" y="133860"/>
                    </a:lnTo>
                    <a:cubicBezTo>
                      <a:pt x="109520" y="133860"/>
                      <a:pt x="97351" y="337690"/>
                      <a:pt x="124732" y="334648"/>
                    </a:cubicBezTo>
                    <a:cubicBezTo>
                      <a:pt x="146028" y="334648"/>
                      <a:pt x="206873" y="188620"/>
                      <a:pt x="225126" y="115606"/>
                    </a:cubicBezTo>
                    <a:cubicBezTo>
                      <a:pt x="231211" y="91268"/>
                      <a:pt x="212958" y="76056"/>
                      <a:pt x="212958" y="76056"/>
                    </a:cubicBezTo>
                    <a:lnTo>
                      <a:pt x="103436" y="0"/>
                    </a:lnTo>
                    <a:lnTo>
                      <a:pt x="0" y="76056"/>
                    </a:ln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4A82D89B-B9E9-4F8A-80E5-0F26D6CBC67B}"/>
                </a:ext>
              </a:extLst>
            </p:cNvPr>
            <p:cNvSpPr/>
            <p:nvPr/>
          </p:nvSpPr>
          <p:spPr>
            <a:xfrm>
              <a:off x="22643563" y="8638399"/>
              <a:ext cx="912846" cy="1113502"/>
            </a:xfrm>
            <a:custGeom>
              <a:avLst/>
              <a:gdLst>
                <a:gd name="connsiteX0" fmla="*/ 581088 w 912846"/>
                <a:gd name="connsiteY0" fmla="*/ 322222 h 1113502"/>
                <a:gd name="connsiteX1" fmla="*/ 450271 w 912846"/>
                <a:gd name="connsiteY1" fmla="*/ 690334 h 1113502"/>
                <a:gd name="connsiteX2" fmla="*/ 18 w 912846"/>
                <a:gd name="connsiteY2" fmla="*/ 921546 h 1113502"/>
                <a:gd name="connsiteX3" fmla="*/ 82159 w 912846"/>
                <a:gd name="connsiteY3" fmla="*/ 1113208 h 1113502"/>
                <a:gd name="connsiteX4" fmla="*/ 663229 w 912846"/>
                <a:gd name="connsiteY4" fmla="*/ 875912 h 1113502"/>
                <a:gd name="connsiteX5" fmla="*/ 900524 w 912846"/>
                <a:gd name="connsiteY5" fmla="*/ 264419 h 1113502"/>
                <a:gd name="connsiteX6" fmla="*/ 845764 w 912846"/>
                <a:gd name="connsiteY6" fmla="*/ 2785 h 1113502"/>
                <a:gd name="connsiteX7" fmla="*/ 581088 w 912846"/>
                <a:gd name="connsiteY7" fmla="*/ 322222 h 1113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2846" h="1113502">
                  <a:moveTo>
                    <a:pt x="581088" y="322222"/>
                  </a:moveTo>
                  <a:cubicBezTo>
                    <a:pt x="553709" y="407405"/>
                    <a:pt x="498948" y="614278"/>
                    <a:pt x="450271" y="690334"/>
                  </a:cubicBezTo>
                  <a:cubicBezTo>
                    <a:pt x="380300" y="802898"/>
                    <a:pt x="-3024" y="912419"/>
                    <a:pt x="18" y="921546"/>
                  </a:cubicBezTo>
                  <a:cubicBezTo>
                    <a:pt x="9144" y="991517"/>
                    <a:pt x="27399" y="1070616"/>
                    <a:pt x="82159" y="1113208"/>
                  </a:cubicBezTo>
                  <a:cubicBezTo>
                    <a:pt x="91286" y="1119292"/>
                    <a:pt x="508075" y="1031067"/>
                    <a:pt x="663229" y="875912"/>
                  </a:cubicBezTo>
                  <a:cubicBezTo>
                    <a:pt x="711906" y="827236"/>
                    <a:pt x="851849" y="404363"/>
                    <a:pt x="900524" y="264419"/>
                  </a:cubicBezTo>
                  <a:cubicBezTo>
                    <a:pt x="927905" y="182278"/>
                    <a:pt x="909653" y="17996"/>
                    <a:pt x="845764" y="2785"/>
                  </a:cubicBezTo>
                  <a:cubicBezTo>
                    <a:pt x="742329" y="-24595"/>
                    <a:pt x="629765" y="154898"/>
                    <a:pt x="581088" y="322222"/>
                  </a:cubicBezTo>
                  <a:close/>
                </a:path>
              </a:pathLst>
            </a:custGeom>
            <a:solidFill>
              <a:srgbClr val="F1DDB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2D36BDAB-6BA4-45C0-A83C-2FACF2C571F9}"/>
                </a:ext>
              </a:extLst>
            </p:cNvPr>
            <p:cNvSpPr/>
            <p:nvPr/>
          </p:nvSpPr>
          <p:spPr>
            <a:xfrm>
              <a:off x="23253883" y="9562987"/>
              <a:ext cx="1376289" cy="2497689"/>
            </a:xfrm>
            <a:custGeom>
              <a:avLst/>
              <a:gdLst>
                <a:gd name="connsiteX0" fmla="*/ 786093 w 1376289"/>
                <a:gd name="connsiteY0" fmla="*/ 0 h 2497689"/>
                <a:gd name="connsiteX1" fmla="*/ 119839 w 1376289"/>
                <a:gd name="connsiteY1" fmla="*/ 0 h 2497689"/>
                <a:gd name="connsiteX2" fmla="*/ 1190 w 1376289"/>
                <a:gd name="connsiteY2" fmla="*/ 459380 h 2497689"/>
                <a:gd name="connsiteX3" fmla="*/ 180684 w 1376289"/>
                <a:gd name="connsiteY3" fmla="*/ 2479437 h 2497689"/>
                <a:gd name="connsiteX4" fmla="*/ 378430 w 1376289"/>
                <a:gd name="connsiteY4" fmla="*/ 2497690 h 2497689"/>
                <a:gd name="connsiteX5" fmla="*/ 460572 w 1376289"/>
                <a:gd name="connsiteY5" fmla="*/ 809239 h 2497689"/>
                <a:gd name="connsiteX6" fmla="*/ 551839 w 1376289"/>
                <a:gd name="connsiteY6" fmla="*/ 1752337 h 2497689"/>
                <a:gd name="connsiteX7" fmla="*/ 1272854 w 1376289"/>
                <a:gd name="connsiteY7" fmla="*/ 2269521 h 2497689"/>
                <a:gd name="connsiteX8" fmla="*/ 1376289 w 1376289"/>
                <a:gd name="connsiteY8" fmla="*/ 2080901 h 2497689"/>
                <a:gd name="connsiteX9" fmla="*/ 883444 w 1376289"/>
                <a:gd name="connsiteY9" fmla="*/ 1651943 h 2497689"/>
                <a:gd name="connsiteX10" fmla="*/ 919951 w 1376289"/>
                <a:gd name="connsiteY10" fmla="*/ 413746 h 2497689"/>
                <a:gd name="connsiteX11" fmla="*/ 786093 w 1376289"/>
                <a:gd name="connsiteY11" fmla="*/ 0 h 2497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76289" h="2497689">
                  <a:moveTo>
                    <a:pt x="786093" y="0"/>
                  </a:moveTo>
                  <a:lnTo>
                    <a:pt x="119839" y="0"/>
                  </a:lnTo>
                  <a:cubicBezTo>
                    <a:pt x="119839" y="0"/>
                    <a:pt x="22486" y="304225"/>
                    <a:pt x="1190" y="459380"/>
                  </a:cubicBezTo>
                  <a:cubicBezTo>
                    <a:pt x="-17063" y="611492"/>
                    <a:pt x="180684" y="2479437"/>
                    <a:pt x="180684" y="2479437"/>
                  </a:cubicBezTo>
                  <a:lnTo>
                    <a:pt x="378430" y="2497690"/>
                  </a:lnTo>
                  <a:lnTo>
                    <a:pt x="460572" y="809239"/>
                  </a:lnTo>
                  <a:cubicBezTo>
                    <a:pt x="460572" y="809239"/>
                    <a:pt x="545754" y="1737126"/>
                    <a:pt x="551839" y="1752337"/>
                  </a:cubicBezTo>
                  <a:lnTo>
                    <a:pt x="1272854" y="2269521"/>
                  </a:lnTo>
                  <a:lnTo>
                    <a:pt x="1376289" y="2080901"/>
                  </a:lnTo>
                  <a:lnTo>
                    <a:pt x="883444" y="1651943"/>
                  </a:lnTo>
                  <a:cubicBezTo>
                    <a:pt x="883444" y="1651943"/>
                    <a:pt x="913866" y="477633"/>
                    <a:pt x="919951" y="413746"/>
                  </a:cubicBezTo>
                  <a:cubicBezTo>
                    <a:pt x="929077" y="295098"/>
                    <a:pt x="786093" y="0"/>
                    <a:pt x="786093" y="0"/>
                  </a:cubicBezTo>
                  <a:close/>
                </a:path>
              </a:pathLst>
            </a:custGeom>
            <a:solidFill>
              <a:srgbClr val="7F95BC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B6B91781-EAC8-4CCC-8055-24FBD98FB69A}"/>
                </a:ext>
              </a:extLst>
            </p:cNvPr>
            <p:cNvSpPr/>
            <p:nvPr/>
          </p:nvSpPr>
          <p:spPr>
            <a:xfrm>
              <a:off x="23668821" y="9949353"/>
              <a:ext cx="866281" cy="1892282"/>
            </a:xfrm>
            <a:custGeom>
              <a:avLst/>
              <a:gdLst>
                <a:gd name="connsiteX0" fmla="*/ 857916 w 866281"/>
                <a:gd name="connsiteY0" fmla="*/ 1889240 h 1892282"/>
                <a:gd name="connsiteX1" fmla="*/ 854873 w 866281"/>
                <a:gd name="connsiteY1" fmla="*/ 1889240 h 1892282"/>
                <a:gd name="connsiteX2" fmla="*/ 133858 w 866281"/>
                <a:gd name="connsiteY2" fmla="*/ 1372057 h 1892282"/>
                <a:gd name="connsiteX3" fmla="*/ 133858 w 866281"/>
                <a:gd name="connsiteY3" fmla="*/ 1369014 h 1892282"/>
                <a:gd name="connsiteX4" fmla="*/ 42590 w 866281"/>
                <a:gd name="connsiteY4" fmla="*/ 422873 h 1892282"/>
                <a:gd name="connsiteX5" fmla="*/ 0 w 866281"/>
                <a:gd name="connsiteY5" fmla="*/ 6085 h 1892282"/>
                <a:gd name="connsiteX6" fmla="*/ 6085 w 866281"/>
                <a:gd name="connsiteY6" fmla="*/ 0 h 1892282"/>
                <a:gd name="connsiteX7" fmla="*/ 12168 w 866281"/>
                <a:gd name="connsiteY7" fmla="*/ 6085 h 1892282"/>
                <a:gd name="connsiteX8" fmla="*/ 54760 w 866281"/>
                <a:gd name="connsiteY8" fmla="*/ 422873 h 1892282"/>
                <a:gd name="connsiteX9" fmla="*/ 146028 w 866281"/>
                <a:gd name="connsiteY9" fmla="*/ 1365972 h 1892282"/>
                <a:gd name="connsiteX10" fmla="*/ 863999 w 866281"/>
                <a:gd name="connsiteY10" fmla="*/ 1883155 h 1892282"/>
                <a:gd name="connsiteX11" fmla="*/ 863999 w 866281"/>
                <a:gd name="connsiteY11" fmla="*/ 1892282 h 1892282"/>
                <a:gd name="connsiteX12" fmla="*/ 857916 w 866281"/>
                <a:gd name="connsiteY12" fmla="*/ 1889240 h 1892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66281" h="1892282">
                  <a:moveTo>
                    <a:pt x="857916" y="1889240"/>
                  </a:moveTo>
                  <a:cubicBezTo>
                    <a:pt x="857916" y="1889240"/>
                    <a:pt x="854873" y="1889240"/>
                    <a:pt x="854873" y="1889240"/>
                  </a:cubicBezTo>
                  <a:lnTo>
                    <a:pt x="133858" y="1372057"/>
                  </a:lnTo>
                  <a:lnTo>
                    <a:pt x="133858" y="1369014"/>
                  </a:lnTo>
                  <a:cubicBezTo>
                    <a:pt x="127775" y="1350760"/>
                    <a:pt x="51719" y="517183"/>
                    <a:pt x="42590" y="422873"/>
                  </a:cubicBezTo>
                  <a:lnTo>
                    <a:pt x="0" y="6085"/>
                  </a:lnTo>
                  <a:cubicBezTo>
                    <a:pt x="0" y="3042"/>
                    <a:pt x="3042" y="0"/>
                    <a:pt x="6085" y="0"/>
                  </a:cubicBezTo>
                  <a:cubicBezTo>
                    <a:pt x="9126" y="0"/>
                    <a:pt x="12168" y="3042"/>
                    <a:pt x="12168" y="6085"/>
                  </a:cubicBezTo>
                  <a:lnTo>
                    <a:pt x="54760" y="422873"/>
                  </a:lnTo>
                  <a:cubicBezTo>
                    <a:pt x="82141" y="736226"/>
                    <a:pt x="136901" y="1326423"/>
                    <a:pt x="146028" y="1365972"/>
                  </a:cubicBezTo>
                  <a:lnTo>
                    <a:pt x="863999" y="1883155"/>
                  </a:lnTo>
                  <a:cubicBezTo>
                    <a:pt x="867042" y="1886197"/>
                    <a:pt x="867042" y="1889240"/>
                    <a:pt x="863999" y="1892282"/>
                  </a:cubicBezTo>
                  <a:cubicBezTo>
                    <a:pt x="860957" y="1889240"/>
                    <a:pt x="860957" y="1889240"/>
                    <a:pt x="857916" y="1889240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9BF6149D-DFBF-4ECC-BFB4-5B042008415F}"/>
                </a:ext>
              </a:extLst>
            </p:cNvPr>
            <p:cNvSpPr/>
            <p:nvPr/>
          </p:nvSpPr>
          <p:spPr>
            <a:xfrm>
              <a:off x="23988258" y="9718141"/>
              <a:ext cx="180752" cy="188620"/>
            </a:xfrm>
            <a:custGeom>
              <a:avLst/>
              <a:gdLst>
                <a:gd name="connsiteX0" fmla="*/ 176450 w 180752"/>
                <a:gd name="connsiteY0" fmla="*/ 188620 h 188620"/>
                <a:gd name="connsiteX1" fmla="*/ 176450 w 180752"/>
                <a:gd name="connsiteY1" fmla="*/ 188620 h 188620"/>
                <a:gd name="connsiteX2" fmla="*/ 0 w 180752"/>
                <a:gd name="connsiteY2" fmla="*/ 6085 h 188620"/>
                <a:gd name="connsiteX3" fmla="*/ 3042 w 180752"/>
                <a:gd name="connsiteY3" fmla="*/ 0 h 188620"/>
                <a:gd name="connsiteX4" fmla="*/ 9126 w 180752"/>
                <a:gd name="connsiteY4" fmla="*/ 3042 h 188620"/>
                <a:gd name="connsiteX5" fmla="*/ 176450 w 180752"/>
                <a:gd name="connsiteY5" fmla="*/ 179494 h 188620"/>
                <a:gd name="connsiteX6" fmla="*/ 179492 w 180752"/>
                <a:gd name="connsiteY6" fmla="*/ 185578 h 188620"/>
                <a:gd name="connsiteX7" fmla="*/ 176450 w 180752"/>
                <a:gd name="connsiteY7" fmla="*/ 188620 h 188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752" h="188620">
                  <a:moveTo>
                    <a:pt x="176450" y="188620"/>
                  </a:moveTo>
                  <a:cubicBezTo>
                    <a:pt x="176450" y="188620"/>
                    <a:pt x="176450" y="188620"/>
                    <a:pt x="176450" y="188620"/>
                  </a:cubicBezTo>
                  <a:cubicBezTo>
                    <a:pt x="57802" y="155155"/>
                    <a:pt x="3042" y="12170"/>
                    <a:pt x="0" y="6085"/>
                  </a:cubicBezTo>
                  <a:cubicBezTo>
                    <a:pt x="0" y="3042"/>
                    <a:pt x="0" y="0"/>
                    <a:pt x="3042" y="0"/>
                  </a:cubicBezTo>
                  <a:cubicBezTo>
                    <a:pt x="6085" y="0"/>
                    <a:pt x="9126" y="0"/>
                    <a:pt x="9126" y="3042"/>
                  </a:cubicBezTo>
                  <a:cubicBezTo>
                    <a:pt x="9126" y="3042"/>
                    <a:pt x="63887" y="149071"/>
                    <a:pt x="176450" y="179494"/>
                  </a:cubicBezTo>
                  <a:cubicBezTo>
                    <a:pt x="179492" y="179494"/>
                    <a:pt x="182535" y="182535"/>
                    <a:pt x="179492" y="185578"/>
                  </a:cubicBezTo>
                  <a:cubicBezTo>
                    <a:pt x="182535" y="185578"/>
                    <a:pt x="179492" y="188620"/>
                    <a:pt x="176450" y="188620"/>
                  </a:cubicBezTo>
                  <a:close/>
                </a:path>
              </a:pathLst>
            </a:custGeom>
            <a:solidFill>
              <a:srgbClr val="6C5D6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EB855BDA-798F-46B6-A402-0D92D89C15D5}"/>
                </a:ext>
              </a:extLst>
            </p:cNvPr>
            <p:cNvSpPr/>
            <p:nvPr/>
          </p:nvSpPr>
          <p:spPr>
            <a:xfrm>
              <a:off x="23270285" y="9718141"/>
              <a:ext cx="173408" cy="191662"/>
            </a:xfrm>
            <a:custGeom>
              <a:avLst/>
              <a:gdLst>
                <a:gd name="connsiteX0" fmla="*/ 6085 w 173408"/>
                <a:gd name="connsiteY0" fmla="*/ 191663 h 191662"/>
                <a:gd name="connsiteX1" fmla="*/ 0 w 173408"/>
                <a:gd name="connsiteY1" fmla="*/ 188620 h 191662"/>
                <a:gd name="connsiteX2" fmla="*/ 3043 w 173408"/>
                <a:gd name="connsiteY2" fmla="*/ 182535 h 191662"/>
                <a:gd name="connsiteX3" fmla="*/ 161241 w 173408"/>
                <a:gd name="connsiteY3" fmla="*/ 3042 h 191662"/>
                <a:gd name="connsiteX4" fmla="*/ 170367 w 173408"/>
                <a:gd name="connsiteY4" fmla="*/ 0 h 191662"/>
                <a:gd name="connsiteX5" fmla="*/ 173409 w 173408"/>
                <a:gd name="connsiteY5" fmla="*/ 9127 h 191662"/>
                <a:gd name="connsiteX6" fmla="*/ 6085 w 173408"/>
                <a:gd name="connsiteY6" fmla="*/ 191663 h 191662"/>
                <a:gd name="connsiteX7" fmla="*/ 6085 w 173408"/>
                <a:gd name="connsiteY7" fmla="*/ 191663 h 191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408" h="191662">
                  <a:moveTo>
                    <a:pt x="6085" y="191663"/>
                  </a:moveTo>
                  <a:cubicBezTo>
                    <a:pt x="3043" y="191663"/>
                    <a:pt x="3043" y="191663"/>
                    <a:pt x="0" y="188620"/>
                  </a:cubicBezTo>
                  <a:cubicBezTo>
                    <a:pt x="0" y="185578"/>
                    <a:pt x="0" y="182535"/>
                    <a:pt x="3043" y="182535"/>
                  </a:cubicBezTo>
                  <a:cubicBezTo>
                    <a:pt x="82141" y="152113"/>
                    <a:pt x="161241" y="3042"/>
                    <a:pt x="161241" y="3042"/>
                  </a:cubicBezTo>
                  <a:cubicBezTo>
                    <a:pt x="161241" y="0"/>
                    <a:pt x="167324" y="0"/>
                    <a:pt x="170367" y="0"/>
                  </a:cubicBezTo>
                  <a:cubicBezTo>
                    <a:pt x="173409" y="0"/>
                    <a:pt x="173409" y="6085"/>
                    <a:pt x="173409" y="9127"/>
                  </a:cubicBezTo>
                  <a:cubicBezTo>
                    <a:pt x="170367" y="12170"/>
                    <a:pt x="91268" y="158198"/>
                    <a:pt x="6085" y="191663"/>
                  </a:cubicBezTo>
                  <a:cubicBezTo>
                    <a:pt x="9128" y="191663"/>
                    <a:pt x="9128" y="191663"/>
                    <a:pt x="6085" y="191663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80458C85-6EA8-4710-BE6A-32B5AC6DA640}"/>
                </a:ext>
              </a:extLst>
            </p:cNvPr>
            <p:cNvSpPr/>
            <p:nvPr/>
          </p:nvSpPr>
          <p:spPr>
            <a:xfrm>
              <a:off x="23271391" y="8606306"/>
              <a:ext cx="818822" cy="984150"/>
            </a:xfrm>
            <a:custGeom>
              <a:avLst/>
              <a:gdLst>
                <a:gd name="connsiteX0" fmla="*/ 774668 w 818822"/>
                <a:gd name="connsiteY0" fmla="*/ 390822 h 984150"/>
                <a:gd name="connsiteX1" fmla="*/ 759457 w 818822"/>
                <a:gd name="connsiteY1" fmla="*/ 68343 h 984150"/>
                <a:gd name="connsiteX2" fmla="*/ 391345 w 818822"/>
                <a:gd name="connsiteY2" fmla="*/ 4455 h 984150"/>
                <a:gd name="connsiteX3" fmla="*/ 90161 w 818822"/>
                <a:gd name="connsiteY3" fmla="*/ 104849 h 984150"/>
                <a:gd name="connsiteX4" fmla="*/ 50612 w 818822"/>
                <a:gd name="connsiteY4" fmla="*/ 652455 h 984150"/>
                <a:gd name="connsiteX5" fmla="*/ 93205 w 818822"/>
                <a:gd name="connsiteY5" fmla="*/ 977976 h 984150"/>
                <a:gd name="connsiteX6" fmla="*/ 768585 w 818822"/>
                <a:gd name="connsiteY6" fmla="*/ 962765 h 984150"/>
                <a:gd name="connsiteX7" fmla="*/ 774668 w 818822"/>
                <a:gd name="connsiteY7" fmla="*/ 390822 h 9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8822" h="984150">
                  <a:moveTo>
                    <a:pt x="774668" y="390822"/>
                  </a:moveTo>
                  <a:cubicBezTo>
                    <a:pt x="783797" y="360399"/>
                    <a:pt x="878106" y="132230"/>
                    <a:pt x="759457" y="68343"/>
                  </a:cubicBezTo>
                  <a:cubicBezTo>
                    <a:pt x="656022" y="13582"/>
                    <a:pt x="509994" y="-10756"/>
                    <a:pt x="391345" y="4455"/>
                  </a:cubicBezTo>
                  <a:cubicBezTo>
                    <a:pt x="260529" y="19666"/>
                    <a:pt x="129712" y="40962"/>
                    <a:pt x="90161" y="104849"/>
                  </a:cubicBezTo>
                  <a:cubicBezTo>
                    <a:pt x="-22401" y="290427"/>
                    <a:pt x="-22401" y="454709"/>
                    <a:pt x="50612" y="652455"/>
                  </a:cubicBezTo>
                  <a:cubicBezTo>
                    <a:pt x="71909" y="710258"/>
                    <a:pt x="77993" y="844117"/>
                    <a:pt x="93205" y="977976"/>
                  </a:cubicBezTo>
                  <a:cubicBezTo>
                    <a:pt x="93205" y="977976"/>
                    <a:pt x="376134" y="999272"/>
                    <a:pt x="768585" y="962765"/>
                  </a:cubicBezTo>
                  <a:cubicBezTo>
                    <a:pt x="738163" y="743723"/>
                    <a:pt x="768585" y="415159"/>
                    <a:pt x="774668" y="390822"/>
                  </a:cubicBezTo>
                  <a:close/>
                </a:path>
              </a:pathLst>
            </a:custGeom>
            <a:solidFill>
              <a:srgbClr val="F6EBE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5F9504C1-1CC5-4F80-AFAD-63EB9FFBA9C5}"/>
                </a:ext>
              </a:extLst>
            </p:cNvPr>
            <p:cNvSpPr/>
            <p:nvPr/>
          </p:nvSpPr>
          <p:spPr>
            <a:xfrm>
              <a:off x="23553216" y="8428226"/>
              <a:ext cx="307266" cy="325521"/>
            </a:xfrm>
            <a:custGeom>
              <a:avLst/>
              <a:gdLst>
                <a:gd name="connsiteX0" fmla="*/ 54760 w 307266"/>
                <a:gd name="connsiteY0" fmla="*/ 60845 h 325521"/>
                <a:gd name="connsiteX1" fmla="*/ 0 w 307266"/>
                <a:gd name="connsiteY1" fmla="*/ 200789 h 325521"/>
                <a:gd name="connsiteX2" fmla="*/ 39549 w 307266"/>
                <a:gd name="connsiteY2" fmla="*/ 325522 h 325521"/>
                <a:gd name="connsiteX3" fmla="*/ 307267 w 307266"/>
                <a:gd name="connsiteY3" fmla="*/ 185578 h 325521"/>
                <a:gd name="connsiteX4" fmla="*/ 255548 w 307266"/>
                <a:gd name="connsiteY4" fmla="*/ 0 h 325521"/>
                <a:gd name="connsiteX5" fmla="*/ 54760 w 307266"/>
                <a:gd name="connsiteY5" fmla="*/ 60845 h 325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266" h="325521">
                  <a:moveTo>
                    <a:pt x="54760" y="60845"/>
                  </a:moveTo>
                  <a:cubicBezTo>
                    <a:pt x="54760" y="60845"/>
                    <a:pt x="60845" y="170366"/>
                    <a:pt x="0" y="200789"/>
                  </a:cubicBezTo>
                  <a:lnTo>
                    <a:pt x="39549" y="325522"/>
                  </a:lnTo>
                  <a:cubicBezTo>
                    <a:pt x="39549" y="325522"/>
                    <a:pt x="255548" y="216000"/>
                    <a:pt x="307267" y="185578"/>
                  </a:cubicBezTo>
                  <a:cubicBezTo>
                    <a:pt x="252507" y="142986"/>
                    <a:pt x="255548" y="60845"/>
                    <a:pt x="255548" y="0"/>
                  </a:cubicBezTo>
                  <a:cubicBezTo>
                    <a:pt x="255548" y="0"/>
                    <a:pt x="109520" y="69972"/>
                    <a:pt x="54760" y="60845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B544A0AE-7220-4288-BAFF-2AB61622DB62}"/>
                </a:ext>
              </a:extLst>
            </p:cNvPr>
            <p:cNvSpPr/>
            <p:nvPr/>
          </p:nvSpPr>
          <p:spPr>
            <a:xfrm>
              <a:off x="23269460" y="8708114"/>
              <a:ext cx="101220" cy="553690"/>
            </a:xfrm>
            <a:custGeom>
              <a:avLst/>
              <a:gdLst>
                <a:gd name="connsiteX0" fmla="*/ 55587 w 101220"/>
                <a:gd name="connsiteY0" fmla="*/ 553690 h 553690"/>
                <a:gd name="connsiteX1" fmla="*/ 49502 w 101220"/>
                <a:gd name="connsiteY1" fmla="*/ 550648 h 553690"/>
                <a:gd name="connsiteX2" fmla="*/ 34291 w 101220"/>
                <a:gd name="connsiteY2" fmla="*/ 495887 h 553690"/>
                <a:gd name="connsiteX3" fmla="*/ 825 w 101220"/>
                <a:gd name="connsiteY3" fmla="*/ 346817 h 553690"/>
                <a:gd name="connsiteX4" fmla="*/ 89051 w 101220"/>
                <a:gd name="connsiteY4" fmla="*/ 3042 h 553690"/>
                <a:gd name="connsiteX5" fmla="*/ 98177 w 101220"/>
                <a:gd name="connsiteY5" fmla="*/ 0 h 553690"/>
                <a:gd name="connsiteX6" fmla="*/ 101221 w 101220"/>
                <a:gd name="connsiteY6" fmla="*/ 9126 h 553690"/>
                <a:gd name="connsiteX7" fmla="*/ 12995 w 101220"/>
                <a:gd name="connsiteY7" fmla="*/ 346817 h 553690"/>
                <a:gd name="connsiteX8" fmla="*/ 46459 w 101220"/>
                <a:gd name="connsiteY8" fmla="*/ 495887 h 553690"/>
                <a:gd name="connsiteX9" fmla="*/ 61670 w 101220"/>
                <a:gd name="connsiteY9" fmla="*/ 550648 h 553690"/>
                <a:gd name="connsiteX10" fmla="*/ 55587 w 101220"/>
                <a:gd name="connsiteY10" fmla="*/ 553690 h 553690"/>
                <a:gd name="connsiteX11" fmla="*/ 55587 w 101220"/>
                <a:gd name="connsiteY11" fmla="*/ 553690 h 553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220" h="553690">
                  <a:moveTo>
                    <a:pt x="55587" y="553690"/>
                  </a:moveTo>
                  <a:cubicBezTo>
                    <a:pt x="52544" y="553690"/>
                    <a:pt x="49502" y="550648"/>
                    <a:pt x="49502" y="550648"/>
                  </a:cubicBezTo>
                  <a:cubicBezTo>
                    <a:pt x="43417" y="532394"/>
                    <a:pt x="40376" y="514141"/>
                    <a:pt x="34291" y="495887"/>
                  </a:cubicBezTo>
                  <a:cubicBezTo>
                    <a:pt x="19079" y="444169"/>
                    <a:pt x="3868" y="392451"/>
                    <a:pt x="825" y="346817"/>
                  </a:cubicBezTo>
                  <a:cubicBezTo>
                    <a:pt x="-5258" y="222084"/>
                    <a:pt x="22121" y="106479"/>
                    <a:pt x="89051" y="3042"/>
                  </a:cubicBezTo>
                  <a:cubicBezTo>
                    <a:pt x="92092" y="0"/>
                    <a:pt x="95136" y="0"/>
                    <a:pt x="98177" y="0"/>
                  </a:cubicBezTo>
                  <a:cubicBezTo>
                    <a:pt x="101221" y="3042"/>
                    <a:pt x="101221" y="6084"/>
                    <a:pt x="101221" y="9126"/>
                  </a:cubicBezTo>
                  <a:cubicBezTo>
                    <a:pt x="37332" y="112563"/>
                    <a:pt x="6910" y="225127"/>
                    <a:pt x="12995" y="346817"/>
                  </a:cubicBezTo>
                  <a:cubicBezTo>
                    <a:pt x="16036" y="392451"/>
                    <a:pt x="31247" y="444169"/>
                    <a:pt x="46459" y="495887"/>
                  </a:cubicBezTo>
                  <a:cubicBezTo>
                    <a:pt x="52544" y="514141"/>
                    <a:pt x="58628" y="532394"/>
                    <a:pt x="61670" y="550648"/>
                  </a:cubicBezTo>
                  <a:cubicBezTo>
                    <a:pt x="64713" y="550648"/>
                    <a:pt x="61670" y="553690"/>
                    <a:pt x="55587" y="553690"/>
                  </a:cubicBezTo>
                  <a:cubicBezTo>
                    <a:pt x="58628" y="553690"/>
                    <a:pt x="58628" y="553690"/>
                    <a:pt x="55587" y="553690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BE6A05C1-1008-463F-BDC0-EEA9B52A18AA}"/>
                </a:ext>
              </a:extLst>
            </p:cNvPr>
            <p:cNvSpPr/>
            <p:nvPr/>
          </p:nvSpPr>
          <p:spPr>
            <a:xfrm>
              <a:off x="23391975" y="9146391"/>
              <a:ext cx="399796" cy="36313"/>
            </a:xfrm>
            <a:custGeom>
              <a:avLst/>
              <a:gdLst>
                <a:gd name="connsiteX0" fmla="*/ 6085 w 399796"/>
                <a:gd name="connsiteY0" fmla="*/ 36313 h 36313"/>
                <a:gd name="connsiteX1" fmla="*/ 0 w 399796"/>
                <a:gd name="connsiteY1" fmla="*/ 33271 h 36313"/>
                <a:gd name="connsiteX2" fmla="*/ 3043 w 399796"/>
                <a:gd name="connsiteY2" fmla="*/ 27187 h 36313"/>
                <a:gd name="connsiteX3" fmla="*/ 395493 w 399796"/>
                <a:gd name="connsiteY3" fmla="*/ 15018 h 36313"/>
                <a:gd name="connsiteX4" fmla="*/ 398536 w 399796"/>
                <a:gd name="connsiteY4" fmla="*/ 21102 h 36313"/>
                <a:gd name="connsiteX5" fmla="*/ 392451 w 399796"/>
                <a:gd name="connsiteY5" fmla="*/ 24145 h 36313"/>
                <a:gd name="connsiteX6" fmla="*/ 6085 w 399796"/>
                <a:gd name="connsiteY6" fmla="*/ 36313 h 36313"/>
                <a:gd name="connsiteX7" fmla="*/ 6085 w 399796"/>
                <a:gd name="connsiteY7" fmla="*/ 36313 h 3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9796" h="36313">
                  <a:moveTo>
                    <a:pt x="6085" y="36313"/>
                  </a:moveTo>
                  <a:cubicBezTo>
                    <a:pt x="3043" y="36313"/>
                    <a:pt x="3043" y="36313"/>
                    <a:pt x="0" y="33271"/>
                  </a:cubicBezTo>
                  <a:cubicBezTo>
                    <a:pt x="0" y="30229"/>
                    <a:pt x="0" y="27187"/>
                    <a:pt x="3043" y="27187"/>
                  </a:cubicBezTo>
                  <a:cubicBezTo>
                    <a:pt x="88226" y="-3236"/>
                    <a:pt x="295099" y="-9320"/>
                    <a:pt x="395493" y="15018"/>
                  </a:cubicBezTo>
                  <a:cubicBezTo>
                    <a:pt x="398536" y="15018"/>
                    <a:pt x="401578" y="18060"/>
                    <a:pt x="398536" y="21102"/>
                  </a:cubicBezTo>
                  <a:cubicBezTo>
                    <a:pt x="398536" y="24145"/>
                    <a:pt x="395493" y="27187"/>
                    <a:pt x="392451" y="24145"/>
                  </a:cubicBezTo>
                  <a:cubicBezTo>
                    <a:pt x="295099" y="-194"/>
                    <a:pt x="91268" y="5891"/>
                    <a:pt x="6085" y="36313"/>
                  </a:cubicBezTo>
                  <a:cubicBezTo>
                    <a:pt x="6085" y="36313"/>
                    <a:pt x="6085" y="36313"/>
                    <a:pt x="6085" y="36313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F13479A6-A6DB-41CF-A50E-3476CFA10FEE}"/>
                </a:ext>
              </a:extLst>
            </p:cNvPr>
            <p:cNvSpPr/>
            <p:nvPr/>
          </p:nvSpPr>
          <p:spPr>
            <a:xfrm>
              <a:off x="23364596" y="9556902"/>
              <a:ext cx="313351" cy="30422"/>
            </a:xfrm>
            <a:custGeom>
              <a:avLst/>
              <a:gdLst>
                <a:gd name="connsiteX0" fmla="*/ 6085 w 313351"/>
                <a:gd name="connsiteY0" fmla="*/ 30423 h 30422"/>
                <a:gd name="connsiteX1" fmla="*/ 0 w 313351"/>
                <a:gd name="connsiteY1" fmla="*/ 24338 h 30422"/>
                <a:gd name="connsiteX2" fmla="*/ 6085 w 313351"/>
                <a:gd name="connsiteY2" fmla="*/ 18254 h 30422"/>
                <a:gd name="connsiteX3" fmla="*/ 307267 w 313351"/>
                <a:gd name="connsiteY3" fmla="*/ 0 h 30422"/>
                <a:gd name="connsiteX4" fmla="*/ 313352 w 313351"/>
                <a:gd name="connsiteY4" fmla="*/ 3042 h 30422"/>
                <a:gd name="connsiteX5" fmla="*/ 310310 w 313351"/>
                <a:gd name="connsiteY5" fmla="*/ 9126 h 30422"/>
                <a:gd name="connsiteX6" fmla="*/ 6085 w 313351"/>
                <a:gd name="connsiteY6" fmla="*/ 30423 h 30422"/>
                <a:gd name="connsiteX7" fmla="*/ 6085 w 313351"/>
                <a:gd name="connsiteY7" fmla="*/ 30423 h 30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3351" h="30422">
                  <a:moveTo>
                    <a:pt x="6085" y="30423"/>
                  </a:moveTo>
                  <a:cubicBezTo>
                    <a:pt x="3042" y="30423"/>
                    <a:pt x="0" y="27380"/>
                    <a:pt x="0" y="24338"/>
                  </a:cubicBezTo>
                  <a:cubicBezTo>
                    <a:pt x="0" y="21296"/>
                    <a:pt x="3042" y="18254"/>
                    <a:pt x="6085" y="18254"/>
                  </a:cubicBezTo>
                  <a:cubicBezTo>
                    <a:pt x="9126" y="18254"/>
                    <a:pt x="215999" y="15211"/>
                    <a:pt x="307267" y="0"/>
                  </a:cubicBezTo>
                  <a:cubicBezTo>
                    <a:pt x="310310" y="0"/>
                    <a:pt x="313352" y="0"/>
                    <a:pt x="313352" y="3042"/>
                  </a:cubicBezTo>
                  <a:cubicBezTo>
                    <a:pt x="313352" y="6085"/>
                    <a:pt x="313352" y="9126"/>
                    <a:pt x="310310" y="9126"/>
                  </a:cubicBezTo>
                  <a:cubicBezTo>
                    <a:pt x="215999" y="27380"/>
                    <a:pt x="6085" y="30423"/>
                    <a:pt x="6085" y="30423"/>
                  </a:cubicBezTo>
                  <a:lnTo>
                    <a:pt x="6085" y="30423"/>
                  </a:ln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E53349E5-7F3B-46F5-BA82-A180F8ED0902}"/>
                </a:ext>
              </a:extLst>
            </p:cNvPr>
            <p:cNvSpPr/>
            <p:nvPr/>
          </p:nvSpPr>
          <p:spPr>
            <a:xfrm>
              <a:off x="23660724" y="8601635"/>
              <a:ext cx="662181" cy="1606309"/>
            </a:xfrm>
            <a:custGeom>
              <a:avLst/>
              <a:gdLst>
                <a:gd name="connsiteX0" fmla="*/ 23308 w 662181"/>
                <a:gd name="connsiteY0" fmla="*/ 307267 h 1606309"/>
                <a:gd name="connsiteX1" fmla="*/ 75027 w 662181"/>
                <a:gd name="connsiteY1" fmla="*/ 1034366 h 1606309"/>
                <a:gd name="connsiteX2" fmla="*/ 224096 w 662181"/>
                <a:gd name="connsiteY2" fmla="*/ 1606310 h 1606309"/>
                <a:gd name="connsiteX3" fmla="*/ 662181 w 662181"/>
                <a:gd name="connsiteY3" fmla="*/ 1381183 h 1606309"/>
                <a:gd name="connsiteX4" fmla="*/ 449224 w 662181"/>
                <a:gd name="connsiteY4" fmla="*/ 857915 h 1606309"/>
                <a:gd name="connsiteX5" fmla="*/ 449224 w 662181"/>
                <a:gd name="connsiteY5" fmla="*/ 389408 h 1606309"/>
                <a:gd name="connsiteX6" fmla="*/ 449224 w 662181"/>
                <a:gd name="connsiteY6" fmla="*/ 118648 h 1606309"/>
                <a:gd name="connsiteX7" fmla="*/ 187589 w 662181"/>
                <a:gd name="connsiteY7" fmla="*/ 0 h 1606309"/>
                <a:gd name="connsiteX8" fmla="*/ 23308 w 662181"/>
                <a:gd name="connsiteY8" fmla="*/ 307267 h 1606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2181" h="1606309">
                  <a:moveTo>
                    <a:pt x="23308" y="307267"/>
                  </a:moveTo>
                  <a:cubicBezTo>
                    <a:pt x="-37537" y="541521"/>
                    <a:pt x="35476" y="790986"/>
                    <a:pt x="75027" y="1034366"/>
                  </a:cubicBezTo>
                  <a:cubicBezTo>
                    <a:pt x="108491" y="1229070"/>
                    <a:pt x="154125" y="1420732"/>
                    <a:pt x="224096" y="1606310"/>
                  </a:cubicBezTo>
                  <a:cubicBezTo>
                    <a:pt x="418801" y="1578929"/>
                    <a:pt x="564829" y="1499831"/>
                    <a:pt x="662181" y="1381183"/>
                  </a:cubicBezTo>
                  <a:cubicBezTo>
                    <a:pt x="601336" y="1253408"/>
                    <a:pt x="476603" y="997859"/>
                    <a:pt x="449224" y="857915"/>
                  </a:cubicBezTo>
                  <a:cubicBezTo>
                    <a:pt x="418801" y="702760"/>
                    <a:pt x="409675" y="544563"/>
                    <a:pt x="449224" y="389408"/>
                  </a:cubicBezTo>
                  <a:cubicBezTo>
                    <a:pt x="473561" y="298140"/>
                    <a:pt x="510069" y="203831"/>
                    <a:pt x="449224" y="118648"/>
                  </a:cubicBezTo>
                  <a:cubicBezTo>
                    <a:pt x="397505" y="48676"/>
                    <a:pt x="266688" y="12169"/>
                    <a:pt x="187589" y="0"/>
                  </a:cubicBezTo>
                  <a:cubicBezTo>
                    <a:pt x="181506" y="3042"/>
                    <a:pt x="47646" y="206873"/>
                    <a:pt x="23308" y="307267"/>
                  </a:cubicBezTo>
                  <a:close/>
                </a:path>
              </a:pathLst>
            </a:custGeom>
            <a:solidFill>
              <a:srgbClr val="F1DDB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15412FF4-AD9E-46E4-8E8E-B683A43C1B7C}"/>
                </a:ext>
              </a:extLst>
            </p:cNvPr>
            <p:cNvSpPr/>
            <p:nvPr/>
          </p:nvSpPr>
          <p:spPr>
            <a:xfrm>
              <a:off x="23191094" y="8613803"/>
              <a:ext cx="389500" cy="1546362"/>
            </a:xfrm>
            <a:custGeom>
              <a:avLst/>
              <a:gdLst>
                <a:gd name="connsiteX0" fmla="*/ 92 w 389500"/>
                <a:gd name="connsiteY0" fmla="*/ 1518084 h 1546362"/>
                <a:gd name="connsiteX1" fmla="*/ 76149 w 389500"/>
                <a:gd name="connsiteY1" fmla="*/ 1542423 h 1546362"/>
                <a:gd name="connsiteX2" fmla="*/ 76149 w 389500"/>
                <a:gd name="connsiteY2" fmla="*/ 1438986 h 1546362"/>
                <a:gd name="connsiteX3" fmla="*/ 176543 w 389500"/>
                <a:gd name="connsiteY3" fmla="*/ 1076958 h 1546362"/>
                <a:gd name="connsiteX4" fmla="*/ 194797 w 389500"/>
                <a:gd name="connsiteY4" fmla="*/ 733183 h 1546362"/>
                <a:gd name="connsiteX5" fmla="*/ 365163 w 389500"/>
                <a:gd name="connsiteY5" fmla="*/ 18254 h 1546362"/>
                <a:gd name="connsiteX6" fmla="*/ 389500 w 389500"/>
                <a:gd name="connsiteY6" fmla="*/ 0 h 1546362"/>
                <a:gd name="connsiteX7" fmla="*/ 57896 w 389500"/>
                <a:gd name="connsiteY7" fmla="*/ 489803 h 1546362"/>
                <a:gd name="connsiteX8" fmla="*/ 88319 w 389500"/>
                <a:gd name="connsiteY8" fmla="*/ 721014 h 1546362"/>
                <a:gd name="connsiteX9" fmla="*/ 85275 w 389500"/>
                <a:gd name="connsiteY9" fmla="*/ 952225 h 1546362"/>
                <a:gd name="connsiteX10" fmla="*/ 92 w 389500"/>
                <a:gd name="connsiteY10" fmla="*/ 1518084 h 154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9500" h="1546362">
                  <a:moveTo>
                    <a:pt x="92" y="1518084"/>
                  </a:moveTo>
                  <a:cubicBezTo>
                    <a:pt x="-2949" y="1536338"/>
                    <a:pt x="70064" y="1554592"/>
                    <a:pt x="76149" y="1542423"/>
                  </a:cubicBezTo>
                  <a:cubicBezTo>
                    <a:pt x="79190" y="1539381"/>
                    <a:pt x="76149" y="1445070"/>
                    <a:pt x="76149" y="1438986"/>
                  </a:cubicBezTo>
                  <a:cubicBezTo>
                    <a:pt x="94402" y="1308169"/>
                    <a:pt x="130909" y="1198648"/>
                    <a:pt x="176543" y="1076958"/>
                  </a:cubicBezTo>
                  <a:cubicBezTo>
                    <a:pt x="216092" y="964395"/>
                    <a:pt x="206965" y="851831"/>
                    <a:pt x="194797" y="733183"/>
                  </a:cubicBezTo>
                  <a:cubicBezTo>
                    <a:pt x="167416" y="477634"/>
                    <a:pt x="206965" y="228169"/>
                    <a:pt x="365163" y="18254"/>
                  </a:cubicBezTo>
                  <a:cubicBezTo>
                    <a:pt x="368204" y="15211"/>
                    <a:pt x="377333" y="15211"/>
                    <a:pt x="389500" y="0"/>
                  </a:cubicBezTo>
                  <a:cubicBezTo>
                    <a:pt x="133952" y="6084"/>
                    <a:pt x="33556" y="279887"/>
                    <a:pt x="57896" y="489803"/>
                  </a:cubicBezTo>
                  <a:cubicBezTo>
                    <a:pt x="67022" y="568901"/>
                    <a:pt x="85275" y="641916"/>
                    <a:pt x="88319" y="721014"/>
                  </a:cubicBezTo>
                  <a:cubicBezTo>
                    <a:pt x="91360" y="797070"/>
                    <a:pt x="88319" y="876169"/>
                    <a:pt x="85275" y="952225"/>
                  </a:cubicBezTo>
                  <a:cubicBezTo>
                    <a:pt x="76149" y="1113465"/>
                    <a:pt x="18345" y="1353803"/>
                    <a:pt x="92" y="1518084"/>
                  </a:cubicBezTo>
                  <a:close/>
                </a:path>
              </a:pathLst>
            </a:custGeom>
            <a:solidFill>
              <a:srgbClr val="F1DDB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8CC9F612-4BC8-4A4F-88AE-17E6422594F7}"/>
                </a:ext>
              </a:extLst>
            </p:cNvPr>
            <p:cNvSpPr/>
            <p:nvPr/>
          </p:nvSpPr>
          <p:spPr>
            <a:xfrm>
              <a:off x="23232240" y="8796339"/>
              <a:ext cx="68467" cy="751436"/>
            </a:xfrm>
            <a:custGeom>
              <a:avLst/>
              <a:gdLst>
                <a:gd name="connsiteX0" fmla="*/ 41088 w 68467"/>
                <a:gd name="connsiteY0" fmla="*/ 751437 h 751436"/>
                <a:gd name="connsiteX1" fmla="*/ 41088 w 68467"/>
                <a:gd name="connsiteY1" fmla="*/ 751437 h 751436"/>
                <a:gd name="connsiteX2" fmla="*/ 35004 w 68467"/>
                <a:gd name="connsiteY2" fmla="*/ 745352 h 751436"/>
                <a:gd name="connsiteX3" fmla="*/ 10666 w 68467"/>
                <a:gd name="connsiteY3" fmla="*/ 328563 h 751436"/>
                <a:gd name="connsiteX4" fmla="*/ 1539 w 68467"/>
                <a:gd name="connsiteY4" fmla="*/ 264676 h 751436"/>
                <a:gd name="connsiteX5" fmla="*/ 56300 w 68467"/>
                <a:gd name="connsiteY5" fmla="*/ 3042 h 751436"/>
                <a:gd name="connsiteX6" fmla="*/ 65426 w 68467"/>
                <a:gd name="connsiteY6" fmla="*/ 0 h 751436"/>
                <a:gd name="connsiteX7" fmla="*/ 68468 w 68467"/>
                <a:gd name="connsiteY7" fmla="*/ 9127 h 751436"/>
                <a:gd name="connsiteX8" fmla="*/ 13707 w 68467"/>
                <a:gd name="connsiteY8" fmla="*/ 264676 h 751436"/>
                <a:gd name="connsiteX9" fmla="*/ 22834 w 68467"/>
                <a:gd name="connsiteY9" fmla="*/ 328563 h 751436"/>
                <a:gd name="connsiteX10" fmla="*/ 47173 w 68467"/>
                <a:gd name="connsiteY10" fmla="*/ 748395 h 751436"/>
                <a:gd name="connsiteX11" fmla="*/ 41088 w 68467"/>
                <a:gd name="connsiteY11" fmla="*/ 751437 h 75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467" h="751436">
                  <a:moveTo>
                    <a:pt x="41088" y="751437"/>
                  </a:moveTo>
                  <a:cubicBezTo>
                    <a:pt x="41088" y="751437"/>
                    <a:pt x="41088" y="751437"/>
                    <a:pt x="41088" y="751437"/>
                  </a:cubicBezTo>
                  <a:cubicBezTo>
                    <a:pt x="38045" y="751437"/>
                    <a:pt x="35004" y="748395"/>
                    <a:pt x="35004" y="745352"/>
                  </a:cubicBezTo>
                  <a:cubicBezTo>
                    <a:pt x="47173" y="626704"/>
                    <a:pt x="25877" y="447211"/>
                    <a:pt x="10666" y="328563"/>
                  </a:cubicBezTo>
                  <a:cubicBezTo>
                    <a:pt x="7622" y="304225"/>
                    <a:pt x="4581" y="282930"/>
                    <a:pt x="1539" y="264676"/>
                  </a:cubicBezTo>
                  <a:cubicBezTo>
                    <a:pt x="-10630" y="158197"/>
                    <a:pt x="53256" y="9127"/>
                    <a:pt x="56300" y="3042"/>
                  </a:cubicBezTo>
                  <a:cubicBezTo>
                    <a:pt x="56300" y="0"/>
                    <a:pt x="62385" y="0"/>
                    <a:pt x="65426" y="0"/>
                  </a:cubicBezTo>
                  <a:cubicBezTo>
                    <a:pt x="68468" y="0"/>
                    <a:pt x="68468" y="6084"/>
                    <a:pt x="68468" y="9127"/>
                  </a:cubicBezTo>
                  <a:cubicBezTo>
                    <a:pt x="68468" y="9127"/>
                    <a:pt x="1539" y="161240"/>
                    <a:pt x="13707" y="264676"/>
                  </a:cubicBezTo>
                  <a:cubicBezTo>
                    <a:pt x="16751" y="282930"/>
                    <a:pt x="19792" y="304225"/>
                    <a:pt x="22834" y="328563"/>
                  </a:cubicBezTo>
                  <a:cubicBezTo>
                    <a:pt x="38045" y="447211"/>
                    <a:pt x="62385" y="626704"/>
                    <a:pt x="47173" y="748395"/>
                  </a:cubicBezTo>
                  <a:cubicBezTo>
                    <a:pt x="47173" y="748395"/>
                    <a:pt x="44130" y="751437"/>
                    <a:pt x="41088" y="751437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37A26E43-A72D-4AD5-B72E-511FC68BD74A}"/>
                </a:ext>
              </a:extLst>
            </p:cNvPr>
            <p:cNvSpPr/>
            <p:nvPr/>
          </p:nvSpPr>
          <p:spPr>
            <a:xfrm>
              <a:off x="23623187" y="8425184"/>
              <a:ext cx="106478" cy="54760"/>
            </a:xfrm>
            <a:custGeom>
              <a:avLst/>
              <a:gdLst>
                <a:gd name="connsiteX0" fmla="*/ 106479 w 106478"/>
                <a:gd name="connsiteY0" fmla="*/ 0 h 54760"/>
                <a:gd name="connsiteX1" fmla="*/ 0 w 106478"/>
                <a:gd name="connsiteY1" fmla="*/ 0 h 54760"/>
                <a:gd name="connsiteX2" fmla="*/ 51719 w 106478"/>
                <a:gd name="connsiteY2" fmla="*/ 54761 h 54760"/>
                <a:gd name="connsiteX3" fmla="*/ 106479 w 106478"/>
                <a:gd name="connsiteY3" fmla="*/ 0 h 5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478" h="54760">
                  <a:moveTo>
                    <a:pt x="106479" y="0"/>
                  </a:moveTo>
                  <a:cubicBezTo>
                    <a:pt x="51719" y="24338"/>
                    <a:pt x="0" y="0"/>
                    <a:pt x="0" y="0"/>
                  </a:cubicBezTo>
                  <a:cubicBezTo>
                    <a:pt x="0" y="0"/>
                    <a:pt x="15211" y="54761"/>
                    <a:pt x="51719" y="54761"/>
                  </a:cubicBezTo>
                  <a:cubicBezTo>
                    <a:pt x="91268" y="51718"/>
                    <a:pt x="106479" y="0"/>
                    <a:pt x="106479" y="0"/>
                  </a:cubicBezTo>
                  <a:close/>
                </a:path>
              </a:pathLst>
            </a:custGeom>
            <a:solidFill>
              <a:srgbClr val="FFFFFF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D3E5DA0C-CD31-4E70-935C-7E1C8812EF0C}"/>
                </a:ext>
              </a:extLst>
            </p:cNvPr>
            <p:cNvSpPr/>
            <p:nvPr/>
          </p:nvSpPr>
          <p:spPr>
            <a:xfrm>
              <a:off x="24597586" y="9705972"/>
              <a:ext cx="108642" cy="172775"/>
            </a:xfrm>
            <a:custGeom>
              <a:avLst/>
              <a:gdLst>
                <a:gd name="connsiteX0" fmla="*/ 108643 w 108642"/>
                <a:gd name="connsiteY0" fmla="*/ 0 h 172775"/>
                <a:gd name="connsiteX1" fmla="*/ 11290 w 108642"/>
                <a:gd name="connsiteY1" fmla="*/ 100395 h 172775"/>
                <a:gd name="connsiteX2" fmla="*/ 5207 w 108642"/>
                <a:gd name="connsiteY2" fmla="*/ 170366 h 172775"/>
                <a:gd name="connsiteX3" fmla="*/ 72135 w 108642"/>
                <a:gd name="connsiteY3" fmla="*/ 91268 h 172775"/>
                <a:gd name="connsiteX4" fmla="*/ 108643 w 108642"/>
                <a:gd name="connsiteY4" fmla="*/ 0 h 172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642" h="172775">
                  <a:moveTo>
                    <a:pt x="108643" y="0"/>
                  </a:moveTo>
                  <a:cubicBezTo>
                    <a:pt x="108643" y="0"/>
                    <a:pt x="29545" y="39550"/>
                    <a:pt x="11290" y="100395"/>
                  </a:cubicBezTo>
                  <a:cubicBezTo>
                    <a:pt x="5207" y="127775"/>
                    <a:pt x="-6963" y="161240"/>
                    <a:pt x="5207" y="170366"/>
                  </a:cubicBezTo>
                  <a:cubicBezTo>
                    <a:pt x="35630" y="188620"/>
                    <a:pt x="41713" y="97352"/>
                    <a:pt x="72135" y="91268"/>
                  </a:cubicBezTo>
                  <a:cubicBezTo>
                    <a:pt x="84305" y="85184"/>
                    <a:pt x="108643" y="0"/>
                    <a:pt x="108643" y="0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3" name="图形 1">
              <a:extLst>
                <a:ext uri="{FF2B5EF4-FFF2-40B4-BE49-F238E27FC236}">
                  <a16:creationId xmlns:a16="http://schemas.microsoft.com/office/drawing/2014/main" id="{FE75F86D-8F97-443D-B688-E358A0560AE5}"/>
                </a:ext>
              </a:extLst>
            </p:cNvPr>
            <p:cNvGrpSpPr/>
            <p:nvPr/>
          </p:nvGrpSpPr>
          <p:grpSpPr>
            <a:xfrm>
              <a:off x="24528327" y="9769860"/>
              <a:ext cx="1662520" cy="2573746"/>
              <a:chOff x="24528327" y="9769860"/>
              <a:chExt cx="1662520" cy="2573746"/>
            </a:xfrm>
          </p:grpSpPr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14545A37-7C6C-4BC2-86F8-BF9A9DA372FC}"/>
                  </a:ext>
                </a:extLst>
              </p:cNvPr>
              <p:cNvSpPr/>
              <p:nvPr/>
            </p:nvSpPr>
            <p:spPr>
              <a:xfrm>
                <a:off x="25621948" y="12191494"/>
                <a:ext cx="152112" cy="152112"/>
              </a:xfrm>
              <a:custGeom>
                <a:avLst/>
                <a:gdLst>
                  <a:gd name="connsiteX0" fmla="*/ 0 w 152112"/>
                  <a:gd name="connsiteY0" fmla="*/ 76056 h 152112"/>
                  <a:gd name="connsiteX1" fmla="*/ 76056 w 152112"/>
                  <a:gd name="connsiteY1" fmla="*/ 152113 h 152112"/>
                  <a:gd name="connsiteX2" fmla="*/ 152113 w 152112"/>
                  <a:gd name="connsiteY2" fmla="*/ 76056 h 152112"/>
                  <a:gd name="connsiteX3" fmla="*/ 76056 w 152112"/>
                  <a:gd name="connsiteY3" fmla="*/ 0 h 152112"/>
                  <a:gd name="connsiteX4" fmla="*/ 0 w 152112"/>
                  <a:gd name="connsiteY4" fmla="*/ 76056 h 152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112" h="152112">
                    <a:moveTo>
                      <a:pt x="0" y="76056"/>
                    </a:moveTo>
                    <a:cubicBezTo>
                      <a:pt x="0" y="118648"/>
                      <a:pt x="33464" y="152113"/>
                      <a:pt x="76056" y="152113"/>
                    </a:cubicBezTo>
                    <a:cubicBezTo>
                      <a:pt x="118647" y="152113"/>
                      <a:pt x="152113" y="118648"/>
                      <a:pt x="152113" y="76056"/>
                    </a:cubicBezTo>
                    <a:cubicBezTo>
                      <a:pt x="152113" y="33465"/>
                      <a:pt x="118647" y="0"/>
                      <a:pt x="76056" y="0"/>
                    </a:cubicBezTo>
                    <a:cubicBezTo>
                      <a:pt x="33464" y="3042"/>
                      <a:pt x="0" y="36506"/>
                      <a:pt x="0" y="7605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D9569258-6303-4074-9998-E71FC3F9653A}"/>
                  </a:ext>
                </a:extLst>
              </p:cNvPr>
              <p:cNvSpPr/>
              <p:nvPr/>
            </p:nvSpPr>
            <p:spPr>
              <a:xfrm>
                <a:off x="26038735" y="11914649"/>
                <a:ext cx="152112" cy="152112"/>
              </a:xfrm>
              <a:custGeom>
                <a:avLst/>
                <a:gdLst>
                  <a:gd name="connsiteX0" fmla="*/ 0 w 152112"/>
                  <a:gd name="connsiteY0" fmla="*/ 76056 h 152112"/>
                  <a:gd name="connsiteX1" fmla="*/ 76056 w 152112"/>
                  <a:gd name="connsiteY1" fmla="*/ 152113 h 152112"/>
                  <a:gd name="connsiteX2" fmla="*/ 152113 w 152112"/>
                  <a:gd name="connsiteY2" fmla="*/ 76056 h 152112"/>
                  <a:gd name="connsiteX3" fmla="*/ 76056 w 152112"/>
                  <a:gd name="connsiteY3" fmla="*/ 0 h 152112"/>
                  <a:gd name="connsiteX4" fmla="*/ 0 w 152112"/>
                  <a:gd name="connsiteY4" fmla="*/ 76056 h 152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112" h="152112">
                    <a:moveTo>
                      <a:pt x="0" y="76056"/>
                    </a:moveTo>
                    <a:cubicBezTo>
                      <a:pt x="0" y="118648"/>
                      <a:pt x="33466" y="152113"/>
                      <a:pt x="76056" y="152113"/>
                    </a:cubicBezTo>
                    <a:cubicBezTo>
                      <a:pt x="118649" y="152113"/>
                      <a:pt x="152113" y="118648"/>
                      <a:pt x="152113" y="76056"/>
                    </a:cubicBezTo>
                    <a:cubicBezTo>
                      <a:pt x="152113" y="33465"/>
                      <a:pt x="118649" y="0"/>
                      <a:pt x="76056" y="0"/>
                    </a:cubicBezTo>
                    <a:cubicBezTo>
                      <a:pt x="33466" y="0"/>
                      <a:pt x="0" y="33465"/>
                      <a:pt x="0" y="7605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6CFC08BB-D5EC-409A-B44C-25A85987239B}"/>
                  </a:ext>
                </a:extLst>
              </p:cNvPr>
              <p:cNvSpPr/>
              <p:nvPr/>
            </p:nvSpPr>
            <p:spPr>
              <a:xfrm>
                <a:off x="25031750" y="12191494"/>
                <a:ext cx="152112" cy="152112"/>
              </a:xfrm>
              <a:custGeom>
                <a:avLst/>
                <a:gdLst>
                  <a:gd name="connsiteX0" fmla="*/ 0 w 152112"/>
                  <a:gd name="connsiteY0" fmla="*/ 76056 h 152112"/>
                  <a:gd name="connsiteX1" fmla="*/ 76056 w 152112"/>
                  <a:gd name="connsiteY1" fmla="*/ 152113 h 152112"/>
                  <a:gd name="connsiteX2" fmla="*/ 152113 w 152112"/>
                  <a:gd name="connsiteY2" fmla="*/ 76056 h 152112"/>
                  <a:gd name="connsiteX3" fmla="*/ 76056 w 152112"/>
                  <a:gd name="connsiteY3" fmla="*/ 0 h 152112"/>
                  <a:gd name="connsiteX4" fmla="*/ 0 w 152112"/>
                  <a:gd name="connsiteY4" fmla="*/ 76056 h 152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112" h="152112">
                    <a:moveTo>
                      <a:pt x="0" y="76056"/>
                    </a:moveTo>
                    <a:cubicBezTo>
                      <a:pt x="0" y="118648"/>
                      <a:pt x="33464" y="152113"/>
                      <a:pt x="76056" y="152113"/>
                    </a:cubicBezTo>
                    <a:cubicBezTo>
                      <a:pt x="118649" y="152113"/>
                      <a:pt x="152113" y="118648"/>
                      <a:pt x="152113" y="76056"/>
                    </a:cubicBezTo>
                    <a:cubicBezTo>
                      <a:pt x="152113" y="33465"/>
                      <a:pt x="118649" y="0"/>
                      <a:pt x="76056" y="0"/>
                    </a:cubicBezTo>
                    <a:cubicBezTo>
                      <a:pt x="33464" y="3042"/>
                      <a:pt x="0" y="36506"/>
                      <a:pt x="0" y="7605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25" name="图形 1">
                <a:extLst>
                  <a:ext uri="{FF2B5EF4-FFF2-40B4-BE49-F238E27FC236}">
                    <a16:creationId xmlns:a16="http://schemas.microsoft.com/office/drawing/2014/main" id="{7F36BFC6-1144-4424-B4A1-AA07258393F4}"/>
                  </a:ext>
                </a:extLst>
              </p:cNvPr>
              <p:cNvGrpSpPr/>
              <p:nvPr/>
            </p:nvGrpSpPr>
            <p:grpSpPr>
              <a:xfrm>
                <a:off x="24528327" y="10463493"/>
                <a:ext cx="1660930" cy="1746254"/>
                <a:chOff x="24528327" y="10463493"/>
                <a:chExt cx="1660930" cy="1746254"/>
              </a:xfrm>
            </p:grpSpPr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8173F95E-ED58-4A90-A032-B22A74905430}"/>
                    </a:ext>
                  </a:extLst>
                </p:cNvPr>
                <p:cNvSpPr/>
                <p:nvPr/>
              </p:nvSpPr>
              <p:spPr>
                <a:xfrm>
                  <a:off x="24835595" y="10463493"/>
                  <a:ext cx="1353662" cy="1487662"/>
                </a:xfrm>
                <a:custGeom>
                  <a:avLst/>
                  <a:gdLst>
                    <a:gd name="connsiteX0" fmla="*/ 497339 w 1353662"/>
                    <a:gd name="connsiteY0" fmla="*/ 1487663 h 1487662"/>
                    <a:gd name="connsiteX1" fmla="*/ 1270070 w 1353662"/>
                    <a:gd name="connsiteY1" fmla="*/ 1487663 h 1487662"/>
                    <a:gd name="connsiteX2" fmla="*/ 1349170 w 1353662"/>
                    <a:gd name="connsiteY2" fmla="*/ 1378141 h 1487662"/>
                    <a:gd name="connsiteX3" fmla="*/ 935422 w 1353662"/>
                    <a:gd name="connsiteY3" fmla="*/ 57804 h 1487662"/>
                    <a:gd name="connsiteX4" fmla="*/ 856324 w 1353662"/>
                    <a:gd name="connsiteY4" fmla="*/ 0 h 1487662"/>
                    <a:gd name="connsiteX5" fmla="*/ 83591 w 1353662"/>
                    <a:gd name="connsiteY5" fmla="*/ 0 h 1487662"/>
                    <a:gd name="connsiteX6" fmla="*/ 4493 w 1353662"/>
                    <a:gd name="connsiteY6" fmla="*/ 109521 h 1487662"/>
                    <a:gd name="connsiteX7" fmla="*/ 418239 w 1353662"/>
                    <a:gd name="connsiteY7" fmla="*/ 1429859 h 1487662"/>
                    <a:gd name="connsiteX8" fmla="*/ 497339 w 1353662"/>
                    <a:gd name="connsiteY8" fmla="*/ 1487663 h 148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3662" h="1487662">
                      <a:moveTo>
                        <a:pt x="497339" y="1487663"/>
                      </a:moveTo>
                      <a:lnTo>
                        <a:pt x="1270070" y="1487663"/>
                      </a:lnTo>
                      <a:cubicBezTo>
                        <a:pt x="1327874" y="1487663"/>
                        <a:pt x="1367423" y="1432902"/>
                        <a:pt x="1349170" y="1378141"/>
                      </a:cubicBezTo>
                      <a:lnTo>
                        <a:pt x="935422" y="57804"/>
                      </a:lnTo>
                      <a:cubicBezTo>
                        <a:pt x="923254" y="21296"/>
                        <a:pt x="892832" y="0"/>
                        <a:pt x="856324" y="0"/>
                      </a:cubicBezTo>
                      <a:lnTo>
                        <a:pt x="83591" y="0"/>
                      </a:lnTo>
                      <a:cubicBezTo>
                        <a:pt x="25790" y="0"/>
                        <a:pt x="-13761" y="54761"/>
                        <a:pt x="4493" y="109521"/>
                      </a:cubicBezTo>
                      <a:lnTo>
                        <a:pt x="418239" y="1429859"/>
                      </a:lnTo>
                      <a:cubicBezTo>
                        <a:pt x="427366" y="1463324"/>
                        <a:pt x="460831" y="1487663"/>
                        <a:pt x="497339" y="148766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03EEA343-7AE6-46E6-A1BD-C987E3BE875D}"/>
                    </a:ext>
                  </a:extLst>
                </p:cNvPr>
                <p:cNvSpPr/>
                <p:nvPr/>
              </p:nvSpPr>
              <p:spPr>
                <a:xfrm>
                  <a:off x="24551074" y="10484789"/>
                  <a:ext cx="1621520" cy="1691493"/>
                </a:xfrm>
                <a:custGeom>
                  <a:avLst/>
                  <a:gdLst>
                    <a:gd name="connsiteX0" fmla="*/ 307267 w 1621520"/>
                    <a:gd name="connsiteY0" fmla="*/ 0 h 1691493"/>
                    <a:gd name="connsiteX1" fmla="*/ 0 w 1621520"/>
                    <a:gd name="connsiteY1" fmla="*/ 261634 h 1691493"/>
                    <a:gd name="connsiteX2" fmla="*/ 1314254 w 1621520"/>
                    <a:gd name="connsiteY2" fmla="*/ 1691493 h 1691493"/>
                    <a:gd name="connsiteX3" fmla="*/ 1621521 w 1621520"/>
                    <a:gd name="connsiteY3" fmla="*/ 1429859 h 1691493"/>
                    <a:gd name="connsiteX4" fmla="*/ 1031323 w 1621520"/>
                    <a:gd name="connsiteY4" fmla="*/ 112564 h 16914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21520" h="1691493">
                      <a:moveTo>
                        <a:pt x="307267" y="0"/>
                      </a:moveTo>
                      <a:lnTo>
                        <a:pt x="0" y="261634"/>
                      </a:lnTo>
                      <a:lnTo>
                        <a:pt x="1314254" y="1691493"/>
                      </a:lnTo>
                      <a:lnTo>
                        <a:pt x="1621521" y="1429859"/>
                      </a:lnTo>
                      <a:lnTo>
                        <a:pt x="1031323" y="112564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7466049C-610C-4892-A1F2-8736A16BCF54}"/>
                    </a:ext>
                  </a:extLst>
                </p:cNvPr>
                <p:cNvSpPr/>
                <p:nvPr/>
              </p:nvSpPr>
              <p:spPr>
                <a:xfrm>
                  <a:off x="24528327" y="10722085"/>
                  <a:ext cx="1353662" cy="1487662"/>
                </a:xfrm>
                <a:custGeom>
                  <a:avLst/>
                  <a:gdLst>
                    <a:gd name="connsiteX0" fmla="*/ 497338 w 1353662"/>
                    <a:gd name="connsiteY0" fmla="*/ 1487663 h 1487662"/>
                    <a:gd name="connsiteX1" fmla="*/ 1270071 w 1353662"/>
                    <a:gd name="connsiteY1" fmla="*/ 1487663 h 1487662"/>
                    <a:gd name="connsiteX2" fmla="*/ 1349169 w 1353662"/>
                    <a:gd name="connsiteY2" fmla="*/ 1378141 h 1487662"/>
                    <a:gd name="connsiteX3" fmla="*/ 935423 w 1353662"/>
                    <a:gd name="connsiteY3" fmla="*/ 57804 h 1487662"/>
                    <a:gd name="connsiteX4" fmla="*/ 856324 w 1353662"/>
                    <a:gd name="connsiteY4" fmla="*/ 0 h 1487662"/>
                    <a:gd name="connsiteX5" fmla="*/ 83592 w 1353662"/>
                    <a:gd name="connsiteY5" fmla="*/ 0 h 1487662"/>
                    <a:gd name="connsiteX6" fmla="*/ 4493 w 1353662"/>
                    <a:gd name="connsiteY6" fmla="*/ 109521 h 1487662"/>
                    <a:gd name="connsiteX7" fmla="*/ 418240 w 1353662"/>
                    <a:gd name="connsiteY7" fmla="*/ 1429859 h 1487662"/>
                    <a:gd name="connsiteX8" fmla="*/ 497338 w 1353662"/>
                    <a:gd name="connsiteY8" fmla="*/ 1487663 h 148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3662" h="1487662">
                      <a:moveTo>
                        <a:pt x="497338" y="1487663"/>
                      </a:moveTo>
                      <a:lnTo>
                        <a:pt x="1270071" y="1487663"/>
                      </a:lnTo>
                      <a:cubicBezTo>
                        <a:pt x="1327873" y="1487663"/>
                        <a:pt x="1367424" y="1432902"/>
                        <a:pt x="1349169" y="1378141"/>
                      </a:cubicBezTo>
                      <a:lnTo>
                        <a:pt x="935423" y="57804"/>
                      </a:lnTo>
                      <a:cubicBezTo>
                        <a:pt x="923254" y="21296"/>
                        <a:pt x="892831" y="0"/>
                        <a:pt x="856324" y="0"/>
                      </a:cubicBezTo>
                      <a:lnTo>
                        <a:pt x="83592" y="0"/>
                      </a:lnTo>
                      <a:cubicBezTo>
                        <a:pt x="25789" y="0"/>
                        <a:pt x="-13760" y="54761"/>
                        <a:pt x="4493" y="109521"/>
                      </a:cubicBezTo>
                      <a:lnTo>
                        <a:pt x="418240" y="1429859"/>
                      </a:lnTo>
                      <a:cubicBezTo>
                        <a:pt x="427367" y="1463324"/>
                        <a:pt x="460831" y="1487663"/>
                        <a:pt x="497338" y="1487663"/>
                      </a:cubicBezTo>
                      <a:close/>
                    </a:path>
                  </a:pathLst>
                </a:custGeom>
                <a:solidFill>
                  <a:srgbClr val="C6554F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09E46566-D3F4-4F95-AFB2-2AFB3CE4FD60}"/>
                    </a:ext>
                  </a:extLst>
                </p:cNvPr>
                <p:cNvSpPr/>
                <p:nvPr/>
              </p:nvSpPr>
              <p:spPr>
                <a:xfrm>
                  <a:off x="24754906" y="10560846"/>
                  <a:ext cx="1301039" cy="1463324"/>
                </a:xfrm>
                <a:custGeom>
                  <a:avLst/>
                  <a:gdLst>
                    <a:gd name="connsiteX0" fmla="*/ 1295999 w 1301039"/>
                    <a:gd name="connsiteY0" fmla="*/ 1463324 h 1463324"/>
                    <a:gd name="connsiteX1" fmla="*/ 1289914 w 1301039"/>
                    <a:gd name="connsiteY1" fmla="*/ 1460282 h 1463324"/>
                    <a:gd name="connsiteX2" fmla="*/ 854873 w 1301039"/>
                    <a:gd name="connsiteY2" fmla="*/ 66930 h 1463324"/>
                    <a:gd name="connsiteX3" fmla="*/ 778816 w 1301039"/>
                    <a:gd name="connsiteY3" fmla="*/ 12169 h 1463324"/>
                    <a:gd name="connsiteX4" fmla="*/ 6083 w 1301039"/>
                    <a:gd name="connsiteY4" fmla="*/ 12169 h 1463324"/>
                    <a:gd name="connsiteX5" fmla="*/ 0 w 1301039"/>
                    <a:gd name="connsiteY5" fmla="*/ 6085 h 1463324"/>
                    <a:gd name="connsiteX6" fmla="*/ 6083 w 1301039"/>
                    <a:gd name="connsiteY6" fmla="*/ 0 h 1463324"/>
                    <a:gd name="connsiteX7" fmla="*/ 778816 w 1301039"/>
                    <a:gd name="connsiteY7" fmla="*/ 0 h 1463324"/>
                    <a:gd name="connsiteX8" fmla="*/ 863999 w 1301039"/>
                    <a:gd name="connsiteY8" fmla="*/ 63888 h 1463324"/>
                    <a:gd name="connsiteX9" fmla="*/ 1299041 w 1301039"/>
                    <a:gd name="connsiteY9" fmla="*/ 1457239 h 1463324"/>
                    <a:gd name="connsiteX10" fmla="*/ 1295999 w 1301039"/>
                    <a:gd name="connsiteY10" fmla="*/ 1463324 h 1463324"/>
                    <a:gd name="connsiteX11" fmla="*/ 1295999 w 1301039"/>
                    <a:gd name="connsiteY11" fmla="*/ 1463324 h 14633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301039" h="1463324">
                      <a:moveTo>
                        <a:pt x="1295999" y="1463324"/>
                      </a:moveTo>
                      <a:cubicBezTo>
                        <a:pt x="1292958" y="1463324"/>
                        <a:pt x="1289914" y="1460282"/>
                        <a:pt x="1289914" y="1460282"/>
                      </a:cubicBezTo>
                      <a:lnTo>
                        <a:pt x="854873" y="66930"/>
                      </a:lnTo>
                      <a:cubicBezTo>
                        <a:pt x="845746" y="33465"/>
                        <a:pt x="815324" y="12169"/>
                        <a:pt x="778816" y="12169"/>
                      </a:cubicBezTo>
                      <a:lnTo>
                        <a:pt x="6083" y="12169"/>
                      </a:lnTo>
                      <a:cubicBezTo>
                        <a:pt x="3042" y="12169"/>
                        <a:pt x="0" y="9126"/>
                        <a:pt x="0" y="6085"/>
                      </a:cubicBezTo>
                      <a:cubicBezTo>
                        <a:pt x="0" y="3042"/>
                        <a:pt x="3042" y="0"/>
                        <a:pt x="6083" y="0"/>
                      </a:cubicBezTo>
                      <a:lnTo>
                        <a:pt x="778816" y="0"/>
                      </a:lnTo>
                      <a:cubicBezTo>
                        <a:pt x="818365" y="0"/>
                        <a:pt x="851831" y="24338"/>
                        <a:pt x="863999" y="63888"/>
                      </a:cubicBezTo>
                      <a:lnTo>
                        <a:pt x="1299041" y="1457239"/>
                      </a:lnTo>
                      <a:cubicBezTo>
                        <a:pt x="1302084" y="1457239"/>
                        <a:pt x="1302084" y="1460282"/>
                        <a:pt x="1295999" y="1463324"/>
                      </a:cubicBezTo>
                      <a:cubicBezTo>
                        <a:pt x="1299041" y="1463324"/>
                        <a:pt x="1295999" y="1463324"/>
                        <a:pt x="1295999" y="1463324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2" name="任意多边形: 形状 131">
                  <a:extLst>
                    <a:ext uri="{FF2B5EF4-FFF2-40B4-BE49-F238E27FC236}">
                      <a16:creationId xmlns:a16="http://schemas.microsoft.com/office/drawing/2014/main" id="{DF71B2D9-AB55-413F-B0A0-CA6CC519B52C}"/>
                    </a:ext>
                  </a:extLst>
                </p:cNvPr>
                <p:cNvSpPr/>
                <p:nvPr/>
              </p:nvSpPr>
              <p:spPr>
                <a:xfrm>
                  <a:off x="24821834" y="10722085"/>
                  <a:ext cx="374198" cy="127775"/>
                </a:xfrm>
                <a:custGeom>
                  <a:avLst/>
                  <a:gdLst>
                    <a:gd name="connsiteX0" fmla="*/ 45634 w 374198"/>
                    <a:gd name="connsiteY0" fmla="*/ 127775 h 127775"/>
                    <a:gd name="connsiteX1" fmla="*/ 374199 w 374198"/>
                    <a:gd name="connsiteY1" fmla="*/ 127775 h 127775"/>
                    <a:gd name="connsiteX2" fmla="*/ 331606 w 374198"/>
                    <a:gd name="connsiteY2" fmla="*/ 0 h 127775"/>
                    <a:gd name="connsiteX3" fmla="*/ 0 w 374198"/>
                    <a:gd name="connsiteY3" fmla="*/ 0 h 127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4198" h="127775">
                      <a:moveTo>
                        <a:pt x="45634" y="127775"/>
                      </a:moveTo>
                      <a:lnTo>
                        <a:pt x="374199" y="127775"/>
                      </a:lnTo>
                      <a:lnTo>
                        <a:pt x="33160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8343B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3" name="任意多边形: 形状 132">
                  <a:extLst>
                    <a:ext uri="{FF2B5EF4-FFF2-40B4-BE49-F238E27FC236}">
                      <a16:creationId xmlns:a16="http://schemas.microsoft.com/office/drawing/2014/main" id="{2BD1642D-27F0-4BCB-823C-61AC5C5645BB}"/>
                    </a:ext>
                  </a:extLst>
                </p:cNvPr>
                <p:cNvSpPr/>
                <p:nvPr/>
              </p:nvSpPr>
              <p:spPr>
                <a:xfrm>
                  <a:off x="24821834" y="10636902"/>
                  <a:ext cx="404621" cy="85182"/>
                </a:xfrm>
                <a:custGeom>
                  <a:avLst/>
                  <a:gdLst>
                    <a:gd name="connsiteX0" fmla="*/ 0 w 404621"/>
                    <a:gd name="connsiteY0" fmla="*/ 85183 h 85182"/>
                    <a:gd name="connsiteX1" fmla="*/ 331606 w 404621"/>
                    <a:gd name="connsiteY1" fmla="*/ 85183 h 85182"/>
                    <a:gd name="connsiteX2" fmla="*/ 404621 w 404621"/>
                    <a:gd name="connsiteY2" fmla="*/ 0 h 85182"/>
                    <a:gd name="connsiteX3" fmla="*/ 76056 w 404621"/>
                    <a:gd name="connsiteY3" fmla="*/ 0 h 851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4621" h="85182">
                      <a:moveTo>
                        <a:pt x="0" y="85183"/>
                      </a:moveTo>
                      <a:lnTo>
                        <a:pt x="331606" y="85183"/>
                      </a:lnTo>
                      <a:lnTo>
                        <a:pt x="404621" y="0"/>
                      </a:lnTo>
                      <a:lnTo>
                        <a:pt x="76056" y="0"/>
                      </a:lnTo>
                      <a:close/>
                    </a:path>
                  </a:pathLst>
                </a:custGeom>
                <a:solidFill>
                  <a:srgbClr val="38343B"/>
                </a:solidFill>
                <a:ln w="304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2599FD56-5BBE-4F41-AF3D-EE37064496CC}"/>
                  </a:ext>
                </a:extLst>
              </p:cNvPr>
              <p:cNvSpPr/>
              <p:nvPr/>
            </p:nvSpPr>
            <p:spPr>
              <a:xfrm>
                <a:off x="24607057" y="9809409"/>
                <a:ext cx="559361" cy="885295"/>
              </a:xfrm>
              <a:custGeom>
                <a:avLst/>
                <a:gdLst>
                  <a:gd name="connsiteX0" fmla="*/ 543342 w 559361"/>
                  <a:gd name="connsiteY0" fmla="*/ 885296 h 885295"/>
                  <a:gd name="connsiteX1" fmla="*/ 528130 w 559361"/>
                  <a:gd name="connsiteY1" fmla="*/ 876170 h 885295"/>
                  <a:gd name="connsiteX2" fmla="*/ 263454 w 559361"/>
                  <a:gd name="connsiteY2" fmla="*/ 39550 h 885295"/>
                  <a:gd name="connsiteX3" fmla="*/ 251284 w 559361"/>
                  <a:gd name="connsiteY3" fmla="*/ 30423 h 885295"/>
                  <a:gd name="connsiteX4" fmla="*/ 44411 w 559361"/>
                  <a:gd name="connsiteY4" fmla="*/ 30423 h 885295"/>
                  <a:gd name="connsiteX5" fmla="*/ 32242 w 559361"/>
                  <a:gd name="connsiteY5" fmla="*/ 36507 h 885295"/>
                  <a:gd name="connsiteX6" fmla="*/ 29200 w 559361"/>
                  <a:gd name="connsiteY6" fmla="*/ 48676 h 885295"/>
                  <a:gd name="connsiteX7" fmla="*/ 290833 w 559361"/>
                  <a:gd name="connsiteY7" fmla="*/ 864001 h 885295"/>
                  <a:gd name="connsiteX8" fmla="*/ 281707 w 559361"/>
                  <a:gd name="connsiteY8" fmla="*/ 882254 h 885295"/>
                  <a:gd name="connsiteX9" fmla="*/ 263454 w 559361"/>
                  <a:gd name="connsiteY9" fmla="*/ 873127 h 885295"/>
                  <a:gd name="connsiteX10" fmla="*/ 1819 w 559361"/>
                  <a:gd name="connsiteY10" fmla="*/ 57804 h 885295"/>
                  <a:gd name="connsiteX11" fmla="*/ 7904 w 559361"/>
                  <a:gd name="connsiteY11" fmla="*/ 18254 h 885295"/>
                  <a:gd name="connsiteX12" fmla="*/ 44411 w 559361"/>
                  <a:gd name="connsiteY12" fmla="*/ 0 h 885295"/>
                  <a:gd name="connsiteX13" fmla="*/ 251284 w 559361"/>
                  <a:gd name="connsiteY13" fmla="*/ 0 h 885295"/>
                  <a:gd name="connsiteX14" fmla="*/ 293876 w 559361"/>
                  <a:gd name="connsiteY14" fmla="*/ 30423 h 885295"/>
                  <a:gd name="connsiteX15" fmla="*/ 558553 w 559361"/>
                  <a:gd name="connsiteY15" fmla="*/ 867042 h 885295"/>
                  <a:gd name="connsiteX16" fmla="*/ 549425 w 559361"/>
                  <a:gd name="connsiteY16" fmla="*/ 885296 h 885295"/>
                  <a:gd name="connsiteX17" fmla="*/ 543342 w 559361"/>
                  <a:gd name="connsiteY17" fmla="*/ 885296 h 885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59361" h="885295">
                    <a:moveTo>
                      <a:pt x="543342" y="885296"/>
                    </a:moveTo>
                    <a:cubicBezTo>
                      <a:pt x="537257" y="885296"/>
                      <a:pt x="531172" y="882254"/>
                      <a:pt x="528130" y="876170"/>
                    </a:cubicBezTo>
                    <a:lnTo>
                      <a:pt x="263454" y="39550"/>
                    </a:lnTo>
                    <a:cubicBezTo>
                      <a:pt x="260411" y="33465"/>
                      <a:pt x="257369" y="30423"/>
                      <a:pt x="251284" y="30423"/>
                    </a:cubicBezTo>
                    <a:lnTo>
                      <a:pt x="44411" y="30423"/>
                    </a:lnTo>
                    <a:cubicBezTo>
                      <a:pt x="41370" y="30423"/>
                      <a:pt x="35285" y="33465"/>
                      <a:pt x="32242" y="36507"/>
                    </a:cubicBezTo>
                    <a:cubicBezTo>
                      <a:pt x="29200" y="39550"/>
                      <a:pt x="29200" y="45634"/>
                      <a:pt x="29200" y="48676"/>
                    </a:cubicBezTo>
                    <a:lnTo>
                      <a:pt x="290833" y="864001"/>
                    </a:lnTo>
                    <a:cubicBezTo>
                      <a:pt x="293876" y="873127"/>
                      <a:pt x="287792" y="879212"/>
                      <a:pt x="281707" y="882254"/>
                    </a:cubicBezTo>
                    <a:cubicBezTo>
                      <a:pt x="272580" y="885296"/>
                      <a:pt x="266495" y="879212"/>
                      <a:pt x="263454" y="873127"/>
                    </a:cubicBezTo>
                    <a:lnTo>
                      <a:pt x="1819" y="57804"/>
                    </a:lnTo>
                    <a:cubicBezTo>
                      <a:pt x="-1223" y="45634"/>
                      <a:pt x="-1223" y="30423"/>
                      <a:pt x="7904" y="18254"/>
                    </a:cubicBezTo>
                    <a:cubicBezTo>
                      <a:pt x="17030" y="6085"/>
                      <a:pt x="29200" y="0"/>
                      <a:pt x="44411" y="0"/>
                    </a:cubicBezTo>
                    <a:lnTo>
                      <a:pt x="251284" y="0"/>
                    </a:lnTo>
                    <a:cubicBezTo>
                      <a:pt x="269539" y="0"/>
                      <a:pt x="287792" y="12170"/>
                      <a:pt x="293876" y="30423"/>
                    </a:cubicBezTo>
                    <a:lnTo>
                      <a:pt x="558553" y="867042"/>
                    </a:lnTo>
                    <a:cubicBezTo>
                      <a:pt x="561594" y="876170"/>
                      <a:pt x="555510" y="882254"/>
                      <a:pt x="549425" y="885296"/>
                    </a:cubicBezTo>
                    <a:cubicBezTo>
                      <a:pt x="546383" y="885296"/>
                      <a:pt x="543342" y="885296"/>
                      <a:pt x="543342" y="88529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F5121F91-DDFF-425B-A8FE-1385175E1F68}"/>
                  </a:ext>
                </a:extLst>
              </p:cNvPr>
              <p:cNvSpPr/>
              <p:nvPr/>
            </p:nvSpPr>
            <p:spPr>
              <a:xfrm>
                <a:off x="24551074" y="9769860"/>
                <a:ext cx="404619" cy="109521"/>
              </a:xfrm>
              <a:custGeom>
                <a:avLst/>
                <a:gdLst>
                  <a:gd name="connsiteX0" fmla="*/ 54760 w 404619"/>
                  <a:gd name="connsiteY0" fmla="*/ 109521 h 109521"/>
                  <a:gd name="connsiteX1" fmla="*/ 349859 w 404619"/>
                  <a:gd name="connsiteY1" fmla="*/ 109521 h 109521"/>
                  <a:gd name="connsiteX2" fmla="*/ 404619 w 404619"/>
                  <a:gd name="connsiteY2" fmla="*/ 54760 h 109521"/>
                  <a:gd name="connsiteX3" fmla="*/ 404619 w 404619"/>
                  <a:gd name="connsiteY3" fmla="*/ 54760 h 109521"/>
                  <a:gd name="connsiteX4" fmla="*/ 349859 w 404619"/>
                  <a:gd name="connsiteY4" fmla="*/ 0 h 109521"/>
                  <a:gd name="connsiteX5" fmla="*/ 54760 w 404619"/>
                  <a:gd name="connsiteY5" fmla="*/ 0 h 109521"/>
                  <a:gd name="connsiteX6" fmla="*/ 0 w 404619"/>
                  <a:gd name="connsiteY6" fmla="*/ 54760 h 109521"/>
                  <a:gd name="connsiteX7" fmla="*/ 0 w 404619"/>
                  <a:gd name="connsiteY7" fmla="*/ 54760 h 109521"/>
                  <a:gd name="connsiteX8" fmla="*/ 54760 w 404619"/>
                  <a:gd name="connsiteY8" fmla="*/ 109521 h 109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4619" h="109521">
                    <a:moveTo>
                      <a:pt x="54760" y="109521"/>
                    </a:moveTo>
                    <a:lnTo>
                      <a:pt x="349859" y="109521"/>
                    </a:lnTo>
                    <a:cubicBezTo>
                      <a:pt x="380282" y="109521"/>
                      <a:pt x="404619" y="85183"/>
                      <a:pt x="404619" y="54760"/>
                    </a:cubicBezTo>
                    <a:lnTo>
                      <a:pt x="404619" y="54760"/>
                    </a:lnTo>
                    <a:cubicBezTo>
                      <a:pt x="404619" y="24338"/>
                      <a:pt x="380282" y="0"/>
                      <a:pt x="349859" y="0"/>
                    </a:cubicBezTo>
                    <a:lnTo>
                      <a:pt x="54760" y="0"/>
                    </a:lnTo>
                    <a:cubicBezTo>
                      <a:pt x="24338" y="0"/>
                      <a:pt x="0" y="24338"/>
                      <a:pt x="0" y="54760"/>
                    </a:cubicBezTo>
                    <a:lnTo>
                      <a:pt x="0" y="54760"/>
                    </a:lnTo>
                    <a:cubicBezTo>
                      <a:pt x="0" y="85183"/>
                      <a:pt x="24338" y="109521"/>
                      <a:pt x="54760" y="10952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4" name="图形 1">
              <a:extLst>
                <a:ext uri="{FF2B5EF4-FFF2-40B4-BE49-F238E27FC236}">
                  <a16:creationId xmlns:a16="http://schemas.microsoft.com/office/drawing/2014/main" id="{B0BE30B1-CC3E-46FC-9F20-85DE31FE54B1}"/>
                </a:ext>
              </a:extLst>
            </p:cNvPr>
            <p:cNvGrpSpPr/>
            <p:nvPr/>
          </p:nvGrpSpPr>
          <p:grpSpPr>
            <a:xfrm>
              <a:off x="24651857" y="9644879"/>
              <a:ext cx="196736" cy="251640"/>
              <a:chOff x="24651857" y="9644879"/>
              <a:chExt cx="196736" cy="251640"/>
            </a:xfrm>
          </p:grpSpPr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7CBC65BB-4485-4342-A649-D7F5EF4C2444}"/>
                  </a:ext>
                </a:extLst>
              </p:cNvPr>
              <p:cNvSpPr/>
              <p:nvPr/>
            </p:nvSpPr>
            <p:spPr>
              <a:xfrm>
                <a:off x="24659424" y="9644879"/>
                <a:ext cx="189168" cy="251640"/>
              </a:xfrm>
              <a:custGeom>
                <a:avLst/>
                <a:gdLst>
                  <a:gd name="connsiteX0" fmla="*/ 10297 w 189168"/>
                  <a:gd name="connsiteY0" fmla="*/ 248 h 251640"/>
                  <a:gd name="connsiteX1" fmla="*/ 4214 w 189168"/>
                  <a:gd name="connsiteY1" fmla="*/ 191911 h 251640"/>
                  <a:gd name="connsiteX2" fmla="*/ 16382 w 189168"/>
                  <a:gd name="connsiteY2" fmla="*/ 243629 h 251640"/>
                  <a:gd name="connsiteX3" fmla="*/ 46804 w 189168"/>
                  <a:gd name="connsiteY3" fmla="*/ 237545 h 251640"/>
                  <a:gd name="connsiteX4" fmla="*/ 92438 w 189168"/>
                  <a:gd name="connsiteY4" fmla="*/ 240586 h 251640"/>
                  <a:gd name="connsiteX5" fmla="*/ 119819 w 189168"/>
                  <a:gd name="connsiteY5" fmla="*/ 249714 h 251640"/>
                  <a:gd name="connsiteX6" fmla="*/ 144157 w 189168"/>
                  <a:gd name="connsiteY6" fmla="*/ 225375 h 251640"/>
                  <a:gd name="connsiteX7" fmla="*/ 186749 w 189168"/>
                  <a:gd name="connsiteY7" fmla="*/ 210164 h 251640"/>
                  <a:gd name="connsiteX8" fmla="*/ 119819 w 189168"/>
                  <a:gd name="connsiteY8" fmla="*/ 12417 h 251640"/>
                  <a:gd name="connsiteX9" fmla="*/ 10297 w 189168"/>
                  <a:gd name="connsiteY9" fmla="*/ 248 h 251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9168" h="251640">
                    <a:moveTo>
                      <a:pt x="10297" y="248"/>
                    </a:moveTo>
                    <a:cubicBezTo>
                      <a:pt x="-7956" y="76305"/>
                      <a:pt x="13340" y="112812"/>
                      <a:pt x="4214" y="191911"/>
                    </a:cubicBezTo>
                    <a:cubicBezTo>
                      <a:pt x="4214" y="204080"/>
                      <a:pt x="-10997" y="234502"/>
                      <a:pt x="16382" y="243629"/>
                    </a:cubicBezTo>
                    <a:cubicBezTo>
                      <a:pt x="22467" y="246671"/>
                      <a:pt x="40719" y="252756"/>
                      <a:pt x="46804" y="237545"/>
                    </a:cubicBezTo>
                    <a:cubicBezTo>
                      <a:pt x="55931" y="255798"/>
                      <a:pt x="89397" y="255798"/>
                      <a:pt x="92438" y="240586"/>
                    </a:cubicBezTo>
                    <a:cubicBezTo>
                      <a:pt x="95481" y="246671"/>
                      <a:pt x="113734" y="249714"/>
                      <a:pt x="119819" y="249714"/>
                    </a:cubicBezTo>
                    <a:cubicBezTo>
                      <a:pt x="135030" y="246671"/>
                      <a:pt x="141115" y="240586"/>
                      <a:pt x="144157" y="225375"/>
                    </a:cubicBezTo>
                    <a:cubicBezTo>
                      <a:pt x="159368" y="234502"/>
                      <a:pt x="180664" y="231460"/>
                      <a:pt x="186749" y="210164"/>
                    </a:cubicBezTo>
                    <a:cubicBezTo>
                      <a:pt x="192832" y="182784"/>
                      <a:pt x="192832" y="76305"/>
                      <a:pt x="119819" y="12417"/>
                    </a:cubicBezTo>
                    <a:cubicBezTo>
                      <a:pt x="104608" y="-2794"/>
                      <a:pt x="7255" y="248"/>
                      <a:pt x="10297" y="248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1F7DE9C2-F3AA-46FD-9CEB-968112DE8CA2}"/>
                  </a:ext>
                </a:extLst>
              </p:cNvPr>
              <p:cNvSpPr/>
              <p:nvPr/>
            </p:nvSpPr>
            <p:spPr>
              <a:xfrm>
                <a:off x="24651857" y="9757691"/>
                <a:ext cx="64758" cy="136901"/>
              </a:xfrm>
              <a:custGeom>
                <a:avLst/>
                <a:gdLst>
                  <a:gd name="connsiteX0" fmla="*/ 30034 w 64758"/>
                  <a:gd name="connsiteY0" fmla="*/ 136901 h 136901"/>
                  <a:gd name="connsiteX1" fmla="*/ 17864 w 64758"/>
                  <a:gd name="connsiteY1" fmla="*/ 133859 h 136901"/>
                  <a:gd name="connsiteX2" fmla="*/ 2653 w 64758"/>
                  <a:gd name="connsiteY2" fmla="*/ 115605 h 136901"/>
                  <a:gd name="connsiteX3" fmla="*/ 26992 w 64758"/>
                  <a:gd name="connsiteY3" fmla="*/ 3042 h 136901"/>
                  <a:gd name="connsiteX4" fmla="*/ 36119 w 64758"/>
                  <a:gd name="connsiteY4" fmla="*/ 0 h 136901"/>
                  <a:gd name="connsiteX5" fmla="*/ 39160 w 64758"/>
                  <a:gd name="connsiteY5" fmla="*/ 9126 h 136901"/>
                  <a:gd name="connsiteX6" fmla="*/ 14823 w 64758"/>
                  <a:gd name="connsiteY6" fmla="*/ 112563 h 136901"/>
                  <a:gd name="connsiteX7" fmla="*/ 23949 w 64758"/>
                  <a:gd name="connsiteY7" fmla="*/ 124733 h 136901"/>
                  <a:gd name="connsiteX8" fmla="*/ 54372 w 64758"/>
                  <a:gd name="connsiteY8" fmla="*/ 118648 h 136901"/>
                  <a:gd name="connsiteX9" fmla="*/ 63498 w 64758"/>
                  <a:gd name="connsiteY9" fmla="*/ 121690 h 136901"/>
                  <a:gd name="connsiteX10" fmla="*/ 60456 w 64758"/>
                  <a:gd name="connsiteY10" fmla="*/ 130817 h 136901"/>
                  <a:gd name="connsiteX11" fmla="*/ 30034 w 64758"/>
                  <a:gd name="connsiteY11" fmla="*/ 136901 h 136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4758" h="136901">
                    <a:moveTo>
                      <a:pt x="30034" y="136901"/>
                    </a:moveTo>
                    <a:cubicBezTo>
                      <a:pt x="26992" y="136901"/>
                      <a:pt x="20908" y="136901"/>
                      <a:pt x="17864" y="133859"/>
                    </a:cubicBezTo>
                    <a:cubicBezTo>
                      <a:pt x="11781" y="130817"/>
                      <a:pt x="5696" y="124733"/>
                      <a:pt x="2653" y="115605"/>
                    </a:cubicBezTo>
                    <a:cubicBezTo>
                      <a:pt x="-9515" y="79099"/>
                      <a:pt x="23949" y="6084"/>
                      <a:pt x="26992" y="3042"/>
                    </a:cubicBezTo>
                    <a:cubicBezTo>
                      <a:pt x="26992" y="0"/>
                      <a:pt x="33075" y="0"/>
                      <a:pt x="36119" y="0"/>
                    </a:cubicBezTo>
                    <a:cubicBezTo>
                      <a:pt x="39160" y="0"/>
                      <a:pt x="39160" y="6084"/>
                      <a:pt x="39160" y="9126"/>
                    </a:cubicBezTo>
                    <a:cubicBezTo>
                      <a:pt x="39160" y="9126"/>
                      <a:pt x="5696" y="79099"/>
                      <a:pt x="14823" y="112563"/>
                    </a:cubicBezTo>
                    <a:cubicBezTo>
                      <a:pt x="17864" y="118648"/>
                      <a:pt x="17864" y="121690"/>
                      <a:pt x="23949" y="124733"/>
                    </a:cubicBezTo>
                    <a:cubicBezTo>
                      <a:pt x="33075" y="127774"/>
                      <a:pt x="48287" y="121690"/>
                      <a:pt x="54372" y="118648"/>
                    </a:cubicBezTo>
                    <a:cubicBezTo>
                      <a:pt x="57415" y="115605"/>
                      <a:pt x="60456" y="118648"/>
                      <a:pt x="63498" y="121690"/>
                    </a:cubicBezTo>
                    <a:cubicBezTo>
                      <a:pt x="66541" y="124733"/>
                      <a:pt x="63498" y="127774"/>
                      <a:pt x="60456" y="130817"/>
                    </a:cubicBezTo>
                    <a:cubicBezTo>
                      <a:pt x="57415" y="130817"/>
                      <a:pt x="45245" y="136901"/>
                      <a:pt x="30034" y="13690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2C2D2776-4EAE-4B83-9FF3-BCCD4B8A0B1B}"/>
                  </a:ext>
                </a:extLst>
              </p:cNvPr>
              <p:cNvSpPr/>
              <p:nvPr/>
            </p:nvSpPr>
            <p:spPr>
              <a:xfrm>
                <a:off x="24718398" y="9833747"/>
                <a:ext cx="79097" cy="24337"/>
              </a:xfrm>
              <a:custGeom>
                <a:avLst/>
                <a:gdLst>
                  <a:gd name="connsiteX0" fmla="*/ 12168 w 79097"/>
                  <a:gd name="connsiteY0" fmla="*/ 24338 h 24337"/>
                  <a:gd name="connsiteX1" fmla="*/ 6085 w 79097"/>
                  <a:gd name="connsiteY1" fmla="*/ 24338 h 24337"/>
                  <a:gd name="connsiteX2" fmla="*/ 0 w 79097"/>
                  <a:gd name="connsiteY2" fmla="*/ 18254 h 24337"/>
                  <a:gd name="connsiteX3" fmla="*/ 6085 w 79097"/>
                  <a:gd name="connsiteY3" fmla="*/ 12169 h 24337"/>
                  <a:gd name="connsiteX4" fmla="*/ 73013 w 79097"/>
                  <a:gd name="connsiteY4" fmla="*/ 0 h 24337"/>
                  <a:gd name="connsiteX5" fmla="*/ 79098 w 79097"/>
                  <a:gd name="connsiteY5" fmla="*/ 3042 h 24337"/>
                  <a:gd name="connsiteX6" fmla="*/ 76056 w 79097"/>
                  <a:gd name="connsiteY6" fmla="*/ 9126 h 24337"/>
                  <a:gd name="connsiteX7" fmla="*/ 12168 w 79097"/>
                  <a:gd name="connsiteY7" fmla="*/ 24338 h 24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97" h="24337">
                    <a:moveTo>
                      <a:pt x="12168" y="24338"/>
                    </a:moveTo>
                    <a:cubicBezTo>
                      <a:pt x="9126" y="24338"/>
                      <a:pt x="9126" y="24338"/>
                      <a:pt x="6085" y="24338"/>
                    </a:cubicBezTo>
                    <a:cubicBezTo>
                      <a:pt x="3042" y="24338"/>
                      <a:pt x="0" y="21295"/>
                      <a:pt x="0" y="18254"/>
                    </a:cubicBezTo>
                    <a:cubicBezTo>
                      <a:pt x="0" y="15211"/>
                      <a:pt x="3042" y="12169"/>
                      <a:pt x="6085" y="12169"/>
                    </a:cubicBezTo>
                    <a:cubicBezTo>
                      <a:pt x="18253" y="15211"/>
                      <a:pt x="60845" y="3042"/>
                      <a:pt x="73013" y="0"/>
                    </a:cubicBezTo>
                    <a:cubicBezTo>
                      <a:pt x="76056" y="0"/>
                      <a:pt x="79098" y="0"/>
                      <a:pt x="79098" y="3042"/>
                    </a:cubicBezTo>
                    <a:cubicBezTo>
                      <a:pt x="79098" y="6084"/>
                      <a:pt x="79098" y="9126"/>
                      <a:pt x="76056" y="9126"/>
                    </a:cubicBezTo>
                    <a:cubicBezTo>
                      <a:pt x="73013" y="15211"/>
                      <a:pt x="33464" y="24338"/>
                      <a:pt x="12168" y="2433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AD0D2843-2703-45EC-B680-5CB3F5D47B04}"/>
                </a:ext>
              </a:extLst>
            </p:cNvPr>
            <p:cNvSpPr/>
            <p:nvPr/>
          </p:nvSpPr>
          <p:spPr>
            <a:xfrm>
              <a:off x="23895631" y="8652993"/>
              <a:ext cx="911434" cy="1044147"/>
            </a:xfrm>
            <a:custGeom>
              <a:avLst/>
              <a:gdLst>
                <a:gd name="connsiteX0" fmla="*/ 113923 w 911434"/>
                <a:gd name="connsiteY0" fmla="*/ 374557 h 1044147"/>
                <a:gd name="connsiteX1" fmla="*/ 457697 w 911434"/>
                <a:gd name="connsiteY1" fmla="*/ 614895 h 1044147"/>
                <a:gd name="connsiteX2" fmla="*/ 743668 w 911434"/>
                <a:gd name="connsiteY2" fmla="*/ 1034726 h 1044147"/>
                <a:gd name="connsiteX3" fmla="*/ 910992 w 911434"/>
                <a:gd name="connsiteY3" fmla="*/ 1004303 h 1044147"/>
                <a:gd name="connsiteX4" fmla="*/ 676740 w 911434"/>
                <a:gd name="connsiteY4" fmla="*/ 487121 h 1044147"/>
                <a:gd name="connsiteX5" fmla="*/ 284288 w 911434"/>
                <a:gd name="connsiteY5" fmla="*/ 88585 h 1044147"/>
                <a:gd name="connsiteX6" fmla="*/ 25697 w 911434"/>
                <a:gd name="connsiteY6" fmla="*/ 15571 h 1044147"/>
                <a:gd name="connsiteX7" fmla="*/ 113923 w 911434"/>
                <a:gd name="connsiteY7" fmla="*/ 374557 h 104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1434" h="1044147">
                  <a:moveTo>
                    <a:pt x="113923" y="374557"/>
                  </a:moveTo>
                  <a:cubicBezTo>
                    <a:pt x="171725" y="441487"/>
                    <a:pt x="412063" y="535797"/>
                    <a:pt x="457697" y="614895"/>
                  </a:cubicBezTo>
                  <a:cubicBezTo>
                    <a:pt x="524627" y="727459"/>
                    <a:pt x="737585" y="1031684"/>
                    <a:pt x="743668" y="1034726"/>
                  </a:cubicBezTo>
                  <a:cubicBezTo>
                    <a:pt x="807556" y="1059065"/>
                    <a:pt x="850147" y="1031684"/>
                    <a:pt x="910992" y="1004303"/>
                  </a:cubicBezTo>
                  <a:cubicBezTo>
                    <a:pt x="920120" y="1001262"/>
                    <a:pt x="786260" y="663572"/>
                    <a:pt x="676740" y="487121"/>
                  </a:cubicBezTo>
                  <a:cubicBezTo>
                    <a:pt x="640232" y="429318"/>
                    <a:pt x="421190" y="201149"/>
                    <a:pt x="284288" y="88585"/>
                  </a:cubicBezTo>
                  <a:cubicBezTo>
                    <a:pt x="217358" y="33825"/>
                    <a:pt x="71331" y="-30062"/>
                    <a:pt x="25697" y="15571"/>
                  </a:cubicBezTo>
                  <a:cubicBezTo>
                    <a:pt x="-41233" y="97712"/>
                    <a:pt x="34823" y="283290"/>
                    <a:pt x="113923" y="374557"/>
                  </a:cubicBezTo>
                  <a:close/>
                </a:path>
              </a:pathLst>
            </a:custGeom>
            <a:solidFill>
              <a:srgbClr val="F1DDB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40423E56-6CF4-4D58-BB90-4DA3A7806DAC}"/>
                </a:ext>
              </a:extLst>
            </p:cNvPr>
            <p:cNvSpPr/>
            <p:nvPr/>
          </p:nvSpPr>
          <p:spPr>
            <a:xfrm>
              <a:off x="23894443" y="8663240"/>
              <a:ext cx="198511" cy="428196"/>
            </a:xfrm>
            <a:custGeom>
              <a:avLst/>
              <a:gdLst>
                <a:gd name="connsiteX0" fmla="*/ 191167 w 198511"/>
                <a:gd name="connsiteY0" fmla="*/ 428197 h 428196"/>
                <a:gd name="connsiteX1" fmla="*/ 191167 w 198511"/>
                <a:gd name="connsiteY1" fmla="*/ 428197 h 428196"/>
                <a:gd name="connsiteX2" fmla="*/ 29926 w 198511"/>
                <a:gd name="connsiteY2" fmla="*/ 236535 h 428196"/>
                <a:gd name="connsiteX3" fmla="*/ 26885 w 198511"/>
                <a:gd name="connsiteY3" fmla="*/ 2281 h 428196"/>
                <a:gd name="connsiteX4" fmla="*/ 36011 w 198511"/>
                <a:gd name="connsiteY4" fmla="*/ 2281 h 428196"/>
                <a:gd name="connsiteX5" fmla="*/ 36011 w 198511"/>
                <a:gd name="connsiteY5" fmla="*/ 11408 h 428196"/>
                <a:gd name="connsiteX6" fmla="*/ 42096 w 198511"/>
                <a:gd name="connsiteY6" fmla="*/ 233493 h 428196"/>
                <a:gd name="connsiteX7" fmla="*/ 194209 w 198511"/>
                <a:gd name="connsiteY7" fmla="*/ 416028 h 428196"/>
                <a:gd name="connsiteX8" fmla="*/ 197250 w 198511"/>
                <a:gd name="connsiteY8" fmla="*/ 425155 h 428196"/>
                <a:gd name="connsiteX9" fmla="*/ 191167 w 198511"/>
                <a:gd name="connsiteY9" fmla="*/ 428197 h 42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511" h="428196">
                  <a:moveTo>
                    <a:pt x="191167" y="428197"/>
                  </a:moveTo>
                  <a:cubicBezTo>
                    <a:pt x="191167" y="428197"/>
                    <a:pt x="191167" y="428197"/>
                    <a:pt x="191167" y="428197"/>
                  </a:cubicBezTo>
                  <a:cubicBezTo>
                    <a:pt x="185082" y="425155"/>
                    <a:pt x="93815" y="391690"/>
                    <a:pt x="29926" y="236535"/>
                  </a:cubicBezTo>
                  <a:cubicBezTo>
                    <a:pt x="-33960" y="81380"/>
                    <a:pt x="23843" y="5324"/>
                    <a:pt x="26885" y="2281"/>
                  </a:cubicBezTo>
                  <a:cubicBezTo>
                    <a:pt x="29926" y="-760"/>
                    <a:pt x="32970" y="-760"/>
                    <a:pt x="36011" y="2281"/>
                  </a:cubicBezTo>
                  <a:cubicBezTo>
                    <a:pt x="39055" y="5324"/>
                    <a:pt x="39055" y="8366"/>
                    <a:pt x="36011" y="11408"/>
                  </a:cubicBezTo>
                  <a:cubicBezTo>
                    <a:pt x="36011" y="11408"/>
                    <a:pt x="-18749" y="87465"/>
                    <a:pt x="42096" y="233493"/>
                  </a:cubicBezTo>
                  <a:cubicBezTo>
                    <a:pt x="105983" y="382563"/>
                    <a:pt x="194209" y="416028"/>
                    <a:pt x="194209" y="416028"/>
                  </a:cubicBezTo>
                  <a:cubicBezTo>
                    <a:pt x="197250" y="416028"/>
                    <a:pt x="200294" y="422113"/>
                    <a:pt x="197250" y="425155"/>
                  </a:cubicBezTo>
                  <a:cubicBezTo>
                    <a:pt x="197250" y="428197"/>
                    <a:pt x="194209" y="428197"/>
                    <a:pt x="191167" y="428197"/>
                  </a:cubicBezTo>
                  <a:close/>
                </a:path>
              </a:pathLst>
            </a:custGeom>
            <a:solidFill>
              <a:srgbClr val="D3977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B9525FB4-E6DA-4785-A7CF-4C8EB0CE8754}"/>
                </a:ext>
              </a:extLst>
            </p:cNvPr>
            <p:cNvSpPr/>
            <p:nvPr/>
          </p:nvSpPr>
          <p:spPr>
            <a:xfrm>
              <a:off x="23474016" y="7971041"/>
              <a:ext cx="415603" cy="566782"/>
            </a:xfrm>
            <a:custGeom>
              <a:avLst/>
              <a:gdLst>
                <a:gd name="connsiteX0" fmla="*/ 3143 w 415603"/>
                <a:gd name="connsiteY0" fmla="*/ 189467 h 566782"/>
                <a:gd name="connsiteX1" fmla="*/ 24437 w 415603"/>
                <a:gd name="connsiteY1" fmla="*/ 445016 h 566782"/>
                <a:gd name="connsiteX2" fmla="*/ 176550 w 415603"/>
                <a:gd name="connsiteY2" fmla="*/ 566706 h 566782"/>
                <a:gd name="connsiteX3" fmla="*/ 386466 w 415603"/>
                <a:gd name="connsiteY3" fmla="*/ 414594 h 566782"/>
                <a:gd name="connsiteX4" fmla="*/ 413847 w 415603"/>
                <a:gd name="connsiteY4" fmla="*/ 189467 h 566782"/>
                <a:gd name="connsiteX5" fmla="*/ 191761 w 415603"/>
                <a:gd name="connsiteY5" fmla="*/ 847 h 566782"/>
                <a:gd name="connsiteX6" fmla="*/ 3143 w 415603"/>
                <a:gd name="connsiteY6" fmla="*/ 189467 h 566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5603" h="566782">
                  <a:moveTo>
                    <a:pt x="3143" y="189467"/>
                  </a:moveTo>
                  <a:cubicBezTo>
                    <a:pt x="3143" y="189467"/>
                    <a:pt x="-12068" y="378087"/>
                    <a:pt x="24437" y="445016"/>
                  </a:cubicBezTo>
                  <a:cubicBezTo>
                    <a:pt x="63988" y="511946"/>
                    <a:pt x="127875" y="566706"/>
                    <a:pt x="176550" y="566706"/>
                  </a:cubicBezTo>
                  <a:cubicBezTo>
                    <a:pt x="243480" y="569749"/>
                    <a:pt x="353002" y="481523"/>
                    <a:pt x="386466" y="414594"/>
                  </a:cubicBezTo>
                  <a:cubicBezTo>
                    <a:pt x="419930" y="347664"/>
                    <a:pt x="416889" y="238143"/>
                    <a:pt x="413847" y="189467"/>
                  </a:cubicBezTo>
                  <a:cubicBezTo>
                    <a:pt x="407762" y="95157"/>
                    <a:pt x="377340" y="19101"/>
                    <a:pt x="191761" y="847"/>
                  </a:cubicBezTo>
                  <a:cubicBezTo>
                    <a:pt x="109622" y="-11322"/>
                    <a:pt x="18354" y="110368"/>
                    <a:pt x="3143" y="189467"/>
                  </a:cubicBezTo>
                  <a:close/>
                </a:path>
              </a:pathLst>
            </a:custGeom>
            <a:solidFill>
              <a:srgbClr val="F5A398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30C9A173-EEE4-46E9-8CC9-185D941C1A7A}"/>
                </a:ext>
              </a:extLst>
            </p:cNvPr>
            <p:cNvSpPr/>
            <p:nvPr/>
          </p:nvSpPr>
          <p:spPr>
            <a:xfrm>
              <a:off x="23614061" y="8238346"/>
              <a:ext cx="57801" cy="132077"/>
            </a:xfrm>
            <a:custGeom>
              <a:avLst/>
              <a:gdLst>
                <a:gd name="connsiteX0" fmla="*/ 27379 w 57801"/>
                <a:gd name="connsiteY0" fmla="*/ 132077 h 132077"/>
                <a:gd name="connsiteX1" fmla="*/ 6083 w 57801"/>
                <a:gd name="connsiteY1" fmla="*/ 125993 h 132077"/>
                <a:gd name="connsiteX2" fmla="*/ 0 w 57801"/>
                <a:gd name="connsiteY2" fmla="*/ 113823 h 132077"/>
                <a:gd name="connsiteX3" fmla="*/ 24338 w 57801"/>
                <a:gd name="connsiteY3" fmla="*/ 4302 h 132077"/>
                <a:gd name="connsiteX4" fmla="*/ 30423 w 57801"/>
                <a:gd name="connsiteY4" fmla="*/ 1260 h 132077"/>
                <a:gd name="connsiteX5" fmla="*/ 33464 w 57801"/>
                <a:gd name="connsiteY5" fmla="*/ 7344 h 132077"/>
                <a:gd name="connsiteX6" fmla="*/ 9126 w 57801"/>
                <a:gd name="connsiteY6" fmla="*/ 113823 h 132077"/>
                <a:gd name="connsiteX7" fmla="*/ 12168 w 57801"/>
                <a:gd name="connsiteY7" fmla="*/ 116866 h 132077"/>
                <a:gd name="connsiteX8" fmla="*/ 51717 w 57801"/>
                <a:gd name="connsiteY8" fmla="*/ 116866 h 132077"/>
                <a:gd name="connsiteX9" fmla="*/ 57802 w 57801"/>
                <a:gd name="connsiteY9" fmla="*/ 119908 h 132077"/>
                <a:gd name="connsiteX10" fmla="*/ 54760 w 57801"/>
                <a:gd name="connsiteY10" fmla="*/ 125993 h 132077"/>
                <a:gd name="connsiteX11" fmla="*/ 27379 w 57801"/>
                <a:gd name="connsiteY11" fmla="*/ 132077 h 132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801" h="132077">
                  <a:moveTo>
                    <a:pt x="27379" y="132077"/>
                  </a:moveTo>
                  <a:cubicBezTo>
                    <a:pt x="18253" y="132077"/>
                    <a:pt x="12168" y="132077"/>
                    <a:pt x="6083" y="125993"/>
                  </a:cubicBezTo>
                  <a:cubicBezTo>
                    <a:pt x="3042" y="122950"/>
                    <a:pt x="0" y="119908"/>
                    <a:pt x="0" y="113823"/>
                  </a:cubicBezTo>
                  <a:cubicBezTo>
                    <a:pt x="0" y="92528"/>
                    <a:pt x="21294" y="7344"/>
                    <a:pt x="24338" y="4302"/>
                  </a:cubicBezTo>
                  <a:cubicBezTo>
                    <a:pt x="24338" y="1260"/>
                    <a:pt x="27379" y="-1782"/>
                    <a:pt x="30423" y="1260"/>
                  </a:cubicBezTo>
                  <a:cubicBezTo>
                    <a:pt x="33464" y="1260"/>
                    <a:pt x="36506" y="4302"/>
                    <a:pt x="33464" y="7344"/>
                  </a:cubicBezTo>
                  <a:cubicBezTo>
                    <a:pt x="27379" y="31683"/>
                    <a:pt x="9126" y="98612"/>
                    <a:pt x="9126" y="113823"/>
                  </a:cubicBezTo>
                  <a:cubicBezTo>
                    <a:pt x="9126" y="113823"/>
                    <a:pt x="9126" y="116866"/>
                    <a:pt x="12168" y="116866"/>
                  </a:cubicBezTo>
                  <a:cubicBezTo>
                    <a:pt x="18253" y="122950"/>
                    <a:pt x="39549" y="119908"/>
                    <a:pt x="51717" y="116866"/>
                  </a:cubicBezTo>
                  <a:cubicBezTo>
                    <a:pt x="54760" y="116866"/>
                    <a:pt x="57802" y="116866"/>
                    <a:pt x="57802" y="119908"/>
                  </a:cubicBezTo>
                  <a:cubicBezTo>
                    <a:pt x="57802" y="122950"/>
                    <a:pt x="57802" y="125993"/>
                    <a:pt x="54760" y="125993"/>
                  </a:cubicBezTo>
                  <a:cubicBezTo>
                    <a:pt x="51717" y="129035"/>
                    <a:pt x="39549" y="132077"/>
                    <a:pt x="27379" y="132077"/>
                  </a:cubicBez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CD960B44-ABC9-4755-9075-B09D6BAF0DB1}"/>
                </a:ext>
              </a:extLst>
            </p:cNvPr>
            <p:cNvSpPr/>
            <p:nvPr/>
          </p:nvSpPr>
          <p:spPr>
            <a:xfrm>
              <a:off x="23598850" y="8419099"/>
              <a:ext cx="106478" cy="54882"/>
            </a:xfrm>
            <a:custGeom>
              <a:avLst/>
              <a:gdLst>
                <a:gd name="connsiteX0" fmla="*/ 106479 w 106478"/>
                <a:gd name="connsiteY0" fmla="*/ 0 h 54882"/>
                <a:gd name="connsiteX1" fmla="*/ 0 w 106478"/>
                <a:gd name="connsiteY1" fmla="*/ 3042 h 54882"/>
                <a:gd name="connsiteX2" fmla="*/ 51717 w 106478"/>
                <a:gd name="connsiteY2" fmla="*/ 54760 h 54882"/>
                <a:gd name="connsiteX3" fmla="*/ 106479 w 106478"/>
                <a:gd name="connsiteY3" fmla="*/ 0 h 54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478" h="54882">
                  <a:moveTo>
                    <a:pt x="106479" y="0"/>
                  </a:moveTo>
                  <a:cubicBezTo>
                    <a:pt x="51717" y="27380"/>
                    <a:pt x="0" y="3042"/>
                    <a:pt x="0" y="3042"/>
                  </a:cubicBezTo>
                  <a:cubicBezTo>
                    <a:pt x="0" y="3042"/>
                    <a:pt x="15211" y="57803"/>
                    <a:pt x="51717" y="54760"/>
                  </a:cubicBezTo>
                  <a:cubicBezTo>
                    <a:pt x="94309" y="51718"/>
                    <a:pt x="106479" y="0"/>
                    <a:pt x="106479" y="0"/>
                  </a:cubicBezTo>
                  <a:close/>
                </a:path>
              </a:pathLst>
            </a:custGeom>
            <a:solidFill>
              <a:srgbClr val="FFFFFF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EA4C3BE4-2C15-4457-A319-72545B36A302}"/>
                </a:ext>
              </a:extLst>
            </p:cNvPr>
            <p:cNvSpPr/>
            <p:nvPr/>
          </p:nvSpPr>
          <p:spPr>
            <a:xfrm>
              <a:off x="23537229" y="8214493"/>
              <a:ext cx="40324" cy="41099"/>
            </a:xfrm>
            <a:custGeom>
              <a:avLst/>
              <a:gdLst>
                <a:gd name="connsiteX0" fmla="*/ 40325 w 40324"/>
                <a:gd name="connsiteY0" fmla="*/ 25113 h 41099"/>
                <a:gd name="connsiteX1" fmla="*/ 15987 w 40324"/>
                <a:gd name="connsiteY1" fmla="*/ 40325 h 41099"/>
                <a:gd name="connsiteX2" fmla="*/ 776 w 40324"/>
                <a:gd name="connsiteY2" fmla="*/ 15986 h 41099"/>
                <a:gd name="connsiteX3" fmla="*/ 25113 w 40324"/>
                <a:gd name="connsiteY3" fmla="*/ 775 h 41099"/>
                <a:gd name="connsiteX4" fmla="*/ 40325 w 40324"/>
                <a:gd name="connsiteY4" fmla="*/ 25113 h 41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24" h="41099">
                  <a:moveTo>
                    <a:pt x="40325" y="25113"/>
                  </a:moveTo>
                  <a:cubicBezTo>
                    <a:pt x="37281" y="37283"/>
                    <a:pt x="28155" y="43367"/>
                    <a:pt x="15987" y="40325"/>
                  </a:cubicBezTo>
                  <a:cubicBezTo>
                    <a:pt x="3817" y="37283"/>
                    <a:pt x="-2268" y="28156"/>
                    <a:pt x="776" y="15986"/>
                  </a:cubicBezTo>
                  <a:cubicBezTo>
                    <a:pt x="3817" y="3818"/>
                    <a:pt x="12944" y="-2267"/>
                    <a:pt x="25113" y="775"/>
                  </a:cubicBezTo>
                  <a:cubicBezTo>
                    <a:pt x="34240" y="3818"/>
                    <a:pt x="40325" y="12944"/>
                    <a:pt x="40325" y="25113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7FDC8479-82C6-4EFA-AAE4-076C06A0564B}"/>
                </a:ext>
              </a:extLst>
            </p:cNvPr>
            <p:cNvSpPr/>
            <p:nvPr/>
          </p:nvSpPr>
          <p:spPr>
            <a:xfrm>
              <a:off x="23725848" y="8211451"/>
              <a:ext cx="40922" cy="41099"/>
            </a:xfrm>
            <a:custGeom>
              <a:avLst/>
              <a:gdLst>
                <a:gd name="connsiteX0" fmla="*/ 40326 w 40922"/>
                <a:gd name="connsiteY0" fmla="*/ 25113 h 41099"/>
                <a:gd name="connsiteX1" fmla="*/ 15986 w 40922"/>
                <a:gd name="connsiteY1" fmla="*/ 40325 h 41099"/>
                <a:gd name="connsiteX2" fmla="*/ 775 w 40922"/>
                <a:gd name="connsiteY2" fmla="*/ 15987 h 41099"/>
                <a:gd name="connsiteX3" fmla="*/ 25114 w 40922"/>
                <a:gd name="connsiteY3" fmla="*/ 775 h 41099"/>
                <a:gd name="connsiteX4" fmla="*/ 40326 w 40922"/>
                <a:gd name="connsiteY4" fmla="*/ 25113 h 41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22" h="41099">
                  <a:moveTo>
                    <a:pt x="40326" y="25113"/>
                  </a:moveTo>
                  <a:cubicBezTo>
                    <a:pt x="37282" y="37282"/>
                    <a:pt x="28156" y="43367"/>
                    <a:pt x="15986" y="40325"/>
                  </a:cubicBezTo>
                  <a:cubicBezTo>
                    <a:pt x="3818" y="37282"/>
                    <a:pt x="-2267" y="28155"/>
                    <a:pt x="775" y="15987"/>
                  </a:cubicBezTo>
                  <a:cubicBezTo>
                    <a:pt x="3818" y="3817"/>
                    <a:pt x="12945" y="-2267"/>
                    <a:pt x="25114" y="775"/>
                  </a:cubicBezTo>
                  <a:cubicBezTo>
                    <a:pt x="34241" y="3817"/>
                    <a:pt x="43367" y="15987"/>
                    <a:pt x="40326" y="25113"/>
                  </a:cubicBezTo>
                  <a:close/>
                </a:path>
              </a:pathLst>
            </a:custGeom>
            <a:solidFill>
              <a:srgbClr val="38333D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AB168469-D520-4867-AB6E-A9DB652709E5}"/>
                </a:ext>
              </a:extLst>
            </p:cNvPr>
            <p:cNvSpPr/>
            <p:nvPr/>
          </p:nvSpPr>
          <p:spPr>
            <a:xfrm>
              <a:off x="23508342" y="8163451"/>
              <a:ext cx="91767" cy="36605"/>
            </a:xfrm>
            <a:custGeom>
              <a:avLst/>
              <a:gdLst>
                <a:gd name="connsiteX0" fmla="*/ 8366 w 91767"/>
                <a:gd name="connsiteY0" fmla="*/ 36605 h 36605"/>
                <a:gd name="connsiteX1" fmla="*/ 2281 w 91767"/>
                <a:gd name="connsiteY1" fmla="*/ 33563 h 36605"/>
                <a:gd name="connsiteX2" fmla="*/ 2281 w 91767"/>
                <a:gd name="connsiteY2" fmla="*/ 21394 h 36605"/>
                <a:gd name="connsiteX3" fmla="*/ 87464 w 91767"/>
                <a:gd name="connsiteY3" fmla="*/ 6183 h 36605"/>
                <a:gd name="connsiteX4" fmla="*/ 90507 w 91767"/>
                <a:gd name="connsiteY4" fmla="*/ 15310 h 36605"/>
                <a:gd name="connsiteX5" fmla="*/ 81379 w 91767"/>
                <a:gd name="connsiteY5" fmla="*/ 18352 h 36605"/>
                <a:gd name="connsiteX6" fmla="*/ 14451 w 91767"/>
                <a:gd name="connsiteY6" fmla="*/ 27479 h 36605"/>
                <a:gd name="connsiteX7" fmla="*/ 8366 w 91767"/>
                <a:gd name="connsiteY7" fmla="*/ 36605 h 36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67" h="36605">
                  <a:moveTo>
                    <a:pt x="8366" y="36605"/>
                  </a:moveTo>
                  <a:cubicBezTo>
                    <a:pt x="5323" y="36605"/>
                    <a:pt x="5323" y="36605"/>
                    <a:pt x="2281" y="33563"/>
                  </a:cubicBezTo>
                  <a:cubicBezTo>
                    <a:pt x="-760" y="30521"/>
                    <a:pt x="-760" y="24437"/>
                    <a:pt x="2281" y="21394"/>
                  </a:cubicBezTo>
                  <a:cubicBezTo>
                    <a:pt x="26619" y="-9028"/>
                    <a:pt x="69211" y="98"/>
                    <a:pt x="87464" y="6183"/>
                  </a:cubicBezTo>
                  <a:cubicBezTo>
                    <a:pt x="90507" y="9225"/>
                    <a:pt x="93549" y="12268"/>
                    <a:pt x="90507" y="15310"/>
                  </a:cubicBezTo>
                  <a:cubicBezTo>
                    <a:pt x="87464" y="18352"/>
                    <a:pt x="84422" y="21394"/>
                    <a:pt x="81379" y="18352"/>
                  </a:cubicBezTo>
                  <a:cubicBezTo>
                    <a:pt x="78337" y="18352"/>
                    <a:pt x="38789" y="98"/>
                    <a:pt x="14451" y="27479"/>
                  </a:cubicBezTo>
                  <a:cubicBezTo>
                    <a:pt x="14451" y="36605"/>
                    <a:pt x="11408" y="36605"/>
                    <a:pt x="8366" y="36605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07AA7BA5-86A6-4130-8910-5104D3091D23}"/>
                </a:ext>
              </a:extLst>
            </p:cNvPr>
            <p:cNvSpPr/>
            <p:nvPr/>
          </p:nvSpPr>
          <p:spPr>
            <a:xfrm>
              <a:off x="23697244" y="8155516"/>
              <a:ext cx="92505" cy="35413"/>
            </a:xfrm>
            <a:custGeom>
              <a:avLst/>
              <a:gdLst>
                <a:gd name="connsiteX0" fmla="*/ 87182 w 92505"/>
                <a:gd name="connsiteY0" fmla="*/ 35414 h 35413"/>
                <a:gd name="connsiteX1" fmla="*/ 81097 w 92505"/>
                <a:gd name="connsiteY1" fmla="*/ 32371 h 35413"/>
                <a:gd name="connsiteX2" fmla="*/ 14167 w 92505"/>
                <a:gd name="connsiteY2" fmla="*/ 29329 h 35413"/>
                <a:gd name="connsiteX3" fmla="*/ 1999 w 92505"/>
                <a:gd name="connsiteY3" fmla="*/ 26287 h 35413"/>
                <a:gd name="connsiteX4" fmla="*/ 5041 w 92505"/>
                <a:gd name="connsiteY4" fmla="*/ 14118 h 35413"/>
                <a:gd name="connsiteX5" fmla="*/ 90223 w 92505"/>
                <a:gd name="connsiteY5" fmla="*/ 20203 h 35413"/>
                <a:gd name="connsiteX6" fmla="*/ 90223 w 92505"/>
                <a:gd name="connsiteY6" fmla="*/ 32371 h 35413"/>
                <a:gd name="connsiteX7" fmla="*/ 87182 w 92505"/>
                <a:gd name="connsiteY7" fmla="*/ 35414 h 35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05" h="35413">
                  <a:moveTo>
                    <a:pt x="87182" y="35414"/>
                  </a:moveTo>
                  <a:cubicBezTo>
                    <a:pt x="84140" y="35414"/>
                    <a:pt x="84140" y="35414"/>
                    <a:pt x="81097" y="32371"/>
                  </a:cubicBezTo>
                  <a:cubicBezTo>
                    <a:pt x="81097" y="32371"/>
                    <a:pt x="50674" y="4991"/>
                    <a:pt x="14167" y="29329"/>
                  </a:cubicBezTo>
                  <a:cubicBezTo>
                    <a:pt x="11126" y="32371"/>
                    <a:pt x="5041" y="32371"/>
                    <a:pt x="1999" y="26287"/>
                  </a:cubicBezTo>
                  <a:cubicBezTo>
                    <a:pt x="-1044" y="23245"/>
                    <a:pt x="-1044" y="17160"/>
                    <a:pt x="5041" y="14118"/>
                  </a:cubicBezTo>
                  <a:cubicBezTo>
                    <a:pt x="41548" y="-13262"/>
                    <a:pt x="78056" y="4991"/>
                    <a:pt x="90223" y="20203"/>
                  </a:cubicBezTo>
                  <a:cubicBezTo>
                    <a:pt x="93267" y="23245"/>
                    <a:pt x="93267" y="29329"/>
                    <a:pt x="90223" y="32371"/>
                  </a:cubicBezTo>
                  <a:cubicBezTo>
                    <a:pt x="90223" y="35414"/>
                    <a:pt x="87182" y="35414"/>
                    <a:pt x="87182" y="35414"/>
                  </a:cubicBezTo>
                  <a:close/>
                </a:path>
              </a:pathLst>
            </a:custGeom>
            <a:solidFill>
              <a:srgbClr val="664540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CC6A0B15-A00E-4F08-AFBF-9646E7896DF3}"/>
                </a:ext>
              </a:extLst>
            </p:cNvPr>
            <p:cNvSpPr/>
            <p:nvPr/>
          </p:nvSpPr>
          <p:spPr>
            <a:xfrm>
              <a:off x="23452125" y="7937290"/>
              <a:ext cx="266673" cy="265808"/>
            </a:xfrm>
            <a:custGeom>
              <a:avLst/>
              <a:gdLst>
                <a:gd name="connsiteX0" fmla="*/ 262330 w 266673"/>
                <a:gd name="connsiteY0" fmla="*/ 1133 h 265808"/>
                <a:gd name="connsiteX1" fmla="*/ 231907 w 266673"/>
                <a:gd name="connsiteY1" fmla="*/ 128908 h 265808"/>
                <a:gd name="connsiteX2" fmla="*/ 695 w 266673"/>
                <a:gd name="connsiteY2" fmla="*/ 265809 h 265808"/>
                <a:gd name="connsiteX3" fmla="*/ 262330 w 266673"/>
                <a:gd name="connsiteY3" fmla="*/ 1133 h 265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673" h="265808">
                  <a:moveTo>
                    <a:pt x="262330" y="1133"/>
                  </a:moveTo>
                  <a:cubicBezTo>
                    <a:pt x="262330" y="1133"/>
                    <a:pt x="283626" y="89358"/>
                    <a:pt x="231907" y="128908"/>
                  </a:cubicBezTo>
                  <a:cubicBezTo>
                    <a:pt x="231907" y="128908"/>
                    <a:pt x="25034" y="180626"/>
                    <a:pt x="695" y="265809"/>
                  </a:cubicBezTo>
                  <a:cubicBezTo>
                    <a:pt x="695" y="265809"/>
                    <a:pt x="-26684" y="-20163"/>
                    <a:pt x="262330" y="1133"/>
                  </a:cubicBezTo>
                  <a:close/>
                </a:path>
              </a:pathLst>
            </a:custGeom>
            <a:solidFill>
              <a:srgbClr val="664241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078C95B9-731D-4E7E-8743-77E9D1997476}"/>
                </a:ext>
              </a:extLst>
            </p:cNvPr>
            <p:cNvSpPr/>
            <p:nvPr/>
          </p:nvSpPr>
          <p:spPr>
            <a:xfrm>
              <a:off x="23684032" y="7938423"/>
              <a:ext cx="231618" cy="306982"/>
            </a:xfrm>
            <a:custGeom>
              <a:avLst/>
              <a:gdLst>
                <a:gd name="connsiteX0" fmla="*/ 0 w 231618"/>
                <a:gd name="connsiteY0" fmla="*/ 127775 h 306982"/>
                <a:gd name="connsiteX1" fmla="*/ 142986 w 231618"/>
                <a:gd name="connsiteY1" fmla="*/ 176451 h 306982"/>
                <a:gd name="connsiteX2" fmla="*/ 206873 w 231618"/>
                <a:gd name="connsiteY2" fmla="*/ 295099 h 306982"/>
                <a:gd name="connsiteX3" fmla="*/ 231211 w 231618"/>
                <a:gd name="connsiteY3" fmla="*/ 289014 h 306982"/>
                <a:gd name="connsiteX4" fmla="*/ 30423 w 231618"/>
                <a:gd name="connsiteY4" fmla="*/ 0 h 306982"/>
                <a:gd name="connsiteX5" fmla="*/ 0 w 231618"/>
                <a:gd name="connsiteY5" fmla="*/ 127775 h 306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1618" h="306982">
                  <a:moveTo>
                    <a:pt x="0" y="127775"/>
                  </a:moveTo>
                  <a:cubicBezTo>
                    <a:pt x="0" y="127775"/>
                    <a:pt x="91268" y="170366"/>
                    <a:pt x="142986" y="176451"/>
                  </a:cubicBezTo>
                  <a:cubicBezTo>
                    <a:pt x="194703" y="179493"/>
                    <a:pt x="206873" y="295099"/>
                    <a:pt x="206873" y="295099"/>
                  </a:cubicBezTo>
                  <a:cubicBezTo>
                    <a:pt x="206873" y="295099"/>
                    <a:pt x="228169" y="325521"/>
                    <a:pt x="231211" y="289014"/>
                  </a:cubicBezTo>
                  <a:cubicBezTo>
                    <a:pt x="234254" y="209915"/>
                    <a:pt x="225126" y="12169"/>
                    <a:pt x="30423" y="0"/>
                  </a:cubicBezTo>
                  <a:cubicBezTo>
                    <a:pt x="30423" y="0"/>
                    <a:pt x="24338" y="121690"/>
                    <a:pt x="0" y="127775"/>
                  </a:cubicBezTo>
                  <a:close/>
                </a:path>
              </a:pathLst>
            </a:custGeom>
            <a:solidFill>
              <a:srgbClr val="664241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A3C6E5B8-B822-42C4-9B73-DAD7F73372B2}"/>
                </a:ext>
              </a:extLst>
            </p:cNvPr>
            <p:cNvSpPr/>
            <p:nvPr/>
          </p:nvSpPr>
          <p:spPr>
            <a:xfrm>
              <a:off x="23677947" y="7935381"/>
              <a:ext cx="155154" cy="182535"/>
            </a:xfrm>
            <a:custGeom>
              <a:avLst/>
              <a:gdLst>
                <a:gd name="connsiteX0" fmla="*/ 152113 w 155154"/>
                <a:gd name="connsiteY0" fmla="*/ 182535 h 182535"/>
                <a:gd name="connsiteX1" fmla="*/ 152113 w 155154"/>
                <a:gd name="connsiteY1" fmla="*/ 182535 h 182535"/>
                <a:gd name="connsiteX2" fmla="*/ 51719 w 155154"/>
                <a:gd name="connsiteY2" fmla="*/ 155155 h 182535"/>
                <a:gd name="connsiteX3" fmla="*/ 6085 w 155154"/>
                <a:gd name="connsiteY3" fmla="*/ 133859 h 182535"/>
                <a:gd name="connsiteX4" fmla="*/ 0 w 155154"/>
                <a:gd name="connsiteY4" fmla="*/ 130817 h 182535"/>
                <a:gd name="connsiteX5" fmla="*/ 3042 w 155154"/>
                <a:gd name="connsiteY5" fmla="*/ 124733 h 182535"/>
                <a:gd name="connsiteX6" fmla="*/ 18253 w 155154"/>
                <a:gd name="connsiteY6" fmla="*/ 100394 h 182535"/>
                <a:gd name="connsiteX7" fmla="*/ 27381 w 155154"/>
                <a:gd name="connsiteY7" fmla="*/ 60845 h 182535"/>
                <a:gd name="connsiteX8" fmla="*/ 30423 w 155154"/>
                <a:gd name="connsiteY8" fmla="*/ 33465 h 182535"/>
                <a:gd name="connsiteX9" fmla="*/ 33464 w 155154"/>
                <a:gd name="connsiteY9" fmla="*/ 6084 h 182535"/>
                <a:gd name="connsiteX10" fmla="*/ 39549 w 155154"/>
                <a:gd name="connsiteY10" fmla="*/ 0 h 182535"/>
                <a:gd name="connsiteX11" fmla="*/ 45634 w 155154"/>
                <a:gd name="connsiteY11" fmla="*/ 6084 h 182535"/>
                <a:gd name="connsiteX12" fmla="*/ 42592 w 155154"/>
                <a:gd name="connsiteY12" fmla="*/ 33465 h 182535"/>
                <a:gd name="connsiteX13" fmla="*/ 39549 w 155154"/>
                <a:gd name="connsiteY13" fmla="*/ 60845 h 182535"/>
                <a:gd name="connsiteX14" fmla="*/ 30423 w 155154"/>
                <a:gd name="connsiteY14" fmla="*/ 106479 h 182535"/>
                <a:gd name="connsiteX15" fmla="*/ 15211 w 155154"/>
                <a:gd name="connsiteY15" fmla="*/ 127775 h 182535"/>
                <a:gd name="connsiteX16" fmla="*/ 54760 w 155154"/>
                <a:gd name="connsiteY16" fmla="*/ 146028 h 182535"/>
                <a:gd name="connsiteX17" fmla="*/ 149071 w 155154"/>
                <a:gd name="connsiteY17" fmla="*/ 173408 h 182535"/>
                <a:gd name="connsiteX18" fmla="*/ 155154 w 155154"/>
                <a:gd name="connsiteY18" fmla="*/ 179493 h 182535"/>
                <a:gd name="connsiteX19" fmla="*/ 152113 w 155154"/>
                <a:gd name="connsiteY19" fmla="*/ 182535 h 182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5154" h="182535">
                  <a:moveTo>
                    <a:pt x="152113" y="182535"/>
                  </a:moveTo>
                  <a:cubicBezTo>
                    <a:pt x="152113" y="182535"/>
                    <a:pt x="149071" y="182535"/>
                    <a:pt x="152113" y="182535"/>
                  </a:cubicBezTo>
                  <a:cubicBezTo>
                    <a:pt x="115605" y="179493"/>
                    <a:pt x="76056" y="164282"/>
                    <a:pt x="51719" y="155155"/>
                  </a:cubicBezTo>
                  <a:cubicBezTo>
                    <a:pt x="24338" y="142986"/>
                    <a:pt x="6085" y="133859"/>
                    <a:pt x="6085" y="133859"/>
                  </a:cubicBezTo>
                  <a:lnTo>
                    <a:pt x="0" y="130817"/>
                  </a:lnTo>
                  <a:lnTo>
                    <a:pt x="3042" y="124733"/>
                  </a:lnTo>
                  <a:cubicBezTo>
                    <a:pt x="9126" y="118648"/>
                    <a:pt x="15211" y="109521"/>
                    <a:pt x="18253" y="100394"/>
                  </a:cubicBezTo>
                  <a:cubicBezTo>
                    <a:pt x="24338" y="88226"/>
                    <a:pt x="24338" y="73014"/>
                    <a:pt x="27381" y="60845"/>
                  </a:cubicBezTo>
                  <a:cubicBezTo>
                    <a:pt x="27381" y="54761"/>
                    <a:pt x="27381" y="42592"/>
                    <a:pt x="30423" y="33465"/>
                  </a:cubicBezTo>
                  <a:cubicBezTo>
                    <a:pt x="30423" y="21296"/>
                    <a:pt x="33464" y="12169"/>
                    <a:pt x="33464" y="6084"/>
                  </a:cubicBezTo>
                  <a:cubicBezTo>
                    <a:pt x="33464" y="3042"/>
                    <a:pt x="36507" y="0"/>
                    <a:pt x="39549" y="0"/>
                  </a:cubicBezTo>
                  <a:cubicBezTo>
                    <a:pt x="42592" y="0"/>
                    <a:pt x="45634" y="3042"/>
                    <a:pt x="45634" y="6084"/>
                  </a:cubicBezTo>
                  <a:cubicBezTo>
                    <a:pt x="45634" y="12169"/>
                    <a:pt x="45634" y="24338"/>
                    <a:pt x="42592" y="33465"/>
                  </a:cubicBezTo>
                  <a:cubicBezTo>
                    <a:pt x="42592" y="45634"/>
                    <a:pt x="39549" y="54761"/>
                    <a:pt x="39549" y="60845"/>
                  </a:cubicBezTo>
                  <a:cubicBezTo>
                    <a:pt x="39549" y="76056"/>
                    <a:pt x="36507" y="91268"/>
                    <a:pt x="30423" y="106479"/>
                  </a:cubicBezTo>
                  <a:cubicBezTo>
                    <a:pt x="27381" y="115606"/>
                    <a:pt x="21296" y="121690"/>
                    <a:pt x="15211" y="127775"/>
                  </a:cubicBezTo>
                  <a:cubicBezTo>
                    <a:pt x="21296" y="130817"/>
                    <a:pt x="36507" y="139944"/>
                    <a:pt x="54760" y="146028"/>
                  </a:cubicBezTo>
                  <a:cubicBezTo>
                    <a:pt x="79098" y="155155"/>
                    <a:pt x="115605" y="170366"/>
                    <a:pt x="149071" y="173408"/>
                  </a:cubicBezTo>
                  <a:cubicBezTo>
                    <a:pt x="152113" y="173408"/>
                    <a:pt x="155154" y="176451"/>
                    <a:pt x="155154" y="179493"/>
                  </a:cubicBezTo>
                  <a:cubicBezTo>
                    <a:pt x="155154" y="182535"/>
                    <a:pt x="155154" y="182535"/>
                    <a:pt x="152113" y="182535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A6ADFDDD-1083-473E-AA26-498D92E23723}"/>
                </a:ext>
              </a:extLst>
            </p:cNvPr>
            <p:cNvSpPr/>
            <p:nvPr/>
          </p:nvSpPr>
          <p:spPr>
            <a:xfrm>
              <a:off x="23772256" y="8060226"/>
              <a:ext cx="255550" cy="541142"/>
            </a:xfrm>
            <a:custGeom>
              <a:avLst/>
              <a:gdLst>
                <a:gd name="connsiteX0" fmla="*/ 48677 w 255550"/>
                <a:gd name="connsiteY0" fmla="*/ 57690 h 541142"/>
                <a:gd name="connsiteX1" fmla="*/ 0 w 255550"/>
                <a:gd name="connsiteY1" fmla="*/ 520113 h 541142"/>
                <a:gd name="connsiteX2" fmla="*/ 255550 w 255550"/>
                <a:gd name="connsiteY2" fmla="*/ 501859 h 541142"/>
                <a:gd name="connsiteX3" fmla="*/ 121690 w 255550"/>
                <a:gd name="connsiteY3" fmla="*/ 2930 h 541142"/>
                <a:gd name="connsiteX4" fmla="*/ 48677 w 255550"/>
                <a:gd name="connsiteY4" fmla="*/ 57690 h 54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550" h="541142">
                  <a:moveTo>
                    <a:pt x="48677" y="57690"/>
                  </a:moveTo>
                  <a:cubicBezTo>
                    <a:pt x="48677" y="57690"/>
                    <a:pt x="161241" y="249352"/>
                    <a:pt x="0" y="520113"/>
                  </a:cubicBezTo>
                  <a:cubicBezTo>
                    <a:pt x="0" y="520113"/>
                    <a:pt x="136901" y="577916"/>
                    <a:pt x="255550" y="501859"/>
                  </a:cubicBezTo>
                  <a:cubicBezTo>
                    <a:pt x="255550" y="501859"/>
                    <a:pt x="246424" y="252395"/>
                    <a:pt x="121690" y="2930"/>
                  </a:cubicBezTo>
                  <a:cubicBezTo>
                    <a:pt x="112564" y="-15324"/>
                    <a:pt x="48677" y="57690"/>
                    <a:pt x="48677" y="57690"/>
                  </a:cubicBezTo>
                  <a:close/>
                </a:path>
              </a:pathLst>
            </a:custGeom>
            <a:solidFill>
              <a:srgbClr val="664241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37AAC12A-3208-493D-97E5-6C9C1491CDB1}"/>
                </a:ext>
              </a:extLst>
            </p:cNvPr>
            <p:cNvSpPr/>
            <p:nvPr/>
          </p:nvSpPr>
          <p:spPr>
            <a:xfrm>
              <a:off x="23422397" y="8108789"/>
              <a:ext cx="139944" cy="170366"/>
            </a:xfrm>
            <a:custGeom>
              <a:avLst/>
              <a:gdLst>
                <a:gd name="connsiteX0" fmla="*/ 6085 w 139944"/>
                <a:gd name="connsiteY0" fmla="*/ 170366 h 170366"/>
                <a:gd name="connsiteX1" fmla="*/ 6085 w 139944"/>
                <a:gd name="connsiteY1" fmla="*/ 170366 h 170366"/>
                <a:gd name="connsiteX2" fmla="*/ 0 w 139944"/>
                <a:gd name="connsiteY2" fmla="*/ 164282 h 170366"/>
                <a:gd name="connsiteX3" fmla="*/ 133860 w 139944"/>
                <a:gd name="connsiteY3" fmla="*/ 0 h 170366"/>
                <a:gd name="connsiteX4" fmla="*/ 139945 w 139944"/>
                <a:gd name="connsiteY4" fmla="*/ 3042 h 170366"/>
                <a:gd name="connsiteX5" fmla="*/ 136901 w 139944"/>
                <a:gd name="connsiteY5" fmla="*/ 9127 h 170366"/>
                <a:gd name="connsiteX6" fmla="*/ 12170 w 139944"/>
                <a:gd name="connsiteY6" fmla="*/ 164282 h 170366"/>
                <a:gd name="connsiteX7" fmla="*/ 6085 w 139944"/>
                <a:gd name="connsiteY7" fmla="*/ 170366 h 170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944" h="170366">
                  <a:moveTo>
                    <a:pt x="6085" y="170366"/>
                  </a:moveTo>
                  <a:cubicBezTo>
                    <a:pt x="6085" y="170366"/>
                    <a:pt x="6085" y="170366"/>
                    <a:pt x="6085" y="170366"/>
                  </a:cubicBezTo>
                  <a:cubicBezTo>
                    <a:pt x="3043" y="170366"/>
                    <a:pt x="0" y="167324"/>
                    <a:pt x="0" y="164282"/>
                  </a:cubicBezTo>
                  <a:cubicBezTo>
                    <a:pt x="21296" y="36507"/>
                    <a:pt x="130818" y="0"/>
                    <a:pt x="133860" y="0"/>
                  </a:cubicBezTo>
                  <a:cubicBezTo>
                    <a:pt x="136901" y="0"/>
                    <a:pt x="139945" y="0"/>
                    <a:pt x="139945" y="3042"/>
                  </a:cubicBezTo>
                  <a:cubicBezTo>
                    <a:pt x="139945" y="6085"/>
                    <a:pt x="139945" y="9127"/>
                    <a:pt x="136901" y="9127"/>
                  </a:cubicBezTo>
                  <a:cubicBezTo>
                    <a:pt x="136901" y="9127"/>
                    <a:pt x="30423" y="42592"/>
                    <a:pt x="12170" y="164282"/>
                  </a:cubicBezTo>
                  <a:cubicBezTo>
                    <a:pt x="12170" y="167324"/>
                    <a:pt x="9128" y="170366"/>
                    <a:pt x="6085" y="170366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B7817A73-A5FF-48A4-B1E6-01A607C019C7}"/>
                </a:ext>
              </a:extLst>
            </p:cNvPr>
            <p:cNvSpPr/>
            <p:nvPr/>
          </p:nvSpPr>
          <p:spPr>
            <a:xfrm>
              <a:off x="23316679" y="8318705"/>
              <a:ext cx="87465" cy="188619"/>
            </a:xfrm>
            <a:custGeom>
              <a:avLst/>
              <a:gdLst>
                <a:gd name="connsiteX0" fmla="*/ 5324 w 87465"/>
                <a:gd name="connsiteY0" fmla="*/ 188620 h 188619"/>
                <a:gd name="connsiteX1" fmla="*/ 2283 w 87465"/>
                <a:gd name="connsiteY1" fmla="*/ 185577 h 188619"/>
                <a:gd name="connsiteX2" fmla="*/ 2283 w 87465"/>
                <a:gd name="connsiteY2" fmla="*/ 176451 h 188619"/>
                <a:gd name="connsiteX3" fmla="*/ 75295 w 87465"/>
                <a:gd name="connsiteY3" fmla="*/ 6084 h 188619"/>
                <a:gd name="connsiteX4" fmla="*/ 81380 w 87465"/>
                <a:gd name="connsiteY4" fmla="*/ 0 h 188619"/>
                <a:gd name="connsiteX5" fmla="*/ 87465 w 87465"/>
                <a:gd name="connsiteY5" fmla="*/ 6084 h 188619"/>
                <a:gd name="connsiteX6" fmla="*/ 14450 w 87465"/>
                <a:gd name="connsiteY6" fmla="*/ 179493 h 188619"/>
                <a:gd name="connsiteX7" fmla="*/ 5324 w 87465"/>
                <a:gd name="connsiteY7" fmla="*/ 188620 h 188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465" h="188619">
                  <a:moveTo>
                    <a:pt x="5324" y="188620"/>
                  </a:moveTo>
                  <a:cubicBezTo>
                    <a:pt x="5324" y="188620"/>
                    <a:pt x="2283" y="188620"/>
                    <a:pt x="2283" y="185577"/>
                  </a:cubicBezTo>
                  <a:cubicBezTo>
                    <a:pt x="-761" y="182535"/>
                    <a:pt x="-761" y="179493"/>
                    <a:pt x="2283" y="176451"/>
                  </a:cubicBezTo>
                  <a:cubicBezTo>
                    <a:pt x="54001" y="121690"/>
                    <a:pt x="72254" y="9127"/>
                    <a:pt x="75295" y="6084"/>
                  </a:cubicBezTo>
                  <a:cubicBezTo>
                    <a:pt x="75295" y="3042"/>
                    <a:pt x="78339" y="0"/>
                    <a:pt x="81380" y="0"/>
                  </a:cubicBezTo>
                  <a:cubicBezTo>
                    <a:pt x="84424" y="0"/>
                    <a:pt x="87465" y="3042"/>
                    <a:pt x="87465" y="6084"/>
                  </a:cubicBezTo>
                  <a:cubicBezTo>
                    <a:pt x="87465" y="12169"/>
                    <a:pt x="66169" y="124732"/>
                    <a:pt x="14450" y="179493"/>
                  </a:cubicBezTo>
                  <a:cubicBezTo>
                    <a:pt x="8367" y="185577"/>
                    <a:pt x="5324" y="188620"/>
                    <a:pt x="5324" y="188620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DE636B2C-8EF6-4F66-9D02-4D5F08D1A87F}"/>
                </a:ext>
              </a:extLst>
            </p:cNvPr>
            <p:cNvSpPr/>
            <p:nvPr/>
          </p:nvSpPr>
          <p:spPr>
            <a:xfrm>
              <a:off x="23362313" y="8397803"/>
              <a:ext cx="70472" cy="127775"/>
            </a:xfrm>
            <a:custGeom>
              <a:avLst/>
              <a:gdLst>
                <a:gd name="connsiteX0" fmla="*/ 5324 w 70472"/>
                <a:gd name="connsiteY0" fmla="*/ 127775 h 127775"/>
                <a:gd name="connsiteX1" fmla="*/ 2283 w 70472"/>
                <a:gd name="connsiteY1" fmla="*/ 124733 h 127775"/>
                <a:gd name="connsiteX2" fmla="*/ 2283 w 70472"/>
                <a:gd name="connsiteY2" fmla="*/ 115606 h 127775"/>
                <a:gd name="connsiteX3" fmla="*/ 60084 w 70472"/>
                <a:gd name="connsiteY3" fmla="*/ 3042 h 127775"/>
                <a:gd name="connsiteX4" fmla="*/ 66169 w 70472"/>
                <a:gd name="connsiteY4" fmla="*/ 0 h 127775"/>
                <a:gd name="connsiteX5" fmla="*/ 69212 w 70472"/>
                <a:gd name="connsiteY5" fmla="*/ 6085 h 127775"/>
                <a:gd name="connsiteX6" fmla="*/ 5324 w 70472"/>
                <a:gd name="connsiteY6" fmla="*/ 124733 h 127775"/>
                <a:gd name="connsiteX7" fmla="*/ 5324 w 70472"/>
                <a:gd name="connsiteY7" fmla="*/ 127775 h 12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472" h="127775">
                  <a:moveTo>
                    <a:pt x="5324" y="127775"/>
                  </a:moveTo>
                  <a:cubicBezTo>
                    <a:pt x="2283" y="127775"/>
                    <a:pt x="2283" y="127775"/>
                    <a:pt x="2283" y="124733"/>
                  </a:cubicBezTo>
                  <a:cubicBezTo>
                    <a:pt x="-761" y="121690"/>
                    <a:pt x="-761" y="118648"/>
                    <a:pt x="2283" y="115606"/>
                  </a:cubicBezTo>
                  <a:cubicBezTo>
                    <a:pt x="32705" y="88226"/>
                    <a:pt x="60084" y="3042"/>
                    <a:pt x="60084" y="3042"/>
                  </a:cubicBezTo>
                  <a:cubicBezTo>
                    <a:pt x="60084" y="0"/>
                    <a:pt x="63128" y="0"/>
                    <a:pt x="66169" y="0"/>
                  </a:cubicBezTo>
                  <a:cubicBezTo>
                    <a:pt x="69212" y="0"/>
                    <a:pt x="72254" y="3042"/>
                    <a:pt x="69212" y="6085"/>
                  </a:cubicBezTo>
                  <a:cubicBezTo>
                    <a:pt x="69212" y="9127"/>
                    <a:pt x="41831" y="97352"/>
                    <a:pt x="5324" y="124733"/>
                  </a:cubicBezTo>
                  <a:cubicBezTo>
                    <a:pt x="8367" y="127775"/>
                    <a:pt x="5324" y="127775"/>
                    <a:pt x="5324" y="127775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B681AE18-98B8-4FB1-8AC3-CADE0C31C4F7}"/>
                </a:ext>
              </a:extLst>
            </p:cNvPr>
            <p:cNvSpPr/>
            <p:nvPr/>
          </p:nvSpPr>
          <p:spPr>
            <a:xfrm>
              <a:off x="23769215" y="8104395"/>
              <a:ext cx="96034" cy="478985"/>
            </a:xfrm>
            <a:custGeom>
              <a:avLst/>
              <a:gdLst>
                <a:gd name="connsiteX0" fmla="*/ 6085 w 96034"/>
                <a:gd name="connsiteY0" fmla="*/ 478986 h 478985"/>
                <a:gd name="connsiteX1" fmla="*/ 6085 w 96034"/>
                <a:gd name="connsiteY1" fmla="*/ 478986 h 478985"/>
                <a:gd name="connsiteX2" fmla="*/ 0 w 96034"/>
                <a:gd name="connsiteY2" fmla="*/ 469859 h 478985"/>
                <a:gd name="connsiteX3" fmla="*/ 79098 w 96034"/>
                <a:gd name="connsiteY3" fmla="*/ 132169 h 478985"/>
                <a:gd name="connsiteX4" fmla="*/ 36507 w 96034"/>
                <a:gd name="connsiteY4" fmla="*/ 10479 h 478985"/>
                <a:gd name="connsiteX5" fmla="*/ 36507 w 96034"/>
                <a:gd name="connsiteY5" fmla="*/ 1352 h 478985"/>
                <a:gd name="connsiteX6" fmla="*/ 45634 w 96034"/>
                <a:gd name="connsiteY6" fmla="*/ 1352 h 478985"/>
                <a:gd name="connsiteX7" fmla="*/ 91268 w 96034"/>
                <a:gd name="connsiteY7" fmla="*/ 126084 h 478985"/>
                <a:gd name="connsiteX8" fmla="*/ 12170 w 96034"/>
                <a:gd name="connsiteY8" fmla="*/ 472902 h 478985"/>
                <a:gd name="connsiteX9" fmla="*/ 6085 w 96034"/>
                <a:gd name="connsiteY9" fmla="*/ 478986 h 478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6034" h="478985">
                  <a:moveTo>
                    <a:pt x="6085" y="478986"/>
                  </a:moveTo>
                  <a:cubicBezTo>
                    <a:pt x="6085" y="478986"/>
                    <a:pt x="3042" y="478986"/>
                    <a:pt x="6085" y="478986"/>
                  </a:cubicBezTo>
                  <a:cubicBezTo>
                    <a:pt x="0" y="475943"/>
                    <a:pt x="0" y="472902"/>
                    <a:pt x="0" y="469859"/>
                  </a:cubicBezTo>
                  <a:cubicBezTo>
                    <a:pt x="82141" y="320789"/>
                    <a:pt x="88226" y="202141"/>
                    <a:pt x="79098" y="132169"/>
                  </a:cubicBezTo>
                  <a:cubicBezTo>
                    <a:pt x="66930" y="53070"/>
                    <a:pt x="36507" y="10479"/>
                    <a:pt x="36507" y="10479"/>
                  </a:cubicBezTo>
                  <a:cubicBezTo>
                    <a:pt x="33464" y="7437"/>
                    <a:pt x="36507" y="4394"/>
                    <a:pt x="36507" y="1352"/>
                  </a:cubicBezTo>
                  <a:cubicBezTo>
                    <a:pt x="39549" y="-1690"/>
                    <a:pt x="42592" y="1352"/>
                    <a:pt x="45634" y="1352"/>
                  </a:cubicBezTo>
                  <a:cubicBezTo>
                    <a:pt x="45634" y="4394"/>
                    <a:pt x="79098" y="46986"/>
                    <a:pt x="91268" y="126084"/>
                  </a:cubicBezTo>
                  <a:cubicBezTo>
                    <a:pt x="103437" y="199099"/>
                    <a:pt x="97352" y="320789"/>
                    <a:pt x="12170" y="472902"/>
                  </a:cubicBezTo>
                  <a:cubicBezTo>
                    <a:pt x="9126" y="475943"/>
                    <a:pt x="9126" y="478986"/>
                    <a:pt x="6085" y="478986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59A3B0BF-3386-47BB-BB0D-DE6620DE7033}"/>
                </a:ext>
              </a:extLst>
            </p:cNvPr>
            <p:cNvSpPr/>
            <p:nvPr/>
          </p:nvSpPr>
          <p:spPr>
            <a:xfrm>
              <a:off x="23598850" y="7957691"/>
              <a:ext cx="119907" cy="18499"/>
            </a:xfrm>
            <a:custGeom>
              <a:avLst/>
              <a:gdLst>
                <a:gd name="connsiteX0" fmla="*/ 6083 w 119907"/>
                <a:gd name="connsiteY0" fmla="*/ 17239 h 18499"/>
                <a:gd name="connsiteX1" fmla="*/ 0 w 119907"/>
                <a:gd name="connsiteY1" fmla="*/ 14197 h 18499"/>
                <a:gd name="connsiteX2" fmla="*/ 3042 w 119907"/>
                <a:gd name="connsiteY2" fmla="*/ 8113 h 18499"/>
                <a:gd name="connsiteX3" fmla="*/ 115605 w 119907"/>
                <a:gd name="connsiteY3" fmla="*/ 8113 h 18499"/>
                <a:gd name="connsiteX4" fmla="*/ 118647 w 119907"/>
                <a:gd name="connsiteY4" fmla="*/ 14197 h 18499"/>
                <a:gd name="connsiteX5" fmla="*/ 112562 w 119907"/>
                <a:gd name="connsiteY5" fmla="*/ 17239 h 18499"/>
                <a:gd name="connsiteX6" fmla="*/ 6083 w 119907"/>
                <a:gd name="connsiteY6" fmla="*/ 17239 h 18499"/>
                <a:gd name="connsiteX7" fmla="*/ 6083 w 119907"/>
                <a:gd name="connsiteY7" fmla="*/ 17239 h 18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907" h="18499">
                  <a:moveTo>
                    <a:pt x="6083" y="17239"/>
                  </a:moveTo>
                  <a:cubicBezTo>
                    <a:pt x="3042" y="17239"/>
                    <a:pt x="3042" y="17239"/>
                    <a:pt x="0" y="14197"/>
                  </a:cubicBezTo>
                  <a:cubicBezTo>
                    <a:pt x="0" y="11155"/>
                    <a:pt x="0" y="8113"/>
                    <a:pt x="3042" y="8113"/>
                  </a:cubicBezTo>
                  <a:cubicBezTo>
                    <a:pt x="51717" y="-10141"/>
                    <a:pt x="115605" y="8113"/>
                    <a:pt x="115605" y="8113"/>
                  </a:cubicBezTo>
                  <a:cubicBezTo>
                    <a:pt x="118647" y="8113"/>
                    <a:pt x="121690" y="11155"/>
                    <a:pt x="118647" y="14197"/>
                  </a:cubicBezTo>
                  <a:cubicBezTo>
                    <a:pt x="118647" y="17239"/>
                    <a:pt x="115605" y="20282"/>
                    <a:pt x="112562" y="17239"/>
                  </a:cubicBezTo>
                  <a:cubicBezTo>
                    <a:pt x="112562" y="17239"/>
                    <a:pt x="51717" y="-1014"/>
                    <a:pt x="6083" y="17239"/>
                  </a:cubicBezTo>
                  <a:cubicBezTo>
                    <a:pt x="6083" y="17239"/>
                    <a:pt x="6083" y="17239"/>
                    <a:pt x="6083" y="17239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FC44DA95-7D0A-4A01-A10B-490551B17BEA}"/>
                </a:ext>
              </a:extLst>
            </p:cNvPr>
            <p:cNvSpPr/>
            <p:nvPr/>
          </p:nvSpPr>
          <p:spPr>
            <a:xfrm>
              <a:off x="23586680" y="8456367"/>
              <a:ext cx="215238" cy="87464"/>
            </a:xfrm>
            <a:custGeom>
              <a:avLst/>
              <a:gdLst>
                <a:gd name="connsiteX0" fmla="*/ 73015 w 215238"/>
                <a:gd name="connsiteY0" fmla="*/ 87465 h 87464"/>
                <a:gd name="connsiteX1" fmla="*/ 63887 w 215238"/>
                <a:gd name="connsiteY1" fmla="*/ 87465 h 87464"/>
                <a:gd name="connsiteX2" fmla="*/ 3042 w 215238"/>
                <a:gd name="connsiteY2" fmla="*/ 66169 h 87464"/>
                <a:gd name="connsiteX3" fmla="*/ 0 w 215238"/>
                <a:gd name="connsiteY3" fmla="*/ 57042 h 87464"/>
                <a:gd name="connsiteX4" fmla="*/ 9126 w 215238"/>
                <a:gd name="connsiteY4" fmla="*/ 54000 h 87464"/>
                <a:gd name="connsiteX5" fmla="*/ 66930 w 215238"/>
                <a:gd name="connsiteY5" fmla="*/ 72253 h 87464"/>
                <a:gd name="connsiteX6" fmla="*/ 73015 w 215238"/>
                <a:gd name="connsiteY6" fmla="*/ 72253 h 87464"/>
                <a:gd name="connsiteX7" fmla="*/ 203831 w 215238"/>
                <a:gd name="connsiteY7" fmla="*/ 2281 h 87464"/>
                <a:gd name="connsiteX8" fmla="*/ 212958 w 215238"/>
                <a:gd name="connsiteY8" fmla="*/ 2281 h 87464"/>
                <a:gd name="connsiteX9" fmla="*/ 212958 w 215238"/>
                <a:gd name="connsiteY9" fmla="*/ 11408 h 87464"/>
                <a:gd name="connsiteX10" fmla="*/ 73015 w 215238"/>
                <a:gd name="connsiteY10" fmla="*/ 87465 h 87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5238" h="87464">
                  <a:moveTo>
                    <a:pt x="73015" y="87465"/>
                  </a:moveTo>
                  <a:cubicBezTo>
                    <a:pt x="69971" y="87465"/>
                    <a:pt x="66930" y="87465"/>
                    <a:pt x="63887" y="87465"/>
                  </a:cubicBezTo>
                  <a:cubicBezTo>
                    <a:pt x="42592" y="84423"/>
                    <a:pt x="21296" y="78338"/>
                    <a:pt x="3042" y="66169"/>
                  </a:cubicBezTo>
                  <a:cubicBezTo>
                    <a:pt x="0" y="63127"/>
                    <a:pt x="0" y="60085"/>
                    <a:pt x="0" y="57042"/>
                  </a:cubicBezTo>
                  <a:cubicBezTo>
                    <a:pt x="3042" y="54000"/>
                    <a:pt x="6085" y="54000"/>
                    <a:pt x="9126" y="54000"/>
                  </a:cubicBezTo>
                  <a:cubicBezTo>
                    <a:pt x="27381" y="66169"/>
                    <a:pt x="45634" y="72253"/>
                    <a:pt x="66930" y="72253"/>
                  </a:cubicBezTo>
                  <a:cubicBezTo>
                    <a:pt x="69971" y="72253"/>
                    <a:pt x="73015" y="72253"/>
                    <a:pt x="73015" y="72253"/>
                  </a:cubicBezTo>
                  <a:cubicBezTo>
                    <a:pt x="133860" y="72253"/>
                    <a:pt x="203831" y="2281"/>
                    <a:pt x="203831" y="2281"/>
                  </a:cubicBezTo>
                  <a:cubicBezTo>
                    <a:pt x="206873" y="-760"/>
                    <a:pt x="209916" y="-760"/>
                    <a:pt x="212958" y="2281"/>
                  </a:cubicBezTo>
                  <a:cubicBezTo>
                    <a:pt x="215999" y="5324"/>
                    <a:pt x="215999" y="8366"/>
                    <a:pt x="212958" y="11408"/>
                  </a:cubicBezTo>
                  <a:cubicBezTo>
                    <a:pt x="209916" y="14451"/>
                    <a:pt x="136901" y="87465"/>
                    <a:pt x="73015" y="87465"/>
                  </a:cubicBezTo>
                  <a:close/>
                </a:path>
              </a:pathLst>
            </a:custGeom>
            <a:solidFill>
              <a:srgbClr val="E58777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4" name="图形 1">
              <a:extLst>
                <a:ext uri="{FF2B5EF4-FFF2-40B4-BE49-F238E27FC236}">
                  <a16:creationId xmlns:a16="http://schemas.microsoft.com/office/drawing/2014/main" id="{773FB4A3-5907-4359-AD23-08707754F70B}"/>
                </a:ext>
              </a:extLst>
            </p:cNvPr>
            <p:cNvGrpSpPr/>
            <p:nvPr/>
          </p:nvGrpSpPr>
          <p:grpSpPr>
            <a:xfrm>
              <a:off x="23287813" y="7834986"/>
              <a:ext cx="656223" cy="331605"/>
              <a:chOff x="23287813" y="7834986"/>
              <a:chExt cx="656223" cy="331605"/>
            </a:xfrm>
          </p:grpSpPr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0C9764F7-B185-42F6-AE2F-A0820CD92CCE}"/>
                  </a:ext>
                </a:extLst>
              </p:cNvPr>
              <p:cNvSpPr/>
              <p:nvPr/>
            </p:nvSpPr>
            <p:spPr>
              <a:xfrm>
                <a:off x="23398060" y="7850093"/>
                <a:ext cx="545977" cy="316499"/>
              </a:xfrm>
              <a:custGeom>
                <a:avLst/>
                <a:gdLst>
                  <a:gd name="connsiteX0" fmla="*/ 392451 w 545977"/>
                  <a:gd name="connsiteY0" fmla="*/ 210020 h 316499"/>
                  <a:gd name="connsiteX1" fmla="*/ 541521 w 545977"/>
                  <a:gd name="connsiteY1" fmla="*/ 316499 h 316499"/>
                  <a:gd name="connsiteX2" fmla="*/ 386367 w 545977"/>
                  <a:gd name="connsiteY2" fmla="*/ 21401 h 316499"/>
                  <a:gd name="connsiteX3" fmla="*/ 0 w 545977"/>
                  <a:gd name="connsiteY3" fmla="*/ 130921 h 316499"/>
                  <a:gd name="connsiteX4" fmla="*/ 392451 w 545977"/>
                  <a:gd name="connsiteY4" fmla="*/ 210020 h 316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5977" h="316499">
                    <a:moveTo>
                      <a:pt x="392451" y="210020"/>
                    </a:moveTo>
                    <a:cubicBezTo>
                      <a:pt x="428959" y="240443"/>
                      <a:pt x="501972" y="261738"/>
                      <a:pt x="541521" y="316499"/>
                    </a:cubicBezTo>
                    <a:cubicBezTo>
                      <a:pt x="541521" y="316499"/>
                      <a:pt x="587155" y="91372"/>
                      <a:pt x="386367" y="21401"/>
                    </a:cubicBezTo>
                    <a:cubicBezTo>
                      <a:pt x="222084" y="-36402"/>
                      <a:pt x="63888" y="30527"/>
                      <a:pt x="0" y="130921"/>
                    </a:cubicBezTo>
                    <a:cubicBezTo>
                      <a:pt x="0" y="130921"/>
                      <a:pt x="231212" y="76161"/>
                      <a:pt x="392451" y="21002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DE88ABFC-6E40-4D56-A579-76B745758701}"/>
                  </a:ext>
                </a:extLst>
              </p:cNvPr>
              <p:cNvSpPr/>
              <p:nvPr/>
            </p:nvSpPr>
            <p:spPr>
              <a:xfrm>
                <a:off x="23287813" y="7887549"/>
                <a:ext cx="517909" cy="218198"/>
              </a:xfrm>
              <a:custGeom>
                <a:avLst/>
                <a:gdLst>
                  <a:gd name="connsiteX0" fmla="*/ 517909 w 517909"/>
                  <a:gd name="connsiteY0" fmla="*/ 187776 h 218198"/>
                  <a:gd name="connsiteX1" fmla="*/ 298867 w 517909"/>
                  <a:gd name="connsiteY1" fmla="*/ 47832 h 218198"/>
                  <a:gd name="connsiteX2" fmla="*/ 3768 w 517909"/>
                  <a:gd name="connsiteY2" fmla="*/ 60001 h 218198"/>
                  <a:gd name="connsiteX3" fmla="*/ 107205 w 517909"/>
                  <a:gd name="connsiteY3" fmla="*/ 218198 h 218198"/>
                  <a:gd name="connsiteX4" fmla="*/ 517909 w 517909"/>
                  <a:gd name="connsiteY4" fmla="*/ 187776 h 218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7909" h="218198">
                    <a:moveTo>
                      <a:pt x="517909" y="187776"/>
                    </a:moveTo>
                    <a:cubicBezTo>
                      <a:pt x="517909" y="187776"/>
                      <a:pt x="441853" y="111719"/>
                      <a:pt x="298867" y="47832"/>
                    </a:cubicBezTo>
                    <a:cubicBezTo>
                      <a:pt x="149796" y="-22140"/>
                      <a:pt x="31149" y="-13013"/>
                      <a:pt x="3768" y="60001"/>
                    </a:cubicBezTo>
                    <a:cubicBezTo>
                      <a:pt x="-23611" y="133015"/>
                      <a:pt x="107205" y="218198"/>
                      <a:pt x="107205" y="218198"/>
                    </a:cubicBezTo>
                    <a:cubicBezTo>
                      <a:pt x="107205" y="218198"/>
                      <a:pt x="253233" y="78254"/>
                      <a:pt x="517909" y="187776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C6D921A9-B9E7-4C6F-81D2-67E46F019EDD}"/>
                  </a:ext>
                </a:extLst>
              </p:cNvPr>
              <p:cNvSpPr/>
              <p:nvPr/>
            </p:nvSpPr>
            <p:spPr>
              <a:xfrm>
                <a:off x="23766173" y="7834986"/>
                <a:ext cx="57801" cy="54760"/>
              </a:xfrm>
              <a:custGeom>
                <a:avLst/>
                <a:gdLst>
                  <a:gd name="connsiteX0" fmla="*/ 57802 w 57801"/>
                  <a:gd name="connsiteY0" fmla="*/ 27381 h 54760"/>
                  <a:gd name="connsiteX1" fmla="*/ 27379 w 57801"/>
                  <a:gd name="connsiteY1" fmla="*/ 0 h 54760"/>
                  <a:gd name="connsiteX2" fmla="*/ 0 w 57801"/>
                  <a:gd name="connsiteY2" fmla="*/ 27381 h 54760"/>
                  <a:gd name="connsiteX3" fmla="*/ 30423 w 57801"/>
                  <a:gd name="connsiteY3" fmla="*/ 54761 h 54760"/>
                  <a:gd name="connsiteX4" fmla="*/ 57802 w 57801"/>
                  <a:gd name="connsiteY4" fmla="*/ 27381 h 54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801" h="54760">
                    <a:moveTo>
                      <a:pt x="57802" y="27381"/>
                    </a:moveTo>
                    <a:cubicBezTo>
                      <a:pt x="57802" y="12169"/>
                      <a:pt x="45634" y="0"/>
                      <a:pt x="27379" y="0"/>
                    </a:cubicBezTo>
                    <a:cubicBezTo>
                      <a:pt x="12168" y="0"/>
                      <a:pt x="0" y="12169"/>
                      <a:pt x="0" y="27381"/>
                    </a:cubicBezTo>
                    <a:cubicBezTo>
                      <a:pt x="0" y="42592"/>
                      <a:pt x="12168" y="54761"/>
                      <a:pt x="30423" y="54761"/>
                    </a:cubicBezTo>
                    <a:cubicBezTo>
                      <a:pt x="42590" y="54761"/>
                      <a:pt x="57802" y="42592"/>
                      <a:pt x="57802" y="2738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4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A18DE3A2-8586-428D-AAD2-F342FA9C98D5}"/>
                </a:ext>
              </a:extLst>
            </p:cNvPr>
            <p:cNvSpPr/>
            <p:nvPr/>
          </p:nvSpPr>
          <p:spPr>
            <a:xfrm>
              <a:off x="23277810" y="7877792"/>
              <a:ext cx="530193" cy="203617"/>
            </a:xfrm>
            <a:custGeom>
              <a:avLst/>
              <a:gdLst>
                <a:gd name="connsiteX0" fmla="*/ 527912 w 530193"/>
                <a:gd name="connsiteY0" fmla="*/ 203618 h 203617"/>
                <a:gd name="connsiteX1" fmla="*/ 521827 w 530193"/>
                <a:gd name="connsiteY1" fmla="*/ 200575 h 203617"/>
                <a:gd name="connsiteX2" fmla="*/ 193264 w 530193"/>
                <a:gd name="connsiteY2" fmla="*/ 18040 h 203617"/>
                <a:gd name="connsiteX3" fmla="*/ 16814 w 530193"/>
                <a:gd name="connsiteY3" fmla="*/ 72801 h 203617"/>
                <a:gd name="connsiteX4" fmla="*/ 71574 w 530193"/>
                <a:gd name="connsiteY4" fmla="*/ 185364 h 203617"/>
                <a:gd name="connsiteX5" fmla="*/ 71574 w 530193"/>
                <a:gd name="connsiteY5" fmla="*/ 194491 h 203617"/>
                <a:gd name="connsiteX6" fmla="*/ 62448 w 530193"/>
                <a:gd name="connsiteY6" fmla="*/ 194491 h 203617"/>
                <a:gd name="connsiteX7" fmla="*/ 4644 w 530193"/>
                <a:gd name="connsiteY7" fmla="*/ 66716 h 203617"/>
                <a:gd name="connsiteX8" fmla="*/ 193264 w 530193"/>
                <a:gd name="connsiteY8" fmla="*/ 5871 h 203617"/>
                <a:gd name="connsiteX9" fmla="*/ 527912 w 530193"/>
                <a:gd name="connsiteY9" fmla="*/ 194491 h 203617"/>
                <a:gd name="connsiteX10" fmla="*/ 527912 w 530193"/>
                <a:gd name="connsiteY10" fmla="*/ 203618 h 203617"/>
                <a:gd name="connsiteX11" fmla="*/ 527912 w 530193"/>
                <a:gd name="connsiteY11" fmla="*/ 203618 h 203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0193" h="203617">
                  <a:moveTo>
                    <a:pt x="527912" y="203618"/>
                  </a:moveTo>
                  <a:cubicBezTo>
                    <a:pt x="524869" y="203618"/>
                    <a:pt x="524869" y="203618"/>
                    <a:pt x="521827" y="200575"/>
                  </a:cubicBezTo>
                  <a:cubicBezTo>
                    <a:pt x="415348" y="66716"/>
                    <a:pt x="284532" y="30209"/>
                    <a:pt x="193264" y="18040"/>
                  </a:cubicBezTo>
                  <a:cubicBezTo>
                    <a:pt x="150672" y="11955"/>
                    <a:pt x="44193" y="2829"/>
                    <a:pt x="16814" y="72801"/>
                  </a:cubicBezTo>
                  <a:cubicBezTo>
                    <a:pt x="-4482" y="127561"/>
                    <a:pt x="68531" y="185364"/>
                    <a:pt x="71574" y="185364"/>
                  </a:cubicBezTo>
                  <a:cubicBezTo>
                    <a:pt x="74615" y="188406"/>
                    <a:pt x="74615" y="191449"/>
                    <a:pt x="71574" y="194491"/>
                  </a:cubicBezTo>
                  <a:cubicBezTo>
                    <a:pt x="68531" y="197533"/>
                    <a:pt x="65489" y="197533"/>
                    <a:pt x="62448" y="194491"/>
                  </a:cubicBezTo>
                  <a:cubicBezTo>
                    <a:pt x="59404" y="191449"/>
                    <a:pt x="-19694" y="133646"/>
                    <a:pt x="4644" y="66716"/>
                  </a:cubicBezTo>
                  <a:cubicBezTo>
                    <a:pt x="35067" y="-12383"/>
                    <a:pt x="147630" y="-3256"/>
                    <a:pt x="193264" y="5871"/>
                  </a:cubicBezTo>
                  <a:cubicBezTo>
                    <a:pt x="284532" y="21082"/>
                    <a:pt x="418390" y="57589"/>
                    <a:pt x="527912" y="194491"/>
                  </a:cubicBezTo>
                  <a:cubicBezTo>
                    <a:pt x="530954" y="197533"/>
                    <a:pt x="530954" y="200575"/>
                    <a:pt x="527912" y="203618"/>
                  </a:cubicBezTo>
                  <a:cubicBezTo>
                    <a:pt x="530954" y="203618"/>
                    <a:pt x="527912" y="203618"/>
                    <a:pt x="527912" y="203618"/>
                  </a:cubicBezTo>
                  <a:close/>
                </a:path>
              </a:pathLst>
            </a:custGeom>
            <a:solidFill>
              <a:srgbClr val="38343B"/>
            </a:solidFill>
            <a:ln w="304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509537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7" name="图形 1">
            <a:extLst>
              <a:ext uri="{FF2B5EF4-FFF2-40B4-BE49-F238E27FC236}">
                <a16:creationId xmlns:a16="http://schemas.microsoft.com/office/drawing/2014/main" id="{0D323808-9636-430D-AD2B-F892808812C7}"/>
              </a:ext>
            </a:extLst>
          </p:cNvPr>
          <p:cNvGrpSpPr/>
          <p:nvPr/>
        </p:nvGrpSpPr>
        <p:grpSpPr>
          <a:xfrm>
            <a:off x="2715011" y="2097716"/>
            <a:ext cx="6504160" cy="4750369"/>
            <a:chOff x="2600711" y="1961716"/>
            <a:chExt cx="6504160" cy="4750369"/>
          </a:xfrm>
        </p:grpSpPr>
        <p:sp>
          <p:nvSpPr>
            <p:cNvPr id="298" name="任意多边形: 形状 297">
              <a:extLst>
                <a:ext uri="{FF2B5EF4-FFF2-40B4-BE49-F238E27FC236}">
                  <a16:creationId xmlns:a16="http://schemas.microsoft.com/office/drawing/2014/main" id="{36B485CD-1759-45B8-BE06-D9622ABB69DC}"/>
                </a:ext>
              </a:extLst>
            </p:cNvPr>
            <p:cNvSpPr/>
            <p:nvPr/>
          </p:nvSpPr>
          <p:spPr>
            <a:xfrm>
              <a:off x="7173535" y="3028199"/>
              <a:ext cx="983521" cy="522386"/>
            </a:xfrm>
            <a:custGeom>
              <a:avLst/>
              <a:gdLst>
                <a:gd name="connsiteX0" fmla="*/ 768496 w 983521"/>
                <a:gd name="connsiteY0" fmla="*/ 25309 h 522386"/>
                <a:gd name="connsiteX1" fmla="*/ 437132 w 983521"/>
                <a:gd name="connsiteY1" fmla="*/ 325991 h 522386"/>
                <a:gd name="connsiteX2" fmla="*/ 16791 w 983521"/>
                <a:gd name="connsiteY2" fmla="*/ 319855 h 522386"/>
                <a:gd name="connsiteX3" fmla="*/ 25996 w 983521"/>
                <a:gd name="connsiteY3" fmla="*/ 424173 h 522386"/>
                <a:gd name="connsiteX4" fmla="*/ 477019 w 983521"/>
                <a:gd name="connsiteY4" fmla="*/ 522355 h 522386"/>
                <a:gd name="connsiteX5" fmla="*/ 961791 w 983521"/>
                <a:gd name="connsiteY5" fmla="*/ 221673 h 522386"/>
                <a:gd name="connsiteX6" fmla="*/ 768496 w 983521"/>
                <a:gd name="connsiteY6" fmla="*/ 25309 h 522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83521" h="522386">
                  <a:moveTo>
                    <a:pt x="768496" y="25309"/>
                  </a:moveTo>
                  <a:cubicBezTo>
                    <a:pt x="694860" y="77468"/>
                    <a:pt x="437132" y="325991"/>
                    <a:pt x="437132" y="325991"/>
                  </a:cubicBezTo>
                  <a:cubicBezTo>
                    <a:pt x="437132" y="325991"/>
                    <a:pt x="19860" y="310650"/>
                    <a:pt x="16791" y="319855"/>
                  </a:cubicBezTo>
                  <a:cubicBezTo>
                    <a:pt x="-16959" y="381218"/>
                    <a:pt x="7587" y="356673"/>
                    <a:pt x="25996" y="424173"/>
                  </a:cubicBezTo>
                  <a:cubicBezTo>
                    <a:pt x="29064" y="433378"/>
                    <a:pt x="222359" y="510082"/>
                    <a:pt x="477019" y="522355"/>
                  </a:cubicBezTo>
                  <a:cubicBezTo>
                    <a:pt x="544519" y="525423"/>
                    <a:pt x="839064" y="304514"/>
                    <a:pt x="961791" y="221673"/>
                  </a:cubicBezTo>
                  <a:cubicBezTo>
                    <a:pt x="1035428" y="169514"/>
                    <a:pt x="909632" y="-79009"/>
                    <a:pt x="768496" y="25309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9" name="任意多边形: 形状 298">
              <a:extLst>
                <a:ext uri="{FF2B5EF4-FFF2-40B4-BE49-F238E27FC236}">
                  <a16:creationId xmlns:a16="http://schemas.microsoft.com/office/drawing/2014/main" id="{CA1C8A8D-CA8A-4599-BF89-53233BC750B6}"/>
                </a:ext>
              </a:extLst>
            </p:cNvPr>
            <p:cNvSpPr/>
            <p:nvPr/>
          </p:nvSpPr>
          <p:spPr>
            <a:xfrm>
              <a:off x="7016550" y="3310180"/>
              <a:ext cx="238359" cy="176817"/>
            </a:xfrm>
            <a:custGeom>
              <a:avLst/>
              <a:gdLst>
                <a:gd name="connsiteX0" fmla="*/ 87867 w 238359"/>
                <a:gd name="connsiteY0" fmla="*/ 169805 h 176817"/>
                <a:gd name="connsiteX1" fmla="*/ 219799 w 238359"/>
                <a:gd name="connsiteY1" fmla="*/ 160601 h 176817"/>
                <a:gd name="connsiteX2" fmla="*/ 238208 w 238359"/>
                <a:gd name="connsiteY2" fmla="*/ 59351 h 176817"/>
                <a:gd name="connsiteX3" fmla="*/ 8095 w 238359"/>
                <a:gd name="connsiteY3" fmla="*/ 4124 h 176817"/>
                <a:gd name="connsiteX4" fmla="*/ 8095 w 238359"/>
                <a:gd name="connsiteY4" fmla="*/ 47078 h 176817"/>
                <a:gd name="connsiteX5" fmla="*/ 1958 w 238359"/>
                <a:gd name="connsiteY5" fmla="*/ 96169 h 176817"/>
                <a:gd name="connsiteX6" fmla="*/ 20367 w 238359"/>
                <a:gd name="connsiteY6" fmla="*/ 123783 h 176817"/>
                <a:gd name="connsiteX7" fmla="*/ 54118 w 238359"/>
                <a:gd name="connsiteY7" fmla="*/ 157533 h 176817"/>
                <a:gd name="connsiteX8" fmla="*/ 87867 w 238359"/>
                <a:gd name="connsiteY8" fmla="*/ 169805 h 176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8359" h="176817">
                  <a:moveTo>
                    <a:pt x="87867" y="169805"/>
                  </a:moveTo>
                  <a:cubicBezTo>
                    <a:pt x="124685" y="172874"/>
                    <a:pt x="189117" y="188215"/>
                    <a:pt x="219799" y="160601"/>
                  </a:cubicBezTo>
                  <a:cubicBezTo>
                    <a:pt x="241276" y="142192"/>
                    <a:pt x="238208" y="59351"/>
                    <a:pt x="238208" y="59351"/>
                  </a:cubicBezTo>
                  <a:cubicBezTo>
                    <a:pt x="216731" y="-11217"/>
                    <a:pt x="66390" y="-2013"/>
                    <a:pt x="8095" y="4124"/>
                  </a:cubicBezTo>
                  <a:cubicBezTo>
                    <a:pt x="-1110" y="4124"/>
                    <a:pt x="-4178" y="44010"/>
                    <a:pt x="8095" y="47078"/>
                  </a:cubicBezTo>
                  <a:cubicBezTo>
                    <a:pt x="26504" y="53215"/>
                    <a:pt x="-1110" y="83896"/>
                    <a:pt x="1958" y="96169"/>
                  </a:cubicBezTo>
                  <a:cubicBezTo>
                    <a:pt x="5026" y="105374"/>
                    <a:pt x="20367" y="120715"/>
                    <a:pt x="20367" y="123783"/>
                  </a:cubicBezTo>
                  <a:cubicBezTo>
                    <a:pt x="29572" y="139124"/>
                    <a:pt x="51049" y="151396"/>
                    <a:pt x="54118" y="157533"/>
                  </a:cubicBezTo>
                  <a:cubicBezTo>
                    <a:pt x="57185" y="166737"/>
                    <a:pt x="63322" y="166737"/>
                    <a:pt x="87867" y="169805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0" name="任意多边形: 形状 299">
              <a:extLst>
                <a:ext uri="{FF2B5EF4-FFF2-40B4-BE49-F238E27FC236}">
                  <a16:creationId xmlns:a16="http://schemas.microsoft.com/office/drawing/2014/main" id="{9559D775-F89A-4529-930C-96B5977AF38A}"/>
                </a:ext>
              </a:extLst>
            </p:cNvPr>
            <p:cNvSpPr/>
            <p:nvPr/>
          </p:nvSpPr>
          <p:spPr>
            <a:xfrm>
              <a:off x="7020368" y="3391009"/>
              <a:ext cx="123935" cy="60299"/>
            </a:xfrm>
            <a:custGeom>
              <a:avLst/>
              <a:gdLst>
                <a:gd name="connsiteX0" fmla="*/ 4277 w 123935"/>
                <a:gd name="connsiteY0" fmla="*/ 24545 h 60299"/>
                <a:gd name="connsiteX1" fmla="*/ 84049 w 123935"/>
                <a:gd name="connsiteY1" fmla="*/ 0 h 60299"/>
                <a:gd name="connsiteX2" fmla="*/ 90186 w 123935"/>
                <a:gd name="connsiteY2" fmla="*/ 0 h 60299"/>
                <a:gd name="connsiteX3" fmla="*/ 102459 w 123935"/>
                <a:gd name="connsiteY3" fmla="*/ 0 h 60299"/>
                <a:gd name="connsiteX4" fmla="*/ 123936 w 123935"/>
                <a:gd name="connsiteY4" fmla="*/ 30682 h 60299"/>
                <a:gd name="connsiteX5" fmla="*/ 93254 w 123935"/>
                <a:gd name="connsiteY5" fmla="*/ 49091 h 60299"/>
                <a:gd name="connsiteX6" fmla="*/ 44163 w 123935"/>
                <a:gd name="connsiteY6" fmla="*/ 58295 h 60299"/>
                <a:gd name="connsiteX7" fmla="*/ 7345 w 123935"/>
                <a:gd name="connsiteY7" fmla="*/ 55227 h 60299"/>
                <a:gd name="connsiteX8" fmla="*/ 4277 w 123935"/>
                <a:gd name="connsiteY8" fmla="*/ 24545 h 60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3935" h="60299">
                  <a:moveTo>
                    <a:pt x="4277" y="24545"/>
                  </a:moveTo>
                  <a:cubicBezTo>
                    <a:pt x="22686" y="0"/>
                    <a:pt x="56436" y="3068"/>
                    <a:pt x="84049" y="0"/>
                  </a:cubicBezTo>
                  <a:cubicBezTo>
                    <a:pt x="87118" y="0"/>
                    <a:pt x="90186" y="0"/>
                    <a:pt x="90186" y="0"/>
                  </a:cubicBezTo>
                  <a:cubicBezTo>
                    <a:pt x="93254" y="0"/>
                    <a:pt x="99390" y="0"/>
                    <a:pt x="102459" y="0"/>
                  </a:cubicBezTo>
                  <a:cubicBezTo>
                    <a:pt x="114731" y="3068"/>
                    <a:pt x="123936" y="15341"/>
                    <a:pt x="123936" y="30682"/>
                  </a:cubicBezTo>
                  <a:cubicBezTo>
                    <a:pt x="120868" y="46023"/>
                    <a:pt x="105527" y="46023"/>
                    <a:pt x="93254" y="49091"/>
                  </a:cubicBezTo>
                  <a:cubicBezTo>
                    <a:pt x="77913" y="52159"/>
                    <a:pt x="62572" y="55227"/>
                    <a:pt x="44163" y="58295"/>
                  </a:cubicBezTo>
                  <a:cubicBezTo>
                    <a:pt x="31890" y="58295"/>
                    <a:pt x="19618" y="64432"/>
                    <a:pt x="7345" y="55227"/>
                  </a:cubicBezTo>
                  <a:cubicBezTo>
                    <a:pt x="-1860" y="46023"/>
                    <a:pt x="-1860" y="33750"/>
                    <a:pt x="4277" y="24545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1" name="任意多边形: 形状 300">
              <a:extLst>
                <a:ext uri="{FF2B5EF4-FFF2-40B4-BE49-F238E27FC236}">
                  <a16:creationId xmlns:a16="http://schemas.microsoft.com/office/drawing/2014/main" id="{B8E8EC5E-531B-4E50-A8EB-BD0A264E569A}"/>
                </a:ext>
              </a:extLst>
            </p:cNvPr>
            <p:cNvSpPr/>
            <p:nvPr/>
          </p:nvSpPr>
          <p:spPr>
            <a:xfrm>
              <a:off x="7046122" y="3433963"/>
              <a:ext cx="92045" cy="43721"/>
            </a:xfrm>
            <a:custGeom>
              <a:avLst/>
              <a:gdLst>
                <a:gd name="connsiteX0" fmla="*/ 3068 w 92045"/>
                <a:gd name="connsiteY0" fmla="*/ 18409 h 43721"/>
                <a:gd name="connsiteX1" fmla="*/ 61364 w 92045"/>
                <a:gd name="connsiteY1" fmla="*/ 0 h 43721"/>
                <a:gd name="connsiteX2" fmla="*/ 67500 w 92045"/>
                <a:gd name="connsiteY2" fmla="*/ 0 h 43721"/>
                <a:gd name="connsiteX3" fmla="*/ 76705 w 92045"/>
                <a:gd name="connsiteY3" fmla="*/ 0 h 43721"/>
                <a:gd name="connsiteX4" fmla="*/ 92046 w 92045"/>
                <a:gd name="connsiteY4" fmla="*/ 21477 h 43721"/>
                <a:gd name="connsiteX5" fmla="*/ 70568 w 92045"/>
                <a:gd name="connsiteY5" fmla="*/ 36818 h 43721"/>
                <a:gd name="connsiteX6" fmla="*/ 33750 w 92045"/>
                <a:gd name="connsiteY6" fmla="*/ 42955 h 43721"/>
                <a:gd name="connsiteX7" fmla="*/ 6136 w 92045"/>
                <a:gd name="connsiteY7" fmla="*/ 39886 h 43721"/>
                <a:gd name="connsiteX8" fmla="*/ 3068 w 92045"/>
                <a:gd name="connsiteY8" fmla="*/ 18409 h 43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045" h="43721">
                  <a:moveTo>
                    <a:pt x="3068" y="18409"/>
                  </a:moveTo>
                  <a:cubicBezTo>
                    <a:pt x="15341" y="0"/>
                    <a:pt x="39887" y="3068"/>
                    <a:pt x="61364" y="0"/>
                  </a:cubicBezTo>
                  <a:cubicBezTo>
                    <a:pt x="64432" y="0"/>
                    <a:pt x="64432" y="0"/>
                    <a:pt x="67500" y="0"/>
                  </a:cubicBezTo>
                  <a:cubicBezTo>
                    <a:pt x="70568" y="0"/>
                    <a:pt x="73636" y="0"/>
                    <a:pt x="76705" y="0"/>
                  </a:cubicBezTo>
                  <a:cubicBezTo>
                    <a:pt x="85909" y="3068"/>
                    <a:pt x="92046" y="12273"/>
                    <a:pt x="92046" y="21477"/>
                  </a:cubicBezTo>
                  <a:cubicBezTo>
                    <a:pt x="92046" y="30682"/>
                    <a:pt x="76705" y="33750"/>
                    <a:pt x="70568" y="36818"/>
                  </a:cubicBezTo>
                  <a:cubicBezTo>
                    <a:pt x="58295" y="39886"/>
                    <a:pt x="46023" y="42955"/>
                    <a:pt x="33750" y="42955"/>
                  </a:cubicBezTo>
                  <a:cubicBezTo>
                    <a:pt x="24546" y="42955"/>
                    <a:pt x="15341" y="46023"/>
                    <a:pt x="6136" y="39886"/>
                  </a:cubicBezTo>
                  <a:cubicBezTo>
                    <a:pt x="-3068" y="33750"/>
                    <a:pt x="0" y="24545"/>
                    <a:pt x="3068" y="18409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2" name="任意多边形: 形状 301">
              <a:extLst>
                <a:ext uri="{FF2B5EF4-FFF2-40B4-BE49-F238E27FC236}">
                  <a16:creationId xmlns:a16="http://schemas.microsoft.com/office/drawing/2014/main" id="{216794D6-019B-49FA-A735-41FFA1BF629D}"/>
                </a:ext>
              </a:extLst>
            </p:cNvPr>
            <p:cNvSpPr/>
            <p:nvPr/>
          </p:nvSpPr>
          <p:spPr>
            <a:xfrm>
              <a:off x="7013425" y="3388707"/>
              <a:ext cx="134353" cy="66732"/>
            </a:xfrm>
            <a:custGeom>
              <a:avLst/>
              <a:gdLst>
                <a:gd name="connsiteX0" fmla="*/ 35765 w 134353"/>
                <a:gd name="connsiteY0" fmla="*/ 66733 h 66732"/>
                <a:gd name="connsiteX1" fmla="*/ 17356 w 134353"/>
                <a:gd name="connsiteY1" fmla="*/ 66733 h 66732"/>
                <a:gd name="connsiteX2" fmla="*/ 2016 w 134353"/>
                <a:gd name="connsiteY2" fmla="*/ 51392 h 66732"/>
                <a:gd name="connsiteX3" fmla="*/ 5083 w 134353"/>
                <a:gd name="connsiteY3" fmla="*/ 23778 h 66732"/>
                <a:gd name="connsiteX4" fmla="*/ 14288 w 134353"/>
                <a:gd name="connsiteY4" fmla="*/ 23778 h 66732"/>
                <a:gd name="connsiteX5" fmla="*/ 14288 w 134353"/>
                <a:gd name="connsiteY5" fmla="*/ 32983 h 66732"/>
                <a:gd name="connsiteX6" fmla="*/ 14288 w 134353"/>
                <a:gd name="connsiteY6" fmla="*/ 48324 h 66732"/>
                <a:gd name="connsiteX7" fmla="*/ 20424 w 134353"/>
                <a:gd name="connsiteY7" fmla="*/ 57528 h 66732"/>
                <a:gd name="connsiteX8" fmla="*/ 109402 w 134353"/>
                <a:gd name="connsiteY8" fmla="*/ 45256 h 66732"/>
                <a:gd name="connsiteX9" fmla="*/ 121674 w 134353"/>
                <a:gd name="connsiteY9" fmla="*/ 32983 h 66732"/>
                <a:gd name="connsiteX10" fmla="*/ 112470 w 134353"/>
                <a:gd name="connsiteY10" fmla="*/ 11506 h 66732"/>
                <a:gd name="connsiteX11" fmla="*/ 112470 w 134353"/>
                <a:gd name="connsiteY11" fmla="*/ 2301 h 66732"/>
                <a:gd name="connsiteX12" fmla="*/ 121674 w 134353"/>
                <a:gd name="connsiteY12" fmla="*/ 2301 h 66732"/>
                <a:gd name="connsiteX13" fmla="*/ 133947 w 134353"/>
                <a:gd name="connsiteY13" fmla="*/ 32983 h 66732"/>
                <a:gd name="connsiteX14" fmla="*/ 112470 w 134353"/>
                <a:gd name="connsiteY14" fmla="*/ 54460 h 66732"/>
                <a:gd name="connsiteX15" fmla="*/ 35765 w 134353"/>
                <a:gd name="connsiteY15" fmla="*/ 66733 h 66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4353" h="66732">
                  <a:moveTo>
                    <a:pt x="35765" y="66733"/>
                  </a:moveTo>
                  <a:cubicBezTo>
                    <a:pt x="29629" y="66733"/>
                    <a:pt x="23493" y="66733"/>
                    <a:pt x="17356" y="66733"/>
                  </a:cubicBezTo>
                  <a:cubicBezTo>
                    <a:pt x="11220" y="63665"/>
                    <a:pt x="5083" y="60597"/>
                    <a:pt x="2016" y="51392"/>
                  </a:cubicBezTo>
                  <a:cubicBezTo>
                    <a:pt x="-1053" y="42188"/>
                    <a:pt x="-1053" y="29915"/>
                    <a:pt x="5083" y="23778"/>
                  </a:cubicBezTo>
                  <a:cubicBezTo>
                    <a:pt x="8152" y="20710"/>
                    <a:pt x="11220" y="20710"/>
                    <a:pt x="14288" y="23778"/>
                  </a:cubicBezTo>
                  <a:cubicBezTo>
                    <a:pt x="17356" y="26847"/>
                    <a:pt x="17356" y="29915"/>
                    <a:pt x="14288" y="32983"/>
                  </a:cubicBezTo>
                  <a:cubicBezTo>
                    <a:pt x="14288" y="36051"/>
                    <a:pt x="11220" y="42188"/>
                    <a:pt x="14288" y="48324"/>
                  </a:cubicBezTo>
                  <a:cubicBezTo>
                    <a:pt x="14288" y="51392"/>
                    <a:pt x="17356" y="54460"/>
                    <a:pt x="20424" y="57528"/>
                  </a:cubicBezTo>
                  <a:cubicBezTo>
                    <a:pt x="32697" y="60597"/>
                    <a:pt x="75652" y="57528"/>
                    <a:pt x="109402" y="45256"/>
                  </a:cubicBezTo>
                  <a:cubicBezTo>
                    <a:pt x="118607" y="42188"/>
                    <a:pt x="121674" y="39119"/>
                    <a:pt x="121674" y="32983"/>
                  </a:cubicBezTo>
                  <a:cubicBezTo>
                    <a:pt x="124743" y="23778"/>
                    <a:pt x="112470" y="11506"/>
                    <a:pt x="112470" y="11506"/>
                  </a:cubicBezTo>
                  <a:cubicBezTo>
                    <a:pt x="109402" y="8437"/>
                    <a:pt x="109402" y="5369"/>
                    <a:pt x="112470" y="2301"/>
                  </a:cubicBezTo>
                  <a:cubicBezTo>
                    <a:pt x="115538" y="-767"/>
                    <a:pt x="118607" y="-767"/>
                    <a:pt x="121674" y="2301"/>
                  </a:cubicBezTo>
                  <a:cubicBezTo>
                    <a:pt x="121674" y="2301"/>
                    <a:pt x="137015" y="17642"/>
                    <a:pt x="133947" y="32983"/>
                  </a:cubicBezTo>
                  <a:cubicBezTo>
                    <a:pt x="130879" y="42188"/>
                    <a:pt x="124743" y="48324"/>
                    <a:pt x="112470" y="54460"/>
                  </a:cubicBezTo>
                  <a:cubicBezTo>
                    <a:pt x="87925" y="63665"/>
                    <a:pt x="57243" y="66733"/>
                    <a:pt x="35765" y="66733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03" name="图形 1">
              <a:extLst>
                <a:ext uri="{FF2B5EF4-FFF2-40B4-BE49-F238E27FC236}">
                  <a16:creationId xmlns:a16="http://schemas.microsoft.com/office/drawing/2014/main" id="{0D323808-9636-430D-AD2B-F892808812C7}"/>
                </a:ext>
              </a:extLst>
            </p:cNvPr>
            <p:cNvGrpSpPr/>
            <p:nvPr/>
          </p:nvGrpSpPr>
          <p:grpSpPr>
            <a:xfrm>
              <a:off x="6727031" y="3369531"/>
              <a:ext cx="630248" cy="227045"/>
              <a:chOff x="6727031" y="3369531"/>
              <a:chExt cx="630248" cy="227045"/>
            </a:xfrm>
            <a:solidFill>
              <a:srgbClr val="38343B"/>
            </a:solidFill>
          </p:grpSpPr>
          <p:sp>
            <p:nvSpPr>
              <p:cNvPr id="304" name="任意多边形: 形状 303">
                <a:extLst>
                  <a:ext uri="{FF2B5EF4-FFF2-40B4-BE49-F238E27FC236}">
                    <a16:creationId xmlns:a16="http://schemas.microsoft.com/office/drawing/2014/main" id="{158C895B-088D-4670-AAC1-8A81E0F5A442}"/>
                  </a:ext>
                </a:extLst>
              </p:cNvPr>
              <p:cNvSpPr/>
              <p:nvPr/>
            </p:nvSpPr>
            <p:spPr>
              <a:xfrm>
                <a:off x="6727031" y="3498395"/>
                <a:ext cx="630248" cy="98181"/>
              </a:xfrm>
              <a:custGeom>
                <a:avLst/>
                <a:gdLst>
                  <a:gd name="connsiteX0" fmla="*/ 6137 w 630248"/>
                  <a:gd name="connsiteY0" fmla="*/ 98182 h 98181"/>
                  <a:gd name="connsiteX1" fmla="*/ 0 w 630248"/>
                  <a:gd name="connsiteY1" fmla="*/ 95114 h 98181"/>
                  <a:gd name="connsiteX2" fmla="*/ 3068 w 630248"/>
                  <a:gd name="connsiteY2" fmla="*/ 88977 h 98181"/>
                  <a:gd name="connsiteX3" fmla="*/ 343637 w 630248"/>
                  <a:gd name="connsiteY3" fmla="*/ 0 h 98181"/>
                  <a:gd name="connsiteX4" fmla="*/ 343637 w 630248"/>
                  <a:gd name="connsiteY4" fmla="*/ 0 h 98181"/>
                  <a:gd name="connsiteX5" fmla="*/ 625909 w 630248"/>
                  <a:gd name="connsiteY5" fmla="*/ 73636 h 98181"/>
                  <a:gd name="connsiteX6" fmla="*/ 628977 w 630248"/>
                  <a:gd name="connsiteY6" fmla="*/ 79773 h 98181"/>
                  <a:gd name="connsiteX7" fmla="*/ 622841 w 630248"/>
                  <a:gd name="connsiteY7" fmla="*/ 82841 h 98181"/>
                  <a:gd name="connsiteX8" fmla="*/ 340568 w 630248"/>
                  <a:gd name="connsiteY8" fmla="*/ 9205 h 98181"/>
                  <a:gd name="connsiteX9" fmla="*/ 6137 w 630248"/>
                  <a:gd name="connsiteY9" fmla="*/ 98182 h 98181"/>
                  <a:gd name="connsiteX10" fmla="*/ 6137 w 630248"/>
                  <a:gd name="connsiteY10" fmla="*/ 98182 h 98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30248" h="98181">
                    <a:moveTo>
                      <a:pt x="6137" y="98182"/>
                    </a:moveTo>
                    <a:cubicBezTo>
                      <a:pt x="3068" y="98182"/>
                      <a:pt x="0" y="95114"/>
                      <a:pt x="0" y="95114"/>
                    </a:cubicBezTo>
                    <a:cubicBezTo>
                      <a:pt x="0" y="92045"/>
                      <a:pt x="0" y="88977"/>
                      <a:pt x="3068" y="88977"/>
                    </a:cubicBezTo>
                    <a:lnTo>
                      <a:pt x="343637" y="0"/>
                    </a:lnTo>
                    <a:lnTo>
                      <a:pt x="343637" y="0"/>
                    </a:lnTo>
                    <a:lnTo>
                      <a:pt x="625909" y="73636"/>
                    </a:lnTo>
                    <a:cubicBezTo>
                      <a:pt x="628977" y="73636"/>
                      <a:pt x="632046" y="76705"/>
                      <a:pt x="628977" y="79773"/>
                    </a:cubicBezTo>
                    <a:cubicBezTo>
                      <a:pt x="628977" y="82841"/>
                      <a:pt x="625909" y="85909"/>
                      <a:pt x="622841" y="82841"/>
                    </a:cubicBezTo>
                    <a:lnTo>
                      <a:pt x="340568" y="9205"/>
                    </a:lnTo>
                    <a:lnTo>
                      <a:pt x="6137" y="98182"/>
                    </a:lnTo>
                    <a:cubicBezTo>
                      <a:pt x="9205" y="98182"/>
                      <a:pt x="9205" y="98182"/>
                      <a:pt x="6137" y="981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5" name="任意多边形: 形状 304">
                <a:extLst>
                  <a:ext uri="{FF2B5EF4-FFF2-40B4-BE49-F238E27FC236}">
                    <a16:creationId xmlns:a16="http://schemas.microsoft.com/office/drawing/2014/main" id="{DCBC1229-A67E-4069-94E1-8E1C633F54D9}"/>
                  </a:ext>
                </a:extLst>
              </p:cNvPr>
              <p:cNvSpPr/>
              <p:nvPr/>
            </p:nvSpPr>
            <p:spPr>
              <a:xfrm>
                <a:off x="7000099" y="3369531"/>
                <a:ext cx="128863" cy="138068"/>
              </a:xfrm>
              <a:custGeom>
                <a:avLst/>
                <a:gdLst>
                  <a:gd name="connsiteX0" fmla="*/ 73636 w 128863"/>
                  <a:gd name="connsiteY0" fmla="*/ 138068 h 138068"/>
                  <a:gd name="connsiteX1" fmla="*/ 70568 w 128863"/>
                  <a:gd name="connsiteY1" fmla="*/ 138068 h 138068"/>
                  <a:gd name="connsiteX2" fmla="*/ 70568 w 128863"/>
                  <a:gd name="connsiteY2" fmla="*/ 128864 h 138068"/>
                  <a:gd name="connsiteX3" fmla="*/ 116591 w 128863"/>
                  <a:gd name="connsiteY3" fmla="*/ 61364 h 138068"/>
                  <a:gd name="connsiteX4" fmla="*/ 101250 w 128863"/>
                  <a:gd name="connsiteY4" fmla="*/ 24545 h 138068"/>
                  <a:gd name="connsiteX5" fmla="*/ 64432 w 128863"/>
                  <a:gd name="connsiteY5" fmla="*/ 9205 h 138068"/>
                  <a:gd name="connsiteX6" fmla="*/ 64432 w 128863"/>
                  <a:gd name="connsiteY6" fmla="*/ 9205 h 138068"/>
                  <a:gd name="connsiteX7" fmla="*/ 12273 w 128863"/>
                  <a:gd name="connsiteY7" fmla="*/ 64432 h 138068"/>
                  <a:gd name="connsiteX8" fmla="*/ 12273 w 128863"/>
                  <a:gd name="connsiteY8" fmla="*/ 76705 h 138068"/>
                  <a:gd name="connsiteX9" fmla="*/ 6136 w 128863"/>
                  <a:gd name="connsiteY9" fmla="*/ 82841 h 138068"/>
                  <a:gd name="connsiteX10" fmla="*/ 6136 w 128863"/>
                  <a:gd name="connsiteY10" fmla="*/ 82841 h 138068"/>
                  <a:gd name="connsiteX11" fmla="*/ 0 w 128863"/>
                  <a:gd name="connsiteY11" fmla="*/ 76705 h 138068"/>
                  <a:gd name="connsiteX12" fmla="*/ 0 w 128863"/>
                  <a:gd name="connsiteY12" fmla="*/ 64432 h 138068"/>
                  <a:gd name="connsiteX13" fmla="*/ 64432 w 128863"/>
                  <a:gd name="connsiteY13" fmla="*/ 0 h 138068"/>
                  <a:gd name="connsiteX14" fmla="*/ 64432 w 128863"/>
                  <a:gd name="connsiteY14" fmla="*/ 0 h 138068"/>
                  <a:gd name="connsiteX15" fmla="*/ 128864 w 128863"/>
                  <a:gd name="connsiteY15" fmla="*/ 64432 h 138068"/>
                  <a:gd name="connsiteX16" fmla="*/ 128864 w 128863"/>
                  <a:gd name="connsiteY16" fmla="*/ 67500 h 138068"/>
                  <a:gd name="connsiteX17" fmla="*/ 79772 w 128863"/>
                  <a:gd name="connsiteY17" fmla="*/ 138068 h 138068"/>
                  <a:gd name="connsiteX18" fmla="*/ 73636 w 128863"/>
                  <a:gd name="connsiteY18" fmla="*/ 138068 h 138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8863" h="138068">
                    <a:moveTo>
                      <a:pt x="73636" y="138068"/>
                    </a:moveTo>
                    <a:cubicBezTo>
                      <a:pt x="73636" y="138068"/>
                      <a:pt x="70568" y="138068"/>
                      <a:pt x="70568" y="138068"/>
                    </a:cubicBezTo>
                    <a:cubicBezTo>
                      <a:pt x="67500" y="135000"/>
                      <a:pt x="67500" y="131932"/>
                      <a:pt x="70568" y="128864"/>
                    </a:cubicBezTo>
                    <a:lnTo>
                      <a:pt x="116591" y="61364"/>
                    </a:lnTo>
                    <a:cubicBezTo>
                      <a:pt x="116591" y="49091"/>
                      <a:pt x="110454" y="33750"/>
                      <a:pt x="101250" y="24545"/>
                    </a:cubicBezTo>
                    <a:cubicBezTo>
                      <a:pt x="92045" y="15341"/>
                      <a:pt x="76705" y="9205"/>
                      <a:pt x="64432" y="9205"/>
                    </a:cubicBezTo>
                    <a:cubicBezTo>
                      <a:pt x="64432" y="9205"/>
                      <a:pt x="64432" y="9205"/>
                      <a:pt x="64432" y="9205"/>
                    </a:cubicBezTo>
                    <a:cubicBezTo>
                      <a:pt x="33750" y="9205"/>
                      <a:pt x="12273" y="33750"/>
                      <a:pt x="12273" y="64432"/>
                    </a:cubicBezTo>
                    <a:lnTo>
                      <a:pt x="12273" y="76705"/>
                    </a:lnTo>
                    <a:cubicBezTo>
                      <a:pt x="12273" y="79773"/>
                      <a:pt x="9205" y="82841"/>
                      <a:pt x="6136" y="82841"/>
                    </a:cubicBezTo>
                    <a:cubicBezTo>
                      <a:pt x="6136" y="82841"/>
                      <a:pt x="6136" y="82841"/>
                      <a:pt x="6136" y="82841"/>
                    </a:cubicBezTo>
                    <a:cubicBezTo>
                      <a:pt x="3068" y="82841"/>
                      <a:pt x="0" y="79773"/>
                      <a:pt x="0" y="76705"/>
                    </a:cubicBezTo>
                    <a:lnTo>
                      <a:pt x="0" y="64432"/>
                    </a:lnTo>
                    <a:cubicBezTo>
                      <a:pt x="0" y="27614"/>
                      <a:pt x="27613" y="0"/>
                      <a:pt x="64432" y="0"/>
                    </a:cubicBezTo>
                    <a:cubicBezTo>
                      <a:pt x="64432" y="0"/>
                      <a:pt x="64432" y="0"/>
                      <a:pt x="64432" y="0"/>
                    </a:cubicBezTo>
                    <a:cubicBezTo>
                      <a:pt x="98182" y="0"/>
                      <a:pt x="128864" y="27614"/>
                      <a:pt x="128864" y="64432"/>
                    </a:cubicBezTo>
                    <a:lnTo>
                      <a:pt x="128864" y="67500"/>
                    </a:lnTo>
                    <a:lnTo>
                      <a:pt x="79772" y="138068"/>
                    </a:lnTo>
                    <a:cubicBezTo>
                      <a:pt x="76705" y="135000"/>
                      <a:pt x="73636" y="138068"/>
                      <a:pt x="73636" y="1380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06" name="任意多边形: 形状 305">
              <a:extLst>
                <a:ext uri="{FF2B5EF4-FFF2-40B4-BE49-F238E27FC236}">
                  <a16:creationId xmlns:a16="http://schemas.microsoft.com/office/drawing/2014/main" id="{83DF734D-6302-408B-9DCA-7E7D8731FCE2}"/>
                </a:ext>
              </a:extLst>
            </p:cNvPr>
            <p:cNvSpPr/>
            <p:nvPr/>
          </p:nvSpPr>
          <p:spPr>
            <a:xfrm>
              <a:off x="6968992" y="3310377"/>
              <a:ext cx="145102" cy="69893"/>
            </a:xfrm>
            <a:custGeom>
              <a:avLst/>
              <a:gdLst>
                <a:gd name="connsiteX0" fmla="*/ 6561 w 145102"/>
                <a:gd name="connsiteY0" fmla="*/ 25404 h 69893"/>
                <a:gd name="connsiteX1" fmla="*/ 92470 w 145102"/>
                <a:gd name="connsiteY1" fmla="*/ 3927 h 69893"/>
                <a:gd name="connsiteX2" fmla="*/ 104743 w 145102"/>
                <a:gd name="connsiteY2" fmla="*/ 859 h 69893"/>
                <a:gd name="connsiteX3" fmla="*/ 120084 w 145102"/>
                <a:gd name="connsiteY3" fmla="*/ 3927 h 69893"/>
                <a:gd name="connsiteX4" fmla="*/ 144629 w 145102"/>
                <a:gd name="connsiteY4" fmla="*/ 37677 h 69893"/>
                <a:gd name="connsiteX5" fmla="*/ 107811 w 145102"/>
                <a:gd name="connsiteY5" fmla="*/ 59155 h 69893"/>
                <a:gd name="connsiteX6" fmla="*/ 52584 w 145102"/>
                <a:gd name="connsiteY6" fmla="*/ 68359 h 69893"/>
                <a:gd name="connsiteX7" fmla="*/ 9630 w 145102"/>
                <a:gd name="connsiteY7" fmla="*/ 62223 h 69893"/>
                <a:gd name="connsiteX8" fmla="*/ 6561 w 145102"/>
                <a:gd name="connsiteY8" fmla="*/ 25404 h 69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102" h="69893">
                  <a:moveTo>
                    <a:pt x="6561" y="25404"/>
                  </a:moveTo>
                  <a:cubicBezTo>
                    <a:pt x="24970" y="6995"/>
                    <a:pt x="58720" y="10064"/>
                    <a:pt x="92470" y="3927"/>
                  </a:cubicBezTo>
                  <a:cubicBezTo>
                    <a:pt x="95538" y="3927"/>
                    <a:pt x="104743" y="-2209"/>
                    <a:pt x="104743" y="859"/>
                  </a:cubicBezTo>
                  <a:cubicBezTo>
                    <a:pt x="110879" y="859"/>
                    <a:pt x="113948" y="859"/>
                    <a:pt x="120084" y="3927"/>
                  </a:cubicBezTo>
                  <a:cubicBezTo>
                    <a:pt x="135425" y="10064"/>
                    <a:pt x="147698" y="25404"/>
                    <a:pt x="144629" y="37677"/>
                  </a:cubicBezTo>
                  <a:cubicBezTo>
                    <a:pt x="141561" y="53018"/>
                    <a:pt x="123152" y="56086"/>
                    <a:pt x="107811" y="59155"/>
                  </a:cubicBezTo>
                  <a:cubicBezTo>
                    <a:pt x="89402" y="62223"/>
                    <a:pt x="70993" y="65291"/>
                    <a:pt x="52584" y="68359"/>
                  </a:cubicBezTo>
                  <a:cubicBezTo>
                    <a:pt x="40311" y="68359"/>
                    <a:pt x="21902" y="74495"/>
                    <a:pt x="9630" y="62223"/>
                  </a:cubicBezTo>
                  <a:cubicBezTo>
                    <a:pt x="-2643" y="49950"/>
                    <a:pt x="-2643" y="34609"/>
                    <a:pt x="6561" y="25404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7" name="任意多边形: 形状 306">
              <a:extLst>
                <a:ext uri="{FF2B5EF4-FFF2-40B4-BE49-F238E27FC236}">
                  <a16:creationId xmlns:a16="http://schemas.microsoft.com/office/drawing/2014/main" id="{AA6058FE-EF15-4D37-BA20-2E673A5A564C}"/>
                </a:ext>
              </a:extLst>
            </p:cNvPr>
            <p:cNvSpPr/>
            <p:nvPr/>
          </p:nvSpPr>
          <p:spPr>
            <a:xfrm>
              <a:off x="6999136" y="3348054"/>
              <a:ext cx="145640" cy="69034"/>
            </a:xfrm>
            <a:custGeom>
              <a:avLst/>
              <a:gdLst>
                <a:gd name="connsiteX0" fmla="*/ 4031 w 145640"/>
                <a:gd name="connsiteY0" fmla="*/ 27614 h 69034"/>
                <a:gd name="connsiteX1" fmla="*/ 96076 w 145640"/>
                <a:gd name="connsiteY1" fmla="*/ 0 h 69034"/>
                <a:gd name="connsiteX2" fmla="*/ 105281 w 145640"/>
                <a:gd name="connsiteY2" fmla="*/ 0 h 69034"/>
                <a:gd name="connsiteX3" fmla="*/ 120622 w 145640"/>
                <a:gd name="connsiteY3" fmla="*/ 3068 h 69034"/>
                <a:gd name="connsiteX4" fmla="*/ 145167 w 145640"/>
                <a:gd name="connsiteY4" fmla="*/ 36818 h 69034"/>
                <a:gd name="connsiteX5" fmla="*/ 108349 w 145640"/>
                <a:gd name="connsiteY5" fmla="*/ 58296 h 69034"/>
                <a:gd name="connsiteX6" fmla="*/ 53122 w 145640"/>
                <a:gd name="connsiteY6" fmla="*/ 67500 h 69034"/>
                <a:gd name="connsiteX7" fmla="*/ 10167 w 145640"/>
                <a:gd name="connsiteY7" fmla="*/ 61364 h 69034"/>
                <a:gd name="connsiteX8" fmla="*/ 4031 w 145640"/>
                <a:gd name="connsiteY8" fmla="*/ 27614 h 69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640" h="69034">
                  <a:moveTo>
                    <a:pt x="4031" y="27614"/>
                  </a:moveTo>
                  <a:cubicBezTo>
                    <a:pt x="22440" y="0"/>
                    <a:pt x="62326" y="6136"/>
                    <a:pt x="96076" y="0"/>
                  </a:cubicBezTo>
                  <a:cubicBezTo>
                    <a:pt x="99144" y="0"/>
                    <a:pt x="102213" y="0"/>
                    <a:pt x="105281" y="0"/>
                  </a:cubicBezTo>
                  <a:cubicBezTo>
                    <a:pt x="111417" y="0"/>
                    <a:pt x="114485" y="0"/>
                    <a:pt x="120622" y="3068"/>
                  </a:cubicBezTo>
                  <a:cubicBezTo>
                    <a:pt x="135963" y="9205"/>
                    <a:pt x="148236" y="24545"/>
                    <a:pt x="145167" y="36818"/>
                  </a:cubicBezTo>
                  <a:cubicBezTo>
                    <a:pt x="142099" y="52159"/>
                    <a:pt x="123690" y="55227"/>
                    <a:pt x="108349" y="58296"/>
                  </a:cubicBezTo>
                  <a:cubicBezTo>
                    <a:pt x="89940" y="61364"/>
                    <a:pt x="71531" y="64432"/>
                    <a:pt x="53122" y="67500"/>
                  </a:cubicBezTo>
                  <a:cubicBezTo>
                    <a:pt x="40849" y="67500"/>
                    <a:pt x="22440" y="73636"/>
                    <a:pt x="10167" y="61364"/>
                  </a:cubicBezTo>
                  <a:cubicBezTo>
                    <a:pt x="-2106" y="52159"/>
                    <a:pt x="-2106" y="36818"/>
                    <a:pt x="4031" y="27614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8" name="任意多边形: 形状 307">
              <a:extLst>
                <a:ext uri="{FF2B5EF4-FFF2-40B4-BE49-F238E27FC236}">
                  <a16:creationId xmlns:a16="http://schemas.microsoft.com/office/drawing/2014/main" id="{6CAEF1A4-C10F-4915-99AA-0A4859AD6541}"/>
                </a:ext>
              </a:extLst>
            </p:cNvPr>
            <p:cNvSpPr/>
            <p:nvPr/>
          </p:nvSpPr>
          <p:spPr>
            <a:xfrm>
              <a:off x="6989624" y="3309300"/>
              <a:ext cx="164676" cy="109322"/>
            </a:xfrm>
            <a:custGeom>
              <a:avLst/>
              <a:gdLst>
                <a:gd name="connsiteX0" fmla="*/ 53430 w 164676"/>
                <a:gd name="connsiteY0" fmla="*/ 109323 h 109322"/>
                <a:gd name="connsiteX1" fmla="*/ 4339 w 164676"/>
                <a:gd name="connsiteY1" fmla="*/ 87845 h 109322"/>
                <a:gd name="connsiteX2" fmla="*/ 1271 w 164676"/>
                <a:gd name="connsiteY2" fmla="*/ 66368 h 109322"/>
                <a:gd name="connsiteX3" fmla="*/ 13544 w 164676"/>
                <a:gd name="connsiteY3" fmla="*/ 60232 h 109322"/>
                <a:gd name="connsiteX4" fmla="*/ 114794 w 164676"/>
                <a:gd name="connsiteY4" fmla="*/ 38754 h 109322"/>
                <a:gd name="connsiteX5" fmla="*/ 117862 w 164676"/>
                <a:gd name="connsiteY5" fmla="*/ 23414 h 109322"/>
                <a:gd name="connsiteX6" fmla="*/ 111726 w 164676"/>
                <a:gd name="connsiteY6" fmla="*/ 14209 h 109322"/>
                <a:gd name="connsiteX7" fmla="*/ 22748 w 164676"/>
                <a:gd name="connsiteY7" fmla="*/ 20345 h 109322"/>
                <a:gd name="connsiteX8" fmla="*/ 16612 w 164676"/>
                <a:gd name="connsiteY8" fmla="*/ 17277 h 109322"/>
                <a:gd name="connsiteX9" fmla="*/ 19680 w 164676"/>
                <a:gd name="connsiteY9" fmla="*/ 11141 h 109322"/>
                <a:gd name="connsiteX10" fmla="*/ 120930 w 164676"/>
                <a:gd name="connsiteY10" fmla="*/ 8073 h 109322"/>
                <a:gd name="connsiteX11" fmla="*/ 133203 w 164676"/>
                <a:gd name="connsiteY11" fmla="*/ 23414 h 109322"/>
                <a:gd name="connsiteX12" fmla="*/ 133203 w 164676"/>
                <a:gd name="connsiteY12" fmla="*/ 35686 h 109322"/>
                <a:gd name="connsiteX13" fmla="*/ 163885 w 164676"/>
                <a:gd name="connsiteY13" fmla="*/ 69436 h 109322"/>
                <a:gd name="connsiteX14" fmla="*/ 111726 w 164676"/>
                <a:gd name="connsiteY14" fmla="*/ 106254 h 109322"/>
                <a:gd name="connsiteX15" fmla="*/ 53430 w 164676"/>
                <a:gd name="connsiteY15" fmla="*/ 109323 h 109322"/>
                <a:gd name="connsiteX16" fmla="*/ 13544 w 164676"/>
                <a:gd name="connsiteY16" fmla="*/ 72504 h 109322"/>
                <a:gd name="connsiteX17" fmla="*/ 13544 w 164676"/>
                <a:gd name="connsiteY17" fmla="*/ 72504 h 109322"/>
                <a:gd name="connsiteX18" fmla="*/ 13544 w 164676"/>
                <a:gd name="connsiteY18" fmla="*/ 84777 h 109322"/>
                <a:gd name="connsiteX19" fmla="*/ 99453 w 164676"/>
                <a:gd name="connsiteY19" fmla="*/ 93982 h 109322"/>
                <a:gd name="connsiteX20" fmla="*/ 142408 w 164676"/>
                <a:gd name="connsiteY20" fmla="*/ 72504 h 109322"/>
                <a:gd name="connsiteX21" fmla="*/ 117862 w 164676"/>
                <a:gd name="connsiteY21" fmla="*/ 47959 h 109322"/>
                <a:gd name="connsiteX22" fmla="*/ 117862 w 164676"/>
                <a:gd name="connsiteY22" fmla="*/ 47959 h 109322"/>
                <a:gd name="connsiteX23" fmla="*/ 13544 w 164676"/>
                <a:gd name="connsiteY23" fmla="*/ 72504 h 10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64676" h="109322">
                  <a:moveTo>
                    <a:pt x="53430" y="109323"/>
                  </a:moveTo>
                  <a:cubicBezTo>
                    <a:pt x="25817" y="109323"/>
                    <a:pt x="10476" y="103186"/>
                    <a:pt x="4339" y="87845"/>
                  </a:cubicBezTo>
                  <a:cubicBezTo>
                    <a:pt x="1271" y="78641"/>
                    <a:pt x="-1797" y="72504"/>
                    <a:pt x="1271" y="66368"/>
                  </a:cubicBezTo>
                  <a:cubicBezTo>
                    <a:pt x="4339" y="60232"/>
                    <a:pt x="10476" y="60232"/>
                    <a:pt x="13544" y="60232"/>
                  </a:cubicBezTo>
                  <a:cubicBezTo>
                    <a:pt x="71839" y="57163"/>
                    <a:pt x="105589" y="47959"/>
                    <a:pt x="114794" y="38754"/>
                  </a:cubicBezTo>
                  <a:cubicBezTo>
                    <a:pt x="117862" y="35686"/>
                    <a:pt x="117862" y="29550"/>
                    <a:pt x="117862" y="23414"/>
                  </a:cubicBezTo>
                  <a:cubicBezTo>
                    <a:pt x="117862" y="20345"/>
                    <a:pt x="114794" y="17277"/>
                    <a:pt x="111726" y="14209"/>
                  </a:cubicBezTo>
                  <a:cubicBezTo>
                    <a:pt x="93316" y="1936"/>
                    <a:pt x="41157" y="14209"/>
                    <a:pt x="22748" y="20345"/>
                  </a:cubicBezTo>
                  <a:cubicBezTo>
                    <a:pt x="19680" y="20345"/>
                    <a:pt x="16612" y="20345"/>
                    <a:pt x="16612" y="17277"/>
                  </a:cubicBezTo>
                  <a:cubicBezTo>
                    <a:pt x="16612" y="14209"/>
                    <a:pt x="16612" y="11141"/>
                    <a:pt x="19680" y="11141"/>
                  </a:cubicBezTo>
                  <a:cubicBezTo>
                    <a:pt x="25817" y="8073"/>
                    <a:pt x="93316" y="-10336"/>
                    <a:pt x="120930" y="8073"/>
                  </a:cubicBezTo>
                  <a:cubicBezTo>
                    <a:pt x="127067" y="11141"/>
                    <a:pt x="130135" y="17277"/>
                    <a:pt x="133203" y="23414"/>
                  </a:cubicBezTo>
                  <a:cubicBezTo>
                    <a:pt x="133203" y="26482"/>
                    <a:pt x="133203" y="29550"/>
                    <a:pt x="133203" y="35686"/>
                  </a:cubicBezTo>
                  <a:cubicBezTo>
                    <a:pt x="136271" y="38754"/>
                    <a:pt x="160816" y="51027"/>
                    <a:pt x="163885" y="69436"/>
                  </a:cubicBezTo>
                  <a:cubicBezTo>
                    <a:pt x="170021" y="93982"/>
                    <a:pt x="139339" y="100118"/>
                    <a:pt x="111726" y="106254"/>
                  </a:cubicBezTo>
                  <a:cubicBezTo>
                    <a:pt x="84112" y="109323"/>
                    <a:pt x="68771" y="109323"/>
                    <a:pt x="53430" y="109323"/>
                  </a:cubicBezTo>
                  <a:close/>
                  <a:moveTo>
                    <a:pt x="13544" y="72504"/>
                  </a:moveTo>
                  <a:cubicBezTo>
                    <a:pt x="13544" y="72504"/>
                    <a:pt x="13544" y="72504"/>
                    <a:pt x="13544" y="72504"/>
                  </a:cubicBezTo>
                  <a:cubicBezTo>
                    <a:pt x="10476" y="75573"/>
                    <a:pt x="10476" y="78641"/>
                    <a:pt x="13544" y="84777"/>
                  </a:cubicBezTo>
                  <a:cubicBezTo>
                    <a:pt x="19680" y="100118"/>
                    <a:pt x="53430" y="103186"/>
                    <a:pt x="99453" y="93982"/>
                  </a:cubicBezTo>
                  <a:cubicBezTo>
                    <a:pt x="136271" y="84777"/>
                    <a:pt x="145475" y="81709"/>
                    <a:pt x="142408" y="72504"/>
                  </a:cubicBezTo>
                  <a:cubicBezTo>
                    <a:pt x="139339" y="63300"/>
                    <a:pt x="127067" y="51027"/>
                    <a:pt x="117862" y="47959"/>
                  </a:cubicBezTo>
                  <a:cubicBezTo>
                    <a:pt x="117862" y="47959"/>
                    <a:pt x="117862" y="47959"/>
                    <a:pt x="117862" y="47959"/>
                  </a:cubicBezTo>
                  <a:cubicBezTo>
                    <a:pt x="114794" y="54095"/>
                    <a:pt x="96385" y="69436"/>
                    <a:pt x="13544" y="72504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9" name="任意多边形: 形状 308">
              <a:extLst>
                <a:ext uri="{FF2B5EF4-FFF2-40B4-BE49-F238E27FC236}">
                  <a16:creationId xmlns:a16="http://schemas.microsoft.com/office/drawing/2014/main" id="{F8292301-6460-4E3B-B0EC-B91035ACE643}"/>
                </a:ext>
              </a:extLst>
            </p:cNvPr>
            <p:cNvSpPr/>
            <p:nvPr/>
          </p:nvSpPr>
          <p:spPr>
            <a:xfrm>
              <a:off x="7078848" y="3321565"/>
              <a:ext cx="130313" cy="97143"/>
            </a:xfrm>
            <a:custGeom>
              <a:avLst/>
              <a:gdLst>
                <a:gd name="connsiteX0" fmla="*/ 7160 w 130313"/>
                <a:gd name="connsiteY0" fmla="*/ 84784 h 97143"/>
                <a:gd name="connsiteX1" fmla="*/ 28637 w 130313"/>
                <a:gd name="connsiteY1" fmla="*/ 69444 h 97143"/>
                <a:gd name="connsiteX2" fmla="*/ 83865 w 130313"/>
                <a:gd name="connsiteY2" fmla="*/ 54103 h 97143"/>
                <a:gd name="connsiteX3" fmla="*/ 126819 w 130313"/>
                <a:gd name="connsiteY3" fmla="*/ 97057 h 97143"/>
                <a:gd name="connsiteX4" fmla="*/ 117615 w 130313"/>
                <a:gd name="connsiteY4" fmla="*/ 11148 h 97143"/>
                <a:gd name="connsiteX5" fmla="*/ 22501 w 130313"/>
                <a:gd name="connsiteY5" fmla="*/ 14216 h 97143"/>
                <a:gd name="connsiteX6" fmla="*/ 7160 w 130313"/>
                <a:gd name="connsiteY6" fmla="*/ 84784 h 9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0313" h="97143">
                  <a:moveTo>
                    <a:pt x="7160" y="84784"/>
                  </a:moveTo>
                  <a:cubicBezTo>
                    <a:pt x="16364" y="90921"/>
                    <a:pt x="22501" y="72512"/>
                    <a:pt x="28637" y="69444"/>
                  </a:cubicBezTo>
                  <a:cubicBezTo>
                    <a:pt x="47046" y="57171"/>
                    <a:pt x="59319" y="51034"/>
                    <a:pt x="83865" y="54103"/>
                  </a:cubicBezTo>
                  <a:cubicBezTo>
                    <a:pt x="96137" y="57171"/>
                    <a:pt x="77728" y="84784"/>
                    <a:pt x="126819" y="97057"/>
                  </a:cubicBezTo>
                  <a:cubicBezTo>
                    <a:pt x="129888" y="100125"/>
                    <a:pt x="136024" y="20353"/>
                    <a:pt x="117615" y="11148"/>
                  </a:cubicBezTo>
                  <a:cubicBezTo>
                    <a:pt x="93069" y="-1125"/>
                    <a:pt x="43978" y="-7261"/>
                    <a:pt x="22501" y="14216"/>
                  </a:cubicBezTo>
                  <a:cubicBezTo>
                    <a:pt x="10228" y="23421"/>
                    <a:pt x="-11249" y="72512"/>
                    <a:pt x="7160" y="84784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0" name="任意多边形: 形状 309">
              <a:extLst>
                <a:ext uri="{FF2B5EF4-FFF2-40B4-BE49-F238E27FC236}">
                  <a16:creationId xmlns:a16="http://schemas.microsoft.com/office/drawing/2014/main" id="{A05FF6C7-A673-4F7E-86D5-44B4E8E55AFC}"/>
                </a:ext>
              </a:extLst>
            </p:cNvPr>
            <p:cNvSpPr/>
            <p:nvPr/>
          </p:nvSpPr>
          <p:spPr>
            <a:xfrm>
              <a:off x="7068774" y="3317450"/>
              <a:ext cx="128959" cy="104240"/>
            </a:xfrm>
            <a:custGeom>
              <a:avLst/>
              <a:gdLst>
                <a:gd name="connsiteX0" fmla="*/ 112348 w 128959"/>
                <a:gd name="connsiteY0" fmla="*/ 101172 h 104240"/>
                <a:gd name="connsiteX1" fmla="*/ 112348 w 128959"/>
                <a:gd name="connsiteY1" fmla="*/ 101172 h 104240"/>
                <a:gd name="connsiteX2" fmla="*/ 84734 w 128959"/>
                <a:gd name="connsiteY2" fmla="*/ 64354 h 104240"/>
                <a:gd name="connsiteX3" fmla="*/ 38711 w 128959"/>
                <a:gd name="connsiteY3" fmla="*/ 82763 h 104240"/>
                <a:gd name="connsiteX4" fmla="*/ 14166 w 128959"/>
                <a:gd name="connsiteY4" fmla="*/ 95036 h 104240"/>
                <a:gd name="connsiteX5" fmla="*/ 1893 w 128959"/>
                <a:gd name="connsiteY5" fmla="*/ 82763 h 104240"/>
                <a:gd name="connsiteX6" fmla="*/ 23371 w 128959"/>
                <a:gd name="connsiteY6" fmla="*/ 15263 h 104240"/>
                <a:gd name="connsiteX7" fmla="*/ 124621 w 128959"/>
                <a:gd name="connsiteY7" fmla="*/ 12195 h 104240"/>
                <a:gd name="connsiteX8" fmla="*/ 127689 w 128959"/>
                <a:gd name="connsiteY8" fmla="*/ 21399 h 104240"/>
                <a:gd name="connsiteX9" fmla="*/ 118484 w 128959"/>
                <a:gd name="connsiteY9" fmla="*/ 24468 h 104240"/>
                <a:gd name="connsiteX10" fmla="*/ 29507 w 128959"/>
                <a:gd name="connsiteY10" fmla="*/ 24468 h 104240"/>
                <a:gd name="connsiteX11" fmla="*/ 8030 w 128959"/>
                <a:gd name="connsiteY11" fmla="*/ 82763 h 104240"/>
                <a:gd name="connsiteX12" fmla="*/ 11098 w 128959"/>
                <a:gd name="connsiteY12" fmla="*/ 85831 h 104240"/>
                <a:gd name="connsiteX13" fmla="*/ 26438 w 128959"/>
                <a:gd name="connsiteY13" fmla="*/ 76627 h 104240"/>
                <a:gd name="connsiteX14" fmla="*/ 87802 w 128959"/>
                <a:gd name="connsiteY14" fmla="*/ 55149 h 104240"/>
                <a:gd name="connsiteX15" fmla="*/ 90870 w 128959"/>
                <a:gd name="connsiteY15" fmla="*/ 61286 h 104240"/>
                <a:gd name="connsiteX16" fmla="*/ 109280 w 128959"/>
                <a:gd name="connsiteY16" fmla="*/ 95036 h 104240"/>
                <a:gd name="connsiteX17" fmla="*/ 112348 w 128959"/>
                <a:gd name="connsiteY17" fmla="*/ 104240 h 104240"/>
                <a:gd name="connsiteX18" fmla="*/ 112348 w 128959"/>
                <a:gd name="connsiteY18" fmla="*/ 101172 h 104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8959" h="104240">
                  <a:moveTo>
                    <a:pt x="112348" y="101172"/>
                  </a:moveTo>
                  <a:cubicBezTo>
                    <a:pt x="112348" y="101172"/>
                    <a:pt x="112348" y="101172"/>
                    <a:pt x="112348" y="101172"/>
                  </a:cubicBezTo>
                  <a:cubicBezTo>
                    <a:pt x="93939" y="91968"/>
                    <a:pt x="87802" y="73559"/>
                    <a:pt x="84734" y="64354"/>
                  </a:cubicBezTo>
                  <a:cubicBezTo>
                    <a:pt x="63257" y="61286"/>
                    <a:pt x="50984" y="73559"/>
                    <a:pt x="38711" y="82763"/>
                  </a:cubicBezTo>
                  <a:cubicBezTo>
                    <a:pt x="29507" y="88899"/>
                    <a:pt x="23371" y="98104"/>
                    <a:pt x="14166" y="95036"/>
                  </a:cubicBezTo>
                  <a:cubicBezTo>
                    <a:pt x="8030" y="95036"/>
                    <a:pt x="4961" y="88899"/>
                    <a:pt x="1893" y="82763"/>
                  </a:cubicBezTo>
                  <a:cubicBezTo>
                    <a:pt x="-4243" y="67422"/>
                    <a:pt x="4961" y="36740"/>
                    <a:pt x="23371" y="15263"/>
                  </a:cubicBezTo>
                  <a:cubicBezTo>
                    <a:pt x="50984" y="-15419"/>
                    <a:pt x="121552" y="9127"/>
                    <a:pt x="124621" y="12195"/>
                  </a:cubicBezTo>
                  <a:cubicBezTo>
                    <a:pt x="127689" y="12195"/>
                    <a:pt x="130757" y="18331"/>
                    <a:pt x="127689" y="21399"/>
                  </a:cubicBezTo>
                  <a:cubicBezTo>
                    <a:pt x="127689" y="24468"/>
                    <a:pt x="124621" y="24468"/>
                    <a:pt x="118484" y="24468"/>
                  </a:cubicBezTo>
                  <a:cubicBezTo>
                    <a:pt x="100075" y="18331"/>
                    <a:pt x="47916" y="2990"/>
                    <a:pt x="29507" y="24468"/>
                  </a:cubicBezTo>
                  <a:cubicBezTo>
                    <a:pt x="11098" y="45945"/>
                    <a:pt x="4961" y="70490"/>
                    <a:pt x="8030" y="82763"/>
                  </a:cubicBezTo>
                  <a:cubicBezTo>
                    <a:pt x="8030" y="85831"/>
                    <a:pt x="11098" y="85831"/>
                    <a:pt x="11098" y="85831"/>
                  </a:cubicBezTo>
                  <a:cubicBezTo>
                    <a:pt x="14166" y="85831"/>
                    <a:pt x="20302" y="79695"/>
                    <a:pt x="26438" y="76627"/>
                  </a:cubicBezTo>
                  <a:cubicBezTo>
                    <a:pt x="38711" y="64354"/>
                    <a:pt x="57120" y="49013"/>
                    <a:pt x="87802" y="55149"/>
                  </a:cubicBezTo>
                  <a:cubicBezTo>
                    <a:pt x="90870" y="55149"/>
                    <a:pt x="90870" y="58218"/>
                    <a:pt x="90870" y="61286"/>
                  </a:cubicBezTo>
                  <a:cubicBezTo>
                    <a:pt x="90870" y="67422"/>
                    <a:pt x="97007" y="88899"/>
                    <a:pt x="109280" y="95036"/>
                  </a:cubicBezTo>
                  <a:cubicBezTo>
                    <a:pt x="112348" y="95036"/>
                    <a:pt x="112348" y="101172"/>
                    <a:pt x="112348" y="104240"/>
                  </a:cubicBezTo>
                  <a:cubicBezTo>
                    <a:pt x="118484" y="101172"/>
                    <a:pt x="115416" y="101172"/>
                    <a:pt x="112348" y="101172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1" name="图形 1">
              <a:extLst>
                <a:ext uri="{FF2B5EF4-FFF2-40B4-BE49-F238E27FC236}">
                  <a16:creationId xmlns:a16="http://schemas.microsoft.com/office/drawing/2014/main" id="{0D323808-9636-430D-AD2B-F892808812C7}"/>
                </a:ext>
              </a:extLst>
            </p:cNvPr>
            <p:cNvGrpSpPr/>
            <p:nvPr/>
          </p:nvGrpSpPr>
          <p:grpSpPr>
            <a:xfrm>
              <a:off x="6573622" y="3538281"/>
              <a:ext cx="1000227" cy="831477"/>
              <a:chOff x="6573622" y="3538281"/>
              <a:chExt cx="1000227" cy="831477"/>
            </a:xfrm>
          </p:grpSpPr>
          <p:sp>
            <p:nvSpPr>
              <p:cNvPr id="312" name="任意多边形: 形状 311">
                <a:extLst>
                  <a:ext uri="{FF2B5EF4-FFF2-40B4-BE49-F238E27FC236}">
                    <a16:creationId xmlns:a16="http://schemas.microsoft.com/office/drawing/2014/main" id="{733A6987-F2F4-49E4-A6A8-8CA59CC695E9}"/>
                  </a:ext>
                </a:extLst>
              </p:cNvPr>
              <p:cNvSpPr/>
              <p:nvPr/>
            </p:nvSpPr>
            <p:spPr>
              <a:xfrm>
                <a:off x="6573622" y="3538281"/>
                <a:ext cx="1000227" cy="831477"/>
              </a:xfrm>
              <a:custGeom>
                <a:avLst/>
                <a:gdLst>
                  <a:gd name="connsiteX0" fmla="*/ 837614 w 1000227"/>
                  <a:gd name="connsiteY0" fmla="*/ 294546 h 831477"/>
                  <a:gd name="connsiteX1" fmla="*/ 883636 w 1000227"/>
                  <a:gd name="connsiteY1" fmla="*/ 312955 h 831477"/>
                  <a:gd name="connsiteX2" fmla="*/ 1000227 w 1000227"/>
                  <a:gd name="connsiteY2" fmla="*/ 165682 h 831477"/>
                  <a:gd name="connsiteX3" fmla="*/ 754773 w 1000227"/>
                  <a:gd name="connsiteY3" fmla="*/ 0 h 831477"/>
                  <a:gd name="connsiteX4" fmla="*/ 497046 w 1000227"/>
                  <a:gd name="connsiteY4" fmla="*/ 92045 h 831477"/>
                  <a:gd name="connsiteX5" fmla="*/ 236250 w 1000227"/>
                  <a:gd name="connsiteY5" fmla="*/ 9205 h 831477"/>
                  <a:gd name="connsiteX6" fmla="*/ 0 w 1000227"/>
                  <a:gd name="connsiteY6" fmla="*/ 181023 h 831477"/>
                  <a:gd name="connsiteX7" fmla="*/ 122727 w 1000227"/>
                  <a:gd name="connsiteY7" fmla="*/ 325227 h 831477"/>
                  <a:gd name="connsiteX8" fmla="*/ 177955 w 1000227"/>
                  <a:gd name="connsiteY8" fmla="*/ 300682 h 831477"/>
                  <a:gd name="connsiteX9" fmla="*/ 193296 w 1000227"/>
                  <a:gd name="connsiteY9" fmla="*/ 619773 h 831477"/>
                  <a:gd name="connsiteX10" fmla="*/ 128864 w 1000227"/>
                  <a:gd name="connsiteY10" fmla="*/ 831477 h 831477"/>
                  <a:gd name="connsiteX11" fmla="*/ 889773 w 1000227"/>
                  <a:gd name="connsiteY11" fmla="*/ 819205 h 831477"/>
                  <a:gd name="connsiteX12" fmla="*/ 825341 w 1000227"/>
                  <a:gd name="connsiteY12" fmla="*/ 570682 h 831477"/>
                  <a:gd name="connsiteX13" fmla="*/ 828409 w 1000227"/>
                  <a:gd name="connsiteY13" fmla="*/ 322159 h 831477"/>
                  <a:gd name="connsiteX14" fmla="*/ 837614 w 1000227"/>
                  <a:gd name="connsiteY14" fmla="*/ 294546 h 831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00227" h="831477">
                    <a:moveTo>
                      <a:pt x="837614" y="294546"/>
                    </a:moveTo>
                    <a:lnTo>
                      <a:pt x="883636" y="312955"/>
                    </a:lnTo>
                    <a:lnTo>
                      <a:pt x="1000227" y="165682"/>
                    </a:lnTo>
                    <a:cubicBezTo>
                      <a:pt x="957273" y="70568"/>
                      <a:pt x="754773" y="0"/>
                      <a:pt x="754773" y="0"/>
                    </a:cubicBezTo>
                    <a:lnTo>
                      <a:pt x="497046" y="92045"/>
                    </a:lnTo>
                    <a:lnTo>
                      <a:pt x="236250" y="9205"/>
                    </a:lnTo>
                    <a:cubicBezTo>
                      <a:pt x="236250" y="9205"/>
                      <a:pt x="36819" y="85909"/>
                      <a:pt x="0" y="181023"/>
                    </a:cubicBezTo>
                    <a:lnTo>
                      <a:pt x="122727" y="325227"/>
                    </a:lnTo>
                    <a:lnTo>
                      <a:pt x="177955" y="300682"/>
                    </a:lnTo>
                    <a:cubicBezTo>
                      <a:pt x="220909" y="401932"/>
                      <a:pt x="227046" y="515455"/>
                      <a:pt x="193296" y="619773"/>
                    </a:cubicBezTo>
                    <a:lnTo>
                      <a:pt x="128864" y="831477"/>
                    </a:lnTo>
                    <a:lnTo>
                      <a:pt x="889773" y="819205"/>
                    </a:lnTo>
                    <a:lnTo>
                      <a:pt x="825341" y="570682"/>
                    </a:lnTo>
                    <a:cubicBezTo>
                      <a:pt x="803864" y="487841"/>
                      <a:pt x="803864" y="401932"/>
                      <a:pt x="828409" y="322159"/>
                    </a:cubicBezTo>
                    <a:lnTo>
                      <a:pt x="837614" y="294546"/>
                    </a:lnTo>
                    <a:close/>
                  </a:path>
                </a:pathLst>
              </a:custGeom>
              <a:solidFill>
                <a:srgbClr val="D16156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3" name="任意多边形: 形状 312">
                <a:extLst>
                  <a:ext uri="{FF2B5EF4-FFF2-40B4-BE49-F238E27FC236}">
                    <a16:creationId xmlns:a16="http://schemas.microsoft.com/office/drawing/2014/main" id="{AD5CBCE3-9CC6-4626-AF2E-AD7BFE44C1F2}"/>
                  </a:ext>
                </a:extLst>
              </p:cNvPr>
              <p:cNvSpPr/>
              <p:nvPr/>
            </p:nvSpPr>
            <p:spPr>
              <a:xfrm>
                <a:off x="6743794" y="3713168"/>
                <a:ext cx="48267" cy="408068"/>
              </a:xfrm>
              <a:custGeom>
                <a:avLst/>
                <a:gdLst>
                  <a:gd name="connsiteX0" fmla="*/ 35396 w 48267"/>
                  <a:gd name="connsiteY0" fmla="*/ 408068 h 408068"/>
                  <a:gd name="connsiteX1" fmla="*/ 35396 w 48267"/>
                  <a:gd name="connsiteY1" fmla="*/ 408068 h 408068"/>
                  <a:gd name="connsiteX2" fmla="*/ 29260 w 48267"/>
                  <a:gd name="connsiteY2" fmla="*/ 401932 h 408068"/>
                  <a:gd name="connsiteX3" fmla="*/ 20055 w 48267"/>
                  <a:gd name="connsiteY3" fmla="*/ 171818 h 408068"/>
                  <a:gd name="connsiteX4" fmla="*/ 10851 w 48267"/>
                  <a:gd name="connsiteY4" fmla="*/ 3068 h 408068"/>
                  <a:gd name="connsiteX5" fmla="*/ 16987 w 48267"/>
                  <a:gd name="connsiteY5" fmla="*/ 0 h 408068"/>
                  <a:gd name="connsiteX6" fmla="*/ 20055 w 48267"/>
                  <a:gd name="connsiteY6" fmla="*/ 6136 h 408068"/>
                  <a:gd name="connsiteX7" fmla="*/ 29260 w 48267"/>
                  <a:gd name="connsiteY7" fmla="*/ 165682 h 408068"/>
                  <a:gd name="connsiteX8" fmla="*/ 41533 w 48267"/>
                  <a:gd name="connsiteY8" fmla="*/ 401932 h 408068"/>
                  <a:gd name="connsiteX9" fmla="*/ 35396 w 48267"/>
                  <a:gd name="connsiteY9" fmla="*/ 408068 h 408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67" h="408068">
                    <a:moveTo>
                      <a:pt x="35396" y="408068"/>
                    </a:moveTo>
                    <a:cubicBezTo>
                      <a:pt x="35396" y="408068"/>
                      <a:pt x="35396" y="408068"/>
                      <a:pt x="35396" y="408068"/>
                    </a:cubicBezTo>
                    <a:cubicBezTo>
                      <a:pt x="32328" y="408068"/>
                      <a:pt x="29260" y="405000"/>
                      <a:pt x="29260" y="401932"/>
                    </a:cubicBezTo>
                    <a:cubicBezTo>
                      <a:pt x="29260" y="401932"/>
                      <a:pt x="53805" y="251591"/>
                      <a:pt x="20055" y="171818"/>
                    </a:cubicBezTo>
                    <a:cubicBezTo>
                      <a:pt x="-16763" y="88977"/>
                      <a:pt x="7782" y="6136"/>
                      <a:pt x="10851" y="3068"/>
                    </a:cubicBezTo>
                    <a:cubicBezTo>
                      <a:pt x="10851" y="0"/>
                      <a:pt x="13919" y="0"/>
                      <a:pt x="16987" y="0"/>
                    </a:cubicBezTo>
                    <a:cubicBezTo>
                      <a:pt x="20055" y="0"/>
                      <a:pt x="23123" y="3068"/>
                      <a:pt x="20055" y="6136"/>
                    </a:cubicBezTo>
                    <a:cubicBezTo>
                      <a:pt x="20055" y="6136"/>
                      <a:pt x="-4490" y="88977"/>
                      <a:pt x="29260" y="165682"/>
                    </a:cubicBezTo>
                    <a:cubicBezTo>
                      <a:pt x="63010" y="248523"/>
                      <a:pt x="41533" y="395796"/>
                      <a:pt x="41533" y="401932"/>
                    </a:cubicBezTo>
                    <a:cubicBezTo>
                      <a:pt x="41533" y="405000"/>
                      <a:pt x="38464" y="408068"/>
                      <a:pt x="35396" y="4080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4" name="任意多边形: 形状 313">
                <a:extLst>
                  <a:ext uri="{FF2B5EF4-FFF2-40B4-BE49-F238E27FC236}">
                    <a16:creationId xmlns:a16="http://schemas.microsoft.com/office/drawing/2014/main" id="{41FEB599-DADC-486B-B707-F1D9032340CA}"/>
                  </a:ext>
                </a:extLst>
              </p:cNvPr>
              <p:cNvSpPr/>
              <p:nvPr/>
            </p:nvSpPr>
            <p:spPr>
              <a:xfrm>
                <a:off x="7378345" y="3670213"/>
                <a:ext cx="40253" cy="417272"/>
              </a:xfrm>
              <a:custGeom>
                <a:avLst/>
                <a:gdLst>
                  <a:gd name="connsiteX0" fmla="*/ 14481 w 40253"/>
                  <a:gd name="connsiteY0" fmla="*/ 417273 h 417272"/>
                  <a:gd name="connsiteX1" fmla="*/ 8344 w 40253"/>
                  <a:gd name="connsiteY1" fmla="*/ 414205 h 417272"/>
                  <a:gd name="connsiteX2" fmla="*/ 26754 w 40253"/>
                  <a:gd name="connsiteY2" fmla="*/ 159545 h 417272"/>
                  <a:gd name="connsiteX3" fmla="*/ 11413 w 40253"/>
                  <a:gd name="connsiteY3" fmla="*/ 6136 h 417272"/>
                  <a:gd name="connsiteX4" fmla="*/ 14481 w 40253"/>
                  <a:gd name="connsiteY4" fmla="*/ 0 h 417272"/>
                  <a:gd name="connsiteX5" fmla="*/ 20617 w 40253"/>
                  <a:gd name="connsiteY5" fmla="*/ 3068 h 417272"/>
                  <a:gd name="connsiteX6" fmla="*/ 35958 w 40253"/>
                  <a:gd name="connsiteY6" fmla="*/ 162614 h 417272"/>
                  <a:gd name="connsiteX7" fmla="*/ 17549 w 40253"/>
                  <a:gd name="connsiteY7" fmla="*/ 411136 h 417272"/>
                  <a:gd name="connsiteX8" fmla="*/ 14481 w 40253"/>
                  <a:gd name="connsiteY8" fmla="*/ 417273 h 417272"/>
                  <a:gd name="connsiteX9" fmla="*/ 14481 w 40253"/>
                  <a:gd name="connsiteY9" fmla="*/ 417273 h 41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253" h="417272">
                    <a:moveTo>
                      <a:pt x="14481" y="417273"/>
                    </a:moveTo>
                    <a:cubicBezTo>
                      <a:pt x="11413" y="417273"/>
                      <a:pt x="8344" y="414205"/>
                      <a:pt x="8344" y="414205"/>
                    </a:cubicBezTo>
                    <a:cubicBezTo>
                      <a:pt x="-16201" y="319091"/>
                      <a:pt x="20617" y="177955"/>
                      <a:pt x="26754" y="159545"/>
                    </a:cubicBezTo>
                    <a:cubicBezTo>
                      <a:pt x="42094" y="104318"/>
                      <a:pt x="11413" y="6136"/>
                      <a:pt x="11413" y="6136"/>
                    </a:cubicBezTo>
                    <a:cubicBezTo>
                      <a:pt x="11413" y="3068"/>
                      <a:pt x="11413" y="0"/>
                      <a:pt x="14481" y="0"/>
                    </a:cubicBezTo>
                    <a:cubicBezTo>
                      <a:pt x="17549" y="0"/>
                      <a:pt x="20617" y="0"/>
                      <a:pt x="20617" y="3068"/>
                    </a:cubicBezTo>
                    <a:cubicBezTo>
                      <a:pt x="20617" y="6136"/>
                      <a:pt x="51299" y="104318"/>
                      <a:pt x="35958" y="162614"/>
                    </a:cubicBezTo>
                    <a:cubicBezTo>
                      <a:pt x="20617" y="217841"/>
                      <a:pt x="-860" y="334432"/>
                      <a:pt x="17549" y="411136"/>
                    </a:cubicBezTo>
                    <a:cubicBezTo>
                      <a:pt x="23685" y="414205"/>
                      <a:pt x="20617" y="417273"/>
                      <a:pt x="14481" y="417273"/>
                    </a:cubicBezTo>
                    <a:cubicBezTo>
                      <a:pt x="17549" y="417273"/>
                      <a:pt x="17549" y="417273"/>
                      <a:pt x="14481" y="41727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15" name="任意多边形: 形状 314">
              <a:extLst>
                <a:ext uri="{FF2B5EF4-FFF2-40B4-BE49-F238E27FC236}">
                  <a16:creationId xmlns:a16="http://schemas.microsoft.com/office/drawing/2014/main" id="{6A17F2DB-A5B2-4081-A6BA-0D90D2628711}"/>
                </a:ext>
              </a:extLst>
            </p:cNvPr>
            <p:cNvSpPr/>
            <p:nvPr/>
          </p:nvSpPr>
          <p:spPr>
            <a:xfrm>
              <a:off x="8417599" y="1961716"/>
              <a:ext cx="687272" cy="806231"/>
            </a:xfrm>
            <a:custGeom>
              <a:avLst/>
              <a:gdLst>
                <a:gd name="connsiteX0" fmla="*/ 0 w 687272"/>
                <a:gd name="connsiteY0" fmla="*/ 177474 h 806231"/>
                <a:gd name="connsiteX1" fmla="*/ 337500 w 687272"/>
                <a:gd name="connsiteY1" fmla="*/ 2588 h 806231"/>
                <a:gd name="connsiteX2" fmla="*/ 586023 w 687272"/>
                <a:gd name="connsiteY2" fmla="*/ 429065 h 806231"/>
                <a:gd name="connsiteX3" fmla="*/ 687273 w 687272"/>
                <a:gd name="connsiteY3" fmla="*/ 726679 h 806231"/>
                <a:gd name="connsiteX4" fmla="*/ 355909 w 687272"/>
                <a:gd name="connsiteY4" fmla="*/ 723610 h 806231"/>
                <a:gd name="connsiteX5" fmla="*/ 153409 w 687272"/>
                <a:gd name="connsiteY5" fmla="*/ 235769 h 806231"/>
                <a:gd name="connsiteX6" fmla="*/ 0 w 687272"/>
                <a:gd name="connsiteY6" fmla="*/ 177474 h 806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7272" h="806231">
                  <a:moveTo>
                    <a:pt x="0" y="177474"/>
                  </a:moveTo>
                  <a:cubicBezTo>
                    <a:pt x="0" y="177474"/>
                    <a:pt x="33750" y="-25026"/>
                    <a:pt x="337500" y="2588"/>
                  </a:cubicBezTo>
                  <a:cubicBezTo>
                    <a:pt x="524659" y="17929"/>
                    <a:pt x="616705" y="297133"/>
                    <a:pt x="586023" y="429065"/>
                  </a:cubicBezTo>
                  <a:cubicBezTo>
                    <a:pt x="555341" y="560997"/>
                    <a:pt x="576818" y="674519"/>
                    <a:pt x="687273" y="726679"/>
                  </a:cubicBezTo>
                  <a:cubicBezTo>
                    <a:pt x="687273" y="726679"/>
                    <a:pt x="469432" y="907701"/>
                    <a:pt x="355909" y="723610"/>
                  </a:cubicBezTo>
                  <a:cubicBezTo>
                    <a:pt x="309887" y="646906"/>
                    <a:pt x="294546" y="275656"/>
                    <a:pt x="153409" y="235769"/>
                  </a:cubicBezTo>
                  <a:cubicBezTo>
                    <a:pt x="88977" y="217360"/>
                    <a:pt x="0" y="177474"/>
                    <a:pt x="0" y="177474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6" name="任意多边形: 形状 315">
              <a:extLst>
                <a:ext uri="{FF2B5EF4-FFF2-40B4-BE49-F238E27FC236}">
                  <a16:creationId xmlns:a16="http://schemas.microsoft.com/office/drawing/2014/main" id="{A89BD444-8076-4783-B2AE-49D344276ED7}"/>
                </a:ext>
              </a:extLst>
            </p:cNvPr>
            <p:cNvSpPr/>
            <p:nvPr/>
          </p:nvSpPr>
          <p:spPr>
            <a:xfrm>
              <a:off x="8905440" y="2522713"/>
              <a:ext cx="199431" cy="168750"/>
            </a:xfrm>
            <a:custGeom>
              <a:avLst/>
              <a:gdLst>
                <a:gd name="connsiteX0" fmla="*/ 190228 w 199431"/>
                <a:gd name="connsiteY0" fmla="*/ 168750 h 168750"/>
                <a:gd name="connsiteX1" fmla="*/ 0 w 199431"/>
                <a:gd name="connsiteY1" fmla="*/ 6136 h 168750"/>
                <a:gd name="connsiteX2" fmla="*/ 3068 w 199431"/>
                <a:gd name="connsiteY2" fmla="*/ 0 h 168750"/>
                <a:gd name="connsiteX3" fmla="*/ 9205 w 199431"/>
                <a:gd name="connsiteY3" fmla="*/ 3068 h 168750"/>
                <a:gd name="connsiteX4" fmla="*/ 193296 w 199431"/>
                <a:gd name="connsiteY4" fmla="*/ 156477 h 168750"/>
                <a:gd name="connsiteX5" fmla="*/ 199432 w 199431"/>
                <a:gd name="connsiteY5" fmla="*/ 162614 h 168750"/>
                <a:gd name="connsiteX6" fmla="*/ 193296 w 199431"/>
                <a:gd name="connsiteY6" fmla="*/ 168750 h 168750"/>
                <a:gd name="connsiteX7" fmla="*/ 190228 w 199431"/>
                <a:gd name="connsiteY7" fmla="*/ 168750 h 16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9431" h="168750">
                  <a:moveTo>
                    <a:pt x="190228" y="168750"/>
                  </a:moveTo>
                  <a:cubicBezTo>
                    <a:pt x="159546" y="168750"/>
                    <a:pt x="46023" y="156477"/>
                    <a:pt x="0" y="6136"/>
                  </a:cubicBezTo>
                  <a:cubicBezTo>
                    <a:pt x="0" y="3068"/>
                    <a:pt x="0" y="0"/>
                    <a:pt x="3068" y="0"/>
                  </a:cubicBezTo>
                  <a:cubicBezTo>
                    <a:pt x="6137" y="0"/>
                    <a:pt x="9205" y="0"/>
                    <a:pt x="9205" y="3068"/>
                  </a:cubicBezTo>
                  <a:cubicBezTo>
                    <a:pt x="58296" y="171818"/>
                    <a:pt x="193296" y="156477"/>
                    <a:pt x="193296" y="156477"/>
                  </a:cubicBezTo>
                  <a:cubicBezTo>
                    <a:pt x="196364" y="156477"/>
                    <a:pt x="199432" y="159545"/>
                    <a:pt x="199432" y="162614"/>
                  </a:cubicBezTo>
                  <a:cubicBezTo>
                    <a:pt x="199432" y="165682"/>
                    <a:pt x="196364" y="168750"/>
                    <a:pt x="193296" y="168750"/>
                  </a:cubicBezTo>
                  <a:cubicBezTo>
                    <a:pt x="199432" y="168750"/>
                    <a:pt x="196364" y="168750"/>
                    <a:pt x="190228" y="168750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7" name="任意多边形: 形状 316">
              <a:extLst>
                <a:ext uri="{FF2B5EF4-FFF2-40B4-BE49-F238E27FC236}">
                  <a16:creationId xmlns:a16="http://schemas.microsoft.com/office/drawing/2014/main" id="{615C202B-5F86-43A5-B53F-03992A11201B}"/>
                </a:ext>
              </a:extLst>
            </p:cNvPr>
            <p:cNvSpPr/>
            <p:nvPr/>
          </p:nvSpPr>
          <p:spPr>
            <a:xfrm>
              <a:off x="8340861" y="2122566"/>
              <a:ext cx="233054" cy="149612"/>
            </a:xfrm>
            <a:custGeom>
              <a:avLst/>
              <a:gdLst>
                <a:gd name="connsiteX0" fmla="*/ 34 w 233054"/>
                <a:gd name="connsiteY0" fmla="*/ 68784 h 149612"/>
                <a:gd name="connsiteX1" fmla="*/ 119693 w 233054"/>
                <a:gd name="connsiteY1" fmla="*/ 1284 h 149612"/>
                <a:gd name="connsiteX2" fmla="*/ 227079 w 233054"/>
                <a:gd name="connsiteY2" fmla="*/ 124011 h 149612"/>
                <a:gd name="connsiteX3" fmla="*/ 34 w 233054"/>
                <a:gd name="connsiteY3" fmla="*/ 68784 h 149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3054" h="149612">
                  <a:moveTo>
                    <a:pt x="34" y="68784"/>
                  </a:moveTo>
                  <a:cubicBezTo>
                    <a:pt x="34" y="68784"/>
                    <a:pt x="24580" y="-10989"/>
                    <a:pt x="119693" y="1284"/>
                  </a:cubicBezTo>
                  <a:cubicBezTo>
                    <a:pt x="181057" y="10488"/>
                    <a:pt x="254693" y="56511"/>
                    <a:pt x="227079" y="124011"/>
                  </a:cubicBezTo>
                  <a:cubicBezTo>
                    <a:pt x="202534" y="191511"/>
                    <a:pt x="-3034" y="108670"/>
                    <a:pt x="34" y="68784"/>
                  </a:cubicBez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8" name="任意多边形: 形状 317">
              <a:extLst>
                <a:ext uri="{FF2B5EF4-FFF2-40B4-BE49-F238E27FC236}">
                  <a16:creationId xmlns:a16="http://schemas.microsoft.com/office/drawing/2014/main" id="{E1BACD8F-A46F-487C-B1D6-5C403D30808A}"/>
                </a:ext>
              </a:extLst>
            </p:cNvPr>
            <p:cNvSpPr/>
            <p:nvPr/>
          </p:nvSpPr>
          <p:spPr>
            <a:xfrm>
              <a:off x="7803963" y="2908399"/>
              <a:ext cx="446779" cy="436586"/>
            </a:xfrm>
            <a:custGeom>
              <a:avLst/>
              <a:gdLst>
                <a:gd name="connsiteX0" fmla="*/ 285341 w 446779"/>
                <a:gd name="connsiteY0" fmla="*/ 436587 h 436586"/>
                <a:gd name="connsiteX1" fmla="*/ 432614 w 446779"/>
                <a:gd name="connsiteY1" fmla="*/ 28519 h 436586"/>
                <a:gd name="connsiteX2" fmla="*/ 0 w 446779"/>
                <a:gd name="connsiteY2" fmla="*/ 203405 h 436586"/>
                <a:gd name="connsiteX3" fmla="*/ 285341 w 446779"/>
                <a:gd name="connsiteY3" fmla="*/ 436587 h 43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6779" h="436586">
                  <a:moveTo>
                    <a:pt x="285341" y="436587"/>
                  </a:moveTo>
                  <a:cubicBezTo>
                    <a:pt x="408068" y="298519"/>
                    <a:pt x="478637" y="92951"/>
                    <a:pt x="432614" y="28519"/>
                  </a:cubicBezTo>
                  <a:cubicBezTo>
                    <a:pt x="371250" y="-57390"/>
                    <a:pt x="113523" y="65337"/>
                    <a:pt x="0" y="203405"/>
                  </a:cubicBezTo>
                  <a:cubicBezTo>
                    <a:pt x="24546" y="277041"/>
                    <a:pt x="190227" y="396700"/>
                    <a:pt x="285341" y="436587"/>
                  </a:cubicBezTo>
                  <a:close/>
                </a:path>
              </a:pathLst>
            </a:custGeom>
            <a:solidFill>
              <a:srgbClr val="F6EBE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9" name="图形 1">
              <a:extLst>
                <a:ext uri="{FF2B5EF4-FFF2-40B4-BE49-F238E27FC236}">
                  <a16:creationId xmlns:a16="http://schemas.microsoft.com/office/drawing/2014/main" id="{0D323808-9636-430D-AD2B-F892808812C7}"/>
                </a:ext>
              </a:extLst>
            </p:cNvPr>
            <p:cNvGrpSpPr/>
            <p:nvPr/>
          </p:nvGrpSpPr>
          <p:grpSpPr>
            <a:xfrm>
              <a:off x="7573082" y="6262827"/>
              <a:ext cx="381221" cy="388606"/>
              <a:chOff x="7573082" y="6262827"/>
              <a:chExt cx="381221" cy="388606"/>
            </a:xfrm>
          </p:grpSpPr>
          <p:sp>
            <p:nvSpPr>
              <p:cNvPr id="320" name="任意多边形: 形状 319">
                <a:extLst>
                  <a:ext uri="{FF2B5EF4-FFF2-40B4-BE49-F238E27FC236}">
                    <a16:creationId xmlns:a16="http://schemas.microsoft.com/office/drawing/2014/main" id="{5DA9DAB1-D999-4D13-8ABC-1A42D00F44A3}"/>
                  </a:ext>
                </a:extLst>
              </p:cNvPr>
              <p:cNvSpPr/>
              <p:nvPr/>
            </p:nvSpPr>
            <p:spPr>
              <a:xfrm>
                <a:off x="7573082" y="6388622"/>
                <a:ext cx="366865" cy="262810"/>
              </a:xfrm>
              <a:custGeom>
                <a:avLst/>
                <a:gdLst>
                  <a:gd name="connsiteX0" fmla="*/ 227812 w 366865"/>
                  <a:gd name="connsiteY0" fmla="*/ 0 h 262810"/>
                  <a:gd name="connsiteX1" fmla="*/ 108154 w 366865"/>
                  <a:gd name="connsiteY1" fmla="*/ 165682 h 262810"/>
                  <a:gd name="connsiteX2" fmla="*/ 325995 w 366865"/>
                  <a:gd name="connsiteY2" fmla="*/ 36818 h 262810"/>
                  <a:gd name="connsiteX3" fmla="*/ 347472 w 366865"/>
                  <a:gd name="connsiteY3" fmla="*/ 21477 h 262810"/>
                  <a:gd name="connsiteX4" fmla="*/ 365881 w 366865"/>
                  <a:gd name="connsiteY4" fmla="*/ 98182 h 262810"/>
                  <a:gd name="connsiteX5" fmla="*/ 353608 w 366865"/>
                  <a:gd name="connsiteY5" fmla="*/ 236250 h 262810"/>
                  <a:gd name="connsiteX6" fmla="*/ 325995 w 366865"/>
                  <a:gd name="connsiteY6" fmla="*/ 236250 h 262810"/>
                  <a:gd name="connsiteX7" fmla="*/ 310654 w 366865"/>
                  <a:gd name="connsiteY7" fmla="*/ 125795 h 262810"/>
                  <a:gd name="connsiteX8" fmla="*/ 166449 w 366865"/>
                  <a:gd name="connsiteY8" fmla="*/ 257727 h 262810"/>
                  <a:gd name="connsiteX9" fmla="*/ 6903 w 366865"/>
                  <a:gd name="connsiteY9" fmla="*/ 260795 h 262810"/>
                  <a:gd name="connsiteX10" fmla="*/ 6903 w 366865"/>
                  <a:gd name="connsiteY10" fmla="*/ 214773 h 262810"/>
                  <a:gd name="connsiteX11" fmla="*/ 227812 w 366865"/>
                  <a:gd name="connsiteY11" fmla="*/ 0 h 26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6865" h="262810">
                    <a:moveTo>
                      <a:pt x="227812" y="0"/>
                    </a:moveTo>
                    <a:cubicBezTo>
                      <a:pt x="227812" y="0"/>
                      <a:pt x="92813" y="156477"/>
                      <a:pt x="108154" y="165682"/>
                    </a:cubicBezTo>
                    <a:cubicBezTo>
                      <a:pt x="126563" y="174886"/>
                      <a:pt x="325995" y="36818"/>
                      <a:pt x="325995" y="36818"/>
                    </a:cubicBezTo>
                    <a:lnTo>
                      <a:pt x="347472" y="21477"/>
                    </a:lnTo>
                    <a:cubicBezTo>
                      <a:pt x="347472" y="21477"/>
                      <a:pt x="372017" y="70568"/>
                      <a:pt x="365881" y="98182"/>
                    </a:cubicBezTo>
                    <a:cubicBezTo>
                      <a:pt x="359744" y="125795"/>
                      <a:pt x="353608" y="236250"/>
                      <a:pt x="353608" y="236250"/>
                    </a:cubicBezTo>
                    <a:lnTo>
                      <a:pt x="325995" y="236250"/>
                    </a:lnTo>
                    <a:lnTo>
                      <a:pt x="310654" y="125795"/>
                    </a:lnTo>
                    <a:cubicBezTo>
                      <a:pt x="310654" y="125795"/>
                      <a:pt x="187926" y="254659"/>
                      <a:pt x="166449" y="257727"/>
                    </a:cubicBezTo>
                    <a:cubicBezTo>
                      <a:pt x="144972" y="263863"/>
                      <a:pt x="19176" y="263863"/>
                      <a:pt x="6903" y="260795"/>
                    </a:cubicBezTo>
                    <a:cubicBezTo>
                      <a:pt x="-2301" y="260795"/>
                      <a:pt x="-2301" y="220909"/>
                      <a:pt x="6903" y="214773"/>
                    </a:cubicBezTo>
                    <a:cubicBezTo>
                      <a:pt x="86676" y="171818"/>
                      <a:pt x="227812" y="0"/>
                      <a:pt x="227812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1" name="任意多边形: 形状 320">
                <a:extLst>
                  <a:ext uri="{FF2B5EF4-FFF2-40B4-BE49-F238E27FC236}">
                    <a16:creationId xmlns:a16="http://schemas.microsoft.com/office/drawing/2014/main" id="{9B3AD404-FF00-46F0-B1B4-D5C1B6AE4FCE}"/>
                  </a:ext>
                </a:extLst>
              </p:cNvPr>
              <p:cNvSpPr/>
              <p:nvPr/>
            </p:nvSpPr>
            <p:spPr>
              <a:xfrm>
                <a:off x="7679011" y="6262827"/>
                <a:ext cx="275292" cy="296298"/>
              </a:xfrm>
              <a:custGeom>
                <a:avLst/>
                <a:gdLst>
                  <a:gd name="connsiteX0" fmla="*/ 170974 w 275292"/>
                  <a:gd name="connsiteY0" fmla="*/ 0 h 296298"/>
                  <a:gd name="connsiteX1" fmla="*/ 121883 w 275292"/>
                  <a:gd name="connsiteY1" fmla="*/ 128864 h 296298"/>
                  <a:gd name="connsiteX2" fmla="*/ 2224 w 275292"/>
                  <a:gd name="connsiteY2" fmla="*/ 294546 h 296298"/>
                  <a:gd name="connsiteX3" fmla="*/ 238474 w 275292"/>
                  <a:gd name="connsiteY3" fmla="*/ 150341 h 296298"/>
                  <a:gd name="connsiteX4" fmla="*/ 275292 w 275292"/>
                  <a:gd name="connsiteY4" fmla="*/ 0 h 296298"/>
                  <a:gd name="connsiteX5" fmla="*/ 170974 w 275292"/>
                  <a:gd name="connsiteY5" fmla="*/ 0 h 29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5292" h="296298">
                    <a:moveTo>
                      <a:pt x="170974" y="0"/>
                    </a:moveTo>
                    <a:lnTo>
                      <a:pt x="121883" y="128864"/>
                    </a:lnTo>
                    <a:cubicBezTo>
                      <a:pt x="121883" y="128864"/>
                      <a:pt x="-19253" y="279205"/>
                      <a:pt x="2224" y="294546"/>
                    </a:cubicBezTo>
                    <a:cubicBezTo>
                      <a:pt x="23701" y="312954"/>
                      <a:pt x="241542" y="181023"/>
                      <a:pt x="238474" y="150341"/>
                    </a:cubicBezTo>
                    <a:cubicBezTo>
                      <a:pt x="238474" y="101250"/>
                      <a:pt x="275292" y="0"/>
                      <a:pt x="275292" y="0"/>
                    </a:cubicBezTo>
                    <a:lnTo>
                      <a:pt x="170974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22" name="图形 1">
              <a:extLst>
                <a:ext uri="{FF2B5EF4-FFF2-40B4-BE49-F238E27FC236}">
                  <a16:creationId xmlns:a16="http://schemas.microsoft.com/office/drawing/2014/main" id="{0D323808-9636-430D-AD2B-F892808812C7}"/>
                </a:ext>
              </a:extLst>
            </p:cNvPr>
            <p:cNvGrpSpPr/>
            <p:nvPr/>
          </p:nvGrpSpPr>
          <p:grpSpPr>
            <a:xfrm>
              <a:off x="8349332" y="6262827"/>
              <a:ext cx="366865" cy="388606"/>
              <a:chOff x="8349332" y="6262827"/>
              <a:chExt cx="366865" cy="388606"/>
            </a:xfrm>
          </p:grpSpPr>
          <p:sp>
            <p:nvSpPr>
              <p:cNvPr id="323" name="任意多边形: 形状 322">
                <a:extLst>
                  <a:ext uri="{FF2B5EF4-FFF2-40B4-BE49-F238E27FC236}">
                    <a16:creationId xmlns:a16="http://schemas.microsoft.com/office/drawing/2014/main" id="{00236442-E74F-4C0B-85DA-E15E06F1943A}"/>
                  </a:ext>
                </a:extLst>
              </p:cNvPr>
              <p:cNvSpPr/>
              <p:nvPr/>
            </p:nvSpPr>
            <p:spPr>
              <a:xfrm>
                <a:off x="8349332" y="6388622"/>
                <a:ext cx="366865" cy="262810"/>
              </a:xfrm>
              <a:custGeom>
                <a:avLst/>
                <a:gdLst>
                  <a:gd name="connsiteX0" fmla="*/ 227812 w 366865"/>
                  <a:gd name="connsiteY0" fmla="*/ 0 h 262810"/>
                  <a:gd name="connsiteX1" fmla="*/ 108154 w 366865"/>
                  <a:gd name="connsiteY1" fmla="*/ 165682 h 262810"/>
                  <a:gd name="connsiteX2" fmla="*/ 325994 w 366865"/>
                  <a:gd name="connsiteY2" fmla="*/ 36818 h 262810"/>
                  <a:gd name="connsiteX3" fmla="*/ 347472 w 366865"/>
                  <a:gd name="connsiteY3" fmla="*/ 21477 h 262810"/>
                  <a:gd name="connsiteX4" fmla="*/ 365881 w 366865"/>
                  <a:gd name="connsiteY4" fmla="*/ 98182 h 262810"/>
                  <a:gd name="connsiteX5" fmla="*/ 353608 w 366865"/>
                  <a:gd name="connsiteY5" fmla="*/ 236250 h 262810"/>
                  <a:gd name="connsiteX6" fmla="*/ 325994 w 366865"/>
                  <a:gd name="connsiteY6" fmla="*/ 236250 h 262810"/>
                  <a:gd name="connsiteX7" fmla="*/ 310653 w 366865"/>
                  <a:gd name="connsiteY7" fmla="*/ 125795 h 262810"/>
                  <a:gd name="connsiteX8" fmla="*/ 166449 w 366865"/>
                  <a:gd name="connsiteY8" fmla="*/ 257727 h 262810"/>
                  <a:gd name="connsiteX9" fmla="*/ 6903 w 366865"/>
                  <a:gd name="connsiteY9" fmla="*/ 260795 h 262810"/>
                  <a:gd name="connsiteX10" fmla="*/ 6903 w 366865"/>
                  <a:gd name="connsiteY10" fmla="*/ 214773 h 262810"/>
                  <a:gd name="connsiteX11" fmla="*/ 227812 w 366865"/>
                  <a:gd name="connsiteY11" fmla="*/ 0 h 26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6865" h="262810">
                    <a:moveTo>
                      <a:pt x="227812" y="0"/>
                    </a:moveTo>
                    <a:cubicBezTo>
                      <a:pt x="227812" y="0"/>
                      <a:pt x="92813" y="156477"/>
                      <a:pt x="108154" y="165682"/>
                    </a:cubicBezTo>
                    <a:cubicBezTo>
                      <a:pt x="126562" y="174886"/>
                      <a:pt x="325994" y="36818"/>
                      <a:pt x="325994" y="36818"/>
                    </a:cubicBezTo>
                    <a:lnTo>
                      <a:pt x="347472" y="21477"/>
                    </a:lnTo>
                    <a:cubicBezTo>
                      <a:pt x="347472" y="21477"/>
                      <a:pt x="372017" y="70568"/>
                      <a:pt x="365881" y="98182"/>
                    </a:cubicBezTo>
                    <a:cubicBezTo>
                      <a:pt x="359744" y="125795"/>
                      <a:pt x="353608" y="236250"/>
                      <a:pt x="353608" y="236250"/>
                    </a:cubicBezTo>
                    <a:lnTo>
                      <a:pt x="325994" y="236250"/>
                    </a:lnTo>
                    <a:lnTo>
                      <a:pt x="310653" y="125795"/>
                    </a:lnTo>
                    <a:cubicBezTo>
                      <a:pt x="310653" y="125795"/>
                      <a:pt x="187926" y="254659"/>
                      <a:pt x="166449" y="257727"/>
                    </a:cubicBezTo>
                    <a:cubicBezTo>
                      <a:pt x="144972" y="263863"/>
                      <a:pt x="19176" y="263863"/>
                      <a:pt x="6903" y="260795"/>
                    </a:cubicBezTo>
                    <a:cubicBezTo>
                      <a:pt x="-2301" y="260795"/>
                      <a:pt x="-2301" y="220909"/>
                      <a:pt x="6903" y="214773"/>
                    </a:cubicBezTo>
                    <a:cubicBezTo>
                      <a:pt x="86676" y="171818"/>
                      <a:pt x="227812" y="0"/>
                      <a:pt x="227812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4" name="任意多边形: 形状 323">
                <a:extLst>
                  <a:ext uri="{FF2B5EF4-FFF2-40B4-BE49-F238E27FC236}">
                    <a16:creationId xmlns:a16="http://schemas.microsoft.com/office/drawing/2014/main" id="{DF79488A-3D64-4869-832A-7505398AD92B}"/>
                  </a:ext>
                </a:extLst>
              </p:cNvPr>
              <p:cNvSpPr/>
              <p:nvPr/>
            </p:nvSpPr>
            <p:spPr>
              <a:xfrm>
                <a:off x="8455261" y="6262827"/>
                <a:ext cx="238506" cy="296298"/>
              </a:xfrm>
              <a:custGeom>
                <a:avLst/>
                <a:gdLst>
                  <a:gd name="connsiteX0" fmla="*/ 124951 w 238506"/>
                  <a:gd name="connsiteY0" fmla="*/ 0 h 296298"/>
                  <a:gd name="connsiteX1" fmla="*/ 121883 w 238506"/>
                  <a:gd name="connsiteY1" fmla="*/ 128864 h 296298"/>
                  <a:gd name="connsiteX2" fmla="*/ 2224 w 238506"/>
                  <a:gd name="connsiteY2" fmla="*/ 294546 h 296298"/>
                  <a:gd name="connsiteX3" fmla="*/ 238474 w 238506"/>
                  <a:gd name="connsiteY3" fmla="*/ 150341 h 296298"/>
                  <a:gd name="connsiteX4" fmla="*/ 238474 w 238506"/>
                  <a:gd name="connsiteY4" fmla="*/ 0 h 296298"/>
                  <a:gd name="connsiteX5" fmla="*/ 124951 w 238506"/>
                  <a:gd name="connsiteY5" fmla="*/ 0 h 29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8506" h="296298">
                    <a:moveTo>
                      <a:pt x="124951" y="0"/>
                    </a:moveTo>
                    <a:lnTo>
                      <a:pt x="121883" y="128864"/>
                    </a:lnTo>
                    <a:cubicBezTo>
                      <a:pt x="121883" y="128864"/>
                      <a:pt x="-19253" y="279205"/>
                      <a:pt x="2224" y="294546"/>
                    </a:cubicBezTo>
                    <a:cubicBezTo>
                      <a:pt x="23701" y="312954"/>
                      <a:pt x="241542" y="181023"/>
                      <a:pt x="238474" y="150341"/>
                    </a:cubicBezTo>
                    <a:cubicBezTo>
                      <a:pt x="238474" y="101250"/>
                      <a:pt x="238474" y="0"/>
                      <a:pt x="238474" y="0"/>
                    </a:cubicBezTo>
                    <a:lnTo>
                      <a:pt x="124951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25" name="任意多边形: 形状 324">
              <a:extLst>
                <a:ext uri="{FF2B5EF4-FFF2-40B4-BE49-F238E27FC236}">
                  <a16:creationId xmlns:a16="http://schemas.microsoft.com/office/drawing/2014/main" id="{C845F726-B3A3-46D7-A504-9CF40357245C}"/>
                </a:ext>
              </a:extLst>
            </p:cNvPr>
            <p:cNvSpPr/>
            <p:nvPr/>
          </p:nvSpPr>
          <p:spPr>
            <a:xfrm>
              <a:off x="7825440" y="3814418"/>
              <a:ext cx="1050059" cy="2537386"/>
            </a:xfrm>
            <a:custGeom>
              <a:avLst/>
              <a:gdLst>
                <a:gd name="connsiteX0" fmla="*/ 917387 w 1050059"/>
                <a:gd name="connsiteY0" fmla="*/ 0 h 2537386"/>
                <a:gd name="connsiteX1" fmla="*/ 245455 w 1050059"/>
                <a:gd name="connsiteY1" fmla="*/ 0 h 2537386"/>
                <a:gd name="connsiteX2" fmla="*/ 125796 w 1050059"/>
                <a:gd name="connsiteY2" fmla="*/ 463296 h 2537386"/>
                <a:gd name="connsiteX3" fmla="*/ 0 w 1050059"/>
                <a:gd name="connsiteY3" fmla="*/ 2500568 h 2537386"/>
                <a:gd name="connsiteX4" fmla="*/ 174886 w 1050059"/>
                <a:gd name="connsiteY4" fmla="*/ 2537386 h 2537386"/>
                <a:gd name="connsiteX5" fmla="*/ 546136 w 1050059"/>
                <a:gd name="connsiteY5" fmla="*/ 868296 h 2537386"/>
                <a:gd name="connsiteX6" fmla="*/ 696477 w 1050059"/>
                <a:gd name="connsiteY6" fmla="*/ 2528182 h 2537386"/>
                <a:gd name="connsiteX7" fmla="*/ 892841 w 1050059"/>
                <a:gd name="connsiteY7" fmla="*/ 2528182 h 2537386"/>
                <a:gd name="connsiteX8" fmla="*/ 1049318 w 1050059"/>
                <a:gd name="connsiteY8" fmla="*/ 420341 h 2537386"/>
                <a:gd name="connsiteX9" fmla="*/ 917387 w 1050059"/>
                <a:gd name="connsiteY9" fmla="*/ 0 h 253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50059" h="2537386">
                  <a:moveTo>
                    <a:pt x="917387" y="0"/>
                  </a:moveTo>
                  <a:lnTo>
                    <a:pt x="245455" y="0"/>
                  </a:lnTo>
                  <a:cubicBezTo>
                    <a:pt x="245455" y="0"/>
                    <a:pt x="147273" y="306818"/>
                    <a:pt x="125796" y="463296"/>
                  </a:cubicBezTo>
                  <a:cubicBezTo>
                    <a:pt x="107386" y="616705"/>
                    <a:pt x="0" y="2500568"/>
                    <a:pt x="0" y="2500568"/>
                  </a:cubicBezTo>
                  <a:lnTo>
                    <a:pt x="174886" y="2537386"/>
                  </a:lnTo>
                  <a:lnTo>
                    <a:pt x="546136" y="868296"/>
                  </a:lnTo>
                  <a:lnTo>
                    <a:pt x="696477" y="2528182"/>
                  </a:lnTo>
                  <a:lnTo>
                    <a:pt x="892841" y="2528182"/>
                  </a:lnTo>
                  <a:cubicBezTo>
                    <a:pt x="892841" y="2528182"/>
                    <a:pt x="1040114" y="540000"/>
                    <a:pt x="1049318" y="420341"/>
                  </a:cubicBezTo>
                  <a:cubicBezTo>
                    <a:pt x="1061591" y="297614"/>
                    <a:pt x="917387" y="0"/>
                    <a:pt x="917387" y="0"/>
                  </a:cubicBezTo>
                  <a:close/>
                </a:path>
              </a:pathLst>
            </a:custGeom>
            <a:solidFill>
              <a:srgbClr val="7F95BC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6" name="任意多边形: 形状 325">
              <a:extLst>
                <a:ext uri="{FF2B5EF4-FFF2-40B4-BE49-F238E27FC236}">
                  <a16:creationId xmlns:a16="http://schemas.microsoft.com/office/drawing/2014/main" id="{B11C1920-25C7-4527-82EF-5246EDCE29F6}"/>
                </a:ext>
              </a:extLst>
            </p:cNvPr>
            <p:cNvSpPr/>
            <p:nvPr/>
          </p:nvSpPr>
          <p:spPr>
            <a:xfrm>
              <a:off x="8046349" y="3857372"/>
              <a:ext cx="724091" cy="12272"/>
            </a:xfrm>
            <a:custGeom>
              <a:avLst/>
              <a:gdLst>
                <a:gd name="connsiteX0" fmla="*/ 717955 w 724091"/>
                <a:gd name="connsiteY0" fmla="*/ 12273 h 12272"/>
                <a:gd name="connsiteX1" fmla="*/ 6137 w 724091"/>
                <a:gd name="connsiteY1" fmla="*/ 12273 h 12272"/>
                <a:gd name="connsiteX2" fmla="*/ 0 w 724091"/>
                <a:gd name="connsiteY2" fmla="*/ 6137 h 12272"/>
                <a:gd name="connsiteX3" fmla="*/ 6137 w 724091"/>
                <a:gd name="connsiteY3" fmla="*/ 0 h 12272"/>
                <a:gd name="connsiteX4" fmla="*/ 717955 w 724091"/>
                <a:gd name="connsiteY4" fmla="*/ 0 h 12272"/>
                <a:gd name="connsiteX5" fmla="*/ 724091 w 724091"/>
                <a:gd name="connsiteY5" fmla="*/ 6137 h 12272"/>
                <a:gd name="connsiteX6" fmla="*/ 717955 w 724091"/>
                <a:gd name="connsiteY6" fmla="*/ 12273 h 12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4091" h="12272">
                  <a:moveTo>
                    <a:pt x="717955" y="12273"/>
                  </a:moveTo>
                  <a:lnTo>
                    <a:pt x="6137" y="12273"/>
                  </a:lnTo>
                  <a:cubicBezTo>
                    <a:pt x="3068" y="12273"/>
                    <a:pt x="0" y="9205"/>
                    <a:pt x="0" y="6137"/>
                  </a:cubicBezTo>
                  <a:cubicBezTo>
                    <a:pt x="0" y="3068"/>
                    <a:pt x="3068" y="0"/>
                    <a:pt x="6137" y="0"/>
                  </a:cubicBezTo>
                  <a:lnTo>
                    <a:pt x="717955" y="0"/>
                  </a:lnTo>
                  <a:cubicBezTo>
                    <a:pt x="721023" y="0"/>
                    <a:pt x="724091" y="3068"/>
                    <a:pt x="724091" y="6137"/>
                  </a:cubicBezTo>
                  <a:cubicBezTo>
                    <a:pt x="724091" y="9205"/>
                    <a:pt x="721023" y="12273"/>
                    <a:pt x="717955" y="12273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7" name="任意多边形: 形状 326">
              <a:extLst>
                <a:ext uri="{FF2B5EF4-FFF2-40B4-BE49-F238E27FC236}">
                  <a16:creationId xmlns:a16="http://schemas.microsoft.com/office/drawing/2014/main" id="{237CCB21-3C3B-4B8F-8AE0-8B58965599E3}"/>
                </a:ext>
              </a:extLst>
            </p:cNvPr>
            <p:cNvSpPr/>
            <p:nvPr/>
          </p:nvSpPr>
          <p:spPr>
            <a:xfrm>
              <a:off x="8365440" y="4204077"/>
              <a:ext cx="162613" cy="2144659"/>
            </a:xfrm>
            <a:custGeom>
              <a:avLst/>
              <a:gdLst>
                <a:gd name="connsiteX0" fmla="*/ 156477 w 162613"/>
                <a:gd name="connsiteY0" fmla="*/ 2144659 h 2144659"/>
                <a:gd name="connsiteX1" fmla="*/ 150341 w 162613"/>
                <a:gd name="connsiteY1" fmla="*/ 2138523 h 2144659"/>
                <a:gd name="connsiteX2" fmla="*/ 0 w 162613"/>
                <a:gd name="connsiteY2" fmla="*/ 478636 h 2144659"/>
                <a:gd name="connsiteX3" fmla="*/ 0 w 162613"/>
                <a:gd name="connsiteY3" fmla="*/ 6136 h 2144659"/>
                <a:gd name="connsiteX4" fmla="*/ 6136 w 162613"/>
                <a:gd name="connsiteY4" fmla="*/ 0 h 2144659"/>
                <a:gd name="connsiteX5" fmla="*/ 12273 w 162613"/>
                <a:gd name="connsiteY5" fmla="*/ 6136 h 2144659"/>
                <a:gd name="connsiteX6" fmla="*/ 12273 w 162613"/>
                <a:gd name="connsiteY6" fmla="*/ 478636 h 2144659"/>
                <a:gd name="connsiteX7" fmla="*/ 162614 w 162613"/>
                <a:gd name="connsiteY7" fmla="*/ 2138523 h 2144659"/>
                <a:gd name="connsiteX8" fmla="*/ 156477 w 162613"/>
                <a:gd name="connsiteY8" fmla="*/ 2144659 h 2144659"/>
                <a:gd name="connsiteX9" fmla="*/ 156477 w 162613"/>
                <a:gd name="connsiteY9" fmla="*/ 2144659 h 2144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613" h="2144659">
                  <a:moveTo>
                    <a:pt x="156477" y="2144659"/>
                  </a:moveTo>
                  <a:cubicBezTo>
                    <a:pt x="153409" y="2144659"/>
                    <a:pt x="150341" y="2141591"/>
                    <a:pt x="150341" y="2138523"/>
                  </a:cubicBezTo>
                  <a:lnTo>
                    <a:pt x="0" y="478636"/>
                  </a:lnTo>
                  <a:lnTo>
                    <a:pt x="0" y="6136"/>
                  </a:lnTo>
                  <a:cubicBezTo>
                    <a:pt x="0" y="3068"/>
                    <a:pt x="3068" y="0"/>
                    <a:pt x="6136" y="0"/>
                  </a:cubicBezTo>
                  <a:cubicBezTo>
                    <a:pt x="9205" y="0"/>
                    <a:pt x="12273" y="3068"/>
                    <a:pt x="12273" y="6136"/>
                  </a:cubicBezTo>
                  <a:lnTo>
                    <a:pt x="12273" y="478636"/>
                  </a:lnTo>
                  <a:lnTo>
                    <a:pt x="162614" y="2138523"/>
                  </a:lnTo>
                  <a:cubicBezTo>
                    <a:pt x="162614" y="2141591"/>
                    <a:pt x="159545" y="2141591"/>
                    <a:pt x="156477" y="2144659"/>
                  </a:cubicBezTo>
                  <a:cubicBezTo>
                    <a:pt x="156477" y="2144659"/>
                    <a:pt x="156477" y="2144659"/>
                    <a:pt x="156477" y="2144659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8" name="任意多边形: 形状 327">
              <a:extLst>
                <a:ext uri="{FF2B5EF4-FFF2-40B4-BE49-F238E27FC236}">
                  <a16:creationId xmlns:a16="http://schemas.microsoft.com/office/drawing/2014/main" id="{CBB34F46-B631-44E3-A2F6-C01F99C336EE}"/>
                </a:ext>
              </a:extLst>
            </p:cNvPr>
            <p:cNvSpPr/>
            <p:nvPr/>
          </p:nvSpPr>
          <p:spPr>
            <a:xfrm>
              <a:off x="7979964" y="2852652"/>
              <a:ext cx="822733" cy="992538"/>
            </a:xfrm>
            <a:custGeom>
              <a:avLst/>
              <a:gdLst>
                <a:gd name="connsiteX0" fmla="*/ 778204 w 822733"/>
                <a:gd name="connsiteY0" fmla="*/ 394152 h 992538"/>
                <a:gd name="connsiteX1" fmla="*/ 762863 w 822733"/>
                <a:gd name="connsiteY1" fmla="*/ 68925 h 992538"/>
                <a:gd name="connsiteX2" fmla="*/ 391613 w 822733"/>
                <a:gd name="connsiteY2" fmla="*/ 4493 h 992538"/>
                <a:gd name="connsiteX3" fmla="*/ 90931 w 822733"/>
                <a:gd name="connsiteY3" fmla="*/ 105743 h 992538"/>
                <a:gd name="connsiteX4" fmla="*/ 51044 w 822733"/>
                <a:gd name="connsiteY4" fmla="*/ 658016 h 992538"/>
                <a:gd name="connsiteX5" fmla="*/ 93999 w 822733"/>
                <a:gd name="connsiteY5" fmla="*/ 986311 h 992538"/>
                <a:gd name="connsiteX6" fmla="*/ 775135 w 822733"/>
                <a:gd name="connsiteY6" fmla="*/ 970970 h 992538"/>
                <a:gd name="connsiteX7" fmla="*/ 778204 w 822733"/>
                <a:gd name="connsiteY7" fmla="*/ 394152 h 992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2733" h="992538">
                  <a:moveTo>
                    <a:pt x="778204" y="394152"/>
                  </a:moveTo>
                  <a:cubicBezTo>
                    <a:pt x="787408" y="363470"/>
                    <a:pt x="882522" y="133357"/>
                    <a:pt x="762863" y="68925"/>
                  </a:cubicBezTo>
                  <a:cubicBezTo>
                    <a:pt x="658544" y="13698"/>
                    <a:pt x="511272" y="-10848"/>
                    <a:pt x="391613" y="4493"/>
                  </a:cubicBezTo>
                  <a:cubicBezTo>
                    <a:pt x="259681" y="19834"/>
                    <a:pt x="127749" y="41311"/>
                    <a:pt x="90931" y="105743"/>
                  </a:cubicBezTo>
                  <a:cubicBezTo>
                    <a:pt x="-22592" y="292902"/>
                    <a:pt x="-22592" y="458584"/>
                    <a:pt x="51044" y="658016"/>
                  </a:cubicBezTo>
                  <a:cubicBezTo>
                    <a:pt x="72522" y="716311"/>
                    <a:pt x="78658" y="851311"/>
                    <a:pt x="93999" y="986311"/>
                  </a:cubicBezTo>
                  <a:cubicBezTo>
                    <a:pt x="93999" y="986311"/>
                    <a:pt x="379340" y="1007788"/>
                    <a:pt x="775135" y="970970"/>
                  </a:cubicBezTo>
                  <a:cubicBezTo>
                    <a:pt x="741385" y="750061"/>
                    <a:pt x="772067" y="418698"/>
                    <a:pt x="778204" y="394152"/>
                  </a:cubicBezTo>
                  <a:close/>
                </a:path>
              </a:pathLst>
            </a:custGeom>
            <a:solidFill>
              <a:srgbClr val="F6EBE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9" name="任意多边形: 形状 328">
              <a:extLst>
                <a:ext uri="{FF2B5EF4-FFF2-40B4-BE49-F238E27FC236}">
                  <a16:creationId xmlns:a16="http://schemas.microsoft.com/office/drawing/2014/main" id="{054B5E09-2A0C-477B-91BC-F55BF5AA230A}"/>
                </a:ext>
              </a:extLst>
            </p:cNvPr>
            <p:cNvSpPr/>
            <p:nvPr/>
          </p:nvSpPr>
          <p:spPr>
            <a:xfrm>
              <a:off x="8136939" y="2175369"/>
              <a:ext cx="327016" cy="602670"/>
            </a:xfrm>
            <a:custGeom>
              <a:avLst/>
              <a:gdLst>
                <a:gd name="connsiteX0" fmla="*/ 237705 w 327016"/>
                <a:gd name="connsiteY0" fmla="*/ 304390 h 602670"/>
                <a:gd name="connsiteX1" fmla="*/ 286796 w 327016"/>
                <a:gd name="connsiteY1" fmla="*/ 160185 h 602670"/>
                <a:gd name="connsiteX2" fmla="*/ 326682 w 327016"/>
                <a:gd name="connsiteY2" fmla="*/ 9844 h 602670"/>
                <a:gd name="connsiteX3" fmla="*/ 10660 w 327016"/>
                <a:gd name="connsiteY3" fmla="*/ 184731 h 602670"/>
                <a:gd name="connsiteX4" fmla="*/ 188614 w 327016"/>
                <a:gd name="connsiteY4" fmla="*/ 522231 h 602670"/>
                <a:gd name="connsiteX5" fmla="*/ 286796 w 327016"/>
                <a:gd name="connsiteY5" fmla="*/ 574390 h 602670"/>
                <a:gd name="connsiteX6" fmla="*/ 237705 w 327016"/>
                <a:gd name="connsiteY6" fmla="*/ 304390 h 602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016" h="602670">
                  <a:moveTo>
                    <a:pt x="237705" y="304390"/>
                  </a:moveTo>
                  <a:cubicBezTo>
                    <a:pt x="246909" y="252231"/>
                    <a:pt x="262250" y="206208"/>
                    <a:pt x="286796" y="160185"/>
                  </a:cubicBezTo>
                  <a:cubicBezTo>
                    <a:pt x="311341" y="111094"/>
                    <a:pt x="329751" y="9844"/>
                    <a:pt x="326682" y="9844"/>
                  </a:cubicBezTo>
                  <a:cubicBezTo>
                    <a:pt x="213160" y="-30042"/>
                    <a:pt x="44410" y="55867"/>
                    <a:pt x="10660" y="184731"/>
                  </a:cubicBezTo>
                  <a:cubicBezTo>
                    <a:pt x="-4681" y="249162"/>
                    <a:pt x="-35363" y="439390"/>
                    <a:pt x="188614" y="522231"/>
                  </a:cubicBezTo>
                  <a:cubicBezTo>
                    <a:pt x="286796" y="605071"/>
                    <a:pt x="274523" y="626549"/>
                    <a:pt x="286796" y="574390"/>
                  </a:cubicBezTo>
                  <a:cubicBezTo>
                    <a:pt x="296001" y="528367"/>
                    <a:pt x="228501" y="356549"/>
                    <a:pt x="237705" y="304390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0" name="任意多边形: 形状 329">
              <a:extLst>
                <a:ext uri="{FF2B5EF4-FFF2-40B4-BE49-F238E27FC236}">
                  <a16:creationId xmlns:a16="http://schemas.microsoft.com/office/drawing/2014/main" id="{9BA41710-FC39-4BF5-BD5D-EDDB2FE58712}"/>
                </a:ext>
              </a:extLst>
            </p:cNvPr>
            <p:cNvSpPr/>
            <p:nvPr/>
          </p:nvSpPr>
          <p:spPr>
            <a:xfrm>
              <a:off x="8207084" y="2211931"/>
              <a:ext cx="425287" cy="571898"/>
            </a:xfrm>
            <a:custGeom>
              <a:avLst/>
              <a:gdLst>
                <a:gd name="connsiteX0" fmla="*/ 8015 w 425287"/>
                <a:gd name="connsiteY0" fmla="*/ 184986 h 571898"/>
                <a:gd name="connsiteX1" fmla="*/ 20288 w 425287"/>
                <a:gd name="connsiteY1" fmla="*/ 442714 h 571898"/>
                <a:gd name="connsiteX2" fmla="*/ 170628 w 425287"/>
                <a:gd name="connsiteY2" fmla="*/ 571577 h 571898"/>
                <a:gd name="connsiteX3" fmla="*/ 388469 w 425287"/>
                <a:gd name="connsiteY3" fmla="*/ 427373 h 571898"/>
                <a:gd name="connsiteX4" fmla="*/ 425288 w 425287"/>
                <a:gd name="connsiteY4" fmla="*/ 200327 h 571898"/>
                <a:gd name="connsiteX5" fmla="*/ 210515 w 425287"/>
                <a:gd name="connsiteY5" fmla="*/ 895 h 571898"/>
                <a:gd name="connsiteX6" fmla="*/ 8015 w 425287"/>
                <a:gd name="connsiteY6" fmla="*/ 184986 h 571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5287" h="571898">
                  <a:moveTo>
                    <a:pt x="8015" y="184986"/>
                  </a:moveTo>
                  <a:cubicBezTo>
                    <a:pt x="8015" y="184986"/>
                    <a:pt x="-16530" y="375214"/>
                    <a:pt x="20288" y="442714"/>
                  </a:cubicBezTo>
                  <a:cubicBezTo>
                    <a:pt x="57106" y="510214"/>
                    <a:pt x="118469" y="568509"/>
                    <a:pt x="170628" y="571577"/>
                  </a:cubicBezTo>
                  <a:cubicBezTo>
                    <a:pt x="238128" y="577714"/>
                    <a:pt x="351651" y="494873"/>
                    <a:pt x="388469" y="427373"/>
                  </a:cubicBezTo>
                  <a:cubicBezTo>
                    <a:pt x="425288" y="359873"/>
                    <a:pt x="425288" y="252486"/>
                    <a:pt x="425288" y="200327"/>
                  </a:cubicBezTo>
                  <a:cubicBezTo>
                    <a:pt x="422219" y="105214"/>
                    <a:pt x="394606" y="25441"/>
                    <a:pt x="210515" y="895"/>
                  </a:cubicBezTo>
                  <a:cubicBezTo>
                    <a:pt x="121538" y="-11377"/>
                    <a:pt x="26424" y="105214"/>
                    <a:pt x="8015" y="184986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1" name="任意多边形: 形状 330">
              <a:extLst>
                <a:ext uri="{FF2B5EF4-FFF2-40B4-BE49-F238E27FC236}">
                  <a16:creationId xmlns:a16="http://schemas.microsoft.com/office/drawing/2014/main" id="{F1B1C1BB-52A7-4CA5-A95F-6DA617D0B204}"/>
                </a:ext>
              </a:extLst>
            </p:cNvPr>
            <p:cNvSpPr/>
            <p:nvPr/>
          </p:nvSpPr>
          <p:spPr>
            <a:xfrm>
              <a:off x="8343963" y="2481556"/>
              <a:ext cx="55226" cy="133202"/>
            </a:xfrm>
            <a:custGeom>
              <a:avLst/>
              <a:gdLst>
                <a:gd name="connsiteX0" fmla="*/ 30682 w 55226"/>
                <a:gd name="connsiteY0" fmla="*/ 133203 h 133202"/>
                <a:gd name="connsiteX1" fmla="*/ 6136 w 55226"/>
                <a:gd name="connsiteY1" fmla="*/ 127066 h 133202"/>
                <a:gd name="connsiteX2" fmla="*/ 0 w 55226"/>
                <a:gd name="connsiteY2" fmla="*/ 114794 h 133202"/>
                <a:gd name="connsiteX3" fmla="*/ 27613 w 55226"/>
                <a:gd name="connsiteY3" fmla="*/ 4339 h 133202"/>
                <a:gd name="connsiteX4" fmla="*/ 33750 w 55226"/>
                <a:gd name="connsiteY4" fmla="*/ 1271 h 133202"/>
                <a:gd name="connsiteX5" fmla="*/ 36818 w 55226"/>
                <a:gd name="connsiteY5" fmla="*/ 7407 h 133202"/>
                <a:gd name="connsiteX6" fmla="*/ 9204 w 55226"/>
                <a:gd name="connsiteY6" fmla="*/ 114794 h 133202"/>
                <a:gd name="connsiteX7" fmla="*/ 9204 w 55226"/>
                <a:gd name="connsiteY7" fmla="*/ 117862 h 133202"/>
                <a:gd name="connsiteX8" fmla="*/ 49091 w 55226"/>
                <a:gd name="connsiteY8" fmla="*/ 117862 h 133202"/>
                <a:gd name="connsiteX9" fmla="*/ 55227 w 55226"/>
                <a:gd name="connsiteY9" fmla="*/ 123998 h 133202"/>
                <a:gd name="connsiteX10" fmla="*/ 49091 w 55226"/>
                <a:gd name="connsiteY10" fmla="*/ 130135 h 133202"/>
                <a:gd name="connsiteX11" fmla="*/ 30682 w 55226"/>
                <a:gd name="connsiteY11" fmla="*/ 133203 h 13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226" h="133202">
                  <a:moveTo>
                    <a:pt x="30682" y="133203"/>
                  </a:moveTo>
                  <a:cubicBezTo>
                    <a:pt x="21477" y="133203"/>
                    <a:pt x="12273" y="133203"/>
                    <a:pt x="6136" y="127066"/>
                  </a:cubicBezTo>
                  <a:cubicBezTo>
                    <a:pt x="3068" y="123998"/>
                    <a:pt x="0" y="120930"/>
                    <a:pt x="0" y="114794"/>
                  </a:cubicBezTo>
                  <a:cubicBezTo>
                    <a:pt x="0" y="93316"/>
                    <a:pt x="27613" y="7407"/>
                    <a:pt x="27613" y="4339"/>
                  </a:cubicBezTo>
                  <a:cubicBezTo>
                    <a:pt x="27613" y="1271"/>
                    <a:pt x="30682" y="-1797"/>
                    <a:pt x="33750" y="1271"/>
                  </a:cubicBezTo>
                  <a:cubicBezTo>
                    <a:pt x="36818" y="1271"/>
                    <a:pt x="39886" y="4339"/>
                    <a:pt x="36818" y="7407"/>
                  </a:cubicBezTo>
                  <a:cubicBezTo>
                    <a:pt x="30682" y="31953"/>
                    <a:pt x="9204" y="96385"/>
                    <a:pt x="9204" y="114794"/>
                  </a:cubicBezTo>
                  <a:cubicBezTo>
                    <a:pt x="9204" y="114794"/>
                    <a:pt x="9204" y="117862"/>
                    <a:pt x="9204" y="117862"/>
                  </a:cubicBezTo>
                  <a:cubicBezTo>
                    <a:pt x="15341" y="123998"/>
                    <a:pt x="36818" y="120930"/>
                    <a:pt x="49091" y="117862"/>
                  </a:cubicBezTo>
                  <a:cubicBezTo>
                    <a:pt x="52159" y="117862"/>
                    <a:pt x="55227" y="117862"/>
                    <a:pt x="55227" y="123998"/>
                  </a:cubicBezTo>
                  <a:cubicBezTo>
                    <a:pt x="55227" y="127066"/>
                    <a:pt x="55227" y="130135"/>
                    <a:pt x="49091" y="130135"/>
                  </a:cubicBezTo>
                  <a:cubicBezTo>
                    <a:pt x="49091" y="133203"/>
                    <a:pt x="39886" y="133203"/>
                    <a:pt x="30682" y="133203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2" name="任意多边形: 形状 331">
              <a:extLst>
                <a:ext uri="{FF2B5EF4-FFF2-40B4-BE49-F238E27FC236}">
                  <a16:creationId xmlns:a16="http://schemas.microsoft.com/office/drawing/2014/main" id="{D5D40D66-58A9-4AEF-810F-0077616A22DE}"/>
                </a:ext>
              </a:extLst>
            </p:cNvPr>
            <p:cNvSpPr/>
            <p:nvPr/>
          </p:nvSpPr>
          <p:spPr>
            <a:xfrm>
              <a:off x="8325554" y="2666918"/>
              <a:ext cx="107386" cy="55227"/>
            </a:xfrm>
            <a:custGeom>
              <a:avLst/>
              <a:gdLst>
                <a:gd name="connsiteX0" fmla="*/ 107386 w 107386"/>
                <a:gd name="connsiteY0" fmla="*/ 0 h 55227"/>
                <a:gd name="connsiteX1" fmla="*/ 0 w 107386"/>
                <a:gd name="connsiteY1" fmla="*/ 0 h 55227"/>
                <a:gd name="connsiteX2" fmla="*/ 52159 w 107386"/>
                <a:gd name="connsiteY2" fmla="*/ 55227 h 55227"/>
                <a:gd name="connsiteX3" fmla="*/ 107386 w 107386"/>
                <a:gd name="connsiteY3" fmla="*/ 0 h 55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386" h="55227">
                  <a:moveTo>
                    <a:pt x="107386" y="0"/>
                  </a:moveTo>
                  <a:cubicBezTo>
                    <a:pt x="52159" y="24545"/>
                    <a:pt x="0" y="0"/>
                    <a:pt x="0" y="0"/>
                  </a:cubicBezTo>
                  <a:cubicBezTo>
                    <a:pt x="0" y="0"/>
                    <a:pt x="15341" y="55227"/>
                    <a:pt x="52159" y="55227"/>
                  </a:cubicBezTo>
                  <a:cubicBezTo>
                    <a:pt x="92045" y="52159"/>
                    <a:pt x="107386" y="0"/>
                    <a:pt x="107386" y="0"/>
                  </a:cubicBezTo>
                  <a:close/>
                </a:path>
              </a:pathLst>
            </a:custGeom>
            <a:solidFill>
              <a:srgbClr val="FFFFFF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3" name="任意多边形: 形状 332">
              <a:extLst>
                <a:ext uri="{FF2B5EF4-FFF2-40B4-BE49-F238E27FC236}">
                  <a16:creationId xmlns:a16="http://schemas.microsoft.com/office/drawing/2014/main" id="{9F33B2F6-52F6-479A-A6C6-1B4E9473BF4A}"/>
                </a:ext>
              </a:extLst>
            </p:cNvPr>
            <p:cNvSpPr/>
            <p:nvPr/>
          </p:nvSpPr>
          <p:spPr>
            <a:xfrm>
              <a:off x="8269544" y="2454431"/>
              <a:ext cx="41450" cy="41450"/>
            </a:xfrm>
            <a:custGeom>
              <a:avLst/>
              <a:gdLst>
                <a:gd name="connsiteX0" fmla="*/ 40668 w 41450"/>
                <a:gd name="connsiteY0" fmla="*/ 25327 h 41450"/>
                <a:gd name="connsiteX1" fmla="*/ 16123 w 41450"/>
                <a:gd name="connsiteY1" fmla="*/ 40668 h 41450"/>
                <a:gd name="connsiteX2" fmla="*/ 782 w 41450"/>
                <a:gd name="connsiteY2" fmla="*/ 16123 h 41450"/>
                <a:gd name="connsiteX3" fmla="*/ 25327 w 41450"/>
                <a:gd name="connsiteY3" fmla="*/ 782 h 41450"/>
                <a:gd name="connsiteX4" fmla="*/ 40668 w 41450"/>
                <a:gd name="connsiteY4" fmla="*/ 25327 h 4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450" h="41450">
                  <a:moveTo>
                    <a:pt x="40668" y="25327"/>
                  </a:moveTo>
                  <a:cubicBezTo>
                    <a:pt x="37600" y="37600"/>
                    <a:pt x="28396" y="43736"/>
                    <a:pt x="16123" y="40668"/>
                  </a:cubicBezTo>
                  <a:cubicBezTo>
                    <a:pt x="3850" y="37600"/>
                    <a:pt x="-2286" y="28396"/>
                    <a:pt x="782" y="16123"/>
                  </a:cubicBezTo>
                  <a:cubicBezTo>
                    <a:pt x="3850" y="3850"/>
                    <a:pt x="13055" y="-2286"/>
                    <a:pt x="25327" y="782"/>
                  </a:cubicBezTo>
                  <a:cubicBezTo>
                    <a:pt x="37600" y="3850"/>
                    <a:pt x="43737" y="16123"/>
                    <a:pt x="40668" y="2532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4" name="任意多边形: 形状 333">
              <a:extLst>
                <a:ext uri="{FF2B5EF4-FFF2-40B4-BE49-F238E27FC236}">
                  <a16:creationId xmlns:a16="http://schemas.microsoft.com/office/drawing/2014/main" id="{0EA79CE7-8E1F-44AD-874A-C41297BFFE5F}"/>
                </a:ext>
              </a:extLst>
            </p:cNvPr>
            <p:cNvSpPr/>
            <p:nvPr/>
          </p:nvSpPr>
          <p:spPr>
            <a:xfrm>
              <a:off x="8462840" y="2460568"/>
              <a:ext cx="40668" cy="41450"/>
            </a:xfrm>
            <a:custGeom>
              <a:avLst/>
              <a:gdLst>
                <a:gd name="connsiteX0" fmla="*/ 40668 w 40668"/>
                <a:gd name="connsiteY0" fmla="*/ 25327 h 41450"/>
                <a:gd name="connsiteX1" fmla="*/ 16123 w 40668"/>
                <a:gd name="connsiteY1" fmla="*/ 40668 h 41450"/>
                <a:gd name="connsiteX2" fmla="*/ 782 w 40668"/>
                <a:gd name="connsiteY2" fmla="*/ 16123 h 41450"/>
                <a:gd name="connsiteX3" fmla="*/ 25327 w 40668"/>
                <a:gd name="connsiteY3" fmla="*/ 782 h 41450"/>
                <a:gd name="connsiteX4" fmla="*/ 40668 w 40668"/>
                <a:gd name="connsiteY4" fmla="*/ 25327 h 4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68" h="41450">
                  <a:moveTo>
                    <a:pt x="40668" y="25327"/>
                  </a:moveTo>
                  <a:cubicBezTo>
                    <a:pt x="37600" y="37600"/>
                    <a:pt x="28395" y="43736"/>
                    <a:pt x="16123" y="40668"/>
                  </a:cubicBezTo>
                  <a:cubicBezTo>
                    <a:pt x="3850" y="37600"/>
                    <a:pt x="-2286" y="28396"/>
                    <a:pt x="782" y="16123"/>
                  </a:cubicBezTo>
                  <a:cubicBezTo>
                    <a:pt x="3850" y="3850"/>
                    <a:pt x="13054" y="-2286"/>
                    <a:pt x="25327" y="782"/>
                  </a:cubicBezTo>
                  <a:cubicBezTo>
                    <a:pt x="34532" y="3850"/>
                    <a:pt x="40668" y="16123"/>
                    <a:pt x="40668" y="2532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5" name="任意多边形: 形状 334">
              <a:extLst>
                <a:ext uri="{FF2B5EF4-FFF2-40B4-BE49-F238E27FC236}">
                  <a16:creationId xmlns:a16="http://schemas.microsoft.com/office/drawing/2014/main" id="{C614AD89-1FFB-4225-9D41-B0DE9457F666}"/>
                </a:ext>
              </a:extLst>
            </p:cNvPr>
            <p:cNvSpPr/>
            <p:nvPr/>
          </p:nvSpPr>
          <p:spPr>
            <a:xfrm>
              <a:off x="8246548" y="2404950"/>
              <a:ext cx="92549" cy="34922"/>
            </a:xfrm>
            <a:custGeom>
              <a:avLst/>
              <a:gdLst>
                <a:gd name="connsiteX0" fmla="*/ 8438 w 92549"/>
                <a:gd name="connsiteY0" fmla="*/ 34922 h 34922"/>
                <a:gd name="connsiteX1" fmla="*/ 2301 w 92549"/>
                <a:gd name="connsiteY1" fmla="*/ 31854 h 34922"/>
                <a:gd name="connsiteX2" fmla="*/ 2301 w 92549"/>
                <a:gd name="connsiteY2" fmla="*/ 19581 h 34922"/>
                <a:gd name="connsiteX3" fmla="*/ 88210 w 92549"/>
                <a:gd name="connsiteY3" fmla="*/ 10377 h 34922"/>
                <a:gd name="connsiteX4" fmla="*/ 91278 w 92549"/>
                <a:gd name="connsiteY4" fmla="*/ 19581 h 34922"/>
                <a:gd name="connsiteX5" fmla="*/ 82074 w 92549"/>
                <a:gd name="connsiteY5" fmla="*/ 22650 h 34922"/>
                <a:gd name="connsiteX6" fmla="*/ 14574 w 92549"/>
                <a:gd name="connsiteY6" fmla="*/ 28786 h 34922"/>
                <a:gd name="connsiteX7" fmla="*/ 8438 w 92549"/>
                <a:gd name="connsiteY7" fmla="*/ 34922 h 34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4922">
                  <a:moveTo>
                    <a:pt x="8438" y="34922"/>
                  </a:moveTo>
                  <a:cubicBezTo>
                    <a:pt x="5370" y="34922"/>
                    <a:pt x="5370" y="34922"/>
                    <a:pt x="2301" y="31854"/>
                  </a:cubicBezTo>
                  <a:cubicBezTo>
                    <a:pt x="-767" y="28786"/>
                    <a:pt x="-767" y="22650"/>
                    <a:pt x="2301" y="19581"/>
                  </a:cubicBezTo>
                  <a:cubicBezTo>
                    <a:pt x="29915" y="-11100"/>
                    <a:pt x="69801" y="1172"/>
                    <a:pt x="88210" y="10377"/>
                  </a:cubicBezTo>
                  <a:cubicBezTo>
                    <a:pt x="91278" y="13445"/>
                    <a:pt x="94347" y="16513"/>
                    <a:pt x="91278" y="19581"/>
                  </a:cubicBezTo>
                  <a:cubicBezTo>
                    <a:pt x="88210" y="22650"/>
                    <a:pt x="85142" y="25718"/>
                    <a:pt x="82074" y="22650"/>
                  </a:cubicBezTo>
                  <a:cubicBezTo>
                    <a:pt x="79006" y="22650"/>
                    <a:pt x="39119" y="1172"/>
                    <a:pt x="14574" y="28786"/>
                  </a:cubicBezTo>
                  <a:cubicBezTo>
                    <a:pt x="11506" y="34922"/>
                    <a:pt x="8438" y="34922"/>
                    <a:pt x="8438" y="34922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6" name="任意多边形: 形状 335">
              <a:extLst>
                <a:ext uri="{FF2B5EF4-FFF2-40B4-BE49-F238E27FC236}">
                  <a16:creationId xmlns:a16="http://schemas.microsoft.com/office/drawing/2014/main" id="{63D02E6A-E587-473A-9C52-E835B1E39075}"/>
                </a:ext>
              </a:extLst>
            </p:cNvPr>
            <p:cNvSpPr/>
            <p:nvPr/>
          </p:nvSpPr>
          <p:spPr>
            <a:xfrm>
              <a:off x="8434737" y="2406434"/>
              <a:ext cx="92549" cy="36505"/>
            </a:xfrm>
            <a:custGeom>
              <a:avLst/>
              <a:gdLst>
                <a:gd name="connsiteX0" fmla="*/ 87180 w 92549"/>
                <a:gd name="connsiteY0" fmla="*/ 36506 h 36505"/>
                <a:gd name="connsiteX1" fmla="*/ 81043 w 92549"/>
                <a:gd name="connsiteY1" fmla="*/ 33438 h 36505"/>
                <a:gd name="connsiteX2" fmla="*/ 13544 w 92549"/>
                <a:gd name="connsiteY2" fmla="*/ 27301 h 36505"/>
                <a:gd name="connsiteX3" fmla="*/ 1271 w 92549"/>
                <a:gd name="connsiteY3" fmla="*/ 24233 h 36505"/>
                <a:gd name="connsiteX4" fmla="*/ 4339 w 92549"/>
                <a:gd name="connsiteY4" fmla="*/ 11961 h 36505"/>
                <a:gd name="connsiteX5" fmla="*/ 90248 w 92549"/>
                <a:gd name="connsiteY5" fmla="*/ 21165 h 36505"/>
                <a:gd name="connsiteX6" fmla="*/ 90248 w 92549"/>
                <a:gd name="connsiteY6" fmla="*/ 33438 h 36505"/>
                <a:gd name="connsiteX7" fmla="*/ 87180 w 92549"/>
                <a:gd name="connsiteY7" fmla="*/ 36506 h 3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6505">
                  <a:moveTo>
                    <a:pt x="87180" y="36506"/>
                  </a:moveTo>
                  <a:cubicBezTo>
                    <a:pt x="84112" y="36506"/>
                    <a:pt x="84112" y="36506"/>
                    <a:pt x="81043" y="33438"/>
                  </a:cubicBezTo>
                  <a:cubicBezTo>
                    <a:pt x="81043" y="33438"/>
                    <a:pt x="50362" y="2756"/>
                    <a:pt x="13544" y="27301"/>
                  </a:cubicBezTo>
                  <a:cubicBezTo>
                    <a:pt x="10475" y="30370"/>
                    <a:pt x="4339" y="27301"/>
                    <a:pt x="1271" y="24233"/>
                  </a:cubicBezTo>
                  <a:cubicBezTo>
                    <a:pt x="-1797" y="21165"/>
                    <a:pt x="1271" y="15029"/>
                    <a:pt x="4339" y="11961"/>
                  </a:cubicBezTo>
                  <a:cubicBezTo>
                    <a:pt x="41157" y="-12585"/>
                    <a:pt x="77976" y="5824"/>
                    <a:pt x="90248" y="21165"/>
                  </a:cubicBezTo>
                  <a:cubicBezTo>
                    <a:pt x="93316" y="24233"/>
                    <a:pt x="93316" y="30370"/>
                    <a:pt x="90248" y="33438"/>
                  </a:cubicBezTo>
                  <a:cubicBezTo>
                    <a:pt x="90248" y="33438"/>
                    <a:pt x="90248" y="36506"/>
                    <a:pt x="87180" y="36506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7" name="任意多边形: 形状 336">
              <a:extLst>
                <a:ext uri="{FF2B5EF4-FFF2-40B4-BE49-F238E27FC236}">
                  <a16:creationId xmlns:a16="http://schemas.microsoft.com/office/drawing/2014/main" id="{A17A46D8-5723-4184-BF89-FC221BB85795}"/>
                </a:ext>
              </a:extLst>
            </p:cNvPr>
            <p:cNvSpPr/>
            <p:nvPr/>
          </p:nvSpPr>
          <p:spPr>
            <a:xfrm>
              <a:off x="8187258" y="2179860"/>
              <a:ext cx="278468" cy="260012"/>
            </a:xfrm>
            <a:custGeom>
              <a:avLst/>
              <a:gdLst>
                <a:gd name="connsiteX0" fmla="*/ 276364 w 278468"/>
                <a:gd name="connsiteY0" fmla="*/ 2285 h 260012"/>
                <a:gd name="connsiteX1" fmla="*/ 239546 w 278468"/>
                <a:gd name="connsiteY1" fmla="*/ 131149 h 260012"/>
                <a:gd name="connsiteX2" fmla="*/ 227 w 278468"/>
                <a:gd name="connsiteY2" fmla="*/ 260013 h 260012"/>
                <a:gd name="connsiteX3" fmla="*/ 276364 w 278468"/>
                <a:gd name="connsiteY3" fmla="*/ 2285 h 26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468" h="260012">
                  <a:moveTo>
                    <a:pt x="276364" y="2285"/>
                  </a:moveTo>
                  <a:cubicBezTo>
                    <a:pt x="276364" y="2285"/>
                    <a:pt x="291705" y="91263"/>
                    <a:pt x="239546" y="131149"/>
                  </a:cubicBezTo>
                  <a:cubicBezTo>
                    <a:pt x="239546" y="131149"/>
                    <a:pt x="27841" y="174103"/>
                    <a:pt x="227" y="260013"/>
                  </a:cubicBezTo>
                  <a:cubicBezTo>
                    <a:pt x="227" y="260013"/>
                    <a:pt x="-18182" y="-28397"/>
                    <a:pt x="276364" y="2285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8" name="任意多边形: 形状 337">
              <a:extLst>
                <a:ext uri="{FF2B5EF4-FFF2-40B4-BE49-F238E27FC236}">
                  <a16:creationId xmlns:a16="http://schemas.microsoft.com/office/drawing/2014/main" id="{5475157E-E600-4443-BDA9-BD3101BAB3A5}"/>
                </a:ext>
              </a:extLst>
            </p:cNvPr>
            <p:cNvSpPr/>
            <p:nvPr/>
          </p:nvSpPr>
          <p:spPr>
            <a:xfrm>
              <a:off x="8426804" y="2182145"/>
              <a:ext cx="225682" cy="316520"/>
            </a:xfrm>
            <a:custGeom>
              <a:avLst/>
              <a:gdLst>
                <a:gd name="connsiteX0" fmla="*/ 0 w 225682"/>
                <a:gd name="connsiteY0" fmla="*/ 128864 h 316520"/>
                <a:gd name="connsiteX1" fmla="*/ 141136 w 225682"/>
                <a:gd name="connsiteY1" fmla="*/ 184091 h 316520"/>
                <a:gd name="connsiteX2" fmla="*/ 199432 w 225682"/>
                <a:gd name="connsiteY2" fmla="*/ 303750 h 316520"/>
                <a:gd name="connsiteX3" fmla="*/ 223977 w 225682"/>
                <a:gd name="connsiteY3" fmla="*/ 300682 h 316520"/>
                <a:gd name="connsiteX4" fmla="*/ 33750 w 225682"/>
                <a:gd name="connsiteY4" fmla="*/ 0 h 316520"/>
                <a:gd name="connsiteX5" fmla="*/ 0 w 225682"/>
                <a:gd name="connsiteY5" fmla="*/ 128864 h 316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5682" h="316520">
                  <a:moveTo>
                    <a:pt x="0" y="128864"/>
                  </a:moveTo>
                  <a:cubicBezTo>
                    <a:pt x="0" y="128864"/>
                    <a:pt x="92045" y="177955"/>
                    <a:pt x="141136" y="184091"/>
                  </a:cubicBezTo>
                  <a:cubicBezTo>
                    <a:pt x="193296" y="190227"/>
                    <a:pt x="199432" y="303750"/>
                    <a:pt x="199432" y="303750"/>
                  </a:cubicBezTo>
                  <a:cubicBezTo>
                    <a:pt x="199432" y="303750"/>
                    <a:pt x="220909" y="334432"/>
                    <a:pt x="223977" y="300682"/>
                  </a:cubicBezTo>
                  <a:cubicBezTo>
                    <a:pt x="230114" y="220909"/>
                    <a:pt x="230114" y="21477"/>
                    <a:pt x="33750" y="0"/>
                  </a:cubicBezTo>
                  <a:cubicBezTo>
                    <a:pt x="36818" y="0"/>
                    <a:pt x="24546" y="122727"/>
                    <a:pt x="0" y="128864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9" name="任意多边形: 形状 338">
              <a:extLst>
                <a:ext uri="{FF2B5EF4-FFF2-40B4-BE49-F238E27FC236}">
                  <a16:creationId xmlns:a16="http://schemas.microsoft.com/office/drawing/2014/main" id="{403032B0-2FAA-487C-91AD-40D25E42CE08}"/>
                </a:ext>
              </a:extLst>
            </p:cNvPr>
            <p:cNvSpPr/>
            <p:nvPr/>
          </p:nvSpPr>
          <p:spPr>
            <a:xfrm>
              <a:off x="8423735" y="2228168"/>
              <a:ext cx="156477" cy="144204"/>
            </a:xfrm>
            <a:custGeom>
              <a:avLst/>
              <a:gdLst>
                <a:gd name="connsiteX0" fmla="*/ 147273 w 156477"/>
                <a:gd name="connsiteY0" fmla="*/ 144205 h 144204"/>
                <a:gd name="connsiteX1" fmla="*/ 147273 w 156477"/>
                <a:gd name="connsiteY1" fmla="*/ 144205 h 144204"/>
                <a:gd name="connsiteX2" fmla="*/ 49091 w 156477"/>
                <a:gd name="connsiteY2" fmla="*/ 110455 h 144204"/>
                <a:gd name="connsiteX3" fmla="*/ 3068 w 156477"/>
                <a:gd name="connsiteY3" fmla="*/ 85909 h 144204"/>
                <a:gd name="connsiteX4" fmla="*/ 0 w 156477"/>
                <a:gd name="connsiteY4" fmla="*/ 82841 h 144204"/>
                <a:gd name="connsiteX5" fmla="*/ 0 w 156477"/>
                <a:gd name="connsiteY5" fmla="*/ 76705 h 144204"/>
                <a:gd name="connsiteX6" fmla="*/ 27614 w 156477"/>
                <a:gd name="connsiteY6" fmla="*/ 6136 h 144204"/>
                <a:gd name="connsiteX7" fmla="*/ 33750 w 156477"/>
                <a:gd name="connsiteY7" fmla="*/ 0 h 144204"/>
                <a:gd name="connsiteX8" fmla="*/ 39886 w 156477"/>
                <a:gd name="connsiteY8" fmla="*/ 6136 h 144204"/>
                <a:gd name="connsiteX9" fmla="*/ 15341 w 156477"/>
                <a:gd name="connsiteY9" fmla="*/ 76705 h 144204"/>
                <a:gd name="connsiteX10" fmla="*/ 55227 w 156477"/>
                <a:gd name="connsiteY10" fmla="*/ 98182 h 144204"/>
                <a:gd name="connsiteX11" fmla="*/ 150341 w 156477"/>
                <a:gd name="connsiteY11" fmla="*/ 128864 h 144204"/>
                <a:gd name="connsiteX12" fmla="*/ 156477 w 156477"/>
                <a:gd name="connsiteY12" fmla="*/ 135000 h 144204"/>
                <a:gd name="connsiteX13" fmla="*/ 147273 w 156477"/>
                <a:gd name="connsiteY13" fmla="*/ 144205 h 144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6477" h="144204">
                  <a:moveTo>
                    <a:pt x="147273" y="144205"/>
                  </a:moveTo>
                  <a:cubicBezTo>
                    <a:pt x="147273" y="144205"/>
                    <a:pt x="147273" y="144205"/>
                    <a:pt x="147273" y="144205"/>
                  </a:cubicBezTo>
                  <a:cubicBezTo>
                    <a:pt x="110455" y="138068"/>
                    <a:pt x="73637" y="122727"/>
                    <a:pt x="49091" y="110455"/>
                  </a:cubicBezTo>
                  <a:cubicBezTo>
                    <a:pt x="21477" y="98182"/>
                    <a:pt x="3068" y="85909"/>
                    <a:pt x="3068" y="85909"/>
                  </a:cubicBezTo>
                  <a:cubicBezTo>
                    <a:pt x="3068" y="85909"/>
                    <a:pt x="0" y="82841"/>
                    <a:pt x="0" y="82841"/>
                  </a:cubicBezTo>
                  <a:cubicBezTo>
                    <a:pt x="0" y="79773"/>
                    <a:pt x="0" y="79773"/>
                    <a:pt x="0" y="76705"/>
                  </a:cubicBezTo>
                  <a:cubicBezTo>
                    <a:pt x="6136" y="70568"/>
                    <a:pt x="24546" y="30682"/>
                    <a:pt x="27614" y="6136"/>
                  </a:cubicBezTo>
                  <a:cubicBezTo>
                    <a:pt x="27614" y="3068"/>
                    <a:pt x="30682" y="0"/>
                    <a:pt x="33750" y="0"/>
                  </a:cubicBezTo>
                  <a:cubicBezTo>
                    <a:pt x="36818" y="0"/>
                    <a:pt x="39886" y="3068"/>
                    <a:pt x="39886" y="6136"/>
                  </a:cubicBezTo>
                  <a:cubicBezTo>
                    <a:pt x="39886" y="30682"/>
                    <a:pt x="24546" y="64432"/>
                    <a:pt x="15341" y="76705"/>
                  </a:cubicBezTo>
                  <a:cubicBezTo>
                    <a:pt x="21477" y="79773"/>
                    <a:pt x="36818" y="88977"/>
                    <a:pt x="55227" y="98182"/>
                  </a:cubicBezTo>
                  <a:cubicBezTo>
                    <a:pt x="79773" y="110455"/>
                    <a:pt x="116591" y="125795"/>
                    <a:pt x="150341" y="128864"/>
                  </a:cubicBezTo>
                  <a:cubicBezTo>
                    <a:pt x="153409" y="128864"/>
                    <a:pt x="156477" y="131932"/>
                    <a:pt x="156477" y="135000"/>
                  </a:cubicBezTo>
                  <a:cubicBezTo>
                    <a:pt x="153409" y="141136"/>
                    <a:pt x="150341" y="144205"/>
                    <a:pt x="147273" y="144205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0" name="任意多边形: 形状 339">
              <a:extLst>
                <a:ext uri="{FF2B5EF4-FFF2-40B4-BE49-F238E27FC236}">
                  <a16:creationId xmlns:a16="http://schemas.microsoft.com/office/drawing/2014/main" id="{297A27A1-CD37-4DA3-99DE-6F011E03C448}"/>
                </a:ext>
              </a:extLst>
            </p:cNvPr>
            <p:cNvSpPr/>
            <p:nvPr/>
          </p:nvSpPr>
          <p:spPr>
            <a:xfrm>
              <a:off x="8261122" y="2673054"/>
              <a:ext cx="309886" cy="225738"/>
            </a:xfrm>
            <a:custGeom>
              <a:avLst/>
              <a:gdLst>
                <a:gd name="connsiteX0" fmla="*/ 55227 w 309886"/>
                <a:gd name="connsiteY0" fmla="*/ 61364 h 225738"/>
                <a:gd name="connsiteX1" fmla="*/ 0 w 309886"/>
                <a:gd name="connsiteY1" fmla="*/ 202500 h 225738"/>
                <a:gd name="connsiteX2" fmla="*/ 309887 w 309886"/>
                <a:gd name="connsiteY2" fmla="*/ 187159 h 225738"/>
                <a:gd name="connsiteX3" fmla="*/ 257728 w 309886"/>
                <a:gd name="connsiteY3" fmla="*/ 0 h 225738"/>
                <a:gd name="connsiteX4" fmla="*/ 55227 w 309886"/>
                <a:gd name="connsiteY4" fmla="*/ 61364 h 22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886" h="225738">
                  <a:moveTo>
                    <a:pt x="55227" y="61364"/>
                  </a:moveTo>
                  <a:cubicBezTo>
                    <a:pt x="55227" y="61364"/>
                    <a:pt x="61364" y="171818"/>
                    <a:pt x="0" y="202500"/>
                  </a:cubicBezTo>
                  <a:cubicBezTo>
                    <a:pt x="0" y="202500"/>
                    <a:pt x="181023" y="263864"/>
                    <a:pt x="309887" y="187159"/>
                  </a:cubicBezTo>
                  <a:cubicBezTo>
                    <a:pt x="254659" y="144205"/>
                    <a:pt x="257728" y="61364"/>
                    <a:pt x="257728" y="0"/>
                  </a:cubicBezTo>
                  <a:cubicBezTo>
                    <a:pt x="257728" y="0"/>
                    <a:pt x="107386" y="70568"/>
                    <a:pt x="55227" y="61364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1" name="任意多边形: 形状 340">
              <a:extLst>
                <a:ext uri="{FF2B5EF4-FFF2-40B4-BE49-F238E27FC236}">
                  <a16:creationId xmlns:a16="http://schemas.microsoft.com/office/drawing/2014/main" id="{A1ED8B3D-C941-4015-B709-0E33EA8BDBFD}"/>
                </a:ext>
              </a:extLst>
            </p:cNvPr>
            <p:cNvSpPr/>
            <p:nvPr/>
          </p:nvSpPr>
          <p:spPr>
            <a:xfrm>
              <a:off x="8307911" y="2711670"/>
              <a:ext cx="224481" cy="81043"/>
            </a:xfrm>
            <a:custGeom>
              <a:avLst/>
              <a:gdLst>
                <a:gd name="connsiteX0" fmla="*/ 72870 w 224481"/>
                <a:gd name="connsiteY0" fmla="*/ 81044 h 81043"/>
                <a:gd name="connsiteX1" fmla="*/ 2301 w 224481"/>
                <a:gd name="connsiteY1" fmla="*/ 53430 h 81043"/>
                <a:gd name="connsiteX2" fmla="*/ 2301 w 224481"/>
                <a:gd name="connsiteY2" fmla="*/ 44225 h 81043"/>
                <a:gd name="connsiteX3" fmla="*/ 11506 w 224481"/>
                <a:gd name="connsiteY3" fmla="*/ 44225 h 81043"/>
                <a:gd name="connsiteX4" fmla="*/ 82074 w 224481"/>
                <a:gd name="connsiteY4" fmla="*/ 68771 h 81043"/>
                <a:gd name="connsiteX5" fmla="*/ 214006 w 224481"/>
                <a:gd name="connsiteY5" fmla="*/ 1271 h 81043"/>
                <a:gd name="connsiteX6" fmla="*/ 223210 w 224481"/>
                <a:gd name="connsiteY6" fmla="*/ 4339 h 81043"/>
                <a:gd name="connsiteX7" fmla="*/ 220142 w 224481"/>
                <a:gd name="connsiteY7" fmla="*/ 13544 h 81043"/>
                <a:gd name="connsiteX8" fmla="*/ 82074 w 224481"/>
                <a:gd name="connsiteY8" fmla="*/ 81044 h 81043"/>
                <a:gd name="connsiteX9" fmla="*/ 72870 w 224481"/>
                <a:gd name="connsiteY9" fmla="*/ 81044 h 81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481" h="81043">
                  <a:moveTo>
                    <a:pt x="72870" y="81044"/>
                  </a:moveTo>
                  <a:cubicBezTo>
                    <a:pt x="32983" y="81044"/>
                    <a:pt x="5370" y="53430"/>
                    <a:pt x="2301" y="53430"/>
                  </a:cubicBezTo>
                  <a:cubicBezTo>
                    <a:pt x="-767" y="50362"/>
                    <a:pt x="-767" y="47294"/>
                    <a:pt x="2301" y="44225"/>
                  </a:cubicBezTo>
                  <a:cubicBezTo>
                    <a:pt x="5370" y="41157"/>
                    <a:pt x="8438" y="41157"/>
                    <a:pt x="11506" y="44225"/>
                  </a:cubicBezTo>
                  <a:cubicBezTo>
                    <a:pt x="11506" y="44225"/>
                    <a:pt x="45256" y="71839"/>
                    <a:pt x="82074" y="68771"/>
                  </a:cubicBezTo>
                  <a:cubicBezTo>
                    <a:pt x="121960" y="62634"/>
                    <a:pt x="214006" y="1271"/>
                    <a:pt x="214006" y="1271"/>
                  </a:cubicBezTo>
                  <a:cubicBezTo>
                    <a:pt x="217074" y="-1797"/>
                    <a:pt x="220142" y="1271"/>
                    <a:pt x="223210" y="4339"/>
                  </a:cubicBezTo>
                  <a:cubicBezTo>
                    <a:pt x="226279" y="7407"/>
                    <a:pt x="223210" y="10475"/>
                    <a:pt x="220142" y="13544"/>
                  </a:cubicBezTo>
                  <a:cubicBezTo>
                    <a:pt x="217074" y="16612"/>
                    <a:pt x="125029" y="77975"/>
                    <a:pt x="82074" y="81044"/>
                  </a:cubicBezTo>
                  <a:cubicBezTo>
                    <a:pt x="79006" y="77975"/>
                    <a:pt x="75937" y="81044"/>
                    <a:pt x="72870" y="81044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2" name="任意多边形: 形状 341">
              <a:extLst>
                <a:ext uri="{FF2B5EF4-FFF2-40B4-BE49-F238E27FC236}">
                  <a16:creationId xmlns:a16="http://schemas.microsoft.com/office/drawing/2014/main" id="{E202F116-748B-4157-BC82-E7E43D0A499A}"/>
                </a:ext>
              </a:extLst>
            </p:cNvPr>
            <p:cNvSpPr/>
            <p:nvPr/>
          </p:nvSpPr>
          <p:spPr>
            <a:xfrm>
              <a:off x="7974949" y="2955327"/>
              <a:ext cx="102081" cy="558409"/>
            </a:xfrm>
            <a:custGeom>
              <a:avLst/>
              <a:gdLst>
                <a:gd name="connsiteX0" fmla="*/ 56059 w 102081"/>
                <a:gd name="connsiteY0" fmla="*/ 558409 h 558409"/>
                <a:gd name="connsiteX1" fmla="*/ 49923 w 102081"/>
                <a:gd name="connsiteY1" fmla="*/ 555341 h 558409"/>
                <a:gd name="connsiteX2" fmla="*/ 34582 w 102081"/>
                <a:gd name="connsiteY2" fmla="*/ 500114 h 558409"/>
                <a:gd name="connsiteX3" fmla="*/ 832 w 102081"/>
                <a:gd name="connsiteY3" fmla="*/ 349773 h 558409"/>
                <a:gd name="connsiteX4" fmla="*/ 89809 w 102081"/>
                <a:gd name="connsiteY4" fmla="*/ 3068 h 558409"/>
                <a:gd name="connsiteX5" fmla="*/ 99014 w 102081"/>
                <a:gd name="connsiteY5" fmla="*/ 0 h 558409"/>
                <a:gd name="connsiteX6" fmla="*/ 102082 w 102081"/>
                <a:gd name="connsiteY6" fmla="*/ 9205 h 558409"/>
                <a:gd name="connsiteX7" fmla="*/ 13105 w 102081"/>
                <a:gd name="connsiteY7" fmla="*/ 349773 h 558409"/>
                <a:gd name="connsiteX8" fmla="*/ 46855 w 102081"/>
                <a:gd name="connsiteY8" fmla="*/ 500114 h 558409"/>
                <a:gd name="connsiteX9" fmla="*/ 62196 w 102081"/>
                <a:gd name="connsiteY9" fmla="*/ 555341 h 558409"/>
                <a:gd name="connsiteX10" fmla="*/ 56059 w 102081"/>
                <a:gd name="connsiteY10" fmla="*/ 558409 h 558409"/>
                <a:gd name="connsiteX11" fmla="*/ 56059 w 102081"/>
                <a:gd name="connsiteY11" fmla="*/ 558409 h 558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081" h="558409">
                  <a:moveTo>
                    <a:pt x="56059" y="558409"/>
                  </a:moveTo>
                  <a:cubicBezTo>
                    <a:pt x="52991" y="558409"/>
                    <a:pt x="49923" y="555341"/>
                    <a:pt x="49923" y="555341"/>
                  </a:cubicBezTo>
                  <a:cubicBezTo>
                    <a:pt x="43787" y="536932"/>
                    <a:pt x="40718" y="518523"/>
                    <a:pt x="34582" y="500114"/>
                  </a:cubicBezTo>
                  <a:cubicBezTo>
                    <a:pt x="19241" y="447955"/>
                    <a:pt x="3900" y="395795"/>
                    <a:pt x="832" y="349773"/>
                  </a:cubicBezTo>
                  <a:cubicBezTo>
                    <a:pt x="-5304" y="223977"/>
                    <a:pt x="22309" y="107386"/>
                    <a:pt x="89809" y="3068"/>
                  </a:cubicBezTo>
                  <a:cubicBezTo>
                    <a:pt x="92878" y="0"/>
                    <a:pt x="95946" y="0"/>
                    <a:pt x="99014" y="0"/>
                  </a:cubicBezTo>
                  <a:cubicBezTo>
                    <a:pt x="102082" y="3068"/>
                    <a:pt x="102082" y="6136"/>
                    <a:pt x="102082" y="9205"/>
                  </a:cubicBezTo>
                  <a:cubicBezTo>
                    <a:pt x="37650" y="113523"/>
                    <a:pt x="6969" y="227045"/>
                    <a:pt x="13105" y="349773"/>
                  </a:cubicBezTo>
                  <a:cubicBezTo>
                    <a:pt x="16173" y="395795"/>
                    <a:pt x="31514" y="447955"/>
                    <a:pt x="46855" y="500114"/>
                  </a:cubicBezTo>
                  <a:cubicBezTo>
                    <a:pt x="52991" y="518523"/>
                    <a:pt x="59128" y="536932"/>
                    <a:pt x="62196" y="555341"/>
                  </a:cubicBezTo>
                  <a:cubicBezTo>
                    <a:pt x="62196" y="555341"/>
                    <a:pt x="62196" y="558409"/>
                    <a:pt x="56059" y="558409"/>
                  </a:cubicBezTo>
                  <a:cubicBezTo>
                    <a:pt x="59128" y="558409"/>
                    <a:pt x="59128" y="558409"/>
                    <a:pt x="56059" y="558409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3" name="任意多边形: 形状 342">
              <a:extLst>
                <a:ext uri="{FF2B5EF4-FFF2-40B4-BE49-F238E27FC236}">
                  <a16:creationId xmlns:a16="http://schemas.microsoft.com/office/drawing/2014/main" id="{5C2B59E6-8705-4B9E-AA96-B29A9D7AE73F}"/>
                </a:ext>
              </a:extLst>
            </p:cNvPr>
            <p:cNvSpPr/>
            <p:nvPr/>
          </p:nvSpPr>
          <p:spPr>
            <a:xfrm>
              <a:off x="8098508" y="3397340"/>
              <a:ext cx="403202" cy="36622"/>
            </a:xfrm>
            <a:custGeom>
              <a:avLst/>
              <a:gdLst>
                <a:gd name="connsiteX0" fmla="*/ 6136 w 403202"/>
                <a:gd name="connsiteY0" fmla="*/ 36623 h 36622"/>
                <a:gd name="connsiteX1" fmla="*/ 0 w 403202"/>
                <a:gd name="connsiteY1" fmla="*/ 33555 h 36622"/>
                <a:gd name="connsiteX2" fmla="*/ 3068 w 403202"/>
                <a:gd name="connsiteY2" fmla="*/ 27418 h 36622"/>
                <a:gd name="connsiteX3" fmla="*/ 398864 w 403202"/>
                <a:gd name="connsiteY3" fmla="*/ 15146 h 36622"/>
                <a:gd name="connsiteX4" fmla="*/ 401932 w 403202"/>
                <a:gd name="connsiteY4" fmla="*/ 21282 h 36622"/>
                <a:gd name="connsiteX5" fmla="*/ 395795 w 403202"/>
                <a:gd name="connsiteY5" fmla="*/ 24350 h 36622"/>
                <a:gd name="connsiteX6" fmla="*/ 6136 w 403202"/>
                <a:gd name="connsiteY6" fmla="*/ 36623 h 36622"/>
                <a:gd name="connsiteX7" fmla="*/ 6136 w 403202"/>
                <a:gd name="connsiteY7" fmla="*/ 36623 h 3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202" h="36622">
                  <a:moveTo>
                    <a:pt x="6136" y="36623"/>
                  </a:moveTo>
                  <a:cubicBezTo>
                    <a:pt x="3068" y="36623"/>
                    <a:pt x="3068" y="36623"/>
                    <a:pt x="0" y="33555"/>
                  </a:cubicBezTo>
                  <a:cubicBezTo>
                    <a:pt x="0" y="30487"/>
                    <a:pt x="0" y="27418"/>
                    <a:pt x="3068" y="27418"/>
                  </a:cubicBezTo>
                  <a:cubicBezTo>
                    <a:pt x="88977" y="-3263"/>
                    <a:pt x="297614" y="-9400"/>
                    <a:pt x="398864" y="15146"/>
                  </a:cubicBezTo>
                  <a:cubicBezTo>
                    <a:pt x="401932" y="15146"/>
                    <a:pt x="405000" y="18214"/>
                    <a:pt x="401932" y="21282"/>
                  </a:cubicBezTo>
                  <a:cubicBezTo>
                    <a:pt x="401932" y="24350"/>
                    <a:pt x="398864" y="27418"/>
                    <a:pt x="395795" y="24350"/>
                  </a:cubicBezTo>
                  <a:cubicBezTo>
                    <a:pt x="297614" y="2873"/>
                    <a:pt x="92045" y="5941"/>
                    <a:pt x="6136" y="36623"/>
                  </a:cubicBezTo>
                  <a:cubicBezTo>
                    <a:pt x="6136" y="36623"/>
                    <a:pt x="6136" y="36623"/>
                    <a:pt x="6136" y="36623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4" name="任意多边形: 形状 343">
              <a:extLst>
                <a:ext uri="{FF2B5EF4-FFF2-40B4-BE49-F238E27FC236}">
                  <a16:creationId xmlns:a16="http://schemas.microsoft.com/office/drawing/2014/main" id="{EAEB21DD-6A51-4D12-98E2-A8DAAA2010EA}"/>
                </a:ext>
              </a:extLst>
            </p:cNvPr>
            <p:cNvSpPr/>
            <p:nvPr/>
          </p:nvSpPr>
          <p:spPr>
            <a:xfrm>
              <a:off x="8233508" y="2860213"/>
              <a:ext cx="362045" cy="64431"/>
            </a:xfrm>
            <a:custGeom>
              <a:avLst/>
              <a:gdLst>
                <a:gd name="connsiteX0" fmla="*/ 36818 w 362045"/>
                <a:gd name="connsiteY0" fmla="*/ 9205 h 64431"/>
                <a:gd name="connsiteX1" fmla="*/ 337500 w 362045"/>
                <a:gd name="connsiteY1" fmla="*/ 0 h 64431"/>
                <a:gd name="connsiteX2" fmla="*/ 362046 w 362045"/>
                <a:gd name="connsiteY2" fmla="*/ 9205 h 64431"/>
                <a:gd name="connsiteX3" fmla="*/ 171818 w 362045"/>
                <a:gd name="connsiteY3" fmla="*/ 64432 h 64431"/>
                <a:gd name="connsiteX4" fmla="*/ 0 w 362045"/>
                <a:gd name="connsiteY4" fmla="*/ 15341 h 64431"/>
                <a:gd name="connsiteX5" fmla="*/ 36818 w 362045"/>
                <a:gd name="connsiteY5" fmla="*/ 9205 h 64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2045" h="64431">
                  <a:moveTo>
                    <a:pt x="36818" y="9205"/>
                  </a:moveTo>
                  <a:cubicBezTo>
                    <a:pt x="36818" y="9205"/>
                    <a:pt x="150341" y="67500"/>
                    <a:pt x="337500" y="0"/>
                  </a:cubicBezTo>
                  <a:lnTo>
                    <a:pt x="362046" y="9205"/>
                  </a:lnTo>
                  <a:cubicBezTo>
                    <a:pt x="362046" y="9205"/>
                    <a:pt x="282273" y="64432"/>
                    <a:pt x="171818" y="64432"/>
                  </a:cubicBezTo>
                  <a:cubicBezTo>
                    <a:pt x="67500" y="64432"/>
                    <a:pt x="0" y="15341"/>
                    <a:pt x="0" y="15341"/>
                  </a:cubicBezTo>
                  <a:cubicBezTo>
                    <a:pt x="0" y="15341"/>
                    <a:pt x="18409" y="9205"/>
                    <a:pt x="36818" y="9205"/>
                  </a:cubicBezTo>
                  <a:close/>
                </a:path>
              </a:pathLst>
            </a:custGeom>
            <a:solidFill>
              <a:srgbClr val="F6EBE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5" name="任意多边形: 形状 344">
              <a:extLst>
                <a:ext uri="{FF2B5EF4-FFF2-40B4-BE49-F238E27FC236}">
                  <a16:creationId xmlns:a16="http://schemas.microsoft.com/office/drawing/2014/main" id="{60F54C96-C8C3-4A2F-8480-7B0E5C4D4F78}"/>
                </a:ext>
              </a:extLst>
            </p:cNvPr>
            <p:cNvSpPr/>
            <p:nvPr/>
          </p:nvSpPr>
          <p:spPr>
            <a:xfrm>
              <a:off x="8693735" y="3967827"/>
              <a:ext cx="182293" cy="190227"/>
            </a:xfrm>
            <a:custGeom>
              <a:avLst/>
              <a:gdLst>
                <a:gd name="connsiteX0" fmla="*/ 174886 w 182293"/>
                <a:gd name="connsiteY0" fmla="*/ 190227 h 190227"/>
                <a:gd name="connsiteX1" fmla="*/ 174886 w 182293"/>
                <a:gd name="connsiteY1" fmla="*/ 190227 h 190227"/>
                <a:gd name="connsiteX2" fmla="*/ 0 w 182293"/>
                <a:gd name="connsiteY2" fmla="*/ 6137 h 190227"/>
                <a:gd name="connsiteX3" fmla="*/ 3068 w 182293"/>
                <a:gd name="connsiteY3" fmla="*/ 0 h 190227"/>
                <a:gd name="connsiteX4" fmla="*/ 9205 w 182293"/>
                <a:gd name="connsiteY4" fmla="*/ 3068 h 190227"/>
                <a:gd name="connsiteX5" fmla="*/ 177955 w 182293"/>
                <a:gd name="connsiteY5" fmla="*/ 181023 h 190227"/>
                <a:gd name="connsiteX6" fmla="*/ 181023 w 182293"/>
                <a:gd name="connsiteY6" fmla="*/ 187159 h 190227"/>
                <a:gd name="connsiteX7" fmla="*/ 174886 w 182293"/>
                <a:gd name="connsiteY7" fmla="*/ 190227 h 19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293" h="190227">
                  <a:moveTo>
                    <a:pt x="174886" y="190227"/>
                  </a:moveTo>
                  <a:cubicBezTo>
                    <a:pt x="174886" y="190227"/>
                    <a:pt x="174886" y="190227"/>
                    <a:pt x="174886" y="190227"/>
                  </a:cubicBezTo>
                  <a:cubicBezTo>
                    <a:pt x="55227" y="156477"/>
                    <a:pt x="0" y="12273"/>
                    <a:pt x="0" y="6137"/>
                  </a:cubicBezTo>
                  <a:cubicBezTo>
                    <a:pt x="0" y="3068"/>
                    <a:pt x="0" y="0"/>
                    <a:pt x="3068" y="0"/>
                  </a:cubicBezTo>
                  <a:cubicBezTo>
                    <a:pt x="6136" y="0"/>
                    <a:pt x="9205" y="0"/>
                    <a:pt x="9205" y="3068"/>
                  </a:cubicBezTo>
                  <a:cubicBezTo>
                    <a:pt x="9205" y="3068"/>
                    <a:pt x="64432" y="150341"/>
                    <a:pt x="177955" y="181023"/>
                  </a:cubicBezTo>
                  <a:cubicBezTo>
                    <a:pt x="181023" y="181023"/>
                    <a:pt x="184091" y="184091"/>
                    <a:pt x="181023" y="187159"/>
                  </a:cubicBezTo>
                  <a:cubicBezTo>
                    <a:pt x="181023" y="190227"/>
                    <a:pt x="177955" y="190227"/>
                    <a:pt x="174886" y="190227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6" name="任意多边形: 形状 345">
              <a:extLst>
                <a:ext uri="{FF2B5EF4-FFF2-40B4-BE49-F238E27FC236}">
                  <a16:creationId xmlns:a16="http://schemas.microsoft.com/office/drawing/2014/main" id="{C4750137-C669-493F-9181-59031D9D7261}"/>
                </a:ext>
              </a:extLst>
            </p:cNvPr>
            <p:cNvSpPr/>
            <p:nvPr/>
          </p:nvSpPr>
          <p:spPr>
            <a:xfrm>
              <a:off x="7966576" y="3970895"/>
              <a:ext cx="171817" cy="193295"/>
            </a:xfrm>
            <a:custGeom>
              <a:avLst/>
              <a:gdLst>
                <a:gd name="connsiteX0" fmla="*/ 6136 w 171817"/>
                <a:gd name="connsiteY0" fmla="*/ 193295 h 193295"/>
                <a:gd name="connsiteX1" fmla="*/ 0 w 171817"/>
                <a:gd name="connsiteY1" fmla="*/ 190227 h 193295"/>
                <a:gd name="connsiteX2" fmla="*/ 3068 w 171817"/>
                <a:gd name="connsiteY2" fmla="*/ 184091 h 193295"/>
                <a:gd name="connsiteX3" fmla="*/ 162614 w 171817"/>
                <a:gd name="connsiteY3" fmla="*/ 3068 h 193295"/>
                <a:gd name="connsiteX4" fmla="*/ 168750 w 171817"/>
                <a:gd name="connsiteY4" fmla="*/ 0 h 193295"/>
                <a:gd name="connsiteX5" fmla="*/ 171818 w 171817"/>
                <a:gd name="connsiteY5" fmla="*/ 6136 h 193295"/>
                <a:gd name="connsiteX6" fmla="*/ 6136 w 171817"/>
                <a:gd name="connsiteY6" fmla="*/ 193295 h 193295"/>
                <a:gd name="connsiteX7" fmla="*/ 6136 w 171817"/>
                <a:gd name="connsiteY7" fmla="*/ 193295 h 19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817" h="193295">
                  <a:moveTo>
                    <a:pt x="6136" y="193295"/>
                  </a:moveTo>
                  <a:cubicBezTo>
                    <a:pt x="3068" y="193295"/>
                    <a:pt x="3068" y="193295"/>
                    <a:pt x="0" y="190227"/>
                  </a:cubicBezTo>
                  <a:cubicBezTo>
                    <a:pt x="0" y="187159"/>
                    <a:pt x="0" y="184091"/>
                    <a:pt x="3068" y="184091"/>
                  </a:cubicBezTo>
                  <a:cubicBezTo>
                    <a:pt x="82841" y="153409"/>
                    <a:pt x="162614" y="3068"/>
                    <a:pt x="162614" y="3068"/>
                  </a:cubicBezTo>
                  <a:cubicBezTo>
                    <a:pt x="162614" y="0"/>
                    <a:pt x="168750" y="0"/>
                    <a:pt x="168750" y="0"/>
                  </a:cubicBezTo>
                  <a:cubicBezTo>
                    <a:pt x="171818" y="0"/>
                    <a:pt x="171818" y="6136"/>
                    <a:pt x="171818" y="6136"/>
                  </a:cubicBezTo>
                  <a:cubicBezTo>
                    <a:pt x="171818" y="12273"/>
                    <a:pt x="92045" y="159545"/>
                    <a:pt x="6136" y="193295"/>
                  </a:cubicBezTo>
                  <a:cubicBezTo>
                    <a:pt x="9205" y="193295"/>
                    <a:pt x="6136" y="193295"/>
                    <a:pt x="6136" y="193295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7" name="任意多边形: 形状 346">
              <a:extLst>
                <a:ext uri="{FF2B5EF4-FFF2-40B4-BE49-F238E27FC236}">
                  <a16:creationId xmlns:a16="http://schemas.microsoft.com/office/drawing/2014/main" id="{112634D1-B73C-4BB9-AC14-40B1DBA5D8A3}"/>
                </a:ext>
              </a:extLst>
            </p:cNvPr>
            <p:cNvSpPr/>
            <p:nvPr/>
          </p:nvSpPr>
          <p:spPr>
            <a:xfrm>
              <a:off x="8591122" y="2472128"/>
              <a:ext cx="79439" cy="114774"/>
            </a:xfrm>
            <a:custGeom>
              <a:avLst/>
              <a:gdLst>
                <a:gd name="connsiteX0" fmla="*/ 13636 w 79439"/>
                <a:gd name="connsiteY0" fmla="*/ 16835 h 114774"/>
                <a:gd name="connsiteX1" fmla="*/ 71932 w 79439"/>
                <a:gd name="connsiteY1" fmla="*/ 7630 h 114774"/>
                <a:gd name="connsiteX2" fmla="*/ 13636 w 79439"/>
                <a:gd name="connsiteY2" fmla="*/ 111949 h 114774"/>
                <a:gd name="connsiteX3" fmla="*/ 13636 w 79439"/>
                <a:gd name="connsiteY3" fmla="*/ 16835 h 11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439" h="114774">
                  <a:moveTo>
                    <a:pt x="13636" y="16835"/>
                  </a:moveTo>
                  <a:cubicBezTo>
                    <a:pt x="13636" y="16835"/>
                    <a:pt x="47386" y="-13847"/>
                    <a:pt x="71932" y="7630"/>
                  </a:cubicBezTo>
                  <a:cubicBezTo>
                    <a:pt x="96477" y="26040"/>
                    <a:pt x="56591" y="133426"/>
                    <a:pt x="13636" y="111949"/>
                  </a:cubicBezTo>
                  <a:cubicBezTo>
                    <a:pt x="-17045" y="90471"/>
                    <a:pt x="13636" y="16835"/>
                    <a:pt x="13636" y="16835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8" name="任意多边形: 形状 347">
              <a:extLst>
                <a:ext uri="{FF2B5EF4-FFF2-40B4-BE49-F238E27FC236}">
                  <a16:creationId xmlns:a16="http://schemas.microsoft.com/office/drawing/2014/main" id="{F639E554-AD88-4371-AF24-CA5E31162C17}"/>
                </a:ext>
              </a:extLst>
            </p:cNvPr>
            <p:cNvSpPr/>
            <p:nvPr/>
          </p:nvSpPr>
          <p:spPr>
            <a:xfrm>
              <a:off x="8181349" y="2301804"/>
              <a:ext cx="254659" cy="159545"/>
            </a:xfrm>
            <a:custGeom>
              <a:avLst/>
              <a:gdLst>
                <a:gd name="connsiteX0" fmla="*/ 6136 w 254659"/>
                <a:gd name="connsiteY0" fmla="*/ 159545 h 159545"/>
                <a:gd name="connsiteX1" fmla="*/ 6136 w 254659"/>
                <a:gd name="connsiteY1" fmla="*/ 159545 h 159545"/>
                <a:gd name="connsiteX2" fmla="*/ 0 w 254659"/>
                <a:gd name="connsiteY2" fmla="*/ 153409 h 159545"/>
                <a:gd name="connsiteX3" fmla="*/ 110454 w 254659"/>
                <a:gd name="connsiteY3" fmla="*/ 46023 h 159545"/>
                <a:gd name="connsiteX4" fmla="*/ 245455 w 254659"/>
                <a:gd name="connsiteY4" fmla="*/ 0 h 159545"/>
                <a:gd name="connsiteX5" fmla="*/ 254659 w 254659"/>
                <a:gd name="connsiteY5" fmla="*/ 3068 h 159545"/>
                <a:gd name="connsiteX6" fmla="*/ 251591 w 254659"/>
                <a:gd name="connsiteY6" fmla="*/ 12273 h 159545"/>
                <a:gd name="connsiteX7" fmla="*/ 116591 w 254659"/>
                <a:gd name="connsiteY7" fmla="*/ 58295 h 159545"/>
                <a:gd name="connsiteX8" fmla="*/ 15341 w 254659"/>
                <a:gd name="connsiteY8" fmla="*/ 156477 h 159545"/>
                <a:gd name="connsiteX9" fmla="*/ 6136 w 254659"/>
                <a:gd name="connsiteY9" fmla="*/ 159545 h 159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59" h="159545">
                  <a:moveTo>
                    <a:pt x="6136" y="159545"/>
                  </a:moveTo>
                  <a:cubicBezTo>
                    <a:pt x="6136" y="159545"/>
                    <a:pt x="6136" y="159545"/>
                    <a:pt x="6136" y="159545"/>
                  </a:cubicBezTo>
                  <a:cubicBezTo>
                    <a:pt x="3068" y="159545"/>
                    <a:pt x="0" y="156477"/>
                    <a:pt x="0" y="153409"/>
                  </a:cubicBezTo>
                  <a:cubicBezTo>
                    <a:pt x="12273" y="82841"/>
                    <a:pt x="61364" y="61364"/>
                    <a:pt x="110454" y="46023"/>
                  </a:cubicBezTo>
                  <a:cubicBezTo>
                    <a:pt x="177955" y="27614"/>
                    <a:pt x="242386" y="0"/>
                    <a:pt x="245455" y="0"/>
                  </a:cubicBezTo>
                  <a:cubicBezTo>
                    <a:pt x="248522" y="0"/>
                    <a:pt x="251591" y="0"/>
                    <a:pt x="254659" y="3068"/>
                  </a:cubicBezTo>
                  <a:cubicBezTo>
                    <a:pt x="254659" y="6136"/>
                    <a:pt x="254659" y="9205"/>
                    <a:pt x="251591" y="12273"/>
                  </a:cubicBezTo>
                  <a:cubicBezTo>
                    <a:pt x="251591" y="12273"/>
                    <a:pt x="184091" y="36818"/>
                    <a:pt x="116591" y="58295"/>
                  </a:cubicBezTo>
                  <a:cubicBezTo>
                    <a:pt x="61364" y="73636"/>
                    <a:pt x="24546" y="98182"/>
                    <a:pt x="15341" y="156477"/>
                  </a:cubicBezTo>
                  <a:cubicBezTo>
                    <a:pt x="12273" y="159545"/>
                    <a:pt x="9205" y="159545"/>
                    <a:pt x="6136" y="159545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9" name="图形 1">
              <a:extLst>
                <a:ext uri="{FF2B5EF4-FFF2-40B4-BE49-F238E27FC236}">
                  <a16:creationId xmlns:a16="http://schemas.microsoft.com/office/drawing/2014/main" id="{0D323808-9636-430D-AD2B-F892808812C7}"/>
                </a:ext>
              </a:extLst>
            </p:cNvPr>
            <p:cNvGrpSpPr/>
            <p:nvPr/>
          </p:nvGrpSpPr>
          <p:grpSpPr>
            <a:xfrm>
              <a:off x="2600711" y="3912600"/>
              <a:ext cx="2926035" cy="2680739"/>
              <a:chOff x="2600711" y="3912600"/>
              <a:chExt cx="2926035" cy="2680739"/>
            </a:xfrm>
          </p:grpSpPr>
          <p:sp>
            <p:nvSpPr>
              <p:cNvPr id="350" name="任意多边形: 形状 349">
                <a:extLst>
                  <a:ext uri="{FF2B5EF4-FFF2-40B4-BE49-F238E27FC236}">
                    <a16:creationId xmlns:a16="http://schemas.microsoft.com/office/drawing/2014/main" id="{74EA45FF-E093-407A-8744-D663F097B085}"/>
                  </a:ext>
                </a:extLst>
              </p:cNvPr>
              <p:cNvSpPr/>
              <p:nvPr/>
            </p:nvSpPr>
            <p:spPr>
              <a:xfrm>
                <a:off x="2600711" y="3912600"/>
                <a:ext cx="2926035" cy="2680739"/>
              </a:xfrm>
              <a:custGeom>
                <a:avLst/>
                <a:gdLst>
                  <a:gd name="connsiteX0" fmla="*/ 82456 w 2926035"/>
                  <a:gd name="connsiteY0" fmla="*/ 2006591 h 2680739"/>
                  <a:gd name="connsiteX1" fmla="*/ 2662797 w 2926035"/>
                  <a:gd name="connsiteY1" fmla="*/ 2350227 h 2680739"/>
                  <a:gd name="connsiteX2" fmla="*/ 2629047 w 2926035"/>
                  <a:gd name="connsiteY2" fmla="*/ 1221136 h 2680739"/>
                  <a:gd name="connsiteX3" fmla="*/ 2629047 w 2926035"/>
                  <a:gd name="connsiteY3" fmla="*/ 1221136 h 2680739"/>
                  <a:gd name="connsiteX4" fmla="*/ 2233252 w 2926035"/>
                  <a:gd name="connsiteY4" fmla="*/ 969545 h 2680739"/>
                  <a:gd name="connsiteX5" fmla="*/ 1539843 w 2926035"/>
                  <a:gd name="connsiteY5" fmla="*/ 98182 h 2680739"/>
                  <a:gd name="connsiteX6" fmla="*/ 1309729 w 2926035"/>
                  <a:gd name="connsiteY6" fmla="*/ 0 h 2680739"/>
                  <a:gd name="connsiteX7" fmla="*/ 82456 w 2926035"/>
                  <a:gd name="connsiteY7" fmla="*/ 2006591 h 2680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26035" h="2680739">
                    <a:moveTo>
                      <a:pt x="82456" y="2006591"/>
                    </a:moveTo>
                    <a:cubicBezTo>
                      <a:pt x="416888" y="2970000"/>
                      <a:pt x="2224047" y="2724545"/>
                      <a:pt x="2662797" y="2350227"/>
                    </a:cubicBezTo>
                    <a:cubicBezTo>
                      <a:pt x="2880638" y="2163068"/>
                      <a:pt x="3141434" y="1666023"/>
                      <a:pt x="2629047" y="1221136"/>
                    </a:cubicBezTo>
                    <a:cubicBezTo>
                      <a:pt x="2629047" y="1221136"/>
                      <a:pt x="2629047" y="1221136"/>
                      <a:pt x="2629047" y="1221136"/>
                    </a:cubicBezTo>
                    <a:cubicBezTo>
                      <a:pt x="2527797" y="1135227"/>
                      <a:pt x="2398934" y="1049318"/>
                      <a:pt x="2233252" y="969545"/>
                    </a:cubicBezTo>
                    <a:cubicBezTo>
                      <a:pt x="1963252" y="840682"/>
                      <a:pt x="1791434" y="319091"/>
                      <a:pt x="1539843" y="98182"/>
                    </a:cubicBezTo>
                    <a:cubicBezTo>
                      <a:pt x="1469275" y="36818"/>
                      <a:pt x="1395638" y="0"/>
                      <a:pt x="1309729" y="0"/>
                    </a:cubicBezTo>
                    <a:cubicBezTo>
                      <a:pt x="910865" y="3068"/>
                      <a:pt x="-328680" y="825341"/>
                      <a:pt x="82456" y="2006591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1" name="任意多边形: 形状 350">
                <a:extLst>
                  <a:ext uri="{FF2B5EF4-FFF2-40B4-BE49-F238E27FC236}">
                    <a16:creationId xmlns:a16="http://schemas.microsoft.com/office/drawing/2014/main" id="{00ACD3CA-52AF-4FFD-B0DD-B1CACE66CCE1}"/>
                  </a:ext>
                </a:extLst>
              </p:cNvPr>
              <p:cNvSpPr/>
              <p:nvPr/>
            </p:nvSpPr>
            <p:spPr>
              <a:xfrm>
                <a:off x="3711775" y="4820781"/>
                <a:ext cx="1039346" cy="438750"/>
              </a:xfrm>
              <a:custGeom>
                <a:avLst/>
                <a:gdLst>
                  <a:gd name="connsiteX0" fmla="*/ 5369 w 1039346"/>
                  <a:gd name="connsiteY0" fmla="*/ 438750 h 438750"/>
                  <a:gd name="connsiteX1" fmla="*/ 2301 w 1039346"/>
                  <a:gd name="connsiteY1" fmla="*/ 438750 h 438750"/>
                  <a:gd name="connsiteX2" fmla="*/ 2301 w 1039346"/>
                  <a:gd name="connsiteY2" fmla="*/ 429545 h 438750"/>
                  <a:gd name="connsiteX3" fmla="*/ 1033210 w 1039346"/>
                  <a:gd name="connsiteY3" fmla="*/ 0 h 438750"/>
                  <a:gd name="connsiteX4" fmla="*/ 1033210 w 1039346"/>
                  <a:gd name="connsiteY4" fmla="*/ 0 h 438750"/>
                  <a:gd name="connsiteX5" fmla="*/ 1039347 w 1039346"/>
                  <a:gd name="connsiteY5" fmla="*/ 6136 h 438750"/>
                  <a:gd name="connsiteX6" fmla="*/ 1033210 w 1039346"/>
                  <a:gd name="connsiteY6" fmla="*/ 12273 h 438750"/>
                  <a:gd name="connsiteX7" fmla="*/ 11506 w 1039346"/>
                  <a:gd name="connsiteY7" fmla="*/ 438750 h 438750"/>
                  <a:gd name="connsiteX8" fmla="*/ 5369 w 1039346"/>
                  <a:gd name="connsiteY8" fmla="*/ 438750 h 43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39346" h="438750">
                    <a:moveTo>
                      <a:pt x="5369" y="438750"/>
                    </a:moveTo>
                    <a:cubicBezTo>
                      <a:pt x="5369" y="438750"/>
                      <a:pt x="2301" y="438750"/>
                      <a:pt x="2301" y="438750"/>
                    </a:cubicBezTo>
                    <a:cubicBezTo>
                      <a:pt x="-767" y="435682"/>
                      <a:pt x="-767" y="432614"/>
                      <a:pt x="2301" y="429545"/>
                    </a:cubicBezTo>
                    <a:cubicBezTo>
                      <a:pt x="336733" y="9205"/>
                      <a:pt x="1024006" y="0"/>
                      <a:pt x="1033210" y="0"/>
                    </a:cubicBezTo>
                    <a:lnTo>
                      <a:pt x="1033210" y="0"/>
                    </a:lnTo>
                    <a:cubicBezTo>
                      <a:pt x="1036279" y="0"/>
                      <a:pt x="1039347" y="3068"/>
                      <a:pt x="1039347" y="6136"/>
                    </a:cubicBezTo>
                    <a:cubicBezTo>
                      <a:pt x="1039347" y="9205"/>
                      <a:pt x="1036279" y="12273"/>
                      <a:pt x="1033210" y="12273"/>
                    </a:cubicBezTo>
                    <a:cubicBezTo>
                      <a:pt x="1027074" y="12273"/>
                      <a:pt x="342869" y="21477"/>
                      <a:pt x="11506" y="438750"/>
                    </a:cubicBezTo>
                    <a:cubicBezTo>
                      <a:pt x="8438" y="438750"/>
                      <a:pt x="5369" y="438750"/>
                      <a:pt x="5369" y="43875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2" name="任意多边形: 形状 351">
                <a:extLst>
                  <a:ext uri="{FF2B5EF4-FFF2-40B4-BE49-F238E27FC236}">
                    <a16:creationId xmlns:a16="http://schemas.microsoft.com/office/drawing/2014/main" id="{865C1BCE-37AD-4071-8B0B-CE2F955A8C21}"/>
                  </a:ext>
                </a:extLst>
              </p:cNvPr>
              <p:cNvSpPr/>
              <p:nvPr/>
            </p:nvSpPr>
            <p:spPr>
              <a:xfrm>
                <a:off x="3784012" y="5312457"/>
                <a:ext cx="233046" cy="569914"/>
              </a:xfrm>
              <a:custGeom>
                <a:avLst/>
                <a:gdLst>
                  <a:gd name="connsiteX0" fmla="*/ 15973 w 233046"/>
                  <a:gd name="connsiteY0" fmla="*/ 569915 h 569914"/>
                  <a:gd name="connsiteX1" fmla="*/ 9837 w 233046"/>
                  <a:gd name="connsiteY1" fmla="*/ 563778 h 569914"/>
                  <a:gd name="connsiteX2" fmla="*/ 221541 w 233046"/>
                  <a:gd name="connsiteY2" fmla="*/ 2301 h 569914"/>
                  <a:gd name="connsiteX3" fmla="*/ 230746 w 233046"/>
                  <a:gd name="connsiteY3" fmla="*/ 2301 h 569914"/>
                  <a:gd name="connsiteX4" fmla="*/ 230746 w 233046"/>
                  <a:gd name="connsiteY4" fmla="*/ 11506 h 569914"/>
                  <a:gd name="connsiteX5" fmla="*/ 22109 w 233046"/>
                  <a:gd name="connsiteY5" fmla="*/ 560710 h 569914"/>
                  <a:gd name="connsiteX6" fmla="*/ 15973 w 233046"/>
                  <a:gd name="connsiteY6" fmla="*/ 569915 h 569914"/>
                  <a:gd name="connsiteX7" fmla="*/ 15973 w 233046"/>
                  <a:gd name="connsiteY7" fmla="*/ 569915 h 569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3046" h="569914">
                    <a:moveTo>
                      <a:pt x="15973" y="569915"/>
                    </a:moveTo>
                    <a:cubicBezTo>
                      <a:pt x="12905" y="569915"/>
                      <a:pt x="9837" y="566847"/>
                      <a:pt x="9837" y="563778"/>
                    </a:cubicBezTo>
                    <a:cubicBezTo>
                      <a:pt x="-54595" y="247756"/>
                      <a:pt x="218473" y="5369"/>
                      <a:pt x="221541" y="2301"/>
                    </a:cubicBezTo>
                    <a:cubicBezTo>
                      <a:pt x="224609" y="-767"/>
                      <a:pt x="227678" y="-767"/>
                      <a:pt x="230746" y="2301"/>
                    </a:cubicBezTo>
                    <a:cubicBezTo>
                      <a:pt x="233814" y="5369"/>
                      <a:pt x="233814" y="8438"/>
                      <a:pt x="230746" y="11506"/>
                    </a:cubicBezTo>
                    <a:cubicBezTo>
                      <a:pt x="227678" y="14574"/>
                      <a:pt x="-39254" y="250824"/>
                      <a:pt x="22109" y="560710"/>
                    </a:cubicBezTo>
                    <a:cubicBezTo>
                      <a:pt x="22109" y="566847"/>
                      <a:pt x="22109" y="569915"/>
                      <a:pt x="15973" y="569915"/>
                    </a:cubicBezTo>
                    <a:cubicBezTo>
                      <a:pt x="19041" y="569915"/>
                      <a:pt x="15973" y="569915"/>
                      <a:pt x="15973" y="56991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3" name="任意多边形: 形状 352">
                <a:extLst>
                  <a:ext uri="{FF2B5EF4-FFF2-40B4-BE49-F238E27FC236}">
                    <a16:creationId xmlns:a16="http://schemas.microsoft.com/office/drawing/2014/main" id="{0DDC3EBA-10CE-493B-9A10-8D13157BFE70}"/>
                  </a:ext>
                </a:extLst>
              </p:cNvPr>
              <p:cNvSpPr/>
              <p:nvPr/>
            </p:nvSpPr>
            <p:spPr>
              <a:xfrm>
                <a:off x="4131142" y="5363849"/>
                <a:ext cx="103758" cy="426477"/>
              </a:xfrm>
              <a:custGeom>
                <a:avLst/>
                <a:gdLst>
                  <a:gd name="connsiteX0" fmla="*/ 98389 w 103758"/>
                  <a:gd name="connsiteY0" fmla="*/ 426478 h 426477"/>
                  <a:gd name="connsiteX1" fmla="*/ 95321 w 103758"/>
                  <a:gd name="connsiteY1" fmla="*/ 426478 h 426477"/>
                  <a:gd name="connsiteX2" fmla="*/ 207 w 103758"/>
                  <a:gd name="connsiteY2" fmla="*/ 6137 h 426477"/>
                  <a:gd name="connsiteX3" fmla="*/ 6343 w 103758"/>
                  <a:gd name="connsiteY3" fmla="*/ 0 h 426477"/>
                  <a:gd name="connsiteX4" fmla="*/ 6343 w 103758"/>
                  <a:gd name="connsiteY4" fmla="*/ 0 h 426477"/>
                  <a:gd name="connsiteX5" fmla="*/ 12480 w 103758"/>
                  <a:gd name="connsiteY5" fmla="*/ 6137 h 426477"/>
                  <a:gd name="connsiteX6" fmla="*/ 101457 w 103758"/>
                  <a:gd name="connsiteY6" fmla="*/ 414205 h 426477"/>
                  <a:gd name="connsiteX7" fmla="*/ 101457 w 103758"/>
                  <a:gd name="connsiteY7" fmla="*/ 423409 h 426477"/>
                  <a:gd name="connsiteX8" fmla="*/ 98389 w 103758"/>
                  <a:gd name="connsiteY8" fmla="*/ 426478 h 426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3758" h="426477">
                    <a:moveTo>
                      <a:pt x="98389" y="426478"/>
                    </a:moveTo>
                    <a:cubicBezTo>
                      <a:pt x="98389" y="426478"/>
                      <a:pt x="95321" y="426478"/>
                      <a:pt x="95321" y="426478"/>
                    </a:cubicBezTo>
                    <a:cubicBezTo>
                      <a:pt x="-8997" y="340568"/>
                      <a:pt x="207" y="21477"/>
                      <a:pt x="207" y="6137"/>
                    </a:cubicBezTo>
                    <a:cubicBezTo>
                      <a:pt x="207" y="3068"/>
                      <a:pt x="3275" y="0"/>
                      <a:pt x="6343" y="0"/>
                    </a:cubicBezTo>
                    <a:cubicBezTo>
                      <a:pt x="6343" y="0"/>
                      <a:pt x="6343" y="0"/>
                      <a:pt x="6343" y="0"/>
                    </a:cubicBezTo>
                    <a:cubicBezTo>
                      <a:pt x="9412" y="0"/>
                      <a:pt x="12480" y="3068"/>
                      <a:pt x="12480" y="6137"/>
                    </a:cubicBezTo>
                    <a:cubicBezTo>
                      <a:pt x="12480" y="9205"/>
                      <a:pt x="3275" y="334432"/>
                      <a:pt x="101457" y="414205"/>
                    </a:cubicBezTo>
                    <a:cubicBezTo>
                      <a:pt x="104525" y="417273"/>
                      <a:pt x="104525" y="420341"/>
                      <a:pt x="101457" y="423409"/>
                    </a:cubicBezTo>
                    <a:cubicBezTo>
                      <a:pt x="101457" y="426478"/>
                      <a:pt x="101457" y="426478"/>
                      <a:pt x="98389" y="42647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4" name="任意多边形: 形状 353">
                <a:extLst>
                  <a:ext uri="{FF2B5EF4-FFF2-40B4-BE49-F238E27FC236}">
                    <a16:creationId xmlns:a16="http://schemas.microsoft.com/office/drawing/2014/main" id="{2682E0C9-7390-4286-841A-9B3685AB9AB9}"/>
                  </a:ext>
                </a:extLst>
              </p:cNvPr>
              <p:cNvSpPr/>
              <p:nvPr/>
            </p:nvSpPr>
            <p:spPr>
              <a:xfrm>
                <a:off x="3211662" y="4992599"/>
                <a:ext cx="511619" cy="214772"/>
              </a:xfrm>
              <a:custGeom>
                <a:avLst/>
                <a:gdLst>
                  <a:gd name="connsiteX0" fmla="*/ 5369 w 511619"/>
                  <a:gd name="connsiteY0" fmla="*/ 214773 h 214772"/>
                  <a:gd name="connsiteX1" fmla="*/ 2301 w 511619"/>
                  <a:gd name="connsiteY1" fmla="*/ 214773 h 214772"/>
                  <a:gd name="connsiteX2" fmla="*/ 2301 w 511619"/>
                  <a:gd name="connsiteY2" fmla="*/ 205568 h 214772"/>
                  <a:gd name="connsiteX3" fmla="*/ 505483 w 511619"/>
                  <a:gd name="connsiteY3" fmla="*/ 0 h 214772"/>
                  <a:gd name="connsiteX4" fmla="*/ 511619 w 511619"/>
                  <a:gd name="connsiteY4" fmla="*/ 6137 h 214772"/>
                  <a:gd name="connsiteX5" fmla="*/ 505483 w 511619"/>
                  <a:gd name="connsiteY5" fmla="*/ 12273 h 214772"/>
                  <a:gd name="connsiteX6" fmla="*/ 11506 w 511619"/>
                  <a:gd name="connsiteY6" fmla="*/ 214773 h 214772"/>
                  <a:gd name="connsiteX7" fmla="*/ 5369 w 511619"/>
                  <a:gd name="connsiteY7" fmla="*/ 214773 h 214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1619" h="214772">
                    <a:moveTo>
                      <a:pt x="5369" y="214773"/>
                    </a:moveTo>
                    <a:cubicBezTo>
                      <a:pt x="5369" y="214773"/>
                      <a:pt x="2301" y="214773"/>
                      <a:pt x="2301" y="214773"/>
                    </a:cubicBezTo>
                    <a:cubicBezTo>
                      <a:pt x="-767" y="211705"/>
                      <a:pt x="-767" y="208636"/>
                      <a:pt x="2301" y="205568"/>
                    </a:cubicBezTo>
                    <a:cubicBezTo>
                      <a:pt x="155710" y="30682"/>
                      <a:pt x="502415" y="0"/>
                      <a:pt x="505483" y="0"/>
                    </a:cubicBezTo>
                    <a:cubicBezTo>
                      <a:pt x="508551" y="0"/>
                      <a:pt x="511619" y="3068"/>
                      <a:pt x="511619" y="6137"/>
                    </a:cubicBezTo>
                    <a:cubicBezTo>
                      <a:pt x="511619" y="9205"/>
                      <a:pt x="508551" y="12273"/>
                      <a:pt x="505483" y="12273"/>
                    </a:cubicBezTo>
                    <a:cubicBezTo>
                      <a:pt x="502415" y="12273"/>
                      <a:pt x="161847" y="42955"/>
                      <a:pt x="11506" y="214773"/>
                    </a:cubicBezTo>
                    <a:cubicBezTo>
                      <a:pt x="8438" y="214773"/>
                      <a:pt x="8438" y="214773"/>
                      <a:pt x="5369" y="21477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5" name="任意多边形: 形状 354">
                <a:extLst>
                  <a:ext uri="{FF2B5EF4-FFF2-40B4-BE49-F238E27FC236}">
                    <a16:creationId xmlns:a16="http://schemas.microsoft.com/office/drawing/2014/main" id="{9F143A55-763F-44C8-9BE6-1CC020F3701B}"/>
                  </a:ext>
                </a:extLst>
              </p:cNvPr>
              <p:cNvSpPr/>
              <p:nvPr/>
            </p:nvSpPr>
            <p:spPr>
              <a:xfrm>
                <a:off x="2914720" y="5667599"/>
                <a:ext cx="137832" cy="705682"/>
              </a:xfrm>
              <a:custGeom>
                <a:avLst/>
                <a:gdLst>
                  <a:gd name="connsiteX0" fmla="*/ 130493 w 137832"/>
                  <a:gd name="connsiteY0" fmla="*/ 705682 h 705682"/>
                  <a:gd name="connsiteX1" fmla="*/ 124357 w 137832"/>
                  <a:gd name="connsiteY1" fmla="*/ 702614 h 705682"/>
                  <a:gd name="connsiteX2" fmla="*/ 35379 w 137832"/>
                  <a:gd name="connsiteY2" fmla="*/ 3068 h 705682"/>
                  <a:gd name="connsiteX3" fmla="*/ 44584 w 137832"/>
                  <a:gd name="connsiteY3" fmla="*/ 0 h 705682"/>
                  <a:gd name="connsiteX4" fmla="*/ 47652 w 137832"/>
                  <a:gd name="connsiteY4" fmla="*/ 9205 h 705682"/>
                  <a:gd name="connsiteX5" fmla="*/ 136629 w 137832"/>
                  <a:gd name="connsiteY5" fmla="*/ 696477 h 705682"/>
                  <a:gd name="connsiteX6" fmla="*/ 130493 w 137832"/>
                  <a:gd name="connsiteY6" fmla="*/ 705682 h 705682"/>
                  <a:gd name="connsiteX7" fmla="*/ 130493 w 137832"/>
                  <a:gd name="connsiteY7" fmla="*/ 705682 h 705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7832" h="705682">
                    <a:moveTo>
                      <a:pt x="130493" y="705682"/>
                    </a:moveTo>
                    <a:cubicBezTo>
                      <a:pt x="127425" y="705682"/>
                      <a:pt x="127425" y="705682"/>
                      <a:pt x="124357" y="702614"/>
                    </a:cubicBezTo>
                    <a:cubicBezTo>
                      <a:pt x="-87348" y="331364"/>
                      <a:pt x="35379" y="6137"/>
                      <a:pt x="35379" y="3068"/>
                    </a:cubicBezTo>
                    <a:cubicBezTo>
                      <a:pt x="35379" y="0"/>
                      <a:pt x="41516" y="0"/>
                      <a:pt x="44584" y="0"/>
                    </a:cubicBezTo>
                    <a:cubicBezTo>
                      <a:pt x="47652" y="0"/>
                      <a:pt x="47652" y="6137"/>
                      <a:pt x="47652" y="9205"/>
                    </a:cubicBezTo>
                    <a:cubicBezTo>
                      <a:pt x="47652" y="12273"/>
                      <a:pt x="-75075" y="331364"/>
                      <a:pt x="136629" y="696477"/>
                    </a:cubicBezTo>
                    <a:cubicBezTo>
                      <a:pt x="139697" y="699545"/>
                      <a:pt x="136629" y="702614"/>
                      <a:pt x="130493" y="705682"/>
                    </a:cubicBezTo>
                    <a:cubicBezTo>
                      <a:pt x="133561" y="705682"/>
                      <a:pt x="133561" y="705682"/>
                      <a:pt x="130493" y="7056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56" name="图形 1">
              <a:extLst>
                <a:ext uri="{FF2B5EF4-FFF2-40B4-BE49-F238E27FC236}">
                  <a16:creationId xmlns:a16="http://schemas.microsoft.com/office/drawing/2014/main" id="{0D323808-9636-430D-AD2B-F892808812C7}"/>
                </a:ext>
              </a:extLst>
            </p:cNvPr>
            <p:cNvGrpSpPr/>
            <p:nvPr/>
          </p:nvGrpSpPr>
          <p:grpSpPr>
            <a:xfrm>
              <a:off x="5711463" y="6115554"/>
              <a:ext cx="664064" cy="410037"/>
              <a:chOff x="5711463" y="6115554"/>
              <a:chExt cx="664064" cy="410037"/>
            </a:xfrm>
          </p:grpSpPr>
          <p:sp>
            <p:nvSpPr>
              <p:cNvPr id="357" name="任意多边形: 形状 356">
                <a:extLst>
                  <a:ext uri="{FF2B5EF4-FFF2-40B4-BE49-F238E27FC236}">
                    <a16:creationId xmlns:a16="http://schemas.microsoft.com/office/drawing/2014/main" id="{E9AC88F9-81C5-4287-85A1-2B75E67A8E60}"/>
                  </a:ext>
                </a:extLst>
              </p:cNvPr>
              <p:cNvSpPr/>
              <p:nvPr/>
            </p:nvSpPr>
            <p:spPr>
              <a:xfrm>
                <a:off x="5711463" y="6115554"/>
                <a:ext cx="282272" cy="285341"/>
              </a:xfrm>
              <a:custGeom>
                <a:avLst/>
                <a:gdLst>
                  <a:gd name="connsiteX0" fmla="*/ 110455 w 282272"/>
                  <a:gd name="connsiteY0" fmla="*/ 251591 h 285341"/>
                  <a:gd name="connsiteX1" fmla="*/ 0 w 282272"/>
                  <a:gd name="connsiteY1" fmla="*/ 76705 h 285341"/>
                  <a:gd name="connsiteX2" fmla="*/ 162614 w 282272"/>
                  <a:gd name="connsiteY2" fmla="*/ 0 h 285341"/>
                  <a:gd name="connsiteX3" fmla="*/ 282273 w 282272"/>
                  <a:gd name="connsiteY3" fmla="*/ 184091 h 285341"/>
                  <a:gd name="connsiteX4" fmla="*/ 141136 w 282272"/>
                  <a:gd name="connsiteY4" fmla="*/ 285341 h 285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2272" h="285341">
                    <a:moveTo>
                      <a:pt x="110455" y="251591"/>
                    </a:moveTo>
                    <a:lnTo>
                      <a:pt x="0" y="76705"/>
                    </a:lnTo>
                    <a:lnTo>
                      <a:pt x="162614" y="0"/>
                    </a:lnTo>
                    <a:lnTo>
                      <a:pt x="282273" y="184091"/>
                    </a:lnTo>
                    <a:lnTo>
                      <a:pt x="141136" y="285341"/>
                    </a:ln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8" name="任意多边形: 形状 357">
                <a:extLst>
                  <a:ext uri="{FF2B5EF4-FFF2-40B4-BE49-F238E27FC236}">
                    <a16:creationId xmlns:a16="http://schemas.microsoft.com/office/drawing/2014/main" id="{A46666C6-C169-4539-8E2A-361F5A9123CA}"/>
                  </a:ext>
                </a:extLst>
              </p:cNvPr>
              <p:cNvSpPr/>
              <p:nvPr/>
            </p:nvSpPr>
            <p:spPr>
              <a:xfrm>
                <a:off x="5821917" y="6225127"/>
                <a:ext cx="530795" cy="255541"/>
              </a:xfrm>
              <a:custGeom>
                <a:avLst/>
                <a:gdLst>
                  <a:gd name="connsiteX0" fmla="*/ 0 w 530795"/>
                  <a:gd name="connsiteY0" fmla="*/ 142018 h 255541"/>
                  <a:gd name="connsiteX1" fmla="*/ 150341 w 530795"/>
                  <a:gd name="connsiteY1" fmla="*/ 13155 h 255541"/>
                  <a:gd name="connsiteX2" fmla="*/ 322159 w 530795"/>
                  <a:gd name="connsiteY2" fmla="*/ 31564 h 255541"/>
                  <a:gd name="connsiteX3" fmla="*/ 530795 w 530795"/>
                  <a:gd name="connsiteY3" fmla="*/ 31564 h 255541"/>
                  <a:gd name="connsiteX4" fmla="*/ 52159 w 530795"/>
                  <a:gd name="connsiteY4" fmla="*/ 255541 h 255541"/>
                  <a:gd name="connsiteX5" fmla="*/ 0 w 530795"/>
                  <a:gd name="connsiteY5" fmla="*/ 142018 h 255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0795" h="255541">
                    <a:moveTo>
                      <a:pt x="0" y="142018"/>
                    </a:moveTo>
                    <a:cubicBezTo>
                      <a:pt x="0" y="142018"/>
                      <a:pt x="119659" y="108268"/>
                      <a:pt x="150341" y="13155"/>
                    </a:cubicBezTo>
                    <a:cubicBezTo>
                      <a:pt x="150341" y="13155"/>
                      <a:pt x="273068" y="43836"/>
                      <a:pt x="322159" y="31564"/>
                    </a:cubicBezTo>
                    <a:cubicBezTo>
                      <a:pt x="371250" y="19291"/>
                      <a:pt x="481705" y="-32868"/>
                      <a:pt x="530795" y="31564"/>
                    </a:cubicBezTo>
                    <a:lnTo>
                      <a:pt x="52159" y="255541"/>
                    </a:lnTo>
                    <a:cubicBezTo>
                      <a:pt x="55227" y="255541"/>
                      <a:pt x="6136" y="200314"/>
                      <a:pt x="0" y="142018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9" name="任意多边形: 形状 358">
                <a:extLst>
                  <a:ext uri="{FF2B5EF4-FFF2-40B4-BE49-F238E27FC236}">
                    <a16:creationId xmlns:a16="http://schemas.microsoft.com/office/drawing/2014/main" id="{02F70E12-28DF-4B7D-A27A-B2FE23C927CA}"/>
                  </a:ext>
                </a:extLst>
              </p:cNvPr>
              <p:cNvSpPr/>
              <p:nvPr/>
            </p:nvSpPr>
            <p:spPr>
              <a:xfrm rot="-1502571">
                <a:off x="5862211" y="6367114"/>
                <a:ext cx="527732" cy="49091"/>
              </a:xfrm>
              <a:custGeom>
                <a:avLst/>
                <a:gdLst>
                  <a:gd name="connsiteX0" fmla="*/ 0 w 527732"/>
                  <a:gd name="connsiteY0" fmla="*/ 0 h 49091"/>
                  <a:gd name="connsiteX1" fmla="*/ 527732 w 527732"/>
                  <a:gd name="connsiteY1" fmla="*/ 0 h 49091"/>
                  <a:gd name="connsiteX2" fmla="*/ 527732 w 527732"/>
                  <a:gd name="connsiteY2" fmla="*/ 49091 h 49091"/>
                  <a:gd name="connsiteX3" fmla="*/ 0 w 527732"/>
                  <a:gd name="connsiteY3" fmla="*/ 49091 h 49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7732" h="49091">
                    <a:moveTo>
                      <a:pt x="0" y="0"/>
                    </a:moveTo>
                    <a:lnTo>
                      <a:pt x="527732" y="0"/>
                    </a:lnTo>
                    <a:lnTo>
                      <a:pt x="527732" y="49091"/>
                    </a:lnTo>
                    <a:lnTo>
                      <a:pt x="0" y="49091"/>
                    </a:lnTo>
                    <a:close/>
                  </a:path>
                </a:pathLst>
              </a:custGeom>
              <a:solidFill>
                <a:srgbClr val="38333D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0" name="任意多边形: 形状 359">
                <a:extLst>
                  <a:ext uri="{FF2B5EF4-FFF2-40B4-BE49-F238E27FC236}">
                    <a16:creationId xmlns:a16="http://schemas.microsoft.com/office/drawing/2014/main" id="{AF822062-51B2-483A-972F-0178B04AC98F}"/>
                  </a:ext>
                </a:extLst>
              </p:cNvPr>
              <p:cNvSpPr/>
              <p:nvPr/>
            </p:nvSpPr>
            <p:spPr>
              <a:xfrm>
                <a:off x="5815781" y="6232145"/>
                <a:ext cx="163884" cy="141136"/>
              </a:xfrm>
              <a:custGeom>
                <a:avLst/>
                <a:gdLst>
                  <a:gd name="connsiteX0" fmla="*/ 6137 w 163884"/>
                  <a:gd name="connsiteY0" fmla="*/ 141137 h 141136"/>
                  <a:gd name="connsiteX1" fmla="*/ 0 w 163884"/>
                  <a:gd name="connsiteY1" fmla="*/ 138068 h 141136"/>
                  <a:gd name="connsiteX2" fmla="*/ 3068 w 163884"/>
                  <a:gd name="connsiteY2" fmla="*/ 128864 h 141136"/>
                  <a:gd name="connsiteX3" fmla="*/ 150341 w 163884"/>
                  <a:gd name="connsiteY3" fmla="*/ 3068 h 141136"/>
                  <a:gd name="connsiteX4" fmla="*/ 159546 w 163884"/>
                  <a:gd name="connsiteY4" fmla="*/ 0 h 141136"/>
                  <a:gd name="connsiteX5" fmla="*/ 162614 w 163884"/>
                  <a:gd name="connsiteY5" fmla="*/ 9205 h 141136"/>
                  <a:gd name="connsiteX6" fmla="*/ 6137 w 163884"/>
                  <a:gd name="connsiteY6" fmla="*/ 141137 h 141136"/>
                  <a:gd name="connsiteX7" fmla="*/ 6137 w 163884"/>
                  <a:gd name="connsiteY7" fmla="*/ 141137 h 141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884" h="141136">
                    <a:moveTo>
                      <a:pt x="6137" y="141137"/>
                    </a:moveTo>
                    <a:cubicBezTo>
                      <a:pt x="3068" y="141137"/>
                      <a:pt x="0" y="138068"/>
                      <a:pt x="0" y="138068"/>
                    </a:cubicBezTo>
                    <a:cubicBezTo>
                      <a:pt x="0" y="135000"/>
                      <a:pt x="0" y="131932"/>
                      <a:pt x="3068" y="128864"/>
                    </a:cubicBezTo>
                    <a:cubicBezTo>
                      <a:pt x="3068" y="128864"/>
                      <a:pt x="110455" y="98182"/>
                      <a:pt x="150341" y="3068"/>
                    </a:cubicBezTo>
                    <a:cubicBezTo>
                      <a:pt x="150341" y="0"/>
                      <a:pt x="156477" y="0"/>
                      <a:pt x="159546" y="0"/>
                    </a:cubicBezTo>
                    <a:cubicBezTo>
                      <a:pt x="162614" y="0"/>
                      <a:pt x="165682" y="6136"/>
                      <a:pt x="162614" y="9205"/>
                    </a:cubicBezTo>
                    <a:cubicBezTo>
                      <a:pt x="122727" y="107386"/>
                      <a:pt x="12273" y="138068"/>
                      <a:pt x="6137" y="141137"/>
                    </a:cubicBezTo>
                    <a:cubicBezTo>
                      <a:pt x="9205" y="141137"/>
                      <a:pt x="9205" y="141137"/>
                      <a:pt x="6137" y="14113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1" name="任意多边形: 形状 360">
                <a:extLst>
                  <a:ext uri="{FF2B5EF4-FFF2-40B4-BE49-F238E27FC236}">
                    <a16:creationId xmlns:a16="http://schemas.microsoft.com/office/drawing/2014/main" id="{0A9DFFA4-A5F8-41BE-B6D7-72AB3AC0EA25}"/>
                  </a:ext>
                </a:extLst>
              </p:cNvPr>
              <p:cNvSpPr/>
              <p:nvPr/>
            </p:nvSpPr>
            <p:spPr>
              <a:xfrm>
                <a:off x="6002940" y="6240079"/>
                <a:ext cx="25816" cy="53429"/>
              </a:xfrm>
              <a:custGeom>
                <a:avLst/>
                <a:gdLst>
                  <a:gd name="connsiteX0" fmla="*/ 6136 w 25816"/>
                  <a:gd name="connsiteY0" fmla="*/ 53430 h 53429"/>
                  <a:gd name="connsiteX1" fmla="*/ 6136 w 25816"/>
                  <a:gd name="connsiteY1" fmla="*/ 53430 h 53429"/>
                  <a:gd name="connsiteX2" fmla="*/ 0 w 25816"/>
                  <a:gd name="connsiteY2" fmla="*/ 44225 h 53429"/>
                  <a:gd name="connsiteX3" fmla="*/ 12273 w 25816"/>
                  <a:gd name="connsiteY3" fmla="*/ 4339 h 53429"/>
                  <a:gd name="connsiteX4" fmla="*/ 21477 w 25816"/>
                  <a:gd name="connsiteY4" fmla="*/ 1271 h 53429"/>
                  <a:gd name="connsiteX5" fmla="*/ 24545 w 25816"/>
                  <a:gd name="connsiteY5" fmla="*/ 10476 h 53429"/>
                  <a:gd name="connsiteX6" fmla="*/ 12273 w 25816"/>
                  <a:gd name="connsiteY6" fmla="*/ 50362 h 53429"/>
                  <a:gd name="connsiteX7" fmla="*/ 6136 w 25816"/>
                  <a:gd name="connsiteY7" fmla="*/ 53430 h 5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816" h="53429">
                    <a:moveTo>
                      <a:pt x="6136" y="53430"/>
                    </a:moveTo>
                    <a:cubicBezTo>
                      <a:pt x="6136" y="53430"/>
                      <a:pt x="6136" y="53430"/>
                      <a:pt x="6136" y="53430"/>
                    </a:cubicBezTo>
                    <a:cubicBezTo>
                      <a:pt x="0" y="53430"/>
                      <a:pt x="0" y="47294"/>
                      <a:pt x="0" y="44225"/>
                    </a:cubicBezTo>
                    <a:lnTo>
                      <a:pt x="12273" y="4339"/>
                    </a:lnTo>
                    <a:cubicBezTo>
                      <a:pt x="12273" y="1271"/>
                      <a:pt x="18409" y="-1797"/>
                      <a:pt x="21477" y="1271"/>
                    </a:cubicBezTo>
                    <a:cubicBezTo>
                      <a:pt x="24545" y="1271"/>
                      <a:pt x="27613" y="7407"/>
                      <a:pt x="24545" y="10476"/>
                    </a:cubicBezTo>
                    <a:lnTo>
                      <a:pt x="12273" y="50362"/>
                    </a:lnTo>
                    <a:cubicBezTo>
                      <a:pt x="12273" y="50362"/>
                      <a:pt x="9204" y="53430"/>
                      <a:pt x="6136" y="5343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2" name="任意多边形: 形状 361">
                <a:extLst>
                  <a:ext uri="{FF2B5EF4-FFF2-40B4-BE49-F238E27FC236}">
                    <a16:creationId xmlns:a16="http://schemas.microsoft.com/office/drawing/2014/main" id="{7646488C-F8F1-445D-B94F-BC0E978C16DB}"/>
                  </a:ext>
                </a:extLst>
              </p:cNvPr>
              <p:cNvSpPr/>
              <p:nvPr/>
            </p:nvSpPr>
            <p:spPr>
              <a:xfrm>
                <a:off x="6055099" y="6249283"/>
                <a:ext cx="25816" cy="53429"/>
              </a:xfrm>
              <a:custGeom>
                <a:avLst/>
                <a:gdLst>
                  <a:gd name="connsiteX0" fmla="*/ 6136 w 25816"/>
                  <a:gd name="connsiteY0" fmla="*/ 53430 h 53429"/>
                  <a:gd name="connsiteX1" fmla="*/ 6136 w 25816"/>
                  <a:gd name="connsiteY1" fmla="*/ 53430 h 53429"/>
                  <a:gd name="connsiteX2" fmla="*/ 0 w 25816"/>
                  <a:gd name="connsiteY2" fmla="*/ 44225 h 53429"/>
                  <a:gd name="connsiteX3" fmla="*/ 12273 w 25816"/>
                  <a:gd name="connsiteY3" fmla="*/ 4339 h 53429"/>
                  <a:gd name="connsiteX4" fmla="*/ 21477 w 25816"/>
                  <a:gd name="connsiteY4" fmla="*/ 1271 h 53429"/>
                  <a:gd name="connsiteX5" fmla="*/ 24546 w 25816"/>
                  <a:gd name="connsiteY5" fmla="*/ 10475 h 53429"/>
                  <a:gd name="connsiteX6" fmla="*/ 12273 w 25816"/>
                  <a:gd name="connsiteY6" fmla="*/ 50362 h 53429"/>
                  <a:gd name="connsiteX7" fmla="*/ 6136 w 25816"/>
                  <a:gd name="connsiteY7" fmla="*/ 53430 h 53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816" h="53429">
                    <a:moveTo>
                      <a:pt x="6136" y="53430"/>
                    </a:moveTo>
                    <a:cubicBezTo>
                      <a:pt x="3068" y="53430"/>
                      <a:pt x="3068" y="53430"/>
                      <a:pt x="6136" y="53430"/>
                    </a:cubicBezTo>
                    <a:cubicBezTo>
                      <a:pt x="0" y="53430"/>
                      <a:pt x="0" y="47294"/>
                      <a:pt x="0" y="44225"/>
                    </a:cubicBezTo>
                    <a:lnTo>
                      <a:pt x="12273" y="4339"/>
                    </a:lnTo>
                    <a:cubicBezTo>
                      <a:pt x="12273" y="1271"/>
                      <a:pt x="18409" y="-1797"/>
                      <a:pt x="21477" y="1271"/>
                    </a:cubicBezTo>
                    <a:cubicBezTo>
                      <a:pt x="24546" y="1271"/>
                      <a:pt x="27614" y="7407"/>
                      <a:pt x="24546" y="10475"/>
                    </a:cubicBezTo>
                    <a:lnTo>
                      <a:pt x="12273" y="50362"/>
                    </a:lnTo>
                    <a:cubicBezTo>
                      <a:pt x="9205" y="50362"/>
                      <a:pt x="9205" y="53430"/>
                      <a:pt x="6136" y="5343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63" name="图形 1">
              <a:extLst>
                <a:ext uri="{FF2B5EF4-FFF2-40B4-BE49-F238E27FC236}">
                  <a16:creationId xmlns:a16="http://schemas.microsoft.com/office/drawing/2014/main" id="{0D323808-9636-430D-AD2B-F892808812C7}"/>
                </a:ext>
              </a:extLst>
            </p:cNvPr>
            <p:cNvGrpSpPr/>
            <p:nvPr/>
          </p:nvGrpSpPr>
          <p:grpSpPr>
            <a:xfrm>
              <a:off x="5205213" y="6305781"/>
              <a:ext cx="632728" cy="406304"/>
              <a:chOff x="5205213" y="6305781"/>
              <a:chExt cx="632728" cy="406304"/>
            </a:xfrm>
          </p:grpSpPr>
          <p:sp>
            <p:nvSpPr>
              <p:cNvPr id="364" name="任意多边形: 形状 363">
                <a:extLst>
                  <a:ext uri="{FF2B5EF4-FFF2-40B4-BE49-F238E27FC236}">
                    <a16:creationId xmlns:a16="http://schemas.microsoft.com/office/drawing/2014/main" id="{09718649-C964-41DA-9825-FCC88AE86924}"/>
                  </a:ext>
                </a:extLst>
              </p:cNvPr>
              <p:cNvSpPr/>
              <p:nvPr/>
            </p:nvSpPr>
            <p:spPr>
              <a:xfrm>
                <a:off x="5205213" y="6305781"/>
                <a:ext cx="254658" cy="276136"/>
              </a:xfrm>
              <a:custGeom>
                <a:avLst/>
                <a:gdLst>
                  <a:gd name="connsiteX0" fmla="*/ 76705 w 254658"/>
                  <a:gd name="connsiteY0" fmla="*/ 239318 h 276136"/>
                  <a:gd name="connsiteX1" fmla="*/ 0 w 254658"/>
                  <a:gd name="connsiteY1" fmla="*/ 46023 h 276136"/>
                  <a:gd name="connsiteX2" fmla="*/ 174886 w 254658"/>
                  <a:gd name="connsiteY2" fmla="*/ 0 h 276136"/>
                  <a:gd name="connsiteX3" fmla="*/ 254659 w 254658"/>
                  <a:gd name="connsiteY3" fmla="*/ 202500 h 276136"/>
                  <a:gd name="connsiteX4" fmla="*/ 101250 w 254658"/>
                  <a:gd name="connsiteY4" fmla="*/ 276136 h 276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658" h="276136">
                    <a:moveTo>
                      <a:pt x="76705" y="239318"/>
                    </a:moveTo>
                    <a:lnTo>
                      <a:pt x="0" y="46023"/>
                    </a:lnTo>
                    <a:lnTo>
                      <a:pt x="174886" y="0"/>
                    </a:lnTo>
                    <a:lnTo>
                      <a:pt x="254659" y="202500"/>
                    </a:lnTo>
                    <a:lnTo>
                      <a:pt x="101250" y="276136"/>
                    </a:ln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5" name="任意多边形: 形状 364">
                <a:extLst>
                  <a:ext uri="{FF2B5EF4-FFF2-40B4-BE49-F238E27FC236}">
                    <a16:creationId xmlns:a16="http://schemas.microsoft.com/office/drawing/2014/main" id="{0F66582A-EA10-4212-9099-63C834BBF56D}"/>
                  </a:ext>
                </a:extLst>
              </p:cNvPr>
              <p:cNvSpPr/>
              <p:nvPr/>
            </p:nvSpPr>
            <p:spPr>
              <a:xfrm>
                <a:off x="5281227" y="6446918"/>
                <a:ext cx="540689" cy="217841"/>
              </a:xfrm>
              <a:custGeom>
                <a:avLst/>
                <a:gdLst>
                  <a:gd name="connsiteX0" fmla="*/ 690 w 540689"/>
                  <a:gd name="connsiteY0" fmla="*/ 98182 h 217841"/>
                  <a:gd name="connsiteX1" fmla="*/ 172508 w 540689"/>
                  <a:gd name="connsiteY1" fmla="*/ 0 h 217841"/>
                  <a:gd name="connsiteX2" fmla="*/ 338190 w 540689"/>
                  <a:gd name="connsiteY2" fmla="*/ 49091 h 217841"/>
                  <a:gd name="connsiteX3" fmla="*/ 540690 w 540689"/>
                  <a:gd name="connsiteY3" fmla="*/ 85909 h 217841"/>
                  <a:gd name="connsiteX4" fmla="*/ 31372 w 540689"/>
                  <a:gd name="connsiteY4" fmla="*/ 217841 h 217841"/>
                  <a:gd name="connsiteX5" fmla="*/ 690 w 540689"/>
                  <a:gd name="connsiteY5" fmla="*/ 98182 h 217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689" h="217841">
                    <a:moveTo>
                      <a:pt x="690" y="98182"/>
                    </a:moveTo>
                    <a:cubicBezTo>
                      <a:pt x="690" y="98182"/>
                      <a:pt x="126485" y="85909"/>
                      <a:pt x="172508" y="0"/>
                    </a:cubicBezTo>
                    <a:cubicBezTo>
                      <a:pt x="172508" y="0"/>
                      <a:pt x="286031" y="52159"/>
                      <a:pt x="338190" y="49091"/>
                    </a:cubicBezTo>
                    <a:cubicBezTo>
                      <a:pt x="390349" y="46023"/>
                      <a:pt x="506940" y="12273"/>
                      <a:pt x="540690" y="85909"/>
                    </a:cubicBezTo>
                    <a:lnTo>
                      <a:pt x="31372" y="217841"/>
                    </a:lnTo>
                    <a:cubicBezTo>
                      <a:pt x="31372" y="217841"/>
                      <a:pt x="-5447" y="156477"/>
                      <a:pt x="690" y="98182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6" name="任意多边形: 形状 365">
                <a:extLst>
                  <a:ext uri="{FF2B5EF4-FFF2-40B4-BE49-F238E27FC236}">
                    <a16:creationId xmlns:a16="http://schemas.microsoft.com/office/drawing/2014/main" id="{64CDC273-40C4-4A9A-9690-E41E5AB543AA}"/>
                  </a:ext>
                </a:extLst>
              </p:cNvPr>
              <p:cNvSpPr/>
              <p:nvPr/>
            </p:nvSpPr>
            <p:spPr>
              <a:xfrm rot="-876775">
                <a:off x="5312531" y="6597214"/>
                <a:ext cx="527753" cy="49093"/>
              </a:xfrm>
              <a:custGeom>
                <a:avLst/>
                <a:gdLst>
                  <a:gd name="connsiteX0" fmla="*/ 0 w 527753"/>
                  <a:gd name="connsiteY0" fmla="*/ 0 h 49093"/>
                  <a:gd name="connsiteX1" fmla="*/ 527753 w 527753"/>
                  <a:gd name="connsiteY1" fmla="*/ 0 h 49093"/>
                  <a:gd name="connsiteX2" fmla="*/ 527753 w 527753"/>
                  <a:gd name="connsiteY2" fmla="*/ 49093 h 49093"/>
                  <a:gd name="connsiteX3" fmla="*/ 0 w 527753"/>
                  <a:gd name="connsiteY3" fmla="*/ 49093 h 4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7753" h="49093">
                    <a:moveTo>
                      <a:pt x="0" y="0"/>
                    </a:moveTo>
                    <a:lnTo>
                      <a:pt x="527753" y="0"/>
                    </a:lnTo>
                    <a:lnTo>
                      <a:pt x="527753" y="49093"/>
                    </a:lnTo>
                    <a:lnTo>
                      <a:pt x="0" y="49093"/>
                    </a:lnTo>
                    <a:close/>
                  </a:path>
                </a:pathLst>
              </a:custGeom>
              <a:solidFill>
                <a:srgbClr val="38333D"/>
              </a:solidFill>
              <a:ln w="306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7" name="任意多边形: 形状 366">
                <a:extLst>
                  <a:ext uri="{FF2B5EF4-FFF2-40B4-BE49-F238E27FC236}">
                    <a16:creationId xmlns:a16="http://schemas.microsoft.com/office/drawing/2014/main" id="{0929EE05-83E9-4489-A49A-BE5DE5365447}"/>
                  </a:ext>
                </a:extLst>
              </p:cNvPr>
              <p:cNvSpPr/>
              <p:nvPr/>
            </p:nvSpPr>
            <p:spPr>
              <a:xfrm>
                <a:off x="5275781" y="6440781"/>
                <a:ext cx="187159" cy="110454"/>
              </a:xfrm>
              <a:custGeom>
                <a:avLst/>
                <a:gdLst>
                  <a:gd name="connsiteX0" fmla="*/ 6137 w 187159"/>
                  <a:gd name="connsiteY0" fmla="*/ 110454 h 110454"/>
                  <a:gd name="connsiteX1" fmla="*/ 0 w 187159"/>
                  <a:gd name="connsiteY1" fmla="*/ 104318 h 110454"/>
                  <a:gd name="connsiteX2" fmla="*/ 6137 w 187159"/>
                  <a:gd name="connsiteY2" fmla="*/ 98182 h 110454"/>
                  <a:gd name="connsiteX3" fmla="*/ 174887 w 187159"/>
                  <a:gd name="connsiteY3" fmla="*/ 3068 h 110454"/>
                  <a:gd name="connsiteX4" fmla="*/ 184091 w 187159"/>
                  <a:gd name="connsiteY4" fmla="*/ 0 h 110454"/>
                  <a:gd name="connsiteX5" fmla="*/ 187159 w 187159"/>
                  <a:gd name="connsiteY5" fmla="*/ 9205 h 110454"/>
                  <a:gd name="connsiteX6" fmla="*/ 6137 w 187159"/>
                  <a:gd name="connsiteY6" fmla="*/ 110454 h 110454"/>
                  <a:gd name="connsiteX7" fmla="*/ 6137 w 187159"/>
                  <a:gd name="connsiteY7" fmla="*/ 110454 h 110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7159" h="110454">
                    <a:moveTo>
                      <a:pt x="6137" y="110454"/>
                    </a:moveTo>
                    <a:cubicBezTo>
                      <a:pt x="3068" y="110454"/>
                      <a:pt x="0" y="107386"/>
                      <a:pt x="0" y="104318"/>
                    </a:cubicBezTo>
                    <a:cubicBezTo>
                      <a:pt x="0" y="101250"/>
                      <a:pt x="3068" y="98182"/>
                      <a:pt x="6137" y="98182"/>
                    </a:cubicBezTo>
                    <a:cubicBezTo>
                      <a:pt x="6137" y="98182"/>
                      <a:pt x="116591" y="85909"/>
                      <a:pt x="174887" y="3068"/>
                    </a:cubicBezTo>
                    <a:cubicBezTo>
                      <a:pt x="177955" y="0"/>
                      <a:pt x="181023" y="0"/>
                      <a:pt x="184091" y="0"/>
                    </a:cubicBezTo>
                    <a:cubicBezTo>
                      <a:pt x="187159" y="3068"/>
                      <a:pt x="187159" y="6136"/>
                      <a:pt x="187159" y="9205"/>
                    </a:cubicBezTo>
                    <a:cubicBezTo>
                      <a:pt x="125795" y="98182"/>
                      <a:pt x="12273" y="110454"/>
                      <a:pt x="6137" y="110454"/>
                    </a:cubicBezTo>
                    <a:cubicBezTo>
                      <a:pt x="6137" y="110454"/>
                      <a:pt x="6137" y="110454"/>
                      <a:pt x="6137" y="11045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8" name="任意多边形: 形状 367">
                <a:extLst>
                  <a:ext uri="{FF2B5EF4-FFF2-40B4-BE49-F238E27FC236}">
                    <a16:creationId xmlns:a16="http://schemas.microsoft.com/office/drawing/2014/main" id="{9FB352EF-4DE8-4979-9D88-0065B3641287}"/>
                  </a:ext>
                </a:extLst>
              </p:cNvPr>
              <p:cNvSpPr/>
              <p:nvPr/>
            </p:nvSpPr>
            <p:spPr>
              <a:xfrm>
                <a:off x="5475213" y="6456122"/>
                <a:ext cx="33749" cy="49090"/>
              </a:xfrm>
              <a:custGeom>
                <a:avLst/>
                <a:gdLst>
                  <a:gd name="connsiteX0" fmla="*/ 6137 w 33749"/>
                  <a:gd name="connsiteY0" fmla="*/ 49091 h 49090"/>
                  <a:gd name="connsiteX1" fmla="*/ 3068 w 33749"/>
                  <a:gd name="connsiteY1" fmla="*/ 49091 h 49090"/>
                  <a:gd name="connsiteX2" fmla="*/ 0 w 33749"/>
                  <a:gd name="connsiteY2" fmla="*/ 39886 h 49090"/>
                  <a:gd name="connsiteX3" fmla="*/ 21477 w 33749"/>
                  <a:gd name="connsiteY3" fmla="*/ 3068 h 49090"/>
                  <a:gd name="connsiteX4" fmla="*/ 30682 w 33749"/>
                  <a:gd name="connsiteY4" fmla="*/ 0 h 49090"/>
                  <a:gd name="connsiteX5" fmla="*/ 33750 w 33749"/>
                  <a:gd name="connsiteY5" fmla="*/ 9205 h 49090"/>
                  <a:gd name="connsiteX6" fmla="*/ 12273 w 33749"/>
                  <a:gd name="connsiteY6" fmla="*/ 46023 h 49090"/>
                  <a:gd name="connsiteX7" fmla="*/ 6137 w 33749"/>
                  <a:gd name="connsiteY7" fmla="*/ 49091 h 49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749" h="49090">
                    <a:moveTo>
                      <a:pt x="6137" y="49091"/>
                    </a:moveTo>
                    <a:cubicBezTo>
                      <a:pt x="6137" y="49091"/>
                      <a:pt x="3068" y="49091"/>
                      <a:pt x="3068" y="49091"/>
                    </a:cubicBezTo>
                    <a:cubicBezTo>
                      <a:pt x="0" y="46023"/>
                      <a:pt x="0" y="42954"/>
                      <a:pt x="0" y="39886"/>
                    </a:cubicBezTo>
                    <a:lnTo>
                      <a:pt x="21477" y="3068"/>
                    </a:lnTo>
                    <a:cubicBezTo>
                      <a:pt x="24546" y="0"/>
                      <a:pt x="27614" y="0"/>
                      <a:pt x="30682" y="0"/>
                    </a:cubicBezTo>
                    <a:cubicBezTo>
                      <a:pt x="33750" y="3068"/>
                      <a:pt x="33750" y="6136"/>
                      <a:pt x="33750" y="9205"/>
                    </a:cubicBezTo>
                    <a:lnTo>
                      <a:pt x="12273" y="46023"/>
                    </a:lnTo>
                    <a:cubicBezTo>
                      <a:pt x="9205" y="49091"/>
                      <a:pt x="6137" y="49091"/>
                      <a:pt x="6137" y="4909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9" name="任意多边形: 形状 368">
                <a:extLst>
                  <a:ext uri="{FF2B5EF4-FFF2-40B4-BE49-F238E27FC236}">
                    <a16:creationId xmlns:a16="http://schemas.microsoft.com/office/drawing/2014/main" id="{C2A11108-314B-4A2B-AFC0-05A0FA3F901D}"/>
                  </a:ext>
                </a:extLst>
              </p:cNvPr>
              <p:cNvSpPr/>
              <p:nvPr/>
            </p:nvSpPr>
            <p:spPr>
              <a:xfrm>
                <a:off x="5521235" y="6474531"/>
                <a:ext cx="33749" cy="49091"/>
              </a:xfrm>
              <a:custGeom>
                <a:avLst/>
                <a:gdLst>
                  <a:gd name="connsiteX0" fmla="*/ 6137 w 33749"/>
                  <a:gd name="connsiteY0" fmla="*/ 49091 h 49091"/>
                  <a:gd name="connsiteX1" fmla="*/ 3068 w 33749"/>
                  <a:gd name="connsiteY1" fmla="*/ 49091 h 49091"/>
                  <a:gd name="connsiteX2" fmla="*/ 0 w 33749"/>
                  <a:gd name="connsiteY2" fmla="*/ 39886 h 49091"/>
                  <a:gd name="connsiteX3" fmla="*/ 21477 w 33749"/>
                  <a:gd name="connsiteY3" fmla="*/ 3068 h 49091"/>
                  <a:gd name="connsiteX4" fmla="*/ 30682 w 33749"/>
                  <a:gd name="connsiteY4" fmla="*/ 0 h 49091"/>
                  <a:gd name="connsiteX5" fmla="*/ 33750 w 33749"/>
                  <a:gd name="connsiteY5" fmla="*/ 9205 h 49091"/>
                  <a:gd name="connsiteX6" fmla="*/ 12273 w 33749"/>
                  <a:gd name="connsiteY6" fmla="*/ 46023 h 49091"/>
                  <a:gd name="connsiteX7" fmla="*/ 6137 w 33749"/>
                  <a:gd name="connsiteY7" fmla="*/ 49091 h 49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749" h="49091">
                    <a:moveTo>
                      <a:pt x="6137" y="49091"/>
                    </a:moveTo>
                    <a:cubicBezTo>
                      <a:pt x="6137" y="49091"/>
                      <a:pt x="3068" y="49091"/>
                      <a:pt x="3068" y="49091"/>
                    </a:cubicBezTo>
                    <a:cubicBezTo>
                      <a:pt x="0" y="46023"/>
                      <a:pt x="0" y="42955"/>
                      <a:pt x="0" y="39886"/>
                    </a:cubicBezTo>
                    <a:lnTo>
                      <a:pt x="21477" y="3068"/>
                    </a:lnTo>
                    <a:cubicBezTo>
                      <a:pt x="24546" y="0"/>
                      <a:pt x="27614" y="0"/>
                      <a:pt x="30682" y="0"/>
                    </a:cubicBezTo>
                    <a:cubicBezTo>
                      <a:pt x="33750" y="3068"/>
                      <a:pt x="33750" y="6137"/>
                      <a:pt x="33750" y="9205"/>
                    </a:cubicBezTo>
                    <a:lnTo>
                      <a:pt x="12273" y="46023"/>
                    </a:lnTo>
                    <a:cubicBezTo>
                      <a:pt x="12273" y="49091"/>
                      <a:pt x="9205" y="49091"/>
                      <a:pt x="6137" y="4909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70" name="任意多边形: 形状 369">
              <a:extLst>
                <a:ext uri="{FF2B5EF4-FFF2-40B4-BE49-F238E27FC236}">
                  <a16:creationId xmlns:a16="http://schemas.microsoft.com/office/drawing/2014/main" id="{1CDC43AC-BFAB-430C-AE9E-6EC7E355366B}"/>
                </a:ext>
              </a:extLst>
            </p:cNvPr>
            <p:cNvSpPr/>
            <p:nvPr/>
          </p:nvSpPr>
          <p:spPr>
            <a:xfrm>
              <a:off x="3936888" y="4771690"/>
              <a:ext cx="1529120" cy="1672158"/>
            </a:xfrm>
            <a:custGeom>
              <a:avLst/>
              <a:gdLst>
                <a:gd name="connsiteX0" fmla="*/ 19575 w 1529120"/>
                <a:gd name="connsiteY0" fmla="*/ 0 h 1672158"/>
                <a:gd name="connsiteX1" fmla="*/ 22643 w 1529120"/>
                <a:gd name="connsiteY1" fmla="*/ 343636 h 1672158"/>
                <a:gd name="connsiteX2" fmla="*/ 805029 w 1529120"/>
                <a:gd name="connsiteY2" fmla="*/ 687273 h 1672158"/>
                <a:gd name="connsiteX3" fmla="*/ 1237643 w 1529120"/>
                <a:gd name="connsiteY3" fmla="*/ 1672159 h 1672158"/>
                <a:gd name="connsiteX4" fmla="*/ 1529120 w 1529120"/>
                <a:gd name="connsiteY4" fmla="*/ 1573977 h 1672158"/>
                <a:gd name="connsiteX5" fmla="*/ 1225370 w 1529120"/>
                <a:gd name="connsiteY5" fmla="*/ 592159 h 1672158"/>
                <a:gd name="connsiteX6" fmla="*/ 522757 w 1529120"/>
                <a:gd name="connsiteY6" fmla="*/ 64432 h 1672158"/>
                <a:gd name="connsiteX7" fmla="*/ 19575 w 1529120"/>
                <a:gd name="connsiteY7" fmla="*/ 0 h 167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9120" h="1672158">
                  <a:moveTo>
                    <a:pt x="19575" y="0"/>
                  </a:moveTo>
                  <a:cubicBezTo>
                    <a:pt x="19575" y="0"/>
                    <a:pt x="-26448" y="230114"/>
                    <a:pt x="22643" y="343636"/>
                  </a:cubicBezTo>
                  <a:cubicBezTo>
                    <a:pt x="68666" y="457159"/>
                    <a:pt x="777416" y="632045"/>
                    <a:pt x="805029" y="687273"/>
                  </a:cubicBezTo>
                  <a:cubicBezTo>
                    <a:pt x="832643" y="742500"/>
                    <a:pt x="1237643" y="1672159"/>
                    <a:pt x="1237643" y="1672159"/>
                  </a:cubicBezTo>
                  <a:cubicBezTo>
                    <a:pt x="1237643" y="1672159"/>
                    <a:pt x="1455484" y="1595454"/>
                    <a:pt x="1529120" y="1573977"/>
                  </a:cubicBezTo>
                  <a:cubicBezTo>
                    <a:pt x="1529120" y="1573977"/>
                    <a:pt x="1252984" y="736364"/>
                    <a:pt x="1225370" y="592159"/>
                  </a:cubicBezTo>
                  <a:cubicBezTo>
                    <a:pt x="1197757" y="451023"/>
                    <a:pt x="587189" y="79773"/>
                    <a:pt x="522757" y="64432"/>
                  </a:cubicBezTo>
                  <a:cubicBezTo>
                    <a:pt x="455257" y="49091"/>
                    <a:pt x="19575" y="0"/>
                    <a:pt x="19575" y="0"/>
                  </a:cubicBez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1" name="任意多边形: 形状 370">
              <a:extLst>
                <a:ext uri="{FF2B5EF4-FFF2-40B4-BE49-F238E27FC236}">
                  <a16:creationId xmlns:a16="http://schemas.microsoft.com/office/drawing/2014/main" id="{E73A6A68-7CF0-4CD4-B08D-351F90CEF330}"/>
                </a:ext>
              </a:extLst>
            </p:cNvPr>
            <p:cNvSpPr/>
            <p:nvPr/>
          </p:nvSpPr>
          <p:spPr>
            <a:xfrm>
              <a:off x="4327713" y="4748318"/>
              <a:ext cx="1635340" cy="1575872"/>
            </a:xfrm>
            <a:custGeom>
              <a:avLst/>
              <a:gdLst>
                <a:gd name="connsiteX0" fmla="*/ 0 w 1635340"/>
                <a:gd name="connsiteY0" fmla="*/ 69395 h 1575872"/>
                <a:gd name="connsiteX1" fmla="*/ 153409 w 1635340"/>
                <a:gd name="connsiteY1" fmla="*/ 367009 h 1575872"/>
                <a:gd name="connsiteX2" fmla="*/ 935795 w 1635340"/>
                <a:gd name="connsiteY2" fmla="*/ 587918 h 1575872"/>
                <a:gd name="connsiteX3" fmla="*/ 1359205 w 1635340"/>
                <a:gd name="connsiteY3" fmla="*/ 1575872 h 1575872"/>
                <a:gd name="connsiteX4" fmla="*/ 1635341 w 1635340"/>
                <a:gd name="connsiteY4" fmla="*/ 1413259 h 1575872"/>
                <a:gd name="connsiteX5" fmla="*/ 1227273 w 1635340"/>
                <a:gd name="connsiteY5" fmla="*/ 336327 h 1575872"/>
                <a:gd name="connsiteX6" fmla="*/ 552273 w 1635340"/>
                <a:gd name="connsiteY6" fmla="*/ 1895 h 1575872"/>
                <a:gd name="connsiteX7" fmla="*/ 0 w 1635340"/>
                <a:gd name="connsiteY7" fmla="*/ 69395 h 1575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5340" h="1575872">
                  <a:moveTo>
                    <a:pt x="0" y="69395"/>
                  </a:moveTo>
                  <a:cubicBezTo>
                    <a:pt x="0" y="69395"/>
                    <a:pt x="107386" y="253486"/>
                    <a:pt x="153409" y="367009"/>
                  </a:cubicBezTo>
                  <a:cubicBezTo>
                    <a:pt x="199432" y="480532"/>
                    <a:pt x="908182" y="532691"/>
                    <a:pt x="935795" y="587918"/>
                  </a:cubicBezTo>
                  <a:cubicBezTo>
                    <a:pt x="963409" y="643145"/>
                    <a:pt x="1359205" y="1575872"/>
                    <a:pt x="1359205" y="1575872"/>
                  </a:cubicBezTo>
                  <a:cubicBezTo>
                    <a:pt x="1359205" y="1575872"/>
                    <a:pt x="1552500" y="1496100"/>
                    <a:pt x="1635341" y="1413259"/>
                  </a:cubicBezTo>
                  <a:cubicBezTo>
                    <a:pt x="1635341" y="1413259"/>
                    <a:pt x="1328523" y="544963"/>
                    <a:pt x="1227273" y="336327"/>
                  </a:cubicBezTo>
                  <a:cubicBezTo>
                    <a:pt x="1162841" y="204395"/>
                    <a:pt x="616705" y="14168"/>
                    <a:pt x="552273" y="1895"/>
                  </a:cubicBezTo>
                  <a:cubicBezTo>
                    <a:pt x="487841" y="-13446"/>
                    <a:pt x="0" y="69395"/>
                    <a:pt x="0" y="69395"/>
                  </a:cubicBez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2" name="任意多边形: 形状 371">
              <a:extLst>
                <a:ext uri="{FF2B5EF4-FFF2-40B4-BE49-F238E27FC236}">
                  <a16:creationId xmlns:a16="http://schemas.microsoft.com/office/drawing/2014/main" id="{43B79191-03F1-4D6E-8BB1-BA70A82B7781}"/>
                </a:ext>
              </a:extLst>
            </p:cNvPr>
            <p:cNvSpPr/>
            <p:nvPr/>
          </p:nvSpPr>
          <p:spPr>
            <a:xfrm>
              <a:off x="4732713" y="4955781"/>
              <a:ext cx="447954" cy="472500"/>
            </a:xfrm>
            <a:custGeom>
              <a:avLst/>
              <a:gdLst>
                <a:gd name="connsiteX0" fmla="*/ 441818 w 447954"/>
                <a:gd name="connsiteY0" fmla="*/ 472500 h 472500"/>
                <a:gd name="connsiteX1" fmla="*/ 435682 w 447954"/>
                <a:gd name="connsiteY1" fmla="*/ 466364 h 472500"/>
                <a:gd name="connsiteX2" fmla="*/ 380455 w 447954"/>
                <a:gd name="connsiteY2" fmla="*/ 337500 h 472500"/>
                <a:gd name="connsiteX3" fmla="*/ 3068 w 447954"/>
                <a:gd name="connsiteY3" fmla="*/ 12273 h 472500"/>
                <a:gd name="connsiteX4" fmla="*/ 0 w 447954"/>
                <a:gd name="connsiteY4" fmla="*/ 3068 h 472500"/>
                <a:gd name="connsiteX5" fmla="*/ 9204 w 447954"/>
                <a:gd name="connsiteY5" fmla="*/ 0 h 472500"/>
                <a:gd name="connsiteX6" fmla="*/ 389659 w 447954"/>
                <a:gd name="connsiteY6" fmla="*/ 328295 h 472500"/>
                <a:gd name="connsiteX7" fmla="*/ 447955 w 447954"/>
                <a:gd name="connsiteY7" fmla="*/ 460227 h 472500"/>
                <a:gd name="connsiteX8" fmla="*/ 441818 w 447954"/>
                <a:gd name="connsiteY8" fmla="*/ 472500 h 472500"/>
                <a:gd name="connsiteX9" fmla="*/ 441818 w 447954"/>
                <a:gd name="connsiteY9" fmla="*/ 472500 h 47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7954" h="472500">
                  <a:moveTo>
                    <a:pt x="441818" y="472500"/>
                  </a:moveTo>
                  <a:cubicBezTo>
                    <a:pt x="438750" y="472500"/>
                    <a:pt x="435682" y="469432"/>
                    <a:pt x="435682" y="466364"/>
                  </a:cubicBezTo>
                  <a:cubicBezTo>
                    <a:pt x="426477" y="420341"/>
                    <a:pt x="405000" y="368182"/>
                    <a:pt x="380455" y="337500"/>
                  </a:cubicBezTo>
                  <a:cubicBezTo>
                    <a:pt x="377386" y="334432"/>
                    <a:pt x="208636" y="128864"/>
                    <a:pt x="3068" y="12273"/>
                  </a:cubicBezTo>
                  <a:cubicBezTo>
                    <a:pt x="0" y="9204"/>
                    <a:pt x="0" y="6136"/>
                    <a:pt x="0" y="3068"/>
                  </a:cubicBezTo>
                  <a:cubicBezTo>
                    <a:pt x="3068" y="0"/>
                    <a:pt x="6136" y="0"/>
                    <a:pt x="9204" y="0"/>
                  </a:cubicBezTo>
                  <a:cubicBezTo>
                    <a:pt x="217841" y="116591"/>
                    <a:pt x="389659" y="325227"/>
                    <a:pt x="389659" y="328295"/>
                  </a:cubicBezTo>
                  <a:cubicBezTo>
                    <a:pt x="414205" y="358977"/>
                    <a:pt x="438750" y="414205"/>
                    <a:pt x="447955" y="460227"/>
                  </a:cubicBezTo>
                  <a:cubicBezTo>
                    <a:pt x="447955" y="469432"/>
                    <a:pt x="444886" y="472500"/>
                    <a:pt x="441818" y="472500"/>
                  </a:cubicBezTo>
                  <a:cubicBezTo>
                    <a:pt x="441818" y="472500"/>
                    <a:pt x="441818" y="472500"/>
                    <a:pt x="441818" y="472500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3" name="任意多边形: 形状 372">
              <a:extLst>
                <a:ext uri="{FF2B5EF4-FFF2-40B4-BE49-F238E27FC236}">
                  <a16:creationId xmlns:a16="http://schemas.microsoft.com/office/drawing/2014/main" id="{1CB893C0-C422-41E5-8EA5-122ABE28B78F}"/>
                </a:ext>
              </a:extLst>
            </p:cNvPr>
            <p:cNvSpPr/>
            <p:nvPr/>
          </p:nvSpPr>
          <p:spPr>
            <a:xfrm>
              <a:off x="4837031" y="3808281"/>
              <a:ext cx="969545" cy="840681"/>
            </a:xfrm>
            <a:custGeom>
              <a:avLst/>
              <a:gdLst>
                <a:gd name="connsiteX0" fmla="*/ 291477 w 969545"/>
                <a:gd name="connsiteY0" fmla="*/ 0 h 840681"/>
                <a:gd name="connsiteX1" fmla="*/ 555341 w 969545"/>
                <a:gd name="connsiteY1" fmla="*/ 546136 h 840681"/>
                <a:gd name="connsiteX2" fmla="*/ 969545 w 969545"/>
                <a:gd name="connsiteY2" fmla="*/ 690341 h 840681"/>
                <a:gd name="connsiteX3" fmla="*/ 902045 w 969545"/>
                <a:gd name="connsiteY3" fmla="*/ 840682 h 840681"/>
                <a:gd name="connsiteX4" fmla="*/ 319091 w 969545"/>
                <a:gd name="connsiteY4" fmla="*/ 687273 h 840681"/>
                <a:gd name="connsiteX5" fmla="*/ 0 w 969545"/>
                <a:gd name="connsiteY5" fmla="*/ 98182 h 840681"/>
                <a:gd name="connsiteX6" fmla="*/ 291477 w 969545"/>
                <a:gd name="connsiteY6" fmla="*/ 0 h 840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69545" h="840681">
                  <a:moveTo>
                    <a:pt x="291477" y="0"/>
                  </a:moveTo>
                  <a:lnTo>
                    <a:pt x="555341" y="546136"/>
                  </a:lnTo>
                  <a:lnTo>
                    <a:pt x="969545" y="690341"/>
                  </a:lnTo>
                  <a:lnTo>
                    <a:pt x="902045" y="840682"/>
                  </a:lnTo>
                  <a:cubicBezTo>
                    <a:pt x="902045" y="840682"/>
                    <a:pt x="417273" y="767045"/>
                    <a:pt x="319091" y="687273"/>
                  </a:cubicBezTo>
                  <a:cubicBezTo>
                    <a:pt x="217841" y="607500"/>
                    <a:pt x="0" y="98182"/>
                    <a:pt x="0" y="98182"/>
                  </a:cubicBezTo>
                  <a:lnTo>
                    <a:pt x="291477" y="0"/>
                  </a:ln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4" name="任意多边形: 形状 373">
              <a:extLst>
                <a:ext uri="{FF2B5EF4-FFF2-40B4-BE49-F238E27FC236}">
                  <a16:creationId xmlns:a16="http://schemas.microsoft.com/office/drawing/2014/main" id="{2A13DA3E-755C-431F-A9CF-24C20A36F78A}"/>
                </a:ext>
              </a:extLst>
            </p:cNvPr>
            <p:cNvSpPr/>
            <p:nvPr/>
          </p:nvSpPr>
          <p:spPr>
            <a:xfrm>
              <a:off x="4336917" y="3213054"/>
              <a:ext cx="251590" cy="259885"/>
            </a:xfrm>
            <a:custGeom>
              <a:avLst/>
              <a:gdLst>
                <a:gd name="connsiteX0" fmla="*/ 251591 w 251590"/>
                <a:gd name="connsiteY0" fmla="*/ 39886 h 259885"/>
                <a:gd name="connsiteX1" fmla="*/ 245455 w 251590"/>
                <a:gd name="connsiteY1" fmla="*/ 214773 h 259885"/>
                <a:gd name="connsiteX2" fmla="*/ 0 w 251590"/>
                <a:gd name="connsiteY2" fmla="*/ 205568 h 259885"/>
                <a:gd name="connsiteX3" fmla="*/ 15341 w 251590"/>
                <a:gd name="connsiteY3" fmla="*/ 0 h 259885"/>
                <a:gd name="connsiteX4" fmla="*/ 251591 w 251590"/>
                <a:gd name="connsiteY4" fmla="*/ 39886 h 259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1590" h="259885">
                  <a:moveTo>
                    <a:pt x="251591" y="39886"/>
                  </a:moveTo>
                  <a:cubicBezTo>
                    <a:pt x="251591" y="39886"/>
                    <a:pt x="245455" y="141136"/>
                    <a:pt x="245455" y="214773"/>
                  </a:cubicBezTo>
                  <a:cubicBezTo>
                    <a:pt x="245455" y="214773"/>
                    <a:pt x="150341" y="322159"/>
                    <a:pt x="0" y="205568"/>
                  </a:cubicBezTo>
                  <a:cubicBezTo>
                    <a:pt x="0" y="144205"/>
                    <a:pt x="12273" y="64432"/>
                    <a:pt x="15341" y="0"/>
                  </a:cubicBezTo>
                  <a:cubicBezTo>
                    <a:pt x="15341" y="0"/>
                    <a:pt x="199432" y="52159"/>
                    <a:pt x="251591" y="39886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5" name="任意多边形: 形状 374">
              <a:extLst>
                <a:ext uri="{FF2B5EF4-FFF2-40B4-BE49-F238E27FC236}">
                  <a16:creationId xmlns:a16="http://schemas.microsoft.com/office/drawing/2014/main" id="{6F492B08-F5C5-4ED8-ACB1-8D5FBA268C02}"/>
                </a:ext>
              </a:extLst>
            </p:cNvPr>
            <p:cNvSpPr/>
            <p:nvPr/>
          </p:nvSpPr>
          <p:spPr>
            <a:xfrm>
              <a:off x="3895099" y="3378736"/>
              <a:ext cx="1064195" cy="1516056"/>
            </a:xfrm>
            <a:custGeom>
              <a:avLst/>
              <a:gdLst>
                <a:gd name="connsiteX0" fmla="*/ 423409 w 1064195"/>
                <a:gd name="connsiteY0" fmla="*/ 0 h 1516056"/>
                <a:gd name="connsiteX1" fmla="*/ 714886 w 1064195"/>
                <a:gd name="connsiteY1" fmla="*/ 0 h 1516056"/>
                <a:gd name="connsiteX2" fmla="*/ 1015568 w 1064195"/>
                <a:gd name="connsiteY2" fmla="*/ 131932 h 1516056"/>
                <a:gd name="connsiteX3" fmla="*/ 1061591 w 1064195"/>
                <a:gd name="connsiteY3" fmla="*/ 1386818 h 1516056"/>
                <a:gd name="connsiteX4" fmla="*/ 0 w 1064195"/>
                <a:gd name="connsiteY4" fmla="*/ 1485000 h 1516056"/>
                <a:gd name="connsiteX5" fmla="*/ 138068 w 1064195"/>
                <a:gd name="connsiteY5" fmla="*/ 107386 h 1516056"/>
                <a:gd name="connsiteX6" fmla="*/ 423409 w 1064195"/>
                <a:gd name="connsiteY6" fmla="*/ 0 h 1516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4195" h="1516056">
                  <a:moveTo>
                    <a:pt x="423409" y="0"/>
                  </a:moveTo>
                  <a:cubicBezTo>
                    <a:pt x="423409" y="0"/>
                    <a:pt x="598295" y="55227"/>
                    <a:pt x="714886" y="0"/>
                  </a:cubicBezTo>
                  <a:cubicBezTo>
                    <a:pt x="714886" y="0"/>
                    <a:pt x="991023" y="98182"/>
                    <a:pt x="1015568" y="131932"/>
                  </a:cubicBezTo>
                  <a:cubicBezTo>
                    <a:pt x="1040114" y="162614"/>
                    <a:pt x="1073864" y="1319318"/>
                    <a:pt x="1061591" y="1386818"/>
                  </a:cubicBezTo>
                  <a:cubicBezTo>
                    <a:pt x="1061591" y="1386818"/>
                    <a:pt x="582955" y="1592386"/>
                    <a:pt x="0" y="1485000"/>
                  </a:cubicBezTo>
                  <a:cubicBezTo>
                    <a:pt x="0" y="1126023"/>
                    <a:pt x="98182" y="138068"/>
                    <a:pt x="138068" y="107386"/>
                  </a:cubicBezTo>
                  <a:cubicBezTo>
                    <a:pt x="184091" y="70568"/>
                    <a:pt x="423409" y="0"/>
                    <a:pt x="423409" y="0"/>
                  </a:cubicBezTo>
                  <a:close/>
                </a:path>
              </a:pathLst>
            </a:custGeom>
            <a:solidFill>
              <a:srgbClr val="7F95BC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6" name="任意多边形: 形状 375">
              <a:extLst>
                <a:ext uri="{FF2B5EF4-FFF2-40B4-BE49-F238E27FC236}">
                  <a16:creationId xmlns:a16="http://schemas.microsoft.com/office/drawing/2014/main" id="{3779AC88-F971-49EB-AED1-B7606258C32B}"/>
                </a:ext>
              </a:extLst>
            </p:cNvPr>
            <p:cNvSpPr/>
            <p:nvPr/>
          </p:nvSpPr>
          <p:spPr>
            <a:xfrm>
              <a:off x="4318508" y="3378736"/>
              <a:ext cx="181022" cy="119659"/>
            </a:xfrm>
            <a:custGeom>
              <a:avLst/>
              <a:gdLst>
                <a:gd name="connsiteX0" fmla="*/ 181023 w 181022"/>
                <a:gd name="connsiteY0" fmla="*/ 21477 h 119659"/>
                <a:gd name="connsiteX1" fmla="*/ 153409 w 181022"/>
                <a:gd name="connsiteY1" fmla="*/ 119659 h 119659"/>
                <a:gd name="connsiteX2" fmla="*/ 0 w 181022"/>
                <a:gd name="connsiteY2" fmla="*/ 0 h 119659"/>
                <a:gd name="connsiteX3" fmla="*/ 181023 w 181022"/>
                <a:gd name="connsiteY3" fmla="*/ 21477 h 119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022" h="119659">
                  <a:moveTo>
                    <a:pt x="181023" y="21477"/>
                  </a:moveTo>
                  <a:lnTo>
                    <a:pt x="153409" y="119659"/>
                  </a:lnTo>
                  <a:lnTo>
                    <a:pt x="0" y="0"/>
                  </a:lnTo>
                  <a:cubicBezTo>
                    <a:pt x="0" y="0"/>
                    <a:pt x="138068" y="21477"/>
                    <a:pt x="181023" y="21477"/>
                  </a:cubicBezTo>
                  <a:close/>
                </a:path>
              </a:pathLst>
            </a:custGeom>
            <a:solidFill>
              <a:srgbClr val="FFFFFF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7" name="任意多边形: 形状 376">
              <a:extLst>
                <a:ext uri="{FF2B5EF4-FFF2-40B4-BE49-F238E27FC236}">
                  <a16:creationId xmlns:a16="http://schemas.microsoft.com/office/drawing/2014/main" id="{9B20F125-43BE-414D-9E02-C63357657318}"/>
                </a:ext>
              </a:extLst>
            </p:cNvPr>
            <p:cNvSpPr/>
            <p:nvPr/>
          </p:nvSpPr>
          <p:spPr>
            <a:xfrm>
              <a:off x="4499531" y="3378736"/>
              <a:ext cx="110454" cy="116590"/>
            </a:xfrm>
            <a:custGeom>
              <a:avLst/>
              <a:gdLst>
                <a:gd name="connsiteX0" fmla="*/ 0 w 110454"/>
                <a:gd name="connsiteY0" fmla="*/ 21477 h 116590"/>
                <a:gd name="connsiteX1" fmla="*/ 36818 w 110454"/>
                <a:gd name="connsiteY1" fmla="*/ 116591 h 116590"/>
                <a:gd name="connsiteX2" fmla="*/ 110455 w 110454"/>
                <a:gd name="connsiteY2" fmla="*/ 0 h 116590"/>
                <a:gd name="connsiteX3" fmla="*/ 0 w 110454"/>
                <a:gd name="connsiteY3" fmla="*/ 21477 h 116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454" h="116590">
                  <a:moveTo>
                    <a:pt x="0" y="21477"/>
                  </a:moveTo>
                  <a:lnTo>
                    <a:pt x="36818" y="116591"/>
                  </a:lnTo>
                  <a:lnTo>
                    <a:pt x="110455" y="0"/>
                  </a:lnTo>
                  <a:cubicBezTo>
                    <a:pt x="110455" y="0"/>
                    <a:pt x="39886" y="21477"/>
                    <a:pt x="0" y="21477"/>
                  </a:cubicBezTo>
                  <a:close/>
                </a:path>
              </a:pathLst>
            </a:custGeom>
            <a:solidFill>
              <a:srgbClr val="FFFFFF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8" name="任意多边形: 形状 377">
              <a:extLst>
                <a:ext uri="{FF2B5EF4-FFF2-40B4-BE49-F238E27FC236}">
                  <a16:creationId xmlns:a16="http://schemas.microsoft.com/office/drawing/2014/main" id="{764DDDB6-6062-44A0-9F85-8F8D2E47155F}"/>
                </a:ext>
              </a:extLst>
            </p:cNvPr>
            <p:cNvSpPr/>
            <p:nvPr/>
          </p:nvSpPr>
          <p:spPr>
            <a:xfrm>
              <a:off x="4751745" y="3469207"/>
              <a:ext cx="453467" cy="615210"/>
            </a:xfrm>
            <a:custGeom>
              <a:avLst/>
              <a:gdLst>
                <a:gd name="connsiteX0" fmla="*/ 63809 w 453467"/>
                <a:gd name="connsiteY0" fmla="*/ 615211 h 615210"/>
                <a:gd name="connsiteX1" fmla="*/ 51536 w 453467"/>
                <a:gd name="connsiteY1" fmla="*/ 10779 h 615210"/>
                <a:gd name="connsiteX2" fmla="*/ 453468 w 453467"/>
                <a:gd name="connsiteY2" fmla="*/ 446461 h 615210"/>
                <a:gd name="connsiteX3" fmla="*/ 63809 w 453467"/>
                <a:gd name="connsiteY3" fmla="*/ 615211 h 615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467" h="615210">
                  <a:moveTo>
                    <a:pt x="63809" y="615211"/>
                  </a:moveTo>
                  <a:cubicBezTo>
                    <a:pt x="63809" y="615211"/>
                    <a:pt x="-71191" y="90552"/>
                    <a:pt x="51536" y="10779"/>
                  </a:cubicBezTo>
                  <a:cubicBezTo>
                    <a:pt x="195741" y="-81267"/>
                    <a:pt x="453468" y="446461"/>
                    <a:pt x="453468" y="446461"/>
                  </a:cubicBezTo>
                  <a:cubicBezTo>
                    <a:pt x="453468" y="446461"/>
                    <a:pt x="278581" y="596802"/>
                    <a:pt x="63809" y="615211"/>
                  </a:cubicBezTo>
                  <a:close/>
                </a:path>
              </a:pathLst>
            </a:custGeom>
            <a:solidFill>
              <a:srgbClr val="7F95BC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9" name="任意多边形: 形状 378">
              <a:extLst>
                <a:ext uri="{FF2B5EF4-FFF2-40B4-BE49-F238E27FC236}">
                  <a16:creationId xmlns:a16="http://schemas.microsoft.com/office/drawing/2014/main" id="{11BA423B-534E-4966-B225-6C0B27F481A9}"/>
                </a:ext>
              </a:extLst>
            </p:cNvPr>
            <p:cNvSpPr/>
            <p:nvPr/>
          </p:nvSpPr>
          <p:spPr>
            <a:xfrm>
              <a:off x="4904531" y="3504531"/>
              <a:ext cx="53429" cy="555340"/>
            </a:xfrm>
            <a:custGeom>
              <a:avLst/>
              <a:gdLst>
                <a:gd name="connsiteX0" fmla="*/ 49091 w 53429"/>
                <a:gd name="connsiteY0" fmla="*/ 555341 h 555340"/>
                <a:gd name="connsiteX1" fmla="*/ 42955 w 53429"/>
                <a:gd name="connsiteY1" fmla="*/ 549205 h 555340"/>
                <a:gd name="connsiteX2" fmla="*/ 0 w 53429"/>
                <a:gd name="connsiteY2" fmla="*/ 6136 h 555340"/>
                <a:gd name="connsiteX3" fmla="*/ 3068 w 53429"/>
                <a:gd name="connsiteY3" fmla="*/ 0 h 555340"/>
                <a:gd name="connsiteX4" fmla="*/ 9205 w 53429"/>
                <a:gd name="connsiteY4" fmla="*/ 3068 h 555340"/>
                <a:gd name="connsiteX5" fmla="*/ 52159 w 53429"/>
                <a:gd name="connsiteY5" fmla="*/ 549205 h 555340"/>
                <a:gd name="connsiteX6" fmla="*/ 49091 w 53429"/>
                <a:gd name="connsiteY6" fmla="*/ 555341 h 555340"/>
                <a:gd name="connsiteX7" fmla="*/ 49091 w 53429"/>
                <a:gd name="connsiteY7" fmla="*/ 555341 h 555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429" h="555340">
                  <a:moveTo>
                    <a:pt x="49091" y="555341"/>
                  </a:moveTo>
                  <a:cubicBezTo>
                    <a:pt x="46023" y="555341"/>
                    <a:pt x="42955" y="552273"/>
                    <a:pt x="42955" y="549205"/>
                  </a:cubicBezTo>
                  <a:cubicBezTo>
                    <a:pt x="42955" y="543068"/>
                    <a:pt x="6136" y="46023"/>
                    <a:pt x="0" y="6136"/>
                  </a:cubicBezTo>
                  <a:cubicBezTo>
                    <a:pt x="0" y="3068"/>
                    <a:pt x="0" y="0"/>
                    <a:pt x="3068" y="0"/>
                  </a:cubicBezTo>
                  <a:cubicBezTo>
                    <a:pt x="6136" y="0"/>
                    <a:pt x="9205" y="0"/>
                    <a:pt x="9205" y="3068"/>
                  </a:cubicBezTo>
                  <a:cubicBezTo>
                    <a:pt x="18409" y="42955"/>
                    <a:pt x="52159" y="527727"/>
                    <a:pt x="52159" y="549205"/>
                  </a:cubicBezTo>
                  <a:cubicBezTo>
                    <a:pt x="55227" y="552273"/>
                    <a:pt x="52159" y="555341"/>
                    <a:pt x="49091" y="555341"/>
                  </a:cubicBezTo>
                  <a:cubicBezTo>
                    <a:pt x="49091" y="555341"/>
                    <a:pt x="49091" y="555341"/>
                    <a:pt x="49091" y="555341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0" name="任意多边形: 形状 379">
              <a:extLst>
                <a:ext uri="{FF2B5EF4-FFF2-40B4-BE49-F238E27FC236}">
                  <a16:creationId xmlns:a16="http://schemas.microsoft.com/office/drawing/2014/main" id="{4DB2B728-553D-4B7F-A679-8E12E996FD65}"/>
                </a:ext>
              </a:extLst>
            </p:cNvPr>
            <p:cNvSpPr/>
            <p:nvPr/>
          </p:nvSpPr>
          <p:spPr>
            <a:xfrm>
              <a:off x="3846231" y="3799077"/>
              <a:ext cx="693186" cy="1012500"/>
            </a:xfrm>
            <a:custGeom>
              <a:avLst/>
              <a:gdLst>
                <a:gd name="connsiteX0" fmla="*/ 318868 w 693186"/>
                <a:gd name="connsiteY0" fmla="*/ 0 h 1012500"/>
                <a:gd name="connsiteX1" fmla="*/ 278982 w 693186"/>
                <a:gd name="connsiteY1" fmla="*/ 659659 h 1012500"/>
                <a:gd name="connsiteX2" fmla="*/ 693186 w 693186"/>
                <a:gd name="connsiteY2" fmla="*/ 905114 h 1012500"/>
                <a:gd name="connsiteX3" fmla="*/ 677845 w 693186"/>
                <a:gd name="connsiteY3" fmla="*/ 1012500 h 1012500"/>
                <a:gd name="connsiteX4" fmla="*/ 42732 w 693186"/>
                <a:gd name="connsiteY4" fmla="*/ 800796 h 1012500"/>
                <a:gd name="connsiteX5" fmla="*/ 51936 w 693186"/>
                <a:gd name="connsiteY5" fmla="*/ 0 h 1012500"/>
                <a:gd name="connsiteX6" fmla="*/ 318868 w 693186"/>
                <a:gd name="connsiteY6" fmla="*/ 0 h 101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186" h="1012500">
                  <a:moveTo>
                    <a:pt x="318868" y="0"/>
                  </a:moveTo>
                  <a:lnTo>
                    <a:pt x="278982" y="659659"/>
                  </a:lnTo>
                  <a:lnTo>
                    <a:pt x="693186" y="905114"/>
                  </a:lnTo>
                  <a:lnTo>
                    <a:pt x="677845" y="1012500"/>
                  </a:lnTo>
                  <a:cubicBezTo>
                    <a:pt x="677845" y="1012500"/>
                    <a:pt x="143982" y="883636"/>
                    <a:pt x="42732" y="800796"/>
                  </a:cubicBezTo>
                  <a:cubicBezTo>
                    <a:pt x="-58518" y="721023"/>
                    <a:pt x="51936" y="0"/>
                    <a:pt x="51936" y="0"/>
                  </a:cubicBezTo>
                  <a:lnTo>
                    <a:pt x="318868" y="0"/>
                  </a:ln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1" name="任意多边形: 形状 380">
              <a:extLst>
                <a:ext uri="{FF2B5EF4-FFF2-40B4-BE49-F238E27FC236}">
                  <a16:creationId xmlns:a16="http://schemas.microsoft.com/office/drawing/2014/main" id="{24169C50-6C0A-4413-88E7-C1C933E72E3F}"/>
                </a:ext>
              </a:extLst>
            </p:cNvPr>
            <p:cNvSpPr/>
            <p:nvPr/>
          </p:nvSpPr>
          <p:spPr>
            <a:xfrm>
              <a:off x="3778508" y="3473427"/>
              <a:ext cx="423436" cy="588425"/>
            </a:xfrm>
            <a:custGeom>
              <a:avLst/>
              <a:gdLst>
                <a:gd name="connsiteX0" fmla="*/ 0 w 423436"/>
                <a:gd name="connsiteY0" fmla="*/ 546559 h 588425"/>
                <a:gd name="connsiteX1" fmla="*/ 257727 w 423436"/>
                <a:gd name="connsiteY1" fmla="*/ 423 h 588425"/>
                <a:gd name="connsiteX2" fmla="*/ 423409 w 423436"/>
                <a:gd name="connsiteY2" fmla="*/ 571104 h 588425"/>
                <a:gd name="connsiteX3" fmla="*/ 0 w 423436"/>
                <a:gd name="connsiteY3" fmla="*/ 546559 h 588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436" h="588425">
                  <a:moveTo>
                    <a:pt x="0" y="546559"/>
                  </a:moveTo>
                  <a:cubicBezTo>
                    <a:pt x="0" y="546559"/>
                    <a:pt x="110455" y="15764"/>
                    <a:pt x="257727" y="423"/>
                  </a:cubicBezTo>
                  <a:cubicBezTo>
                    <a:pt x="429545" y="-17986"/>
                    <a:pt x="423409" y="571104"/>
                    <a:pt x="423409" y="571104"/>
                  </a:cubicBezTo>
                  <a:cubicBezTo>
                    <a:pt x="423409" y="571104"/>
                    <a:pt x="199432" y="623264"/>
                    <a:pt x="0" y="546559"/>
                  </a:cubicBezTo>
                  <a:close/>
                </a:path>
              </a:pathLst>
            </a:custGeom>
            <a:solidFill>
              <a:srgbClr val="7F95BC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2" name="任意多边形: 形状 381">
              <a:extLst>
                <a:ext uri="{FF2B5EF4-FFF2-40B4-BE49-F238E27FC236}">
                  <a16:creationId xmlns:a16="http://schemas.microsoft.com/office/drawing/2014/main" id="{1B568D47-162C-4AA9-B2A8-51409F44A09D}"/>
                </a:ext>
              </a:extLst>
            </p:cNvPr>
            <p:cNvSpPr/>
            <p:nvPr/>
          </p:nvSpPr>
          <p:spPr>
            <a:xfrm>
              <a:off x="4028828" y="3466442"/>
              <a:ext cx="179225" cy="599566"/>
            </a:xfrm>
            <a:custGeom>
              <a:avLst/>
              <a:gdLst>
                <a:gd name="connsiteX0" fmla="*/ 41157 w 179225"/>
                <a:gd name="connsiteY0" fmla="*/ 599566 h 599566"/>
                <a:gd name="connsiteX1" fmla="*/ 41157 w 179225"/>
                <a:gd name="connsiteY1" fmla="*/ 599566 h 599566"/>
                <a:gd name="connsiteX2" fmla="*/ 31953 w 179225"/>
                <a:gd name="connsiteY2" fmla="*/ 593430 h 599566"/>
                <a:gd name="connsiteX3" fmla="*/ 38089 w 179225"/>
                <a:gd name="connsiteY3" fmla="*/ 587294 h 599566"/>
                <a:gd name="connsiteX4" fmla="*/ 41157 w 179225"/>
                <a:gd name="connsiteY4" fmla="*/ 587294 h 599566"/>
                <a:gd name="connsiteX5" fmla="*/ 166953 w 179225"/>
                <a:gd name="connsiteY5" fmla="*/ 568885 h 599566"/>
                <a:gd name="connsiteX6" fmla="*/ 136271 w 179225"/>
                <a:gd name="connsiteY6" fmla="*/ 212975 h 599566"/>
                <a:gd name="connsiteX7" fmla="*/ 4339 w 179225"/>
                <a:gd name="connsiteY7" fmla="*/ 10475 h 599566"/>
                <a:gd name="connsiteX8" fmla="*/ 1271 w 179225"/>
                <a:gd name="connsiteY8" fmla="*/ 4339 h 599566"/>
                <a:gd name="connsiteX9" fmla="*/ 7407 w 179225"/>
                <a:gd name="connsiteY9" fmla="*/ 1271 h 599566"/>
                <a:gd name="connsiteX10" fmla="*/ 148544 w 179225"/>
                <a:gd name="connsiteY10" fmla="*/ 212975 h 599566"/>
                <a:gd name="connsiteX11" fmla="*/ 179225 w 179225"/>
                <a:gd name="connsiteY11" fmla="*/ 575021 h 599566"/>
                <a:gd name="connsiteX12" fmla="*/ 179225 w 179225"/>
                <a:gd name="connsiteY12" fmla="*/ 578089 h 599566"/>
                <a:gd name="connsiteX13" fmla="*/ 176157 w 179225"/>
                <a:gd name="connsiteY13" fmla="*/ 578089 h 599566"/>
                <a:gd name="connsiteX14" fmla="*/ 41157 w 179225"/>
                <a:gd name="connsiteY14" fmla="*/ 599566 h 599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9225" h="599566">
                  <a:moveTo>
                    <a:pt x="41157" y="599566"/>
                  </a:moveTo>
                  <a:cubicBezTo>
                    <a:pt x="41157" y="599566"/>
                    <a:pt x="41157" y="599566"/>
                    <a:pt x="41157" y="599566"/>
                  </a:cubicBezTo>
                  <a:cubicBezTo>
                    <a:pt x="35021" y="599566"/>
                    <a:pt x="31953" y="596498"/>
                    <a:pt x="31953" y="593430"/>
                  </a:cubicBezTo>
                  <a:cubicBezTo>
                    <a:pt x="31953" y="590362"/>
                    <a:pt x="35021" y="587294"/>
                    <a:pt x="38089" y="587294"/>
                  </a:cubicBezTo>
                  <a:cubicBezTo>
                    <a:pt x="38089" y="587294"/>
                    <a:pt x="41157" y="587294"/>
                    <a:pt x="41157" y="587294"/>
                  </a:cubicBezTo>
                  <a:cubicBezTo>
                    <a:pt x="96384" y="587294"/>
                    <a:pt x="151612" y="575021"/>
                    <a:pt x="166953" y="568885"/>
                  </a:cubicBezTo>
                  <a:cubicBezTo>
                    <a:pt x="166953" y="541271"/>
                    <a:pt x="157748" y="378657"/>
                    <a:pt x="136271" y="212975"/>
                  </a:cubicBezTo>
                  <a:cubicBezTo>
                    <a:pt x="111725" y="35021"/>
                    <a:pt x="7407" y="10475"/>
                    <a:pt x="4339" y="10475"/>
                  </a:cubicBezTo>
                  <a:cubicBezTo>
                    <a:pt x="1271" y="10475"/>
                    <a:pt x="-1797" y="7407"/>
                    <a:pt x="1271" y="4339"/>
                  </a:cubicBezTo>
                  <a:cubicBezTo>
                    <a:pt x="1271" y="1271"/>
                    <a:pt x="4339" y="-1797"/>
                    <a:pt x="7407" y="1271"/>
                  </a:cubicBezTo>
                  <a:cubicBezTo>
                    <a:pt x="13544" y="1271"/>
                    <a:pt x="123998" y="28884"/>
                    <a:pt x="148544" y="212975"/>
                  </a:cubicBezTo>
                  <a:cubicBezTo>
                    <a:pt x="173089" y="393998"/>
                    <a:pt x="179225" y="571953"/>
                    <a:pt x="179225" y="575021"/>
                  </a:cubicBezTo>
                  <a:lnTo>
                    <a:pt x="179225" y="578089"/>
                  </a:lnTo>
                  <a:lnTo>
                    <a:pt x="176157" y="578089"/>
                  </a:lnTo>
                  <a:cubicBezTo>
                    <a:pt x="176157" y="581157"/>
                    <a:pt x="108657" y="599566"/>
                    <a:pt x="41157" y="599566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3" name="任意多边形: 形状 382">
              <a:extLst>
                <a:ext uri="{FF2B5EF4-FFF2-40B4-BE49-F238E27FC236}">
                  <a16:creationId xmlns:a16="http://schemas.microsoft.com/office/drawing/2014/main" id="{0C2C59D4-2E41-4B5D-869A-A9799E3E3DC1}"/>
                </a:ext>
              </a:extLst>
            </p:cNvPr>
            <p:cNvSpPr/>
            <p:nvPr/>
          </p:nvSpPr>
          <p:spPr>
            <a:xfrm>
              <a:off x="4459645" y="4802372"/>
              <a:ext cx="779318" cy="95113"/>
            </a:xfrm>
            <a:custGeom>
              <a:avLst/>
              <a:gdLst>
                <a:gd name="connsiteX0" fmla="*/ 0 w 779318"/>
                <a:gd name="connsiteY0" fmla="*/ 30682 h 95113"/>
                <a:gd name="connsiteX1" fmla="*/ 331364 w 779318"/>
                <a:gd name="connsiteY1" fmla="*/ 95114 h 95113"/>
                <a:gd name="connsiteX2" fmla="*/ 711818 w 779318"/>
                <a:gd name="connsiteY2" fmla="*/ 95114 h 95113"/>
                <a:gd name="connsiteX3" fmla="*/ 779318 w 779318"/>
                <a:gd name="connsiteY3" fmla="*/ 0 h 95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9318" h="95113">
                  <a:moveTo>
                    <a:pt x="0" y="30682"/>
                  </a:moveTo>
                  <a:lnTo>
                    <a:pt x="331364" y="95114"/>
                  </a:lnTo>
                  <a:lnTo>
                    <a:pt x="711818" y="95114"/>
                  </a:lnTo>
                  <a:lnTo>
                    <a:pt x="779318" y="0"/>
                  </a:lnTo>
                  <a:close/>
                </a:path>
              </a:pathLst>
            </a:custGeom>
            <a:solidFill>
              <a:srgbClr val="E5D1D1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84" name="图形 1">
              <a:extLst>
                <a:ext uri="{FF2B5EF4-FFF2-40B4-BE49-F238E27FC236}">
                  <a16:creationId xmlns:a16="http://schemas.microsoft.com/office/drawing/2014/main" id="{0D323808-9636-430D-AD2B-F892808812C7}"/>
                </a:ext>
              </a:extLst>
            </p:cNvPr>
            <p:cNvGrpSpPr/>
            <p:nvPr/>
          </p:nvGrpSpPr>
          <p:grpSpPr>
            <a:xfrm>
              <a:off x="4498096" y="4700164"/>
              <a:ext cx="333272" cy="170447"/>
              <a:chOff x="4498096" y="4700164"/>
              <a:chExt cx="333272" cy="170447"/>
            </a:xfrm>
          </p:grpSpPr>
          <p:sp>
            <p:nvSpPr>
              <p:cNvPr id="385" name="任意多边形: 形状 384">
                <a:extLst>
                  <a:ext uri="{FF2B5EF4-FFF2-40B4-BE49-F238E27FC236}">
                    <a16:creationId xmlns:a16="http://schemas.microsoft.com/office/drawing/2014/main" id="{D5804882-641E-44A0-AA61-85A77EEDD320}"/>
                  </a:ext>
                </a:extLst>
              </p:cNvPr>
              <p:cNvSpPr/>
              <p:nvPr/>
            </p:nvSpPr>
            <p:spPr>
              <a:xfrm>
                <a:off x="4498096" y="4700164"/>
                <a:ext cx="333272" cy="170447"/>
              </a:xfrm>
              <a:custGeom>
                <a:avLst/>
                <a:gdLst>
                  <a:gd name="connsiteX0" fmla="*/ 10639 w 333272"/>
                  <a:gd name="connsiteY0" fmla="*/ 65390 h 170447"/>
                  <a:gd name="connsiteX1" fmla="*/ 13708 w 333272"/>
                  <a:gd name="connsiteY1" fmla="*/ 31640 h 170447"/>
                  <a:gd name="connsiteX2" fmla="*/ 1435 w 333272"/>
                  <a:gd name="connsiteY2" fmla="*/ 958 h 170447"/>
                  <a:gd name="connsiteX3" fmla="*/ 179389 w 333272"/>
                  <a:gd name="connsiteY3" fmla="*/ 28572 h 170447"/>
                  <a:gd name="connsiteX4" fmla="*/ 268367 w 333272"/>
                  <a:gd name="connsiteY4" fmla="*/ 77663 h 170447"/>
                  <a:gd name="connsiteX5" fmla="*/ 326662 w 333272"/>
                  <a:gd name="connsiteY5" fmla="*/ 135958 h 170447"/>
                  <a:gd name="connsiteX6" fmla="*/ 320526 w 333272"/>
                  <a:gd name="connsiteY6" fmla="*/ 169708 h 170447"/>
                  <a:gd name="connsiteX7" fmla="*/ 194730 w 333272"/>
                  <a:gd name="connsiteY7" fmla="*/ 129822 h 170447"/>
                  <a:gd name="connsiteX8" fmla="*/ 102685 w 333272"/>
                  <a:gd name="connsiteY8" fmla="*/ 135958 h 170447"/>
                  <a:gd name="connsiteX9" fmla="*/ 7571 w 333272"/>
                  <a:gd name="connsiteY9" fmla="*/ 83799 h 170447"/>
                  <a:gd name="connsiteX10" fmla="*/ 10639 w 333272"/>
                  <a:gd name="connsiteY10" fmla="*/ 71527 h 170447"/>
                  <a:gd name="connsiteX11" fmla="*/ 10639 w 333272"/>
                  <a:gd name="connsiteY11" fmla="*/ 65390 h 170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272" h="170447">
                    <a:moveTo>
                      <a:pt x="10639" y="65390"/>
                    </a:moveTo>
                    <a:cubicBezTo>
                      <a:pt x="7571" y="56186"/>
                      <a:pt x="7571" y="43913"/>
                      <a:pt x="13708" y="31640"/>
                    </a:cubicBezTo>
                    <a:cubicBezTo>
                      <a:pt x="10639" y="22436"/>
                      <a:pt x="-4701" y="958"/>
                      <a:pt x="1435" y="958"/>
                    </a:cubicBezTo>
                    <a:cubicBezTo>
                      <a:pt x="53594" y="-2110"/>
                      <a:pt x="127230" y="958"/>
                      <a:pt x="179389" y="28572"/>
                    </a:cubicBezTo>
                    <a:cubicBezTo>
                      <a:pt x="207003" y="43913"/>
                      <a:pt x="243821" y="56186"/>
                      <a:pt x="268367" y="77663"/>
                    </a:cubicBezTo>
                    <a:cubicBezTo>
                      <a:pt x="286776" y="89936"/>
                      <a:pt x="323594" y="132890"/>
                      <a:pt x="326662" y="135958"/>
                    </a:cubicBezTo>
                    <a:cubicBezTo>
                      <a:pt x="342003" y="148231"/>
                      <a:pt x="326662" y="169708"/>
                      <a:pt x="320526" y="169708"/>
                    </a:cubicBezTo>
                    <a:cubicBezTo>
                      <a:pt x="314390" y="175845"/>
                      <a:pt x="265299" y="142095"/>
                      <a:pt x="194730" y="129822"/>
                    </a:cubicBezTo>
                    <a:cubicBezTo>
                      <a:pt x="170185" y="126754"/>
                      <a:pt x="127230" y="135958"/>
                      <a:pt x="102685" y="135958"/>
                    </a:cubicBezTo>
                    <a:cubicBezTo>
                      <a:pt x="75071" y="135958"/>
                      <a:pt x="7571" y="126754"/>
                      <a:pt x="7571" y="83799"/>
                    </a:cubicBezTo>
                    <a:cubicBezTo>
                      <a:pt x="7571" y="80731"/>
                      <a:pt x="7571" y="74595"/>
                      <a:pt x="10639" y="71527"/>
                    </a:cubicBezTo>
                    <a:cubicBezTo>
                      <a:pt x="10639" y="71527"/>
                      <a:pt x="10639" y="68459"/>
                      <a:pt x="10639" y="6539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6" name="任意多边形: 形状 385">
                <a:extLst>
                  <a:ext uri="{FF2B5EF4-FFF2-40B4-BE49-F238E27FC236}">
                    <a16:creationId xmlns:a16="http://schemas.microsoft.com/office/drawing/2014/main" id="{A40731DF-7AD8-49B6-A78B-C7940D403335}"/>
                  </a:ext>
                </a:extLst>
              </p:cNvPr>
              <p:cNvSpPr/>
              <p:nvPr/>
            </p:nvSpPr>
            <p:spPr>
              <a:xfrm>
                <a:off x="4606917" y="4765554"/>
                <a:ext cx="159607" cy="82841"/>
              </a:xfrm>
              <a:custGeom>
                <a:avLst/>
                <a:gdLst>
                  <a:gd name="connsiteX0" fmla="*/ 135000 w 159607"/>
                  <a:gd name="connsiteY0" fmla="*/ 82841 h 82841"/>
                  <a:gd name="connsiteX1" fmla="*/ 104318 w 159607"/>
                  <a:gd name="connsiteY1" fmla="*/ 76705 h 82841"/>
                  <a:gd name="connsiteX2" fmla="*/ 101250 w 159607"/>
                  <a:gd name="connsiteY2" fmla="*/ 70568 h 82841"/>
                  <a:gd name="connsiteX3" fmla="*/ 107386 w 159607"/>
                  <a:gd name="connsiteY3" fmla="*/ 67500 h 82841"/>
                  <a:gd name="connsiteX4" fmla="*/ 144204 w 159607"/>
                  <a:gd name="connsiteY4" fmla="*/ 70568 h 82841"/>
                  <a:gd name="connsiteX5" fmla="*/ 150341 w 159607"/>
                  <a:gd name="connsiteY5" fmla="*/ 61364 h 82841"/>
                  <a:gd name="connsiteX6" fmla="*/ 6136 w 159607"/>
                  <a:gd name="connsiteY6" fmla="*/ 12273 h 82841"/>
                  <a:gd name="connsiteX7" fmla="*/ 0 w 159607"/>
                  <a:gd name="connsiteY7" fmla="*/ 6137 h 82841"/>
                  <a:gd name="connsiteX8" fmla="*/ 6136 w 159607"/>
                  <a:gd name="connsiteY8" fmla="*/ 0 h 82841"/>
                  <a:gd name="connsiteX9" fmla="*/ 159545 w 159607"/>
                  <a:gd name="connsiteY9" fmla="*/ 61364 h 82841"/>
                  <a:gd name="connsiteX10" fmla="*/ 150341 w 159607"/>
                  <a:gd name="connsiteY10" fmla="*/ 76705 h 82841"/>
                  <a:gd name="connsiteX11" fmla="*/ 135000 w 159607"/>
                  <a:gd name="connsiteY11" fmla="*/ 82841 h 8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9607" h="82841">
                    <a:moveTo>
                      <a:pt x="135000" y="82841"/>
                    </a:moveTo>
                    <a:cubicBezTo>
                      <a:pt x="122727" y="82841"/>
                      <a:pt x="107386" y="76705"/>
                      <a:pt x="104318" y="76705"/>
                    </a:cubicBezTo>
                    <a:cubicBezTo>
                      <a:pt x="101250" y="76705"/>
                      <a:pt x="101250" y="73636"/>
                      <a:pt x="101250" y="70568"/>
                    </a:cubicBezTo>
                    <a:cubicBezTo>
                      <a:pt x="101250" y="67500"/>
                      <a:pt x="104318" y="67500"/>
                      <a:pt x="107386" y="67500"/>
                    </a:cubicBezTo>
                    <a:cubicBezTo>
                      <a:pt x="113523" y="70568"/>
                      <a:pt x="135000" y="76705"/>
                      <a:pt x="144204" y="70568"/>
                    </a:cubicBezTo>
                    <a:cubicBezTo>
                      <a:pt x="147273" y="70568"/>
                      <a:pt x="147273" y="67500"/>
                      <a:pt x="150341" y="61364"/>
                    </a:cubicBezTo>
                    <a:cubicBezTo>
                      <a:pt x="150341" y="49091"/>
                      <a:pt x="85909" y="27614"/>
                      <a:pt x="6136" y="12273"/>
                    </a:cubicBezTo>
                    <a:cubicBezTo>
                      <a:pt x="3068" y="12273"/>
                      <a:pt x="0" y="9205"/>
                      <a:pt x="0" y="6137"/>
                    </a:cubicBezTo>
                    <a:cubicBezTo>
                      <a:pt x="0" y="3068"/>
                      <a:pt x="3068" y="0"/>
                      <a:pt x="6136" y="0"/>
                    </a:cubicBezTo>
                    <a:cubicBezTo>
                      <a:pt x="52159" y="9205"/>
                      <a:pt x="162614" y="30682"/>
                      <a:pt x="159545" y="61364"/>
                    </a:cubicBezTo>
                    <a:cubicBezTo>
                      <a:pt x="159545" y="70568"/>
                      <a:pt x="153409" y="76705"/>
                      <a:pt x="150341" y="76705"/>
                    </a:cubicBezTo>
                    <a:cubicBezTo>
                      <a:pt x="147273" y="82841"/>
                      <a:pt x="141136" y="82841"/>
                      <a:pt x="135000" y="8284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7" name="任意多边形: 形状 386">
                <a:extLst>
                  <a:ext uri="{FF2B5EF4-FFF2-40B4-BE49-F238E27FC236}">
                    <a16:creationId xmlns:a16="http://schemas.microsoft.com/office/drawing/2014/main" id="{720FBC45-A9BA-4A4B-A6D5-4D99827393EA}"/>
                  </a:ext>
                </a:extLst>
              </p:cNvPr>
              <p:cNvSpPr/>
              <p:nvPr/>
            </p:nvSpPr>
            <p:spPr>
              <a:xfrm>
                <a:off x="4682351" y="4750213"/>
                <a:ext cx="128337" cy="107386"/>
              </a:xfrm>
              <a:custGeom>
                <a:avLst/>
                <a:gdLst>
                  <a:gd name="connsiteX0" fmla="*/ 99453 w 128337"/>
                  <a:gd name="connsiteY0" fmla="*/ 107386 h 107386"/>
                  <a:gd name="connsiteX1" fmla="*/ 68771 w 128337"/>
                  <a:gd name="connsiteY1" fmla="*/ 98182 h 107386"/>
                  <a:gd name="connsiteX2" fmla="*/ 65703 w 128337"/>
                  <a:gd name="connsiteY2" fmla="*/ 88977 h 107386"/>
                  <a:gd name="connsiteX3" fmla="*/ 74907 w 128337"/>
                  <a:gd name="connsiteY3" fmla="*/ 85909 h 107386"/>
                  <a:gd name="connsiteX4" fmla="*/ 114794 w 128337"/>
                  <a:gd name="connsiteY4" fmla="*/ 85909 h 107386"/>
                  <a:gd name="connsiteX5" fmla="*/ 114794 w 128337"/>
                  <a:gd name="connsiteY5" fmla="*/ 82841 h 107386"/>
                  <a:gd name="connsiteX6" fmla="*/ 4339 w 128337"/>
                  <a:gd name="connsiteY6" fmla="*/ 9205 h 107386"/>
                  <a:gd name="connsiteX7" fmla="*/ 1271 w 128337"/>
                  <a:gd name="connsiteY7" fmla="*/ 3068 h 107386"/>
                  <a:gd name="connsiteX8" fmla="*/ 7407 w 128337"/>
                  <a:gd name="connsiteY8" fmla="*/ 0 h 107386"/>
                  <a:gd name="connsiteX9" fmla="*/ 127066 w 128337"/>
                  <a:gd name="connsiteY9" fmla="*/ 82841 h 107386"/>
                  <a:gd name="connsiteX10" fmla="*/ 123998 w 128337"/>
                  <a:gd name="connsiteY10" fmla="*/ 98182 h 107386"/>
                  <a:gd name="connsiteX11" fmla="*/ 99453 w 128337"/>
                  <a:gd name="connsiteY11" fmla="*/ 107386 h 10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8337" h="107386">
                    <a:moveTo>
                      <a:pt x="99453" y="107386"/>
                    </a:moveTo>
                    <a:cubicBezTo>
                      <a:pt x="84112" y="107386"/>
                      <a:pt x="71839" y="98182"/>
                      <a:pt x="68771" y="98182"/>
                    </a:cubicBezTo>
                    <a:cubicBezTo>
                      <a:pt x="65703" y="95114"/>
                      <a:pt x="65703" y="92045"/>
                      <a:pt x="65703" y="88977"/>
                    </a:cubicBezTo>
                    <a:cubicBezTo>
                      <a:pt x="68771" y="85909"/>
                      <a:pt x="71839" y="85909"/>
                      <a:pt x="74907" y="85909"/>
                    </a:cubicBezTo>
                    <a:cubicBezTo>
                      <a:pt x="74907" y="85909"/>
                      <a:pt x="99453" y="101250"/>
                      <a:pt x="114794" y="85909"/>
                    </a:cubicBezTo>
                    <a:cubicBezTo>
                      <a:pt x="114794" y="85909"/>
                      <a:pt x="114794" y="85909"/>
                      <a:pt x="114794" y="82841"/>
                    </a:cubicBezTo>
                    <a:cubicBezTo>
                      <a:pt x="108657" y="61364"/>
                      <a:pt x="44225" y="21477"/>
                      <a:pt x="4339" y="9205"/>
                    </a:cubicBezTo>
                    <a:cubicBezTo>
                      <a:pt x="1271" y="9205"/>
                      <a:pt x="-1797" y="6137"/>
                      <a:pt x="1271" y="3068"/>
                    </a:cubicBezTo>
                    <a:cubicBezTo>
                      <a:pt x="1271" y="0"/>
                      <a:pt x="4339" y="0"/>
                      <a:pt x="7407" y="0"/>
                    </a:cubicBezTo>
                    <a:cubicBezTo>
                      <a:pt x="47294" y="12273"/>
                      <a:pt x="120930" y="55227"/>
                      <a:pt x="127066" y="82841"/>
                    </a:cubicBezTo>
                    <a:cubicBezTo>
                      <a:pt x="130135" y="88977"/>
                      <a:pt x="127066" y="95114"/>
                      <a:pt x="123998" y="98182"/>
                    </a:cubicBezTo>
                    <a:cubicBezTo>
                      <a:pt x="117862" y="104318"/>
                      <a:pt x="108657" y="107386"/>
                      <a:pt x="99453" y="10738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88" name="图形 1">
              <a:extLst>
                <a:ext uri="{FF2B5EF4-FFF2-40B4-BE49-F238E27FC236}">
                  <a16:creationId xmlns:a16="http://schemas.microsoft.com/office/drawing/2014/main" id="{0D323808-9636-430D-AD2B-F892808812C7}"/>
                </a:ext>
              </a:extLst>
            </p:cNvPr>
            <p:cNvGrpSpPr/>
            <p:nvPr/>
          </p:nvGrpSpPr>
          <p:grpSpPr>
            <a:xfrm>
              <a:off x="4459645" y="4394304"/>
              <a:ext cx="1402046" cy="540337"/>
              <a:chOff x="4459645" y="4394304"/>
              <a:chExt cx="1402046" cy="540337"/>
            </a:xfrm>
          </p:grpSpPr>
          <p:sp>
            <p:nvSpPr>
              <p:cNvPr id="389" name="任意多边形: 形状 388">
                <a:extLst>
                  <a:ext uri="{FF2B5EF4-FFF2-40B4-BE49-F238E27FC236}">
                    <a16:creationId xmlns:a16="http://schemas.microsoft.com/office/drawing/2014/main" id="{80B7A4AB-1F1F-4CF1-A9B3-62F8A5A7AC69}"/>
                  </a:ext>
                </a:extLst>
              </p:cNvPr>
              <p:cNvSpPr/>
              <p:nvPr/>
            </p:nvSpPr>
            <p:spPr>
              <a:xfrm>
                <a:off x="4791008" y="4394304"/>
                <a:ext cx="1070682" cy="503181"/>
              </a:xfrm>
              <a:custGeom>
                <a:avLst/>
                <a:gdLst>
                  <a:gd name="connsiteX0" fmla="*/ 0 w 1070682"/>
                  <a:gd name="connsiteY0" fmla="*/ 503182 h 503181"/>
                  <a:gd name="connsiteX1" fmla="*/ 926591 w 1070682"/>
                  <a:gd name="connsiteY1" fmla="*/ 503182 h 503181"/>
                  <a:gd name="connsiteX2" fmla="*/ 1067727 w 1070682"/>
                  <a:gd name="connsiteY2" fmla="*/ 73636 h 503181"/>
                  <a:gd name="connsiteX3" fmla="*/ 1015568 w 1070682"/>
                  <a:gd name="connsiteY3" fmla="*/ 0 h 503181"/>
                  <a:gd name="connsiteX4" fmla="*/ 205568 w 1070682"/>
                  <a:gd name="connsiteY4" fmla="*/ 0 h 503181"/>
                  <a:gd name="connsiteX5" fmla="*/ 153409 w 1070682"/>
                  <a:gd name="connsiteY5" fmla="*/ 36818 h 503181"/>
                  <a:gd name="connsiteX6" fmla="*/ 0 w 1070682"/>
                  <a:gd name="connsiteY6" fmla="*/ 503182 h 503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0682" h="503181">
                    <a:moveTo>
                      <a:pt x="0" y="503182"/>
                    </a:moveTo>
                    <a:lnTo>
                      <a:pt x="926591" y="503182"/>
                    </a:lnTo>
                    <a:lnTo>
                      <a:pt x="1067727" y="73636"/>
                    </a:lnTo>
                    <a:cubicBezTo>
                      <a:pt x="1080000" y="36818"/>
                      <a:pt x="1052386" y="0"/>
                      <a:pt x="1015568" y="0"/>
                    </a:cubicBezTo>
                    <a:lnTo>
                      <a:pt x="205568" y="0"/>
                    </a:lnTo>
                    <a:cubicBezTo>
                      <a:pt x="181023" y="0"/>
                      <a:pt x="159545" y="15341"/>
                      <a:pt x="153409" y="36818"/>
                    </a:cubicBezTo>
                    <a:lnTo>
                      <a:pt x="0" y="503182"/>
                    </a:lnTo>
                    <a:close/>
                  </a:path>
                </a:pathLst>
              </a:custGeom>
              <a:solidFill>
                <a:srgbClr val="F6EBE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0" name="任意多边形: 形状 389">
                <a:extLst>
                  <a:ext uri="{FF2B5EF4-FFF2-40B4-BE49-F238E27FC236}">
                    <a16:creationId xmlns:a16="http://schemas.microsoft.com/office/drawing/2014/main" id="{5EBE8054-8364-4AC8-B139-B7706B6631A3}"/>
                  </a:ext>
                </a:extLst>
              </p:cNvPr>
              <p:cNvSpPr/>
              <p:nvPr/>
            </p:nvSpPr>
            <p:spPr>
              <a:xfrm rot="-10800000">
                <a:off x="4791162" y="4897823"/>
                <a:ext cx="926590" cy="36818"/>
              </a:xfrm>
              <a:custGeom>
                <a:avLst/>
                <a:gdLst>
                  <a:gd name="connsiteX0" fmla="*/ 0 w 926590"/>
                  <a:gd name="connsiteY0" fmla="*/ 0 h 36818"/>
                  <a:gd name="connsiteX1" fmla="*/ 926591 w 926590"/>
                  <a:gd name="connsiteY1" fmla="*/ 0 h 36818"/>
                  <a:gd name="connsiteX2" fmla="*/ 926591 w 926590"/>
                  <a:gd name="connsiteY2" fmla="*/ 36818 h 36818"/>
                  <a:gd name="connsiteX3" fmla="*/ 0 w 926590"/>
                  <a:gd name="connsiteY3" fmla="*/ 36818 h 36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6590" h="36818">
                    <a:moveTo>
                      <a:pt x="0" y="0"/>
                    </a:moveTo>
                    <a:lnTo>
                      <a:pt x="926591" y="0"/>
                    </a:lnTo>
                    <a:lnTo>
                      <a:pt x="926591" y="36818"/>
                    </a:lnTo>
                    <a:lnTo>
                      <a:pt x="0" y="36818"/>
                    </a:lnTo>
                    <a:close/>
                  </a:path>
                </a:pathLst>
              </a:custGeom>
              <a:solidFill>
                <a:srgbClr val="E5D1D1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1" name="任意多边形: 形状 390">
                <a:extLst>
                  <a:ext uri="{FF2B5EF4-FFF2-40B4-BE49-F238E27FC236}">
                    <a16:creationId xmlns:a16="http://schemas.microsoft.com/office/drawing/2014/main" id="{AFBF0A16-4A68-44EA-9652-A6E928D0AD22}"/>
                  </a:ext>
                </a:extLst>
              </p:cNvPr>
              <p:cNvSpPr/>
              <p:nvPr/>
            </p:nvSpPr>
            <p:spPr>
              <a:xfrm>
                <a:off x="4459645" y="4833054"/>
                <a:ext cx="331363" cy="101249"/>
              </a:xfrm>
              <a:custGeom>
                <a:avLst/>
                <a:gdLst>
                  <a:gd name="connsiteX0" fmla="*/ 0 w 331363"/>
                  <a:gd name="connsiteY0" fmla="*/ 36818 h 101249"/>
                  <a:gd name="connsiteX1" fmla="*/ 331364 w 331363"/>
                  <a:gd name="connsiteY1" fmla="*/ 101250 h 101249"/>
                  <a:gd name="connsiteX2" fmla="*/ 331364 w 331363"/>
                  <a:gd name="connsiteY2" fmla="*/ 64432 h 101249"/>
                  <a:gd name="connsiteX3" fmla="*/ 0 w 331363"/>
                  <a:gd name="connsiteY3" fmla="*/ 0 h 101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1363" h="101249">
                    <a:moveTo>
                      <a:pt x="0" y="36818"/>
                    </a:moveTo>
                    <a:lnTo>
                      <a:pt x="331364" y="101250"/>
                    </a:lnTo>
                    <a:lnTo>
                      <a:pt x="331364" y="644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6EBE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92" name="图形 1">
              <a:extLst>
                <a:ext uri="{FF2B5EF4-FFF2-40B4-BE49-F238E27FC236}">
                  <a16:creationId xmlns:a16="http://schemas.microsoft.com/office/drawing/2014/main" id="{0D323808-9636-430D-AD2B-F892808812C7}"/>
                </a:ext>
              </a:extLst>
            </p:cNvPr>
            <p:cNvGrpSpPr/>
            <p:nvPr/>
          </p:nvGrpSpPr>
          <p:grpSpPr>
            <a:xfrm>
              <a:off x="5716177" y="4550781"/>
              <a:ext cx="172899" cy="169240"/>
              <a:chOff x="5716177" y="4550781"/>
              <a:chExt cx="172899" cy="169240"/>
            </a:xfrm>
          </p:grpSpPr>
          <p:sp>
            <p:nvSpPr>
              <p:cNvPr id="393" name="任意多边形: 形状 392">
                <a:extLst>
                  <a:ext uri="{FF2B5EF4-FFF2-40B4-BE49-F238E27FC236}">
                    <a16:creationId xmlns:a16="http://schemas.microsoft.com/office/drawing/2014/main" id="{D9E972E1-F074-41FD-BA73-9BBD527D1A5F}"/>
                  </a:ext>
                </a:extLst>
              </p:cNvPr>
              <p:cNvSpPr/>
              <p:nvPr/>
            </p:nvSpPr>
            <p:spPr>
              <a:xfrm>
                <a:off x="5731576" y="4552932"/>
                <a:ext cx="157500" cy="63493"/>
              </a:xfrm>
              <a:custGeom>
                <a:avLst/>
                <a:gdLst>
                  <a:gd name="connsiteX0" fmla="*/ 142500 w 157500"/>
                  <a:gd name="connsiteY0" fmla="*/ 3986 h 63493"/>
                  <a:gd name="connsiteX1" fmla="*/ 44318 w 157500"/>
                  <a:gd name="connsiteY1" fmla="*/ 7054 h 63493"/>
                  <a:gd name="connsiteX2" fmla="*/ 28977 w 157500"/>
                  <a:gd name="connsiteY2" fmla="*/ 7054 h 63493"/>
                  <a:gd name="connsiteX3" fmla="*/ 13636 w 157500"/>
                  <a:gd name="connsiteY3" fmla="*/ 13190 h 63493"/>
                  <a:gd name="connsiteX4" fmla="*/ 4432 w 157500"/>
                  <a:gd name="connsiteY4" fmla="*/ 53077 h 63493"/>
                  <a:gd name="connsiteX5" fmla="*/ 50454 w 157500"/>
                  <a:gd name="connsiteY5" fmla="*/ 62281 h 63493"/>
                  <a:gd name="connsiteX6" fmla="*/ 111818 w 157500"/>
                  <a:gd name="connsiteY6" fmla="*/ 53077 h 63493"/>
                  <a:gd name="connsiteX7" fmla="*/ 151705 w 157500"/>
                  <a:gd name="connsiteY7" fmla="*/ 34668 h 63493"/>
                  <a:gd name="connsiteX8" fmla="*/ 142500 w 157500"/>
                  <a:gd name="connsiteY8" fmla="*/ 3986 h 6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500" h="63493">
                    <a:moveTo>
                      <a:pt x="142500" y="3986"/>
                    </a:moveTo>
                    <a:cubicBezTo>
                      <a:pt x="114886" y="-5219"/>
                      <a:pt x="78068" y="3986"/>
                      <a:pt x="44318" y="7054"/>
                    </a:cubicBezTo>
                    <a:cubicBezTo>
                      <a:pt x="41250" y="7054"/>
                      <a:pt x="32045" y="7054"/>
                      <a:pt x="28977" y="7054"/>
                    </a:cubicBezTo>
                    <a:cubicBezTo>
                      <a:pt x="22841" y="7054"/>
                      <a:pt x="19773" y="10122"/>
                      <a:pt x="13636" y="13190"/>
                    </a:cubicBezTo>
                    <a:cubicBezTo>
                      <a:pt x="1364" y="22395"/>
                      <a:pt x="-4773" y="37736"/>
                      <a:pt x="4432" y="53077"/>
                    </a:cubicBezTo>
                    <a:cubicBezTo>
                      <a:pt x="13636" y="68418"/>
                      <a:pt x="35114" y="62281"/>
                      <a:pt x="50454" y="62281"/>
                    </a:cubicBezTo>
                    <a:cubicBezTo>
                      <a:pt x="71932" y="62281"/>
                      <a:pt x="93409" y="59213"/>
                      <a:pt x="111818" y="53077"/>
                    </a:cubicBezTo>
                    <a:cubicBezTo>
                      <a:pt x="124091" y="50008"/>
                      <a:pt x="145568" y="50008"/>
                      <a:pt x="151705" y="34668"/>
                    </a:cubicBezTo>
                    <a:cubicBezTo>
                      <a:pt x="163977" y="22395"/>
                      <a:pt x="154773" y="10122"/>
                      <a:pt x="142500" y="398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4" name="任意多边形: 形状 393">
                <a:extLst>
                  <a:ext uri="{FF2B5EF4-FFF2-40B4-BE49-F238E27FC236}">
                    <a16:creationId xmlns:a16="http://schemas.microsoft.com/office/drawing/2014/main" id="{4AA1C75C-D993-4EC5-9D0C-B95A1122F079}"/>
                  </a:ext>
                </a:extLst>
              </p:cNvPr>
              <p:cNvSpPr/>
              <p:nvPr/>
            </p:nvSpPr>
            <p:spPr>
              <a:xfrm>
                <a:off x="5719304" y="4591104"/>
                <a:ext cx="158394" cy="71344"/>
              </a:xfrm>
              <a:custGeom>
                <a:avLst/>
                <a:gdLst>
                  <a:gd name="connsiteX0" fmla="*/ 145568 w 158394"/>
                  <a:gd name="connsiteY0" fmla="*/ 8768 h 71344"/>
                  <a:gd name="connsiteX1" fmla="*/ 38182 w 158394"/>
                  <a:gd name="connsiteY1" fmla="*/ 11836 h 71344"/>
                  <a:gd name="connsiteX2" fmla="*/ 28977 w 158394"/>
                  <a:gd name="connsiteY2" fmla="*/ 14905 h 71344"/>
                  <a:gd name="connsiteX3" fmla="*/ 13636 w 158394"/>
                  <a:gd name="connsiteY3" fmla="*/ 21041 h 71344"/>
                  <a:gd name="connsiteX4" fmla="*/ 4432 w 158394"/>
                  <a:gd name="connsiteY4" fmla="*/ 60927 h 71344"/>
                  <a:gd name="connsiteX5" fmla="*/ 50454 w 158394"/>
                  <a:gd name="connsiteY5" fmla="*/ 70132 h 71344"/>
                  <a:gd name="connsiteX6" fmla="*/ 111818 w 158394"/>
                  <a:gd name="connsiteY6" fmla="*/ 60927 h 71344"/>
                  <a:gd name="connsiteX7" fmla="*/ 151705 w 158394"/>
                  <a:gd name="connsiteY7" fmla="*/ 42518 h 71344"/>
                  <a:gd name="connsiteX8" fmla="*/ 145568 w 158394"/>
                  <a:gd name="connsiteY8" fmla="*/ 8768 h 71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8394" h="71344">
                    <a:moveTo>
                      <a:pt x="145568" y="8768"/>
                    </a:moveTo>
                    <a:cubicBezTo>
                      <a:pt x="111818" y="-9641"/>
                      <a:pt x="75000" y="5700"/>
                      <a:pt x="38182" y="11836"/>
                    </a:cubicBezTo>
                    <a:cubicBezTo>
                      <a:pt x="35114" y="11836"/>
                      <a:pt x="32045" y="11836"/>
                      <a:pt x="28977" y="14905"/>
                    </a:cubicBezTo>
                    <a:cubicBezTo>
                      <a:pt x="22841" y="14905"/>
                      <a:pt x="19773" y="17973"/>
                      <a:pt x="13636" y="21041"/>
                    </a:cubicBezTo>
                    <a:cubicBezTo>
                      <a:pt x="1364" y="30245"/>
                      <a:pt x="-4773" y="45586"/>
                      <a:pt x="4432" y="60927"/>
                    </a:cubicBezTo>
                    <a:cubicBezTo>
                      <a:pt x="13636" y="76268"/>
                      <a:pt x="35114" y="70132"/>
                      <a:pt x="50454" y="70132"/>
                    </a:cubicBezTo>
                    <a:cubicBezTo>
                      <a:pt x="71932" y="70132"/>
                      <a:pt x="93409" y="67064"/>
                      <a:pt x="111818" y="60927"/>
                    </a:cubicBezTo>
                    <a:cubicBezTo>
                      <a:pt x="124091" y="57859"/>
                      <a:pt x="145568" y="57859"/>
                      <a:pt x="151705" y="42518"/>
                    </a:cubicBezTo>
                    <a:cubicBezTo>
                      <a:pt x="163977" y="30245"/>
                      <a:pt x="157841" y="14905"/>
                      <a:pt x="145568" y="8768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5" name="任意多边形: 形状 394">
                <a:extLst>
                  <a:ext uri="{FF2B5EF4-FFF2-40B4-BE49-F238E27FC236}">
                    <a16:creationId xmlns:a16="http://schemas.microsoft.com/office/drawing/2014/main" id="{B49A6922-301F-4B9A-9294-8231DC329AAC}"/>
                  </a:ext>
                </a:extLst>
              </p:cNvPr>
              <p:cNvSpPr/>
              <p:nvPr/>
            </p:nvSpPr>
            <p:spPr>
              <a:xfrm>
                <a:off x="5737591" y="4633919"/>
                <a:ext cx="140335" cy="61407"/>
              </a:xfrm>
              <a:custGeom>
                <a:avLst/>
                <a:gdLst>
                  <a:gd name="connsiteX0" fmla="*/ 124212 w 140335"/>
                  <a:gd name="connsiteY0" fmla="*/ 8907 h 61407"/>
                  <a:gd name="connsiteX1" fmla="*/ 29099 w 140335"/>
                  <a:gd name="connsiteY1" fmla="*/ 8907 h 61407"/>
                  <a:gd name="connsiteX2" fmla="*/ 22962 w 140335"/>
                  <a:gd name="connsiteY2" fmla="*/ 11976 h 61407"/>
                  <a:gd name="connsiteX3" fmla="*/ 10690 w 140335"/>
                  <a:gd name="connsiteY3" fmla="*/ 18112 h 61407"/>
                  <a:gd name="connsiteX4" fmla="*/ 4553 w 140335"/>
                  <a:gd name="connsiteY4" fmla="*/ 51862 h 61407"/>
                  <a:gd name="connsiteX5" fmla="*/ 47508 w 140335"/>
                  <a:gd name="connsiteY5" fmla="*/ 61066 h 61407"/>
                  <a:gd name="connsiteX6" fmla="*/ 102735 w 140335"/>
                  <a:gd name="connsiteY6" fmla="*/ 54930 h 61407"/>
                  <a:gd name="connsiteX7" fmla="*/ 139553 w 140335"/>
                  <a:gd name="connsiteY7" fmla="*/ 39589 h 61407"/>
                  <a:gd name="connsiteX8" fmla="*/ 124212 w 140335"/>
                  <a:gd name="connsiteY8" fmla="*/ 8907 h 61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0335" h="61407">
                    <a:moveTo>
                      <a:pt x="124212" y="8907"/>
                    </a:moveTo>
                    <a:cubicBezTo>
                      <a:pt x="93530" y="-9502"/>
                      <a:pt x="59780" y="5839"/>
                      <a:pt x="29099" y="8907"/>
                    </a:cubicBezTo>
                    <a:cubicBezTo>
                      <a:pt x="26031" y="8907"/>
                      <a:pt x="22962" y="8907"/>
                      <a:pt x="22962" y="11976"/>
                    </a:cubicBezTo>
                    <a:cubicBezTo>
                      <a:pt x="19894" y="11976"/>
                      <a:pt x="13758" y="15044"/>
                      <a:pt x="10690" y="18112"/>
                    </a:cubicBezTo>
                    <a:cubicBezTo>
                      <a:pt x="1485" y="24248"/>
                      <a:pt x="-4651" y="39589"/>
                      <a:pt x="4553" y="51862"/>
                    </a:cubicBezTo>
                    <a:cubicBezTo>
                      <a:pt x="13758" y="64135"/>
                      <a:pt x="32167" y="61066"/>
                      <a:pt x="47508" y="61066"/>
                    </a:cubicBezTo>
                    <a:cubicBezTo>
                      <a:pt x="65917" y="61066"/>
                      <a:pt x="84326" y="57998"/>
                      <a:pt x="102735" y="54930"/>
                    </a:cubicBezTo>
                    <a:cubicBezTo>
                      <a:pt x="115008" y="51862"/>
                      <a:pt x="130349" y="51862"/>
                      <a:pt x="139553" y="39589"/>
                    </a:cubicBezTo>
                    <a:cubicBezTo>
                      <a:pt x="142622" y="24248"/>
                      <a:pt x="136485" y="15044"/>
                      <a:pt x="124212" y="8907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6" name="任意多边形: 形状 395">
                <a:extLst>
                  <a:ext uri="{FF2B5EF4-FFF2-40B4-BE49-F238E27FC236}">
                    <a16:creationId xmlns:a16="http://schemas.microsoft.com/office/drawing/2014/main" id="{B7D78DB4-00E8-42A0-9E24-2EA78DF74FC0}"/>
                  </a:ext>
                </a:extLst>
              </p:cNvPr>
              <p:cNvSpPr/>
              <p:nvPr/>
            </p:nvSpPr>
            <p:spPr>
              <a:xfrm>
                <a:off x="5760429" y="4676511"/>
                <a:ext cx="103916" cy="43511"/>
              </a:xfrm>
              <a:custGeom>
                <a:avLst/>
                <a:gdLst>
                  <a:gd name="connsiteX0" fmla="*/ 95238 w 103916"/>
                  <a:gd name="connsiteY0" fmla="*/ 6202 h 43511"/>
                  <a:gd name="connsiteX1" fmla="*/ 24670 w 103916"/>
                  <a:gd name="connsiteY1" fmla="*/ 6202 h 43511"/>
                  <a:gd name="connsiteX2" fmla="*/ 18533 w 103916"/>
                  <a:gd name="connsiteY2" fmla="*/ 9271 h 43511"/>
                  <a:gd name="connsiteX3" fmla="*/ 9329 w 103916"/>
                  <a:gd name="connsiteY3" fmla="*/ 12339 h 43511"/>
                  <a:gd name="connsiteX4" fmla="*/ 3192 w 103916"/>
                  <a:gd name="connsiteY4" fmla="*/ 36884 h 43511"/>
                  <a:gd name="connsiteX5" fmla="*/ 33874 w 103916"/>
                  <a:gd name="connsiteY5" fmla="*/ 43021 h 43511"/>
                  <a:gd name="connsiteX6" fmla="*/ 73761 w 103916"/>
                  <a:gd name="connsiteY6" fmla="*/ 39952 h 43511"/>
                  <a:gd name="connsiteX7" fmla="*/ 101374 w 103916"/>
                  <a:gd name="connsiteY7" fmla="*/ 30748 h 43511"/>
                  <a:gd name="connsiteX8" fmla="*/ 95238 w 103916"/>
                  <a:gd name="connsiteY8" fmla="*/ 6202 h 43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3916" h="43511">
                    <a:moveTo>
                      <a:pt x="95238" y="6202"/>
                    </a:moveTo>
                    <a:cubicBezTo>
                      <a:pt x="73761" y="-6070"/>
                      <a:pt x="49215" y="3134"/>
                      <a:pt x="24670" y="6202"/>
                    </a:cubicBezTo>
                    <a:cubicBezTo>
                      <a:pt x="21601" y="6202"/>
                      <a:pt x="21601" y="6202"/>
                      <a:pt x="18533" y="9271"/>
                    </a:cubicBezTo>
                    <a:cubicBezTo>
                      <a:pt x="15465" y="9271"/>
                      <a:pt x="12397" y="12339"/>
                      <a:pt x="9329" y="12339"/>
                    </a:cubicBezTo>
                    <a:cubicBezTo>
                      <a:pt x="124" y="18475"/>
                      <a:pt x="-2944" y="27680"/>
                      <a:pt x="3192" y="36884"/>
                    </a:cubicBezTo>
                    <a:cubicBezTo>
                      <a:pt x="9329" y="46089"/>
                      <a:pt x="24670" y="43021"/>
                      <a:pt x="33874" y="43021"/>
                    </a:cubicBezTo>
                    <a:cubicBezTo>
                      <a:pt x="46147" y="43021"/>
                      <a:pt x="61488" y="39952"/>
                      <a:pt x="73761" y="39952"/>
                    </a:cubicBezTo>
                    <a:cubicBezTo>
                      <a:pt x="82965" y="39952"/>
                      <a:pt x="95238" y="36884"/>
                      <a:pt x="101374" y="30748"/>
                    </a:cubicBezTo>
                    <a:cubicBezTo>
                      <a:pt x="107511" y="18475"/>
                      <a:pt x="101374" y="9271"/>
                      <a:pt x="95238" y="620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7" name="任意多边形: 形状 396">
                <a:extLst>
                  <a:ext uri="{FF2B5EF4-FFF2-40B4-BE49-F238E27FC236}">
                    <a16:creationId xmlns:a16="http://schemas.microsoft.com/office/drawing/2014/main" id="{FE6C2C8D-36A6-4D3B-810D-D82EBF0F6BB8}"/>
                  </a:ext>
                </a:extLst>
              </p:cNvPr>
              <p:cNvSpPr/>
              <p:nvPr/>
            </p:nvSpPr>
            <p:spPr>
              <a:xfrm>
                <a:off x="5716177" y="4550781"/>
                <a:ext cx="170171" cy="110454"/>
              </a:xfrm>
              <a:custGeom>
                <a:avLst/>
                <a:gdLst>
                  <a:gd name="connsiteX0" fmla="*/ 41308 w 170171"/>
                  <a:gd name="connsiteY0" fmla="*/ 110455 h 110454"/>
                  <a:gd name="connsiteX1" fmla="*/ 1422 w 170171"/>
                  <a:gd name="connsiteY1" fmla="*/ 92045 h 110454"/>
                  <a:gd name="connsiteX2" fmla="*/ 16763 w 170171"/>
                  <a:gd name="connsiteY2" fmla="*/ 52159 h 110454"/>
                  <a:gd name="connsiteX3" fmla="*/ 10626 w 170171"/>
                  <a:gd name="connsiteY3" fmla="*/ 42955 h 110454"/>
                  <a:gd name="connsiteX4" fmla="*/ 13695 w 170171"/>
                  <a:gd name="connsiteY4" fmla="*/ 27614 h 110454"/>
                  <a:gd name="connsiteX5" fmla="*/ 121081 w 170171"/>
                  <a:gd name="connsiteY5" fmla="*/ 0 h 110454"/>
                  <a:gd name="connsiteX6" fmla="*/ 121081 w 170171"/>
                  <a:gd name="connsiteY6" fmla="*/ 0 h 110454"/>
                  <a:gd name="connsiteX7" fmla="*/ 127217 w 170171"/>
                  <a:gd name="connsiteY7" fmla="*/ 6137 h 110454"/>
                  <a:gd name="connsiteX8" fmla="*/ 121081 w 170171"/>
                  <a:gd name="connsiteY8" fmla="*/ 12273 h 110454"/>
                  <a:gd name="connsiteX9" fmla="*/ 22899 w 170171"/>
                  <a:gd name="connsiteY9" fmla="*/ 33750 h 110454"/>
                  <a:gd name="connsiteX10" fmla="*/ 22899 w 170171"/>
                  <a:gd name="connsiteY10" fmla="*/ 39886 h 110454"/>
                  <a:gd name="connsiteX11" fmla="*/ 148695 w 170171"/>
                  <a:gd name="connsiteY11" fmla="*/ 46023 h 110454"/>
                  <a:gd name="connsiteX12" fmla="*/ 164035 w 170171"/>
                  <a:gd name="connsiteY12" fmla="*/ 49091 h 110454"/>
                  <a:gd name="connsiteX13" fmla="*/ 170172 w 170171"/>
                  <a:gd name="connsiteY13" fmla="*/ 67500 h 110454"/>
                  <a:gd name="connsiteX14" fmla="*/ 71990 w 170171"/>
                  <a:gd name="connsiteY14" fmla="*/ 110455 h 110454"/>
                  <a:gd name="connsiteX15" fmla="*/ 41308 w 170171"/>
                  <a:gd name="connsiteY15" fmla="*/ 110455 h 110454"/>
                  <a:gd name="connsiteX16" fmla="*/ 22899 w 170171"/>
                  <a:gd name="connsiteY16" fmla="*/ 61364 h 110454"/>
                  <a:gd name="connsiteX17" fmla="*/ 10626 w 170171"/>
                  <a:gd name="connsiteY17" fmla="*/ 88977 h 110454"/>
                  <a:gd name="connsiteX18" fmla="*/ 68922 w 170171"/>
                  <a:gd name="connsiteY18" fmla="*/ 98182 h 110454"/>
                  <a:gd name="connsiteX19" fmla="*/ 154831 w 170171"/>
                  <a:gd name="connsiteY19" fmla="*/ 67500 h 110454"/>
                  <a:gd name="connsiteX20" fmla="*/ 151763 w 170171"/>
                  <a:gd name="connsiteY20" fmla="*/ 58296 h 110454"/>
                  <a:gd name="connsiteX21" fmla="*/ 145626 w 170171"/>
                  <a:gd name="connsiteY21" fmla="*/ 58296 h 110454"/>
                  <a:gd name="connsiteX22" fmla="*/ 22899 w 170171"/>
                  <a:gd name="connsiteY22" fmla="*/ 61364 h 110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70171" h="110454">
                    <a:moveTo>
                      <a:pt x="41308" y="110455"/>
                    </a:moveTo>
                    <a:cubicBezTo>
                      <a:pt x="19831" y="110455"/>
                      <a:pt x="4490" y="107386"/>
                      <a:pt x="1422" y="92045"/>
                    </a:cubicBezTo>
                    <a:cubicBezTo>
                      <a:pt x="-4715" y="76705"/>
                      <a:pt x="10626" y="58296"/>
                      <a:pt x="16763" y="52159"/>
                    </a:cubicBezTo>
                    <a:cubicBezTo>
                      <a:pt x="13695" y="49091"/>
                      <a:pt x="13695" y="46023"/>
                      <a:pt x="10626" y="42955"/>
                    </a:cubicBezTo>
                    <a:cubicBezTo>
                      <a:pt x="7558" y="36818"/>
                      <a:pt x="10626" y="30682"/>
                      <a:pt x="13695" y="27614"/>
                    </a:cubicBezTo>
                    <a:cubicBezTo>
                      <a:pt x="32104" y="3068"/>
                      <a:pt x="111876" y="0"/>
                      <a:pt x="121081" y="0"/>
                    </a:cubicBezTo>
                    <a:cubicBezTo>
                      <a:pt x="121081" y="0"/>
                      <a:pt x="121081" y="0"/>
                      <a:pt x="121081" y="0"/>
                    </a:cubicBezTo>
                    <a:cubicBezTo>
                      <a:pt x="124149" y="0"/>
                      <a:pt x="127217" y="3068"/>
                      <a:pt x="127217" y="6137"/>
                    </a:cubicBezTo>
                    <a:cubicBezTo>
                      <a:pt x="127217" y="9205"/>
                      <a:pt x="124149" y="12273"/>
                      <a:pt x="121081" y="12273"/>
                    </a:cubicBezTo>
                    <a:cubicBezTo>
                      <a:pt x="90399" y="12273"/>
                      <a:pt x="35172" y="18409"/>
                      <a:pt x="22899" y="33750"/>
                    </a:cubicBezTo>
                    <a:cubicBezTo>
                      <a:pt x="19831" y="36818"/>
                      <a:pt x="19831" y="36818"/>
                      <a:pt x="22899" y="39886"/>
                    </a:cubicBezTo>
                    <a:cubicBezTo>
                      <a:pt x="25967" y="49091"/>
                      <a:pt x="32104" y="70568"/>
                      <a:pt x="148695" y="46023"/>
                    </a:cubicBezTo>
                    <a:cubicBezTo>
                      <a:pt x="148695" y="46023"/>
                      <a:pt x="157899" y="46023"/>
                      <a:pt x="164035" y="49091"/>
                    </a:cubicBezTo>
                    <a:cubicBezTo>
                      <a:pt x="170172" y="52159"/>
                      <a:pt x="170172" y="58296"/>
                      <a:pt x="170172" y="67500"/>
                    </a:cubicBezTo>
                    <a:cubicBezTo>
                      <a:pt x="170172" y="92045"/>
                      <a:pt x="136422" y="104318"/>
                      <a:pt x="71990" y="110455"/>
                    </a:cubicBezTo>
                    <a:cubicBezTo>
                      <a:pt x="59717" y="110455"/>
                      <a:pt x="50513" y="110455"/>
                      <a:pt x="41308" y="110455"/>
                    </a:cubicBezTo>
                    <a:close/>
                    <a:moveTo>
                      <a:pt x="22899" y="61364"/>
                    </a:moveTo>
                    <a:cubicBezTo>
                      <a:pt x="16763" y="67500"/>
                      <a:pt x="7558" y="79773"/>
                      <a:pt x="10626" y="88977"/>
                    </a:cubicBezTo>
                    <a:cubicBezTo>
                      <a:pt x="13695" y="101250"/>
                      <a:pt x="32104" y="101250"/>
                      <a:pt x="68922" y="98182"/>
                    </a:cubicBezTo>
                    <a:cubicBezTo>
                      <a:pt x="124149" y="95114"/>
                      <a:pt x="154831" y="82841"/>
                      <a:pt x="154831" y="67500"/>
                    </a:cubicBezTo>
                    <a:cubicBezTo>
                      <a:pt x="154831" y="64432"/>
                      <a:pt x="154831" y="58296"/>
                      <a:pt x="151763" y="58296"/>
                    </a:cubicBezTo>
                    <a:cubicBezTo>
                      <a:pt x="148695" y="55227"/>
                      <a:pt x="145626" y="58296"/>
                      <a:pt x="145626" y="58296"/>
                    </a:cubicBezTo>
                    <a:cubicBezTo>
                      <a:pt x="71990" y="73636"/>
                      <a:pt x="38240" y="70568"/>
                      <a:pt x="22899" y="6136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8" name="任意多边形: 形状 397">
                <a:extLst>
                  <a:ext uri="{FF2B5EF4-FFF2-40B4-BE49-F238E27FC236}">
                    <a16:creationId xmlns:a16="http://schemas.microsoft.com/office/drawing/2014/main" id="{8C634F93-46FA-4E77-BC53-531A9158B881}"/>
                  </a:ext>
                </a:extLst>
              </p:cNvPr>
              <p:cNvSpPr/>
              <p:nvPr/>
            </p:nvSpPr>
            <p:spPr>
              <a:xfrm>
                <a:off x="5730936" y="4636690"/>
                <a:ext cx="146208" cy="61363"/>
              </a:xfrm>
              <a:custGeom>
                <a:avLst/>
                <a:gdLst>
                  <a:gd name="connsiteX0" fmla="*/ 48026 w 146208"/>
                  <a:gd name="connsiteY0" fmla="*/ 61364 h 61363"/>
                  <a:gd name="connsiteX1" fmla="*/ 35754 w 146208"/>
                  <a:gd name="connsiteY1" fmla="*/ 61364 h 61363"/>
                  <a:gd name="connsiteX2" fmla="*/ 5072 w 146208"/>
                  <a:gd name="connsiteY2" fmla="*/ 46023 h 61363"/>
                  <a:gd name="connsiteX3" fmla="*/ 2004 w 146208"/>
                  <a:gd name="connsiteY3" fmla="*/ 18409 h 61363"/>
                  <a:gd name="connsiteX4" fmla="*/ 8140 w 146208"/>
                  <a:gd name="connsiteY4" fmla="*/ 15341 h 61363"/>
                  <a:gd name="connsiteX5" fmla="*/ 11208 w 146208"/>
                  <a:gd name="connsiteY5" fmla="*/ 21477 h 61363"/>
                  <a:gd name="connsiteX6" fmla="*/ 11208 w 146208"/>
                  <a:gd name="connsiteY6" fmla="*/ 39886 h 61363"/>
                  <a:gd name="connsiteX7" fmla="*/ 32685 w 146208"/>
                  <a:gd name="connsiteY7" fmla="*/ 49091 h 61363"/>
                  <a:gd name="connsiteX8" fmla="*/ 133936 w 146208"/>
                  <a:gd name="connsiteY8" fmla="*/ 33750 h 61363"/>
                  <a:gd name="connsiteX9" fmla="*/ 137004 w 146208"/>
                  <a:gd name="connsiteY9" fmla="*/ 27614 h 61363"/>
                  <a:gd name="connsiteX10" fmla="*/ 127799 w 146208"/>
                  <a:gd name="connsiteY10" fmla="*/ 9205 h 61363"/>
                  <a:gd name="connsiteX11" fmla="*/ 124731 w 146208"/>
                  <a:gd name="connsiteY11" fmla="*/ 3068 h 61363"/>
                  <a:gd name="connsiteX12" fmla="*/ 130867 w 146208"/>
                  <a:gd name="connsiteY12" fmla="*/ 0 h 61363"/>
                  <a:gd name="connsiteX13" fmla="*/ 146208 w 146208"/>
                  <a:gd name="connsiteY13" fmla="*/ 27614 h 61363"/>
                  <a:gd name="connsiteX14" fmla="*/ 137004 w 146208"/>
                  <a:gd name="connsiteY14" fmla="*/ 42955 h 61363"/>
                  <a:gd name="connsiteX15" fmla="*/ 48026 w 146208"/>
                  <a:gd name="connsiteY15" fmla="*/ 61364 h 61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6208" h="61363">
                    <a:moveTo>
                      <a:pt x="48026" y="61364"/>
                    </a:moveTo>
                    <a:cubicBezTo>
                      <a:pt x="44958" y="61364"/>
                      <a:pt x="38822" y="61364"/>
                      <a:pt x="35754" y="61364"/>
                    </a:cubicBezTo>
                    <a:cubicBezTo>
                      <a:pt x="20413" y="61364"/>
                      <a:pt x="8140" y="55227"/>
                      <a:pt x="5072" y="46023"/>
                    </a:cubicBezTo>
                    <a:cubicBezTo>
                      <a:pt x="-4133" y="33750"/>
                      <a:pt x="2004" y="18409"/>
                      <a:pt x="2004" y="18409"/>
                    </a:cubicBezTo>
                    <a:cubicBezTo>
                      <a:pt x="2004" y="15341"/>
                      <a:pt x="5072" y="15341"/>
                      <a:pt x="8140" y="15341"/>
                    </a:cubicBezTo>
                    <a:cubicBezTo>
                      <a:pt x="11208" y="15341"/>
                      <a:pt x="11208" y="18409"/>
                      <a:pt x="11208" y="21477"/>
                    </a:cubicBezTo>
                    <a:cubicBezTo>
                      <a:pt x="11208" y="21477"/>
                      <a:pt x="8140" y="33750"/>
                      <a:pt x="11208" y="39886"/>
                    </a:cubicBezTo>
                    <a:cubicBezTo>
                      <a:pt x="14276" y="46023"/>
                      <a:pt x="23481" y="49091"/>
                      <a:pt x="32685" y="49091"/>
                    </a:cubicBezTo>
                    <a:cubicBezTo>
                      <a:pt x="75640" y="52159"/>
                      <a:pt x="121663" y="39886"/>
                      <a:pt x="133936" y="33750"/>
                    </a:cubicBezTo>
                    <a:cubicBezTo>
                      <a:pt x="133936" y="33750"/>
                      <a:pt x="137004" y="30682"/>
                      <a:pt x="137004" y="27614"/>
                    </a:cubicBezTo>
                    <a:cubicBezTo>
                      <a:pt x="137004" y="21477"/>
                      <a:pt x="130867" y="12273"/>
                      <a:pt x="127799" y="9205"/>
                    </a:cubicBezTo>
                    <a:cubicBezTo>
                      <a:pt x="124731" y="9205"/>
                      <a:pt x="124731" y="3068"/>
                      <a:pt x="124731" y="3068"/>
                    </a:cubicBezTo>
                    <a:cubicBezTo>
                      <a:pt x="124731" y="0"/>
                      <a:pt x="130867" y="0"/>
                      <a:pt x="130867" y="0"/>
                    </a:cubicBezTo>
                    <a:cubicBezTo>
                      <a:pt x="140072" y="3068"/>
                      <a:pt x="146208" y="15341"/>
                      <a:pt x="146208" y="27614"/>
                    </a:cubicBezTo>
                    <a:cubicBezTo>
                      <a:pt x="146208" y="33750"/>
                      <a:pt x="143140" y="39886"/>
                      <a:pt x="137004" y="42955"/>
                    </a:cubicBezTo>
                    <a:cubicBezTo>
                      <a:pt x="127799" y="52159"/>
                      <a:pt x="87913" y="61364"/>
                      <a:pt x="48026" y="6136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99" name="任意多边形: 形状 398">
              <a:extLst>
                <a:ext uri="{FF2B5EF4-FFF2-40B4-BE49-F238E27FC236}">
                  <a16:creationId xmlns:a16="http://schemas.microsoft.com/office/drawing/2014/main" id="{5AFCDAF9-59F9-4BB7-8F64-DCE827E945AE}"/>
                </a:ext>
              </a:extLst>
            </p:cNvPr>
            <p:cNvSpPr/>
            <p:nvPr/>
          </p:nvSpPr>
          <p:spPr>
            <a:xfrm>
              <a:off x="4284758" y="3099531"/>
              <a:ext cx="67499" cy="141136"/>
            </a:xfrm>
            <a:custGeom>
              <a:avLst/>
              <a:gdLst>
                <a:gd name="connsiteX0" fmla="*/ 0 w 67499"/>
                <a:gd name="connsiteY0" fmla="*/ 0 h 141136"/>
                <a:gd name="connsiteX1" fmla="*/ 64432 w 67499"/>
                <a:gd name="connsiteY1" fmla="*/ 141136 h 141136"/>
                <a:gd name="connsiteX2" fmla="*/ 67500 w 67499"/>
                <a:gd name="connsiteY2" fmla="*/ 55227 h 141136"/>
                <a:gd name="connsiteX3" fmla="*/ 0 w 67499"/>
                <a:gd name="connsiteY3" fmla="*/ 0 h 141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499" h="141136">
                  <a:moveTo>
                    <a:pt x="0" y="0"/>
                  </a:moveTo>
                  <a:cubicBezTo>
                    <a:pt x="0" y="0"/>
                    <a:pt x="12273" y="119659"/>
                    <a:pt x="64432" y="141136"/>
                  </a:cubicBezTo>
                  <a:lnTo>
                    <a:pt x="67500" y="552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0" name="任意多边形: 形状 399">
              <a:extLst>
                <a:ext uri="{FF2B5EF4-FFF2-40B4-BE49-F238E27FC236}">
                  <a16:creationId xmlns:a16="http://schemas.microsoft.com/office/drawing/2014/main" id="{BEA58061-D92E-4D7F-96A5-9FC498DB9F23}"/>
                </a:ext>
              </a:extLst>
            </p:cNvPr>
            <p:cNvSpPr/>
            <p:nvPr/>
          </p:nvSpPr>
          <p:spPr>
            <a:xfrm>
              <a:off x="4645870" y="2897031"/>
              <a:ext cx="105176" cy="239297"/>
            </a:xfrm>
            <a:custGeom>
              <a:avLst/>
              <a:gdLst>
                <a:gd name="connsiteX0" fmla="*/ 99116 w 105176"/>
                <a:gd name="connsiteY0" fmla="*/ 0 h 239297"/>
                <a:gd name="connsiteX1" fmla="*/ 53093 w 105176"/>
                <a:gd name="connsiteY1" fmla="*/ 236250 h 239297"/>
                <a:gd name="connsiteX2" fmla="*/ 934 w 105176"/>
                <a:gd name="connsiteY2" fmla="*/ 12273 h 239297"/>
                <a:gd name="connsiteX3" fmla="*/ 99116 w 105176"/>
                <a:gd name="connsiteY3" fmla="*/ 0 h 239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176" h="239297">
                  <a:moveTo>
                    <a:pt x="99116" y="0"/>
                  </a:moveTo>
                  <a:cubicBezTo>
                    <a:pt x="99116" y="0"/>
                    <a:pt x="129798" y="196364"/>
                    <a:pt x="53093" y="236250"/>
                  </a:cubicBezTo>
                  <a:cubicBezTo>
                    <a:pt x="-11339" y="270000"/>
                    <a:pt x="934" y="12273"/>
                    <a:pt x="934" y="12273"/>
                  </a:cubicBezTo>
                  <a:lnTo>
                    <a:pt x="99116" y="0"/>
                  </a:ln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1" name="任意多边形: 形状 400">
              <a:extLst>
                <a:ext uri="{FF2B5EF4-FFF2-40B4-BE49-F238E27FC236}">
                  <a16:creationId xmlns:a16="http://schemas.microsoft.com/office/drawing/2014/main" id="{D6EAE876-C27A-4877-9FC7-525A67C144B3}"/>
                </a:ext>
              </a:extLst>
            </p:cNvPr>
            <p:cNvSpPr/>
            <p:nvPr/>
          </p:nvSpPr>
          <p:spPr>
            <a:xfrm>
              <a:off x="4290558" y="2755021"/>
              <a:ext cx="421884" cy="575195"/>
            </a:xfrm>
            <a:custGeom>
              <a:avLst/>
              <a:gdLst>
                <a:gd name="connsiteX0" fmla="*/ 414542 w 421884"/>
                <a:gd name="connsiteY0" fmla="*/ 188033 h 575195"/>
                <a:gd name="connsiteX1" fmla="*/ 411473 w 421884"/>
                <a:gd name="connsiteY1" fmla="*/ 439624 h 575195"/>
                <a:gd name="connsiteX2" fmla="*/ 248860 w 421884"/>
                <a:gd name="connsiteY2" fmla="*/ 574624 h 575195"/>
                <a:gd name="connsiteX3" fmla="*/ 34087 w 421884"/>
                <a:gd name="connsiteY3" fmla="*/ 427352 h 575195"/>
                <a:gd name="connsiteX4" fmla="*/ 337 w 421884"/>
                <a:gd name="connsiteY4" fmla="*/ 200306 h 575195"/>
                <a:gd name="connsiteX5" fmla="*/ 218178 w 421884"/>
                <a:gd name="connsiteY5" fmla="*/ 874 h 575195"/>
                <a:gd name="connsiteX6" fmla="*/ 414542 w 421884"/>
                <a:gd name="connsiteY6" fmla="*/ 188033 h 57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84" h="575195">
                  <a:moveTo>
                    <a:pt x="414542" y="188033"/>
                  </a:moveTo>
                  <a:cubicBezTo>
                    <a:pt x="414542" y="188033"/>
                    <a:pt x="432951" y="365988"/>
                    <a:pt x="411473" y="439624"/>
                  </a:cubicBezTo>
                  <a:cubicBezTo>
                    <a:pt x="393064" y="507124"/>
                    <a:pt x="301019" y="571556"/>
                    <a:pt x="248860" y="574624"/>
                  </a:cubicBezTo>
                  <a:cubicBezTo>
                    <a:pt x="181360" y="580761"/>
                    <a:pt x="61701" y="537806"/>
                    <a:pt x="34087" y="427352"/>
                  </a:cubicBezTo>
                  <a:cubicBezTo>
                    <a:pt x="15678" y="353715"/>
                    <a:pt x="-2731" y="252465"/>
                    <a:pt x="337" y="200306"/>
                  </a:cubicBezTo>
                  <a:cubicBezTo>
                    <a:pt x="3405" y="105192"/>
                    <a:pt x="31019" y="25420"/>
                    <a:pt x="218178" y="874"/>
                  </a:cubicBezTo>
                  <a:cubicBezTo>
                    <a:pt x="301019" y="-11398"/>
                    <a:pt x="396133" y="108261"/>
                    <a:pt x="414542" y="188033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2" name="任意多边形: 形状 401">
              <a:extLst>
                <a:ext uri="{FF2B5EF4-FFF2-40B4-BE49-F238E27FC236}">
                  <a16:creationId xmlns:a16="http://schemas.microsoft.com/office/drawing/2014/main" id="{307C1B1F-4FB6-4A01-A548-5385C30A1517}"/>
                </a:ext>
              </a:extLst>
            </p:cNvPr>
            <p:cNvSpPr/>
            <p:nvPr/>
          </p:nvSpPr>
          <p:spPr>
            <a:xfrm>
              <a:off x="4514872" y="3022827"/>
              <a:ext cx="58295" cy="138068"/>
            </a:xfrm>
            <a:custGeom>
              <a:avLst/>
              <a:gdLst>
                <a:gd name="connsiteX0" fmla="*/ 30682 w 58295"/>
                <a:gd name="connsiteY0" fmla="*/ 138068 h 138068"/>
                <a:gd name="connsiteX1" fmla="*/ 6136 w 58295"/>
                <a:gd name="connsiteY1" fmla="*/ 135000 h 138068"/>
                <a:gd name="connsiteX2" fmla="*/ 0 w 58295"/>
                <a:gd name="connsiteY2" fmla="*/ 128864 h 138068"/>
                <a:gd name="connsiteX3" fmla="*/ 6136 w 58295"/>
                <a:gd name="connsiteY3" fmla="*/ 122727 h 138068"/>
                <a:gd name="connsiteX4" fmla="*/ 46023 w 58295"/>
                <a:gd name="connsiteY4" fmla="*/ 122727 h 138068"/>
                <a:gd name="connsiteX5" fmla="*/ 46023 w 58295"/>
                <a:gd name="connsiteY5" fmla="*/ 119659 h 138068"/>
                <a:gd name="connsiteX6" fmla="*/ 30682 w 58295"/>
                <a:gd name="connsiteY6" fmla="*/ 6136 h 138068"/>
                <a:gd name="connsiteX7" fmla="*/ 36818 w 58295"/>
                <a:gd name="connsiteY7" fmla="*/ 0 h 138068"/>
                <a:gd name="connsiteX8" fmla="*/ 42954 w 58295"/>
                <a:gd name="connsiteY8" fmla="*/ 6136 h 138068"/>
                <a:gd name="connsiteX9" fmla="*/ 58295 w 58295"/>
                <a:gd name="connsiteY9" fmla="*/ 119659 h 138068"/>
                <a:gd name="connsiteX10" fmla="*/ 52159 w 58295"/>
                <a:gd name="connsiteY10" fmla="*/ 131932 h 138068"/>
                <a:gd name="connsiteX11" fmla="*/ 30682 w 58295"/>
                <a:gd name="connsiteY11" fmla="*/ 138068 h 138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295" h="138068">
                  <a:moveTo>
                    <a:pt x="30682" y="138068"/>
                  </a:moveTo>
                  <a:cubicBezTo>
                    <a:pt x="18409" y="138068"/>
                    <a:pt x="9204" y="135000"/>
                    <a:pt x="6136" y="135000"/>
                  </a:cubicBezTo>
                  <a:cubicBezTo>
                    <a:pt x="3068" y="135000"/>
                    <a:pt x="0" y="131932"/>
                    <a:pt x="0" y="128864"/>
                  </a:cubicBezTo>
                  <a:cubicBezTo>
                    <a:pt x="0" y="125795"/>
                    <a:pt x="3068" y="122727"/>
                    <a:pt x="6136" y="122727"/>
                  </a:cubicBezTo>
                  <a:cubicBezTo>
                    <a:pt x="18409" y="125795"/>
                    <a:pt x="39886" y="125795"/>
                    <a:pt x="46023" y="122727"/>
                  </a:cubicBezTo>
                  <a:cubicBezTo>
                    <a:pt x="46023" y="122727"/>
                    <a:pt x="46023" y="119659"/>
                    <a:pt x="46023" y="119659"/>
                  </a:cubicBezTo>
                  <a:cubicBezTo>
                    <a:pt x="46023" y="101250"/>
                    <a:pt x="30682" y="6136"/>
                    <a:pt x="30682" y="6136"/>
                  </a:cubicBezTo>
                  <a:cubicBezTo>
                    <a:pt x="30682" y="3068"/>
                    <a:pt x="33750" y="0"/>
                    <a:pt x="36818" y="0"/>
                  </a:cubicBezTo>
                  <a:cubicBezTo>
                    <a:pt x="39886" y="0"/>
                    <a:pt x="42954" y="3068"/>
                    <a:pt x="42954" y="6136"/>
                  </a:cubicBezTo>
                  <a:cubicBezTo>
                    <a:pt x="42954" y="9205"/>
                    <a:pt x="58295" y="101250"/>
                    <a:pt x="58295" y="119659"/>
                  </a:cubicBezTo>
                  <a:cubicBezTo>
                    <a:pt x="58295" y="125795"/>
                    <a:pt x="55227" y="128864"/>
                    <a:pt x="52159" y="131932"/>
                  </a:cubicBezTo>
                  <a:cubicBezTo>
                    <a:pt x="49091" y="135000"/>
                    <a:pt x="39886" y="138068"/>
                    <a:pt x="30682" y="138068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3" name="任意多边形: 形状 402">
              <a:extLst>
                <a:ext uri="{FF2B5EF4-FFF2-40B4-BE49-F238E27FC236}">
                  <a16:creationId xmlns:a16="http://schemas.microsoft.com/office/drawing/2014/main" id="{4BD9DE8F-46D8-46E9-9DCC-48897AECFB50}"/>
                </a:ext>
              </a:extLst>
            </p:cNvPr>
            <p:cNvSpPr/>
            <p:nvPr/>
          </p:nvSpPr>
          <p:spPr>
            <a:xfrm>
              <a:off x="4606315" y="2997499"/>
              <a:ext cx="41269" cy="41450"/>
            </a:xfrm>
            <a:custGeom>
              <a:avLst/>
              <a:gdLst>
                <a:gd name="connsiteX0" fmla="*/ 602 w 41269"/>
                <a:gd name="connsiteY0" fmla="*/ 25327 h 41450"/>
                <a:gd name="connsiteX1" fmla="*/ 25147 w 41269"/>
                <a:gd name="connsiteY1" fmla="*/ 40668 h 41450"/>
                <a:gd name="connsiteX2" fmla="*/ 40488 w 41269"/>
                <a:gd name="connsiteY2" fmla="*/ 16123 h 41450"/>
                <a:gd name="connsiteX3" fmla="*/ 15943 w 41269"/>
                <a:gd name="connsiteY3" fmla="*/ 782 h 41450"/>
                <a:gd name="connsiteX4" fmla="*/ 602 w 41269"/>
                <a:gd name="connsiteY4" fmla="*/ 25327 h 4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69" h="41450">
                  <a:moveTo>
                    <a:pt x="602" y="25327"/>
                  </a:moveTo>
                  <a:cubicBezTo>
                    <a:pt x="3670" y="37600"/>
                    <a:pt x="12874" y="43736"/>
                    <a:pt x="25147" y="40668"/>
                  </a:cubicBezTo>
                  <a:cubicBezTo>
                    <a:pt x="37420" y="37600"/>
                    <a:pt x="43556" y="28396"/>
                    <a:pt x="40488" y="16123"/>
                  </a:cubicBezTo>
                  <a:cubicBezTo>
                    <a:pt x="37420" y="3850"/>
                    <a:pt x="28215" y="-2286"/>
                    <a:pt x="15943" y="782"/>
                  </a:cubicBezTo>
                  <a:cubicBezTo>
                    <a:pt x="6738" y="6918"/>
                    <a:pt x="-2466" y="16123"/>
                    <a:pt x="602" y="2532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4" name="任意多边形: 形状 403">
              <a:extLst>
                <a:ext uri="{FF2B5EF4-FFF2-40B4-BE49-F238E27FC236}">
                  <a16:creationId xmlns:a16="http://schemas.microsoft.com/office/drawing/2014/main" id="{FF4F2A0C-9AA5-4BBF-AA9C-454F29A40DD1}"/>
                </a:ext>
              </a:extLst>
            </p:cNvPr>
            <p:cNvSpPr/>
            <p:nvPr/>
          </p:nvSpPr>
          <p:spPr>
            <a:xfrm>
              <a:off x="4422045" y="3015909"/>
              <a:ext cx="41450" cy="41450"/>
            </a:xfrm>
            <a:custGeom>
              <a:avLst/>
              <a:gdLst>
                <a:gd name="connsiteX0" fmla="*/ 782 w 41450"/>
                <a:gd name="connsiteY0" fmla="*/ 25327 h 41450"/>
                <a:gd name="connsiteX1" fmla="*/ 25327 w 41450"/>
                <a:gd name="connsiteY1" fmla="*/ 40668 h 41450"/>
                <a:gd name="connsiteX2" fmla="*/ 40668 w 41450"/>
                <a:gd name="connsiteY2" fmla="*/ 16123 h 41450"/>
                <a:gd name="connsiteX3" fmla="*/ 16123 w 41450"/>
                <a:gd name="connsiteY3" fmla="*/ 782 h 41450"/>
                <a:gd name="connsiteX4" fmla="*/ 782 w 41450"/>
                <a:gd name="connsiteY4" fmla="*/ 25327 h 4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450" h="41450">
                  <a:moveTo>
                    <a:pt x="782" y="25327"/>
                  </a:moveTo>
                  <a:cubicBezTo>
                    <a:pt x="3850" y="37600"/>
                    <a:pt x="13054" y="43736"/>
                    <a:pt x="25327" y="40668"/>
                  </a:cubicBezTo>
                  <a:cubicBezTo>
                    <a:pt x="37600" y="37600"/>
                    <a:pt x="43736" y="28395"/>
                    <a:pt x="40668" y="16123"/>
                  </a:cubicBezTo>
                  <a:cubicBezTo>
                    <a:pt x="37600" y="3850"/>
                    <a:pt x="28395" y="-2286"/>
                    <a:pt x="16123" y="782"/>
                  </a:cubicBezTo>
                  <a:cubicBezTo>
                    <a:pt x="3850" y="3850"/>
                    <a:pt x="-2286" y="13055"/>
                    <a:pt x="782" y="2532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5" name="任意多边形: 形状 404">
              <a:extLst>
                <a:ext uri="{FF2B5EF4-FFF2-40B4-BE49-F238E27FC236}">
                  <a16:creationId xmlns:a16="http://schemas.microsoft.com/office/drawing/2014/main" id="{447B2757-E782-4F71-A6AE-D48129798CDB}"/>
                </a:ext>
              </a:extLst>
            </p:cNvPr>
            <p:cNvSpPr/>
            <p:nvPr/>
          </p:nvSpPr>
          <p:spPr>
            <a:xfrm>
              <a:off x="4581101" y="2952620"/>
              <a:ext cx="92549" cy="33388"/>
            </a:xfrm>
            <a:custGeom>
              <a:avLst/>
              <a:gdLst>
                <a:gd name="connsiteX0" fmla="*/ 84112 w 92549"/>
                <a:gd name="connsiteY0" fmla="*/ 33389 h 33388"/>
                <a:gd name="connsiteX1" fmla="*/ 77975 w 92549"/>
                <a:gd name="connsiteY1" fmla="*/ 30321 h 33388"/>
                <a:gd name="connsiteX2" fmla="*/ 10476 w 92549"/>
                <a:gd name="connsiteY2" fmla="*/ 21116 h 33388"/>
                <a:gd name="connsiteX3" fmla="*/ 1271 w 92549"/>
                <a:gd name="connsiteY3" fmla="*/ 18048 h 33388"/>
                <a:gd name="connsiteX4" fmla="*/ 4339 w 92549"/>
                <a:gd name="connsiteY4" fmla="*/ 8844 h 33388"/>
                <a:gd name="connsiteX5" fmla="*/ 90248 w 92549"/>
                <a:gd name="connsiteY5" fmla="*/ 21116 h 33388"/>
                <a:gd name="connsiteX6" fmla="*/ 90248 w 92549"/>
                <a:gd name="connsiteY6" fmla="*/ 33389 h 33388"/>
                <a:gd name="connsiteX7" fmla="*/ 84112 w 92549"/>
                <a:gd name="connsiteY7" fmla="*/ 33389 h 33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3388">
                  <a:moveTo>
                    <a:pt x="84112" y="33389"/>
                  </a:moveTo>
                  <a:cubicBezTo>
                    <a:pt x="81044" y="33389"/>
                    <a:pt x="81044" y="33389"/>
                    <a:pt x="77975" y="30321"/>
                  </a:cubicBezTo>
                  <a:cubicBezTo>
                    <a:pt x="53430" y="2707"/>
                    <a:pt x="10476" y="21116"/>
                    <a:pt x="10476" y="21116"/>
                  </a:cubicBezTo>
                  <a:cubicBezTo>
                    <a:pt x="7407" y="24184"/>
                    <a:pt x="1271" y="21116"/>
                    <a:pt x="1271" y="18048"/>
                  </a:cubicBezTo>
                  <a:cubicBezTo>
                    <a:pt x="-1797" y="14980"/>
                    <a:pt x="1271" y="8844"/>
                    <a:pt x="4339" y="8844"/>
                  </a:cubicBezTo>
                  <a:cubicBezTo>
                    <a:pt x="22748" y="-361"/>
                    <a:pt x="62635" y="-9566"/>
                    <a:pt x="90248" y="21116"/>
                  </a:cubicBezTo>
                  <a:cubicBezTo>
                    <a:pt x="93316" y="24184"/>
                    <a:pt x="93316" y="30321"/>
                    <a:pt x="90248" y="33389"/>
                  </a:cubicBezTo>
                  <a:cubicBezTo>
                    <a:pt x="87180" y="30321"/>
                    <a:pt x="87180" y="33389"/>
                    <a:pt x="84112" y="33389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6" name="任意多边形: 形状 405">
              <a:extLst>
                <a:ext uri="{FF2B5EF4-FFF2-40B4-BE49-F238E27FC236}">
                  <a16:creationId xmlns:a16="http://schemas.microsoft.com/office/drawing/2014/main" id="{571687A0-EDB9-45D9-948C-F1EF00EAE8B9}"/>
                </a:ext>
              </a:extLst>
            </p:cNvPr>
            <p:cNvSpPr/>
            <p:nvPr/>
          </p:nvSpPr>
          <p:spPr>
            <a:xfrm>
              <a:off x="4389843" y="2947145"/>
              <a:ext cx="92549" cy="35795"/>
            </a:xfrm>
            <a:custGeom>
              <a:avLst/>
              <a:gdLst>
                <a:gd name="connsiteX0" fmla="*/ 8438 w 92549"/>
                <a:gd name="connsiteY0" fmla="*/ 35795 h 35795"/>
                <a:gd name="connsiteX1" fmla="*/ 2301 w 92549"/>
                <a:gd name="connsiteY1" fmla="*/ 32727 h 35795"/>
                <a:gd name="connsiteX2" fmla="*/ 2301 w 92549"/>
                <a:gd name="connsiteY2" fmla="*/ 20455 h 35795"/>
                <a:gd name="connsiteX3" fmla="*/ 88210 w 92549"/>
                <a:gd name="connsiteY3" fmla="*/ 11250 h 35795"/>
                <a:gd name="connsiteX4" fmla="*/ 91278 w 92549"/>
                <a:gd name="connsiteY4" fmla="*/ 23523 h 35795"/>
                <a:gd name="connsiteX5" fmla="*/ 79006 w 92549"/>
                <a:gd name="connsiteY5" fmla="*/ 26591 h 35795"/>
                <a:gd name="connsiteX6" fmla="*/ 11506 w 92549"/>
                <a:gd name="connsiteY6" fmla="*/ 32727 h 35795"/>
                <a:gd name="connsiteX7" fmla="*/ 8438 w 92549"/>
                <a:gd name="connsiteY7" fmla="*/ 35795 h 35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5795">
                  <a:moveTo>
                    <a:pt x="8438" y="35795"/>
                  </a:moveTo>
                  <a:cubicBezTo>
                    <a:pt x="5369" y="35795"/>
                    <a:pt x="5369" y="35795"/>
                    <a:pt x="2301" y="32727"/>
                  </a:cubicBezTo>
                  <a:cubicBezTo>
                    <a:pt x="-767" y="29659"/>
                    <a:pt x="-767" y="23523"/>
                    <a:pt x="2301" y="20455"/>
                  </a:cubicBezTo>
                  <a:cubicBezTo>
                    <a:pt x="14574" y="8182"/>
                    <a:pt x="51392" y="-13295"/>
                    <a:pt x="88210" y="11250"/>
                  </a:cubicBezTo>
                  <a:cubicBezTo>
                    <a:pt x="91278" y="14318"/>
                    <a:pt x="94347" y="17386"/>
                    <a:pt x="91278" y="23523"/>
                  </a:cubicBezTo>
                  <a:cubicBezTo>
                    <a:pt x="88210" y="26591"/>
                    <a:pt x="85142" y="29659"/>
                    <a:pt x="79006" y="26591"/>
                  </a:cubicBezTo>
                  <a:cubicBezTo>
                    <a:pt x="42188" y="2045"/>
                    <a:pt x="14574" y="32727"/>
                    <a:pt x="11506" y="32727"/>
                  </a:cubicBezTo>
                  <a:cubicBezTo>
                    <a:pt x="11506" y="35795"/>
                    <a:pt x="8438" y="35795"/>
                    <a:pt x="8438" y="35795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7" name="任意多边形: 形状 406">
              <a:extLst>
                <a:ext uri="{FF2B5EF4-FFF2-40B4-BE49-F238E27FC236}">
                  <a16:creationId xmlns:a16="http://schemas.microsoft.com/office/drawing/2014/main" id="{2D850F34-1B19-4E45-B73A-FF99B47476F3}"/>
                </a:ext>
              </a:extLst>
            </p:cNvPr>
            <p:cNvSpPr/>
            <p:nvPr/>
          </p:nvSpPr>
          <p:spPr>
            <a:xfrm>
              <a:off x="4376804" y="3265213"/>
              <a:ext cx="231477" cy="67500"/>
            </a:xfrm>
            <a:custGeom>
              <a:avLst/>
              <a:gdLst>
                <a:gd name="connsiteX0" fmla="*/ 150341 w 231477"/>
                <a:gd name="connsiteY0" fmla="*/ 67500 h 67500"/>
                <a:gd name="connsiteX1" fmla="*/ 150341 w 231477"/>
                <a:gd name="connsiteY1" fmla="*/ 67500 h 67500"/>
                <a:gd name="connsiteX2" fmla="*/ 3068 w 231477"/>
                <a:gd name="connsiteY2" fmla="*/ 12273 h 67500"/>
                <a:gd name="connsiteX3" fmla="*/ 0 w 231477"/>
                <a:gd name="connsiteY3" fmla="*/ 3068 h 67500"/>
                <a:gd name="connsiteX4" fmla="*/ 9204 w 231477"/>
                <a:gd name="connsiteY4" fmla="*/ 0 h 67500"/>
                <a:gd name="connsiteX5" fmla="*/ 150341 w 231477"/>
                <a:gd name="connsiteY5" fmla="*/ 52159 h 67500"/>
                <a:gd name="connsiteX6" fmla="*/ 150341 w 231477"/>
                <a:gd name="connsiteY6" fmla="*/ 52159 h 67500"/>
                <a:gd name="connsiteX7" fmla="*/ 220909 w 231477"/>
                <a:gd name="connsiteY7" fmla="*/ 27614 h 67500"/>
                <a:gd name="connsiteX8" fmla="*/ 230114 w 231477"/>
                <a:gd name="connsiteY8" fmla="*/ 27614 h 67500"/>
                <a:gd name="connsiteX9" fmla="*/ 230114 w 231477"/>
                <a:gd name="connsiteY9" fmla="*/ 36818 h 67500"/>
                <a:gd name="connsiteX10" fmla="*/ 150341 w 231477"/>
                <a:gd name="connsiteY10" fmla="*/ 67500 h 6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1477" h="67500">
                  <a:moveTo>
                    <a:pt x="150341" y="67500"/>
                  </a:moveTo>
                  <a:cubicBezTo>
                    <a:pt x="150341" y="67500"/>
                    <a:pt x="150341" y="67500"/>
                    <a:pt x="150341" y="67500"/>
                  </a:cubicBezTo>
                  <a:cubicBezTo>
                    <a:pt x="98182" y="67500"/>
                    <a:pt x="6136" y="15341"/>
                    <a:pt x="3068" y="12273"/>
                  </a:cubicBezTo>
                  <a:cubicBezTo>
                    <a:pt x="0" y="9205"/>
                    <a:pt x="0" y="6136"/>
                    <a:pt x="0" y="3068"/>
                  </a:cubicBezTo>
                  <a:cubicBezTo>
                    <a:pt x="3068" y="0"/>
                    <a:pt x="6136" y="0"/>
                    <a:pt x="9204" y="0"/>
                  </a:cubicBezTo>
                  <a:cubicBezTo>
                    <a:pt x="9204" y="0"/>
                    <a:pt x="101250" y="52159"/>
                    <a:pt x="150341" y="52159"/>
                  </a:cubicBezTo>
                  <a:cubicBezTo>
                    <a:pt x="150341" y="52159"/>
                    <a:pt x="150341" y="52159"/>
                    <a:pt x="150341" y="52159"/>
                  </a:cubicBezTo>
                  <a:cubicBezTo>
                    <a:pt x="190227" y="52159"/>
                    <a:pt x="220909" y="27614"/>
                    <a:pt x="220909" y="27614"/>
                  </a:cubicBezTo>
                  <a:cubicBezTo>
                    <a:pt x="223977" y="24545"/>
                    <a:pt x="227045" y="24545"/>
                    <a:pt x="230114" y="27614"/>
                  </a:cubicBezTo>
                  <a:cubicBezTo>
                    <a:pt x="233182" y="30682"/>
                    <a:pt x="230114" y="33750"/>
                    <a:pt x="230114" y="36818"/>
                  </a:cubicBezTo>
                  <a:cubicBezTo>
                    <a:pt x="227045" y="42955"/>
                    <a:pt x="193295" y="67500"/>
                    <a:pt x="150341" y="67500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8" name="任意多边形: 形状 407">
              <a:extLst>
                <a:ext uri="{FF2B5EF4-FFF2-40B4-BE49-F238E27FC236}">
                  <a16:creationId xmlns:a16="http://schemas.microsoft.com/office/drawing/2014/main" id="{22B4D50E-9920-48C3-90F6-2C33A95F368E}"/>
                </a:ext>
              </a:extLst>
            </p:cNvPr>
            <p:cNvSpPr/>
            <p:nvPr/>
          </p:nvSpPr>
          <p:spPr>
            <a:xfrm>
              <a:off x="4249607" y="3012128"/>
              <a:ext cx="77244" cy="114775"/>
            </a:xfrm>
            <a:custGeom>
              <a:avLst/>
              <a:gdLst>
                <a:gd name="connsiteX0" fmla="*/ 65833 w 77244"/>
                <a:gd name="connsiteY0" fmla="*/ 16835 h 114775"/>
                <a:gd name="connsiteX1" fmla="*/ 7538 w 77244"/>
                <a:gd name="connsiteY1" fmla="*/ 7630 h 114775"/>
                <a:gd name="connsiteX2" fmla="*/ 62765 w 77244"/>
                <a:gd name="connsiteY2" fmla="*/ 111949 h 114775"/>
                <a:gd name="connsiteX3" fmla="*/ 65833 w 77244"/>
                <a:gd name="connsiteY3" fmla="*/ 16835 h 11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244" h="114775">
                  <a:moveTo>
                    <a:pt x="65833" y="16835"/>
                  </a:moveTo>
                  <a:cubicBezTo>
                    <a:pt x="65833" y="16835"/>
                    <a:pt x="32083" y="-13847"/>
                    <a:pt x="7538" y="7630"/>
                  </a:cubicBezTo>
                  <a:cubicBezTo>
                    <a:pt x="-17008" y="26040"/>
                    <a:pt x="22879" y="133426"/>
                    <a:pt x="62765" y="111949"/>
                  </a:cubicBezTo>
                  <a:cubicBezTo>
                    <a:pt x="93447" y="90471"/>
                    <a:pt x="65833" y="16835"/>
                    <a:pt x="65833" y="16835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9" name="任意多边形: 形状 408">
              <a:extLst>
                <a:ext uri="{FF2B5EF4-FFF2-40B4-BE49-F238E27FC236}">
                  <a16:creationId xmlns:a16="http://schemas.microsoft.com/office/drawing/2014/main" id="{C02264E4-B2D9-461C-BEDA-C7344C06DAEE}"/>
                </a:ext>
              </a:extLst>
            </p:cNvPr>
            <p:cNvSpPr/>
            <p:nvPr/>
          </p:nvSpPr>
          <p:spPr>
            <a:xfrm>
              <a:off x="4250690" y="2642616"/>
              <a:ext cx="516315" cy="401687"/>
            </a:xfrm>
            <a:custGeom>
              <a:avLst/>
              <a:gdLst>
                <a:gd name="connsiteX0" fmla="*/ 6455 w 516315"/>
                <a:gd name="connsiteY0" fmla="*/ 300438 h 401687"/>
                <a:gd name="connsiteX1" fmla="*/ 61682 w 516315"/>
                <a:gd name="connsiteY1" fmla="*/ 401688 h 401687"/>
                <a:gd name="connsiteX2" fmla="*/ 113841 w 516315"/>
                <a:gd name="connsiteY2" fmla="*/ 260551 h 401687"/>
                <a:gd name="connsiteX3" fmla="*/ 123045 w 516315"/>
                <a:gd name="connsiteY3" fmla="*/ 257483 h 401687"/>
                <a:gd name="connsiteX4" fmla="*/ 199750 w 516315"/>
                <a:gd name="connsiteY4" fmla="*/ 232938 h 401687"/>
                <a:gd name="connsiteX5" fmla="*/ 212023 w 516315"/>
                <a:gd name="connsiteY5" fmla="*/ 229870 h 401687"/>
                <a:gd name="connsiteX6" fmla="*/ 248841 w 516315"/>
                <a:gd name="connsiteY6" fmla="*/ 251347 h 401687"/>
                <a:gd name="connsiteX7" fmla="*/ 264182 w 516315"/>
                <a:gd name="connsiteY7" fmla="*/ 242142 h 401687"/>
                <a:gd name="connsiteX8" fmla="*/ 316341 w 516315"/>
                <a:gd name="connsiteY8" fmla="*/ 260551 h 401687"/>
                <a:gd name="connsiteX9" fmla="*/ 353159 w 516315"/>
                <a:gd name="connsiteY9" fmla="*/ 269756 h 401687"/>
                <a:gd name="connsiteX10" fmla="*/ 365432 w 516315"/>
                <a:gd name="connsiteY10" fmla="*/ 269756 h 401687"/>
                <a:gd name="connsiteX11" fmla="*/ 377705 w 516315"/>
                <a:gd name="connsiteY11" fmla="*/ 266688 h 401687"/>
                <a:gd name="connsiteX12" fmla="*/ 386909 w 516315"/>
                <a:gd name="connsiteY12" fmla="*/ 272824 h 401687"/>
                <a:gd name="connsiteX13" fmla="*/ 393046 w 516315"/>
                <a:gd name="connsiteY13" fmla="*/ 278960 h 401687"/>
                <a:gd name="connsiteX14" fmla="*/ 399182 w 516315"/>
                <a:gd name="connsiteY14" fmla="*/ 278960 h 401687"/>
                <a:gd name="connsiteX15" fmla="*/ 405318 w 516315"/>
                <a:gd name="connsiteY15" fmla="*/ 282029 h 401687"/>
                <a:gd name="connsiteX16" fmla="*/ 411455 w 516315"/>
                <a:gd name="connsiteY16" fmla="*/ 291233 h 401687"/>
                <a:gd name="connsiteX17" fmla="*/ 429864 w 516315"/>
                <a:gd name="connsiteY17" fmla="*/ 312710 h 401687"/>
                <a:gd name="connsiteX18" fmla="*/ 457477 w 516315"/>
                <a:gd name="connsiteY18" fmla="*/ 324983 h 401687"/>
                <a:gd name="connsiteX19" fmla="*/ 475886 w 516315"/>
                <a:gd name="connsiteY19" fmla="*/ 380211 h 401687"/>
                <a:gd name="connsiteX20" fmla="*/ 485091 w 516315"/>
                <a:gd name="connsiteY20" fmla="*/ 349529 h 401687"/>
                <a:gd name="connsiteX21" fmla="*/ 494296 w 516315"/>
                <a:gd name="connsiteY21" fmla="*/ 346460 h 401687"/>
                <a:gd name="connsiteX22" fmla="*/ 512705 w 516315"/>
                <a:gd name="connsiteY22" fmla="*/ 248279 h 401687"/>
                <a:gd name="connsiteX23" fmla="*/ 494296 w 516315"/>
                <a:gd name="connsiteY23" fmla="*/ 205324 h 401687"/>
                <a:gd name="connsiteX24" fmla="*/ 497364 w 516315"/>
                <a:gd name="connsiteY24" fmla="*/ 171574 h 401687"/>
                <a:gd name="connsiteX25" fmla="*/ 491227 w 516315"/>
                <a:gd name="connsiteY25" fmla="*/ 134756 h 401687"/>
                <a:gd name="connsiteX26" fmla="*/ 472818 w 516315"/>
                <a:gd name="connsiteY26" fmla="*/ 107142 h 401687"/>
                <a:gd name="connsiteX27" fmla="*/ 457477 w 516315"/>
                <a:gd name="connsiteY27" fmla="*/ 64188 h 401687"/>
                <a:gd name="connsiteX28" fmla="*/ 396114 w 516315"/>
                <a:gd name="connsiteY28" fmla="*/ 39642 h 401687"/>
                <a:gd name="connsiteX29" fmla="*/ 270318 w 516315"/>
                <a:gd name="connsiteY29" fmla="*/ 2824 h 401687"/>
                <a:gd name="connsiteX30" fmla="*/ 258045 w 516315"/>
                <a:gd name="connsiteY30" fmla="*/ 8960 h 401687"/>
                <a:gd name="connsiteX31" fmla="*/ 202818 w 516315"/>
                <a:gd name="connsiteY31" fmla="*/ 21233 h 401687"/>
                <a:gd name="connsiteX32" fmla="*/ 169068 w 516315"/>
                <a:gd name="connsiteY32" fmla="*/ 24301 h 401687"/>
                <a:gd name="connsiteX33" fmla="*/ 138386 w 516315"/>
                <a:gd name="connsiteY33" fmla="*/ 54983 h 401687"/>
                <a:gd name="connsiteX34" fmla="*/ 126114 w 516315"/>
                <a:gd name="connsiteY34" fmla="*/ 73392 h 401687"/>
                <a:gd name="connsiteX35" fmla="*/ 95432 w 516315"/>
                <a:gd name="connsiteY35" fmla="*/ 94870 h 401687"/>
                <a:gd name="connsiteX36" fmla="*/ 83159 w 516315"/>
                <a:gd name="connsiteY36" fmla="*/ 91801 h 401687"/>
                <a:gd name="connsiteX37" fmla="*/ 64750 w 516315"/>
                <a:gd name="connsiteY37" fmla="*/ 131688 h 401687"/>
                <a:gd name="connsiteX38" fmla="*/ 6455 w 516315"/>
                <a:gd name="connsiteY38" fmla="*/ 300438 h 401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6315" h="401687">
                  <a:moveTo>
                    <a:pt x="6455" y="300438"/>
                  </a:moveTo>
                  <a:cubicBezTo>
                    <a:pt x="18727" y="355665"/>
                    <a:pt x="61682" y="401688"/>
                    <a:pt x="61682" y="401688"/>
                  </a:cubicBezTo>
                  <a:cubicBezTo>
                    <a:pt x="55546" y="371006"/>
                    <a:pt x="113841" y="260551"/>
                    <a:pt x="113841" y="260551"/>
                  </a:cubicBezTo>
                  <a:cubicBezTo>
                    <a:pt x="113841" y="260551"/>
                    <a:pt x="116909" y="260551"/>
                    <a:pt x="123045" y="257483"/>
                  </a:cubicBezTo>
                  <a:cubicBezTo>
                    <a:pt x="150659" y="257483"/>
                    <a:pt x="178273" y="248279"/>
                    <a:pt x="199750" y="232938"/>
                  </a:cubicBezTo>
                  <a:cubicBezTo>
                    <a:pt x="202818" y="232938"/>
                    <a:pt x="208955" y="229870"/>
                    <a:pt x="212023" y="229870"/>
                  </a:cubicBezTo>
                  <a:cubicBezTo>
                    <a:pt x="221227" y="242142"/>
                    <a:pt x="230432" y="254415"/>
                    <a:pt x="248841" y="251347"/>
                  </a:cubicBezTo>
                  <a:cubicBezTo>
                    <a:pt x="258045" y="251347"/>
                    <a:pt x="261114" y="242142"/>
                    <a:pt x="264182" y="242142"/>
                  </a:cubicBezTo>
                  <a:cubicBezTo>
                    <a:pt x="285659" y="232938"/>
                    <a:pt x="297932" y="248279"/>
                    <a:pt x="316341" y="260551"/>
                  </a:cubicBezTo>
                  <a:cubicBezTo>
                    <a:pt x="328614" y="266688"/>
                    <a:pt x="340887" y="269756"/>
                    <a:pt x="353159" y="269756"/>
                  </a:cubicBezTo>
                  <a:cubicBezTo>
                    <a:pt x="356227" y="269756"/>
                    <a:pt x="362364" y="266688"/>
                    <a:pt x="365432" y="269756"/>
                  </a:cubicBezTo>
                  <a:cubicBezTo>
                    <a:pt x="371568" y="266688"/>
                    <a:pt x="374637" y="266688"/>
                    <a:pt x="377705" y="266688"/>
                  </a:cubicBezTo>
                  <a:cubicBezTo>
                    <a:pt x="380773" y="269756"/>
                    <a:pt x="383841" y="269756"/>
                    <a:pt x="386909" y="272824"/>
                  </a:cubicBezTo>
                  <a:cubicBezTo>
                    <a:pt x="389977" y="272824"/>
                    <a:pt x="389977" y="275892"/>
                    <a:pt x="393046" y="278960"/>
                  </a:cubicBezTo>
                  <a:cubicBezTo>
                    <a:pt x="396114" y="278960"/>
                    <a:pt x="396114" y="278960"/>
                    <a:pt x="399182" y="278960"/>
                  </a:cubicBezTo>
                  <a:cubicBezTo>
                    <a:pt x="402250" y="278960"/>
                    <a:pt x="405318" y="282029"/>
                    <a:pt x="405318" y="282029"/>
                  </a:cubicBezTo>
                  <a:cubicBezTo>
                    <a:pt x="408386" y="285097"/>
                    <a:pt x="411455" y="288165"/>
                    <a:pt x="411455" y="291233"/>
                  </a:cubicBezTo>
                  <a:cubicBezTo>
                    <a:pt x="417591" y="300438"/>
                    <a:pt x="420659" y="306574"/>
                    <a:pt x="429864" y="312710"/>
                  </a:cubicBezTo>
                  <a:cubicBezTo>
                    <a:pt x="436000" y="318847"/>
                    <a:pt x="448273" y="318847"/>
                    <a:pt x="457477" y="324983"/>
                  </a:cubicBezTo>
                  <a:cubicBezTo>
                    <a:pt x="472818" y="343392"/>
                    <a:pt x="478955" y="361801"/>
                    <a:pt x="475886" y="380211"/>
                  </a:cubicBezTo>
                  <a:cubicBezTo>
                    <a:pt x="475886" y="380211"/>
                    <a:pt x="478955" y="367938"/>
                    <a:pt x="485091" y="349529"/>
                  </a:cubicBezTo>
                  <a:cubicBezTo>
                    <a:pt x="488159" y="352597"/>
                    <a:pt x="491227" y="352597"/>
                    <a:pt x="494296" y="346460"/>
                  </a:cubicBezTo>
                  <a:cubicBezTo>
                    <a:pt x="512705" y="315779"/>
                    <a:pt x="521909" y="282029"/>
                    <a:pt x="512705" y="248279"/>
                  </a:cubicBezTo>
                  <a:cubicBezTo>
                    <a:pt x="509637" y="232938"/>
                    <a:pt x="500432" y="220665"/>
                    <a:pt x="494296" y="205324"/>
                  </a:cubicBezTo>
                  <a:cubicBezTo>
                    <a:pt x="485091" y="186915"/>
                    <a:pt x="494296" y="186915"/>
                    <a:pt x="497364" y="171574"/>
                  </a:cubicBezTo>
                  <a:cubicBezTo>
                    <a:pt x="500432" y="159301"/>
                    <a:pt x="494296" y="147029"/>
                    <a:pt x="491227" y="134756"/>
                  </a:cubicBezTo>
                  <a:cubicBezTo>
                    <a:pt x="485091" y="125551"/>
                    <a:pt x="478955" y="116347"/>
                    <a:pt x="472818" y="107142"/>
                  </a:cubicBezTo>
                  <a:cubicBezTo>
                    <a:pt x="460545" y="91801"/>
                    <a:pt x="463614" y="79529"/>
                    <a:pt x="457477" y="64188"/>
                  </a:cubicBezTo>
                  <a:cubicBezTo>
                    <a:pt x="445205" y="36574"/>
                    <a:pt x="420659" y="39642"/>
                    <a:pt x="396114" y="39642"/>
                  </a:cubicBezTo>
                  <a:cubicBezTo>
                    <a:pt x="353159" y="39642"/>
                    <a:pt x="316341" y="-12517"/>
                    <a:pt x="270318" y="2824"/>
                  </a:cubicBezTo>
                  <a:cubicBezTo>
                    <a:pt x="264182" y="2824"/>
                    <a:pt x="261114" y="5892"/>
                    <a:pt x="258045" y="8960"/>
                  </a:cubicBezTo>
                  <a:cubicBezTo>
                    <a:pt x="239636" y="18165"/>
                    <a:pt x="221227" y="24301"/>
                    <a:pt x="202818" y="21233"/>
                  </a:cubicBezTo>
                  <a:cubicBezTo>
                    <a:pt x="190546" y="21233"/>
                    <a:pt x="181341" y="18165"/>
                    <a:pt x="169068" y="24301"/>
                  </a:cubicBezTo>
                  <a:cubicBezTo>
                    <a:pt x="153727" y="30438"/>
                    <a:pt x="147591" y="45779"/>
                    <a:pt x="138386" y="54983"/>
                  </a:cubicBezTo>
                  <a:cubicBezTo>
                    <a:pt x="135318" y="61120"/>
                    <a:pt x="129182" y="67256"/>
                    <a:pt x="126114" y="73392"/>
                  </a:cubicBezTo>
                  <a:cubicBezTo>
                    <a:pt x="113841" y="79529"/>
                    <a:pt x="104636" y="88733"/>
                    <a:pt x="95432" y="94870"/>
                  </a:cubicBezTo>
                  <a:cubicBezTo>
                    <a:pt x="95432" y="91801"/>
                    <a:pt x="98500" y="79529"/>
                    <a:pt x="83159" y="91801"/>
                  </a:cubicBezTo>
                  <a:cubicBezTo>
                    <a:pt x="67818" y="101006"/>
                    <a:pt x="64750" y="116347"/>
                    <a:pt x="64750" y="131688"/>
                  </a:cubicBezTo>
                  <a:cubicBezTo>
                    <a:pt x="318" y="156233"/>
                    <a:pt x="-8886" y="245210"/>
                    <a:pt x="6455" y="300438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0" name="任意多边形: 形状 409">
              <a:extLst>
                <a:ext uri="{FF2B5EF4-FFF2-40B4-BE49-F238E27FC236}">
                  <a16:creationId xmlns:a16="http://schemas.microsoft.com/office/drawing/2014/main" id="{10F856A8-ADE3-4FDE-AA01-BB60B00DB495}"/>
                </a:ext>
              </a:extLst>
            </p:cNvPr>
            <p:cNvSpPr/>
            <p:nvPr/>
          </p:nvSpPr>
          <p:spPr>
            <a:xfrm>
              <a:off x="4299332" y="2795781"/>
              <a:ext cx="68267" cy="239318"/>
            </a:xfrm>
            <a:custGeom>
              <a:avLst/>
              <a:gdLst>
                <a:gd name="connsiteX0" fmla="*/ 16108 w 68267"/>
                <a:gd name="connsiteY0" fmla="*/ 239318 h 239318"/>
                <a:gd name="connsiteX1" fmla="*/ 16108 w 68267"/>
                <a:gd name="connsiteY1" fmla="*/ 239318 h 239318"/>
                <a:gd name="connsiteX2" fmla="*/ 9972 w 68267"/>
                <a:gd name="connsiteY2" fmla="*/ 233182 h 239318"/>
                <a:gd name="connsiteX3" fmla="*/ 55994 w 68267"/>
                <a:gd name="connsiteY3" fmla="*/ 113523 h 239318"/>
                <a:gd name="connsiteX4" fmla="*/ 6903 w 68267"/>
                <a:gd name="connsiteY4" fmla="*/ 70568 h 239318"/>
                <a:gd name="connsiteX5" fmla="*/ 6903 w 68267"/>
                <a:gd name="connsiteY5" fmla="*/ 3068 h 239318"/>
                <a:gd name="connsiteX6" fmla="*/ 13040 w 68267"/>
                <a:gd name="connsiteY6" fmla="*/ 0 h 239318"/>
                <a:gd name="connsiteX7" fmla="*/ 16108 w 68267"/>
                <a:gd name="connsiteY7" fmla="*/ 6136 h 239318"/>
                <a:gd name="connsiteX8" fmla="*/ 16108 w 68267"/>
                <a:gd name="connsiteY8" fmla="*/ 64432 h 239318"/>
                <a:gd name="connsiteX9" fmla="*/ 65199 w 68267"/>
                <a:gd name="connsiteY9" fmla="*/ 104318 h 239318"/>
                <a:gd name="connsiteX10" fmla="*/ 68267 w 68267"/>
                <a:gd name="connsiteY10" fmla="*/ 107386 h 239318"/>
                <a:gd name="connsiteX11" fmla="*/ 68267 w 68267"/>
                <a:gd name="connsiteY11" fmla="*/ 113523 h 239318"/>
                <a:gd name="connsiteX12" fmla="*/ 19176 w 68267"/>
                <a:gd name="connsiteY12" fmla="*/ 233182 h 239318"/>
                <a:gd name="connsiteX13" fmla="*/ 16108 w 68267"/>
                <a:gd name="connsiteY13" fmla="*/ 239318 h 23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267" h="239318">
                  <a:moveTo>
                    <a:pt x="16108" y="239318"/>
                  </a:moveTo>
                  <a:cubicBezTo>
                    <a:pt x="16108" y="239318"/>
                    <a:pt x="16108" y="239318"/>
                    <a:pt x="16108" y="239318"/>
                  </a:cubicBezTo>
                  <a:cubicBezTo>
                    <a:pt x="13040" y="239318"/>
                    <a:pt x="9972" y="236250"/>
                    <a:pt x="9972" y="233182"/>
                  </a:cubicBezTo>
                  <a:cubicBezTo>
                    <a:pt x="16108" y="177955"/>
                    <a:pt x="46790" y="128864"/>
                    <a:pt x="55994" y="113523"/>
                  </a:cubicBezTo>
                  <a:cubicBezTo>
                    <a:pt x="43722" y="107386"/>
                    <a:pt x="19176" y="95114"/>
                    <a:pt x="6903" y="70568"/>
                  </a:cubicBezTo>
                  <a:cubicBezTo>
                    <a:pt x="-2301" y="52159"/>
                    <a:pt x="-2301" y="27614"/>
                    <a:pt x="6903" y="3068"/>
                  </a:cubicBezTo>
                  <a:cubicBezTo>
                    <a:pt x="6903" y="0"/>
                    <a:pt x="9972" y="0"/>
                    <a:pt x="13040" y="0"/>
                  </a:cubicBezTo>
                  <a:cubicBezTo>
                    <a:pt x="16108" y="0"/>
                    <a:pt x="16108" y="3068"/>
                    <a:pt x="16108" y="6136"/>
                  </a:cubicBezTo>
                  <a:cubicBezTo>
                    <a:pt x="6903" y="27614"/>
                    <a:pt x="6903" y="46023"/>
                    <a:pt x="16108" y="64432"/>
                  </a:cubicBezTo>
                  <a:cubicBezTo>
                    <a:pt x="31449" y="95114"/>
                    <a:pt x="65199" y="104318"/>
                    <a:pt x="65199" y="104318"/>
                  </a:cubicBezTo>
                  <a:cubicBezTo>
                    <a:pt x="68267" y="104318"/>
                    <a:pt x="68267" y="107386"/>
                    <a:pt x="68267" y="107386"/>
                  </a:cubicBezTo>
                  <a:cubicBezTo>
                    <a:pt x="68267" y="110455"/>
                    <a:pt x="68267" y="110455"/>
                    <a:pt x="68267" y="113523"/>
                  </a:cubicBezTo>
                  <a:cubicBezTo>
                    <a:pt x="68267" y="113523"/>
                    <a:pt x="25313" y="171818"/>
                    <a:pt x="19176" y="233182"/>
                  </a:cubicBezTo>
                  <a:cubicBezTo>
                    <a:pt x="19176" y="236250"/>
                    <a:pt x="19176" y="239318"/>
                    <a:pt x="16108" y="239318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" name="任意多边形: 形状 410">
              <a:extLst>
                <a:ext uri="{FF2B5EF4-FFF2-40B4-BE49-F238E27FC236}">
                  <a16:creationId xmlns:a16="http://schemas.microsoft.com/office/drawing/2014/main" id="{22D1F676-39F4-4EFC-BE56-F19156023129}"/>
                </a:ext>
              </a:extLst>
            </p:cNvPr>
            <p:cNvSpPr/>
            <p:nvPr/>
          </p:nvSpPr>
          <p:spPr>
            <a:xfrm>
              <a:off x="4460412" y="3213821"/>
              <a:ext cx="115823" cy="39119"/>
            </a:xfrm>
            <a:custGeom>
              <a:avLst/>
              <a:gdLst>
                <a:gd name="connsiteX0" fmla="*/ 79006 w 115823"/>
                <a:gd name="connsiteY0" fmla="*/ 39119 h 39119"/>
                <a:gd name="connsiteX1" fmla="*/ 2301 w 115823"/>
                <a:gd name="connsiteY1" fmla="*/ 11506 h 39119"/>
                <a:gd name="connsiteX2" fmla="*/ 2301 w 115823"/>
                <a:gd name="connsiteY2" fmla="*/ 2301 h 39119"/>
                <a:gd name="connsiteX3" fmla="*/ 11506 w 115823"/>
                <a:gd name="connsiteY3" fmla="*/ 2301 h 39119"/>
                <a:gd name="connsiteX4" fmla="*/ 109687 w 115823"/>
                <a:gd name="connsiteY4" fmla="*/ 23778 h 39119"/>
                <a:gd name="connsiteX5" fmla="*/ 115824 w 115823"/>
                <a:gd name="connsiteY5" fmla="*/ 26847 h 39119"/>
                <a:gd name="connsiteX6" fmla="*/ 112756 w 115823"/>
                <a:gd name="connsiteY6" fmla="*/ 32983 h 39119"/>
                <a:gd name="connsiteX7" fmla="*/ 79006 w 115823"/>
                <a:gd name="connsiteY7" fmla="*/ 39119 h 39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823" h="39119">
                  <a:moveTo>
                    <a:pt x="79006" y="39119"/>
                  </a:moveTo>
                  <a:cubicBezTo>
                    <a:pt x="54460" y="39119"/>
                    <a:pt x="23779" y="32983"/>
                    <a:pt x="2301" y="11506"/>
                  </a:cubicBezTo>
                  <a:cubicBezTo>
                    <a:pt x="-767" y="8438"/>
                    <a:pt x="-767" y="5369"/>
                    <a:pt x="2301" y="2301"/>
                  </a:cubicBezTo>
                  <a:cubicBezTo>
                    <a:pt x="5369" y="-767"/>
                    <a:pt x="8438" y="-767"/>
                    <a:pt x="11506" y="2301"/>
                  </a:cubicBezTo>
                  <a:cubicBezTo>
                    <a:pt x="45256" y="36051"/>
                    <a:pt x="109687" y="23778"/>
                    <a:pt x="109687" y="23778"/>
                  </a:cubicBezTo>
                  <a:cubicBezTo>
                    <a:pt x="112756" y="23778"/>
                    <a:pt x="115824" y="23778"/>
                    <a:pt x="115824" y="26847"/>
                  </a:cubicBezTo>
                  <a:cubicBezTo>
                    <a:pt x="115824" y="29915"/>
                    <a:pt x="115824" y="32983"/>
                    <a:pt x="112756" y="32983"/>
                  </a:cubicBezTo>
                  <a:cubicBezTo>
                    <a:pt x="112756" y="36051"/>
                    <a:pt x="97415" y="39119"/>
                    <a:pt x="79006" y="39119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" name="任意多边形: 形状 411">
              <a:extLst>
                <a:ext uri="{FF2B5EF4-FFF2-40B4-BE49-F238E27FC236}">
                  <a16:creationId xmlns:a16="http://schemas.microsoft.com/office/drawing/2014/main" id="{F37B4F5F-997D-4BF2-8449-F128D576033C}"/>
                </a:ext>
              </a:extLst>
            </p:cNvPr>
            <p:cNvSpPr/>
            <p:nvPr/>
          </p:nvSpPr>
          <p:spPr>
            <a:xfrm>
              <a:off x="4409283" y="2769401"/>
              <a:ext cx="262066" cy="90812"/>
            </a:xfrm>
            <a:custGeom>
              <a:avLst/>
              <a:gdLst>
                <a:gd name="connsiteX0" fmla="*/ 252862 w 262066"/>
                <a:gd name="connsiteY0" fmla="*/ 90812 h 90812"/>
                <a:gd name="connsiteX1" fmla="*/ 252862 w 262066"/>
                <a:gd name="connsiteY1" fmla="*/ 90812 h 90812"/>
                <a:gd name="connsiteX2" fmla="*/ 197635 w 262066"/>
                <a:gd name="connsiteY2" fmla="*/ 66267 h 90812"/>
                <a:gd name="connsiteX3" fmla="*/ 188430 w 262066"/>
                <a:gd name="connsiteY3" fmla="*/ 57062 h 90812"/>
                <a:gd name="connsiteX4" fmla="*/ 157748 w 262066"/>
                <a:gd name="connsiteY4" fmla="*/ 38653 h 90812"/>
                <a:gd name="connsiteX5" fmla="*/ 133203 w 262066"/>
                <a:gd name="connsiteY5" fmla="*/ 44790 h 90812"/>
                <a:gd name="connsiteX6" fmla="*/ 99453 w 262066"/>
                <a:gd name="connsiteY6" fmla="*/ 50926 h 90812"/>
                <a:gd name="connsiteX7" fmla="*/ 71839 w 262066"/>
                <a:gd name="connsiteY7" fmla="*/ 32517 h 90812"/>
                <a:gd name="connsiteX8" fmla="*/ 53430 w 262066"/>
                <a:gd name="connsiteY8" fmla="*/ 17176 h 90812"/>
                <a:gd name="connsiteX9" fmla="*/ 25816 w 262066"/>
                <a:gd name="connsiteY9" fmla="*/ 20244 h 90812"/>
                <a:gd name="connsiteX10" fmla="*/ 10475 w 262066"/>
                <a:gd name="connsiteY10" fmla="*/ 44790 h 90812"/>
                <a:gd name="connsiteX11" fmla="*/ 4339 w 262066"/>
                <a:gd name="connsiteY11" fmla="*/ 47858 h 90812"/>
                <a:gd name="connsiteX12" fmla="*/ 1271 w 262066"/>
                <a:gd name="connsiteY12" fmla="*/ 41721 h 90812"/>
                <a:gd name="connsiteX13" fmla="*/ 22748 w 262066"/>
                <a:gd name="connsiteY13" fmla="*/ 7971 h 90812"/>
                <a:gd name="connsiteX14" fmla="*/ 62635 w 262066"/>
                <a:gd name="connsiteY14" fmla="*/ 1835 h 90812"/>
                <a:gd name="connsiteX15" fmla="*/ 84112 w 262066"/>
                <a:gd name="connsiteY15" fmla="*/ 20244 h 90812"/>
                <a:gd name="connsiteX16" fmla="*/ 105589 w 262066"/>
                <a:gd name="connsiteY16" fmla="*/ 35585 h 90812"/>
                <a:gd name="connsiteX17" fmla="*/ 133203 w 262066"/>
                <a:gd name="connsiteY17" fmla="*/ 29449 h 90812"/>
                <a:gd name="connsiteX18" fmla="*/ 163884 w 262066"/>
                <a:gd name="connsiteY18" fmla="*/ 20244 h 90812"/>
                <a:gd name="connsiteX19" fmla="*/ 200703 w 262066"/>
                <a:gd name="connsiteY19" fmla="*/ 41721 h 90812"/>
                <a:gd name="connsiteX20" fmla="*/ 209907 w 262066"/>
                <a:gd name="connsiteY20" fmla="*/ 50926 h 90812"/>
                <a:gd name="connsiteX21" fmla="*/ 255930 w 262066"/>
                <a:gd name="connsiteY21" fmla="*/ 72403 h 90812"/>
                <a:gd name="connsiteX22" fmla="*/ 262066 w 262066"/>
                <a:gd name="connsiteY22" fmla="*/ 78540 h 90812"/>
                <a:gd name="connsiteX23" fmla="*/ 252862 w 262066"/>
                <a:gd name="connsiteY23" fmla="*/ 90812 h 9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2066" h="90812">
                  <a:moveTo>
                    <a:pt x="252862" y="90812"/>
                  </a:moveTo>
                  <a:cubicBezTo>
                    <a:pt x="252862" y="90812"/>
                    <a:pt x="252862" y="90812"/>
                    <a:pt x="252862" y="90812"/>
                  </a:cubicBezTo>
                  <a:cubicBezTo>
                    <a:pt x="231385" y="87744"/>
                    <a:pt x="212975" y="78540"/>
                    <a:pt x="197635" y="66267"/>
                  </a:cubicBezTo>
                  <a:cubicBezTo>
                    <a:pt x="194566" y="63199"/>
                    <a:pt x="191498" y="60130"/>
                    <a:pt x="188430" y="57062"/>
                  </a:cubicBezTo>
                  <a:cubicBezTo>
                    <a:pt x="179225" y="47858"/>
                    <a:pt x="170021" y="38653"/>
                    <a:pt x="157748" y="38653"/>
                  </a:cubicBezTo>
                  <a:cubicBezTo>
                    <a:pt x="148543" y="38653"/>
                    <a:pt x="142407" y="41721"/>
                    <a:pt x="133203" y="44790"/>
                  </a:cubicBezTo>
                  <a:cubicBezTo>
                    <a:pt x="123998" y="50926"/>
                    <a:pt x="111725" y="53994"/>
                    <a:pt x="99453" y="50926"/>
                  </a:cubicBezTo>
                  <a:cubicBezTo>
                    <a:pt x="87180" y="47858"/>
                    <a:pt x="81044" y="38653"/>
                    <a:pt x="71839" y="32517"/>
                  </a:cubicBezTo>
                  <a:cubicBezTo>
                    <a:pt x="65703" y="26380"/>
                    <a:pt x="62635" y="20244"/>
                    <a:pt x="53430" y="17176"/>
                  </a:cubicBezTo>
                  <a:cubicBezTo>
                    <a:pt x="44225" y="14108"/>
                    <a:pt x="35021" y="14108"/>
                    <a:pt x="25816" y="20244"/>
                  </a:cubicBezTo>
                  <a:cubicBezTo>
                    <a:pt x="16612" y="26380"/>
                    <a:pt x="13544" y="35585"/>
                    <a:pt x="10475" y="44790"/>
                  </a:cubicBezTo>
                  <a:cubicBezTo>
                    <a:pt x="10475" y="47858"/>
                    <a:pt x="7407" y="50926"/>
                    <a:pt x="4339" y="47858"/>
                  </a:cubicBezTo>
                  <a:cubicBezTo>
                    <a:pt x="1271" y="47858"/>
                    <a:pt x="-1797" y="44790"/>
                    <a:pt x="1271" y="41721"/>
                  </a:cubicBezTo>
                  <a:cubicBezTo>
                    <a:pt x="4339" y="29449"/>
                    <a:pt x="13544" y="17176"/>
                    <a:pt x="22748" y="7971"/>
                  </a:cubicBezTo>
                  <a:cubicBezTo>
                    <a:pt x="35021" y="-1233"/>
                    <a:pt x="50362" y="-1233"/>
                    <a:pt x="62635" y="1835"/>
                  </a:cubicBezTo>
                  <a:cubicBezTo>
                    <a:pt x="71839" y="4903"/>
                    <a:pt x="77975" y="14108"/>
                    <a:pt x="84112" y="20244"/>
                  </a:cubicBezTo>
                  <a:cubicBezTo>
                    <a:pt x="90248" y="26380"/>
                    <a:pt x="96384" y="35585"/>
                    <a:pt x="105589" y="35585"/>
                  </a:cubicBezTo>
                  <a:cubicBezTo>
                    <a:pt x="114793" y="38653"/>
                    <a:pt x="123998" y="32517"/>
                    <a:pt x="133203" y="29449"/>
                  </a:cubicBezTo>
                  <a:cubicBezTo>
                    <a:pt x="142407" y="26380"/>
                    <a:pt x="151612" y="20244"/>
                    <a:pt x="163884" y="20244"/>
                  </a:cubicBezTo>
                  <a:cubicBezTo>
                    <a:pt x="179225" y="20244"/>
                    <a:pt x="191498" y="32517"/>
                    <a:pt x="200703" y="41721"/>
                  </a:cubicBezTo>
                  <a:cubicBezTo>
                    <a:pt x="203771" y="44790"/>
                    <a:pt x="206839" y="47858"/>
                    <a:pt x="209907" y="50926"/>
                  </a:cubicBezTo>
                  <a:cubicBezTo>
                    <a:pt x="222180" y="63199"/>
                    <a:pt x="240589" y="69335"/>
                    <a:pt x="255930" y="72403"/>
                  </a:cubicBezTo>
                  <a:cubicBezTo>
                    <a:pt x="258998" y="72403"/>
                    <a:pt x="262066" y="75471"/>
                    <a:pt x="262066" y="78540"/>
                  </a:cubicBezTo>
                  <a:cubicBezTo>
                    <a:pt x="258998" y="87744"/>
                    <a:pt x="255930" y="90812"/>
                    <a:pt x="252862" y="90812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3" name="任意多边形: 形状 412">
              <a:extLst>
                <a:ext uri="{FF2B5EF4-FFF2-40B4-BE49-F238E27FC236}">
                  <a16:creationId xmlns:a16="http://schemas.microsoft.com/office/drawing/2014/main" id="{15ACFDAB-D9A4-4602-89BD-337AE61D3C64}"/>
                </a:ext>
              </a:extLst>
            </p:cNvPr>
            <p:cNvSpPr/>
            <p:nvPr/>
          </p:nvSpPr>
          <p:spPr>
            <a:xfrm>
              <a:off x="4405184" y="2690854"/>
              <a:ext cx="290710" cy="86518"/>
            </a:xfrm>
            <a:custGeom>
              <a:avLst/>
              <a:gdLst>
                <a:gd name="connsiteX0" fmla="*/ 281506 w 290710"/>
                <a:gd name="connsiteY0" fmla="*/ 86519 h 86518"/>
                <a:gd name="connsiteX1" fmla="*/ 275369 w 290710"/>
                <a:gd name="connsiteY1" fmla="*/ 80382 h 86518"/>
                <a:gd name="connsiteX2" fmla="*/ 263097 w 290710"/>
                <a:gd name="connsiteY2" fmla="*/ 61973 h 86518"/>
                <a:gd name="connsiteX3" fmla="*/ 210938 w 290710"/>
                <a:gd name="connsiteY3" fmla="*/ 49700 h 86518"/>
                <a:gd name="connsiteX4" fmla="*/ 161847 w 290710"/>
                <a:gd name="connsiteY4" fmla="*/ 28223 h 86518"/>
                <a:gd name="connsiteX5" fmla="*/ 143438 w 290710"/>
                <a:gd name="connsiteY5" fmla="*/ 12882 h 86518"/>
                <a:gd name="connsiteX6" fmla="*/ 97415 w 290710"/>
                <a:gd name="connsiteY6" fmla="*/ 25155 h 86518"/>
                <a:gd name="connsiteX7" fmla="*/ 57528 w 290710"/>
                <a:gd name="connsiteY7" fmla="*/ 31291 h 86518"/>
                <a:gd name="connsiteX8" fmla="*/ 11506 w 290710"/>
                <a:gd name="connsiteY8" fmla="*/ 49700 h 86518"/>
                <a:gd name="connsiteX9" fmla="*/ 2301 w 290710"/>
                <a:gd name="connsiteY9" fmla="*/ 49700 h 86518"/>
                <a:gd name="connsiteX10" fmla="*/ 2301 w 290710"/>
                <a:gd name="connsiteY10" fmla="*/ 40496 h 86518"/>
                <a:gd name="connsiteX11" fmla="*/ 63665 w 290710"/>
                <a:gd name="connsiteY11" fmla="*/ 19019 h 86518"/>
                <a:gd name="connsiteX12" fmla="*/ 91278 w 290710"/>
                <a:gd name="connsiteY12" fmla="*/ 12882 h 86518"/>
                <a:gd name="connsiteX13" fmla="*/ 146506 w 290710"/>
                <a:gd name="connsiteY13" fmla="*/ 609 h 86518"/>
                <a:gd name="connsiteX14" fmla="*/ 174119 w 290710"/>
                <a:gd name="connsiteY14" fmla="*/ 15950 h 86518"/>
                <a:gd name="connsiteX15" fmla="*/ 214006 w 290710"/>
                <a:gd name="connsiteY15" fmla="*/ 34359 h 86518"/>
                <a:gd name="connsiteX16" fmla="*/ 275369 w 290710"/>
                <a:gd name="connsiteY16" fmla="*/ 49700 h 86518"/>
                <a:gd name="connsiteX17" fmla="*/ 290710 w 290710"/>
                <a:gd name="connsiteY17" fmla="*/ 77314 h 86518"/>
                <a:gd name="connsiteX18" fmla="*/ 281506 w 290710"/>
                <a:gd name="connsiteY18" fmla="*/ 86519 h 86518"/>
                <a:gd name="connsiteX19" fmla="*/ 281506 w 290710"/>
                <a:gd name="connsiteY19" fmla="*/ 86519 h 86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0710" h="86518">
                  <a:moveTo>
                    <a:pt x="281506" y="86519"/>
                  </a:moveTo>
                  <a:cubicBezTo>
                    <a:pt x="278438" y="86519"/>
                    <a:pt x="275369" y="83450"/>
                    <a:pt x="275369" y="80382"/>
                  </a:cubicBezTo>
                  <a:cubicBezTo>
                    <a:pt x="275369" y="71178"/>
                    <a:pt x="272301" y="65041"/>
                    <a:pt x="263097" y="61973"/>
                  </a:cubicBezTo>
                  <a:cubicBezTo>
                    <a:pt x="247756" y="49700"/>
                    <a:pt x="223210" y="46632"/>
                    <a:pt x="210938" y="49700"/>
                  </a:cubicBezTo>
                  <a:cubicBezTo>
                    <a:pt x="195597" y="52768"/>
                    <a:pt x="177188" y="40496"/>
                    <a:pt x="161847" y="28223"/>
                  </a:cubicBezTo>
                  <a:cubicBezTo>
                    <a:pt x="155710" y="19019"/>
                    <a:pt x="146506" y="12882"/>
                    <a:pt x="143438" y="12882"/>
                  </a:cubicBezTo>
                  <a:cubicBezTo>
                    <a:pt x="121960" y="9814"/>
                    <a:pt x="109688" y="15950"/>
                    <a:pt x="97415" y="25155"/>
                  </a:cubicBezTo>
                  <a:cubicBezTo>
                    <a:pt x="85142" y="31291"/>
                    <a:pt x="72869" y="37428"/>
                    <a:pt x="57528" y="31291"/>
                  </a:cubicBezTo>
                  <a:cubicBezTo>
                    <a:pt x="36051" y="19019"/>
                    <a:pt x="11506" y="49700"/>
                    <a:pt x="11506" y="49700"/>
                  </a:cubicBezTo>
                  <a:cubicBezTo>
                    <a:pt x="8438" y="52768"/>
                    <a:pt x="5369" y="52768"/>
                    <a:pt x="2301" y="49700"/>
                  </a:cubicBezTo>
                  <a:cubicBezTo>
                    <a:pt x="-767" y="46632"/>
                    <a:pt x="-767" y="43564"/>
                    <a:pt x="2301" y="40496"/>
                  </a:cubicBezTo>
                  <a:cubicBezTo>
                    <a:pt x="2301" y="40496"/>
                    <a:pt x="32983" y="3678"/>
                    <a:pt x="63665" y="19019"/>
                  </a:cubicBezTo>
                  <a:cubicBezTo>
                    <a:pt x="72869" y="25155"/>
                    <a:pt x="79006" y="19019"/>
                    <a:pt x="91278" y="12882"/>
                  </a:cubicBezTo>
                  <a:cubicBezTo>
                    <a:pt x="103551" y="6746"/>
                    <a:pt x="118892" y="-2459"/>
                    <a:pt x="146506" y="609"/>
                  </a:cubicBezTo>
                  <a:cubicBezTo>
                    <a:pt x="155710" y="609"/>
                    <a:pt x="164915" y="9814"/>
                    <a:pt x="174119" y="15950"/>
                  </a:cubicBezTo>
                  <a:cubicBezTo>
                    <a:pt x="186392" y="25155"/>
                    <a:pt x="204801" y="37428"/>
                    <a:pt x="214006" y="34359"/>
                  </a:cubicBezTo>
                  <a:cubicBezTo>
                    <a:pt x="229347" y="31291"/>
                    <a:pt x="256960" y="34359"/>
                    <a:pt x="275369" y="49700"/>
                  </a:cubicBezTo>
                  <a:cubicBezTo>
                    <a:pt x="284574" y="55837"/>
                    <a:pt x="290710" y="65041"/>
                    <a:pt x="290710" y="77314"/>
                  </a:cubicBezTo>
                  <a:cubicBezTo>
                    <a:pt x="287642" y="83450"/>
                    <a:pt x="287642" y="83450"/>
                    <a:pt x="281506" y="86519"/>
                  </a:cubicBezTo>
                  <a:cubicBezTo>
                    <a:pt x="284574" y="86519"/>
                    <a:pt x="281506" y="86519"/>
                    <a:pt x="281506" y="86519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4" name="任意多边形: 形状 413">
              <a:extLst>
                <a:ext uri="{FF2B5EF4-FFF2-40B4-BE49-F238E27FC236}">
                  <a16:creationId xmlns:a16="http://schemas.microsoft.com/office/drawing/2014/main" id="{5F1EDB09-6A8A-46C0-B639-9A7FDBC15F26}"/>
                </a:ext>
              </a:extLst>
            </p:cNvPr>
            <p:cNvSpPr/>
            <p:nvPr/>
          </p:nvSpPr>
          <p:spPr>
            <a:xfrm>
              <a:off x="8451349" y="3036027"/>
              <a:ext cx="552278" cy="1082140"/>
            </a:xfrm>
            <a:custGeom>
              <a:avLst/>
              <a:gdLst>
                <a:gd name="connsiteX0" fmla="*/ 435682 w 552278"/>
                <a:gd name="connsiteY0" fmla="*/ 75777 h 1082140"/>
                <a:gd name="connsiteX1" fmla="*/ 205568 w 552278"/>
                <a:gd name="connsiteY1" fmla="*/ 186231 h 1082140"/>
                <a:gd name="connsiteX2" fmla="*/ 334432 w 552278"/>
                <a:gd name="connsiteY2" fmla="*/ 658731 h 1082140"/>
                <a:gd name="connsiteX3" fmla="*/ 0 w 552278"/>
                <a:gd name="connsiteY3" fmla="*/ 977822 h 1082140"/>
                <a:gd name="connsiteX4" fmla="*/ 76705 w 552278"/>
                <a:gd name="connsiteY4" fmla="*/ 1082140 h 1082140"/>
                <a:gd name="connsiteX5" fmla="*/ 536932 w 552278"/>
                <a:gd name="connsiteY5" fmla="*/ 726231 h 1082140"/>
                <a:gd name="connsiteX6" fmla="*/ 435682 w 552278"/>
                <a:gd name="connsiteY6" fmla="*/ 75777 h 1082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2278" h="1082140">
                  <a:moveTo>
                    <a:pt x="435682" y="75777"/>
                  </a:moveTo>
                  <a:cubicBezTo>
                    <a:pt x="358977" y="-92973"/>
                    <a:pt x="187159" y="54299"/>
                    <a:pt x="205568" y="186231"/>
                  </a:cubicBezTo>
                  <a:cubicBezTo>
                    <a:pt x="220909" y="315095"/>
                    <a:pt x="319091" y="578958"/>
                    <a:pt x="334432" y="658731"/>
                  </a:cubicBezTo>
                  <a:cubicBezTo>
                    <a:pt x="297614" y="747708"/>
                    <a:pt x="0" y="977822"/>
                    <a:pt x="0" y="977822"/>
                  </a:cubicBezTo>
                  <a:cubicBezTo>
                    <a:pt x="21477" y="1002368"/>
                    <a:pt x="76705" y="1082140"/>
                    <a:pt x="76705" y="1082140"/>
                  </a:cubicBezTo>
                  <a:cubicBezTo>
                    <a:pt x="76705" y="1082140"/>
                    <a:pt x="454091" y="830549"/>
                    <a:pt x="536932" y="726231"/>
                  </a:cubicBezTo>
                  <a:cubicBezTo>
                    <a:pt x="582955" y="674072"/>
                    <a:pt x="518523" y="253731"/>
                    <a:pt x="435682" y="75777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5" name="任意多边形: 形状 414">
              <a:extLst>
                <a:ext uri="{FF2B5EF4-FFF2-40B4-BE49-F238E27FC236}">
                  <a16:creationId xmlns:a16="http://schemas.microsoft.com/office/drawing/2014/main" id="{2DDD6499-EC2D-4B87-A1D8-BCFFD1723104}"/>
                </a:ext>
              </a:extLst>
            </p:cNvPr>
            <p:cNvSpPr/>
            <p:nvPr/>
          </p:nvSpPr>
          <p:spPr>
            <a:xfrm>
              <a:off x="5223622" y="2384556"/>
              <a:ext cx="1337816" cy="877588"/>
            </a:xfrm>
            <a:custGeom>
              <a:avLst/>
              <a:gdLst>
                <a:gd name="connsiteX0" fmla="*/ 0 w 1337816"/>
                <a:gd name="connsiteY0" fmla="*/ 877589 h 877588"/>
                <a:gd name="connsiteX1" fmla="*/ 227046 w 1337816"/>
                <a:gd name="connsiteY1" fmla="*/ 537021 h 877588"/>
                <a:gd name="connsiteX2" fmla="*/ 196364 w 1337816"/>
                <a:gd name="connsiteY2" fmla="*/ 211793 h 877588"/>
                <a:gd name="connsiteX3" fmla="*/ 349773 w 1337816"/>
                <a:gd name="connsiteY3" fmla="*/ 36907 h 877588"/>
                <a:gd name="connsiteX4" fmla="*/ 1168977 w 1337816"/>
                <a:gd name="connsiteY4" fmla="*/ 89 h 877588"/>
                <a:gd name="connsiteX5" fmla="*/ 1337727 w 1337816"/>
                <a:gd name="connsiteY5" fmla="*/ 168839 h 877588"/>
                <a:gd name="connsiteX6" fmla="*/ 1313182 w 1337816"/>
                <a:gd name="connsiteY6" fmla="*/ 653612 h 877588"/>
                <a:gd name="connsiteX7" fmla="*/ 1147500 w 1337816"/>
                <a:gd name="connsiteY7" fmla="*/ 807021 h 877588"/>
                <a:gd name="connsiteX8" fmla="*/ 251591 w 1337816"/>
                <a:gd name="connsiteY8" fmla="*/ 779407 h 877588"/>
                <a:gd name="connsiteX9" fmla="*/ 0 w 1337816"/>
                <a:gd name="connsiteY9" fmla="*/ 877589 h 877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37816" h="877588">
                  <a:moveTo>
                    <a:pt x="0" y="877589"/>
                  </a:moveTo>
                  <a:lnTo>
                    <a:pt x="227046" y="537021"/>
                  </a:lnTo>
                  <a:lnTo>
                    <a:pt x="196364" y="211793"/>
                  </a:lnTo>
                  <a:cubicBezTo>
                    <a:pt x="187159" y="119748"/>
                    <a:pt x="257727" y="39975"/>
                    <a:pt x="349773" y="36907"/>
                  </a:cubicBezTo>
                  <a:lnTo>
                    <a:pt x="1168977" y="89"/>
                  </a:lnTo>
                  <a:cubicBezTo>
                    <a:pt x="1264091" y="-2979"/>
                    <a:pt x="1340796" y="73725"/>
                    <a:pt x="1337727" y="168839"/>
                  </a:cubicBezTo>
                  <a:lnTo>
                    <a:pt x="1313182" y="653612"/>
                  </a:lnTo>
                  <a:cubicBezTo>
                    <a:pt x="1310114" y="739521"/>
                    <a:pt x="1236477" y="807021"/>
                    <a:pt x="1147500" y="807021"/>
                  </a:cubicBezTo>
                  <a:lnTo>
                    <a:pt x="251591" y="779407"/>
                  </a:lnTo>
                  <a:lnTo>
                    <a:pt x="0" y="877589"/>
                  </a:ln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6" name="任意多边形: 形状 415">
              <a:extLst>
                <a:ext uri="{FF2B5EF4-FFF2-40B4-BE49-F238E27FC236}">
                  <a16:creationId xmlns:a16="http://schemas.microsoft.com/office/drawing/2014/main" id="{FC0CF270-C2F2-4377-AC53-52E476813003}"/>
                </a:ext>
              </a:extLst>
            </p:cNvPr>
            <p:cNvSpPr/>
            <p:nvPr/>
          </p:nvSpPr>
          <p:spPr>
            <a:xfrm>
              <a:off x="5739181" y="2486662"/>
              <a:ext cx="525810" cy="590624"/>
            </a:xfrm>
            <a:custGeom>
              <a:avLst/>
              <a:gdLst>
                <a:gd name="connsiteX0" fmla="*/ 2963 w 525810"/>
                <a:gd name="connsiteY0" fmla="*/ 115824 h 590624"/>
                <a:gd name="connsiteX1" fmla="*/ 48986 w 525810"/>
                <a:gd name="connsiteY1" fmla="*/ 20710 h 590624"/>
                <a:gd name="connsiteX2" fmla="*/ 134895 w 525810"/>
                <a:gd name="connsiteY2" fmla="*/ 2301 h 590624"/>
                <a:gd name="connsiteX3" fmla="*/ 211599 w 525810"/>
                <a:gd name="connsiteY3" fmla="*/ 48324 h 590624"/>
                <a:gd name="connsiteX4" fmla="*/ 223872 w 525810"/>
                <a:gd name="connsiteY4" fmla="*/ 152642 h 590624"/>
                <a:gd name="connsiteX5" fmla="*/ 177849 w 525810"/>
                <a:gd name="connsiteY5" fmla="*/ 247756 h 590624"/>
                <a:gd name="connsiteX6" fmla="*/ 91940 w 525810"/>
                <a:gd name="connsiteY6" fmla="*/ 266165 h 590624"/>
                <a:gd name="connsiteX7" fmla="*/ 15236 w 525810"/>
                <a:gd name="connsiteY7" fmla="*/ 220142 h 590624"/>
                <a:gd name="connsiteX8" fmla="*/ 2963 w 525810"/>
                <a:gd name="connsiteY8" fmla="*/ 115824 h 590624"/>
                <a:gd name="connsiteX9" fmla="*/ 79668 w 525810"/>
                <a:gd name="connsiteY9" fmla="*/ 128097 h 590624"/>
                <a:gd name="connsiteX10" fmla="*/ 79668 w 525810"/>
                <a:gd name="connsiteY10" fmla="*/ 195597 h 590624"/>
                <a:gd name="connsiteX11" fmla="*/ 101145 w 525810"/>
                <a:gd name="connsiteY11" fmla="*/ 210937 h 590624"/>
                <a:gd name="connsiteX12" fmla="*/ 125690 w 525810"/>
                <a:gd name="connsiteY12" fmla="*/ 201733 h 590624"/>
                <a:gd name="connsiteX13" fmla="*/ 147168 w 525810"/>
                <a:gd name="connsiteY13" fmla="*/ 137301 h 590624"/>
                <a:gd name="connsiteX14" fmla="*/ 147168 w 525810"/>
                <a:gd name="connsiteY14" fmla="*/ 69801 h 590624"/>
                <a:gd name="connsiteX15" fmla="*/ 125690 w 525810"/>
                <a:gd name="connsiteY15" fmla="*/ 54460 h 590624"/>
                <a:gd name="connsiteX16" fmla="*/ 101145 w 525810"/>
                <a:gd name="connsiteY16" fmla="*/ 63665 h 590624"/>
                <a:gd name="connsiteX17" fmla="*/ 79668 w 525810"/>
                <a:gd name="connsiteY17" fmla="*/ 128097 h 590624"/>
                <a:gd name="connsiteX18" fmla="*/ 122622 w 525810"/>
                <a:gd name="connsiteY18" fmla="*/ 545369 h 590624"/>
                <a:gd name="connsiteX19" fmla="*/ 52054 w 525810"/>
                <a:gd name="connsiteY19" fmla="*/ 533097 h 590624"/>
                <a:gd name="connsiteX20" fmla="*/ 407963 w 525810"/>
                <a:gd name="connsiteY20" fmla="*/ 48324 h 590624"/>
                <a:gd name="connsiteX21" fmla="*/ 478531 w 525810"/>
                <a:gd name="connsiteY21" fmla="*/ 60597 h 590624"/>
                <a:gd name="connsiteX22" fmla="*/ 122622 w 525810"/>
                <a:gd name="connsiteY22" fmla="*/ 545369 h 590624"/>
                <a:gd name="connsiteX23" fmla="*/ 300577 w 525810"/>
                <a:gd name="connsiteY23" fmla="*/ 437983 h 590624"/>
                <a:gd name="connsiteX24" fmla="*/ 346599 w 525810"/>
                <a:gd name="connsiteY24" fmla="*/ 342869 h 590624"/>
                <a:gd name="connsiteX25" fmla="*/ 432509 w 525810"/>
                <a:gd name="connsiteY25" fmla="*/ 324460 h 590624"/>
                <a:gd name="connsiteX26" fmla="*/ 509213 w 525810"/>
                <a:gd name="connsiteY26" fmla="*/ 370483 h 590624"/>
                <a:gd name="connsiteX27" fmla="*/ 521486 w 525810"/>
                <a:gd name="connsiteY27" fmla="*/ 474801 h 590624"/>
                <a:gd name="connsiteX28" fmla="*/ 475463 w 525810"/>
                <a:gd name="connsiteY28" fmla="*/ 569915 h 590624"/>
                <a:gd name="connsiteX29" fmla="*/ 389554 w 525810"/>
                <a:gd name="connsiteY29" fmla="*/ 588324 h 590624"/>
                <a:gd name="connsiteX30" fmla="*/ 312850 w 525810"/>
                <a:gd name="connsiteY30" fmla="*/ 542301 h 590624"/>
                <a:gd name="connsiteX31" fmla="*/ 300577 w 525810"/>
                <a:gd name="connsiteY31" fmla="*/ 437983 h 590624"/>
                <a:gd name="connsiteX32" fmla="*/ 374213 w 525810"/>
                <a:gd name="connsiteY32" fmla="*/ 450256 h 590624"/>
                <a:gd name="connsiteX33" fmla="*/ 374213 w 525810"/>
                <a:gd name="connsiteY33" fmla="*/ 517756 h 590624"/>
                <a:gd name="connsiteX34" fmla="*/ 395690 w 525810"/>
                <a:gd name="connsiteY34" fmla="*/ 533097 h 590624"/>
                <a:gd name="connsiteX35" fmla="*/ 420236 w 525810"/>
                <a:gd name="connsiteY35" fmla="*/ 523892 h 590624"/>
                <a:gd name="connsiteX36" fmla="*/ 441713 w 525810"/>
                <a:gd name="connsiteY36" fmla="*/ 459460 h 590624"/>
                <a:gd name="connsiteX37" fmla="*/ 441713 w 525810"/>
                <a:gd name="connsiteY37" fmla="*/ 391960 h 590624"/>
                <a:gd name="connsiteX38" fmla="*/ 420236 w 525810"/>
                <a:gd name="connsiteY38" fmla="*/ 376619 h 590624"/>
                <a:gd name="connsiteX39" fmla="*/ 395690 w 525810"/>
                <a:gd name="connsiteY39" fmla="*/ 385824 h 590624"/>
                <a:gd name="connsiteX40" fmla="*/ 374213 w 525810"/>
                <a:gd name="connsiteY40" fmla="*/ 450256 h 590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25810" h="590624">
                  <a:moveTo>
                    <a:pt x="2963" y="115824"/>
                  </a:moveTo>
                  <a:cubicBezTo>
                    <a:pt x="9099" y="69801"/>
                    <a:pt x="24440" y="39119"/>
                    <a:pt x="48986" y="20710"/>
                  </a:cubicBezTo>
                  <a:cubicBezTo>
                    <a:pt x="73531" y="2301"/>
                    <a:pt x="101145" y="-3835"/>
                    <a:pt x="134895" y="2301"/>
                  </a:cubicBezTo>
                  <a:cubicBezTo>
                    <a:pt x="168645" y="8438"/>
                    <a:pt x="196259" y="23778"/>
                    <a:pt x="211599" y="48324"/>
                  </a:cubicBezTo>
                  <a:cubicBezTo>
                    <a:pt x="226940" y="72869"/>
                    <a:pt x="233077" y="109688"/>
                    <a:pt x="223872" y="152642"/>
                  </a:cubicBezTo>
                  <a:cubicBezTo>
                    <a:pt x="217736" y="198665"/>
                    <a:pt x="202395" y="229347"/>
                    <a:pt x="177849" y="247756"/>
                  </a:cubicBezTo>
                  <a:cubicBezTo>
                    <a:pt x="153304" y="266165"/>
                    <a:pt x="125690" y="272301"/>
                    <a:pt x="91940" y="266165"/>
                  </a:cubicBezTo>
                  <a:cubicBezTo>
                    <a:pt x="58190" y="260028"/>
                    <a:pt x="30577" y="244688"/>
                    <a:pt x="15236" y="220142"/>
                  </a:cubicBezTo>
                  <a:cubicBezTo>
                    <a:pt x="-105" y="198665"/>
                    <a:pt x="-3173" y="161847"/>
                    <a:pt x="2963" y="115824"/>
                  </a:cubicBezTo>
                  <a:close/>
                  <a:moveTo>
                    <a:pt x="79668" y="128097"/>
                  </a:moveTo>
                  <a:cubicBezTo>
                    <a:pt x="73531" y="161847"/>
                    <a:pt x="73531" y="183324"/>
                    <a:pt x="79668" y="195597"/>
                  </a:cubicBezTo>
                  <a:cubicBezTo>
                    <a:pt x="82736" y="204801"/>
                    <a:pt x="91940" y="210937"/>
                    <a:pt x="101145" y="210937"/>
                  </a:cubicBezTo>
                  <a:cubicBezTo>
                    <a:pt x="110350" y="214006"/>
                    <a:pt x="119554" y="210937"/>
                    <a:pt x="125690" y="201733"/>
                  </a:cubicBezTo>
                  <a:cubicBezTo>
                    <a:pt x="134895" y="192528"/>
                    <a:pt x="141031" y="171051"/>
                    <a:pt x="147168" y="137301"/>
                  </a:cubicBezTo>
                  <a:cubicBezTo>
                    <a:pt x="153304" y="103551"/>
                    <a:pt x="153304" y="82074"/>
                    <a:pt x="147168" y="69801"/>
                  </a:cubicBezTo>
                  <a:cubicBezTo>
                    <a:pt x="144100" y="60597"/>
                    <a:pt x="134895" y="54460"/>
                    <a:pt x="125690" y="54460"/>
                  </a:cubicBezTo>
                  <a:cubicBezTo>
                    <a:pt x="116486" y="51392"/>
                    <a:pt x="107281" y="54460"/>
                    <a:pt x="101145" y="63665"/>
                  </a:cubicBezTo>
                  <a:cubicBezTo>
                    <a:pt x="91940" y="75938"/>
                    <a:pt x="85804" y="97415"/>
                    <a:pt x="79668" y="128097"/>
                  </a:cubicBezTo>
                  <a:close/>
                  <a:moveTo>
                    <a:pt x="122622" y="545369"/>
                  </a:moveTo>
                  <a:lnTo>
                    <a:pt x="52054" y="533097"/>
                  </a:lnTo>
                  <a:lnTo>
                    <a:pt x="407963" y="48324"/>
                  </a:lnTo>
                  <a:lnTo>
                    <a:pt x="478531" y="60597"/>
                  </a:lnTo>
                  <a:lnTo>
                    <a:pt x="122622" y="545369"/>
                  </a:lnTo>
                  <a:close/>
                  <a:moveTo>
                    <a:pt x="300577" y="437983"/>
                  </a:moveTo>
                  <a:cubicBezTo>
                    <a:pt x="306713" y="391960"/>
                    <a:pt x="322054" y="361278"/>
                    <a:pt x="346599" y="342869"/>
                  </a:cubicBezTo>
                  <a:cubicBezTo>
                    <a:pt x="371145" y="324460"/>
                    <a:pt x="398758" y="318324"/>
                    <a:pt x="432509" y="324460"/>
                  </a:cubicBezTo>
                  <a:cubicBezTo>
                    <a:pt x="466259" y="330597"/>
                    <a:pt x="493872" y="345938"/>
                    <a:pt x="509213" y="370483"/>
                  </a:cubicBezTo>
                  <a:cubicBezTo>
                    <a:pt x="524554" y="395028"/>
                    <a:pt x="530690" y="431847"/>
                    <a:pt x="521486" y="474801"/>
                  </a:cubicBezTo>
                  <a:cubicBezTo>
                    <a:pt x="515349" y="520824"/>
                    <a:pt x="500009" y="551506"/>
                    <a:pt x="475463" y="569915"/>
                  </a:cubicBezTo>
                  <a:cubicBezTo>
                    <a:pt x="450918" y="588324"/>
                    <a:pt x="423304" y="594460"/>
                    <a:pt x="389554" y="588324"/>
                  </a:cubicBezTo>
                  <a:cubicBezTo>
                    <a:pt x="355804" y="582188"/>
                    <a:pt x="328190" y="566847"/>
                    <a:pt x="312850" y="542301"/>
                  </a:cubicBezTo>
                  <a:cubicBezTo>
                    <a:pt x="297509" y="517756"/>
                    <a:pt x="291372" y="484006"/>
                    <a:pt x="300577" y="437983"/>
                  </a:cubicBezTo>
                  <a:close/>
                  <a:moveTo>
                    <a:pt x="374213" y="450256"/>
                  </a:moveTo>
                  <a:cubicBezTo>
                    <a:pt x="368077" y="484006"/>
                    <a:pt x="368077" y="505483"/>
                    <a:pt x="374213" y="517756"/>
                  </a:cubicBezTo>
                  <a:cubicBezTo>
                    <a:pt x="377281" y="526960"/>
                    <a:pt x="386486" y="533097"/>
                    <a:pt x="395690" y="533097"/>
                  </a:cubicBezTo>
                  <a:cubicBezTo>
                    <a:pt x="404895" y="536165"/>
                    <a:pt x="414099" y="533097"/>
                    <a:pt x="420236" y="523892"/>
                  </a:cubicBezTo>
                  <a:cubicBezTo>
                    <a:pt x="429440" y="514688"/>
                    <a:pt x="435577" y="493210"/>
                    <a:pt x="441713" y="459460"/>
                  </a:cubicBezTo>
                  <a:cubicBezTo>
                    <a:pt x="447850" y="425710"/>
                    <a:pt x="447850" y="404233"/>
                    <a:pt x="441713" y="391960"/>
                  </a:cubicBezTo>
                  <a:cubicBezTo>
                    <a:pt x="438645" y="382756"/>
                    <a:pt x="429440" y="376619"/>
                    <a:pt x="420236" y="376619"/>
                  </a:cubicBezTo>
                  <a:cubicBezTo>
                    <a:pt x="411031" y="373551"/>
                    <a:pt x="401827" y="376619"/>
                    <a:pt x="395690" y="385824"/>
                  </a:cubicBezTo>
                  <a:cubicBezTo>
                    <a:pt x="386486" y="398097"/>
                    <a:pt x="380349" y="416506"/>
                    <a:pt x="374213" y="450256"/>
                  </a:cubicBezTo>
                  <a:close/>
                </a:path>
              </a:pathLst>
            </a:custGeom>
            <a:solidFill>
              <a:srgbClr val="D16156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7" name="任意多边形: 形状 416">
              <a:extLst>
                <a:ext uri="{FF2B5EF4-FFF2-40B4-BE49-F238E27FC236}">
                  <a16:creationId xmlns:a16="http://schemas.microsoft.com/office/drawing/2014/main" id="{01781BDB-F944-4040-9B60-CC346E2AFC40}"/>
                </a:ext>
              </a:extLst>
            </p:cNvPr>
            <p:cNvSpPr/>
            <p:nvPr/>
          </p:nvSpPr>
          <p:spPr>
            <a:xfrm>
              <a:off x="8607212" y="2911467"/>
              <a:ext cx="393341" cy="446319"/>
            </a:xfrm>
            <a:custGeom>
              <a:avLst/>
              <a:gdLst>
                <a:gd name="connsiteX0" fmla="*/ 393342 w 393341"/>
                <a:gd name="connsiteY0" fmla="*/ 277042 h 446319"/>
                <a:gd name="connsiteX1" fmla="*/ 95728 w 393341"/>
                <a:gd name="connsiteY1" fmla="*/ 906 h 446319"/>
                <a:gd name="connsiteX2" fmla="*/ 55842 w 393341"/>
                <a:gd name="connsiteY2" fmla="*/ 445792 h 446319"/>
                <a:gd name="connsiteX3" fmla="*/ 393342 w 393341"/>
                <a:gd name="connsiteY3" fmla="*/ 277042 h 44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341" h="446319">
                  <a:moveTo>
                    <a:pt x="393342" y="277042"/>
                  </a:moveTo>
                  <a:cubicBezTo>
                    <a:pt x="328910" y="102156"/>
                    <a:pt x="175501" y="-11367"/>
                    <a:pt x="95728" y="906"/>
                  </a:cubicBezTo>
                  <a:cubicBezTo>
                    <a:pt x="-8590" y="16247"/>
                    <a:pt x="-36203" y="258633"/>
                    <a:pt x="55842" y="445792"/>
                  </a:cubicBezTo>
                  <a:cubicBezTo>
                    <a:pt x="129478" y="454997"/>
                    <a:pt x="310501" y="341474"/>
                    <a:pt x="393342" y="277042"/>
                  </a:cubicBezTo>
                  <a:close/>
                </a:path>
              </a:pathLst>
            </a:custGeom>
            <a:solidFill>
              <a:srgbClr val="F6EBE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8" name="任意多边形: 形状 417">
              <a:extLst>
                <a:ext uri="{FF2B5EF4-FFF2-40B4-BE49-F238E27FC236}">
                  <a16:creationId xmlns:a16="http://schemas.microsoft.com/office/drawing/2014/main" id="{520B1205-87FD-4B57-9662-ED2FA6E14B1F}"/>
                </a:ext>
              </a:extLst>
            </p:cNvPr>
            <p:cNvSpPr/>
            <p:nvPr/>
          </p:nvSpPr>
          <p:spPr>
            <a:xfrm>
              <a:off x="8608393" y="2918509"/>
              <a:ext cx="198865" cy="444886"/>
            </a:xfrm>
            <a:custGeom>
              <a:avLst/>
              <a:gdLst>
                <a:gd name="connsiteX0" fmla="*/ 63865 w 198865"/>
                <a:gd name="connsiteY0" fmla="*/ 444886 h 444886"/>
                <a:gd name="connsiteX1" fmla="*/ 51592 w 198865"/>
                <a:gd name="connsiteY1" fmla="*/ 441818 h 444886"/>
                <a:gd name="connsiteX2" fmla="*/ 51592 w 198865"/>
                <a:gd name="connsiteY2" fmla="*/ 441818 h 444886"/>
                <a:gd name="connsiteX3" fmla="*/ 51592 w 198865"/>
                <a:gd name="connsiteY3" fmla="*/ 441818 h 444886"/>
                <a:gd name="connsiteX4" fmla="*/ 17843 w 198865"/>
                <a:gd name="connsiteY4" fmla="*/ 55227 h 444886"/>
                <a:gd name="connsiteX5" fmla="*/ 63865 w 198865"/>
                <a:gd name="connsiteY5" fmla="*/ 0 h 444886"/>
                <a:gd name="connsiteX6" fmla="*/ 70002 w 198865"/>
                <a:gd name="connsiteY6" fmla="*/ 3068 h 444886"/>
                <a:gd name="connsiteX7" fmla="*/ 66933 w 198865"/>
                <a:gd name="connsiteY7" fmla="*/ 9205 h 444886"/>
                <a:gd name="connsiteX8" fmla="*/ 27047 w 198865"/>
                <a:gd name="connsiteY8" fmla="*/ 58296 h 444886"/>
                <a:gd name="connsiteX9" fmla="*/ 57729 w 198865"/>
                <a:gd name="connsiteY9" fmla="*/ 432614 h 444886"/>
                <a:gd name="connsiteX10" fmla="*/ 189661 w 198865"/>
                <a:gd name="connsiteY10" fmla="*/ 383523 h 444886"/>
                <a:gd name="connsiteX11" fmla="*/ 198865 w 198865"/>
                <a:gd name="connsiteY11" fmla="*/ 386591 h 444886"/>
                <a:gd name="connsiteX12" fmla="*/ 195797 w 198865"/>
                <a:gd name="connsiteY12" fmla="*/ 395796 h 444886"/>
                <a:gd name="connsiteX13" fmla="*/ 63865 w 198865"/>
                <a:gd name="connsiteY13" fmla="*/ 444886 h 444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8865" h="444886">
                  <a:moveTo>
                    <a:pt x="63865" y="444886"/>
                  </a:moveTo>
                  <a:cubicBezTo>
                    <a:pt x="54661" y="444886"/>
                    <a:pt x="51592" y="441818"/>
                    <a:pt x="51592" y="441818"/>
                  </a:cubicBezTo>
                  <a:lnTo>
                    <a:pt x="51592" y="441818"/>
                  </a:lnTo>
                  <a:lnTo>
                    <a:pt x="51592" y="441818"/>
                  </a:lnTo>
                  <a:cubicBezTo>
                    <a:pt x="5570" y="349773"/>
                    <a:pt x="-18975" y="153409"/>
                    <a:pt x="17843" y="55227"/>
                  </a:cubicBezTo>
                  <a:cubicBezTo>
                    <a:pt x="30115" y="27614"/>
                    <a:pt x="45456" y="6136"/>
                    <a:pt x="63865" y="0"/>
                  </a:cubicBezTo>
                  <a:cubicBezTo>
                    <a:pt x="66933" y="0"/>
                    <a:pt x="70002" y="0"/>
                    <a:pt x="70002" y="3068"/>
                  </a:cubicBezTo>
                  <a:cubicBezTo>
                    <a:pt x="70002" y="6136"/>
                    <a:pt x="70002" y="9205"/>
                    <a:pt x="66933" y="9205"/>
                  </a:cubicBezTo>
                  <a:cubicBezTo>
                    <a:pt x="48525" y="15341"/>
                    <a:pt x="36252" y="33750"/>
                    <a:pt x="27047" y="58296"/>
                  </a:cubicBezTo>
                  <a:cubicBezTo>
                    <a:pt x="-9771" y="153409"/>
                    <a:pt x="14774" y="343636"/>
                    <a:pt x="57729" y="432614"/>
                  </a:cubicBezTo>
                  <a:cubicBezTo>
                    <a:pt x="63865" y="432614"/>
                    <a:pt x="94547" y="435682"/>
                    <a:pt x="189661" y="383523"/>
                  </a:cubicBezTo>
                  <a:cubicBezTo>
                    <a:pt x="192729" y="383523"/>
                    <a:pt x="195797" y="383523"/>
                    <a:pt x="198865" y="386591"/>
                  </a:cubicBezTo>
                  <a:cubicBezTo>
                    <a:pt x="198865" y="389659"/>
                    <a:pt x="198865" y="392727"/>
                    <a:pt x="195797" y="395796"/>
                  </a:cubicBezTo>
                  <a:cubicBezTo>
                    <a:pt x="119093" y="435682"/>
                    <a:pt x="79206" y="444886"/>
                    <a:pt x="63865" y="444886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19" name="图形 1">
              <a:extLst>
                <a:ext uri="{FF2B5EF4-FFF2-40B4-BE49-F238E27FC236}">
                  <a16:creationId xmlns:a16="http://schemas.microsoft.com/office/drawing/2014/main" id="{0D323808-9636-430D-AD2B-F892808812C7}"/>
                </a:ext>
              </a:extLst>
            </p:cNvPr>
            <p:cNvGrpSpPr/>
            <p:nvPr/>
          </p:nvGrpSpPr>
          <p:grpSpPr>
            <a:xfrm>
              <a:off x="8061690" y="4081350"/>
              <a:ext cx="630248" cy="230113"/>
              <a:chOff x="8061690" y="4081350"/>
              <a:chExt cx="630248" cy="230113"/>
            </a:xfrm>
            <a:solidFill>
              <a:srgbClr val="38343B"/>
            </a:solidFill>
          </p:grpSpPr>
          <p:sp>
            <p:nvSpPr>
              <p:cNvPr id="420" name="任意多边形: 形状 419">
                <a:extLst>
                  <a:ext uri="{FF2B5EF4-FFF2-40B4-BE49-F238E27FC236}">
                    <a16:creationId xmlns:a16="http://schemas.microsoft.com/office/drawing/2014/main" id="{B413F688-26E7-4662-BA92-F6901B94AB43}"/>
                  </a:ext>
                </a:extLst>
              </p:cNvPr>
              <p:cNvSpPr/>
              <p:nvPr/>
            </p:nvSpPr>
            <p:spPr>
              <a:xfrm>
                <a:off x="8061690" y="4213281"/>
                <a:ext cx="630248" cy="98181"/>
              </a:xfrm>
              <a:custGeom>
                <a:avLst/>
                <a:gdLst>
                  <a:gd name="connsiteX0" fmla="*/ 6137 w 630248"/>
                  <a:gd name="connsiteY0" fmla="*/ 98182 h 98181"/>
                  <a:gd name="connsiteX1" fmla="*/ 0 w 630248"/>
                  <a:gd name="connsiteY1" fmla="*/ 95114 h 98181"/>
                  <a:gd name="connsiteX2" fmla="*/ 3068 w 630248"/>
                  <a:gd name="connsiteY2" fmla="*/ 88977 h 98181"/>
                  <a:gd name="connsiteX3" fmla="*/ 343637 w 630248"/>
                  <a:gd name="connsiteY3" fmla="*/ 0 h 98181"/>
                  <a:gd name="connsiteX4" fmla="*/ 343637 w 630248"/>
                  <a:gd name="connsiteY4" fmla="*/ 0 h 98181"/>
                  <a:gd name="connsiteX5" fmla="*/ 625909 w 630248"/>
                  <a:gd name="connsiteY5" fmla="*/ 73636 h 98181"/>
                  <a:gd name="connsiteX6" fmla="*/ 628977 w 630248"/>
                  <a:gd name="connsiteY6" fmla="*/ 79773 h 98181"/>
                  <a:gd name="connsiteX7" fmla="*/ 622841 w 630248"/>
                  <a:gd name="connsiteY7" fmla="*/ 82841 h 98181"/>
                  <a:gd name="connsiteX8" fmla="*/ 340568 w 630248"/>
                  <a:gd name="connsiteY8" fmla="*/ 9205 h 98181"/>
                  <a:gd name="connsiteX9" fmla="*/ 6137 w 630248"/>
                  <a:gd name="connsiteY9" fmla="*/ 98182 h 98181"/>
                  <a:gd name="connsiteX10" fmla="*/ 6137 w 630248"/>
                  <a:gd name="connsiteY10" fmla="*/ 98182 h 98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30248" h="98181">
                    <a:moveTo>
                      <a:pt x="6137" y="98182"/>
                    </a:moveTo>
                    <a:cubicBezTo>
                      <a:pt x="3068" y="98182"/>
                      <a:pt x="0" y="95114"/>
                      <a:pt x="0" y="95114"/>
                    </a:cubicBezTo>
                    <a:cubicBezTo>
                      <a:pt x="0" y="92045"/>
                      <a:pt x="0" y="88977"/>
                      <a:pt x="3068" y="88977"/>
                    </a:cubicBezTo>
                    <a:lnTo>
                      <a:pt x="343637" y="0"/>
                    </a:lnTo>
                    <a:lnTo>
                      <a:pt x="343637" y="0"/>
                    </a:lnTo>
                    <a:lnTo>
                      <a:pt x="625909" y="73636"/>
                    </a:lnTo>
                    <a:cubicBezTo>
                      <a:pt x="628977" y="73636"/>
                      <a:pt x="632046" y="76705"/>
                      <a:pt x="628977" y="79773"/>
                    </a:cubicBezTo>
                    <a:cubicBezTo>
                      <a:pt x="628977" y="82841"/>
                      <a:pt x="625909" y="85909"/>
                      <a:pt x="622841" y="82841"/>
                    </a:cubicBezTo>
                    <a:lnTo>
                      <a:pt x="340568" y="9205"/>
                    </a:lnTo>
                    <a:lnTo>
                      <a:pt x="6137" y="98182"/>
                    </a:lnTo>
                    <a:cubicBezTo>
                      <a:pt x="9205" y="98182"/>
                      <a:pt x="6137" y="98182"/>
                      <a:pt x="6137" y="981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1" name="任意多边形: 形状 420">
                <a:extLst>
                  <a:ext uri="{FF2B5EF4-FFF2-40B4-BE49-F238E27FC236}">
                    <a16:creationId xmlns:a16="http://schemas.microsoft.com/office/drawing/2014/main" id="{09293D2B-58FB-4C87-A2E8-FCCE29F29443}"/>
                  </a:ext>
                </a:extLst>
              </p:cNvPr>
              <p:cNvSpPr/>
              <p:nvPr/>
            </p:nvSpPr>
            <p:spPr>
              <a:xfrm>
                <a:off x="8331690" y="4081350"/>
                <a:ext cx="128863" cy="138068"/>
              </a:xfrm>
              <a:custGeom>
                <a:avLst/>
                <a:gdLst>
                  <a:gd name="connsiteX0" fmla="*/ 76705 w 128863"/>
                  <a:gd name="connsiteY0" fmla="*/ 138068 h 138068"/>
                  <a:gd name="connsiteX1" fmla="*/ 73637 w 128863"/>
                  <a:gd name="connsiteY1" fmla="*/ 138068 h 138068"/>
                  <a:gd name="connsiteX2" fmla="*/ 73637 w 128863"/>
                  <a:gd name="connsiteY2" fmla="*/ 128864 h 138068"/>
                  <a:gd name="connsiteX3" fmla="*/ 116591 w 128863"/>
                  <a:gd name="connsiteY3" fmla="*/ 64432 h 138068"/>
                  <a:gd name="connsiteX4" fmla="*/ 64432 w 128863"/>
                  <a:gd name="connsiteY4" fmla="*/ 12273 h 138068"/>
                  <a:gd name="connsiteX5" fmla="*/ 64432 w 128863"/>
                  <a:gd name="connsiteY5" fmla="*/ 12273 h 138068"/>
                  <a:gd name="connsiteX6" fmla="*/ 27614 w 128863"/>
                  <a:gd name="connsiteY6" fmla="*/ 27614 h 138068"/>
                  <a:gd name="connsiteX7" fmla="*/ 12273 w 128863"/>
                  <a:gd name="connsiteY7" fmla="*/ 64432 h 138068"/>
                  <a:gd name="connsiteX8" fmla="*/ 12273 w 128863"/>
                  <a:gd name="connsiteY8" fmla="*/ 76705 h 138068"/>
                  <a:gd name="connsiteX9" fmla="*/ 6136 w 128863"/>
                  <a:gd name="connsiteY9" fmla="*/ 82841 h 138068"/>
                  <a:gd name="connsiteX10" fmla="*/ 6136 w 128863"/>
                  <a:gd name="connsiteY10" fmla="*/ 82841 h 138068"/>
                  <a:gd name="connsiteX11" fmla="*/ 0 w 128863"/>
                  <a:gd name="connsiteY11" fmla="*/ 76705 h 138068"/>
                  <a:gd name="connsiteX12" fmla="*/ 0 w 128863"/>
                  <a:gd name="connsiteY12" fmla="*/ 64432 h 138068"/>
                  <a:gd name="connsiteX13" fmla="*/ 18409 w 128863"/>
                  <a:gd name="connsiteY13" fmla="*/ 18409 h 138068"/>
                  <a:gd name="connsiteX14" fmla="*/ 64432 w 128863"/>
                  <a:gd name="connsiteY14" fmla="*/ 0 h 138068"/>
                  <a:gd name="connsiteX15" fmla="*/ 64432 w 128863"/>
                  <a:gd name="connsiteY15" fmla="*/ 0 h 138068"/>
                  <a:gd name="connsiteX16" fmla="*/ 110455 w 128863"/>
                  <a:gd name="connsiteY16" fmla="*/ 18409 h 138068"/>
                  <a:gd name="connsiteX17" fmla="*/ 128864 w 128863"/>
                  <a:gd name="connsiteY17" fmla="*/ 64432 h 138068"/>
                  <a:gd name="connsiteX18" fmla="*/ 128864 w 128863"/>
                  <a:gd name="connsiteY18" fmla="*/ 67500 h 138068"/>
                  <a:gd name="connsiteX19" fmla="*/ 79773 w 128863"/>
                  <a:gd name="connsiteY19" fmla="*/ 138068 h 138068"/>
                  <a:gd name="connsiteX20" fmla="*/ 76705 w 128863"/>
                  <a:gd name="connsiteY20" fmla="*/ 138068 h 138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28863" h="138068">
                    <a:moveTo>
                      <a:pt x="76705" y="138068"/>
                    </a:moveTo>
                    <a:cubicBezTo>
                      <a:pt x="76705" y="138068"/>
                      <a:pt x="73637" y="138068"/>
                      <a:pt x="73637" y="138068"/>
                    </a:cubicBezTo>
                    <a:cubicBezTo>
                      <a:pt x="70568" y="135000"/>
                      <a:pt x="70568" y="131932"/>
                      <a:pt x="73637" y="128864"/>
                    </a:cubicBezTo>
                    <a:lnTo>
                      <a:pt x="116591" y="64432"/>
                    </a:lnTo>
                    <a:cubicBezTo>
                      <a:pt x="116591" y="36818"/>
                      <a:pt x="92045" y="12273"/>
                      <a:pt x="64432" y="12273"/>
                    </a:cubicBezTo>
                    <a:cubicBezTo>
                      <a:pt x="64432" y="12273"/>
                      <a:pt x="64432" y="12273"/>
                      <a:pt x="64432" y="12273"/>
                    </a:cubicBezTo>
                    <a:cubicBezTo>
                      <a:pt x="49091" y="12273"/>
                      <a:pt x="36818" y="18409"/>
                      <a:pt x="27614" y="27614"/>
                    </a:cubicBezTo>
                    <a:cubicBezTo>
                      <a:pt x="18409" y="36818"/>
                      <a:pt x="12273" y="52159"/>
                      <a:pt x="12273" y="64432"/>
                    </a:cubicBezTo>
                    <a:lnTo>
                      <a:pt x="12273" y="76705"/>
                    </a:lnTo>
                    <a:cubicBezTo>
                      <a:pt x="12273" y="79773"/>
                      <a:pt x="9205" y="82841"/>
                      <a:pt x="6136" y="82841"/>
                    </a:cubicBezTo>
                    <a:cubicBezTo>
                      <a:pt x="6136" y="82841"/>
                      <a:pt x="6136" y="82841"/>
                      <a:pt x="6136" y="82841"/>
                    </a:cubicBezTo>
                    <a:cubicBezTo>
                      <a:pt x="3068" y="82841"/>
                      <a:pt x="0" y="79773"/>
                      <a:pt x="0" y="76705"/>
                    </a:cubicBezTo>
                    <a:lnTo>
                      <a:pt x="0" y="64432"/>
                    </a:lnTo>
                    <a:cubicBezTo>
                      <a:pt x="0" y="46023"/>
                      <a:pt x="6136" y="30682"/>
                      <a:pt x="18409" y="18409"/>
                    </a:cubicBezTo>
                    <a:cubicBezTo>
                      <a:pt x="30682" y="6136"/>
                      <a:pt x="46023" y="0"/>
                      <a:pt x="64432" y="0"/>
                    </a:cubicBezTo>
                    <a:cubicBezTo>
                      <a:pt x="64432" y="0"/>
                      <a:pt x="64432" y="0"/>
                      <a:pt x="64432" y="0"/>
                    </a:cubicBezTo>
                    <a:cubicBezTo>
                      <a:pt x="82841" y="0"/>
                      <a:pt x="98182" y="6136"/>
                      <a:pt x="110455" y="18409"/>
                    </a:cubicBezTo>
                    <a:cubicBezTo>
                      <a:pt x="122727" y="30682"/>
                      <a:pt x="128864" y="46023"/>
                      <a:pt x="128864" y="64432"/>
                    </a:cubicBezTo>
                    <a:lnTo>
                      <a:pt x="128864" y="67500"/>
                    </a:lnTo>
                    <a:lnTo>
                      <a:pt x="79773" y="138068"/>
                    </a:lnTo>
                    <a:cubicBezTo>
                      <a:pt x="79773" y="138068"/>
                      <a:pt x="76705" y="138068"/>
                      <a:pt x="76705" y="1380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22" name="图形 1">
              <a:extLst>
                <a:ext uri="{FF2B5EF4-FFF2-40B4-BE49-F238E27FC236}">
                  <a16:creationId xmlns:a16="http://schemas.microsoft.com/office/drawing/2014/main" id="{0D323808-9636-430D-AD2B-F892808812C7}"/>
                </a:ext>
              </a:extLst>
            </p:cNvPr>
            <p:cNvGrpSpPr/>
            <p:nvPr/>
          </p:nvGrpSpPr>
          <p:grpSpPr>
            <a:xfrm>
              <a:off x="7908281" y="4250100"/>
              <a:ext cx="1000227" cy="831477"/>
              <a:chOff x="7908281" y="4250100"/>
              <a:chExt cx="1000227" cy="831477"/>
            </a:xfrm>
          </p:grpSpPr>
          <p:sp>
            <p:nvSpPr>
              <p:cNvPr id="423" name="任意多边形: 形状 422">
                <a:extLst>
                  <a:ext uri="{FF2B5EF4-FFF2-40B4-BE49-F238E27FC236}">
                    <a16:creationId xmlns:a16="http://schemas.microsoft.com/office/drawing/2014/main" id="{822B9D90-4FAB-4E01-B9F0-BB763F7EFF47}"/>
                  </a:ext>
                </a:extLst>
              </p:cNvPr>
              <p:cNvSpPr/>
              <p:nvPr/>
            </p:nvSpPr>
            <p:spPr>
              <a:xfrm>
                <a:off x="7908281" y="4250100"/>
                <a:ext cx="1000227" cy="831477"/>
              </a:xfrm>
              <a:custGeom>
                <a:avLst/>
                <a:gdLst>
                  <a:gd name="connsiteX0" fmla="*/ 837614 w 1000227"/>
                  <a:gd name="connsiteY0" fmla="*/ 294545 h 831477"/>
                  <a:gd name="connsiteX1" fmla="*/ 883636 w 1000227"/>
                  <a:gd name="connsiteY1" fmla="*/ 312954 h 831477"/>
                  <a:gd name="connsiteX2" fmla="*/ 1000227 w 1000227"/>
                  <a:gd name="connsiteY2" fmla="*/ 165682 h 831477"/>
                  <a:gd name="connsiteX3" fmla="*/ 754773 w 1000227"/>
                  <a:gd name="connsiteY3" fmla="*/ 0 h 831477"/>
                  <a:gd name="connsiteX4" fmla="*/ 497046 w 1000227"/>
                  <a:gd name="connsiteY4" fmla="*/ 92045 h 831477"/>
                  <a:gd name="connsiteX5" fmla="*/ 236250 w 1000227"/>
                  <a:gd name="connsiteY5" fmla="*/ 9204 h 831477"/>
                  <a:gd name="connsiteX6" fmla="*/ 0 w 1000227"/>
                  <a:gd name="connsiteY6" fmla="*/ 181023 h 831477"/>
                  <a:gd name="connsiteX7" fmla="*/ 122727 w 1000227"/>
                  <a:gd name="connsiteY7" fmla="*/ 325227 h 831477"/>
                  <a:gd name="connsiteX8" fmla="*/ 177955 w 1000227"/>
                  <a:gd name="connsiteY8" fmla="*/ 300682 h 831477"/>
                  <a:gd name="connsiteX9" fmla="*/ 193296 w 1000227"/>
                  <a:gd name="connsiteY9" fmla="*/ 619773 h 831477"/>
                  <a:gd name="connsiteX10" fmla="*/ 128864 w 1000227"/>
                  <a:gd name="connsiteY10" fmla="*/ 831477 h 831477"/>
                  <a:gd name="connsiteX11" fmla="*/ 889773 w 1000227"/>
                  <a:gd name="connsiteY11" fmla="*/ 819204 h 831477"/>
                  <a:gd name="connsiteX12" fmla="*/ 825341 w 1000227"/>
                  <a:gd name="connsiteY12" fmla="*/ 570682 h 831477"/>
                  <a:gd name="connsiteX13" fmla="*/ 828409 w 1000227"/>
                  <a:gd name="connsiteY13" fmla="*/ 322159 h 831477"/>
                  <a:gd name="connsiteX14" fmla="*/ 837614 w 1000227"/>
                  <a:gd name="connsiteY14" fmla="*/ 294545 h 831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00227" h="831477">
                    <a:moveTo>
                      <a:pt x="837614" y="294545"/>
                    </a:moveTo>
                    <a:lnTo>
                      <a:pt x="883636" y="312954"/>
                    </a:lnTo>
                    <a:lnTo>
                      <a:pt x="1000227" y="165682"/>
                    </a:lnTo>
                    <a:cubicBezTo>
                      <a:pt x="957273" y="70568"/>
                      <a:pt x="754773" y="0"/>
                      <a:pt x="754773" y="0"/>
                    </a:cubicBezTo>
                    <a:lnTo>
                      <a:pt x="497046" y="92045"/>
                    </a:lnTo>
                    <a:lnTo>
                      <a:pt x="236250" y="9204"/>
                    </a:lnTo>
                    <a:cubicBezTo>
                      <a:pt x="236250" y="9204"/>
                      <a:pt x="36819" y="85909"/>
                      <a:pt x="0" y="181023"/>
                    </a:cubicBezTo>
                    <a:lnTo>
                      <a:pt x="122727" y="325227"/>
                    </a:lnTo>
                    <a:lnTo>
                      <a:pt x="177955" y="300682"/>
                    </a:lnTo>
                    <a:cubicBezTo>
                      <a:pt x="220909" y="401932"/>
                      <a:pt x="227046" y="515454"/>
                      <a:pt x="193296" y="619773"/>
                    </a:cubicBezTo>
                    <a:lnTo>
                      <a:pt x="128864" y="831477"/>
                    </a:lnTo>
                    <a:lnTo>
                      <a:pt x="889773" y="819204"/>
                    </a:lnTo>
                    <a:lnTo>
                      <a:pt x="825341" y="570682"/>
                    </a:lnTo>
                    <a:cubicBezTo>
                      <a:pt x="803864" y="487841"/>
                      <a:pt x="803864" y="401932"/>
                      <a:pt x="828409" y="322159"/>
                    </a:cubicBezTo>
                    <a:lnTo>
                      <a:pt x="837614" y="294545"/>
                    </a:lnTo>
                    <a:close/>
                  </a:path>
                </a:pathLst>
              </a:custGeom>
              <a:solidFill>
                <a:srgbClr val="F1DDBA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4" name="任意多边形: 形状 423">
                <a:extLst>
                  <a:ext uri="{FF2B5EF4-FFF2-40B4-BE49-F238E27FC236}">
                    <a16:creationId xmlns:a16="http://schemas.microsoft.com/office/drawing/2014/main" id="{0D0AC06D-93FA-4008-A3AB-58F57B2ED5D6}"/>
                  </a:ext>
                </a:extLst>
              </p:cNvPr>
              <p:cNvSpPr/>
              <p:nvPr/>
            </p:nvSpPr>
            <p:spPr>
              <a:xfrm>
                <a:off x="8078453" y="4424986"/>
                <a:ext cx="48267" cy="408068"/>
              </a:xfrm>
              <a:custGeom>
                <a:avLst/>
                <a:gdLst>
                  <a:gd name="connsiteX0" fmla="*/ 35396 w 48267"/>
                  <a:gd name="connsiteY0" fmla="*/ 408068 h 408068"/>
                  <a:gd name="connsiteX1" fmla="*/ 35396 w 48267"/>
                  <a:gd name="connsiteY1" fmla="*/ 408068 h 408068"/>
                  <a:gd name="connsiteX2" fmla="*/ 29260 w 48267"/>
                  <a:gd name="connsiteY2" fmla="*/ 401932 h 408068"/>
                  <a:gd name="connsiteX3" fmla="*/ 20055 w 48267"/>
                  <a:gd name="connsiteY3" fmla="*/ 171818 h 408068"/>
                  <a:gd name="connsiteX4" fmla="*/ 10851 w 48267"/>
                  <a:gd name="connsiteY4" fmla="*/ 3068 h 408068"/>
                  <a:gd name="connsiteX5" fmla="*/ 16987 w 48267"/>
                  <a:gd name="connsiteY5" fmla="*/ 0 h 408068"/>
                  <a:gd name="connsiteX6" fmla="*/ 20055 w 48267"/>
                  <a:gd name="connsiteY6" fmla="*/ 6137 h 408068"/>
                  <a:gd name="connsiteX7" fmla="*/ 29260 w 48267"/>
                  <a:gd name="connsiteY7" fmla="*/ 165682 h 408068"/>
                  <a:gd name="connsiteX8" fmla="*/ 41533 w 48267"/>
                  <a:gd name="connsiteY8" fmla="*/ 401932 h 408068"/>
                  <a:gd name="connsiteX9" fmla="*/ 35396 w 48267"/>
                  <a:gd name="connsiteY9" fmla="*/ 408068 h 408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67" h="408068">
                    <a:moveTo>
                      <a:pt x="35396" y="408068"/>
                    </a:moveTo>
                    <a:cubicBezTo>
                      <a:pt x="35396" y="408068"/>
                      <a:pt x="35396" y="408068"/>
                      <a:pt x="35396" y="408068"/>
                    </a:cubicBezTo>
                    <a:cubicBezTo>
                      <a:pt x="32328" y="408068"/>
                      <a:pt x="29260" y="405000"/>
                      <a:pt x="29260" y="401932"/>
                    </a:cubicBezTo>
                    <a:cubicBezTo>
                      <a:pt x="29260" y="401932"/>
                      <a:pt x="53805" y="251591"/>
                      <a:pt x="20055" y="171818"/>
                    </a:cubicBezTo>
                    <a:cubicBezTo>
                      <a:pt x="-16763" y="88977"/>
                      <a:pt x="7782" y="6137"/>
                      <a:pt x="10851" y="3068"/>
                    </a:cubicBezTo>
                    <a:cubicBezTo>
                      <a:pt x="10851" y="0"/>
                      <a:pt x="13919" y="0"/>
                      <a:pt x="16987" y="0"/>
                    </a:cubicBezTo>
                    <a:cubicBezTo>
                      <a:pt x="20055" y="0"/>
                      <a:pt x="23123" y="3068"/>
                      <a:pt x="20055" y="6137"/>
                    </a:cubicBezTo>
                    <a:cubicBezTo>
                      <a:pt x="20055" y="6137"/>
                      <a:pt x="-4490" y="88977"/>
                      <a:pt x="29260" y="165682"/>
                    </a:cubicBezTo>
                    <a:cubicBezTo>
                      <a:pt x="63010" y="248523"/>
                      <a:pt x="41533" y="395796"/>
                      <a:pt x="41533" y="401932"/>
                    </a:cubicBezTo>
                    <a:cubicBezTo>
                      <a:pt x="41533" y="408068"/>
                      <a:pt x="38464" y="408068"/>
                      <a:pt x="35396" y="4080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5" name="任意多边形: 形状 424">
                <a:extLst>
                  <a:ext uri="{FF2B5EF4-FFF2-40B4-BE49-F238E27FC236}">
                    <a16:creationId xmlns:a16="http://schemas.microsoft.com/office/drawing/2014/main" id="{00571A5D-7D2C-4B68-BCEF-E2F642AA7B2F}"/>
                  </a:ext>
                </a:extLst>
              </p:cNvPr>
              <p:cNvSpPr/>
              <p:nvPr/>
            </p:nvSpPr>
            <p:spPr>
              <a:xfrm>
                <a:off x="8713005" y="4385100"/>
                <a:ext cx="40253" cy="417272"/>
              </a:xfrm>
              <a:custGeom>
                <a:avLst/>
                <a:gdLst>
                  <a:gd name="connsiteX0" fmla="*/ 14481 w 40253"/>
                  <a:gd name="connsiteY0" fmla="*/ 417273 h 417272"/>
                  <a:gd name="connsiteX1" fmla="*/ 8344 w 40253"/>
                  <a:gd name="connsiteY1" fmla="*/ 414205 h 417272"/>
                  <a:gd name="connsiteX2" fmla="*/ 26754 w 40253"/>
                  <a:gd name="connsiteY2" fmla="*/ 159545 h 417272"/>
                  <a:gd name="connsiteX3" fmla="*/ 11413 w 40253"/>
                  <a:gd name="connsiteY3" fmla="*/ 6136 h 417272"/>
                  <a:gd name="connsiteX4" fmla="*/ 14481 w 40253"/>
                  <a:gd name="connsiteY4" fmla="*/ 0 h 417272"/>
                  <a:gd name="connsiteX5" fmla="*/ 20617 w 40253"/>
                  <a:gd name="connsiteY5" fmla="*/ 3068 h 417272"/>
                  <a:gd name="connsiteX6" fmla="*/ 35958 w 40253"/>
                  <a:gd name="connsiteY6" fmla="*/ 162614 h 417272"/>
                  <a:gd name="connsiteX7" fmla="*/ 17549 w 40253"/>
                  <a:gd name="connsiteY7" fmla="*/ 411136 h 417272"/>
                  <a:gd name="connsiteX8" fmla="*/ 14481 w 40253"/>
                  <a:gd name="connsiteY8" fmla="*/ 417273 h 417272"/>
                  <a:gd name="connsiteX9" fmla="*/ 14481 w 40253"/>
                  <a:gd name="connsiteY9" fmla="*/ 417273 h 41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253" h="417272">
                    <a:moveTo>
                      <a:pt x="14481" y="417273"/>
                    </a:moveTo>
                    <a:cubicBezTo>
                      <a:pt x="11413" y="417273"/>
                      <a:pt x="8344" y="414205"/>
                      <a:pt x="8344" y="414205"/>
                    </a:cubicBezTo>
                    <a:cubicBezTo>
                      <a:pt x="-16201" y="319091"/>
                      <a:pt x="20617" y="177954"/>
                      <a:pt x="26754" y="159545"/>
                    </a:cubicBezTo>
                    <a:cubicBezTo>
                      <a:pt x="42094" y="104318"/>
                      <a:pt x="11413" y="6136"/>
                      <a:pt x="11413" y="6136"/>
                    </a:cubicBezTo>
                    <a:cubicBezTo>
                      <a:pt x="11413" y="3068"/>
                      <a:pt x="11413" y="0"/>
                      <a:pt x="14481" y="0"/>
                    </a:cubicBezTo>
                    <a:cubicBezTo>
                      <a:pt x="17549" y="0"/>
                      <a:pt x="20617" y="0"/>
                      <a:pt x="20617" y="3068"/>
                    </a:cubicBezTo>
                    <a:cubicBezTo>
                      <a:pt x="20617" y="6136"/>
                      <a:pt x="51299" y="104318"/>
                      <a:pt x="35958" y="162614"/>
                    </a:cubicBezTo>
                    <a:cubicBezTo>
                      <a:pt x="32890" y="177954"/>
                      <a:pt x="-3928" y="316023"/>
                      <a:pt x="17549" y="411136"/>
                    </a:cubicBezTo>
                    <a:cubicBezTo>
                      <a:pt x="20617" y="411136"/>
                      <a:pt x="20617" y="414205"/>
                      <a:pt x="14481" y="417273"/>
                    </a:cubicBezTo>
                    <a:cubicBezTo>
                      <a:pt x="17549" y="417273"/>
                      <a:pt x="14481" y="417273"/>
                      <a:pt x="14481" y="41727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26" name="任意多边形: 形状 425">
              <a:extLst>
                <a:ext uri="{FF2B5EF4-FFF2-40B4-BE49-F238E27FC236}">
                  <a16:creationId xmlns:a16="http://schemas.microsoft.com/office/drawing/2014/main" id="{29C442CE-E4C7-439C-A91A-D2A355487B3E}"/>
                </a:ext>
              </a:extLst>
            </p:cNvPr>
            <p:cNvSpPr/>
            <p:nvPr/>
          </p:nvSpPr>
          <p:spPr>
            <a:xfrm>
              <a:off x="8242517" y="4023639"/>
              <a:ext cx="193491" cy="76837"/>
            </a:xfrm>
            <a:custGeom>
              <a:avLst/>
              <a:gdLst>
                <a:gd name="connsiteX0" fmla="*/ 193491 w 193491"/>
                <a:gd name="connsiteY0" fmla="*/ 8620 h 76837"/>
                <a:gd name="connsiteX1" fmla="*/ 52354 w 193491"/>
                <a:gd name="connsiteY1" fmla="*/ 17824 h 76837"/>
                <a:gd name="connsiteX2" fmla="*/ 195 w 193491"/>
                <a:gd name="connsiteY2" fmla="*/ 66915 h 76837"/>
                <a:gd name="connsiteX3" fmla="*/ 104513 w 193491"/>
                <a:gd name="connsiteY3" fmla="*/ 51574 h 76837"/>
                <a:gd name="connsiteX4" fmla="*/ 193491 w 193491"/>
                <a:gd name="connsiteY4" fmla="*/ 8620 h 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491" h="76837">
                  <a:moveTo>
                    <a:pt x="193491" y="8620"/>
                  </a:moveTo>
                  <a:cubicBezTo>
                    <a:pt x="193491" y="8620"/>
                    <a:pt x="107582" y="-15926"/>
                    <a:pt x="52354" y="17824"/>
                  </a:cubicBezTo>
                  <a:cubicBezTo>
                    <a:pt x="30877" y="33165"/>
                    <a:pt x="-2873" y="51574"/>
                    <a:pt x="195" y="66915"/>
                  </a:cubicBezTo>
                  <a:cubicBezTo>
                    <a:pt x="12468" y="100665"/>
                    <a:pt x="76900" y="36233"/>
                    <a:pt x="104513" y="51574"/>
                  </a:cubicBezTo>
                  <a:cubicBezTo>
                    <a:pt x="116786" y="60779"/>
                    <a:pt x="193491" y="8620"/>
                    <a:pt x="193491" y="8620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27" name="图形 1">
              <a:extLst>
                <a:ext uri="{FF2B5EF4-FFF2-40B4-BE49-F238E27FC236}">
                  <a16:creationId xmlns:a16="http://schemas.microsoft.com/office/drawing/2014/main" id="{0D323808-9636-430D-AD2B-F892808812C7}"/>
                </a:ext>
              </a:extLst>
            </p:cNvPr>
            <p:cNvGrpSpPr/>
            <p:nvPr/>
          </p:nvGrpSpPr>
          <p:grpSpPr>
            <a:xfrm>
              <a:off x="8280298" y="3995440"/>
              <a:ext cx="283465" cy="238121"/>
              <a:chOff x="8280298" y="3995440"/>
              <a:chExt cx="283465" cy="238121"/>
            </a:xfrm>
          </p:grpSpPr>
          <p:sp>
            <p:nvSpPr>
              <p:cNvPr id="428" name="任意多边形: 形状 427">
                <a:extLst>
                  <a:ext uri="{FF2B5EF4-FFF2-40B4-BE49-F238E27FC236}">
                    <a16:creationId xmlns:a16="http://schemas.microsoft.com/office/drawing/2014/main" id="{9AF037BB-27C6-4BDD-AD3E-FEBE553EA1BB}"/>
                  </a:ext>
                </a:extLst>
              </p:cNvPr>
              <p:cNvSpPr/>
              <p:nvPr/>
            </p:nvSpPr>
            <p:spPr>
              <a:xfrm>
                <a:off x="8285879" y="3995440"/>
                <a:ext cx="277884" cy="238121"/>
              </a:xfrm>
              <a:custGeom>
                <a:avLst/>
                <a:gdLst>
                  <a:gd name="connsiteX0" fmla="*/ 272857 w 277884"/>
                  <a:gd name="connsiteY0" fmla="*/ 76705 h 238121"/>
                  <a:gd name="connsiteX1" fmla="*/ 199220 w 277884"/>
                  <a:gd name="connsiteY1" fmla="*/ 0 h 238121"/>
                  <a:gd name="connsiteX2" fmla="*/ 30470 w 277884"/>
                  <a:gd name="connsiteY2" fmla="*/ 95114 h 238121"/>
                  <a:gd name="connsiteX3" fmla="*/ 2857 w 277884"/>
                  <a:gd name="connsiteY3" fmla="*/ 141136 h 238121"/>
                  <a:gd name="connsiteX4" fmla="*/ 30470 w 277884"/>
                  <a:gd name="connsiteY4" fmla="*/ 159546 h 238121"/>
                  <a:gd name="connsiteX5" fmla="*/ 61152 w 277884"/>
                  <a:gd name="connsiteY5" fmla="*/ 193296 h 238121"/>
                  <a:gd name="connsiteX6" fmla="*/ 76493 w 277884"/>
                  <a:gd name="connsiteY6" fmla="*/ 217841 h 238121"/>
                  <a:gd name="connsiteX7" fmla="*/ 110243 w 277884"/>
                  <a:gd name="connsiteY7" fmla="*/ 214773 h 238121"/>
                  <a:gd name="connsiteX8" fmla="*/ 153197 w 277884"/>
                  <a:gd name="connsiteY8" fmla="*/ 233182 h 238121"/>
                  <a:gd name="connsiteX9" fmla="*/ 196152 w 277884"/>
                  <a:gd name="connsiteY9" fmla="*/ 177955 h 238121"/>
                  <a:gd name="connsiteX10" fmla="*/ 266720 w 277884"/>
                  <a:gd name="connsiteY10" fmla="*/ 95114 h 238121"/>
                  <a:gd name="connsiteX11" fmla="*/ 272857 w 277884"/>
                  <a:gd name="connsiteY11" fmla="*/ 76705 h 238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7884" h="238121">
                    <a:moveTo>
                      <a:pt x="272857" y="76705"/>
                    </a:moveTo>
                    <a:cubicBezTo>
                      <a:pt x="260584" y="39886"/>
                      <a:pt x="196152" y="0"/>
                      <a:pt x="199220" y="0"/>
                    </a:cubicBezTo>
                    <a:cubicBezTo>
                      <a:pt x="134789" y="42955"/>
                      <a:pt x="88766" y="42955"/>
                      <a:pt x="30470" y="95114"/>
                    </a:cubicBezTo>
                    <a:cubicBezTo>
                      <a:pt x="21266" y="104318"/>
                      <a:pt x="-9416" y="116591"/>
                      <a:pt x="2857" y="141136"/>
                    </a:cubicBezTo>
                    <a:cubicBezTo>
                      <a:pt x="5925" y="147273"/>
                      <a:pt x="15129" y="162614"/>
                      <a:pt x="30470" y="159546"/>
                    </a:cubicBezTo>
                    <a:cubicBezTo>
                      <a:pt x="24334" y="177955"/>
                      <a:pt x="51947" y="202500"/>
                      <a:pt x="61152" y="193296"/>
                    </a:cubicBezTo>
                    <a:cubicBezTo>
                      <a:pt x="61152" y="199432"/>
                      <a:pt x="70357" y="214773"/>
                      <a:pt x="76493" y="217841"/>
                    </a:cubicBezTo>
                    <a:cubicBezTo>
                      <a:pt x="91834" y="227046"/>
                      <a:pt x="101038" y="227046"/>
                      <a:pt x="110243" y="214773"/>
                    </a:cubicBezTo>
                    <a:cubicBezTo>
                      <a:pt x="116379" y="233182"/>
                      <a:pt x="134789" y="245455"/>
                      <a:pt x="153197" y="233182"/>
                    </a:cubicBezTo>
                    <a:cubicBezTo>
                      <a:pt x="177743" y="214773"/>
                      <a:pt x="174675" y="196364"/>
                      <a:pt x="196152" y="177955"/>
                    </a:cubicBezTo>
                    <a:cubicBezTo>
                      <a:pt x="245243" y="131932"/>
                      <a:pt x="245243" y="113523"/>
                      <a:pt x="266720" y="95114"/>
                    </a:cubicBezTo>
                    <a:cubicBezTo>
                      <a:pt x="282061" y="79773"/>
                      <a:pt x="278993" y="98182"/>
                      <a:pt x="272857" y="76705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9" name="任意多边形: 形状 428">
                <a:extLst>
                  <a:ext uri="{FF2B5EF4-FFF2-40B4-BE49-F238E27FC236}">
                    <a16:creationId xmlns:a16="http://schemas.microsoft.com/office/drawing/2014/main" id="{C327199E-79E0-4021-A60B-86A3575224B5}"/>
                  </a:ext>
                </a:extLst>
              </p:cNvPr>
              <p:cNvSpPr/>
              <p:nvPr/>
            </p:nvSpPr>
            <p:spPr>
              <a:xfrm>
                <a:off x="8280298" y="4047600"/>
                <a:ext cx="103550" cy="113522"/>
              </a:xfrm>
              <a:custGeom>
                <a:avLst/>
                <a:gdLst>
                  <a:gd name="connsiteX0" fmla="*/ 36051 w 103550"/>
                  <a:gd name="connsiteY0" fmla="*/ 113523 h 113522"/>
                  <a:gd name="connsiteX1" fmla="*/ 36051 w 103550"/>
                  <a:gd name="connsiteY1" fmla="*/ 113523 h 113522"/>
                  <a:gd name="connsiteX2" fmla="*/ 2301 w 103550"/>
                  <a:gd name="connsiteY2" fmla="*/ 92045 h 113522"/>
                  <a:gd name="connsiteX3" fmla="*/ 2301 w 103550"/>
                  <a:gd name="connsiteY3" fmla="*/ 67500 h 113522"/>
                  <a:gd name="connsiteX4" fmla="*/ 94347 w 103550"/>
                  <a:gd name="connsiteY4" fmla="*/ 0 h 113522"/>
                  <a:gd name="connsiteX5" fmla="*/ 103551 w 103550"/>
                  <a:gd name="connsiteY5" fmla="*/ 3068 h 113522"/>
                  <a:gd name="connsiteX6" fmla="*/ 100483 w 103550"/>
                  <a:gd name="connsiteY6" fmla="*/ 12273 h 113522"/>
                  <a:gd name="connsiteX7" fmla="*/ 14574 w 103550"/>
                  <a:gd name="connsiteY7" fmla="*/ 73636 h 113522"/>
                  <a:gd name="connsiteX8" fmla="*/ 14574 w 103550"/>
                  <a:gd name="connsiteY8" fmla="*/ 88977 h 113522"/>
                  <a:gd name="connsiteX9" fmla="*/ 39119 w 103550"/>
                  <a:gd name="connsiteY9" fmla="*/ 104318 h 113522"/>
                  <a:gd name="connsiteX10" fmla="*/ 42187 w 103550"/>
                  <a:gd name="connsiteY10" fmla="*/ 110455 h 113522"/>
                  <a:gd name="connsiteX11" fmla="*/ 36051 w 103550"/>
                  <a:gd name="connsiteY11" fmla="*/ 113523 h 113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3550" h="113522">
                    <a:moveTo>
                      <a:pt x="36051" y="113523"/>
                    </a:moveTo>
                    <a:cubicBezTo>
                      <a:pt x="36051" y="113523"/>
                      <a:pt x="36051" y="113523"/>
                      <a:pt x="36051" y="113523"/>
                    </a:cubicBezTo>
                    <a:cubicBezTo>
                      <a:pt x="32983" y="113523"/>
                      <a:pt x="8438" y="107386"/>
                      <a:pt x="2301" y="92045"/>
                    </a:cubicBezTo>
                    <a:cubicBezTo>
                      <a:pt x="-767" y="85909"/>
                      <a:pt x="-767" y="76705"/>
                      <a:pt x="2301" y="67500"/>
                    </a:cubicBezTo>
                    <a:cubicBezTo>
                      <a:pt x="20710" y="30682"/>
                      <a:pt x="91278" y="3068"/>
                      <a:pt x="94347" y="0"/>
                    </a:cubicBezTo>
                    <a:cubicBezTo>
                      <a:pt x="97415" y="0"/>
                      <a:pt x="100483" y="0"/>
                      <a:pt x="103551" y="3068"/>
                    </a:cubicBezTo>
                    <a:cubicBezTo>
                      <a:pt x="103551" y="6136"/>
                      <a:pt x="103551" y="9204"/>
                      <a:pt x="100483" y="12273"/>
                    </a:cubicBezTo>
                    <a:cubicBezTo>
                      <a:pt x="100483" y="12273"/>
                      <a:pt x="29915" y="42954"/>
                      <a:pt x="14574" y="73636"/>
                    </a:cubicBezTo>
                    <a:cubicBezTo>
                      <a:pt x="11505" y="79773"/>
                      <a:pt x="11505" y="82841"/>
                      <a:pt x="14574" y="88977"/>
                    </a:cubicBezTo>
                    <a:cubicBezTo>
                      <a:pt x="17642" y="98182"/>
                      <a:pt x="32983" y="104318"/>
                      <a:pt x="39119" y="104318"/>
                    </a:cubicBezTo>
                    <a:cubicBezTo>
                      <a:pt x="42187" y="104318"/>
                      <a:pt x="45256" y="107386"/>
                      <a:pt x="42187" y="110455"/>
                    </a:cubicBezTo>
                    <a:cubicBezTo>
                      <a:pt x="42187" y="113523"/>
                      <a:pt x="39119" y="113523"/>
                      <a:pt x="36051" y="11352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0" name="任意多边形: 形状 429">
                <a:extLst>
                  <a:ext uri="{FF2B5EF4-FFF2-40B4-BE49-F238E27FC236}">
                    <a16:creationId xmlns:a16="http://schemas.microsoft.com/office/drawing/2014/main" id="{F2AD88E8-B1C0-4385-9A18-C3E8AD9D7253}"/>
                  </a:ext>
                </a:extLst>
              </p:cNvPr>
              <p:cNvSpPr/>
              <p:nvPr/>
            </p:nvSpPr>
            <p:spPr>
              <a:xfrm>
                <a:off x="8344730" y="4140412"/>
                <a:ext cx="72869" cy="51391"/>
              </a:xfrm>
              <a:custGeom>
                <a:avLst/>
                <a:gdLst>
                  <a:gd name="connsiteX0" fmla="*/ 66733 w 72869"/>
                  <a:gd name="connsiteY0" fmla="*/ 51392 h 51391"/>
                  <a:gd name="connsiteX1" fmla="*/ 66733 w 72869"/>
                  <a:gd name="connsiteY1" fmla="*/ 51392 h 51391"/>
                  <a:gd name="connsiteX2" fmla="*/ 2301 w 72869"/>
                  <a:gd name="connsiteY2" fmla="*/ 11506 h 51391"/>
                  <a:gd name="connsiteX3" fmla="*/ 2301 w 72869"/>
                  <a:gd name="connsiteY3" fmla="*/ 2301 h 51391"/>
                  <a:gd name="connsiteX4" fmla="*/ 11506 w 72869"/>
                  <a:gd name="connsiteY4" fmla="*/ 2301 h 51391"/>
                  <a:gd name="connsiteX5" fmla="*/ 69801 w 72869"/>
                  <a:gd name="connsiteY5" fmla="*/ 39119 h 51391"/>
                  <a:gd name="connsiteX6" fmla="*/ 72869 w 72869"/>
                  <a:gd name="connsiteY6" fmla="*/ 48324 h 51391"/>
                  <a:gd name="connsiteX7" fmla="*/ 66733 w 72869"/>
                  <a:gd name="connsiteY7" fmla="*/ 51392 h 51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2869" h="51391">
                    <a:moveTo>
                      <a:pt x="66733" y="51392"/>
                    </a:moveTo>
                    <a:cubicBezTo>
                      <a:pt x="66733" y="51392"/>
                      <a:pt x="63665" y="51392"/>
                      <a:pt x="66733" y="51392"/>
                    </a:cubicBezTo>
                    <a:cubicBezTo>
                      <a:pt x="57528" y="48324"/>
                      <a:pt x="14574" y="23778"/>
                      <a:pt x="2301" y="11506"/>
                    </a:cubicBezTo>
                    <a:cubicBezTo>
                      <a:pt x="-767" y="8437"/>
                      <a:pt x="-767" y="5369"/>
                      <a:pt x="2301" y="2301"/>
                    </a:cubicBezTo>
                    <a:cubicBezTo>
                      <a:pt x="5369" y="-767"/>
                      <a:pt x="8437" y="-767"/>
                      <a:pt x="11506" y="2301"/>
                    </a:cubicBezTo>
                    <a:cubicBezTo>
                      <a:pt x="20710" y="11506"/>
                      <a:pt x="57528" y="32983"/>
                      <a:pt x="69801" y="39119"/>
                    </a:cubicBezTo>
                    <a:cubicBezTo>
                      <a:pt x="72869" y="39119"/>
                      <a:pt x="72869" y="45256"/>
                      <a:pt x="72869" y="48324"/>
                    </a:cubicBezTo>
                    <a:cubicBezTo>
                      <a:pt x="69801" y="48324"/>
                      <a:pt x="69801" y="51392"/>
                      <a:pt x="66733" y="5139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379634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EF6E1317-2D3E-4CCA-BFAF-724F4EE02840}"/>
              </a:ext>
            </a:extLst>
          </p:cNvPr>
          <p:cNvGrpSpPr/>
          <p:nvPr/>
        </p:nvGrpSpPr>
        <p:grpSpPr>
          <a:xfrm>
            <a:off x="2164409" y="1889116"/>
            <a:ext cx="7863182" cy="4968884"/>
            <a:chOff x="10611916" y="1753116"/>
            <a:chExt cx="7863182" cy="4968884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D701FBF1-0787-47AE-9FEF-D7C69681669B}"/>
                </a:ext>
              </a:extLst>
            </p:cNvPr>
            <p:cNvSpPr/>
            <p:nvPr/>
          </p:nvSpPr>
          <p:spPr>
            <a:xfrm>
              <a:off x="15240376" y="2795567"/>
              <a:ext cx="228688" cy="237668"/>
            </a:xfrm>
            <a:custGeom>
              <a:avLst/>
              <a:gdLst>
                <a:gd name="connsiteX0" fmla="*/ 40746 w 228688"/>
                <a:gd name="connsiteY0" fmla="*/ 181237 h 237668"/>
                <a:gd name="connsiteX1" fmla="*/ 163473 w 228688"/>
                <a:gd name="connsiteY1" fmla="*/ 236465 h 237668"/>
                <a:gd name="connsiteX2" fmla="*/ 227904 w 228688"/>
                <a:gd name="connsiteY2" fmla="*/ 156692 h 237668"/>
                <a:gd name="connsiteX3" fmla="*/ 49950 w 228688"/>
                <a:gd name="connsiteY3" fmla="*/ 215 h 237668"/>
                <a:gd name="connsiteX4" fmla="*/ 28473 w 228688"/>
                <a:gd name="connsiteY4" fmla="*/ 37033 h 237668"/>
                <a:gd name="connsiteX5" fmla="*/ 859 w 228688"/>
                <a:gd name="connsiteY5" fmla="*/ 76919 h 237668"/>
                <a:gd name="connsiteX6" fmla="*/ 3928 w 228688"/>
                <a:gd name="connsiteY6" fmla="*/ 110669 h 237668"/>
                <a:gd name="connsiteX7" fmla="*/ 16200 w 228688"/>
                <a:gd name="connsiteY7" fmla="*/ 156692 h 237668"/>
                <a:gd name="connsiteX8" fmla="*/ 40746 w 228688"/>
                <a:gd name="connsiteY8" fmla="*/ 181237 h 237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8688" h="237668">
                  <a:moveTo>
                    <a:pt x="40746" y="181237"/>
                  </a:moveTo>
                  <a:cubicBezTo>
                    <a:pt x="74495" y="199647"/>
                    <a:pt x="120518" y="245669"/>
                    <a:pt x="163473" y="236465"/>
                  </a:cubicBezTo>
                  <a:cubicBezTo>
                    <a:pt x="191087" y="230328"/>
                    <a:pt x="227904" y="156692"/>
                    <a:pt x="227904" y="156692"/>
                  </a:cubicBezTo>
                  <a:cubicBezTo>
                    <a:pt x="240178" y="83056"/>
                    <a:pt x="105177" y="21692"/>
                    <a:pt x="49950" y="215"/>
                  </a:cubicBezTo>
                  <a:cubicBezTo>
                    <a:pt x="40746" y="-2853"/>
                    <a:pt x="22337" y="27828"/>
                    <a:pt x="28473" y="37033"/>
                  </a:cubicBezTo>
                  <a:cubicBezTo>
                    <a:pt x="40746" y="49306"/>
                    <a:pt x="859" y="64646"/>
                    <a:pt x="859" y="76919"/>
                  </a:cubicBezTo>
                  <a:cubicBezTo>
                    <a:pt x="-2209" y="86124"/>
                    <a:pt x="3928" y="107601"/>
                    <a:pt x="3928" y="110669"/>
                  </a:cubicBezTo>
                  <a:cubicBezTo>
                    <a:pt x="6996" y="126010"/>
                    <a:pt x="19268" y="147487"/>
                    <a:pt x="16200" y="156692"/>
                  </a:cubicBezTo>
                  <a:cubicBezTo>
                    <a:pt x="13132" y="165897"/>
                    <a:pt x="19268" y="168965"/>
                    <a:pt x="40746" y="181237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2FCAA4A8-8CCB-44CE-8F42-006B28D24EEE}"/>
                </a:ext>
              </a:extLst>
            </p:cNvPr>
            <p:cNvGrpSpPr/>
            <p:nvPr/>
          </p:nvGrpSpPr>
          <p:grpSpPr>
            <a:xfrm>
              <a:off x="14075326" y="2785517"/>
              <a:ext cx="1445113" cy="1504468"/>
              <a:chOff x="14075326" y="2785517"/>
              <a:chExt cx="1445113" cy="1504468"/>
            </a:xfrm>
          </p:grpSpPr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52D18224-CEAE-4B0C-AD55-85EBAC390503}"/>
                  </a:ext>
                </a:extLst>
              </p:cNvPr>
              <p:cNvSpPr/>
              <p:nvPr/>
            </p:nvSpPr>
            <p:spPr>
              <a:xfrm>
                <a:off x="14859417" y="2787542"/>
                <a:ext cx="518673" cy="434716"/>
              </a:xfrm>
              <a:custGeom>
                <a:avLst/>
                <a:gdLst>
                  <a:gd name="connsiteX0" fmla="*/ 354205 w 518673"/>
                  <a:gd name="connsiteY0" fmla="*/ 434716 h 434716"/>
                  <a:gd name="connsiteX1" fmla="*/ 351136 w 518673"/>
                  <a:gd name="connsiteY1" fmla="*/ 434716 h 434716"/>
                  <a:gd name="connsiteX2" fmla="*/ 351136 w 518673"/>
                  <a:gd name="connsiteY2" fmla="*/ 425512 h 434716"/>
                  <a:gd name="connsiteX3" fmla="*/ 507614 w 518673"/>
                  <a:gd name="connsiteY3" fmla="*/ 84944 h 434716"/>
                  <a:gd name="connsiteX4" fmla="*/ 470795 w 518673"/>
                  <a:gd name="connsiteY4" fmla="*/ 26648 h 434716"/>
                  <a:gd name="connsiteX5" fmla="*/ 10568 w 518673"/>
                  <a:gd name="connsiteY5" fmla="*/ 213807 h 434716"/>
                  <a:gd name="connsiteX6" fmla="*/ 1364 w 518673"/>
                  <a:gd name="connsiteY6" fmla="*/ 213807 h 434716"/>
                  <a:gd name="connsiteX7" fmla="*/ 1364 w 518673"/>
                  <a:gd name="connsiteY7" fmla="*/ 204603 h 434716"/>
                  <a:gd name="connsiteX8" fmla="*/ 473864 w 518673"/>
                  <a:gd name="connsiteY8" fmla="*/ 14375 h 434716"/>
                  <a:gd name="connsiteX9" fmla="*/ 516818 w 518673"/>
                  <a:gd name="connsiteY9" fmla="*/ 81875 h 434716"/>
                  <a:gd name="connsiteX10" fmla="*/ 357273 w 518673"/>
                  <a:gd name="connsiteY10" fmla="*/ 431648 h 434716"/>
                  <a:gd name="connsiteX11" fmla="*/ 354205 w 518673"/>
                  <a:gd name="connsiteY11" fmla="*/ 434716 h 434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18673" h="434716">
                    <a:moveTo>
                      <a:pt x="354205" y="434716"/>
                    </a:moveTo>
                    <a:cubicBezTo>
                      <a:pt x="354205" y="434716"/>
                      <a:pt x="351136" y="434716"/>
                      <a:pt x="351136" y="434716"/>
                    </a:cubicBezTo>
                    <a:cubicBezTo>
                      <a:pt x="348068" y="431648"/>
                      <a:pt x="348068" y="428580"/>
                      <a:pt x="351136" y="425512"/>
                    </a:cubicBezTo>
                    <a:cubicBezTo>
                      <a:pt x="354205" y="422444"/>
                      <a:pt x="526023" y="207671"/>
                      <a:pt x="507614" y="84944"/>
                    </a:cubicBezTo>
                    <a:cubicBezTo>
                      <a:pt x="504545" y="60398"/>
                      <a:pt x="489204" y="38921"/>
                      <a:pt x="470795" y="26648"/>
                    </a:cubicBezTo>
                    <a:cubicBezTo>
                      <a:pt x="354205" y="-46988"/>
                      <a:pt x="13636" y="210739"/>
                      <a:pt x="10568" y="213807"/>
                    </a:cubicBezTo>
                    <a:cubicBezTo>
                      <a:pt x="7500" y="216875"/>
                      <a:pt x="4432" y="213807"/>
                      <a:pt x="1364" y="213807"/>
                    </a:cubicBezTo>
                    <a:cubicBezTo>
                      <a:pt x="-1705" y="210739"/>
                      <a:pt x="1364" y="207671"/>
                      <a:pt x="1364" y="204603"/>
                    </a:cubicBezTo>
                    <a:cubicBezTo>
                      <a:pt x="16705" y="192330"/>
                      <a:pt x="351136" y="-62329"/>
                      <a:pt x="473864" y="14375"/>
                    </a:cubicBezTo>
                    <a:cubicBezTo>
                      <a:pt x="498410" y="29716"/>
                      <a:pt x="513750" y="51194"/>
                      <a:pt x="516818" y="81875"/>
                    </a:cubicBezTo>
                    <a:cubicBezTo>
                      <a:pt x="538296" y="207671"/>
                      <a:pt x="366477" y="422444"/>
                      <a:pt x="357273" y="431648"/>
                    </a:cubicBezTo>
                    <a:cubicBezTo>
                      <a:pt x="360341" y="434716"/>
                      <a:pt x="357273" y="434716"/>
                      <a:pt x="354205" y="43471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39" name="图形 1">
                <a:extLst>
                  <a:ext uri="{FF2B5EF4-FFF2-40B4-BE49-F238E27FC236}">
                    <a16:creationId xmlns:a16="http://schemas.microsoft.com/office/drawing/2014/main" id="{0841CE38-8B0E-4998-8620-1DC445EB9309}"/>
                  </a:ext>
                </a:extLst>
              </p:cNvPr>
              <p:cNvGrpSpPr/>
              <p:nvPr/>
            </p:nvGrpSpPr>
            <p:grpSpPr>
              <a:xfrm>
                <a:off x="14075326" y="2798849"/>
                <a:ext cx="1445113" cy="1491136"/>
                <a:chOff x="14075326" y="2798849"/>
                <a:chExt cx="1445113" cy="1491136"/>
              </a:xfrm>
            </p:grpSpPr>
            <p:sp>
              <p:nvSpPr>
                <p:cNvPr id="143" name="任意多边形: 形状 142">
                  <a:extLst>
                    <a:ext uri="{FF2B5EF4-FFF2-40B4-BE49-F238E27FC236}">
                      <a16:creationId xmlns:a16="http://schemas.microsoft.com/office/drawing/2014/main" id="{262336D9-D32A-428B-8740-781239D0738A}"/>
                    </a:ext>
                  </a:extLst>
                </p:cNvPr>
                <p:cNvSpPr/>
                <p:nvPr/>
              </p:nvSpPr>
              <p:spPr>
                <a:xfrm>
                  <a:off x="14148962" y="2878622"/>
                  <a:ext cx="1371477" cy="1411363"/>
                </a:xfrm>
                <a:custGeom>
                  <a:avLst/>
                  <a:gdLst>
                    <a:gd name="connsiteX0" fmla="*/ 684205 w 1371477"/>
                    <a:gd name="connsiteY0" fmla="*/ 0 h 1411363"/>
                    <a:gd name="connsiteX1" fmla="*/ 0 w 1371477"/>
                    <a:gd name="connsiteY1" fmla="*/ 895909 h 1411363"/>
                    <a:gd name="connsiteX2" fmla="*/ 868296 w 1371477"/>
                    <a:gd name="connsiteY2" fmla="*/ 1411364 h 1411363"/>
                    <a:gd name="connsiteX3" fmla="*/ 1371478 w 1371477"/>
                    <a:gd name="connsiteY3" fmla="*/ 441818 h 1411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1477" h="1411363">
                      <a:moveTo>
                        <a:pt x="684205" y="0"/>
                      </a:moveTo>
                      <a:lnTo>
                        <a:pt x="0" y="895909"/>
                      </a:lnTo>
                      <a:lnTo>
                        <a:pt x="868296" y="1411364"/>
                      </a:lnTo>
                      <a:lnTo>
                        <a:pt x="1371478" y="441818"/>
                      </a:lnTo>
                      <a:close/>
                    </a:path>
                  </a:pathLst>
                </a:custGeom>
                <a:solidFill>
                  <a:srgbClr val="708686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4" name="任意多边形: 形状 143">
                  <a:extLst>
                    <a:ext uri="{FF2B5EF4-FFF2-40B4-BE49-F238E27FC236}">
                      <a16:creationId xmlns:a16="http://schemas.microsoft.com/office/drawing/2014/main" id="{40A9D0D5-3756-402E-A3DC-BCFFD5415FFC}"/>
                    </a:ext>
                  </a:extLst>
                </p:cNvPr>
                <p:cNvSpPr/>
                <p:nvPr/>
              </p:nvSpPr>
              <p:spPr>
                <a:xfrm>
                  <a:off x="14741122" y="2798849"/>
                  <a:ext cx="779317" cy="521590"/>
                </a:xfrm>
                <a:custGeom>
                  <a:avLst/>
                  <a:gdLst>
                    <a:gd name="connsiteX0" fmla="*/ 779318 w 779317"/>
                    <a:gd name="connsiteY0" fmla="*/ 521591 h 521590"/>
                    <a:gd name="connsiteX1" fmla="*/ 622841 w 779317"/>
                    <a:gd name="connsiteY1" fmla="*/ 392727 h 521590"/>
                    <a:gd name="connsiteX2" fmla="*/ 0 w 779317"/>
                    <a:gd name="connsiteY2" fmla="*/ 0 h 521590"/>
                    <a:gd name="connsiteX3" fmla="*/ 92045 w 779317"/>
                    <a:gd name="connsiteY3" fmla="*/ 79773 h 5215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79317" h="521590">
                      <a:moveTo>
                        <a:pt x="779318" y="521591"/>
                      </a:moveTo>
                      <a:lnTo>
                        <a:pt x="622841" y="392727"/>
                      </a:lnTo>
                      <a:lnTo>
                        <a:pt x="0" y="0"/>
                      </a:lnTo>
                      <a:lnTo>
                        <a:pt x="92045" y="79773"/>
                      </a:lnTo>
                      <a:close/>
                    </a:path>
                  </a:pathLst>
                </a:custGeom>
                <a:solidFill>
                  <a:srgbClr val="637777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5" name="任意多边形: 形状 144">
                  <a:extLst>
                    <a:ext uri="{FF2B5EF4-FFF2-40B4-BE49-F238E27FC236}">
                      <a16:creationId xmlns:a16="http://schemas.microsoft.com/office/drawing/2014/main" id="{38A6ECE2-469F-4AF8-A842-1ECAD267D7CD}"/>
                    </a:ext>
                  </a:extLst>
                </p:cNvPr>
                <p:cNvSpPr/>
                <p:nvPr/>
              </p:nvSpPr>
              <p:spPr>
                <a:xfrm>
                  <a:off x="14075326" y="2798849"/>
                  <a:ext cx="757841" cy="975681"/>
                </a:xfrm>
                <a:custGeom>
                  <a:avLst/>
                  <a:gdLst>
                    <a:gd name="connsiteX0" fmla="*/ 0 w 757841"/>
                    <a:gd name="connsiteY0" fmla="*/ 806932 h 975681"/>
                    <a:gd name="connsiteX1" fmla="*/ 73636 w 757841"/>
                    <a:gd name="connsiteY1" fmla="*/ 975682 h 975681"/>
                    <a:gd name="connsiteX2" fmla="*/ 757841 w 757841"/>
                    <a:gd name="connsiteY2" fmla="*/ 79773 h 975681"/>
                    <a:gd name="connsiteX3" fmla="*/ 665796 w 757841"/>
                    <a:gd name="connsiteY3" fmla="*/ 0 h 975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7841" h="975681">
                      <a:moveTo>
                        <a:pt x="0" y="806932"/>
                      </a:moveTo>
                      <a:lnTo>
                        <a:pt x="73636" y="975682"/>
                      </a:lnTo>
                      <a:lnTo>
                        <a:pt x="757841" y="79773"/>
                      </a:lnTo>
                      <a:lnTo>
                        <a:pt x="665796" y="0"/>
                      </a:lnTo>
                      <a:close/>
                    </a:path>
                  </a:pathLst>
                </a:custGeom>
                <a:solidFill>
                  <a:srgbClr val="637777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4BBAAE86-48C3-4617-AA8B-28F5FC8D6F05}"/>
                  </a:ext>
                </a:extLst>
              </p:cNvPr>
              <p:cNvSpPr/>
              <p:nvPr/>
            </p:nvSpPr>
            <p:spPr>
              <a:xfrm>
                <a:off x="14929048" y="2785517"/>
                <a:ext cx="460390" cy="482764"/>
              </a:xfrm>
              <a:custGeom>
                <a:avLst/>
                <a:gdLst>
                  <a:gd name="connsiteX0" fmla="*/ 358210 w 460390"/>
                  <a:gd name="connsiteY0" fmla="*/ 482764 h 482764"/>
                  <a:gd name="connsiteX1" fmla="*/ 358210 w 460390"/>
                  <a:gd name="connsiteY1" fmla="*/ 482764 h 482764"/>
                  <a:gd name="connsiteX2" fmla="*/ 352074 w 460390"/>
                  <a:gd name="connsiteY2" fmla="*/ 473560 h 482764"/>
                  <a:gd name="connsiteX3" fmla="*/ 398097 w 460390"/>
                  <a:gd name="connsiteY3" fmla="*/ 25605 h 482764"/>
                  <a:gd name="connsiteX4" fmla="*/ 11506 w 460390"/>
                  <a:gd name="connsiteY4" fmla="*/ 258787 h 482764"/>
                  <a:gd name="connsiteX5" fmla="*/ 2301 w 460390"/>
                  <a:gd name="connsiteY5" fmla="*/ 258787 h 482764"/>
                  <a:gd name="connsiteX6" fmla="*/ 2301 w 460390"/>
                  <a:gd name="connsiteY6" fmla="*/ 249583 h 482764"/>
                  <a:gd name="connsiteX7" fmla="*/ 404233 w 460390"/>
                  <a:gd name="connsiteY7" fmla="*/ 13332 h 482764"/>
                  <a:gd name="connsiteX8" fmla="*/ 361278 w 460390"/>
                  <a:gd name="connsiteY8" fmla="*/ 473560 h 482764"/>
                  <a:gd name="connsiteX9" fmla="*/ 358210 w 460390"/>
                  <a:gd name="connsiteY9" fmla="*/ 482764 h 482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0390" h="482764">
                    <a:moveTo>
                      <a:pt x="358210" y="482764"/>
                    </a:moveTo>
                    <a:cubicBezTo>
                      <a:pt x="358210" y="482764"/>
                      <a:pt x="355141" y="482764"/>
                      <a:pt x="358210" y="482764"/>
                    </a:cubicBezTo>
                    <a:cubicBezTo>
                      <a:pt x="352074" y="479696"/>
                      <a:pt x="352074" y="476628"/>
                      <a:pt x="352074" y="473560"/>
                    </a:cubicBezTo>
                    <a:cubicBezTo>
                      <a:pt x="355141" y="470492"/>
                      <a:pt x="533097" y="111514"/>
                      <a:pt x="398097" y="25605"/>
                    </a:cubicBezTo>
                    <a:cubicBezTo>
                      <a:pt x="281505" y="-48031"/>
                      <a:pt x="11506" y="255719"/>
                      <a:pt x="11506" y="258787"/>
                    </a:cubicBezTo>
                    <a:cubicBezTo>
                      <a:pt x="8437" y="261855"/>
                      <a:pt x="5369" y="261855"/>
                      <a:pt x="2301" y="258787"/>
                    </a:cubicBezTo>
                    <a:cubicBezTo>
                      <a:pt x="-767" y="255719"/>
                      <a:pt x="-767" y="252651"/>
                      <a:pt x="2301" y="249583"/>
                    </a:cubicBezTo>
                    <a:cubicBezTo>
                      <a:pt x="14574" y="237310"/>
                      <a:pt x="281505" y="-66440"/>
                      <a:pt x="404233" y="13332"/>
                    </a:cubicBezTo>
                    <a:cubicBezTo>
                      <a:pt x="548438" y="105378"/>
                      <a:pt x="370482" y="458219"/>
                      <a:pt x="361278" y="473560"/>
                    </a:cubicBezTo>
                    <a:cubicBezTo>
                      <a:pt x="361278" y="479696"/>
                      <a:pt x="361278" y="482764"/>
                      <a:pt x="358210" y="48276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E9ABFAC3-C16E-41B6-BC59-8B6BC2F81C42}"/>
                  </a:ext>
                </a:extLst>
              </p:cNvPr>
              <p:cNvSpPr/>
              <p:nvPr/>
            </p:nvSpPr>
            <p:spPr>
              <a:xfrm>
                <a:off x="14905533" y="3011513"/>
                <a:ext cx="61675" cy="63472"/>
              </a:xfrm>
              <a:custGeom>
                <a:avLst/>
                <a:gdLst>
                  <a:gd name="connsiteX0" fmla="*/ 28884 w 61675"/>
                  <a:gd name="connsiteY0" fmla="*/ 63473 h 63472"/>
                  <a:gd name="connsiteX1" fmla="*/ 13544 w 61675"/>
                  <a:gd name="connsiteY1" fmla="*/ 57337 h 63472"/>
                  <a:gd name="connsiteX2" fmla="*/ 1271 w 61675"/>
                  <a:gd name="connsiteY2" fmla="*/ 38928 h 63472"/>
                  <a:gd name="connsiteX3" fmla="*/ 4339 w 61675"/>
                  <a:gd name="connsiteY3" fmla="*/ 14382 h 63472"/>
                  <a:gd name="connsiteX4" fmla="*/ 47294 w 61675"/>
                  <a:gd name="connsiteY4" fmla="*/ 5178 h 63472"/>
                  <a:gd name="connsiteX5" fmla="*/ 56498 w 61675"/>
                  <a:gd name="connsiteY5" fmla="*/ 48132 h 63472"/>
                  <a:gd name="connsiteX6" fmla="*/ 56498 w 61675"/>
                  <a:gd name="connsiteY6" fmla="*/ 48132 h 63472"/>
                  <a:gd name="connsiteX7" fmla="*/ 38090 w 61675"/>
                  <a:gd name="connsiteY7" fmla="*/ 60405 h 63472"/>
                  <a:gd name="connsiteX8" fmla="*/ 28884 w 61675"/>
                  <a:gd name="connsiteY8" fmla="*/ 63473 h 63472"/>
                  <a:gd name="connsiteX9" fmla="*/ 31953 w 61675"/>
                  <a:gd name="connsiteY9" fmla="*/ 11314 h 63472"/>
                  <a:gd name="connsiteX10" fmla="*/ 16612 w 61675"/>
                  <a:gd name="connsiteY10" fmla="*/ 20518 h 63472"/>
                  <a:gd name="connsiteX11" fmla="*/ 22749 w 61675"/>
                  <a:gd name="connsiteY11" fmla="*/ 48132 h 63472"/>
                  <a:gd name="connsiteX12" fmla="*/ 38090 w 61675"/>
                  <a:gd name="connsiteY12" fmla="*/ 51200 h 63472"/>
                  <a:gd name="connsiteX13" fmla="*/ 50362 w 61675"/>
                  <a:gd name="connsiteY13" fmla="*/ 41996 h 63472"/>
                  <a:gd name="connsiteX14" fmla="*/ 50362 w 61675"/>
                  <a:gd name="connsiteY14" fmla="*/ 41996 h 63472"/>
                  <a:gd name="connsiteX15" fmla="*/ 44225 w 61675"/>
                  <a:gd name="connsiteY15" fmla="*/ 14382 h 63472"/>
                  <a:gd name="connsiteX16" fmla="*/ 31953 w 61675"/>
                  <a:gd name="connsiteY16" fmla="*/ 11314 h 63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1675" h="63472">
                    <a:moveTo>
                      <a:pt x="28884" y="63473"/>
                    </a:moveTo>
                    <a:cubicBezTo>
                      <a:pt x="22749" y="63473"/>
                      <a:pt x="16612" y="60405"/>
                      <a:pt x="13544" y="57337"/>
                    </a:cubicBezTo>
                    <a:cubicBezTo>
                      <a:pt x="7408" y="54268"/>
                      <a:pt x="1271" y="45064"/>
                      <a:pt x="1271" y="38928"/>
                    </a:cubicBezTo>
                    <a:cubicBezTo>
                      <a:pt x="-1797" y="29723"/>
                      <a:pt x="1271" y="23587"/>
                      <a:pt x="4339" y="14382"/>
                    </a:cubicBezTo>
                    <a:cubicBezTo>
                      <a:pt x="13544" y="-959"/>
                      <a:pt x="31953" y="-4027"/>
                      <a:pt x="47294" y="5178"/>
                    </a:cubicBezTo>
                    <a:cubicBezTo>
                      <a:pt x="62635" y="14382"/>
                      <a:pt x="65703" y="32791"/>
                      <a:pt x="56498" y="48132"/>
                    </a:cubicBezTo>
                    <a:lnTo>
                      <a:pt x="56498" y="48132"/>
                    </a:lnTo>
                    <a:cubicBezTo>
                      <a:pt x="53430" y="54268"/>
                      <a:pt x="44225" y="60405"/>
                      <a:pt x="38090" y="60405"/>
                    </a:cubicBezTo>
                    <a:cubicBezTo>
                      <a:pt x="35021" y="63473"/>
                      <a:pt x="31953" y="63473"/>
                      <a:pt x="28884" y="63473"/>
                    </a:cubicBezTo>
                    <a:close/>
                    <a:moveTo>
                      <a:pt x="31953" y="11314"/>
                    </a:moveTo>
                    <a:cubicBezTo>
                      <a:pt x="25816" y="11314"/>
                      <a:pt x="19680" y="14382"/>
                      <a:pt x="16612" y="20518"/>
                    </a:cubicBezTo>
                    <a:cubicBezTo>
                      <a:pt x="10475" y="29723"/>
                      <a:pt x="13544" y="41996"/>
                      <a:pt x="22749" y="48132"/>
                    </a:cubicBezTo>
                    <a:cubicBezTo>
                      <a:pt x="25816" y="51200"/>
                      <a:pt x="31953" y="51200"/>
                      <a:pt x="38090" y="51200"/>
                    </a:cubicBezTo>
                    <a:cubicBezTo>
                      <a:pt x="44225" y="51200"/>
                      <a:pt x="47294" y="48132"/>
                      <a:pt x="50362" y="41996"/>
                    </a:cubicBezTo>
                    <a:lnTo>
                      <a:pt x="50362" y="41996"/>
                    </a:lnTo>
                    <a:cubicBezTo>
                      <a:pt x="56498" y="32791"/>
                      <a:pt x="53430" y="20518"/>
                      <a:pt x="44225" y="14382"/>
                    </a:cubicBezTo>
                    <a:cubicBezTo>
                      <a:pt x="38090" y="11314"/>
                      <a:pt x="35021" y="11314"/>
                      <a:pt x="31953" y="1131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331DE2F8-2BFE-461E-BA3C-42A2E04A0CBA}"/>
                  </a:ext>
                </a:extLst>
              </p:cNvPr>
              <p:cNvSpPr/>
              <p:nvPr/>
            </p:nvSpPr>
            <p:spPr>
              <a:xfrm>
                <a:off x="15255305" y="3233260"/>
                <a:ext cx="61676" cy="62634"/>
              </a:xfrm>
              <a:custGeom>
                <a:avLst/>
                <a:gdLst>
                  <a:gd name="connsiteX0" fmla="*/ 28884 w 61676"/>
                  <a:gd name="connsiteY0" fmla="*/ 62634 h 62634"/>
                  <a:gd name="connsiteX1" fmla="*/ 13544 w 61676"/>
                  <a:gd name="connsiteY1" fmla="*/ 56498 h 62634"/>
                  <a:gd name="connsiteX2" fmla="*/ 1271 w 61676"/>
                  <a:gd name="connsiteY2" fmla="*/ 38089 h 62634"/>
                  <a:gd name="connsiteX3" fmla="*/ 4339 w 61676"/>
                  <a:gd name="connsiteY3" fmla="*/ 13544 h 62634"/>
                  <a:gd name="connsiteX4" fmla="*/ 22749 w 61676"/>
                  <a:gd name="connsiteY4" fmla="*/ 1271 h 62634"/>
                  <a:gd name="connsiteX5" fmla="*/ 47294 w 61676"/>
                  <a:gd name="connsiteY5" fmla="*/ 4339 h 62634"/>
                  <a:gd name="connsiteX6" fmla="*/ 56499 w 61676"/>
                  <a:gd name="connsiteY6" fmla="*/ 47294 h 62634"/>
                  <a:gd name="connsiteX7" fmla="*/ 38090 w 61676"/>
                  <a:gd name="connsiteY7" fmla="*/ 59566 h 62634"/>
                  <a:gd name="connsiteX8" fmla="*/ 28884 w 61676"/>
                  <a:gd name="connsiteY8" fmla="*/ 62634 h 62634"/>
                  <a:gd name="connsiteX9" fmla="*/ 28884 w 61676"/>
                  <a:gd name="connsiteY9" fmla="*/ 13544 h 62634"/>
                  <a:gd name="connsiteX10" fmla="*/ 25817 w 61676"/>
                  <a:gd name="connsiteY10" fmla="*/ 13544 h 62634"/>
                  <a:gd name="connsiteX11" fmla="*/ 13544 w 61676"/>
                  <a:gd name="connsiteY11" fmla="*/ 22748 h 62634"/>
                  <a:gd name="connsiteX12" fmla="*/ 10476 w 61676"/>
                  <a:gd name="connsiteY12" fmla="*/ 38089 h 62634"/>
                  <a:gd name="connsiteX13" fmla="*/ 19680 w 61676"/>
                  <a:gd name="connsiteY13" fmla="*/ 50362 h 62634"/>
                  <a:gd name="connsiteX14" fmla="*/ 35021 w 61676"/>
                  <a:gd name="connsiteY14" fmla="*/ 53430 h 62634"/>
                  <a:gd name="connsiteX15" fmla="*/ 47294 w 61676"/>
                  <a:gd name="connsiteY15" fmla="*/ 44225 h 62634"/>
                  <a:gd name="connsiteX16" fmla="*/ 47294 w 61676"/>
                  <a:gd name="connsiteY16" fmla="*/ 44225 h 62634"/>
                  <a:gd name="connsiteX17" fmla="*/ 41158 w 61676"/>
                  <a:gd name="connsiteY17" fmla="*/ 16612 h 62634"/>
                  <a:gd name="connsiteX18" fmla="*/ 28884 w 61676"/>
                  <a:gd name="connsiteY18" fmla="*/ 13544 h 62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1676" h="62634">
                    <a:moveTo>
                      <a:pt x="28884" y="62634"/>
                    </a:moveTo>
                    <a:cubicBezTo>
                      <a:pt x="22749" y="62634"/>
                      <a:pt x="16612" y="59566"/>
                      <a:pt x="13544" y="56498"/>
                    </a:cubicBezTo>
                    <a:cubicBezTo>
                      <a:pt x="7408" y="53430"/>
                      <a:pt x="1271" y="44225"/>
                      <a:pt x="1271" y="38089"/>
                    </a:cubicBezTo>
                    <a:cubicBezTo>
                      <a:pt x="-1797" y="28885"/>
                      <a:pt x="1271" y="22748"/>
                      <a:pt x="4339" y="13544"/>
                    </a:cubicBezTo>
                    <a:cubicBezTo>
                      <a:pt x="7408" y="7407"/>
                      <a:pt x="16612" y="1271"/>
                      <a:pt x="22749" y="1271"/>
                    </a:cubicBezTo>
                    <a:cubicBezTo>
                      <a:pt x="31953" y="-1797"/>
                      <a:pt x="38090" y="1271"/>
                      <a:pt x="47294" y="4339"/>
                    </a:cubicBezTo>
                    <a:cubicBezTo>
                      <a:pt x="62635" y="13544"/>
                      <a:pt x="65703" y="31953"/>
                      <a:pt x="56499" y="47294"/>
                    </a:cubicBezTo>
                    <a:cubicBezTo>
                      <a:pt x="53430" y="53430"/>
                      <a:pt x="44225" y="59566"/>
                      <a:pt x="38090" y="59566"/>
                    </a:cubicBezTo>
                    <a:cubicBezTo>
                      <a:pt x="35021" y="62634"/>
                      <a:pt x="31953" y="62634"/>
                      <a:pt x="28884" y="62634"/>
                    </a:cubicBezTo>
                    <a:close/>
                    <a:moveTo>
                      <a:pt x="28884" y="13544"/>
                    </a:moveTo>
                    <a:cubicBezTo>
                      <a:pt x="28884" y="13544"/>
                      <a:pt x="25817" y="13544"/>
                      <a:pt x="25817" y="13544"/>
                    </a:cubicBezTo>
                    <a:cubicBezTo>
                      <a:pt x="19680" y="13544"/>
                      <a:pt x="16612" y="16612"/>
                      <a:pt x="13544" y="22748"/>
                    </a:cubicBezTo>
                    <a:cubicBezTo>
                      <a:pt x="10476" y="25816"/>
                      <a:pt x="10476" y="31953"/>
                      <a:pt x="10476" y="38089"/>
                    </a:cubicBezTo>
                    <a:cubicBezTo>
                      <a:pt x="10476" y="44225"/>
                      <a:pt x="13544" y="47294"/>
                      <a:pt x="19680" y="50362"/>
                    </a:cubicBezTo>
                    <a:cubicBezTo>
                      <a:pt x="22749" y="53430"/>
                      <a:pt x="28884" y="53430"/>
                      <a:pt x="35021" y="53430"/>
                    </a:cubicBezTo>
                    <a:cubicBezTo>
                      <a:pt x="41158" y="53430"/>
                      <a:pt x="44225" y="50362"/>
                      <a:pt x="47294" y="44225"/>
                    </a:cubicBezTo>
                    <a:lnTo>
                      <a:pt x="47294" y="44225"/>
                    </a:lnTo>
                    <a:cubicBezTo>
                      <a:pt x="53430" y="35021"/>
                      <a:pt x="50362" y="22748"/>
                      <a:pt x="41158" y="16612"/>
                    </a:cubicBezTo>
                    <a:cubicBezTo>
                      <a:pt x="38090" y="13544"/>
                      <a:pt x="35021" y="13544"/>
                      <a:pt x="28884" y="1354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BBA8424C-74D3-432E-9D4B-148190CB26D5}"/>
                </a:ext>
              </a:extLst>
            </p:cNvPr>
            <p:cNvGrpSpPr/>
            <p:nvPr/>
          </p:nvGrpSpPr>
          <p:grpSpPr>
            <a:xfrm>
              <a:off x="15217771" y="2789645"/>
              <a:ext cx="146679" cy="189162"/>
              <a:chOff x="15217771" y="2789645"/>
              <a:chExt cx="146679" cy="189162"/>
            </a:xfrm>
          </p:grpSpPr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75EF24F8-CEA1-40F7-807B-5F82C684D512}"/>
                  </a:ext>
                </a:extLst>
              </p:cNvPr>
              <p:cNvSpPr/>
              <p:nvPr/>
            </p:nvSpPr>
            <p:spPr>
              <a:xfrm>
                <a:off x="15217771" y="2791316"/>
                <a:ext cx="135403" cy="85443"/>
              </a:xfrm>
              <a:custGeom>
                <a:avLst/>
                <a:gdLst>
                  <a:gd name="connsiteX0" fmla="*/ 14260 w 135403"/>
                  <a:gd name="connsiteY0" fmla="*/ 1397 h 85443"/>
                  <a:gd name="connsiteX1" fmla="*/ 100168 w 135403"/>
                  <a:gd name="connsiteY1" fmla="*/ 22874 h 85443"/>
                  <a:gd name="connsiteX2" fmla="*/ 112441 w 135403"/>
                  <a:gd name="connsiteY2" fmla="*/ 25942 h 85443"/>
                  <a:gd name="connsiteX3" fmla="*/ 124714 w 135403"/>
                  <a:gd name="connsiteY3" fmla="*/ 35147 h 85443"/>
                  <a:gd name="connsiteX4" fmla="*/ 130850 w 135403"/>
                  <a:gd name="connsiteY4" fmla="*/ 78102 h 85443"/>
                  <a:gd name="connsiteX5" fmla="*/ 90964 w 135403"/>
                  <a:gd name="connsiteY5" fmla="*/ 81170 h 85443"/>
                  <a:gd name="connsiteX6" fmla="*/ 35736 w 135403"/>
                  <a:gd name="connsiteY6" fmla="*/ 62761 h 85443"/>
                  <a:gd name="connsiteX7" fmla="*/ 1987 w 135403"/>
                  <a:gd name="connsiteY7" fmla="*/ 38215 h 85443"/>
                  <a:gd name="connsiteX8" fmla="*/ 14260 w 135403"/>
                  <a:gd name="connsiteY8" fmla="*/ 1397 h 85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5403" h="85443">
                    <a:moveTo>
                      <a:pt x="14260" y="1397"/>
                    </a:moveTo>
                    <a:cubicBezTo>
                      <a:pt x="38805" y="-4739"/>
                      <a:pt x="69487" y="10602"/>
                      <a:pt x="100168" y="22874"/>
                    </a:cubicBezTo>
                    <a:cubicBezTo>
                      <a:pt x="103237" y="22874"/>
                      <a:pt x="112441" y="22874"/>
                      <a:pt x="112441" y="25942"/>
                    </a:cubicBezTo>
                    <a:cubicBezTo>
                      <a:pt x="115509" y="29011"/>
                      <a:pt x="121646" y="32079"/>
                      <a:pt x="124714" y="35147"/>
                    </a:cubicBezTo>
                    <a:cubicBezTo>
                      <a:pt x="133919" y="47420"/>
                      <a:pt x="140055" y="65829"/>
                      <a:pt x="130850" y="78102"/>
                    </a:cubicBezTo>
                    <a:cubicBezTo>
                      <a:pt x="121646" y="90374"/>
                      <a:pt x="103237" y="84238"/>
                      <a:pt x="90964" y="81170"/>
                    </a:cubicBezTo>
                    <a:cubicBezTo>
                      <a:pt x="72555" y="75033"/>
                      <a:pt x="54146" y="68897"/>
                      <a:pt x="35736" y="62761"/>
                    </a:cubicBezTo>
                    <a:cubicBezTo>
                      <a:pt x="23464" y="56624"/>
                      <a:pt x="8123" y="53556"/>
                      <a:pt x="1987" y="38215"/>
                    </a:cubicBezTo>
                    <a:cubicBezTo>
                      <a:pt x="-4150" y="16738"/>
                      <a:pt x="5055" y="4465"/>
                      <a:pt x="14260" y="139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FC497AA2-A7F1-42DE-850D-C77BEB01A349}"/>
                  </a:ext>
                </a:extLst>
              </p:cNvPr>
              <p:cNvSpPr/>
              <p:nvPr/>
            </p:nvSpPr>
            <p:spPr>
              <a:xfrm>
                <a:off x="15225096" y="2833808"/>
                <a:ext cx="134215" cy="85905"/>
              </a:xfrm>
              <a:custGeom>
                <a:avLst/>
                <a:gdLst>
                  <a:gd name="connsiteX0" fmla="*/ 13071 w 134215"/>
                  <a:gd name="connsiteY0" fmla="*/ 4927 h 85905"/>
                  <a:gd name="connsiteX1" fmla="*/ 105116 w 134215"/>
                  <a:gd name="connsiteY1" fmla="*/ 23336 h 85905"/>
                  <a:gd name="connsiteX2" fmla="*/ 111253 w 134215"/>
                  <a:gd name="connsiteY2" fmla="*/ 26405 h 85905"/>
                  <a:gd name="connsiteX3" fmla="*/ 123525 w 134215"/>
                  <a:gd name="connsiteY3" fmla="*/ 35609 h 85905"/>
                  <a:gd name="connsiteX4" fmla="*/ 129662 w 134215"/>
                  <a:gd name="connsiteY4" fmla="*/ 78564 h 85905"/>
                  <a:gd name="connsiteX5" fmla="*/ 89775 w 134215"/>
                  <a:gd name="connsiteY5" fmla="*/ 81632 h 85905"/>
                  <a:gd name="connsiteX6" fmla="*/ 34548 w 134215"/>
                  <a:gd name="connsiteY6" fmla="*/ 63223 h 85905"/>
                  <a:gd name="connsiteX7" fmla="*/ 798 w 134215"/>
                  <a:gd name="connsiteY7" fmla="*/ 38677 h 85905"/>
                  <a:gd name="connsiteX8" fmla="*/ 13071 w 134215"/>
                  <a:gd name="connsiteY8" fmla="*/ 4927 h 85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4215" h="85905">
                    <a:moveTo>
                      <a:pt x="13071" y="4927"/>
                    </a:moveTo>
                    <a:cubicBezTo>
                      <a:pt x="43753" y="-10413"/>
                      <a:pt x="74434" y="14132"/>
                      <a:pt x="105116" y="23336"/>
                    </a:cubicBezTo>
                    <a:cubicBezTo>
                      <a:pt x="108185" y="23336"/>
                      <a:pt x="111253" y="26405"/>
                      <a:pt x="111253" y="26405"/>
                    </a:cubicBezTo>
                    <a:cubicBezTo>
                      <a:pt x="114321" y="29473"/>
                      <a:pt x="120457" y="32541"/>
                      <a:pt x="123525" y="35609"/>
                    </a:cubicBezTo>
                    <a:cubicBezTo>
                      <a:pt x="132731" y="47882"/>
                      <a:pt x="138866" y="66291"/>
                      <a:pt x="129662" y="78564"/>
                    </a:cubicBezTo>
                    <a:cubicBezTo>
                      <a:pt x="120457" y="90836"/>
                      <a:pt x="102049" y="84700"/>
                      <a:pt x="89775" y="81632"/>
                    </a:cubicBezTo>
                    <a:cubicBezTo>
                      <a:pt x="71367" y="75496"/>
                      <a:pt x="52958" y="69359"/>
                      <a:pt x="34548" y="63223"/>
                    </a:cubicBezTo>
                    <a:cubicBezTo>
                      <a:pt x="22276" y="57086"/>
                      <a:pt x="6935" y="54018"/>
                      <a:pt x="798" y="38677"/>
                    </a:cubicBezTo>
                    <a:cubicBezTo>
                      <a:pt x="-2270" y="23336"/>
                      <a:pt x="3867" y="11064"/>
                      <a:pt x="13071" y="492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57582659-87E0-4004-A599-C52E97D3C124}"/>
                  </a:ext>
                </a:extLst>
              </p:cNvPr>
              <p:cNvSpPr/>
              <p:nvPr/>
            </p:nvSpPr>
            <p:spPr>
              <a:xfrm>
                <a:off x="15227477" y="2880672"/>
                <a:ext cx="121268" cy="72792"/>
              </a:xfrm>
              <a:custGeom>
                <a:avLst/>
                <a:gdLst>
                  <a:gd name="connsiteX0" fmla="*/ 10689 w 121268"/>
                  <a:gd name="connsiteY0" fmla="*/ 4087 h 72792"/>
                  <a:gd name="connsiteX1" fmla="*/ 93531 w 121268"/>
                  <a:gd name="connsiteY1" fmla="*/ 19428 h 72792"/>
                  <a:gd name="connsiteX2" fmla="*/ 99667 w 121268"/>
                  <a:gd name="connsiteY2" fmla="*/ 22496 h 72792"/>
                  <a:gd name="connsiteX3" fmla="*/ 111940 w 121268"/>
                  <a:gd name="connsiteY3" fmla="*/ 28632 h 72792"/>
                  <a:gd name="connsiteX4" fmla="*/ 118076 w 121268"/>
                  <a:gd name="connsiteY4" fmla="*/ 65450 h 72792"/>
                  <a:gd name="connsiteX5" fmla="*/ 81258 w 121268"/>
                  <a:gd name="connsiteY5" fmla="*/ 68519 h 72792"/>
                  <a:gd name="connsiteX6" fmla="*/ 35235 w 121268"/>
                  <a:gd name="connsiteY6" fmla="*/ 53178 h 72792"/>
                  <a:gd name="connsiteX7" fmla="*/ 4554 w 121268"/>
                  <a:gd name="connsiteY7" fmla="*/ 31700 h 72792"/>
                  <a:gd name="connsiteX8" fmla="*/ 10689 w 121268"/>
                  <a:gd name="connsiteY8" fmla="*/ 4087 h 72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1268" h="72792">
                    <a:moveTo>
                      <a:pt x="10689" y="4087"/>
                    </a:moveTo>
                    <a:cubicBezTo>
                      <a:pt x="38304" y="-8186"/>
                      <a:pt x="65917" y="10223"/>
                      <a:pt x="93531" y="19428"/>
                    </a:cubicBezTo>
                    <a:cubicBezTo>
                      <a:pt x="96599" y="19428"/>
                      <a:pt x="96599" y="22496"/>
                      <a:pt x="99667" y="22496"/>
                    </a:cubicBezTo>
                    <a:cubicBezTo>
                      <a:pt x="102735" y="25564"/>
                      <a:pt x="105803" y="25564"/>
                      <a:pt x="111940" y="28632"/>
                    </a:cubicBezTo>
                    <a:cubicBezTo>
                      <a:pt x="121144" y="37837"/>
                      <a:pt x="124212" y="53178"/>
                      <a:pt x="118076" y="65450"/>
                    </a:cubicBezTo>
                    <a:cubicBezTo>
                      <a:pt x="108872" y="77723"/>
                      <a:pt x="93531" y="71587"/>
                      <a:pt x="81258" y="68519"/>
                    </a:cubicBezTo>
                    <a:cubicBezTo>
                      <a:pt x="65917" y="65450"/>
                      <a:pt x="50576" y="59314"/>
                      <a:pt x="35235" y="53178"/>
                    </a:cubicBezTo>
                    <a:cubicBezTo>
                      <a:pt x="26030" y="50110"/>
                      <a:pt x="10689" y="47041"/>
                      <a:pt x="4554" y="31700"/>
                    </a:cubicBezTo>
                    <a:cubicBezTo>
                      <a:pt x="-4652" y="19428"/>
                      <a:pt x="1485" y="7155"/>
                      <a:pt x="10689" y="408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5D434FC9-0659-419D-82FF-D9040F0E6CC6}"/>
                  </a:ext>
                </a:extLst>
              </p:cNvPr>
              <p:cNvSpPr/>
              <p:nvPr/>
            </p:nvSpPr>
            <p:spPr>
              <a:xfrm>
                <a:off x="15235625" y="2924808"/>
                <a:ext cx="88727" cy="53999"/>
              </a:xfrm>
              <a:custGeom>
                <a:avLst/>
                <a:gdLst>
                  <a:gd name="connsiteX0" fmla="*/ 8678 w 88727"/>
                  <a:gd name="connsiteY0" fmla="*/ 2905 h 53999"/>
                  <a:gd name="connsiteX1" fmla="*/ 70042 w 88727"/>
                  <a:gd name="connsiteY1" fmla="*/ 12109 h 53999"/>
                  <a:gd name="connsiteX2" fmla="*/ 73110 w 88727"/>
                  <a:gd name="connsiteY2" fmla="*/ 15177 h 53999"/>
                  <a:gd name="connsiteX3" fmla="*/ 82314 w 88727"/>
                  <a:gd name="connsiteY3" fmla="*/ 21314 h 53999"/>
                  <a:gd name="connsiteX4" fmla="*/ 85383 w 88727"/>
                  <a:gd name="connsiteY4" fmla="*/ 48927 h 53999"/>
                  <a:gd name="connsiteX5" fmla="*/ 57769 w 88727"/>
                  <a:gd name="connsiteY5" fmla="*/ 51996 h 53999"/>
                  <a:gd name="connsiteX6" fmla="*/ 24019 w 88727"/>
                  <a:gd name="connsiteY6" fmla="*/ 39723 h 53999"/>
                  <a:gd name="connsiteX7" fmla="*/ 2542 w 88727"/>
                  <a:gd name="connsiteY7" fmla="*/ 24382 h 53999"/>
                  <a:gd name="connsiteX8" fmla="*/ 8678 w 88727"/>
                  <a:gd name="connsiteY8" fmla="*/ 2905 h 5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8727" h="53999">
                    <a:moveTo>
                      <a:pt x="8678" y="2905"/>
                    </a:moveTo>
                    <a:cubicBezTo>
                      <a:pt x="27088" y="-6300"/>
                      <a:pt x="48564" y="9041"/>
                      <a:pt x="70042" y="12109"/>
                    </a:cubicBezTo>
                    <a:cubicBezTo>
                      <a:pt x="73110" y="12109"/>
                      <a:pt x="73110" y="12109"/>
                      <a:pt x="73110" y="15177"/>
                    </a:cubicBezTo>
                    <a:cubicBezTo>
                      <a:pt x="76179" y="15177"/>
                      <a:pt x="79246" y="18246"/>
                      <a:pt x="82314" y="21314"/>
                    </a:cubicBezTo>
                    <a:cubicBezTo>
                      <a:pt x="88451" y="27450"/>
                      <a:pt x="91520" y="39723"/>
                      <a:pt x="85383" y="48927"/>
                    </a:cubicBezTo>
                    <a:cubicBezTo>
                      <a:pt x="79246" y="58132"/>
                      <a:pt x="66974" y="51996"/>
                      <a:pt x="57769" y="51996"/>
                    </a:cubicBezTo>
                    <a:cubicBezTo>
                      <a:pt x="45497" y="48927"/>
                      <a:pt x="33223" y="45859"/>
                      <a:pt x="24019" y="39723"/>
                    </a:cubicBezTo>
                    <a:cubicBezTo>
                      <a:pt x="17882" y="36655"/>
                      <a:pt x="5610" y="33586"/>
                      <a:pt x="2542" y="24382"/>
                    </a:cubicBezTo>
                    <a:cubicBezTo>
                      <a:pt x="-3594" y="15177"/>
                      <a:pt x="2542" y="5973"/>
                      <a:pt x="8678" y="2905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26CD2D71-CDD9-44AC-9898-D331662BB97B}"/>
                  </a:ext>
                </a:extLst>
              </p:cNvPr>
              <p:cNvSpPr/>
              <p:nvPr/>
            </p:nvSpPr>
            <p:spPr>
              <a:xfrm>
                <a:off x="15219758" y="2789645"/>
                <a:ext cx="144692" cy="131931"/>
              </a:xfrm>
              <a:custGeom>
                <a:avLst/>
                <a:gdLst>
                  <a:gd name="connsiteX0" fmla="*/ 122727 w 144692"/>
                  <a:gd name="connsiteY0" fmla="*/ 131932 h 131931"/>
                  <a:gd name="connsiteX1" fmla="*/ 82840 w 144692"/>
                  <a:gd name="connsiteY1" fmla="*/ 122727 h 131931"/>
                  <a:gd name="connsiteX2" fmla="*/ 0 w 144692"/>
                  <a:gd name="connsiteY2" fmla="*/ 61364 h 131931"/>
                  <a:gd name="connsiteX3" fmla="*/ 9204 w 144692"/>
                  <a:gd name="connsiteY3" fmla="*/ 42955 h 131931"/>
                  <a:gd name="connsiteX4" fmla="*/ 21477 w 144692"/>
                  <a:gd name="connsiteY4" fmla="*/ 42955 h 131931"/>
                  <a:gd name="connsiteX5" fmla="*/ 119659 w 144692"/>
                  <a:gd name="connsiteY5" fmla="*/ 70568 h 131931"/>
                  <a:gd name="connsiteX6" fmla="*/ 128863 w 144692"/>
                  <a:gd name="connsiteY6" fmla="*/ 58296 h 131931"/>
                  <a:gd name="connsiteX7" fmla="*/ 128863 w 144692"/>
                  <a:gd name="connsiteY7" fmla="*/ 49091 h 131931"/>
                  <a:gd name="connsiteX8" fmla="*/ 46023 w 144692"/>
                  <a:gd name="connsiteY8" fmla="*/ 12273 h 131931"/>
                  <a:gd name="connsiteX9" fmla="*/ 39886 w 144692"/>
                  <a:gd name="connsiteY9" fmla="*/ 6136 h 131931"/>
                  <a:gd name="connsiteX10" fmla="*/ 46023 w 144692"/>
                  <a:gd name="connsiteY10" fmla="*/ 0 h 131931"/>
                  <a:gd name="connsiteX11" fmla="*/ 135000 w 144692"/>
                  <a:gd name="connsiteY11" fmla="*/ 42955 h 131931"/>
                  <a:gd name="connsiteX12" fmla="*/ 138068 w 144692"/>
                  <a:gd name="connsiteY12" fmla="*/ 61364 h 131931"/>
                  <a:gd name="connsiteX13" fmla="*/ 131931 w 144692"/>
                  <a:gd name="connsiteY13" fmla="*/ 73636 h 131931"/>
                  <a:gd name="connsiteX14" fmla="*/ 144204 w 144692"/>
                  <a:gd name="connsiteY14" fmla="*/ 116591 h 131931"/>
                  <a:gd name="connsiteX15" fmla="*/ 122727 w 144692"/>
                  <a:gd name="connsiteY15" fmla="*/ 131932 h 131931"/>
                  <a:gd name="connsiteX16" fmla="*/ 15341 w 144692"/>
                  <a:gd name="connsiteY16" fmla="*/ 55227 h 131931"/>
                  <a:gd name="connsiteX17" fmla="*/ 15341 w 144692"/>
                  <a:gd name="connsiteY17" fmla="*/ 55227 h 131931"/>
                  <a:gd name="connsiteX18" fmla="*/ 12273 w 144692"/>
                  <a:gd name="connsiteY18" fmla="*/ 64432 h 131931"/>
                  <a:gd name="connsiteX19" fmla="*/ 85909 w 144692"/>
                  <a:gd name="connsiteY19" fmla="*/ 113523 h 131931"/>
                  <a:gd name="connsiteX20" fmla="*/ 135000 w 144692"/>
                  <a:gd name="connsiteY20" fmla="*/ 113523 h 131931"/>
                  <a:gd name="connsiteX21" fmla="*/ 125795 w 144692"/>
                  <a:gd name="connsiteY21" fmla="*/ 79773 h 131931"/>
                  <a:gd name="connsiteX22" fmla="*/ 125795 w 144692"/>
                  <a:gd name="connsiteY22" fmla="*/ 79773 h 131931"/>
                  <a:gd name="connsiteX23" fmla="*/ 15341 w 144692"/>
                  <a:gd name="connsiteY23" fmla="*/ 55227 h 131931"/>
                  <a:gd name="connsiteX24" fmla="*/ 15341 w 144692"/>
                  <a:gd name="connsiteY24" fmla="*/ 55227 h 1319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44692" h="131931">
                    <a:moveTo>
                      <a:pt x="122727" y="131932"/>
                    </a:moveTo>
                    <a:cubicBezTo>
                      <a:pt x="110454" y="131932"/>
                      <a:pt x="95113" y="128864"/>
                      <a:pt x="82840" y="122727"/>
                    </a:cubicBezTo>
                    <a:cubicBezTo>
                      <a:pt x="27613" y="107386"/>
                      <a:pt x="0" y="85909"/>
                      <a:pt x="0" y="61364"/>
                    </a:cubicBezTo>
                    <a:cubicBezTo>
                      <a:pt x="0" y="52159"/>
                      <a:pt x="3067" y="46023"/>
                      <a:pt x="9204" y="42955"/>
                    </a:cubicBezTo>
                    <a:cubicBezTo>
                      <a:pt x="15341" y="39886"/>
                      <a:pt x="21477" y="42955"/>
                      <a:pt x="21477" y="42955"/>
                    </a:cubicBezTo>
                    <a:cubicBezTo>
                      <a:pt x="73636" y="67500"/>
                      <a:pt x="107386" y="76705"/>
                      <a:pt x="119659" y="70568"/>
                    </a:cubicBezTo>
                    <a:cubicBezTo>
                      <a:pt x="122727" y="67500"/>
                      <a:pt x="125795" y="64432"/>
                      <a:pt x="128863" y="58296"/>
                    </a:cubicBezTo>
                    <a:cubicBezTo>
                      <a:pt x="128863" y="55227"/>
                      <a:pt x="128863" y="52159"/>
                      <a:pt x="128863" y="49091"/>
                    </a:cubicBezTo>
                    <a:cubicBezTo>
                      <a:pt x="116591" y="30682"/>
                      <a:pt x="64431" y="15341"/>
                      <a:pt x="46023" y="12273"/>
                    </a:cubicBezTo>
                    <a:cubicBezTo>
                      <a:pt x="42954" y="12273"/>
                      <a:pt x="39886" y="9205"/>
                      <a:pt x="39886" y="6136"/>
                    </a:cubicBezTo>
                    <a:cubicBezTo>
                      <a:pt x="39886" y="3068"/>
                      <a:pt x="42954" y="0"/>
                      <a:pt x="46023" y="0"/>
                    </a:cubicBezTo>
                    <a:cubicBezTo>
                      <a:pt x="52159" y="3068"/>
                      <a:pt x="119659" y="15341"/>
                      <a:pt x="135000" y="42955"/>
                    </a:cubicBezTo>
                    <a:cubicBezTo>
                      <a:pt x="138068" y="49091"/>
                      <a:pt x="138068" y="55227"/>
                      <a:pt x="138068" y="61364"/>
                    </a:cubicBezTo>
                    <a:cubicBezTo>
                      <a:pt x="138068" y="64432"/>
                      <a:pt x="135000" y="67500"/>
                      <a:pt x="131931" y="73636"/>
                    </a:cubicBezTo>
                    <a:cubicBezTo>
                      <a:pt x="135000" y="76705"/>
                      <a:pt x="147272" y="98182"/>
                      <a:pt x="144204" y="116591"/>
                    </a:cubicBezTo>
                    <a:cubicBezTo>
                      <a:pt x="141136" y="128864"/>
                      <a:pt x="135000" y="131932"/>
                      <a:pt x="122727" y="131932"/>
                    </a:cubicBezTo>
                    <a:close/>
                    <a:moveTo>
                      <a:pt x="15341" y="55227"/>
                    </a:moveTo>
                    <a:cubicBezTo>
                      <a:pt x="15341" y="55227"/>
                      <a:pt x="15341" y="55227"/>
                      <a:pt x="15341" y="55227"/>
                    </a:cubicBezTo>
                    <a:cubicBezTo>
                      <a:pt x="12273" y="55227"/>
                      <a:pt x="12273" y="58296"/>
                      <a:pt x="12273" y="64432"/>
                    </a:cubicBezTo>
                    <a:cubicBezTo>
                      <a:pt x="12273" y="82841"/>
                      <a:pt x="36818" y="98182"/>
                      <a:pt x="85909" y="113523"/>
                    </a:cubicBezTo>
                    <a:cubicBezTo>
                      <a:pt x="122727" y="122727"/>
                      <a:pt x="131931" y="122727"/>
                      <a:pt x="135000" y="113523"/>
                    </a:cubicBezTo>
                    <a:cubicBezTo>
                      <a:pt x="138068" y="104318"/>
                      <a:pt x="128863" y="88977"/>
                      <a:pt x="125795" y="79773"/>
                    </a:cubicBezTo>
                    <a:cubicBezTo>
                      <a:pt x="125795" y="79773"/>
                      <a:pt x="125795" y="79773"/>
                      <a:pt x="125795" y="79773"/>
                    </a:cubicBezTo>
                    <a:cubicBezTo>
                      <a:pt x="113522" y="85909"/>
                      <a:pt x="92045" y="88977"/>
                      <a:pt x="15341" y="55227"/>
                    </a:cubicBezTo>
                    <a:cubicBezTo>
                      <a:pt x="18408" y="55227"/>
                      <a:pt x="18408" y="55227"/>
                      <a:pt x="15341" y="5522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31562425-6240-4DB6-859C-1933CB460677}"/>
                  </a:ext>
                </a:extLst>
              </p:cNvPr>
              <p:cNvSpPr/>
              <p:nvPr/>
            </p:nvSpPr>
            <p:spPr>
              <a:xfrm>
                <a:off x="15218555" y="2878622"/>
                <a:ext cx="134669" cy="79772"/>
              </a:xfrm>
              <a:custGeom>
                <a:avLst/>
                <a:gdLst>
                  <a:gd name="connsiteX0" fmla="*/ 105522 w 134669"/>
                  <a:gd name="connsiteY0" fmla="*/ 79773 h 79772"/>
                  <a:gd name="connsiteX1" fmla="*/ 99385 w 134669"/>
                  <a:gd name="connsiteY1" fmla="*/ 79773 h 79772"/>
                  <a:gd name="connsiteX2" fmla="*/ 7340 w 134669"/>
                  <a:gd name="connsiteY2" fmla="*/ 46023 h 79772"/>
                  <a:gd name="connsiteX3" fmla="*/ 1204 w 134669"/>
                  <a:gd name="connsiteY3" fmla="*/ 24545 h 79772"/>
                  <a:gd name="connsiteX4" fmla="*/ 16545 w 134669"/>
                  <a:gd name="connsiteY4" fmla="*/ 0 h 79772"/>
                  <a:gd name="connsiteX5" fmla="*/ 25749 w 134669"/>
                  <a:gd name="connsiteY5" fmla="*/ 3068 h 79772"/>
                  <a:gd name="connsiteX6" fmla="*/ 22680 w 134669"/>
                  <a:gd name="connsiteY6" fmla="*/ 12273 h 79772"/>
                  <a:gd name="connsiteX7" fmla="*/ 13476 w 134669"/>
                  <a:gd name="connsiteY7" fmla="*/ 27614 h 79772"/>
                  <a:gd name="connsiteX8" fmla="*/ 16545 w 134669"/>
                  <a:gd name="connsiteY8" fmla="*/ 36818 h 79772"/>
                  <a:gd name="connsiteX9" fmla="*/ 102453 w 134669"/>
                  <a:gd name="connsiteY9" fmla="*/ 67500 h 79772"/>
                  <a:gd name="connsiteX10" fmla="*/ 120863 w 134669"/>
                  <a:gd name="connsiteY10" fmla="*/ 64432 h 79772"/>
                  <a:gd name="connsiteX11" fmla="*/ 123931 w 134669"/>
                  <a:gd name="connsiteY11" fmla="*/ 42954 h 79772"/>
                  <a:gd name="connsiteX12" fmla="*/ 126998 w 134669"/>
                  <a:gd name="connsiteY12" fmla="*/ 36818 h 79772"/>
                  <a:gd name="connsiteX13" fmla="*/ 133135 w 134669"/>
                  <a:gd name="connsiteY13" fmla="*/ 39886 h 79772"/>
                  <a:gd name="connsiteX14" fmla="*/ 126998 w 134669"/>
                  <a:gd name="connsiteY14" fmla="*/ 73636 h 79772"/>
                  <a:gd name="connsiteX15" fmla="*/ 105522 w 134669"/>
                  <a:gd name="connsiteY15" fmla="*/ 79773 h 7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4669" h="79772">
                    <a:moveTo>
                      <a:pt x="105522" y="79773"/>
                    </a:moveTo>
                    <a:cubicBezTo>
                      <a:pt x="102453" y="79773"/>
                      <a:pt x="102453" y="79773"/>
                      <a:pt x="99385" y="79773"/>
                    </a:cubicBezTo>
                    <a:cubicBezTo>
                      <a:pt x="59499" y="76705"/>
                      <a:pt x="19612" y="55227"/>
                      <a:pt x="7340" y="46023"/>
                    </a:cubicBezTo>
                    <a:cubicBezTo>
                      <a:pt x="1204" y="39886"/>
                      <a:pt x="-1865" y="33750"/>
                      <a:pt x="1204" y="24545"/>
                    </a:cubicBezTo>
                    <a:cubicBezTo>
                      <a:pt x="4271" y="15341"/>
                      <a:pt x="10408" y="3068"/>
                      <a:pt x="16545" y="0"/>
                    </a:cubicBezTo>
                    <a:cubicBezTo>
                      <a:pt x="19612" y="0"/>
                      <a:pt x="22680" y="0"/>
                      <a:pt x="25749" y="3068"/>
                    </a:cubicBezTo>
                    <a:cubicBezTo>
                      <a:pt x="25749" y="6136"/>
                      <a:pt x="25749" y="9205"/>
                      <a:pt x="22680" y="12273"/>
                    </a:cubicBezTo>
                    <a:cubicBezTo>
                      <a:pt x="19612" y="12273"/>
                      <a:pt x="16545" y="18409"/>
                      <a:pt x="13476" y="27614"/>
                    </a:cubicBezTo>
                    <a:cubicBezTo>
                      <a:pt x="13476" y="30682"/>
                      <a:pt x="13476" y="33750"/>
                      <a:pt x="16545" y="36818"/>
                    </a:cubicBezTo>
                    <a:cubicBezTo>
                      <a:pt x="25749" y="46023"/>
                      <a:pt x="65635" y="64432"/>
                      <a:pt x="102453" y="67500"/>
                    </a:cubicBezTo>
                    <a:cubicBezTo>
                      <a:pt x="111658" y="67500"/>
                      <a:pt x="117794" y="67500"/>
                      <a:pt x="120863" y="64432"/>
                    </a:cubicBezTo>
                    <a:cubicBezTo>
                      <a:pt x="126998" y="58295"/>
                      <a:pt x="123931" y="42954"/>
                      <a:pt x="123931" y="42954"/>
                    </a:cubicBezTo>
                    <a:cubicBezTo>
                      <a:pt x="123931" y="39886"/>
                      <a:pt x="123931" y="36818"/>
                      <a:pt x="126998" y="36818"/>
                    </a:cubicBezTo>
                    <a:cubicBezTo>
                      <a:pt x="130067" y="36818"/>
                      <a:pt x="133135" y="36818"/>
                      <a:pt x="133135" y="39886"/>
                    </a:cubicBezTo>
                    <a:cubicBezTo>
                      <a:pt x="133135" y="39886"/>
                      <a:pt x="139272" y="61364"/>
                      <a:pt x="126998" y="73636"/>
                    </a:cubicBezTo>
                    <a:cubicBezTo>
                      <a:pt x="123931" y="76705"/>
                      <a:pt x="117794" y="79773"/>
                      <a:pt x="105522" y="7977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F7C5CA51-AA9D-4D48-B0F2-F3601BC0513C}"/>
                </a:ext>
              </a:extLst>
            </p:cNvPr>
            <p:cNvSpPr/>
            <p:nvPr/>
          </p:nvSpPr>
          <p:spPr>
            <a:xfrm>
              <a:off x="15295100" y="2850139"/>
              <a:ext cx="134669" cy="123698"/>
            </a:xfrm>
            <a:custGeom>
              <a:avLst/>
              <a:gdLst>
                <a:gd name="connsiteX0" fmla="*/ 1363 w 134669"/>
                <a:gd name="connsiteY0" fmla="*/ 56097 h 123698"/>
                <a:gd name="connsiteX1" fmla="*/ 25908 w 134669"/>
                <a:gd name="connsiteY1" fmla="*/ 53029 h 123698"/>
                <a:gd name="connsiteX2" fmla="*/ 81135 w 134669"/>
                <a:gd name="connsiteY2" fmla="*/ 65301 h 123698"/>
                <a:gd name="connsiteX3" fmla="*/ 99544 w 134669"/>
                <a:gd name="connsiteY3" fmla="*/ 123597 h 123698"/>
                <a:gd name="connsiteX4" fmla="*/ 133294 w 134669"/>
                <a:gd name="connsiteY4" fmla="*/ 43824 h 123698"/>
                <a:gd name="connsiteX5" fmla="*/ 47385 w 134669"/>
                <a:gd name="connsiteY5" fmla="*/ 869 h 123698"/>
                <a:gd name="connsiteX6" fmla="*/ 1363 w 134669"/>
                <a:gd name="connsiteY6" fmla="*/ 56097 h 1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669" h="123698">
                  <a:moveTo>
                    <a:pt x="1363" y="56097"/>
                  </a:moveTo>
                  <a:cubicBezTo>
                    <a:pt x="7498" y="65301"/>
                    <a:pt x="19771" y="53029"/>
                    <a:pt x="25908" y="53029"/>
                  </a:cubicBezTo>
                  <a:cubicBezTo>
                    <a:pt x="47385" y="49960"/>
                    <a:pt x="62726" y="49960"/>
                    <a:pt x="81135" y="65301"/>
                  </a:cubicBezTo>
                  <a:cubicBezTo>
                    <a:pt x="90340" y="74506"/>
                    <a:pt x="62726" y="89847"/>
                    <a:pt x="99544" y="123597"/>
                  </a:cubicBezTo>
                  <a:cubicBezTo>
                    <a:pt x="102612" y="126665"/>
                    <a:pt x="142498" y="59165"/>
                    <a:pt x="133294" y="43824"/>
                  </a:cubicBezTo>
                  <a:cubicBezTo>
                    <a:pt x="117953" y="22347"/>
                    <a:pt x="78067" y="-5267"/>
                    <a:pt x="47385" y="869"/>
                  </a:cubicBezTo>
                  <a:cubicBezTo>
                    <a:pt x="32045" y="869"/>
                    <a:pt x="-7842" y="37688"/>
                    <a:pt x="1363" y="56097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29118169-C437-448B-AAF8-C77DF7FA5A48}"/>
                </a:ext>
              </a:extLst>
            </p:cNvPr>
            <p:cNvSpPr/>
            <p:nvPr/>
          </p:nvSpPr>
          <p:spPr>
            <a:xfrm>
              <a:off x="15287258" y="2842300"/>
              <a:ext cx="146506" cy="119163"/>
            </a:xfrm>
            <a:custGeom>
              <a:avLst/>
              <a:gdLst>
                <a:gd name="connsiteX0" fmla="*/ 92045 w 146506"/>
                <a:gd name="connsiteY0" fmla="*/ 119163 h 119163"/>
                <a:gd name="connsiteX1" fmla="*/ 85910 w 146506"/>
                <a:gd name="connsiteY1" fmla="*/ 116095 h 119163"/>
                <a:gd name="connsiteX2" fmla="*/ 82841 w 146506"/>
                <a:gd name="connsiteY2" fmla="*/ 73140 h 119163"/>
                <a:gd name="connsiteX3" fmla="*/ 33750 w 146506"/>
                <a:gd name="connsiteY3" fmla="*/ 67004 h 119163"/>
                <a:gd name="connsiteX4" fmla="*/ 6137 w 146506"/>
                <a:gd name="connsiteY4" fmla="*/ 67004 h 119163"/>
                <a:gd name="connsiteX5" fmla="*/ 0 w 146506"/>
                <a:gd name="connsiteY5" fmla="*/ 51663 h 119163"/>
                <a:gd name="connsiteX6" fmla="*/ 52159 w 146506"/>
                <a:gd name="connsiteY6" fmla="*/ 2572 h 119163"/>
                <a:gd name="connsiteX7" fmla="*/ 144205 w 146506"/>
                <a:gd name="connsiteY7" fmla="*/ 45527 h 119163"/>
                <a:gd name="connsiteX8" fmla="*/ 144205 w 146506"/>
                <a:gd name="connsiteY8" fmla="*/ 54731 h 119163"/>
                <a:gd name="connsiteX9" fmla="*/ 135000 w 146506"/>
                <a:gd name="connsiteY9" fmla="*/ 54731 h 119163"/>
                <a:gd name="connsiteX10" fmla="*/ 55228 w 146506"/>
                <a:gd name="connsiteY10" fmla="*/ 14845 h 119163"/>
                <a:gd name="connsiteX11" fmla="*/ 9205 w 146506"/>
                <a:gd name="connsiteY11" fmla="*/ 54731 h 119163"/>
                <a:gd name="connsiteX12" fmla="*/ 9205 w 146506"/>
                <a:gd name="connsiteY12" fmla="*/ 60868 h 119163"/>
                <a:gd name="connsiteX13" fmla="*/ 27613 w 146506"/>
                <a:gd name="connsiteY13" fmla="*/ 57799 h 119163"/>
                <a:gd name="connsiteX14" fmla="*/ 92045 w 146506"/>
                <a:gd name="connsiteY14" fmla="*/ 67004 h 119163"/>
                <a:gd name="connsiteX15" fmla="*/ 95114 w 146506"/>
                <a:gd name="connsiteY15" fmla="*/ 73140 h 119163"/>
                <a:gd name="connsiteX16" fmla="*/ 95114 w 146506"/>
                <a:gd name="connsiteY16" fmla="*/ 109958 h 119163"/>
                <a:gd name="connsiteX17" fmla="*/ 92045 w 146506"/>
                <a:gd name="connsiteY17" fmla="*/ 119163 h 119163"/>
                <a:gd name="connsiteX18" fmla="*/ 92045 w 146506"/>
                <a:gd name="connsiteY18" fmla="*/ 119163 h 119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6506" h="119163">
                  <a:moveTo>
                    <a:pt x="92045" y="119163"/>
                  </a:moveTo>
                  <a:cubicBezTo>
                    <a:pt x="88977" y="119163"/>
                    <a:pt x="88977" y="119163"/>
                    <a:pt x="85910" y="116095"/>
                  </a:cubicBezTo>
                  <a:cubicBezTo>
                    <a:pt x="76705" y="100754"/>
                    <a:pt x="79773" y="79277"/>
                    <a:pt x="82841" y="73140"/>
                  </a:cubicBezTo>
                  <a:cubicBezTo>
                    <a:pt x="67500" y="60868"/>
                    <a:pt x="49091" y="63936"/>
                    <a:pt x="33750" y="67004"/>
                  </a:cubicBezTo>
                  <a:cubicBezTo>
                    <a:pt x="21478" y="70072"/>
                    <a:pt x="12273" y="73140"/>
                    <a:pt x="6137" y="67004"/>
                  </a:cubicBezTo>
                  <a:cubicBezTo>
                    <a:pt x="3068" y="63936"/>
                    <a:pt x="0" y="57799"/>
                    <a:pt x="0" y="51663"/>
                  </a:cubicBezTo>
                  <a:cubicBezTo>
                    <a:pt x="3068" y="36322"/>
                    <a:pt x="21478" y="11777"/>
                    <a:pt x="52159" y="2572"/>
                  </a:cubicBezTo>
                  <a:cubicBezTo>
                    <a:pt x="92045" y="-12769"/>
                    <a:pt x="141137" y="45527"/>
                    <a:pt x="144205" y="45527"/>
                  </a:cubicBezTo>
                  <a:cubicBezTo>
                    <a:pt x="147273" y="48595"/>
                    <a:pt x="147273" y="51663"/>
                    <a:pt x="144205" y="54731"/>
                  </a:cubicBezTo>
                  <a:cubicBezTo>
                    <a:pt x="141137" y="57799"/>
                    <a:pt x="138068" y="57799"/>
                    <a:pt x="135000" y="54731"/>
                  </a:cubicBezTo>
                  <a:cubicBezTo>
                    <a:pt x="122727" y="39390"/>
                    <a:pt x="82841" y="2572"/>
                    <a:pt x="55228" y="14845"/>
                  </a:cubicBezTo>
                  <a:cubicBezTo>
                    <a:pt x="27613" y="24049"/>
                    <a:pt x="12273" y="45527"/>
                    <a:pt x="9205" y="54731"/>
                  </a:cubicBezTo>
                  <a:cubicBezTo>
                    <a:pt x="9205" y="57799"/>
                    <a:pt x="9205" y="60868"/>
                    <a:pt x="9205" y="60868"/>
                  </a:cubicBezTo>
                  <a:cubicBezTo>
                    <a:pt x="12273" y="63936"/>
                    <a:pt x="18409" y="60868"/>
                    <a:pt x="27613" y="57799"/>
                  </a:cubicBezTo>
                  <a:cubicBezTo>
                    <a:pt x="42954" y="54731"/>
                    <a:pt x="67500" y="48595"/>
                    <a:pt x="92045" y="67004"/>
                  </a:cubicBezTo>
                  <a:cubicBezTo>
                    <a:pt x="95114" y="70072"/>
                    <a:pt x="95114" y="70072"/>
                    <a:pt x="95114" y="73140"/>
                  </a:cubicBezTo>
                  <a:cubicBezTo>
                    <a:pt x="92045" y="79277"/>
                    <a:pt x="88977" y="100754"/>
                    <a:pt x="95114" y="109958"/>
                  </a:cubicBezTo>
                  <a:cubicBezTo>
                    <a:pt x="98182" y="113027"/>
                    <a:pt x="95114" y="116095"/>
                    <a:pt x="92045" y="119163"/>
                  </a:cubicBezTo>
                  <a:cubicBezTo>
                    <a:pt x="95114" y="119163"/>
                    <a:pt x="95114" y="119163"/>
                    <a:pt x="92045" y="119163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1D9DC11A-F78A-4A02-AFCD-6C7D95D401B9}"/>
                </a:ext>
              </a:extLst>
            </p:cNvPr>
            <p:cNvSpPr/>
            <p:nvPr/>
          </p:nvSpPr>
          <p:spPr>
            <a:xfrm>
              <a:off x="11517847" y="2725195"/>
              <a:ext cx="1152251" cy="991048"/>
            </a:xfrm>
            <a:custGeom>
              <a:avLst/>
              <a:gdLst>
                <a:gd name="connsiteX0" fmla="*/ 63047 w 1152251"/>
                <a:gd name="connsiteY0" fmla="*/ 6155 h 991048"/>
                <a:gd name="connsiteX1" fmla="*/ 372934 w 1152251"/>
                <a:gd name="connsiteY1" fmla="*/ 312973 h 991048"/>
                <a:gd name="connsiteX2" fmla="*/ 596911 w 1152251"/>
                <a:gd name="connsiteY2" fmla="*/ 727177 h 991048"/>
                <a:gd name="connsiteX3" fmla="*/ 1103161 w 1152251"/>
                <a:gd name="connsiteY3" fmla="*/ 668882 h 991048"/>
                <a:gd name="connsiteX4" fmla="*/ 1152252 w 1152251"/>
                <a:gd name="connsiteY4" fmla="*/ 816155 h 991048"/>
                <a:gd name="connsiteX5" fmla="*/ 529410 w 1152251"/>
                <a:gd name="connsiteY5" fmla="*/ 991041 h 991048"/>
                <a:gd name="connsiteX6" fmla="*/ 63047 w 1152251"/>
                <a:gd name="connsiteY6" fmla="*/ 6155 h 99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251" h="991048">
                  <a:moveTo>
                    <a:pt x="63047" y="6155"/>
                  </a:moveTo>
                  <a:cubicBezTo>
                    <a:pt x="170434" y="-42936"/>
                    <a:pt x="317706" y="214791"/>
                    <a:pt x="372934" y="312973"/>
                  </a:cubicBezTo>
                  <a:cubicBezTo>
                    <a:pt x="422024" y="401950"/>
                    <a:pt x="596911" y="727177"/>
                    <a:pt x="596911" y="727177"/>
                  </a:cubicBezTo>
                  <a:lnTo>
                    <a:pt x="1103161" y="668882"/>
                  </a:lnTo>
                  <a:lnTo>
                    <a:pt x="1152252" y="816155"/>
                  </a:lnTo>
                  <a:cubicBezTo>
                    <a:pt x="1152252" y="816155"/>
                    <a:pt x="642934" y="987973"/>
                    <a:pt x="529410" y="991041"/>
                  </a:cubicBezTo>
                  <a:cubicBezTo>
                    <a:pt x="342252" y="994109"/>
                    <a:pt x="-179339" y="116609"/>
                    <a:pt x="63047" y="6155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" name="图形 1">
              <a:extLst>
                <a:ext uri="{FF2B5EF4-FFF2-40B4-BE49-F238E27FC236}">
                  <a16:creationId xmlns:a16="http://schemas.microsoft.com/office/drawing/2014/main" id="{765F0FFF-56AD-4844-BE38-D3B9FBF673A7}"/>
                </a:ext>
              </a:extLst>
            </p:cNvPr>
            <p:cNvGrpSpPr/>
            <p:nvPr/>
          </p:nvGrpSpPr>
          <p:grpSpPr>
            <a:xfrm>
              <a:off x="11295553" y="6189191"/>
              <a:ext cx="487841" cy="346704"/>
              <a:chOff x="11295553" y="6189191"/>
              <a:chExt cx="487841" cy="346704"/>
            </a:xfrm>
          </p:grpSpPr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D75966F3-45F1-40E4-9D84-3B77AF973B40}"/>
                  </a:ext>
                </a:extLst>
              </p:cNvPr>
              <p:cNvSpPr/>
              <p:nvPr/>
            </p:nvSpPr>
            <p:spPr>
              <a:xfrm>
                <a:off x="11304758" y="6189191"/>
                <a:ext cx="211704" cy="223976"/>
              </a:xfrm>
              <a:custGeom>
                <a:avLst/>
                <a:gdLst>
                  <a:gd name="connsiteX0" fmla="*/ 0 w 211704"/>
                  <a:gd name="connsiteY0" fmla="*/ 187159 h 223976"/>
                  <a:gd name="connsiteX1" fmla="*/ 9204 w 211704"/>
                  <a:gd name="connsiteY1" fmla="*/ 0 h 223976"/>
                  <a:gd name="connsiteX2" fmla="*/ 211704 w 211704"/>
                  <a:gd name="connsiteY2" fmla="*/ 0 h 223976"/>
                  <a:gd name="connsiteX3" fmla="*/ 162613 w 211704"/>
                  <a:gd name="connsiteY3" fmla="*/ 196363 h 223976"/>
                  <a:gd name="connsiteX4" fmla="*/ 12273 w 211704"/>
                  <a:gd name="connsiteY4" fmla="*/ 223977 h 223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704" h="223976">
                    <a:moveTo>
                      <a:pt x="0" y="187159"/>
                    </a:moveTo>
                    <a:lnTo>
                      <a:pt x="9204" y="0"/>
                    </a:lnTo>
                    <a:lnTo>
                      <a:pt x="211704" y="0"/>
                    </a:lnTo>
                    <a:lnTo>
                      <a:pt x="162613" y="196363"/>
                    </a:lnTo>
                    <a:lnTo>
                      <a:pt x="12273" y="223977"/>
                    </a:ln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DCDF7668-3BCF-4A46-A8DA-69239197091C}"/>
                  </a:ext>
                </a:extLst>
              </p:cNvPr>
              <p:cNvSpPr/>
              <p:nvPr/>
            </p:nvSpPr>
            <p:spPr>
              <a:xfrm>
                <a:off x="11296576" y="6330327"/>
                <a:ext cx="486818" cy="159545"/>
              </a:xfrm>
              <a:custGeom>
                <a:avLst/>
                <a:gdLst>
                  <a:gd name="connsiteX0" fmla="*/ 8182 w 486818"/>
                  <a:gd name="connsiteY0" fmla="*/ 46023 h 159545"/>
                  <a:gd name="connsiteX1" fmla="*/ 183068 w 486818"/>
                  <a:gd name="connsiteY1" fmla="*/ 0 h 159545"/>
                  <a:gd name="connsiteX2" fmla="*/ 318068 w 486818"/>
                  <a:gd name="connsiteY2" fmla="*/ 79773 h 159545"/>
                  <a:gd name="connsiteX3" fmla="*/ 486818 w 486818"/>
                  <a:gd name="connsiteY3" fmla="*/ 159545 h 159545"/>
                  <a:gd name="connsiteX4" fmla="*/ 8182 w 486818"/>
                  <a:gd name="connsiteY4" fmla="*/ 159545 h 159545"/>
                  <a:gd name="connsiteX5" fmla="*/ 8182 w 486818"/>
                  <a:gd name="connsiteY5" fmla="*/ 46023 h 15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6818" h="159545">
                    <a:moveTo>
                      <a:pt x="8182" y="46023"/>
                    </a:moveTo>
                    <a:cubicBezTo>
                      <a:pt x="8182" y="46023"/>
                      <a:pt x="118637" y="64432"/>
                      <a:pt x="183068" y="0"/>
                    </a:cubicBezTo>
                    <a:cubicBezTo>
                      <a:pt x="183068" y="0"/>
                      <a:pt x="272046" y="70568"/>
                      <a:pt x="318068" y="79773"/>
                    </a:cubicBezTo>
                    <a:cubicBezTo>
                      <a:pt x="364091" y="88978"/>
                      <a:pt x="474545" y="85909"/>
                      <a:pt x="486818" y="159545"/>
                    </a:cubicBezTo>
                    <a:lnTo>
                      <a:pt x="8182" y="159545"/>
                    </a:lnTo>
                    <a:cubicBezTo>
                      <a:pt x="8182" y="159545"/>
                      <a:pt x="-10227" y="95114"/>
                      <a:pt x="8182" y="4602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92083B83-4657-4A00-A67C-885F5DE498CF}"/>
                  </a:ext>
                </a:extLst>
              </p:cNvPr>
              <p:cNvSpPr/>
              <p:nvPr/>
            </p:nvSpPr>
            <p:spPr>
              <a:xfrm>
                <a:off x="11304758" y="6489872"/>
                <a:ext cx="478636" cy="46022"/>
              </a:xfrm>
              <a:custGeom>
                <a:avLst/>
                <a:gdLst>
                  <a:gd name="connsiteX0" fmla="*/ 0 w 478636"/>
                  <a:gd name="connsiteY0" fmla="*/ 0 h 46022"/>
                  <a:gd name="connsiteX1" fmla="*/ 478637 w 478636"/>
                  <a:gd name="connsiteY1" fmla="*/ 0 h 46022"/>
                  <a:gd name="connsiteX2" fmla="*/ 478637 w 478636"/>
                  <a:gd name="connsiteY2" fmla="*/ 46023 h 46022"/>
                  <a:gd name="connsiteX3" fmla="*/ 0 w 478636"/>
                  <a:gd name="connsiteY3" fmla="*/ 46023 h 46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8636" h="46022">
                    <a:moveTo>
                      <a:pt x="0" y="0"/>
                    </a:moveTo>
                    <a:lnTo>
                      <a:pt x="478637" y="0"/>
                    </a:lnTo>
                    <a:lnTo>
                      <a:pt x="478637" y="46023"/>
                    </a:lnTo>
                    <a:lnTo>
                      <a:pt x="0" y="46023"/>
                    </a:lnTo>
                    <a:close/>
                  </a:path>
                </a:pathLst>
              </a:custGeom>
              <a:solidFill>
                <a:srgbClr val="38333D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4163BDC2-BF41-488D-8E53-97740BB9D300}"/>
                  </a:ext>
                </a:extLst>
              </p:cNvPr>
              <p:cNvSpPr/>
              <p:nvPr/>
            </p:nvSpPr>
            <p:spPr>
              <a:xfrm>
                <a:off x="11295553" y="6318821"/>
                <a:ext cx="186392" cy="63664"/>
              </a:xfrm>
              <a:custGeom>
                <a:avLst/>
                <a:gdLst>
                  <a:gd name="connsiteX0" fmla="*/ 39887 w 186392"/>
                  <a:gd name="connsiteY0" fmla="*/ 63665 h 63664"/>
                  <a:gd name="connsiteX1" fmla="*/ 6137 w 186392"/>
                  <a:gd name="connsiteY1" fmla="*/ 60597 h 63664"/>
                  <a:gd name="connsiteX2" fmla="*/ 0 w 186392"/>
                  <a:gd name="connsiteY2" fmla="*/ 54460 h 63664"/>
                  <a:gd name="connsiteX3" fmla="*/ 6137 w 186392"/>
                  <a:gd name="connsiteY3" fmla="*/ 48324 h 63664"/>
                  <a:gd name="connsiteX4" fmla="*/ 174887 w 186392"/>
                  <a:gd name="connsiteY4" fmla="*/ 2301 h 63664"/>
                  <a:gd name="connsiteX5" fmla="*/ 184091 w 186392"/>
                  <a:gd name="connsiteY5" fmla="*/ 2301 h 63664"/>
                  <a:gd name="connsiteX6" fmla="*/ 184091 w 186392"/>
                  <a:gd name="connsiteY6" fmla="*/ 11506 h 63664"/>
                  <a:gd name="connsiteX7" fmla="*/ 39887 w 186392"/>
                  <a:gd name="connsiteY7" fmla="*/ 63665 h 63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6392" h="63664">
                    <a:moveTo>
                      <a:pt x="39887" y="63665"/>
                    </a:moveTo>
                    <a:cubicBezTo>
                      <a:pt x="21478" y="63665"/>
                      <a:pt x="9205" y="60597"/>
                      <a:pt x="6137" y="60597"/>
                    </a:cubicBezTo>
                    <a:cubicBezTo>
                      <a:pt x="3068" y="60597"/>
                      <a:pt x="0" y="57528"/>
                      <a:pt x="0" y="54460"/>
                    </a:cubicBezTo>
                    <a:cubicBezTo>
                      <a:pt x="0" y="51392"/>
                      <a:pt x="3068" y="48324"/>
                      <a:pt x="6137" y="48324"/>
                    </a:cubicBezTo>
                    <a:cubicBezTo>
                      <a:pt x="6137" y="48324"/>
                      <a:pt x="107386" y="63665"/>
                      <a:pt x="174887" y="2301"/>
                    </a:cubicBezTo>
                    <a:cubicBezTo>
                      <a:pt x="177955" y="-767"/>
                      <a:pt x="181023" y="-767"/>
                      <a:pt x="184091" y="2301"/>
                    </a:cubicBezTo>
                    <a:cubicBezTo>
                      <a:pt x="187159" y="5369"/>
                      <a:pt x="187159" y="8438"/>
                      <a:pt x="184091" y="11506"/>
                    </a:cubicBezTo>
                    <a:cubicBezTo>
                      <a:pt x="138068" y="57528"/>
                      <a:pt x="76705" y="63665"/>
                      <a:pt x="39887" y="6366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3551EE93-4855-40CB-B1D1-83CBBF425DCC}"/>
                  </a:ext>
                </a:extLst>
              </p:cNvPr>
              <p:cNvSpPr/>
              <p:nvPr/>
            </p:nvSpPr>
            <p:spPr>
              <a:xfrm>
                <a:off x="11480411" y="6346435"/>
                <a:ext cx="41421" cy="42187"/>
              </a:xfrm>
              <a:custGeom>
                <a:avLst/>
                <a:gdLst>
                  <a:gd name="connsiteX0" fmla="*/ 5370 w 41421"/>
                  <a:gd name="connsiteY0" fmla="*/ 42188 h 42187"/>
                  <a:gd name="connsiteX1" fmla="*/ 2301 w 41421"/>
                  <a:gd name="connsiteY1" fmla="*/ 39119 h 42187"/>
                  <a:gd name="connsiteX2" fmla="*/ 2301 w 41421"/>
                  <a:gd name="connsiteY2" fmla="*/ 29915 h 42187"/>
                  <a:gd name="connsiteX3" fmla="*/ 29915 w 41421"/>
                  <a:gd name="connsiteY3" fmla="*/ 2301 h 42187"/>
                  <a:gd name="connsiteX4" fmla="*/ 39120 w 41421"/>
                  <a:gd name="connsiteY4" fmla="*/ 2301 h 42187"/>
                  <a:gd name="connsiteX5" fmla="*/ 39120 w 41421"/>
                  <a:gd name="connsiteY5" fmla="*/ 11506 h 42187"/>
                  <a:gd name="connsiteX6" fmla="*/ 11506 w 41421"/>
                  <a:gd name="connsiteY6" fmla="*/ 39119 h 42187"/>
                  <a:gd name="connsiteX7" fmla="*/ 5370 w 41421"/>
                  <a:gd name="connsiteY7" fmla="*/ 42188 h 42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421" h="42187">
                    <a:moveTo>
                      <a:pt x="5370" y="42188"/>
                    </a:moveTo>
                    <a:cubicBezTo>
                      <a:pt x="5370" y="42188"/>
                      <a:pt x="2301" y="42188"/>
                      <a:pt x="2301" y="39119"/>
                    </a:cubicBezTo>
                    <a:cubicBezTo>
                      <a:pt x="-767" y="36051"/>
                      <a:pt x="-767" y="32983"/>
                      <a:pt x="2301" y="29915"/>
                    </a:cubicBezTo>
                    <a:lnTo>
                      <a:pt x="29915" y="2301"/>
                    </a:lnTo>
                    <a:cubicBezTo>
                      <a:pt x="32983" y="-767"/>
                      <a:pt x="36051" y="-767"/>
                      <a:pt x="39120" y="2301"/>
                    </a:cubicBezTo>
                    <a:cubicBezTo>
                      <a:pt x="42188" y="5369"/>
                      <a:pt x="42188" y="8438"/>
                      <a:pt x="39120" y="11506"/>
                    </a:cubicBezTo>
                    <a:lnTo>
                      <a:pt x="11506" y="39119"/>
                    </a:lnTo>
                    <a:cubicBezTo>
                      <a:pt x="8438" y="39119"/>
                      <a:pt x="8438" y="42188"/>
                      <a:pt x="5370" y="4218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91136455-2E95-4E77-ACB3-5A29D01EC929}"/>
                  </a:ext>
                </a:extLst>
              </p:cNvPr>
              <p:cNvSpPr/>
              <p:nvPr/>
            </p:nvSpPr>
            <p:spPr>
              <a:xfrm>
                <a:off x="11520298" y="6370980"/>
                <a:ext cx="41420" cy="42187"/>
              </a:xfrm>
              <a:custGeom>
                <a:avLst/>
                <a:gdLst>
                  <a:gd name="connsiteX0" fmla="*/ 5369 w 41420"/>
                  <a:gd name="connsiteY0" fmla="*/ 42187 h 42187"/>
                  <a:gd name="connsiteX1" fmla="*/ 2301 w 41420"/>
                  <a:gd name="connsiteY1" fmla="*/ 39119 h 42187"/>
                  <a:gd name="connsiteX2" fmla="*/ 2301 w 41420"/>
                  <a:gd name="connsiteY2" fmla="*/ 29915 h 42187"/>
                  <a:gd name="connsiteX3" fmla="*/ 29915 w 41420"/>
                  <a:gd name="connsiteY3" fmla="*/ 2301 h 42187"/>
                  <a:gd name="connsiteX4" fmla="*/ 39119 w 41420"/>
                  <a:gd name="connsiteY4" fmla="*/ 2301 h 42187"/>
                  <a:gd name="connsiteX5" fmla="*/ 39119 w 41420"/>
                  <a:gd name="connsiteY5" fmla="*/ 11505 h 42187"/>
                  <a:gd name="connsiteX6" fmla="*/ 11505 w 41420"/>
                  <a:gd name="connsiteY6" fmla="*/ 39119 h 42187"/>
                  <a:gd name="connsiteX7" fmla="*/ 5369 w 41420"/>
                  <a:gd name="connsiteY7" fmla="*/ 42187 h 42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420" h="42187">
                    <a:moveTo>
                      <a:pt x="5369" y="42187"/>
                    </a:moveTo>
                    <a:cubicBezTo>
                      <a:pt x="5369" y="42187"/>
                      <a:pt x="2301" y="42187"/>
                      <a:pt x="2301" y="39119"/>
                    </a:cubicBezTo>
                    <a:cubicBezTo>
                      <a:pt x="-767" y="36051"/>
                      <a:pt x="-767" y="32983"/>
                      <a:pt x="2301" y="29915"/>
                    </a:cubicBezTo>
                    <a:lnTo>
                      <a:pt x="29915" y="2301"/>
                    </a:lnTo>
                    <a:cubicBezTo>
                      <a:pt x="32983" y="-767"/>
                      <a:pt x="36051" y="-767"/>
                      <a:pt x="39119" y="2301"/>
                    </a:cubicBezTo>
                    <a:cubicBezTo>
                      <a:pt x="42187" y="5369"/>
                      <a:pt x="42187" y="8438"/>
                      <a:pt x="39119" y="11505"/>
                    </a:cubicBezTo>
                    <a:lnTo>
                      <a:pt x="11505" y="39119"/>
                    </a:lnTo>
                    <a:cubicBezTo>
                      <a:pt x="8437" y="42187"/>
                      <a:pt x="5369" y="42187"/>
                      <a:pt x="5369" y="4218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80EA4983-95CE-40B2-9C96-389207C5428C}"/>
                </a:ext>
              </a:extLst>
            </p:cNvPr>
            <p:cNvSpPr/>
            <p:nvPr/>
          </p:nvSpPr>
          <p:spPr>
            <a:xfrm>
              <a:off x="11062372" y="2301804"/>
              <a:ext cx="251590" cy="259885"/>
            </a:xfrm>
            <a:custGeom>
              <a:avLst/>
              <a:gdLst>
                <a:gd name="connsiteX0" fmla="*/ 251590 w 251590"/>
                <a:gd name="connsiteY0" fmla="*/ 39886 h 259885"/>
                <a:gd name="connsiteX1" fmla="*/ 245455 w 251590"/>
                <a:gd name="connsiteY1" fmla="*/ 214773 h 259885"/>
                <a:gd name="connsiteX2" fmla="*/ 0 w 251590"/>
                <a:gd name="connsiteY2" fmla="*/ 205568 h 259885"/>
                <a:gd name="connsiteX3" fmla="*/ 15341 w 251590"/>
                <a:gd name="connsiteY3" fmla="*/ 0 h 259885"/>
                <a:gd name="connsiteX4" fmla="*/ 251590 w 251590"/>
                <a:gd name="connsiteY4" fmla="*/ 39886 h 259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1590" h="259885">
                  <a:moveTo>
                    <a:pt x="251590" y="39886"/>
                  </a:moveTo>
                  <a:cubicBezTo>
                    <a:pt x="251590" y="39886"/>
                    <a:pt x="245455" y="141136"/>
                    <a:pt x="245455" y="214773"/>
                  </a:cubicBezTo>
                  <a:cubicBezTo>
                    <a:pt x="245455" y="214773"/>
                    <a:pt x="150341" y="322159"/>
                    <a:pt x="0" y="205568"/>
                  </a:cubicBezTo>
                  <a:cubicBezTo>
                    <a:pt x="0" y="144205"/>
                    <a:pt x="12273" y="64432"/>
                    <a:pt x="15341" y="0"/>
                  </a:cubicBezTo>
                  <a:cubicBezTo>
                    <a:pt x="12273" y="0"/>
                    <a:pt x="196363" y="52159"/>
                    <a:pt x="251590" y="39886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CBD6149B-7786-4ABF-AF1F-DDAA356BBF86}"/>
                </a:ext>
              </a:extLst>
            </p:cNvPr>
            <p:cNvSpPr/>
            <p:nvPr/>
          </p:nvSpPr>
          <p:spPr>
            <a:xfrm>
              <a:off x="10982599" y="2182145"/>
              <a:ext cx="67499" cy="141136"/>
            </a:xfrm>
            <a:custGeom>
              <a:avLst/>
              <a:gdLst>
                <a:gd name="connsiteX0" fmla="*/ 0 w 67499"/>
                <a:gd name="connsiteY0" fmla="*/ 0 h 141136"/>
                <a:gd name="connsiteX1" fmla="*/ 61364 w 67499"/>
                <a:gd name="connsiteY1" fmla="*/ 141136 h 141136"/>
                <a:gd name="connsiteX2" fmla="*/ 67499 w 67499"/>
                <a:gd name="connsiteY2" fmla="*/ 55227 h 141136"/>
                <a:gd name="connsiteX3" fmla="*/ 0 w 67499"/>
                <a:gd name="connsiteY3" fmla="*/ 0 h 141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499" h="141136">
                  <a:moveTo>
                    <a:pt x="0" y="0"/>
                  </a:moveTo>
                  <a:cubicBezTo>
                    <a:pt x="0" y="0"/>
                    <a:pt x="9204" y="119659"/>
                    <a:pt x="61364" y="141136"/>
                  </a:cubicBezTo>
                  <a:lnTo>
                    <a:pt x="67499" y="552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120EC3FF-1F03-4080-B3FF-CF1F8D608171}"/>
                </a:ext>
              </a:extLst>
            </p:cNvPr>
            <p:cNvSpPr/>
            <p:nvPr/>
          </p:nvSpPr>
          <p:spPr>
            <a:xfrm>
              <a:off x="11348347" y="1991918"/>
              <a:ext cx="104353" cy="239297"/>
            </a:xfrm>
            <a:custGeom>
              <a:avLst/>
              <a:gdLst>
                <a:gd name="connsiteX0" fmla="*/ 100616 w 104353"/>
                <a:gd name="connsiteY0" fmla="*/ 0 h 239297"/>
                <a:gd name="connsiteX1" fmla="*/ 48457 w 104353"/>
                <a:gd name="connsiteY1" fmla="*/ 236250 h 239297"/>
                <a:gd name="connsiteX2" fmla="*/ 2434 w 104353"/>
                <a:gd name="connsiteY2" fmla="*/ 12273 h 239297"/>
                <a:gd name="connsiteX3" fmla="*/ 100616 w 104353"/>
                <a:gd name="connsiteY3" fmla="*/ 0 h 239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353" h="239297">
                  <a:moveTo>
                    <a:pt x="100616" y="0"/>
                  </a:moveTo>
                  <a:cubicBezTo>
                    <a:pt x="100616" y="0"/>
                    <a:pt x="125162" y="196364"/>
                    <a:pt x="48457" y="236250"/>
                  </a:cubicBezTo>
                  <a:cubicBezTo>
                    <a:pt x="-15975" y="270000"/>
                    <a:pt x="2434" y="12273"/>
                    <a:pt x="2434" y="12273"/>
                  </a:cubicBezTo>
                  <a:lnTo>
                    <a:pt x="100616" y="0"/>
                  </a:lnTo>
                  <a:close/>
                </a:path>
              </a:pathLst>
            </a:custGeom>
            <a:solidFill>
              <a:srgbClr val="664241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A661B875-685D-4B56-AA97-B8DF27BFCD06}"/>
                </a:ext>
              </a:extLst>
            </p:cNvPr>
            <p:cNvSpPr/>
            <p:nvPr/>
          </p:nvSpPr>
          <p:spPr>
            <a:xfrm>
              <a:off x="10988735" y="1844144"/>
              <a:ext cx="422007" cy="574403"/>
            </a:xfrm>
            <a:custGeom>
              <a:avLst/>
              <a:gdLst>
                <a:gd name="connsiteX0" fmla="*/ 417273 w 422007"/>
                <a:gd name="connsiteY0" fmla="*/ 190728 h 574403"/>
                <a:gd name="connsiteX1" fmla="*/ 408069 w 422007"/>
                <a:gd name="connsiteY1" fmla="*/ 442319 h 574403"/>
                <a:gd name="connsiteX2" fmla="*/ 242387 w 422007"/>
                <a:gd name="connsiteY2" fmla="*/ 574251 h 574403"/>
                <a:gd name="connsiteX3" fmla="*/ 30682 w 422007"/>
                <a:gd name="connsiteY3" fmla="*/ 420842 h 574403"/>
                <a:gd name="connsiteX4" fmla="*/ 0 w 422007"/>
                <a:gd name="connsiteY4" fmla="*/ 193797 h 574403"/>
                <a:gd name="connsiteX5" fmla="*/ 220909 w 422007"/>
                <a:gd name="connsiteY5" fmla="*/ 501 h 574403"/>
                <a:gd name="connsiteX6" fmla="*/ 417273 w 422007"/>
                <a:gd name="connsiteY6" fmla="*/ 190728 h 574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2007" h="574403">
                  <a:moveTo>
                    <a:pt x="417273" y="190728"/>
                  </a:moveTo>
                  <a:cubicBezTo>
                    <a:pt x="417273" y="190728"/>
                    <a:pt x="432614" y="368683"/>
                    <a:pt x="408069" y="442319"/>
                  </a:cubicBezTo>
                  <a:cubicBezTo>
                    <a:pt x="386591" y="506751"/>
                    <a:pt x="294546" y="571183"/>
                    <a:pt x="242387" y="574251"/>
                  </a:cubicBezTo>
                  <a:cubicBezTo>
                    <a:pt x="174887" y="577319"/>
                    <a:pt x="58296" y="534365"/>
                    <a:pt x="30682" y="420842"/>
                  </a:cubicBezTo>
                  <a:cubicBezTo>
                    <a:pt x="12273" y="347206"/>
                    <a:pt x="0" y="245956"/>
                    <a:pt x="0" y="193797"/>
                  </a:cubicBezTo>
                  <a:cubicBezTo>
                    <a:pt x="6137" y="98683"/>
                    <a:pt x="33750" y="18910"/>
                    <a:pt x="220909" y="501"/>
                  </a:cubicBezTo>
                  <a:cubicBezTo>
                    <a:pt x="309887" y="-8703"/>
                    <a:pt x="398864" y="110956"/>
                    <a:pt x="417273" y="190728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B430E09-A033-4E49-839F-7FF6D6E525D3}"/>
                </a:ext>
              </a:extLst>
            </p:cNvPr>
            <p:cNvSpPr/>
            <p:nvPr/>
          </p:nvSpPr>
          <p:spPr>
            <a:xfrm>
              <a:off x="11211442" y="2111577"/>
              <a:ext cx="59566" cy="135000"/>
            </a:xfrm>
            <a:custGeom>
              <a:avLst/>
              <a:gdLst>
                <a:gd name="connsiteX0" fmla="*/ 31953 w 59566"/>
                <a:gd name="connsiteY0" fmla="*/ 135000 h 135000"/>
                <a:gd name="connsiteX1" fmla="*/ 4339 w 59566"/>
                <a:gd name="connsiteY1" fmla="*/ 131932 h 135000"/>
                <a:gd name="connsiteX2" fmla="*/ 1271 w 59566"/>
                <a:gd name="connsiteY2" fmla="*/ 125795 h 135000"/>
                <a:gd name="connsiteX3" fmla="*/ 7407 w 59566"/>
                <a:gd name="connsiteY3" fmla="*/ 122727 h 135000"/>
                <a:gd name="connsiteX4" fmla="*/ 47294 w 59566"/>
                <a:gd name="connsiteY4" fmla="*/ 122727 h 135000"/>
                <a:gd name="connsiteX5" fmla="*/ 47294 w 59566"/>
                <a:gd name="connsiteY5" fmla="*/ 119659 h 135000"/>
                <a:gd name="connsiteX6" fmla="*/ 35021 w 59566"/>
                <a:gd name="connsiteY6" fmla="*/ 6136 h 135000"/>
                <a:gd name="connsiteX7" fmla="*/ 41157 w 59566"/>
                <a:gd name="connsiteY7" fmla="*/ 0 h 135000"/>
                <a:gd name="connsiteX8" fmla="*/ 47294 w 59566"/>
                <a:gd name="connsiteY8" fmla="*/ 6136 h 135000"/>
                <a:gd name="connsiteX9" fmla="*/ 59566 w 59566"/>
                <a:gd name="connsiteY9" fmla="*/ 119659 h 135000"/>
                <a:gd name="connsiteX10" fmla="*/ 53429 w 59566"/>
                <a:gd name="connsiteY10" fmla="*/ 131932 h 135000"/>
                <a:gd name="connsiteX11" fmla="*/ 31953 w 59566"/>
                <a:gd name="connsiteY11" fmla="*/ 13500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566" h="135000">
                  <a:moveTo>
                    <a:pt x="31953" y="135000"/>
                  </a:moveTo>
                  <a:cubicBezTo>
                    <a:pt x="19680" y="135000"/>
                    <a:pt x="7407" y="131932"/>
                    <a:pt x="4339" y="131932"/>
                  </a:cubicBezTo>
                  <a:cubicBezTo>
                    <a:pt x="1271" y="131932"/>
                    <a:pt x="-1797" y="128864"/>
                    <a:pt x="1271" y="125795"/>
                  </a:cubicBezTo>
                  <a:cubicBezTo>
                    <a:pt x="1271" y="122727"/>
                    <a:pt x="4339" y="119659"/>
                    <a:pt x="7407" y="122727"/>
                  </a:cubicBezTo>
                  <a:cubicBezTo>
                    <a:pt x="19680" y="125795"/>
                    <a:pt x="41157" y="128864"/>
                    <a:pt x="47294" y="122727"/>
                  </a:cubicBezTo>
                  <a:cubicBezTo>
                    <a:pt x="47294" y="122727"/>
                    <a:pt x="47294" y="119659"/>
                    <a:pt x="47294" y="119659"/>
                  </a:cubicBezTo>
                  <a:cubicBezTo>
                    <a:pt x="47294" y="101250"/>
                    <a:pt x="35021" y="6136"/>
                    <a:pt x="35021" y="6136"/>
                  </a:cubicBezTo>
                  <a:cubicBezTo>
                    <a:pt x="35021" y="3068"/>
                    <a:pt x="38089" y="0"/>
                    <a:pt x="41157" y="0"/>
                  </a:cubicBezTo>
                  <a:cubicBezTo>
                    <a:pt x="44225" y="0"/>
                    <a:pt x="47294" y="3068"/>
                    <a:pt x="47294" y="6136"/>
                  </a:cubicBezTo>
                  <a:cubicBezTo>
                    <a:pt x="47294" y="9205"/>
                    <a:pt x="59566" y="101250"/>
                    <a:pt x="59566" y="119659"/>
                  </a:cubicBezTo>
                  <a:cubicBezTo>
                    <a:pt x="59566" y="125795"/>
                    <a:pt x="56498" y="128864"/>
                    <a:pt x="53429" y="131932"/>
                  </a:cubicBezTo>
                  <a:cubicBezTo>
                    <a:pt x="50362" y="135000"/>
                    <a:pt x="41157" y="135000"/>
                    <a:pt x="31953" y="135000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7687F703-3213-472C-B686-BE227BE22A53}"/>
                </a:ext>
              </a:extLst>
            </p:cNvPr>
            <p:cNvSpPr/>
            <p:nvPr/>
          </p:nvSpPr>
          <p:spPr>
            <a:xfrm>
              <a:off x="11178963" y="2295668"/>
              <a:ext cx="107386" cy="55350"/>
            </a:xfrm>
            <a:custGeom>
              <a:avLst/>
              <a:gdLst>
                <a:gd name="connsiteX0" fmla="*/ 107386 w 107386"/>
                <a:gd name="connsiteY0" fmla="*/ 3068 h 55350"/>
                <a:gd name="connsiteX1" fmla="*/ 0 w 107386"/>
                <a:gd name="connsiteY1" fmla="*/ 0 h 55350"/>
                <a:gd name="connsiteX2" fmla="*/ 52159 w 107386"/>
                <a:gd name="connsiteY2" fmla="*/ 55227 h 55350"/>
                <a:gd name="connsiteX3" fmla="*/ 107386 w 107386"/>
                <a:gd name="connsiteY3" fmla="*/ 3068 h 5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386" h="55350">
                  <a:moveTo>
                    <a:pt x="107386" y="3068"/>
                  </a:moveTo>
                  <a:cubicBezTo>
                    <a:pt x="107386" y="3068"/>
                    <a:pt x="52159" y="15341"/>
                    <a:pt x="0" y="0"/>
                  </a:cubicBezTo>
                  <a:cubicBezTo>
                    <a:pt x="0" y="0"/>
                    <a:pt x="0" y="52159"/>
                    <a:pt x="52159" y="55227"/>
                  </a:cubicBezTo>
                  <a:cubicBezTo>
                    <a:pt x="92045" y="58295"/>
                    <a:pt x="107386" y="3068"/>
                    <a:pt x="107386" y="3068"/>
                  </a:cubicBezTo>
                  <a:close/>
                </a:path>
              </a:pathLst>
            </a:custGeom>
            <a:solidFill>
              <a:srgbClr val="FFFFFF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491CBCAA-85A3-4A23-A2D2-64897B6D42EE}"/>
                </a:ext>
              </a:extLst>
            </p:cNvPr>
            <p:cNvSpPr/>
            <p:nvPr/>
          </p:nvSpPr>
          <p:spPr>
            <a:xfrm>
              <a:off x="11307045" y="2089318"/>
              <a:ext cx="41449" cy="41450"/>
            </a:xfrm>
            <a:custGeom>
              <a:avLst/>
              <a:gdLst>
                <a:gd name="connsiteX0" fmla="*/ 782 w 41449"/>
                <a:gd name="connsiteY0" fmla="*/ 25327 h 41450"/>
                <a:gd name="connsiteX1" fmla="*/ 25327 w 41449"/>
                <a:gd name="connsiteY1" fmla="*/ 40668 h 41450"/>
                <a:gd name="connsiteX2" fmla="*/ 40668 w 41449"/>
                <a:gd name="connsiteY2" fmla="*/ 16123 h 41450"/>
                <a:gd name="connsiteX3" fmla="*/ 16123 w 41449"/>
                <a:gd name="connsiteY3" fmla="*/ 782 h 41450"/>
                <a:gd name="connsiteX4" fmla="*/ 782 w 41449"/>
                <a:gd name="connsiteY4" fmla="*/ 25327 h 4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449" h="41450">
                  <a:moveTo>
                    <a:pt x="782" y="25327"/>
                  </a:moveTo>
                  <a:cubicBezTo>
                    <a:pt x="3849" y="37600"/>
                    <a:pt x="13055" y="43736"/>
                    <a:pt x="25327" y="40668"/>
                  </a:cubicBezTo>
                  <a:cubicBezTo>
                    <a:pt x="37600" y="37600"/>
                    <a:pt x="43736" y="28396"/>
                    <a:pt x="40668" y="16123"/>
                  </a:cubicBezTo>
                  <a:cubicBezTo>
                    <a:pt x="37600" y="3850"/>
                    <a:pt x="28395" y="-2286"/>
                    <a:pt x="16123" y="782"/>
                  </a:cubicBezTo>
                  <a:cubicBezTo>
                    <a:pt x="3849" y="3850"/>
                    <a:pt x="-2286" y="13055"/>
                    <a:pt x="782" y="2532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ABB2BD3C-B1F4-4BE8-90B5-6D61A96F7A78}"/>
                </a:ext>
              </a:extLst>
            </p:cNvPr>
            <p:cNvSpPr/>
            <p:nvPr/>
          </p:nvSpPr>
          <p:spPr>
            <a:xfrm>
              <a:off x="11120667" y="2101590"/>
              <a:ext cx="40667" cy="41450"/>
            </a:xfrm>
            <a:custGeom>
              <a:avLst/>
              <a:gdLst>
                <a:gd name="connsiteX0" fmla="*/ 0 w 40667"/>
                <a:gd name="connsiteY0" fmla="*/ 25327 h 41450"/>
                <a:gd name="connsiteX1" fmla="*/ 24545 w 40667"/>
                <a:gd name="connsiteY1" fmla="*/ 40668 h 41450"/>
                <a:gd name="connsiteX2" fmla="*/ 39886 w 40667"/>
                <a:gd name="connsiteY2" fmla="*/ 16123 h 41450"/>
                <a:gd name="connsiteX3" fmla="*/ 15341 w 40667"/>
                <a:gd name="connsiteY3" fmla="*/ 782 h 41450"/>
                <a:gd name="connsiteX4" fmla="*/ 0 w 40667"/>
                <a:gd name="connsiteY4" fmla="*/ 25327 h 4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67" h="41450">
                  <a:moveTo>
                    <a:pt x="0" y="25327"/>
                  </a:moveTo>
                  <a:cubicBezTo>
                    <a:pt x="3068" y="37600"/>
                    <a:pt x="12273" y="43736"/>
                    <a:pt x="24545" y="40668"/>
                  </a:cubicBezTo>
                  <a:cubicBezTo>
                    <a:pt x="36818" y="37600"/>
                    <a:pt x="42954" y="28396"/>
                    <a:pt x="39886" y="16123"/>
                  </a:cubicBezTo>
                  <a:cubicBezTo>
                    <a:pt x="36818" y="3850"/>
                    <a:pt x="27613" y="-2286"/>
                    <a:pt x="15341" y="782"/>
                  </a:cubicBezTo>
                  <a:cubicBezTo>
                    <a:pt x="6136" y="3850"/>
                    <a:pt x="0" y="13055"/>
                    <a:pt x="0" y="2532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C1E86518-850A-4748-BD58-A3489C25690E}"/>
                </a:ext>
              </a:extLst>
            </p:cNvPr>
            <p:cNvSpPr/>
            <p:nvPr/>
          </p:nvSpPr>
          <p:spPr>
            <a:xfrm>
              <a:off x="11282010" y="2041370"/>
              <a:ext cx="92549" cy="33388"/>
            </a:xfrm>
            <a:custGeom>
              <a:avLst/>
              <a:gdLst>
                <a:gd name="connsiteX0" fmla="*/ 84112 w 92549"/>
                <a:gd name="connsiteY0" fmla="*/ 33389 h 33388"/>
                <a:gd name="connsiteX1" fmla="*/ 77976 w 92549"/>
                <a:gd name="connsiteY1" fmla="*/ 30321 h 33388"/>
                <a:gd name="connsiteX2" fmla="*/ 10476 w 92549"/>
                <a:gd name="connsiteY2" fmla="*/ 21116 h 33388"/>
                <a:gd name="connsiteX3" fmla="*/ 1271 w 92549"/>
                <a:gd name="connsiteY3" fmla="*/ 18048 h 33388"/>
                <a:gd name="connsiteX4" fmla="*/ 4339 w 92549"/>
                <a:gd name="connsiteY4" fmla="*/ 8843 h 33388"/>
                <a:gd name="connsiteX5" fmla="*/ 90248 w 92549"/>
                <a:gd name="connsiteY5" fmla="*/ 21116 h 33388"/>
                <a:gd name="connsiteX6" fmla="*/ 90248 w 92549"/>
                <a:gd name="connsiteY6" fmla="*/ 33389 h 33388"/>
                <a:gd name="connsiteX7" fmla="*/ 84112 w 92549"/>
                <a:gd name="connsiteY7" fmla="*/ 33389 h 33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3388">
                  <a:moveTo>
                    <a:pt x="84112" y="33389"/>
                  </a:moveTo>
                  <a:cubicBezTo>
                    <a:pt x="81044" y="33389"/>
                    <a:pt x="81044" y="33389"/>
                    <a:pt x="77976" y="30321"/>
                  </a:cubicBezTo>
                  <a:cubicBezTo>
                    <a:pt x="53430" y="2707"/>
                    <a:pt x="10476" y="21116"/>
                    <a:pt x="10476" y="21116"/>
                  </a:cubicBezTo>
                  <a:cubicBezTo>
                    <a:pt x="7408" y="24184"/>
                    <a:pt x="1271" y="21116"/>
                    <a:pt x="1271" y="18048"/>
                  </a:cubicBezTo>
                  <a:cubicBezTo>
                    <a:pt x="-1797" y="14980"/>
                    <a:pt x="1271" y="8843"/>
                    <a:pt x="4339" y="8843"/>
                  </a:cubicBezTo>
                  <a:cubicBezTo>
                    <a:pt x="22749" y="-361"/>
                    <a:pt x="62635" y="-9566"/>
                    <a:pt x="90248" y="21116"/>
                  </a:cubicBezTo>
                  <a:cubicBezTo>
                    <a:pt x="93316" y="24184"/>
                    <a:pt x="93316" y="30321"/>
                    <a:pt x="90248" y="33389"/>
                  </a:cubicBezTo>
                  <a:cubicBezTo>
                    <a:pt x="87181" y="33389"/>
                    <a:pt x="84112" y="33389"/>
                    <a:pt x="84112" y="33389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064DAB3C-0480-41C0-9582-83D85ABCB529}"/>
                </a:ext>
              </a:extLst>
            </p:cNvPr>
            <p:cNvSpPr/>
            <p:nvPr/>
          </p:nvSpPr>
          <p:spPr>
            <a:xfrm>
              <a:off x="11087684" y="2035046"/>
              <a:ext cx="91278" cy="33576"/>
            </a:xfrm>
            <a:custGeom>
              <a:avLst/>
              <a:gdLst>
                <a:gd name="connsiteX0" fmla="*/ 8437 w 91278"/>
                <a:gd name="connsiteY0" fmla="*/ 33576 h 33576"/>
                <a:gd name="connsiteX1" fmla="*/ 2301 w 91278"/>
                <a:gd name="connsiteY1" fmla="*/ 30508 h 33576"/>
                <a:gd name="connsiteX2" fmla="*/ 2301 w 91278"/>
                <a:gd name="connsiteY2" fmla="*/ 18235 h 33576"/>
                <a:gd name="connsiteX3" fmla="*/ 88210 w 91278"/>
                <a:gd name="connsiteY3" fmla="*/ 12099 h 33576"/>
                <a:gd name="connsiteX4" fmla="*/ 91278 w 91278"/>
                <a:gd name="connsiteY4" fmla="*/ 24371 h 33576"/>
                <a:gd name="connsiteX5" fmla="*/ 79006 w 91278"/>
                <a:gd name="connsiteY5" fmla="*/ 27440 h 33576"/>
                <a:gd name="connsiteX6" fmla="*/ 11505 w 91278"/>
                <a:gd name="connsiteY6" fmla="*/ 30508 h 33576"/>
                <a:gd name="connsiteX7" fmla="*/ 8437 w 91278"/>
                <a:gd name="connsiteY7" fmla="*/ 33576 h 3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278" h="33576">
                  <a:moveTo>
                    <a:pt x="8437" y="33576"/>
                  </a:moveTo>
                  <a:cubicBezTo>
                    <a:pt x="5370" y="33576"/>
                    <a:pt x="5370" y="33576"/>
                    <a:pt x="2301" y="30508"/>
                  </a:cubicBezTo>
                  <a:cubicBezTo>
                    <a:pt x="-767" y="27440"/>
                    <a:pt x="-767" y="21303"/>
                    <a:pt x="2301" y="18235"/>
                  </a:cubicBezTo>
                  <a:cubicBezTo>
                    <a:pt x="17642" y="5962"/>
                    <a:pt x="51392" y="-12447"/>
                    <a:pt x="88210" y="12099"/>
                  </a:cubicBezTo>
                  <a:cubicBezTo>
                    <a:pt x="91278" y="15167"/>
                    <a:pt x="91278" y="18235"/>
                    <a:pt x="91278" y="24371"/>
                  </a:cubicBezTo>
                  <a:cubicBezTo>
                    <a:pt x="88210" y="27440"/>
                    <a:pt x="85142" y="27440"/>
                    <a:pt x="79006" y="27440"/>
                  </a:cubicBezTo>
                  <a:cubicBezTo>
                    <a:pt x="42187" y="2894"/>
                    <a:pt x="14574" y="30508"/>
                    <a:pt x="11505" y="30508"/>
                  </a:cubicBezTo>
                  <a:cubicBezTo>
                    <a:pt x="14574" y="33576"/>
                    <a:pt x="11505" y="33576"/>
                    <a:pt x="8437" y="33576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8DEB19E9-6D88-4396-9056-87638428E6A2}"/>
                </a:ext>
              </a:extLst>
            </p:cNvPr>
            <p:cNvSpPr/>
            <p:nvPr/>
          </p:nvSpPr>
          <p:spPr>
            <a:xfrm>
              <a:off x="11071576" y="2350895"/>
              <a:ext cx="228408" cy="70568"/>
            </a:xfrm>
            <a:custGeom>
              <a:avLst/>
              <a:gdLst>
                <a:gd name="connsiteX0" fmla="*/ 150341 w 228408"/>
                <a:gd name="connsiteY0" fmla="*/ 70568 h 70568"/>
                <a:gd name="connsiteX1" fmla="*/ 147272 w 228408"/>
                <a:gd name="connsiteY1" fmla="*/ 70568 h 70568"/>
                <a:gd name="connsiteX2" fmla="*/ 3068 w 228408"/>
                <a:gd name="connsiteY2" fmla="*/ 12273 h 70568"/>
                <a:gd name="connsiteX3" fmla="*/ 0 w 228408"/>
                <a:gd name="connsiteY3" fmla="*/ 3068 h 70568"/>
                <a:gd name="connsiteX4" fmla="*/ 9204 w 228408"/>
                <a:gd name="connsiteY4" fmla="*/ 0 h 70568"/>
                <a:gd name="connsiteX5" fmla="*/ 147272 w 228408"/>
                <a:gd name="connsiteY5" fmla="*/ 55227 h 70568"/>
                <a:gd name="connsiteX6" fmla="*/ 217841 w 228408"/>
                <a:gd name="connsiteY6" fmla="*/ 33750 h 70568"/>
                <a:gd name="connsiteX7" fmla="*/ 227045 w 228408"/>
                <a:gd name="connsiteY7" fmla="*/ 33750 h 70568"/>
                <a:gd name="connsiteX8" fmla="*/ 227045 w 228408"/>
                <a:gd name="connsiteY8" fmla="*/ 42955 h 70568"/>
                <a:gd name="connsiteX9" fmla="*/ 150341 w 228408"/>
                <a:gd name="connsiteY9" fmla="*/ 70568 h 7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408" h="70568">
                  <a:moveTo>
                    <a:pt x="150341" y="70568"/>
                  </a:moveTo>
                  <a:cubicBezTo>
                    <a:pt x="150341" y="70568"/>
                    <a:pt x="147272" y="70568"/>
                    <a:pt x="147272" y="70568"/>
                  </a:cubicBezTo>
                  <a:cubicBezTo>
                    <a:pt x="95114" y="67500"/>
                    <a:pt x="6137" y="15341"/>
                    <a:pt x="3068" y="12273"/>
                  </a:cubicBezTo>
                  <a:cubicBezTo>
                    <a:pt x="0" y="9205"/>
                    <a:pt x="0" y="6136"/>
                    <a:pt x="0" y="3068"/>
                  </a:cubicBezTo>
                  <a:cubicBezTo>
                    <a:pt x="3068" y="0"/>
                    <a:pt x="6137" y="0"/>
                    <a:pt x="9204" y="0"/>
                  </a:cubicBezTo>
                  <a:cubicBezTo>
                    <a:pt x="9204" y="0"/>
                    <a:pt x="98182" y="55227"/>
                    <a:pt x="147272" y="55227"/>
                  </a:cubicBezTo>
                  <a:cubicBezTo>
                    <a:pt x="187159" y="58295"/>
                    <a:pt x="217841" y="33750"/>
                    <a:pt x="217841" y="33750"/>
                  </a:cubicBezTo>
                  <a:cubicBezTo>
                    <a:pt x="220909" y="30682"/>
                    <a:pt x="223977" y="33750"/>
                    <a:pt x="227045" y="33750"/>
                  </a:cubicBezTo>
                  <a:cubicBezTo>
                    <a:pt x="230114" y="36818"/>
                    <a:pt x="227045" y="39886"/>
                    <a:pt x="227045" y="42955"/>
                  </a:cubicBezTo>
                  <a:cubicBezTo>
                    <a:pt x="227045" y="46023"/>
                    <a:pt x="193295" y="70568"/>
                    <a:pt x="150341" y="70568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A6C6D3F5-2CBE-4AD0-B787-C8957EE0C6AF}"/>
                </a:ext>
              </a:extLst>
            </p:cNvPr>
            <p:cNvSpPr/>
            <p:nvPr/>
          </p:nvSpPr>
          <p:spPr>
            <a:xfrm>
              <a:off x="10956912" y="1859986"/>
              <a:ext cx="111595" cy="270000"/>
            </a:xfrm>
            <a:custGeom>
              <a:avLst/>
              <a:gdLst>
                <a:gd name="connsiteX0" fmla="*/ 111596 w 111595"/>
                <a:gd name="connsiteY0" fmla="*/ 128864 h 270000"/>
                <a:gd name="connsiteX1" fmla="*/ 56369 w 111595"/>
                <a:gd name="connsiteY1" fmla="*/ 270000 h 270000"/>
                <a:gd name="connsiteX2" fmla="*/ 4209 w 111595"/>
                <a:gd name="connsiteY2" fmla="*/ 165682 h 270000"/>
                <a:gd name="connsiteX3" fmla="*/ 71710 w 111595"/>
                <a:gd name="connsiteY3" fmla="*/ 0 h 270000"/>
                <a:gd name="connsiteX4" fmla="*/ 111596 w 111595"/>
                <a:gd name="connsiteY4" fmla="*/ 128864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595" h="270000">
                  <a:moveTo>
                    <a:pt x="111596" y="128864"/>
                  </a:moveTo>
                  <a:cubicBezTo>
                    <a:pt x="111596" y="128864"/>
                    <a:pt x="50232" y="236250"/>
                    <a:pt x="56369" y="270000"/>
                  </a:cubicBezTo>
                  <a:cubicBezTo>
                    <a:pt x="56369" y="270000"/>
                    <a:pt x="16482" y="223977"/>
                    <a:pt x="4209" y="165682"/>
                  </a:cubicBezTo>
                  <a:cubicBezTo>
                    <a:pt x="-8063" y="104318"/>
                    <a:pt x="4209" y="12273"/>
                    <a:pt x="71710" y="0"/>
                  </a:cubicBezTo>
                  <a:cubicBezTo>
                    <a:pt x="68641" y="0"/>
                    <a:pt x="71710" y="107386"/>
                    <a:pt x="111596" y="128864"/>
                  </a:cubicBezTo>
                  <a:close/>
                </a:path>
              </a:pathLst>
            </a:custGeom>
            <a:solidFill>
              <a:srgbClr val="664241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996FE75-8EFD-46A8-AA52-4F362B5595BF}"/>
                </a:ext>
              </a:extLst>
            </p:cNvPr>
            <p:cNvSpPr/>
            <p:nvPr/>
          </p:nvSpPr>
          <p:spPr>
            <a:xfrm>
              <a:off x="11012816" y="1753116"/>
              <a:ext cx="438447" cy="361528"/>
            </a:xfrm>
            <a:custGeom>
              <a:avLst/>
              <a:gdLst>
                <a:gd name="connsiteX0" fmla="*/ 55692 w 438447"/>
                <a:gd name="connsiteY0" fmla="*/ 235733 h 361528"/>
                <a:gd name="connsiteX1" fmla="*/ 181487 w 438447"/>
                <a:gd name="connsiteY1" fmla="*/ 201983 h 361528"/>
                <a:gd name="connsiteX2" fmla="*/ 417738 w 438447"/>
                <a:gd name="connsiteY2" fmla="*/ 361529 h 361528"/>
                <a:gd name="connsiteX3" fmla="*/ 430010 w 438447"/>
                <a:gd name="connsiteY3" fmla="*/ 192779 h 361528"/>
                <a:gd name="connsiteX4" fmla="*/ 344101 w 438447"/>
                <a:gd name="connsiteY4" fmla="*/ 39370 h 361528"/>
                <a:gd name="connsiteX5" fmla="*/ 141601 w 438447"/>
                <a:gd name="connsiteY5" fmla="*/ 14824 h 361528"/>
                <a:gd name="connsiteX6" fmla="*/ 15806 w 438447"/>
                <a:gd name="connsiteY6" fmla="*/ 106870 h 361528"/>
                <a:gd name="connsiteX7" fmla="*/ 55692 w 438447"/>
                <a:gd name="connsiteY7" fmla="*/ 235733 h 361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8447" h="361528">
                  <a:moveTo>
                    <a:pt x="55692" y="235733"/>
                  </a:moveTo>
                  <a:cubicBezTo>
                    <a:pt x="55692" y="235733"/>
                    <a:pt x="153874" y="201983"/>
                    <a:pt x="181487" y="201983"/>
                  </a:cubicBezTo>
                  <a:cubicBezTo>
                    <a:pt x="282737" y="211188"/>
                    <a:pt x="436146" y="287892"/>
                    <a:pt x="417738" y="361529"/>
                  </a:cubicBezTo>
                  <a:cubicBezTo>
                    <a:pt x="417738" y="361529"/>
                    <a:pt x="454555" y="260279"/>
                    <a:pt x="430010" y="192779"/>
                  </a:cubicBezTo>
                  <a:cubicBezTo>
                    <a:pt x="430010" y="192779"/>
                    <a:pt x="436146" y="66983"/>
                    <a:pt x="344101" y="39370"/>
                  </a:cubicBezTo>
                  <a:cubicBezTo>
                    <a:pt x="252055" y="11756"/>
                    <a:pt x="215238" y="-18926"/>
                    <a:pt x="141601" y="14824"/>
                  </a:cubicBezTo>
                  <a:cubicBezTo>
                    <a:pt x="67964" y="51642"/>
                    <a:pt x="21942" y="70051"/>
                    <a:pt x="15806" y="106870"/>
                  </a:cubicBezTo>
                  <a:cubicBezTo>
                    <a:pt x="12737" y="106870"/>
                    <a:pt x="-36354" y="220392"/>
                    <a:pt x="55692" y="235733"/>
                  </a:cubicBezTo>
                  <a:close/>
                </a:path>
              </a:pathLst>
            </a:custGeom>
            <a:solidFill>
              <a:srgbClr val="664241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2C05A7FB-F786-4B1E-8148-DB2AE756A332}"/>
                </a:ext>
              </a:extLst>
            </p:cNvPr>
            <p:cNvSpPr/>
            <p:nvPr/>
          </p:nvSpPr>
          <p:spPr>
            <a:xfrm>
              <a:off x="10945860" y="2093422"/>
              <a:ext cx="78832" cy="113741"/>
            </a:xfrm>
            <a:custGeom>
              <a:avLst/>
              <a:gdLst>
                <a:gd name="connsiteX0" fmla="*/ 67421 w 78832"/>
                <a:gd name="connsiteY0" fmla="*/ 18155 h 113741"/>
                <a:gd name="connsiteX1" fmla="*/ 9125 w 78832"/>
                <a:gd name="connsiteY1" fmla="*/ 5882 h 113741"/>
                <a:gd name="connsiteX2" fmla="*/ 64352 w 78832"/>
                <a:gd name="connsiteY2" fmla="*/ 110200 h 113741"/>
                <a:gd name="connsiteX3" fmla="*/ 67421 w 78832"/>
                <a:gd name="connsiteY3" fmla="*/ 18155 h 11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832" h="113741">
                  <a:moveTo>
                    <a:pt x="67421" y="18155"/>
                  </a:moveTo>
                  <a:cubicBezTo>
                    <a:pt x="67421" y="18155"/>
                    <a:pt x="33671" y="-12527"/>
                    <a:pt x="9125" y="5882"/>
                  </a:cubicBezTo>
                  <a:cubicBezTo>
                    <a:pt x="-18489" y="24291"/>
                    <a:pt x="21398" y="134746"/>
                    <a:pt x="64352" y="110200"/>
                  </a:cubicBezTo>
                  <a:cubicBezTo>
                    <a:pt x="95034" y="94859"/>
                    <a:pt x="67421" y="18155"/>
                    <a:pt x="67421" y="18155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6FC8940C-6B5A-4D21-8A37-2A377213B9CB}"/>
                </a:ext>
              </a:extLst>
            </p:cNvPr>
            <p:cNvSpPr/>
            <p:nvPr/>
          </p:nvSpPr>
          <p:spPr>
            <a:xfrm>
              <a:off x="11003310" y="1875327"/>
              <a:ext cx="74403" cy="242386"/>
            </a:xfrm>
            <a:custGeom>
              <a:avLst/>
              <a:gdLst>
                <a:gd name="connsiteX0" fmla="*/ 9971 w 74403"/>
                <a:gd name="connsiteY0" fmla="*/ 242386 h 242386"/>
                <a:gd name="connsiteX1" fmla="*/ 9971 w 74403"/>
                <a:gd name="connsiteY1" fmla="*/ 242386 h 242386"/>
                <a:gd name="connsiteX2" fmla="*/ 3835 w 74403"/>
                <a:gd name="connsiteY2" fmla="*/ 236250 h 242386"/>
                <a:gd name="connsiteX3" fmla="*/ 52926 w 74403"/>
                <a:gd name="connsiteY3" fmla="*/ 116591 h 242386"/>
                <a:gd name="connsiteX4" fmla="*/ 6903 w 74403"/>
                <a:gd name="connsiteY4" fmla="*/ 70568 h 242386"/>
                <a:gd name="connsiteX5" fmla="*/ 6903 w 74403"/>
                <a:gd name="connsiteY5" fmla="*/ 3068 h 242386"/>
                <a:gd name="connsiteX6" fmla="*/ 16107 w 74403"/>
                <a:gd name="connsiteY6" fmla="*/ 0 h 242386"/>
                <a:gd name="connsiteX7" fmla="*/ 19176 w 74403"/>
                <a:gd name="connsiteY7" fmla="*/ 9205 h 242386"/>
                <a:gd name="connsiteX8" fmla="*/ 19176 w 74403"/>
                <a:gd name="connsiteY8" fmla="*/ 67500 h 242386"/>
                <a:gd name="connsiteX9" fmla="*/ 65198 w 74403"/>
                <a:gd name="connsiteY9" fmla="*/ 110455 h 242386"/>
                <a:gd name="connsiteX10" fmla="*/ 74404 w 74403"/>
                <a:gd name="connsiteY10" fmla="*/ 113523 h 242386"/>
                <a:gd name="connsiteX11" fmla="*/ 68267 w 74403"/>
                <a:gd name="connsiteY11" fmla="*/ 119659 h 242386"/>
                <a:gd name="connsiteX12" fmla="*/ 16107 w 74403"/>
                <a:gd name="connsiteY12" fmla="*/ 239318 h 242386"/>
                <a:gd name="connsiteX13" fmla="*/ 9971 w 74403"/>
                <a:gd name="connsiteY13" fmla="*/ 242386 h 242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403" h="242386">
                  <a:moveTo>
                    <a:pt x="9971" y="242386"/>
                  </a:moveTo>
                  <a:cubicBezTo>
                    <a:pt x="9971" y="242386"/>
                    <a:pt x="9971" y="242386"/>
                    <a:pt x="9971" y="242386"/>
                  </a:cubicBezTo>
                  <a:cubicBezTo>
                    <a:pt x="6903" y="242386"/>
                    <a:pt x="3835" y="239318"/>
                    <a:pt x="3835" y="236250"/>
                  </a:cubicBezTo>
                  <a:cubicBezTo>
                    <a:pt x="9971" y="184091"/>
                    <a:pt x="40653" y="135000"/>
                    <a:pt x="52926" y="116591"/>
                  </a:cubicBezTo>
                  <a:cubicBezTo>
                    <a:pt x="40653" y="110455"/>
                    <a:pt x="16107" y="98182"/>
                    <a:pt x="6903" y="70568"/>
                  </a:cubicBezTo>
                  <a:cubicBezTo>
                    <a:pt x="-2301" y="52159"/>
                    <a:pt x="-2301" y="27614"/>
                    <a:pt x="6903" y="3068"/>
                  </a:cubicBezTo>
                  <a:cubicBezTo>
                    <a:pt x="6903" y="0"/>
                    <a:pt x="13040" y="0"/>
                    <a:pt x="16107" y="0"/>
                  </a:cubicBezTo>
                  <a:cubicBezTo>
                    <a:pt x="19176" y="0"/>
                    <a:pt x="22244" y="6136"/>
                    <a:pt x="19176" y="9205"/>
                  </a:cubicBezTo>
                  <a:cubicBezTo>
                    <a:pt x="9971" y="30682"/>
                    <a:pt x="9971" y="49091"/>
                    <a:pt x="19176" y="67500"/>
                  </a:cubicBezTo>
                  <a:cubicBezTo>
                    <a:pt x="31448" y="98182"/>
                    <a:pt x="65198" y="110455"/>
                    <a:pt x="65198" y="110455"/>
                  </a:cubicBezTo>
                  <a:lnTo>
                    <a:pt x="74404" y="113523"/>
                  </a:lnTo>
                  <a:lnTo>
                    <a:pt x="68267" y="119659"/>
                  </a:lnTo>
                  <a:cubicBezTo>
                    <a:pt x="68267" y="119659"/>
                    <a:pt x="25312" y="177955"/>
                    <a:pt x="16107" y="239318"/>
                  </a:cubicBezTo>
                  <a:cubicBezTo>
                    <a:pt x="16107" y="239318"/>
                    <a:pt x="13040" y="242386"/>
                    <a:pt x="9971" y="242386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85589E24-6532-4086-A0A6-552E60622D29}"/>
                </a:ext>
              </a:extLst>
            </p:cNvPr>
            <p:cNvSpPr/>
            <p:nvPr/>
          </p:nvSpPr>
          <p:spPr>
            <a:xfrm>
              <a:off x="10749417" y="6158509"/>
              <a:ext cx="205568" cy="254658"/>
            </a:xfrm>
            <a:custGeom>
              <a:avLst/>
              <a:gdLst>
                <a:gd name="connsiteX0" fmla="*/ 0 w 205568"/>
                <a:gd name="connsiteY0" fmla="*/ 214773 h 254658"/>
                <a:gd name="connsiteX1" fmla="*/ 0 w 205568"/>
                <a:gd name="connsiteY1" fmla="*/ 0 h 254658"/>
                <a:gd name="connsiteX2" fmla="*/ 205569 w 205568"/>
                <a:gd name="connsiteY2" fmla="*/ 0 h 254658"/>
                <a:gd name="connsiteX3" fmla="*/ 165682 w 205568"/>
                <a:gd name="connsiteY3" fmla="*/ 223977 h 254658"/>
                <a:gd name="connsiteX4" fmla="*/ 12273 w 205568"/>
                <a:gd name="connsiteY4" fmla="*/ 254659 h 254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568" h="254658">
                  <a:moveTo>
                    <a:pt x="0" y="214773"/>
                  </a:moveTo>
                  <a:lnTo>
                    <a:pt x="0" y="0"/>
                  </a:lnTo>
                  <a:lnTo>
                    <a:pt x="205569" y="0"/>
                  </a:lnTo>
                  <a:lnTo>
                    <a:pt x="165682" y="223977"/>
                  </a:lnTo>
                  <a:lnTo>
                    <a:pt x="12273" y="254659"/>
                  </a:ln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81C0DFF6-3F6F-412A-B211-E39DD4F81F76}"/>
                </a:ext>
              </a:extLst>
            </p:cNvPr>
            <p:cNvSpPr/>
            <p:nvPr/>
          </p:nvSpPr>
          <p:spPr>
            <a:xfrm>
              <a:off x="10649414" y="3986236"/>
              <a:ext cx="1156555" cy="2270454"/>
            </a:xfrm>
            <a:custGeom>
              <a:avLst/>
              <a:gdLst>
                <a:gd name="connsiteX0" fmla="*/ 1051140 w 1156555"/>
                <a:gd name="connsiteY0" fmla="*/ 18409 h 2270454"/>
                <a:gd name="connsiteX1" fmla="*/ 1149322 w 1156555"/>
                <a:gd name="connsiteY1" fmla="*/ 1399091 h 2270454"/>
                <a:gd name="connsiteX2" fmla="*/ 867049 w 1156555"/>
                <a:gd name="connsiteY2" fmla="*/ 2270455 h 2270454"/>
                <a:gd name="connsiteX3" fmla="*/ 578640 w 1156555"/>
                <a:gd name="connsiteY3" fmla="*/ 2270455 h 2270454"/>
                <a:gd name="connsiteX4" fmla="*/ 732049 w 1156555"/>
                <a:gd name="connsiteY4" fmla="*/ 1264091 h 2270454"/>
                <a:gd name="connsiteX5" fmla="*/ 551027 w 1156555"/>
                <a:gd name="connsiteY5" fmla="*/ 503182 h 2270454"/>
                <a:gd name="connsiteX6" fmla="*/ 520345 w 1156555"/>
                <a:gd name="connsiteY6" fmla="*/ 1248750 h 2270454"/>
                <a:gd name="connsiteX7" fmla="*/ 354662 w 1156555"/>
                <a:gd name="connsiteY7" fmla="*/ 2264318 h 2270454"/>
                <a:gd name="connsiteX8" fmla="*/ 44777 w 1156555"/>
                <a:gd name="connsiteY8" fmla="*/ 2248977 h 2270454"/>
                <a:gd name="connsiteX9" fmla="*/ 26367 w 1156555"/>
                <a:gd name="connsiteY9" fmla="*/ 1168977 h 2270454"/>
                <a:gd name="connsiteX10" fmla="*/ 23299 w 1156555"/>
                <a:gd name="connsiteY10" fmla="*/ 0 h 2270454"/>
                <a:gd name="connsiteX11" fmla="*/ 1051140 w 1156555"/>
                <a:gd name="connsiteY11" fmla="*/ 18409 h 227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56555" h="2270454">
                  <a:moveTo>
                    <a:pt x="1051140" y="18409"/>
                  </a:moveTo>
                  <a:cubicBezTo>
                    <a:pt x="1051140" y="18409"/>
                    <a:pt x="1189208" y="1294773"/>
                    <a:pt x="1149322" y="1399091"/>
                  </a:cubicBezTo>
                  <a:cubicBezTo>
                    <a:pt x="1109435" y="1503409"/>
                    <a:pt x="867049" y="2270455"/>
                    <a:pt x="867049" y="2270455"/>
                  </a:cubicBezTo>
                  <a:lnTo>
                    <a:pt x="578640" y="2270455"/>
                  </a:lnTo>
                  <a:cubicBezTo>
                    <a:pt x="578640" y="2270455"/>
                    <a:pt x="725912" y="1362273"/>
                    <a:pt x="732049" y="1264091"/>
                  </a:cubicBezTo>
                  <a:cubicBezTo>
                    <a:pt x="738185" y="1165909"/>
                    <a:pt x="566368" y="533863"/>
                    <a:pt x="551027" y="503182"/>
                  </a:cubicBezTo>
                  <a:cubicBezTo>
                    <a:pt x="535686" y="472500"/>
                    <a:pt x="520345" y="1248750"/>
                    <a:pt x="520345" y="1248750"/>
                  </a:cubicBezTo>
                  <a:lnTo>
                    <a:pt x="354662" y="2264318"/>
                  </a:lnTo>
                  <a:lnTo>
                    <a:pt x="44777" y="2248977"/>
                  </a:lnTo>
                  <a:cubicBezTo>
                    <a:pt x="44777" y="2248977"/>
                    <a:pt x="41708" y="1267159"/>
                    <a:pt x="26367" y="1168977"/>
                  </a:cubicBezTo>
                  <a:cubicBezTo>
                    <a:pt x="11026" y="1070795"/>
                    <a:pt x="-22724" y="98182"/>
                    <a:pt x="23299" y="0"/>
                  </a:cubicBezTo>
                  <a:cubicBezTo>
                    <a:pt x="722844" y="30682"/>
                    <a:pt x="1051140" y="18409"/>
                    <a:pt x="1051140" y="18409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98A2FC7E-E6AA-4383-91CF-EA65D70F9581}"/>
                </a:ext>
              </a:extLst>
            </p:cNvPr>
            <p:cNvSpPr/>
            <p:nvPr/>
          </p:nvSpPr>
          <p:spPr>
            <a:xfrm>
              <a:off x="11185099" y="1930355"/>
              <a:ext cx="195596" cy="33949"/>
            </a:xfrm>
            <a:custGeom>
              <a:avLst/>
              <a:gdLst>
                <a:gd name="connsiteX0" fmla="*/ 193295 w 195596"/>
                <a:gd name="connsiteY0" fmla="*/ 33949 h 33949"/>
                <a:gd name="connsiteX1" fmla="*/ 190227 w 195596"/>
                <a:gd name="connsiteY1" fmla="*/ 33949 h 33949"/>
                <a:gd name="connsiteX2" fmla="*/ 9204 w 195596"/>
                <a:gd name="connsiteY2" fmla="*/ 33949 h 33949"/>
                <a:gd name="connsiteX3" fmla="*/ 0 w 195596"/>
                <a:gd name="connsiteY3" fmla="*/ 30881 h 33949"/>
                <a:gd name="connsiteX4" fmla="*/ 3067 w 195596"/>
                <a:gd name="connsiteY4" fmla="*/ 21676 h 33949"/>
                <a:gd name="connsiteX5" fmla="*/ 193295 w 195596"/>
                <a:gd name="connsiteY5" fmla="*/ 24744 h 33949"/>
                <a:gd name="connsiteX6" fmla="*/ 193295 w 195596"/>
                <a:gd name="connsiteY6" fmla="*/ 33949 h 33949"/>
                <a:gd name="connsiteX7" fmla="*/ 193295 w 195596"/>
                <a:gd name="connsiteY7" fmla="*/ 33949 h 33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596" h="33949">
                  <a:moveTo>
                    <a:pt x="193295" y="33949"/>
                  </a:moveTo>
                  <a:cubicBezTo>
                    <a:pt x="193295" y="33949"/>
                    <a:pt x="190227" y="33949"/>
                    <a:pt x="190227" y="33949"/>
                  </a:cubicBezTo>
                  <a:cubicBezTo>
                    <a:pt x="125795" y="-15142"/>
                    <a:pt x="12273" y="30881"/>
                    <a:pt x="9204" y="33949"/>
                  </a:cubicBezTo>
                  <a:cubicBezTo>
                    <a:pt x="6136" y="33949"/>
                    <a:pt x="3067" y="33949"/>
                    <a:pt x="0" y="30881"/>
                  </a:cubicBezTo>
                  <a:cubicBezTo>
                    <a:pt x="0" y="27813"/>
                    <a:pt x="0" y="24744"/>
                    <a:pt x="3067" y="21676"/>
                  </a:cubicBezTo>
                  <a:cubicBezTo>
                    <a:pt x="9204" y="18608"/>
                    <a:pt x="125795" y="-27415"/>
                    <a:pt x="193295" y="24744"/>
                  </a:cubicBezTo>
                  <a:cubicBezTo>
                    <a:pt x="196363" y="27813"/>
                    <a:pt x="196363" y="30881"/>
                    <a:pt x="193295" y="33949"/>
                  </a:cubicBezTo>
                  <a:cubicBezTo>
                    <a:pt x="196363" y="33949"/>
                    <a:pt x="193295" y="33949"/>
                    <a:pt x="193295" y="33949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4EDD69F6-A05B-4136-93E7-E25F0E108427}"/>
                </a:ext>
              </a:extLst>
            </p:cNvPr>
            <p:cNvSpPr/>
            <p:nvPr/>
          </p:nvSpPr>
          <p:spPr>
            <a:xfrm>
              <a:off x="10645099" y="2467486"/>
              <a:ext cx="1077754" cy="1576860"/>
            </a:xfrm>
            <a:custGeom>
              <a:avLst/>
              <a:gdLst>
                <a:gd name="connsiteX0" fmla="*/ 398864 w 1077754"/>
                <a:gd name="connsiteY0" fmla="*/ 0 h 1576860"/>
                <a:gd name="connsiteX1" fmla="*/ 690341 w 1077754"/>
                <a:gd name="connsiteY1" fmla="*/ 0 h 1576860"/>
                <a:gd name="connsiteX2" fmla="*/ 991022 w 1077754"/>
                <a:gd name="connsiteY2" fmla="*/ 131932 h 1576860"/>
                <a:gd name="connsiteX3" fmla="*/ 1076932 w 1077754"/>
                <a:gd name="connsiteY3" fmla="*/ 1546364 h 1576860"/>
                <a:gd name="connsiteX4" fmla="*/ 0 w 1077754"/>
                <a:gd name="connsiteY4" fmla="*/ 1521818 h 1576860"/>
                <a:gd name="connsiteX5" fmla="*/ 116591 w 1077754"/>
                <a:gd name="connsiteY5" fmla="*/ 104318 h 1576860"/>
                <a:gd name="connsiteX6" fmla="*/ 398864 w 1077754"/>
                <a:gd name="connsiteY6" fmla="*/ 0 h 1576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754" h="1576860">
                  <a:moveTo>
                    <a:pt x="398864" y="0"/>
                  </a:moveTo>
                  <a:cubicBezTo>
                    <a:pt x="398864" y="0"/>
                    <a:pt x="573749" y="55227"/>
                    <a:pt x="690341" y="0"/>
                  </a:cubicBezTo>
                  <a:cubicBezTo>
                    <a:pt x="690341" y="0"/>
                    <a:pt x="966477" y="98182"/>
                    <a:pt x="991022" y="131932"/>
                  </a:cubicBezTo>
                  <a:cubicBezTo>
                    <a:pt x="1015568" y="162614"/>
                    <a:pt x="1086136" y="1478864"/>
                    <a:pt x="1076932" y="1546364"/>
                  </a:cubicBezTo>
                  <a:cubicBezTo>
                    <a:pt x="1076932" y="1546364"/>
                    <a:pt x="582955" y="1629205"/>
                    <a:pt x="0" y="1521818"/>
                  </a:cubicBezTo>
                  <a:cubicBezTo>
                    <a:pt x="0" y="1162841"/>
                    <a:pt x="73636" y="135000"/>
                    <a:pt x="116591" y="104318"/>
                  </a:cubicBezTo>
                  <a:cubicBezTo>
                    <a:pt x="156477" y="70568"/>
                    <a:pt x="398864" y="0"/>
                    <a:pt x="398864" y="0"/>
                  </a:cubicBezTo>
                  <a:close/>
                </a:path>
              </a:pathLst>
            </a:custGeom>
            <a:solidFill>
              <a:srgbClr val="F6EBE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8E8CBB2A-27D0-49A1-92E3-C5A3C88E2588}"/>
                </a:ext>
              </a:extLst>
            </p:cNvPr>
            <p:cNvSpPr/>
            <p:nvPr/>
          </p:nvSpPr>
          <p:spPr>
            <a:xfrm>
              <a:off x="11040894" y="2467486"/>
              <a:ext cx="181022" cy="119659"/>
            </a:xfrm>
            <a:custGeom>
              <a:avLst/>
              <a:gdLst>
                <a:gd name="connsiteX0" fmla="*/ 181023 w 181022"/>
                <a:gd name="connsiteY0" fmla="*/ 21477 h 119659"/>
                <a:gd name="connsiteX1" fmla="*/ 153409 w 181022"/>
                <a:gd name="connsiteY1" fmla="*/ 119659 h 119659"/>
                <a:gd name="connsiteX2" fmla="*/ 0 w 181022"/>
                <a:gd name="connsiteY2" fmla="*/ 0 h 119659"/>
                <a:gd name="connsiteX3" fmla="*/ 181023 w 181022"/>
                <a:gd name="connsiteY3" fmla="*/ 21477 h 119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022" h="119659">
                  <a:moveTo>
                    <a:pt x="181023" y="21477"/>
                  </a:moveTo>
                  <a:lnTo>
                    <a:pt x="153409" y="119659"/>
                  </a:lnTo>
                  <a:lnTo>
                    <a:pt x="0" y="0"/>
                  </a:lnTo>
                  <a:cubicBezTo>
                    <a:pt x="3068" y="0"/>
                    <a:pt x="138068" y="21477"/>
                    <a:pt x="181023" y="21477"/>
                  </a:cubicBezTo>
                  <a:close/>
                </a:path>
              </a:pathLst>
            </a:custGeom>
            <a:solidFill>
              <a:srgbClr val="FFFFFF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5DA38813-FD88-4AF6-BC69-68CEB37DA0AF}"/>
                </a:ext>
              </a:extLst>
            </p:cNvPr>
            <p:cNvSpPr/>
            <p:nvPr/>
          </p:nvSpPr>
          <p:spPr>
            <a:xfrm>
              <a:off x="11221917" y="2467486"/>
              <a:ext cx="110454" cy="116590"/>
            </a:xfrm>
            <a:custGeom>
              <a:avLst/>
              <a:gdLst>
                <a:gd name="connsiteX0" fmla="*/ 0 w 110454"/>
                <a:gd name="connsiteY0" fmla="*/ 21477 h 116590"/>
                <a:gd name="connsiteX1" fmla="*/ 36819 w 110454"/>
                <a:gd name="connsiteY1" fmla="*/ 116591 h 116590"/>
                <a:gd name="connsiteX2" fmla="*/ 110455 w 110454"/>
                <a:gd name="connsiteY2" fmla="*/ 0 h 116590"/>
                <a:gd name="connsiteX3" fmla="*/ 0 w 110454"/>
                <a:gd name="connsiteY3" fmla="*/ 21477 h 116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454" h="116590">
                  <a:moveTo>
                    <a:pt x="0" y="21477"/>
                  </a:moveTo>
                  <a:lnTo>
                    <a:pt x="36819" y="116591"/>
                  </a:lnTo>
                  <a:lnTo>
                    <a:pt x="110455" y="0"/>
                  </a:lnTo>
                  <a:cubicBezTo>
                    <a:pt x="110455" y="0"/>
                    <a:pt x="39887" y="21477"/>
                    <a:pt x="0" y="21477"/>
                  </a:cubicBezTo>
                  <a:close/>
                </a:path>
              </a:pathLst>
            </a:custGeom>
            <a:solidFill>
              <a:srgbClr val="FFFFFF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8CDC50E9-E714-4E5B-98A0-4E304890EDF7}"/>
                </a:ext>
              </a:extLst>
            </p:cNvPr>
            <p:cNvSpPr/>
            <p:nvPr/>
          </p:nvSpPr>
          <p:spPr>
            <a:xfrm>
              <a:off x="11477199" y="2557957"/>
              <a:ext cx="453467" cy="615210"/>
            </a:xfrm>
            <a:custGeom>
              <a:avLst/>
              <a:gdLst>
                <a:gd name="connsiteX0" fmla="*/ 63808 w 453467"/>
                <a:gd name="connsiteY0" fmla="*/ 615211 h 615210"/>
                <a:gd name="connsiteX1" fmla="*/ 51536 w 453467"/>
                <a:gd name="connsiteY1" fmla="*/ 10779 h 615210"/>
                <a:gd name="connsiteX2" fmla="*/ 453468 w 453467"/>
                <a:gd name="connsiteY2" fmla="*/ 446461 h 615210"/>
                <a:gd name="connsiteX3" fmla="*/ 63808 w 453467"/>
                <a:gd name="connsiteY3" fmla="*/ 615211 h 615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467" h="615210">
                  <a:moveTo>
                    <a:pt x="63808" y="615211"/>
                  </a:moveTo>
                  <a:cubicBezTo>
                    <a:pt x="63808" y="615211"/>
                    <a:pt x="-71191" y="90552"/>
                    <a:pt x="51536" y="10779"/>
                  </a:cubicBezTo>
                  <a:cubicBezTo>
                    <a:pt x="195741" y="-81267"/>
                    <a:pt x="453468" y="446461"/>
                    <a:pt x="453468" y="446461"/>
                  </a:cubicBezTo>
                  <a:cubicBezTo>
                    <a:pt x="453468" y="446461"/>
                    <a:pt x="278581" y="593733"/>
                    <a:pt x="63808" y="615211"/>
                  </a:cubicBezTo>
                  <a:close/>
                </a:path>
              </a:pathLst>
            </a:custGeom>
            <a:solidFill>
              <a:srgbClr val="F6EBE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12814909-5CCE-4E77-9CE2-E626C53E5E19}"/>
                </a:ext>
              </a:extLst>
            </p:cNvPr>
            <p:cNvSpPr/>
            <p:nvPr/>
          </p:nvSpPr>
          <p:spPr>
            <a:xfrm>
              <a:off x="11626917" y="2593281"/>
              <a:ext cx="54174" cy="555340"/>
            </a:xfrm>
            <a:custGeom>
              <a:avLst/>
              <a:gdLst>
                <a:gd name="connsiteX0" fmla="*/ 49091 w 54174"/>
                <a:gd name="connsiteY0" fmla="*/ 555341 h 555340"/>
                <a:gd name="connsiteX1" fmla="*/ 42954 w 54174"/>
                <a:gd name="connsiteY1" fmla="*/ 549205 h 555340"/>
                <a:gd name="connsiteX2" fmla="*/ 0 w 54174"/>
                <a:gd name="connsiteY2" fmla="*/ 6136 h 555340"/>
                <a:gd name="connsiteX3" fmla="*/ 3068 w 54174"/>
                <a:gd name="connsiteY3" fmla="*/ 0 h 555340"/>
                <a:gd name="connsiteX4" fmla="*/ 9204 w 54174"/>
                <a:gd name="connsiteY4" fmla="*/ 3068 h 555340"/>
                <a:gd name="connsiteX5" fmla="*/ 52159 w 54174"/>
                <a:gd name="connsiteY5" fmla="*/ 549205 h 555340"/>
                <a:gd name="connsiteX6" fmla="*/ 49091 w 54174"/>
                <a:gd name="connsiteY6" fmla="*/ 555341 h 555340"/>
                <a:gd name="connsiteX7" fmla="*/ 49091 w 54174"/>
                <a:gd name="connsiteY7" fmla="*/ 555341 h 555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174" h="555340">
                  <a:moveTo>
                    <a:pt x="49091" y="555341"/>
                  </a:moveTo>
                  <a:cubicBezTo>
                    <a:pt x="46023" y="555341"/>
                    <a:pt x="42954" y="552273"/>
                    <a:pt x="42954" y="549205"/>
                  </a:cubicBezTo>
                  <a:cubicBezTo>
                    <a:pt x="42954" y="543068"/>
                    <a:pt x="6136" y="46023"/>
                    <a:pt x="0" y="6136"/>
                  </a:cubicBezTo>
                  <a:cubicBezTo>
                    <a:pt x="0" y="3068"/>
                    <a:pt x="0" y="0"/>
                    <a:pt x="3068" y="0"/>
                  </a:cubicBezTo>
                  <a:cubicBezTo>
                    <a:pt x="6136" y="0"/>
                    <a:pt x="9204" y="0"/>
                    <a:pt x="9204" y="3068"/>
                  </a:cubicBezTo>
                  <a:cubicBezTo>
                    <a:pt x="18409" y="42955"/>
                    <a:pt x="52159" y="527727"/>
                    <a:pt x="52159" y="549205"/>
                  </a:cubicBezTo>
                  <a:cubicBezTo>
                    <a:pt x="55227" y="552273"/>
                    <a:pt x="55227" y="555341"/>
                    <a:pt x="49091" y="555341"/>
                  </a:cubicBezTo>
                  <a:cubicBezTo>
                    <a:pt x="52159" y="555341"/>
                    <a:pt x="49091" y="555341"/>
                    <a:pt x="49091" y="555341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909EC061-82FC-45FC-AE9F-89789CCC9053}"/>
                </a:ext>
              </a:extLst>
            </p:cNvPr>
            <p:cNvSpPr/>
            <p:nvPr/>
          </p:nvSpPr>
          <p:spPr>
            <a:xfrm>
              <a:off x="11194304" y="4130440"/>
              <a:ext cx="70567" cy="368181"/>
            </a:xfrm>
            <a:custGeom>
              <a:avLst/>
              <a:gdLst>
                <a:gd name="connsiteX0" fmla="*/ 6137 w 70567"/>
                <a:gd name="connsiteY0" fmla="*/ 368182 h 368181"/>
                <a:gd name="connsiteX1" fmla="*/ 6137 w 70567"/>
                <a:gd name="connsiteY1" fmla="*/ 368182 h 368181"/>
                <a:gd name="connsiteX2" fmla="*/ 0 w 70567"/>
                <a:gd name="connsiteY2" fmla="*/ 358977 h 368181"/>
                <a:gd name="connsiteX3" fmla="*/ 58295 w 70567"/>
                <a:gd name="connsiteY3" fmla="*/ 6136 h 368181"/>
                <a:gd name="connsiteX4" fmla="*/ 64432 w 70567"/>
                <a:gd name="connsiteY4" fmla="*/ 0 h 368181"/>
                <a:gd name="connsiteX5" fmla="*/ 64432 w 70567"/>
                <a:gd name="connsiteY5" fmla="*/ 0 h 368181"/>
                <a:gd name="connsiteX6" fmla="*/ 70568 w 70567"/>
                <a:gd name="connsiteY6" fmla="*/ 6136 h 368181"/>
                <a:gd name="connsiteX7" fmla="*/ 12273 w 70567"/>
                <a:gd name="connsiteY7" fmla="*/ 362046 h 368181"/>
                <a:gd name="connsiteX8" fmla="*/ 6137 w 70567"/>
                <a:gd name="connsiteY8" fmla="*/ 368182 h 36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567" h="368181">
                  <a:moveTo>
                    <a:pt x="6137" y="368182"/>
                  </a:moveTo>
                  <a:cubicBezTo>
                    <a:pt x="3068" y="368182"/>
                    <a:pt x="3068" y="368182"/>
                    <a:pt x="6137" y="368182"/>
                  </a:cubicBezTo>
                  <a:cubicBezTo>
                    <a:pt x="0" y="365114"/>
                    <a:pt x="0" y="362046"/>
                    <a:pt x="0" y="358977"/>
                  </a:cubicBezTo>
                  <a:cubicBezTo>
                    <a:pt x="49091" y="245455"/>
                    <a:pt x="58295" y="9205"/>
                    <a:pt x="58295" y="6136"/>
                  </a:cubicBezTo>
                  <a:cubicBezTo>
                    <a:pt x="58295" y="3068"/>
                    <a:pt x="61364" y="0"/>
                    <a:pt x="64432" y="0"/>
                  </a:cubicBezTo>
                  <a:cubicBezTo>
                    <a:pt x="64432" y="0"/>
                    <a:pt x="64432" y="0"/>
                    <a:pt x="64432" y="0"/>
                  </a:cubicBezTo>
                  <a:cubicBezTo>
                    <a:pt x="67500" y="0"/>
                    <a:pt x="70568" y="3068"/>
                    <a:pt x="70568" y="6136"/>
                  </a:cubicBezTo>
                  <a:cubicBezTo>
                    <a:pt x="70568" y="15341"/>
                    <a:pt x="61364" y="245455"/>
                    <a:pt x="12273" y="362046"/>
                  </a:cubicBezTo>
                  <a:cubicBezTo>
                    <a:pt x="9204" y="365114"/>
                    <a:pt x="6137" y="368182"/>
                    <a:pt x="6137" y="368182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DA5E1436-194E-4DB0-A2A5-3DABD92BF12B}"/>
                </a:ext>
              </a:extLst>
            </p:cNvPr>
            <p:cNvSpPr/>
            <p:nvPr/>
          </p:nvSpPr>
          <p:spPr>
            <a:xfrm>
              <a:off x="11220646" y="4059872"/>
              <a:ext cx="157748" cy="358977"/>
            </a:xfrm>
            <a:custGeom>
              <a:avLst/>
              <a:gdLst>
                <a:gd name="connsiteX0" fmla="*/ 7408 w 157748"/>
                <a:gd name="connsiteY0" fmla="*/ 358977 h 358977"/>
                <a:gd name="connsiteX1" fmla="*/ 1271 w 157748"/>
                <a:gd name="connsiteY1" fmla="*/ 355909 h 358977"/>
                <a:gd name="connsiteX2" fmla="*/ 4339 w 157748"/>
                <a:gd name="connsiteY2" fmla="*/ 346705 h 358977"/>
                <a:gd name="connsiteX3" fmla="*/ 111726 w 157748"/>
                <a:gd name="connsiteY3" fmla="*/ 270000 h 358977"/>
                <a:gd name="connsiteX4" fmla="*/ 145476 w 157748"/>
                <a:gd name="connsiteY4" fmla="*/ 6137 h 358977"/>
                <a:gd name="connsiteX5" fmla="*/ 151612 w 157748"/>
                <a:gd name="connsiteY5" fmla="*/ 0 h 358977"/>
                <a:gd name="connsiteX6" fmla="*/ 157748 w 157748"/>
                <a:gd name="connsiteY6" fmla="*/ 6137 h 358977"/>
                <a:gd name="connsiteX7" fmla="*/ 123998 w 157748"/>
                <a:gd name="connsiteY7" fmla="*/ 276136 h 358977"/>
                <a:gd name="connsiteX8" fmla="*/ 13544 w 157748"/>
                <a:gd name="connsiteY8" fmla="*/ 355909 h 358977"/>
                <a:gd name="connsiteX9" fmla="*/ 7408 w 157748"/>
                <a:gd name="connsiteY9" fmla="*/ 358977 h 358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748" h="358977">
                  <a:moveTo>
                    <a:pt x="7408" y="358977"/>
                  </a:moveTo>
                  <a:cubicBezTo>
                    <a:pt x="4339" y="358977"/>
                    <a:pt x="4339" y="358977"/>
                    <a:pt x="1271" y="355909"/>
                  </a:cubicBezTo>
                  <a:cubicBezTo>
                    <a:pt x="-1797" y="352841"/>
                    <a:pt x="1271" y="349773"/>
                    <a:pt x="4339" y="346705"/>
                  </a:cubicBezTo>
                  <a:cubicBezTo>
                    <a:pt x="44225" y="322159"/>
                    <a:pt x="102522" y="279205"/>
                    <a:pt x="111726" y="270000"/>
                  </a:cubicBezTo>
                  <a:cubicBezTo>
                    <a:pt x="120930" y="257727"/>
                    <a:pt x="136271" y="101250"/>
                    <a:pt x="145476" y="6137"/>
                  </a:cubicBezTo>
                  <a:cubicBezTo>
                    <a:pt x="145476" y="3068"/>
                    <a:pt x="148544" y="0"/>
                    <a:pt x="151612" y="0"/>
                  </a:cubicBezTo>
                  <a:cubicBezTo>
                    <a:pt x="154680" y="0"/>
                    <a:pt x="157748" y="3068"/>
                    <a:pt x="157748" y="6137"/>
                  </a:cubicBezTo>
                  <a:cubicBezTo>
                    <a:pt x="154680" y="49091"/>
                    <a:pt x="133203" y="260795"/>
                    <a:pt x="123998" y="276136"/>
                  </a:cubicBezTo>
                  <a:cubicBezTo>
                    <a:pt x="111726" y="291477"/>
                    <a:pt x="22749" y="349773"/>
                    <a:pt x="13544" y="355909"/>
                  </a:cubicBezTo>
                  <a:cubicBezTo>
                    <a:pt x="10476" y="358977"/>
                    <a:pt x="10476" y="358977"/>
                    <a:pt x="7408" y="358977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BC3398B4-22B8-4DA0-975A-0C56E398074C}"/>
                </a:ext>
              </a:extLst>
            </p:cNvPr>
            <p:cNvSpPr/>
            <p:nvPr/>
          </p:nvSpPr>
          <p:spPr>
            <a:xfrm>
              <a:off x="10666917" y="6351804"/>
              <a:ext cx="287814" cy="337500"/>
            </a:xfrm>
            <a:custGeom>
              <a:avLst/>
              <a:gdLst>
                <a:gd name="connsiteX0" fmla="*/ 2727 w 287814"/>
                <a:gd name="connsiteY0" fmla="*/ 227046 h 337500"/>
                <a:gd name="connsiteX1" fmla="*/ 2727 w 287814"/>
                <a:gd name="connsiteY1" fmla="*/ 282273 h 337500"/>
                <a:gd name="connsiteX2" fmla="*/ 137727 w 287814"/>
                <a:gd name="connsiteY2" fmla="*/ 337500 h 337500"/>
                <a:gd name="connsiteX3" fmla="*/ 281932 w 287814"/>
                <a:gd name="connsiteY3" fmla="*/ 282273 h 337500"/>
                <a:gd name="connsiteX4" fmla="*/ 269659 w 287814"/>
                <a:gd name="connsiteY4" fmla="*/ 39886 h 337500"/>
                <a:gd name="connsiteX5" fmla="*/ 254318 w 287814"/>
                <a:gd name="connsiteY5" fmla="*/ 0 h 337500"/>
                <a:gd name="connsiteX6" fmla="*/ 235909 w 287814"/>
                <a:gd name="connsiteY6" fmla="*/ 227046 h 337500"/>
                <a:gd name="connsiteX7" fmla="*/ 2727 w 287814"/>
                <a:gd name="connsiteY7" fmla="*/ 227046 h 33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7814" h="337500">
                  <a:moveTo>
                    <a:pt x="2727" y="227046"/>
                  </a:moveTo>
                  <a:cubicBezTo>
                    <a:pt x="2727" y="227046"/>
                    <a:pt x="-3409" y="270000"/>
                    <a:pt x="2727" y="282273"/>
                  </a:cubicBezTo>
                  <a:cubicBezTo>
                    <a:pt x="11932" y="300682"/>
                    <a:pt x="73296" y="337500"/>
                    <a:pt x="137727" y="337500"/>
                  </a:cubicBezTo>
                  <a:cubicBezTo>
                    <a:pt x="214431" y="337500"/>
                    <a:pt x="266591" y="300682"/>
                    <a:pt x="281932" y="282273"/>
                  </a:cubicBezTo>
                  <a:cubicBezTo>
                    <a:pt x="300341" y="263864"/>
                    <a:pt x="269659" y="39886"/>
                    <a:pt x="269659" y="39886"/>
                  </a:cubicBezTo>
                  <a:lnTo>
                    <a:pt x="254318" y="0"/>
                  </a:lnTo>
                  <a:lnTo>
                    <a:pt x="235909" y="227046"/>
                  </a:lnTo>
                  <a:lnTo>
                    <a:pt x="2727" y="227046"/>
                  </a:ln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4FFAB673-7C10-49CB-8770-9C64F971415A}"/>
                </a:ext>
              </a:extLst>
            </p:cNvPr>
            <p:cNvSpPr/>
            <p:nvPr/>
          </p:nvSpPr>
          <p:spPr>
            <a:xfrm>
              <a:off x="10668820" y="6336463"/>
              <a:ext cx="272890" cy="313167"/>
            </a:xfrm>
            <a:custGeom>
              <a:avLst/>
              <a:gdLst>
                <a:gd name="connsiteX0" fmla="*/ 77529 w 272890"/>
                <a:gd name="connsiteY0" fmla="*/ 0 h 313167"/>
                <a:gd name="connsiteX1" fmla="*/ 255484 w 272890"/>
                <a:gd name="connsiteY1" fmla="*/ 15341 h 313167"/>
                <a:gd name="connsiteX2" fmla="*/ 270825 w 272890"/>
                <a:gd name="connsiteY2" fmla="*/ 251591 h 313167"/>
                <a:gd name="connsiteX3" fmla="*/ 129689 w 272890"/>
                <a:gd name="connsiteY3" fmla="*/ 312955 h 313167"/>
                <a:gd name="connsiteX4" fmla="*/ 825 w 272890"/>
                <a:gd name="connsiteY4" fmla="*/ 248523 h 313167"/>
                <a:gd name="connsiteX5" fmla="*/ 77529 w 272890"/>
                <a:gd name="connsiteY5" fmla="*/ 0 h 313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2890" h="313167">
                  <a:moveTo>
                    <a:pt x="77529" y="0"/>
                  </a:moveTo>
                  <a:cubicBezTo>
                    <a:pt x="77529" y="0"/>
                    <a:pt x="138893" y="70568"/>
                    <a:pt x="255484" y="15341"/>
                  </a:cubicBezTo>
                  <a:cubicBezTo>
                    <a:pt x="255484" y="15341"/>
                    <a:pt x="280029" y="217841"/>
                    <a:pt x="270825" y="251591"/>
                  </a:cubicBezTo>
                  <a:cubicBezTo>
                    <a:pt x="258552" y="285341"/>
                    <a:pt x="169575" y="316023"/>
                    <a:pt x="129689" y="312955"/>
                  </a:cubicBezTo>
                  <a:cubicBezTo>
                    <a:pt x="89802" y="309887"/>
                    <a:pt x="13097" y="273068"/>
                    <a:pt x="825" y="248523"/>
                  </a:cubicBezTo>
                  <a:cubicBezTo>
                    <a:pt x="-8380" y="227046"/>
                    <a:pt x="62188" y="55227"/>
                    <a:pt x="77529" y="0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6E1B0FF7-AE13-42F4-8CEF-4F95030B9E4D}"/>
                </a:ext>
              </a:extLst>
            </p:cNvPr>
            <p:cNvSpPr/>
            <p:nvPr/>
          </p:nvSpPr>
          <p:spPr>
            <a:xfrm>
              <a:off x="10738942" y="6329056"/>
              <a:ext cx="191497" cy="50361"/>
            </a:xfrm>
            <a:custGeom>
              <a:avLst/>
              <a:gdLst>
                <a:gd name="connsiteX0" fmla="*/ 93316 w 191497"/>
                <a:gd name="connsiteY0" fmla="*/ 50362 h 50361"/>
                <a:gd name="connsiteX1" fmla="*/ 1271 w 191497"/>
                <a:gd name="connsiteY1" fmla="*/ 10475 h 50361"/>
                <a:gd name="connsiteX2" fmla="*/ 4338 w 191497"/>
                <a:gd name="connsiteY2" fmla="*/ 1271 h 50361"/>
                <a:gd name="connsiteX3" fmla="*/ 13544 w 191497"/>
                <a:gd name="connsiteY3" fmla="*/ 4339 h 50361"/>
                <a:gd name="connsiteX4" fmla="*/ 185362 w 191497"/>
                <a:gd name="connsiteY4" fmla="*/ 16612 h 50361"/>
                <a:gd name="connsiteX5" fmla="*/ 191498 w 191497"/>
                <a:gd name="connsiteY5" fmla="*/ 19680 h 50361"/>
                <a:gd name="connsiteX6" fmla="*/ 188429 w 191497"/>
                <a:gd name="connsiteY6" fmla="*/ 25816 h 50361"/>
                <a:gd name="connsiteX7" fmla="*/ 93316 w 191497"/>
                <a:gd name="connsiteY7" fmla="*/ 50362 h 50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1497" h="50361">
                  <a:moveTo>
                    <a:pt x="93316" y="50362"/>
                  </a:moveTo>
                  <a:cubicBezTo>
                    <a:pt x="28884" y="50362"/>
                    <a:pt x="4338" y="13544"/>
                    <a:pt x="1271" y="10475"/>
                  </a:cubicBezTo>
                  <a:cubicBezTo>
                    <a:pt x="-1797" y="7407"/>
                    <a:pt x="1271" y="4339"/>
                    <a:pt x="4338" y="1271"/>
                  </a:cubicBezTo>
                  <a:cubicBezTo>
                    <a:pt x="7407" y="-1797"/>
                    <a:pt x="10475" y="1271"/>
                    <a:pt x="13544" y="4339"/>
                  </a:cubicBezTo>
                  <a:cubicBezTo>
                    <a:pt x="16612" y="7407"/>
                    <a:pt x="59566" y="71839"/>
                    <a:pt x="185362" y="16612"/>
                  </a:cubicBezTo>
                  <a:cubicBezTo>
                    <a:pt x="188429" y="16612"/>
                    <a:pt x="191498" y="16612"/>
                    <a:pt x="191498" y="19680"/>
                  </a:cubicBezTo>
                  <a:cubicBezTo>
                    <a:pt x="191498" y="22748"/>
                    <a:pt x="191498" y="25816"/>
                    <a:pt x="188429" y="25816"/>
                  </a:cubicBezTo>
                  <a:cubicBezTo>
                    <a:pt x="151612" y="44226"/>
                    <a:pt x="120930" y="50362"/>
                    <a:pt x="93316" y="50362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8AAE5E2A-3C31-4A52-BBA5-B96AF2EAF14D}"/>
                </a:ext>
              </a:extLst>
            </p:cNvPr>
            <p:cNvSpPr/>
            <p:nvPr/>
          </p:nvSpPr>
          <p:spPr>
            <a:xfrm>
              <a:off x="10758621" y="6407031"/>
              <a:ext cx="122727" cy="27613"/>
            </a:xfrm>
            <a:custGeom>
              <a:avLst/>
              <a:gdLst>
                <a:gd name="connsiteX0" fmla="*/ 79773 w 122727"/>
                <a:gd name="connsiteY0" fmla="*/ 27614 h 27613"/>
                <a:gd name="connsiteX1" fmla="*/ 3068 w 122727"/>
                <a:gd name="connsiteY1" fmla="*/ 9205 h 27613"/>
                <a:gd name="connsiteX2" fmla="*/ 0 w 122727"/>
                <a:gd name="connsiteY2" fmla="*/ 3068 h 27613"/>
                <a:gd name="connsiteX3" fmla="*/ 6137 w 122727"/>
                <a:gd name="connsiteY3" fmla="*/ 0 h 27613"/>
                <a:gd name="connsiteX4" fmla="*/ 116591 w 122727"/>
                <a:gd name="connsiteY4" fmla="*/ 12273 h 27613"/>
                <a:gd name="connsiteX5" fmla="*/ 122727 w 122727"/>
                <a:gd name="connsiteY5" fmla="*/ 15341 h 27613"/>
                <a:gd name="connsiteX6" fmla="*/ 119660 w 122727"/>
                <a:gd name="connsiteY6" fmla="*/ 21477 h 27613"/>
                <a:gd name="connsiteX7" fmla="*/ 79773 w 122727"/>
                <a:gd name="connsiteY7" fmla="*/ 27614 h 27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727" h="27613">
                  <a:moveTo>
                    <a:pt x="79773" y="27614"/>
                  </a:moveTo>
                  <a:cubicBezTo>
                    <a:pt x="33750" y="27614"/>
                    <a:pt x="3068" y="12273"/>
                    <a:pt x="3068" y="9205"/>
                  </a:cubicBezTo>
                  <a:cubicBezTo>
                    <a:pt x="0" y="9205"/>
                    <a:pt x="0" y="3068"/>
                    <a:pt x="0" y="3068"/>
                  </a:cubicBezTo>
                  <a:cubicBezTo>
                    <a:pt x="0" y="0"/>
                    <a:pt x="6137" y="0"/>
                    <a:pt x="6137" y="0"/>
                  </a:cubicBezTo>
                  <a:cubicBezTo>
                    <a:pt x="6137" y="0"/>
                    <a:pt x="55228" y="24546"/>
                    <a:pt x="116591" y="12273"/>
                  </a:cubicBezTo>
                  <a:cubicBezTo>
                    <a:pt x="119660" y="12273"/>
                    <a:pt x="122727" y="12273"/>
                    <a:pt x="122727" y="15341"/>
                  </a:cubicBezTo>
                  <a:cubicBezTo>
                    <a:pt x="122727" y="18409"/>
                    <a:pt x="122727" y="21477"/>
                    <a:pt x="119660" y="21477"/>
                  </a:cubicBezTo>
                  <a:cubicBezTo>
                    <a:pt x="104319" y="24546"/>
                    <a:pt x="92045" y="27614"/>
                    <a:pt x="79773" y="27614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B1975647-A5DD-4386-9EB3-F7892D61E4E1}"/>
                </a:ext>
              </a:extLst>
            </p:cNvPr>
            <p:cNvSpPr/>
            <p:nvPr/>
          </p:nvSpPr>
          <p:spPr>
            <a:xfrm>
              <a:off x="10743280" y="6462259"/>
              <a:ext cx="122727" cy="27613"/>
            </a:xfrm>
            <a:custGeom>
              <a:avLst/>
              <a:gdLst>
                <a:gd name="connsiteX0" fmla="*/ 79773 w 122727"/>
                <a:gd name="connsiteY0" fmla="*/ 27613 h 27613"/>
                <a:gd name="connsiteX1" fmla="*/ 3068 w 122727"/>
                <a:gd name="connsiteY1" fmla="*/ 9205 h 27613"/>
                <a:gd name="connsiteX2" fmla="*/ 0 w 122727"/>
                <a:gd name="connsiteY2" fmla="*/ 3068 h 27613"/>
                <a:gd name="connsiteX3" fmla="*/ 6137 w 122727"/>
                <a:gd name="connsiteY3" fmla="*/ 0 h 27613"/>
                <a:gd name="connsiteX4" fmla="*/ 116591 w 122727"/>
                <a:gd name="connsiteY4" fmla="*/ 12273 h 27613"/>
                <a:gd name="connsiteX5" fmla="*/ 122727 w 122727"/>
                <a:gd name="connsiteY5" fmla="*/ 15341 h 27613"/>
                <a:gd name="connsiteX6" fmla="*/ 119660 w 122727"/>
                <a:gd name="connsiteY6" fmla="*/ 21477 h 27613"/>
                <a:gd name="connsiteX7" fmla="*/ 79773 w 122727"/>
                <a:gd name="connsiteY7" fmla="*/ 27613 h 27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727" h="27613">
                  <a:moveTo>
                    <a:pt x="79773" y="27613"/>
                  </a:moveTo>
                  <a:cubicBezTo>
                    <a:pt x="33750" y="27613"/>
                    <a:pt x="3068" y="12273"/>
                    <a:pt x="3068" y="9205"/>
                  </a:cubicBezTo>
                  <a:cubicBezTo>
                    <a:pt x="0" y="9205"/>
                    <a:pt x="0" y="3068"/>
                    <a:pt x="0" y="3068"/>
                  </a:cubicBezTo>
                  <a:cubicBezTo>
                    <a:pt x="0" y="0"/>
                    <a:pt x="6137" y="0"/>
                    <a:pt x="6137" y="0"/>
                  </a:cubicBezTo>
                  <a:cubicBezTo>
                    <a:pt x="6137" y="0"/>
                    <a:pt x="55228" y="24546"/>
                    <a:pt x="116591" y="12273"/>
                  </a:cubicBezTo>
                  <a:cubicBezTo>
                    <a:pt x="119660" y="12273"/>
                    <a:pt x="122727" y="12273"/>
                    <a:pt x="122727" y="15341"/>
                  </a:cubicBezTo>
                  <a:cubicBezTo>
                    <a:pt x="122727" y="18409"/>
                    <a:pt x="122727" y="21477"/>
                    <a:pt x="119660" y="21477"/>
                  </a:cubicBezTo>
                  <a:cubicBezTo>
                    <a:pt x="107386" y="27613"/>
                    <a:pt x="95114" y="27613"/>
                    <a:pt x="79773" y="27613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1A030897-8A02-409C-A537-1561C9CB6269}"/>
                </a:ext>
              </a:extLst>
            </p:cNvPr>
            <p:cNvSpPr/>
            <p:nvPr/>
          </p:nvSpPr>
          <p:spPr>
            <a:xfrm>
              <a:off x="17466552" y="4019986"/>
              <a:ext cx="109569" cy="174247"/>
            </a:xfrm>
            <a:custGeom>
              <a:avLst/>
              <a:gdLst>
                <a:gd name="connsiteX0" fmla="*/ 109569 w 109569"/>
                <a:gd name="connsiteY0" fmla="*/ 0 h 174247"/>
                <a:gd name="connsiteX1" fmla="*/ 11387 w 109569"/>
                <a:gd name="connsiteY1" fmla="*/ 101250 h 174247"/>
                <a:gd name="connsiteX2" fmla="*/ 5251 w 109569"/>
                <a:gd name="connsiteY2" fmla="*/ 171818 h 174247"/>
                <a:gd name="connsiteX3" fmla="*/ 72751 w 109569"/>
                <a:gd name="connsiteY3" fmla="*/ 92045 h 174247"/>
                <a:gd name="connsiteX4" fmla="*/ 109569 w 109569"/>
                <a:gd name="connsiteY4" fmla="*/ 0 h 174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569" h="174247">
                  <a:moveTo>
                    <a:pt x="109569" y="0"/>
                  </a:moveTo>
                  <a:cubicBezTo>
                    <a:pt x="109569" y="0"/>
                    <a:pt x="29796" y="39886"/>
                    <a:pt x="11387" y="101250"/>
                  </a:cubicBezTo>
                  <a:cubicBezTo>
                    <a:pt x="5251" y="128864"/>
                    <a:pt x="-7021" y="162614"/>
                    <a:pt x="5251" y="171818"/>
                  </a:cubicBezTo>
                  <a:cubicBezTo>
                    <a:pt x="35933" y="190227"/>
                    <a:pt x="42069" y="98182"/>
                    <a:pt x="72751" y="92045"/>
                  </a:cubicBezTo>
                  <a:cubicBezTo>
                    <a:pt x="88092" y="88977"/>
                    <a:pt x="109569" y="0"/>
                    <a:pt x="109569" y="0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66E45DF6-37DE-44EC-8884-2669C8BDB7E6}"/>
                </a:ext>
              </a:extLst>
            </p:cNvPr>
            <p:cNvSpPr/>
            <p:nvPr/>
          </p:nvSpPr>
          <p:spPr>
            <a:xfrm>
              <a:off x="16867268" y="2278854"/>
              <a:ext cx="560481" cy="923448"/>
            </a:xfrm>
            <a:custGeom>
              <a:avLst/>
              <a:gdLst>
                <a:gd name="connsiteX0" fmla="*/ 27717 w 560481"/>
                <a:gd name="connsiteY0" fmla="*/ 664200 h 923448"/>
                <a:gd name="connsiteX1" fmla="*/ 153513 w 560481"/>
                <a:gd name="connsiteY1" fmla="*/ 906587 h 923448"/>
                <a:gd name="connsiteX2" fmla="*/ 319194 w 560481"/>
                <a:gd name="connsiteY2" fmla="*/ 921928 h 923448"/>
                <a:gd name="connsiteX3" fmla="*/ 481808 w 560481"/>
                <a:gd name="connsiteY3" fmla="*/ 897382 h 923448"/>
                <a:gd name="connsiteX4" fmla="*/ 555445 w 560481"/>
                <a:gd name="connsiteY4" fmla="*/ 756246 h 923448"/>
                <a:gd name="connsiteX5" fmla="*/ 435786 w 560481"/>
                <a:gd name="connsiteY5" fmla="*/ 587496 h 923448"/>
                <a:gd name="connsiteX6" fmla="*/ 420445 w 560481"/>
                <a:gd name="connsiteY6" fmla="*/ 446359 h 923448"/>
                <a:gd name="connsiteX7" fmla="*/ 337603 w 560481"/>
                <a:gd name="connsiteY7" fmla="*/ 366587 h 923448"/>
                <a:gd name="connsiteX8" fmla="*/ 297717 w 560481"/>
                <a:gd name="connsiteY8" fmla="*/ 188632 h 923448"/>
                <a:gd name="connsiteX9" fmla="*/ 6240 w 560481"/>
                <a:gd name="connsiteY9" fmla="*/ 1473 h 923448"/>
                <a:gd name="connsiteX10" fmla="*/ 58399 w 560481"/>
                <a:gd name="connsiteY10" fmla="*/ 44428 h 923448"/>
                <a:gd name="connsiteX11" fmla="*/ 113627 w 560481"/>
                <a:gd name="connsiteY11" fmla="*/ 68973 h 923448"/>
                <a:gd name="connsiteX12" fmla="*/ 27717 w 560481"/>
                <a:gd name="connsiteY12" fmla="*/ 664200 h 923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0481" h="923448">
                  <a:moveTo>
                    <a:pt x="27717" y="664200"/>
                  </a:moveTo>
                  <a:cubicBezTo>
                    <a:pt x="46126" y="759314"/>
                    <a:pt x="49195" y="869768"/>
                    <a:pt x="153513" y="906587"/>
                  </a:cubicBezTo>
                  <a:cubicBezTo>
                    <a:pt x="205672" y="924996"/>
                    <a:pt x="263967" y="924996"/>
                    <a:pt x="319194" y="921928"/>
                  </a:cubicBezTo>
                  <a:cubicBezTo>
                    <a:pt x="371354" y="918859"/>
                    <a:pt x="432717" y="918859"/>
                    <a:pt x="481808" y="897382"/>
                  </a:cubicBezTo>
                  <a:cubicBezTo>
                    <a:pt x="540104" y="872837"/>
                    <a:pt x="573854" y="817609"/>
                    <a:pt x="555445" y="756246"/>
                  </a:cubicBezTo>
                  <a:cubicBezTo>
                    <a:pt x="533967" y="688746"/>
                    <a:pt x="451127" y="654996"/>
                    <a:pt x="435786" y="587496"/>
                  </a:cubicBezTo>
                  <a:cubicBezTo>
                    <a:pt x="426581" y="538405"/>
                    <a:pt x="451127" y="492382"/>
                    <a:pt x="420445" y="446359"/>
                  </a:cubicBezTo>
                  <a:cubicBezTo>
                    <a:pt x="398967" y="412609"/>
                    <a:pt x="359081" y="397268"/>
                    <a:pt x="337603" y="366587"/>
                  </a:cubicBezTo>
                  <a:cubicBezTo>
                    <a:pt x="297717" y="314428"/>
                    <a:pt x="322263" y="246928"/>
                    <a:pt x="297717" y="188632"/>
                  </a:cubicBezTo>
                  <a:cubicBezTo>
                    <a:pt x="257831" y="93518"/>
                    <a:pt x="116695" y="-13868"/>
                    <a:pt x="6240" y="1473"/>
                  </a:cubicBezTo>
                  <a:cubicBezTo>
                    <a:pt x="-12169" y="4541"/>
                    <a:pt x="39990" y="35223"/>
                    <a:pt x="58399" y="44428"/>
                  </a:cubicBezTo>
                  <a:cubicBezTo>
                    <a:pt x="76808" y="50564"/>
                    <a:pt x="95217" y="59768"/>
                    <a:pt x="113627" y="68973"/>
                  </a:cubicBezTo>
                  <a:cubicBezTo>
                    <a:pt x="-36714" y="207041"/>
                    <a:pt x="-6032" y="486246"/>
                    <a:pt x="27717" y="664200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1D81E435-6FCA-4D32-957D-75990875E73E}"/>
                </a:ext>
              </a:extLst>
            </p:cNvPr>
            <p:cNvSpPr/>
            <p:nvPr/>
          </p:nvSpPr>
          <p:spPr>
            <a:xfrm>
              <a:off x="16355055" y="2268708"/>
              <a:ext cx="521912" cy="859900"/>
            </a:xfrm>
            <a:custGeom>
              <a:avLst/>
              <a:gdLst>
                <a:gd name="connsiteX0" fmla="*/ 454021 w 521912"/>
                <a:gd name="connsiteY0" fmla="*/ 471847 h 859900"/>
                <a:gd name="connsiteX1" fmla="*/ 444817 w 521912"/>
                <a:gd name="connsiteY1" fmla="*/ 309233 h 859900"/>
                <a:gd name="connsiteX2" fmla="*/ 487771 w 521912"/>
                <a:gd name="connsiteY2" fmla="*/ 161960 h 859900"/>
                <a:gd name="connsiteX3" fmla="*/ 521521 w 521912"/>
                <a:gd name="connsiteY3" fmla="*/ 8551 h 859900"/>
                <a:gd name="connsiteX4" fmla="*/ 208566 w 521912"/>
                <a:gd name="connsiteY4" fmla="*/ 192642 h 859900"/>
                <a:gd name="connsiteX5" fmla="*/ 208566 w 521912"/>
                <a:gd name="connsiteY5" fmla="*/ 250937 h 859900"/>
                <a:gd name="connsiteX6" fmla="*/ 159475 w 521912"/>
                <a:gd name="connsiteY6" fmla="*/ 309233 h 859900"/>
                <a:gd name="connsiteX7" fmla="*/ 107317 w 521912"/>
                <a:gd name="connsiteY7" fmla="*/ 376733 h 859900"/>
                <a:gd name="connsiteX8" fmla="*/ 107317 w 521912"/>
                <a:gd name="connsiteY8" fmla="*/ 465710 h 859900"/>
                <a:gd name="connsiteX9" fmla="*/ 85839 w 521912"/>
                <a:gd name="connsiteY9" fmla="*/ 542415 h 859900"/>
                <a:gd name="connsiteX10" fmla="*/ 15271 w 521912"/>
                <a:gd name="connsiteY10" fmla="*/ 643665 h 859900"/>
                <a:gd name="connsiteX11" fmla="*/ 64361 w 521912"/>
                <a:gd name="connsiteY11" fmla="*/ 833892 h 859900"/>
                <a:gd name="connsiteX12" fmla="*/ 269930 w 521912"/>
                <a:gd name="connsiteY12" fmla="*/ 858437 h 859900"/>
                <a:gd name="connsiteX13" fmla="*/ 276067 w 521912"/>
                <a:gd name="connsiteY13" fmla="*/ 766392 h 859900"/>
                <a:gd name="connsiteX14" fmla="*/ 371180 w 521912"/>
                <a:gd name="connsiteY14" fmla="*/ 757187 h 859900"/>
                <a:gd name="connsiteX15" fmla="*/ 463225 w 521912"/>
                <a:gd name="connsiteY15" fmla="*/ 597642 h 859900"/>
                <a:gd name="connsiteX16" fmla="*/ 454021 w 521912"/>
                <a:gd name="connsiteY16" fmla="*/ 471847 h 859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21912" h="859900">
                  <a:moveTo>
                    <a:pt x="454021" y="471847"/>
                  </a:moveTo>
                  <a:cubicBezTo>
                    <a:pt x="444817" y="419687"/>
                    <a:pt x="438680" y="364460"/>
                    <a:pt x="444817" y="309233"/>
                  </a:cubicBezTo>
                  <a:cubicBezTo>
                    <a:pt x="450953" y="257074"/>
                    <a:pt x="466294" y="207983"/>
                    <a:pt x="487771" y="161960"/>
                  </a:cubicBezTo>
                  <a:cubicBezTo>
                    <a:pt x="509248" y="112869"/>
                    <a:pt x="524589" y="8551"/>
                    <a:pt x="521521" y="8551"/>
                  </a:cubicBezTo>
                  <a:cubicBezTo>
                    <a:pt x="404930" y="-28267"/>
                    <a:pt x="205498" y="57642"/>
                    <a:pt x="208566" y="192642"/>
                  </a:cubicBezTo>
                  <a:cubicBezTo>
                    <a:pt x="208566" y="211051"/>
                    <a:pt x="211635" y="232528"/>
                    <a:pt x="208566" y="250937"/>
                  </a:cubicBezTo>
                  <a:cubicBezTo>
                    <a:pt x="202430" y="281619"/>
                    <a:pt x="184021" y="293892"/>
                    <a:pt x="159475" y="309233"/>
                  </a:cubicBezTo>
                  <a:cubicBezTo>
                    <a:pt x="134930" y="327642"/>
                    <a:pt x="116521" y="349119"/>
                    <a:pt x="107317" y="376733"/>
                  </a:cubicBezTo>
                  <a:cubicBezTo>
                    <a:pt x="98112" y="407415"/>
                    <a:pt x="101180" y="435028"/>
                    <a:pt x="107317" y="465710"/>
                  </a:cubicBezTo>
                  <a:cubicBezTo>
                    <a:pt x="113453" y="496392"/>
                    <a:pt x="113453" y="520937"/>
                    <a:pt x="85839" y="542415"/>
                  </a:cubicBezTo>
                  <a:cubicBezTo>
                    <a:pt x="70498" y="557756"/>
                    <a:pt x="21407" y="625256"/>
                    <a:pt x="15271" y="643665"/>
                  </a:cubicBezTo>
                  <a:cubicBezTo>
                    <a:pt x="-24616" y="747983"/>
                    <a:pt x="21407" y="790937"/>
                    <a:pt x="64361" y="833892"/>
                  </a:cubicBezTo>
                  <a:cubicBezTo>
                    <a:pt x="122658" y="889119"/>
                    <a:pt x="208566" y="821619"/>
                    <a:pt x="269930" y="858437"/>
                  </a:cubicBezTo>
                  <a:cubicBezTo>
                    <a:pt x="294475" y="873778"/>
                    <a:pt x="245385" y="763324"/>
                    <a:pt x="276067" y="766392"/>
                  </a:cubicBezTo>
                  <a:cubicBezTo>
                    <a:pt x="303680" y="769460"/>
                    <a:pt x="343566" y="766392"/>
                    <a:pt x="371180" y="757187"/>
                  </a:cubicBezTo>
                  <a:cubicBezTo>
                    <a:pt x="423339" y="735710"/>
                    <a:pt x="454021" y="649801"/>
                    <a:pt x="463225" y="597642"/>
                  </a:cubicBezTo>
                  <a:cubicBezTo>
                    <a:pt x="472430" y="557756"/>
                    <a:pt x="460158" y="514801"/>
                    <a:pt x="454021" y="471847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848887EE-43D2-4C3E-BF01-1CB3FB9AD37D}"/>
                </a:ext>
              </a:extLst>
            </p:cNvPr>
            <p:cNvSpPr/>
            <p:nvPr/>
          </p:nvSpPr>
          <p:spPr>
            <a:xfrm>
              <a:off x="15403796" y="2930656"/>
              <a:ext cx="978126" cy="419724"/>
            </a:xfrm>
            <a:custGeom>
              <a:avLst/>
              <a:gdLst>
                <a:gd name="connsiteX0" fmla="*/ 843804 w 978126"/>
                <a:gd name="connsiteY0" fmla="*/ 119785 h 419724"/>
                <a:gd name="connsiteX1" fmla="*/ 408121 w 978126"/>
                <a:gd name="connsiteY1" fmla="*/ 214898 h 419724"/>
                <a:gd name="connsiteX2" fmla="*/ 46076 w 978126"/>
                <a:gd name="connsiteY2" fmla="*/ 126 h 419724"/>
                <a:gd name="connsiteX3" fmla="*/ 54 w 978126"/>
                <a:gd name="connsiteY3" fmla="*/ 95239 h 419724"/>
                <a:gd name="connsiteX4" fmla="*/ 343689 w 978126"/>
                <a:gd name="connsiteY4" fmla="*/ 405125 h 419724"/>
                <a:gd name="connsiteX5" fmla="*/ 914371 w 978126"/>
                <a:gd name="connsiteY5" fmla="*/ 386716 h 419724"/>
                <a:gd name="connsiteX6" fmla="*/ 843804 w 978126"/>
                <a:gd name="connsiteY6" fmla="*/ 119785 h 419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8126" h="419724">
                  <a:moveTo>
                    <a:pt x="843804" y="119785"/>
                  </a:moveTo>
                  <a:cubicBezTo>
                    <a:pt x="754826" y="128989"/>
                    <a:pt x="408121" y="214898"/>
                    <a:pt x="408121" y="214898"/>
                  </a:cubicBezTo>
                  <a:cubicBezTo>
                    <a:pt x="408121" y="214898"/>
                    <a:pt x="52212" y="-6011"/>
                    <a:pt x="46076" y="126"/>
                  </a:cubicBezTo>
                  <a:cubicBezTo>
                    <a:pt x="-15287" y="36944"/>
                    <a:pt x="21530" y="27739"/>
                    <a:pt x="54" y="95239"/>
                  </a:cubicBezTo>
                  <a:cubicBezTo>
                    <a:pt x="-3015" y="104444"/>
                    <a:pt x="125848" y="270126"/>
                    <a:pt x="343689" y="405125"/>
                  </a:cubicBezTo>
                  <a:cubicBezTo>
                    <a:pt x="401985" y="441944"/>
                    <a:pt x="767099" y="398989"/>
                    <a:pt x="914371" y="386716"/>
                  </a:cubicBezTo>
                  <a:cubicBezTo>
                    <a:pt x="1003348" y="377512"/>
                    <a:pt x="1015621" y="101375"/>
                    <a:pt x="843804" y="119785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314F1E2C-6361-4357-9A02-B3D20001CAF8}"/>
                </a:ext>
              </a:extLst>
            </p:cNvPr>
            <p:cNvSpPr/>
            <p:nvPr/>
          </p:nvSpPr>
          <p:spPr>
            <a:xfrm>
              <a:off x="16214116" y="2970994"/>
              <a:ext cx="463668" cy="407741"/>
            </a:xfrm>
            <a:custGeom>
              <a:avLst/>
              <a:gdLst>
                <a:gd name="connsiteX0" fmla="*/ 70301 w 463668"/>
                <a:gd name="connsiteY0" fmla="*/ 407742 h 407741"/>
                <a:gd name="connsiteX1" fmla="*/ 463029 w 463668"/>
                <a:gd name="connsiteY1" fmla="*/ 67173 h 407741"/>
                <a:gd name="connsiteX2" fmla="*/ 8937 w 463668"/>
                <a:gd name="connsiteY2" fmla="*/ 36492 h 407741"/>
                <a:gd name="connsiteX3" fmla="*/ 70301 w 463668"/>
                <a:gd name="connsiteY3" fmla="*/ 407742 h 407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3668" h="407741">
                  <a:moveTo>
                    <a:pt x="70301" y="407742"/>
                  </a:moveTo>
                  <a:cubicBezTo>
                    <a:pt x="254392" y="398537"/>
                    <a:pt x="450755" y="146946"/>
                    <a:pt x="463029" y="67173"/>
                  </a:cubicBezTo>
                  <a:cubicBezTo>
                    <a:pt x="478370" y="-37145"/>
                    <a:pt x="214506" y="2741"/>
                    <a:pt x="8937" y="36492"/>
                  </a:cubicBezTo>
                  <a:cubicBezTo>
                    <a:pt x="-21745" y="103991"/>
                    <a:pt x="33483" y="312628"/>
                    <a:pt x="70301" y="407742"/>
                  </a:cubicBezTo>
                  <a:close/>
                </a:path>
              </a:pathLst>
            </a:custGeom>
            <a:solidFill>
              <a:srgbClr val="F6EBE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5" name="图形 1">
              <a:extLst>
                <a:ext uri="{FF2B5EF4-FFF2-40B4-BE49-F238E27FC236}">
                  <a16:creationId xmlns:a16="http://schemas.microsoft.com/office/drawing/2014/main" id="{5AB7AFF0-23E6-4DBA-B014-EE82BDCEBDC7}"/>
                </a:ext>
              </a:extLst>
            </p:cNvPr>
            <p:cNvGrpSpPr/>
            <p:nvPr/>
          </p:nvGrpSpPr>
          <p:grpSpPr>
            <a:xfrm>
              <a:off x="16345013" y="6333395"/>
              <a:ext cx="366865" cy="388606"/>
              <a:chOff x="16345013" y="6333395"/>
              <a:chExt cx="366865" cy="388606"/>
            </a:xfrm>
          </p:grpSpPr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146584AC-1632-45D4-AEFF-1ECDF0AFD03E}"/>
                  </a:ext>
                </a:extLst>
              </p:cNvPr>
              <p:cNvSpPr/>
              <p:nvPr/>
            </p:nvSpPr>
            <p:spPr>
              <a:xfrm>
                <a:off x="16345013" y="6459190"/>
                <a:ext cx="366865" cy="262810"/>
              </a:xfrm>
              <a:custGeom>
                <a:avLst/>
                <a:gdLst>
                  <a:gd name="connsiteX0" fmla="*/ 227812 w 366865"/>
                  <a:gd name="connsiteY0" fmla="*/ 0 h 262810"/>
                  <a:gd name="connsiteX1" fmla="*/ 108153 w 366865"/>
                  <a:gd name="connsiteY1" fmla="*/ 165682 h 262810"/>
                  <a:gd name="connsiteX2" fmla="*/ 325995 w 366865"/>
                  <a:gd name="connsiteY2" fmla="*/ 36819 h 262810"/>
                  <a:gd name="connsiteX3" fmla="*/ 347472 w 366865"/>
                  <a:gd name="connsiteY3" fmla="*/ 21478 h 262810"/>
                  <a:gd name="connsiteX4" fmla="*/ 365881 w 366865"/>
                  <a:gd name="connsiteY4" fmla="*/ 98182 h 262810"/>
                  <a:gd name="connsiteX5" fmla="*/ 353608 w 366865"/>
                  <a:gd name="connsiteY5" fmla="*/ 236250 h 262810"/>
                  <a:gd name="connsiteX6" fmla="*/ 325995 w 366865"/>
                  <a:gd name="connsiteY6" fmla="*/ 236250 h 262810"/>
                  <a:gd name="connsiteX7" fmla="*/ 310654 w 366865"/>
                  <a:gd name="connsiteY7" fmla="*/ 125796 h 262810"/>
                  <a:gd name="connsiteX8" fmla="*/ 166449 w 366865"/>
                  <a:gd name="connsiteY8" fmla="*/ 257728 h 262810"/>
                  <a:gd name="connsiteX9" fmla="*/ 6904 w 366865"/>
                  <a:gd name="connsiteY9" fmla="*/ 260795 h 262810"/>
                  <a:gd name="connsiteX10" fmla="*/ 6904 w 366865"/>
                  <a:gd name="connsiteY10" fmla="*/ 214773 h 262810"/>
                  <a:gd name="connsiteX11" fmla="*/ 227812 w 366865"/>
                  <a:gd name="connsiteY11" fmla="*/ 0 h 26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6865" h="262810">
                    <a:moveTo>
                      <a:pt x="227812" y="0"/>
                    </a:moveTo>
                    <a:cubicBezTo>
                      <a:pt x="227812" y="0"/>
                      <a:pt x="92813" y="156477"/>
                      <a:pt x="108153" y="165682"/>
                    </a:cubicBezTo>
                    <a:cubicBezTo>
                      <a:pt x="126563" y="174887"/>
                      <a:pt x="325995" y="36819"/>
                      <a:pt x="325995" y="36819"/>
                    </a:cubicBezTo>
                    <a:lnTo>
                      <a:pt x="347472" y="21478"/>
                    </a:lnTo>
                    <a:cubicBezTo>
                      <a:pt x="347472" y="21478"/>
                      <a:pt x="372017" y="70568"/>
                      <a:pt x="365881" y="98182"/>
                    </a:cubicBezTo>
                    <a:cubicBezTo>
                      <a:pt x="359745" y="125796"/>
                      <a:pt x="353608" y="236250"/>
                      <a:pt x="353608" y="236250"/>
                    </a:cubicBezTo>
                    <a:lnTo>
                      <a:pt x="325995" y="236250"/>
                    </a:lnTo>
                    <a:lnTo>
                      <a:pt x="310654" y="125796"/>
                    </a:lnTo>
                    <a:cubicBezTo>
                      <a:pt x="310654" y="125796"/>
                      <a:pt x="187926" y="254659"/>
                      <a:pt x="166449" y="257728"/>
                    </a:cubicBezTo>
                    <a:cubicBezTo>
                      <a:pt x="144972" y="263864"/>
                      <a:pt x="19176" y="263864"/>
                      <a:pt x="6904" y="260795"/>
                    </a:cubicBezTo>
                    <a:cubicBezTo>
                      <a:pt x="-2301" y="260795"/>
                      <a:pt x="-2301" y="220909"/>
                      <a:pt x="6904" y="214773"/>
                    </a:cubicBezTo>
                    <a:cubicBezTo>
                      <a:pt x="86677" y="171818"/>
                      <a:pt x="227812" y="0"/>
                      <a:pt x="227812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7D69812A-A204-4A40-A7E9-4A5CCE99B0CB}"/>
                  </a:ext>
                </a:extLst>
              </p:cNvPr>
              <p:cNvSpPr/>
              <p:nvPr/>
            </p:nvSpPr>
            <p:spPr>
              <a:xfrm>
                <a:off x="16450943" y="6333395"/>
                <a:ext cx="238506" cy="296298"/>
              </a:xfrm>
              <a:custGeom>
                <a:avLst/>
                <a:gdLst>
                  <a:gd name="connsiteX0" fmla="*/ 170974 w 238506"/>
                  <a:gd name="connsiteY0" fmla="*/ 0 h 296298"/>
                  <a:gd name="connsiteX1" fmla="*/ 121883 w 238506"/>
                  <a:gd name="connsiteY1" fmla="*/ 128864 h 296298"/>
                  <a:gd name="connsiteX2" fmla="*/ 2224 w 238506"/>
                  <a:gd name="connsiteY2" fmla="*/ 294545 h 296298"/>
                  <a:gd name="connsiteX3" fmla="*/ 238474 w 238506"/>
                  <a:gd name="connsiteY3" fmla="*/ 150341 h 296298"/>
                  <a:gd name="connsiteX4" fmla="*/ 229269 w 238506"/>
                  <a:gd name="connsiteY4" fmla="*/ 0 h 296298"/>
                  <a:gd name="connsiteX5" fmla="*/ 170974 w 238506"/>
                  <a:gd name="connsiteY5" fmla="*/ 0 h 29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8506" h="296298">
                    <a:moveTo>
                      <a:pt x="170974" y="0"/>
                    </a:moveTo>
                    <a:lnTo>
                      <a:pt x="121883" y="128864"/>
                    </a:lnTo>
                    <a:cubicBezTo>
                      <a:pt x="121883" y="128864"/>
                      <a:pt x="-19253" y="279204"/>
                      <a:pt x="2224" y="294545"/>
                    </a:cubicBezTo>
                    <a:cubicBezTo>
                      <a:pt x="23702" y="312954"/>
                      <a:pt x="241543" y="181023"/>
                      <a:pt x="238474" y="150341"/>
                    </a:cubicBezTo>
                    <a:cubicBezTo>
                      <a:pt x="238474" y="101250"/>
                      <a:pt x="229269" y="0"/>
                      <a:pt x="229269" y="0"/>
                    </a:cubicBezTo>
                    <a:lnTo>
                      <a:pt x="170974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6" name="图形 1">
              <a:extLst>
                <a:ext uri="{FF2B5EF4-FFF2-40B4-BE49-F238E27FC236}">
                  <a16:creationId xmlns:a16="http://schemas.microsoft.com/office/drawing/2014/main" id="{245F291C-6FD4-4F31-8BCA-581C786BDC5B}"/>
                </a:ext>
              </a:extLst>
            </p:cNvPr>
            <p:cNvGrpSpPr/>
            <p:nvPr/>
          </p:nvGrpSpPr>
          <p:grpSpPr>
            <a:xfrm>
              <a:off x="17505554" y="6087941"/>
              <a:ext cx="303749" cy="464034"/>
              <a:chOff x="17505554" y="6087941"/>
              <a:chExt cx="303749" cy="464034"/>
            </a:xfrm>
          </p:grpSpPr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1672725C-C944-4CF2-88E6-BE72D6A73836}"/>
                  </a:ext>
                </a:extLst>
              </p:cNvPr>
              <p:cNvSpPr/>
              <p:nvPr/>
            </p:nvSpPr>
            <p:spPr>
              <a:xfrm>
                <a:off x="17510604" y="6158509"/>
                <a:ext cx="298699" cy="393465"/>
              </a:xfrm>
              <a:custGeom>
                <a:avLst/>
                <a:gdLst>
                  <a:gd name="connsiteX0" fmla="*/ 65517 w 298699"/>
                  <a:gd name="connsiteY0" fmla="*/ 46023 h 393465"/>
                  <a:gd name="connsiteX1" fmla="*/ 59380 w 298699"/>
                  <a:gd name="connsiteY1" fmla="*/ 251591 h 393465"/>
                  <a:gd name="connsiteX2" fmla="*/ 166767 w 298699"/>
                  <a:gd name="connsiteY2" fmla="*/ 24545 h 393465"/>
                  <a:gd name="connsiteX3" fmla="*/ 172904 w 298699"/>
                  <a:gd name="connsiteY3" fmla="*/ 0 h 393465"/>
                  <a:gd name="connsiteX4" fmla="*/ 231199 w 298699"/>
                  <a:gd name="connsiteY4" fmla="*/ 55227 h 393465"/>
                  <a:gd name="connsiteX5" fmla="*/ 298699 w 298699"/>
                  <a:gd name="connsiteY5" fmla="*/ 177954 h 393465"/>
                  <a:gd name="connsiteX6" fmla="*/ 277222 w 298699"/>
                  <a:gd name="connsiteY6" fmla="*/ 193295 h 393465"/>
                  <a:gd name="connsiteX7" fmla="*/ 200517 w 298699"/>
                  <a:gd name="connsiteY7" fmla="*/ 110454 h 393465"/>
                  <a:gd name="connsiteX8" fmla="*/ 154494 w 298699"/>
                  <a:gd name="connsiteY8" fmla="*/ 300681 h 393465"/>
                  <a:gd name="connsiteX9" fmla="*/ 25631 w 298699"/>
                  <a:gd name="connsiteY9" fmla="*/ 392727 h 393465"/>
                  <a:gd name="connsiteX10" fmla="*/ 1085 w 298699"/>
                  <a:gd name="connsiteY10" fmla="*/ 352841 h 393465"/>
                  <a:gd name="connsiteX11" fmla="*/ 65517 w 298699"/>
                  <a:gd name="connsiteY11" fmla="*/ 46023 h 3934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98699" h="393465">
                    <a:moveTo>
                      <a:pt x="65517" y="46023"/>
                    </a:moveTo>
                    <a:cubicBezTo>
                      <a:pt x="65517" y="46023"/>
                      <a:pt x="40972" y="251591"/>
                      <a:pt x="59380" y="251591"/>
                    </a:cubicBezTo>
                    <a:cubicBezTo>
                      <a:pt x="77790" y="251591"/>
                      <a:pt x="166767" y="24545"/>
                      <a:pt x="166767" y="24545"/>
                    </a:cubicBezTo>
                    <a:lnTo>
                      <a:pt x="172904" y="0"/>
                    </a:lnTo>
                    <a:cubicBezTo>
                      <a:pt x="172904" y="0"/>
                      <a:pt x="221995" y="27613"/>
                      <a:pt x="231199" y="55227"/>
                    </a:cubicBezTo>
                    <a:cubicBezTo>
                      <a:pt x="243471" y="79772"/>
                      <a:pt x="298699" y="177954"/>
                      <a:pt x="298699" y="177954"/>
                    </a:cubicBezTo>
                    <a:lnTo>
                      <a:pt x="277222" y="193295"/>
                    </a:lnTo>
                    <a:lnTo>
                      <a:pt x="200517" y="110454"/>
                    </a:lnTo>
                    <a:cubicBezTo>
                      <a:pt x="200517" y="110454"/>
                      <a:pt x="169835" y="285341"/>
                      <a:pt x="154494" y="300681"/>
                    </a:cubicBezTo>
                    <a:cubicBezTo>
                      <a:pt x="139153" y="316022"/>
                      <a:pt x="34835" y="386591"/>
                      <a:pt x="25631" y="392727"/>
                    </a:cubicBezTo>
                    <a:cubicBezTo>
                      <a:pt x="16426" y="398864"/>
                      <a:pt x="-5051" y="365113"/>
                      <a:pt x="1085" y="352841"/>
                    </a:cubicBezTo>
                    <a:cubicBezTo>
                      <a:pt x="44040" y="270000"/>
                      <a:pt x="65517" y="46023"/>
                      <a:pt x="65517" y="4602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4C736E7C-E308-4B3F-BCA4-837349A14050}"/>
                  </a:ext>
                </a:extLst>
              </p:cNvPr>
              <p:cNvSpPr/>
              <p:nvPr/>
            </p:nvSpPr>
            <p:spPr>
              <a:xfrm>
                <a:off x="17505554" y="6087941"/>
                <a:ext cx="183131" cy="325257"/>
              </a:xfrm>
              <a:custGeom>
                <a:avLst/>
                <a:gdLst>
                  <a:gd name="connsiteX0" fmla="*/ 0 w 183131"/>
                  <a:gd name="connsiteY0" fmla="*/ 12273 h 325257"/>
                  <a:gd name="connsiteX1" fmla="*/ 70568 w 183131"/>
                  <a:gd name="connsiteY1" fmla="*/ 119659 h 325257"/>
                  <a:gd name="connsiteX2" fmla="*/ 64431 w 183131"/>
                  <a:gd name="connsiteY2" fmla="*/ 325227 h 325257"/>
                  <a:gd name="connsiteX3" fmla="*/ 181023 w 183131"/>
                  <a:gd name="connsiteY3" fmla="*/ 73636 h 325257"/>
                  <a:gd name="connsiteX4" fmla="*/ 42954 w 183131"/>
                  <a:gd name="connsiteY4" fmla="*/ 0 h 325257"/>
                  <a:gd name="connsiteX5" fmla="*/ 0 w 183131"/>
                  <a:gd name="connsiteY5" fmla="*/ 12273 h 325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3131" h="325257">
                    <a:moveTo>
                      <a:pt x="0" y="12273"/>
                    </a:moveTo>
                    <a:lnTo>
                      <a:pt x="70568" y="119659"/>
                    </a:lnTo>
                    <a:cubicBezTo>
                      <a:pt x="70568" y="119659"/>
                      <a:pt x="36818" y="322159"/>
                      <a:pt x="64431" y="325227"/>
                    </a:cubicBezTo>
                    <a:cubicBezTo>
                      <a:pt x="92045" y="328295"/>
                      <a:pt x="199432" y="98182"/>
                      <a:pt x="181023" y="73636"/>
                    </a:cubicBezTo>
                    <a:cubicBezTo>
                      <a:pt x="122727" y="52159"/>
                      <a:pt x="42954" y="0"/>
                      <a:pt x="42954" y="0"/>
                    </a:cubicBezTo>
                    <a:lnTo>
                      <a:pt x="0" y="12273"/>
                    </a:ln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7C642528-8CC2-42CE-B5C6-334EC973DDB5}"/>
                </a:ext>
              </a:extLst>
            </p:cNvPr>
            <p:cNvSpPr/>
            <p:nvPr/>
          </p:nvSpPr>
          <p:spPr>
            <a:xfrm>
              <a:off x="16411923" y="3881918"/>
              <a:ext cx="1274653" cy="2598750"/>
            </a:xfrm>
            <a:custGeom>
              <a:avLst/>
              <a:gdLst>
                <a:gd name="connsiteX0" fmla="*/ 792948 w 1274653"/>
                <a:gd name="connsiteY0" fmla="*/ 0 h 2598750"/>
                <a:gd name="connsiteX1" fmla="*/ 121017 w 1274653"/>
                <a:gd name="connsiteY1" fmla="*/ 0 h 2598750"/>
                <a:gd name="connsiteX2" fmla="*/ 1358 w 1274653"/>
                <a:gd name="connsiteY2" fmla="*/ 463295 h 2598750"/>
                <a:gd name="connsiteX3" fmla="*/ 157835 w 1274653"/>
                <a:gd name="connsiteY3" fmla="*/ 2577273 h 2598750"/>
                <a:gd name="connsiteX4" fmla="*/ 277494 w 1274653"/>
                <a:gd name="connsiteY4" fmla="*/ 2598750 h 2598750"/>
                <a:gd name="connsiteX5" fmla="*/ 464653 w 1274653"/>
                <a:gd name="connsiteY5" fmla="*/ 819204 h 2598750"/>
                <a:gd name="connsiteX6" fmla="*/ 535221 w 1274653"/>
                <a:gd name="connsiteY6" fmla="*/ 1635341 h 2598750"/>
                <a:gd name="connsiteX7" fmla="*/ 547494 w 1274653"/>
                <a:gd name="connsiteY7" fmla="*/ 1687500 h 2598750"/>
                <a:gd name="connsiteX8" fmla="*/ 1164198 w 1274653"/>
                <a:gd name="connsiteY8" fmla="*/ 2331818 h 2598750"/>
                <a:gd name="connsiteX9" fmla="*/ 1274653 w 1274653"/>
                <a:gd name="connsiteY9" fmla="*/ 2273523 h 2598750"/>
                <a:gd name="connsiteX10" fmla="*/ 866584 w 1274653"/>
                <a:gd name="connsiteY10" fmla="*/ 1616932 h 2598750"/>
                <a:gd name="connsiteX11" fmla="*/ 927948 w 1274653"/>
                <a:gd name="connsiteY11" fmla="*/ 417273 h 2598750"/>
                <a:gd name="connsiteX12" fmla="*/ 792948 w 1274653"/>
                <a:gd name="connsiteY12" fmla="*/ 0 h 259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4653" h="2598750">
                  <a:moveTo>
                    <a:pt x="792948" y="0"/>
                  </a:moveTo>
                  <a:lnTo>
                    <a:pt x="121017" y="0"/>
                  </a:lnTo>
                  <a:cubicBezTo>
                    <a:pt x="121017" y="0"/>
                    <a:pt x="22834" y="306818"/>
                    <a:pt x="1358" y="463295"/>
                  </a:cubicBezTo>
                  <a:cubicBezTo>
                    <a:pt x="-17052" y="616705"/>
                    <a:pt x="157835" y="2577273"/>
                    <a:pt x="157835" y="2577273"/>
                  </a:cubicBezTo>
                  <a:lnTo>
                    <a:pt x="277494" y="2598750"/>
                  </a:lnTo>
                  <a:lnTo>
                    <a:pt x="464653" y="819204"/>
                  </a:lnTo>
                  <a:lnTo>
                    <a:pt x="535221" y="1635341"/>
                  </a:lnTo>
                  <a:cubicBezTo>
                    <a:pt x="538290" y="1653750"/>
                    <a:pt x="541358" y="1672159"/>
                    <a:pt x="547494" y="1687500"/>
                  </a:cubicBezTo>
                  <a:lnTo>
                    <a:pt x="1164198" y="2331818"/>
                  </a:lnTo>
                  <a:lnTo>
                    <a:pt x="1274653" y="2273523"/>
                  </a:lnTo>
                  <a:lnTo>
                    <a:pt x="866584" y="1616932"/>
                  </a:lnTo>
                  <a:cubicBezTo>
                    <a:pt x="866584" y="1616932"/>
                    <a:pt x="921812" y="484773"/>
                    <a:pt x="927948" y="417273"/>
                  </a:cubicBezTo>
                  <a:cubicBezTo>
                    <a:pt x="940222" y="297614"/>
                    <a:pt x="792948" y="0"/>
                    <a:pt x="792948" y="0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6C7C3501-DB14-4FEB-958D-B34F0964BEF8}"/>
                </a:ext>
              </a:extLst>
            </p:cNvPr>
            <p:cNvSpPr/>
            <p:nvPr/>
          </p:nvSpPr>
          <p:spPr>
            <a:xfrm>
              <a:off x="16432804" y="2920152"/>
              <a:ext cx="825802" cy="992538"/>
            </a:xfrm>
            <a:custGeom>
              <a:avLst/>
              <a:gdLst>
                <a:gd name="connsiteX0" fmla="*/ 781272 w 825802"/>
                <a:gd name="connsiteY0" fmla="*/ 394152 h 992538"/>
                <a:gd name="connsiteX1" fmla="*/ 765931 w 825802"/>
                <a:gd name="connsiteY1" fmla="*/ 68925 h 992538"/>
                <a:gd name="connsiteX2" fmla="*/ 394681 w 825802"/>
                <a:gd name="connsiteY2" fmla="*/ 4493 h 992538"/>
                <a:gd name="connsiteX3" fmla="*/ 90931 w 825802"/>
                <a:gd name="connsiteY3" fmla="*/ 105743 h 992538"/>
                <a:gd name="connsiteX4" fmla="*/ 51044 w 825802"/>
                <a:gd name="connsiteY4" fmla="*/ 658016 h 992538"/>
                <a:gd name="connsiteX5" fmla="*/ 93999 w 825802"/>
                <a:gd name="connsiteY5" fmla="*/ 986311 h 992538"/>
                <a:gd name="connsiteX6" fmla="*/ 775135 w 825802"/>
                <a:gd name="connsiteY6" fmla="*/ 970970 h 992538"/>
                <a:gd name="connsiteX7" fmla="*/ 781272 w 825802"/>
                <a:gd name="connsiteY7" fmla="*/ 394152 h 992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5802" h="992538">
                  <a:moveTo>
                    <a:pt x="781272" y="394152"/>
                  </a:moveTo>
                  <a:cubicBezTo>
                    <a:pt x="790476" y="363470"/>
                    <a:pt x="885590" y="133357"/>
                    <a:pt x="765931" y="68925"/>
                  </a:cubicBezTo>
                  <a:cubicBezTo>
                    <a:pt x="661612" y="13698"/>
                    <a:pt x="514340" y="-10848"/>
                    <a:pt x="394681" y="4493"/>
                  </a:cubicBezTo>
                  <a:cubicBezTo>
                    <a:pt x="262749" y="19834"/>
                    <a:pt x="130817" y="41311"/>
                    <a:pt x="90931" y="105743"/>
                  </a:cubicBezTo>
                  <a:cubicBezTo>
                    <a:pt x="-22592" y="292902"/>
                    <a:pt x="-22592" y="458584"/>
                    <a:pt x="51044" y="658016"/>
                  </a:cubicBezTo>
                  <a:cubicBezTo>
                    <a:pt x="72522" y="716311"/>
                    <a:pt x="78658" y="851311"/>
                    <a:pt x="93999" y="986311"/>
                  </a:cubicBezTo>
                  <a:cubicBezTo>
                    <a:pt x="93999" y="986311"/>
                    <a:pt x="379340" y="1007789"/>
                    <a:pt x="775135" y="970970"/>
                  </a:cubicBezTo>
                  <a:cubicBezTo>
                    <a:pt x="744454" y="750061"/>
                    <a:pt x="772067" y="415629"/>
                    <a:pt x="781272" y="394152"/>
                  </a:cubicBezTo>
                  <a:close/>
                </a:path>
              </a:pathLst>
            </a:custGeom>
            <a:solidFill>
              <a:srgbClr val="F6EBE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8A90F1E8-39AD-407C-84DA-7AE1800C4AE0}"/>
                </a:ext>
              </a:extLst>
            </p:cNvPr>
            <p:cNvSpPr/>
            <p:nvPr/>
          </p:nvSpPr>
          <p:spPr>
            <a:xfrm>
              <a:off x="16713962" y="2740554"/>
              <a:ext cx="312954" cy="328295"/>
            </a:xfrm>
            <a:custGeom>
              <a:avLst/>
              <a:gdLst>
                <a:gd name="connsiteX0" fmla="*/ 55228 w 312954"/>
                <a:gd name="connsiteY0" fmla="*/ 61364 h 328295"/>
                <a:gd name="connsiteX1" fmla="*/ 0 w 312954"/>
                <a:gd name="connsiteY1" fmla="*/ 202500 h 328295"/>
                <a:gd name="connsiteX2" fmla="*/ 116591 w 312954"/>
                <a:gd name="connsiteY2" fmla="*/ 328295 h 328295"/>
                <a:gd name="connsiteX3" fmla="*/ 312955 w 312954"/>
                <a:gd name="connsiteY3" fmla="*/ 187159 h 328295"/>
                <a:gd name="connsiteX4" fmla="*/ 260795 w 312954"/>
                <a:gd name="connsiteY4" fmla="*/ 0 h 328295"/>
                <a:gd name="connsiteX5" fmla="*/ 55228 w 312954"/>
                <a:gd name="connsiteY5" fmla="*/ 61364 h 328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954" h="328295">
                  <a:moveTo>
                    <a:pt x="55228" y="61364"/>
                  </a:moveTo>
                  <a:cubicBezTo>
                    <a:pt x="55228" y="61364"/>
                    <a:pt x="61364" y="171818"/>
                    <a:pt x="0" y="202500"/>
                  </a:cubicBezTo>
                  <a:lnTo>
                    <a:pt x="116591" y="328295"/>
                  </a:lnTo>
                  <a:cubicBezTo>
                    <a:pt x="116591" y="328295"/>
                    <a:pt x="257727" y="217841"/>
                    <a:pt x="312955" y="187159"/>
                  </a:cubicBezTo>
                  <a:cubicBezTo>
                    <a:pt x="257727" y="144205"/>
                    <a:pt x="260795" y="61364"/>
                    <a:pt x="260795" y="0"/>
                  </a:cubicBezTo>
                  <a:cubicBezTo>
                    <a:pt x="260795" y="0"/>
                    <a:pt x="110455" y="67500"/>
                    <a:pt x="55228" y="61364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A13F7E15-1901-4353-A324-DC89EB5816F9}"/>
                </a:ext>
              </a:extLst>
            </p:cNvPr>
            <p:cNvSpPr/>
            <p:nvPr/>
          </p:nvSpPr>
          <p:spPr>
            <a:xfrm>
              <a:off x="16430858" y="3022827"/>
              <a:ext cx="102081" cy="558408"/>
            </a:xfrm>
            <a:custGeom>
              <a:avLst/>
              <a:gdLst>
                <a:gd name="connsiteX0" fmla="*/ 56059 w 102081"/>
                <a:gd name="connsiteY0" fmla="*/ 558409 h 558408"/>
                <a:gd name="connsiteX1" fmla="*/ 49922 w 102081"/>
                <a:gd name="connsiteY1" fmla="*/ 555341 h 558408"/>
                <a:gd name="connsiteX2" fmla="*/ 34582 w 102081"/>
                <a:gd name="connsiteY2" fmla="*/ 500114 h 558408"/>
                <a:gd name="connsiteX3" fmla="*/ 832 w 102081"/>
                <a:gd name="connsiteY3" fmla="*/ 349773 h 558408"/>
                <a:gd name="connsiteX4" fmla="*/ 89809 w 102081"/>
                <a:gd name="connsiteY4" fmla="*/ 3068 h 558408"/>
                <a:gd name="connsiteX5" fmla="*/ 99014 w 102081"/>
                <a:gd name="connsiteY5" fmla="*/ 0 h 558408"/>
                <a:gd name="connsiteX6" fmla="*/ 102082 w 102081"/>
                <a:gd name="connsiteY6" fmla="*/ 9205 h 558408"/>
                <a:gd name="connsiteX7" fmla="*/ 13105 w 102081"/>
                <a:gd name="connsiteY7" fmla="*/ 349773 h 558408"/>
                <a:gd name="connsiteX8" fmla="*/ 46855 w 102081"/>
                <a:gd name="connsiteY8" fmla="*/ 500114 h 558408"/>
                <a:gd name="connsiteX9" fmla="*/ 62196 w 102081"/>
                <a:gd name="connsiteY9" fmla="*/ 555341 h 558408"/>
                <a:gd name="connsiteX10" fmla="*/ 56059 w 102081"/>
                <a:gd name="connsiteY10" fmla="*/ 558409 h 558408"/>
                <a:gd name="connsiteX11" fmla="*/ 56059 w 102081"/>
                <a:gd name="connsiteY11" fmla="*/ 558409 h 558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081" h="558408">
                  <a:moveTo>
                    <a:pt x="56059" y="558409"/>
                  </a:moveTo>
                  <a:cubicBezTo>
                    <a:pt x="52991" y="558409"/>
                    <a:pt x="49922" y="555341"/>
                    <a:pt x="49922" y="555341"/>
                  </a:cubicBezTo>
                  <a:cubicBezTo>
                    <a:pt x="43787" y="536932"/>
                    <a:pt x="40718" y="518523"/>
                    <a:pt x="34582" y="500114"/>
                  </a:cubicBezTo>
                  <a:cubicBezTo>
                    <a:pt x="19241" y="447955"/>
                    <a:pt x="3900" y="395795"/>
                    <a:pt x="832" y="349773"/>
                  </a:cubicBezTo>
                  <a:cubicBezTo>
                    <a:pt x="-5304" y="223977"/>
                    <a:pt x="22309" y="107386"/>
                    <a:pt x="89809" y="3068"/>
                  </a:cubicBezTo>
                  <a:cubicBezTo>
                    <a:pt x="92878" y="0"/>
                    <a:pt x="95945" y="0"/>
                    <a:pt x="99014" y="0"/>
                  </a:cubicBezTo>
                  <a:cubicBezTo>
                    <a:pt x="102082" y="3068"/>
                    <a:pt x="102082" y="6136"/>
                    <a:pt x="102082" y="9205"/>
                  </a:cubicBezTo>
                  <a:cubicBezTo>
                    <a:pt x="37650" y="113523"/>
                    <a:pt x="6968" y="227045"/>
                    <a:pt x="13105" y="349773"/>
                  </a:cubicBezTo>
                  <a:cubicBezTo>
                    <a:pt x="16173" y="395795"/>
                    <a:pt x="31514" y="447955"/>
                    <a:pt x="46855" y="500114"/>
                  </a:cubicBezTo>
                  <a:cubicBezTo>
                    <a:pt x="52991" y="518523"/>
                    <a:pt x="59128" y="536932"/>
                    <a:pt x="62196" y="555341"/>
                  </a:cubicBezTo>
                  <a:cubicBezTo>
                    <a:pt x="62196" y="555341"/>
                    <a:pt x="59128" y="558409"/>
                    <a:pt x="56059" y="558409"/>
                  </a:cubicBezTo>
                  <a:cubicBezTo>
                    <a:pt x="56059" y="558409"/>
                    <a:pt x="56059" y="558409"/>
                    <a:pt x="56059" y="558409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28B1C02F-1B20-4665-8A7B-DED4B6A7BB40}"/>
                </a:ext>
              </a:extLst>
            </p:cNvPr>
            <p:cNvSpPr/>
            <p:nvPr/>
          </p:nvSpPr>
          <p:spPr>
            <a:xfrm>
              <a:off x="16551349" y="3464840"/>
              <a:ext cx="403202" cy="36622"/>
            </a:xfrm>
            <a:custGeom>
              <a:avLst/>
              <a:gdLst>
                <a:gd name="connsiteX0" fmla="*/ 6136 w 403202"/>
                <a:gd name="connsiteY0" fmla="*/ 36623 h 36622"/>
                <a:gd name="connsiteX1" fmla="*/ 0 w 403202"/>
                <a:gd name="connsiteY1" fmla="*/ 33555 h 36622"/>
                <a:gd name="connsiteX2" fmla="*/ 3068 w 403202"/>
                <a:gd name="connsiteY2" fmla="*/ 27418 h 36622"/>
                <a:gd name="connsiteX3" fmla="*/ 398864 w 403202"/>
                <a:gd name="connsiteY3" fmla="*/ 15146 h 36622"/>
                <a:gd name="connsiteX4" fmla="*/ 401932 w 403202"/>
                <a:gd name="connsiteY4" fmla="*/ 21282 h 36622"/>
                <a:gd name="connsiteX5" fmla="*/ 395795 w 403202"/>
                <a:gd name="connsiteY5" fmla="*/ 24350 h 36622"/>
                <a:gd name="connsiteX6" fmla="*/ 6136 w 403202"/>
                <a:gd name="connsiteY6" fmla="*/ 36623 h 36622"/>
                <a:gd name="connsiteX7" fmla="*/ 6136 w 403202"/>
                <a:gd name="connsiteY7" fmla="*/ 36623 h 3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202" h="36622">
                  <a:moveTo>
                    <a:pt x="6136" y="36623"/>
                  </a:moveTo>
                  <a:cubicBezTo>
                    <a:pt x="3068" y="36623"/>
                    <a:pt x="3068" y="36623"/>
                    <a:pt x="0" y="33555"/>
                  </a:cubicBezTo>
                  <a:cubicBezTo>
                    <a:pt x="0" y="30487"/>
                    <a:pt x="0" y="27418"/>
                    <a:pt x="3068" y="27418"/>
                  </a:cubicBezTo>
                  <a:cubicBezTo>
                    <a:pt x="88977" y="-3263"/>
                    <a:pt x="297613" y="-9400"/>
                    <a:pt x="398864" y="15146"/>
                  </a:cubicBezTo>
                  <a:cubicBezTo>
                    <a:pt x="401932" y="15146"/>
                    <a:pt x="404999" y="18214"/>
                    <a:pt x="401932" y="21282"/>
                  </a:cubicBezTo>
                  <a:cubicBezTo>
                    <a:pt x="401932" y="24350"/>
                    <a:pt x="398864" y="27418"/>
                    <a:pt x="395795" y="24350"/>
                  </a:cubicBezTo>
                  <a:cubicBezTo>
                    <a:pt x="300681" y="-195"/>
                    <a:pt x="92045" y="5941"/>
                    <a:pt x="6136" y="36623"/>
                  </a:cubicBezTo>
                  <a:cubicBezTo>
                    <a:pt x="9204" y="36623"/>
                    <a:pt x="9204" y="36623"/>
                    <a:pt x="6136" y="36623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86A97BA5-12F4-49C1-9ED3-074BB99BA0CC}"/>
                </a:ext>
              </a:extLst>
            </p:cNvPr>
            <p:cNvSpPr/>
            <p:nvPr/>
          </p:nvSpPr>
          <p:spPr>
            <a:xfrm>
              <a:off x="16689417" y="2930781"/>
              <a:ext cx="362045" cy="156477"/>
            </a:xfrm>
            <a:custGeom>
              <a:avLst/>
              <a:gdLst>
                <a:gd name="connsiteX0" fmla="*/ 36818 w 362045"/>
                <a:gd name="connsiteY0" fmla="*/ 6136 h 156477"/>
                <a:gd name="connsiteX1" fmla="*/ 141137 w 362045"/>
                <a:gd name="connsiteY1" fmla="*/ 122727 h 156477"/>
                <a:gd name="connsiteX2" fmla="*/ 337500 w 362045"/>
                <a:gd name="connsiteY2" fmla="*/ 0 h 156477"/>
                <a:gd name="connsiteX3" fmla="*/ 362045 w 362045"/>
                <a:gd name="connsiteY3" fmla="*/ 9205 h 156477"/>
                <a:gd name="connsiteX4" fmla="*/ 138068 w 362045"/>
                <a:gd name="connsiteY4" fmla="*/ 156477 h 156477"/>
                <a:gd name="connsiteX5" fmla="*/ 0 w 362045"/>
                <a:gd name="connsiteY5" fmla="*/ 15341 h 156477"/>
                <a:gd name="connsiteX6" fmla="*/ 36818 w 362045"/>
                <a:gd name="connsiteY6" fmla="*/ 6136 h 156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045" h="156477">
                  <a:moveTo>
                    <a:pt x="36818" y="6136"/>
                  </a:moveTo>
                  <a:lnTo>
                    <a:pt x="141137" y="122727"/>
                  </a:lnTo>
                  <a:cubicBezTo>
                    <a:pt x="141137" y="122727"/>
                    <a:pt x="273068" y="21477"/>
                    <a:pt x="337500" y="0"/>
                  </a:cubicBezTo>
                  <a:lnTo>
                    <a:pt x="362045" y="9205"/>
                  </a:lnTo>
                  <a:lnTo>
                    <a:pt x="138068" y="156477"/>
                  </a:lnTo>
                  <a:lnTo>
                    <a:pt x="0" y="15341"/>
                  </a:lnTo>
                  <a:cubicBezTo>
                    <a:pt x="0" y="12273"/>
                    <a:pt x="15341" y="6136"/>
                    <a:pt x="36818" y="6136"/>
                  </a:cubicBezTo>
                  <a:close/>
                </a:path>
              </a:pathLst>
            </a:custGeom>
            <a:solidFill>
              <a:srgbClr val="D16156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3EDF48FC-50BF-4C0F-8C65-23F6D0C10BF6}"/>
                </a:ext>
              </a:extLst>
            </p:cNvPr>
            <p:cNvSpPr/>
            <p:nvPr/>
          </p:nvSpPr>
          <p:spPr>
            <a:xfrm>
              <a:off x="16634088" y="2316271"/>
              <a:ext cx="419145" cy="571633"/>
            </a:xfrm>
            <a:custGeom>
              <a:avLst/>
              <a:gdLst>
                <a:gd name="connsiteX0" fmla="*/ 3170 w 419145"/>
                <a:gd name="connsiteY0" fmla="*/ 188033 h 571633"/>
                <a:gd name="connsiteX1" fmla="*/ 24647 w 419145"/>
                <a:gd name="connsiteY1" fmla="*/ 445761 h 571633"/>
                <a:gd name="connsiteX2" fmla="*/ 178056 w 419145"/>
                <a:gd name="connsiteY2" fmla="*/ 571556 h 571633"/>
                <a:gd name="connsiteX3" fmla="*/ 389761 w 419145"/>
                <a:gd name="connsiteY3" fmla="*/ 418147 h 571633"/>
                <a:gd name="connsiteX4" fmla="*/ 417374 w 419145"/>
                <a:gd name="connsiteY4" fmla="*/ 191102 h 571633"/>
                <a:gd name="connsiteX5" fmla="*/ 193397 w 419145"/>
                <a:gd name="connsiteY5" fmla="*/ 874 h 571633"/>
                <a:gd name="connsiteX6" fmla="*/ 3170 w 419145"/>
                <a:gd name="connsiteY6" fmla="*/ 188033 h 5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145" h="571633">
                  <a:moveTo>
                    <a:pt x="3170" y="188033"/>
                  </a:moveTo>
                  <a:cubicBezTo>
                    <a:pt x="3170" y="188033"/>
                    <a:pt x="-12171" y="378261"/>
                    <a:pt x="24647" y="445761"/>
                  </a:cubicBezTo>
                  <a:cubicBezTo>
                    <a:pt x="64533" y="513261"/>
                    <a:pt x="128965" y="568488"/>
                    <a:pt x="178056" y="571556"/>
                  </a:cubicBezTo>
                  <a:cubicBezTo>
                    <a:pt x="245556" y="574624"/>
                    <a:pt x="356010" y="485647"/>
                    <a:pt x="389761" y="418147"/>
                  </a:cubicBezTo>
                  <a:cubicBezTo>
                    <a:pt x="423511" y="350647"/>
                    <a:pt x="420442" y="240193"/>
                    <a:pt x="417374" y="191102"/>
                  </a:cubicBezTo>
                  <a:cubicBezTo>
                    <a:pt x="411238" y="95988"/>
                    <a:pt x="380557" y="19283"/>
                    <a:pt x="193397" y="874"/>
                  </a:cubicBezTo>
                  <a:cubicBezTo>
                    <a:pt x="110556" y="-11398"/>
                    <a:pt x="18510" y="108261"/>
                    <a:pt x="3170" y="188033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87875A70-94DA-431D-8B86-64F6DF0E21CD}"/>
                </a:ext>
              </a:extLst>
            </p:cNvPr>
            <p:cNvSpPr/>
            <p:nvPr/>
          </p:nvSpPr>
          <p:spPr>
            <a:xfrm>
              <a:off x="16772258" y="2585874"/>
              <a:ext cx="58296" cy="133202"/>
            </a:xfrm>
            <a:custGeom>
              <a:avLst/>
              <a:gdLst>
                <a:gd name="connsiteX0" fmla="*/ 27614 w 58296"/>
                <a:gd name="connsiteY0" fmla="*/ 133203 h 133202"/>
                <a:gd name="connsiteX1" fmla="*/ 6137 w 58296"/>
                <a:gd name="connsiteY1" fmla="*/ 127066 h 133202"/>
                <a:gd name="connsiteX2" fmla="*/ 0 w 58296"/>
                <a:gd name="connsiteY2" fmla="*/ 114794 h 133202"/>
                <a:gd name="connsiteX3" fmla="*/ 24546 w 58296"/>
                <a:gd name="connsiteY3" fmla="*/ 4339 h 133202"/>
                <a:gd name="connsiteX4" fmla="*/ 30682 w 58296"/>
                <a:gd name="connsiteY4" fmla="*/ 1271 h 133202"/>
                <a:gd name="connsiteX5" fmla="*/ 33750 w 58296"/>
                <a:gd name="connsiteY5" fmla="*/ 7407 h 133202"/>
                <a:gd name="connsiteX6" fmla="*/ 9205 w 58296"/>
                <a:gd name="connsiteY6" fmla="*/ 114794 h 133202"/>
                <a:gd name="connsiteX7" fmla="*/ 12273 w 58296"/>
                <a:gd name="connsiteY7" fmla="*/ 117862 h 133202"/>
                <a:gd name="connsiteX8" fmla="*/ 52159 w 58296"/>
                <a:gd name="connsiteY8" fmla="*/ 117862 h 133202"/>
                <a:gd name="connsiteX9" fmla="*/ 58296 w 58296"/>
                <a:gd name="connsiteY9" fmla="*/ 120930 h 133202"/>
                <a:gd name="connsiteX10" fmla="*/ 55228 w 58296"/>
                <a:gd name="connsiteY10" fmla="*/ 127066 h 133202"/>
                <a:gd name="connsiteX11" fmla="*/ 27614 w 58296"/>
                <a:gd name="connsiteY11" fmla="*/ 133203 h 13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296" h="133202">
                  <a:moveTo>
                    <a:pt x="27614" y="133203"/>
                  </a:moveTo>
                  <a:cubicBezTo>
                    <a:pt x="18409" y="133203"/>
                    <a:pt x="9205" y="133203"/>
                    <a:pt x="6137" y="127066"/>
                  </a:cubicBezTo>
                  <a:cubicBezTo>
                    <a:pt x="3068" y="123998"/>
                    <a:pt x="0" y="120930"/>
                    <a:pt x="0" y="114794"/>
                  </a:cubicBezTo>
                  <a:cubicBezTo>
                    <a:pt x="0" y="93316"/>
                    <a:pt x="21478" y="7407"/>
                    <a:pt x="24546" y="4339"/>
                  </a:cubicBezTo>
                  <a:cubicBezTo>
                    <a:pt x="24546" y="1271"/>
                    <a:pt x="27614" y="-1797"/>
                    <a:pt x="30682" y="1271"/>
                  </a:cubicBezTo>
                  <a:cubicBezTo>
                    <a:pt x="33750" y="1271"/>
                    <a:pt x="36819" y="4339"/>
                    <a:pt x="33750" y="7407"/>
                  </a:cubicBezTo>
                  <a:cubicBezTo>
                    <a:pt x="27614" y="31953"/>
                    <a:pt x="9205" y="99453"/>
                    <a:pt x="9205" y="114794"/>
                  </a:cubicBezTo>
                  <a:cubicBezTo>
                    <a:pt x="9205" y="114794"/>
                    <a:pt x="9205" y="117862"/>
                    <a:pt x="12273" y="117862"/>
                  </a:cubicBezTo>
                  <a:cubicBezTo>
                    <a:pt x="18409" y="123998"/>
                    <a:pt x="39887" y="120930"/>
                    <a:pt x="52159" y="117862"/>
                  </a:cubicBezTo>
                  <a:cubicBezTo>
                    <a:pt x="55228" y="117862"/>
                    <a:pt x="58296" y="117862"/>
                    <a:pt x="58296" y="120930"/>
                  </a:cubicBezTo>
                  <a:cubicBezTo>
                    <a:pt x="58296" y="123998"/>
                    <a:pt x="58296" y="127066"/>
                    <a:pt x="55228" y="127066"/>
                  </a:cubicBezTo>
                  <a:cubicBezTo>
                    <a:pt x="52159" y="130134"/>
                    <a:pt x="39887" y="133203"/>
                    <a:pt x="27614" y="133203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95368A8B-3D59-4A72-A2A6-832EC9041638}"/>
                </a:ext>
              </a:extLst>
            </p:cNvPr>
            <p:cNvSpPr/>
            <p:nvPr/>
          </p:nvSpPr>
          <p:spPr>
            <a:xfrm>
              <a:off x="16756917" y="2765100"/>
              <a:ext cx="107386" cy="58707"/>
            </a:xfrm>
            <a:custGeom>
              <a:avLst/>
              <a:gdLst>
                <a:gd name="connsiteX0" fmla="*/ 107386 w 107386"/>
                <a:gd name="connsiteY0" fmla="*/ 0 h 58707"/>
                <a:gd name="connsiteX1" fmla="*/ 0 w 107386"/>
                <a:gd name="connsiteY1" fmla="*/ 3068 h 58707"/>
                <a:gd name="connsiteX2" fmla="*/ 42955 w 107386"/>
                <a:gd name="connsiteY2" fmla="*/ 58296 h 58707"/>
                <a:gd name="connsiteX3" fmla="*/ 107386 w 107386"/>
                <a:gd name="connsiteY3" fmla="*/ 0 h 58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386" h="58707">
                  <a:moveTo>
                    <a:pt x="107386" y="0"/>
                  </a:moveTo>
                  <a:cubicBezTo>
                    <a:pt x="55228" y="30682"/>
                    <a:pt x="0" y="3068"/>
                    <a:pt x="0" y="3068"/>
                  </a:cubicBezTo>
                  <a:cubicBezTo>
                    <a:pt x="0" y="3068"/>
                    <a:pt x="9205" y="52159"/>
                    <a:pt x="42955" y="58296"/>
                  </a:cubicBezTo>
                  <a:cubicBezTo>
                    <a:pt x="76705" y="64432"/>
                    <a:pt x="107386" y="0"/>
                    <a:pt x="107386" y="0"/>
                  </a:cubicBezTo>
                  <a:close/>
                </a:path>
              </a:pathLst>
            </a:custGeom>
            <a:solidFill>
              <a:srgbClr val="FFFFFF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57EBC908-AD8C-4636-A2E8-1361B3B0E79A}"/>
                </a:ext>
              </a:extLst>
            </p:cNvPr>
            <p:cNvSpPr/>
            <p:nvPr/>
          </p:nvSpPr>
          <p:spPr>
            <a:xfrm>
              <a:off x="16694771" y="2558749"/>
              <a:ext cx="41450" cy="41450"/>
            </a:xfrm>
            <a:custGeom>
              <a:avLst/>
              <a:gdLst>
                <a:gd name="connsiteX0" fmla="*/ 40669 w 41450"/>
                <a:gd name="connsiteY0" fmla="*/ 25327 h 41450"/>
                <a:gd name="connsiteX1" fmla="*/ 16123 w 41450"/>
                <a:gd name="connsiteY1" fmla="*/ 40668 h 41450"/>
                <a:gd name="connsiteX2" fmla="*/ 782 w 41450"/>
                <a:gd name="connsiteY2" fmla="*/ 16123 h 41450"/>
                <a:gd name="connsiteX3" fmla="*/ 25328 w 41450"/>
                <a:gd name="connsiteY3" fmla="*/ 782 h 41450"/>
                <a:gd name="connsiteX4" fmla="*/ 40669 w 41450"/>
                <a:gd name="connsiteY4" fmla="*/ 25327 h 4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450" h="41450">
                  <a:moveTo>
                    <a:pt x="40669" y="25327"/>
                  </a:moveTo>
                  <a:cubicBezTo>
                    <a:pt x="37600" y="37600"/>
                    <a:pt x="28396" y="43736"/>
                    <a:pt x="16123" y="40668"/>
                  </a:cubicBezTo>
                  <a:cubicBezTo>
                    <a:pt x="3850" y="37600"/>
                    <a:pt x="-2286" y="28396"/>
                    <a:pt x="782" y="16123"/>
                  </a:cubicBezTo>
                  <a:cubicBezTo>
                    <a:pt x="3850" y="3850"/>
                    <a:pt x="13055" y="-2286"/>
                    <a:pt x="25328" y="782"/>
                  </a:cubicBezTo>
                  <a:cubicBezTo>
                    <a:pt x="37600" y="3850"/>
                    <a:pt x="43737" y="16123"/>
                    <a:pt x="40669" y="2532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A6B523EB-34FD-41C9-9950-74720811BA03}"/>
                </a:ext>
              </a:extLst>
            </p:cNvPr>
            <p:cNvSpPr/>
            <p:nvPr/>
          </p:nvSpPr>
          <p:spPr>
            <a:xfrm>
              <a:off x="16888067" y="2558749"/>
              <a:ext cx="41269" cy="41450"/>
            </a:xfrm>
            <a:custGeom>
              <a:avLst/>
              <a:gdLst>
                <a:gd name="connsiteX0" fmla="*/ 40668 w 41269"/>
                <a:gd name="connsiteY0" fmla="*/ 25327 h 41450"/>
                <a:gd name="connsiteX1" fmla="*/ 16123 w 41269"/>
                <a:gd name="connsiteY1" fmla="*/ 40668 h 41450"/>
                <a:gd name="connsiteX2" fmla="*/ 782 w 41269"/>
                <a:gd name="connsiteY2" fmla="*/ 16123 h 41450"/>
                <a:gd name="connsiteX3" fmla="*/ 25327 w 41269"/>
                <a:gd name="connsiteY3" fmla="*/ 782 h 41450"/>
                <a:gd name="connsiteX4" fmla="*/ 40668 w 41269"/>
                <a:gd name="connsiteY4" fmla="*/ 25327 h 4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69" h="41450">
                  <a:moveTo>
                    <a:pt x="40668" y="25327"/>
                  </a:moveTo>
                  <a:cubicBezTo>
                    <a:pt x="37600" y="37600"/>
                    <a:pt x="28395" y="43736"/>
                    <a:pt x="16123" y="40668"/>
                  </a:cubicBezTo>
                  <a:cubicBezTo>
                    <a:pt x="3850" y="37600"/>
                    <a:pt x="-2286" y="28396"/>
                    <a:pt x="782" y="16123"/>
                  </a:cubicBezTo>
                  <a:cubicBezTo>
                    <a:pt x="3850" y="3850"/>
                    <a:pt x="13054" y="-2286"/>
                    <a:pt x="25327" y="782"/>
                  </a:cubicBezTo>
                  <a:cubicBezTo>
                    <a:pt x="34532" y="3850"/>
                    <a:pt x="43736" y="13055"/>
                    <a:pt x="40668" y="2532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8595EEA7-1EF5-4763-B81D-EBC2F382150A}"/>
                </a:ext>
              </a:extLst>
            </p:cNvPr>
            <p:cNvSpPr/>
            <p:nvPr/>
          </p:nvSpPr>
          <p:spPr>
            <a:xfrm>
              <a:off x="16668707" y="2510341"/>
              <a:ext cx="92549" cy="36917"/>
            </a:xfrm>
            <a:custGeom>
              <a:avLst/>
              <a:gdLst>
                <a:gd name="connsiteX0" fmla="*/ 8438 w 92549"/>
                <a:gd name="connsiteY0" fmla="*/ 36917 h 36917"/>
                <a:gd name="connsiteX1" fmla="*/ 2301 w 92549"/>
                <a:gd name="connsiteY1" fmla="*/ 33849 h 36917"/>
                <a:gd name="connsiteX2" fmla="*/ 2301 w 92549"/>
                <a:gd name="connsiteY2" fmla="*/ 21576 h 36917"/>
                <a:gd name="connsiteX3" fmla="*/ 88210 w 92549"/>
                <a:gd name="connsiteY3" fmla="*/ 6236 h 36917"/>
                <a:gd name="connsiteX4" fmla="*/ 91278 w 92549"/>
                <a:gd name="connsiteY4" fmla="*/ 15440 h 36917"/>
                <a:gd name="connsiteX5" fmla="*/ 82074 w 92549"/>
                <a:gd name="connsiteY5" fmla="*/ 18508 h 36917"/>
                <a:gd name="connsiteX6" fmla="*/ 14574 w 92549"/>
                <a:gd name="connsiteY6" fmla="*/ 27713 h 36917"/>
                <a:gd name="connsiteX7" fmla="*/ 8438 w 92549"/>
                <a:gd name="connsiteY7" fmla="*/ 36917 h 36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6917">
                  <a:moveTo>
                    <a:pt x="8438" y="36917"/>
                  </a:moveTo>
                  <a:cubicBezTo>
                    <a:pt x="5370" y="36917"/>
                    <a:pt x="5370" y="36917"/>
                    <a:pt x="2301" y="33849"/>
                  </a:cubicBezTo>
                  <a:cubicBezTo>
                    <a:pt x="-767" y="30781"/>
                    <a:pt x="-767" y="24645"/>
                    <a:pt x="2301" y="21576"/>
                  </a:cubicBezTo>
                  <a:cubicBezTo>
                    <a:pt x="26846" y="-9105"/>
                    <a:pt x="69802" y="99"/>
                    <a:pt x="88210" y="6236"/>
                  </a:cubicBezTo>
                  <a:cubicBezTo>
                    <a:pt x="91278" y="9304"/>
                    <a:pt x="94347" y="12372"/>
                    <a:pt x="91278" y="15440"/>
                  </a:cubicBezTo>
                  <a:cubicBezTo>
                    <a:pt x="88210" y="18508"/>
                    <a:pt x="85143" y="21576"/>
                    <a:pt x="82074" y="18508"/>
                  </a:cubicBezTo>
                  <a:cubicBezTo>
                    <a:pt x="79006" y="18508"/>
                    <a:pt x="39120" y="99"/>
                    <a:pt x="14574" y="27713"/>
                  </a:cubicBezTo>
                  <a:cubicBezTo>
                    <a:pt x="14574" y="33849"/>
                    <a:pt x="11505" y="36917"/>
                    <a:pt x="8438" y="36917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886EDD4C-1A57-4008-9190-7CB9629EA76A}"/>
                </a:ext>
              </a:extLst>
            </p:cNvPr>
            <p:cNvSpPr/>
            <p:nvPr/>
          </p:nvSpPr>
          <p:spPr>
            <a:xfrm>
              <a:off x="16856152" y="2502338"/>
              <a:ext cx="93293" cy="35715"/>
            </a:xfrm>
            <a:custGeom>
              <a:avLst/>
              <a:gdLst>
                <a:gd name="connsiteX0" fmla="*/ 87924 w 93293"/>
                <a:gd name="connsiteY0" fmla="*/ 35716 h 35715"/>
                <a:gd name="connsiteX1" fmla="*/ 81788 w 93293"/>
                <a:gd name="connsiteY1" fmla="*/ 32647 h 35715"/>
                <a:gd name="connsiteX2" fmla="*/ 14288 w 93293"/>
                <a:gd name="connsiteY2" fmla="*/ 29579 h 35715"/>
                <a:gd name="connsiteX3" fmla="*/ 2015 w 93293"/>
                <a:gd name="connsiteY3" fmla="*/ 26511 h 35715"/>
                <a:gd name="connsiteX4" fmla="*/ 5084 w 93293"/>
                <a:gd name="connsiteY4" fmla="*/ 14238 h 35715"/>
                <a:gd name="connsiteX5" fmla="*/ 90993 w 93293"/>
                <a:gd name="connsiteY5" fmla="*/ 20375 h 35715"/>
                <a:gd name="connsiteX6" fmla="*/ 90993 w 93293"/>
                <a:gd name="connsiteY6" fmla="*/ 32647 h 35715"/>
                <a:gd name="connsiteX7" fmla="*/ 87924 w 93293"/>
                <a:gd name="connsiteY7" fmla="*/ 35716 h 3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293" h="35715">
                  <a:moveTo>
                    <a:pt x="87924" y="35716"/>
                  </a:moveTo>
                  <a:cubicBezTo>
                    <a:pt x="84856" y="35716"/>
                    <a:pt x="84856" y="35716"/>
                    <a:pt x="81788" y="32647"/>
                  </a:cubicBezTo>
                  <a:cubicBezTo>
                    <a:pt x="81788" y="32647"/>
                    <a:pt x="51107" y="5034"/>
                    <a:pt x="14288" y="29579"/>
                  </a:cubicBezTo>
                  <a:cubicBezTo>
                    <a:pt x="11220" y="32647"/>
                    <a:pt x="5084" y="32647"/>
                    <a:pt x="2015" y="26511"/>
                  </a:cubicBezTo>
                  <a:cubicBezTo>
                    <a:pt x="-1053" y="23443"/>
                    <a:pt x="-1053" y="17306"/>
                    <a:pt x="5084" y="14238"/>
                  </a:cubicBezTo>
                  <a:cubicBezTo>
                    <a:pt x="41901" y="-13375"/>
                    <a:pt x="78720" y="5034"/>
                    <a:pt x="90993" y="20375"/>
                  </a:cubicBezTo>
                  <a:cubicBezTo>
                    <a:pt x="94061" y="23443"/>
                    <a:pt x="94061" y="29579"/>
                    <a:pt x="90993" y="32647"/>
                  </a:cubicBezTo>
                  <a:cubicBezTo>
                    <a:pt x="94061" y="35716"/>
                    <a:pt x="90993" y="35716"/>
                    <a:pt x="87924" y="35716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369086B0-8232-4E1D-819C-8AD1E5D13E73}"/>
                </a:ext>
              </a:extLst>
            </p:cNvPr>
            <p:cNvSpPr/>
            <p:nvPr/>
          </p:nvSpPr>
          <p:spPr>
            <a:xfrm>
              <a:off x="16612024" y="2279184"/>
              <a:ext cx="271000" cy="268074"/>
            </a:xfrm>
            <a:custGeom>
              <a:avLst/>
              <a:gdLst>
                <a:gd name="connsiteX0" fmla="*/ 267620 w 271000"/>
                <a:gd name="connsiteY0" fmla="*/ 1143 h 268074"/>
                <a:gd name="connsiteX1" fmla="*/ 236938 w 271000"/>
                <a:gd name="connsiteY1" fmla="*/ 130006 h 268074"/>
                <a:gd name="connsiteX2" fmla="*/ 688 w 271000"/>
                <a:gd name="connsiteY2" fmla="*/ 268074 h 268074"/>
                <a:gd name="connsiteX3" fmla="*/ 267620 w 271000"/>
                <a:gd name="connsiteY3" fmla="*/ 1143 h 268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000" h="268074">
                  <a:moveTo>
                    <a:pt x="267620" y="1143"/>
                  </a:moveTo>
                  <a:cubicBezTo>
                    <a:pt x="267620" y="1143"/>
                    <a:pt x="286029" y="90120"/>
                    <a:pt x="236938" y="130006"/>
                  </a:cubicBezTo>
                  <a:cubicBezTo>
                    <a:pt x="236938" y="130006"/>
                    <a:pt x="28302" y="182165"/>
                    <a:pt x="688" y="268074"/>
                  </a:cubicBezTo>
                  <a:cubicBezTo>
                    <a:pt x="688" y="268074"/>
                    <a:pt x="-26925" y="-20335"/>
                    <a:pt x="267620" y="1143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AE02CC4E-E78B-4DF1-8DBB-7819C57C732C}"/>
                </a:ext>
              </a:extLst>
            </p:cNvPr>
            <p:cNvSpPr/>
            <p:nvPr/>
          </p:nvSpPr>
          <p:spPr>
            <a:xfrm>
              <a:off x="16845895" y="2283338"/>
              <a:ext cx="234425" cy="309655"/>
            </a:xfrm>
            <a:custGeom>
              <a:avLst/>
              <a:gdLst>
                <a:gd name="connsiteX0" fmla="*/ 0 w 234425"/>
                <a:gd name="connsiteY0" fmla="*/ 128920 h 309655"/>
                <a:gd name="connsiteX1" fmla="*/ 144204 w 234425"/>
                <a:gd name="connsiteY1" fmla="*/ 178011 h 309655"/>
                <a:gd name="connsiteX2" fmla="*/ 208636 w 234425"/>
                <a:gd name="connsiteY2" fmla="*/ 297670 h 309655"/>
                <a:gd name="connsiteX3" fmla="*/ 233181 w 234425"/>
                <a:gd name="connsiteY3" fmla="*/ 291534 h 309655"/>
                <a:gd name="connsiteX4" fmla="*/ 30682 w 234425"/>
                <a:gd name="connsiteY4" fmla="*/ 57 h 309655"/>
                <a:gd name="connsiteX5" fmla="*/ 0 w 234425"/>
                <a:gd name="connsiteY5" fmla="*/ 128920 h 30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425" h="309655">
                  <a:moveTo>
                    <a:pt x="0" y="128920"/>
                  </a:moveTo>
                  <a:cubicBezTo>
                    <a:pt x="0" y="128920"/>
                    <a:pt x="92045" y="174943"/>
                    <a:pt x="144204" y="178011"/>
                  </a:cubicBezTo>
                  <a:cubicBezTo>
                    <a:pt x="196363" y="181079"/>
                    <a:pt x="208636" y="297670"/>
                    <a:pt x="208636" y="297670"/>
                  </a:cubicBezTo>
                  <a:cubicBezTo>
                    <a:pt x="208636" y="297670"/>
                    <a:pt x="230114" y="328352"/>
                    <a:pt x="233181" y="291534"/>
                  </a:cubicBezTo>
                  <a:cubicBezTo>
                    <a:pt x="239318" y="211761"/>
                    <a:pt x="230114" y="12329"/>
                    <a:pt x="30682" y="57"/>
                  </a:cubicBezTo>
                  <a:cubicBezTo>
                    <a:pt x="33749" y="-3012"/>
                    <a:pt x="24545" y="119716"/>
                    <a:pt x="0" y="128920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A8141E87-3D32-448C-A492-F48D42CEAA3B}"/>
                </a:ext>
              </a:extLst>
            </p:cNvPr>
            <p:cNvSpPr/>
            <p:nvPr/>
          </p:nvSpPr>
          <p:spPr>
            <a:xfrm>
              <a:off x="17019347" y="2562854"/>
              <a:ext cx="78096" cy="113741"/>
            </a:xfrm>
            <a:custGeom>
              <a:avLst/>
              <a:gdLst>
                <a:gd name="connsiteX0" fmla="*/ 10639 w 78096"/>
                <a:gd name="connsiteY0" fmla="*/ 18155 h 113741"/>
                <a:gd name="connsiteX1" fmla="*/ 68934 w 78096"/>
                <a:gd name="connsiteY1" fmla="*/ 5882 h 113741"/>
                <a:gd name="connsiteX2" fmla="*/ 16775 w 78096"/>
                <a:gd name="connsiteY2" fmla="*/ 110200 h 113741"/>
                <a:gd name="connsiteX3" fmla="*/ 10639 w 78096"/>
                <a:gd name="connsiteY3" fmla="*/ 18155 h 11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096" h="113741">
                  <a:moveTo>
                    <a:pt x="10639" y="18155"/>
                  </a:moveTo>
                  <a:cubicBezTo>
                    <a:pt x="10639" y="18155"/>
                    <a:pt x="44388" y="-12527"/>
                    <a:pt x="68934" y="5882"/>
                  </a:cubicBezTo>
                  <a:cubicBezTo>
                    <a:pt x="96547" y="24291"/>
                    <a:pt x="56662" y="134746"/>
                    <a:pt x="16775" y="110200"/>
                  </a:cubicBezTo>
                  <a:cubicBezTo>
                    <a:pt x="-16976" y="94859"/>
                    <a:pt x="10639" y="18155"/>
                    <a:pt x="10639" y="18155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CD9FBD85-0CC1-4EE6-A8A9-B0C4394F59EF}"/>
                </a:ext>
              </a:extLst>
            </p:cNvPr>
            <p:cNvSpPr/>
            <p:nvPr/>
          </p:nvSpPr>
          <p:spPr>
            <a:xfrm>
              <a:off x="16836690" y="2277259"/>
              <a:ext cx="219112" cy="294545"/>
            </a:xfrm>
            <a:custGeom>
              <a:avLst/>
              <a:gdLst>
                <a:gd name="connsiteX0" fmla="*/ 214773 w 219112"/>
                <a:gd name="connsiteY0" fmla="*/ 294545 h 294545"/>
                <a:gd name="connsiteX1" fmla="*/ 208637 w 219112"/>
                <a:gd name="connsiteY1" fmla="*/ 288409 h 294545"/>
                <a:gd name="connsiteX2" fmla="*/ 153409 w 219112"/>
                <a:gd name="connsiteY2" fmla="*/ 187159 h 294545"/>
                <a:gd name="connsiteX3" fmla="*/ 6137 w 219112"/>
                <a:gd name="connsiteY3" fmla="*/ 135000 h 294545"/>
                <a:gd name="connsiteX4" fmla="*/ 0 w 219112"/>
                <a:gd name="connsiteY4" fmla="*/ 131932 h 294545"/>
                <a:gd name="connsiteX5" fmla="*/ 3068 w 219112"/>
                <a:gd name="connsiteY5" fmla="*/ 125795 h 294545"/>
                <a:gd name="connsiteX6" fmla="*/ 21478 w 219112"/>
                <a:gd name="connsiteY6" fmla="*/ 101250 h 294545"/>
                <a:gd name="connsiteX7" fmla="*/ 30682 w 219112"/>
                <a:gd name="connsiteY7" fmla="*/ 61364 h 294545"/>
                <a:gd name="connsiteX8" fmla="*/ 33750 w 219112"/>
                <a:gd name="connsiteY8" fmla="*/ 33750 h 294545"/>
                <a:gd name="connsiteX9" fmla="*/ 36819 w 219112"/>
                <a:gd name="connsiteY9" fmla="*/ 6136 h 294545"/>
                <a:gd name="connsiteX10" fmla="*/ 42954 w 219112"/>
                <a:gd name="connsiteY10" fmla="*/ 0 h 294545"/>
                <a:gd name="connsiteX11" fmla="*/ 49091 w 219112"/>
                <a:gd name="connsiteY11" fmla="*/ 6136 h 294545"/>
                <a:gd name="connsiteX12" fmla="*/ 46023 w 219112"/>
                <a:gd name="connsiteY12" fmla="*/ 33750 h 294545"/>
                <a:gd name="connsiteX13" fmla="*/ 42954 w 219112"/>
                <a:gd name="connsiteY13" fmla="*/ 61364 h 294545"/>
                <a:gd name="connsiteX14" fmla="*/ 33750 w 219112"/>
                <a:gd name="connsiteY14" fmla="*/ 107386 h 294545"/>
                <a:gd name="connsiteX15" fmla="*/ 18409 w 219112"/>
                <a:gd name="connsiteY15" fmla="*/ 128864 h 294545"/>
                <a:gd name="connsiteX16" fmla="*/ 153409 w 219112"/>
                <a:gd name="connsiteY16" fmla="*/ 174886 h 294545"/>
                <a:gd name="connsiteX17" fmla="*/ 217841 w 219112"/>
                <a:gd name="connsiteY17" fmla="*/ 288409 h 294545"/>
                <a:gd name="connsiteX18" fmla="*/ 214773 w 219112"/>
                <a:gd name="connsiteY18" fmla="*/ 294545 h 294545"/>
                <a:gd name="connsiteX19" fmla="*/ 214773 w 219112"/>
                <a:gd name="connsiteY19" fmla="*/ 294545 h 294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9112" h="294545">
                  <a:moveTo>
                    <a:pt x="214773" y="294545"/>
                  </a:moveTo>
                  <a:cubicBezTo>
                    <a:pt x="211704" y="294545"/>
                    <a:pt x="208637" y="291477"/>
                    <a:pt x="208637" y="288409"/>
                  </a:cubicBezTo>
                  <a:cubicBezTo>
                    <a:pt x="208637" y="288409"/>
                    <a:pt x="202500" y="193295"/>
                    <a:pt x="153409" y="187159"/>
                  </a:cubicBezTo>
                  <a:cubicBezTo>
                    <a:pt x="82841" y="177955"/>
                    <a:pt x="9205" y="138068"/>
                    <a:pt x="6137" y="135000"/>
                  </a:cubicBezTo>
                  <a:lnTo>
                    <a:pt x="0" y="131932"/>
                  </a:lnTo>
                  <a:lnTo>
                    <a:pt x="3068" y="125795"/>
                  </a:lnTo>
                  <a:cubicBezTo>
                    <a:pt x="9205" y="116591"/>
                    <a:pt x="15341" y="110455"/>
                    <a:pt x="21478" y="101250"/>
                  </a:cubicBezTo>
                  <a:cubicBezTo>
                    <a:pt x="27613" y="88977"/>
                    <a:pt x="27613" y="73636"/>
                    <a:pt x="30682" y="61364"/>
                  </a:cubicBezTo>
                  <a:cubicBezTo>
                    <a:pt x="30682" y="55227"/>
                    <a:pt x="33750" y="42955"/>
                    <a:pt x="33750" y="33750"/>
                  </a:cubicBezTo>
                  <a:cubicBezTo>
                    <a:pt x="33750" y="21477"/>
                    <a:pt x="36819" y="12273"/>
                    <a:pt x="36819" y="6136"/>
                  </a:cubicBezTo>
                  <a:cubicBezTo>
                    <a:pt x="36819" y="3068"/>
                    <a:pt x="39887" y="0"/>
                    <a:pt x="42954" y="0"/>
                  </a:cubicBezTo>
                  <a:cubicBezTo>
                    <a:pt x="46023" y="0"/>
                    <a:pt x="49091" y="3068"/>
                    <a:pt x="49091" y="6136"/>
                  </a:cubicBezTo>
                  <a:cubicBezTo>
                    <a:pt x="49091" y="12273"/>
                    <a:pt x="46023" y="24545"/>
                    <a:pt x="46023" y="33750"/>
                  </a:cubicBezTo>
                  <a:cubicBezTo>
                    <a:pt x="46023" y="46023"/>
                    <a:pt x="42954" y="55227"/>
                    <a:pt x="42954" y="61364"/>
                  </a:cubicBezTo>
                  <a:cubicBezTo>
                    <a:pt x="42954" y="76705"/>
                    <a:pt x="39887" y="92045"/>
                    <a:pt x="33750" y="107386"/>
                  </a:cubicBezTo>
                  <a:cubicBezTo>
                    <a:pt x="30682" y="116591"/>
                    <a:pt x="24546" y="122727"/>
                    <a:pt x="18409" y="128864"/>
                  </a:cubicBezTo>
                  <a:cubicBezTo>
                    <a:pt x="36819" y="138068"/>
                    <a:pt x="98182" y="168750"/>
                    <a:pt x="153409" y="174886"/>
                  </a:cubicBezTo>
                  <a:cubicBezTo>
                    <a:pt x="211704" y="181023"/>
                    <a:pt x="217841" y="282273"/>
                    <a:pt x="217841" y="288409"/>
                  </a:cubicBezTo>
                  <a:cubicBezTo>
                    <a:pt x="220909" y="291477"/>
                    <a:pt x="217841" y="294545"/>
                    <a:pt x="214773" y="294545"/>
                  </a:cubicBezTo>
                  <a:cubicBezTo>
                    <a:pt x="214773" y="294545"/>
                    <a:pt x="214773" y="294545"/>
                    <a:pt x="214773" y="294545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1CF88F49-0544-40FC-96FC-CBAA336E5428}"/>
                </a:ext>
              </a:extLst>
            </p:cNvPr>
            <p:cNvSpPr/>
            <p:nvPr/>
          </p:nvSpPr>
          <p:spPr>
            <a:xfrm>
              <a:off x="16745411" y="2809759"/>
              <a:ext cx="224574" cy="84204"/>
            </a:xfrm>
            <a:custGeom>
              <a:avLst/>
              <a:gdLst>
                <a:gd name="connsiteX0" fmla="*/ 69802 w 224574"/>
                <a:gd name="connsiteY0" fmla="*/ 84205 h 84204"/>
                <a:gd name="connsiteX1" fmla="*/ 2301 w 224574"/>
                <a:gd name="connsiteY1" fmla="*/ 59659 h 84204"/>
                <a:gd name="connsiteX2" fmla="*/ 2301 w 224574"/>
                <a:gd name="connsiteY2" fmla="*/ 50454 h 84204"/>
                <a:gd name="connsiteX3" fmla="*/ 11505 w 224574"/>
                <a:gd name="connsiteY3" fmla="*/ 50454 h 84204"/>
                <a:gd name="connsiteX4" fmla="*/ 82074 w 224574"/>
                <a:gd name="connsiteY4" fmla="*/ 71932 h 84204"/>
                <a:gd name="connsiteX5" fmla="*/ 214006 w 224574"/>
                <a:gd name="connsiteY5" fmla="*/ 1364 h 84204"/>
                <a:gd name="connsiteX6" fmla="*/ 223211 w 224574"/>
                <a:gd name="connsiteY6" fmla="*/ 1364 h 84204"/>
                <a:gd name="connsiteX7" fmla="*/ 223211 w 224574"/>
                <a:gd name="connsiteY7" fmla="*/ 10568 h 84204"/>
                <a:gd name="connsiteX8" fmla="*/ 88210 w 224574"/>
                <a:gd name="connsiteY8" fmla="*/ 84205 h 84204"/>
                <a:gd name="connsiteX9" fmla="*/ 69802 w 224574"/>
                <a:gd name="connsiteY9" fmla="*/ 84205 h 84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574" h="84204">
                  <a:moveTo>
                    <a:pt x="69802" y="84205"/>
                  </a:moveTo>
                  <a:cubicBezTo>
                    <a:pt x="32983" y="84205"/>
                    <a:pt x="5370" y="59659"/>
                    <a:pt x="2301" y="59659"/>
                  </a:cubicBezTo>
                  <a:cubicBezTo>
                    <a:pt x="-767" y="56591"/>
                    <a:pt x="-767" y="53523"/>
                    <a:pt x="2301" y="50454"/>
                  </a:cubicBezTo>
                  <a:cubicBezTo>
                    <a:pt x="5370" y="47386"/>
                    <a:pt x="8438" y="47386"/>
                    <a:pt x="11505" y="50454"/>
                  </a:cubicBezTo>
                  <a:cubicBezTo>
                    <a:pt x="11505" y="50454"/>
                    <a:pt x="45256" y="78068"/>
                    <a:pt x="82074" y="71932"/>
                  </a:cubicBezTo>
                  <a:cubicBezTo>
                    <a:pt x="121960" y="65795"/>
                    <a:pt x="210937" y="1364"/>
                    <a:pt x="214006" y="1364"/>
                  </a:cubicBezTo>
                  <a:cubicBezTo>
                    <a:pt x="217074" y="-1705"/>
                    <a:pt x="220142" y="1364"/>
                    <a:pt x="223211" y="1364"/>
                  </a:cubicBezTo>
                  <a:cubicBezTo>
                    <a:pt x="226278" y="4432"/>
                    <a:pt x="223211" y="7500"/>
                    <a:pt x="223211" y="10568"/>
                  </a:cubicBezTo>
                  <a:cubicBezTo>
                    <a:pt x="220142" y="13636"/>
                    <a:pt x="128097" y="78068"/>
                    <a:pt x="88210" y="84205"/>
                  </a:cubicBezTo>
                  <a:cubicBezTo>
                    <a:pt x="75937" y="81136"/>
                    <a:pt x="72869" y="84205"/>
                    <a:pt x="69802" y="84205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8EC18319-CB94-4563-A16D-BD8F6BEB0C47}"/>
                </a:ext>
              </a:extLst>
            </p:cNvPr>
            <p:cNvSpPr/>
            <p:nvPr/>
          </p:nvSpPr>
          <p:spPr>
            <a:xfrm>
              <a:off x="17143508" y="2645440"/>
              <a:ext cx="121960" cy="294545"/>
            </a:xfrm>
            <a:custGeom>
              <a:avLst/>
              <a:gdLst>
                <a:gd name="connsiteX0" fmla="*/ 113523 w 121960"/>
                <a:gd name="connsiteY0" fmla="*/ 294545 h 294545"/>
                <a:gd name="connsiteX1" fmla="*/ 110455 w 121960"/>
                <a:gd name="connsiteY1" fmla="*/ 291477 h 294545"/>
                <a:gd name="connsiteX2" fmla="*/ 85910 w 121960"/>
                <a:gd name="connsiteY2" fmla="*/ 187159 h 294545"/>
                <a:gd name="connsiteX3" fmla="*/ 36819 w 121960"/>
                <a:gd name="connsiteY3" fmla="*/ 79773 h 294545"/>
                <a:gd name="connsiteX4" fmla="*/ 0 w 121960"/>
                <a:gd name="connsiteY4" fmla="*/ 6136 h 294545"/>
                <a:gd name="connsiteX5" fmla="*/ 6137 w 121960"/>
                <a:gd name="connsiteY5" fmla="*/ 0 h 294545"/>
                <a:gd name="connsiteX6" fmla="*/ 6137 w 121960"/>
                <a:gd name="connsiteY6" fmla="*/ 0 h 294545"/>
                <a:gd name="connsiteX7" fmla="*/ 12273 w 121960"/>
                <a:gd name="connsiteY7" fmla="*/ 6136 h 294545"/>
                <a:gd name="connsiteX8" fmla="*/ 46023 w 121960"/>
                <a:gd name="connsiteY8" fmla="*/ 73636 h 294545"/>
                <a:gd name="connsiteX9" fmla="*/ 98182 w 121960"/>
                <a:gd name="connsiteY9" fmla="*/ 190227 h 294545"/>
                <a:gd name="connsiteX10" fmla="*/ 119659 w 121960"/>
                <a:gd name="connsiteY10" fmla="*/ 285341 h 294545"/>
                <a:gd name="connsiteX11" fmla="*/ 119659 w 121960"/>
                <a:gd name="connsiteY11" fmla="*/ 294545 h 294545"/>
                <a:gd name="connsiteX12" fmla="*/ 113523 w 121960"/>
                <a:gd name="connsiteY12" fmla="*/ 294545 h 294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1960" h="294545">
                  <a:moveTo>
                    <a:pt x="113523" y="294545"/>
                  </a:moveTo>
                  <a:cubicBezTo>
                    <a:pt x="110455" y="294545"/>
                    <a:pt x="110455" y="294545"/>
                    <a:pt x="110455" y="291477"/>
                  </a:cubicBezTo>
                  <a:cubicBezTo>
                    <a:pt x="92045" y="270000"/>
                    <a:pt x="76705" y="223977"/>
                    <a:pt x="85910" y="187159"/>
                  </a:cubicBezTo>
                  <a:cubicBezTo>
                    <a:pt x="95114" y="150341"/>
                    <a:pt x="67500" y="104318"/>
                    <a:pt x="36819" y="79773"/>
                  </a:cubicBezTo>
                  <a:cubicBezTo>
                    <a:pt x="3068" y="52159"/>
                    <a:pt x="0" y="6136"/>
                    <a:pt x="0" y="6136"/>
                  </a:cubicBezTo>
                  <a:cubicBezTo>
                    <a:pt x="0" y="3068"/>
                    <a:pt x="3068" y="0"/>
                    <a:pt x="6137" y="0"/>
                  </a:cubicBezTo>
                  <a:cubicBezTo>
                    <a:pt x="6137" y="0"/>
                    <a:pt x="6137" y="0"/>
                    <a:pt x="6137" y="0"/>
                  </a:cubicBezTo>
                  <a:cubicBezTo>
                    <a:pt x="9205" y="0"/>
                    <a:pt x="12273" y="3068"/>
                    <a:pt x="12273" y="6136"/>
                  </a:cubicBezTo>
                  <a:cubicBezTo>
                    <a:pt x="12273" y="6136"/>
                    <a:pt x="15341" y="49091"/>
                    <a:pt x="46023" y="73636"/>
                  </a:cubicBezTo>
                  <a:cubicBezTo>
                    <a:pt x="79773" y="101250"/>
                    <a:pt x="107386" y="150341"/>
                    <a:pt x="98182" y="190227"/>
                  </a:cubicBezTo>
                  <a:cubicBezTo>
                    <a:pt x="88977" y="227045"/>
                    <a:pt x="104318" y="266932"/>
                    <a:pt x="119659" y="285341"/>
                  </a:cubicBezTo>
                  <a:cubicBezTo>
                    <a:pt x="122727" y="288409"/>
                    <a:pt x="122727" y="291477"/>
                    <a:pt x="119659" y="294545"/>
                  </a:cubicBezTo>
                  <a:cubicBezTo>
                    <a:pt x="116591" y="294545"/>
                    <a:pt x="116591" y="294545"/>
                    <a:pt x="113523" y="294545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04A84058-4D5D-41F8-87AD-681C7D4B961E}"/>
                </a:ext>
              </a:extLst>
            </p:cNvPr>
            <p:cNvSpPr/>
            <p:nvPr/>
          </p:nvSpPr>
          <p:spPr>
            <a:xfrm>
              <a:off x="17337571" y="3019759"/>
              <a:ext cx="27445" cy="101249"/>
            </a:xfrm>
            <a:custGeom>
              <a:avLst/>
              <a:gdLst>
                <a:gd name="connsiteX0" fmla="*/ 8437 w 27445"/>
                <a:gd name="connsiteY0" fmla="*/ 101250 h 101249"/>
                <a:gd name="connsiteX1" fmla="*/ 2301 w 27445"/>
                <a:gd name="connsiteY1" fmla="*/ 98182 h 101249"/>
                <a:gd name="connsiteX2" fmla="*/ 2301 w 27445"/>
                <a:gd name="connsiteY2" fmla="*/ 88977 h 101249"/>
                <a:gd name="connsiteX3" fmla="*/ 11506 w 27445"/>
                <a:gd name="connsiteY3" fmla="*/ 6136 h 101249"/>
                <a:gd name="connsiteX4" fmla="*/ 14574 w 27445"/>
                <a:gd name="connsiteY4" fmla="*/ 0 h 101249"/>
                <a:gd name="connsiteX5" fmla="*/ 20710 w 27445"/>
                <a:gd name="connsiteY5" fmla="*/ 3068 h 101249"/>
                <a:gd name="connsiteX6" fmla="*/ 8437 w 27445"/>
                <a:gd name="connsiteY6" fmla="*/ 101250 h 101249"/>
                <a:gd name="connsiteX7" fmla="*/ 8437 w 27445"/>
                <a:gd name="connsiteY7" fmla="*/ 101250 h 10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445" h="101249">
                  <a:moveTo>
                    <a:pt x="8437" y="101250"/>
                  </a:moveTo>
                  <a:cubicBezTo>
                    <a:pt x="5369" y="101250"/>
                    <a:pt x="5369" y="101250"/>
                    <a:pt x="2301" y="98182"/>
                  </a:cubicBezTo>
                  <a:cubicBezTo>
                    <a:pt x="-767" y="95114"/>
                    <a:pt x="-767" y="92045"/>
                    <a:pt x="2301" y="88977"/>
                  </a:cubicBezTo>
                  <a:cubicBezTo>
                    <a:pt x="29915" y="67500"/>
                    <a:pt x="11506" y="6136"/>
                    <a:pt x="11506" y="6136"/>
                  </a:cubicBezTo>
                  <a:cubicBezTo>
                    <a:pt x="11506" y="3068"/>
                    <a:pt x="11506" y="0"/>
                    <a:pt x="14574" y="0"/>
                  </a:cubicBezTo>
                  <a:cubicBezTo>
                    <a:pt x="17641" y="0"/>
                    <a:pt x="20710" y="0"/>
                    <a:pt x="20710" y="3068"/>
                  </a:cubicBezTo>
                  <a:cubicBezTo>
                    <a:pt x="20710" y="6136"/>
                    <a:pt x="42188" y="73636"/>
                    <a:pt x="8437" y="101250"/>
                  </a:cubicBezTo>
                  <a:cubicBezTo>
                    <a:pt x="8437" y="101250"/>
                    <a:pt x="8437" y="101250"/>
                    <a:pt x="8437" y="101250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4DD42960-9FD5-47B5-B3EE-4CD87BAAED01}"/>
                </a:ext>
              </a:extLst>
            </p:cNvPr>
            <p:cNvSpPr/>
            <p:nvPr/>
          </p:nvSpPr>
          <p:spPr>
            <a:xfrm>
              <a:off x="16512229" y="2616463"/>
              <a:ext cx="68097" cy="243749"/>
            </a:xfrm>
            <a:custGeom>
              <a:avLst/>
              <a:gdLst>
                <a:gd name="connsiteX0" fmla="*/ 5370 w 68097"/>
                <a:gd name="connsiteY0" fmla="*/ 243750 h 243749"/>
                <a:gd name="connsiteX1" fmla="*/ 2301 w 68097"/>
                <a:gd name="connsiteY1" fmla="*/ 240682 h 243749"/>
                <a:gd name="connsiteX2" fmla="*/ 2301 w 68097"/>
                <a:gd name="connsiteY2" fmla="*/ 231477 h 243749"/>
                <a:gd name="connsiteX3" fmla="*/ 14574 w 68097"/>
                <a:gd name="connsiteY3" fmla="*/ 93409 h 243749"/>
                <a:gd name="connsiteX4" fmla="*/ 57529 w 68097"/>
                <a:gd name="connsiteY4" fmla="*/ 1364 h 243749"/>
                <a:gd name="connsiteX5" fmla="*/ 66733 w 68097"/>
                <a:gd name="connsiteY5" fmla="*/ 1364 h 243749"/>
                <a:gd name="connsiteX6" fmla="*/ 66733 w 68097"/>
                <a:gd name="connsiteY6" fmla="*/ 10568 h 243749"/>
                <a:gd name="connsiteX7" fmla="*/ 29915 w 68097"/>
                <a:gd name="connsiteY7" fmla="*/ 90341 h 243749"/>
                <a:gd name="connsiteX8" fmla="*/ 14574 w 68097"/>
                <a:gd name="connsiteY8" fmla="*/ 237614 h 243749"/>
                <a:gd name="connsiteX9" fmla="*/ 5370 w 68097"/>
                <a:gd name="connsiteY9" fmla="*/ 243750 h 243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097" h="243749">
                  <a:moveTo>
                    <a:pt x="5370" y="243750"/>
                  </a:moveTo>
                  <a:cubicBezTo>
                    <a:pt x="2301" y="243750"/>
                    <a:pt x="2301" y="243750"/>
                    <a:pt x="2301" y="240682"/>
                  </a:cubicBezTo>
                  <a:cubicBezTo>
                    <a:pt x="-767" y="237614"/>
                    <a:pt x="-767" y="234545"/>
                    <a:pt x="2301" y="231477"/>
                  </a:cubicBezTo>
                  <a:cubicBezTo>
                    <a:pt x="32983" y="206932"/>
                    <a:pt x="26847" y="148636"/>
                    <a:pt x="14574" y="93409"/>
                  </a:cubicBezTo>
                  <a:cubicBezTo>
                    <a:pt x="2301" y="41250"/>
                    <a:pt x="54461" y="1364"/>
                    <a:pt x="57529" y="1364"/>
                  </a:cubicBezTo>
                  <a:cubicBezTo>
                    <a:pt x="60597" y="-1705"/>
                    <a:pt x="63665" y="1364"/>
                    <a:pt x="66733" y="1364"/>
                  </a:cubicBezTo>
                  <a:cubicBezTo>
                    <a:pt x="69802" y="4432"/>
                    <a:pt x="66733" y="7500"/>
                    <a:pt x="66733" y="10568"/>
                  </a:cubicBezTo>
                  <a:cubicBezTo>
                    <a:pt x="66733" y="10568"/>
                    <a:pt x="20711" y="47386"/>
                    <a:pt x="29915" y="90341"/>
                  </a:cubicBezTo>
                  <a:cubicBezTo>
                    <a:pt x="42188" y="148636"/>
                    <a:pt x="48324" y="210000"/>
                    <a:pt x="14574" y="237614"/>
                  </a:cubicBezTo>
                  <a:cubicBezTo>
                    <a:pt x="5370" y="243750"/>
                    <a:pt x="5370" y="243750"/>
                    <a:pt x="5370" y="243750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4271CCF5-EFCE-4CA2-B43E-2340910860ED}"/>
                </a:ext>
              </a:extLst>
            </p:cNvPr>
            <p:cNvSpPr/>
            <p:nvPr/>
          </p:nvSpPr>
          <p:spPr>
            <a:xfrm>
              <a:off x="16565326" y="2804986"/>
              <a:ext cx="60189" cy="119659"/>
            </a:xfrm>
            <a:custGeom>
              <a:avLst/>
              <a:gdLst>
                <a:gd name="connsiteX0" fmla="*/ 4432 w 60189"/>
                <a:gd name="connsiteY0" fmla="*/ 119659 h 119659"/>
                <a:gd name="connsiteX1" fmla="*/ 1364 w 60189"/>
                <a:gd name="connsiteY1" fmla="*/ 116591 h 119659"/>
                <a:gd name="connsiteX2" fmla="*/ 1364 w 60189"/>
                <a:gd name="connsiteY2" fmla="*/ 107386 h 119659"/>
                <a:gd name="connsiteX3" fmla="*/ 47386 w 60189"/>
                <a:gd name="connsiteY3" fmla="*/ 6136 h 119659"/>
                <a:gd name="connsiteX4" fmla="*/ 53522 w 60189"/>
                <a:gd name="connsiteY4" fmla="*/ 0 h 119659"/>
                <a:gd name="connsiteX5" fmla="*/ 59659 w 60189"/>
                <a:gd name="connsiteY5" fmla="*/ 6136 h 119659"/>
                <a:gd name="connsiteX6" fmla="*/ 10568 w 60189"/>
                <a:gd name="connsiteY6" fmla="*/ 116591 h 119659"/>
                <a:gd name="connsiteX7" fmla="*/ 4432 w 60189"/>
                <a:gd name="connsiteY7" fmla="*/ 119659 h 119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189" h="119659">
                  <a:moveTo>
                    <a:pt x="4432" y="119659"/>
                  </a:moveTo>
                  <a:cubicBezTo>
                    <a:pt x="1364" y="119659"/>
                    <a:pt x="1364" y="119659"/>
                    <a:pt x="1364" y="116591"/>
                  </a:cubicBezTo>
                  <a:cubicBezTo>
                    <a:pt x="-1705" y="113523"/>
                    <a:pt x="1364" y="110455"/>
                    <a:pt x="1364" y="107386"/>
                  </a:cubicBezTo>
                  <a:cubicBezTo>
                    <a:pt x="53522" y="70568"/>
                    <a:pt x="47386" y="9205"/>
                    <a:pt x="47386" y="6136"/>
                  </a:cubicBezTo>
                  <a:cubicBezTo>
                    <a:pt x="47386" y="3068"/>
                    <a:pt x="50455" y="0"/>
                    <a:pt x="53522" y="0"/>
                  </a:cubicBezTo>
                  <a:cubicBezTo>
                    <a:pt x="56591" y="0"/>
                    <a:pt x="59659" y="3068"/>
                    <a:pt x="59659" y="6136"/>
                  </a:cubicBezTo>
                  <a:cubicBezTo>
                    <a:pt x="59659" y="9205"/>
                    <a:pt x="68863" y="73636"/>
                    <a:pt x="10568" y="116591"/>
                  </a:cubicBezTo>
                  <a:cubicBezTo>
                    <a:pt x="7500" y="119659"/>
                    <a:pt x="4432" y="119659"/>
                    <a:pt x="4432" y="119659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9" name="图形 1">
              <a:extLst>
                <a:ext uri="{FF2B5EF4-FFF2-40B4-BE49-F238E27FC236}">
                  <a16:creationId xmlns:a16="http://schemas.microsoft.com/office/drawing/2014/main" id="{E05EC38C-F18A-4092-B97F-96921F8F8048}"/>
                </a:ext>
              </a:extLst>
            </p:cNvPr>
            <p:cNvGrpSpPr/>
            <p:nvPr/>
          </p:nvGrpSpPr>
          <p:grpSpPr>
            <a:xfrm>
              <a:off x="16118735" y="3884986"/>
              <a:ext cx="1678295" cy="1663047"/>
              <a:chOff x="16118735" y="3884986"/>
              <a:chExt cx="1678295" cy="1663047"/>
            </a:xfrm>
          </p:grpSpPr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33BFBD4C-E7BC-4F78-B3CC-802C608DD0BB}"/>
                  </a:ext>
                </a:extLst>
              </p:cNvPr>
              <p:cNvSpPr/>
              <p:nvPr/>
            </p:nvSpPr>
            <p:spPr>
              <a:xfrm>
                <a:off x="16118735" y="3884986"/>
                <a:ext cx="1678295" cy="1663047"/>
              </a:xfrm>
              <a:custGeom>
                <a:avLst/>
                <a:gdLst>
                  <a:gd name="connsiteX0" fmla="*/ 1678296 w 1678295"/>
                  <a:gd name="connsiteY0" fmla="*/ 1396023 h 1663047"/>
                  <a:gd name="connsiteX1" fmla="*/ 1644546 w 1678295"/>
                  <a:gd name="connsiteY1" fmla="*/ 1423636 h 1663047"/>
                  <a:gd name="connsiteX2" fmla="*/ 0 w 1678295"/>
                  <a:gd name="connsiteY2" fmla="*/ 1580114 h 1663047"/>
                  <a:gd name="connsiteX3" fmla="*/ 144205 w 1678295"/>
                  <a:gd name="connsiteY3" fmla="*/ 1276364 h 1663047"/>
                  <a:gd name="connsiteX4" fmla="*/ 156477 w 1678295"/>
                  <a:gd name="connsiteY4" fmla="*/ 1248750 h 1663047"/>
                  <a:gd name="connsiteX5" fmla="*/ 242386 w 1678295"/>
                  <a:gd name="connsiteY5" fmla="*/ 957273 h 1663047"/>
                  <a:gd name="connsiteX6" fmla="*/ 248523 w 1678295"/>
                  <a:gd name="connsiteY6" fmla="*/ 926591 h 1663047"/>
                  <a:gd name="connsiteX7" fmla="*/ 291477 w 1678295"/>
                  <a:gd name="connsiteY7" fmla="*/ 561477 h 1663047"/>
                  <a:gd name="connsiteX8" fmla="*/ 291477 w 1678295"/>
                  <a:gd name="connsiteY8" fmla="*/ 530796 h 1663047"/>
                  <a:gd name="connsiteX9" fmla="*/ 294546 w 1678295"/>
                  <a:gd name="connsiteY9" fmla="*/ 463295 h 1663047"/>
                  <a:gd name="connsiteX10" fmla="*/ 340568 w 1678295"/>
                  <a:gd name="connsiteY10" fmla="*/ 205568 h 1663047"/>
                  <a:gd name="connsiteX11" fmla="*/ 349773 w 1678295"/>
                  <a:gd name="connsiteY11" fmla="*/ 174886 h 1663047"/>
                  <a:gd name="connsiteX12" fmla="*/ 411136 w 1678295"/>
                  <a:gd name="connsiteY12" fmla="*/ 18409 h 1663047"/>
                  <a:gd name="connsiteX13" fmla="*/ 1086136 w 1678295"/>
                  <a:gd name="connsiteY13" fmla="*/ 0 h 1663047"/>
                  <a:gd name="connsiteX14" fmla="*/ 1159772 w 1678295"/>
                  <a:gd name="connsiteY14" fmla="*/ 104318 h 1663047"/>
                  <a:gd name="connsiteX15" fmla="*/ 1175113 w 1678295"/>
                  <a:gd name="connsiteY15" fmla="*/ 128864 h 1663047"/>
                  <a:gd name="connsiteX16" fmla="*/ 1175113 w 1678295"/>
                  <a:gd name="connsiteY16" fmla="*/ 128864 h 1663047"/>
                  <a:gd name="connsiteX17" fmla="*/ 1337728 w 1678295"/>
                  <a:gd name="connsiteY17" fmla="*/ 466364 h 1663047"/>
                  <a:gd name="connsiteX18" fmla="*/ 1350000 w 1678295"/>
                  <a:gd name="connsiteY18" fmla="*/ 493977 h 1663047"/>
                  <a:gd name="connsiteX19" fmla="*/ 1491137 w 1678295"/>
                  <a:gd name="connsiteY19" fmla="*/ 895909 h 1663047"/>
                  <a:gd name="connsiteX20" fmla="*/ 1500341 w 1678295"/>
                  <a:gd name="connsiteY20" fmla="*/ 926591 h 1663047"/>
                  <a:gd name="connsiteX21" fmla="*/ 1672159 w 1678295"/>
                  <a:gd name="connsiteY21" fmla="*/ 1386818 h 1663047"/>
                  <a:gd name="connsiteX22" fmla="*/ 1672159 w 1678295"/>
                  <a:gd name="connsiteY22" fmla="*/ 1386818 h 1663047"/>
                  <a:gd name="connsiteX23" fmla="*/ 1678296 w 1678295"/>
                  <a:gd name="connsiteY23" fmla="*/ 1396023 h 1663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78295" h="1663047">
                    <a:moveTo>
                      <a:pt x="1678296" y="1396023"/>
                    </a:moveTo>
                    <a:cubicBezTo>
                      <a:pt x="1666022" y="1405227"/>
                      <a:pt x="1653750" y="1414432"/>
                      <a:pt x="1644546" y="1423636"/>
                    </a:cubicBezTo>
                    <a:cubicBezTo>
                      <a:pt x="1270227" y="1690568"/>
                      <a:pt x="589091" y="1721250"/>
                      <a:pt x="0" y="1580114"/>
                    </a:cubicBezTo>
                    <a:cubicBezTo>
                      <a:pt x="61364" y="1472727"/>
                      <a:pt x="107386" y="1371477"/>
                      <a:pt x="144205" y="1276364"/>
                    </a:cubicBezTo>
                    <a:cubicBezTo>
                      <a:pt x="147272" y="1267159"/>
                      <a:pt x="150341" y="1257955"/>
                      <a:pt x="156477" y="1248750"/>
                    </a:cubicBezTo>
                    <a:cubicBezTo>
                      <a:pt x="196363" y="1144432"/>
                      <a:pt x="223977" y="1046250"/>
                      <a:pt x="242386" y="957273"/>
                    </a:cubicBezTo>
                    <a:cubicBezTo>
                      <a:pt x="245455" y="948068"/>
                      <a:pt x="245455" y="935795"/>
                      <a:pt x="248523" y="926591"/>
                    </a:cubicBezTo>
                    <a:cubicBezTo>
                      <a:pt x="279205" y="779318"/>
                      <a:pt x="288409" y="659659"/>
                      <a:pt x="291477" y="561477"/>
                    </a:cubicBezTo>
                    <a:cubicBezTo>
                      <a:pt x="291477" y="549205"/>
                      <a:pt x="291477" y="540000"/>
                      <a:pt x="291477" y="530796"/>
                    </a:cubicBezTo>
                    <a:cubicBezTo>
                      <a:pt x="291477" y="506250"/>
                      <a:pt x="294546" y="484773"/>
                      <a:pt x="294546" y="463295"/>
                    </a:cubicBezTo>
                    <a:cubicBezTo>
                      <a:pt x="300681" y="371250"/>
                      <a:pt x="319091" y="279205"/>
                      <a:pt x="340568" y="205568"/>
                    </a:cubicBezTo>
                    <a:cubicBezTo>
                      <a:pt x="343637" y="196364"/>
                      <a:pt x="346704" y="187159"/>
                      <a:pt x="349773" y="174886"/>
                    </a:cubicBezTo>
                    <a:cubicBezTo>
                      <a:pt x="380454" y="70568"/>
                      <a:pt x="411136" y="18409"/>
                      <a:pt x="411136" y="18409"/>
                    </a:cubicBezTo>
                    <a:cubicBezTo>
                      <a:pt x="411136" y="18409"/>
                      <a:pt x="702613" y="39886"/>
                      <a:pt x="1086136" y="0"/>
                    </a:cubicBezTo>
                    <a:cubicBezTo>
                      <a:pt x="1110682" y="30682"/>
                      <a:pt x="1135227" y="67500"/>
                      <a:pt x="1159772" y="104318"/>
                    </a:cubicBezTo>
                    <a:cubicBezTo>
                      <a:pt x="1165909" y="113523"/>
                      <a:pt x="1172046" y="122727"/>
                      <a:pt x="1175113" y="128864"/>
                    </a:cubicBezTo>
                    <a:lnTo>
                      <a:pt x="1175113" y="128864"/>
                    </a:lnTo>
                    <a:cubicBezTo>
                      <a:pt x="1236477" y="230114"/>
                      <a:pt x="1291705" y="346705"/>
                      <a:pt x="1337728" y="466364"/>
                    </a:cubicBezTo>
                    <a:cubicBezTo>
                      <a:pt x="1340796" y="475568"/>
                      <a:pt x="1343863" y="484773"/>
                      <a:pt x="1350000" y="493977"/>
                    </a:cubicBezTo>
                    <a:cubicBezTo>
                      <a:pt x="1402160" y="625909"/>
                      <a:pt x="1445114" y="760909"/>
                      <a:pt x="1491137" y="895909"/>
                    </a:cubicBezTo>
                    <a:cubicBezTo>
                      <a:pt x="1494205" y="905114"/>
                      <a:pt x="1497272" y="914318"/>
                      <a:pt x="1500341" y="926591"/>
                    </a:cubicBezTo>
                    <a:cubicBezTo>
                      <a:pt x="1555569" y="1089205"/>
                      <a:pt x="1607727" y="1248750"/>
                      <a:pt x="1672159" y="1386818"/>
                    </a:cubicBezTo>
                    <a:lnTo>
                      <a:pt x="1672159" y="1386818"/>
                    </a:lnTo>
                    <a:cubicBezTo>
                      <a:pt x="1675227" y="1389887"/>
                      <a:pt x="1675227" y="1392955"/>
                      <a:pt x="1678296" y="1396023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2EA6AB1D-CFAC-403B-A163-EE3E79780D6A}"/>
                  </a:ext>
                </a:extLst>
              </p:cNvPr>
              <p:cNvSpPr/>
              <p:nvPr/>
            </p:nvSpPr>
            <p:spPr>
              <a:xfrm>
                <a:off x="16462372" y="3983168"/>
                <a:ext cx="834544" cy="145026"/>
              </a:xfrm>
              <a:custGeom>
                <a:avLst/>
                <a:gdLst>
                  <a:gd name="connsiteX0" fmla="*/ 834545 w 834544"/>
                  <a:gd name="connsiteY0" fmla="*/ 27614 h 145026"/>
                  <a:gd name="connsiteX1" fmla="*/ 438750 w 834544"/>
                  <a:gd name="connsiteY1" fmla="*/ 138068 h 145026"/>
                  <a:gd name="connsiteX2" fmla="*/ 0 w 834544"/>
                  <a:gd name="connsiteY2" fmla="*/ 101250 h 145026"/>
                  <a:gd name="connsiteX3" fmla="*/ 9204 w 834544"/>
                  <a:gd name="connsiteY3" fmla="*/ 70568 h 145026"/>
                  <a:gd name="connsiteX4" fmla="*/ 414205 w 834544"/>
                  <a:gd name="connsiteY4" fmla="*/ 107386 h 145026"/>
                  <a:gd name="connsiteX5" fmla="*/ 819204 w 834544"/>
                  <a:gd name="connsiteY5" fmla="*/ 0 h 145026"/>
                  <a:gd name="connsiteX6" fmla="*/ 834545 w 834544"/>
                  <a:gd name="connsiteY6" fmla="*/ 27614 h 145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34544" h="145026">
                    <a:moveTo>
                      <a:pt x="834545" y="27614"/>
                    </a:moveTo>
                    <a:cubicBezTo>
                      <a:pt x="717954" y="104318"/>
                      <a:pt x="576818" y="128864"/>
                      <a:pt x="438750" y="138068"/>
                    </a:cubicBezTo>
                    <a:cubicBezTo>
                      <a:pt x="294545" y="147273"/>
                      <a:pt x="138068" y="156477"/>
                      <a:pt x="0" y="101250"/>
                    </a:cubicBezTo>
                    <a:cubicBezTo>
                      <a:pt x="3067" y="92045"/>
                      <a:pt x="6136" y="82841"/>
                      <a:pt x="9204" y="70568"/>
                    </a:cubicBezTo>
                    <a:cubicBezTo>
                      <a:pt x="135000" y="119659"/>
                      <a:pt x="279204" y="113523"/>
                      <a:pt x="414205" y="107386"/>
                    </a:cubicBezTo>
                    <a:cubicBezTo>
                      <a:pt x="555340" y="98182"/>
                      <a:pt x="699545" y="76705"/>
                      <a:pt x="819204" y="0"/>
                    </a:cubicBezTo>
                    <a:cubicBezTo>
                      <a:pt x="822272" y="12273"/>
                      <a:pt x="828409" y="21477"/>
                      <a:pt x="834545" y="27614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43FB3C25-0342-4DC8-B09A-B8F74220F1D2}"/>
                  </a:ext>
                </a:extLst>
              </p:cNvPr>
              <p:cNvSpPr/>
              <p:nvPr/>
            </p:nvSpPr>
            <p:spPr>
              <a:xfrm>
                <a:off x="16410213" y="4354418"/>
                <a:ext cx="1061591" cy="138920"/>
              </a:xfrm>
              <a:custGeom>
                <a:avLst/>
                <a:gdLst>
                  <a:gd name="connsiteX0" fmla="*/ 1061591 w 1061591"/>
                  <a:gd name="connsiteY0" fmla="*/ 24545 h 138920"/>
                  <a:gd name="connsiteX1" fmla="*/ 469431 w 1061591"/>
                  <a:gd name="connsiteY1" fmla="*/ 138068 h 138920"/>
                  <a:gd name="connsiteX2" fmla="*/ 0 w 1061591"/>
                  <a:gd name="connsiteY2" fmla="*/ 92045 h 138920"/>
                  <a:gd name="connsiteX3" fmla="*/ 0 w 1061591"/>
                  <a:gd name="connsiteY3" fmla="*/ 61364 h 138920"/>
                  <a:gd name="connsiteX4" fmla="*/ 469431 w 1061591"/>
                  <a:gd name="connsiteY4" fmla="*/ 110455 h 138920"/>
                  <a:gd name="connsiteX5" fmla="*/ 1049319 w 1061591"/>
                  <a:gd name="connsiteY5" fmla="*/ 0 h 138920"/>
                  <a:gd name="connsiteX6" fmla="*/ 1061591 w 1061591"/>
                  <a:gd name="connsiteY6" fmla="*/ 24545 h 138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61591" h="138920">
                    <a:moveTo>
                      <a:pt x="1061591" y="24545"/>
                    </a:moveTo>
                    <a:cubicBezTo>
                      <a:pt x="874432" y="101250"/>
                      <a:pt x="671932" y="135000"/>
                      <a:pt x="469431" y="138068"/>
                    </a:cubicBezTo>
                    <a:cubicBezTo>
                      <a:pt x="316022" y="141136"/>
                      <a:pt x="150341" y="138068"/>
                      <a:pt x="0" y="92045"/>
                    </a:cubicBezTo>
                    <a:cubicBezTo>
                      <a:pt x="0" y="79773"/>
                      <a:pt x="0" y="70568"/>
                      <a:pt x="0" y="61364"/>
                    </a:cubicBezTo>
                    <a:cubicBezTo>
                      <a:pt x="150341" y="107386"/>
                      <a:pt x="316022" y="110455"/>
                      <a:pt x="469431" y="110455"/>
                    </a:cubicBezTo>
                    <a:cubicBezTo>
                      <a:pt x="668863" y="107386"/>
                      <a:pt x="865228" y="73636"/>
                      <a:pt x="1049319" y="0"/>
                    </a:cubicBezTo>
                    <a:cubicBezTo>
                      <a:pt x="1052386" y="6136"/>
                      <a:pt x="1058523" y="15341"/>
                      <a:pt x="1061591" y="24545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75DC1CE8-ED34-4AF2-967B-C00FB9CD9E41}"/>
                  </a:ext>
                </a:extLst>
              </p:cNvPr>
              <p:cNvSpPr/>
              <p:nvPr/>
            </p:nvSpPr>
            <p:spPr>
              <a:xfrm>
                <a:off x="16358053" y="4777827"/>
                <a:ext cx="1264091" cy="152296"/>
              </a:xfrm>
              <a:custGeom>
                <a:avLst/>
                <a:gdLst>
                  <a:gd name="connsiteX0" fmla="*/ 1264091 w 1264091"/>
                  <a:gd name="connsiteY0" fmla="*/ 30682 h 152296"/>
                  <a:gd name="connsiteX1" fmla="*/ 665796 w 1264091"/>
                  <a:gd name="connsiteY1" fmla="*/ 150341 h 152296"/>
                  <a:gd name="connsiteX2" fmla="*/ 0 w 1264091"/>
                  <a:gd name="connsiteY2" fmla="*/ 61364 h 152296"/>
                  <a:gd name="connsiteX3" fmla="*/ 6137 w 1264091"/>
                  <a:gd name="connsiteY3" fmla="*/ 30682 h 152296"/>
                  <a:gd name="connsiteX4" fmla="*/ 635114 w 1264091"/>
                  <a:gd name="connsiteY4" fmla="*/ 119659 h 152296"/>
                  <a:gd name="connsiteX5" fmla="*/ 1251819 w 1264091"/>
                  <a:gd name="connsiteY5" fmla="*/ 0 h 152296"/>
                  <a:gd name="connsiteX6" fmla="*/ 1264091 w 1264091"/>
                  <a:gd name="connsiteY6" fmla="*/ 30682 h 152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64091" h="152296">
                    <a:moveTo>
                      <a:pt x="1264091" y="30682"/>
                    </a:moveTo>
                    <a:cubicBezTo>
                      <a:pt x="1083069" y="122727"/>
                      <a:pt x="871364" y="144205"/>
                      <a:pt x="665796" y="150341"/>
                    </a:cubicBezTo>
                    <a:cubicBezTo>
                      <a:pt x="438751" y="156477"/>
                      <a:pt x="205569" y="153409"/>
                      <a:pt x="0" y="61364"/>
                    </a:cubicBezTo>
                    <a:cubicBezTo>
                      <a:pt x="3068" y="52159"/>
                      <a:pt x="3068" y="39886"/>
                      <a:pt x="6137" y="30682"/>
                    </a:cubicBezTo>
                    <a:cubicBezTo>
                      <a:pt x="202500" y="116591"/>
                      <a:pt x="420341" y="125795"/>
                      <a:pt x="635114" y="119659"/>
                    </a:cubicBezTo>
                    <a:cubicBezTo>
                      <a:pt x="846818" y="113523"/>
                      <a:pt x="1064660" y="98182"/>
                      <a:pt x="1251819" y="0"/>
                    </a:cubicBezTo>
                    <a:cubicBezTo>
                      <a:pt x="1257955" y="12273"/>
                      <a:pt x="1261023" y="21477"/>
                      <a:pt x="1264091" y="30682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2EC953FB-97C3-4FED-8F39-B64A65EFFEBB}"/>
                  </a:ext>
                </a:extLst>
              </p:cNvPr>
              <p:cNvSpPr/>
              <p:nvPr/>
            </p:nvSpPr>
            <p:spPr>
              <a:xfrm>
                <a:off x="16262940" y="5133736"/>
                <a:ext cx="1534090" cy="204853"/>
              </a:xfrm>
              <a:custGeom>
                <a:avLst/>
                <a:gdLst>
                  <a:gd name="connsiteX0" fmla="*/ 1534091 w 1534090"/>
                  <a:gd name="connsiteY0" fmla="*/ 147273 h 204853"/>
                  <a:gd name="connsiteX1" fmla="*/ 1500341 w 1534090"/>
                  <a:gd name="connsiteY1" fmla="*/ 174887 h 204853"/>
                  <a:gd name="connsiteX2" fmla="*/ 742499 w 1534090"/>
                  <a:gd name="connsiteY2" fmla="*/ 184091 h 204853"/>
                  <a:gd name="connsiteX3" fmla="*/ 0 w 1534090"/>
                  <a:gd name="connsiteY3" fmla="*/ 27614 h 204853"/>
                  <a:gd name="connsiteX4" fmla="*/ 12273 w 1534090"/>
                  <a:gd name="connsiteY4" fmla="*/ 0 h 204853"/>
                  <a:gd name="connsiteX5" fmla="*/ 773181 w 1534090"/>
                  <a:gd name="connsiteY5" fmla="*/ 156477 h 204853"/>
                  <a:gd name="connsiteX6" fmla="*/ 1531023 w 1534090"/>
                  <a:gd name="connsiteY6" fmla="*/ 138068 h 204853"/>
                  <a:gd name="connsiteX7" fmla="*/ 1534091 w 1534090"/>
                  <a:gd name="connsiteY7" fmla="*/ 147273 h 204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4090" h="204853">
                    <a:moveTo>
                      <a:pt x="1534091" y="147273"/>
                    </a:moveTo>
                    <a:cubicBezTo>
                      <a:pt x="1521817" y="156477"/>
                      <a:pt x="1509545" y="165682"/>
                      <a:pt x="1500341" y="174887"/>
                    </a:cubicBezTo>
                    <a:cubicBezTo>
                      <a:pt x="1251818" y="214773"/>
                      <a:pt x="997159" y="211705"/>
                      <a:pt x="742499" y="184091"/>
                    </a:cubicBezTo>
                    <a:cubicBezTo>
                      <a:pt x="490909" y="156477"/>
                      <a:pt x="236249" y="119659"/>
                      <a:pt x="0" y="27614"/>
                    </a:cubicBezTo>
                    <a:cubicBezTo>
                      <a:pt x="3067" y="18409"/>
                      <a:pt x="6136" y="9205"/>
                      <a:pt x="12273" y="0"/>
                    </a:cubicBezTo>
                    <a:cubicBezTo>
                      <a:pt x="254659" y="95114"/>
                      <a:pt x="515454" y="128864"/>
                      <a:pt x="773181" y="156477"/>
                    </a:cubicBezTo>
                    <a:cubicBezTo>
                      <a:pt x="1030908" y="184091"/>
                      <a:pt x="1282500" y="184091"/>
                      <a:pt x="1531023" y="138068"/>
                    </a:cubicBezTo>
                    <a:cubicBezTo>
                      <a:pt x="1531023" y="141137"/>
                      <a:pt x="1531023" y="144205"/>
                      <a:pt x="1534091" y="147273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70A22C40-4BCC-4B49-9323-49981639DFA4}"/>
                </a:ext>
              </a:extLst>
            </p:cNvPr>
            <p:cNvSpPr/>
            <p:nvPr/>
          </p:nvSpPr>
          <p:spPr>
            <a:xfrm>
              <a:off x="16526803" y="3845099"/>
              <a:ext cx="687273" cy="65767"/>
            </a:xfrm>
            <a:custGeom>
              <a:avLst/>
              <a:gdLst>
                <a:gd name="connsiteX0" fmla="*/ 687273 w 687273"/>
                <a:gd name="connsiteY0" fmla="*/ 42955 h 65767"/>
                <a:gd name="connsiteX1" fmla="*/ 6137 w 687273"/>
                <a:gd name="connsiteY1" fmla="*/ 58296 h 65767"/>
                <a:gd name="connsiteX2" fmla="*/ 0 w 687273"/>
                <a:gd name="connsiteY2" fmla="*/ 12273 h 65767"/>
                <a:gd name="connsiteX3" fmla="*/ 681137 w 687273"/>
                <a:gd name="connsiteY3" fmla="*/ 0 h 65767"/>
                <a:gd name="connsiteX4" fmla="*/ 687273 w 687273"/>
                <a:gd name="connsiteY4" fmla="*/ 42955 h 65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7273" h="65767">
                  <a:moveTo>
                    <a:pt x="687273" y="42955"/>
                  </a:moveTo>
                  <a:cubicBezTo>
                    <a:pt x="500114" y="82841"/>
                    <a:pt x="6137" y="58296"/>
                    <a:pt x="6137" y="58296"/>
                  </a:cubicBezTo>
                  <a:lnTo>
                    <a:pt x="0" y="12273"/>
                  </a:lnTo>
                  <a:cubicBezTo>
                    <a:pt x="0" y="12273"/>
                    <a:pt x="414205" y="39886"/>
                    <a:pt x="681137" y="0"/>
                  </a:cubicBezTo>
                  <a:lnTo>
                    <a:pt x="687273" y="42955"/>
                  </a:ln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97E2E85D-4271-4DD9-980E-7EB8E970F94C}"/>
                </a:ext>
              </a:extLst>
            </p:cNvPr>
            <p:cNvSpPr/>
            <p:nvPr/>
          </p:nvSpPr>
          <p:spPr>
            <a:xfrm>
              <a:off x="17135879" y="3020472"/>
              <a:ext cx="670609" cy="999513"/>
            </a:xfrm>
            <a:custGeom>
              <a:avLst/>
              <a:gdLst>
                <a:gd name="connsiteX0" fmla="*/ 154902 w 670609"/>
                <a:gd name="connsiteY0" fmla="*/ 14627 h 999513"/>
                <a:gd name="connsiteX1" fmla="*/ 59788 w 670609"/>
                <a:gd name="connsiteY1" fmla="*/ 250877 h 999513"/>
                <a:gd name="connsiteX2" fmla="*/ 473993 w 670609"/>
                <a:gd name="connsiteY2" fmla="*/ 514741 h 999513"/>
                <a:gd name="connsiteX3" fmla="*/ 440243 w 670609"/>
                <a:gd name="connsiteY3" fmla="*/ 974968 h 999513"/>
                <a:gd name="connsiteX4" fmla="*/ 569107 w 670609"/>
                <a:gd name="connsiteY4" fmla="*/ 999514 h 999513"/>
                <a:gd name="connsiteX5" fmla="*/ 670356 w 670609"/>
                <a:gd name="connsiteY5" fmla="*/ 425764 h 999513"/>
                <a:gd name="connsiteX6" fmla="*/ 154902 w 670609"/>
                <a:gd name="connsiteY6" fmla="*/ 14627 h 999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0609" h="999513">
                  <a:moveTo>
                    <a:pt x="154902" y="14627"/>
                  </a:moveTo>
                  <a:cubicBezTo>
                    <a:pt x="-16916" y="-59009"/>
                    <a:pt x="-41462" y="164968"/>
                    <a:pt x="59788" y="250877"/>
                  </a:cubicBezTo>
                  <a:cubicBezTo>
                    <a:pt x="157970" y="336786"/>
                    <a:pt x="406493" y="465650"/>
                    <a:pt x="473993" y="514741"/>
                  </a:cubicBezTo>
                  <a:cubicBezTo>
                    <a:pt x="507743" y="603718"/>
                    <a:pt x="440243" y="974968"/>
                    <a:pt x="440243" y="974968"/>
                  </a:cubicBezTo>
                  <a:cubicBezTo>
                    <a:pt x="470925" y="981105"/>
                    <a:pt x="569107" y="999514"/>
                    <a:pt x="569107" y="999514"/>
                  </a:cubicBezTo>
                  <a:cubicBezTo>
                    <a:pt x="569107" y="999514"/>
                    <a:pt x="676493" y="560764"/>
                    <a:pt x="670356" y="425764"/>
                  </a:cubicBezTo>
                  <a:cubicBezTo>
                    <a:pt x="664220" y="358264"/>
                    <a:pt x="335925" y="91332"/>
                    <a:pt x="154902" y="14627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2DB87940-0063-482A-BB8A-69DBF8BE3F7F}"/>
                </a:ext>
              </a:extLst>
            </p:cNvPr>
            <p:cNvSpPr/>
            <p:nvPr/>
          </p:nvSpPr>
          <p:spPr>
            <a:xfrm>
              <a:off x="17054327" y="2965372"/>
              <a:ext cx="426680" cy="431772"/>
            </a:xfrm>
            <a:custGeom>
              <a:avLst/>
              <a:gdLst>
                <a:gd name="connsiteX0" fmla="*/ 426681 w 426680"/>
                <a:gd name="connsiteY0" fmla="*/ 121886 h 431772"/>
                <a:gd name="connsiteX1" fmla="*/ 30886 w 426680"/>
                <a:gd name="connsiteY1" fmla="*/ 23705 h 431772"/>
                <a:gd name="connsiteX2" fmla="*/ 208840 w 426680"/>
                <a:gd name="connsiteY2" fmla="*/ 431773 h 431772"/>
                <a:gd name="connsiteX3" fmla="*/ 426681 w 426680"/>
                <a:gd name="connsiteY3" fmla="*/ 121886 h 431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680" h="431772">
                  <a:moveTo>
                    <a:pt x="426681" y="121886"/>
                  </a:moveTo>
                  <a:cubicBezTo>
                    <a:pt x="288613" y="-841"/>
                    <a:pt x="95318" y="-25386"/>
                    <a:pt x="30886" y="23705"/>
                  </a:cubicBezTo>
                  <a:cubicBezTo>
                    <a:pt x="-51956" y="88137"/>
                    <a:pt x="40090" y="312114"/>
                    <a:pt x="208840" y="431773"/>
                  </a:cubicBezTo>
                  <a:cubicBezTo>
                    <a:pt x="282477" y="404159"/>
                    <a:pt x="386795" y="217000"/>
                    <a:pt x="426681" y="121886"/>
                  </a:cubicBezTo>
                  <a:close/>
                </a:path>
              </a:pathLst>
            </a:custGeom>
            <a:solidFill>
              <a:srgbClr val="F6EBE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1EB9CED2-605C-4C59-AA1D-4CFB8342E5BD}"/>
                </a:ext>
              </a:extLst>
            </p:cNvPr>
            <p:cNvSpPr/>
            <p:nvPr/>
          </p:nvSpPr>
          <p:spPr>
            <a:xfrm>
              <a:off x="17050426" y="2992912"/>
              <a:ext cx="325496" cy="410369"/>
            </a:xfrm>
            <a:custGeom>
              <a:avLst/>
              <a:gdLst>
                <a:gd name="connsiteX0" fmla="*/ 215809 w 325496"/>
                <a:gd name="connsiteY0" fmla="*/ 410369 h 410369"/>
                <a:gd name="connsiteX1" fmla="*/ 215809 w 325496"/>
                <a:gd name="connsiteY1" fmla="*/ 410369 h 410369"/>
                <a:gd name="connsiteX2" fmla="*/ 22514 w 325496"/>
                <a:gd name="connsiteY2" fmla="*/ 171051 h 410369"/>
                <a:gd name="connsiteX3" fmla="*/ 19446 w 325496"/>
                <a:gd name="connsiteY3" fmla="*/ 161847 h 410369"/>
                <a:gd name="connsiteX4" fmla="*/ 19446 w 325496"/>
                <a:gd name="connsiteY4" fmla="*/ 2301 h 410369"/>
                <a:gd name="connsiteX5" fmla="*/ 28650 w 325496"/>
                <a:gd name="connsiteY5" fmla="*/ 2301 h 410369"/>
                <a:gd name="connsiteX6" fmla="*/ 28650 w 325496"/>
                <a:gd name="connsiteY6" fmla="*/ 11506 h 410369"/>
                <a:gd name="connsiteX7" fmla="*/ 28650 w 325496"/>
                <a:gd name="connsiteY7" fmla="*/ 158778 h 410369"/>
                <a:gd name="connsiteX8" fmla="*/ 31718 w 325496"/>
                <a:gd name="connsiteY8" fmla="*/ 167983 h 410369"/>
                <a:gd name="connsiteX9" fmla="*/ 215809 w 325496"/>
                <a:gd name="connsiteY9" fmla="*/ 398097 h 410369"/>
                <a:gd name="connsiteX10" fmla="*/ 313991 w 325496"/>
                <a:gd name="connsiteY10" fmla="*/ 296847 h 410369"/>
                <a:gd name="connsiteX11" fmla="*/ 323196 w 325496"/>
                <a:gd name="connsiteY11" fmla="*/ 296847 h 410369"/>
                <a:gd name="connsiteX12" fmla="*/ 323196 w 325496"/>
                <a:gd name="connsiteY12" fmla="*/ 306051 h 410369"/>
                <a:gd name="connsiteX13" fmla="*/ 215809 w 325496"/>
                <a:gd name="connsiteY13" fmla="*/ 410369 h 410369"/>
                <a:gd name="connsiteX14" fmla="*/ 215809 w 325496"/>
                <a:gd name="connsiteY14" fmla="*/ 410369 h 410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5496" h="410369">
                  <a:moveTo>
                    <a:pt x="215809" y="410369"/>
                  </a:moveTo>
                  <a:lnTo>
                    <a:pt x="215809" y="410369"/>
                  </a:lnTo>
                  <a:cubicBezTo>
                    <a:pt x="185127" y="391960"/>
                    <a:pt x="56264" y="275369"/>
                    <a:pt x="22514" y="171051"/>
                  </a:cubicBezTo>
                  <a:cubicBezTo>
                    <a:pt x="22514" y="167983"/>
                    <a:pt x="19446" y="164915"/>
                    <a:pt x="19446" y="161847"/>
                  </a:cubicBezTo>
                  <a:cubicBezTo>
                    <a:pt x="7173" y="128097"/>
                    <a:pt x="-17373" y="57528"/>
                    <a:pt x="19446" y="2301"/>
                  </a:cubicBezTo>
                  <a:cubicBezTo>
                    <a:pt x="22514" y="-767"/>
                    <a:pt x="25582" y="-767"/>
                    <a:pt x="28650" y="2301"/>
                  </a:cubicBezTo>
                  <a:cubicBezTo>
                    <a:pt x="31718" y="5369"/>
                    <a:pt x="31718" y="8437"/>
                    <a:pt x="28650" y="11506"/>
                  </a:cubicBezTo>
                  <a:cubicBezTo>
                    <a:pt x="-5099" y="63665"/>
                    <a:pt x="16377" y="128097"/>
                    <a:pt x="28650" y="158778"/>
                  </a:cubicBezTo>
                  <a:cubicBezTo>
                    <a:pt x="28650" y="161847"/>
                    <a:pt x="31718" y="164915"/>
                    <a:pt x="31718" y="167983"/>
                  </a:cubicBezTo>
                  <a:cubicBezTo>
                    <a:pt x="65468" y="269233"/>
                    <a:pt x="188196" y="379687"/>
                    <a:pt x="215809" y="398097"/>
                  </a:cubicBezTo>
                  <a:cubicBezTo>
                    <a:pt x="240355" y="388892"/>
                    <a:pt x="271037" y="352074"/>
                    <a:pt x="313991" y="296847"/>
                  </a:cubicBezTo>
                  <a:cubicBezTo>
                    <a:pt x="317060" y="293778"/>
                    <a:pt x="320127" y="293778"/>
                    <a:pt x="323196" y="296847"/>
                  </a:cubicBezTo>
                  <a:cubicBezTo>
                    <a:pt x="326264" y="299915"/>
                    <a:pt x="326264" y="302983"/>
                    <a:pt x="323196" y="306051"/>
                  </a:cubicBezTo>
                  <a:cubicBezTo>
                    <a:pt x="277173" y="361278"/>
                    <a:pt x="243423" y="398097"/>
                    <a:pt x="215809" y="410369"/>
                  </a:cubicBezTo>
                  <a:lnTo>
                    <a:pt x="215809" y="410369"/>
                  </a:ln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4" name="图形 1">
              <a:extLst>
                <a:ext uri="{FF2B5EF4-FFF2-40B4-BE49-F238E27FC236}">
                  <a16:creationId xmlns:a16="http://schemas.microsoft.com/office/drawing/2014/main" id="{F976BED5-B785-4149-9586-1340D7096372}"/>
                </a:ext>
              </a:extLst>
            </p:cNvPr>
            <p:cNvGrpSpPr/>
            <p:nvPr/>
          </p:nvGrpSpPr>
          <p:grpSpPr>
            <a:xfrm>
              <a:off x="10672713" y="3035099"/>
              <a:ext cx="1138295" cy="1156279"/>
              <a:chOff x="10672713" y="3035099"/>
              <a:chExt cx="1138295" cy="1156279"/>
            </a:xfrm>
          </p:grpSpPr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51E2C385-B146-48E3-8071-C19659B92AF6}"/>
                  </a:ext>
                </a:extLst>
              </p:cNvPr>
              <p:cNvSpPr/>
              <p:nvPr/>
            </p:nvSpPr>
            <p:spPr>
              <a:xfrm>
                <a:off x="10727940" y="3035099"/>
                <a:ext cx="1083068" cy="1049318"/>
              </a:xfrm>
              <a:custGeom>
                <a:avLst/>
                <a:gdLst>
                  <a:gd name="connsiteX0" fmla="*/ 1083069 w 1083068"/>
                  <a:gd name="connsiteY0" fmla="*/ 371250 h 1049318"/>
                  <a:gd name="connsiteX1" fmla="*/ 1027841 w 1083068"/>
                  <a:gd name="connsiteY1" fmla="*/ 478636 h 1049318"/>
                  <a:gd name="connsiteX2" fmla="*/ 343637 w 1083068"/>
                  <a:gd name="connsiteY2" fmla="*/ 1049318 h 1049318"/>
                  <a:gd name="connsiteX3" fmla="*/ 0 w 1083068"/>
                  <a:gd name="connsiteY3" fmla="*/ 678068 h 1049318"/>
                  <a:gd name="connsiteX4" fmla="*/ 739432 w 1083068"/>
                  <a:gd name="connsiteY4" fmla="*/ 0 h 104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068" h="1049318">
                    <a:moveTo>
                      <a:pt x="1083069" y="371250"/>
                    </a:moveTo>
                    <a:lnTo>
                      <a:pt x="1027841" y="478636"/>
                    </a:lnTo>
                    <a:lnTo>
                      <a:pt x="343637" y="1049318"/>
                    </a:lnTo>
                    <a:lnTo>
                      <a:pt x="0" y="678068"/>
                    </a:lnTo>
                    <a:lnTo>
                      <a:pt x="739432" y="0"/>
                    </a:lnTo>
                    <a:close/>
                  </a:path>
                </a:pathLst>
              </a:custGeom>
              <a:solidFill>
                <a:srgbClr val="C6554F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4526DC29-96FE-490F-AA2C-3A3C7338BEBB}"/>
                  </a:ext>
                </a:extLst>
              </p:cNvPr>
              <p:cNvSpPr/>
              <p:nvPr/>
            </p:nvSpPr>
            <p:spPr>
              <a:xfrm rot="-2554597">
                <a:off x="10712776" y="3412429"/>
                <a:ext cx="1003331" cy="506268"/>
              </a:xfrm>
              <a:custGeom>
                <a:avLst/>
                <a:gdLst>
                  <a:gd name="connsiteX0" fmla="*/ 0 w 1003331"/>
                  <a:gd name="connsiteY0" fmla="*/ 0 h 506268"/>
                  <a:gd name="connsiteX1" fmla="*/ 1003332 w 1003331"/>
                  <a:gd name="connsiteY1" fmla="*/ 0 h 506268"/>
                  <a:gd name="connsiteX2" fmla="*/ 1003332 w 1003331"/>
                  <a:gd name="connsiteY2" fmla="*/ 506268 h 506268"/>
                  <a:gd name="connsiteX3" fmla="*/ 0 w 1003331"/>
                  <a:gd name="connsiteY3" fmla="*/ 506268 h 506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3331" h="506268">
                    <a:moveTo>
                      <a:pt x="0" y="0"/>
                    </a:moveTo>
                    <a:lnTo>
                      <a:pt x="1003332" y="0"/>
                    </a:lnTo>
                    <a:lnTo>
                      <a:pt x="1003332" y="506268"/>
                    </a:lnTo>
                    <a:lnTo>
                      <a:pt x="0" y="506268"/>
                    </a:lnTo>
                    <a:close/>
                  </a:path>
                </a:pathLst>
              </a:custGeom>
              <a:solidFill>
                <a:srgbClr val="D16156"/>
              </a:solidFill>
              <a:ln w="306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A8EE9ACF-43D3-4616-AA6A-C10CA9B3147B}"/>
                  </a:ext>
                </a:extLst>
              </p:cNvPr>
              <p:cNvSpPr/>
              <p:nvPr/>
            </p:nvSpPr>
            <p:spPr>
              <a:xfrm>
                <a:off x="10672713" y="3035099"/>
                <a:ext cx="794658" cy="782386"/>
              </a:xfrm>
              <a:custGeom>
                <a:avLst/>
                <a:gdLst>
                  <a:gd name="connsiteX0" fmla="*/ 0 w 794658"/>
                  <a:gd name="connsiteY0" fmla="*/ 782387 h 782386"/>
                  <a:gd name="connsiteX1" fmla="*/ 55227 w 794658"/>
                  <a:gd name="connsiteY1" fmla="*/ 678068 h 782386"/>
                  <a:gd name="connsiteX2" fmla="*/ 794659 w 794658"/>
                  <a:gd name="connsiteY2" fmla="*/ 0 h 782386"/>
                  <a:gd name="connsiteX3" fmla="*/ 739432 w 794658"/>
                  <a:gd name="connsiteY3" fmla="*/ 104318 h 782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4658" h="782386">
                    <a:moveTo>
                      <a:pt x="0" y="782387"/>
                    </a:moveTo>
                    <a:lnTo>
                      <a:pt x="55227" y="678068"/>
                    </a:lnTo>
                    <a:lnTo>
                      <a:pt x="794659" y="0"/>
                    </a:lnTo>
                    <a:lnTo>
                      <a:pt x="739432" y="104318"/>
                    </a:lnTo>
                    <a:close/>
                  </a:path>
                </a:pathLst>
              </a:custGeom>
              <a:solidFill>
                <a:srgbClr val="E07670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C64A5B8F-3484-4F3B-85D1-5076B7FC56B3}"/>
                </a:ext>
              </a:extLst>
            </p:cNvPr>
            <p:cNvSpPr/>
            <p:nvPr/>
          </p:nvSpPr>
          <p:spPr>
            <a:xfrm>
              <a:off x="10651235" y="3007486"/>
              <a:ext cx="883636" cy="813068"/>
            </a:xfrm>
            <a:custGeom>
              <a:avLst/>
              <a:gdLst>
                <a:gd name="connsiteX0" fmla="*/ 291477 w 883636"/>
                <a:gd name="connsiteY0" fmla="*/ 0 h 813068"/>
                <a:gd name="connsiteX1" fmla="*/ 349773 w 883636"/>
                <a:gd name="connsiteY1" fmla="*/ 592159 h 813068"/>
                <a:gd name="connsiteX2" fmla="*/ 883637 w 883636"/>
                <a:gd name="connsiteY2" fmla="*/ 632045 h 813068"/>
                <a:gd name="connsiteX3" fmla="*/ 837614 w 883636"/>
                <a:gd name="connsiteY3" fmla="*/ 788523 h 813068"/>
                <a:gd name="connsiteX4" fmla="*/ 156477 w 883636"/>
                <a:gd name="connsiteY4" fmla="*/ 788523 h 813068"/>
                <a:gd name="connsiteX5" fmla="*/ 0 w 883636"/>
                <a:gd name="connsiteY5" fmla="*/ 46023 h 813068"/>
                <a:gd name="connsiteX6" fmla="*/ 291477 w 883636"/>
                <a:gd name="connsiteY6" fmla="*/ 0 h 81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636" h="813068">
                  <a:moveTo>
                    <a:pt x="291477" y="0"/>
                  </a:moveTo>
                  <a:lnTo>
                    <a:pt x="349773" y="592159"/>
                  </a:lnTo>
                  <a:lnTo>
                    <a:pt x="883637" y="632045"/>
                  </a:lnTo>
                  <a:lnTo>
                    <a:pt x="837614" y="788523"/>
                  </a:lnTo>
                  <a:cubicBezTo>
                    <a:pt x="837614" y="788523"/>
                    <a:pt x="273069" y="843750"/>
                    <a:pt x="156477" y="788523"/>
                  </a:cubicBezTo>
                  <a:cubicBezTo>
                    <a:pt x="39887" y="736364"/>
                    <a:pt x="0" y="46023"/>
                    <a:pt x="0" y="46023"/>
                  </a:cubicBezTo>
                  <a:lnTo>
                    <a:pt x="291477" y="0"/>
                  </a:ln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A3CAFD53-B81B-4E9F-876E-479DA07191F2}"/>
                </a:ext>
              </a:extLst>
            </p:cNvPr>
            <p:cNvSpPr/>
            <p:nvPr/>
          </p:nvSpPr>
          <p:spPr>
            <a:xfrm>
              <a:off x="10918167" y="2982940"/>
              <a:ext cx="88977" cy="650454"/>
            </a:xfrm>
            <a:custGeom>
              <a:avLst/>
              <a:gdLst>
                <a:gd name="connsiteX0" fmla="*/ 39886 w 88977"/>
                <a:gd name="connsiteY0" fmla="*/ 650455 h 650454"/>
                <a:gd name="connsiteX1" fmla="*/ 33750 w 88977"/>
                <a:gd name="connsiteY1" fmla="*/ 647386 h 650454"/>
                <a:gd name="connsiteX2" fmla="*/ 36819 w 88977"/>
                <a:gd name="connsiteY2" fmla="*/ 641250 h 650454"/>
                <a:gd name="connsiteX3" fmla="*/ 76705 w 88977"/>
                <a:gd name="connsiteY3" fmla="*/ 616705 h 650454"/>
                <a:gd name="connsiteX4" fmla="*/ 0 w 88977"/>
                <a:gd name="connsiteY4" fmla="*/ 6136 h 650454"/>
                <a:gd name="connsiteX5" fmla="*/ 6137 w 88977"/>
                <a:gd name="connsiteY5" fmla="*/ 0 h 650454"/>
                <a:gd name="connsiteX6" fmla="*/ 12273 w 88977"/>
                <a:gd name="connsiteY6" fmla="*/ 6136 h 650454"/>
                <a:gd name="connsiteX7" fmla="*/ 88977 w 88977"/>
                <a:gd name="connsiteY7" fmla="*/ 619773 h 650454"/>
                <a:gd name="connsiteX8" fmla="*/ 85909 w 88977"/>
                <a:gd name="connsiteY8" fmla="*/ 625909 h 650454"/>
                <a:gd name="connsiteX9" fmla="*/ 39886 w 88977"/>
                <a:gd name="connsiteY9" fmla="*/ 650455 h 650454"/>
                <a:gd name="connsiteX10" fmla="*/ 39886 w 88977"/>
                <a:gd name="connsiteY10" fmla="*/ 650455 h 65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8977" h="650454">
                  <a:moveTo>
                    <a:pt x="39886" y="650455"/>
                  </a:moveTo>
                  <a:cubicBezTo>
                    <a:pt x="36819" y="650455"/>
                    <a:pt x="36819" y="650455"/>
                    <a:pt x="33750" y="647386"/>
                  </a:cubicBezTo>
                  <a:cubicBezTo>
                    <a:pt x="33750" y="644318"/>
                    <a:pt x="33750" y="641250"/>
                    <a:pt x="36819" y="641250"/>
                  </a:cubicBezTo>
                  <a:cubicBezTo>
                    <a:pt x="52159" y="635114"/>
                    <a:pt x="70568" y="619773"/>
                    <a:pt x="76705" y="616705"/>
                  </a:cubicBezTo>
                  <a:cubicBezTo>
                    <a:pt x="67500" y="503182"/>
                    <a:pt x="3068" y="12273"/>
                    <a:pt x="0" y="6136"/>
                  </a:cubicBezTo>
                  <a:cubicBezTo>
                    <a:pt x="0" y="3068"/>
                    <a:pt x="3068" y="0"/>
                    <a:pt x="6137" y="0"/>
                  </a:cubicBezTo>
                  <a:cubicBezTo>
                    <a:pt x="9204" y="0"/>
                    <a:pt x="12273" y="3068"/>
                    <a:pt x="12273" y="6136"/>
                  </a:cubicBezTo>
                  <a:cubicBezTo>
                    <a:pt x="12273" y="12273"/>
                    <a:pt x="79773" y="512386"/>
                    <a:pt x="88977" y="619773"/>
                  </a:cubicBezTo>
                  <a:cubicBezTo>
                    <a:pt x="88977" y="622841"/>
                    <a:pt x="88977" y="622841"/>
                    <a:pt x="85909" y="625909"/>
                  </a:cubicBezTo>
                  <a:cubicBezTo>
                    <a:pt x="85909" y="622841"/>
                    <a:pt x="61364" y="644318"/>
                    <a:pt x="39886" y="650455"/>
                  </a:cubicBezTo>
                  <a:cubicBezTo>
                    <a:pt x="39886" y="650455"/>
                    <a:pt x="39886" y="650455"/>
                    <a:pt x="39886" y="650455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1195DD05-8905-47DE-A8BF-0E8C12C807FB}"/>
                </a:ext>
              </a:extLst>
            </p:cNvPr>
            <p:cNvSpPr/>
            <p:nvPr/>
          </p:nvSpPr>
          <p:spPr>
            <a:xfrm>
              <a:off x="10611916" y="2565027"/>
              <a:ext cx="425910" cy="597992"/>
            </a:xfrm>
            <a:custGeom>
              <a:avLst/>
              <a:gdLst>
                <a:gd name="connsiteX0" fmla="*/ 5570 w 425910"/>
                <a:gd name="connsiteY0" fmla="*/ 589731 h 597992"/>
                <a:gd name="connsiteX1" fmla="*/ 149774 w 425910"/>
                <a:gd name="connsiteY1" fmla="*/ 3708 h 597992"/>
                <a:gd name="connsiteX2" fmla="*/ 425910 w 425910"/>
                <a:gd name="connsiteY2" fmla="*/ 528368 h 597992"/>
                <a:gd name="connsiteX3" fmla="*/ 5570 w 425910"/>
                <a:gd name="connsiteY3" fmla="*/ 589731 h 597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910" h="597992">
                  <a:moveTo>
                    <a:pt x="5570" y="589731"/>
                  </a:moveTo>
                  <a:cubicBezTo>
                    <a:pt x="5570" y="589731"/>
                    <a:pt x="-43521" y="68140"/>
                    <a:pt x="149774" y="3708"/>
                  </a:cubicBezTo>
                  <a:cubicBezTo>
                    <a:pt x="312388" y="-51519"/>
                    <a:pt x="425910" y="528368"/>
                    <a:pt x="425910" y="528368"/>
                  </a:cubicBezTo>
                  <a:cubicBezTo>
                    <a:pt x="425910" y="528368"/>
                    <a:pt x="217274" y="626549"/>
                    <a:pt x="5570" y="589731"/>
                  </a:cubicBezTo>
                  <a:close/>
                </a:path>
              </a:pathLst>
            </a:custGeom>
            <a:solidFill>
              <a:srgbClr val="F6EBE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0A438E5D-407B-4CF8-B827-F9734F95D6B3}"/>
                </a:ext>
              </a:extLst>
            </p:cNvPr>
            <p:cNvSpPr/>
            <p:nvPr/>
          </p:nvSpPr>
          <p:spPr>
            <a:xfrm>
              <a:off x="10752486" y="2562599"/>
              <a:ext cx="285340" cy="582954"/>
            </a:xfrm>
            <a:custGeom>
              <a:avLst/>
              <a:gdLst>
                <a:gd name="connsiteX0" fmla="*/ 156477 w 285340"/>
                <a:gd name="connsiteY0" fmla="*/ 582955 h 582954"/>
                <a:gd name="connsiteX1" fmla="*/ 150341 w 285340"/>
                <a:gd name="connsiteY1" fmla="*/ 579886 h 582954"/>
                <a:gd name="connsiteX2" fmla="*/ 153409 w 285340"/>
                <a:gd name="connsiteY2" fmla="*/ 573750 h 582954"/>
                <a:gd name="connsiteX3" fmla="*/ 276136 w 285340"/>
                <a:gd name="connsiteY3" fmla="*/ 530796 h 582954"/>
                <a:gd name="connsiteX4" fmla="*/ 174886 w 285340"/>
                <a:gd name="connsiteY4" fmla="*/ 187159 h 582954"/>
                <a:gd name="connsiteX5" fmla="*/ 6136 w 285340"/>
                <a:gd name="connsiteY5" fmla="*/ 12273 h 582954"/>
                <a:gd name="connsiteX6" fmla="*/ 0 w 285340"/>
                <a:gd name="connsiteY6" fmla="*/ 6136 h 582954"/>
                <a:gd name="connsiteX7" fmla="*/ 6136 w 285340"/>
                <a:gd name="connsiteY7" fmla="*/ 0 h 582954"/>
                <a:gd name="connsiteX8" fmla="*/ 6136 w 285340"/>
                <a:gd name="connsiteY8" fmla="*/ 0 h 582954"/>
                <a:gd name="connsiteX9" fmla="*/ 184091 w 285340"/>
                <a:gd name="connsiteY9" fmla="*/ 181023 h 582954"/>
                <a:gd name="connsiteX10" fmla="*/ 285341 w 285340"/>
                <a:gd name="connsiteY10" fmla="*/ 530796 h 582954"/>
                <a:gd name="connsiteX11" fmla="*/ 285341 w 285340"/>
                <a:gd name="connsiteY11" fmla="*/ 533864 h 582954"/>
                <a:gd name="connsiteX12" fmla="*/ 282272 w 285340"/>
                <a:gd name="connsiteY12" fmla="*/ 536932 h 582954"/>
                <a:gd name="connsiteX13" fmla="*/ 156477 w 285340"/>
                <a:gd name="connsiteY13" fmla="*/ 582955 h 582954"/>
                <a:gd name="connsiteX14" fmla="*/ 156477 w 285340"/>
                <a:gd name="connsiteY14" fmla="*/ 582955 h 58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5340" h="582954">
                  <a:moveTo>
                    <a:pt x="156477" y="582955"/>
                  </a:moveTo>
                  <a:cubicBezTo>
                    <a:pt x="153409" y="582955"/>
                    <a:pt x="150341" y="579886"/>
                    <a:pt x="150341" y="579886"/>
                  </a:cubicBezTo>
                  <a:cubicBezTo>
                    <a:pt x="150341" y="576818"/>
                    <a:pt x="150341" y="573750"/>
                    <a:pt x="153409" y="573750"/>
                  </a:cubicBezTo>
                  <a:cubicBezTo>
                    <a:pt x="208636" y="564545"/>
                    <a:pt x="263864" y="536932"/>
                    <a:pt x="276136" y="530796"/>
                  </a:cubicBezTo>
                  <a:cubicBezTo>
                    <a:pt x="270000" y="503182"/>
                    <a:pt x="230114" y="346705"/>
                    <a:pt x="174886" y="187159"/>
                  </a:cubicBezTo>
                  <a:cubicBezTo>
                    <a:pt x="116591" y="18409"/>
                    <a:pt x="6136" y="12273"/>
                    <a:pt x="6136" y="12273"/>
                  </a:cubicBezTo>
                  <a:cubicBezTo>
                    <a:pt x="3068" y="12273"/>
                    <a:pt x="0" y="9205"/>
                    <a:pt x="0" y="6136"/>
                  </a:cubicBezTo>
                  <a:cubicBezTo>
                    <a:pt x="0" y="3068"/>
                    <a:pt x="3068" y="0"/>
                    <a:pt x="6136" y="0"/>
                  </a:cubicBezTo>
                  <a:cubicBezTo>
                    <a:pt x="6136" y="0"/>
                    <a:pt x="6136" y="0"/>
                    <a:pt x="6136" y="0"/>
                  </a:cubicBezTo>
                  <a:cubicBezTo>
                    <a:pt x="12273" y="0"/>
                    <a:pt x="125796" y="3068"/>
                    <a:pt x="184091" y="181023"/>
                  </a:cubicBezTo>
                  <a:cubicBezTo>
                    <a:pt x="242386" y="355909"/>
                    <a:pt x="285341" y="527727"/>
                    <a:pt x="285341" y="530796"/>
                  </a:cubicBezTo>
                  <a:lnTo>
                    <a:pt x="285341" y="533864"/>
                  </a:lnTo>
                  <a:lnTo>
                    <a:pt x="282272" y="536932"/>
                  </a:lnTo>
                  <a:cubicBezTo>
                    <a:pt x="288409" y="536932"/>
                    <a:pt x="220909" y="570682"/>
                    <a:pt x="156477" y="582955"/>
                  </a:cubicBezTo>
                  <a:cubicBezTo>
                    <a:pt x="156477" y="582955"/>
                    <a:pt x="156477" y="582955"/>
                    <a:pt x="156477" y="582955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6F498F5F-FA6A-4178-808D-DD757CA7EC78}"/>
                </a:ext>
              </a:extLst>
            </p:cNvPr>
            <p:cNvSpPr/>
            <p:nvPr/>
          </p:nvSpPr>
          <p:spPr>
            <a:xfrm>
              <a:off x="11411796" y="3645668"/>
              <a:ext cx="206013" cy="200640"/>
            </a:xfrm>
            <a:custGeom>
              <a:avLst/>
              <a:gdLst>
                <a:gd name="connsiteX0" fmla="*/ 205917 w 206013"/>
                <a:gd name="connsiteY0" fmla="*/ 58295 h 200640"/>
                <a:gd name="connsiteX1" fmla="*/ 80122 w 206013"/>
                <a:gd name="connsiteY1" fmla="*/ 0 h 200640"/>
                <a:gd name="connsiteX2" fmla="*/ 349 w 206013"/>
                <a:gd name="connsiteY2" fmla="*/ 116591 h 200640"/>
                <a:gd name="connsiteX3" fmla="*/ 67848 w 206013"/>
                <a:gd name="connsiteY3" fmla="*/ 196364 h 200640"/>
                <a:gd name="connsiteX4" fmla="*/ 110804 w 206013"/>
                <a:gd name="connsiteY4" fmla="*/ 193295 h 200640"/>
                <a:gd name="connsiteX5" fmla="*/ 126145 w 206013"/>
                <a:gd name="connsiteY5" fmla="*/ 174886 h 200640"/>
                <a:gd name="connsiteX6" fmla="*/ 144553 w 206013"/>
                <a:gd name="connsiteY6" fmla="*/ 162614 h 200640"/>
                <a:gd name="connsiteX7" fmla="*/ 150690 w 206013"/>
                <a:gd name="connsiteY7" fmla="*/ 147273 h 200640"/>
                <a:gd name="connsiteX8" fmla="*/ 169099 w 206013"/>
                <a:gd name="connsiteY8" fmla="*/ 128864 h 200640"/>
                <a:gd name="connsiteX9" fmla="*/ 181372 w 206013"/>
                <a:gd name="connsiteY9" fmla="*/ 113523 h 200640"/>
                <a:gd name="connsiteX10" fmla="*/ 184440 w 206013"/>
                <a:gd name="connsiteY10" fmla="*/ 95114 h 200640"/>
                <a:gd name="connsiteX11" fmla="*/ 205917 w 206013"/>
                <a:gd name="connsiteY11" fmla="*/ 58295 h 200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013" h="200640">
                  <a:moveTo>
                    <a:pt x="205917" y="58295"/>
                  </a:moveTo>
                  <a:cubicBezTo>
                    <a:pt x="208985" y="33750"/>
                    <a:pt x="138417" y="6136"/>
                    <a:pt x="80122" y="0"/>
                  </a:cubicBezTo>
                  <a:cubicBezTo>
                    <a:pt x="70917" y="0"/>
                    <a:pt x="-5788" y="95114"/>
                    <a:pt x="349" y="116591"/>
                  </a:cubicBezTo>
                  <a:cubicBezTo>
                    <a:pt x="6485" y="147273"/>
                    <a:pt x="55576" y="193295"/>
                    <a:pt x="67848" y="196364"/>
                  </a:cubicBezTo>
                  <a:cubicBezTo>
                    <a:pt x="86258" y="202500"/>
                    <a:pt x="95463" y="202500"/>
                    <a:pt x="110804" y="193295"/>
                  </a:cubicBezTo>
                  <a:cubicBezTo>
                    <a:pt x="126145" y="184091"/>
                    <a:pt x="116940" y="184091"/>
                    <a:pt x="126145" y="174886"/>
                  </a:cubicBezTo>
                  <a:cubicBezTo>
                    <a:pt x="132280" y="168750"/>
                    <a:pt x="138417" y="171818"/>
                    <a:pt x="144553" y="162614"/>
                  </a:cubicBezTo>
                  <a:cubicBezTo>
                    <a:pt x="147621" y="156477"/>
                    <a:pt x="147621" y="153409"/>
                    <a:pt x="150690" y="147273"/>
                  </a:cubicBezTo>
                  <a:cubicBezTo>
                    <a:pt x="159894" y="131932"/>
                    <a:pt x="150690" y="138068"/>
                    <a:pt x="169099" y="128864"/>
                  </a:cubicBezTo>
                  <a:cubicBezTo>
                    <a:pt x="175235" y="125796"/>
                    <a:pt x="178303" y="119659"/>
                    <a:pt x="181372" y="113523"/>
                  </a:cubicBezTo>
                  <a:cubicBezTo>
                    <a:pt x="184440" y="107386"/>
                    <a:pt x="184440" y="101250"/>
                    <a:pt x="184440" y="95114"/>
                  </a:cubicBezTo>
                  <a:cubicBezTo>
                    <a:pt x="196712" y="88977"/>
                    <a:pt x="205917" y="76704"/>
                    <a:pt x="205917" y="58295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1BA4559E-F060-4E6F-AF86-F18DF33234C7}"/>
                </a:ext>
              </a:extLst>
            </p:cNvPr>
            <p:cNvSpPr/>
            <p:nvPr/>
          </p:nvSpPr>
          <p:spPr>
            <a:xfrm>
              <a:off x="11477602" y="3605487"/>
              <a:ext cx="183064" cy="76998"/>
            </a:xfrm>
            <a:custGeom>
              <a:avLst/>
              <a:gdLst>
                <a:gd name="connsiteX0" fmla="*/ 179997 w 183064"/>
                <a:gd name="connsiteY0" fmla="*/ 40180 h 76998"/>
                <a:gd name="connsiteX1" fmla="*/ 112496 w 183064"/>
                <a:gd name="connsiteY1" fmla="*/ 294 h 76998"/>
                <a:gd name="connsiteX2" fmla="*/ 2042 w 183064"/>
                <a:gd name="connsiteY2" fmla="*/ 37112 h 76998"/>
                <a:gd name="connsiteX3" fmla="*/ 23519 w 183064"/>
                <a:gd name="connsiteY3" fmla="*/ 64726 h 76998"/>
                <a:gd name="connsiteX4" fmla="*/ 35792 w 183064"/>
                <a:gd name="connsiteY4" fmla="*/ 76998 h 76998"/>
                <a:gd name="connsiteX5" fmla="*/ 72610 w 183064"/>
                <a:gd name="connsiteY5" fmla="*/ 73930 h 76998"/>
                <a:gd name="connsiteX6" fmla="*/ 109428 w 183064"/>
                <a:gd name="connsiteY6" fmla="*/ 58589 h 76998"/>
                <a:gd name="connsiteX7" fmla="*/ 137042 w 183064"/>
                <a:gd name="connsiteY7" fmla="*/ 67794 h 76998"/>
                <a:gd name="connsiteX8" fmla="*/ 170792 w 183064"/>
                <a:gd name="connsiteY8" fmla="*/ 67794 h 76998"/>
                <a:gd name="connsiteX9" fmla="*/ 179997 w 183064"/>
                <a:gd name="connsiteY9" fmla="*/ 40180 h 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064" h="76998">
                  <a:moveTo>
                    <a:pt x="179997" y="40180"/>
                  </a:moveTo>
                  <a:cubicBezTo>
                    <a:pt x="161588" y="18703"/>
                    <a:pt x="143178" y="-2774"/>
                    <a:pt x="112496" y="294"/>
                  </a:cubicBezTo>
                  <a:cubicBezTo>
                    <a:pt x="81815" y="3362"/>
                    <a:pt x="29656" y="15635"/>
                    <a:pt x="2042" y="37112"/>
                  </a:cubicBezTo>
                  <a:cubicBezTo>
                    <a:pt x="-7162" y="46317"/>
                    <a:pt x="17383" y="58589"/>
                    <a:pt x="23519" y="64726"/>
                  </a:cubicBezTo>
                  <a:cubicBezTo>
                    <a:pt x="26588" y="70862"/>
                    <a:pt x="29656" y="76998"/>
                    <a:pt x="35792" y="76998"/>
                  </a:cubicBezTo>
                  <a:cubicBezTo>
                    <a:pt x="48064" y="76998"/>
                    <a:pt x="60338" y="76998"/>
                    <a:pt x="72610" y="73930"/>
                  </a:cubicBezTo>
                  <a:cubicBezTo>
                    <a:pt x="84883" y="70862"/>
                    <a:pt x="97156" y="58589"/>
                    <a:pt x="109428" y="58589"/>
                  </a:cubicBezTo>
                  <a:cubicBezTo>
                    <a:pt x="118633" y="58589"/>
                    <a:pt x="127837" y="64726"/>
                    <a:pt x="137042" y="67794"/>
                  </a:cubicBezTo>
                  <a:cubicBezTo>
                    <a:pt x="149315" y="70862"/>
                    <a:pt x="158519" y="70862"/>
                    <a:pt x="170792" y="67794"/>
                  </a:cubicBezTo>
                  <a:cubicBezTo>
                    <a:pt x="183065" y="61658"/>
                    <a:pt x="186133" y="49385"/>
                    <a:pt x="179997" y="40180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358F1FE1-4155-4C82-BE70-B81320AD7977}"/>
                </a:ext>
              </a:extLst>
            </p:cNvPr>
            <p:cNvSpPr/>
            <p:nvPr/>
          </p:nvSpPr>
          <p:spPr>
            <a:xfrm>
              <a:off x="11415213" y="3647465"/>
              <a:ext cx="210170" cy="203770"/>
            </a:xfrm>
            <a:custGeom>
              <a:avLst/>
              <a:gdLst>
                <a:gd name="connsiteX0" fmla="*/ 82840 w 210170"/>
                <a:gd name="connsiteY0" fmla="*/ 203771 h 203770"/>
                <a:gd name="connsiteX1" fmla="*/ 61364 w 210170"/>
                <a:gd name="connsiteY1" fmla="*/ 197634 h 203770"/>
                <a:gd name="connsiteX2" fmla="*/ 0 w 210170"/>
                <a:gd name="connsiteY2" fmla="*/ 133203 h 203770"/>
                <a:gd name="connsiteX3" fmla="*/ 3067 w 210170"/>
                <a:gd name="connsiteY3" fmla="*/ 127066 h 203770"/>
                <a:gd name="connsiteX4" fmla="*/ 9204 w 210170"/>
                <a:gd name="connsiteY4" fmla="*/ 130135 h 203770"/>
                <a:gd name="connsiteX5" fmla="*/ 64431 w 210170"/>
                <a:gd name="connsiteY5" fmla="*/ 188430 h 203770"/>
                <a:gd name="connsiteX6" fmla="*/ 116591 w 210170"/>
                <a:gd name="connsiteY6" fmla="*/ 173089 h 203770"/>
                <a:gd name="connsiteX7" fmla="*/ 122727 w 210170"/>
                <a:gd name="connsiteY7" fmla="*/ 170021 h 203770"/>
                <a:gd name="connsiteX8" fmla="*/ 141136 w 210170"/>
                <a:gd name="connsiteY8" fmla="*/ 163884 h 203770"/>
                <a:gd name="connsiteX9" fmla="*/ 147272 w 210170"/>
                <a:gd name="connsiteY9" fmla="*/ 142407 h 203770"/>
                <a:gd name="connsiteX10" fmla="*/ 150341 w 210170"/>
                <a:gd name="connsiteY10" fmla="*/ 136271 h 203770"/>
                <a:gd name="connsiteX11" fmla="*/ 174886 w 210170"/>
                <a:gd name="connsiteY11" fmla="*/ 117862 h 203770"/>
                <a:gd name="connsiteX12" fmla="*/ 174886 w 210170"/>
                <a:gd name="connsiteY12" fmla="*/ 99453 h 203770"/>
                <a:gd name="connsiteX13" fmla="*/ 174886 w 210170"/>
                <a:gd name="connsiteY13" fmla="*/ 93316 h 203770"/>
                <a:gd name="connsiteX14" fmla="*/ 177954 w 210170"/>
                <a:gd name="connsiteY14" fmla="*/ 90248 h 203770"/>
                <a:gd name="connsiteX15" fmla="*/ 193295 w 210170"/>
                <a:gd name="connsiteY15" fmla="*/ 77976 h 203770"/>
                <a:gd name="connsiteX16" fmla="*/ 193295 w 210170"/>
                <a:gd name="connsiteY16" fmla="*/ 50362 h 203770"/>
                <a:gd name="connsiteX17" fmla="*/ 113522 w 210170"/>
                <a:gd name="connsiteY17" fmla="*/ 10475 h 203770"/>
                <a:gd name="connsiteX18" fmla="*/ 110454 w 210170"/>
                <a:gd name="connsiteY18" fmla="*/ 4339 h 203770"/>
                <a:gd name="connsiteX19" fmla="*/ 116591 w 210170"/>
                <a:gd name="connsiteY19" fmla="*/ 1271 h 203770"/>
                <a:gd name="connsiteX20" fmla="*/ 205568 w 210170"/>
                <a:gd name="connsiteY20" fmla="*/ 47294 h 203770"/>
                <a:gd name="connsiteX21" fmla="*/ 205568 w 210170"/>
                <a:gd name="connsiteY21" fmla="*/ 87180 h 203770"/>
                <a:gd name="connsiteX22" fmla="*/ 187158 w 210170"/>
                <a:gd name="connsiteY22" fmla="*/ 105589 h 203770"/>
                <a:gd name="connsiteX23" fmla="*/ 184091 w 210170"/>
                <a:gd name="connsiteY23" fmla="*/ 127066 h 203770"/>
                <a:gd name="connsiteX24" fmla="*/ 156477 w 210170"/>
                <a:gd name="connsiteY24" fmla="*/ 148544 h 203770"/>
                <a:gd name="connsiteX25" fmla="*/ 147272 w 210170"/>
                <a:gd name="connsiteY25" fmla="*/ 176157 h 203770"/>
                <a:gd name="connsiteX26" fmla="*/ 122727 w 210170"/>
                <a:gd name="connsiteY26" fmla="*/ 185362 h 203770"/>
                <a:gd name="connsiteX27" fmla="*/ 82840 w 210170"/>
                <a:gd name="connsiteY27" fmla="*/ 203771 h 203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0170" h="203770">
                  <a:moveTo>
                    <a:pt x="82840" y="203771"/>
                  </a:moveTo>
                  <a:cubicBezTo>
                    <a:pt x="76705" y="203771"/>
                    <a:pt x="67499" y="200703"/>
                    <a:pt x="61364" y="197634"/>
                  </a:cubicBezTo>
                  <a:cubicBezTo>
                    <a:pt x="24545" y="179225"/>
                    <a:pt x="0" y="136271"/>
                    <a:pt x="0" y="133203"/>
                  </a:cubicBezTo>
                  <a:cubicBezTo>
                    <a:pt x="0" y="130135"/>
                    <a:pt x="0" y="127066"/>
                    <a:pt x="3067" y="127066"/>
                  </a:cubicBezTo>
                  <a:cubicBezTo>
                    <a:pt x="6136" y="127066"/>
                    <a:pt x="9204" y="127066"/>
                    <a:pt x="9204" y="130135"/>
                  </a:cubicBezTo>
                  <a:cubicBezTo>
                    <a:pt x="9204" y="130135"/>
                    <a:pt x="30682" y="173089"/>
                    <a:pt x="64431" y="188430"/>
                  </a:cubicBezTo>
                  <a:cubicBezTo>
                    <a:pt x="95113" y="203771"/>
                    <a:pt x="113522" y="173089"/>
                    <a:pt x="116591" y="173089"/>
                  </a:cubicBezTo>
                  <a:cubicBezTo>
                    <a:pt x="116591" y="170021"/>
                    <a:pt x="119659" y="170021"/>
                    <a:pt x="122727" y="170021"/>
                  </a:cubicBezTo>
                  <a:cubicBezTo>
                    <a:pt x="131931" y="170021"/>
                    <a:pt x="138068" y="166953"/>
                    <a:pt x="141136" y="163884"/>
                  </a:cubicBezTo>
                  <a:cubicBezTo>
                    <a:pt x="147272" y="154680"/>
                    <a:pt x="147272" y="142407"/>
                    <a:pt x="147272" y="142407"/>
                  </a:cubicBezTo>
                  <a:cubicBezTo>
                    <a:pt x="147272" y="139339"/>
                    <a:pt x="147272" y="136271"/>
                    <a:pt x="150341" y="136271"/>
                  </a:cubicBezTo>
                  <a:cubicBezTo>
                    <a:pt x="162613" y="133203"/>
                    <a:pt x="171817" y="127066"/>
                    <a:pt x="174886" y="117862"/>
                  </a:cubicBezTo>
                  <a:cubicBezTo>
                    <a:pt x="177954" y="108657"/>
                    <a:pt x="174886" y="99453"/>
                    <a:pt x="174886" y="99453"/>
                  </a:cubicBezTo>
                  <a:cubicBezTo>
                    <a:pt x="174886" y="96385"/>
                    <a:pt x="174886" y="96385"/>
                    <a:pt x="174886" y="93316"/>
                  </a:cubicBezTo>
                  <a:cubicBezTo>
                    <a:pt x="174886" y="93316"/>
                    <a:pt x="177954" y="90248"/>
                    <a:pt x="177954" y="90248"/>
                  </a:cubicBezTo>
                  <a:cubicBezTo>
                    <a:pt x="184091" y="90248"/>
                    <a:pt x="190227" y="84112"/>
                    <a:pt x="193295" y="77976"/>
                  </a:cubicBezTo>
                  <a:cubicBezTo>
                    <a:pt x="199432" y="68771"/>
                    <a:pt x="199432" y="56498"/>
                    <a:pt x="193295" y="50362"/>
                  </a:cubicBezTo>
                  <a:cubicBezTo>
                    <a:pt x="187158" y="38089"/>
                    <a:pt x="141136" y="19680"/>
                    <a:pt x="113522" y="10475"/>
                  </a:cubicBezTo>
                  <a:cubicBezTo>
                    <a:pt x="110454" y="10475"/>
                    <a:pt x="107386" y="7407"/>
                    <a:pt x="110454" y="4339"/>
                  </a:cubicBezTo>
                  <a:cubicBezTo>
                    <a:pt x="110454" y="1271"/>
                    <a:pt x="113522" y="-1797"/>
                    <a:pt x="116591" y="1271"/>
                  </a:cubicBezTo>
                  <a:cubicBezTo>
                    <a:pt x="125795" y="4339"/>
                    <a:pt x="193295" y="25816"/>
                    <a:pt x="205568" y="47294"/>
                  </a:cubicBezTo>
                  <a:cubicBezTo>
                    <a:pt x="211704" y="59566"/>
                    <a:pt x="211704" y="71839"/>
                    <a:pt x="205568" y="87180"/>
                  </a:cubicBezTo>
                  <a:cubicBezTo>
                    <a:pt x="202499" y="96385"/>
                    <a:pt x="193295" y="102521"/>
                    <a:pt x="187158" y="105589"/>
                  </a:cubicBezTo>
                  <a:cubicBezTo>
                    <a:pt x="187158" y="111725"/>
                    <a:pt x="187158" y="117862"/>
                    <a:pt x="184091" y="127066"/>
                  </a:cubicBezTo>
                  <a:cubicBezTo>
                    <a:pt x="181023" y="136271"/>
                    <a:pt x="171817" y="145475"/>
                    <a:pt x="156477" y="148544"/>
                  </a:cubicBezTo>
                  <a:cubicBezTo>
                    <a:pt x="156477" y="154680"/>
                    <a:pt x="156477" y="166953"/>
                    <a:pt x="147272" y="176157"/>
                  </a:cubicBezTo>
                  <a:cubicBezTo>
                    <a:pt x="141136" y="182294"/>
                    <a:pt x="135000" y="185362"/>
                    <a:pt x="122727" y="185362"/>
                  </a:cubicBezTo>
                  <a:cubicBezTo>
                    <a:pt x="119659" y="191498"/>
                    <a:pt x="104318" y="203771"/>
                    <a:pt x="82840" y="203771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8677340A-4916-47DC-BDE4-E637894ABD04}"/>
                </a:ext>
              </a:extLst>
            </p:cNvPr>
            <p:cNvSpPr/>
            <p:nvPr/>
          </p:nvSpPr>
          <p:spPr>
            <a:xfrm>
              <a:off x="12587258" y="3302031"/>
              <a:ext cx="282273" cy="249187"/>
            </a:xfrm>
            <a:custGeom>
              <a:avLst/>
              <a:gdLst>
                <a:gd name="connsiteX0" fmla="*/ 236250 w 282273"/>
                <a:gd name="connsiteY0" fmla="*/ 181023 h 249187"/>
                <a:gd name="connsiteX1" fmla="*/ 266932 w 282273"/>
                <a:gd name="connsiteY1" fmla="*/ 135000 h 249187"/>
                <a:gd name="connsiteX2" fmla="*/ 282273 w 282273"/>
                <a:gd name="connsiteY2" fmla="*/ 101250 h 249187"/>
                <a:gd name="connsiteX3" fmla="*/ 263864 w 282273"/>
                <a:gd name="connsiteY3" fmla="*/ 49091 h 249187"/>
                <a:gd name="connsiteX4" fmla="*/ 251591 w 282273"/>
                <a:gd name="connsiteY4" fmla="*/ 0 h 249187"/>
                <a:gd name="connsiteX5" fmla="*/ 0 w 282273"/>
                <a:gd name="connsiteY5" fmla="*/ 113523 h 249187"/>
                <a:gd name="connsiteX6" fmla="*/ 64432 w 282273"/>
                <a:gd name="connsiteY6" fmla="*/ 242386 h 249187"/>
                <a:gd name="connsiteX7" fmla="*/ 199432 w 282273"/>
                <a:gd name="connsiteY7" fmla="*/ 208636 h 249187"/>
                <a:gd name="connsiteX8" fmla="*/ 236250 w 282273"/>
                <a:gd name="connsiteY8" fmla="*/ 181023 h 249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2273" h="249187">
                  <a:moveTo>
                    <a:pt x="236250" y="181023"/>
                  </a:moveTo>
                  <a:cubicBezTo>
                    <a:pt x="236250" y="171818"/>
                    <a:pt x="260795" y="153409"/>
                    <a:pt x="266932" y="135000"/>
                  </a:cubicBezTo>
                  <a:cubicBezTo>
                    <a:pt x="266932" y="131932"/>
                    <a:pt x="282273" y="113523"/>
                    <a:pt x="282273" y="101250"/>
                  </a:cubicBezTo>
                  <a:cubicBezTo>
                    <a:pt x="282273" y="88977"/>
                    <a:pt x="245455" y="58296"/>
                    <a:pt x="263864" y="49091"/>
                  </a:cubicBezTo>
                  <a:cubicBezTo>
                    <a:pt x="276136" y="42955"/>
                    <a:pt x="263864" y="0"/>
                    <a:pt x="251591" y="0"/>
                  </a:cubicBezTo>
                  <a:cubicBezTo>
                    <a:pt x="184091" y="6136"/>
                    <a:pt x="9205" y="27614"/>
                    <a:pt x="0" y="113523"/>
                  </a:cubicBezTo>
                  <a:cubicBezTo>
                    <a:pt x="0" y="113523"/>
                    <a:pt x="33750" y="223977"/>
                    <a:pt x="64432" y="242386"/>
                  </a:cubicBezTo>
                  <a:cubicBezTo>
                    <a:pt x="107386" y="266932"/>
                    <a:pt x="156477" y="217841"/>
                    <a:pt x="199432" y="208636"/>
                  </a:cubicBezTo>
                  <a:cubicBezTo>
                    <a:pt x="227045" y="202500"/>
                    <a:pt x="236250" y="199432"/>
                    <a:pt x="236250" y="181023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3" name="图形 1">
              <a:extLst>
                <a:ext uri="{FF2B5EF4-FFF2-40B4-BE49-F238E27FC236}">
                  <a16:creationId xmlns:a16="http://schemas.microsoft.com/office/drawing/2014/main" id="{7D888BD3-E31F-4CE5-9162-91810C9DC2FE}"/>
                </a:ext>
              </a:extLst>
            </p:cNvPr>
            <p:cNvGrpSpPr/>
            <p:nvPr/>
          </p:nvGrpSpPr>
          <p:grpSpPr>
            <a:xfrm>
              <a:off x="12535099" y="3295470"/>
              <a:ext cx="1417499" cy="1528379"/>
              <a:chOff x="12535099" y="3295470"/>
              <a:chExt cx="1417499" cy="1528379"/>
            </a:xfrm>
          </p:grpSpPr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F58DD54A-72F8-49D1-A639-197EFC391E31}"/>
                  </a:ext>
                </a:extLst>
              </p:cNvPr>
              <p:cNvSpPr/>
              <p:nvPr/>
            </p:nvSpPr>
            <p:spPr>
              <a:xfrm>
                <a:off x="12748845" y="3295470"/>
                <a:ext cx="390685" cy="518947"/>
              </a:xfrm>
              <a:custGeom>
                <a:avLst/>
                <a:gdLst>
                  <a:gd name="connsiteX0" fmla="*/ 16368 w 390685"/>
                  <a:gd name="connsiteY0" fmla="*/ 518947 h 518947"/>
                  <a:gd name="connsiteX1" fmla="*/ 10231 w 390685"/>
                  <a:gd name="connsiteY1" fmla="*/ 512811 h 518947"/>
                  <a:gd name="connsiteX2" fmla="*/ 93073 w 390685"/>
                  <a:gd name="connsiteY2" fmla="*/ 9629 h 518947"/>
                  <a:gd name="connsiteX3" fmla="*/ 172845 w 390685"/>
                  <a:gd name="connsiteY3" fmla="*/ 6561 h 518947"/>
                  <a:gd name="connsiteX4" fmla="*/ 390686 w 390685"/>
                  <a:gd name="connsiteY4" fmla="*/ 322584 h 518947"/>
                  <a:gd name="connsiteX5" fmla="*/ 387617 w 390685"/>
                  <a:gd name="connsiteY5" fmla="*/ 328720 h 518947"/>
                  <a:gd name="connsiteX6" fmla="*/ 381482 w 390685"/>
                  <a:gd name="connsiteY6" fmla="*/ 325652 h 518947"/>
                  <a:gd name="connsiteX7" fmla="*/ 169777 w 390685"/>
                  <a:gd name="connsiteY7" fmla="*/ 15766 h 518947"/>
                  <a:gd name="connsiteX8" fmla="*/ 99208 w 390685"/>
                  <a:gd name="connsiteY8" fmla="*/ 18834 h 518947"/>
                  <a:gd name="connsiteX9" fmla="*/ 22504 w 390685"/>
                  <a:gd name="connsiteY9" fmla="*/ 509743 h 518947"/>
                  <a:gd name="connsiteX10" fmla="*/ 16368 w 390685"/>
                  <a:gd name="connsiteY10" fmla="*/ 518947 h 518947"/>
                  <a:gd name="connsiteX11" fmla="*/ 16368 w 390685"/>
                  <a:gd name="connsiteY11" fmla="*/ 518947 h 518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0685" h="518947">
                    <a:moveTo>
                      <a:pt x="16368" y="518947"/>
                    </a:moveTo>
                    <a:cubicBezTo>
                      <a:pt x="13300" y="518947"/>
                      <a:pt x="10231" y="515879"/>
                      <a:pt x="10231" y="512811"/>
                    </a:cubicBezTo>
                    <a:cubicBezTo>
                      <a:pt x="7163" y="494402"/>
                      <a:pt x="-38860" y="74061"/>
                      <a:pt x="93073" y="9629"/>
                    </a:cubicBezTo>
                    <a:cubicBezTo>
                      <a:pt x="117618" y="-2643"/>
                      <a:pt x="145231" y="-2643"/>
                      <a:pt x="172845" y="6561"/>
                    </a:cubicBezTo>
                    <a:cubicBezTo>
                      <a:pt x="292504" y="55652"/>
                      <a:pt x="387617" y="310311"/>
                      <a:pt x="390686" y="322584"/>
                    </a:cubicBezTo>
                    <a:cubicBezTo>
                      <a:pt x="390686" y="325652"/>
                      <a:pt x="390686" y="328720"/>
                      <a:pt x="387617" y="328720"/>
                    </a:cubicBezTo>
                    <a:cubicBezTo>
                      <a:pt x="384550" y="328720"/>
                      <a:pt x="381482" y="328720"/>
                      <a:pt x="381482" y="325652"/>
                    </a:cubicBezTo>
                    <a:cubicBezTo>
                      <a:pt x="381482" y="322584"/>
                      <a:pt x="283299" y="61788"/>
                      <a:pt x="169777" y="15766"/>
                    </a:cubicBezTo>
                    <a:cubicBezTo>
                      <a:pt x="145231" y="6561"/>
                      <a:pt x="120686" y="6561"/>
                      <a:pt x="99208" y="18834"/>
                    </a:cubicBezTo>
                    <a:cubicBezTo>
                      <a:pt x="-23519" y="80198"/>
                      <a:pt x="22504" y="506675"/>
                      <a:pt x="22504" y="509743"/>
                    </a:cubicBezTo>
                    <a:cubicBezTo>
                      <a:pt x="22504" y="515879"/>
                      <a:pt x="22504" y="518947"/>
                      <a:pt x="16368" y="518947"/>
                    </a:cubicBezTo>
                    <a:cubicBezTo>
                      <a:pt x="19436" y="518947"/>
                      <a:pt x="19436" y="518947"/>
                      <a:pt x="16368" y="51894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07" name="图形 1">
                <a:extLst>
                  <a:ext uri="{FF2B5EF4-FFF2-40B4-BE49-F238E27FC236}">
                    <a16:creationId xmlns:a16="http://schemas.microsoft.com/office/drawing/2014/main" id="{6942CFA5-BD21-4EF9-9890-745A3530A3E0}"/>
                  </a:ext>
                </a:extLst>
              </p:cNvPr>
              <p:cNvGrpSpPr/>
              <p:nvPr/>
            </p:nvGrpSpPr>
            <p:grpSpPr>
              <a:xfrm>
                <a:off x="12535099" y="3415554"/>
                <a:ext cx="1417499" cy="1408295"/>
                <a:chOff x="12535099" y="3415554"/>
                <a:chExt cx="1417499" cy="1408295"/>
              </a:xfrm>
            </p:grpSpPr>
            <p:sp>
              <p:nvSpPr>
                <p:cNvPr id="111" name="任意多边形: 形状 110">
                  <a:extLst>
                    <a:ext uri="{FF2B5EF4-FFF2-40B4-BE49-F238E27FC236}">
                      <a16:creationId xmlns:a16="http://schemas.microsoft.com/office/drawing/2014/main" id="{4499E2D7-C7FA-4414-9891-234E31FB554C}"/>
                    </a:ext>
                  </a:extLst>
                </p:cNvPr>
                <p:cNvSpPr/>
                <p:nvPr/>
              </p:nvSpPr>
              <p:spPr>
                <a:xfrm>
                  <a:off x="12648622" y="3415554"/>
                  <a:ext cx="1303977" cy="1408295"/>
                </a:xfrm>
                <a:custGeom>
                  <a:avLst/>
                  <a:gdLst>
                    <a:gd name="connsiteX0" fmla="*/ 0 w 1303977"/>
                    <a:gd name="connsiteY0" fmla="*/ 358977 h 1408295"/>
                    <a:gd name="connsiteX1" fmla="*/ 414205 w 1303977"/>
                    <a:gd name="connsiteY1" fmla="*/ 1408295 h 1408295"/>
                    <a:gd name="connsiteX2" fmla="*/ 1303977 w 1303977"/>
                    <a:gd name="connsiteY2" fmla="*/ 929659 h 1408295"/>
                    <a:gd name="connsiteX3" fmla="*/ 733295 w 1303977"/>
                    <a:gd name="connsiteY3" fmla="*/ 0 h 14082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03977" h="1408295">
                      <a:moveTo>
                        <a:pt x="0" y="358977"/>
                      </a:moveTo>
                      <a:lnTo>
                        <a:pt x="414205" y="1408295"/>
                      </a:lnTo>
                      <a:lnTo>
                        <a:pt x="1303977" y="929659"/>
                      </a:lnTo>
                      <a:lnTo>
                        <a:pt x="733295" y="0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3A48E48B-EDE6-46D5-86AF-614BFE032A59}"/>
                    </a:ext>
                  </a:extLst>
                </p:cNvPr>
                <p:cNvSpPr/>
                <p:nvPr/>
              </p:nvSpPr>
              <p:spPr>
                <a:xfrm>
                  <a:off x="12535099" y="3415554"/>
                  <a:ext cx="846817" cy="398863"/>
                </a:xfrm>
                <a:custGeom>
                  <a:avLst/>
                  <a:gdLst>
                    <a:gd name="connsiteX0" fmla="*/ 846817 w 846817"/>
                    <a:gd name="connsiteY0" fmla="*/ 0 h 398863"/>
                    <a:gd name="connsiteX1" fmla="*/ 656591 w 846817"/>
                    <a:gd name="connsiteY1" fmla="*/ 67500 h 398863"/>
                    <a:gd name="connsiteX2" fmla="*/ 0 w 846817"/>
                    <a:gd name="connsiteY2" fmla="*/ 398864 h 398863"/>
                    <a:gd name="connsiteX3" fmla="*/ 113522 w 846817"/>
                    <a:gd name="connsiteY3" fmla="*/ 358977 h 398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46817" h="398863">
                      <a:moveTo>
                        <a:pt x="846817" y="0"/>
                      </a:moveTo>
                      <a:lnTo>
                        <a:pt x="656591" y="67500"/>
                      </a:lnTo>
                      <a:lnTo>
                        <a:pt x="0" y="398864"/>
                      </a:lnTo>
                      <a:lnTo>
                        <a:pt x="113522" y="358977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" name="任意多边形: 形状 112">
                  <a:extLst>
                    <a:ext uri="{FF2B5EF4-FFF2-40B4-BE49-F238E27FC236}">
                      <a16:creationId xmlns:a16="http://schemas.microsoft.com/office/drawing/2014/main" id="{6B7C1DEA-8859-4C86-8E41-136A56838055}"/>
                    </a:ext>
                  </a:extLst>
                </p:cNvPr>
                <p:cNvSpPr/>
                <p:nvPr/>
              </p:nvSpPr>
              <p:spPr>
                <a:xfrm>
                  <a:off x="12535099" y="3774531"/>
                  <a:ext cx="527726" cy="1049318"/>
                </a:xfrm>
                <a:custGeom>
                  <a:avLst/>
                  <a:gdLst>
                    <a:gd name="connsiteX0" fmla="*/ 346704 w 527726"/>
                    <a:gd name="connsiteY0" fmla="*/ 1024773 h 1049318"/>
                    <a:gd name="connsiteX1" fmla="*/ 527727 w 527726"/>
                    <a:gd name="connsiteY1" fmla="*/ 1049318 h 1049318"/>
                    <a:gd name="connsiteX2" fmla="*/ 113522 w 527726"/>
                    <a:gd name="connsiteY2" fmla="*/ 0 h 1049318"/>
                    <a:gd name="connsiteX3" fmla="*/ 0 w 527726"/>
                    <a:gd name="connsiteY3" fmla="*/ 39886 h 1049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27726" h="1049318">
                      <a:moveTo>
                        <a:pt x="346704" y="1024773"/>
                      </a:moveTo>
                      <a:lnTo>
                        <a:pt x="527727" y="1049318"/>
                      </a:lnTo>
                      <a:lnTo>
                        <a:pt x="113522" y="0"/>
                      </a:lnTo>
                      <a:lnTo>
                        <a:pt x="0" y="39886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B65E9E4F-F817-4C1B-BE90-3B415F508444}"/>
                  </a:ext>
                </a:extLst>
              </p:cNvPr>
              <p:cNvSpPr/>
              <p:nvPr/>
            </p:nvSpPr>
            <p:spPr>
              <a:xfrm>
                <a:off x="12780192" y="3296840"/>
                <a:ext cx="437313" cy="480759"/>
              </a:xfrm>
              <a:custGeom>
                <a:avLst/>
                <a:gdLst>
                  <a:gd name="connsiteX0" fmla="*/ 61725 w 437313"/>
                  <a:gd name="connsiteY0" fmla="*/ 480760 h 480759"/>
                  <a:gd name="connsiteX1" fmla="*/ 55589 w 437313"/>
                  <a:gd name="connsiteY1" fmla="*/ 477692 h 480759"/>
                  <a:gd name="connsiteX2" fmla="*/ 61725 w 437313"/>
                  <a:gd name="connsiteY2" fmla="*/ 11328 h 480759"/>
                  <a:gd name="connsiteX3" fmla="*/ 436043 w 437313"/>
                  <a:gd name="connsiteY3" fmla="*/ 284396 h 480759"/>
                  <a:gd name="connsiteX4" fmla="*/ 432975 w 437313"/>
                  <a:gd name="connsiteY4" fmla="*/ 293601 h 480759"/>
                  <a:gd name="connsiteX5" fmla="*/ 423770 w 437313"/>
                  <a:gd name="connsiteY5" fmla="*/ 290533 h 480759"/>
                  <a:gd name="connsiteX6" fmla="*/ 64793 w 437313"/>
                  <a:gd name="connsiteY6" fmla="*/ 20533 h 480759"/>
                  <a:gd name="connsiteX7" fmla="*/ 64793 w 437313"/>
                  <a:gd name="connsiteY7" fmla="*/ 474624 h 480759"/>
                  <a:gd name="connsiteX8" fmla="*/ 61725 w 437313"/>
                  <a:gd name="connsiteY8" fmla="*/ 480760 h 480759"/>
                  <a:gd name="connsiteX9" fmla="*/ 61725 w 437313"/>
                  <a:gd name="connsiteY9" fmla="*/ 480760 h 480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7313" h="480759">
                    <a:moveTo>
                      <a:pt x="61725" y="480760"/>
                    </a:moveTo>
                    <a:cubicBezTo>
                      <a:pt x="58657" y="480760"/>
                      <a:pt x="55589" y="480760"/>
                      <a:pt x="55589" y="477692"/>
                    </a:cubicBezTo>
                    <a:cubicBezTo>
                      <a:pt x="49452" y="462351"/>
                      <a:pt x="-70207" y="75760"/>
                      <a:pt x="61725" y="11328"/>
                    </a:cubicBezTo>
                    <a:cubicBezTo>
                      <a:pt x="215134" y="-65376"/>
                      <a:pt x="426839" y="272124"/>
                      <a:pt x="436043" y="284396"/>
                    </a:cubicBezTo>
                    <a:cubicBezTo>
                      <a:pt x="439111" y="287465"/>
                      <a:pt x="436043" y="290533"/>
                      <a:pt x="432975" y="293601"/>
                    </a:cubicBezTo>
                    <a:cubicBezTo>
                      <a:pt x="429907" y="296669"/>
                      <a:pt x="426839" y="293601"/>
                      <a:pt x="423770" y="290533"/>
                    </a:cubicBezTo>
                    <a:cubicBezTo>
                      <a:pt x="420702" y="287465"/>
                      <a:pt x="208998" y="-50035"/>
                      <a:pt x="64793" y="20533"/>
                    </a:cubicBezTo>
                    <a:cubicBezTo>
                      <a:pt x="-57935" y="81896"/>
                      <a:pt x="64793" y="468487"/>
                      <a:pt x="64793" y="474624"/>
                    </a:cubicBezTo>
                    <a:cubicBezTo>
                      <a:pt x="70929" y="477692"/>
                      <a:pt x="67861" y="480760"/>
                      <a:pt x="61725" y="480760"/>
                    </a:cubicBezTo>
                    <a:cubicBezTo>
                      <a:pt x="64793" y="480760"/>
                      <a:pt x="64793" y="480760"/>
                      <a:pt x="61725" y="48076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0E20C320-A2F6-4E2B-8230-805987A5BEB5}"/>
                  </a:ext>
                </a:extLst>
              </p:cNvPr>
              <p:cNvSpPr/>
              <p:nvPr/>
            </p:nvSpPr>
            <p:spPr>
              <a:xfrm>
                <a:off x="12811952" y="3737109"/>
                <a:ext cx="62998" cy="65036"/>
              </a:xfrm>
              <a:custGeom>
                <a:avLst/>
                <a:gdLst>
                  <a:gd name="connsiteX0" fmla="*/ 29966 w 62998"/>
                  <a:gd name="connsiteY0" fmla="*/ 65036 h 65036"/>
                  <a:gd name="connsiteX1" fmla="*/ 2351 w 62998"/>
                  <a:gd name="connsiteY1" fmla="*/ 46627 h 65036"/>
                  <a:gd name="connsiteX2" fmla="*/ 17692 w 62998"/>
                  <a:gd name="connsiteY2" fmla="*/ 3672 h 65036"/>
                  <a:gd name="connsiteX3" fmla="*/ 60647 w 62998"/>
                  <a:gd name="connsiteY3" fmla="*/ 19013 h 65036"/>
                  <a:gd name="connsiteX4" fmla="*/ 60647 w 62998"/>
                  <a:gd name="connsiteY4" fmla="*/ 19013 h 65036"/>
                  <a:gd name="connsiteX5" fmla="*/ 45307 w 62998"/>
                  <a:gd name="connsiteY5" fmla="*/ 61968 h 65036"/>
                  <a:gd name="connsiteX6" fmla="*/ 29966 w 62998"/>
                  <a:gd name="connsiteY6" fmla="*/ 65036 h 65036"/>
                  <a:gd name="connsiteX7" fmla="*/ 29966 w 62998"/>
                  <a:gd name="connsiteY7" fmla="*/ 15945 h 65036"/>
                  <a:gd name="connsiteX8" fmla="*/ 20761 w 62998"/>
                  <a:gd name="connsiteY8" fmla="*/ 19013 h 65036"/>
                  <a:gd name="connsiteX9" fmla="*/ 11556 w 62998"/>
                  <a:gd name="connsiteY9" fmla="*/ 46627 h 65036"/>
                  <a:gd name="connsiteX10" fmla="*/ 39170 w 62998"/>
                  <a:gd name="connsiteY10" fmla="*/ 55831 h 65036"/>
                  <a:gd name="connsiteX11" fmla="*/ 48374 w 62998"/>
                  <a:gd name="connsiteY11" fmla="*/ 28218 h 65036"/>
                  <a:gd name="connsiteX12" fmla="*/ 29966 w 62998"/>
                  <a:gd name="connsiteY12" fmla="*/ 15945 h 65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2998" h="65036">
                    <a:moveTo>
                      <a:pt x="29966" y="65036"/>
                    </a:moveTo>
                    <a:cubicBezTo>
                      <a:pt x="17692" y="65036"/>
                      <a:pt x="8488" y="58900"/>
                      <a:pt x="2351" y="46627"/>
                    </a:cubicBezTo>
                    <a:cubicBezTo>
                      <a:pt x="-3785" y="31286"/>
                      <a:pt x="2351" y="12877"/>
                      <a:pt x="17692" y="3672"/>
                    </a:cubicBezTo>
                    <a:cubicBezTo>
                      <a:pt x="33033" y="-5532"/>
                      <a:pt x="51442" y="3672"/>
                      <a:pt x="60647" y="19013"/>
                    </a:cubicBezTo>
                    <a:lnTo>
                      <a:pt x="60647" y="19013"/>
                    </a:lnTo>
                    <a:cubicBezTo>
                      <a:pt x="66783" y="34354"/>
                      <a:pt x="60647" y="52763"/>
                      <a:pt x="45307" y="61968"/>
                    </a:cubicBezTo>
                    <a:cubicBezTo>
                      <a:pt x="42238" y="65036"/>
                      <a:pt x="36101" y="65036"/>
                      <a:pt x="29966" y="65036"/>
                    </a:cubicBezTo>
                    <a:close/>
                    <a:moveTo>
                      <a:pt x="29966" y="15945"/>
                    </a:moveTo>
                    <a:cubicBezTo>
                      <a:pt x="26897" y="15945"/>
                      <a:pt x="23829" y="15945"/>
                      <a:pt x="20761" y="19013"/>
                    </a:cubicBezTo>
                    <a:cubicBezTo>
                      <a:pt x="11556" y="25150"/>
                      <a:pt x="5420" y="34354"/>
                      <a:pt x="11556" y="46627"/>
                    </a:cubicBezTo>
                    <a:cubicBezTo>
                      <a:pt x="17692" y="55831"/>
                      <a:pt x="29966" y="61968"/>
                      <a:pt x="39170" y="55831"/>
                    </a:cubicBezTo>
                    <a:cubicBezTo>
                      <a:pt x="48374" y="49695"/>
                      <a:pt x="54511" y="40491"/>
                      <a:pt x="48374" y="28218"/>
                    </a:cubicBezTo>
                    <a:cubicBezTo>
                      <a:pt x="45307" y="19013"/>
                      <a:pt x="39170" y="15945"/>
                      <a:pt x="29966" y="1594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9453EB7D-B88A-4B6E-836C-FFA83C5481E8}"/>
                  </a:ext>
                </a:extLst>
              </p:cNvPr>
              <p:cNvSpPr/>
              <p:nvPr/>
            </p:nvSpPr>
            <p:spPr>
              <a:xfrm>
                <a:off x="13182485" y="3553622"/>
                <a:ext cx="61363" cy="64431"/>
              </a:xfrm>
              <a:custGeom>
                <a:avLst/>
                <a:gdLst>
                  <a:gd name="connsiteX0" fmla="*/ 30682 w 61363"/>
                  <a:gd name="connsiteY0" fmla="*/ 64432 h 64431"/>
                  <a:gd name="connsiteX1" fmla="*/ 21478 w 61363"/>
                  <a:gd name="connsiteY1" fmla="*/ 61364 h 64431"/>
                  <a:gd name="connsiteX2" fmla="*/ 3068 w 61363"/>
                  <a:gd name="connsiteY2" fmla="*/ 46023 h 64431"/>
                  <a:gd name="connsiteX3" fmla="*/ 0 w 61363"/>
                  <a:gd name="connsiteY3" fmla="*/ 21477 h 64431"/>
                  <a:gd name="connsiteX4" fmla="*/ 15341 w 61363"/>
                  <a:gd name="connsiteY4" fmla="*/ 3068 h 64431"/>
                  <a:gd name="connsiteX5" fmla="*/ 39887 w 61363"/>
                  <a:gd name="connsiteY5" fmla="*/ 0 h 64431"/>
                  <a:gd name="connsiteX6" fmla="*/ 58296 w 61363"/>
                  <a:gd name="connsiteY6" fmla="*/ 15341 h 64431"/>
                  <a:gd name="connsiteX7" fmla="*/ 58296 w 61363"/>
                  <a:gd name="connsiteY7" fmla="*/ 15341 h 64431"/>
                  <a:gd name="connsiteX8" fmla="*/ 61364 w 61363"/>
                  <a:gd name="connsiteY8" fmla="*/ 39886 h 64431"/>
                  <a:gd name="connsiteX9" fmla="*/ 46023 w 61363"/>
                  <a:gd name="connsiteY9" fmla="*/ 58295 h 64431"/>
                  <a:gd name="connsiteX10" fmla="*/ 30682 w 61363"/>
                  <a:gd name="connsiteY10" fmla="*/ 64432 h 64431"/>
                  <a:gd name="connsiteX11" fmla="*/ 30682 w 61363"/>
                  <a:gd name="connsiteY11" fmla="*/ 15341 h 64431"/>
                  <a:gd name="connsiteX12" fmla="*/ 21478 w 61363"/>
                  <a:gd name="connsiteY12" fmla="*/ 18409 h 64431"/>
                  <a:gd name="connsiteX13" fmla="*/ 12273 w 61363"/>
                  <a:gd name="connsiteY13" fmla="*/ 30682 h 64431"/>
                  <a:gd name="connsiteX14" fmla="*/ 12273 w 61363"/>
                  <a:gd name="connsiteY14" fmla="*/ 46023 h 64431"/>
                  <a:gd name="connsiteX15" fmla="*/ 24546 w 61363"/>
                  <a:gd name="connsiteY15" fmla="*/ 55227 h 64431"/>
                  <a:gd name="connsiteX16" fmla="*/ 39887 w 61363"/>
                  <a:gd name="connsiteY16" fmla="*/ 55227 h 64431"/>
                  <a:gd name="connsiteX17" fmla="*/ 49091 w 61363"/>
                  <a:gd name="connsiteY17" fmla="*/ 42954 h 64431"/>
                  <a:gd name="connsiteX18" fmla="*/ 49091 w 61363"/>
                  <a:gd name="connsiteY18" fmla="*/ 27614 h 64431"/>
                  <a:gd name="connsiteX19" fmla="*/ 49091 w 61363"/>
                  <a:gd name="connsiteY19" fmla="*/ 27614 h 64431"/>
                  <a:gd name="connsiteX20" fmla="*/ 36819 w 61363"/>
                  <a:gd name="connsiteY20" fmla="*/ 18409 h 64431"/>
                  <a:gd name="connsiteX21" fmla="*/ 30682 w 61363"/>
                  <a:gd name="connsiteY21" fmla="*/ 15341 h 64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1363" h="64431">
                    <a:moveTo>
                      <a:pt x="30682" y="64432"/>
                    </a:moveTo>
                    <a:cubicBezTo>
                      <a:pt x="27614" y="64432"/>
                      <a:pt x="24546" y="64432"/>
                      <a:pt x="21478" y="61364"/>
                    </a:cubicBezTo>
                    <a:cubicBezTo>
                      <a:pt x="12273" y="58295"/>
                      <a:pt x="6137" y="52159"/>
                      <a:pt x="3068" y="46023"/>
                    </a:cubicBezTo>
                    <a:cubicBezTo>
                      <a:pt x="0" y="39886"/>
                      <a:pt x="0" y="30682"/>
                      <a:pt x="0" y="21477"/>
                    </a:cubicBezTo>
                    <a:cubicBezTo>
                      <a:pt x="3068" y="12273"/>
                      <a:pt x="9205" y="6136"/>
                      <a:pt x="15341" y="3068"/>
                    </a:cubicBezTo>
                    <a:cubicBezTo>
                      <a:pt x="21478" y="0"/>
                      <a:pt x="30682" y="0"/>
                      <a:pt x="39887" y="0"/>
                    </a:cubicBezTo>
                    <a:cubicBezTo>
                      <a:pt x="49091" y="3068"/>
                      <a:pt x="55228" y="9205"/>
                      <a:pt x="58296" y="15341"/>
                    </a:cubicBezTo>
                    <a:lnTo>
                      <a:pt x="58296" y="15341"/>
                    </a:lnTo>
                    <a:cubicBezTo>
                      <a:pt x="61364" y="21477"/>
                      <a:pt x="61364" y="30682"/>
                      <a:pt x="61364" y="39886"/>
                    </a:cubicBezTo>
                    <a:cubicBezTo>
                      <a:pt x="58296" y="49091"/>
                      <a:pt x="52159" y="55227"/>
                      <a:pt x="46023" y="58295"/>
                    </a:cubicBezTo>
                    <a:cubicBezTo>
                      <a:pt x="39887" y="64432"/>
                      <a:pt x="36819" y="64432"/>
                      <a:pt x="30682" y="64432"/>
                    </a:cubicBezTo>
                    <a:close/>
                    <a:moveTo>
                      <a:pt x="30682" y="15341"/>
                    </a:moveTo>
                    <a:cubicBezTo>
                      <a:pt x="27614" y="15341"/>
                      <a:pt x="24546" y="15341"/>
                      <a:pt x="21478" y="18409"/>
                    </a:cubicBezTo>
                    <a:cubicBezTo>
                      <a:pt x="15341" y="21477"/>
                      <a:pt x="12273" y="24545"/>
                      <a:pt x="12273" y="30682"/>
                    </a:cubicBezTo>
                    <a:cubicBezTo>
                      <a:pt x="9205" y="36818"/>
                      <a:pt x="12273" y="39886"/>
                      <a:pt x="12273" y="46023"/>
                    </a:cubicBezTo>
                    <a:cubicBezTo>
                      <a:pt x="15341" y="52159"/>
                      <a:pt x="18409" y="55227"/>
                      <a:pt x="24546" y="55227"/>
                    </a:cubicBezTo>
                    <a:cubicBezTo>
                      <a:pt x="30682" y="58295"/>
                      <a:pt x="33750" y="55227"/>
                      <a:pt x="39887" y="55227"/>
                    </a:cubicBezTo>
                    <a:cubicBezTo>
                      <a:pt x="46023" y="52159"/>
                      <a:pt x="49091" y="49091"/>
                      <a:pt x="49091" y="42954"/>
                    </a:cubicBezTo>
                    <a:cubicBezTo>
                      <a:pt x="52159" y="36818"/>
                      <a:pt x="49091" y="33750"/>
                      <a:pt x="49091" y="27614"/>
                    </a:cubicBezTo>
                    <a:lnTo>
                      <a:pt x="49091" y="27614"/>
                    </a:lnTo>
                    <a:cubicBezTo>
                      <a:pt x="46023" y="21477"/>
                      <a:pt x="42955" y="18409"/>
                      <a:pt x="36819" y="18409"/>
                    </a:cubicBezTo>
                    <a:cubicBezTo>
                      <a:pt x="36819" y="15341"/>
                      <a:pt x="33750" y="15341"/>
                      <a:pt x="30682" y="1534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4" name="图形 1">
              <a:extLst>
                <a:ext uri="{FF2B5EF4-FFF2-40B4-BE49-F238E27FC236}">
                  <a16:creationId xmlns:a16="http://schemas.microsoft.com/office/drawing/2014/main" id="{3C2FCBD2-41E9-42BB-B31B-BB412F5BF3AC}"/>
                </a:ext>
              </a:extLst>
            </p:cNvPr>
            <p:cNvGrpSpPr/>
            <p:nvPr/>
          </p:nvGrpSpPr>
          <p:grpSpPr>
            <a:xfrm>
              <a:off x="12716122" y="3301349"/>
              <a:ext cx="199556" cy="197045"/>
              <a:chOff x="12716122" y="3301349"/>
              <a:chExt cx="199556" cy="197045"/>
            </a:xfrm>
          </p:grpSpPr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28DBF5EF-C805-4940-9600-C47D0FD2CF17}"/>
                  </a:ext>
                </a:extLst>
              </p:cNvPr>
              <p:cNvSpPr/>
              <p:nvPr/>
            </p:nvSpPr>
            <p:spPr>
              <a:xfrm>
                <a:off x="12751326" y="3308497"/>
                <a:ext cx="164352" cy="70430"/>
              </a:xfrm>
              <a:custGeom>
                <a:avLst/>
                <a:gdLst>
                  <a:gd name="connsiteX0" fmla="*/ 155023 w 164352"/>
                  <a:gd name="connsiteY0" fmla="*/ 8875 h 70430"/>
                  <a:gd name="connsiteX1" fmla="*/ 53773 w 164352"/>
                  <a:gd name="connsiteY1" fmla="*/ 2739 h 70430"/>
                  <a:gd name="connsiteX2" fmla="*/ 38432 w 164352"/>
                  <a:gd name="connsiteY2" fmla="*/ 2739 h 70430"/>
                  <a:gd name="connsiteX3" fmla="*/ 23091 w 164352"/>
                  <a:gd name="connsiteY3" fmla="*/ 8875 h 70430"/>
                  <a:gd name="connsiteX4" fmla="*/ 1614 w 164352"/>
                  <a:gd name="connsiteY4" fmla="*/ 54898 h 70430"/>
                  <a:gd name="connsiteX5" fmla="*/ 47636 w 164352"/>
                  <a:gd name="connsiteY5" fmla="*/ 70239 h 70430"/>
                  <a:gd name="connsiteX6" fmla="*/ 115137 w 164352"/>
                  <a:gd name="connsiteY6" fmla="*/ 67170 h 70430"/>
                  <a:gd name="connsiteX7" fmla="*/ 161159 w 164352"/>
                  <a:gd name="connsiteY7" fmla="*/ 48761 h 70430"/>
                  <a:gd name="connsiteX8" fmla="*/ 155023 w 164352"/>
                  <a:gd name="connsiteY8" fmla="*/ 8875 h 70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4352" h="70430">
                    <a:moveTo>
                      <a:pt x="155023" y="8875"/>
                    </a:moveTo>
                    <a:cubicBezTo>
                      <a:pt x="130478" y="-6466"/>
                      <a:pt x="90592" y="2739"/>
                      <a:pt x="53773" y="2739"/>
                    </a:cubicBezTo>
                    <a:cubicBezTo>
                      <a:pt x="50705" y="2739"/>
                      <a:pt x="41500" y="-330"/>
                      <a:pt x="38432" y="2739"/>
                    </a:cubicBezTo>
                    <a:cubicBezTo>
                      <a:pt x="32295" y="2739"/>
                      <a:pt x="26160" y="5807"/>
                      <a:pt x="23091" y="8875"/>
                    </a:cubicBezTo>
                    <a:cubicBezTo>
                      <a:pt x="7750" y="18079"/>
                      <a:pt x="-4522" y="36489"/>
                      <a:pt x="1614" y="54898"/>
                    </a:cubicBezTo>
                    <a:cubicBezTo>
                      <a:pt x="7750" y="73307"/>
                      <a:pt x="32295" y="70239"/>
                      <a:pt x="47636" y="70239"/>
                    </a:cubicBezTo>
                    <a:cubicBezTo>
                      <a:pt x="69114" y="70239"/>
                      <a:pt x="90592" y="70239"/>
                      <a:pt x="115137" y="67170"/>
                    </a:cubicBezTo>
                    <a:cubicBezTo>
                      <a:pt x="130478" y="64102"/>
                      <a:pt x="148887" y="67170"/>
                      <a:pt x="161159" y="48761"/>
                    </a:cubicBezTo>
                    <a:cubicBezTo>
                      <a:pt x="167296" y="33420"/>
                      <a:pt x="164228" y="15011"/>
                      <a:pt x="155023" y="8875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ADC1FF1A-EE85-459F-BB7F-5EF1D9D31B25}"/>
                  </a:ext>
                </a:extLst>
              </p:cNvPr>
              <p:cNvSpPr/>
              <p:nvPr/>
            </p:nvSpPr>
            <p:spPr>
              <a:xfrm>
                <a:off x="12723713" y="3353314"/>
                <a:ext cx="166716" cy="77772"/>
              </a:xfrm>
              <a:custGeom>
                <a:avLst/>
                <a:gdLst>
                  <a:gd name="connsiteX0" fmla="*/ 158091 w 166716"/>
                  <a:gd name="connsiteY0" fmla="*/ 16217 h 77772"/>
                  <a:gd name="connsiteX1" fmla="*/ 47636 w 166716"/>
                  <a:gd name="connsiteY1" fmla="*/ 7012 h 77772"/>
                  <a:gd name="connsiteX2" fmla="*/ 38432 w 166716"/>
                  <a:gd name="connsiteY2" fmla="*/ 10081 h 77772"/>
                  <a:gd name="connsiteX3" fmla="*/ 23091 w 166716"/>
                  <a:gd name="connsiteY3" fmla="*/ 16217 h 77772"/>
                  <a:gd name="connsiteX4" fmla="*/ 1614 w 166716"/>
                  <a:gd name="connsiteY4" fmla="*/ 62240 h 77772"/>
                  <a:gd name="connsiteX5" fmla="*/ 47636 w 166716"/>
                  <a:gd name="connsiteY5" fmla="*/ 77581 h 77772"/>
                  <a:gd name="connsiteX6" fmla="*/ 115137 w 166716"/>
                  <a:gd name="connsiteY6" fmla="*/ 74512 h 77772"/>
                  <a:gd name="connsiteX7" fmla="*/ 161159 w 166716"/>
                  <a:gd name="connsiteY7" fmla="*/ 56103 h 77772"/>
                  <a:gd name="connsiteX8" fmla="*/ 158091 w 166716"/>
                  <a:gd name="connsiteY8" fmla="*/ 16217 h 77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6716" h="77772">
                    <a:moveTo>
                      <a:pt x="158091" y="16217"/>
                    </a:moveTo>
                    <a:cubicBezTo>
                      <a:pt x="130478" y="-11397"/>
                      <a:pt x="87523" y="3944"/>
                      <a:pt x="47636" y="7012"/>
                    </a:cubicBezTo>
                    <a:cubicBezTo>
                      <a:pt x="44568" y="7012"/>
                      <a:pt x="41500" y="7012"/>
                      <a:pt x="38432" y="10081"/>
                    </a:cubicBezTo>
                    <a:cubicBezTo>
                      <a:pt x="32295" y="10081"/>
                      <a:pt x="26160" y="13149"/>
                      <a:pt x="23091" y="16217"/>
                    </a:cubicBezTo>
                    <a:cubicBezTo>
                      <a:pt x="7750" y="25421"/>
                      <a:pt x="-4522" y="43831"/>
                      <a:pt x="1614" y="62240"/>
                    </a:cubicBezTo>
                    <a:cubicBezTo>
                      <a:pt x="7750" y="80649"/>
                      <a:pt x="32295" y="77581"/>
                      <a:pt x="47636" y="77581"/>
                    </a:cubicBezTo>
                    <a:cubicBezTo>
                      <a:pt x="69114" y="77581"/>
                      <a:pt x="90591" y="77581"/>
                      <a:pt x="115137" y="74512"/>
                    </a:cubicBezTo>
                    <a:cubicBezTo>
                      <a:pt x="130478" y="74512"/>
                      <a:pt x="148887" y="74512"/>
                      <a:pt x="161159" y="56103"/>
                    </a:cubicBezTo>
                    <a:cubicBezTo>
                      <a:pt x="170364" y="40762"/>
                      <a:pt x="167295" y="25421"/>
                      <a:pt x="158091" y="16217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E715673C-7D41-4607-BADA-8C694ECAD0AA}"/>
                  </a:ext>
                </a:extLst>
              </p:cNvPr>
              <p:cNvSpPr/>
              <p:nvPr/>
            </p:nvSpPr>
            <p:spPr>
              <a:xfrm>
                <a:off x="12727800" y="3403281"/>
                <a:ext cx="146757" cy="64431"/>
              </a:xfrm>
              <a:custGeom>
                <a:avLst/>
                <a:gdLst>
                  <a:gd name="connsiteX0" fmla="*/ 138663 w 146757"/>
                  <a:gd name="connsiteY0" fmla="*/ 15341 h 64431"/>
                  <a:gd name="connsiteX1" fmla="*/ 43549 w 146757"/>
                  <a:gd name="connsiteY1" fmla="*/ 3068 h 64431"/>
                  <a:gd name="connsiteX2" fmla="*/ 34345 w 146757"/>
                  <a:gd name="connsiteY2" fmla="*/ 6136 h 64431"/>
                  <a:gd name="connsiteX3" fmla="*/ 19004 w 146757"/>
                  <a:gd name="connsiteY3" fmla="*/ 9204 h 64431"/>
                  <a:gd name="connsiteX4" fmla="*/ 595 w 146757"/>
                  <a:gd name="connsiteY4" fmla="*/ 49091 h 64431"/>
                  <a:gd name="connsiteX5" fmla="*/ 40481 w 146757"/>
                  <a:gd name="connsiteY5" fmla="*/ 64432 h 64431"/>
                  <a:gd name="connsiteX6" fmla="*/ 98777 w 146757"/>
                  <a:gd name="connsiteY6" fmla="*/ 64432 h 64431"/>
                  <a:gd name="connsiteX7" fmla="*/ 138663 w 146757"/>
                  <a:gd name="connsiteY7" fmla="*/ 52159 h 64431"/>
                  <a:gd name="connsiteX8" fmla="*/ 138663 w 146757"/>
                  <a:gd name="connsiteY8" fmla="*/ 15341 h 64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6757" h="64431">
                    <a:moveTo>
                      <a:pt x="138663" y="15341"/>
                    </a:moveTo>
                    <a:cubicBezTo>
                      <a:pt x="114118" y="-9205"/>
                      <a:pt x="74231" y="3068"/>
                      <a:pt x="43549" y="3068"/>
                    </a:cubicBezTo>
                    <a:cubicBezTo>
                      <a:pt x="40481" y="3068"/>
                      <a:pt x="37413" y="3068"/>
                      <a:pt x="34345" y="6136"/>
                    </a:cubicBezTo>
                    <a:cubicBezTo>
                      <a:pt x="28208" y="6136"/>
                      <a:pt x="25140" y="9204"/>
                      <a:pt x="19004" y="9204"/>
                    </a:cubicBezTo>
                    <a:cubicBezTo>
                      <a:pt x="6731" y="15341"/>
                      <a:pt x="-2474" y="33750"/>
                      <a:pt x="595" y="49091"/>
                    </a:cubicBezTo>
                    <a:cubicBezTo>
                      <a:pt x="6731" y="64432"/>
                      <a:pt x="28208" y="64432"/>
                      <a:pt x="40481" y="64432"/>
                    </a:cubicBezTo>
                    <a:cubicBezTo>
                      <a:pt x="58890" y="64432"/>
                      <a:pt x="80368" y="64432"/>
                      <a:pt x="98777" y="64432"/>
                    </a:cubicBezTo>
                    <a:cubicBezTo>
                      <a:pt x="111049" y="64432"/>
                      <a:pt x="129459" y="64432"/>
                      <a:pt x="138663" y="52159"/>
                    </a:cubicBezTo>
                    <a:cubicBezTo>
                      <a:pt x="150935" y="36818"/>
                      <a:pt x="147867" y="24545"/>
                      <a:pt x="138663" y="1534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177650CC-92BC-4702-8C4F-48EDB2413139}"/>
                  </a:ext>
                </a:extLst>
              </p:cNvPr>
              <p:cNvSpPr/>
              <p:nvPr/>
            </p:nvSpPr>
            <p:spPr>
              <a:xfrm>
                <a:off x="12746006" y="3453139"/>
                <a:ext cx="106319" cy="45255"/>
              </a:xfrm>
              <a:custGeom>
                <a:avLst/>
                <a:gdLst>
                  <a:gd name="connsiteX0" fmla="*/ 98979 w 106319"/>
                  <a:gd name="connsiteY0" fmla="*/ 11506 h 45255"/>
                  <a:gd name="connsiteX1" fmla="*/ 28412 w 106319"/>
                  <a:gd name="connsiteY1" fmla="*/ 2301 h 45255"/>
                  <a:gd name="connsiteX2" fmla="*/ 22275 w 106319"/>
                  <a:gd name="connsiteY2" fmla="*/ 2301 h 45255"/>
                  <a:gd name="connsiteX3" fmla="*/ 13071 w 106319"/>
                  <a:gd name="connsiteY3" fmla="*/ 5369 h 45255"/>
                  <a:gd name="connsiteX4" fmla="*/ 798 w 106319"/>
                  <a:gd name="connsiteY4" fmla="*/ 32983 h 45255"/>
                  <a:gd name="connsiteX5" fmla="*/ 31480 w 106319"/>
                  <a:gd name="connsiteY5" fmla="*/ 45256 h 45255"/>
                  <a:gd name="connsiteX6" fmla="*/ 74434 w 106319"/>
                  <a:gd name="connsiteY6" fmla="*/ 45256 h 45255"/>
                  <a:gd name="connsiteX7" fmla="*/ 105116 w 106319"/>
                  <a:gd name="connsiteY7" fmla="*/ 36051 h 45255"/>
                  <a:gd name="connsiteX8" fmla="*/ 98979 w 106319"/>
                  <a:gd name="connsiteY8" fmla="*/ 11506 h 4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6319" h="45255">
                    <a:moveTo>
                      <a:pt x="98979" y="11506"/>
                    </a:moveTo>
                    <a:cubicBezTo>
                      <a:pt x="80571" y="-6903"/>
                      <a:pt x="52957" y="2301"/>
                      <a:pt x="28412" y="2301"/>
                    </a:cubicBezTo>
                    <a:cubicBezTo>
                      <a:pt x="25343" y="2301"/>
                      <a:pt x="25343" y="2301"/>
                      <a:pt x="22275" y="2301"/>
                    </a:cubicBezTo>
                    <a:cubicBezTo>
                      <a:pt x="19207" y="2301"/>
                      <a:pt x="16139" y="2301"/>
                      <a:pt x="13071" y="5369"/>
                    </a:cubicBezTo>
                    <a:cubicBezTo>
                      <a:pt x="3867" y="11506"/>
                      <a:pt x="-2270" y="23778"/>
                      <a:pt x="798" y="32983"/>
                    </a:cubicBezTo>
                    <a:cubicBezTo>
                      <a:pt x="3867" y="45256"/>
                      <a:pt x="19207" y="42187"/>
                      <a:pt x="31480" y="45256"/>
                    </a:cubicBezTo>
                    <a:cubicBezTo>
                      <a:pt x="46821" y="45256"/>
                      <a:pt x="59093" y="45256"/>
                      <a:pt x="74434" y="45256"/>
                    </a:cubicBezTo>
                    <a:cubicBezTo>
                      <a:pt x="83639" y="45256"/>
                      <a:pt x="95912" y="45256"/>
                      <a:pt x="105116" y="36051"/>
                    </a:cubicBezTo>
                    <a:cubicBezTo>
                      <a:pt x="108185" y="29915"/>
                      <a:pt x="105116" y="17642"/>
                      <a:pt x="98979" y="1150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A59CEBE9-B59A-4D38-ACA0-024EC2667F0B}"/>
                  </a:ext>
                </a:extLst>
              </p:cNvPr>
              <p:cNvSpPr/>
              <p:nvPr/>
            </p:nvSpPr>
            <p:spPr>
              <a:xfrm>
                <a:off x="12716122" y="3301349"/>
                <a:ext cx="179225" cy="129545"/>
              </a:xfrm>
              <a:custGeom>
                <a:avLst/>
                <a:gdLst>
                  <a:gd name="connsiteX0" fmla="*/ 76705 w 179225"/>
                  <a:gd name="connsiteY0" fmla="*/ 129545 h 129545"/>
                  <a:gd name="connsiteX1" fmla="*/ 67499 w 179225"/>
                  <a:gd name="connsiteY1" fmla="*/ 129545 h 129545"/>
                  <a:gd name="connsiteX2" fmla="*/ 0 w 179225"/>
                  <a:gd name="connsiteY2" fmla="*/ 98864 h 129545"/>
                  <a:gd name="connsiteX3" fmla="*/ 27613 w 179225"/>
                  <a:gd name="connsiteY3" fmla="*/ 52841 h 129545"/>
                  <a:gd name="connsiteX4" fmla="*/ 27613 w 179225"/>
                  <a:gd name="connsiteY4" fmla="*/ 52841 h 129545"/>
                  <a:gd name="connsiteX5" fmla="*/ 24545 w 179225"/>
                  <a:gd name="connsiteY5" fmla="*/ 37500 h 129545"/>
                  <a:gd name="connsiteX6" fmla="*/ 33750 w 179225"/>
                  <a:gd name="connsiteY6" fmla="*/ 19091 h 129545"/>
                  <a:gd name="connsiteX7" fmla="*/ 147272 w 179225"/>
                  <a:gd name="connsiteY7" fmla="*/ 682 h 129545"/>
                  <a:gd name="connsiteX8" fmla="*/ 153409 w 179225"/>
                  <a:gd name="connsiteY8" fmla="*/ 6818 h 129545"/>
                  <a:gd name="connsiteX9" fmla="*/ 147272 w 179225"/>
                  <a:gd name="connsiteY9" fmla="*/ 12955 h 129545"/>
                  <a:gd name="connsiteX10" fmla="*/ 42954 w 179225"/>
                  <a:gd name="connsiteY10" fmla="*/ 28296 h 129545"/>
                  <a:gd name="connsiteX11" fmla="*/ 36818 w 179225"/>
                  <a:gd name="connsiteY11" fmla="*/ 40568 h 129545"/>
                  <a:gd name="connsiteX12" fmla="*/ 42954 w 179225"/>
                  <a:gd name="connsiteY12" fmla="*/ 55909 h 129545"/>
                  <a:gd name="connsiteX13" fmla="*/ 162613 w 179225"/>
                  <a:gd name="connsiteY13" fmla="*/ 58977 h 129545"/>
                  <a:gd name="connsiteX14" fmla="*/ 174886 w 179225"/>
                  <a:gd name="connsiteY14" fmla="*/ 65114 h 129545"/>
                  <a:gd name="connsiteX15" fmla="*/ 177954 w 179225"/>
                  <a:gd name="connsiteY15" fmla="*/ 89659 h 129545"/>
                  <a:gd name="connsiteX16" fmla="*/ 76705 w 179225"/>
                  <a:gd name="connsiteY16" fmla="*/ 129545 h 129545"/>
                  <a:gd name="connsiteX17" fmla="*/ 33750 w 179225"/>
                  <a:gd name="connsiteY17" fmla="*/ 65114 h 129545"/>
                  <a:gd name="connsiteX18" fmla="*/ 12273 w 179225"/>
                  <a:gd name="connsiteY18" fmla="*/ 98864 h 129545"/>
                  <a:gd name="connsiteX19" fmla="*/ 67499 w 179225"/>
                  <a:gd name="connsiteY19" fmla="*/ 117273 h 129545"/>
                  <a:gd name="connsiteX20" fmla="*/ 165682 w 179225"/>
                  <a:gd name="connsiteY20" fmla="*/ 86591 h 129545"/>
                  <a:gd name="connsiteX21" fmla="*/ 165682 w 179225"/>
                  <a:gd name="connsiteY21" fmla="*/ 74318 h 129545"/>
                  <a:gd name="connsiteX22" fmla="*/ 162613 w 179225"/>
                  <a:gd name="connsiteY22" fmla="*/ 74318 h 129545"/>
                  <a:gd name="connsiteX23" fmla="*/ 33750 w 179225"/>
                  <a:gd name="connsiteY23" fmla="*/ 65114 h 129545"/>
                  <a:gd name="connsiteX24" fmla="*/ 33750 w 179225"/>
                  <a:gd name="connsiteY24" fmla="*/ 65114 h 12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79225" h="129545">
                    <a:moveTo>
                      <a:pt x="76705" y="129545"/>
                    </a:moveTo>
                    <a:cubicBezTo>
                      <a:pt x="73636" y="129545"/>
                      <a:pt x="70568" y="129545"/>
                      <a:pt x="67499" y="129545"/>
                    </a:cubicBezTo>
                    <a:cubicBezTo>
                      <a:pt x="33750" y="129545"/>
                      <a:pt x="0" y="129545"/>
                      <a:pt x="0" y="98864"/>
                    </a:cubicBezTo>
                    <a:cubicBezTo>
                      <a:pt x="0" y="77386"/>
                      <a:pt x="24545" y="55909"/>
                      <a:pt x="27613" y="52841"/>
                    </a:cubicBezTo>
                    <a:cubicBezTo>
                      <a:pt x="27613" y="52841"/>
                      <a:pt x="27613" y="52841"/>
                      <a:pt x="27613" y="52841"/>
                    </a:cubicBezTo>
                    <a:cubicBezTo>
                      <a:pt x="24545" y="46705"/>
                      <a:pt x="24545" y="40568"/>
                      <a:pt x="24545" y="37500"/>
                    </a:cubicBezTo>
                    <a:cubicBezTo>
                      <a:pt x="24545" y="31364"/>
                      <a:pt x="27613" y="22159"/>
                      <a:pt x="33750" y="19091"/>
                    </a:cubicBezTo>
                    <a:cubicBezTo>
                      <a:pt x="61364" y="-5455"/>
                      <a:pt x="144204" y="682"/>
                      <a:pt x="147272" y="682"/>
                    </a:cubicBezTo>
                    <a:cubicBezTo>
                      <a:pt x="150341" y="682"/>
                      <a:pt x="153409" y="3750"/>
                      <a:pt x="153409" y="6818"/>
                    </a:cubicBezTo>
                    <a:cubicBezTo>
                      <a:pt x="153409" y="9886"/>
                      <a:pt x="150341" y="12955"/>
                      <a:pt x="147272" y="12955"/>
                    </a:cubicBezTo>
                    <a:cubicBezTo>
                      <a:pt x="125796" y="9886"/>
                      <a:pt x="61364" y="9886"/>
                      <a:pt x="42954" y="28296"/>
                    </a:cubicBezTo>
                    <a:cubicBezTo>
                      <a:pt x="39886" y="31364"/>
                      <a:pt x="36818" y="34432"/>
                      <a:pt x="36818" y="40568"/>
                    </a:cubicBezTo>
                    <a:cubicBezTo>
                      <a:pt x="36818" y="46705"/>
                      <a:pt x="36818" y="52841"/>
                      <a:pt x="42954" y="55909"/>
                    </a:cubicBezTo>
                    <a:cubicBezTo>
                      <a:pt x="55227" y="68182"/>
                      <a:pt x="98181" y="68182"/>
                      <a:pt x="162613" y="58977"/>
                    </a:cubicBezTo>
                    <a:cubicBezTo>
                      <a:pt x="162613" y="58977"/>
                      <a:pt x="171818" y="58977"/>
                      <a:pt x="174886" y="65114"/>
                    </a:cubicBezTo>
                    <a:cubicBezTo>
                      <a:pt x="177954" y="71250"/>
                      <a:pt x="181023" y="77386"/>
                      <a:pt x="177954" y="89659"/>
                    </a:cubicBezTo>
                    <a:cubicBezTo>
                      <a:pt x="171818" y="123409"/>
                      <a:pt x="122727" y="129545"/>
                      <a:pt x="76705" y="129545"/>
                    </a:cubicBezTo>
                    <a:close/>
                    <a:moveTo>
                      <a:pt x="33750" y="65114"/>
                    </a:moveTo>
                    <a:cubicBezTo>
                      <a:pt x="27613" y="71250"/>
                      <a:pt x="12273" y="86591"/>
                      <a:pt x="12273" y="98864"/>
                    </a:cubicBezTo>
                    <a:cubicBezTo>
                      <a:pt x="12273" y="111136"/>
                      <a:pt x="24545" y="114205"/>
                      <a:pt x="67499" y="117273"/>
                    </a:cubicBezTo>
                    <a:cubicBezTo>
                      <a:pt x="125796" y="117273"/>
                      <a:pt x="162613" y="108068"/>
                      <a:pt x="165682" y="86591"/>
                    </a:cubicBezTo>
                    <a:cubicBezTo>
                      <a:pt x="168750" y="77386"/>
                      <a:pt x="165682" y="74318"/>
                      <a:pt x="165682" y="74318"/>
                    </a:cubicBezTo>
                    <a:cubicBezTo>
                      <a:pt x="165682" y="74318"/>
                      <a:pt x="162613" y="74318"/>
                      <a:pt x="162613" y="74318"/>
                    </a:cubicBezTo>
                    <a:cubicBezTo>
                      <a:pt x="70568" y="86591"/>
                      <a:pt x="46023" y="74318"/>
                      <a:pt x="33750" y="65114"/>
                    </a:cubicBezTo>
                    <a:cubicBezTo>
                      <a:pt x="36818" y="65114"/>
                      <a:pt x="36818" y="65114"/>
                      <a:pt x="33750" y="6511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D72D98D0-6338-4A28-9244-2BD12D5C3E85}"/>
                  </a:ext>
                </a:extLst>
              </p:cNvPr>
              <p:cNvSpPr/>
              <p:nvPr/>
            </p:nvSpPr>
            <p:spPr>
              <a:xfrm>
                <a:off x="12720540" y="3415554"/>
                <a:ext cx="161263" cy="61363"/>
              </a:xfrm>
              <a:custGeom>
                <a:avLst/>
                <a:gdLst>
                  <a:gd name="connsiteX0" fmla="*/ 72287 w 161263"/>
                  <a:gd name="connsiteY0" fmla="*/ 61364 h 61363"/>
                  <a:gd name="connsiteX1" fmla="*/ 29332 w 161263"/>
                  <a:gd name="connsiteY1" fmla="*/ 58295 h 61363"/>
                  <a:gd name="connsiteX2" fmla="*/ 1718 w 161263"/>
                  <a:gd name="connsiteY2" fmla="*/ 39886 h 61363"/>
                  <a:gd name="connsiteX3" fmla="*/ 7855 w 161263"/>
                  <a:gd name="connsiteY3" fmla="*/ 3068 h 61363"/>
                  <a:gd name="connsiteX4" fmla="*/ 17059 w 161263"/>
                  <a:gd name="connsiteY4" fmla="*/ 0 h 61363"/>
                  <a:gd name="connsiteX5" fmla="*/ 20127 w 161263"/>
                  <a:gd name="connsiteY5" fmla="*/ 9205 h 61363"/>
                  <a:gd name="connsiteX6" fmla="*/ 13991 w 161263"/>
                  <a:gd name="connsiteY6" fmla="*/ 36818 h 61363"/>
                  <a:gd name="connsiteX7" fmla="*/ 32400 w 161263"/>
                  <a:gd name="connsiteY7" fmla="*/ 49091 h 61363"/>
                  <a:gd name="connsiteX8" fmla="*/ 139786 w 161263"/>
                  <a:gd name="connsiteY8" fmla="*/ 42954 h 61363"/>
                  <a:gd name="connsiteX9" fmla="*/ 145923 w 161263"/>
                  <a:gd name="connsiteY9" fmla="*/ 30682 h 61363"/>
                  <a:gd name="connsiteX10" fmla="*/ 142854 w 161263"/>
                  <a:gd name="connsiteY10" fmla="*/ 12273 h 61363"/>
                  <a:gd name="connsiteX11" fmla="*/ 142854 w 161263"/>
                  <a:gd name="connsiteY11" fmla="*/ 3068 h 61363"/>
                  <a:gd name="connsiteX12" fmla="*/ 152060 w 161263"/>
                  <a:gd name="connsiteY12" fmla="*/ 3068 h 61363"/>
                  <a:gd name="connsiteX13" fmla="*/ 161264 w 161263"/>
                  <a:gd name="connsiteY13" fmla="*/ 33750 h 61363"/>
                  <a:gd name="connsiteX14" fmla="*/ 145923 w 161263"/>
                  <a:gd name="connsiteY14" fmla="*/ 55227 h 61363"/>
                  <a:gd name="connsiteX15" fmla="*/ 72287 w 161263"/>
                  <a:gd name="connsiteY15" fmla="*/ 61364 h 61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1263" h="61363">
                    <a:moveTo>
                      <a:pt x="72287" y="61364"/>
                    </a:moveTo>
                    <a:cubicBezTo>
                      <a:pt x="60014" y="61364"/>
                      <a:pt x="44673" y="61364"/>
                      <a:pt x="29332" y="58295"/>
                    </a:cubicBezTo>
                    <a:cubicBezTo>
                      <a:pt x="13991" y="55227"/>
                      <a:pt x="4786" y="49091"/>
                      <a:pt x="1718" y="39886"/>
                    </a:cubicBezTo>
                    <a:cubicBezTo>
                      <a:pt x="-4418" y="24545"/>
                      <a:pt x="7855" y="3068"/>
                      <a:pt x="7855" y="3068"/>
                    </a:cubicBezTo>
                    <a:cubicBezTo>
                      <a:pt x="10923" y="0"/>
                      <a:pt x="13991" y="0"/>
                      <a:pt x="17059" y="0"/>
                    </a:cubicBezTo>
                    <a:cubicBezTo>
                      <a:pt x="20127" y="3068"/>
                      <a:pt x="20127" y="6136"/>
                      <a:pt x="20127" y="9205"/>
                    </a:cubicBezTo>
                    <a:cubicBezTo>
                      <a:pt x="17059" y="12273"/>
                      <a:pt x="10923" y="27614"/>
                      <a:pt x="13991" y="36818"/>
                    </a:cubicBezTo>
                    <a:cubicBezTo>
                      <a:pt x="17059" y="42954"/>
                      <a:pt x="23196" y="46023"/>
                      <a:pt x="32400" y="49091"/>
                    </a:cubicBezTo>
                    <a:cubicBezTo>
                      <a:pt x="72287" y="58295"/>
                      <a:pt x="124445" y="49091"/>
                      <a:pt x="139786" y="42954"/>
                    </a:cubicBezTo>
                    <a:cubicBezTo>
                      <a:pt x="145923" y="39886"/>
                      <a:pt x="145923" y="36818"/>
                      <a:pt x="145923" y="30682"/>
                    </a:cubicBezTo>
                    <a:cubicBezTo>
                      <a:pt x="145923" y="21477"/>
                      <a:pt x="142854" y="12273"/>
                      <a:pt x="142854" y="12273"/>
                    </a:cubicBezTo>
                    <a:cubicBezTo>
                      <a:pt x="139786" y="9205"/>
                      <a:pt x="139786" y="6136"/>
                      <a:pt x="142854" y="3068"/>
                    </a:cubicBezTo>
                    <a:cubicBezTo>
                      <a:pt x="145923" y="0"/>
                      <a:pt x="148991" y="0"/>
                      <a:pt x="152060" y="3068"/>
                    </a:cubicBezTo>
                    <a:cubicBezTo>
                      <a:pt x="158195" y="9205"/>
                      <a:pt x="161264" y="21477"/>
                      <a:pt x="161264" y="33750"/>
                    </a:cubicBezTo>
                    <a:cubicBezTo>
                      <a:pt x="161264" y="42954"/>
                      <a:pt x="155127" y="52159"/>
                      <a:pt x="145923" y="55227"/>
                    </a:cubicBezTo>
                    <a:cubicBezTo>
                      <a:pt x="133650" y="55227"/>
                      <a:pt x="102968" y="61364"/>
                      <a:pt x="72287" y="6136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687E1E73-9AB1-42AE-A069-9FB5E843E6CF}"/>
                </a:ext>
              </a:extLst>
            </p:cNvPr>
            <p:cNvSpPr/>
            <p:nvPr/>
          </p:nvSpPr>
          <p:spPr>
            <a:xfrm>
              <a:off x="12641967" y="3337361"/>
              <a:ext cx="156213" cy="108972"/>
            </a:xfrm>
            <a:custGeom>
              <a:avLst/>
              <a:gdLst>
                <a:gd name="connsiteX0" fmla="*/ 120178 w 156213"/>
                <a:gd name="connsiteY0" fmla="*/ 7625 h 108972"/>
                <a:gd name="connsiteX1" fmla="*/ 9723 w 156213"/>
                <a:gd name="connsiteY1" fmla="*/ 26034 h 108972"/>
                <a:gd name="connsiteX2" fmla="*/ 9723 w 156213"/>
                <a:gd name="connsiteY2" fmla="*/ 108875 h 108972"/>
                <a:gd name="connsiteX3" fmla="*/ 58814 w 156213"/>
                <a:gd name="connsiteY3" fmla="*/ 68989 h 108972"/>
                <a:gd name="connsiteX4" fmla="*/ 123246 w 156213"/>
                <a:gd name="connsiteY4" fmla="*/ 75125 h 108972"/>
                <a:gd name="connsiteX5" fmla="*/ 150860 w 156213"/>
                <a:gd name="connsiteY5" fmla="*/ 87398 h 108972"/>
                <a:gd name="connsiteX6" fmla="*/ 120178 w 156213"/>
                <a:gd name="connsiteY6" fmla="*/ 7625 h 108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213" h="108972">
                  <a:moveTo>
                    <a:pt x="120178" y="7625"/>
                  </a:moveTo>
                  <a:cubicBezTo>
                    <a:pt x="89496" y="-10784"/>
                    <a:pt x="34268" y="7625"/>
                    <a:pt x="9723" y="26034"/>
                  </a:cubicBezTo>
                  <a:cubicBezTo>
                    <a:pt x="-8686" y="41375"/>
                    <a:pt x="3586" y="111943"/>
                    <a:pt x="9723" y="108875"/>
                  </a:cubicBezTo>
                  <a:cubicBezTo>
                    <a:pt x="21996" y="99671"/>
                    <a:pt x="46542" y="75125"/>
                    <a:pt x="58814" y="68989"/>
                  </a:cubicBezTo>
                  <a:cubicBezTo>
                    <a:pt x="83359" y="59784"/>
                    <a:pt x="101768" y="62853"/>
                    <a:pt x="123246" y="75125"/>
                  </a:cubicBezTo>
                  <a:cubicBezTo>
                    <a:pt x="132450" y="78193"/>
                    <a:pt x="141654" y="96603"/>
                    <a:pt x="150860" y="87398"/>
                  </a:cubicBezTo>
                  <a:cubicBezTo>
                    <a:pt x="169269" y="68989"/>
                    <a:pt x="135519" y="16830"/>
                    <a:pt x="120178" y="7625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EC8BA567-2A69-4E94-A42B-A258B81DF997}"/>
                </a:ext>
              </a:extLst>
            </p:cNvPr>
            <p:cNvSpPr/>
            <p:nvPr/>
          </p:nvSpPr>
          <p:spPr>
            <a:xfrm>
              <a:off x="12644283" y="3322214"/>
              <a:ext cx="161203" cy="133226"/>
            </a:xfrm>
            <a:custGeom>
              <a:avLst/>
              <a:gdLst>
                <a:gd name="connsiteX0" fmla="*/ 41157 w 161203"/>
                <a:gd name="connsiteY0" fmla="*/ 133227 h 133226"/>
                <a:gd name="connsiteX1" fmla="*/ 38089 w 161203"/>
                <a:gd name="connsiteY1" fmla="*/ 130159 h 133226"/>
                <a:gd name="connsiteX2" fmla="*/ 38089 w 161203"/>
                <a:gd name="connsiteY2" fmla="*/ 120954 h 133226"/>
                <a:gd name="connsiteX3" fmla="*/ 53430 w 161203"/>
                <a:gd name="connsiteY3" fmla="*/ 78000 h 133226"/>
                <a:gd name="connsiteX4" fmla="*/ 56498 w 161203"/>
                <a:gd name="connsiteY4" fmla="*/ 71863 h 133226"/>
                <a:gd name="connsiteX5" fmla="*/ 130135 w 161203"/>
                <a:gd name="connsiteY5" fmla="*/ 81068 h 133226"/>
                <a:gd name="connsiteX6" fmla="*/ 148544 w 161203"/>
                <a:gd name="connsiteY6" fmla="*/ 90272 h 133226"/>
                <a:gd name="connsiteX7" fmla="*/ 151612 w 161203"/>
                <a:gd name="connsiteY7" fmla="*/ 84136 h 133226"/>
                <a:gd name="connsiteX8" fmla="*/ 114794 w 161203"/>
                <a:gd name="connsiteY8" fmla="*/ 22772 h 133226"/>
                <a:gd name="connsiteX9" fmla="*/ 10476 w 161203"/>
                <a:gd name="connsiteY9" fmla="*/ 41181 h 133226"/>
                <a:gd name="connsiteX10" fmla="*/ 1271 w 161203"/>
                <a:gd name="connsiteY10" fmla="*/ 38113 h 133226"/>
                <a:gd name="connsiteX11" fmla="*/ 4339 w 161203"/>
                <a:gd name="connsiteY11" fmla="*/ 28909 h 133226"/>
                <a:gd name="connsiteX12" fmla="*/ 120930 w 161203"/>
                <a:gd name="connsiteY12" fmla="*/ 10500 h 133226"/>
                <a:gd name="connsiteX13" fmla="*/ 160816 w 161203"/>
                <a:gd name="connsiteY13" fmla="*/ 84136 h 133226"/>
                <a:gd name="connsiteX14" fmla="*/ 148544 w 161203"/>
                <a:gd name="connsiteY14" fmla="*/ 99477 h 133226"/>
                <a:gd name="connsiteX15" fmla="*/ 117862 w 161203"/>
                <a:gd name="connsiteY15" fmla="*/ 90272 h 133226"/>
                <a:gd name="connsiteX16" fmla="*/ 59567 w 161203"/>
                <a:gd name="connsiteY16" fmla="*/ 78000 h 133226"/>
                <a:gd name="connsiteX17" fmla="*/ 41157 w 161203"/>
                <a:gd name="connsiteY17" fmla="*/ 127090 h 133226"/>
                <a:gd name="connsiteX18" fmla="*/ 41157 w 161203"/>
                <a:gd name="connsiteY18" fmla="*/ 133227 h 13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203" h="133226">
                  <a:moveTo>
                    <a:pt x="41157" y="133227"/>
                  </a:moveTo>
                  <a:cubicBezTo>
                    <a:pt x="38089" y="133227"/>
                    <a:pt x="38089" y="133227"/>
                    <a:pt x="38089" y="130159"/>
                  </a:cubicBezTo>
                  <a:cubicBezTo>
                    <a:pt x="35021" y="127090"/>
                    <a:pt x="35021" y="124022"/>
                    <a:pt x="38089" y="120954"/>
                  </a:cubicBezTo>
                  <a:cubicBezTo>
                    <a:pt x="50362" y="111750"/>
                    <a:pt x="53430" y="87204"/>
                    <a:pt x="53430" y="78000"/>
                  </a:cubicBezTo>
                  <a:cubicBezTo>
                    <a:pt x="53430" y="74931"/>
                    <a:pt x="53430" y="74931"/>
                    <a:pt x="56498" y="71863"/>
                  </a:cubicBezTo>
                  <a:cubicBezTo>
                    <a:pt x="87180" y="56522"/>
                    <a:pt x="111725" y="71863"/>
                    <a:pt x="130135" y="81068"/>
                  </a:cubicBezTo>
                  <a:cubicBezTo>
                    <a:pt x="139339" y="87204"/>
                    <a:pt x="145475" y="90272"/>
                    <a:pt x="148544" y="90272"/>
                  </a:cubicBezTo>
                  <a:cubicBezTo>
                    <a:pt x="148544" y="90272"/>
                    <a:pt x="151612" y="90272"/>
                    <a:pt x="151612" y="84136"/>
                  </a:cubicBezTo>
                  <a:cubicBezTo>
                    <a:pt x="154680" y="68795"/>
                    <a:pt x="139339" y="41181"/>
                    <a:pt x="114794" y="22772"/>
                  </a:cubicBezTo>
                  <a:cubicBezTo>
                    <a:pt x="81043" y="-1773"/>
                    <a:pt x="10476" y="41181"/>
                    <a:pt x="10476" y="41181"/>
                  </a:cubicBezTo>
                  <a:cubicBezTo>
                    <a:pt x="7407" y="44249"/>
                    <a:pt x="4339" y="41181"/>
                    <a:pt x="1271" y="38113"/>
                  </a:cubicBezTo>
                  <a:cubicBezTo>
                    <a:pt x="-1797" y="35045"/>
                    <a:pt x="1271" y="31977"/>
                    <a:pt x="4339" y="28909"/>
                  </a:cubicBezTo>
                  <a:cubicBezTo>
                    <a:pt x="7407" y="25840"/>
                    <a:pt x="84112" y="-20182"/>
                    <a:pt x="120930" y="10500"/>
                  </a:cubicBezTo>
                  <a:cubicBezTo>
                    <a:pt x="148544" y="31977"/>
                    <a:pt x="163885" y="65727"/>
                    <a:pt x="160816" y="84136"/>
                  </a:cubicBezTo>
                  <a:cubicBezTo>
                    <a:pt x="160816" y="90272"/>
                    <a:pt x="154680" y="96409"/>
                    <a:pt x="148544" y="99477"/>
                  </a:cubicBezTo>
                  <a:cubicBezTo>
                    <a:pt x="139339" y="102545"/>
                    <a:pt x="130135" y="96409"/>
                    <a:pt x="117862" y="90272"/>
                  </a:cubicBezTo>
                  <a:cubicBezTo>
                    <a:pt x="102521" y="81068"/>
                    <a:pt x="84112" y="68795"/>
                    <a:pt x="59567" y="78000"/>
                  </a:cubicBezTo>
                  <a:cubicBezTo>
                    <a:pt x="59567" y="87204"/>
                    <a:pt x="56498" y="111750"/>
                    <a:pt x="41157" y="127090"/>
                  </a:cubicBezTo>
                  <a:cubicBezTo>
                    <a:pt x="41157" y="133227"/>
                    <a:pt x="41157" y="133227"/>
                    <a:pt x="41157" y="133227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7" name="图形 1">
              <a:extLst>
                <a:ext uri="{FF2B5EF4-FFF2-40B4-BE49-F238E27FC236}">
                  <a16:creationId xmlns:a16="http://schemas.microsoft.com/office/drawing/2014/main" id="{D9106D05-4C98-4DC0-86E8-036B47F6AA38}"/>
                </a:ext>
              </a:extLst>
            </p:cNvPr>
            <p:cNvGrpSpPr/>
            <p:nvPr/>
          </p:nvGrpSpPr>
          <p:grpSpPr>
            <a:xfrm>
              <a:off x="17192599" y="4074363"/>
              <a:ext cx="1282499" cy="1534940"/>
              <a:chOff x="17192599" y="4074363"/>
              <a:chExt cx="1282499" cy="1534940"/>
            </a:xfrm>
          </p:grpSpPr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ECDCD335-6845-4223-AAC6-0EB4CF450A5A}"/>
                  </a:ext>
                </a:extLst>
              </p:cNvPr>
              <p:cNvSpPr/>
              <p:nvPr/>
            </p:nvSpPr>
            <p:spPr>
              <a:xfrm>
                <a:off x="17413508" y="4078386"/>
                <a:ext cx="411136" cy="484667"/>
              </a:xfrm>
              <a:custGeom>
                <a:avLst/>
                <a:gdLst>
                  <a:gd name="connsiteX0" fmla="*/ 6136 w 411136"/>
                  <a:gd name="connsiteY0" fmla="*/ 484668 h 484667"/>
                  <a:gd name="connsiteX1" fmla="*/ 6136 w 411136"/>
                  <a:gd name="connsiteY1" fmla="*/ 484668 h 484667"/>
                  <a:gd name="connsiteX2" fmla="*/ 0 w 411136"/>
                  <a:gd name="connsiteY2" fmla="*/ 478531 h 484667"/>
                  <a:gd name="connsiteX3" fmla="*/ 181023 w 411136"/>
                  <a:gd name="connsiteY3" fmla="*/ 2963 h 484667"/>
                  <a:gd name="connsiteX4" fmla="*/ 260795 w 411136"/>
                  <a:gd name="connsiteY4" fmla="*/ 15236 h 484667"/>
                  <a:gd name="connsiteX5" fmla="*/ 411136 w 411136"/>
                  <a:gd name="connsiteY5" fmla="*/ 368077 h 484667"/>
                  <a:gd name="connsiteX6" fmla="*/ 404999 w 411136"/>
                  <a:gd name="connsiteY6" fmla="*/ 374213 h 484667"/>
                  <a:gd name="connsiteX7" fmla="*/ 398864 w 411136"/>
                  <a:gd name="connsiteY7" fmla="*/ 368077 h 484667"/>
                  <a:gd name="connsiteX8" fmla="*/ 251590 w 411136"/>
                  <a:gd name="connsiteY8" fmla="*/ 24440 h 484667"/>
                  <a:gd name="connsiteX9" fmla="*/ 181023 w 411136"/>
                  <a:gd name="connsiteY9" fmla="*/ 12168 h 484667"/>
                  <a:gd name="connsiteX10" fmla="*/ 9204 w 411136"/>
                  <a:gd name="connsiteY10" fmla="*/ 478531 h 484667"/>
                  <a:gd name="connsiteX11" fmla="*/ 6136 w 411136"/>
                  <a:gd name="connsiteY11" fmla="*/ 484668 h 484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11136" h="484667">
                    <a:moveTo>
                      <a:pt x="6136" y="484668"/>
                    </a:moveTo>
                    <a:cubicBezTo>
                      <a:pt x="6136" y="484668"/>
                      <a:pt x="6136" y="484668"/>
                      <a:pt x="6136" y="484668"/>
                    </a:cubicBezTo>
                    <a:cubicBezTo>
                      <a:pt x="3067" y="484668"/>
                      <a:pt x="0" y="481599"/>
                      <a:pt x="0" y="478531"/>
                    </a:cubicBezTo>
                    <a:cubicBezTo>
                      <a:pt x="3067" y="460122"/>
                      <a:pt x="39886" y="39781"/>
                      <a:pt x="181023" y="2963"/>
                    </a:cubicBezTo>
                    <a:cubicBezTo>
                      <a:pt x="208636" y="-3173"/>
                      <a:pt x="236249" y="-105"/>
                      <a:pt x="260795" y="15236"/>
                    </a:cubicBezTo>
                    <a:cubicBezTo>
                      <a:pt x="368182" y="85804"/>
                      <a:pt x="411136" y="355804"/>
                      <a:pt x="411136" y="368077"/>
                    </a:cubicBezTo>
                    <a:cubicBezTo>
                      <a:pt x="411136" y="371145"/>
                      <a:pt x="408068" y="374213"/>
                      <a:pt x="404999" y="374213"/>
                    </a:cubicBezTo>
                    <a:cubicBezTo>
                      <a:pt x="401931" y="374213"/>
                      <a:pt x="398864" y="371145"/>
                      <a:pt x="398864" y="368077"/>
                    </a:cubicBezTo>
                    <a:cubicBezTo>
                      <a:pt x="398864" y="365008"/>
                      <a:pt x="355908" y="91940"/>
                      <a:pt x="251590" y="24440"/>
                    </a:cubicBezTo>
                    <a:cubicBezTo>
                      <a:pt x="230114" y="9099"/>
                      <a:pt x="205568" y="6031"/>
                      <a:pt x="181023" y="12168"/>
                    </a:cubicBezTo>
                    <a:cubicBezTo>
                      <a:pt x="46023" y="48986"/>
                      <a:pt x="9204" y="475463"/>
                      <a:pt x="9204" y="478531"/>
                    </a:cubicBezTo>
                    <a:cubicBezTo>
                      <a:pt x="12273" y="481599"/>
                      <a:pt x="9204" y="484668"/>
                      <a:pt x="6136" y="4846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93" name="图形 1">
                <a:extLst>
                  <a:ext uri="{FF2B5EF4-FFF2-40B4-BE49-F238E27FC236}">
                    <a16:creationId xmlns:a16="http://schemas.microsoft.com/office/drawing/2014/main" id="{FB495CC2-531F-41B4-ABEF-067F2B024B42}"/>
                  </a:ext>
                </a:extLst>
              </p:cNvPr>
              <p:cNvGrpSpPr/>
              <p:nvPr/>
            </p:nvGrpSpPr>
            <p:grpSpPr>
              <a:xfrm>
                <a:off x="17192599" y="4293054"/>
                <a:ext cx="1282499" cy="1316249"/>
                <a:chOff x="17192599" y="4293054"/>
                <a:chExt cx="1282499" cy="1316249"/>
              </a:xfrm>
            </p:grpSpPr>
            <p:sp>
              <p:nvSpPr>
                <p:cNvPr id="97" name="任意多边形: 形状 96">
                  <a:extLst>
                    <a:ext uri="{FF2B5EF4-FFF2-40B4-BE49-F238E27FC236}">
                      <a16:creationId xmlns:a16="http://schemas.microsoft.com/office/drawing/2014/main" id="{B8C6DC9B-A952-44E7-86ED-1F4FFAC3B296}"/>
                    </a:ext>
                  </a:extLst>
                </p:cNvPr>
                <p:cNvSpPr/>
                <p:nvPr/>
              </p:nvSpPr>
              <p:spPr>
                <a:xfrm>
                  <a:off x="17312258" y="4293054"/>
                  <a:ext cx="1162840" cy="1316249"/>
                </a:xfrm>
                <a:custGeom>
                  <a:avLst/>
                  <a:gdLst>
                    <a:gd name="connsiteX0" fmla="*/ 0 w 1162840"/>
                    <a:gd name="connsiteY0" fmla="*/ 205568 h 1316249"/>
                    <a:gd name="connsiteX1" fmla="*/ 196363 w 1162840"/>
                    <a:gd name="connsiteY1" fmla="*/ 1316250 h 1316249"/>
                    <a:gd name="connsiteX2" fmla="*/ 1162841 w 1162840"/>
                    <a:gd name="connsiteY2" fmla="*/ 1024773 h 1316249"/>
                    <a:gd name="connsiteX3" fmla="*/ 788522 w 1162840"/>
                    <a:gd name="connsiteY3" fmla="*/ 0 h 13162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2840" h="1316249">
                      <a:moveTo>
                        <a:pt x="0" y="205568"/>
                      </a:moveTo>
                      <a:lnTo>
                        <a:pt x="196363" y="1316250"/>
                      </a:lnTo>
                      <a:lnTo>
                        <a:pt x="1162841" y="1024773"/>
                      </a:lnTo>
                      <a:lnTo>
                        <a:pt x="788522" y="0"/>
                      </a:lnTo>
                      <a:close/>
                    </a:path>
                  </a:pathLst>
                </a:custGeom>
                <a:solidFill>
                  <a:srgbClr val="F1DDBB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" name="任意多边形: 形状 97">
                  <a:extLst>
                    <a:ext uri="{FF2B5EF4-FFF2-40B4-BE49-F238E27FC236}">
                      <a16:creationId xmlns:a16="http://schemas.microsoft.com/office/drawing/2014/main" id="{9C85FF44-E775-4FBF-A77D-F8BA5E83F1D7}"/>
                    </a:ext>
                  </a:extLst>
                </p:cNvPr>
                <p:cNvSpPr/>
                <p:nvPr/>
              </p:nvSpPr>
              <p:spPr>
                <a:xfrm>
                  <a:off x="17192599" y="4293054"/>
                  <a:ext cx="908181" cy="220908"/>
                </a:xfrm>
                <a:custGeom>
                  <a:avLst/>
                  <a:gdLst>
                    <a:gd name="connsiteX0" fmla="*/ 908181 w 908181"/>
                    <a:gd name="connsiteY0" fmla="*/ 0 h 220908"/>
                    <a:gd name="connsiteX1" fmla="*/ 708750 w 908181"/>
                    <a:gd name="connsiteY1" fmla="*/ 27613 h 220908"/>
                    <a:gd name="connsiteX2" fmla="*/ 0 w 908181"/>
                    <a:gd name="connsiteY2" fmla="*/ 220909 h 220908"/>
                    <a:gd name="connsiteX3" fmla="*/ 119659 w 908181"/>
                    <a:gd name="connsiteY3" fmla="*/ 205568 h 2209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08181" h="220908">
                      <a:moveTo>
                        <a:pt x="908181" y="0"/>
                      </a:moveTo>
                      <a:lnTo>
                        <a:pt x="708750" y="27613"/>
                      </a:lnTo>
                      <a:lnTo>
                        <a:pt x="0" y="220909"/>
                      </a:lnTo>
                      <a:lnTo>
                        <a:pt x="119659" y="205568"/>
                      </a:lnTo>
                      <a:close/>
                    </a:path>
                  </a:pathLst>
                </a:custGeom>
                <a:solidFill>
                  <a:srgbClr val="E5CAA3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9" name="任意多边形: 形状 98">
                  <a:extLst>
                    <a:ext uri="{FF2B5EF4-FFF2-40B4-BE49-F238E27FC236}">
                      <a16:creationId xmlns:a16="http://schemas.microsoft.com/office/drawing/2014/main" id="{2775D8F0-C733-402F-B9A3-1CF75333A958}"/>
                    </a:ext>
                  </a:extLst>
                </p:cNvPr>
                <p:cNvSpPr/>
                <p:nvPr/>
              </p:nvSpPr>
              <p:spPr>
                <a:xfrm>
                  <a:off x="17192599" y="4498622"/>
                  <a:ext cx="316022" cy="1110681"/>
                </a:xfrm>
                <a:custGeom>
                  <a:avLst/>
                  <a:gdLst>
                    <a:gd name="connsiteX0" fmla="*/ 141137 w 316022"/>
                    <a:gd name="connsiteY0" fmla="*/ 1052387 h 1110681"/>
                    <a:gd name="connsiteX1" fmla="*/ 316022 w 316022"/>
                    <a:gd name="connsiteY1" fmla="*/ 1110682 h 1110681"/>
                    <a:gd name="connsiteX2" fmla="*/ 119659 w 316022"/>
                    <a:gd name="connsiteY2" fmla="*/ 0 h 1110681"/>
                    <a:gd name="connsiteX3" fmla="*/ 0 w 316022"/>
                    <a:gd name="connsiteY3" fmla="*/ 15341 h 1110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022" h="1110681">
                      <a:moveTo>
                        <a:pt x="141137" y="1052387"/>
                      </a:moveTo>
                      <a:lnTo>
                        <a:pt x="316022" y="1110682"/>
                      </a:lnTo>
                      <a:lnTo>
                        <a:pt x="119659" y="0"/>
                      </a:lnTo>
                      <a:lnTo>
                        <a:pt x="0" y="15341"/>
                      </a:lnTo>
                      <a:close/>
                    </a:path>
                  </a:pathLst>
                </a:custGeom>
                <a:solidFill>
                  <a:srgbClr val="E5CAA3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64B2EA54-2F01-4C00-B3DD-D219359F92E6}"/>
                  </a:ext>
                </a:extLst>
              </p:cNvPr>
              <p:cNvSpPr/>
              <p:nvPr/>
            </p:nvSpPr>
            <p:spPr>
              <a:xfrm>
                <a:off x="17488852" y="4074363"/>
                <a:ext cx="418632" cy="467213"/>
              </a:xfrm>
              <a:custGeom>
                <a:avLst/>
                <a:gdLst>
                  <a:gd name="connsiteX0" fmla="*/ 13633 w 418632"/>
                  <a:gd name="connsiteY0" fmla="*/ 467213 h 467213"/>
                  <a:gd name="connsiteX1" fmla="*/ 7497 w 418632"/>
                  <a:gd name="connsiteY1" fmla="*/ 461077 h 467213"/>
                  <a:gd name="connsiteX2" fmla="*/ 105679 w 418632"/>
                  <a:gd name="connsiteY2" fmla="*/ 3918 h 467213"/>
                  <a:gd name="connsiteX3" fmla="*/ 418633 w 418632"/>
                  <a:gd name="connsiteY3" fmla="*/ 347554 h 467213"/>
                  <a:gd name="connsiteX4" fmla="*/ 415565 w 418632"/>
                  <a:gd name="connsiteY4" fmla="*/ 353691 h 467213"/>
                  <a:gd name="connsiteX5" fmla="*/ 409429 w 418632"/>
                  <a:gd name="connsiteY5" fmla="*/ 350622 h 467213"/>
                  <a:gd name="connsiteX6" fmla="*/ 111815 w 418632"/>
                  <a:gd name="connsiteY6" fmla="*/ 16190 h 467213"/>
                  <a:gd name="connsiteX7" fmla="*/ 22838 w 418632"/>
                  <a:gd name="connsiteY7" fmla="*/ 461077 h 467213"/>
                  <a:gd name="connsiteX8" fmla="*/ 13633 w 418632"/>
                  <a:gd name="connsiteY8" fmla="*/ 467213 h 467213"/>
                  <a:gd name="connsiteX9" fmla="*/ 13633 w 418632"/>
                  <a:gd name="connsiteY9" fmla="*/ 467213 h 467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8632" h="467213">
                    <a:moveTo>
                      <a:pt x="13633" y="467213"/>
                    </a:moveTo>
                    <a:cubicBezTo>
                      <a:pt x="10565" y="467213"/>
                      <a:pt x="7497" y="464145"/>
                      <a:pt x="7497" y="461077"/>
                    </a:cubicBezTo>
                    <a:cubicBezTo>
                      <a:pt x="4428" y="442668"/>
                      <a:pt x="-35458" y="43804"/>
                      <a:pt x="105679" y="3918"/>
                    </a:cubicBezTo>
                    <a:cubicBezTo>
                      <a:pt x="271361" y="-42105"/>
                      <a:pt x="412497" y="332213"/>
                      <a:pt x="418633" y="347554"/>
                    </a:cubicBezTo>
                    <a:cubicBezTo>
                      <a:pt x="418633" y="350622"/>
                      <a:pt x="418633" y="353691"/>
                      <a:pt x="415565" y="353691"/>
                    </a:cubicBezTo>
                    <a:cubicBezTo>
                      <a:pt x="412497" y="353691"/>
                      <a:pt x="409429" y="353691"/>
                      <a:pt x="409429" y="350622"/>
                    </a:cubicBezTo>
                    <a:cubicBezTo>
                      <a:pt x="409429" y="347554"/>
                      <a:pt x="265224" y="-26764"/>
                      <a:pt x="111815" y="16190"/>
                    </a:cubicBezTo>
                    <a:cubicBezTo>
                      <a:pt x="-20117" y="53009"/>
                      <a:pt x="19769" y="454941"/>
                      <a:pt x="22838" y="461077"/>
                    </a:cubicBezTo>
                    <a:cubicBezTo>
                      <a:pt x="19769" y="464145"/>
                      <a:pt x="16702" y="467213"/>
                      <a:pt x="13633" y="467213"/>
                    </a:cubicBezTo>
                    <a:cubicBezTo>
                      <a:pt x="13633" y="467213"/>
                      <a:pt x="13633" y="467213"/>
                      <a:pt x="13633" y="46721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712DFB91-0F39-4359-8E74-0C89046C6B29}"/>
                  </a:ext>
                </a:extLst>
              </p:cNvPr>
              <p:cNvSpPr/>
              <p:nvPr/>
            </p:nvSpPr>
            <p:spPr>
              <a:xfrm>
                <a:off x="17471216" y="4503488"/>
                <a:ext cx="63222" cy="62634"/>
              </a:xfrm>
              <a:custGeom>
                <a:avLst/>
                <a:gdLst>
                  <a:gd name="connsiteX0" fmla="*/ 31270 w 63222"/>
                  <a:gd name="connsiteY0" fmla="*/ 62634 h 62634"/>
                  <a:gd name="connsiteX1" fmla="*/ 588 w 63222"/>
                  <a:gd name="connsiteY1" fmla="*/ 38089 h 62634"/>
                  <a:gd name="connsiteX2" fmla="*/ 22065 w 63222"/>
                  <a:gd name="connsiteY2" fmla="*/ 1271 h 62634"/>
                  <a:gd name="connsiteX3" fmla="*/ 46611 w 63222"/>
                  <a:gd name="connsiteY3" fmla="*/ 4339 h 62634"/>
                  <a:gd name="connsiteX4" fmla="*/ 61952 w 63222"/>
                  <a:gd name="connsiteY4" fmla="*/ 22748 h 62634"/>
                  <a:gd name="connsiteX5" fmla="*/ 61952 w 63222"/>
                  <a:gd name="connsiteY5" fmla="*/ 22748 h 62634"/>
                  <a:gd name="connsiteX6" fmla="*/ 58883 w 63222"/>
                  <a:gd name="connsiteY6" fmla="*/ 47294 h 62634"/>
                  <a:gd name="connsiteX7" fmla="*/ 40474 w 63222"/>
                  <a:gd name="connsiteY7" fmla="*/ 62634 h 62634"/>
                  <a:gd name="connsiteX8" fmla="*/ 31270 w 63222"/>
                  <a:gd name="connsiteY8" fmla="*/ 62634 h 62634"/>
                  <a:gd name="connsiteX9" fmla="*/ 31270 w 63222"/>
                  <a:gd name="connsiteY9" fmla="*/ 10475 h 62634"/>
                  <a:gd name="connsiteX10" fmla="*/ 25133 w 63222"/>
                  <a:gd name="connsiteY10" fmla="*/ 10475 h 62634"/>
                  <a:gd name="connsiteX11" fmla="*/ 9792 w 63222"/>
                  <a:gd name="connsiteY11" fmla="*/ 35021 h 62634"/>
                  <a:gd name="connsiteX12" fmla="*/ 34338 w 63222"/>
                  <a:gd name="connsiteY12" fmla="*/ 50362 h 62634"/>
                  <a:gd name="connsiteX13" fmla="*/ 46611 w 63222"/>
                  <a:gd name="connsiteY13" fmla="*/ 41157 h 62634"/>
                  <a:gd name="connsiteX14" fmla="*/ 49679 w 63222"/>
                  <a:gd name="connsiteY14" fmla="*/ 25816 h 62634"/>
                  <a:gd name="connsiteX15" fmla="*/ 49679 w 63222"/>
                  <a:gd name="connsiteY15" fmla="*/ 25816 h 62634"/>
                  <a:gd name="connsiteX16" fmla="*/ 40474 w 63222"/>
                  <a:gd name="connsiteY16" fmla="*/ 13544 h 62634"/>
                  <a:gd name="connsiteX17" fmla="*/ 31270 w 63222"/>
                  <a:gd name="connsiteY17" fmla="*/ 10475 h 62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3222" h="62634">
                    <a:moveTo>
                      <a:pt x="31270" y="62634"/>
                    </a:moveTo>
                    <a:cubicBezTo>
                      <a:pt x="18997" y="62634"/>
                      <a:pt x="3656" y="53430"/>
                      <a:pt x="588" y="38089"/>
                    </a:cubicBezTo>
                    <a:cubicBezTo>
                      <a:pt x="-2480" y="22748"/>
                      <a:pt x="6724" y="4339"/>
                      <a:pt x="22065" y="1271"/>
                    </a:cubicBezTo>
                    <a:cubicBezTo>
                      <a:pt x="31270" y="-1797"/>
                      <a:pt x="37406" y="1271"/>
                      <a:pt x="46611" y="4339"/>
                    </a:cubicBezTo>
                    <a:cubicBezTo>
                      <a:pt x="52746" y="7407"/>
                      <a:pt x="58883" y="16612"/>
                      <a:pt x="61952" y="22748"/>
                    </a:cubicBezTo>
                    <a:lnTo>
                      <a:pt x="61952" y="22748"/>
                    </a:lnTo>
                    <a:cubicBezTo>
                      <a:pt x="65020" y="31953"/>
                      <a:pt x="61952" y="38089"/>
                      <a:pt x="58883" y="47294"/>
                    </a:cubicBezTo>
                    <a:cubicBezTo>
                      <a:pt x="55815" y="53430"/>
                      <a:pt x="46611" y="59566"/>
                      <a:pt x="40474" y="62634"/>
                    </a:cubicBezTo>
                    <a:cubicBezTo>
                      <a:pt x="37406" y="62634"/>
                      <a:pt x="34338" y="62634"/>
                      <a:pt x="31270" y="62634"/>
                    </a:cubicBezTo>
                    <a:close/>
                    <a:moveTo>
                      <a:pt x="31270" y="10475"/>
                    </a:moveTo>
                    <a:cubicBezTo>
                      <a:pt x="28201" y="10475"/>
                      <a:pt x="28201" y="10475"/>
                      <a:pt x="25133" y="10475"/>
                    </a:cubicBezTo>
                    <a:cubicBezTo>
                      <a:pt x="15929" y="13544"/>
                      <a:pt x="6724" y="22748"/>
                      <a:pt x="9792" y="35021"/>
                    </a:cubicBezTo>
                    <a:cubicBezTo>
                      <a:pt x="12860" y="44225"/>
                      <a:pt x="22065" y="53430"/>
                      <a:pt x="34338" y="50362"/>
                    </a:cubicBezTo>
                    <a:cubicBezTo>
                      <a:pt x="40474" y="50362"/>
                      <a:pt x="43542" y="44225"/>
                      <a:pt x="46611" y="41157"/>
                    </a:cubicBezTo>
                    <a:cubicBezTo>
                      <a:pt x="49679" y="35021"/>
                      <a:pt x="49679" y="31953"/>
                      <a:pt x="49679" y="25816"/>
                    </a:cubicBezTo>
                    <a:lnTo>
                      <a:pt x="49679" y="25816"/>
                    </a:lnTo>
                    <a:cubicBezTo>
                      <a:pt x="49679" y="19680"/>
                      <a:pt x="43542" y="16612"/>
                      <a:pt x="40474" y="13544"/>
                    </a:cubicBezTo>
                    <a:cubicBezTo>
                      <a:pt x="37406" y="13544"/>
                      <a:pt x="34338" y="10475"/>
                      <a:pt x="31270" y="1047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77623017-C321-4E9B-82CC-5C2104980F76}"/>
                  </a:ext>
                </a:extLst>
              </p:cNvPr>
              <p:cNvSpPr/>
              <p:nvPr/>
            </p:nvSpPr>
            <p:spPr>
              <a:xfrm>
                <a:off x="17869396" y="4396784"/>
                <a:ext cx="60154" cy="61951"/>
              </a:xfrm>
              <a:custGeom>
                <a:avLst/>
                <a:gdLst>
                  <a:gd name="connsiteX0" fmla="*/ 31953 w 60154"/>
                  <a:gd name="connsiteY0" fmla="*/ 61951 h 61951"/>
                  <a:gd name="connsiteX1" fmla="*/ 16612 w 60154"/>
                  <a:gd name="connsiteY1" fmla="*/ 58883 h 61951"/>
                  <a:gd name="connsiteX2" fmla="*/ 1271 w 60154"/>
                  <a:gd name="connsiteY2" fmla="*/ 40474 h 61951"/>
                  <a:gd name="connsiteX3" fmla="*/ 4339 w 60154"/>
                  <a:gd name="connsiteY3" fmla="*/ 15929 h 61951"/>
                  <a:gd name="connsiteX4" fmla="*/ 22748 w 60154"/>
                  <a:gd name="connsiteY4" fmla="*/ 588 h 61951"/>
                  <a:gd name="connsiteX5" fmla="*/ 59566 w 60154"/>
                  <a:gd name="connsiteY5" fmla="*/ 22065 h 61951"/>
                  <a:gd name="connsiteX6" fmla="*/ 59566 w 60154"/>
                  <a:gd name="connsiteY6" fmla="*/ 22065 h 61951"/>
                  <a:gd name="connsiteX7" fmla="*/ 38089 w 60154"/>
                  <a:gd name="connsiteY7" fmla="*/ 58883 h 61951"/>
                  <a:gd name="connsiteX8" fmla="*/ 31953 w 60154"/>
                  <a:gd name="connsiteY8" fmla="*/ 61951 h 61951"/>
                  <a:gd name="connsiteX9" fmla="*/ 31953 w 60154"/>
                  <a:gd name="connsiteY9" fmla="*/ 12861 h 61951"/>
                  <a:gd name="connsiteX10" fmla="*/ 25816 w 60154"/>
                  <a:gd name="connsiteY10" fmla="*/ 12861 h 61951"/>
                  <a:gd name="connsiteX11" fmla="*/ 13544 w 60154"/>
                  <a:gd name="connsiteY11" fmla="*/ 22065 h 61951"/>
                  <a:gd name="connsiteX12" fmla="*/ 10475 w 60154"/>
                  <a:gd name="connsiteY12" fmla="*/ 37406 h 61951"/>
                  <a:gd name="connsiteX13" fmla="*/ 19680 w 60154"/>
                  <a:gd name="connsiteY13" fmla="*/ 49679 h 61951"/>
                  <a:gd name="connsiteX14" fmla="*/ 35021 w 60154"/>
                  <a:gd name="connsiteY14" fmla="*/ 52747 h 61951"/>
                  <a:gd name="connsiteX15" fmla="*/ 50362 w 60154"/>
                  <a:gd name="connsiteY15" fmla="*/ 28202 h 61951"/>
                  <a:gd name="connsiteX16" fmla="*/ 50362 w 60154"/>
                  <a:gd name="connsiteY16" fmla="*/ 28202 h 61951"/>
                  <a:gd name="connsiteX17" fmla="*/ 31953 w 60154"/>
                  <a:gd name="connsiteY17" fmla="*/ 12861 h 61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0154" h="61951">
                    <a:moveTo>
                      <a:pt x="31953" y="61951"/>
                    </a:moveTo>
                    <a:cubicBezTo>
                      <a:pt x="25816" y="61951"/>
                      <a:pt x="19680" y="61951"/>
                      <a:pt x="16612" y="58883"/>
                    </a:cubicBezTo>
                    <a:cubicBezTo>
                      <a:pt x="10475" y="55815"/>
                      <a:pt x="4339" y="46611"/>
                      <a:pt x="1271" y="40474"/>
                    </a:cubicBezTo>
                    <a:cubicBezTo>
                      <a:pt x="-1797" y="31270"/>
                      <a:pt x="1271" y="25133"/>
                      <a:pt x="4339" y="15929"/>
                    </a:cubicBezTo>
                    <a:cubicBezTo>
                      <a:pt x="7407" y="9792"/>
                      <a:pt x="16612" y="3656"/>
                      <a:pt x="22748" y="588"/>
                    </a:cubicBezTo>
                    <a:cubicBezTo>
                      <a:pt x="38089" y="-2480"/>
                      <a:pt x="56498" y="6724"/>
                      <a:pt x="59566" y="22065"/>
                    </a:cubicBezTo>
                    <a:lnTo>
                      <a:pt x="59566" y="22065"/>
                    </a:lnTo>
                    <a:cubicBezTo>
                      <a:pt x="62635" y="37406"/>
                      <a:pt x="53429" y="55815"/>
                      <a:pt x="38089" y="58883"/>
                    </a:cubicBezTo>
                    <a:cubicBezTo>
                      <a:pt x="38089" y="61951"/>
                      <a:pt x="35021" y="61951"/>
                      <a:pt x="31953" y="61951"/>
                    </a:cubicBezTo>
                    <a:close/>
                    <a:moveTo>
                      <a:pt x="31953" y="12861"/>
                    </a:moveTo>
                    <a:cubicBezTo>
                      <a:pt x="28884" y="12861"/>
                      <a:pt x="28884" y="12861"/>
                      <a:pt x="25816" y="12861"/>
                    </a:cubicBezTo>
                    <a:cubicBezTo>
                      <a:pt x="19680" y="12861"/>
                      <a:pt x="16612" y="18997"/>
                      <a:pt x="13544" y="22065"/>
                    </a:cubicBezTo>
                    <a:cubicBezTo>
                      <a:pt x="10475" y="28202"/>
                      <a:pt x="10475" y="31270"/>
                      <a:pt x="10475" y="37406"/>
                    </a:cubicBezTo>
                    <a:cubicBezTo>
                      <a:pt x="10475" y="43542"/>
                      <a:pt x="16612" y="46611"/>
                      <a:pt x="19680" y="49679"/>
                    </a:cubicBezTo>
                    <a:cubicBezTo>
                      <a:pt x="25816" y="52747"/>
                      <a:pt x="28884" y="52747"/>
                      <a:pt x="35021" y="52747"/>
                    </a:cubicBezTo>
                    <a:cubicBezTo>
                      <a:pt x="44225" y="49679"/>
                      <a:pt x="53429" y="40474"/>
                      <a:pt x="50362" y="28202"/>
                    </a:cubicBezTo>
                    <a:lnTo>
                      <a:pt x="50362" y="28202"/>
                    </a:lnTo>
                    <a:cubicBezTo>
                      <a:pt x="50362" y="18997"/>
                      <a:pt x="41157" y="12861"/>
                      <a:pt x="31953" y="1286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8" name="图形 1">
              <a:extLst>
                <a:ext uri="{FF2B5EF4-FFF2-40B4-BE49-F238E27FC236}">
                  <a16:creationId xmlns:a16="http://schemas.microsoft.com/office/drawing/2014/main" id="{CA52359F-FE8B-494A-9661-858B8D745AD2}"/>
                </a:ext>
              </a:extLst>
            </p:cNvPr>
            <p:cNvGrpSpPr/>
            <p:nvPr/>
          </p:nvGrpSpPr>
          <p:grpSpPr>
            <a:xfrm>
              <a:off x="17515151" y="3957683"/>
              <a:ext cx="197434" cy="248337"/>
              <a:chOff x="17515151" y="3957683"/>
              <a:chExt cx="197434" cy="248337"/>
            </a:xfrm>
          </p:grpSpPr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C64693E5-BD47-4ABC-B89E-D87E1EB5F08E}"/>
                  </a:ext>
                </a:extLst>
              </p:cNvPr>
              <p:cNvSpPr/>
              <p:nvPr/>
            </p:nvSpPr>
            <p:spPr>
              <a:xfrm>
                <a:off x="17522781" y="3957683"/>
                <a:ext cx="189804" cy="248337"/>
              </a:xfrm>
              <a:custGeom>
                <a:avLst/>
                <a:gdLst>
                  <a:gd name="connsiteX0" fmla="*/ 169931 w 189804"/>
                  <a:gd name="connsiteY0" fmla="*/ 10144 h 248337"/>
                  <a:gd name="connsiteX1" fmla="*/ 62545 w 189804"/>
                  <a:gd name="connsiteY1" fmla="*/ 4007 h 248337"/>
                  <a:gd name="connsiteX2" fmla="*/ 4250 w 189804"/>
                  <a:gd name="connsiteY2" fmla="*/ 188098 h 248337"/>
                  <a:gd name="connsiteX3" fmla="*/ 16522 w 189804"/>
                  <a:gd name="connsiteY3" fmla="*/ 240257 h 248337"/>
                  <a:gd name="connsiteX4" fmla="*/ 47204 w 189804"/>
                  <a:gd name="connsiteY4" fmla="*/ 234121 h 248337"/>
                  <a:gd name="connsiteX5" fmla="*/ 93227 w 189804"/>
                  <a:gd name="connsiteY5" fmla="*/ 237189 h 248337"/>
                  <a:gd name="connsiteX6" fmla="*/ 120841 w 189804"/>
                  <a:gd name="connsiteY6" fmla="*/ 246394 h 248337"/>
                  <a:gd name="connsiteX7" fmla="*/ 145386 w 189804"/>
                  <a:gd name="connsiteY7" fmla="*/ 221848 h 248337"/>
                  <a:gd name="connsiteX8" fmla="*/ 188341 w 189804"/>
                  <a:gd name="connsiteY8" fmla="*/ 206507 h 248337"/>
                  <a:gd name="connsiteX9" fmla="*/ 182205 w 189804"/>
                  <a:gd name="connsiteY9" fmla="*/ 135939 h 248337"/>
                  <a:gd name="connsiteX10" fmla="*/ 179136 w 189804"/>
                  <a:gd name="connsiteY10" fmla="*/ 25485 h 248337"/>
                  <a:gd name="connsiteX11" fmla="*/ 169931 w 189804"/>
                  <a:gd name="connsiteY11" fmla="*/ 10144 h 248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9804" h="248337">
                    <a:moveTo>
                      <a:pt x="169931" y="10144"/>
                    </a:moveTo>
                    <a:cubicBezTo>
                      <a:pt x="136182" y="-8265"/>
                      <a:pt x="62545" y="4007"/>
                      <a:pt x="62545" y="4007"/>
                    </a:cubicBezTo>
                    <a:cubicBezTo>
                      <a:pt x="44137" y="80712"/>
                      <a:pt x="10386" y="108326"/>
                      <a:pt x="4250" y="188098"/>
                    </a:cubicBezTo>
                    <a:cubicBezTo>
                      <a:pt x="4250" y="200371"/>
                      <a:pt x="-11091" y="231053"/>
                      <a:pt x="16522" y="240257"/>
                    </a:cubicBezTo>
                    <a:cubicBezTo>
                      <a:pt x="22659" y="243326"/>
                      <a:pt x="41068" y="249462"/>
                      <a:pt x="47204" y="234121"/>
                    </a:cubicBezTo>
                    <a:cubicBezTo>
                      <a:pt x="56409" y="252530"/>
                      <a:pt x="90159" y="252530"/>
                      <a:pt x="93227" y="237189"/>
                    </a:cubicBezTo>
                    <a:cubicBezTo>
                      <a:pt x="96295" y="243326"/>
                      <a:pt x="114704" y="246394"/>
                      <a:pt x="120841" y="246394"/>
                    </a:cubicBezTo>
                    <a:cubicBezTo>
                      <a:pt x="136182" y="243326"/>
                      <a:pt x="142318" y="237189"/>
                      <a:pt x="145386" y="221848"/>
                    </a:cubicBezTo>
                    <a:cubicBezTo>
                      <a:pt x="160727" y="231053"/>
                      <a:pt x="182205" y="227985"/>
                      <a:pt x="188341" y="206507"/>
                    </a:cubicBezTo>
                    <a:cubicBezTo>
                      <a:pt x="194477" y="178894"/>
                      <a:pt x="179136" y="166621"/>
                      <a:pt x="182205" y="135939"/>
                    </a:cubicBezTo>
                    <a:cubicBezTo>
                      <a:pt x="188341" y="68439"/>
                      <a:pt x="176068" y="56166"/>
                      <a:pt x="179136" y="25485"/>
                    </a:cubicBezTo>
                    <a:cubicBezTo>
                      <a:pt x="179136" y="4007"/>
                      <a:pt x="191409" y="19348"/>
                      <a:pt x="169931" y="1014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6AFE145F-0D16-4E86-9592-4CFE5DDEC671}"/>
                  </a:ext>
                </a:extLst>
              </p:cNvPr>
              <p:cNvSpPr/>
              <p:nvPr/>
            </p:nvSpPr>
            <p:spPr>
              <a:xfrm>
                <a:off x="17515151" y="4066009"/>
                <a:ext cx="65310" cy="138068"/>
              </a:xfrm>
              <a:custGeom>
                <a:avLst/>
                <a:gdLst>
                  <a:gd name="connsiteX0" fmla="*/ 30289 w 65310"/>
                  <a:gd name="connsiteY0" fmla="*/ 138068 h 138068"/>
                  <a:gd name="connsiteX1" fmla="*/ 18017 w 65310"/>
                  <a:gd name="connsiteY1" fmla="*/ 135000 h 138068"/>
                  <a:gd name="connsiteX2" fmla="*/ 2676 w 65310"/>
                  <a:gd name="connsiteY2" fmla="*/ 116591 h 138068"/>
                  <a:gd name="connsiteX3" fmla="*/ 27221 w 65310"/>
                  <a:gd name="connsiteY3" fmla="*/ 3068 h 138068"/>
                  <a:gd name="connsiteX4" fmla="*/ 36426 w 65310"/>
                  <a:gd name="connsiteY4" fmla="*/ 0 h 138068"/>
                  <a:gd name="connsiteX5" fmla="*/ 39493 w 65310"/>
                  <a:gd name="connsiteY5" fmla="*/ 9204 h 138068"/>
                  <a:gd name="connsiteX6" fmla="*/ 14948 w 65310"/>
                  <a:gd name="connsiteY6" fmla="*/ 113523 h 138068"/>
                  <a:gd name="connsiteX7" fmla="*/ 24153 w 65310"/>
                  <a:gd name="connsiteY7" fmla="*/ 125795 h 138068"/>
                  <a:gd name="connsiteX8" fmla="*/ 54834 w 65310"/>
                  <a:gd name="connsiteY8" fmla="*/ 119659 h 138068"/>
                  <a:gd name="connsiteX9" fmla="*/ 64039 w 65310"/>
                  <a:gd name="connsiteY9" fmla="*/ 122727 h 138068"/>
                  <a:gd name="connsiteX10" fmla="*/ 60971 w 65310"/>
                  <a:gd name="connsiteY10" fmla="*/ 131932 h 138068"/>
                  <a:gd name="connsiteX11" fmla="*/ 30289 w 65310"/>
                  <a:gd name="connsiteY11" fmla="*/ 138068 h 138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5310" h="138068">
                    <a:moveTo>
                      <a:pt x="30289" y="138068"/>
                    </a:moveTo>
                    <a:cubicBezTo>
                      <a:pt x="27221" y="138068"/>
                      <a:pt x="21085" y="138068"/>
                      <a:pt x="18017" y="135000"/>
                    </a:cubicBezTo>
                    <a:cubicBezTo>
                      <a:pt x="11880" y="131932"/>
                      <a:pt x="5744" y="125795"/>
                      <a:pt x="2676" y="116591"/>
                    </a:cubicBezTo>
                    <a:cubicBezTo>
                      <a:pt x="-9597" y="79773"/>
                      <a:pt x="24153" y="6136"/>
                      <a:pt x="27221" y="3068"/>
                    </a:cubicBezTo>
                    <a:cubicBezTo>
                      <a:pt x="27221" y="0"/>
                      <a:pt x="33358" y="0"/>
                      <a:pt x="36426" y="0"/>
                    </a:cubicBezTo>
                    <a:cubicBezTo>
                      <a:pt x="39493" y="0"/>
                      <a:pt x="39493" y="6136"/>
                      <a:pt x="39493" y="9204"/>
                    </a:cubicBezTo>
                    <a:cubicBezTo>
                      <a:pt x="39493" y="9204"/>
                      <a:pt x="5744" y="79773"/>
                      <a:pt x="14948" y="113523"/>
                    </a:cubicBezTo>
                    <a:cubicBezTo>
                      <a:pt x="18017" y="119659"/>
                      <a:pt x="18017" y="122727"/>
                      <a:pt x="24153" y="125795"/>
                    </a:cubicBezTo>
                    <a:cubicBezTo>
                      <a:pt x="33358" y="128864"/>
                      <a:pt x="48699" y="122727"/>
                      <a:pt x="54834" y="119659"/>
                    </a:cubicBezTo>
                    <a:cubicBezTo>
                      <a:pt x="57903" y="116591"/>
                      <a:pt x="60971" y="119659"/>
                      <a:pt x="64039" y="122727"/>
                    </a:cubicBezTo>
                    <a:cubicBezTo>
                      <a:pt x="67108" y="125795"/>
                      <a:pt x="64039" y="128864"/>
                      <a:pt x="60971" y="131932"/>
                    </a:cubicBezTo>
                    <a:cubicBezTo>
                      <a:pt x="57903" y="131932"/>
                      <a:pt x="45630" y="138068"/>
                      <a:pt x="30289" y="13806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7BD2790F-0856-43CC-BA74-421D6329552C}"/>
                  </a:ext>
                </a:extLst>
              </p:cNvPr>
              <p:cNvSpPr/>
              <p:nvPr/>
            </p:nvSpPr>
            <p:spPr>
              <a:xfrm>
                <a:off x="17582258" y="4142713"/>
                <a:ext cx="79771" cy="24545"/>
              </a:xfrm>
              <a:custGeom>
                <a:avLst/>
                <a:gdLst>
                  <a:gd name="connsiteX0" fmla="*/ 12273 w 79771"/>
                  <a:gd name="connsiteY0" fmla="*/ 24545 h 24545"/>
                  <a:gd name="connsiteX1" fmla="*/ 6136 w 79771"/>
                  <a:gd name="connsiteY1" fmla="*/ 24545 h 24545"/>
                  <a:gd name="connsiteX2" fmla="*/ 0 w 79771"/>
                  <a:gd name="connsiteY2" fmla="*/ 18409 h 24545"/>
                  <a:gd name="connsiteX3" fmla="*/ 6136 w 79771"/>
                  <a:gd name="connsiteY3" fmla="*/ 12273 h 24545"/>
                  <a:gd name="connsiteX4" fmla="*/ 73636 w 79771"/>
                  <a:gd name="connsiteY4" fmla="*/ 0 h 24545"/>
                  <a:gd name="connsiteX5" fmla="*/ 79772 w 79771"/>
                  <a:gd name="connsiteY5" fmla="*/ 3068 h 24545"/>
                  <a:gd name="connsiteX6" fmla="*/ 76705 w 79771"/>
                  <a:gd name="connsiteY6" fmla="*/ 9204 h 24545"/>
                  <a:gd name="connsiteX7" fmla="*/ 12273 w 79771"/>
                  <a:gd name="connsiteY7" fmla="*/ 24545 h 24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771" h="24545">
                    <a:moveTo>
                      <a:pt x="12273" y="24545"/>
                    </a:moveTo>
                    <a:cubicBezTo>
                      <a:pt x="9204" y="24545"/>
                      <a:pt x="9204" y="24545"/>
                      <a:pt x="6136" y="24545"/>
                    </a:cubicBezTo>
                    <a:cubicBezTo>
                      <a:pt x="3067" y="24545"/>
                      <a:pt x="0" y="21477"/>
                      <a:pt x="0" y="18409"/>
                    </a:cubicBezTo>
                    <a:cubicBezTo>
                      <a:pt x="0" y="15341"/>
                      <a:pt x="3067" y="12273"/>
                      <a:pt x="6136" y="12273"/>
                    </a:cubicBezTo>
                    <a:cubicBezTo>
                      <a:pt x="18408" y="12273"/>
                      <a:pt x="61364" y="3068"/>
                      <a:pt x="73636" y="0"/>
                    </a:cubicBezTo>
                    <a:cubicBezTo>
                      <a:pt x="76705" y="0"/>
                      <a:pt x="79772" y="0"/>
                      <a:pt x="79772" y="3068"/>
                    </a:cubicBezTo>
                    <a:cubicBezTo>
                      <a:pt x="79772" y="6136"/>
                      <a:pt x="79772" y="9204"/>
                      <a:pt x="76705" y="9204"/>
                    </a:cubicBezTo>
                    <a:cubicBezTo>
                      <a:pt x="73636" y="15341"/>
                      <a:pt x="30682" y="24545"/>
                      <a:pt x="12273" y="2454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256666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FEAB4992-2CFD-4A55-A931-879387E9A18B}"/>
              </a:ext>
            </a:extLst>
          </p:cNvPr>
          <p:cNvGrpSpPr/>
          <p:nvPr/>
        </p:nvGrpSpPr>
        <p:grpSpPr>
          <a:xfrm>
            <a:off x="2703344" y="2009607"/>
            <a:ext cx="6642438" cy="4818765"/>
            <a:chOff x="19848493" y="1873607"/>
            <a:chExt cx="6642438" cy="4818765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35412F80-5FB6-400D-B8A2-FC29407B8A93}"/>
                </a:ext>
              </a:extLst>
            </p:cNvPr>
            <p:cNvGrpSpPr/>
            <p:nvPr/>
          </p:nvGrpSpPr>
          <p:grpSpPr>
            <a:xfrm>
              <a:off x="21147486" y="6226009"/>
              <a:ext cx="384289" cy="393998"/>
              <a:chOff x="21147486" y="6226009"/>
              <a:chExt cx="384289" cy="393998"/>
            </a:xfrm>
          </p:grpSpPr>
          <p:grpSp>
            <p:nvGrpSpPr>
              <p:cNvPr id="150" name="图形 1">
                <a:extLst>
                  <a:ext uri="{FF2B5EF4-FFF2-40B4-BE49-F238E27FC236}">
                    <a16:creationId xmlns:a16="http://schemas.microsoft.com/office/drawing/2014/main" id="{02B99EBC-0811-4FE8-AACC-28035E24C5AB}"/>
                  </a:ext>
                </a:extLst>
              </p:cNvPr>
              <p:cNvGrpSpPr/>
              <p:nvPr/>
            </p:nvGrpSpPr>
            <p:grpSpPr>
              <a:xfrm>
                <a:off x="21147486" y="6226009"/>
                <a:ext cx="384289" cy="393998"/>
                <a:chOff x="21147486" y="6226009"/>
                <a:chExt cx="384289" cy="393998"/>
              </a:xfrm>
            </p:grpSpPr>
            <p:sp>
              <p:nvSpPr>
                <p:cNvPr id="152" name="任意多边形: 形状 151">
                  <a:extLst>
                    <a:ext uri="{FF2B5EF4-FFF2-40B4-BE49-F238E27FC236}">
                      <a16:creationId xmlns:a16="http://schemas.microsoft.com/office/drawing/2014/main" id="{4C27BEE2-B5DA-4395-97A8-8937CB2BF267}"/>
                    </a:ext>
                  </a:extLst>
                </p:cNvPr>
                <p:cNvSpPr/>
                <p:nvPr/>
              </p:nvSpPr>
              <p:spPr>
                <a:xfrm>
                  <a:off x="21164909" y="6354872"/>
                  <a:ext cx="366865" cy="265134"/>
                </a:xfrm>
                <a:custGeom>
                  <a:avLst/>
                  <a:gdLst>
                    <a:gd name="connsiteX0" fmla="*/ 139053 w 366865"/>
                    <a:gd name="connsiteY0" fmla="*/ 0 h 265134"/>
                    <a:gd name="connsiteX1" fmla="*/ 258713 w 366865"/>
                    <a:gd name="connsiteY1" fmla="*/ 165682 h 265134"/>
                    <a:gd name="connsiteX2" fmla="*/ 40871 w 366865"/>
                    <a:gd name="connsiteY2" fmla="*/ 36818 h 265134"/>
                    <a:gd name="connsiteX3" fmla="*/ 19393 w 366865"/>
                    <a:gd name="connsiteY3" fmla="*/ 21477 h 265134"/>
                    <a:gd name="connsiteX4" fmla="*/ 985 w 366865"/>
                    <a:gd name="connsiteY4" fmla="*/ 98182 h 265134"/>
                    <a:gd name="connsiteX5" fmla="*/ 13258 w 366865"/>
                    <a:gd name="connsiteY5" fmla="*/ 220909 h 265134"/>
                    <a:gd name="connsiteX6" fmla="*/ 31667 w 366865"/>
                    <a:gd name="connsiteY6" fmla="*/ 239318 h 265134"/>
                    <a:gd name="connsiteX7" fmla="*/ 200417 w 366865"/>
                    <a:gd name="connsiteY7" fmla="*/ 260795 h 265134"/>
                    <a:gd name="connsiteX8" fmla="*/ 359963 w 366865"/>
                    <a:gd name="connsiteY8" fmla="*/ 263864 h 265134"/>
                    <a:gd name="connsiteX9" fmla="*/ 359963 w 366865"/>
                    <a:gd name="connsiteY9" fmla="*/ 217841 h 265134"/>
                    <a:gd name="connsiteX10" fmla="*/ 139053 w 366865"/>
                    <a:gd name="connsiteY10" fmla="*/ 0 h 265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6865" h="265134">
                      <a:moveTo>
                        <a:pt x="139053" y="0"/>
                      </a:moveTo>
                      <a:cubicBezTo>
                        <a:pt x="139053" y="0"/>
                        <a:pt x="274054" y="156477"/>
                        <a:pt x="258713" y="165682"/>
                      </a:cubicBezTo>
                      <a:cubicBezTo>
                        <a:pt x="240303" y="174886"/>
                        <a:pt x="40871" y="36818"/>
                        <a:pt x="40871" y="36818"/>
                      </a:cubicBezTo>
                      <a:lnTo>
                        <a:pt x="19393" y="21477"/>
                      </a:lnTo>
                      <a:cubicBezTo>
                        <a:pt x="19393" y="21477"/>
                        <a:pt x="-5152" y="70568"/>
                        <a:pt x="985" y="98182"/>
                      </a:cubicBezTo>
                      <a:cubicBezTo>
                        <a:pt x="4052" y="119659"/>
                        <a:pt x="10189" y="187159"/>
                        <a:pt x="13258" y="220909"/>
                      </a:cubicBezTo>
                      <a:cubicBezTo>
                        <a:pt x="13258" y="230114"/>
                        <a:pt x="22463" y="239318"/>
                        <a:pt x="31667" y="239318"/>
                      </a:cubicBezTo>
                      <a:cubicBezTo>
                        <a:pt x="71553" y="242386"/>
                        <a:pt x="166668" y="254659"/>
                        <a:pt x="200417" y="260795"/>
                      </a:cubicBezTo>
                      <a:cubicBezTo>
                        <a:pt x="221894" y="263864"/>
                        <a:pt x="347689" y="266932"/>
                        <a:pt x="359963" y="263864"/>
                      </a:cubicBezTo>
                      <a:cubicBezTo>
                        <a:pt x="369167" y="263864"/>
                        <a:pt x="369167" y="223977"/>
                        <a:pt x="359963" y="217841"/>
                      </a:cubicBezTo>
                      <a:cubicBezTo>
                        <a:pt x="280189" y="171818"/>
                        <a:pt x="139053" y="0"/>
                        <a:pt x="139053" y="0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3" name="任意多边形: 形状 152">
                  <a:extLst>
                    <a:ext uri="{FF2B5EF4-FFF2-40B4-BE49-F238E27FC236}">
                      <a16:creationId xmlns:a16="http://schemas.microsoft.com/office/drawing/2014/main" id="{A51F82DB-40CE-4D46-9FE6-1EC974DCF429}"/>
                    </a:ext>
                  </a:extLst>
                </p:cNvPr>
                <p:cNvSpPr/>
                <p:nvPr/>
              </p:nvSpPr>
              <p:spPr>
                <a:xfrm>
                  <a:off x="21147486" y="6226009"/>
                  <a:ext cx="275291" cy="296298"/>
                </a:xfrm>
                <a:custGeom>
                  <a:avLst/>
                  <a:gdLst>
                    <a:gd name="connsiteX0" fmla="*/ 104317 w 275291"/>
                    <a:gd name="connsiteY0" fmla="*/ 0 h 296298"/>
                    <a:gd name="connsiteX1" fmla="*/ 153409 w 275291"/>
                    <a:gd name="connsiteY1" fmla="*/ 128864 h 296298"/>
                    <a:gd name="connsiteX2" fmla="*/ 273067 w 275291"/>
                    <a:gd name="connsiteY2" fmla="*/ 294545 h 296298"/>
                    <a:gd name="connsiteX3" fmla="*/ 36817 w 275291"/>
                    <a:gd name="connsiteY3" fmla="*/ 150341 h 296298"/>
                    <a:gd name="connsiteX4" fmla="*/ 0 w 275291"/>
                    <a:gd name="connsiteY4" fmla="*/ 0 h 296298"/>
                    <a:gd name="connsiteX5" fmla="*/ 104317 w 275291"/>
                    <a:gd name="connsiteY5" fmla="*/ 0 h 296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5291" h="296298">
                      <a:moveTo>
                        <a:pt x="104317" y="0"/>
                      </a:moveTo>
                      <a:lnTo>
                        <a:pt x="153409" y="128864"/>
                      </a:lnTo>
                      <a:cubicBezTo>
                        <a:pt x="153409" y="128864"/>
                        <a:pt x="294545" y="279204"/>
                        <a:pt x="273067" y="294545"/>
                      </a:cubicBezTo>
                      <a:cubicBezTo>
                        <a:pt x="251589" y="312954"/>
                        <a:pt x="33749" y="181023"/>
                        <a:pt x="36817" y="150341"/>
                      </a:cubicBezTo>
                      <a:cubicBezTo>
                        <a:pt x="36817" y="101250"/>
                        <a:pt x="0" y="0"/>
                        <a:pt x="0" y="0"/>
                      </a:cubicBezTo>
                      <a:lnTo>
                        <a:pt x="104317" y="0"/>
                      </a:lnTo>
                      <a:close/>
                    </a:path>
                  </a:pathLst>
                </a:custGeom>
                <a:solidFill>
                  <a:srgbClr val="F5A398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E1DA9903-91B8-4CB1-A3D9-7DBF6B9AA887}"/>
                  </a:ext>
                </a:extLst>
              </p:cNvPr>
              <p:cNvSpPr/>
              <p:nvPr/>
            </p:nvSpPr>
            <p:spPr>
              <a:xfrm>
                <a:off x="21172798" y="6478367"/>
                <a:ext cx="158778" cy="106619"/>
              </a:xfrm>
              <a:custGeom>
                <a:avLst/>
                <a:gdLst>
                  <a:gd name="connsiteX0" fmla="*/ 149573 w 158778"/>
                  <a:gd name="connsiteY0" fmla="*/ 106619 h 106619"/>
                  <a:gd name="connsiteX1" fmla="*/ 149573 w 158778"/>
                  <a:gd name="connsiteY1" fmla="*/ 106619 h 106619"/>
                  <a:gd name="connsiteX2" fmla="*/ 2301 w 158778"/>
                  <a:gd name="connsiteY2" fmla="*/ 11505 h 106619"/>
                  <a:gd name="connsiteX3" fmla="*/ 2301 w 158778"/>
                  <a:gd name="connsiteY3" fmla="*/ 2301 h 106619"/>
                  <a:gd name="connsiteX4" fmla="*/ 11505 w 158778"/>
                  <a:gd name="connsiteY4" fmla="*/ 2301 h 106619"/>
                  <a:gd name="connsiteX5" fmla="*/ 155710 w 158778"/>
                  <a:gd name="connsiteY5" fmla="*/ 94347 h 106619"/>
                  <a:gd name="connsiteX6" fmla="*/ 158779 w 158778"/>
                  <a:gd name="connsiteY6" fmla="*/ 100483 h 106619"/>
                  <a:gd name="connsiteX7" fmla="*/ 149573 w 158778"/>
                  <a:gd name="connsiteY7" fmla="*/ 106619 h 106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8778" h="106619">
                    <a:moveTo>
                      <a:pt x="149573" y="106619"/>
                    </a:moveTo>
                    <a:cubicBezTo>
                      <a:pt x="149573" y="106619"/>
                      <a:pt x="149573" y="106619"/>
                      <a:pt x="149573" y="106619"/>
                    </a:cubicBezTo>
                    <a:cubicBezTo>
                      <a:pt x="109687" y="88210"/>
                      <a:pt x="5370" y="14574"/>
                      <a:pt x="2301" y="11505"/>
                    </a:cubicBezTo>
                    <a:cubicBezTo>
                      <a:pt x="-767" y="8438"/>
                      <a:pt x="-767" y="5369"/>
                      <a:pt x="2301" y="2301"/>
                    </a:cubicBezTo>
                    <a:cubicBezTo>
                      <a:pt x="5370" y="-767"/>
                      <a:pt x="8437" y="-767"/>
                      <a:pt x="11505" y="2301"/>
                    </a:cubicBezTo>
                    <a:cubicBezTo>
                      <a:pt x="11505" y="2301"/>
                      <a:pt x="118891" y="75937"/>
                      <a:pt x="155710" y="94347"/>
                    </a:cubicBezTo>
                    <a:cubicBezTo>
                      <a:pt x="158779" y="94347"/>
                      <a:pt x="158779" y="100483"/>
                      <a:pt x="158779" y="100483"/>
                    </a:cubicBezTo>
                    <a:cubicBezTo>
                      <a:pt x="152642" y="106619"/>
                      <a:pt x="152642" y="106619"/>
                      <a:pt x="149573" y="106619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4F8A4264-BFF2-4370-802B-7073CAFEEBDF}"/>
                </a:ext>
              </a:extLst>
            </p:cNvPr>
            <p:cNvSpPr/>
            <p:nvPr/>
          </p:nvSpPr>
          <p:spPr>
            <a:xfrm>
              <a:off x="21965705" y="3716321"/>
              <a:ext cx="232782" cy="209874"/>
            </a:xfrm>
            <a:custGeom>
              <a:avLst/>
              <a:gdLst>
                <a:gd name="connsiteX0" fmla="*/ 191212 w 232782"/>
                <a:gd name="connsiteY0" fmla="*/ 128778 h 209874"/>
                <a:gd name="connsiteX1" fmla="*/ 231098 w 232782"/>
                <a:gd name="connsiteY1" fmla="*/ 98096 h 209874"/>
                <a:gd name="connsiteX2" fmla="*/ 19395 w 232782"/>
                <a:gd name="connsiteY2" fmla="*/ 15256 h 209874"/>
                <a:gd name="connsiteX3" fmla="*/ 984 w 232782"/>
                <a:gd name="connsiteY3" fmla="*/ 128778 h 209874"/>
                <a:gd name="connsiteX4" fmla="*/ 89962 w 232782"/>
                <a:gd name="connsiteY4" fmla="*/ 208551 h 209874"/>
                <a:gd name="connsiteX5" fmla="*/ 191212 w 232782"/>
                <a:gd name="connsiteY5" fmla="*/ 128778 h 209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2782" h="209874">
                  <a:moveTo>
                    <a:pt x="191212" y="128778"/>
                  </a:moveTo>
                  <a:cubicBezTo>
                    <a:pt x="209622" y="134915"/>
                    <a:pt x="240304" y="107301"/>
                    <a:pt x="231098" y="98096"/>
                  </a:cubicBezTo>
                  <a:cubicBezTo>
                    <a:pt x="185075" y="58210"/>
                    <a:pt x="77689" y="-36904"/>
                    <a:pt x="19395" y="15256"/>
                  </a:cubicBezTo>
                  <a:cubicBezTo>
                    <a:pt x="19395" y="15256"/>
                    <a:pt x="-5150" y="98096"/>
                    <a:pt x="984" y="128778"/>
                  </a:cubicBezTo>
                  <a:cubicBezTo>
                    <a:pt x="13258" y="171733"/>
                    <a:pt x="56213" y="187074"/>
                    <a:pt x="89962" y="208551"/>
                  </a:cubicBezTo>
                  <a:cubicBezTo>
                    <a:pt x="111440" y="220824"/>
                    <a:pt x="209622" y="144119"/>
                    <a:pt x="191212" y="128778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6EA0A70F-2F3B-4A62-814C-F62237367836}"/>
                </a:ext>
              </a:extLst>
            </p:cNvPr>
            <p:cNvSpPr/>
            <p:nvPr/>
          </p:nvSpPr>
          <p:spPr>
            <a:xfrm>
              <a:off x="21229128" y="2974723"/>
              <a:ext cx="801993" cy="873901"/>
            </a:xfrm>
            <a:custGeom>
              <a:avLst/>
              <a:gdLst>
                <a:gd name="connsiteX0" fmla="*/ 246652 w 801993"/>
                <a:gd name="connsiteY0" fmla="*/ 78785 h 873901"/>
                <a:gd name="connsiteX1" fmla="*/ 443016 w 801993"/>
                <a:gd name="connsiteY1" fmla="*/ 496058 h 873901"/>
                <a:gd name="connsiteX2" fmla="*/ 801994 w 801993"/>
                <a:gd name="connsiteY2" fmla="*/ 762990 h 873901"/>
                <a:gd name="connsiteX3" fmla="*/ 755971 w 801993"/>
                <a:gd name="connsiteY3" fmla="*/ 873445 h 873901"/>
                <a:gd name="connsiteX4" fmla="*/ 292674 w 801993"/>
                <a:gd name="connsiteY4" fmla="*/ 683217 h 873901"/>
                <a:gd name="connsiteX5" fmla="*/ 4267 w 801993"/>
                <a:gd name="connsiteY5" fmla="*/ 115603 h 873901"/>
                <a:gd name="connsiteX6" fmla="*/ 246652 w 801993"/>
                <a:gd name="connsiteY6" fmla="*/ 78785 h 873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1993" h="873901">
                  <a:moveTo>
                    <a:pt x="246652" y="78785"/>
                  </a:moveTo>
                  <a:cubicBezTo>
                    <a:pt x="280403" y="161626"/>
                    <a:pt x="384720" y="422422"/>
                    <a:pt x="443016" y="496058"/>
                  </a:cubicBezTo>
                  <a:cubicBezTo>
                    <a:pt x="525857" y="600376"/>
                    <a:pt x="801994" y="756854"/>
                    <a:pt x="801994" y="762990"/>
                  </a:cubicBezTo>
                  <a:cubicBezTo>
                    <a:pt x="798925" y="833558"/>
                    <a:pt x="805061" y="824353"/>
                    <a:pt x="755971" y="873445"/>
                  </a:cubicBezTo>
                  <a:cubicBezTo>
                    <a:pt x="749834" y="879581"/>
                    <a:pt x="464494" y="824353"/>
                    <a:pt x="292674" y="683217"/>
                  </a:cubicBezTo>
                  <a:cubicBezTo>
                    <a:pt x="240517" y="640263"/>
                    <a:pt x="65630" y="250604"/>
                    <a:pt x="4267" y="115603"/>
                  </a:cubicBezTo>
                  <a:cubicBezTo>
                    <a:pt x="-32552" y="38899"/>
                    <a:pt x="179153" y="-80760"/>
                    <a:pt x="246652" y="78785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2E4ADDD4-FC71-45E6-858B-B10F9092C942}"/>
                </a:ext>
              </a:extLst>
            </p:cNvPr>
            <p:cNvGrpSpPr/>
            <p:nvPr/>
          </p:nvGrpSpPr>
          <p:grpSpPr>
            <a:xfrm>
              <a:off x="19848493" y="5851691"/>
              <a:ext cx="363197" cy="502921"/>
              <a:chOff x="19848493" y="5851691"/>
              <a:chExt cx="363197" cy="502921"/>
            </a:xfrm>
          </p:grpSpPr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37FB6E70-E46D-4E35-8BAF-816A1F1956EE}"/>
                  </a:ext>
                </a:extLst>
              </p:cNvPr>
              <p:cNvSpPr/>
              <p:nvPr/>
            </p:nvSpPr>
            <p:spPr>
              <a:xfrm>
                <a:off x="19848493" y="5946554"/>
                <a:ext cx="265014" cy="408058"/>
              </a:xfrm>
              <a:custGeom>
                <a:avLst/>
                <a:gdLst>
                  <a:gd name="connsiteX0" fmla="*/ 265015 w 265014"/>
                  <a:gd name="connsiteY0" fmla="*/ 98432 h 408058"/>
                  <a:gd name="connsiteX1" fmla="*/ 160696 w 265014"/>
                  <a:gd name="connsiteY1" fmla="*/ 273319 h 408058"/>
                  <a:gd name="connsiteX2" fmla="*/ 191378 w 265014"/>
                  <a:gd name="connsiteY2" fmla="*/ 24796 h 408058"/>
                  <a:gd name="connsiteX3" fmla="*/ 197515 w 265014"/>
                  <a:gd name="connsiteY3" fmla="*/ 250 h 408058"/>
                  <a:gd name="connsiteX4" fmla="*/ 117743 w 265014"/>
                  <a:gd name="connsiteY4" fmla="*/ 12523 h 408058"/>
                  <a:gd name="connsiteX5" fmla="*/ 10356 w 265014"/>
                  <a:gd name="connsiteY5" fmla="*/ 70819 h 408058"/>
                  <a:gd name="connsiteX6" fmla="*/ 1150 w 265014"/>
                  <a:gd name="connsiteY6" fmla="*/ 95364 h 408058"/>
                  <a:gd name="connsiteX7" fmla="*/ 50242 w 265014"/>
                  <a:gd name="connsiteY7" fmla="*/ 257978 h 408058"/>
                  <a:gd name="connsiteX8" fmla="*/ 108537 w 265014"/>
                  <a:gd name="connsiteY8" fmla="*/ 405250 h 408058"/>
                  <a:gd name="connsiteX9" fmla="*/ 151492 w 265014"/>
                  <a:gd name="connsiteY9" fmla="*/ 386842 h 408058"/>
                  <a:gd name="connsiteX10" fmla="*/ 265015 w 265014"/>
                  <a:gd name="connsiteY10" fmla="*/ 98432 h 408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5014" h="408058">
                    <a:moveTo>
                      <a:pt x="265015" y="98432"/>
                    </a:moveTo>
                    <a:cubicBezTo>
                      <a:pt x="265015" y="98432"/>
                      <a:pt x="176037" y="285591"/>
                      <a:pt x="160696" y="273319"/>
                    </a:cubicBezTo>
                    <a:cubicBezTo>
                      <a:pt x="145355" y="261046"/>
                      <a:pt x="191378" y="24796"/>
                      <a:pt x="191378" y="24796"/>
                    </a:cubicBezTo>
                    <a:lnTo>
                      <a:pt x="197515" y="250"/>
                    </a:lnTo>
                    <a:cubicBezTo>
                      <a:pt x="197515" y="250"/>
                      <a:pt x="142288" y="-2817"/>
                      <a:pt x="117743" y="12523"/>
                    </a:cubicBezTo>
                    <a:cubicBezTo>
                      <a:pt x="99332" y="24796"/>
                      <a:pt x="37969" y="55478"/>
                      <a:pt x="10356" y="70819"/>
                    </a:cubicBezTo>
                    <a:cubicBezTo>
                      <a:pt x="1150" y="76955"/>
                      <a:pt x="-1917" y="86160"/>
                      <a:pt x="1150" y="95364"/>
                    </a:cubicBezTo>
                    <a:cubicBezTo>
                      <a:pt x="13424" y="132182"/>
                      <a:pt x="41038" y="227296"/>
                      <a:pt x="50242" y="257978"/>
                    </a:cubicBezTo>
                    <a:cubicBezTo>
                      <a:pt x="56379" y="279455"/>
                      <a:pt x="105469" y="396046"/>
                      <a:pt x="108537" y="405250"/>
                    </a:cubicBezTo>
                    <a:cubicBezTo>
                      <a:pt x="114673" y="414455"/>
                      <a:pt x="148424" y="399114"/>
                      <a:pt x="151492" y="386842"/>
                    </a:cubicBezTo>
                    <a:cubicBezTo>
                      <a:pt x="163765" y="297864"/>
                      <a:pt x="265015" y="98432"/>
                      <a:pt x="265015" y="98432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6642E4CA-E881-4484-B7A1-5C7081FEC823}"/>
                  </a:ext>
                </a:extLst>
              </p:cNvPr>
              <p:cNvSpPr/>
              <p:nvPr/>
            </p:nvSpPr>
            <p:spPr>
              <a:xfrm>
                <a:off x="20000742" y="5851691"/>
                <a:ext cx="210948" cy="368760"/>
              </a:xfrm>
              <a:custGeom>
                <a:avLst/>
                <a:gdLst>
                  <a:gd name="connsiteX0" fmla="*/ 210949 w 210948"/>
                  <a:gd name="connsiteY0" fmla="*/ 98182 h 368760"/>
                  <a:gd name="connsiteX1" fmla="*/ 112767 w 210948"/>
                  <a:gd name="connsiteY1" fmla="*/ 193295 h 368760"/>
                  <a:gd name="connsiteX2" fmla="*/ 8448 w 210948"/>
                  <a:gd name="connsiteY2" fmla="*/ 368182 h 368760"/>
                  <a:gd name="connsiteX3" fmla="*/ 48334 w 210948"/>
                  <a:gd name="connsiteY3" fmla="*/ 92045 h 368760"/>
                  <a:gd name="connsiteX4" fmla="*/ 171061 w 210948"/>
                  <a:gd name="connsiteY4" fmla="*/ 0 h 368760"/>
                  <a:gd name="connsiteX5" fmla="*/ 210949 w 210948"/>
                  <a:gd name="connsiteY5" fmla="*/ 98182 h 368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0948" h="368760">
                    <a:moveTo>
                      <a:pt x="210949" y="98182"/>
                    </a:moveTo>
                    <a:lnTo>
                      <a:pt x="112767" y="193295"/>
                    </a:lnTo>
                    <a:cubicBezTo>
                      <a:pt x="112767" y="193295"/>
                      <a:pt x="32993" y="380454"/>
                      <a:pt x="8448" y="368182"/>
                    </a:cubicBezTo>
                    <a:cubicBezTo>
                      <a:pt x="-16097" y="355909"/>
                      <a:pt x="17652" y="104318"/>
                      <a:pt x="48334" y="92045"/>
                    </a:cubicBezTo>
                    <a:cubicBezTo>
                      <a:pt x="94356" y="70568"/>
                      <a:pt x="171061" y="0"/>
                      <a:pt x="171061" y="0"/>
                    </a:cubicBezTo>
                    <a:lnTo>
                      <a:pt x="210949" y="98182"/>
                    </a:ln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0225257A-BE19-488B-911A-4E6B0C127C84}"/>
                </a:ext>
              </a:extLst>
            </p:cNvPr>
            <p:cNvSpPr/>
            <p:nvPr/>
          </p:nvSpPr>
          <p:spPr>
            <a:xfrm>
              <a:off x="20049075" y="3777600"/>
              <a:ext cx="1412564" cy="2537386"/>
            </a:xfrm>
            <a:custGeom>
              <a:avLst/>
              <a:gdLst>
                <a:gd name="connsiteX0" fmla="*/ 619773 w 1412564"/>
                <a:gd name="connsiteY0" fmla="*/ 0 h 2537386"/>
                <a:gd name="connsiteX1" fmla="*/ 1291706 w 1412564"/>
                <a:gd name="connsiteY1" fmla="*/ 0 h 2537386"/>
                <a:gd name="connsiteX2" fmla="*/ 1411364 w 1412564"/>
                <a:gd name="connsiteY2" fmla="*/ 463295 h 2537386"/>
                <a:gd name="connsiteX3" fmla="*/ 1230342 w 1412564"/>
                <a:gd name="connsiteY3" fmla="*/ 2500568 h 2537386"/>
                <a:gd name="connsiteX4" fmla="*/ 1055455 w 1412564"/>
                <a:gd name="connsiteY4" fmla="*/ 2537386 h 2537386"/>
                <a:gd name="connsiteX5" fmla="*/ 948069 w 1412564"/>
                <a:gd name="connsiteY5" fmla="*/ 819204 h 2537386"/>
                <a:gd name="connsiteX6" fmla="*/ 859091 w 1412564"/>
                <a:gd name="connsiteY6" fmla="*/ 1742727 h 2537386"/>
                <a:gd name="connsiteX7" fmla="*/ 831478 w 1412564"/>
                <a:gd name="connsiteY7" fmla="*/ 1785682 h 2537386"/>
                <a:gd name="connsiteX8" fmla="*/ 128864 w 1412564"/>
                <a:gd name="connsiteY8" fmla="*/ 2291932 h 2537386"/>
                <a:gd name="connsiteX9" fmla="*/ 0 w 1412564"/>
                <a:gd name="connsiteY9" fmla="*/ 2061818 h 2537386"/>
                <a:gd name="connsiteX10" fmla="*/ 521591 w 1412564"/>
                <a:gd name="connsiteY10" fmla="*/ 1669091 h 2537386"/>
                <a:gd name="connsiteX11" fmla="*/ 484774 w 1412564"/>
                <a:gd name="connsiteY11" fmla="*/ 420341 h 2537386"/>
                <a:gd name="connsiteX12" fmla="*/ 619773 w 1412564"/>
                <a:gd name="connsiteY12" fmla="*/ 0 h 253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12564" h="2537386">
                  <a:moveTo>
                    <a:pt x="619773" y="0"/>
                  </a:moveTo>
                  <a:lnTo>
                    <a:pt x="1291706" y="0"/>
                  </a:lnTo>
                  <a:cubicBezTo>
                    <a:pt x="1291706" y="0"/>
                    <a:pt x="1389888" y="306818"/>
                    <a:pt x="1411364" y="463295"/>
                  </a:cubicBezTo>
                  <a:cubicBezTo>
                    <a:pt x="1429774" y="616705"/>
                    <a:pt x="1230342" y="2500568"/>
                    <a:pt x="1230342" y="2500568"/>
                  </a:cubicBezTo>
                  <a:lnTo>
                    <a:pt x="1055455" y="2537386"/>
                  </a:lnTo>
                  <a:lnTo>
                    <a:pt x="948069" y="819204"/>
                  </a:lnTo>
                  <a:cubicBezTo>
                    <a:pt x="948069" y="819204"/>
                    <a:pt x="877501" y="1586250"/>
                    <a:pt x="859091" y="1742727"/>
                  </a:cubicBezTo>
                  <a:cubicBezTo>
                    <a:pt x="856023" y="1761136"/>
                    <a:pt x="846819" y="1776477"/>
                    <a:pt x="831478" y="1785682"/>
                  </a:cubicBezTo>
                  <a:lnTo>
                    <a:pt x="128864" y="2291932"/>
                  </a:lnTo>
                  <a:lnTo>
                    <a:pt x="0" y="2061818"/>
                  </a:lnTo>
                  <a:lnTo>
                    <a:pt x="521591" y="1669091"/>
                  </a:lnTo>
                  <a:cubicBezTo>
                    <a:pt x="521591" y="1669091"/>
                    <a:pt x="490909" y="484773"/>
                    <a:pt x="484774" y="420341"/>
                  </a:cubicBezTo>
                  <a:cubicBezTo>
                    <a:pt x="475568" y="297614"/>
                    <a:pt x="619773" y="0"/>
                    <a:pt x="619773" y="0"/>
                  </a:cubicBezTo>
                  <a:close/>
                </a:path>
              </a:pathLst>
            </a:custGeom>
            <a:solidFill>
              <a:srgbClr val="7F95BC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22D9E084-B6FF-4B19-A9A2-0D476555E33E}"/>
                </a:ext>
              </a:extLst>
            </p:cNvPr>
            <p:cNvSpPr/>
            <p:nvPr/>
          </p:nvSpPr>
          <p:spPr>
            <a:xfrm>
              <a:off x="20914303" y="4167258"/>
              <a:ext cx="131931" cy="1227272"/>
            </a:xfrm>
            <a:custGeom>
              <a:avLst/>
              <a:gdLst>
                <a:gd name="connsiteX0" fmla="*/ 6137 w 131931"/>
                <a:gd name="connsiteY0" fmla="*/ 1227273 h 1227272"/>
                <a:gd name="connsiteX1" fmla="*/ 6137 w 131931"/>
                <a:gd name="connsiteY1" fmla="*/ 1227273 h 1227272"/>
                <a:gd name="connsiteX2" fmla="*/ 0 w 131931"/>
                <a:gd name="connsiteY2" fmla="*/ 1218068 h 1227272"/>
                <a:gd name="connsiteX3" fmla="*/ 76705 w 131931"/>
                <a:gd name="connsiteY3" fmla="*/ 426477 h 1227272"/>
                <a:gd name="connsiteX4" fmla="*/ 119660 w 131931"/>
                <a:gd name="connsiteY4" fmla="*/ 6137 h 1227272"/>
                <a:gd name="connsiteX5" fmla="*/ 125797 w 131931"/>
                <a:gd name="connsiteY5" fmla="*/ 0 h 1227272"/>
                <a:gd name="connsiteX6" fmla="*/ 131931 w 131931"/>
                <a:gd name="connsiteY6" fmla="*/ 6137 h 1227272"/>
                <a:gd name="connsiteX7" fmla="*/ 88978 w 131931"/>
                <a:gd name="connsiteY7" fmla="*/ 426477 h 1227272"/>
                <a:gd name="connsiteX8" fmla="*/ 12273 w 131931"/>
                <a:gd name="connsiteY8" fmla="*/ 1221137 h 1227272"/>
                <a:gd name="connsiteX9" fmla="*/ 6137 w 131931"/>
                <a:gd name="connsiteY9" fmla="*/ 1227273 h 1227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931" h="1227272">
                  <a:moveTo>
                    <a:pt x="6137" y="1227273"/>
                  </a:moveTo>
                  <a:cubicBezTo>
                    <a:pt x="6137" y="1227273"/>
                    <a:pt x="3069" y="1227273"/>
                    <a:pt x="6137" y="1227273"/>
                  </a:cubicBezTo>
                  <a:cubicBezTo>
                    <a:pt x="0" y="1224205"/>
                    <a:pt x="0" y="1221137"/>
                    <a:pt x="0" y="1218068"/>
                  </a:cubicBezTo>
                  <a:cubicBezTo>
                    <a:pt x="6137" y="1199659"/>
                    <a:pt x="55227" y="641250"/>
                    <a:pt x="76705" y="426477"/>
                  </a:cubicBezTo>
                  <a:lnTo>
                    <a:pt x="119660" y="6137"/>
                  </a:lnTo>
                  <a:cubicBezTo>
                    <a:pt x="119660" y="3068"/>
                    <a:pt x="122727" y="0"/>
                    <a:pt x="125797" y="0"/>
                  </a:cubicBezTo>
                  <a:cubicBezTo>
                    <a:pt x="128864" y="0"/>
                    <a:pt x="131931" y="3068"/>
                    <a:pt x="131931" y="6137"/>
                  </a:cubicBezTo>
                  <a:lnTo>
                    <a:pt x="88978" y="426477"/>
                  </a:lnTo>
                  <a:cubicBezTo>
                    <a:pt x="82841" y="506250"/>
                    <a:pt x="18410" y="1202727"/>
                    <a:pt x="12273" y="1221137"/>
                  </a:cubicBezTo>
                  <a:cubicBezTo>
                    <a:pt x="9204" y="1224205"/>
                    <a:pt x="6137" y="1227273"/>
                    <a:pt x="6137" y="1227273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4CA70063-0998-49A8-9E36-D111EB8AE44A}"/>
                </a:ext>
              </a:extLst>
            </p:cNvPr>
            <p:cNvSpPr/>
            <p:nvPr/>
          </p:nvSpPr>
          <p:spPr>
            <a:xfrm>
              <a:off x="20687259" y="2415327"/>
              <a:ext cx="248521" cy="368181"/>
            </a:xfrm>
            <a:custGeom>
              <a:avLst/>
              <a:gdLst>
                <a:gd name="connsiteX0" fmla="*/ 0 w 248521"/>
                <a:gd name="connsiteY0" fmla="*/ 0 h 368181"/>
                <a:gd name="connsiteX1" fmla="*/ 122727 w 248521"/>
                <a:gd name="connsiteY1" fmla="*/ 362046 h 368181"/>
                <a:gd name="connsiteX2" fmla="*/ 202499 w 248521"/>
                <a:gd name="connsiteY2" fmla="*/ 368182 h 368181"/>
                <a:gd name="connsiteX3" fmla="*/ 248522 w 248521"/>
                <a:gd name="connsiteY3" fmla="*/ 251591 h 368181"/>
                <a:gd name="connsiteX4" fmla="*/ 156477 w 248521"/>
                <a:gd name="connsiteY4" fmla="*/ 113523 h 368181"/>
                <a:gd name="connsiteX5" fmla="*/ 0 w 248521"/>
                <a:gd name="connsiteY5" fmla="*/ 0 h 36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8521" h="368181">
                  <a:moveTo>
                    <a:pt x="0" y="0"/>
                  </a:moveTo>
                  <a:cubicBezTo>
                    <a:pt x="0" y="0"/>
                    <a:pt x="0" y="184091"/>
                    <a:pt x="122727" y="362046"/>
                  </a:cubicBezTo>
                  <a:lnTo>
                    <a:pt x="202499" y="368182"/>
                  </a:lnTo>
                  <a:lnTo>
                    <a:pt x="248522" y="251591"/>
                  </a:lnTo>
                  <a:lnTo>
                    <a:pt x="156477" y="1135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88F8D89F-FD6A-4A9C-82F5-7CF7FCF8C5F7}"/>
                </a:ext>
              </a:extLst>
            </p:cNvPr>
            <p:cNvSpPr/>
            <p:nvPr/>
          </p:nvSpPr>
          <p:spPr>
            <a:xfrm>
              <a:off x="21172455" y="2866353"/>
              <a:ext cx="404576" cy="423405"/>
            </a:xfrm>
            <a:custGeom>
              <a:avLst/>
              <a:gdLst>
                <a:gd name="connsiteX0" fmla="*/ 51735 w 404576"/>
                <a:gd name="connsiteY0" fmla="*/ 423406 h 423405"/>
                <a:gd name="connsiteX1" fmla="*/ 57870 w 404576"/>
                <a:gd name="connsiteY1" fmla="*/ 15337 h 423405"/>
                <a:gd name="connsiteX2" fmla="*/ 404576 w 404576"/>
                <a:gd name="connsiteY2" fmla="*/ 294542 h 423405"/>
                <a:gd name="connsiteX3" fmla="*/ 51735 w 404576"/>
                <a:gd name="connsiteY3" fmla="*/ 423406 h 423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4576" h="423405">
                  <a:moveTo>
                    <a:pt x="51735" y="423406"/>
                  </a:moveTo>
                  <a:cubicBezTo>
                    <a:pt x="-31106" y="257724"/>
                    <a:pt x="-3494" y="64428"/>
                    <a:pt x="57870" y="15337"/>
                  </a:cubicBezTo>
                  <a:cubicBezTo>
                    <a:pt x="140711" y="-49094"/>
                    <a:pt x="334006" y="98178"/>
                    <a:pt x="404576" y="294542"/>
                  </a:cubicBezTo>
                  <a:cubicBezTo>
                    <a:pt x="361621" y="358974"/>
                    <a:pt x="152985" y="411133"/>
                    <a:pt x="51735" y="423406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483DB82A-6DAC-4330-9631-C22958EFC83B}"/>
                </a:ext>
              </a:extLst>
            </p:cNvPr>
            <p:cNvSpPr/>
            <p:nvPr/>
          </p:nvSpPr>
          <p:spPr>
            <a:xfrm>
              <a:off x="20612046" y="2812766"/>
              <a:ext cx="825801" cy="992538"/>
            </a:xfrm>
            <a:custGeom>
              <a:avLst/>
              <a:gdLst>
                <a:gd name="connsiteX0" fmla="*/ 44531 w 825801"/>
                <a:gd name="connsiteY0" fmla="*/ 394152 h 992538"/>
                <a:gd name="connsiteX1" fmla="*/ 59872 w 825801"/>
                <a:gd name="connsiteY1" fmla="*/ 68925 h 992538"/>
                <a:gd name="connsiteX2" fmla="*/ 431121 w 825801"/>
                <a:gd name="connsiteY2" fmla="*/ 4493 h 992538"/>
                <a:gd name="connsiteX3" fmla="*/ 734872 w 825801"/>
                <a:gd name="connsiteY3" fmla="*/ 105743 h 992538"/>
                <a:gd name="connsiteX4" fmla="*/ 774758 w 825801"/>
                <a:gd name="connsiteY4" fmla="*/ 658016 h 992538"/>
                <a:gd name="connsiteX5" fmla="*/ 731802 w 825801"/>
                <a:gd name="connsiteY5" fmla="*/ 986311 h 992538"/>
                <a:gd name="connsiteX6" fmla="*/ 50666 w 825801"/>
                <a:gd name="connsiteY6" fmla="*/ 970970 h 992538"/>
                <a:gd name="connsiteX7" fmla="*/ 44531 w 825801"/>
                <a:gd name="connsiteY7" fmla="*/ 394152 h 992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5801" h="992538">
                  <a:moveTo>
                    <a:pt x="44531" y="394152"/>
                  </a:moveTo>
                  <a:cubicBezTo>
                    <a:pt x="35325" y="363470"/>
                    <a:pt x="-59788" y="133357"/>
                    <a:pt x="59872" y="68925"/>
                  </a:cubicBezTo>
                  <a:cubicBezTo>
                    <a:pt x="164189" y="13698"/>
                    <a:pt x="311461" y="-10848"/>
                    <a:pt x="431121" y="4493"/>
                  </a:cubicBezTo>
                  <a:cubicBezTo>
                    <a:pt x="563052" y="19834"/>
                    <a:pt x="694984" y="41311"/>
                    <a:pt x="734872" y="105743"/>
                  </a:cubicBezTo>
                  <a:cubicBezTo>
                    <a:pt x="848393" y="292902"/>
                    <a:pt x="848393" y="458584"/>
                    <a:pt x="774758" y="658016"/>
                  </a:cubicBezTo>
                  <a:cubicBezTo>
                    <a:pt x="753280" y="716311"/>
                    <a:pt x="747143" y="851311"/>
                    <a:pt x="731802" y="986311"/>
                  </a:cubicBezTo>
                  <a:cubicBezTo>
                    <a:pt x="731802" y="986311"/>
                    <a:pt x="446462" y="1007789"/>
                    <a:pt x="50666" y="970970"/>
                  </a:cubicBezTo>
                  <a:cubicBezTo>
                    <a:pt x="81348" y="750061"/>
                    <a:pt x="53735" y="418698"/>
                    <a:pt x="44531" y="394152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CE0504CC-9158-4661-9228-FDFF57EC96AD}"/>
                </a:ext>
              </a:extLst>
            </p:cNvPr>
            <p:cNvSpPr/>
            <p:nvPr/>
          </p:nvSpPr>
          <p:spPr>
            <a:xfrm>
              <a:off x="20953853" y="2118050"/>
              <a:ext cx="323271" cy="593529"/>
            </a:xfrm>
            <a:custGeom>
              <a:avLst/>
              <a:gdLst>
                <a:gd name="connsiteX0" fmla="*/ 144541 w 323271"/>
                <a:gd name="connsiteY0" fmla="*/ 579549 h 593529"/>
                <a:gd name="connsiteX1" fmla="*/ 322495 w 323271"/>
                <a:gd name="connsiteY1" fmla="*/ 232845 h 593529"/>
                <a:gd name="connsiteX2" fmla="*/ 336 w 323271"/>
                <a:gd name="connsiteY2" fmla="*/ 8867 h 593529"/>
                <a:gd name="connsiteX3" fmla="*/ 37154 w 323271"/>
                <a:gd name="connsiteY3" fmla="*/ 177617 h 593529"/>
                <a:gd name="connsiteX4" fmla="*/ 86246 w 323271"/>
                <a:gd name="connsiteY4" fmla="*/ 321822 h 593529"/>
                <a:gd name="connsiteX5" fmla="*/ 144541 w 323271"/>
                <a:gd name="connsiteY5" fmla="*/ 579549 h 593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3271" h="593529">
                  <a:moveTo>
                    <a:pt x="144541" y="579549"/>
                  </a:moveTo>
                  <a:cubicBezTo>
                    <a:pt x="301019" y="548867"/>
                    <a:pt x="328631" y="297277"/>
                    <a:pt x="322495" y="232845"/>
                  </a:cubicBezTo>
                  <a:cubicBezTo>
                    <a:pt x="301019" y="67163"/>
                    <a:pt x="116928" y="-31019"/>
                    <a:pt x="336" y="8867"/>
                  </a:cubicBezTo>
                  <a:cubicBezTo>
                    <a:pt x="-2732" y="8867"/>
                    <a:pt x="15677" y="128527"/>
                    <a:pt x="37154" y="177617"/>
                  </a:cubicBezTo>
                  <a:cubicBezTo>
                    <a:pt x="58632" y="223640"/>
                    <a:pt x="77040" y="272731"/>
                    <a:pt x="86246" y="321822"/>
                  </a:cubicBezTo>
                  <a:cubicBezTo>
                    <a:pt x="95450" y="373981"/>
                    <a:pt x="46358" y="659322"/>
                    <a:pt x="144541" y="579549"/>
                  </a:cubicBez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28A38874-558E-40D1-BF1F-F8590F941FCB}"/>
                </a:ext>
              </a:extLst>
            </p:cNvPr>
            <p:cNvSpPr/>
            <p:nvPr/>
          </p:nvSpPr>
          <p:spPr>
            <a:xfrm>
              <a:off x="20785439" y="2175113"/>
              <a:ext cx="425288" cy="571899"/>
            </a:xfrm>
            <a:custGeom>
              <a:avLst/>
              <a:gdLst>
                <a:gd name="connsiteX0" fmla="*/ 417274 w 425288"/>
                <a:gd name="connsiteY0" fmla="*/ 184986 h 571899"/>
                <a:gd name="connsiteX1" fmla="*/ 405000 w 425288"/>
                <a:gd name="connsiteY1" fmla="*/ 442714 h 571899"/>
                <a:gd name="connsiteX2" fmla="*/ 254661 w 425288"/>
                <a:gd name="connsiteY2" fmla="*/ 571577 h 571899"/>
                <a:gd name="connsiteX3" fmla="*/ 36819 w 425288"/>
                <a:gd name="connsiteY3" fmla="*/ 427373 h 571899"/>
                <a:gd name="connsiteX4" fmla="*/ 0 w 425288"/>
                <a:gd name="connsiteY4" fmla="*/ 200327 h 571899"/>
                <a:gd name="connsiteX5" fmla="*/ 214773 w 425288"/>
                <a:gd name="connsiteY5" fmla="*/ 895 h 571899"/>
                <a:gd name="connsiteX6" fmla="*/ 417274 w 425288"/>
                <a:gd name="connsiteY6" fmla="*/ 184986 h 571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5288" h="571899">
                  <a:moveTo>
                    <a:pt x="417274" y="184986"/>
                  </a:moveTo>
                  <a:cubicBezTo>
                    <a:pt x="417274" y="184986"/>
                    <a:pt x="441819" y="375214"/>
                    <a:pt x="405000" y="442714"/>
                  </a:cubicBezTo>
                  <a:cubicBezTo>
                    <a:pt x="368182" y="510214"/>
                    <a:pt x="306818" y="568509"/>
                    <a:pt x="254661" y="571577"/>
                  </a:cubicBezTo>
                  <a:cubicBezTo>
                    <a:pt x="187160" y="577714"/>
                    <a:pt x="73637" y="494873"/>
                    <a:pt x="36819" y="427373"/>
                  </a:cubicBezTo>
                  <a:cubicBezTo>
                    <a:pt x="0" y="359873"/>
                    <a:pt x="0" y="252486"/>
                    <a:pt x="0" y="200327"/>
                  </a:cubicBezTo>
                  <a:cubicBezTo>
                    <a:pt x="3069" y="105214"/>
                    <a:pt x="27614" y="25441"/>
                    <a:pt x="214773" y="895"/>
                  </a:cubicBezTo>
                  <a:cubicBezTo>
                    <a:pt x="300683" y="-11377"/>
                    <a:pt x="395796" y="105214"/>
                    <a:pt x="417274" y="184986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3D85AC1D-0BDA-4C9D-9F0A-C8EF34CA88ED}"/>
                </a:ext>
              </a:extLst>
            </p:cNvPr>
            <p:cNvSpPr/>
            <p:nvPr/>
          </p:nvSpPr>
          <p:spPr>
            <a:xfrm>
              <a:off x="21012485" y="2446009"/>
              <a:ext cx="55226" cy="131931"/>
            </a:xfrm>
            <a:custGeom>
              <a:avLst/>
              <a:gdLst>
                <a:gd name="connsiteX0" fmla="*/ 30682 w 55226"/>
                <a:gd name="connsiteY0" fmla="*/ 131932 h 131931"/>
                <a:gd name="connsiteX1" fmla="*/ 6137 w 55226"/>
                <a:gd name="connsiteY1" fmla="*/ 128864 h 131931"/>
                <a:gd name="connsiteX2" fmla="*/ 0 w 55226"/>
                <a:gd name="connsiteY2" fmla="*/ 122727 h 131931"/>
                <a:gd name="connsiteX3" fmla="*/ 6137 w 55226"/>
                <a:gd name="connsiteY3" fmla="*/ 116591 h 131931"/>
                <a:gd name="connsiteX4" fmla="*/ 46023 w 55226"/>
                <a:gd name="connsiteY4" fmla="*/ 116591 h 131931"/>
                <a:gd name="connsiteX5" fmla="*/ 46023 w 55226"/>
                <a:gd name="connsiteY5" fmla="*/ 113523 h 131931"/>
                <a:gd name="connsiteX6" fmla="*/ 18408 w 55226"/>
                <a:gd name="connsiteY6" fmla="*/ 6136 h 131931"/>
                <a:gd name="connsiteX7" fmla="*/ 21478 w 55226"/>
                <a:gd name="connsiteY7" fmla="*/ 0 h 131931"/>
                <a:gd name="connsiteX8" fmla="*/ 27614 w 55226"/>
                <a:gd name="connsiteY8" fmla="*/ 3068 h 131931"/>
                <a:gd name="connsiteX9" fmla="*/ 55227 w 55226"/>
                <a:gd name="connsiteY9" fmla="*/ 113523 h 131931"/>
                <a:gd name="connsiteX10" fmla="*/ 49090 w 55226"/>
                <a:gd name="connsiteY10" fmla="*/ 125795 h 131931"/>
                <a:gd name="connsiteX11" fmla="*/ 30682 w 55226"/>
                <a:gd name="connsiteY11" fmla="*/ 131932 h 131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226" h="131931">
                  <a:moveTo>
                    <a:pt x="30682" y="131932"/>
                  </a:moveTo>
                  <a:cubicBezTo>
                    <a:pt x="18408" y="131932"/>
                    <a:pt x="9204" y="128864"/>
                    <a:pt x="6137" y="128864"/>
                  </a:cubicBezTo>
                  <a:cubicBezTo>
                    <a:pt x="3067" y="128864"/>
                    <a:pt x="0" y="125795"/>
                    <a:pt x="0" y="122727"/>
                  </a:cubicBezTo>
                  <a:cubicBezTo>
                    <a:pt x="0" y="119659"/>
                    <a:pt x="3067" y="116591"/>
                    <a:pt x="6137" y="116591"/>
                  </a:cubicBezTo>
                  <a:cubicBezTo>
                    <a:pt x="18408" y="119659"/>
                    <a:pt x="39886" y="119659"/>
                    <a:pt x="46023" y="116591"/>
                  </a:cubicBezTo>
                  <a:cubicBezTo>
                    <a:pt x="46023" y="116591"/>
                    <a:pt x="46023" y="113523"/>
                    <a:pt x="46023" y="113523"/>
                  </a:cubicBezTo>
                  <a:cubicBezTo>
                    <a:pt x="46023" y="98182"/>
                    <a:pt x="24545" y="30682"/>
                    <a:pt x="18408" y="6136"/>
                  </a:cubicBezTo>
                  <a:cubicBezTo>
                    <a:pt x="18408" y="3068"/>
                    <a:pt x="18408" y="0"/>
                    <a:pt x="21478" y="0"/>
                  </a:cubicBezTo>
                  <a:cubicBezTo>
                    <a:pt x="24545" y="0"/>
                    <a:pt x="27614" y="0"/>
                    <a:pt x="27614" y="3068"/>
                  </a:cubicBezTo>
                  <a:cubicBezTo>
                    <a:pt x="27614" y="6136"/>
                    <a:pt x="55227" y="92045"/>
                    <a:pt x="55227" y="113523"/>
                  </a:cubicBezTo>
                  <a:cubicBezTo>
                    <a:pt x="55227" y="119659"/>
                    <a:pt x="52159" y="122727"/>
                    <a:pt x="49090" y="125795"/>
                  </a:cubicBezTo>
                  <a:cubicBezTo>
                    <a:pt x="49090" y="128864"/>
                    <a:pt x="39886" y="131932"/>
                    <a:pt x="30682" y="131932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8DB9A0D1-EEE3-40DC-8AC0-AA92C11062E9}"/>
                </a:ext>
              </a:extLst>
            </p:cNvPr>
            <p:cNvSpPr/>
            <p:nvPr/>
          </p:nvSpPr>
          <p:spPr>
            <a:xfrm>
              <a:off x="20984871" y="2627031"/>
              <a:ext cx="107386" cy="55227"/>
            </a:xfrm>
            <a:custGeom>
              <a:avLst/>
              <a:gdLst>
                <a:gd name="connsiteX0" fmla="*/ 0 w 107386"/>
                <a:gd name="connsiteY0" fmla="*/ 0 h 55227"/>
                <a:gd name="connsiteX1" fmla="*/ 107386 w 107386"/>
                <a:gd name="connsiteY1" fmla="*/ 0 h 55227"/>
                <a:gd name="connsiteX2" fmla="*/ 55229 w 107386"/>
                <a:gd name="connsiteY2" fmla="*/ 55227 h 55227"/>
                <a:gd name="connsiteX3" fmla="*/ 0 w 107386"/>
                <a:gd name="connsiteY3" fmla="*/ 0 h 55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386" h="55227">
                  <a:moveTo>
                    <a:pt x="0" y="0"/>
                  </a:moveTo>
                  <a:cubicBezTo>
                    <a:pt x="55229" y="24545"/>
                    <a:pt x="107386" y="0"/>
                    <a:pt x="107386" y="0"/>
                  </a:cubicBezTo>
                  <a:cubicBezTo>
                    <a:pt x="107386" y="0"/>
                    <a:pt x="92045" y="55227"/>
                    <a:pt x="55229" y="55227"/>
                  </a:cubicBezTo>
                  <a:cubicBezTo>
                    <a:pt x="12273" y="5522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CA06AB9E-D89D-41FF-BDE4-122374566665}"/>
                </a:ext>
              </a:extLst>
            </p:cNvPr>
            <p:cNvSpPr/>
            <p:nvPr/>
          </p:nvSpPr>
          <p:spPr>
            <a:xfrm>
              <a:off x="21103749" y="2417793"/>
              <a:ext cx="41269" cy="41270"/>
            </a:xfrm>
            <a:custGeom>
              <a:avLst/>
              <a:gdLst>
                <a:gd name="connsiteX0" fmla="*/ 782 w 41269"/>
                <a:gd name="connsiteY0" fmla="*/ 25147 h 41270"/>
                <a:gd name="connsiteX1" fmla="*/ 25327 w 41269"/>
                <a:gd name="connsiteY1" fmla="*/ 40488 h 41270"/>
                <a:gd name="connsiteX2" fmla="*/ 40668 w 41269"/>
                <a:gd name="connsiteY2" fmla="*/ 15943 h 41270"/>
                <a:gd name="connsiteX3" fmla="*/ 16123 w 41269"/>
                <a:gd name="connsiteY3" fmla="*/ 602 h 41270"/>
                <a:gd name="connsiteX4" fmla="*/ 782 w 41269"/>
                <a:gd name="connsiteY4" fmla="*/ 25147 h 4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69" h="41270">
                  <a:moveTo>
                    <a:pt x="782" y="25147"/>
                  </a:moveTo>
                  <a:cubicBezTo>
                    <a:pt x="3849" y="37420"/>
                    <a:pt x="13055" y="43556"/>
                    <a:pt x="25327" y="40488"/>
                  </a:cubicBezTo>
                  <a:cubicBezTo>
                    <a:pt x="34531" y="37420"/>
                    <a:pt x="43737" y="28215"/>
                    <a:pt x="40668" y="15943"/>
                  </a:cubicBezTo>
                  <a:cubicBezTo>
                    <a:pt x="37600" y="6738"/>
                    <a:pt x="28396" y="-2466"/>
                    <a:pt x="16123" y="602"/>
                  </a:cubicBezTo>
                  <a:cubicBezTo>
                    <a:pt x="3849" y="3670"/>
                    <a:pt x="-2286" y="12875"/>
                    <a:pt x="782" y="2514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41E5426D-3889-4A8E-9653-8DAA3AF44FE4}"/>
                </a:ext>
              </a:extLst>
            </p:cNvPr>
            <p:cNvSpPr/>
            <p:nvPr/>
          </p:nvSpPr>
          <p:spPr>
            <a:xfrm>
              <a:off x="20913522" y="2423749"/>
              <a:ext cx="41269" cy="41450"/>
            </a:xfrm>
            <a:custGeom>
              <a:avLst/>
              <a:gdLst>
                <a:gd name="connsiteX0" fmla="*/ 782 w 41269"/>
                <a:gd name="connsiteY0" fmla="*/ 25327 h 41450"/>
                <a:gd name="connsiteX1" fmla="*/ 25327 w 41269"/>
                <a:gd name="connsiteY1" fmla="*/ 40668 h 41450"/>
                <a:gd name="connsiteX2" fmla="*/ 40668 w 41269"/>
                <a:gd name="connsiteY2" fmla="*/ 16123 h 41450"/>
                <a:gd name="connsiteX3" fmla="*/ 16122 w 41269"/>
                <a:gd name="connsiteY3" fmla="*/ 782 h 41450"/>
                <a:gd name="connsiteX4" fmla="*/ 782 w 41269"/>
                <a:gd name="connsiteY4" fmla="*/ 25327 h 4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69" h="41450">
                  <a:moveTo>
                    <a:pt x="782" y="25327"/>
                  </a:moveTo>
                  <a:cubicBezTo>
                    <a:pt x="3851" y="37600"/>
                    <a:pt x="13055" y="43736"/>
                    <a:pt x="25327" y="40668"/>
                  </a:cubicBezTo>
                  <a:cubicBezTo>
                    <a:pt x="34533" y="37600"/>
                    <a:pt x="43737" y="28396"/>
                    <a:pt x="40668" y="16123"/>
                  </a:cubicBezTo>
                  <a:cubicBezTo>
                    <a:pt x="37600" y="3850"/>
                    <a:pt x="28396" y="-2286"/>
                    <a:pt x="16122" y="782"/>
                  </a:cubicBezTo>
                  <a:cubicBezTo>
                    <a:pt x="3851" y="3850"/>
                    <a:pt x="-2286" y="13055"/>
                    <a:pt x="782" y="2532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81DF7A90-6396-407B-AD17-CC3ADF55EF56}"/>
                </a:ext>
              </a:extLst>
            </p:cNvPr>
            <p:cNvSpPr/>
            <p:nvPr/>
          </p:nvSpPr>
          <p:spPr>
            <a:xfrm>
              <a:off x="21078714" y="2372372"/>
              <a:ext cx="92549" cy="30681"/>
            </a:xfrm>
            <a:custGeom>
              <a:avLst/>
              <a:gdLst>
                <a:gd name="connsiteX0" fmla="*/ 84113 w 92549"/>
                <a:gd name="connsiteY0" fmla="*/ 30682 h 30681"/>
                <a:gd name="connsiteX1" fmla="*/ 77976 w 92549"/>
                <a:gd name="connsiteY1" fmla="*/ 27614 h 30681"/>
                <a:gd name="connsiteX2" fmla="*/ 10476 w 92549"/>
                <a:gd name="connsiteY2" fmla="*/ 21477 h 30681"/>
                <a:gd name="connsiteX3" fmla="*/ 1271 w 92549"/>
                <a:gd name="connsiteY3" fmla="*/ 18409 h 30681"/>
                <a:gd name="connsiteX4" fmla="*/ 4339 w 92549"/>
                <a:gd name="connsiteY4" fmla="*/ 9205 h 30681"/>
                <a:gd name="connsiteX5" fmla="*/ 90248 w 92549"/>
                <a:gd name="connsiteY5" fmla="*/ 18409 h 30681"/>
                <a:gd name="connsiteX6" fmla="*/ 90248 w 92549"/>
                <a:gd name="connsiteY6" fmla="*/ 30682 h 30681"/>
                <a:gd name="connsiteX7" fmla="*/ 84113 w 92549"/>
                <a:gd name="connsiteY7" fmla="*/ 30682 h 30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0681">
                  <a:moveTo>
                    <a:pt x="84113" y="30682"/>
                  </a:moveTo>
                  <a:cubicBezTo>
                    <a:pt x="81043" y="30682"/>
                    <a:pt x="81043" y="30682"/>
                    <a:pt x="77976" y="27614"/>
                  </a:cubicBezTo>
                  <a:cubicBezTo>
                    <a:pt x="53431" y="0"/>
                    <a:pt x="13543" y="18409"/>
                    <a:pt x="10476" y="21477"/>
                  </a:cubicBezTo>
                  <a:cubicBezTo>
                    <a:pt x="7408" y="24545"/>
                    <a:pt x="1271" y="21477"/>
                    <a:pt x="1271" y="18409"/>
                  </a:cubicBezTo>
                  <a:cubicBezTo>
                    <a:pt x="-1798" y="15341"/>
                    <a:pt x="1271" y="9205"/>
                    <a:pt x="4339" y="9205"/>
                  </a:cubicBezTo>
                  <a:cubicBezTo>
                    <a:pt x="22749" y="0"/>
                    <a:pt x="62635" y="-9205"/>
                    <a:pt x="90248" y="18409"/>
                  </a:cubicBezTo>
                  <a:cubicBezTo>
                    <a:pt x="93317" y="21477"/>
                    <a:pt x="93317" y="27614"/>
                    <a:pt x="90248" y="30682"/>
                  </a:cubicBezTo>
                  <a:cubicBezTo>
                    <a:pt x="87180" y="27614"/>
                    <a:pt x="84113" y="30682"/>
                    <a:pt x="84113" y="30682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5F986343-7ED4-4C48-9569-F0F6F404D4B5}"/>
                </a:ext>
              </a:extLst>
            </p:cNvPr>
            <p:cNvSpPr/>
            <p:nvPr/>
          </p:nvSpPr>
          <p:spPr>
            <a:xfrm>
              <a:off x="20884389" y="2367259"/>
              <a:ext cx="92549" cy="35795"/>
            </a:xfrm>
            <a:custGeom>
              <a:avLst/>
              <a:gdLst>
                <a:gd name="connsiteX0" fmla="*/ 8437 w 92549"/>
                <a:gd name="connsiteY0" fmla="*/ 35795 h 35795"/>
                <a:gd name="connsiteX1" fmla="*/ 2302 w 92549"/>
                <a:gd name="connsiteY1" fmla="*/ 32727 h 35795"/>
                <a:gd name="connsiteX2" fmla="*/ 2302 w 92549"/>
                <a:gd name="connsiteY2" fmla="*/ 20455 h 35795"/>
                <a:gd name="connsiteX3" fmla="*/ 88211 w 92549"/>
                <a:gd name="connsiteY3" fmla="*/ 11250 h 35795"/>
                <a:gd name="connsiteX4" fmla="*/ 91278 w 92549"/>
                <a:gd name="connsiteY4" fmla="*/ 23523 h 35795"/>
                <a:gd name="connsiteX5" fmla="*/ 79007 w 92549"/>
                <a:gd name="connsiteY5" fmla="*/ 26591 h 35795"/>
                <a:gd name="connsiteX6" fmla="*/ 11506 w 92549"/>
                <a:gd name="connsiteY6" fmla="*/ 32727 h 35795"/>
                <a:gd name="connsiteX7" fmla="*/ 8437 w 92549"/>
                <a:gd name="connsiteY7" fmla="*/ 35795 h 35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5795">
                  <a:moveTo>
                    <a:pt x="8437" y="35795"/>
                  </a:moveTo>
                  <a:cubicBezTo>
                    <a:pt x="5369" y="35795"/>
                    <a:pt x="5369" y="35795"/>
                    <a:pt x="2302" y="32727"/>
                  </a:cubicBezTo>
                  <a:cubicBezTo>
                    <a:pt x="-767" y="29659"/>
                    <a:pt x="-767" y="23523"/>
                    <a:pt x="2302" y="20455"/>
                  </a:cubicBezTo>
                  <a:cubicBezTo>
                    <a:pt x="14574" y="8182"/>
                    <a:pt x="51392" y="-13295"/>
                    <a:pt x="88211" y="11250"/>
                  </a:cubicBezTo>
                  <a:cubicBezTo>
                    <a:pt x="91278" y="14318"/>
                    <a:pt x="94347" y="17386"/>
                    <a:pt x="91278" y="23523"/>
                  </a:cubicBezTo>
                  <a:cubicBezTo>
                    <a:pt x="88211" y="29659"/>
                    <a:pt x="85141" y="29659"/>
                    <a:pt x="79007" y="26591"/>
                  </a:cubicBezTo>
                  <a:cubicBezTo>
                    <a:pt x="42188" y="2045"/>
                    <a:pt x="14574" y="32727"/>
                    <a:pt x="11506" y="32727"/>
                  </a:cubicBezTo>
                  <a:cubicBezTo>
                    <a:pt x="14574" y="35795"/>
                    <a:pt x="11506" y="35795"/>
                    <a:pt x="8437" y="35795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3FE8A097-0974-455B-9266-E8BE4FDDA95A}"/>
                </a:ext>
              </a:extLst>
            </p:cNvPr>
            <p:cNvSpPr/>
            <p:nvPr/>
          </p:nvSpPr>
          <p:spPr>
            <a:xfrm>
              <a:off x="20951037" y="2124325"/>
              <a:ext cx="276568" cy="278729"/>
            </a:xfrm>
            <a:custGeom>
              <a:avLst/>
              <a:gdLst>
                <a:gd name="connsiteX0" fmla="*/ 3152 w 276568"/>
                <a:gd name="connsiteY0" fmla="*/ 2593 h 278729"/>
                <a:gd name="connsiteX1" fmla="*/ 36903 w 276568"/>
                <a:gd name="connsiteY1" fmla="*/ 149866 h 278729"/>
                <a:gd name="connsiteX2" fmla="*/ 276221 w 276568"/>
                <a:gd name="connsiteY2" fmla="*/ 278729 h 278729"/>
                <a:gd name="connsiteX3" fmla="*/ 3152 w 276568"/>
                <a:gd name="connsiteY3" fmla="*/ 2593 h 278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568" h="278729">
                  <a:moveTo>
                    <a:pt x="3152" y="2593"/>
                  </a:moveTo>
                  <a:cubicBezTo>
                    <a:pt x="3152" y="2593"/>
                    <a:pt x="-15257" y="109979"/>
                    <a:pt x="36903" y="149866"/>
                  </a:cubicBezTo>
                  <a:cubicBezTo>
                    <a:pt x="36903" y="149866"/>
                    <a:pt x="248606" y="192820"/>
                    <a:pt x="276221" y="278729"/>
                  </a:cubicBezTo>
                  <a:cubicBezTo>
                    <a:pt x="276221" y="275661"/>
                    <a:pt x="297698" y="-31157"/>
                    <a:pt x="3152" y="2593"/>
                  </a:cubicBez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F19425E6-A324-407B-A3A1-60798A916D84}"/>
                </a:ext>
              </a:extLst>
            </p:cNvPr>
            <p:cNvSpPr/>
            <p:nvPr/>
          </p:nvSpPr>
          <p:spPr>
            <a:xfrm>
              <a:off x="20688926" y="2123850"/>
              <a:ext cx="299014" cy="353303"/>
            </a:xfrm>
            <a:custGeom>
              <a:avLst/>
              <a:gdLst>
                <a:gd name="connsiteX0" fmla="*/ 299014 w 299014"/>
                <a:gd name="connsiteY0" fmla="*/ 147273 h 353303"/>
                <a:gd name="connsiteX1" fmla="*/ 157877 w 299014"/>
                <a:gd name="connsiteY1" fmla="*/ 202500 h 353303"/>
                <a:gd name="connsiteX2" fmla="*/ 99582 w 299014"/>
                <a:gd name="connsiteY2" fmla="*/ 322159 h 353303"/>
                <a:gd name="connsiteX3" fmla="*/ 10604 w 299014"/>
                <a:gd name="connsiteY3" fmla="*/ 343636 h 353303"/>
                <a:gd name="connsiteX4" fmla="*/ 268332 w 299014"/>
                <a:gd name="connsiteY4" fmla="*/ 0 h 353303"/>
                <a:gd name="connsiteX5" fmla="*/ 299014 w 299014"/>
                <a:gd name="connsiteY5" fmla="*/ 147273 h 353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014" h="353303">
                  <a:moveTo>
                    <a:pt x="299014" y="147273"/>
                  </a:moveTo>
                  <a:cubicBezTo>
                    <a:pt x="299014" y="147273"/>
                    <a:pt x="206969" y="196364"/>
                    <a:pt x="157877" y="202500"/>
                  </a:cubicBezTo>
                  <a:cubicBezTo>
                    <a:pt x="105719" y="208636"/>
                    <a:pt x="99582" y="322159"/>
                    <a:pt x="99582" y="322159"/>
                  </a:cubicBezTo>
                  <a:cubicBezTo>
                    <a:pt x="99582" y="322159"/>
                    <a:pt x="25945" y="374318"/>
                    <a:pt x="10604" y="343636"/>
                  </a:cubicBezTo>
                  <a:cubicBezTo>
                    <a:pt x="-23145" y="276136"/>
                    <a:pt x="13674" y="0"/>
                    <a:pt x="268332" y="0"/>
                  </a:cubicBezTo>
                  <a:cubicBezTo>
                    <a:pt x="265263" y="3068"/>
                    <a:pt x="274469" y="144205"/>
                    <a:pt x="299014" y="147273"/>
                  </a:cubicBez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0E8C2EAF-16C3-4930-85A7-1ED82994B15A}"/>
                </a:ext>
              </a:extLst>
            </p:cNvPr>
            <p:cNvSpPr/>
            <p:nvPr/>
          </p:nvSpPr>
          <p:spPr>
            <a:xfrm>
              <a:off x="20840668" y="2120781"/>
              <a:ext cx="154772" cy="211704"/>
            </a:xfrm>
            <a:custGeom>
              <a:avLst/>
              <a:gdLst>
                <a:gd name="connsiteX0" fmla="*/ 6135 w 154772"/>
                <a:gd name="connsiteY0" fmla="*/ 211705 h 211704"/>
                <a:gd name="connsiteX1" fmla="*/ 0 w 154772"/>
                <a:gd name="connsiteY1" fmla="*/ 205568 h 211704"/>
                <a:gd name="connsiteX2" fmla="*/ 6135 w 154772"/>
                <a:gd name="connsiteY2" fmla="*/ 199432 h 211704"/>
                <a:gd name="connsiteX3" fmla="*/ 101250 w 154772"/>
                <a:gd name="connsiteY3" fmla="*/ 168750 h 211704"/>
                <a:gd name="connsiteX4" fmla="*/ 141136 w 154772"/>
                <a:gd name="connsiteY4" fmla="*/ 147273 h 211704"/>
                <a:gd name="connsiteX5" fmla="*/ 125795 w 154772"/>
                <a:gd name="connsiteY5" fmla="*/ 125795 h 211704"/>
                <a:gd name="connsiteX6" fmla="*/ 113521 w 154772"/>
                <a:gd name="connsiteY6" fmla="*/ 82841 h 211704"/>
                <a:gd name="connsiteX7" fmla="*/ 110454 w 154772"/>
                <a:gd name="connsiteY7" fmla="*/ 42955 h 211704"/>
                <a:gd name="connsiteX8" fmla="*/ 107386 w 154772"/>
                <a:gd name="connsiteY8" fmla="*/ 6136 h 211704"/>
                <a:gd name="connsiteX9" fmla="*/ 113521 w 154772"/>
                <a:gd name="connsiteY9" fmla="*/ 0 h 211704"/>
                <a:gd name="connsiteX10" fmla="*/ 119658 w 154772"/>
                <a:gd name="connsiteY10" fmla="*/ 6136 h 211704"/>
                <a:gd name="connsiteX11" fmla="*/ 122727 w 154772"/>
                <a:gd name="connsiteY11" fmla="*/ 42955 h 211704"/>
                <a:gd name="connsiteX12" fmla="*/ 125795 w 154772"/>
                <a:gd name="connsiteY12" fmla="*/ 79773 h 211704"/>
                <a:gd name="connsiteX13" fmla="*/ 134999 w 154772"/>
                <a:gd name="connsiteY13" fmla="*/ 119659 h 211704"/>
                <a:gd name="connsiteX14" fmla="*/ 153409 w 154772"/>
                <a:gd name="connsiteY14" fmla="*/ 144205 h 211704"/>
                <a:gd name="connsiteX15" fmla="*/ 153409 w 154772"/>
                <a:gd name="connsiteY15" fmla="*/ 147273 h 211704"/>
                <a:gd name="connsiteX16" fmla="*/ 150340 w 154772"/>
                <a:gd name="connsiteY16" fmla="*/ 150341 h 211704"/>
                <a:gd name="connsiteX17" fmla="*/ 104317 w 154772"/>
                <a:gd name="connsiteY17" fmla="*/ 174886 h 211704"/>
                <a:gd name="connsiteX18" fmla="*/ 6135 w 154772"/>
                <a:gd name="connsiteY18" fmla="*/ 211705 h 211704"/>
                <a:gd name="connsiteX19" fmla="*/ 6135 w 154772"/>
                <a:gd name="connsiteY19" fmla="*/ 211705 h 211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4772" h="211704">
                  <a:moveTo>
                    <a:pt x="6135" y="211705"/>
                  </a:moveTo>
                  <a:cubicBezTo>
                    <a:pt x="3067" y="211705"/>
                    <a:pt x="0" y="208636"/>
                    <a:pt x="0" y="205568"/>
                  </a:cubicBezTo>
                  <a:cubicBezTo>
                    <a:pt x="0" y="202500"/>
                    <a:pt x="3067" y="199432"/>
                    <a:pt x="6135" y="199432"/>
                  </a:cubicBezTo>
                  <a:cubicBezTo>
                    <a:pt x="39886" y="193295"/>
                    <a:pt x="76705" y="177955"/>
                    <a:pt x="101250" y="168750"/>
                  </a:cubicBezTo>
                  <a:cubicBezTo>
                    <a:pt x="119658" y="159545"/>
                    <a:pt x="131931" y="153409"/>
                    <a:pt x="141136" y="147273"/>
                  </a:cubicBezTo>
                  <a:cubicBezTo>
                    <a:pt x="134999" y="141136"/>
                    <a:pt x="128862" y="135000"/>
                    <a:pt x="125795" y="125795"/>
                  </a:cubicBezTo>
                  <a:cubicBezTo>
                    <a:pt x="119658" y="110455"/>
                    <a:pt x="116591" y="95114"/>
                    <a:pt x="113521" y="82841"/>
                  </a:cubicBezTo>
                  <a:cubicBezTo>
                    <a:pt x="113521" y="76705"/>
                    <a:pt x="113521" y="61364"/>
                    <a:pt x="110454" y="42955"/>
                  </a:cubicBezTo>
                  <a:cubicBezTo>
                    <a:pt x="110454" y="27614"/>
                    <a:pt x="110454" y="12273"/>
                    <a:pt x="107386" y="6136"/>
                  </a:cubicBezTo>
                  <a:cubicBezTo>
                    <a:pt x="107386" y="3068"/>
                    <a:pt x="110454" y="0"/>
                    <a:pt x="113521" y="0"/>
                  </a:cubicBezTo>
                  <a:cubicBezTo>
                    <a:pt x="116591" y="0"/>
                    <a:pt x="119658" y="3068"/>
                    <a:pt x="119658" y="6136"/>
                  </a:cubicBezTo>
                  <a:cubicBezTo>
                    <a:pt x="119658" y="12273"/>
                    <a:pt x="119658" y="27614"/>
                    <a:pt x="122727" y="42955"/>
                  </a:cubicBezTo>
                  <a:cubicBezTo>
                    <a:pt x="122727" y="58295"/>
                    <a:pt x="122727" y="73636"/>
                    <a:pt x="125795" y="79773"/>
                  </a:cubicBezTo>
                  <a:cubicBezTo>
                    <a:pt x="128862" y="95114"/>
                    <a:pt x="128862" y="107386"/>
                    <a:pt x="134999" y="119659"/>
                  </a:cubicBezTo>
                  <a:cubicBezTo>
                    <a:pt x="138068" y="128864"/>
                    <a:pt x="147272" y="135000"/>
                    <a:pt x="153409" y="144205"/>
                  </a:cubicBezTo>
                  <a:cubicBezTo>
                    <a:pt x="153409" y="144205"/>
                    <a:pt x="156477" y="147273"/>
                    <a:pt x="153409" y="147273"/>
                  </a:cubicBezTo>
                  <a:cubicBezTo>
                    <a:pt x="153409" y="150341"/>
                    <a:pt x="153409" y="150341"/>
                    <a:pt x="150340" y="150341"/>
                  </a:cubicBezTo>
                  <a:cubicBezTo>
                    <a:pt x="150340" y="150341"/>
                    <a:pt x="131931" y="162614"/>
                    <a:pt x="104317" y="174886"/>
                  </a:cubicBezTo>
                  <a:cubicBezTo>
                    <a:pt x="79772" y="190227"/>
                    <a:pt x="42953" y="205568"/>
                    <a:pt x="6135" y="211705"/>
                  </a:cubicBezTo>
                  <a:cubicBezTo>
                    <a:pt x="6135" y="211705"/>
                    <a:pt x="6135" y="211705"/>
                    <a:pt x="6135" y="211705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B1AEAD29-2B41-4FE1-AFDA-88DFD5AD7256}"/>
                </a:ext>
              </a:extLst>
            </p:cNvPr>
            <p:cNvSpPr/>
            <p:nvPr/>
          </p:nvSpPr>
          <p:spPr>
            <a:xfrm>
              <a:off x="20840668" y="2636139"/>
              <a:ext cx="312953" cy="328392"/>
            </a:xfrm>
            <a:custGeom>
              <a:avLst/>
              <a:gdLst>
                <a:gd name="connsiteX0" fmla="*/ 257726 w 312953"/>
                <a:gd name="connsiteY0" fmla="*/ 61461 h 328392"/>
                <a:gd name="connsiteX1" fmla="*/ 312953 w 312953"/>
                <a:gd name="connsiteY1" fmla="*/ 202597 h 328392"/>
                <a:gd name="connsiteX2" fmla="*/ 196363 w 312953"/>
                <a:gd name="connsiteY2" fmla="*/ 328393 h 328392"/>
                <a:gd name="connsiteX3" fmla="*/ 0 w 312953"/>
                <a:gd name="connsiteY3" fmla="*/ 187256 h 328392"/>
                <a:gd name="connsiteX4" fmla="*/ 52158 w 312953"/>
                <a:gd name="connsiteY4" fmla="*/ 97 h 328392"/>
                <a:gd name="connsiteX5" fmla="*/ 257726 w 312953"/>
                <a:gd name="connsiteY5" fmla="*/ 61461 h 32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953" h="328392">
                  <a:moveTo>
                    <a:pt x="257726" y="61461"/>
                  </a:moveTo>
                  <a:cubicBezTo>
                    <a:pt x="257726" y="61461"/>
                    <a:pt x="251589" y="171916"/>
                    <a:pt x="312953" y="202597"/>
                  </a:cubicBezTo>
                  <a:lnTo>
                    <a:pt x="196363" y="328393"/>
                  </a:lnTo>
                  <a:cubicBezTo>
                    <a:pt x="196363" y="328393"/>
                    <a:pt x="55227" y="217938"/>
                    <a:pt x="0" y="187256"/>
                  </a:cubicBezTo>
                  <a:cubicBezTo>
                    <a:pt x="55227" y="144302"/>
                    <a:pt x="52158" y="61461"/>
                    <a:pt x="52158" y="97"/>
                  </a:cubicBezTo>
                  <a:cubicBezTo>
                    <a:pt x="55227" y="-2971"/>
                    <a:pt x="205567" y="67597"/>
                    <a:pt x="257726" y="61461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47B04EBC-91FB-4ECB-AE4A-7F0DC6CF8A0B}"/>
                </a:ext>
              </a:extLst>
            </p:cNvPr>
            <p:cNvSpPr/>
            <p:nvPr/>
          </p:nvSpPr>
          <p:spPr>
            <a:xfrm>
              <a:off x="20886691" y="2673054"/>
              <a:ext cx="223209" cy="79772"/>
            </a:xfrm>
            <a:custGeom>
              <a:avLst/>
              <a:gdLst>
                <a:gd name="connsiteX0" fmla="*/ 150340 w 223209"/>
                <a:gd name="connsiteY0" fmla="*/ 79773 h 79772"/>
                <a:gd name="connsiteX1" fmla="*/ 141136 w 223209"/>
                <a:gd name="connsiteY1" fmla="*/ 79773 h 79772"/>
                <a:gd name="connsiteX2" fmla="*/ 3067 w 223209"/>
                <a:gd name="connsiteY2" fmla="*/ 12273 h 79772"/>
                <a:gd name="connsiteX3" fmla="*/ 0 w 223209"/>
                <a:gd name="connsiteY3" fmla="*/ 3068 h 79772"/>
                <a:gd name="connsiteX4" fmla="*/ 9204 w 223209"/>
                <a:gd name="connsiteY4" fmla="*/ 0 h 79772"/>
                <a:gd name="connsiteX5" fmla="*/ 141136 w 223209"/>
                <a:gd name="connsiteY5" fmla="*/ 67500 h 79772"/>
                <a:gd name="connsiteX6" fmla="*/ 211703 w 223209"/>
                <a:gd name="connsiteY6" fmla="*/ 42955 h 79772"/>
                <a:gd name="connsiteX7" fmla="*/ 220908 w 223209"/>
                <a:gd name="connsiteY7" fmla="*/ 42955 h 79772"/>
                <a:gd name="connsiteX8" fmla="*/ 220908 w 223209"/>
                <a:gd name="connsiteY8" fmla="*/ 52159 h 79772"/>
                <a:gd name="connsiteX9" fmla="*/ 150340 w 223209"/>
                <a:gd name="connsiteY9" fmla="*/ 79773 h 79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209" h="79772">
                  <a:moveTo>
                    <a:pt x="150340" y="79773"/>
                  </a:moveTo>
                  <a:cubicBezTo>
                    <a:pt x="147272" y="79773"/>
                    <a:pt x="144203" y="79773"/>
                    <a:pt x="141136" y="79773"/>
                  </a:cubicBezTo>
                  <a:cubicBezTo>
                    <a:pt x="98180" y="73636"/>
                    <a:pt x="6135" y="12273"/>
                    <a:pt x="3067" y="12273"/>
                  </a:cubicBezTo>
                  <a:cubicBezTo>
                    <a:pt x="0" y="9205"/>
                    <a:pt x="0" y="6136"/>
                    <a:pt x="0" y="3068"/>
                  </a:cubicBezTo>
                  <a:cubicBezTo>
                    <a:pt x="3067" y="0"/>
                    <a:pt x="6135" y="0"/>
                    <a:pt x="9204" y="0"/>
                  </a:cubicBezTo>
                  <a:cubicBezTo>
                    <a:pt x="9204" y="0"/>
                    <a:pt x="104317" y="61364"/>
                    <a:pt x="141136" y="67500"/>
                  </a:cubicBezTo>
                  <a:cubicBezTo>
                    <a:pt x="177954" y="73636"/>
                    <a:pt x="211703" y="42955"/>
                    <a:pt x="211703" y="42955"/>
                  </a:cubicBezTo>
                  <a:cubicBezTo>
                    <a:pt x="214773" y="39886"/>
                    <a:pt x="217840" y="39886"/>
                    <a:pt x="220908" y="42955"/>
                  </a:cubicBezTo>
                  <a:cubicBezTo>
                    <a:pt x="223977" y="46023"/>
                    <a:pt x="223977" y="49091"/>
                    <a:pt x="220908" y="52159"/>
                  </a:cubicBezTo>
                  <a:cubicBezTo>
                    <a:pt x="217840" y="52159"/>
                    <a:pt x="187158" y="79773"/>
                    <a:pt x="150340" y="79773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C0EAD448-C5B3-4302-B4CF-F00B90C9A6ED}"/>
                </a:ext>
              </a:extLst>
            </p:cNvPr>
            <p:cNvSpPr/>
            <p:nvPr/>
          </p:nvSpPr>
          <p:spPr>
            <a:xfrm>
              <a:off x="21336441" y="2914170"/>
              <a:ext cx="104119" cy="562748"/>
            </a:xfrm>
            <a:custGeom>
              <a:avLst/>
              <a:gdLst>
                <a:gd name="connsiteX0" fmla="*/ 47293 w 104119"/>
                <a:gd name="connsiteY0" fmla="*/ 562748 h 562748"/>
                <a:gd name="connsiteX1" fmla="*/ 47293 w 104119"/>
                <a:gd name="connsiteY1" fmla="*/ 562748 h 562748"/>
                <a:gd name="connsiteX2" fmla="*/ 41158 w 104119"/>
                <a:gd name="connsiteY2" fmla="*/ 556612 h 562748"/>
                <a:gd name="connsiteX3" fmla="*/ 56499 w 104119"/>
                <a:gd name="connsiteY3" fmla="*/ 501385 h 562748"/>
                <a:gd name="connsiteX4" fmla="*/ 90249 w 104119"/>
                <a:gd name="connsiteY4" fmla="*/ 351044 h 562748"/>
                <a:gd name="connsiteX5" fmla="*/ 1271 w 104119"/>
                <a:gd name="connsiteY5" fmla="*/ 10475 h 562748"/>
                <a:gd name="connsiteX6" fmla="*/ 4340 w 104119"/>
                <a:gd name="connsiteY6" fmla="*/ 1271 h 562748"/>
                <a:gd name="connsiteX7" fmla="*/ 13544 w 104119"/>
                <a:gd name="connsiteY7" fmla="*/ 4339 h 562748"/>
                <a:gd name="connsiteX8" fmla="*/ 102522 w 104119"/>
                <a:gd name="connsiteY8" fmla="*/ 351044 h 562748"/>
                <a:gd name="connsiteX9" fmla="*/ 68771 w 104119"/>
                <a:gd name="connsiteY9" fmla="*/ 501385 h 562748"/>
                <a:gd name="connsiteX10" fmla="*/ 53430 w 104119"/>
                <a:gd name="connsiteY10" fmla="*/ 556612 h 562748"/>
                <a:gd name="connsiteX11" fmla="*/ 47293 w 104119"/>
                <a:gd name="connsiteY11" fmla="*/ 562748 h 562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119" h="562748">
                  <a:moveTo>
                    <a:pt x="47293" y="562748"/>
                  </a:moveTo>
                  <a:cubicBezTo>
                    <a:pt x="47293" y="562748"/>
                    <a:pt x="47293" y="562748"/>
                    <a:pt x="47293" y="562748"/>
                  </a:cubicBezTo>
                  <a:cubicBezTo>
                    <a:pt x="44226" y="562748"/>
                    <a:pt x="41158" y="559680"/>
                    <a:pt x="41158" y="556612"/>
                  </a:cubicBezTo>
                  <a:cubicBezTo>
                    <a:pt x="47293" y="538203"/>
                    <a:pt x="50363" y="519794"/>
                    <a:pt x="56499" y="501385"/>
                  </a:cubicBezTo>
                  <a:cubicBezTo>
                    <a:pt x="71840" y="449225"/>
                    <a:pt x="87181" y="397066"/>
                    <a:pt x="90249" y="351044"/>
                  </a:cubicBezTo>
                  <a:cubicBezTo>
                    <a:pt x="96385" y="228316"/>
                    <a:pt x="68771" y="114794"/>
                    <a:pt x="1271" y="10475"/>
                  </a:cubicBezTo>
                  <a:cubicBezTo>
                    <a:pt x="-1797" y="7407"/>
                    <a:pt x="1271" y="4339"/>
                    <a:pt x="4340" y="1271"/>
                  </a:cubicBezTo>
                  <a:cubicBezTo>
                    <a:pt x="7407" y="-1797"/>
                    <a:pt x="10477" y="1271"/>
                    <a:pt x="13544" y="4339"/>
                  </a:cubicBezTo>
                  <a:cubicBezTo>
                    <a:pt x="81044" y="111725"/>
                    <a:pt x="111726" y="228316"/>
                    <a:pt x="102522" y="351044"/>
                  </a:cubicBezTo>
                  <a:cubicBezTo>
                    <a:pt x="99453" y="397066"/>
                    <a:pt x="84112" y="452294"/>
                    <a:pt x="68771" y="501385"/>
                  </a:cubicBezTo>
                  <a:cubicBezTo>
                    <a:pt x="62634" y="519794"/>
                    <a:pt x="56499" y="538203"/>
                    <a:pt x="53430" y="556612"/>
                  </a:cubicBezTo>
                  <a:cubicBezTo>
                    <a:pt x="53430" y="559680"/>
                    <a:pt x="50363" y="562748"/>
                    <a:pt x="47293" y="562748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58DE3A4B-80ED-4A9C-813B-FB4DD844A655}"/>
                </a:ext>
              </a:extLst>
            </p:cNvPr>
            <p:cNvSpPr/>
            <p:nvPr/>
          </p:nvSpPr>
          <p:spPr>
            <a:xfrm>
              <a:off x="20911236" y="3360522"/>
              <a:ext cx="403202" cy="36622"/>
            </a:xfrm>
            <a:custGeom>
              <a:avLst/>
              <a:gdLst>
                <a:gd name="connsiteX0" fmla="*/ 398864 w 403202"/>
                <a:gd name="connsiteY0" fmla="*/ 36623 h 36622"/>
                <a:gd name="connsiteX1" fmla="*/ 398864 w 403202"/>
                <a:gd name="connsiteY1" fmla="*/ 36623 h 36622"/>
                <a:gd name="connsiteX2" fmla="*/ 6137 w 403202"/>
                <a:gd name="connsiteY2" fmla="*/ 24350 h 36622"/>
                <a:gd name="connsiteX3" fmla="*/ 0 w 403202"/>
                <a:gd name="connsiteY3" fmla="*/ 21282 h 36622"/>
                <a:gd name="connsiteX4" fmla="*/ 3067 w 403202"/>
                <a:gd name="connsiteY4" fmla="*/ 15146 h 36622"/>
                <a:gd name="connsiteX5" fmla="*/ 398864 w 403202"/>
                <a:gd name="connsiteY5" fmla="*/ 27418 h 36622"/>
                <a:gd name="connsiteX6" fmla="*/ 401931 w 403202"/>
                <a:gd name="connsiteY6" fmla="*/ 33555 h 36622"/>
                <a:gd name="connsiteX7" fmla="*/ 398864 w 403202"/>
                <a:gd name="connsiteY7" fmla="*/ 36623 h 3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202" h="36622">
                  <a:moveTo>
                    <a:pt x="398864" y="36623"/>
                  </a:moveTo>
                  <a:cubicBezTo>
                    <a:pt x="398864" y="36623"/>
                    <a:pt x="398864" y="36623"/>
                    <a:pt x="398864" y="36623"/>
                  </a:cubicBezTo>
                  <a:cubicBezTo>
                    <a:pt x="312955" y="5941"/>
                    <a:pt x="107386" y="-195"/>
                    <a:pt x="6137" y="24350"/>
                  </a:cubicBezTo>
                  <a:cubicBezTo>
                    <a:pt x="3067" y="24350"/>
                    <a:pt x="0" y="24350"/>
                    <a:pt x="0" y="21282"/>
                  </a:cubicBezTo>
                  <a:cubicBezTo>
                    <a:pt x="0" y="18214"/>
                    <a:pt x="0" y="15146"/>
                    <a:pt x="3067" y="15146"/>
                  </a:cubicBezTo>
                  <a:cubicBezTo>
                    <a:pt x="104317" y="-9400"/>
                    <a:pt x="312955" y="-3263"/>
                    <a:pt x="398864" y="27418"/>
                  </a:cubicBezTo>
                  <a:cubicBezTo>
                    <a:pt x="401931" y="27418"/>
                    <a:pt x="401931" y="30487"/>
                    <a:pt x="401931" y="33555"/>
                  </a:cubicBezTo>
                  <a:cubicBezTo>
                    <a:pt x="405000" y="33555"/>
                    <a:pt x="401931" y="36623"/>
                    <a:pt x="398864" y="36623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0438DA81-E37D-4A1B-B579-819EDF106C26}"/>
                </a:ext>
              </a:extLst>
            </p:cNvPr>
            <p:cNvSpPr/>
            <p:nvPr/>
          </p:nvSpPr>
          <p:spPr>
            <a:xfrm>
              <a:off x="20747249" y="2432242"/>
              <a:ext cx="78077" cy="114774"/>
            </a:xfrm>
            <a:custGeom>
              <a:avLst/>
              <a:gdLst>
                <a:gd name="connsiteX0" fmla="*/ 65804 w 78077"/>
                <a:gd name="connsiteY0" fmla="*/ 16835 h 114774"/>
                <a:gd name="connsiteX1" fmla="*/ 7508 w 78077"/>
                <a:gd name="connsiteY1" fmla="*/ 7630 h 114774"/>
                <a:gd name="connsiteX2" fmla="*/ 65804 w 78077"/>
                <a:gd name="connsiteY2" fmla="*/ 111949 h 114774"/>
                <a:gd name="connsiteX3" fmla="*/ 65804 w 78077"/>
                <a:gd name="connsiteY3" fmla="*/ 16835 h 11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077" h="114774">
                  <a:moveTo>
                    <a:pt x="65804" y="16835"/>
                  </a:moveTo>
                  <a:cubicBezTo>
                    <a:pt x="65804" y="16835"/>
                    <a:pt x="32055" y="-13847"/>
                    <a:pt x="7508" y="7630"/>
                  </a:cubicBezTo>
                  <a:cubicBezTo>
                    <a:pt x="-17037" y="26040"/>
                    <a:pt x="22849" y="133426"/>
                    <a:pt x="65804" y="111949"/>
                  </a:cubicBezTo>
                  <a:cubicBezTo>
                    <a:pt x="93419" y="90471"/>
                    <a:pt x="65804" y="16835"/>
                    <a:pt x="65804" y="16835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0173591F-CD7C-4F4D-B408-7916146E91EF}"/>
                </a:ext>
              </a:extLst>
            </p:cNvPr>
            <p:cNvSpPr/>
            <p:nvPr/>
          </p:nvSpPr>
          <p:spPr>
            <a:xfrm>
              <a:off x="21112464" y="2312806"/>
              <a:ext cx="148542" cy="163884"/>
            </a:xfrm>
            <a:custGeom>
              <a:avLst/>
              <a:gdLst>
                <a:gd name="connsiteX0" fmla="*/ 142408 w 148542"/>
                <a:gd name="connsiteY0" fmla="*/ 163885 h 163884"/>
                <a:gd name="connsiteX1" fmla="*/ 136271 w 148542"/>
                <a:gd name="connsiteY1" fmla="*/ 160816 h 163884"/>
                <a:gd name="connsiteX2" fmla="*/ 4340 w 148542"/>
                <a:gd name="connsiteY2" fmla="*/ 10475 h 163884"/>
                <a:gd name="connsiteX3" fmla="*/ 1271 w 148542"/>
                <a:gd name="connsiteY3" fmla="*/ 4339 h 163884"/>
                <a:gd name="connsiteX4" fmla="*/ 7407 w 148542"/>
                <a:gd name="connsiteY4" fmla="*/ 1271 h 163884"/>
                <a:gd name="connsiteX5" fmla="*/ 148543 w 148542"/>
                <a:gd name="connsiteY5" fmla="*/ 160816 h 163884"/>
                <a:gd name="connsiteX6" fmla="*/ 142408 w 148542"/>
                <a:gd name="connsiteY6" fmla="*/ 163885 h 163884"/>
                <a:gd name="connsiteX7" fmla="*/ 142408 w 148542"/>
                <a:gd name="connsiteY7" fmla="*/ 163885 h 16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542" h="163884">
                  <a:moveTo>
                    <a:pt x="142408" y="163885"/>
                  </a:moveTo>
                  <a:cubicBezTo>
                    <a:pt x="139339" y="163885"/>
                    <a:pt x="136271" y="160816"/>
                    <a:pt x="136271" y="160816"/>
                  </a:cubicBezTo>
                  <a:cubicBezTo>
                    <a:pt x="111726" y="38089"/>
                    <a:pt x="4340" y="10475"/>
                    <a:pt x="4340" y="10475"/>
                  </a:cubicBezTo>
                  <a:cubicBezTo>
                    <a:pt x="1271" y="10475"/>
                    <a:pt x="-1797" y="7407"/>
                    <a:pt x="1271" y="4339"/>
                  </a:cubicBezTo>
                  <a:cubicBezTo>
                    <a:pt x="1271" y="1271"/>
                    <a:pt x="4340" y="-1797"/>
                    <a:pt x="7407" y="1271"/>
                  </a:cubicBezTo>
                  <a:cubicBezTo>
                    <a:pt x="7407" y="1271"/>
                    <a:pt x="123998" y="31953"/>
                    <a:pt x="148543" y="160816"/>
                  </a:cubicBezTo>
                  <a:cubicBezTo>
                    <a:pt x="148543" y="157748"/>
                    <a:pt x="148543" y="160816"/>
                    <a:pt x="142408" y="163885"/>
                  </a:cubicBezTo>
                  <a:cubicBezTo>
                    <a:pt x="145475" y="163885"/>
                    <a:pt x="142408" y="163885"/>
                    <a:pt x="142408" y="163885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87262389-1715-489A-8C2A-5D0083757006}"/>
                </a:ext>
              </a:extLst>
            </p:cNvPr>
            <p:cNvSpPr/>
            <p:nvPr/>
          </p:nvSpPr>
          <p:spPr>
            <a:xfrm>
              <a:off x="20782372" y="2255781"/>
              <a:ext cx="110453" cy="187159"/>
            </a:xfrm>
            <a:custGeom>
              <a:avLst/>
              <a:gdLst>
                <a:gd name="connsiteX0" fmla="*/ 6137 w 110453"/>
                <a:gd name="connsiteY0" fmla="*/ 187159 h 187159"/>
                <a:gd name="connsiteX1" fmla="*/ 6137 w 110453"/>
                <a:gd name="connsiteY1" fmla="*/ 187159 h 187159"/>
                <a:gd name="connsiteX2" fmla="*/ 0 w 110453"/>
                <a:gd name="connsiteY2" fmla="*/ 181023 h 187159"/>
                <a:gd name="connsiteX3" fmla="*/ 52159 w 110453"/>
                <a:gd name="connsiteY3" fmla="*/ 67500 h 187159"/>
                <a:gd name="connsiteX4" fmla="*/ 101250 w 110453"/>
                <a:gd name="connsiteY4" fmla="*/ 3068 h 187159"/>
                <a:gd name="connsiteX5" fmla="*/ 107386 w 110453"/>
                <a:gd name="connsiteY5" fmla="*/ 0 h 187159"/>
                <a:gd name="connsiteX6" fmla="*/ 110454 w 110453"/>
                <a:gd name="connsiteY6" fmla="*/ 6136 h 187159"/>
                <a:gd name="connsiteX7" fmla="*/ 55227 w 110453"/>
                <a:gd name="connsiteY7" fmla="*/ 73636 h 187159"/>
                <a:gd name="connsiteX8" fmla="*/ 9204 w 110453"/>
                <a:gd name="connsiteY8" fmla="*/ 181023 h 187159"/>
                <a:gd name="connsiteX9" fmla="*/ 6137 w 110453"/>
                <a:gd name="connsiteY9" fmla="*/ 187159 h 187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453" h="187159">
                  <a:moveTo>
                    <a:pt x="6137" y="187159"/>
                  </a:moveTo>
                  <a:cubicBezTo>
                    <a:pt x="6137" y="187159"/>
                    <a:pt x="6137" y="187159"/>
                    <a:pt x="6137" y="187159"/>
                  </a:cubicBezTo>
                  <a:cubicBezTo>
                    <a:pt x="3067" y="187159"/>
                    <a:pt x="0" y="184091"/>
                    <a:pt x="0" y="181023"/>
                  </a:cubicBezTo>
                  <a:cubicBezTo>
                    <a:pt x="0" y="165682"/>
                    <a:pt x="12273" y="95114"/>
                    <a:pt x="52159" y="67500"/>
                  </a:cubicBezTo>
                  <a:cubicBezTo>
                    <a:pt x="82841" y="46023"/>
                    <a:pt x="101250" y="3068"/>
                    <a:pt x="101250" y="3068"/>
                  </a:cubicBezTo>
                  <a:cubicBezTo>
                    <a:pt x="101250" y="0"/>
                    <a:pt x="107386" y="0"/>
                    <a:pt x="107386" y="0"/>
                  </a:cubicBezTo>
                  <a:cubicBezTo>
                    <a:pt x="110454" y="0"/>
                    <a:pt x="110454" y="6136"/>
                    <a:pt x="110454" y="6136"/>
                  </a:cubicBezTo>
                  <a:cubicBezTo>
                    <a:pt x="110454" y="9205"/>
                    <a:pt x="88978" y="49091"/>
                    <a:pt x="55227" y="73636"/>
                  </a:cubicBezTo>
                  <a:cubicBezTo>
                    <a:pt x="18408" y="98182"/>
                    <a:pt x="9204" y="165682"/>
                    <a:pt x="9204" y="181023"/>
                  </a:cubicBezTo>
                  <a:cubicBezTo>
                    <a:pt x="9204" y="184091"/>
                    <a:pt x="9204" y="187159"/>
                    <a:pt x="6137" y="187159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A6212687-92ED-4121-BD50-412EC2FE5A63}"/>
                </a:ext>
              </a:extLst>
            </p:cNvPr>
            <p:cNvSpPr/>
            <p:nvPr/>
          </p:nvSpPr>
          <p:spPr>
            <a:xfrm>
              <a:off x="20819190" y="2826463"/>
              <a:ext cx="362045" cy="156477"/>
            </a:xfrm>
            <a:custGeom>
              <a:avLst/>
              <a:gdLst>
                <a:gd name="connsiteX0" fmla="*/ 325227 w 362045"/>
                <a:gd name="connsiteY0" fmla="*/ 6136 h 156477"/>
                <a:gd name="connsiteX1" fmla="*/ 220909 w 362045"/>
                <a:gd name="connsiteY1" fmla="*/ 122727 h 156477"/>
                <a:gd name="connsiteX2" fmla="*/ 24545 w 362045"/>
                <a:gd name="connsiteY2" fmla="*/ 0 h 156477"/>
                <a:gd name="connsiteX3" fmla="*/ 0 w 362045"/>
                <a:gd name="connsiteY3" fmla="*/ 9205 h 156477"/>
                <a:gd name="connsiteX4" fmla="*/ 223977 w 362045"/>
                <a:gd name="connsiteY4" fmla="*/ 156477 h 156477"/>
                <a:gd name="connsiteX5" fmla="*/ 362045 w 362045"/>
                <a:gd name="connsiteY5" fmla="*/ 15341 h 156477"/>
                <a:gd name="connsiteX6" fmla="*/ 325227 w 362045"/>
                <a:gd name="connsiteY6" fmla="*/ 6136 h 156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045" h="156477">
                  <a:moveTo>
                    <a:pt x="325227" y="6136"/>
                  </a:moveTo>
                  <a:lnTo>
                    <a:pt x="220909" y="122727"/>
                  </a:lnTo>
                  <a:cubicBezTo>
                    <a:pt x="220909" y="122727"/>
                    <a:pt x="88976" y="21477"/>
                    <a:pt x="24545" y="0"/>
                  </a:cubicBezTo>
                  <a:lnTo>
                    <a:pt x="0" y="9205"/>
                  </a:lnTo>
                  <a:lnTo>
                    <a:pt x="223977" y="156477"/>
                  </a:lnTo>
                  <a:lnTo>
                    <a:pt x="362045" y="15341"/>
                  </a:lnTo>
                  <a:cubicBezTo>
                    <a:pt x="362045" y="12273"/>
                    <a:pt x="346704" y="6136"/>
                    <a:pt x="325227" y="6136"/>
                  </a:cubicBezTo>
                  <a:close/>
                </a:path>
              </a:pathLst>
            </a:custGeom>
            <a:solidFill>
              <a:srgbClr val="D16156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778F0A8B-A8BE-4DF0-AB95-2C1279C6D7C7}"/>
                </a:ext>
              </a:extLst>
            </p:cNvPr>
            <p:cNvSpPr/>
            <p:nvPr/>
          </p:nvSpPr>
          <p:spPr>
            <a:xfrm>
              <a:off x="20536917" y="3756122"/>
              <a:ext cx="932728" cy="191931"/>
            </a:xfrm>
            <a:custGeom>
              <a:avLst/>
              <a:gdLst>
                <a:gd name="connsiteX0" fmla="*/ 125795 w 932728"/>
                <a:gd name="connsiteY0" fmla="*/ 0 h 191931"/>
                <a:gd name="connsiteX1" fmla="*/ 0 w 932728"/>
                <a:gd name="connsiteY1" fmla="*/ 131932 h 191931"/>
                <a:gd name="connsiteX2" fmla="*/ 932728 w 932728"/>
                <a:gd name="connsiteY2" fmla="*/ 131932 h 191931"/>
                <a:gd name="connsiteX3" fmla="*/ 803864 w 932728"/>
                <a:gd name="connsiteY3" fmla="*/ 42954 h 191931"/>
                <a:gd name="connsiteX4" fmla="*/ 125795 w 932728"/>
                <a:gd name="connsiteY4" fmla="*/ 0 h 191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2728" h="191931">
                  <a:moveTo>
                    <a:pt x="125795" y="0"/>
                  </a:moveTo>
                  <a:lnTo>
                    <a:pt x="0" y="131932"/>
                  </a:lnTo>
                  <a:cubicBezTo>
                    <a:pt x="0" y="131932"/>
                    <a:pt x="426478" y="266932"/>
                    <a:pt x="932728" y="131932"/>
                  </a:cubicBezTo>
                  <a:lnTo>
                    <a:pt x="803864" y="42954"/>
                  </a:lnTo>
                  <a:cubicBezTo>
                    <a:pt x="803864" y="39886"/>
                    <a:pt x="217840" y="24545"/>
                    <a:pt x="125795" y="0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D415E67F-80A1-4982-A35C-7EA7013FE51D}"/>
                </a:ext>
              </a:extLst>
            </p:cNvPr>
            <p:cNvSpPr/>
            <p:nvPr/>
          </p:nvSpPr>
          <p:spPr>
            <a:xfrm>
              <a:off x="21029623" y="3773261"/>
              <a:ext cx="317294" cy="28884"/>
            </a:xfrm>
            <a:custGeom>
              <a:avLst/>
              <a:gdLst>
                <a:gd name="connsiteX0" fmla="*/ 311158 w 317294"/>
                <a:gd name="connsiteY0" fmla="*/ 28885 h 28884"/>
                <a:gd name="connsiteX1" fmla="*/ 311158 w 317294"/>
                <a:gd name="connsiteY1" fmla="*/ 28885 h 28884"/>
                <a:gd name="connsiteX2" fmla="*/ 4340 w 317294"/>
                <a:gd name="connsiteY2" fmla="*/ 10475 h 28884"/>
                <a:gd name="connsiteX3" fmla="*/ 1271 w 317294"/>
                <a:gd name="connsiteY3" fmla="*/ 4339 h 28884"/>
                <a:gd name="connsiteX4" fmla="*/ 7407 w 317294"/>
                <a:gd name="connsiteY4" fmla="*/ 1271 h 28884"/>
                <a:gd name="connsiteX5" fmla="*/ 311158 w 317294"/>
                <a:gd name="connsiteY5" fmla="*/ 19680 h 28884"/>
                <a:gd name="connsiteX6" fmla="*/ 317295 w 317294"/>
                <a:gd name="connsiteY6" fmla="*/ 25816 h 28884"/>
                <a:gd name="connsiteX7" fmla="*/ 311158 w 317294"/>
                <a:gd name="connsiteY7" fmla="*/ 28885 h 28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7294" h="28884">
                  <a:moveTo>
                    <a:pt x="311158" y="28885"/>
                  </a:moveTo>
                  <a:cubicBezTo>
                    <a:pt x="311158" y="28885"/>
                    <a:pt x="311158" y="28885"/>
                    <a:pt x="311158" y="28885"/>
                  </a:cubicBezTo>
                  <a:cubicBezTo>
                    <a:pt x="308089" y="28885"/>
                    <a:pt x="99453" y="25816"/>
                    <a:pt x="4340" y="10475"/>
                  </a:cubicBezTo>
                  <a:cubicBezTo>
                    <a:pt x="1271" y="10475"/>
                    <a:pt x="-1797" y="7407"/>
                    <a:pt x="1271" y="4339"/>
                  </a:cubicBezTo>
                  <a:cubicBezTo>
                    <a:pt x="1271" y="1271"/>
                    <a:pt x="4340" y="-1797"/>
                    <a:pt x="7407" y="1271"/>
                  </a:cubicBezTo>
                  <a:cubicBezTo>
                    <a:pt x="102522" y="16612"/>
                    <a:pt x="311158" y="19680"/>
                    <a:pt x="311158" y="19680"/>
                  </a:cubicBezTo>
                  <a:cubicBezTo>
                    <a:pt x="314225" y="19680"/>
                    <a:pt x="317295" y="22748"/>
                    <a:pt x="317295" y="25816"/>
                  </a:cubicBezTo>
                  <a:cubicBezTo>
                    <a:pt x="314225" y="28885"/>
                    <a:pt x="314225" y="28885"/>
                    <a:pt x="311158" y="28885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778BA8E1-257E-42EA-8331-DA18613646FA}"/>
                </a:ext>
              </a:extLst>
            </p:cNvPr>
            <p:cNvSpPr/>
            <p:nvPr/>
          </p:nvSpPr>
          <p:spPr>
            <a:xfrm>
              <a:off x="20813053" y="2737486"/>
              <a:ext cx="240903" cy="414204"/>
            </a:xfrm>
            <a:custGeom>
              <a:avLst/>
              <a:gdLst>
                <a:gd name="connsiteX0" fmla="*/ 33749 w 240903"/>
                <a:gd name="connsiteY0" fmla="*/ 0 h 414204"/>
                <a:gd name="connsiteX1" fmla="*/ 211705 w 240903"/>
                <a:gd name="connsiteY1" fmla="*/ 196364 h 414204"/>
                <a:gd name="connsiteX2" fmla="*/ 230114 w 240903"/>
                <a:gd name="connsiteY2" fmla="*/ 392727 h 414204"/>
                <a:gd name="connsiteX3" fmla="*/ 184091 w 240903"/>
                <a:gd name="connsiteY3" fmla="*/ 392727 h 414204"/>
                <a:gd name="connsiteX4" fmla="*/ 107386 w 240903"/>
                <a:gd name="connsiteY4" fmla="*/ 414205 h 414204"/>
                <a:gd name="connsiteX5" fmla="*/ 64431 w 240903"/>
                <a:gd name="connsiteY5" fmla="*/ 386591 h 414204"/>
                <a:gd name="connsiteX6" fmla="*/ 0 w 240903"/>
                <a:gd name="connsiteY6" fmla="*/ 36818 h 414204"/>
                <a:gd name="connsiteX7" fmla="*/ 33749 w 240903"/>
                <a:gd name="connsiteY7" fmla="*/ 0 h 414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0903" h="414204">
                  <a:moveTo>
                    <a:pt x="33749" y="0"/>
                  </a:moveTo>
                  <a:cubicBezTo>
                    <a:pt x="33749" y="0"/>
                    <a:pt x="174887" y="92045"/>
                    <a:pt x="211705" y="196364"/>
                  </a:cubicBezTo>
                  <a:cubicBezTo>
                    <a:pt x="248522" y="303750"/>
                    <a:pt x="245455" y="383523"/>
                    <a:pt x="230114" y="392727"/>
                  </a:cubicBezTo>
                  <a:cubicBezTo>
                    <a:pt x="217840" y="401932"/>
                    <a:pt x="202499" y="383523"/>
                    <a:pt x="184091" y="392727"/>
                  </a:cubicBezTo>
                  <a:cubicBezTo>
                    <a:pt x="162613" y="401932"/>
                    <a:pt x="119660" y="414205"/>
                    <a:pt x="107386" y="414205"/>
                  </a:cubicBezTo>
                  <a:cubicBezTo>
                    <a:pt x="92045" y="414205"/>
                    <a:pt x="58296" y="398864"/>
                    <a:pt x="64431" y="386591"/>
                  </a:cubicBezTo>
                  <a:cubicBezTo>
                    <a:pt x="70568" y="374318"/>
                    <a:pt x="24545" y="64432"/>
                    <a:pt x="0" y="36818"/>
                  </a:cubicBezTo>
                  <a:lnTo>
                    <a:pt x="33749" y="0"/>
                  </a:ln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A64CF55C-6062-4279-B6C6-C51A983006EA}"/>
                </a:ext>
              </a:extLst>
            </p:cNvPr>
            <p:cNvSpPr/>
            <p:nvPr/>
          </p:nvSpPr>
          <p:spPr>
            <a:xfrm>
              <a:off x="20856776" y="2772003"/>
              <a:ext cx="149572" cy="269232"/>
            </a:xfrm>
            <a:custGeom>
              <a:avLst/>
              <a:gdLst>
                <a:gd name="connsiteX0" fmla="*/ 143436 w 149572"/>
                <a:gd name="connsiteY0" fmla="*/ 269233 h 269232"/>
                <a:gd name="connsiteX1" fmla="*/ 137301 w 149572"/>
                <a:gd name="connsiteY1" fmla="*/ 263097 h 269232"/>
                <a:gd name="connsiteX2" fmla="*/ 2301 w 149572"/>
                <a:gd name="connsiteY2" fmla="*/ 11506 h 269232"/>
                <a:gd name="connsiteX3" fmla="*/ 2301 w 149572"/>
                <a:gd name="connsiteY3" fmla="*/ 2301 h 269232"/>
                <a:gd name="connsiteX4" fmla="*/ 11505 w 149572"/>
                <a:gd name="connsiteY4" fmla="*/ 2301 h 269232"/>
                <a:gd name="connsiteX5" fmla="*/ 149573 w 149572"/>
                <a:gd name="connsiteY5" fmla="*/ 260028 h 269232"/>
                <a:gd name="connsiteX6" fmla="*/ 143436 w 149572"/>
                <a:gd name="connsiteY6" fmla="*/ 269233 h 269232"/>
                <a:gd name="connsiteX7" fmla="*/ 143436 w 149572"/>
                <a:gd name="connsiteY7" fmla="*/ 269233 h 269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572" h="269232">
                  <a:moveTo>
                    <a:pt x="143436" y="269233"/>
                  </a:moveTo>
                  <a:cubicBezTo>
                    <a:pt x="140369" y="269233"/>
                    <a:pt x="137301" y="266165"/>
                    <a:pt x="137301" y="263097"/>
                  </a:cubicBezTo>
                  <a:cubicBezTo>
                    <a:pt x="131165" y="146506"/>
                    <a:pt x="5368" y="11506"/>
                    <a:pt x="2301" y="11506"/>
                  </a:cubicBezTo>
                  <a:cubicBezTo>
                    <a:pt x="-767" y="8437"/>
                    <a:pt x="-767" y="5369"/>
                    <a:pt x="2301" y="2301"/>
                  </a:cubicBezTo>
                  <a:cubicBezTo>
                    <a:pt x="5368" y="-767"/>
                    <a:pt x="8437" y="-767"/>
                    <a:pt x="11505" y="2301"/>
                  </a:cubicBezTo>
                  <a:cubicBezTo>
                    <a:pt x="17641" y="8437"/>
                    <a:pt x="143436" y="140369"/>
                    <a:pt x="149573" y="260028"/>
                  </a:cubicBezTo>
                  <a:cubicBezTo>
                    <a:pt x="149573" y="266165"/>
                    <a:pt x="146506" y="269233"/>
                    <a:pt x="143436" y="269233"/>
                  </a:cubicBezTo>
                  <a:cubicBezTo>
                    <a:pt x="143436" y="269233"/>
                    <a:pt x="143436" y="269233"/>
                    <a:pt x="143436" y="269233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5B11D2FF-8452-401E-8780-CC9BE7712BF4}"/>
                </a:ext>
              </a:extLst>
            </p:cNvPr>
            <p:cNvSpPr/>
            <p:nvPr/>
          </p:nvSpPr>
          <p:spPr>
            <a:xfrm>
              <a:off x="20796321" y="2721543"/>
              <a:ext cx="105710" cy="79336"/>
            </a:xfrm>
            <a:custGeom>
              <a:avLst/>
              <a:gdLst>
                <a:gd name="connsiteX0" fmla="*/ 105711 w 105710"/>
                <a:gd name="connsiteY0" fmla="*/ 15943 h 79336"/>
                <a:gd name="connsiteX1" fmla="*/ 87300 w 105710"/>
                <a:gd name="connsiteY1" fmla="*/ 602 h 79336"/>
                <a:gd name="connsiteX2" fmla="*/ 10596 w 105710"/>
                <a:gd name="connsiteY2" fmla="*/ 25147 h 79336"/>
                <a:gd name="connsiteX3" fmla="*/ 4459 w 105710"/>
                <a:gd name="connsiteY3" fmla="*/ 52761 h 79336"/>
                <a:gd name="connsiteX4" fmla="*/ 22869 w 105710"/>
                <a:gd name="connsiteY4" fmla="*/ 77306 h 79336"/>
                <a:gd name="connsiteX5" fmla="*/ 90370 w 105710"/>
                <a:gd name="connsiteY5" fmla="*/ 55829 h 79336"/>
                <a:gd name="connsiteX6" fmla="*/ 99574 w 105710"/>
                <a:gd name="connsiteY6" fmla="*/ 40488 h 79336"/>
                <a:gd name="connsiteX7" fmla="*/ 105711 w 105710"/>
                <a:gd name="connsiteY7" fmla="*/ 15943 h 79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710" h="79336">
                  <a:moveTo>
                    <a:pt x="105711" y="15943"/>
                  </a:moveTo>
                  <a:cubicBezTo>
                    <a:pt x="105711" y="6738"/>
                    <a:pt x="96505" y="-2466"/>
                    <a:pt x="87300" y="602"/>
                  </a:cubicBezTo>
                  <a:cubicBezTo>
                    <a:pt x="62755" y="9806"/>
                    <a:pt x="35141" y="15943"/>
                    <a:pt x="10596" y="25147"/>
                  </a:cubicBezTo>
                  <a:cubicBezTo>
                    <a:pt x="-1676" y="28215"/>
                    <a:pt x="-1676" y="46625"/>
                    <a:pt x="4459" y="52761"/>
                  </a:cubicBezTo>
                  <a:cubicBezTo>
                    <a:pt x="-7812" y="61965"/>
                    <a:pt x="7528" y="86511"/>
                    <a:pt x="22869" y="77306"/>
                  </a:cubicBezTo>
                  <a:cubicBezTo>
                    <a:pt x="44347" y="65034"/>
                    <a:pt x="65823" y="58897"/>
                    <a:pt x="90370" y="55829"/>
                  </a:cubicBezTo>
                  <a:cubicBezTo>
                    <a:pt x="99574" y="55829"/>
                    <a:pt x="102641" y="46625"/>
                    <a:pt x="99574" y="40488"/>
                  </a:cubicBezTo>
                  <a:cubicBezTo>
                    <a:pt x="102641" y="31284"/>
                    <a:pt x="105711" y="25147"/>
                    <a:pt x="105711" y="15943"/>
                  </a:cubicBezTo>
                  <a:close/>
                </a:path>
              </a:pathLst>
            </a:custGeom>
            <a:solidFill>
              <a:srgbClr val="D16156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F7AA6AE2-DA33-4C65-8C96-2FE5F54817A7}"/>
                </a:ext>
              </a:extLst>
            </p:cNvPr>
            <p:cNvSpPr/>
            <p:nvPr/>
          </p:nvSpPr>
          <p:spPr>
            <a:xfrm>
              <a:off x="20564531" y="5443622"/>
              <a:ext cx="115823" cy="36818"/>
            </a:xfrm>
            <a:custGeom>
              <a:avLst/>
              <a:gdLst>
                <a:gd name="connsiteX0" fmla="*/ 110454 w 115823"/>
                <a:gd name="connsiteY0" fmla="*/ 36818 h 36818"/>
                <a:gd name="connsiteX1" fmla="*/ 107386 w 115823"/>
                <a:gd name="connsiteY1" fmla="*/ 36818 h 36818"/>
                <a:gd name="connsiteX2" fmla="*/ 6135 w 115823"/>
                <a:gd name="connsiteY2" fmla="*/ 12273 h 36818"/>
                <a:gd name="connsiteX3" fmla="*/ 0 w 115823"/>
                <a:gd name="connsiteY3" fmla="*/ 6136 h 36818"/>
                <a:gd name="connsiteX4" fmla="*/ 6135 w 115823"/>
                <a:gd name="connsiteY4" fmla="*/ 0 h 36818"/>
                <a:gd name="connsiteX5" fmla="*/ 113521 w 115823"/>
                <a:gd name="connsiteY5" fmla="*/ 27613 h 36818"/>
                <a:gd name="connsiteX6" fmla="*/ 113521 w 115823"/>
                <a:gd name="connsiteY6" fmla="*/ 36818 h 36818"/>
                <a:gd name="connsiteX7" fmla="*/ 110454 w 115823"/>
                <a:gd name="connsiteY7" fmla="*/ 36818 h 36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823" h="36818">
                  <a:moveTo>
                    <a:pt x="110454" y="36818"/>
                  </a:moveTo>
                  <a:cubicBezTo>
                    <a:pt x="110454" y="36818"/>
                    <a:pt x="107386" y="36818"/>
                    <a:pt x="107386" y="36818"/>
                  </a:cubicBezTo>
                  <a:cubicBezTo>
                    <a:pt x="79772" y="18409"/>
                    <a:pt x="6135" y="12273"/>
                    <a:pt x="6135" y="12273"/>
                  </a:cubicBezTo>
                  <a:cubicBezTo>
                    <a:pt x="3067" y="12273"/>
                    <a:pt x="0" y="9204"/>
                    <a:pt x="0" y="6136"/>
                  </a:cubicBezTo>
                  <a:cubicBezTo>
                    <a:pt x="0" y="3068"/>
                    <a:pt x="3067" y="0"/>
                    <a:pt x="6135" y="0"/>
                  </a:cubicBezTo>
                  <a:cubicBezTo>
                    <a:pt x="9204" y="0"/>
                    <a:pt x="82839" y="6136"/>
                    <a:pt x="113521" y="27613"/>
                  </a:cubicBezTo>
                  <a:cubicBezTo>
                    <a:pt x="116591" y="30682"/>
                    <a:pt x="116591" y="33750"/>
                    <a:pt x="113521" y="36818"/>
                  </a:cubicBezTo>
                  <a:cubicBezTo>
                    <a:pt x="113521" y="36818"/>
                    <a:pt x="113521" y="36818"/>
                    <a:pt x="110454" y="36818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7" name="图形 1">
              <a:extLst>
                <a:ext uri="{FF2B5EF4-FFF2-40B4-BE49-F238E27FC236}">
                  <a16:creationId xmlns:a16="http://schemas.microsoft.com/office/drawing/2014/main" id="{C89F522B-1292-4CE3-94DF-6D3B56209DC5}"/>
                </a:ext>
              </a:extLst>
            </p:cNvPr>
            <p:cNvGrpSpPr/>
            <p:nvPr/>
          </p:nvGrpSpPr>
          <p:grpSpPr>
            <a:xfrm>
              <a:off x="26091641" y="6072600"/>
              <a:ext cx="399290" cy="583297"/>
              <a:chOff x="26091641" y="6072600"/>
              <a:chExt cx="399290" cy="583297"/>
            </a:xfrm>
          </p:grpSpPr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5C62731E-0AB3-41DD-8B64-43D98F97A0AE}"/>
                  </a:ext>
                </a:extLst>
              </p:cNvPr>
              <p:cNvSpPr/>
              <p:nvPr/>
            </p:nvSpPr>
            <p:spPr>
              <a:xfrm>
                <a:off x="26111804" y="6072600"/>
                <a:ext cx="276136" cy="260795"/>
              </a:xfrm>
              <a:custGeom>
                <a:avLst/>
                <a:gdLst>
                  <a:gd name="connsiteX0" fmla="*/ 257726 w 276136"/>
                  <a:gd name="connsiteY0" fmla="*/ 138068 h 260795"/>
                  <a:gd name="connsiteX1" fmla="*/ 131931 w 276136"/>
                  <a:gd name="connsiteY1" fmla="*/ 0 h 260795"/>
                  <a:gd name="connsiteX2" fmla="*/ 0 w 276136"/>
                  <a:gd name="connsiteY2" fmla="*/ 128864 h 260795"/>
                  <a:gd name="connsiteX3" fmla="*/ 147272 w 276136"/>
                  <a:gd name="connsiteY3" fmla="*/ 260795 h 260795"/>
                  <a:gd name="connsiteX4" fmla="*/ 276136 w 276136"/>
                  <a:gd name="connsiteY4" fmla="*/ 174886 h 260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136" h="260795">
                    <a:moveTo>
                      <a:pt x="257726" y="138068"/>
                    </a:moveTo>
                    <a:lnTo>
                      <a:pt x="131931" y="0"/>
                    </a:lnTo>
                    <a:lnTo>
                      <a:pt x="0" y="128864"/>
                    </a:lnTo>
                    <a:lnTo>
                      <a:pt x="147272" y="260795"/>
                    </a:lnTo>
                    <a:lnTo>
                      <a:pt x="276136" y="174886"/>
                    </a:ln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EA2C90DA-A9C4-475C-AD03-A4DE437257A5}"/>
                  </a:ext>
                </a:extLst>
              </p:cNvPr>
              <p:cNvSpPr/>
              <p:nvPr/>
            </p:nvSpPr>
            <p:spPr>
              <a:xfrm>
                <a:off x="26091641" y="6201463"/>
                <a:ext cx="366866" cy="420340"/>
              </a:xfrm>
              <a:custGeom>
                <a:avLst/>
                <a:gdLst>
                  <a:gd name="connsiteX0" fmla="*/ 287095 w 366866"/>
                  <a:gd name="connsiteY0" fmla="*/ 0 h 420340"/>
                  <a:gd name="connsiteX1" fmla="*/ 118345 w 366866"/>
                  <a:gd name="connsiteY1" fmla="*/ 95114 h 420340"/>
                  <a:gd name="connsiteX2" fmla="*/ 78457 w 366866"/>
                  <a:gd name="connsiteY2" fmla="*/ 245455 h 420340"/>
                  <a:gd name="connsiteX3" fmla="*/ 10959 w 366866"/>
                  <a:gd name="connsiteY3" fmla="*/ 420341 h 420340"/>
                  <a:gd name="connsiteX4" fmla="*/ 366867 w 366866"/>
                  <a:gd name="connsiteY4" fmla="*/ 79773 h 420340"/>
                  <a:gd name="connsiteX5" fmla="*/ 287095 w 366866"/>
                  <a:gd name="connsiteY5" fmla="*/ 0 h 420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6866" h="420340">
                    <a:moveTo>
                      <a:pt x="287095" y="0"/>
                    </a:moveTo>
                    <a:cubicBezTo>
                      <a:pt x="287095" y="0"/>
                      <a:pt x="210390" y="101250"/>
                      <a:pt x="118345" y="95114"/>
                    </a:cubicBezTo>
                    <a:cubicBezTo>
                      <a:pt x="118345" y="95114"/>
                      <a:pt x="103004" y="208636"/>
                      <a:pt x="78457" y="245455"/>
                    </a:cubicBezTo>
                    <a:cubicBezTo>
                      <a:pt x="50845" y="282273"/>
                      <a:pt x="-28929" y="358977"/>
                      <a:pt x="10959" y="420341"/>
                    </a:cubicBezTo>
                    <a:lnTo>
                      <a:pt x="366867" y="79773"/>
                    </a:lnTo>
                    <a:cubicBezTo>
                      <a:pt x="366867" y="82841"/>
                      <a:pt x="336185" y="24546"/>
                      <a:pt x="287095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06E153DF-1031-4E12-97A7-379C95A3CFC7}"/>
                  </a:ext>
                </a:extLst>
              </p:cNvPr>
              <p:cNvSpPr/>
              <p:nvPr/>
            </p:nvSpPr>
            <p:spPr>
              <a:xfrm rot="-2621480">
                <a:off x="26052083" y="6446686"/>
                <a:ext cx="490928" cy="46024"/>
              </a:xfrm>
              <a:custGeom>
                <a:avLst/>
                <a:gdLst>
                  <a:gd name="connsiteX0" fmla="*/ 0 w 490928"/>
                  <a:gd name="connsiteY0" fmla="*/ 0 h 46024"/>
                  <a:gd name="connsiteX1" fmla="*/ 490929 w 490928"/>
                  <a:gd name="connsiteY1" fmla="*/ 0 h 46024"/>
                  <a:gd name="connsiteX2" fmla="*/ 490929 w 490928"/>
                  <a:gd name="connsiteY2" fmla="*/ 46025 h 46024"/>
                  <a:gd name="connsiteX3" fmla="*/ 0 w 490928"/>
                  <a:gd name="connsiteY3" fmla="*/ 46025 h 46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0928" h="46024">
                    <a:moveTo>
                      <a:pt x="0" y="0"/>
                    </a:moveTo>
                    <a:lnTo>
                      <a:pt x="490929" y="0"/>
                    </a:lnTo>
                    <a:lnTo>
                      <a:pt x="490929" y="46025"/>
                    </a:lnTo>
                    <a:lnTo>
                      <a:pt x="0" y="46025"/>
                    </a:lnTo>
                    <a:close/>
                  </a:path>
                </a:pathLst>
              </a:custGeom>
              <a:solidFill>
                <a:srgbClr val="38333D"/>
              </a:solidFill>
              <a:ln w="306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6135F73C-D63F-46AE-A476-DCFBD0E13C68}"/>
                  </a:ext>
                </a:extLst>
              </p:cNvPr>
              <p:cNvSpPr/>
              <p:nvPr/>
            </p:nvSpPr>
            <p:spPr>
              <a:xfrm>
                <a:off x="26206917" y="6196094"/>
                <a:ext cx="180256" cy="106619"/>
              </a:xfrm>
              <a:custGeom>
                <a:avLst/>
                <a:gdLst>
                  <a:gd name="connsiteX0" fmla="*/ 6137 w 180256"/>
                  <a:gd name="connsiteY0" fmla="*/ 106619 h 106619"/>
                  <a:gd name="connsiteX1" fmla="*/ 0 w 180256"/>
                  <a:gd name="connsiteY1" fmla="*/ 100483 h 106619"/>
                  <a:gd name="connsiteX2" fmla="*/ 6137 w 180256"/>
                  <a:gd name="connsiteY2" fmla="*/ 94346 h 106619"/>
                  <a:gd name="connsiteX3" fmla="*/ 168750 w 180256"/>
                  <a:gd name="connsiteY3" fmla="*/ 2301 h 106619"/>
                  <a:gd name="connsiteX4" fmla="*/ 177954 w 180256"/>
                  <a:gd name="connsiteY4" fmla="*/ 2301 h 106619"/>
                  <a:gd name="connsiteX5" fmla="*/ 177954 w 180256"/>
                  <a:gd name="connsiteY5" fmla="*/ 11506 h 106619"/>
                  <a:gd name="connsiteX6" fmla="*/ 6137 w 180256"/>
                  <a:gd name="connsiteY6" fmla="*/ 106619 h 106619"/>
                  <a:gd name="connsiteX7" fmla="*/ 6137 w 180256"/>
                  <a:gd name="connsiteY7" fmla="*/ 106619 h 106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0256" h="106619">
                    <a:moveTo>
                      <a:pt x="6137" y="106619"/>
                    </a:moveTo>
                    <a:cubicBezTo>
                      <a:pt x="3069" y="106619"/>
                      <a:pt x="0" y="103551"/>
                      <a:pt x="0" y="100483"/>
                    </a:cubicBezTo>
                    <a:cubicBezTo>
                      <a:pt x="0" y="97415"/>
                      <a:pt x="3069" y="94346"/>
                      <a:pt x="6137" y="94346"/>
                    </a:cubicBezTo>
                    <a:cubicBezTo>
                      <a:pt x="98182" y="91278"/>
                      <a:pt x="168750" y="2301"/>
                      <a:pt x="168750" y="2301"/>
                    </a:cubicBezTo>
                    <a:cubicBezTo>
                      <a:pt x="171819" y="-767"/>
                      <a:pt x="174887" y="-767"/>
                      <a:pt x="177954" y="2301"/>
                    </a:cubicBezTo>
                    <a:cubicBezTo>
                      <a:pt x="181023" y="5369"/>
                      <a:pt x="181023" y="8438"/>
                      <a:pt x="177954" y="11506"/>
                    </a:cubicBezTo>
                    <a:cubicBezTo>
                      <a:pt x="174887" y="11506"/>
                      <a:pt x="104319" y="103551"/>
                      <a:pt x="6137" y="106619"/>
                    </a:cubicBezTo>
                    <a:cubicBezTo>
                      <a:pt x="6137" y="106619"/>
                      <a:pt x="6137" y="106619"/>
                      <a:pt x="6137" y="10661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2896599B-3547-4749-91BE-0CE50C244922}"/>
                  </a:ext>
                </a:extLst>
              </p:cNvPr>
              <p:cNvSpPr/>
              <p:nvPr/>
            </p:nvSpPr>
            <p:spPr>
              <a:xfrm>
                <a:off x="26200780" y="6336463"/>
                <a:ext cx="49092" cy="12273"/>
              </a:xfrm>
              <a:custGeom>
                <a:avLst/>
                <a:gdLst>
                  <a:gd name="connsiteX0" fmla="*/ 42955 w 49092"/>
                  <a:gd name="connsiteY0" fmla="*/ 12273 h 12273"/>
                  <a:gd name="connsiteX1" fmla="*/ 42955 w 49092"/>
                  <a:gd name="connsiteY1" fmla="*/ 12273 h 12273"/>
                  <a:gd name="connsiteX2" fmla="*/ 6137 w 49092"/>
                  <a:gd name="connsiteY2" fmla="*/ 12273 h 12273"/>
                  <a:gd name="connsiteX3" fmla="*/ 0 w 49092"/>
                  <a:gd name="connsiteY3" fmla="*/ 6137 h 12273"/>
                  <a:gd name="connsiteX4" fmla="*/ 6137 w 49092"/>
                  <a:gd name="connsiteY4" fmla="*/ 0 h 12273"/>
                  <a:gd name="connsiteX5" fmla="*/ 42955 w 49092"/>
                  <a:gd name="connsiteY5" fmla="*/ 0 h 12273"/>
                  <a:gd name="connsiteX6" fmla="*/ 49092 w 49092"/>
                  <a:gd name="connsiteY6" fmla="*/ 6137 h 12273"/>
                  <a:gd name="connsiteX7" fmla="*/ 42955 w 49092"/>
                  <a:gd name="connsiteY7" fmla="*/ 12273 h 12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092" h="12273">
                    <a:moveTo>
                      <a:pt x="42955" y="12273"/>
                    </a:moveTo>
                    <a:cubicBezTo>
                      <a:pt x="42955" y="12273"/>
                      <a:pt x="39888" y="12273"/>
                      <a:pt x="42955" y="12273"/>
                    </a:cubicBezTo>
                    <a:lnTo>
                      <a:pt x="6137" y="12273"/>
                    </a:lnTo>
                    <a:cubicBezTo>
                      <a:pt x="3069" y="12273"/>
                      <a:pt x="0" y="9205"/>
                      <a:pt x="0" y="6137"/>
                    </a:cubicBezTo>
                    <a:cubicBezTo>
                      <a:pt x="0" y="3068"/>
                      <a:pt x="3069" y="0"/>
                      <a:pt x="6137" y="0"/>
                    </a:cubicBezTo>
                    <a:lnTo>
                      <a:pt x="42955" y="0"/>
                    </a:lnTo>
                    <a:cubicBezTo>
                      <a:pt x="46023" y="0"/>
                      <a:pt x="49092" y="3068"/>
                      <a:pt x="49092" y="6137"/>
                    </a:cubicBezTo>
                    <a:cubicBezTo>
                      <a:pt x="46023" y="9205"/>
                      <a:pt x="46023" y="12273"/>
                      <a:pt x="42955" y="1227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35F5E2B2-CEC4-4D81-9E55-979CD8BD42D0}"/>
                  </a:ext>
                </a:extLst>
              </p:cNvPr>
              <p:cNvSpPr/>
              <p:nvPr/>
            </p:nvSpPr>
            <p:spPr>
              <a:xfrm>
                <a:off x="26191576" y="6382486"/>
                <a:ext cx="49092" cy="12273"/>
              </a:xfrm>
              <a:custGeom>
                <a:avLst/>
                <a:gdLst>
                  <a:gd name="connsiteX0" fmla="*/ 42955 w 49092"/>
                  <a:gd name="connsiteY0" fmla="*/ 12273 h 12273"/>
                  <a:gd name="connsiteX1" fmla="*/ 42955 w 49092"/>
                  <a:gd name="connsiteY1" fmla="*/ 12273 h 12273"/>
                  <a:gd name="connsiteX2" fmla="*/ 6137 w 49092"/>
                  <a:gd name="connsiteY2" fmla="*/ 12273 h 12273"/>
                  <a:gd name="connsiteX3" fmla="*/ 0 w 49092"/>
                  <a:gd name="connsiteY3" fmla="*/ 6137 h 12273"/>
                  <a:gd name="connsiteX4" fmla="*/ 6137 w 49092"/>
                  <a:gd name="connsiteY4" fmla="*/ 0 h 12273"/>
                  <a:gd name="connsiteX5" fmla="*/ 42955 w 49092"/>
                  <a:gd name="connsiteY5" fmla="*/ 0 h 12273"/>
                  <a:gd name="connsiteX6" fmla="*/ 49092 w 49092"/>
                  <a:gd name="connsiteY6" fmla="*/ 6137 h 12273"/>
                  <a:gd name="connsiteX7" fmla="*/ 42955 w 49092"/>
                  <a:gd name="connsiteY7" fmla="*/ 12273 h 12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092" h="12273">
                    <a:moveTo>
                      <a:pt x="42955" y="12273"/>
                    </a:moveTo>
                    <a:cubicBezTo>
                      <a:pt x="42955" y="12273"/>
                      <a:pt x="39886" y="12273"/>
                      <a:pt x="42955" y="12273"/>
                    </a:cubicBezTo>
                    <a:lnTo>
                      <a:pt x="6137" y="12273"/>
                    </a:lnTo>
                    <a:cubicBezTo>
                      <a:pt x="3069" y="12273"/>
                      <a:pt x="0" y="9205"/>
                      <a:pt x="0" y="6137"/>
                    </a:cubicBezTo>
                    <a:cubicBezTo>
                      <a:pt x="0" y="3068"/>
                      <a:pt x="3069" y="0"/>
                      <a:pt x="6137" y="0"/>
                    </a:cubicBezTo>
                    <a:lnTo>
                      <a:pt x="42955" y="0"/>
                    </a:lnTo>
                    <a:cubicBezTo>
                      <a:pt x="46023" y="0"/>
                      <a:pt x="49092" y="3068"/>
                      <a:pt x="49092" y="6137"/>
                    </a:cubicBezTo>
                    <a:cubicBezTo>
                      <a:pt x="46023" y="9205"/>
                      <a:pt x="46023" y="12273"/>
                      <a:pt x="42955" y="1227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8" name="图形 1">
              <a:extLst>
                <a:ext uri="{FF2B5EF4-FFF2-40B4-BE49-F238E27FC236}">
                  <a16:creationId xmlns:a16="http://schemas.microsoft.com/office/drawing/2014/main" id="{93BBCECD-596B-45C0-A2C6-A2DF74351EE6}"/>
                </a:ext>
              </a:extLst>
            </p:cNvPr>
            <p:cNvGrpSpPr/>
            <p:nvPr/>
          </p:nvGrpSpPr>
          <p:grpSpPr>
            <a:xfrm>
              <a:off x="24835439" y="6348736"/>
              <a:ext cx="499091" cy="343636"/>
              <a:chOff x="24835439" y="6348736"/>
              <a:chExt cx="499091" cy="343636"/>
            </a:xfrm>
          </p:grpSpPr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2966A2AE-CD48-4739-9830-8A3CDA8D1890}"/>
                  </a:ext>
                </a:extLst>
              </p:cNvPr>
              <p:cNvSpPr/>
              <p:nvPr/>
            </p:nvSpPr>
            <p:spPr>
              <a:xfrm>
                <a:off x="25133053" y="6348736"/>
                <a:ext cx="184090" cy="223977"/>
              </a:xfrm>
              <a:custGeom>
                <a:avLst/>
                <a:gdLst>
                  <a:gd name="connsiteX0" fmla="*/ 181023 w 184090"/>
                  <a:gd name="connsiteY0" fmla="*/ 187159 h 223977"/>
                  <a:gd name="connsiteX1" fmla="*/ 184091 w 184090"/>
                  <a:gd name="connsiteY1" fmla="*/ 0 h 223977"/>
                  <a:gd name="connsiteX2" fmla="*/ 0 w 184090"/>
                  <a:gd name="connsiteY2" fmla="*/ 0 h 223977"/>
                  <a:gd name="connsiteX3" fmla="*/ 15341 w 184090"/>
                  <a:gd name="connsiteY3" fmla="*/ 196363 h 223977"/>
                  <a:gd name="connsiteX4" fmla="*/ 168750 w 184090"/>
                  <a:gd name="connsiteY4" fmla="*/ 223977 h 223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090" h="223977">
                    <a:moveTo>
                      <a:pt x="181023" y="187159"/>
                    </a:moveTo>
                    <a:lnTo>
                      <a:pt x="184091" y="0"/>
                    </a:lnTo>
                    <a:lnTo>
                      <a:pt x="0" y="0"/>
                    </a:lnTo>
                    <a:lnTo>
                      <a:pt x="15341" y="196363"/>
                    </a:lnTo>
                    <a:lnTo>
                      <a:pt x="168750" y="223977"/>
                    </a:ln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22B9F7FB-A443-467D-BF2B-464009C20C09}"/>
                  </a:ext>
                </a:extLst>
              </p:cNvPr>
              <p:cNvSpPr/>
              <p:nvPr/>
            </p:nvSpPr>
            <p:spPr>
              <a:xfrm>
                <a:off x="24835439" y="6489872"/>
                <a:ext cx="499091" cy="159545"/>
              </a:xfrm>
              <a:custGeom>
                <a:avLst/>
                <a:gdLst>
                  <a:gd name="connsiteX0" fmla="*/ 490909 w 499091"/>
                  <a:gd name="connsiteY0" fmla="*/ 46023 h 159545"/>
                  <a:gd name="connsiteX1" fmla="*/ 303751 w 499091"/>
                  <a:gd name="connsiteY1" fmla="*/ 0 h 159545"/>
                  <a:gd name="connsiteX2" fmla="*/ 168750 w 499091"/>
                  <a:gd name="connsiteY2" fmla="*/ 79773 h 159545"/>
                  <a:gd name="connsiteX3" fmla="*/ 0 w 499091"/>
                  <a:gd name="connsiteY3" fmla="*/ 159546 h 159545"/>
                  <a:gd name="connsiteX4" fmla="*/ 490909 w 499091"/>
                  <a:gd name="connsiteY4" fmla="*/ 159546 h 159545"/>
                  <a:gd name="connsiteX5" fmla="*/ 490909 w 499091"/>
                  <a:gd name="connsiteY5" fmla="*/ 46023 h 15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9091" h="159545">
                    <a:moveTo>
                      <a:pt x="490909" y="46023"/>
                    </a:moveTo>
                    <a:cubicBezTo>
                      <a:pt x="490909" y="46023"/>
                      <a:pt x="365114" y="64432"/>
                      <a:pt x="303751" y="0"/>
                    </a:cubicBezTo>
                    <a:cubicBezTo>
                      <a:pt x="303751" y="0"/>
                      <a:pt x="214773" y="70568"/>
                      <a:pt x="168750" y="79773"/>
                    </a:cubicBezTo>
                    <a:cubicBezTo>
                      <a:pt x="122727" y="88978"/>
                      <a:pt x="12273" y="85909"/>
                      <a:pt x="0" y="159546"/>
                    </a:cubicBezTo>
                    <a:lnTo>
                      <a:pt x="490909" y="159546"/>
                    </a:lnTo>
                    <a:cubicBezTo>
                      <a:pt x="490909" y="156477"/>
                      <a:pt x="509319" y="95114"/>
                      <a:pt x="490909" y="4602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F8CAF649-3732-4FE0-A99D-D555F24F7981}"/>
                  </a:ext>
                </a:extLst>
              </p:cNvPr>
              <p:cNvSpPr/>
              <p:nvPr/>
            </p:nvSpPr>
            <p:spPr>
              <a:xfrm>
                <a:off x="24835440" y="6646350"/>
                <a:ext cx="490909" cy="46022"/>
              </a:xfrm>
              <a:custGeom>
                <a:avLst/>
                <a:gdLst>
                  <a:gd name="connsiteX0" fmla="*/ -1 w 490909"/>
                  <a:gd name="connsiteY0" fmla="*/ 0 h 46022"/>
                  <a:gd name="connsiteX1" fmla="*/ 490908 w 490909"/>
                  <a:gd name="connsiteY1" fmla="*/ 0 h 46022"/>
                  <a:gd name="connsiteX2" fmla="*/ 490908 w 490909"/>
                  <a:gd name="connsiteY2" fmla="*/ 46023 h 46022"/>
                  <a:gd name="connsiteX3" fmla="*/ -1 w 490909"/>
                  <a:gd name="connsiteY3" fmla="*/ 46023 h 46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0909" h="46022">
                    <a:moveTo>
                      <a:pt x="-1" y="0"/>
                    </a:moveTo>
                    <a:lnTo>
                      <a:pt x="490908" y="0"/>
                    </a:lnTo>
                    <a:lnTo>
                      <a:pt x="490908" y="46023"/>
                    </a:lnTo>
                    <a:lnTo>
                      <a:pt x="-1" y="46023"/>
                    </a:lnTo>
                    <a:close/>
                  </a:path>
                </a:pathLst>
              </a:custGeom>
              <a:solidFill>
                <a:srgbClr val="38333D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568B18E3-9B86-41F2-8471-D5EF593B226C}"/>
                  </a:ext>
                </a:extLst>
              </p:cNvPr>
              <p:cNvSpPr/>
              <p:nvPr/>
            </p:nvSpPr>
            <p:spPr>
              <a:xfrm>
                <a:off x="25130752" y="6478367"/>
                <a:ext cx="201732" cy="63664"/>
              </a:xfrm>
              <a:custGeom>
                <a:avLst/>
                <a:gdLst>
                  <a:gd name="connsiteX0" fmla="*/ 158779 w 201732"/>
                  <a:gd name="connsiteY0" fmla="*/ 63665 h 63664"/>
                  <a:gd name="connsiteX1" fmla="*/ 2301 w 201732"/>
                  <a:gd name="connsiteY1" fmla="*/ 11505 h 63664"/>
                  <a:gd name="connsiteX2" fmla="*/ 2301 w 201732"/>
                  <a:gd name="connsiteY2" fmla="*/ 2301 h 63664"/>
                  <a:gd name="connsiteX3" fmla="*/ 11505 w 201732"/>
                  <a:gd name="connsiteY3" fmla="*/ 2301 h 63664"/>
                  <a:gd name="connsiteX4" fmla="*/ 195596 w 201732"/>
                  <a:gd name="connsiteY4" fmla="*/ 48324 h 63664"/>
                  <a:gd name="connsiteX5" fmla="*/ 201732 w 201732"/>
                  <a:gd name="connsiteY5" fmla="*/ 54460 h 63664"/>
                  <a:gd name="connsiteX6" fmla="*/ 195596 w 201732"/>
                  <a:gd name="connsiteY6" fmla="*/ 60597 h 63664"/>
                  <a:gd name="connsiteX7" fmla="*/ 158779 w 201732"/>
                  <a:gd name="connsiteY7" fmla="*/ 63665 h 63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732" h="63664">
                    <a:moveTo>
                      <a:pt x="158779" y="63665"/>
                    </a:moveTo>
                    <a:cubicBezTo>
                      <a:pt x="118891" y="63665"/>
                      <a:pt x="51393" y="57528"/>
                      <a:pt x="2301" y="11505"/>
                    </a:cubicBezTo>
                    <a:cubicBezTo>
                      <a:pt x="-767" y="8438"/>
                      <a:pt x="-767" y="5369"/>
                      <a:pt x="2301" y="2301"/>
                    </a:cubicBezTo>
                    <a:cubicBezTo>
                      <a:pt x="5370" y="-767"/>
                      <a:pt x="8437" y="-767"/>
                      <a:pt x="11505" y="2301"/>
                    </a:cubicBezTo>
                    <a:cubicBezTo>
                      <a:pt x="79005" y="63665"/>
                      <a:pt x="192528" y="48324"/>
                      <a:pt x="195596" y="48324"/>
                    </a:cubicBezTo>
                    <a:cubicBezTo>
                      <a:pt x="198665" y="48324"/>
                      <a:pt x="201732" y="51392"/>
                      <a:pt x="201732" y="54460"/>
                    </a:cubicBezTo>
                    <a:cubicBezTo>
                      <a:pt x="201732" y="57528"/>
                      <a:pt x="198665" y="60597"/>
                      <a:pt x="195596" y="60597"/>
                    </a:cubicBezTo>
                    <a:cubicBezTo>
                      <a:pt x="195596" y="60597"/>
                      <a:pt x="180255" y="63665"/>
                      <a:pt x="158779" y="6366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88A82E77-04F7-41ED-A599-D6641A2D6B0B}"/>
                  </a:ext>
                </a:extLst>
              </p:cNvPr>
              <p:cNvSpPr/>
              <p:nvPr/>
            </p:nvSpPr>
            <p:spPr>
              <a:xfrm>
                <a:off x="25100071" y="6505980"/>
                <a:ext cx="38352" cy="42187"/>
              </a:xfrm>
              <a:custGeom>
                <a:avLst/>
                <a:gdLst>
                  <a:gd name="connsiteX0" fmla="*/ 29915 w 38352"/>
                  <a:gd name="connsiteY0" fmla="*/ 42188 h 42187"/>
                  <a:gd name="connsiteX1" fmla="*/ 26846 w 38352"/>
                  <a:gd name="connsiteY1" fmla="*/ 39119 h 42187"/>
                  <a:gd name="connsiteX2" fmla="*/ 2301 w 38352"/>
                  <a:gd name="connsiteY2" fmla="*/ 11506 h 42187"/>
                  <a:gd name="connsiteX3" fmla="*/ 2301 w 38352"/>
                  <a:gd name="connsiteY3" fmla="*/ 2301 h 42187"/>
                  <a:gd name="connsiteX4" fmla="*/ 11505 w 38352"/>
                  <a:gd name="connsiteY4" fmla="*/ 2301 h 42187"/>
                  <a:gd name="connsiteX5" fmla="*/ 36052 w 38352"/>
                  <a:gd name="connsiteY5" fmla="*/ 29915 h 42187"/>
                  <a:gd name="connsiteX6" fmla="*/ 36052 w 38352"/>
                  <a:gd name="connsiteY6" fmla="*/ 39119 h 42187"/>
                  <a:gd name="connsiteX7" fmla="*/ 29915 w 38352"/>
                  <a:gd name="connsiteY7" fmla="*/ 42188 h 42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352" h="42187">
                    <a:moveTo>
                      <a:pt x="29915" y="42188"/>
                    </a:moveTo>
                    <a:cubicBezTo>
                      <a:pt x="29915" y="42188"/>
                      <a:pt x="26846" y="42188"/>
                      <a:pt x="26846" y="39119"/>
                    </a:cubicBezTo>
                    <a:lnTo>
                      <a:pt x="2301" y="11506"/>
                    </a:lnTo>
                    <a:cubicBezTo>
                      <a:pt x="-767" y="8438"/>
                      <a:pt x="-767" y="5370"/>
                      <a:pt x="2301" y="2301"/>
                    </a:cubicBezTo>
                    <a:cubicBezTo>
                      <a:pt x="5370" y="-767"/>
                      <a:pt x="8437" y="-767"/>
                      <a:pt x="11505" y="2301"/>
                    </a:cubicBezTo>
                    <a:lnTo>
                      <a:pt x="36052" y="29915"/>
                    </a:lnTo>
                    <a:cubicBezTo>
                      <a:pt x="39119" y="32983"/>
                      <a:pt x="39119" y="36051"/>
                      <a:pt x="36052" y="39119"/>
                    </a:cubicBezTo>
                    <a:cubicBezTo>
                      <a:pt x="32982" y="39119"/>
                      <a:pt x="29915" y="42188"/>
                      <a:pt x="29915" y="4218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CE73A4EC-C29F-4DFD-B5E7-C8008DC35A9E}"/>
                  </a:ext>
                </a:extLst>
              </p:cNvPr>
              <p:cNvSpPr/>
              <p:nvPr/>
            </p:nvSpPr>
            <p:spPr>
              <a:xfrm>
                <a:off x="25057116" y="6530526"/>
                <a:ext cx="41420" cy="42187"/>
              </a:xfrm>
              <a:custGeom>
                <a:avLst/>
                <a:gdLst>
                  <a:gd name="connsiteX0" fmla="*/ 32984 w 41420"/>
                  <a:gd name="connsiteY0" fmla="*/ 42188 h 42187"/>
                  <a:gd name="connsiteX1" fmla="*/ 29914 w 41420"/>
                  <a:gd name="connsiteY1" fmla="*/ 39119 h 42187"/>
                  <a:gd name="connsiteX2" fmla="*/ 2302 w 41420"/>
                  <a:gd name="connsiteY2" fmla="*/ 11506 h 42187"/>
                  <a:gd name="connsiteX3" fmla="*/ 2302 w 41420"/>
                  <a:gd name="connsiteY3" fmla="*/ 2301 h 42187"/>
                  <a:gd name="connsiteX4" fmla="*/ 11506 w 41420"/>
                  <a:gd name="connsiteY4" fmla="*/ 2301 h 42187"/>
                  <a:gd name="connsiteX5" fmla="*/ 39119 w 41420"/>
                  <a:gd name="connsiteY5" fmla="*/ 29915 h 42187"/>
                  <a:gd name="connsiteX6" fmla="*/ 39119 w 41420"/>
                  <a:gd name="connsiteY6" fmla="*/ 39119 h 42187"/>
                  <a:gd name="connsiteX7" fmla="*/ 32984 w 41420"/>
                  <a:gd name="connsiteY7" fmla="*/ 42188 h 42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420" h="42187">
                    <a:moveTo>
                      <a:pt x="32984" y="42188"/>
                    </a:moveTo>
                    <a:cubicBezTo>
                      <a:pt x="32984" y="42188"/>
                      <a:pt x="29914" y="42188"/>
                      <a:pt x="29914" y="39119"/>
                    </a:cubicBezTo>
                    <a:lnTo>
                      <a:pt x="2302" y="11506"/>
                    </a:lnTo>
                    <a:cubicBezTo>
                      <a:pt x="-767" y="8438"/>
                      <a:pt x="-767" y="5369"/>
                      <a:pt x="2302" y="2301"/>
                    </a:cubicBezTo>
                    <a:cubicBezTo>
                      <a:pt x="5369" y="-767"/>
                      <a:pt x="8437" y="-767"/>
                      <a:pt x="11506" y="2301"/>
                    </a:cubicBezTo>
                    <a:lnTo>
                      <a:pt x="39119" y="29915"/>
                    </a:lnTo>
                    <a:cubicBezTo>
                      <a:pt x="42188" y="32983"/>
                      <a:pt x="42188" y="36051"/>
                      <a:pt x="39119" y="39119"/>
                    </a:cubicBezTo>
                    <a:cubicBezTo>
                      <a:pt x="36051" y="42188"/>
                      <a:pt x="36051" y="42188"/>
                      <a:pt x="32984" y="4218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61B5B4DC-7CFE-4688-BD9F-9E056415DC68}"/>
                </a:ext>
              </a:extLst>
            </p:cNvPr>
            <p:cNvSpPr/>
            <p:nvPr/>
          </p:nvSpPr>
          <p:spPr>
            <a:xfrm>
              <a:off x="24986970" y="4118168"/>
              <a:ext cx="1397900" cy="2310340"/>
            </a:xfrm>
            <a:custGeom>
              <a:avLst/>
              <a:gdLst>
                <a:gd name="connsiteX0" fmla="*/ 8015 w 1397900"/>
                <a:gd name="connsiteY0" fmla="*/ 21477 h 2310340"/>
                <a:gd name="connsiteX1" fmla="*/ 20288 w 1397900"/>
                <a:gd name="connsiteY1" fmla="*/ 1414432 h 2310340"/>
                <a:gd name="connsiteX2" fmla="*/ 90856 w 1397900"/>
                <a:gd name="connsiteY2" fmla="*/ 2310341 h 2310340"/>
                <a:gd name="connsiteX3" fmla="*/ 388470 w 1397900"/>
                <a:gd name="connsiteY3" fmla="*/ 2310341 h 2310340"/>
                <a:gd name="connsiteX4" fmla="*/ 428356 w 1397900"/>
                <a:gd name="connsiteY4" fmla="*/ 1438977 h 2310340"/>
                <a:gd name="connsiteX5" fmla="*/ 511197 w 1397900"/>
                <a:gd name="connsiteY5" fmla="*/ 506250 h 2310340"/>
                <a:gd name="connsiteX6" fmla="*/ 551083 w 1397900"/>
                <a:gd name="connsiteY6" fmla="*/ 1420568 h 2310340"/>
                <a:gd name="connsiteX7" fmla="*/ 587902 w 1397900"/>
                <a:gd name="connsiteY7" fmla="*/ 1518750 h 2310340"/>
                <a:gd name="connsiteX8" fmla="*/ 1109493 w 1397900"/>
                <a:gd name="connsiteY8" fmla="*/ 2193750 h 2310340"/>
                <a:gd name="connsiteX9" fmla="*/ 1397901 w 1397900"/>
                <a:gd name="connsiteY9" fmla="*/ 1951364 h 2310340"/>
                <a:gd name="connsiteX10" fmla="*/ 962220 w 1397900"/>
                <a:gd name="connsiteY10" fmla="*/ 1350000 h 2310340"/>
                <a:gd name="connsiteX11" fmla="*/ 1041992 w 1397900"/>
                <a:gd name="connsiteY11" fmla="*/ 0 h 2310340"/>
                <a:gd name="connsiteX12" fmla="*/ 8015 w 1397900"/>
                <a:gd name="connsiteY12" fmla="*/ 21477 h 2310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97900" h="2310340">
                  <a:moveTo>
                    <a:pt x="8015" y="21477"/>
                  </a:moveTo>
                  <a:cubicBezTo>
                    <a:pt x="8015" y="21477"/>
                    <a:pt x="-16531" y="1101477"/>
                    <a:pt x="20288" y="1414432"/>
                  </a:cubicBezTo>
                  <a:cubicBezTo>
                    <a:pt x="50970" y="1687500"/>
                    <a:pt x="90856" y="2310341"/>
                    <a:pt x="90856" y="2310341"/>
                  </a:cubicBezTo>
                  <a:lnTo>
                    <a:pt x="388470" y="2310341"/>
                  </a:lnTo>
                  <a:cubicBezTo>
                    <a:pt x="388470" y="2310341"/>
                    <a:pt x="422219" y="1537159"/>
                    <a:pt x="428356" y="1438977"/>
                  </a:cubicBezTo>
                  <a:cubicBezTo>
                    <a:pt x="434493" y="1297841"/>
                    <a:pt x="495856" y="536932"/>
                    <a:pt x="511197" y="506250"/>
                  </a:cubicBezTo>
                  <a:cubicBezTo>
                    <a:pt x="523469" y="481705"/>
                    <a:pt x="544946" y="1211932"/>
                    <a:pt x="551083" y="1420568"/>
                  </a:cubicBezTo>
                  <a:cubicBezTo>
                    <a:pt x="551083" y="1457386"/>
                    <a:pt x="563357" y="1491136"/>
                    <a:pt x="587902" y="1518750"/>
                  </a:cubicBezTo>
                  <a:lnTo>
                    <a:pt x="1109493" y="2193750"/>
                  </a:lnTo>
                  <a:lnTo>
                    <a:pt x="1397901" y="1951364"/>
                  </a:lnTo>
                  <a:lnTo>
                    <a:pt x="962220" y="1350000"/>
                  </a:lnTo>
                  <a:cubicBezTo>
                    <a:pt x="962220" y="1350000"/>
                    <a:pt x="1084948" y="98182"/>
                    <a:pt x="1041992" y="0"/>
                  </a:cubicBezTo>
                  <a:cubicBezTo>
                    <a:pt x="333243" y="33750"/>
                    <a:pt x="8015" y="21477"/>
                    <a:pt x="8015" y="21477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4523B566-DD2B-49B2-9F8A-FF4003584872}"/>
                </a:ext>
              </a:extLst>
            </p:cNvPr>
            <p:cNvSpPr/>
            <p:nvPr/>
          </p:nvSpPr>
          <p:spPr>
            <a:xfrm>
              <a:off x="25430667" y="4268509"/>
              <a:ext cx="70567" cy="365113"/>
            </a:xfrm>
            <a:custGeom>
              <a:avLst/>
              <a:gdLst>
                <a:gd name="connsiteX0" fmla="*/ 64431 w 70567"/>
                <a:gd name="connsiteY0" fmla="*/ 365114 h 365113"/>
                <a:gd name="connsiteX1" fmla="*/ 58296 w 70567"/>
                <a:gd name="connsiteY1" fmla="*/ 362046 h 365113"/>
                <a:gd name="connsiteX2" fmla="*/ 0 w 70567"/>
                <a:gd name="connsiteY2" fmla="*/ 6136 h 365113"/>
                <a:gd name="connsiteX3" fmla="*/ 6137 w 70567"/>
                <a:gd name="connsiteY3" fmla="*/ 0 h 365113"/>
                <a:gd name="connsiteX4" fmla="*/ 12273 w 70567"/>
                <a:gd name="connsiteY4" fmla="*/ 6136 h 365113"/>
                <a:gd name="connsiteX5" fmla="*/ 70568 w 70567"/>
                <a:gd name="connsiteY5" fmla="*/ 358977 h 365113"/>
                <a:gd name="connsiteX6" fmla="*/ 64431 w 70567"/>
                <a:gd name="connsiteY6" fmla="*/ 365114 h 365113"/>
                <a:gd name="connsiteX7" fmla="*/ 64431 w 70567"/>
                <a:gd name="connsiteY7" fmla="*/ 365114 h 365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567" h="365113">
                  <a:moveTo>
                    <a:pt x="64431" y="365114"/>
                  </a:moveTo>
                  <a:cubicBezTo>
                    <a:pt x="61364" y="365114"/>
                    <a:pt x="61364" y="365114"/>
                    <a:pt x="58296" y="362046"/>
                  </a:cubicBezTo>
                  <a:cubicBezTo>
                    <a:pt x="9204" y="245455"/>
                    <a:pt x="0" y="15341"/>
                    <a:pt x="0" y="6136"/>
                  </a:cubicBezTo>
                  <a:cubicBezTo>
                    <a:pt x="0" y="3068"/>
                    <a:pt x="3067" y="0"/>
                    <a:pt x="6137" y="0"/>
                  </a:cubicBezTo>
                  <a:cubicBezTo>
                    <a:pt x="9204" y="0"/>
                    <a:pt x="12273" y="3068"/>
                    <a:pt x="12273" y="6136"/>
                  </a:cubicBezTo>
                  <a:cubicBezTo>
                    <a:pt x="12273" y="9205"/>
                    <a:pt x="21478" y="245455"/>
                    <a:pt x="70568" y="358977"/>
                  </a:cubicBezTo>
                  <a:cubicBezTo>
                    <a:pt x="70568" y="358977"/>
                    <a:pt x="70568" y="362046"/>
                    <a:pt x="64431" y="365114"/>
                  </a:cubicBezTo>
                  <a:cubicBezTo>
                    <a:pt x="67500" y="365114"/>
                    <a:pt x="64431" y="365114"/>
                    <a:pt x="64431" y="365114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E31BF82C-7AF4-4DAE-80E2-3446DB4FE8A5}"/>
                </a:ext>
              </a:extLst>
            </p:cNvPr>
            <p:cNvSpPr/>
            <p:nvPr/>
          </p:nvSpPr>
          <p:spPr>
            <a:xfrm>
              <a:off x="25317144" y="4197940"/>
              <a:ext cx="156478" cy="355909"/>
            </a:xfrm>
            <a:custGeom>
              <a:avLst/>
              <a:gdLst>
                <a:gd name="connsiteX0" fmla="*/ 147272 w 156478"/>
                <a:gd name="connsiteY0" fmla="*/ 355909 h 355909"/>
                <a:gd name="connsiteX1" fmla="*/ 144205 w 156478"/>
                <a:gd name="connsiteY1" fmla="*/ 355909 h 355909"/>
                <a:gd name="connsiteX2" fmla="*/ 33751 w 156478"/>
                <a:gd name="connsiteY2" fmla="*/ 276136 h 355909"/>
                <a:gd name="connsiteX3" fmla="*/ 0 w 156478"/>
                <a:gd name="connsiteY3" fmla="*/ 6137 h 355909"/>
                <a:gd name="connsiteX4" fmla="*/ 6137 w 156478"/>
                <a:gd name="connsiteY4" fmla="*/ 0 h 355909"/>
                <a:gd name="connsiteX5" fmla="*/ 12273 w 156478"/>
                <a:gd name="connsiteY5" fmla="*/ 6137 h 355909"/>
                <a:gd name="connsiteX6" fmla="*/ 46023 w 156478"/>
                <a:gd name="connsiteY6" fmla="*/ 270000 h 355909"/>
                <a:gd name="connsiteX7" fmla="*/ 153409 w 156478"/>
                <a:gd name="connsiteY7" fmla="*/ 346705 h 355909"/>
                <a:gd name="connsiteX8" fmla="*/ 156478 w 156478"/>
                <a:gd name="connsiteY8" fmla="*/ 355909 h 355909"/>
                <a:gd name="connsiteX9" fmla="*/ 147272 w 156478"/>
                <a:gd name="connsiteY9" fmla="*/ 355909 h 35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478" h="355909">
                  <a:moveTo>
                    <a:pt x="147272" y="355909"/>
                  </a:moveTo>
                  <a:cubicBezTo>
                    <a:pt x="147272" y="355909"/>
                    <a:pt x="144205" y="355909"/>
                    <a:pt x="144205" y="355909"/>
                  </a:cubicBezTo>
                  <a:cubicBezTo>
                    <a:pt x="135001" y="349773"/>
                    <a:pt x="46023" y="291477"/>
                    <a:pt x="33751" y="276136"/>
                  </a:cubicBezTo>
                  <a:cubicBezTo>
                    <a:pt x="21478" y="260795"/>
                    <a:pt x="3069" y="49091"/>
                    <a:pt x="0" y="6137"/>
                  </a:cubicBezTo>
                  <a:cubicBezTo>
                    <a:pt x="0" y="3068"/>
                    <a:pt x="3069" y="0"/>
                    <a:pt x="6137" y="0"/>
                  </a:cubicBezTo>
                  <a:cubicBezTo>
                    <a:pt x="9204" y="0"/>
                    <a:pt x="12273" y="3068"/>
                    <a:pt x="12273" y="6137"/>
                  </a:cubicBezTo>
                  <a:cubicBezTo>
                    <a:pt x="21478" y="101250"/>
                    <a:pt x="36819" y="257727"/>
                    <a:pt x="46023" y="270000"/>
                  </a:cubicBezTo>
                  <a:cubicBezTo>
                    <a:pt x="55227" y="279205"/>
                    <a:pt x="113523" y="322159"/>
                    <a:pt x="153409" y="346705"/>
                  </a:cubicBezTo>
                  <a:cubicBezTo>
                    <a:pt x="156478" y="349773"/>
                    <a:pt x="156478" y="352841"/>
                    <a:pt x="156478" y="355909"/>
                  </a:cubicBezTo>
                  <a:cubicBezTo>
                    <a:pt x="153409" y="355909"/>
                    <a:pt x="150342" y="355909"/>
                    <a:pt x="147272" y="355909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7974AAF9-8FA9-4908-A756-27C8EE641B0F}"/>
                </a:ext>
              </a:extLst>
            </p:cNvPr>
            <p:cNvSpPr/>
            <p:nvPr/>
          </p:nvSpPr>
          <p:spPr>
            <a:xfrm>
              <a:off x="24212598" y="2968777"/>
              <a:ext cx="909071" cy="874215"/>
            </a:xfrm>
            <a:custGeom>
              <a:avLst/>
              <a:gdLst>
                <a:gd name="connsiteX0" fmla="*/ 886705 w 909071"/>
                <a:gd name="connsiteY0" fmla="*/ 284164 h 874215"/>
                <a:gd name="connsiteX1" fmla="*/ 810001 w 909071"/>
                <a:gd name="connsiteY1" fmla="*/ 1891 h 874215"/>
                <a:gd name="connsiteX2" fmla="*/ 558409 w 909071"/>
                <a:gd name="connsiteY2" fmla="*/ 290300 h 874215"/>
                <a:gd name="connsiteX3" fmla="*/ 408068 w 909071"/>
                <a:gd name="connsiteY3" fmla="*/ 590982 h 874215"/>
                <a:gd name="connsiteX4" fmla="*/ 46023 w 909071"/>
                <a:gd name="connsiteY4" fmla="*/ 253482 h 874215"/>
                <a:gd name="connsiteX5" fmla="*/ 0 w 909071"/>
                <a:gd name="connsiteY5" fmla="*/ 394618 h 874215"/>
                <a:gd name="connsiteX6" fmla="*/ 497046 w 909071"/>
                <a:gd name="connsiteY6" fmla="*/ 870187 h 874215"/>
                <a:gd name="connsiteX7" fmla="*/ 886705 w 909071"/>
                <a:gd name="connsiteY7" fmla="*/ 284164 h 874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071" h="874215">
                  <a:moveTo>
                    <a:pt x="886705" y="284164"/>
                  </a:moveTo>
                  <a:cubicBezTo>
                    <a:pt x="941932" y="146096"/>
                    <a:pt x="886705" y="-19586"/>
                    <a:pt x="810001" y="1891"/>
                  </a:cubicBezTo>
                  <a:cubicBezTo>
                    <a:pt x="721023" y="26437"/>
                    <a:pt x="616706" y="121550"/>
                    <a:pt x="558409" y="290300"/>
                  </a:cubicBezTo>
                  <a:cubicBezTo>
                    <a:pt x="524660" y="388482"/>
                    <a:pt x="426478" y="594050"/>
                    <a:pt x="408068" y="590982"/>
                  </a:cubicBezTo>
                  <a:cubicBezTo>
                    <a:pt x="401933" y="590982"/>
                    <a:pt x="46023" y="253482"/>
                    <a:pt x="46023" y="253482"/>
                  </a:cubicBezTo>
                  <a:cubicBezTo>
                    <a:pt x="46023" y="314846"/>
                    <a:pt x="0" y="394618"/>
                    <a:pt x="0" y="394618"/>
                  </a:cubicBezTo>
                  <a:cubicBezTo>
                    <a:pt x="0" y="394618"/>
                    <a:pt x="300681" y="925414"/>
                    <a:pt x="497046" y="870187"/>
                  </a:cubicBezTo>
                  <a:cubicBezTo>
                    <a:pt x="598295" y="839505"/>
                    <a:pt x="819205" y="455982"/>
                    <a:pt x="886705" y="284164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F00B8BE7-DF6C-4160-90EB-BAE6FE355B2B}"/>
                </a:ext>
              </a:extLst>
            </p:cNvPr>
            <p:cNvSpPr/>
            <p:nvPr/>
          </p:nvSpPr>
          <p:spPr>
            <a:xfrm>
              <a:off x="25897031" y="4133509"/>
              <a:ext cx="147272" cy="239318"/>
            </a:xfrm>
            <a:custGeom>
              <a:avLst/>
              <a:gdLst>
                <a:gd name="connsiteX0" fmla="*/ 141136 w 147272"/>
                <a:gd name="connsiteY0" fmla="*/ 239318 h 239318"/>
                <a:gd name="connsiteX1" fmla="*/ 141136 w 147272"/>
                <a:gd name="connsiteY1" fmla="*/ 239318 h 239318"/>
                <a:gd name="connsiteX2" fmla="*/ 15341 w 147272"/>
                <a:gd name="connsiteY2" fmla="*/ 205568 h 239318"/>
                <a:gd name="connsiteX3" fmla="*/ 0 w 147272"/>
                <a:gd name="connsiteY3" fmla="*/ 6137 h 239318"/>
                <a:gd name="connsiteX4" fmla="*/ 6137 w 147272"/>
                <a:gd name="connsiteY4" fmla="*/ 0 h 239318"/>
                <a:gd name="connsiteX5" fmla="*/ 6137 w 147272"/>
                <a:gd name="connsiteY5" fmla="*/ 0 h 239318"/>
                <a:gd name="connsiteX6" fmla="*/ 12272 w 147272"/>
                <a:gd name="connsiteY6" fmla="*/ 6137 h 239318"/>
                <a:gd name="connsiteX7" fmla="*/ 24545 w 147272"/>
                <a:gd name="connsiteY7" fmla="*/ 202500 h 239318"/>
                <a:gd name="connsiteX8" fmla="*/ 141136 w 147272"/>
                <a:gd name="connsiteY8" fmla="*/ 230114 h 239318"/>
                <a:gd name="connsiteX9" fmla="*/ 147272 w 147272"/>
                <a:gd name="connsiteY9" fmla="*/ 236250 h 239318"/>
                <a:gd name="connsiteX10" fmla="*/ 141136 w 147272"/>
                <a:gd name="connsiteY10" fmla="*/ 239318 h 23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7272" h="239318">
                  <a:moveTo>
                    <a:pt x="141136" y="239318"/>
                  </a:moveTo>
                  <a:cubicBezTo>
                    <a:pt x="141136" y="239318"/>
                    <a:pt x="141136" y="239318"/>
                    <a:pt x="141136" y="239318"/>
                  </a:cubicBezTo>
                  <a:cubicBezTo>
                    <a:pt x="113523" y="236250"/>
                    <a:pt x="24545" y="223977"/>
                    <a:pt x="15341" y="205568"/>
                  </a:cubicBezTo>
                  <a:cubicBezTo>
                    <a:pt x="6137" y="187159"/>
                    <a:pt x="0" y="24546"/>
                    <a:pt x="0" y="6137"/>
                  </a:cubicBezTo>
                  <a:cubicBezTo>
                    <a:pt x="0" y="3068"/>
                    <a:pt x="3067" y="0"/>
                    <a:pt x="6137" y="0"/>
                  </a:cubicBezTo>
                  <a:cubicBezTo>
                    <a:pt x="6137" y="0"/>
                    <a:pt x="6137" y="0"/>
                    <a:pt x="6137" y="0"/>
                  </a:cubicBezTo>
                  <a:cubicBezTo>
                    <a:pt x="9204" y="0"/>
                    <a:pt x="12272" y="3068"/>
                    <a:pt x="12272" y="6137"/>
                  </a:cubicBezTo>
                  <a:cubicBezTo>
                    <a:pt x="12272" y="76705"/>
                    <a:pt x="18408" y="190227"/>
                    <a:pt x="24545" y="202500"/>
                  </a:cubicBezTo>
                  <a:cubicBezTo>
                    <a:pt x="30682" y="211705"/>
                    <a:pt x="88976" y="223977"/>
                    <a:pt x="141136" y="230114"/>
                  </a:cubicBezTo>
                  <a:cubicBezTo>
                    <a:pt x="144205" y="230114"/>
                    <a:pt x="147272" y="233182"/>
                    <a:pt x="147272" y="236250"/>
                  </a:cubicBezTo>
                  <a:cubicBezTo>
                    <a:pt x="147272" y="236250"/>
                    <a:pt x="144205" y="239318"/>
                    <a:pt x="141136" y="239318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694EF1A2-E512-4A0D-9151-B41AF9393007}"/>
                </a:ext>
              </a:extLst>
            </p:cNvPr>
            <p:cNvSpPr/>
            <p:nvPr/>
          </p:nvSpPr>
          <p:spPr>
            <a:xfrm>
              <a:off x="24994985" y="4142713"/>
              <a:ext cx="92045" cy="208636"/>
            </a:xfrm>
            <a:custGeom>
              <a:avLst/>
              <a:gdLst>
                <a:gd name="connsiteX0" fmla="*/ 12273 w 92045"/>
                <a:gd name="connsiteY0" fmla="*/ 208636 h 208636"/>
                <a:gd name="connsiteX1" fmla="*/ 6137 w 92045"/>
                <a:gd name="connsiteY1" fmla="*/ 208636 h 208636"/>
                <a:gd name="connsiteX2" fmla="*/ 0 w 92045"/>
                <a:gd name="connsiteY2" fmla="*/ 202500 h 208636"/>
                <a:gd name="connsiteX3" fmla="*/ 6137 w 92045"/>
                <a:gd name="connsiteY3" fmla="*/ 196364 h 208636"/>
                <a:gd name="connsiteX4" fmla="*/ 61364 w 92045"/>
                <a:gd name="connsiteY4" fmla="*/ 177954 h 208636"/>
                <a:gd name="connsiteX5" fmla="*/ 79774 w 92045"/>
                <a:gd name="connsiteY5" fmla="*/ 6136 h 208636"/>
                <a:gd name="connsiteX6" fmla="*/ 85909 w 92045"/>
                <a:gd name="connsiteY6" fmla="*/ 0 h 208636"/>
                <a:gd name="connsiteX7" fmla="*/ 85909 w 92045"/>
                <a:gd name="connsiteY7" fmla="*/ 0 h 208636"/>
                <a:gd name="connsiteX8" fmla="*/ 92045 w 92045"/>
                <a:gd name="connsiteY8" fmla="*/ 6136 h 208636"/>
                <a:gd name="connsiteX9" fmla="*/ 70568 w 92045"/>
                <a:gd name="connsiteY9" fmla="*/ 181023 h 208636"/>
                <a:gd name="connsiteX10" fmla="*/ 12273 w 92045"/>
                <a:gd name="connsiteY10" fmla="*/ 208636 h 208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045" h="208636">
                  <a:moveTo>
                    <a:pt x="12273" y="208636"/>
                  </a:moveTo>
                  <a:cubicBezTo>
                    <a:pt x="9204" y="208636"/>
                    <a:pt x="6137" y="208636"/>
                    <a:pt x="6137" y="208636"/>
                  </a:cubicBezTo>
                  <a:cubicBezTo>
                    <a:pt x="3069" y="208636"/>
                    <a:pt x="0" y="205568"/>
                    <a:pt x="0" y="202500"/>
                  </a:cubicBezTo>
                  <a:cubicBezTo>
                    <a:pt x="0" y="199432"/>
                    <a:pt x="3069" y="196364"/>
                    <a:pt x="6137" y="196364"/>
                  </a:cubicBezTo>
                  <a:cubicBezTo>
                    <a:pt x="6137" y="196364"/>
                    <a:pt x="49092" y="199432"/>
                    <a:pt x="61364" y="177954"/>
                  </a:cubicBezTo>
                  <a:cubicBezTo>
                    <a:pt x="73637" y="156477"/>
                    <a:pt x="79774" y="49091"/>
                    <a:pt x="79774" y="6136"/>
                  </a:cubicBezTo>
                  <a:cubicBezTo>
                    <a:pt x="79774" y="3068"/>
                    <a:pt x="82841" y="0"/>
                    <a:pt x="85909" y="0"/>
                  </a:cubicBezTo>
                  <a:cubicBezTo>
                    <a:pt x="85909" y="0"/>
                    <a:pt x="85909" y="0"/>
                    <a:pt x="85909" y="0"/>
                  </a:cubicBezTo>
                  <a:cubicBezTo>
                    <a:pt x="88978" y="0"/>
                    <a:pt x="92045" y="3068"/>
                    <a:pt x="92045" y="6136"/>
                  </a:cubicBezTo>
                  <a:cubicBezTo>
                    <a:pt x="92045" y="21477"/>
                    <a:pt x="85909" y="156477"/>
                    <a:pt x="70568" y="181023"/>
                  </a:cubicBezTo>
                  <a:cubicBezTo>
                    <a:pt x="58296" y="205568"/>
                    <a:pt x="27614" y="208636"/>
                    <a:pt x="12273" y="208636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809B27C3-0243-4D46-9301-2A637B861F26}"/>
                </a:ext>
              </a:extLst>
            </p:cNvPr>
            <p:cNvSpPr/>
            <p:nvPr/>
          </p:nvSpPr>
          <p:spPr>
            <a:xfrm>
              <a:off x="25381577" y="2436804"/>
              <a:ext cx="251589" cy="259885"/>
            </a:xfrm>
            <a:custGeom>
              <a:avLst/>
              <a:gdLst>
                <a:gd name="connsiteX0" fmla="*/ 0 w 251589"/>
                <a:gd name="connsiteY0" fmla="*/ 39886 h 259885"/>
                <a:gd name="connsiteX1" fmla="*/ 6135 w 251589"/>
                <a:gd name="connsiteY1" fmla="*/ 214773 h 259885"/>
                <a:gd name="connsiteX2" fmla="*/ 251589 w 251589"/>
                <a:gd name="connsiteY2" fmla="*/ 205568 h 259885"/>
                <a:gd name="connsiteX3" fmla="*/ 236249 w 251589"/>
                <a:gd name="connsiteY3" fmla="*/ 0 h 259885"/>
                <a:gd name="connsiteX4" fmla="*/ 0 w 251589"/>
                <a:gd name="connsiteY4" fmla="*/ 39886 h 259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1589" h="259885">
                  <a:moveTo>
                    <a:pt x="0" y="39886"/>
                  </a:moveTo>
                  <a:cubicBezTo>
                    <a:pt x="0" y="39886"/>
                    <a:pt x="6135" y="141136"/>
                    <a:pt x="6135" y="214773"/>
                  </a:cubicBezTo>
                  <a:cubicBezTo>
                    <a:pt x="6135" y="214773"/>
                    <a:pt x="101250" y="322159"/>
                    <a:pt x="251589" y="205568"/>
                  </a:cubicBezTo>
                  <a:cubicBezTo>
                    <a:pt x="251589" y="144205"/>
                    <a:pt x="239318" y="64432"/>
                    <a:pt x="236249" y="0"/>
                  </a:cubicBezTo>
                  <a:cubicBezTo>
                    <a:pt x="239318" y="0"/>
                    <a:pt x="52158" y="52159"/>
                    <a:pt x="0" y="39886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16713090-F974-43DC-9C62-2D55E2319120}"/>
                </a:ext>
              </a:extLst>
            </p:cNvPr>
            <p:cNvSpPr/>
            <p:nvPr/>
          </p:nvSpPr>
          <p:spPr>
            <a:xfrm>
              <a:off x="25654644" y="2317145"/>
              <a:ext cx="70567" cy="138068"/>
            </a:xfrm>
            <a:custGeom>
              <a:avLst/>
              <a:gdLst>
                <a:gd name="connsiteX0" fmla="*/ 70568 w 70567"/>
                <a:gd name="connsiteY0" fmla="*/ 0 h 138068"/>
                <a:gd name="connsiteX1" fmla="*/ 3069 w 70567"/>
                <a:gd name="connsiteY1" fmla="*/ 138068 h 138068"/>
                <a:gd name="connsiteX2" fmla="*/ 0 w 70567"/>
                <a:gd name="connsiteY2" fmla="*/ 52159 h 138068"/>
                <a:gd name="connsiteX3" fmla="*/ 70568 w 70567"/>
                <a:gd name="connsiteY3" fmla="*/ 0 h 138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567" h="138068">
                  <a:moveTo>
                    <a:pt x="70568" y="0"/>
                  </a:moveTo>
                  <a:cubicBezTo>
                    <a:pt x="70568" y="0"/>
                    <a:pt x="55227" y="119659"/>
                    <a:pt x="3069" y="138068"/>
                  </a:cubicBezTo>
                  <a:lnTo>
                    <a:pt x="0" y="52159"/>
                  </a:lnTo>
                  <a:lnTo>
                    <a:pt x="70568" y="0"/>
                  </a:ln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8A9AF820-79DD-4205-BBBA-AA24482A3D75}"/>
                </a:ext>
              </a:extLst>
            </p:cNvPr>
            <p:cNvSpPr/>
            <p:nvPr/>
          </p:nvSpPr>
          <p:spPr>
            <a:xfrm>
              <a:off x="25263402" y="2105440"/>
              <a:ext cx="103288" cy="239331"/>
            </a:xfrm>
            <a:custGeom>
              <a:avLst/>
              <a:gdLst>
                <a:gd name="connsiteX0" fmla="*/ 7720 w 103288"/>
                <a:gd name="connsiteY0" fmla="*/ 0 h 239331"/>
                <a:gd name="connsiteX1" fmla="*/ 47606 w 103288"/>
                <a:gd name="connsiteY1" fmla="*/ 236250 h 239331"/>
                <a:gd name="connsiteX2" fmla="*/ 102834 w 103288"/>
                <a:gd name="connsiteY2" fmla="*/ 15341 h 239331"/>
                <a:gd name="connsiteX3" fmla="*/ 7720 w 103288"/>
                <a:gd name="connsiteY3" fmla="*/ 0 h 239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288" h="239331">
                  <a:moveTo>
                    <a:pt x="7720" y="0"/>
                  </a:moveTo>
                  <a:cubicBezTo>
                    <a:pt x="7720" y="0"/>
                    <a:pt x="-26030" y="196364"/>
                    <a:pt x="47606" y="236250"/>
                  </a:cubicBezTo>
                  <a:cubicBezTo>
                    <a:pt x="112038" y="270000"/>
                    <a:pt x="102834" y="15341"/>
                    <a:pt x="102834" y="15341"/>
                  </a:cubicBezTo>
                  <a:lnTo>
                    <a:pt x="7720" y="0"/>
                  </a:ln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F8A39BF9-15C9-4A85-B4B3-2CD00261A878}"/>
                </a:ext>
              </a:extLst>
            </p:cNvPr>
            <p:cNvSpPr/>
            <p:nvPr/>
          </p:nvSpPr>
          <p:spPr>
            <a:xfrm>
              <a:off x="25299129" y="1969523"/>
              <a:ext cx="426082" cy="572206"/>
            </a:xfrm>
            <a:custGeom>
              <a:avLst/>
              <a:gdLst>
                <a:gd name="connsiteX0" fmla="*/ 11878 w 426082"/>
                <a:gd name="connsiteY0" fmla="*/ 181940 h 572206"/>
                <a:gd name="connsiteX1" fmla="*/ 8810 w 426082"/>
                <a:gd name="connsiteY1" fmla="*/ 433531 h 572206"/>
                <a:gd name="connsiteX2" fmla="*/ 168356 w 426082"/>
                <a:gd name="connsiteY2" fmla="*/ 571599 h 572206"/>
                <a:gd name="connsiteX3" fmla="*/ 386196 w 426082"/>
                <a:gd name="connsiteY3" fmla="*/ 430463 h 572206"/>
                <a:gd name="connsiteX4" fmla="*/ 426082 w 426082"/>
                <a:gd name="connsiteY4" fmla="*/ 203417 h 572206"/>
                <a:gd name="connsiteX5" fmla="*/ 214379 w 426082"/>
                <a:gd name="connsiteY5" fmla="*/ 917 h 572206"/>
                <a:gd name="connsiteX6" fmla="*/ 11878 w 426082"/>
                <a:gd name="connsiteY6" fmla="*/ 181940 h 572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082" h="572206">
                  <a:moveTo>
                    <a:pt x="11878" y="181940"/>
                  </a:moveTo>
                  <a:cubicBezTo>
                    <a:pt x="11878" y="181940"/>
                    <a:pt x="-12667" y="359895"/>
                    <a:pt x="8810" y="433531"/>
                  </a:cubicBezTo>
                  <a:cubicBezTo>
                    <a:pt x="27219" y="501031"/>
                    <a:pt x="116197" y="565463"/>
                    <a:pt x="168356" y="571599"/>
                  </a:cubicBezTo>
                  <a:cubicBezTo>
                    <a:pt x="235857" y="577736"/>
                    <a:pt x="355515" y="537849"/>
                    <a:pt x="386196" y="430463"/>
                  </a:cubicBezTo>
                  <a:cubicBezTo>
                    <a:pt x="407674" y="356827"/>
                    <a:pt x="426082" y="255577"/>
                    <a:pt x="426082" y="203417"/>
                  </a:cubicBezTo>
                  <a:cubicBezTo>
                    <a:pt x="426082" y="108304"/>
                    <a:pt x="398470" y="28531"/>
                    <a:pt x="214379" y="917"/>
                  </a:cubicBezTo>
                  <a:cubicBezTo>
                    <a:pt x="128470" y="-11355"/>
                    <a:pt x="33356" y="102167"/>
                    <a:pt x="11878" y="181940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9ECFFB04-C25F-49D4-80BA-2F44FCEBABFA}"/>
                </a:ext>
              </a:extLst>
            </p:cNvPr>
            <p:cNvSpPr/>
            <p:nvPr/>
          </p:nvSpPr>
          <p:spPr>
            <a:xfrm>
              <a:off x="25433734" y="2234304"/>
              <a:ext cx="58296" cy="138068"/>
            </a:xfrm>
            <a:custGeom>
              <a:avLst/>
              <a:gdLst>
                <a:gd name="connsiteX0" fmla="*/ 33751 w 58296"/>
                <a:gd name="connsiteY0" fmla="*/ 138068 h 138068"/>
                <a:gd name="connsiteX1" fmla="*/ 6137 w 58296"/>
                <a:gd name="connsiteY1" fmla="*/ 131932 h 138068"/>
                <a:gd name="connsiteX2" fmla="*/ 0 w 58296"/>
                <a:gd name="connsiteY2" fmla="*/ 119659 h 138068"/>
                <a:gd name="connsiteX3" fmla="*/ 18410 w 58296"/>
                <a:gd name="connsiteY3" fmla="*/ 6136 h 138068"/>
                <a:gd name="connsiteX4" fmla="*/ 24547 w 58296"/>
                <a:gd name="connsiteY4" fmla="*/ 0 h 138068"/>
                <a:gd name="connsiteX5" fmla="*/ 30682 w 58296"/>
                <a:gd name="connsiteY5" fmla="*/ 6136 h 138068"/>
                <a:gd name="connsiteX6" fmla="*/ 12273 w 58296"/>
                <a:gd name="connsiteY6" fmla="*/ 119659 h 138068"/>
                <a:gd name="connsiteX7" fmla="*/ 12273 w 58296"/>
                <a:gd name="connsiteY7" fmla="*/ 122727 h 138068"/>
                <a:gd name="connsiteX8" fmla="*/ 52159 w 58296"/>
                <a:gd name="connsiteY8" fmla="*/ 125795 h 138068"/>
                <a:gd name="connsiteX9" fmla="*/ 58296 w 58296"/>
                <a:gd name="connsiteY9" fmla="*/ 131932 h 138068"/>
                <a:gd name="connsiteX10" fmla="*/ 52159 w 58296"/>
                <a:gd name="connsiteY10" fmla="*/ 138068 h 138068"/>
                <a:gd name="connsiteX11" fmla="*/ 33751 w 58296"/>
                <a:gd name="connsiteY11" fmla="*/ 138068 h 138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296" h="138068">
                  <a:moveTo>
                    <a:pt x="33751" y="138068"/>
                  </a:moveTo>
                  <a:cubicBezTo>
                    <a:pt x="24547" y="138068"/>
                    <a:pt x="12273" y="138068"/>
                    <a:pt x="6137" y="131932"/>
                  </a:cubicBezTo>
                  <a:cubicBezTo>
                    <a:pt x="3069" y="128864"/>
                    <a:pt x="0" y="125795"/>
                    <a:pt x="0" y="119659"/>
                  </a:cubicBezTo>
                  <a:cubicBezTo>
                    <a:pt x="0" y="98182"/>
                    <a:pt x="18410" y="9205"/>
                    <a:pt x="18410" y="6136"/>
                  </a:cubicBezTo>
                  <a:cubicBezTo>
                    <a:pt x="18410" y="3068"/>
                    <a:pt x="21478" y="0"/>
                    <a:pt x="24547" y="0"/>
                  </a:cubicBezTo>
                  <a:cubicBezTo>
                    <a:pt x="27614" y="0"/>
                    <a:pt x="30682" y="3068"/>
                    <a:pt x="30682" y="6136"/>
                  </a:cubicBezTo>
                  <a:cubicBezTo>
                    <a:pt x="30682" y="6136"/>
                    <a:pt x="12273" y="98182"/>
                    <a:pt x="12273" y="119659"/>
                  </a:cubicBezTo>
                  <a:cubicBezTo>
                    <a:pt x="12273" y="119659"/>
                    <a:pt x="12273" y="122727"/>
                    <a:pt x="12273" y="122727"/>
                  </a:cubicBezTo>
                  <a:cubicBezTo>
                    <a:pt x="18410" y="128864"/>
                    <a:pt x="39888" y="125795"/>
                    <a:pt x="52159" y="125795"/>
                  </a:cubicBezTo>
                  <a:cubicBezTo>
                    <a:pt x="55229" y="125795"/>
                    <a:pt x="58296" y="128864"/>
                    <a:pt x="58296" y="131932"/>
                  </a:cubicBezTo>
                  <a:cubicBezTo>
                    <a:pt x="58296" y="135000"/>
                    <a:pt x="55229" y="138068"/>
                    <a:pt x="52159" y="138068"/>
                  </a:cubicBezTo>
                  <a:cubicBezTo>
                    <a:pt x="55229" y="138068"/>
                    <a:pt x="46023" y="138068"/>
                    <a:pt x="33751" y="138068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40DB3938-FF54-4F7A-A4C9-F6CF715E8A3B}"/>
                </a:ext>
              </a:extLst>
            </p:cNvPr>
            <p:cNvSpPr/>
            <p:nvPr/>
          </p:nvSpPr>
          <p:spPr>
            <a:xfrm>
              <a:off x="25365634" y="2212225"/>
              <a:ext cx="41269" cy="41090"/>
            </a:xfrm>
            <a:custGeom>
              <a:avLst/>
              <a:gdLst>
                <a:gd name="connsiteX0" fmla="*/ 40488 w 41269"/>
                <a:gd name="connsiteY0" fmla="*/ 25147 h 41090"/>
                <a:gd name="connsiteX1" fmla="*/ 15943 w 41269"/>
                <a:gd name="connsiteY1" fmla="*/ 40488 h 41090"/>
                <a:gd name="connsiteX2" fmla="*/ 602 w 41269"/>
                <a:gd name="connsiteY2" fmla="*/ 15943 h 41090"/>
                <a:gd name="connsiteX3" fmla="*/ 25147 w 41269"/>
                <a:gd name="connsiteY3" fmla="*/ 602 h 41090"/>
                <a:gd name="connsiteX4" fmla="*/ 40488 w 41269"/>
                <a:gd name="connsiteY4" fmla="*/ 25147 h 4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69" h="41090">
                  <a:moveTo>
                    <a:pt x="40488" y="25147"/>
                  </a:moveTo>
                  <a:cubicBezTo>
                    <a:pt x="37419" y="34352"/>
                    <a:pt x="28215" y="43556"/>
                    <a:pt x="15943" y="40488"/>
                  </a:cubicBezTo>
                  <a:cubicBezTo>
                    <a:pt x="6737" y="37420"/>
                    <a:pt x="-2467" y="28215"/>
                    <a:pt x="602" y="15943"/>
                  </a:cubicBezTo>
                  <a:cubicBezTo>
                    <a:pt x="3670" y="6738"/>
                    <a:pt x="12874" y="-2466"/>
                    <a:pt x="25147" y="602"/>
                  </a:cubicBezTo>
                  <a:cubicBezTo>
                    <a:pt x="37419" y="3670"/>
                    <a:pt x="43556" y="12875"/>
                    <a:pt x="40488" y="2514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BA71B819-8241-4B70-B686-DBBEED062CE4}"/>
                </a:ext>
              </a:extLst>
            </p:cNvPr>
            <p:cNvSpPr/>
            <p:nvPr/>
          </p:nvSpPr>
          <p:spPr>
            <a:xfrm>
              <a:off x="25549725" y="2230634"/>
              <a:ext cx="41269" cy="41090"/>
            </a:xfrm>
            <a:custGeom>
              <a:avLst/>
              <a:gdLst>
                <a:gd name="connsiteX0" fmla="*/ 40488 w 41269"/>
                <a:gd name="connsiteY0" fmla="*/ 25147 h 41090"/>
                <a:gd name="connsiteX1" fmla="*/ 15943 w 41269"/>
                <a:gd name="connsiteY1" fmla="*/ 40488 h 41090"/>
                <a:gd name="connsiteX2" fmla="*/ 602 w 41269"/>
                <a:gd name="connsiteY2" fmla="*/ 15943 h 41090"/>
                <a:gd name="connsiteX3" fmla="*/ 25147 w 41269"/>
                <a:gd name="connsiteY3" fmla="*/ 602 h 41090"/>
                <a:gd name="connsiteX4" fmla="*/ 40488 w 41269"/>
                <a:gd name="connsiteY4" fmla="*/ 25147 h 4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69" h="41090">
                  <a:moveTo>
                    <a:pt x="40488" y="25147"/>
                  </a:moveTo>
                  <a:cubicBezTo>
                    <a:pt x="37419" y="34352"/>
                    <a:pt x="28215" y="43556"/>
                    <a:pt x="15943" y="40488"/>
                  </a:cubicBezTo>
                  <a:cubicBezTo>
                    <a:pt x="6737" y="37420"/>
                    <a:pt x="-2467" y="28215"/>
                    <a:pt x="602" y="15943"/>
                  </a:cubicBezTo>
                  <a:cubicBezTo>
                    <a:pt x="3670" y="6738"/>
                    <a:pt x="12874" y="-2466"/>
                    <a:pt x="25147" y="602"/>
                  </a:cubicBezTo>
                  <a:cubicBezTo>
                    <a:pt x="37419" y="3670"/>
                    <a:pt x="43556" y="15943"/>
                    <a:pt x="40488" y="2514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9DE1F901-7E10-40F5-80D1-26C17030EC2C}"/>
                </a:ext>
              </a:extLst>
            </p:cNvPr>
            <p:cNvSpPr/>
            <p:nvPr/>
          </p:nvSpPr>
          <p:spPr>
            <a:xfrm>
              <a:off x="25342456" y="2160668"/>
              <a:ext cx="92549" cy="33749"/>
            </a:xfrm>
            <a:custGeom>
              <a:avLst/>
              <a:gdLst>
                <a:gd name="connsiteX0" fmla="*/ 8439 w 92549"/>
                <a:gd name="connsiteY0" fmla="*/ 33750 h 33749"/>
                <a:gd name="connsiteX1" fmla="*/ 2302 w 92549"/>
                <a:gd name="connsiteY1" fmla="*/ 30682 h 33749"/>
                <a:gd name="connsiteX2" fmla="*/ 2302 w 92549"/>
                <a:gd name="connsiteY2" fmla="*/ 18409 h 33749"/>
                <a:gd name="connsiteX3" fmla="*/ 88211 w 92549"/>
                <a:gd name="connsiteY3" fmla="*/ 9205 h 33749"/>
                <a:gd name="connsiteX4" fmla="*/ 91278 w 92549"/>
                <a:gd name="connsiteY4" fmla="*/ 21477 h 33749"/>
                <a:gd name="connsiteX5" fmla="*/ 79007 w 92549"/>
                <a:gd name="connsiteY5" fmla="*/ 24545 h 33749"/>
                <a:gd name="connsiteX6" fmla="*/ 11506 w 92549"/>
                <a:gd name="connsiteY6" fmla="*/ 30682 h 33749"/>
                <a:gd name="connsiteX7" fmla="*/ 8439 w 92549"/>
                <a:gd name="connsiteY7" fmla="*/ 33750 h 33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3749">
                  <a:moveTo>
                    <a:pt x="8439" y="33750"/>
                  </a:moveTo>
                  <a:cubicBezTo>
                    <a:pt x="5369" y="33750"/>
                    <a:pt x="5369" y="33750"/>
                    <a:pt x="2302" y="30682"/>
                  </a:cubicBezTo>
                  <a:cubicBezTo>
                    <a:pt x="-767" y="27614"/>
                    <a:pt x="-767" y="21477"/>
                    <a:pt x="2302" y="18409"/>
                  </a:cubicBezTo>
                  <a:cubicBezTo>
                    <a:pt x="29914" y="-9205"/>
                    <a:pt x="69802" y="0"/>
                    <a:pt x="88211" y="9205"/>
                  </a:cubicBezTo>
                  <a:cubicBezTo>
                    <a:pt x="91278" y="12273"/>
                    <a:pt x="94347" y="15341"/>
                    <a:pt x="91278" y="21477"/>
                  </a:cubicBezTo>
                  <a:cubicBezTo>
                    <a:pt x="88211" y="24545"/>
                    <a:pt x="85143" y="27614"/>
                    <a:pt x="79007" y="24545"/>
                  </a:cubicBezTo>
                  <a:cubicBezTo>
                    <a:pt x="75937" y="24545"/>
                    <a:pt x="39121" y="3068"/>
                    <a:pt x="11506" y="30682"/>
                  </a:cubicBezTo>
                  <a:cubicBezTo>
                    <a:pt x="11506" y="33750"/>
                    <a:pt x="8439" y="33750"/>
                    <a:pt x="8439" y="33750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190C1BAA-E3FB-406A-9234-14B6D1ED99FA}"/>
                </a:ext>
              </a:extLst>
            </p:cNvPr>
            <p:cNvSpPr/>
            <p:nvPr/>
          </p:nvSpPr>
          <p:spPr>
            <a:xfrm>
              <a:off x="25530646" y="2164759"/>
              <a:ext cx="92549" cy="35795"/>
            </a:xfrm>
            <a:custGeom>
              <a:avLst/>
              <a:gdLst>
                <a:gd name="connsiteX0" fmla="*/ 87179 w 92549"/>
                <a:gd name="connsiteY0" fmla="*/ 35795 h 35795"/>
                <a:gd name="connsiteX1" fmla="*/ 81044 w 92549"/>
                <a:gd name="connsiteY1" fmla="*/ 32727 h 35795"/>
                <a:gd name="connsiteX2" fmla="*/ 13544 w 92549"/>
                <a:gd name="connsiteY2" fmla="*/ 26591 h 35795"/>
                <a:gd name="connsiteX3" fmla="*/ 1271 w 92549"/>
                <a:gd name="connsiteY3" fmla="*/ 23523 h 35795"/>
                <a:gd name="connsiteX4" fmla="*/ 4340 w 92549"/>
                <a:gd name="connsiteY4" fmla="*/ 11250 h 35795"/>
                <a:gd name="connsiteX5" fmla="*/ 90249 w 92549"/>
                <a:gd name="connsiteY5" fmla="*/ 20455 h 35795"/>
                <a:gd name="connsiteX6" fmla="*/ 90249 w 92549"/>
                <a:gd name="connsiteY6" fmla="*/ 32727 h 35795"/>
                <a:gd name="connsiteX7" fmla="*/ 87179 w 92549"/>
                <a:gd name="connsiteY7" fmla="*/ 35795 h 35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5795">
                  <a:moveTo>
                    <a:pt x="87179" y="35795"/>
                  </a:moveTo>
                  <a:cubicBezTo>
                    <a:pt x="84112" y="35795"/>
                    <a:pt x="84112" y="35795"/>
                    <a:pt x="81044" y="32727"/>
                  </a:cubicBezTo>
                  <a:cubicBezTo>
                    <a:pt x="81044" y="32727"/>
                    <a:pt x="50363" y="2045"/>
                    <a:pt x="13544" y="26591"/>
                  </a:cubicBezTo>
                  <a:cubicBezTo>
                    <a:pt x="10475" y="29659"/>
                    <a:pt x="4340" y="26591"/>
                    <a:pt x="1271" y="23523"/>
                  </a:cubicBezTo>
                  <a:cubicBezTo>
                    <a:pt x="-1797" y="20455"/>
                    <a:pt x="1271" y="14318"/>
                    <a:pt x="4340" y="11250"/>
                  </a:cubicBezTo>
                  <a:cubicBezTo>
                    <a:pt x="41157" y="-13295"/>
                    <a:pt x="77975" y="8182"/>
                    <a:pt x="90249" y="20455"/>
                  </a:cubicBezTo>
                  <a:cubicBezTo>
                    <a:pt x="93316" y="23523"/>
                    <a:pt x="93316" y="29659"/>
                    <a:pt x="90249" y="32727"/>
                  </a:cubicBezTo>
                  <a:cubicBezTo>
                    <a:pt x="90249" y="35795"/>
                    <a:pt x="90249" y="35795"/>
                    <a:pt x="87179" y="35795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F62B511B-5301-4541-AD7B-5E0FFA33843A}"/>
                </a:ext>
              </a:extLst>
            </p:cNvPr>
            <p:cNvSpPr/>
            <p:nvPr/>
          </p:nvSpPr>
          <p:spPr>
            <a:xfrm>
              <a:off x="25400752" y="2485895"/>
              <a:ext cx="233685" cy="61363"/>
            </a:xfrm>
            <a:custGeom>
              <a:avLst/>
              <a:gdLst>
                <a:gd name="connsiteX0" fmla="*/ 82074 w 233685"/>
                <a:gd name="connsiteY0" fmla="*/ 61364 h 61363"/>
                <a:gd name="connsiteX1" fmla="*/ 82074 w 233685"/>
                <a:gd name="connsiteY1" fmla="*/ 61364 h 61363"/>
                <a:gd name="connsiteX2" fmla="*/ 2301 w 233685"/>
                <a:gd name="connsiteY2" fmla="*/ 33750 h 61363"/>
                <a:gd name="connsiteX3" fmla="*/ 2301 w 233685"/>
                <a:gd name="connsiteY3" fmla="*/ 24545 h 61363"/>
                <a:gd name="connsiteX4" fmla="*/ 11507 w 233685"/>
                <a:gd name="connsiteY4" fmla="*/ 24545 h 61363"/>
                <a:gd name="connsiteX5" fmla="*/ 82074 w 233685"/>
                <a:gd name="connsiteY5" fmla="*/ 49091 h 61363"/>
                <a:gd name="connsiteX6" fmla="*/ 82074 w 233685"/>
                <a:gd name="connsiteY6" fmla="*/ 49091 h 61363"/>
                <a:gd name="connsiteX7" fmla="*/ 223210 w 233685"/>
                <a:gd name="connsiteY7" fmla="*/ 0 h 61363"/>
                <a:gd name="connsiteX8" fmla="*/ 232414 w 233685"/>
                <a:gd name="connsiteY8" fmla="*/ 3068 h 61363"/>
                <a:gd name="connsiteX9" fmla="*/ 229347 w 233685"/>
                <a:gd name="connsiteY9" fmla="*/ 12273 h 61363"/>
                <a:gd name="connsiteX10" fmla="*/ 82074 w 233685"/>
                <a:gd name="connsiteY10" fmla="*/ 61364 h 61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685" h="61363">
                  <a:moveTo>
                    <a:pt x="82074" y="61364"/>
                  </a:moveTo>
                  <a:cubicBezTo>
                    <a:pt x="79005" y="61364"/>
                    <a:pt x="79005" y="61364"/>
                    <a:pt x="82074" y="61364"/>
                  </a:cubicBezTo>
                  <a:cubicBezTo>
                    <a:pt x="39119" y="61364"/>
                    <a:pt x="5370" y="33750"/>
                    <a:pt x="2301" y="33750"/>
                  </a:cubicBezTo>
                  <a:cubicBezTo>
                    <a:pt x="-767" y="30682"/>
                    <a:pt x="-767" y="27614"/>
                    <a:pt x="2301" y="24545"/>
                  </a:cubicBezTo>
                  <a:cubicBezTo>
                    <a:pt x="5370" y="21477"/>
                    <a:pt x="8437" y="21477"/>
                    <a:pt x="11507" y="24545"/>
                  </a:cubicBezTo>
                  <a:cubicBezTo>
                    <a:pt x="11507" y="24545"/>
                    <a:pt x="42188" y="49091"/>
                    <a:pt x="82074" y="49091"/>
                  </a:cubicBezTo>
                  <a:cubicBezTo>
                    <a:pt x="82074" y="49091"/>
                    <a:pt x="82074" y="49091"/>
                    <a:pt x="82074" y="49091"/>
                  </a:cubicBezTo>
                  <a:cubicBezTo>
                    <a:pt x="131165" y="49091"/>
                    <a:pt x="220143" y="0"/>
                    <a:pt x="223210" y="0"/>
                  </a:cubicBezTo>
                  <a:cubicBezTo>
                    <a:pt x="226279" y="0"/>
                    <a:pt x="229347" y="0"/>
                    <a:pt x="232414" y="3068"/>
                  </a:cubicBezTo>
                  <a:cubicBezTo>
                    <a:pt x="235484" y="6136"/>
                    <a:pt x="232414" y="9205"/>
                    <a:pt x="229347" y="12273"/>
                  </a:cubicBezTo>
                  <a:cubicBezTo>
                    <a:pt x="223210" y="12273"/>
                    <a:pt x="134234" y="61364"/>
                    <a:pt x="82074" y="61364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F9EA4F4A-DE2D-4190-9BCA-C06434EEDD29}"/>
                </a:ext>
              </a:extLst>
            </p:cNvPr>
            <p:cNvSpPr/>
            <p:nvPr/>
          </p:nvSpPr>
          <p:spPr>
            <a:xfrm>
              <a:off x="25651576" y="1994986"/>
              <a:ext cx="113841" cy="270000"/>
            </a:xfrm>
            <a:custGeom>
              <a:avLst/>
              <a:gdLst>
                <a:gd name="connsiteX0" fmla="*/ 0 w 113841"/>
                <a:gd name="connsiteY0" fmla="*/ 128864 h 270000"/>
                <a:gd name="connsiteX1" fmla="*/ 49090 w 113841"/>
                <a:gd name="connsiteY1" fmla="*/ 270000 h 270000"/>
                <a:gd name="connsiteX2" fmla="*/ 107386 w 113841"/>
                <a:gd name="connsiteY2" fmla="*/ 168750 h 270000"/>
                <a:gd name="connsiteX3" fmla="*/ 49090 w 113841"/>
                <a:gd name="connsiteY3" fmla="*/ 0 h 270000"/>
                <a:gd name="connsiteX4" fmla="*/ 0 w 113841"/>
                <a:gd name="connsiteY4" fmla="*/ 128864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841" h="270000">
                  <a:moveTo>
                    <a:pt x="0" y="128864"/>
                  </a:moveTo>
                  <a:cubicBezTo>
                    <a:pt x="0" y="128864"/>
                    <a:pt x="55227" y="239318"/>
                    <a:pt x="49090" y="270000"/>
                  </a:cubicBezTo>
                  <a:cubicBezTo>
                    <a:pt x="49090" y="270000"/>
                    <a:pt x="92045" y="223977"/>
                    <a:pt x="107386" y="168750"/>
                  </a:cubicBezTo>
                  <a:cubicBezTo>
                    <a:pt x="122727" y="110455"/>
                    <a:pt x="113523" y="15341"/>
                    <a:pt x="49090" y="0"/>
                  </a:cubicBezTo>
                  <a:cubicBezTo>
                    <a:pt x="49090" y="0"/>
                    <a:pt x="39886" y="107386"/>
                    <a:pt x="0" y="128864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4B43CD7A-4552-480B-B875-4606FC482D97}"/>
                </a:ext>
              </a:extLst>
            </p:cNvPr>
            <p:cNvSpPr/>
            <p:nvPr/>
          </p:nvSpPr>
          <p:spPr>
            <a:xfrm>
              <a:off x="25206690" y="1873607"/>
              <a:ext cx="503987" cy="259478"/>
            </a:xfrm>
            <a:custGeom>
              <a:avLst/>
              <a:gdLst>
                <a:gd name="connsiteX0" fmla="*/ 444886 w 503987"/>
                <a:gd name="connsiteY0" fmla="*/ 250243 h 259478"/>
                <a:gd name="connsiteX1" fmla="*/ 322159 w 503987"/>
                <a:gd name="connsiteY1" fmla="*/ 210356 h 259478"/>
                <a:gd name="connsiteX2" fmla="*/ 0 w 503987"/>
                <a:gd name="connsiteY2" fmla="*/ 198083 h 259478"/>
                <a:gd name="connsiteX3" fmla="*/ 95113 w 503987"/>
                <a:gd name="connsiteY3" fmla="*/ 136720 h 259478"/>
                <a:gd name="connsiteX4" fmla="*/ 374319 w 503987"/>
                <a:gd name="connsiteY4" fmla="*/ 10924 h 259478"/>
                <a:gd name="connsiteX5" fmla="*/ 493977 w 503987"/>
                <a:gd name="connsiteY5" fmla="*/ 118311 h 259478"/>
                <a:gd name="connsiteX6" fmla="*/ 444886 w 503987"/>
                <a:gd name="connsiteY6" fmla="*/ 250243 h 259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3987" h="259478">
                  <a:moveTo>
                    <a:pt x="444886" y="250243"/>
                  </a:moveTo>
                  <a:cubicBezTo>
                    <a:pt x="444886" y="250243"/>
                    <a:pt x="349772" y="210356"/>
                    <a:pt x="322159" y="210356"/>
                  </a:cubicBezTo>
                  <a:cubicBezTo>
                    <a:pt x="220909" y="213424"/>
                    <a:pt x="92045" y="326947"/>
                    <a:pt x="0" y="198083"/>
                  </a:cubicBezTo>
                  <a:cubicBezTo>
                    <a:pt x="52159" y="210356"/>
                    <a:pt x="76705" y="161265"/>
                    <a:pt x="95113" y="136720"/>
                  </a:cubicBezTo>
                  <a:cubicBezTo>
                    <a:pt x="138068" y="75356"/>
                    <a:pt x="208636" y="-35098"/>
                    <a:pt x="374319" y="10924"/>
                  </a:cubicBezTo>
                  <a:cubicBezTo>
                    <a:pt x="454091" y="32402"/>
                    <a:pt x="487840" y="81493"/>
                    <a:pt x="493977" y="118311"/>
                  </a:cubicBezTo>
                  <a:cubicBezTo>
                    <a:pt x="493977" y="121379"/>
                    <a:pt x="536932" y="237970"/>
                    <a:pt x="444886" y="250243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6866FED8-2FE3-4262-9C46-4E30E737B897}"/>
                </a:ext>
              </a:extLst>
            </p:cNvPr>
            <p:cNvSpPr/>
            <p:nvPr/>
          </p:nvSpPr>
          <p:spPr>
            <a:xfrm>
              <a:off x="25687030" y="2231044"/>
              <a:ext cx="79126" cy="111205"/>
            </a:xfrm>
            <a:custGeom>
              <a:avLst/>
              <a:gdLst>
                <a:gd name="connsiteX0" fmla="*/ 13636 w 79126"/>
                <a:gd name="connsiteY0" fmla="*/ 15533 h 111205"/>
                <a:gd name="connsiteX1" fmla="*/ 71933 w 79126"/>
                <a:gd name="connsiteY1" fmla="*/ 6328 h 111205"/>
                <a:gd name="connsiteX2" fmla="*/ 13636 w 79126"/>
                <a:gd name="connsiteY2" fmla="*/ 107578 h 111205"/>
                <a:gd name="connsiteX3" fmla="*/ 13636 w 79126"/>
                <a:gd name="connsiteY3" fmla="*/ 15533 h 11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26" h="111205">
                  <a:moveTo>
                    <a:pt x="13636" y="15533"/>
                  </a:moveTo>
                  <a:cubicBezTo>
                    <a:pt x="13636" y="15533"/>
                    <a:pt x="47387" y="-12081"/>
                    <a:pt x="71933" y="6328"/>
                  </a:cubicBezTo>
                  <a:cubicBezTo>
                    <a:pt x="96478" y="24737"/>
                    <a:pt x="53522" y="132124"/>
                    <a:pt x="13636" y="107578"/>
                  </a:cubicBezTo>
                  <a:cubicBezTo>
                    <a:pt x="-17045" y="89169"/>
                    <a:pt x="13636" y="15533"/>
                    <a:pt x="13636" y="15533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38CA7436-3A4C-467E-9741-6DD64E97509D}"/>
                </a:ext>
              </a:extLst>
            </p:cNvPr>
            <p:cNvSpPr/>
            <p:nvPr/>
          </p:nvSpPr>
          <p:spPr>
            <a:xfrm>
              <a:off x="25642372" y="2010327"/>
              <a:ext cx="74060" cy="242386"/>
            </a:xfrm>
            <a:custGeom>
              <a:avLst/>
              <a:gdLst>
                <a:gd name="connsiteX0" fmla="*/ 58294 w 74060"/>
                <a:gd name="connsiteY0" fmla="*/ 242386 h 242386"/>
                <a:gd name="connsiteX1" fmla="*/ 52158 w 74060"/>
                <a:gd name="connsiteY1" fmla="*/ 236250 h 242386"/>
                <a:gd name="connsiteX2" fmla="*/ 6135 w 74060"/>
                <a:gd name="connsiteY2" fmla="*/ 113523 h 242386"/>
                <a:gd name="connsiteX3" fmla="*/ 0 w 74060"/>
                <a:gd name="connsiteY3" fmla="*/ 107386 h 242386"/>
                <a:gd name="connsiteX4" fmla="*/ 9204 w 74060"/>
                <a:gd name="connsiteY4" fmla="*/ 104318 h 242386"/>
                <a:gd name="connsiteX5" fmla="*/ 58294 w 74060"/>
                <a:gd name="connsiteY5" fmla="*/ 64432 h 242386"/>
                <a:gd name="connsiteX6" fmla="*/ 58294 w 74060"/>
                <a:gd name="connsiteY6" fmla="*/ 6136 h 242386"/>
                <a:gd name="connsiteX7" fmla="*/ 61364 w 74060"/>
                <a:gd name="connsiteY7" fmla="*/ 0 h 242386"/>
                <a:gd name="connsiteX8" fmla="*/ 67499 w 74060"/>
                <a:gd name="connsiteY8" fmla="*/ 3068 h 242386"/>
                <a:gd name="connsiteX9" fmla="*/ 64431 w 74060"/>
                <a:gd name="connsiteY9" fmla="*/ 70568 h 242386"/>
                <a:gd name="connsiteX10" fmla="*/ 15341 w 74060"/>
                <a:gd name="connsiteY10" fmla="*/ 113523 h 242386"/>
                <a:gd name="connsiteX11" fmla="*/ 61364 w 74060"/>
                <a:gd name="connsiteY11" fmla="*/ 236250 h 242386"/>
                <a:gd name="connsiteX12" fmla="*/ 58294 w 74060"/>
                <a:gd name="connsiteY12" fmla="*/ 242386 h 242386"/>
                <a:gd name="connsiteX13" fmla="*/ 58294 w 74060"/>
                <a:gd name="connsiteY13" fmla="*/ 242386 h 242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060" h="242386">
                  <a:moveTo>
                    <a:pt x="58294" y="242386"/>
                  </a:moveTo>
                  <a:cubicBezTo>
                    <a:pt x="55227" y="242386"/>
                    <a:pt x="52158" y="239318"/>
                    <a:pt x="52158" y="236250"/>
                  </a:cubicBezTo>
                  <a:cubicBezTo>
                    <a:pt x="46023" y="174886"/>
                    <a:pt x="6135" y="113523"/>
                    <a:pt x="6135" y="113523"/>
                  </a:cubicBezTo>
                  <a:lnTo>
                    <a:pt x="0" y="107386"/>
                  </a:lnTo>
                  <a:lnTo>
                    <a:pt x="9204" y="104318"/>
                  </a:lnTo>
                  <a:cubicBezTo>
                    <a:pt x="9204" y="104318"/>
                    <a:pt x="42953" y="92045"/>
                    <a:pt x="58294" y="64432"/>
                  </a:cubicBezTo>
                  <a:cubicBezTo>
                    <a:pt x="67499" y="49091"/>
                    <a:pt x="67499" y="27614"/>
                    <a:pt x="58294" y="6136"/>
                  </a:cubicBezTo>
                  <a:cubicBezTo>
                    <a:pt x="58294" y="3068"/>
                    <a:pt x="58294" y="0"/>
                    <a:pt x="61364" y="0"/>
                  </a:cubicBezTo>
                  <a:cubicBezTo>
                    <a:pt x="64431" y="0"/>
                    <a:pt x="67499" y="0"/>
                    <a:pt x="67499" y="3068"/>
                  </a:cubicBezTo>
                  <a:cubicBezTo>
                    <a:pt x="76705" y="27614"/>
                    <a:pt x="76705" y="52159"/>
                    <a:pt x="64431" y="70568"/>
                  </a:cubicBezTo>
                  <a:cubicBezTo>
                    <a:pt x="52158" y="95114"/>
                    <a:pt x="27613" y="107386"/>
                    <a:pt x="15341" y="113523"/>
                  </a:cubicBezTo>
                  <a:cubicBezTo>
                    <a:pt x="27613" y="131932"/>
                    <a:pt x="55227" y="181023"/>
                    <a:pt x="61364" y="236250"/>
                  </a:cubicBezTo>
                  <a:cubicBezTo>
                    <a:pt x="64431" y="239318"/>
                    <a:pt x="61364" y="242386"/>
                    <a:pt x="58294" y="242386"/>
                  </a:cubicBezTo>
                  <a:cubicBezTo>
                    <a:pt x="58294" y="242386"/>
                    <a:pt x="58294" y="242386"/>
                    <a:pt x="58294" y="242386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C07E78C6-C94E-42CB-8882-8A51D9B19054}"/>
                </a:ext>
              </a:extLst>
            </p:cNvPr>
            <p:cNvSpPr/>
            <p:nvPr/>
          </p:nvSpPr>
          <p:spPr>
            <a:xfrm>
              <a:off x="25337258" y="2053808"/>
              <a:ext cx="194658" cy="36291"/>
            </a:xfrm>
            <a:custGeom>
              <a:avLst/>
              <a:gdLst>
                <a:gd name="connsiteX0" fmla="*/ 191591 w 194658"/>
                <a:gd name="connsiteY0" fmla="*/ 36292 h 36291"/>
                <a:gd name="connsiteX1" fmla="*/ 191591 w 194658"/>
                <a:gd name="connsiteY1" fmla="*/ 36292 h 36291"/>
                <a:gd name="connsiteX2" fmla="*/ 10567 w 194658"/>
                <a:gd name="connsiteY2" fmla="*/ 30156 h 36291"/>
                <a:gd name="connsiteX3" fmla="*/ 1363 w 194658"/>
                <a:gd name="connsiteY3" fmla="*/ 30156 h 36291"/>
                <a:gd name="connsiteX4" fmla="*/ 1363 w 194658"/>
                <a:gd name="connsiteY4" fmla="*/ 20951 h 36291"/>
                <a:gd name="connsiteX5" fmla="*/ 191591 w 194658"/>
                <a:gd name="connsiteY5" fmla="*/ 27087 h 36291"/>
                <a:gd name="connsiteX6" fmla="*/ 194658 w 194658"/>
                <a:gd name="connsiteY6" fmla="*/ 36292 h 36291"/>
                <a:gd name="connsiteX7" fmla="*/ 191591 w 194658"/>
                <a:gd name="connsiteY7" fmla="*/ 36292 h 36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4658" h="36291">
                  <a:moveTo>
                    <a:pt x="191591" y="36292"/>
                  </a:moveTo>
                  <a:cubicBezTo>
                    <a:pt x="191591" y="36292"/>
                    <a:pt x="188522" y="36292"/>
                    <a:pt x="191591" y="36292"/>
                  </a:cubicBezTo>
                  <a:cubicBezTo>
                    <a:pt x="188522" y="36292"/>
                    <a:pt x="75000" y="-15867"/>
                    <a:pt x="10567" y="30156"/>
                  </a:cubicBezTo>
                  <a:cubicBezTo>
                    <a:pt x="7500" y="33224"/>
                    <a:pt x="4431" y="30156"/>
                    <a:pt x="1363" y="30156"/>
                  </a:cubicBezTo>
                  <a:cubicBezTo>
                    <a:pt x="-1704" y="27087"/>
                    <a:pt x="1363" y="24019"/>
                    <a:pt x="1363" y="20951"/>
                  </a:cubicBezTo>
                  <a:cubicBezTo>
                    <a:pt x="75000" y="-28140"/>
                    <a:pt x="188522" y="24019"/>
                    <a:pt x="191591" y="27087"/>
                  </a:cubicBezTo>
                  <a:cubicBezTo>
                    <a:pt x="194658" y="27087"/>
                    <a:pt x="194658" y="33224"/>
                    <a:pt x="194658" y="36292"/>
                  </a:cubicBezTo>
                  <a:cubicBezTo>
                    <a:pt x="194658" y="36292"/>
                    <a:pt x="194658" y="36292"/>
                    <a:pt x="191591" y="36292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E4716F27-6EAD-4CBA-9BF0-28E90D3DDF47}"/>
                </a:ext>
              </a:extLst>
            </p:cNvPr>
            <p:cNvSpPr/>
            <p:nvPr/>
          </p:nvSpPr>
          <p:spPr>
            <a:xfrm>
              <a:off x="24972685" y="2602486"/>
              <a:ext cx="1077755" cy="1576860"/>
            </a:xfrm>
            <a:custGeom>
              <a:avLst/>
              <a:gdLst>
                <a:gd name="connsiteX0" fmla="*/ 678892 w 1077755"/>
                <a:gd name="connsiteY0" fmla="*/ 0 h 1576860"/>
                <a:gd name="connsiteX1" fmla="*/ 387415 w 1077755"/>
                <a:gd name="connsiteY1" fmla="*/ 0 h 1576860"/>
                <a:gd name="connsiteX2" fmla="*/ 86733 w 1077755"/>
                <a:gd name="connsiteY2" fmla="*/ 131932 h 1576860"/>
                <a:gd name="connsiteX3" fmla="*/ 822 w 1077755"/>
                <a:gd name="connsiteY3" fmla="*/ 1546364 h 1576860"/>
                <a:gd name="connsiteX4" fmla="*/ 1077755 w 1077755"/>
                <a:gd name="connsiteY4" fmla="*/ 1521818 h 1576860"/>
                <a:gd name="connsiteX5" fmla="*/ 961165 w 1077755"/>
                <a:gd name="connsiteY5" fmla="*/ 104318 h 1576860"/>
                <a:gd name="connsiteX6" fmla="*/ 678892 w 1077755"/>
                <a:gd name="connsiteY6" fmla="*/ 0 h 1576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755" h="1576860">
                  <a:moveTo>
                    <a:pt x="678892" y="0"/>
                  </a:moveTo>
                  <a:cubicBezTo>
                    <a:pt x="678892" y="0"/>
                    <a:pt x="504005" y="55227"/>
                    <a:pt x="387415" y="0"/>
                  </a:cubicBezTo>
                  <a:cubicBezTo>
                    <a:pt x="387415" y="0"/>
                    <a:pt x="111278" y="98182"/>
                    <a:pt x="86733" y="131932"/>
                  </a:cubicBezTo>
                  <a:cubicBezTo>
                    <a:pt x="62186" y="162614"/>
                    <a:pt x="-8382" y="1478864"/>
                    <a:pt x="822" y="1546364"/>
                  </a:cubicBezTo>
                  <a:cubicBezTo>
                    <a:pt x="822" y="1546364"/>
                    <a:pt x="494801" y="1629205"/>
                    <a:pt x="1077755" y="1521818"/>
                  </a:cubicBezTo>
                  <a:cubicBezTo>
                    <a:pt x="1077755" y="1162841"/>
                    <a:pt x="1004118" y="135000"/>
                    <a:pt x="961165" y="104318"/>
                  </a:cubicBezTo>
                  <a:cubicBezTo>
                    <a:pt x="918210" y="70568"/>
                    <a:pt x="678892" y="0"/>
                    <a:pt x="678892" y="0"/>
                  </a:cubicBezTo>
                  <a:close/>
                </a:path>
              </a:pathLst>
            </a:custGeom>
            <a:solidFill>
              <a:srgbClr val="7F95BC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BB3A5FD4-9637-466C-840D-34F59F9673F7}"/>
                </a:ext>
              </a:extLst>
            </p:cNvPr>
            <p:cNvSpPr/>
            <p:nvPr/>
          </p:nvSpPr>
          <p:spPr>
            <a:xfrm>
              <a:off x="24764871" y="2692957"/>
              <a:ext cx="453468" cy="615210"/>
            </a:xfrm>
            <a:custGeom>
              <a:avLst/>
              <a:gdLst>
                <a:gd name="connsiteX0" fmla="*/ 389659 w 453468"/>
                <a:gd name="connsiteY0" fmla="*/ 615211 h 615210"/>
                <a:gd name="connsiteX1" fmla="*/ 401933 w 453468"/>
                <a:gd name="connsiteY1" fmla="*/ 10779 h 615210"/>
                <a:gd name="connsiteX2" fmla="*/ 0 w 453468"/>
                <a:gd name="connsiteY2" fmla="*/ 446461 h 615210"/>
                <a:gd name="connsiteX3" fmla="*/ 389659 w 453468"/>
                <a:gd name="connsiteY3" fmla="*/ 615211 h 615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468" h="615210">
                  <a:moveTo>
                    <a:pt x="389659" y="615211"/>
                  </a:moveTo>
                  <a:cubicBezTo>
                    <a:pt x="389659" y="615211"/>
                    <a:pt x="524660" y="90552"/>
                    <a:pt x="401933" y="10779"/>
                  </a:cubicBezTo>
                  <a:cubicBezTo>
                    <a:pt x="257728" y="-81267"/>
                    <a:pt x="0" y="446461"/>
                    <a:pt x="0" y="446461"/>
                  </a:cubicBezTo>
                  <a:cubicBezTo>
                    <a:pt x="0" y="446461"/>
                    <a:pt x="174887" y="593733"/>
                    <a:pt x="389659" y="615211"/>
                  </a:cubicBezTo>
                  <a:close/>
                </a:path>
              </a:pathLst>
            </a:custGeom>
            <a:solidFill>
              <a:srgbClr val="7F95BC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5A3CD3B0-7ACE-44B5-9DE2-56383BA246CA}"/>
                </a:ext>
              </a:extLst>
            </p:cNvPr>
            <p:cNvSpPr/>
            <p:nvPr/>
          </p:nvSpPr>
          <p:spPr>
            <a:xfrm>
              <a:off x="25010326" y="2727010"/>
              <a:ext cx="53430" cy="556611"/>
            </a:xfrm>
            <a:custGeom>
              <a:avLst/>
              <a:gdLst>
                <a:gd name="connsiteX0" fmla="*/ 6137 w 53430"/>
                <a:gd name="connsiteY0" fmla="*/ 556612 h 556611"/>
                <a:gd name="connsiteX1" fmla="*/ 6137 w 53430"/>
                <a:gd name="connsiteY1" fmla="*/ 556612 h 556611"/>
                <a:gd name="connsiteX2" fmla="*/ 0 w 53430"/>
                <a:gd name="connsiteY2" fmla="*/ 550475 h 556611"/>
                <a:gd name="connsiteX3" fmla="*/ 42955 w 53430"/>
                <a:gd name="connsiteY3" fmla="*/ 4339 h 556611"/>
                <a:gd name="connsiteX4" fmla="*/ 49092 w 53430"/>
                <a:gd name="connsiteY4" fmla="*/ 1271 h 556611"/>
                <a:gd name="connsiteX5" fmla="*/ 52159 w 53430"/>
                <a:gd name="connsiteY5" fmla="*/ 7407 h 556611"/>
                <a:gd name="connsiteX6" fmla="*/ 9204 w 53430"/>
                <a:gd name="connsiteY6" fmla="*/ 550475 h 556611"/>
                <a:gd name="connsiteX7" fmla="*/ 6137 w 53430"/>
                <a:gd name="connsiteY7" fmla="*/ 556612 h 55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430" h="556611">
                  <a:moveTo>
                    <a:pt x="6137" y="556612"/>
                  </a:moveTo>
                  <a:cubicBezTo>
                    <a:pt x="6137" y="556612"/>
                    <a:pt x="6137" y="556612"/>
                    <a:pt x="6137" y="556612"/>
                  </a:cubicBezTo>
                  <a:cubicBezTo>
                    <a:pt x="3069" y="556612"/>
                    <a:pt x="0" y="553544"/>
                    <a:pt x="0" y="550475"/>
                  </a:cubicBezTo>
                  <a:cubicBezTo>
                    <a:pt x="0" y="528998"/>
                    <a:pt x="36819" y="44225"/>
                    <a:pt x="42955" y="4339"/>
                  </a:cubicBezTo>
                  <a:cubicBezTo>
                    <a:pt x="42955" y="1271"/>
                    <a:pt x="46023" y="-1797"/>
                    <a:pt x="49092" y="1271"/>
                  </a:cubicBezTo>
                  <a:cubicBezTo>
                    <a:pt x="52159" y="1271"/>
                    <a:pt x="55227" y="4339"/>
                    <a:pt x="52159" y="7407"/>
                  </a:cubicBezTo>
                  <a:cubicBezTo>
                    <a:pt x="42955" y="47294"/>
                    <a:pt x="9204" y="547407"/>
                    <a:pt x="9204" y="550475"/>
                  </a:cubicBezTo>
                  <a:cubicBezTo>
                    <a:pt x="12273" y="553544"/>
                    <a:pt x="9204" y="556612"/>
                    <a:pt x="6137" y="556612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F52D206C-FE1A-4C42-91B7-8EE828A6DE41}"/>
                </a:ext>
              </a:extLst>
            </p:cNvPr>
            <p:cNvSpPr/>
            <p:nvPr/>
          </p:nvSpPr>
          <p:spPr>
            <a:xfrm>
              <a:off x="25915439" y="3167031"/>
              <a:ext cx="310512" cy="713981"/>
            </a:xfrm>
            <a:custGeom>
              <a:avLst/>
              <a:gdLst>
                <a:gd name="connsiteX0" fmla="*/ 0 w 310512"/>
                <a:gd name="connsiteY0" fmla="*/ 27614 h 713981"/>
                <a:gd name="connsiteX1" fmla="*/ 107386 w 310512"/>
                <a:gd name="connsiteY1" fmla="*/ 595227 h 713981"/>
                <a:gd name="connsiteX2" fmla="*/ 263865 w 310512"/>
                <a:gd name="connsiteY2" fmla="*/ 693409 h 713981"/>
                <a:gd name="connsiteX3" fmla="*/ 270000 w 310512"/>
                <a:gd name="connsiteY3" fmla="*/ 0 h 713981"/>
                <a:gd name="connsiteX4" fmla="*/ 0 w 310512"/>
                <a:gd name="connsiteY4" fmla="*/ 27614 h 713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512" h="713981">
                  <a:moveTo>
                    <a:pt x="0" y="27614"/>
                  </a:moveTo>
                  <a:lnTo>
                    <a:pt x="107386" y="595227"/>
                  </a:lnTo>
                  <a:cubicBezTo>
                    <a:pt x="107386" y="595227"/>
                    <a:pt x="162613" y="773182"/>
                    <a:pt x="263865" y="693409"/>
                  </a:cubicBezTo>
                  <a:cubicBezTo>
                    <a:pt x="365114" y="613636"/>
                    <a:pt x="270000" y="0"/>
                    <a:pt x="270000" y="0"/>
                  </a:cubicBezTo>
                  <a:lnTo>
                    <a:pt x="0" y="27614"/>
                  </a:ln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74F890F4-3DD3-4B41-9830-39CECC079E11}"/>
                </a:ext>
              </a:extLst>
            </p:cNvPr>
            <p:cNvSpPr/>
            <p:nvPr/>
          </p:nvSpPr>
          <p:spPr>
            <a:xfrm>
              <a:off x="25817696" y="2706804"/>
              <a:ext cx="432175" cy="587493"/>
            </a:xfrm>
            <a:custGeom>
              <a:avLst/>
              <a:gdLst>
                <a:gd name="connsiteX0" fmla="*/ 432175 w 432175"/>
                <a:gd name="connsiteY0" fmla="*/ 515455 h 587493"/>
                <a:gd name="connsiteX1" fmla="*/ 119221 w 432175"/>
                <a:gd name="connsiteY1" fmla="*/ 0 h 587493"/>
                <a:gd name="connsiteX2" fmla="*/ 11834 w 432175"/>
                <a:gd name="connsiteY2" fmla="*/ 582955 h 587493"/>
                <a:gd name="connsiteX3" fmla="*/ 432175 w 432175"/>
                <a:gd name="connsiteY3" fmla="*/ 515455 h 587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175" h="587493">
                  <a:moveTo>
                    <a:pt x="432175" y="515455"/>
                  </a:moveTo>
                  <a:cubicBezTo>
                    <a:pt x="432175" y="515455"/>
                    <a:pt x="266493" y="0"/>
                    <a:pt x="119221" y="0"/>
                  </a:cubicBezTo>
                  <a:cubicBezTo>
                    <a:pt x="-52597" y="0"/>
                    <a:pt x="11834" y="582955"/>
                    <a:pt x="11834" y="582955"/>
                  </a:cubicBezTo>
                  <a:cubicBezTo>
                    <a:pt x="11834" y="582955"/>
                    <a:pt x="238880" y="613636"/>
                    <a:pt x="432175" y="515455"/>
                  </a:cubicBezTo>
                  <a:close/>
                </a:path>
              </a:pathLst>
            </a:custGeom>
            <a:solidFill>
              <a:srgbClr val="7F95BC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2EE26033-1F9A-4149-B618-1D1B70C5E3A2}"/>
                </a:ext>
              </a:extLst>
            </p:cNvPr>
            <p:cNvSpPr/>
            <p:nvPr/>
          </p:nvSpPr>
          <p:spPr>
            <a:xfrm>
              <a:off x="25403820" y="2431435"/>
              <a:ext cx="121959" cy="26846"/>
            </a:xfrm>
            <a:custGeom>
              <a:avLst/>
              <a:gdLst>
                <a:gd name="connsiteX0" fmla="*/ 51392 w 121959"/>
                <a:gd name="connsiteY0" fmla="*/ 26847 h 26846"/>
                <a:gd name="connsiteX1" fmla="*/ 2302 w 121959"/>
                <a:gd name="connsiteY1" fmla="*/ 11506 h 26846"/>
                <a:gd name="connsiteX2" fmla="*/ 2302 w 121959"/>
                <a:gd name="connsiteY2" fmla="*/ 2301 h 26846"/>
                <a:gd name="connsiteX3" fmla="*/ 11506 w 121959"/>
                <a:gd name="connsiteY3" fmla="*/ 2301 h 26846"/>
                <a:gd name="connsiteX4" fmla="*/ 112756 w 121959"/>
                <a:gd name="connsiteY4" fmla="*/ 2301 h 26846"/>
                <a:gd name="connsiteX5" fmla="*/ 121960 w 121959"/>
                <a:gd name="connsiteY5" fmla="*/ 5369 h 26846"/>
                <a:gd name="connsiteX6" fmla="*/ 118893 w 121959"/>
                <a:gd name="connsiteY6" fmla="*/ 14574 h 26846"/>
                <a:gd name="connsiteX7" fmla="*/ 51392 w 121959"/>
                <a:gd name="connsiteY7" fmla="*/ 26847 h 26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59" h="26846">
                  <a:moveTo>
                    <a:pt x="51392" y="26847"/>
                  </a:moveTo>
                  <a:cubicBezTo>
                    <a:pt x="32984" y="26847"/>
                    <a:pt x="17643" y="23778"/>
                    <a:pt x="2302" y="11506"/>
                  </a:cubicBezTo>
                  <a:cubicBezTo>
                    <a:pt x="-767" y="8437"/>
                    <a:pt x="-767" y="5369"/>
                    <a:pt x="2302" y="2301"/>
                  </a:cubicBezTo>
                  <a:cubicBezTo>
                    <a:pt x="5369" y="-767"/>
                    <a:pt x="8439" y="-767"/>
                    <a:pt x="11506" y="2301"/>
                  </a:cubicBezTo>
                  <a:cubicBezTo>
                    <a:pt x="51392" y="32983"/>
                    <a:pt x="112756" y="2301"/>
                    <a:pt x="112756" y="2301"/>
                  </a:cubicBezTo>
                  <a:cubicBezTo>
                    <a:pt x="115825" y="2301"/>
                    <a:pt x="118893" y="2301"/>
                    <a:pt x="121960" y="5369"/>
                  </a:cubicBezTo>
                  <a:cubicBezTo>
                    <a:pt x="121960" y="8437"/>
                    <a:pt x="121960" y="11506"/>
                    <a:pt x="118893" y="14574"/>
                  </a:cubicBezTo>
                  <a:cubicBezTo>
                    <a:pt x="112756" y="11506"/>
                    <a:pt x="82074" y="26847"/>
                    <a:pt x="51392" y="26847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7EEC8ABB-47C4-43FE-B76E-4B24737AB203}"/>
                </a:ext>
              </a:extLst>
            </p:cNvPr>
            <p:cNvSpPr/>
            <p:nvPr/>
          </p:nvSpPr>
          <p:spPr>
            <a:xfrm>
              <a:off x="25353132" y="2589332"/>
              <a:ext cx="302341" cy="54573"/>
            </a:xfrm>
            <a:custGeom>
              <a:avLst/>
              <a:gdLst>
                <a:gd name="connsiteX0" fmla="*/ 283103 w 302341"/>
                <a:gd name="connsiteY0" fmla="*/ 881 h 54573"/>
                <a:gd name="connsiteX1" fmla="*/ 19238 w 302341"/>
                <a:gd name="connsiteY1" fmla="*/ 881 h 54573"/>
                <a:gd name="connsiteX2" fmla="*/ 10034 w 302341"/>
                <a:gd name="connsiteY2" fmla="*/ 31563 h 54573"/>
                <a:gd name="connsiteX3" fmla="*/ 292307 w 302341"/>
                <a:gd name="connsiteY3" fmla="*/ 31563 h 54573"/>
                <a:gd name="connsiteX4" fmla="*/ 283103 w 302341"/>
                <a:gd name="connsiteY4" fmla="*/ 881 h 54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341" h="54573">
                  <a:moveTo>
                    <a:pt x="283103" y="881"/>
                  </a:moveTo>
                  <a:cubicBezTo>
                    <a:pt x="194125" y="28494"/>
                    <a:pt x="105149" y="28494"/>
                    <a:pt x="19238" y="881"/>
                  </a:cubicBezTo>
                  <a:cubicBezTo>
                    <a:pt x="830" y="-5256"/>
                    <a:pt x="-8374" y="25426"/>
                    <a:pt x="10034" y="31563"/>
                  </a:cubicBezTo>
                  <a:cubicBezTo>
                    <a:pt x="102080" y="62244"/>
                    <a:pt x="197194" y="62244"/>
                    <a:pt x="292307" y="31563"/>
                  </a:cubicBezTo>
                  <a:cubicBezTo>
                    <a:pt x="310716" y="22358"/>
                    <a:pt x="301511" y="-5256"/>
                    <a:pt x="283103" y="881"/>
                  </a:cubicBezTo>
                  <a:close/>
                </a:path>
              </a:pathLst>
            </a:custGeom>
            <a:solidFill>
              <a:srgbClr val="F6EBE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3ABFD1F5-CB77-401C-9177-921B9A036178}"/>
                </a:ext>
              </a:extLst>
            </p:cNvPr>
            <p:cNvSpPr/>
            <p:nvPr/>
          </p:nvSpPr>
          <p:spPr>
            <a:xfrm>
              <a:off x="24745866" y="3121867"/>
              <a:ext cx="286767" cy="159570"/>
            </a:xfrm>
            <a:custGeom>
              <a:avLst/>
              <a:gdLst>
                <a:gd name="connsiteX0" fmla="*/ 276733 w 286767"/>
                <a:gd name="connsiteY0" fmla="*/ 131073 h 159570"/>
                <a:gd name="connsiteX1" fmla="*/ 25142 w 286767"/>
                <a:gd name="connsiteY1" fmla="*/ 5278 h 159570"/>
                <a:gd name="connsiteX2" fmla="*/ 3664 w 286767"/>
                <a:gd name="connsiteY2" fmla="*/ 26755 h 159570"/>
                <a:gd name="connsiteX3" fmla="*/ 267529 w 286767"/>
                <a:gd name="connsiteY3" fmla="*/ 158687 h 159570"/>
                <a:gd name="connsiteX4" fmla="*/ 276733 w 286767"/>
                <a:gd name="connsiteY4" fmla="*/ 131073 h 15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6767" h="159570">
                  <a:moveTo>
                    <a:pt x="276733" y="131073"/>
                  </a:moveTo>
                  <a:cubicBezTo>
                    <a:pt x="184688" y="103459"/>
                    <a:pt x="92642" y="75846"/>
                    <a:pt x="25142" y="5278"/>
                  </a:cubicBezTo>
                  <a:cubicBezTo>
                    <a:pt x="12868" y="-10063"/>
                    <a:pt x="-8608" y="11414"/>
                    <a:pt x="3664" y="26755"/>
                  </a:cubicBezTo>
                  <a:cubicBezTo>
                    <a:pt x="74232" y="100391"/>
                    <a:pt x="172414" y="131073"/>
                    <a:pt x="267529" y="158687"/>
                  </a:cubicBezTo>
                  <a:cubicBezTo>
                    <a:pt x="285937" y="164823"/>
                    <a:pt x="295141" y="137209"/>
                    <a:pt x="276733" y="131073"/>
                  </a:cubicBezTo>
                  <a:close/>
                </a:path>
              </a:pathLst>
            </a:custGeom>
            <a:solidFill>
              <a:srgbClr val="F6EBE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C70E2C25-B3F0-46C9-BB18-CCC750DC2B2B}"/>
                </a:ext>
              </a:extLst>
            </p:cNvPr>
            <p:cNvSpPr/>
            <p:nvPr/>
          </p:nvSpPr>
          <p:spPr>
            <a:xfrm>
              <a:off x="25812656" y="3209105"/>
              <a:ext cx="446572" cy="92926"/>
            </a:xfrm>
            <a:custGeom>
              <a:avLst/>
              <a:gdLst>
                <a:gd name="connsiteX0" fmla="*/ 428012 w 446572"/>
                <a:gd name="connsiteY0" fmla="*/ 881 h 92926"/>
                <a:gd name="connsiteX1" fmla="*/ 13808 w 446572"/>
                <a:gd name="connsiteY1" fmla="*/ 62244 h 92926"/>
                <a:gd name="connsiteX2" fmla="*/ 13808 w 446572"/>
                <a:gd name="connsiteY2" fmla="*/ 92926 h 92926"/>
                <a:gd name="connsiteX3" fmla="*/ 434147 w 446572"/>
                <a:gd name="connsiteY3" fmla="*/ 31563 h 92926"/>
                <a:gd name="connsiteX4" fmla="*/ 428012 w 446572"/>
                <a:gd name="connsiteY4" fmla="*/ 881 h 92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6572" h="92926">
                  <a:moveTo>
                    <a:pt x="428012" y="881"/>
                  </a:moveTo>
                  <a:cubicBezTo>
                    <a:pt x="293011" y="43835"/>
                    <a:pt x="154943" y="62244"/>
                    <a:pt x="13808" y="62244"/>
                  </a:cubicBezTo>
                  <a:cubicBezTo>
                    <a:pt x="-4603" y="62244"/>
                    <a:pt x="-4603" y="92926"/>
                    <a:pt x="13808" y="92926"/>
                  </a:cubicBezTo>
                  <a:cubicBezTo>
                    <a:pt x="158011" y="92926"/>
                    <a:pt x="296079" y="74517"/>
                    <a:pt x="434147" y="31563"/>
                  </a:cubicBezTo>
                  <a:cubicBezTo>
                    <a:pt x="455625" y="22358"/>
                    <a:pt x="446421" y="-5256"/>
                    <a:pt x="428012" y="881"/>
                  </a:cubicBezTo>
                  <a:close/>
                </a:path>
              </a:pathLst>
            </a:custGeom>
            <a:solidFill>
              <a:srgbClr val="F6EBE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4565D78F-DC32-4E64-B08C-1DC5705B0698}"/>
                </a:ext>
              </a:extLst>
            </p:cNvPr>
            <p:cNvSpPr/>
            <p:nvPr/>
          </p:nvSpPr>
          <p:spPr>
            <a:xfrm>
              <a:off x="25813564" y="2697599"/>
              <a:ext cx="123353" cy="576818"/>
            </a:xfrm>
            <a:custGeom>
              <a:avLst/>
              <a:gdLst>
                <a:gd name="connsiteX0" fmla="*/ 12899 w 123353"/>
                <a:gd name="connsiteY0" fmla="*/ 576818 h 576818"/>
                <a:gd name="connsiteX1" fmla="*/ 6763 w 123353"/>
                <a:gd name="connsiteY1" fmla="*/ 570682 h 576818"/>
                <a:gd name="connsiteX2" fmla="*/ 626 w 123353"/>
                <a:gd name="connsiteY2" fmla="*/ 227046 h 576818"/>
                <a:gd name="connsiteX3" fmla="*/ 117216 w 123353"/>
                <a:gd name="connsiteY3" fmla="*/ 0 h 576818"/>
                <a:gd name="connsiteX4" fmla="*/ 123353 w 123353"/>
                <a:gd name="connsiteY4" fmla="*/ 3068 h 576818"/>
                <a:gd name="connsiteX5" fmla="*/ 120286 w 123353"/>
                <a:gd name="connsiteY5" fmla="*/ 9205 h 576818"/>
                <a:gd name="connsiteX6" fmla="*/ 9830 w 123353"/>
                <a:gd name="connsiteY6" fmla="*/ 223977 h 576818"/>
                <a:gd name="connsiteX7" fmla="*/ 15967 w 123353"/>
                <a:gd name="connsiteY7" fmla="*/ 567614 h 576818"/>
                <a:gd name="connsiteX8" fmla="*/ 12899 w 123353"/>
                <a:gd name="connsiteY8" fmla="*/ 576818 h 576818"/>
                <a:gd name="connsiteX9" fmla="*/ 12899 w 123353"/>
                <a:gd name="connsiteY9" fmla="*/ 576818 h 576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353" h="576818">
                  <a:moveTo>
                    <a:pt x="12899" y="576818"/>
                  </a:moveTo>
                  <a:cubicBezTo>
                    <a:pt x="9830" y="576818"/>
                    <a:pt x="6763" y="573750"/>
                    <a:pt x="6763" y="570682"/>
                  </a:cubicBezTo>
                  <a:cubicBezTo>
                    <a:pt x="6763" y="567614"/>
                    <a:pt x="-2442" y="411136"/>
                    <a:pt x="626" y="227046"/>
                  </a:cubicBezTo>
                  <a:cubicBezTo>
                    <a:pt x="3693" y="39886"/>
                    <a:pt x="114149" y="3068"/>
                    <a:pt x="117216" y="0"/>
                  </a:cubicBezTo>
                  <a:cubicBezTo>
                    <a:pt x="120286" y="0"/>
                    <a:pt x="123353" y="0"/>
                    <a:pt x="123353" y="3068"/>
                  </a:cubicBezTo>
                  <a:cubicBezTo>
                    <a:pt x="123353" y="6136"/>
                    <a:pt x="123353" y="9205"/>
                    <a:pt x="120286" y="9205"/>
                  </a:cubicBezTo>
                  <a:cubicBezTo>
                    <a:pt x="120286" y="9205"/>
                    <a:pt x="15967" y="46023"/>
                    <a:pt x="9830" y="223977"/>
                  </a:cubicBezTo>
                  <a:cubicBezTo>
                    <a:pt x="6763" y="408068"/>
                    <a:pt x="15967" y="564546"/>
                    <a:pt x="15967" y="567614"/>
                  </a:cubicBezTo>
                  <a:cubicBezTo>
                    <a:pt x="19034" y="573750"/>
                    <a:pt x="19034" y="576818"/>
                    <a:pt x="12899" y="576818"/>
                  </a:cubicBezTo>
                  <a:cubicBezTo>
                    <a:pt x="12899" y="576818"/>
                    <a:pt x="12899" y="576818"/>
                    <a:pt x="12899" y="576818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918C5F37-4A69-4D7C-BCFE-1D069EFC0E8B}"/>
                </a:ext>
              </a:extLst>
            </p:cNvPr>
            <p:cNvSpPr/>
            <p:nvPr/>
          </p:nvSpPr>
          <p:spPr>
            <a:xfrm>
              <a:off x="25304204" y="3621804"/>
              <a:ext cx="901027" cy="262735"/>
            </a:xfrm>
            <a:custGeom>
              <a:avLst/>
              <a:gdLst>
                <a:gd name="connsiteX0" fmla="*/ 80440 w 901027"/>
                <a:gd name="connsiteY0" fmla="*/ 149659 h 262735"/>
                <a:gd name="connsiteX1" fmla="*/ 844418 w 901027"/>
                <a:gd name="connsiteY1" fmla="*/ 253977 h 262735"/>
                <a:gd name="connsiteX2" fmla="*/ 816804 w 901027"/>
                <a:gd name="connsiteY2" fmla="*/ 17727 h 262735"/>
                <a:gd name="connsiteX3" fmla="*/ 668 w 901027"/>
                <a:gd name="connsiteY3" fmla="*/ 17727 h 262735"/>
                <a:gd name="connsiteX4" fmla="*/ 80440 w 901027"/>
                <a:gd name="connsiteY4" fmla="*/ 149659 h 262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1027" h="262735">
                  <a:moveTo>
                    <a:pt x="80440" y="149659"/>
                  </a:moveTo>
                  <a:cubicBezTo>
                    <a:pt x="80440" y="149659"/>
                    <a:pt x="767714" y="300000"/>
                    <a:pt x="844418" y="253977"/>
                  </a:cubicBezTo>
                  <a:cubicBezTo>
                    <a:pt x="921123" y="211023"/>
                    <a:pt x="927258" y="57614"/>
                    <a:pt x="816804" y="17727"/>
                  </a:cubicBezTo>
                  <a:cubicBezTo>
                    <a:pt x="703281" y="-22159"/>
                    <a:pt x="9872" y="17727"/>
                    <a:pt x="668" y="17727"/>
                  </a:cubicBezTo>
                  <a:cubicBezTo>
                    <a:pt x="-8538" y="17727"/>
                    <a:pt x="80440" y="149659"/>
                    <a:pt x="80440" y="149659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2365A7A9-9D05-4073-AE96-46A5EF352B79}"/>
                </a:ext>
              </a:extLst>
            </p:cNvPr>
            <p:cNvSpPr/>
            <p:nvPr/>
          </p:nvSpPr>
          <p:spPr>
            <a:xfrm>
              <a:off x="24616328" y="3552351"/>
              <a:ext cx="59566" cy="99452"/>
            </a:xfrm>
            <a:custGeom>
              <a:avLst/>
              <a:gdLst>
                <a:gd name="connsiteX0" fmla="*/ 50361 w 59566"/>
                <a:gd name="connsiteY0" fmla="*/ 99453 h 99452"/>
                <a:gd name="connsiteX1" fmla="*/ 44226 w 59566"/>
                <a:gd name="connsiteY1" fmla="*/ 96385 h 99452"/>
                <a:gd name="connsiteX2" fmla="*/ 1271 w 59566"/>
                <a:gd name="connsiteY2" fmla="*/ 10475 h 99452"/>
                <a:gd name="connsiteX3" fmla="*/ 4338 w 59566"/>
                <a:gd name="connsiteY3" fmla="*/ 1271 h 99452"/>
                <a:gd name="connsiteX4" fmla="*/ 13544 w 59566"/>
                <a:gd name="connsiteY4" fmla="*/ 4339 h 99452"/>
                <a:gd name="connsiteX5" fmla="*/ 59567 w 59566"/>
                <a:gd name="connsiteY5" fmla="*/ 90248 h 99452"/>
                <a:gd name="connsiteX6" fmla="*/ 50361 w 59566"/>
                <a:gd name="connsiteY6" fmla="*/ 99453 h 99452"/>
                <a:gd name="connsiteX7" fmla="*/ 50361 w 59566"/>
                <a:gd name="connsiteY7" fmla="*/ 99453 h 99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566" h="99452">
                  <a:moveTo>
                    <a:pt x="50361" y="99453"/>
                  </a:moveTo>
                  <a:cubicBezTo>
                    <a:pt x="47293" y="99453"/>
                    <a:pt x="47293" y="99453"/>
                    <a:pt x="44226" y="96385"/>
                  </a:cubicBezTo>
                  <a:lnTo>
                    <a:pt x="1271" y="10475"/>
                  </a:lnTo>
                  <a:cubicBezTo>
                    <a:pt x="-1797" y="7407"/>
                    <a:pt x="1271" y="4339"/>
                    <a:pt x="4338" y="1271"/>
                  </a:cubicBezTo>
                  <a:cubicBezTo>
                    <a:pt x="7407" y="-1797"/>
                    <a:pt x="10475" y="1271"/>
                    <a:pt x="13544" y="4339"/>
                  </a:cubicBezTo>
                  <a:lnTo>
                    <a:pt x="59567" y="90248"/>
                  </a:lnTo>
                  <a:cubicBezTo>
                    <a:pt x="56497" y="93316"/>
                    <a:pt x="56497" y="96385"/>
                    <a:pt x="50361" y="99453"/>
                  </a:cubicBezTo>
                  <a:cubicBezTo>
                    <a:pt x="53430" y="99453"/>
                    <a:pt x="53430" y="99453"/>
                    <a:pt x="50361" y="99453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EC4FFA88-E23F-4A93-9A7E-34B3B2C35794}"/>
                </a:ext>
              </a:extLst>
            </p:cNvPr>
            <p:cNvSpPr/>
            <p:nvPr/>
          </p:nvSpPr>
          <p:spPr>
            <a:xfrm>
              <a:off x="25814190" y="5468168"/>
              <a:ext cx="131931" cy="33749"/>
            </a:xfrm>
            <a:custGeom>
              <a:avLst/>
              <a:gdLst>
                <a:gd name="connsiteX0" fmla="*/ 6137 w 131931"/>
                <a:gd name="connsiteY0" fmla="*/ 33750 h 33749"/>
                <a:gd name="connsiteX1" fmla="*/ 0 w 131931"/>
                <a:gd name="connsiteY1" fmla="*/ 30682 h 33749"/>
                <a:gd name="connsiteX2" fmla="*/ 3067 w 131931"/>
                <a:gd name="connsiteY2" fmla="*/ 24546 h 33749"/>
                <a:gd name="connsiteX3" fmla="*/ 125795 w 131931"/>
                <a:gd name="connsiteY3" fmla="*/ 0 h 33749"/>
                <a:gd name="connsiteX4" fmla="*/ 131931 w 131931"/>
                <a:gd name="connsiteY4" fmla="*/ 3068 h 33749"/>
                <a:gd name="connsiteX5" fmla="*/ 128864 w 131931"/>
                <a:gd name="connsiteY5" fmla="*/ 9205 h 33749"/>
                <a:gd name="connsiteX6" fmla="*/ 6137 w 131931"/>
                <a:gd name="connsiteY6" fmla="*/ 33750 h 33749"/>
                <a:gd name="connsiteX7" fmla="*/ 6137 w 131931"/>
                <a:gd name="connsiteY7" fmla="*/ 33750 h 33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1931" h="33749">
                  <a:moveTo>
                    <a:pt x="6137" y="33750"/>
                  </a:moveTo>
                  <a:cubicBezTo>
                    <a:pt x="3067" y="33750"/>
                    <a:pt x="0" y="30682"/>
                    <a:pt x="0" y="30682"/>
                  </a:cubicBezTo>
                  <a:cubicBezTo>
                    <a:pt x="0" y="27614"/>
                    <a:pt x="0" y="24546"/>
                    <a:pt x="3067" y="24546"/>
                  </a:cubicBezTo>
                  <a:lnTo>
                    <a:pt x="125795" y="0"/>
                  </a:lnTo>
                  <a:cubicBezTo>
                    <a:pt x="128864" y="0"/>
                    <a:pt x="131931" y="0"/>
                    <a:pt x="131931" y="3068"/>
                  </a:cubicBezTo>
                  <a:cubicBezTo>
                    <a:pt x="131931" y="6137"/>
                    <a:pt x="131931" y="9205"/>
                    <a:pt x="128864" y="9205"/>
                  </a:cubicBezTo>
                  <a:lnTo>
                    <a:pt x="6137" y="33750"/>
                  </a:lnTo>
                  <a:cubicBezTo>
                    <a:pt x="6137" y="33750"/>
                    <a:pt x="6137" y="33750"/>
                    <a:pt x="6137" y="33750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B52FD64B-34F3-40BB-A38B-4B662F8ED347}"/>
                </a:ext>
              </a:extLst>
            </p:cNvPr>
            <p:cNvGrpSpPr/>
            <p:nvPr/>
          </p:nvGrpSpPr>
          <p:grpSpPr>
            <a:xfrm>
              <a:off x="20708734" y="3124077"/>
              <a:ext cx="871364" cy="1076931"/>
              <a:chOff x="20708734" y="3124077"/>
              <a:chExt cx="871364" cy="1076931"/>
            </a:xfrm>
          </p:grpSpPr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1DA1CF62-5105-40DC-84F7-238F31A1016E}"/>
                  </a:ext>
                </a:extLst>
              </p:cNvPr>
              <p:cNvSpPr/>
              <p:nvPr/>
            </p:nvSpPr>
            <p:spPr>
              <a:xfrm>
                <a:off x="20730212" y="3124077"/>
                <a:ext cx="849886" cy="951136"/>
              </a:xfrm>
              <a:custGeom>
                <a:avLst/>
                <a:gdLst>
                  <a:gd name="connsiteX0" fmla="*/ 849887 w 849886"/>
                  <a:gd name="connsiteY0" fmla="*/ 266932 h 951136"/>
                  <a:gd name="connsiteX1" fmla="*/ 828409 w 849886"/>
                  <a:gd name="connsiteY1" fmla="*/ 389659 h 951136"/>
                  <a:gd name="connsiteX2" fmla="*/ 466364 w 849886"/>
                  <a:gd name="connsiteY2" fmla="*/ 951136 h 951136"/>
                  <a:gd name="connsiteX3" fmla="*/ 0 w 849886"/>
                  <a:gd name="connsiteY3" fmla="*/ 684205 h 951136"/>
                  <a:gd name="connsiteX4" fmla="*/ 383523 w 849886"/>
                  <a:gd name="connsiteY4" fmla="*/ 0 h 951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9886" h="951136">
                    <a:moveTo>
                      <a:pt x="849887" y="266932"/>
                    </a:moveTo>
                    <a:lnTo>
                      <a:pt x="828409" y="389659"/>
                    </a:lnTo>
                    <a:lnTo>
                      <a:pt x="466364" y="951136"/>
                    </a:lnTo>
                    <a:lnTo>
                      <a:pt x="0" y="684205"/>
                    </a:lnTo>
                    <a:lnTo>
                      <a:pt x="383523" y="0"/>
                    </a:lnTo>
                    <a:close/>
                  </a:path>
                </a:pathLst>
              </a:custGeom>
              <a:solidFill>
                <a:srgbClr val="C6554F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DC5B479B-411F-4A64-A11E-4F4B8BD94D7F}"/>
                  </a:ext>
                </a:extLst>
              </p:cNvPr>
              <p:cNvSpPr/>
              <p:nvPr/>
            </p:nvSpPr>
            <p:spPr>
              <a:xfrm>
                <a:off x="20708734" y="3249872"/>
                <a:ext cx="849886" cy="951136"/>
              </a:xfrm>
              <a:custGeom>
                <a:avLst/>
                <a:gdLst>
                  <a:gd name="connsiteX0" fmla="*/ 849887 w 849886"/>
                  <a:gd name="connsiteY0" fmla="*/ 263864 h 951136"/>
                  <a:gd name="connsiteX1" fmla="*/ 466364 w 849886"/>
                  <a:gd name="connsiteY1" fmla="*/ 951137 h 951136"/>
                  <a:gd name="connsiteX2" fmla="*/ 0 w 849886"/>
                  <a:gd name="connsiteY2" fmla="*/ 684205 h 951136"/>
                  <a:gd name="connsiteX3" fmla="*/ 383523 w 849886"/>
                  <a:gd name="connsiteY3" fmla="*/ 0 h 951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9886" h="951136">
                    <a:moveTo>
                      <a:pt x="849887" y="263864"/>
                    </a:moveTo>
                    <a:lnTo>
                      <a:pt x="466364" y="951137"/>
                    </a:lnTo>
                    <a:lnTo>
                      <a:pt x="0" y="684205"/>
                    </a:lnTo>
                    <a:lnTo>
                      <a:pt x="383523" y="0"/>
                    </a:lnTo>
                    <a:close/>
                  </a:path>
                </a:pathLst>
              </a:custGeom>
              <a:solidFill>
                <a:srgbClr val="D16156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F4CD3C25-279E-4AE3-B8B2-70D7E914FD23}"/>
                  </a:ext>
                </a:extLst>
              </p:cNvPr>
              <p:cNvSpPr/>
              <p:nvPr/>
            </p:nvSpPr>
            <p:spPr>
              <a:xfrm>
                <a:off x="20708734" y="3124077"/>
                <a:ext cx="405000" cy="809999"/>
              </a:xfrm>
              <a:custGeom>
                <a:avLst/>
                <a:gdLst>
                  <a:gd name="connsiteX0" fmla="*/ 0 w 405000"/>
                  <a:gd name="connsiteY0" fmla="*/ 810000 h 809999"/>
                  <a:gd name="connsiteX1" fmla="*/ 21478 w 405000"/>
                  <a:gd name="connsiteY1" fmla="*/ 684205 h 809999"/>
                  <a:gd name="connsiteX2" fmla="*/ 405000 w 405000"/>
                  <a:gd name="connsiteY2" fmla="*/ 0 h 809999"/>
                  <a:gd name="connsiteX3" fmla="*/ 383523 w 405000"/>
                  <a:gd name="connsiteY3" fmla="*/ 125795 h 809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5000" h="809999">
                    <a:moveTo>
                      <a:pt x="0" y="810000"/>
                    </a:moveTo>
                    <a:lnTo>
                      <a:pt x="21478" y="684205"/>
                    </a:lnTo>
                    <a:lnTo>
                      <a:pt x="405000" y="0"/>
                    </a:lnTo>
                    <a:lnTo>
                      <a:pt x="383523" y="125795"/>
                    </a:lnTo>
                    <a:close/>
                  </a:path>
                </a:pathLst>
              </a:custGeom>
              <a:solidFill>
                <a:srgbClr val="E07670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4" name="图形 1">
              <a:extLst>
                <a:ext uri="{FF2B5EF4-FFF2-40B4-BE49-F238E27FC236}">
                  <a16:creationId xmlns:a16="http://schemas.microsoft.com/office/drawing/2014/main" id="{B68D5B95-A427-4B06-BCB5-BBC462913247}"/>
                </a:ext>
              </a:extLst>
            </p:cNvPr>
            <p:cNvGrpSpPr/>
            <p:nvPr/>
          </p:nvGrpSpPr>
          <p:grpSpPr>
            <a:xfrm>
              <a:off x="21767257" y="3781612"/>
              <a:ext cx="1417500" cy="1530078"/>
              <a:chOff x="21767257" y="3781612"/>
              <a:chExt cx="1417500" cy="1530078"/>
            </a:xfrm>
          </p:grpSpPr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72FAAFA6-CCA0-4095-872A-C5FB5CD9C4A1}"/>
                  </a:ext>
                </a:extLst>
              </p:cNvPr>
              <p:cNvSpPr/>
              <p:nvPr/>
            </p:nvSpPr>
            <p:spPr>
              <a:xfrm>
                <a:off x="21984073" y="3783311"/>
                <a:ext cx="390685" cy="518947"/>
              </a:xfrm>
              <a:custGeom>
                <a:avLst/>
                <a:gdLst>
                  <a:gd name="connsiteX0" fmla="*/ 16367 w 390685"/>
                  <a:gd name="connsiteY0" fmla="*/ 518947 h 518947"/>
                  <a:gd name="connsiteX1" fmla="*/ 10231 w 390685"/>
                  <a:gd name="connsiteY1" fmla="*/ 512811 h 518947"/>
                  <a:gd name="connsiteX2" fmla="*/ 93072 w 390685"/>
                  <a:gd name="connsiteY2" fmla="*/ 9629 h 518947"/>
                  <a:gd name="connsiteX3" fmla="*/ 172844 w 390685"/>
                  <a:gd name="connsiteY3" fmla="*/ 6561 h 518947"/>
                  <a:gd name="connsiteX4" fmla="*/ 390686 w 390685"/>
                  <a:gd name="connsiteY4" fmla="*/ 322584 h 518947"/>
                  <a:gd name="connsiteX5" fmla="*/ 387617 w 390685"/>
                  <a:gd name="connsiteY5" fmla="*/ 328720 h 518947"/>
                  <a:gd name="connsiteX6" fmla="*/ 381480 w 390685"/>
                  <a:gd name="connsiteY6" fmla="*/ 325652 h 518947"/>
                  <a:gd name="connsiteX7" fmla="*/ 169776 w 390685"/>
                  <a:gd name="connsiteY7" fmla="*/ 15766 h 518947"/>
                  <a:gd name="connsiteX8" fmla="*/ 99209 w 390685"/>
                  <a:gd name="connsiteY8" fmla="*/ 18834 h 518947"/>
                  <a:gd name="connsiteX9" fmla="*/ 22504 w 390685"/>
                  <a:gd name="connsiteY9" fmla="*/ 509743 h 518947"/>
                  <a:gd name="connsiteX10" fmla="*/ 16367 w 390685"/>
                  <a:gd name="connsiteY10" fmla="*/ 518947 h 518947"/>
                  <a:gd name="connsiteX11" fmla="*/ 16367 w 390685"/>
                  <a:gd name="connsiteY11" fmla="*/ 518947 h 518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0685" h="518947">
                    <a:moveTo>
                      <a:pt x="16367" y="518947"/>
                    </a:moveTo>
                    <a:cubicBezTo>
                      <a:pt x="13298" y="518947"/>
                      <a:pt x="10231" y="515879"/>
                      <a:pt x="10231" y="512811"/>
                    </a:cubicBezTo>
                    <a:cubicBezTo>
                      <a:pt x="7163" y="494402"/>
                      <a:pt x="-38860" y="74061"/>
                      <a:pt x="93072" y="9629"/>
                    </a:cubicBezTo>
                    <a:cubicBezTo>
                      <a:pt x="117617" y="-2643"/>
                      <a:pt x="145231" y="-2643"/>
                      <a:pt x="172844" y="6561"/>
                    </a:cubicBezTo>
                    <a:cubicBezTo>
                      <a:pt x="292504" y="55652"/>
                      <a:pt x="387617" y="310311"/>
                      <a:pt x="390686" y="322584"/>
                    </a:cubicBezTo>
                    <a:cubicBezTo>
                      <a:pt x="390686" y="325652"/>
                      <a:pt x="390686" y="328720"/>
                      <a:pt x="387617" y="328720"/>
                    </a:cubicBezTo>
                    <a:cubicBezTo>
                      <a:pt x="384549" y="328720"/>
                      <a:pt x="381480" y="328720"/>
                      <a:pt x="381480" y="325652"/>
                    </a:cubicBezTo>
                    <a:cubicBezTo>
                      <a:pt x="381480" y="322584"/>
                      <a:pt x="283300" y="61788"/>
                      <a:pt x="169776" y="15766"/>
                    </a:cubicBezTo>
                    <a:cubicBezTo>
                      <a:pt x="145231" y="6561"/>
                      <a:pt x="120684" y="6561"/>
                      <a:pt x="99209" y="18834"/>
                    </a:cubicBezTo>
                    <a:cubicBezTo>
                      <a:pt x="-23519" y="80198"/>
                      <a:pt x="22504" y="506675"/>
                      <a:pt x="22504" y="509743"/>
                    </a:cubicBezTo>
                    <a:cubicBezTo>
                      <a:pt x="19435" y="515879"/>
                      <a:pt x="19435" y="518947"/>
                      <a:pt x="16367" y="518947"/>
                    </a:cubicBezTo>
                    <a:cubicBezTo>
                      <a:pt x="16367" y="518947"/>
                      <a:pt x="16367" y="518947"/>
                      <a:pt x="16367" y="51894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26" name="图形 1">
                <a:extLst>
                  <a:ext uri="{FF2B5EF4-FFF2-40B4-BE49-F238E27FC236}">
                    <a16:creationId xmlns:a16="http://schemas.microsoft.com/office/drawing/2014/main" id="{86BC5492-EBEB-4B1E-83BF-1B21B8F2B832}"/>
                  </a:ext>
                </a:extLst>
              </p:cNvPr>
              <p:cNvGrpSpPr/>
              <p:nvPr/>
            </p:nvGrpSpPr>
            <p:grpSpPr>
              <a:xfrm>
                <a:off x="21767257" y="3900327"/>
                <a:ext cx="1417500" cy="1411363"/>
                <a:chOff x="21767257" y="3900327"/>
                <a:chExt cx="1417500" cy="1411363"/>
              </a:xfrm>
            </p:grpSpPr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5EA921B5-C59E-48D7-97ED-ECE6A29A5FF1}"/>
                    </a:ext>
                  </a:extLst>
                </p:cNvPr>
                <p:cNvSpPr/>
                <p:nvPr/>
              </p:nvSpPr>
              <p:spPr>
                <a:xfrm>
                  <a:off x="21880780" y="3900327"/>
                  <a:ext cx="1303977" cy="1411363"/>
                </a:xfrm>
                <a:custGeom>
                  <a:avLst/>
                  <a:gdLst>
                    <a:gd name="connsiteX0" fmla="*/ 0 w 1303977"/>
                    <a:gd name="connsiteY0" fmla="*/ 358977 h 1411363"/>
                    <a:gd name="connsiteX1" fmla="*/ 414205 w 1303977"/>
                    <a:gd name="connsiteY1" fmla="*/ 1411364 h 1411363"/>
                    <a:gd name="connsiteX2" fmla="*/ 1303977 w 1303977"/>
                    <a:gd name="connsiteY2" fmla="*/ 932727 h 1411363"/>
                    <a:gd name="connsiteX3" fmla="*/ 733296 w 1303977"/>
                    <a:gd name="connsiteY3" fmla="*/ 0 h 1411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03977" h="1411363">
                      <a:moveTo>
                        <a:pt x="0" y="358977"/>
                      </a:moveTo>
                      <a:lnTo>
                        <a:pt x="414205" y="1411364"/>
                      </a:lnTo>
                      <a:lnTo>
                        <a:pt x="1303977" y="932727"/>
                      </a:lnTo>
                      <a:lnTo>
                        <a:pt x="733296" y="0"/>
                      </a:lnTo>
                      <a:close/>
                    </a:path>
                  </a:pathLst>
                </a:custGeom>
                <a:solidFill>
                  <a:srgbClr val="D39778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F1F45FA3-BE0C-4CA4-AFC1-B3683942CB9A}"/>
                    </a:ext>
                  </a:extLst>
                </p:cNvPr>
                <p:cNvSpPr/>
                <p:nvPr/>
              </p:nvSpPr>
              <p:spPr>
                <a:xfrm>
                  <a:off x="21767257" y="3900327"/>
                  <a:ext cx="846819" cy="398863"/>
                </a:xfrm>
                <a:custGeom>
                  <a:avLst/>
                  <a:gdLst>
                    <a:gd name="connsiteX0" fmla="*/ 846819 w 846819"/>
                    <a:gd name="connsiteY0" fmla="*/ 0 h 398863"/>
                    <a:gd name="connsiteX1" fmla="*/ 656592 w 846819"/>
                    <a:gd name="connsiteY1" fmla="*/ 67500 h 398863"/>
                    <a:gd name="connsiteX2" fmla="*/ 0 w 846819"/>
                    <a:gd name="connsiteY2" fmla="*/ 398864 h 398863"/>
                    <a:gd name="connsiteX3" fmla="*/ 113523 w 846819"/>
                    <a:gd name="connsiteY3" fmla="*/ 358977 h 398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46819" h="398863">
                      <a:moveTo>
                        <a:pt x="846819" y="0"/>
                      </a:moveTo>
                      <a:lnTo>
                        <a:pt x="656592" y="67500"/>
                      </a:lnTo>
                      <a:lnTo>
                        <a:pt x="0" y="398864"/>
                      </a:lnTo>
                      <a:lnTo>
                        <a:pt x="113523" y="358977"/>
                      </a:lnTo>
                      <a:close/>
                    </a:path>
                  </a:pathLst>
                </a:custGeom>
                <a:solidFill>
                  <a:srgbClr val="C6896D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2" name="任意多边形: 形状 131">
                  <a:extLst>
                    <a:ext uri="{FF2B5EF4-FFF2-40B4-BE49-F238E27FC236}">
                      <a16:creationId xmlns:a16="http://schemas.microsoft.com/office/drawing/2014/main" id="{44C4C7A2-68A0-43C9-B6C1-05545029451B}"/>
                    </a:ext>
                  </a:extLst>
                </p:cNvPr>
                <p:cNvSpPr/>
                <p:nvPr/>
              </p:nvSpPr>
              <p:spPr>
                <a:xfrm>
                  <a:off x="21767257" y="4259304"/>
                  <a:ext cx="527727" cy="1052386"/>
                </a:xfrm>
                <a:custGeom>
                  <a:avLst/>
                  <a:gdLst>
                    <a:gd name="connsiteX0" fmla="*/ 346706 w 527727"/>
                    <a:gd name="connsiteY0" fmla="*/ 1027841 h 1052386"/>
                    <a:gd name="connsiteX1" fmla="*/ 527728 w 527727"/>
                    <a:gd name="connsiteY1" fmla="*/ 1052387 h 1052386"/>
                    <a:gd name="connsiteX2" fmla="*/ 113523 w 527727"/>
                    <a:gd name="connsiteY2" fmla="*/ 0 h 1052386"/>
                    <a:gd name="connsiteX3" fmla="*/ 0 w 527727"/>
                    <a:gd name="connsiteY3" fmla="*/ 39886 h 1052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27727" h="1052386">
                      <a:moveTo>
                        <a:pt x="346706" y="1027841"/>
                      </a:moveTo>
                      <a:lnTo>
                        <a:pt x="527728" y="1052387"/>
                      </a:lnTo>
                      <a:lnTo>
                        <a:pt x="113523" y="0"/>
                      </a:lnTo>
                      <a:lnTo>
                        <a:pt x="0" y="39886"/>
                      </a:lnTo>
                      <a:close/>
                    </a:path>
                  </a:pathLst>
                </a:custGeom>
                <a:solidFill>
                  <a:srgbClr val="C6896D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0CF892D0-42A5-4BE1-BC9B-B2D0EEA83A3B}"/>
                  </a:ext>
                </a:extLst>
              </p:cNvPr>
              <p:cNvSpPr/>
              <p:nvPr/>
            </p:nvSpPr>
            <p:spPr>
              <a:xfrm>
                <a:off x="22015420" y="3781612"/>
                <a:ext cx="437313" cy="480760"/>
              </a:xfrm>
              <a:custGeom>
                <a:avLst/>
                <a:gdLst>
                  <a:gd name="connsiteX0" fmla="*/ 61725 w 437313"/>
                  <a:gd name="connsiteY0" fmla="*/ 480760 h 480760"/>
                  <a:gd name="connsiteX1" fmla="*/ 55588 w 437313"/>
                  <a:gd name="connsiteY1" fmla="*/ 477692 h 480760"/>
                  <a:gd name="connsiteX2" fmla="*/ 61725 w 437313"/>
                  <a:gd name="connsiteY2" fmla="*/ 11328 h 480760"/>
                  <a:gd name="connsiteX3" fmla="*/ 436043 w 437313"/>
                  <a:gd name="connsiteY3" fmla="*/ 284396 h 480760"/>
                  <a:gd name="connsiteX4" fmla="*/ 432974 w 437313"/>
                  <a:gd name="connsiteY4" fmla="*/ 293601 h 480760"/>
                  <a:gd name="connsiteX5" fmla="*/ 423770 w 437313"/>
                  <a:gd name="connsiteY5" fmla="*/ 290533 h 480760"/>
                  <a:gd name="connsiteX6" fmla="*/ 64792 w 437313"/>
                  <a:gd name="connsiteY6" fmla="*/ 20533 h 480760"/>
                  <a:gd name="connsiteX7" fmla="*/ 64792 w 437313"/>
                  <a:gd name="connsiteY7" fmla="*/ 474624 h 480760"/>
                  <a:gd name="connsiteX8" fmla="*/ 61725 w 437313"/>
                  <a:gd name="connsiteY8" fmla="*/ 480760 h 480760"/>
                  <a:gd name="connsiteX9" fmla="*/ 61725 w 437313"/>
                  <a:gd name="connsiteY9" fmla="*/ 480760 h 480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7313" h="480760">
                    <a:moveTo>
                      <a:pt x="61725" y="480760"/>
                    </a:moveTo>
                    <a:cubicBezTo>
                      <a:pt x="58656" y="480760"/>
                      <a:pt x="55588" y="480760"/>
                      <a:pt x="55588" y="477692"/>
                    </a:cubicBezTo>
                    <a:cubicBezTo>
                      <a:pt x="49451" y="462351"/>
                      <a:pt x="-70207" y="75760"/>
                      <a:pt x="61725" y="11328"/>
                    </a:cubicBezTo>
                    <a:cubicBezTo>
                      <a:pt x="215134" y="-65376"/>
                      <a:pt x="426837" y="272124"/>
                      <a:pt x="436043" y="284396"/>
                    </a:cubicBezTo>
                    <a:cubicBezTo>
                      <a:pt x="439111" y="287465"/>
                      <a:pt x="436043" y="290533"/>
                      <a:pt x="432974" y="293601"/>
                    </a:cubicBezTo>
                    <a:cubicBezTo>
                      <a:pt x="429907" y="296669"/>
                      <a:pt x="426837" y="293601"/>
                      <a:pt x="423770" y="290533"/>
                    </a:cubicBezTo>
                    <a:cubicBezTo>
                      <a:pt x="420702" y="287465"/>
                      <a:pt x="208997" y="-50035"/>
                      <a:pt x="64792" y="20533"/>
                    </a:cubicBezTo>
                    <a:cubicBezTo>
                      <a:pt x="-57935" y="81896"/>
                      <a:pt x="64792" y="468487"/>
                      <a:pt x="64792" y="474624"/>
                    </a:cubicBezTo>
                    <a:cubicBezTo>
                      <a:pt x="67862" y="477692"/>
                      <a:pt x="64792" y="480760"/>
                      <a:pt x="61725" y="480760"/>
                    </a:cubicBezTo>
                    <a:cubicBezTo>
                      <a:pt x="61725" y="480760"/>
                      <a:pt x="61725" y="480760"/>
                      <a:pt x="61725" y="48076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57F863A9-FAB6-4ED1-853E-816377C76597}"/>
                  </a:ext>
                </a:extLst>
              </p:cNvPr>
              <p:cNvSpPr/>
              <p:nvPr/>
            </p:nvSpPr>
            <p:spPr>
              <a:xfrm>
                <a:off x="22045858" y="4224950"/>
                <a:ext cx="65640" cy="65036"/>
              </a:xfrm>
              <a:custGeom>
                <a:avLst/>
                <a:gdLst>
                  <a:gd name="connsiteX0" fmla="*/ 31287 w 65640"/>
                  <a:gd name="connsiteY0" fmla="*/ 65036 h 65036"/>
                  <a:gd name="connsiteX1" fmla="*/ 3672 w 65640"/>
                  <a:gd name="connsiteY1" fmla="*/ 46627 h 65036"/>
                  <a:gd name="connsiteX2" fmla="*/ 19013 w 65640"/>
                  <a:gd name="connsiteY2" fmla="*/ 3672 h 65036"/>
                  <a:gd name="connsiteX3" fmla="*/ 61968 w 65640"/>
                  <a:gd name="connsiteY3" fmla="*/ 19013 h 65036"/>
                  <a:gd name="connsiteX4" fmla="*/ 46628 w 65640"/>
                  <a:gd name="connsiteY4" fmla="*/ 61968 h 65036"/>
                  <a:gd name="connsiteX5" fmla="*/ 31287 w 65640"/>
                  <a:gd name="connsiteY5" fmla="*/ 65036 h 65036"/>
                  <a:gd name="connsiteX6" fmla="*/ 31287 w 65640"/>
                  <a:gd name="connsiteY6" fmla="*/ 12877 h 65036"/>
                  <a:gd name="connsiteX7" fmla="*/ 22082 w 65640"/>
                  <a:gd name="connsiteY7" fmla="*/ 15945 h 65036"/>
                  <a:gd name="connsiteX8" fmla="*/ 12876 w 65640"/>
                  <a:gd name="connsiteY8" fmla="*/ 43559 h 65036"/>
                  <a:gd name="connsiteX9" fmla="*/ 40491 w 65640"/>
                  <a:gd name="connsiteY9" fmla="*/ 52763 h 65036"/>
                  <a:gd name="connsiteX10" fmla="*/ 49695 w 65640"/>
                  <a:gd name="connsiteY10" fmla="*/ 25150 h 65036"/>
                  <a:gd name="connsiteX11" fmla="*/ 31287 w 65640"/>
                  <a:gd name="connsiteY11" fmla="*/ 12877 h 65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5640" h="65036">
                    <a:moveTo>
                      <a:pt x="31287" y="65036"/>
                    </a:moveTo>
                    <a:cubicBezTo>
                      <a:pt x="19013" y="65036"/>
                      <a:pt x="9809" y="58900"/>
                      <a:pt x="3672" y="46627"/>
                    </a:cubicBezTo>
                    <a:cubicBezTo>
                      <a:pt x="-5532" y="31286"/>
                      <a:pt x="3672" y="12877"/>
                      <a:pt x="19013" y="3672"/>
                    </a:cubicBezTo>
                    <a:cubicBezTo>
                      <a:pt x="34354" y="-5532"/>
                      <a:pt x="52764" y="3672"/>
                      <a:pt x="61968" y="19013"/>
                    </a:cubicBezTo>
                    <a:cubicBezTo>
                      <a:pt x="71173" y="34354"/>
                      <a:pt x="61968" y="52763"/>
                      <a:pt x="46628" y="61968"/>
                    </a:cubicBezTo>
                    <a:cubicBezTo>
                      <a:pt x="40491" y="61968"/>
                      <a:pt x="34354" y="65036"/>
                      <a:pt x="31287" y="65036"/>
                    </a:cubicBezTo>
                    <a:close/>
                    <a:moveTo>
                      <a:pt x="31287" y="12877"/>
                    </a:moveTo>
                    <a:cubicBezTo>
                      <a:pt x="28217" y="12877"/>
                      <a:pt x="25150" y="12877"/>
                      <a:pt x="22082" y="15945"/>
                    </a:cubicBezTo>
                    <a:cubicBezTo>
                      <a:pt x="12876" y="22082"/>
                      <a:pt x="6742" y="31286"/>
                      <a:pt x="12876" y="43559"/>
                    </a:cubicBezTo>
                    <a:cubicBezTo>
                      <a:pt x="19013" y="52763"/>
                      <a:pt x="28217" y="58900"/>
                      <a:pt x="40491" y="52763"/>
                    </a:cubicBezTo>
                    <a:cubicBezTo>
                      <a:pt x="49695" y="46627"/>
                      <a:pt x="55832" y="37423"/>
                      <a:pt x="49695" y="25150"/>
                    </a:cubicBezTo>
                    <a:cubicBezTo>
                      <a:pt x="43558" y="15945"/>
                      <a:pt x="37423" y="12877"/>
                      <a:pt x="31287" y="1287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55E26F43-8601-47C1-B282-B2E3D15D4D61}"/>
                  </a:ext>
                </a:extLst>
              </p:cNvPr>
              <p:cNvSpPr/>
              <p:nvPr/>
            </p:nvSpPr>
            <p:spPr>
              <a:xfrm>
                <a:off x="22414645" y="4042180"/>
                <a:ext cx="60645" cy="63715"/>
              </a:xfrm>
              <a:custGeom>
                <a:avLst/>
                <a:gdLst>
                  <a:gd name="connsiteX0" fmla="*/ 30682 w 60645"/>
                  <a:gd name="connsiteY0" fmla="*/ 63715 h 63715"/>
                  <a:gd name="connsiteX1" fmla="*/ 21478 w 60645"/>
                  <a:gd name="connsiteY1" fmla="*/ 60647 h 63715"/>
                  <a:gd name="connsiteX2" fmla="*/ 3067 w 60645"/>
                  <a:gd name="connsiteY2" fmla="*/ 45306 h 63715"/>
                  <a:gd name="connsiteX3" fmla="*/ 0 w 60645"/>
                  <a:gd name="connsiteY3" fmla="*/ 20761 h 63715"/>
                  <a:gd name="connsiteX4" fmla="*/ 15341 w 60645"/>
                  <a:gd name="connsiteY4" fmla="*/ 2351 h 63715"/>
                  <a:gd name="connsiteX5" fmla="*/ 58294 w 60645"/>
                  <a:gd name="connsiteY5" fmla="*/ 17692 h 63715"/>
                  <a:gd name="connsiteX6" fmla="*/ 58294 w 60645"/>
                  <a:gd name="connsiteY6" fmla="*/ 17692 h 63715"/>
                  <a:gd name="connsiteX7" fmla="*/ 42953 w 60645"/>
                  <a:gd name="connsiteY7" fmla="*/ 60647 h 63715"/>
                  <a:gd name="connsiteX8" fmla="*/ 30682 w 60645"/>
                  <a:gd name="connsiteY8" fmla="*/ 63715 h 63715"/>
                  <a:gd name="connsiteX9" fmla="*/ 30682 w 60645"/>
                  <a:gd name="connsiteY9" fmla="*/ 11556 h 63715"/>
                  <a:gd name="connsiteX10" fmla="*/ 21478 w 60645"/>
                  <a:gd name="connsiteY10" fmla="*/ 14624 h 63715"/>
                  <a:gd name="connsiteX11" fmla="*/ 12272 w 60645"/>
                  <a:gd name="connsiteY11" fmla="*/ 26897 h 63715"/>
                  <a:gd name="connsiteX12" fmla="*/ 12272 w 60645"/>
                  <a:gd name="connsiteY12" fmla="*/ 42238 h 63715"/>
                  <a:gd name="connsiteX13" fmla="*/ 24545 w 60645"/>
                  <a:gd name="connsiteY13" fmla="*/ 51443 h 63715"/>
                  <a:gd name="connsiteX14" fmla="*/ 39886 w 60645"/>
                  <a:gd name="connsiteY14" fmla="*/ 51443 h 63715"/>
                  <a:gd name="connsiteX15" fmla="*/ 49090 w 60645"/>
                  <a:gd name="connsiteY15" fmla="*/ 23829 h 63715"/>
                  <a:gd name="connsiteX16" fmla="*/ 30682 w 60645"/>
                  <a:gd name="connsiteY16" fmla="*/ 11556 h 63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0645" h="63715">
                    <a:moveTo>
                      <a:pt x="30682" y="63715"/>
                    </a:moveTo>
                    <a:cubicBezTo>
                      <a:pt x="27613" y="63715"/>
                      <a:pt x="24545" y="63715"/>
                      <a:pt x="21478" y="60647"/>
                    </a:cubicBezTo>
                    <a:cubicBezTo>
                      <a:pt x="12272" y="57579"/>
                      <a:pt x="6137" y="51443"/>
                      <a:pt x="3067" y="45306"/>
                    </a:cubicBezTo>
                    <a:cubicBezTo>
                      <a:pt x="0" y="39170"/>
                      <a:pt x="0" y="29965"/>
                      <a:pt x="0" y="20761"/>
                    </a:cubicBezTo>
                    <a:cubicBezTo>
                      <a:pt x="3067" y="11556"/>
                      <a:pt x="9204" y="5420"/>
                      <a:pt x="15341" y="2351"/>
                    </a:cubicBezTo>
                    <a:cubicBezTo>
                      <a:pt x="30682" y="-3785"/>
                      <a:pt x="49090" y="2351"/>
                      <a:pt x="58294" y="17692"/>
                    </a:cubicBezTo>
                    <a:lnTo>
                      <a:pt x="58294" y="17692"/>
                    </a:lnTo>
                    <a:cubicBezTo>
                      <a:pt x="64431" y="33033"/>
                      <a:pt x="58294" y="51443"/>
                      <a:pt x="42953" y="60647"/>
                    </a:cubicBezTo>
                    <a:cubicBezTo>
                      <a:pt x="42953" y="60647"/>
                      <a:pt x="36819" y="63715"/>
                      <a:pt x="30682" y="63715"/>
                    </a:cubicBezTo>
                    <a:close/>
                    <a:moveTo>
                      <a:pt x="30682" y="11556"/>
                    </a:moveTo>
                    <a:cubicBezTo>
                      <a:pt x="27613" y="11556"/>
                      <a:pt x="24545" y="11556"/>
                      <a:pt x="21478" y="14624"/>
                    </a:cubicBezTo>
                    <a:cubicBezTo>
                      <a:pt x="15341" y="17692"/>
                      <a:pt x="12272" y="20761"/>
                      <a:pt x="12272" y="26897"/>
                    </a:cubicBezTo>
                    <a:cubicBezTo>
                      <a:pt x="9204" y="33033"/>
                      <a:pt x="12272" y="36102"/>
                      <a:pt x="12272" y="42238"/>
                    </a:cubicBezTo>
                    <a:cubicBezTo>
                      <a:pt x="15341" y="48374"/>
                      <a:pt x="18408" y="51443"/>
                      <a:pt x="24545" y="51443"/>
                    </a:cubicBezTo>
                    <a:cubicBezTo>
                      <a:pt x="30682" y="54511"/>
                      <a:pt x="33749" y="51443"/>
                      <a:pt x="39886" y="51443"/>
                    </a:cubicBezTo>
                    <a:cubicBezTo>
                      <a:pt x="49090" y="45306"/>
                      <a:pt x="55227" y="36102"/>
                      <a:pt x="49090" y="23829"/>
                    </a:cubicBezTo>
                    <a:cubicBezTo>
                      <a:pt x="46023" y="14624"/>
                      <a:pt x="39886" y="11556"/>
                      <a:pt x="30682" y="1155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8A7F9211-B7F9-459E-A49E-215D2850C589}"/>
                </a:ext>
              </a:extLst>
            </p:cNvPr>
            <p:cNvSpPr/>
            <p:nvPr/>
          </p:nvSpPr>
          <p:spPr>
            <a:xfrm>
              <a:off x="24018046" y="3216047"/>
              <a:ext cx="286453" cy="209674"/>
            </a:xfrm>
            <a:custGeom>
              <a:avLst/>
              <a:gdLst>
                <a:gd name="connsiteX0" fmla="*/ 139325 w 286453"/>
                <a:gd name="connsiteY0" fmla="*/ 205644 h 209674"/>
                <a:gd name="connsiteX1" fmla="*/ 277393 w 286453"/>
                <a:gd name="connsiteY1" fmla="*/ 178030 h 209674"/>
                <a:gd name="connsiteX2" fmla="*/ 280461 w 286453"/>
                <a:gd name="connsiteY2" fmla="*/ 36894 h 209674"/>
                <a:gd name="connsiteX3" fmla="*/ 4324 w 286453"/>
                <a:gd name="connsiteY3" fmla="*/ 43030 h 209674"/>
                <a:gd name="connsiteX4" fmla="*/ 16598 w 286453"/>
                <a:gd name="connsiteY4" fmla="*/ 92121 h 209674"/>
                <a:gd name="connsiteX5" fmla="*/ 22735 w 286453"/>
                <a:gd name="connsiteY5" fmla="*/ 147348 h 209674"/>
                <a:gd name="connsiteX6" fmla="*/ 50347 w 286453"/>
                <a:gd name="connsiteY6" fmla="*/ 171894 h 209674"/>
                <a:gd name="connsiteX7" fmla="*/ 99439 w 286453"/>
                <a:gd name="connsiteY7" fmla="*/ 199507 h 209674"/>
                <a:gd name="connsiteX8" fmla="*/ 139325 w 286453"/>
                <a:gd name="connsiteY8" fmla="*/ 205644 h 209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6453" h="209674">
                  <a:moveTo>
                    <a:pt x="139325" y="205644"/>
                  </a:moveTo>
                  <a:cubicBezTo>
                    <a:pt x="182280" y="196439"/>
                    <a:pt x="249779" y="217916"/>
                    <a:pt x="277393" y="178030"/>
                  </a:cubicBezTo>
                  <a:cubicBezTo>
                    <a:pt x="295802" y="150416"/>
                    <a:pt x="280461" y="36894"/>
                    <a:pt x="280461" y="36894"/>
                  </a:cubicBezTo>
                  <a:cubicBezTo>
                    <a:pt x="234438" y="-36743"/>
                    <a:pt x="65688" y="18485"/>
                    <a:pt x="4324" y="43030"/>
                  </a:cubicBezTo>
                  <a:cubicBezTo>
                    <a:pt x="-4880" y="46098"/>
                    <a:pt x="1257" y="92121"/>
                    <a:pt x="16598" y="92121"/>
                  </a:cubicBezTo>
                  <a:cubicBezTo>
                    <a:pt x="38076" y="92121"/>
                    <a:pt x="16598" y="138144"/>
                    <a:pt x="22735" y="147348"/>
                  </a:cubicBezTo>
                  <a:cubicBezTo>
                    <a:pt x="28871" y="159621"/>
                    <a:pt x="50347" y="171894"/>
                    <a:pt x="50347" y="171894"/>
                  </a:cubicBezTo>
                  <a:cubicBezTo>
                    <a:pt x="65688" y="184166"/>
                    <a:pt x="93302" y="193371"/>
                    <a:pt x="99439" y="199507"/>
                  </a:cubicBezTo>
                  <a:cubicBezTo>
                    <a:pt x="105576" y="211780"/>
                    <a:pt x="111711" y="211780"/>
                    <a:pt x="139325" y="205644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42C33FFA-D142-4A0C-9EBC-85D529CB5C46}"/>
                </a:ext>
              </a:extLst>
            </p:cNvPr>
            <p:cNvGrpSpPr/>
            <p:nvPr/>
          </p:nvGrpSpPr>
          <p:grpSpPr>
            <a:xfrm>
              <a:off x="23467031" y="3262145"/>
              <a:ext cx="1165909" cy="1463522"/>
              <a:chOff x="23467031" y="3262145"/>
              <a:chExt cx="1165909" cy="1463522"/>
            </a:xfrm>
          </p:grpSpPr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A679750B-A114-4608-BDC5-FCE1A72C2357}"/>
                  </a:ext>
                </a:extLst>
              </p:cNvPr>
              <p:cNvSpPr/>
              <p:nvPr/>
            </p:nvSpPr>
            <p:spPr>
              <a:xfrm>
                <a:off x="23880253" y="3262145"/>
                <a:ext cx="431798" cy="426477"/>
              </a:xfrm>
              <a:custGeom>
                <a:avLst/>
                <a:gdLst>
                  <a:gd name="connsiteX0" fmla="*/ 427460 w 431798"/>
                  <a:gd name="connsiteY0" fmla="*/ 426477 h 426477"/>
                  <a:gd name="connsiteX1" fmla="*/ 421324 w 431798"/>
                  <a:gd name="connsiteY1" fmla="*/ 423409 h 426477"/>
                  <a:gd name="connsiteX2" fmla="*/ 139051 w 431798"/>
                  <a:gd name="connsiteY2" fmla="*/ 12273 h 426477"/>
                  <a:gd name="connsiteX3" fmla="*/ 74620 w 431798"/>
                  <a:gd name="connsiteY3" fmla="*/ 39886 h 426477"/>
                  <a:gd name="connsiteX4" fmla="*/ 16323 w 431798"/>
                  <a:gd name="connsiteY4" fmla="*/ 411136 h 426477"/>
                  <a:gd name="connsiteX5" fmla="*/ 10187 w 431798"/>
                  <a:gd name="connsiteY5" fmla="*/ 417273 h 426477"/>
                  <a:gd name="connsiteX6" fmla="*/ 4050 w 431798"/>
                  <a:gd name="connsiteY6" fmla="*/ 411136 h 426477"/>
                  <a:gd name="connsiteX7" fmla="*/ 65413 w 431798"/>
                  <a:gd name="connsiteY7" fmla="*/ 30682 h 426477"/>
                  <a:gd name="connsiteX8" fmla="*/ 135983 w 431798"/>
                  <a:gd name="connsiteY8" fmla="*/ 0 h 426477"/>
                  <a:gd name="connsiteX9" fmla="*/ 139051 w 431798"/>
                  <a:gd name="connsiteY9" fmla="*/ 0 h 426477"/>
                  <a:gd name="connsiteX10" fmla="*/ 430528 w 431798"/>
                  <a:gd name="connsiteY10" fmla="*/ 417273 h 426477"/>
                  <a:gd name="connsiteX11" fmla="*/ 427460 w 431798"/>
                  <a:gd name="connsiteY11" fmla="*/ 426477 h 426477"/>
                  <a:gd name="connsiteX12" fmla="*/ 427460 w 431798"/>
                  <a:gd name="connsiteY12" fmla="*/ 426477 h 426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31798" h="426477">
                    <a:moveTo>
                      <a:pt x="427460" y="426477"/>
                    </a:moveTo>
                    <a:cubicBezTo>
                      <a:pt x="424391" y="426477"/>
                      <a:pt x="424391" y="426477"/>
                      <a:pt x="421324" y="423409"/>
                    </a:cubicBezTo>
                    <a:cubicBezTo>
                      <a:pt x="421324" y="420341"/>
                      <a:pt x="277119" y="15341"/>
                      <a:pt x="139051" y="12273"/>
                    </a:cubicBezTo>
                    <a:cubicBezTo>
                      <a:pt x="114506" y="12273"/>
                      <a:pt x="93028" y="21477"/>
                      <a:pt x="74620" y="39886"/>
                    </a:cubicBezTo>
                    <a:cubicBezTo>
                      <a:pt x="-8222" y="131932"/>
                      <a:pt x="16323" y="408068"/>
                      <a:pt x="16323" y="411136"/>
                    </a:cubicBezTo>
                    <a:cubicBezTo>
                      <a:pt x="16323" y="414205"/>
                      <a:pt x="13256" y="417273"/>
                      <a:pt x="10187" y="417273"/>
                    </a:cubicBezTo>
                    <a:cubicBezTo>
                      <a:pt x="7119" y="417273"/>
                      <a:pt x="4050" y="414205"/>
                      <a:pt x="4050" y="411136"/>
                    </a:cubicBezTo>
                    <a:cubicBezTo>
                      <a:pt x="4050" y="398864"/>
                      <a:pt x="-23563" y="125795"/>
                      <a:pt x="65413" y="30682"/>
                    </a:cubicBezTo>
                    <a:cubicBezTo>
                      <a:pt x="83824" y="9205"/>
                      <a:pt x="108369" y="0"/>
                      <a:pt x="135983" y="0"/>
                    </a:cubicBezTo>
                    <a:cubicBezTo>
                      <a:pt x="135983" y="0"/>
                      <a:pt x="135983" y="0"/>
                      <a:pt x="139051" y="0"/>
                    </a:cubicBezTo>
                    <a:cubicBezTo>
                      <a:pt x="286323" y="3068"/>
                      <a:pt x="424391" y="401932"/>
                      <a:pt x="430528" y="417273"/>
                    </a:cubicBezTo>
                    <a:cubicBezTo>
                      <a:pt x="433595" y="420341"/>
                      <a:pt x="430528" y="423409"/>
                      <a:pt x="427460" y="426477"/>
                    </a:cubicBezTo>
                    <a:cubicBezTo>
                      <a:pt x="427460" y="426477"/>
                      <a:pt x="427460" y="426477"/>
                      <a:pt x="427460" y="42647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8" name="图形 1">
                <a:extLst>
                  <a:ext uri="{FF2B5EF4-FFF2-40B4-BE49-F238E27FC236}">
                    <a16:creationId xmlns:a16="http://schemas.microsoft.com/office/drawing/2014/main" id="{C344DA40-C05F-4B6B-854F-05D229463BAA}"/>
                  </a:ext>
                </a:extLst>
              </p:cNvPr>
              <p:cNvGrpSpPr/>
              <p:nvPr/>
            </p:nvGrpSpPr>
            <p:grpSpPr>
              <a:xfrm>
                <a:off x="23467031" y="3568963"/>
                <a:ext cx="1165909" cy="1156704"/>
                <a:chOff x="23467031" y="3568963"/>
                <a:chExt cx="1165909" cy="1156704"/>
              </a:xfrm>
            </p:grpSpPr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3A131DCA-33B7-48FD-82D1-92FE97A1F0B9}"/>
                    </a:ext>
                  </a:extLst>
                </p:cNvPr>
                <p:cNvSpPr/>
                <p:nvPr/>
              </p:nvSpPr>
              <p:spPr>
                <a:xfrm>
                  <a:off x="23467031" y="3593509"/>
                  <a:ext cx="1009432" cy="1132159"/>
                </a:xfrm>
                <a:custGeom>
                  <a:avLst/>
                  <a:gdLst>
                    <a:gd name="connsiteX0" fmla="*/ 929659 w 1009432"/>
                    <a:gd name="connsiteY0" fmla="*/ 6136 h 1132159"/>
                    <a:gd name="connsiteX1" fmla="*/ 1009433 w 1009432"/>
                    <a:gd name="connsiteY1" fmla="*/ 1132159 h 1132159"/>
                    <a:gd name="connsiteX2" fmla="*/ 0 w 1009432"/>
                    <a:gd name="connsiteY2" fmla="*/ 1086136 h 1132159"/>
                    <a:gd name="connsiteX3" fmla="*/ 113523 w 1009432"/>
                    <a:gd name="connsiteY3" fmla="*/ 0 h 1132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09432" h="1132159">
                      <a:moveTo>
                        <a:pt x="929659" y="6136"/>
                      </a:moveTo>
                      <a:lnTo>
                        <a:pt x="1009433" y="1132159"/>
                      </a:lnTo>
                      <a:lnTo>
                        <a:pt x="0" y="1086136"/>
                      </a:lnTo>
                      <a:lnTo>
                        <a:pt x="113523" y="0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F2B082AC-438C-44A3-A69E-431B3831C456}"/>
                    </a:ext>
                  </a:extLst>
                </p:cNvPr>
                <p:cNvSpPr/>
                <p:nvPr/>
              </p:nvSpPr>
              <p:spPr>
                <a:xfrm>
                  <a:off x="23580554" y="3568963"/>
                  <a:ext cx="935795" cy="30681"/>
                </a:xfrm>
                <a:custGeom>
                  <a:avLst/>
                  <a:gdLst>
                    <a:gd name="connsiteX0" fmla="*/ 0 w 935795"/>
                    <a:gd name="connsiteY0" fmla="*/ 24545 h 30681"/>
                    <a:gd name="connsiteX1" fmla="*/ 202499 w 935795"/>
                    <a:gd name="connsiteY1" fmla="*/ 0 h 30681"/>
                    <a:gd name="connsiteX2" fmla="*/ 935795 w 935795"/>
                    <a:gd name="connsiteY2" fmla="*/ 18409 h 30681"/>
                    <a:gd name="connsiteX3" fmla="*/ 816136 w 935795"/>
                    <a:gd name="connsiteY3" fmla="*/ 30682 h 30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35795" h="30681">
                      <a:moveTo>
                        <a:pt x="0" y="24545"/>
                      </a:moveTo>
                      <a:lnTo>
                        <a:pt x="202499" y="0"/>
                      </a:lnTo>
                      <a:lnTo>
                        <a:pt x="935795" y="18409"/>
                      </a:lnTo>
                      <a:lnTo>
                        <a:pt x="816136" y="30682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ED7B4ABD-8338-4911-B04C-BEF078BCA64B}"/>
                    </a:ext>
                  </a:extLst>
                </p:cNvPr>
                <p:cNvSpPr/>
                <p:nvPr/>
              </p:nvSpPr>
              <p:spPr>
                <a:xfrm>
                  <a:off x="24396689" y="3587372"/>
                  <a:ext cx="236250" cy="1138295"/>
                </a:xfrm>
                <a:custGeom>
                  <a:avLst/>
                  <a:gdLst>
                    <a:gd name="connsiteX0" fmla="*/ 236250 w 236250"/>
                    <a:gd name="connsiteY0" fmla="*/ 1037045 h 1138295"/>
                    <a:gd name="connsiteX1" fmla="*/ 79774 w 236250"/>
                    <a:gd name="connsiteY1" fmla="*/ 1138296 h 1138295"/>
                    <a:gd name="connsiteX2" fmla="*/ 0 w 236250"/>
                    <a:gd name="connsiteY2" fmla="*/ 12273 h 1138295"/>
                    <a:gd name="connsiteX3" fmla="*/ 119660 w 236250"/>
                    <a:gd name="connsiteY3" fmla="*/ 0 h 11382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6250" h="1138295">
                      <a:moveTo>
                        <a:pt x="236250" y="1037045"/>
                      </a:moveTo>
                      <a:lnTo>
                        <a:pt x="79774" y="1138296"/>
                      </a:lnTo>
                      <a:lnTo>
                        <a:pt x="0" y="12273"/>
                      </a:lnTo>
                      <a:lnTo>
                        <a:pt x="119660" y="0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B60E2DAE-0C98-46F2-8442-7A735172F0EE}"/>
                  </a:ext>
                </a:extLst>
              </p:cNvPr>
              <p:cNvSpPr/>
              <p:nvPr/>
            </p:nvSpPr>
            <p:spPr>
              <a:xfrm>
                <a:off x="23801463" y="3262145"/>
                <a:ext cx="426476" cy="423409"/>
              </a:xfrm>
              <a:custGeom>
                <a:avLst/>
                <a:gdLst>
                  <a:gd name="connsiteX0" fmla="*/ 420339 w 426476"/>
                  <a:gd name="connsiteY0" fmla="*/ 423409 h 423409"/>
                  <a:gd name="connsiteX1" fmla="*/ 414205 w 426476"/>
                  <a:gd name="connsiteY1" fmla="*/ 417273 h 423409"/>
                  <a:gd name="connsiteX2" fmla="*/ 217840 w 426476"/>
                  <a:gd name="connsiteY2" fmla="*/ 9205 h 423409"/>
                  <a:gd name="connsiteX3" fmla="*/ 217840 w 426476"/>
                  <a:gd name="connsiteY3" fmla="*/ 9205 h 423409"/>
                  <a:gd name="connsiteX4" fmla="*/ 12272 w 426476"/>
                  <a:gd name="connsiteY4" fmla="*/ 408068 h 423409"/>
                  <a:gd name="connsiteX5" fmla="*/ 6135 w 426476"/>
                  <a:gd name="connsiteY5" fmla="*/ 414205 h 423409"/>
                  <a:gd name="connsiteX6" fmla="*/ 0 w 426476"/>
                  <a:gd name="connsiteY6" fmla="*/ 408068 h 423409"/>
                  <a:gd name="connsiteX7" fmla="*/ 217840 w 426476"/>
                  <a:gd name="connsiteY7" fmla="*/ 0 h 423409"/>
                  <a:gd name="connsiteX8" fmla="*/ 220908 w 426476"/>
                  <a:gd name="connsiteY8" fmla="*/ 0 h 423409"/>
                  <a:gd name="connsiteX9" fmla="*/ 426476 w 426476"/>
                  <a:gd name="connsiteY9" fmla="*/ 417273 h 423409"/>
                  <a:gd name="connsiteX10" fmla="*/ 420339 w 426476"/>
                  <a:gd name="connsiteY10" fmla="*/ 423409 h 423409"/>
                  <a:gd name="connsiteX11" fmla="*/ 420339 w 426476"/>
                  <a:gd name="connsiteY11" fmla="*/ 423409 h 423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26476" h="423409">
                    <a:moveTo>
                      <a:pt x="420339" y="423409"/>
                    </a:moveTo>
                    <a:cubicBezTo>
                      <a:pt x="417272" y="423409"/>
                      <a:pt x="414205" y="420341"/>
                      <a:pt x="414205" y="417273"/>
                    </a:cubicBezTo>
                    <a:cubicBezTo>
                      <a:pt x="414205" y="414205"/>
                      <a:pt x="355908" y="12273"/>
                      <a:pt x="217840" y="9205"/>
                    </a:cubicBezTo>
                    <a:cubicBezTo>
                      <a:pt x="217840" y="9205"/>
                      <a:pt x="217840" y="9205"/>
                      <a:pt x="217840" y="9205"/>
                    </a:cubicBezTo>
                    <a:cubicBezTo>
                      <a:pt x="58294" y="9205"/>
                      <a:pt x="12272" y="405000"/>
                      <a:pt x="12272" y="408068"/>
                    </a:cubicBezTo>
                    <a:cubicBezTo>
                      <a:pt x="12272" y="411136"/>
                      <a:pt x="9204" y="414205"/>
                      <a:pt x="6135" y="414205"/>
                    </a:cubicBezTo>
                    <a:cubicBezTo>
                      <a:pt x="3067" y="414205"/>
                      <a:pt x="0" y="411136"/>
                      <a:pt x="0" y="408068"/>
                    </a:cubicBezTo>
                    <a:cubicBezTo>
                      <a:pt x="3067" y="392727"/>
                      <a:pt x="49090" y="0"/>
                      <a:pt x="217840" y="0"/>
                    </a:cubicBezTo>
                    <a:cubicBezTo>
                      <a:pt x="217840" y="0"/>
                      <a:pt x="217840" y="0"/>
                      <a:pt x="220908" y="0"/>
                    </a:cubicBezTo>
                    <a:cubicBezTo>
                      <a:pt x="368182" y="3068"/>
                      <a:pt x="426476" y="401932"/>
                      <a:pt x="426476" y="417273"/>
                    </a:cubicBezTo>
                    <a:cubicBezTo>
                      <a:pt x="426476" y="420341"/>
                      <a:pt x="423409" y="423409"/>
                      <a:pt x="420339" y="423409"/>
                    </a:cubicBezTo>
                    <a:cubicBezTo>
                      <a:pt x="420339" y="423409"/>
                      <a:pt x="420339" y="423409"/>
                      <a:pt x="420339" y="42340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ADEA74E6-CFAC-45F3-AADC-1E1274454178}"/>
                  </a:ext>
                </a:extLst>
              </p:cNvPr>
              <p:cNvSpPr/>
              <p:nvPr/>
            </p:nvSpPr>
            <p:spPr>
              <a:xfrm>
                <a:off x="24191121" y="3651804"/>
                <a:ext cx="61363" cy="61363"/>
              </a:xfrm>
              <a:custGeom>
                <a:avLst/>
                <a:gdLst>
                  <a:gd name="connsiteX0" fmla="*/ 30682 w 61363"/>
                  <a:gd name="connsiteY0" fmla="*/ 61364 h 61363"/>
                  <a:gd name="connsiteX1" fmla="*/ 30682 w 61363"/>
                  <a:gd name="connsiteY1" fmla="*/ 61364 h 61363"/>
                  <a:gd name="connsiteX2" fmla="*/ 9206 w 61363"/>
                  <a:gd name="connsiteY2" fmla="*/ 52159 h 61363"/>
                  <a:gd name="connsiteX3" fmla="*/ 0 w 61363"/>
                  <a:gd name="connsiteY3" fmla="*/ 30682 h 61363"/>
                  <a:gd name="connsiteX4" fmla="*/ 9206 w 61363"/>
                  <a:gd name="connsiteY4" fmla="*/ 9205 h 61363"/>
                  <a:gd name="connsiteX5" fmla="*/ 30682 w 61363"/>
                  <a:gd name="connsiteY5" fmla="*/ 0 h 61363"/>
                  <a:gd name="connsiteX6" fmla="*/ 30682 w 61363"/>
                  <a:gd name="connsiteY6" fmla="*/ 0 h 61363"/>
                  <a:gd name="connsiteX7" fmla="*/ 52159 w 61363"/>
                  <a:gd name="connsiteY7" fmla="*/ 9205 h 61363"/>
                  <a:gd name="connsiteX8" fmla="*/ 61364 w 61363"/>
                  <a:gd name="connsiteY8" fmla="*/ 30682 h 61363"/>
                  <a:gd name="connsiteX9" fmla="*/ 52159 w 61363"/>
                  <a:gd name="connsiteY9" fmla="*/ 52159 h 61363"/>
                  <a:gd name="connsiteX10" fmla="*/ 30682 w 61363"/>
                  <a:gd name="connsiteY10" fmla="*/ 61364 h 61363"/>
                  <a:gd name="connsiteX11" fmla="*/ 30682 w 61363"/>
                  <a:gd name="connsiteY11" fmla="*/ 9205 h 61363"/>
                  <a:gd name="connsiteX12" fmla="*/ 15341 w 61363"/>
                  <a:gd name="connsiteY12" fmla="*/ 15341 h 61363"/>
                  <a:gd name="connsiteX13" fmla="*/ 9206 w 61363"/>
                  <a:gd name="connsiteY13" fmla="*/ 30682 h 61363"/>
                  <a:gd name="connsiteX14" fmla="*/ 9206 w 61363"/>
                  <a:gd name="connsiteY14" fmla="*/ 30682 h 61363"/>
                  <a:gd name="connsiteX15" fmla="*/ 15341 w 61363"/>
                  <a:gd name="connsiteY15" fmla="*/ 46023 h 61363"/>
                  <a:gd name="connsiteX16" fmla="*/ 30682 w 61363"/>
                  <a:gd name="connsiteY16" fmla="*/ 52159 h 61363"/>
                  <a:gd name="connsiteX17" fmla="*/ 46023 w 61363"/>
                  <a:gd name="connsiteY17" fmla="*/ 46023 h 61363"/>
                  <a:gd name="connsiteX18" fmla="*/ 52159 w 61363"/>
                  <a:gd name="connsiteY18" fmla="*/ 30682 h 61363"/>
                  <a:gd name="connsiteX19" fmla="*/ 46023 w 61363"/>
                  <a:gd name="connsiteY19" fmla="*/ 15341 h 61363"/>
                  <a:gd name="connsiteX20" fmla="*/ 30682 w 61363"/>
                  <a:gd name="connsiteY20" fmla="*/ 9205 h 61363"/>
                  <a:gd name="connsiteX21" fmla="*/ 30682 w 61363"/>
                  <a:gd name="connsiteY21" fmla="*/ 9205 h 61363"/>
                  <a:gd name="connsiteX22" fmla="*/ 3069 w 61363"/>
                  <a:gd name="connsiteY22" fmla="*/ 27614 h 61363"/>
                  <a:gd name="connsiteX23" fmla="*/ 3069 w 61363"/>
                  <a:gd name="connsiteY23" fmla="*/ 27614 h 61363"/>
                  <a:gd name="connsiteX24" fmla="*/ 3069 w 61363"/>
                  <a:gd name="connsiteY24" fmla="*/ 27614 h 61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1363" h="61363">
                    <a:moveTo>
                      <a:pt x="30682" y="61364"/>
                    </a:moveTo>
                    <a:cubicBezTo>
                      <a:pt x="30682" y="61364"/>
                      <a:pt x="27614" y="61364"/>
                      <a:pt x="30682" y="61364"/>
                    </a:cubicBezTo>
                    <a:cubicBezTo>
                      <a:pt x="21478" y="61364"/>
                      <a:pt x="15341" y="58295"/>
                      <a:pt x="9206" y="52159"/>
                    </a:cubicBezTo>
                    <a:cubicBezTo>
                      <a:pt x="3069" y="46023"/>
                      <a:pt x="0" y="36818"/>
                      <a:pt x="0" y="30682"/>
                    </a:cubicBezTo>
                    <a:cubicBezTo>
                      <a:pt x="0" y="21477"/>
                      <a:pt x="3069" y="15341"/>
                      <a:pt x="9206" y="9205"/>
                    </a:cubicBezTo>
                    <a:cubicBezTo>
                      <a:pt x="15341" y="3068"/>
                      <a:pt x="21478" y="0"/>
                      <a:pt x="30682" y="0"/>
                    </a:cubicBezTo>
                    <a:cubicBezTo>
                      <a:pt x="30682" y="0"/>
                      <a:pt x="30682" y="0"/>
                      <a:pt x="30682" y="0"/>
                    </a:cubicBezTo>
                    <a:cubicBezTo>
                      <a:pt x="39888" y="0"/>
                      <a:pt x="46023" y="3068"/>
                      <a:pt x="52159" y="9205"/>
                    </a:cubicBezTo>
                    <a:cubicBezTo>
                      <a:pt x="58296" y="15341"/>
                      <a:pt x="61364" y="24545"/>
                      <a:pt x="61364" y="30682"/>
                    </a:cubicBezTo>
                    <a:cubicBezTo>
                      <a:pt x="61364" y="39886"/>
                      <a:pt x="58296" y="46023"/>
                      <a:pt x="52159" y="52159"/>
                    </a:cubicBezTo>
                    <a:cubicBezTo>
                      <a:pt x="46023" y="58295"/>
                      <a:pt x="36819" y="61364"/>
                      <a:pt x="30682" y="61364"/>
                    </a:cubicBezTo>
                    <a:close/>
                    <a:moveTo>
                      <a:pt x="30682" y="9205"/>
                    </a:moveTo>
                    <a:cubicBezTo>
                      <a:pt x="24547" y="9205"/>
                      <a:pt x="21478" y="12273"/>
                      <a:pt x="15341" y="15341"/>
                    </a:cubicBezTo>
                    <a:cubicBezTo>
                      <a:pt x="12273" y="18409"/>
                      <a:pt x="9206" y="24545"/>
                      <a:pt x="9206" y="30682"/>
                    </a:cubicBezTo>
                    <a:lnTo>
                      <a:pt x="9206" y="30682"/>
                    </a:lnTo>
                    <a:cubicBezTo>
                      <a:pt x="9206" y="36818"/>
                      <a:pt x="12273" y="39886"/>
                      <a:pt x="15341" y="46023"/>
                    </a:cubicBezTo>
                    <a:cubicBezTo>
                      <a:pt x="18410" y="49091"/>
                      <a:pt x="24547" y="52159"/>
                      <a:pt x="30682" y="52159"/>
                    </a:cubicBezTo>
                    <a:cubicBezTo>
                      <a:pt x="36819" y="52159"/>
                      <a:pt x="39888" y="49091"/>
                      <a:pt x="46023" y="46023"/>
                    </a:cubicBezTo>
                    <a:cubicBezTo>
                      <a:pt x="49092" y="42954"/>
                      <a:pt x="52159" y="36818"/>
                      <a:pt x="52159" y="30682"/>
                    </a:cubicBezTo>
                    <a:cubicBezTo>
                      <a:pt x="52159" y="24545"/>
                      <a:pt x="49092" y="21477"/>
                      <a:pt x="46023" y="15341"/>
                    </a:cubicBezTo>
                    <a:cubicBezTo>
                      <a:pt x="39888" y="12273"/>
                      <a:pt x="33751" y="9205"/>
                      <a:pt x="30682" y="9205"/>
                    </a:cubicBezTo>
                    <a:cubicBezTo>
                      <a:pt x="30682" y="9205"/>
                      <a:pt x="30682" y="9205"/>
                      <a:pt x="30682" y="9205"/>
                    </a:cubicBezTo>
                    <a:close/>
                    <a:moveTo>
                      <a:pt x="3069" y="27614"/>
                    </a:moveTo>
                    <a:lnTo>
                      <a:pt x="3069" y="27614"/>
                    </a:lnTo>
                    <a:lnTo>
                      <a:pt x="3069" y="27614"/>
                    </a:ln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9AAF7191-6BB1-4B57-A0DB-5359D3E76F4E}"/>
                  </a:ext>
                </a:extLst>
              </p:cNvPr>
              <p:cNvSpPr/>
              <p:nvPr/>
            </p:nvSpPr>
            <p:spPr>
              <a:xfrm>
                <a:off x="23776916" y="3645668"/>
                <a:ext cx="61363" cy="61363"/>
              </a:xfrm>
              <a:custGeom>
                <a:avLst/>
                <a:gdLst>
                  <a:gd name="connsiteX0" fmla="*/ 30682 w 61363"/>
                  <a:gd name="connsiteY0" fmla="*/ 61364 h 61363"/>
                  <a:gd name="connsiteX1" fmla="*/ 30682 w 61363"/>
                  <a:gd name="connsiteY1" fmla="*/ 61364 h 61363"/>
                  <a:gd name="connsiteX2" fmla="*/ 0 w 61363"/>
                  <a:gd name="connsiteY2" fmla="*/ 30682 h 61363"/>
                  <a:gd name="connsiteX3" fmla="*/ 0 w 61363"/>
                  <a:gd name="connsiteY3" fmla="*/ 30682 h 61363"/>
                  <a:gd name="connsiteX4" fmla="*/ 9206 w 61363"/>
                  <a:gd name="connsiteY4" fmla="*/ 9205 h 61363"/>
                  <a:gd name="connsiteX5" fmla="*/ 30682 w 61363"/>
                  <a:gd name="connsiteY5" fmla="*/ 0 h 61363"/>
                  <a:gd name="connsiteX6" fmla="*/ 30682 w 61363"/>
                  <a:gd name="connsiteY6" fmla="*/ 0 h 61363"/>
                  <a:gd name="connsiteX7" fmla="*/ 61364 w 61363"/>
                  <a:gd name="connsiteY7" fmla="*/ 30682 h 61363"/>
                  <a:gd name="connsiteX8" fmla="*/ 30682 w 61363"/>
                  <a:gd name="connsiteY8" fmla="*/ 61364 h 61363"/>
                  <a:gd name="connsiteX9" fmla="*/ 3069 w 61363"/>
                  <a:gd name="connsiteY9" fmla="*/ 30682 h 61363"/>
                  <a:gd name="connsiteX10" fmla="*/ 9206 w 61363"/>
                  <a:gd name="connsiteY10" fmla="*/ 30682 h 61363"/>
                  <a:gd name="connsiteX11" fmla="*/ 27614 w 61363"/>
                  <a:gd name="connsiteY11" fmla="*/ 52159 h 61363"/>
                  <a:gd name="connsiteX12" fmla="*/ 27614 w 61363"/>
                  <a:gd name="connsiteY12" fmla="*/ 52159 h 61363"/>
                  <a:gd name="connsiteX13" fmla="*/ 49092 w 61363"/>
                  <a:gd name="connsiteY13" fmla="*/ 33750 h 61363"/>
                  <a:gd name="connsiteX14" fmla="*/ 30682 w 61363"/>
                  <a:gd name="connsiteY14" fmla="*/ 12273 h 61363"/>
                  <a:gd name="connsiteX15" fmla="*/ 30682 w 61363"/>
                  <a:gd name="connsiteY15" fmla="*/ 12273 h 61363"/>
                  <a:gd name="connsiteX16" fmla="*/ 12273 w 61363"/>
                  <a:gd name="connsiteY16" fmla="*/ 30682 h 61363"/>
                  <a:gd name="connsiteX17" fmla="*/ 3069 w 61363"/>
                  <a:gd name="connsiteY17" fmla="*/ 30682 h 61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1363" h="61363">
                    <a:moveTo>
                      <a:pt x="30682" y="61364"/>
                    </a:moveTo>
                    <a:cubicBezTo>
                      <a:pt x="30682" y="61364"/>
                      <a:pt x="30682" y="61364"/>
                      <a:pt x="30682" y="61364"/>
                    </a:cubicBezTo>
                    <a:cubicBezTo>
                      <a:pt x="12273" y="61364"/>
                      <a:pt x="0" y="46023"/>
                      <a:pt x="0" y="30682"/>
                    </a:cubicBezTo>
                    <a:lnTo>
                      <a:pt x="0" y="30682"/>
                    </a:lnTo>
                    <a:cubicBezTo>
                      <a:pt x="0" y="21477"/>
                      <a:pt x="3069" y="15341"/>
                      <a:pt x="9206" y="9205"/>
                    </a:cubicBezTo>
                    <a:cubicBezTo>
                      <a:pt x="15341" y="3068"/>
                      <a:pt x="21478" y="0"/>
                      <a:pt x="30682" y="0"/>
                    </a:cubicBezTo>
                    <a:cubicBezTo>
                      <a:pt x="30682" y="0"/>
                      <a:pt x="30682" y="0"/>
                      <a:pt x="30682" y="0"/>
                    </a:cubicBezTo>
                    <a:cubicBezTo>
                      <a:pt x="49092" y="0"/>
                      <a:pt x="61364" y="15341"/>
                      <a:pt x="61364" y="30682"/>
                    </a:cubicBezTo>
                    <a:cubicBezTo>
                      <a:pt x="61364" y="46023"/>
                      <a:pt x="46023" y="61364"/>
                      <a:pt x="30682" y="61364"/>
                    </a:cubicBezTo>
                    <a:close/>
                    <a:moveTo>
                      <a:pt x="3069" y="30682"/>
                    </a:moveTo>
                    <a:lnTo>
                      <a:pt x="9206" y="30682"/>
                    </a:lnTo>
                    <a:cubicBezTo>
                      <a:pt x="9206" y="42954"/>
                      <a:pt x="18410" y="52159"/>
                      <a:pt x="27614" y="52159"/>
                    </a:cubicBezTo>
                    <a:cubicBezTo>
                      <a:pt x="27614" y="52159"/>
                      <a:pt x="27614" y="52159"/>
                      <a:pt x="27614" y="52159"/>
                    </a:cubicBezTo>
                    <a:cubicBezTo>
                      <a:pt x="39888" y="52159"/>
                      <a:pt x="46023" y="42954"/>
                      <a:pt x="49092" y="33750"/>
                    </a:cubicBezTo>
                    <a:cubicBezTo>
                      <a:pt x="49092" y="21477"/>
                      <a:pt x="39888" y="12273"/>
                      <a:pt x="30682" y="12273"/>
                    </a:cubicBezTo>
                    <a:cubicBezTo>
                      <a:pt x="30682" y="12273"/>
                      <a:pt x="30682" y="12273"/>
                      <a:pt x="30682" y="12273"/>
                    </a:cubicBezTo>
                    <a:cubicBezTo>
                      <a:pt x="18410" y="12273"/>
                      <a:pt x="12273" y="21477"/>
                      <a:pt x="12273" y="30682"/>
                    </a:cubicBezTo>
                    <a:lnTo>
                      <a:pt x="3069" y="30682"/>
                    </a:ln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F0E97C92-5BE1-4B18-B914-1A700F79CBEB}"/>
                </a:ext>
              </a:extLst>
            </p:cNvPr>
            <p:cNvGrpSpPr/>
            <p:nvPr/>
          </p:nvGrpSpPr>
          <p:grpSpPr>
            <a:xfrm>
              <a:off x="23966070" y="3236224"/>
              <a:ext cx="225449" cy="194228"/>
              <a:chOff x="23966070" y="3236224"/>
              <a:chExt cx="225449" cy="194228"/>
            </a:xfrm>
          </p:grpSpPr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2A9A3202-5FB1-47DC-A738-1A9B6E855220}"/>
                  </a:ext>
                </a:extLst>
              </p:cNvPr>
              <p:cNvSpPr/>
              <p:nvPr/>
            </p:nvSpPr>
            <p:spPr>
              <a:xfrm>
                <a:off x="23966070" y="3237600"/>
                <a:ext cx="167019" cy="102075"/>
              </a:xfrm>
              <a:custGeom>
                <a:avLst/>
                <a:gdLst>
                  <a:gd name="connsiteX0" fmla="*/ 4143 w 167019"/>
                  <a:gd name="connsiteY0" fmla="*/ 61364 h 102075"/>
                  <a:gd name="connsiteX1" fmla="*/ 93119 w 167019"/>
                  <a:gd name="connsiteY1" fmla="*/ 12273 h 102075"/>
                  <a:gd name="connsiteX2" fmla="*/ 108460 w 167019"/>
                  <a:gd name="connsiteY2" fmla="*/ 3068 h 102075"/>
                  <a:gd name="connsiteX3" fmla="*/ 126870 w 167019"/>
                  <a:gd name="connsiteY3" fmla="*/ 0 h 102075"/>
                  <a:gd name="connsiteX4" fmla="*/ 166756 w 167019"/>
                  <a:gd name="connsiteY4" fmla="*/ 30682 h 102075"/>
                  <a:gd name="connsiteX5" fmla="*/ 133005 w 167019"/>
                  <a:gd name="connsiteY5" fmla="*/ 64432 h 102075"/>
                  <a:gd name="connsiteX6" fmla="*/ 71641 w 167019"/>
                  <a:gd name="connsiteY6" fmla="*/ 92045 h 102075"/>
                  <a:gd name="connsiteX7" fmla="*/ 22551 w 167019"/>
                  <a:gd name="connsiteY7" fmla="*/ 98182 h 102075"/>
                  <a:gd name="connsiteX8" fmla="*/ 4143 w 167019"/>
                  <a:gd name="connsiteY8" fmla="*/ 61364 h 102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019" h="102075">
                    <a:moveTo>
                      <a:pt x="4143" y="61364"/>
                    </a:moveTo>
                    <a:cubicBezTo>
                      <a:pt x="19484" y="36818"/>
                      <a:pt x="59370" y="27614"/>
                      <a:pt x="93119" y="12273"/>
                    </a:cubicBezTo>
                    <a:cubicBezTo>
                      <a:pt x="96188" y="12273"/>
                      <a:pt x="105393" y="3068"/>
                      <a:pt x="108460" y="3068"/>
                    </a:cubicBezTo>
                    <a:cubicBezTo>
                      <a:pt x="114597" y="0"/>
                      <a:pt x="120733" y="0"/>
                      <a:pt x="126870" y="0"/>
                    </a:cubicBezTo>
                    <a:cubicBezTo>
                      <a:pt x="145279" y="3068"/>
                      <a:pt x="163687" y="15341"/>
                      <a:pt x="166756" y="30682"/>
                    </a:cubicBezTo>
                    <a:cubicBezTo>
                      <a:pt x="169824" y="49091"/>
                      <a:pt x="145279" y="58295"/>
                      <a:pt x="133005" y="64432"/>
                    </a:cubicBezTo>
                    <a:cubicBezTo>
                      <a:pt x="114597" y="73636"/>
                      <a:pt x="93119" y="82841"/>
                      <a:pt x="71641" y="92045"/>
                    </a:cubicBezTo>
                    <a:cubicBezTo>
                      <a:pt x="56301" y="98182"/>
                      <a:pt x="40960" y="107386"/>
                      <a:pt x="22551" y="98182"/>
                    </a:cubicBezTo>
                    <a:cubicBezTo>
                      <a:pt x="1074" y="88977"/>
                      <a:pt x="-5063" y="70568"/>
                      <a:pt x="4143" y="6136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FA4E8EB6-6D65-40B0-A49D-48B2A67F6F9B}"/>
                  </a:ext>
                </a:extLst>
              </p:cNvPr>
              <p:cNvSpPr/>
              <p:nvPr/>
            </p:nvSpPr>
            <p:spPr>
              <a:xfrm>
                <a:off x="24010375" y="3271350"/>
                <a:ext cx="165668" cy="102075"/>
              </a:xfrm>
              <a:custGeom>
                <a:avLst/>
                <a:gdLst>
                  <a:gd name="connsiteX0" fmla="*/ 2792 w 165668"/>
                  <a:gd name="connsiteY0" fmla="*/ 61364 h 102075"/>
                  <a:gd name="connsiteX1" fmla="*/ 97907 w 165668"/>
                  <a:gd name="connsiteY1" fmla="*/ 6136 h 102075"/>
                  <a:gd name="connsiteX2" fmla="*/ 107111 w 165668"/>
                  <a:gd name="connsiteY2" fmla="*/ 3068 h 102075"/>
                  <a:gd name="connsiteX3" fmla="*/ 125519 w 165668"/>
                  <a:gd name="connsiteY3" fmla="*/ 0 h 102075"/>
                  <a:gd name="connsiteX4" fmla="*/ 165405 w 165668"/>
                  <a:gd name="connsiteY4" fmla="*/ 30682 h 102075"/>
                  <a:gd name="connsiteX5" fmla="*/ 131656 w 165668"/>
                  <a:gd name="connsiteY5" fmla="*/ 64432 h 102075"/>
                  <a:gd name="connsiteX6" fmla="*/ 70292 w 165668"/>
                  <a:gd name="connsiteY6" fmla="*/ 92045 h 102075"/>
                  <a:gd name="connsiteX7" fmla="*/ 21202 w 165668"/>
                  <a:gd name="connsiteY7" fmla="*/ 98182 h 102075"/>
                  <a:gd name="connsiteX8" fmla="*/ 2792 w 165668"/>
                  <a:gd name="connsiteY8" fmla="*/ 61364 h 102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5668" h="102075">
                    <a:moveTo>
                      <a:pt x="2792" y="61364"/>
                    </a:moveTo>
                    <a:cubicBezTo>
                      <a:pt x="18133" y="24545"/>
                      <a:pt x="64156" y="21477"/>
                      <a:pt x="97907" y="6136"/>
                    </a:cubicBezTo>
                    <a:cubicBezTo>
                      <a:pt x="100974" y="6136"/>
                      <a:pt x="104042" y="3068"/>
                      <a:pt x="107111" y="3068"/>
                    </a:cubicBezTo>
                    <a:cubicBezTo>
                      <a:pt x="113248" y="0"/>
                      <a:pt x="119382" y="0"/>
                      <a:pt x="125519" y="0"/>
                    </a:cubicBezTo>
                    <a:cubicBezTo>
                      <a:pt x="143929" y="3068"/>
                      <a:pt x="162338" y="15341"/>
                      <a:pt x="165405" y="30682"/>
                    </a:cubicBezTo>
                    <a:cubicBezTo>
                      <a:pt x="168474" y="49091"/>
                      <a:pt x="143929" y="58296"/>
                      <a:pt x="131656" y="64432"/>
                    </a:cubicBezTo>
                    <a:cubicBezTo>
                      <a:pt x="113248" y="73636"/>
                      <a:pt x="91770" y="82841"/>
                      <a:pt x="70292" y="92045"/>
                    </a:cubicBezTo>
                    <a:cubicBezTo>
                      <a:pt x="54951" y="98182"/>
                      <a:pt x="39610" y="107386"/>
                      <a:pt x="21202" y="98182"/>
                    </a:cubicBezTo>
                    <a:cubicBezTo>
                      <a:pt x="-276" y="92045"/>
                      <a:pt x="-3345" y="73636"/>
                      <a:pt x="2792" y="6136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6E16161E-FD50-4B82-9FD6-E0FD2C378111}"/>
                  </a:ext>
                </a:extLst>
              </p:cNvPr>
              <p:cNvSpPr/>
              <p:nvPr/>
            </p:nvSpPr>
            <p:spPr>
              <a:xfrm>
                <a:off x="24045848" y="3314304"/>
                <a:ext cx="142501" cy="91518"/>
              </a:xfrm>
              <a:custGeom>
                <a:avLst/>
                <a:gdLst>
                  <a:gd name="connsiteX0" fmla="*/ 1070 w 142501"/>
                  <a:gd name="connsiteY0" fmla="*/ 58295 h 91518"/>
                  <a:gd name="connsiteX1" fmla="*/ 83909 w 142501"/>
                  <a:gd name="connsiteY1" fmla="*/ 6136 h 91518"/>
                  <a:gd name="connsiteX2" fmla="*/ 93115 w 142501"/>
                  <a:gd name="connsiteY2" fmla="*/ 3068 h 91518"/>
                  <a:gd name="connsiteX3" fmla="*/ 108456 w 142501"/>
                  <a:gd name="connsiteY3" fmla="*/ 0 h 91518"/>
                  <a:gd name="connsiteX4" fmla="*/ 142205 w 142501"/>
                  <a:gd name="connsiteY4" fmla="*/ 27614 h 91518"/>
                  <a:gd name="connsiteX5" fmla="*/ 111523 w 142501"/>
                  <a:gd name="connsiteY5" fmla="*/ 58295 h 91518"/>
                  <a:gd name="connsiteX6" fmla="*/ 59364 w 142501"/>
                  <a:gd name="connsiteY6" fmla="*/ 82841 h 91518"/>
                  <a:gd name="connsiteX7" fmla="*/ 16411 w 142501"/>
                  <a:gd name="connsiteY7" fmla="*/ 88977 h 91518"/>
                  <a:gd name="connsiteX8" fmla="*/ 1070 w 142501"/>
                  <a:gd name="connsiteY8" fmla="*/ 58295 h 91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2501" h="91518">
                    <a:moveTo>
                      <a:pt x="1070" y="58295"/>
                    </a:moveTo>
                    <a:cubicBezTo>
                      <a:pt x="13341" y="24545"/>
                      <a:pt x="53227" y="21477"/>
                      <a:pt x="83909" y="6136"/>
                    </a:cubicBezTo>
                    <a:cubicBezTo>
                      <a:pt x="86978" y="6136"/>
                      <a:pt x="90046" y="3068"/>
                      <a:pt x="93115" y="3068"/>
                    </a:cubicBezTo>
                    <a:cubicBezTo>
                      <a:pt x="99250" y="0"/>
                      <a:pt x="102319" y="0"/>
                      <a:pt x="108456" y="0"/>
                    </a:cubicBezTo>
                    <a:cubicBezTo>
                      <a:pt x="123797" y="0"/>
                      <a:pt x="139138" y="12273"/>
                      <a:pt x="142205" y="27614"/>
                    </a:cubicBezTo>
                    <a:cubicBezTo>
                      <a:pt x="145273" y="42954"/>
                      <a:pt x="123797" y="52159"/>
                      <a:pt x="111523" y="58295"/>
                    </a:cubicBezTo>
                    <a:cubicBezTo>
                      <a:pt x="96183" y="67500"/>
                      <a:pt x="77774" y="76705"/>
                      <a:pt x="59364" y="82841"/>
                    </a:cubicBezTo>
                    <a:cubicBezTo>
                      <a:pt x="47092" y="88977"/>
                      <a:pt x="31751" y="95114"/>
                      <a:pt x="16411" y="88977"/>
                    </a:cubicBezTo>
                    <a:cubicBezTo>
                      <a:pt x="1070" y="82841"/>
                      <a:pt x="-2000" y="70568"/>
                      <a:pt x="1070" y="58295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59B3B53B-51D6-4C55-BF34-8E0832DA47D7}"/>
                  </a:ext>
                </a:extLst>
              </p:cNvPr>
              <p:cNvSpPr/>
              <p:nvPr/>
            </p:nvSpPr>
            <p:spPr>
              <a:xfrm>
                <a:off x="24085200" y="3363395"/>
                <a:ext cx="106320" cy="67057"/>
              </a:xfrm>
              <a:custGeom>
                <a:avLst/>
                <a:gdLst>
                  <a:gd name="connsiteX0" fmla="*/ 1604 w 106320"/>
                  <a:gd name="connsiteY0" fmla="*/ 42955 h 67057"/>
                  <a:gd name="connsiteX1" fmla="*/ 62968 w 106320"/>
                  <a:gd name="connsiteY1" fmla="*/ 3068 h 67057"/>
                  <a:gd name="connsiteX2" fmla="*/ 69104 w 106320"/>
                  <a:gd name="connsiteY2" fmla="*/ 3068 h 67057"/>
                  <a:gd name="connsiteX3" fmla="*/ 81376 w 106320"/>
                  <a:gd name="connsiteY3" fmla="*/ 0 h 67057"/>
                  <a:gd name="connsiteX4" fmla="*/ 105921 w 106320"/>
                  <a:gd name="connsiteY4" fmla="*/ 21477 h 67057"/>
                  <a:gd name="connsiteX5" fmla="*/ 84445 w 106320"/>
                  <a:gd name="connsiteY5" fmla="*/ 42955 h 67057"/>
                  <a:gd name="connsiteX6" fmla="*/ 44557 w 106320"/>
                  <a:gd name="connsiteY6" fmla="*/ 61364 h 67057"/>
                  <a:gd name="connsiteX7" fmla="*/ 13876 w 106320"/>
                  <a:gd name="connsiteY7" fmla="*/ 64432 h 67057"/>
                  <a:gd name="connsiteX8" fmla="*/ 1604 w 106320"/>
                  <a:gd name="connsiteY8" fmla="*/ 42955 h 6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6320" h="67057">
                    <a:moveTo>
                      <a:pt x="1604" y="42955"/>
                    </a:moveTo>
                    <a:cubicBezTo>
                      <a:pt x="10808" y="18409"/>
                      <a:pt x="41490" y="15341"/>
                      <a:pt x="62968" y="3068"/>
                    </a:cubicBezTo>
                    <a:cubicBezTo>
                      <a:pt x="66035" y="3068"/>
                      <a:pt x="66035" y="3068"/>
                      <a:pt x="69104" y="3068"/>
                    </a:cubicBezTo>
                    <a:cubicBezTo>
                      <a:pt x="72172" y="3068"/>
                      <a:pt x="75239" y="0"/>
                      <a:pt x="81376" y="0"/>
                    </a:cubicBezTo>
                    <a:cubicBezTo>
                      <a:pt x="93649" y="0"/>
                      <a:pt x="102854" y="9205"/>
                      <a:pt x="105921" y="21477"/>
                    </a:cubicBezTo>
                    <a:cubicBezTo>
                      <a:pt x="108990" y="33750"/>
                      <a:pt x="93649" y="39886"/>
                      <a:pt x="84445" y="42955"/>
                    </a:cubicBezTo>
                    <a:cubicBezTo>
                      <a:pt x="72172" y="49091"/>
                      <a:pt x="59898" y="55227"/>
                      <a:pt x="44557" y="61364"/>
                    </a:cubicBezTo>
                    <a:cubicBezTo>
                      <a:pt x="35353" y="64432"/>
                      <a:pt x="23082" y="70568"/>
                      <a:pt x="13876" y="64432"/>
                    </a:cubicBezTo>
                    <a:cubicBezTo>
                      <a:pt x="-1465" y="61364"/>
                      <a:pt x="-1465" y="49091"/>
                      <a:pt x="1604" y="42955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507431AC-36BC-4BFE-A1D5-4F8EEEFCA811}"/>
                  </a:ext>
                </a:extLst>
              </p:cNvPr>
              <p:cNvSpPr/>
              <p:nvPr/>
            </p:nvSpPr>
            <p:spPr>
              <a:xfrm>
                <a:off x="23990418" y="3236224"/>
                <a:ext cx="178928" cy="139443"/>
              </a:xfrm>
              <a:custGeom>
                <a:avLst/>
                <a:gdLst>
                  <a:gd name="connsiteX0" fmla="*/ 50363 w 178928"/>
                  <a:gd name="connsiteY0" fmla="*/ 139444 h 139443"/>
                  <a:gd name="connsiteX1" fmla="*/ 16611 w 178928"/>
                  <a:gd name="connsiteY1" fmla="*/ 127171 h 139443"/>
                  <a:gd name="connsiteX2" fmla="*/ 7407 w 178928"/>
                  <a:gd name="connsiteY2" fmla="*/ 105694 h 139443"/>
                  <a:gd name="connsiteX3" fmla="*/ 16611 w 178928"/>
                  <a:gd name="connsiteY3" fmla="*/ 96489 h 139443"/>
                  <a:gd name="connsiteX4" fmla="*/ 123998 w 178928"/>
                  <a:gd name="connsiteY4" fmla="*/ 41262 h 139443"/>
                  <a:gd name="connsiteX5" fmla="*/ 120930 w 178928"/>
                  <a:gd name="connsiteY5" fmla="*/ 22853 h 139443"/>
                  <a:gd name="connsiteX6" fmla="*/ 111726 w 178928"/>
                  <a:gd name="connsiteY6" fmla="*/ 13648 h 139443"/>
                  <a:gd name="connsiteX7" fmla="*/ 10477 w 178928"/>
                  <a:gd name="connsiteY7" fmla="*/ 47398 h 139443"/>
                  <a:gd name="connsiteX8" fmla="*/ 1271 w 178928"/>
                  <a:gd name="connsiteY8" fmla="*/ 44330 h 139443"/>
                  <a:gd name="connsiteX9" fmla="*/ 4340 w 178928"/>
                  <a:gd name="connsiteY9" fmla="*/ 35126 h 139443"/>
                  <a:gd name="connsiteX10" fmla="*/ 114794 w 178928"/>
                  <a:gd name="connsiteY10" fmla="*/ 1376 h 139443"/>
                  <a:gd name="connsiteX11" fmla="*/ 130135 w 178928"/>
                  <a:gd name="connsiteY11" fmla="*/ 16717 h 139443"/>
                  <a:gd name="connsiteX12" fmla="*/ 133204 w 178928"/>
                  <a:gd name="connsiteY12" fmla="*/ 28989 h 139443"/>
                  <a:gd name="connsiteX13" fmla="*/ 133204 w 178928"/>
                  <a:gd name="connsiteY13" fmla="*/ 28989 h 139443"/>
                  <a:gd name="connsiteX14" fmla="*/ 176157 w 178928"/>
                  <a:gd name="connsiteY14" fmla="*/ 56603 h 139443"/>
                  <a:gd name="connsiteX15" fmla="*/ 127067 w 178928"/>
                  <a:gd name="connsiteY15" fmla="*/ 111830 h 139443"/>
                  <a:gd name="connsiteX16" fmla="*/ 50363 w 178928"/>
                  <a:gd name="connsiteY16" fmla="*/ 139444 h 139443"/>
                  <a:gd name="connsiteX17" fmla="*/ 22748 w 178928"/>
                  <a:gd name="connsiteY17" fmla="*/ 102626 h 139443"/>
                  <a:gd name="connsiteX18" fmla="*/ 22748 w 178928"/>
                  <a:gd name="connsiteY18" fmla="*/ 102626 h 139443"/>
                  <a:gd name="connsiteX19" fmla="*/ 25817 w 178928"/>
                  <a:gd name="connsiteY19" fmla="*/ 117967 h 139443"/>
                  <a:gd name="connsiteX20" fmla="*/ 127067 w 178928"/>
                  <a:gd name="connsiteY20" fmla="*/ 102626 h 139443"/>
                  <a:gd name="connsiteX21" fmla="*/ 170021 w 178928"/>
                  <a:gd name="connsiteY21" fmla="*/ 62739 h 139443"/>
                  <a:gd name="connsiteX22" fmla="*/ 136271 w 178928"/>
                  <a:gd name="connsiteY22" fmla="*/ 41262 h 139443"/>
                  <a:gd name="connsiteX23" fmla="*/ 136271 w 178928"/>
                  <a:gd name="connsiteY23" fmla="*/ 41262 h 139443"/>
                  <a:gd name="connsiteX24" fmla="*/ 22748 w 178928"/>
                  <a:gd name="connsiteY24" fmla="*/ 102626 h 139443"/>
                  <a:gd name="connsiteX25" fmla="*/ 22748 w 178928"/>
                  <a:gd name="connsiteY25" fmla="*/ 102626 h 139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78928" h="139443">
                    <a:moveTo>
                      <a:pt x="50363" y="139444"/>
                    </a:moveTo>
                    <a:cubicBezTo>
                      <a:pt x="38089" y="139444"/>
                      <a:pt x="25817" y="136376"/>
                      <a:pt x="16611" y="127171"/>
                    </a:cubicBezTo>
                    <a:cubicBezTo>
                      <a:pt x="10477" y="117967"/>
                      <a:pt x="7407" y="111830"/>
                      <a:pt x="7407" y="105694"/>
                    </a:cubicBezTo>
                    <a:cubicBezTo>
                      <a:pt x="10477" y="96489"/>
                      <a:pt x="16611" y="96489"/>
                      <a:pt x="16611" y="96489"/>
                    </a:cubicBezTo>
                    <a:cubicBezTo>
                      <a:pt x="81044" y="75012"/>
                      <a:pt x="117863" y="56603"/>
                      <a:pt x="123998" y="41262"/>
                    </a:cubicBezTo>
                    <a:cubicBezTo>
                      <a:pt x="127067" y="35126"/>
                      <a:pt x="123998" y="32058"/>
                      <a:pt x="120930" y="22853"/>
                    </a:cubicBezTo>
                    <a:cubicBezTo>
                      <a:pt x="117863" y="19785"/>
                      <a:pt x="114794" y="16717"/>
                      <a:pt x="111726" y="13648"/>
                    </a:cubicBezTo>
                    <a:cubicBezTo>
                      <a:pt x="87181" y="7512"/>
                      <a:pt x="28885" y="35126"/>
                      <a:pt x="10477" y="47398"/>
                    </a:cubicBezTo>
                    <a:cubicBezTo>
                      <a:pt x="7407" y="50467"/>
                      <a:pt x="4340" y="47398"/>
                      <a:pt x="1271" y="44330"/>
                    </a:cubicBezTo>
                    <a:cubicBezTo>
                      <a:pt x="-1797" y="41262"/>
                      <a:pt x="1271" y="38194"/>
                      <a:pt x="4340" y="35126"/>
                    </a:cubicBezTo>
                    <a:cubicBezTo>
                      <a:pt x="7407" y="32058"/>
                      <a:pt x="81044" y="-7829"/>
                      <a:pt x="114794" y="1376"/>
                    </a:cubicBezTo>
                    <a:cubicBezTo>
                      <a:pt x="123998" y="4444"/>
                      <a:pt x="127067" y="7512"/>
                      <a:pt x="130135" y="16717"/>
                    </a:cubicBezTo>
                    <a:cubicBezTo>
                      <a:pt x="130135" y="19785"/>
                      <a:pt x="133204" y="25921"/>
                      <a:pt x="133204" y="28989"/>
                    </a:cubicBezTo>
                    <a:cubicBezTo>
                      <a:pt x="133204" y="28989"/>
                      <a:pt x="133204" y="28989"/>
                      <a:pt x="133204" y="28989"/>
                    </a:cubicBezTo>
                    <a:cubicBezTo>
                      <a:pt x="133204" y="28989"/>
                      <a:pt x="166953" y="38194"/>
                      <a:pt x="176157" y="56603"/>
                    </a:cubicBezTo>
                    <a:cubicBezTo>
                      <a:pt x="188431" y="81148"/>
                      <a:pt x="157749" y="96489"/>
                      <a:pt x="127067" y="111830"/>
                    </a:cubicBezTo>
                    <a:cubicBezTo>
                      <a:pt x="108657" y="127171"/>
                      <a:pt x="74908" y="139444"/>
                      <a:pt x="50363" y="139444"/>
                    </a:cubicBezTo>
                    <a:close/>
                    <a:moveTo>
                      <a:pt x="22748" y="102626"/>
                    </a:moveTo>
                    <a:cubicBezTo>
                      <a:pt x="22748" y="102626"/>
                      <a:pt x="22748" y="102626"/>
                      <a:pt x="22748" y="102626"/>
                    </a:cubicBezTo>
                    <a:cubicBezTo>
                      <a:pt x="19681" y="105694"/>
                      <a:pt x="19681" y="108762"/>
                      <a:pt x="25817" y="117967"/>
                    </a:cubicBezTo>
                    <a:cubicBezTo>
                      <a:pt x="38089" y="133307"/>
                      <a:pt x="74908" y="127171"/>
                      <a:pt x="127067" y="102626"/>
                    </a:cubicBezTo>
                    <a:cubicBezTo>
                      <a:pt x="166953" y="84217"/>
                      <a:pt x="176157" y="75012"/>
                      <a:pt x="170021" y="62739"/>
                    </a:cubicBezTo>
                    <a:cubicBezTo>
                      <a:pt x="163886" y="50467"/>
                      <a:pt x="142408" y="44330"/>
                      <a:pt x="136271" y="41262"/>
                    </a:cubicBezTo>
                    <a:cubicBezTo>
                      <a:pt x="136271" y="41262"/>
                      <a:pt x="136271" y="41262"/>
                      <a:pt x="136271" y="41262"/>
                    </a:cubicBezTo>
                    <a:cubicBezTo>
                      <a:pt x="133204" y="53535"/>
                      <a:pt x="114794" y="75012"/>
                      <a:pt x="22748" y="102626"/>
                    </a:cubicBezTo>
                    <a:lnTo>
                      <a:pt x="22748" y="102626"/>
                    </a:ln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CFFF6EEA-5B7C-4DE1-94BB-4B1BA3EC05B5}"/>
                  </a:ext>
                </a:extLst>
              </p:cNvPr>
              <p:cNvSpPr/>
              <p:nvPr/>
            </p:nvSpPr>
            <p:spPr>
              <a:xfrm>
                <a:off x="24039577" y="3311236"/>
                <a:ext cx="151543" cy="104318"/>
              </a:xfrm>
              <a:custGeom>
                <a:avLst/>
                <a:gdLst>
                  <a:gd name="connsiteX0" fmla="*/ 28817 w 151543"/>
                  <a:gd name="connsiteY0" fmla="*/ 104318 h 104318"/>
                  <a:gd name="connsiteX1" fmla="*/ 7341 w 151543"/>
                  <a:gd name="connsiteY1" fmla="*/ 92045 h 104318"/>
                  <a:gd name="connsiteX2" fmla="*/ 1204 w 151543"/>
                  <a:gd name="connsiteY2" fmla="*/ 61364 h 104318"/>
                  <a:gd name="connsiteX3" fmla="*/ 10408 w 151543"/>
                  <a:gd name="connsiteY3" fmla="*/ 58296 h 104318"/>
                  <a:gd name="connsiteX4" fmla="*/ 13476 w 151543"/>
                  <a:gd name="connsiteY4" fmla="*/ 67500 h 104318"/>
                  <a:gd name="connsiteX5" fmla="*/ 16545 w 151543"/>
                  <a:gd name="connsiteY5" fmla="*/ 85909 h 104318"/>
                  <a:gd name="connsiteX6" fmla="*/ 28817 w 151543"/>
                  <a:gd name="connsiteY6" fmla="*/ 92045 h 104318"/>
                  <a:gd name="connsiteX7" fmla="*/ 126999 w 151543"/>
                  <a:gd name="connsiteY7" fmla="*/ 52159 h 104318"/>
                  <a:gd name="connsiteX8" fmla="*/ 139272 w 151543"/>
                  <a:gd name="connsiteY8" fmla="*/ 33750 h 104318"/>
                  <a:gd name="connsiteX9" fmla="*/ 123931 w 151543"/>
                  <a:gd name="connsiteY9" fmla="*/ 12273 h 104318"/>
                  <a:gd name="connsiteX10" fmla="*/ 120862 w 151543"/>
                  <a:gd name="connsiteY10" fmla="*/ 3068 h 104318"/>
                  <a:gd name="connsiteX11" fmla="*/ 130068 w 151543"/>
                  <a:gd name="connsiteY11" fmla="*/ 0 h 104318"/>
                  <a:gd name="connsiteX12" fmla="*/ 151544 w 151543"/>
                  <a:gd name="connsiteY12" fmla="*/ 30682 h 104318"/>
                  <a:gd name="connsiteX13" fmla="*/ 136203 w 151543"/>
                  <a:gd name="connsiteY13" fmla="*/ 58296 h 104318"/>
                  <a:gd name="connsiteX14" fmla="*/ 28817 w 151543"/>
                  <a:gd name="connsiteY14" fmla="*/ 104318 h 104318"/>
                  <a:gd name="connsiteX15" fmla="*/ 28817 w 151543"/>
                  <a:gd name="connsiteY15" fmla="*/ 104318 h 104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1543" h="104318">
                    <a:moveTo>
                      <a:pt x="28817" y="104318"/>
                    </a:moveTo>
                    <a:cubicBezTo>
                      <a:pt x="19612" y="104318"/>
                      <a:pt x="13476" y="101250"/>
                      <a:pt x="7341" y="92045"/>
                    </a:cubicBezTo>
                    <a:cubicBezTo>
                      <a:pt x="1204" y="82841"/>
                      <a:pt x="-1865" y="67500"/>
                      <a:pt x="1204" y="61364"/>
                    </a:cubicBezTo>
                    <a:cubicBezTo>
                      <a:pt x="1204" y="58296"/>
                      <a:pt x="7341" y="58296"/>
                      <a:pt x="10408" y="58296"/>
                    </a:cubicBezTo>
                    <a:cubicBezTo>
                      <a:pt x="13476" y="58296"/>
                      <a:pt x="13476" y="64432"/>
                      <a:pt x="13476" y="67500"/>
                    </a:cubicBezTo>
                    <a:cubicBezTo>
                      <a:pt x="13476" y="70568"/>
                      <a:pt x="13476" y="79773"/>
                      <a:pt x="16545" y="85909"/>
                    </a:cubicBezTo>
                    <a:cubicBezTo>
                      <a:pt x="19612" y="88977"/>
                      <a:pt x="22682" y="95114"/>
                      <a:pt x="28817" y="92045"/>
                    </a:cubicBezTo>
                    <a:cubicBezTo>
                      <a:pt x="44158" y="92045"/>
                      <a:pt x="93250" y="76705"/>
                      <a:pt x="126999" y="52159"/>
                    </a:cubicBezTo>
                    <a:cubicBezTo>
                      <a:pt x="136203" y="46023"/>
                      <a:pt x="139272" y="39886"/>
                      <a:pt x="139272" y="33750"/>
                    </a:cubicBezTo>
                    <a:cubicBezTo>
                      <a:pt x="139272" y="21477"/>
                      <a:pt x="123931" y="12273"/>
                      <a:pt x="123931" y="12273"/>
                    </a:cubicBezTo>
                    <a:cubicBezTo>
                      <a:pt x="120862" y="9205"/>
                      <a:pt x="120862" y="6136"/>
                      <a:pt x="120862" y="3068"/>
                    </a:cubicBezTo>
                    <a:cubicBezTo>
                      <a:pt x="123931" y="0"/>
                      <a:pt x="126999" y="0"/>
                      <a:pt x="130068" y="0"/>
                    </a:cubicBezTo>
                    <a:cubicBezTo>
                      <a:pt x="130068" y="0"/>
                      <a:pt x="151544" y="12273"/>
                      <a:pt x="151544" y="30682"/>
                    </a:cubicBezTo>
                    <a:cubicBezTo>
                      <a:pt x="151544" y="39886"/>
                      <a:pt x="145409" y="49091"/>
                      <a:pt x="136203" y="58296"/>
                    </a:cubicBezTo>
                    <a:cubicBezTo>
                      <a:pt x="99386" y="85909"/>
                      <a:pt x="47227" y="101250"/>
                      <a:pt x="28817" y="104318"/>
                    </a:cubicBezTo>
                    <a:cubicBezTo>
                      <a:pt x="28817" y="104318"/>
                      <a:pt x="28817" y="104318"/>
                      <a:pt x="28817" y="10431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699B7CE8-DF3A-412A-BC4C-D58411B9780D}"/>
                </a:ext>
              </a:extLst>
            </p:cNvPr>
            <p:cNvSpPr/>
            <p:nvPr/>
          </p:nvSpPr>
          <p:spPr>
            <a:xfrm>
              <a:off x="24098308" y="3226257"/>
              <a:ext cx="152297" cy="119027"/>
            </a:xfrm>
            <a:custGeom>
              <a:avLst/>
              <a:gdLst>
                <a:gd name="connsiteX0" fmla="*/ 16108 w 152297"/>
                <a:gd name="connsiteY0" fmla="*/ 118729 h 119027"/>
                <a:gd name="connsiteX1" fmla="*/ 34518 w 152297"/>
                <a:gd name="connsiteY1" fmla="*/ 94184 h 119027"/>
                <a:gd name="connsiteX2" fmla="*/ 89745 w 152297"/>
                <a:gd name="connsiteY2" fmla="*/ 60434 h 119027"/>
                <a:gd name="connsiteX3" fmla="*/ 151109 w 152297"/>
                <a:gd name="connsiteY3" fmla="*/ 75775 h 119027"/>
                <a:gd name="connsiteX4" fmla="*/ 114290 w 152297"/>
                <a:gd name="connsiteY4" fmla="*/ 2138 h 119027"/>
                <a:gd name="connsiteX5" fmla="*/ 6904 w 152297"/>
                <a:gd name="connsiteY5" fmla="*/ 32820 h 119027"/>
                <a:gd name="connsiteX6" fmla="*/ 16108 w 152297"/>
                <a:gd name="connsiteY6" fmla="*/ 118729 h 11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297" h="119027">
                  <a:moveTo>
                    <a:pt x="16108" y="118729"/>
                  </a:moveTo>
                  <a:cubicBezTo>
                    <a:pt x="25314" y="121797"/>
                    <a:pt x="28381" y="100320"/>
                    <a:pt x="34518" y="94184"/>
                  </a:cubicBezTo>
                  <a:cubicBezTo>
                    <a:pt x="49859" y="75775"/>
                    <a:pt x="65200" y="63502"/>
                    <a:pt x="89745" y="60434"/>
                  </a:cubicBezTo>
                  <a:cubicBezTo>
                    <a:pt x="105086" y="60434"/>
                    <a:pt x="138835" y="72707"/>
                    <a:pt x="151109" y="75775"/>
                  </a:cubicBezTo>
                  <a:cubicBezTo>
                    <a:pt x="157245" y="75775"/>
                    <a:pt x="138835" y="8275"/>
                    <a:pt x="114290" y="2138"/>
                  </a:cubicBezTo>
                  <a:cubicBezTo>
                    <a:pt x="83608" y="-3998"/>
                    <a:pt x="25314" y="2138"/>
                    <a:pt x="6904" y="32820"/>
                  </a:cubicBezTo>
                  <a:cubicBezTo>
                    <a:pt x="767" y="48161"/>
                    <a:pt x="-8437" y="109525"/>
                    <a:pt x="16108" y="118729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3D1E396A-2401-4A21-B997-8F4B10AD0AE6}"/>
                </a:ext>
              </a:extLst>
            </p:cNvPr>
            <p:cNvSpPr/>
            <p:nvPr/>
          </p:nvSpPr>
          <p:spPr>
            <a:xfrm>
              <a:off x="24091757" y="3224498"/>
              <a:ext cx="143589" cy="126623"/>
            </a:xfrm>
            <a:custGeom>
              <a:avLst/>
              <a:gdLst>
                <a:gd name="connsiteX0" fmla="*/ 22660 w 143589"/>
                <a:gd name="connsiteY0" fmla="*/ 126624 h 126623"/>
                <a:gd name="connsiteX1" fmla="*/ 7319 w 143589"/>
                <a:gd name="connsiteY1" fmla="*/ 117419 h 126623"/>
                <a:gd name="connsiteX2" fmla="*/ 13455 w 143589"/>
                <a:gd name="connsiteY2" fmla="*/ 34578 h 126623"/>
                <a:gd name="connsiteX3" fmla="*/ 126978 w 143589"/>
                <a:gd name="connsiteY3" fmla="*/ 828 h 126623"/>
                <a:gd name="connsiteX4" fmla="*/ 133115 w 143589"/>
                <a:gd name="connsiteY4" fmla="*/ 6965 h 126623"/>
                <a:gd name="connsiteX5" fmla="*/ 126978 w 143589"/>
                <a:gd name="connsiteY5" fmla="*/ 13101 h 126623"/>
                <a:gd name="connsiteX6" fmla="*/ 25729 w 143589"/>
                <a:gd name="connsiteY6" fmla="*/ 40715 h 126623"/>
                <a:gd name="connsiteX7" fmla="*/ 19592 w 143589"/>
                <a:gd name="connsiteY7" fmla="*/ 111283 h 126623"/>
                <a:gd name="connsiteX8" fmla="*/ 25729 w 143589"/>
                <a:gd name="connsiteY8" fmla="*/ 114351 h 126623"/>
                <a:gd name="connsiteX9" fmla="*/ 41070 w 143589"/>
                <a:gd name="connsiteY9" fmla="*/ 99010 h 126623"/>
                <a:gd name="connsiteX10" fmla="*/ 102433 w 143589"/>
                <a:gd name="connsiteY10" fmla="*/ 59124 h 126623"/>
                <a:gd name="connsiteX11" fmla="*/ 102433 w 143589"/>
                <a:gd name="connsiteY11" fmla="*/ 59124 h 126623"/>
                <a:gd name="connsiteX12" fmla="*/ 108570 w 143589"/>
                <a:gd name="connsiteY12" fmla="*/ 62192 h 126623"/>
                <a:gd name="connsiteX13" fmla="*/ 139252 w 143589"/>
                <a:gd name="connsiteY13" fmla="*/ 92874 h 126623"/>
                <a:gd name="connsiteX14" fmla="*/ 142319 w 143589"/>
                <a:gd name="connsiteY14" fmla="*/ 99010 h 126623"/>
                <a:gd name="connsiteX15" fmla="*/ 136183 w 143589"/>
                <a:gd name="connsiteY15" fmla="*/ 102078 h 126623"/>
                <a:gd name="connsiteX16" fmla="*/ 99364 w 143589"/>
                <a:gd name="connsiteY16" fmla="*/ 68328 h 126623"/>
                <a:gd name="connsiteX17" fmla="*/ 50274 w 143589"/>
                <a:gd name="connsiteY17" fmla="*/ 105147 h 126623"/>
                <a:gd name="connsiteX18" fmla="*/ 22660 w 143589"/>
                <a:gd name="connsiteY18" fmla="*/ 126624 h 126623"/>
                <a:gd name="connsiteX19" fmla="*/ 22660 w 143589"/>
                <a:gd name="connsiteY19" fmla="*/ 126624 h 126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3589" h="126623">
                  <a:moveTo>
                    <a:pt x="22660" y="126624"/>
                  </a:moveTo>
                  <a:cubicBezTo>
                    <a:pt x="16525" y="126624"/>
                    <a:pt x="10388" y="123556"/>
                    <a:pt x="7319" y="117419"/>
                  </a:cubicBezTo>
                  <a:cubicBezTo>
                    <a:pt x="-1886" y="102078"/>
                    <a:pt x="-4953" y="68328"/>
                    <a:pt x="13455" y="34578"/>
                  </a:cubicBezTo>
                  <a:cubicBezTo>
                    <a:pt x="34933" y="-8376"/>
                    <a:pt x="123911" y="828"/>
                    <a:pt x="126978" y="828"/>
                  </a:cubicBezTo>
                  <a:cubicBezTo>
                    <a:pt x="130046" y="828"/>
                    <a:pt x="133115" y="3897"/>
                    <a:pt x="133115" y="6965"/>
                  </a:cubicBezTo>
                  <a:cubicBezTo>
                    <a:pt x="133115" y="10033"/>
                    <a:pt x="130046" y="13101"/>
                    <a:pt x="126978" y="13101"/>
                  </a:cubicBezTo>
                  <a:cubicBezTo>
                    <a:pt x="126978" y="13101"/>
                    <a:pt x="44137" y="3897"/>
                    <a:pt x="25729" y="40715"/>
                  </a:cubicBezTo>
                  <a:cubicBezTo>
                    <a:pt x="10388" y="68328"/>
                    <a:pt x="10388" y="99010"/>
                    <a:pt x="19592" y="111283"/>
                  </a:cubicBezTo>
                  <a:cubicBezTo>
                    <a:pt x="22660" y="114351"/>
                    <a:pt x="25729" y="114351"/>
                    <a:pt x="25729" y="114351"/>
                  </a:cubicBezTo>
                  <a:cubicBezTo>
                    <a:pt x="28796" y="114351"/>
                    <a:pt x="34933" y="105147"/>
                    <a:pt x="41070" y="99010"/>
                  </a:cubicBezTo>
                  <a:cubicBezTo>
                    <a:pt x="53341" y="80601"/>
                    <a:pt x="68682" y="59124"/>
                    <a:pt x="102433" y="59124"/>
                  </a:cubicBezTo>
                  <a:cubicBezTo>
                    <a:pt x="102433" y="59124"/>
                    <a:pt x="102433" y="59124"/>
                    <a:pt x="102433" y="59124"/>
                  </a:cubicBezTo>
                  <a:cubicBezTo>
                    <a:pt x="105501" y="59124"/>
                    <a:pt x="105501" y="59124"/>
                    <a:pt x="108570" y="62192"/>
                  </a:cubicBezTo>
                  <a:cubicBezTo>
                    <a:pt x="108570" y="62192"/>
                    <a:pt x="120842" y="89806"/>
                    <a:pt x="139252" y="92874"/>
                  </a:cubicBezTo>
                  <a:cubicBezTo>
                    <a:pt x="142319" y="92874"/>
                    <a:pt x="145387" y="95942"/>
                    <a:pt x="142319" y="99010"/>
                  </a:cubicBezTo>
                  <a:cubicBezTo>
                    <a:pt x="142319" y="102078"/>
                    <a:pt x="139252" y="105147"/>
                    <a:pt x="136183" y="102078"/>
                  </a:cubicBezTo>
                  <a:cubicBezTo>
                    <a:pt x="117774" y="95942"/>
                    <a:pt x="102433" y="74465"/>
                    <a:pt x="99364" y="68328"/>
                  </a:cubicBezTo>
                  <a:cubicBezTo>
                    <a:pt x="74819" y="71397"/>
                    <a:pt x="59478" y="89806"/>
                    <a:pt x="50274" y="105147"/>
                  </a:cubicBezTo>
                  <a:cubicBezTo>
                    <a:pt x="38000" y="114351"/>
                    <a:pt x="31866" y="123556"/>
                    <a:pt x="22660" y="126624"/>
                  </a:cubicBezTo>
                  <a:cubicBezTo>
                    <a:pt x="22660" y="126624"/>
                    <a:pt x="22660" y="126624"/>
                    <a:pt x="22660" y="126624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3D68A165-7522-4347-9CB2-E0D79B80886A}"/>
                </a:ext>
              </a:extLst>
            </p:cNvPr>
            <p:cNvSpPr/>
            <p:nvPr/>
          </p:nvSpPr>
          <p:spPr>
            <a:xfrm>
              <a:off x="19930420" y="5980554"/>
              <a:ext cx="29679" cy="245454"/>
            </a:xfrm>
            <a:custGeom>
              <a:avLst/>
              <a:gdLst>
                <a:gd name="connsiteX0" fmla="*/ 8202 w 29679"/>
                <a:gd name="connsiteY0" fmla="*/ 245455 h 245454"/>
                <a:gd name="connsiteX1" fmla="*/ 2065 w 29679"/>
                <a:gd name="connsiteY1" fmla="*/ 239318 h 245454"/>
                <a:gd name="connsiteX2" fmla="*/ 17406 w 29679"/>
                <a:gd name="connsiteY2" fmla="*/ 6136 h 245454"/>
                <a:gd name="connsiteX3" fmla="*/ 23543 w 29679"/>
                <a:gd name="connsiteY3" fmla="*/ 0 h 245454"/>
                <a:gd name="connsiteX4" fmla="*/ 29680 w 29679"/>
                <a:gd name="connsiteY4" fmla="*/ 6136 h 245454"/>
                <a:gd name="connsiteX5" fmla="*/ 14339 w 29679"/>
                <a:gd name="connsiteY5" fmla="*/ 236250 h 245454"/>
                <a:gd name="connsiteX6" fmla="*/ 8202 w 29679"/>
                <a:gd name="connsiteY6" fmla="*/ 245455 h 245454"/>
                <a:gd name="connsiteX7" fmla="*/ 8202 w 29679"/>
                <a:gd name="connsiteY7" fmla="*/ 245455 h 245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679" h="245454">
                  <a:moveTo>
                    <a:pt x="8202" y="245455"/>
                  </a:moveTo>
                  <a:cubicBezTo>
                    <a:pt x="5134" y="245455"/>
                    <a:pt x="2065" y="242386"/>
                    <a:pt x="2065" y="239318"/>
                  </a:cubicBezTo>
                  <a:cubicBezTo>
                    <a:pt x="-7139" y="156477"/>
                    <a:pt x="17406" y="12273"/>
                    <a:pt x="17406" y="6136"/>
                  </a:cubicBezTo>
                  <a:cubicBezTo>
                    <a:pt x="17406" y="3068"/>
                    <a:pt x="20475" y="0"/>
                    <a:pt x="23543" y="0"/>
                  </a:cubicBezTo>
                  <a:cubicBezTo>
                    <a:pt x="26610" y="0"/>
                    <a:pt x="29680" y="3068"/>
                    <a:pt x="29680" y="6136"/>
                  </a:cubicBezTo>
                  <a:cubicBezTo>
                    <a:pt x="29680" y="6136"/>
                    <a:pt x="5134" y="156477"/>
                    <a:pt x="14339" y="236250"/>
                  </a:cubicBezTo>
                  <a:cubicBezTo>
                    <a:pt x="14339" y="242386"/>
                    <a:pt x="14339" y="245455"/>
                    <a:pt x="8202" y="245455"/>
                  </a:cubicBezTo>
                  <a:cubicBezTo>
                    <a:pt x="11269" y="245455"/>
                    <a:pt x="8202" y="245455"/>
                    <a:pt x="8202" y="245455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3447F86C-843D-41EA-AB8D-15010C74E66A}"/>
                </a:ext>
              </a:extLst>
            </p:cNvPr>
            <p:cNvSpPr/>
            <p:nvPr/>
          </p:nvSpPr>
          <p:spPr>
            <a:xfrm>
              <a:off x="20549191" y="3154759"/>
              <a:ext cx="803862" cy="736704"/>
            </a:xfrm>
            <a:custGeom>
              <a:avLst/>
              <a:gdLst>
                <a:gd name="connsiteX0" fmla="*/ 266930 w 803862"/>
                <a:gd name="connsiteY0" fmla="*/ 0 h 736704"/>
                <a:gd name="connsiteX1" fmla="*/ 319090 w 803862"/>
                <a:gd name="connsiteY1" fmla="*/ 536932 h 736704"/>
                <a:gd name="connsiteX2" fmla="*/ 803862 w 803862"/>
                <a:gd name="connsiteY2" fmla="*/ 573750 h 736704"/>
                <a:gd name="connsiteX3" fmla="*/ 760909 w 803862"/>
                <a:gd name="connsiteY3" fmla="*/ 714886 h 736704"/>
                <a:gd name="connsiteX4" fmla="*/ 141136 w 803862"/>
                <a:gd name="connsiteY4" fmla="*/ 714886 h 736704"/>
                <a:gd name="connsiteX5" fmla="*/ 0 w 803862"/>
                <a:gd name="connsiteY5" fmla="*/ 42954 h 736704"/>
                <a:gd name="connsiteX6" fmla="*/ 266930 w 803862"/>
                <a:gd name="connsiteY6" fmla="*/ 0 h 736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3862" h="736704">
                  <a:moveTo>
                    <a:pt x="266930" y="0"/>
                  </a:moveTo>
                  <a:lnTo>
                    <a:pt x="319090" y="536932"/>
                  </a:lnTo>
                  <a:lnTo>
                    <a:pt x="803862" y="573750"/>
                  </a:lnTo>
                  <a:lnTo>
                    <a:pt x="760909" y="714886"/>
                  </a:lnTo>
                  <a:cubicBezTo>
                    <a:pt x="760909" y="714886"/>
                    <a:pt x="248522" y="763977"/>
                    <a:pt x="141136" y="714886"/>
                  </a:cubicBezTo>
                  <a:cubicBezTo>
                    <a:pt x="33749" y="665796"/>
                    <a:pt x="0" y="42954"/>
                    <a:pt x="0" y="42954"/>
                  </a:cubicBezTo>
                  <a:lnTo>
                    <a:pt x="266930" y="0"/>
                  </a:ln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8B7A717E-2BD7-4A6E-BB54-C2E829D3B3E2}"/>
                </a:ext>
              </a:extLst>
            </p:cNvPr>
            <p:cNvSpPr/>
            <p:nvPr/>
          </p:nvSpPr>
          <p:spPr>
            <a:xfrm>
              <a:off x="20794645" y="3127145"/>
              <a:ext cx="79771" cy="595227"/>
            </a:xfrm>
            <a:custGeom>
              <a:avLst/>
              <a:gdLst>
                <a:gd name="connsiteX0" fmla="*/ 33749 w 79771"/>
                <a:gd name="connsiteY0" fmla="*/ 595227 h 595227"/>
                <a:gd name="connsiteX1" fmla="*/ 27613 w 79771"/>
                <a:gd name="connsiteY1" fmla="*/ 592159 h 595227"/>
                <a:gd name="connsiteX2" fmla="*/ 30682 w 79771"/>
                <a:gd name="connsiteY2" fmla="*/ 582955 h 595227"/>
                <a:gd name="connsiteX3" fmla="*/ 67499 w 79771"/>
                <a:gd name="connsiteY3" fmla="*/ 558409 h 595227"/>
                <a:gd name="connsiteX4" fmla="*/ 0 w 79771"/>
                <a:gd name="connsiteY4" fmla="*/ 6136 h 595227"/>
                <a:gd name="connsiteX5" fmla="*/ 6135 w 79771"/>
                <a:gd name="connsiteY5" fmla="*/ 0 h 595227"/>
                <a:gd name="connsiteX6" fmla="*/ 12272 w 79771"/>
                <a:gd name="connsiteY6" fmla="*/ 6136 h 595227"/>
                <a:gd name="connsiteX7" fmla="*/ 79772 w 79771"/>
                <a:gd name="connsiteY7" fmla="*/ 564546 h 595227"/>
                <a:gd name="connsiteX8" fmla="*/ 76705 w 79771"/>
                <a:gd name="connsiteY8" fmla="*/ 570682 h 595227"/>
                <a:gd name="connsiteX9" fmla="*/ 33749 w 79771"/>
                <a:gd name="connsiteY9" fmla="*/ 595227 h 595227"/>
                <a:gd name="connsiteX10" fmla="*/ 33749 w 79771"/>
                <a:gd name="connsiteY10" fmla="*/ 595227 h 595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9771" h="595227">
                  <a:moveTo>
                    <a:pt x="33749" y="595227"/>
                  </a:moveTo>
                  <a:cubicBezTo>
                    <a:pt x="30682" y="595227"/>
                    <a:pt x="27613" y="595227"/>
                    <a:pt x="27613" y="592159"/>
                  </a:cubicBezTo>
                  <a:cubicBezTo>
                    <a:pt x="27613" y="589091"/>
                    <a:pt x="27613" y="586023"/>
                    <a:pt x="30682" y="582955"/>
                  </a:cubicBezTo>
                  <a:cubicBezTo>
                    <a:pt x="42953" y="576818"/>
                    <a:pt x="61364" y="564546"/>
                    <a:pt x="67499" y="558409"/>
                  </a:cubicBezTo>
                  <a:cubicBezTo>
                    <a:pt x="58294" y="454091"/>
                    <a:pt x="0" y="9205"/>
                    <a:pt x="0" y="6136"/>
                  </a:cubicBezTo>
                  <a:cubicBezTo>
                    <a:pt x="0" y="3068"/>
                    <a:pt x="3067" y="0"/>
                    <a:pt x="6135" y="0"/>
                  </a:cubicBezTo>
                  <a:cubicBezTo>
                    <a:pt x="9204" y="0"/>
                    <a:pt x="12272" y="3068"/>
                    <a:pt x="12272" y="6136"/>
                  </a:cubicBezTo>
                  <a:cubicBezTo>
                    <a:pt x="12272" y="9205"/>
                    <a:pt x="73635" y="466364"/>
                    <a:pt x="79772" y="564546"/>
                  </a:cubicBezTo>
                  <a:cubicBezTo>
                    <a:pt x="79772" y="567614"/>
                    <a:pt x="79772" y="567614"/>
                    <a:pt x="76705" y="570682"/>
                  </a:cubicBezTo>
                  <a:cubicBezTo>
                    <a:pt x="76705" y="570682"/>
                    <a:pt x="55227" y="589091"/>
                    <a:pt x="33749" y="595227"/>
                  </a:cubicBezTo>
                  <a:cubicBezTo>
                    <a:pt x="36817" y="595227"/>
                    <a:pt x="36817" y="595227"/>
                    <a:pt x="33749" y="595227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0CD3C93D-B221-4204-B86C-AA8EEA6A5122}"/>
                </a:ext>
              </a:extLst>
            </p:cNvPr>
            <p:cNvSpPr/>
            <p:nvPr/>
          </p:nvSpPr>
          <p:spPr>
            <a:xfrm>
              <a:off x="21253503" y="3721298"/>
              <a:ext cx="168201" cy="175960"/>
            </a:xfrm>
            <a:custGeom>
              <a:avLst/>
              <a:gdLst>
                <a:gd name="connsiteX0" fmla="*/ 167050 w 168201"/>
                <a:gd name="connsiteY0" fmla="*/ 22551 h 175960"/>
                <a:gd name="connsiteX1" fmla="*/ 41255 w 168201"/>
                <a:gd name="connsiteY1" fmla="*/ 4142 h 175960"/>
                <a:gd name="connsiteX2" fmla="*/ 1369 w 168201"/>
                <a:gd name="connsiteY2" fmla="*/ 123801 h 175960"/>
                <a:gd name="connsiteX3" fmla="*/ 81141 w 168201"/>
                <a:gd name="connsiteY3" fmla="*/ 175960 h 175960"/>
                <a:gd name="connsiteX4" fmla="*/ 117960 w 168201"/>
                <a:gd name="connsiteY4" fmla="*/ 163687 h 175960"/>
                <a:gd name="connsiteX5" fmla="*/ 127164 w 168201"/>
                <a:gd name="connsiteY5" fmla="*/ 145278 h 175960"/>
                <a:gd name="connsiteX6" fmla="*/ 139438 w 168201"/>
                <a:gd name="connsiteY6" fmla="*/ 129938 h 175960"/>
                <a:gd name="connsiteX7" fmla="*/ 142505 w 168201"/>
                <a:gd name="connsiteY7" fmla="*/ 114597 h 175960"/>
                <a:gd name="connsiteX8" fmla="*/ 151709 w 168201"/>
                <a:gd name="connsiteY8" fmla="*/ 93119 h 175960"/>
                <a:gd name="connsiteX9" fmla="*/ 160913 w 168201"/>
                <a:gd name="connsiteY9" fmla="*/ 77778 h 175960"/>
                <a:gd name="connsiteX10" fmla="*/ 157846 w 168201"/>
                <a:gd name="connsiteY10" fmla="*/ 59369 h 175960"/>
                <a:gd name="connsiteX11" fmla="*/ 167050 w 168201"/>
                <a:gd name="connsiteY11" fmla="*/ 22551 h 175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8201" h="175960">
                  <a:moveTo>
                    <a:pt x="167050" y="22551"/>
                  </a:moveTo>
                  <a:cubicBezTo>
                    <a:pt x="163983" y="1074"/>
                    <a:pt x="96482" y="-5063"/>
                    <a:pt x="41255" y="4142"/>
                  </a:cubicBezTo>
                  <a:cubicBezTo>
                    <a:pt x="32051" y="4142"/>
                    <a:pt x="-7837" y="108460"/>
                    <a:pt x="1369" y="123801"/>
                  </a:cubicBezTo>
                  <a:cubicBezTo>
                    <a:pt x="16710" y="148347"/>
                    <a:pt x="68868" y="175960"/>
                    <a:pt x="81141" y="175960"/>
                  </a:cubicBezTo>
                  <a:cubicBezTo>
                    <a:pt x="96482" y="175960"/>
                    <a:pt x="108756" y="175960"/>
                    <a:pt x="117960" y="163687"/>
                  </a:cubicBezTo>
                  <a:cubicBezTo>
                    <a:pt x="127164" y="151415"/>
                    <a:pt x="121027" y="151415"/>
                    <a:pt x="127164" y="145278"/>
                  </a:cubicBezTo>
                  <a:cubicBezTo>
                    <a:pt x="130232" y="139142"/>
                    <a:pt x="136368" y="139142"/>
                    <a:pt x="139438" y="129938"/>
                  </a:cubicBezTo>
                  <a:cubicBezTo>
                    <a:pt x="142505" y="123801"/>
                    <a:pt x="139438" y="120733"/>
                    <a:pt x="142505" y="114597"/>
                  </a:cubicBezTo>
                  <a:cubicBezTo>
                    <a:pt x="145572" y="99256"/>
                    <a:pt x="139438" y="108460"/>
                    <a:pt x="151709" y="93119"/>
                  </a:cubicBezTo>
                  <a:cubicBezTo>
                    <a:pt x="154778" y="90051"/>
                    <a:pt x="157846" y="83915"/>
                    <a:pt x="160913" y="77778"/>
                  </a:cubicBezTo>
                  <a:cubicBezTo>
                    <a:pt x="160913" y="71642"/>
                    <a:pt x="160913" y="65506"/>
                    <a:pt x="157846" y="59369"/>
                  </a:cubicBezTo>
                  <a:cubicBezTo>
                    <a:pt x="167050" y="53233"/>
                    <a:pt x="170119" y="37892"/>
                    <a:pt x="167050" y="22551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B5D62B33-6400-4D9D-967B-C6996EFC3030}"/>
                </a:ext>
              </a:extLst>
            </p:cNvPr>
            <p:cNvSpPr/>
            <p:nvPr/>
          </p:nvSpPr>
          <p:spPr>
            <a:xfrm>
              <a:off x="21284581" y="3661269"/>
              <a:ext cx="161726" cy="89920"/>
            </a:xfrm>
            <a:custGeom>
              <a:avLst/>
              <a:gdLst>
                <a:gd name="connsiteX0" fmla="*/ 154382 w 161726"/>
                <a:gd name="connsiteY0" fmla="*/ 21217 h 89920"/>
                <a:gd name="connsiteX1" fmla="*/ 86881 w 161726"/>
                <a:gd name="connsiteY1" fmla="*/ 2808 h 89920"/>
                <a:gd name="connsiteX2" fmla="*/ 973 w 161726"/>
                <a:gd name="connsiteY2" fmla="*/ 64171 h 89920"/>
                <a:gd name="connsiteX3" fmla="*/ 28585 w 161726"/>
                <a:gd name="connsiteY3" fmla="*/ 82581 h 89920"/>
                <a:gd name="connsiteX4" fmla="*/ 43926 w 161726"/>
                <a:gd name="connsiteY4" fmla="*/ 88717 h 89920"/>
                <a:gd name="connsiteX5" fmla="*/ 74608 w 161726"/>
                <a:gd name="connsiteY5" fmla="*/ 76444 h 89920"/>
                <a:gd name="connsiteX6" fmla="*/ 102222 w 161726"/>
                <a:gd name="connsiteY6" fmla="*/ 54967 h 89920"/>
                <a:gd name="connsiteX7" fmla="*/ 129835 w 161726"/>
                <a:gd name="connsiteY7" fmla="*/ 54967 h 89920"/>
                <a:gd name="connsiteX8" fmla="*/ 157449 w 161726"/>
                <a:gd name="connsiteY8" fmla="*/ 45762 h 89920"/>
                <a:gd name="connsiteX9" fmla="*/ 154382 w 161726"/>
                <a:gd name="connsiteY9" fmla="*/ 21217 h 8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1726" h="89920">
                  <a:moveTo>
                    <a:pt x="154382" y="21217"/>
                  </a:moveTo>
                  <a:cubicBezTo>
                    <a:pt x="132904" y="8944"/>
                    <a:pt x="111427" y="-6397"/>
                    <a:pt x="86881" y="2808"/>
                  </a:cubicBezTo>
                  <a:cubicBezTo>
                    <a:pt x="59267" y="12012"/>
                    <a:pt x="19381" y="36558"/>
                    <a:pt x="973" y="64171"/>
                  </a:cubicBezTo>
                  <a:cubicBezTo>
                    <a:pt x="-5164" y="73376"/>
                    <a:pt x="19381" y="79512"/>
                    <a:pt x="28585" y="82581"/>
                  </a:cubicBezTo>
                  <a:cubicBezTo>
                    <a:pt x="31655" y="88717"/>
                    <a:pt x="37789" y="91785"/>
                    <a:pt x="43926" y="88717"/>
                  </a:cubicBezTo>
                  <a:cubicBezTo>
                    <a:pt x="53130" y="85649"/>
                    <a:pt x="65404" y="82581"/>
                    <a:pt x="74608" y="76444"/>
                  </a:cubicBezTo>
                  <a:cubicBezTo>
                    <a:pt x="83812" y="70308"/>
                    <a:pt x="93018" y="58035"/>
                    <a:pt x="102222" y="54967"/>
                  </a:cubicBezTo>
                  <a:cubicBezTo>
                    <a:pt x="111427" y="51899"/>
                    <a:pt x="120631" y="54967"/>
                    <a:pt x="129835" y="54967"/>
                  </a:cubicBezTo>
                  <a:cubicBezTo>
                    <a:pt x="139041" y="54967"/>
                    <a:pt x="148245" y="51899"/>
                    <a:pt x="157449" y="45762"/>
                  </a:cubicBezTo>
                  <a:cubicBezTo>
                    <a:pt x="163586" y="39626"/>
                    <a:pt x="163586" y="27353"/>
                    <a:pt x="154382" y="21217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E907DE37-D7F0-4BE3-8537-3931EC783C46}"/>
                </a:ext>
              </a:extLst>
            </p:cNvPr>
            <p:cNvSpPr/>
            <p:nvPr/>
          </p:nvSpPr>
          <p:spPr>
            <a:xfrm>
              <a:off x="21261775" y="3719304"/>
              <a:ext cx="172202" cy="187159"/>
            </a:xfrm>
            <a:custGeom>
              <a:avLst/>
              <a:gdLst>
                <a:gd name="connsiteX0" fmla="*/ 82074 w 172202"/>
                <a:gd name="connsiteY0" fmla="*/ 187159 h 187159"/>
                <a:gd name="connsiteX1" fmla="*/ 72870 w 172202"/>
                <a:gd name="connsiteY1" fmla="*/ 187159 h 187159"/>
                <a:gd name="connsiteX2" fmla="*/ 2302 w 172202"/>
                <a:gd name="connsiteY2" fmla="*/ 147273 h 187159"/>
                <a:gd name="connsiteX3" fmla="*/ 2302 w 172202"/>
                <a:gd name="connsiteY3" fmla="*/ 138068 h 187159"/>
                <a:gd name="connsiteX4" fmla="*/ 11506 w 172202"/>
                <a:gd name="connsiteY4" fmla="*/ 138068 h 187159"/>
                <a:gd name="connsiteX5" fmla="*/ 75937 w 172202"/>
                <a:gd name="connsiteY5" fmla="*/ 174887 h 187159"/>
                <a:gd name="connsiteX6" fmla="*/ 115825 w 172202"/>
                <a:gd name="connsiteY6" fmla="*/ 147273 h 187159"/>
                <a:gd name="connsiteX7" fmla="*/ 118893 w 172202"/>
                <a:gd name="connsiteY7" fmla="*/ 144205 h 187159"/>
                <a:gd name="connsiteX8" fmla="*/ 131166 w 172202"/>
                <a:gd name="connsiteY8" fmla="*/ 135000 h 187159"/>
                <a:gd name="connsiteX9" fmla="*/ 131166 w 172202"/>
                <a:gd name="connsiteY9" fmla="*/ 116591 h 187159"/>
                <a:gd name="connsiteX10" fmla="*/ 134233 w 172202"/>
                <a:gd name="connsiteY10" fmla="*/ 110455 h 187159"/>
                <a:gd name="connsiteX11" fmla="*/ 149574 w 172202"/>
                <a:gd name="connsiteY11" fmla="*/ 88977 h 187159"/>
                <a:gd name="connsiteX12" fmla="*/ 146507 w 172202"/>
                <a:gd name="connsiteY12" fmla="*/ 73636 h 187159"/>
                <a:gd name="connsiteX13" fmla="*/ 146507 w 172202"/>
                <a:gd name="connsiteY13" fmla="*/ 67500 h 187159"/>
                <a:gd name="connsiteX14" fmla="*/ 149574 w 172202"/>
                <a:gd name="connsiteY14" fmla="*/ 64432 h 187159"/>
                <a:gd name="connsiteX15" fmla="*/ 158779 w 172202"/>
                <a:gd name="connsiteY15" fmla="*/ 49091 h 187159"/>
                <a:gd name="connsiteX16" fmla="*/ 152642 w 172202"/>
                <a:gd name="connsiteY16" fmla="*/ 24546 h 187159"/>
                <a:gd name="connsiteX17" fmla="*/ 72870 w 172202"/>
                <a:gd name="connsiteY17" fmla="*/ 12273 h 187159"/>
                <a:gd name="connsiteX18" fmla="*/ 66733 w 172202"/>
                <a:gd name="connsiteY18" fmla="*/ 6137 h 187159"/>
                <a:gd name="connsiteX19" fmla="*/ 72870 w 172202"/>
                <a:gd name="connsiteY19" fmla="*/ 0 h 187159"/>
                <a:gd name="connsiteX20" fmla="*/ 161848 w 172202"/>
                <a:gd name="connsiteY20" fmla="*/ 15341 h 187159"/>
                <a:gd name="connsiteX21" fmla="*/ 171052 w 172202"/>
                <a:gd name="connsiteY21" fmla="*/ 49091 h 187159"/>
                <a:gd name="connsiteX22" fmla="*/ 158779 w 172202"/>
                <a:gd name="connsiteY22" fmla="*/ 67500 h 187159"/>
                <a:gd name="connsiteX23" fmla="*/ 161848 w 172202"/>
                <a:gd name="connsiteY23" fmla="*/ 85909 h 187159"/>
                <a:gd name="connsiteX24" fmla="*/ 143438 w 172202"/>
                <a:gd name="connsiteY24" fmla="*/ 113523 h 187159"/>
                <a:gd name="connsiteX25" fmla="*/ 143438 w 172202"/>
                <a:gd name="connsiteY25" fmla="*/ 138068 h 187159"/>
                <a:gd name="connsiteX26" fmla="*/ 125029 w 172202"/>
                <a:gd name="connsiteY26" fmla="*/ 153409 h 187159"/>
                <a:gd name="connsiteX27" fmla="*/ 82074 w 172202"/>
                <a:gd name="connsiteY27" fmla="*/ 187159 h 187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72202" h="187159">
                  <a:moveTo>
                    <a:pt x="82074" y="187159"/>
                  </a:moveTo>
                  <a:cubicBezTo>
                    <a:pt x="79007" y="187159"/>
                    <a:pt x="75937" y="187159"/>
                    <a:pt x="72870" y="187159"/>
                  </a:cubicBezTo>
                  <a:cubicBezTo>
                    <a:pt x="36051" y="181023"/>
                    <a:pt x="5369" y="147273"/>
                    <a:pt x="2302" y="147273"/>
                  </a:cubicBezTo>
                  <a:cubicBezTo>
                    <a:pt x="-767" y="144205"/>
                    <a:pt x="-767" y="141136"/>
                    <a:pt x="2302" y="138068"/>
                  </a:cubicBezTo>
                  <a:cubicBezTo>
                    <a:pt x="5369" y="135000"/>
                    <a:pt x="8439" y="135000"/>
                    <a:pt x="11506" y="138068"/>
                  </a:cubicBezTo>
                  <a:cubicBezTo>
                    <a:pt x="11506" y="138068"/>
                    <a:pt x="42188" y="168750"/>
                    <a:pt x="75937" y="174887"/>
                  </a:cubicBezTo>
                  <a:cubicBezTo>
                    <a:pt x="106619" y="181023"/>
                    <a:pt x="115825" y="150341"/>
                    <a:pt x="115825" y="147273"/>
                  </a:cubicBezTo>
                  <a:cubicBezTo>
                    <a:pt x="115825" y="144205"/>
                    <a:pt x="118893" y="144205"/>
                    <a:pt x="118893" y="144205"/>
                  </a:cubicBezTo>
                  <a:cubicBezTo>
                    <a:pt x="125029" y="141136"/>
                    <a:pt x="131166" y="138068"/>
                    <a:pt x="131166" y="135000"/>
                  </a:cubicBezTo>
                  <a:cubicBezTo>
                    <a:pt x="134233" y="125795"/>
                    <a:pt x="131166" y="116591"/>
                    <a:pt x="131166" y="116591"/>
                  </a:cubicBezTo>
                  <a:cubicBezTo>
                    <a:pt x="131166" y="113523"/>
                    <a:pt x="131166" y="110455"/>
                    <a:pt x="134233" y="110455"/>
                  </a:cubicBezTo>
                  <a:cubicBezTo>
                    <a:pt x="143438" y="104318"/>
                    <a:pt x="149574" y="95114"/>
                    <a:pt x="149574" y="88977"/>
                  </a:cubicBezTo>
                  <a:cubicBezTo>
                    <a:pt x="149574" y="79773"/>
                    <a:pt x="146507" y="73636"/>
                    <a:pt x="146507" y="73636"/>
                  </a:cubicBezTo>
                  <a:cubicBezTo>
                    <a:pt x="146507" y="73636"/>
                    <a:pt x="146507" y="70568"/>
                    <a:pt x="146507" y="67500"/>
                  </a:cubicBezTo>
                  <a:cubicBezTo>
                    <a:pt x="146507" y="64432"/>
                    <a:pt x="149574" y="64432"/>
                    <a:pt x="149574" y="64432"/>
                  </a:cubicBezTo>
                  <a:cubicBezTo>
                    <a:pt x="152642" y="61364"/>
                    <a:pt x="158779" y="58296"/>
                    <a:pt x="158779" y="49091"/>
                  </a:cubicBezTo>
                  <a:cubicBezTo>
                    <a:pt x="161848" y="39886"/>
                    <a:pt x="158779" y="30682"/>
                    <a:pt x="152642" y="24546"/>
                  </a:cubicBezTo>
                  <a:cubicBezTo>
                    <a:pt x="143438" y="15341"/>
                    <a:pt x="100484" y="12273"/>
                    <a:pt x="72870" y="12273"/>
                  </a:cubicBezTo>
                  <a:cubicBezTo>
                    <a:pt x="69802" y="12273"/>
                    <a:pt x="66733" y="9205"/>
                    <a:pt x="66733" y="6137"/>
                  </a:cubicBezTo>
                  <a:cubicBezTo>
                    <a:pt x="66733" y="3068"/>
                    <a:pt x="69802" y="0"/>
                    <a:pt x="72870" y="0"/>
                  </a:cubicBezTo>
                  <a:cubicBezTo>
                    <a:pt x="85143" y="0"/>
                    <a:pt x="146507" y="3068"/>
                    <a:pt x="161848" y="15341"/>
                  </a:cubicBezTo>
                  <a:cubicBezTo>
                    <a:pt x="171052" y="24546"/>
                    <a:pt x="174119" y="36818"/>
                    <a:pt x="171052" y="49091"/>
                  </a:cubicBezTo>
                  <a:cubicBezTo>
                    <a:pt x="167983" y="58296"/>
                    <a:pt x="164915" y="64432"/>
                    <a:pt x="158779" y="67500"/>
                  </a:cubicBezTo>
                  <a:cubicBezTo>
                    <a:pt x="161848" y="70568"/>
                    <a:pt x="161848" y="79773"/>
                    <a:pt x="161848" y="85909"/>
                  </a:cubicBezTo>
                  <a:cubicBezTo>
                    <a:pt x="161848" y="95114"/>
                    <a:pt x="155711" y="104318"/>
                    <a:pt x="143438" y="113523"/>
                  </a:cubicBezTo>
                  <a:cubicBezTo>
                    <a:pt x="146507" y="119659"/>
                    <a:pt x="146507" y="128864"/>
                    <a:pt x="143438" y="138068"/>
                  </a:cubicBezTo>
                  <a:cubicBezTo>
                    <a:pt x="140370" y="144205"/>
                    <a:pt x="134233" y="150341"/>
                    <a:pt x="125029" y="153409"/>
                  </a:cubicBezTo>
                  <a:cubicBezTo>
                    <a:pt x="118893" y="165682"/>
                    <a:pt x="106619" y="187159"/>
                    <a:pt x="82074" y="187159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BD26CD17-1931-4BBA-AED5-4596FBEF6152}"/>
                </a:ext>
              </a:extLst>
            </p:cNvPr>
            <p:cNvSpPr/>
            <p:nvPr/>
          </p:nvSpPr>
          <p:spPr>
            <a:xfrm>
              <a:off x="20497031" y="2871017"/>
              <a:ext cx="377084" cy="434777"/>
            </a:xfrm>
            <a:custGeom>
              <a:avLst/>
              <a:gdLst>
                <a:gd name="connsiteX0" fmla="*/ 0 w 377084"/>
                <a:gd name="connsiteY0" fmla="*/ 412606 h 434777"/>
                <a:gd name="connsiteX1" fmla="*/ 184091 w 377084"/>
                <a:gd name="connsiteY1" fmla="*/ 1469 h 434777"/>
                <a:gd name="connsiteX2" fmla="*/ 374319 w 377084"/>
                <a:gd name="connsiteY2" fmla="*/ 403401 h 434777"/>
                <a:gd name="connsiteX3" fmla="*/ 0 w 377084"/>
                <a:gd name="connsiteY3" fmla="*/ 412606 h 434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7084" h="434777">
                  <a:moveTo>
                    <a:pt x="0" y="412606"/>
                  </a:moveTo>
                  <a:cubicBezTo>
                    <a:pt x="0" y="228515"/>
                    <a:pt x="104317" y="16810"/>
                    <a:pt x="184091" y="1469"/>
                  </a:cubicBezTo>
                  <a:cubicBezTo>
                    <a:pt x="288408" y="-20008"/>
                    <a:pt x="395794" y="197833"/>
                    <a:pt x="374319" y="403401"/>
                  </a:cubicBezTo>
                  <a:cubicBezTo>
                    <a:pt x="306818" y="440219"/>
                    <a:pt x="98182" y="446356"/>
                    <a:pt x="0" y="412606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D55E7447-1EFF-46A3-8BDA-4274BDAA5F22}"/>
                </a:ext>
              </a:extLst>
            </p:cNvPr>
            <p:cNvSpPr/>
            <p:nvPr/>
          </p:nvSpPr>
          <p:spPr>
            <a:xfrm>
              <a:off x="20690326" y="2860213"/>
              <a:ext cx="187600" cy="447954"/>
            </a:xfrm>
            <a:custGeom>
              <a:avLst/>
              <a:gdLst>
                <a:gd name="connsiteX0" fmla="*/ 36819 w 187600"/>
                <a:gd name="connsiteY0" fmla="*/ 447955 h 447954"/>
                <a:gd name="connsiteX1" fmla="*/ 33749 w 187600"/>
                <a:gd name="connsiteY1" fmla="*/ 447955 h 447954"/>
                <a:gd name="connsiteX2" fmla="*/ 27614 w 187600"/>
                <a:gd name="connsiteY2" fmla="*/ 441818 h 447954"/>
                <a:gd name="connsiteX3" fmla="*/ 33749 w 187600"/>
                <a:gd name="connsiteY3" fmla="*/ 435682 h 447954"/>
                <a:gd name="connsiteX4" fmla="*/ 33749 w 187600"/>
                <a:gd name="connsiteY4" fmla="*/ 435682 h 447954"/>
                <a:gd name="connsiteX5" fmla="*/ 36819 w 187600"/>
                <a:gd name="connsiteY5" fmla="*/ 435682 h 447954"/>
                <a:gd name="connsiteX6" fmla="*/ 174887 w 187600"/>
                <a:gd name="connsiteY6" fmla="*/ 408068 h 447954"/>
                <a:gd name="connsiteX7" fmla="*/ 122727 w 187600"/>
                <a:gd name="connsiteY7" fmla="*/ 119659 h 447954"/>
                <a:gd name="connsiteX8" fmla="*/ 116591 w 187600"/>
                <a:gd name="connsiteY8" fmla="*/ 110455 h 447954"/>
                <a:gd name="connsiteX9" fmla="*/ 6137 w 187600"/>
                <a:gd name="connsiteY9" fmla="*/ 12273 h 447954"/>
                <a:gd name="connsiteX10" fmla="*/ 0 w 187600"/>
                <a:gd name="connsiteY10" fmla="*/ 6136 h 447954"/>
                <a:gd name="connsiteX11" fmla="*/ 6137 w 187600"/>
                <a:gd name="connsiteY11" fmla="*/ 0 h 447954"/>
                <a:gd name="connsiteX12" fmla="*/ 125795 w 187600"/>
                <a:gd name="connsiteY12" fmla="*/ 104318 h 447954"/>
                <a:gd name="connsiteX13" fmla="*/ 131931 w 187600"/>
                <a:gd name="connsiteY13" fmla="*/ 113523 h 447954"/>
                <a:gd name="connsiteX14" fmla="*/ 184091 w 187600"/>
                <a:gd name="connsiteY14" fmla="*/ 414205 h 447954"/>
                <a:gd name="connsiteX15" fmla="*/ 181023 w 187600"/>
                <a:gd name="connsiteY15" fmla="*/ 417273 h 447954"/>
                <a:gd name="connsiteX16" fmla="*/ 36819 w 187600"/>
                <a:gd name="connsiteY16" fmla="*/ 447955 h 447954"/>
                <a:gd name="connsiteX17" fmla="*/ 181023 w 187600"/>
                <a:gd name="connsiteY17" fmla="*/ 414205 h 447954"/>
                <a:gd name="connsiteX18" fmla="*/ 181023 w 187600"/>
                <a:gd name="connsiteY18" fmla="*/ 414205 h 447954"/>
                <a:gd name="connsiteX19" fmla="*/ 181023 w 187600"/>
                <a:gd name="connsiteY19" fmla="*/ 414205 h 447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7600" h="447954">
                  <a:moveTo>
                    <a:pt x="36819" y="447955"/>
                  </a:moveTo>
                  <a:cubicBezTo>
                    <a:pt x="36819" y="447955"/>
                    <a:pt x="33749" y="447955"/>
                    <a:pt x="33749" y="447955"/>
                  </a:cubicBezTo>
                  <a:cubicBezTo>
                    <a:pt x="30682" y="447955"/>
                    <a:pt x="27614" y="444886"/>
                    <a:pt x="27614" y="441818"/>
                  </a:cubicBezTo>
                  <a:cubicBezTo>
                    <a:pt x="27614" y="438750"/>
                    <a:pt x="30682" y="435682"/>
                    <a:pt x="33749" y="435682"/>
                  </a:cubicBezTo>
                  <a:lnTo>
                    <a:pt x="33749" y="435682"/>
                  </a:lnTo>
                  <a:cubicBezTo>
                    <a:pt x="33749" y="435682"/>
                    <a:pt x="36819" y="435682"/>
                    <a:pt x="36819" y="435682"/>
                  </a:cubicBezTo>
                  <a:cubicBezTo>
                    <a:pt x="107386" y="435682"/>
                    <a:pt x="150342" y="420341"/>
                    <a:pt x="174887" y="408068"/>
                  </a:cubicBezTo>
                  <a:cubicBezTo>
                    <a:pt x="181023" y="371250"/>
                    <a:pt x="174887" y="205568"/>
                    <a:pt x="122727" y="119659"/>
                  </a:cubicBezTo>
                  <a:cubicBezTo>
                    <a:pt x="122727" y="116591"/>
                    <a:pt x="119660" y="113523"/>
                    <a:pt x="116591" y="110455"/>
                  </a:cubicBezTo>
                  <a:cubicBezTo>
                    <a:pt x="101250" y="79773"/>
                    <a:pt x="64431" y="21477"/>
                    <a:pt x="6137" y="12273"/>
                  </a:cubicBezTo>
                  <a:cubicBezTo>
                    <a:pt x="3067" y="12273"/>
                    <a:pt x="0" y="9205"/>
                    <a:pt x="0" y="6136"/>
                  </a:cubicBezTo>
                  <a:cubicBezTo>
                    <a:pt x="0" y="3068"/>
                    <a:pt x="3067" y="0"/>
                    <a:pt x="6137" y="0"/>
                  </a:cubicBezTo>
                  <a:cubicBezTo>
                    <a:pt x="73637" y="9205"/>
                    <a:pt x="110454" y="73636"/>
                    <a:pt x="125795" y="104318"/>
                  </a:cubicBezTo>
                  <a:cubicBezTo>
                    <a:pt x="128864" y="107386"/>
                    <a:pt x="128864" y="110455"/>
                    <a:pt x="131931" y="113523"/>
                  </a:cubicBezTo>
                  <a:cubicBezTo>
                    <a:pt x="187158" y="208636"/>
                    <a:pt x="193295" y="380455"/>
                    <a:pt x="184091" y="414205"/>
                  </a:cubicBezTo>
                  <a:cubicBezTo>
                    <a:pt x="184091" y="417273"/>
                    <a:pt x="184091" y="417273"/>
                    <a:pt x="181023" y="417273"/>
                  </a:cubicBezTo>
                  <a:cubicBezTo>
                    <a:pt x="159546" y="432614"/>
                    <a:pt x="113523" y="447955"/>
                    <a:pt x="36819" y="447955"/>
                  </a:cubicBezTo>
                  <a:close/>
                  <a:moveTo>
                    <a:pt x="181023" y="414205"/>
                  </a:moveTo>
                  <a:lnTo>
                    <a:pt x="181023" y="414205"/>
                  </a:lnTo>
                  <a:lnTo>
                    <a:pt x="181023" y="414205"/>
                  </a:ln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8" name="图形 1">
              <a:extLst>
                <a:ext uri="{FF2B5EF4-FFF2-40B4-BE49-F238E27FC236}">
                  <a16:creationId xmlns:a16="http://schemas.microsoft.com/office/drawing/2014/main" id="{0AD9AD9D-4ADD-4051-9749-A61B24C8C664}"/>
                </a:ext>
              </a:extLst>
            </p:cNvPr>
            <p:cNvGrpSpPr/>
            <p:nvPr/>
          </p:nvGrpSpPr>
          <p:grpSpPr>
            <a:xfrm>
              <a:off x="22033408" y="3765159"/>
              <a:ext cx="178540" cy="178938"/>
              <a:chOff x="22033408" y="3765159"/>
              <a:chExt cx="178540" cy="178938"/>
            </a:xfrm>
          </p:grpSpPr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20217E1C-9E38-409C-93AD-CC697CC96F50}"/>
                  </a:ext>
                </a:extLst>
              </p:cNvPr>
              <p:cNvSpPr/>
              <p:nvPr/>
            </p:nvSpPr>
            <p:spPr>
              <a:xfrm>
                <a:off x="22085243" y="3771463"/>
                <a:ext cx="126705" cy="102922"/>
              </a:xfrm>
              <a:custGeom>
                <a:avLst/>
                <a:gdLst>
                  <a:gd name="connsiteX0" fmla="*/ 123834 w 126705"/>
                  <a:gd name="connsiteY0" fmla="*/ 70568 h 102922"/>
                  <a:gd name="connsiteX1" fmla="*/ 44062 w 126705"/>
                  <a:gd name="connsiteY1" fmla="*/ 9204 h 102922"/>
                  <a:gd name="connsiteX2" fmla="*/ 50196 w 126705"/>
                  <a:gd name="connsiteY2" fmla="*/ 6136 h 102922"/>
                  <a:gd name="connsiteX3" fmla="*/ 34856 w 126705"/>
                  <a:gd name="connsiteY3" fmla="*/ 0 h 102922"/>
                  <a:gd name="connsiteX4" fmla="*/ 1106 w 126705"/>
                  <a:gd name="connsiteY4" fmla="*/ 24545 h 102922"/>
                  <a:gd name="connsiteX5" fmla="*/ 13380 w 126705"/>
                  <a:gd name="connsiteY5" fmla="*/ 55227 h 102922"/>
                  <a:gd name="connsiteX6" fmla="*/ 65537 w 126705"/>
                  <a:gd name="connsiteY6" fmla="*/ 88977 h 102922"/>
                  <a:gd name="connsiteX7" fmla="*/ 108493 w 126705"/>
                  <a:gd name="connsiteY7" fmla="*/ 101250 h 102922"/>
                  <a:gd name="connsiteX8" fmla="*/ 123834 w 126705"/>
                  <a:gd name="connsiteY8" fmla="*/ 70568 h 102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6705" h="102922">
                    <a:moveTo>
                      <a:pt x="123834" y="70568"/>
                    </a:moveTo>
                    <a:cubicBezTo>
                      <a:pt x="108493" y="42954"/>
                      <a:pt x="74743" y="27613"/>
                      <a:pt x="44062" y="9204"/>
                    </a:cubicBezTo>
                    <a:cubicBezTo>
                      <a:pt x="40992" y="6136"/>
                      <a:pt x="50196" y="9204"/>
                      <a:pt x="50196" y="6136"/>
                    </a:cubicBezTo>
                    <a:cubicBezTo>
                      <a:pt x="44062" y="3068"/>
                      <a:pt x="40992" y="3068"/>
                      <a:pt x="34856" y="0"/>
                    </a:cubicBezTo>
                    <a:cubicBezTo>
                      <a:pt x="19515" y="0"/>
                      <a:pt x="4174" y="9204"/>
                      <a:pt x="1106" y="24545"/>
                    </a:cubicBezTo>
                    <a:cubicBezTo>
                      <a:pt x="-1961" y="42954"/>
                      <a:pt x="1106" y="46023"/>
                      <a:pt x="13380" y="55227"/>
                    </a:cubicBezTo>
                    <a:cubicBezTo>
                      <a:pt x="31788" y="67500"/>
                      <a:pt x="47129" y="79773"/>
                      <a:pt x="65537" y="88977"/>
                    </a:cubicBezTo>
                    <a:cubicBezTo>
                      <a:pt x="77811" y="95114"/>
                      <a:pt x="93152" y="107386"/>
                      <a:pt x="108493" y="101250"/>
                    </a:cubicBezTo>
                    <a:cubicBezTo>
                      <a:pt x="126901" y="95114"/>
                      <a:pt x="129970" y="79773"/>
                      <a:pt x="123834" y="70568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B9FE87B5-4F2F-44F2-BF5F-F52D909CEA55}"/>
                  </a:ext>
                </a:extLst>
              </p:cNvPr>
              <p:cNvSpPr/>
              <p:nvPr/>
            </p:nvSpPr>
            <p:spPr>
              <a:xfrm>
                <a:off x="22048424" y="3796009"/>
                <a:ext cx="124903" cy="99854"/>
              </a:xfrm>
              <a:custGeom>
                <a:avLst/>
                <a:gdLst>
                  <a:gd name="connsiteX0" fmla="*/ 123834 w 124903"/>
                  <a:gd name="connsiteY0" fmla="*/ 70568 h 99854"/>
                  <a:gd name="connsiteX1" fmla="*/ 59403 w 124903"/>
                  <a:gd name="connsiteY1" fmla="*/ 9205 h 99854"/>
                  <a:gd name="connsiteX2" fmla="*/ 50198 w 124903"/>
                  <a:gd name="connsiteY2" fmla="*/ 6137 h 99854"/>
                  <a:gd name="connsiteX3" fmla="*/ 34857 w 124903"/>
                  <a:gd name="connsiteY3" fmla="*/ 0 h 99854"/>
                  <a:gd name="connsiteX4" fmla="*/ 1106 w 124903"/>
                  <a:gd name="connsiteY4" fmla="*/ 18409 h 99854"/>
                  <a:gd name="connsiteX5" fmla="*/ 13380 w 124903"/>
                  <a:gd name="connsiteY5" fmla="*/ 52159 h 99854"/>
                  <a:gd name="connsiteX6" fmla="*/ 65539 w 124903"/>
                  <a:gd name="connsiteY6" fmla="*/ 85909 h 99854"/>
                  <a:gd name="connsiteX7" fmla="*/ 108493 w 124903"/>
                  <a:gd name="connsiteY7" fmla="*/ 98182 h 99854"/>
                  <a:gd name="connsiteX8" fmla="*/ 123834 w 124903"/>
                  <a:gd name="connsiteY8" fmla="*/ 70568 h 99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4903" h="99854">
                    <a:moveTo>
                      <a:pt x="123834" y="70568"/>
                    </a:moveTo>
                    <a:cubicBezTo>
                      <a:pt x="111562" y="33750"/>
                      <a:pt x="87015" y="30682"/>
                      <a:pt x="59403" y="9205"/>
                    </a:cubicBezTo>
                    <a:cubicBezTo>
                      <a:pt x="56333" y="6137"/>
                      <a:pt x="53266" y="6137"/>
                      <a:pt x="50198" y="6137"/>
                    </a:cubicBezTo>
                    <a:cubicBezTo>
                      <a:pt x="44062" y="3068"/>
                      <a:pt x="40992" y="3068"/>
                      <a:pt x="34857" y="0"/>
                    </a:cubicBezTo>
                    <a:cubicBezTo>
                      <a:pt x="19517" y="0"/>
                      <a:pt x="4176" y="3068"/>
                      <a:pt x="1106" y="18409"/>
                    </a:cubicBezTo>
                    <a:cubicBezTo>
                      <a:pt x="-1961" y="36818"/>
                      <a:pt x="1106" y="42955"/>
                      <a:pt x="13380" y="52159"/>
                    </a:cubicBezTo>
                    <a:cubicBezTo>
                      <a:pt x="31788" y="64432"/>
                      <a:pt x="47129" y="76705"/>
                      <a:pt x="65539" y="85909"/>
                    </a:cubicBezTo>
                    <a:cubicBezTo>
                      <a:pt x="77811" y="92045"/>
                      <a:pt x="93152" y="104318"/>
                      <a:pt x="108493" y="98182"/>
                    </a:cubicBezTo>
                    <a:cubicBezTo>
                      <a:pt x="123834" y="98182"/>
                      <a:pt x="126903" y="82841"/>
                      <a:pt x="123834" y="70568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54113BB7-9249-4530-907D-8E63524EC210}"/>
                  </a:ext>
                </a:extLst>
              </p:cNvPr>
              <p:cNvSpPr/>
              <p:nvPr/>
            </p:nvSpPr>
            <p:spPr>
              <a:xfrm>
                <a:off x="22039985" y="3831968"/>
                <a:ext cx="103194" cy="97645"/>
              </a:xfrm>
              <a:custGeom>
                <a:avLst/>
                <a:gdLst>
                  <a:gd name="connsiteX0" fmla="*/ 101590 w 103194"/>
                  <a:gd name="connsiteY0" fmla="*/ 65291 h 97645"/>
                  <a:gd name="connsiteX1" fmla="*/ 31023 w 103194"/>
                  <a:gd name="connsiteY1" fmla="*/ 3927 h 97645"/>
                  <a:gd name="connsiteX2" fmla="*/ 24886 w 103194"/>
                  <a:gd name="connsiteY2" fmla="*/ 859 h 97645"/>
                  <a:gd name="connsiteX3" fmla="*/ 27955 w 103194"/>
                  <a:gd name="connsiteY3" fmla="*/ 3927 h 97645"/>
                  <a:gd name="connsiteX4" fmla="*/ 341 w 103194"/>
                  <a:gd name="connsiteY4" fmla="*/ 25404 h 97645"/>
                  <a:gd name="connsiteX5" fmla="*/ 24886 w 103194"/>
                  <a:gd name="connsiteY5" fmla="*/ 59154 h 97645"/>
                  <a:gd name="connsiteX6" fmla="*/ 52500 w 103194"/>
                  <a:gd name="connsiteY6" fmla="*/ 83700 h 97645"/>
                  <a:gd name="connsiteX7" fmla="*/ 89319 w 103194"/>
                  <a:gd name="connsiteY7" fmla="*/ 95973 h 97645"/>
                  <a:gd name="connsiteX8" fmla="*/ 101590 w 103194"/>
                  <a:gd name="connsiteY8" fmla="*/ 65291 h 97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3194" h="97645">
                    <a:moveTo>
                      <a:pt x="101590" y="65291"/>
                    </a:moveTo>
                    <a:cubicBezTo>
                      <a:pt x="89319" y="31541"/>
                      <a:pt x="55568" y="22336"/>
                      <a:pt x="31023" y="3927"/>
                    </a:cubicBezTo>
                    <a:cubicBezTo>
                      <a:pt x="27955" y="859"/>
                      <a:pt x="27955" y="859"/>
                      <a:pt x="24886" y="859"/>
                    </a:cubicBezTo>
                    <a:cubicBezTo>
                      <a:pt x="21818" y="-2209"/>
                      <a:pt x="34090" y="3927"/>
                      <a:pt x="27955" y="3927"/>
                    </a:cubicBezTo>
                    <a:cubicBezTo>
                      <a:pt x="15682" y="859"/>
                      <a:pt x="341" y="10064"/>
                      <a:pt x="341" y="25404"/>
                    </a:cubicBezTo>
                    <a:cubicBezTo>
                      <a:pt x="-2727" y="40745"/>
                      <a:pt x="15682" y="49950"/>
                      <a:pt x="24886" y="59154"/>
                    </a:cubicBezTo>
                    <a:cubicBezTo>
                      <a:pt x="40227" y="71427"/>
                      <a:pt x="37159" y="74495"/>
                      <a:pt x="52500" y="83700"/>
                    </a:cubicBezTo>
                    <a:cubicBezTo>
                      <a:pt x="61704" y="89836"/>
                      <a:pt x="77045" y="102109"/>
                      <a:pt x="89319" y="95973"/>
                    </a:cubicBezTo>
                    <a:cubicBezTo>
                      <a:pt x="104660" y="89836"/>
                      <a:pt x="104660" y="77564"/>
                      <a:pt x="101590" y="65291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68220028-50A2-47BD-A9F5-22207CE05B48}"/>
                  </a:ext>
                </a:extLst>
              </p:cNvPr>
              <p:cNvSpPr/>
              <p:nvPr/>
            </p:nvSpPr>
            <p:spPr>
              <a:xfrm>
                <a:off x="22034189" y="3878850"/>
                <a:ext cx="75239" cy="65247"/>
              </a:xfrm>
              <a:custGeom>
                <a:avLst/>
                <a:gdLst>
                  <a:gd name="connsiteX0" fmla="*/ 73637 w 75239"/>
                  <a:gd name="connsiteY0" fmla="*/ 42954 h 65247"/>
                  <a:gd name="connsiteX1" fmla="*/ 36819 w 75239"/>
                  <a:gd name="connsiteY1" fmla="*/ 6136 h 65247"/>
                  <a:gd name="connsiteX2" fmla="*/ 30682 w 75239"/>
                  <a:gd name="connsiteY2" fmla="*/ 3068 h 65247"/>
                  <a:gd name="connsiteX3" fmla="*/ 21478 w 75239"/>
                  <a:gd name="connsiteY3" fmla="*/ 0 h 65247"/>
                  <a:gd name="connsiteX4" fmla="*/ 0 w 75239"/>
                  <a:gd name="connsiteY4" fmla="*/ 15341 h 65247"/>
                  <a:gd name="connsiteX5" fmla="*/ 18410 w 75239"/>
                  <a:gd name="connsiteY5" fmla="*/ 39886 h 65247"/>
                  <a:gd name="connsiteX6" fmla="*/ 33751 w 75239"/>
                  <a:gd name="connsiteY6" fmla="*/ 55227 h 65247"/>
                  <a:gd name="connsiteX7" fmla="*/ 61364 w 75239"/>
                  <a:gd name="connsiteY7" fmla="*/ 64432 h 65247"/>
                  <a:gd name="connsiteX8" fmla="*/ 73637 w 75239"/>
                  <a:gd name="connsiteY8" fmla="*/ 42954 h 65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5239" h="65247">
                    <a:moveTo>
                      <a:pt x="73637" y="42954"/>
                    </a:moveTo>
                    <a:cubicBezTo>
                      <a:pt x="64433" y="18409"/>
                      <a:pt x="58296" y="18409"/>
                      <a:pt x="36819" y="6136"/>
                    </a:cubicBezTo>
                    <a:cubicBezTo>
                      <a:pt x="33751" y="6136"/>
                      <a:pt x="33751" y="3068"/>
                      <a:pt x="30682" y="3068"/>
                    </a:cubicBezTo>
                    <a:cubicBezTo>
                      <a:pt x="27614" y="0"/>
                      <a:pt x="24545" y="0"/>
                      <a:pt x="21478" y="0"/>
                    </a:cubicBezTo>
                    <a:cubicBezTo>
                      <a:pt x="12273" y="0"/>
                      <a:pt x="3069" y="6136"/>
                      <a:pt x="0" y="15341"/>
                    </a:cubicBezTo>
                    <a:cubicBezTo>
                      <a:pt x="0" y="27613"/>
                      <a:pt x="12273" y="33750"/>
                      <a:pt x="18410" y="39886"/>
                    </a:cubicBezTo>
                    <a:cubicBezTo>
                      <a:pt x="30682" y="49091"/>
                      <a:pt x="24545" y="49091"/>
                      <a:pt x="33751" y="55227"/>
                    </a:cubicBezTo>
                    <a:cubicBezTo>
                      <a:pt x="42955" y="61364"/>
                      <a:pt x="52159" y="67500"/>
                      <a:pt x="61364" y="64432"/>
                    </a:cubicBezTo>
                    <a:cubicBezTo>
                      <a:pt x="76705" y="61364"/>
                      <a:pt x="76705" y="52159"/>
                      <a:pt x="73637" y="4295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B5F8D915-0479-44B1-BF7D-E52D1805A56F}"/>
                  </a:ext>
                </a:extLst>
              </p:cNvPr>
              <p:cNvSpPr/>
              <p:nvPr/>
            </p:nvSpPr>
            <p:spPr>
              <a:xfrm>
                <a:off x="22044298" y="3765159"/>
                <a:ext cx="142533" cy="135168"/>
              </a:xfrm>
              <a:custGeom>
                <a:avLst/>
                <a:gdLst>
                  <a:gd name="connsiteX0" fmla="*/ 112618 w 142533"/>
                  <a:gd name="connsiteY0" fmla="*/ 135168 h 135168"/>
                  <a:gd name="connsiteX1" fmla="*/ 29777 w 142533"/>
                  <a:gd name="connsiteY1" fmla="*/ 95282 h 135168"/>
                  <a:gd name="connsiteX2" fmla="*/ 5232 w 142533"/>
                  <a:gd name="connsiteY2" fmla="*/ 43123 h 135168"/>
                  <a:gd name="connsiteX3" fmla="*/ 38983 w 142533"/>
                  <a:gd name="connsiteY3" fmla="*/ 24714 h 135168"/>
                  <a:gd name="connsiteX4" fmla="*/ 45118 w 142533"/>
                  <a:gd name="connsiteY4" fmla="*/ 9373 h 135168"/>
                  <a:gd name="connsiteX5" fmla="*/ 45118 w 142533"/>
                  <a:gd name="connsiteY5" fmla="*/ 6305 h 135168"/>
                  <a:gd name="connsiteX6" fmla="*/ 57391 w 142533"/>
                  <a:gd name="connsiteY6" fmla="*/ 168 h 135168"/>
                  <a:gd name="connsiteX7" fmla="*/ 140233 w 142533"/>
                  <a:gd name="connsiteY7" fmla="*/ 43123 h 135168"/>
                  <a:gd name="connsiteX8" fmla="*/ 140233 w 142533"/>
                  <a:gd name="connsiteY8" fmla="*/ 52327 h 135168"/>
                  <a:gd name="connsiteX9" fmla="*/ 131029 w 142533"/>
                  <a:gd name="connsiteY9" fmla="*/ 52327 h 135168"/>
                  <a:gd name="connsiteX10" fmla="*/ 57391 w 142533"/>
                  <a:gd name="connsiteY10" fmla="*/ 12441 h 135168"/>
                  <a:gd name="connsiteX11" fmla="*/ 54324 w 142533"/>
                  <a:gd name="connsiteY11" fmla="*/ 15509 h 135168"/>
                  <a:gd name="connsiteX12" fmla="*/ 51255 w 142533"/>
                  <a:gd name="connsiteY12" fmla="*/ 18577 h 135168"/>
                  <a:gd name="connsiteX13" fmla="*/ 45118 w 142533"/>
                  <a:gd name="connsiteY13" fmla="*/ 33918 h 135168"/>
                  <a:gd name="connsiteX14" fmla="*/ 127959 w 142533"/>
                  <a:gd name="connsiteY14" fmla="*/ 98350 h 135168"/>
                  <a:gd name="connsiteX15" fmla="*/ 137163 w 142533"/>
                  <a:gd name="connsiteY15" fmla="*/ 110623 h 135168"/>
                  <a:gd name="connsiteX16" fmla="*/ 131029 w 142533"/>
                  <a:gd name="connsiteY16" fmla="*/ 129032 h 135168"/>
                  <a:gd name="connsiteX17" fmla="*/ 112618 w 142533"/>
                  <a:gd name="connsiteY17" fmla="*/ 135168 h 135168"/>
                  <a:gd name="connsiteX18" fmla="*/ 38983 w 142533"/>
                  <a:gd name="connsiteY18" fmla="*/ 36986 h 135168"/>
                  <a:gd name="connsiteX19" fmla="*/ 14436 w 142533"/>
                  <a:gd name="connsiteY19" fmla="*/ 49259 h 135168"/>
                  <a:gd name="connsiteX20" fmla="*/ 35914 w 142533"/>
                  <a:gd name="connsiteY20" fmla="*/ 86077 h 135168"/>
                  <a:gd name="connsiteX21" fmla="*/ 124892 w 142533"/>
                  <a:gd name="connsiteY21" fmla="*/ 119827 h 135168"/>
                  <a:gd name="connsiteX22" fmla="*/ 127959 w 142533"/>
                  <a:gd name="connsiteY22" fmla="*/ 110623 h 135168"/>
                  <a:gd name="connsiteX23" fmla="*/ 124892 w 142533"/>
                  <a:gd name="connsiteY23" fmla="*/ 107554 h 135168"/>
                  <a:gd name="connsiteX24" fmla="*/ 38983 w 142533"/>
                  <a:gd name="connsiteY24" fmla="*/ 36986 h 135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42533" h="135168">
                    <a:moveTo>
                      <a:pt x="112618" y="135168"/>
                    </a:moveTo>
                    <a:cubicBezTo>
                      <a:pt x="88073" y="135168"/>
                      <a:pt x="57391" y="116759"/>
                      <a:pt x="29777" y="95282"/>
                    </a:cubicBezTo>
                    <a:cubicBezTo>
                      <a:pt x="-3972" y="70736"/>
                      <a:pt x="-3972" y="61532"/>
                      <a:pt x="5232" y="43123"/>
                    </a:cubicBezTo>
                    <a:cubicBezTo>
                      <a:pt x="11369" y="27782"/>
                      <a:pt x="29777" y="24714"/>
                      <a:pt x="38983" y="24714"/>
                    </a:cubicBezTo>
                    <a:cubicBezTo>
                      <a:pt x="38983" y="18577"/>
                      <a:pt x="42051" y="15509"/>
                      <a:pt x="45118" y="9373"/>
                    </a:cubicBezTo>
                    <a:lnTo>
                      <a:pt x="45118" y="6305"/>
                    </a:lnTo>
                    <a:cubicBezTo>
                      <a:pt x="48187" y="3236"/>
                      <a:pt x="51255" y="168"/>
                      <a:pt x="57391" y="168"/>
                    </a:cubicBezTo>
                    <a:cubicBezTo>
                      <a:pt x="85006" y="-2900"/>
                      <a:pt x="134096" y="36986"/>
                      <a:pt x="140233" y="43123"/>
                    </a:cubicBezTo>
                    <a:cubicBezTo>
                      <a:pt x="143300" y="46191"/>
                      <a:pt x="143300" y="49259"/>
                      <a:pt x="140233" y="52327"/>
                    </a:cubicBezTo>
                    <a:cubicBezTo>
                      <a:pt x="137163" y="55395"/>
                      <a:pt x="134096" y="55395"/>
                      <a:pt x="131029" y="52327"/>
                    </a:cubicBezTo>
                    <a:cubicBezTo>
                      <a:pt x="112618" y="36986"/>
                      <a:pt x="72732" y="9373"/>
                      <a:pt x="57391" y="12441"/>
                    </a:cubicBezTo>
                    <a:cubicBezTo>
                      <a:pt x="54324" y="12441"/>
                      <a:pt x="54324" y="15509"/>
                      <a:pt x="54324" y="15509"/>
                    </a:cubicBezTo>
                    <a:lnTo>
                      <a:pt x="51255" y="18577"/>
                    </a:lnTo>
                    <a:cubicBezTo>
                      <a:pt x="48187" y="24714"/>
                      <a:pt x="45118" y="27782"/>
                      <a:pt x="45118" y="33918"/>
                    </a:cubicBezTo>
                    <a:cubicBezTo>
                      <a:pt x="48187" y="49259"/>
                      <a:pt x="75800" y="70736"/>
                      <a:pt x="127959" y="98350"/>
                    </a:cubicBezTo>
                    <a:cubicBezTo>
                      <a:pt x="127959" y="98350"/>
                      <a:pt x="134096" y="101418"/>
                      <a:pt x="137163" y="110623"/>
                    </a:cubicBezTo>
                    <a:cubicBezTo>
                      <a:pt x="137163" y="116759"/>
                      <a:pt x="134096" y="122895"/>
                      <a:pt x="131029" y="129032"/>
                    </a:cubicBezTo>
                    <a:cubicBezTo>
                      <a:pt x="127959" y="135168"/>
                      <a:pt x="118755" y="135168"/>
                      <a:pt x="112618" y="135168"/>
                    </a:cubicBezTo>
                    <a:close/>
                    <a:moveTo>
                      <a:pt x="38983" y="36986"/>
                    </a:moveTo>
                    <a:cubicBezTo>
                      <a:pt x="29777" y="36986"/>
                      <a:pt x="17506" y="43123"/>
                      <a:pt x="14436" y="49259"/>
                    </a:cubicBezTo>
                    <a:cubicBezTo>
                      <a:pt x="8301" y="61532"/>
                      <a:pt x="8301" y="64600"/>
                      <a:pt x="35914" y="86077"/>
                    </a:cubicBezTo>
                    <a:cubicBezTo>
                      <a:pt x="78869" y="119827"/>
                      <a:pt x="112618" y="132100"/>
                      <a:pt x="124892" y="119827"/>
                    </a:cubicBezTo>
                    <a:cubicBezTo>
                      <a:pt x="127959" y="116759"/>
                      <a:pt x="131029" y="113691"/>
                      <a:pt x="127959" y="110623"/>
                    </a:cubicBezTo>
                    <a:cubicBezTo>
                      <a:pt x="127959" y="107554"/>
                      <a:pt x="124892" y="107554"/>
                      <a:pt x="124892" y="107554"/>
                    </a:cubicBezTo>
                    <a:cubicBezTo>
                      <a:pt x="54324" y="70736"/>
                      <a:pt x="42051" y="49259"/>
                      <a:pt x="38983" y="3698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D6D6F427-3ED5-4858-A7A7-920722F8431B}"/>
                  </a:ext>
                </a:extLst>
              </p:cNvPr>
              <p:cNvSpPr/>
              <p:nvPr/>
            </p:nvSpPr>
            <p:spPr>
              <a:xfrm>
                <a:off x="22033408" y="3832827"/>
                <a:ext cx="121644" cy="101249"/>
              </a:xfrm>
              <a:custGeom>
                <a:avLst/>
                <a:gdLst>
                  <a:gd name="connsiteX0" fmla="*/ 92827 w 121644"/>
                  <a:gd name="connsiteY0" fmla="*/ 101250 h 101249"/>
                  <a:gd name="connsiteX1" fmla="*/ 89760 w 121644"/>
                  <a:gd name="connsiteY1" fmla="*/ 101250 h 101249"/>
                  <a:gd name="connsiteX2" fmla="*/ 16122 w 121644"/>
                  <a:gd name="connsiteY2" fmla="*/ 52159 h 101249"/>
                  <a:gd name="connsiteX3" fmla="*/ 782 w 121644"/>
                  <a:gd name="connsiteY3" fmla="*/ 18409 h 101249"/>
                  <a:gd name="connsiteX4" fmla="*/ 16122 w 121644"/>
                  <a:gd name="connsiteY4" fmla="*/ 0 h 101249"/>
                  <a:gd name="connsiteX5" fmla="*/ 25327 w 121644"/>
                  <a:gd name="connsiteY5" fmla="*/ 3068 h 101249"/>
                  <a:gd name="connsiteX6" fmla="*/ 22259 w 121644"/>
                  <a:gd name="connsiteY6" fmla="*/ 12273 h 101249"/>
                  <a:gd name="connsiteX7" fmla="*/ 22259 w 121644"/>
                  <a:gd name="connsiteY7" fmla="*/ 12273 h 101249"/>
                  <a:gd name="connsiteX8" fmla="*/ 16122 w 121644"/>
                  <a:gd name="connsiteY8" fmla="*/ 21477 h 101249"/>
                  <a:gd name="connsiteX9" fmla="*/ 28396 w 121644"/>
                  <a:gd name="connsiteY9" fmla="*/ 46023 h 101249"/>
                  <a:gd name="connsiteX10" fmla="*/ 98964 w 121644"/>
                  <a:gd name="connsiteY10" fmla="*/ 92045 h 101249"/>
                  <a:gd name="connsiteX11" fmla="*/ 105100 w 121644"/>
                  <a:gd name="connsiteY11" fmla="*/ 88977 h 101249"/>
                  <a:gd name="connsiteX12" fmla="*/ 108168 w 121644"/>
                  <a:gd name="connsiteY12" fmla="*/ 70568 h 101249"/>
                  <a:gd name="connsiteX13" fmla="*/ 111237 w 121644"/>
                  <a:gd name="connsiteY13" fmla="*/ 61364 h 101249"/>
                  <a:gd name="connsiteX14" fmla="*/ 120441 w 121644"/>
                  <a:gd name="connsiteY14" fmla="*/ 64432 h 101249"/>
                  <a:gd name="connsiteX15" fmla="*/ 114305 w 121644"/>
                  <a:gd name="connsiteY15" fmla="*/ 95114 h 101249"/>
                  <a:gd name="connsiteX16" fmla="*/ 92827 w 121644"/>
                  <a:gd name="connsiteY16" fmla="*/ 101250 h 101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1644" h="101249">
                    <a:moveTo>
                      <a:pt x="92827" y="101250"/>
                    </a:moveTo>
                    <a:cubicBezTo>
                      <a:pt x="92827" y="101250"/>
                      <a:pt x="89760" y="101250"/>
                      <a:pt x="89760" y="101250"/>
                    </a:cubicBezTo>
                    <a:cubicBezTo>
                      <a:pt x="74419" y="98182"/>
                      <a:pt x="46804" y="82841"/>
                      <a:pt x="16122" y="52159"/>
                    </a:cubicBezTo>
                    <a:cubicBezTo>
                      <a:pt x="3851" y="39886"/>
                      <a:pt x="-2286" y="27613"/>
                      <a:pt x="782" y="18409"/>
                    </a:cubicBezTo>
                    <a:cubicBezTo>
                      <a:pt x="3851" y="6136"/>
                      <a:pt x="13055" y="0"/>
                      <a:pt x="16122" y="0"/>
                    </a:cubicBezTo>
                    <a:cubicBezTo>
                      <a:pt x="19192" y="0"/>
                      <a:pt x="22259" y="0"/>
                      <a:pt x="25327" y="3068"/>
                    </a:cubicBezTo>
                    <a:cubicBezTo>
                      <a:pt x="25327" y="6136"/>
                      <a:pt x="25327" y="9204"/>
                      <a:pt x="22259" y="12273"/>
                    </a:cubicBezTo>
                    <a:lnTo>
                      <a:pt x="22259" y="12273"/>
                    </a:lnTo>
                    <a:cubicBezTo>
                      <a:pt x="22259" y="12273"/>
                      <a:pt x="16122" y="15341"/>
                      <a:pt x="16122" y="21477"/>
                    </a:cubicBezTo>
                    <a:cubicBezTo>
                      <a:pt x="16122" y="27613"/>
                      <a:pt x="19192" y="36818"/>
                      <a:pt x="28396" y="46023"/>
                    </a:cubicBezTo>
                    <a:cubicBezTo>
                      <a:pt x="59078" y="76705"/>
                      <a:pt x="83623" y="88977"/>
                      <a:pt x="98964" y="92045"/>
                    </a:cubicBezTo>
                    <a:cubicBezTo>
                      <a:pt x="102031" y="92045"/>
                      <a:pt x="102031" y="92045"/>
                      <a:pt x="105100" y="88977"/>
                    </a:cubicBezTo>
                    <a:cubicBezTo>
                      <a:pt x="108168" y="82841"/>
                      <a:pt x="111237" y="73636"/>
                      <a:pt x="108168" y="70568"/>
                    </a:cubicBezTo>
                    <a:cubicBezTo>
                      <a:pt x="108168" y="67500"/>
                      <a:pt x="108168" y="64432"/>
                      <a:pt x="111237" y="61364"/>
                    </a:cubicBezTo>
                    <a:cubicBezTo>
                      <a:pt x="114305" y="61364"/>
                      <a:pt x="117372" y="61364"/>
                      <a:pt x="120441" y="64432"/>
                    </a:cubicBezTo>
                    <a:cubicBezTo>
                      <a:pt x="123509" y="73636"/>
                      <a:pt x="120441" y="85909"/>
                      <a:pt x="114305" y="95114"/>
                    </a:cubicBezTo>
                    <a:cubicBezTo>
                      <a:pt x="105100" y="98182"/>
                      <a:pt x="98964" y="101250"/>
                      <a:pt x="92827" y="10125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86542C48-78DC-48C8-B43A-C61C92D971BB}"/>
                </a:ext>
              </a:extLst>
            </p:cNvPr>
            <p:cNvSpPr/>
            <p:nvPr/>
          </p:nvSpPr>
          <p:spPr>
            <a:xfrm>
              <a:off x="22005895" y="3737596"/>
              <a:ext cx="133188" cy="132048"/>
            </a:xfrm>
            <a:custGeom>
              <a:avLst/>
              <a:gdLst>
                <a:gd name="connsiteX0" fmla="*/ 132613 w 133188"/>
                <a:gd name="connsiteY0" fmla="*/ 58412 h 132048"/>
                <a:gd name="connsiteX1" fmla="*/ 49772 w 133188"/>
                <a:gd name="connsiteY1" fmla="*/ 117 h 132048"/>
                <a:gd name="connsiteX2" fmla="*/ 682 w 133188"/>
                <a:gd name="connsiteY2" fmla="*/ 55344 h 132048"/>
                <a:gd name="connsiteX3" fmla="*/ 55909 w 133188"/>
                <a:gd name="connsiteY3" fmla="*/ 58412 h 132048"/>
                <a:gd name="connsiteX4" fmla="*/ 95795 w 133188"/>
                <a:gd name="connsiteY4" fmla="*/ 104435 h 132048"/>
                <a:gd name="connsiteX5" fmla="*/ 104999 w 133188"/>
                <a:gd name="connsiteY5" fmla="*/ 132049 h 132048"/>
                <a:gd name="connsiteX6" fmla="*/ 132613 w 133188"/>
                <a:gd name="connsiteY6" fmla="*/ 58412 h 132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188" h="132048">
                  <a:moveTo>
                    <a:pt x="132613" y="58412"/>
                  </a:moveTo>
                  <a:cubicBezTo>
                    <a:pt x="123409" y="24663"/>
                    <a:pt x="77386" y="3185"/>
                    <a:pt x="49772" y="117"/>
                  </a:cubicBezTo>
                  <a:cubicBezTo>
                    <a:pt x="31364" y="-2951"/>
                    <a:pt x="-5455" y="55344"/>
                    <a:pt x="682" y="55344"/>
                  </a:cubicBezTo>
                  <a:cubicBezTo>
                    <a:pt x="12953" y="58412"/>
                    <a:pt x="43635" y="55344"/>
                    <a:pt x="55909" y="58412"/>
                  </a:cubicBezTo>
                  <a:cubicBezTo>
                    <a:pt x="77386" y="67617"/>
                    <a:pt x="86591" y="82958"/>
                    <a:pt x="95795" y="104435"/>
                  </a:cubicBezTo>
                  <a:cubicBezTo>
                    <a:pt x="98862" y="113640"/>
                    <a:pt x="95795" y="132049"/>
                    <a:pt x="104999" y="132049"/>
                  </a:cubicBezTo>
                  <a:cubicBezTo>
                    <a:pt x="126477" y="132049"/>
                    <a:pt x="135681" y="73753"/>
                    <a:pt x="132613" y="58412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0BFFB47B-80CE-41F8-AD48-885ED3D4BDA0}"/>
                </a:ext>
              </a:extLst>
            </p:cNvPr>
            <p:cNvSpPr/>
            <p:nvPr/>
          </p:nvSpPr>
          <p:spPr>
            <a:xfrm>
              <a:off x="22015781" y="3736442"/>
              <a:ext cx="124359" cy="142407"/>
            </a:xfrm>
            <a:custGeom>
              <a:avLst/>
              <a:gdLst>
                <a:gd name="connsiteX0" fmla="*/ 98182 w 124359"/>
                <a:gd name="connsiteY0" fmla="*/ 139339 h 142407"/>
                <a:gd name="connsiteX1" fmla="*/ 92045 w 124359"/>
                <a:gd name="connsiteY1" fmla="*/ 139339 h 142407"/>
                <a:gd name="connsiteX2" fmla="*/ 76705 w 124359"/>
                <a:gd name="connsiteY2" fmla="*/ 114794 h 142407"/>
                <a:gd name="connsiteX3" fmla="*/ 46023 w 124359"/>
                <a:gd name="connsiteY3" fmla="*/ 68771 h 142407"/>
                <a:gd name="connsiteX4" fmla="*/ 6137 w 124359"/>
                <a:gd name="connsiteY4" fmla="*/ 90248 h 142407"/>
                <a:gd name="connsiteX5" fmla="*/ 0 w 124359"/>
                <a:gd name="connsiteY5" fmla="*/ 84112 h 142407"/>
                <a:gd name="connsiteX6" fmla="*/ 6137 w 124359"/>
                <a:gd name="connsiteY6" fmla="*/ 77975 h 142407"/>
                <a:gd name="connsiteX7" fmla="*/ 39886 w 124359"/>
                <a:gd name="connsiteY7" fmla="*/ 59566 h 142407"/>
                <a:gd name="connsiteX8" fmla="*/ 46023 w 124359"/>
                <a:gd name="connsiteY8" fmla="*/ 56498 h 142407"/>
                <a:gd name="connsiteX9" fmla="*/ 85909 w 124359"/>
                <a:gd name="connsiteY9" fmla="*/ 111726 h 142407"/>
                <a:gd name="connsiteX10" fmla="*/ 92045 w 124359"/>
                <a:gd name="connsiteY10" fmla="*/ 130135 h 142407"/>
                <a:gd name="connsiteX11" fmla="*/ 95113 w 124359"/>
                <a:gd name="connsiteY11" fmla="*/ 130135 h 142407"/>
                <a:gd name="connsiteX12" fmla="*/ 110454 w 124359"/>
                <a:gd name="connsiteY12" fmla="*/ 62634 h 142407"/>
                <a:gd name="connsiteX13" fmla="*/ 33749 w 124359"/>
                <a:gd name="connsiteY13" fmla="*/ 10475 h 142407"/>
                <a:gd name="connsiteX14" fmla="*/ 30682 w 124359"/>
                <a:gd name="connsiteY14" fmla="*/ 4339 h 142407"/>
                <a:gd name="connsiteX15" fmla="*/ 36819 w 124359"/>
                <a:gd name="connsiteY15" fmla="*/ 1271 h 142407"/>
                <a:gd name="connsiteX16" fmla="*/ 122727 w 124359"/>
                <a:gd name="connsiteY16" fmla="*/ 65703 h 142407"/>
                <a:gd name="connsiteX17" fmla="*/ 104317 w 124359"/>
                <a:gd name="connsiteY17" fmla="*/ 142407 h 142407"/>
                <a:gd name="connsiteX18" fmla="*/ 98182 w 124359"/>
                <a:gd name="connsiteY18" fmla="*/ 139339 h 14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4359" h="142407">
                  <a:moveTo>
                    <a:pt x="98182" y="139339"/>
                  </a:moveTo>
                  <a:cubicBezTo>
                    <a:pt x="95113" y="139339"/>
                    <a:pt x="95113" y="139339"/>
                    <a:pt x="92045" y="139339"/>
                  </a:cubicBezTo>
                  <a:cubicBezTo>
                    <a:pt x="82841" y="136271"/>
                    <a:pt x="79772" y="127067"/>
                    <a:pt x="76705" y="114794"/>
                  </a:cubicBezTo>
                  <a:cubicBezTo>
                    <a:pt x="73635" y="99453"/>
                    <a:pt x="67500" y="77975"/>
                    <a:pt x="46023" y="68771"/>
                  </a:cubicBezTo>
                  <a:cubicBezTo>
                    <a:pt x="39886" y="74907"/>
                    <a:pt x="21478" y="90248"/>
                    <a:pt x="6137" y="90248"/>
                  </a:cubicBezTo>
                  <a:cubicBezTo>
                    <a:pt x="3067" y="90248"/>
                    <a:pt x="0" y="87180"/>
                    <a:pt x="0" y="84112"/>
                  </a:cubicBezTo>
                  <a:cubicBezTo>
                    <a:pt x="0" y="81044"/>
                    <a:pt x="3067" y="77975"/>
                    <a:pt x="6137" y="77975"/>
                  </a:cubicBezTo>
                  <a:cubicBezTo>
                    <a:pt x="18408" y="77975"/>
                    <a:pt x="33749" y="65703"/>
                    <a:pt x="39886" y="59566"/>
                  </a:cubicBezTo>
                  <a:cubicBezTo>
                    <a:pt x="42953" y="56498"/>
                    <a:pt x="42953" y="56498"/>
                    <a:pt x="46023" y="56498"/>
                  </a:cubicBezTo>
                  <a:cubicBezTo>
                    <a:pt x="73635" y="65703"/>
                    <a:pt x="82841" y="93316"/>
                    <a:pt x="85909" y="111726"/>
                  </a:cubicBezTo>
                  <a:cubicBezTo>
                    <a:pt x="88976" y="120930"/>
                    <a:pt x="88976" y="127067"/>
                    <a:pt x="92045" y="130135"/>
                  </a:cubicBezTo>
                  <a:cubicBezTo>
                    <a:pt x="92045" y="130135"/>
                    <a:pt x="95113" y="130135"/>
                    <a:pt x="95113" y="130135"/>
                  </a:cubicBezTo>
                  <a:cubicBezTo>
                    <a:pt x="104317" y="123998"/>
                    <a:pt x="113523" y="96385"/>
                    <a:pt x="110454" y="62634"/>
                  </a:cubicBezTo>
                  <a:cubicBezTo>
                    <a:pt x="104317" y="25816"/>
                    <a:pt x="33749" y="10475"/>
                    <a:pt x="33749" y="10475"/>
                  </a:cubicBezTo>
                  <a:cubicBezTo>
                    <a:pt x="30682" y="10475"/>
                    <a:pt x="27613" y="7407"/>
                    <a:pt x="30682" y="4339"/>
                  </a:cubicBezTo>
                  <a:cubicBezTo>
                    <a:pt x="30682" y="1271"/>
                    <a:pt x="33749" y="-1797"/>
                    <a:pt x="36819" y="1271"/>
                  </a:cubicBezTo>
                  <a:cubicBezTo>
                    <a:pt x="39886" y="1271"/>
                    <a:pt x="116591" y="19680"/>
                    <a:pt x="122727" y="65703"/>
                  </a:cubicBezTo>
                  <a:cubicBezTo>
                    <a:pt x="128864" y="102521"/>
                    <a:pt x="116591" y="133203"/>
                    <a:pt x="104317" y="142407"/>
                  </a:cubicBezTo>
                  <a:cubicBezTo>
                    <a:pt x="107386" y="139339"/>
                    <a:pt x="101250" y="139339"/>
                    <a:pt x="98182" y="139339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1" name="图形 1">
              <a:extLst>
                <a:ext uri="{FF2B5EF4-FFF2-40B4-BE49-F238E27FC236}">
                  <a16:creationId xmlns:a16="http://schemas.microsoft.com/office/drawing/2014/main" id="{05C1726B-7875-4669-8F6C-4D428292E004}"/>
                </a:ext>
              </a:extLst>
            </p:cNvPr>
            <p:cNvGrpSpPr/>
            <p:nvPr/>
          </p:nvGrpSpPr>
          <p:grpSpPr>
            <a:xfrm>
              <a:off x="24497939" y="3697827"/>
              <a:ext cx="1070796" cy="1076931"/>
              <a:chOff x="24497939" y="3697827"/>
              <a:chExt cx="1070796" cy="1076931"/>
            </a:xfrm>
          </p:grpSpPr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AC854569-1585-4082-A7D6-EFD708DF3EE8}"/>
                  </a:ext>
                </a:extLst>
              </p:cNvPr>
              <p:cNvSpPr/>
              <p:nvPr/>
            </p:nvSpPr>
            <p:spPr>
              <a:xfrm>
                <a:off x="24884531" y="3701670"/>
                <a:ext cx="468534" cy="431838"/>
              </a:xfrm>
              <a:custGeom>
                <a:avLst/>
                <a:gdLst>
                  <a:gd name="connsiteX0" fmla="*/ 411135 w 468534"/>
                  <a:gd name="connsiteY0" fmla="*/ 431838 h 431838"/>
                  <a:gd name="connsiteX1" fmla="*/ 411135 w 468534"/>
                  <a:gd name="connsiteY1" fmla="*/ 431838 h 431838"/>
                  <a:gd name="connsiteX2" fmla="*/ 405000 w 468534"/>
                  <a:gd name="connsiteY2" fmla="*/ 425702 h 431838"/>
                  <a:gd name="connsiteX3" fmla="*/ 441817 w 468534"/>
                  <a:gd name="connsiteY3" fmla="*/ 54452 h 431838"/>
                  <a:gd name="connsiteX4" fmla="*/ 386590 w 468534"/>
                  <a:gd name="connsiteY4" fmla="*/ 11497 h 431838"/>
                  <a:gd name="connsiteX5" fmla="*/ 12272 w 468534"/>
                  <a:gd name="connsiteY5" fmla="*/ 339793 h 431838"/>
                  <a:gd name="connsiteX6" fmla="*/ 3067 w 468534"/>
                  <a:gd name="connsiteY6" fmla="*/ 342861 h 431838"/>
                  <a:gd name="connsiteX7" fmla="*/ 0 w 468534"/>
                  <a:gd name="connsiteY7" fmla="*/ 333657 h 431838"/>
                  <a:gd name="connsiteX8" fmla="*/ 386590 w 468534"/>
                  <a:gd name="connsiteY8" fmla="*/ 2293 h 431838"/>
                  <a:gd name="connsiteX9" fmla="*/ 447954 w 468534"/>
                  <a:gd name="connsiteY9" fmla="*/ 51384 h 431838"/>
                  <a:gd name="connsiteX10" fmla="*/ 411135 w 468534"/>
                  <a:gd name="connsiteY10" fmla="*/ 431838 h 431838"/>
                  <a:gd name="connsiteX11" fmla="*/ 411135 w 468534"/>
                  <a:gd name="connsiteY11" fmla="*/ 431838 h 431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68534" h="431838">
                    <a:moveTo>
                      <a:pt x="411135" y="431838"/>
                    </a:moveTo>
                    <a:cubicBezTo>
                      <a:pt x="411135" y="431838"/>
                      <a:pt x="411135" y="431838"/>
                      <a:pt x="411135" y="431838"/>
                    </a:cubicBezTo>
                    <a:cubicBezTo>
                      <a:pt x="405000" y="431838"/>
                      <a:pt x="405000" y="425702"/>
                      <a:pt x="405000" y="425702"/>
                    </a:cubicBezTo>
                    <a:cubicBezTo>
                      <a:pt x="405000" y="422634"/>
                      <a:pt x="500113" y="161838"/>
                      <a:pt x="441817" y="54452"/>
                    </a:cubicBezTo>
                    <a:cubicBezTo>
                      <a:pt x="429545" y="32975"/>
                      <a:pt x="411135" y="17634"/>
                      <a:pt x="386590" y="11497"/>
                    </a:cubicBezTo>
                    <a:cubicBezTo>
                      <a:pt x="251591" y="-22253"/>
                      <a:pt x="12272" y="333657"/>
                      <a:pt x="12272" y="339793"/>
                    </a:cubicBezTo>
                    <a:cubicBezTo>
                      <a:pt x="9204" y="342861"/>
                      <a:pt x="6137" y="342861"/>
                      <a:pt x="3067" y="342861"/>
                    </a:cubicBezTo>
                    <a:cubicBezTo>
                      <a:pt x="0" y="339793"/>
                      <a:pt x="0" y="336725"/>
                      <a:pt x="0" y="333657"/>
                    </a:cubicBezTo>
                    <a:cubicBezTo>
                      <a:pt x="9204" y="318316"/>
                      <a:pt x="245455" y="-31457"/>
                      <a:pt x="386590" y="2293"/>
                    </a:cubicBezTo>
                    <a:cubicBezTo>
                      <a:pt x="414205" y="8429"/>
                      <a:pt x="435682" y="26838"/>
                      <a:pt x="447954" y="51384"/>
                    </a:cubicBezTo>
                    <a:cubicBezTo>
                      <a:pt x="509317" y="164907"/>
                      <a:pt x="414205" y="422634"/>
                      <a:pt x="411135" y="431838"/>
                    </a:cubicBezTo>
                    <a:cubicBezTo>
                      <a:pt x="417272" y="431838"/>
                      <a:pt x="414205" y="431838"/>
                      <a:pt x="411135" y="43183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98" name="图形 1">
                <a:extLst>
                  <a:ext uri="{FF2B5EF4-FFF2-40B4-BE49-F238E27FC236}">
                    <a16:creationId xmlns:a16="http://schemas.microsoft.com/office/drawing/2014/main" id="{12009004-6F94-4EF9-80F5-97513006B41E}"/>
                  </a:ext>
                </a:extLst>
              </p:cNvPr>
              <p:cNvGrpSpPr/>
              <p:nvPr/>
            </p:nvGrpSpPr>
            <p:grpSpPr>
              <a:xfrm>
                <a:off x="24497939" y="3897259"/>
                <a:ext cx="1070796" cy="877499"/>
                <a:chOff x="24497939" y="3897259"/>
                <a:chExt cx="1070796" cy="877499"/>
              </a:xfrm>
            </p:grpSpPr>
            <p:sp>
              <p:nvSpPr>
                <p:cNvPr id="102" name="任意多边形: 形状 101">
                  <a:extLst>
                    <a:ext uri="{FF2B5EF4-FFF2-40B4-BE49-F238E27FC236}">
                      <a16:creationId xmlns:a16="http://schemas.microsoft.com/office/drawing/2014/main" id="{EF3AFC53-089E-49EF-84DD-D0A2F09FF0FC}"/>
                    </a:ext>
                  </a:extLst>
                </p:cNvPr>
                <p:cNvSpPr/>
                <p:nvPr/>
              </p:nvSpPr>
              <p:spPr>
                <a:xfrm>
                  <a:off x="24620666" y="3940213"/>
                  <a:ext cx="948068" cy="834545"/>
                </a:xfrm>
                <a:custGeom>
                  <a:avLst/>
                  <a:gdLst>
                    <a:gd name="connsiteX0" fmla="*/ 242387 w 948068"/>
                    <a:gd name="connsiteY0" fmla="*/ 0 h 834545"/>
                    <a:gd name="connsiteX1" fmla="*/ 0 w 948068"/>
                    <a:gd name="connsiteY1" fmla="*/ 647386 h 834545"/>
                    <a:gd name="connsiteX2" fmla="*/ 905114 w 948068"/>
                    <a:gd name="connsiteY2" fmla="*/ 834545 h 834545"/>
                    <a:gd name="connsiteX3" fmla="*/ 948069 w 948068"/>
                    <a:gd name="connsiteY3" fmla="*/ 177954 h 834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48068" h="834545">
                      <a:moveTo>
                        <a:pt x="242387" y="0"/>
                      </a:moveTo>
                      <a:lnTo>
                        <a:pt x="0" y="647386"/>
                      </a:lnTo>
                      <a:lnTo>
                        <a:pt x="905114" y="834545"/>
                      </a:lnTo>
                      <a:lnTo>
                        <a:pt x="948069" y="177954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3" name="任意多边形: 形状 102">
                  <a:extLst>
                    <a:ext uri="{FF2B5EF4-FFF2-40B4-BE49-F238E27FC236}">
                      <a16:creationId xmlns:a16="http://schemas.microsoft.com/office/drawing/2014/main" id="{B5DDDC16-1883-44A8-80AE-D3BCB0BC7856}"/>
                    </a:ext>
                  </a:extLst>
                </p:cNvPr>
                <p:cNvSpPr/>
                <p:nvPr/>
              </p:nvSpPr>
              <p:spPr>
                <a:xfrm>
                  <a:off x="24749530" y="3897259"/>
                  <a:ext cx="819204" cy="220908"/>
                </a:xfrm>
                <a:custGeom>
                  <a:avLst/>
                  <a:gdLst>
                    <a:gd name="connsiteX0" fmla="*/ 819205 w 819204"/>
                    <a:gd name="connsiteY0" fmla="*/ 220909 h 220908"/>
                    <a:gd name="connsiteX1" fmla="*/ 628977 w 819204"/>
                    <a:gd name="connsiteY1" fmla="*/ 147273 h 220908"/>
                    <a:gd name="connsiteX2" fmla="*/ 0 w 819204"/>
                    <a:gd name="connsiteY2" fmla="*/ 0 h 220908"/>
                    <a:gd name="connsiteX3" fmla="*/ 113523 w 819204"/>
                    <a:gd name="connsiteY3" fmla="*/ 42955 h 2209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19204" h="220908">
                      <a:moveTo>
                        <a:pt x="819205" y="220909"/>
                      </a:moveTo>
                      <a:lnTo>
                        <a:pt x="628977" y="147273"/>
                      </a:lnTo>
                      <a:lnTo>
                        <a:pt x="0" y="0"/>
                      </a:lnTo>
                      <a:lnTo>
                        <a:pt x="113523" y="42955"/>
                      </a:lnTo>
                      <a:close/>
                    </a:path>
                  </a:pathLst>
                </a:custGeom>
                <a:solidFill>
                  <a:srgbClr val="C6554F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4" name="任意多边形: 形状 103">
                  <a:extLst>
                    <a:ext uri="{FF2B5EF4-FFF2-40B4-BE49-F238E27FC236}">
                      <a16:creationId xmlns:a16="http://schemas.microsoft.com/office/drawing/2014/main" id="{EE90F13F-A5C4-4714-9DEC-E6A6047D56EC}"/>
                    </a:ext>
                  </a:extLst>
                </p:cNvPr>
                <p:cNvSpPr/>
                <p:nvPr/>
              </p:nvSpPr>
              <p:spPr>
                <a:xfrm>
                  <a:off x="24497939" y="3897259"/>
                  <a:ext cx="365114" cy="690340"/>
                </a:xfrm>
                <a:custGeom>
                  <a:avLst/>
                  <a:gdLst>
                    <a:gd name="connsiteX0" fmla="*/ 0 w 365114"/>
                    <a:gd name="connsiteY0" fmla="*/ 555341 h 690340"/>
                    <a:gd name="connsiteX1" fmla="*/ 122727 w 365114"/>
                    <a:gd name="connsiteY1" fmla="*/ 690341 h 690340"/>
                    <a:gd name="connsiteX2" fmla="*/ 365114 w 365114"/>
                    <a:gd name="connsiteY2" fmla="*/ 42955 h 690340"/>
                    <a:gd name="connsiteX3" fmla="*/ 251591 w 365114"/>
                    <a:gd name="connsiteY3" fmla="*/ 0 h 6903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5114" h="690340">
                      <a:moveTo>
                        <a:pt x="0" y="555341"/>
                      </a:moveTo>
                      <a:lnTo>
                        <a:pt x="122727" y="690341"/>
                      </a:lnTo>
                      <a:lnTo>
                        <a:pt x="365114" y="42955"/>
                      </a:lnTo>
                      <a:lnTo>
                        <a:pt x="251591" y="0"/>
                      </a:lnTo>
                      <a:close/>
                    </a:path>
                  </a:pathLst>
                </a:custGeom>
                <a:solidFill>
                  <a:srgbClr val="C6554F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F4114077-13F4-4C8A-B724-C1117DF02DF5}"/>
                  </a:ext>
                </a:extLst>
              </p:cNvPr>
              <p:cNvSpPr/>
              <p:nvPr/>
            </p:nvSpPr>
            <p:spPr>
              <a:xfrm>
                <a:off x="24973507" y="3697827"/>
                <a:ext cx="423041" cy="457159"/>
              </a:xfrm>
              <a:custGeom>
                <a:avLst/>
                <a:gdLst>
                  <a:gd name="connsiteX0" fmla="*/ 408070 w 423041"/>
                  <a:gd name="connsiteY0" fmla="*/ 457159 h 457159"/>
                  <a:gd name="connsiteX1" fmla="*/ 408070 w 423041"/>
                  <a:gd name="connsiteY1" fmla="*/ 457159 h 457159"/>
                  <a:gd name="connsiteX2" fmla="*/ 401933 w 423041"/>
                  <a:gd name="connsiteY2" fmla="*/ 451023 h 457159"/>
                  <a:gd name="connsiteX3" fmla="*/ 300683 w 423041"/>
                  <a:gd name="connsiteY3" fmla="*/ 12273 h 457159"/>
                  <a:gd name="connsiteX4" fmla="*/ 9206 w 423041"/>
                  <a:gd name="connsiteY4" fmla="*/ 358977 h 457159"/>
                  <a:gd name="connsiteX5" fmla="*/ 3069 w 423041"/>
                  <a:gd name="connsiteY5" fmla="*/ 362045 h 457159"/>
                  <a:gd name="connsiteX6" fmla="*/ 0 w 423041"/>
                  <a:gd name="connsiteY6" fmla="*/ 355909 h 457159"/>
                  <a:gd name="connsiteX7" fmla="*/ 285342 w 423041"/>
                  <a:gd name="connsiteY7" fmla="*/ 0 h 457159"/>
                  <a:gd name="connsiteX8" fmla="*/ 303751 w 423041"/>
                  <a:gd name="connsiteY8" fmla="*/ 3068 h 457159"/>
                  <a:gd name="connsiteX9" fmla="*/ 414205 w 423041"/>
                  <a:gd name="connsiteY9" fmla="*/ 454091 h 457159"/>
                  <a:gd name="connsiteX10" fmla="*/ 408070 w 423041"/>
                  <a:gd name="connsiteY10" fmla="*/ 457159 h 45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23041" h="457159">
                    <a:moveTo>
                      <a:pt x="408070" y="457159"/>
                    </a:moveTo>
                    <a:cubicBezTo>
                      <a:pt x="405000" y="457159"/>
                      <a:pt x="405000" y="457159"/>
                      <a:pt x="408070" y="457159"/>
                    </a:cubicBezTo>
                    <a:cubicBezTo>
                      <a:pt x="405000" y="457159"/>
                      <a:pt x="401933" y="454091"/>
                      <a:pt x="401933" y="451023"/>
                    </a:cubicBezTo>
                    <a:cubicBezTo>
                      <a:pt x="401933" y="447955"/>
                      <a:pt x="457160" y="52159"/>
                      <a:pt x="300683" y="12273"/>
                    </a:cubicBezTo>
                    <a:cubicBezTo>
                      <a:pt x="165683" y="-21477"/>
                      <a:pt x="9206" y="355909"/>
                      <a:pt x="9206" y="358977"/>
                    </a:cubicBezTo>
                    <a:cubicBezTo>
                      <a:pt x="9206" y="362045"/>
                      <a:pt x="6137" y="362045"/>
                      <a:pt x="3069" y="362045"/>
                    </a:cubicBezTo>
                    <a:cubicBezTo>
                      <a:pt x="0" y="362045"/>
                      <a:pt x="0" y="358977"/>
                      <a:pt x="0" y="355909"/>
                    </a:cubicBezTo>
                    <a:cubicBezTo>
                      <a:pt x="6137" y="340568"/>
                      <a:pt x="147274" y="0"/>
                      <a:pt x="285342" y="0"/>
                    </a:cubicBezTo>
                    <a:cubicBezTo>
                      <a:pt x="291477" y="0"/>
                      <a:pt x="297614" y="0"/>
                      <a:pt x="303751" y="3068"/>
                    </a:cubicBezTo>
                    <a:cubicBezTo>
                      <a:pt x="469433" y="42955"/>
                      <a:pt x="414205" y="435682"/>
                      <a:pt x="414205" y="454091"/>
                    </a:cubicBezTo>
                    <a:cubicBezTo>
                      <a:pt x="411137" y="454091"/>
                      <a:pt x="408070" y="457159"/>
                      <a:pt x="408070" y="45715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773C0235-0A05-4FDC-A7E9-4FD3A910AC64}"/>
                  </a:ext>
                </a:extLst>
              </p:cNvPr>
              <p:cNvSpPr/>
              <p:nvPr/>
            </p:nvSpPr>
            <p:spPr>
              <a:xfrm>
                <a:off x="24947692" y="4024851"/>
                <a:ext cx="63905" cy="62634"/>
              </a:xfrm>
              <a:custGeom>
                <a:avLst/>
                <a:gdLst>
                  <a:gd name="connsiteX0" fmla="*/ 28885 w 63905"/>
                  <a:gd name="connsiteY0" fmla="*/ 62635 h 62634"/>
                  <a:gd name="connsiteX1" fmla="*/ 22748 w 63905"/>
                  <a:gd name="connsiteY1" fmla="*/ 62635 h 62634"/>
                  <a:gd name="connsiteX2" fmla="*/ 4340 w 63905"/>
                  <a:gd name="connsiteY2" fmla="*/ 47294 h 62634"/>
                  <a:gd name="connsiteX3" fmla="*/ 1271 w 63905"/>
                  <a:gd name="connsiteY3" fmla="*/ 22748 h 62634"/>
                  <a:gd name="connsiteX4" fmla="*/ 16611 w 63905"/>
                  <a:gd name="connsiteY4" fmla="*/ 4339 h 62634"/>
                  <a:gd name="connsiteX5" fmla="*/ 41157 w 63905"/>
                  <a:gd name="connsiteY5" fmla="*/ 1271 h 62634"/>
                  <a:gd name="connsiteX6" fmla="*/ 59567 w 63905"/>
                  <a:gd name="connsiteY6" fmla="*/ 16612 h 62634"/>
                  <a:gd name="connsiteX7" fmla="*/ 62634 w 63905"/>
                  <a:gd name="connsiteY7" fmla="*/ 41157 h 62634"/>
                  <a:gd name="connsiteX8" fmla="*/ 62634 w 63905"/>
                  <a:gd name="connsiteY8" fmla="*/ 41157 h 62634"/>
                  <a:gd name="connsiteX9" fmla="*/ 28885 w 63905"/>
                  <a:gd name="connsiteY9" fmla="*/ 62635 h 62634"/>
                  <a:gd name="connsiteX10" fmla="*/ 28885 w 63905"/>
                  <a:gd name="connsiteY10" fmla="*/ 10476 h 62634"/>
                  <a:gd name="connsiteX11" fmla="*/ 19681 w 63905"/>
                  <a:gd name="connsiteY11" fmla="*/ 13544 h 62634"/>
                  <a:gd name="connsiteX12" fmla="*/ 10475 w 63905"/>
                  <a:gd name="connsiteY12" fmla="*/ 25816 h 62634"/>
                  <a:gd name="connsiteX13" fmla="*/ 13544 w 63905"/>
                  <a:gd name="connsiteY13" fmla="*/ 41157 h 62634"/>
                  <a:gd name="connsiteX14" fmla="*/ 25816 w 63905"/>
                  <a:gd name="connsiteY14" fmla="*/ 50362 h 62634"/>
                  <a:gd name="connsiteX15" fmla="*/ 50363 w 63905"/>
                  <a:gd name="connsiteY15" fmla="*/ 35021 h 62634"/>
                  <a:gd name="connsiteX16" fmla="*/ 47293 w 63905"/>
                  <a:gd name="connsiteY16" fmla="*/ 19680 h 62634"/>
                  <a:gd name="connsiteX17" fmla="*/ 35022 w 63905"/>
                  <a:gd name="connsiteY17" fmla="*/ 10476 h 62634"/>
                  <a:gd name="connsiteX18" fmla="*/ 28885 w 63905"/>
                  <a:gd name="connsiteY18" fmla="*/ 10476 h 62634"/>
                  <a:gd name="connsiteX19" fmla="*/ 53430 w 63905"/>
                  <a:gd name="connsiteY19" fmla="*/ 35021 h 62634"/>
                  <a:gd name="connsiteX20" fmla="*/ 53430 w 63905"/>
                  <a:gd name="connsiteY20" fmla="*/ 35021 h 62634"/>
                  <a:gd name="connsiteX21" fmla="*/ 53430 w 63905"/>
                  <a:gd name="connsiteY21" fmla="*/ 35021 h 62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3905" h="62634">
                    <a:moveTo>
                      <a:pt x="28885" y="62635"/>
                    </a:moveTo>
                    <a:cubicBezTo>
                      <a:pt x="25816" y="62635"/>
                      <a:pt x="22748" y="62635"/>
                      <a:pt x="22748" y="62635"/>
                    </a:cubicBezTo>
                    <a:cubicBezTo>
                      <a:pt x="13544" y="59566"/>
                      <a:pt x="7407" y="56498"/>
                      <a:pt x="4340" y="47294"/>
                    </a:cubicBezTo>
                    <a:cubicBezTo>
                      <a:pt x="1271" y="41157"/>
                      <a:pt x="-1797" y="31953"/>
                      <a:pt x="1271" y="22748"/>
                    </a:cubicBezTo>
                    <a:cubicBezTo>
                      <a:pt x="4340" y="13544"/>
                      <a:pt x="7407" y="7407"/>
                      <a:pt x="16611" y="4339"/>
                    </a:cubicBezTo>
                    <a:cubicBezTo>
                      <a:pt x="22748" y="1271"/>
                      <a:pt x="31952" y="-1797"/>
                      <a:pt x="41157" y="1271"/>
                    </a:cubicBezTo>
                    <a:cubicBezTo>
                      <a:pt x="50363" y="4339"/>
                      <a:pt x="56497" y="7407"/>
                      <a:pt x="59567" y="16612"/>
                    </a:cubicBezTo>
                    <a:cubicBezTo>
                      <a:pt x="62634" y="22748"/>
                      <a:pt x="65703" y="31953"/>
                      <a:pt x="62634" y="41157"/>
                    </a:cubicBezTo>
                    <a:lnTo>
                      <a:pt x="62634" y="41157"/>
                    </a:lnTo>
                    <a:cubicBezTo>
                      <a:pt x="56497" y="50362"/>
                      <a:pt x="44226" y="62635"/>
                      <a:pt x="28885" y="62635"/>
                    </a:cubicBezTo>
                    <a:close/>
                    <a:moveTo>
                      <a:pt x="28885" y="10476"/>
                    </a:moveTo>
                    <a:cubicBezTo>
                      <a:pt x="25816" y="10476"/>
                      <a:pt x="22748" y="10476"/>
                      <a:pt x="19681" y="13544"/>
                    </a:cubicBezTo>
                    <a:cubicBezTo>
                      <a:pt x="16611" y="16612"/>
                      <a:pt x="10475" y="19680"/>
                      <a:pt x="10475" y="25816"/>
                    </a:cubicBezTo>
                    <a:cubicBezTo>
                      <a:pt x="10475" y="31953"/>
                      <a:pt x="10475" y="35021"/>
                      <a:pt x="13544" y="41157"/>
                    </a:cubicBezTo>
                    <a:cubicBezTo>
                      <a:pt x="16611" y="44225"/>
                      <a:pt x="19681" y="50362"/>
                      <a:pt x="25816" y="50362"/>
                    </a:cubicBezTo>
                    <a:cubicBezTo>
                      <a:pt x="35022" y="53430"/>
                      <a:pt x="47293" y="47294"/>
                      <a:pt x="50363" y="35021"/>
                    </a:cubicBezTo>
                    <a:cubicBezTo>
                      <a:pt x="50363" y="28885"/>
                      <a:pt x="50363" y="25816"/>
                      <a:pt x="47293" y="19680"/>
                    </a:cubicBezTo>
                    <a:cubicBezTo>
                      <a:pt x="44226" y="16612"/>
                      <a:pt x="41157" y="10476"/>
                      <a:pt x="35022" y="10476"/>
                    </a:cubicBezTo>
                    <a:cubicBezTo>
                      <a:pt x="31952" y="10476"/>
                      <a:pt x="31952" y="10476"/>
                      <a:pt x="28885" y="10476"/>
                    </a:cubicBezTo>
                    <a:close/>
                    <a:moveTo>
                      <a:pt x="53430" y="35021"/>
                    </a:moveTo>
                    <a:lnTo>
                      <a:pt x="53430" y="35021"/>
                    </a:lnTo>
                    <a:lnTo>
                      <a:pt x="53430" y="35021"/>
                    </a:ln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528B3B11-16BD-4C54-B1F4-BB742C946863}"/>
                  </a:ext>
                </a:extLst>
              </p:cNvPr>
              <p:cNvSpPr/>
              <p:nvPr/>
            </p:nvSpPr>
            <p:spPr>
              <a:xfrm>
                <a:off x="25349624" y="4123033"/>
                <a:ext cx="63905" cy="62634"/>
              </a:xfrm>
              <a:custGeom>
                <a:avLst/>
                <a:gdLst>
                  <a:gd name="connsiteX0" fmla="*/ 28884 w 63905"/>
                  <a:gd name="connsiteY0" fmla="*/ 62635 h 62634"/>
                  <a:gd name="connsiteX1" fmla="*/ 22747 w 63905"/>
                  <a:gd name="connsiteY1" fmla="*/ 62635 h 62634"/>
                  <a:gd name="connsiteX2" fmla="*/ 4339 w 63905"/>
                  <a:gd name="connsiteY2" fmla="*/ 47294 h 62634"/>
                  <a:gd name="connsiteX3" fmla="*/ 1271 w 63905"/>
                  <a:gd name="connsiteY3" fmla="*/ 22748 h 62634"/>
                  <a:gd name="connsiteX4" fmla="*/ 16612 w 63905"/>
                  <a:gd name="connsiteY4" fmla="*/ 4339 h 62634"/>
                  <a:gd name="connsiteX5" fmla="*/ 41157 w 63905"/>
                  <a:gd name="connsiteY5" fmla="*/ 1271 h 62634"/>
                  <a:gd name="connsiteX6" fmla="*/ 59566 w 63905"/>
                  <a:gd name="connsiteY6" fmla="*/ 16612 h 62634"/>
                  <a:gd name="connsiteX7" fmla="*/ 62635 w 63905"/>
                  <a:gd name="connsiteY7" fmla="*/ 41157 h 62634"/>
                  <a:gd name="connsiteX8" fmla="*/ 47294 w 63905"/>
                  <a:gd name="connsiteY8" fmla="*/ 59566 h 62634"/>
                  <a:gd name="connsiteX9" fmla="*/ 28884 w 63905"/>
                  <a:gd name="connsiteY9" fmla="*/ 62635 h 62634"/>
                  <a:gd name="connsiteX10" fmla="*/ 28884 w 63905"/>
                  <a:gd name="connsiteY10" fmla="*/ 10475 h 62634"/>
                  <a:gd name="connsiteX11" fmla="*/ 19680 w 63905"/>
                  <a:gd name="connsiteY11" fmla="*/ 13544 h 62634"/>
                  <a:gd name="connsiteX12" fmla="*/ 10476 w 63905"/>
                  <a:gd name="connsiteY12" fmla="*/ 25816 h 62634"/>
                  <a:gd name="connsiteX13" fmla="*/ 13543 w 63905"/>
                  <a:gd name="connsiteY13" fmla="*/ 41157 h 62634"/>
                  <a:gd name="connsiteX14" fmla="*/ 25816 w 63905"/>
                  <a:gd name="connsiteY14" fmla="*/ 50362 h 62634"/>
                  <a:gd name="connsiteX15" fmla="*/ 41157 w 63905"/>
                  <a:gd name="connsiteY15" fmla="*/ 47294 h 62634"/>
                  <a:gd name="connsiteX16" fmla="*/ 50362 w 63905"/>
                  <a:gd name="connsiteY16" fmla="*/ 35021 h 62634"/>
                  <a:gd name="connsiteX17" fmla="*/ 50362 w 63905"/>
                  <a:gd name="connsiteY17" fmla="*/ 35021 h 62634"/>
                  <a:gd name="connsiteX18" fmla="*/ 47294 w 63905"/>
                  <a:gd name="connsiteY18" fmla="*/ 19680 h 62634"/>
                  <a:gd name="connsiteX19" fmla="*/ 35021 w 63905"/>
                  <a:gd name="connsiteY19" fmla="*/ 10475 h 62634"/>
                  <a:gd name="connsiteX20" fmla="*/ 28884 w 63905"/>
                  <a:gd name="connsiteY20" fmla="*/ 10475 h 62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3905" h="62634">
                    <a:moveTo>
                      <a:pt x="28884" y="62635"/>
                    </a:moveTo>
                    <a:cubicBezTo>
                      <a:pt x="25816" y="62635"/>
                      <a:pt x="22747" y="62635"/>
                      <a:pt x="22747" y="62635"/>
                    </a:cubicBezTo>
                    <a:cubicBezTo>
                      <a:pt x="13543" y="59566"/>
                      <a:pt x="7406" y="56498"/>
                      <a:pt x="4339" y="47294"/>
                    </a:cubicBezTo>
                    <a:cubicBezTo>
                      <a:pt x="1271" y="41157"/>
                      <a:pt x="-1798" y="31953"/>
                      <a:pt x="1271" y="22748"/>
                    </a:cubicBezTo>
                    <a:cubicBezTo>
                      <a:pt x="4339" y="13544"/>
                      <a:pt x="7406" y="7407"/>
                      <a:pt x="16612" y="4339"/>
                    </a:cubicBezTo>
                    <a:cubicBezTo>
                      <a:pt x="22747" y="1271"/>
                      <a:pt x="31953" y="-1797"/>
                      <a:pt x="41157" y="1271"/>
                    </a:cubicBezTo>
                    <a:cubicBezTo>
                      <a:pt x="50362" y="4339"/>
                      <a:pt x="56498" y="7407"/>
                      <a:pt x="59566" y="16612"/>
                    </a:cubicBezTo>
                    <a:cubicBezTo>
                      <a:pt x="62635" y="22748"/>
                      <a:pt x="65702" y="31953"/>
                      <a:pt x="62635" y="41157"/>
                    </a:cubicBezTo>
                    <a:cubicBezTo>
                      <a:pt x="59566" y="50362"/>
                      <a:pt x="56498" y="56498"/>
                      <a:pt x="47294" y="59566"/>
                    </a:cubicBezTo>
                    <a:cubicBezTo>
                      <a:pt x="41157" y="59566"/>
                      <a:pt x="35021" y="62635"/>
                      <a:pt x="28884" y="62635"/>
                    </a:cubicBezTo>
                    <a:close/>
                    <a:moveTo>
                      <a:pt x="28884" y="10475"/>
                    </a:moveTo>
                    <a:cubicBezTo>
                      <a:pt x="25816" y="10475"/>
                      <a:pt x="22747" y="10475"/>
                      <a:pt x="19680" y="13544"/>
                    </a:cubicBezTo>
                    <a:cubicBezTo>
                      <a:pt x="16612" y="16612"/>
                      <a:pt x="10476" y="19680"/>
                      <a:pt x="10476" y="25816"/>
                    </a:cubicBezTo>
                    <a:cubicBezTo>
                      <a:pt x="10476" y="31953"/>
                      <a:pt x="10476" y="35021"/>
                      <a:pt x="13543" y="41157"/>
                    </a:cubicBezTo>
                    <a:cubicBezTo>
                      <a:pt x="16612" y="44225"/>
                      <a:pt x="19680" y="50362"/>
                      <a:pt x="25816" y="50362"/>
                    </a:cubicBezTo>
                    <a:cubicBezTo>
                      <a:pt x="31953" y="50362"/>
                      <a:pt x="35021" y="50362"/>
                      <a:pt x="41157" y="47294"/>
                    </a:cubicBezTo>
                    <a:cubicBezTo>
                      <a:pt x="44225" y="44225"/>
                      <a:pt x="50362" y="41157"/>
                      <a:pt x="50362" y="35021"/>
                    </a:cubicBezTo>
                    <a:lnTo>
                      <a:pt x="50362" y="35021"/>
                    </a:lnTo>
                    <a:cubicBezTo>
                      <a:pt x="50362" y="28884"/>
                      <a:pt x="50362" y="25816"/>
                      <a:pt x="47294" y="19680"/>
                    </a:cubicBezTo>
                    <a:cubicBezTo>
                      <a:pt x="44225" y="16612"/>
                      <a:pt x="41157" y="10475"/>
                      <a:pt x="35021" y="10475"/>
                    </a:cubicBezTo>
                    <a:cubicBezTo>
                      <a:pt x="31953" y="10475"/>
                      <a:pt x="31953" y="10475"/>
                      <a:pt x="28884" y="1047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AE3664D8-97AD-47D2-8420-952C8062EF2E}"/>
                </a:ext>
              </a:extLst>
            </p:cNvPr>
            <p:cNvSpPr/>
            <p:nvPr/>
          </p:nvSpPr>
          <p:spPr>
            <a:xfrm>
              <a:off x="25138944" y="3571925"/>
              <a:ext cx="233427" cy="71824"/>
            </a:xfrm>
            <a:custGeom>
              <a:avLst/>
              <a:gdLst>
                <a:gd name="connsiteX0" fmla="*/ 233427 w 233427"/>
                <a:gd name="connsiteY0" fmla="*/ 61470 h 71824"/>
                <a:gd name="connsiteX1" fmla="*/ 83087 w 233427"/>
                <a:gd name="connsiteY1" fmla="*/ 106 h 71824"/>
                <a:gd name="connsiteX2" fmla="*/ 246 w 233427"/>
                <a:gd name="connsiteY2" fmla="*/ 24652 h 71824"/>
                <a:gd name="connsiteX3" fmla="*/ 122973 w 233427"/>
                <a:gd name="connsiteY3" fmla="*/ 67606 h 71824"/>
                <a:gd name="connsiteX4" fmla="*/ 233427 w 233427"/>
                <a:gd name="connsiteY4" fmla="*/ 61470 h 71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427" h="71824">
                  <a:moveTo>
                    <a:pt x="233427" y="61470"/>
                  </a:moveTo>
                  <a:cubicBezTo>
                    <a:pt x="233427" y="61470"/>
                    <a:pt x="116837" y="-2962"/>
                    <a:pt x="83087" y="106"/>
                  </a:cubicBezTo>
                  <a:cubicBezTo>
                    <a:pt x="49336" y="3174"/>
                    <a:pt x="3314" y="6243"/>
                    <a:pt x="246" y="24652"/>
                  </a:cubicBezTo>
                  <a:cubicBezTo>
                    <a:pt x="-5891" y="67606"/>
                    <a:pt x="104565" y="33856"/>
                    <a:pt x="122973" y="67606"/>
                  </a:cubicBezTo>
                  <a:cubicBezTo>
                    <a:pt x="132178" y="79879"/>
                    <a:pt x="233427" y="61470"/>
                    <a:pt x="233427" y="61470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3" name="图形 1">
              <a:extLst>
                <a:ext uri="{FF2B5EF4-FFF2-40B4-BE49-F238E27FC236}">
                  <a16:creationId xmlns:a16="http://schemas.microsoft.com/office/drawing/2014/main" id="{7F2CC1F5-BE47-45BC-965F-0D3F378306CE}"/>
                </a:ext>
              </a:extLst>
            </p:cNvPr>
            <p:cNvGrpSpPr/>
            <p:nvPr/>
          </p:nvGrpSpPr>
          <p:grpSpPr>
            <a:xfrm>
              <a:off x="25157333" y="3621629"/>
              <a:ext cx="338455" cy="233628"/>
              <a:chOff x="25157333" y="3621629"/>
              <a:chExt cx="338455" cy="233628"/>
            </a:xfrm>
          </p:grpSpPr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1652218B-4C81-4D29-8588-5281EEE18D93}"/>
                  </a:ext>
                </a:extLst>
              </p:cNvPr>
              <p:cNvSpPr/>
              <p:nvPr/>
            </p:nvSpPr>
            <p:spPr>
              <a:xfrm>
                <a:off x="25160667" y="3621629"/>
                <a:ext cx="335120" cy="233628"/>
              </a:xfrm>
              <a:custGeom>
                <a:avLst/>
                <a:gdLst>
                  <a:gd name="connsiteX0" fmla="*/ 334431 w 335120"/>
                  <a:gd name="connsiteY0" fmla="*/ 131425 h 233628"/>
                  <a:gd name="connsiteX1" fmla="*/ 303749 w 335120"/>
                  <a:gd name="connsiteY1" fmla="*/ 8697 h 233628"/>
                  <a:gd name="connsiteX2" fmla="*/ 55227 w 335120"/>
                  <a:gd name="connsiteY2" fmla="*/ 11766 h 233628"/>
                  <a:gd name="connsiteX3" fmla="*/ 0 w 335120"/>
                  <a:gd name="connsiteY3" fmla="*/ 48584 h 233628"/>
                  <a:gd name="connsiteX4" fmla="*/ 18408 w 335120"/>
                  <a:gd name="connsiteY4" fmla="*/ 82334 h 233628"/>
                  <a:gd name="connsiteX5" fmla="*/ 33749 w 335120"/>
                  <a:gd name="connsiteY5" fmla="*/ 137561 h 233628"/>
                  <a:gd name="connsiteX6" fmla="*/ 33749 w 335120"/>
                  <a:gd name="connsiteY6" fmla="*/ 171311 h 233628"/>
                  <a:gd name="connsiteX7" fmla="*/ 73635 w 335120"/>
                  <a:gd name="connsiteY7" fmla="*/ 189720 h 233628"/>
                  <a:gd name="connsiteX8" fmla="*/ 107386 w 335120"/>
                  <a:gd name="connsiteY8" fmla="*/ 232675 h 233628"/>
                  <a:gd name="connsiteX9" fmla="*/ 187158 w 335120"/>
                  <a:gd name="connsiteY9" fmla="*/ 195857 h 233628"/>
                  <a:gd name="connsiteX10" fmla="*/ 291477 w 335120"/>
                  <a:gd name="connsiteY10" fmla="*/ 168243 h 233628"/>
                  <a:gd name="connsiteX11" fmla="*/ 334431 w 335120"/>
                  <a:gd name="connsiteY11" fmla="*/ 131425 h 233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5120" h="233628">
                    <a:moveTo>
                      <a:pt x="334431" y="131425"/>
                    </a:moveTo>
                    <a:cubicBezTo>
                      <a:pt x="340567" y="85402"/>
                      <a:pt x="303749" y="5629"/>
                      <a:pt x="303749" y="8697"/>
                    </a:cubicBezTo>
                    <a:cubicBezTo>
                      <a:pt x="211703" y="8697"/>
                      <a:pt x="150340" y="-12780"/>
                      <a:pt x="55227" y="11766"/>
                    </a:cubicBezTo>
                    <a:cubicBezTo>
                      <a:pt x="39886" y="14834"/>
                      <a:pt x="0" y="11766"/>
                      <a:pt x="0" y="48584"/>
                    </a:cubicBezTo>
                    <a:cubicBezTo>
                      <a:pt x="0" y="57788"/>
                      <a:pt x="0" y="79266"/>
                      <a:pt x="18408" y="82334"/>
                    </a:cubicBezTo>
                    <a:cubicBezTo>
                      <a:pt x="0" y="100743"/>
                      <a:pt x="15341" y="140629"/>
                      <a:pt x="33749" y="137561"/>
                    </a:cubicBezTo>
                    <a:cubicBezTo>
                      <a:pt x="30682" y="143697"/>
                      <a:pt x="30682" y="165175"/>
                      <a:pt x="33749" y="171311"/>
                    </a:cubicBezTo>
                    <a:cubicBezTo>
                      <a:pt x="46023" y="186652"/>
                      <a:pt x="55227" y="192788"/>
                      <a:pt x="73635" y="189720"/>
                    </a:cubicBezTo>
                    <a:cubicBezTo>
                      <a:pt x="70568" y="214266"/>
                      <a:pt x="82841" y="238811"/>
                      <a:pt x="107386" y="232675"/>
                    </a:cubicBezTo>
                    <a:cubicBezTo>
                      <a:pt x="144205" y="226538"/>
                      <a:pt x="153409" y="208129"/>
                      <a:pt x="187158" y="195857"/>
                    </a:cubicBezTo>
                    <a:cubicBezTo>
                      <a:pt x="220909" y="183584"/>
                      <a:pt x="257726" y="177447"/>
                      <a:pt x="291477" y="168243"/>
                    </a:cubicBezTo>
                    <a:cubicBezTo>
                      <a:pt x="322159" y="165175"/>
                      <a:pt x="331363" y="159038"/>
                      <a:pt x="334431" y="131425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A737362E-84BA-464A-A445-2A92639CE37A}"/>
                  </a:ext>
                </a:extLst>
              </p:cNvPr>
              <p:cNvSpPr/>
              <p:nvPr/>
            </p:nvSpPr>
            <p:spPr>
              <a:xfrm>
                <a:off x="25157333" y="3624452"/>
                <a:ext cx="162880" cy="91784"/>
              </a:xfrm>
              <a:custGeom>
                <a:avLst/>
                <a:gdLst>
                  <a:gd name="connsiteX0" fmla="*/ 24812 w 162880"/>
                  <a:gd name="connsiteY0" fmla="*/ 88716 h 91784"/>
                  <a:gd name="connsiteX1" fmla="*/ 21743 w 162880"/>
                  <a:gd name="connsiteY1" fmla="*/ 88716 h 91784"/>
                  <a:gd name="connsiteX2" fmla="*/ 265 w 162880"/>
                  <a:gd name="connsiteY2" fmla="*/ 45762 h 91784"/>
                  <a:gd name="connsiteX3" fmla="*/ 15606 w 162880"/>
                  <a:gd name="connsiteY3" fmla="*/ 21216 h 91784"/>
                  <a:gd name="connsiteX4" fmla="*/ 156744 w 162880"/>
                  <a:gd name="connsiteY4" fmla="*/ 2807 h 91784"/>
                  <a:gd name="connsiteX5" fmla="*/ 162880 w 162880"/>
                  <a:gd name="connsiteY5" fmla="*/ 8943 h 91784"/>
                  <a:gd name="connsiteX6" fmla="*/ 156744 w 162880"/>
                  <a:gd name="connsiteY6" fmla="*/ 15080 h 91784"/>
                  <a:gd name="connsiteX7" fmla="*/ 24812 w 162880"/>
                  <a:gd name="connsiteY7" fmla="*/ 33489 h 91784"/>
                  <a:gd name="connsiteX8" fmla="*/ 15606 w 162880"/>
                  <a:gd name="connsiteY8" fmla="*/ 48830 h 91784"/>
                  <a:gd name="connsiteX9" fmla="*/ 34016 w 162880"/>
                  <a:gd name="connsiteY9" fmla="*/ 82580 h 91784"/>
                  <a:gd name="connsiteX10" fmla="*/ 34016 w 162880"/>
                  <a:gd name="connsiteY10" fmla="*/ 91784 h 91784"/>
                  <a:gd name="connsiteX11" fmla="*/ 24812 w 162880"/>
                  <a:gd name="connsiteY11" fmla="*/ 88716 h 91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2880" h="91784">
                    <a:moveTo>
                      <a:pt x="24812" y="88716"/>
                    </a:moveTo>
                    <a:cubicBezTo>
                      <a:pt x="24812" y="88716"/>
                      <a:pt x="21743" y="88716"/>
                      <a:pt x="21743" y="88716"/>
                    </a:cubicBezTo>
                    <a:cubicBezTo>
                      <a:pt x="21743" y="88716"/>
                      <a:pt x="-2802" y="67239"/>
                      <a:pt x="265" y="45762"/>
                    </a:cubicBezTo>
                    <a:cubicBezTo>
                      <a:pt x="265" y="36557"/>
                      <a:pt x="6402" y="27353"/>
                      <a:pt x="15606" y="21216"/>
                    </a:cubicBezTo>
                    <a:cubicBezTo>
                      <a:pt x="55494" y="-6398"/>
                      <a:pt x="153674" y="-261"/>
                      <a:pt x="156744" y="2807"/>
                    </a:cubicBezTo>
                    <a:cubicBezTo>
                      <a:pt x="159811" y="2807"/>
                      <a:pt x="162880" y="5875"/>
                      <a:pt x="162880" y="8943"/>
                    </a:cubicBezTo>
                    <a:cubicBezTo>
                      <a:pt x="162880" y="12012"/>
                      <a:pt x="159811" y="15080"/>
                      <a:pt x="156744" y="15080"/>
                    </a:cubicBezTo>
                    <a:cubicBezTo>
                      <a:pt x="156744" y="15080"/>
                      <a:pt x="58561" y="5875"/>
                      <a:pt x="24812" y="33489"/>
                    </a:cubicBezTo>
                    <a:cubicBezTo>
                      <a:pt x="18676" y="36557"/>
                      <a:pt x="15606" y="42693"/>
                      <a:pt x="15606" y="48830"/>
                    </a:cubicBezTo>
                    <a:cubicBezTo>
                      <a:pt x="15606" y="61103"/>
                      <a:pt x="27880" y="76443"/>
                      <a:pt x="34016" y="82580"/>
                    </a:cubicBezTo>
                    <a:cubicBezTo>
                      <a:pt x="37084" y="85648"/>
                      <a:pt x="37084" y="88716"/>
                      <a:pt x="34016" y="91784"/>
                    </a:cubicBezTo>
                    <a:cubicBezTo>
                      <a:pt x="27880" y="88716"/>
                      <a:pt x="24812" y="88716"/>
                      <a:pt x="24812" y="8871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0BFD413C-3438-402F-8DE6-4FCBB88AB4AC}"/>
                  </a:ext>
                </a:extLst>
              </p:cNvPr>
              <p:cNvSpPr/>
              <p:nvPr/>
            </p:nvSpPr>
            <p:spPr>
              <a:xfrm>
                <a:off x="25215894" y="3710099"/>
                <a:ext cx="54460" cy="88977"/>
              </a:xfrm>
              <a:custGeom>
                <a:avLst/>
                <a:gdLst>
                  <a:gd name="connsiteX0" fmla="*/ 52159 w 54460"/>
                  <a:gd name="connsiteY0" fmla="*/ 88977 h 88977"/>
                  <a:gd name="connsiteX1" fmla="*/ 46023 w 54460"/>
                  <a:gd name="connsiteY1" fmla="*/ 85909 h 88977"/>
                  <a:gd name="connsiteX2" fmla="*/ 0 w 54460"/>
                  <a:gd name="connsiteY2" fmla="*/ 6136 h 88977"/>
                  <a:gd name="connsiteX3" fmla="*/ 3067 w 54460"/>
                  <a:gd name="connsiteY3" fmla="*/ 0 h 88977"/>
                  <a:gd name="connsiteX4" fmla="*/ 9204 w 54460"/>
                  <a:gd name="connsiteY4" fmla="*/ 3068 h 88977"/>
                  <a:gd name="connsiteX5" fmla="*/ 52159 w 54460"/>
                  <a:gd name="connsiteY5" fmla="*/ 79773 h 88977"/>
                  <a:gd name="connsiteX6" fmla="*/ 52159 w 54460"/>
                  <a:gd name="connsiteY6" fmla="*/ 88977 h 88977"/>
                  <a:gd name="connsiteX7" fmla="*/ 52159 w 54460"/>
                  <a:gd name="connsiteY7" fmla="*/ 88977 h 88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460" h="88977">
                    <a:moveTo>
                      <a:pt x="52159" y="88977"/>
                    </a:moveTo>
                    <a:cubicBezTo>
                      <a:pt x="49090" y="88977"/>
                      <a:pt x="49090" y="88977"/>
                      <a:pt x="46023" y="85909"/>
                    </a:cubicBezTo>
                    <a:cubicBezTo>
                      <a:pt x="42955" y="82841"/>
                      <a:pt x="6137" y="27614"/>
                      <a:pt x="0" y="6136"/>
                    </a:cubicBezTo>
                    <a:cubicBezTo>
                      <a:pt x="0" y="3068"/>
                      <a:pt x="0" y="0"/>
                      <a:pt x="3067" y="0"/>
                    </a:cubicBezTo>
                    <a:cubicBezTo>
                      <a:pt x="6137" y="0"/>
                      <a:pt x="9204" y="0"/>
                      <a:pt x="9204" y="3068"/>
                    </a:cubicBezTo>
                    <a:cubicBezTo>
                      <a:pt x="12273" y="18409"/>
                      <a:pt x="42955" y="64432"/>
                      <a:pt x="52159" y="79773"/>
                    </a:cubicBezTo>
                    <a:cubicBezTo>
                      <a:pt x="55227" y="82841"/>
                      <a:pt x="52159" y="85909"/>
                      <a:pt x="52159" y="88977"/>
                    </a:cubicBezTo>
                    <a:cubicBezTo>
                      <a:pt x="55227" y="88977"/>
                      <a:pt x="55227" y="88977"/>
                      <a:pt x="52159" y="8897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787876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47E731CA-76BE-48DD-BCB7-3703931A138B}"/>
              </a:ext>
            </a:extLst>
          </p:cNvPr>
          <p:cNvGrpSpPr/>
          <p:nvPr/>
        </p:nvGrpSpPr>
        <p:grpSpPr>
          <a:xfrm>
            <a:off x="2397217" y="2002548"/>
            <a:ext cx="8009340" cy="4852765"/>
            <a:chOff x="2282917" y="7604721"/>
            <a:chExt cx="8009340" cy="4852765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F050ACE8-7062-410C-9FB4-124B06567FD7}"/>
                </a:ext>
              </a:extLst>
            </p:cNvPr>
            <p:cNvSpPr/>
            <p:nvPr/>
          </p:nvSpPr>
          <p:spPr>
            <a:xfrm>
              <a:off x="4554758" y="9693054"/>
              <a:ext cx="199431" cy="159545"/>
            </a:xfrm>
            <a:custGeom>
              <a:avLst/>
              <a:gdLst>
                <a:gd name="connsiteX0" fmla="*/ 199432 w 199431"/>
                <a:gd name="connsiteY0" fmla="*/ 88978 h 159545"/>
                <a:gd name="connsiteX1" fmla="*/ 88977 w 199431"/>
                <a:gd name="connsiteY1" fmla="*/ 0 h 159545"/>
                <a:gd name="connsiteX2" fmla="*/ 0 w 199431"/>
                <a:gd name="connsiteY2" fmla="*/ 110455 h 159545"/>
                <a:gd name="connsiteX3" fmla="*/ 95114 w 199431"/>
                <a:gd name="connsiteY3" fmla="*/ 159546 h 159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431" h="159545">
                  <a:moveTo>
                    <a:pt x="199432" y="88978"/>
                  </a:moveTo>
                  <a:lnTo>
                    <a:pt x="88977" y="0"/>
                  </a:lnTo>
                  <a:lnTo>
                    <a:pt x="0" y="110455"/>
                  </a:lnTo>
                  <a:lnTo>
                    <a:pt x="95114" y="159546"/>
                  </a:ln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D082F70E-349F-44FA-9E5D-B07FFEBC7D56}"/>
                </a:ext>
              </a:extLst>
            </p:cNvPr>
            <p:cNvGrpSpPr/>
            <p:nvPr/>
          </p:nvGrpSpPr>
          <p:grpSpPr>
            <a:xfrm>
              <a:off x="3790781" y="9861804"/>
              <a:ext cx="2687727" cy="2595682"/>
              <a:chOff x="3790781" y="9861804"/>
              <a:chExt cx="2687727" cy="2595682"/>
            </a:xfrm>
          </p:grpSpPr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DD11B93C-63AB-416C-9C27-F96DF2971B59}"/>
                  </a:ext>
                </a:extLst>
              </p:cNvPr>
              <p:cNvSpPr/>
              <p:nvPr/>
            </p:nvSpPr>
            <p:spPr>
              <a:xfrm>
                <a:off x="4478054" y="10340440"/>
                <a:ext cx="788522" cy="1012500"/>
              </a:xfrm>
              <a:custGeom>
                <a:avLst/>
                <a:gdLst>
                  <a:gd name="connsiteX0" fmla="*/ 0 w 788522"/>
                  <a:gd name="connsiteY0" fmla="*/ 147273 h 1012500"/>
                  <a:gd name="connsiteX1" fmla="*/ 110455 w 788522"/>
                  <a:gd name="connsiteY1" fmla="*/ 1006364 h 1012500"/>
                  <a:gd name="connsiteX2" fmla="*/ 788523 w 788522"/>
                  <a:gd name="connsiteY2" fmla="*/ 1012500 h 1012500"/>
                  <a:gd name="connsiteX3" fmla="*/ 757841 w 788522"/>
                  <a:gd name="connsiteY3" fmla="*/ 0 h 101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8522" h="1012500">
                    <a:moveTo>
                      <a:pt x="0" y="147273"/>
                    </a:moveTo>
                    <a:lnTo>
                      <a:pt x="110455" y="1006364"/>
                    </a:lnTo>
                    <a:lnTo>
                      <a:pt x="788523" y="1012500"/>
                    </a:lnTo>
                    <a:lnTo>
                      <a:pt x="757841" y="0"/>
                    </a:lnTo>
                    <a:close/>
                  </a:path>
                </a:pathLst>
              </a:custGeom>
              <a:solidFill>
                <a:srgbClr val="D16156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9455D3CE-8BFA-46A2-94C4-4ABDB501625D}"/>
                  </a:ext>
                </a:extLst>
              </p:cNvPr>
              <p:cNvSpPr/>
              <p:nvPr/>
            </p:nvSpPr>
            <p:spPr>
              <a:xfrm>
                <a:off x="5235895" y="10257600"/>
                <a:ext cx="242386" cy="1095340"/>
              </a:xfrm>
              <a:custGeom>
                <a:avLst/>
                <a:gdLst>
                  <a:gd name="connsiteX0" fmla="*/ 0 w 242386"/>
                  <a:gd name="connsiteY0" fmla="*/ 82840 h 1095340"/>
                  <a:gd name="connsiteX1" fmla="*/ 150341 w 242386"/>
                  <a:gd name="connsiteY1" fmla="*/ 0 h 1095340"/>
                  <a:gd name="connsiteX2" fmla="*/ 242386 w 242386"/>
                  <a:gd name="connsiteY2" fmla="*/ 1086136 h 1095340"/>
                  <a:gd name="connsiteX3" fmla="*/ 30682 w 242386"/>
                  <a:gd name="connsiteY3" fmla="*/ 1095340 h 1095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2386" h="1095340">
                    <a:moveTo>
                      <a:pt x="0" y="82840"/>
                    </a:moveTo>
                    <a:lnTo>
                      <a:pt x="150341" y="0"/>
                    </a:lnTo>
                    <a:lnTo>
                      <a:pt x="242386" y="1086136"/>
                    </a:lnTo>
                    <a:lnTo>
                      <a:pt x="30682" y="1095340"/>
                    </a:lnTo>
                    <a:close/>
                  </a:path>
                </a:pathLst>
              </a:custGeom>
              <a:solidFill>
                <a:srgbClr val="C6554F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0F7708CB-87E6-4166-AA0F-ACA2DFF99333}"/>
                  </a:ext>
                </a:extLst>
              </p:cNvPr>
              <p:cNvSpPr/>
              <p:nvPr/>
            </p:nvSpPr>
            <p:spPr>
              <a:xfrm>
                <a:off x="4478054" y="10257600"/>
                <a:ext cx="908181" cy="230113"/>
              </a:xfrm>
              <a:custGeom>
                <a:avLst/>
                <a:gdLst>
                  <a:gd name="connsiteX0" fmla="*/ 0 w 908181"/>
                  <a:gd name="connsiteY0" fmla="*/ 230114 h 230113"/>
                  <a:gd name="connsiteX1" fmla="*/ 153409 w 908181"/>
                  <a:gd name="connsiteY1" fmla="*/ 122727 h 230113"/>
                  <a:gd name="connsiteX2" fmla="*/ 908182 w 908181"/>
                  <a:gd name="connsiteY2" fmla="*/ 0 h 230113"/>
                  <a:gd name="connsiteX3" fmla="*/ 757841 w 908181"/>
                  <a:gd name="connsiteY3" fmla="*/ 82840 h 230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181" h="230113">
                    <a:moveTo>
                      <a:pt x="0" y="230114"/>
                    </a:moveTo>
                    <a:lnTo>
                      <a:pt x="153409" y="122727"/>
                    </a:lnTo>
                    <a:lnTo>
                      <a:pt x="908182" y="0"/>
                    </a:lnTo>
                    <a:lnTo>
                      <a:pt x="757841" y="82840"/>
                    </a:lnTo>
                    <a:close/>
                  </a:path>
                </a:pathLst>
              </a:custGeom>
              <a:solidFill>
                <a:srgbClr val="C6554F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EC0BD232-B4F2-4070-BF34-146CC2F2A68A}"/>
                  </a:ext>
                </a:extLst>
              </p:cNvPr>
              <p:cNvSpPr/>
              <p:nvPr/>
            </p:nvSpPr>
            <p:spPr>
              <a:xfrm>
                <a:off x="5199076" y="10251463"/>
                <a:ext cx="751704" cy="1101477"/>
              </a:xfrm>
              <a:custGeom>
                <a:avLst/>
                <a:gdLst>
                  <a:gd name="connsiteX0" fmla="*/ 0 w 751704"/>
                  <a:gd name="connsiteY0" fmla="*/ 30682 h 1101477"/>
                  <a:gd name="connsiteX1" fmla="*/ 119659 w 751704"/>
                  <a:gd name="connsiteY1" fmla="*/ 1101477 h 1101477"/>
                  <a:gd name="connsiteX2" fmla="*/ 751705 w 751704"/>
                  <a:gd name="connsiteY2" fmla="*/ 1095341 h 1101477"/>
                  <a:gd name="connsiteX3" fmla="*/ 745568 w 751704"/>
                  <a:gd name="connsiteY3" fmla="*/ 0 h 1101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1704" h="1101477">
                    <a:moveTo>
                      <a:pt x="0" y="30682"/>
                    </a:moveTo>
                    <a:lnTo>
                      <a:pt x="119659" y="1101477"/>
                    </a:lnTo>
                    <a:lnTo>
                      <a:pt x="751705" y="1095341"/>
                    </a:lnTo>
                    <a:lnTo>
                      <a:pt x="745568" y="0"/>
                    </a:lnTo>
                    <a:close/>
                  </a:path>
                </a:pathLst>
              </a:custGeom>
              <a:solidFill>
                <a:srgbClr val="F1DDB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873671A1-4AFE-406B-8194-27A87C66B9E6}"/>
                  </a:ext>
                </a:extLst>
              </p:cNvPr>
              <p:cNvSpPr/>
              <p:nvPr/>
            </p:nvSpPr>
            <p:spPr>
              <a:xfrm>
                <a:off x="5944645" y="10162486"/>
                <a:ext cx="214772" cy="1190454"/>
              </a:xfrm>
              <a:custGeom>
                <a:avLst/>
                <a:gdLst>
                  <a:gd name="connsiteX0" fmla="*/ 0 w 214772"/>
                  <a:gd name="connsiteY0" fmla="*/ 88977 h 1190454"/>
                  <a:gd name="connsiteX1" fmla="*/ 174886 w 214772"/>
                  <a:gd name="connsiteY1" fmla="*/ 0 h 1190454"/>
                  <a:gd name="connsiteX2" fmla="*/ 214773 w 214772"/>
                  <a:gd name="connsiteY2" fmla="*/ 1190454 h 1190454"/>
                  <a:gd name="connsiteX3" fmla="*/ 6136 w 214772"/>
                  <a:gd name="connsiteY3" fmla="*/ 1184318 h 1190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4772" h="1190454">
                    <a:moveTo>
                      <a:pt x="0" y="88977"/>
                    </a:moveTo>
                    <a:lnTo>
                      <a:pt x="174886" y="0"/>
                    </a:lnTo>
                    <a:lnTo>
                      <a:pt x="214773" y="1190454"/>
                    </a:lnTo>
                    <a:lnTo>
                      <a:pt x="6136" y="1184318"/>
                    </a:lnTo>
                    <a:close/>
                  </a:path>
                </a:pathLst>
              </a:custGeom>
              <a:solidFill>
                <a:srgbClr val="E8D2AF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6D981A60-3837-416F-B8A4-36EDE9EF01A3}"/>
                  </a:ext>
                </a:extLst>
              </p:cNvPr>
              <p:cNvSpPr/>
              <p:nvPr/>
            </p:nvSpPr>
            <p:spPr>
              <a:xfrm>
                <a:off x="5199076" y="10162486"/>
                <a:ext cx="920454" cy="119658"/>
              </a:xfrm>
              <a:custGeom>
                <a:avLst/>
                <a:gdLst>
                  <a:gd name="connsiteX0" fmla="*/ 0 w 920454"/>
                  <a:gd name="connsiteY0" fmla="*/ 119659 h 119658"/>
                  <a:gd name="connsiteX1" fmla="*/ 181023 w 920454"/>
                  <a:gd name="connsiteY1" fmla="*/ 0 h 119658"/>
                  <a:gd name="connsiteX2" fmla="*/ 920455 w 920454"/>
                  <a:gd name="connsiteY2" fmla="*/ 0 h 119658"/>
                  <a:gd name="connsiteX3" fmla="*/ 745568 w 920454"/>
                  <a:gd name="connsiteY3" fmla="*/ 88977 h 119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0454" h="119658">
                    <a:moveTo>
                      <a:pt x="0" y="119659"/>
                    </a:moveTo>
                    <a:lnTo>
                      <a:pt x="181023" y="0"/>
                    </a:lnTo>
                    <a:lnTo>
                      <a:pt x="920455" y="0"/>
                    </a:lnTo>
                    <a:lnTo>
                      <a:pt x="745568" y="88977"/>
                    </a:lnTo>
                    <a:close/>
                  </a:path>
                </a:pathLst>
              </a:custGeom>
              <a:solidFill>
                <a:srgbClr val="E8D2AF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38" name="图形 1">
                <a:extLst>
                  <a:ext uri="{FF2B5EF4-FFF2-40B4-BE49-F238E27FC236}">
                    <a16:creationId xmlns:a16="http://schemas.microsoft.com/office/drawing/2014/main" id="{B8CCF32E-8488-4D28-9D7F-86E11AF4DFE7}"/>
                  </a:ext>
                </a:extLst>
              </p:cNvPr>
              <p:cNvGrpSpPr/>
              <p:nvPr/>
            </p:nvGrpSpPr>
            <p:grpSpPr>
              <a:xfrm>
                <a:off x="3790781" y="9861804"/>
                <a:ext cx="2687727" cy="2595682"/>
                <a:chOff x="3790781" y="9861804"/>
                <a:chExt cx="2687727" cy="2595682"/>
              </a:xfrm>
            </p:grpSpPr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63750425-33D7-496C-8DA6-79032330DE72}"/>
                    </a:ext>
                  </a:extLst>
                </p:cNvPr>
                <p:cNvSpPr/>
                <p:nvPr/>
              </p:nvSpPr>
              <p:spPr>
                <a:xfrm>
                  <a:off x="3885895" y="9861804"/>
                  <a:ext cx="1197356" cy="504389"/>
                </a:xfrm>
                <a:custGeom>
                  <a:avLst/>
                  <a:gdLst>
                    <a:gd name="connsiteX0" fmla="*/ 1122955 w 1197356"/>
                    <a:gd name="connsiteY0" fmla="*/ 497046 h 504389"/>
                    <a:gd name="connsiteX1" fmla="*/ 1083068 w 1197356"/>
                    <a:gd name="connsiteY1" fmla="*/ 457160 h 504389"/>
                    <a:gd name="connsiteX2" fmla="*/ 994091 w 1197356"/>
                    <a:gd name="connsiteY2" fmla="*/ 92045 h 504389"/>
                    <a:gd name="connsiteX3" fmla="*/ 46023 w 1197356"/>
                    <a:gd name="connsiteY3" fmla="*/ 92045 h 504389"/>
                    <a:gd name="connsiteX4" fmla="*/ 0 w 1197356"/>
                    <a:gd name="connsiteY4" fmla="*/ 46023 h 504389"/>
                    <a:gd name="connsiteX5" fmla="*/ 46023 w 1197356"/>
                    <a:gd name="connsiteY5" fmla="*/ 0 h 504389"/>
                    <a:gd name="connsiteX6" fmla="*/ 1058523 w 1197356"/>
                    <a:gd name="connsiteY6" fmla="*/ 0 h 504389"/>
                    <a:gd name="connsiteX7" fmla="*/ 1196591 w 1197356"/>
                    <a:gd name="connsiteY7" fmla="*/ 493977 h 504389"/>
                    <a:gd name="connsiteX8" fmla="*/ 1122955 w 1197356"/>
                    <a:gd name="connsiteY8" fmla="*/ 497046 h 5043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97356" h="504389">
                      <a:moveTo>
                        <a:pt x="1122955" y="497046"/>
                      </a:moveTo>
                      <a:cubicBezTo>
                        <a:pt x="1104546" y="497046"/>
                        <a:pt x="1089205" y="475568"/>
                        <a:pt x="1083068" y="457160"/>
                      </a:cubicBezTo>
                      <a:lnTo>
                        <a:pt x="994091" y="92045"/>
                      </a:lnTo>
                      <a:lnTo>
                        <a:pt x="46023" y="92045"/>
                      </a:lnTo>
                      <a:cubicBezTo>
                        <a:pt x="21477" y="92045"/>
                        <a:pt x="0" y="70569"/>
                        <a:pt x="0" y="46023"/>
                      </a:cubicBezTo>
                      <a:cubicBezTo>
                        <a:pt x="0" y="21478"/>
                        <a:pt x="21477" y="0"/>
                        <a:pt x="46023" y="0"/>
                      </a:cubicBezTo>
                      <a:lnTo>
                        <a:pt x="1058523" y="0"/>
                      </a:lnTo>
                      <a:lnTo>
                        <a:pt x="1196591" y="493977"/>
                      </a:lnTo>
                      <a:cubicBezTo>
                        <a:pt x="1205795" y="515455"/>
                        <a:pt x="1129091" y="497046"/>
                        <a:pt x="1122955" y="497046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0" name="任意多边形: 形状 139">
                  <a:extLst>
                    <a:ext uri="{FF2B5EF4-FFF2-40B4-BE49-F238E27FC236}">
                      <a16:creationId xmlns:a16="http://schemas.microsoft.com/office/drawing/2014/main" id="{CAE267D4-A543-4FBE-8BB6-883C3C2731C5}"/>
                    </a:ext>
                  </a:extLst>
                </p:cNvPr>
                <p:cNvSpPr/>
                <p:nvPr/>
              </p:nvSpPr>
              <p:spPr>
                <a:xfrm>
                  <a:off x="6239190" y="12218168"/>
                  <a:ext cx="239318" cy="239317"/>
                </a:xfrm>
                <a:custGeom>
                  <a:avLst/>
                  <a:gdLst>
                    <a:gd name="connsiteX0" fmla="*/ 239318 w 239318"/>
                    <a:gd name="connsiteY0" fmla="*/ 119659 h 239317"/>
                    <a:gd name="connsiteX1" fmla="*/ 119659 w 239318"/>
                    <a:gd name="connsiteY1" fmla="*/ 0 h 239317"/>
                    <a:gd name="connsiteX2" fmla="*/ 0 w 239318"/>
                    <a:gd name="connsiteY2" fmla="*/ 119659 h 239317"/>
                    <a:gd name="connsiteX3" fmla="*/ 119659 w 239318"/>
                    <a:gd name="connsiteY3" fmla="*/ 239318 h 239317"/>
                    <a:gd name="connsiteX4" fmla="*/ 239318 w 239318"/>
                    <a:gd name="connsiteY4" fmla="*/ 119659 h 239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318" h="239317">
                      <a:moveTo>
                        <a:pt x="239318" y="119659"/>
                      </a:moveTo>
                      <a:cubicBezTo>
                        <a:pt x="239318" y="55227"/>
                        <a:pt x="187159" y="0"/>
                        <a:pt x="119659" y="0"/>
                      </a:cubicBezTo>
                      <a:cubicBezTo>
                        <a:pt x="55227" y="0"/>
                        <a:pt x="0" y="52159"/>
                        <a:pt x="0" y="119659"/>
                      </a:cubicBezTo>
                      <a:cubicBezTo>
                        <a:pt x="0" y="184091"/>
                        <a:pt x="52159" y="239318"/>
                        <a:pt x="119659" y="239318"/>
                      </a:cubicBezTo>
                      <a:cubicBezTo>
                        <a:pt x="187159" y="236249"/>
                        <a:pt x="239318" y="184091"/>
                        <a:pt x="239318" y="119659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1" name="任意多边形: 形状 140">
                  <a:extLst>
                    <a:ext uri="{FF2B5EF4-FFF2-40B4-BE49-F238E27FC236}">
                      <a16:creationId xmlns:a16="http://schemas.microsoft.com/office/drawing/2014/main" id="{6C5E357D-D6A0-48BE-98BD-4BD72C143C6C}"/>
                    </a:ext>
                  </a:extLst>
                </p:cNvPr>
                <p:cNvSpPr/>
                <p:nvPr/>
              </p:nvSpPr>
              <p:spPr>
                <a:xfrm>
                  <a:off x="5282786" y="11352940"/>
                  <a:ext cx="1106744" cy="1037046"/>
                </a:xfrm>
                <a:custGeom>
                  <a:avLst/>
                  <a:gdLst>
                    <a:gd name="connsiteX0" fmla="*/ 928790 w 1106744"/>
                    <a:gd name="connsiteY0" fmla="*/ 328296 h 1037046"/>
                    <a:gd name="connsiteX1" fmla="*/ 134131 w 1106744"/>
                    <a:gd name="connsiteY1" fmla="*/ 0 h 1037046"/>
                    <a:gd name="connsiteX2" fmla="*/ 35949 w 1106744"/>
                    <a:gd name="connsiteY2" fmla="*/ 0 h 1037046"/>
                    <a:gd name="connsiteX3" fmla="*/ 2199 w 1106744"/>
                    <a:gd name="connsiteY3" fmla="*/ 12273 h 1037046"/>
                    <a:gd name="connsiteX4" fmla="*/ 907313 w 1106744"/>
                    <a:gd name="connsiteY4" fmla="*/ 386591 h 1037046"/>
                    <a:gd name="connsiteX5" fmla="*/ 1045381 w 1106744"/>
                    <a:gd name="connsiteY5" fmla="*/ 595227 h 1037046"/>
                    <a:gd name="connsiteX6" fmla="*/ 1045381 w 1106744"/>
                    <a:gd name="connsiteY6" fmla="*/ 1006364 h 1037046"/>
                    <a:gd name="connsiteX7" fmla="*/ 1076063 w 1106744"/>
                    <a:gd name="connsiteY7" fmla="*/ 1037046 h 1037046"/>
                    <a:gd name="connsiteX8" fmla="*/ 1106745 w 1106744"/>
                    <a:gd name="connsiteY8" fmla="*/ 1006364 h 1037046"/>
                    <a:gd name="connsiteX9" fmla="*/ 1106745 w 1106744"/>
                    <a:gd name="connsiteY9" fmla="*/ 595227 h 1037046"/>
                    <a:gd name="connsiteX10" fmla="*/ 928790 w 1106744"/>
                    <a:gd name="connsiteY10" fmla="*/ 328296 h 10370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106744" h="1037046">
                      <a:moveTo>
                        <a:pt x="928790" y="328296"/>
                      </a:moveTo>
                      <a:lnTo>
                        <a:pt x="134131" y="0"/>
                      </a:lnTo>
                      <a:lnTo>
                        <a:pt x="35949" y="0"/>
                      </a:lnTo>
                      <a:cubicBezTo>
                        <a:pt x="32881" y="12273"/>
                        <a:pt x="-10073" y="6137"/>
                        <a:pt x="2199" y="12273"/>
                      </a:cubicBezTo>
                      <a:lnTo>
                        <a:pt x="907313" y="386591"/>
                      </a:lnTo>
                      <a:cubicBezTo>
                        <a:pt x="990154" y="420341"/>
                        <a:pt x="1045381" y="503182"/>
                        <a:pt x="1045381" y="595227"/>
                      </a:cubicBezTo>
                      <a:lnTo>
                        <a:pt x="1045381" y="1006364"/>
                      </a:lnTo>
                      <a:cubicBezTo>
                        <a:pt x="1045381" y="1024773"/>
                        <a:pt x="1057654" y="1037046"/>
                        <a:pt x="1076063" y="1037046"/>
                      </a:cubicBezTo>
                      <a:cubicBezTo>
                        <a:pt x="1094472" y="1037046"/>
                        <a:pt x="1106745" y="1024773"/>
                        <a:pt x="1106745" y="1006364"/>
                      </a:cubicBezTo>
                      <a:lnTo>
                        <a:pt x="1106745" y="595227"/>
                      </a:lnTo>
                      <a:cubicBezTo>
                        <a:pt x="1106745" y="475568"/>
                        <a:pt x="1036177" y="374319"/>
                        <a:pt x="928790" y="328296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2" name="任意多边形: 形状 141">
                  <a:extLst>
                    <a:ext uri="{FF2B5EF4-FFF2-40B4-BE49-F238E27FC236}">
                      <a16:creationId xmlns:a16="http://schemas.microsoft.com/office/drawing/2014/main" id="{778D9E4D-3E44-4535-9C95-C029BBBD0CFB}"/>
                    </a:ext>
                  </a:extLst>
                </p:cNvPr>
                <p:cNvSpPr/>
                <p:nvPr/>
              </p:nvSpPr>
              <p:spPr>
                <a:xfrm>
                  <a:off x="4665213" y="12218168"/>
                  <a:ext cx="239318" cy="239317"/>
                </a:xfrm>
                <a:custGeom>
                  <a:avLst/>
                  <a:gdLst>
                    <a:gd name="connsiteX0" fmla="*/ 239318 w 239318"/>
                    <a:gd name="connsiteY0" fmla="*/ 119659 h 239317"/>
                    <a:gd name="connsiteX1" fmla="*/ 119659 w 239318"/>
                    <a:gd name="connsiteY1" fmla="*/ 0 h 239317"/>
                    <a:gd name="connsiteX2" fmla="*/ 0 w 239318"/>
                    <a:gd name="connsiteY2" fmla="*/ 119659 h 239317"/>
                    <a:gd name="connsiteX3" fmla="*/ 119659 w 239318"/>
                    <a:gd name="connsiteY3" fmla="*/ 239318 h 239317"/>
                    <a:gd name="connsiteX4" fmla="*/ 239318 w 239318"/>
                    <a:gd name="connsiteY4" fmla="*/ 119659 h 239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318" h="239317">
                      <a:moveTo>
                        <a:pt x="239318" y="119659"/>
                      </a:moveTo>
                      <a:cubicBezTo>
                        <a:pt x="239318" y="55227"/>
                        <a:pt x="187159" y="0"/>
                        <a:pt x="119659" y="0"/>
                      </a:cubicBezTo>
                      <a:cubicBezTo>
                        <a:pt x="55227" y="0"/>
                        <a:pt x="0" y="52159"/>
                        <a:pt x="0" y="119659"/>
                      </a:cubicBezTo>
                      <a:cubicBezTo>
                        <a:pt x="0" y="184091"/>
                        <a:pt x="52159" y="239318"/>
                        <a:pt x="119659" y="239318"/>
                      </a:cubicBezTo>
                      <a:cubicBezTo>
                        <a:pt x="187159" y="236249"/>
                        <a:pt x="239318" y="184091"/>
                        <a:pt x="239318" y="119659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3" name="任意多边形: 形状 142">
                  <a:extLst>
                    <a:ext uri="{FF2B5EF4-FFF2-40B4-BE49-F238E27FC236}">
                      <a16:creationId xmlns:a16="http://schemas.microsoft.com/office/drawing/2014/main" id="{BD4A3624-F3F2-4A9A-B0CD-3CEABD09F72D}"/>
                    </a:ext>
                  </a:extLst>
                </p:cNvPr>
                <p:cNvSpPr/>
                <p:nvPr/>
              </p:nvSpPr>
              <p:spPr>
                <a:xfrm>
                  <a:off x="4741917" y="11349872"/>
                  <a:ext cx="512386" cy="1018636"/>
                </a:xfrm>
                <a:custGeom>
                  <a:avLst/>
                  <a:gdLst>
                    <a:gd name="connsiteX0" fmla="*/ 444886 w 512386"/>
                    <a:gd name="connsiteY0" fmla="*/ 3068 h 1018636"/>
                    <a:gd name="connsiteX1" fmla="*/ 79773 w 512386"/>
                    <a:gd name="connsiteY1" fmla="*/ 383523 h 1018636"/>
                    <a:gd name="connsiteX2" fmla="*/ 0 w 512386"/>
                    <a:gd name="connsiteY2" fmla="*/ 579887 h 1018636"/>
                    <a:gd name="connsiteX3" fmla="*/ 0 w 512386"/>
                    <a:gd name="connsiteY3" fmla="*/ 987955 h 1018636"/>
                    <a:gd name="connsiteX4" fmla="*/ 30682 w 512386"/>
                    <a:gd name="connsiteY4" fmla="*/ 1018637 h 1018636"/>
                    <a:gd name="connsiteX5" fmla="*/ 61364 w 512386"/>
                    <a:gd name="connsiteY5" fmla="*/ 987955 h 1018636"/>
                    <a:gd name="connsiteX6" fmla="*/ 61364 w 512386"/>
                    <a:gd name="connsiteY6" fmla="*/ 579887 h 1018636"/>
                    <a:gd name="connsiteX7" fmla="*/ 122727 w 512386"/>
                    <a:gd name="connsiteY7" fmla="*/ 423410 h 1018636"/>
                    <a:gd name="connsiteX8" fmla="*/ 503182 w 512386"/>
                    <a:gd name="connsiteY8" fmla="*/ 24546 h 1018636"/>
                    <a:gd name="connsiteX9" fmla="*/ 512387 w 512386"/>
                    <a:gd name="connsiteY9" fmla="*/ 0 h 1018636"/>
                    <a:gd name="connsiteX10" fmla="*/ 444886 w 512386"/>
                    <a:gd name="connsiteY10" fmla="*/ 0 h 101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12386" h="1018636">
                      <a:moveTo>
                        <a:pt x="444886" y="3068"/>
                      </a:moveTo>
                      <a:lnTo>
                        <a:pt x="79773" y="383523"/>
                      </a:lnTo>
                      <a:cubicBezTo>
                        <a:pt x="27614" y="435682"/>
                        <a:pt x="0" y="506250"/>
                        <a:pt x="0" y="579887"/>
                      </a:cubicBezTo>
                      <a:lnTo>
                        <a:pt x="0" y="987955"/>
                      </a:lnTo>
                      <a:cubicBezTo>
                        <a:pt x="0" y="1006364"/>
                        <a:pt x="12273" y="1018637"/>
                        <a:pt x="30682" y="1018637"/>
                      </a:cubicBezTo>
                      <a:cubicBezTo>
                        <a:pt x="49091" y="1018637"/>
                        <a:pt x="61364" y="1006364"/>
                        <a:pt x="61364" y="987955"/>
                      </a:cubicBezTo>
                      <a:lnTo>
                        <a:pt x="61364" y="579887"/>
                      </a:lnTo>
                      <a:cubicBezTo>
                        <a:pt x="61364" y="521591"/>
                        <a:pt x="82841" y="466364"/>
                        <a:pt x="122727" y="423410"/>
                      </a:cubicBezTo>
                      <a:lnTo>
                        <a:pt x="503182" y="24546"/>
                      </a:lnTo>
                      <a:cubicBezTo>
                        <a:pt x="509318" y="18409"/>
                        <a:pt x="512387" y="9205"/>
                        <a:pt x="512387" y="0"/>
                      </a:cubicBezTo>
                      <a:lnTo>
                        <a:pt x="444886" y="0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4" name="任意多边形: 形状 143">
                  <a:extLst>
                    <a:ext uri="{FF2B5EF4-FFF2-40B4-BE49-F238E27FC236}">
                      <a16:creationId xmlns:a16="http://schemas.microsoft.com/office/drawing/2014/main" id="{382CAF7D-E9B3-40ED-85BD-E691EBB9B657}"/>
                    </a:ext>
                  </a:extLst>
                </p:cNvPr>
                <p:cNvSpPr/>
                <p:nvPr/>
              </p:nvSpPr>
              <p:spPr>
                <a:xfrm>
                  <a:off x="4287826" y="11349872"/>
                  <a:ext cx="512386" cy="945000"/>
                </a:xfrm>
                <a:custGeom>
                  <a:avLst/>
                  <a:gdLst>
                    <a:gd name="connsiteX0" fmla="*/ 444886 w 512386"/>
                    <a:gd name="connsiteY0" fmla="*/ 3068 h 945000"/>
                    <a:gd name="connsiteX1" fmla="*/ 79773 w 512386"/>
                    <a:gd name="connsiteY1" fmla="*/ 383523 h 945000"/>
                    <a:gd name="connsiteX2" fmla="*/ 0 w 512386"/>
                    <a:gd name="connsiteY2" fmla="*/ 579887 h 945000"/>
                    <a:gd name="connsiteX3" fmla="*/ 0 w 512386"/>
                    <a:gd name="connsiteY3" fmla="*/ 914319 h 945000"/>
                    <a:gd name="connsiteX4" fmla="*/ 30682 w 512386"/>
                    <a:gd name="connsiteY4" fmla="*/ 945001 h 945000"/>
                    <a:gd name="connsiteX5" fmla="*/ 61364 w 512386"/>
                    <a:gd name="connsiteY5" fmla="*/ 914319 h 945000"/>
                    <a:gd name="connsiteX6" fmla="*/ 61364 w 512386"/>
                    <a:gd name="connsiteY6" fmla="*/ 579887 h 945000"/>
                    <a:gd name="connsiteX7" fmla="*/ 122727 w 512386"/>
                    <a:gd name="connsiteY7" fmla="*/ 423410 h 945000"/>
                    <a:gd name="connsiteX8" fmla="*/ 503182 w 512386"/>
                    <a:gd name="connsiteY8" fmla="*/ 24546 h 945000"/>
                    <a:gd name="connsiteX9" fmla="*/ 512386 w 512386"/>
                    <a:gd name="connsiteY9" fmla="*/ 0 h 945000"/>
                    <a:gd name="connsiteX10" fmla="*/ 444886 w 512386"/>
                    <a:gd name="connsiteY10" fmla="*/ 0 h 945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12386" h="945000">
                      <a:moveTo>
                        <a:pt x="444886" y="3068"/>
                      </a:moveTo>
                      <a:lnTo>
                        <a:pt x="79773" y="383523"/>
                      </a:lnTo>
                      <a:cubicBezTo>
                        <a:pt x="27614" y="435682"/>
                        <a:pt x="0" y="506250"/>
                        <a:pt x="0" y="579887"/>
                      </a:cubicBezTo>
                      <a:lnTo>
                        <a:pt x="0" y="914319"/>
                      </a:lnTo>
                      <a:cubicBezTo>
                        <a:pt x="0" y="932728"/>
                        <a:pt x="12273" y="945001"/>
                        <a:pt x="30682" y="945001"/>
                      </a:cubicBezTo>
                      <a:cubicBezTo>
                        <a:pt x="49091" y="945001"/>
                        <a:pt x="61364" y="932728"/>
                        <a:pt x="61364" y="914319"/>
                      </a:cubicBezTo>
                      <a:lnTo>
                        <a:pt x="61364" y="579887"/>
                      </a:lnTo>
                      <a:cubicBezTo>
                        <a:pt x="61364" y="521591"/>
                        <a:pt x="82841" y="466364"/>
                        <a:pt x="122727" y="423410"/>
                      </a:cubicBezTo>
                      <a:lnTo>
                        <a:pt x="503182" y="24546"/>
                      </a:lnTo>
                      <a:cubicBezTo>
                        <a:pt x="509318" y="18409"/>
                        <a:pt x="512386" y="9205"/>
                        <a:pt x="512386" y="0"/>
                      </a:cubicBezTo>
                      <a:lnTo>
                        <a:pt x="444886" y="0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5" name="任意多边形: 形状 144">
                  <a:extLst>
                    <a:ext uri="{FF2B5EF4-FFF2-40B4-BE49-F238E27FC236}">
                      <a16:creationId xmlns:a16="http://schemas.microsoft.com/office/drawing/2014/main" id="{62418CB0-8514-4C76-93AD-E1C309029B01}"/>
                    </a:ext>
                  </a:extLst>
                </p:cNvPr>
                <p:cNvSpPr/>
                <p:nvPr/>
              </p:nvSpPr>
              <p:spPr>
                <a:xfrm>
                  <a:off x="4816422" y="11352940"/>
                  <a:ext cx="1106744" cy="954204"/>
                </a:xfrm>
                <a:custGeom>
                  <a:avLst/>
                  <a:gdLst>
                    <a:gd name="connsiteX0" fmla="*/ 928790 w 1106744"/>
                    <a:gd name="connsiteY0" fmla="*/ 328296 h 954204"/>
                    <a:gd name="connsiteX1" fmla="*/ 137199 w 1106744"/>
                    <a:gd name="connsiteY1" fmla="*/ 0 h 954204"/>
                    <a:gd name="connsiteX2" fmla="*/ 35949 w 1106744"/>
                    <a:gd name="connsiteY2" fmla="*/ 0 h 954204"/>
                    <a:gd name="connsiteX3" fmla="*/ 2199 w 1106744"/>
                    <a:gd name="connsiteY3" fmla="*/ 12273 h 954204"/>
                    <a:gd name="connsiteX4" fmla="*/ 907313 w 1106744"/>
                    <a:gd name="connsiteY4" fmla="*/ 386591 h 954204"/>
                    <a:gd name="connsiteX5" fmla="*/ 1045381 w 1106744"/>
                    <a:gd name="connsiteY5" fmla="*/ 595227 h 954204"/>
                    <a:gd name="connsiteX6" fmla="*/ 1045381 w 1106744"/>
                    <a:gd name="connsiteY6" fmla="*/ 923523 h 954204"/>
                    <a:gd name="connsiteX7" fmla="*/ 1076063 w 1106744"/>
                    <a:gd name="connsiteY7" fmla="*/ 954205 h 954204"/>
                    <a:gd name="connsiteX8" fmla="*/ 1106745 w 1106744"/>
                    <a:gd name="connsiteY8" fmla="*/ 923523 h 954204"/>
                    <a:gd name="connsiteX9" fmla="*/ 1106745 w 1106744"/>
                    <a:gd name="connsiteY9" fmla="*/ 592160 h 954204"/>
                    <a:gd name="connsiteX10" fmla="*/ 928790 w 1106744"/>
                    <a:gd name="connsiteY10" fmla="*/ 328296 h 9542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106744" h="954204">
                      <a:moveTo>
                        <a:pt x="928790" y="328296"/>
                      </a:moveTo>
                      <a:lnTo>
                        <a:pt x="137199" y="0"/>
                      </a:lnTo>
                      <a:lnTo>
                        <a:pt x="35949" y="0"/>
                      </a:lnTo>
                      <a:cubicBezTo>
                        <a:pt x="32881" y="12273"/>
                        <a:pt x="-10073" y="6137"/>
                        <a:pt x="2199" y="12273"/>
                      </a:cubicBezTo>
                      <a:lnTo>
                        <a:pt x="907313" y="386591"/>
                      </a:lnTo>
                      <a:cubicBezTo>
                        <a:pt x="990154" y="420341"/>
                        <a:pt x="1045381" y="503182"/>
                        <a:pt x="1045381" y="595227"/>
                      </a:cubicBezTo>
                      <a:lnTo>
                        <a:pt x="1045381" y="923523"/>
                      </a:lnTo>
                      <a:cubicBezTo>
                        <a:pt x="1045381" y="941932"/>
                        <a:pt x="1057654" y="954205"/>
                        <a:pt x="1076063" y="954205"/>
                      </a:cubicBezTo>
                      <a:cubicBezTo>
                        <a:pt x="1094472" y="954205"/>
                        <a:pt x="1106745" y="941932"/>
                        <a:pt x="1106745" y="923523"/>
                      </a:cubicBezTo>
                      <a:lnTo>
                        <a:pt x="1106745" y="592160"/>
                      </a:lnTo>
                      <a:cubicBezTo>
                        <a:pt x="1106745" y="475568"/>
                        <a:pt x="1036177" y="374319"/>
                        <a:pt x="928790" y="328296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6" name="任意多边形: 形状 145">
                  <a:extLst>
                    <a:ext uri="{FF2B5EF4-FFF2-40B4-BE49-F238E27FC236}">
                      <a16:creationId xmlns:a16="http://schemas.microsoft.com/office/drawing/2014/main" id="{E136A0B1-C91B-4BE2-ACFC-2F459BCE2954}"/>
                    </a:ext>
                  </a:extLst>
                </p:cNvPr>
                <p:cNvSpPr/>
                <p:nvPr/>
              </p:nvSpPr>
              <p:spPr>
                <a:xfrm>
                  <a:off x="4198849" y="12218168"/>
                  <a:ext cx="239318" cy="239317"/>
                </a:xfrm>
                <a:custGeom>
                  <a:avLst/>
                  <a:gdLst>
                    <a:gd name="connsiteX0" fmla="*/ 239318 w 239318"/>
                    <a:gd name="connsiteY0" fmla="*/ 119659 h 239317"/>
                    <a:gd name="connsiteX1" fmla="*/ 119659 w 239318"/>
                    <a:gd name="connsiteY1" fmla="*/ 0 h 239317"/>
                    <a:gd name="connsiteX2" fmla="*/ 0 w 239318"/>
                    <a:gd name="connsiteY2" fmla="*/ 119659 h 239317"/>
                    <a:gd name="connsiteX3" fmla="*/ 119659 w 239318"/>
                    <a:gd name="connsiteY3" fmla="*/ 239318 h 239317"/>
                    <a:gd name="connsiteX4" fmla="*/ 239318 w 239318"/>
                    <a:gd name="connsiteY4" fmla="*/ 119659 h 239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318" h="239317">
                      <a:moveTo>
                        <a:pt x="239318" y="119659"/>
                      </a:moveTo>
                      <a:cubicBezTo>
                        <a:pt x="239318" y="55227"/>
                        <a:pt x="187159" y="0"/>
                        <a:pt x="119659" y="0"/>
                      </a:cubicBezTo>
                      <a:cubicBezTo>
                        <a:pt x="55227" y="0"/>
                        <a:pt x="0" y="52159"/>
                        <a:pt x="0" y="119659"/>
                      </a:cubicBezTo>
                      <a:cubicBezTo>
                        <a:pt x="0" y="184091"/>
                        <a:pt x="52159" y="239318"/>
                        <a:pt x="119659" y="239318"/>
                      </a:cubicBezTo>
                      <a:cubicBezTo>
                        <a:pt x="187159" y="236249"/>
                        <a:pt x="239318" y="184091"/>
                        <a:pt x="239318" y="119659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7" name="任意多边形: 形状 146">
                  <a:extLst>
                    <a:ext uri="{FF2B5EF4-FFF2-40B4-BE49-F238E27FC236}">
                      <a16:creationId xmlns:a16="http://schemas.microsoft.com/office/drawing/2014/main" id="{5AFF85D2-DEBE-4845-8A49-DDE1550AB738}"/>
                    </a:ext>
                  </a:extLst>
                </p:cNvPr>
                <p:cNvSpPr/>
                <p:nvPr/>
              </p:nvSpPr>
              <p:spPr>
                <a:xfrm>
                  <a:off x="5763622" y="12218168"/>
                  <a:ext cx="239318" cy="239317"/>
                </a:xfrm>
                <a:custGeom>
                  <a:avLst/>
                  <a:gdLst>
                    <a:gd name="connsiteX0" fmla="*/ 239318 w 239318"/>
                    <a:gd name="connsiteY0" fmla="*/ 119659 h 239317"/>
                    <a:gd name="connsiteX1" fmla="*/ 119659 w 239318"/>
                    <a:gd name="connsiteY1" fmla="*/ 0 h 239317"/>
                    <a:gd name="connsiteX2" fmla="*/ 0 w 239318"/>
                    <a:gd name="connsiteY2" fmla="*/ 119659 h 239317"/>
                    <a:gd name="connsiteX3" fmla="*/ 119659 w 239318"/>
                    <a:gd name="connsiteY3" fmla="*/ 239318 h 239317"/>
                    <a:gd name="connsiteX4" fmla="*/ 239318 w 239318"/>
                    <a:gd name="connsiteY4" fmla="*/ 119659 h 239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9318" h="239317">
                      <a:moveTo>
                        <a:pt x="239318" y="119659"/>
                      </a:moveTo>
                      <a:cubicBezTo>
                        <a:pt x="239318" y="55227"/>
                        <a:pt x="187159" y="0"/>
                        <a:pt x="119659" y="0"/>
                      </a:cubicBezTo>
                      <a:cubicBezTo>
                        <a:pt x="55227" y="0"/>
                        <a:pt x="0" y="52159"/>
                        <a:pt x="0" y="119659"/>
                      </a:cubicBezTo>
                      <a:cubicBezTo>
                        <a:pt x="0" y="184091"/>
                        <a:pt x="52159" y="239318"/>
                        <a:pt x="119659" y="239318"/>
                      </a:cubicBezTo>
                      <a:cubicBezTo>
                        <a:pt x="187159" y="236249"/>
                        <a:pt x="239318" y="184091"/>
                        <a:pt x="239318" y="119659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3BC5C975-EA3D-4003-946C-02AB14FF1FD0}"/>
                    </a:ext>
                  </a:extLst>
                </p:cNvPr>
                <p:cNvSpPr/>
                <p:nvPr/>
              </p:nvSpPr>
              <p:spPr>
                <a:xfrm>
                  <a:off x="4192713" y="10239191"/>
                  <a:ext cx="2124452" cy="1132158"/>
                </a:xfrm>
                <a:custGeom>
                  <a:avLst/>
                  <a:gdLst>
                    <a:gd name="connsiteX0" fmla="*/ 2120114 w 2124452"/>
                    <a:gd name="connsiteY0" fmla="*/ 181023 h 1132158"/>
                    <a:gd name="connsiteX1" fmla="*/ 2107841 w 2124452"/>
                    <a:gd name="connsiteY1" fmla="*/ 174886 h 1132158"/>
                    <a:gd name="connsiteX2" fmla="*/ 1558636 w 2124452"/>
                    <a:gd name="connsiteY2" fmla="*/ 187159 h 1132158"/>
                    <a:gd name="connsiteX3" fmla="*/ 15341 w 2124452"/>
                    <a:gd name="connsiteY3" fmla="*/ 0 h 1132158"/>
                    <a:gd name="connsiteX4" fmla="*/ 3068 w 2124452"/>
                    <a:gd name="connsiteY4" fmla="*/ 6136 h 1132158"/>
                    <a:gd name="connsiteX5" fmla="*/ 0 w 2124452"/>
                    <a:gd name="connsiteY5" fmla="*/ 21477 h 1132158"/>
                    <a:gd name="connsiteX6" fmla="*/ 352841 w 2124452"/>
                    <a:gd name="connsiteY6" fmla="*/ 1122955 h 1132158"/>
                    <a:gd name="connsiteX7" fmla="*/ 368182 w 2124452"/>
                    <a:gd name="connsiteY7" fmla="*/ 1132159 h 1132158"/>
                    <a:gd name="connsiteX8" fmla="*/ 1629205 w 2124452"/>
                    <a:gd name="connsiteY8" fmla="*/ 1132159 h 1132158"/>
                    <a:gd name="connsiteX9" fmla="*/ 2046477 w 2124452"/>
                    <a:gd name="connsiteY9" fmla="*/ 1132159 h 1132158"/>
                    <a:gd name="connsiteX10" fmla="*/ 2061818 w 2124452"/>
                    <a:gd name="connsiteY10" fmla="*/ 1116818 h 1132158"/>
                    <a:gd name="connsiteX11" fmla="*/ 2123182 w 2124452"/>
                    <a:gd name="connsiteY11" fmla="*/ 190227 h 1132158"/>
                    <a:gd name="connsiteX12" fmla="*/ 2120114 w 2124452"/>
                    <a:gd name="connsiteY12" fmla="*/ 181023 h 1132158"/>
                    <a:gd name="connsiteX13" fmla="*/ 2080228 w 2124452"/>
                    <a:gd name="connsiteY13" fmla="*/ 398864 h 1132158"/>
                    <a:gd name="connsiteX14" fmla="*/ 1877727 w 2124452"/>
                    <a:gd name="connsiteY14" fmla="*/ 398864 h 1132158"/>
                    <a:gd name="connsiteX15" fmla="*/ 1880795 w 2124452"/>
                    <a:gd name="connsiteY15" fmla="*/ 211704 h 1132158"/>
                    <a:gd name="connsiteX16" fmla="*/ 2092500 w 2124452"/>
                    <a:gd name="connsiteY16" fmla="*/ 208636 h 1132158"/>
                    <a:gd name="connsiteX17" fmla="*/ 2080228 w 2124452"/>
                    <a:gd name="connsiteY17" fmla="*/ 398864 h 1132158"/>
                    <a:gd name="connsiteX18" fmla="*/ 1638409 w 2124452"/>
                    <a:gd name="connsiteY18" fmla="*/ 1043182 h 1132158"/>
                    <a:gd name="connsiteX19" fmla="*/ 1632273 w 2124452"/>
                    <a:gd name="connsiteY19" fmla="*/ 954205 h 1132158"/>
                    <a:gd name="connsiteX20" fmla="*/ 1840909 w 2124452"/>
                    <a:gd name="connsiteY20" fmla="*/ 954205 h 1132158"/>
                    <a:gd name="connsiteX21" fmla="*/ 1837841 w 2124452"/>
                    <a:gd name="connsiteY21" fmla="*/ 1101477 h 1132158"/>
                    <a:gd name="connsiteX22" fmla="*/ 1641477 w 2124452"/>
                    <a:gd name="connsiteY22" fmla="*/ 1101477 h 1132158"/>
                    <a:gd name="connsiteX23" fmla="*/ 1638409 w 2124452"/>
                    <a:gd name="connsiteY23" fmla="*/ 1043182 h 1132158"/>
                    <a:gd name="connsiteX24" fmla="*/ 233182 w 2124452"/>
                    <a:gd name="connsiteY24" fmla="*/ 650454 h 1132158"/>
                    <a:gd name="connsiteX25" fmla="*/ 484773 w 2124452"/>
                    <a:gd name="connsiteY25" fmla="*/ 659659 h 1132158"/>
                    <a:gd name="connsiteX26" fmla="*/ 552273 w 2124452"/>
                    <a:gd name="connsiteY26" fmla="*/ 926590 h 1132158"/>
                    <a:gd name="connsiteX27" fmla="*/ 322159 w 2124452"/>
                    <a:gd name="connsiteY27" fmla="*/ 926590 h 1132158"/>
                    <a:gd name="connsiteX28" fmla="*/ 233182 w 2124452"/>
                    <a:gd name="connsiteY28" fmla="*/ 650454 h 1132158"/>
                    <a:gd name="connsiteX29" fmla="*/ 1549432 w 2124452"/>
                    <a:gd name="connsiteY29" fmla="*/ 291477 h 1132158"/>
                    <a:gd name="connsiteX30" fmla="*/ 1558636 w 2124452"/>
                    <a:gd name="connsiteY30" fmla="*/ 398864 h 1132158"/>
                    <a:gd name="connsiteX31" fmla="*/ 1239545 w 2124452"/>
                    <a:gd name="connsiteY31" fmla="*/ 371250 h 1132158"/>
                    <a:gd name="connsiteX32" fmla="*/ 1218068 w 2124452"/>
                    <a:gd name="connsiteY32" fmla="*/ 177954 h 1132158"/>
                    <a:gd name="connsiteX33" fmla="*/ 1543295 w 2124452"/>
                    <a:gd name="connsiteY33" fmla="*/ 217841 h 1132158"/>
                    <a:gd name="connsiteX34" fmla="*/ 1549432 w 2124452"/>
                    <a:gd name="connsiteY34" fmla="*/ 291477 h 1132158"/>
                    <a:gd name="connsiteX35" fmla="*/ 1577045 w 2124452"/>
                    <a:gd name="connsiteY35" fmla="*/ 668863 h 1132158"/>
                    <a:gd name="connsiteX36" fmla="*/ 1267159 w 2124452"/>
                    <a:gd name="connsiteY36" fmla="*/ 656591 h 1132158"/>
                    <a:gd name="connsiteX37" fmla="*/ 1239545 w 2124452"/>
                    <a:gd name="connsiteY37" fmla="*/ 401932 h 1132158"/>
                    <a:gd name="connsiteX38" fmla="*/ 1558636 w 2124452"/>
                    <a:gd name="connsiteY38" fmla="*/ 429545 h 1132158"/>
                    <a:gd name="connsiteX39" fmla="*/ 1577045 w 2124452"/>
                    <a:gd name="connsiteY39" fmla="*/ 668863 h 1132158"/>
                    <a:gd name="connsiteX40" fmla="*/ 1239545 w 2124452"/>
                    <a:gd name="connsiteY40" fmla="*/ 656591 h 1132158"/>
                    <a:gd name="connsiteX41" fmla="*/ 908182 w 2124452"/>
                    <a:gd name="connsiteY41" fmla="*/ 644318 h 1132158"/>
                    <a:gd name="connsiteX42" fmla="*/ 871364 w 2124452"/>
                    <a:gd name="connsiteY42" fmla="*/ 374318 h 1132158"/>
                    <a:gd name="connsiteX43" fmla="*/ 1211932 w 2124452"/>
                    <a:gd name="connsiteY43" fmla="*/ 401932 h 1132158"/>
                    <a:gd name="connsiteX44" fmla="*/ 1239545 w 2124452"/>
                    <a:gd name="connsiteY44" fmla="*/ 656591 h 1132158"/>
                    <a:gd name="connsiteX45" fmla="*/ 1242614 w 2124452"/>
                    <a:gd name="connsiteY45" fmla="*/ 687273 h 1132158"/>
                    <a:gd name="connsiteX46" fmla="*/ 1267159 w 2124452"/>
                    <a:gd name="connsiteY46" fmla="*/ 926590 h 1132158"/>
                    <a:gd name="connsiteX47" fmla="*/ 945000 w 2124452"/>
                    <a:gd name="connsiteY47" fmla="*/ 926590 h 1132158"/>
                    <a:gd name="connsiteX48" fmla="*/ 911250 w 2124452"/>
                    <a:gd name="connsiteY48" fmla="*/ 675000 h 1132158"/>
                    <a:gd name="connsiteX49" fmla="*/ 1242614 w 2124452"/>
                    <a:gd name="connsiteY49" fmla="*/ 687273 h 1132158"/>
                    <a:gd name="connsiteX50" fmla="*/ 1273296 w 2124452"/>
                    <a:gd name="connsiteY50" fmla="*/ 687273 h 1132158"/>
                    <a:gd name="connsiteX51" fmla="*/ 1580114 w 2124452"/>
                    <a:gd name="connsiteY51" fmla="*/ 699545 h 1132158"/>
                    <a:gd name="connsiteX52" fmla="*/ 1595455 w 2124452"/>
                    <a:gd name="connsiteY52" fmla="*/ 926590 h 1132158"/>
                    <a:gd name="connsiteX53" fmla="*/ 1297841 w 2124452"/>
                    <a:gd name="connsiteY53" fmla="*/ 926590 h 1132158"/>
                    <a:gd name="connsiteX54" fmla="*/ 1273296 w 2124452"/>
                    <a:gd name="connsiteY54" fmla="*/ 687273 h 1132158"/>
                    <a:gd name="connsiteX55" fmla="*/ 1592386 w 2124452"/>
                    <a:gd name="connsiteY55" fmla="*/ 429545 h 1132158"/>
                    <a:gd name="connsiteX56" fmla="*/ 1850114 w 2124452"/>
                    <a:gd name="connsiteY56" fmla="*/ 429545 h 1132158"/>
                    <a:gd name="connsiteX57" fmla="*/ 1847046 w 2124452"/>
                    <a:gd name="connsiteY57" fmla="*/ 668863 h 1132158"/>
                    <a:gd name="connsiteX58" fmla="*/ 1610796 w 2124452"/>
                    <a:gd name="connsiteY58" fmla="*/ 668863 h 1132158"/>
                    <a:gd name="connsiteX59" fmla="*/ 1592386 w 2124452"/>
                    <a:gd name="connsiteY59" fmla="*/ 429545 h 1132158"/>
                    <a:gd name="connsiteX60" fmla="*/ 1589318 w 2124452"/>
                    <a:gd name="connsiteY60" fmla="*/ 398864 h 1132158"/>
                    <a:gd name="connsiteX61" fmla="*/ 1577045 w 2124452"/>
                    <a:gd name="connsiteY61" fmla="*/ 217841 h 1132158"/>
                    <a:gd name="connsiteX62" fmla="*/ 1853182 w 2124452"/>
                    <a:gd name="connsiteY62" fmla="*/ 211704 h 1132158"/>
                    <a:gd name="connsiteX63" fmla="*/ 1850114 w 2124452"/>
                    <a:gd name="connsiteY63" fmla="*/ 398864 h 1132158"/>
                    <a:gd name="connsiteX64" fmla="*/ 1589318 w 2124452"/>
                    <a:gd name="connsiteY64" fmla="*/ 398864 h 1132158"/>
                    <a:gd name="connsiteX65" fmla="*/ 1208864 w 2124452"/>
                    <a:gd name="connsiteY65" fmla="*/ 371250 h 1132158"/>
                    <a:gd name="connsiteX66" fmla="*/ 865227 w 2124452"/>
                    <a:gd name="connsiteY66" fmla="*/ 343636 h 1132158"/>
                    <a:gd name="connsiteX67" fmla="*/ 837614 w 2124452"/>
                    <a:gd name="connsiteY67" fmla="*/ 135000 h 1132158"/>
                    <a:gd name="connsiteX68" fmla="*/ 1187386 w 2124452"/>
                    <a:gd name="connsiteY68" fmla="*/ 177954 h 1132158"/>
                    <a:gd name="connsiteX69" fmla="*/ 1208864 w 2124452"/>
                    <a:gd name="connsiteY69" fmla="*/ 371250 h 1132158"/>
                    <a:gd name="connsiteX70" fmla="*/ 834545 w 2124452"/>
                    <a:gd name="connsiteY70" fmla="*/ 340568 h 1132158"/>
                    <a:gd name="connsiteX71" fmla="*/ 429546 w 2124452"/>
                    <a:gd name="connsiteY71" fmla="*/ 306818 h 1132158"/>
                    <a:gd name="connsiteX72" fmla="*/ 371250 w 2124452"/>
                    <a:gd name="connsiteY72" fmla="*/ 76705 h 1132158"/>
                    <a:gd name="connsiteX73" fmla="*/ 803864 w 2124452"/>
                    <a:gd name="connsiteY73" fmla="*/ 128863 h 1132158"/>
                    <a:gd name="connsiteX74" fmla="*/ 834545 w 2124452"/>
                    <a:gd name="connsiteY74" fmla="*/ 340568 h 1132158"/>
                    <a:gd name="connsiteX75" fmla="*/ 837614 w 2124452"/>
                    <a:gd name="connsiteY75" fmla="*/ 371250 h 1132158"/>
                    <a:gd name="connsiteX76" fmla="*/ 874432 w 2124452"/>
                    <a:gd name="connsiteY76" fmla="*/ 644318 h 1132158"/>
                    <a:gd name="connsiteX77" fmla="*/ 509318 w 2124452"/>
                    <a:gd name="connsiteY77" fmla="*/ 632046 h 1132158"/>
                    <a:gd name="connsiteX78" fmla="*/ 438750 w 2124452"/>
                    <a:gd name="connsiteY78" fmla="*/ 340568 h 1132158"/>
                    <a:gd name="connsiteX79" fmla="*/ 837614 w 2124452"/>
                    <a:gd name="connsiteY79" fmla="*/ 371250 h 1132158"/>
                    <a:gd name="connsiteX80" fmla="*/ 478636 w 2124452"/>
                    <a:gd name="connsiteY80" fmla="*/ 628977 h 1132158"/>
                    <a:gd name="connsiteX81" fmla="*/ 223977 w 2124452"/>
                    <a:gd name="connsiteY81" fmla="*/ 619772 h 1132158"/>
                    <a:gd name="connsiteX82" fmla="*/ 125796 w 2124452"/>
                    <a:gd name="connsiteY82" fmla="*/ 312954 h 1132158"/>
                    <a:gd name="connsiteX83" fmla="*/ 405000 w 2124452"/>
                    <a:gd name="connsiteY83" fmla="*/ 337500 h 1132158"/>
                    <a:gd name="connsiteX84" fmla="*/ 478636 w 2124452"/>
                    <a:gd name="connsiteY84" fmla="*/ 628977 h 1132158"/>
                    <a:gd name="connsiteX85" fmla="*/ 518523 w 2124452"/>
                    <a:gd name="connsiteY85" fmla="*/ 659659 h 1132158"/>
                    <a:gd name="connsiteX86" fmla="*/ 880568 w 2124452"/>
                    <a:gd name="connsiteY86" fmla="*/ 671932 h 1132158"/>
                    <a:gd name="connsiteX87" fmla="*/ 914318 w 2124452"/>
                    <a:gd name="connsiteY87" fmla="*/ 923523 h 1132158"/>
                    <a:gd name="connsiteX88" fmla="*/ 582955 w 2124452"/>
                    <a:gd name="connsiteY88" fmla="*/ 923523 h 1132158"/>
                    <a:gd name="connsiteX89" fmla="*/ 518523 w 2124452"/>
                    <a:gd name="connsiteY89" fmla="*/ 659659 h 1132158"/>
                    <a:gd name="connsiteX90" fmla="*/ 917386 w 2124452"/>
                    <a:gd name="connsiteY90" fmla="*/ 957272 h 1132158"/>
                    <a:gd name="connsiteX91" fmla="*/ 938864 w 2124452"/>
                    <a:gd name="connsiteY91" fmla="*/ 1104546 h 1132158"/>
                    <a:gd name="connsiteX92" fmla="*/ 625909 w 2124452"/>
                    <a:gd name="connsiteY92" fmla="*/ 1104546 h 1132158"/>
                    <a:gd name="connsiteX93" fmla="*/ 589091 w 2124452"/>
                    <a:gd name="connsiteY93" fmla="*/ 957272 h 1132158"/>
                    <a:gd name="connsiteX94" fmla="*/ 917386 w 2124452"/>
                    <a:gd name="connsiteY94" fmla="*/ 957272 h 1132158"/>
                    <a:gd name="connsiteX95" fmla="*/ 948068 w 2124452"/>
                    <a:gd name="connsiteY95" fmla="*/ 957272 h 1132158"/>
                    <a:gd name="connsiteX96" fmla="*/ 1270227 w 2124452"/>
                    <a:gd name="connsiteY96" fmla="*/ 957272 h 1132158"/>
                    <a:gd name="connsiteX97" fmla="*/ 1285568 w 2124452"/>
                    <a:gd name="connsiteY97" fmla="*/ 1104546 h 1132158"/>
                    <a:gd name="connsiteX98" fmla="*/ 969546 w 2124452"/>
                    <a:gd name="connsiteY98" fmla="*/ 1104546 h 1132158"/>
                    <a:gd name="connsiteX99" fmla="*/ 948068 w 2124452"/>
                    <a:gd name="connsiteY99" fmla="*/ 957272 h 1132158"/>
                    <a:gd name="connsiteX100" fmla="*/ 1300909 w 2124452"/>
                    <a:gd name="connsiteY100" fmla="*/ 957272 h 1132158"/>
                    <a:gd name="connsiteX101" fmla="*/ 1598523 w 2124452"/>
                    <a:gd name="connsiteY101" fmla="*/ 957272 h 1132158"/>
                    <a:gd name="connsiteX102" fmla="*/ 1610796 w 2124452"/>
                    <a:gd name="connsiteY102" fmla="*/ 1104546 h 1132158"/>
                    <a:gd name="connsiteX103" fmla="*/ 1316250 w 2124452"/>
                    <a:gd name="connsiteY103" fmla="*/ 1104546 h 1132158"/>
                    <a:gd name="connsiteX104" fmla="*/ 1300909 w 2124452"/>
                    <a:gd name="connsiteY104" fmla="*/ 957272 h 1132158"/>
                    <a:gd name="connsiteX105" fmla="*/ 1629205 w 2124452"/>
                    <a:gd name="connsiteY105" fmla="*/ 926590 h 1132158"/>
                    <a:gd name="connsiteX106" fmla="*/ 1613864 w 2124452"/>
                    <a:gd name="connsiteY106" fmla="*/ 699545 h 1132158"/>
                    <a:gd name="connsiteX107" fmla="*/ 1847046 w 2124452"/>
                    <a:gd name="connsiteY107" fmla="*/ 699545 h 1132158"/>
                    <a:gd name="connsiteX108" fmla="*/ 1843977 w 2124452"/>
                    <a:gd name="connsiteY108" fmla="*/ 926590 h 1132158"/>
                    <a:gd name="connsiteX109" fmla="*/ 1629205 w 2124452"/>
                    <a:gd name="connsiteY109" fmla="*/ 926590 h 1132158"/>
                    <a:gd name="connsiteX110" fmla="*/ 1874659 w 2124452"/>
                    <a:gd name="connsiteY110" fmla="*/ 699545 h 1132158"/>
                    <a:gd name="connsiteX111" fmla="*/ 2061818 w 2124452"/>
                    <a:gd name="connsiteY111" fmla="*/ 699545 h 1132158"/>
                    <a:gd name="connsiteX112" fmla="*/ 2046477 w 2124452"/>
                    <a:gd name="connsiteY112" fmla="*/ 926590 h 1132158"/>
                    <a:gd name="connsiteX113" fmla="*/ 1871591 w 2124452"/>
                    <a:gd name="connsiteY113" fmla="*/ 926590 h 1132158"/>
                    <a:gd name="connsiteX114" fmla="*/ 1874659 w 2124452"/>
                    <a:gd name="connsiteY114" fmla="*/ 699545 h 1132158"/>
                    <a:gd name="connsiteX115" fmla="*/ 1874659 w 2124452"/>
                    <a:gd name="connsiteY115" fmla="*/ 668863 h 1132158"/>
                    <a:gd name="connsiteX116" fmla="*/ 1877727 w 2124452"/>
                    <a:gd name="connsiteY116" fmla="*/ 429545 h 1132158"/>
                    <a:gd name="connsiteX117" fmla="*/ 2077159 w 2124452"/>
                    <a:gd name="connsiteY117" fmla="*/ 429545 h 1132158"/>
                    <a:gd name="connsiteX118" fmla="*/ 2061818 w 2124452"/>
                    <a:gd name="connsiteY118" fmla="*/ 668863 h 1132158"/>
                    <a:gd name="connsiteX119" fmla="*/ 1874659 w 2124452"/>
                    <a:gd name="connsiteY119" fmla="*/ 668863 h 1132158"/>
                    <a:gd name="connsiteX120" fmla="*/ 340568 w 2124452"/>
                    <a:gd name="connsiteY120" fmla="*/ 70568 h 1132158"/>
                    <a:gd name="connsiteX121" fmla="*/ 398864 w 2124452"/>
                    <a:gd name="connsiteY121" fmla="*/ 303750 h 1132158"/>
                    <a:gd name="connsiteX122" fmla="*/ 116591 w 2124452"/>
                    <a:gd name="connsiteY122" fmla="*/ 279205 h 1132158"/>
                    <a:gd name="connsiteX123" fmla="*/ 36818 w 2124452"/>
                    <a:gd name="connsiteY123" fmla="*/ 33750 h 1132158"/>
                    <a:gd name="connsiteX124" fmla="*/ 340568 w 2124452"/>
                    <a:gd name="connsiteY124" fmla="*/ 70568 h 1132158"/>
                    <a:gd name="connsiteX125" fmla="*/ 331364 w 2124452"/>
                    <a:gd name="connsiteY125" fmla="*/ 957272 h 1132158"/>
                    <a:gd name="connsiteX126" fmla="*/ 558409 w 2124452"/>
                    <a:gd name="connsiteY126" fmla="*/ 957272 h 1132158"/>
                    <a:gd name="connsiteX127" fmla="*/ 595227 w 2124452"/>
                    <a:gd name="connsiteY127" fmla="*/ 1104546 h 1132158"/>
                    <a:gd name="connsiteX128" fmla="*/ 377386 w 2124452"/>
                    <a:gd name="connsiteY128" fmla="*/ 1104546 h 1132158"/>
                    <a:gd name="connsiteX129" fmla="*/ 331364 w 2124452"/>
                    <a:gd name="connsiteY129" fmla="*/ 957272 h 1132158"/>
                    <a:gd name="connsiteX130" fmla="*/ 1868523 w 2124452"/>
                    <a:gd name="connsiteY130" fmla="*/ 1104546 h 1132158"/>
                    <a:gd name="connsiteX131" fmla="*/ 1871591 w 2124452"/>
                    <a:gd name="connsiteY131" fmla="*/ 957272 h 1132158"/>
                    <a:gd name="connsiteX132" fmla="*/ 2043409 w 2124452"/>
                    <a:gd name="connsiteY132" fmla="*/ 957272 h 1132158"/>
                    <a:gd name="connsiteX133" fmla="*/ 2034205 w 2124452"/>
                    <a:gd name="connsiteY133" fmla="*/ 1104546 h 1132158"/>
                    <a:gd name="connsiteX134" fmla="*/ 1868523 w 2124452"/>
                    <a:gd name="connsiteY134" fmla="*/ 1104546 h 1132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</a:cxnLst>
                  <a:rect l="l" t="t" r="r" b="b"/>
                  <a:pathLst>
                    <a:path w="2124452" h="1132158">
                      <a:moveTo>
                        <a:pt x="2120114" y="181023"/>
                      </a:moveTo>
                      <a:cubicBezTo>
                        <a:pt x="2117046" y="177954"/>
                        <a:pt x="2113977" y="174886"/>
                        <a:pt x="2107841" y="174886"/>
                      </a:cubicBezTo>
                      <a:lnTo>
                        <a:pt x="1558636" y="187159"/>
                      </a:lnTo>
                      <a:lnTo>
                        <a:pt x="15341" y="0"/>
                      </a:lnTo>
                      <a:cubicBezTo>
                        <a:pt x="9205" y="0"/>
                        <a:pt x="6136" y="0"/>
                        <a:pt x="3068" y="6136"/>
                      </a:cubicBezTo>
                      <a:cubicBezTo>
                        <a:pt x="0" y="9204"/>
                        <a:pt x="0" y="15341"/>
                        <a:pt x="0" y="21477"/>
                      </a:cubicBezTo>
                      <a:lnTo>
                        <a:pt x="352841" y="1122955"/>
                      </a:lnTo>
                      <a:cubicBezTo>
                        <a:pt x="355909" y="1129091"/>
                        <a:pt x="362045" y="1132159"/>
                        <a:pt x="368182" y="1132159"/>
                      </a:cubicBezTo>
                      <a:lnTo>
                        <a:pt x="1629205" y="1132159"/>
                      </a:lnTo>
                      <a:lnTo>
                        <a:pt x="2046477" y="1132159"/>
                      </a:lnTo>
                      <a:cubicBezTo>
                        <a:pt x="2055682" y="1132159"/>
                        <a:pt x="2061818" y="1126022"/>
                        <a:pt x="2061818" y="1116818"/>
                      </a:cubicBezTo>
                      <a:lnTo>
                        <a:pt x="2123182" y="190227"/>
                      </a:lnTo>
                      <a:cubicBezTo>
                        <a:pt x="2126250" y="190227"/>
                        <a:pt x="2123182" y="184091"/>
                        <a:pt x="2120114" y="181023"/>
                      </a:cubicBezTo>
                      <a:close/>
                      <a:moveTo>
                        <a:pt x="2080228" y="398864"/>
                      </a:moveTo>
                      <a:lnTo>
                        <a:pt x="1877727" y="398864"/>
                      </a:lnTo>
                      <a:lnTo>
                        <a:pt x="1880795" y="211704"/>
                      </a:lnTo>
                      <a:lnTo>
                        <a:pt x="2092500" y="208636"/>
                      </a:lnTo>
                      <a:lnTo>
                        <a:pt x="2080228" y="398864"/>
                      </a:lnTo>
                      <a:close/>
                      <a:moveTo>
                        <a:pt x="1638409" y="1043182"/>
                      </a:moveTo>
                      <a:lnTo>
                        <a:pt x="1632273" y="954205"/>
                      </a:lnTo>
                      <a:lnTo>
                        <a:pt x="1840909" y="954205"/>
                      </a:lnTo>
                      <a:lnTo>
                        <a:pt x="1837841" y="1101477"/>
                      </a:lnTo>
                      <a:lnTo>
                        <a:pt x="1641477" y="1101477"/>
                      </a:lnTo>
                      <a:lnTo>
                        <a:pt x="1638409" y="1043182"/>
                      </a:lnTo>
                      <a:close/>
                      <a:moveTo>
                        <a:pt x="233182" y="650454"/>
                      </a:moveTo>
                      <a:lnTo>
                        <a:pt x="484773" y="659659"/>
                      </a:lnTo>
                      <a:lnTo>
                        <a:pt x="552273" y="926590"/>
                      </a:lnTo>
                      <a:lnTo>
                        <a:pt x="322159" y="926590"/>
                      </a:lnTo>
                      <a:lnTo>
                        <a:pt x="233182" y="650454"/>
                      </a:lnTo>
                      <a:close/>
                      <a:moveTo>
                        <a:pt x="1549432" y="291477"/>
                      </a:moveTo>
                      <a:lnTo>
                        <a:pt x="1558636" y="398864"/>
                      </a:lnTo>
                      <a:lnTo>
                        <a:pt x="1239545" y="371250"/>
                      </a:lnTo>
                      <a:lnTo>
                        <a:pt x="1218068" y="177954"/>
                      </a:lnTo>
                      <a:lnTo>
                        <a:pt x="1543295" y="217841"/>
                      </a:lnTo>
                      <a:lnTo>
                        <a:pt x="1549432" y="291477"/>
                      </a:lnTo>
                      <a:close/>
                      <a:moveTo>
                        <a:pt x="1577045" y="668863"/>
                      </a:moveTo>
                      <a:lnTo>
                        <a:pt x="1267159" y="656591"/>
                      </a:lnTo>
                      <a:lnTo>
                        <a:pt x="1239545" y="401932"/>
                      </a:lnTo>
                      <a:lnTo>
                        <a:pt x="1558636" y="429545"/>
                      </a:lnTo>
                      <a:lnTo>
                        <a:pt x="1577045" y="668863"/>
                      </a:lnTo>
                      <a:close/>
                      <a:moveTo>
                        <a:pt x="1239545" y="656591"/>
                      </a:moveTo>
                      <a:lnTo>
                        <a:pt x="908182" y="644318"/>
                      </a:lnTo>
                      <a:lnTo>
                        <a:pt x="871364" y="374318"/>
                      </a:lnTo>
                      <a:lnTo>
                        <a:pt x="1211932" y="401932"/>
                      </a:lnTo>
                      <a:lnTo>
                        <a:pt x="1239545" y="656591"/>
                      </a:lnTo>
                      <a:close/>
                      <a:moveTo>
                        <a:pt x="1242614" y="687273"/>
                      </a:moveTo>
                      <a:lnTo>
                        <a:pt x="1267159" y="926590"/>
                      </a:lnTo>
                      <a:lnTo>
                        <a:pt x="945000" y="926590"/>
                      </a:lnTo>
                      <a:lnTo>
                        <a:pt x="911250" y="675000"/>
                      </a:lnTo>
                      <a:lnTo>
                        <a:pt x="1242614" y="687273"/>
                      </a:lnTo>
                      <a:close/>
                      <a:moveTo>
                        <a:pt x="1273296" y="687273"/>
                      </a:moveTo>
                      <a:lnTo>
                        <a:pt x="1580114" y="699545"/>
                      </a:lnTo>
                      <a:lnTo>
                        <a:pt x="1595455" y="926590"/>
                      </a:lnTo>
                      <a:lnTo>
                        <a:pt x="1297841" y="926590"/>
                      </a:lnTo>
                      <a:lnTo>
                        <a:pt x="1273296" y="687273"/>
                      </a:lnTo>
                      <a:close/>
                      <a:moveTo>
                        <a:pt x="1592386" y="429545"/>
                      </a:moveTo>
                      <a:lnTo>
                        <a:pt x="1850114" y="429545"/>
                      </a:lnTo>
                      <a:lnTo>
                        <a:pt x="1847046" y="668863"/>
                      </a:lnTo>
                      <a:lnTo>
                        <a:pt x="1610796" y="668863"/>
                      </a:lnTo>
                      <a:lnTo>
                        <a:pt x="1592386" y="429545"/>
                      </a:lnTo>
                      <a:close/>
                      <a:moveTo>
                        <a:pt x="1589318" y="398864"/>
                      </a:moveTo>
                      <a:lnTo>
                        <a:pt x="1577045" y="217841"/>
                      </a:lnTo>
                      <a:lnTo>
                        <a:pt x="1853182" y="211704"/>
                      </a:lnTo>
                      <a:lnTo>
                        <a:pt x="1850114" y="398864"/>
                      </a:lnTo>
                      <a:lnTo>
                        <a:pt x="1589318" y="398864"/>
                      </a:lnTo>
                      <a:close/>
                      <a:moveTo>
                        <a:pt x="1208864" y="371250"/>
                      </a:moveTo>
                      <a:lnTo>
                        <a:pt x="865227" y="343636"/>
                      </a:lnTo>
                      <a:lnTo>
                        <a:pt x="837614" y="135000"/>
                      </a:lnTo>
                      <a:lnTo>
                        <a:pt x="1187386" y="177954"/>
                      </a:lnTo>
                      <a:lnTo>
                        <a:pt x="1208864" y="371250"/>
                      </a:lnTo>
                      <a:close/>
                      <a:moveTo>
                        <a:pt x="834545" y="340568"/>
                      </a:moveTo>
                      <a:lnTo>
                        <a:pt x="429546" y="306818"/>
                      </a:lnTo>
                      <a:lnTo>
                        <a:pt x="371250" y="76705"/>
                      </a:lnTo>
                      <a:lnTo>
                        <a:pt x="803864" y="128863"/>
                      </a:lnTo>
                      <a:lnTo>
                        <a:pt x="834545" y="340568"/>
                      </a:lnTo>
                      <a:close/>
                      <a:moveTo>
                        <a:pt x="837614" y="371250"/>
                      </a:moveTo>
                      <a:lnTo>
                        <a:pt x="874432" y="644318"/>
                      </a:lnTo>
                      <a:lnTo>
                        <a:pt x="509318" y="632046"/>
                      </a:lnTo>
                      <a:lnTo>
                        <a:pt x="438750" y="340568"/>
                      </a:lnTo>
                      <a:lnTo>
                        <a:pt x="837614" y="371250"/>
                      </a:lnTo>
                      <a:close/>
                      <a:moveTo>
                        <a:pt x="478636" y="628977"/>
                      </a:moveTo>
                      <a:lnTo>
                        <a:pt x="223977" y="619772"/>
                      </a:lnTo>
                      <a:lnTo>
                        <a:pt x="125796" y="312954"/>
                      </a:lnTo>
                      <a:lnTo>
                        <a:pt x="405000" y="337500"/>
                      </a:lnTo>
                      <a:lnTo>
                        <a:pt x="478636" y="628977"/>
                      </a:lnTo>
                      <a:close/>
                      <a:moveTo>
                        <a:pt x="518523" y="659659"/>
                      </a:moveTo>
                      <a:lnTo>
                        <a:pt x="880568" y="671932"/>
                      </a:lnTo>
                      <a:lnTo>
                        <a:pt x="914318" y="923523"/>
                      </a:lnTo>
                      <a:lnTo>
                        <a:pt x="582955" y="923523"/>
                      </a:lnTo>
                      <a:lnTo>
                        <a:pt x="518523" y="659659"/>
                      </a:lnTo>
                      <a:close/>
                      <a:moveTo>
                        <a:pt x="917386" y="957272"/>
                      </a:moveTo>
                      <a:lnTo>
                        <a:pt x="938864" y="1104546"/>
                      </a:lnTo>
                      <a:lnTo>
                        <a:pt x="625909" y="1104546"/>
                      </a:lnTo>
                      <a:lnTo>
                        <a:pt x="589091" y="957272"/>
                      </a:lnTo>
                      <a:lnTo>
                        <a:pt x="917386" y="957272"/>
                      </a:lnTo>
                      <a:close/>
                      <a:moveTo>
                        <a:pt x="948068" y="957272"/>
                      </a:moveTo>
                      <a:lnTo>
                        <a:pt x="1270227" y="957272"/>
                      </a:lnTo>
                      <a:lnTo>
                        <a:pt x="1285568" y="1104546"/>
                      </a:lnTo>
                      <a:lnTo>
                        <a:pt x="969546" y="1104546"/>
                      </a:lnTo>
                      <a:lnTo>
                        <a:pt x="948068" y="957272"/>
                      </a:lnTo>
                      <a:close/>
                      <a:moveTo>
                        <a:pt x="1300909" y="957272"/>
                      </a:moveTo>
                      <a:lnTo>
                        <a:pt x="1598523" y="957272"/>
                      </a:lnTo>
                      <a:lnTo>
                        <a:pt x="1610796" y="1104546"/>
                      </a:lnTo>
                      <a:lnTo>
                        <a:pt x="1316250" y="1104546"/>
                      </a:lnTo>
                      <a:lnTo>
                        <a:pt x="1300909" y="957272"/>
                      </a:lnTo>
                      <a:close/>
                      <a:moveTo>
                        <a:pt x="1629205" y="926590"/>
                      </a:moveTo>
                      <a:lnTo>
                        <a:pt x="1613864" y="699545"/>
                      </a:lnTo>
                      <a:lnTo>
                        <a:pt x="1847046" y="699545"/>
                      </a:lnTo>
                      <a:lnTo>
                        <a:pt x="1843977" y="926590"/>
                      </a:lnTo>
                      <a:lnTo>
                        <a:pt x="1629205" y="926590"/>
                      </a:lnTo>
                      <a:close/>
                      <a:moveTo>
                        <a:pt x="1874659" y="699545"/>
                      </a:moveTo>
                      <a:lnTo>
                        <a:pt x="2061818" y="699545"/>
                      </a:lnTo>
                      <a:lnTo>
                        <a:pt x="2046477" y="926590"/>
                      </a:lnTo>
                      <a:lnTo>
                        <a:pt x="1871591" y="926590"/>
                      </a:lnTo>
                      <a:lnTo>
                        <a:pt x="1874659" y="699545"/>
                      </a:lnTo>
                      <a:close/>
                      <a:moveTo>
                        <a:pt x="1874659" y="668863"/>
                      </a:moveTo>
                      <a:lnTo>
                        <a:pt x="1877727" y="429545"/>
                      </a:lnTo>
                      <a:lnTo>
                        <a:pt x="2077159" y="429545"/>
                      </a:lnTo>
                      <a:lnTo>
                        <a:pt x="2061818" y="668863"/>
                      </a:lnTo>
                      <a:lnTo>
                        <a:pt x="1874659" y="668863"/>
                      </a:lnTo>
                      <a:close/>
                      <a:moveTo>
                        <a:pt x="340568" y="70568"/>
                      </a:moveTo>
                      <a:lnTo>
                        <a:pt x="398864" y="303750"/>
                      </a:lnTo>
                      <a:lnTo>
                        <a:pt x="116591" y="279205"/>
                      </a:lnTo>
                      <a:lnTo>
                        <a:pt x="36818" y="33750"/>
                      </a:lnTo>
                      <a:lnTo>
                        <a:pt x="340568" y="70568"/>
                      </a:lnTo>
                      <a:close/>
                      <a:moveTo>
                        <a:pt x="331364" y="957272"/>
                      </a:moveTo>
                      <a:lnTo>
                        <a:pt x="558409" y="957272"/>
                      </a:lnTo>
                      <a:lnTo>
                        <a:pt x="595227" y="1104546"/>
                      </a:lnTo>
                      <a:lnTo>
                        <a:pt x="377386" y="1104546"/>
                      </a:lnTo>
                      <a:lnTo>
                        <a:pt x="331364" y="957272"/>
                      </a:lnTo>
                      <a:close/>
                      <a:moveTo>
                        <a:pt x="1868523" y="1104546"/>
                      </a:moveTo>
                      <a:lnTo>
                        <a:pt x="1871591" y="957272"/>
                      </a:lnTo>
                      <a:lnTo>
                        <a:pt x="2043409" y="957272"/>
                      </a:lnTo>
                      <a:lnTo>
                        <a:pt x="2034205" y="1104546"/>
                      </a:lnTo>
                      <a:lnTo>
                        <a:pt x="1868523" y="1104546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9" name="任意多边形: 形状 148">
                  <a:extLst>
                    <a:ext uri="{FF2B5EF4-FFF2-40B4-BE49-F238E27FC236}">
                      <a16:creationId xmlns:a16="http://schemas.microsoft.com/office/drawing/2014/main" id="{3CB58AE1-33B9-457B-AA99-46ACC0797346}"/>
                    </a:ext>
                  </a:extLst>
                </p:cNvPr>
                <p:cNvSpPr/>
                <p:nvPr/>
              </p:nvSpPr>
              <p:spPr>
                <a:xfrm>
                  <a:off x="3790781" y="9861804"/>
                  <a:ext cx="481692" cy="487841"/>
                </a:xfrm>
                <a:custGeom>
                  <a:avLst/>
                  <a:gdLst>
                    <a:gd name="connsiteX0" fmla="*/ 435682 w 481692"/>
                    <a:gd name="connsiteY0" fmla="*/ 487842 h 487841"/>
                    <a:gd name="connsiteX1" fmla="*/ 392727 w 481692"/>
                    <a:gd name="connsiteY1" fmla="*/ 457160 h 487841"/>
                    <a:gd name="connsiteX2" fmla="*/ 303750 w 481692"/>
                    <a:gd name="connsiteY2" fmla="*/ 92045 h 487841"/>
                    <a:gd name="connsiteX3" fmla="*/ 46023 w 481692"/>
                    <a:gd name="connsiteY3" fmla="*/ 92045 h 487841"/>
                    <a:gd name="connsiteX4" fmla="*/ 0 w 481692"/>
                    <a:gd name="connsiteY4" fmla="*/ 46023 h 487841"/>
                    <a:gd name="connsiteX5" fmla="*/ 46023 w 481692"/>
                    <a:gd name="connsiteY5" fmla="*/ 0 h 487841"/>
                    <a:gd name="connsiteX6" fmla="*/ 368182 w 481692"/>
                    <a:gd name="connsiteY6" fmla="*/ 0 h 487841"/>
                    <a:gd name="connsiteX7" fmla="*/ 478636 w 481692"/>
                    <a:gd name="connsiteY7" fmla="*/ 423410 h 487841"/>
                    <a:gd name="connsiteX8" fmla="*/ 451023 w 481692"/>
                    <a:gd name="connsiteY8" fmla="*/ 481705 h 487841"/>
                    <a:gd name="connsiteX9" fmla="*/ 435682 w 481692"/>
                    <a:gd name="connsiteY9" fmla="*/ 487842 h 4878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1692" h="487841">
                      <a:moveTo>
                        <a:pt x="435682" y="487842"/>
                      </a:moveTo>
                      <a:cubicBezTo>
                        <a:pt x="417273" y="487842"/>
                        <a:pt x="398864" y="475568"/>
                        <a:pt x="392727" y="457160"/>
                      </a:cubicBezTo>
                      <a:lnTo>
                        <a:pt x="303750" y="92045"/>
                      </a:lnTo>
                      <a:lnTo>
                        <a:pt x="46023" y="92045"/>
                      </a:lnTo>
                      <a:cubicBezTo>
                        <a:pt x="21477" y="92045"/>
                        <a:pt x="0" y="70569"/>
                        <a:pt x="0" y="46023"/>
                      </a:cubicBezTo>
                      <a:cubicBezTo>
                        <a:pt x="0" y="21478"/>
                        <a:pt x="21477" y="0"/>
                        <a:pt x="46023" y="0"/>
                      </a:cubicBezTo>
                      <a:lnTo>
                        <a:pt x="368182" y="0"/>
                      </a:lnTo>
                      <a:lnTo>
                        <a:pt x="478636" y="423410"/>
                      </a:lnTo>
                      <a:cubicBezTo>
                        <a:pt x="487841" y="447955"/>
                        <a:pt x="475568" y="472501"/>
                        <a:pt x="451023" y="481705"/>
                      </a:cubicBezTo>
                      <a:cubicBezTo>
                        <a:pt x="444886" y="484773"/>
                        <a:pt x="441818" y="487842"/>
                        <a:pt x="435682" y="487842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0" name="任意多边形: 形状 149">
                  <a:extLst>
                    <a:ext uri="{FF2B5EF4-FFF2-40B4-BE49-F238E27FC236}">
                      <a16:creationId xmlns:a16="http://schemas.microsoft.com/office/drawing/2014/main" id="{AFD6E439-6B21-47B4-9039-89C05A92FE0A}"/>
                    </a:ext>
                  </a:extLst>
                </p:cNvPr>
                <p:cNvSpPr/>
                <p:nvPr/>
              </p:nvSpPr>
              <p:spPr>
                <a:xfrm>
                  <a:off x="4318508" y="12107713"/>
                  <a:ext cx="469431" cy="39886"/>
                </a:xfrm>
                <a:custGeom>
                  <a:avLst/>
                  <a:gdLst>
                    <a:gd name="connsiteX0" fmla="*/ 0 w 469431"/>
                    <a:gd name="connsiteY0" fmla="*/ 0 h 39886"/>
                    <a:gd name="connsiteX1" fmla="*/ 469432 w 469431"/>
                    <a:gd name="connsiteY1" fmla="*/ 0 h 39886"/>
                    <a:gd name="connsiteX2" fmla="*/ 469432 w 469431"/>
                    <a:gd name="connsiteY2" fmla="*/ 39886 h 39886"/>
                    <a:gd name="connsiteX3" fmla="*/ 0 w 469431"/>
                    <a:gd name="connsiteY3" fmla="*/ 39886 h 3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69431" h="39886">
                      <a:moveTo>
                        <a:pt x="0" y="0"/>
                      </a:moveTo>
                      <a:lnTo>
                        <a:pt x="469432" y="0"/>
                      </a:lnTo>
                      <a:lnTo>
                        <a:pt x="469432" y="39886"/>
                      </a:lnTo>
                      <a:lnTo>
                        <a:pt x="0" y="39886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B0D409FD-E103-464D-A3DE-F14785EAB46D}"/>
                </a:ext>
              </a:extLst>
            </p:cNvPr>
            <p:cNvSpPr/>
            <p:nvPr/>
          </p:nvSpPr>
          <p:spPr>
            <a:xfrm>
              <a:off x="4627800" y="9770866"/>
              <a:ext cx="289816" cy="188952"/>
            </a:xfrm>
            <a:custGeom>
              <a:avLst/>
              <a:gdLst>
                <a:gd name="connsiteX0" fmla="*/ 22072 w 289816"/>
                <a:gd name="connsiteY0" fmla="*/ 38779 h 188952"/>
                <a:gd name="connsiteX1" fmla="*/ 28209 w 289816"/>
                <a:gd name="connsiteY1" fmla="*/ 38779 h 188952"/>
                <a:gd name="connsiteX2" fmla="*/ 52754 w 289816"/>
                <a:gd name="connsiteY2" fmla="*/ 14233 h 188952"/>
                <a:gd name="connsiteX3" fmla="*/ 77299 w 289816"/>
                <a:gd name="connsiteY3" fmla="*/ 1961 h 188952"/>
                <a:gd name="connsiteX4" fmla="*/ 196959 w 289816"/>
                <a:gd name="connsiteY4" fmla="*/ 14233 h 188952"/>
                <a:gd name="connsiteX5" fmla="*/ 282868 w 289816"/>
                <a:gd name="connsiteY5" fmla="*/ 100143 h 188952"/>
                <a:gd name="connsiteX6" fmla="*/ 267527 w 289816"/>
                <a:gd name="connsiteY6" fmla="*/ 152301 h 188952"/>
                <a:gd name="connsiteX7" fmla="*/ 218436 w 289816"/>
                <a:gd name="connsiteY7" fmla="*/ 176847 h 188952"/>
                <a:gd name="connsiteX8" fmla="*/ 206163 w 289816"/>
                <a:gd name="connsiteY8" fmla="*/ 161506 h 188952"/>
                <a:gd name="connsiteX9" fmla="*/ 157072 w 289816"/>
                <a:gd name="connsiteY9" fmla="*/ 158438 h 188952"/>
                <a:gd name="connsiteX10" fmla="*/ 126390 w 289816"/>
                <a:gd name="connsiteY10" fmla="*/ 100143 h 188952"/>
                <a:gd name="connsiteX11" fmla="*/ 43550 w 289816"/>
                <a:gd name="connsiteY11" fmla="*/ 97074 h 188952"/>
                <a:gd name="connsiteX12" fmla="*/ 22072 w 289816"/>
                <a:gd name="connsiteY12" fmla="*/ 38779 h 188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9816" h="188952">
                  <a:moveTo>
                    <a:pt x="22072" y="38779"/>
                  </a:moveTo>
                  <a:cubicBezTo>
                    <a:pt x="25140" y="38779"/>
                    <a:pt x="28209" y="38779"/>
                    <a:pt x="28209" y="38779"/>
                  </a:cubicBezTo>
                  <a:cubicBezTo>
                    <a:pt x="28209" y="26507"/>
                    <a:pt x="37413" y="14233"/>
                    <a:pt x="52754" y="14233"/>
                  </a:cubicBezTo>
                  <a:cubicBezTo>
                    <a:pt x="58890" y="8097"/>
                    <a:pt x="65027" y="1961"/>
                    <a:pt x="77299" y="1961"/>
                  </a:cubicBezTo>
                  <a:cubicBezTo>
                    <a:pt x="114118" y="1961"/>
                    <a:pt x="160140" y="-7244"/>
                    <a:pt x="196959" y="14233"/>
                  </a:cubicBezTo>
                  <a:cubicBezTo>
                    <a:pt x="230709" y="32642"/>
                    <a:pt x="258322" y="69461"/>
                    <a:pt x="282868" y="100143"/>
                  </a:cubicBezTo>
                  <a:cubicBezTo>
                    <a:pt x="298208" y="121620"/>
                    <a:pt x="285936" y="146166"/>
                    <a:pt x="267527" y="152301"/>
                  </a:cubicBezTo>
                  <a:cubicBezTo>
                    <a:pt x="270595" y="179916"/>
                    <a:pt x="236845" y="204461"/>
                    <a:pt x="218436" y="176847"/>
                  </a:cubicBezTo>
                  <a:cubicBezTo>
                    <a:pt x="215368" y="170711"/>
                    <a:pt x="212300" y="167642"/>
                    <a:pt x="206163" y="161506"/>
                  </a:cubicBezTo>
                  <a:cubicBezTo>
                    <a:pt x="193890" y="173779"/>
                    <a:pt x="169345" y="179916"/>
                    <a:pt x="157072" y="158438"/>
                  </a:cubicBezTo>
                  <a:cubicBezTo>
                    <a:pt x="144799" y="140029"/>
                    <a:pt x="141731" y="112415"/>
                    <a:pt x="126390" y="100143"/>
                  </a:cubicBezTo>
                  <a:cubicBezTo>
                    <a:pt x="107981" y="84802"/>
                    <a:pt x="65027" y="94006"/>
                    <a:pt x="43550" y="97074"/>
                  </a:cubicBezTo>
                  <a:cubicBezTo>
                    <a:pt x="595" y="106279"/>
                    <a:pt x="-17814" y="44915"/>
                    <a:pt x="22072" y="38779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79045D52-09F8-413C-819C-C00A85FD250A}"/>
                </a:ext>
              </a:extLst>
            </p:cNvPr>
            <p:cNvSpPr/>
            <p:nvPr/>
          </p:nvSpPr>
          <p:spPr>
            <a:xfrm>
              <a:off x="4599842" y="9781258"/>
              <a:ext cx="124901" cy="162131"/>
            </a:xfrm>
            <a:custGeom>
              <a:avLst/>
              <a:gdLst>
                <a:gd name="connsiteX0" fmla="*/ 59234 w 124901"/>
                <a:gd name="connsiteY0" fmla="*/ 22251 h 162131"/>
                <a:gd name="connsiteX1" fmla="*/ 71507 w 124901"/>
                <a:gd name="connsiteY1" fmla="*/ 74410 h 162131"/>
                <a:gd name="connsiteX2" fmla="*/ 105257 w 124901"/>
                <a:gd name="connsiteY2" fmla="*/ 117364 h 162131"/>
                <a:gd name="connsiteX3" fmla="*/ 92984 w 124901"/>
                <a:gd name="connsiteY3" fmla="*/ 160319 h 162131"/>
                <a:gd name="connsiteX4" fmla="*/ 25484 w 124901"/>
                <a:gd name="connsiteY4" fmla="*/ 117364 h 162131"/>
                <a:gd name="connsiteX5" fmla="*/ 939 w 124901"/>
                <a:gd name="connsiteY5" fmla="*/ 40660 h 162131"/>
                <a:gd name="connsiteX6" fmla="*/ 59234 w 124901"/>
                <a:gd name="connsiteY6" fmla="*/ 22251 h 162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01" h="162131">
                  <a:moveTo>
                    <a:pt x="59234" y="22251"/>
                  </a:moveTo>
                  <a:cubicBezTo>
                    <a:pt x="62302" y="40660"/>
                    <a:pt x="65371" y="59069"/>
                    <a:pt x="71507" y="74410"/>
                  </a:cubicBezTo>
                  <a:cubicBezTo>
                    <a:pt x="77643" y="89751"/>
                    <a:pt x="89916" y="105092"/>
                    <a:pt x="105257" y="117364"/>
                  </a:cubicBezTo>
                  <a:cubicBezTo>
                    <a:pt x="135939" y="141909"/>
                    <a:pt x="129803" y="169524"/>
                    <a:pt x="92984" y="160319"/>
                  </a:cubicBezTo>
                  <a:cubicBezTo>
                    <a:pt x="65371" y="151115"/>
                    <a:pt x="40825" y="141909"/>
                    <a:pt x="25484" y="117364"/>
                  </a:cubicBezTo>
                  <a:cubicBezTo>
                    <a:pt x="10143" y="92819"/>
                    <a:pt x="7075" y="65205"/>
                    <a:pt x="939" y="40660"/>
                  </a:cubicBezTo>
                  <a:cubicBezTo>
                    <a:pt x="-8266" y="774"/>
                    <a:pt x="53098" y="-17635"/>
                    <a:pt x="59234" y="22251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E98B5830-3B36-4997-B617-614D8F3355D0}"/>
                </a:ext>
              </a:extLst>
            </p:cNvPr>
            <p:cNvSpPr/>
            <p:nvPr/>
          </p:nvSpPr>
          <p:spPr>
            <a:xfrm>
              <a:off x="7920554" y="9689986"/>
              <a:ext cx="125795" cy="122727"/>
            </a:xfrm>
            <a:custGeom>
              <a:avLst/>
              <a:gdLst>
                <a:gd name="connsiteX0" fmla="*/ 36818 w 125795"/>
                <a:gd name="connsiteY0" fmla="*/ 122727 h 122727"/>
                <a:gd name="connsiteX1" fmla="*/ 125795 w 125795"/>
                <a:gd name="connsiteY1" fmla="*/ 95113 h 122727"/>
                <a:gd name="connsiteX2" fmla="*/ 104318 w 125795"/>
                <a:gd name="connsiteY2" fmla="*/ 0 h 122727"/>
                <a:gd name="connsiteX3" fmla="*/ 0 w 125795"/>
                <a:gd name="connsiteY3" fmla="*/ 39886 h 122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5795" h="122727">
                  <a:moveTo>
                    <a:pt x="36818" y="122727"/>
                  </a:moveTo>
                  <a:lnTo>
                    <a:pt x="125795" y="95113"/>
                  </a:lnTo>
                  <a:lnTo>
                    <a:pt x="104318" y="0"/>
                  </a:lnTo>
                  <a:lnTo>
                    <a:pt x="0" y="39886"/>
                  </a:ln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4EA7FAA6-EC4C-4568-B82E-5CE6C1D6C3D2}"/>
                </a:ext>
              </a:extLst>
            </p:cNvPr>
            <p:cNvSpPr/>
            <p:nvPr/>
          </p:nvSpPr>
          <p:spPr>
            <a:xfrm>
              <a:off x="7726833" y="9663988"/>
              <a:ext cx="242044" cy="171674"/>
            </a:xfrm>
            <a:custGeom>
              <a:avLst/>
              <a:gdLst>
                <a:gd name="connsiteX0" fmla="*/ 98607 w 242044"/>
                <a:gd name="connsiteY0" fmla="*/ 170202 h 171674"/>
                <a:gd name="connsiteX1" fmla="*/ 230539 w 242044"/>
                <a:gd name="connsiteY1" fmla="*/ 151793 h 171674"/>
                <a:gd name="connsiteX2" fmla="*/ 239743 w 242044"/>
                <a:gd name="connsiteY2" fmla="*/ 47475 h 171674"/>
                <a:gd name="connsiteX3" fmla="*/ 6561 w 242044"/>
                <a:gd name="connsiteY3" fmla="*/ 10657 h 171674"/>
                <a:gd name="connsiteX4" fmla="*/ 9630 w 242044"/>
                <a:gd name="connsiteY4" fmla="*/ 53612 h 171674"/>
                <a:gd name="connsiteX5" fmla="*/ 6561 w 242044"/>
                <a:gd name="connsiteY5" fmla="*/ 102703 h 171674"/>
                <a:gd name="connsiteX6" fmla="*/ 28038 w 242044"/>
                <a:gd name="connsiteY6" fmla="*/ 127248 h 171674"/>
                <a:gd name="connsiteX7" fmla="*/ 64857 w 242044"/>
                <a:gd name="connsiteY7" fmla="*/ 157930 h 171674"/>
                <a:gd name="connsiteX8" fmla="*/ 98607 w 242044"/>
                <a:gd name="connsiteY8" fmla="*/ 170202 h 171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2044" h="171674">
                  <a:moveTo>
                    <a:pt x="98607" y="170202"/>
                  </a:moveTo>
                  <a:cubicBezTo>
                    <a:pt x="135425" y="170202"/>
                    <a:pt x="199857" y="179407"/>
                    <a:pt x="230539" y="151793"/>
                  </a:cubicBezTo>
                  <a:cubicBezTo>
                    <a:pt x="248948" y="133384"/>
                    <a:pt x="239743" y="50543"/>
                    <a:pt x="239743" y="47475"/>
                  </a:cubicBezTo>
                  <a:cubicBezTo>
                    <a:pt x="212129" y="-20025"/>
                    <a:pt x="61789" y="1452"/>
                    <a:pt x="6561" y="10657"/>
                  </a:cubicBezTo>
                  <a:cubicBezTo>
                    <a:pt x="-2643" y="13725"/>
                    <a:pt x="-2643" y="50543"/>
                    <a:pt x="9630" y="53612"/>
                  </a:cubicBezTo>
                  <a:cubicBezTo>
                    <a:pt x="28038" y="56680"/>
                    <a:pt x="3493" y="90429"/>
                    <a:pt x="6561" y="102703"/>
                  </a:cubicBezTo>
                  <a:cubicBezTo>
                    <a:pt x="9630" y="111907"/>
                    <a:pt x="24970" y="127248"/>
                    <a:pt x="28038" y="127248"/>
                  </a:cubicBezTo>
                  <a:cubicBezTo>
                    <a:pt x="37243" y="139520"/>
                    <a:pt x="61789" y="151793"/>
                    <a:pt x="64857" y="157930"/>
                  </a:cubicBezTo>
                  <a:cubicBezTo>
                    <a:pt x="67925" y="170202"/>
                    <a:pt x="74061" y="170202"/>
                    <a:pt x="98607" y="170202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" name="图形 1">
              <a:extLst>
                <a:ext uri="{FF2B5EF4-FFF2-40B4-BE49-F238E27FC236}">
                  <a16:creationId xmlns:a16="http://schemas.microsoft.com/office/drawing/2014/main" id="{E200A4F1-2FDF-4830-99BE-B4B591FB3AC5}"/>
                </a:ext>
              </a:extLst>
            </p:cNvPr>
            <p:cNvGrpSpPr/>
            <p:nvPr/>
          </p:nvGrpSpPr>
          <p:grpSpPr>
            <a:xfrm>
              <a:off x="7144304" y="9659304"/>
              <a:ext cx="1162840" cy="1454317"/>
              <a:chOff x="7144304" y="9659304"/>
              <a:chExt cx="1162840" cy="1454317"/>
            </a:xfrm>
          </p:grpSpPr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CFC63FFD-DC86-4690-B0CF-4B0A2C791796}"/>
                  </a:ext>
                </a:extLst>
              </p:cNvPr>
              <p:cNvSpPr/>
              <p:nvPr/>
            </p:nvSpPr>
            <p:spPr>
              <a:xfrm>
                <a:off x="7478735" y="9659304"/>
                <a:ext cx="431804" cy="420340"/>
              </a:xfrm>
              <a:custGeom>
                <a:avLst/>
                <a:gdLst>
                  <a:gd name="connsiteX0" fmla="*/ 6137 w 431804"/>
                  <a:gd name="connsiteY0" fmla="*/ 420340 h 420340"/>
                  <a:gd name="connsiteX1" fmla="*/ 6137 w 431804"/>
                  <a:gd name="connsiteY1" fmla="*/ 420340 h 420340"/>
                  <a:gd name="connsiteX2" fmla="*/ 0 w 431804"/>
                  <a:gd name="connsiteY2" fmla="*/ 414205 h 420340"/>
                  <a:gd name="connsiteX3" fmla="*/ 297614 w 431804"/>
                  <a:gd name="connsiteY3" fmla="*/ 0 h 420340"/>
                  <a:gd name="connsiteX4" fmla="*/ 297614 w 431804"/>
                  <a:gd name="connsiteY4" fmla="*/ 0 h 420340"/>
                  <a:gd name="connsiteX5" fmla="*/ 371250 w 431804"/>
                  <a:gd name="connsiteY5" fmla="*/ 33749 h 420340"/>
                  <a:gd name="connsiteX6" fmla="*/ 426478 w 431804"/>
                  <a:gd name="connsiteY6" fmla="*/ 414205 h 420340"/>
                  <a:gd name="connsiteX7" fmla="*/ 420341 w 431804"/>
                  <a:gd name="connsiteY7" fmla="*/ 420340 h 420340"/>
                  <a:gd name="connsiteX8" fmla="*/ 414205 w 431804"/>
                  <a:gd name="connsiteY8" fmla="*/ 414205 h 420340"/>
                  <a:gd name="connsiteX9" fmla="*/ 362046 w 431804"/>
                  <a:gd name="connsiteY9" fmla="*/ 42954 h 420340"/>
                  <a:gd name="connsiteX10" fmla="*/ 297614 w 431804"/>
                  <a:gd name="connsiteY10" fmla="*/ 12273 h 420340"/>
                  <a:gd name="connsiteX11" fmla="*/ 297614 w 431804"/>
                  <a:gd name="connsiteY11" fmla="*/ 12273 h 420340"/>
                  <a:gd name="connsiteX12" fmla="*/ 9205 w 431804"/>
                  <a:gd name="connsiteY12" fmla="*/ 420340 h 420340"/>
                  <a:gd name="connsiteX13" fmla="*/ 6137 w 431804"/>
                  <a:gd name="connsiteY13" fmla="*/ 420340 h 420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1804" h="420340">
                    <a:moveTo>
                      <a:pt x="6137" y="420340"/>
                    </a:moveTo>
                    <a:cubicBezTo>
                      <a:pt x="3068" y="420340"/>
                      <a:pt x="3068" y="420340"/>
                      <a:pt x="6137" y="420340"/>
                    </a:cubicBezTo>
                    <a:cubicBezTo>
                      <a:pt x="0" y="420340"/>
                      <a:pt x="0" y="414205"/>
                      <a:pt x="0" y="414205"/>
                    </a:cubicBezTo>
                    <a:cubicBezTo>
                      <a:pt x="6137" y="395795"/>
                      <a:pt x="150341" y="0"/>
                      <a:pt x="297614" y="0"/>
                    </a:cubicBezTo>
                    <a:cubicBezTo>
                      <a:pt x="297614" y="0"/>
                      <a:pt x="297614" y="0"/>
                      <a:pt x="297614" y="0"/>
                    </a:cubicBezTo>
                    <a:cubicBezTo>
                      <a:pt x="325227" y="0"/>
                      <a:pt x="349773" y="12273"/>
                      <a:pt x="371250" y="33749"/>
                    </a:cubicBezTo>
                    <a:cubicBezTo>
                      <a:pt x="457159" y="128863"/>
                      <a:pt x="426478" y="401931"/>
                      <a:pt x="426478" y="414205"/>
                    </a:cubicBezTo>
                    <a:cubicBezTo>
                      <a:pt x="426478" y="417272"/>
                      <a:pt x="423409" y="420340"/>
                      <a:pt x="420341" y="420340"/>
                    </a:cubicBezTo>
                    <a:cubicBezTo>
                      <a:pt x="417273" y="420340"/>
                      <a:pt x="414205" y="417272"/>
                      <a:pt x="414205" y="414205"/>
                    </a:cubicBezTo>
                    <a:cubicBezTo>
                      <a:pt x="414205" y="411136"/>
                      <a:pt x="444886" y="135000"/>
                      <a:pt x="362046" y="42954"/>
                    </a:cubicBezTo>
                    <a:cubicBezTo>
                      <a:pt x="343637" y="24545"/>
                      <a:pt x="322159" y="12273"/>
                      <a:pt x="297614" y="12273"/>
                    </a:cubicBezTo>
                    <a:cubicBezTo>
                      <a:pt x="297614" y="12273"/>
                      <a:pt x="297614" y="12273"/>
                      <a:pt x="297614" y="12273"/>
                    </a:cubicBezTo>
                    <a:cubicBezTo>
                      <a:pt x="159546" y="12273"/>
                      <a:pt x="12273" y="414205"/>
                      <a:pt x="9205" y="420340"/>
                    </a:cubicBezTo>
                    <a:cubicBezTo>
                      <a:pt x="9205" y="417272"/>
                      <a:pt x="6137" y="420340"/>
                      <a:pt x="6137" y="42034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25" name="图形 1">
                <a:extLst>
                  <a:ext uri="{FF2B5EF4-FFF2-40B4-BE49-F238E27FC236}">
                    <a16:creationId xmlns:a16="http://schemas.microsoft.com/office/drawing/2014/main" id="{58531B23-B9C4-4868-B73C-85BADBE921B9}"/>
                  </a:ext>
                </a:extLst>
              </p:cNvPr>
              <p:cNvGrpSpPr/>
              <p:nvPr/>
            </p:nvGrpSpPr>
            <p:grpSpPr>
              <a:xfrm>
                <a:off x="7144304" y="9969190"/>
                <a:ext cx="1162840" cy="1144432"/>
                <a:chOff x="7144304" y="9969190"/>
                <a:chExt cx="1162840" cy="1144432"/>
              </a:xfrm>
            </p:grpSpPr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0A7CF019-5F99-4BF9-9057-217E22D673C5}"/>
                    </a:ext>
                  </a:extLst>
                </p:cNvPr>
                <p:cNvSpPr/>
                <p:nvPr/>
              </p:nvSpPr>
              <p:spPr>
                <a:xfrm>
                  <a:off x="7297713" y="9987599"/>
                  <a:ext cx="1009431" cy="1126023"/>
                </a:xfrm>
                <a:custGeom>
                  <a:avLst/>
                  <a:gdLst>
                    <a:gd name="connsiteX0" fmla="*/ 98182 w 1009431"/>
                    <a:gd name="connsiteY0" fmla="*/ 0 h 1126023"/>
                    <a:gd name="connsiteX1" fmla="*/ 0 w 1009431"/>
                    <a:gd name="connsiteY1" fmla="*/ 1126023 h 1126023"/>
                    <a:gd name="connsiteX2" fmla="*/ 1009432 w 1009431"/>
                    <a:gd name="connsiteY2" fmla="*/ 1092273 h 1126023"/>
                    <a:gd name="connsiteX3" fmla="*/ 914318 w 1009431"/>
                    <a:gd name="connsiteY3" fmla="*/ 6137 h 1126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09431" h="1126023">
                      <a:moveTo>
                        <a:pt x="98182" y="0"/>
                      </a:moveTo>
                      <a:lnTo>
                        <a:pt x="0" y="1126023"/>
                      </a:lnTo>
                      <a:lnTo>
                        <a:pt x="1009432" y="1092273"/>
                      </a:lnTo>
                      <a:lnTo>
                        <a:pt x="914318" y="6137"/>
                      </a:lnTo>
                      <a:close/>
                    </a:path>
                  </a:pathLst>
                </a:custGeom>
                <a:solidFill>
                  <a:srgbClr val="708686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BE1F55BA-D00B-4415-99A3-91EDE054FD64}"/>
                    </a:ext>
                  </a:extLst>
                </p:cNvPr>
                <p:cNvSpPr/>
                <p:nvPr/>
              </p:nvSpPr>
              <p:spPr>
                <a:xfrm>
                  <a:off x="7276236" y="9969190"/>
                  <a:ext cx="935795" cy="24546"/>
                </a:xfrm>
                <a:custGeom>
                  <a:avLst/>
                  <a:gdLst>
                    <a:gd name="connsiteX0" fmla="*/ 935795 w 935795"/>
                    <a:gd name="connsiteY0" fmla="*/ 24546 h 24546"/>
                    <a:gd name="connsiteX1" fmla="*/ 733295 w 935795"/>
                    <a:gd name="connsiteY1" fmla="*/ 0 h 24546"/>
                    <a:gd name="connsiteX2" fmla="*/ 0 w 935795"/>
                    <a:gd name="connsiteY2" fmla="*/ 3068 h 24546"/>
                    <a:gd name="connsiteX3" fmla="*/ 119659 w 935795"/>
                    <a:gd name="connsiteY3" fmla="*/ 18409 h 24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35795" h="24546">
                      <a:moveTo>
                        <a:pt x="935795" y="24546"/>
                      </a:moveTo>
                      <a:lnTo>
                        <a:pt x="733295" y="0"/>
                      </a:lnTo>
                      <a:lnTo>
                        <a:pt x="0" y="3068"/>
                      </a:lnTo>
                      <a:lnTo>
                        <a:pt x="119659" y="18409"/>
                      </a:lnTo>
                      <a:close/>
                    </a:path>
                  </a:pathLst>
                </a:custGeom>
                <a:solidFill>
                  <a:srgbClr val="637777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0E3899AB-A2C9-480F-8300-F2D278AD2B09}"/>
                    </a:ext>
                  </a:extLst>
                </p:cNvPr>
                <p:cNvSpPr/>
                <p:nvPr/>
              </p:nvSpPr>
              <p:spPr>
                <a:xfrm>
                  <a:off x="7144304" y="9972258"/>
                  <a:ext cx="251590" cy="1141364"/>
                </a:xfrm>
                <a:custGeom>
                  <a:avLst/>
                  <a:gdLst>
                    <a:gd name="connsiteX0" fmla="*/ 0 w 251590"/>
                    <a:gd name="connsiteY0" fmla="*/ 1037046 h 1141364"/>
                    <a:gd name="connsiteX1" fmla="*/ 153409 w 251590"/>
                    <a:gd name="connsiteY1" fmla="*/ 1141364 h 1141364"/>
                    <a:gd name="connsiteX2" fmla="*/ 251591 w 251590"/>
                    <a:gd name="connsiteY2" fmla="*/ 15341 h 1141364"/>
                    <a:gd name="connsiteX3" fmla="*/ 131932 w 251590"/>
                    <a:gd name="connsiteY3" fmla="*/ 0 h 11413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1590" h="1141364">
                      <a:moveTo>
                        <a:pt x="0" y="1037046"/>
                      </a:moveTo>
                      <a:lnTo>
                        <a:pt x="153409" y="1141364"/>
                      </a:lnTo>
                      <a:lnTo>
                        <a:pt x="251591" y="15341"/>
                      </a:lnTo>
                      <a:lnTo>
                        <a:pt x="131932" y="0"/>
                      </a:lnTo>
                      <a:close/>
                    </a:path>
                  </a:pathLst>
                </a:custGeom>
                <a:solidFill>
                  <a:srgbClr val="637777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F28398F5-4631-4858-8E5A-3910AF9D79AE}"/>
                  </a:ext>
                </a:extLst>
              </p:cNvPr>
              <p:cNvSpPr/>
              <p:nvPr/>
            </p:nvSpPr>
            <p:spPr>
              <a:xfrm>
                <a:off x="7564644" y="9659304"/>
                <a:ext cx="423409" cy="420340"/>
              </a:xfrm>
              <a:custGeom>
                <a:avLst/>
                <a:gdLst>
                  <a:gd name="connsiteX0" fmla="*/ 6136 w 423409"/>
                  <a:gd name="connsiteY0" fmla="*/ 420340 h 420340"/>
                  <a:gd name="connsiteX1" fmla="*/ 6136 w 423409"/>
                  <a:gd name="connsiteY1" fmla="*/ 420340 h 420340"/>
                  <a:gd name="connsiteX2" fmla="*/ 0 w 423409"/>
                  <a:gd name="connsiteY2" fmla="*/ 414205 h 420340"/>
                  <a:gd name="connsiteX3" fmla="*/ 211705 w 423409"/>
                  <a:gd name="connsiteY3" fmla="*/ 0 h 420340"/>
                  <a:gd name="connsiteX4" fmla="*/ 211705 w 423409"/>
                  <a:gd name="connsiteY4" fmla="*/ 0 h 420340"/>
                  <a:gd name="connsiteX5" fmla="*/ 423409 w 423409"/>
                  <a:gd name="connsiteY5" fmla="*/ 411136 h 420340"/>
                  <a:gd name="connsiteX6" fmla="*/ 417273 w 423409"/>
                  <a:gd name="connsiteY6" fmla="*/ 417272 h 420340"/>
                  <a:gd name="connsiteX7" fmla="*/ 411137 w 423409"/>
                  <a:gd name="connsiteY7" fmla="*/ 411136 h 420340"/>
                  <a:gd name="connsiteX8" fmla="*/ 208636 w 423409"/>
                  <a:gd name="connsiteY8" fmla="*/ 9204 h 420340"/>
                  <a:gd name="connsiteX9" fmla="*/ 208636 w 423409"/>
                  <a:gd name="connsiteY9" fmla="*/ 9204 h 420340"/>
                  <a:gd name="connsiteX10" fmla="*/ 6136 w 423409"/>
                  <a:gd name="connsiteY10" fmla="*/ 414205 h 420340"/>
                  <a:gd name="connsiteX11" fmla="*/ 6136 w 423409"/>
                  <a:gd name="connsiteY11" fmla="*/ 420340 h 420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23409" h="420340">
                    <a:moveTo>
                      <a:pt x="6136" y="420340"/>
                    </a:moveTo>
                    <a:cubicBezTo>
                      <a:pt x="3068" y="420340"/>
                      <a:pt x="3068" y="420340"/>
                      <a:pt x="6136" y="420340"/>
                    </a:cubicBezTo>
                    <a:cubicBezTo>
                      <a:pt x="3068" y="420340"/>
                      <a:pt x="0" y="417272"/>
                      <a:pt x="0" y="414205"/>
                    </a:cubicBezTo>
                    <a:cubicBezTo>
                      <a:pt x="3068" y="395795"/>
                      <a:pt x="64432" y="0"/>
                      <a:pt x="211705" y="0"/>
                    </a:cubicBezTo>
                    <a:cubicBezTo>
                      <a:pt x="211705" y="0"/>
                      <a:pt x="211705" y="0"/>
                      <a:pt x="211705" y="0"/>
                    </a:cubicBezTo>
                    <a:cubicBezTo>
                      <a:pt x="383523" y="0"/>
                      <a:pt x="423409" y="395795"/>
                      <a:pt x="423409" y="411136"/>
                    </a:cubicBezTo>
                    <a:cubicBezTo>
                      <a:pt x="423409" y="414205"/>
                      <a:pt x="420341" y="417272"/>
                      <a:pt x="417273" y="417272"/>
                    </a:cubicBezTo>
                    <a:cubicBezTo>
                      <a:pt x="414205" y="417272"/>
                      <a:pt x="411137" y="414205"/>
                      <a:pt x="411137" y="411136"/>
                    </a:cubicBezTo>
                    <a:cubicBezTo>
                      <a:pt x="411137" y="408068"/>
                      <a:pt x="371250" y="9204"/>
                      <a:pt x="208636" y="9204"/>
                    </a:cubicBezTo>
                    <a:cubicBezTo>
                      <a:pt x="208636" y="9204"/>
                      <a:pt x="208636" y="9204"/>
                      <a:pt x="208636" y="9204"/>
                    </a:cubicBezTo>
                    <a:cubicBezTo>
                      <a:pt x="70568" y="9204"/>
                      <a:pt x="9205" y="411136"/>
                      <a:pt x="6136" y="414205"/>
                    </a:cubicBezTo>
                    <a:cubicBezTo>
                      <a:pt x="9205" y="417272"/>
                      <a:pt x="6136" y="420340"/>
                      <a:pt x="6136" y="42034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F6955DE3-22EF-4D41-8EA3-587764E84D13}"/>
                  </a:ext>
                </a:extLst>
              </p:cNvPr>
              <p:cNvSpPr/>
              <p:nvPr/>
            </p:nvSpPr>
            <p:spPr>
              <a:xfrm>
                <a:off x="7540099" y="10042827"/>
                <a:ext cx="61363" cy="61363"/>
              </a:xfrm>
              <a:custGeom>
                <a:avLst/>
                <a:gdLst>
                  <a:gd name="connsiteX0" fmla="*/ 30682 w 61363"/>
                  <a:gd name="connsiteY0" fmla="*/ 61364 h 61363"/>
                  <a:gd name="connsiteX1" fmla="*/ 0 w 61363"/>
                  <a:gd name="connsiteY1" fmla="*/ 30682 h 61363"/>
                  <a:gd name="connsiteX2" fmla="*/ 30682 w 61363"/>
                  <a:gd name="connsiteY2" fmla="*/ 0 h 61363"/>
                  <a:gd name="connsiteX3" fmla="*/ 61364 w 61363"/>
                  <a:gd name="connsiteY3" fmla="*/ 30682 h 61363"/>
                  <a:gd name="connsiteX4" fmla="*/ 30682 w 61363"/>
                  <a:gd name="connsiteY4" fmla="*/ 61364 h 61363"/>
                  <a:gd name="connsiteX5" fmla="*/ 30682 w 61363"/>
                  <a:gd name="connsiteY5" fmla="*/ 9204 h 61363"/>
                  <a:gd name="connsiteX6" fmla="*/ 12273 w 61363"/>
                  <a:gd name="connsiteY6" fmla="*/ 27613 h 61363"/>
                  <a:gd name="connsiteX7" fmla="*/ 30682 w 61363"/>
                  <a:gd name="connsiteY7" fmla="*/ 46023 h 61363"/>
                  <a:gd name="connsiteX8" fmla="*/ 49091 w 61363"/>
                  <a:gd name="connsiteY8" fmla="*/ 27613 h 61363"/>
                  <a:gd name="connsiteX9" fmla="*/ 30682 w 61363"/>
                  <a:gd name="connsiteY9" fmla="*/ 9204 h 61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363" h="61363">
                    <a:moveTo>
                      <a:pt x="30682" y="61364"/>
                    </a:moveTo>
                    <a:cubicBezTo>
                      <a:pt x="12273" y="61364"/>
                      <a:pt x="0" y="46023"/>
                      <a:pt x="0" y="30682"/>
                    </a:cubicBezTo>
                    <a:cubicBezTo>
                      <a:pt x="0" y="12273"/>
                      <a:pt x="15341" y="0"/>
                      <a:pt x="30682" y="0"/>
                    </a:cubicBezTo>
                    <a:cubicBezTo>
                      <a:pt x="49091" y="0"/>
                      <a:pt x="61364" y="15341"/>
                      <a:pt x="61364" y="30682"/>
                    </a:cubicBezTo>
                    <a:cubicBezTo>
                      <a:pt x="61364" y="46023"/>
                      <a:pt x="46023" y="61364"/>
                      <a:pt x="30682" y="61364"/>
                    </a:cubicBezTo>
                    <a:close/>
                    <a:moveTo>
                      <a:pt x="30682" y="9204"/>
                    </a:moveTo>
                    <a:cubicBezTo>
                      <a:pt x="18409" y="9204"/>
                      <a:pt x="12273" y="18408"/>
                      <a:pt x="12273" y="27613"/>
                    </a:cubicBezTo>
                    <a:cubicBezTo>
                      <a:pt x="12273" y="39886"/>
                      <a:pt x="21478" y="46023"/>
                      <a:pt x="30682" y="46023"/>
                    </a:cubicBezTo>
                    <a:cubicBezTo>
                      <a:pt x="42955" y="46023"/>
                      <a:pt x="49091" y="36818"/>
                      <a:pt x="49091" y="27613"/>
                    </a:cubicBezTo>
                    <a:cubicBezTo>
                      <a:pt x="49091" y="18408"/>
                      <a:pt x="39886" y="9204"/>
                      <a:pt x="30682" y="920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8EB9CB29-D6F1-4449-AF24-1E85094D7D0D}"/>
                  </a:ext>
                </a:extLst>
              </p:cNvPr>
              <p:cNvSpPr/>
              <p:nvPr/>
            </p:nvSpPr>
            <p:spPr>
              <a:xfrm>
                <a:off x="7954303" y="10042827"/>
                <a:ext cx="61363" cy="61363"/>
              </a:xfrm>
              <a:custGeom>
                <a:avLst/>
                <a:gdLst>
                  <a:gd name="connsiteX0" fmla="*/ 30682 w 61363"/>
                  <a:gd name="connsiteY0" fmla="*/ 61364 h 61363"/>
                  <a:gd name="connsiteX1" fmla="*/ 0 w 61363"/>
                  <a:gd name="connsiteY1" fmla="*/ 30682 h 61363"/>
                  <a:gd name="connsiteX2" fmla="*/ 30682 w 61363"/>
                  <a:gd name="connsiteY2" fmla="*/ 0 h 61363"/>
                  <a:gd name="connsiteX3" fmla="*/ 61364 w 61363"/>
                  <a:gd name="connsiteY3" fmla="*/ 30682 h 61363"/>
                  <a:gd name="connsiteX4" fmla="*/ 30682 w 61363"/>
                  <a:gd name="connsiteY4" fmla="*/ 61364 h 61363"/>
                  <a:gd name="connsiteX5" fmla="*/ 30682 w 61363"/>
                  <a:gd name="connsiteY5" fmla="*/ 9204 h 61363"/>
                  <a:gd name="connsiteX6" fmla="*/ 12273 w 61363"/>
                  <a:gd name="connsiteY6" fmla="*/ 27613 h 61363"/>
                  <a:gd name="connsiteX7" fmla="*/ 30682 w 61363"/>
                  <a:gd name="connsiteY7" fmla="*/ 46023 h 61363"/>
                  <a:gd name="connsiteX8" fmla="*/ 49091 w 61363"/>
                  <a:gd name="connsiteY8" fmla="*/ 27613 h 61363"/>
                  <a:gd name="connsiteX9" fmla="*/ 30682 w 61363"/>
                  <a:gd name="connsiteY9" fmla="*/ 9204 h 61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363" h="61363">
                    <a:moveTo>
                      <a:pt x="30682" y="61364"/>
                    </a:moveTo>
                    <a:cubicBezTo>
                      <a:pt x="12273" y="61364"/>
                      <a:pt x="0" y="46023"/>
                      <a:pt x="0" y="30682"/>
                    </a:cubicBezTo>
                    <a:cubicBezTo>
                      <a:pt x="0" y="12273"/>
                      <a:pt x="15341" y="0"/>
                      <a:pt x="30682" y="0"/>
                    </a:cubicBezTo>
                    <a:cubicBezTo>
                      <a:pt x="49091" y="0"/>
                      <a:pt x="61364" y="15341"/>
                      <a:pt x="61364" y="30682"/>
                    </a:cubicBezTo>
                    <a:cubicBezTo>
                      <a:pt x="61364" y="46023"/>
                      <a:pt x="46023" y="61364"/>
                      <a:pt x="30682" y="61364"/>
                    </a:cubicBezTo>
                    <a:close/>
                    <a:moveTo>
                      <a:pt x="30682" y="9204"/>
                    </a:moveTo>
                    <a:cubicBezTo>
                      <a:pt x="18409" y="9204"/>
                      <a:pt x="12273" y="18408"/>
                      <a:pt x="12273" y="27613"/>
                    </a:cubicBezTo>
                    <a:cubicBezTo>
                      <a:pt x="12273" y="39886"/>
                      <a:pt x="21478" y="46023"/>
                      <a:pt x="30682" y="46023"/>
                    </a:cubicBezTo>
                    <a:cubicBezTo>
                      <a:pt x="42955" y="46023"/>
                      <a:pt x="49091" y="36818"/>
                      <a:pt x="49091" y="27613"/>
                    </a:cubicBezTo>
                    <a:cubicBezTo>
                      <a:pt x="49091" y="18408"/>
                      <a:pt x="39886" y="9204"/>
                      <a:pt x="30682" y="920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图形 1">
              <a:extLst>
                <a:ext uri="{FF2B5EF4-FFF2-40B4-BE49-F238E27FC236}">
                  <a16:creationId xmlns:a16="http://schemas.microsoft.com/office/drawing/2014/main" id="{3E61433F-34EC-4139-98CE-2BDDB1A66DF0}"/>
                </a:ext>
              </a:extLst>
            </p:cNvPr>
            <p:cNvGrpSpPr/>
            <p:nvPr/>
          </p:nvGrpSpPr>
          <p:grpSpPr>
            <a:xfrm>
              <a:off x="7680273" y="9660437"/>
              <a:ext cx="182390" cy="174228"/>
              <a:chOff x="7680273" y="9660437"/>
              <a:chExt cx="182390" cy="174228"/>
            </a:xfrm>
          </p:grpSpPr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D3FFA9D5-EF79-43BF-A102-49FD7977B0BD}"/>
                  </a:ext>
                </a:extLst>
              </p:cNvPr>
              <p:cNvSpPr/>
              <p:nvPr/>
            </p:nvSpPr>
            <p:spPr>
              <a:xfrm>
                <a:off x="7680273" y="9668509"/>
                <a:ext cx="142099" cy="73636"/>
              </a:xfrm>
              <a:custGeom>
                <a:avLst/>
                <a:gdLst>
                  <a:gd name="connsiteX0" fmla="*/ 4031 w 142099"/>
                  <a:gd name="connsiteY0" fmla="*/ 33750 h 73636"/>
                  <a:gd name="connsiteX1" fmla="*/ 86872 w 142099"/>
                  <a:gd name="connsiteY1" fmla="*/ 6137 h 73636"/>
                  <a:gd name="connsiteX2" fmla="*/ 99144 w 142099"/>
                  <a:gd name="connsiteY2" fmla="*/ 0 h 73636"/>
                  <a:gd name="connsiteX3" fmla="*/ 114485 w 142099"/>
                  <a:gd name="connsiteY3" fmla="*/ 0 h 73636"/>
                  <a:gd name="connsiteX4" fmla="*/ 142099 w 142099"/>
                  <a:gd name="connsiteY4" fmla="*/ 33750 h 73636"/>
                  <a:gd name="connsiteX5" fmla="*/ 108349 w 142099"/>
                  <a:gd name="connsiteY5" fmla="*/ 58295 h 73636"/>
                  <a:gd name="connsiteX6" fmla="*/ 53122 w 142099"/>
                  <a:gd name="connsiteY6" fmla="*/ 70568 h 73636"/>
                  <a:gd name="connsiteX7" fmla="*/ 10167 w 142099"/>
                  <a:gd name="connsiteY7" fmla="*/ 67500 h 73636"/>
                  <a:gd name="connsiteX8" fmla="*/ 4031 w 142099"/>
                  <a:gd name="connsiteY8" fmla="*/ 33750 h 73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2099" h="73636">
                    <a:moveTo>
                      <a:pt x="4031" y="33750"/>
                    </a:moveTo>
                    <a:cubicBezTo>
                      <a:pt x="22440" y="15341"/>
                      <a:pt x="56190" y="12273"/>
                      <a:pt x="86872" y="6137"/>
                    </a:cubicBezTo>
                    <a:cubicBezTo>
                      <a:pt x="89940" y="6137"/>
                      <a:pt x="96076" y="0"/>
                      <a:pt x="99144" y="0"/>
                    </a:cubicBezTo>
                    <a:cubicBezTo>
                      <a:pt x="105281" y="0"/>
                      <a:pt x="108349" y="0"/>
                      <a:pt x="114485" y="0"/>
                    </a:cubicBezTo>
                    <a:cubicBezTo>
                      <a:pt x="129826" y="3068"/>
                      <a:pt x="142099" y="18409"/>
                      <a:pt x="142099" y="33750"/>
                    </a:cubicBezTo>
                    <a:cubicBezTo>
                      <a:pt x="142099" y="49091"/>
                      <a:pt x="120622" y="52159"/>
                      <a:pt x="108349" y="58295"/>
                    </a:cubicBezTo>
                    <a:cubicBezTo>
                      <a:pt x="89940" y="64432"/>
                      <a:pt x="71531" y="67500"/>
                      <a:pt x="53122" y="70568"/>
                    </a:cubicBezTo>
                    <a:cubicBezTo>
                      <a:pt x="40849" y="73636"/>
                      <a:pt x="25508" y="76705"/>
                      <a:pt x="10167" y="67500"/>
                    </a:cubicBezTo>
                    <a:cubicBezTo>
                      <a:pt x="-2106" y="58295"/>
                      <a:pt x="-2106" y="42954"/>
                      <a:pt x="4031" y="33750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AA8F6E25-CD3D-4BD9-8789-3B2A73325879}"/>
                  </a:ext>
                </a:extLst>
              </p:cNvPr>
              <p:cNvSpPr/>
              <p:nvPr/>
            </p:nvSpPr>
            <p:spPr>
              <a:xfrm>
                <a:off x="7711152" y="9705327"/>
                <a:ext cx="144970" cy="73636"/>
              </a:xfrm>
              <a:custGeom>
                <a:avLst/>
                <a:gdLst>
                  <a:gd name="connsiteX0" fmla="*/ 3834 w 144970"/>
                  <a:gd name="connsiteY0" fmla="*/ 33749 h 73636"/>
                  <a:gd name="connsiteX1" fmla="*/ 92811 w 144970"/>
                  <a:gd name="connsiteY1" fmla="*/ 0 h 73636"/>
                  <a:gd name="connsiteX2" fmla="*/ 102016 w 144970"/>
                  <a:gd name="connsiteY2" fmla="*/ 0 h 73636"/>
                  <a:gd name="connsiteX3" fmla="*/ 117357 w 144970"/>
                  <a:gd name="connsiteY3" fmla="*/ 0 h 73636"/>
                  <a:gd name="connsiteX4" fmla="*/ 144970 w 144970"/>
                  <a:gd name="connsiteY4" fmla="*/ 33749 h 73636"/>
                  <a:gd name="connsiteX5" fmla="*/ 111220 w 144970"/>
                  <a:gd name="connsiteY5" fmla="*/ 58295 h 73636"/>
                  <a:gd name="connsiteX6" fmla="*/ 55993 w 144970"/>
                  <a:gd name="connsiteY6" fmla="*/ 70568 h 73636"/>
                  <a:gd name="connsiteX7" fmla="*/ 13038 w 144970"/>
                  <a:gd name="connsiteY7" fmla="*/ 67499 h 73636"/>
                  <a:gd name="connsiteX8" fmla="*/ 3834 w 144970"/>
                  <a:gd name="connsiteY8" fmla="*/ 33749 h 73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970" h="73636">
                    <a:moveTo>
                      <a:pt x="3834" y="33749"/>
                    </a:moveTo>
                    <a:cubicBezTo>
                      <a:pt x="22243" y="6136"/>
                      <a:pt x="62129" y="9204"/>
                      <a:pt x="92811" y="0"/>
                    </a:cubicBezTo>
                    <a:cubicBezTo>
                      <a:pt x="95879" y="0"/>
                      <a:pt x="98947" y="0"/>
                      <a:pt x="102016" y="0"/>
                    </a:cubicBezTo>
                    <a:cubicBezTo>
                      <a:pt x="108152" y="0"/>
                      <a:pt x="111220" y="0"/>
                      <a:pt x="117357" y="0"/>
                    </a:cubicBezTo>
                    <a:cubicBezTo>
                      <a:pt x="132698" y="3067"/>
                      <a:pt x="144970" y="18408"/>
                      <a:pt x="144970" y="33749"/>
                    </a:cubicBezTo>
                    <a:cubicBezTo>
                      <a:pt x="144970" y="49090"/>
                      <a:pt x="123493" y="52159"/>
                      <a:pt x="111220" y="58295"/>
                    </a:cubicBezTo>
                    <a:cubicBezTo>
                      <a:pt x="92811" y="64431"/>
                      <a:pt x="74402" y="67499"/>
                      <a:pt x="55993" y="70568"/>
                    </a:cubicBezTo>
                    <a:cubicBezTo>
                      <a:pt x="43720" y="73636"/>
                      <a:pt x="28379" y="76705"/>
                      <a:pt x="13038" y="67499"/>
                    </a:cubicBezTo>
                    <a:cubicBezTo>
                      <a:pt x="-2303" y="55227"/>
                      <a:pt x="-2303" y="42954"/>
                      <a:pt x="3834" y="3374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5988AC9A-E3BD-42DB-82D8-06F56AEB380E}"/>
                  </a:ext>
                </a:extLst>
              </p:cNvPr>
              <p:cNvSpPr/>
              <p:nvPr/>
            </p:nvSpPr>
            <p:spPr>
              <a:xfrm>
                <a:off x="7735254" y="9745213"/>
                <a:ext cx="123935" cy="64432"/>
              </a:xfrm>
              <a:custGeom>
                <a:avLst/>
                <a:gdLst>
                  <a:gd name="connsiteX0" fmla="*/ 4277 w 123935"/>
                  <a:gd name="connsiteY0" fmla="*/ 30682 h 64432"/>
                  <a:gd name="connsiteX1" fmla="*/ 80981 w 123935"/>
                  <a:gd name="connsiteY1" fmla="*/ 0 h 64432"/>
                  <a:gd name="connsiteX2" fmla="*/ 87118 w 123935"/>
                  <a:gd name="connsiteY2" fmla="*/ 0 h 64432"/>
                  <a:gd name="connsiteX3" fmla="*/ 99390 w 123935"/>
                  <a:gd name="connsiteY3" fmla="*/ 0 h 64432"/>
                  <a:gd name="connsiteX4" fmla="*/ 123936 w 123935"/>
                  <a:gd name="connsiteY4" fmla="*/ 27613 h 64432"/>
                  <a:gd name="connsiteX5" fmla="*/ 93254 w 123935"/>
                  <a:gd name="connsiteY5" fmla="*/ 49091 h 64432"/>
                  <a:gd name="connsiteX6" fmla="*/ 44163 w 123935"/>
                  <a:gd name="connsiteY6" fmla="*/ 61364 h 64432"/>
                  <a:gd name="connsiteX7" fmla="*/ 7345 w 123935"/>
                  <a:gd name="connsiteY7" fmla="*/ 58295 h 64432"/>
                  <a:gd name="connsiteX8" fmla="*/ 4277 w 123935"/>
                  <a:gd name="connsiteY8" fmla="*/ 30682 h 6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935" h="64432">
                    <a:moveTo>
                      <a:pt x="4277" y="30682"/>
                    </a:moveTo>
                    <a:cubicBezTo>
                      <a:pt x="19617" y="6137"/>
                      <a:pt x="53368" y="6137"/>
                      <a:pt x="80981" y="0"/>
                    </a:cubicBezTo>
                    <a:cubicBezTo>
                      <a:pt x="84049" y="0"/>
                      <a:pt x="84049" y="0"/>
                      <a:pt x="87118" y="0"/>
                    </a:cubicBezTo>
                    <a:cubicBezTo>
                      <a:pt x="90186" y="0"/>
                      <a:pt x="96322" y="0"/>
                      <a:pt x="99390" y="0"/>
                    </a:cubicBezTo>
                    <a:cubicBezTo>
                      <a:pt x="111663" y="3068"/>
                      <a:pt x="123936" y="15341"/>
                      <a:pt x="123936" y="27613"/>
                    </a:cubicBezTo>
                    <a:cubicBezTo>
                      <a:pt x="123936" y="42954"/>
                      <a:pt x="105527" y="46023"/>
                      <a:pt x="93254" y="49091"/>
                    </a:cubicBezTo>
                    <a:cubicBezTo>
                      <a:pt x="77913" y="55227"/>
                      <a:pt x="62572" y="58295"/>
                      <a:pt x="44163" y="61364"/>
                    </a:cubicBezTo>
                    <a:cubicBezTo>
                      <a:pt x="34958" y="64432"/>
                      <a:pt x="19617" y="67500"/>
                      <a:pt x="7345" y="58295"/>
                    </a:cubicBezTo>
                    <a:cubicBezTo>
                      <a:pt x="-1860" y="52159"/>
                      <a:pt x="-1860" y="39886"/>
                      <a:pt x="4277" y="3068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81893BD3-1A34-4025-9ECB-2BC5B5531837}"/>
                  </a:ext>
                </a:extLst>
              </p:cNvPr>
              <p:cNvSpPr/>
              <p:nvPr/>
            </p:nvSpPr>
            <p:spPr>
              <a:xfrm>
                <a:off x="7765129" y="9785099"/>
                <a:ext cx="90992" cy="49565"/>
              </a:xfrm>
              <a:custGeom>
                <a:avLst/>
                <a:gdLst>
                  <a:gd name="connsiteX0" fmla="*/ 2016 w 90992"/>
                  <a:gd name="connsiteY0" fmla="*/ 24546 h 49565"/>
                  <a:gd name="connsiteX1" fmla="*/ 57243 w 90992"/>
                  <a:gd name="connsiteY1" fmla="*/ 0 h 49565"/>
                  <a:gd name="connsiteX2" fmla="*/ 63379 w 90992"/>
                  <a:gd name="connsiteY2" fmla="*/ 0 h 49565"/>
                  <a:gd name="connsiteX3" fmla="*/ 72584 w 90992"/>
                  <a:gd name="connsiteY3" fmla="*/ 0 h 49565"/>
                  <a:gd name="connsiteX4" fmla="*/ 90993 w 90992"/>
                  <a:gd name="connsiteY4" fmla="*/ 21478 h 49565"/>
                  <a:gd name="connsiteX5" fmla="*/ 69515 w 90992"/>
                  <a:gd name="connsiteY5" fmla="*/ 36819 h 49565"/>
                  <a:gd name="connsiteX6" fmla="*/ 32697 w 90992"/>
                  <a:gd name="connsiteY6" fmla="*/ 46023 h 49565"/>
                  <a:gd name="connsiteX7" fmla="*/ 5083 w 90992"/>
                  <a:gd name="connsiteY7" fmla="*/ 46023 h 49565"/>
                  <a:gd name="connsiteX8" fmla="*/ 2016 w 90992"/>
                  <a:gd name="connsiteY8" fmla="*/ 24546 h 49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0992" h="49565">
                    <a:moveTo>
                      <a:pt x="2016" y="24546"/>
                    </a:moveTo>
                    <a:cubicBezTo>
                      <a:pt x="14288" y="6137"/>
                      <a:pt x="38834" y="6137"/>
                      <a:pt x="57243" y="0"/>
                    </a:cubicBezTo>
                    <a:cubicBezTo>
                      <a:pt x="60311" y="0"/>
                      <a:pt x="60311" y="0"/>
                      <a:pt x="63379" y="0"/>
                    </a:cubicBezTo>
                    <a:cubicBezTo>
                      <a:pt x="66447" y="0"/>
                      <a:pt x="69515" y="0"/>
                      <a:pt x="72584" y="0"/>
                    </a:cubicBezTo>
                    <a:cubicBezTo>
                      <a:pt x="81788" y="3068"/>
                      <a:pt x="90993" y="12273"/>
                      <a:pt x="90993" y="21478"/>
                    </a:cubicBezTo>
                    <a:cubicBezTo>
                      <a:pt x="90993" y="30682"/>
                      <a:pt x="78720" y="33750"/>
                      <a:pt x="69515" y="36819"/>
                    </a:cubicBezTo>
                    <a:cubicBezTo>
                      <a:pt x="57243" y="39887"/>
                      <a:pt x="44970" y="42955"/>
                      <a:pt x="32697" y="46023"/>
                    </a:cubicBezTo>
                    <a:cubicBezTo>
                      <a:pt x="23493" y="49091"/>
                      <a:pt x="14288" y="52159"/>
                      <a:pt x="5083" y="46023"/>
                    </a:cubicBezTo>
                    <a:cubicBezTo>
                      <a:pt x="-1053" y="39887"/>
                      <a:pt x="-1053" y="30682"/>
                      <a:pt x="2016" y="2454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D74DCCCF-7970-4842-B103-37482A319069}"/>
                  </a:ext>
                </a:extLst>
              </p:cNvPr>
              <p:cNvSpPr/>
              <p:nvPr/>
            </p:nvSpPr>
            <p:spPr>
              <a:xfrm>
                <a:off x="7703765" y="9660437"/>
                <a:ext cx="156288" cy="118526"/>
              </a:xfrm>
              <a:custGeom>
                <a:avLst/>
                <a:gdLst>
                  <a:gd name="connsiteX0" fmla="*/ 44970 w 156288"/>
                  <a:gd name="connsiteY0" fmla="*/ 118527 h 118526"/>
                  <a:gd name="connsiteX1" fmla="*/ 5083 w 156288"/>
                  <a:gd name="connsiteY1" fmla="*/ 100117 h 118526"/>
                  <a:gd name="connsiteX2" fmla="*/ 2016 w 156288"/>
                  <a:gd name="connsiteY2" fmla="*/ 78640 h 118526"/>
                  <a:gd name="connsiteX3" fmla="*/ 11220 w 156288"/>
                  <a:gd name="connsiteY3" fmla="*/ 69435 h 118526"/>
                  <a:gd name="connsiteX4" fmla="*/ 109402 w 156288"/>
                  <a:gd name="connsiteY4" fmla="*/ 38754 h 118526"/>
                  <a:gd name="connsiteX5" fmla="*/ 109402 w 156288"/>
                  <a:gd name="connsiteY5" fmla="*/ 23413 h 118526"/>
                  <a:gd name="connsiteX6" fmla="*/ 103266 w 156288"/>
                  <a:gd name="connsiteY6" fmla="*/ 17276 h 118526"/>
                  <a:gd name="connsiteX7" fmla="*/ 14288 w 156288"/>
                  <a:gd name="connsiteY7" fmla="*/ 29549 h 118526"/>
                  <a:gd name="connsiteX8" fmla="*/ 5083 w 156288"/>
                  <a:gd name="connsiteY8" fmla="*/ 26481 h 118526"/>
                  <a:gd name="connsiteX9" fmla="*/ 8152 w 156288"/>
                  <a:gd name="connsiteY9" fmla="*/ 17276 h 118526"/>
                  <a:gd name="connsiteX10" fmla="*/ 106334 w 156288"/>
                  <a:gd name="connsiteY10" fmla="*/ 5003 h 118526"/>
                  <a:gd name="connsiteX11" fmla="*/ 118607 w 156288"/>
                  <a:gd name="connsiteY11" fmla="*/ 20344 h 118526"/>
                  <a:gd name="connsiteX12" fmla="*/ 121674 w 156288"/>
                  <a:gd name="connsiteY12" fmla="*/ 32617 h 118526"/>
                  <a:gd name="connsiteX13" fmla="*/ 155425 w 156288"/>
                  <a:gd name="connsiteY13" fmla="*/ 63299 h 118526"/>
                  <a:gd name="connsiteX14" fmla="*/ 106334 w 156288"/>
                  <a:gd name="connsiteY14" fmla="*/ 103186 h 118526"/>
                  <a:gd name="connsiteX15" fmla="*/ 44970 w 156288"/>
                  <a:gd name="connsiteY15" fmla="*/ 118527 h 118526"/>
                  <a:gd name="connsiteX16" fmla="*/ 14288 w 156288"/>
                  <a:gd name="connsiteY16" fmla="*/ 84776 h 118526"/>
                  <a:gd name="connsiteX17" fmla="*/ 14288 w 156288"/>
                  <a:gd name="connsiteY17" fmla="*/ 84776 h 118526"/>
                  <a:gd name="connsiteX18" fmla="*/ 14288 w 156288"/>
                  <a:gd name="connsiteY18" fmla="*/ 97049 h 118526"/>
                  <a:gd name="connsiteX19" fmla="*/ 103266 w 156288"/>
                  <a:gd name="connsiteY19" fmla="*/ 97049 h 118526"/>
                  <a:gd name="connsiteX20" fmla="*/ 146220 w 156288"/>
                  <a:gd name="connsiteY20" fmla="*/ 69435 h 118526"/>
                  <a:gd name="connsiteX21" fmla="*/ 121674 w 156288"/>
                  <a:gd name="connsiteY21" fmla="*/ 47958 h 118526"/>
                  <a:gd name="connsiteX22" fmla="*/ 121674 w 156288"/>
                  <a:gd name="connsiteY22" fmla="*/ 47958 h 118526"/>
                  <a:gd name="connsiteX23" fmla="*/ 14288 w 156288"/>
                  <a:gd name="connsiteY23" fmla="*/ 84776 h 118526"/>
                  <a:gd name="connsiteX24" fmla="*/ 14288 w 156288"/>
                  <a:gd name="connsiteY24" fmla="*/ 84776 h 118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56288" h="118526">
                    <a:moveTo>
                      <a:pt x="44970" y="118527"/>
                    </a:moveTo>
                    <a:cubicBezTo>
                      <a:pt x="23493" y="118527"/>
                      <a:pt x="11220" y="112390"/>
                      <a:pt x="5083" y="100117"/>
                    </a:cubicBezTo>
                    <a:cubicBezTo>
                      <a:pt x="-1053" y="90913"/>
                      <a:pt x="-1053" y="84776"/>
                      <a:pt x="2016" y="78640"/>
                    </a:cubicBezTo>
                    <a:cubicBezTo>
                      <a:pt x="5083" y="72504"/>
                      <a:pt x="11220" y="69435"/>
                      <a:pt x="11220" y="69435"/>
                    </a:cubicBezTo>
                    <a:cubicBezTo>
                      <a:pt x="66447" y="60231"/>
                      <a:pt x="100197" y="51026"/>
                      <a:pt x="109402" y="38754"/>
                    </a:cubicBezTo>
                    <a:cubicBezTo>
                      <a:pt x="112470" y="35685"/>
                      <a:pt x="112470" y="29549"/>
                      <a:pt x="109402" y="23413"/>
                    </a:cubicBezTo>
                    <a:cubicBezTo>
                      <a:pt x="109402" y="20344"/>
                      <a:pt x="106334" y="17276"/>
                      <a:pt x="103266" y="17276"/>
                    </a:cubicBezTo>
                    <a:cubicBezTo>
                      <a:pt x="84856" y="8072"/>
                      <a:pt x="32697" y="23413"/>
                      <a:pt x="14288" y="29549"/>
                    </a:cubicBezTo>
                    <a:cubicBezTo>
                      <a:pt x="11220" y="29549"/>
                      <a:pt x="8152" y="29549"/>
                      <a:pt x="5083" y="26481"/>
                    </a:cubicBezTo>
                    <a:cubicBezTo>
                      <a:pt x="5083" y="23413"/>
                      <a:pt x="5083" y="20344"/>
                      <a:pt x="8152" y="17276"/>
                    </a:cubicBezTo>
                    <a:cubicBezTo>
                      <a:pt x="14288" y="14209"/>
                      <a:pt x="78720" y="-10337"/>
                      <a:pt x="106334" y="5003"/>
                    </a:cubicBezTo>
                    <a:cubicBezTo>
                      <a:pt x="112470" y="8072"/>
                      <a:pt x="115538" y="14209"/>
                      <a:pt x="118607" y="20344"/>
                    </a:cubicBezTo>
                    <a:cubicBezTo>
                      <a:pt x="118607" y="23413"/>
                      <a:pt x="121674" y="26481"/>
                      <a:pt x="121674" y="32617"/>
                    </a:cubicBezTo>
                    <a:cubicBezTo>
                      <a:pt x="124743" y="35685"/>
                      <a:pt x="149288" y="44890"/>
                      <a:pt x="155425" y="63299"/>
                    </a:cubicBezTo>
                    <a:cubicBezTo>
                      <a:pt x="161561" y="87845"/>
                      <a:pt x="133947" y="97049"/>
                      <a:pt x="106334" y="103186"/>
                    </a:cubicBezTo>
                    <a:cubicBezTo>
                      <a:pt x="81788" y="115458"/>
                      <a:pt x="60311" y="118527"/>
                      <a:pt x="44970" y="118527"/>
                    </a:cubicBezTo>
                    <a:close/>
                    <a:moveTo>
                      <a:pt x="14288" y="84776"/>
                    </a:moveTo>
                    <a:cubicBezTo>
                      <a:pt x="14288" y="84776"/>
                      <a:pt x="11220" y="84776"/>
                      <a:pt x="14288" y="84776"/>
                    </a:cubicBezTo>
                    <a:cubicBezTo>
                      <a:pt x="11220" y="87845"/>
                      <a:pt x="11220" y="90913"/>
                      <a:pt x="14288" y="97049"/>
                    </a:cubicBezTo>
                    <a:cubicBezTo>
                      <a:pt x="23493" y="112390"/>
                      <a:pt x="54175" y="112390"/>
                      <a:pt x="103266" y="97049"/>
                    </a:cubicBezTo>
                    <a:cubicBezTo>
                      <a:pt x="140084" y="87845"/>
                      <a:pt x="149288" y="81708"/>
                      <a:pt x="146220" y="69435"/>
                    </a:cubicBezTo>
                    <a:cubicBezTo>
                      <a:pt x="143152" y="60231"/>
                      <a:pt x="127811" y="51026"/>
                      <a:pt x="121674" y="47958"/>
                    </a:cubicBezTo>
                    <a:cubicBezTo>
                      <a:pt x="121674" y="47958"/>
                      <a:pt x="121674" y="47958"/>
                      <a:pt x="121674" y="47958"/>
                    </a:cubicBezTo>
                    <a:cubicBezTo>
                      <a:pt x="112470" y="57163"/>
                      <a:pt x="94061" y="72504"/>
                      <a:pt x="14288" y="84776"/>
                    </a:cubicBezTo>
                    <a:lnTo>
                      <a:pt x="14288" y="84776"/>
                    </a:ln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2A379D63-9D63-49F1-8EA8-E84487A8BA57}"/>
                  </a:ext>
                </a:extLst>
              </p:cNvPr>
              <p:cNvSpPr/>
              <p:nvPr/>
            </p:nvSpPr>
            <p:spPr>
              <a:xfrm>
                <a:off x="7731093" y="9739843"/>
                <a:ext cx="131570" cy="75937"/>
              </a:xfrm>
              <a:custGeom>
                <a:avLst/>
                <a:gdLst>
                  <a:gd name="connsiteX0" fmla="*/ 26846 w 131570"/>
                  <a:gd name="connsiteY0" fmla="*/ 75937 h 75937"/>
                  <a:gd name="connsiteX1" fmla="*/ 20710 w 131570"/>
                  <a:gd name="connsiteY1" fmla="*/ 75937 h 75937"/>
                  <a:gd name="connsiteX2" fmla="*/ 2301 w 131570"/>
                  <a:gd name="connsiteY2" fmla="*/ 60597 h 75937"/>
                  <a:gd name="connsiteX3" fmla="*/ 2301 w 131570"/>
                  <a:gd name="connsiteY3" fmla="*/ 32983 h 75937"/>
                  <a:gd name="connsiteX4" fmla="*/ 11506 w 131570"/>
                  <a:gd name="connsiteY4" fmla="*/ 32983 h 75937"/>
                  <a:gd name="connsiteX5" fmla="*/ 11506 w 131570"/>
                  <a:gd name="connsiteY5" fmla="*/ 42188 h 75937"/>
                  <a:gd name="connsiteX6" fmla="*/ 11506 w 131570"/>
                  <a:gd name="connsiteY6" fmla="*/ 57529 h 75937"/>
                  <a:gd name="connsiteX7" fmla="*/ 17642 w 131570"/>
                  <a:gd name="connsiteY7" fmla="*/ 63665 h 75937"/>
                  <a:gd name="connsiteX8" fmla="*/ 106619 w 131570"/>
                  <a:gd name="connsiteY8" fmla="*/ 45256 h 75937"/>
                  <a:gd name="connsiteX9" fmla="*/ 118892 w 131570"/>
                  <a:gd name="connsiteY9" fmla="*/ 32983 h 75937"/>
                  <a:gd name="connsiteX10" fmla="*/ 109687 w 131570"/>
                  <a:gd name="connsiteY10" fmla="*/ 11506 h 75937"/>
                  <a:gd name="connsiteX11" fmla="*/ 109687 w 131570"/>
                  <a:gd name="connsiteY11" fmla="*/ 2301 h 75937"/>
                  <a:gd name="connsiteX12" fmla="*/ 118892 w 131570"/>
                  <a:gd name="connsiteY12" fmla="*/ 2301 h 75937"/>
                  <a:gd name="connsiteX13" fmla="*/ 131164 w 131570"/>
                  <a:gd name="connsiteY13" fmla="*/ 32983 h 75937"/>
                  <a:gd name="connsiteX14" fmla="*/ 112756 w 131570"/>
                  <a:gd name="connsiteY14" fmla="*/ 54461 h 75937"/>
                  <a:gd name="connsiteX15" fmla="*/ 26846 w 131570"/>
                  <a:gd name="connsiteY15" fmla="*/ 75937 h 75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1570" h="75937">
                    <a:moveTo>
                      <a:pt x="26846" y="75937"/>
                    </a:moveTo>
                    <a:cubicBezTo>
                      <a:pt x="23778" y="75937"/>
                      <a:pt x="20710" y="75937"/>
                      <a:pt x="20710" y="75937"/>
                    </a:cubicBezTo>
                    <a:cubicBezTo>
                      <a:pt x="14574" y="75937"/>
                      <a:pt x="8437" y="69802"/>
                      <a:pt x="2301" y="60597"/>
                    </a:cubicBezTo>
                    <a:cubicBezTo>
                      <a:pt x="-767" y="51392"/>
                      <a:pt x="-767" y="39120"/>
                      <a:pt x="2301" y="32983"/>
                    </a:cubicBezTo>
                    <a:cubicBezTo>
                      <a:pt x="5369" y="29915"/>
                      <a:pt x="8437" y="29915"/>
                      <a:pt x="11506" y="32983"/>
                    </a:cubicBezTo>
                    <a:cubicBezTo>
                      <a:pt x="14574" y="36051"/>
                      <a:pt x="14574" y="39120"/>
                      <a:pt x="11506" y="42188"/>
                    </a:cubicBezTo>
                    <a:cubicBezTo>
                      <a:pt x="11506" y="45256"/>
                      <a:pt x="8437" y="51392"/>
                      <a:pt x="11506" y="57529"/>
                    </a:cubicBezTo>
                    <a:cubicBezTo>
                      <a:pt x="11506" y="60597"/>
                      <a:pt x="14574" y="63665"/>
                      <a:pt x="17642" y="63665"/>
                    </a:cubicBezTo>
                    <a:cubicBezTo>
                      <a:pt x="29915" y="66733"/>
                      <a:pt x="72869" y="60597"/>
                      <a:pt x="106619" y="45256"/>
                    </a:cubicBezTo>
                    <a:cubicBezTo>
                      <a:pt x="112756" y="42188"/>
                      <a:pt x="118892" y="36051"/>
                      <a:pt x="118892" y="32983"/>
                    </a:cubicBezTo>
                    <a:cubicBezTo>
                      <a:pt x="118892" y="23779"/>
                      <a:pt x="112756" y="14574"/>
                      <a:pt x="109687" y="11506"/>
                    </a:cubicBezTo>
                    <a:cubicBezTo>
                      <a:pt x="106619" y="8438"/>
                      <a:pt x="106619" y="5370"/>
                      <a:pt x="109687" y="2301"/>
                    </a:cubicBezTo>
                    <a:cubicBezTo>
                      <a:pt x="112756" y="-767"/>
                      <a:pt x="115824" y="-767"/>
                      <a:pt x="118892" y="2301"/>
                    </a:cubicBezTo>
                    <a:cubicBezTo>
                      <a:pt x="118892" y="2301"/>
                      <a:pt x="134233" y="17642"/>
                      <a:pt x="131164" y="32983"/>
                    </a:cubicBezTo>
                    <a:cubicBezTo>
                      <a:pt x="131164" y="42188"/>
                      <a:pt x="125028" y="48324"/>
                      <a:pt x="112756" y="54461"/>
                    </a:cubicBezTo>
                    <a:cubicBezTo>
                      <a:pt x="85142" y="69802"/>
                      <a:pt x="45256" y="75937"/>
                      <a:pt x="26846" y="7593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1BEA80A0-2EAC-4CB9-B0E4-0F625E3F27B8}"/>
                </a:ext>
              </a:extLst>
            </p:cNvPr>
            <p:cNvSpPr/>
            <p:nvPr/>
          </p:nvSpPr>
          <p:spPr>
            <a:xfrm>
              <a:off x="7792254" y="9673761"/>
              <a:ext cx="128103" cy="93016"/>
            </a:xfrm>
            <a:custGeom>
              <a:avLst/>
              <a:gdLst>
                <a:gd name="connsiteX0" fmla="*/ 8640 w 128103"/>
                <a:gd name="connsiteY0" fmla="*/ 89862 h 93016"/>
                <a:gd name="connsiteX1" fmla="*/ 27050 w 128103"/>
                <a:gd name="connsiteY1" fmla="*/ 71453 h 93016"/>
                <a:gd name="connsiteX2" fmla="*/ 79209 w 128103"/>
                <a:gd name="connsiteY2" fmla="*/ 53043 h 93016"/>
                <a:gd name="connsiteX3" fmla="*/ 125231 w 128103"/>
                <a:gd name="connsiteY3" fmla="*/ 92930 h 93016"/>
                <a:gd name="connsiteX4" fmla="*/ 109891 w 128103"/>
                <a:gd name="connsiteY4" fmla="*/ 7021 h 93016"/>
                <a:gd name="connsiteX5" fmla="*/ 14777 w 128103"/>
                <a:gd name="connsiteY5" fmla="*/ 16226 h 93016"/>
                <a:gd name="connsiteX6" fmla="*/ 8640 w 128103"/>
                <a:gd name="connsiteY6" fmla="*/ 89862 h 93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103" h="93016">
                  <a:moveTo>
                    <a:pt x="8640" y="89862"/>
                  </a:moveTo>
                  <a:cubicBezTo>
                    <a:pt x="17845" y="95998"/>
                    <a:pt x="20913" y="77589"/>
                    <a:pt x="27050" y="71453"/>
                  </a:cubicBezTo>
                  <a:cubicBezTo>
                    <a:pt x="42391" y="56112"/>
                    <a:pt x="57732" y="49975"/>
                    <a:pt x="79209" y="53043"/>
                  </a:cubicBezTo>
                  <a:cubicBezTo>
                    <a:pt x="91482" y="56112"/>
                    <a:pt x="76141" y="83725"/>
                    <a:pt x="125231" y="92930"/>
                  </a:cubicBezTo>
                  <a:cubicBezTo>
                    <a:pt x="131368" y="95998"/>
                    <a:pt x="128300" y="16226"/>
                    <a:pt x="109891" y="7021"/>
                  </a:cubicBezTo>
                  <a:cubicBezTo>
                    <a:pt x="85345" y="-2184"/>
                    <a:pt x="36254" y="-5252"/>
                    <a:pt x="14777" y="16226"/>
                  </a:cubicBezTo>
                  <a:cubicBezTo>
                    <a:pt x="5573" y="28498"/>
                    <a:pt x="-9768" y="77589"/>
                    <a:pt x="8640" y="89862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7E5D6F9B-5D2B-4707-8283-34A2D6C566F4}"/>
                </a:ext>
              </a:extLst>
            </p:cNvPr>
            <p:cNvSpPr/>
            <p:nvPr/>
          </p:nvSpPr>
          <p:spPr>
            <a:xfrm>
              <a:off x="7782681" y="9667910"/>
              <a:ext cx="123802" cy="101848"/>
            </a:xfrm>
            <a:custGeom>
              <a:avLst/>
              <a:gdLst>
                <a:gd name="connsiteX0" fmla="*/ 18213 w 123802"/>
                <a:gd name="connsiteY0" fmla="*/ 101848 h 101848"/>
                <a:gd name="connsiteX1" fmla="*/ 18213 w 123802"/>
                <a:gd name="connsiteY1" fmla="*/ 101848 h 101848"/>
                <a:gd name="connsiteX2" fmla="*/ 2872 w 123802"/>
                <a:gd name="connsiteY2" fmla="*/ 89576 h 101848"/>
                <a:gd name="connsiteX3" fmla="*/ 18213 w 123802"/>
                <a:gd name="connsiteY3" fmla="*/ 19008 h 101848"/>
                <a:gd name="connsiteX4" fmla="*/ 119463 w 123802"/>
                <a:gd name="connsiteY4" fmla="*/ 6735 h 101848"/>
                <a:gd name="connsiteX5" fmla="*/ 122531 w 123802"/>
                <a:gd name="connsiteY5" fmla="*/ 12871 h 101848"/>
                <a:gd name="connsiteX6" fmla="*/ 116395 w 123802"/>
                <a:gd name="connsiteY6" fmla="*/ 15940 h 101848"/>
                <a:gd name="connsiteX7" fmla="*/ 27418 w 123802"/>
                <a:gd name="connsiteY7" fmla="*/ 25144 h 101848"/>
                <a:gd name="connsiteX8" fmla="*/ 12077 w 123802"/>
                <a:gd name="connsiteY8" fmla="*/ 83440 h 101848"/>
                <a:gd name="connsiteX9" fmla="*/ 15145 w 123802"/>
                <a:gd name="connsiteY9" fmla="*/ 86507 h 101848"/>
                <a:gd name="connsiteX10" fmla="*/ 27418 w 123802"/>
                <a:gd name="connsiteY10" fmla="*/ 74235 h 101848"/>
                <a:gd name="connsiteX11" fmla="*/ 85713 w 123802"/>
                <a:gd name="connsiteY11" fmla="*/ 49690 h 101848"/>
                <a:gd name="connsiteX12" fmla="*/ 91850 w 123802"/>
                <a:gd name="connsiteY12" fmla="*/ 52758 h 101848"/>
                <a:gd name="connsiteX13" fmla="*/ 113327 w 123802"/>
                <a:gd name="connsiteY13" fmla="*/ 83440 h 101848"/>
                <a:gd name="connsiteX14" fmla="*/ 116395 w 123802"/>
                <a:gd name="connsiteY14" fmla="*/ 92644 h 101848"/>
                <a:gd name="connsiteX15" fmla="*/ 107190 w 123802"/>
                <a:gd name="connsiteY15" fmla="*/ 95713 h 101848"/>
                <a:gd name="connsiteX16" fmla="*/ 79577 w 123802"/>
                <a:gd name="connsiteY16" fmla="*/ 61962 h 101848"/>
                <a:gd name="connsiteX17" fmla="*/ 33554 w 123802"/>
                <a:gd name="connsiteY17" fmla="*/ 83440 h 101848"/>
                <a:gd name="connsiteX18" fmla="*/ 18213 w 123802"/>
                <a:gd name="connsiteY18" fmla="*/ 101848 h 101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02" h="101848">
                  <a:moveTo>
                    <a:pt x="18213" y="101848"/>
                  </a:moveTo>
                  <a:cubicBezTo>
                    <a:pt x="18213" y="101848"/>
                    <a:pt x="18213" y="101848"/>
                    <a:pt x="18213" y="101848"/>
                  </a:cubicBezTo>
                  <a:cubicBezTo>
                    <a:pt x="12077" y="101848"/>
                    <a:pt x="5940" y="98781"/>
                    <a:pt x="2872" y="89576"/>
                  </a:cubicBezTo>
                  <a:cubicBezTo>
                    <a:pt x="-3264" y="74235"/>
                    <a:pt x="-196" y="43553"/>
                    <a:pt x="18213" y="19008"/>
                  </a:cubicBezTo>
                  <a:cubicBezTo>
                    <a:pt x="42758" y="-14742"/>
                    <a:pt x="116395" y="6735"/>
                    <a:pt x="119463" y="6735"/>
                  </a:cubicBezTo>
                  <a:cubicBezTo>
                    <a:pt x="122531" y="6735"/>
                    <a:pt x="125599" y="9803"/>
                    <a:pt x="122531" y="12871"/>
                  </a:cubicBezTo>
                  <a:cubicBezTo>
                    <a:pt x="122531" y="15940"/>
                    <a:pt x="119463" y="19008"/>
                    <a:pt x="116395" y="15940"/>
                  </a:cubicBezTo>
                  <a:cubicBezTo>
                    <a:pt x="97986" y="9803"/>
                    <a:pt x="42758" y="599"/>
                    <a:pt x="27418" y="25144"/>
                  </a:cubicBezTo>
                  <a:cubicBezTo>
                    <a:pt x="12077" y="46621"/>
                    <a:pt x="9009" y="74235"/>
                    <a:pt x="12077" y="83440"/>
                  </a:cubicBezTo>
                  <a:cubicBezTo>
                    <a:pt x="12077" y="86507"/>
                    <a:pt x="15145" y="86507"/>
                    <a:pt x="15145" y="86507"/>
                  </a:cubicBezTo>
                  <a:cubicBezTo>
                    <a:pt x="18213" y="86507"/>
                    <a:pt x="24350" y="80372"/>
                    <a:pt x="27418" y="74235"/>
                  </a:cubicBezTo>
                  <a:cubicBezTo>
                    <a:pt x="39691" y="61962"/>
                    <a:pt x="58099" y="43553"/>
                    <a:pt x="85713" y="49690"/>
                  </a:cubicBezTo>
                  <a:cubicBezTo>
                    <a:pt x="88781" y="49690"/>
                    <a:pt x="88781" y="52758"/>
                    <a:pt x="91850" y="52758"/>
                  </a:cubicBezTo>
                  <a:cubicBezTo>
                    <a:pt x="94917" y="58894"/>
                    <a:pt x="101054" y="77303"/>
                    <a:pt x="113327" y="83440"/>
                  </a:cubicBezTo>
                  <a:cubicBezTo>
                    <a:pt x="116395" y="83440"/>
                    <a:pt x="116395" y="89576"/>
                    <a:pt x="116395" y="92644"/>
                  </a:cubicBezTo>
                  <a:cubicBezTo>
                    <a:pt x="116395" y="95713"/>
                    <a:pt x="110258" y="95713"/>
                    <a:pt x="107190" y="95713"/>
                  </a:cubicBezTo>
                  <a:cubicBezTo>
                    <a:pt x="91850" y="89576"/>
                    <a:pt x="82645" y="68099"/>
                    <a:pt x="79577" y="61962"/>
                  </a:cubicBezTo>
                  <a:cubicBezTo>
                    <a:pt x="58099" y="58894"/>
                    <a:pt x="45827" y="74235"/>
                    <a:pt x="33554" y="83440"/>
                  </a:cubicBezTo>
                  <a:cubicBezTo>
                    <a:pt x="33554" y="92644"/>
                    <a:pt x="27418" y="101848"/>
                    <a:pt x="18213" y="101848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6A315797-4D51-40E4-B576-52F8C49A6D9C}"/>
                </a:ext>
              </a:extLst>
            </p:cNvPr>
            <p:cNvSpPr/>
            <p:nvPr/>
          </p:nvSpPr>
          <p:spPr>
            <a:xfrm>
              <a:off x="3586140" y="8466026"/>
              <a:ext cx="1125095" cy="1377369"/>
            </a:xfrm>
            <a:custGeom>
              <a:avLst/>
              <a:gdLst>
                <a:gd name="connsiteX0" fmla="*/ 91118 w 1125095"/>
                <a:gd name="connsiteY0" fmla="*/ 8961 h 1377369"/>
                <a:gd name="connsiteX1" fmla="*/ 397936 w 1125095"/>
                <a:gd name="connsiteY1" fmla="*/ 324983 h 1377369"/>
                <a:gd name="connsiteX2" fmla="*/ 594300 w 1125095"/>
                <a:gd name="connsiteY2" fmla="*/ 763733 h 1377369"/>
                <a:gd name="connsiteX3" fmla="*/ 1125095 w 1125095"/>
                <a:gd name="connsiteY3" fmla="*/ 1233165 h 1377369"/>
                <a:gd name="connsiteX4" fmla="*/ 1008504 w 1125095"/>
                <a:gd name="connsiteY4" fmla="*/ 1377370 h 1377369"/>
                <a:gd name="connsiteX5" fmla="*/ 388732 w 1125095"/>
                <a:gd name="connsiteY5" fmla="*/ 987710 h 1377369"/>
                <a:gd name="connsiteX6" fmla="*/ 91118 w 1125095"/>
                <a:gd name="connsiteY6" fmla="*/ 8961 h 1377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5095" h="1377369">
                  <a:moveTo>
                    <a:pt x="91118" y="8961"/>
                  </a:moveTo>
                  <a:cubicBezTo>
                    <a:pt x="216913" y="-46267"/>
                    <a:pt x="333504" y="165438"/>
                    <a:pt x="397936" y="324983"/>
                  </a:cubicBezTo>
                  <a:cubicBezTo>
                    <a:pt x="440891" y="432369"/>
                    <a:pt x="594300" y="763733"/>
                    <a:pt x="594300" y="763733"/>
                  </a:cubicBezTo>
                  <a:lnTo>
                    <a:pt x="1125095" y="1233165"/>
                  </a:lnTo>
                  <a:lnTo>
                    <a:pt x="1008504" y="1377370"/>
                  </a:lnTo>
                  <a:cubicBezTo>
                    <a:pt x="1008504" y="1377370"/>
                    <a:pt x="489982" y="1070551"/>
                    <a:pt x="388732" y="987710"/>
                  </a:cubicBezTo>
                  <a:cubicBezTo>
                    <a:pt x="250663" y="874188"/>
                    <a:pt x="-188087" y="134756"/>
                    <a:pt x="91118" y="8961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D6BDA5A-CF4C-4B6D-952B-ABFC8FD4BC01}"/>
                </a:ext>
              </a:extLst>
            </p:cNvPr>
            <p:cNvSpPr/>
            <p:nvPr/>
          </p:nvSpPr>
          <p:spPr>
            <a:xfrm>
              <a:off x="3140326" y="8063849"/>
              <a:ext cx="67500" cy="141136"/>
            </a:xfrm>
            <a:custGeom>
              <a:avLst/>
              <a:gdLst>
                <a:gd name="connsiteX0" fmla="*/ 0 w 67500"/>
                <a:gd name="connsiteY0" fmla="*/ 0 h 141136"/>
                <a:gd name="connsiteX1" fmla="*/ 64432 w 67500"/>
                <a:gd name="connsiteY1" fmla="*/ 141137 h 141136"/>
                <a:gd name="connsiteX2" fmla="*/ 67500 w 67500"/>
                <a:gd name="connsiteY2" fmla="*/ 55227 h 141136"/>
                <a:gd name="connsiteX3" fmla="*/ 0 w 67500"/>
                <a:gd name="connsiteY3" fmla="*/ 0 h 141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500" h="141136">
                  <a:moveTo>
                    <a:pt x="0" y="0"/>
                  </a:moveTo>
                  <a:cubicBezTo>
                    <a:pt x="0" y="0"/>
                    <a:pt x="12273" y="119659"/>
                    <a:pt x="64432" y="141137"/>
                  </a:cubicBezTo>
                  <a:lnTo>
                    <a:pt x="67500" y="552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C146C897-9F06-4433-8A60-353F42C84EFC}"/>
                </a:ext>
              </a:extLst>
            </p:cNvPr>
            <p:cNvSpPr/>
            <p:nvPr/>
          </p:nvSpPr>
          <p:spPr>
            <a:xfrm>
              <a:off x="3501438" y="7861350"/>
              <a:ext cx="102386" cy="239297"/>
            </a:xfrm>
            <a:custGeom>
              <a:avLst/>
              <a:gdLst>
                <a:gd name="connsiteX0" fmla="*/ 96048 w 102386"/>
                <a:gd name="connsiteY0" fmla="*/ 0 h 239297"/>
                <a:gd name="connsiteX1" fmla="*/ 53093 w 102386"/>
                <a:gd name="connsiteY1" fmla="*/ 236250 h 239297"/>
                <a:gd name="connsiteX2" fmla="*/ 934 w 102386"/>
                <a:gd name="connsiteY2" fmla="*/ 12273 h 239297"/>
                <a:gd name="connsiteX3" fmla="*/ 96048 w 102386"/>
                <a:gd name="connsiteY3" fmla="*/ 0 h 239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386" h="239297">
                  <a:moveTo>
                    <a:pt x="96048" y="0"/>
                  </a:moveTo>
                  <a:cubicBezTo>
                    <a:pt x="96048" y="0"/>
                    <a:pt x="126729" y="196363"/>
                    <a:pt x="53093" y="236250"/>
                  </a:cubicBezTo>
                  <a:cubicBezTo>
                    <a:pt x="-11339" y="270000"/>
                    <a:pt x="934" y="12273"/>
                    <a:pt x="934" y="12273"/>
                  </a:cubicBezTo>
                  <a:lnTo>
                    <a:pt x="96048" y="0"/>
                  </a:ln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9F37D961-6D44-4FCE-9DAE-137F73B685C3}"/>
                </a:ext>
              </a:extLst>
            </p:cNvPr>
            <p:cNvSpPr/>
            <p:nvPr/>
          </p:nvSpPr>
          <p:spPr>
            <a:xfrm>
              <a:off x="3143395" y="7719318"/>
              <a:ext cx="423749" cy="572183"/>
            </a:xfrm>
            <a:custGeom>
              <a:avLst/>
              <a:gdLst>
                <a:gd name="connsiteX0" fmla="*/ 414204 w 423749"/>
                <a:gd name="connsiteY0" fmla="*/ 184986 h 572183"/>
                <a:gd name="connsiteX1" fmla="*/ 414204 w 423749"/>
                <a:gd name="connsiteY1" fmla="*/ 436577 h 572183"/>
                <a:gd name="connsiteX2" fmla="*/ 254659 w 423749"/>
                <a:gd name="connsiteY2" fmla="*/ 571577 h 572183"/>
                <a:gd name="connsiteX3" fmla="*/ 36818 w 423749"/>
                <a:gd name="connsiteY3" fmla="*/ 427372 h 572183"/>
                <a:gd name="connsiteX4" fmla="*/ 0 w 423749"/>
                <a:gd name="connsiteY4" fmla="*/ 200327 h 572183"/>
                <a:gd name="connsiteX5" fmla="*/ 214773 w 423749"/>
                <a:gd name="connsiteY5" fmla="*/ 895 h 572183"/>
                <a:gd name="connsiteX6" fmla="*/ 414204 w 423749"/>
                <a:gd name="connsiteY6" fmla="*/ 184986 h 572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3749" h="572183">
                  <a:moveTo>
                    <a:pt x="414204" y="184986"/>
                  </a:moveTo>
                  <a:cubicBezTo>
                    <a:pt x="414204" y="184986"/>
                    <a:pt x="435682" y="362941"/>
                    <a:pt x="414204" y="436577"/>
                  </a:cubicBezTo>
                  <a:cubicBezTo>
                    <a:pt x="395795" y="504077"/>
                    <a:pt x="303750" y="568509"/>
                    <a:pt x="254659" y="571577"/>
                  </a:cubicBezTo>
                  <a:cubicBezTo>
                    <a:pt x="187159" y="577714"/>
                    <a:pt x="67500" y="537827"/>
                    <a:pt x="36818" y="427372"/>
                  </a:cubicBezTo>
                  <a:cubicBezTo>
                    <a:pt x="15341" y="353736"/>
                    <a:pt x="0" y="252486"/>
                    <a:pt x="0" y="200327"/>
                  </a:cubicBezTo>
                  <a:cubicBezTo>
                    <a:pt x="3068" y="105213"/>
                    <a:pt x="27614" y="25441"/>
                    <a:pt x="214773" y="895"/>
                  </a:cubicBezTo>
                  <a:cubicBezTo>
                    <a:pt x="300682" y="-11377"/>
                    <a:pt x="395795" y="105213"/>
                    <a:pt x="414204" y="184986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1BD202EE-E5BF-4390-A153-05B4D0FA9F99}"/>
                </a:ext>
              </a:extLst>
            </p:cNvPr>
            <p:cNvSpPr/>
            <p:nvPr/>
          </p:nvSpPr>
          <p:spPr>
            <a:xfrm>
              <a:off x="3367372" y="7984077"/>
              <a:ext cx="58295" cy="138068"/>
            </a:xfrm>
            <a:custGeom>
              <a:avLst/>
              <a:gdLst>
                <a:gd name="connsiteX0" fmla="*/ 30682 w 58295"/>
                <a:gd name="connsiteY0" fmla="*/ 138068 h 138068"/>
                <a:gd name="connsiteX1" fmla="*/ 6136 w 58295"/>
                <a:gd name="connsiteY1" fmla="*/ 135000 h 138068"/>
                <a:gd name="connsiteX2" fmla="*/ 0 w 58295"/>
                <a:gd name="connsiteY2" fmla="*/ 128864 h 138068"/>
                <a:gd name="connsiteX3" fmla="*/ 6136 w 58295"/>
                <a:gd name="connsiteY3" fmla="*/ 122727 h 138068"/>
                <a:gd name="connsiteX4" fmla="*/ 46023 w 58295"/>
                <a:gd name="connsiteY4" fmla="*/ 122727 h 138068"/>
                <a:gd name="connsiteX5" fmla="*/ 46023 w 58295"/>
                <a:gd name="connsiteY5" fmla="*/ 119659 h 138068"/>
                <a:gd name="connsiteX6" fmla="*/ 30682 w 58295"/>
                <a:gd name="connsiteY6" fmla="*/ 6136 h 138068"/>
                <a:gd name="connsiteX7" fmla="*/ 36818 w 58295"/>
                <a:gd name="connsiteY7" fmla="*/ 0 h 138068"/>
                <a:gd name="connsiteX8" fmla="*/ 42954 w 58295"/>
                <a:gd name="connsiteY8" fmla="*/ 6136 h 138068"/>
                <a:gd name="connsiteX9" fmla="*/ 58295 w 58295"/>
                <a:gd name="connsiteY9" fmla="*/ 119659 h 138068"/>
                <a:gd name="connsiteX10" fmla="*/ 52159 w 58295"/>
                <a:gd name="connsiteY10" fmla="*/ 131931 h 138068"/>
                <a:gd name="connsiteX11" fmla="*/ 30682 w 58295"/>
                <a:gd name="connsiteY11" fmla="*/ 138068 h 138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295" h="138068">
                  <a:moveTo>
                    <a:pt x="30682" y="138068"/>
                  </a:moveTo>
                  <a:cubicBezTo>
                    <a:pt x="18409" y="138068"/>
                    <a:pt x="9205" y="135000"/>
                    <a:pt x="6136" y="135000"/>
                  </a:cubicBezTo>
                  <a:cubicBezTo>
                    <a:pt x="3068" y="135000"/>
                    <a:pt x="0" y="131931"/>
                    <a:pt x="0" y="128864"/>
                  </a:cubicBezTo>
                  <a:cubicBezTo>
                    <a:pt x="0" y="125795"/>
                    <a:pt x="3068" y="122727"/>
                    <a:pt x="6136" y="122727"/>
                  </a:cubicBezTo>
                  <a:cubicBezTo>
                    <a:pt x="18409" y="125795"/>
                    <a:pt x="39886" y="125795"/>
                    <a:pt x="46023" y="122727"/>
                  </a:cubicBezTo>
                  <a:cubicBezTo>
                    <a:pt x="46023" y="122727"/>
                    <a:pt x="46023" y="119659"/>
                    <a:pt x="46023" y="119659"/>
                  </a:cubicBezTo>
                  <a:cubicBezTo>
                    <a:pt x="46023" y="101250"/>
                    <a:pt x="30682" y="9204"/>
                    <a:pt x="30682" y="6136"/>
                  </a:cubicBezTo>
                  <a:cubicBezTo>
                    <a:pt x="30682" y="3068"/>
                    <a:pt x="33750" y="0"/>
                    <a:pt x="36818" y="0"/>
                  </a:cubicBezTo>
                  <a:cubicBezTo>
                    <a:pt x="39886" y="0"/>
                    <a:pt x="42954" y="3068"/>
                    <a:pt x="42954" y="6136"/>
                  </a:cubicBezTo>
                  <a:cubicBezTo>
                    <a:pt x="42954" y="9204"/>
                    <a:pt x="58295" y="101250"/>
                    <a:pt x="58295" y="119659"/>
                  </a:cubicBezTo>
                  <a:cubicBezTo>
                    <a:pt x="58295" y="125795"/>
                    <a:pt x="55227" y="128864"/>
                    <a:pt x="52159" y="131931"/>
                  </a:cubicBezTo>
                  <a:cubicBezTo>
                    <a:pt x="52159" y="138068"/>
                    <a:pt x="42954" y="138068"/>
                    <a:pt x="30682" y="138068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261F97AB-216F-42B0-9C57-33D638815C9B}"/>
                </a:ext>
              </a:extLst>
            </p:cNvPr>
            <p:cNvSpPr/>
            <p:nvPr/>
          </p:nvSpPr>
          <p:spPr>
            <a:xfrm>
              <a:off x="3461704" y="7961818"/>
              <a:ext cx="41450" cy="41270"/>
            </a:xfrm>
            <a:custGeom>
              <a:avLst/>
              <a:gdLst>
                <a:gd name="connsiteX0" fmla="*/ 782 w 41450"/>
                <a:gd name="connsiteY0" fmla="*/ 25327 h 41270"/>
                <a:gd name="connsiteX1" fmla="*/ 25327 w 41450"/>
                <a:gd name="connsiteY1" fmla="*/ 40668 h 41270"/>
                <a:gd name="connsiteX2" fmla="*/ 40668 w 41450"/>
                <a:gd name="connsiteY2" fmla="*/ 16123 h 41270"/>
                <a:gd name="connsiteX3" fmla="*/ 16123 w 41450"/>
                <a:gd name="connsiteY3" fmla="*/ 782 h 41270"/>
                <a:gd name="connsiteX4" fmla="*/ 782 w 41450"/>
                <a:gd name="connsiteY4" fmla="*/ 25327 h 4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450" h="41270">
                  <a:moveTo>
                    <a:pt x="782" y="25327"/>
                  </a:moveTo>
                  <a:cubicBezTo>
                    <a:pt x="3850" y="34532"/>
                    <a:pt x="13055" y="43737"/>
                    <a:pt x="25327" y="40668"/>
                  </a:cubicBezTo>
                  <a:cubicBezTo>
                    <a:pt x="37600" y="37600"/>
                    <a:pt x="43736" y="28396"/>
                    <a:pt x="40668" y="16123"/>
                  </a:cubicBezTo>
                  <a:cubicBezTo>
                    <a:pt x="37600" y="3850"/>
                    <a:pt x="28396" y="-2286"/>
                    <a:pt x="16123" y="782"/>
                  </a:cubicBezTo>
                  <a:cubicBezTo>
                    <a:pt x="3850" y="3850"/>
                    <a:pt x="-2286" y="13055"/>
                    <a:pt x="782" y="2532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B1EAB0AA-7DE9-401E-8F7D-300AE2663E73}"/>
                </a:ext>
              </a:extLst>
            </p:cNvPr>
            <p:cNvSpPr/>
            <p:nvPr/>
          </p:nvSpPr>
          <p:spPr>
            <a:xfrm>
              <a:off x="3277613" y="7980407"/>
              <a:ext cx="41450" cy="41090"/>
            </a:xfrm>
            <a:custGeom>
              <a:avLst/>
              <a:gdLst>
                <a:gd name="connsiteX0" fmla="*/ 782 w 41450"/>
                <a:gd name="connsiteY0" fmla="*/ 25147 h 41090"/>
                <a:gd name="connsiteX1" fmla="*/ 25327 w 41450"/>
                <a:gd name="connsiteY1" fmla="*/ 40488 h 41090"/>
                <a:gd name="connsiteX2" fmla="*/ 40668 w 41450"/>
                <a:gd name="connsiteY2" fmla="*/ 15943 h 41090"/>
                <a:gd name="connsiteX3" fmla="*/ 16123 w 41450"/>
                <a:gd name="connsiteY3" fmla="*/ 602 h 41090"/>
                <a:gd name="connsiteX4" fmla="*/ 782 w 41450"/>
                <a:gd name="connsiteY4" fmla="*/ 25147 h 4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450" h="41090">
                  <a:moveTo>
                    <a:pt x="782" y="25147"/>
                  </a:moveTo>
                  <a:cubicBezTo>
                    <a:pt x="3850" y="34352"/>
                    <a:pt x="13055" y="43556"/>
                    <a:pt x="25327" y="40488"/>
                  </a:cubicBezTo>
                  <a:cubicBezTo>
                    <a:pt x="37600" y="37420"/>
                    <a:pt x="43736" y="28215"/>
                    <a:pt x="40668" y="15943"/>
                  </a:cubicBezTo>
                  <a:cubicBezTo>
                    <a:pt x="37600" y="6738"/>
                    <a:pt x="28396" y="-2466"/>
                    <a:pt x="16123" y="602"/>
                  </a:cubicBezTo>
                  <a:cubicBezTo>
                    <a:pt x="3850" y="3670"/>
                    <a:pt x="-2286" y="12874"/>
                    <a:pt x="782" y="2514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0C38C780-1DED-4849-9CF1-D1F9E4B21E84}"/>
                </a:ext>
              </a:extLst>
            </p:cNvPr>
            <p:cNvSpPr/>
            <p:nvPr/>
          </p:nvSpPr>
          <p:spPr>
            <a:xfrm>
              <a:off x="3433601" y="7916577"/>
              <a:ext cx="92549" cy="30681"/>
            </a:xfrm>
            <a:custGeom>
              <a:avLst/>
              <a:gdLst>
                <a:gd name="connsiteX0" fmla="*/ 84112 w 92549"/>
                <a:gd name="connsiteY0" fmla="*/ 30682 h 30681"/>
                <a:gd name="connsiteX1" fmla="*/ 77975 w 92549"/>
                <a:gd name="connsiteY1" fmla="*/ 27614 h 30681"/>
                <a:gd name="connsiteX2" fmla="*/ 10475 w 92549"/>
                <a:gd name="connsiteY2" fmla="*/ 21477 h 30681"/>
                <a:gd name="connsiteX3" fmla="*/ 1271 w 92549"/>
                <a:gd name="connsiteY3" fmla="*/ 18409 h 30681"/>
                <a:gd name="connsiteX4" fmla="*/ 4339 w 92549"/>
                <a:gd name="connsiteY4" fmla="*/ 9204 h 30681"/>
                <a:gd name="connsiteX5" fmla="*/ 90248 w 92549"/>
                <a:gd name="connsiteY5" fmla="*/ 18409 h 30681"/>
                <a:gd name="connsiteX6" fmla="*/ 90248 w 92549"/>
                <a:gd name="connsiteY6" fmla="*/ 30682 h 30681"/>
                <a:gd name="connsiteX7" fmla="*/ 84112 w 92549"/>
                <a:gd name="connsiteY7" fmla="*/ 30682 h 30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0681">
                  <a:moveTo>
                    <a:pt x="84112" y="30682"/>
                  </a:moveTo>
                  <a:cubicBezTo>
                    <a:pt x="81044" y="30682"/>
                    <a:pt x="81044" y="30682"/>
                    <a:pt x="77975" y="27614"/>
                  </a:cubicBezTo>
                  <a:cubicBezTo>
                    <a:pt x="53430" y="0"/>
                    <a:pt x="10475" y="21477"/>
                    <a:pt x="10475" y="21477"/>
                  </a:cubicBezTo>
                  <a:cubicBezTo>
                    <a:pt x="7407" y="24545"/>
                    <a:pt x="1271" y="21477"/>
                    <a:pt x="1271" y="18409"/>
                  </a:cubicBezTo>
                  <a:cubicBezTo>
                    <a:pt x="-1797" y="15341"/>
                    <a:pt x="1271" y="9204"/>
                    <a:pt x="4339" y="9204"/>
                  </a:cubicBezTo>
                  <a:cubicBezTo>
                    <a:pt x="22748" y="0"/>
                    <a:pt x="62634" y="-9204"/>
                    <a:pt x="90248" y="18409"/>
                  </a:cubicBezTo>
                  <a:cubicBezTo>
                    <a:pt x="93316" y="21477"/>
                    <a:pt x="93316" y="27614"/>
                    <a:pt x="90248" y="30682"/>
                  </a:cubicBezTo>
                  <a:cubicBezTo>
                    <a:pt x="90248" y="30682"/>
                    <a:pt x="87180" y="30682"/>
                    <a:pt x="84112" y="30682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D228269D-9AE6-4780-8490-F418952EFC22}"/>
                </a:ext>
              </a:extLst>
            </p:cNvPr>
            <p:cNvSpPr/>
            <p:nvPr/>
          </p:nvSpPr>
          <p:spPr>
            <a:xfrm>
              <a:off x="3242343" y="7910753"/>
              <a:ext cx="92549" cy="36505"/>
            </a:xfrm>
            <a:custGeom>
              <a:avLst/>
              <a:gdLst>
                <a:gd name="connsiteX0" fmla="*/ 8438 w 92549"/>
                <a:gd name="connsiteY0" fmla="*/ 36506 h 36505"/>
                <a:gd name="connsiteX1" fmla="*/ 2301 w 92549"/>
                <a:gd name="connsiteY1" fmla="*/ 33438 h 36505"/>
                <a:gd name="connsiteX2" fmla="*/ 2301 w 92549"/>
                <a:gd name="connsiteY2" fmla="*/ 21165 h 36505"/>
                <a:gd name="connsiteX3" fmla="*/ 88210 w 92549"/>
                <a:gd name="connsiteY3" fmla="*/ 11961 h 36505"/>
                <a:gd name="connsiteX4" fmla="*/ 91278 w 92549"/>
                <a:gd name="connsiteY4" fmla="*/ 24233 h 36505"/>
                <a:gd name="connsiteX5" fmla="*/ 79006 w 92549"/>
                <a:gd name="connsiteY5" fmla="*/ 27302 h 36505"/>
                <a:gd name="connsiteX6" fmla="*/ 11506 w 92549"/>
                <a:gd name="connsiteY6" fmla="*/ 33438 h 36505"/>
                <a:gd name="connsiteX7" fmla="*/ 8438 w 92549"/>
                <a:gd name="connsiteY7" fmla="*/ 36506 h 3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6505">
                  <a:moveTo>
                    <a:pt x="8438" y="36506"/>
                  </a:moveTo>
                  <a:cubicBezTo>
                    <a:pt x="5369" y="36506"/>
                    <a:pt x="5369" y="36506"/>
                    <a:pt x="2301" y="33438"/>
                  </a:cubicBezTo>
                  <a:cubicBezTo>
                    <a:pt x="-767" y="30369"/>
                    <a:pt x="-767" y="24233"/>
                    <a:pt x="2301" y="21165"/>
                  </a:cubicBezTo>
                  <a:cubicBezTo>
                    <a:pt x="14574" y="5824"/>
                    <a:pt x="51392" y="-12585"/>
                    <a:pt x="88210" y="11961"/>
                  </a:cubicBezTo>
                  <a:cubicBezTo>
                    <a:pt x="91278" y="15029"/>
                    <a:pt x="94347" y="18097"/>
                    <a:pt x="91278" y="24233"/>
                  </a:cubicBezTo>
                  <a:cubicBezTo>
                    <a:pt x="88210" y="27302"/>
                    <a:pt x="85142" y="30369"/>
                    <a:pt x="79006" y="27302"/>
                  </a:cubicBezTo>
                  <a:cubicBezTo>
                    <a:pt x="42188" y="2756"/>
                    <a:pt x="14574" y="33438"/>
                    <a:pt x="11506" y="33438"/>
                  </a:cubicBezTo>
                  <a:cubicBezTo>
                    <a:pt x="11506" y="36506"/>
                    <a:pt x="11506" y="36506"/>
                    <a:pt x="8438" y="36506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978484AE-6126-4EC2-8B05-B4BD2B586E90}"/>
                </a:ext>
              </a:extLst>
            </p:cNvPr>
            <p:cNvSpPr/>
            <p:nvPr/>
          </p:nvSpPr>
          <p:spPr>
            <a:xfrm>
              <a:off x="3102136" y="7976446"/>
              <a:ext cx="79439" cy="114774"/>
            </a:xfrm>
            <a:custGeom>
              <a:avLst/>
              <a:gdLst>
                <a:gd name="connsiteX0" fmla="*/ 65804 w 79439"/>
                <a:gd name="connsiteY0" fmla="*/ 16835 h 114774"/>
                <a:gd name="connsiteX1" fmla="*/ 7508 w 79439"/>
                <a:gd name="connsiteY1" fmla="*/ 7631 h 114774"/>
                <a:gd name="connsiteX2" fmla="*/ 65804 w 79439"/>
                <a:gd name="connsiteY2" fmla="*/ 111949 h 114774"/>
                <a:gd name="connsiteX3" fmla="*/ 65804 w 79439"/>
                <a:gd name="connsiteY3" fmla="*/ 16835 h 11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439" h="114774">
                  <a:moveTo>
                    <a:pt x="65804" y="16835"/>
                  </a:moveTo>
                  <a:cubicBezTo>
                    <a:pt x="65804" y="16835"/>
                    <a:pt x="32054" y="-13847"/>
                    <a:pt x="7508" y="7631"/>
                  </a:cubicBezTo>
                  <a:cubicBezTo>
                    <a:pt x="-17037" y="26040"/>
                    <a:pt x="22849" y="133426"/>
                    <a:pt x="65804" y="111949"/>
                  </a:cubicBezTo>
                  <a:cubicBezTo>
                    <a:pt x="96485" y="93539"/>
                    <a:pt x="65804" y="16835"/>
                    <a:pt x="65804" y="16835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B0222FD1-B458-405A-817E-D7DF094707FD}"/>
                </a:ext>
              </a:extLst>
            </p:cNvPr>
            <p:cNvSpPr/>
            <p:nvPr/>
          </p:nvSpPr>
          <p:spPr>
            <a:xfrm>
              <a:off x="3104610" y="7604721"/>
              <a:ext cx="521032" cy="406969"/>
            </a:xfrm>
            <a:custGeom>
              <a:avLst/>
              <a:gdLst>
                <a:gd name="connsiteX0" fmla="*/ 5035 w 521032"/>
                <a:gd name="connsiteY0" fmla="*/ 305720 h 406969"/>
                <a:gd name="connsiteX1" fmla="*/ 63330 w 521032"/>
                <a:gd name="connsiteY1" fmla="*/ 406970 h 406969"/>
                <a:gd name="connsiteX2" fmla="*/ 115489 w 521032"/>
                <a:gd name="connsiteY2" fmla="*/ 265833 h 406969"/>
                <a:gd name="connsiteX3" fmla="*/ 124694 w 521032"/>
                <a:gd name="connsiteY3" fmla="*/ 262765 h 406969"/>
                <a:gd name="connsiteX4" fmla="*/ 201398 w 521032"/>
                <a:gd name="connsiteY4" fmla="*/ 235151 h 406969"/>
                <a:gd name="connsiteX5" fmla="*/ 213671 w 521032"/>
                <a:gd name="connsiteY5" fmla="*/ 232083 h 406969"/>
                <a:gd name="connsiteX6" fmla="*/ 250489 w 521032"/>
                <a:gd name="connsiteY6" fmla="*/ 253561 h 406969"/>
                <a:gd name="connsiteX7" fmla="*/ 265830 w 521032"/>
                <a:gd name="connsiteY7" fmla="*/ 244356 h 406969"/>
                <a:gd name="connsiteX8" fmla="*/ 317989 w 521032"/>
                <a:gd name="connsiteY8" fmla="*/ 259697 h 406969"/>
                <a:gd name="connsiteX9" fmla="*/ 354807 w 521032"/>
                <a:gd name="connsiteY9" fmla="*/ 268902 h 406969"/>
                <a:gd name="connsiteX10" fmla="*/ 367080 w 521032"/>
                <a:gd name="connsiteY10" fmla="*/ 268902 h 406969"/>
                <a:gd name="connsiteX11" fmla="*/ 379353 w 521032"/>
                <a:gd name="connsiteY11" fmla="*/ 265833 h 406969"/>
                <a:gd name="connsiteX12" fmla="*/ 388557 w 521032"/>
                <a:gd name="connsiteY12" fmla="*/ 271970 h 406969"/>
                <a:gd name="connsiteX13" fmla="*/ 394694 w 521032"/>
                <a:gd name="connsiteY13" fmla="*/ 275038 h 406969"/>
                <a:gd name="connsiteX14" fmla="*/ 400830 w 521032"/>
                <a:gd name="connsiteY14" fmla="*/ 275038 h 406969"/>
                <a:gd name="connsiteX15" fmla="*/ 406966 w 521032"/>
                <a:gd name="connsiteY15" fmla="*/ 278106 h 406969"/>
                <a:gd name="connsiteX16" fmla="*/ 413103 w 521032"/>
                <a:gd name="connsiteY16" fmla="*/ 287311 h 406969"/>
                <a:gd name="connsiteX17" fmla="*/ 431512 w 521032"/>
                <a:gd name="connsiteY17" fmla="*/ 308788 h 406969"/>
                <a:gd name="connsiteX18" fmla="*/ 462194 w 521032"/>
                <a:gd name="connsiteY18" fmla="*/ 321061 h 406969"/>
                <a:gd name="connsiteX19" fmla="*/ 480603 w 521032"/>
                <a:gd name="connsiteY19" fmla="*/ 376288 h 406969"/>
                <a:gd name="connsiteX20" fmla="*/ 489807 w 521032"/>
                <a:gd name="connsiteY20" fmla="*/ 345606 h 406969"/>
                <a:gd name="connsiteX21" fmla="*/ 499012 w 521032"/>
                <a:gd name="connsiteY21" fmla="*/ 342538 h 406969"/>
                <a:gd name="connsiteX22" fmla="*/ 517421 w 521032"/>
                <a:gd name="connsiteY22" fmla="*/ 244356 h 406969"/>
                <a:gd name="connsiteX23" fmla="*/ 499012 w 521032"/>
                <a:gd name="connsiteY23" fmla="*/ 201402 h 406969"/>
                <a:gd name="connsiteX24" fmla="*/ 502080 w 521032"/>
                <a:gd name="connsiteY24" fmla="*/ 167651 h 406969"/>
                <a:gd name="connsiteX25" fmla="*/ 495944 w 521032"/>
                <a:gd name="connsiteY25" fmla="*/ 130833 h 406969"/>
                <a:gd name="connsiteX26" fmla="*/ 477535 w 521032"/>
                <a:gd name="connsiteY26" fmla="*/ 103220 h 406969"/>
                <a:gd name="connsiteX27" fmla="*/ 462194 w 521032"/>
                <a:gd name="connsiteY27" fmla="*/ 60265 h 406969"/>
                <a:gd name="connsiteX28" fmla="*/ 400830 w 521032"/>
                <a:gd name="connsiteY28" fmla="*/ 38788 h 406969"/>
                <a:gd name="connsiteX29" fmla="*/ 275035 w 521032"/>
                <a:gd name="connsiteY29" fmla="*/ 1970 h 406969"/>
                <a:gd name="connsiteX30" fmla="*/ 262762 w 521032"/>
                <a:gd name="connsiteY30" fmla="*/ 8106 h 406969"/>
                <a:gd name="connsiteX31" fmla="*/ 207535 w 521032"/>
                <a:gd name="connsiteY31" fmla="*/ 23447 h 406969"/>
                <a:gd name="connsiteX32" fmla="*/ 173785 w 521032"/>
                <a:gd name="connsiteY32" fmla="*/ 26515 h 406969"/>
                <a:gd name="connsiteX33" fmla="*/ 143103 w 521032"/>
                <a:gd name="connsiteY33" fmla="*/ 60265 h 406969"/>
                <a:gd name="connsiteX34" fmla="*/ 130830 w 521032"/>
                <a:gd name="connsiteY34" fmla="*/ 78674 h 406969"/>
                <a:gd name="connsiteX35" fmla="*/ 100148 w 521032"/>
                <a:gd name="connsiteY35" fmla="*/ 100152 h 406969"/>
                <a:gd name="connsiteX36" fmla="*/ 87876 w 521032"/>
                <a:gd name="connsiteY36" fmla="*/ 97083 h 406969"/>
                <a:gd name="connsiteX37" fmla="*/ 69466 w 521032"/>
                <a:gd name="connsiteY37" fmla="*/ 136970 h 406969"/>
                <a:gd name="connsiteX38" fmla="*/ 5035 w 521032"/>
                <a:gd name="connsiteY38" fmla="*/ 305720 h 40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21032" h="406969">
                  <a:moveTo>
                    <a:pt x="5035" y="305720"/>
                  </a:moveTo>
                  <a:cubicBezTo>
                    <a:pt x="20376" y="360947"/>
                    <a:pt x="63330" y="406970"/>
                    <a:pt x="63330" y="406970"/>
                  </a:cubicBezTo>
                  <a:cubicBezTo>
                    <a:pt x="57194" y="376288"/>
                    <a:pt x="115489" y="265833"/>
                    <a:pt x="115489" y="265833"/>
                  </a:cubicBezTo>
                  <a:cubicBezTo>
                    <a:pt x="115489" y="265833"/>
                    <a:pt x="118557" y="265833"/>
                    <a:pt x="124694" y="262765"/>
                  </a:cubicBezTo>
                  <a:cubicBezTo>
                    <a:pt x="152307" y="262765"/>
                    <a:pt x="179921" y="253561"/>
                    <a:pt x="201398" y="235151"/>
                  </a:cubicBezTo>
                  <a:cubicBezTo>
                    <a:pt x="204466" y="235151"/>
                    <a:pt x="210603" y="232083"/>
                    <a:pt x="213671" y="232083"/>
                  </a:cubicBezTo>
                  <a:cubicBezTo>
                    <a:pt x="222876" y="244356"/>
                    <a:pt x="232080" y="256629"/>
                    <a:pt x="250489" y="253561"/>
                  </a:cubicBezTo>
                  <a:cubicBezTo>
                    <a:pt x="259694" y="253561"/>
                    <a:pt x="262762" y="244356"/>
                    <a:pt x="265830" y="244356"/>
                  </a:cubicBezTo>
                  <a:cubicBezTo>
                    <a:pt x="287307" y="235151"/>
                    <a:pt x="299580" y="250492"/>
                    <a:pt x="317989" y="259697"/>
                  </a:cubicBezTo>
                  <a:cubicBezTo>
                    <a:pt x="330262" y="265833"/>
                    <a:pt x="342535" y="268902"/>
                    <a:pt x="354807" y="268902"/>
                  </a:cubicBezTo>
                  <a:cubicBezTo>
                    <a:pt x="357876" y="268902"/>
                    <a:pt x="364012" y="265833"/>
                    <a:pt x="367080" y="268902"/>
                  </a:cubicBezTo>
                  <a:cubicBezTo>
                    <a:pt x="373216" y="265833"/>
                    <a:pt x="376285" y="265833"/>
                    <a:pt x="379353" y="265833"/>
                  </a:cubicBezTo>
                  <a:cubicBezTo>
                    <a:pt x="382421" y="268902"/>
                    <a:pt x="385489" y="268902"/>
                    <a:pt x="388557" y="271970"/>
                  </a:cubicBezTo>
                  <a:cubicBezTo>
                    <a:pt x="391626" y="271970"/>
                    <a:pt x="391626" y="275038"/>
                    <a:pt x="394694" y="275038"/>
                  </a:cubicBezTo>
                  <a:cubicBezTo>
                    <a:pt x="397762" y="275038"/>
                    <a:pt x="397762" y="275038"/>
                    <a:pt x="400830" y="275038"/>
                  </a:cubicBezTo>
                  <a:cubicBezTo>
                    <a:pt x="403898" y="275038"/>
                    <a:pt x="406966" y="278106"/>
                    <a:pt x="406966" y="278106"/>
                  </a:cubicBezTo>
                  <a:cubicBezTo>
                    <a:pt x="410035" y="281174"/>
                    <a:pt x="413103" y="284242"/>
                    <a:pt x="413103" y="287311"/>
                  </a:cubicBezTo>
                  <a:cubicBezTo>
                    <a:pt x="419239" y="296515"/>
                    <a:pt x="422307" y="302652"/>
                    <a:pt x="431512" y="308788"/>
                  </a:cubicBezTo>
                  <a:cubicBezTo>
                    <a:pt x="437648" y="314924"/>
                    <a:pt x="449921" y="314924"/>
                    <a:pt x="462194" y="321061"/>
                  </a:cubicBezTo>
                  <a:cubicBezTo>
                    <a:pt x="477535" y="339470"/>
                    <a:pt x="483671" y="357879"/>
                    <a:pt x="480603" y="376288"/>
                  </a:cubicBezTo>
                  <a:cubicBezTo>
                    <a:pt x="480603" y="376288"/>
                    <a:pt x="483671" y="364015"/>
                    <a:pt x="489807" y="345606"/>
                  </a:cubicBezTo>
                  <a:cubicBezTo>
                    <a:pt x="492876" y="348674"/>
                    <a:pt x="495944" y="348674"/>
                    <a:pt x="499012" y="342538"/>
                  </a:cubicBezTo>
                  <a:cubicBezTo>
                    <a:pt x="517421" y="311856"/>
                    <a:pt x="526626" y="278106"/>
                    <a:pt x="517421" y="244356"/>
                  </a:cubicBezTo>
                  <a:cubicBezTo>
                    <a:pt x="514353" y="229015"/>
                    <a:pt x="505148" y="216743"/>
                    <a:pt x="499012" y="201402"/>
                  </a:cubicBezTo>
                  <a:cubicBezTo>
                    <a:pt x="489807" y="182992"/>
                    <a:pt x="499012" y="182992"/>
                    <a:pt x="502080" y="167651"/>
                  </a:cubicBezTo>
                  <a:cubicBezTo>
                    <a:pt x="505148" y="155379"/>
                    <a:pt x="499012" y="143106"/>
                    <a:pt x="495944" y="130833"/>
                  </a:cubicBezTo>
                  <a:cubicBezTo>
                    <a:pt x="489807" y="121629"/>
                    <a:pt x="483671" y="112424"/>
                    <a:pt x="477535" y="103220"/>
                  </a:cubicBezTo>
                  <a:cubicBezTo>
                    <a:pt x="465262" y="87879"/>
                    <a:pt x="468330" y="75606"/>
                    <a:pt x="462194" y="60265"/>
                  </a:cubicBezTo>
                  <a:cubicBezTo>
                    <a:pt x="449921" y="32652"/>
                    <a:pt x="425376" y="38788"/>
                    <a:pt x="400830" y="38788"/>
                  </a:cubicBezTo>
                  <a:cubicBezTo>
                    <a:pt x="357876" y="38788"/>
                    <a:pt x="321057" y="-10303"/>
                    <a:pt x="275035" y="1970"/>
                  </a:cubicBezTo>
                  <a:cubicBezTo>
                    <a:pt x="268898" y="1970"/>
                    <a:pt x="265830" y="5038"/>
                    <a:pt x="262762" y="8106"/>
                  </a:cubicBezTo>
                  <a:cubicBezTo>
                    <a:pt x="244353" y="17311"/>
                    <a:pt x="225944" y="23447"/>
                    <a:pt x="207535" y="23447"/>
                  </a:cubicBezTo>
                  <a:cubicBezTo>
                    <a:pt x="195262" y="23447"/>
                    <a:pt x="186057" y="20379"/>
                    <a:pt x="173785" y="26515"/>
                  </a:cubicBezTo>
                  <a:cubicBezTo>
                    <a:pt x="158444" y="32652"/>
                    <a:pt x="152307" y="47993"/>
                    <a:pt x="143103" y="60265"/>
                  </a:cubicBezTo>
                  <a:cubicBezTo>
                    <a:pt x="140035" y="66401"/>
                    <a:pt x="133898" y="72538"/>
                    <a:pt x="130830" y="78674"/>
                  </a:cubicBezTo>
                  <a:cubicBezTo>
                    <a:pt x="118557" y="84811"/>
                    <a:pt x="109353" y="94015"/>
                    <a:pt x="100148" y="100152"/>
                  </a:cubicBezTo>
                  <a:cubicBezTo>
                    <a:pt x="100148" y="97083"/>
                    <a:pt x="103216" y="84811"/>
                    <a:pt x="87876" y="97083"/>
                  </a:cubicBezTo>
                  <a:cubicBezTo>
                    <a:pt x="72535" y="106288"/>
                    <a:pt x="69466" y="121629"/>
                    <a:pt x="69466" y="136970"/>
                  </a:cubicBezTo>
                  <a:cubicBezTo>
                    <a:pt x="-1102" y="161515"/>
                    <a:pt x="-7238" y="247424"/>
                    <a:pt x="5035" y="305720"/>
                  </a:cubicBez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F5241914-3D39-4A8C-80A6-5746674DBEB0}"/>
                </a:ext>
              </a:extLst>
            </p:cNvPr>
            <p:cNvSpPr/>
            <p:nvPr/>
          </p:nvSpPr>
          <p:spPr>
            <a:xfrm>
              <a:off x="3151832" y="7758829"/>
              <a:ext cx="68267" cy="240589"/>
            </a:xfrm>
            <a:custGeom>
              <a:avLst/>
              <a:gdLst>
                <a:gd name="connsiteX0" fmla="*/ 16108 w 68267"/>
                <a:gd name="connsiteY0" fmla="*/ 240589 h 240589"/>
                <a:gd name="connsiteX1" fmla="*/ 16108 w 68267"/>
                <a:gd name="connsiteY1" fmla="*/ 240589 h 240589"/>
                <a:gd name="connsiteX2" fmla="*/ 9972 w 68267"/>
                <a:gd name="connsiteY2" fmla="*/ 234453 h 240589"/>
                <a:gd name="connsiteX3" fmla="*/ 55994 w 68267"/>
                <a:gd name="connsiteY3" fmla="*/ 114794 h 240589"/>
                <a:gd name="connsiteX4" fmla="*/ 6903 w 68267"/>
                <a:gd name="connsiteY4" fmla="*/ 71839 h 240589"/>
                <a:gd name="connsiteX5" fmla="*/ 6903 w 68267"/>
                <a:gd name="connsiteY5" fmla="*/ 4339 h 240589"/>
                <a:gd name="connsiteX6" fmla="*/ 13040 w 68267"/>
                <a:gd name="connsiteY6" fmla="*/ 1271 h 240589"/>
                <a:gd name="connsiteX7" fmla="*/ 16108 w 68267"/>
                <a:gd name="connsiteY7" fmla="*/ 7407 h 240589"/>
                <a:gd name="connsiteX8" fmla="*/ 16108 w 68267"/>
                <a:gd name="connsiteY8" fmla="*/ 65703 h 240589"/>
                <a:gd name="connsiteX9" fmla="*/ 65199 w 68267"/>
                <a:gd name="connsiteY9" fmla="*/ 105589 h 240589"/>
                <a:gd name="connsiteX10" fmla="*/ 68267 w 68267"/>
                <a:gd name="connsiteY10" fmla="*/ 108657 h 240589"/>
                <a:gd name="connsiteX11" fmla="*/ 68267 w 68267"/>
                <a:gd name="connsiteY11" fmla="*/ 114794 h 240589"/>
                <a:gd name="connsiteX12" fmla="*/ 19176 w 68267"/>
                <a:gd name="connsiteY12" fmla="*/ 237521 h 240589"/>
                <a:gd name="connsiteX13" fmla="*/ 16108 w 68267"/>
                <a:gd name="connsiteY13" fmla="*/ 240589 h 24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267" h="240589">
                  <a:moveTo>
                    <a:pt x="16108" y="240589"/>
                  </a:moveTo>
                  <a:cubicBezTo>
                    <a:pt x="16108" y="240589"/>
                    <a:pt x="16108" y="240589"/>
                    <a:pt x="16108" y="240589"/>
                  </a:cubicBezTo>
                  <a:cubicBezTo>
                    <a:pt x="13040" y="240589"/>
                    <a:pt x="9972" y="237521"/>
                    <a:pt x="9972" y="234453"/>
                  </a:cubicBezTo>
                  <a:cubicBezTo>
                    <a:pt x="16108" y="182294"/>
                    <a:pt x="43722" y="130135"/>
                    <a:pt x="55994" y="114794"/>
                  </a:cubicBezTo>
                  <a:cubicBezTo>
                    <a:pt x="43722" y="108657"/>
                    <a:pt x="19176" y="96384"/>
                    <a:pt x="6903" y="71839"/>
                  </a:cubicBezTo>
                  <a:cubicBezTo>
                    <a:pt x="-2301" y="53430"/>
                    <a:pt x="-2301" y="28884"/>
                    <a:pt x="6903" y="4339"/>
                  </a:cubicBezTo>
                  <a:cubicBezTo>
                    <a:pt x="6903" y="1271"/>
                    <a:pt x="9972" y="-1797"/>
                    <a:pt x="13040" y="1271"/>
                  </a:cubicBezTo>
                  <a:cubicBezTo>
                    <a:pt x="16108" y="1271"/>
                    <a:pt x="19176" y="4339"/>
                    <a:pt x="16108" y="7407"/>
                  </a:cubicBezTo>
                  <a:cubicBezTo>
                    <a:pt x="6903" y="28884"/>
                    <a:pt x="9972" y="47294"/>
                    <a:pt x="16108" y="65703"/>
                  </a:cubicBezTo>
                  <a:cubicBezTo>
                    <a:pt x="31449" y="93316"/>
                    <a:pt x="65199" y="105589"/>
                    <a:pt x="65199" y="105589"/>
                  </a:cubicBezTo>
                  <a:cubicBezTo>
                    <a:pt x="68267" y="105589"/>
                    <a:pt x="68267" y="108657"/>
                    <a:pt x="68267" y="108657"/>
                  </a:cubicBezTo>
                  <a:cubicBezTo>
                    <a:pt x="68267" y="111725"/>
                    <a:pt x="68267" y="111725"/>
                    <a:pt x="68267" y="114794"/>
                  </a:cubicBezTo>
                  <a:cubicBezTo>
                    <a:pt x="68267" y="114794"/>
                    <a:pt x="25313" y="173089"/>
                    <a:pt x="19176" y="237521"/>
                  </a:cubicBezTo>
                  <a:cubicBezTo>
                    <a:pt x="22244" y="240589"/>
                    <a:pt x="19176" y="240589"/>
                    <a:pt x="16108" y="240589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F69F3F58-A3EA-4AA1-9B2C-D34536DB6BB1}"/>
                </a:ext>
              </a:extLst>
            </p:cNvPr>
            <p:cNvSpPr/>
            <p:nvPr/>
          </p:nvSpPr>
          <p:spPr>
            <a:xfrm>
              <a:off x="3315980" y="8181208"/>
              <a:ext cx="115823" cy="36050"/>
            </a:xfrm>
            <a:custGeom>
              <a:avLst/>
              <a:gdLst>
                <a:gd name="connsiteX0" fmla="*/ 79006 w 115823"/>
                <a:gd name="connsiteY0" fmla="*/ 36051 h 36050"/>
                <a:gd name="connsiteX1" fmla="*/ 2301 w 115823"/>
                <a:gd name="connsiteY1" fmla="*/ 11505 h 36050"/>
                <a:gd name="connsiteX2" fmla="*/ 2301 w 115823"/>
                <a:gd name="connsiteY2" fmla="*/ 2301 h 36050"/>
                <a:gd name="connsiteX3" fmla="*/ 11506 w 115823"/>
                <a:gd name="connsiteY3" fmla="*/ 2301 h 36050"/>
                <a:gd name="connsiteX4" fmla="*/ 109687 w 115823"/>
                <a:gd name="connsiteY4" fmla="*/ 20710 h 36050"/>
                <a:gd name="connsiteX5" fmla="*/ 115824 w 115823"/>
                <a:gd name="connsiteY5" fmla="*/ 23778 h 36050"/>
                <a:gd name="connsiteX6" fmla="*/ 112756 w 115823"/>
                <a:gd name="connsiteY6" fmla="*/ 29915 h 36050"/>
                <a:gd name="connsiteX7" fmla="*/ 79006 w 115823"/>
                <a:gd name="connsiteY7" fmla="*/ 36051 h 3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823" h="36050">
                  <a:moveTo>
                    <a:pt x="79006" y="36051"/>
                  </a:moveTo>
                  <a:cubicBezTo>
                    <a:pt x="54460" y="36051"/>
                    <a:pt x="23778" y="29915"/>
                    <a:pt x="2301" y="11505"/>
                  </a:cubicBezTo>
                  <a:cubicBezTo>
                    <a:pt x="-767" y="8438"/>
                    <a:pt x="-767" y="5369"/>
                    <a:pt x="2301" y="2301"/>
                  </a:cubicBezTo>
                  <a:cubicBezTo>
                    <a:pt x="5369" y="-767"/>
                    <a:pt x="8437" y="-767"/>
                    <a:pt x="11506" y="2301"/>
                  </a:cubicBezTo>
                  <a:cubicBezTo>
                    <a:pt x="45256" y="36051"/>
                    <a:pt x="109687" y="20710"/>
                    <a:pt x="109687" y="20710"/>
                  </a:cubicBezTo>
                  <a:cubicBezTo>
                    <a:pt x="112756" y="20710"/>
                    <a:pt x="115824" y="20710"/>
                    <a:pt x="115824" y="23778"/>
                  </a:cubicBezTo>
                  <a:cubicBezTo>
                    <a:pt x="115824" y="26846"/>
                    <a:pt x="115824" y="29915"/>
                    <a:pt x="112756" y="29915"/>
                  </a:cubicBezTo>
                  <a:cubicBezTo>
                    <a:pt x="112756" y="32983"/>
                    <a:pt x="97415" y="36051"/>
                    <a:pt x="79006" y="36051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8FEC7725-46BF-4EF7-9367-029C7A86D4D2}"/>
                </a:ext>
              </a:extLst>
            </p:cNvPr>
            <p:cNvSpPr/>
            <p:nvPr/>
          </p:nvSpPr>
          <p:spPr>
            <a:xfrm>
              <a:off x="3264851" y="7733719"/>
              <a:ext cx="262066" cy="87744"/>
            </a:xfrm>
            <a:custGeom>
              <a:avLst/>
              <a:gdLst>
                <a:gd name="connsiteX0" fmla="*/ 249794 w 262066"/>
                <a:gd name="connsiteY0" fmla="*/ 87744 h 87744"/>
                <a:gd name="connsiteX1" fmla="*/ 249794 w 262066"/>
                <a:gd name="connsiteY1" fmla="*/ 87744 h 87744"/>
                <a:gd name="connsiteX2" fmla="*/ 194566 w 262066"/>
                <a:gd name="connsiteY2" fmla="*/ 63199 h 87744"/>
                <a:gd name="connsiteX3" fmla="*/ 185362 w 262066"/>
                <a:gd name="connsiteY3" fmla="*/ 53994 h 87744"/>
                <a:gd name="connsiteX4" fmla="*/ 157748 w 262066"/>
                <a:gd name="connsiteY4" fmla="*/ 35585 h 87744"/>
                <a:gd name="connsiteX5" fmla="*/ 133203 w 262066"/>
                <a:gd name="connsiteY5" fmla="*/ 41722 h 87744"/>
                <a:gd name="connsiteX6" fmla="*/ 99453 w 262066"/>
                <a:gd name="connsiteY6" fmla="*/ 50926 h 87744"/>
                <a:gd name="connsiteX7" fmla="*/ 71839 w 262066"/>
                <a:gd name="connsiteY7" fmla="*/ 32517 h 87744"/>
                <a:gd name="connsiteX8" fmla="*/ 53430 w 262066"/>
                <a:gd name="connsiteY8" fmla="*/ 17176 h 87744"/>
                <a:gd name="connsiteX9" fmla="*/ 25816 w 262066"/>
                <a:gd name="connsiteY9" fmla="*/ 20244 h 87744"/>
                <a:gd name="connsiteX10" fmla="*/ 10475 w 262066"/>
                <a:gd name="connsiteY10" fmla="*/ 44790 h 87744"/>
                <a:gd name="connsiteX11" fmla="*/ 4339 w 262066"/>
                <a:gd name="connsiteY11" fmla="*/ 47858 h 87744"/>
                <a:gd name="connsiteX12" fmla="*/ 1271 w 262066"/>
                <a:gd name="connsiteY12" fmla="*/ 41722 h 87744"/>
                <a:gd name="connsiteX13" fmla="*/ 22748 w 262066"/>
                <a:gd name="connsiteY13" fmla="*/ 7971 h 87744"/>
                <a:gd name="connsiteX14" fmla="*/ 62634 w 262066"/>
                <a:gd name="connsiteY14" fmla="*/ 1835 h 87744"/>
                <a:gd name="connsiteX15" fmla="*/ 84112 w 262066"/>
                <a:gd name="connsiteY15" fmla="*/ 20244 h 87744"/>
                <a:gd name="connsiteX16" fmla="*/ 105589 w 262066"/>
                <a:gd name="connsiteY16" fmla="*/ 35585 h 87744"/>
                <a:gd name="connsiteX17" fmla="*/ 133203 w 262066"/>
                <a:gd name="connsiteY17" fmla="*/ 29449 h 87744"/>
                <a:gd name="connsiteX18" fmla="*/ 163885 w 262066"/>
                <a:gd name="connsiteY18" fmla="*/ 20244 h 87744"/>
                <a:gd name="connsiteX19" fmla="*/ 200703 w 262066"/>
                <a:gd name="connsiteY19" fmla="*/ 41722 h 87744"/>
                <a:gd name="connsiteX20" fmla="*/ 209907 w 262066"/>
                <a:gd name="connsiteY20" fmla="*/ 50926 h 87744"/>
                <a:gd name="connsiteX21" fmla="*/ 255930 w 262066"/>
                <a:gd name="connsiteY21" fmla="*/ 72403 h 87744"/>
                <a:gd name="connsiteX22" fmla="*/ 262066 w 262066"/>
                <a:gd name="connsiteY22" fmla="*/ 78540 h 87744"/>
                <a:gd name="connsiteX23" fmla="*/ 249794 w 262066"/>
                <a:gd name="connsiteY23" fmla="*/ 87744 h 87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2066" h="87744">
                  <a:moveTo>
                    <a:pt x="249794" y="87744"/>
                  </a:moveTo>
                  <a:cubicBezTo>
                    <a:pt x="249794" y="87744"/>
                    <a:pt x="249794" y="87744"/>
                    <a:pt x="249794" y="87744"/>
                  </a:cubicBezTo>
                  <a:cubicBezTo>
                    <a:pt x="228316" y="84676"/>
                    <a:pt x="209907" y="78540"/>
                    <a:pt x="194566" y="63199"/>
                  </a:cubicBezTo>
                  <a:cubicBezTo>
                    <a:pt x="191498" y="60130"/>
                    <a:pt x="188430" y="57063"/>
                    <a:pt x="185362" y="53994"/>
                  </a:cubicBezTo>
                  <a:cubicBezTo>
                    <a:pt x="176157" y="44790"/>
                    <a:pt x="166953" y="35585"/>
                    <a:pt x="157748" y="35585"/>
                  </a:cubicBezTo>
                  <a:cubicBezTo>
                    <a:pt x="148544" y="35585"/>
                    <a:pt x="142407" y="38653"/>
                    <a:pt x="133203" y="41722"/>
                  </a:cubicBezTo>
                  <a:cubicBezTo>
                    <a:pt x="123998" y="47858"/>
                    <a:pt x="111725" y="50926"/>
                    <a:pt x="99453" y="50926"/>
                  </a:cubicBezTo>
                  <a:cubicBezTo>
                    <a:pt x="87180" y="47858"/>
                    <a:pt x="81044" y="38653"/>
                    <a:pt x="71839" y="32517"/>
                  </a:cubicBezTo>
                  <a:cubicBezTo>
                    <a:pt x="65703" y="26381"/>
                    <a:pt x="62634" y="20244"/>
                    <a:pt x="53430" y="17176"/>
                  </a:cubicBezTo>
                  <a:cubicBezTo>
                    <a:pt x="44225" y="14108"/>
                    <a:pt x="35021" y="14108"/>
                    <a:pt x="25816" y="20244"/>
                  </a:cubicBezTo>
                  <a:cubicBezTo>
                    <a:pt x="16612" y="26381"/>
                    <a:pt x="13544" y="35585"/>
                    <a:pt x="10475" y="44790"/>
                  </a:cubicBezTo>
                  <a:cubicBezTo>
                    <a:pt x="10475" y="47858"/>
                    <a:pt x="7407" y="50926"/>
                    <a:pt x="4339" y="47858"/>
                  </a:cubicBezTo>
                  <a:cubicBezTo>
                    <a:pt x="1271" y="47858"/>
                    <a:pt x="-1797" y="44790"/>
                    <a:pt x="1271" y="41722"/>
                  </a:cubicBezTo>
                  <a:cubicBezTo>
                    <a:pt x="4339" y="26381"/>
                    <a:pt x="10475" y="17176"/>
                    <a:pt x="22748" y="7971"/>
                  </a:cubicBezTo>
                  <a:cubicBezTo>
                    <a:pt x="35021" y="-1233"/>
                    <a:pt x="50362" y="-1233"/>
                    <a:pt x="62634" y="1835"/>
                  </a:cubicBezTo>
                  <a:cubicBezTo>
                    <a:pt x="71839" y="4904"/>
                    <a:pt x="77975" y="14108"/>
                    <a:pt x="84112" y="20244"/>
                  </a:cubicBezTo>
                  <a:cubicBezTo>
                    <a:pt x="90248" y="26381"/>
                    <a:pt x="96385" y="32517"/>
                    <a:pt x="105589" y="35585"/>
                  </a:cubicBezTo>
                  <a:cubicBezTo>
                    <a:pt x="114794" y="38653"/>
                    <a:pt x="123998" y="32517"/>
                    <a:pt x="133203" y="29449"/>
                  </a:cubicBezTo>
                  <a:cubicBezTo>
                    <a:pt x="142407" y="23312"/>
                    <a:pt x="151612" y="20244"/>
                    <a:pt x="163885" y="20244"/>
                  </a:cubicBezTo>
                  <a:cubicBezTo>
                    <a:pt x="179226" y="20244"/>
                    <a:pt x="191498" y="32517"/>
                    <a:pt x="200703" y="41722"/>
                  </a:cubicBezTo>
                  <a:cubicBezTo>
                    <a:pt x="203771" y="44790"/>
                    <a:pt x="206839" y="47858"/>
                    <a:pt x="209907" y="50926"/>
                  </a:cubicBezTo>
                  <a:cubicBezTo>
                    <a:pt x="222180" y="63199"/>
                    <a:pt x="240589" y="69335"/>
                    <a:pt x="255930" y="72403"/>
                  </a:cubicBezTo>
                  <a:cubicBezTo>
                    <a:pt x="258998" y="72403"/>
                    <a:pt x="262066" y="75471"/>
                    <a:pt x="262066" y="78540"/>
                  </a:cubicBezTo>
                  <a:cubicBezTo>
                    <a:pt x="255930" y="87744"/>
                    <a:pt x="252862" y="87744"/>
                    <a:pt x="249794" y="87744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7186A6B2-2246-4C3D-9A00-1C00BB7B0DB7}"/>
                </a:ext>
              </a:extLst>
            </p:cNvPr>
            <p:cNvSpPr/>
            <p:nvPr/>
          </p:nvSpPr>
          <p:spPr>
            <a:xfrm>
              <a:off x="3251548" y="7651041"/>
              <a:ext cx="291981" cy="87581"/>
            </a:xfrm>
            <a:custGeom>
              <a:avLst/>
              <a:gdLst>
                <a:gd name="connsiteX0" fmla="*/ 287642 w 291981"/>
                <a:gd name="connsiteY0" fmla="*/ 87582 h 87581"/>
                <a:gd name="connsiteX1" fmla="*/ 281506 w 291981"/>
                <a:gd name="connsiteY1" fmla="*/ 81445 h 87581"/>
                <a:gd name="connsiteX2" fmla="*/ 269233 w 291981"/>
                <a:gd name="connsiteY2" fmla="*/ 63036 h 87581"/>
                <a:gd name="connsiteX3" fmla="*/ 217074 w 291981"/>
                <a:gd name="connsiteY3" fmla="*/ 50763 h 87581"/>
                <a:gd name="connsiteX4" fmla="*/ 167983 w 291981"/>
                <a:gd name="connsiteY4" fmla="*/ 29286 h 87581"/>
                <a:gd name="connsiteX5" fmla="*/ 143437 w 291981"/>
                <a:gd name="connsiteY5" fmla="*/ 13945 h 87581"/>
                <a:gd name="connsiteX6" fmla="*/ 97415 w 291981"/>
                <a:gd name="connsiteY6" fmla="*/ 26218 h 87581"/>
                <a:gd name="connsiteX7" fmla="*/ 57528 w 291981"/>
                <a:gd name="connsiteY7" fmla="*/ 32354 h 87581"/>
                <a:gd name="connsiteX8" fmla="*/ 11506 w 291981"/>
                <a:gd name="connsiteY8" fmla="*/ 50763 h 87581"/>
                <a:gd name="connsiteX9" fmla="*/ 2301 w 291981"/>
                <a:gd name="connsiteY9" fmla="*/ 50763 h 87581"/>
                <a:gd name="connsiteX10" fmla="*/ 2301 w 291981"/>
                <a:gd name="connsiteY10" fmla="*/ 41559 h 87581"/>
                <a:gd name="connsiteX11" fmla="*/ 63665 w 291981"/>
                <a:gd name="connsiteY11" fmla="*/ 20081 h 87581"/>
                <a:gd name="connsiteX12" fmla="*/ 91278 w 291981"/>
                <a:gd name="connsiteY12" fmla="*/ 13945 h 87581"/>
                <a:gd name="connsiteX13" fmla="*/ 146506 w 291981"/>
                <a:gd name="connsiteY13" fmla="*/ 1672 h 87581"/>
                <a:gd name="connsiteX14" fmla="*/ 174119 w 291981"/>
                <a:gd name="connsiteY14" fmla="*/ 17013 h 87581"/>
                <a:gd name="connsiteX15" fmla="*/ 214006 w 291981"/>
                <a:gd name="connsiteY15" fmla="*/ 35422 h 87581"/>
                <a:gd name="connsiteX16" fmla="*/ 275369 w 291981"/>
                <a:gd name="connsiteY16" fmla="*/ 50763 h 87581"/>
                <a:gd name="connsiteX17" fmla="*/ 290710 w 291981"/>
                <a:gd name="connsiteY17" fmla="*/ 78377 h 87581"/>
                <a:gd name="connsiteX18" fmla="*/ 287642 w 291981"/>
                <a:gd name="connsiteY18" fmla="*/ 87582 h 87581"/>
                <a:gd name="connsiteX19" fmla="*/ 287642 w 291981"/>
                <a:gd name="connsiteY19" fmla="*/ 87582 h 87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1981" h="87581">
                  <a:moveTo>
                    <a:pt x="287642" y="87582"/>
                  </a:moveTo>
                  <a:cubicBezTo>
                    <a:pt x="284574" y="87582"/>
                    <a:pt x="281506" y="84513"/>
                    <a:pt x="281506" y="81445"/>
                  </a:cubicBezTo>
                  <a:cubicBezTo>
                    <a:pt x="281506" y="72241"/>
                    <a:pt x="278438" y="66104"/>
                    <a:pt x="269233" y="63036"/>
                  </a:cubicBezTo>
                  <a:cubicBezTo>
                    <a:pt x="253892" y="50763"/>
                    <a:pt x="229347" y="50763"/>
                    <a:pt x="217074" y="50763"/>
                  </a:cubicBezTo>
                  <a:cubicBezTo>
                    <a:pt x="201733" y="53831"/>
                    <a:pt x="183324" y="41559"/>
                    <a:pt x="167983" y="29286"/>
                  </a:cubicBezTo>
                  <a:cubicBezTo>
                    <a:pt x="158778" y="23150"/>
                    <a:pt x="149574" y="17013"/>
                    <a:pt x="143437" y="13945"/>
                  </a:cubicBezTo>
                  <a:cubicBezTo>
                    <a:pt x="121960" y="10877"/>
                    <a:pt x="109688" y="17013"/>
                    <a:pt x="97415" y="26218"/>
                  </a:cubicBezTo>
                  <a:cubicBezTo>
                    <a:pt x="85142" y="32354"/>
                    <a:pt x="72869" y="41559"/>
                    <a:pt x="57528" y="32354"/>
                  </a:cubicBezTo>
                  <a:cubicBezTo>
                    <a:pt x="36051" y="20081"/>
                    <a:pt x="11506" y="50763"/>
                    <a:pt x="11506" y="50763"/>
                  </a:cubicBezTo>
                  <a:cubicBezTo>
                    <a:pt x="8437" y="53831"/>
                    <a:pt x="5369" y="53831"/>
                    <a:pt x="2301" y="50763"/>
                  </a:cubicBezTo>
                  <a:cubicBezTo>
                    <a:pt x="-767" y="47695"/>
                    <a:pt x="-767" y="44627"/>
                    <a:pt x="2301" y="41559"/>
                  </a:cubicBezTo>
                  <a:cubicBezTo>
                    <a:pt x="2301" y="41559"/>
                    <a:pt x="32983" y="4740"/>
                    <a:pt x="63665" y="20081"/>
                  </a:cubicBezTo>
                  <a:cubicBezTo>
                    <a:pt x="72869" y="23150"/>
                    <a:pt x="79006" y="20081"/>
                    <a:pt x="91278" y="13945"/>
                  </a:cubicBezTo>
                  <a:cubicBezTo>
                    <a:pt x="103551" y="7809"/>
                    <a:pt x="118892" y="-4464"/>
                    <a:pt x="146506" y="1672"/>
                  </a:cubicBezTo>
                  <a:cubicBezTo>
                    <a:pt x="155710" y="1672"/>
                    <a:pt x="164915" y="10877"/>
                    <a:pt x="174119" y="17013"/>
                  </a:cubicBezTo>
                  <a:cubicBezTo>
                    <a:pt x="186392" y="26218"/>
                    <a:pt x="204801" y="38490"/>
                    <a:pt x="214006" y="35422"/>
                  </a:cubicBezTo>
                  <a:cubicBezTo>
                    <a:pt x="229347" y="32354"/>
                    <a:pt x="256960" y="35422"/>
                    <a:pt x="275369" y="50763"/>
                  </a:cubicBezTo>
                  <a:cubicBezTo>
                    <a:pt x="284574" y="56900"/>
                    <a:pt x="290710" y="66104"/>
                    <a:pt x="290710" y="78377"/>
                  </a:cubicBezTo>
                  <a:cubicBezTo>
                    <a:pt x="293778" y="84513"/>
                    <a:pt x="290710" y="87582"/>
                    <a:pt x="287642" y="87582"/>
                  </a:cubicBezTo>
                  <a:cubicBezTo>
                    <a:pt x="287642" y="87582"/>
                    <a:pt x="287642" y="87582"/>
                    <a:pt x="287642" y="87582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8" name="图形 1">
              <a:extLst>
                <a:ext uri="{FF2B5EF4-FFF2-40B4-BE49-F238E27FC236}">
                  <a16:creationId xmlns:a16="http://schemas.microsoft.com/office/drawing/2014/main" id="{39BACD66-8524-46D2-8F0F-CCC843291163}"/>
                </a:ext>
              </a:extLst>
            </p:cNvPr>
            <p:cNvGrpSpPr/>
            <p:nvPr/>
          </p:nvGrpSpPr>
          <p:grpSpPr>
            <a:xfrm>
              <a:off x="2282917" y="11764076"/>
              <a:ext cx="433880" cy="556340"/>
              <a:chOff x="2282917" y="11764076"/>
              <a:chExt cx="433880" cy="556340"/>
            </a:xfrm>
          </p:grpSpPr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3366427F-06A4-4D55-9480-AC2D0462DDF9}"/>
                  </a:ext>
                </a:extLst>
              </p:cNvPr>
              <p:cNvSpPr/>
              <p:nvPr/>
            </p:nvSpPr>
            <p:spPr>
              <a:xfrm>
                <a:off x="2370213" y="11764076"/>
                <a:ext cx="266931" cy="257728"/>
              </a:xfrm>
              <a:custGeom>
                <a:avLst/>
                <a:gdLst>
                  <a:gd name="connsiteX0" fmla="*/ 12273 w 266931"/>
                  <a:gd name="connsiteY0" fmla="*/ 153409 h 257728"/>
                  <a:gd name="connsiteX1" fmla="*/ 113523 w 266931"/>
                  <a:gd name="connsiteY1" fmla="*/ 0 h 257728"/>
                  <a:gd name="connsiteX2" fmla="*/ 266932 w 266931"/>
                  <a:gd name="connsiteY2" fmla="*/ 104319 h 257728"/>
                  <a:gd name="connsiteX3" fmla="*/ 141136 w 266931"/>
                  <a:gd name="connsiteY3" fmla="*/ 257728 h 257728"/>
                  <a:gd name="connsiteX4" fmla="*/ 0 w 266931"/>
                  <a:gd name="connsiteY4" fmla="*/ 193296 h 25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6931" h="257728">
                    <a:moveTo>
                      <a:pt x="12273" y="153409"/>
                    </a:moveTo>
                    <a:lnTo>
                      <a:pt x="113523" y="0"/>
                    </a:lnTo>
                    <a:lnTo>
                      <a:pt x="266932" y="104319"/>
                    </a:lnTo>
                    <a:lnTo>
                      <a:pt x="141136" y="257728"/>
                    </a:lnTo>
                    <a:lnTo>
                      <a:pt x="0" y="193296"/>
                    </a:ln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5A49E6A4-90C4-4CEE-A40A-0A8DA2FD5B4E}"/>
                  </a:ext>
                </a:extLst>
              </p:cNvPr>
              <p:cNvSpPr/>
              <p:nvPr/>
            </p:nvSpPr>
            <p:spPr>
              <a:xfrm>
                <a:off x="2305781" y="11911350"/>
                <a:ext cx="411016" cy="374317"/>
              </a:xfrm>
              <a:custGeom>
                <a:avLst/>
                <a:gdLst>
                  <a:gd name="connsiteX0" fmla="*/ 64432 w 411016"/>
                  <a:gd name="connsiteY0" fmla="*/ 0 h 374317"/>
                  <a:gd name="connsiteX1" fmla="*/ 245455 w 411016"/>
                  <a:gd name="connsiteY1" fmla="*/ 67499 h 374317"/>
                  <a:gd name="connsiteX2" fmla="*/ 309886 w 411016"/>
                  <a:gd name="connsiteY2" fmla="*/ 211704 h 374317"/>
                  <a:gd name="connsiteX3" fmla="*/ 405000 w 411016"/>
                  <a:gd name="connsiteY3" fmla="*/ 374318 h 374317"/>
                  <a:gd name="connsiteX4" fmla="*/ 0 w 411016"/>
                  <a:gd name="connsiteY4" fmla="*/ 95114 h 374317"/>
                  <a:gd name="connsiteX5" fmla="*/ 64432 w 411016"/>
                  <a:gd name="connsiteY5" fmla="*/ 0 h 374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1016" h="374317">
                    <a:moveTo>
                      <a:pt x="64432" y="0"/>
                    </a:moveTo>
                    <a:cubicBezTo>
                      <a:pt x="64432" y="0"/>
                      <a:pt x="156477" y="85909"/>
                      <a:pt x="245455" y="67499"/>
                    </a:cubicBezTo>
                    <a:cubicBezTo>
                      <a:pt x="245455" y="67499"/>
                      <a:pt x="276136" y="177954"/>
                      <a:pt x="309886" y="211704"/>
                    </a:cubicBezTo>
                    <a:cubicBezTo>
                      <a:pt x="340568" y="245455"/>
                      <a:pt x="435682" y="306818"/>
                      <a:pt x="405000" y="374318"/>
                    </a:cubicBezTo>
                    <a:lnTo>
                      <a:pt x="0" y="95114"/>
                    </a:lnTo>
                    <a:cubicBezTo>
                      <a:pt x="0" y="92045"/>
                      <a:pt x="21477" y="30682"/>
                      <a:pt x="64432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5F8B9E60-AE89-40AA-9606-4349341B562E}"/>
                  </a:ext>
                </a:extLst>
              </p:cNvPr>
              <p:cNvSpPr/>
              <p:nvPr/>
            </p:nvSpPr>
            <p:spPr>
              <a:xfrm rot="-3319291">
                <a:off x="2474860" y="11916362"/>
                <a:ext cx="46025" cy="490934"/>
              </a:xfrm>
              <a:custGeom>
                <a:avLst/>
                <a:gdLst>
                  <a:gd name="connsiteX0" fmla="*/ 0 w 46025"/>
                  <a:gd name="connsiteY0" fmla="*/ 0 h 490934"/>
                  <a:gd name="connsiteX1" fmla="*/ 46025 w 46025"/>
                  <a:gd name="connsiteY1" fmla="*/ 0 h 490934"/>
                  <a:gd name="connsiteX2" fmla="*/ 46025 w 46025"/>
                  <a:gd name="connsiteY2" fmla="*/ 490934 h 490934"/>
                  <a:gd name="connsiteX3" fmla="*/ 0 w 46025"/>
                  <a:gd name="connsiteY3" fmla="*/ 490934 h 490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025" h="490934">
                    <a:moveTo>
                      <a:pt x="0" y="0"/>
                    </a:moveTo>
                    <a:lnTo>
                      <a:pt x="46025" y="0"/>
                    </a:lnTo>
                    <a:lnTo>
                      <a:pt x="46025" y="490934"/>
                    </a:lnTo>
                    <a:lnTo>
                      <a:pt x="0" y="490934"/>
                    </a:lnTo>
                    <a:close/>
                  </a:path>
                </a:pathLst>
              </a:custGeom>
              <a:solidFill>
                <a:srgbClr val="38333D"/>
              </a:solidFill>
              <a:ln w="306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9E08EDD2-6225-4884-974D-315764818A6B}"/>
                  </a:ext>
                </a:extLst>
              </p:cNvPr>
              <p:cNvSpPr/>
              <p:nvPr/>
            </p:nvSpPr>
            <p:spPr>
              <a:xfrm>
                <a:off x="2364843" y="11902912"/>
                <a:ext cx="192528" cy="82074"/>
              </a:xfrm>
              <a:custGeom>
                <a:avLst/>
                <a:gdLst>
                  <a:gd name="connsiteX0" fmla="*/ 167983 w 192528"/>
                  <a:gd name="connsiteY0" fmla="*/ 82074 h 82074"/>
                  <a:gd name="connsiteX1" fmla="*/ 2301 w 192528"/>
                  <a:gd name="connsiteY1" fmla="*/ 11506 h 82074"/>
                  <a:gd name="connsiteX2" fmla="*/ 2301 w 192528"/>
                  <a:gd name="connsiteY2" fmla="*/ 2301 h 82074"/>
                  <a:gd name="connsiteX3" fmla="*/ 11506 w 192528"/>
                  <a:gd name="connsiteY3" fmla="*/ 2301 h 82074"/>
                  <a:gd name="connsiteX4" fmla="*/ 186392 w 192528"/>
                  <a:gd name="connsiteY4" fmla="*/ 69802 h 82074"/>
                  <a:gd name="connsiteX5" fmla="*/ 192528 w 192528"/>
                  <a:gd name="connsiteY5" fmla="*/ 75937 h 82074"/>
                  <a:gd name="connsiteX6" fmla="*/ 186392 w 192528"/>
                  <a:gd name="connsiteY6" fmla="*/ 82074 h 82074"/>
                  <a:gd name="connsiteX7" fmla="*/ 167983 w 192528"/>
                  <a:gd name="connsiteY7" fmla="*/ 82074 h 82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528" h="82074">
                    <a:moveTo>
                      <a:pt x="167983" y="82074"/>
                    </a:moveTo>
                    <a:cubicBezTo>
                      <a:pt x="79006" y="82074"/>
                      <a:pt x="5369" y="14574"/>
                      <a:pt x="2301" y="11506"/>
                    </a:cubicBezTo>
                    <a:cubicBezTo>
                      <a:pt x="-767" y="8438"/>
                      <a:pt x="-767" y="5370"/>
                      <a:pt x="2301" y="2301"/>
                    </a:cubicBezTo>
                    <a:cubicBezTo>
                      <a:pt x="5369" y="-767"/>
                      <a:pt x="8437" y="-767"/>
                      <a:pt x="11506" y="2301"/>
                    </a:cubicBezTo>
                    <a:cubicBezTo>
                      <a:pt x="11506" y="2301"/>
                      <a:pt x="94347" y="79006"/>
                      <a:pt x="186392" y="69802"/>
                    </a:cubicBezTo>
                    <a:cubicBezTo>
                      <a:pt x="189460" y="69802"/>
                      <a:pt x="192528" y="72870"/>
                      <a:pt x="192528" y="75937"/>
                    </a:cubicBezTo>
                    <a:cubicBezTo>
                      <a:pt x="192528" y="79006"/>
                      <a:pt x="189460" y="82074"/>
                      <a:pt x="186392" y="82074"/>
                    </a:cubicBezTo>
                    <a:cubicBezTo>
                      <a:pt x="180256" y="82074"/>
                      <a:pt x="174119" y="82074"/>
                      <a:pt x="167983" y="8207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4BC7A86E-B56A-4F42-AE26-09D5585FFFA0}"/>
                  </a:ext>
                </a:extLst>
              </p:cNvPr>
              <p:cNvSpPr/>
              <p:nvPr/>
            </p:nvSpPr>
            <p:spPr>
              <a:xfrm>
                <a:off x="2523622" y="12018736"/>
                <a:ext cx="46022" cy="15340"/>
              </a:xfrm>
              <a:custGeom>
                <a:avLst/>
                <a:gdLst>
                  <a:gd name="connsiteX0" fmla="*/ 6136 w 46022"/>
                  <a:gd name="connsiteY0" fmla="*/ 15341 h 15340"/>
                  <a:gd name="connsiteX1" fmla="*/ 0 w 46022"/>
                  <a:gd name="connsiteY1" fmla="*/ 12273 h 15340"/>
                  <a:gd name="connsiteX2" fmla="*/ 3068 w 46022"/>
                  <a:gd name="connsiteY2" fmla="*/ 6136 h 15340"/>
                  <a:gd name="connsiteX3" fmla="*/ 39886 w 46022"/>
                  <a:gd name="connsiteY3" fmla="*/ 0 h 15340"/>
                  <a:gd name="connsiteX4" fmla="*/ 46023 w 46022"/>
                  <a:gd name="connsiteY4" fmla="*/ 3068 h 15340"/>
                  <a:gd name="connsiteX5" fmla="*/ 42955 w 46022"/>
                  <a:gd name="connsiteY5" fmla="*/ 9204 h 15340"/>
                  <a:gd name="connsiteX6" fmla="*/ 6136 w 46022"/>
                  <a:gd name="connsiteY6" fmla="*/ 15341 h 15340"/>
                  <a:gd name="connsiteX7" fmla="*/ 6136 w 46022"/>
                  <a:gd name="connsiteY7" fmla="*/ 15341 h 15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022" h="15340">
                    <a:moveTo>
                      <a:pt x="6136" y="15341"/>
                    </a:moveTo>
                    <a:cubicBezTo>
                      <a:pt x="3068" y="15341"/>
                      <a:pt x="0" y="12273"/>
                      <a:pt x="0" y="12273"/>
                    </a:cubicBezTo>
                    <a:cubicBezTo>
                      <a:pt x="0" y="9204"/>
                      <a:pt x="0" y="6136"/>
                      <a:pt x="3068" y="6136"/>
                    </a:cubicBezTo>
                    <a:lnTo>
                      <a:pt x="39886" y="0"/>
                    </a:lnTo>
                    <a:cubicBezTo>
                      <a:pt x="42955" y="0"/>
                      <a:pt x="46023" y="0"/>
                      <a:pt x="46023" y="3068"/>
                    </a:cubicBezTo>
                    <a:cubicBezTo>
                      <a:pt x="46023" y="6136"/>
                      <a:pt x="46023" y="9204"/>
                      <a:pt x="42955" y="9204"/>
                    </a:cubicBezTo>
                    <a:lnTo>
                      <a:pt x="6136" y="15341"/>
                    </a:lnTo>
                    <a:cubicBezTo>
                      <a:pt x="6136" y="15341"/>
                      <a:pt x="6136" y="15341"/>
                      <a:pt x="6136" y="1534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468DEA77-F36D-4C6B-AA5E-F030CCCBFBE5}"/>
                  </a:ext>
                </a:extLst>
              </p:cNvPr>
              <p:cNvSpPr/>
              <p:nvPr/>
            </p:nvSpPr>
            <p:spPr>
              <a:xfrm>
                <a:off x="2538963" y="12061690"/>
                <a:ext cx="46022" cy="15340"/>
              </a:xfrm>
              <a:custGeom>
                <a:avLst/>
                <a:gdLst>
                  <a:gd name="connsiteX0" fmla="*/ 6136 w 46022"/>
                  <a:gd name="connsiteY0" fmla="*/ 15341 h 15340"/>
                  <a:gd name="connsiteX1" fmla="*/ 0 w 46022"/>
                  <a:gd name="connsiteY1" fmla="*/ 12273 h 15340"/>
                  <a:gd name="connsiteX2" fmla="*/ 3068 w 46022"/>
                  <a:gd name="connsiteY2" fmla="*/ 6137 h 15340"/>
                  <a:gd name="connsiteX3" fmla="*/ 39886 w 46022"/>
                  <a:gd name="connsiteY3" fmla="*/ 0 h 15340"/>
                  <a:gd name="connsiteX4" fmla="*/ 46023 w 46022"/>
                  <a:gd name="connsiteY4" fmla="*/ 3068 h 15340"/>
                  <a:gd name="connsiteX5" fmla="*/ 42955 w 46022"/>
                  <a:gd name="connsiteY5" fmla="*/ 9204 h 15340"/>
                  <a:gd name="connsiteX6" fmla="*/ 6136 w 46022"/>
                  <a:gd name="connsiteY6" fmla="*/ 15341 h 15340"/>
                  <a:gd name="connsiteX7" fmla="*/ 6136 w 46022"/>
                  <a:gd name="connsiteY7" fmla="*/ 15341 h 15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022" h="15340">
                    <a:moveTo>
                      <a:pt x="6136" y="15341"/>
                    </a:moveTo>
                    <a:cubicBezTo>
                      <a:pt x="3068" y="15341"/>
                      <a:pt x="0" y="12273"/>
                      <a:pt x="0" y="12273"/>
                    </a:cubicBezTo>
                    <a:cubicBezTo>
                      <a:pt x="0" y="9204"/>
                      <a:pt x="0" y="6137"/>
                      <a:pt x="3068" y="6137"/>
                    </a:cubicBezTo>
                    <a:lnTo>
                      <a:pt x="39886" y="0"/>
                    </a:lnTo>
                    <a:cubicBezTo>
                      <a:pt x="42955" y="0"/>
                      <a:pt x="46023" y="0"/>
                      <a:pt x="46023" y="3068"/>
                    </a:cubicBezTo>
                    <a:cubicBezTo>
                      <a:pt x="46023" y="6137"/>
                      <a:pt x="46023" y="9204"/>
                      <a:pt x="42955" y="9204"/>
                    </a:cubicBezTo>
                    <a:lnTo>
                      <a:pt x="6136" y="15341"/>
                    </a:lnTo>
                    <a:cubicBezTo>
                      <a:pt x="6136" y="15341"/>
                      <a:pt x="6136" y="15341"/>
                      <a:pt x="6136" y="1534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9" name="图形 1">
              <a:extLst>
                <a:ext uri="{FF2B5EF4-FFF2-40B4-BE49-F238E27FC236}">
                  <a16:creationId xmlns:a16="http://schemas.microsoft.com/office/drawing/2014/main" id="{50EB8B35-C288-4F6B-A6FC-3F8DE1230F3D}"/>
                </a:ext>
              </a:extLst>
            </p:cNvPr>
            <p:cNvGrpSpPr/>
            <p:nvPr/>
          </p:nvGrpSpPr>
          <p:grpSpPr>
            <a:xfrm>
              <a:off x="3520440" y="12113850"/>
              <a:ext cx="500454" cy="343635"/>
              <a:chOff x="3520440" y="12113850"/>
              <a:chExt cx="500454" cy="343635"/>
            </a:xfrm>
          </p:grpSpPr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32D2408C-AAA6-4BF9-97F2-8FEB076083D5}"/>
                  </a:ext>
                </a:extLst>
              </p:cNvPr>
              <p:cNvSpPr/>
              <p:nvPr/>
            </p:nvSpPr>
            <p:spPr>
              <a:xfrm>
                <a:off x="3539190" y="12113850"/>
                <a:ext cx="184090" cy="223976"/>
              </a:xfrm>
              <a:custGeom>
                <a:avLst/>
                <a:gdLst>
                  <a:gd name="connsiteX0" fmla="*/ 3068 w 184090"/>
                  <a:gd name="connsiteY0" fmla="*/ 184091 h 223976"/>
                  <a:gd name="connsiteX1" fmla="*/ 0 w 184090"/>
                  <a:gd name="connsiteY1" fmla="*/ 0 h 223976"/>
                  <a:gd name="connsiteX2" fmla="*/ 184091 w 184090"/>
                  <a:gd name="connsiteY2" fmla="*/ 0 h 223976"/>
                  <a:gd name="connsiteX3" fmla="*/ 168750 w 184090"/>
                  <a:gd name="connsiteY3" fmla="*/ 196363 h 223976"/>
                  <a:gd name="connsiteX4" fmla="*/ 15341 w 184090"/>
                  <a:gd name="connsiteY4" fmla="*/ 223977 h 223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090" h="223976">
                    <a:moveTo>
                      <a:pt x="3068" y="184091"/>
                    </a:moveTo>
                    <a:lnTo>
                      <a:pt x="0" y="0"/>
                    </a:lnTo>
                    <a:lnTo>
                      <a:pt x="184091" y="0"/>
                    </a:lnTo>
                    <a:lnTo>
                      <a:pt x="168750" y="196363"/>
                    </a:lnTo>
                    <a:lnTo>
                      <a:pt x="15341" y="223977"/>
                    </a:ln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85F5941B-2E54-41A0-8C59-84006A0C95BE}"/>
                  </a:ext>
                </a:extLst>
              </p:cNvPr>
              <p:cNvSpPr/>
              <p:nvPr/>
            </p:nvSpPr>
            <p:spPr>
              <a:xfrm>
                <a:off x="3520440" y="12251918"/>
                <a:ext cx="500454" cy="159544"/>
              </a:xfrm>
              <a:custGeom>
                <a:avLst/>
                <a:gdLst>
                  <a:gd name="connsiteX0" fmla="*/ 9545 w 500454"/>
                  <a:gd name="connsiteY0" fmla="*/ 46023 h 159544"/>
                  <a:gd name="connsiteX1" fmla="*/ 196705 w 500454"/>
                  <a:gd name="connsiteY1" fmla="*/ 0 h 159544"/>
                  <a:gd name="connsiteX2" fmla="*/ 331705 w 500454"/>
                  <a:gd name="connsiteY2" fmla="*/ 79772 h 159544"/>
                  <a:gd name="connsiteX3" fmla="*/ 500455 w 500454"/>
                  <a:gd name="connsiteY3" fmla="*/ 159545 h 159544"/>
                  <a:gd name="connsiteX4" fmla="*/ 9545 w 500454"/>
                  <a:gd name="connsiteY4" fmla="*/ 159545 h 159544"/>
                  <a:gd name="connsiteX5" fmla="*/ 9545 w 500454"/>
                  <a:gd name="connsiteY5" fmla="*/ 46023 h 159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454" h="159544">
                    <a:moveTo>
                      <a:pt x="9545" y="46023"/>
                    </a:moveTo>
                    <a:cubicBezTo>
                      <a:pt x="9545" y="46023"/>
                      <a:pt x="135341" y="64431"/>
                      <a:pt x="196705" y="0"/>
                    </a:cubicBezTo>
                    <a:cubicBezTo>
                      <a:pt x="196705" y="0"/>
                      <a:pt x="285682" y="70568"/>
                      <a:pt x="331705" y="79772"/>
                    </a:cubicBezTo>
                    <a:cubicBezTo>
                      <a:pt x="377727" y="88977"/>
                      <a:pt x="488182" y="85909"/>
                      <a:pt x="500455" y="159545"/>
                    </a:cubicBezTo>
                    <a:lnTo>
                      <a:pt x="9545" y="159545"/>
                    </a:lnTo>
                    <a:cubicBezTo>
                      <a:pt x="9545" y="159545"/>
                      <a:pt x="-11932" y="98181"/>
                      <a:pt x="9545" y="4602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2A8FADB6-1FA6-476D-89DB-0893DFF0189C}"/>
                  </a:ext>
                </a:extLst>
              </p:cNvPr>
              <p:cNvSpPr/>
              <p:nvPr/>
            </p:nvSpPr>
            <p:spPr>
              <a:xfrm>
                <a:off x="3529985" y="12411463"/>
                <a:ext cx="490909" cy="46022"/>
              </a:xfrm>
              <a:custGeom>
                <a:avLst/>
                <a:gdLst>
                  <a:gd name="connsiteX0" fmla="*/ 0 w 490909"/>
                  <a:gd name="connsiteY0" fmla="*/ 0 h 46022"/>
                  <a:gd name="connsiteX1" fmla="*/ 490909 w 490909"/>
                  <a:gd name="connsiteY1" fmla="*/ 0 h 46022"/>
                  <a:gd name="connsiteX2" fmla="*/ 490909 w 490909"/>
                  <a:gd name="connsiteY2" fmla="*/ 46023 h 46022"/>
                  <a:gd name="connsiteX3" fmla="*/ 0 w 490909"/>
                  <a:gd name="connsiteY3" fmla="*/ 46023 h 46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0909" h="46022">
                    <a:moveTo>
                      <a:pt x="0" y="0"/>
                    </a:moveTo>
                    <a:lnTo>
                      <a:pt x="490909" y="0"/>
                    </a:lnTo>
                    <a:lnTo>
                      <a:pt x="490909" y="46023"/>
                    </a:lnTo>
                    <a:lnTo>
                      <a:pt x="0" y="46023"/>
                    </a:lnTo>
                    <a:close/>
                  </a:path>
                </a:pathLst>
              </a:custGeom>
              <a:solidFill>
                <a:srgbClr val="38333D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4A0B2934-0D6A-406F-AD87-0BB9F4968FDF}"/>
                  </a:ext>
                </a:extLst>
              </p:cNvPr>
              <p:cNvSpPr/>
              <p:nvPr/>
            </p:nvSpPr>
            <p:spPr>
              <a:xfrm>
                <a:off x="3520781" y="12243480"/>
                <a:ext cx="201732" cy="63664"/>
              </a:xfrm>
              <a:custGeom>
                <a:avLst/>
                <a:gdLst>
                  <a:gd name="connsiteX0" fmla="*/ 42954 w 201732"/>
                  <a:gd name="connsiteY0" fmla="*/ 63665 h 63664"/>
                  <a:gd name="connsiteX1" fmla="*/ 6136 w 201732"/>
                  <a:gd name="connsiteY1" fmla="*/ 60597 h 63664"/>
                  <a:gd name="connsiteX2" fmla="*/ 0 w 201732"/>
                  <a:gd name="connsiteY2" fmla="*/ 54461 h 63664"/>
                  <a:gd name="connsiteX3" fmla="*/ 6136 w 201732"/>
                  <a:gd name="connsiteY3" fmla="*/ 48324 h 63664"/>
                  <a:gd name="connsiteX4" fmla="*/ 190227 w 201732"/>
                  <a:gd name="connsiteY4" fmla="*/ 2301 h 63664"/>
                  <a:gd name="connsiteX5" fmla="*/ 199432 w 201732"/>
                  <a:gd name="connsiteY5" fmla="*/ 2301 h 63664"/>
                  <a:gd name="connsiteX6" fmla="*/ 199432 w 201732"/>
                  <a:gd name="connsiteY6" fmla="*/ 11505 h 63664"/>
                  <a:gd name="connsiteX7" fmla="*/ 42954 w 201732"/>
                  <a:gd name="connsiteY7" fmla="*/ 63665 h 63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732" h="63664">
                    <a:moveTo>
                      <a:pt x="42954" y="63665"/>
                    </a:moveTo>
                    <a:cubicBezTo>
                      <a:pt x="21477" y="63665"/>
                      <a:pt x="9205" y="60597"/>
                      <a:pt x="6136" y="60597"/>
                    </a:cubicBezTo>
                    <a:cubicBezTo>
                      <a:pt x="3068" y="60597"/>
                      <a:pt x="0" y="57528"/>
                      <a:pt x="0" y="54461"/>
                    </a:cubicBezTo>
                    <a:cubicBezTo>
                      <a:pt x="0" y="51392"/>
                      <a:pt x="3068" y="48324"/>
                      <a:pt x="6136" y="48324"/>
                    </a:cubicBezTo>
                    <a:cubicBezTo>
                      <a:pt x="6136" y="48324"/>
                      <a:pt x="119659" y="63665"/>
                      <a:pt x="190227" y="2301"/>
                    </a:cubicBezTo>
                    <a:cubicBezTo>
                      <a:pt x="193295" y="-767"/>
                      <a:pt x="196364" y="-767"/>
                      <a:pt x="199432" y="2301"/>
                    </a:cubicBezTo>
                    <a:cubicBezTo>
                      <a:pt x="202500" y="5370"/>
                      <a:pt x="202500" y="8438"/>
                      <a:pt x="199432" y="11505"/>
                    </a:cubicBezTo>
                    <a:cubicBezTo>
                      <a:pt x="150341" y="54461"/>
                      <a:pt x="82841" y="63665"/>
                      <a:pt x="42954" y="6366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6F091EA8-CDA8-46DA-907F-17CA648A9604}"/>
                  </a:ext>
                </a:extLst>
              </p:cNvPr>
              <p:cNvSpPr/>
              <p:nvPr/>
            </p:nvSpPr>
            <p:spPr>
              <a:xfrm>
                <a:off x="3720980" y="12268026"/>
                <a:ext cx="41420" cy="42187"/>
              </a:xfrm>
              <a:custGeom>
                <a:avLst/>
                <a:gdLst>
                  <a:gd name="connsiteX0" fmla="*/ 5369 w 41420"/>
                  <a:gd name="connsiteY0" fmla="*/ 42188 h 42187"/>
                  <a:gd name="connsiteX1" fmla="*/ 2301 w 41420"/>
                  <a:gd name="connsiteY1" fmla="*/ 39119 h 42187"/>
                  <a:gd name="connsiteX2" fmla="*/ 2301 w 41420"/>
                  <a:gd name="connsiteY2" fmla="*/ 29915 h 42187"/>
                  <a:gd name="connsiteX3" fmla="*/ 29915 w 41420"/>
                  <a:gd name="connsiteY3" fmla="*/ 2301 h 42187"/>
                  <a:gd name="connsiteX4" fmla="*/ 39119 w 41420"/>
                  <a:gd name="connsiteY4" fmla="*/ 2301 h 42187"/>
                  <a:gd name="connsiteX5" fmla="*/ 39119 w 41420"/>
                  <a:gd name="connsiteY5" fmla="*/ 11506 h 42187"/>
                  <a:gd name="connsiteX6" fmla="*/ 11506 w 41420"/>
                  <a:gd name="connsiteY6" fmla="*/ 39119 h 42187"/>
                  <a:gd name="connsiteX7" fmla="*/ 5369 w 41420"/>
                  <a:gd name="connsiteY7" fmla="*/ 42188 h 42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420" h="42187">
                    <a:moveTo>
                      <a:pt x="5369" y="42188"/>
                    </a:moveTo>
                    <a:cubicBezTo>
                      <a:pt x="5369" y="42188"/>
                      <a:pt x="2301" y="42188"/>
                      <a:pt x="2301" y="39119"/>
                    </a:cubicBezTo>
                    <a:cubicBezTo>
                      <a:pt x="-767" y="36051"/>
                      <a:pt x="-767" y="32982"/>
                      <a:pt x="2301" y="29915"/>
                    </a:cubicBezTo>
                    <a:lnTo>
                      <a:pt x="29915" y="2301"/>
                    </a:lnTo>
                    <a:cubicBezTo>
                      <a:pt x="32983" y="-767"/>
                      <a:pt x="36051" y="-767"/>
                      <a:pt x="39119" y="2301"/>
                    </a:cubicBezTo>
                    <a:cubicBezTo>
                      <a:pt x="42187" y="5369"/>
                      <a:pt x="42187" y="8437"/>
                      <a:pt x="39119" y="11506"/>
                    </a:cubicBezTo>
                    <a:lnTo>
                      <a:pt x="11506" y="39119"/>
                    </a:lnTo>
                    <a:cubicBezTo>
                      <a:pt x="8437" y="42188"/>
                      <a:pt x="5369" y="42188"/>
                      <a:pt x="5369" y="4218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C8ED083C-168F-4245-B0A5-58CCABEE7FB3}"/>
                  </a:ext>
                </a:extLst>
              </p:cNvPr>
              <p:cNvSpPr/>
              <p:nvPr/>
            </p:nvSpPr>
            <p:spPr>
              <a:xfrm>
                <a:off x="3757798" y="12295640"/>
                <a:ext cx="38352" cy="42187"/>
              </a:xfrm>
              <a:custGeom>
                <a:avLst/>
                <a:gdLst>
                  <a:gd name="connsiteX0" fmla="*/ 5369 w 38352"/>
                  <a:gd name="connsiteY0" fmla="*/ 42187 h 42187"/>
                  <a:gd name="connsiteX1" fmla="*/ 2301 w 38352"/>
                  <a:gd name="connsiteY1" fmla="*/ 39119 h 42187"/>
                  <a:gd name="connsiteX2" fmla="*/ 2301 w 38352"/>
                  <a:gd name="connsiteY2" fmla="*/ 29915 h 42187"/>
                  <a:gd name="connsiteX3" fmla="*/ 26847 w 38352"/>
                  <a:gd name="connsiteY3" fmla="*/ 2301 h 42187"/>
                  <a:gd name="connsiteX4" fmla="*/ 36051 w 38352"/>
                  <a:gd name="connsiteY4" fmla="*/ 2301 h 42187"/>
                  <a:gd name="connsiteX5" fmla="*/ 36051 w 38352"/>
                  <a:gd name="connsiteY5" fmla="*/ 11505 h 42187"/>
                  <a:gd name="connsiteX6" fmla="*/ 11506 w 38352"/>
                  <a:gd name="connsiteY6" fmla="*/ 39119 h 42187"/>
                  <a:gd name="connsiteX7" fmla="*/ 5369 w 38352"/>
                  <a:gd name="connsiteY7" fmla="*/ 42187 h 42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352" h="42187">
                    <a:moveTo>
                      <a:pt x="5369" y="42187"/>
                    </a:moveTo>
                    <a:cubicBezTo>
                      <a:pt x="5369" y="42187"/>
                      <a:pt x="2301" y="42187"/>
                      <a:pt x="2301" y="39119"/>
                    </a:cubicBezTo>
                    <a:cubicBezTo>
                      <a:pt x="-767" y="36051"/>
                      <a:pt x="-767" y="32983"/>
                      <a:pt x="2301" y="29915"/>
                    </a:cubicBezTo>
                    <a:lnTo>
                      <a:pt x="26847" y="2301"/>
                    </a:lnTo>
                    <a:cubicBezTo>
                      <a:pt x="29915" y="-767"/>
                      <a:pt x="32983" y="-767"/>
                      <a:pt x="36051" y="2301"/>
                    </a:cubicBezTo>
                    <a:cubicBezTo>
                      <a:pt x="39119" y="5369"/>
                      <a:pt x="39119" y="8437"/>
                      <a:pt x="36051" y="11505"/>
                    </a:cubicBezTo>
                    <a:lnTo>
                      <a:pt x="11506" y="39119"/>
                    </a:lnTo>
                    <a:cubicBezTo>
                      <a:pt x="8438" y="42187"/>
                      <a:pt x="8438" y="42187"/>
                      <a:pt x="5369" y="4218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A692DD18-BA16-48D5-B960-94B9723CB379}"/>
                </a:ext>
              </a:extLst>
            </p:cNvPr>
            <p:cNvSpPr/>
            <p:nvPr/>
          </p:nvSpPr>
          <p:spPr>
            <a:xfrm>
              <a:off x="2376349" y="9886350"/>
              <a:ext cx="1489946" cy="2307272"/>
            </a:xfrm>
            <a:custGeom>
              <a:avLst/>
              <a:gdLst>
                <a:gd name="connsiteX0" fmla="*/ 1481932 w 1489946"/>
                <a:gd name="connsiteY0" fmla="*/ 18409 h 2307272"/>
                <a:gd name="connsiteX1" fmla="*/ 1469659 w 1489946"/>
                <a:gd name="connsiteY1" fmla="*/ 1411364 h 2307272"/>
                <a:gd name="connsiteX2" fmla="*/ 1399091 w 1489946"/>
                <a:gd name="connsiteY2" fmla="*/ 2307272 h 2307272"/>
                <a:gd name="connsiteX3" fmla="*/ 1101477 w 1489946"/>
                <a:gd name="connsiteY3" fmla="*/ 2307272 h 2307272"/>
                <a:gd name="connsiteX4" fmla="*/ 1064659 w 1489946"/>
                <a:gd name="connsiteY4" fmla="*/ 1435909 h 2307272"/>
                <a:gd name="connsiteX5" fmla="*/ 981818 w 1489946"/>
                <a:gd name="connsiteY5" fmla="*/ 503182 h 2307272"/>
                <a:gd name="connsiteX6" fmla="*/ 760909 w 1489946"/>
                <a:gd name="connsiteY6" fmla="*/ 1310113 h 2307272"/>
                <a:gd name="connsiteX7" fmla="*/ 678068 w 1489946"/>
                <a:gd name="connsiteY7" fmla="*/ 1488068 h 2307272"/>
                <a:gd name="connsiteX8" fmla="*/ 257727 w 1489946"/>
                <a:gd name="connsiteY8" fmla="*/ 2080227 h 2307272"/>
                <a:gd name="connsiteX9" fmla="*/ 0 w 1489946"/>
                <a:gd name="connsiteY9" fmla="*/ 1902273 h 2307272"/>
                <a:gd name="connsiteX10" fmla="*/ 352841 w 1489946"/>
                <a:gd name="connsiteY10" fmla="*/ 1273296 h 2307272"/>
                <a:gd name="connsiteX11" fmla="*/ 451023 w 1489946"/>
                <a:gd name="connsiteY11" fmla="*/ 0 h 2307272"/>
                <a:gd name="connsiteX12" fmla="*/ 1481932 w 1489946"/>
                <a:gd name="connsiteY12" fmla="*/ 18409 h 2307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89946" h="2307272">
                  <a:moveTo>
                    <a:pt x="1481932" y="18409"/>
                  </a:moveTo>
                  <a:cubicBezTo>
                    <a:pt x="1481932" y="18409"/>
                    <a:pt x="1506477" y="1098409"/>
                    <a:pt x="1469659" y="1411364"/>
                  </a:cubicBezTo>
                  <a:cubicBezTo>
                    <a:pt x="1438977" y="1684432"/>
                    <a:pt x="1399091" y="2307272"/>
                    <a:pt x="1399091" y="2307272"/>
                  </a:cubicBezTo>
                  <a:lnTo>
                    <a:pt x="1101477" y="2307272"/>
                  </a:lnTo>
                  <a:cubicBezTo>
                    <a:pt x="1101477" y="2307272"/>
                    <a:pt x="1067727" y="1534091"/>
                    <a:pt x="1064659" y="1435909"/>
                  </a:cubicBezTo>
                  <a:cubicBezTo>
                    <a:pt x="1058523" y="1294772"/>
                    <a:pt x="997159" y="533863"/>
                    <a:pt x="981818" y="503182"/>
                  </a:cubicBezTo>
                  <a:cubicBezTo>
                    <a:pt x="969545" y="478637"/>
                    <a:pt x="819205" y="1070795"/>
                    <a:pt x="760909" y="1310113"/>
                  </a:cubicBezTo>
                  <a:cubicBezTo>
                    <a:pt x="745568" y="1374545"/>
                    <a:pt x="717955" y="1432840"/>
                    <a:pt x="678068" y="1488068"/>
                  </a:cubicBezTo>
                  <a:lnTo>
                    <a:pt x="257727" y="2080227"/>
                  </a:lnTo>
                  <a:lnTo>
                    <a:pt x="0" y="1902273"/>
                  </a:lnTo>
                  <a:lnTo>
                    <a:pt x="352841" y="1273296"/>
                  </a:lnTo>
                  <a:cubicBezTo>
                    <a:pt x="352841" y="1273296"/>
                    <a:pt x="405000" y="98181"/>
                    <a:pt x="451023" y="0"/>
                  </a:cubicBezTo>
                  <a:cubicBezTo>
                    <a:pt x="1156705" y="30682"/>
                    <a:pt x="1481932" y="18409"/>
                    <a:pt x="1481932" y="18409"/>
                  </a:cubicBezTo>
                  <a:close/>
                </a:path>
              </a:pathLst>
            </a:custGeom>
            <a:solidFill>
              <a:srgbClr val="7F95BC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EB43BBBA-FAD5-4AC6-820E-EB5A77AE3456}"/>
                </a:ext>
              </a:extLst>
            </p:cNvPr>
            <p:cNvSpPr/>
            <p:nvPr/>
          </p:nvSpPr>
          <p:spPr>
            <a:xfrm>
              <a:off x="3355099" y="10027486"/>
              <a:ext cx="70568" cy="368181"/>
            </a:xfrm>
            <a:custGeom>
              <a:avLst/>
              <a:gdLst>
                <a:gd name="connsiteX0" fmla="*/ 6136 w 70568"/>
                <a:gd name="connsiteY0" fmla="*/ 368182 h 368181"/>
                <a:gd name="connsiteX1" fmla="*/ 6136 w 70568"/>
                <a:gd name="connsiteY1" fmla="*/ 368182 h 368181"/>
                <a:gd name="connsiteX2" fmla="*/ 0 w 70568"/>
                <a:gd name="connsiteY2" fmla="*/ 358977 h 368181"/>
                <a:gd name="connsiteX3" fmla="*/ 58296 w 70568"/>
                <a:gd name="connsiteY3" fmla="*/ 6136 h 368181"/>
                <a:gd name="connsiteX4" fmla="*/ 64432 w 70568"/>
                <a:gd name="connsiteY4" fmla="*/ 0 h 368181"/>
                <a:gd name="connsiteX5" fmla="*/ 70568 w 70568"/>
                <a:gd name="connsiteY5" fmla="*/ 6136 h 368181"/>
                <a:gd name="connsiteX6" fmla="*/ 12273 w 70568"/>
                <a:gd name="connsiteY6" fmla="*/ 362045 h 368181"/>
                <a:gd name="connsiteX7" fmla="*/ 6136 w 70568"/>
                <a:gd name="connsiteY7" fmla="*/ 368182 h 36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568" h="368181">
                  <a:moveTo>
                    <a:pt x="6136" y="368182"/>
                  </a:moveTo>
                  <a:cubicBezTo>
                    <a:pt x="3068" y="368182"/>
                    <a:pt x="3068" y="368182"/>
                    <a:pt x="6136" y="368182"/>
                  </a:cubicBezTo>
                  <a:cubicBezTo>
                    <a:pt x="0" y="365113"/>
                    <a:pt x="0" y="362045"/>
                    <a:pt x="0" y="358977"/>
                  </a:cubicBezTo>
                  <a:cubicBezTo>
                    <a:pt x="49091" y="245455"/>
                    <a:pt x="58296" y="9204"/>
                    <a:pt x="58296" y="6136"/>
                  </a:cubicBezTo>
                  <a:cubicBezTo>
                    <a:pt x="58296" y="3067"/>
                    <a:pt x="61364" y="0"/>
                    <a:pt x="64432" y="0"/>
                  </a:cubicBezTo>
                  <a:cubicBezTo>
                    <a:pt x="67500" y="0"/>
                    <a:pt x="70568" y="3067"/>
                    <a:pt x="70568" y="6136"/>
                  </a:cubicBezTo>
                  <a:cubicBezTo>
                    <a:pt x="70568" y="15341"/>
                    <a:pt x="61364" y="245455"/>
                    <a:pt x="12273" y="362045"/>
                  </a:cubicBezTo>
                  <a:cubicBezTo>
                    <a:pt x="9205" y="368182"/>
                    <a:pt x="6136" y="368182"/>
                    <a:pt x="6136" y="368182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AAD2C145-2A77-45AA-AA57-A1E4167075B9}"/>
                </a:ext>
              </a:extLst>
            </p:cNvPr>
            <p:cNvSpPr/>
            <p:nvPr/>
          </p:nvSpPr>
          <p:spPr>
            <a:xfrm>
              <a:off x="3381442" y="9959986"/>
              <a:ext cx="157748" cy="358977"/>
            </a:xfrm>
            <a:custGeom>
              <a:avLst/>
              <a:gdLst>
                <a:gd name="connsiteX0" fmla="*/ 7407 w 157748"/>
                <a:gd name="connsiteY0" fmla="*/ 358978 h 358977"/>
                <a:gd name="connsiteX1" fmla="*/ 1271 w 157748"/>
                <a:gd name="connsiteY1" fmla="*/ 355909 h 358977"/>
                <a:gd name="connsiteX2" fmla="*/ 4339 w 157748"/>
                <a:gd name="connsiteY2" fmla="*/ 346704 h 358977"/>
                <a:gd name="connsiteX3" fmla="*/ 111725 w 157748"/>
                <a:gd name="connsiteY3" fmla="*/ 270000 h 358977"/>
                <a:gd name="connsiteX4" fmla="*/ 145475 w 157748"/>
                <a:gd name="connsiteY4" fmla="*/ 6137 h 358977"/>
                <a:gd name="connsiteX5" fmla="*/ 151612 w 157748"/>
                <a:gd name="connsiteY5" fmla="*/ 0 h 358977"/>
                <a:gd name="connsiteX6" fmla="*/ 157748 w 157748"/>
                <a:gd name="connsiteY6" fmla="*/ 6137 h 358977"/>
                <a:gd name="connsiteX7" fmla="*/ 123998 w 157748"/>
                <a:gd name="connsiteY7" fmla="*/ 276136 h 358977"/>
                <a:gd name="connsiteX8" fmla="*/ 13544 w 157748"/>
                <a:gd name="connsiteY8" fmla="*/ 355909 h 358977"/>
                <a:gd name="connsiteX9" fmla="*/ 7407 w 157748"/>
                <a:gd name="connsiteY9" fmla="*/ 358978 h 358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748" h="358977">
                  <a:moveTo>
                    <a:pt x="7407" y="358978"/>
                  </a:moveTo>
                  <a:cubicBezTo>
                    <a:pt x="4339" y="358978"/>
                    <a:pt x="4339" y="358978"/>
                    <a:pt x="1271" y="355909"/>
                  </a:cubicBezTo>
                  <a:cubicBezTo>
                    <a:pt x="-1797" y="352841"/>
                    <a:pt x="1271" y="349773"/>
                    <a:pt x="4339" y="346704"/>
                  </a:cubicBezTo>
                  <a:cubicBezTo>
                    <a:pt x="44225" y="322159"/>
                    <a:pt x="102521" y="279205"/>
                    <a:pt x="111725" y="270000"/>
                  </a:cubicBezTo>
                  <a:cubicBezTo>
                    <a:pt x="120930" y="257727"/>
                    <a:pt x="136271" y="101250"/>
                    <a:pt x="145475" y="6137"/>
                  </a:cubicBezTo>
                  <a:cubicBezTo>
                    <a:pt x="145475" y="3068"/>
                    <a:pt x="148544" y="0"/>
                    <a:pt x="151612" y="0"/>
                  </a:cubicBezTo>
                  <a:cubicBezTo>
                    <a:pt x="154680" y="0"/>
                    <a:pt x="157748" y="3068"/>
                    <a:pt x="157748" y="6137"/>
                  </a:cubicBezTo>
                  <a:cubicBezTo>
                    <a:pt x="154680" y="49091"/>
                    <a:pt x="133203" y="260795"/>
                    <a:pt x="123998" y="276136"/>
                  </a:cubicBezTo>
                  <a:cubicBezTo>
                    <a:pt x="111725" y="291477"/>
                    <a:pt x="22748" y="349773"/>
                    <a:pt x="13544" y="355909"/>
                  </a:cubicBezTo>
                  <a:cubicBezTo>
                    <a:pt x="10475" y="355909"/>
                    <a:pt x="10475" y="358978"/>
                    <a:pt x="7407" y="358978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81278A09-297A-4081-991A-BD9732225D0B}"/>
                </a:ext>
              </a:extLst>
            </p:cNvPr>
            <p:cNvSpPr/>
            <p:nvPr/>
          </p:nvSpPr>
          <p:spPr>
            <a:xfrm>
              <a:off x="3220099" y="8201918"/>
              <a:ext cx="251590" cy="259885"/>
            </a:xfrm>
            <a:custGeom>
              <a:avLst/>
              <a:gdLst>
                <a:gd name="connsiteX0" fmla="*/ 251591 w 251590"/>
                <a:gd name="connsiteY0" fmla="*/ 39886 h 259885"/>
                <a:gd name="connsiteX1" fmla="*/ 245454 w 251590"/>
                <a:gd name="connsiteY1" fmla="*/ 214773 h 259885"/>
                <a:gd name="connsiteX2" fmla="*/ 0 w 251590"/>
                <a:gd name="connsiteY2" fmla="*/ 205568 h 259885"/>
                <a:gd name="connsiteX3" fmla="*/ 15341 w 251590"/>
                <a:gd name="connsiteY3" fmla="*/ 0 h 259885"/>
                <a:gd name="connsiteX4" fmla="*/ 251591 w 251590"/>
                <a:gd name="connsiteY4" fmla="*/ 39886 h 259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1590" h="259885">
                  <a:moveTo>
                    <a:pt x="251591" y="39886"/>
                  </a:moveTo>
                  <a:cubicBezTo>
                    <a:pt x="251591" y="39886"/>
                    <a:pt x="245454" y="141137"/>
                    <a:pt x="245454" y="214773"/>
                  </a:cubicBezTo>
                  <a:cubicBezTo>
                    <a:pt x="245454" y="214773"/>
                    <a:pt x="150341" y="322159"/>
                    <a:pt x="0" y="205568"/>
                  </a:cubicBezTo>
                  <a:cubicBezTo>
                    <a:pt x="0" y="144204"/>
                    <a:pt x="12273" y="64432"/>
                    <a:pt x="15341" y="0"/>
                  </a:cubicBezTo>
                  <a:cubicBezTo>
                    <a:pt x="15341" y="0"/>
                    <a:pt x="199432" y="52159"/>
                    <a:pt x="251591" y="39886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ECAC3494-3FF8-4806-B3EE-062C738E2792}"/>
                </a:ext>
              </a:extLst>
            </p:cNvPr>
            <p:cNvSpPr/>
            <p:nvPr/>
          </p:nvSpPr>
          <p:spPr>
            <a:xfrm>
              <a:off x="2805895" y="8367600"/>
              <a:ext cx="1077754" cy="1576860"/>
            </a:xfrm>
            <a:custGeom>
              <a:avLst/>
              <a:gdLst>
                <a:gd name="connsiteX0" fmla="*/ 398864 w 1077754"/>
                <a:gd name="connsiteY0" fmla="*/ 0 h 1576860"/>
                <a:gd name="connsiteX1" fmla="*/ 690341 w 1077754"/>
                <a:gd name="connsiteY1" fmla="*/ 0 h 1576860"/>
                <a:gd name="connsiteX2" fmla="*/ 991023 w 1077754"/>
                <a:gd name="connsiteY2" fmla="*/ 131931 h 1576860"/>
                <a:gd name="connsiteX3" fmla="*/ 1076932 w 1077754"/>
                <a:gd name="connsiteY3" fmla="*/ 1546364 h 1576860"/>
                <a:gd name="connsiteX4" fmla="*/ 0 w 1077754"/>
                <a:gd name="connsiteY4" fmla="*/ 1521818 h 1576860"/>
                <a:gd name="connsiteX5" fmla="*/ 116591 w 1077754"/>
                <a:gd name="connsiteY5" fmla="*/ 104318 h 1576860"/>
                <a:gd name="connsiteX6" fmla="*/ 398864 w 1077754"/>
                <a:gd name="connsiteY6" fmla="*/ 0 h 1576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754" h="1576860">
                  <a:moveTo>
                    <a:pt x="398864" y="0"/>
                  </a:moveTo>
                  <a:cubicBezTo>
                    <a:pt x="398864" y="0"/>
                    <a:pt x="573750" y="55227"/>
                    <a:pt x="690341" y="0"/>
                  </a:cubicBezTo>
                  <a:cubicBezTo>
                    <a:pt x="690341" y="0"/>
                    <a:pt x="966477" y="98182"/>
                    <a:pt x="991023" y="131931"/>
                  </a:cubicBezTo>
                  <a:cubicBezTo>
                    <a:pt x="1015568" y="162613"/>
                    <a:pt x="1086136" y="1478863"/>
                    <a:pt x="1076932" y="1546364"/>
                  </a:cubicBezTo>
                  <a:cubicBezTo>
                    <a:pt x="1076932" y="1546364"/>
                    <a:pt x="582955" y="1629205"/>
                    <a:pt x="0" y="1521818"/>
                  </a:cubicBezTo>
                  <a:cubicBezTo>
                    <a:pt x="0" y="1162841"/>
                    <a:pt x="73636" y="135000"/>
                    <a:pt x="116591" y="104318"/>
                  </a:cubicBezTo>
                  <a:cubicBezTo>
                    <a:pt x="156477" y="70568"/>
                    <a:pt x="398864" y="0"/>
                    <a:pt x="398864" y="0"/>
                  </a:cubicBez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64EA3AE0-67A0-4265-B563-176869FCE66B}"/>
                </a:ext>
              </a:extLst>
            </p:cNvPr>
            <p:cNvSpPr/>
            <p:nvPr/>
          </p:nvSpPr>
          <p:spPr>
            <a:xfrm>
              <a:off x="3201690" y="8367600"/>
              <a:ext cx="181022" cy="119658"/>
            </a:xfrm>
            <a:custGeom>
              <a:avLst/>
              <a:gdLst>
                <a:gd name="connsiteX0" fmla="*/ 181023 w 181022"/>
                <a:gd name="connsiteY0" fmla="*/ 21477 h 119658"/>
                <a:gd name="connsiteX1" fmla="*/ 153409 w 181022"/>
                <a:gd name="connsiteY1" fmla="*/ 119659 h 119658"/>
                <a:gd name="connsiteX2" fmla="*/ 0 w 181022"/>
                <a:gd name="connsiteY2" fmla="*/ 0 h 119658"/>
                <a:gd name="connsiteX3" fmla="*/ 181023 w 181022"/>
                <a:gd name="connsiteY3" fmla="*/ 21477 h 119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022" h="119658">
                  <a:moveTo>
                    <a:pt x="181023" y="21477"/>
                  </a:moveTo>
                  <a:lnTo>
                    <a:pt x="153409" y="119659"/>
                  </a:lnTo>
                  <a:lnTo>
                    <a:pt x="0" y="0"/>
                  </a:lnTo>
                  <a:cubicBezTo>
                    <a:pt x="3068" y="0"/>
                    <a:pt x="138068" y="21477"/>
                    <a:pt x="181023" y="21477"/>
                  </a:cubicBezTo>
                  <a:close/>
                </a:path>
              </a:pathLst>
            </a:custGeom>
            <a:solidFill>
              <a:srgbClr val="FFFFFF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64FD524C-F666-4E54-8337-73AE10270158}"/>
                </a:ext>
              </a:extLst>
            </p:cNvPr>
            <p:cNvSpPr/>
            <p:nvPr/>
          </p:nvSpPr>
          <p:spPr>
            <a:xfrm>
              <a:off x="3382713" y="8367600"/>
              <a:ext cx="110454" cy="116590"/>
            </a:xfrm>
            <a:custGeom>
              <a:avLst/>
              <a:gdLst>
                <a:gd name="connsiteX0" fmla="*/ 0 w 110454"/>
                <a:gd name="connsiteY0" fmla="*/ 21477 h 116590"/>
                <a:gd name="connsiteX1" fmla="*/ 36818 w 110454"/>
                <a:gd name="connsiteY1" fmla="*/ 116591 h 116590"/>
                <a:gd name="connsiteX2" fmla="*/ 110455 w 110454"/>
                <a:gd name="connsiteY2" fmla="*/ 0 h 116590"/>
                <a:gd name="connsiteX3" fmla="*/ 0 w 110454"/>
                <a:gd name="connsiteY3" fmla="*/ 21477 h 116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454" h="116590">
                  <a:moveTo>
                    <a:pt x="0" y="21477"/>
                  </a:moveTo>
                  <a:lnTo>
                    <a:pt x="36818" y="116591"/>
                  </a:lnTo>
                  <a:lnTo>
                    <a:pt x="110455" y="0"/>
                  </a:lnTo>
                  <a:cubicBezTo>
                    <a:pt x="110455" y="0"/>
                    <a:pt x="39886" y="21477"/>
                    <a:pt x="0" y="21477"/>
                  </a:cubicBezTo>
                  <a:close/>
                </a:path>
              </a:pathLst>
            </a:custGeom>
            <a:solidFill>
              <a:srgbClr val="FFFFFF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7B2B8186-B933-412B-81F6-CFD40DCAA728}"/>
                </a:ext>
              </a:extLst>
            </p:cNvPr>
            <p:cNvSpPr/>
            <p:nvPr/>
          </p:nvSpPr>
          <p:spPr>
            <a:xfrm>
              <a:off x="2756804" y="8367600"/>
              <a:ext cx="522996" cy="1598522"/>
            </a:xfrm>
            <a:custGeom>
              <a:avLst/>
              <a:gdLst>
                <a:gd name="connsiteX0" fmla="*/ 447955 w 522996"/>
                <a:gd name="connsiteY0" fmla="*/ 0 h 1598522"/>
                <a:gd name="connsiteX1" fmla="*/ 128864 w 522996"/>
                <a:gd name="connsiteY1" fmla="*/ 95113 h 1598522"/>
                <a:gd name="connsiteX2" fmla="*/ 0 w 522996"/>
                <a:gd name="connsiteY2" fmla="*/ 1534091 h 1598522"/>
                <a:gd name="connsiteX3" fmla="*/ 497045 w 522996"/>
                <a:gd name="connsiteY3" fmla="*/ 1598523 h 1598522"/>
                <a:gd name="connsiteX4" fmla="*/ 447955 w 522996"/>
                <a:gd name="connsiteY4" fmla="*/ 0 h 1598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96" h="1598522">
                  <a:moveTo>
                    <a:pt x="447955" y="0"/>
                  </a:moveTo>
                  <a:cubicBezTo>
                    <a:pt x="447955" y="0"/>
                    <a:pt x="193295" y="79772"/>
                    <a:pt x="128864" y="95113"/>
                  </a:cubicBezTo>
                  <a:cubicBezTo>
                    <a:pt x="64432" y="110454"/>
                    <a:pt x="0" y="1534091"/>
                    <a:pt x="0" y="1534091"/>
                  </a:cubicBezTo>
                  <a:cubicBezTo>
                    <a:pt x="0" y="1534091"/>
                    <a:pt x="368182" y="1592386"/>
                    <a:pt x="497045" y="1598523"/>
                  </a:cubicBezTo>
                  <a:cubicBezTo>
                    <a:pt x="493977" y="1598523"/>
                    <a:pt x="582955" y="460227"/>
                    <a:pt x="447955" y="0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5D4E5CA9-3E41-4885-AAF0-587CABE07471}"/>
                </a:ext>
              </a:extLst>
            </p:cNvPr>
            <p:cNvSpPr/>
            <p:nvPr/>
          </p:nvSpPr>
          <p:spPr>
            <a:xfrm>
              <a:off x="2827372" y="9567258"/>
              <a:ext cx="303750" cy="300681"/>
            </a:xfrm>
            <a:custGeom>
              <a:avLst/>
              <a:gdLst>
                <a:gd name="connsiteX0" fmla="*/ 122727 w 303750"/>
                <a:gd name="connsiteY0" fmla="*/ 300682 h 300681"/>
                <a:gd name="connsiteX1" fmla="*/ 0 w 303750"/>
                <a:gd name="connsiteY1" fmla="*/ 211705 h 300681"/>
                <a:gd name="connsiteX2" fmla="*/ 21477 w 303750"/>
                <a:gd name="connsiteY2" fmla="*/ 0 h 300681"/>
                <a:gd name="connsiteX3" fmla="*/ 27614 w 303750"/>
                <a:gd name="connsiteY3" fmla="*/ 0 h 300681"/>
                <a:gd name="connsiteX4" fmla="*/ 297614 w 303750"/>
                <a:gd name="connsiteY4" fmla="*/ 33750 h 300681"/>
                <a:gd name="connsiteX5" fmla="*/ 303750 w 303750"/>
                <a:gd name="connsiteY5" fmla="*/ 33750 h 300681"/>
                <a:gd name="connsiteX6" fmla="*/ 279205 w 303750"/>
                <a:gd name="connsiteY6" fmla="*/ 260796 h 300681"/>
                <a:gd name="connsiteX7" fmla="*/ 122727 w 303750"/>
                <a:gd name="connsiteY7" fmla="*/ 300682 h 300681"/>
                <a:gd name="connsiteX8" fmla="*/ 12273 w 303750"/>
                <a:gd name="connsiteY8" fmla="*/ 205568 h 300681"/>
                <a:gd name="connsiteX9" fmla="*/ 125795 w 303750"/>
                <a:gd name="connsiteY9" fmla="*/ 288409 h 300681"/>
                <a:gd name="connsiteX10" fmla="*/ 270000 w 303750"/>
                <a:gd name="connsiteY10" fmla="*/ 254659 h 300681"/>
                <a:gd name="connsiteX11" fmla="*/ 291477 w 303750"/>
                <a:gd name="connsiteY11" fmla="*/ 46023 h 300681"/>
                <a:gd name="connsiteX12" fmla="*/ 30682 w 303750"/>
                <a:gd name="connsiteY12" fmla="*/ 12273 h 300681"/>
                <a:gd name="connsiteX13" fmla="*/ 12273 w 303750"/>
                <a:gd name="connsiteY13" fmla="*/ 205568 h 300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3750" h="300681">
                  <a:moveTo>
                    <a:pt x="122727" y="300682"/>
                  </a:moveTo>
                  <a:lnTo>
                    <a:pt x="0" y="211705"/>
                  </a:lnTo>
                  <a:lnTo>
                    <a:pt x="21477" y="0"/>
                  </a:lnTo>
                  <a:lnTo>
                    <a:pt x="27614" y="0"/>
                  </a:lnTo>
                  <a:cubicBezTo>
                    <a:pt x="85909" y="6136"/>
                    <a:pt x="297614" y="33750"/>
                    <a:pt x="297614" y="33750"/>
                  </a:cubicBezTo>
                  <a:lnTo>
                    <a:pt x="303750" y="33750"/>
                  </a:lnTo>
                  <a:lnTo>
                    <a:pt x="279205" y="260796"/>
                  </a:lnTo>
                  <a:lnTo>
                    <a:pt x="122727" y="300682"/>
                  </a:lnTo>
                  <a:close/>
                  <a:moveTo>
                    <a:pt x="12273" y="205568"/>
                  </a:moveTo>
                  <a:lnTo>
                    <a:pt x="125795" y="288409"/>
                  </a:lnTo>
                  <a:lnTo>
                    <a:pt x="270000" y="254659"/>
                  </a:lnTo>
                  <a:lnTo>
                    <a:pt x="291477" y="46023"/>
                  </a:lnTo>
                  <a:cubicBezTo>
                    <a:pt x="257727" y="42955"/>
                    <a:pt x="88977" y="21477"/>
                    <a:pt x="30682" y="12273"/>
                  </a:cubicBezTo>
                  <a:lnTo>
                    <a:pt x="12273" y="205568"/>
                  </a:ln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EA65485B-B3A5-4BAC-8ED9-8EC5246F55F0}"/>
                </a:ext>
              </a:extLst>
            </p:cNvPr>
            <p:cNvSpPr/>
            <p:nvPr/>
          </p:nvSpPr>
          <p:spPr>
            <a:xfrm>
              <a:off x="2726122" y="11150440"/>
              <a:ext cx="154679" cy="64432"/>
            </a:xfrm>
            <a:custGeom>
              <a:avLst/>
              <a:gdLst>
                <a:gd name="connsiteX0" fmla="*/ 46023 w 154679"/>
                <a:gd name="connsiteY0" fmla="*/ 64432 h 64432"/>
                <a:gd name="connsiteX1" fmla="*/ 42955 w 154679"/>
                <a:gd name="connsiteY1" fmla="*/ 61364 h 64432"/>
                <a:gd name="connsiteX2" fmla="*/ 0 w 154679"/>
                <a:gd name="connsiteY2" fmla="*/ 0 h 64432"/>
                <a:gd name="connsiteX3" fmla="*/ 150341 w 154679"/>
                <a:gd name="connsiteY3" fmla="*/ 27614 h 64432"/>
                <a:gd name="connsiteX4" fmla="*/ 153409 w 154679"/>
                <a:gd name="connsiteY4" fmla="*/ 33750 h 64432"/>
                <a:gd name="connsiteX5" fmla="*/ 147273 w 154679"/>
                <a:gd name="connsiteY5" fmla="*/ 36819 h 64432"/>
                <a:gd name="connsiteX6" fmla="*/ 21477 w 154679"/>
                <a:gd name="connsiteY6" fmla="*/ 15341 h 64432"/>
                <a:gd name="connsiteX7" fmla="*/ 49091 w 154679"/>
                <a:gd name="connsiteY7" fmla="*/ 55228 h 64432"/>
                <a:gd name="connsiteX8" fmla="*/ 49091 w 154679"/>
                <a:gd name="connsiteY8" fmla="*/ 64432 h 64432"/>
                <a:gd name="connsiteX9" fmla="*/ 46023 w 154679"/>
                <a:gd name="connsiteY9" fmla="*/ 64432 h 64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4679" h="64432">
                  <a:moveTo>
                    <a:pt x="46023" y="64432"/>
                  </a:moveTo>
                  <a:cubicBezTo>
                    <a:pt x="42955" y="64432"/>
                    <a:pt x="42955" y="64432"/>
                    <a:pt x="42955" y="61364"/>
                  </a:cubicBezTo>
                  <a:lnTo>
                    <a:pt x="0" y="0"/>
                  </a:lnTo>
                  <a:lnTo>
                    <a:pt x="150341" y="27614"/>
                  </a:lnTo>
                  <a:cubicBezTo>
                    <a:pt x="153409" y="27614"/>
                    <a:pt x="156477" y="30682"/>
                    <a:pt x="153409" y="33750"/>
                  </a:cubicBezTo>
                  <a:cubicBezTo>
                    <a:pt x="153409" y="36819"/>
                    <a:pt x="150341" y="39887"/>
                    <a:pt x="147273" y="36819"/>
                  </a:cubicBezTo>
                  <a:lnTo>
                    <a:pt x="21477" y="15341"/>
                  </a:lnTo>
                  <a:lnTo>
                    <a:pt x="49091" y="55228"/>
                  </a:lnTo>
                  <a:cubicBezTo>
                    <a:pt x="52159" y="58296"/>
                    <a:pt x="49091" y="61364"/>
                    <a:pt x="49091" y="64432"/>
                  </a:cubicBezTo>
                  <a:cubicBezTo>
                    <a:pt x="46023" y="64432"/>
                    <a:pt x="46023" y="64432"/>
                    <a:pt x="46023" y="64432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51B15C25-BA3B-47F8-821B-09E44C522F76}"/>
                </a:ext>
              </a:extLst>
            </p:cNvPr>
            <p:cNvSpPr/>
            <p:nvPr/>
          </p:nvSpPr>
          <p:spPr>
            <a:xfrm>
              <a:off x="3493167" y="8367600"/>
              <a:ext cx="438749" cy="1611231"/>
            </a:xfrm>
            <a:custGeom>
              <a:avLst/>
              <a:gdLst>
                <a:gd name="connsiteX0" fmla="*/ 0 w 438749"/>
                <a:gd name="connsiteY0" fmla="*/ 0 h 1611231"/>
                <a:gd name="connsiteX1" fmla="*/ 159545 w 438749"/>
                <a:gd name="connsiteY1" fmla="*/ 1610796 h 1611231"/>
                <a:gd name="connsiteX2" fmla="*/ 438750 w 438749"/>
                <a:gd name="connsiteY2" fmla="*/ 1583182 h 1611231"/>
                <a:gd name="connsiteX3" fmla="*/ 300682 w 438749"/>
                <a:gd name="connsiteY3" fmla="*/ 131931 h 1611231"/>
                <a:gd name="connsiteX4" fmla="*/ 0 w 438749"/>
                <a:gd name="connsiteY4" fmla="*/ 0 h 1611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749" h="1611231">
                  <a:moveTo>
                    <a:pt x="0" y="0"/>
                  </a:moveTo>
                  <a:cubicBezTo>
                    <a:pt x="0" y="0"/>
                    <a:pt x="205568" y="785454"/>
                    <a:pt x="159545" y="1610796"/>
                  </a:cubicBezTo>
                  <a:cubicBezTo>
                    <a:pt x="159545" y="1610796"/>
                    <a:pt x="358977" y="1616931"/>
                    <a:pt x="438750" y="1583182"/>
                  </a:cubicBezTo>
                  <a:cubicBezTo>
                    <a:pt x="438750" y="1583182"/>
                    <a:pt x="346705" y="184091"/>
                    <a:pt x="300682" y="131931"/>
                  </a:cubicBezTo>
                  <a:cubicBezTo>
                    <a:pt x="254659" y="76705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F038E769-2630-4AF3-A3F6-E12AE77B39A5}"/>
                </a:ext>
              </a:extLst>
            </p:cNvPr>
            <p:cNvSpPr/>
            <p:nvPr/>
          </p:nvSpPr>
          <p:spPr>
            <a:xfrm>
              <a:off x="3787713" y="8490327"/>
              <a:ext cx="123998" cy="1089204"/>
            </a:xfrm>
            <a:custGeom>
              <a:avLst/>
              <a:gdLst>
                <a:gd name="connsiteX0" fmla="*/ 119659 w 123998"/>
                <a:gd name="connsiteY0" fmla="*/ 1089205 h 1089204"/>
                <a:gd name="connsiteX1" fmla="*/ 113523 w 123998"/>
                <a:gd name="connsiteY1" fmla="*/ 1083068 h 1089204"/>
                <a:gd name="connsiteX2" fmla="*/ 73636 w 123998"/>
                <a:gd name="connsiteY2" fmla="*/ 598295 h 1089204"/>
                <a:gd name="connsiteX3" fmla="*/ 0 w 123998"/>
                <a:gd name="connsiteY3" fmla="*/ 6136 h 1089204"/>
                <a:gd name="connsiteX4" fmla="*/ 3068 w 123998"/>
                <a:gd name="connsiteY4" fmla="*/ 0 h 1089204"/>
                <a:gd name="connsiteX5" fmla="*/ 9205 w 123998"/>
                <a:gd name="connsiteY5" fmla="*/ 3068 h 1089204"/>
                <a:gd name="connsiteX6" fmla="*/ 82841 w 123998"/>
                <a:gd name="connsiteY6" fmla="*/ 595227 h 1089204"/>
                <a:gd name="connsiteX7" fmla="*/ 122727 w 123998"/>
                <a:gd name="connsiteY7" fmla="*/ 1080000 h 1089204"/>
                <a:gd name="connsiteX8" fmla="*/ 119659 w 123998"/>
                <a:gd name="connsiteY8" fmla="*/ 1089205 h 1089204"/>
                <a:gd name="connsiteX9" fmla="*/ 119659 w 123998"/>
                <a:gd name="connsiteY9" fmla="*/ 1089205 h 1089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998" h="1089204">
                  <a:moveTo>
                    <a:pt x="119659" y="1089205"/>
                  </a:moveTo>
                  <a:cubicBezTo>
                    <a:pt x="116591" y="1089205"/>
                    <a:pt x="113523" y="1086136"/>
                    <a:pt x="113523" y="1083068"/>
                  </a:cubicBezTo>
                  <a:cubicBezTo>
                    <a:pt x="113523" y="1080000"/>
                    <a:pt x="82841" y="705682"/>
                    <a:pt x="73636" y="598295"/>
                  </a:cubicBezTo>
                  <a:cubicBezTo>
                    <a:pt x="73636" y="592159"/>
                    <a:pt x="6136" y="46023"/>
                    <a:pt x="0" y="6136"/>
                  </a:cubicBezTo>
                  <a:cubicBezTo>
                    <a:pt x="0" y="3068"/>
                    <a:pt x="0" y="0"/>
                    <a:pt x="3068" y="0"/>
                  </a:cubicBezTo>
                  <a:cubicBezTo>
                    <a:pt x="6136" y="0"/>
                    <a:pt x="9205" y="0"/>
                    <a:pt x="9205" y="3068"/>
                  </a:cubicBezTo>
                  <a:cubicBezTo>
                    <a:pt x="18409" y="42954"/>
                    <a:pt x="79773" y="573750"/>
                    <a:pt x="82841" y="595227"/>
                  </a:cubicBezTo>
                  <a:cubicBezTo>
                    <a:pt x="92045" y="702613"/>
                    <a:pt x="122727" y="1076932"/>
                    <a:pt x="122727" y="1080000"/>
                  </a:cubicBezTo>
                  <a:cubicBezTo>
                    <a:pt x="125796" y="1086136"/>
                    <a:pt x="122727" y="1089205"/>
                    <a:pt x="119659" y="1089205"/>
                  </a:cubicBezTo>
                  <a:cubicBezTo>
                    <a:pt x="119659" y="1089205"/>
                    <a:pt x="119659" y="1089205"/>
                    <a:pt x="119659" y="1089205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A8429477-A1E9-496D-8423-D2F80951FC9E}"/>
                </a:ext>
              </a:extLst>
            </p:cNvPr>
            <p:cNvSpPr/>
            <p:nvPr/>
          </p:nvSpPr>
          <p:spPr>
            <a:xfrm>
              <a:off x="3744758" y="9628623"/>
              <a:ext cx="187159" cy="239317"/>
            </a:xfrm>
            <a:custGeom>
              <a:avLst/>
              <a:gdLst>
                <a:gd name="connsiteX0" fmla="*/ 104318 w 187159"/>
                <a:gd name="connsiteY0" fmla="*/ 239318 h 239317"/>
                <a:gd name="connsiteX1" fmla="*/ 0 w 187159"/>
                <a:gd name="connsiteY1" fmla="*/ 174886 h 239317"/>
                <a:gd name="connsiteX2" fmla="*/ 0 w 187159"/>
                <a:gd name="connsiteY2" fmla="*/ 0 h 239317"/>
                <a:gd name="connsiteX3" fmla="*/ 162614 w 187159"/>
                <a:gd name="connsiteY3" fmla="*/ 0 h 239317"/>
                <a:gd name="connsiteX4" fmla="*/ 168750 w 187159"/>
                <a:gd name="connsiteY4" fmla="*/ 6136 h 239317"/>
                <a:gd name="connsiteX5" fmla="*/ 162614 w 187159"/>
                <a:gd name="connsiteY5" fmla="*/ 12273 h 239317"/>
                <a:gd name="connsiteX6" fmla="*/ 12273 w 187159"/>
                <a:gd name="connsiteY6" fmla="*/ 12273 h 239317"/>
                <a:gd name="connsiteX7" fmla="*/ 12273 w 187159"/>
                <a:gd name="connsiteY7" fmla="*/ 168750 h 239317"/>
                <a:gd name="connsiteX8" fmla="*/ 107386 w 187159"/>
                <a:gd name="connsiteY8" fmla="*/ 227045 h 239317"/>
                <a:gd name="connsiteX9" fmla="*/ 181023 w 187159"/>
                <a:gd name="connsiteY9" fmla="*/ 199432 h 239317"/>
                <a:gd name="connsiteX10" fmla="*/ 187159 w 187159"/>
                <a:gd name="connsiteY10" fmla="*/ 202499 h 239317"/>
                <a:gd name="connsiteX11" fmla="*/ 184091 w 187159"/>
                <a:gd name="connsiteY11" fmla="*/ 208636 h 239317"/>
                <a:gd name="connsiteX12" fmla="*/ 104318 w 187159"/>
                <a:gd name="connsiteY12" fmla="*/ 239318 h 2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159" h="239317">
                  <a:moveTo>
                    <a:pt x="104318" y="239318"/>
                  </a:moveTo>
                  <a:lnTo>
                    <a:pt x="0" y="174886"/>
                  </a:lnTo>
                  <a:lnTo>
                    <a:pt x="0" y="0"/>
                  </a:lnTo>
                  <a:lnTo>
                    <a:pt x="162614" y="0"/>
                  </a:lnTo>
                  <a:cubicBezTo>
                    <a:pt x="165682" y="0"/>
                    <a:pt x="168750" y="3067"/>
                    <a:pt x="168750" y="6136"/>
                  </a:cubicBezTo>
                  <a:cubicBezTo>
                    <a:pt x="168750" y="9204"/>
                    <a:pt x="165682" y="12273"/>
                    <a:pt x="162614" y="12273"/>
                  </a:cubicBezTo>
                  <a:lnTo>
                    <a:pt x="12273" y="12273"/>
                  </a:lnTo>
                  <a:lnTo>
                    <a:pt x="12273" y="168750"/>
                  </a:lnTo>
                  <a:lnTo>
                    <a:pt x="107386" y="227045"/>
                  </a:lnTo>
                  <a:lnTo>
                    <a:pt x="181023" y="199432"/>
                  </a:lnTo>
                  <a:cubicBezTo>
                    <a:pt x="184091" y="199432"/>
                    <a:pt x="187159" y="199432"/>
                    <a:pt x="187159" y="202499"/>
                  </a:cubicBezTo>
                  <a:cubicBezTo>
                    <a:pt x="187159" y="205568"/>
                    <a:pt x="187159" y="208636"/>
                    <a:pt x="184091" y="208636"/>
                  </a:cubicBezTo>
                  <a:lnTo>
                    <a:pt x="104318" y="239318"/>
                  </a:ln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AD3A796A-6935-4ACD-B4C3-EBC5D4818064}"/>
                </a:ext>
              </a:extLst>
            </p:cNvPr>
            <p:cNvSpPr/>
            <p:nvPr/>
          </p:nvSpPr>
          <p:spPr>
            <a:xfrm>
              <a:off x="3235440" y="8235668"/>
              <a:ext cx="246725" cy="64431"/>
            </a:xfrm>
            <a:custGeom>
              <a:avLst/>
              <a:gdLst>
                <a:gd name="connsiteX0" fmla="*/ 138068 w 246725"/>
                <a:gd name="connsiteY0" fmla="*/ 64432 h 64431"/>
                <a:gd name="connsiteX1" fmla="*/ 125795 w 246725"/>
                <a:gd name="connsiteY1" fmla="*/ 64432 h 64431"/>
                <a:gd name="connsiteX2" fmla="*/ 52159 w 246725"/>
                <a:gd name="connsiteY2" fmla="*/ 36818 h 64431"/>
                <a:gd name="connsiteX3" fmla="*/ 3068 w 246725"/>
                <a:gd name="connsiteY3" fmla="*/ 12273 h 64431"/>
                <a:gd name="connsiteX4" fmla="*/ 0 w 246725"/>
                <a:gd name="connsiteY4" fmla="*/ 3068 h 64431"/>
                <a:gd name="connsiteX5" fmla="*/ 9205 w 246725"/>
                <a:gd name="connsiteY5" fmla="*/ 0 h 64431"/>
                <a:gd name="connsiteX6" fmla="*/ 58295 w 246725"/>
                <a:gd name="connsiteY6" fmla="*/ 24546 h 64431"/>
                <a:gd name="connsiteX7" fmla="*/ 150341 w 246725"/>
                <a:gd name="connsiteY7" fmla="*/ 52159 h 64431"/>
                <a:gd name="connsiteX8" fmla="*/ 162614 w 246725"/>
                <a:gd name="connsiteY8" fmla="*/ 52159 h 64431"/>
                <a:gd name="connsiteX9" fmla="*/ 211705 w 246725"/>
                <a:gd name="connsiteY9" fmla="*/ 33750 h 64431"/>
                <a:gd name="connsiteX10" fmla="*/ 220909 w 246725"/>
                <a:gd name="connsiteY10" fmla="*/ 27613 h 64431"/>
                <a:gd name="connsiteX11" fmla="*/ 227045 w 246725"/>
                <a:gd name="connsiteY11" fmla="*/ 27613 h 64431"/>
                <a:gd name="connsiteX12" fmla="*/ 236250 w 246725"/>
                <a:gd name="connsiteY12" fmla="*/ 21477 h 64431"/>
                <a:gd name="connsiteX13" fmla="*/ 245454 w 246725"/>
                <a:gd name="connsiteY13" fmla="*/ 24546 h 64431"/>
                <a:gd name="connsiteX14" fmla="*/ 242386 w 246725"/>
                <a:gd name="connsiteY14" fmla="*/ 33750 h 64431"/>
                <a:gd name="connsiteX15" fmla="*/ 217841 w 246725"/>
                <a:gd name="connsiteY15" fmla="*/ 46023 h 64431"/>
                <a:gd name="connsiteX16" fmla="*/ 162614 w 246725"/>
                <a:gd name="connsiteY16" fmla="*/ 64432 h 64431"/>
                <a:gd name="connsiteX17" fmla="*/ 138068 w 246725"/>
                <a:gd name="connsiteY17" fmla="*/ 64432 h 64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6725" h="64431">
                  <a:moveTo>
                    <a:pt x="138068" y="64432"/>
                  </a:moveTo>
                  <a:cubicBezTo>
                    <a:pt x="131932" y="64432"/>
                    <a:pt x="128864" y="64432"/>
                    <a:pt x="125795" y="64432"/>
                  </a:cubicBezTo>
                  <a:cubicBezTo>
                    <a:pt x="107386" y="61364"/>
                    <a:pt x="76704" y="49091"/>
                    <a:pt x="52159" y="36818"/>
                  </a:cubicBezTo>
                  <a:cubicBezTo>
                    <a:pt x="24545" y="24546"/>
                    <a:pt x="3068" y="12273"/>
                    <a:pt x="3068" y="12273"/>
                  </a:cubicBezTo>
                  <a:cubicBezTo>
                    <a:pt x="0" y="9205"/>
                    <a:pt x="0" y="6136"/>
                    <a:pt x="0" y="3068"/>
                  </a:cubicBezTo>
                  <a:cubicBezTo>
                    <a:pt x="3068" y="0"/>
                    <a:pt x="6136" y="0"/>
                    <a:pt x="9205" y="0"/>
                  </a:cubicBezTo>
                  <a:cubicBezTo>
                    <a:pt x="9205" y="0"/>
                    <a:pt x="30682" y="12273"/>
                    <a:pt x="58295" y="24546"/>
                  </a:cubicBezTo>
                  <a:cubicBezTo>
                    <a:pt x="88977" y="36818"/>
                    <a:pt x="125795" y="52159"/>
                    <a:pt x="150341" y="52159"/>
                  </a:cubicBezTo>
                  <a:cubicBezTo>
                    <a:pt x="153409" y="52159"/>
                    <a:pt x="159545" y="52159"/>
                    <a:pt x="162614" y="52159"/>
                  </a:cubicBezTo>
                  <a:cubicBezTo>
                    <a:pt x="181023" y="49091"/>
                    <a:pt x="199432" y="39886"/>
                    <a:pt x="211705" y="33750"/>
                  </a:cubicBezTo>
                  <a:cubicBezTo>
                    <a:pt x="217841" y="30682"/>
                    <a:pt x="220909" y="27613"/>
                    <a:pt x="220909" y="27613"/>
                  </a:cubicBezTo>
                  <a:cubicBezTo>
                    <a:pt x="220909" y="27613"/>
                    <a:pt x="223977" y="27613"/>
                    <a:pt x="227045" y="27613"/>
                  </a:cubicBezTo>
                  <a:cubicBezTo>
                    <a:pt x="233182" y="24546"/>
                    <a:pt x="236250" y="21477"/>
                    <a:pt x="236250" y="21477"/>
                  </a:cubicBezTo>
                  <a:cubicBezTo>
                    <a:pt x="239318" y="18409"/>
                    <a:pt x="242386" y="21477"/>
                    <a:pt x="245454" y="24546"/>
                  </a:cubicBezTo>
                  <a:cubicBezTo>
                    <a:pt x="248523" y="27613"/>
                    <a:pt x="245454" y="30682"/>
                    <a:pt x="242386" y="33750"/>
                  </a:cubicBezTo>
                  <a:cubicBezTo>
                    <a:pt x="242386" y="33750"/>
                    <a:pt x="233182" y="39886"/>
                    <a:pt x="217841" y="46023"/>
                  </a:cubicBezTo>
                  <a:cubicBezTo>
                    <a:pt x="205568" y="52159"/>
                    <a:pt x="187159" y="61364"/>
                    <a:pt x="162614" y="64432"/>
                  </a:cubicBezTo>
                  <a:cubicBezTo>
                    <a:pt x="153409" y="61364"/>
                    <a:pt x="147273" y="64432"/>
                    <a:pt x="138068" y="64432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DE1281B1-F614-4040-B60A-744321CBB3E5}"/>
                </a:ext>
              </a:extLst>
            </p:cNvPr>
            <p:cNvSpPr/>
            <p:nvPr/>
          </p:nvSpPr>
          <p:spPr>
            <a:xfrm>
              <a:off x="8584048" y="7953184"/>
              <a:ext cx="481490" cy="806846"/>
            </a:xfrm>
            <a:custGeom>
              <a:avLst/>
              <a:gdLst>
                <a:gd name="connsiteX0" fmla="*/ 11506 w 481490"/>
                <a:gd name="connsiteY0" fmla="*/ 767256 h 806846"/>
                <a:gd name="connsiteX1" fmla="*/ 238551 w 481490"/>
                <a:gd name="connsiteY1" fmla="*/ 779529 h 806846"/>
                <a:gd name="connsiteX2" fmla="*/ 324460 w 481490"/>
                <a:gd name="connsiteY2" fmla="*/ 570892 h 806846"/>
                <a:gd name="connsiteX3" fmla="*/ 410369 w 481490"/>
                <a:gd name="connsiteY3" fmla="*/ 613847 h 806846"/>
                <a:gd name="connsiteX4" fmla="*/ 361278 w 481490"/>
                <a:gd name="connsiteY4" fmla="*/ 346915 h 806846"/>
                <a:gd name="connsiteX5" fmla="*/ 410369 w 481490"/>
                <a:gd name="connsiteY5" fmla="*/ 202710 h 806846"/>
                <a:gd name="connsiteX6" fmla="*/ 437983 w 481490"/>
                <a:gd name="connsiteY6" fmla="*/ 122938 h 806846"/>
                <a:gd name="connsiteX7" fmla="*/ 474801 w 481490"/>
                <a:gd name="connsiteY7" fmla="*/ 104529 h 806846"/>
                <a:gd name="connsiteX8" fmla="*/ 468665 w 481490"/>
                <a:gd name="connsiteY8" fmla="*/ 76915 h 806846"/>
                <a:gd name="connsiteX9" fmla="*/ 324460 w 481490"/>
                <a:gd name="connsiteY9" fmla="*/ 211 h 806846"/>
                <a:gd name="connsiteX10" fmla="*/ 260028 w 481490"/>
                <a:gd name="connsiteY10" fmla="*/ 24756 h 806846"/>
                <a:gd name="connsiteX11" fmla="*/ 238551 w 481490"/>
                <a:gd name="connsiteY11" fmla="*/ 52370 h 806846"/>
                <a:gd name="connsiteX12" fmla="*/ 137301 w 481490"/>
                <a:gd name="connsiteY12" fmla="*/ 150551 h 806846"/>
                <a:gd name="connsiteX13" fmla="*/ 82074 w 481490"/>
                <a:gd name="connsiteY13" fmla="*/ 245665 h 806846"/>
                <a:gd name="connsiteX14" fmla="*/ 88210 w 481490"/>
                <a:gd name="connsiteY14" fmla="*/ 261006 h 806846"/>
                <a:gd name="connsiteX15" fmla="*/ 69801 w 481490"/>
                <a:gd name="connsiteY15" fmla="*/ 349983 h 806846"/>
                <a:gd name="connsiteX16" fmla="*/ 48324 w 481490"/>
                <a:gd name="connsiteY16" fmla="*/ 475779 h 806846"/>
                <a:gd name="connsiteX17" fmla="*/ 23778 w 481490"/>
                <a:gd name="connsiteY17" fmla="*/ 598506 h 806846"/>
                <a:gd name="connsiteX18" fmla="*/ 17642 w 481490"/>
                <a:gd name="connsiteY18" fmla="*/ 690552 h 806846"/>
                <a:gd name="connsiteX19" fmla="*/ 5369 w 481490"/>
                <a:gd name="connsiteY19" fmla="*/ 718165 h 806846"/>
                <a:gd name="connsiteX20" fmla="*/ 11506 w 481490"/>
                <a:gd name="connsiteY20" fmla="*/ 767256 h 806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81490" h="806846">
                  <a:moveTo>
                    <a:pt x="11506" y="767256"/>
                  </a:moveTo>
                  <a:cubicBezTo>
                    <a:pt x="48324" y="828620"/>
                    <a:pt x="186392" y="807142"/>
                    <a:pt x="238551" y="779529"/>
                  </a:cubicBezTo>
                  <a:cubicBezTo>
                    <a:pt x="330596" y="733506"/>
                    <a:pt x="345937" y="650665"/>
                    <a:pt x="324460" y="570892"/>
                  </a:cubicBezTo>
                  <a:cubicBezTo>
                    <a:pt x="413437" y="644529"/>
                    <a:pt x="401165" y="666006"/>
                    <a:pt x="410369" y="613847"/>
                  </a:cubicBezTo>
                  <a:cubicBezTo>
                    <a:pt x="419574" y="570892"/>
                    <a:pt x="355142" y="399074"/>
                    <a:pt x="361278" y="346915"/>
                  </a:cubicBezTo>
                  <a:cubicBezTo>
                    <a:pt x="370483" y="294756"/>
                    <a:pt x="385824" y="248733"/>
                    <a:pt x="410369" y="202710"/>
                  </a:cubicBezTo>
                  <a:cubicBezTo>
                    <a:pt x="419574" y="181233"/>
                    <a:pt x="428778" y="150551"/>
                    <a:pt x="437983" y="122938"/>
                  </a:cubicBezTo>
                  <a:cubicBezTo>
                    <a:pt x="450256" y="116801"/>
                    <a:pt x="462528" y="110665"/>
                    <a:pt x="474801" y="104529"/>
                  </a:cubicBezTo>
                  <a:cubicBezTo>
                    <a:pt x="487074" y="95324"/>
                    <a:pt x="480938" y="79983"/>
                    <a:pt x="468665" y="76915"/>
                  </a:cubicBezTo>
                  <a:cubicBezTo>
                    <a:pt x="450256" y="27824"/>
                    <a:pt x="382755" y="-2858"/>
                    <a:pt x="324460" y="211"/>
                  </a:cubicBezTo>
                  <a:cubicBezTo>
                    <a:pt x="309119" y="211"/>
                    <a:pt x="281506" y="9415"/>
                    <a:pt x="260028" y="24756"/>
                  </a:cubicBezTo>
                  <a:cubicBezTo>
                    <a:pt x="250824" y="30893"/>
                    <a:pt x="244687" y="40097"/>
                    <a:pt x="238551" y="52370"/>
                  </a:cubicBezTo>
                  <a:cubicBezTo>
                    <a:pt x="177187" y="46233"/>
                    <a:pt x="131165" y="89188"/>
                    <a:pt x="137301" y="150551"/>
                  </a:cubicBezTo>
                  <a:cubicBezTo>
                    <a:pt x="91278" y="150551"/>
                    <a:pt x="72869" y="199643"/>
                    <a:pt x="82074" y="245665"/>
                  </a:cubicBezTo>
                  <a:cubicBezTo>
                    <a:pt x="85142" y="254869"/>
                    <a:pt x="85142" y="257938"/>
                    <a:pt x="88210" y="261006"/>
                  </a:cubicBezTo>
                  <a:cubicBezTo>
                    <a:pt x="63665" y="285551"/>
                    <a:pt x="54460" y="319301"/>
                    <a:pt x="69801" y="349983"/>
                  </a:cubicBezTo>
                  <a:cubicBezTo>
                    <a:pt x="26847" y="371460"/>
                    <a:pt x="23778" y="435892"/>
                    <a:pt x="48324" y="475779"/>
                  </a:cubicBezTo>
                  <a:cubicBezTo>
                    <a:pt x="5369" y="503392"/>
                    <a:pt x="5369" y="552483"/>
                    <a:pt x="23778" y="598506"/>
                  </a:cubicBezTo>
                  <a:cubicBezTo>
                    <a:pt x="-9971" y="619983"/>
                    <a:pt x="-3835" y="659870"/>
                    <a:pt x="17642" y="690552"/>
                  </a:cubicBezTo>
                  <a:cubicBezTo>
                    <a:pt x="8437" y="699756"/>
                    <a:pt x="5369" y="708960"/>
                    <a:pt x="5369" y="718165"/>
                  </a:cubicBezTo>
                  <a:cubicBezTo>
                    <a:pt x="-767" y="733506"/>
                    <a:pt x="-767" y="748847"/>
                    <a:pt x="11506" y="767256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F6F16323-80DF-423A-9130-FE9931C8788B}"/>
                </a:ext>
              </a:extLst>
            </p:cNvPr>
            <p:cNvSpPr/>
            <p:nvPr/>
          </p:nvSpPr>
          <p:spPr>
            <a:xfrm>
              <a:off x="8950470" y="7957987"/>
              <a:ext cx="604517" cy="973342"/>
            </a:xfrm>
            <a:custGeom>
              <a:avLst/>
              <a:gdLst>
                <a:gd name="connsiteX0" fmla="*/ 47016 w 604517"/>
                <a:gd name="connsiteY0" fmla="*/ 265408 h 973342"/>
                <a:gd name="connsiteX1" fmla="*/ 68493 w 604517"/>
                <a:gd name="connsiteY1" fmla="*/ 90521 h 973342"/>
                <a:gd name="connsiteX2" fmla="*/ 65425 w 604517"/>
                <a:gd name="connsiteY2" fmla="*/ 75181 h 973342"/>
                <a:gd name="connsiteX3" fmla="*/ 231107 w 604517"/>
                <a:gd name="connsiteY3" fmla="*/ 53703 h 973342"/>
                <a:gd name="connsiteX4" fmla="*/ 323152 w 604517"/>
                <a:gd name="connsiteY4" fmla="*/ 99726 h 973342"/>
                <a:gd name="connsiteX5" fmla="*/ 320084 w 604517"/>
                <a:gd name="connsiteY5" fmla="*/ 164158 h 973342"/>
                <a:gd name="connsiteX6" fmla="*/ 320084 w 604517"/>
                <a:gd name="connsiteY6" fmla="*/ 164158 h 973342"/>
                <a:gd name="connsiteX7" fmla="*/ 399857 w 604517"/>
                <a:gd name="connsiteY7" fmla="*/ 256204 h 973342"/>
                <a:gd name="connsiteX8" fmla="*/ 436675 w 604517"/>
                <a:gd name="connsiteY8" fmla="*/ 289953 h 973342"/>
                <a:gd name="connsiteX9" fmla="*/ 427470 w 604517"/>
                <a:gd name="connsiteY9" fmla="*/ 342112 h 973342"/>
                <a:gd name="connsiteX10" fmla="*/ 470425 w 604517"/>
                <a:gd name="connsiteY10" fmla="*/ 409613 h 973342"/>
                <a:gd name="connsiteX11" fmla="*/ 464289 w 604517"/>
                <a:gd name="connsiteY11" fmla="*/ 452567 h 973342"/>
                <a:gd name="connsiteX12" fmla="*/ 547129 w 604517"/>
                <a:gd name="connsiteY12" fmla="*/ 529272 h 973342"/>
                <a:gd name="connsiteX13" fmla="*/ 519516 w 604517"/>
                <a:gd name="connsiteY13" fmla="*/ 599840 h 973342"/>
                <a:gd name="connsiteX14" fmla="*/ 562470 w 604517"/>
                <a:gd name="connsiteY14" fmla="*/ 771658 h 973342"/>
                <a:gd name="connsiteX15" fmla="*/ 587016 w 604517"/>
                <a:gd name="connsiteY15" fmla="*/ 897453 h 973342"/>
                <a:gd name="connsiteX16" fmla="*/ 513380 w 604517"/>
                <a:gd name="connsiteY16" fmla="*/ 900522 h 973342"/>
                <a:gd name="connsiteX17" fmla="*/ 405993 w 604517"/>
                <a:gd name="connsiteY17" fmla="*/ 971090 h 973342"/>
                <a:gd name="connsiteX18" fmla="*/ 338493 w 604517"/>
                <a:gd name="connsiteY18" fmla="*/ 839158 h 973342"/>
                <a:gd name="connsiteX19" fmla="*/ 301675 w 604517"/>
                <a:gd name="connsiteY19" fmla="*/ 805408 h 973342"/>
                <a:gd name="connsiteX20" fmla="*/ 264857 w 604517"/>
                <a:gd name="connsiteY20" fmla="*/ 790067 h 973342"/>
                <a:gd name="connsiteX21" fmla="*/ 99175 w 604517"/>
                <a:gd name="connsiteY21" fmla="*/ 725635 h 973342"/>
                <a:gd name="connsiteX22" fmla="*/ 28607 w 604517"/>
                <a:gd name="connsiteY22" fmla="*/ 670408 h 973342"/>
                <a:gd name="connsiteX23" fmla="*/ 47016 w 604517"/>
                <a:gd name="connsiteY23" fmla="*/ 495521 h 973342"/>
                <a:gd name="connsiteX24" fmla="*/ 47016 w 604517"/>
                <a:gd name="connsiteY24" fmla="*/ 265408 h 973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04517" h="973342">
                  <a:moveTo>
                    <a:pt x="47016" y="265408"/>
                  </a:moveTo>
                  <a:cubicBezTo>
                    <a:pt x="-11280" y="219385"/>
                    <a:pt x="37811" y="142680"/>
                    <a:pt x="68493" y="90521"/>
                  </a:cubicBezTo>
                  <a:cubicBezTo>
                    <a:pt x="65425" y="87454"/>
                    <a:pt x="62357" y="81317"/>
                    <a:pt x="65425" y="75181"/>
                  </a:cubicBezTo>
                  <a:cubicBezTo>
                    <a:pt x="86902" y="-7660"/>
                    <a:pt x="234175" y="-32206"/>
                    <a:pt x="231107" y="53703"/>
                  </a:cubicBezTo>
                  <a:cubicBezTo>
                    <a:pt x="267925" y="56772"/>
                    <a:pt x="304743" y="65976"/>
                    <a:pt x="323152" y="99726"/>
                  </a:cubicBezTo>
                  <a:cubicBezTo>
                    <a:pt x="335425" y="121203"/>
                    <a:pt x="332357" y="145749"/>
                    <a:pt x="320084" y="164158"/>
                  </a:cubicBezTo>
                  <a:cubicBezTo>
                    <a:pt x="320084" y="164158"/>
                    <a:pt x="320084" y="164158"/>
                    <a:pt x="320084" y="164158"/>
                  </a:cubicBezTo>
                  <a:cubicBezTo>
                    <a:pt x="366107" y="176431"/>
                    <a:pt x="405993" y="204044"/>
                    <a:pt x="399857" y="256204"/>
                  </a:cubicBezTo>
                  <a:cubicBezTo>
                    <a:pt x="418266" y="259271"/>
                    <a:pt x="430538" y="268476"/>
                    <a:pt x="436675" y="289953"/>
                  </a:cubicBezTo>
                  <a:cubicBezTo>
                    <a:pt x="442811" y="308363"/>
                    <a:pt x="424402" y="329840"/>
                    <a:pt x="427470" y="342112"/>
                  </a:cubicBezTo>
                  <a:cubicBezTo>
                    <a:pt x="455084" y="351317"/>
                    <a:pt x="467357" y="378931"/>
                    <a:pt x="470425" y="409613"/>
                  </a:cubicBezTo>
                  <a:cubicBezTo>
                    <a:pt x="473493" y="428021"/>
                    <a:pt x="470425" y="440294"/>
                    <a:pt x="464289" y="452567"/>
                  </a:cubicBezTo>
                  <a:cubicBezTo>
                    <a:pt x="501107" y="464840"/>
                    <a:pt x="540993" y="486317"/>
                    <a:pt x="547129" y="529272"/>
                  </a:cubicBezTo>
                  <a:cubicBezTo>
                    <a:pt x="553266" y="559953"/>
                    <a:pt x="540993" y="584499"/>
                    <a:pt x="519516" y="599840"/>
                  </a:cubicBezTo>
                  <a:cubicBezTo>
                    <a:pt x="565539" y="645863"/>
                    <a:pt x="626902" y="740976"/>
                    <a:pt x="562470" y="771658"/>
                  </a:cubicBezTo>
                  <a:cubicBezTo>
                    <a:pt x="596220" y="805408"/>
                    <a:pt x="623834" y="857567"/>
                    <a:pt x="587016" y="897453"/>
                  </a:cubicBezTo>
                  <a:cubicBezTo>
                    <a:pt x="562470" y="921999"/>
                    <a:pt x="531788" y="918931"/>
                    <a:pt x="513380" y="900522"/>
                  </a:cubicBezTo>
                  <a:cubicBezTo>
                    <a:pt x="491902" y="943476"/>
                    <a:pt x="458152" y="983363"/>
                    <a:pt x="405993" y="971090"/>
                  </a:cubicBezTo>
                  <a:cubicBezTo>
                    <a:pt x="344630" y="955749"/>
                    <a:pt x="332357" y="894385"/>
                    <a:pt x="338493" y="839158"/>
                  </a:cubicBezTo>
                  <a:cubicBezTo>
                    <a:pt x="323152" y="833021"/>
                    <a:pt x="310879" y="820749"/>
                    <a:pt x="301675" y="805408"/>
                  </a:cubicBezTo>
                  <a:cubicBezTo>
                    <a:pt x="289402" y="802340"/>
                    <a:pt x="277129" y="796203"/>
                    <a:pt x="264857" y="790067"/>
                  </a:cubicBezTo>
                  <a:cubicBezTo>
                    <a:pt x="215766" y="875976"/>
                    <a:pt x="86902" y="826885"/>
                    <a:pt x="99175" y="725635"/>
                  </a:cubicBezTo>
                  <a:cubicBezTo>
                    <a:pt x="59289" y="722567"/>
                    <a:pt x="43948" y="722567"/>
                    <a:pt x="28607" y="670408"/>
                  </a:cubicBezTo>
                  <a:cubicBezTo>
                    <a:pt x="13266" y="612112"/>
                    <a:pt x="22471" y="550749"/>
                    <a:pt x="47016" y="495521"/>
                  </a:cubicBezTo>
                  <a:cubicBezTo>
                    <a:pt x="-32757" y="434158"/>
                    <a:pt x="4061" y="345181"/>
                    <a:pt x="47016" y="265408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6" name="图形 1">
              <a:extLst>
                <a:ext uri="{FF2B5EF4-FFF2-40B4-BE49-F238E27FC236}">
                  <a16:creationId xmlns:a16="http://schemas.microsoft.com/office/drawing/2014/main" id="{3F2DB8DF-7035-4E0D-9EE2-B8E127B6E8F9}"/>
                </a:ext>
              </a:extLst>
            </p:cNvPr>
            <p:cNvGrpSpPr/>
            <p:nvPr/>
          </p:nvGrpSpPr>
          <p:grpSpPr>
            <a:xfrm>
              <a:off x="8484642" y="12080100"/>
              <a:ext cx="397787" cy="363838"/>
              <a:chOff x="8484642" y="12080100"/>
              <a:chExt cx="397787" cy="363838"/>
            </a:xfrm>
          </p:grpSpPr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6CF4DEC6-D75E-48B8-8C42-72CE9DB01CDE}"/>
                  </a:ext>
                </a:extLst>
              </p:cNvPr>
              <p:cNvSpPr/>
              <p:nvPr/>
            </p:nvSpPr>
            <p:spPr>
              <a:xfrm>
                <a:off x="8484642" y="12205895"/>
                <a:ext cx="397787" cy="238042"/>
              </a:xfrm>
              <a:custGeom>
                <a:avLst/>
                <a:gdLst>
                  <a:gd name="connsiteX0" fmla="*/ 288867 w 397787"/>
                  <a:gd name="connsiteY0" fmla="*/ 0 h 238042"/>
                  <a:gd name="connsiteX1" fmla="*/ 129321 w 397787"/>
                  <a:gd name="connsiteY1" fmla="*/ 125795 h 238042"/>
                  <a:gd name="connsiteX2" fmla="*/ 325685 w 397787"/>
                  <a:gd name="connsiteY2" fmla="*/ 76705 h 238042"/>
                  <a:gd name="connsiteX3" fmla="*/ 396253 w 397787"/>
                  <a:gd name="connsiteY3" fmla="*/ 52159 h 238042"/>
                  <a:gd name="connsiteX4" fmla="*/ 390116 w 397787"/>
                  <a:gd name="connsiteY4" fmla="*/ 159545 h 238042"/>
                  <a:gd name="connsiteX5" fmla="*/ 156935 w 397787"/>
                  <a:gd name="connsiteY5" fmla="*/ 233181 h 238042"/>
                  <a:gd name="connsiteX6" fmla="*/ 18867 w 397787"/>
                  <a:gd name="connsiteY6" fmla="*/ 233181 h 238042"/>
                  <a:gd name="connsiteX7" fmla="*/ 12730 w 397787"/>
                  <a:gd name="connsiteY7" fmla="*/ 177954 h 238042"/>
                  <a:gd name="connsiteX8" fmla="*/ 288867 w 397787"/>
                  <a:gd name="connsiteY8" fmla="*/ 0 h 238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7787" h="238042">
                    <a:moveTo>
                      <a:pt x="288867" y="0"/>
                    </a:moveTo>
                    <a:cubicBezTo>
                      <a:pt x="288867" y="0"/>
                      <a:pt x="113980" y="113522"/>
                      <a:pt x="129321" y="125795"/>
                    </a:cubicBezTo>
                    <a:cubicBezTo>
                      <a:pt x="141594" y="141136"/>
                      <a:pt x="325685" y="76705"/>
                      <a:pt x="325685" y="76705"/>
                    </a:cubicBezTo>
                    <a:lnTo>
                      <a:pt x="396253" y="52159"/>
                    </a:lnTo>
                    <a:cubicBezTo>
                      <a:pt x="396253" y="52159"/>
                      <a:pt x="402389" y="135000"/>
                      <a:pt x="390116" y="159545"/>
                    </a:cubicBezTo>
                    <a:cubicBezTo>
                      <a:pt x="316480" y="196363"/>
                      <a:pt x="230571" y="220909"/>
                      <a:pt x="156935" y="233181"/>
                    </a:cubicBezTo>
                    <a:cubicBezTo>
                      <a:pt x="110912" y="242386"/>
                      <a:pt x="28071" y="236249"/>
                      <a:pt x="18867" y="233181"/>
                    </a:cubicBezTo>
                    <a:cubicBezTo>
                      <a:pt x="9662" y="230114"/>
                      <a:pt x="-14884" y="205568"/>
                      <a:pt x="12730" y="177954"/>
                    </a:cubicBezTo>
                    <a:cubicBezTo>
                      <a:pt x="74094" y="113522"/>
                      <a:pt x="288867" y="0"/>
                      <a:pt x="288867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583BAE51-9FCC-4490-BF60-9354C5A2A3E7}"/>
                  </a:ext>
                </a:extLst>
              </p:cNvPr>
              <p:cNvSpPr/>
              <p:nvPr/>
            </p:nvSpPr>
            <p:spPr>
              <a:xfrm>
                <a:off x="8612627" y="12080100"/>
                <a:ext cx="268267" cy="255689"/>
              </a:xfrm>
              <a:custGeom>
                <a:avLst/>
                <a:gdLst>
                  <a:gd name="connsiteX0" fmla="*/ 145541 w 268267"/>
                  <a:gd name="connsiteY0" fmla="*/ 0 h 255689"/>
                  <a:gd name="connsiteX1" fmla="*/ 160882 w 268267"/>
                  <a:gd name="connsiteY1" fmla="*/ 125796 h 255689"/>
                  <a:gd name="connsiteX2" fmla="*/ 1336 w 268267"/>
                  <a:gd name="connsiteY2" fmla="*/ 251590 h 255689"/>
                  <a:gd name="connsiteX3" fmla="*/ 240654 w 268267"/>
                  <a:gd name="connsiteY3" fmla="*/ 208636 h 255689"/>
                  <a:gd name="connsiteX4" fmla="*/ 268268 w 268267"/>
                  <a:gd name="connsiteY4" fmla="*/ 177954 h 255689"/>
                  <a:gd name="connsiteX5" fmla="*/ 268268 w 268267"/>
                  <a:gd name="connsiteY5" fmla="*/ 42954 h 255689"/>
                  <a:gd name="connsiteX6" fmla="*/ 145541 w 268267"/>
                  <a:gd name="connsiteY6" fmla="*/ 0 h 255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8267" h="255689">
                    <a:moveTo>
                      <a:pt x="145541" y="0"/>
                    </a:moveTo>
                    <a:lnTo>
                      <a:pt x="160882" y="125796"/>
                    </a:lnTo>
                    <a:cubicBezTo>
                      <a:pt x="160882" y="125796"/>
                      <a:pt x="-17073" y="230114"/>
                      <a:pt x="1336" y="251590"/>
                    </a:cubicBezTo>
                    <a:cubicBezTo>
                      <a:pt x="13609" y="266931"/>
                      <a:pt x="170086" y="236249"/>
                      <a:pt x="240654" y="208636"/>
                    </a:cubicBezTo>
                    <a:cubicBezTo>
                      <a:pt x="265200" y="199432"/>
                      <a:pt x="268268" y="177954"/>
                      <a:pt x="268268" y="177954"/>
                    </a:cubicBezTo>
                    <a:lnTo>
                      <a:pt x="268268" y="42954"/>
                    </a:lnTo>
                    <a:lnTo>
                      <a:pt x="145541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7" name="图形 1">
              <a:extLst>
                <a:ext uri="{FF2B5EF4-FFF2-40B4-BE49-F238E27FC236}">
                  <a16:creationId xmlns:a16="http://schemas.microsoft.com/office/drawing/2014/main" id="{9B47542F-24BC-423C-BFFA-2C2D9A971535}"/>
                </a:ext>
              </a:extLst>
            </p:cNvPr>
            <p:cNvGrpSpPr/>
            <p:nvPr/>
          </p:nvGrpSpPr>
          <p:grpSpPr>
            <a:xfrm>
              <a:off x="9776804" y="11757941"/>
              <a:ext cx="300681" cy="489253"/>
              <a:chOff x="9776804" y="11757941"/>
              <a:chExt cx="300681" cy="489253"/>
            </a:xfrm>
          </p:grpSpPr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9A87A99F-3653-4BEC-91D7-BE3DF28292FF}"/>
                  </a:ext>
                </a:extLst>
              </p:cNvPr>
              <p:cNvSpPr/>
              <p:nvPr/>
            </p:nvSpPr>
            <p:spPr>
              <a:xfrm>
                <a:off x="9870345" y="11831577"/>
                <a:ext cx="207140" cy="415617"/>
              </a:xfrm>
              <a:custGeom>
                <a:avLst/>
                <a:gdLst>
                  <a:gd name="connsiteX0" fmla="*/ 16913 w 207140"/>
                  <a:gd name="connsiteY0" fmla="*/ 61364 h 415617"/>
                  <a:gd name="connsiteX1" fmla="*/ 32253 w 207140"/>
                  <a:gd name="connsiteY1" fmla="*/ 263864 h 415617"/>
                  <a:gd name="connsiteX2" fmla="*/ 102822 w 207140"/>
                  <a:gd name="connsiteY2" fmla="*/ 73636 h 415617"/>
                  <a:gd name="connsiteX3" fmla="*/ 121231 w 207140"/>
                  <a:gd name="connsiteY3" fmla="*/ 0 h 415617"/>
                  <a:gd name="connsiteX4" fmla="*/ 207140 w 207140"/>
                  <a:gd name="connsiteY4" fmla="*/ 64432 h 415617"/>
                  <a:gd name="connsiteX5" fmla="*/ 136572 w 207140"/>
                  <a:gd name="connsiteY5" fmla="*/ 297614 h 415617"/>
                  <a:gd name="connsiteX6" fmla="*/ 56799 w 207140"/>
                  <a:gd name="connsiteY6" fmla="*/ 411136 h 415617"/>
                  <a:gd name="connsiteX7" fmla="*/ 4640 w 207140"/>
                  <a:gd name="connsiteY7" fmla="*/ 383523 h 415617"/>
                  <a:gd name="connsiteX8" fmla="*/ 16913 w 207140"/>
                  <a:gd name="connsiteY8" fmla="*/ 61364 h 415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7140" h="415617">
                    <a:moveTo>
                      <a:pt x="16913" y="61364"/>
                    </a:moveTo>
                    <a:cubicBezTo>
                      <a:pt x="16913" y="61364"/>
                      <a:pt x="13845" y="270000"/>
                      <a:pt x="32253" y="263864"/>
                    </a:cubicBezTo>
                    <a:cubicBezTo>
                      <a:pt x="50663" y="260795"/>
                      <a:pt x="102822" y="73636"/>
                      <a:pt x="102822" y="73636"/>
                    </a:cubicBezTo>
                    <a:lnTo>
                      <a:pt x="121231" y="0"/>
                    </a:lnTo>
                    <a:cubicBezTo>
                      <a:pt x="121231" y="0"/>
                      <a:pt x="191799" y="42954"/>
                      <a:pt x="207140" y="64432"/>
                    </a:cubicBezTo>
                    <a:cubicBezTo>
                      <a:pt x="197936" y="144205"/>
                      <a:pt x="167254" y="230114"/>
                      <a:pt x="136572" y="297614"/>
                    </a:cubicBezTo>
                    <a:cubicBezTo>
                      <a:pt x="118163" y="340568"/>
                      <a:pt x="66004" y="408068"/>
                      <a:pt x="56799" y="411136"/>
                    </a:cubicBezTo>
                    <a:cubicBezTo>
                      <a:pt x="47594" y="417273"/>
                      <a:pt x="13845" y="423409"/>
                      <a:pt x="4640" y="383523"/>
                    </a:cubicBezTo>
                    <a:cubicBezTo>
                      <a:pt x="-10701" y="300681"/>
                      <a:pt x="16913" y="61364"/>
                      <a:pt x="16913" y="61364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C9510F4D-1241-4A3C-8CAB-B71635B1366E}"/>
                  </a:ext>
                </a:extLst>
              </p:cNvPr>
              <p:cNvSpPr/>
              <p:nvPr/>
            </p:nvSpPr>
            <p:spPr>
              <a:xfrm>
                <a:off x="9776804" y="11757941"/>
                <a:ext cx="228297" cy="337534"/>
              </a:xfrm>
              <a:custGeom>
                <a:avLst/>
                <a:gdLst>
                  <a:gd name="connsiteX0" fmla="*/ 0 w 228297"/>
                  <a:gd name="connsiteY0" fmla="*/ 76705 h 337534"/>
                  <a:gd name="connsiteX1" fmla="*/ 110454 w 228297"/>
                  <a:gd name="connsiteY1" fmla="*/ 135000 h 337534"/>
                  <a:gd name="connsiteX2" fmla="*/ 125795 w 228297"/>
                  <a:gd name="connsiteY2" fmla="*/ 337500 h 337534"/>
                  <a:gd name="connsiteX3" fmla="*/ 227045 w 228297"/>
                  <a:gd name="connsiteY3" fmla="*/ 116591 h 337534"/>
                  <a:gd name="connsiteX4" fmla="*/ 214773 w 228297"/>
                  <a:gd name="connsiteY4" fmla="*/ 76705 h 337534"/>
                  <a:gd name="connsiteX5" fmla="*/ 104318 w 228297"/>
                  <a:gd name="connsiteY5" fmla="*/ 0 h 337534"/>
                  <a:gd name="connsiteX6" fmla="*/ 0 w 228297"/>
                  <a:gd name="connsiteY6" fmla="*/ 76705 h 337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8297" h="337534">
                    <a:moveTo>
                      <a:pt x="0" y="76705"/>
                    </a:moveTo>
                    <a:lnTo>
                      <a:pt x="110454" y="135000"/>
                    </a:lnTo>
                    <a:cubicBezTo>
                      <a:pt x="110454" y="135000"/>
                      <a:pt x="98182" y="340568"/>
                      <a:pt x="125795" y="337500"/>
                    </a:cubicBezTo>
                    <a:cubicBezTo>
                      <a:pt x="147273" y="337500"/>
                      <a:pt x="208636" y="190227"/>
                      <a:pt x="227045" y="116591"/>
                    </a:cubicBezTo>
                    <a:cubicBezTo>
                      <a:pt x="233182" y="92045"/>
                      <a:pt x="214773" y="76705"/>
                      <a:pt x="214773" y="76705"/>
                    </a:cubicBezTo>
                    <a:lnTo>
                      <a:pt x="104318" y="0"/>
                    </a:lnTo>
                    <a:lnTo>
                      <a:pt x="0" y="76705"/>
                    </a:ln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56AB65A3-9A17-4928-8BFA-89AB4DEDF759}"/>
                </a:ext>
              </a:extLst>
            </p:cNvPr>
            <p:cNvSpPr/>
            <p:nvPr/>
          </p:nvSpPr>
          <p:spPr>
            <a:xfrm>
              <a:off x="7920536" y="8705359"/>
              <a:ext cx="920625" cy="1122993"/>
            </a:xfrm>
            <a:custGeom>
              <a:avLst/>
              <a:gdLst>
                <a:gd name="connsiteX0" fmla="*/ 586041 w 920625"/>
                <a:gd name="connsiteY0" fmla="*/ 324968 h 1122993"/>
                <a:gd name="connsiteX1" fmla="*/ 454109 w 920625"/>
                <a:gd name="connsiteY1" fmla="*/ 696218 h 1122993"/>
                <a:gd name="connsiteX2" fmla="*/ 18 w 920625"/>
                <a:gd name="connsiteY2" fmla="*/ 929400 h 1122993"/>
                <a:gd name="connsiteX3" fmla="*/ 82859 w 920625"/>
                <a:gd name="connsiteY3" fmla="*/ 1122696 h 1122993"/>
                <a:gd name="connsiteX4" fmla="*/ 668882 w 920625"/>
                <a:gd name="connsiteY4" fmla="*/ 883377 h 1122993"/>
                <a:gd name="connsiteX5" fmla="*/ 908200 w 920625"/>
                <a:gd name="connsiteY5" fmla="*/ 266673 h 1122993"/>
                <a:gd name="connsiteX6" fmla="*/ 852973 w 920625"/>
                <a:gd name="connsiteY6" fmla="*/ 2809 h 1122993"/>
                <a:gd name="connsiteX7" fmla="*/ 586041 w 920625"/>
                <a:gd name="connsiteY7" fmla="*/ 324968 h 1122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625" h="1122993">
                  <a:moveTo>
                    <a:pt x="586041" y="324968"/>
                  </a:moveTo>
                  <a:cubicBezTo>
                    <a:pt x="558427" y="410877"/>
                    <a:pt x="503200" y="619513"/>
                    <a:pt x="454109" y="696218"/>
                  </a:cubicBezTo>
                  <a:cubicBezTo>
                    <a:pt x="383541" y="809741"/>
                    <a:pt x="-3050" y="920195"/>
                    <a:pt x="18" y="929400"/>
                  </a:cubicBezTo>
                  <a:cubicBezTo>
                    <a:pt x="9223" y="999968"/>
                    <a:pt x="27632" y="1079740"/>
                    <a:pt x="82859" y="1122696"/>
                  </a:cubicBezTo>
                  <a:cubicBezTo>
                    <a:pt x="92064" y="1128831"/>
                    <a:pt x="512404" y="1039854"/>
                    <a:pt x="668882" y="883377"/>
                  </a:cubicBezTo>
                  <a:cubicBezTo>
                    <a:pt x="717973" y="834286"/>
                    <a:pt x="859109" y="407809"/>
                    <a:pt x="908200" y="266673"/>
                  </a:cubicBezTo>
                  <a:cubicBezTo>
                    <a:pt x="935814" y="183832"/>
                    <a:pt x="917404" y="18150"/>
                    <a:pt x="852973" y="2809"/>
                  </a:cubicBezTo>
                  <a:cubicBezTo>
                    <a:pt x="751723" y="-24805"/>
                    <a:pt x="638200" y="156218"/>
                    <a:pt x="586041" y="324968"/>
                  </a:cubicBezTo>
                  <a:close/>
                </a:path>
              </a:pathLst>
            </a:custGeom>
            <a:solidFill>
              <a:srgbClr val="F1DDB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C1FEB921-B69A-45AC-A06D-53F4FC1F1F4E}"/>
                </a:ext>
              </a:extLst>
            </p:cNvPr>
            <p:cNvSpPr/>
            <p:nvPr/>
          </p:nvSpPr>
          <p:spPr>
            <a:xfrm>
              <a:off x="8539126" y="9637827"/>
              <a:ext cx="1388018" cy="2518977"/>
            </a:xfrm>
            <a:custGeom>
              <a:avLst/>
              <a:gdLst>
                <a:gd name="connsiteX0" fmla="*/ 792791 w 1388018"/>
                <a:gd name="connsiteY0" fmla="*/ 0 h 2518977"/>
                <a:gd name="connsiteX1" fmla="*/ 120859 w 1388018"/>
                <a:gd name="connsiteY1" fmla="*/ 0 h 2518977"/>
                <a:gd name="connsiteX2" fmla="*/ 1200 w 1388018"/>
                <a:gd name="connsiteY2" fmla="*/ 463296 h 2518977"/>
                <a:gd name="connsiteX3" fmla="*/ 182223 w 1388018"/>
                <a:gd name="connsiteY3" fmla="*/ 2500568 h 2518977"/>
                <a:gd name="connsiteX4" fmla="*/ 381655 w 1388018"/>
                <a:gd name="connsiteY4" fmla="*/ 2518978 h 2518977"/>
                <a:gd name="connsiteX5" fmla="*/ 464496 w 1388018"/>
                <a:gd name="connsiteY5" fmla="*/ 816137 h 2518977"/>
                <a:gd name="connsiteX6" fmla="*/ 556541 w 1388018"/>
                <a:gd name="connsiteY6" fmla="*/ 1767273 h 2518977"/>
                <a:gd name="connsiteX7" fmla="*/ 1283700 w 1388018"/>
                <a:gd name="connsiteY7" fmla="*/ 2288864 h 2518977"/>
                <a:gd name="connsiteX8" fmla="*/ 1388018 w 1388018"/>
                <a:gd name="connsiteY8" fmla="*/ 2098636 h 2518977"/>
                <a:gd name="connsiteX9" fmla="*/ 890973 w 1388018"/>
                <a:gd name="connsiteY9" fmla="*/ 1669091 h 2518977"/>
                <a:gd name="connsiteX10" fmla="*/ 927791 w 1388018"/>
                <a:gd name="connsiteY10" fmla="*/ 420341 h 2518977"/>
                <a:gd name="connsiteX11" fmla="*/ 792791 w 1388018"/>
                <a:gd name="connsiteY11" fmla="*/ 0 h 2518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8018" h="2518977">
                  <a:moveTo>
                    <a:pt x="792791" y="0"/>
                  </a:moveTo>
                  <a:lnTo>
                    <a:pt x="120859" y="0"/>
                  </a:lnTo>
                  <a:cubicBezTo>
                    <a:pt x="120859" y="0"/>
                    <a:pt x="22678" y="306818"/>
                    <a:pt x="1200" y="463296"/>
                  </a:cubicBezTo>
                  <a:cubicBezTo>
                    <a:pt x="-17209" y="616705"/>
                    <a:pt x="182223" y="2500568"/>
                    <a:pt x="182223" y="2500568"/>
                  </a:cubicBezTo>
                  <a:lnTo>
                    <a:pt x="381655" y="2518978"/>
                  </a:lnTo>
                  <a:lnTo>
                    <a:pt x="464496" y="816137"/>
                  </a:lnTo>
                  <a:cubicBezTo>
                    <a:pt x="464496" y="816137"/>
                    <a:pt x="550405" y="1751932"/>
                    <a:pt x="556541" y="1767273"/>
                  </a:cubicBezTo>
                  <a:lnTo>
                    <a:pt x="1283700" y="2288864"/>
                  </a:lnTo>
                  <a:lnTo>
                    <a:pt x="1388018" y="2098636"/>
                  </a:lnTo>
                  <a:lnTo>
                    <a:pt x="890973" y="1669091"/>
                  </a:lnTo>
                  <a:cubicBezTo>
                    <a:pt x="890973" y="1669091"/>
                    <a:pt x="921655" y="484772"/>
                    <a:pt x="927791" y="420341"/>
                  </a:cubicBezTo>
                  <a:cubicBezTo>
                    <a:pt x="936996" y="297614"/>
                    <a:pt x="792791" y="0"/>
                    <a:pt x="792791" y="0"/>
                  </a:cubicBezTo>
                  <a:close/>
                </a:path>
              </a:pathLst>
            </a:custGeom>
            <a:solidFill>
              <a:srgbClr val="7F95BC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83C0FF86-AF21-4A1D-9BF9-B0CA4768D8A9}"/>
                </a:ext>
              </a:extLst>
            </p:cNvPr>
            <p:cNvSpPr/>
            <p:nvPr/>
          </p:nvSpPr>
          <p:spPr>
            <a:xfrm>
              <a:off x="8954531" y="10027486"/>
              <a:ext cx="873664" cy="1908408"/>
            </a:xfrm>
            <a:custGeom>
              <a:avLst/>
              <a:gdLst>
                <a:gd name="connsiteX0" fmla="*/ 868296 w 873664"/>
                <a:gd name="connsiteY0" fmla="*/ 1905340 h 1908408"/>
                <a:gd name="connsiteX1" fmla="*/ 865227 w 873664"/>
                <a:gd name="connsiteY1" fmla="*/ 1905340 h 1908408"/>
                <a:gd name="connsiteX2" fmla="*/ 138068 w 873664"/>
                <a:gd name="connsiteY2" fmla="*/ 1383749 h 1908408"/>
                <a:gd name="connsiteX3" fmla="*/ 135000 w 873664"/>
                <a:gd name="connsiteY3" fmla="*/ 1380682 h 1908408"/>
                <a:gd name="connsiteX4" fmla="*/ 42954 w 873664"/>
                <a:gd name="connsiteY4" fmla="*/ 426477 h 1908408"/>
                <a:gd name="connsiteX5" fmla="*/ 0 w 873664"/>
                <a:gd name="connsiteY5" fmla="*/ 6136 h 1908408"/>
                <a:gd name="connsiteX6" fmla="*/ 6136 w 873664"/>
                <a:gd name="connsiteY6" fmla="*/ 0 h 1908408"/>
                <a:gd name="connsiteX7" fmla="*/ 12273 w 873664"/>
                <a:gd name="connsiteY7" fmla="*/ 6136 h 1908408"/>
                <a:gd name="connsiteX8" fmla="*/ 55227 w 873664"/>
                <a:gd name="connsiteY8" fmla="*/ 426477 h 1908408"/>
                <a:gd name="connsiteX9" fmla="*/ 147273 w 873664"/>
                <a:gd name="connsiteY9" fmla="*/ 1377614 h 1908408"/>
                <a:gd name="connsiteX10" fmla="*/ 871363 w 873664"/>
                <a:gd name="connsiteY10" fmla="*/ 1899204 h 1908408"/>
                <a:gd name="connsiteX11" fmla="*/ 871363 w 873664"/>
                <a:gd name="connsiteY11" fmla="*/ 1908409 h 1908408"/>
                <a:gd name="connsiteX12" fmla="*/ 868296 w 873664"/>
                <a:gd name="connsiteY12" fmla="*/ 1905340 h 1908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3664" h="1908408">
                  <a:moveTo>
                    <a:pt x="868296" y="1905340"/>
                  </a:moveTo>
                  <a:cubicBezTo>
                    <a:pt x="868296" y="1905340"/>
                    <a:pt x="865227" y="1905340"/>
                    <a:pt x="865227" y="1905340"/>
                  </a:cubicBezTo>
                  <a:lnTo>
                    <a:pt x="138068" y="1383749"/>
                  </a:lnTo>
                  <a:cubicBezTo>
                    <a:pt x="138068" y="1383749"/>
                    <a:pt x="135000" y="1383749"/>
                    <a:pt x="135000" y="1380682"/>
                  </a:cubicBezTo>
                  <a:cubicBezTo>
                    <a:pt x="128864" y="1362273"/>
                    <a:pt x="52159" y="521591"/>
                    <a:pt x="42954" y="426477"/>
                  </a:cubicBezTo>
                  <a:lnTo>
                    <a:pt x="0" y="6136"/>
                  </a:lnTo>
                  <a:cubicBezTo>
                    <a:pt x="0" y="3067"/>
                    <a:pt x="3068" y="0"/>
                    <a:pt x="6136" y="0"/>
                  </a:cubicBezTo>
                  <a:cubicBezTo>
                    <a:pt x="9205" y="0"/>
                    <a:pt x="12273" y="3067"/>
                    <a:pt x="12273" y="6136"/>
                  </a:cubicBezTo>
                  <a:lnTo>
                    <a:pt x="55227" y="426477"/>
                  </a:lnTo>
                  <a:cubicBezTo>
                    <a:pt x="82841" y="742499"/>
                    <a:pt x="138068" y="1337727"/>
                    <a:pt x="147273" y="1377614"/>
                  </a:cubicBezTo>
                  <a:lnTo>
                    <a:pt x="871363" y="1899204"/>
                  </a:lnTo>
                  <a:cubicBezTo>
                    <a:pt x="874432" y="1902273"/>
                    <a:pt x="874432" y="1905340"/>
                    <a:pt x="871363" y="1908409"/>
                  </a:cubicBezTo>
                  <a:cubicBezTo>
                    <a:pt x="871363" y="1905340"/>
                    <a:pt x="868296" y="1905340"/>
                    <a:pt x="868296" y="1905340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A416954D-C639-4A01-936B-E24074CA7464}"/>
                </a:ext>
              </a:extLst>
            </p:cNvPr>
            <p:cNvSpPr/>
            <p:nvPr/>
          </p:nvSpPr>
          <p:spPr>
            <a:xfrm>
              <a:off x="9279758" y="9794304"/>
              <a:ext cx="182293" cy="190226"/>
            </a:xfrm>
            <a:custGeom>
              <a:avLst/>
              <a:gdLst>
                <a:gd name="connsiteX0" fmla="*/ 177954 w 182293"/>
                <a:gd name="connsiteY0" fmla="*/ 190227 h 190226"/>
                <a:gd name="connsiteX1" fmla="*/ 177954 w 182293"/>
                <a:gd name="connsiteY1" fmla="*/ 190227 h 190226"/>
                <a:gd name="connsiteX2" fmla="*/ 0 w 182293"/>
                <a:gd name="connsiteY2" fmla="*/ 6136 h 190226"/>
                <a:gd name="connsiteX3" fmla="*/ 3068 w 182293"/>
                <a:gd name="connsiteY3" fmla="*/ 0 h 190226"/>
                <a:gd name="connsiteX4" fmla="*/ 9204 w 182293"/>
                <a:gd name="connsiteY4" fmla="*/ 3068 h 190226"/>
                <a:gd name="connsiteX5" fmla="*/ 177954 w 182293"/>
                <a:gd name="connsiteY5" fmla="*/ 181023 h 190226"/>
                <a:gd name="connsiteX6" fmla="*/ 181023 w 182293"/>
                <a:gd name="connsiteY6" fmla="*/ 187159 h 190226"/>
                <a:gd name="connsiteX7" fmla="*/ 177954 w 182293"/>
                <a:gd name="connsiteY7" fmla="*/ 190227 h 190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293" h="190226">
                  <a:moveTo>
                    <a:pt x="177954" y="190227"/>
                  </a:moveTo>
                  <a:cubicBezTo>
                    <a:pt x="177954" y="190227"/>
                    <a:pt x="177954" y="190227"/>
                    <a:pt x="177954" y="190227"/>
                  </a:cubicBezTo>
                  <a:cubicBezTo>
                    <a:pt x="58295" y="156477"/>
                    <a:pt x="3068" y="12273"/>
                    <a:pt x="0" y="6136"/>
                  </a:cubicBezTo>
                  <a:cubicBezTo>
                    <a:pt x="0" y="3068"/>
                    <a:pt x="0" y="0"/>
                    <a:pt x="3068" y="0"/>
                  </a:cubicBezTo>
                  <a:cubicBezTo>
                    <a:pt x="6136" y="0"/>
                    <a:pt x="9204" y="0"/>
                    <a:pt x="9204" y="3068"/>
                  </a:cubicBezTo>
                  <a:cubicBezTo>
                    <a:pt x="9204" y="3068"/>
                    <a:pt x="64432" y="150341"/>
                    <a:pt x="177954" y="181023"/>
                  </a:cubicBezTo>
                  <a:cubicBezTo>
                    <a:pt x="181023" y="181023"/>
                    <a:pt x="184091" y="184091"/>
                    <a:pt x="181023" y="187159"/>
                  </a:cubicBezTo>
                  <a:cubicBezTo>
                    <a:pt x="181023" y="187159"/>
                    <a:pt x="181023" y="190227"/>
                    <a:pt x="177954" y="190227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5D586F3B-E4A0-4605-96C5-09B2344D67A7}"/>
                </a:ext>
              </a:extLst>
            </p:cNvPr>
            <p:cNvSpPr/>
            <p:nvPr/>
          </p:nvSpPr>
          <p:spPr>
            <a:xfrm>
              <a:off x="8555667" y="9794304"/>
              <a:ext cx="174886" cy="193295"/>
            </a:xfrm>
            <a:custGeom>
              <a:avLst/>
              <a:gdLst>
                <a:gd name="connsiteX0" fmla="*/ 6136 w 174886"/>
                <a:gd name="connsiteY0" fmla="*/ 193295 h 193295"/>
                <a:gd name="connsiteX1" fmla="*/ 0 w 174886"/>
                <a:gd name="connsiteY1" fmla="*/ 190227 h 193295"/>
                <a:gd name="connsiteX2" fmla="*/ 3068 w 174886"/>
                <a:gd name="connsiteY2" fmla="*/ 184091 h 193295"/>
                <a:gd name="connsiteX3" fmla="*/ 162614 w 174886"/>
                <a:gd name="connsiteY3" fmla="*/ 3068 h 193295"/>
                <a:gd name="connsiteX4" fmla="*/ 171818 w 174886"/>
                <a:gd name="connsiteY4" fmla="*/ 0 h 193295"/>
                <a:gd name="connsiteX5" fmla="*/ 174886 w 174886"/>
                <a:gd name="connsiteY5" fmla="*/ 9204 h 193295"/>
                <a:gd name="connsiteX6" fmla="*/ 6136 w 174886"/>
                <a:gd name="connsiteY6" fmla="*/ 193295 h 193295"/>
                <a:gd name="connsiteX7" fmla="*/ 6136 w 174886"/>
                <a:gd name="connsiteY7" fmla="*/ 193295 h 19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886" h="193295">
                  <a:moveTo>
                    <a:pt x="6136" y="193295"/>
                  </a:moveTo>
                  <a:cubicBezTo>
                    <a:pt x="3068" y="193295"/>
                    <a:pt x="3068" y="193295"/>
                    <a:pt x="0" y="190227"/>
                  </a:cubicBezTo>
                  <a:cubicBezTo>
                    <a:pt x="0" y="187159"/>
                    <a:pt x="0" y="184091"/>
                    <a:pt x="3068" y="184091"/>
                  </a:cubicBezTo>
                  <a:cubicBezTo>
                    <a:pt x="82841" y="153409"/>
                    <a:pt x="162614" y="3068"/>
                    <a:pt x="162614" y="3068"/>
                  </a:cubicBezTo>
                  <a:cubicBezTo>
                    <a:pt x="162614" y="0"/>
                    <a:pt x="168750" y="0"/>
                    <a:pt x="171818" y="0"/>
                  </a:cubicBezTo>
                  <a:cubicBezTo>
                    <a:pt x="174886" y="0"/>
                    <a:pt x="174886" y="6136"/>
                    <a:pt x="174886" y="9204"/>
                  </a:cubicBezTo>
                  <a:cubicBezTo>
                    <a:pt x="171818" y="12273"/>
                    <a:pt x="88977" y="159545"/>
                    <a:pt x="6136" y="193295"/>
                  </a:cubicBezTo>
                  <a:cubicBezTo>
                    <a:pt x="6136" y="193295"/>
                    <a:pt x="6136" y="193295"/>
                    <a:pt x="6136" y="193295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5A682498-7E53-41F5-8C97-FCFD59C1AB8C}"/>
                </a:ext>
              </a:extLst>
            </p:cNvPr>
            <p:cNvSpPr/>
            <p:nvPr/>
          </p:nvSpPr>
          <p:spPr>
            <a:xfrm>
              <a:off x="8556782" y="8672993"/>
              <a:ext cx="825801" cy="992538"/>
            </a:xfrm>
            <a:custGeom>
              <a:avLst/>
              <a:gdLst>
                <a:gd name="connsiteX0" fmla="*/ 781272 w 825801"/>
                <a:gd name="connsiteY0" fmla="*/ 394152 h 992538"/>
                <a:gd name="connsiteX1" fmla="*/ 765931 w 825801"/>
                <a:gd name="connsiteY1" fmla="*/ 68925 h 992538"/>
                <a:gd name="connsiteX2" fmla="*/ 394681 w 825801"/>
                <a:gd name="connsiteY2" fmla="*/ 4493 h 992538"/>
                <a:gd name="connsiteX3" fmla="*/ 90931 w 825801"/>
                <a:gd name="connsiteY3" fmla="*/ 105743 h 992538"/>
                <a:gd name="connsiteX4" fmla="*/ 51044 w 825801"/>
                <a:gd name="connsiteY4" fmla="*/ 658016 h 992538"/>
                <a:gd name="connsiteX5" fmla="*/ 93999 w 825801"/>
                <a:gd name="connsiteY5" fmla="*/ 986312 h 992538"/>
                <a:gd name="connsiteX6" fmla="*/ 775135 w 825801"/>
                <a:gd name="connsiteY6" fmla="*/ 970971 h 992538"/>
                <a:gd name="connsiteX7" fmla="*/ 781272 w 825801"/>
                <a:gd name="connsiteY7" fmla="*/ 394152 h 992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5801" h="992538">
                  <a:moveTo>
                    <a:pt x="781272" y="394152"/>
                  </a:moveTo>
                  <a:cubicBezTo>
                    <a:pt x="790476" y="363470"/>
                    <a:pt x="885590" y="133357"/>
                    <a:pt x="765931" y="68925"/>
                  </a:cubicBezTo>
                  <a:cubicBezTo>
                    <a:pt x="661613" y="13698"/>
                    <a:pt x="514340" y="-10848"/>
                    <a:pt x="394681" y="4493"/>
                  </a:cubicBezTo>
                  <a:cubicBezTo>
                    <a:pt x="262749" y="19834"/>
                    <a:pt x="130817" y="41311"/>
                    <a:pt x="90931" y="105743"/>
                  </a:cubicBezTo>
                  <a:cubicBezTo>
                    <a:pt x="-22592" y="292902"/>
                    <a:pt x="-22592" y="458584"/>
                    <a:pt x="51044" y="658016"/>
                  </a:cubicBezTo>
                  <a:cubicBezTo>
                    <a:pt x="72522" y="716311"/>
                    <a:pt x="78658" y="851311"/>
                    <a:pt x="93999" y="986312"/>
                  </a:cubicBezTo>
                  <a:cubicBezTo>
                    <a:pt x="93999" y="986312"/>
                    <a:pt x="379340" y="1007788"/>
                    <a:pt x="775135" y="970971"/>
                  </a:cubicBezTo>
                  <a:cubicBezTo>
                    <a:pt x="744454" y="750061"/>
                    <a:pt x="772067" y="418698"/>
                    <a:pt x="781272" y="394152"/>
                  </a:cubicBezTo>
                  <a:close/>
                </a:path>
              </a:pathLst>
            </a:custGeom>
            <a:solidFill>
              <a:srgbClr val="F6EBE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0AF20158-D0E1-44DD-904E-2E5F394824C7}"/>
                </a:ext>
              </a:extLst>
            </p:cNvPr>
            <p:cNvSpPr/>
            <p:nvPr/>
          </p:nvSpPr>
          <p:spPr>
            <a:xfrm>
              <a:off x="8837940" y="8493395"/>
              <a:ext cx="309886" cy="328295"/>
            </a:xfrm>
            <a:custGeom>
              <a:avLst/>
              <a:gdLst>
                <a:gd name="connsiteX0" fmla="*/ 55227 w 309886"/>
                <a:gd name="connsiteY0" fmla="*/ 61364 h 328295"/>
                <a:gd name="connsiteX1" fmla="*/ 0 w 309886"/>
                <a:gd name="connsiteY1" fmla="*/ 202500 h 328295"/>
                <a:gd name="connsiteX2" fmla="*/ 39886 w 309886"/>
                <a:gd name="connsiteY2" fmla="*/ 328295 h 328295"/>
                <a:gd name="connsiteX3" fmla="*/ 309887 w 309886"/>
                <a:gd name="connsiteY3" fmla="*/ 187159 h 328295"/>
                <a:gd name="connsiteX4" fmla="*/ 257728 w 309886"/>
                <a:gd name="connsiteY4" fmla="*/ 0 h 328295"/>
                <a:gd name="connsiteX5" fmla="*/ 55227 w 309886"/>
                <a:gd name="connsiteY5" fmla="*/ 61364 h 328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886" h="328295">
                  <a:moveTo>
                    <a:pt x="55227" y="61364"/>
                  </a:moveTo>
                  <a:cubicBezTo>
                    <a:pt x="55227" y="61364"/>
                    <a:pt x="61364" y="171818"/>
                    <a:pt x="0" y="202500"/>
                  </a:cubicBezTo>
                  <a:lnTo>
                    <a:pt x="39886" y="328295"/>
                  </a:lnTo>
                  <a:cubicBezTo>
                    <a:pt x="39886" y="328295"/>
                    <a:pt x="257728" y="217841"/>
                    <a:pt x="309887" y="187159"/>
                  </a:cubicBezTo>
                  <a:cubicBezTo>
                    <a:pt x="254659" y="144204"/>
                    <a:pt x="257728" y="61364"/>
                    <a:pt x="257728" y="0"/>
                  </a:cubicBezTo>
                  <a:cubicBezTo>
                    <a:pt x="260795" y="0"/>
                    <a:pt x="110455" y="70568"/>
                    <a:pt x="55227" y="61364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BF6FD040-42C5-483E-88D3-270FBFCB746C}"/>
                </a:ext>
              </a:extLst>
            </p:cNvPr>
            <p:cNvSpPr/>
            <p:nvPr/>
          </p:nvSpPr>
          <p:spPr>
            <a:xfrm>
              <a:off x="8554835" y="8772600"/>
              <a:ext cx="102082" cy="561477"/>
            </a:xfrm>
            <a:custGeom>
              <a:avLst/>
              <a:gdLst>
                <a:gd name="connsiteX0" fmla="*/ 56060 w 102082"/>
                <a:gd name="connsiteY0" fmla="*/ 561477 h 561477"/>
                <a:gd name="connsiteX1" fmla="*/ 49923 w 102082"/>
                <a:gd name="connsiteY1" fmla="*/ 558409 h 561477"/>
                <a:gd name="connsiteX2" fmla="*/ 34582 w 102082"/>
                <a:gd name="connsiteY2" fmla="*/ 503182 h 561477"/>
                <a:gd name="connsiteX3" fmla="*/ 832 w 102082"/>
                <a:gd name="connsiteY3" fmla="*/ 349773 h 561477"/>
                <a:gd name="connsiteX4" fmla="*/ 89809 w 102082"/>
                <a:gd name="connsiteY4" fmla="*/ 3068 h 561477"/>
                <a:gd name="connsiteX5" fmla="*/ 99014 w 102082"/>
                <a:gd name="connsiteY5" fmla="*/ 0 h 561477"/>
                <a:gd name="connsiteX6" fmla="*/ 102082 w 102082"/>
                <a:gd name="connsiteY6" fmla="*/ 9205 h 561477"/>
                <a:gd name="connsiteX7" fmla="*/ 13105 w 102082"/>
                <a:gd name="connsiteY7" fmla="*/ 349773 h 561477"/>
                <a:gd name="connsiteX8" fmla="*/ 46855 w 102082"/>
                <a:gd name="connsiteY8" fmla="*/ 500114 h 561477"/>
                <a:gd name="connsiteX9" fmla="*/ 62196 w 102082"/>
                <a:gd name="connsiteY9" fmla="*/ 555341 h 561477"/>
                <a:gd name="connsiteX10" fmla="*/ 56060 w 102082"/>
                <a:gd name="connsiteY10" fmla="*/ 561477 h 561477"/>
                <a:gd name="connsiteX11" fmla="*/ 56060 w 102082"/>
                <a:gd name="connsiteY11" fmla="*/ 561477 h 56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082" h="561477">
                  <a:moveTo>
                    <a:pt x="56060" y="561477"/>
                  </a:moveTo>
                  <a:cubicBezTo>
                    <a:pt x="52991" y="561477"/>
                    <a:pt x="49923" y="558409"/>
                    <a:pt x="49923" y="558409"/>
                  </a:cubicBezTo>
                  <a:cubicBezTo>
                    <a:pt x="43787" y="540000"/>
                    <a:pt x="40719" y="521591"/>
                    <a:pt x="34582" y="503182"/>
                  </a:cubicBezTo>
                  <a:cubicBezTo>
                    <a:pt x="19241" y="451023"/>
                    <a:pt x="3901" y="398864"/>
                    <a:pt x="832" y="349773"/>
                  </a:cubicBezTo>
                  <a:cubicBezTo>
                    <a:pt x="-5304" y="223977"/>
                    <a:pt x="22309" y="107386"/>
                    <a:pt x="89809" y="3068"/>
                  </a:cubicBezTo>
                  <a:cubicBezTo>
                    <a:pt x="92878" y="0"/>
                    <a:pt x="95946" y="0"/>
                    <a:pt x="99014" y="0"/>
                  </a:cubicBezTo>
                  <a:cubicBezTo>
                    <a:pt x="102082" y="3068"/>
                    <a:pt x="102082" y="6136"/>
                    <a:pt x="102082" y="9205"/>
                  </a:cubicBezTo>
                  <a:cubicBezTo>
                    <a:pt x="37650" y="113523"/>
                    <a:pt x="6968" y="227045"/>
                    <a:pt x="13105" y="349773"/>
                  </a:cubicBezTo>
                  <a:cubicBezTo>
                    <a:pt x="16173" y="395795"/>
                    <a:pt x="31514" y="447954"/>
                    <a:pt x="46855" y="500114"/>
                  </a:cubicBezTo>
                  <a:cubicBezTo>
                    <a:pt x="52991" y="518523"/>
                    <a:pt x="59127" y="536932"/>
                    <a:pt x="62196" y="555341"/>
                  </a:cubicBezTo>
                  <a:cubicBezTo>
                    <a:pt x="62196" y="558409"/>
                    <a:pt x="62196" y="561477"/>
                    <a:pt x="56060" y="561477"/>
                  </a:cubicBezTo>
                  <a:cubicBezTo>
                    <a:pt x="56060" y="561477"/>
                    <a:pt x="56060" y="561477"/>
                    <a:pt x="56060" y="561477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6C706E26-081A-4696-94F9-6835E4AF2B2B}"/>
                </a:ext>
              </a:extLst>
            </p:cNvPr>
            <p:cNvSpPr/>
            <p:nvPr/>
          </p:nvSpPr>
          <p:spPr>
            <a:xfrm>
              <a:off x="8678394" y="9217681"/>
              <a:ext cx="403202" cy="36622"/>
            </a:xfrm>
            <a:custGeom>
              <a:avLst/>
              <a:gdLst>
                <a:gd name="connsiteX0" fmla="*/ 6136 w 403202"/>
                <a:gd name="connsiteY0" fmla="*/ 36623 h 36622"/>
                <a:gd name="connsiteX1" fmla="*/ 0 w 403202"/>
                <a:gd name="connsiteY1" fmla="*/ 33555 h 36622"/>
                <a:gd name="connsiteX2" fmla="*/ 3068 w 403202"/>
                <a:gd name="connsiteY2" fmla="*/ 27418 h 36622"/>
                <a:gd name="connsiteX3" fmla="*/ 398864 w 403202"/>
                <a:gd name="connsiteY3" fmla="*/ 15146 h 36622"/>
                <a:gd name="connsiteX4" fmla="*/ 401932 w 403202"/>
                <a:gd name="connsiteY4" fmla="*/ 21282 h 36622"/>
                <a:gd name="connsiteX5" fmla="*/ 395795 w 403202"/>
                <a:gd name="connsiteY5" fmla="*/ 24350 h 36622"/>
                <a:gd name="connsiteX6" fmla="*/ 6136 w 403202"/>
                <a:gd name="connsiteY6" fmla="*/ 36623 h 36622"/>
                <a:gd name="connsiteX7" fmla="*/ 6136 w 403202"/>
                <a:gd name="connsiteY7" fmla="*/ 36623 h 3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202" h="36622">
                  <a:moveTo>
                    <a:pt x="6136" y="36623"/>
                  </a:moveTo>
                  <a:cubicBezTo>
                    <a:pt x="3068" y="36623"/>
                    <a:pt x="3068" y="36623"/>
                    <a:pt x="0" y="33555"/>
                  </a:cubicBezTo>
                  <a:cubicBezTo>
                    <a:pt x="0" y="30487"/>
                    <a:pt x="0" y="27418"/>
                    <a:pt x="3068" y="27418"/>
                  </a:cubicBezTo>
                  <a:cubicBezTo>
                    <a:pt x="88977" y="-3264"/>
                    <a:pt x="297614" y="-9400"/>
                    <a:pt x="398864" y="15146"/>
                  </a:cubicBezTo>
                  <a:cubicBezTo>
                    <a:pt x="401932" y="15146"/>
                    <a:pt x="405000" y="18214"/>
                    <a:pt x="401932" y="21282"/>
                  </a:cubicBezTo>
                  <a:cubicBezTo>
                    <a:pt x="401932" y="24350"/>
                    <a:pt x="398864" y="27418"/>
                    <a:pt x="395795" y="24350"/>
                  </a:cubicBezTo>
                  <a:cubicBezTo>
                    <a:pt x="297614" y="-195"/>
                    <a:pt x="88977" y="5941"/>
                    <a:pt x="6136" y="36623"/>
                  </a:cubicBezTo>
                  <a:cubicBezTo>
                    <a:pt x="6136" y="36623"/>
                    <a:pt x="6136" y="36623"/>
                    <a:pt x="6136" y="36623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8475C9FA-060A-4FA2-BB63-CBC18FD00062}"/>
                </a:ext>
              </a:extLst>
            </p:cNvPr>
            <p:cNvSpPr/>
            <p:nvPr/>
          </p:nvSpPr>
          <p:spPr>
            <a:xfrm>
              <a:off x="8647713" y="9631690"/>
              <a:ext cx="316022" cy="30681"/>
            </a:xfrm>
            <a:custGeom>
              <a:avLst/>
              <a:gdLst>
                <a:gd name="connsiteX0" fmla="*/ 6136 w 316022"/>
                <a:gd name="connsiteY0" fmla="*/ 30682 h 30681"/>
                <a:gd name="connsiteX1" fmla="*/ 0 w 316022"/>
                <a:gd name="connsiteY1" fmla="*/ 24546 h 30681"/>
                <a:gd name="connsiteX2" fmla="*/ 6136 w 316022"/>
                <a:gd name="connsiteY2" fmla="*/ 18409 h 30681"/>
                <a:gd name="connsiteX3" fmla="*/ 309887 w 316022"/>
                <a:gd name="connsiteY3" fmla="*/ 0 h 30681"/>
                <a:gd name="connsiteX4" fmla="*/ 316023 w 316022"/>
                <a:gd name="connsiteY4" fmla="*/ 3068 h 30681"/>
                <a:gd name="connsiteX5" fmla="*/ 312954 w 316022"/>
                <a:gd name="connsiteY5" fmla="*/ 9205 h 30681"/>
                <a:gd name="connsiteX6" fmla="*/ 6136 w 316022"/>
                <a:gd name="connsiteY6" fmla="*/ 30682 h 30681"/>
                <a:gd name="connsiteX7" fmla="*/ 6136 w 316022"/>
                <a:gd name="connsiteY7" fmla="*/ 30682 h 30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022" h="30681">
                  <a:moveTo>
                    <a:pt x="6136" y="30682"/>
                  </a:moveTo>
                  <a:cubicBezTo>
                    <a:pt x="3068" y="30682"/>
                    <a:pt x="0" y="27614"/>
                    <a:pt x="0" y="24546"/>
                  </a:cubicBezTo>
                  <a:cubicBezTo>
                    <a:pt x="0" y="21478"/>
                    <a:pt x="3068" y="18409"/>
                    <a:pt x="6136" y="18409"/>
                  </a:cubicBezTo>
                  <a:cubicBezTo>
                    <a:pt x="9205" y="18409"/>
                    <a:pt x="217841" y="15341"/>
                    <a:pt x="309887" y="0"/>
                  </a:cubicBezTo>
                  <a:cubicBezTo>
                    <a:pt x="312954" y="0"/>
                    <a:pt x="316023" y="0"/>
                    <a:pt x="316023" y="3068"/>
                  </a:cubicBezTo>
                  <a:cubicBezTo>
                    <a:pt x="316023" y="6137"/>
                    <a:pt x="316023" y="9205"/>
                    <a:pt x="312954" y="9205"/>
                  </a:cubicBezTo>
                  <a:cubicBezTo>
                    <a:pt x="217841" y="27614"/>
                    <a:pt x="9205" y="30682"/>
                    <a:pt x="6136" y="30682"/>
                  </a:cubicBezTo>
                  <a:cubicBezTo>
                    <a:pt x="6136" y="30682"/>
                    <a:pt x="6136" y="30682"/>
                    <a:pt x="6136" y="30682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C2D48889-7131-4E71-B5D1-93D2E2A8C767}"/>
                </a:ext>
              </a:extLst>
            </p:cNvPr>
            <p:cNvSpPr/>
            <p:nvPr/>
          </p:nvSpPr>
          <p:spPr>
            <a:xfrm>
              <a:off x="8946365" y="8668281"/>
              <a:ext cx="667824" cy="1620000"/>
            </a:xfrm>
            <a:custGeom>
              <a:avLst/>
              <a:gdLst>
                <a:gd name="connsiteX0" fmla="*/ 23507 w 667824"/>
                <a:gd name="connsiteY0" fmla="*/ 309887 h 1620000"/>
                <a:gd name="connsiteX1" fmla="*/ 75666 w 667824"/>
                <a:gd name="connsiteY1" fmla="*/ 1043182 h 1620000"/>
                <a:gd name="connsiteX2" fmla="*/ 226007 w 667824"/>
                <a:gd name="connsiteY2" fmla="*/ 1620001 h 1620000"/>
                <a:gd name="connsiteX3" fmla="*/ 667825 w 667824"/>
                <a:gd name="connsiteY3" fmla="*/ 1392954 h 1620000"/>
                <a:gd name="connsiteX4" fmla="*/ 453052 w 667824"/>
                <a:gd name="connsiteY4" fmla="*/ 865228 h 1620000"/>
                <a:gd name="connsiteX5" fmla="*/ 453052 w 667824"/>
                <a:gd name="connsiteY5" fmla="*/ 392727 h 1620000"/>
                <a:gd name="connsiteX6" fmla="*/ 453052 w 667824"/>
                <a:gd name="connsiteY6" fmla="*/ 119659 h 1620000"/>
                <a:gd name="connsiteX7" fmla="*/ 189188 w 667824"/>
                <a:gd name="connsiteY7" fmla="*/ 0 h 1620000"/>
                <a:gd name="connsiteX8" fmla="*/ 23507 w 667824"/>
                <a:gd name="connsiteY8" fmla="*/ 309887 h 16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7824" h="1620000">
                  <a:moveTo>
                    <a:pt x="23507" y="309887"/>
                  </a:moveTo>
                  <a:cubicBezTo>
                    <a:pt x="-37857" y="546136"/>
                    <a:pt x="35779" y="797727"/>
                    <a:pt x="75666" y="1043182"/>
                  </a:cubicBezTo>
                  <a:cubicBezTo>
                    <a:pt x="109416" y="1239545"/>
                    <a:pt x="155438" y="1432841"/>
                    <a:pt x="226007" y="1620001"/>
                  </a:cubicBezTo>
                  <a:cubicBezTo>
                    <a:pt x="422370" y="1592386"/>
                    <a:pt x="569643" y="1512614"/>
                    <a:pt x="667825" y="1392954"/>
                  </a:cubicBezTo>
                  <a:cubicBezTo>
                    <a:pt x="606461" y="1264091"/>
                    <a:pt x="480665" y="1006364"/>
                    <a:pt x="453052" y="865228"/>
                  </a:cubicBezTo>
                  <a:cubicBezTo>
                    <a:pt x="422370" y="708750"/>
                    <a:pt x="413166" y="549205"/>
                    <a:pt x="453052" y="392727"/>
                  </a:cubicBezTo>
                  <a:cubicBezTo>
                    <a:pt x="477598" y="300682"/>
                    <a:pt x="514416" y="205569"/>
                    <a:pt x="453052" y="119659"/>
                  </a:cubicBezTo>
                  <a:cubicBezTo>
                    <a:pt x="400893" y="49091"/>
                    <a:pt x="268961" y="12273"/>
                    <a:pt x="189188" y="0"/>
                  </a:cubicBezTo>
                  <a:cubicBezTo>
                    <a:pt x="183052" y="3068"/>
                    <a:pt x="51120" y="208636"/>
                    <a:pt x="23507" y="309887"/>
                  </a:cubicBezTo>
                  <a:close/>
                </a:path>
              </a:pathLst>
            </a:custGeom>
            <a:solidFill>
              <a:srgbClr val="F1DDB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47659051-698D-4E4D-8ED8-927B8A2BEBA2}"/>
                </a:ext>
              </a:extLst>
            </p:cNvPr>
            <p:cNvSpPr/>
            <p:nvPr/>
          </p:nvSpPr>
          <p:spPr>
            <a:xfrm>
              <a:off x="8472733" y="8680554"/>
              <a:ext cx="392820" cy="1559541"/>
            </a:xfrm>
            <a:custGeom>
              <a:avLst/>
              <a:gdLst>
                <a:gd name="connsiteX0" fmla="*/ 93 w 392820"/>
                <a:gd name="connsiteY0" fmla="*/ 1531023 h 1559541"/>
                <a:gd name="connsiteX1" fmla="*/ 76798 w 392820"/>
                <a:gd name="connsiteY1" fmla="*/ 1555568 h 1559541"/>
                <a:gd name="connsiteX2" fmla="*/ 76798 w 392820"/>
                <a:gd name="connsiteY2" fmla="*/ 1451250 h 1559541"/>
                <a:gd name="connsiteX3" fmla="*/ 178048 w 392820"/>
                <a:gd name="connsiteY3" fmla="*/ 1086137 h 1559541"/>
                <a:gd name="connsiteX4" fmla="*/ 196457 w 392820"/>
                <a:gd name="connsiteY4" fmla="*/ 739432 h 1559541"/>
                <a:gd name="connsiteX5" fmla="*/ 368275 w 392820"/>
                <a:gd name="connsiteY5" fmla="*/ 18409 h 1559541"/>
                <a:gd name="connsiteX6" fmla="*/ 392821 w 392820"/>
                <a:gd name="connsiteY6" fmla="*/ 0 h 1559541"/>
                <a:gd name="connsiteX7" fmla="*/ 58389 w 392820"/>
                <a:gd name="connsiteY7" fmla="*/ 493977 h 1559541"/>
                <a:gd name="connsiteX8" fmla="*/ 89070 w 392820"/>
                <a:gd name="connsiteY8" fmla="*/ 727159 h 1559541"/>
                <a:gd name="connsiteX9" fmla="*/ 86002 w 392820"/>
                <a:gd name="connsiteY9" fmla="*/ 960341 h 1559541"/>
                <a:gd name="connsiteX10" fmla="*/ 93 w 392820"/>
                <a:gd name="connsiteY10" fmla="*/ 1531023 h 155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2820" h="1559541">
                  <a:moveTo>
                    <a:pt x="93" y="1531023"/>
                  </a:moveTo>
                  <a:cubicBezTo>
                    <a:pt x="-2975" y="1549431"/>
                    <a:pt x="70662" y="1567841"/>
                    <a:pt x="76798" y="1555568"/>
                  </a:cubicBezTo>
                  <a:cubicBezTo>
                    <a:pt x="79866" y="1552500"/>
                    <a:pt x="76798" y="1457386"/>
                    <a:pt x="76798" y="1451250"/>
                  </a:cubicBezTo>
                  <a:cubicBezTo>
                    <a:pt x="95207" y="1319318"/>
                    <a:pt x="132025" y="1208864"/>
                    <a:pt x="178048" y="1086137"/>
                  </a:cubicBezTo>
                  <a:cubicBezTo>
                    <a:pt x="217934" y="972614"/>
                    <a:pt x="208730" y="859091"/>
                    <a:pt x="196457" y="739432"/>
                  </a:cubicBezTo>
                  <a:cubicBezTo>
                    <a:pt x="168843" y="481704"/>
                    <a:pt x="208730" y="230114"/>
                    <a:pt x="368275" y="18409"/>
                  </a:cubicBezTo>
                  <a:cubicBezTo>
                    <a:pt x="371343" y="15341"/>
                    <a:pt x="380548" y="15341"/>
                    <a:pt x="392821" y="0"/>
                  </a:cubicBezTo>
                  <a:cubicBezTo>
                    <a:pt x="135093" y="6136"/>
                    <a:pt x="33843" y="282273"/>
                    <a:pt x="58389" y="493977"/>
                  </a:cubicBezTo>
                  <a:cubicBezTo>
                    <a:pt x="67593" y="573750"/>
                    <a:pt x="86002" y="647386"/>
                    <a:pt x="89070" y="727159"/>
                  </a:cubicBezTo>
                  <a:cubicBezTo>
                    <a:pt x="92139" y="803864"/>
                    <a:pt x="89070" y="883636"/>
                    <a:pt x="86002" y="960341"/>
                  </a:cubicBezTo>
                  <a:cubicBezTo>
                    <a:pt x="79866" y="1122954"/>
                    <a:pt x="21570" y="1365341"/>
                    <a:pt x="93" y="1531023"/>
                  </a:cubicBezTo>
                  <a:close/>
                </a:path>
              </a:pathLst>
            </a:custGeom>
            <a:solidFill>
              <a:srgbClr val="F1DDB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287188D2-F017-4ECB-BE8A-19917BA70DB9}"/>
                </a:ext>
              </a:extLst>
            </p:cNvPr>
            <p:cNvSpPr/>
            <p:nvPr/>
          </p:nvSpPr>
          <p:spPr>
            <a:xfrm>
              <a:off x="8517297" y="8864645"/>
              <a:ext cx="69052" cy="757840"/>
            </a:xfrm>
            <a:custGeom>
              <a:avLst/>
              <a:gdLst>
                <a:gd name="connsiteX0" fmla="*/ 41439 w 69052"/>
                <a:gd name="connsiteY0" fmla="*/ 757841 h 757840"/>
                <a:gd name="connsiteX1" fmla="*/ 41439 w 69052"/>
                <a:gd name="connsiteY1" fmla="*/ 757841 h 757840"/>
                <a:gd name="connsiteX2" fmla="*/ 35302 w 69052"/>
                <a:gd name="connsiteY2" fmla="*/ 751704 h 757840"/>
                <a:gd name="connsiteX3" fmla="*/ 10757 w 69052"/>
                <a:gd name="connsiteY3" fmla="*/ 331364 h 757840"/>
                <a:gd name="connsiteX4" fmla="*/ 1552 w 69052"/>
                <a:gd name="connsiteY4" fmla="*/ 266932 h 757840"/>
                <a:gd name="connsiteX5" fmla="*/ 56780 w 69052"/>
                <a:gd name="connsiteY5" fmla="*/ 3068 h 757840"/>
                <a:gd name="connsiteX6" fmla="*/ 65984 w 69052"/>
                <a:gd name="connsiteY6" fmla="*/ 0 h 757840"/>
                <a:gd name="connsiteX7" fmla="*/ 69052 w 69052"/>
                <a:gd name="connsiteY7" fmla="*/ 9205 h 757840"/>
                <a:gd name="connsiteX8" fmla="*/ 13825 w 69052"/>
                <a:gd name="connsiteY8" fmla="*/ 266932 h 757840"/>
                <a:gd name="connsiteX9" fmla="*/ 23030 w 69052"/>
                <a:gd name="connsiteY9" fmla="*/ 331364 h 757840"/>
                <a:gd name="connsiteX10" fmla="*/ 47575 w 69052"/>
                <a:gd name="connsiteY10" fmla="*/ 754772 h 757840"/>
                <a:gd name="connsiteX11" fmla="*/ 41439 w 69052"/>
                <a:gd name="connsiteY11" fmla="*/ 757841 h 757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9052" h="757840">
                  <a:moveTo>
                    <a:pt x="41439" y="757841"/>
                  </a:moveTo>
                  <a:cubicBezTo>
                    <a:pt x="41439" y="757841"/>
                    <a:pt x="41439" y="757841"/>
                    <a:pt x="41439" y="757841"/>
                  </a:cubicBezTo>
                  <a:cubicBezTo>
                    <a:pt x="38371" y="757841"/>
                    <a:pt x="35302" y="754772"/>
                    <a:pt x="35302" y="751704"/>
                  </a:cubicBezTo>
                  <a:cubicBezTo>
                    <a:pt x="47575" y="632045"/>
                    <a:pt x="26098" y="451023"/>
                    <a:pt x="10757" y="331364"/>
                  </a:cubicBezTo>
                  <a:cubicBezTo>
                    <a:pt x="7689" y="306818"/>
                    <a:pt x="4620" y="285341"/>
                    <a:pt x="1552" y="266932"/>
                  </a:cubicBezTo>
                  <a:cubicBezTo>
                    <a:pt x="-10721" y="159545"/>
                    <a:pt x="53711" y="9205"/>
                    <a:pt x="56780" y="3068"/>
                  </a:cubicBezTo>
                  <a:cubicBezTo>
                    <a:pt x="56780" y="0"/>
                    <a:pt x="62916" y="0"/>
                    <a:pt x="65984" y="0"/>
                  </a:cubicBezTo>
                  <a:cubicBezTo>
                    <a:pt x="69052" y="0"/>
                    <a:pt x="69052" y="6136"/>
                    <a:pt x="69052" y="9205"/>
                  </a:cubicBezTo>
                  <a:cubicBezTo>
                    <a:pt x="69052" y="9205"/>
                    <a:pt x="1552" y="162614"/>
                    <a:pt x="13825" y="266932"/>
                  </a:cubicBezTo>
                  <a:cubicBezTo>
                    <a:pt x="16893" y="285341"/>
                    <a:pt x="19961" y="306818"/>
                    <a:pt x="23030" y="331364"/>
                  </a:cubicBezTo>
                  <a:cubicBezTo>
                    <a:pt x="38371" y="451023"/>
                    <a:pt x="62916" y="632045"/>
                    <a:pt x="47575" y="754772"/>
                  </a:cubicBezTo>
                  <a:cubicBezTo>
                    <a:pt x="47575" y="754772"/>
                    <a:pt x="44507" y="757841"/>
                    <a:pt x="41439" y="757841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83F7A11E-BC6E-4104-B4A6-44D6C7BFF649}"/>
                </a:ext>
              </a:extLst>
            </p:cNvPr>
            <p:cNvSpPr/>
            <p:nvPr/>
          </p:nvSpPr>
          <p:spPr>
            <a:xfrm>
              <a:off x="8777766" y="8035341"/>
              <a:ext cx="425287" cy="571898"/>
            </a:xfrm>
            <a:custGeom>
              <a:avLst/>
              <a:gdLst>
                <a:gd name="connsiteX0" fmla="*/ 8015 w 425287"/>
                <a:gd name="connsiteY0" fmla="*/ 184986 h 571898"/>
                <a:gd name="connsiteX1" fmla="*/ 20287 w 425287"/>
                <a:gd name="connsiteY1" fmla="*/ 442713 h 571898"/>
                <a:gd name="connsiteX2" fmla="*/ 170629 w 425287"/>
                <a:gd name="connsiteY2" fmla="*/ 571577 h 571898"/>
                <a:gd name="connsiteX3" fmla="*/ 388469 w 425287"/>
                <a:gd name="connsiteY3" fmla="*/ 427373 h 571898"/>
                <a:gd name="connsiteX4" fmla="*/ 425288 w 425287"/>
                <a:gd name="connsiteY4" fmla="*/ 200327 h 571898"/>
                <a:gd name="connsiteX5" fmla="*/ 210515 w 425287"/>
                <a:gd name="connsiteY5" fmla="*/ 895 h 571898"/>
                <a:gd name="connsiteX6" fmla="*/ 8015 w 425287"/>
                <a:gd name="connsiteY6" fmla="*/ 184986 h 571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5287" h="571898">
                  <a:moveTo>
                    <a:pt x="8015" y="184986"/>
                  </a:moveTo>
                  <a:cubicBezTo>
                    <a:pt x="8015" y="184986"/>
                    <a:pt x="-16531" y="375214"/>
                    <a:pt x="20287" y="442713"/>
                  </a:cubicBezTo>
                  <a:cubicBezTo>
                    <a:pt x="57106" y="510213"/>
                    <a:pt x="118470" y="568509"/>
                    <a:pt x="170629" y="571577"/>
                  </a:cubicBezTo>
                  <a:cubicBezTo>
                    <a:pt x="238129" y="577714"/>
                    <a:pt x="351651" y="494872"/>
                    <a:pt x="388469" y="427373"/>
                  </a:cubicBezTo>
                  <a:cubicBezTo>
                    <a:pt x="425288" y="359873"/>
                    <a:pt x="425288" y="252486"/>
                    <a:pt x="425288" y="200327"/>
                  </a:cubicBezTo>
                  <a:cubicBezTo>
                    <a:pt x="422219" y="105213"/>
                    <a:pt x="394606" y="25441"/>
                    <a:pt x="210515" y="895"/>
                  </a:cubicBezTo>
                  <a:cubicBezTo>
                    <a:pt x="124606" y="-11378"/>
                    <a:pt x="29492" y="105213"/>
                    <a:pt x="8015" y="184986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675814DD-E834-4B3A-8D95-47DC226ED91E}"/>
                </a:ext>
              </a:extLst>
            </p:cNvPr>
            <p:cNvSpPr/>
            <p:nvPr/>
          </p:nvSpPr>
          <p:spPr>
            <a:xfrm>
              <a:off x="8914644" y="8304965"/>
              <a:ext cx="55227" cy="133202"/>
            </a:xfrm>
            <a:custGeom>
              <a:avLst/>
              <a:gdLst>
                <a:gd name="connsiteX0" fmla="*/ 30682 w 55227"/>
                <a:gd name="connsiteY0" fmla="*/ 133202 h 133202"/>
                <a:gd name="connsiteX1" fmla="*/ 6136 w 55227"/>
                <a:gd name="connsiteY1" fmla="*/ 127066 h 133202"/>
                <a:gd name="connsiteX2" fmla="*/ 0 w 55227"/>
                <a:gd name="connsiteY2" fmla="*/ 114794 h 133202"/>
                <a:gd name="connsiteX3" fmla="*/ 27614 w 55227"/>
                <a:gd name="connsiteY3" fmla="*/ 4339 h 133202"/>
                <a:gd name="connsiteX4" fmla="*/ 33750 w 55227"/>
                <a:gd name="connsiteY4" fmla="*/ 1271 h 133202"/>
                <a:gd name="connsiteX5" fmla="*/ 36818 w 55227"/>
                <a:gd name="connsiteY5" fmla="*/ 7407 h 133202"/>
                <a:gd name="connsiteX6" fmla="*/ 9205 w 55227"/>
                <a:gd name="connsiteY6" fmla="*/ 114794 h 133202"/>
                <a:gd name="connsiteX7" fmla="*/ 9205 w 55227"/>
                <a:gd name="connsiteY7" fmla="*/ 117862 h 133202"/>
                <a:gd name="connsiteX8" fmla="*/ 49091 w 55227"/>
                <a:gd name="connsiteY8" fmla="*/ 117862 h 133202"/>
                <a:gd name="connsiteX9" fmla="*/ 55227 w 55227"/>
                <a:gd name="connsiteY9" fmla="*/ 123998 h 133202"/>
                <a:gd name="connsiteX10" fmla="*/ 49091 w 55227"/>
                <a:gd name="connsiteY10" fmla="*/ 130135 h 133202"/>
                <a:gd name="connsiteX11" fmla="*/ 30682 w 55227"/>
                <a:gd name="connsiteY11" fmla="*/ 133202 h 13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227" h="133202">
                  <a:moveTo>
                    <a:pt x="30682" y="133202"/>
                  </a:moveTo>
                  <a:cubicBezTo>
                    <a:pt x="21477" y="133202"/>
                    <a:pt x="12273" y="133202"/>
                    <a:pt x="6136" y="127066"/>
                  </a:cubicBezTo>
                  <a:cubicBezTo>
                    <a:pt x="3068" y="123998"/>
                    <a:pt x="0" y="120930"/>
                    <a:pt x="0" y="114794"/>
                  </a:cubicBezTo>
                  <a:cubicBezTo>
                    <a:pt x="0" y="93316"/>
                    <a:pt x="27614" y="7407"/>
                    <a:pt x="27614" y="4339"/>
                  </a:cubicBezTo>
                  <a:cubicBezTo>
                    <a:pt x="27614" y="1271"/>
                    <a:pt x="30682" y="-1797"/>
                    <a:pt x="33750" y="1271"/>
                  </a:cubicBezTo>
                  <a:cubicBezTo>
                    <a:pt x="36818" y="1271"/>
                    <a:pt x="39886" y="4339"/>
                    <a:pt x="36818" y="7407"/>
                  </a:cubicBezTo>
                  <a:cubicBezTo>
                    <a:pt x="30682" y="31953"/>
                    <a:pt x="9205" y="96384"/>
                    <a:pt x="9205" y="114794"/>
                  </a:cubicBezTo>
                  <a:cubicBezTo>
                    <a:pt x="9205" y="114794"/>
                    <a:pt x="9205" y="117862"/>
                    <a:pt x="9205" y="117862"/>
                  </a:cubicBezTo>
                  <a:cubicBezTo>
                    <a:pt x="15341" y="123998"/>
                    <a:pt x="36818" y="120930"/>
                    <a:pt x="49091" y="117862"/>
                  </a:cubicBezTo>
                  <a:cubicBezTo>
                    <a:pt x="52159" y="117862"/>
                    <a:pt x="55227" y="117862"/>
                    <a:pt x="55227" y="123998"/>
                  </a:cubicBezTo>
                  <a:cubicBezTo>
                    <a:pt x="55227" y="127066"/>
                    <a:pt x="55227" y="130135"/>
                    <a:pt x="49091" y="130135"/>
                  </a:cubicBezTo>
                  <a:cubicBezTo>
                    <a:pt x="52159" y="133202"/>
                    <a:pt x="42955" y="133202"/>
                    <a:pt x="30682" y="133202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6A3CED54-8D38-4B27-A9B3-5012E64D4663}"/>
                </a:ext>
              </a:extLst>
            </p:cNvPr>
            <p:cNvSpPr/>
            <p:nvPr/>
          </p:nvSpPr>
          <p:spPr>
            <a:xfrm>
              <a:off x="8896236" y="8490327"/>
              <a:ext cx="107386" cy="55226"/>
            </a:xfrm>
            <a:custGeom>
              <a:avLst/>
              <a:gdLst>
                <a:gd name="connsiteX0" fmla="*/ 107386 w 107386"/>
                <a:gd name="connsiteY0" fmla="*/ 0 h 55226"/>
                <a:gd name="connsiteX1" fmla="*/ 0 w 107386"/>
                <a:gd name="connsiteY1" fmla="*/ 0 h 55226"/>
                <a:gd name="connsiteX2" fmla="*/ 52159 w 107386"/>
                <a:gd name="connsiteY2" fmla="*/ 55227 h 55226"/>
                <a:gd name="connsiteX3" fmla="*/ 107386 w 107386"/>
                <a:gd name="connsiteY3" fmla="*/ 0 h 55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386" h="55226">
                  <a:moveTo>
                    <a:pt x="107386" y="0"/>
                  </a:moveTo>
                  <a:cubicBezTo>
                    <a:pt x="52159" y="24545"/>
                    <a:pt x="0" y="0"/>
                    <a:pt x="0" y="0"/>
                  </a:cubicBezTo>
                  <a:cubicBezTo>
                    <a:pt x="0" y="0"/>
                    <a:pt x="15341" y="55227"/>
                    <a:pt x="52159" y="55227"/>
                  </a:cubicBezTo>
                  <a:cubicBezTo>
                    <a:pt x="95113" y="52159"/>
                    <a:pt x="107386" y="0"/>
                    <a:pt x="107386" y="0"/>
                  </a:cubicBezTo>
                  <a:close/>
                </a:path>
              </a:pathLst>
            </a:custGeom>
            <a:solidFill>
              <a:srgbClr val="FFFFFF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A9A17C54-2065-4702-BA1D-19563C7AC2CD}"/>
                </a:ext>
              </a:extLst>
            </p:cNvPr>
            <p:cNvSpPr/>
            <p:nvPr/>
          </p:nvSpPr>
          <p:spPr>
            <a:xfrm>
              <a:off x="8843294" y="8277840"/>
              <a:ext cx="41270" cy="41450"/>
            </a:xfrm>
            <a:custGeom>
              <a:avLst/>
              <a:gdLst>
                <a:gd name="connsiteX0" fmla="*/ 40668 w 41270"/>
                <a:gd name="connsiteY0" fmla="*/ 25327 h 41450"/>
                <a:gd name="connsiteX1" fmla="*/ 16123 w 41270"/>
                <a:gd name="connsiteY1" fmla="*/ 40668 h 41450"/>
                <a:gd name="connsiteX2" fmla="*/ 782 w 41270"/>
                <a:gd name="connsiteY2" fmla="*/ 16123 h 41450"/>
                <a:gd name="connsiteX3" fmla="*/ 25327 w 41270"/>
                <a:gd name="connsiteY3" fmla="*/ 782 h 41450"/>
                <a:gd name="connsiteX4" fmla="*/ 40668 w 41270"/>
                <a:gd name="connsiteY4" fmla="*/ 25327 h 4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70" h="41450">
                  <a:moveTo>
                    <a:pt x="40668" y="25327"/>
                  </a:moveTo>
                  <a:cubicBezTo>
                    <a:pt x="37600" y="37600"/>
                    <a:pt x="28396" y="43737"/>
                    <a:pt x="16123" y="40668"/>
                  </a:cubicBezTo>
                  <a:cubicBezTo>
                    <a:pt x="3850" y="37600"/>
                    <a:pt x="-2286" y="28396"/>
                    <a:pt x="782" y="16123"/>
                  </a:cubicBezTo>
                  <a:cubicBezTo>
                    <a:pt x="3850" y="3850"/>
                    <a:pt x="13055" y="-2286"/>
                    <a:pt x="25327" y="782"/>
                  </a:cubicBezTo>
                  <a:cubicBezTo>
                    <a:pt x="34532" y="3850"/>
                    <a:pt x="43737" y="16123"/>
                    <a:pt x="40668" y="2532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3EC8A9F8-4683-41D3-A91D-E51956A6B1EB}"/>
                </a:ext>
              </a:extLst>
            </p:cNvPr>
            <p:cNvSpPr/>
            <p:nvPr/>
          </p:nvSpPr>
          <p:spPr>
            <a:xfrm>
              <a:off x="9033522" y="8284157"/>
              <a:ext cx="41449" cy="41090"/>
            </a:xfrm>
            <a:custGeom>
              <a:avLst/>
              <a:gdLst>
                <a:gd name="connsiteX0" fmla="*/ 40668 w 41449"/>
                <a:gd name="connsiteY0" fmla="*/ 25147 h 41090"/>
                <a:gd name="connsiteX1" fmla="*/ 16123 w 41449"/>
                <a:gd name="connsiteY1" fmla="*/ 40488 h 41090"/>
                <a:gd name="connsiteX2" fmla="*/ 782 w 41449"/>
                <a:gd name="connsiteY2" fmla="*/ 15943 h 41090"/>
                <a:gd name="connsiteX3" fmla="*/ 25327 w 41449"/>
                <a:gd name="connsiteY3" fmla="*/ 602 h 41090"/>
                <a:gd name="connsiteX4" fmla="*/ 40668 w 41449"/>
                <a:gd name="connsiteY4" fmla="*/ 25147 h 4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449" h="41090">
                  <a:moveTo>
                    <a:pt x="40668" y="25147"/>
                  </a:moveTo>
                  <a:cubicBezTo>
                    <a:pt x="37600" y="34352"/>
                    <a:pt x="28395" y="43557"/>
                    <a:pt x="16123" y="40488"/>
                  </a:cubicBezTo>
                  <a:cubicBezTo>
                    <a:pt x="3850" y="37420"/>
                    <a:pt x="-2286" y="28216"/>
                    <a:pt x="782" y="15943"/>
                  </a:cubicBezTo>
                  <a:cubicBezTo>
                    <a:pt x="3850" y="6738"/>
                    <a:pt x="13055" y="-2466"/>
                    <a:pt x="25327" y="602"/>
                  </a:cubicBezTo>
                  <a:cubicBezTo>
                    <a:pt x="37600" y="3670"/>
                    <a:pt x="43736" y="15943"/>
                    <a:pt x="40668" y="2514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FC9C2014-2322-44B1-BC1D-3B5E415D2836}"/>
                </a:ext>
              </a:extLst>
            </p:cNvPr>
            <p:cNvSpPr/>
            <p:nvPr/>
          </p:nvSpPr>
          <p:spPr>
            <a:xfrm>
              <a:off x="8817230" y="8227997"/>
              <a:ext cx="92549" cy="35283"/>
            </a:xfrm>
            <a:custGeom>
              <a:avLst/>
              <a:gdLst>
                <a:gd name="connsiteX0" fmla="*/ 8438 w 92549"/>
                <a:gd name="connsiteY0" fmla="*/ 35284 h 35283"/>
                <a:gd name="connsiteX1" fmla="*/ 2301 w 92549"/>
                <a:gd name="connsiteY1" fmla="*/ 32216 h 35283"/>
                <a:gd name="connsiteX2" fmla="*/ 2301 w 92549"/>
                <a:gd name="connsiteY2" fmla="*/ 19943 h 35283"/>
                <a:gd name="connsiteX3" fmla="*/ 88210 w 92549"/>
                <a:gd name="connsiteY3" fmla="*/ 7671 h 35283"/>
                <a:gd name="connsiteX4" fmla="*/ 91278 w 92549"/>
                <a:gd name="connsiteY4" fmla="*/ 16875 h 35283"/>
                <a:gd name="connsiteX5" fmla="*/ 82074 w 92549"/>
                <a:gd name="connsiteY5" fmla="*/ 19943 h 35283"/>
                <a:gd name="connsiteX6" fmla="*/ 14574 w 92549"/>
                <a:gd name="connsiteY6" fmla="*/ 26079 h 35283"/>
                <a:gd name="connsiteX7" fmla="*/ 8438 w 92549"/>
                <a:gd name="connsiteY7" fmla="*/ 35284 h 35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5283">
                  <a:moveTo>
                    <a:pt x="8438" y="35284"/>
                  </a:moveTo>
                  <a:cubicBezTo>
                    <a:pt x="5369" y="35284"/>
                    <a:pt x="5369" y="35284"/>
                    <a:pt x="2301" y="32216"/>
                  </a:cubicBezTo>
                  <a:cubicBezTo>
                    <a:pt x="-767" y="29148"/>
                    <a:pt x="-767" y="23011"/>
                    <a:pt x="2301" y="19943"/>
                  </a:cubicBezTo>
                  <a:cubicBezTo>
                    <a:pt x="29915" y="-10739"/>
                    <a:pt x="69801" y="1534"/>
                    <a:pt x="88210" y="7671"/>
                  </a:cubicBezTo>
                  <a:cubicBezTo>
                    <a:pt x="91278" y="10738"/>
                    <a:pt x="94347" y="13807"/>
                    <a:pt x="91278" y="16875"/>
                  </a:cubicBezTo>
                  <a:cubicBezTo>
                    <a:pt x="88210" y="19943"/>
                    <a:pt x="85142" y="23011"/>
                    <a:pt x="82074" y="19943"/>
                  </a:cubicBezTo>
                  <a:cubicBezTo>
                    <a:pt x="79006" y="19943"/>
                    <a:pt x="39119" y="-1534"/>
                    <a:pt x="14574" y="26079"/>
                  </a:cubicBezTo>
                  <a:cubicBezTo>
                    <a:pt x="14574" y="35284"/>
                    <a:pt x="11505" y="35284"/>
                    <a:pt x="8438" y="35284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30B91331-A1AB-431D-A932-79EAC12041B5}"/>
                </a:ext>
              </a:extLst>
            </p:cNvPr>
            <p:cNvSpPr/>
            <p:nvPr/>
          </p:nvSpPr>
          <p:spPr>
            <a:xfrm>
              <a:off x="9005419" y="8226775"/>
              <a:ext cx="92549" cy="36505"/>
            </a:xfrm>
            <a:custGeom>
              <a:avLst/>
              <a:gdLst>
                <a:gd name="connsiteX0" fmla="*/ 87180 w 92549"/>
                <a:gd name="connsiteY0" fmla="*/ 36506 h 36505"/>
                <a:gd name="connsiteX1" fmla="*/ 81044 w 92549"/>
                <a:gd name="connsiteY1" fmla="*/ 33438 h 36505"/>
                <a:gd name="connsiteX2" fmla="*/ 13544 w 92549"/>
                <a:gd name="connsiteY2" fmla="*/ 27301 h 36505"/>
                <a:gd name="connsiteX3" fmla="*/ 1271 w 92549"/>
                <a:gd name="connsiteY3" fmla="*/ 24233 h 36505"/>
                <a:gd name="connsiteX4" fmla="*/ 4339 w 92549"/>
                <a:gd name="connsiteY4" fmla="*/ 11960 h 36505"/>
                <a:gd name="connsiteX5" fmla="*/ 90248 w 92549"/>
                <a:gd name="connsiteY5" fmla="*/ 21165 h 36505"/>
                <a:gd name="connsiteX6" fmla="*/ 90248 w 92549"/>
                <a:gd name="connsiteY6" fmla="*/ 33438 h 36505"/>
                <a:gd name="connsiteX7" fmla="*/ 87180 w 92549"/>
                <a:gd name="connsiteY7" fmla="*/ 36506 h 3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6505">
                  <a:moveTo>
                    <a:pt x="87180" y="36506"/>
                  </a:moveTo>
                  <a:cubicBezTo>
                    <a:pt x="84112" y="36506"/>
                    <a:pt x="84112" y="36506"/>
                    <a:pt x="81044" y="33438"/>
                  </a:cubicBezTo>
                  <a:cubicBezTo>
                    <a:pt x="81044" y="33438"/>
                    <a:pt x="50362" y="2756"/>
                    <a:pt x="13544" y="27301"/>
                  </a:cubicBezTo>
                  <a:cubicBezTo>
                    <a:pt x="10475" y="30370"/>
                    <a:pt x="4339" y="27301"/>
                    <a:pt x="1271" y="24233"/>
                  </a:cubicBezTo>
                  <a:cubicBezTo>
                    <a:pt x="-1797" y="21165"/>
                    <a:pt x="1271" y="15029"/>
                    <a:pt x="4339" y="11960"/>
                  </a:cubicBezTo>
                  <a:cubicBezTo>
                    <a:pt x="41157" y="-12585"/>
                    <a:pt x="77975" y="5824"/>
                    <a:pt x="90248" y="21165"/>
                  </a:cubicBezTo>
                  <a:cubicBezTo>
                    <a:pt x="93316" y="24233"/>
                    <a:pt x="93316" y="30370"/>
                    <a:pt x="90248" y="33438"/>
                  </a:cubicBezTo>
                  <a:cubicBezTo>
                    <a:pt x="93316" y="36506"/>
                    <a:pt x="90248" y="36506"/>
                    <a:pt x="87180" y="36506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4DE2DFFF-783C-4EEB-A1EA-A3B501245B69}"/>
                </a:ext>
              </a:extLst>
            </p:cNvPr>
            <p:cNvSpPr/>
            <p:nvPr/>
          </p:nvSpPr>
          <p:spPr>
            <a:xfrm>
              <a:off x="8761008" y="8003269"/>
              <a:ext cx="278468" cy="260012"/>
            </a:xfrm>
            <a:custGeom>
              <a:avLst/>
              <a:gdLst>
                <a:gd name="connsiteX0" fmla="*/ 276364 w 278468"/>
                <a:gd name="connsiteY0" fmla="*/ 2285 h 260012"/>
                <a:gd name="connsiteX1" fmla="*/ 239546 w 278468"/>
                <a:gd name="connsiteY1" fmla="*/ 131149 h 260012"/>
                <a:gd name="connsiteX2" fmla="*/ 227 w 278468"/>
                <a:gd name="connsiteY2" fmla="*/ 260012 h 260012"/>
                <a:gd name="connsiteX3" fmla="*/ 276364 w 278468"/>
                <a:gd name="connsiteY3" fmla="*/ 2285 h 26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468" h="260012">
                  <a:moveTo>
                    <a:pt x="276364" y="2285"/>
                  </a:moveTo>
                  <a:cubicBezTo>
                    <a:pt x="276364" y="2285"/>
                    <a:pt x="291705" y="91262"/>
                    <a:pt x="239546" y="131149"/>
                  </a:cubicBezTo>
                  <a:cubicBezTo>
                    <a:pt x="239546" y="131149"/>
                    <a:pt x="27841" y="174103"/>
                    <a:pt x="227" y="260012"/>
                  </a:cubicBezTo>
                  <a:cubicBezTo>
                    <a:pt x="227" y="260012"/>
                    <a:pt x="-18182" y="-28397"/>
                    <a:pt x="276364" y="2285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4D9DEBCC-F255-45D7-A502-3B929CF69866}"/>
                </a:ext>
              </a:extLst>
            </p:cNvPr>
            <p:cNvSpPr/>
            <p:nvPr/>
          </p:nvSpPr>
          <p:spPr>
            <a:xfrm>
              <a:off x="9000554" y="8005554"/>
              <a:ext cx="225682" cy="316520"/>
            </a:xfrm>
            <a:custGeom>
              <a:avLst/>
              <a:gdLst>
                <a:gd name="connsiteX0" fmla="*/ 0 w 225682"/>
                <a:gd name="connsiteY0" fmla="*/ 128864 h 316520"/>
                <a:gd name="connsiteX1" fmla="*/ 141137 w 225682"/>
                <a:gd name="connsiteY1" fmla="*/ 184091 h 316520"/>
                <a:gd name="connsiteX2" fmla="*/ 199432 w 225682"/>
                <a:gd name="connsiteY2" fmla="*/ 303750 h 316520"/>
                <a:gd name="connsiteX3" fmla="*/ 223977 w 225682"/>
                <a:gd name="connsiteY3" fmla="*/ 300682 h 316520"/>
                <a:gd name="connsiteX4" fmla="*/ 33750 w 225682"/>
                <a:gd name="connsiteY4" fmla="*/ 0 h 316520"/>
                <a:gd name="connsiteX5" fmla="*/ 0 w 225682"/>
                <a:gd name="connsiteY5" fmla="*/ 128864 h 316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5682" h="316520">
                  <a:moveTo>
                    <a:pt x="0" y="128864"/>
                  </a:moveTo>
                  <a:cubicBezTo>
                    <a:pt x="0" y="128864"/>
                    <a:pt x="92045" y="177955"/>
                    <a:pt x="141137" y="184091"/>
                  </a:cubicBezTo>
                  <a:cubicBezTo>
                    <a:pt x="193296" y="190227"/>
                    <a:pt x="199432" y="303750"/>
                    <a:pt x="199432" y="303750"/>
                  </a:cubicBezTo>
                  <a:cubicBezTo>
                    <a:pt x="199432" y="303750"/>
                    <a:pt x="220909" y="334432"/>
                    <a:pt x="223977" y="300682"/>
                  </a:cubicBezTo>
                  <a:cubicBezTo>
                    <a:pt x="230114" y="220909"/>
                    <a:pt x="230114" y="21477"/>
                    <a:pt x="33750" y="0"/>
                  </a:cubicBezTo>
                  <a:cubicBezTo>
                    <a:pt x="36818" y="0"/>
                    <a:pt x="24546" y="122727"/>
                    <a:pt x="0" y="128864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3A02EA13-7E8B-4DA2-9B8E-503B08B195E6}"/>
                </a:ext>
              </a:extLst>
            </p:cNvPr>
            <p:cNvSpPr/>
            <p:nvPr/>
          </p:nvSpPr>
          <p:spPr>
            <a:xfrm>
              <a:off x="8994417" y="8048508"/>
              <a:ext cx="156476" cy="144204"/>
            </a:xfrm>
            <a:custGeom>
              <a:avLst/>
              <a:gdLst>
                <a:gd name="connsiteX0" fmla="*/ 147273 w 156476"/>
                <a:gd name="connsiteY0" fmla="*/ 144204 h 144204"/>
                <a:gd name="connsiteX1" fmla="*/ 147273 w 156476"/>
                <a:gd name="connsiteY1" fmla="*/ 144204 h 144204"/>
                <a:gd name="connsiteX2" fmla="*/ 49091 w 156476"/>
                <a:gd name="connsiteY2" fmla="*/ 110455 h 144204"/>
                <a:gd name="connsiteX3" fmla="*/ 3068 w 156476"/>
                <a:gd name="connsiteY3" fmla="*/ 85909 h 144204"/>
                <a:gd name="connsiteX4" fmla="*/ 0 w 156476"/>
                <a:gd name="connsiteY4" fmla="*/ 82841 h 144204"/>
                <a:gd name="connsiteX5" fmla="*/ 0 w 156476"/>
                <a:gd name="connsiteY5" fmla="*/ 76705 h 144204"/>
                <a:gd name="connsiteX6" fmla="*/ 27613 w 156476"/>
                <a:gd name="connsiteY6" fmla="*/ 6136 h 144204"/>
                <a:gd name="connsiteX7" fmla="*/ 33750 w 156476"/>
                <a:gd name="connsiteY7" fmla="*/ 0 h 144204"/>
                <a:gd name="connsiteX8" fmla="*/ 39886 w 156476"/>
                <a:gd name="connsiteY8" fmla="*/ 6136 h 144204"/>
                <a:gd name="connsiteX9" fmla="*/ 15341 w 156476"/>
                <a:gd name="connsiteY9" fmla="*/ 76705 h 144204"/>
                <a:gd name="connsiteX10" fmla="*/ 55227 w 156476"/>
                <a:gd name="connsiteY10" fmla="*/ 98182 h 144204"/>
                <a:gd name="connsiteX11" fmla="*/ 150341 w 156476"/>
                <a:gd name="connsiteY11" fmla="*/ 128864 h 144204"/>
                <a:gd name="connsiteX12" fmla="*/ 156477 w 156476"/>
                <a:gd name="connsiteY12" fmla="*/ 135000 h 144204"/>
                <a:gd name="connsiteX13" fmla="*/ 147273 w 156476"/>
                <a:gd name="connsiteY13" fmla="*/ 144204 h 144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6476" h="144204">
                  <a:moveTo>
                    <a:pt x="147273" y="144204"/>
                  </a:moveTo>
                  <a:cubicBezTo>
                    <a:pt x="147273" y="144204"/>
                    <a:pt x="147273" y="144204"/>
                    <a:pt x="147273" y="144204"/>
                  </a:cubicBezTo>
                  <a:cubicBezTo>
                    <a:pt x="116591" y="141137"/>
                    <a:pt x="82841" y="128864"/>
                    <a:pt x="49091" y="110455"/>
                  </a:cubicBezTo>
                  <a:cubicBezTo>
                    <a:pt x="21477" y="98182"/>
                    <a:pt x="3068" y="85909"/>
                    <a:pt x="3068" y="85909"/>
                  </a:cubicBezTo>
                  <a:cubicBezTo>
                    <a:pt x="3068" y="85909"/>
                    <a:pt x="0" y="82841"/>
                    <a:pt x="0" y="82841"/>
                  </a:cubicBezTo>
                  <a:cubicBezTo>
                    <a:pt x="0" y="79773"/>
                    <a:pt x="0" y="79773"/>
                    <a:pt x="0" y="76705"/>
                  </a:cubicBezTo>
                  <a:cubicBezTo>
                    <a:pt x="6136" y="70568"/>
                    <a:pt x="24546" y="30682"/>
                    <a:pt x="27613" y="6136"/>
                  </a:cubicBezTo>
                  <a:cubicBezTo>
                    <a:pt x="27613" y="3068"/>
                    <a:pt x="30682" y="0"/>
                    <a:pt x="33750" y="0"/>
                  </a:cubicBezTo>
                  <a:cubicBezTo>
                    <a:pt x="36818" y="0"/>
                    <a:pt x="39886" y="3068"/>
                    <a:pt x="39886" y="6136"/>
                  </a:cubicBezTo>
                  <a:cubicBezTo>
                    <a:pt x="39886" y="30682"/>
                    <a:pt x="24546" y="64432"/>
                    <a:pt x="15341" y="76705"/>
                  </a:cubicBezTo>
                  <a:cubicBezTo>
                    <a:pt x="21477" y="79773"/>
                    <a:pt x="36818" y="88978"/>
                    <a:pt x="55227" y="98182"/>
                  </a:cubicBezTo>
                  <a:cubicBezTo>
                    <a:pt x="88977" y="113523"/>
                    <a:pt x="122727" y="125796"/>
                    <a:pt x="150341" y="128864"/>
                  </a:cubicBezTo>
                  <a:cubicBezTo>
                    <a:pt x="153409" y="128864"/>
                    <a:pt x="156477" y="131932"/>
                    <a:pt x="156477" y="135000"/>
                  </a:cubicBezTo>
                  <a:cubicBezTo>
                    <a:pt x="153409" y="144204"/>
                    <a:pt x="150341" y="144204"/>
                    <a:pt x="147273" y="144204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146A469C-C361-444A-B5AE-916DA1BE3736}"/>
                </a:ext>
              </a:extLst>
            </p:cNvPr>
            <p:cNvSpPr/>
            <p:nvPr/>
          </p:nvSpPr>
          <p:spPr>
            <a:xfrm>
              <a:off x="8878593" y="8532010"/>
              <a:ext cx="224481" cy="81043"/>
            </a:xfrm>
            <a:custGeom>
              <a:avLst/>
              <a:gdLst>
                <a:gd name="connsiteX0" fmla="*/ 72869 w 224481"/>
                <a:gd name="connsiteY0" fmla="*/ 81044 h 81043"/>
                <a:gd name="connsiteX1" fmla="*/ 2301 w 224481"/>
                <a:gd name="connsiteY1" fmla="*/ 53430 h 81043"/>
                <a:gd name="connsiteX2" fmla="*/ 2301 w 224481"/>
                <a:gd name="connsiteY2" fmla="*/ 44225 h 81043"/>
                <a:gd name="connsiteX3" fmla="*/ 11505 w 224481"/>
                <a:gd name="connsiteY3" fmla="*/ 44225 h 81043"/>
                <a:gd name="connsiteX4" fmla="*/ 82074 w 224481"/>
                <a:gd name="connsiteY4" fmla="*/ 68771 h 81043"/>
                <a:gd name="connsiteX5" fmla="*/ 214006 w 224481"/>
                <a:gd name="connsiteY5" fmla="*/ 1271 h 81043"/>
                <a:gd name="connsiteX6" fmla="*/ 223210 w 224481"/>
                <a:gd name="connsiteY6" fmla="*/ 4339 h 81043"/>
                <a:gd name="connsiteX7" fmla="*/ 220142 w 224481"/>
                <a:gd name="connsiteY7" fmla="*/ 13544 h 81043"/>
                <a:gd name="connsiteX8" fmla="*/ 82074 w 224481"/>
                <a:gd name="connsiteY8" fmla="*/ 81044 h 81043"/>
                <a:gd name="connsiteX9" fmla="*/ 72869 w 224481"/>
                <a:gd name="connsiteY9" fmla="*/ 81044 h 81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481" h="81043">
                  <a:moveTo>
                    <a:pt x="72869" y="81044"/>
                  </a:moveTo>
                  <a:cubicBezTo>
                    <a:pt x="32983" y="81044"/>
                    <a:pt x="5369" y="53430"/>
                    <a:pt x="2301" y="53430"/>
                  </a:cubicBezTo>
                  <a:cubicBezTo>
                    <a:pt x="-767" y="50362"/>
                    <a:pt x="-767" y="47294"/>
                    <a:pt x="2301" y="44225"/>
                  </a:cubicBezTo>
                  <a:cubicBezTo>
                    <a:pt x="5369" y="41157"/>
                    <a:pt x="8438" y="41157"/>
                    <a:pt x="11505" y="44225"/>
                  </a:cubicBezTo>
                  <a:cubicBezTo>
                    <a:pt x="11505" y="44225"/>
                    <a:pt x="45256" y="74907"/>
                    <a:pt x="82074" y="68771"/>
                  </a:cubicBezTo>
                  <a:cubicBezTo>
                    <a:pt x="121960" y="62635"/>
                    <a:pt x="214006" y="1271"/>
                    <a:pt x="214006" y="1271"/>
                  </a:cubicBezTo>
                  <a:cubicBezTo>
                    <a:pt x="217074" y="-1797"/>
                    <a:pt x="220142" y="1271"/>
                    <a:pt x="223210" y="4339"/>
                  </a:cubicBezTo>
                  <a:cubicBezTo>
                    <a:pt x="226278" y="7407"/>
                    <a:pt x="223210" y="10476"/>
                    <a:pt x="220142" y="13544"/>
                  </a:cubicBezTo>
                  <a:cubicBezTo>
                    <a:pt x="217074" y="16612"/>
                    <a:pt x="125029" y="77976"/>
                    <a:pt x="82074" y="81044"/>
                  </a:cubicBezTo>
                  <a:cubicBezTo>
                    <a:pt x="79006" y="81044"/>
                    <a:pt x="75937" y="81044"/>
                    <a:pt x="72869" y="81044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FDE8C5AD-568A-483A-AB20-10D18631CFD9}"/>
                </a:ext>
              </a:extLst>
            </p:cNvPr>
            <p:cNvSpPr/>
            <p:nvPr/>
          </p:nvSpPr>
          <p:spPr>
            <a:xfrm>
              <a:off x="9163167" y="8292469"/>
              <a:ext cx="78076" cy="114775"/>
            </a:xfrm>
            <a:custGeom>
              <a:avLst/>
              <a:gdLst>
                <a:gd name="connsiteX0" fmla="*/ 12273 w 78076"/>
                <a:gd name="connsiteY0" fmla="*/ 16835 h 114775"/>
                <a:gd name="connsiteX1" fmla="*/ 70568 w 78076"/>
                <a:gd name="connsiteY1" fmla="*/ 7630 h 114775"/>
                <a:gd name="connsiteX2" fmla="*/ 12273 w 78076"/>
                <a:gd name="connsiteY2" fmla="*/ 111949 h 114775"/>
                <a:gd name="connsiteX3" fmla="*/ 12273 w 78076"/>
                <a:gd name="connsiteY3" fmla="*/ 16835 h 11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076" h="114775">
                  <a:moveTo>
                    <a:pt x="12273" y="16835"/>
                  </a:moveTo>
                  <a:cubicBezTo>
                    <a:pt x="12273" y="16835"/>
                    <a:pt x="46023" y="-13847"/>
                    <a:pt x="70568" y="7630"/>
                  </a:cubicBezTo>
                  <a:cubicBezTo>
                    <a:pt x="95113" y="26040"/>
                    <a:pt x="55227" y="133426"/>
                    <a:pt x="12273" y="111949"/>
                  </a:cubicBezTo>
                  <a:cubicBezTo>
                    <a:pt x="-15341" y="93540"/>
                    <a:pt x="12273" y="16835"/>
                    <a:pt x="12273" y="16835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40F8F80A-1D09-4E17-A7C1-3F898BDC8C56}"/>
                </a:ext>
              </a:extLst>
            </p:cNvPr>
            <p:cNvSpPr/>
            <p:nvPr/>
          </p:nvSpPr>
          <p:spPr>
            <a:xfrm>
              <a:off x="8755099" y="8125213"/>
              <a:ext cx="254659" cy="159545"/>
            </a:xfrm>
            <a:custGeom>
              <a:avLst/>
              <a:gdLst>
                <a:gd name="connsiteX0" fmla="*/ 6136 w 254659"/>
                <a:gd name="connsiteY0" fmla="*/ 159545 h 159545"/>
                <a:gd name="connsiteX1" fmla="*/ 6136 w 254659"/>
                <a:gd name="connsiteY1" fmla="*/ 159545 h 159545"/>
                <a:gd name="connsiteX2" fmla="*/ 0 w 254659"/>
                <a:gd name="connsiteY2" fmla="*/ 153409 h 159545"/>
                <a:gd name="connsiteX3" fmla="*/ 110455 w 254659"/>
                <a:gd name="connsiteY3" fmla="*/ 46023 h 159545"/>
                <a:gd name="connsiteX4" fmla="*/ 245455 w 254659"/>
                <a:gd name="connsiteY4" fmla="*/ 0 h 159545"/>
                <a:gd name="connsiteX5" fmla="*/ 254659 w 254659"/>
                <a:gd name="connsiteY5" fmla="*/ 3068 h 159545"/>
                <a:gd name="connsiteX6" fmla="*/ 251591 w 254659"/>
                <a:gd name="connsiteY6" fmla="*/ 12273 h 159545"/>
                <a:gd name="connsiteX7" fmla="*/ 116591 w 254659"/>
                <a:gd name="connsiteY7" fmla="*/ 58296 h 159545"/>
                <a:gd name="connsiteX8" fmla="*/ 15341 w 254659"/>
                <a:gd name="connsiteY8" fmla="*/ 156477 h 159545"/>
                <a:gd name="connsiteX9" fmla="*/ 6136 w 254659"/>
                <a:gd name="connsiteY9" fmla="*/ 159545 h 159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659" h="159545">
                  <a:moveTo>
                    <a:pt x="6136" y="159545"/>
                  </a:moveTo>
                  <a:cubicBezTo>
                    <a:pt x="6136" y="159545"/>
                    <a:pt x="3068" y="159545"/>
                    <a:pt x="6136" y="159545"/>
                  </a:cubicBezTo>
                  <a:cubicBezTo>
                    <a:pt x="3068" y="159545"/>
                    <a:pt x="0" y="156477"/>
                    <a:pt x="0" y="153409"/>
                  </a:cubicBezTo>
                  <a:cubicBezTo>
                    <a:pt x="12273" y="82841"/>
                    <a:pt x="61364" y="61364"/>
                    <a:pt x="110455" y="46023"/>
                  </a:cubicBezTo>
                  <a:cubicBezTo>
                    <a:pt x="177955" y="27614"/>
                    <a:pt x="242386" y="0"/>
                    <a:pt x="245455" y="0"/>
                  </a:cubicBezTo>
                  <a:cubicBezTo>
                    <a:pt x="248523" y="0"/>
                    <a:pt x="251591" y="0"/>
                    <a:pt x="254659" y="3068"/>
                  </a:cubicBezTo>
                  <a:cubicBezTo>
                    <a:pt x="254659" y="6136"/>
                    <a:pt x="254659" y="9205"/>
                    <a:pt x="251591" y="12273"/>
                  </a:cubicBezTo>
                  <a:cubicBezTo>
                    <a:pt x="251591" y="12273"/>
                    <a:pt x="184091" y="36818"/>
                    <a:pt x="116591" y="58296"/>
                  </a:cubicBezTo>
                  <a:cubicBezTo>
                    <a:pt x="61364" y="73637"/>
                    <a:pt x="24546" y="98182"/>
                    <a:pt x="15341" y="156477"/>
                  </a:cubicBezTo>
                  <a:cubicBezTo>
                    <a:pt x="9205" y="156477"/>
                    <a:pt x="9205" y="159545"/>
                    <a:pt x="6136" y="159545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4" name="图形 1">
              <a:extLst>
                <a:ext uri="{FF2B5EF4-FFF2-40B4-BE49-F238E27FC236}">
                  <a16:creationId xmlns:a16="http://schemas.microsoft.com/office/drawing/2014/main" id="{875F4014-20CE-4108-9ADF-8EEC2539194A}"/>
                </a:ext>
              </a:extLst>
            </p:cNvPr>
            <p:cNvGrpSpPr/>
            <p:nvPr/>
          </p:nvGrpSpPr>
          <p:grpSpPr>
            <a:xfrm>
              <a:off x="9129417" y="10064304"/>
              <a:ext cx="1162841" cy="1454317"/>
              <a:chOff x="9129417" y="10064304"/>
              <a:chExt cx="1162841" cy="1454317"/>
            </a:xfrm>
          </p:grpSpPr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A443EECF-260F-4918-AF51-EA0BBF469710}"/>
                  </a:ext>
                </a:extLst>
              </p:cNvPr>
              <p:cNvSpPr/>
              <p:nvPr/>
            </p:nvSpPr>
            <p:spPr>
              <a:xfrm>
                <a:off x="9460781" y="10064304"/>
                <a:ext cx="431803" cy="420341"/>
              </a:xfrm>
              <a:custGeom>
                <a:avLst/>
                <a:gdLst>
                  <a:gd name="connsiteX0" fmla="*/ 6136 w 431803"/>
                  <a:gd name="connsiteY0" fmla="*/ 420341 h 420341"/>
                  <a:gd name="connsiteX1" fmla="*/ 6136 w 431803"/>
                  <a:gd name="connsiteY1" fmla="*/ 420341 h 420341"/>
                  <a:gd name="connsiteX2" fmla="*/ 0 w 431803"/>
                  <a:gd name="connsiteY2" fmla="*/ 414205 h 420341"/>
                  <a:gd name="connsiteX3" fmla="*/ 297614 w 431803"/>
                  <a:gd name="connsiteY3" fmla="*/ 0 h 420341"/>
                  <a:gd name="connsiteX4" fmla="*/ 297614 w 431803"/>
                  <a:gd name="connsiteY4" fmla="*/ 0 h 420341"/>
                  <a:gd name="connsiteX5" fmla="*/ 371250 w 431803"/>
                  <a:gd name="connsiteY5" fmla="*/ 33750 h 420341"/>
                  <a:gd name="connsiteX6" fmla="*/ 426477 w 431803"/>
                  <a:gd name="connsiteY6" fmla="*/ 414205 h 420341"/>
                  <a:gd name="connsiteX7" fmla="*/ 420341 w 431803"/>
                  <a:gd name="connsiteY7" fmla="*/ 420341 h 420341"/>
                  <a:gd name="connsiteX8" fmla="*/ 414205 w 431803"/>
                  <a:gd name="connsiteY8" fmla="*/ 414205 h 420341"/>
                  <a:gd name="connsiteX9" fmla="*/ 362046 w 431803"/>
                  <a:gd name="connsiteY9" fmla="*/ 42954 h 420341"/>
                  <a:gd name="connsiteX10" fmla="*/ 297614 w 431803"/>
                  <a:gd name="connsiteY10" fmla="*/ 12273 h 420341"/>
                  <a:gd name="connsiteX11" fmla="*/ 297614 w 431803"/>
                  <a:gd name="connsiteY11" fmla="*/ 12273 h 420341"/>
                  <a:gd name="connsiteX12" fmla="*/ 9205 w 431803"/>
                  <a:gd name="connsiteY12" fmla="*/ 420341 h 420341"/>
                  <a:gd name="connsiteX13" fmla="*/ 6136 w 431803"/>
                  <a:gd name="connsiteY13" fmla="*/ 420341 h 420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1803" h="420341">
                    <a:moveTo>
                      <a:pt x="6136" y="420341"/>
                    </a:moveTo>
                    <a:cubicBezTo>
                      <a:pt x="6136" y="420341"/>
                      <a:pt x="6136" y="420341"/>
                      <a:pt x="6136" y="420341"/>
                    </a:cubicBezTo>
                    <a:cubicBezTo>
                      <a:pt x="0" y="420341"/>
                      <a:pt x="0" y="414205"/>
                      <a:pt x="0" y="414205"/>
                    </a:cubicBezTo>
                    <a:cubicBezTo>
                      <a:pt x="6136" y="395795"/>
                      <a:pt x="150341" y="0"/>
                      <a:pt x="297614" y="0"/>
                    </a:cubicBezTo>
                    <a:cubicBezTo>
                      <a:pt x="297614" y="0"/>
                      <a:pt x="297614" y="0"/>
                      <a:pt x="297614" y="0"/>
                    </a:cubicBezTo>
                    <a:cubicBezTo>
                      <a:pt x="325227" y="0"/>
                      <a:pt x="349773" y="12273"/>
                      <a:pt x="371250" y="33750"/>
                    </a:cubicBezTo>
                    <a:cubicBezTo>
                      <a:pt x="457159" y="128864"/>
                      <a:pt x="426477" y="401932"/>
                      <a:pt x="426477" y="414205"/>
                    </a:cubicBezTo>
                    <a:cubicBezTo>
                      <a:pt x="426477" y="417273"/>
                      <a:pt x="423409" y="420341"/>
                      <a:pt x="420341" y="420341"/>
                    </a:cubicBezTo>
                    <a:cubicBezTo>
                      <a:pt x="417273" y="420341"/>
                      <a:pt x="414205" y="417273"/>
                      <a:pt x="414205" y="414205"/>
                    </a:cubicBezTo>
                    <a:cubicBezTo>
                      <a:pt x="414205" y="411136"/>
                      <a:pt x="444886" y="135000"/>
                      <a:pt x="362046" y="42954"/>
                    </a:cubicBezTo>
                    <a:cubicBezTo>
                      <a:pt x="343636" y="24546"/>
                      <a:pt x="322159" y="12273"/>
                      <a:pt x="297614" y="12273"/>
                    </a:cubicBezTo>
                    <a:cubicBezTo>
                      <a:pt x="297614" y="12273"/>
                      <a:pt x="297614" y="12273"/>
                      <a:pt x="297614" y="12273"/>
                    </a:cubicBezTo>
                    <a:cubicBezTo>
                      <a:pt x="159545" y="12273"/>
                      <a:pt x="12273" y="414205"/>
                      <a:pt x="9205" y="420341"/>
                    </a:cubicBezTo>
                    <a:cubicBezTo>
                      <a:pt x="9205" y="420341"/>
                      <a:pt x="9205" y="420341"/>
                      <a:pt x="6136" y="42034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95" name="图形 1">
                <a:extLst>
                  <a:ext uri="{FF2B5EF4-FFF2-40B4-BE49-F238E27FC236}">
                    <a16:creationId xmlns:a16="http://schemas.microsoft.com/office/drawing/2014/main" id="{688FE0BF-EFC5-48D5-95C4-6B939E8105DA}"/>
                  </a:ext>
                </a:extLst>
              </p:cNvPr>
              <p:cNvGrpSpPr/>
              <p:nvPr/>
            </p:nvGrpSpPr>
            <p:grpSpPr>
              <a:xfrm>
                <a:off x="9129417" y="10374190"/>
                <a:ext cx="1162841" cy="1144431"/>
                <a:chOff x="9129417" y="10374190"/>
                <a:chExt cx="1162841" cy="1144431"/>
              </a:xfrm>
            </p:grpSpPr>
            <p:sp>
              <p:nvSpPr>
                <p:cNvPr id="99" name="任意多边形: 形状 98">
                  <a:extLst>
                    <a:ext uri="{FF2B5EF4-FFF2-40B4-BE49-F238E27FC236}">
                      <a16:creationId xmlns:a16="http://schemas.microsoft.com/office/drawing/2014/main" id="{5AF7FC15-95AE-47D6-9E75-2214547CE296}"/>
                    </a:ext>
                  </a:extLst>
                </p:cNvPr>
                <p:cNvSpPr/>
                <p:nvPr/>
              </p:nvSpPr>
              <p:spPr>
                <a:xfrm>
                  <a:off x="9279758" y="10395668"/>
                  <a:ext cx="1012499" cy="1122953"/>
                </a:xfrm>
                <a:custGeom>
                  <a:avLst/>
                  <a:gdLst>
                    <a:gd name="connsiteX0" fmla="*/ 98182 w 1012499"/>
                    <a:gd name="connsiteY0" fmla="*/ 0 h 1122953"/>
                    <a:gd name="connsiteX1" fmla="*/ 0 w 1012499"/>
                    <a:gd name="connsiteY1" fmla="*/ 1122954 h 1122953"/>
                    <a:gd name="connsiteX2" fmla="*/ 1012500 w 1012499"/>
                    <a:gd name="connsiteY2" fmla="*/ 1092272 h 1122953"/>
                    <a:gd name="connsiteX3" fmla="*/ 914318 w 1012499"/>
                    <a:gd name="connsiteY3" fmla="*/ 3067 h 11229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12499" h="1122953">
                      <a:moveTo>
                        <a:pt x="98182" y="0"/>
                      </a:moveTo>
                      <a:lnTo>
                        <a:pt x="0" y="1122954"/>
                      </a:lnTo>
                      <a:lnTo>
                        <a:pt x="1012500" y="1092272"/>
                      </a:lnTo>
                      <a:lnTo>
                        <a:pt x="914318" y="3067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0" name="任意多边形: 形状 99">
                  <a:extLst>
                    <a:ext uri="{FF2B5EF4-FFF2-40B4-BE49-F238E27FC236}">
                      <a16:creationId xmlns:a16="http://schemas.microsoft.com/office/drawing/2014/main" id="{25D7789C-BE86-4518-9889-817463078A46}"/>
                    </a:ext>
                  </a:extLst>
                </p:cNvPr>
                <p:cNvSpPr/>
                <p:nvPr/>
              </p:nvSpPr>
              <p:spPr>
                <a:xfrm>
                  <a:off x="9258281" y="10374190"/>
                  <a:ext cx="935795" cy="24545"/>
                </a:xfrm>
                <a:custGeom>
                  <a:avLst/>
                  <a:gdLst>
                    <a:gd name="connsiteX0" fmla="*/ 935795 w 935795"/>
                    <a:gd name="connsiteY0" fmla="*/ 24545 h 24545"/>
                    <a:gd name="connsiteX1" fmla="*/ 733296 w 935795"/>
                    <a:gd name="connsiteY1" fmla="*/ 0 h 24545"/>
                    <a:gd name="connsiteX2" fmla="*/ 0 w 935795"/>
                    <a:gd name="connsiteY2" fmla="*/ 6137 h 24545"/>
                    <a:gd name="connsiteX3" fmla="*/ 119659 w 935795"/>
                    <a:gd name="connsiteY3" fmla="*/ 21478 h 24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35795" h="24545">
                      <a:moveTo>
                        <a:pt x="935795" y="24545"/>
                      </a:moveTo>
                      <a:lnTo>
                        <a:pt x="733296" y="0"/>
                      </a:lnTo>
                      <a:lnTo>
                        <a:pt x="0" y="6137"/>
                      </a:lnTo>
                      <a:lnTo>
                        <a:pt x="119659" y="21478"/>
                      </a:lnTo>
                      <a:close/>
                    </a:path>
                  </a:pathLst>
                </a:custGeom>
                <a:solidFill>
                  <a:srgbClr val="C6554F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1" name="任意多边形: 形状 100">
                  <a:extLst>
                    <a:ext uri="{FF2B5EF4-FFF2-40B4-BE49-F238E27FC236}">
                      <a16:creationId xmlns:a16="http://schemas.microsoft.com/office/drawing/2014/main" id="{7B7C5574-5A3E-4044-8350-0D19238CDD6E}"/>
                    </a:ext>
                  </a:extLst>
                </p:cNvPr>
                <p:cNvSpPr/>
                <p:nvPr/>
              </p:nvSpPr>
              <p:spPr>
                <a:xfrm>
                  <a:off x="9129417" y="10380327"/>
                  <a:ext cx="248522" cy="1138294"/>
                </a:xfrm>
                <a:custGeom>
                  <a:avLst/>
                  <a:gdLst>
                    <a:gd name="connsiteX0" fmla="*/ 0 w 248522"/>
                    <a:gd name="connsiteY0" fmla="*/ 1037045 h 1138294"/>
                    <a:gd name="connsiteX1" fmla="*/ 150341 w 248522"/>
                    <a:gd name="connsiteY1" fmla="*/ 1138295 h 1138294"/>
                    <a:gd name="connsiteX2" fmla="*/ 248523 w 248522"/>
                    <a:gd name="connsiteY2" fmla="*/ 15341 h 1138294"/>
                    <a:gd name="connsiteX3" fmla="*/ 128864 w 248522"/>
                    <a:gd name="connsiteY3" fmla="*/ 0 h 1138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8522" h="1138294">
                      <a:moveTo>
                        <a:pt x="0" y="1037045"/>
                      </a:moveTo>
                      <a:lnTo>
                        <a:pt x="150341" y="1138295"/>
                      </a:lnTo>
                      <a:lnTo>
                        <a:pt x="248523" y="15341"/>
                      </a:lnTo>
                      <a:lnTo>
                        <a:pt x="128864" y="0"/>
                      </a:lnTo>
                      <a:close/>
                    </a:path>
                  </a:pathLst>
                </a:custGeom>
                <a:solidFill>
                  <a:srgbClr val="C6554F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451B858B-C3F4-4D1E-A668-FB62172EF36B}"/>
                  </a:ext>
                </a:extLst>
              </p:cNvPr>
              <p:cNvSpPr/>
              <p:nvPr/>
            </p:nvSpPr>
            <p:spPr>
              <a:xfrm>
                <a:off x="9546690" y="10064304"/>
                <a:ext cx="423409" cy="420341"/>
              </a:xfrm>
              <a:custGeom>
                <a:avLst/>
                <a:gdLst>
                  <a:gd name="connsiteX0" fmla="*/ 6136 w 423409"/>
                  <a:gd name="connsiteY0" fmla="*/ 420341 h 420341"/>
                  <a:gd name="connsiteX1" fmla="*/ 6136 w 423409"/>
                  <a:gd name="connsiteY1" fmla="*/ 420341 h 420341"/>
                  <a:gd name="connsiteX2" fmla="*/ 0 w 423409"/>
                  <a:gd name="connsiteY2" fmla="*/ 414205 h 420341"/>
                  <a:gd name="connsiteX3" fmla="*/ 211704 w 423409"/>
                  <a:gd name="connsiteY3" fmla="*/ 0 h 420341"/>
                  <a:gd name="connsiteX4" fmla="*/ 211704 w 423409"/>
                  <a:gd name="connsiteY4" fmla="*/ 0 h 420341"/>
                  <a:gd name="connsiteX5" fmla="*/ 423409 w 423409"/>
                  <a:gd name="connsiteY5" fmla="*/ 411136 h 420341"/>
                  <a:gd name="connsiteX6" fmla="*/ 417272 w 423409"/>
                  <a:gd name="connsiteY6" fmla="*/ 417273 h 420341"/>
                  <a:gd name="connsiteX7" fmla="*/ 411136 w 423409"/>
                  <a:gd name="connsiteY7" fmla="*/ 411136 h 420341"/>
                  <a:gd name="connsiteX8" fmla="*/ 208636 w 423409"/>
                  <a:gd name="connsiteY8" fmla="*/ 9205 h 420341"/>
                  <a:gd name="connsiteX9" fmla="*/ 208636 w 423409"/>
                  <a:gd name="connsiteY9" fmla="*/ 9205 h 420341"/>
                  <a:gd name="connsiteX10" fmla="*/ 6136 w 423409"/>
                  <a:gd name="connsiteY10" fmla="*/ 414205 h 420341"/>
                  <a:gd name="connsiteX11" fmla="*/ 6136 w 423409"/>
                  <a:gd name="connsiteY11" fmla="*/ 420341 h 420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23409" h="420341">
                    <a:moveTo>
                      <a:pt x="6136" y="420341"/>
                    </a:moveTo>
                    <a:cubicBezTo>
                      <a:pt x="6136" y="420341"/>
                      <a:pt x="6136" y="420341"/>
                      <a:pt x="6136" y="420341"/>
                    </a:cubicBezTo>
                    <a:cubicBezTo>
                      <a:pt x="3068" y="420341"/>
                      <a:pt x="0" y="417273"/>
                      <a:pt x="0" y="414205"/>
                    </a:cubicBezTo>
                    <a:cubicBezTo>
                      <a:pt x="3068" y="395795"/>
                      <a:pt x="64432" y="0"/>
                      <a:pt x="211704" y="0"/>
                    </a:cubicBezTo>
                    <a:cubicBezTo>
                      <a:pt x="211704" y="0"/>
                      <a:pt x="211704" y="0"/>
                      <a:pt x="211704" y="0"/>
                    </a:cubicBezTo>
                    <a:cubicBezTo>
                      <a:pt x="383523" y="0"/>
                      <a:pt x="423409" y="395795"/>
                      <a:pt x="423409" y="411136"/>
                    </a:cubicBezTo>
                    <a:cubicBezTo>
                      <a:pt x="423409" y="414205"/>
                      <a:pt x="420341" y="417273"/>
                      <a:pt x="417272" y="417273"/>
                    </a:cubicBezTo>
                    <a:cubicBezTo>
                      <a:pt x="414205" y="417273"/>
                      <a:pt x="411136" y="414205"/>
                      <a:pt x="411136" y="411136"/>
                    </a:cubicBezTo>
                    <a:cubicBezTo>
                      <a:pt x="411136" y="408069"/>
                      <a:pt x="371250" y="9205"/>
                      <a:pt x="208636" y="9205"/>
                    </a:cubicBezTo>
                    <a:cubicBezTo>
                      <a:pt x="208636" y="9205"/>
                      <a:pt x="208636" y="9205"/>
                      <a:pt x="208636" y="9205"/>
                    </a:cubicBezTo>
                    <a:cubicBezTo>
                      <a:pt x="70568" y="9205"/>
                      <a:pt x="9205" y="411136"/>
                      <a:pt x="6136" y="414205"/>
                    </a:cubicBezTo>
                    <a:cubicBezTo>
                      <a:pt x="12273" y="417273"/>
                      <a:pt x="9205" y="420341"/>
                      <a:pt x="6136" y="42034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8691D760-A949-4776-B32F-D844B771E8E8}"/>
                  </a:ext>
                </a:extLst>
              </p:cNvPr>
              <p:cNvSpPr/>
              <p:nvPr/>
            </p:nvSpPr>
            <p:spPr>
              <a:xfrm>
                <a:off x="9522144" y="10447827"/>
                <a:ext cx="61363" cy="61363"/>
              </a:xfrm>
              <a:custGeom>
                <a:avLst/>
                <a:gdLst>
                  <a:gd name="connsiteX0" fmla="*/ 30682 w 61363"/>
                  <a:gd name="connsiteY0" fmla="*/ 61364 h 61363"/>
                  <a:gd name="connsiteX1" fmla="*/ 0 w 61363"/>
                  <a:gd name="connsiteY1" fmla="*/ 30682 h 61363"/>
                  <a:gd name="connsiteX2" fmla="*/ 30682 w 61363"/>
                  <a:gd name="connsiteY2" fmla="*/ 0 h 61363"/>
                  <a:gd name="connsiteX3" fmla="*/ 61364 w 61363"/>
                  <a:gd name="connsiteY3" fmla="*/ 30682 h 61363"/>
                  <a:gd name="connsiteX4" fmla="*/ 30682 w 61363"/>
                  <a:gd name="connsiteY4" fmla="*/ 61364 h 61363"/>
                  <a:gd name="connsiteX5" fmla="*/ 30682 w 61363"/>
                  <a:gd name="connsiteY5" fmla="*/ 12273 h 61363"/>
                  <a:gd name="connsiteX6" fmla="*/ 12273 w 61363"/>
                  <a:gd name="connsiteY6" fmla="*/ 30682 h 61363"/>
                  <a:gd name="connsiteX7" fmla="*/ 30682 w 61363"/>
                  <a:gd name="connsiteY7" fmla="*/ 49091 h 61363"/>
                  <a:gd name="connsiteX8" fmla="*/ 49091 w 61363"/>
                  <a:gd name="connsiteY8" fmla="*/ 30682 h 61363"/>
                  <a:gd name="connsiteX9" fmla="*/ 30682 w 61363"/>
                  <a:gd name="connsiteY9" fmla="*/ 12273 h 61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363" h="61363">
                    <a:moveTo>
                      <a:pt x="30682" y="61364"/>
                    </a:moveTo>
                    <a:cubicBezTo>
                      <a:pt x="12273" y="61364"/>
                      <a:pt x="0" y="46023"/>
                      <a:pt x="0" y="30682"/>
                    </a:cubicBezTo>
                    <a:cubicBezTo>
                      <a:pt x="0" y="12273"/>
                      <a:pt x="15341" y="0"/>
                      <a:pt x="30682" y="0"/>
                    </a:cubicBezTo>
                    <a:cubicBezTo>
                      <a:pt x="49091" y="0"/>
                      <a:pt x="61364" y="15341"/>
                      <a:pt x="61364" y="30682"/>
                    </a:cubicBezTo>
                    <a:cubicBezTo>
                      <a:pt x="61364" y="49091"/>
                      <a:pt x="49091" y="61364"/>
                      <a:pt x="30682" y="61364"/>
                    </a:cubicBezTo>
                    <a:close/>
                    <a:moveTo>
                      <a:pt x="30682" y="12273"/>
                    </a:moveTo>
                    <a:cubicBezTo>
                      <a:pt x="18409" y="12273"/>
                      <a:pt x="12273" y="21478"/>
                      <a:pt x="12273" y="30682"/>
                    </a:cubicBezTo>
                    <a:cubicBezTo>
                      <a:pt x="12273" y="39887"/>
                      <a:pt x="21477" y="49091"/>
                      <a:pt x="30682" y="49091"/>
                    </a:cubicBezTo>
                    <a:cubicBezTo>
                      <a:pt x="42954" y="49091"/>
                      <a:pt x="49091" y="39887"/>
                      <a:pt x="49091" y="30682"/>
                    </a:cubicBezTo>
                    <a:cubicBezTo>
                      <a:pt x="49091" y="21478"/>
                      <a:pt x="39886" y="12273"/>
                      <a:pt x="30682" y="1227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EB074D23-3FFF-47A8-97F0-1F5878872007}"/>
                  </a:ext>
                </a:extLst>
              </p:cNvPr>
              <p:cNvSpPr/>
              <p:nvPr/>
            </p:nvSpPr>
            <p:spPr>
              <a:xfrm>
                <a:off x="9936349" y="10447827"/>
                <a:ext cx="61363" cy="61363"/>
              </a:xfrm>
              <a:custGeom>
                <a:avLst/>
                <a:gdLst>
                  <a:gd name="connsiteX0" fmla="*/ 30682 w 61363"/>
                  <a:gd name="connsiteY0" fmla="*/ 61364 h 61363"/>
                  <a:gd name="connsiteX1" fmla="*/ 0 w 61363"/>
                  <a:gd name="connsiteY1" fmla="*/ 30682 h 61363"/>
                  <a:gd name="connsiteX2" fmla="*/ 30682 w 61363"/>
                  <a:gd name="connsiteY2" fmla="*/ 0 h 61363"/>
                  <a:gd name="connsiteX3" fmla="*/ 61364 w 61363"/>
                  <a:gd name="connsiteY3" fmla="*/ 30682 h 61363"/>
                  <a:gd name="connsiteX4" fmla="*/ 30682 w 61363"/>
                  <a:gd name="connsiteY4" fmla="*/ 61364 h 61363"/>
                  <a:gd name="connsiteX5" fmla="*/ 30682 w 61363"/>
                  <a:gd name="connsiteY5" fmla="*/ 12273 h 61363"/>
                  <a:gd name="connsiteX6" fmla="*/ 12273 w 61363"/>
                  <a:gd name="connsiteY6" fmla="*/ 30682 h 61363"/>
                  <a:gd name="connsiteX7" fmla="*/ 30682 w 61363"/>
                  <a:gd name="connsiteY7" fmla="*/ 49091 h 61363"/>
                  <a:gd name="connsiteX8" fmla="*/ 49091 w 61363"/>
                  <a:gd name="connsiteY8" fmla="*/ 30682 h 61363"/>
                  <a:gd name="connsiteX9" fmla="*/ 30682 w 61363"/>
                  <a:gd name="connsiteY9" fmla="*/ 12273 h 61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363" h="61363">
                    <a:moveTo>
                      <a:pt x="30682" y="61364"/>
                    </a:moveTo>
                    <a:cubicBezTo>
                      <a:pt x="12273" y="61364"/>
                      <a:pt x="0" y="46023"/>
                      <a:pt x="0" y="30682"/>
                    </a:cubicBezTo>
                    <a:cubicBezTo>
                      <a:pt x="0" y="12273"/>
                      <a:pt x="15341" y="0"/>
                      <a:pt x="30682" y="0"/>
                    </a:cubicBezTo>
                    <a:cubicBezTo>
                      <a:pt x="49091" y="0"/>
                      <a:pt x="61364" y="15341"/>
                      <a:pt x="61364" y="30682"/>
                    </a:cubicBezTo>
                    <a:cubicBezTo>
                      <a:pt x="61364" y="49091"/>
                      <a:pt x="49091" y="61364"/>
                      <a:pt x="30682" y="61364"/>
                    </a:cubicBezTo>
                    <a:close/>
                    <a:moveTo>
                      <a:pt x="30682" y="12273"/>
                    </a:moveTo>
                    <a:cubicBezTo>
                      <a:pt x="18409" y="12273"/>
                      <a:pt x="12273" y="21478"/>
                      <a:pt x="12273" y="30682"/>
                    </a:cubicBezTo>
                    <a:cubicBezTo>
                      <a:pt x="12273" y="39887"/>
                      <a:pt x="21477" y="49091"/>
                      <a:pt x="30682" y="49091"/>
                    </a:cubicBezTo>
                    <a:cubicBezTo>
                      <a:pt x="42954" y="49091"/>
                      <a:pt x="49091" y="39887"/>
                      <a:pt x="49091" y="30682"/>
                    </a:cubicBezTo>
                    <a:cubicBezTo>
                      <a:pt x="49091" y="21478"/>
                      <a:pt x="39886" y="12273"/>
                      <a:pt x="30682" y="1227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7BDE2188-62C1-4A61-8709-5FE85BE39A59}"/>
                </a:ext>
              </a:extLst>
            </p:cNvPr>
            <p:cNvSpPr/>
            <p:nvPr/>
          </p:nvSpPr>
          <p:spPr>
            <a:xfrm>
              <a:off x="9572208" y="9975327"/>
              <a:ext cx="115618" cy="183930"/>
            </a:xfrm>
            <a:custGeom>
              <a:avLst/>
              <a:gdLst>
                <a:gd name="connsiteX0" fmla="*/ 115618 w 115618"/>
                <a:gd name="connsiteY0" fmla="*/ 0 h 183930"/>
                <a:gd name="connsiteX1" fmla="*/ 14369 w 115618"/>
                <a:gd name="connsiteY1" fmla="*/ 104318 h 183930"/>
                <a:gd name="connsiteX2" fmla="*/ 5164 w 115618"/>
                <a:gd name="connsiteY2" fmla="*/ 181023 h 183930"/>
                <a:gd name="connsiteX3" fmla="*/ 81868 w 115618"/>
                <a:gd name="connsiteY3" fmla="*/ 92045 h 183930"/>
                <a:gd name="connsiteX4" fmla="*/ 115618 w 115618"/>
                <a:gd name="connsiteY4" fmla="*/ 0 h 183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618" h="183930">
                  <a:moveTo>
                    <a:pt x="115618" y="0"/>
                  </a:moveTo>
                  <a:cubicBezTo>
                    <a:pt x="115618" y="0"/>
                    <a:pt x="23573" y="76705"/>
                    <a:pt x="14369" y="104318"/>
                  </a:cubicBezTo>
                  <a:cubicBezTo>
                    <a:pt x="5164" y="131931"/>
                    <a:pt x="-7109" y="174887"/>
                    <a:pt x="5164" y="181023"/>
                  </a:cubicBezTo>
                  <a:cubicBezTo>
                    <a:pt x="38914" y="202500"/>
                    <a:pt x="48118" y="98182"/>
                    <a:pt x="81868" y="92045"/>
                  </a:cubicBezTo>
                  <a:cubicBezTo>
                    <a:pt x="97209" y="92045"/>
                    <a:pt x="115618" y="0"/>
                    <a:pt x="115618" y="0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A22A2CEE-7028-4274-921D-4ED42316E99C}"/>
                </a:ext>
              </a:extLst>
            </p:cNvPr>
            <p:cNvGrpSpPr/>
            <p:nvPr/>
          </p:nvGrpSpPr>
          <p:grpSpPr>
            <a:xfrm>
              <a:off x="9627193" y="9898488"/>
              <a:ext cx="226315" cy="280969"/>
              <a:chOff x="9627193" y="9898488"/>
              <a:chExt cx="226315" cy="280969"/>
            </a:xfrm>
          </p:grpSpPr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7C2CB7B2-4B05-4742-9764-857B9F7F8E79}"/>
                  </a:ext>
                </a:extLst>
              </p:cNvPr>
              <p:cNvSpPr/>
              <p:nvPr/>
            </p:nvSpPr>
            <p:spPr>
              <a:xfrm>
                <a:off x="9636326" y="9898488"/>
                <a:ext cx="217181" cy="280969"/>
              </a:xfrm>
              <a:custGeom>
                <a:avLst/>
                <a:gdLst>
                  <a:gd name="connsiteX0" fmla="*/ 195705 w 217181"/>
                  <a:gd name="connsiteY0" fmla="*/ 12407 h 280969"/>
                  <a:gd name="connsiteX1" fmla="*/ 66841 w 217181"/>
                  <a:gd name="connsiteY1" fmla="*/ 6271 h 280969"/>
                  <a:gd name="connsiteX2" fmla="*/ 5477 w 217181"/>
                  <a:gd name="connsiteY2" fmla="*/ 208771 h 280969"/>
                  <a:gd name="connsiteX3" fmla="*/ 17750 w 217181"/>
                  <a:gd name="connsiteY3" fmla="*/ 267067 h 280969"/>
                  <a:gd name="connsiteX4" fmla="*/ 54568 w 217181"/>
                  <a:gd name="connsiteY4" fmla="*/ 263998 h 280969"/>
                  <a:gd name="connsiteX5" fmla="*/ 106727 w 217181"/>
                  <a:gd name="connsiteY5" fmla="*/ 270134 h 280969"/>
                  <a:gd name="connsiteX6" fmla="*/ 137409 w 217181"/>
                  <a:gd name="connsiteY6" fmla="*/ 279339 h 280969"/>
                  <a:gd name="connsiteX7" fmla="*/ 165023 w 217181"/>
                  <a:gd name="connsiteY7" fmla="*/ 251726 h 280969"/>
                  <a:gd name="connsiteX8" fmla="*/ 214113 w 217181"/>
                  <a:gd name="connsiteY8" fmla="*/ 236385 h 280969"/>
                  <a:gd name="connsiteX9" fmla="*/ 207977 w 217181"/>
                  <a:gd name="connsiteY9" fmla="*/ 156612 h 280969"/>
                  <a:gd name="connsiteX10" fmla="*/ 217182 w 217181"/>
                  <a:gd name="connsiteY10" fmla="*/ 61498 h 280969"/>
                  <a:gd name="connsiteX11" fmla="*/ 195705 w 217181"/>
                  <a:gd name="connsiteY11" fmla="*/ 12407 h 280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7181" h="280969">
                    <a:moveTo>
                      <a:pt x="195705" y="12407"/>
                    </a:moveTo>
                    <a:cubicBezTo>
                      <a:pt x="158886" y="-9070"/>
                      <a:pt x="66841" y="3203"/>
                      <a:pt x="66841" y="6271"/>
                    </a:cubicBezTo>
                    <a:cubicBezTo>
                      <a:pt x="45363" y="92180"/>
                      <a:pt x="14682" y="119793"/>
                      <a:pt x="5477" y="208771"/>
                    </a:cubicBezTo>
                    <a:cubicBezTo>
                      <a:pt x="5477" y="224111"/>
                      <a:pt x="-12932" y="254793"/>
                      <a:pt x="17750" y="267067"/>
                    </a:cubicBezTo>
                    <a:cubicBezTo>
                      <a:pt x="26955" y="270134"/>
                      <a:pt x="42295" y="276271"/>
                      <a:pt x="54568" y="263998"/>
                    </a:cubicBezTo>
                    <a:cubicBezTo>
                      <a:pt x="63773" y="285475"/>
                      <a:pt x="103659" y="285475"/>
                      <a:pt x="106727" y="270134"/>
                    </a:cubicBezTo>
                    <a:cubicBezTo>
                      <a:pt x="109795" y="276271"/>
                      <a:pt x="128204" y="282408"/>
                      <a:pt x="137409" y="279339"/>
                    </a:cubicBezTo>
                    <a:cubicBezTo>
                      <a:pt x="155818" y="276271"/>
                      <a:pt x="161954" y="270134"/>
                      <a:pt x="165023" y="251726"/>
                    </a:cubicBezTo>
                    <a:cubicBezTo>
                      <a:pt x="183432" y="263998"/>
                      <a:pt x="207977" y="260930"/>
                      <a:pt x="214113" y="236385"/>
                    </a:cubicBezTo>
                    <a:cubicBezTo>
                      <a:pt x="220250" y="202635"/>
                      <a:pt x="207977" y="190362"/>
                      <a:pt x="207977" y="156612"/>
                    </a:cubicBezTo>
                    <a:cubicBezTo>
                      <a:pt x="207977" y="122862"/>
                      <a:pt x="217182" y="92180"/>
                      <a:pt x="217182" y="61498"/>
                    </a:cubicBezTo>
                    <a:cubicBezTo>
                      <a:pt x="217182" y="33885"/>
                      <a:pt x="217182" y="27748"/>
                      <a:pt x="195705" y="1240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2C6373CF-F308-41F9-8D1F-041334D8993A}"/>
                  </a:ext>
                </a:extLst>
              </p:cNvPr>
              <p:cNvSpPr/>
              <p:nvPr/>
            </p:nvSpPr>
            <p:spPr>
              <a:xfrm>
                <a:off x="9627193" y="10021350"/>
                <a:ext cx="69838" cy="153409"/>
              </a:xfrm>
              <a:custGeom>
                <a:avLst/>
                <a:gdLst>
                  <a:gd name="connsiteX0" fmla="*/ 33020 w 69838"/>
                  <a:gd name="connsiteY0" fmla="*/ 153409 h 153409"/>
                  <a:gd name="connsiteX1" fmla="*/ 17679 w 69838"/>
                  <a:gd name="connsiteY1" fmla="*/ 150341 h 153409"/>
                  <a:gd name="connsiteX2" fmla="*/ 2338 w 69838"/>
                  <a:gd name="connsiteY2" fmla="*/ 128864 h 153409"/>
                  <a:gd name="connsiteX3" fmla="*/ 33020 w 69838"/>
                  <a:gd name="connsiteY3" fmla="*/ 3068 h 153409"/>
                  <a:gd name="connsiteX4" fmla="*/ 42225 w 69838"/>
                  <a:gd name="connsiteY4" fmla="*/ 0 h 153409"/>
                  <a:gd name="connsiteX5" fmla="*/ 45293 w 69838"/>
                  <a:gd name="connsiteY5" fmla="*/ 9204 h 153409"/>
                  <a:gd name="connsiteX6" fmla="*/ 17679 w 69838"/>
                  <a:gd name="connsiteY6" fmla="*/ 125796 h 153409"/>
                  <a:gd name="connsiteX7" fmla="*/ 26884 w 69838"/>
                  <a:gd name="connsiteY7" fmla="*/ 138068 h 153409"/>
                  <a:gd name="connsiteX8" fmla="*/ 60633 w 69838"/>
                  <a:gd name="connsiteY8" fmla="*/ 131931 h 153409"/>
                  <a:gd name="connsiteX9" fmla="*/ 69838 w 69838"/>
                  <a:gd name="connsiteY9" fmla="*/ 135000 h 153409"/>
                  <a:gd name="connsiteX10" fmla="*/ 66770 w 69838"/>
                  <a:gd name="connsiteY10" fmla="*/ 144205 h 153409"/>
                  <a:gd name="connsiteX11" fmla="*/ 33020 w 69838"/>
                  <a:gd name="connsiteY11" fmla="*/ 153409 h 153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9838" h="153409">
                    <a:moveTo>
                      <a:pt x="33020" y="153409"/>
                    </a:moveTo>
                    <a:cubicBezTo>
                      <a:pt x="26884" y="153409"/>
                      <a:pt x="23815" y="153409"/>
                      <a:pt x="17679" y="150341"/>
                    </a:cubicBezTo>
                    <a:cubicBezTo>
                      <a:pt x="8474" y="147272"/>
                      <a:pt x="2338" y="141137"/>
                      <a:pt x="2338" y="128864"/>
                    </a:cubicBezTo>
                    <a:cubicBezTo>
                      <a:pt x="-9934" y="85909"/>
                      <a:pt x="29952" y="6137"/>
                      <a:pt x="33020" y="3068"/>
                    </a:cubicBezTo>
                    <a:cubicBezTo>
                      <a:pt x="33020" y="0"/>
                      <a:pt x="39156" y="0"/>
                      <a:pt x="42225" y="0"/>
                    </a:cubicBezTo>
                    <a:cubicBezTo>
                      <a:pt x="45293" y="0"/>
                      <a:pt x="45293" y="6137"/>
                      <a:pt x="45293" y="9204"/>
                    </a:cubicBezTo>
                    <a:cubicBezTo>
                      <a:pt x="45293" y="9204"/>
                      <a:pt x="5407" y="88977"/>
                      <a:pt x="17679" y="125796"/>
                    </a:cubicBezTo>
                    <a:cubicBezTo>
                      <a:pt x="20747" y="131931"/>
                      <a:pt x="23815" y="138068"/>
                      <a:pt x="26884" y="138068"/>
                    </a:cubicBezTo>
                    <a:cubicBezTo>
                      <a:pt x="39156" y="144205"/>
                      <a:pt x="54497" y="135000"/>
                      <a:pt x="60633" y="131931"/>
                    </a:cubicBezTo>
                    <a:cubicBezTo>
                      <a:pt x="63702" y="131931"/>
                      <a:pt x="66770" y="131931"/>
                      <a:pt x="69838" y="135000"/>
                    </a:cubicBezTo>
                    <a:cubicBezTo>
                      <a:pt x="69838" y="138068"/>
                      <a:pt x="69838" y="141137"/>
                      <a:pt x="66770" y="144205"/>
                    </a:cubicBezTo>
                    <a:cubicBezTo>
                      <a:pt x="63702" y="144205"/>
                      <a:pt x="48361" y="153409"/>
                      <a:pt x="33020" y="15340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0045D188-E2DD-404D-8546-7F1B7BC4D33F}"/>
                  </a:ext>
                </a:extLst>
              </p:cNvPr>
              <p:cNvSpPr/>
              <p:nvPr/>
            </p:nvSpPr>
            <p:spPr>
              <a:xfrm>
                <a:off x="9703167" y="10110327"/>
                <a:ext cx="88977" cy="24546"/>
              </a:xfrm>
              <a:custGeom>
                <a:avLst/>
                <a:gdLst>
                  <a:gd name="connsiteX0" fmla="*/ 12273 w 88977"/>
                  <a:gd name="connsiteY0" fmla="*/ 24546 h 24546"/>
                  <a:gd name="connsiteX1" fmla="*/ 6137 w 88977"/>
                  <a:gd name="connsiteY1" fmla="*/ 24546 h 24546"/>
                  <a:gd name="connsiteX2" fmla="*/ 0 w 88977"/>
                  <a:gd name="connsiteY2" fmla="*/ 18409 h 24546"/>
                  <a:gd name="connsiteX3" fmla="*/ 6137 w 88977"/>
                  <a:gd name="connsiteY3" fmla="*/ 12273 h 24546"/>
                  <a:gd name="connsiteX4" fmla="*/ 82841 w 88977"/>
                  <a:gd name="connsiteY4" fmla="*/ 0 h 24546"/>
                  <a:gd name="connsiteX5" fmla="*/ 88978 w 88977"/>
                  <a:gd name="connsiteY5" fmla="*/ 3068 h 24546"/>
                  <a:gd name="connsiteX6" fmla="*/ 85909 w 88977"/>
                  <a:gd name="connsiteY6" fmla="*/ 9205 h 24546"/>
                  <a:gd name="connsiteX7" fmla="*/ 12273 w 88977"/>
                  <a:gd name="connsiteY7" fmla="*/ 24546 h 24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977" h="24546">
                    <a:moveTo>
                      <a:pt x="12273" y="24546"/>
                    </a:moveTo>
                    <a:cubicBezTo>
                      <a:pt x="9205" y="24546"/>
                      <a:pt x="6137" y="24546"/>
                      <a:pt x="6137" y="24546"/>
                    </a:cubicBezTo>
                    <a:cubicBezTo>
                      <a:pt x="3068" y="24546"/>
                      <a:pt x="0" y="21478"/>
                      <a:pt x="0" y="18409"/>
                    </a:cubicBezTo>
                    <a:cubicBezTo>
                      <a:pt x="0" y="15341"/>
                      <a:pt x="3068" y="12273"/>
                      <a:pt x="6137" y="12273"/>
                    </a:cubicBezTo>
                    <a:cubicBezTo>
                      <a:pt x="21478" y="15341"/>
                      <a:pt x="67500" y="3068"/>
                      <a:pt x="82841" y="0"/>
                    </a:cubicBezTo>
                    <a:cubicBezTo>
                      <a:pt x="85909" y="0"/>
                      <a:pt x="88978" y="0"/>
                      <a:pt x="88978" y="3068"/>
                    </a:cubicBezTo>
                    <a:cubicBezTo>
                      <a:pt x="88978" y="6137"/>
                      <a:pt x="88978" y="9205"/>
                      <a:pt x="85909" y="9205"/>
                    </a:cubicBezTo>
                    <a:cubicBezTo>
                      <a:pt x="85909" y="12273"/>
                      <a:pt x="36819" y="24546"/>
                      <a:pt x="12273" y="2454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3D119739-51E5-46B8-99FC-EAA81047CF2B}"/>
                </a:ext>
              </a:extLst>
            </p:cNvPr>
            <p:cNvSpPr/>
            <p:nvPr/>
          </p:nvSpPr>
          <p:spPr>
            <a:xfrm>
              <a:off x="9185783" y="8720077"/>
              <a:ext cx="685481" cy="1256272"/>
            </a:xfrm>
            <a:custGeom>
              <a:avLst/>
              <a:gdLst>
                <a:gd name="connsiteX0" fmla="*/ 112384 w 685481"/>
                <a:gd name="connsiteY0" fmla="*/ 377749 h 1256272"/>
                <a:gd name="connsiteX1" fmla="*/ 345566 w 685481"/>
                <a:gd name="connsiteY1" fmla="*/ 650818 h 1256272"/>
                <a:gd name="connsiteX2" fmla="*/ 492839 w 685481"/>
                <a:gd name="connsiteY2" fmla="*/ 1239909 h 1256272"/>
                <a:gd name="connsiteX3" fmla="*/ 683066 w 685481"/>
                <a:gd name="connsiteY3" fmla="*/ 1230704 h 1256272"/>
                <a:gd name="connsiteX4" fmla="*/ 606361 w 685481"/>
                <a:gd name="connsiteY4" fmla="*/ 543431 h 1256272"/>
                <a:gd name="connsiteX5" fmla="*/ 287270 w 685481"/>
                <a:gd name="connsiteY5" fmla="*/ 89340 h 1256272"/>
                <a:gd name="connsiteX6" fmla="*/ 26475 w 685481"/>
                <a:gd name="connsiteY6" fmla="*/ 15704 h 1256272"/>
                <a:gd name="connsiteX7" fmla="*/ 112384 w 685481"/>
                <a:gd name="connsiteY7" fmla="*/ 377749 h 1256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5481" h="1256272">
                  <a:moveTo>
                    <a:pt x="112384" y="377749"/>
                  </a:moveTo>
                  <a:cubicBezTo>
                    <a:pt x="170680" y="445250"/>
                    <a:pt x="299543" y="571045"/>
                    <a:pt x="345566" y="650818"/>
                  </a:cubicBezTo>
                  <a:cubicBezTo>
                    <a:pt x="413066" y="764340"/>
                    <a:pt x="486702" y="1236840"/>
                    <a:pt x="492839" y="1239909"/>
                  </a:cubicBezTo>
                  <a:cubicBezTo>
                    <a:pt x="557270" y="1264454"/>
                    <a:pt x="618634" y="1261386"/>
                    <a:pt x="683066" y="1230704"/>
                  </a:cubicBezTo>
                  <a:cubicBezTo>
                    <a:pt x="692271" y="1227636"/>
                    <a:pt x="676930" y="755136"/>
                    <a:pt x="606361" y="543431"/>
                  </a:cubicBezTo>
                  <a:cubicBezTo>
                    <a:pt x="584884" y="478999"/>
                    <a:pt x="422270" y="202863"/>
                    <a:pt x="287270" y="89340"/>
                  </a:cubicBezTo>
                  <a:cubicBezTo>
                    <a:pt x="219770" y="34113"/>
                    <a:pt x="72497" y="-30319"/>
                    <a:pt x="26475" y="15704"/>
                  </a:cubicBezTo>
                  <a:cubicBezTo>
                    <a:pt x="-41025" y="98545"/>
                    <a:pt x="32611" y="285704"/>
                    <a:pt x="112384" y="377749"/>
                  </a:cubicBezTo>
                  <a:close/>
                </a:path>
              </a:pathLst>
            </a:custGeom>
            <a:solidFill>
              <a:srgbClr val="F1DDB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F6CC0C46-08CC-45B8-8D2B-5B49D62C2A69}"/>
                </a:ext>
              </a:extLst>
            </p:cNvPr>
            <p:cNvSpPr/>
            <p:nvPr/>
          </p:nvSpPr>
          <p:spPr>
            <a:xfrm>
              <a:off x="9185144" y="8733480"/>
              <a:ext cx="225778" cy="487073"/>
            </a:xfrm>
            <a:custGeom>
              <a:avLst/>
              <a:gdLst>
                <a:gd name="connsiteX0" fmla="*/ 217342 w 225778"/>
                <a:gd name="connsiteY0" fmla="*/ 484006 h 487073"/>
                <a:gd name="connsiteX1" fmla="*/ 214273 w 225778"/>
                <a:gd name="connsiteY1" fmla="*/ 484006 h 487073"/>
                <a:gd name="connsiteX2" fmla="*/ 30182 w 225778"/>
                <a:gd name="connsiteY2" fmla="*/ 238551 h 487073"/>
                <a:gd name="connsiteX3" fmla="*/ 27114 w 225778"/>
                <a:gd name="connsiteY3" fmla="*/ 2301 h 487073"/>
                <a:gd name="connsiteX4" fmla="*/ 36319 w 225778"/>
                <a:gd name="connsiteY4" fmla="*/ 2301 h 487073"/>
                <a:gd name="connsiteX5" fmla="*/ 36319 w 225778"/>
                <a:gd name="connsiteY5" fmla="*/ 11505 h 487073"/>
                <a:gd name="connsiteX6" fmla="*/ 42455 w 225778"/>
                <a:gd name="connsiteY6" fmla="*/ 235483 h 487073"/>
                <a:gd name="connsiteX7" fmla="*/ 223478 w 225778"/>
                <a:gd name="connsiteY7" fmla="*/ 477869 h 487073"/>
                <a:gd name="connsiteX8" fmla="*/ 223478 w 225778"/>
                <a:gd name="connsiteY8" fmla="*/ 487074 h 487073"/>
                <a:gd name="connsiteX9" fmla="*/ 217342 w 225778"/>
                <a:gd name="connsiteY9" fmla="*/ 484006 h 487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778" h="487073">
                  <a:moveTo>
                    <a:pt x="217342" y="484006"/>
                  </a:moveTo>
                  <a:cubicBezTo>
                    <a:pt x="217342" y="484006"/>
                    <a:pt x="214273" y="484006"/>
                    <a:pt x="214273" y="484006"/>
                  </a:cubicBezTo>
                  <a:cubicBezTo>
                    <a:pt x="214273" y="484006"/>
                    <a:pt x="94614" y="391960"/>
                    <a:pt x="30182" y="238551"/>
                  </a:cubicBezTo>
                  <a:cubicBezTo>
                    <a:pt x="-34250" y="82074"/>
                    <a:pt x="24046" y="5369"/>
                    <a:pt x="27114" y="2301"/>
                  </a:cubicBezTo>
                  <a:cubicBezTo>
                    <a:pt x="30182" y="-767"/>
                    <a:pt x="33251" y="-767"/>
                    <a:pt x="36319" y="2301"/>
                  </a:cubicBezTo>
                  <a:cubicBezTo>
                    <a:pt x="39387" y="5369"/>
                    <a:pt x="39387" y="8438"/>
                    <a:pt x="36319" y="11505"/>
                  </a:cubicBezTo>
                  <a:cubicBezTo>
                    <a:pt x="36319" y="11505"/>
                    <a:pt x="-18909" y="88210"/>
                    <a:pt x="42455" y="235483"/>
                  </a:cubicBezTo>
                  <a:cubicBezTo>
                    <a:pt x="106887" y="385824"/>
                    <a:pt x="223478" y="474801"/>
                    <a:pt x="223478" y="477869"/>
                  </a:cubicBezTo>
                  <a:cubicBezTo>
                    <a:pt x="226546" y="480937"/>
                    <a:pt x="226546" y="484006"/>
                    <a:pt x="223478" y="487074"/>
                  </a:cubicBezTo>
                  <a:cubicBezTo>
                    <a:pt x="223478" y="484006"/>
                    <a:pt x="220409" y="484006"/>
                    <a:pt x="217342" y="484006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9" name="图形 1">
              <a:extLst>
                <a:ext uri="{FF2B5EF4-FFF2-40B4-BE49-F238E27FC236}">
                  <a16:creationId xmlns:a16="http://schemas.microsoft.com/office/drawing/2014/main" id="{C5A4FDA0-7DAA-4C9A-8182-48D16B6CEE94}"/>
                </a:ext>
              </a:extLst>
            </p:cNvPr>
            <p:cNvGrpSpPr/>
            <p:nvPr/>
          </p:nvGrpSpPr>
          <p:grpSpPr>
            <a:xfrm>
              <a:off x="3689531" y="9726707"/>
              <a:ext cx="388435" cy="275425"/>
              <a:chOff x="3689531" y="9726707"/>
              <a:chExt cx="388435" cy="275425"/>
            </a:xfrm>
          </p:grpSpPr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08783BD7-3C3C-48DA-A45A-0CB7CAFACF29}"/>
                  </a:ext>
                </a:extLst>
              </p:cNvPr>
              <p:cNvSpPr/>
              <p:nvPr/>
            </p:nvSpPr>
            <p:spPr>
              <a:xfrm>
                <a:off x="3689531" y="9726707"/>
                <a:ext cx="388435" cy="275425"/>
              </a:xfrm>
              <a:custGeom>
                <a:avLst/>
                <a:gdLst>
                  <a:gd name="connsiteX0" fmla="*/ 30682 w 388435"/>
                  <a:gd name="connsiteY0" fmla="*/ 150438 h 275425"/>
                  <a:gd name="connsiteX1" fmla="*/ 116591 w 388435"/>
                  <a:gd name="connsiteY1" fmla="*/ 196460 h 275425"/>
                  <a:gd name="connsiteX2" fmla="*/ 199432 w 388435"/>
                  <a:gd name="connsiteY2" fmla="*/ 254756 h 275425"/>
                  <a:gd name="connsiteX3" fmla="*/ 251591 w 388435"/>
                  <a:gd name="connsiteY3" fmla="*/ 273165 h 275425"/>
                  <a:gd name="connsiteX4" fmla="*/ 220909 w 388435"/>
                  <a:gd name="connsiteY4" fmla="*/ 214870 h 275425"/>
                  <a:gd name="connsiteX5" fmla="*/ 270000 w 388435"/>
                  <a:gd name="connsiteY5" fmla="*/ 242483 h 275425"/>
                  <a:gd name="connsiteX6" fmla="*/ 346705 w 388435"/>
                  <a:gd name="connsiteY6" fmla="*/ 257824 h 275425"/>
                  <a:gd name="connsiteX7" fmla="*/ 352841 w 388435"/>
                  <a:gd name="connsiteY7" fmla="*/ 242483 h 275425"/>
                  <a:gd name="connsiteX8" fmla="*/ 386591 w 388435"/>
                  <a:gd name="connsiteY8" fmla="*/ 239416 h 275425"/>
                  <a:gd name="connsiteX9" fmla="*/ 355909 w 388435"/>
                  <a:gd name="connsiteY9" fmla="*/ 178052 h 275425"/>
                  <a:gd name="connsiteX10" fmla="*/ 306818 w 388435"/>
                  <a:gd name="connsiteY10" fmla="*/ 138165 h 275425"/>
                  <a:gd name="connsiteX11" fmla="*/ 349773 w 388435"/>
                  <a:gd name="connsiteY11" fmla="*/ 150438 h 275425"/>
                  <a:gd name="connsiteX12" fmla="*/ 371250 w 388435"/>
                  <a:gd name="connsiteY12" fmla="*/ 147370 h 275425"/>
                  <a:gd name="connsiteX13" fmla="*/ 319091 w 388435"/>
                  <a:gd name="connsiteY13" fmla="*/ 89074 h 275425"/>
                  <a:gd name="connsiteX14" fmla="*/ 67500 w 388435"/>
                  <a:gd name="connsiteY14" fmla="*/ 97 h 275425"/>
                  <a:gd name="connsiteX15" fmla="*/ 0 w 388435"/>
                  <a:gd name="connsiteY15" fmla="*/ 110552 h 275425"/>
                  <a:gd name="connsiteX16" fmla="*/ 30682 w 388435"/>
                  <a:gd name="connsiteY16" fmla="*/ 150438 h 275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88435" h="275425">
                    <a:moveTo>
                      <a:pt x="30682" y="150438"/>
                    </a:moveTo>
                    <a:cubicBezTo>
                      <a:pt x="58295" y="165778"/>
                      <a:pt x="88977" y="178052"/>
                      <a:pt x="116591" y="196460"/>
                    </a:cubicBezTo>
                    <a:cubicBezTo>
                      <a:pt x="144204" y="214870"/>
                      <a:pt x="171818" y="236347"/>
                      <a:pt x="199432" y="254756"/>
                    </a:cubicBezTo>
                    <a:cubicBezTo>
                      <a:pt x="208636" y="260892"/>
                      <a:pt x="239318" y="282370"/>
                      <a:pt x="251591" y="273165"/>
                    </a:cubicBezTo>
                    <a:cubicBezTo>
                      <a:pt x="270000" y="263961"/>
                      <a:pt x="245455" y="236347"/>
                      <a:pt x="220909" y="214870"/>
                    </a:cubicBezTo>
                    <a:cubicBezTo>
                      <a:pt x="236250" y="224075"/>
                      <a:pt x="254659" y="233279"/>
                      <a:pt x="270000" y="242483"/>
                    </a:cubicBezTo>
                    <a:cubicBezTo>
                      <a:pt x="288409" y="251688"/>
                      <a:pt x="325227" y="270097"/>
                      <a:pt x="346705" y="257824"/>
                    </a:cubicBezTo>
                    <a:cubicBezTo>
                      <a:pt x="352841" y="254756"/>
                      <a:pt x="355909" y="248620"/>
                      <a:pt x="352841" y="242483"/>
                    </a:cubicBezTo>
                    <a:cubicBezTo>
                      <a:pt x="368182" y="248620"/>
                      <a:pt x="380454" y="248620"/>
                      <a:pt x="386591" y="239416"/>
                    </a:cubicBezTo>
                    <a:cubicBezTo>
                      <a:pt x="395795" y="221006"/>
                      <a:pt x="368182" y="190324"/>
                      <a:pt x="355909" y="178052"/>
                    </a:cubicBezTo>
                    <a:cubicBezTo>
                      <a:pt x="340568" y="162711"/>
                      <a:pt x="325227" y="150438"/>
                      <a:pt x="306818" y="138165"/>
                    </a:cubicBezTo>
                    <a:cubicBezTo>
                      <a:pt x="322159" y="144302"/>
                      <a:pt x="337500" y="147370"/>
                      <a:pt x="349773" y="150438"/>
                    </a:cubicBezTo>
                    <a:cubicBezTo>
                      <a:pt x="358977" y="150438"/>
                      <a:pt x="365114" y="153506"/>
                      <a:pt x="371250" y="147370"/>
                    </a:cubicBezTo>
                    <a:cubicBezTo>
                      <a:pt x="389659" y="122824"/>
                      <a:pt x="331364" y="95211"/>
                      <a:pt x="319091" y="89074"/>
                    </a:cubicBezTo>
                    <a:cubicBezTo>
                      <a:pt x="239318" y="46120"/>
                      <a:pt x="153409" y="27710"/>
                      <a:pt x="67500" y="97"/>
                    </a:cubicBezTo>
                    <a:cubicBezTo>
                      <a:pt x="67500" y="-2972"/>
                      <a:pt x="3068" y="67597"/>
                      <a:pt x="0" y="110552"/>
                    </a:cubicBezTo>
                    <a:cubicBezTo>
                      <a:pt x="3068" y="132029"/>
                      <a:pt x="9205" y="138165"/>
                      <a:pt x="30682" y="150438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B9B093B6-0752-457C-BF01-8E62C7060394}"/>
                  </a:ext>
                </a:extLst>
              </p:cNvPr>
              <p:cNvSpPr/>
              <p:nvPr/>
            </p:nvSpPr>
            <p:spPr>
              <a:xfrm>
                <a:off x="3909169" y="9771556"/>
                <a:ext cx="163884" cy="111725"/>
              </a:xfrm>
              <a:custGeom>
                <a:avLst/>
                <a:gdLst>
                  <a:gd name="connsiteX0" fmla="*/ 136271 w 163884"/>
                  <a:gd name="connsiteY0" fmla="*/ 111726 h 111725"/>
                  <a:gd name="connsiteX1" fmla="*/ 87180 w 163884"/>
                  <a:gd name="connsiteY1" fmla="*/ 96385 h 111725"/>
                  <a:gd name="connsiteX2" fmla="*/ 13544 w 163884"/>
                  <a:gd name="connsiteY2" fmla="*/ 62635 h 111725"/>
                  <a:gd name="connsiteX3" fmla="*/ 7407 w 163884"/>
                  <a:gd name="connsiteY3" fmla="*/ 56499 h 111725"/>
                  <a:gd name="connsiteX4" fmla="*/ 13544 w 163884"/>
                  <a:gd name="connsiteY4" fmla="*/ 50362 h 111725"/>
                  <a:gd name="connsiteX5" fmla="*/ 13544 w 163884"/>
                  <a:gd name="connsiteY5" fmla="*/ 50362 h 111725"/>
                  <a:gd name="connsiteX6" fmla="*/ 93316 w 163884"/>
                  <a:gd name="connsiteY6" fmla="*/ 87181 h 111725"/>
                  <a:gd name="connsiteX7" fmla="*/ 151612 w 163884"/>
                  <a:gd name="connsiteY7" fmla="*/ 96385 h 111725"/>
                  <a:gd name="connsiteX8" fmla="*/ 151612 w 163884"/>
                  <a:gd name="connsiteY8" fmla="*/ 93316 h 111725"/>
                  <a:gd name="connsiteX9" fmla="*/ 4339 w 163884"/>
                  <a:gd name="connsiteY9" fmla="*/ 10476 h 111725"/>
                  <a:gd name="connsiteX10" fmla="*/ 1271 w 163884"/>
                  <a:gd name="connsiteY10" fmla="*/ 4339 h 111725"/>
                  <a:gd name="connsiteX11" fmla="*/ 7407 w 163884"/>
                  <a:gd name="connsiteY11" fmla="*/ 1271 h 111725"/>
                  <a:gd name="connsiteX12" fmla="*/ 163885 w 163884"/>
                  <a:gd name="connsiteY12" fmla="*/ 93316 h 111725"/>
                  <a:gd name="connsiteX13" fmla="*/ 157748 w 163884"/>
                  <a:gd name="connsiteY13" fmla="*/ 108657 h 111725"/>
                  <a:gd name="connsiteX14" fmla="*/ 136271 w 163884"/>
                  <a:gd name="connsiteY14" fmla="*/ 111726 h 111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63884" h="111725">
                    <a:moveTo>
                      <a:pt x="136271" y="111726"/>
                    </a:moveTo>
                    <a:cubicBezTo>
                      <a:pt x="114794" y="111726"/>
                      <a:pt x="90248" y="99453"/>
                      <a:pt x="87180" y="96385"/>
                    </a:cubicBezTo>
                    <a:cubicBezTo>
                      <a:pt x="56498" y="77976"/>
                      <a:pt x="19680" y="59566"/>
                      <a:pt x="13544" y="62635"/>
                    </a:cubicBezTo>
                    <a:cubicBezTo>
                      <a:pt x="10475" y="62635"/>
                      <a:pt x="7407" y="59566"/>
                      <a:pt x="7407" y="56499"/>
                    </a:cubicBezTo>
                    <a:cubicBezTo>
                      <a:pt x="7407" y="53430"/>
                      <a:pt x="10475" y="50362"/>
                      <a:pt x="13544" y="50362"/>
                    </a:cubicBezTo>
                    <a:cubicBezTo>
                      <a:pt x="13544" y="50362"/>
                      <a:pt x="13544" y="50362"/>
                      <a:pt x="13544" y="50362"/>
                    </a:cubicBezTo>
                    <a:cubicBezTo>
                      <a:pt x="28885" y="50362"/>
                      <a:pt x="77975" y="77976"/>
                      <a:pt x="93316" y="87181"/>
                    </a:cubicBezTo>
                    <a:cubicBezTo>
                      <a:pt x="105589" y="93316"/>
                      <a:pt x="139339" y="105589"/>
                      <a:pt x="151612" y="96385"/>
                    </a:cubicBezTo>
                    <a:cubicBezTo>
                      <a:pt x="151612" y="96385"/>
                      <a:pt x="154680" y="93316"/>
                      <a:pt x="151612" y="93316"/>
                    </a:cubicBezTo>
                    <a:cubicBezTo>
                      <a:pt x="148544" y="77976"/>
                      <a:pt x="99453" y="41158"/>
                      <a:pt x="4339" y="10476"/>
                    </a:cubicBezTo>
                    <a:cubicBezTo>
                      <a:pt x="1271" y="10476"/>
                      <a:pt x="-1797" y="7408"/>
                      <a:pt x="1271" y="4339"/>
                    </a:cubicBezTo>
                    <a:cubicBezTo>
                      <a:pt x="1271" y="1271"/>
                      <a:pt x="4339" y="-1797"/>
                      <a:pt x="7407" y="1271"/>
                    </a:cubicBezTo>
                    <a:cubicBezTo>
                      <a:pt x="93316" y="28884"/>
                      <a:pt x="157748" y="65703"/>
                      <a:pt x="163885" y="93316"/>
                    </a:cubicBezTo>
                    <a:cubicBezTo>
                      <a:pt x="163885" y="99453"/>
                      <a:pt x="163885" y="105589"/>
                      <a:pt x="157748" y="108657"/>
                    </a:cubicBezTo>
                    <a:cubicBezTo>
                      <a:pt x="154680" y="108657"/>
                      <a:pt x="145475" y="111726"/>
                      <a:pt x="136271" y="11172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2057573B-675E-4571-9AFF-6F83930EF110}"/>
                  </a:ext>
                </a:extLst>
              </p:cNvPr>
              <p:cNvSpPr/>
              <p:nvPr/>
            </p:nvSpPr>
            <p:spPr>
              <a:xfrm>
                <a:off x="3906101" y="9869738"/>
                <a:ext cx="144708" cy="108657"/>
              </a:xfrm>
              <a:custGeom>
                <a:avLst/>
                <a:gdLst>
                  <a:gd name="connsiteX0" fmla="*/ 139339 w 144708"/>
                  <a:gd name="connsiteY0" fmla="*/ 105589 h 108657"/>
                  <a:gd name="connsiteX1" fmla="*/ 136271 w 144708"/>
                  <a:gd name="connsiteY1" fmla="*/ 105589 h 108657"/>
                  <a:gd name="connsiteX2" fmla="*/ 4339 w 144708"/>
                  <a:gd name="connsiteY2" fmla="*/ 10475 h 108657"/>
                  <a:gd name="connsiteX3" fmla="*/ 1271 w 144708"/>
                  <a:gd name="connsiteY3" fmla="*/ 4339 h 108657"/>
                  <a:gd name="connsiteX4" fmla="*/ 7407 w 144708"/>
                  <a:gd name="connsiteY4" fmla="*/ 1271 h 108657"/>
                  <a:gd name="connsiteX5" fmla="*/ 142407 w 144708"/>
                  <a:gd name="connsiteY5" fmla="*/ 99452 h 108657"/>
                  <a:gd name="connsiteX6" fmla="*/ 142407 w 144708"/>
                  <a:gd name="connsiteY6" fmla="*/ 108657 h 108657"/>
                  <a:gd name="connsiteX7" fmla="*/ 139339 w 144708"/>
                  <a:gd name="connsiteY7" fmla="*/ 105589 h 108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708" h="108657">
                    <a:moveTo>
                      <a:pt x="139339" y="105589"/>
                    </a:moveTo>
                    <a:cubicBezTo>
                      <a:pt x="139339" y="105589"/>
                      <a:pt x="136271" y="105589"/>
                      <a:pt x="136271" y="105589"/>
                    </a:cubicBezTo>
                    <a:cubicBezTo>
                      <a:pt x="136271" y="105589"/>
                      <a:pt x="38089" y="19680"/>
                      <a:pt x="4339" y="10475"/>
                    </a:cubicBezTo>
                    <a:cubicBezTo>
                      <a:pt x="1271" y="10475"/>
                      <a:pt x="-1797" y="7407"/>
                      <a:pt x="1271" y="4339"/>
                    </a:cubicBezTo>
                    <a:cubicBezTo>
                      <a:pt x="1271" y="1271"/>
                      <a:pt x="4339" y="-1797"/>
                      <a:pt x="7407" y="1271"/>
                    </a:cubicBezTo>
                    <a:cubicBezTo>
                      <a:pt x="44225" y="10475"/>
                      <a:pt x="139339" y="96385"/>
                      <a:pt x="142407" y="99452"/>
                    </a:cubicBezTo>
                    <a:cubicBezTo>
                      <a:pt x="145475" y="102521"/>
                      <a:pt x="145475" y="105589"/>
                      <a:pt x="142407" y="108657"/>
                    </a:cubicBezTo>
                    <a:cubicBezTo>
                      <a:pt x="142407" y="102521"/>
                      <a:pt x="139339" y="105589"/>
                      <a:pt x="139339" y="10558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D6539828-EB2C-4CF1-97B9-60AF98962E0E}"/>
                  </a:ext>
                </a:extLst>
              </p:cNvPr>
              <p:cNvSpPr/>
              <p:nvPr/>
            </p:nvSpPr>
            <p:spPr>
              <a:xfrm>
                <a:off x="3858281" y="9907826"/>
                <a:ext cx="61363" cy="39886"/>
              </a:xfrm>
              <a:custGeom>
                <a:avLst/>
                <a:gdLst>
                  <a:gd name="connsiteX0" fmla="*/ 55227 w 61363"/>
                  <a:gd name="connsiteY0" fmla="*/ 39887 h 39886"/>
                  <a:gd name="connsiteX1" fmla="*/ 55227 w 61363"/>
                  <a:gd name="connsiteY1" fmla="*/ 39887 h 39886"/>
                  <a:gd name="connsiteX2" fmla="*/ 3068 w 61363"/>
                  <a:gd name="connsiteY2" fmla="*/ 12273 h 39886"/>
                  <a:gd name="connsiteX3" fmla="*/ 0 w 61363"/>
                  <a:gd name="connsiteY3" fmla="*/ 3068 h 39886"/>
                  <a:gd name="connsiteX4" fmla="*/ 9205 w 61363"/>
                  <a:gd name="connsiteY4" fmla="*/ 0 h 39886"/>
                  <a:gd name="connsiteX5" fmla="*/ 58295 w 61363"/>
                  <a:gd name="connsiteY5" fmla="*/ 24546 h 39886"/>
                  <a:gd name="connsiteX6" fmla="*/ 61364 w 61363"/>
                  <a:gd name="connsiteY6" fmla="*/ 33750 h 39886"/>
                  <a:gd name="connsiteX7" fmla="*/ 55227 w 61363"/>
                  <a:gd name="connsiteY7" fmla="*/ 39887 h 3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1363" h="39886">
                    <a:moveTo>
                      <a:pt x="55227" y="39887"/>
                    </a:moveTo>
                    <a:cubicBezTo>
                      <a:pt x="52159" y="39887"/>
                      <a:pt x="52159" y="39887"/>
                      <a:pt x="55227" y="39887"/>
                    </a:cubicBezTo>
                    <a:lnTo>
                      <a:pt x="3068" y="12273"/>
                    </a:lnTo>
                    <a:cubicBezTo>
                      <a:pt x="0" y="12273"/>
                      <a:pt x="0" y="6137"/>
                      <a:pt x="0" y="3068"/>
                    </a:cubicBezTo>
                    <a:cubicBezTo>
                      <a:pt x="0" y="0"/>
                      <a:pt x="6136" y="0"/>
                      <a:pt x="9205" y="0"/>
                    </a:cubicBezTo>
                    <a:lnTo>
                      <a:pt x="58295" y="24546"/>
                    </a:lnTo>
                    <a:cubicBezTo>
                      <a:pt x="61364" y="24546"/>
                      <a:pt x="61364" y="30682"/>
                      <a:pt x="61364" y="33750"/>
                    </a:cubicBezTo>
                    <a:cubicBezTo>
                      <a:pt x="58295" y="36819"/>
                      <a:pt x="55227" y="39887"/>
                      <a:pt x="55227" y="3988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B91271E1-279B-4654-82B3-5537BE5AC4D2}"/>
                  </a:ext>
                </a:extLst>
              </p:cNvPr>
              <p:cNvSpPr/>
              <p:nvPr/>
            </p:nvSpPr>
            <p:spPr>
              <a:xfrm>
                <a:off x="3816093" y="9794304"/>
                <a:ext cx="57528" cy="104317"/>
              </a:xfrm>
              <a:custGeom>
                <a:avLst/>
                <a:gdLst>
                  <a:gd name="connsiteX0" fmla="*/ 5369 w 57528"/>
                  <a:gd name="connsiteY0" fmla="*/ 104318 h 104317"/>
                  <a:gd name="connsiteX1" fmla="*/ 2301 w 57528"/>
                  <a:gd name="connsiteY1" fmla="*/ 101250 h 104317"/>
                  <a:gd name="connsiteX2" fmla="*/ 2301 w 57528"/>
                  <a:gd name="connsiteY2" fmla="*/ 92045 h 104317"/>
                  <a:gd name="connsiteX3" fmla="*/ 45256 w 57528"/>
                  <a:gd name="connsiteY3" fmla="*/ 6136 h 104317"/>
                  <a:gd name="connsiteX4" fmla="*/ 51392 w 57528"/>
                  <a:gd name="connsiteY4" fmla="*/ 0 h 104317"/>
                  <a:gd name="connsiteX5" fmla="*/ 51392 w 57528"/>
                  <a:gd name="connsiteY5" fmla="*/ 0 h 104317"/>
                  <a:gd name="connsiteX6" fmla="*/ 57528 w 57528"/>
                  <a:gd name="connsiteY6" fmla="*/ 6136 h 104317"/>
                  <a:gd name="connsiteX7" fmla="*/ 11506 w 57528"/>
                  <a:gd name="connsiteY7" fmla="*/ 101250 h 104317"/>
                  <a:gd name="connsiteX8" fmla="*/ 5369 w 57528"/>
                  <a:gd name="connsiteY8" fmla="*/ 104318 h 104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528" h="104317">
                    <a:moveTo>
                      <a:pt x="5369" y="104318"/>
                    </a:moveTo>
                    <a:cubicBezTo>
                      <a:pt x="2301" y="104318"/>
                      <a:pt x="2301" y="104318"/>
                      <a:pt x="2301" y="101250"/>
                    </a:cubicBezTo>
                    <a:cubicBezTo>
                      <a:pt x="-767" y="98181"/>
                      <a:pt x="-767" y="95114"/>
                      <a:pt x="2301" y="92045"/>
                    </a:cubicBezTo>
                    <a:cubicBezTo>
                      <a:pt x="42188" y="58295"/>
                      <a:pt x="45256" y="6136"/>
                      <a:pt x="45256" y="6136"/>
                    </a:cubicBezTo>
                    <a:cubicBezTo>
                      <a:pt x="45256" y="3068"/>
                      <a:pt x="48324" y="0"/>
                      <a:pt x="51392" y="0"/>
                    </a:cubicBezTo>
                    <a:cubicBezTo>
                      <a:pt x="51392" y="0"/>
                      <a:pt x="51392" y="0"/>
                      <a:pt x="51392" y="0"/>
                    </a:cubicBezTo>
                    <a:cubicBezTo>
                      <a:pt x="54460" y="0"/>
                      <a:pt x="57528" y="3068"/>
                      <a:pt x="57528" y="6136"/>
                    </a:cubicBezTo>
                    <a:cubicBezTo>
                      <a:pt x="57528" y="9204"/>
                      <a:pt x="57528" y="64432"/>
                      <a:pt x="11506" y="101250"/>
                    </a:cubicBezTo>
                    <a:cubicBezTo>
                      <a:pt x="8437" y="104318"/>
                      <a:pt x="8437" y="104318"/>
                      <a:pt x="5369" y="10431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D053D498-DF0D-48EF-AF23-7452FF3AD410}"/>
                </a:ext>
              </a:extLst>
            </p:cNvPr>
            <p:cNvSpPr/>
            <p:nvPr/>
          </p:nvSpPr>
          <p:spPr>
            <a:xfrm>
              <a:off x="2782398" y="8463759"/>
              <a:ext cx="1008383" cy="1413385"/>
            </a:xfrm>
            <a:custGeom>
              <a:avLst/>
              <a:gdLst>
                <a:gd name="connsiteX0" fmla="*/ 100202 w 1008383"/>
                <a:gd name="connsiteY0" fmla="*/ 5091 h 1413385"/>
                <a:gd name="connsiteX1" fmla="*/ 462247 w 1008383"/>
                <a:gd name="connsiteY1" fmla="*/ 397818 h 1413385"/>
                <a:gd name="connsiteX2" fmla="*/ 591111 w 1008383"/>
                <a:gd name="connsiteY2" fmla="*/ 854977 h 1413385"/>
                <a:gd name="connsiteX3" fmla="*/ 1008383 w 1008383"/>
                <a:gd name="connsiteY3" fmla="*/ 1263045 h 1413385"/>
                <a:gd name="connsiteX4" fmla="*/ 925542 w 1008383"/>
                <a:gd name="connsiteY4" fmla="*/ 1413386 h 1413385"/>
                <a:gd name="connsiteX5" fmla="*/ 342588 w 1008383"/>
                <a:gd name="connsiteY5" fmla="*/ 1023727 h 1413385"/>
                <a:gd name="connsiteX6" fmla="*/ 100202 w 1008383"/>
                <a:gd name="connsiteY6" fmla="*/ 5091 h 1413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8383" h="1413385">
                  <a:moveTo>
                    <a:pt x="100202" y="5091"/>
                  </a:moveTo>
                  <a:cubicBezTo>
                    <a:pt x="229065" y="-44000"/>
                    <a:pt x="419292" y="275091"/>
                    <a:pt x="462247" y="397818"/>
                  </a:cubicBezTo>
                  <a:cubicBezTo>
                    <a:pt x="502133" y="520545"/>
                    <a:pt x="591111" y="854977"/>
                    <a:pt x="591111" y="854977"/>
                  </a:cubicBezTo>
                  <a:lnTo>
                    <a:pt x="1008383" y="1263045"/>
                  </a:lnTo>
                  <a:lnTo>
                    <a:pt x="925542" y="1413386"/>
                  </a:lnTo>
                  <a:cubicBezTo>
                    <a:pt x="925542" y="1413386"/>
                    <a:pt x="434633" y="1115773"/>
                    <a:pt x="342588" y="1023727"/>
                  </a:cubicBezTo>
                  <a:cubicBezTo>
                    <a:pt x="216792" y="901000"/>
                    <a:pt x="-185139" y="112477"/>
                    <a:pt x="100202" y="5091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CFE8DDA2-5DD2-4143-9600-CAD71FBA13EB}"/>
                </a:ext>
              </a:extLst>
            </p:cNvPr>
            <p:cNvSpPr/>
            <p:nvPr/>
          </p:nvSpPr>
          <p:spPr>
            <a:xfrm>
              <a:off x="2818167" y="8466548"/>
              <a:ext cx="432613" cy="401164"/>
            </a:xfrm>
            <a:custGeom>
              <a:avLst/>
              <a:gdLst>
                <a:gd name="connsiteX0" fmla="*/ 426477 w 432613"/>
                <a:gd name="connsiteY0" fmla="*/ 401165 h 401164"/>
                <a:gd name="connsiteX1" fmla="*/ 420341 w 432613"/>
                <a:gd name="connsiteY1" fmla="*/ 398097 h 401164"/>
                <a:gd name="connsiteX2" fmla="*/ 211705 w 432613"/>
                <a:gd name="connsiteY2" fmla="*/ 63665 h 401164"/>
                <a:gd name="connsiteX3" fmla="*/ 70568 w 432613"/>
                <a:gd name="connsiteY3" fmla="*/ 11506 h 401164"/>
                <a:gd name="connsiteX4" fmla="*/ 9205 w 432613"/>
                <a:gd name="connsiteY4" fmla="*/ 57528 h 401164"/>
                <a:gd name="connsiteX5" fmla="*/ 3068 w 432613"/>
                <a:gd name="connsiteY5" fmla="*/ 60597 h 401164"/>
                <a:gd name="connsiteX6" fmla="*/ 0 w 432613"/>
                <a:gd name="connsiteY6" fmla="*/ 54460 h 401164"/>
                <a:gd name="connsiteX7" fmla="*/ 70568 w 432613"/>
                <a:gd name="connsiteY7" fmla="*/ 2301 h 401164"/>
                <a:gd name="connsiteX8" fmla="*/ 220909 w 432613"/>
                <a:gd name="connsiteY8" fmla="*/ 57528 h 401164"/>
                <a:gd name="connsiteX9" fmla="*/ 432614 w 432613"/>
                <a:gd name="connsiteY9" fmla="*/ 398097 h 401164"/>
                <a:gd name="connsiteX10" fmla="*/ 426477 w 432613"/>
                <a:gd name="connsiteY10" fmla="*/ 401165 h 401164"/>
                <a:gd name="connsiteX11" fmla="*/ 426477 w 432613"/>
                <a:gd name="connsiteY11" fmla="*/ 401165 h 40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2613" h="401164">
                  <a:moveTo>
                    <a:pt x="426477" y="401165"/>
                  </a:moveTo>
                  <a:cubicBezTo>
                    <a:pt x="423409" y="401165"/>
                    <a:pt x="420341" y="398097"/>
                    <a:pt x="420341" y="398097"/>
                  </a:cubicBezTo>
                  <a:cubicBezTo>
                    <a:pt x="420341" y="395028"/>
                    <a:pt x="352841" y="177188"/>
                    <a:pt x="211705" y="63665"/>
                  </a:cubicBezTo>
                  <a:cubicBezTo>
                    <a:pt x="156477" y="20710"/>
                    <a:pt x="110455" y="2301"/>
                    <a:pt x="70568" y="11506"/>
                  </a:cubicBezTo>
                  <a:cubicBezTo>
                    <a:pt x="27614" y="20710"/>
                    <a:pt x="9205" y="57528"/>
                    <a:pt x="9205" y="57528"/>
                  </a:cubicBezTo>
                  <a:cubicBezTo>
                    <a:pt x="9205" y="60597"/>
                    <a:pt x="3068" y="60597"/>
                    <a:pt x="3068" y="60597"/>
                  </a:cubicBezTo>
                  <a:cubicBezTo>
                    <a:pt x="0" y="60597"/>
                    <a:pt x="0" y="54460"/>
                    <a:pt x="0" y="54460"/>
                  </a:cubicBezTo>
                  <a:cubicBezTo>
                    <a:pt x="0" y="51392"/>
                    <a:pt x="21477" y="11506"/>
                    <a:pt x="70568" y="2301"/>
                  </a:cubicBezTo>
                  <a:cubicBezTo>
                    <a:pt x="113523" y="-6903"/>
                    <a:pt x="165682" y="11506"/>
                    <a:pt x="220909" y="57528"/>
                  </a:cubicBezTo>
                  <a:cubicBezTo>
                    <a:pt x="365114" y="174119"/>
                    <a:pt x="432614" y="398097"/>
                    <a:pt x="432614" y="398097"/>
                  </a:cubicBezTo>
                  <a:cubicBezTo>
                    <a:pt x="432614" y="395028"/>
                    <a:pt x="429545" y="398097"/>
                    <a:pt x="426477" y="401165"/>
                  </a:cubicBezTo>
                  <a:cubicBezTo>
                    <a:pt x="426477" y="401165"/>
                    <a:pt x="426477" y="401165"/>
                    <a:pt x="426477" y="401165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EEC9DF9D-CE28-474E-AEE2-66444738AE2B}"/>
                </a:ext>
              </a:extLst>
            </p:cNvPr>
            <p:cNvSpPr/>
            <p:nvPr/>
          </p:nvSpPr>
          <p:spPr>
            <a:xfrm>
              <a:off x="3260753" y="9309531"/>
              <a:ext cx="118892" cy="79772"/>
            </a:xfrm>
            <a:custGeom>
              <a:avLst/>
              <a:gdLst>
                <a:gd name="connsiteX0" fmla="*/ 75938 w 118892"/>
                <a:gd name="connsiteY0" fmla="*/ 79772 h 79772"/>
                <a:gd name="connsiteX1" fmla="*/ 75938 w 118892"/>
                <a:gd name="connsiteY1" fmla="*/ 79772 h 79772"/>
                <a:gd name="connsiteX2" fmla="*/ 69801 w 118892"/>
                <a:gd name="connsiteY2" fmla="*/ 73636 h 79772"/>
                <a:gd name="connsiteX3" fmla="*/ 97415 w 118892"/>
                <a:gd name="connsiteY3" fmla="*/ 21477 h 79772"/>
                <a:gd name="connsiteX4" fmla="*/ 11506 w 118892"/>
                <a:gd name="connsiteY4" fmla="*/ 67500 h 79772"/>
                <a:gd name="connsiteX5" fmla="*/ 2301 w 118892"/>
                <a:gd name="connsiteY5" fmla="*/ 67500 h 79772"/>
                <a:gd name="connsiteX6" fmla="*/ 2301 w 118892"/>
                <a:gd name="connsiteY6" fmla="*/ 58295 h 79772"/>
                <a:gd name="connsiteX7" fmla="*/ 112756 w 118892"/>
                <a:gd name="connsiteY7" fmla="*/ 0 h 79772"/>
                <a:gd name="connsiteX8" fmla="*/ 118892 w 118892"/>
                <a:gd name="connsiteY8" fmla="*/ 3068 h 79772"/>
                <a:gd name="connsiteX9" fmla="*/ 118892 w 118892"/>
                <a:gd name="connsiteY9" fmla="*/ 9205 h 79772"/>
                <a:gd name="connsiteX10" fmla="*/ 82074 w 118892"/>
                <a:gd name="connsiteY10" fmla="*/ 73636 h 79772"/>
                <a:gd name="connsiteX11" fmla="*/ 75938 w 118892"/>
                <a:gd name="connsiteY11" fmla="*/ 79772 h 79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892" h="79772">
                  <a:moveTo>
                    <a:pt x="75938" y="79772"/>
                  </a:moveTo>
                  <a:cubicBezTo>
                    <a:pt x="75938" y="79772"/>
                    <a:pt x="75938" y="79772"/>
                    <a:pt x="75938" y="79772"/>
                  </a:cubicBezTo>
                  <a:cubicBezTo>
                    <a:pt x="72869" y="79772"/>
                    <a:pt x="69801" y="76705"/>
                    <a:pt x="69801" y="73636"/>
                  </a:cubicBezTo>
                  <a:cubicBezTo>
                    <a:pt x="72869" y="55227"/>
                    <a:pt x="85142" y="36818"/>
                    <a:pt x="97415" y="21477"/>
                  </a:cubicBezTo>
                  <a:cubicBezTo>
                    <a:pt x="66733" y="33750"/>
                    <a:pt x="20710" y="55227"/>
                    <a:pt x="11506" y="67500"/>
                  </a:cubicBezTo>
                  <a:cubicBezTo>
                    <a:pt x="8438" y="70568"/>
                    <a:pt x="5369" y="70568"/>
                    <a:pt x="2301" y="67500"/>
                  </a:cubicBezTo>
                  <a:cubicBezTo>
                    <a:pt x="-767" y="64432"/>
                    <a:pt x="-767" y="61364"/>
                    <a:pt x="2301" y="58295"/>
                  </a:cubicBezTo>
                  <a:cubicBezTo>
                    <a:pt x="20710" y="36818"/>
                    <a:pt x="103551" y="3068"/>
                    <a:pt x="112756" y="0"/>
                  </a:cubicBezTo>
                  <a:cubicBezTo>
                    <a:pt x="115824" y="0"/>
                    <a:pt x="118892" y="0"/>
                    <a:pt x="118892" y="3068"/>
                  </a:cubicBezTo>
                  <a:cubicBezTo>
                    <a:pt x="118892" y="6136"/>
                    <a:pt x="118892" y="9205"/>
                    <a:pt x="118892" y="9205"/>
                  </a:cubicBezTo>
                  <a:cubicBezTo>
                    <a:pt x="118892" y="9205"/>
                    <a:pt x="88210" y="49091"/>
                    <a:pt x="82074" y="73636"/>
                  </a:cubicBezTo>
                  <a:cubicBezTo>
                    <a:pt x="82074" y="79772"/>
                    <a:pt x="79006" y="79772"/>
                    <a:pt x="75938" y="79772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34FECEF2-994D-44A5-8574-FEAA78BFCC60}"/>
                </a:ext>
              </a:extLst>
            </p:cNvPr>
            <p:cNvSpPr/>
            <p:nvPr/>
          </p:nvSpPr>
          <p:spPr>
            <a:xfrm>
              <a:off x="4698963" y="9806577"/>
              <a:ext cx="138758" cy="141136"/>
            </a:xfrm>
            <a:custGeom>
              <a:avLst/>
              <a:gdLst>
                <a:gd name="connsiteX0" fmla="*/ 104318 w 138758"/>
                <a:gd name="connsiteY0" fmla="*/ 141137 h 141136"/>
                <a:gd name="connsiteX1" fmla="*/ 101250 w 138758"/>
                <a:gd name="connsiteY1" fmla="*/ 141137 h 141136"/>
                <a:gd name="connsiteX2" fmla="*/ 64432 w 138758"/>
                <a:gd name="connsiteY2" fmla="*/ 95114 h 141136"/>
                <a:gd name="connsiteX3" fmla="*/ 61364 w 138758"/>
                <a:gd name="connsiteY3" fmla="*/ 85909 h 141136"/>
                <a:gd name="connsiteX4" fmla="*/ 6136 w 138758"/>
                <a:gd name="connsiteY4" fmla="*/ 58295 h 141136"/>
                <a:gd name="connsiteX5" fmla="*/ 0 w 138758"/>
                <a:gd name="connsiteY5" fmla="*/ 52159 h 141136"/>
                <a:gd name="connsiteX6" fmla="*/ 6136 w 138758"/>
                <a:gd name="connsiteY6" fmla="*/ 46023 h 141136"/>
                <a:gd name="connsiteX7" fmla="*/ 73636 w 138758"/>
                <a:gd name="connsiteY7" fmla="*/ 79773 h 141136"/>
                <a:gd name="connsiteX8" fmla="*/ 76705 w 138758"/>
                <a:gd name="connsiteY8" fmla="*/ 88977 h 141136"/>
                <a:gd name="connsiteX9" fmla="*/ 104318 w 138758"/>
                <a:gd name="connsiteY9" fmla="*/ 125796 h 141136"/>
                <a:gd name="connsiteX10" fmla="*/ 128864 w 138758"/>
                <a:gd name="connsiteY10" fmla="*/ 116591 h 141136"/>
                <a:gd name="connsiteX11" fmla="*/ 58295 w 138758"/>
                <a:gd name="connsiteY11" fmla="*/ 9204 h 141136"/>
                <a:gd name="connsiteX12" fmla="*/ 55227 w 138758"/>
                <a:gd name="connsiteY12" fmla="*/ 3068 h 141136"/>
                <a:gd name="connsiteX13" fmla="*/ 61364 w 138758"/>
                <a:gd name="connsiteY13" fmla="*/ 0 h 141136"/>
                <a:gd name="connsiteX14" fmla="*/ 138068 w 138758"/>
                <a:gd name="connsiteY14" fmla="*/ 119659 h 141136"/>
                <a:gd name="connsiteX15" fmla="*/ 135000 w 138758"/>
                <a:gd name="connsiteY15" fmla="*/ 122727 h 141136"/>
                <a:gd name="connsiteX16" fmla="*/ 104318 w 138758"/>
                <a:gd name="connsiteY16" fmla="*/ 141137 h 141136"/>
                <a:gd name="connsiteX17" fmla="*/ 131932 w 138758"/>
                <a:gd name="connsiteY17" fmla="*/ 125796 h 141136"/>
                <a:gd name="connsiteX18" fmla="*/ 131932 w 138758"/>
                <a:gd name="connsiteY18" fmla="*/ 125796 h 141136"/>
                <a:gd name="connsiteX19" fmla="*/ 131932 w 138758"/>
                <a:gd name="connsiteY19" fmla="*/ 125796 h 141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8758" h="141136">
                  <a:moveTo>
                    <a:pt x="104318" y="141137"/>
                  </a:moveTo>
                  <a:cubicBezTo>
                    <a:pt x="104318" y="141137"/>
                    <a:pt x="101250" y="141137"/>
                    <a:pt x="101250" y="141137"/>
                  </a:cubicBezTo>
                  <a:cubicBezTo>
                    <a:pt x="82841" y="138068"/>
                    <a:pt x="73636" y="113523"/>
                    <a:pt x="64432" y="95114"/>
                  </a:cubicBezTo>
                  <a:cubicBezTo>
                    <a:pt x="64432" y="92045"/>
                    <a:pt x="61364" y="88977"/>
                    <a:pt x="61364" y="85909"/>
                  </a:cubicBezTo>
                  <a:cubicBezTo>
                    <a:pt x="55227" y="76705"/>
                    <a:pt x="39886" y="52159"/>
                    <a:pt x="6136" y="58295"/>
                  </a:cubicBezTo>
                  <a:cubicBezTo>
                    <a:pt x="3068" y="58295"/>
                    <a:pt x="0" y="55227"/>
                    <a:pt x="0" y="52159"/>
                  </a:cubicBezTo>
                  <a:cubicBezTo>
                    <a:pt x="0" y="49091"/>
                    <a:pt x="3068" y="46023"/>
                    <a:pt x="6136" y="46023"/>
                  </a:cubicBezTo>
                  <a:cubicBezTo>
                    <a:pt x="49091" y="39886"/>
                    <a:pt x="67500" y="70568"/>
                    <a:pt x="73636" y="79773"/>
                  </a:cubicBezTo>
                  <a:cubicBezTo>
                    <a:pt x="73636" y="82841"/>
                    <a:pt x="76705" y="85909"/>
                    <a:pt x="76705" y="88977"/>
                  </a:cubicBezTo>
                  <a:cubicBezTo>
                    <a:pt x="82841" y="101250"/>
                    <a:pt x="92045" y="125796"/>
                    <a:pt x="104318" y="125796"/>
                  </a:cubicBezTo>
                  <a:cubicBezTo>
                    <a:pt x="116591" y="125796"/>
                    <a:pt x="125795" y="119659"/>
                    <a:pt x="128864" y="116591"/>
                  </a:cubicBezTo>
                  <a:cubicBezTo>
                    <a:pt x="135000" y="42954"/>
                    <a:pt x="61364" y="12273"/>
                    <a:pt x="58295" y="9204"/>
                  </a:cubicBezTo>
                  <a:cubicBezTo>
                    <a:pt x="55227" y="9204"/>
                    <a:pt x="55227" y="6137"/>
                    <a:pt x="55227" y="3068"/>
                  </a:cubicBezTo>
                  <a:cubicBezTo>
                    <a:pt x="55227" y="0"/>
                    <a:pt x="58295" y="0"/>
                    <a:pt x="61364" y="0"/>
                  </a:cubicBezTo>
                  <a:cubicBezTo>
                    <a:pt x="61364" y="0"/>
                    <a:pt x="147273" y="36819"/>
                    <a:pt x="138068" y="119659"/>
                  </a:cubicBezTo>
                  <a:cubicBezTo>
                    <a:pt x="138068" y="119659"/>
                    <a:pt x="138068" y="122727"/>
                    <a:pt x="135000" y="122727"/>
                  </a:cubicBezTo>
                  <a:cubicBezTo>
                    <a:pt x="138068" y="128864"/>
                    <a:pt x="122727" y="141137"/>
                    <a:pt x="104318" y="141137"/>
                  </a:cubicBezTo>
                  <a:close/>
                  <a:moveTo>
                    <a:pt x="131932" y="125796"/>
                  </a:moveTo>
                  <a:lnTo>
                    <a:pt x="131932" y="125796"/>
                  </a:lnTo>
                  <a:lnTo>
                    <a:pt x="131932" y="125796"/>
                  </a:ln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A32FC9EB-72CF-4B76-A1FA-5C86CEBDB585}"/>
                </a:ext>
              </a:extLst>
            </p:cNvPr>
            <p:cNvSpPr/>
            <p:nvPr/>
          </p:nvSpPr>
          <p:spPr>
            <a:xfrm>
              <a:off x="4792806" y="9796102"/>
              <a:ext cx="104058" cy="166952"/>
            </a:xfrm>
            <a:custGeom>
              <a:avLst/>
              <a:gdLst>
                <a:gd name="connsiteX0" fmla="*/ 77975 w 104058"/>
                <a:gd name="connsiteY0" fmla="*/ 166953 h 166952"/>
                <a:gd name="connsiteX1" fmla="*/ 77975 w 104058"/>
                <a:gd name="connsiteY1" fmla="*/ 166953 h 166952"/>
                <a:gd name="connsiteX2" fmla="*/ 35021 w 104058"/>
                <a:gd name="connsiteY2" fmla="*/ 139339 h 166952"/>
                <a:gd name="connsiteX3" fmla="*/ 35021 w 104058"/>
                <a:gd name="connsiteY3" fmla="*/ 130134 h 166952"/>
                <a:gd name="connsiteX4" fmla="*/ 44225 w 104058"/>
                <a:gd name="connsiteY4" fmla="*/ 130134 h 166952"/>
                <a:gd name="connsiteX5" fmla="*/ 77975 w 104058"/>
                <a:gd name="connsiteY5" fmla="*/ 154680 h 166952"/>
                <a:gd name="connsiteX6" fmla="*/ 84112 w 104058"/>
                <a:gd name="connsiteY6" fmla="*/ 151612 h 166952"/>
                <a:gd name="connsiteX7" fmla="*/ 77975 w 104058"/>
                <a:gd name="connsiteY7" fmla="*/ 84111 h 166952"/>
                <a:gd name="connsiteX8" fmla="*/ 4339 w 104058"/>
                <a:gd name="connsiteY8" fmla="*/ 10475 h 166952"/>
                <a:gd name="connsiteX9" fmla="*/ 1271 w 104058"/>
                <a:gd name="connsiteY9" fmla="*/ 4338 h 166952"/>
                <a:gd name="connsiteX10" fmla="*/ 7407 w 104058"/>
                <a:gd name="connsiteY10" fmla="*/ 1271 h 166952"/>
                <a:gd name="connsiteX11" fmla="*/ 87180 w 104058"/>
                <a:gd name="connsiteY11" fmla="*/ 81043 h 166952"/>
                <a:gd name="connsiteX12" fmla="*/ 93316 w 104058"/>
                <a:gd name="connsiteY12" fmla="*/ 160816 h 166952"/>
                <a:gd name="connsiteX13" fmla="*/ 77975 w 104058"/>
                <a:gd name="connsiteY13" fmla="*/ 166953 h 16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4058" h="166952">
                  <a:moveTo>
                    <a:pt x="77975" y="166953"/>
                  </a:moveTo>
                  <a:cubicBezTo>
                    <a:pt x="77975" y="166953"/>
                    <a:pt x="77975" y="166953"/>
                    <a:pt x="77975" y="166953"/>
                  </a:cubicBezTo>
                  <a:cubicBezTo>
                    <a:pt x="56498" y="163884"/>
                    <a:pt x="38089" y="142407"/>
                    <a:pt x="35021" y="139339"/>
                  </a:cubicBezTo>
                  <a:cubicBezTo>
                    <a:pt x="31953" y="136271"/>
                    <a:pt x="31953" y="133202"/>
                    <a:pt x="35021" y="130134"/>
                  </a:cubicBezTo>
                  <a:cubicBezTo>
                    <a:pt x="38089" y="127066"/>
                    <a:pt x="41157" y="127066"/>
                    <a:pt x="44225" y="130134"/>
                  </a:cubicBezTo>
                  <a:cubicBezTo>
                    <a:pt x="50362" y="136271"/>
                    <a:pt x="65703" y="151612"/>
                    <a:pt x="77975" y="154680"/>
                  </a:cubicBezTo>
                  <a:cubicBezTo>
                    <a:pt x="81044" y="154680"/>
                    <a:pt x="84112" y="154680"/>
                    <a:pt x="84112" y="151612"/>
                  </a:cubicBezTo>
                  <a:cubicBezTo>
                    <a:pt x="102521" y="136271"/>
                    <a:pt x="84112" y="99452"/>
                    <a:pt x="77975" y="84111"/>
                  </a:cubicBezTo>
                  <a:cubicBezTo>
                    <a:pt x="65703" y="59566"/>
                    <a:pt x="28885" y="13544"/>
                    <a:pt x="4339" y="10475"/>
                  </a:cubicBezTo>
                  <a:cubicBezTo>
                    <a:pt x="1271" y="10475"/>
                    <a:pt x="-1797" y="7407"/>
                    <a:pt x="1271" y="4338"/>
                  </a:cubicBezTo>
                  <a:cubicBezTo>
                    <a:pt x="1271" y="1271"/>
                    <a:pt x="4339" y="-1797"/>
                    <a:pt x="7407" y="1271"/>
                  </a:cubicBezTo>
                  <a:cubicBezTo>
                    <a:pt x="38089" y="7407"/>
                    <a:pt x="77975" y="59566"/>
                    <a:pt x="87180" y="81043"/>
                  </a:cubicBezTo>
                  <a:cubicBezTo>
                    <a:pt x="99453" y="102521"/>
                    <a:pt x="114793" y="142407"/>
                    <a:pt x="93316" y="160816"/>
                  </a:cubicBezTo>
                  <a:cubicBezTo>
                    <a:pt x="87180" y="163884"/>
                    <a:pt x="84112" y="166953"/>
                    <a:pt x="77975" y="166953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0AF53C9D-B230-47D1-A672-2004F43A3CE7}"/>
                </a:ext>
              </a:extLst>
            </p:cNvPr>
            <p:cNvSpPr/>
            <p:nvPr/>
          </p:nvSpPr>
          <p:spPr>
            <a:xfrm>
              <a:off x="4662145" y="9840327"/>
              <a:ext cx="65243" cy="107386"/>
            </a:xfrm>
            <a:custGeom>
              <a:avLst/>
              <a:gdLst>
                <a:gd name="connsiteX0" fmla="*/ 42955 w 65243"/>
                <a:gd name="connsiteY0" fmla="*/ 107386 h 107386"/>
                <a:gd name="connsiteX1" fmla="*/ 27614 w 65243"/>
                <a:gd name="connsiteY1" fmla="*/ 104318 h 107386"/>
                <a:gd name="connsiteX2" fmla="*/ 24546 w 65243"/>
                <a:gd name="connsiteY2" fmla="*/ 98181 h 107386"/>
                <a:gd name="connsiteX3" fmla="*/ 30682 w 65243"/>
                <a:gd name="connsiteY3" fmla="*/ 95114 h 107386"/>
                <a:gd name="connsiteX4" fmla="*/ 55227 w 65243"/>
                <a:gd name="connsiteY4" fmla="*/ 92045 h 107386"/>
                <a:gd name="connsiteX5" fmla="*/ 42955 w 65243"/>
                <a:gd name="connsiteY5" fmla="*/ 70568 h 107386"/>
                <a:gd name="connsiteX6" fmla="*/ 0 w 65243"/>
                <a:gd name="connsiteY6" fmla="*/ 6136 h 107386"/>
                <a:gd name="connsiteX7" fmla="*/ 3068 w 65243"/>
                <a:gd name="connsiteY7" fmla="*/ 0 h 107386"/>
                <a:gd name="connsiteX8" fmla="*/ 9205 w 65243"/>
                <a:gd name="connsiteY8" fmla="*/ 3068 h 107386"/>
                <a:gd name="connsiteX9" fmla="*/ 49091 w 65243"/>
                <a:gd name="connsiteY9" fmla="*/ 61364 h 107386"/>
                <a:gd name="connsiteX10" fmla="*/ 64432 w 65243"/>
                <a:gd name="connsiteY10" fmla="*/ 98181 h 107386"/>
                <a:gd name="connsiteX11" fmla="*/ 42955 w 65243"/>
                <a:gd name="connsiteY11" fmla="*/ 107386 h 10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5243" h="107386">
                  <a:moveTo>
                    <a:pt x="42955" y="107386"/>
                  </a:moveTo>
                  <a:cubicBezTo>
                    <a:pt x="36818" y="107386"/>
                    <a:pt x="33750" y="107386"/>
                    <a:pt x="27614" y="104318"/>
                  </a:cubicBezTo>
                  <a:cubicBezTo>
                    <a:pt x="24546" y="104318"/>
                    <a:pt x="24546" y="101250"/>
                    <a:pt x="24546" y="98181"/>
                  </a:cubicBezTo>
                  <a:cubicBezTo>
                    <a:pt x="24546" y="95114"/>
                    <a:pt x="27614" y="95114"/>
                    <a:pt x="30682" y="95114"/>
                  </a:cubicBezTo>
                  <a:cubicBezTo>
                    <a:pt x="42955" y="98181"/>
                    <a:pt x="52159" y="95114"/>
                    <a:pt x="55227" y="92045"/>
                  </a:cubicBezTo>
                  <a:cubicBezTo>
                    <a:pt x="58296" y="85909"/>
                    <a:pt x="55227" y="76705"/>
                    <a:pt x="42955" y="70568"/>
                  </a:cubicBezTo>
                  <a:cubicBezTo>
                    <a:pt x="12273" y="42954"/>
                    <a:pt x="0" y="9204"/>
                    <a:pt x="0" y="6136"/>
                  </a:cubicBezTo>
                  <a:cubicBezTo>
                    <a:pt x="0" y="3068"/>
                    <a:pt x="0" y="0"/>
                    <a:pt x="3068" y="0"/>
                  </a:cubicBezTo>
                  <a:cubicBezTo>
                    <a:pt x="6137" y="0"/>
                    <a:pt x="9205" y="0"/>
                    <a:pt x="9205" y="3068"/>
                  </a:cubicBezTo>
                  <a:cubicBezTo>
                    <a:pt x="9205" y="3068"/>
                    <a:pt x="18409" y="36818"/>
                    <a:pt x="49091" y="61364"/>
                  </a:cubicBezTo>
                  <a:cubicBezTo>
                    <a:pt x="70568" y="79773"/>
                    <a:pt x="64432" y="92045"/>
                    <a:pt x="64432" y="98181"/>
                  </a:cubicBezTo>
                  <a:cubicBezTo>
                    <a:pt x="64432" y="104318"/>
                    <a:pt x="55227" y="107386"/>
                    <a:pt x="42955" y="107386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9457265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3E5F2E20-A59C-4AB7-BFCE-2F91B7B98EE2}"/>
              </a:ext>
            </a:extLst>
          </p:cNvPr>
          <p:cNvGrpSpPr/>
          <p:nvPr/>
        </p:nvGrpSpPr>
        <p:grpSpPr>
          <a:xfrm>
            <a:off x="3318826" y="1987413"/>
            <a:ext cx="6578966" cy="4870587"/>
            <a:chOff x="11510326" y="7672808"/>
            <a:chExt cx="6578966" cy="4870587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23E778E1-D42B-4F98-990A-117026851259}"/>
                </a:ext>
              </a:extLst>
            </p:cNvPr>
            <p:cNvSpPr/>
            <p:nvPr/>
          </p:nvSpPr>
          <p:spPr>
            <a:xfrm>
              <a:off x="13164005" y="9683573"/>
              <a:ext cx="292364" cy="175397"/>
            </a:xfrm>
            <a:custGeom>
              <a:avLst/>
              <a:gdLst>
                <a:gd name="connsiteX0" fmla="*/ 6207 w 292364"/>
                <a:gd name="connsiteY0" fmla="*/ 113800 h 175397"/>
                <a:gd name="connsiteX1" fmla="*/ 9276 w 292364"/>
                <a:gd name="connsiteY1" fmla="*/ 123004 h 175397"/>
                <a:gd name="connsiteX2" fmla="*/ 147344 w 292364"/>
                <a:gd name="connsiteY2" fmla="*/ 175163 h 175397"/>
                <a:gd name="connsiteX3" fmla="*/ 270071 w 292364"/>
                <a:gd name="connsiteY3" fmla="*/ 138345 h 175397"/>
                <a:gd name="connsiteX4" fmla="*/ 291549 w 292364"/>
                <a:gd name="connsiteY4" fmla="*/ 95391 h 175397"/>
                <a:gd name="connsiteX5" fmla="*/ 282344 w 292364"/>
                <a:gd name="connsiteY5" fmla="*/ 83118 h 175397"/>
                <a:gd name="connsiteX6" fmla="*/ 288480 w 292364"/>
                <a:gd name="connsiteY6" fmla="*/ 80050 h 175397"/>
                <a:gd name="connsiteX7" fmla="*/ 273140 w 292364"/>
                <a:gd name="connsiteY7" fmla="*/ 64709 h 175397"/>
                <a:gd name="connsiteX8" fmla="*/ 122799 w 292364"/>
                <a:gd name="connsiteY8" fmla="*/ 67777 h 175397"/>
                <a:gd name="connsiteX9" fmla="*/ 156548 w 292364"/>
                <a:gd name="connsiteY9" fmla="*/ 37095 h 175397"/>
                <a:gd name="connsiteX10" fmla="*/ 205639 w 292364"/>
                <a:gd name="connsiteY10" fmla="*/ 30958 h 175397"/>
                <a:gd name="connsiteX11" fmla="*/ 181094 w 292364"/>
                <a:gd name="connsiteY11" fmla="*/ 6413 h 175397"/>
                <a:gd name="connsiteX12" fmla="*/ 125866 w 292364"/>
                <a:gd name="connsiteY12" fmla="*/ 3345 h 175397"/>
                <a:gd name="connsiteX13" fmla="*/ 52230 w 292364"/>
                <a:gd name="connsiteY13" fmla="*/ 18686 h 175397"/>
                <a:gd name="connsiteX14" fmla="*/ 6207 w 292364"/>
                <a:gd name="connsiteY14" fmla="*/ 113800 h 17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2364" h="175397">
                  <a:moveTo>
                    <a:pt x="6207" y="113800"/>
                  </a:moveTo>
                  <a:cubicBezTo>
                    <a:pt x="3139" y="116867"/>
                    <a:pt x="6207" y="123004"/>
                    <a:pt x="9276" y="123004"/>
                  </a:cubicBezTo>
                  <a:cubicBezTo>
                    <a:pt x="43026" y="150617"/>
                    <a:pt x="101321" y="178231"/>
                    <a:pt x="147344" y="175163"/>
                  </a:cubicBezTo>
                  <a:cubicBezTo>
                    <a:pt x="178026" y="175163"/>
                    <a:pt x="242458" y="156754"/>
                    <a:pt x="270071" y="138345"/>
                  </a:cubicBezTo>
                  <a:cubicBezTo>
                    <a:pt x="282344" y="129141"/>
                    <a:pt x="291549" y="101526"/>
                    <a:pt x="291549" y="95391"/>
                  </a:cubicBezTo>
                  <a:cubicBezTo>
                    <a:pt x="294616" y="83118"/>
                    <a:pt x="288480" y="86185"/>
                    <a:pt x="282344" y="83118"/>
                  </a:cubicBezTo>
                  <a:cubicBezTo>
                    <a:pt x="282344" y="83118"/>
                    <a:pt x="288480" y="80050"/>
                    <a:pt x="288480" y="80050"/>
                  </a:cubicBezTo>
                  <a:cubicBezTo>
                    <a:pt x="291549" y="76981"/>
                    <a:pt x="276208" y="70844"/>
                    <a:pt x="273140" y="64709"/>
                  </a:cubicBezTo>
                  <a:cubicBezTo>
                    <a:pt x="263934" y="43231"/>
                    <a:pt x="144276" y="101526"/>
                    <a:pt x="122799" y="67777"/>
                  </a:cubicBezTo>
                  <a:cubicBezTo>
                    <a:pt x="125866" y="61640"/>
                    <a:pt x="141207" y="43231"/>
                    <a:pt x="156548" y="37095"/>
                  </a:cubicBezTo>
                  <a:cubicBezTo>
                    <a:pt x="193367" y="43231"/>
                    <a:pt x="205639" y="34027"/>
                    <a:pt x="205639" y="30958"/>
                  </a:cubicBezTo>
                  <a:cubicBezTo>
                    <a:pt x="205639" y="24822"/>
                    <a:pt x="187230" y="6413"/>
                    <a:pt x="181094" y="6413"/>
                  </a:cubicBezTo>
                  <a:cubicBezTo>
                    <a:pt x="147344" y="277"/>
                    <a:pt x="156548" y="-2792"/>
                    <a:pt x="125866" y="3345"/>
                  </a:cubicBezTo>
                  <a:cubicBezTo>
                    <a:pt x="101321" y="6413"/>
                    <a:pt x="76776" y="15618"/>
                    <a:pt x="52230" y="18686"/>
                  </a:cubicBezTo>
                  <a:cubicBezTo>
                    <a:pt x="3139" y="24822"/>
                    <a:pt x="-9134" y="73913"/>
                    <a:pt x="6207" y="113800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2A7802AD-F701-4B9F-A7CC-EBB237C1AB47}"/>
                </a:ext>
              </a:extLst>
            </p:cNvPr>
            <p:cNvSpPr/>
            <p:nvPr/>
          </p:nvSpPr>
          <p:spPr>
            <a:xfrm>
              <a:off x="12399907" y="8802044"/>
              <a:ext cx="853146" cy="1032145"/>
            </a:xfrm>
            <a:custGeom>
              <a:avLst/>
              <a:gdLst>
                <a:gd name="connsiteX0" fmla="*/ 191 w 853146"/>
                <a:gd name="connsiteY0" fmla="*/ 240555 h 1032145"/>
                <a:gd name="connsiteX1" fmla="*/ 181215 w 853146"/>
                <a:gd name="connsiteY1" fmla="*/ 10442 h 1032145"/>
                <a:gd name="connsiteX2" fmla="*/ 300874 w 853146"/>
                <a:gd name="connsiteY2" fmla="*/ 372487 h 1032145"/>
                <a:gd name="connsiteX3" fmla="*/ 322351 w 853146"/>
                <a:gd name="connsiteY3" fmla="*/ 706919 h 1032145"/>
                <a:gd name="connsiteX4" fmla="*/ 853147 w 853146"/>
                <a:gd name="connsiteY4" fmla="*/ 891009 h 1032145"/>
                <a:gd name="connsiteX5" fmla="*/ 834737 w 853146"/>
                <a:gd name="connsiteY5" fmla="*/ 1032146 h 1032145"/>
                <a:gd name="connsiteX6" fmla="*/ 104510 w 853146"/>
                <a:gd name="connsiteY6" fmla="*/ 884874 h 1032145"/>
                <a:gd name="connsiteX7" fmla="*/ 191 w 853146"/>
                <a:gd name="connsiteY7" fmla="*/ 240555 h 1032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3146" h="1032145">
                  <a:moveTo>
                    <a:pt x="191" y="240555"/>
                  </a:moveTo>
                  <a:cubicBezTo>
                    <a:pt x="3260" y="93283"/>
                    <a:pt x="116783" y="-38649"/>
                    <a:pt x="181215" y="10442"/>
                  </a:cubicBezTo>
                  <a:cubicBezTo>
                    <a:pt x="254851" y="68737"/>
                    <a:pt x="310078" y="194533"/>
                    <a:pt x="300874" y="372487"/>
                  </a:cubicBezTo>
                  <a:cubicBezTo>
                    <a:pt x="294737" y="473737"/>
                    <a:pt x="303942" y="703851"/>
                    <a:pt x="322351" y="706919"/>
                  </a:cubicBezTo>
                  <a:cubicBezTo>
                    <a:pt x="328487" y="709987"/>
                    <a:pt x="853147" y="891009"/>
                    <a:pt x="853147" y="891009"/>
                  </a:cubicBezTo>
                  <a:cubicBezTo>
                    <a:pt x="828601" y="946237"/>
                    <a:pt x="834737" y="1032146"/>
                    <a:pt x="834737" y="1032146"/>
                  </a:cubicBezTo>
                  <a:cubicBezTo>
                    <a:pt x="834737" y="1032146"/>
                    <a:pt x="165874" y="943169"/>
                    <a:pt x="104510" y="884874"/>
                  </a:cubicBezTo>
                  <a:cubicBezTo>
                    <a:pt x="30873" y="811237"/>
                    <a:pt x="-2876" y="424646"/>
                    <a:pt x="191" y="240555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AFF8FD54-CA47-4CC6-B570-A310D7DB505B}"/>
                </a:ext>
              </a:extLst>
            </p:cNvPr>
            <p:cNvSpPr/>
            <p:nvPr/>
          </p:nvSpPr>
          <p:spPr>
            <a:xfrm>
              <a:off x="12480495" y="8501025"/>
              <a:ext cx="453467" cy="615210"/>
            </a:xfrm>
            <a:custGeom>
              <a:avLst/>
              <a:gdLst>
                <a:gd name="connsiteX0" fmla="*/ 63808 w 453467"/>
                <a:gd name="connsiteY0" fmla="*/ 615211 h 615210"/>
                <a:gd name="connsiteX1" fmla="*/ 51536 w 453467"/>
                <a:gd name="connsiteY1" fmla="*/ 10779 h 615210"/>
                <a:gd name="connsiteX2" fmla="*/ 453468 w 453467"/>
                <a:gd name="connsiteY2" fmla="*/ 446461 h 615210"/>
                <a:gd name="connsiteX3" fmla="*/ 63808 w 453467"/>
                <a:gd name="connsiteY3" fmla="*/ 615211 h 615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467" h="615210">
                  <a:moveTo>
                    <a:pt x="63808" y="615211"/>
                  </a:moveTo>
                  <a:cubicBezTo>
                    <a:pt x="63808" y="615211"/>
                    <a:pt x="-71191" y="90551"/>
                    <a:pt x="51536" y="10779"/>
                  </a:cubicBezTo>
                  <a:cubicBezTo>
                    <a:pt x="195740" y="-81267"/>
                    <a:pt x="453468" y="446461"/>
                    <a:pt x="453468" y="446461"/>
                  </a:cubicBezTo>
                  <a:cubicBezTo>
                    <a:pt x="453468" y="446461"/>
                    <a:pt x="278581" y="593733"/>
                    <a:pt x="63808" y="615211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9CD8774E-2DB2-4EA3-BC82-CA909127AC81}"/>
                </a:ext>
              </a:extLst>
            </p:cNvPr>
            <p:cNvGrpSpPr/>
            <p:nvPr/>
          </p:nvGrpSpPr>
          <p:grpSpPr>
            <a:xfrm>
              <a:off x="15445327" y="9861795"/>
              <a:ext cx="2643964" cy="2622465"/>
              <a:chOff x="15445327" y="9861795"/>
              <a:chExt cx="2643964" cy="2622465"/>
            </a:xfrm>
          </p:grpSpPr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DCCCA182-808B-4FE4-BA1D-05B266E4F742}"/>
                  </a:ext>
                </a:extLst>
              </p:cNvPr>
              <p:cNvSpPr/>
              <p:nvPr/>
            </p:nvSpPr>
            <p:spPr>
              <a:xfrm>
                <a:off x="15445327" y="9861795"/>
                <a:ext cx="2643964" cy="2622465"/>
              </a:xfrm>
              <a:custGeom>
                <a:avLst/>
                <a:gdLst>
                  <a:gd name="connsiteX0" fmla="*/ 2569544 w 2643964"/>
                  <a:gd name="connsiteY0" fmla="*/ 1960578 h 2622465"/>
                  <a:gd name="connsiteX1" fmla="*/ 237726 w 2643964"/>
                  <a:gd name="connsiteY1" fmla="*/ 2298078 h 2622465"/>
                  <a:gd name="connsiteX2" fmla="*/ 268408 w 2643964"/>
                  <a:gd name="connsiteY2" fmla="*/ 1193532 h 2622465"/>
                  <a:gd name="connsiteX3" fmla="*/ 268408 w 2643964"/>
                  <a:gd name="connsiteY3" fmla="*/ 1193532 h 2622465"/>
                  <a:gd name="connsiteX4" fmla="*/ 624317 w 2643964"/>
                  <a:gd name="connsiteY4" fmla="*/ 948078 h 2622465"/>
                  <a:gd name="connsiteX5" fmla="*/ 1250226 w 2643964"/>
                  <a:gd name="connsiteY5" fmla="*/ 95123 h 2622465"/>
                  <a:gd name="connsiteX6" fmla="*/ 1458863 w 2643964"/>
                  <a:gd name="connsiteY6" fmla="*/ 9 h 2622465"/>
                  <a:gd name="connsiteX7" fmla="*/ 2569544 w 2643964"/>
                  <a:gd name="connsiteY7" fmla="*/ 1960578 h 26224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43964" h="2622465">
                    <a:moveTo>
                      <a:pt x="2569544" y="1960578"/>
                    </a:moveTo>
                    <a:cubicBezTo>
                      <a:pt x="2265795" y="2905577"/>
                      <a:pt x="633522" y="2666260"/>
                      <a:pt x="237726" y="2298078"/>
                    </a:cubicBezTo>
                    <a:cubicBezTo>
                      <a:pt x="41363" y="2117054"/>
                      <a:pt x="-194887" y="1626145"/>
                      <a:pt x="268408" y="1193532"/>
                    </a:cubicBezTo>
                    <a:cubicBezTo>
                      <a:pt x="268408" y="1193532"/>
                      <a:pt x="268408" y="1193532"/>
                      <a:pt x="268408" y="1193532"/>
                    </a:cubicBezTo>
                    <a:cubicBezTo>
                      <a:pt x="360453" y="1107623"/>
                      <a:pt x="477045" y="1024782"/>
                      <a:pt x="624317" y="948078"/>
                    </a:cubicBezTo>
                    <a:cubicBezTo>
                      <a:pt x="869772" y="819214"/>
                      <a:pt x="1023181" y="309895"/>
                      <a:pt x="1250226" y="95123"/>
                    </a:cubicBezTo>
                    <a:cubicBezTo>
                      <a:pt x="1311590" y="36827"/>
                      <a:pt x="1382158" y="9"/>
                      <a:pt x="1458863" y="9"/>
                    </a:cubicBezTo>
                    <a:cubicBezTo>
                      <a:pt x="1820908" y="-3059"/>
                      <a:pt x="2940795" y="803873"/>
                      <a:pt x="2569544" y="1960578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E60FD475-8C45-4D41-B656-D27CF72B5D16}"/>
                  </a:ext>
                </a:extLst>
              </p:cNvPr>
              <p:cNvSpPr/>
              <p:nvPr/>
            </p:nvSpPr>
            <p:spPr>
              <a:xfrm>
                <a:off x="16143280" y="10742372"/>
                <a:ext cx="940227" cy="435682"/>
              </a:xfrm>
              <a:custGeom>
                <a:avLst/>
                <a:gdLst>
                  <a:gd name="connsiteX0" fmla="*/ 935795 w 940227"/>
                  <a:gd name="connsiteY0" fmla="*/ 435682 h 435682"/>
                  <a:gd name="connsiteX1" fmla="*/ 929660 w 940227"/>
                  <a:gd name="connsiteY1" fmla="*/ 432614 h 435682"/>
                  <a:gd name="connsiteX2" fmla="*/ 6137 w 940227"/>
                  <a:gd name="connsiteY2" fmla="*/ 12273 h 435682"/>
                  <a:gd name="connsiteX3" fmla="*/ 0 w 940227"/>
                  <a:gd name="connsiteY3" fmla="*/ 6137 h 435682"/>
                  <a:gd name="connsiteX4" fmla="*/ 6137 w 940227"/>
                  <a:gd name="connsiteY4" fmla="*/ 0 h 435682"/>
                  <a:gd name="connsiteX5" fmla="*/ 6137 w 940227"/>
                  <a:gd name="connsiteY5" fmla="*/ 0 h 435682"/>
                  <a:gd name="connsiteX6" fmla="*/ 938864 w 940227"/>
                  <a:gd name="connsiteY6" fmla="*/ 423409 h 435682"/>
                  <a:gd name="connsiteX7" fmla="*/ 938864 w 940227"/>
                  <a:gd name="connsiteY7" fmla="*/ 432614 h 435682"/>
                  <a:gd name="connsiteX8" fmla="*/ 935795 w 940227"/>
                  <a:gd name="connsiteY8" fmla="*/ 435682 h 435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0227" h="435682">
                    <a:moveTo>
                      <a:pt x="935795" y="435682"/>
                    </a:moveTo>
                    <a:cubicBezTo>
                      <a:pt x="932728" y="435682"/>
                      <a:pt x="932728" y="435682"/>
                      <a:pt x="929660" y="432614"/>
                    </a:cubicBezTo>
                    <a:cubicBezTo>
                      <a:pt x="628977" y="21478"/>
                      <a:pt x="12273" y="12273"/>
                      <a:pt x="6137" y="12273"/>
                    </a:cubicBezTo>
                    <a:cubicBezTo>
                      <a:pt x="3068" y="12273"/>
                      <a:pt x="0" y="9204"/>
                      <a:pt x="0" y="6137"/>
                    </a:cubicBezTo>
                    <a:cubicBezTo>
                      <a:pt x="0" y="3068"/>
                      <a:pt x="3068" y="0"/>
                      <a:pt x="6137" y="0"/>
                    </a:cubicBezTo>
                    <a:lnTo>
                      <a:pt x="6137" y="0"/>
                    </a:lnTo>
                    <a:cubicBezTo>
                      <a:pt x="12273" y="0"/>
                      <a:pt x="638182" y="9204"/>
                      <a:pt x="938864" y="423409"/>
                    </a:cubicBezTo>
                    <a:cubicBezTo>
                      <a:pt x="941932" y="426477"/>
                      <a:pt x="938864" y="429545"/>
                      <a:pt x="938864" y="432614"/>
                    </a:cubicBezTo>
                    <a:cubicBezTo>
                      <a:pt x="938864" y="435682"/>
                      <a:pt x="935795" y="435682"/>
                      <a:pt x="935795" y="4356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911606BB-5AC5-41E1-B6D1-207F1E73AA4E}"/>
                  </a:ext>
                </a:extLst>
              </p:cNvPr>
              <p:cNvSpPr/>
              <p:nvPr/>
            </p:nvSpPr>
            <p:spPr>
              <a:xfrm>
                <a:off x="16806775" y="11230980"/>
                <a:ext cx="212892" cy="557642"/>
              </a:xfrm>
              <a:custGeom>
                <a:avLst/>
                <a:gdLst>
                  <a:gd name="connsiteX0" fmla="*/ 195596 w 212892"/>
                  <a:gd name="connsiteY0" fmla="*/ 557642 h 557642"/>
                  <a:gd name="connsiteX1" fmla="*/ 195596 w 212892"/>
                  <a:gd name="connsiteY1" fmla="*/ 557642 h 557642"/>
                  <a:gd name="connsiteX2" fmla="*/ 189461 w 212892"/>
                  <a:gd name="connsiteY2" fmla="*/ 551506 h 557642"/>
                  <a:gd name="connsiteX3" fmla="*/ 2301 w 212892"/>
                  <a:gd name="connsiteY3" fmla="*/ 11505 h 557642"/>
                  <a:gd name="connsiteX4" fmla="*/ 2301 w 212892"/>
                  <a:gd name="connsiteY4" fmla="*/ 2301 h 557642"/>
                  <a:gd name="connsiteX5" fmla="*/ 11505 w 212892"/>
                  <a:gd name="connsiteY5" fmla="*/ 2301 h 557642"/>
                  <a:gd name="connsiteX6" fmla="*/ 204801 w 212892"/>
                  <a:gd name="connsiteY6" fmla="*/ 551506 h 557642"/>
                  <a:gd name="connsiteX7" fmla="*/ 195596 w 212892"/>
                  <a:gd name="connsiteY7" fmla="*/ 557642 h 557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2892" h="557642">
                    <a:moveTo>
                      <a:pt x="195596" y="557642"/>
                    </a:moveTo>
                    <a:cubicBezTo>
                      <a:pt x="195596" y="557642"/>
                      <a:pt x="195596" y="557642"/>
                      <a:pt x="195596" y="557642"/>
                    </a:cubicBezTo>
                    <a:cubicBezTo>
                      <a:pt x="192529" y="557642"/>
                      <a:pt x="189461" y="554574"/>
                      <a:pt x="189461" y="551506"/>
                    </a:cubicBezTo>
                    <a:cubicBezTo>
                      <a:pt x="244687" y="247756"/>
                      <a:pt x="2301" y="14574"/>
                      <a:pt x="2301" y="11505"/>
                    </a:cubicBezTo>
                    <a:cubicBezTo>
                      <a:pt x="-767" y="8438"/>
                      <a:pt x="-767" y="5370"/>
                      <a:pt x="2301" y="2301"/>
                    </a:cubicBezTo>
                    <a:cubicBezTo>
                      <a:pt x="5370" y="-767"/>
                      <a:pt x="8438" y="-767"/>
                      <a:pt x="11505" y="2301"/>
                    </a:cubicBezTo>
                    <a:cubicBezTo>
                      <a:pt x="14574" y="5370"/>
                      <a:pt x="260028" y="241619"/>
                      <a:pt x="204801" y="551506"/>
                    </a:cubicBezTo>
                    <a:cubicBezTo>
                      <a:pt x="201733" y="554574"/>
                      <a:pt x="198665" y="557642"/>
                      <a:pt x="195596" y="55764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58021D54-A77D-459F-8B3C-015F5645BF0C}"/>
                  </a:ext>
                </a:extLst>
              </p:cNvPr>
              <p:cNvSpPr/>
              <p:nvPr/>
            </p:nvSpPr>
            <p:spPr>
              <a:xfrm>
                <a:off x="16610411" y="11276236"/>
                <a:ext cx="97657" cy="420341"/>
              </a:xfrm>
              <a:custGeom>
                <a:avLst/>
                <a:gdLst>
                  <a:gd name="connsiteX0" fmla="*/ 5370 w 97657"/>
                  <a:gd name="connsiteY0" fmla="*/ 420341 h 420341"/>
                  <a:gd name="connsiteX1" fmla="*/ 2301 w 97657"/>
                  <a:gd name="connsiteY1" fmla="*/ 417273 h 420341"/>
                  <a:gd name="connsiteX2" fmla="*/ 2301 w 97657"/>
                  <a:gd name="connsiteY2" fmla="*/ 408069 h 420341"/>
                  <a:gd name="connsiteX3" fmla="*/ 85142 w 97657"/>
                  <a:gd name="connsiteY3" fmla="*/ 6137 h 420341"/>
                  <a:gd name="connsiteX4" fmla="*/ 91278 w 97657"/>
                  <a:gd name="connsiteY4" fmla="*/ 0 h 420341"/>
                  <a:gd name="connsiteX5" fmla="*/ 91278 w 97657"/>
                  <a:gd name="connsiteY5" fmla="*/ 0 h 420341"/>
                  <a:gd name="connsiteX6" fmla="*/ 97415 w 97657"/>
                  <a:gd name="connsiteY6" fmla="*/ 6137 h 420341"/>
                  <a:gd name="connsiteX7" fmla="*/ 11505 w 97657"/>
                  <a:gd name="connsiteY7" fmla="*/ 417273 h 420341"/>
                  <a:gd name="connsiteX8" fmla="*/ 5370 w 97657"/>
                  <a:gd name="connsiteY8" fmla="*/ 420341 h 420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7657" h="420341">
                    <a:moveTo>
                      <a:pt x="5370" y="420341"/>
                    </a:moveTo>
                    <a:cubicBezTo>
                      <a:pt x="2301" y="420341"/>
                      <a:pt x="2301" y="420341"/>
                      <a:pt x="2301" y="417273"/>
                    </a:cubicBezTo>
                    <a:cubicBezTo>
                      <a:pt x="-767" y="414205"/>
                      <a:pt x="-767" y="411136"/>
                      <a:pt x="2301" y="408069"/>
                    </a:cubicBezTo>
                    <a:cubicBezTo>
                      <a:pt x="94347" y="328296"/>
                      <a:pt x="85142" y="9205"/>
                      <a:pt x="85142" y="6137"/>
                    </a:cubicBezTo>
                    <a:cubicBezTo>
                      <a:pt x="85142" y="3068"/>
                      <a:pt x="88210" y="0"/>
                      <a:pt x="91278" y="0"/>
                    </a:cubicBezTo>
                    <a:cubicBezTo>
                      <a:pt x="91278" y="0"/>
                      <a:pt x="91278" y="0"/>
                      <a:pt x="91278" y="0"/>
                    </a:cubicBezTo>
                    <a:cubicBezTo>
                      <a:pt x="94347" y="0"/>
                      <a:pt x="97415" y="3068"/>
                      <a:pt x="97415" y="6137"/>
                    </a:cubicBezTo>
                    <a:cubicBezTo>
                      <a:pt x="97415" y="18409"/>
                      <a:pt x="106619" y="334432"/>
                      <a:pt x="11505" y="417273"/>
                    </a:cubicBezTo>
                    <a:cubicBezTo>
                      <a:pt x="8437" y="420341"/>
                      <a:pt x="5370" y="420341"/>
                      <a:pt x="5370" y="42034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7530F9F5-5493-4024-B0B5-605ED802BDA2}"/>
                  </a:ext>
                </a:extLst>
              </p:cNvPr>
              <p:cNvSpPr/>
              <p:nvPr/>
            </p:nvSpPr>
            <p:spPr>
              <a:xfrm>
                <a:off x="17069872" y="10914191"/>
                <a:ext cx="462528" cy="211704"/>
              </a:xfrm>
              <a:custGeom>
                <a:avLst/>
                <a:gdLst>
                  <a:gd name="connsiteX0" fmla="*/ 460227 w 462528"/>
                  <a:gd name="connsiteY0" fmla="*/ 211704 h 211704"/>
                  <a:gd name="connsiteX1" fmla="*/ 454091 w 462528"/>
                  <a:gd name="connsiteY1" fmla="*/ 208636 h 211704"/>
                  <a:gd name="connsiteX2" fmla="*/ 6137 w 462528"/>
                  <a:gd name="connsiteY2" fmla="*/ 12273 h 211704"/>
                  <a:gd name="connsiteX3" fmla="*/ 0 w 462528"/>
                  <a:gd name="connsiteY3" fmla="*/ 6136 h 211704"/>
                  <a:gd name="connsiteX4" fmla="*/ 6137 w 462528"/>
                  <a:gd name="connsiteY4" fmla="*/ 0 h 211704"/>
                  <a:gd name="connsiteX5" fmla="*/ 460227 w 462528"/>
                  <a:gd name="connsiteY5" fmla="*/ 202500 h 211704"/>
                  <a:gd name="connsiteX6" fmla="*/ 460227 w 462528"/>
                  <a:gd name="connsiteY6" fmla="*/ 211704 h 211704"/>
                  <a:gd name="connsiteX7" fmla="*/ 460227 w 462528"/>
                  <a:gd name="connsiteY7" fmla="*/ 211704 h 211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2528" h="211704">
                    <a:moveTo>
                      <a:pt x="460227" y="211704"/>
                    </a:moveTo>
                    <a:cubicBezTo>
                      <a:pt x="457159" y="211704"/>
                      <a:pt x="457159" y="211704"/>
                      <a:pt x="454091" y="208636"/>
                    </a:cubicBezTo>
                    <a:cubicBezTo>
                      <a:pt x="319091" y="39886"/>
                      <a:pt x="9204" y="12273"/>
                      <a:pt x="6137" y="12273"/>
                    </a:cubicBezTo>
                    <a:cubicBezTo>
                      <a:pt x="3068" y="12273"/>
                      <a:pt x="0" y="9204"/>
                      <a:pt x="0" y="6136"/>
                    </a:cubicBezTo>
                    <a:cubicBezTo>
                      <a:pt x="0" y="3068"/>
                      <a:pt x="3068" y="0"/>
                      <a:pt x="6137" y="0"/>
                    </a:cubicBezTo>
                    <a:cubicBezTo>
                      <a:pt x="9204" y="0"/>
                      <a:pt x="322159" y="30682"/>
                      <a:pt x="460227" y="202500"/>
                    </a:cubicBezTo>
                    <a:cubicBezTo>
                      <a:pt x="463296" y="205568"/>
                      <a:pt x="463296" y="208636"/>
                      <a:pt x="460227" y="211704"/>
                    </a:cubicBezTo>
                    <a:cubicBezTo>
                      <a:pt x="463296" y="211704"/>
                      <a:pt x="460227" y="211704"/>
                      <a:pt x="460227" y="21170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31E072F7-8D01-4727-99CB-AC375EF56540}"/>
                  </a:ext>
                </a:extLst>
              </p:cNvPr>
              <p:cNvSpPr/>
              <p:nvPr/>
            </p:nvSpPr>
            <p:spPr>
              <a:xfrm>
                <a:off x="17680440" y="11576918"/>
                <a:ext cx="122098" cy="690340"/>
              </a:xfrm>
              <a:custGeom>
                <a:avLst/>
                <a:gdLst>
                  <a:gd name="connsiteX0" fmla="*/ 6137 w 122098"/>
                  <a:gd name="connsiteY0" fmla="*/ 690341 h 690340"/>
                  <a:gd name="connsiteX1" fmla="*/ 6137 w 122098"/>
                  <a:gd name="connsiteY1" fmla="*/ 690341 h 690340"/>
                  <a:gd name="connsiteX2" fmla="*/ 0 w 122098"/>
                  <a:gd name="connsiteY2" fmla="*/ 681136 h 690340"/>
                  <a:gd name="connsiteX3" fmla="*/ 79773 w 122098"/>
                  <a:gd name="connsiteY3" fmla="*/ 6136 h 690340"/>
                  <a:gd name="connsiteX4" fmla="*/ 82841 w 122098"/>
                  <a:gd name="connsiteY4" fmla="*/ 0 h 690340"/>
                  <a:gd name="connsiteX5" fmla="*/ 88977 w 122098"/>
                  <a:gd name="connsiteY5" fmla="*/ 3067 h 690340"/>
                  <a:gd name="connsiteX6" fmla="*/ 9205 w 122098"/>
                  <a:gd name="connsiteY6" fmla="*/ 687273 h 690340"/>
                  <a:gd name="connsiteX7" fmla="*/ 6137 w 122098"/>
                  <a:gd name="connsiteY7" fmla="*/ 690341 h 690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2098" h="690340">
                    <a:moveTo>
                      <a:pt x="6137" y="690341"/>
                    </a:moveTo>
                    <a:cubicBezTo>
                      <a:pt x="3068" y="690341"/>
                      <a:pt x="3068" y="690341"/>
                      <a:pt x="6137" y="690341"/>
                    </a:cubicBezTo>
                    <a:cubicBezTo>
                      <a:pt x="0" y="687273"/>
                      <a:pt x="0" y="684204"/>
                      <a:pt x="0" y="681136"/>
                    </a:cubicBezTo>
                    <a:cubicBezTo>
                      <a:pt x="190228" y="322159"/>
                      <a:pt x="79773" y="9204"/>
                      <a:pt x="79773" y="6136"/>
                    </a:cubicBezTo>
                    <a:cubicBezTo>
                      <a:pt x="79773" y="3067"/>
                      <a:pt x="79773" y="0"/>
                      <a:pt x="82841" y="0"/>
                    </a:cubicBezTo>
                    <a:cubicBezTo>
                      <a:pt x="85910" y="0"/>
                      <a:pt x="88977" y="0"/>
                      <a:pt x="88977" y="3067"/>
                    </a:cubicBezTo>
                    <a:cubicBezTo>
                      <a:pt x="88977" y="6136"/>
                      <a:pt x="202500" y="322159"/>
                      <a:pt x="9205" y="687273"/>
                    </a:cubicBezTo>
                    <a:cubicBezTo>
                      <a:pt x="9205" y="690341"/>
                      <a:pt x="6137" y="690341"/>
                      <a:pt x="6137" y="69034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605FB14E-BF00-4D46-A2F9-60D175BFC95C}"/>
                </a:ext>
              </a:extLst>
            </p:cNvPr>
            <p:cNvGrpSpPr/>
            <p:nvPr/>
          </p:nvGrpSpPr>
          <p:grpSpPr>
            <a:xfrm>
              <a:off x="14891005" y="12070895"/>
              <a:ext cx="448412" cy="320884"/>
              <a:chOff x="14891005" y="12070895"/>
              <a:chExt cx="448412" cy="320884"/>
            </a:xfrm>
          </p:grpSpPr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511F4ED1-7295-4F94-9F13-5B4E0ABC0770}"/>
                  </a:ext>
                </a:extLst>
              </p:cNvPr>
              <p:cNvSpPr/>
              <p:nvPr/>
            </p:nvSpPr>
            <p:spPr>
              <a:xfrm>
                <a:off x="14891005" y="12153736"/>
                <a:ext cx="397787" cy="238043"/>
              </a:xfrm>
              <a:custGeom>
                <a:avLst/>
                <a:gdLst>
                  <a:gd name="connsiteX0" fmla="*/ 288867 w 397787"/>
                  <a:gd name="connsiteY0" fmla="*/ 0 h 238043"/>
                  <a:gd name="connsiteX1" fmla="*/ 129322 w 397787"/>
                  <a:gd name="connsiteY1" fmla="*/ 125796 h 238043"/>
                  <a:gd name="connsiteX2" fmla="*/ 383980 w 397787"/>
                  <a:gd name="connsiteY2" fmla="*/ 73636 h 238043"/>
                  <a:gd name="connsiteX3" fmla="*/ 396253 w 397787"/>
                  <a:gd name="connsiteY3" fmla="*/ 52159 h 238043"/>
                  <a:gd name="connsiteX4" fmla="*/ 390117 w 397787"/>
                  <a:gd name="connsiteY4" fmla="*/ 159546 h 238043"/>
                  <a:gd name="connsiteX5" fmla="*/ 156935 w 397787"/>
                  <a:gd name="connsiteY5" fmla="*/ 233182 h 238043"/>
                  <a:gd name="connsiteX6" fmla="*/ 18867 w 397787"/>
                  <a:gd name="connsiteY6" fmla="*/ 233182 h 238043"/>
                  <a:gd name="connsiteX7" fmla="*/ 12730 w 397787"/>
                  <a:gd name="connsiteY7" fmla="*/ 177954 h 238043"/>
                  <a:gd name="connsiteX8" fmla="*/ 288867 w 397787"/>
                  <a:gd name="connsiteY8" fmla="*/ 0 h 238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7787" h="238043">
                    <a:moveTo>
                      <a:pt x="288867" y="0"/>
                    </a:moveTo>
                    <a:cubicBezTo>
                      <a:pt x="288867" y="0"/>
                      <a:pt x="113981" y="113523"/>
                      <a:pt x="129322" y="125796"/>
                    </a:cubicBezTo>
                    <a:cubicBezTo>
                      <a:pt x="141594" y="141137"/>
                      <a:pt x="383980" y="73636"/>
                      <a:pt x="383980" y="73636"/>
                    </a:cubicBezTo>
                    <a:lnTo>
                      <a:pt x="396253" y="52159"/>
                    </a:lnTo>
                    <a:cubicBezTo>
                      <a:pt x="396253" y="52159"/>
                      <a:pt x="402390" y="135000"/>
                      <a:pt x="390117" y="159546"/>
                    </a:cubicBezTo>
                    <a:cubicBezTo>
                      <a:pt x="316480" y="196363"/>
                      <a:pt x="230571" y="220909"/>
                      <a:pt x="156935" y="233182"/>
                    </a:cubicBezTo>
                    <a:cubicBezTo>
                      <a:pt x="110912" y="242386"/>
                      <a:pt x="28071" y="236250"/>
                      <a:pt x="18867" y="233182"/>
                    </a:cubicBezTo>
                    <a:cubicBezTo>
                      <a:pt x="9662" y="230114"/>
                      <a:pt x="-14883" y="205569"/>
                      <a:pt x="12730" y="177954"/>
                    </a:cubicBezTo>
                    <a:cubicBezTo>
                      <a:pt x="74094" y="113523"/>
                      <a:pt x="288867" y="0"/>
                      <a:pt x="288867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46AF5FE1-75D5-4F29-AEFC-52AC5DDB5720}"/>
                  </a:ext>
                </a:extLst>
              </p:cNvPr>
              <p:cNvSpPr/>
              <p:nvPr/>
            </p:nvSpPr>
            <p:spPr>
              <a:xfrm>
                <a:off x="15018991" y="12070895"/>
                <a:ext cx="320426" cy="212563"/>
              </a:xfrm>
              <a:custGeom>
                <a:avLst/>
                <a:gdLst>
                  <a:gd name="connsiteX0" fmla="*/ 194631 w 320426"/>
                  <a:gd name="connsiteY0" fmla="*/ 0 h 212563"/>
                  <a:gd name="connsiteX1" fmla="*/ 160881 w 320426"/>
                  <a:gd name="connsiteY1" fmla="*/ 82841 h 212563"/>
                  <a:gd name="connsiteX2" fmla="*/ 1336 w 320426"/>
                  <a:gd name="connsiteY2" fmla="*/ 208637 h 212563"/>
                  <a:gd name="connsiteX3" fmla="*/ 255995 w 320426"/>
                  <a:gd name="connsiteY3" fmla="*/ 156477 h 212563"/>
                  <a:gd name="connsiteX4" fmla="*/ 320427 w 320426"/>
                  <a:gd name="connsiteY4" fmla="*/ 42955 h 212563"/>
                  <a:gd name="connsiteX5" fmla="*/ 194631 w 320426"/>
                  <a:gd name="connsiteY5" fmla="*/ 0 h 212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0426" h="212563">
                    <a:moveTo>
                      <a:pt x="194631" y="0"/>
                    </a:moveTo>
                    <a:lnTo>
                      <a:pt x="160881" y="82841"/>
                    </a:lnTo>
                    <a:cubicBezTo>
                      <a:pt x="160881" y="82841"/>
                      <a:pt x="-17073" y="187159"/>
                      <a:pt x="1336" y="208637"/>
                    </a:cubicBezTo>
                    <a:cubicBezTo>
                      <a:pt x="16677" y="230114"/>
                      <a:pt x="255995" y="156477"/>
                      <a:pt x="255995" y="156477"/>
                    </a:cubicBezTo>
                    <a:lnTo>
                      <a:pt x="320427" y="42955"/>
                    </a:lnTo>
                    <a:lnTo>
                      <a:pt x="194631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B255DD47-72BD-46D9-83CA-672526AC0B6D}"/>
                </a:ext>
              </a:extLst>
            </p:cNvPr>
            <p:cNvGrpSpPr/>
            <p:nvPr/>
          </p:nvGrpSpPr>
          <p:grpSpPr>
            <a:xfrm>
              <a:off x="15468170" y="12178281"/>
              <a:ext cx="398974" cy="365114"/>
              <a:chOff x="15468170" y="12178281"/>
              <a:chExt cx="398974" cy="365114"/>
            </a:xfrm>
          </p:grpSpPr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0879FB5C-1201-44C3-9D93-A8278B741DBD}"/>
                  </a:ext>
                </a:extLst>
              </p:cNvPr>
              <p:cNvSpPr/>
              <p:nvPr/>
            </p:nvSpPr>
            <p:spPr>
              <a:xfrm>
                <a:off x="15468170" y="12264191"/>
                <a:ext cx="379790" cy="279204"/>
              </a:xfrm>
              <a:custGeom>
                <a:avLst/>
                <a:gdLst>
                  <a:gd name="connsiteX0" fmla="*/ 248634 w 379790"/>
                  <a:gd name="connsiteY0" fmla="*/ 0 h 279204"/>
                  <a:gd name="connsiteX1" fmla="*/ 113634 w 379790"/>
                  <a:gd name="connsiteY1" fmla="*/ 153409 h 279204"/>
                  <a:gd name="connsiteX2" fmla="*/ 356020 w 379790"/>
                  <a:gd name="connsiteY2" fmla="*/ 58295 h 279204"/>
                  <a:gd name="connsiteX3" fmla="*/ 365225 w 379790"/>
                  <a:gd name="connsiteY3" fmla="*/ 33750 h 279204"/>
                  <a:gd name="connsiteX4" fmla="*/ 377498 w 379790"/>
                  <a:gd name="connsiteY4" fmla="*/ 141137 h 279204"/>
                  <a:gd name="connsiteX5" fmla="*/ 162725 w 379790"/>
                  <a:gd name="connsiteY5" fmla="*/ 254659 h 279204"/>
                  <a:gd name="connsiteX6" fmla="*/ 24657 w 379790"/>
                  <a:gd name="connsiteY6" fmla="*/ 279205 h 279204"/>
                  <a:gd name="connsiteX7" fmla="*/ 9316 w 379790"/>
                  <a:gd name="connsiteY7" fmla="*/ 223977 h 279204"/>
                  <a:gd name="connsiteX8" fmla="*/ 248634 w 379790"/>
                  <a:gd name="connsiteY8" fmla="*/ 0 h 279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9790" h="279204">
                    <a:moveTo>
                      <a:pt x="248634" y="0"/>
                    </a:moveTo>
                    <a:cubicBezTo>
                      <a:pt x="248634" y="0"/>
                      <a:pt x="98293" y="141137"/>
                      <a:pt x="113634" y="153409"/>
                    </a:cubicBezTo>
                    <a:cubicBezTo>
                      <a:pt x="128975" y="165682"/>
                      <a:pt x="356020" y="58295"/>
                      <a:pt x="356020" y="58295"/>
                    </a:cubicBezTo>
                    <a:lnTo>
                      <a:pt x="365225" y="33750"/>
                    </a:lnTo>
                    <a:cubicBezTo>
                      <a:pt x="365225" y="33750"/>
                      <a:pt x="386702" y="113522"/>
                      <a:pt x="377498" y="141137"/>
                    </a:cubicBezTo>
                    <a:cubicBezTo>
                      <a:pt x="313066" y="190227"/>
                      <a:pt x="230224" y="227045"/>
                      <a:pt x="162725" y="254659"/>
                    </a:cubicBezTo>
                    <a:cubicBezTo>
                      <a:pt x="116702" y="270000"/>
                      <a:pt x="33861" y="279205"/>
                      <a:pt x="24657" y="279205"/>
                    </a:cubicBezTo>
                    <a:cubicBezTo>
                      <a:pt x="15452" y="276136"/>
                      <a:pt x="-15230" y="257727"/>
                      <a:pt x="9316" y="223977"/>
                    </a:cubicBezTo>
                    <a:cubicBezTo>
                      <a:pt x="58407" y="150341"/>
                      <a:pt x="248634" y="0"/>
                      <a:pt x="248634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55001C61-9941-4582-9226-2922CDFEFC01}"/>
                  </a:ext>
                </a:extLst>
              </p:cNvPr>
              <p:cNvSpPr/>
              <p:nvPr/>
            </p:nvSpPr>
            <p:spPr>
              <a:xfrm>
                <a:off x="15579779" y="12178281"/>
                <a:ext cx="287365" cy="241338"/>
              </a:xfrm>
              <a:custGeom>
                <a:avLst/>
                <a:gdLst>
                  <a:gd name="connsiteX0" fmla="*/ 158502 w 287365"/>
                  <a:gd name="connsiteY0" fmla="*/ 0 h 241338"/>
                  <a:gd name="connsiteX1" fmla="*/ 137025 w 287365"/>
                  <a:gd name="connsiteY1" fmla="*/ 85910 h 241338"/>
                  <a:gd name="connsiteX2" fmla="*/ 2025 w 287365"/>
                  <a:gd name="connsiteY2" fmla="*/ 239319 h 241338"/>
                  <a:gd name="connsiteX3" fmla="*/ 244411 w 287365"/>
                  <a:gd name="connsiteY3" fmla="*/ 144205 h 241338"/>
                  <a:gd name="connsiteX4" fmla="*/ 287365 w 287365"/>
                  <a:gd name="connsiteY4" fmla="*/ 21478 h 241338"/>
                  <a:gd name="connsiteX5" fmla="*/ 158502 w 287365"/>
                  <a:gd name="connsiteY5" fmla="*/ 0 h 241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7365" h="241338">
                    <a:moveTo>
                      <a:pt x="158502" y="0"/>
                    </a:moveTo>
                    <a:lnTo>
                      <a:pt x="137025" y="85910"/>
                    </a:lnTo>
                    <a:cubicBezTo>
                      <a:pt x="137025" y="85910"/>
                      <a:pt x="-19453" y="220909"/>
                      <a:pt x="2025" y="239319"/>
                    </a:cubicBezTo>
                    <a:cubicBezTo>
                      <a:pt x="23502" y="257728"/>
                      <a:pt x="244411" y="144205"/>
                      <a:pt x="244411" y="144205"/>
                    </a:cubicBezTo>
                    <a:lnTo>
                      <a:pt x="287365" y="21478"/>
                    </a:lnTo>
                    <a:lnTo>
                      <a:pt x="158502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1AC17098-5BEC-439E-BFF1-EA0CB91915D3}"/>
                </a:ext>
              </a:extLst>
            </p:cNvPr>
            <p:cNvSpPr/>
            <p:nvPr/>
          </p:nvSpPr>
          <p:spPr>
            <a:xfrm>
              <a:off x="15686121" y="10612827"/>
              <a:ext cx="1184260" cy="1651363"/>
            </a:xfrm>
            <a:custGeom>
              <a:avLst/>
              <a:gdLst>
                <a:gd name="connsiteX0" fmla="*/ 1141364 w 1184260"/>
                <a:gd name="connsiteY0" fmla="*/ 6818 h 1651363"/>
                <a:gd name="connsiteX1" fmla="*/ 1172046 w 1184260"/>
                <a:gd name="connsiteY1" fmla="*/ 304432 h 1651363"/>
                <a:gd name="connsiteX2" fmla="*/ 512387 w 1184260"/>
                <a:gd name="connsiteY2" fmla="*/ 697159 h 1651363"/>
                <a:gd name="connsiteX3" fmla="*/ 205569 w 1184260"/>
                <a:gd name="connsiteY3" fmla="*/ 1651364 h 1651363"/>
                <a:gd name="connsiteX4" fmla="*/ 0 w 1184260"/>
                <a:gd name="connsiteY4" fmla="*/ 1605341 h 1651363"/>
                <a:gd name="connsiteX5" fmla="*/ 153409 w 1184260"/>
                <a:gd name="connsiteY5" fmla="*/ 543750 h 1651363"/>
                <a:gd name="connsiteX6" fmla="*/ 834546 w 1184260"/>
                <a:gd name="connsiteY6" fmla="*/ 6818 h 1651363"/>
                <a:gd name="connsiteX7" fmla="*/ 1141364 w 1184260"/>
                <a:gd name="connsiteY7" fmla="*/ 6818 h 1651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4260" h="1651363">
                  <a:moveTo>
                    <a:pt x="1141364" y="6818"/>
                  </a:moveTo>
                  <a:cubicBezTo>
                    <a:pt x="1141364" y="6818"/>
                    <a:pt x="1211932" y="190909"/>
                    <a:pt x="1172046" y="304432"/>
                  </a:cubicBezTo>
                  <a:cubicBezTo>
                    <a:pt x="1129092" y="417954"/>
                    <a:pt x="536932" y="641932"/>
                    <a:pt x="512387" y="697159"/>
                  </a:cubicBezTo>
                  <a:cubicBezTo>
                    <a:pt x="487841" y="752386"/>
                    <a:pt x="205569" y="1651364"/>
                    <a:pt x="205569" y="1651364"/>
                  </a:cubicBezTo>
                  <a:cubicBezTo>
                    <a:pt x="205569" y="1651364"/>
                    <a:pt x="88977" y="1632955"/>
                    <a:pt x="0" y="1605341"/>
                  </a:cubicBezTo>
                  <a:cubicBezTo>
                    <a:pt x="0" y="1605341"/>
                    <a:pt x="95114" y="712500"/>
                    <a:pt x="153409" y="543750"/>
                  </a:cubicBezTo>
                  <a:cubicBezTo>
                    <a:pt x="205569" y="399545"/>
                    <a:pt x="776251" y="22159"/>
                    <a:pt x="834546" y="6818"/>
                  </a:cubicBezTo>
                  <a:cubicBezTo>
                    <a:pt x="892841" y="-8523"/>
                    <a:pt x="1141364" y="6818"/>
                    <a:pt x="1141364" y="6818"/>
                  </a:cubicBezTo>
                  <a:close/>
                </a:path>
              </a:pathLst>
            </a:custGeom>
            <a:solidFill>
              <a:srgbClr val="D16156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FC1D363F-3D43-4BB1-8B7A-BD13A853FBEF}"/>
                </a:ext>
              </a:extLst>
            </p:cNvPr>
            <p:cNvSpPr/>
            <p:nvPr/>
          </p:nvSpPr>
          <p:spPr>
            <a:xfrm>
              <a:off x="15176803" y="10613652"/>
              <a:ext cx="1343864" cy="1552355"/>
            </a:xfrm>
            <a:custGeom>
              <a:avLst/>
              <a:gdLst>
                <a:gd name="connsiteX0" fmla="*/ 1343864 w 1343864"/>
                <a:gd name="connsiteY0" fmla="*/ 5992 h 1552355"/>
                <a:gd name="connsiteX1" fmla="*/ 1205796 w 1343864"/>
                <a:gd name="connsiteY1" fmla="*/ 303607 h 1552355"/>
                <a:gd name="connsiteX2" fmla="*/ 693409 w 1343864"/>
                <a:gd name="connsiteY2" fmla="*/ 533720 h 1552355"/>
                <a:gd name="connsiteX3" fmla="*/ 162614 w 1343864"/>
                <a:gd name="connsiteY3" fmla="*/ 1552356 h 1552355"/>
                <a:gd name="connsiteX4" fmla="*/ 0 w 1343864"/>
                <a:gd name="connsiteY4" fmla="*/ 1497129 h 1552355"/>
                <a:gd name="connsiteX5" fmla="*/ 420341 w 1343864"/>
                <a:gd name="connsiteY5" fmla="*/ 318947 h 1552355"/>
                <a:gd name="connsiteX6" fmla="*/ 871364 w 1343864"/>
                <a:gd name="connsiteY6" fmla="*/ 9061 h 1552355"/>
                <a:gd name="connsiteX7" fmla="*/ 1343864 w 1343864"/>
                <a:gd name="connsiteY7" fmla="*/ 5992 h 1552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43864" h="1552355">
                  <a:moveTo>
                    <a:pt x="1343864" y="5992"/>
                  </a:moveTo>
                  <a:cubicBezTo>
                    <a:pt x="1343864" y="5992"/>
                    <a:pt x="1248750" y="190083"/>
                    <a:pt x="1205796" y="303607"/>
                  </a:cubicBezTo>
                  <a:cubicBezTo>
                    <a:pt x="1162842" y="417129"/>
                    <a:pt x="717955" y="478492"/>
                    <a:pt x="693409" y="533720"/>
                  </a:cubicBezTo>
                  <a:cubicBezTo>
                    <a:pt x="668864" y="588947"/>
                    <a:pt x="162614" y="1552356"/>
                    <a:pt x="162614" y="1552356"/>
                  </a:cubicBezTo>
                  <a:cubicBezTo>
                    <a:pt x="162614" y="1552356"/>
                    <a:pt x="70569" y="1518606"/>
                    <a:pt x="0" y="1497129"/>
                  </a:cubicBezTo>
                  <a:cubicBezTo>
                    <a:pt x="0" y="1497129"/>
                    <a:pt x="257728" y="515311"/>
                    <a:pt x="420341" y="318947"/>
                  </a:cubicBezTo>
                  <a:cubicBezTo>
                    <a:pt x="540000" y="174743"/>
                    <a:pt x="813068" y="24402"/>
                    <a:pt x="871364" y="9061"/>
                  </a:cubicBezTo>
                  <a:cubicBezTo>
                    <a:pt x="929660" y="-9348"/>
                    <a:pt x="1343864" y="5992"/>
                    <a:pt x="1343864" y="5992"/>
                  </a:cubicBezTo>
                  <a:close/>
                </a:path>
              </a:pathLst>
            </a:custGeom>
            <a:solidFill>
              <a:srgbClr val="D16156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A2875D5F-FE59-4CA5-BD65-0A28EEB79A29}"/>
                </a:ext>
              </a:extLst>
            </p:cNvPr>
            <p:cNvSpPr/>
            <p:nvPr/>
          </p:nvSpPr>
          <p:spPr>
            <a:xfrm>
              <a:off x="15781235" y="10820781"/>
              <a:ext cx="437045" cy="575113"/>
            </a:xfrm>
            <a:custGeom>
              <a:avLst/>
              <a:gdLst>
                <a:gd name="connsiteX0" fmla="*/ 6137 w 437045"/>
                <a:gd name="connsiteY0" fmla="*/ 575113 h 575113"/>
                <a:gd name="connsiteX1" fmla="*/ 6137 w 437045"/>
                <a:gd name="connsiteY1" fmla="*/ 575113 h 575113"/>
                <a:gd name="connsiteX2" fmla="*/ 0 w 437045"/>
                <a:gd name="connsiteY2" fmla="*/ 568977 h 575113"/>
                <a:gd name="connsiteX3" fmla="*/ 9204 w 437045"/>
                <a:gd name="connsiteY3" fmla="*/ 522955 h 575113"/>
                <a:gd name="connsiteX4" fmla="*/ 64432 w 437045"/>
                <a:gd name="connsiteY4" fmla="*/ 314318 h 575113"/>
                <a:gd name="connsiteX5" fmla="*/ 426477 w 437045"/>
                <a:gd name="connsiteY5" fmla="*/ 1364 h 575113"/>
                <a:gd name="connsiteX6" fmla="*/ 435682 w 437045"/>
                <a:gd name="connsiteY6" fmla="*/ 1364 h 575113"/>
                <a:gd name="connsiteX7" fmla="*/ 435682 w 437045"/>
                <a:gd name="connsiteY7" fmla="*/ 10568 h 575113"/>
                <a:gd name="connsiteX8" fmla="*/ 76705 w 437045"/>
                <a:gd name="connsiteY8" fmla="*/ 320454 h 575113"/>
                <a:gd name="connsiteX9" fmla="*/ 24545 w 437045"/>
                <a:gd name="connsiteY9" fmla="*/ 522955 h 575113"/>
                <a:gd name="connsiteX10" fmla="*/ 15341 w 437045"/>
                <a:gd name="connsiteY10" fmla="*/ 568977 h 575113"/>
                <a:gd name="connsiteX11" fmla="*/ 6137 w 437045"/>
                <a:gd name="connsiteY11" fmla="*/ 575113 h 575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7045" h="575113">
                  <a:moveTo>
                    <a:pt x="6137" y="575113"/>
                  </a:moveTo>
                  <a:cubicBezTo>
                    <a:pt x="6137" y="575113"/>
                    <a:pt x="3068" y="575113"/>
                    <a:pt x="6137" y="575113"/>
                  </a:cubicBezTo>
                  <a:cubicBezTo>
                    <a:pt x="3068" y="575113"/>
                    <a:pt x="0" y="572046"/>
                    <a:pt x="0" y="568977"/>
                  </a:cubicBezTo>
                  <a:cubicBezTo>
                    <a:pt x="3068" y="553636"/>
                    <a:pt x="6137" y="538296"/>
                    <a:pt x="9204" y="522955"/>
                  </a:cubicBezTo>
                  <a:cubicBezTo>
                    <a:pt x="24545" y="437045"/>
                    <a:pt x="39886" y="345000"/>
                    <a:pt x="64432" y="314318"/>
                  </a:cubicBezTo>
                  <a:cubicBezTo>
                    <a:pt x="125796" y="228409"/>
                    <a:pt x="251591" y="121023"/>
                    <a:pt x="426477" y="1364"/>
                  </a:cubicBezTo>
                  <a:cubicBezTo>
                    <a:pt x="429545" y="-1705"/>
                    <a:pt x="432614" y="1364"/>
                    <a:pt x="435682" y="1364"/>
                  </a:cubicBezTo>
                  <a:cubicBezTo>
                    <a:pt x="438750" y="4432"/>
                    <a:pt x="435682" y="7500"/>
                    <a:pt x="435682" y="10568"/>
                  </a:cubicBezTo>
                  <a:cubicBezTo>
                    <a:pt x="263864" y="130227"/>
                    <a:pt x="138068" y="237613"/>
                    <a:pt x="76705" y="320454"/>
                  </a:cubicBezTo>
                  <a:cubicBezTo>
                    <a:pt x="55227" y="348068"/>
                    <a:pt x="39886" y="440113"/>
                    <a:pt x="24545" y="522955"/>
                  </a:cubicBezTo>
                  <a:cubicBezTo>
                    <a:pt x="21478" y="538296"/>
                    <a:pt x="18409" y="553636"/>
                    <a:pt x="15341" y="568977"/>
                  </a:cubicBezTo>
                  <a:cubicBezTo>
                    <a:pt x="9204" y="572046"/>
                    <a:pt x="9204" y="575113"/>
                    <a:pt x="6137" y="575113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AFC4C997-98D2-4593-83CF-E515F9D36A6D}"/>
                </a:ext>
              </a:extLst>
            </p:cNvPr>
            <p:cNvSpPr/>
            <p:nvPr/>
          </p:nvSpPr>
          <p:spPr>
            <a:xfrm>
              <a:off x="16127939" y="11232010"/>
              <a:ext cx="79772" cy="84112"/>
            </a:xfrm>
            <a:custGeom>
              <a:avLst/>
              <a:gdLst>
                <a:gd name="connsiteX0" fmla="*/ 79773 w 79772"/>
                <a:gd name="connsiteY0" fmla="*/ 84112 h 84112"/>
                <a:gd name="connsiteX1" fmla="*/ 6137 w 79772"/>
                <a:gd name="connsiteY1" fmla="*/ 84112 h 84112"/>
                <a:gd name="connsiteX2" fmla="*/ 0 w 79772"/>
                <a:gd name="connsiteY2" fmla="*/ 77976 h 84112"/>
                <a:gd name="connsiteX3" fmla="*/ 6137 w 79772"/>
                <a:gd name="connsiteY3" fmla="*/ 71839 h 84112"/>
                <a:gd name="connsiteX4" fmla="*/ 61364 w 79772"/>
                <a:gd name="connsiteY4" fmla="*/ 71839 h 84112"/>
                <a:gd name="connsiteX5" fmla="*/ 21478 w 79772"/>
                <a:gd name="connsiteY5" fmla="*/ 10475 h 84112"/>
                <a:gd name="connsiteX6" fmla="*/ 18409 w 79772"/>
                <a:gd name="connsiteY6" fmla="*/ 4339 h 84112"/>
                <a:gd name="connsiteX7" fmla="*/ 24546 w 79772"/>
                <a:gd name="connsiteY7" fmla="*/ 1271 h 84112"/>
                <a:gd name="connsiteX8" fmla="*/ 73637 w 79772"/>
                <a:gd name="connsiteY8" fmla="*/ 77976 h 84112"/>
                <a:gd name="connsiteX9" fmla="*/ 79773 w 79772"/>
                <a:gd name="connsiteY9" fmla="*/ 84112 h 8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772" h="84112">
                  <a:moveTo>
                    <a:pt x="79773" y="84112"/>
                  </a:moveTo>
                  <a:lnTo>
                    <a:pt x="6137" y="84112"/>
                  </a:lnTo>
                  <a:cubicBezTo>
                    <a:pt x="3068" y="84112"/>
                    <a:pt x="0" y="81044"/>
                    <a:pt x="0" y="77976"/>
                  </a:cubicBezTo>
                  <a:cubicBezTo>
                    <a:pt x="0" y="74907"/>
                    <a:pt x="3068" y="71839"/>
                    <a:pt x="6137" y="71839"/>
                  </a:cubicBezTo>
                  <a:lnTo>
                    <a:pt x="61364" y="71839"/>
                  </a:lnTo>
                  <a:cubicBezTo>
                    <a:pt x="46023" y="41157"/>
                    <a:pt x="30682" y="13544"/>
                    <a:pt x="21478" y="10475"/>
                  </a:cubicBezTo>
                  <a:cubicBezTo>
                    <a:pt x="18409" y="10475"/>
                    <a:pt x="15341" y="7408"/>
                    <a:pt x="18409" y="4339"/>
                  </a:cubicBezTo>
                  <a:cubicBezTo>
                    <a:pt x="18409" y="1271"/>
                    <a:pt x="21478" y="-1797"/>
                    <a:pt x="24546" y="1271"/>
                  </a:cubicBezTo>
                  <a:cubicBezTo>
                    <a:pt x="39887" y="4339"/>
                    <a:pt x="64432" y="56498"/>
                    <a:pt x="73637" y="77976"/>
                  </a:cubicBezTo>
                  <a:lnTo>
                    <a:pt x="79773" y="84112"/>
                  </a:ln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40EAEDEB-5F35-4558-9657-805D640A5B41}"/>
                </a:ext>
              </a:extLst>
            </p:cNvPr>
            <p:cNvSpPr/>
            <p:nvPr/>
          </p:nvSpPr>
          <p:spPr>
            <a:xfrm>
              <a:off x="14397380" y="8541098"/>
              <a:ext cx="1282605" cy="989342"/>
            </a:xfrm>
            <a:custGeom>
              <a:avLst/>
              <a:gdLst>
                <a:gd name="connsiteX0" fmla="*/ 1282606 w 1282605"/>
                <a:gd name="connsiteY0" fmla="*/ 989343 h 989342"/>
                <a:gd name="connsiteX1" fmla="*/ 1086241 w 1282605"/>
                <a:gd name="connsiteY1" fmla="*/ 627297 h 989342"/>
                <a:gd name="connsiteX2" fmla="*/ 1147605 w 1282605"/>
                <a:gd name="connsiteY2" fmla="*/ 305138 h 989342"/>
                <a:gd name="connsiteX3" fmla="*/ 1012605 w 1282605"/>
                <a:gd name="connsiteY3" fmla="*/ 114911 h 989342"/>
                <a:gd name="connsiteX4" fmla="*/ 202605 w 1282605"/>
                <a:gd name="connsiteY4" fmla="*/ 1388 h 989342"/>
                <a:gd name="connsiteX5" fmla="*/ 21583 w 1282605"/>
                <a:gd name="connsiteY5" fmla="*/ 154797 h 989342"/>
                <a:gd name="connsiteX6" fmla="*/ 105 w 1282605"/>
                <a:gd name="connsiteY6" fmla="*/ 639570 h 989342"/>
                <a:gd name="connsiteX7" fmla="*/ 150446 w 1282605"/>
                <a:gd name="connsiteY7" fmla="*/ 805252 h 989342"/>
                <a:gd name="connsiteX8" fmla="*/ 1040219 w 1282605"/>
                <a:gd name="connsiteY8" fmla="*/ 863547 h 989342"/>
                <a:gd name="connsiteX9" fmla="*/ 1282606 w 1282605"/>
                <a:gd name="connsiteY9" fmla="*/ 989343 h 98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2605" h="989342">
                  <a:moveTo>
                    <a:pt x="1282606" y="989343"/>
                  </a:moveTo>
                  <a:lnTo>
                    <a:pt x="1086241" y="627297"/>
                  </a:lnTo>
                  <a:lnTo>
                    <a:pt x="1147605" y="305138"/>
                  </a:lnTo>
                  <a:cubicBezTo>
                    <a:pt x="1166014" y="216161"/>
                    <a:pt x="1101582" y="130252"/>
                    <a:pt x="1012605" y="114911"/>
                  </a:cubicBezTo>
                  <a:lnTo>
                    <a:pt x="202605" y="1388"/>
                  </a:lnTo>
                  <a:cubicBezTo>
                    <a:pt x="107491" y="-10885"/>
                    <a:pt x="24651" y="59684"/>
                    <a:pt x="21583" y="154797"/>
                  </a:cubicBezTo>
                  <a:lnTo>
                    <a:pt x="105" y="639570"/>
                  </a:lnTo>
                  <a:cubicBezTo>
                    <a:pt x="-2963" y="725479"/>
                    <a:pt x="61469" y="802184"/>
                    <a:pt x="150446" y="805252"/>
                  </a:cubicBezTo>
                  <a:lnTo>
                    <a:pt x="1040219" y="863547"/>
                  </a:lnTo>
                  <a:lnTo>
                    <a:pt x="1282606" y="989343"/>
                  </a:ln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0766F2CD-2F60-4D7C-8D95-7DBCF5612EEE}"/>
                </a:ext>
              </a:extLst>
            </p:cNvPr>
            <p:cNvSpPr/>
            <p:nvPr/>
          </p:nvSpPr>
          <p:spPr>
            <a:xfrm>
              <a:off x="16361121" y="9266577"/>
              <a:ext cx="297614" cy="279204"/>
            </a:xfrm>
            <a:custGeom>
              <a:avLst/>
              <a:gdLst>
                <a:gd name="connsiteX0" fmla="*/ 0 w 297614"/>
                <a:gd name="connsiteY0" fmla="*/ 270000 h 279204"/>
                <a:gd name="connsiteX1" fmla="*/ 279205 w 297614"/>
                <a:gd name="connsiteY1" fmla="*/ 279205 h 279204"/>
                <a:gd name="connsiteX2" fmla="*/ 297614 w 297614"/>
                <a:gd name="connsiteY2" fmla="*/ 135000 h 279204"/>
                <a:gd name="connsiteX3" fmla="*/ 294546 w 297614"/>
                <a:gd name="connsiteY3" fmla="*/ 21478 h 279204"/>
                <a:gd name="connsiteX4" fmla="*/ 220909 w 297614"/>
                <a:gd name="connsiteY4" fmla="*/ 0 h 279204"/>
                <a:gd name="connsiteX5" fmla="*/ 58295 w 297614"/>
                <a:gd name="connsiteY5" fmla="*/ 85909 h 279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614" h="279204">
                  <a:moveTo>
                    <a:pt x="0" y="270000"/>
                  </a:moveTo>
                  <a:lnTo>
                    <a:pt x="279205" y="279205"/>
                  </a:lnTo>
                  <a:lnTo>
                    <a:pt x="297614" y="135000"/>
                  </a:lnTo>
                  <a:lnTo>
                    <a:pt x="294546" y="21478"/>
                  </a:lnTo>
                  <a:lnTo>
                    <a:pt x="220909" y="0"/>
                  </a:lnTo>
                  <a:lnTo>
                    <a:pt x="58295" y="85909"/>
                  </a:lnTo>
                  <a:close/>
                </a:path>
              </a:pathLst>
            </a:custGeom>
            <a:solidFill>
              <a:srgbClr val="664241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B87F7C3E-1E09-4014-BFD0-C5ABB911FD75}"/>
                </a:ext>
              </a:extLst>
            </p:cNvPr>
            <p:cNvSpPr/>
            <p:nvPr/>
          </p:nvSpPr>
          <p:spPr>
            <a:xfrm>
              <a:off x="16005212" y="8899243"/>
              <a:ext cx="494312" cy="666224"/>
            </a:xfrm>
            <a:custGeom>
              <a:avLst/>
              <a:gdLst>
                <a:gd name="connsiteX0" fmla="*/ 408069 w 494312"/>
                <a:gd name="connsiteY0" fmla="*/ 468584 h 666224"/>
                <a:gd name="connsiteX1" fmla="*/ 405000 w 494312"/>
                <a:gd name="connsiteY1" fmla="*/ 305970 h 666224"/>
                <a:gd name="connsiteX2" fmla="*/ 454091 w 494312"/>
                <a:gd name="connsiteY2" fmla="*/ 161766 h 666224"/>
                <a:gd name="connsiteX3" fmla="*/ 493977 w 494312"/>
                <a:gd name="connsiteY3" fmla="*/ 11425 h 666224"/>
                <a:gd name="connsiteX4" fmla="*/ 159546 w 494312"/>
                <a:gd name="connsiteY4" fmla="*/ 167902 h 666224"/>
                <a:gd name="connsiteX5" fmla="*/ 0 w 494312"/>
                <a:gd name="connsiteY5" fmla="*/ 569834 h 666224"/>
                <a:gd name="connsiteX6" fmla="*/ 423410 w 494312"/>
                <a:gd name="connsiteY6" fmla="*/ 643470 h 666224"/>
                <a:gd name="connsiteX7" fmla="*/ 408069 w 494312"/>
                <a:gd name="connsiteY7" fmla="*/ 468584 h 666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4312" h="666224">
                  <a:moveTo>
                    <a:pt x="408069" y="468584"/>
                  </a:moveTo>
                  <a:cubicBezTo>
                    <a:pt x="401932" y="416425"/>
                    <a:pt x="398864" y="361198"/>
                    <a:pt x="405000" y="305970"/>
                  </a:cubicBezTo>
                  <a:cubicBezTo>
                    <a:pt x="414205" y="253811"/>
                    <a:pt x="429545" y="207789"/>
                    <a:pt x="454091" y="161766"/>
                  </a:cubicBezTo>
                  <a:cubicBezTo>
                    <a:pt x="478637" y="112675"/>
                    <a:pt x="497046" y="11425"/>
                    <a:pt x="493977" y="11425"/>
                  </a:cubicBezTo>
                  <a:cubicBezTo>
                    <a:pt x="380455" y="-28461"/>
                    <a:pt x="190228" y="39039"/>
                    <a:pt x="159546" y="167902"/>
                  </a:cubicBezTo>
                  <a:cubicBezTo>
                    <a:pt x="144205" y="232334"/>
                    <a:pt x="125796" y="407220"/>
                    <a:pt x="0" y="569834"/>
                  </a:cubicBezTo>
                  <a:cubicBezTo>
                    <a:pt x="98182" y="652675"/>
                    <a:pt x="411137" y="695630"/>
                    <a:pt x="423410" y="643470"/>
                  </a:cubicBezTo>
                  <a:cubicBezTo>
                    <a:pt x="432614" y="594380"/>
                    <a:pt x="414205" y="511539"/>
                    <a:pt x="408069" y="468584"/>
                  </a:cubicBezTo>
                  <a:close/>
                </a:path>
              </a:pathLst>
            </a:custGeom>
            <a:solidFill>
              <a:srgbClr val="664241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BD27E8BD-346A-4F60-871A-E2DEEF482F01}"/>
                </a:ext>
              </a:extLst>
            </p:cNvPr>
            <p:cNvSpPr/>
            <p:nvPr/>
          </p:nvSpPr>
          <p:spPr>
            <a:xfrm>
              <a:off x="15348621" y="9639004"/>
              <a:ext cx="927480" cy="940755"/>
            </a:xfrm>
            <a:custGeom>
              <a:avLst/>
              <a:gdLst>
                <a:gd name="connsiteX0" fmla="*/ 905114 w 927480"/>
                <a:gd name="connsiteY0" fmla="*/ 284163 h 940755"/>
                <a:gd name="connsiteX1" fmla="*/ 828409 w 927480"/>
                <a:gd name="connsiteY1" fmla="*/ 1891 h 940755"/>
                <a:gd name="connsiteX2" fmla="*/ 635114 w 927480"/>
                <a:gd name="connsiteY2" fmla="*/ 317914 h 940755"/>
                <a:gd name="connsiteX3" fmla="*/ 540000 w 927480"/>
                <a:gd name="connsiteY3" fmla="*/ 729050 h 940755"/>
                <a:gd name="connsiteX4" fmla="*/ 0 w 927480"/>
                <a:gd name="connsiteY4" fmla="*/ 796550 h 940755"/>
                <a:gd name="connsiteX5" fmla="*/ 12273 w 927480"/>
                <a:gd name="connsiteY5" fmla="*/ 940755 h 940755"/>
                <a:gd name="connsiteX6" fmla="*/ 803864 w 927480"/>
                <a:gd name="connsiteY6" fmla="*/ 870186 h 940755"/>
                <a:gd name="connsiteX7" fmla="*/ 905114 w 927480"/>
                <a:gd name="connsiteY7" fmla="*/ 284163 h 94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7480" h="940755">
                  <a:moveTo>
                    <a:pt x="905114" y="284163"/>
                  </a:moveTo>
                  <a:cubicBezTo>
                    <a:pt x="960341" y="146095"/>
                    <a:pt x="905114" y="-19586"/>
                    <a:pt x="828409" y="1891"/>
                  </a:cubicBezTo>
                  <a:cubicBezTo>
                    <a:pt x="739432" y="26436"/>
                    <a:pt x="650455" y="143028"/>
                    <a:pt x="635114" y="317914"/>
                  </a:cubicBezTo>
                  <a:cubicBezTo>
                    <a:pt x="625909" y="419164"/>
                    <a:pt x="555341" y="732118"/>
                    <a:pt x="540000" y="729050"/>
                  </a:cubicBezTo>
                  <a:cubicBezTo>
                    <a:pt x="533863" y="729050"/>
                    <a:pt x="0" y="796550"/>
                    <a:pt x="0" y="796550"/>
                  </a:cubicBezTo>
                  <a:cubicBezTo>
                    <a:pt x="15341" y="824164"/>
                    <a:pt x="12273" y="940755"/>
                    <a:pt x="12273" y="940755"/>
                  </a:cubicBezTo>
                  <a:cubicBezTo>
                    <a:pt x="12273" y="940755"/>
                    <a:pt x="751705" y="934618"/>
                    <a:pt x="803864" y="870186"/>
                  </a:cubicBezTo>
                  <a:cubicBezTo>
                    <a:pt x="849887" y="814959"/>
                    <a:pt x="834546" y="455982"/>
                    <a:pt x="905114" y="284163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96951496-1959-43ED-B862-29C7E330F5AE}"/>
                </a:ext>
              </a:extLst>
            </p:cNvPr>
            <p:cNvSpPr/>
            <p:nvPr/>
          </p:nvSpPr>
          <p:spPr>
            <a:xfrm>
              <a:off x="16060727" y="9560307"/>
              <a:ext cx="790964" cy="913318"/>
            </a:xfrm>
            <a:custGeom>
              <a:avLst/>
              <a:gdLst>
                <a:gd name="connsiteX0" fmla="*/ 73350 w 790964"/>
                <a:gd name="connsiteY0" fmla="*/ 893657 h 913318"/>
                <a:gd name="connsiteX1" fmla="*/ 686986 w 790964"/>
                <a:gd name="connsiteY1" fmla="*/ 884452 h 913318"/>
                <a:gd name="connsiteX2" fmla="*/ 754486 w 790964"/>
                <a:gd name="connsiteY2" fmla="*/ 384338 h 913318"/>
                <a:gd name="connsiteX3" fmla="*/ 726872 w 790964"/>
                <a:gd name="connsiteY3" fmla="*/ 59111 h 913318"/>
                <a:gd name="connsiteX4" fmla="*/ 355623 w 790964"/>
                <a:gd name="connsiteY4" fmla="*/ 6952 h 913318"/>
                <a:gd name="connsiteX5" fmla="*/ 36531 w 790964"/>
                <a:gd name="connsiteY5" fmla="*/ 151156 h 913318"/>
                <a:gd name="connsiteX6" fmla="*/ 73350 w 790964"/>
                <a:gd name="connsiteY6" fmla="*/ 893657 h 91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0964" h="913318">
                  <a:moveTo>
                    <a:pt x="73350" y="893657"/>
                  </a:moveTo>
                  <a:cubicBezTo>
                    <a:pt x="73350" y="899793"/>
                    <a:pt x="447668" y="939680"/>
                    <a:pt x="686986" y="884452"/>
                  </a:cubicBezTo>
                  <a:cubicBezTo>
                    <a:pt x="674714" y="795475"/>
                    <a:pt x="736077" y="454906"/>
                    <a:pt x="754486" y="384338"/>
                  </a:cubicBezTo>
                  <a:cubicBezTo>
                    <a:pt x="763691" y="350588"/>
                    <a:pt x="846532" y="117406"/>
                    <a:pt x="726872" y="59111"/>
                  </a:cubicBezTo>
                  <a:cubicBezTo>
                    <a:pt x="619486" y="6952"/>
                    <a:pt x="472213" y="-11457"/>
                    <a:pt x="355623" y="6952"/>
                  </a:cubicBezTo>
                  <a:cubicBezTo>
                    <a:pt x="223690" y="28429"/>
                    <a:pt x="67213" y="83657"/>
                    <a:pt x="36531" y="151156"/>
                  </a:cubicBezTo>
                  <a:cubicBezTo>
                    <a:pt x="-70855" y="387407"/>
                    <a:pt x="94827" y="534679"/>
                    <a:pt x="73350" y="89365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8EED2169-07AB-4B4E-96D0-D8A186F3060E}"/>
                </a:ext>
              </a:extLst>
            </p:cNvPr>
            <p:cNvSpPr/>
            <p:nvPr/>
          </p:nvSpPr>
          <p:spPr>
            <a:xfrm>
              <a:off x="16293622" y="9380100"/>
              <a:ext cx="319090" cy="258685"/>
            </a:xfrm>
            <a:custGeom>
              <a:avLst/>
              <a:gdLst>
                <a:gd name="connsiteX0" fmla="*/ 58295 w 319090"/>
                <a:gd name="connsiteY0" fmla="*/ 70568 h 258685"/>
                <a:gd name="connsiteX1" fmla="*/ 0 w 319090"/>
                <a:gd name="connsiteY1" fmla="*/ 220909 h 258685"/>
                <a:gd name="connsiteX2" fmla="*/ 319091 w 319090"/>
                <a:gd name="connsiteY2" fmla="*/ 187159 h 258685"/>
                <a:gd name="connsiteX3" fmla="*/ 260795 w 319090"/>
                <a:gd name="connsiteY3" fmla="*/ 0 h 258685"/>
                <a:gd name="connsiteX4" fmla="*/ 58295 w 319090"/>
                <a:gd name="connsiteY4" fmla="*/ 70568 h 25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9090" h="258685">
                  <a:moveTo>
                    <a:pt x="58295" y="70568"/>
                  </a:moveTo>
                  <a:cubicBezTo>
                    <a:pt x="58295" y="70568"/>
                    <a:pt x="70568" y="184091"/>
                    <a:pt x="0" y="220909"/>
                  </a:cubicBezTo>
                  <a:cubicBezTo>
                    <a:pt x="0" y="220909"/>
                    <a:pt x="184091" y="325227"/>
                    <a:pt x="319091" y="187159"/>
                  </a:cubicBezTo>
                  <a:cubicBezTo>
                    <a:pt x="260795" y="147272"/>
                    <a:pt x="260795" y="64432"/>
                    <a:pt x="260795" y="0"/>
                  </a:cubicBezTo>
                  <a:cubicBezTo>
                    <a:pt x="260795" y="0"/>
                    <a:pt x="113522" y="73636"/>
                    <a:pt x="58295" y="70568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A8760625-A393-4F96-9820-CA233B4C3DDC}"/>
                </a:ext>
              </a:extLst>
            </p:cNvPr>
            <p:cNvSpPr/>
            <p:nvPr/>
          </p:nvSpPr>
          <p:spPr>
            <a:xfrm>
              <a:off x="16051235" y="10444758"/>
              <a:ext cx="780291" cy="240480"/>
            </a:xfrm>
            <a:custGeom>
              <a:avLst/>
              <a:gdLst>
                <a:gd name="connsiteX0" fmla="*/ 0 w 780291"/>
                <a:gd name="connsiteY0" fmla="*/ 193296 h 240480"/>
                <a:gd name="connsiteX1" fmla="*/ 76705 w 780291"/>
                <a:gd name="connsiteY1" fmla="*/ 12273 h 240480"/>
                <a:gd name="connsiteX2" fmla="*/ 693409 w 780291"/>
                <a:gd name="connsiteY2" fmla="*/ 0 h 240480"/>
                <a:gd name="connsiteX3" fmla="*/ 779319 w 780291"/>
                <a:gd name="connsiteY3" fmla="*/ 193296 h 240480"/>
                <a:gd name="connsiteX4" fmla="*/ 355909 w 780291"/>
                <a:gd name="connsiteY4" fmla="*/ 230114 h 240480"/>
                <a:gd name="connsiteX5" fmla="*/ 0 w 780291"/>
                <a:gd name="connsiteY5" fmla="*/ 193296 h 24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0291" h="240480">
                  <a:moveTo>
                    <a:pt x="0" y="193296"/>
                  </a:moveTo>
                  <a:cubicBezTo>
                    <a:pt x="0" y="193296"/>
                    <a:pt x="61364" y="67500"/>
                    <a:pt x="76705" y="12273"/>
                  </a:cubicBezTo>
                  <a:cubicBezTo>
                    <a:pt x="76705" y="12273"/>
                    <a:pt x="457160" y="46023"/>
                    <a:pt x="693409" y="0"/>
                  </a:cubicBezTo>
                  <a:cubicBezTo>
                    <a:pt x="693409" y="0"/>
                    <a:pt x="754773" y="119660"/>
                    <a:pt x="779319" y="193296"/>
                  </a:cubicBezTo>
                  <a:cubicBezTo>
                    <a:pt x="803864" y="270001"/>
                    <a:pt x="355909" y="230114"/>
                    <a:pt x="355909" y="230114"/>
                  </a:cubicBezTo>
                  <a:lnTo>
                    <a:pt x="0" y="193296"/>
                  </a:lnTo>
                  <a:close/>
                </a:path>
              </a:pathLst>
            </a:custGeom>
            <a:solidFill>
              <a:srgbClr val="D16156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8643FB9F-B09A-4713-9DDC-41B686589748}"/>
                </a:ext>
              </a:extLst>
            </p:cNvPr>
            <p:cNvSpPr/>
            <p:nvPr/>
          </p:nvSpPr>
          <p:spPr>
            <a:xfrm>
              <a:off x="16079038" y="9640895"/>
              <a:ext cx="88788" cy="576817"/>
            </a:xfrm>
            <a:custGeom>
              <a:avLst/>
              <a:gdLst>
                <a:gd name="connsiteX0" fmla="*/ 55038 w 88788"/>
                <a:gd name="connsiteY0" fmla="*/ 576818 h 576817"/>
                <a:gd name="connsiteX1" fmla="*/ 48901 w 88788"/>
                <a:gd name="connsiteY1" fmla="*/ 573749 h 576817"/>
                <a:gd name="connsiteX2" fmla="*/ 2878 w 88788"/>
                <a:gd name="connsiteY2" fmla="*/ 383523 h 576817"/>
                <a:gd name="connsiteX3" fmla="*/ 76516 w 88788"/>
                <a:gd name="connsiteY3" fmla="*/ 3068 h 576817"/>
                <a:gd name="connsiteX4" fmla="*/ 85720 w 88788"/>
                <a:gd name="connsiteY4" fmla="*/ 0 h 576817"/>
                <a:gd name="connsiteX5" fmla="*/ 88788 w 88788"/>
                <a:gd name="connsiteY5" fmla="*/ 9204 h 576817"/>
                <a:gd name="connsiteX6" fmla="*/ 15152 w 88788"/>
                <a:gd name="connsiteY6" fmla="*/ 383523 h 576817"/>
                <a:gd name="connsiteX7" fmla="*/ 61175 w 88788"/>
                <a:gd name="connsiteY7" fmla="*/ 570682 h 576817"/>
                <a:gd name="connsiteX8" fmla="*/ 55038 w 88788"/>
                <a:gd name="connsiteY8" fmla="*/ 576818 h 576817"/>
                <a:gd name="connsiteX9" fmla="*/ 55038 w 88788"/>
                <a:gd name="connsiteY9" fmla="*/ 576818 h 576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788" h="576817">
                  <a:moveTo>
                    <a:pt x="55038" y="576818"/>
                  </a:moveTo>
                  <a:cubicBezTo>
                    <a:pt x="51970" y="576818"/>
                    <a:pt x="48901" y="573749"/>
                    <a:pt x="48901" y="573749"/>
                  </a:cubicBezTo>
                  <a:cubicBezTo>
                    <a:pt x="30493" y="512386"/>
                    <a:pt x="9015" y="447955"/>
                    <a:pt x="2878" y="383523"/>
                  </a:cubicBezTo>
                  <a:cubicBezTo>
                    <a:pt x="-12462" y="245455"/>
                    <a:pt x="36629" y="107386"/>
                    <a:pt x="76516" y="3068"/>
                  </a:cubicBezTo>
                  <a:cubicBezTo>
                    <a:pt x="76516" y="0"/>
                    <a:pt x="82651" y="0"/>
                    <a:pt x="85720" y="0"/>
                  </a:cubicBezTo>
                  <a:cubicBezTo>
                    <a:pt x="88788" y="0"/>
                    <a:pt x="88788" y="6136"/>
                    <a:pt x="88788" y="9204"/>
                  </a:cubicBezTo>
                  <a:cubicBezTo>
                    <a:pt x="45834" y="110455"/>
                    <a:pt x="-189" y="245455"/>
                    <a:pt x="15152" y="383523"/>
                  </a:cubicBezTo>
                  <a:cubicBezTo>
                    <a:pt x="21288" y="447955"/>
                    <a:pt x="39697" y="509318"/>
                    <a:pt x="61175" y="570682"/>
                  </a:cubicBezTo>
                  <a:cubicBezTo>
                    <a:pt x="64242" y="573749"/>
                    <a:pt x="61175" y="576818"/>
                    <a:pt x="55038" y="576818"/>
                  </a:cubicBezTo>
                  <a:cubicBezTo>
                    <a:pt x="58106" y="576818"/>
                    <a:pt x="58106" y="576818"/>
                    <a:pt x="55038" y="576818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8C743E4E-B7D0-4159-9CF6-8B1E03B5C78B}"/>
                </a:ext>
              </a:extLst>
            </p:cNvPr>
            <p:cNvSpPr/>
            <p:nvPr/>
          </p:nvSpPr>
          <p:spPr>
            <a:xfrm>
              <a:off x="16229190" y="10060063"/>
              <a:ext cx="322159" cy="28786"/>
            </a:xfrm>
            <a:custGeom>
              <a:avLst/>
              <a:gdLst>
                <a:gd name="connsiteX0" fmla="*/ 312954 w 322159"/>
                <a:gd name="connsiteY0" fmla="*/ 28787 h 28786"/>
                <a:gd name="connsiteX1" fmla="*/ 312954 w 322159"/>
                <a:gd name="connsiteY1" fmla="*/ 28787 h 28786"/>
                <a:gd name="connsiteX2" fmla="*/ 6136 w 322159"/>
                <a:gd name="connsiteY2" fmla="*/ 25718 h 28786"/>
                <a:gd name="connsiteX3" fmla="*/ 0 w 322159"/>
                <a:gd name="connsiteY3" fmla="*/ 19581 h 28786"/>
                <a:gd name="connsiteX4" fmla="*/ 6136 w 322159"/>
                <a:gd name="connsiteY4" fmla="*/ 13446 h 28786"/>
                <a:gd name="connsiteX5" fmla="*/ 316022 w 322159"/>
                <a:gd name="connsiteY5" fmla="*/ 16513 h 28786"/>
                <a:gd name="connsiteX6" fmla="*/ 322159 w 322159"/>
                <a:gd name="connsiteY6" fmla="*/ 22650 h 28786"/>
                <a:gd name="connsiteX7" fmla="*/ 312954 w 322159"/>
                <a:gd name="connsiteY7" fmla="*/ 28787 h 28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2159" h="28786">
                  <a:moveTo>
                    <a:pt x="312954" y="28787"/>
                  </a:moveTo>
                  <a:cubicBezTo>
                    <a:pt x="312954" y="28787"/>
                    <a:pt x="312954" y="28787"/>
                    <a:pt x="312954" y="28787"/>
                  </a:cubicBezTo>
                  <a:cubicBezTo>
                    <a:pt x="211704" y="7309"/>
                    <a:pt x="104318" y="7309"/>
                    <a:pt x="6136" y="25718"/>
                  </a:cubicBezTo>
                  <a:cubicBezTo>
                    <a:pt x="3068" y="25718"/>
                    <a:pt x="0" y="25718"/>
                    <a:pt x="0" y="19581"/>
                  </a:cubicBezTo>
                  <a:cubicBezTo>
                    <a:pt x="0" y="16513"/>
                    <a:pt x="0" y="13446"/>
                    <a:pt x="6136" y="13446"/>
                  </a:cubicBezTo>
                  <a:cubicBezTo>
                    <a:pt x="107386" y="-4964"/>
                    <a:pt x="214773" y="-4964"/>
                    <a:pt x="316022" y="16513"/>
                  </a:cubicBezTo>
                  <a:cubicBezTo>
                    <a:pt x="319091" y="16513"/>
                    <a:pt x="322159" y="19581"/>
                    <a:pt x="322159" y="22650"/>
                  </a:cubicBezTo>
                  <a:cubicBezTo>
                    <a:pt x="319091" y="25718"/>
                    <a:pt x="316022" y="28787"/>
                    <a:pt x="312954" y="28787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7042108-8939-496B-B8E7-A479E89E5F68}"/>
                </a:ext>
              </a:extLst>
            </p:cNvPr>
            <p:cNvSpPr/>
            <p:nvPr/>
          </p:nvSpPr>
          <p:spPr>
            <a:xfrm>
              <a:off x="16051235" y="10190100"/>
              <a:ext cx="803863" cy="418213"/>
            </a:xfrm>
            <a:custGeom>
              <a:avLst/>
              <a:gdLst>
                <a:gd name="connsiteX0" fmla="*/ 85910 w 803863"/>
                <a:gd name="connsiteY0" fmla="*/ 202500 h 418213"/>
                <a:gd name="connsiteX1" fmla="*/ 0 w 803863"/>
                <a:gd name="connsiteY1" fmla="*/ 362045 h 418213"/>
                <a:gd name="connsiteX2" fmla="*/ 803864 w 803863"/>
                <a:gd name="connsiteY2" fmla="*/ 405000 h 418213"/>
                <a:gd name="connsiteX3" fmla="*/ 696478 w 803863"/>
                <a:gd name="connsiteY3" fmla="*/ 135000 h 418213"/>
                <a:gd name="connsiteX4" fmla="*/ 650455 w 803863"/>
                <a:gd name="connsiteY4" fmla="*/ 0 h 418213"/>
                <a:gd name="connsiteX5" fmla="*/ 85910 w 803863"/>
                <a:gd name="connsiteY5" fmla="*/ 202500 h 418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3863" h="418213">
                  <a:moveTo>
                    <a:pt x="85910" y="202500"/>
                  </a:moveTo>
                  <a:cubicBezTo>
                    <a:pt x="70569" y="236250"/>
                    <a:pt x="0" y="362045"/>
                    <a:pt x="0" y="362045"/>
                  </a:cubicBezTo>
                  <a:cubicBezTo>
                    <a:pt x="0" y="362045"/>
                    <a:pt x="567614" y="451023"/>
                    <a:pt x="803864" y="405000"/>
                  </a:cubicBezTo>
                  <a:cubicBezTo>
                    <a:pt x="803864" y="405000"/>
                    <a:pt x="696478" y="214773"/>
                    <a:pt x="696478" y="135000"/>
                  </a:cubicBezTo>
                  <a:cubicBezTo>
                    <a:pt x="699546" y="52159"/>
                    <a:pt x="650455" y="0"/>
                    <a:pt x="650455" y="0"/>
                  </a:cubicBezTo>
                  <a:cubicBezTo>
                    <a:pt x="650455" y="0"/>
                    <a:pt x="131932" y="101250"/>
                    <a:pt x="85910" y="202500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1901C7DB-02E0-4A90-BF59-1E0AC1E5C3EA}"/>
                </a:ext>
              </a:extLst>
            </p:cNvPr>
            <p:cNvSpPr/>
            <p:nvPr/>
          </p:nvSpPr>
          <p:spPr>
            <a:xfrm>
              <a:off x="16017486" y="10677940"/>
              <a:ext cx="570681" cy="82841"/>
            </a:xfrm>
            <a:custGeom>
              <a:avLst/>
              <a:gdLst>
                <a:gd name="connsiteX0" fmla="*/ 570681 w 570681"/>
                <a:gd name="connsiteY0" fmla="*/ 18409 h 82841"/>
                <a:gd name="connsiteX1" fmla="*/ 18408 w 570681"/>
                <a:gd name="connsiteY1" fmla="*/ 0 h 82841"/>
                <a:gd name="connsiteX2" fmla="*/ 0 w 570681"/>
                <a:gd name="connsiteY2" fmla="*/ 82841 h 82841"/>
                <a:gd name="connsiteX3" fmla="*/ 239318 w 570681"/>
                <a:gd name="connsiteY3" fmla="*/ 82841 h 82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0681" h="82841">
                  <a:moveTo>
                    <a:pt x="570681" y="18409"/>
                  </a:moveTo>
                  <a:lnTo>
                    <a:pt x="18408" y="0"/>
                  </a:lnTo>
                  <a:lnTo>
                    <a:pt x="0" y="82841"/>
                  </a:lnTo>
                  <a:lnTo>
                    <a:pt x="239318" y="82841"/>
                  </a:lnTo>
                  <a:close/>
                </a:path>
              </a:pathLst>
            </a:custGeom>
            <a:solidFill>
              <a:srgbClr val="E5D1D1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4" name="图形 1">
              <a:extLst>
                <a:ext uri="{FF2B5EF4-FFF2-40B4-BE49-F238E27FC236}">
                  <a16:creationId xmlns:a16="http://schemas.microsoft.com/office/drawing/2014/main" id="{1EB8DA41-47CF-46C8-B96C-5668816B80E0}"/>
                </a:ext>
              </a:extLst>
            </p:cNvPr>
            <p:cNvGrpSpPr/>
            <p:nvPr/>
          </p:nvGrpSpPr>
          <p:grpSpPr>
            <a:xfrm>
              <a:off x="16223720" y="10545528"/>
              <a:ext cx="377063" cy="215886"/>
              <a:chOff x="16223720" y="10545528"/>
              <a:chExt cx="377063" cy="215886"/>
            </a:xfrm>
          </p:grpSpPr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20B5FD4A-46E1-4CA5-89A1-907B19864B0A}"/>
                  </a:ext>
                </a:extLst>
              </p:cNvPr>
              <p:cNvSpPr/>
              <p:nvPr/>
            </p:nvSpPr>
            <p:spPr>
              <a:xfrm>
                <a:off x="16223720" y="10545528"/>
                <a:ext cx="377063" cy="215886"/>
              </a:xfrm>
              <a:custGeom>
                <a:avLst/>
                <a:gdLst>
                  <a:gd name="connsiteX0" fmla="*/ 358311 w 377063"/>
                  <a:gd name="connsiteY0" fmla="*/ 61844 h 215886"/>
                  <a:gd name="connsiteX1" fmla="*/ 358311 w 377063"/>
                  <a:gd name="connsiteY1" fmla="*/ 18890 h 215886"/>
                  <a:gd name="connsiteX2" fmla="*/ 309220 w 377063"/>
                  <a:gd name="connsiteY2" fmla="*/ 481 h 215886"/>
                  <a:gd name="connsiteX3" fmla="*/ 137402 w 377063"/>
                  <a:gd name="connsiteY3" fmla="*/ 52639 h 215886"/>
                  <a:gd name="connsiteX4" fmla="*/ 54561 w 377063"/>
                  <a:gd name="connsiteY4" fmla="*/ 114003 h 215886"/>
                  <a:gd name="connsiteX5" fmla="*/ 5470 w 377063"/>
                  <a:gd name="connsiteY5" fmla="*/ 181503 h 215886"/>
                  <a:gd name="connsiteX6" fmla="*/ 14674 w 377063"/>
                  <a:gd name="connsiteY6" fmla="*/ 215253 h 215886"/>
                  <a:gd name="connsiteX7" fmla="*/ 134333 w 377063"/>
                  <a:gd name="connsiteY7" fmla="*/ 156958 h 215886"/>
                  <a:gd name="connsiteX8" fmla="*/ 226379 w 377063"/>
                  <a:gd name="connsiteY8" fmla="*/ 147753 h 215886"/>
                  <a:gd name="connsiteX9" fmla="*/ 318424 w 377063"/>
                  <a:gd name="connsiteY9" fmla="*/ 101730 h 215886"/>
                  <a:gd name="connsiteX10" fmla="*/ 376720 w 377063"/>
                  <a:gd name="connsiteY10" fmla="*/ 86389 h 215886"/>
                  <a:gd name="connsiteX11" fmla="*/ 358311 w 377063"/>
                  <a:gd name="connsiteY11" fmla="*/ 61844 h 215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7063" h="215886">
                    <a:moveTo>
                      <a:pt x="358311" y="61844"/>
                    </a:moveTo>
                    <a:cubicBezTo>
                      <a:pt x="361379" y="49572"/>
                      <a:pt x="364447" y="28094"/>
                      <a:pt x="358311" y="18890"/>
                    </a:cubicBezTo>
                    <a:cubicBezTo>
                      <a:pt x="358311" y="9685"/>
                      <a:pt x="315357" y="-2588"/>
                      <a:pt x="309220" y="481"/>
                    </a:cubicBezTo>
                    <a:cubicBezTo>
                      <a:pt x="257060" y="6616"/>
                      <a:pt x="183424" y="21957"/>
                      <a:pt x="137402" y="52639"/>
                    </a:cubicBezTo>
                    <a:cubicBezTo>
                      <a:pt x="112856" y="71048"/>
                      <a:pt x="79106" y="89458"/>
                      <a:pt x="54561" y="114003"/>
                    </a:cubicBezTo>
                    <a:cubicBezTo>
                      <a:pt x="36152" y="129344"/>
                      <a:pt x="8538" y="178435"/>
                      <a:pt x="5470" y="181503"/>
                    </a:cubicBezTo>
                    <a:cubicBezTo>
                      <a:pt x="-9871" y="196844"/>
                      <a:pt x="11606" y="215253"/>
                      <a:pt x="14674" y="215253"/>
                    </a:cubicBezTo>
                    <a:cubicBezTo>
                      <a:pt x="20811" y="221389"/>
                      <a:pt x="63765" y="181503"/>
                      <a:pt x="134333" y="156958"/>
                    </a:cubicBezTo>
                    <a:cubicBezTo>
                      <a:pt x="158879" y="147753"/>
                      <a:pt x="201834" y="153890"/>
                      <a:pt x="226379" y="147753"/>
                    </a:cubicBezTo>
                    <a:cubicBezTo>
                      <a:pt x="253993" y="144685"/>
                      <a:pt x="324561" y="144685"/>
                      <a:pt x="318424" y="101730"/>
                    </a:cubicBezTo>
                    <a:cubicBezTo>
                      <a:pt x="318424" y="98662"/>
                      <a:pt x="379788" y="89458"/>
                      <a:pt x="376720" y="86389"/>
                    </a:cubicBezTo>
                    <a:cubicBezTo>
                      <a:pt x="379788" y="83321"/>
                      <a:pt x="361379" y="64913"/>
                      <a:pt x="358311" y="6184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2E19235A-75E0-4070-853D-128B97B1878E}"/>
                  </a:ext>
                </a:extLst>
              </p:cNvPr>
              <p:cNvSpPr/>
              <p:nvPr/>
            </p:nvSpPr>
            <p:spPr>
              <a:xfrm>
                <a:off x="16286929" y="10622713"/>
                <a:ext cx="150897" cy="101249"/>
              </a:xfrm>
              <a:custGeom>
                <a:avLst/>
                <a:gdLst>
                  <a:gd name="connsiteX0" fmla="*/ 22034 w 150897"/>
                  <a:gd name="connsiteY0" fmla="*/ 101250 h 101249"/>
                  <a:gd name="connsiteX1" fmla="*/ 12829 w 150897"/>
                  <a:gd name="connsiteY1" fmla="*/ 98181 h 101249"/>
                  <a:gd name="connsiteX2" fmla="*/ 556 w 150897"/>
                  <a:gd name="connsiteY2" fmla="*/ 82840 h 101249"/>
                  <a:gd name="connsiteX3" fmla="*/ 144761 w 150897"/>
                  <a:gd name="connsiteY3" fmla="*/ 0 h 101249"/>
                  <a:gd name="connsiteX4" fmla="*/ 150897 w 150897"/>
                  <a:gd name="connsiteY4" fmla="*/ 3068 h 101249"/>
                  <a:gd name="connsiteX5" fmla="*/ 147829 w 150897"/>
                  <a:gd name="connsiteY5" fmla="*/ 9204 h 101249"/>
                  <a:gd name="connsiteX6" fmla="*/ 12829 w 150897"/>
                  <a:gd name="connsiteY6" fmla="*/ 76705 h 101249"/>
                  <a:gd name="connsiteX7" fmla="*/ 18966 w 150897"/>
                  <a:gd name="connsiteY7" fmla="*/ 82840 h 101249"/>
                  <a:gd name="connsiteX8" fmla="*/ 52716 w 150897"/>
                  <a:gd name="connsiteY8" fmla="*/ 73636 h 101249"/>
                  <a:gd name="connsiteX9" fmla="*/ 61920 w 150897"/>
                  <a:gd name="connsiteY9" fmla="*/ 76705 h 101249"/>
                  <a:gd name="connsiteX10" fmla="*/ 58852 w 150897"/>
                  <a:gd name="connsiteY10" fmla="*/ 85909 h 101249"/>
                  <a:gd name="connsiteX11" fmla="*/ 22034 w 150897"/>
                  <a:gd name="connsiteY11" fmla="*/ 101250 h 101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0897" h="101249">
                    <a:moveTo>
                      <a:pt x="22034" y="101250"/>
                    </a:moveTo>
                    <a:cubicBezTo>
                      <a:pt x="18966" y="101250"/>
                      <a:pt x="15897" y="101250"/>
                      <a:pt x="12829" y="98181"/>
                    </a:cubicBezTo>
                    <a:cubicBezTo>
                      <a:pt x="9761" y="95114"/>
                      <a:pt x="3625" y="92045"/>
                      <a:pt x="556" y="82840"/>
                    </a:cubicBezTo>
                    <a:cubicBezTo>
                      <a:pt x="-8648" y="52159"/>
                      <a:pt x="98739" y="15341"/>
                      <a:pt x="144761" y="0"/>
                    </a:cubicBezTo>
                    <a:cubicBezTo>
                      <a:pt x="147829" y="0"/>
                      <a:pt x="150897" y="0"/>
                      <a:pt x="150897" y="3068"/>
                    </a:cubicBezTo>
                    <a:cubicBezTo>
                      <a:pt x="150897" y="6136"/>
                      <a:pt x="150897" y="9204"/>
                      <a:pt x="147829" y="9204"/>
                    </a:cubicBezTo>
                    <a:cubicBezTo>
                      <a:pt x="74193" y="33750"/>
                      <a:pt x="9761" y="64432"/>
                      <a:pt x="12829" y="76705"/>
                    </a:cubicBezTo>
                    <a:cubicBezTo>
                      <a:pt x="12829" y="82840"/>
                      <a:pt x="15897" y="82840"/>
                      <a:pt x="18966" y="82840"/>
                    </a:cubicBezTo>
                    <a:cubicBezTo>
                      <a:pt x="28170" y="85909"/>
                      <a:pt x="46579" y="76705"/>
                      <a:pt x="52716" y="73636"/>
                    </a:cubicBezTo>
                    <a:cubicBezTo>
                      <a:pt x="55783" y="70568"/>
                      <a:pt x="58852" y="73636"/>
                      <a:pt x="61920" y="76705"/>
                    </a:cubicBezTo>
                    <a:cubicBezTo>
                      <a:pt x="64988" y="79773"/>
                      <a:pt x="61920" y="82840"/>
                      <a:pt x="58852" y="85909"/>
                    </a:cubicBezTo>
                    <a:cubicBezTo>
                      <a:pt x="55783" y="92045"/>
                      <a:pt x="37375" y="101250"/>
                      <a:pt x="22034" y="10125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DC02B14E-5793-4BB7-86C5-15E65C01E9F5}"/>
                  </a:ext>
                </a:extLst>
              </p:cNvPr>
              <p:cNvSpPr/>
              <p:nvPr/>
            </p:nvSpPr>
            <p:spPr>
              <a:xfrm>
                <a:off x="16244531" y="10619645"/>
                <a:ext cx="116590" cy="119658"/>
              </a:xfrm>
              <a:custGeom>
                <a:avLst/>
                <a:gdLst>
                  <a:gd name="connsiteX0" fmla="*/ 27613 w 116590"/>
                  <a:gd name="connsiteY0" fmla="*/ 119659 h 119658"/>
                  <a:gd name="connsiteX1" fmla="*/ 6136 w 116590"/>
                  <a:gd name="connsiteY1" fmla="*/ 113523 h 119658"/>
                  <a:gd name="connsiteX2" fmla="*/ 0 w 116590"/>
                  <a:gd name="connsiteY2" fmla="*/ 98182 h 119658"/>
                  <a:gd name="connsiteX3" fmla="*/ 107386 w 116590"/>
                  <a:gd name="connsiteY3" fmla="*/ 0 h 119658"/>
                  <a:gd name="connsiteX4" fmla="*/ 116591 w 116590"/>
                  <a:gd name="connsiteY4" fmla="*/ 3068 h 119658"/>
                  <a:gd name="connsiteX5" fmla="*/ 113522 w 116590"/>
                  <a:gd name="connsiteY5" fmla="*/ 12273 h 119658"/>
                  <a:gd name="connsiteX6" fmla="*/ 15341 w 116590"/>
                  <a:gd name="connsiteY6" fmla="*/ 101250 h 119658"/>
                  <a:gd name="connsiteX7" fmla="*/ 15341 w 116590"/>
                  <a:gd name="connsiteY7" fmla="*/ 104318 h 119658"/>
                  <a:gd name="connsiteX8" fmla="*/ 55227 w 116590"/>
                  <a:gd name="connsiteY8" fmla="*/ 98182 h 119658"/>
                  <a:gd name="connsiteX9" fmla="*/ 64432 w 116590"/>
                  <a:gd name="connsiteY9" fmla="*/ 98182 h 119658"/>
                  <a:gd name="connsiteX10" fmla="*/ 64432 w 116590"/>
                  <a:gd name="connsiteY10" fmla="*/ 107386 h 119658"/>
                  <a:gd name="connsiteX11" fmla="*/ 27613 w 116590"/>
                  <a:gd name="connsiteY11" fmla="*/ 119659 h 119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6590" h="119658">
                    <a:moveTo>
                      <a:pt x="27613" y="119659"/>
                    </a:moveTo>
                    <a:cubicBezTo>
                      <a:pt x="21477" y="119659"/>
                      <a:pt x="15341" y="116591"/>
                      <a:pt x="6136" y="113523"/>
                    </a:cubicBezTo>
                    <a:cubicBezTo>
                      <a:pt x="3068" y="110455"/>
                      <a:pt x="0" y="107386"/>
                      <a:pt x="0" y="98182"/>
                    </a:cubicBezTo>
                    <a:cubicBezTo>
                      <a:pt x="3068" y="70568"/>
                      <a:pt x="67499" y="18409"/>
                      <a:pt x="107386" y="0"/>
                    </a:cubicBezTo>
                    <a:cubicBezTo>
                      <a:pt x="110455" y="0"/>
                      <a:pt x="113522" y="0"/>
                      <a:pt x="116591" y="3068"/>
                    </a:cubicBezTo>
                    <a:cubicBezTo>
                      <a:pt x="116591" y="6137"/>
                      <a:pt x="116591" y="9204"/>
                      <a:pt x="113522" y="12273"/>
                    </a:cubicBezTo>
                    <a:cubicBezTo>
                      <a:pt x="70568" y="33750"/>
                      <a:pt x="15341" y="82841"/>
                      <a:pt x="15341" y="101250"/>
                    </a:cubicBezTo>
                    <a:cubicBezTo>
                      <a:pt x="15341" y="104318"/>
                      <a:pt x="15341" y="104318"/>
                      <a:pt x="15341" y="104318"/>
                    </a:cubicBezTo>
                    <a:cubicBezTo>
                      <a:pt x="30682" y="116591"/>
                      <a:pt x="52159" y="98182"/>
                      <a:pt x="55227" y="98182"/>
                    </a:cubicBezTo>
                    <a:cubicBezTo>
                      <a:pt x="58295" y="95114"/>
                      <a:pt x="61364" y="95114"/>
                      <a:pt x="64432" y="98182"/>
                    </a:cubicBezTo>
                    <a:cubicBezTo>
                      <a:pt x="67499" y="101250"/>
                      <a:pt x="67499" y="104318"/>
                      <a:pt x="64432" y="107386"/>
                    </a:cubicBezTo>
                    <a:cubicBezTo>
                      <a:pt x="61364" y="107386"/>
                      <a:pt x="46023" y="119659"/>
                      <a:pt x="27613" y="11965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5" name="图形 1">
              <a:extLst>
                <a:ext uri="{FF2B5EF4-FFF2-40B4-BE49-F238E27FC236}">
                  <a16:creationId xmlns:a16="http://schemas.microsoft.com/office/drawing/2014/main" id="{AB1D5861-380A-4B57-8483-5865CABBED8D}"/>
                </a:ext>
              </a:extLst>
            </p:cNvPr>
            <p:cNvGrpSpPr/>
            <p:nvPr/>
          </p:nvGrpSpPr>
          <p:grpSpPr>
            <a:xfrm>
              <a:off x="15186121" y="10257600"/>
              <a:ext cx="1402045" cy="543067"/>
              <a:chOff x="15186121" y="10257600"/>
              <a:chExt cx="1402045" cy="543067"/>
            </a:xfrm>
          </p:grpSpPr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E6DA592E-8A4A-4290-A1E0-FA93AB4FD8B6}"/>
                  </a:ext>
                </a:extLst>
              </p:cNvPr>
              <p:cNvSpPr/>
              <p:nvPr/>
            </p:nvSpPr>
            <p:spPr>
              <a:xfrm>
                <a:off x="15186121" y="10257600"/>
                <a:ext cx="1070682" cy="503181"/>
              </a:xfrm>
              <a:custGeom>
                <a:avLst/>
                <a:gdLst>
                  <a:gd name="connsiteX0" fmla="*/ 1070682 w 1070682"/>
                  <a:gd name="connsiteY0" fmla="*/ 503182 h 503181"/>
                  <a:gd name="connsiteX1" fmla="*/ 144091 w 1070682"/>
                  <a:gd name="connsiteY1" fmla="*/ 503182 h 503181"/>
                  <a:gd name="connsiteX2" fmla="*/ 2955 w 1070682"/>
                  <a:gd name="connsiteY2" fmla="*/ 73636 h 503181"/>
                  <a:gd name="connsiteX3" fmla="*/ 55114 w 1070682"/>
                  <a:gd name="connsiteY3" fmla="*/ 0 h 503181"/>
                  <a:gd name="connsiteX4" fmla="*/ 865114 w 1070682"/>
                  <a:gd name="connsiteY4" fmla="*/ 0 h 503181"/>
                  <a:gd name="connsiteX5" fmla="*/ 917273 w 1070682"/>
                  <a:gd name="connsiteY5" fmla="*/ 36818 h 503181"/>
                  <a:gd name="connsiteX6" fmla="*/ 1070682 w 1070682"/>
                  <a:gd name="connsiteY6" fmla="*/ 503182 h 503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0682" h="503181">
                    <a:moveTo>
                      <a:pt x="1070682" y="503182"/>
                    </a:moveTo>
                    <a:lnTo>
                      <a:pt x="144091" y="503182"/>
                    </a:lnTo>
                    <a:lnTo>
                      <a:pt x="2955" y="73636"/>
                    </a:lnTo>
                    <a:cubicBezTo>
                      <a:pt x="-9318" y="36818"/>
                      <a:pt x="18296" y="0"/>
                      <a:pt x="55114" y="0"/>
                    </a:cubicBezTo>
                    <a:lnTo>
                      <a:pt x="865114" y="0"/>
                    </a:lnTo>
                    <a:cubicBezTo>
                      <a:pt x="889660" y="0"/>
                      <a:pt x="911137" y="15341"/>
                      <a:pt x="917273" y="36818"/>
                    </a:cubicBezTo>
                    <a:lnTo>
                      <a:pt x="1070682" y="503182"/>
                    </a:lnTo>
                    <a:close/>
                  </a:path>
                </a:pathLst>
              </a:custGeom>
              <a:solidFill>
                <a:srgbClr val="F6EBE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22C66ADA-116E-41E3-B821-B84811CA889D}"/>
                  </a:ext>
                </a:extLst>
              </p:cNvPr>
              <p:cNvSpPr/>
              <p:nvPr/>
            </p:nvSpPr>
            <p:spPr>
              <a:xfrm>
                <a:off x="15330213" y="10760781"/>
                <a:ext cx="926590" cy="36818"/>
              </a:xfrm>
              <a:custGeom>
                <a:avLst/>
                <a:gdLst>
                  <a:gd name="connsiteX0" fmla="*/ 0 w 926590"/>
                  <a:gd name="connsiteY0" fmla="*/ 0 h 36818"/>
                  <a:gd name="connsiteX1" fmla="*/ 926591 w 926590"/>
                  <a:gd name="connsiteY1" fmla="*/ 0 h 36818"/>
                  <a:gd name="connsiteX2" fmla="*/ 926591 w 926590"/>
                  <a:gd name="connsiteY2" fmla="*/ 36819 h 36818"/>
                  <a:gd name="connsiteX3" fmla="*/ 0 w 926590"/>
                  <a:gd name="connsiteY3" fmla="*/ 36819 h 36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6590" h="36818">
                    <a:moveTo>
                      <a:pt x="0" y="0"/>
                    </a:moveTo>
                    <a:lnTo>
                      <a:pt x="926591" y="0"/>
                    </a:lnTo>
                    <a:lnTo>
                      <a:pt x="926591" y="36819"/>
                    </a:lnTo>
                    <a:lnTo>
                      <a:pt x="0" y="36819"/>
                    </a:lnTo>
                    <a:close/>
                  </a:path>
                </a:pathLst>
              </a:custGeom>
              <a:solidFill>
                <a:srgbClr val="E5D1D1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ABD8CB6D-BFD1-487E-AF4E-44AF25EBEB5D}"/>
                  </a:ext>
                </a:extLst>
              </p:cNvPr>
              <p:cNvSpPr/>
              <p:nvPr/>
            </p:nvSpPr>
            <p:spPr>
              <a:xfrm>
                <a:off x="16256803" y="10696350"/>
                <a:ext cx="331363" cy="104317"/>
              </a:xfrm>
              <a:custGeom>
                <a:avLst/>
                <a:gdLst>
                  <a:gd name="connsiteX0" fmla="*/ 331363 w 331363"/>
                  <a:gd name="connsiteY0" fmla="*/ 39886 h 104317"/>
                  <a:gd name="connsiteX1" fmla="*/ 0 w 331363"/>
                  <a:gd name="connsiteY1" fmla="*/ 104318 h 104317"/>
                  <a:gd name="connsiteX2" fmla="*/ 0 w 331363"/>
                  <a:gd name="connsiteY2" fmla="*/ 64432 h 104317"/>
                  <a:gd name="connsiteX3" fmla="*/ 331363 w 331363"/>
                  <a:gd name="connsiteY3" fmla="*/ 0 h 104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1363" h="104317">
                    <a:moveTo>
                      <a:pt x="331363" y="39886"/>
                    </a:moveTo>
                    <a:lnTo>
                      <a:pt x="0" y="104318"/>
                    </a:lnTo>
                    <a:lnTo>
                      <a:pt x="0" y="64432"/>
                    </a:lnTo>
                    <a:lnTo>
                      <a:pt x="331363" y="0"/>
                    </a:lnTo>
                    <a:close/>
                  </a:path>
                </a:pathLst>
              </a:custGeom>
              <a:solidFill>
                <a:srgbClr val="F6EBE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ECFECF20-8F2E-4FA1-9CCB-B46072F7C071}"/>
                </a:ext>
              </a:extLst>
            </p:cNvPr>
            <p:cNvSpPr/>
            <p:nvPr/>
          </p:nvSpPr>
          <p:spPr>
            <a:xfrm>
              <a:off x="16523736" y="9626493"/>
              <a:ext cx="641624" cy="1023834"/>
            </a:xfrm>
            <a:custGeom>
              <a:avLst/>
              <a:gdLst>
                <a:gd name="connsiteX0" fmla="*/ 438750 w 641624"/>
                <a:gd name="connsiteY0" fmla="*/ 173947 h 1023834"/>
                <a:gd name="connsiteX1" fmla="*/ 214773 w 641624"/>
                <a:gd name="connsiteY1" fmla="*/ 5197 h 1023834"/>
                <a:gd name="connsiteX2" fmla="*/ 205568 w 641624"/>
                <a:gd name="connsiteY2" fmla="*/ 284402 h 1023834"/>
                <a:gd name="connsiteX3" fmla="*/ 383523 w 641624"/>
                <a:gd name="connsiteY3" fmla="*/ 585085 h 1023834"/>
                <a:gd name="connsiteX4" fmla="*/ 383523 w 641624"/>
                <a:gd name="connsiteY4" fmla="*/ 585085 h 1023834"/>
                <a:gd name="connsiteX5" fmla="*/ 0 w 641624"/>
                <a:gd name="connsiteY5" fmla="*/ 907244 h 1023834"/>
                <a:gd name="connsiteX6" fmla="*/ 58295 w 641624"/>
                <a:gd name="connsiteY6" fmla="*/ 1023834 h 1023834"/>
                <a:gd name="connsiteX7" fmla="*/ 632045 w 641624"/>
                <a:gd name="connsiteY7" fmla="*/ 738494 h 1023834"/>
                <a:gd name="connsiteX8" fmla="*/ 438750 w 641624"/>
                <a:gd name="connsiteY8" fmla="*/ 173947 h 1023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1624" h="1023834">
                  <a:moveTo>
                    <a:pt x="438750" y="173947"/>
                  </a:moveTo>
                  <a:cubicBezTo>
                    <a:pt x="328295" y="26675"/>
                    <a:pt x="294545" y="-16279"/>
                    <a:pt x="214773" y="5197"/>
                  </a:cubicBezTo>
                  <a:cubicBezTo>
                    <a:pt x="125795" y="29743"/>
                    <a:pt x="144204" y="167812"/>
                    <a:pt x="205568" y="284402"/>
                  </a:cubicBezTo>
                  <a:cubicBezTo>
                    <a:pt x="251590" y="376448"/>
                    <a:pt x="343636" y="523721"/>
                    <a:pt x="383523" y="585085"/>
                  </a:cubicBezTo>
                  <a:cubicBezTo>
                    <a:pt x="383523" y="585085"/>
                    <a:pt x="383523" y="585085"/>
                    <a:pt x="383523" y="585085"/>
                  </a:cubicBezTo>
                  <a:cubicBezTo>
                    <a:pt x="386590" y="603493"/>
                    <a:pt x="0" y="907244"/>
                    <a:pt x="0" y="907244"/>
                  </a:cubicBezTo>
                  <a:cubicBezTo>
                    <a:pt x="15341" y="934857"/>
                    <a:pt x="58295" y="1023834"/>
                    <a:pt x="58295" y="1023834"/>
                  </a:cubicBezTo>
                  <a:cubicBezTo>
                    <a:pt x="58295" y="1023834"/>
                    <a:pt x="576818" y="805993"/>
                    <a:pt x="632045" y="738494"/>
                  </a:cubicBezTo>
                  <a:cubicBezTo>
                    <a:pt x="678067" y="686334"/>
                    <a:pt x="549204" y="321221"/>
                    <a:pt x="438750" y="17394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2C8A5EA5-8657-43F3-8CB8-3FCFF5F2A73D}"/>
                </a:ext>
              </a:extLst>
            </p:cNvPr>
            <p:cNvSpPr/>
            <p:nvPr/>
          </p:nvSpPr>
          <p:spPr>
            <a:xfrm>
              <a:off x="16670192" y="9633487"/>
              <a:ext cx="127975" cy="403202"/>
            </a:xfrm>
            <a:custGeom>
              <a:avLst/>
              <a:gdLst>
                <a:gd name="connsiteX0" fmla="*/ 123543 w 127975"/>
                <a:gd name="connsiteY0" fmla="*/ 403203 h 403202"/>
                <a:gd name="connsiteX1" fmla="*/ 117407 w 127975"/>
                <a:gd name="connsiteY1" fmla="*/ 400135 h 403202"/>
                <a:gd name="connsiteX2" fmla="*/ 10020 w 127975"/>
                <a:gd name="connsiteY2" fmla="*/ 170021 h 403202"/>
                <a:gd name="connsiteX3" fmla="*/ 816 w 127975"/>
                <a:gd name="connsiteY3" fmla="*/ 81044 h 403202"/>
                <a:gd name="connsiteX4" fmla="*/ 43771 w 127975"/>
                <a:gd name="connsiteY4" fmla="*/ 1271 h 403202"/>
                <a:gd name="connsiteX5" fmla="*/ 52976 w 127975"/>
                <a:gd name="connsiteY5" fmla="*/ 4339 h 403202"/>
                <a:gd name="connsiteX6" fmla="*/ 49907 w 127975"/>
                <a:gd name="connsiteY6" fmla="*/ 13544 h 403202"/>
                <a:gd name="connsiteX7" fmla="*/ 10020 w 127975"/>
                <a:gd name="connsiteY7" fmla="*/ 84112 h 403202"/>
                <a:gd name="connsiteX8" fmla="*/ 19225 w 127975"/>
                <a:gd name="connsiteY8" fmla="*/ 170021 h 403202"/>
                <a:gd name="connsiteX9" fmla="*/ 126612 w 127975"/>
                <a:gd name="connsiteY9" fmla="*/ 393999 h 403202"/>
                <a:gd name="connsiteX10" fmla="*/ 126612 w 127975"/>
                <a:gd name="connsiteY10" fmla="*/ 403203 h 403202"/>
                <a:gd name="connsiteX11" fmla="*/ 123543 w 127975"/>
                <a:gd name="connsiteY11" fmla="*/ 403203 h 40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7975" h="403202">
                  <a:moveTo>
                    <a:pt x="123543" y="403203"/>
                  </a:moveTo>
                  <a:cubicBezTo>
                    <a:pt x="120475" y="403203"/>
                    <a:pt x="120475" y="403203"/>
                    <a:pt x="117407" y="400135"/>
                  </a:cubicBezTo>
                  <a:cubicBezTo>
                    <a:pt x="68317" y="329567"/>
                    <a:pt x="31498" y="252862"/>
                    <a:pt x="10020" y="170021"/>
                  </a:cubicBezTo>
                  <a:cubicBezTo>
                    <a:pt x="3885" y="142408"/>
                    <a:pt x="-2252" y="111726"/>
                    <a:pt x="816" y="81044"/>
                  </a:cubicBezTo>
                  <a:cubicBezTo>
                    <a:pt x="3885" y="47294"/>
                    <a:pt x="22294" y="16612"/>
                    <a:pt x="43771" y="1271"/>
                  </a:cubicBezTo>
                  <a:cubicBezTo>
                    <a:pt x="46839" y="-1797"/>
                    <a:pt x="49907" y="1271"/>
                    <a:pt x="52976" y="4339"/>
                  </a:cubicBezTo>
                  <a:cubicBezTo>
                    <a:pt x="56043" y="7408"/>
                    <a:pt x="52976" y="10476"/>
                    <a:pt x="49907" y="13544"/>
                  </a:cubicBezTo>
                  <a:cubicBezTo>
                    <a:pt x="28430" y="28884"/>
                    <a:pt x="13089" y="53430"/>
                    <a:pt x="10020" y="84112"/>
                  </a:cubicBezTo>
                  <a:cubicBezTo>
                    <a:pt x="6953" y="114794"/>
                    <a:pt x="13089" y="142408"/>
                    <a:pt x="19225" y="170021"/>
                  </a:cubicBezTo>
                  <a:cubicBezTo>
                    <a:pt x="40702" y="249794"/>
                    <a:pt x="77521" y="326498"/>
                    <a:pt x="126612" y="393999"/>
                  </a:cubicBezTo>
                  <a:cubicBezTo>
                    <a:pt x="129680" y="397066"/>
                    <a:pt x="126612" y="400135"/>
                    <a:pt x="126612" y="403203"/>
                  </a:cubicBezTo>
                  <a:cubicBezTo>
                    <a:pt x="126612" y="403203"/>
                    <a:pt x="126612" y="403203"/>
                    <a:pt x="123543" y="403203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0E69CFED-946B-446B-BA93-022AD50678A9}"/>
                </a:ext>
              </a:extLst>
            </p:cNvPr>
            <p:cNvSpPr/>
            <p:nvPr/>
          </p:nvSpPr>
          <p:spPr>
            <a:xfrm>
              <a:off x="16519396" y="10199525"/>
              <a:ext cx="489111" cy="340346"/>
            </a:xfrm>
            <a:custGeom>
              <a:avLst/>
              <a:gdLst>
                <a:gd name="connsiteX0" fmla="*/ 7407 w 489111"/>
                <a:gd name="connsiteY0" fmla="*/ 340347 h 340346"/>
                <a:gd name="connsiteX1" fmla="*/ 1271 w 489111"/>
                <a:gd name="connsiteY1" fmla="*/ 337278 h 340346"/>
                <a:gd name="connsiteX2" fmla="*/ 4339 w 489111"/>
                <a:gd name="connsiteY2" fmla="*/ 328074 h 340346"/>
                <a:gd name="connsiteX3" fmla="*/ 384794 w 489111"/>
                <a:gd name="connsiteY3" fmla="*/ 5915 h 340346"/>
                <a:gd name="connsiteX4" fmla="*/ 486043 w 489111"/>
                <a:gd name="connsiteY4" fmla="*/ 12052 h 340346"/>
                <a:gd name="connsiteX5" fmla="*/ 489112 w 489111"/>
                <a:gd name="connsiteY5" fmla="*/ 21256 h 340346"/>
                <a:gd name="connsiteX6" fmla="*/ 479908 w 489111"/>
                <a:gd name="connsiteY6" fmla="*/ 24324 h 340346"/>
                <a:gd name="connsiteX7" fmla="*/ 393998 w 489111"/>
                <a:gd name="connsiteY7" fmla="*/ 15119 h 340346"/>
                <a:gd name="connsiteX8" fmla="*/ 10475 w 489111"/>
                <a:gd name="connsiteY8" fmla="*/ 340347 h 340346"/>
                <a:gd name="connsiteX9" fmla="*/ 7407 w 489111"/>
                <a:gd name="connsiteY9" fmla="*/ 340347 h 340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111" h="340346">
                  <a:moveTo>
                    <a:pt x="7407" y="340347"/>
                  </a:moveTo>
                  <a:cubicBezTo>
                    <a:pt x="4339" y="340347"/>
                    <a:pt x="4339" y="340347"/>
                    <a:pt x="1271" y="337278"/>
                  </a:cubicBezTo>
                  <a:cubicBezTo>
                    <a:pt x="-1797" y="334211"/>
                    <a:pt x="1271" y="331143"/>
                    <a:pt x="4339" y="328074"/>
                  </a:cubicBezTo>
                  <a:cubicBezTo>
                    <a:pt x="81044" y="278983"/>
                    <a:pt x="295817" y="91824"/>
                    <a:pt x="384794" y="5915"/>
                  </a:cubicBezTo>
                  <a:cubicBezTo>
                    <a:pt x="397066" y="-6357"/>
                    <a:pt x="464567" y="2847"/>
                    <a:pt x="486043" y="12052"/>
                  </a:cubicBezTo>
                  <a:cubicBezTo>
                    <a:pt x="489112" y="12052"/>
                    <a:pt x="489112" y="18188"/>
                    <a:pt x="489112" y="21256"/>
                  </a:cubicBezTo>
                  <a:cubicBezTo>
                    <a:pt x="486043" y="24324"/>
                    <a:pt x="482975" y="24324"/>
                    <a:pt x="479908" y="24324"/>
                  </a:cubicBezTo>
                  <a:cubicBezTo>
                    <a:pt x="455362" y="12052"/>
                    <a:pt x="400135" y="8984"/>
                    <a:pt x="393998" y="15119"/>
                  </a:cubicBezTo>
                  <a:cubicBezTo>
                    <a:pt x="305021" y="101029"/>
                    <a:pt x="90248" y="288188"/>
                    <a:pt x="10475" y="340347"/>
                  </a:cubicBezTo>
                  <a:cubicBezTo>
                    <a:pt x="7407" y="340347"/>
                    <a:pt x="7407" y="340347"/>
                    <a:pt x="7407" y="340347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03897C95-B097-4C16-A032-7E8FAEC88C96}"/>
                </a:ext>
              </a:extLst>
            </p:cNvPr>
            <p:cNvSpPr/>
            <p:nvPr/>
          </p:nvSpPr>
          <p:spPr>
            <a:xfrm>
              <a:off x="16242652" y="8940454"/>
              <a:ext cx="425287" cy="571898"/>
            </a:xfrm>
            <a:custGeom>
              <a:avLst/>
              <a:gdLst>
                <a:gd name="connsiteX0" fmla="*/ 8015 w 425287"/>
                <a:gd name="connsiteY0" fmla="*/ 184986 h 571898"/>
                <a:gd name="connsiteX1" fmla="*/ 20288 w 425287"/>
                <a:gd name="connsiteY1" fmla="*/ 442713 h 571898"/>
                <a:gd name="connsiteX2" fmla="*/ 170629 w 425287"/>
                <a:gd name="connsiteY2" fmla="*/ 571577 h 571898"/>
                <a:gd name="connsiteX3" fmla="*/ 388470 w 425287"/>
                <a:gd name="connsiteY3" fmla="*/ 427373 h 571898"/>
                <a:gd name="connsiteX4" fmla="*/ 425287 w 425287"/>
                <a:gd name="connsiteY4" fmla="*/ 200327 h 571898"/>
                <a:gd name="connsiteX5" fmla="*/ 210515 w 425287"/>
                <a:gd name="connsiteY5" fmla="*/ 895 h 571898"/>
                <a:gd name="connsiteX6" fmla="*/ 8015 w 425287"/>
                <a:gd name="connsiteY6" fmla="*/ 184986 h 571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5287" h="571898">
                  <a:moveTo>
                    <a:pt x="8015" y="184986"/>
                  </a:moveTo>
                  <a:cubicBezTo>
                    <a:pt x="8015" y="184986"/>
                    <a:pt x="-16531" y="375214"/>
                    <a:pt x="20288" y="442713"/>
                  </a:cubicBezTo>
                  <a:cubicBezTo>
                    <a:pt x="57106" y="510213"/>
                    <a:pt x="118469" y="568509"/>
                    <a:pt x="170629" y="571577"/>
                  </a:cubicBezTo>
                  <a:cubicBezTo>
                    <a:pt x="238128" y="577714"/>
                    <a:pt x="351651" y="494872"/>
                    <a:pt x="388470" y="427373"/>
                  </a:cubicBezTo>
                  <a:cubicBezTo>
                    <a:pt x="425287" y="359873"/>
                    <a:pt x="425287" y="252486"/>
                    <a:pt x="425287" y="200327"/>
                  </a:cubicBezTo>
                  <a:cubicBezTo>
                    <a:pt x="422219" y="105213"/>
                    <a:pt x="394606" y="25441"/>
                    <a:pt x="210515" y="895"/>
                  </a:cubicBezTo>
                  <a:cubicBezTo>
                    <a:pt x="121538" y="-11378"/>
                    <a:pt x="26424" y="105213"/>
                    <a:pt x="8015" y="184986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CDB7ABB9-445B-48C6-9415-386A04109F84}"/>
                </a:ext>
              </a:extLst>
            </p:cNvPr>
            <p:cNvSpPr/>
            <p:nvPr/>
          </p:nvSpPr>
          <p:spPr>
            <a:xfrm>
              <a:off x="16376462" y="9210079"/>
              <a:ext cx="55227" cy="133202"/>
            </a:xfrm>
            <a:custGeom>
              <a:avLst/>
              <a:gdLst>
                <a:gd name="connsiteX0" fmla="*/ 30682 w 55227"/>
                <a:gd name="connsiteY0" fmla="*/ 133202 h 133202"/>
                <a:gd name="connsiteX1" fmla="*/ 6137 w 55227"/>
                <a:gd name="connsiteY1" fmla="*/ 127066 h 133202"/>
                <a:gd name="connsiteX2" fmla="*/ 0 w 55227"/>
                <a:gd name="connsiteY2" fmla="*/ 114794 h 133202"/>
                <a:gd name="connsiteX3" fmla="*/ 27613 w 55227"/>
                <a:gd name="connsiteY3" fmla="*/ 4339 h 133202"/>
                <a:gd name="connsiteX4" fmla="*/ 33750 w 55227"/>
                <a:gd name="connsiteY4" fmla="*/ 1271 h 133202"/>
                <a:gd name="connsiteX5" fmla="*/ 36819 w 55227"/>
                <a:gd name="connsiteY5" fmla="*/ 7407 h 133202"/>
                <a:gd name="connsiteX6" fmla="*/ 9205 w 55227"/>
                <a:gd name="connsiteY6" fmla="*/ 114794 h 133202"/>
                <a:gd name="connsiteX7" fmla="*/ 9205 w 55227"/>
                <a:gd name="connsiteY7" fmla="*/ 117862 h 133202"/>
                <a:gd name="connsiteX8" fmla="*/ 49091 w 55227"/>
                <a:gd name="connsiteY8" fmla="*/ 117862 h 133202"/>
                <a:gd name="connsiteX9" fmla="*/ 55228 w 55227"/>
                <a:gd name="connsiteY9" fmla="*/ 123998 h 133202"/>
                <a:gd name="connsiteX10" fmla="*/ 49091 w 55227"/>
                <a:gd name="connsiteY10" fmla="*/ 130135 h 133202"/>
                <a:gd name="connsiteX11" fmla="*/ 30682 w 55227"/>
                <a:gd name="connsiteY11" fmla="*/ 133202 h 13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227" h="133202">
                  <a:moveTo>
                    <a:pt x="30682" y="133202"/>
                  </a:moveTo>
                  <a:cubicBezTo>
                    <a:pt x="21478" y="133202"/>
                    <a:pt x="12273" y="133202"/>
                    <a:pt x="6137" y="127066"/>
                  </a:cubicBezTo>
                  <a:cubicBezTo>
                    <a:pt x="3068" y="123998"/>
                    <a:pt x="0" y="120930"/>
                    <a:pt x="0" y="114794"/>
                  </a:cubicBezTo>
                  <a:cubicBezTo>
                    <a:pt x="0" y="93316"/>
                    <a:pt x="27613" y="7407"/>
                    <a:pt x="27613" y="4339"/>
                  </a:cubicBezTo>
                  <a:cubicBezTo>
                    <a:pt x="27613" y="1271"/>
                    <a:pt x="30682" y="-1797"/>
                    <a:pt x="33750" y="1271"/>
                  </a:cubicBezTo>
                  <a:cubicBezTo>
                    <a:pt x="36819" y="1271"/>
                    <a:pt x="39887" y="4339"/>
                    <a:pt x="36819" y="7407"/>
                  </a:cubicBezTo>
                  <a:cubicBezTo>
                    <a:pt x="30682" y="31953"/>
                    <a:pt x="9205" y="96384"/>
                    <a:pt x="9205" y="114794"/>
                  </a:cubicBezTo>
                  <a:cubicBezTo>
                    <a:pt x="9205" y="114794"/>
                    <a:pt x="9205" y="117862"/>
                    <a:pt x="9205" y="117862"/>
                  </a:cubicBezTo>
                  <a:cubicBezTo>
                    <a:pt x="15341" y="123998"/>
                    <a:pt x="36819" y="120930"/>
                    <a:pt x="49091" y="117862"/>
                  </a:cubicBezTo>
                  <a:cubicBezTo>
                    <a:pt x="52159" y="117862"/>
                    <a:pt x="55228" y="117862"/>
                    <a:pt x="55228" y="123998"/>
                  </a:cubicBezTo>
                  <a:cubicBezTo>
                    <a:pt x="55228" y="127066"/>
                    <a:pt x="55228" y="130135"/>
                    <a:pt x="49091" y="130135"/>
                  </a:cubicBezTo>
                  <a:cubicBezTo>
                    <a:pt x="52159" y="130135"/>
                    <a:pt x="42954" y="133202"/>
                    <a:pt x="30682" y="133202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6D4F139D-FD8F-4DF3-888B-A510B6D2D34F}"/>
                </a:ext>
              </a:extLst>
            </p:cNvPr>
            <p:cNvSpPr/>
            <p:nvPr/>
          </p:nvSpPr>
          <p:spPr>
            <a:xfrm>
              <a:off x="16361121" y="9392372"/>
              <a:ext cx="107386" cy="55227"/>
            </a:xfrm>
            <a:custGeom>
              <a:avLst/>
              <a:gdLst>
                <a:gd name="connsiteX0" fmla="*/ 107386 w 107386"/>
                <a:gd name="connsiteY0" fmla="*/ 0 h 55227"/>
                <a:gd name="connsiteX1" fmla="*/ 0 w 107386"/>
                <a:gd name="connsiteY1" fmla="*/ 0 h 55227"/>
                <a:gd name="connsiteX2" fmla="*/ 52159 w 107386"/>
                <a:gd name="connsiteY2" fmla="*/ 55227 h 55227"/>
                <a:gd name="connsiteX3" fmla="*/ 107386 w 107386"/>
                <a:gd name="connsiteY3" fmla="*/ 0 h 55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386" h="55227">
                  <a:moveTo>
                    <a:pt x="107386" y="0"/>
                  </a:moveTo>
                  <a:cubicBezTo>
                    <a:pt x="52159" y="24546"/>
                    <a:pt x="0" y="0"/>
                    <a:pt x="0" y="0"/>
                  </a:cubicBezTo>
                  <a:cubicBezTo>
                    <a:pt x="0" y="0"/>
                    <a:pt x="15341" y="55227"/>
                    <a:pt x="52159" y="55227"/>
                  </a:cubicBezTo>
                  <a:cubicBezTo>
                    <a:pt x="92045" y="55227"/>
                    <a:pt x="107386" y="0"/>
                    <a:pt x="107386" y="0"/>
                  </a:cubicBezTo>
                  <a:close/>
                </a:path>
              </a:pathLst>
            </a:custGeom>
            <a:solidFill>
              <a:srgbClr val="FFFFFF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6880DCB7-8382-4332-99D8-801A22299002}"/>
                </a:ext>
              </a:extLst>
            </p:cNvPr>
            <p:cNvSpPr/>
            <p:nvPr/>
          </p:nvSpPr>
          <p:spPr>
            <a:xfrm>
              <a:off x="16305113" y="9182954"/>
              <a:ext cx="41449" cy="41450"/>
            </a:xfrm>
            <a:custGeom>
              <a:avLst/>
              <a:gdLst>
                <a:gd name="connsiteX0" fmla="*/ 40668 w 41449"/>
                <a:gd name="connsiteY0" fmla="*/ 25327 h 41450"/>
                <a:gd name="connsiteX1" fmla="*/ 16123 w 41449"/>
                <a:gd name="connsiteY1" fmla="*/ 40668 h 41450"/>
                <a:gd name="connsiteX2" fmla="*/ 782 w 41449"/>
                <a:gd name="connsiteY2" fmla="*/ 16123 h 41450"/>
                <a:gd name="connsiteX3" fmla="*/ 25327 w 41449"/>
                <a:gd name="connsiteY3" fmla="*/ 782 h 41450"/>
                <a:gd name="connsiteX4" fmla="*/ 40668 w 41449"/>
                <a:gd name="connsiteY4" fmla="*/ 25327 h 4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449" h="41450">
                  <a:moveTo>
                    <a:pt x="40668" y="25327"/>
                  </a:moveTo>
                  <a:cubicBezTo>
                    <a:pt x="37600" y="37600"/>
                    <a:pt x="28395" y="43737"/>
                    <a:pt x="16123" y="40668"/>
                  </a:cubicBezTo>
                  <a:cubicBezTo>
                    <a:pt x="3850" y="37600"/>
                    <a:pt x="-2286" y="28396"/>
                    <a:pt x="782" y="16123"/>
                  </a:cubicBezTo>
                  <a:cubicBezTo>
                    <a:pt x="3850" y="3850"/>
                    <a:pt x="13054" y="-2286"/>
                    <a:pt x="25327" y="782"/>
                  </a:cubicBezTo>
                  <a:cubicBezTo>
                    <a:pt x="37600" y="3850"/>
                    <a:pt x="43736" y="13055"/>
                    <a:pt x="40668" y="2532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E9494621-3826-45B5-84A6-0D30FBB93E71}"/>
                </a:ext>
              </a:extLst>
            </p:cNvPr>
            <p:cNvSpPr/>
            <p:nvPr/>
          </p:nvSpPr>
          <p:spPr>
            <a:xfrm>
              <a:off x="16495340" y="9189270"/>
              <a:ext cx="41450" cy="41090"/>
            </a:xfrm>
            <a:custGeom>
              <a:avLst/>
              <a:gdLst>
                <a:gd name="connsiteX0" fmla="*/ 40669 w 41450"/>
                <a:gd name="connsiteY0" fmla="*/ 25147 h 41090"/>
                <a:gd name="connsiteX1" fmla="*/ 16123 w 41450"/>
                <a:gd name="connsiteY1" fmla="*/ 40488 h 41090"/>
                <a:gd name="connsiteX2" fmla="*/ 782 w 41450"/>
                <a:gd name="connsiteY2" fmla="*/ 15943 h 41090"/>
                <a:gd name="connsiteX3" fmla="*/ 25328 w 41450"/>
                <a:gd name="connsiteY3" fmla="*/ 602 h 41090"/>
                <a:gd name="connsiteX4" fmla="*/ 40669 w 41450"/>
                <a:gd name="connsiteY4" fmla="*/ 25147 h 4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450" h="41090">
                  <a:moveTo>
                    <a:pt x="40669" y="25147"/>
                  </a:moveTo>
                  <a:cubicBezTo>
                    <a:pt x="37600" y="34352"/>
                    <a:pt x="28396" y="43557"/>
                    <a:pt x="16123" y="40488"/>
                  </a:cubicBezTo>
                  <a:cubicBezTo>
                    <a:pt x="3850" y="37420"/>
                    <a:pt x="-2286" y="28216"/>
                    <a:pt x="782" y="15943"/>
                  </a:cubicBezTo>
                  <a:cubicBezTo>
                    <a:pt x="3850" y="6738"/>
                    <a:pt x="13055" y="-2466"/>
                    <a:pt x="25328" y="602"/>
                  </a:cubicBezTo>
                  <a:cubicBezTo>
                    <a:pt x="37600" y="3670"/>
                    <a:pt x="43737" y="12875"/>
                    <a:pt x="40669" y="2514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44DD5AC1-F28D-454B-BAC3-5402A899F7D3}"/>
                </a:ext>
              </a:extLst>
            </p:cNvPr>
            <p:cNvSpPr/>
            <p:nvPr/>
          </p:nvSpPr>
          <p:spPr>
            <a:xfrm>
              <a:off x="16279048" y="9133111"/>
              <a:ext cx="92549" cy="35283"/>
            </a:xfrm>
            <a:custGeom>
              <a:avLst/>
              <a:gdLst>
                <a:gd name="connsiteX0" fmla="*/ 8437 w 92549"/>
                <a:gd name="connsiteY0" fmla="*/ 35284 h 35283"/>
                <a:gd name="connsiteX1" fmla="*/ 2301 w 92549"/>
                <a:gd name="connsiteY1" fmla="*/ 32216 h 35283"/>
                <a:gd name="connsiteX2" fmla="*/ 2301 w 92549"/>
                <a:gd name="connsiteY2" fmla="*/ 19943 h 35283"/>
                <a:gd name="connsiteX3" fmla="*/ 88210 w 92549"/>
                <a:gd name="connsiteY3" fmla="*/ 7671 h 35283"/>
                <a:gd name="connsiteX4" fmla="*/ 91279 w 92549"/>
                <a:gd name="connsiteY4" fmla="*/ 16875 h 35283"/>
                <a:gd name="connsiteX5" fmla="*/ 82073 w 92549"/>
                <a:gd name="connsiteY5" fmla="*/ 19943 h 35283"/>
                <a:gd name="connsiteX6" fmla="*/ 14574 w 92549"/>
                <a:gd name="connsiteY6" fmla="*/ 26079 h 35283"/>
                <a:gd name="connsiteX7" fmla="*/ 8437 w 92549"/>
                <a:gd name="connsiteY7" fmla="*/ 35284 h 35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5283">
                  <a:moveTo>
                    <a:pt x="8437" y="35284"/>
                  </a:moveTo>
                  <a:cubicBezTo>
                    <a:pt x="5369" y="35284"/>
                    <a:pt x="5369" y="35284"/>
                    <a:pt x="2301" y="32216"/>
                  </a:cubicBezTo>
                  <a:cubicBezTo>
                    <a:pt x="-767" y="29148"/>
                    <a:pt x="-767" y="23011"/>
                    <a:pt x="2301" y="19943"/>
                  </a:cubicBezTo>
                  <a:cubicBezTo>
                    <a:pt x="29915" y="-10739"/>
                    <a:pt x="69801" y="1534"/>
                    <a:pt x="88210" y="7671"/>
                  </a:cubicBezTo>
                  <a:cubicBezTo>
                    <a:pt x="91279" y="10738"/>
                    <a:pt x="94346" y="13807"/>
                    <a:pt x="91279" y="16875"/>
                  </a:cubicBezTo>
                  <a:cubicBezTo>
                    <a:pt x="88210" y="19943"/>
                    <a:pt x="85142" y="23011"/>
                    <a:pt x="82073" y="19943"/>
                  </a:cubicBezTo>
                  <a:cubicBezTo>
                    <a:pt x="79005" y="19943"/>
                    <a:pt x="39119" y="-1534"/>
                    <a:pt x="14574" y="26079"/>
                  </a:cubicBezTo>
                  <a:cubicBezTo>
                    <a:pt x="14574" y="32216"/>
                    <a:pt x="11506" y="35284"/>
                    <a:pt x="8437" y="35284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AC02C9D4-E84A-4BC7-9851-7944478D051D}"/>
                </a:ext>
              </a:extLst>
            </p:cNvPr>
            <p:cNvSpPr/>
            <p:nvPr/>
          </p:nvSpPr>
          <p:spPr>
            <a:xfrm>
              <a:off x="16470305" y="9131889"/>
              <a:ext cx="92549" cy="36505"/>
            </a:xfrm>
            <a:custGeom>
              <a:avLst/>
              <a:gdLst>
                <a:gd name="connsiteX0" fmla="*/ 87180 w 92549"/>
                <a:gd name="connsiteY0" fmla="*/ 36506 h 36505"/>
                <a:gd name="connsiteX1" fmla="*/ 81044 w 92549"/>
                <a:gd name="connsiteY1" fmla="*/ 33438 h 36505"/>
                <a:gd name="connsiteX2" fmla="*/ 13544 w 92549"/>
                <a:gd name="connsiteY2" fmla="*/ 27301 h 36505"/>
                <a:gd name="connsiteX3" fmla="*/ 1271 w 92549"/>
                <a:gd name="connsiteY3" fmla="*/ 24233 h 36505"/>
                <a:gd name="connsiteX4" fmla="*/ 4339 w 92549"/>
                <a:gd name="connsiteY4" fmla="*/ 11960 h 36505"/>
                <a:gd name="connsiteX5" fmla="*/ 90248 w 92549"/>
                <a:gd name="connsiteY5" fmla="*/ 21165 h 36505"/>
                <a:gd name="connsiteX6" fmla="*/ 90248 w 92549"/>
                <a:gd name="connsiteY6" fmla="*/ 33438 h 36505"/>
                <a:gd name="connsiteX7" fmla="*/ 87180 w 92549"/>
                <a:gd name="connsiteY7" fmla="*/ 36506 h 3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6505">
                  <a:moveTo>
                    <a:pt x="87180" y="36506"/>
                  </a:moveTo>
                  <a:cubicBezTo>
                    <a:pt x="84112" y="36506"/>
                    <a:pt x="84112" y="36506"/>
                    <a:pt x="81044" y="33438"/>
                  </a:cubicBezTo>
                  <a:cubicBezTo>
                    <a:pt x="81044" y="33438"/>
                    <a:pt x="50362" y="2756"/>
                    <a:pt x="13544" y="27301"/>
                  </a:cubicBezTo>
                  <a:cubicBezTo>
                    <a:pt x="10475" y="30370"/>
                    <a:pt x="4339" y="27301"/>
                    <a:pt x="1271" y="24233"/>
                  </a:cubicBezTo>
                  <a:cubicBezTo>
                    <a:pt x="-1797" y="21165"/>
                    <a:pt x="1271" y="15029"/>
                    <a:pt x="4339" y="11960"/>
                  </a:cubicBezTo>
                  <a:cubicBezTo>
                    <a:pt x="41157" y="-12585"/>
                    <a:pt x="77976" y="5824"/>
                    <a:pt x="90248" y="21165"/>
                  </a:cubicBezTo>
                  <a:cubicBezTo>
                    <a:pt x="93316" y="24233"/>
                    <a:pt x="93316" y="30370"/>
                    <a:pt x="90248" y="33438"/>
                  </a:cubicBezTo>
                  <a:cubicBezTo>
                    <a:pt x="90248" y="36506"/>
                    <a:pt x="87180" y="36506"/>
                    <a:pt x="87180" y="36506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995FCBA4-C26E-4EBF-83B7-F42D3E0858BE}"/>
                </a:ext>
              </a:extLst>
            </p:cNvPr>
            <p:cNvSpPr/>
            <p:nvPr/>
          </p:nvSpPr>
          <p:spPr>
            <a:xfrm>
              <a:off x="16222826" y="8907921"/>
              <a:ext cx="278468" cy="260473"/>
            </a:xfrm>
            <a:custGeom>
              <a:avLst/>
              <a:gdLst>
                <a:gd name="connsiteX0" fmla="*/ 276364 w 278468"/>
                <a:gd name="connsiteY0" fmla="*/ 2746 h 260473"/>
                <a:gd name="connsiteX1" fmla="*/ 239546 w 278468"/>
                <a:gd name="connsiteY1" fmla="*/ 131610 h 260473"/>
                <a:gd name="connsiteX2" fmla="*/ 227 w 278468"/>
                <a:gd name="connsiteY2" fmla="*/ 260473 h 260473"/>
                <a:gd name="connsiteX3" fmla="*/ 276364 w 278468"/>
                <a:gd name="connsiteY3" fmla="*/ 2746 h 260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468" h="260473">
                  <a:moveTo>
                    <a:pt x="276364" y="2746"/>
                  </a:moveTo>
                  <a:cubicBezTo>
                    <a:pt x="276364" y="2746"/>
                    <a:pt x="291705" y="91723"/>
                    <a:pt x="239546" y="131610"/>
                  </a:cubicBezTo>
                  <a:cubicBezTo>
                    <a:pt x="239546" y="131610"/>
                    <a:pt x="27841" y="174564"/>
                    <a:pt x="227" y="260473"/>
                  </a:cubicBezTo>
                  <a:cubicBezTo>
                    <a:pt x="227" y="257406"/>
                    <a:pt x="-18182" y="-31004"/>
                    <a:pt x="276364" y="2746"/>
                  </a:cubicBezTo>
                  <a:close/>
                </a:path>
              </a:pathLst>
            </a:custGeom>
            <a:solidFill>
              <a:srgbClr val="664241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01C2C776-E654-4D33-9AF6-2582519A06A9}"/>
                </a:ext>
              </a:extLst>
            </p:cNvPr>
            <p:cNvSpPr/>
            <p:nvPr/>
          </p:nvSpPr>
          <p:spPr>
            <a:xfrm>
              <a:off x="16462372" y="8907599"/>
              <a:ext cx="225682" cy="316521"/>
            </a:xfrm>
            <a:custGeom>
              <a:avLst/>
              <a:gdLst>
                <a:gd name="connsiteX0" fmla="*/ 0 w 225682"/>
                <a:gd name="connsiteY0" fmla="*/ 128864 h 316521"/>
                <a:gd name="connsiteX1" fmla="*/ 141136 w 225682"/>
                <a:gd name="connsiteY1" fmla="*/ 184091 h 316521"/>
                <a:gd name="connsiteX2" fmla="*/ 199432 w 225682"/>
                <a:gd name="connsiteY2" fmla="*/ 303750 h 316521"/>
                <a:gd name="connsiteX3" fmla="*/ 223977 w 225682"/>
                <a:gd name="connsiteY3" fmla="*/ 300682 h 316521"/>
                <a:gd name="connsiteX4" fmla="*/ 33749 w 225682"/>
                <a:gd name="connsiteY4" fmla="*/ 0 h 316521"/>
                <a:gd name="connsiteX5" fmla="*/ 0 w 225682"/>
                <a:gd name="connsiteY5" fmla="*/ 128864 h 316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5682" h="316521">
                  <a:moveTo>
                    <a:pt x="0" y="128864"/>
                  </a:moveTo>
                  <a:cubicBezTo>
                    <a:pt x="0" y="128864"/>
                    <a:pt x="92045" y="177955"/>
                    <a:pt x="141136" y="184091"/>
                  </a:cubicBezTo>
                  <a:cubicBezTo>
                    <a:pt x="193295" y="190227"/>
                    <a:pt x="199432" y="303750"/>
                    <a:pt x="199432" y="303750"/>
                  </a:cubicBezTo>
                  <a:cubicBezTo>
                    <a:pt x="199432" y="303750"/>
                    <a:pt x="220909" y="334432"/>
                    <a:pt x="223977" y="300682"/>
                  </a:cubicBezTo>
                  <a:cubicBezTo>
                    <a:pt x="230114" y="220909"/>
                    <a:pt x="230114" y="21477"/>
                    <a:pt x="33749" y="0"/>
                  </a:cubicBezTo>
                  <a:cubicBezTo>
                    <a:pt x="36818" y="3068"/>
                    <a:pt x="24545" y="125796"/>
                    <a:pt x="0" y="128864"/>
                  </a:cubicBezTo>
                  <a:close/>
                </a:path>
              </a:pathLst>
            </a:custGeom>
            <a:solidFill>
              <a:srgbClr val="664241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4A5A719E-6E2C-4D89-981E-EC7914A7A57D}"/>
                </a:ext>
              </a:extLst>
            </p:cNvPr>
            <p:cNvSpPr/>
            <p:nvPr/>
          </p:nvSpPr>
          <p:spPr>
            <a:xfrm>
              <a:off x="16456235" y="8904532"/>
              <a:ext cx="156477" cy="193295"/>
            </a:xfrm>
            <a:custGeom>
              <a:avLst/>
              <a:gdLst>
                <a:gd name="connsiteX0" fmla="*/ 150341 w 156477"/>
                <a:gd name="connsiteY0" fmla="*/ 193295 h 193295"/>
                <a:gd name="connsiteX1" fmla="*/ 150341 w 156477"/>
                <a:gd name="connsiteY1" fmla="*/ 193295 h 193295"/>
                <a:gd name="connsiteX2" fmla="*/ 52159 w 156477"/>
                <a:gd name="connsiteY2" fmla="*/ 159545 h 193295"/>
                <a:gd name="connsiteX3" fmla="*/ 6137 w 156477"/>
                <a:gd name="connsiteY3" fmla="*/ 135000 h 193295"/>
                <a:gd name="connsiteX4" fmla="*/ 0 w 156477"/>
                <a:gd name="connsiteY4" fmla="*/ 131931 h 193295"/>
                <a:gd name="connsiteX5" fmla="*/ 3068 w 156477"/>
                <a:gd name="connsiteY5" fmla="*/ 125795 h 193295"/>
                <a:gd name="connsiteX6" fmla="*/ 21478 w 156477"/>
                <a:gd name="connsiteY6" fmla="*/ 101250 h 193295"/>
                <a:gd name="connsiteX7" fmla="*/ 30682 w 156477"/>
                <a:gd name="connsiteY7" fmla="*/ 61364 h 193295"/>
                <a:gd name="connsiteX8" fmla="*/ 33750 w 156477"/>
                <a:gd name="connsiteY8" fmla="*/ 33750 h 193295"/>
                <a:gd name="connsiteX9" fmla="*/ 36819 w 156477"/>
                <a:gd name="connsiteY9" fmla="*/ 6136 h 193295"/>
                <a:gd name="connsiteX10" fmla="*/ 42954 w 156477"/>
                <a:gd name="connsiteY10" fmla="*/ 0 h 193295"/>
                <a:gd name="connsiteX11" fmla="*/ 49091 w 156477"/>
                <a:gd name="connsiteY11" fmla="*/ 6136 h 193295"/>
                <a:gd name="connsiteX12" fmla="*/ 46023 w 156477"/>
                <a:gd name="connsiteY12" fmla="*/ 33750 h 193295"/>
                <a:gd name="connsiteX13" fmla="*/ 42954 w 156477"/>
                <a:gd name="connsiteY13" fmla="*/ 61364 h 193295"/>
                <a:gd name="connsiteX14" fmla="*/ 30682 w 156477"/>
                <a:gd name="connsiteY14" fmla="*/ 104318 h 193295"/>
                <a:gd name="connsiteX15" fmla="*/ 15341 w 156477"/>
                <a:gd name="connsiteY15" fmla="*/ 125795 h 193295"/>
                <a:gd name="connsiteX16" fmla="*/ 55227 w 156477"/>
                <a:gd name="connsiteY16" fmla="*/ 147272 h 193295"/>
                <a:gd name="connsiteX17" fmla="*/ 150341 w 156477"/>
                <a:gd name="connsiteY17" fmla="*/ 177954 h 193295"/>
                <a:gd name="connsiteX18" fmla="*/ 156477 w 156477"/>
                <a:gd name="connsiteY18" fmla="*/ 184091 h 193295"/>
                <a:gd name="connsiteX19" fmla="*/ 150341 w 156477"/>
                <a:gd name="connsiteY19" fmla="*/ 193295 h 19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6477" h="193295">
                  <a:moveTo>
                    <a:pt x="150341" y="193295"/>
                  </a:moveTo>
                  <a:cubicBezTo>
                    <a:pt x="147272" y="193295"/>
                    <a:pt x="147272" y="193295"/>
                    <a:pt x="150341" y="193295"/>
                  </a:cubicBezTo>
                  <a:cubicBezTo>
                    <a:pt x="119659" y="190227"/>
                    <a:pt x="85909" y="177954"/>
                    <a:pt x="52159" y="159545"/>
                  </a:cubicBezTo>
                  <a:cubicBezTo>
                    <a:pt x="24545" y="147272"/>
                    <a:pt x="6137" y="135000"/>
                    <a:pt x="6137" y="135000"/>
                  </a:cubicBezTo>
                  <a:lnTo>
                    <a:pt x="0" y="131931"/>
                  </a:lnTo>
                  <a:lnTo>
                    <a:pt x="3068" y="125795"/>
                  </a:lnTo>
                  <a:cubicBezTo>
                    <a:pt x="9204" y="119659"/>
                    <a:pt x="15341" y="110454"/>
                    <a:pt x="21478" y="101250"/>
                  </a:cubicBezTo>
                  <a:cubicBezTo>
                    <a:pt x="27613" y="88977"/>
                    <a:pt x="30682" y="73636"/>
                    <a:pt x="30682" y="61364"/>
                  </a:cubicBezTo>
                  <a:cubicBezTo>
                    <a:pt x="30682" y="55227"/>
                    <a:pt x="33750" y="42954"/>
                    <a:pt x="33750" y="33750"/>
                  </a:cubicBezTo>
                  <a:cubicBezTo>
                    <a:pt x="33750" y="21477"/>
                    <a:pt x="36819" y="12273"/>
                    <a:pt x="36819" y="6136"/>
                  </a:cubicBezTo>
                  <a:cubicBezTo>
                    <a:pt x="36819" y="3068"/>
                    <a:pt x="39886" y="0"/>
                    <a:pt x="42954" y="0"/>
                  </a:cubicBezTo>
                  <a:cubicBezTo>
                    <a:pt x="46023" y="0"/>
                    <a:pt x="49091" y="3068"/>
                    <a:pt x="49091" y="6136"/>
                  </a:cubicBezTo>
                  <a:cubicBezTo>
                    <a:pt x="49091" y="12273"/>
                    <a:pt x="46023" y="24545"/>
                    <a:pt x="46023" y="33750"/>
                  </a:cubicBezTo>
                  <a:cubicBezTo>
                    <a:pt x="46023" y="46023"/>
                    <a:pt x="42954" y="55227"/>
                    <a:pt x="42954" y="61364"/>
                  </a:cubicBezTo>
                  <a:cubicBezTo>
                    <a:pt x="39886" y="76705"/>
                    <a:pt x="39886" y="92045"/>
                    <a:pt x="30682" y="104318"/>
                  </a:cubicBezTo>
                  <a:cubicBezTo>
                    <a:pt x="27613" y="110454"/>
                    <a:pt x="21478" y="119659"/>
                    <a:pt x="15341" y="125795"/>
                  </a:cubicBezTo>
                  <a:cubicBezTo>
                    <a:pt x="21478" y="128864"/>
                    <a:pt x="36819" y="138068"/>
                    <a:pt x="55227" y="147272"/>
                  </a:cubicBezTo>
                  <a:cubicBezTo>
                    <a:pt x="88977" y="162613"/>
                    <a:pt x="122727" y="174886"/>
                    <a:pt x="150341" y="177954"/>
                  </a:cubicBezTo>
                  <a:cubicBezTo>
                    <a:pt x="153409" y="177954"/>
                    <a:pt x="156477" y="181023"/>
                    <a:pt x="156477" y="184091"/>
                  </a:cubicBezTo>
                  <a:cubicBezTo>
                    <a:pt x="153409" y="190227"/>
                    <a:pt x="150341" y="193295"/>
                    <a:pt x="150341" y="193295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8A965BBF-41CD-4860-B6B0-83B33D6847E9}"/>
                </a:ext>
              </a:extLst>
            </p:cNvPr>
            <p:cNvSpPr/>
            <p:nvPr/>
          </p:nvSpPr>
          <p:spPr>
            <a:xfrm>
              <a:off x="16529871" y="9043727"/>
              <a:ext cx="257727" cy="542937"/>
            </a:xfrm>
            <a:custGeom>
              <a:avLst/>
              <a:gdLst>
                <a:gd name="connsiteX0" fmla="*/ 67500 w 257727"/>
                <a:gd name="connsiteY0" fmla="*/ 54100 h 542937"/>
                <a:gd name="connsiteX1" fmla="*/ 0 w 257727"/>
                <a:gd name="connsiteY1" fmla="*/ 517396 h 542937"/>
                <a:gd name="connsiteX2" fmla="*/ 257727 w 257727"/>
                <a:gd name="connsiteY2" fmla="*/ 511259 h 542937"/>
                <a:gd name="connsiteX3" fmla="*/ 144205 w 257727"/>
                <a:gd name="connsiteY3" fmla="*/ 5009 h 542937"/>
                <a:gd name="connsiteX4" fmla="*/ 67500 w 257727"/>
                <a:gd name="connsiteY4" fmla="*/ 54100 h 542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727" h="542937">
                  <a:moveTo>
                    <a:pt x="67500" y="54100"/>
                  </a:moveTo>
                  <a:cubicBezTo>
                    <a:pt x="67500" y="54100"/>
                    <a:pt x="171818" y="250464"/>
                    <a:pt x="0" y="517396"/>
                  </a:cubicBezTo>
                  <a:cubicBezTo>
                    <a:pt x="0" y="517396"/>
                    <a:pt x="138068" y="578759"/>
                    <a:pt x="257727" y="511259"/>
                  </a:cubicBezTo>
                  <a:cubicBezTo>
                    <a:pt x="257727" y="511259"/>
                    <a:pt x="257727" y="259669"/>
                    <a:pt x="144205" y="5009"/>
                  </a:cubicBezTo>
                  <a:cubicBezTo>
                    <a:pt x="135000" y="-19536"/>
                    <a:pt x="67500" y="54100"/>
                    <a:pt x="67500" y="54100"/>
                  </a:cubicBezTo>
                  <a:close/>
                </a:path>
              </a:pathLst>
            </a:custGeom>
            <a:solidFill>
              <a:srgbClr val="664241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EE5801D3-A770-4C10-9379-617B2B73995D}"/>
                </a:ext>
              </a:extLst>
            </p:cNvPr>
            <p:cNvSpPr/>
            <p:nvPr/>
          </p:nvSpPr>
          <p:spPr>
            <a:xfrm>
              <a:off x="16189303" y="9076349"/>
              <a:ext cx="147273" cy="165682"/>
            </a:xfrm>
            <a:custGeom>
              <a:avLst/>
              <a:gdLst>
                <a:gd name="connsiteX0" fmla="*/ 6137 w 147273"/>
                <a:gd name="connsiteY0" fmla="*/ 165682 h 165682"/>
                <a:gd name="connsiteX1" fmla="*/ 6137 w 147273"/>
                <a:gd name="connsiteY1" fmla="*/ 165682 h 165682"/>
                <a:gd name="connsiteX2" fmla="*/ 0 w 147273"/>
                <a:gd name="connsiteY2" fmla="*/ 159545 h 165682"/>
                <a:gd name="connsiteX3" fmla="*/ 141137 w 147273"/>
                <a:gd name="connsiteY3" fmla="*/ 0 h 165682"/>
                <a:gd name="connsiteX4" fmla="*/ 147273 w 147273"/>
                <a:gd name="connsiteY4" fmla="*/ 3068 h 165682"/>
                <a:gd name="connsiteX5" fmla="*/ 144205 w 147273"/>
                <a:gd name="connsiteY5" fmla="*/ 9205 h 165682"/>
                <a:gd name="connsiteX6" fmla="*/ 12273 w 147273"/>
                <a:gd name="connsiteY6" fmla="*/ 159545 h 165682"/>
                <a:gd name="connsiteX7" fmla="*/ 6137 w 147273"/>
                <a:gd name="connsiteY7" fmla="*/ 165682 h 165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273" h="165682">
                  <a:moveTo>
                    <a:pt x="6137" y="165682"/>
                  </a:moveTo>
                  <a:cubicBezTo>
                    <a:pt x="6137" y="165682"/>
                    <a:pt x="6137" y="165682"/>
                    <a:pt x="6137" y="165682"/>
                  </a:cubicBezTo>
                  <a:cubicBezTo>
                    <a:pt x="3068" y="165682"/>
                    <a:pt x="0" y="162614"/>
                    <a:pt x="0" y="159545"/>
                  </a:cubicBezTo>
                  <a:cubicBezTo>
                    <a:pt x="24546" y="30682"/>
                    <a:pt x="141137" y="0"/>
                    <a:pt x="141137" y="0"/>
                  </a:cubicBezTo>
                  <a:cubicBezTo>
                    <a:pt x="144205" y="0"/>
                    <a:pt x="147273" y="0"/>
                    <a:pt x="147273" y="3068"/>
                  </a:cubicBezTo>
                  <a:cubicBezTo>
                    <a:pt x="147273" y="6136"/>
                    <a:pt x="147273" y="9205"/>
                    <a:pt x="144205" y="9205"/>
                  </a:cubicBezTo>
                  <a:cubicBezTo>
                    <a:pt x="144205" y="9205"/>
                    <a:pt x="36819" y="39886"/>
                    <a:pt x="12273" y="159545"/>
                  </a:cubicBezTo>
                  <a:cubicBezTo>
                    <a:pt x="9205" y="162614"/>
                    <a:pt x="9205" y="165682"/>
                    <a:pt x="6137" y="165682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7A40B6B6-A294-4D13-8435-8D44839AAD3F}"/>
                </a:ext>
              </a:extLst>
            </p:cNvPr>
            <p:cNvSpPr/>
            <p:nvPr/>
          </p:nvSpPr>
          <p:spPr>
            <a:xfrm>
              <a:off x="16073480" y="9280647"/>
              <a:ext cx="92549" cy="185361"/>
            </a:xfrm>
            <a:custGeom>
              <a:avLst/>
              <a:gdLst>
                <a:gd name="connsiteX0" fmla="*/ 5370 w 92549"/>
                <a:gd name="connsiteY0" fmla="*/ 185362 h 185361"/>
                <a:gd name="connsiteX1" fmla="*/ 2301 w 92549"/>
                <a:gd name="connsiteY1" fmla="*/ 182294 h 185361"/>
                <a:gd name="connsiteX2" fmla="*/ 2301 w 92549"/>
                <a:gd name="connsiteY2" fmla="*/ 173089 h 185361"/>
                <a:gd name="connsiteX3" fmla="*/ 82074 w 92549"/>
                <a:gd name="connsiteY3" fmla="*/ 4339 h 185361"/>
                <a:gd name="connsiteX4" fmla="*/ 88210 w 92549"/>
                <a:gd name="connsiteY4" fmla="*/ 1271 h 185361"/>
                <a:gd name="connsiteX5" fmla="*/ 91278 w 92549"/>
                <a:gd name="connsiteY5" fmla="*/ 7407 h 185361"/>
                <a:gd name="connsiteX6" fmla="*/ 8437 w 92549"/>
                <a:gd name="connsiteY6" fmla="*/ 179225 h 185361"/>
                <a:gd name="connsiteX7" fmla="*/ 5370 w 92549"/>
                <a:gd name="connsiteY7" fmla="*/ 185362 h 18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185361">
                  <a:moveTo>
                    <a:pt x="5370" y="185362"/>
                  </a:moveTo>
                  <a:cubicBezTo>
                    <a:pt x="5370" y="185362"/>
                    <a:pt x="2301" y="185362"/>
                    <a:pt x="2301" y="182294"/>
                  </a:cubicBezTo>
                  <a:cubicBezTo>
                    <a:pt x="-767" y="179225"/>
                    <a:pt x="-767" y="176158"/>
                    <a:pt x="2301" y="173089"/>
                  </a:cubicBezTo>
                  <a:cubicBezTo>
                    <a:pt x="57528" y="120930"/>
                    <a:pt x="82074" y="7407"/>
                    <a:pt x="82074" y="4339"/>
                  </a:cubicBezTo>
                  <a:cubicBezTo>
                    <a:pt x="82074" y="1271"/>
                    <a:pt x="85142" y="-1797"/>
                    <a:pt x="88210" y="1271"/>
                  </a:cubicBezTo>
                  <a:cubicBezTo>
                    <a:pt x="91278" y="1271"/>
                    <a:pt x="94347" y="4339"/>
                    <a:pt x="91278" y="7407"/>
                  </a:cubicBezTo>
                  <a:cubicBezTo>
                    <a:pt x="91278" y="13544"/>
                    <a:pt x="66733" y="123998"/>
                    <a:pt x="8437" y="179225"/>
                  </a:cubicBezTo>
                  <a:cubicBezTo>
                    <a:pt x="8437" y="185362"/>
                    <a:pt x="5370" y="185362"/>
                    <a:pt x="5370" y="185362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376BF895-CDD7-4F79-81BF-602985C2653A}"/>
                </a:ext>
              </a:extLst>
            </p:cNvPr>
            <p:cNvSpPr/>
            <p:nvPr/>
          </p:nvSpPr>
          <p:spPr>
            <a:xfrm>
              <a:off x="16117372" y="9361690"/>
              <a:ext cx="74999" cy="128863"/>
            </a:xfrm>
            <a:custGeom>
              <a:avLst/>
              <a:gdLst>
                <a:gd name="connsiteX0" fmla="*/ 4432 w 74999"/>
                <a:gd name="connsiteY0" fmla="*/ 128864 h 128863"/>
                <a:gd name="connsiteX1" fmla="*/ 1364 w 74999"/>
                <a:gd name="connsiteY1" fmla="*/ 125796 h 128863"/>
                <a:gd name="connsiteX2" fmla="*/ 1364 w 74999"/>
                <a:gd name="connsiteY2" fmla="*/ 116591 h 128863"/>
                <a:gd name="connsiteX3" fmla="*/ 65796 w 74999"/>
                <a:gd name="connsiteY3" fmla="*/ 3068 h 128863"/>
                <a:gd name="connsiteX4" fmla="*/ 71932 w 74999"/>
                <a:gd name="connsiteY4" fmla="*/ 0 h 128863"/>
                <a:gd name="connsiteX5" fmla="*/ 75000 w 74999"/>
                <a:gd name="connsiteY5" fmla="*/ 6136 h 128863"/>
                <a:gd name="connsiteX6" fmla="*/ 7500 w 74999"/>
                <a:gd name="connsiteY6" fmla="*/ 122727 h 128863"/>
                <a:gd name="connsiteX7" fmla="*/ 4432 w 74999"/>
                <a:gd name="connsiteY7" fmla="*/ 128864 h 128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999" h="128863">
                  <a:moveTo>
                    <a:pt x="4432" y="128864"/>
                  </a:moveTo>
                  <a:cubicBezTo>
                    <a:pt x="1364" y="128864"/>
                    <a:pt x="1364" y="128864"/>
                    <a:pt x="1364" y="125796"/>
                  </a:cubicBezTo>
                  <a:cubicBezTo>
                    <a:pt x="-1705" y="122727"/>
                    <a:pt x="1364" y="119659"/>
                    <a:pt x="1364" y="116591"/>
                  </a:cubicBezTo>
                  <a:cubicBezTo>
                    <a:pt x="35114" y="92045"/>
                    <a:pt x="65796" y="6136"/>
                    <a:pt x="65796" y="3068"/>
                  </a:cubicBezTo>
                  <a:cubicBezTo>
                    <a:pt x="65796" y="0"/>
                    <a:pt x="68864" y="0"/>
                    <a:pt x="71932" y="0"/>
                  </a:cubicBezTo>
                  <a:cubicBezTo>
                    <a:pt x="75000" y="0"/>
                    <a:pt x="75000" y="3068"/>
                    <a:pt x="75000" y="6136"/>
                  </a:cubicBezTo>
                  <a:cubicBezTo>
                    <a:pt x="75000" y="9205"/>
                    <a:pt x="41250" y="98182"/>
                    <a:pt x="7500" y="122727"/>
                  </a:cubicBezTo>
                  <a:cubicBezTo>
                    <a:pt x="7500" y="125796"/>
                    <a:pt x="7500" y="128864"/>
                    <a:pt x="4432" y="128864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436C1DE2-59A4-49C5-8974-98DBB3CC49D9}"/>
                </a:ext>
              </a:extLst>
            </p:cNvPr>
            <p:cNvSpPr/>
            <p:nvPr/>
          </p:nvSpPr>
          <p:spPr>
            <a:xfrm>
              <a:off x="16526803" y="9078054"/>
              <a:ext cx="106865" cy="483068"/>
            </a:xfrm>
            <a:custGeom>
              <a:avLst/>
              <a:gdLst>
                <a:gd name="connsiteX0" fmla="*/ 6137 w 106865"/>
                <a:gd name="connsiteY0" fmla="*/ 483068 h 483068"/>
                <a:gd name="connsiteX1" fmla="*/ 6137 w 106865"/>
                <a:gd name="connsiteY1" fmla="*/ 483068 h 483068"/>
                <a:gd name="connsiteX2" fmla="*/ 0 w 106865"/>
                <a:gd name="connsiteY2" fmla="*/ 473864 h 483068"/>
                <a:gd name="connsiteX3" fmla="*/ 92045 w 106865"/>
                <a:gd name="connsiteY3" fmla="*/ 133296 h 483068"/>
                <a:gd name="connsiteX4" fmla="*/ 55228 w 106865"/>
                <a:gd name="connsiteY4" fmla="*/ 10568 h 483068"/>
                <a:gd name="connsiteX5" fmla="*/ 55228 w 106865"/>
                <a:gd name="connsiteY5" fmla="*/ 1364 h 483068"/>
                <a:gd name="connsiteX6" fmla="*/ 64432 w 106865"/>
                <a:gd name="connsiteY6" fmla="*/ 1364 h 483068"/>
                <a:gd name="connsiteX7" fmla="*/ 104319 w 106865"/>
                <a:gd name="connsiteY7" fmla="*/ 130227 h 483068"/>
                <a:gd name="connsiteX8" fmla="*/ 9205 w 106865"/>
                <a:gd name="connsiteY8" fmla="*/ 476932 h 483068"/>
                <a:gd name="connsiteX9" fmla="*/ 6137 w 106865"/>
                <a:gd name="connsiteY9" fmla="*/ 483068 h 48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6865" h="483068">
                  <a:moveTo>
                    <a:pt x="6137" y="483068"/>
                  </a:moveTo>
                  <a:cubicBezTo>
                    <a:pt x="3068" y="483068"/>
                    <a:pt x="3068" y="483068"/>
                    <a:pt x="6137" y="483068"/>
                  </a:cubicBezTo>
                  <a:cubicBezTo>
                    <a:pt x="0" y="480000"/>
                    <a:pt x="0" y="476932"/>
                    <a:pt x="0" y="473864"/>
                  </a:cubicBezTo>
                  <a:cubicBezTo>
                    <a:pt x="92045" y="326591"/>
                    <a:pt x="101251" y="206932"/>
                    <a:pt x="92045" y="133296"/>
                  </a:cubicBezTo>
                  <a:cubicBezTo>
                    <a:pt x="82841" y="53523"/>
                    <a:pt x="55228" y="10568"/>
                    <a:pt x="55228" y="10568"/>
                  </a:cubicBezTo>
                  <a:cubicBezTo>
                    <a:pt x="52159" y="7500"/>
                    <a:pt x="55228" y="4432"/>
                    <a:pt x="55228" y="1364"/>
                  </a:cubicBezTo>
                  <a:cubicBezTo>
                    <a:pt x="58296" y="-1705"/>
                    <a:pt x="61364" y="1364"/>
                    <a:pt x="64432" y="1364"/>
                  </a:cubicBezTo>
                  <a:cubicBezTo>
                    <a:pt x="64432" y="4432"/>
                    <a:pt x="95114" y="47386"/>
                    <a:pt x="104319" y="130227"/>
                  </a:cubicBezTo>
                  <a:cubicBezTo>
                    <a:pt x="113523" y="203863"/>
                    <a:pt x="101251" y="326591"/>
                    <a:pt x="9205" y="476932"/>
                  </a:cubicBezTo>
                  <a:cubicBezTo>
                    <a:pt x="9205" y="483068"/>
                    <a:pt x="6137" y="483068"/>
                    <a:pt x="6137" y="483068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063E61BD-855C-4781-AB46-DD351390C1BC}"/>
                </a:ext>
              </a:extLst>
            </p:cNvPr>
            <p:cNvSpPr/>
            <p:nvPr/>
          </p:nvSpPr>
          <p:spPr>
            <a:xfrm>
              <a:off x="16379531" y="8924689"/>
              <a:ext cx="120929" cy="22796"/>
            </a:xfrm>
            <a:custGeom>
              <a:avLst/>
              <a:gdLst>
                <a:gd name="connsiteX0" fmla="*/ 116591 w 120929"/>
                <a:gd name="connsiteY0" fmla="*/ 22797 h 22796"/>
                <a:gd name="connsiteX1" fmla="*/ 116591 w 120929"/>
                <a:gd name="connsiteY1" fmla="*/ 22797 h 22796"/>
                <a:gd name="connsiteX2" fmla="*/ 6137 w 120929"/>
                <a:gd name="connsiteY2" fmla="*/ 16660 h 22796"/>
                <a:gd name="connsiteX3" fmla="*/ 0 w 120929"/>
                <a:gd name="connsiteY3" fmla="*/ 13592 h 22796"/>
                <a:gd name="connsiteX4" fmla="*/ 3068 w 120929"/>
                <a:gd name="connsiteY4" fmla="*/ 7456 h 22796"/>
                <a:gd name="connsiteX5" fmla="*/ 116591 w 120929"/>
                <a:gd name="connsiteY5" fmla="*/ 10524 h 22796"/>
                <a:gd name="connsiteX6" fmla="*/ 119659 w 120929"/>
                <a:gd name="connsiteY6" fmla="*/ 16660 h 22796"/>
                <a:gd name="connsiteX7" fmla="*/ 116591 w 120929"/>
                <a:gd name="connsiteY7" fmla="*/ 22797 h 22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929" h="22796">
                  <a:moveTo>
                    <a:pt x="116591" y="22797"/>
                  </a:moveTo>
                  <a:cubicBezTo>
                    <a:pt x="116591" y="22797"/>
                    <a:pt x="116591" y="22797"/>
                    <a:pt x="116591" y="22797"/>
                  </a:cubicBezTo>
                  <a:cubicBezTo>
                    <a:pt x="113523" y="22797"/>
                    <a:pt x="52159" y="1319"/>
                    <a:pt x="6137" y="16660"/>
                  </a:cubicBezTo>
                  <a:cubicBezTo>
                    <a:pt x="3068" y="16660"/>
                    <a:pt x="0" y="16660"/>
                    <a:pt x="0" y="13592"/>
                  </a:cubicBezTo>
                  <a:cubicBezTo>
                    <a:pt x="0" y="10524"/>
                    <a:pt x="0" y="7456"/>
                    <a:pt x="3068" y="7456"/>
                  </a:cubicBezTo>
                  <a:cubicBezTo>
                    <a:pt x="52159" y="-10954"/>
                    <a:pt x="116591" y="10524"/>
                    <a:pt x="116591" y="10524"/>
                  </a:cubicBezTo>
                  <a:cubicBezTo>
                    <a:pt x="119659" y="10524"/>
                    <a:pt x="119659" y="13592"/>
                    <a:pt x="119659" y="16660"/>
                  </a:cubicBezTo>
                  <a:cubicBezTo>
                    <a:pt x="122727" y="19728"/>
                    <a:pt x="119659" y="22797"/>
                    <a:pt x="116591" y="22797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0E8F33D5-8A04-40D8-9707-79701819F5BD}"/>
                </a:ext>
              </a:extLst>
            </p:cNvPr>
            <p:cNvSpPr/>
            <p:nvPr/>
          </p:nvSpPr>
          <p:spPr>
            <a:xfrm>
              <a:off x="16345781" y="9436094"/>
              <a:ext cx="223210" cy="82074"/>
            </a:xfrm>
            <a:custGeom>
              <a:avLst/>
              <a:gdLst>
                <a:gd name="connsiteX0" fmla="*/ 76705 w 223210"/>
                <a:gd name="connsiteY0" fmla="*/ 82074 h 82074"/>
                <a:gd name="connsiteX1" fmla="*/ 64432 w 223210"/>
                <a:gd name="connsiteY1" fmla="*/ 82074 h 82074"/>
                <a:gd name="connsiteX2" fmla="*/ 3068 w 223210"/>
                <a:gd name="connsiteY2" fmla="*/ 57529 h 82074"/>
                <a:gd name="connsiteX3" fmla="*/ 0 w 223210"/>
                <a:gd name="connsiteY3" fmla="*/ 48324 h 82074"/>
                <a:gd name="connsiteX4" fmla="*/ 9205 w 223210"/>
                <a:gd name="connsiteY4" fmla="*/ 45256 h 82074"/>
                <a:gd name="connsiteX5" fmla="*/ 67500 w 223210"/>
                <a:gd name="connsiteY5" fmla="*/ 66733 h 82074"/>
                <a:gd name="connsiteX6" fmla="*/ 211704 w 223210"/>
                <a:gd name="connsiteY6" fmla="*/ 2301 h 82074"/>
                <a:gd name="connsiteX7" fmla="*/ 220909 w 223210"/>
                <a:gd name="connsiteY7" fmla="*/ 2301 h 82074"/>
                <a:gd name="connsiteX8" fmla="*/ 220909 w 223210"/>
                <a:gd name="connsiteY8" fmla="*/ 11506 h 82074"/>
                <a:gd name="connsiteX9" fmla="*/ 76705 w 223210"/>
                <a:gd name="connsiteY9" fmla="*/ 82074 h 82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210" h="82074">
                  <a:moveTo>
                    <a:pt x="76705" y="82074"/>
                  </a:moveTo>
                  <a:cubicBezTo>
                    <a:pt x="73636" y="82074"/>
                    <a:pt x="67500" y="82074"/>
                    <a:pt x="64432" y="82074"/>
                  </a:cubicBezTo>
                  <a:cubicBezTo>
                    <a:pt x="42954" y="79006"/>
                    <a:pt x="21478" y="69801"/>
                    <a:pt x="3068" y="57529"/>
                  </a:cubicBezTo>
                  <a:cubicBezTo>
                    <a:pt x="0" y="54460"/>
                    <a:pt x="0" y="51392"/>
                    <a:pt x="0" y="48324"/>
                  </a:cubicBezTo>
                  <a:cubicBezTo>
                    <a:pt x="3068" y="45256"/>
                    <a:pt x="6137" y="45256"/>
                    <a:pt x="9205" y="45256"/>
                  </a:cubicBezTo>
                  <a:cubicBezTo>
                    <a:pt x="27613" y="57529"/>
                    <a:pt x="46023" y="63665"/>
                    <a:pt x="67500" y="66733"/>
                  </a:cubicBezTo>
                  <a:cubicBezTo>
                    <a:pt x="128864" y="75937"/>
                    <a:pt x="208637" y="2301"/>
                    <a:pt x="211704" y="2301"/>
                  </a:cubicBezTo>
                  <a:cubicBezTo>
                    <a:pt x="214773" y="-767"/>
                    <a:pt x="217841" y="-767"/>
                    <a:pt x="220909" y="2301"/>
                  </a:cubicBezTo>
                  <a:cubicBezTo>
                    <a:pt x="223978" y="5370"/>
                    <a:pt x="223978" y="8438"/>
                    <a:pt x="220909" y="11506"/>
                  </a:cubicBezTo>
                  <a:cubicBezTo>
                    <a:pt x="214773" y="14574"/>
                    <a:pt x="141137" y="82074"/>
                    <a:pt x="76705" y="82074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8665B37A-F3F5-445E-A35F-151271F81B4D}"/>
                </a:ext>
              </a:extLst>
            </p:cNvPr>
            <p:cNvSpPr/>
            <p:nvPr/>
          </p:nvSpPr>
          <p:spPr>
            <a:xfrm>
              <a:off x="14642186" y="8692251"/>
              <a:ext cx="544575" cy="565696"/>
            </a:xfrm>
            <a:custGeom>
              <a:avLst/>
              <a:gdLst>
                <a:gd name="connsiteX0" fmla="*/ 753 w 544575"/>
                <a:gd name="connsiteY0" fmla="*/ 126371 h 565696"/>
                <a:gd name="connsiteX1" fmla="*/ 37572 w 544575"/>
                <a:gd name="connsiteY1" fmla="*/ 28189 h 565696"/>
                <a:gd name="connsiteX2" fmla="*/ 120412 w 544575"/>
                <a:gd name="connsiteY2" fmla="*/ 575 h 565696"/>
                <a:gd name="connsiteX3" fmla="*/ 200185 w 544575"/>
                <a:gd name="connsiteY3" fmla="*/ 40462 h 565696"/>
                <a:gd name="connsiteX4" fmla="*/ 221663 w 544575"/>
                <a:gd name="connsiteY4" fmla="*/ 144780 h 565696"/>
                <a:gd name="connsiteX5" fmla="*/ 184844 w 544575"/>
                <a:gd name="connsiteY5" fmla="*/ 242962 h 565696"/>
                <a:gd name="connsiteX6" fmla="*/ 102004 w 544575"/>
                <a:gd name="connsiteY6" fmla="*/ 270575 h 565696"/>
                <a:gd name="connsiteX7" fmla="*/ 22231 w 544575"/>
                <a:gd name="connsiteY7" fmla="*/ 230689 h 565696"/>
                <a:gd name="connsiteX8" fmla="*/ 753 w 544575"/>
                <a:gd name="connsiteY8" fmla="*/ 126371 h 565696"/>
                <a:gd name="connsiteX9" fmla="*/ 77458 w 544575"/>
                <a:gd name="connsiteY9" fmla="*/ 132507 h 565696"/>
                <a:gd name="connsiteX10" fmla="*/ 83595 w 544575"/>
                <a:gd name="connsiteY10" fmla="*/ 200007 h 565696"/>
                <a:gd name="connsiteX11" fmla="*/ 108140 w 544575"/>
                <a:gd name="connsiteY11" fmla="*/ 215348 h 565696"/>
                <a:gd name="connsiteX12" fmla="*/ 132686 w 544575"/>
                <a:gd name="connsiteY12" fmla="*/ 203075 h 565696"/>
                <a:gd name="connsiteX13" fmla="*/ 148027 w 544575"/>
                <a:gd name="connsiteY13" fmla="*/ 138643 h 565696"/>
                <a:gd name="connsiteX14" fmla="*/ 141890 w 544575"/>
                <a:gd name="connsiteY14" fmla="*/ 71143 h 565696"/>
                <a:gd name="connsiteX15" fmla="*/ 117345 w 544575"/>
                <a:gd name="connsiteY15" fmla="*/ 55803 h 565696"/>
                <a:gd name="connsiteX16" fmla="*/ 92799 w 544575"/>
                <a:gd name="connsiteY16" fmla="*/ 68075 h 565696"/>
                <a:gd name="connsiteX17" fmla="*/ 77458 w 544575"/>
                <a:gd name="connsiteY17" fmla="*/ 132507 h 565696"/>
                <a:gd name="connsiteX18" fmla="*/ 157231 w 544575"/>
                <a:gd name="connsiteY18" fmla="*/ 543643 h 565696"/>
                <a:gd name="connsiteX19" fmla="*/ 86663 w 544575"/>
                <a:gd name="connsiteY19" fmla="*/ 537507 h 565696"/>
                <a:gd name="connsiteX20" fmla="*/ 396549 w 544575"/>
                <a:gd name="connsiteY20" fmla="*/ 22052 h 565696"/>
                <a:gd name="connsiteX21" fmla="*/ 467117 w 544575"/>
                <a:gd name="connsiteY21" fmla="*/ 28189 h 565696"/>
                <a:gd name="connsiteX22" fmla="*/ 157231 w 544575"/>
                <a:gd name="connsiteY22" fmla="*/ 543643 h 565696"/>
                <a:gd name="connsiteX23" fmla="*/ 322913 w 544575"/>
                <a:gd name="connsiteY23" fmla="*/ 420916 h 565696"/>
                <a:gd name="connsiteX24" fmla="*/ 359731 w 544575"/>
                <a:gd name="connsiteY24" fmla="*/ 322734 h 565696"/>
                <a:gd name="connsiteX25" fmla="*/ 442571 w 544575"/>
                <a:gd name="connsiteY25" fmla="*/ 295121 h 565696"/>
                <a:gd name="connsiteX26" fmla="*/ 522344 w 544575"/>
                <a:gd name="connsiteY26" fmla="*/ 335007 h 565696"/>
                <a:gd name="connsiteX27" fmla="*/ 543822 w 544575"/>
                <a:gd name="connsiteY27" fmla="*/ 439325 h 565696"/>
                <a:gd name="connsiteX28" fmla="*/ 507003 w 544575"/>
                <a:gd name="connsiteY28" fmla="*/ 537507 h 565696"/>
                <a:gd name="connsiteX29" fmla="*/ 424163 w 544575"/>
                <a:gd name="connsiteY29" fmla="*/ 565121 h 565696"/>
                <a:gd name="connsiteX30" fmla="*/ 344390 w 544575"/>
                <a:gd name="connsiteY30" fmla="*/ 525235 h 565696"/>
                <a:gd name="connsiteX31" fmla="*/ 322913 w 544575"/>
                <a:gd name="connsiteY31" fmla="*/ 420916 h 565696"/>
                <a:gd name="connsiteX32" fmla="*/ 399617 w 544575"/>
                <a:gd name="connsiteY32" fmla="*/ 423984 h 565696"/>
                <a:gd name="connsiteX33" fmla="*/ 405754 w 544575"/>
                <a:gd name="connsiteY33" fmla="*/ 491484 h 565696"/>
                <a:gd name="connsiteX34" fmla="*/ 427231 w 544575"/>
                <a:gd name="connsiteY34" fmla="*/ 506825 h 565696"/>
                <a:gd name="connsiteX35" fmla="*/ 451777 w 544575"/>
                <a:gd name="connsiteY35" fmla="*/ 494553 h 565696"/>
                <a:gd name="connsiteX36" fmla="*/ 467117 w 544575"/>
                <a:gd name="connsiteY36" fmla="*/ 430121 h 565696"/>
                <a:gd name="connsiteX37" fmla="*/ 460981 w 544575"/>
                <a:gd name="connsiteY37" fmla="*/ 362621 h 565696"/>
                <a:gd name="connsiteX38" fmla="*/ 436436 w 544575"/>
                <a:gd name="connsiteY38" fmla="*/ 347280 h 565696"/>
                <a:gd name="connsiteX39" fmla="*/ 411890 w 544575"/>
                <a:gd name="connsiteY39" fmla="*/ 359552 h 565696"/>
                <a:gd name="connsiteX40" fmla="*/ 399617 w 544575"/>
                <a:gd name="connsiteY40" fmla="*/ 423984 h 565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44575" h="565696">
                  <a:moveTo>
                    <a:pt x="753" y="126371"/>
                  </a:moveTo>
                  <a:cubicBezTo>
                    <a:pt x="3822" y="80348"/>
                    <a:pt x="16094" y="46598"/>
                    <a:pt x="37572" y="28189"/>
                  </a:cubicBezTo>
                  <a:cubicBezTo>
                    <a:pt x="59049" y="6711"/>
                    <a:pt x="86663" y="-2493"/>
                    <a:pt x="120412" y="575"/>
                  </a:cubicBezTo>
                  <a:cubicBezTo>
                    <a:pt x="157231" y="3644"/>
                    <a:pt x="181776" y="15916"/>
                    <a:pt x="200185" y="40462"/>
                  </a:cubicBezTo>
                  <a:cubicBezTo>
                    <a:pt x="218595" y="65007"/>
                    <a:pt x="224731" y="98757"/>
                    <a:pt x="221663" y="144780"/>
                  </a:cubicBezTo>
                  <a:cubicBezTo>
                    <a:pt x="218595" y="190802"/>
                    <a:pt x="206322" y="224553"/>
                    <a:pt x="184844" y="242962"/>
                  </a:cubicBezTo>
                  <a:cubicBezTo>
                    <a:pt x="163368" y="264439"/>
                    <a:pt x="135753" y="273644"/>
                    <a:pt x="102004" y="270575"/>
                  </a:cubicBezTo>
                  <a:cubicBezTo>
                    <a:pt x="65185" y="267507"/>
                    <a:pt x="40640" y="255234"/>
                    <a:pt x="22231" y="230689"/>
                  </a:cubicBezTo>
                  <a:cubicBezTo>
                    <a:pt x="3822" y="206143"/>
                    <a:pt x="-2315" y="172394"/>
                    <a:pt x="753" y="126371"/>
                  </a:cubicBezTo>
                  <a:close/>
                  <a:moveTo>
                    <a:pt x="77458" y="132507"/>
                  </a:moveTo>
                  <a:cubicBezTo>
                    <a:pt x="74390" y="166257"/>
                    <a:pt x="77458" y="187734"/>
                    <a:pt x="83595" y="200007"/>
                  </a:cubicBezTo>
                  <a:cubicBezTo>
                    <a:pt x="89731" y="209212"/>
                    <a:pt x="95867" y="212280"/>
                    <a:pt x="108140" y="215348"/>
                  </a:cubicBezTo>
                  <a:cubicBezTo>
                    <a:pt x="117345" y="215348"/>
                    <a:pt x="126549" y="212280"/>
                    <a:pt x="132686" y="203075"/>
                  </a:cubicBezTo>
                  <a:cubicBezTo>
                    <a:pt x="141890" y="190802"/>
                    <a:pt x="144958" y="169325"/>
                    <a:pt x="148027" y="138643"/>
                  </a:cubicBezTo>
                  <a:cubicBezTo>
                    <a:pt x="151094" y="104894"/>
                    <a:pt x="148027" y="83416"/>
                    <a:pt x="141890" y="71143"/>
                  </a:cubicBezTo>
                  <a:cubicBezTo>
                    <a:pt x="135753" y="61939"/>
                    <a:pt x="129617" y="55803"/>
                    <a:pt x="117345" y="55803"/>
                  </a:cubicBezTo>
                  <a:cubicBezTo>
                    <a:pt x="108140" y="55803"/>
                    <a:pt x="98936" y="58871"/>
                    <a:pt x="92799" y="68075"/>
                  </a:cubicBezTo>
                  <a:cubicBezTo>
                    <a:pt x="83595" y="77280"/>
                    <a:pt x="80526" y="98757"/>
                    <a:pt x="77458" y="132507"/>
                  </a:cubicBezTo>
                  <a:close/>
                  <a:moveTo>
                    <a:pt x="157231" y="543643"/>
                  </a:moveTo>
                  <a:lnTo>
                    <a:pt x="86663" y="537507"/>
                  </a:lnTo>
                  <a:lnTo>
                    <a:pt x="396549" y="22052"/>
                  </a:lnTo>
                  <a:lnTo>
                    <a:pt x="467117" y="28189"/>
                  </a:lnTo>
                  <a:lnTo>
                    <a:pt x="157231" y="543643"/>
                  </a:lnTo>
                  <a:close/>
                  <a:moveTo>
                    <a:pt x="322913" y="420916"/>
                  </a:moveTo>
                  <a:cubicBezTo>
                    <a:pt x="325981" y="374893"/>
                    <a:pt x="338253" y="341144"/>
                    <a:pt x="359731" y="322734"/>
                  </a:cubicBezTo>
                  <a:cubicBezTo>
                    <a:pt x="381208" y="301257"/>
                    <a:pt x="408822" y="292052"/>
                    <a:pt x="442571" y="295121"/>
                  </a:cubicBezTo>
                  <a:cubicBezTo>
                    <a:pt x="476322" y="298189"/>
                    <a:pt x="503935" y="310462"/>
                    <a:pt x="522344" y="335007"/>
                  </a:cubicBezTo>
                  <a:cubicBezTo>
                    <a:pt x="540754" y="359552"/>
                    <a:pt x="546890" y="393303"/>
                    <a:pt x="543822" y="439325"/>
                  </a:cubicBezTo>
                  <a:cubicBezTo>
                    <a:pt x="540754" y="485348"/>
                    <a:pt x="528481" y="519098"/>
                    <a:pt x="507003" y="537507"/>
                  </a:cubicBezTo>
                  <a:cubicBezTo>
                    <a:pt x="485527" y="558984"/>
                    <a:pt x="457912" y="568189"/>
                    <a:pt x="424163" y="565121"/>
                  </a:cubicBezTo>
                  <a:cubicBezTo>
                    <a:pt x="387345" y="562053"/>
                    <a:pt x="362799" y="549780"/>
                    <a:pt x="344390" y="525235"/>
                  </a:cubicBezTo>
                  <a:cubicBezTo>
                    <a:pt x="329049" y="500689"/>
                    <a:pt x="319844" y="466939"/>
                    <a:pt x="322913" y="420916"/>
                  </a:cubicBezTo>
                  <a:close/>
                  <a:moveTo>
                    <a:pt x="399617" y="423984"/>
                  </a:moveTo>
                  <a:cubicBezTo>
                    <a:pt x="396549" y="457735"/>
                    <a:pt x="399617" y="479212"/>
                    <a:pt x="405754" y="491484"/>
                  </a:cubicBezTo>
                  <a:cubicBezTo>
                    <a:pt x="411890" y="500689"/>
                    <a:pt x="418026" y="503757"/>
                    <a:pt x="427231" y="506825"/>
                  </a:cubicBezTo>
                  <a:cubicBezTo>
                    <a:pt x="436436" y="506825"/>
                    <a:pt x="445640" y="503757"/>
                    <a:pt x="451777" y="494553"/>
                  </a:cubicBezTo>
                  <a:cubicBezTo>
                    <a:pt x="460981" y="482280"/>
                    <a:pt x="467117" y="460802"/>
                    <a:pt x="467117" y="430121"/>
                  </a:cubicBezTo>
                  <a:cubicBezTo>
                    <a:pt x="470186" y="396371"/>
                    <a:pt x="467117" y="374893"/>
                    <a:pt x="460981" y="362621"/>
                  </a:cubicBezTo>
                  <a:cubicBezTo>
                    <a:pt x="454845" y="353416"/>
                    <a:pt x="448708" y="350348"/>
                    <a:pt x="436436" y="347280"/>
                  </a:cubicBezTo>
                  <a:cubicBezTo>
                    <a:pt x="427231" y="347280"/>
                    <a:pt x="418026" y="350348"/>
                    <a:pt x="411890" y="359552"/>
                  </a:cubicBezTo>
                  <a:cubicBezTo>
                    <a:pt x="408822" y="368757"/>
                    <a:pt x="402685" y="393303"/>
                    <a:pt x="399617" y="423984"/>
                  </a:cubicBezTo>
                  <a:close/>
                </a:path>
              </a:pathLst>
            </a:custGeom>
            <a:solidFill>
              <a:srgbClr val="D16156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A08DAE5D-5D95-423B-A0E2-EFCCD1C1F65A}"/>
                </a:ext>
              </a:extLst>
            </p:cNvPr>
            <p:cNvSpPr/>
            <p:nvPr/>
          </p:nvSpPr>
          <p:spPr>
            <a:xfrm>
              <a:off x="12308053" y="10223850"/>
              <a:ext cx="733296" cy="2159999"/>
            </a:xfrm>
            <a:custGeom>
              <a:avLst/>
              <a:gdLst>
                <a:gd name="connsiteX0" fmla="*/ 733296 w 733296"/>
                <a:gd name="connsiteY0" fmla="*/ 2012728 h 2159999"/>
                <a:gd name="connsiteX1" fmla="*/ 549205 w 733296"/>
                <a:gd name="connsiteY1" fmla="*/ 911249 h 2159999"/>
                <a:gd name="connsiteX2" fmla="*/ 355909 w 733296"/>
                <a:gd name="connsiteY2" fmla="*/ 0 h 2159999"/>
                <a:gd name="connsiteX3" fmla="*/ 0 w 733296"/>
                <a:gd name="connsiteY3" fmla="*/ 230114 h 2159999"/>
                <a:gd name="connsiteX4" fmla="*/ 233182 w 733296"/>
                <a:gd name="connsiteY4" fmla="*/ 1055454 h 2159999"/>
                <a:gd name="connsiteX5" fmla="*/ 613636 w 733296"/>
                <a:gd name="connsiteY5" fmla="*/ 2160000 h 2159999"/>
                <a:gd name="connsiteX6" fmla="*/ 733296 w 733296"/>
                <a:gd name="connsiteY6" fmla="*/ 2012728 h 215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3296" h="2159999">
                  <a:moveTo>
                    <a:pt x="733296" y="2012728"/>
                  </a:moveTo>
                  <a:cubicBezTo>
                    <a:pt x="733296" y="2012728"/>
                    <a:pt x="561478" y="951136"/>
                    <a:pt x="549205" y="911249"/>
                  </a:cubicBezTo>
                  <a:cubicBezTo>
                    <a:pt x="536932" y="871363"/>
                    <a:pt x="355909" y="0"/>
                    <a:pt x="355909" y="0"/>
                  </a:cubicBezTo>
                  <a:lnTo>
                    <a:pt x="0" y="230114"/>
                  </a:lnTo>
                  <a:cubicBezTo>
                    <a:pt x="0" y="230114"/>
                    <a:pt x="187159" y="951136"/>
                    <a:pt x="233182" y="1055454"/>
                  </a:cubicBezTo>
                  <a:cubicBezTo>
                    <a:pt x="251591" y="1095340"/>
                    <a:pt x="613636" y="2160000"/>
                    <a:pt x="613636" y="2160000"/>
                  </a:cubicBezTo>
                  <a:lnTo>
                    <a:pt x="733296" y="2012728"/>
                  </a:ln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EC23814A-A5DA-4AE3-ACA5-8A6C4EDF8E1E}"/>
                </a:ext>
              </a:extLst>
            </p:cNvPr>
            <p:cNvSpPr/>
            <p:nvPr/>
          </p:nvSpPr>
          <p:spPr>
            <a:xfrm>
              <a:off x="11709758" y="10386463"/>
              <a:ext cx="408068" cy="1985114"/>
            </a:xfrm>
            <a:custGeom>
              <a:avLst/>
              <a:gdLst>
                <a:gd name="connsiteX0" fmla="*/ 52159 w 408068"/>
                <a:gd name="connsiteY0" fmla="*/ 1985114 h 1985114"/>
                <a:gd name="connsiteX1" fmla="*/ 98182 w 408068"/>
                <a:gd name="connsiteY1" fmla="*/ 1018637 h 1985114"/>
                <a:gd name="connsiteX2" fmla="*/ 0 w 408068"/>
                <a:gd name="connsiteY2" fmla="*/ 24546 h 1985114"/>
                <a:gd name="connsiteX3" fmla="*/ 408069 w 408068"/>
                <a:gd name="connsiteY3" fmla="*/ 0 h 1985114"/>
                <a:gd name="connsiteX4" fmla="*/ 392728 w 408068"/>
                <a:gd name="connsiteY4" fmla="*/ 1006364 h 1985114"/>
                <a:gd name="connsiteX5" fmla="*/ 199432 w 408068"/>
                <a:gd name="connsiteY5" fmla="*/ 1954432 h 1985114"/>
                <a:gd name="connsiteX6" fmla="*/ 52159 w 408068"/>
                <a:gd name="connsiteY6" fmla="*/ 1985114 h 1985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068" h="1985114">
                  <a:moveTo>
                    <a:pt x="52159" y="1985114"/>
                  </a:moveTo>
                  <a:cubicBezTo>
                    <a:pt x="52159" y="1985114"/>
                    <a:pt x="101251" y="1049319"/>
                    <a:pt x="98182" y="1018637"/>
                  </a:cubicBezTo>
                  <a:cubicBezTo>
                    <a:pt x="95114" y="987955"/>
                    <a:pt x="0" y="24546"/>
                    <a:pt x="0" y="24546"/>
                  </a:cubicBezTo>
                  <a:lnTo>
                    <a:pt x="408069" y="0"/>
                  </a:lnTo>
                  <a:cubicBezTo>
                    <a:pt x="408069" y="0"/>
                    <a:pt x="398864" y="932727"/>
                    <a:pt x="392728" y="1006364"/>
                  </a:cubicBezTo>
                  <a:cubicBezTo>
                    <a:pt x="383523" y="1080000"/>
                    <a:pt x="199432" y="1954432"/>
                    <a:pt x="199432" y="1954432"/>
                  </a:cubicBezTo>
                  <a:lnTo>
                    <a:pt x="52159" y="1985114"/>
                  </a:ln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9" name="图形 1">
              <a:extLst>
                <a:ext uri="{FF2B5EF4-FFF2-40B4-BE49-F238E27FC236}">
                  <a16:creationId xmlns:a16="http://schemas.microsoft.com/office/drawing/2014/main" id="{22EDED9D-BF28-426F-8715-10CF475FD839}"/>
                </a:ext>
              </a:extLst>
            </p:cNvPr>
            <p:cNvGrpSpPr/>
            <p:nvPr/>
          </p:nvGrpSpPr>
          <p:grpSpPr>
            <a:xfrm>
              <a:off x="12872599" y="12202827"/>
              <a:ext cx="521556" cy="259533"/>
              <a:chOff x="12872599" y="12202827"/>
              <a:chExt cx="521556" cy="259533"/>
            </a:xfrm>
          </p:grpSpPr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164DF135-CA57-4273-82D4-0A33AEB13194}"/>
                  </a:ext>
                </a:extLst>
              </p:cNvPr>
              <p:cNvSpPr/>
              <p:nvPr/>
            </p:nvSpPr>
            <p:spPr>
              <a:xfrm>
                <a:off x="12878735" y="12205895"/>
                <a:ext cx="500114" cy="214772"/>
              </a:xfrm>
              <a:custGeom>
                <a:avLst/>
                <a:gdLst>
                  <a:gd name="connsiteX0" fmla="*/ 0 w 500114"/>
                  <a:gd name="connsiteY0" fmla="*/ 107386 h 214772"/>
                  <a:gd name="connsiteX1" fmla="*/ 159546 w 500114"/>
                  <a:gd name="connsiteY1" fmla="*/ 0 h 214772"/>
                  <a:gd name="connsiteX2" fmla="*/ 312955 w 500114"/>
                  <a:gd name="connsiteY2" fmla="*/ 30682 h 214772"/>
                  <a:gd name="connsiteX3" fmla="*/ 500114 w 500114"/>
                  <a:gd name="connsiteY3" fmla="*/ 49090 h 214772"/>
                  <a:gd name="connsiteX4" fmla="*/ 36819 w 500114"/>
                  <a:gd name="connsiteY4" fmla="*/ 214773 h 214772"/>
                  <a:gd name="connsiteX5" fmla="*/ 0 w 500114"/>
                  <a:gd name="connsiteY5" fmla="*/ 107386 h 214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114" h="214772">
                    <a:moveTo>
                      <a:pt x="0" y="107386"/>
                    </a:moveTo>
                    <a:cubicBezTo>
                      <a:pt x="0" y="107386"/>
                      <a:pt x="122727" y="82840"/>
                      <a:pt x="159546" y="0"/>
                    </a:cubicBezTo>
                    <a:cubicBezTo>
                      <a:pt x="159546" y="0"/>
                      <a:pt x="266932" y="36818"/>
                      <a:pt x="312955" y="30682"/>
                    </a:cubicBezTo>
                    <a:cubicBezTo>
                      <a:pt x="358978" y="24545"/>
                      <a:pt x="463296" y="-15341"/>
                      <a:pt x="500114" y="49090"/>
                    </a:cubicBezTo>
                    <a:lnTo>
                      <a:pt x="36819" y="214773"/>
                    </a:lnTo>
                    <a:cubicBezTo>
                      <a:pt x="39887" y="211704"/>
                      <a:pt x="0" y="159545"/>
                      <a:pt x="0" y="107386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970188D3-4E08-48DA-8BD7-822B91E90B19}"/>
                  </a:ext>
                </a:extLst>
              </p:cNvPr>
              <p:cNvSpPr/>
              <p:nvPr/>
            </p:nvSpPr>
            <p:spPr>
              <a:xfrm rot="-1175784">
                <a:off x="12909735" y="12335344"/>
                <a:ext cx="490920" cy="46023"/>
              </a:xfrm>
              <a:custGeom>
                <a:avLst/>
                <a:gdLst>
                  <a:gd name="connsiteX0" fmla="*/ 0 w 490920"/>
                  <a:gd name="connsiteY0" fmla="*/ 0 h 46023"/>
                  <a:gd name="connsiteX1" fmla="*/ 490920 w 490920"/>
                  <a:gd name="connsiteY1" fmla="*/ 0 h 46023"/>
                  <a:gd name="connsiteX2" fmla="*/ 490920 w 490920"/>
                  <a:gd name="connsiteY2" fmla="*/ 46024 h 46023"/>
                  <a:gd name="connsiteX3" fmla="*/ 0 w 490920"/>
                  <a:gd name="connsiteY3" fmla="*/ 46024 h 46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0920" h="46023">
                    <a:moveTo>
                      <a:pt x="0" y="0"/>
                    </a:moveTo>
                    <a:lnTo>
                      <a:pt x="490920" y="0"/>
                    </a:lnTo>
                    <a:lnTo>
                      <a:pt x="490920" y="46024"/>
                    </a:lnTo>
                    <a:lnTo>
                      <a:pt x="0" y="46024"/>
                    </a:lnTo>
                    <a:close/>
                  </a:path>
                </a:pathLst>
              </a:custGeom>
              <a:solidFill>
                <a:srgbClr val="38333D"/>
              </a:solidFill>
              <a:ln w="306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913E7DDA-AFB1-4776-A4A4-4D612CC34F6C}"/>
                  </a:ext>
                </a:extLst>
              </p:cNvPr>
              <p:cNvSpPr/>
              <p:nvPr/>
            </p:nvSpPr>
            <p:spPr>
              <a:xfrm>
                <a:off x="12872599" y="12202827"/>
                <a:ext cx="171817" cy="116590"/>
              </a:xfrm>
              <a:custGeom>
                <a:avLst/>
                <a:gdLst>
                  <a:gd name="connsiteX0" fmla="*/ 6136 w 171817"/>
                  <a:gd name="connsiteY0" fmla="*/ 116591 h 116590"/>
                  <a:gd name="connsiteX1" fmla="*/ 0 w 171817"/>
                  <a:gd name="connsiteY1" fmla="*/ 113522 h 116590"/>
                  <a:gd name="connsiteX2" fmla="*/ 3067 w 171817"/>
                  <a:gd name="connsiteY2" fmla="*/ 107386 h 116590"/>
                  <a:gd name="connsiteX3" fmla="*/ 159545 w 171817"/>
                  <a:gd name="connsiteY3" fmla="*/ 3068 h 116590"/>
                  <a:gd name="connsiteX4" fmla="*/ 168750 w 171817"/>
                  <a:gd name="connsiteY4" fmla="*/ 0 h 116590"/>
                  <a:gd name="connsiteX5" fmla="*/ 171817 w 171817"/>
                  <a:gd name="connsiteY5" fmla="*/ 9204 h 116590"/>
                  <a:gd name="connsiteX6" fmla="*/ 6136 w 171817"/>
                  <a:gd name="connsiteY6" fmla="*/ 116591 h 116590"/>
                  <a:gd name="connsiteX7" fmla="*/ 6136 w 171817"/>
                  <a:gd name="connsiteY7" fmla="*/ 116591 h 116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1817" h="116590">
                    <a:moveTo>
                      <a:pt x="6136" y="116591"/>
                    </a:moveTo>
                    <a:cubicBezTo>
                      <a:pt x="3067" y="116591"/>
                      <a:pt x="0" y="113522"/>
                      <a:pt x="0" y="113522"/>
                    </a:cubicBezTo>
                    <a:cubicBezTo>
                      <a:pt x="0" y="110455"/>
                      <a:pt x="0" y="107386"/>
                      <a:pt x="3067" y="107386"/>
                    </a:cubicBezTo>
                    <a:cubicBezTo>
                      <a:pt x="3067" y="107386"/>
                      <a:pt x="116591" y="82840"/>
                      <a:pt x="159545" y="3068"/>
                    </a:cubicBezTo>
                    <a:cubicBezTo>
                      <a:pt x="162613" y="0"/>
                      <a:pt x="165682" y="0"/>
                      <a:pt x="168750" y="0"/>
                    </a:cubicBezTo>
                    <a:cubicBezTo>
                      <a:pt x="171817" y="0"/>
                      <a:pt x="171817" y="6136"/>
                      <a:pt x="171817" y="9204"/>
                    </a:cubicBezTo>
                    <a:cubicBezTo>
                      <a:pt x="125795" y="92045"/>
                      <a:pt x="12273" y="113522"/>
                      <a:pt x="6136" y="116591"/>
                    </a:cubicBezTo>
                    <a:cubicBezTo>
                      <a:pt x="9204" y="116591"/>
                      <a:pt x="6136" y="116591"/>
                      <a:pt x="6136" y="11659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2579068A-003E-4BC4-BD2F-198B46DCCC38}"/>
                  </a:ext>
                </a:extLst>
              </p:cNvPr>
              <p:cNvSpPr/>
              <p:nvPr/>
            </p:nvSpPr>
            <p:spPr>
              <a:xfrm>
                <a:off x="13059758" y="12212031"/>
                <a:ext cx="24546" cy="46022"/>
              </a:xfrm>
              <a:custGeom>
                <a:avLst/>
                <a:gdLst>
                  <a:gd name="connsiteX0" fmla="*/ 6137 w 24546"/>
                  <a:gd name="connsiteY0" fmla="*/ 46023 h 46022"/>
                  <a:gd name="connsiteX1" fmla="*/ 6137 w 24546"/>
                  <a:gd name="connsiteY1" fmla="*/ 46023 h 46022"/>
                  <a:gd name="connsiteX2" fmla="*/ 0 w 24546"/>
                  <a:gd name="connsiteY2" fmla="*/ 36819 h 46022"/>
                  <a:gd name="connsiteX3" fmla="*/ 15341 w 24546"/>
                  <a:gd name="connsiteY3" fmla="*/ 3068 h 46022"/>
                  <a:gd name="connsiteX4" fmla="*/ 21478 w 24546"/>
                  <a:gd name="connsiteY4" fmla="*/ 0 h 46022"/>
                  <a:gd name="connsiteX5" fmla="*/ 24546 w 24546"/>
                  <a:gd name="connsiteY5" fmla="*/ 6137 h 46022"/>
                  <a:gd name="connsiteX6" fmla="*/ 9205 w 24546"/>
                  <a:gd name="connsiteY6" fmla="*/ 39887 h 46022"/>
                  <a:gd name="connsiteX7" fmla="*/ 6137 w 24546"/>
                  <a:gd name="connsiteY7" fmla="*/ 46023 h 46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546" h="46022">
                    <a:moveTo>
                      <a:pt x="6137" y="46023"/>
                    </a:moveTo>
                    <a:cubicBezTo>
                      <a:pt x="6137" y="46023"/>
                      <a:pt x="6137" y="46023"/>
                      <a:pt x="6137" y="46023"/>
                    </a:cubicBezTo>
                    <a:cubicBezTo>
                      <a:pt x="0" y="42954"/>
                      <a:pt x="0" y="39887"/>
                      <a:pt x="0" y="36819"/>
                    </a:cubicBezTo>
                    <a:lnTo>
                      <a:pt x="15341" y="3068"/>
                    </a:lnTo>
                    <a:cubicBezTo>
                      <a:pt x="15341" y="0"/>
                      <a:pt x="21478" y="0"/>
                      <a:pt x="21478" y="0"/>
                    </a:cubicBezTo>
                    <a:cubicBezTo>
                      <a:pt x="24546" y="0"/>
                      <a:pt x="24546" y="6137"/>
                      <a:pt x="24546" y="6137"/>
                    </a:cubicBezTo>
                    <a:lnTo>
                      <a:pt x="9205" y="39887"/>
                    </a:lnTo>
                    <a:cubicBezTo>
                      <a:pt x="12273" y="46023"/>
                      <a:pt x="9205" y="46023"/>
                      <a:pt x="6137" y="4602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76C10A67-1DBC-4D6D-BAB5-C2BB1F20EF52}"/>
                  </a:ext>
                </a:extLst>
              </p:cNvPr>
              <p:cNvSpPr/>
              <p:nvPr/>
            </p:nvSpPr>
            <p:spPr>
              <a:xfrm>
                <a:off x="13105780" y="12224304"/>
                <a:ext cx="24546" cy="46022"/>
              </a:xfrm>
              <a:custGeom>
                <a:avLst/>
                <a:gdLst>
                  <a:gd name="connsiteX0" fmla="*/ 6137 w 24546"/>
                  <a:gd name="connsiteY0" fmla="*/ 46023 h 46022"/>
                  <a:gd name="connsiteX1" fmla="*/ 6137 w 24546"/>
                  <a:gd name="connsiteY1" fmla="*/ 46023 h 46022"/>
                  <a:gd name="connsiteX2" fmla="*/ 0 w 24546"/>
                  <a:gd name="connsiteY2" fmla="*/ 36819 h 46022"/>
                  <a:gd name="connsiteX3" fmla="*/ 15341 w 24546"/>
                  <a:gd name="connsiteY3" fmla="*/ 3068 h 46022"/>
                  <a:gd name="connsiteX4" fmla="*/ 21478 w 24546"/>
                  <a:gd name="connsiteY4" fmla="*/ 0 h 46022"/>
                  <a:gd name="connsiteX5" fmla="*/ 24546 w 24546"/>
                  <a:gd name="connsiteY5" fmla="*/ 6137 h 46022"/>
                  <a:gd name="connsiteX6" fmla="*/ 9205 w 24546"/>
                  <a:gd name="connsiteY6" fmla="*/ 39887 h 46022"/>
                  <a:gd name="connsiteX7" fmla="*/ 6137 w 24546"/>
                  <a:gd name="connsiteY7" fmla="*/ 46023 h 46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546" h="46022">
                    <a:moveTo>
                      <a:pt x="6137" y="46023"/>
                    </a:moveTo>
                    <a:cubicBezTo>
                      <a:pt x="6137" y="46023"/>
                      <a:pt x="6137" y="46023"/>
                      <a:pt x="6137" y="46023"/>
                    </a:cubicBezTo>
                    <a:cubicBezTo>
                      <a:pt x="0" y="42955"/>
                      <a:pt x="0" y="39887"/>
                      <a:pt x="0" y="36819"/>
                    </a:cubicBezTo>
                    <a:lnTo>
                      <a:pt x="15341" y="3068"/>
                    </a:lnTo>
                    <a:cubicBezTo>
                      <a:pt x="15341" y="0"/>
                      <a:pt x="21478" y="0"/>
                      <a:pt x="21478" y="0"/>
                    </a:cubicBezTo>
                    <a:cubicBezTo>
                      <a:pt x="24546" y="0"/>
                      <a:pt x="24546" y="6137"/>
                      <a:pt x="24546" y="6137"/>
                    </a:cubicBezTo>
                    <a:lnTo>
                      <a:pt x="9205" y="39887"/>
                    </a:lnTo>
                    <a:cubicBezTo>
                      <a:pt x="12273" y="46023"/>
                      <a:pt x="9205" y="46023"/>
                      <a:pt x="6137" y="4602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0" name="图形 1">
              <a:extLst>
                <a:ext uri="{FF2B5EF4-FFF2-40B4-BE49-F238E27FC236}">
                  <a16:creationId xmlns:a16="http://schemas.microsoft.com/office/drawing/2014/main" id="{5881D6EC-5198-4A00-9762-310A83A4CDB4}"/>
                </a:ext>
              </a:extLst>
            </p:cNvPr>
            <p:cNvGrpSpPr/>
            <p:nvPr/>
          </p:nvGrpSpPr>
          <p:grpSpPr>
            <a:xfrm>
              <a:off x="11743167" y="12277230"/>
              <a:ext cx="500454" cy="214005"/>
              <a:chOff x="11743167" y="12277230"/>
              <a:chExt cx="500454" cy="214005"/>
            </a:xfrm>
          </p:grpSpPr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F6125BAA-2C57-4DBF-9F23-4F40EB5DAF57}"/>
                  </a:ext>
                </a:extLst>
              </p:cNvPr>
              <p:cNvSpPr/>
              <p:nvPr/>
            </p:nvSpPr>
            <p:spPr>
              <a:xfrm>
                <a:off x="11743167" y="12285667"/>
                <a:ext cx="500454" cy="159545"/>
              </a:xfrm>
              <a:custGeom>
                <a:avLst/>
                <a:gdLst>
                  <a:gd name="connsiteX0" fmla="*/ 9546 w 500454"/>
                  <a:gd name="connsiteY0" fmla="*/ 46023 h 159545"/>
                  <a:gd name="connsiteX1" fmla="*/ 196704 w 500454"/>
                  <a:gd name="connsiteY1" fmla="*/ 0 h 159545"/>
                  <a:gd name="connsiteX2" fmla="*/ 331705 w 500454"/>
                  <a:gd name="connsiteY2" fmla="*/ 79773 h 159545"/>
                  <a:gd name="connsiteX3" fmla="*/ 500455 w 500454"/>
                  <a:gd name="connsiteY3" fmla="*/ 159546 h 159545"/>
                  <a:gd name="connsiteX4" fmla="*/ 9546 w 500454"/>
                  <a:gd name="connsiteY4" fmla="*/ 159546 h 159545"/>
                  <a:gd name="connsiteX5" fmla="*/ 9546 w 500454"/>
                  <a:gd name="connsiteY5" fmla="*/ 46023 h 15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454" h="159545">
                    <a:moveTo>
                      <a:pt x="9546" y="46023"/>
                    </a:moveTo>
                    <a:cubicBezTo>
                      <a:pt x="9546" y="46023"/>
                      <a:pt x="135340" y="64432"/>
                      <a:pt x="196704" y="0"/>
                    </a:cubicBezTo>
                    <a:cubicBezTo>
                      <a:pt x="196704" y="0"/>
                      <a:pt x="285682" y="70569"/>
                      <a:pt x="331705" y="79773"/>
                    </a:cubicBezTo>
                    <a:cubicBezTo>
                      <a:pt x="377727" y="88978"/>
                      <a:pt x="488181" y="85910"/>
                      <a:pt x="500455" y="159546"/>
                    </a:cubicBezTo>
                    <a:lnTo>
                      <a:pt x="9546" y="159546"/>
                    </a:lnTo>
                    <a:cubicBezTo>
                      <a:pt x="9546" y="159546"/>
                      <a:pt x="-11932" y="98182"/>
                      <a:pt x="9546" y="46023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FCF49A4E-04E1-4943-8D63-8528B3D99FB4}"/>
                  </a:ext>
                </a:extLst>
              </p:cNvPr>
              <p:cNvSpPr/>
              <p:nvPr/>
            </p:nvSpPr>
            <p:spPr>
              <a:xfrm>
                <a:off x="11752713" y="12445213"/>
                <a:ext cx="490909" cy="46022"/>
              </a:xfrm>
              <a:custGeom>
                <a:avLst/>
                <a:gdLst>
                  <a:gd name="connsiteX0" fmla="*/ 0 w 490909"/>
                  <a:gd name="connsiteY0" fmla="*/ 0 h 46022"/>
                  <a:gd name="connsiteX1" fmla="*/ 490909 w 490909"/>
                  <a:gd name="connsiteY1" fmla="*/ 0 h 46022"/>
                  <a:gd name="connsiteX2" fmla="*/ 490909 w 490909"/>
                  <a:gd name="connsiteY2" fmla="*/ 46023 h 46022"/>
                  <a:gd name="connsiteX3" fmla="*/ 0 w 490909"/>
                  <a:gd name="connsiteY3" fmla="*/ 46023 h 46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0909" h="46022">
                    <a:moveTo>
                      <a:pt x="0" y="0"/>
                    </a:moveTo>
                    <a:lnTo>
                      <a:pt x="490909" y="0"/>
                    </a:lnTo>
                    <a:lnTo>
                      <a:pt x="490909" y="46023"/>
                    </a:lnTo>
                    <a:lnTo>
                      <a:pt x="0" y="46023"/>
                    </a:lnTo>
                    <a:close/>
                  </a:path>
                </a:pathLst>
              </a:custGeom>
              <a:solidFill>
                <a:srgbClr val="38333D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B6964A6D-D150-4998-978F-D520C2023020}"/>
                  </a:ext>
                </a:extLst>
              </p:cNvPr>
              <p:cNvSpPr/>
              <p:nvPr/>
            </p:nvSpPr>
            <p:spPr>
              <a:xfrm>
                <a:off x="11743508" y="12277230"/>
                <a:ext cx="201733" cy="63664"/>
              </a:xfrm>
              <a:custGeom>
                <a:avLst/>
                <a:gdLst>
                  <a:gd name="connsiteX0" fmla="*/ 42954 w 201733"/>
                  <a:gd name="connsiteY0" fmla="*/ 63665 h 63664"/>
                  <a:gd name="connsiteX1" fmla="*/ 6137 w 201733"/>
                  <a:gd name="connsiteY1" fmla="*/ 60597 h 63664"/>
                  <a:gd name="connsiteX2" fmla="*/ 0 w 201733"/>
                  <a:gd name="connsiteY2" fmla="*/ 54460 h 63664"/>
                  <a:gd name="connsiteX3" fmla="*/ 6137 w 201733"/>
                  <a:gd name="connsiteY3" fmla="*/ 48324 h 63664"/>
                  <a:gd name="connsiteX4" fmla="*/ 190228 w 201733"/>
                  <a:gd name="connsiteY4" fmla="*/ 2301 h 63664"/>
                  <a:gd name="connsiteX5" fmla="*/ 199432 w 201733"/>
                  <a:gd name="connsiteY5" fmla="*/ 2301 h 63664"/>
                  <a:gd name="connsiteX6" fmla="*/ 199432 w 201733"/>
                  <a:gd name="connsiteY6" fmla="*/ 11505 h 63664"/>
                  <a:gd name="connsiteX7" fmla="*/ 42954 w 201733"/>
                  <a:gd name="connsiteY7" fmla="*/ 63665 h 63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733" h="63664">
                    <a:moveTo>
                      <a:pt x="42954" y="63665"/>
                    </a:moveTo>
                    <a:cubicBezTo>
                      <a:pt x="21478" y="63665"/>
                      <a:pt x="9205" y="60597"/>
                      <a:pt x="6137" y="60597"/>
                    </a:cubicBezTo>
                    <a:cubicBezTo>
                      <a:pt x="3068" y="60597"/>
                      <a:pt x="0" y="57528"/>
                      <a:pt x="0" y="54460"/>
                    </a:cubicBezTo>
                    <a:cubicBezTo>
                      <a:pt x="0" y="51392"/>
                      <a:pt x="3068" y="48324"/>
                      <a:pt x="6137" y="48324"/>
                    </a:cubicBezTo>
                    <a:cubicBezTo>
                      <a:pt x="6137" y="48324"/>
                      <a:pt x="119659" y="63665"/>
                      <a:pt x="190228" y="2301"/>
                    </a:cubicBezTo>
                    <a:cubicBezTo>
                      <a:pt x="193296" y="-767"/>
                      <a:pt x="196363" y="-767"/>
                      <a:pt x="199432" y="2301"/>
                    </a:cubicBezTo>
                    <a:cubicBezTo>
                      <a:pt x="202500" y="5370"/>
                      <a:pt x="202500" y="8437"/>
                      <a:pt x="199432" y="11505"/>
                    </a:cubicBezTo>
                    <a:cubicBezTo>
                      <a:pt x="150341" y="54460"/>
                      <a:pt x="82841" y="63665"/>
                      <a:pt x="42954" y="6366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7A39A5B8-72EE-4E8C-A3F4-78DC1F0EAEED}"/>
                  </a:ext>
                </a:extLst>
              </p:cNvPr>
              <p:cNvSpPr/>
              <p:nvPr/>
            </p:nvSpPr>
            <p:spPr>
              <a:xfrm>
                <a:off x="11943707" y="12301775"/>
                <a:ext cx="41420" cy="42188"/>
              </a:xfrm>
              <a:custGeom>
                <a:avLst/>
                <a:gdLst>
                  <a:gd name="connsiteX0" fmla="*/ 5370 w 41420"/>
                  <a:gd name="connsiteY0" fmla="*/ 42188 h 42188"/>
                  <a:gd name="connsiteX1" fmla="*/ 2301 w 41420"/>
                  <a:gd name="connsiteY1" fmla="*/ 39120 h 42188"/>
                  <a:gd name="connsiteX2" fmla="*/ 2301 w 41420"/>
                  <a:gd name="connsiteY2" fmla="*/ 29915 h 42188"/>
                  <a:gd name="connsiteX3" fmla="*/ 29915 w 41420"/>
                  <a:gd name="connsiteY3" fmla="*/ 2301 h 42188"/>
                  <a:gd name="connsiteX4" fmla="*/ 39120 w 41420"/>
                  <a:gd name="connsiteY4" fmla="*/ 2301 h 42188"/>
                  <a:gd name="connsiteX5" fmla="*/ 39120 w 41420"/>
                  <a:gd name="connsiteY5" fmla="*/ 11506 h 42188"/>
                  <a:gd name="connsiteX6" fmla="*/ 11505 w 41420"/>
                  <a:gd name="connsiteY6" fmla="*/ 39120 h 42188"/>
                  <a:gd name="connsiteX7" fmla="*/ 5370 w 41420"/>
                  <a:gd name="connsiteY7" fmla="*/ 42188 h 4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420" h="42188">
                    <a:moveTo>
                      <a:pt x="5370" y="42188"/>
                    </a:moveTo>
                    <a:cubicBezTo>
                      <a:pt x="5370" y="42188"/>
                      <a:pt x="2301" y="42188"/>
                      <a:pt x="2301" y="39120"/>
                    </a:cubicBezTo>
                    <a:cubicBezTo>
                      <a:pt x="-767" y="36051"/>
                      <a:pt x="-767" y="32983"/>
                      <a:pt x="2301" y="29915"/>
                    </a:cubicBezTo>
                    <a:lnTo>
                      <a:pt x="29915" y="2301"/>
                    </a:lnTo>
                    <a:cubicBezTo>
                      <a:pt x="32983" y="-767"/>
                      <a:pt x="36051" y="-767"/>
                      <a:pt x="39120" y="2301"/>
                    </a:cubicBezTo>
                    <a:cubicBezTo>
                      <a:pt x="42187" y="5370"/>
                      <a:pt x="42187" y="8438"/>
                      <a:pt x="39120" y="11506"/>
                    </a:cubicBezTo>
                    <a:lnTo>
                      <a:pt x="11505" y="39120"/>
                    </a:lnTo>
                    <a:cubicBezTo>
                      <a:pt x="8438" y="42188"/>
                      <a:pt x="5370" y="42188"/>
                      <a:pt x="5370" y="4218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3B846303-33A8-4000-B643-FB86DFFA7F0E}"/>
                  </a:ext>
                </a:extLst>
              </p:cNvPr>
              <p:cNvSpPr/>
              <p:nvPr/>
            </p:nvSpPr>
            <p:spPr>
              <a:xfrm>
                <a:off x="11980525" y="12329389"/>
                <a:ext cx="38351" cy="42187"/>
              </a:xfrm>
              <a:custGeom>
                <a:avLst/>
                <a:gdLst>
                  <a:gd name="connsiteX0" fmla="*/ 5369 w 38351"/>
                  <a:gd name="connsiteY0" fmla="*/ 42188 h 42187"/>
                  <a:gd name="connsiteX1" fmla="*/ 2301 w 38351"/>
                  <a:gd name="connsiteY1" fmla="*/ 39119 h 42187"/>
                  <a:gd name="connsiteX2" fmla="*/ 2301 w 38351"/>
                  <a:gd name="connsiteY2" fmla="*/ 29915 h 42187"/>
                  <a:gd name="connsiteX3" fmla="*/ 26846 w 38351"/>
                  <a:gd name="connsiteY3" fmla="*/ 2301 h 42187"/>
                  <a:gd name="connsiteX4" fmla="*/ 36051 w 38351"/>
                  <a:gd name="connsiteY4" fmla="*/ 2301 h 42187"/>
                  <a:gd name="connsiteX5" fmla="*/ 36051 w 38351"/>
                  <a:gd name="connsiteY5" fmla="*/ 11506 h 42187"/>
                  <a:gd name="connsiteX6" fmla="*/ 11505 w 38351"/>
                  <a:gd name="connsiteY6" fmla="*/ 39119 h 42187"/>
                  <a:gd name="connsiteX7" fmla="*/ 5369 w 38351"/>
                  <a:gd name="connsiteY7" fmla="*/ 42188 h 42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351" h="42187">
                    <a:moveTo>
                      <a:pt x="5369" y="42188"/>
                    </a:moveTo>
                    <a:cubicBezTo>
                      <a:pt x="5369" y="42188"/>
                      <a:pt x="2301" y="42188"/>
                      <a:pt x="2301" y="39119"/>
                    </a:cubicBezTo>
                    <a:cubicBezTo>
                      <a:pt x="-767" y="36051"/>
                      <a:pt x="-767" y="32982"/>
                      <a:pt x="2301" y="29915"/>
                    </a:cubicBezTo>
                    <a:lnTo>
                      <a:pt x="26846" y="2301"/>
                    </a:lnTo>
                    <a:cubicBezTo>
                      <a:pt x="29915" y="-767"/>
                      <a:pt x="32983" y="-767"/>
                      <a:pt x="36051" y="2301"/>
                    </a:cubicBezTo>
                    <a:cubicBezTo>
                      <a:pt x="39119" y="5369"/>
                      <a:pt x="39119" y="8437"/>
                      <a:pt x="36051" y="11506"/>
                    </a:cubicBezTo>
                    <a:lnTo>
                      <a:pt x="11505" y="39119"/>
                    </a:lnTo>
                    <a:cubicBezTo>
                      <a:pt x="8437" y="42188"/>
                      <a:pt x="8437" y="42188"/>
                      <a:pt x="5369" y="4218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71862BF9-9D60-43CC-86AA-F04E20E57FAF}"/>
                </a:ext>
              </a:extLst>
            </p:cNvPr>
            <p:cNvSpPr/>
            <p:nvPr/>
          </p:nvSpPr>
          <p:spPr>
            <a:xfrm>
              <a:off x="11645217" y="9917032"/>
              <a:ext cx="1242723" cy="1390227"/>
            </a:xfrm>
            <a:custGeom>
              <a:avLst/>
              <a:gdLst>
                <a:gd name="connsiteX0" fmla="*/ 1043291 w 1242723"/>
                <a:gd name="connsiteY0" fmla="*/ 21477 h 1390227"/>
                <a:gd name="connsiteX1" fmla="*/ 1242723 w 1242723"/>
                <a:gd name="connsiteY1" fmla="*/ 1168978 h 1390227"/>
                <a:gd name="connsiteX2" fmla="*/ 797837 w 1242723"/>
                <a:gd name="connsiteY2" fmla="*/ 1340795 h 1390227"/>
                <a:gd name="connsiteX3" fmla="*/ 543177 w 1242723"/>
                <a:gd name="connsiteY3" fmla="*/ 506250 h 1390227"/>
                <a:gd name="connsiteX4" fmla="*/ 543177 w 1242723"/>
                <a:gd name="connsiteY4" fmla="*/ 1368409 h 1390227"/>
                <a:gd name="connsiteX5" fmla="*/ 49200 w 1242723"/>
                <a:gd name="connsiteY5" fmla="*/ 1368409 h 1390227"/>
                <a:gd name="connsiteX6" fmla="*/ 15451 w 1242723"/>
                <a:gd name="connsiteY6" fmla="*/ 0 h 1390227"/>
                <a:gd name="connsiteX7" fmla="*/ 1043291 w 1242723"/>
                <a:gd name="connsiteY7" fmla="*/ 21477 h 139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2723" h="1390227">
                  <a:moveTo>
                    <a:pt x="1043291" y="21477"/>
                  </a:moveTo>
                  <a:lnTo>
                    <a:pt x="1242723" y="1168978"/>
                  </a:lnTo>
                  <a:cubicBezTo>
                    <a:pt x="1242723" y="1168978"/>
                    <a:pt x="960450" y="1350000"/>
                    <a:pt x="797837" y="1340795"/>
                  </a:cubicBezTo>
                  <a:cubicBezTo>
                    <a:pt x="641359" y="920455"/>
                    <a:pt x="549314" y="521591"/>
                    <a:pt x="543177" y="506250"/>
                  </a:cubicBezTo>
                  <a:cubicBezTo>
                    <a:pt x="527836" y="475568"/>
                    <a:pt x="543177" y="1368409"/>
                    <a:pt x="543177" y="1368409"/>
                  </a:cubicBezTo>
                  <a:cubicBezTo>
                    <a:pt x="543177" y="1368409"/>
                    <a:pt x="282382" y="1417500"/>
                    <a:pt x="49200" y="1368409"/>
                  </a:cubicBezTo>
                  <a:cubicBezTo>
                    <a:pt x="39996" y="1215000"/>
                    <a:pt x="-30572" y="98181"/>
                    <a:pt x="15451" y="0"/>
                  </a:cubicBezTo>
                  <a:cubicBezTo>
                    <a:pt x="718064" y="33750"/>
                    <a:pt x="1043291" y="21477"/>
                    <a:pt x="1043291" y="21477"/>
                  </a:cubicBez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31E9E0E6-F915-4813-AF3C-82844030943A}"/>
                </a:ext>
              </a:extLst>
            </p:cNvPr>
            <p:cNvSpPr/>
            <p:nvPr/>
          </p:nvSpPr>
          <p:spPr>
            <a:xfrm>
              <a:off x="12182258" y="10061235"/>
              <a:ext cx="70567" cy="368181"/>
            </a:xfrm>
            <a:custGeom>
              <a:avLst/>
              <a:gdLst>
                <a:gd name="connsiteX0" fmla="*/ 6136 w 70567"/>
                <a:gd name="connsiteY0" fmla="*/ 368182 h 368181"/>
                <a:gd name="connsiteX1" fmla="*/ 6136 w 70567"/>
                <a:gd name="connsiteY1" fmla="*/ 368182 h 368181"/>
                <a:gd name="connsiteX2" fmla="*/ 0 w 70567"/>
                <a:gd name="connsiteY2" fmla="*/ 358978 h 368181"/>
                <a:gd name="connsiteX3" fmla="*/ 58295 w 70567"/>
                <a:gd name="connsiteY3" fmla="*/ 6137 h 368181"/>
                <a:gd name="connsiteX4" fmla="*/ 64431 w 70567"/>
                <a:gd name="connsiteY4" fmla="*/ 0 h 368181"/>
                <a:gd name="connsiteX5" fmla="*/ 64431 w 70567"/>
                <a:gd name="connsiteY5" fmla="*/ 0 h 368181"/>
                <a:gd name="connsiteX6" fmla="*/ 70568 w 70567"/>
                <a:gd name="connsiteY6" fmla="*/ 6137 h 368181"/>
                <a:gd name="connsiteX7" fmla="*/ 12273 w 70567"/>
                <a:gd name="connsiteY7" fmla="*/ 362046 h 368181"/>
                <a:gd name="connsiteX8" fmla="*/ 6136 w 70567"/>
                <a:gd name="connsiteY8" fmla="*/ 368182 h 36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567" h="368181">
                  <a:moveTo>
                    <a:pt x="6136" y="368182"/>
                  </a:moveTo>
                  <a:cubicBezTo>
                    <a:pt x="6136" y="368182"/>
                    <a:pt x="6136" y="368182"/>
                    <a:pt x="6136" y="368182"/>
                  </a:cubicBezTo>
                  <a:cubicBezTo>
                    <a:pt x="0" y="365114"/>
                    <a:pt x="0" y="362046"/>
                    <a:pt x="0" y="358978"/>
                  </a:cubicBezTo>
                  <a:cubicBezTo>
                    <a:pt x="49090" y="245455"/>
                    <a:pt x="58295" y="9205"/>
                    <a:pt x="58295" y="6137"/>
                  </a:cubicBezTo>
                  <a:cubicBezTo>
                    <a:pt x="58295" y="3068"/>
                    <a:pt x="61364" y="0"/>
                    <a:pt x="64431" y="0"/>
                  </a:cubicBezTo>
                  <a:cubicBezTo>
                    <a:pt x="64431" y="0"/>
                    <a:pt x="64431" y="0"/>
                    <a:pt x="64431" y="0"/>
                  </a:cubicBezTo>
                  <a:cubicBezTo>
                    <a:pt x="67499" y="0"/>
                    <a:pt x="70568" y="3068"/>
                    <a:pt x="70568" y="6137"/>
                  </a:cubicBezTo>
                  <a:cubicBezTo>
                    <a:pt x="70568" y="15341"/>
                    <a:pt x="61364" y="245455"/>
                    <a:pt x="12273" y="362046"/>
                  </a:cubicBezTo>
                  <a:cubicBezTo>
                    <a:pt x="12273" y="368182"/>
                    <a:pt x="9204" y="368182"/>
                    <a:pt x="6136" y="368182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502E4090-A862-4B38-8707-DDA3F2AEB6B1}"/>
                </a:ext>
              </a:extLst>
            </p:cNvPr>
            <p:cNvSpPr/>
            <p:nvPr/>
          </p:nvSpPr>
          <p:spPr>
            <a:xfrm>
              <a:off x="12211669" y="9993736"/>
              <a:ext cx="157747" cy="358976"/>
            </a:xfrm>
            <a:custGeom>
              <a:avLst/>
              <a:gdLst>
                <a:gd name="connsiteX0" fmla="*/ 7407 w 157747"/>
                <a:gd name="connsiteY0" fmla="*/ 358977 h 358976"/>
                <a:gd name="connsiteX1" fmla="*/ 1271 w 157747"/>
                <a:gd name="connsiteY1" fmla="*/ 355909 h 358976"/>
                <a:gd name="connsiteX2" fmla="*/ 4338 w 157747"/>
                <a:gd name="connsiteY2" fmla="*/ 346704 h 358976"/>
                <a:gd name="connsiteX3" fmla="*/ 111725 w 157747"/>
                <a:gd name="connsiteY3" fmla="*/ 270000 h 358976"/>
                <a:gd name="connsiteX4" fmla="*/ 145475 w 157747"/>
                <a:gd name="connsiteY4" fmla="*/ 6136 h 358976"/>
                <a:gd name="connsiteX5" fmla="*/ 151612 w 157747"/>
                <a:gd name="connsiteY5" fmla="*/ 0 h 358976"/>
                <a:gd name="connsiteX6" fmla="*/ 157748 w 157747"/>
                <a:gd name="connsiteY6" fmla="*/ 6136 h 358976"/>
                <a:gd name="connsiteX7" fmla="*/ 123998 w 157747"/>
                <a:gd name="connsiteY7" fmla="*/ 276136 h 358976"/>
                <a:gd name="connsiteX8" fmla="*/ 13544 w 157747"/>
                <a:gd name="connsiteY8" fmla="*/ 355909 h 358976"/>
                <a:gd name="connsiteX9" fmla="*/ 7407 w 157747"/>
                <a:gd name="connsiteY9" fmla="*/ 358977 h 35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747" h="358976">
                  <a:moveTo>
                    <a:pt x="7407" y="358977"/>
                  </a:moveTo>
                  <a:cubicBezTo>
                    <a:pt x="4338" y="358977"/>
                    <a:pt x="4338" y="358977"/>
                    <a:pt x="1271" y="355909"/>
                  </a:cubicBezTo>
                  <a:cubicBezTo>
                    <a:pt x="-1797" y="352841"/>
                    <a:pt x="1271" y="349773"/>
                    <a:pt x="4338" y="346704"/>
                  </a:cubicBezTo>
                  <a:cubicBezTo>
                    <a:pt x="44225" y="322159"/>
                    <a:pt x="102521" y="279205"/>
                    <a:pt x="111725" y="270000"/>
                  </a:cubicBezTo>
                  <a:cubicBezTo>
                    <a:pt x="120930" y="257727"/>
                    <a:pt x="136271" y="101250"/>
                    <a:pt x="145475" y="6136"/>
                  </a:cubicBezTo>
                  <a:cubicBezTo>
                    <a:pt x="145475" y="3068"/>
                    <a:pt x="148543" y="0"/>
                    <a:pt x="151612" y="0"/>
                  </a:cubicBezTo>
                  <a:cubicBezTo>
                    <a:pt x="154680" y="0"/>
                    <a:pt x="157748" y="3068"/>
                    <a:pt x="157748" y="6136"/>
                  </a:cubicBezTo>
                  <a:cubicBezTo>
                    <a:pt x="154680" y="49091"/>
                    <a:pt x="133202" y="260795"/>
                    <a:pt x="123998" y="276136"/>
                  </a:cubicBezTo>
                  <a:cubicBezTo>
                    <a:pt x="111725" y="291477"/>
                    <a:pt x="22748" y="349773"/>
                    <a:pt x="13544" y="355909"/>
                  </a:cubicBezTo>
                  <a:cubicBezTo>
                    <a:pt x="10475" y="358977"/>
                    <a:pt x="7407" y="358977"/>
                    <a:pt x="7407" y="358977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D2764F00-5B77-4D17-A297-05B2EA71AE39}"/>
                </a:ext>
              </a:extLst>
            </p:cNvPr>
            <p:cNvSpPr/>
            <p:nvPr/>
          </p:nvSpPr>
          <p:spPr>
            <a:xfrm>
              <a:off x="12050326" y="8235668"/>
              <a:ext cx="251591" cy="259885"/>
            </a:xfrm>
            <a:custGeom>
              <a:avLst/>
              <a:gdLst>
                <a:gd name="connsiteX0" fmla="*/ 251591 w 251591"/>
                <a:gd name="connsiteY0" fmla="*/ 39886 h 259885"/>
                <a:gd name="connsiteX1" fmla="*/ 245455 w 251591"/>
                <a:gd name="connsiteY1" fmla="*/ 214773 h 259885"/>
                <a:gd name="connsiteX2" fmla="*/ 0 w 251591"/>
                <a:gd name="connsiteY2" fmla="*/ 205568 h 259885"/>
                <a:gd name="connsiteX3" fmla="*/ 15341 w 251591"/>
                <a:gd name="connsiteY3" fmla="*/ 0 h 259885"/>
                <a:gd name="connsiteX4" fmla="*/ 251591 w 251591"/>
                <a:gd name="connsiteY4" fmla="*/ 39886 h 259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1591" h="259885">
                  <a:moveTo>
                    <a:pt x="251591" y="39886"/>
                  </a:moveTo>
                  <a:cubicBezTo>
                    <a:pt x="251591" y="39886"/>
                    <a:pt x="245455" y="141136"/>
                    <a:pt x="245455" y="214773"/>
                  </a:cubicBezTo>
                  <a:cubicBezTo>
                    <a:pt x="245455" y="214773"/>
                    <a:pt x="150341" y="322159"/>
                    <a:pt x="0" y="205568"/>
                  </a:cubicBezTo>
                  <a:cubicBezTo>
                    <a:pt x="0" y="144204"/>
                    <a:pt x="12273" y="64432"/>
                    <a:pt x="15341" y="0"/>
                  </a:cubicBezTo>
                  <a:cubicBezTo>
                    <a:pt x="15341" y="0"/>
                    <a:pt x="199432" y="52159"/>
                    <a:pt x="251591" y="39886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500A6F08-C005-460F-9478-D90F96BD68D8}"/>
                </a:ext>
              </a:extLst>
            </p:cNvPr>
            <p:cNvSpPr/>
            <p:nvPr/>
          </p:nvSpPr>
          <p:spPr>
            <a:xfrm>
              <a:off x="11958281" y="8116008"/>
              <a:ext cx="70568" cy="138068"/>
            </a:xfrm>
            <a:custGeom>
              <a:avLst/>
              <a:gdLst>
                <a:gd name="connsiteX0" fmla="*/ 0 w 70568"/>
                <a:gd name="connsiteY0" fmla="*/ 0 h 138068"/>
                <a:gd name="connsiteX1" fmla="*/ 67500 w 70568"/>
                <a:gd name="connsiteY1" fmla="*/ 138068 h 138068"/>
                <a:gd name="connsiteX2" fmla="*/ 70569 w 70568"/>
                <a:gd name="connsiteY2" fmla="*/ 52159 h 138068"/>
                <a:gd name="connsiteX3" fmla="*/ 0 w 70568"/>
                <a:gd name="connsiteY3" fmla="*/ 0 h 138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568" h="138068">
                  <a:moveTo>
                    <a:pt x="0" y="0"/>
                  </a:moveTo>
                  <a:cubicBezTo>
                    <a:pt x="0" y="0"/>
                    <a:pt x="15341" y="119659"/>
                    <a:pt x="67500" y="138068"/>
                  </a:cubicBezTo>
                  <a:lnTo>
                    <a:pt x="70569" y="52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1882D6B3-81A6-44F3-A20F-1308BAD02EF7}"/>
                </a:ext>
              </a:extLst>
            </p:cNvPr>
            <p:cNvSpPr/>
            <p:nvPr/>
          </p:nvSpPr>
          <p:spPr>
            <a:xfrm>
              <a:off x="12316804" y="7904304"/>
              <a:ext cx="103287" cy="239330"/>
            </a:xfrm>
            <a:custGeom>
              <a:avLst/>
              <a:gdLst>
                <a:gd name="connsiteX0" fmla="*/ 95568 w 103287"/>
                <a:gd name="connsiteY0" fmla="*/ 0 h 239330"/>
                <a:gd name="connsiteX1" fmla="*/ 55682 w 103287"/>
                <a:gd name="connsiteY1" fmla="*/ 236250 h 239330"/>
                <a:gd name="connsiteX2" fmla="*/ 455 w 103287"/>
                <a:gd name="connsiteY2" fmla="*/ 15341 h 239330"/>
                <a:gd name="connsiteX3" fmla="*/ 95568 w 103287"/>
                <a:gd name="connsiteY3" fmla="*/ 0 h 239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287" h="239330">
                  <a:moveTo>
                    <a:pt x="95568" y="0"/>
                  </a:moveTo>
                  <a:cubicBezTo>
                    <a:pt x="95568" y="0"/>
                    <a:pt x="129318" y="196363"/>
                    <a:pt x="55682" y="236250"/>
                  </a:cubicBezTo>
                  <a:cubicBezTo>
                    <a:pt x="-8750" y="270000"/>
                    <a:pt x="455" y="15341"/>
                    <a:pt x="455" y="15341"/>
                  </a:cubicBezTo>
                  <a:lnTo>
                    <a:pt x="95568" y="0"/>
                  </a:ln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685CDD57-ECFF-4E8A-B841-0C2708B07434}"/>
                </a:ext>
              </a:extLst>
            </p:cNvPr>
            <p:cNvSpPr/>
            <p:nvPr/>
          </p:nvSpPr>
          <p:spPr>
            <a:xfrm>
              <a:off x="11958281" y="7767931"/>
              <a:ext cx="426083" cy="572661"/>
            </a:xfrm>
            <a:custGeom>
              <a:avLst/>
              <a:gdLst>
                <a:gd name="connsiteX0" fmla="*/ 414205 w 426083"/>
                <a:gd name="connsiteY0" fmla="*/ 182396 h 572661"/>
                <a:gd name="connsiteX1" fmla="*/ 417273 w 426083"/>
                <a:gd name="connsiteY1" fmla="*/ 433986 h 572661"/>
                <a:gd name="connsiteX2" fmla="*/ 257727 w 426083"/>
                <a:gd name="connsiteY2" fmla="*/ 572055 h 572661"/>
                <a:gd name="connsiteX3" fmla="*/ 39887 w 426083"/>
                <a:gd name="connsiteY3" fmla="*/ 430919 h 572661"/>
                <a:gd name="connsiteX4" fmla="*/ 0 w 426083"/>
                <a:gd name="connsiteY4" fmla="*/ 203873 h 572661"/>
                <a:gd name="connsiteX5" fmla="*/ 211704 w 426083"/>
                <a:gd name="connsiteY5" fmla="*/ 1373 h 572661"/>
                <a:gd name="connsiteX6" fmla="*/ 414205 w 426083"/>
                <a:gd name="connsiteY6" fmla="*/ 182396 h 572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083" h="572661">
                  <a:moveTo>
                    <a:pt x="414205" y="182396"/>
                  </a:moveTo>
                  <a:cubicBezTo>
                    <a:pt x="414205" y="182396"/>
                    <a:pt x="438751" y="360350"/>
                    <a:pt x="417273" y="433986"/>
                  </a:cubicBezTo>
                  <a:cubicBezTo>
                    <a:pt x="398864" y="501486"/>
                    <a:pt x="309887" y="565918"/>
                    <a:pt x="257727" y="572055"/>
                  </a:cubicBezTo>
                  <a:cubicBezTo>
                    <a:pt x="190228" y="578191"/>
                    <a:pt x="70569" y="538305"/>
                    <a:pt x="39887" y="430919"/>
                  </a:cubicBezTo>
                  <a:cubicBezTo>
                    <a:pt x="18409" y="357282"/>
                    <a:pt x="0" y="256032"/>
                    <a:pt x="0" y="203873"/>
                  </a:cubicBezTo>
                  <a:cubicBezTo>
                    <a:pt x="0" y="108759"/>
                    <a:pt x="27613" y="28986"/>
                    <a:pt x="211704" y="1373"/>
                  </a:cubicBezTo>
                  <a:cubicBezTo>
                    <a:pt x="297614" y="-13968"/>
                    <a:pt x="395795" y="102623"/>
                    <a:pt x="414205" y="182396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416FAE90-00AA-455D-B8B9-DD7E3C7B7786}"/>
                </a:ext>
              </a:extLst>
            </p:cNvPr>
            <p:cNvSpPr/>
            <p:nvPr/>
          </p:nvSpPr>
          <p:spPr>
            <a:xfrm>
              <a:off x="12188394" y="8030100"/>
              <a:ext cx="58295" cy="141136"/>
            </a:xfrm>
            <a:custGeom>
              <a:avLst/>
              <a:gdLst>
                <a:gd name="connsiteX0" fmla="*/ 27613 w 58295"/>
                <a:gd name="connsiteY0" fmla="*/ 141136 h 141136"/>
                <a:gd name="connsiteX1" fmla="*/ 6137 w 58295"/>
                <a:gd name="connsiteY1" fmla="*/ 138068 h 141136"/>
                <a:gd name="connsiteX2" fmla="*/ 0 w 58295"/>
                <a:gd name="connsiteY2" fmla="*/ 131931 h 141136"/>
                <a:gd name="connsiteX3" fmla="*/ 6137 w 58295"/>
                <a:gd name="connsiteY3" fmla="*/ 125795 h 141136"/>
                <a:gd name="connsiteX4" fmla="*/ 46023 w 58295"/>
                <a:gd name="connsiteY4" fmla="*/ 122727 h 141136"/>
                <a:gd name="connsiteX5" fmla="*/ 46023 w 58295"/>
                <a:gd name="connsiteY5" fmla="*/ 119659 h 141136"/>
                <a:gd name="connsiteX6" fmla="*/ 27613 w 58295"/>
                <a:gd name="connsiteY6" fmla="*/ 6136 h 141136"/>
                <a:gd name="connsiteX7" fmla="*/ 33750 w 58295"/>
                <a:gd name="connsiteY7" fmla="*/ 0 h 141136"/>
                <a:gd name="connsiteX8" fmla="*/ 39887 w 58295"/>
                <a:gd name="connsiteY8" fmla="*/ 6136 h 141136"/>
                <a:gd name="connsiteX9" fmla="*/ 58295 w 58295"/>
                <a:gd name="connsiteY9" fmla="*/ 119659 h 141136"/>
                <a:gd name="connsiteX10" fmla="*/ 52159 w 58295"/>
                <a:gd name="connsiteY10" fmla="*/ 131931 h 141136"/>
                <a:gd name="connsiteX11" fmla="*/ 27613 w 58295"/>
                <a:gd name="connsiteY11" fmla="*/ 141136 h 141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295" h="141136">
                  <a:moveTo>
                    <a:pt x="27613" y="141136"/>
                  </a:moveTo>
                  <a:cubicBezTo>
                    <a:pt x="18409" y="141136"/>
                    <a:pt x="9205" y="138068"/>
                    <a:pt x="6137" y="138068"/>
                  </a:cubicBezTo>
                  <a:cubicBezTo>
                    <a:pt x="3068" y="138068"/>
                    <a:pt x="0" y="135000"/>
                    <a:pt x="0" y="131931"/>
                  </a:cubicBezTo>
                  <a:cubicBezTo>
                    <a:pt x="0" y="128864"/>
                    <a:pt x="3068" y="125795"/>
                    <a:pt x="6137" y="125795"/>
                  </a:cubicBezTo>
                  <a:cubicBezTo>
                    <a:pt x="18409" y="128864"/>
                    <a:pt x="39887" y="128864"/>
                    <a:pt x="46023" y="122727"/>
                  </a:cubicBezTo>
                  <a:cubicBezTo>
                    <a:pt x="46023" y="122727"/>
                    <a:pt x="46023" y="119659"/>
                    <a:pt x="46023" y="119659"/>
                  </a:cubicBezTo>
                  <a:cubicBezTo>
                    <a:pt x="46023" y="101250"/>
                    <a:pt x="27613" y="9204"/>
                    <a:pt x="27613" y="6136"/>
                  </a:cubicBezTo>
                  <a:cubicBezTo>
                    <a:pt x="27613" y="3068"/>
                    <a:pt x="27613" y="0"/>
                    <a:pt x="33750" y="0"/>
                  </a:cubicBezTo>
                  <a:cubicBezTo>
                    <a:pt x="36819" y="0"/>
                    <a:pt x="39887" y="0"/>
                    <a:pt x="39887" y="6136"/>
                  </a:cubicBezTo>
                  <a:cubicBezTo>
                    <a:pt x="39887" y="9204"/>
                    <a:pt x="58295" y="101250"/>
                    <a:pt x="58295" y="119659"/>
                  </a:cubicBezTo>
                  <a:cubicBezTo>
                    <a:pt x="58295" y="125795"/>
                    <a:pt x="55228" y="128864"/>
                    <a:pt x="52159" y="131931"/>
                  </a:cubicBezTo>
                  <a:cubicBezTo>
                    <a:pt x="49091" y="138068"/>
                    <a:pt x="36819" y="141136"/>
                    <a:pt x="27613" y="141136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F48C9BAA-75C4-48D3-A010-0771002BB88A}"/>
                </a:ext>
              </a:extLst>
            </p:cNvPr>
            <p:cNvSpPr/>
            <p:nvPr/>
          </p:nvSpPr>
          <p:spPr>
            <a:xfrm>
              <a:off x="12276770" y="8008020"/>
              <a:ext cx="41090" cy="41090"/>
            </a:xfrm>
            <a:custGeom>
              <a:avLst/>
              <a:gdLst>
                <a:gd name="connsiteX0" fmla="*/ 602 w 41090"/>
                <a:gd name="connsiteY0" fmla="*/ 25147 h 41090"/>
                <a:gd name="connsiteX1" fmla="*/ 25148 w 41090"/>
                <a:gd name="connsiteY1" fmla="*/ 40488 h 41090"/>
                <a:gd name="connsiteX2" fmla="*/ 40489 w 41090"/>
                <a:gd name="connsiteY2" fmla="*/ 15943 h 41090"/>
                <a:gd name="connsiteX3" fmla="*/ 15942 w 41090"/>
                <a:gd name="connsiteY3" fmla="*/ 602 h 41090"/>
                <a:gd name="connsiteX4" fmla="*/ 602 w 41090"/>
                <a:gd name="connsiteY4" fmla="*/ 25147 h 4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90" h="41090">
                  <a:moveTo>
                    <a:pt x="602" y="25147"/>
                  </a:moveTo>
                  <a:cubicBezTo>
                    <a:pt x="3670" y="34352"/>
                    <a:pt x="12875" y="43557"/>
                    <a:pt x="25148" y="40488"/>
                  </a:cubicBezTo>
                  <a:cubicBezTo>
                    <a:pt x="34352" y="37420"/>
                    <a:pt x="43557" y="28216"/>
                    <a:pt x="40489" y="15943"/>
                  </a:cubicBezTo>
                  <a:cubicBezTo>
                    <a:pt x="37420" y="6738"/>
                    <a:pt x="28216" y="-2466"/>
                    <a:pt x="15942" y="602"/>
                  </a:cubicBezTo>
                  <a:cubicBezTo>
                    <a:pt x="6738" y="3670"/>
                    <a:pt x="-2466" y="15943"/>
                    <a:pt x="602" y="2514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E3F815B1-A50F-467C-8946-192359ECA80E}"/>
                </a:ext>
              </a:extLst>
            </p:cNvPr>
            <p:cNvSpPr/>
            <p:nvPr/>
          </p:nvSpPr>
          <p:spPr>
            <a:xfrm>
              <a:off x="12092679" y="8029498"/>
              <a:ext cx="41090" cy="41089"/>
            </a:xfrm>
            <a:custGeom>
              <a:avLst/>
              <a:gdLst>
                <a:gd name="connsiteX0" fmla="*/ 602 w 41090"/>
                <a:gd name="connsiteY0" fmla="*/ 25147 h 41089"/>
                <a:gd name="connsiteX1" fmla="*/ 25148 w 41090"/>
                <a:gd name="connsiteY1" fmla="*/ 40488 h 41089"/>
                <a:gd name="connsiteX2" fmla="*/ 40489 w 41090"/>
                <a:gd name="connsiteY2" fmla="*/ 15943 h 41089"/>
                <a:gd name="connsiteX3" fmla="*/ 15942 w 41090"/>
                <a:gd name="connsiteY3" fmla="*/ 602 h 41089"/>
                <a:gd name="connsiteX4" fmla="*/ 602 w 41090"/>
                <a:gd name="connsiteY4" fmla="*/ 25147 h 41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90" h="41089">
                  <a:moveTo>
                    <a:pt x="602" y="25147"/>
                  </a:moveTo>
                  <a:cubicBezTo>
                    <a:pt x="3670" y="34352"/>
                    <a:pt x="12875" y="43556"/>
                    <a:pt x="25148" y="40488"/>
                  </a:cubicBezTo>
                  <a:cubicBezTo>
                    <a:pt x="34352" y="37420"/>
                    <a:pt x="43557" y="28215"/>
                    <a:pt x="40489" y="15943"/>
                  </a:cubicBezTo>
                  <a:cubicBezTo>
                    <a:pt x="37420" y="6738"/>
                    <a:pt x="28216" y="-2466"/>
                    <a:pt x="15942" y="602"/>
                  </a:cubicBezTo>
                  <a:cubicBezTo>
                    <a:pt x="6738" y="3670"/>
                    <a:pt x="-2466" y="12874"/>
                    <a:pt x="602" y="2514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4CAA1A32-948A-4463-AE8C-613AA26F7AA8}"/>
                </a:ext>
              </a:extLst>
            </p:cNvPr>
            <p:cNvSpPr/>
            <p:nvPr/>
          </p:nvSpPr>
          <p:spPr>
            <a:xfrm>
              <a:off x="12248487" y="7959531"/>
              <a:ext cx="92549" cy="33749"/>
            </a:xfrm>
            <a:custGeom>
              <a:avLst/>
              <a:gdLst>
                <a:gd name="connsiteX0" fmla="*/ 87181 w 92549"/>
                <a:gd name="connsiteY0" fmla="*/ 33750 h 33749"/>
                <a:gd name="connsiteX1" fmla="*/ 81044 w 92549"/>
                <a:gd name="connsiteY1" fmla="*/ 30682 h 33749"/>
                <a:gd name="connsiteX2" fmla="*/ 13544 w 92549"/>
                <a:gd name="connsiteY2" fmla="*/ 24546 h 33749"/>
                <a:gd name="connsiteX3" fmla="*/ 1271 w 92549"/>
                <a:gd name="connsiteY3" fmla="*/ 21477 h 33749"/>
                <a:gd name="connsiteX4" fmla="*/ 4339 w 92549"/>
                <a:gd name="connsiteY4" fmla="*/ 9205 h 33749"/>
                <a:gd name="connsiteX5" fmla="*/ 90248 w 92549"/>
                <a:gd name="connsiteY5" fmla="*/ 18409 h 33749"/>
                <a:gd name="connsiteX6" fmla="*/ 90248 w 92549"/>
                <a:gd name="connsiteY6" fmla="*/ 30682 h 33749"/>
                <a:gd name="connsiteX7" fmla="*/ 87181 w 92549"/>
                <a:gd name="connsiteY7" fmla="*/ 33750 h 33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3749">
                  <a:moveTo>
                    <a:pt x="87181" y="33750"/>
                  </a:moveTo>
                  <a:cubicBezTo>
                    <a:pt x="84112" y="33750"/>
                    <a:pt x="84112" y="33750"/>
                    <a:pt x="81044" y="30682"/>
                  </a:cubicBezTo>
                  <a:cubicBezTo>
                    <a:pt x="53430" y="3068"/>
                    <a:pt x="13544" y="24546"/>
                    <a:pt x="13544" y="24546"/>
                  </a:cubicBezTo>
                  <a:cubicBezTo>
                    <a:pt x="10476" y="27614"/>
                    <a:pt x="4339" y="24546"/>
                    <a:pt x="1271" y="21477"/>
                  </a:cubicBezTo>
                  <a:cubicBezTo>
                    <a:pt x="-1797" y="18409"/>
                    <a:pt x="1271" y="12273"/>
                    <a:pt x="4339" y="9205"/>
                  </a:cubicBezTo>
                  <a:cubicBezTo>
                    <a:pt x="22749" y="0"/>
                    <a:pt x="62635" y="-9205"/>
                    <a:pt x="90248" y="18409"/>
                  </a:cubicBezTo>
                  <a:cubicBezTo>
                    <a:pt x="93316" y="21477"/>
                    <a:pt x="93316" y="27614"/>
                    <a:pt x="90248" y="30682"/>
                  </a:cubicBezTo>
                  <a:cubicBezTo>
                    <a:pt x="90248" y="33750"/>
                    <a:pt x="87181" y="33750"/>
                    <a:pt x="87181" y="33750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1D43B30C-A606-403A-A203-26DBE6D61A59}"/>
                </a:ext>
              </a:extLst>
            </p:cNvPr>
            <p:cNvSpPr/>
            <p:nvPr/>
          </p:nvSpPr>
          <p:spPr>
            <a:xfrm>
              <a:off x="12057230" y="7962912"/>
              <a:ext cx="92549" cy="36506"/>
            </a:xfrm>
            <a:custGeom>
              <a:avLst/>
              <a:gdLst>
                <a:gd name="connsiteX0" fmla="*/ 8437 w 92549"/>
                <a:gd name="connsiteY0" fmla="*/ 36506 h 36506"/>
                <a:gd name="connsiteX1" fmla="*/ 2301 w 92549"/>
                <a:gd name="connsiteY1" fmla="*/ 33438 h 36506"/>
                <a:gd name="connsiteX2" fmla="*/ 2301 w 92549"/>
                <a:gd name="connsiteY2" fmla="*/ 21165 h 36506"/>
                <a:gd name="connsiteX3" fmla="*/ 88210 w 92549"/>
                <a:gd name="connsiteY3" fmla="*/ 11961 h 36506"/>
                <a:gd name="connsiteX4" fmla="*/ 91278 w 92549"/>
                <a:gd name="connsiteY4" fmla="*/ 24233 h 36506"/>
                <a:gd name="connsiteX5" fmla="*/ 79006 w 92549"/>
                <a:gd name="connsiteY5" fmla="*/ 27301 h 36506"/>
                <a:gd name="connsiteX6" fmla="*/ 11505 w 92549"/>
                <a:gd name="connsiteY6" fmla="*/ 33438 h 36506"/>
                <a:gd name="connsiteX7" fmla="*/ 8437 w 92549"/>
                <a:gd name="connsiteY7" fmla="*/ 36506 h 36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6506">
                  <a:moveTo>
                    <a:pt x="8437" y="36506"/>
                  </a:moveTo>
                  <a:cubicBezTo>
                    <a:pt x="5369" y="36506"/>
                    <a:pt x="5369" y="36506"/>
                    <a:pt x="2301" y="33438"/>
                  </a:cubicBezTo>
                  <a:cubicBezTo>
                    <a:pt x="-767" y="30369"/>
                    <a:pt x="-767" y="24233"/>
                    <a:pt x="2301" y="21165"/>
                  </a:cubicBezTo>
                  <a:cubicBezTo>
                    <a:pt x="14574" y="5824"/>
                    <a:pt x="51391" y="-12585"/>
                    <a:pt x="88210" y="11961"/>
                  </a:cubicBezTo>
                  <a:cubicBezTo>
                    <a:pt x="91278" y="15028"/>
                    <a:pt x="94347" y="18097"/>
                    <a:pt x="91278" y="24233"/>
                  </a:cubicBezTo>
                  <a:cubicBezTo>
                    <a:pt x="88210" y="27301"/>
                    <a:pt x="85142" y="30369"/>
                    <a:pt x="79006" y="27301"/>
                  </a:cubicBezTo>
                  <a:cubicBezTo>
                    <a:pt x="42187" y="2756"/>
                    <a:pt x="14574" y="33438"/>
                    <a:pt x="11505" y="33438"/>
                  </a:cubicBezTo>
                  <a:cubicBezTo>
                    <a:pt x="14574" y="33438"/>
                    <a:pt x="11505" y="36506"/>
                    <a:pt x="8437" y="36506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044940CF-0E99-4A09-BCC4-3D7BD493050B}"/>
                </a:ext>
              </a:extLst>
            </p:cNvPr>
            <p:cNvSpPr/>
            <p:nvPr/>
          </p:nvSpPr>
          <p:spPr>
            <a:xfrm>
              <a:off x="12053394" y="8281691"/>
              <a:ext cx="232414" cy="64431"/>
            </a:xfrm>
            <a:custGeom>
              <a:avLst/>
              <a:gdLst>
                <a:gd name="connsiteX0" fmla="*/ 150341 w 232414"/>
                <a:gd name="connsiteY0" fmla="*/ 64432 h 64431"/>
                <a:gd name="connsiteX1" fmla="*/ 3068 w 232414"/>
                <a:gd name="connsiteY1" fmla="*/ 12273 h 64431"/>
                <a:gd name="connsiteX2" fmla="*/ 0 w 232414"/>
                <a:gd name="connsiteY2" fmla="*/ 3068 h 64431"/>
                <a:gd name="connsiteX3" fmla="*/ 9204 w 232414"/>
                <a:gd name="connsiteY3" fmla="*/ 0 h 64431"/>
                <a:gd name="connsiteX4" fmla="*/ 150341 w 232414"/>
                <a:gd name="connsiteY4" fmla="*/ 49091 h 64431"/>
                <a:gd name="connsiteX5" fmla="*/ 150341 w 232414"/>
                <a:gd name="connsiteY5" fmla="*/ 49091 h 64431"/>
                <a:gd name="connsiteX6" fmla="*/ 220909 w 232414"/>
                <a:gd name="connsiteY6" fmla="*/ 24546 h 64431"/>
                <a:gd name="connsiteX7" fmla="*/ 230114 w 232414"/>
                <a:gd name="connsiteY7" fmla="*/ 24546 h 64431"/>
                <a:gd name="connsiteX8" fmla="*/ 230114 w 232414"/>
                <a:gd name="connsiteY8" fmla="*/ 33750 h 64431"/>
                <a:gd name="connsiteX9" fmla="*/ 150341 w 232414"/>
                <a:gd name="connsiteY9" fmla="*/ 64432 h 64431"/>
                <a:gd name="connsiteX10" fmla="*/ 150341 w 232414"/>
                <a:gd name="connsiteY10" fmla="*/ 64432 h 64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2414" h="64431">
                  <a:moveTo>
                    <a:pt x="150341" y="64432"/>
                  </a:moveTo>
                  <a:cubicBezTo>
                    <a:pt x="98182" y="64432"/>
                    <a:pt x="9204" y="15341"/>
                    <a:pt x="3068" y="12273"/>
                  </a:cubicBezTo>
                  <a:cubicBezTo>
                    <a:pt x="0" y="9205"/>
                    <a:pt x="0" y="6136"/>
                    <a:pt x="0" y="3068"/>
                  </a:cubicBezTo>
                  <a:cubicBezTo>
                    <a:pt x="3068" y="0"/>
                    <a:pt x="6137" y="0"/>
                    <a:pt x="9204" y="0"/>
                  </a:cubicBezTo>
                  <a:cubicBezTo>
                    <a:pt x="9204" y="0"/>
                    <a:pt x="101250" y="49091"/>
                    <a:pt x="150341" y="49091"/>
                  </a:cubicBezTo>
                  <a:cubicBezTo>
                    <a:pt x="150341" y="49091"/>
                    <a:pt x="150341" y="49091"/>
                    <a:pt x="150341" y="49091"/>
                  </a:cubicBezTo>
                  <a:cubicBezTo>
                    <a:pt x="190228" y="49091"/>
                    <a:pt x="220909" y="24546"/>
                    <a:pt x="220909" y="24546"/>
                  </a:cubicBezTo>
                  <a:cubicBezTo>
                    <a:pt x="223977" y="21477"/>
                    <a:pt x="227045" y="21477"/>
                    <a:pt x="230114" y="24546"/>
                  </a:cubicBezTo>
                  <a:cubicBezTo>
                    <a:pt x="233182" y="27613"/>
                    <a:pt x="233182" y="30682"/>
                    <a:pt x="230114" y="33750"/>
                  </a:cubicBezTo>
                  <a:cubicBezTo>
                    <a:pt x="227045" y="36818"/>
                    <a:pt x="193295" y="64432"/>
                    <a:pt x="150341" y="64432"/>
                  </a:cubicBezTo>
                  <a:cubicBezTo>
                    <a:pt x="150341" y="64432"/>
                    <a:pt x="150341" y="64432"/>
                    <a:pt x="150341" y="64432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E6631099-8F0F-4385-A952-C579D71A804B}"/>
                </a:ext>
              </a:extLst>
            </p:cNvPr>
            <p:cNvSpPr/>
            <p:nvPr/>
          </p:nvSpPr>
          <p:spPr>
            <a:xfrm>
              <a:off x="11917570" y="7790781"/>
              <a:ext cx="114346" cy="270000"/>
            </a:xfrm>
            <a:custGeom>
              <a:avLst/>
              <a:gdLst>
                <a:gd name="connsiteX0" fmla="*/ 114346 w 114346"/>
                <a:gd name="connsiteY0" fmla="*/ 128864 h 270000"/>
                <a:gd name="connsiteX1" fmla="*/ 65256 w 114346"/>
                <a:gd name="connsiteY1" fmla="*/ 270000 h 270000"/>
                <a:gd name="connsiteX2" fmla="*/ 6960 w 114346"/>
                <a:gd name="connsiteY2" fmla="*/ 168750 h 270000"/>
                <a:gd name="connsiteX3" fmla="*/ 65256 w 114346"/>
                <a:gd name="connsiteY3" fmla="*/ 0 h 270000"/>
                <a:gd name="connsiteX4" fmla="*/ 114346 w 114346"/>
                <a:gd name="connsiteY4" fmla="*/ 128864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46" h="270000">
                  <a:moveTo>
                    <a:pt x="114346" y="128864"/>
                  </a:moveTo>
                  <a:cubicBezTo>
                    <a:pt x="114346" y="128864"/>
                    <a:pt x="59120" y="239318"/>
                    <a:pt x="65256" y="270000"/>
                  </a:cubicBezTo>
                  <a:cubicBezTo>
                    <a:pt x="65256" y="270000"/>
                    <a:pt x="22301" y="223977"/>
                    <a:pt x="6960" y="168750"/>
                  </a:cubicBezTo>
                  <a:cubicBezTo>
                    <a:pt x="-8381" y="110454"/>
                    <a:pt x="-2244" y="15341"/>
                    <a:pt x="65256" y="0"/>
                  </a:cubicBezTo>
                  <a:cubicBezTo>
                    <a:pt x="68324" y="3068"/>
                    <a:pt x="74460" y="110454"/>
                    <a:pt x="114346" y="128864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42B0F589-EBBE-4907-84B9-ECE035B99DBB}"/>
                </a:ext>
              </a:extLst>
            </p:cNvPr>
            <p:cNvSpPr/>
            <p:nvPr/>
          </p:nvSpPr>
          <p:spPr>
            <a:xfrm>
              <a:off x="11973995" y="7672808"/>
              <a:ext cx="502808" cy="256073"/>
            </a:xfrm>
            <a:custGeom>
              <a:avLst/>
              <a:gdLst>
                <a:gd name="connsiteX0" fmla="*/ 57922 w 502808"/>
                <a:gd name="connsiteY0" fmla="*/ 246837 h 256073"/>
                <a:gd name="connsiteX1" fmla="*/ 180649 w 502808"/>
                <a:gd name="connsiteY1" fmla="*/ 206951 h 256073"/>
                <a:gd name="connsiteX2" fmla="*/ 502808 w 502808"/>
                <a:gd name="connsiteY2" fmla="*/ 194678 h 256073"/>
                <a:gd name="connsiteX3" fmla="*/ 128491 w 502808"/>
                <a:gd name="connsiteY3" fmla="*/ 10587 h 256073"/>
                <a:gd name="connsiteX4" fmla="*/ 8832 w 502808"/>
                <a:gd name="connsiteY4" fmla="*/ 117974 h 256073"/>
                <a:gd name="connsiteX5" fmla="*/ 57922 w 502808"/>
                <a:gd name="connsiteY5" fmla="*/ 246837 h 25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2808" h="256073">
                  <a:moveTo>
                    <a:pt x="57922" y="246837"/>
                  </a:moveTo>
                  <a:cubicBezTo>
                    <a:pt x="57922" y="246837"/>
                    <a:pt x="153036" y="206951"/>
                    <a:pt x="180649" y="206951"/>
                  </a:cubicBezTo>
                  <a:cubicBezTo>
                    <a:pt x="281900" y="210019"/>
                    <a:pt x="410763" y="323542"/>
                    <a:pt x="502808" y="194678"/>
                  </a:cubicBezTo>
                  <a:cubicBezTo>
                    <a:pt x="456786" y="93428"/>
                    <a:pt x="294172" y="-38504"/>
                    <a:pt x="128491" y="10587"/>
                  </a:cubicBezTo>
                  <a:cubicBezTo>
                    <a:pt x="48718" y="32065"/>
                    <a:pt x="14968" y="81156"/>
                    <a:pt x="8832" y="117974"/>
                  </a:cubicBezTo>
                  <a:cubicBezTo>
                    <a:pt x="11899" y="121042"/>
                    <a:pt x="-34124" y="234565"/>
                    <a:pt x="57922" y="24683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110CC81C-0587-417F-AB40-8D57BC598A24}"/>
                </a:ext>
              </a:extLst>
            </p:cNvPr>
            <p:cNvSpPr/>
            <p:nvPr/>
          </p:nvSpPr>
          <p:spPr>
            <a:xfrm>
              <a:off x="11920405" y="8029908"/>
              <a:ext cx="79125" cy="111205"/>
            </a:xfrm>
            <a:custGeom>
              <a:avLst/>
              <a:gdLst>
                <a:gd name="connsiteX0" fmla="*/ 65489 w 79125"/>
                <a:gd name="connsiteY0" fmla="*/ 15533 h 111205"/>
                <a:gd name="connsiteX1" fmla="*/ 7194 w 79125"/>
                <a:gd name="connsiteY1" fmla="*/ 6328 h 111205"/>
                <a:gd name="connsiteX2" fmla="*/ 65489 w 79125"/>
                <a:gd name="connsiteY2" fmla="*/ 107578 h 111205"/>
                <a:gd name="connsiteX3" fmla="*/ 65489 w 79125"/>
                <a:gd name="connsiteY3" fmla="*/ 15533 h 11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25" h="111205">
                  <a:moveTo>
                    <a:pt x="65489" y="15533"/>
                  </a:moveTo>
                  <a:cubicBezTo>
                    <a:pt x="65489" y="15533"/>
                    <a:pt x="31740" y="-12081"/>
                    <a:pt x="7194" y="6328"/>
                  </a:cubicBezTo>
                  <a:cubicBezTo>
                    <a:pt x="-17352" y="24737"/>
                    <a:pt x="25603" y="132123"/>
                    <a:pt x="65489" y="107578"/>
                  </a:cubicBezTo>
                  <a:cubicBezTo>
                    <a:pt x="96171" y="89169"/>
                    <a:pt x="65489" y="15533"/>
                    <a:pt x="65489" y="15533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4469AD23-2063-41D7-8DA3-1D4C176525DB}"/>
                </a:ext>
              </a:extLst>
            </p:cNvPr>
            <p:cNvSpPr/>
            <p:nvPr/>
          </p:nvSpPr>
          <p:spPr>
            <a:xfrm>
              <a:off x="11968064" y="7807919"/>
              <a:ext cx="69989" cy="243657"/>
            </a:xfrm>
            <a:custGeom>
              <a:avLst/>
              <a:gdLst>
                <a:gd name="connsiteX0" fmla="*/ 17830 w 69989"/>
                <a:gd name="connsiteY0" fmla="*/ 243657 h 243657"/>
                <a:gd name="connsiteX1" fmla="*/ 17830 w 69989"/>
                <a:gd name="connsiteY1" fmla="*/ 243657 h 243657"/>
                <a:gd name="connsiteX2" fmla="*/ 11694 w 69989"/>
                <a:gd name="connsiteY2" fmla="*/ 237521 h 243657"/>
                <a:gd name="connsiteX3" fmla="*/ 57717 w 69989"/>
                <a:gd name="connsiteY3" fmla="*/ 114794 h 243657"/>
                <a:gd name="connsiteX4" fmla="*/ 8626 w 69989"/>
                <a:gd name="connsiteY4" fmla="*/ 71839 h 243657"/>
                <a:gd name="connsiteX5" fmla="*/ 5557 w 69989"/>
                <a:gd name="connsiteY5" fmla="*/ 4339 h 243657"/>
                <a:gd name="connsiteX6" fmla="*/ 11694 w 69989"/>
                <a:gd name="connsiteY6" fmla="*/ 1271 h 243657"/>
                <a:gd name="connsiteX7" fmla="*/ 14762 w 69989"/>
                <a:gd name="connsiteY7" fmla="*/ 7407 h 243657"/>
                <a:gd name="connsiteX8" fmla="*/ 17830 w 69989"/>
                <a:gd name="connsiteY8" fmla="*/ 65703 h 243657"/>
                <a:gd name="connsiteX9" fmla="*/ 66921 w 69989"/>
                <a:gd name="connsiteY9" fmla="*/ 105589 h 243657"/>
                <a:gd name="connsiteX10" fmla="*/ 69989 w 69989"/>
                <a:gd name="connsiteY10" fmla="*/ 108657 h 243657"/>
                <a:gd name="connsiteX11" fmla="*/ 69989 w 69989"/>
                <a:gd name="connsiteY11" fmla="*/ 114794 h 243657"/>
                <a:gd name="connsiteX12" fmla="*/ 23967 w 69989"/>
                <a:gd name="connsiteY12" fmla="*/ 237521 h 243657"/>
                <a:gd name="connsiteX13" fmla="*/ 17830 w 69989"/>
                <a:gd name="connsiteY13" fmla="*/ 243657 h 243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9989" h="243657">
                  <a:moveTo>
                    <a:pt x="17830" y="243657"/>
                  </a:moveTo>
                  <a:cubicBezTo>
                    <a:pt x="17830" y="243657"/>
                    <a:pt x="17830" y="243657"/>
                    <a:pt x="17830" y="243657"/>
                  </a:cubicBezTo>
                  <a:cubicBezTo>
                    <a:pt x="14762" y="243657"/>
                    <a:pt x="11694" y="240589"/>
                    <a:pt x="11694" y="237521"/>
                  </a:cubicBezTo>
                  <a:cubicBezTo>
                    <a:pt x="14762" y="185362"/>
                    <a:pt x="45444" y="133203"/>
                    <a:pt x="57717" y="114794"/>
                  </a:cubicBezTo>
                  <a:cubicBezTo>
                    <a:pt x="45444" y="108657"/>
                    <a:pt x="20898" y="96385"/>
                    <a:pt x="8626" y="71839"/>
                  </a:cubicBezTo>
                  <a:cubicBezTo>
                    <a:pt x="-578" y="53430"/>
                    <a:pt x="-3647" y="28885"/>
                    <a:pt x="5557" y="4339"/>
                  </a:cubicBezTo>
                  <a:cubicBezTo>
                    <a:pt x="5557" y="1271"/>
                    <a:pt x="8626" y="-1797"/>
                    <a:pt x="11694" y="1271"/>
                  </a:cubicBezTo>
                  <a:cubicBezTo>
                    <a:pt x="14762" y="4339"/>
                    <a:pt x="17830" y="4339"/>
                    <a:pt x="14762" y="7407"/>
                  </a:cubicBezTo>
                  <a:cubicBezTo>
                    <a:pt x="8626" y="28885"/>
                    <a:pt x="8626" y="47293"/>
                    <a:pt x="17830" y="65703"/>
                  </a:cubicBezTo>
                  <a:cubicBezTo>
                    <a:pt x="33171" y="93316"/>
                    <a:pt x="66921" y="105589"/>
                    <a:pt x="66921" y="105589"/>
                  </a:cubicBezTo>
                  <a:cubicBezTo>
                    <a:pt x="69989" y="105589"/>
                    <a:pt x="69989" y="108657"/>
                    <a:pt x="69989" y="108657"/>
                  </a:cubicBezTo>
                  <a:cubicBezTo>
                    <a:pt x="69989" y="111725"/>
                    <a:pt x="69989" y="111725"/>
                    <a:pt x="69989" y="114794"/>
                  </a:cubicBezTo>
                  <a:cubicBezTo>
                    <a:pt x="69989" y="114794"/>
                    <a:pt x="27035" y="176158"/>
                    <a:pt x="23967" y="237521"/>
                  </a:cubicBezTo>
                  <a:cubicBezTo>
                    <a:pt x="23967" y="240589"/>
                    <a:pt x="20898" y="243657"/>
                    <a:pt x="17830" y="243657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B49F559F-7C51-403D-86CE-DE96DC5B5F54}"/>
                </a:ext>
              </a:extLst>
            </p:cNvPr>
            <p:cNvSpPr/>
            <p:nvPr/>
          </p:nvSpPr>
          <p:spPr>
            <a:xfrm>
              <a:off x="12148508" y="7849603"/>
              <a:ext cx="195596" cy="39360"/>
            </a:xfrm>
            <a:custGeom>
              <a:avLst/>
              <a:gdLst>
                <a:gd name="connsiteX0" fmla="*/ 6136 w 195596"/>
                <a:gd name="connsiteY0" fmla="*/ 39360 h 39360"/>
                <a:gd name="connsiteX1" fmla="*/ 0 w 195596"/>
                <a:gd name="connsiteY1" fmla="*/ 36292 h 39360"/>
                <a:gd name="connsiteX2" fmla="*/ 3068 w 195596"/>
                <a:gd name="connsiteY2" fmla="*/ 27088 h 39360"/>
                <a:gd name="connsiteX3" fmla="*/ 193295 w 195596"/>
                <a:gd name="connsiteY3" fmla="*/ 20951 h 39360"/>
                <a:gd name="connsiteX4" fmla="*/ 193295 w 195596"/>
                <a:gd name="connsiteY4" fmla="*/ 30155 h 39360"/>
                <a:gd name="connsiteX5" fmla="*/ 184091 w 195596"/>
                <a:gd name="connsiteY5" fmla="*/ 30155 h 39360"/>
                <a:gd name="connsiteX6" fmla="*/ 6136 w 195596"/>
                <a:gd name="connsiteY6" fmla="*/ 39360 h 39360"/>
                <a:gd name="connsiteX7" fmla="*/ 6136 w 195596"/>
                <a:gd name="connsiteY7" fmla="*/ 39360 h 3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596" h="39360">
                  <a:moveTo>
                    <a:pt x="6136" y="39360"/>
                  </a:moveTo>
                  <a:cubicBezTo>
                    <a:pt x="3068" y="39360"/>
                    <a:pt x="3068" y="39360"/>
                    <a:pt x="0" y="36292"/>
                  </a:cubicBezTo>
                  <a:cubicBezTo>
                    <a:pt x="0" y="33224"/>
                    <a:pt x="0" y="30155"/>
                    <a:pt x="3068" y="27088"/>
                  </a:cubicBezTo>
                  <a:cubicBezTo>
                    <a:pt x="9204" y="24019"/>
                    <a:pt x="122727" y="-28140"/>
                    <a:pt x="193295" y="20951"/>
                  </a:cubicBezTo>
                  <a:cubicBezTo>
                    <a:pt x="196363" y="24019"/>
                    <a:pt x="196363" y="27088"/>
                    <a:pt x="193295" y="30155"/>
                  </a:cubicBezTo>
                  <a:cubicBezTo>
                    <a:pt x="190227" y="33224"/>
                    <a:pt x="187159" y="33224"/>
                    <a:pt x="184091" y="30155"/>
                  </a:cubicBezTo>
                  <a:cubicBezTo>
                    <a:pt x="122727" y="-12799"/>
                    <a:pt x="12273" y="36292"/>
                    <a:pt x="6136" y="39360"/>
                  </a:cubicBezTo>
                  <a:cubicBezTo>
                    <a:pt x="9204" y="39360"/>
                    <a:pt x="9204" y="39360"/>
                    <a:pt x="6136" y="39360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23F9357F-EE41-4A06-A295-7256149B75B7}"/>
                </a:ext>
              </a:extLst>
            </p:cNvPr>
            <p:cNvSpPr/>
            <p:nvPr/>
          </p:nvSpPr>
          <p:spPr>
            <a:xfrm>
              <a:off x="11636122" y="8401349"/>
              <a:ext cx="1077754" cy="1576860"/>
            </a:xfrm>
            <a:custGeom>
              <a:avLst/>
              <a:gdLst>
                <a:gd name="connsiteX0" fmla="*/ 398864 w 1077754"/>
                <a:gd name="connsiteY0" fmla="*/ 0 h 1576860"/>
                <a:gd name="connsiteX1" fmla="*/ 690341 w 1077754"/>
                <a:gd name="connsiteY1" fmla="*/ 0 h 1576860"/>
                <a:gd name="connsiteX2" fmla="*/ 991023 w 1077754"/>
                <a:gd name="connsiteY2" fmla="*/ 131932 h 1576860"/>
                <a:gd name="connsiteX3" fmla="*/ 1076932 w 1077754"/>
                <a:gd name="connsiteY3" fmla="*/ 1546364 h 1576860"/>
                <a:gd name="connsiteX4" fmla="*/ 0 w 1077754"/>
                <a:gd name="connsiteY4" fmla="*/ 1521818 h 1576860"/>
                <a:gd name="connsiteX5" fmla="*/ 116591 w 1077754"/>
                <a:gd name="connsiteY5" fmla="*/ 104318 h 1576860"/>
                <a:gd name="connsiteX6" fmla="*/ 398864 w 1077754"/>
                <a:gd name="connsiteY6" fmla="*/ 0 h 1576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754" h="1576860">
                  <a:moveTo>
                    <a:pt x="398864" y="0"/>
                  </a:moveTo>
                  <a:cubicBezTo>
                    <a:pt x="398864" y="0"/>
                    <a:pt x="573750" y="55227"/>
                    <a:pt x="690341" y="0"/>
                  </a:cubicBezTo>
                  <a:cubicBezTo>
                    <a:pt x="690341" y="0"/>
                    <a:pt x="966477" y="98182"/>
                    <a:pt x="991023" y="131932"/>
                  </a:cubicBezTo>
                  <a:cubicBezTo>
                    <a:pt x="1015568" y="162614"/>
                    <a:pt x="1086136" y="1478864"/>
                    <a:pt x="1076932" y="1546364"/>
                  </a:cubicBezTo>
                  <a:cubicBezTo>
                    <a:pt x="1076932" y="1546364"/>
                    <a:pt x="582955" y="1629204"/>
                    <a:pt x="0" y="1521818"/>
                  </a:cubicBezTo>
                  <a:cubicBezTo>
                    <a:pt x="0" y="1162841"/>
                    <a:pt x="73636" y="135000"/>
                    <a:pt x="116591" y="104318"/>
                  </a:cubicBezTo>
                  <a:cubicBezTo>
                    <a:pt x="156477" y="70568"/>
                    <a:pt x="398864" y="0"/>
                    <a:pt x="398864" y="0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8418898B-E745-42E9-B184-03EDA3818367}"/>
                </a:ext>
              </a:extLst>
            </p:cNvPr>
            <p:cNvSpPr/>
            <p:nvPr/>
          </p:nvSpPr>
          <p:spPr>
            <a:xfrm>
              <a:off x="12617940" y="8527145"/>
              <a:ext cx="53430" cy="745568"/>
            </a:xfrm>
            <a:custGeom>
              <a:avLst/>
              <a:gdLst>
                <a:gd name="connsiteX0" fmla="*/ 49091 w 53430"/>
                <a:gd name="connsiteY0" fmla="*/ 745568 h 745568"/>
                <a:gd name="connsiteX1" fmla="*/ 42954 w 53430"/>
                <a:gd name="connsiteY1" fmla="*/ 739432 h 745568"/>
                <a:gd name="connsiteX2" fmla="*/ 0 w 53430"/>
                <a:gd name="connsiteY2" fmla="*/ 6136 h 745568"/>
                <a:gd name="connsiteX3" fmla="*/ 3068 w 53430"/>
                <a:gd name="connsiteY3" fmla="*/ 0 h 745568"/>
                <a:gd name="connsiteX4" fmla="*/ 9205 w 53430"/>
                <a:gd name="connsiteY4" fmla="*/ 3068 h 745568"/>
                <a:gd name="connsiteX5" fmla="*/ 52159 w 53430"/>
                <a:gd name="connsiteY5" fmla="*/ 739432 h 745568"/>
                <a:gd name="connsiteX6" fmla="*/ 49091 w 53430"/>
                <a:gd name="connsiteY6" fmla="*/ 745568 h 745568"/>
                <a:gd name="connsiteX7" fmla="*/ 49091 w 53430"/>
                <a:gd name="connsiteY7" fmla="*/ 745568 h 74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430" h="745568">
                  <a:moveTo>
                    <a:pt x="49091" y="745568"/>
                  </a:moveTo>
                  <a:cubicBezTo>
                    <a:pt x="46023" y="745568"/>
                    <a:pt x="42954" y="742500"/>
                    <a:pt x="42954" y="739432"/>
                  </a:cubicBezTo>
                  <a:cubicBezTo>
                    <a:pt x="42954" y="733295"/>
                    <a:pt x="6137" y="46023"/>
                    <a:pt x="0" y="6136"/>
                  </a:cubicBezTo>
                  <a:cubicBezTo>
                    <a:pt x="0" y="3068"/>
                    <a:pt x="0" y="0"/>
                    <a:pt x="3068" y="0"/>
                  </a:cubicBezTo>
                  <a:cubicBezTo>
                    <a:pt x="6137" y="0"/>
                    <a:pt x="9205" y="0"/>
                    <a:pt x="9205" y="3068"/>
                  </a:cubicBezTo>
                  <a:cubicBezTo>
                    <a:pt x="18409" y="42954"/>
                    <a:pt x="52159" y="711818"/>
                    <a:pt x="52159" y="739432"/>
                  </a:cubicBezTo>
                  <a:cubicBezTo>
                    <a:pt x="55228" y="742500"/>
                    <a:pt x="52159" y="745568"/>
                    <a:pt x="49091" y="745568"/>
                  </a:cubicBezTo>
                  <a:cubicBezTo>
                    <a:pt x="49091" y="745568"/>
                    <a:pt x="49091" y="745568"/>
                    <a:pt x="49091" y="745568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66C1EE5B-BBE7-4040-8863-A1901E5FB8C0}"/>
                </a:ext>
              </a:extLst>
            </p:cNvPr>
            <p:cNvSpPr/>
            <p:nvPr/>
          </p:nvSpPr>
          <p:spPr>
            <a:xfrm>
              <a:off x="12163849" y="8227230"/>
              <a:ext cx="121022" cy="29914"/>
            </a:xfrm>
            <a:custGeom>
              <a:avLst/>
              <a:gdLst>
                <a:gd name="connsiteX0" fmla="*/ 67499 w 121022"/>
                <a:gd name="connsiteY0" fmla="*/ 29915 h 29914"/>
                <a:gd name="connsiteX1" fmla="*/ 3068 w 121022"/>
                <a:gd name="connsiteY1" fmla="*/ 14574 h 29914"/>
                <a:gd name="connsiteX2" fmla="*/ 0 w 121022"/>
                <a:gd name="connsiteY2" fmla="*/ 5369 h 29914"/>
                <a:gd name="connsiteX3" fmla="*/ 9204 w 121022"/>
                <a:gd name="connsiteY3" fmla="*/ 2301 h 29914"/>
                <a:gd name="connsiteX4" fmla="*/ 110455 w 121022"/>
                <a:gd name="connsiteY4" fmla="*/ 2301 h 29914"/>
                <a:gd name="connsiteX5" fmla="*/ 119659 w 121022"/>
                <a:gd name="connsiteY5" fmla="*/ 2301 h 29914"/>
                <a:gd name="connsiteX6" fmla="*/ 119659 w 121022"/>
                <a:gd name="connsiteY6" fmla="*/ 11505 h 29914"/>
                <a:gd name="connsiteX7" fmla="*/ 67499 w 121022"/>
                <a:gd name="connsiteY7" fmla="*/ 29915 h 2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022" h="29914">
                  <a:moveTo>
                    <a:pt x="67499" y="29915"/>
                  </a:moveTo>
                  <a:cubicBezTo>
                    <a:pt x="33750" y="29915"/>
                    <a:pt x="6136" y="14574"/>
                    <a:pt x="3068" y="14574"/>
                  </a:cubicBezTo>
                  <a:cubicBezTo>
                    <a:pt x="0" y="14574"/>
                    <a:pt x="0" y="8438"/>
                    <a:pt x="0" y="5369"/>
                  </a:cubicBezTo>
                  <a:cubicBezTo>
                    <a:pt x="0" y="2301"/>
                    <a:pt x="6136" y="2301"/>
                    <a:pt x="9204" y="2301"/>
                  </a:cubicBezTo>
                  <a:cubicBezTo>
                    <a:pt x="9204" y="2301"/>
                    <a:pt x="73636" y="32983"/>
                    <a:pt x="110455" y="2301"/>
                  </a:cubicBezTo>
                  <a:cubicBezTo>
                    <a:pt x="113522" y="-767"/>
                    <a:pt x="116591" y="-767"/>
                    <a:pt x="119659" y="2301"/>
                  </a:cubicBezTo>
                  <a:cubicBezTo>
                    <a:pt x="122727" y="5369"/>
                    <a:pt x="119659" y="8438"/>
                    <a:pt x="119659" y="11505"/>
                  </a:cubicBezTo>
                  <a:cubicBezTo>
                    <a:pt x="101250" y="23778"/>
                    <a:pt x="82840" y="29915"/>
                    <a:pt x="67499" y="29915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E1F3DE46-283E-4D01-970B-02A517F28E53}"/>
                </a:ext>
              </a:extLst>
            </p:cNvPr>
            <p:cNvSpPr/>
            <p:nvPr/>
          </p:nvSpPr>
          <p:spPr>
            <a:xfrm>
              <a:off x="11513965" y="8968963"/>
              <a:ext cx="800225" cy="831476"/>
            </a:xfrm>
            <a:custGeom>
              <a:avLst/>
              <a:gdLst>
                <a:gd name="connsiteX0" fmla="*/ 324657 w 800225"/>
                <a:gd name="connsiteY0" fmla="*/ 3068 h 831476"/>
                <a:gd name="connsiteX1" fmla="*/ 266362 w 800225"/>
                <a:gd name="connsiteY1" fmla="*/ 546136 h 831476"/>
                <a:gd name="connsiteX2" fmla="*/ 800225 w 800225"/>
                <a:gd name="connsiteY2" fmla="*/ 696477 h 831476"/>
                <a:gd name="connsiteX3" fmla="*/ 794089 w 800225"/>
                <a:gd name="connsiteY3" fmla="*/ 831477 h 831476"/>
                <a:gd name="connsiteX4" fmla="*/ 45452 w 800225"/>
                <a:gd name="connsiteY4" fmla="*/ 708750 h 831476"/>
                <a:gd name="connsiteX5" fmla="*/ 54657 w 800225"/>
                <a:gd name="connsiteY5" fmla="*/ 0 h 831476"/>
                <a:gd name="connsiteX6" fmla="*/ 324657 w 800225"/>
                <a:gd name="connsiteY6" fmla="*/ 3068 h 831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0225" h="831476">
                  <a:moveTo>
                    <a:pt x="324657" y="3068"/>
                  </a:moveTo>
                  <a:lnTo>
                    <a:pt x="266362" y="546136"/>
                  </a:lnTo>
                  <a:lnTo>
                    <a:pt x="800225" y="696477"/>
                  </a:lnTo>
                  <a:lnTo>
                    <a:pt x="794089" y="831477"/>
                  </a:lnTo>
                  <a:cubicBezTo>
                    <a:pt x="794089" y="831477"/>
                    <a:pt x="152839" y="779318"/>
                    <a:pt x="45452" y="708750"/>
                  </a:cubicBezTo>
                  <a:cubicBezTo>
                    <a:pt x="-61934" y="638182"/>
                    <a:pt x="54657" y="0"/>
                    <a:pt x="54657" y="0"/>
                  </a:cubicBezTo>
                  <a:lnTo>
                    <a:pt x="324657" y="3068"/>
                  </a:ln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AE75DD2B-0CC6-46F6-8930-26A9A4C2CAC5}"/>
                </a:ext>
              </a:extLst>
            </p:cNvPr>
            <p:cNvSpPr/>
            <p:nvPr/>
          </p:nvSpPr>
          <p:spPr>
            <a:xfrm>
              <a:off x="11718963" y="9076349"/>
              <a:ext cx="113522" cy="484772"/>
            </a:xfrm>
            <a:custGeom>
              <a:avLst/>
              <a:gdLst>
                <a:gd name="connsiteX0" fmla="*/ 6136 w 113522"/>
                <a:gd name="connsiteY0" fmla="*/ 484773 h 484772"/>
                <a:gd name="connsiteX1" fmla="*/ 0 w 113522"/>
                <a:gd name="connsiteY1" fmla="*/ 481704 h 484772"/>
                <a:gd name="connsiteX2" fmla="*/ 3068 w 113522"/>
                <a:gd name="connsiteY2" fmla="*/ 475568 h 484772"/>
                <a:gd name="connsiteX3" fmla="*/ 55227 w 113522"/>
                <a:gd name="connsiteY3" fmla="*/ 438750 h 484772"/>
                <a:gd name="connsiteX4" fmla="*/ 101250 w 113522"/>
                <a:gd name="connsiteY4" fmla="*/ 0 h 484772"/>
                <a:gd name="connsiteX5" fmla="*/ 113522 w 113522"/>
                <a:gd name="connsiteY5" fmla="*/ 0 h 484772"/>
                <a:gd name="connsiteX6" fmla="*/ 67499 w 113522"/>
                <a:gd name="connsiteY6" fmla="*/ 441818 h 484772"/>
                <a:gd name="connsiteX7" fmla="*/ 64432 w 113522"/>
                <a:gd name="connsiteY7" fmla="*/ 444886 h 484772"/>
                <a:gd name="connsiteX8" fmla="*/ 6136 w 113522"/>
                <a:gd name="connsiteY8" fmla="*/ 484773 h 484772"/>
                <a:gd name="connsiteX9" fmla="*/ 6136 w 113522"/>
                <a:gd name="connsiteY9" fmla="*/ 484773 h 48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3522" h="484772">
                  <a:moveTo>
                    <a:pt x="6136" y="484773"/>
                  </a:moveTo>
                  <a:cubicBezTo>
                    <a:pt x="3068" y="484773"/>
                    <a:pt x="3068" y="484773"/>
                    <a:pt x="0" y="481704"/>
                  </a:cubicBezTo>
                  <a:cubicBezTo>
                    <a:pt x="0" y="478637"/>
                    <a:pt x="0" y="475568"/>
                    <a:pt x="3068" y="475568"/>
                  </a:cubicBezTo>
                  <a:cubicBezTo>
                    <a:pt x="18409" y="466364"/>
                    <a:pt x="49091" y="444886"/>
                    <a:pt x="55227" y="438750"/>
                  </a:cubicBezTo>
                  <a:cubicBezTo>
                    <a:pt x="67499" y="319091"/>
                    <a:pt x="101250" y="0"/>
                    <a:pt x="101250" y="0"/>
                  </a:cubicBezTo>
                  <a:lnTo>
                    <a:pt x="113522" y="0"/>
                  </a:lnTo>
                  <a:cubicBezTo>
                    <a:pt x="113522" y="0"/>
                    <a:pt x="79773" y="322159"/>
                    <a:pt x="67499" y="441818"/>
                  </a:cubicBezTo>
                  <a:cubicBezTo>
                    <a:pt x="67499" y="444886"/>
                    <a:pt x="67499" y="444886"/>
                    <a:pt x="64432" y="444886"/>
                  </a:cubicBezTo>
                  <a:cubicBezTo>
                    <a:pt x="64432" y="444886"/>
                    <a:pt x="27613" y="472500"/>
                    <a:pt x="6136" y="484773"/>
                  </a:cubicBezTo>
                  <a:cubicBezTo>
                    <a:pt x="9204" y="481704"/>
                    <a:pt x="6136" y="484773"/>
                    <a:pt x="6136" y="484773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18CD6AA1-BA87-4CBC-935D-ECE321F07E37}"/>
                </a:ext>
              </a:extLst>
            </p:cNvPr>
            <p:cNvSpPr/>
            <p:nvPr/>
          </p:nvSpPr>
          <p:spPr>
            <a:xfrm>
              <a:off x="11510326" y="8486963"/>
              <a:ext cx="423601" cy="587726"/>
            </a:xfrm>
            <a:custGeom>
              <a:avLst/>
              <a:gdLst>
                <a:gd name="connsiteX0" fmla="*/ 0 w 423601"/>
                <a:gd name="connsiteY0" fmla="*/ 543364 h 587726"/>
                <a:gd name="connsiteX1" fmla="*/ 263864 w 423601"/>
                <a:gd name="connsiteY1" fmla="*/ 296 h 587726"/>
                <a:gd name="connsiteX2" fmla="*/ 423410 w 423601"/>
                <a:gd name="connsiteY2" fmla="*/ 570978 h 587726"/>
                <a:gd name="connsiteX3" fmla="*/ 0 w 423601"/>
                <a:gd name="connsiteY3" fmla="*/ 543364 h 587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601" h="587726">
                  <a:moveTo>
                    <a:pt x="0" y="543364"/>
                  </a:moveTo>
                  <a:cubicBezTo>
                    <a:pt x="0" y="543364"/>
                    <a:pt x="116591" y="15637"/>
                    <a:pt x="263864" y="296"/>
                  </a:cubicBezTo>
                  <a:cubicBezTo>
                    <a:pt x="435682" y="-15045"/>
                    <a:pt x="423410" y="570978"/>
                    <a:pt x="423410" y="570978"/>
                  </a:cubicBezTo>
                  <a:cubicBezTo>
                    <a:pt x="423410" y="570978"/>
                    <a:pt x="199432" y="623137"/>
                    <a:pt x="0" y="543364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DDE1187B-56D1-4952-9ECF-D58540AB366A}"/>
                </a:ext>
              </a:extLst>
            </p:cNvPr>
            <p:cNvSpPr/>
            <p:nvPr/>
          </p:nvSpPr>
          <p:spPr>
            <a:xfrm>
              <a:off x="11769851" y="8479851"/>
              <a:ext cx="173088" cy="599566"/>
            </a:xfrm>
            <a:custGeom>
              <a:avLst/>
              <a:gdLst>
                <a:gd name="connsiteX0" fmla="*/ 35021 w 173088"/>
                <a:gd name="connsiteY0" fmla="*/ 599566 h 599566"/>
                <a:gd name="connsiteX1" fmla="*/ 28885 w 173088"/>
                <a:gd name="connsiteY1" fmla="*/ 599566 h 599566"/>
                <a:gd name="connsiteX2" fmla="*/ 22748 w 173088"/>
                <a:gd name="connsiteY2" fmla="*/ 593430 h 599566"/>
                <a:gd name="connsiteX3" fmla="*/ 28885 w 173088"/>
                <a:gd name="connsiteY3" fmla="*/ 587293 h 599566"/>
                <a:gd name="connsiteX4" fmla="*/ 157748 w 173088"/>
                <a:gd name="connsiteY4" fmla="*/ 571953 h 599566"/>
                <a:gd name="connsiteX5" fmla="*/ 133203 w 173088"/>
                <a:gd name="connsiteY5" fmla="*/ 216044 h 599566"/>
                <a:gd name="connsiteX6" fmla="*/ 4339 w 173088"/>
                <a:gd name="connsiteY6" fmla="*/ 10476 h 599566"/>
                <a:gd name="connsiteX7" fmla="*/ 1271 w 173088"/>
                <a:gd name="connsiteY7" fmla="*/ 4339 h 599566"/>
                <a:gd name="connsiteX8" fmla="*/ 7407 w 173088"/>
                <a:gd name="connsiteY8" fmla="*/ 1271 h 599566"/>
                <a:gd name="connsiteX9" fmla="*/ 145475 w 173088"/>
                <a:gd name="connsiteY9" fmla="*/ 216044 h 599566"/>
                <a:gd name="connsiteX10" fmla="*/ 173089 w 173088"/>
                <a:gd name="connsiteY10" fmla="*/ 578089 h 599566"/>
                <a:gd name="connsiteX11" fmla="*/ 173089 w 173088"/>
                <a:gd name="connsiteY11" fmla="*/ 581157 h 599566"/>
                <a:gd name="connsiteX12" fmla="*/ 170021 w 173088"/>
                <a:gd name="connsiteY12" fmla="*/ 581157 h 599566"/>
                <a:gd name="connsiteX13" fmla="*/ 35021 w 173088"/>
                <a:gd name="connsiteY13" fmla="*/ 599566 h 599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3088" h="599566">
                  <a:moveTo>
                    <a:pt x="35021" y="599566"/>
                  </a:moveTo>
                  <a:cubicBezTo>
                    <a:pt x="31952" y="599566"/>
                    <a:pt x="28885" y="599566"/>
                    <a:pt x="28885" y="599566"/>
                  </a:cubicBezTo>
                  <a:cubicBezTo>
                    <a:pt x="25817" y="599566"/>
                    <a:pt x="22748" y="596498"/>
                    <a:pt x="22748" y="593430"/>
                  </a:cubicBezTo>
                  <a:cubicBezTo>
                    <a:pt x="22748" y="590362"/>
                    <a:pt x="25817" y="587293"/>
                    <a:pt x="28885" y="587293"/>
                  </a:cubicBezTo>
                  <a:cubicBezTo>
                    <a:pt x="84112" y="587293"/>
                    <a:pt x="142407" y="575021"/>
                    <a:pt x="157748" y="571953"/>
                  </a:cubicBezTo>
                  <a:cubicBezTo>
                    <a:pt x="157748" y="544339"/>
                    <a:pt x="151612" y="381725"/>
                    <a:pt x="133203" y="216044"/>
                  </a:cubicBezTo>
                  <a:cubicBezTo>
                    <a:pt x="111725" y="38089"/>
                    <a:pt x="4339" y="10476"/>
                    <a:pt x="4339" y="10476"/>
                  </a:cubicBezTo>
                  <a:cubicBezTo>
                    <a:pt x="1271" y="10476"/>
                    <a:pt x="-1797" y="7407"/>
                    <a:pt x="1271" y="4339"/>
                  </a:cubicBezTo>
                  <a:cubicBezTo>
                    <a:pt x="1271" y="1271"/>
                    <a:pt x="4339" y="-1797"/>
                    <a:pt x="7407" y="1271"/>
                  </a:cubicBezTo>
                  <a:cubicBezTo>
                    <a:pt x="13544" y="1271"/>
                    <a:pt x="123998" y="28884"/>
                    <a:pt x="145475" y="216044"/>
                  </a:cubicBezTo>
                  <a:cubicBezTo>
                    <a:pt x="166953" y="397066"/>
                    <a:pt x="173089" y="575021"/>
                    <a:pt x="173089" y="578089"/>
                  </a:cubicBezTo>
                  <a:lnTo>
                    <a:pt x="173089" y="581157"/>
                  </a:lnTo>
                  <a:lnTo>
                    <a:pt x="170021" y="581157"/>
                  </a:lnTo>
                  <a:cubicBezTo>
                    <a:pt x="166953" y="584226"/>
                    <a:pt x="99453" y="599566"/>
                    <a:pt x="35021" y="599566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E5842178-8359-4614-96C2-94BB2E381D1E}"/>
                </a:ext>
              </a:extLst>
            </p:cNvPr>
            <p:cNvGrpSpPr/>
            <p:nvPr/>
          </p:nvGrpSpPr>
          <p:grpSpPr>
            <a:xfrm>
              <a:off x="12301917" y="8830895"/>
              <a:ext cx="1264090" cy="960340"/>
              <a:chOff x="12301917" y="8830895"/>
              <a:chExt cx="1264090" cy="960340"/>
            </a:xfrm>
          </p:grpSpPr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BC731194-70F7-420C-B020-445E075015DA}"/>
                  </a:ext>
                </a:extLst>
              </p:cNvPr>
              <p:cNvSpPr/>
              <p:nvPr/>
            </p:nvSpPr>
            <p:spPr>
              <a:xfrm>
                <a:off x="12519758" y="9395440"/>
                <a:ext cx="1046249" cy="395795"/>
              </a:xfrm>
              <a:custGeom>
                <a:avLst/>
                <a:gdLst>
                  <a:gd name="connsiteX0" fmla="*/ 0 w 1046249"/>
                  <a:gd name="connsiteY0" fmla="*/ 0 h 395795"/>
                  <a:gd name="connsiteX1" fmla="*/ 1046251 w 1046249"/>
                  <a:gd name="connsiteY1" fmla="*/ 0 h 395795"/>
                  <a:gd name="connsiteX2" fmla="*/ 1046251 w 1046249"/>
                  <a:gd name="connsiteY2" fmla="*/ 395795 h 395795"/>
                  <a:gd name="connsiteX3" fmla="*/ 0 w 1046249"/>
                  <a:gd name="connsiteY3" fmla="*/ 395795 h 395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249" h="395795">
                    <a:moveTo>
                      <a:pt x="0" y="0"/>
                    </a:moveTo>
                    <a:lnTo>
                      <a:pt x="1046251" y="0"/>
                    </a:lnTo>
                    <a:lnTo>
                      <a:pt x="1046251" y="395795"/>
                    </a:lnTo>
                    <a:lnTo>
                      <a:pt x="0" y="395795"/>
                    </a:lnTo>
                    <a:close/>
                  </a:path>
                </a:pathLst>
              </a:custGeom>
              <a:solidFill>
                <a:srgbClr val="748DB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A8907C95-DD95-4F81-BA39-0AD68B074285}"/>
                  </a:ext>
                </a:extLst>
              </p:cNvPr>
              <p:cNvSpPr/>
              <p:nvPr/>
            </p:nvSpPr>
            <p:spPr>
              <a:xfrm>
                <a:off x="12301917" y="9395440"/>
                <a:ext cx="1046249" cy="395795"/>
              </a:xfrm>
              <a:custGeom>
                <a:avLst/>
                <a:gdLst>
                  <a:gd name="connsiteX0" fmla="*/ 0 w 1046249"/>
                  <a:gd name="connsiteY0" fmla="*/ 0 h 395795"/>
                  <a:gd name="connsiteX1" fmla="*/ 1046250 w 1046249"/>
                  <a:gd name="connsiteY1" fmla="*/ 0 h 395795"/>
                  <a:gd name="connsiteX2" fmla="*/ 1046250 w 1046249"/>
                  <a:gd name="connsiteY2" fmla="*/ 395795 h 395795"/>
                  <a:gd name="connsiteX3" fmla="*/ 0 w 1046249"/>
                  <a:gd name="connsiteY3" fmla="*/ 395795 h 395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6249" h="395795">
                    <a:moveTo>
                      <a:pt x="0" y="0"/>
                    </a:moveTo>
                    <a:lnTo>
                      <a:pt x="1046250" y="0"/>
                    </a:lnTo>
                    <a:lnTo>
                      <a:pt x="1046250" y="395795"/>
                    </a:lnTo>
                    <a:lnTo>
                      <a:pt x="0" y="395795"/>
                    </a:lnTo>
                    <a:close/>
                  </a:path>
                </a:pathLst>
              </a:custGeom>
              <a:solidFill>
                <a:srgbClr val="7F95BC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82DC677F-B19E-4EB5-9CAD-26C955B92648}"/>
                  </a:ext>
                </a:extLst>
              </p:cNvPr>
              <p:cNvSpPr/>
              <p:nvPr/>
            </p:nvSpPr>
            <p:spPr>
              <a:xfrm>
                <a:off x="12697713" y="9125440"/>
                <a:ext cx="770113" cy="270000"/>
              </a:xfrm>
              <a:custGeom>
                <a:avLst/>
                <a:gdLst>
                  <a:gd name="connsiteX0" fmla="*/ 0 w 770113"/>
                  <a:gd name="connsiteY0" fmla="*/ 0 h 270000"/>
                  <a:gd name="connsiteX1" fmla="*/ 770114 w 770113"/>
                  <a:gd name="connsiteY1" fmla="*/ 0 h 270000"/>
                  <a:gd name="connsiteX2" fmla="*/ 770114 w 770113"/>
                  <a:gd name="connsiteY2" fmla="*/ 270000 h 270000"/>
                  <a:gd name="connsiteX3" fmla="*/ 0 w 770113"/>
                  <a:gd name="connsiteY3" fmla="*/ 270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0113" h="270000">
                    <a:moveTo>
                      <a:pt x="0" y="0"/>
                    </a:moveTo>
                    <a:lnTo>
                      <a:pt x="770114" y="0"/>
                    </a:lnTo>
                    <a:lnTo>
                      <a:pt x="770114" y="270000"/>
                    </a:lnTo>
                    <a:lnTo>
                      <a:pt x="0" y="270000"/>
                    </a:lnTo>
                    <a:close/>
                  </a:path>
                </a:pathLst>
              </a:custGeom>
              <a:solidFill>
                <a:srgbClr val="C6554F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0B781B66-AE9F-49CE-995C-64D2C2750175}"/>
                  </a:ext>
                </a:extLst>
              </p:cNvPr>
              <p:cNvSpPr/>
              <p:nvPr/>
            </p:nvSpPr>
            <p:spPr>
              <a:xfrm>
                <a:off x="12538167" y="9125440"/>
                <a:ext cx="770113" cy="270000"/>
              </a:xfrm>
              <a:custGeom>
                <a:avLst/>
                <a:gdLst>
                  <a:gd name="connsiteX0" fmla="*/ 0 w 770113"/>
                  <a:gd name="connsiteY0" fmla="*/ 0 h 270000"/>
                  <a:gd name="connsiteX1" fmla="*/ 770113 w 770113"/>
                  <a:gd name="connsiteY1" fmla="*/ 0 h 270000"/>
                  <a:gd name="connsiteX2" fmla="*/ 770113 w 770113"/>
                  <a:gd name="connsiteY2" fmla="*/ 270000 h 270000"/>
                  <a:gd name="connsiteX3" fmla="*/ 0 w 770113"/>
                  <a:gd name="connsiteY3" fmla="*/ 270000 h 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0113" h="270000">
                    <a:moveTo>
                      <a:pt x="0" y="0"/>
                    </a:moveTo>
                    <a:lnTo>
                      <a:pt x="770113" y="0"/>
                    </a:lnTo>
                    <a:lnTo>
                      <a:pt x="770113" y="270000"/>
                    </a:lnTo>
                    <a:lnTo>
                      <a:pt x="0" y="270000"/>
                    </a:lnTo>
                    <a:close/>
                  </a:path>
                </a:pathLst>
              </a:custGeom>
              <a:solidFill>
                <a:srgbClr val="D16156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43F05496-4963-460C-8991-E81217398E7D}"/>
                  </a:ext>
                </a:extLst>
              </p:cNvPr>
              <p:cNvSpPr/>
              <p:nvPr/>
            </p:nvSpPr>
            <p:spPr>
              <a:xfrm>
                <a:off x="12734531" y="8830895"/>
                <a:ext cx="543068" cy="297613"/>
              </a:xfrm>
              <a:custGeom>
                <a:avLst/>
                <a:gdLst>
                  <a:gd name="connsiteX0" fmla="*/ 0 w 543068"/>
                  <a:gd name="connsiteY0" fmla="*/ 0 h 297613"/>
                  <a:gd name="connsiteX1" fmla="*/ 543069 w 543068"/>
                  <a:gd name="connsiteY1" fmla="*/ 0 h 297613"/>
                  <a:gd name="connsiteX2" fmla="*/ 543069 w 543068"/>
                  <a:gd name="connsiteY2" fmla="*/ 297613 h 297613"/>
                  <a:gd name="connsiteX3" fmla="*/ 0 w 543068"/>
                  <a:gd name="connsiteY3" fmla="*/ 297613 h 297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3068" h="297613">
                    <a:moveTo>
                      <a:pt x="0" y="0"/>
                    </a:moveTo>
                    <a:lnTo>
                      <a:pt x="543069" y="0"/>
                    </a:lnTo>
                    <a:lnTo>
                      <a:pt x="543069" y="297613"/>
                    </a:lnTo>
                    <a:lnTo>
                      <a:pt x="0" y="297613"/>
                    </a:lnTo>
                    <a:close/>
                  </a:path>
                </a:pathLst>
              </a:custGeom>
              <a:solidFill>
                <a:srgbClr val="38333D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991B6CB8-F953-4F70-B28F-4E0E0F95AE59}"/>
                  </a:ext>
                </a:extLst>
              </p:cNvPr>
              <p:cNvSpPr/>
              <p:nvPr/>
            </p:nvSpPr>
            <p:spPr>
              <a:xfrm>
                <a:off x="12624076" y="8830895"/>
                <a:ext cx="543068" cy="297613"/>
              </a:xfrm>
              <a:custGeom>
                <a:avLst/>
                <a:gdLst>
                  <a:gd name="connsiteX0" fmla="*/ 0 w 543068"/>
                  <a:gd name="connsiteY0" fmla="*/ 0 h 297613"/>
                  <a:gd name="connsiteX1" fmla="*/ 543069 w 543068"/>
                  <a:gd name="connsiteY1" fmla="*/ 0 h 297613"/>
                  <a:gd name="connsiteX2" fmla="*/ 543069 w 543068"/>
                  <a:gd name="connsiteY2" fmla="*/ 297613 h 297613"/>
                  <a:gd name="connsiteX3" fmla="*/ 0 w 543068"/>
                  <a:gd name="connsiteY3" fmla="*/ 297613 h 297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3068" h="297613">
                    <a:moveTo>
                      <a:pt x="0" y="0"/>
                    </a:moveTo>
                    <a:lnTo>
                      <a:pt x="543069" y="0"/>
                    </a:lnTo>
                    <a:lnTo>
                      <a:pt x="543069" y="297613"/>
                    </a:lnTo>
                    <a:lnTo>
                      <a:pt x="0" y="297613"/>
                    </a:lnTo>
                    <a:close/>
                  </a:path>
                </a:pathLst>
              </a:custGeom>
              <a:solidFill>
                <a:srgbClr val="6C5D6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23A0D0F3-CE79-45A5-9FA0-CC38952040B2}"/>
                </a:ext>
              </a:extLst>
            </p:cNvPr>
            <p:cNvGrpSpPr/>
            <p:nvPr/>
          </p:nvGrpSpPr>
          <p:grpSpPr>
            <a:xfrm>
              <a:off x="12243802" y="9619077"/>
              <a:ext cx="361864" cy="215604"/>
              <a:chOff x="12243802" y="9619077"/>
              <a:chExt cx="361864" cy="215604"/>
            </a:xfrm>
          </p:grpSpPr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26D3D6C8-7A13-44FC-95D4-F9C6D08A2905}"/>
                  </a:ext>
                </a:extLst>
              </p:cNvPr>
              <p:cNvSpPr/>
              <p:nvPr/>
            </p:nvSpPr>
            <p:spPr>
              <a:xfrm>
                <a:off x="12243802" y="9619077"/>
                <a:ext cx="361864" cy="215604"/>
              </a:xfrm>
              <a:custGeom>
                <a:avLst/>
                <a:gdLst>
                  <a:gd name="connsiteX0" fmla="*/ 15161 w 361864"/>
                  <a:gd name="connsiteY0" fmla="*/ 166023 h 215604"/>
                  <a:gd name="connsiteX1" fmla="*/ 21297 w 361864"/>
                  <a:gd name="connsiteY1" fmla="*/ 178296 h 215604"/>
                  <a:gd name="connsiteX2" fmla="*/ 202319 w 361864"/>
                  <a:gd name="connsiteY2" fmla="*/ 212045 h 215604"/>
                  <a:gd name="connsiteX3" fmla="*/ 343456 w 361864"/>
                  <a:gd name="connsiteY3" fmla="*/ 141477 h 215604"/>
                  <a:gd name="connsiteX4" fmla="*/ 331183 w 361864"/>
                  <a:gd name="connsiteY4" fmla="*/ 126137 h 215604"/>
                  <a:gd name="connsiteX5" fmla="*/ 288229 w 361864"/>
                  <a:gd name="connsiteY5" fmla="*/ 138409 h 215604"/>
                  <a:gd name="connsiteX6" fmla="*/ 337320 w 361864"/>
                  <a:gd name="connsiteY6" fmla="*/ 110796 h 215604"/>
                  <a:gd name="connsiteX7" fmla="*/ 361865 w 361864"/>
                  <a:gd name="connsiteY7" fmla="*/ 80114 h 215604"/>
                  <a:gd name="connsiteX8" fmla="*/ 346524 w 361864"/>
                  <a:gd name="connsiteY8" fmla="*/ 67841 h 215604"/>
                  <a:gd name="connsiteX9" fmla="*/ 352661 w 361864"/>
                  <a:gd name="connsiteY9" fmla="*/ 64773 h 215604"/>
                  <a:gd name="connsiteX10" fmla="*/ 331183 w 361864"/>
                  <a:gd name="connsiteY10" fmla="*/ 52500 h 215604"/>
                  <a:gd name="connsiteX11" fmla="*/ 150161 w 361864"/>
                  <a:gd name="connsiteY11" fmla="*/ 89318 h 215604"/>
                  <a:gd name="connsiteX12" fmla="*/ 186978 w 361864"/>
                  <a:gd name="connsiteY12" fmla="*/ 43295 h 215604"/>
                  <a:gd name="connsiteX13" fmla="*/ 242206 w 361864"/>
                  <a:gd name="connsiteY13" fmla="*/ 24887 h 215604"/>
                  <a:gd name="connsiteX14" fmla="*/ 208456 w 361864"/>
                  <a:gd name="connsiteY14" fmla="*/ 341 h 215604"/>
                  <a:gd name="connsiteX15" fmla="*/ 140956 w 361864"/>
                  <a:gd name="connsiteY15" fmla="*/ 9546 h 215604"/>
                  <a:gd name="connsiteX16" fmla="*/ 55047 w 361864"/>
                  <a:gd name="connsiteY16" fmla="*/ 43295 h 215604"/>
                  <a:gd name="connsiteX17" fmla="*/ 15161 w 361864"/>
                  <a:gd name="connsiteY17" fmla="*/ 166023 h 215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1864" h="215604">
                    <a:moveTo>
                      <a:pt x="15161" y="166023"/>
                    </a:moveTo>
                    <a:cubicBezTo>
                      <a:pt x="15161" y="169091"/>
                      <a:pt x="15161" y="175228"/>
                      <a:pt x="21297" y="178296"/>
                    </a:cubicBezTo>
                    <a:cubicBezTo>
                      <a:pt x="67319" y="202841"/>
                      <a:pt x="144024" y="224319"/>
                      <a:pt x="202319" y="212045"/>
                    </a:cubicBezTo>
                    <a:cubicBezTo>
                      <a:pt x="239138" y="202841"/>
                      <a:pt x="340387" y="159887"/>
                      <a:pt x="343456" y="141477"/>
                    </a:cubicBezTo>
                    <a:cubicBezTo>
                      <a:pt x="343456" y="138409"/>
                      <a:pt x="334252" y="129205"/>
                      <a:pt x="331183" y="126137"/>
                    </a:cubicBezTo>
                    <a:cubicBezTo>
                      <a:pt x="325046" y="123068"/>
                      <a:pt x="294365" y="138409"/>
                      <a:pt x="288229" y="138409"/>
                    </a:cubicBezTo>
                    <a:cubicBezTo>
                      <a:pt x="303570" y="129205"/>
                      <a:pt x="321979" y="123068"/>
                      <a:pt x="337320" y="110796"/>
                    </a:cubicBezTo>
                    <a:cubicBezTo>
                      <a:pt x="349592" y="101591"/>
                      <a:pt x="361865" y="92386"/>
                      <a:pt x="361865" y="80114"/>
                    </a:cubicBezTo>
                    <a:cubicBezTo>
                      <a:pt x="361865" y="64773"/>
                      <a:pt x="355728" y="67841"/>
                      <a:pt x="346524" y="67841"/>
                    </a:cubicBezTo>
                    <a:cubicBezTo>
                      <a:pt x="346524" y="67841"/>
                      <a:pt x="352661" y="64773"/>
                      <a:pt x="352661" y="64773"/>
                    </a:cubicBezTo>
                    <a:cubicBezTo>
                      <a:pt x="355728" y="61705"/>
                      <a:pt x="334252" y="55569"/>
                      <a:pt x="331183" y="52500"/>
                    </a:cubicBezTo>
                    <a:cubicBezTo>
                      <a:pt x="315842" y="27954"/>
                      <a:pt x="180842" y="126137"/>
                      <a:pt x="150161" y="89318"/>
                    </a:cubicBezTo>
                    <a:cubicBezTo>
                      <a:pt x="153229" y="80114"/>
                      <a:pt x="168570" y="55569"/>
                      <a:pt x="186978" y="43295"/>
                    </a:cubicBezTo>
                    <a:cubicBezTo>
                      <a:pt x="229934" y="43295"/>
                      <a:pt x="245274" y="37159"/>
                      <a:pt x="242206" y="24887"/>
                    </a:cubicBezTo>
                    <a:cubicBezTo>
                      <a:pt x="242206" y="18750"/>
                      <a:pt x="220728" y="341"/>
                      <a:pt x="208456" y="341"/>
                    </a:cubicBezTo>
                    <a:cubicBezTo>
                      <a:pt x="180842" y="341"/>
                      <a:pt x="174706" y="-2727"/>
                      <a:pt x="140956" y="9546"/>
                    </a:cubicBezTo>
                    <a:cubicBezTo>
                      <a:pt x="113342" y="18750"/>
                      <a:pt x="85729" y="34091"/>
                      <a:pt x="55047" y="43295"/>
                    </a:cubicBezTo>
                    <a:cubicBezTo>
                      <a:pt x="-9385" y="58636"/>
                      <a:pt x="-9385" y="123068"/>
                      <a:pt x="15161" y="166023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63AAEF05-5205-427E-AD6C-978CD3592463}"/>
                  </a:ext>
                </a:extLst>
              </p:cNvPr>
              <p:cNvSpPr/>
              <p:nvPr/>
            </p:nvSpPr>
            <p:spPr>
              <a:xfrm>
                <a:off x="12443054" y="9678568"/>
                <a:ext cx="156476" cy="112667"/>
              </a:xfrm>
              <a:custGeom>
                <a:avLst/>
                <a:gdLst>
                  <a:gd name="connsiteX0" fmla="*/ 36818 w 156476"/>
                  <a:gd name="connsiteY0" fmla="*/ 112668 h 112667"/>
                  <a:gd name="connsiteX1" fmla="*/ 30682 w 156476"/>
                  <a:gd name="connsiteY1" fmla="*/ 109599 h 112667"/>
                  <a:gd name="connsiteX2" fmla="*/ 33749 w 156476"/>
                  <a:gd name="connsiteY2" fmla="*/ 103464 h 112667"/>
                  <a:gd name="connsiteX3" fmla="*/ 119659 w 156476"/>
                  <a:gd name="connsiteY3" fmla="*/ 54372 h 112667"/>
                  <a:gd name="connsiteX4" fmla="*/ 144204 w 156476"/>
                  <a:gd name="connsiteY4" fmla="*/ 23691 h 112667"/>
                  <a:gd name="connsiteX5" fmla="*/ 141136 w 156476"/>
                  <a:gd name="connsiteY5" fmla="*/ 14486 h 112667"/>
                  <a:gd name="connsiteX6" fmla="*/ 104318 w 156476"/>
                  <a:gd name="connsiteY6" fmla="*/ 39032 h 112667"/>
                  <a:gd name="connsiteX7" fmla="*/ 6136 w 156476"/>
                  <a:gd name="connsiteY7" fmla="*/ 94258 h 112667"/>
                  <a:gd name="connsiteX8" fmla="*/ 0 w 156476"/>
                  <a:gd name="connsiteY8" fmla="*/ 88123 h 112667"/>
                  <a:gd name="connsiteX9" fmla="*/ 6136 w 156476"/>
                  <a:gd name="connsiteY9" fmla="*/ 81986 h 112667"/>
                  <a:gd name="connsiteX10" fmla="*/ 98181 w 156476"/>
                  <a:gd name="connsiteY10" fmla="*/ 26759 h 112667"/>
                  <a:gd name="connsiteX11" fmla="*/ 147272 w 156476"/>
                  <a:gd name="connsiteY11" fmla="*/ 2213 h 112667"/>
                  <a:gd name="connsiteX12" fmla="*/ 156477 w 156476"/>
                  <a:gd name="connsiteY12" fmla="*/ 20622 h 112667"/>
                  <a:gd name="connsiteX13" fmla="*/ 125795 w 156476"/>
                  <a:gd name="connsiteY13" fmla="*/ 60508 h 112667"/>
                  <a:gd name="connsiteX14" fmla="*/ 36818 w 156476"/>
                  <a:gd name="connsiteY14" fmla="*/ 112668 h 112667"/>
                  <a:gd name="connsiteX15" fmla="*/ 36818 w 156476"/>
                  <a:gd name="connsiteY15" fmla="*/ 112668 h 112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6476" h="112667">
                    <a:moveTo>
                      <a:pt x="36818" y="112668"/>
                    </a:moveTo>
                    <a:cubicBezTo>
                      <a:pt x="33749" y="112668"/>
                      <a:pt x="33749" y="112668"/>
                      <a:pt x="30682" y="109599"/>
                    </a:cubicBezTo>
                    <a:cubicBezTo>
                      <a:pt x="30682" y="106531"/>
                      <a:pt x="30682" y="103464"/>
                      <a:pt x="33749" y="103464"/>
                    </a:cubicBezTo>
                    <a:cubicBezTo>
                      <a:pt x="33749" y="103464"/>
                      <a:pt x="98181" y="72782"/>
                      <a:pt x="119659" y="54372"/>
                    </a:cubicBezTo>
                    <a:cubicBezTo>
                      <a:pt x="131931" y="42100"/>
                      <a:pt x="144204" y="32895"/>
                      <a:pt x="144204" y="23691"/>
                    </a:cubicBezTo>
                    <a:cubicBezTo>
                      <a:pt x="144204" y="20622"/>
                      <a:pt x="144204" y="17554"/>
                      <a:pt x="141136" y="14486"/>
                    </a:cubicBezTo>
                    <a:cubicBezTo>
                      <a:pt x="135000" y="17554"/>
                      <a:pt x="119659" y="29826"/>
                      <a:pt x="104318" y="39032"/>
                    </a:cubicBezTo>
                    <a:cubicBezTo>
                      <a:pt x="73636" y="63577"/>
                      <a:pt x="33749" y="91190"/>
                      <a:pt x="6136" y="94258"/>
                    </a:cubicBezTo>
                    <a:cubicBezTo>
                      <a:pt x="3067" y="94258"/>
                      <a:pt x="0" y="91190"/>
                      <a:pt x="0" y="88123"/>
                    </a:cubicBezTo>
                    <a:cubicBezTo>
                      <a:pt x="0" y="85054"/>
                      <a:pt x="3067" y="81986"/>
                      <a:pt x="6136" y="81986"/>
                    </a:cubicBezTo>
                    <a:cubicBezTo>
                      <a:pt x="30682" y="78918"/>
                      <a:pt x="70568" y="48236"/>
                      <a:pt x="98181" y="26759"/>
                    </a:cubicBezTo>
                    <a:cubicBezTo>
                      <a:pt x="128863" y="2213"/>
                      <a:pt x="141136" y="-3923"/>
                      <a:pt x="147272" y="2213"/>
                    </a:cubicBezTo>
                    <a:cubicBezTo>
                      <a:pt x="153409" y="8350"/>
                      <a:pt x="156477" y="14486"/>
                      <a:pt x="156477" y="20622"/>
                    </a:cubicBezTo>
                    <a:cubicBezTo>
                      <a:pt x="156477" y="32895"/>
                      <a:pt x="144204" y="45167"/>
                      <a:pt x="125795" y="60508"/>
                    </a:cubicBezTo>
                    <a:cubicBezTo>
                      <a:pt x="107386" y="78918"/>
                      <a:pt x="42954" y="109599"/>
                      <a:pt x="36818" y="112668"/>
                    </a:cubicBezTo>
                    <a:cubicBezTo>
                      <a:pt x="39886" y="112668"/>
                      <a:pt x="39886" y="112668"/>
                      <a:pt x="36818" y="11266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3EACDFF6-E480-41DB-BA7E-3DFB992FAD59}"/>
                  </a:ext>
                </a:extLst>
              </p:cNvPr>
              <p:cNvSpPr/>
              <p:nvPr/>
            </p:nvSpPr>
            <p:spPr>
              <a:xfrm>
                <a:off x="12384758" y="9658710"/>
                <a:ext cx="197131" cy="65025"/>
              </a:xfrm>
              <a:custGeom>
                <a:avLst/>
                <a:gdLst>
                  <a:gd name="connsiteX0" fmla="*/ 42955 w 197131"/>
                  <a:gd name="connsiteY0" fmla="*/ 61958 h 65025"/>
                  <a:gd name="connsiteX1" fmla="*/ 3068 w 197131"/>
                  <a:gd name="connsiteY1" fmla="*/ 52753 h 65025"/>
                  <a:gd name="connsiteX2" fmla="*/ 0 w 197131"/>
                  <a:gd name="connsiteY2" fmla="*/ 46617 h 65025"/>
                  <a:gd name="connsiteX3" fmla="*/ 6137 w 197131"/>
                  <a:gd name="connsiteY3" fmla="*/ 43549 h 65025"/>
                  <a:gd name="connsiteX4" fmla="*/ 42955 w 197131"/>
                  <a:gd name="connsiteY4" fmla="*/ 49685 h 65025"/>
                  <a:gd name="connsiteX5" fmla="*/ 119660 w 197131"/>
                  <a:gd name="connsiteY5" fmla="*/ 19003 h 65025"/>
                  <a:gd name="connsiteX6" fmla="*/ 168750 w 197131"/>
                  <a:gd name="connsiteY6" fmla="*/ 595 h 65025"/>
                  <a:gd name="connsiteX7" fmla="*/ 193296 w 197131"/>
                  <a:gd name="connsiteY7" fmla="*/ 12867 h 65025"/>
                  <a:gd name="connsiteX8" fmla="*/ 196364 w 197131"/>
                  <a:gd name="connsiteY8" fmla="*/ 31277 h 65025"/>
                  <a:gd name="connsiteX9" fmla="*/ 190228 w 197131"/>
                  <a:gd name="connsiteY9" fmla="*/ 34344 h 65025"/>
                  <a:gd name="connsiteX10" fmla="*/ 187159 w 197131"/>
                  <a:gd name="connsiteY10" fmla="*/ 28208 h 65025"/>
                  <a:gd name="connsiteX11" fmla="*/ 187159 w 197131"/>
                  <a:gd name="connsiteY11" fmla="*/ 19003 h 65025"/>
                  <a:gd name="connsiteX12" fmla="*/ 171818 w 197131"/>
                  <a:gd name="connsiteY12" fmla="*/ 12867 h 65025"/>
                  <a:gd name="connsiteX13" fmla="*/ 128864 w 197131"/>
                  <a:gd name="connsiteY13" fmla="*/ 31277 h 65025"/>
                  <a:gd name="connsiteX14" fmla="*/ 49091 w 197131"/>
                  <a:gd name="connsiteY14" fmla="*/ 65026 h 65025"/>
                  <a:gd name="connsiteX15" fmla="*/ 42955 w 197131"/>
                  <a:gd name="connsiteY15" fmla="*/ 61958 h 65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7131" h="65025">
                    <a:moveTo>
                      <a:pt x="42955" y="61958"/>
                    </a:moveTo>
                    <a:cubicBezTo>
                      <a:pt x="27614" y="61958"/>
                      <a:pt x="6137" y="52753"/>
                      <a:pt x="3068" y="52753"/>
                    </a:cubicBezTo>
                    <a:cubicBezTo>
                      <a:pt x="0" y="52753"/>
                      <a:pt x="0" y="49685"/>
                      <a:pt x="0" y="46617"/>
                    </a:cubicBezTo>
                    <a:cubicBezTo>
                      <a:pt x="0" y="43549"/>
                      <a:pt x="3068" y="43549"/>
                      <a:pt x="6137" y="43549"/>
                    </a:cubicBezTo>
                    <a:cubicBezTo>
                      <a:pt x="6137" y="43549"/>
                      <a:pt x="30682" y="52753"/>
                      <a:pt x="42955" y="49685"/>
                    </a:cubicBezTo>
                    <a:cubicBezTo>
                      <a:pt x="73637" y="46617"/>
                      <a:pt x="98182" y="31277"/>
                      <a:pt x="119660" y="19003"/>
                    </a:cubicBezTo>
                    <a:cubicBezTo>
                      <a:pt x="138068" y="6731"/>
                      <a:pt x="153409" y="-2474"/>
                      <a:pt x="168750" y="595"/>
                    </a:cubicBezTo>
                    <a:cubicBezTo>
                      <a:pt x="181023" y="595"/>
                      <a:pt x="187159" y="6731"/>
                      <a:pt x="193296" y="12867"/>
                    </a:cubicBezTo>
                    <a:cubicBezTo>
                      <a:pt x="199432" y="22071"/>
                      <a:pt x="196364" y="28208"/>
                      <a:pt x="196364" y="31277"/>
                    </a:cubicBezTo>
                    <a:cubicBezTo>
                      <a:pt x="196364" y="34344"/>
                      <a:pt x="193296" y="37412"/>
                      <a:pt x="190228" y="34344"/>
                    </a:cubicBezTo>
                    <a:cubicBezTo>
                      <a:pt x="187159" y="34344"/>
                      <a:pt x="187159" y="31277"/>
                      <a:pt x="187159" y="28208"/>
                    </a:cubicBezTo>
                    <a:cubicBezTo>
                      <a:pt x="187159" y="28208"/>
                      <a:pt x="187159" y="25140"/>
                      <a:pt x="187159" y="19003"/>
                    </a:cubicBezTo>
                    <a:cubicBezTo>
                      <a:pt x="184091" y="15936"/>
                      <a:pt x="181023" y="12867"/>
                      <a:pt x="171818" y="12867"/>
                    </a:cubicBezTo>
                    <a:cubicBezTo>
                      <a:pt x="162614" y="12867"/>
                      <a:pt x="147273" y="19003"/>
                      <a:pt x="128864" y="31277"/>
                    </a:cubicBezTo>
                    <a:cubicBezTo>
                      <a:pt x="107386" y="43549"/>
                      <a:pt x="79773" y="58890"/>
                      <a:pt x="49091" y="65026"/>
                    </a:cubicBezTo>
                    <a:cubicBezTo>
                      <a:pt x="46023" y="61958"/>
                      <a:pt x="42955" y="61958"/>
                      <a:pt x="42955" y="6195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1084768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63123390-EB18-476B-BA07-D70622186B66}"/>
              </a:ext>
            </a:extLst>
          </p:cNvPr>
          <p:cNvGrpSpPr/>
          <p:nvPr/>
        </p:nvGrpSpPr>
        <p:grpSpPr>
          <a:xfrm>
            <a:off x="2740219" y="2042640"/>
            <a:ext cx="7452111" cy="4815360"/>
            <a:chOff x="19389919" y="7709626"/>
            <a:chExt cx="7452111" cy="4815360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36236936-D834-4B03-B27E-DD9B87377AED}"/>
                </a:ext>
              </a:extLst>
            </p:cNvPr>
            <p:cNvSpPr/>
            <p:nvPr/>
          </p:nvSpPr>
          <p:spPr>
            <a:xfrm>
              <a:off x="21119872" y="9352486"/>
              <a:ext cx="98182" cy="147272"/>
            </a:xfrm>
            <a:custGeom>
              <a:avLst/>
              <a:gdLst>
                <a:gd name="connsiteX0" fmla="*/ 98182 w 98182"/>
                <a:gd name="connsiteY0" fmla="*/ 0 h 147272"/>
                <a:gd name="connsiteX1" fmla="*/ 0 w 98182"/>
                <a:gd name="connsiteY1" fmla="*/ 0 h 147272"/>
                <a:gd name="connsiteX2" fmla="*/ 6137 w 98182"/>
                <a:gd name="connsiteY2" fmla="*/ 147273 h 147272"/>
                <a:gd name="connsiteX3" fmla="*/ 98182 w 98182"/>
                <a:gd name="connsiteY3" fmla="*/ 128864 h 147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182" h="147272">
                  <a:moveTo>
                    <a:pt x="98182" y="0"/>
                  </a:moveTo>
                  <a:lnTo>
                    <a:pt x="0" y="0"/>
                  </a:lnTo>
                  <a:lnTo>
                    <a:pt x="6137" y="147273"/>
                  </a:lnTo>
                  <a:lnTo>
                    <a:pt x="98182" y="128864"/>
                  </a:ln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D9C63D5B-C06B-47F7-A9CF-ABADA045D347}"/>
                </a:ext>
              </a:extLst>
            </p:cNvPr>
            <p:cNvGrpSpPr/>
            <p:nvPr/>
          </p:nvGrpSpPr>
          <p:grpSpPr>
            <a:xfrm>
              <a:off x="20195365" y="12083168"/>
              <a:ext cx="366865" cy="391674"/>
              <a:chOff x="20195365" y="12083168"/>
              <a:chExt cx="366865" cy="391674"/>
            </a:xfrm>
          </p:grpSpPr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80664F68-13A2-4989-B0FD-678B3E6ACDDB}"/>
                  </a:ext>
                </a:extLst>
              </p:cNvPr>
              <p:cNvSpPr/>
              <p:nvPr/>
            </p:nvSpPr>
            <p:spPr>
              <a:xfrm>
                <a:off x="20195365" y="12212031"/>
                <a:ext cx="366865" cy="262810"/>
              </a:xfrm>
              <a:custGeom>
                <a:avLst/>
                <a:gdLst>
                  <a:gd name="connsiteX0" fmla="*/ 139053 w 366865"/>
                  <a:gd name="connsiteY0" fmla="*/ 0 h 262810"/>
                  <a:gd name="connsiteX1" fmla="*/ 258711 w 366865"/>
                  <a:gd name="connsiteY1" fmla="*/ 165682 h 262810"/>
                  <a:gd name="connsiteX2" fmla="*/ 40871 w 366865"/>
                  <a:gd name="connsiteY2" fmla="*/ 36819 h 262810"/>
                  <a:gd name="connsiteX3" fmla="*/ 19393 w 366865"/>
                  <a:gd name="connsiteY3" fmla="*/ 21478 h 262810"/>
                  <a:gd name="connsiteX4" fmla="*/ 985 w 366865"/>
                  <a:gd name="connsiteY4" fmla="*/ 98182 h 262810"/>
                  <a:gd name="connsiteX5" fmla="*/ 13257 w 366865"/>
                  <a:gd name="connsiteY5" fmla="*/ 236250 h 262810"/>
                  <a:gd name="connsiteX6" fmla="*/ 40871 w 366865"/>
                  <a:gd name="connsiteY6" fmla="*/ 236250 h 262810"/>
                  <a:gd name="connsiteX7" fmla="*/ 56212 w 366865"/>
                  <a:gd name="connsiteY7" fmla="*/ 125796 h 262810"/>
                  <a:gd name="connsiteX8" fmla="*/ 200417 w 366865"/>
                  <a:gd name="connsiteY8" fmla="*/ 257727 h 262810"/>
                  <a:gd name="connsiteX9" fmla="*/ 359961 w 366865"/>
                  <a:gd name="connsiteY9" fmla="*/ 260795 h 262810"/>
                  <a:gd name="connsiteX10" fmla="*/ 359961 w 366865"/>
                  <a:gd name="connsiteY10" fmla="*/ 214773 h 262810"/>
                  <a:gd name="connsiteX11" fmla="*/ 139053 w 366865"/>
                  <a:gd name="connsiteY11" fmla="*/ 0 h 26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6865" h="262810">
                    <a:moveTo>
                      <a:pt x="139053" y="0"/>
                    </a:moveTo>
                    <a:cubicBezTo>
                      <a:pt x="139053" y="0"/>
                      <a:pt x="274052" y="156477"/>
                      <a:pt x="258711" y="165682"/>
                    </a:cubicBezTo>
                    <a:cubicBezTo>
                      <a:pt x="240303" y="174887"/>
                      <a:pt x="40871" y="36819"/>
                      <a:pt x="40871" y="36819"/>
                    </a:cubicBezTo>
                    <a:lnTo>
                      <a:pt x="19393" y="21478"/>
                    </a:lnTo>
                    <a:cubicBezTo>
                      <a:pt x="19393" y="21478"/>
                      <a:pt x="-5152" y="70569"/>
                      <a:pt x="985" y="98182"/>
                    </a:cubicBezTo>
                    <a:cubicBezTo>
                      <a:pt x="7120" y="125796"/>
                      <a:pt x="13257" y="236250"/>
                      <a:pt x="13257" y="236250"/>
                    </a:cubicBezTo>
                    <a:lnTo>
                      <a:pt x="40871" y="236250"/>
                    </a:lnTo>
                    <a:lnTo>
                      <a:pt x="56212" y="125796"/>
                    </a:lnTo>
                    <a:cubicBezTo>
                      <a:pt x="56212" y="125796"/>
                      <a:pt x="178939" y="254660"/>
                      <a:pt x="200417" y="257727"/>
                    </a:cubicBezTo>
                    <a:cubicBezTo>
                      <a:pt x="221893" y="263864"/>
                      <a:pt x="347689" y="263864"/>
                      <a:pt x="359961" y="260795"/>
                    </a:cubicBezTo>
                    <a:cubicBezTo>
                      <a:pt x="369167" y="260795"/>
                      <a:pt x="369167" y="220909"/>
                      <a:pt x="359961" y="214773"/>
                    </a:cubicBezTo>
                    <a:cubicBezTo>
                      <a:pt x="283256" y="171818"/>
                      <a:pt x="139053" y="0"/>
                      <a:pt x="139053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49DD5AD3-78F3-4686-9133-B514DF0F64F8}"/>
                  </a:ext>
                </a:extLst>
              </p:cNvPr>
              <p:cNvSpPr/>
              <p:nvPr/>
            </p:nvSpPr>
            <p:spPr>
              <a:xfrm>
                <a:off x="20217793" y="12083168"/>
                <a:ext cx="238506" cy="296298"/>
              </a:xfrm>
              <a:custGeom>
                <a:avLst/>
                <a:gdLst>
                  <a:gd name="connsiteX0" fmla="*/ 119692 w 238506"/>
                  <a:gd name="connsiteY0" fmla="*/ 36818 h 296298"/>
                  <a:gd name="connsiteX1" fmla="*/ 116624 w 238506"/>
                  <a:gd name="connsiteY1" fmla="*/ 128863 h 296298"/>
                  <a:gd name="connsiteX2" fmla="*/ 236282 w 238506"/>
                  <a:gd name="connsiteY2" fmla="*/ 294545 h 296298"/>
                  <a:gd name="connsiteX3" fmla="*/ 32 w 238506"/>
                  <a:gd name="connsiteY3" fmla="*/ 150341 h 296298"/>
                  <a:gd name="connsiteX4" fmla="*/ 3101 w 238506"/>
                  <a:gd name="connsiteY4" fmla="*/ 0 h 296298"/>
                  <a:gd name="connsiteX5" fmla="*/ 119692 w 238506"/>
                  <a:gd name="connsiteY5" fmla="*/ 36818 h 29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8506" h="296298">
                    <a:moveTo>
                      <a:pt x="119692" y="36818"/>
                    </a:moveTo>
                    <a:lnTo>
                      <a:pt x="116624" y="128863"/>
                    </a:lnTo>
                    <a:cubicBezTo>
                      <a:pt x="116624" y="128863"/>
                      <a:pt x="257760" y="279204"/>
                      <a:pt x="236282" y="294545"/>
                    </a:cubicBezTo>
                    <a:cubicBezTo>
                      <a:pt x="214805" y="312954"/>
                      <a:pt x="-3035" y="181023"/>
                      <a:pt x="32" y="150341"/>
                    </a:cubicBezTo>
                    <a:cubicBezTo>
                      <a:pt x="32" y="101250"/>
                      <a:pt x="3101" y="0"/>
                      <a:pt x="3101" y="0"/>
                    </a:cubicBezTo>
                    <a:lnTo>
                      <a:pt x="119692" y="36818"/>
                    </a:ln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8AFB1CF7-7C2B-484B-807D-1B4285D84F10}"/>
                </a:ext>
              </a:extLst>
            </p:cNvPr>
            <p:cNvSpPr/>
            <p:nvPr/>
          </p:nvSpPr>
          <p:spPr>
            <a:xfrm>
              <a:off x="19422400" y="12212031"/>
              <a:ext cx="366865" cy="262810"/>
            </a:xfrm>
            <a:custGeom>
              <a:avLst/>
              <a:gdLst>
                <a:gd name="connsiteX0" fmla="*/ 227812 w 366865"/>
                <a:gd name="connsiteY0" fmla="*/ 0 h 262810"/>
                <a:gd name="connsiteX1" fmla="*/ 108154 w 366865"/>
                <a:gd name="connsiteY1" fmla="*/ 165682 h 262810"/>
                <a:gd name="connsiteX2" fmla="*/ 325994 w 366865"/>
                <a:gd name="connsiteY2" fmla="*/ 36819 h 262810"/>
                <a:gd name="connsiteX3" fmla="*/ 347472 w 366865"/>
                <a:gd name="connsiteY3" fmla="*/ 21478 h 262810"/>
                <a:gd name="connsiteX4" fmla="*/ 365880 w 366865"/>
                <a:gd name="connsiteY4" fmla="*/ 98182 h 262810"/>
                <a:gd name="connsiteX5" fmla="*/ 353609 w 366865"/>
                <a:gd name="connsiteY5" fmla="*/ 236250 h 262810"/>
                <a:gd name="connsiteX6" fmla="*/ 325994 w 366865"/>
                <a:gd name="connsiteY6" fmla="*/ 236250 h 262810"/>
                <a:gd name="connsiteX7" fmla="*/ 310653 w 366865"/>
                <a:gd name="connsiteY7" fmla="*/ 125796 h 262810"/>
                <a:gd name="connsiteX8" fmla="*/ 166448 w 366865"/>
                <a:gd name="connsiteY8" fmla="*/ 257727 h 262810"/>
                <a:gd name="connsiteX9" fmla="*/ 6905 w 366865"/>
                <a:gd name="connsiteY9" fmla="*/ 260795 h 262810"/>
                <a:gd name="connsiteX10" fmla="*/ 6905 w 366865"/>
                <a:gd name="connsiteY10" fmla="*/ 214773 h 262810"/>
                <a:gd name="connsiteX11" fmla="*/ 227812 w 366865"/>
                <a:gd name="connsiteY11" fmla="*/ 0 h 26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6865" h="262810">
                  <a:moveTo>
                    <a:pt x="227812" y="0"/>
                  </a:moveTo>
                  <a:cubicBezTo>
                    <a:pt x="227812" y="0"/>
                    <a:pt x="92813" y="156477"/>
                    <a:pt x="108154" y="165682"/>
                  </a:cubicBezTo>
                  <a:cubicBezTo>
                    <a:pt x="126563" y="174887"/>
                    <a:pt x="325994" y="36819"/>
                    <a:pt x="325994" y="36819"/>
                  </a:cubicBezTo>
                  <a:lnTo>
                    <a:pt x="347472" y="21478"/>
                  </a:lnTo>
                  <a:cubicBezTo>
                    <a:pt x="347472" y="21478"/>
                    <a:pt x="372017" y="70569"/>
                    <a:pt x="365880" y="98182"/>
                  </a:cubicBezTo>
                  <a:cubicBezTo>
                    <a:pt x="359745" y="125796"/>
                    <a:pt x="353609" y="236250"/>
                    <a:pt x="353609" y="236250"/>
                  </a:cubicBezTo>
                  <a:lnTo>
                    <a:pt x="325994" y="236250"/>
                  </a:lnTo>
                  <a:lnTo>
                    <a:pt x="310653" y="125796"/>
                  </a:lnTo>
                  <a:cubicBezTo>
                    <a:pt x="310653" y="125796"/>
                    <a:pt x="187926" y="254660"/>
                    <a:pt x="166448" y="257727"/>
                  </a:cubicBezTo>
                  <a:cubicBezTo>
                    <a:pt x="144973" y="263864"/>
                    <a:pt x="19176" y="263864"/>
                    <a:pt x="6905" y="260795"/>
                  </a:cubicBezTo>
                  <a:cubicBezTo>
                    <a:pt x="-2302" y="260795"/>
                    <a:pt x="-2302" y="220909"/>
                    <a:pt x="6905" y="214773"/>
                  </a:cubicBezTo>
                  <a:cubicBezTo>
                    <a:pt x="83609" y="171818"/>
                    <a:pt x="227812" y="0"/>
                    <a:pt x="227812" y="0"/>
                  </a:cubicBezTo>
                  <a:close/>
                </a:path>
              </a:pathLst>
            </a:custGeom>
            <a:solidFill>
              <a:srgbClr val="7F95BC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F2141BC3-6B62-4967-843F-41B6D66680CE}"/>
                </a:ext>
              </a:extLst>
            </p:cNvPr>
            <p:cNvSpPr/>
            <p:nvPr/>
          </p:nvSpPr>
          <p:spPr>
            <a:xfrm>
              <a:off x="19528330" y="12083168"/>
              <a:ext cx="238506" cy="296298"/>
            </a:xfrm>
            <a:custGeom>
              <a:avLst/>
              <a:gdLst>
                <a:gd name="connsiteX0" fmla="*/ 118815 w 238506"/>
                <a:gd name="connsiteY0" fmla="*/ 36818 h 296298"/>
                <a:gd name="connsiteX1" fmla="*/ 121882 w 238506"/>
                <a:gd name="connsiteY1" fmla="*/ 128863 h 296298"/>
                <a:gd name="connsiteX2" fmla="*/ 2224 w 238506"/>
                <a:gd name="connsiteY2" fmla="*/ 294545 h 296298"/>
                <a:gd name="connsiteX3" fmla="*/ 238475 w 238506"/>
                <a:gd name="connsiteY3" fmla="*/ 150341 h 296298"/>
                <a:gd name="connsiteX4" fmla="*/ 235405 w 238506"/>
                <a:gd name="connsiteY4" fmla="*/ 0 h 296298"/>
                <a:gd name="connsiteX5" fmla="*/ 118815 w 238506"/>
                <a:gd name="connsiteY5" fmla="*/ 36818 h 296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8506" h="296298">
                  <a:moveTo>
                    <a:pt x="118815" y="36818"/>
                  </a:moveTo>
                  <a:lnTo>
                    <a:pt x="121882" y="128863"/>
                  </a:lnTo>
                  <a:cubicBezTo>
                    <a:pt x="121882" y="128863"/>
                    <a:pt x="-19253" y="279204"/>
                    <a:pt x="2224" y="294545"/>
                  </a:cubicBezTo>
                  <a:cubicBezTo>
                    <a:pt x="23702" y="312954"/>
                    <a:pt x="241542" y="181023"/>
                    <a:pt x="238475" y="150341"/>
                  </a:cubicBezTo>
                  <a:cubicBezTo>
                    <a:pt x="238475" y="101250"/>
                    <a:pt x="235405" y="0"/>
                    <a:pt x="235405" y="0"/>
                  </a:cubicBezTo>
                  <a:lnTo>
                    <a:pt x="118815" y="36818"/>
                  </a:ln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C9D12054-D832-4DEF-9F07-0C5502F43213}"/>
                </a:ext>
              </a:extLst>
            </p:cNvPr>
            <p:cNvSpPr/>
            <p:nvPr/>
          </p:nvSpPr>
          <p:spPr>
            <a:xfrm>
              <a:off x="19564453" y="9610213"/>
              <a:ext cx="979544" cy="2528447"/>
            </a:xfrm>
            <a:custGeom>
              <a:avLst/>
              <a:gdLst>
                <a:gd name="connsiteX0" fmla="*/ 852804 w 979544"/>
                <a:gd name="connsiteY0" fmla="*/ 49091 h 2528447"/>
                <a:gd name="connsiteX1" fmla="*/ 187010 w 979544"/>
                <a:gd name="connsiteY1" fmla="*/ 0 h 2528447"/>
                <a:gd name="connsiteX2" fmla="*/ 52010 w 979544"/>
                <a:gd name="connsiteY2" fmla="*/ 325227 h 2528447"/>
                <a:gd name="connsiteX3" fmla="*/ 21328 w 979544"/>
                <a:gd name="connsiteY3" fmla="*/ 2506704 h 2528447"/>
                <a:gd name="connsiteX4" fmla="*/ 260646 w 979544"/>
                <a:gd name="connsiteY4" fmla="*/ 2528182 h 2528447"/>
                <a:gd name="connsiteX5" fmla="*/ 490759 w 979544"/>
                <a:gd name="connsiteY5" fmla="*/ 708750 h 2528447"/>
                <a:gd name="connsiteX6" fmla="*/ 604282 w 979544"/>
                <a:gd name="connsiteY6" fmla="*/ 2522045 h 2528447"/>
                <a:gd name="connsiteX7" fmla="*/ 819055 w 979544"/>
                <a:gd name="connsiteY7" fmla="*/ 2528182 h 2528447"/>
                <a:gd name="connsiteX8" fmla="*/ 975532 w 979544"/>
                <a:gd name="connsiteY8" fmla="*/ 444886 h 2528447"/>
                <a:gd name="connsiteX9" fmla="*/ 852804 w 979544"/>
                <a:gd name="connsiteY9" fmla="*/ 49091 h 2528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9544" h="2528447">
                  <a:moveTo>
                    <a:pt x="852804" y="49091"/>
                  </a:moveTo>
                  <a:cubicBezTo>
                    <a:pt x="852804" y="49091"/>
                    <a:pt x="512237" y="21477"/>
                    <a:pt x="187010" y="0"/>
                  </a:cubicBezTo>
                  <a:cubicBezTo>
                    <a:pt x="150192" y="85909"/>
                    <a:pt x="76555" y="217841"/>
                    <a:pt x="52010" y="325227"/>
                  </a:cubicBezTo>
                  <a:cubicBezTo>
                    <a:pt x="-43103" y="770114"/>
                    <a:pt x="21328" y="2506704"/>
                    <a:pt x="21328" y="2506704"/>
                  </a:cubicBezTo>
                  <a:cubicBezTo>
                    <a:pt x="21328" y="2506704"/>
                    <a:pt x="183941" y="2531250"/>
                    <a:pt x="260646" y="2528182"/>
                  </a:cubicBezTo>
                  <a:lnTo>
                    <a:pt x="490759" y="708750"/>
                  </a:lnTo>
                  <a:lnTo>
                    <a:pt x="604282" y="2522045"/>
                  </a:lnTo>
                  <a:lnTo>
                    <a:pt x="819055" y="2528182"/>
                  </a:lnTo>
                  <a:cubicBezTo>
                    <a:pt x="819055" y="2528182"/>
                    <a:pt x="1009283" y="711818"/>
                    <a:pt x="975532" y="444886"/>
                  </a:cubicBezTo>
                  <a:cubicBezTo>
                    <a:pt x="941782" y="181023"/>
                    <a:pt x="852804" y="49091"/>
                    <a:pt x="852804" y="49091"/>
                  </a:cubicBezTo>
                  <a:close/>
                </a:path>
              </a:pathLst>
            </a:custGeom>
            <a:solidFill>
              <a:srgbClr val="F6EBE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231D1E9B-8C8D-4778-BEB0-3EF4C57C2E5B}"/>
                </a:ext>
              </a:extLst>
            </p:cNvPr>
            <p:cNvSpPr/>
            <p:nvPr/>
          </p:nvSpPr>
          <p:spPr>
            <a:xfrm>
              <a:off x="20241482" y="8736958"/>
              <a:ext cx="930549" cy="845600"/>
            </a:xfrm>
            <a:custGeom>
              <a:avLst/>
              <a:gdLst>
                <a:gd name="connsiteX0" fmla="*/ 22366 w 930549"/>
                <a:gd name="connsiteY0" fmla="*/ 284164 h 845600"/>
                <a:gd name="connsiteX1" fmla="*/ 99071 w 930549"/>
                <a:gd name="connsiteY1" fmla="*/ 1891 h 845600"/>
                <a:gd name="connsiteX2" fmla="*/ 350662 w 930549"/>
                <a:gd name="connsiteY2" fmla="*/ 290301 h 845600"/>
                <a:gd name="connsiteX3" fmla="*/ 501004 w 930549"/>
                <a:gd name="connsiteY3" fmla="*/ 590982 h 845600"/>
                <a:gd name="connsiteX4" fmla="*/ 924412 w 930549"/>
                <a:gd name="connsiteY4" fmla="*/ 578709 h 845600"/>
                <a:gd name="connsiteX5" fmla="*/ 930549 w 930549"/>
                <a:gd name="connsiteY5" fmla="*/ 775073 h 845600"/>
                <a:gd name="connsiteX6" fmla="*/ 369072 w 930549"/>
                <a:gd name="connsiteY6" fmla="*/ 839505 h 845600"/>
                <a:gd name="connsiteX7" fmla="*/ 22366 w 930549"/>
                <a:gd name="connsiteY7" fmla="*/ 284164 h 84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549" h="845600">
                  <a:moveTo>
                    <a:pt x="22366" y="284164"/>
                  </a:moveTo>
                  <a:cubicBezTo>
                    <a:pt x="-32861" y="146096"/>
                    <a:pt x="22366" y="-19586"/>
                    <a:pt x="99071" y="1891"/>
                  </a:cubicBezTo>
                  <a:cubicBezTo>
                    <a:pt x="188049" y="26437"/>
                    <a:pt x="292368" y="121551"/>
                    <a:pt x="350662" y="290301"/>
                  </a:cubicBezTo>
                  <a:cubicBezTo>
                    <a:pt x="384413" y="388482"/>
                    <a:pt x="482593" y="594050"/>
                    <a:pt x="501004" y="590982"/>
                  </a:cubicBezTo>
                  <a:cubicBezTo>
                    <a:pt x="507140" y="590982"/>
                    <a:pt x="924412" y="578709"/>
                    <a:pt x="924412" y="578709"/>
                  </a:cubicBezTo>
                  <a:cubicBezTo>
                    <a:pt x="924412" y="640073"/>
                    <a:pt x="930549" y="775073"/>
                    <a:pt x="930549" y="775073"/>
                  </a:cubicBezTo>
                  <a:cubicBezTo>
                    <a:pt x="930549" y="775073"/>
                    <a:pt x="448844" y="870187"/>
                    <a:pt x="369072" y="839505"/>
                  </a:cubicBezTo>
                  <a:cubicBezTo>
                    <a:pt x="270890" y="799618"/>
                    <a:pt x="89867" y="459051"/>
                    <a:pt x="22366" y="284164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F6FA23D2-98C9-41B9-AE03-EC3B487673E9}"/>
                </a:ext>
              </a:extLst>
            </p:cNvPr>
            <p:cNvSpPr/>
            <p:nvPr/>
          </p:nvSpPr>
          <p:spPr>
            <a:xfrm>
              <a:off x="19691592" y="8676061"/>
              <a:ext cx="825801" cy="992538"/>
            </a:xfrm>
            <a:custGeom>
              <a:avLst/>
              <a:gdLst>
                <a:gd name="connsiteX0" fmla="*/ 44531 w 825801"/>
                <a:gd name="connsiteY0" fmla="*/ 394152 h 992538"/>
                <a:gd name="connsiteX1" fmla="*/ 59872 w 825801"/>
                <a:gd name="connsiteY1" fmla="*/ 68925 h 992538"/>
                <a:gd name="connsiteX2" fmla="*/ 431121 w 825801"/>
                <a:gd name="connsiteY2" fmla="*/ 4493 h 992538"/>
                <a:gd name="connsiteX3" fmla="*/ 734872 w 825801"/>
                <a:gd name="connsiteY3" fmla="*/ 105743 h 992538"/>
                <a:gd name="connsiteX4" fmla="*/ 774758 w 825801"/>
                <a:gd name="connsiteY4" fmla="*/ 658016 h 992538"/>
                <a:gd name="connsiteX5" fmla="*/ 731802 w 825801"/>
                <a:gd name="connsiteY5" fmla="*/ 986311 h 992538"/>
                <a:gd name="connsiteX6" fmla="*/ 50666 w 825801"/>
                <a:gd name="connsiteY6" fmla="*/ 970970 h 992538"/>
                <a:gd name="connsiteX7" fmla="*/ 44531 w 825801"/>
                <a:gd name="connsiteY7" fmla="*/ 394152 h 992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5801" h="992538">
                  <a:moveTo>
                    <a:pt x="44531" y="394152"/>
                  </a:moveTo>
                  <a:cubicBezTo>
                    <a:pt x="35325" y="363470"/>
                    <a:pt x="-59788" y="133357"/>
                    <a:pt x="59872" y="68925"/>
                  </a:cubicBezTo>
                  <a:cubicBezTo>
                    <a:pt x="164189" y="13698"/>
                    <a:pt x="311461" y="-10848"/>
                    <a:pt x="431121" y="4493"/>
                  </a:cubicBezTo>
                  <a:cubicBezTo>
                    <a:pt x="563052" y="19834"/>
                    <a:pt x="694984" y="41311"/>
                    <a:pt x="734872" y="105743"/>
                  </a:cubicBezTo>
                  <a:cubicBezTo>
                    <a:pt x="848393" y="292902"/>
                    <a:pt x="848393" y="458584"/>
                    <a:pt x="774758" y="658016"/>
                  </a:cubicBezTo>
                  <a:cubicBezTo>
                    <a:pt x="753280" y="716311"/>
                    <a:pt x="747143" y="851311"/>
                    <a:pt x="731802" y="986311"/>
                  </a:cubicBezTo>
                  <a:cubicBezTo>
                    <a:pt x="731802" y="986311"/>
                    <a:pt x="446462" y="1007788"/>
                    <a:pt x="50666" y="970970"/>
                  </a:cubicBezTo>
                  <a:cubicBezTo>
                    <a:pt x="78280" y="750061"/>
                    <a:pt x="50666" y="418698"/>
                    <a:pt x="44531" y="394152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3016B4DA-CBAA-4A21-9D7E-37002641A05E}"/>
                </a:ext>
              </a:extLst>
            </p:cNvPr>
            <p:cNvSpPr/>
            <p:nvPr/>
          </p:nvSpPr>
          <p:spPr>
            <a:xfrm>
              <a:off x="19871121" y="8364531"/>
              <a:ext cx="297614" cy="276136"/>
            </a:xfrm>
            <a:custGeom>
              <a:avLst/>
              <a:gdLst>
                <a:gd name="connsiteX0" fmla="*/ 297614 w 297614"/>
                <a:gd name="connsiteY0" fmla="*/ 266932 h 276136"/>
                <a:gd name="connsiteX1" fmla="*/ 15341 w 297614"/>
                <a:gd name="connsiteY1" fmla="*/ 276136 h 276136"/>
                <a:gd name="connsiteX2" fmla="*/ 0 w 297614"/>
                <a:gd name="connsiteY2" fmla="*/ 135000 h 276136"/>
                <a:gd name="connsiteX3" fmla="*/ 3069 w 297614"/>
                <a:gd name="connsiteY3" fmla="*/ 21477 h 276136"/>
                <a:gd name="connsiteX4" fmla="*/ 76705 w 297614"/>
                <a:gd name="connsiteY4" fmla="*/ 0 h 276136"/>
                <a:gd name="connsiteX5" fmla="*/ 239318 w 297614"/>
                <a:gd name="connsiteY5" fmla="*/ 82841 h 276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614" h="276136">
                  <a:moveTo>
                    <a:pt x="297614" y="266932"/>
                  </a:moveTo>
                  <a:lnTo>
                    <a:pt x="15341" y="276136"/>
                  </a:lnTo>
                  <a:lnTo>
                    <a:pt x="0" y="135000"/>
                  </a:lnTo>
                  <a:lnTo>
                    <a:pt x="3069" y="21477"/>
                  </a:lnTo>
                  <a:lnTo>
                    <a:pt x="76705" y="0"/>
                  </a:lnTo>
                  <a:lnTo>
                    <a:pt x="239318" y="82841"/>
                  </a:ln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16575BF3-0B03-42DA-90F6-0C7237CB57B0}"/>
                </a:ext>
              </a:extLst>
            </p:cNvPr>
            <p:cNvSpPr/>
            <p:nvPr/>
          </p:nvSpPr>
          <p:spPr>
            <a:xfrm>
              <a:off x="20030333" y="7991061"/>
              <a:ext cx="494310" cy="666224"/>
            </a:xfrm>
            <a:custGeom>
              <a:avLst/>
              <a:gdLst>
                <a:gd name="connsiteX0" fmla="*/ 70902 w 494310"/>
                <a:gd name="connsiteY0" fmla="*/ 643471 h 666224"/>
                <a:gd name="connsiteX1" fmla="*/ 494311 w 494310"/>
                <a:gd name="connsiteY1" fmla="*/ 569834 h 666224"/>
                <a:gd name="connsiteX2" fmla="*/ 334767 w 494310"/>
                <a:gd name="connsiteY2" fmla="*/ 167903 h 666224"/>
                <a:gd name="connsiteX3" fmla="*/ 334 w 494310"/>
                <a:gd name="connsiteY3" fmla="*/ 11425 h 666224"/>
                <a:gd name="connsiteX4" fmla="*/ 40220 w 494310"/>
                <a:gd name="connsiteY4" fmla="*/ 161766 h 666224"/>
                <a:gd name="connsiteX5" fmla="*/ 89312 w 494310"/>
                <a:gd name="connsiteY5" fmla="*/ 305971 h 666224"/>
                <a:gd name="connsiteX6" fmla="*/ 86243 w 494310"/>
                <a:gd name="connsiteY6" fmla="*/ 468585 h 666224"/>
                <a:gd name="connsiteX7" fmla="*/ 70902 w 494310"/>
                <a:gd name="connsiteY7" fmla="*/ 643471 h 666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4310" h="666224">
                  <a:moveTo>
                    <a:pt x="70902" y="643471"/>
                  </a:moveTo>
                  <a:cubicBezTo>
                    <a:pt x="80106" y="695630"/>
                    <a:pt x="393061" y="652675"/>
                    <a:pt x="494311" y="569834"/>
                  </a:cubicBezTo>
                  <a:cubicBezTo>
                    <a:pt x="368516" y="407221"/>
                    <a:pt x="350108" y="232334"/>
                    <a:pt x="334767" y="167903"/>
                  </a:cubicBezTo>
                  <a:cubicBezTo>
                    <a:pt x="304085" y="39039"/>
                    <a:pt x="116925" y="-28461"/>
                    <a:pt x="334" y="11425"/>
                  </a:cubicBezTo>
                  <a:cubicBezTo>
                    <a:pt x="-2733" y="11425"/>
                    <a:pt x="15675" y="112675"/>
                    <a:pt x="40220" y="161766"/>
                  </a:cubicBezTo>
                  <a:cubicBezTo>
                    <a:pt x="61698" y="207789"/>
                    <a:pt x="80106" y="256880"/>
                    <a:pt x="89312" y="305971"/>
                  </a:cubicBezTo>
                  <a:cubicBezTo>
                    <a:pt x="98517" y="358130"/>
                    <a:pt x="95447" y="413357"/>
                    <a:pt x="86243" y="468585"/>
                  </a:cubicBezTo>
                  <a:cubicBezTo>
                    <a:pt x="80106" y="517675"/>
                    <a:pt x="61698" y="600516"/>
                    <a:pt x="70902" y="643471"/>
                  </a:cubicBez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04C0FCBB-15A9-4E74-8518-0F2A9B5391EE}"/>
                </a:ext>
              </a:extLst>
            </p:cNvPr>
            <p:cNvSpPr/>
            <p:nvPr/>
          </p:nvSpPr>
          <p:spPr>
            <a:xfrm>
              <a:off x="19861917" y="8035341"/>
              <a:ext cx="425287" cy="571898"/>
            </a:xfrm>
            <a:custGeom>
              <a:avLst/>
              <a:gdLst>
                <a:gd name="connsiteX0" fmla="*/ 417272 w 425287"/>
                <a:gd name="connsiteY0" fmla="*/ 184986 h 571898"/>
                <a:gd name="connsiteX1" fmla="*/ 405000 w 425287"/>
                <a:gd name="connsiteY1" fmla="*/ 442713 h 571898"/>
                <a:gd name="connsiteX2" fmla="*/ 254659 w 425287"/>
                <a:gd name="connsiteY2" fmla="*/ 571577 h 571898"/>
                <a:gd name="connsiteX3" fmla="*/ 36819 w 425287"/>
                <a:gd name="connsiteY3" fmla="*/ 427373 h 571898"/>
                <a:gd name="connsiteX4" fmla="*/ 0 w 425287"/>
                <a:gd name="connsiteY4" fmla="*/ 200327 h 571898"/>
                <a:gd name="connsiteX5" fmla="*/ 214773 w 425287"/>
                <a:gd name="connsiteY5" fmla="*/ 895 h 571898"/>
                <a:gd name="connsiteX6" fmla="*/ 417272 w 425287"/>
                <a:gd name="connsiteY6" fmla="*/ 184986 h 571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5287" h="571898">
                  <a:moveTo>
                    <a:pt x="417272" y="184986"/>
                  </a:moveTo>
                  <a:cubicBezTo>
                    <a:pt x="417272" y="184986"/>
                    <a:pt x="441819" y="375214"/>
                    <a:pt x="405000" y="442713"/>
                  </a:cubicBezTo>
                  <a:cubicBezTo>
                    <a:pt x="368182" y="510213"/>
                    <a:pt x="306818" y="568509"/>
                    <a:pt x="254659" y="571577"/>
                  </a:cubicBezTo>
                  <a:cubicBezTo>
                    <a:pt x="187158" y="577714"/>
                    <a:pt x="73637" y="494872"/>
                    <a:pt x="36819" y="427373"/>
                  </a:cubicBezTo>
                  <a:cubicBezTo>
                    <a:pt x="0" y="359873"/>
                    <a:pt x="0" y="252486"/>
                    <a:pt x="0" y="200327"/>
                  </a:cubicBezTo>
                  <a:cubicBezTo>
                    <a:pt x="3067" y="105213"/>
                    <a:pt x="30682" y="25441"/>
                    <a:pt x="214773" y="895"/>
                  </a:cubicBezTo>
                  <a:cubicBezTo>
                    <a:pt x="303751" y="-11378"/>
                    <a:pt x="398864" y="105213"/>
                    <a:pt x="417272" y="184986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5547929C-00A1-4503-92B1-8F7B03DBC009}"/>
                </a:ext>
              </a:extLst>
            </p:cNvPr>
            <p:cNvSpPr/>
            <p:nvPr/>
          </p:nvSpPr>
          <p:spPr>
            <a:xfrm>
              <a:off x="20088963" y="8309304"/>
              <a:ext cx="55226" cy="131931"/>
            </a:xfrm>
            <a:custGeom>
              <a:avLst/>
              <a:gdLst>
                <a:gd name="connsiteX0" fmla="*/ 30682 w 55226"/>
                <a:gd name="connsiteY0" fmla="*/ 131932 h 131931"/>
                <a:gd name="connsiteX1" fmla="*/ 6135 w 55226"/>
                <a:gd name="connsiteY1" fmla="*/ 128864 h 131931"/>
                <a:gd name="connsiteX2" fmla="*/ 0 w 55226"/>
                <a:gd name="connsiteY2" fmla="*/ 122727 h 131931"/>
                <a:gd name="connsiteX3" fmla="*/ 6135 w 55226"/>
                <a:gd name="connsiteY3" fmla="*/ 116591 h 131931"/>
                <a:gd name="connsiteX4" fmla="*/ 46023 w 55226"/>
                <a:gd name="connsiteY4" fmla="*/ 116591 h 131931"/>
                <a:gd name="connsiteX5" fmla="*/ 46023 w 55226"/>
                <a:gd name="connsiteY5" fmla="*/ 113523 h 131931"/>
                <a:gd name="connsiteX6" fmla="*/ 18408 w 55226"/>
                <a:gd name="connsiteY6" fmla="*/ 6136 h 131931"/>
                <a:gd name="connsiteX7" fmla="*/ 21476 w 55226"/>
                <a:gd name="connsiteY7" fmla="*/ 0 h 131931"/>
                <a:gd name="connsiteX8" fmla="*/ 27613 w 55226"/>
                <a:gd name="connsiteY8" fmla="*/ 3068 h 131931"/>
                <a:gd name="connsiteX9" fmla="*/ 55227 w 55226"/>
                <a:gd name="connsiteY9" fmla="*/ 113523 h 131931"/>
                <a:gd name="connsiteX10" fmla="*/ 49090 w 55226"/>
                <a:gd name="connsiteY10" fmla="*/ 125796 h 131931"/>
                <a:gd name="connsiteX11" fmla="*/ 30682 w 55226"/>
                <a:gd name="connsiteY11" fmla="*/ 131932 h 131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226" h="131931">
                  <a:moveTo>
                    <a:pt x="30682" y="131932"/>
                  </a:moveTo>
                  <a:cubicBezTo>
                    <a:pt x="18408" y="131932"/>
                    <a:pt x="9204" y="128864"/>
                    <a:pt x="6135" y="128864"/>
                  </a:cubicBezTo>
                  <a:cubicBezTo>
                    <a:pt x="3067" y="128864"/>
                    <a:pt x="0" y="125796"/>
                    <a:pt x="0" y="122727"/>
                  </a:cubicBezTo>
                  <a:cubicBezTo>
                    <a:pt x="0" y="119659"/>
                    <a:pt x="3067" y="116591"/>
                    <a:pt x="6135" y="116591"/>
                  </a:cubicBezTo>
                  <a:cubicBezTo>
                    <a:pt x="18408" y="119659"/>
                    <a:pt x="39886" y="119659"/>
                    <a:pt x="46023" y="116591"/>
                  </a:cubicBezTo>
                  <a:cubicBezTo>
                    <a:pt x="46023" y="116591"/>
                    <a:pt x="46023" y="113523"/>
                    <a:pt x="46023" y="113523"/>
                  </a:cubicBezTo>
                  <a:cubicBezTo>
                    <a:pt x="46023" y="98182"/>
                    <a:pt x="24545" y="30682"/>
                    <a:pt x="18408" y="6136"/>
                  </a:cubicBezTo>
                  <a:cubicBezTo>
                    <a:pt x="18408" y="3068"/>
                    <a:pt x="18408" y="0"/>
                    <a:pt x="21476" y="0"/>
                  </a:cubicBezTo>
                  <a:cubicBezTo>
                    <a:pt x="24545" y="0"/>
                    <a:pt x="27613" y="0"/>
                    <a:pt x="27613" y="3068"/>
                  </a:cubicBezTo>
                  <a:cubicBezTo>
                    <a:pt x="27613" y="6136"/>
                    <a:pt x="55227" y="92045"/>
                    <a:pt x="55227" y="113523"/>
                  </a:cubicBezTo>
                  <a:cubicBezTo>
                    <a:pt x="55227" y="119659"/>
                    <a:pt x="52158" y="122727"/>
                    <a:pt x="49090" y="125796"/>
                  </a:cubicBezTo>
                  <a:cubicBezTo>
                    <a:pt x="52158" y="128864"/>
                    <a:pt x="39886" y="131932"/>
                    <a:pt x="30682" y="131932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5BF6D197-FCD5-4DD7-8D2B-4C48FCAEA68E}"/>
                </a:ext>
              </a:extLst>
            </p:cNvPr>
            <p:cNvSpPr/>
            <p:nvPr/>
          </p:nvSpPr>
          <p:spPr>
            <a:xfrm>
              <a:off x="20061349" y="8490327"/>
              <a:ext cx="107386" cy="55226"/>
            </a:xfrm>
            <a:custGeom>
              <a:avLst/>
              <a:gdLst>
                <a:gd name="connsiteX0" fmla="*/ 0 w 107386"/>
                <a:gd name="connsiteY0" fmla="*/ 0 h 55226"/>
                <a:gd name="connsiteX1" fmla="*/ 107386 w 107386"/>
                <a:gd name="connsiteY1" fmla="*/ 0 h 55226"/>
                <a:gd name="connsiteX2" fmla="*/ 55227 w 107386"/>
                <a:gd name="connsiteY2" fmla="*/ 55227 h 55226"/>
                <a:gd name="connsiteX3" fmla="*/ 0 w 107386"/>
                <a:gd name="connsiteY3" fmla="*/ 0 h 55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386" h="55226">
                  <a:moveTo>
                    <a:pt x="0" y="0"/>
                  </a:moveTo>
                  <a:cubicBezTo>
                    <a:pt x="55227" y="24545"/>
                    <a:pt x="107386" y="0"/>
                    <a:pt x="107386" y="0"/>
                  </a:cubicBezTo>
                  <a:cubicBezTo>
                    <a:pt x="107386" y="0"/>
                    <a:pt x="92045" y="55227"/>
                    <a:pt x="55227" y="55227"/>
                  </a:cubicBezTo>
                  <a:cubicBezTo>
                    <a:pt x="12273" y="5215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0F464AF1-45D0-4333-8AE3-6F0E29C73CED}"/>
                </a:ext>
              </a:extLst>
            </p:cNvPr>
            <p:cNvSpPr/>
            <p:nvPr/>
          </p:nvSpPr>
          <p:spPr>
            <a:xfrm>
              <a:off x="20181009" y="8278020"/>
              <a:ext cx="40487" cy="41270"/>
            </a:xfrm>
            <a:custGeom>
              <a:avLst/>
              <a:gdLst>
                <a:gd name="connsiteX0" fmla="*/ 0 w 40487"/>
                <a:gd name="connsiteY0" fmla="*/ 25147 h 41270"/>
                <a:gd name="connsiteX1" fmla="*/ 24545 w 40487"/>
                <a:gd name="connsiteY1" fmla="*/ 40488 h 41270"/>
                <a:gd name="connsiteX2" fmla="*/ 39886 w 40487"/>
                <a:gd name="connsiteY2" fmla="*/ 15943 h 41270"/>
                <a:gd name="connsiteX3" fmla="*/ 15341 w 40487"/>
                <a:gd name="connsiteY3" fmla="*/ 602 h 41270"/>
                <a:gd name="connsiteX4" fmla="*/ 0 w 40487"/>
                <a:gd name="connsiteY4" fmla="*/ 25147 h 4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87" h="41270">
                  <a:moveTo>
                    <a:pt x="0" y="25147"/>
                  </a:moveTo>
                  <a:cubicBezTo>
                    <a:pt x="3067" y="37420"/>
                    <a:pt x="12272" y="43557"/>
                    <a:pt x="24545" y="40488"/>
                  </a:cubicBezTo>
                  <a:cubicBezTo>
                    <a:pt x="33749" y="37420"/>
                    <a:pt x="42953" y="28216"/>
                    <a:pt x="39886" y="15943"/>
                  </a:cubicBezTo>
                  <a:cubicBezTo>
                    <a:pt x="36817" y="6738"/>
                    <a:pt x="27613" y="-2466"/>
                    <a:pt x="15341" y="602"/>
                  </a:cubicBezTo>
                  <a:cubicBezTo>
                    <a:pt x="6135" y="3670"/>
                    <a:pt x="0" y="15943"/>
                    <a:pt x="0" y="2514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36E980D4-9906-4689-B1B2-84372F97D5D2}"/>
                </a:ext>
              </a:extLst>
            </p:cNvPr>
            <p:cNvSpPr/>
            <p:nvPr/>
          </p:nvSpPr>
          <p:spPr>
            <a:xfrm>
              <a:off x="19989999" y="8283977"/>
              <a:ext cx="41449" cy="41270"/>
            </a:xfrm>
            <a:custGeom>
              <a:avLst/>
              <a:gdLst>
                <a:gd name="connsiteX0" fmla="*/ 782 w 41449"/>
                <a:gd name="connsiteY0" fmla="*/ 25327 h 41270"/>
                <a:gd name="connsiteX1" fmla="*/ 25327 w 41449"/>
                <a:gd name="connsiteY1" fmla="*/ 40668 h 41270"/>
                <a:gd name="connsiteX2" fmla="*/ 40668 w 41449"/>
                <a:gd name="connsiteY2" fmla="*/ 16123 h 41270"/>
                <a:gd name="connsiteX3" fmla="*/ 16123 w 41449"/>
                <a:gd name="connsiteY3" fmla="*/ 782 h 41270"/>
                <a:gd name="connsiteX4" fmla="*/ 782 w 41449"/>
                <a:gd name="connsiteY4" fmla="*/ 25327 h 4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449" h="41270">
                  <a:moveTo>
                    <a:pt x="782" y="25327"/>
                  </a:moveTo>
                  <a:cubicBezTo>
                    <a:pt x="3850" y="34532"/>
                    <a:pt x="13054" y="43737"/>
                    <a:pt x="25327" y="40668"/>
                  </a:cubicBezTo>
                  <a:cubicBezTo>
                    <a:pt x="37601" y="37600"/>
                    <a:pt x="43736" y="28396"/>
                    <a:pt x="40668" y="16123"/>
                  </a:cubicBezTo>
                  <a:cubicBezTo>
                    <a:pt x="37601" y="3850"/>
                    <a:pt x="28395" y="-2286"/>
                    <a:pt x="16123" y="782"/>
                  </a:cubicBezTo>
                  <a:cubicBezTo>
                    <a:pt x="3850" y="3850"/>
                    <a:pt x="-2287" y="16123"/>
                    <a:pt x="782" y="2532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928758F2-F634-4FE3-8BCE-5730A82A8C61}"/>
                </a:ext>
              </a:extLst>
            </p:cNvPr>
            <p:cNvSpPr/>
            <p:nvPr/>
          </p:nvSpPr>
          <p:spPr>
            <a:xfrm>
              <a:off x="20155191" y="8232599"/>
              <a:ext cx="92549" cy="30681"/>
            </a:xfrm>
            <a:custGeom>
              <a:avLst/>
              <a:gdLst>
                <a:gd name="connsiteX0" fmla="*/ 84112 w 92549"/>
                <a:gd name="connsiteY0" fmla="*/ 30682 h 30681"/>
                <a:gd name="connsiteX1" fmla="*/ 77975 w 92549"/>
                <a:gd name="connsiteY1" fmla="*/ 27614 h 30681"/>
                <a:gd name="connsiteX2" fmla="*/ 10477 w 92549"/>
                <a:gd name="connsiteY2" fmla="*/ 21477 h 30681"/>
                <a:gd name="connsiteX3" fmla="*/ 1271 w 92549"/>
                <a:gd name="connsiteY3" fmla="*/ 18409 h 30681"/>
                <a:gd name="connsiteX4" fmla="*/ 4340 w 92549"/>
                <a:gd name="connsiteY4" fmla="*/ 9205 h 30681"/>
                <a:gd name="connsiteX5" fmla="*/ 90249 w 92549"/>
                <a:gd name="connsiteY5" fmla="*/ 18409 h 30681"/>
                <a:gd name="connsiteX6" fmla="*/ 90249 w 92549"/>
                <a:gd name="connsiteY6" fmla="*/ 30682 h 30681"/>
                <a:gd name="connsiteX7" fmla="*/ 84112 w 92549"/>
                <a:gd name="connsiteY7" fmla="*/ 30682 h 30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0681">
                  <a:moveTo>
                    <a:pt x="84112" y="30682"/>
                  </a:moveTo>
                  <a:cubicBezTo>
                    <a:pt x="81044" y="30682"/>
                    <a:pt x="81044" y="30682"/>
                    <a:pt x="77975" y="27614"/>
                  </a:cubicBezTo>
                  <a:cubicBezTo>
                    <a:pt x="53430" y="0"/>
                    <a:pt x="10477" y="21477"/>
                    <a:pt x="10477" y="21477"/>
                  </a:cubicBezTo>
                  <a:cubicBezTo>
                    <a:pt x="7407" y="24546"/>
                    <a:pt x="1271" y="21477"/>
                    <a:pt x="1271" y="18409"/>
                  </a:cubicBezTo>
                  <a:cubicBezTo>
                    <a:pt x="-1797" y="15341"/>
                    <a:pt x="1271" y="9205"/>
                    <a:pt x="4340" y="9205"/>
                  </a:cubicBezTo>
                  <a:cubicBezTo>
                    <a:pt x="22748" y="0"/>
                    <a:pt x="62634" y="-9205"/>
                    <a:pt x="90249" y="18409"/>
                  </a:cubicBezTo>
                  <a:cubicBezTo>
                    <a:pt x="93316" y="21477"/>
                    <a:pt x="93316" y="27614"/>
                    <a:pt x="90249" y="30682"/>
                  </a:cubicBezTo>
                  <a:cubicBezTo>
                    <a:pt x="87181" y="30682"/>
                    <a:pt x="87181" y="30682"/>
                    <a:pt x="84112" y="30682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E9E9B7B5-44E3-497D-B49A-0781D48F4364}"/>
                </a:ext>
              </a:extLst>
            </p:cNvPr>
            <p:cNvSpPr/>
            <p:nvPr/>
          </p:nvSpPr>
          <p:spPr>
            <a:xfrm>
              <a:off x="19963934" y="8230554"/>
              <a:ext cx="92549" cy="35795"/>
            </a:xfrm>
            <a:custGeom>
              <a:avLst/>
              <a:gdLst>
                <a:gd name="connsiteX0" fmla="*/ 8437 w 92549"/>
                <a:gd name="connsiteY0" fmla="*/ 35796 h 35795"/>
                <a:gd name="connsiteX1" fmla="*/ 2302 w 92549"/>
                <a:gd name="connsiteY1" fmla="*/ 32727 h 35795"/>
                <a:gd name="connsiteX2" fmla="*/ 2302 w 92549"/>
                <a:gd name="connsiteY2" fmla="*/ 20455 h 35795"/>
                <a:gd name="connsiteX3" fmla="*/ 88211 w 92549"/>
                <a:gd name="connsiteY3" fmla="*/ 11250 h 35795"/>
                <a:gd name="connsiteX4" fmla="*/ 91278 w 92549"/>
                <a:gd name="connsiteY4" fmla="*/ 23523 h 35795"/>
                <a:gd name="connsiteX5" fmla="*/ 79007 w 92549"/>
                <a:gd name="connsiteY5" fmla="*/ 26591 h 35795"/>
                <a:gd name="connsiteX6" fmla="*/ 11506 w 92549"/>
                <a:gd name="connsiteY6" fmla="*/ 32727 h 35795"/>
                <a:gd name="connsiteX7" fmla="*/ 8437 w 92549"/>
                <a:gd name="connsiteY7" fmla="*/ 35796 h 35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5795">
                  <a:moveTo>
                    <a:pt x="8437" y="35796"/>
                  </a:moveTo>
                  <a:cubicBezTo>
                    <a:pt x="5369" y="35796"/>
                    <a:pt x="5369" y="35796"/>
                    <a:pt x="2302" y="32727"/>
                  </a:cubicBezTo>
                  <a:cubicBezTo>
                    <a:pt x="-767" y="29659"/>
                    <a:pt x="-767" y="23523"/>
                    <a:pt x="2302" y="20455"/>
                  </a:cubicBezTo>
                  <a:cubicBezTo>
                    <a:pt x="14574" y="8182"/>
                    <a:pt x="51392" y="-13295"/>
                    <a:pt x="88211" y="11250"/>
                  </a:cubicBezTo>
                  <a:cubicBezTo>
                    <a:pt x="91278" y="14318"/>
                    <a:pt x="94347" y="17386"/>
                    <a:pt x="91278" y="23523"/>
                  </a:cubicBezTo>
                  <a:cubicBezTo>
                    <a:pt x="88211" y="29659"/>
                    <a:pt x="85141" y="29659"/>
                    <a:pt x="79007" y="26591"/>
                  </a:cubicBezTo>
                  <a:cubicBezTo>
                    <a:pt x="42188" y="2045"/>
                    <a:pt x="14574" y="32727"/>
                    <a:pt x="11506" y="32727"/>
                  </a:cubicBezTo>
                  <a:cubicBezTo>
                    <a:pt x="11506" y="32727"/>
                    <a:pt x="8437" y="35796"/>
                    <a:pt x="8437" y="35796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5AD8DBE7-48F8-4AC7-BCEE-69228703E139}"/>
                </a:ext>
              </a:extLst>
            </p:cNvPr>
            <p:cNvSpPr/>
            <p:nvPr/>
          </p:nvSpPr>
          <p:spPr>
            <a:xfrm>
              <a:off x="20028563" y="8003269"/>
              <a:ext cx="278379" cy="260012"/>
            </a:xfrm>
            <a:custGeom>
              <a:avLst/>
              <a:gdLst>
                <a:gd name="connsiteX0" fmla="*/ 2104 w 278379"/>
                <a:gd name="connsiteY0" fmla="*/ 2285 h 260012"/>
                <a:gd name="connsiteX1" fmla="*/ 38923 w 278379"/>
                <a:gd name="connsiteY1" fmla="*/ 131149 h 260012"/>
                <a:gd name="connsiteX2" fmla="*/ 278241 w 278379"/>
                <a:gd name="connsiteY2" fmla="*/ 260012 h 260012"/>
                <a:gd name="connsiteX3" fmla="*/ 2104 w 278379"/>
                <a:gd name="connsiteY3" fmla="*/ 2285 h 26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379" h="260012">
                  <a:moveTo>
                    <a:pt x="2104" y="2285"/>
                  </a:moveTo>
                  <a:cubicBezTo>
                    <a:pt x="2104" y="2285"/>
                    <a:pt x="-13237" y="91262"/>
                    <a:pt x="38923" y="131149"/>
                  </a:cubicBezTo>
                  <a:cubicBezTo>
                    <a:pt x="38923" y="131149"/>
                    <a:pt x="250626" y="174103"/>
                    <a:pt x="278241" y="260012"/>
                  </a:cubicBezTo>
                  <a:cubicBezTo>
                    <a:pt x="278241" y="260012"/>
                    <a:pt x="293582" y="-28397"/>
                    <a:pt x="2104" y="2285"/>
                  </a:cubicBez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7C8EBC35-5FD6-4DDA-A9E7-E96A9641D5D2}"/>
                </a:ext>
              </a:extLst>
            </p:cNvPr>
            <p:cNvSpPr/>
            <p:nvPr/>
          </p:nvSpPr>
          <p:spPr>
            <a:xfrm>
              <a:off x="19838734" y="8005554"/>
              <a:ext cx="225682" cy="316520"/>
            </a:xfrm>
            <a:custGeom>
              <a:avLst/>
              <a:gdLst>
                <a:gd name="connsiteX0" fmla="*/ 225682 w 225682"/>
                <a:gd name="connsiteY0" fmla="*/ 128864 h 316520"/>
                <a:gd name="connsiteX1" fmla="*/ 84547 w 225682"/>
                <a:gd name="connsiteY1" fmla="*/ 184091 h 316520"/>
                <a:gd name="connsiteX2" fmla="*/ 26250 w 225682"/>
                <a:gd name="connsiteY2" fmla="*/ 303750 h 316520"/>
                <a:gd name="connsiteX3" fmla="*/ 1705 w 225682"/>
                <a:gd name="connsiteY3" fmla="*/ 300682 h 316520"/>
                <a:gd name="connsiteX4" fmla="*/ 191933 w 225682"/>
                <a:gd name="connsiteY4" fmla="*/ 0 h 316520"/>
                <a:gd name="connsiteX5" fmla="*/ 225682 w 225682"/>
                <a:gd name="connsiteY5" fmla="*/ 128864 h 316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5682" h="316520">
                  <a:moveTo>
                    <a:pt x="225682" y="128864"/>
                  </a:moveTo>
                  <a:cubicBezTo>
                    <a:pt x="225682" y="128864"/>
                    <a:pt x="133637" y="177955"/>
                    <a:pt x="84547" y="184091"/>
                  </a:cubicBezTo>
                  <a:cubicBezTo>
                    <a:pt x="35456" y="190227"/>
                    <a:pt x="26250" y="303750"/>
                    <a:pt x="26250" y="303750"/>
                  </a:cubicBezTo>
                  <a:cubicBezTo>
                    <a:pt x="26250" y="303750"/>
                    <a:pt x="4775" y="334432"/>
                    <a:pt x="1705" y="300682"/>
                  </a:cubicBezTo>
                  <a:cubicBezTo>
                    <a:pt x="-4431" y="220909"/>
                    <a:pt x="-4431" y="21477"/>
                    <a:pt x="191933" y="0"/>
                  </a:cubicBezTo>
                  <a:cubicBezTo>
                    <a:pt x="191933" y="0"/>
                    <a:pt x="204206" y="122727"/>
                    <a:pt x="225682" y="128864"/>
                  </a:cubicBez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4B34DF28-3836-4846-8852-817F61D6ED7A}"/>
                </a:ext>
              </a:extLst>
            </p:cNvPr>
            <p:cNvSpPr/>
            <p:nvPr/>
          </p:nvSpPr>
          <p:spPr>
            <a:xfrm>
              <a:off x="19917144" y="8005554"/>
              <a:ext cx="154773" cy="190227"/>
            </a:xfrm>
            <a:custGeom>
              <a:avLst/>
              <a:gdLst>
                <a:gd name="connsiteX0" fmla="*/ 6137 w 154773"/>
                <a:gd name="connsiteY0" fmla="*/ 190227 h 190227"/>
                <a:gd name="connsiteX1" fmla="*/ 0 w 154773"/>
                <a:gd name="connsiteY1" fmla="*/ 184091 h 190227"/>
                <a:gd name="connsiteX2" fmla="*/ 6137 w 154773"/>
                <a:gd name="connsiteY2" fmla="*/ 177955 h 190227"/>
                <a:gd name="connsiteX3" fmla="*/ 101250 w 154773"/>
                <a:gd name="connsiteY3" fmla="*/ 147273 h 190227"/>
                <a:gd name="connsiteX4" fmla="*/ 141137 w 154773"/>
                <a:gd name="connsiteY4" fmla="*/ 125795 h 190227"/>
                <a:gd name="connsiteX5" fmla="*/ 125797 w 154773"/>
                <a:gd name="connsiteY5" fmla="*/ 104318 h 190227"/>
                <a:gd name="connsiteX6" fmla="*/ 113523 w 154773"/>
                <a:gd name="connsiteY6" fmla="*/ 61364 h 190227"/>
                <a:gd name="connsiteX7" fmla="*/ 110456 w 154773"/>
                <a:gd name="connsiteY7" fmla="*/ 33750 h 190227"/>
                <a:gd name="connsiteX8" fmla="*/ 107386 w 154773"/>
                <a:gd name="connsiteY8" fmla="*/ 6136 h 190227"/>
                <a:gd name="connsiteX9" fmla="*/ 113523 w 154773"/>
                <a:gd name="connsiteY9" fmla="*/ 0 h 190227"/>
                <a:gd name="connsiteX10" fmla="*/ 119660 w 154773"/>
                <a:gd name="connsiteY10" fmla="*/ 6136 h 190227"/>
                <a:gd name="connsiteX11" fmla="*/ 122727 w 154773"/>
                <a:gd name="connsiteY11" fmla="*/ 33750 h 190227"/>
                <a:gd name="connsiteX12" fmla="*/ 125797 w 154773"/>
                <a:gd name="connsiteY12" fmla="*/ 61364 h 190227"/>
                <a:gd name="connsiteX13" fmla="*/ 135001 w 154773"/>
                <a:gd name="connsiteY13" fmla="*/ 101250 h 190227"/>
                <a:gd name="connsiteX14" fmla="*/ 153409 w 154773"/>
                <a:gd name="connsiteY14" fmla="*/ 125795 h 190227"/>
                <a:gd name="connsiteX15" fmla="*/ 153409 w 154773"/>
                <a:gd name="connsiteY15" fmla="*/ 131932 h 190227"/>
                <a:gd name="connsiteX16" fmla="*/ 150342 w 154773"/>
                <a:gd name="connsiteY16" fmla="*/ 135000 h 190227"/>
                <a:gd name="connsiteX17" fmla="*/ 104319 w 154773"/>
                <a:gd name="connsiteY17" fmla="*/ 159545 h 190227"/>
                <a:gd name="connsiteX18" fmla="*/ 6137 w 154773"/>
                <a:gd name="connsiteY18" fmla="*/ 190227 h 190227"/>
                <a:gd name="connsiteX19" fmla="*/ 6137 w 154773"/>
                <a:gd name="connsiteY19" fmla="*/ 190227 h 19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4773" h="190227">
                  <a:moveTo>
                    <a:pt x="6137" y="190227"/>
                  </a:moveTo>
                  <a:cubicBezTo>
                    <a:pt x="3069" y="190227"/>
                    <a:pt x="0" y="187159"/>
                    <a:pt x="0" y="184091"/>
                  </a:cubicBezTo>
                  <a:cubicBezTo>
                    <a:pt x="0" y="181023"/>
                    <a:pt x="3069" y="177955"/>
                    <a:pt x="6137" y="177955"/>
                  </a:cubicBezTo>
                  <a:cubicBezTo>
                    <a:pt x="39886" y="171818"/>
                    <a:pt x="76705" y="156477"/>
                    <a:pt x="101250" y="147273"/>
                  </a:cubicBezTo>
                  <a:cubicBezTo>
                    <a:pt x="119660" y="138068"/>
                    <a:pt x="131931" y="131932"/>
                    <a:pt x="141137" y="125795"/>
                  </a:cubicBezTo>
                  <a:cubicBezTo>
                    <a:pt x="135001" y="119659"/>
                    <a:pt x="131931" y="113523"/>
                    <a:pt x="125797" y="104318"/>
                  </a:cubicBezTo>
                  <a:cubicBezTo>
                    <a:pt x="119660" y="88977"/>
                    <a:pt x="116591" y="73636"/>
                    <a:pt x="113523" y="61364"/>
                  </a:cubicBezTo>
                  <a:cubicBezTo>
                    <a:pt x="113523" y="55227"/>
                    <a:pt x="110456" y="42954"/>
                    <a:pt x="110456" y="33750"/>
                  </a:cubicBezTo>
                  <a:cubicBezTo>
                    <a:pt x="110456" y="21477"/>
                    <a:pt x="107386" y="12273"/>
                    <a:pt x="107386" y="6136"/>
                  </a:cubicBezTo>
                  <a:cubicBezTo>
                    <a:pt x="107386" y="3068"/>
                    <a:pt x="110456" y="0"/>
                    <a:pt x="113523" y="0"/>
                  </a:cubicBezTo>
                  <a:cubicBezTo>
                    <a:pt x="116591" y="0"/>
                    <a:pt x="119660" y="3068"/>
                    <a:pt x="119660" y="6136"/>
                  </a:cubicBezTo>
                  <a:cubicBezTo>
                    <a:pt x="119660" y="12273"/>
                    <a:pt x="122727" y="24546"/>
                    <a:pt x="122727" y="33750"/>
                  </a:cubicBezTo>
                  <a:cubicBezTo>
                    <a:pt x="122727" y="46023"/>
                    <a:pt x="125797" y="55227"/>
                    <a:pt x="125797" y="61364"/>
                  </a:cubicBezTo>
                  <a:cubicBezTo>
                    <a:pt x="128864" y="76705"/>
                    <a:pt x="128864" y="88977"/>
                    <a:pt x="135001" y="101250"/>
                  </a:cubicBezTo>
                  <a:cubicBezTo>
                    <a:pt x="138068" y="110454"/>
                    <a:pt x="147272" y="116591"/>
                    <a:pt x="153409" y="125795"/>
                  </a:cubicBezTo>
                  <a:cubicBezTo>
                    <a:pt x="153409" y="125795"/>
                    <a:pt x="156478" y="128864"/>
                    <a:pt x="153409" y="131932"/>
                  </a:cubicBezTo>
                  <a:cubicBezTo>
                    <a:pt x="153409" y="135000"/>
                    <a:pt x="153409" y="135000"/>
                    <a:pt x="150342" y="135000"/>
                  </a:cubicBezTo>
                  <a:cubicBezTo>
                    <a:pt x="150342" y="135000"/>
                    <a:pt x="131931" y="147273"/>
                    <a:pt x="104319" y="159545"/>
                  </a:cubicBezTo>
                  <a:cubicBezTo>
                    <a:pt x="79774" y="168750"/>
                    <a:pt x="42955" y="184091"/>
                    <a:pt x="6137" y="190227"/>
                  </a:cubicBezTo>
                  <a:cubicBezTo>
                    <a:pt x="6137" y="190227"/>
                    <a:pt x="6137" y="190227"/>
                    <a:pt x="6137" y="190227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0A39ECD3-25C3-4377-A953-0CA4760E7A37}"/>
                </a:ext>
              </a:extLst>
            </p:cNvPr>
            <p:cNvSpPr/>
            <p:nvPr/>
          </p:nvSpPr>
          <p:spPr>
            <a:xfrm>
              <a:off x="19923281" y="8496463"/>
              <a:ext cx="309885" cy="225738"/>
            </a:xfrm>
            <a:custGeom>
              <a:avLst/>
              <a:gdLst>
                <a:gd name="connsiteX0" fmla="*/ 254659 w 309885"/>
                <a:gd name="connsiteY0" fmla="*/ 61364 h 225738"/>
                <a:gd name="connsiteX1" fmla="*/ 309886 w 309885"/>
                <a:gd name="connsiteY1" fmla="*/ 202500 h 225738"/>
                <a:gd name="connsiteX2" fmla="*/ 0 w 309885"/>
                <a:gd name="connsiteY2" fmla="*/ 187159 h 225738"/>
                <a:gd name="connsiteX3" fmla="*/ 52159 w 309885"/>
                <a:gd name="connsiteY3" fmla="*/ 0 h 225738"/>
                <a:gd name="connsiteX4" fmla="*/ 254659 w 309885"/>
                <a:gd name="connsiteY4" fmla="*/ 61364 h 22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885" h="225738">
                  <a:moveTo>
                    <a:pt x="254659" y="61364"/>
                  </a:moveTo>
                  <a:cubicBezTo>
                    <a:pt x="254659" y="61364"/>
                    <a:pt x="248522" y="171818"/>
                    <a:pt x="309886" y="202500"/>
                  </a:cubicBezTo>
                  <a:cubicBezTo>
                    <a:pt x="309886" y="202500"/>
                    <a:pt x="128864" y="263863"/>
                    <a:pt x="0" y="187159"/>
                  </a:cubicBezTo>
                  <a:cubicBezTo>
                    <a:pt x="55227" y="144204"/>
                    <a:pt x="52159" y="61364"/>
                    <a:pt x="52159" y="0"/>
                  </a:cubicBezTo>
                  <a:cubicBezTo>
                    <a:pt x="49090" y="0"/>
                    <a:pt x="199432" y="70568"/>
                    <a:pt x="254659" y="61364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4591D775-D985-4DF1-8CFB-5933E444DDC4}"/>
                </a:ext>
              </a:extLst>
            </p:cNvPr>
            <p:cNvSpPr/>
            <p:nvPr/>
          </p:nvSpPr>
          <p:spPr>
            <a:xfrm>
              <a:off x="19963167" y="8536350"/>
              <a:ext cx="223210" cy="79772"/>
            </a:xfrm>
            <a:custGeom>
              <a:avLst/>
              <a:gdLst>
                <a:gd name="connsiteX0" fmla="*/ 150342 w 223210"/>
                <a:gd name="connsiteY0" fmla="*/ 79772 h 79772"/>
                <a:gd name="connsiteX1" fmla="*/ 141137 w 223210"/>
                <a:gd name="connsiteY1" fmla="*/ 79772 h 79772"/>
                <a:gd name="connsiteX2" fmla="*/ 3069 w 223210"/>
                <a:gd name="connsiteY2" fmla="*/ 12273 h 79772"/>
                <a:gd name="connsiteX3" fmla="*/ 0 w 223210"/>
                <a:gd name="connsiteY3" fmla="*/ 3068 h 79772"/>
                <a:gd name="connsiteX4" fmla="*/ 9204 w 223210"/>
                <a:gd name="connsiteY4" fmla="*/ 0 h 79772"/>
                <a:gd name="connsiteX5" fmla="*/ 141137 w 223210"/>
                <a:gd name="connsiteY5" fmla="*/ 67500 h 79772"/>
                <a:gd name="connsiteX6" fmla="*/ 211705 w 223210"/>
                <a:gd name="connsiteY6" fmla="*/ 42954 h 79772"/>
                <a:gd name="connsiteX7" fmla="*/ 220909 w 223210"/>
                <a:gd name="connsiteY7" fmla="*/ 42954 h 79772"/>
                <a:gd name="connsiteX8" fmla="*/ 220909 w 223210"/>
                <a:gd name="connsiteY8" fmla="*/ 52159 h 79772"/>
                <a:gd name="connsiteX9" fmla="*/ 150342 w 223210"/>
                <a:gd name="connsiteY9" fmla="*/ 79772 h 79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210" h="79772">
                  <a:moveTo>
                    <a:pt x="150342" y="79772"/>
                  </a:moveTo>
                  <a:cubicBezTo>
                    <a:pt x="147272" y="79772"/>
                    <a:pt x="144205" y="79772"/>
                    <a:pt x="141137" y="79772"/>
                  </a:cubicBezTo>
                  <a:cubicBezTo>
                    <a:pt x="98182" y="73636"/>
                    <a:pt x="6137" y="12273"/>
                    <a:pt x="3069" y="12273"/>
                  </a:cubicBezTo>
                  <a:cubicBezTo>
                    <a:pt x="0" y="9204"/>
                    <a:pt x="0" y="6136"/>
                    <a:pt x="0" y="3068"/>
                  </a:cubicBezTo>
                  <a:cubicBezTo>
                    <a:pt x="3069" y="0"/>
                    <a:pt x="6137" y="0"/>
                    <a:pt x="9204" y="0"/>
                  </a:cubicBezTo>
                  <a:cubicBezTo>
                    <a:pt x="9204" y="0"/>
                    <a:pt x="104319" y="61364"/>
                    <a:pt x="141137" y="67500"/>
                  </a:cubicBezTo>
                  <a:cubicBezTo>
                    <a:pt x="177954" y="73636"/>
                    <a:pt x="211705" y="42954"/>
                    <a:pt x="211705" y="42954"/>
                  </a:cubicBezTo>
                  <a:cubicBezTo>
                    <a:pt x="214773" y="39886"/>
                    <a:pt x="217842" y="39886"/>
                    <a:pt x="220909" y="42954"/>
                  </a:cubicBezTo>
                  <a:cubicBezTo>
                    <a:pt x="223977" y="46023"/>
                    <a:pt x="223977" y="49091"/>
                    <a:pt x="220909" y="52159"/>
                  </a:cubicBezTo>
                  <a:cubicBezTo>
                    <a:pt x="217842" y="52159"/>
                    <a:pt x="190228" y="79772"/>
                    <a:pt x="150342" y="79772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93B6D047-E3F8-408F-A1AA-6275F2298BEC}"/>
                </a:ext>
              </a:extLst>
            </p:cNvPr>
            <p:cNvSpPr/>
            <p:nvPr/>
          </p:nvSpPr>
          <p:spPr>
            <a:xfrm>
              <a:off x="20412919" y="8774397"/>
              <a:ext cx="104117" cy="562748"/>
            </a:xfrm>
            <a:custGeom>
              <a:avLst/>
              <a:gdLst>
                <a:gd name="connsiteX0" fmla="*/ 47293 w 104117"/>
                <a:gd name="connsiteY0" fmla="*/ 562748 h 562748"/>
                <a:gd name="connsiteX1" fmla="*/ 47293 w 104117"/>
                <a:gd name="connsiteY1" fmla="*/ 562748 h 562748"/>
                <a:gd name="connsiteX2" fmla="*/ 41157 w 104117"/>
                <a:gd name="connsiteY2" fmla="*/ 556612 h 562748"/>
                <a:gd name="connsiteX3" fmla="*/ 56497 w 104117"/>
                <a:gd name="connsiteY3" fmla="*/ 501385 h 562748"/>
                <a:gd name="connsiteX4" fmla="*/ 90249 w 104117"/>
                <a:gd name="connsiteY4" fmla="*/ 351044 h 562748"/>
                <a:gd name="connsiteX5" fmla="*/ 1271 w 104117"/>
                <a:gd name="connsiteY5" fmla="*/ 10475 h 562748"/>
                <a:gd name="connsiteX6" fmla="*/ 4338 w 104117"/>
                <a:gd name="connsiteY6" fmla="*/ 1271 h 562748"/>
                <a:gd name="connsiteX7" fmla="*/ 13544 w 104117"/>
                <a:gd name="connsiteY7" fmla="*/ 4339 h 562748"/>
                <a:gd name="connsiteX8" fmla="*/ 102520 w 104117"/>
                <a:gd name="connsiteY8" fmla="*/ 351044 h 562748"/>
                <a:gd name="connsiteX9" fmla="*/ 68771 w 104117"/>
                <a:gd name="connsiteY9" fmla="*/ 504453 h 562748"/>
                <a:gd name="connsiteX10" fmla="*/ 53430 w 104117"/>
                <a:gd name="connsiteY10" fmla="*/ 559680 h 562748"/>
                <a:gd name="connsiteX11" fmla="*/ 47293 w 104117"/>
                <a:gd name="connsiteY11" fmla="*/ 562748 h 562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117" h="562748">
                  <a:moveTo>
                    <a:pt x="47293" y="562748"/>
                  </a:moveTo>
                  <a:cubicBezTo>
                    <a:pt x="47293" y="562748"/>
                    <a:pt x="47293" y="562748"/>
                    <a:pt x="47293" y="562748"/>
                  </a:cubicBezTo>
                  <a:cubicBezTo>
                    <a:pt x="44226" y="562748"/>
                    <a:pt x="41157" y="559680"/>
                    <a:pt x="41157" y="556612"/>
                  </a:cubicBezTo>
                  <a:cubicBezTo>
                    <a:pt x="47293" y="538203"/>
                    <a:pt x="50361" y="519794"/>
                    <a:pt x="56497" y="501385"/>
                  </a:cubicBezTo>
                  <a:cubicBezTo>
                    <a:pt x="71838" y="449226"/>
                    <a:pt x="87179" y="397067"/>
                    <a:pt x="90249" y="351044"/>
                  </a:cubicBezTo>
                  <a:cubicBezTo>
                    <a:pt x="96383" y="228316"/>
                    <a:pt x="68771" y="114794"/>
                    <a:pt x="1271" y="10475"/>
                  </a:cubicBezTo>
                  <a:cubicBezTo>
                    <a:pt x="-1797" y="7407"/>
                    <a:pt x="1271" y="4339"/>
                    <a:pt x="4338" y="1271"/>
                  </a:cubicBezTo>
                  <a:cubicBezTo>
                    <a:pt x="7407" y="-1797"/>
                    <a:pt x="10475" y="1271"/>
                    <a:pt x="13544" y="4339"/>
                  </a:cubicBezTo>
                  <a:cubicBezTo>
                    <a:pt x="81043" y="111725"/>
                    <a:pt x="111724" y="228316"/>
                    <a:pt x="102520" y="351044"/>
                  </a:cubicBezTo>
                  <a:cubicBezTo>
                    <a:pt x="99453" y="397067"/>
                    <a:pt x="84112" y="452294"/>
                    <a:pt x="68771" y="504453"/>
                  </a:cubicBezTo>
                  <a:cubicBezTo>
                    <a:pt x="62634" y="522862"/>
                    <a:pt x="56497" y="541271"/>
                    <a:pt x="53430" y="559680"/>
                  </a:cubicBezTo>
                  <a:cubicBezTo>
                    <a:pt x="53430" y="562748"/>
                    <a:pt x="50361" y="562748"/>
                    <a:pt x="47293" y="562748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086BFEA2-33EC-480A-B8DA-390C0111A7D3}"/>
                </a:ext>
              </a:extLst>
            </p:cNvPr>
            <p:cNvSpPr/>
            <p:nvPr/>
          </p:nvSpPr>
          <p:spPr>
            <a:xfrm>
              <a:off x="19990781" y="9220749"/>
              <a:ext cx="401931" cy="36623"/>
            </a:xfrm>
            <a:custGeom>
              <a:avLst/>
              <a:gdLst>
                <a:gd name="connsiteX0" fmla="*/ 398864 w 401931"/>
                <a:gd name="connsiteY0" fmla="*/ 36623 h 36623"/>
                <a:gd name="connsiteX1" fmla="*/ 398864 w 401931"/>
                <a:gd name="connsiteY1" fmla="*/ 36623 h 36623"/>
                <a:gd name="connsiteX2" fmla="*/ 6137 w 401931"/>
                <a:gd name="connsiteY2" fmla="*/ 24350 h 36623"/>
                <a:gd name="connsiteX3" fmla="*/ 0 w 401931"/>
                <a:gd name="connsiteY3" fmla="*/ 21282 h 36623"/>
                <a:gd name="connsiteX4" fmla="*/ 3067 w 401931"/>
                <a:gd name="connsiteY4" fmla="*/ 15145 h 36623"/>
                <a:gd name="connsiteX5" fmla="*/ 398864 w 401931"/>
                <a:gd name="connsiteY5" fmla="*/ 27418 h 36623"/>
                <a:gd name="connsiteX6" fmla="*/ 401931 w 401931"/>
                <a:gd name="connsiteY6" fmla="*/ 33555 h 36623"/>
                <a:gd name="connsiteX7" fmla="*/ 398864 w 401931"/>
                <a:gd name="connsiteY7" fmla="*/ 36623 h 36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1931" h="36623">
                  <a:moveTo>
                    <a:pt x="398864" y="36623"/>
                  </a:moveTo>
                  <a:cubicBezTo>
                    <a:pt x="398864" y="36623"/>
                    <a:pt x="395794" y="36623"/>
                    <a:pt x="398864" y="36623"/>
                  </a:cubicBezTo>
                  <a:cubicBezTo>
                    <a:pt x="312955" y="5941"/>
                    <a:pt x="107386" y="-196"/>
                    <a:pt x="6137" y="24350"/>
                  </a:cubicBezTo>
                  <a:cubicBezTo>
                    <a:pt x="3067" y="24350"/>
                    <a:pt x="0" y="24350"/>
                    <a:pt x="0" y="21282"/>
                  </a:cubicBezTo>
                  <a:cubicBezTo>
                    <a:pt x="0" y="18214"/>
                    <a:pt x="0" y="15145"/>
                    <a:pt x="3067" y="15145"/>
                  </a:cubicBezTo>
                  <a:cubicBezTo>
                    <a:pt x="104317" y="-9400"/>
                    <a:pt x="312955" y="-3263"/>
                    <a:pt x="398864" y="27418"/>
                  </a:cubicBezTo>
                  <a:cubicBezTo>
                    <a:pt x="401931" y="27418"/>
                    <a:pt x="401931" y="30486"/>
                    <a:pt x="401931" y="33555"/>
                  </a:cubicBezTo>
                  <a:cubicBezTo>
                    <a:pt x="401931" y="36623"/>
                    <a:pt x="401931" y="36623"/>
                    <a:pt x="398864" y="36623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EE54A3E0-B832-4A4F-AF3D-4BD662155CDA}"/>
                </a:ext>
              </a:extLst>
            </p:cNvPr>
            <p:cNvSpPr/>
            <p:nvPr/>
          </p:nvSpPr>
          <p:spPr>
            <a:xfrm>
              <a:off x="19831235" y="8376804"/>
              <a:ext cx="165682" cy="281444"/>
            </a:xfrm>
            <a:custGeom>
              <a:avLst/>
              <a:gdLst>
                <a:gd name="connsiteX0" fmla="*/ 49090 w 165682"/>
                <a:gd name="connsiteY0" fmla="*/ 30682 h 281444"/>
                <a:gd name="connsiteX1" fmla="*/ 165683 w 165682"/>
                <a:gd name="connsiteY1" fmla="*/ 276136 h 281444"/>
                <a:gd name="connsiteX2" fmla="*/ 0 w 165682"/>
                <a:gd name="connsiteY2" fmla="*/ 270000 h 281444"/>
                <a:gd name="connsiteX3" fmla="*/ 6137 w 165682"/>
                <a:gd name="connsiteY3" fmla="*/ 0 h 281444"/>
                <a:gd name="connsiteX4" fmla="*/ 49090 w 165682"/>
                <a:gd name="connsiteY4" fmla="*/ 30682 h 281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682" h="281444">
                  <a:moveTo>
                    <a:pt x="49090" y="30682"/>
                  </a:moveTo>
                  <a:cubicBezTo>
                    <a:pt x="49090" y="30682"/>
                    <a:pt x="82841" y="223977"/>
                    <a:pt x="165683" y="276136"/>
                  </a:cubicBezTo>
                  <a:cubicBezTo>
                    <a:pt x="165683" y="276136"/>
                    <a:pt x="58296" y="291477"/>
                    <a:pt x="0" y="270000"/>
                  </a:cubicBezTo>
                  <a:lnTo>
                    <a:pt x="6137" y="0"/>
                  </a:lnTo>
                  <a:lnTo>
                    <a:pt x="49090" y="30682"/>
                  </a:ln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0C6121F4-65DD-4FBF-8FE6-289B9A25C3FA}"/>
                </a:ext>
              </a:extLst>
            </p:cNvPr>
            <p:cNvSpPr/>
            <p:nvPr/>
          </p:nvSpPr>
          <p:spPr>
            <a:xfrm>
              <a:off x="19823727" y="8295537"/>
              <a:ext cx="78076" cy="114774"/>
            </a:xfrm>
            <a:custGeom>
              <a:avLst/>
              <a:gdLst>
                <a:gd name="connsiteX0" fmla="*/ 65804 w 78076"/>
                <a:gd name="connsiteY0" fmla="*/ 16835 h 114774"/>
                <a:gd name="connsiteX1" fmla="*/ 7508 w 78076"/>
                <a:gd name="connsiteY1" fmla="*/ 7630 h 114774"/>
                <a:gd name="connsiteX2" fmla="*/ 65804 w 78076"/>
                <a:gd name="connsiteY2" fmla="*/ 111948 h 114774"/>
                <a:gd name="connsiteX3" fmla="*/ 65804 w 78076"/>
                <a:gd name="connsiteY3" fmla="*/ 16835 h 114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076" h="114774">
                  <a:moveTo>
                    <a:pt x="65804" y="16835"/>
                  </a:moveTo>
                  <a:cubicBezTo>
                    <a:pt x="65804" y="16835"/>
                    <a:pt x="32053" y="-13847"/>
                    <a:pt x="7508" y="7630"/>
                  </a:cubicBezTo>
                  <a:cubicBezTo>
                    <a:pt x="-17037" y="26040"/>
                    <a:pt x="22849" y="133426"/>
                    <a:pt x="65804" y="111948"/>
                  </a:cubicBezTo>
                  <a:cubicBezTo>
                    <a:pt x="93417" y="90471"/>
                    <a:pt x="65804" y="16835"/>
                    <a:pt x="65804" y="16835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0517D2A9-B2E8-441F-B078-E7ED2E90BAA2}"/>
                </a:ext>
              </a:extLst>
            </p:cNvPr>
            <p:cNvSpPr/>
            <p:nvPr/>
          </p:nvSpPr>
          <p:spPr>
            <a:xfrm>
              <a:off x="20192010" y="8169965"/>
              <a:ext cx="148542" cy="166952"/>
            </a:xfrm>
            <a:custGeom>
              <a:avLst/>
              <a:gdLst>
                <a:gd name="connsiteX0" fmla="*/ 142408 w 148542"/>
                <a:gd name="connsiteY0" fmla="*/ 166953 h 166952"/>
                <a:gd name="connsiteX1" fmla="*/ 136271 w 148542"/>
                <a:gd name="connsiteY1" fmla="*/ 160816 h 166952"/>
                <a:gd name="connsiteX2" fmla="*/ 4340 w 148542"/>
                <a:gd name="connsiteY2" fmla="*/ 10475 h 166952"/>
                <a:gd name="connsiteX3" fmla="*/ 1271 w 148542"/>
                <a:gd name="connsiteY3" fmla="*/ 4339 h 166952"/>
                <a:gd name="connsiteX4" fmla="*/ 7407 w 148542"/>
                <a:gd name="connsiteY4" fmla="*/ 1271 h 166952"/>
                <a:gd name="connsiteX5" fmla="*/ 148543 w 148542"/>
                <a:gd name="connsiteY5" fmla="*/ 160816 h 166952"/>
                <a:gd name="connsiteX6" fmla="*/ 142408 w 148542"/>
                <a:gd name="connsiteY6" fmla="*/ 166953 h 166952"/>
                <a:gd name="connsiteX7" fmla="*/ 142408 w 148542"/>
                <a:gd name="connsiteY7" fmla="*/ 166953 h 16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542" h="166952">
                  <a:moveTo>
                    <a:pt x="142408" y="166953"/>
                  </a:moveTo>
                  <a:cubicBezTo>
                    <a:pt x="139339" y="166953"/>
                    <a:pt x="136271" y="163884"/>
                    <a:pt x="136271" y="160816"/>
                  </a:cubicBezTo>
                  <a:cubicBezTo>
                    <a:pt x="111726" y="38089"/>
                    <a:pt x="4340" y="10475"/>
                    <a:pt x="4340" y="10475"/>
                  </a:cubicBezTo>
                  <a:cubicBezTo>
                    <a:pt x="1271" y="10475"/>
                    <a:pt x="-1797" y="7407"/>
                    <a:pt x="1271" y="4339"/>
                  </a:cubicBezTo>
                  <a:cubicBezTo>
                    <a:pt x="1271" y="1271"/>
                    <a:pt x="4340" y="-1797"/>
                    <a:pt x="7407" y="1271"/>
                  </a:cubicBezTo>
                  <a:cubicBezTo>
                    <a:pt x="7407" y="1271"/>
                    <a:pt x="123998" y="31953"/>
                    <a:pt x="148543" y="160816"/>
                  </a:cubicBezTo>
                  <a:cubicBezTo>
                    <a:pt x="148543" y="163884"/>
                    <a:pt x="145475" y="166953"/>
                    <a:pt x="142408" y="166953"/>
                  </a:cubicBezTo>
                  <a:cubicBezTo>
                    <a:pt x="142408" y="166953"/>
                    <a:pt x="142408" y="166953"/>
                    <a:pt x="142408" y="166953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D54CC3B3-DEB0-4E6A-B746-79E4D6863BC7}"/>
                </a:ext>
              </a:extLst>
            </p:cNvPr>
            <p:cNvSpPr/>
            <p:nvPr/>
          </p:nvSpPr>
          <p:spPr>
            <a:xfrm>
              <a:off x="20365100" y="8382941"/>
              <a:ext cx="91278" cy="181022"/>
            </a:xfrm>
            <a:custGeom>
              <a:avLst/>
              <a:gdLst>
                <a:gd name="connsiteX0" fmla="*/ 85909 w 91278"/>
                <a:gd name="connsiteY0" fmla="*/ 181023 h 181022"/>
                <a:gd name="connsiteX1" fmla="*/ 82839 w 91278"/>
                <a:gd name="connsiteY1" fmla="*/ 177954 h 181022"/>
                <a:gd name="connsiteX2" fmla="*/ 0 w 91278"/>
                <a:gd name="connsiteY2" fmla="*/ 6136 h 181022"/>
                <a:gd name="connsiteX3" fmla="*/ 3067 w 91278"/>
                <a:gd name="connsiteY3" fmla="*/ 0 h 181022"/>
                <a:gd name="connsiteX4" fmla="*/ 9204 w 91278"/>
                <a:gd name="connsiteY4" fmla="*/ 3068 h 181022"/>
                <a:gd name="connsiteX5" fmla="*/ 88976 w 91278"/>
                <a:gd name="connsiteY5" fmla="*/ 168750 h 181022"/>
                <a:gd name="connsiteX6" fmla="*/ 88976 w 91278"/>
                <a:gd name="connsiteY6" fmla="*/ 177954 h 181022"/>
                <a:gd name="connsiteX7" fmla="*/ 85909 w 91278"/>
                <a:gd name="connsiteY7" fmla="*/ 181023 h 18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278" h="181022">
                  <a:moveTo>
                    <a:pt x="85909" y="181023"/>
                  </a:moveTo>
                  <a:cubicBezTo>
                    <a:pt x="85909" y="181023"/>
                    <a:pt x="82839" y="181023"/>
                    <a:pt x="82839" y="177954"/>
                  </a:cubicBezTo>
                  <a:cubicBezTo>
                    <a:pt x="27613" y="122727"/>
                    <a:pt x="0" y="9204"/>
                    <a:pt x="0" y="6136"/>
                  </a:cubicBezTo>
                  <a:cubicBezTo>
                    <a:pt x="0" y="3068"/>
                    <a:pt x="0" y="0"/>
                    <a:pt x="3067" y="0"/>
                  </a:cubicBezTo>
                  <a:cubicBezTo>
                    <a:pt x="6135" y="0"/>
                    <a:pt x="9204" y="0"/>
                    <a:pt x="9204" y="3068"/>
                  </a:cubicBezTo>
                  <a:cubicBezTo>
                    <a:pt x="9204" y="3068"/>
                    <a:pt x="33749" y="116591"/>
                    <a:pt x="88976" y="168750"/>
                  </a:cubicBezTo>
                  <a:cubicBezTo>
                    <a:pt x="92045" y="171818"/>
                    <a:pt x="92045" y="174886"/>
                    <a:pt x="88976" y="177954"/>
                  </a:cubicBezTo>
                  <a:cubicBezTo>
                    <a:pt x="88976" y="181023"/>
                    <a:pt x="85909" y="181023"/>
                    <a:pt x="85909" y="181023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28234286-51A6-480F-8331-294DAC0BF305}"/>
                </a:ext>
              </a:extLst>
            </p:cNvPr>
            <p:cNvSpPr/>
            <p:nvPr/>
          </p:nvSpPr>
          <p:spPr>
            <a:xfrm>
              <a:off x="20334418" y="8462713"/>
              <a:ext cx="75937" cy="125795"/>
            </a:xfrm>
            <a:custGeom>
              <a:avLst/>
              <a:gdLst>
                <a:gd name="connsiteX0" fmla="*/ 70568 w 75937"/>
                <a:gd name="connsiteY0" fmla="*/ 122727 h 125795"/>
                <a:gd name="connsiteX1" fmla="*/ 67499 w 75937"/>
                <a:gd name="connsiteY1" fmla="*/ 122727 h 125795"/>
                <a:gd name="connsiteX2" fmla="*/ 0 w 75937"/>
                <a:gd name="connsiteY2" fmla="*/ 6136 h 125795"/>
                <a:gd name="connsiteX3" fmla="*/ 3067 w 75937"/>
                <a:gd name="connsiteY3" fmla="*/ 0 h 125795"/>
                <a:gd name="connsiteX4" fmla="*/ 9204 w 75937"/>
                <a:gd name="connsiteY4" fmla="*/ 3068 h 125795"/>
                <a:gd name="connsiteX5" fmla="*/ 73635 w 75937"/>
                <a:gd name="connsiteY5" fmla="*/ 116591 h 125795"/>
                <a:gd name="connsiteX6" fmla="*/ 73635 w 75937"/>
                <a:gd name="connsiteY6" fmla="*/ 125796 h 125795"/>
                <a:gd name="connsiteX7" fmla="*/ 70568 w 75937"/>
                <a:gd name="connsiteY7" fmla="*/ 122727 h 125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937" h="125795">
                  <a:moveTo>
                    <a:pt x="70568" y="122727"/>
                  </a:moveTo>
                  <a:cubicBezTo>
                    <a:pt x="70568" y="122727"/>
                    <a:pt x="67499" y="122727"/>
                    <a:pt x="67499" y="122727"/>
                  </a:cubicBezTo>
                  <a:cubicBezTo>
                    <a:pt x="30682" y="95114"/>
                    <a:pt x="0" y="9205"/>
                    <a:pt x="0" y="6136"/>
                  </a:cubicBezTo>
                  <a:cubicBezTo>
                    <a:pt x="0" y="3068"/>
                    <a:pt x="0" y="0"/>
                    <a:pt x="3067" y="0"/>
                  </a:cubicBezTo>
                  <a:cubicBezTo>
                    <a:pt x="6135" y="0"/>
                    <a:pt x="9204" y="0"/>
                    <a:pt x="9204" y="3068"/>
                  </a:cubicBezTo>
                  <a:cubicBezTo>
                    <a:pt x="9204" y="3068"/>
                    <a:pt x="39886" y="88978"/>
                    <a:pt x="73635" y="116591"/>
                  </a:cubicBezTo>
                  <a:cubicBezTo>
                    <a:pt x="76705" y="119659"/>
                    <a:pt x="76705" y="122727"/>
                    <a:pt x="73635" y="125796"/>
                  </a:cubicBezTo>
                  <a:cubicBezTo>
                    <a:pt x="73635" y="122727"/>
                    <a:pt x="73635" y="122727"/>
                    <a:pt x="70568" y="122727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CECE9AE6-85B8-4CF9-8E5A-AE0D20C67D71}"/>
                </a:ext>
              </a:extLst>
            </p:cNvPr>
            <p:cNvSpPr/>
            <p:nvPr/>
          </p:nvSpPr>
          <p:spPr>
            <a:xfrm>
              <a:off x="19883395" y="8398282"/>
              <a:ext cx="121959" cy="260795"/>
            </a:xfrm>
            <a:custGeom>
              <a:avLst/>
              <a:gdLst>
                <a:gd name="connsiteX0" fmla="*/ 113523 w 121959"/>
                <a:gd name="connsiteY0" fmla="*/ 260795 h 260795"/>
                <a:gd name="connsiteX1" fmla="*/ 110454 w 121959"/>
                <a:gd name="connsiteY1" fmla="*/ 257727 h 260795"/>
                <a:gd name="connsiteX2" fmla="*/ 0 w 121959"/>
                <a:gd name="connsiteY2" fmla="*/ 6136 h 260795"/>
                <a:gd name="connsiteX3" fmla="*/ 6137 w 121959"/>
                <a:gd name="connsiteY3" fmla="*/ 0 h 260795"/>
                <a:gd name="connsiteX4" fmla="*/ 12272 w 121959"/>
                <a:gd name="connsiteY4" fmla="*/ 6136 h 260795"/>
                <a:gd name="connsiteX5" fmla="*/ 119658 w 121959"/>
                <a:gd name="connsiteY5" fmla="*/ 251591 h 260795"/>
                <a:gd name="connsiteX6" fmla="*/ 119658 w 121959"/>
                <a:gd name="connsiteY6" fmla="*/ 260795 h 260795"/>
                <a:gd name="connsiteX7" fmla="*/ 113523 w 121959"/>
                <a:gd name="connsiteY7" fmla="*/ 260795 h 260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59" h="260795">
                  <a:moveTo>
                    <a:pt x="113523" y="260795"/>
                  </a:moveTo>
                  <a:cubicBezTo>
                    <a:pt x="110454" y="260795"/>
                    <a:pt x="110454" y="260795"/>
                    <a:pt x="110454" y="257727"/>
                  </a:cubicBezTo>
                  <a:cubicBezTo>
                    <a:pt x="21478" y="162613"/>
                    <a:pt x="0" y="12273"/>
                    <a:pt x="0" y="6136"/>
                  </a:cubicBezTo>
                  <a:cubicBezTo>
                    <a:pt x="0" y="3068"/>
                    <a:pt x="3067" y="0"/>
                    <a:pt x="6137" y="0"/>
                  </a:cubicBezTo>
                  <a:cubicBezTo>
                    <a:pt x="9204" y="0"/>
                    <a:pt x="12272" y="3068"/>
                    <a:pt x="12272" y="6136"/>
                  </a:cubicBezTo>
                  <a:cubicBezTo>
                    <a:pt x="12272" y="6136"/>
                    <a:pt x="33749" y="159545"/>
                    <a:pt x="119658" y="251591"/>
                  </a:cubicBezTo>
                  <a:cubicBezTo>
                    <a:pt x="122727" y="254659"/>
                    <a:pt x="122727" y="257727"/>
                    <a:pt x="119658" y="260795"/>
                  </a:cubicBezTo>
                  <a:cubicBezTo>
                    <a:pt x="116591" y="260795"/>
                    <a:pt x="113523" y="260795"/>
                    <a:pt x="113523" y="260795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BFAF3690-B9D9-45DE-8ED7-B98C5426A3B7}"/>
                </a:ext>
              </a:extLst>
            </p:cNvPr>
            <p:cNvSpPr/>
            <p:nvPr/>
          </p:nvSpPr>
          <p:spPr>
            <a:xfrm>
              <a:off x="19858850" y="8119077"/>
              <a:ext cx="113521" cy="187159"/>
            </a:xfrm>
            <a:custGeom>
              <a:avLst/>
              <a:gdLst>
                <a:gd name="connsiteX0" fmla="*/ 6135 w 113521"/>
                <a:gd name="connsiteY0" fmla="*/ 187159 h 187159"/>
                <a:gd name="connsiteX1" fmla="*/ 6135 w 113521"/>
                <a:gd name="connsiteY1" fmla="*/ 187159 h 187159"/>
                <a:gd name="connsiteX2" fmla="*/ 0 w 113521"/>
                <a:gd name="connsiteY2" fmla="*/ 181023 h 187159"/>
                <a:gd name="connsiteX3" fmla="*/ 52158 w 113521"/>
                <a:gd name="connsiteY3" fmla="*/ 67500 h 187159"/>
                <a:gd name="connsiteX4" fmla="*/ 101250 w 113521"/>
                <a:gd name="connsiteY4" fmla="*/ 3068 h 187159"/>
                <a:gd name="connsiteX5" fmla="*/ 110454 w 113521"/>
                <a:gd name="connsiteY5" fmla="*/ 0 h 187159"/>
                <a:gd name="connsiteX6" fmla="*/ 113521 w 113521"/>
                <a:gd name="connsiteY6" fmla="*/ 9205 h 187159"/>
                <a:gd name="connsiteX7" fmla="*/ 58294 w 113521"/>
                <a:gd name="connsiteY7" fmla="*/ 76705 h 187159"/>
                <a:gd name="connsiteX8" fmla="*/ 12272 w 113521"/>
                <a:gd name="connsiteY8" fmla="*/ 184091 h 187159"/>
                <a:gd name="connsiteX9" fmla="*/ 6135 w 113521"/>
                <a:gd name="connsiteY9" fmla="*/ 187159 h 187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3521" h="187159">
                  <a:moveTo>
                    <a:pt x="6135" y="187159"/>
                  </a:moveTo>
                  <a:cubicBezTo>
                    <a:pt x="6135" y="187159"/>
                    <a:pt x="6135" y="187159"/>
                    <a:pt x="6135" y="187159"/>
                  </a:cubicBezTo>
                  <a:cubicBezTo>
                    <a:pt x="3067" y="187159"/>
                    <a:pt x="0" y="184091"/>
                    <a:pt x="0" y="181023"/>
                  </a:cubicBezTo>
                  <a:cubicBezTo>
                    <a:pt x="0" y="165682"/>
                    <a:pt x="12272" y="95114"/>
                    <a:pt x="52158" y="67500"/>
                  </a:cubicBezTo>
                  <a:cubicBezTo>
                    <a:pt x="82839" y="46023"/>
                    <a:pt x="101250" y="6136"/>
                    <a:pt x="101250" y="3068"/>
                  </a:cubicBezTo>
                  <a:cubicBezTo>
                    <a:pt x="101250" y="0"/>
                    <a:pt x="107386" y="0"/>
                    <a:pt x="110454" y="0"/>
                  </a:cubicBezTo>
                  <a:cubicBezTo>
                    <a:pt x="113521" y="0"/>
                    <a:pt x="113521" y="6136"/>
                    <a:pt x="113521" y="9205"/>
                  </a:cubicBezTo>
                  <a:cubicBezTo>
                    <a:pt x="113521" y="12273"/>
                    <a:pt x="92045" y="52159"/>
                    <a:pt x="58294" y="76705"/>
                  </a:cubicBezTo>
                  <a:cubicBezTo>
                    <a:pt x="30682" y="98182"/>
                    <a:pt x="15341" y="147273"/>
                    <a:pt x="12272" y="184091"/>
                  </a:cubicBezTo>
                  <a:cubicBezTo>
                    <a:pt x="12272" y="184091"/>
                    <a:pt x="9204" y="187159"/>
                    <a:pt x="6135" y="187159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C54DCFE4-9DFE-4FA1-BDCD-4706C60E45AF}"/>
                </a:ext>
              </a:extLst>
            </p:cNvPr>
            <p:cNvSpPr/>
            <p:nvPr/>
          </p:nvSpPr>
          <p:spPr>
            <a:xfrm>
              <a:off x="20024530" y="8025712"/>
              <a:ext cx="120930" cy="20999"/>
            </a:xfrm>
            <a:custGeom>
              <a:avLst/>
              <a:gdLst>
                <a:gd name="connsiteX0" fmla="*/ 6137 w 120930"/>
                <a:gd name="connsiteY0" fmla="*/ 19729 h 20999"/>
                <a:gd name="connsiteX1" fmla="*/ 0 w 120930"/>
                <a:gd name="connsiteY1" fmla="*/ 16660 h 20999"/>
                <a:gd name="connsiteX2" fmla="*/ 3069 w 120930"/>
                <a:gd name="connsiteY2" fmla="*/ 10524 h 20999"/>
                <a:gd name="connsiteX3" fmla="*/ 116591 w 120930"/>
                <a:gd name="connsiteY3" fmla="*/ 7456 h 20999"/>
                <a:gd name="connsiteX4" fmla="*/ 119660 w 120930"/>
                <a:gd name="connsiteY4" fmla="*/ 16660 h 20999"/>
                <a:gd name="connsiteX5" fmla="*/ 110456 w 120930"/>
                <a:gd name="connsiteY5" fmla="*/ 19729 h 20999"/>
                <a:gd name="connsiteX6" fmla="*/ 6137 w 120930"/>
                <a:gd name="connsiteY6" fmla="*/ 19729 h 20999"/>
                <a:gd name="connsiteX7" fmla="*/ 6137 w 120930"/>
                <a:gd name="connsiteY7" fmla="*/ 19729 h 2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930" h="20999">
                  <a:moveTo>
                    <a:pt x="6137" y="19729"/>
                  </a:moveTo>
                  <a:cubicBezTo>
                    <a:pt x="3069" y="19729"/>
                    <a:pt x="0" y="19729"/>
                    <a:pt x="0" y="16660"/>
                  </a:cubicBezTo>
                  <a:cubicBezTo>
                    <a:pt x="0" y="13592"/>
                    <a:pt x="0" y="10524"/>
                    <a:pt x="3069" y="10524"/>
                  </a:cubicBezTo>
                  <a:cubicBezTo>
                    <a:pt x="6137" y="10524"/>
                    <a:pt x="67500" y="-10953"/>
                    <a:pt x="116591" y="7456"/>
                  </a:cubicBezTo>
                  <a:cubicBezTo>
                    <a:pt x="119660" y="7456"/>
                    <a:pt x="122727" y="10524"/>
                    <a:pt x="119660" y="16660"/>
                  </a:cubicBezTo>
                  <a:cubicBezTo>
                    <a:pt x="119660" y="19729"/>
                    <a:pt x="116591" y="22796"/>
                    <a:pt x="110456" y="19729"/>
                  </a:cubicBezTo>
                  <a:cubicBezTo>
                    <a:pt x="70568" y="-1749"/>
                    <a:pt x="9204" y="16660"/>
                    <a:pt x="6137" y="19729"/>
                  </a:cubicBezTo>
                  <a:cubicBezTo>
                    <a:pt x="9204" y="16660"/>
                    <a:pt x="9204" y="19729"/>
                    <a:pt x="6137" y="19729"/>
                  </a:cubicBezTo>
                  <a:close/>
                </a:path>
              </a:pathLst>
            </a:custGeom>
            <a:solidFill>
              <a:srgbClr val="D3977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0E299C38-8024-477A-9D3A-DA2964F0D93D}"/>
                </a:ext>
              </a:extLst>
            </p:cNvPr>
            <p:cNvSpPr/>
            <p:nvPr/>
          </p:nvSpPr>
          <p:spPr>
            <a:xfrm>
              <a:off x="20049075" y="10085782"/>
              <a:ext cx="101251" cy="236249"/>
            </a:xfrm>
            <a:custGeom>
              <a:avLst/>
              <a:gdLst>
                <a:gd name="connsiteX0" fmla="*/ 6137 w 101251"/>
                <a:gd name="connsiteY0" fmla="*/ 236249 h 236249"/>
                <a:gd name="connsiteX1" fmla="*/ 6137 w 101251"/>
                <a:gd name="connsiteY1" fmla="*/ 236249 h 236249"/>
                <a:gd name="connsiteX2" fmla="*/ 0 w 101251"/>
                <a:gd name="connsiteY2" fmla="*/ 227045 h 236249"/>
                <a:gd name="connsiteX3" fmla="*/ 92045 w 101251"/>
                <a:gd name="connsiteY3" fmla="*/ 3068 h 236249"/>
                <a:gd name="connsiteX4" fmla="*/ 98182 w 101251"/>
                <a:gd name="connsiteY4" fmla="*/ 0 h 236249"/>
                <a:gd name="connsiteX5" fmla="*/ 101252 w 101251"/>
                <a:gd name="connsiteY5" fmla="*/ 6136 h 236249"/>
                <a:gd name="connsiteX6" fmla="*/ 9206 w 101251"/>
                <a:gd name="connsiteY6" fmla="*/ 230114 h 236249"/>
                <a:gd name="connsiteX7" fmla="*/ 6137 w 101251"/>
                <a:gd name="connsiteY7" fmla="*/ 236249 h 236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251" h="236249">
                  <a:moveTo>
                    <a:pt x="6137" y="236249"/>
                  </a:moveTo>
                  <a:cubicBezTo>
                    <a:pt x="3069" y="236249"/>
                    <a:pt x="3069" y="236249"/>
                    <a:pt x="6137" y="236249"/>
                  </a:cubicBezTo>
                  <a:cubicBezTo>
                    <a:pt x="0" y="233182"/>
                    <a:pt x="0" y="230114"/>
                    <a:pt x="0" y="227045"/>
                  </a:cubicBezTo>
                  <a:lnTo>
                    <a:pt x="92045" y="3068"/>
                  </a:lnTo>
                  <a:cubicBezTo>
                    <a:pt x="92045" y="0"/>
                    <a:pt x="95115" y="0"/>
                    <a:pt x="98182" y="0"/>
                  </a:cubicBezTo>
                  <a:cubicBezTo>
                    <a:pt x="101252" y="0"/>
                    <a:pt x="101252" y="3068"/>
                    <a:pt x="101252" y="6136"/>
                  </a:cubicBezTo>
                  <a:lnTo>
                    <a:pt x="9206" y="230114"/>
                  </a:lnTo>
                  <a:cubicBezTo>
                    <a:pt x="9206" y="236249"/>
                    <a:pt x="6137" y="236249"/>
                    <a:pt x="6137" y="236249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AFFE828A-D05E-4F12-AF5F-553CA42870A6}"/>
                </a:ext>
              </a:extLst>
            </p:cNvPr>
            <p:cNvSpPr/>
            <p:nvPr/>
          </p:nvSpPr>
          <p:spPr>
            <a:xfrm>
              <a:off x="19729986" y="9634758"/>
              <a:ext cx="690340" cy="39886"/>
            </a:xfrm>
            <a:custGeom>
              <a:avLst/>
              <a:gdLst>
                <a:gd name="connsiteX0" fmla="*/ 457158 w 690340"/>
                <a:gd name="connsiteY0" fmla="*/ 39887 h 39886"/>
                <a:gd name="connsiteX1" fmla="*/ 6137 w 690340"/>
                <a:gd name="connsiteY1" fmla="*/ 12273 h 39886"/>
                <a:gd name="connsiteX2" fmla="*/ 0 w 690340"/>
                <a:gd name="connsiteY2" fmla="*/ 6137 h 39886"/>
                <a:gd name="connsiteX3" fmla="*/ 6137 w 690340"/>
                <a:gd name="connsiteY3" fmla="*/ 0 h 39886"/>
                <a:gd name="connsiteX4" fmla="*/ 684204 w 690340"/>
                <a:gd name="connsiteY4" fmla="*/ 18409 h 39886"/>
                <a:gd name="connsiteX5" fmla="*/ 690341 w 690340"/>
                <a:gd name="connsiteY5" fmla="*/ 24546 h 39886"/>
                <a:gd name="connsiteX6" fmla="*/ 684204 w 690340"/>
                <a:gd name="connsiteY6" fmla="*/ 30682 h 39886"/>
                <a:gd name="connsiteX7" fmla="*/ 457158 w 690340"/>
                <a:gd name="connsiteY7" fmla="*/ 39887 h 39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0340" h="39886">
                  <a:moveTo>
                    <a:pt x="457158" y="39887"/>
                  </a:moveTo>
                  <a:cubicBezTo>
                    <a:pt x="337500" y="39887"/>
                    <a:pt x="177954" y="33750"/>
                    <a:pt x="6137" y="12273"/>
                  </a:cubicBezTo>
                  <a:cubicBezTo>
                    <a:pt x="3067" y="12273"/>
                    <a:pt x="0" y="9205"/>
                    <a:pt x="0" y="6137"/>
                  </a:cubicBezTo>
                  <a:cubicBezTo>
                    <a:pt x="0" y="3068"/>
                    <a:pt x="3067" y="0"/>
                    <a:pt x="6137" y="0"/>
                  </a:cubicBezTo>
                  <a:cubicBezTo>
                    <a:pt x="377386" y="46023"/>
                    <a:pt x="681137" y="18409"/>
                    <a:pt x="684204" y="18409"/>
                  </a:cubicBezTo>
                  <a:cubicBezTo>
                    <a:pt x="687272" y="18409"/>
                    <a:pt x="690341" y="21478"/>
                    <a:pt x="690341" y="24546"/>
                  </a:cubicBezTo>
                  <a:cubicBezTo>
                    <a:pt x="690341" y="27613"/>
                    <a:pt x="687272" y="30682"/>
                    <a:pt x="684204" y="30682"/>
                  </a:cubicBezTo>
                  <a:cubicBezTo>
                    <a:pt x="687272" y="30682"/>
                    <a:pt x="598295" y="39887"/>
                    <a:pt x="457158" y="39887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55A62027-3D50-4C4C-ABC4-4EEDF4B40D7C}"/>
                </a:ext>
              </a:extLst>
            </p:cNvPr>
            <p:cNvSpPr/>
            <p:nvPr/>
          </p:nvSpPr>
          <p:spPr>
            <a:xfrm>
              <a:off x="19895666" y="8683622"/>
              <a:ext cx="362046" cy="64432"/>
            </a:xfrm>
            <a:custGeom>
              <a:avLst/>
              <a:gdLst>
                <a:gd name="connsiteX0" fmla="*/ 325228 w 362046"/>
                <a:gd name="connsiteY0" fmla="*/ 9205 h 64432"/>
                <a:gd name="connsiteX1" fmla="*/ 24547 w 362046"/>
                <a:gd name="connsiteY1" fmla="*/ 0 h 64432"/>
                <a:gd name="connsiteX2" fmla="*/ 0 w 362046"/>
                <a:gd name="connsiteY2" fmla="*/ 9205 h 64432"/>
                <a:gd name="connsiteX3" fmla="*/ 190228 w 362046"/>
                <a:gd name="connsiteY3" fmla="*/ 64432 h 64432"/>
                <a:gd name="connsiteX4" fmla="*/ 362047 w 362046"/>
                <a:gd name="connsiteY4" fmla="*/ 15341 h 64432"/>
                <a:gd name="connsiteX5" fmla="*/ 325228 w 362046"/>
                <a:gd name="connsiteY5" fmla="*/ 9205 h 64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2046" h="64432">
                  <a:moveTo>
                    <a:pt x="325228" y="9205"/>
                  </a:moveTo>
                  <a:cubicBezTo>
                    <a:pt x="325228" y="9205"/>
                    <a:pt x="211705" y="67500"/>
                    <a:pt x="24547" y="0"/>
                  </a:cubicBezTo>
                  <a:lnTo>
                    <a:pt x="0" y="9205"/>
                  </a:lnTo>
                  <a:cubicBezTo>
                    <a:pt x="0" y="9205"/>
                    <a:pt x="79774" y="64432"/>
                    <a:pt x="190228" y="64432"/>
                  </a:cubicBezTo>
                  <a:cubicBezTo>
                    <a:pt x="294547" y="64432"/>
                    <a:pt x="362047" y="15341"/>
                    <a:pt x="362047" y="15341"/>
                  </a:cubicBezTo>
                  <a:cubicBezTo>
                    <a:pt x="362047" y="15341"/>
                    <a:pt x="346706" y="9205"/>
                    <a:pt x="325228" y="9205"/>
                  </a:cubicBezTo>
                  <a:close/>
                </a:path>
              </a:pathLst>
            </a:custGeom>
            <a:solidFill>
              <a:srgbClr val="F6EBE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96EAADE5-3493-43F5-B00E-46E38446655B}"/>
                </a:ext>
              </a:extLst>
            </p:cNvPr>
            <p:cNvSpPr/>
            <p:nvPr/>
          </p:nvSpPr>
          <p:spPr>
            <a:xfrm>
              <a:off x="20294530" y="11018509"/>
              <a:ext cx="76704" cy="1122954"/>
            </a:xfrm>
            <a:custGeom>
              <a:avLst/>
              <a:gdLst>
                <a:gd name="connsiteX0" fmla="*/ 6137 w 76704"/>
                <a:gd name="connsiteY0" fmla="*/ 1122955 h 1122954"/>
                <a:gd name="connsiteX1" fmla="*/ 6137 w 76704"/>
                <a:gd name="connsiteY1" fmla="*/ 1122955 h 1122954"/>
                <a:gd name="connsiteX2" fmla="*/ 0 w 76704"/>
                <a:gd name="connsiteY2" fmla="*/ 1116818 h 1122954"/>
                <a:gd name="connsiteX3" fmla="*/ 64433 w 76704"/>
                <a:gd name="connsiteY3" fmla="*/ 6137 h 1122954"/>
                <a:gd name="connsiteX4" fmla="*/ 70570 w 76704"/>
                <a:gd name="connsiteY4" fmla="*/ 0 h 1122954"/>
                <a:gd name="connsiteX5" fmla="*/ 76705 w 76704"/>
                <a:gd name="connsiteY5" fmla="*/ 6137 h 1122954"/>
                <a:gd name="connsiteX6" fmla="*/ 12273 w 76704"/>
                <a:gd name="connsiteY6" fmla="*/ 1116818 h 1122954"/>
                <a:gd name="connsiteX7" fmla="*/ 6137 w 76704"/>
                <a:gd name="connsiteY7" fmla="*/ 1122955 h 1122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704" h="1122954">
                  <a:moveTo>
                    <a:pt x="6137" y="1122955"/>
                  </a:moveTo>
                  <a:cubicBezTo>
                    <a:pt x="6137" y="1122955"/>
                    <a:pt x="6137" y="1122955"/>
                    <a:pt x="6137" y="1122955"/>
                  </a:cubicBezTo>
                  <a:cubicBezTo>
                    <a:pt x="3069" y="1122955"/>
                    <a:pt x="0" y="1119886"/>
                    <a:pt x="0" y="1116818"/>
                  </a:cubicBezTo>
                  <a:lnTo>
                    <a:pt x="64433" y="6137"/>
                  </a:lnTo>
                  <a:cubicBezTo>
                    <a:pt x="64433" y="3068"/>
                    <a:pt x="67500" y="0"/>
                    <a:pt x="70570" y="0"/>
                  </a:cubicBezTo>
                  <a:cubicBezTo>
                    <a:pt x="73637" y="0"/>
                    <a:pt x="76705" y="3068"/>
                    <a:pt x="76705" y="6137"/>
                  </a:cubicBezTo>
                  <a:lnTo>
                    <a:pt x="12273" y="1116818"/>
                  </a:lnTo>
                  <a:cubicBezTo>
                    <a:pt x="9206" y="1119886"/>
                    <a:pt x="9206" y="1122955"/>
                    <a:pt x="6137" y="1122955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171BFFD2-F01B-41AE-A028-E3EA4C5F76BD}"/>
                </a:ext>
              </a:extLst>
            </p:cNvPr>
            <p:cNvSpPr/>
            <p:nvPr/>
          </p:nvSpPr>
          <p:spPr>
            <a:xfrm>
              <a:off x="19573507" y="11187259"/>
              <a:ext cx="107386" cy="938863"/>
            </a:xfrm>
            <a:custGeom>
              <a:avLst/>
              <a:gdLst>
                <a:gd name="connsiteX0" fmla="*/ 79774 w 107386"/>
                <a:gd name="connsiteY0" fmla="*/ 938864 h 938863"/>
                <a:gd name="connsiteX1" fmla="*/ 9206 w 107386"/>
                <a:gd name="connsiteY1" fmla="*/ 932727 h 938863"/>
                <a:gd name="connsiteX2" fmla="*/ 0 w 107386"/>
                <a:gd name="connsiteY2" fmla="*/ 586023 h 938863"/>
                <a:gd name="connsiteX3" fmla="*/ 6137 w 107386"/>
                <a:gd name="connsiteY3" fmla="*/ 579886 h 938863"/>
                <a:gd name="connsiteX4" fmla="*/ 12273 w 107386"/>
                <a:gd name="connsiteY4" fmla="*/ 586023 h 938863"/>
                <a:gd name="connsiteX5" fmla="*/ 21478 w 107386"/>
                <a:gd name="connsiteY5" fmla="*/ 923523 h 938863"/>
                <a:gd name="connsiteX6" fmla="*/ 70570 w 107386"/>
                <a:gd name="connsiteY6" fmla="*/ 926591 h 938863"/>
                <a:gd name="connsiteX7" fmla="*/ 95115 w 107386"/>
                <a:gd name="connsiteY7" fmla="*/ 6137 h 938863"/>
                <a:gd name="connsiteX8" fmla="*/ 101252 w 107386"/>
                <a:gd name="connsiteY8" fmla="*/ 0 h 938863"/>
                <a:gd name="connsiteX9" fmla="*/ 107386 w 107386"/>
                <a:gd name="connsiteY9" fmla="*/ 6137 h 938863"/>
                <a:gd name="connsiteX10" fmla="*/ 79774 w 107386"/>
                <a:gd name="connsiteY10" fmla="*/ 938864 h 938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7386" h="938863">
                  <a:moveTo>
                    <a:pt x="79774" y="938864"/>
                  </a:moveTo>
                  <a:lnTo>
                    <a:pt x="9206" y="932727"/>
                  </a:lnTo>
                  <a:lnTo>
                    <a:pt x="0" y="586023"/>
                  </a:lnTo>
                  <a:cubicBezTo>
                    <a:pt x="0" y="582955"/>
                    <a:pt x="3069" y="579886"/>
                    <a:pt x="6137" y="579886"/>
                  </a:cubicBezTo>
                  <a:cubicBezTo>
                    <a:pt x="9206" y="579886"/>
                    <a:pt x="12273" y="582955"/>
                    <a:pt x="12273" y="586023"/>
                  </a:cubicBezTo>
                  <a:lnTo>
                    <a:pt x="21478" y="923523"/>
                  </a:lnTo>
                  <a:lnTo>
                    <a:pt x="70570" y="926591"/>
                  </a:lnTo>
                  <a:lnTo>
                    <a:pt x="95115" y="6137"/>
                  </a:lnTo>
                  <a:cubicBezTo>
                    <a:pt x="95115" y="3068"/>
                    <a:pt x="98182" y="0"/>
                    <a:pt x="101252" y="0"/>
                  </a:cubicBezTo>
                  <a:cubicBezTo>
                    <a:pt x="104319" y="0"/>
                    <a:pt x="107386" y="3068"/>
                    <a:pt x="107386" y="6137"/>
                  </a:cubicBezTo>
                  <a:lnTo>
                    <a:pt x="79774" y="938864"/>
                  </a:ln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4361E463-41AD-4BD1-9205-5F5FC153AB2A}"/>
                </a:ext>
              </a:extLst>
            </p:cNvPr>
            <p:cNvSpPr/>
            <p:nvPr/>
          </p:nvSpPr>
          <p:spPr>
            <a:xfrm>
              <a:off x="24135894" y="8944417"/>
              <a:ext cx="220909" cy="254659"/>
            </a:xfrm>
            <a:custGeom>
              <a:avLst/>
              <a:gdLst>
                <a:gd name="connsiteX0" fmla="*/ 101250 w 220909"/>
                <a:gd name="connsiteY0" fmla="*/ 0 h 254659"/>
                <a:gd name="connsiteX1" fmla="*/ 220909 w 220909"/>
                <a:gd name="connsiteY1" fmla="*/ 135000 h 254659"/>
                <a:gd name="connsiteX2" fmla="*/ 125797 w 220909"/>
                <a:gd name="connsiteY2" fmla="*/ 254659 h 254659"/>
                <a:gd name="connsiteX3" fmla="*/ 0 w 220909"/>
                <a:gd name="connsiteY3" fmla="*/ 128864 h 254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0909" h="254659">
                  <a:moveTo>
                    <a:pt x="101250" y="0"/>
                  </a:moveTo>
                  <a:lnTo>
                    <a:pt x="220909" y="135000"/>
                  </a:lnTo>
                  <a:lnTo>
                    <a:pt x="125797" y="254659"/>
                  </a:lnTo>
                  <a:lnTo>
                    <a:pt x="0" y="128864"/>
                  </a:ln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37222743-FE6E-4E2F-8B34-D37ED4B64218}"/>
                </a:ext>
              </a:extLst>
            </p:cNvPr>
            <p:cNvSpPr/>
            <p:nvPr/>
          </p:nvSpPr>
          <p:spPr>
            <a:xfrm>
              <a:off x="24169645" y="8529522"/>
              <a:ext cx="1169553" cy="1142062"/>
            </a:xfrm>
            <a:custGeom>
              <a:avLst/>
              <a:gdLst>
                <a:gd name="connsiteX0" fmla="*/ 1095339 w 1169553"/>
                <a:gd name="connsiteY0" fmla="*/ 6828 h 1142062"/>
                <a:gd name="connsiteX1" fmla="*/ 739431 w 1169553"/>
                <a:gd name="connsiteY1" fmla="*/ 359669 h 1142062"/>
                <a:gd name="connsiteX2" fmla="*/ 543067 w 1169553"/>
                <a:gd name="connsiteY2" fmla="*/ 813759 h 1142062"/>
                <a:gd name="connsiteX3" fmla="*/ 144203 w 1169553"/>
                <a:gd name="connsiteY3" fmla="*/ 439441 h 1142062"/>
                <a:gd name="connsiteX4" fmla="*/ 0 w 1169553"/>
                <a:gd name="connsiteY4" fmla="*/ 602055 h 1142062"/>
                <a:gd name="connsiteX5" fmla="*/ 558408 w 1169553"/>
                <a:gd name="connsiteY5" fmla="*/ 1142055 h 1142062"/>
                <a:gd name="connsiteX6" fmla="*/ 1095339 w 1169553"/>
                <a:gd name="connsiteY6" fmla="*/ 6828 h 114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69553" h="1142062">
                  <a:moveTo>
                    <a:pt x="1095339" y="6828"/>
                  </a:moveTo>
                  <a:cubicBezTo>
                    <a:pt x="969545" y="-48399"/>
                    <a:pt x="803862" y="246146"/>
                    <a:pt x="739431" y="359669"/>
                  </a:cubicBezTo>
                  <a:cubicBezTo>
                    <a:pt x="681135" y="460919"/>
                    <a:pt x="543067" y="813759"/>
                    <a:pt x="543067" y="813759"/>
                  </a:cubicBezTo>
                  <a:lnTo>
                    <a:pt x="144203" y="439441"/>
                  </a:lnTo>
                  <a:lnTo>
                    <a:pt x="0" y="602055"/>
                  </a:lnTo>
                  <a:cubicBezTo>
                    <a:pt x="0" y="602055"/>
                    <a:pt x="429545" y="1138987"/>
                    <a:pt x="558408" y="1142055"/>
                  </a:cubicBezTo>
                  <a:cubicBezTo>
                    <a:pt x="779317" y="1145124"/>
                    <a:pt x="1377613" y="132623"/>
                    <a:pt x="1095339" y="6828"/>
                  </a:cubicBezTo>
                  <a:close/>
                </a:path>
              </a:pathLst>
            </a:custGeom>
            <a:solidFill>
              <a:srgbClr val="D16156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1" name="图形 1">
              <a:extLst>
                <a:ext uri="{FF2B5EF4-FFF2-40B4-BE49-F238E27FC236}">
                  <a16:creationId xmlns:a16="http://schemas.microsoft.com/office/drawing/2014/main" id="{3A1E7648-3F48-4AC0-B740-4F6B1CF11335}"/>
                </a:ext>
              </a:extLst>
            </p:cNvPr>
            <p:cNvGrpSpPr/>
            <p:nvPr/>
          </p:nvGrpSpPr>
          <p:grpSpPr>
            <a:xfrm>
              <a:off x="24247103" y="12077031"/>
              <a:ext cx="569927" cy="388254"/>
              <a:chOff x="24247103" y="12077031"/>
              <a:chExt cx="569927" cy="388254"/>
            </a:xfrm>
          </p:grpSpPr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B0593060-4285-4392-A146-B858183669E9}"/>
                  </a:ext>
                </a:extLst>
              </p:cNvPr>
              <p:cNvSpPr/>
              <p:nvPr/>
            </p:nvSpPr>
            <p:spPr>
              <a:xfrm>
                <a:off x="24589984" y="12077031"/>
                <a:ext cx="227046" cy="269999"/>
              </a:xfrm>
              <a:custGeom>
                <a:avLst/>
                <a:gdLst>
                  <a:gd name="connsiteX0" fmla="*/ 159546 w 227046"/>
                  <a:gd name="connsiteY0" fmla="*/ 236250 h 269999"/>
                  <a:gd name="connsiteX1" fmla="*/ 227046 w 227046"/>
                  <a:gd name="connsiteY1" fmla="*/ 61364 h 269999"/>
                  <a:gd name="connsiteX2" fmla="*/ 52159 w 227046"/>
                  <a:gd name="connsiteY2" fmla="*/ 0 h 269999"/>
                  <a:gd name="connsiteX3" fmla="*/ 0 w 227046"/>
                  <a:gd name="connsiteY3" fmla="*/ 190228 h 269999"/>
                  <a:gd name="connsiteX4" fmla="*/ 135001 w 227046"/>
                  <a:gd name="connsiteY4" fmla="*/ 270000 h 269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7046" h="269999">
                    <a:moveTo>
                      <a:pt x="159546" y="236250"/>
                    </a:moveTo>
                    <a:lnTo>
                      <a:pt x="227046" y="61364"/>
                    </a:lnTo>
                    <a:lnTo>
                      <a:pt x="52159" y="0"/>
                    </a:lnTo>
                    <a:lnTo>
                      <a:pt x="0" y="190228"/>
                    </a:lnTo>
                    <a:lnTo>
                      <a:pt x="135001" y="270000"/>
                    </a:ln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2FF0B64E-0012-4704-9680-CB24A5C2CFFD}"/>
                  </a:ext>
                </a:extLst>
              </p:cNvPr>
              <p:cNvSpPr/>
              <p:nvPr/>
            </p:nvSpPr>
            <p:spPr>
              <a:xfrm>
                <a:off x="24261690" y="12208963"/>
                <a:ext cx="500113" cy="214772"/>
              </a:xfrm>
              <a:custGeom>
                <a:avLst/>
                <a:gdLst>
                  <a:gd name="connsiteX0" fmla="*/ 500113 w 500113"/>
                  <a:gd name="connsiteY0" fmla="*/ 107386 h 214772"/>
                  <a:gd name="connsiteX1" fmla="*/ 340567 w 500113"/>
                  <a:gd name="connsiteY1" fmla="*/ 0 h 214772"/>
                  <a:gd name="connsiteX2" fmla="*/ 187158 w 500113"/>
                  <a:gd name="connsiteY2" fmla="*/ 30682 h 214772"/>
                  <a:gd name="connsiteX3" fmla="*/ 0 w 500113"/>
                  <a:gd name="connsiteY3" fmla="*/ 49091 h 214772"/>
                  <a:gd name="connsiteX4" fmla="*/ 463295 w 500113"/>
                  <a:gd name="connsiteY4" fmla="*/ 214773 h 214772"/>
                  <a:gd name="connsiteX5" fmla="*/ 500113 w 500113"/>
                  <a:gd name="connsiteY5" fmla="*/ 107386 h 214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113" h="214772">
                    <a:moveTo>
                      <a:pt x="500113" y="107386"/>
                    </a:moveTo>
                    <a:cubicBezTo>
                      <a:pt x="500113" y="107386"/>
                      <a:pt x="377386" y="82841"/>
                      <a:pt x="340567" y="0"/>
                    </a:cubicBezTo>
                    <a:cubicBezTo>
                      <a:pt x="340567" y="0"/>
                      <a:pt x="233181" y="36819"/>
                      <a:pt x="187158" y="30682"/>
                    </a:cubicBezTo>
                    <a:cubicBezTo>
                      <a:pt x="141136" y="24546"/>
                      <a:pt x="36817" y="-15341"/>
                      <a:pt x="0" y="49091"/>
                    </a:cubicBezTo>
                    <a:lnTo>
                      <a:pt x="463295" y="214773"/>
                    </a:lnTo>
                    <a:cubicBezTo>
                      <a:pt x="463295" y="214773"/>
                      <a:pt x="500113" y="162614"/>
                      <a:pt x="500113" y="107386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DE1308FD-4481-446A-B61C-F26C81635436}"/>
                  </a:ext>
                </a:extLst>
              </p:cNvPr>
              <p:cNvSpPr/>
              <p:nvPr/>
            </p:nvSpPr>
            <p:spPr>
              <a:xfrm rot="-4224216">
                <a:off x="24463052" y="12115821"/>
                <a:ext cx="46023" cy="490920"/>
              </a:xfrm>
              <a:custGeom>
                <a:avLst/>
                <a:gdLst>
                  <a:gd name="connsiteX0" fmla="*/ 0 w 46023"/>
                  <a:gd name="connsiteY0" fmla="*/ 0 h 490920"/>
                  <a:gd name="connsiteX1" fmla="*/ 46024 w 46023"/>
                  <a:gd name="connsiteY1" fmla="*/ 0 h 490920"/>
                  <a:gd name="connsiteX2" fmla="*/ 46024 w 46023"/>
                  <a:gd name="connsiteY2" fmla="*/ 490920 h 490920"/>
                  <a:gd name="connsiteX3" fmla="*/ 0 w 46023"/>
                  <a:gd name="connsiteY3" fmla="*/ 490920 h 490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023" h="490920">
                    <a:moveTo>
                      <a:pt x="0" y="0"/>
                    </a:moveTo>
                    <a:lnTo>
                      <a:pt x="46024" y="0"/>
                    </a:lnTo>
                    <a:lnTo>
                      <a:pt x="46024" y="490920"/>
                    </a:lnTo>
                    <a:lnTo>
                      <a:pt x="0" y="490920"/>
                    </a:lnTo>
                    <a:close/>
                  </a:path>
                </a:pathLst>
              </a:custGeom>
              <a:solidFill>
                <a:srgbClr val="38333D"/>
              </a:solidFill>
              <a:ln w="306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E78C696E-9D7E-4B57-80AA-A38AC20A6308}"/>
                  </a:ext>
                </a:extLst>
              </p:cNvPr>
              <p:cNvSpPr/>
              <p:nvPr/>
            </p:nvSpPr>
            <p:spPr>
              <a:xfrm>
                <a:off x="24596121" y="12202827"/>
                <a:ext cx="173089" cy="119658"/>
              </a:xfrm>
              <a:custGeom>
                <a:avLst/>
                <a:gdLst>
                  <a:gd name="connsiteX0" fmla="*/ 165683 w 173089"/>
                  <a:gd name="connsiteY0" fmla="*/ 119659 h 119658"/>
                  <a:gd name="connsiteX1" fmla="*/ 165683 w 173089"/>
                  <a:gd name="connsiteY1" fmla="*/ 119659 h 119658"/>
                  <a:gd name="connsiteX2" fmla="*/ 0 w 173089"/>
                  <a:gd name="connsiteY2" fmla="*/ 9204 h 119658"/>
                  <a:gd name="connsiteX3" fmla="*/ 3069 w 173089"/>
                  <a:gd name="connsiteY3" fmla="*/ 0 h 119658"/>
                  <a:gd name="connsiteX4" fmla="*/ 12273 w 173089"/>
                  <a:gd name="connsiteY4" fmla="*/ 3068 h 119658"/>
                  <a:gd name="connsiteX5" fmla="*/ 168750 w 173089"/>
                  <a:gd name="connsiteY5" fmla="*/ 107386 h 119658"/>
                  <a:gd name="connsiteX6" fmla="*/ 171819 w 173089"/>
                  <a:gd name="connsiteY6" fmla="*/ 113522 h 119658"/>
                  <a:gd name="connsiteX7" fmla="*/ 165683 w 173089"/>
                  <a:gd name="connsiteY7" fmla="*/ 119659 h 119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3089" h="119658">
                    <a:moveTo>
                      <a:pt x="165683" y="119659"/>
                    </a:moveTo>
                    <a:cubicBezTo>
                      <a:pt x="165683" y="119659"/>
                      <a:pt x="165683" y="119659"/>
                      <a:pt x="165683" y="119659"/>
                    </a:cubicBezTo>
                    <a:cubicBezTo>
                      <a:pt x="159546" y="119659"/>
                      <a:pt x="46023" y="95114"/>
                      <a:pt x="0" y="9204"/>
                    </a:cubicBezTo>
                    <a:cubicBezTo>
                      <a:pt x="0" y="6136"/>
                      <a:pt x="0" y="3068"/>
                      <a:pt x="3069" y="0"/>
                    </a:cubicBezTo>
                    <a:cubicBezTo>
                      <a:pt x="6137" y="0"/>
                      <a:pt x="9204" y="0"/>
                      <a:pt x="12273" y="3068"/>
                    </a:cubicBezTo>
                    <a:cubicBezTo>
                      <a:pt x="55227" y="82840"/>
                      <a:pt x="168750" y="107386"/>
                      <a:pt x="168750" y="107386"/>
                    </a:cubicBezTo>
                    <a:cubicBezTo>
                      <a:pt x="171819" y="107386"/>
                      <a:pt x="174887" y="110455"/>
                      <a:pt x="171819" y="113522"/>
                    </a:cubicBezTo>
                    <a:cubicBezTo>
                      <a:pt x="171819" y="119659"/>
                      <a:pt x="168750" y="119659"/>
                      <a:pt x="165683" y="11965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157C30C8-1BF6-413E-89E1-8A770D8EFB0A}"/>
                  </a:ext>
                </a:extLst>
              </p:cNvPr>
              <p:cNvSpPr/>
              <p:nvPr/>
            </p:nvSpPr>
            <p:spPr>
              <a:xfrm>
                <a:off x="24553168" y="12221236"/>
                <a:ext cx="26559" cy="42954"/>
              </a:xfrm>
              <a:custGeom>
                <a:avLst/>
                <a:gdLst>
                  <a:gd name="connsiteX0" fmla="*/ 21476 w 26559"/>
                  <a:gd name="connsiteY0" fmla="*/ 42954 h 42954"/>
                  <a:gd name="connsiteX1" fmla="*/ 15341 w 26559"/>
                  <a:gd name="connsiteY1" fmla="*/ 39886 h 42954"/>
                  <a:gd name="connsiteX2" fmla="*/ 0 w 26559"/>
                  <a:gd name="connsiteY2" fmla="*/ 6136 h 42954"/>
                  <a:gd name="connsiteX3" fmla="*/ 3067 w 26559"/>
                  <a:gd name="connsiteY3" fmla="*/ 0 h 42954"/>
                  <a:gd name="connsiteX4" fmla="*/ 9204 w 26559"/>
                  <a:gd name="connsiteY4" fmla="*/ 3067 h 42954"/>
                  <a:gd name="connsiteX5" fmla="*/ 24545 w 26559"/>
                  <a:gd name="connsiteY5" fmla="*/ 36818 h 42954"/>
                  <a:gd name="connsiteX6" fmla="*/ 21476 w 26559"/>
                  <a:gd name="connsiteY6" fmla="*/ 42954 h 42954"/>
                  <a:gd name="connsiteX7" fmla="*/ 21476 w 26559"/>
                  <a:gd name="connsiteY7" fmla="*/ 42954 h 42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559" h="42954">
                    <a:moveTo>
                      <a:pt x="21476" y="42954"/>
                    </a:moveTo>
                    <a:cubicBezTo>
                      <a:pt x="18408" y="42954"/>
                      <a:pt x="18408" y="42954"/>
                      <a:pt x="15341" y="39886"/>
                    </a:cubicBezTo>
                    <a:lnTo>
                      <a:pt x="0" y="6136"/>
                    </a:lnTo>
                    <a:cubicBezTo>
                      <a:pt x="0" y="3067"/>
                      <a:pt x="0" y="0"/>
                      <a:pt x="3067" y="0"/>
                    </a:cubicBezTo>
                    <a:cubicBezTo>
                      <a:pt x="6135" y="0"/>
                      <a:pt x="9204" y="0"/>
                      <a:pt x="9204" y="3067"/>
                    </a:cubicBezTo>
                    <a:lnTo>
                      <a:pt x="24545" y="36818"/>
                    </a:lnTo>
                    <a:cubicBezTo>
                      <a:pt x="27613" y="36818"/>
                      <a:pt x="27613" y="39886"/>
                      <a:pt x="21476" y="42954"/>
                    </a:cubicBezTo>
                    <a:cubicBezTo>
                      <a:pt x="24545" y="42954"/>
                      <a:pt x="21476" y="42954"/>
                      <a:pt x="21476" y="4295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163AA040-EF4D-4E13-BEAC-A6EE36F3560D}"/>
                  </a:ext>
                </a:extLst>
              </p:cNvPr>
              <p:cNvSpPr/>
              <p:nvPr/>
            </p:nvSpPr>
            <p:spPr>
              <a:xfrm>
                <a:off x="24507145" y="12233509"/>
                <a:ext cx="26559" cy="42954"/>
              </a:xfrm>
              <a:custGeom>
                <a:avLst/>
                <a:gdLst>
                  <a:gd name="connsiteX0" fmla="*/ 21476 w 26559"/>
                  <a:gd name="connsiteY0" fmla="*/ 42954 h 42954"/>
                  <a:gd name="connsiteX1" fmla="*/ 15341 w 26559"/>
                  <a:gd name="connsiteY1" fmla="*/ 39886 h 42954"/>
                  <a:gd name="connsiteX2" fmla="*/ 0 w 26559"/>
                  <a:gd name="connsiteY2" fmla="*/ 6136 h 42954"/>
                  <a:gd name="connsiteX3" fmla="*/ 3067 w 26559"/>
                  <a:gd name="connsiteY3" fmla="*/ 0 h 42954"/>
                  <a:gd name="connsiteX4" fmla="*/ 9204 w 26559"/>
                  <a:gd name="connsiteY4" fmla="*/ 3068 h 42954"/>
                  <a:gd name="connsiteX5" fmla="*/ 24545 w 26559"/>
                  <a:gd name="connsiteY5" fmla="*/ 36818 h 42954"/>
                  <a:gd name="connsiteX6" fmla="*/ 21476 w 26559"/>
                  <a:gd name="connsiteY6" fmla="*/ 42954 h 42954"/>
                  <a:gd name="connsiteX7" fmla="*/ 21476 w 26559"/>
                  <a:gd name="connsiteY7" fmla="*/ 42954 h 42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559" h="42954">
                    <a:moveTo>
                      <a:pt x="21476" y="42954"/>
                    </a:moveTo>
                    <a:cubicBezTo>
                      <a:pt x="18408" y="42954"/>
                      <a:pt x="18408" y="42954"/>
                      <a:pt x="15341" y="39886"/>
                    </a:cubicBezTo>
                    <a:lnTo>
                      <a:pt x="0" y="6136"/>
                    </a:lnTo>
                    <a:cubicBezTo>
                      <a:pt x="0" y="3068"/>
                      <a:pt x="0" y="0"/>
                      <a:pt x="3067" y="0"/>
                    </a:cubicBezTo>
                    <a:cubicBezTo>
                      <a:pt x="6135" y="0"/>
                      <a:pt x="9204" y="0"/>
                      <a:pt x="9204" y="3068"/>
                    </a:cubicBezTo>
                    <a:lnTo>
                      <a:pt x="24545" y="36818"/>
                    </a:lnTo>
                    <a:cubicBezTo>
                      <a:pt x="27613" y="36818"/>
                      <a:pt x="27613" y="39886"/>
                      <a:pt x="21476" y="42954"/>
                    </a:cubicBezTo>
                    <a:cubicBezTo>
                      <a:pt x="24545" y="42954"/>
                      <a:pt x="24545" y="42954"/>
                      <a:pt x="21476" y="4295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2" name="图形 1">
              <a:extLst>
                <a:ext uri="{FF2B5EF4-FFF2-40B4-BE49-F238E27FC236}">
                  <a16:creationId xmlns:a16="http://schemas.microsoft.com/office/drawing/2014/main" id="{73E3C6C6-01A1-4C5B-8C36-25283C49B22E}"/>
                </a:ext>
              </a:extLst>
            </p:cNvPr>
            <p:cNvGrpSpPr/>
            <p:nvPr/>
          </p:nvGrpSpPr>
          <p:grpSpPr>
            <a:xfrm>
              <a:off x="25522712" y="12181349"/>
              <a:ext cx="500113" cy="343636"/>
              <a:chOff x="25522712" y="12181349"/>
              <a:chExt cx="500113" cy="343636"/>
            </a:xfrm>
          </p:grpSpPr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0A23A6CB-A24E-426D-8FB8-811C34A45754}"/>
                  </a:ext>
                </a:extLst>
              </p:cNvPr>
              <p:cNvSpPr/>
              <p:nvPr/>
            </p:nvSpPr>
            <p:spPr>
              <a:xfrm>
                <a:off x="25817257" y="12181349"/>
                <a:ext cx="184090" cy="223977"/>
              </a:xfrm>
              <a:custGeom>
                <a:avLst/>
                <a:gdLst>
                  <a:gd name="connsiteX0" fmla="*/ 184091 w 184090"/>
                  <a:gd name="connsiteY0" fmla="*/ 184091 h 223977"/>
                  <a:gd name="connsiteX1" fmla="*/ 184091 w 184090"/>
                  <a:gd name="connsiteY1" fmla="*/ 0 h 223977"/>
                  <a:gd name="connsiteX2" fmla="*/ 0 w 184090"/>
                  <a:gd name="connsiteY2" fmla="*/ 0 h 223977"/>
                  <a:gd name="connsiteX3" fmla="*/ 18410 w 184090"/>
                  <a:gd name="connsiteY3" fmla="*/ 196363 h 223977"/>
                  <a:gd name="connsiteX4" fmla="*/ 171819 w 184090"/>
                  <a:gd name="connsiteY4" fmla="*/ 223978 h 223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090" h="223977">
                    <a:moveTo>
                      <a:pt x="184091" y="184091"/>
                    </a:moveTo>
                    <a:lnTo>
                      <a:pt x="184091" y="0"/>
                    </a:lnTo>
                    <a:lnTo>
                      <a:pt x="0" y="0"/>
                    </a:lnTo>
                    <a:lnTo>
                      <a:pt x="18410" y="196363"/>
                    </a:lnTo>
                    <a:lnTo>
                      <a:pt x="171819" y="223978"/>
                    </a:ln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EF25BE8C-17E5-43D5-92D8-CC280C7A0B62}"/>
                  </a:ext>
                </a:extLst>
              </p:cNvPr>
              <p:cNvSpPr/>
              <p:nvPr/>
            </p:nvSpPr>
            <p:spPr>
              <a:xfrm>
                <a:off x="25522712" y="12319417"/>
                <a:ext cx="499090" cy="159545"/>
              </a:xfrm>
              <a:custGeom>
                <a:avLst/>
                <a:gdLst>
                  <a:gd name="connsiteX0" fmla="*/ 490909 w 499090"/>
                  <a:gd name="connsiteY0" fmla="*/ 46023 h 159545"/>
                  <a:gd name="connsiteX1" fmla="*/ 303751 w 499090"/>
                  <a:gd name="connsiteY1" fmla="*/ 0 h 159545"/>
                  <a:gd name="connsiteX2" fmla="*/ 168750 w 499090"/>
                  <a:gd name="connsiteY2" fmla="*/ 79773 h 159545"/>
                  <a:gd name="connsiteX3" fmla="*/ 0 w 499090"/>
                  <a:gd name="connsiteY3" fmla="*/ 159546 h 159545"/>
                  <a:gd name="connsiteX4" fmla="*/ 490909 w 499090"/>
                  <a:gd name="connsiteY4" fmla="*/ 159546 h 159545"/>
                  <a:gd name="connsiteX5" fmla="*/ 490909 w 499090"/>
                  <a:gd name="connsiteY5" fmla="*/ 46023 h 15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9090" h="159545">
                    <a:moveTo>
                      <a:pt x="490909" y="46023"/>
                    </a:moveTo>
                    <a:cubicBezTo>
                      <a:pt x="490909" y="46023"/>
                      <a:pt x="365114" y="64432"/>
                      <a:pt x="303751" y="0"/>
                    </a:cubicBezTo>
                    <a:cubicBezTo>
                      <a:pt x="303751" y="0"/>
                      <a:pt x="214773" y="70569"/>
                      <a:pt x="168750" y="79773"/>
                    </a:cubicBezTo>
                    <a:cubicBezTo>
                      <a:pt x="122727" y="88977"/>
                      <a:pt x="12273" y="85910"/>
                      <a:pt x="0" y="159546"/>
                    </a:cubicBezTo>
                    <a:lnTo>
                      <a:pt x="490909" y="159546"/>
                    </a:lnTo>
                    <a:cubicBezTo>
                      <a:pt x="490909" y="159546"/>
                      <a:pt x="509317" y="98182"/>
                      <a:pt x="490909" y="46023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AA9E5584-0B89-4CFF-8A71-65D2E6BE7F0E}"/>
                  </a:ext>
                </a:extLst>
              </p:cNvPr>
              <p:cNvSpPr/>
              <p:nvPr/>
            </p:nvSpPr>
            <p:spPr>
              <a:xfrm>
                <a:off x="25522712" y="12478963"/>
                <a:ext cx="490909" cy="46022"/>
              </a:xfrm>
              <a:custGeom>
                <a:avLst/>
                <a:gdLst>
                  <a:gd name="connsiteX0" fmla="*/ 0 w 490909"/>
                  <a:gd name="connsiteY0" fmla="*/ 0 h 46022"/>
                  <a:gd name="connsiteX1" fmla="*/ 490909 w 490909"/>
                  <a:gd name="connsiteY1" fmla="*/ 0 h 46022"/>
                  <a:gd name="connsiteX2" fmla="*/ 490909 w 490909"/>
                  <a:gd name="connsiteY2" fmla="*/ 46023 h 46022"/>
                  <a:gd name="connsiteX3" fmla="*/ 0 w 490909"/>
                  <a:gd name="connsiteY3" fmla="*/ 46023 h 46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0909" h="46022">
                    <a:moveTo>
                      <a:pt x="0" y="0"/>
                    </a:moveTo>
                    <a:lnTo>
                      <a:pt x="490909" y="0"/>
                    </a:lnTo>
                    <a:lnTo>
                      <a:pt x="490909" y="46023"/>
                    </a:lnTo>
                    <a:lnTo>
                      <a:pt x="0" y="46023"/>
                    </a:lnTo>
                    <a:close/>
                  </a:path>
                </a:pathLst>
              </a:custGeom>
              <a:solidFill>
                <a:srgbClr val="38333D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20F6F3E1-1DDF-44E0-B003-EF881BEA2EC5}"/>
                  </a:ext>
                </a:extLst>
              </p:cNvPr>
              <p:cNvSpPr/>
              <p:nvPr/>
            </p:nvSpPr>
            <p:spPr>
              <a:xfrm>
                <a:off x="25821093" y="12310980"/>
                <a:ext cx="201732" cy="63664"/>
              </a:xfrm>
              <a:custGeom>
                <a:avLst/>
                <a:gdLst>
                  <a:gd name="connsiteX0" fmla="*/ 158779 w 201732"/>
                  <a:gd name="connsiteY0" fmla="*/ 63665 h 63664"/>
                  <a:gd name="connsiteX1" fmla="*/ 2301 w 201732"/>
                  <a:gd name="connsiteY1" fmla="*/ 11505 h 63664"/>
                  <a:gd name="connsiteX2" fmla="*/ 2301 w 201732"/>
                  <a:gd name="connsiteY2" fmla="*/ 2301 h 63664"/>
                  <a:gd name="connsiteX3" fmla="*/ 11505 w 201732"/>
                  <a:gd name="connsiteY3" fmla="*/ 2301 h 63664"/>
                  <a:gd name="connsiteX4" fmla="*/ 195596 w 201732"/>
                  <a:gd name="connsiteY4" fmla="*/ 48324 h 63664"/>
                  <a:gd name="connsiteX5" fmla="*/ 201732 w 201732"/>
                  <a:gd name="connsiteY5" fmla="*/ 54460 h 63664"/>
                  <a:gd name="connsiteX6" fmla="*/ 195596 w 201732"/>
                  <a:gd name="connsiteY6" fmla="*/ 60597 h 63664"/>
                  <a:gd name="connsiteX7" fmla="*/ 158779 w 201732"/>
                  <a:gd name="connsiteY7" fmla="*/ 63665 h 63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732" h="63664">
                    <a:moveTo>
                      <a:pt x="158779" y="63665"/>
                    </a:moveTo>
                    <a:cubicBezTo>
                      <a:pt x="118891" y="63665"/>
                      <a:pt x="51393" y="57528"/>
                      <a:pt x="2301" y="11505"/>
                    </a:cubicBezTo>
                    <a:cubicBezTo>
                      <a:pt x="-767" y="8437"/>
                      <a:pt x="-767" y="5369"/>
                      <a:pt x="2301" y="2301"/>
                    </a:cubicBezTo>
                    <a:cubicBezTo>
                      <a:pt x="5370" y="-767"/>
                      <a:pt x="8437" y="-767"/>
                      <a:pt x="11505" y="2301"/>
                    </a:cubicBezTo>
                    <a:cubicBezTo>
                      <a:pt x="79005" y="63665"/>
                      <a:pt x="192528" y="48324"/>
                      <a:pt x="195596" y="48324"/>
                    </a:cubicBezTo>
                    <a:cubicBezTo>
                      <a:pt x="198665" y="48324"/>
                      <a:pt x="201732" y="51391"/>
                      <a:pt x="201732" y="54460"/>
                    </a:cubicBezTo>
                    <a:cubicBezTo>
                      <a:pt x="201732" y="57528"/>
                      <a:pt x="198665" y="60597"/>
                      <a:pt x="195596" y="60597"/>
                    </a:cubicBezTo>
                    <a:cubicBezTo>
                      <a:pt x="192528" y="60597"/>
                      <a:pt x="177187" y="63665"/>
                      <a:pt x="158779" y="6366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1D99FDB8-3F46-4063-BCFB-7A76EF901A8F}"/>
                  </a:ext>
                </a:extLst>
              </p:cNvPr>
              <p:cNvSpPr/>
              <p:nvPr/>
            </p:nvSpPr>
            <p:spPr>
              <a:xfrm>
                <a:off x="25784275" y="12335525"/>
                <a:ext cx="41421" cy="42187"/>
              </a:xfrm>
              <a:custGeom>
                <a:avLst/>
                <a:gdLst>
                  <a:gd name="connsiteX0" fmla="*/ 32982 w 41421"/>
                  <a:gd name="connsiteY0" fmla="*/ 42187 h 42187"/>
                  <a:gd name="connsiteX1" fmla="*/ 29915 w 41421"/>
                  <a:gd name="connsiteY1" fmla="*/ 39120 h 42187"/>
                  <a:gd name="connsiteX2" fmla="*/ 2301 w 41421"/>
                  <a:gd name="connsiteY2" fmla="*/ 11505 h 42187"/>
                  <a:gd name="connsiteX3" fmla="*/ 2301 w 41421"/>
                  <a:gd name="connsiteY3" fmla="*/ 2301 h 42187"/>
                  <a:gd name="connsiteX4" fmla="*/ 11507 w 41421"/>
                  <a:gd name="connsiteY4" fmla="*/ 2301 h 42187"/>
                  <a:gd name="connsiteX5" fmla="*/ 39119 w 41421"/>
                  <a:gd name="connsiteY5" fmla="*/ 29915 h 42187"/>
                  <a:gd name="connsiteX6" fmla="*/ 39119 w 41421"/>
                  <a:gd name="connsiteY6" fmla="*/ 39120 h 42187"/>
                  <a:gd name="connsiteX7" fmla="*/ 32982 w 41421"/>
                  <a:gd name="connsiteY7" fmla="*/ 42187 h 42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421" h="42187">
                    <a:moveTo>
                      <a:pt x="32982" y="42187"/>
                    </a:moveTo>
                    <a:cubicBezTo>
                      <a:pt x="32982" y="42187"/>
                      <a:pt x="29915" y="42187"/>
                      <a:pt x="29915" y="39120"/>
                    </a:cubicBezTo>
                    <a:lnTo>
                      <a:pt x="2301" y="11505"/>
                    </a:lnTo>
                    <a:cubicBezTo>
                      <a:pt x="-767" y="8438"/>
                      <a:pt x="-767" y="5370"/>
                      <a:pt x="2301" y="2301"/>
                    </a:cubicBezTo>
                    <a:cubicBezTo>
                      <a:pt x="5370" y="-767"/>
                      <a:pt x="8437" y="-767"/>
                      <a:pt x="11507" y="2301"/>
                    </a:cubicBezTo>
                    <a:lnTo>
                      <a:pt x="39119" y="29915"/>
                    </a:lnTo>
                    <a:cubicBezTo>
                      <a:pt x="42188" y="32983"/>
                      <a:pt x="42188" y="36051"/>
                      <a:pt x="39119" y="39120"/>
                    </a:cubicBezTo>
                    <a:cubicBezTo>
                      <a:pt x="36052" y="42187"/>
                      <a:pt x="36052" y="42187"/>
                      <a:pt x="32982" y="4218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9DBA8F98-B535-49F9-B0DD-576B86F0B437}"/>
                  </a:ext>
                </a:extLst>
              </p:cNvPr>
              <p:cNvSpPr/>
              <p:nvPr/>
            </p:nvSpPr>
            <p:spPr>
              <a:xfrm>
                <a:off x="25747457" y="12363139"/>
                <a:ext cx="41420" cy="42188"/>
              </a:xfrm>
              <a:custGeom>
                <a:avLst/>
                <a:gdLst>
                  <a:gd name="connsiteX0" fmla="*/ 32984 w 41420"/>
                  <a:gd name="connsiteY0" fmla="*/ 42188 h 42188"/>
                  <a:gd name="connsiteX1" fmla="*/ 29914 w 41420"/>
                  <a:gd name="connsiteY1" fmla="*/ 39120 h 42188"/>
                  <a:gd name="connsiteX2" fmla="*/ 2302 w 41420"/>
                  <a:gd name="connsiteY2" fmla="*/ 11506 h 42188"/>
                  <a:gd name="connsiteX3" fmla="*/ 2302 w 41420"/>
                  <a:gd name="connsiteY3" fmla="*/ 2301 h 42188"/>
                  <a:gd name="connsiteX4" fmla="*/ 11506 w 41420"/>
                  <a:gd name="connsiteY4" fmla="*/ 2301 h 42188"/>
                  <a:gd name="connsiteX5" fmla="*/ 39119 w 41420"/>
                  <a:gd name="connsiteY5" fmla="*/ 29915 h 42188"/>
                  <a:gd name="connsiteX6" fmla="*/ 39119 w 41420"/>
                  <a:gd name="connsiteY6" fmla="*/ 39120 h 42188"/>
                  <a:gd name="connsiteX7" fmla="*/ 32984 w 41420"/>
                  <a:gd name="connsiteY7" fmla="*/ 42188 h 4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420" h="42188">
                    <a:moveTo>
                      <a:pt x="32984" y="42188"/>
                    </a:moveTo>
                    <a:cubicBezTo>
                      <a:pt x="32984" y="42188"/>
                      <a:pt x="29914" y="42188"/>
                      <a:pt x="29914" y="39120"/>
                    </a:cubicBezTo>
                    <a:lnTo>
                      <a:pt x="2302" y="11506"/>
                    </a:lnTo>
                    <a:cubicBezTo>
                      <a:pt x="-767" y="8438"/>
                      <a:pt x="-767" y="5370"/>
                      <a:pt x="2302" y="2301"/>
                    </a:cubicBezTo>
                    <a:cubicBezTo>
                      <a:pt x="5369" y="-767"/>
                      <a:pt x="8437" y="-767"/>
                      <a:pt x="11506" y="2301"/>
                    </a:cubicBezTo>
                    <a:lnTo>
                      <a:pt x="39119" y="29915"/>
                    </a:lnTo>
                    <a:cubicBezTo>
                      <a:pt x="42188" y="32983"/>
                      <a:pt x="42188" y="36051"/>
                      <a:pt x="39119" y="39120"/>
                    </a:cubicBezTo>
                    <a:cubicBezTo>
                      <a:pt x="36051" y="42188"/>
                      <a:pt x="32984" y="42188"/>
                      <a:pt x="32984" y="4218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329984E4-1C86-4DEC-AB80-B7293749B622}"/>
                </a:ext>
              </a:extLst>
            </p:cNvPr>
            <p:cNvSpPr/>
            <p:nvPr/>
          </p:nvSpPr>
          <p:spPr>
            <a:xfrm>
              <a:off x="24580780" y="9953849"/>
              <a:ext cx="1535599" cy="2298068"/>
            </a:xfrm>
            <a:custGeom>
              <a:avLst/>
              <a:gdLst>
                <a:gd name="connsiteX0" fmla="*/ 493978 w 1535599"/>
                <a:gd name="connsiteY0" fmla="*/ 18409 h 2298068"/>
                <a:gd name="connsiteX1" fmla="*/ 171819 w 1535599"/>
                <a:gd name="connsiteY1" fmla="*/ 1135227 h 2298068"/>
                <a:gd name="connsiteX2" fmla="*/ 0 w 1535599"/>
                <a:gd name="connsiteY2" fmla="*/ 2141592 h 2298068"/>
                <a:gd name="connsiteX3" fmla="*/ 291477 w 1535599"/>
                <a:gd name="connsiteY3" fmla="*/ 2258182 h 2298068"/>
                <a:gd name="connsiteX4" fmla="*/ 592159 w 1535599"/>
                <a:gd name="connsiteY4" fmla="*/ 1343864 h 2298068"/>
                <a:gd name="connsiteX5" fmla="*/ 994092 w 1535599"/>
                <a:gd name="connsiteY5" fmla="*/ 506250 h 2298068"/>
                <a:gd name="connsiteX6" fmla="*/ 1040114 w 1535599"/>
                <a:gd name="connsiteY6" fmla="*/ 1485001 h 2298068"/>
                <a:gd name="connsiteX7" fmla="*/ 1187387 w 1535599"/>
                <a:gd name="connsiteY7" fmla="*/ 2288864 h 2298068"/>
                <a:gd name="connsiteX8" fmla="*/ 1475797 w 1535599"/>
                <a:gd name="connsiteY8" fmla="*/ 2298069 h 2298068"/>
                <a:gd name="connsiteX9" fmla="*/ 1445115 w 1535599"/>
                <a:gd name="connsiteY9" fmla="*/ 1466592 h 2298068"/>
                <a:gd name="connsiteX10" fmla="*/ 1524887 w 1535599"/>
                <a:gd name="connsiteY10" fmla="*/ 0 h 2298068"/>
                <a:gd name="connsiteX11" fmla="*/ 493978 w 1535599"/>
                <a:gd name="connsiteY11" fmla="*/ 18409 h 2298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5599" h="2298068">
                  <a:moveTo>
                    <a:pt x="493978" y="18409"/>
                  </a:moveTo>
                  <a:lnTo>
                    <a:pt x="171819" y="1135227"/>
                  </a:lnTo>
                  <a:lnTo>
                    <a:pt x="0" y="2141592"/>
                  </a:lnTo>
                  <a:lnTo>
                    <a:pt x="291477" y="2258182"/>
                  </a:lnTo>
                  <a:lnTo>
                    <a:pt x="592159" y="1343864"/>
                  </a:lnTo>
                  <a:cubicBezTo>
                    <a:pt x="592159" y="1343864"/>
                    <a:pt x="984888" y="521591"/>
                    <a:pt x="994092" y="506250"/>
                  </a:cubicBezTo>
                  <a:cubicBezTo>
                    <a:pt x="1009433" y="475568"/>
                    <a:pt x="1040114" y="1485001"/>
                    <a:pt x="1040114" y="1485001"/>
                  </a:cubicBezTo>
                  <a:lnTo>
                    <a:pt x="1187387" y="2288864"/>
                  </a:lnTo>
                  <a:lnTo>
                    <a:pt x="1475797" y="2298069"/>
                  </a:lnTo>
                  <a:cubicBezTo>
                    <a:pt x="1475797" y="2298069"/>
                    <a:pt x="1438978" y="1567841"/>
                    <a:pt x="1445115" y="1466592"/>
                  </a:cubicBezTo>
                  <a:cubicBezTo>
                    <a:pt x="1454319" y="1313182"/>
                    <a:pt x="1570910" y="98182"/>
                    <a:pt x="1524887" y="0"/>
                  </a:cubicBezTo>
                  <a:cubicBezTo>
                    <a:pt x="822272" y="30682"/>
                    <a:pt x="493978" y="18409"/>
                    <a:pt x="493978" y="18409"/>
                  </a:cubicBez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082447E1-F269-4505-9677-12E5F6B0910D}"/>
                </a:ext>
              </a:extLst>
            </p:cNvPr>
            <p:cNvSpPr/>
            <p:nvPr/>
          </p:nvSpPr>
          <p:spPr>
            <a:xfrm>
              <a:off x="25510439" y="10101122"/>
              <a:ext cx="70569" cy="365113"/>
            </a:xfrm>
            <a:custGeom>
              <a:avLst/>
              <a:gdLst>
                <a:gd name="connsiteX0" fmla="*/ 64433 w 70569"/>
                <a:gd name="connsiteY0" fmla="*/ 365113 h 365113"/>
                <a:gd name="connsiteX1" fmla="*/ 58296 w 70569"/>
                <a:gd name="connsiteY1" fmla="*/ 362045 h 365113"/>
                <a:gd name="connsiteX2" fmla="*/ 0 w 70569"/>
                <a:gd name="connsiteY2" fmla="*/ 6136 h 365113"/>
                <a:gd name="connsiteX3" fmla="*/ 6137 w 70569"/>
                <a:gd name="connsiteY3" fmla="*/ 0 h 365113"/>
                <a:gd name="connsiteX4" fmla="*/ 6137 w 70569"/>
                <a:gd name="connsiteY4" fmla="*/ 0 h 365113"/>
                <a:gd name="connsiteX5" fmla="*/ 12273 w 70569"/>
                <a:gd name="connsiteY5" fmla="*/ 6136 h 365113"/>
                <a:gd name="connsiteX6" fmla="*/ 70570 w 70569"/>
                <a:gd name="connsiteY6" fmla="*/ 358977 h 365113"/>
                <a:gd name="connsiteX7" fmla="*/ 64433 w 70569"/>
                <a:gd name="connsiteY7" fmla="*/ 365113 h 365113"/>
                <a:gd name="connsiteX8" fmla="*/ 64433 w 70569"/>
                <a:gd name="connsiteY8" fmla="*/ 365113 h 365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569" h="365113">
                  <a:moveTo>
                    <a:pt x="64433" y="365113"/>
                  </a:moveTo>
                  <a:cubicBezTo>
                    <a:pt x="61364" y="365113"/>
                    <a:pt x="61364" y="365113"/>
                    <a:pt x="58296" y="362045"/>
                  </a:cubicBezTo>
                  <a:cubicBezTo>
                    <a:pt x="9206" y="245455"/>
                    <a:pt x="0" y="15341"/>
                    <a:pt x="0" y="6136"/>
                  </a:cubicBezTo>
                  <a:cubicBezTo>
                    <a:pt x="0" y="3068"/>
                    <a:pt x="3069" y="0"/>
                    <a:pt x="6137" y="0"/>
                  </a:cubicBezTo>
                  <a:cubicBezTo>
                    <a:pt x="6137" y="0"/>
                    <a:pt x="6137" y="0"/>
                    <a:pt x="6137" y="0"/>
                  </a:cubicBezTo>
                  <a:cubicBezTo>
                    <a:pt x="9206" y="0"/>
                    <a:pt x="12273" y="3068"/>
                    <a:pt x="12273" y="6136"/>
                  </a:cubicBezTo>
                  <a:cubicBezTo>
                    <a:pt x="12273" y="9204"/>
                    <a:pt x="21478" y="245455"/>
                    <a:pt x="70570" y="358977"/>
                  </a:cubicBezTo>
                  <a:cubicBezTo>
                    <a:pt x="70570" y="358977"/>
                    <a:pt x="70570" y="362045"/>
                    <a:pt x="64433" y="365113"/>
                  </a:cubicBezTo>
                  <a:cubicBezTo>
                    <a:pt x="67500" y="365113"/>
                    <a:pt x="67500" y="365113"/>
                    <a:pt x="64433" y="365113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D62CD347-6BC8-464E-A127-D9A1AE6941FF}"/>
                </a:ext>
              </a:extLst>
            </p:cNvPr>
            <p:cNvSpPr/>
            <p:nvPr/>
          </p:nvSpPr>
          <p:spPr>
            <a:xfrm>
              <a:off x="25399985" y="10030554"/>
              <a:ext cx="156476" cy="355909"/>
            </a:xfrm>
            <a:custGeom>
              <a:avLst/>
              <a:gdLst>
                <a:gd name="connsiteX0" fmla="*/ 147272 w 156476"/>
                <a:gd name="connsiteY0" fmla="*/ 355909 h 355909"/>
                <a:gd name="connsiteX1" fmla="*/ 144205 w 156476"/>
                <a:gd name="connsiteY1" fmla="*/ 355909 h 355909"/>
                <a:gd name="connsiteX2" fmla="*/ 33749 w 156476"/>
                <a:gd name="connsiteY2" fmla="*/ 276136 h 355909"/>
                <a:gd name="connsiteX3" fmla="*/ 0 w 156476"/>
                <a:gd name="connsiteY3" fmla="*/ 6137 h 355909"/>
                <a:gd name="connsiteX4" fmla="*/ 6137 w 156476"/>
                <a:gd name="connsiteY4" fmla="*/ 0 h 355909"/>
                <a:gd name="connsiteX5" fmla="*/ 12273 w 156476"/>
                <a:gd name="connsiteY5" fmla="*/ 6137 h 355909"/>
                <a:gd name="connsiteX6" fmla="*/ 46023 w 156476"/>
                <a:gd name="connsiteY6" fmla="*/ 270001 h 355909"/>
                <a:gd name="connsiteX7" fmla="*/ 153409 w 156476"/>
                <a:gd name="connsiteY7" fmla="*/ 346705 h 355909"/>
                <a:gd name="connsiteX8" fmla="*/ 156477 w 156476"/>
                <a:gd name="connsiteY8" fmla="*/ 355909 h 355909"/>
                <a:gd name="connsiteX9" fmla="*/ 147272 w 156476"/>
                <a:gd name="connsiteY9" fmla="*/ 355909 h 35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476" h="355909">
                  <a:moveTo>
                    <a:pt x="147272" y="355909"/>
                  </a:moveTo>
                  <a:cubicBezTo>
                    <a:pt x="147272" y="355909"/>
                    <a:pt x="144205" y="355909"/>
                    <a:pt x="144205" y="355909"/>
                  </a:cubicBezTo>
                  <a:cubicBezTo>
                    <a:pt x="135001" y="349773"/>
                    <a:pt x="46023" y="291477"/>
                    <a:pt x="33749" y="276136"/>
                  </a:cubicBezTo>
                  <a:cubicBezTo>
                    <a:pt x="21478" y="260795"/>
                    <a:pt x="3067" y="49091"/>
                    <a:pt x="0" y="6137"/>
                  </a:cubicBezTo>
                  <a:cubicBezTo>
                    <a:pt x="0" y="3068"/>
                    <a:pt x="3067" y="0"/>
                    <a:pt x="6137" y="0"/>
                  </a:cubicBezTo>
                  <a:cubicBezTo>
                    <a:pt x="9204" y="0"/>
                    <a:pt x="12273" y="3068"/>
                    <a:pt x="12273" y="6137"/>
                  </a:cubicBezTo>
                  <a:cubicBezTo>
                    <a:pt x="21478" y="101251"/>
                    <a:pt x="36819" y="257728"/>
                    <a:pt x="46023" y="270001"/>
                  </a:cubicBezTo>
                  <a:cubicBezTo>
                    <a:pt x="55227" y="279205"/>
                    <a:pt x="113523" y="322159"/>
                    <a:pt x="153409" y="346705"/>
                  </a:cubicBezTo>
                  <a:cubicBezTo>
                    <a:pt x="156477" y="349773"/>
                    <a:pt x="156477" y="352841"/>
                    <a:pt x="156477" y="355909"/>
                  </a:cubicBezTo>
                  <a:cubicBezTo>
                    <a:pt x="150342" y="355909"/>
                    <a:pt x="147272" y="355909"/>
                    <a:pt x="147272" y="355909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A730A10A-584F-4080-B357-3BFC5161D804}"/>
                </a:ext>
              </a:extLst>
            </p:cNvPr>
            <p:cNvSpPr/>
            <p:nvPr/>
          </p:nvSpPr>
          <p:spPr>
            <a:xfrm>
              <a:off x="25461349" y="8269417"/>
              <a:ext cx="251591" cy="259885"/>
            </a:xfrm>
            <a:custGeom>
              <a:avLst/>
              <a:gdLst>
                <a:gd name="connsiteX0" fmla="*/ 0 w 251591"/>
                <a:gd name="connsiteY0" fmla="*/ 39886 h 259885"/>
                <a:gd name="connsiteX1" fmla="*/ 6137 w 251591"/>
                <a:gd name="connsiteY1" fmla="*/ 214773 h 259885"/>
                <a:gd name="connsiteX2" fmla="*/ 251591 w 251591"/>
                <a:gd name="connsiteY2" fmla="*/ 205569 h 259885"/>
                <a:gd name="connsiteX3" fmla="*/ 236250 w 251591"/>
                <a:gd name="connsiteY3" fmla="*/ 0 h 259885"/>
                <a:gd name="connsiteX4" fmla="*/ 0 w 251591"/>
                <a:gd name="connsiteY4" fmla="*/ 39886 h 259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1591" h="259885">
                  <a:moveTo>
                    <a:pt x="0" y="39886"/>
                  </a:moveTo>
                  <a:cubicBezTo>
                    <a:pt x="0" y="39886"/>
                    <a:pt x="6137" y="141137"/>
                    <a:pt x="6137" y="214773"/>
                  </a:cubicBezTo>
                  <a:cubicBezTo>
                    <a:pt x="6137" y="214773"/>
                    <a:pt x="101250" y="322159"/>
                    <a:pt x="251591" y="205569"/>
                  </a:cubicBezTo>
                  <a:cubicBezTo>
                    <a:pt x="251591" y="144205"/>
                    <a:pt x="239318" y="64432"/>
                    <a:pt x="236250" y="0"/>
                  </a:cubicBezTo>
                  <a:cubicBezTo>
                    <a:pt x="239318" y="0"/>
                    <a:pt x="55227" y="52159"/>
                    <a:pt x="0" y="39886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35FDBAEC-5422-4CA6-8225-4505F94EF1EE}"/>
                </a:ext>
              </a:extLst>
            </p:cNvPr>
            <p:cNvSpPr/>
            <p:nvPr/>
          </p:nvSpPr>
          <p:spPr>
            <a:xfrm>
              <a:off x="25737485" y="8149759"/>
              <a:ext cx="70567" cy="138068"/>
            </a:xfrm>
            <a:custGeom>
              <a:avLst/>
              <a:gdLst>
                <a:gd name="connsiteX0" fmla="*/ 70568 w 70567"/>
                <a:gd name="connsiteY0" fmla="*/ 0 h 138068"/>
                <a:gd name="connsiteX1" fmla="*/ 3067 w 70567"/>
                <a:gd name="connsiteY1" fmla="*/ 138068 h 138068"/>
                <a:gd name="connsiteX2" fmla="*/ 0 w 70567"/>
                <a:gd name="connsiteY2" fmla="*/ 52159 h 138068"/>
                <a:gd name="connsiteX3" fmla="*/ 70568 w 70567"/>
                <a:gd name="connsiteY3" fmla="*/ 0 h 138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567" h="138068">
                  <a:moveTo>
                    <a:pt x="70568" y="0"/>
                  </a:moveTo>
                  <a:cubicBezTo>
                    <a:pt x="70568" y="0"/>
                    <a:pt x="55227" y="119659"/>
                    <a:pt x="3067" y="138068"/>
                  </a:cubicBezTo>
                  <a:lnTo>
                    <a:pt x="0" y="52159"/>
                  </a:lnTo>
                  <a:lnTo>
                    <a:pt x="70568" y="0"/>
                  </a:ln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C8143D22-3342-46FB-B1F5-DAE75A1CA0FE}"/>
                </a:ext>
              </a:extLst>
            </p:cNvPr>
            <p:cNvSpPr/>
            <p:nvPr/>
          </p:nvSpPr>
          <p:spPr>
            <a:xfrm>
              <a:off x="25343175" y="7938054"/>
              <a:ext cx="103287" cy="239330"/>
            </a:xfrm>
            <a:custGeom>
              <a:avLst/>
              <a:gdLst>
                <a:gd name="connsiteX0" fmla="*/ 7720 w 103287"/>
                <a:gd name="connsiteY0" fmla="*/ 0 h 239330"/>
                <a:gd name="connsiteX1" fmla="*/ 47606 w 103287"/>
                <a:gd name="connsiteY1" fmla="*/ 236250 h 239330"/>
                <a:gd name="connsiteX2" fmla="*/ 102833 w 103287"/>
                <a:gd name="connsiteY2" fmla="*/ 15341 h 239330"/>
                <a:gd name="connsiteX3" fmla="*/ 7720 w 103287"/>
                <a:gd name="connsiteY3" fmla="*/ 0 h 239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287" h="239330">
                  <a:moveTo>
                    <a:pt x="7720" y="0"/>
                  </a:moveTo>
                  <a:cubicBezTo>
                    <a:pt x="7720" y="0"/>
                    <a:pt x="-26031" y="196363"/>
                    <a:pt x="47606" y="236250"/>
                  </a:cubicBezTo>
                  <a:cubicBezTo>
                    <a:pt x="112037" y="270000"/>
                    <a:pt x="102833" y="15341"/>
                    <a:pt x="102833" y="15341"/>
                  </a:cubicBezTo>
                  <a:lnTo>
                    <a:pt x="7720" y="0"/>
                  </a:ln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F6668C4C-8470-4E79-87EE-5E33CC513DBC}"/>
                </a:ext>
              </a:extLst>
            </p:cNvPr>
            <p:cNvSpPr/>
            <p:nvPr/>
          </p:nvSpPr>
          <p:spPr>
            <a:xfrm>
              <a:off x="25378902" y="7802137"/>
              <a:ext cx="426083" cy="572206"/>
            </a:xfrm>
            <a:custGeom>
              <a:avLst/>
              <a:gdLst>
                <a:gd name="connsiteX0" fmla="*/ 11879 w 426083"/>
                <a:gd name="connsiteY0" fmla="*/ 181940 h 572206"/>
                <a:gd name="connsiteX1" fmla="*/ 8809 w 426083"/>
                <a:gd name="connsiteY1" fmla="*/ 433531 h 572206"/>
                <a:gd name="connsiteX2" fmla="*/ 168355 w 426083"/>
                <a:gd name="connsiteY2" fmla="*/ 571599 h 572206"/>
                <a:gd name="connsiteX3" fmla="*/ 386197 w 426083"/>
                <a:gd name="connsiteY3" fmla="*/ 430463 h 572206"/>
                <a:gd name="connsiteX4" fmla="*/ 426083 w 426083"/>
                <a:gd name="connsiteY4" fmla="*/ 203418 h 572206"/>
                <a:gd name="connsiteX5" fmla="*/ 214378 w 426083"/>
                <a:gd name="connsiteY5" fmla="*/ 917 h 572206"/>
                <a:gd name="connsiteX6" fmla="*/ 11879 w 426083"/>
                <a:gd name="connsiteY6" fmla="*/ 181940 h 572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083" h="572206">
                  <a:moveTo>
                    <a:pt x="11879" y="181940"/>
                  </a:moveTo>
                  <a:cubicBezTo>
                    <a:pt x="11879" y="181940"/>
                    <a:pt x="-12667" y="359895"/>
                    <a:pt x="8809" y="433531"/>
                  </a:cubicBezTo>
                  <a:cubicBezTo>
                    <a:pt x="27219" y="501031"/>
                    <a:pt x="116196" y="565463"/>
                    <a:pt x="168355" y="571599"/>
                  </a:cubicBezTo>
                  <a:cubicBezTo>
                    <a:pt x="235855" y="577736"/>
                    <a:pt x="355515" y="537849"/>
                    <a:pt x="386197" y="430463"/>
                  </a:cubicBezTo>
                  <a:cubicBezTo>
                    <a:pt x="407673" y="356827"/>
                    <a:pt x="426083" y="255577"/>
                    <a:pt x="426083" y="203418"/>
                  </a:cubicBezTo>
                  <a:cubicBezTo>
                    <a:pt x="426083" y="108304"/>
                    <a:pt x="398469" y="28531"/>
                    <a:pt x="214378" y="917"/>
                  </a:cubicBezTo>
                  <a:cubicBezTo>
                    <a:pt x="131537" y="-11355"/>
                    <a:pt x="33356" y="102168"/>
                    <a:pt x="11879" y="181940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128628E0-39F7-4E9A-B0E0-4C977D837A37}"/>
                </a:ext>
              </a:extLst>
            </p:cNvPr>
            <p:cNvSpPr/>
            <p:nvPr/>
          </p:nvSpPr>
          <p:spPr>
            <a:xfrm>
              <a:off x="25516576" y="8066918"/>
              <a:ext cx="58296" cy="138068"/>
            </a:xfrm>
            <a:custGeom>
              <a:avLst/>
              <a:gdLst>
                <a:gd name="connsiteX0" fmla="*/ 33751 w 58296"/>
                <a:gd name="connsiteY0" fmla="*/ 138068 h 138068"/>
                <a:gd name="connsiteX1" fmla="*/ 6137 w 58296"/>
                <a:gd name="connsiteY1" fmla="*/ 131932 h 138068"/>
                <a:gd name="connsiteX2" fmla="*/ 0 w 58296"/>
                <a:gd name="connsiteY2" fmla="*/ 119659 h 138068"/>
                <a:gd name="connsiteX3" fmla="*/ 18410 w 58296"/>
                <a:gd name="connsiteY3" fmla="*/ 6136 h 138068"/>
                <a:gd name="connsiteX4" fmla="*/ 24545 w 58296"/>
                <a:gd name="connsiteY4" fmla="*/ 0 h 138068"/>
                <a:gd name="connsiteX5" fmla="*/ 30682 w 58296"/>
                <a:gd name="connsiteY5" fmla="*/ 6136 h 138068"/>
                <a:gd name="connsiteX6" fmla="*/ 12273 w 58296"/>
                <a:gd name="connsiteY6" fmla="*/ 119659 h 138068"/>
                <a:gd name="connsiteX7" fmla="*/ 12273 w 58296"/>
                <a:gd name="connsiteY7" fmla="*/ 122727 h 138068"/>
                <a:gd name="connsiteX8" fmla="*/ 52159 w 58296"/>
                <a:gd name="connsiteY8" fmla="*/ 125795 h 138068"/>
                <a:gd name="connsiteX9" fmla="*/ 58296 w 58296"/>
                <a:gd name="connsiteY9" fmla="*/ 131932 h 138068"/>
                <a:gd name="connsiteX10" fmla="*/ 52159 w 58296"/>
                <a:gd name="connsiteY10" fmla="*/ 138068 h 138068"/>
                <a:gd name="connsiteX11" fmla="*/ 33751 w 58296"/>
                <a:gd name="connsiteY11" fmla="*/ 138068 h 138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296" h="138068">
                  <a:moveTo>
                    <a:pt x="33751" y="138068"/>
                  </a:moveTo>
                  <a:cubicBezTo>
                    <a:pt x="24545" y="138068"/>
                    <a:pt x="12273" y="138068"/>
                    <a:pt x="6137" y="131932"/>
                  </a:cubicBezTo>
                  <a:cubicBezTo>
                    <a:pt x="3069" y="128864"/>
                    <a:pt x="0" y="125795"/>
                    <a:pt x="0" y="119659"/>
                  </a:cubicBezTo>
                  <a:cubicBezTo>
                    <a:pt x="0" y="98182"/>
                    <a:pt x="18410" y="9205"/>
                    <a:pt x="18410" y="6136"/>
                  </a:cubicBezTo>
                  <a:cubicBezTo>
                    <a:pt x="18410" y="3068"/>
                    <a:pt x="21478" y="0"/>
                    <a:pt x="24545" y="0"/>
                  </a:cubicBezTo>
                  <a:cubicBezTo>
                    <a:pt x="27614" y="0"/>
                    <a:pt x="30682" y="3068"/>
                    <a:pt x="30682" y="6136"/>
                  </a:cubicBezTo>
                  <a:cubicBezTo>
                    <a:pt x="30682" y="6136"/>
                    <a:pt x="12273" y="98182"/>
                    <a:pt x="12273" y="119659"/>
                  </a:cubicBezTo>
                  <a:cubicBezTo>
                    <a:pt x="12273" y="119659"/>
                    <a:pt x="12273" y="122727"/>
                    <a:pt x="12273" y="122727"/>
                  </a:cubicBezTo>
                  <a:cubicBezTo>
                    <a:pt x="18410" y="128864"/>
                    <a:pt x="39886" y="125795"/>
                    <a:pt x="52159" y="125795"/>
                  </a:cubicBezTo>
                  <a:cubicBezTo>
                    <a:pt x="55227" y="125795"/>
                    <a:pt x="58296" y="128864"/>
                    <a:pt x="58296" y="131932"/>
                  </a:cubicBezTo>
                  <a:cubicBezTo>
                    <a:pt x="58296" y="135000"/>
                    <a:pt x="55227" y="138068"/>
                    <a:pt x="52159" y="138068"/>
                  </a:cubicBezTo>
                  <a:cubicBezTo>
                    <a:pt x="52159" y="138068"/>
                    <a:pt x="42955" y="138068"/>
                    <a:pt x="33751" y="138068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BB74FD97-4ED5-41CB-947C-8AEDDEFB97F9}"/>
                </a:ext>
              </a:extLst>
            </p:cNvPr>
            <p:cNvSpPr/>
            <p:nvPr/>
          </p:nvSpPr>
          <p:spPr>
            <a:xfrm>
              <a:off x="25448474" y="8041770"/>
              <a:ext cx="40489" cy="41090"/>
            </a:xfrm>
            <a:custGeom>
              <a:avLst/>
              <a:gdLst>
                <a:gd name="connsiteX0" fmla="*/ 40489 w 40489"/>
                <a:gd name="connsiteY0" fmla="*/ 25147 h 41090"/>
                <a:gd name="connsiteX1" fmla="*/ 15942 w 40489"/>
                <a:gd name="connsiteY1" fmla="*/ 40488 h 41090"/>
                <a:gd name="connsiteX2" fmla="*/ 602 w 40489"/>
                <a:gd name="connsiteY2" fmla="*/ 15943 h 41090"/>
                <a:gd name="connsiteX3" fmla="*/ 25149 w 40489"/>
                <a:gd name="connsiteY3" fmla="*/ 602 h 41090"/>
                <a:gd name="connsiteX4" fmla="*/ 40489 w 40489"/>
                <a:gd name="connsiteY4" fmla="*/ 25147 h 4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89" h="41090">
                  <a:moveTo>
                    <a:pt x="40489" y="25147"/>
                  </a:moveTo>
                  <a:cubicBezTo>
                    <a:pt x="37420" y="34352"/>
                    <a:pt x="28216" y="43556"/>
                    <a:pt x="15942" y="40488"/>
                  </a:cubicBezTo>
                  <a:cubicBezTo>
                    <a:pt x="6738" y="37420"/>
                    <a:pt x="-2466" y="28215"/>
                    <a:pt x="602" y="15943"/>
                  </a:cubicBezTo>
                  <a:cubicBezTo>
                    <a:pt x="3671" y="6738"/>
                    <a:pt x="12875" y="-2466"/>
                    <a:pt x="25149" y="602"/>
                  </a:cubicBezTo>
                  <a:cubicBezTo>
                    <a:pt x="34353" y="6738"/>
                    <a:pt x="40489" y="15943"/>
                    <a:pt x="40489" y="2514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1181008E-8360-4286-B519-66262F5ED8CA}"/>
                </a:ext>
              </a:extLst>
            </p:cNvPr>
            <p:cNvSpPr/>
            <p:nvPr/>
          </p:nvSpPr>
          <p:spPr>
            <a:xfrm>
              <a:off x="25632565" y="8063248"/>
              <a:ext cx="40489" cy="41090"/>
            </a:xfrm>
            <a:custGeom>
              <a:avLst/>
              <a:gdLst>
                <a:gd name="connsiteX0" fmla="*/ 40489 w 40489"/>
                <a:gd name="connsiteY0" fmla="*/ 25147 h 41090"/>
                <a:gd name="connsiteX1" fmla="*/ 15942 w 40489"/>
                <a:gd name="connsiteY1" fmla="*/ 40488 h 41090"/>
                <a:gd name="connsiteX2" fmla="*/ 602 w 40489"/>
                <a:gd name="connsiteY2" fmla="*/ 15943 h 41090"/>
                <a:gd name="connsiteX3" fmla="*/ 25149 w 40489"/>
                <a:gd name="connsiteY3" fmla="*/ 602 h 41090"/>
                <a:gd name="connsiteX4" fmla="*/ 40489 w 40489"/>
                <a:gd name="connsiteY4" fmla="*/ 25147 h 4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89" h="41090">
                  <a:moveTo>
                    <a:pt x="40489" y="25147"/>
                  </a:moveTo>
                  <a:cubicBezTo>
                    <a:pt x="37420" y="34352"/>
                    <a:pt x="28216" y="43557"/>
                    <a:pt x="15942" y="40488"/>
                  </a:cubicBezTo>
                  <a:cubicBezTo>
                    <a:pt x="6738" y="37420"/>
                    <a:pt x="-2466" y="28216"/>
                    <a:pt x="602" y="15943"/>
                  </a:cubicBezTo>
                  <a:cubicBezTo>
                    <a:pt x="3671" y="6738"/>
                    <a:pt x="12875" y="-2466"/>
                    <a:pt x="25149" y="602"/>
                  </a:cubicBezTo>
                  <a:cubicBezTo>
                    <a:pt x="34353" y="3670"/>
                    <a:pt x="40489" y="15943"/>
                    <a:pt x="40489" y="25147"/>
                  </a:cubicBezTo>
                  <a:close/>
                </a:path>
              </a:pathLst>
            </a:custGeom>
            <a:solidFill>
              <a:srgbClr val="38333D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4AFEE977-72CF-4362-A35D-73065124C5C1}"/>
                </a:ext>
              </a:extLst>
            </p:cNvPr>
            <p:cNvSpPr/>
            <p:nvPr/>
          </p:nvSpPr>
          <p:spPr>
            <a:xfrm>
              <a:off x="25422230" y="7993281"/>
              <a:ext cx="92549" cy="33750"/>
            </a:xfrm>
            <a:custGeom>
              <a:avLst/>
              <a:gdLst>
                <a:gd name="connsiteX0" fmla="*/ 8437 w 92549"/>
                <a:gd name="connsiteY0" fmla="*/ 33750 h 33750"/>
                <a:gd name="connsiteX1" fmla="*/ 2301 w 92549"/>
                <a:gd name="connsiteY1" fmla="*/ 30682 h 33750"/>
                <a:gd name="connsiteX2" fmla="*/ 2301 w 92549"/>
                <a:gd name="connsiteY2" fmla="*/ 18409 h 33750"/>
                <a:gd name="connsiteX3" fmla="*/ 88209 w 92549"/>
                <a:gd name="connsiteY3" fmla="*/ 9204 h 33750"/>
                <a:gd name="connsiteX4" fmla="*/ 91279 w 92549"/>
                <a:gd name="connsiteY4" fmla="*/ 21477 h 33750"/>
                <a:gd name="connsiteX5" fmla="*/ 79005 w 92549"/>
                <a:gd name="connsiteY5" fmla="*/ 24545 h 33750"/>
                <a:gd name="connsiteX6" fmla="*/ 11505 w 92549"/>
                <a:gd name="connsiteY6" fmla="*/ 30682 h 33750"/>
                <a:gd name="connsiteX7" fmla="*/ 8437 w 92549"/>
                <a:gd name="connsiteY7" fmla="*/ 33750 h 3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3750">
                  <a:moveTo>
                    <a:pt x="8437" y="33750"/>
                  </a:moveTo>
                  <a:cubicBezTo>
                    <a:pt x="5370" y="33750"/>
                    <a:pt x="5370" y="33750"/>
                    <a:pt x="2301" y="30682"/>
                  </a:cubicBezTo>
                  <a:cubicBezTo>
                    <a:pt x="-767" y="27614"/>
                    <a:pt x="-767" y="21477"/>
                    <a:pt x="2301" y="18409"/>
                  </a:cubicBezTo>
                  <a:cubicBezTo>
                    <a:pt x="29915" y="-9204"/>
                    <a:pt x="69801" y="0"/>
                    <a:pt x="88209" y="9204"/>
                  </a:cubicBezTo>
                  <a:cubicBezTo>
                    <a:pt x="91279" y="12273"/>
                    <a:pt x="94346" y="15341"/>
                    <a:pt x="91279" y="21477"/>
                  </a:cubicBezTo>
                  <a:cubicBezTo>
                    <a:pt x="88209" y="24545"/>
                    <a:pt x="85142" y="27614"/>
                    <a:pt x="79005" y="24545"/>
                  </a:cubicBezTo>
                  <a:cubicBezTo>
                    <a:pt x="75938" y="24545"/>
                    <a:pt x="39119" y="3068"/>
                    <a:pt x="11505" y="30682"/>
                  </a:cubicBezTo>
                  <a:cubicBezTo>
                    <a:pt x="11505" y="33750"/>
                    <a:pt x="11505" y="33750"/>
                    <a:pt x="8437" y="33750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B4C14F61-1129-4DCA-BA33-72562B57C985}"/>
                </a:ext>
              </a:extLst>
            </p:cNvPr>
            <p:cNvSpPr/>
            <p:nvPr/>
          </p:nvSpPr>
          <p:spPr>
            <a:xfrm>
              <a:off x="25610419" y="7997372"/>
              <a:ext cx="92549" cy="35795"/>
            </a:xfrm>
            <a:custGeom>
              <a:avLst/>
              <a:gdLst>
                <a:gd name="connsiteX0" fmla="*/ 87180 w 92549"/>
                <a:gd name="connsiteY0" fmla="*/ 35795 h 35795"/>
                <a:gd name="connsiteX1" fmla="*/ 81043 w 92549"/>
                <a:gd name="connsiteY1" fmla="*/ 32727 h 35795"/>
                <a:gd name="connsiteX2" fmla="*/ 13543 w 92549"/>
                <a:gd name="connsiteY2" fmla="*/ 26591 h 35795"/>
                <a:gd name="connsiteX3" fmla="*/ 1271 w 92549"/>
                <a:gd name="connsiteY3" fmla="*/ 23523 h 35795"/>
                <a:gd name="connsiteX4" fmla="*/ 4339 w 92549"/>
                <a:gd name="connsiteY4" fmla="*/ 11250 h 35795"/>
                <a:gd name="connsiteX5" fmla="*/ 90248 w 92549"/>
                <a:gd name="connsiteY5" fmla="*/ 20454 h 35795"/>
                <a:gd name="connsiteX6" fmla="*/ 90248 w 92549"/>
                <a:gd name="connsiteY6" fmla="*/ 32727 h 35795"/>
                <a:gd name="connsiteX7" fmla="*/ 87180 w 92549"/>
                <a:gd name="connsiteY7" fmla="*/ 35795 h 35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9" h="35795">
                  <a:moveTo>
                    <a:pt x="87180" y="35795"/>
                  </a:moveTo>
                  <a:cubicBezTo>
                    <a:pt x="84111" y="35795"/>
                    <a:pt x="84111" y="35795"/>
                    <a:pt x="81043" y="32727"/>
                  </a:cubicBezTo>
                  <a:cubicBezTo>
                    <a:pt x="81043" y="32727"/>
                    <a:pt x="50362" y="2046"/>
                    <a:pt x="13543" y="26591"/>
                  </a:cubicBezTo>
                  <a:cubicBezTo>
                    <a:pt x="10476" y="29659"/>
                    <a:pt x="4339" y="26591"/>
                    <a:pt x="1271" y="23523"/>
                  </a:cubicBezTo>
                  <a:cubicBezTo>
                    <a:pt x="-1798" y="20454"/>
                    <a:pt x="1271" y="14318"/>
                    <a:pt x="4339" y="11250"/>
                  </a:cubicBezTo>
                  <a:cubicBezTo>
                    <a:pt x="41157" y="-13295"/>
                    <a:pt x="77976" y="8182"/>
                    <a:pt x="90248" y="20454"/>
                  </a:cubicBezTo>
                  <a:cubicBezTo>
                    <a:pt x="93317" y="23523"/>
                    <a:pt x="93317" y="29659"/>
                    <a:pt x="90248" y="32727"/>
                  </a:cubicBezTo>
                  <a:cubicBezTo>
                    <a:pt x="93317" y="35795"/>
                    <a:pt x="90248" y="35795"/>
                    <a:pt x="87180" y="35795"/>
                  </a:cubicBezTo>
                  <a:close/>
                </a:path>
              </a:pathLst>
            </a:custGeom>
            <a:solidFill>
              <a:srgbClr val="664540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B20A6A98-F1EE-4C88-8295-0C41F1100392}"/>
                </a:ext>
              </a:extLst>
            </p:cNvPr>
            <p:cNvSpPr/>
            <p:nvPr/>
          </p:nvSpPr>
          <p:spPr>
            <a:xfrm>
              <a:off x="25480524" y="8318509"/>
              <a:ext cx="233686" cy="61363"/>
            </a:xfrm>
            <a:custGeom>
              <a:avLst/>
              <a:gdLst>
                <a:gd name="connsiteX0" fmla="*/ 82074 w 233686"/>
                <a:gd name="connsiteY0" fmla="*/ 61364 h 61363"/>
                <a:gd name="connsiteX1" fmla="*/ 82074 w 233686"/>
                <a:gd name="connsiteY1" fmla="*/ 61364 h 61363"/>
                <a:gd name="connsiteX2" fmla="*/ 2302 w 233686"/>
                <a:gd name="connsiteY2" fmla="*/ 33750 h 61363"/>
                <a:gd name="connsiteX3" fmla="*/ 2302 w 233686"/>
                <a:gd name="connsiteY3" fmla="*/ 24546 h 61363"/>
                <a:gd name="connsiteX4" fmla="*/ 11506 w 233686"/>
                <a:gd name="connsiteY4" fmla="*/ 24546 h 61363"/>
                <a:gd name="connsiteX5" fmla="*/ 82074 w 233686"/>
                <a:gd name="connsiteY5" fmla="*/ 49091 h 61363"/>
                <a:gd name="connsiteX6" fmla="*/ 82074 w 233686"/>
                <a:gd name="connsiteY6" fmla="*/ 49091 h 61363"/>
                <a:gd name="connsiteX7" fmla="*/ 223211 w 233686"/>
                <a:gd name="connsiteY7" fmla="*/ 0 h 61363"/>
                <a:gd name="connsiteX8" fmla="*/ 232416 w 233686"/>
                <a:gd name="connsiteY8" fmla="*/ 3068 h 61363"/>
                <a:gd name="connsiteX9" fmla="*/ 229346 w 233686"/>
                <a:gd name="connsiteY9" fmla="*/ 12273 h 61363"/>
                <a:gd name="connsiteX10" fmla="*/ 82074 w 233686"/>
                <a:gd name="connsiteY10" fmla="*/ 61364 h 61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686" h="61363">
                  <a:moveTo>
                    <a:pt x="82074" y="61364"/>
                  </a:moveTo>
                  <a:cubicBezTo>
                    <a:pt x="82074" y="61364"/>
                    <a:pt x="82074" y="61364"/>
                    <a:pt x="82074" y="61364"/>
                  </a:cubicBezTo>
                  <a:cubicBezTo>
                    <a:pt x="39121" y="61364"/>
                    <a:pt x="5369" y="33750"/>
                    <a:pt x="2302" y="33750"/>
                  </a:cubicBezTo>
                  <a:cubicBezTo>
                    <a:pt x="-767" y="30682"/>
                    <a:pt x="-767" y="27613"/>
                    <a:pt x="2302" y="24546"/>
                  </a:cubicBezTo>
                  <a:cubicBezTo>
                    <a:pt x="5369" y="21477"/>
                    <a:pt x="8439" y="21477"/>
                    <a:pt x="11506" y="24546"/>
                  </a:cubicBezTo>
                  <a:cubicBezTo>
                    <a:pt x="11506" y="24546"/>
                    <a:pt x="42188" y="49091"/>
                    <a:pt x="82074" y="49091"/>
                  </a:cubicBezTo>
                  <a:cubicBezTo>
                    <a:pt x="82074" y="49091"/>
                    <a:pt x="82074" y="49091"/>
                    <a:pt x="82074" y="49091"/>
                  </a:cubicBezTo>
                  <a:cubicBezTo>
                    <a:pt x="131166" y="49091"/>
                    <a:pt x="220142" y="0"/>
                    <a:pt x="223211" y="0"/>
                  </a:cubicBezTo>
                  <a:cubicBezTo>
                    <a:pt x="226279" y="0"/>
                    <a:pt x="229346" y="0"/>
                    <a:pt x="232416" y="3068"/>
                  </a:cubicBezTo>
                  <a:cubicBezTo>
                    <a:pt x="235483" y="6136"/>
                    <a:pt x="232416" y="9205"/>
                    <a:pt x="229346" y="12273"/>
                  </a:cubicBezTo>
                  <a:cubicBezTo>
                    <a:pt x="223211" y="12273"/>
                    <a:pt x="134233" y="61364"/>
                    <a:pt x="82074" y="61364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A34E3DA7-900A-4DF1-A4FE-F008BA0936B1}"/>
                </a:ext>
              </a:extLst>
            </p:cNvPr>
            <p:cNvSpPr/>
            <p:nvPr/>
          </p:nvSpPr>
          <p:spPr>
            <a:xfrm>
              <a:off x="25731348" y="7827600"/>
              <a:ext cx="113841" cy="270000"/>
            </a:xfrm>
            <a:custGeom>
              <a:avLst/>
              <a:gdLst>
                <a:gd name="connsiteX0" fmla="*/ 0 w 113841"/>
                <a:gd name="connsiteY0" fmla="*/ 128864 h 270000"/>
                <a:gd name="connsiteX1" fmla="*/ 49092 w 113841"/>
                <a:gd name="connsiteY1" fmla="*/ 270000 h 270000"/>
                <a:gd name="connsiteX2" fmla="*/ 107386 w 113841"/>
                <a:gd name="connsiteY2" fmla="*/ 168750 h 270000"/>
                <a:gd name="connsiteX3" fmla="*/ 49092 w 113841"/>
                <a:gd name="connsiteY3" fmla="*/ 0 h 270000"/>
                <a:gd name="connsiteX4" fmla="*/ 0 w 113841"/>
                <a:gd name="connsiteY4" fmla="*/ 128864 h 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841" h="270000">
                  <a:moveTo>
                    <a:pt x="0" y="128864"/>
                  </a:moveTo>
                  <a:cubicBezTo>
                    <a:pt x="0" y="128864"/>
                    <a:pt x="55227" y="239318"/>
                    <a:pt x="49092" y="270000"/>
                  </a:cubicBezTo>
                  <a:cubicBezTo>
                    <a:pt x="49092" y="270000"/>
                    <a:pt x="92045" y="223977"/>
                    <a:pt x="107386" y="168750"/>
                  </a:cubicBezTo>
                  <a:cubicBezTo>
                    <a:pt x="122727" y="110455"/>
                    <a:pt x="113523" y="15341"/>
                    <a:pt x="49092" y="0"/>
                  </a:cubicBezTo>
                  <a:cubicBezTo>
                    <a:pt x="49092" y="0"/>
                    <a:pt x="39886" y="107386"/>
                    <a:pt x="0" y="128864"/>
                  </a:cubicBez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23375210-BBDC-4489-8E4E-39CDF084C8B4}"/>
                </a:ext>
              </a:extLst>
            </p:cNvPr>
            <p:cNvSpPr/>
            <p:nvPr/>
          </p:nvSpPr>
          <p:spPr>
            <a:xfrm>
              <a:off x="25286462" y="7709626"/>
              <a:ext cx="505109" cy="256073"/>
            </a:xfrm>
            <a:custGeom>
              <a:avLst/>
              <a:gdLst>
                <a:gd name="connsiteX0" fmla="*/ 444886 w 505109"/>
                <a:gd name="connsiteY0" fmla="*/ 246837 h 256073"/>
                <a:gd name="connsiteX1" fmla="*/ 322159 w 505109"/>
                <a:gd name="connsiteY1" fmla="*/ 206951 h 256073"/>
                <a:gd name="connsiteX2" fmla="*/ 0 w 505109"/>
                <a:gd name="connsiteY2" fmla="*/ 194678 h 256073"/>
                <a:gd name="connsiteX3" fmla="*/ 374319 w 505109"/>
                <a:gd name="connsiteY3" fmla="*/ 10587 h 256073"/>
                <a:gd name="connsiteX4" fmla="*/ 493978 w 505109"/>
                <a:gd name="connsiteY4" fmla="*/ 117974 h 256073"/>
                <a:gd name="connsiteX5" fmla="*/ 444886 w 505109"/>
                <a:gd name="connsiteY5" fmla="*/ 246837 h 25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109" h="256073">
                  <a:moveTo>
                    <a:pt x="444886" y="246837"/>
                  </a:moveTo>
                  <a:cubicBezTo>
                    <a:pt x="444886" y="246837"/>
                    <a:pt x="349773" y="206951"/>
                    <a:pt x="322159" y="206951"/>
                  </a:cubicBezTo>
                  <a:cubicBezTo>
                    <a:pt x="220909" y="210019"/>
                    <a:pt x="92045" y="323542"/>
                    <a:pt x="0" y="194678"/>
                  </a:cubicBezTo>
                  <a:cubicBezTo>
                    <a:pt x="46023" y="93428"/>
                    <a:pt x="208636" y="-38504"/>
                    <a:pt x="374319" y="10587"/>
                  </a:cubicBezTo>
                  <a:cubicBezTo>
                    <a:pt x="454091" y="32065"/>
                    <a:pt x="487842" y="81156"/>
                    <a:pt x="493978" y="117974"/>
                  </a:cubicBezTo>
                  <a:cubicBezTo>
                    <a:pt x="493978" y="117974"/>
                    <a:pt x="540001" y="234565"/>
                    <a:pt x="444886" y="246837"/>
                  </a:cubicBezTo>
                  <a:close/>
                </a:path>
              </a:pathLst>
            </a:custGeom>
            <a:solidFill>
              <a:srgbClr val="F1DDBA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41FA1469-26FC-47E8-8961-EE28FB3600C9}"/>
                </a:ext>
              </a:extLst>
            </p:cNvPr>
            <p:cNvSpPr/>
            <p:nvPr/>
          </p:nvSpPr>
          <p:spPr>
            <a:xfrm>
              <a:off x="25766804" y="8063658"/>
              <a:ext cx="79124" cy="111205"/>
            </a:xfrm>
            <a:custGeom>
              <a:avLst/>
              <a:gdLst>
                <a:gd name="connsiteX0" fmla="*/ 13636 w 79124"/>
                <a:gd name="connsiteY0" fmla="*/ 15533 h 111205"/>
                <a:gd name="connsiteX1" fmla="*/ 71931 w 79124"/>
                <a:gd name="connsiteY1" fmla="*/ 6328 h 111205"/>
                <a:gd name="connsiteX2" fmla="*/ 13636 w 79124"/>
                <a:gd name="connsiteY2" fmla="*/ 107578 h 111205"/>
                <a:gd name="connsiteX3" fmla="*/ 13636 w 79124"/>
                <a:gd name="connsiteY3" fmla="*/ 15533 h 11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24" h="111205">
                  <a:moveTo>
                    <a:pt x="13636" y="15533"/>
                  </a:moveTo>
                  <a:cubicBezTo>
                    <a:pt x="13636" y="15533"/>
                    <a:pt x="47386" y="-12081"/>
                    <a:pt x="71931" y="6328"/>
                  </a:cubicBezTo>
                  <a:cubicBezTo>
                    <a:pt x="96476" y="24737"/>
                    <a:pt x="53522" y="132124"/>
                    <a:pt x="13636" y="107578"/>
                  </a:cubicBezTo>
                  <a:cubicBezTo>
                    <a:pt x="-17045" y="89169"/>
                    <a:pt x="13636" y="15533"/>
                    <a:pt x="13636" y="15533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8DD5F830-96FE-4AB1-81A6-6A8113E5F159}"/>
                </a:ext>
              </a:extLst>
            </p:cNvPr>
            <p:cNvSpPr/>
            <p:nvPr/>
          </p:nvSpPr>
          <p:spPr>
            <a:xfrm>
              <a:off x="25722144" y="7842940"/>
              <a:ext cx="74061" cy="242386"/>
            </a:xfrm>
            <a:custGeom>
              <a:avLst/>
              <a:gdLst>
                <a:gd name="connsiteX0" fmla="*/ 58296 w 74061"/>
                <a:gd name="connsiteY0" fmla="*/ 242386 h 242386"/>
                <a:gd name="connsiteX1" fmla="*/ 52159 w 74061"/>
                <a:gd name="connsiteY1" fmla="*/ 236250 h 242386"/>
                <a:gd name="connsiteX2" fmla="*/ 6137 w 74061"/>
                <a:gd name="connsiteY2" fmla="*/ 113523 h 242386"/>
                <a:gd name="connsiteX3" fmla="*/ 0 w 74061"/>
                <a:gd name="connsiteY3" fmla="*/ 107386 h 242386"/>
                <a:gd name="connsiteX4" fmla="*/ 9204 w 74061"/>
                <a:gd name="connsiteY4" fmla="*/ 104318 h 242386"/>
                <a:gd name="connsiteX5" fmla="*/ 58296 w 74061"/>
                <a:gd name="connsiteY5" fmla="*/ 64432 h 242386"/>
                <a:gd name="connsiteX6" fmla="*/ 58296 w 74061"/>
                <a:gd name="connsiteY6" fmla="*/ 6136 h 242386"/>
                <a:gd name="connsiteX7" fmla="*/ 61364 w 74061"/>
                <a:gd name="connsiteY7" fmla="*/ 0 h 242386"/>
                <a:gd name="connsiteX8" fmla="*/ 67500 w 74061"/>
                <a:gd name="connsiteY8" fmla="*/ 3068 h 242386"/>
                <a:gd name="connsiteX9" fmla="*/ 64431 w 74061"/>
                <a:gd name="connsiteY9" fmla="*/ 70568 h 242386"/>
                <a:gd name="connsiteX10" fmla="*/ 15341 w 74061"/>
                <a:gd name="connsiteY10" fmla="*/ 113523 h 242386"/>
                <a:gd name="connsiteX11" fmla="*/ 61364 w 74061"/>
                <a:gd name="connsiteY11" fmla="*/ 236250 h 242386"/>
                <a:gd name="connsiteX12" fmla="*/ 58296 w 74061"/>
                <a:gd name="connsiteY12" fmla="*/ 242386 h 242386"/>
                <a:gd name="connsiteX13" fmla="*/ 58296 w 74061"/>
                <a:gd name="connsiteY13" fmla="*/ 242386 h 242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061" h="242386">
                  <a:moveTo>
                    <a:pt x="58296" y="242386"/>
                  </a:moveTo>
                  <a:cubicBezTo>
                    <a:pt x="55227" y="242386"/>
                    <a:pt x="52159" y="239318"/>
                    <a:pt x="52159" y="236250"/>
                  </a:cubicBezTo>
                  <a:cubicBezTo>
                    <a:pt x="46023" y="174886"/>
                    <a:pt x="6137" y="113523"/>
                    <a:pt x="6137" y="113523"/>
                  </a:cubicBezTo>
                  <a:lnTo>
                    <a:pt x="0" y="107386"/>
                  </a:lnTo>
                  <a:lnTo>
                    <a:pt x="9204" y="104318"/>
                  </a:lnTo>
                  <a:cubicBezTo>
                    <a:pt x="9204" y="104318"/>
                    <a:pt x="42955" y="92045"/>
                    <a:pt x="58296" y="64432"/>
                  </a:cubicBezTo>
                  <a:cubicBezTo>
                    <a:pt x="67500" y="49091"/>
                    <a:pt x="67500" y="27613"/>
                    <a:pt x="58296" y="6136"/>
                  </a:cubicBezTo>
                  <a:cubicBezTo>
                    <a:pt x="58296" y="3068"/>
                    <a:pt x="58296" y="0"/>
                    <a:pt x="61364" y="0"/>
                  </a:cubicBezTo>
                  <a:cubicBezTo>
                    <a:pt x="64431" y="0"/>
                    <a:pt x="67500" y="0"/>
                    <a:pt x="67500" y="3068"/>
                  </a:cubicBezTo>
                  <a:cubicBezTo>
                    <a:pt x="76705" y="27613"/>
                    <a:pt x="76705" y="52159"/>
                    <a:pt x="64431" y="70568"/>
                  </a:cubicBezTo>
                  <a:cubicBezTo>
                    <a:pt x="52159" y="95114"/>
                    <a:pt x="27614" y="107386"/>
                    <a:pt x="15341" y="113523"/>
                  </a:cubicBezTo>
                  <a:cubicBezTo>
                    <a:pt x="27614" y="131932"/>
                    <a:pt x="55227" y="181023"/>
                    <a:pt x="61364" y="236250"/>
                  </a:cubicBezTo>
                  <a:cubicBezTo>
                    <a:pt x="64431" y="239318"/>
                    <a:pt x="61364" y="242386"/>
                    <a:pt x="58296" y="242386"/>
                  </a:cubicBezTo>
                  <a:cubicBezTo>
                    <a:pt x="58296" y="242386"/>
                    <a:pt x="58296" y="242386"/>
                    <a:pt x="58296" y="242386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EE1C0BDB-2736-4A28-8D8D-1AC909B1E0E8}"/>
                </a:ext>
              </a:extLst>
            </p:cNvPr>
            <p:cNvSpPr/>
            <p:nvPr/>
          </p:nvSpPr>
          <p:spPr>
            <a:xfrm>
              <a:off x="25417030" y="7886421"/>
              <a:ext cx="195930" cy="36292"/>
            </a:xfrm>
            <a:custGeom>
              <a:avLst/>
              <a:gdLst>
                <a:gd name="connsiteX0" fmla="*/ 191591 w 195930"/>
                <a:gd name="connsiteY0" fmla="*/ 36292 h 36292"/>
                <a:gd name="connsiteX1" fmla="*/ 191591 w 195930"/>
                <a:gd name="connsiteY1" fmla="*/ 36292 h 36292"/>
                <a:gd name="connsiteX2" fmla="*/ 10569 w 195930"/>
                <a:gd name="connsiteY2" fmla="*/ 30155 h 36292"/>
                <a:gd name="connsiteX3" fmla="*/ 1363 w 195930"/>
                <a:gd name="connsiteY3" fmla="*/ 30155 h 36292"/>
                <a:gd name="connsiteX4" fmla="*/ 1363 w 195930"/>
                <a:gd name="connsiteY4" fmla="*/ 20951 h 36292"/>
                <a:gd name="connsiteX5" fmla="*/ 191591 w 195930"/>
                <a:gd name="connsiteY5" fmla="*/ 27087 h 36292"/>
                <a:gd name="connsiteX6" fmla="*/ 194660 w 195930"/>
                <a:gd name="connsiteY6" fmla="*/ 36292 h 36292"/>
                <a:gd name="connsiteX7" fmla="*/ 191591 w 195930"/>
                <a:gd name="connsiteY7" fmla="*/ 36292 h 36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930" h="36292">
                  <a:moveTo>
                    <a:pt x="191591" y="36292"/>
                  </a:moveTo>
                  <a:cubicBezTo>
                    <a:pt x="191591" y="36292"/>
                    <a:pt x="191591" y="36292"/>
                    <a:pt x="191591" y="36292"/>
                  </a:cubicBezTo>
                  <a:cubicBezTo>
                    <a:pt x="188524" y="36292"/>
                    <a:pt x="75000" y="-15867"/>
                    <a:pt x="10569" y="30155"/>
                  </a:cubicBezTo>
                  <a:cubicBezTo>
                    <a:pt x="7500" y="33224"/>
                    <a:pt x="4433" y="30155"/>
                    <a:pt x="1363" y="30155"/>
                  </a:cubicBezTo>
                  <a:cubicBezTo>
                    <a:pt x="-1704" y="27087"/>
                    <a:pt x="1363" y="24019"/>
                    <a:pt x="1363" y="20951"/>
                  </a:cubicBezTo>
                  <a:cubicBezTo>
                    <a:pt x="75000" y="-28140"/>
                    <a:pt x="188524" y="24019"/>
                    <a:pt x="191591" y="27087"/>
                  </a:cubicBezTo>
                  <a:cubicBezTo>
                    <a:pt x="194660" y="27087"/>
                    <a:pt x="194660" y="33224"/>
                    <a:pt x="194660" y="36292"/>
                  </a:cubicBezTo>
                  <a:cubicBezTo>
                    <a:pt x="197728" y="36292"/>
                    <a:pt x="194660" y="36292"/>
                    <a:pt x="191591" y="36292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417315FD-138E-4874-9C9F-1603C97D42CD}"/>
                </a:ext>
              </a:extLst>
            </p:cNvPr>
            <p:cNvSpPr/>
            <p:nvPr/>
          </p:nvSpPr>
          <p:spPr>
            <a:xfrm>
              <a:off x="25052459" y="8435100"/>
              <a:ext cx="1077753" cy="1576860"/>
            </a:xfrm>
            <a:custGeom>
              <a:avLst/>
              <a:gdLst>
                <a:gd name="connsiteX0" fmla="*/ 678890 w 1077753"/>
                <a:gd name="connsiteY0" fmla="*/ 0 h 1576860"/>
                <a:gd name="connsiteX1" fmla="*/ 387413 w 1077753"/>
                <a:gd name="connsiteY1" fmla="*/ 0 h 1576860"/>
                <a:gd name="connsiteX2" fmla="*/ 86731 w 1077753"/>
                <a:gd name="connsiteY2" fmla="*/ 131932 h 1576860"/>
                <a:gd name="connsiteX3" fmla="*/ 822 w 1077753"/>
                <a:gd name="connsiteY3" fmla="*/ 1546364 h 1576860"/>
                <a:gd name="connsiteX4" fmla="*/ 1077754 w 1077753"/>
                <a:gd name="connsiteY4" fmla="*/ 1521818 h 1576860"/>
                <a:gd name="connsiteX5" fmla="*/ 961163 w 1077753"/>
                <a:gd name="connsiteY5" fmla="*/ 104318 h 1576860"/>
                <a:gd name="connsiteX6" fmla="*/ 678890 w 1077753"/>
                <a:gd name="connsiteY6" fmla="*/ 0 h 1576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753" h="1576860">
                  <a:moveTo>
                    <a:pt x="678890" y="0"/>
                  </a:moveTo>
                  <a:cubicBezTo>
                    <a:pt x="678890" y="0"/>
                    <a:pt x="504003" y="55227"/>
                    <a:pt x="387413" y="0"/>
                  </a:cubicBezTo>
                  <a:cubicBezTo>
                    <a:pt x="387413" y="0"/>
                    <a:pt x="111276" y="98182"/>
                    <a:pt x="86731" y="131932"/>
                  </a:cubicBezTo>
                  <a:cubicBezTo>
                    <a:pt x="62186" y="162614"/>
                    <a:pt x="-8382" y="1478864"/>
                    <a:pt x="822" y="1546364"/>
                  </a:cubicBezTo>
                  <a:cubicBezTo>
                    <a:pt x="822" y="1546364"/>
                    <a:pt x="494799" y="1629204"/>
                    <a:pt x="1077754" y="1521818"/>
                  </a:cubicBezTo>
                  <a:cubicBezTo>
                    <a:pt x="1077754" y="1162841"/>
                    <a:pt x="1004118" y="135000"/>
                    <a:pt x="961163" y="104318"/>
                  </a:cubicBezTo>
                  <a:cubicBezTo>
                    <a:pt x="921277" y="70568"/>
                    <a:pt x="678890" y="0"/>
                    <a:pt x="678890" y="0"/>
                  </a:cubicBezTo>
                  <a:close/>
                </a:path>
              </a:pathLst>
            </a:custGeom>
            <a:solidFill>
              <a:srgbClr val="D16156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BD92E56F-50C1-4A70-B240-DCBC33593A6D}"/>
                </a:ext>
              </a:extLst>
            </p:cNvPr>
            <p:cNvSpPr/>
            <p:nvPr/>
          </p:nvSpPr>
          <p:spPr>
            <a:xfrm>
              <a:off x="25093167" y="8559624"/>
              <a:ext cx="53429" cy="746839"/>
            </a:xfrm>
            <a:custGeom>
              <a:avLst/>
              <a:gdLst>
                <a:gd name="connsiteX0" fmla="*/ 6137 w 53429"/>
                <a:gd name="connsiteY0" fmla="*/ 746839 h 746839"/>
                <a:gd name="connsiteX1" fmla="*/ 6137 w 53429"/>
                <a:gd name="connsiteY1" fmla="*/ 746839 h 746839"/>
                <a:gd name="connsiteX2" fmla="*/ 0 w 53429"/>
                <a:gd name="connsiteY2" fmla="*/ 740703 h 746839"/>
                <a:gd name="connsiteX3" fmla="*/ 42955 w 53429"/>
                <a:gd name="connsiteY3" fmla="*/ 4339 h 746839"/>
                <a:gd name="connsiteX4" fmla="*/ 49090 w 53429"/>
                <a:gd name="connsiteY4" fmla="*/ 1271 h 746839"/>
                <a:gd name="connsiteX5" fmla="*/ 52159 w 53429"/>
                <a:gd name="connsiteY5" fmla="*/ 7407 h 746839"/>
                <a:gd name="connsiteX6" fmla="*/ 9204 w 53429"/>
                <a:gd name="connsiteY6" fmla="*/ 740703 h 746839"/>
                <a:gd name="connsiteX7" fmla="*/ 6137 w 53429"/>
                <a:gd name="connsiteY7" fmla="*/ 746839 h 746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429" h="746839">
                  <a:moveTo>
                    <a:pt x="6137" y="746839"/>
                  </a:moveTo>
                  <a:cubicBezTo>
                    <a:pt x="6137" y="746839"/>
                    <a:pt x="6137" y="746839"/>
                    <a:pt x="6137" y="746839"/>
                  </a:cubicBezTo>
                  <a:cubicBezTo>
                    <a:pt x="3067" y="746839"/>
                    <a:pt x="0" y="743771"/>
                    <a:pt x="0" y="740703"/>
                  </a:cubicBezTo>
                  <a:cubicBezTo>
                    <a:pt x="0" y="713089"/>
                    <a:pt x="36819" y="44226"/>
                    <a:pt x="42955" y="4339"/>
                  </a:cubicBezTo>
                  <a:cubicBezTo>
                    <a:pt x="42955" y="1271"/>
                    <a:pt x="46023" y="-1797"/>
                    <a:pt x="49090" y="1271"/>
                  </a:cubicBezTo>
                  <a:cubicBezTo>
                    <a:pt x="52159" y="1271"/>
                    <a:pt x="55227" y="4339"/>
                    <a:pt x="52159" y="7407"/>
                  </a:cubicBezTo>
                  <a:cubicBezTo>
                    <a:pt x="42955" y="47293"/>
                    <a:pt x="9204" y="734567"/>
                    <a:pt x="9204" y="740703"/>
                  </a:cubicBezTo>
                  <a:cubicBezTo>
                    <a:pt x="9204" y="743771"/>
                    <a:pt x="9204" y="746839"/>
                    <a:pt x="6137" y="746839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BD1BBE49-527C-4787-AB9F-F89767D2B9A4}"/>
                </a:ext>
              </a:extLst>
            </p:cNvPr>
            <p:cNvSpPr/>
            <p:nvPr/>
          </p:nvSpPr>
          <p:spPr>
            <a:xfrm>
              <a:off x="25483593" y="8264048"/>
              <a:ext cx="121960" cy="26846"/>
            </a:xfrm>
            <a:custGeom>
              <a:avLst/>
              <a:gdLst>
                <a:gd name="connsiteX0" fmla="*/ 51393 w 121960"/>
                <a:gd name="connsiteY0" fmla="*/ 26847 h 26846"/>
                <a:gd name="connsiteX1" fmla="*/ 2301 w 121960"/>
                <a:gd name="connsiteY1" fmla="*/ 11506 h 26846"/>
                <a:gd name="connsiteX2" fmla="*/ 2301 w 121960"/>
                <a:gd name="connsiteY2" fmla="*/ 2301 h 26846"/>
                <a:gd name="connsiteX3" fmla="*/ 11505 w 121960"/>
                <a:gd name="connsiteY3" fmla="*/ 2301 h 26846"/>
                <a:gd name="connsiteX4" fmla="*/ 112756 w 121960"/>
                <a:gd name="connsiteY4" fmla="*/ 2301 h 26846"/>
                <a:gd name="connsiteX5" fmla="*/ 121960 w 121960"/>
                <a:gd name="connsiteY5" fmla="*/ 5369 h 26846"/>
                <a:gd name="connsiteX6" fmla="*/ 118891 w 121960"/>
                <a:gd name="connsiteY6" fmla="*/ 14574 h 26846"/>
                <a:gd name="connsiteX7" fmla="*/ 51393 w 121960"/>
                <a:gd name="connsiteY7" fmla="*/ 26847 h 26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60" h="26846">
                  <a:moveTo>
                    <a:pt x="51393" y="26847"/>
                  </a:moveTo>
                  <a:cubicBezTo>
                    <a:pt x="32982" y="26847"/>
                    <a:pt x="17641" y="23778"/>
                    <a:pt x="2301" y="11506"/>
                  </a:cubicBezTo>
                  <a:cubicBezTo>
                    <a:pt x="-767" y="8438"/>
                    <a:pt x="-767" y="5369"/>
                    <a:pt x="2301" y="2301"/>
                  </a:cubicBezTo>
                  <a:cubicBezTo>
                    <a:pt x="5370" y="-767"/>
                    <a:pt x="8437" y="-767"/>
                    <a:pt x="11505" y="2301"/>
                  </a:cubicBezTo>
                  <a:cubicBezTo>
                    <a:pt x="51393" y="32983"/>
                    <a:pt x="112756" y="2301"/>
                    <a:pt x="112756" y="2301"/>
                  </a:cubicBezTo>
                  <a:cubicBezTo>
                    <a:pt x="115824" y="2301"/>
                    <a:pt x="118891" y="2301"/>
                    <a:pt x="121960" y="5369"/>
                  </a:cubicBezTo>
                  <a:cubicBezTo>
                    <a:pt x="121960" y="8438"/>
                    <a:pt x="121960" y="11506"/>
                    <a:pt x="118891" y="14574"/>
                  </a:cubicBezTo>
                  <a:cubicBezTo>
                    <a:pt x="112756" y="11506"/>
                    <a:pt x="85142" y="26847"/>
                    <a:pt x="51393" y="26847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2E591133-B069-46B2-AA4F-3ED003644CDA}"/>
                </a:ext>
              </a:extLst>
            </p:cNvPr>
            <p:cNvSpPr/>
            <p:nvPr/>
          </p:nvSpPr>
          <p:spPr>
            <a:xfrm>
              <a:off x="23976348" y="8812318"/>
              <a:ext cx="273231" cy="275895"/>
            </a:xfrm>
            <a:custGeom>
              <a:avLst/>
              <a:gdLst>
                <a:gd name="connsiteX0" fmla="*/ 61364 w 273231"/>
                <a:gd name="connsiteY0" fmla="*/ 214941 h 275895"/>
                <a:gd name="connsiteX1" fmla="*/ 187160 w 273231"/>
                <a:gd name="connsiteY1" fmla="*/ 273236 h 275895"/>
                <a:gd name="connsiteX2" fmla="*/ 273069 w 273231"/>
                <a:gd name="connsiteY2" fmla="*/ 159713 h 275895"/>
                <a:gd name="connsiteX3" fmla="*/ 46023 w 273231"/>
                <a:gd name="connsiteY3" fmla="*/ 168 h 275895"/>
                <a:gd name="connsiteX4" fmla="*/ 27614 w 273231"/>
                <a:gd name="connsiteY4" fmla="*/ 46191 h 275895"/>
                <a:gd name="connsiteX5" fmla="*/ 0 w 273231"/>
                <a:gd name="connsiteY5" fmla="*/ 95281 h 275895"/>
                <a:gd name="connsiteX6" fmla="*/ 9206 w 273231"/>
                <a:gd name="connsiteY6" fmla="*/ 132099 h 275895"/>
                <a:gd name="connsiteX7" fmla="*/ 30682 w 273231"/>
                <a:gd name="connsiteY7" fmla="*/ 184259 h 275895"/>
                <a:gd name="connsiteX8" fmla="*/ 61364 w 273231"/>
                <a:gd name="connsiteY8" fmla="*/ 214941 h 275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3231" h="275895">
                  <a:moveTo>
                    <a:pt x="61364" y="214941"/>
                  </a:moveTo>
                  <a:cubicBezTo>
                    <a:pt x="101252" y="233349"/>
                    <a:pt x="144205" y="288577"/>
                    <a:pt x="187160" y="273236"/>
                  </a:cubicBezTo>
                  <a:cubicBezTo>
                    <a:pt x="217842" y="260963"/>
                    <a:pt x="273069" y="159713"/>
                    <a:pt x="273069" y="159713"/>
                  </a:cubicBezTo>
                  <a:cubicBezTo>
                    <a:pt x="279206" y="73804"/>
                    <a:pt x="110456" y="18577"/>
                    <a:pt x="46023" y="168"/>
                  </a:cubicBezTo>
                  <a:cubicBezTo>
                    <a:pt x="36819" y="-2900"/>
                    <a:pt x="15341" y="36986"/>
                    <a:pt x="27614" y="46191"/>
                  </a:cubicBezTo>
                  <a:cubicBezTo>
                    <a:pt x="46023" y="58463"/>
                    <a:pt x="0" y="83009"/>
                    <a:pt x="0" y="95281"/>
                  </a:cubicBezTo>
                  <a:cubicBezTo>
                    <a:pt x="0" y="107554"/>
                    <a:pt x="9206" y="129031"/>
                    <a:pt x="9206" y="132099"/>
                  </a:cubicBezTo>
                  <a:cubicBezTo>
                    <a:pt x="12273" y="150509"/>
                    <a:pt x="30682" y="175054"/>
                    <a:pt x="30682" y="184259"/>
                  </a:cubicBezTo>
                  <a:cubicBezTo>
                    <a:pt x="27614" y="199600"/>
                    <a:pt x="33751" y="202668"/>
                    <a:pt x="61364" y="214941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5" name="图形 1">
              <a:extLst>
                <a:ext uri="{FF2B5EF4-FFF2-40B4-BE49-F238E27FC236}">
                  <a16:creationId xmlns:a16="http://schemas.microsoft.com/office/drawing/2014/main" id="{EE95336D-C82B-477A-9E54-A9FAE2B3B51C}"/>
                </a:ext>
              </a:extLst>
            </p:cNvPr>
            <p:cNvGrpSpPr/>
            <p:nvPr/>
          </p:nvGrpSpPr>
          <p:grpSpPr>
            <a:xfrm>
              <a:off x="22739871" y="8791159"/>
              <a:ext cx="1491137" cy="1487917"/>
              <a:chOff x="22739871" y="8791159"/>
              <a:chExt cx="1491137" cy="1487917"/>
            </a:xfrm>
          </p:grpSpPr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CADE6E9D-8A8D-4F30-B1C3-EC184E344A32}"/>
                  </a:ext>
                </a:extLst>
              </p:cNvPr>
              <p:cNvSpPr/>
              <p:nvPr/>
            </p:nvSpPr>
            <p:spPr>
              <a:xfrm>
                <a:off x="23666462" y="8800980"/>
                <a:ext cx="397525" cy="530028"/>
              </a:xfrm>
              <a:custGeom>
                <a:avLst/>
                <a:gdLst>
                  <a:gd name="connsiteX0" fmla="*/ 337500 w 397525"/>
                  <a:gd name="connsiteY0" fmla="*/ 530028 h 530028"/>
                  <a:gd name="connsiteX1" fmla="*/ 337500 w 397525"/>
                  <a:gd name="connsiteY1" fmla="*/ 530028 h 530028"/>
                  <a:gd name="connsiteX2" fmla="*/ 331363 w 397525"/>
                  <a:gd name="connsiteY2" fmla="*/ 523892 h 530028"/>
                  <a:gd name="connsiteX3" fmla="*/ 343637 w 397525"/>
                  <a:gd name="connsiteY3" fmla="*/ 26847 h 530028"/>
                  <a:gd name="connsiteX4" fmla="*/ 276136 w 397525"/>
                  <a:gd name="connsiteY4" fmla="*/ 11506 h 530028"/>
                  <a:gd name="connsiteX5" fmla="*/ 12273 w 397525"/>
                  <a:gd name="connsiteY5" fmla="*/ 278437 h 530028"/>
                  <a:gd name="connsiteX6" fmla="*/ 3067 w 397525"/>
                  <a:gd name="connsiteY6" fmla="*/ 281505 h 530028"/>
                  <a:gd name="connsiteX7" fmla="*/ 0 w 397525"/>
                  <a:gd name="connsiteY7" fmla="*/ 272301 h 530028"/>
                  <a:gd name="connsiteX8" fmla="*/ 270000 w 397525"/>
                  <a:gd name="connsiteY8" fmla="*/ 2301 h 530028"/>
                  <a:gd name="connsiteX9" fmla="*/ 346704 w 397525"/>
                  <a:gd name="connsiteY9" fmla="*/ 20710 h 530028"/>
                  <a:gd name="connsiteX10" fmla="*/ 337500 w 397525"/>
                  <a:gd name="connsiteY10" fmla="*/ 530028 h 530028"/>
                  <a:gd name="connsiteX11" fmla="*/ 337500 w 397525"/>
                  <a:gd name="connsiteY11" fmla="*/ 530028 h 530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7525" h="530028">
                    <a:moveTo>
                      <a:pt x="337500" y="530028"/>
                    </a:moveTo>
                    <a:cubicBezTo>
                      <a:pt x="337500" y="530028"/>
                      <a:pt x="334433" y="530028"/>
                      <a:pt x="337500" y="530028"/>
                    </a:cubicBezTo>
                    <a:cubicBezTo>
                      <a:pt x="331363" y="530028"/>
                      <a:pt x="331363" y="526960"/>
                      <a:pt x="331363" y="523892"/>
                    </a:cubicBezTo>
                    <a:cubicBezTo>
                      <a:pt x="331363" y="520824"/>
                      <a:pt x="454091" y="109687"/>
                      <a:pt x="343637" y="26847"/>
                    </a:cubicBezTo>
                    <a:cubicBezTo>
                      <a:pt x="322159" y="11506"/>
                      <a:pt x="300681" y="5369"/>
                      <a:pt x="276136" y="11506"/>
                    </a:cubicBezTo>
                    <a:cubicBezTo>
                      <a:pt x="156477" y="36051"/>
                      <a:pt x="12273" y="275369"/>
                      <a:pt x="12273" y="278437"/>
                    </a:cubicBezTo>
                    <a:cubicBezTo>
                      <a:pt x="9204" y="281505"/>
                      <a:pt x="6137" y="281505"/>
                      <a:pt x="3067" y="281505"/>
                    </a:cubicBezTo>
                    <a:cubicBezTo>
                      <a:pt x="0" y="278437"/>
                      <a:pt x="0" y="275369"/>
                      <a:pt x="0" y="272301"/>
                    </a:cubicBezTo>
                    <a:cubicBezTo>
                      <a:pt x="6137" y="263097"/>
                      <a:pt x="144205" y="26847"/>
                      <a:pt x="270000" y="2301"/>
                    </a:cubicBezTo>
                    <a:cubicBezTo>
                      <a:pt x="297614" y="-3835"/>
                      <a:pt x="325227" y="2301"/>
                      <a:pt x="346704" y="20710"/>
                    </a:cubicBezTo>
                    <a:cubicBezTo>
                      <a:pt x="463295" y="109687"/>
                      <a:pt x="343637" y="514687"/>
                      <a:pt x="337500" y="530028"/>
                    </a:cubicBezTo>
                    <a:cubicBezTo>
                      <a:pt x="340567" y="530028"/>
                      <a:pt x="340567" y="530028"/>
                      <a:pt x="337500" y="5300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33" name="图形 1">
                <a:extLst>
                  <a:ext uri="{FF2B5EF4-FFF2-40B4-BE49-F238E27FC236}">
                    <a16:creationId xmlns:a16="http://schemas.microsoft.com/office/drawing/2014/main" id="{90A873D3-36B2-405F-9F25-1073E9587386}"/>
                  </a:ext>
                </a:extLst>
              </p:cNvPr>
              <p:cNvGrpSpPr/>
              <p:nvPr/>
            </p:nvGrpSpPr>
            <p:grpSpPr>
              <a:xfrm>
                <a:off x="22739871" y="8827827"/>
                <a:ext cx="1491137" cy="1451249"/>
                <a:chOff x="22739871" y="8827827"/>
                <a:chExt cx="1491137" cy="1451249"/>
              </a:xfrm>
            </p:grpSpPr>
            <p:sp>
              <p:nvSpPr>
                <p:cNvPr id="137" name="任意多边形: 形状 136">
                  <a:extLst>
                    <a:ext uri="{FF2B5EF4-FFF2-40B4-BE49-F238E27FC236}">
                      <a16:creationId xmlns:a16="http://schemas.microsoft.com/office/drawing/2014/main" id="{60864258-9741-442B-BD1E-E02432D555E2}"/>
                    </a:ext>
                  </a:extLst>
                </p:cNvPr>
                <p:cNvSpPr/>
                <p:nvPr/>
              </p:nvSpPr>
              <p:spPr>
                <a:xfrm>
                  <a:off x="22739871" y="8827827"/>
                  <a:ext cx="1386818" cy="1442045"/>
                </a:xfrm>
                <a:custGeom>
                  <a:avLst/>
                  <a:gdLst>
                    <a:gd name="connsiteX0" fmla="*/ 1386819 w 1386818"/>
                    <a:gd name="connsiteY0" fmla="*/ 484772 h 1442045"/>
                    <a:gd name="connsiteX1" fmla="*/ 788523 w 1386818"/>
                    <a:gd name="connsiteY1" fmla="*/ 1442046 h 1442045"/>
                    <a:gd name="connsiteX2" fmla="*/ 0 w 1386818"/>
                    <a:gd name="connsiteY2" fmla="*/ 810000 h 1442045"/>
                    <a:gd name="connsiteX3" fmla="*/ 730227 w 1386818"/>
                    <a:gd name="connsiteY3" fmla="*/ 0 h 1442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86818" h="1442045">
                      <a:moveTo>
                        <a:pt x="1386819" y="484772"/>
                      </a:moveTo>
                      <a:lnTo>
                        <a:pt x="788523" y="1442046"/>
                      </a:lnTo>
                      <a:lnTo>
                        <a:pt x="0" y="810000"/>
                      </a:lnTo>
                      <a:lnTo>
                        <a:pt x="730227" y="0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56D2790B-CAD5-4AB6-94B3-C3D3CE653FB3}"/>
                    </a:ext>
                  </a:extLst>
                </p:cNvPr>
                <p:cNvSpPr/>
                <p:nvPr/>
              </p:nvSpPr>
              <p:spPr>
                <a:xfrm>
                  <a:off x="23470098" y="8827827"/>
                  <a:ext cx="760910" cy="543068"/>
                </a:xfrm>
                <a:custGeom>
                  <a:avLst/>
                  <a:gdLst>
                    <a:gd name="connsiteX0" fmla="*/ 0 w 760910"/>
                    <a:gd name="connsiteY0" fmla="*/ 0 h 543068"/>
                    <a:gd name="connsiteX1" fmla="*/ 174887 w 760910"/>
                    <a:gd name="connsiteY1" fmla="*/ 98182 h 543068"/>
                    <a:gd name="connsiteX2" fmla="*/ 760911 w 760910"/>
                    <a:gd name="connsiteY2" fmla="*/ 543068 h 543068"/>
                    <a:gd name="connsiteX3" fmla="*/ 656592 w 760910"/>
                    <a:gd name="connsiteY3" fmla="*/ 484772 h 543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60910" h="543068">
                      <a:moveTo>
                        <a:pt x="0" y="0"/>
                      </a:moveTo>
                      <a:lnTo>
                        <a:pt x="174887" y="98182"/>
                      </a:lnTo>
                      <a:lnTo>
                        <a:pt x="760911" y="543068"/>
                      </a:lnTo>
                      <a:lnTo>
                        <a:pt x="656592" y="484772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5980C993-33F3-43EE-B8C7-30616B4BF16E}"/>
                    </a:ext>
                  </a:extLst>
                </p:cNvPr>
                <p:cNvSpPr/>
                <p:nvPr/>
              </p:nvSpPr>
              <p:spPr>
                <a:xfrm>
                  <a:off x="23528394" y="9312599"/>
                  <a:ext cx="702614" cy="966477"/>
                </a:xfrm>
                <a:custGeom>
                  <a:avLst/>
                  <a:gdLst>
                    <a:gd name="connsiteX0" fmla="*/ 184091 w 702614"/>
                    <a:gd name="connsiteY0" fmla="*/ 966477 h 966477"/>
                    <a:gd name="connsiteX1" fmla="*/ 0 w 702614"/>
                    <a:gd name="connsiteY1" fmla="*/ 957273 h 966477"/>
                    <a:gd name="connsiteX2" fmla="*/ 598295 w 702614"/>
                    <a:gd name="connsiteY2" fmla="*/ 0 h 966477"/>
                    <a:gd name="connsiteX3" fmla="*/ 702614 w 702614"/>
                    <a:gd name="connsiteY3" fmla="*/ 58296 h 9664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2614" h="966477">
                      <a:moveTo>
                        <a:pt x="184091" y="966477"/>
                      </a:moveTo>
                      <a:lnTo>
                        <a:pt x="0" y="957273"/>
                      </a:lnTo>
                      <a:lnTo>
                        <a:pt x="598295" y="0"/>
                      </a:lnTo>
                      <a:lnTo>
                        <a:pt x="702614" y="58296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661BD378-8475-48EC-AE6D-D076D90529D7}"/>
                  </a:ext>
                </a:extLst>
              </p:cNvPr>
              <p:cNvSpPr/>
              <p:nvPr/>
            </p:nvSpPr>
            <p:spPr>
              <a:xfrm>
                <a:off x="23596662" y="8791159"/>
                <a:ext cx="457699" cy="487690"/>
              </a:xfrm>
              <a:custGeom>
                <a:avLst/>
                <a:gdLst>
                  <a:gd name="connsiteX0" fmla="*/ 336733 w 457699"/>
                  <a:gd name="connsiteY0" fmla="*/ 487690 h 487690"/>
                  <a:gd name="connsiteX1" fmla="*/ 336733 w 457699"/>
                  <a:gd name="connsiteY1" fmla="*/ 487690 h 487690"/>
                  <a:gd name="connsiteX2" fmla="*/ 330596 w 457699"/>
                  <a:gd name="connsiteY2" fmla="*/ 478486 h 487690"/>
                  <a:gd name="connsiteX3" fmla="*/ 413438 w 457699"/>
                  <a:gd name="connsiteY3" fmla="*/ 33599 h 487690"/>
                  <a:gd name="connsiteX4" fmla="*/ 11505 w 457699"/>
                  <a:gd name="connsiteY4" fmla="*/ 233031 h 487690"/>
                  <a:gd name="connsiteX5" fmla="*/ 2301 w 457699"/>
                  <a:gd name="connsiteY5" fmla="*/ 233031 h 487690"/>
                  <a:gd name="connsiteX6" fmla="*/ 2301 w 457699"/>
                  <a:gd name="connsiteY6" fmla="*/ 223826 h 487690"/>
                  <a:gd name="connsiteX7" fmla="*/ 419574 w 457699"/>
                  <a:gd name="connsiteY7" fmla="*/ 21327 h 487690"/>
                  <a:gd name="connsiteX8" fmla="*/ 339801 w 457699"/>
                  <a:gd name="connsiteY8" fmla="*/ 481554 h 487690"/>
                  <a:gd name="connsiteX9" fmla="*/ 336733 w 457699"/>
                  <a:gd name="connsiteY9" fmla="*/ 487690 h 487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7699" h="487690">
                    <a:moveTo>
                      <a:pt x="336733" y="487690"/>
                    </a:moveTo>
                    <a:cubicBezTo>
                      <a:pt x="336733" y="487690"/>
                      <a:pt x="336733" y="487690"/>
                      <a:pt x="336733" y="487690"/>
                    </a:cubicBezTo>
                    <a:cubicBezTo>
                      <a:pt x="330596" y="484622"/>
                      <a:pt x="330596" y="481554"/>
                      <a:pt x="330596" y="478486"/>
                    </a:cubicBezTo>
                    <a:cubicBezTo>
                      <a:pt x="333664" y="475417"/>
                      <a:pt x="523891" y="116440"/>
                      <a:pt x="413438" y="33599"/>
                    </a:cubicBezTo>
                    <a:cubicBezTo>
                      <a:pt x="284574" y="-61515"/>
                      <a:pt x="14574" y="229963"/>
                      <a:pt x="11505" y="233031"/>
                    </a:cubicBezTo>
                    <a:cubicBezTo>
                      <a:pt x="8437" y="236099"/>
                      <a:pt x="5370" y="236099"/>
                      <a:pt x="2301" y="233031"/>
                    </a:cubicBezTo>
                    <a:cubicBezTo>
                      <a:pt x="-767" y="229963"/>
                      <a:pt x="-767" y="226895"/>
                      <a:pt x="2301" y="223826"/>
                    </a:cubicBezTo>
                    <a:cubicBezTo>
                      <a:pt x="14574" y="211554"/>
                      <a:pt x="281506" y="-79923"/>
                      <a:pt x="419574" y="21327"/>
                    </a:cubicBezTo>
                    <a:cubicBezTo>
                      <a:pt x="536165" y="110304"/>
                      <a:pt x="349005" y="466213"/>
                      <a:pt x="339801" y="481554"/>
                    </a:cubicBezTo>
                    <a:cubicBezTo>
                      <a:pt x="342870" y="487690"/>
                      <a:pt x="339801" y="487690"/>
                      <a:pt x="336733" y="48769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5E7AC0F9-2945-4F40-BA2C-ED029D9D00FC}"/>
                  </a:ext>
                </a:extLst>
              </p:cNvPr>
              <p:cNvSpPr/>
              <p:nvPr/>
            </p:nvSpPr>
            <p:spPr>
              <a:xfrm>
                <a:off x="23903497" y="9245099"/>
                <a:ext cx="63647" cy="64432"/>
              </a:xfrm>
              <a:custGeom>
                <a:avLst/>
                <a:gdLst>
                  <a:gd name="connsiteX0" fmla="*/ 29898 w 63647"/>
                  <a:gd name="connsiteY0" fmla="*/ 61364 h 64432"/>
                  <a:gd name="connsiteX1" fmla="*/ 11488 w 63647"/>
                  <a:gd name="connsiteY1" fmla="*/ 55227 h 64432"/>
                  <a:gd name="connsiteX2" fmla="*/ 5353 w 63647"/>
                  <a:gd name="connsiteY2" fmla="*/ 12273 h 64432"/>
                  <a:gd name="connsiteX3" fmla="*/ 26829 w 63647"/>
                  <a:gd name="connsiteY3" fmla="*/ 0 h 64432"/>
                  <a:gd name="connsiteX4" fmla="*/ 51376 w 63647"/>
                  <a:gd name="connsiteY4" fmla="*/ 6136 h 64432"/>
                  <a:gd name="connsiteX5" fmla="*/ 63647 w 63647"/>
                  <a:gd name="connsiteY5" fmla="*/ 27614 h 64432"/>
                  <a:gd name="connsiteX6" fmla="*/ 57510 w 63647"/>
                  <a:gd name="connsiteY6" fmla="*/ 52159 h 64432"/>
                  <a:gd name="connsiteX7" fmla="*/ 36035 w 63647"/>
                  <a:gd name="connsiteY7" fmla="*/ 64432 h 64432"/>
                  <a:gd name="connsiteX8" fmla="*/ 29898 w 63647"/>
                  <a:gd name="connsiteY8" fmla="*/ 61364 h 64432"/>
                  <a:gd name="connsiteX9" fmla="*/ 29898 w 63647"/>
                  <a:gd name="connsiteY9" fmla="*/ 9205 h 64432"/>
                  <a:gd name="connsiteX10" fmla="*/ 29898 w 63647"/>
                  <a:gd name="connsiteY10" fmla="*/ 9205 h 64432"/>
                  <a:gd name="connsiteX11" fmla="*/ 14557 w 63647"/>
                  <a:gd name="connsiteY11" fmla="*/ 18409 h 64432"/>
                  <a:gd name="connsiteX12" fmla="*/ 11488 w 63647"/>
                  <a:gd name="connsiteY12" fmla="*/ 33750 h 64432"/>
                  <a:gd name="connsiteX13" fmla="*/ 20694 w 63647"/>
                  <a:gd name="connsiteY13" fmla="*/ 46023 h 64432"/>
                  <a:gd name="connsiteX14" fmla="*/ 36035 w 63647"/>
                  <a:gd name="connsiteY14" fmla="*/ 49091 h 64432"/>
                  <a:gd name="connsiteX15" fmla="*/ 48306 w 63647"/>
                  <a:gd name="connsiteY15" fmla="*/ 39886 h 64432"/>
                  <a:gd name="connsiteX16" fmla="*/ 51376 w 63647"/>
                  <a:gd name="connsiteY16" fmla="*/ 24546 h 64432"/>
                  <a:gd name="connsiteX17" fmla="*/ 42169 w 63647"/>
                  <a:gd name="connsiteY17" fmla="*/ 12273 h 64432"/>
                  <a:gd name="connsiteX18" fmla="*/ 29898 w 63647"/>
                  <a:gd name="connsiteY18" fmla="*/ 9205 h 6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3647" h="64432">
                    <a:moveTo>
                      <a:pt x="29898" y="61364"/>
                    </a:moveTo>
                    <a:cubicBezTo>
                      <a:pt x="23761" y="61364"/>
                      <a:pt x="17624" y="58296"/>
                      <a:pt x="11488" y="55227"/>
                    </a:cubicBezTo>
                    <a:cubicBezTo>
                      <a:pt x="-784" y="46023"/>
                      <a:pt x="-3853" y="24546"/>
                      <a:pt x="5353" y="12273"/>
                    </a:cubicBezTo>
                    <a:cubicBezTo>
                      <a:pt x="11488" y="6136"/>
                      <a:pt x="17624" y="0"/>
                      <a:pt x="26829" y="0"/>
                    </a:cubicBezTo>
                    <a:cubicBezTo>
                      <a:pt x="36035" y="0"/>
                      <a:pt x="42169" y="0"/>
                      <a:pt x="51376" y="6136"/>
                    </a:cubicBezTo>
                    <a:cubicBezTo>
                      <a:pt x="57510" y="12273"/>
                      <a:pt x="63647" y="18409"/>
                      <a:pt x="63647" y="27614"/>
                    </a:cubicBezTo>
                    <a:cubicBezTo>
                      <a:pt x="63647" y="36818"/>
                      <a:pt x="63647" y="42955"/>
                      <a:pt x="57510" y="52159"/>
                    </a:cubicBezTo>
                    <a:cubicBezTo>
                      <a:pt x="51376" y="58296"/>
                      <a:pt x="45239" y="64432"/>
                      <a:pt x="36035" y="64432"/>
                    </a:cubicBezTo>
                    <a:cubicBezTo>
                      <a:pt x="32965" y="61364"/>
                      <a:pt x="32965" y="61364"/>
                      <a:pt x="29898" y="61364"/>
                    </a:cubicBezTo>
                    <a:close/>
                    <a:moveTo>
                      <a:pt x="29898" y="9205"/>
                    </a:moveTo>
                    <a:cubicBezTo>
                      <a:pt x="29898" y="9205"/>
                      <a:pt x="29898" y="9205"/>
                      <a:pt x="29898" y="9205"/>
                    </a:cubicBezTo>
                    <a:cubicBezTo>
                      <a:pt x="20694" y="9205"/>
                      <a:pt x="17624" y="12273"/>
                      <a:pt x="14557" y="18409"/>
                    </a:cubicBezTo>
                    <a:cubicBezTo>
                      <a:pt x="11488" y="21477"/>
                      <a:pt x="11488" y="27614"/>
                      <a:pt x="11488" y="33750"/>
                    </a:cubicBezTo>
                    <a:cubicBezTo>
                      <a:pt x="11488" y="39886"/>
                      <a:pt x="14557" y="42955"/>
                      <a:pt x="20694" y="46023"/>
                    </a:cubicBezTo>
                    <a:cubicBezTo>
                      <a:pt x="23761" y="49091"/>
                      <a:pt x="29898" y="49091"/>
                      <a:pt x="36035" y="49091"/>
                    </a:cubicBezTo>
                    <a:cubicBezTo>
                      <a:pt x="42169" y="49091"/>
                      <a:pt x="45239" y="46023"/>
                      <a:pt x="48306" y="39886"/>
                    </a:cubicBezTo>
                    <a:cubicBezTo>
                      <a:pt x="51376" y="36818"/>
                      <a:pt x="51376" y="30682"/>
                      <a:pt x="51376" y="24546"/>
                    </a:cubicBezTo>
                    <a:cubicBezTo>
                      <a:pt x="51376" y="18409"/>
                      <a:pt x="48306" y="15341"/>
                      <a:pt x="42169" y="12273"/>
                    </a:cubicBezTo>
                    <a:cubicBezTo>
                      <a:pt x="39102" y="12273"/>
                      <a:pt x="36035" y="9205"/>
                      <a:pt x="29898" y="920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E9F9BA32-4F17-420E-A3CD-BF61824D9203}"/>
                  </a:ext>
                </a:extLst>
              </p:cNvPr>
              <p:cNvSpPr/>
              <p:nvPr/>
            </p:nvSpPr>
            <p:spPr>
              <a:xfrm>
                <a:off x="23572133" y="8997361"/>
                <a:ext cx="59795" cy="60579"/>
              </a:xfrm>
              <a:custGeom>
                <a:avLst/>
                <a:gdLst>
                  <a:gd name="connsiteX0" fmla="*/ 29898 w 59795"/>
                  <a:gd name="connsiteY0" fmla="*/ 60579 h 60579"/>
                  <a:gd name="connsiteX1" fmla="*/ 11488 w 59795"/>
                  <a:gd name="connsiteY1" fmla="*/ 54443 h 60579"/>
                  <a:gd name="connsiteX2" fmla="*/ 5351 w 59795"/>
                  <a:gd name="connsiteY2" fmla="*/ 11488 h 60579"/>
                  <a:gd name="connsiteX3" fmla="*/ 5351 w 59795"/>
                  <a:gd name="connsiteY3" fmla="*/ 11488 h 60579"/>
                  <a:gd name="connsiteX4" fmla="*/ 48307 w 59795"/>
                  <a:gd name="connsiteY4" fmla="*/ 5352 h 60579"/>
                  <a:gd name="connsiteX5" fmla="*/ 54443 w 59795"/>
                  <a:gd name="connsiteY5" fmla="*/ 48306 h 60579"/>
                  <a:gd name="connsiteX6" fmla="*/ 29898 w 59795"/>
                  <a:gd name="connsiteY6" fmla="*/ 60579 h 60579"/>
                  <a:gd name="connsiteX7" fmla="*/ 14557 w 59795"/>
                  <a:gd name="connsiteY7" fmla="*/ 17624 h 60579"/>
                  <a:gd name="connsiteX8" fmla="*/ 17625 w 59795"/>
                  <a:gd name="connsiteY8" fmla="*/ 45238 h 60579"/>
                  <a:gd name="connsiteX9" fmla="*/ 45239 w 59795"/>
                  <a:gd name="connsiteY9" fmla="*/ 42170 h 60579"/>
                  <a:gd name="connsiteX10" fmla="*/ 42170 w 59795"/>
                  <a:gd name="connsiteY10" fmla="*/ 14557 h 60579"/>
                  <a:gd name="connsiteX11" fmla="*/ 14557 w 59795"/>
                  <a:gd name="connsiteY11" fmla="*/ 17624 h 60579"/>
                  <a:gd name="connsiteX12" fmla="*/ 14557 w 59795"/>
                  <a:gd name="connsiteY12" fmla="*/ 17624 h 60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9795" h="60579">
                    <a:moveTo>
                      <a:pt x="29898" y="60579"/>
                    </a:moveTo>
                    <a:cubicBezTo>
                      <a:pt x="23762" y="60579"/>
                      <a:pt x="17625" y="57511"/>
                      <a:pt x="11488" y="54443"/>
                    </a:cubicBezTo>
                    <a:cubicBezTo>
                      <a:pt x="-784" y="45238"/>
                      <a:pt x="-3853" y="23761"/>
                      <a:pt x="5351" y="11488"/>
                    </a:cubicBezTo>
                    <a:lnTo>
                      <a:pt x="5351" y="11488"/>
                    </a:lnTo>
                    <a:cubicBezTo>
                      <a:pt x="14557" y="-784"/>
                      <a:pt x="36033" y="-3853"/>
                      <a:pt x="48307" y="5352"/>
                    </a:cubicBezTo>
                    <a:cubicBezTo>
                      <a:pt x="60580" y="14557"/>
                      <a:pt x="63648" y="36034"/>
                      <a:pt x="54443" y="48306"/>
                    </a:cubicBezTo>
                    <a:cubicBezTo>
                      <a:pt x="51374" y="54443"/>
                      <a:pt x="39102" y="60579"/>
                      <a:pt x="29898" y="60579"/>
                    </a:cubicBezTo>
                    <a:close/>
                    <a:moveTo>
                      <a:pt x="14557" y="17624"/>
                    </a:moveTo>
                    <a:cubicBezTo>
                      <a:pt x="8421" y="26829"/>
                      <a:pt x="8421" y="39102"/>
                      <a:pt x="17625" y="45238"/>
                    </a:cubicBezTo>
                    <a:cubicBezTo>
                      <a:pt x="26829" y="51375"/>
                      <a:pt x="39102" y="51375"/>
                      <a:pt x="45239" y="42170"/>
                    </a:cubicBezTo>
                    <a:cubicBezTo>
                      <a:pt x="51374" y="32965"/>
                      <a:pt x="51374" y="20693"/>
                      <a:pt x="42170" y="14557"/>
                    </a:cubicBezTo>
                    <a:cubicBezTo>
                      <a:pt x="32966" y="5352"/>
                      <a:pt x="20692" y="8420"/>
                      <a:pt x="14557" y="17624"/>
                    </a:cubicBezTo>
                    <a:lnTo>
                      <a:pt x="14557" y="17624"/>
                    </a:ln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6" name="图形 1">
              <a:extLst>
                <a:ext uri="{FF2B5EF4-FFF2-40B4-BE49-F238E27FC236}">
                  <a16:creationId xmlns:a16="http://schemas.microsoft.com/office/drawing/2014/main" id="{2FC30337-DB8D-47F4-9A20-374ED1998C01}"/>
                </a:ext>
              </a:extLst>
            </p:cNvPr>
            <p:cNvGrpSpPr/>
            <p:nvPr/>
          </p:nvGrpSpPr>
          <p:grpSpPr>
            <a:xfrm>
              <a:off x="23943197" y="8809418"/>
              <a:ext cx="186860" cy="213238"/>
              <a:chOff x="23943197" y="8809418"/>
              <a:chExt cx="186860" cy="213238"/>
            </a:xfrm>
          </p:grpSpPr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75298411-6D74-4829-85E4-5E27F985B75A}"/>
                  </a:ext>
                </a:extLst>
              </p:cNvPr>
              <p:cNvSpPr/>
              <p:nvPr/>
            </p:nvSpPr>
            <p:spPr>
              <a:xfrm>
                <a:off x="23943197" y="8811426"/>
                <a:ext cx="159618" cy="85858"/>
              </a:xfrm>
              <a:custGeom>
                <a:avLst/>
                <a:gdLst>
                  <a:gd name="connsiteX0" fmla="*/ 11675 w 159618"/>
                  <a:gd name="connsiteY0" fmla="*/ 4128 h 85858"/>
                  <a:gd name="connsiteX1" fmla="*/ 112925 w 159618"/>
                  <a:gd name="connsiteY1" fmla="*/ 16401 h 85858"/>
                  <a:gd name="connsiteX2" fmla="*/ 128266 w 159618"/>
                  <a:gd name="connsiteY2" fmla="*/ 16401 h 85858"/>
                  <a:gd name="connsiteX3" fmla="*/ 143607 w 159618"/>
                  <a:gd name="connsiteY3" fmla="*/ 25605 h 85858"/>
                  <a:gd name="connsiteX4" fmla="*/ 155878 w 159618"/>
                  <a:gd name="connsiteY4" fmla="*/ 74697 h 85858"/>
                  <a:gd name="connsiteX5" fmla="*/ 109856 w 159618"/>
                  <a:gd name="connsiteY5" fmla="*/ 80833 h 85858"/>
                  <a:gd name="connsiteX6" fmla="*/ 45425 w 159618"/>
                  <a:gd name="connsiteY6" fmla="*/ 65492 h 85858"/>
                  <a:gd name="connsiteX7" fmla="*/ 2469 w 159618"/>
                  <a:gd name="connsiteY7" fmla="*/ 40946 h 85858"/>
                  <a:gd name="connsiteX8" fmla="*/ 11675 w 159618"/>
                  <a:gd name="connsiteY8" fmla="*/ 4128 h 85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9618" h="85858">
                    <a:moveTo>
                      <a:pt x="11675" y="4128"/>
                    </a:moveTo>
                    <a:cubicBezTo>
                      <a:pt x="39288" y="-8144"/>
                      <a:pt x="76107" y="10265"/>
                      <a:pt x="112925" y="16401"/>
                    </a:cubicBezTo>
                    <a:cubicBezTo>
                      <a:pt x="115992" y="16401"/>
                      <a:pt x="125197" y="16401"/>
                      <a:pt x="128266" y="16401"/>
                    </a:cubicBezTo>
                    <a:cubicBezTo>
                      <a:pt x="134403" y="19469"/>
                      <a:pt x="140538" y="19469"/>
                      <a:pt x="143607" y="25605"/>
                    </a:cubicBezTo>
                    <a:cubicBezTo>
                      <a:pt x="155878" y="37878"/>
                      <a:pt x="165085" y="59356"/>
                      <a:pt x="155878" y="74697"/>
                    </a:cubicBezTo>
                    <a:cubicBezTo>
                      <a:pt x="146674" y="93106"/>
                      <a:pt x="125197" y="83901"/>
                      <a:pt x="109856" y="80833"/>
                    </a:cubicBezTo>
                    <a:cubicBezTo>
                      <a:pt x="88380" y="77765"/>
                      <a:pt x="66902" y="71628"/>
                      <a:pt x="45425" y="65492"/>
                    </a:cubicBezTo>
                    <a:cubicBezTo>
                      <a:pt x="30084" y="62424"/>
                      <a:pt x="11675" y="59356"/>
                      <a:pt x="2469" y="40946"/>
                    </a:cubicBezTo>
                    <a:cubicBezTo>
                      <a:pt x="-3665" y="28674"/>
                      <a:pt x="2469" y="10265"/>
                      <a:pt x="11675" y="4128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879A5BC6-A09A-4A4A-97A8-102DB9C46C29}"/>
                  </a:ext>
                </a:extLst>
              </p:cNvPr>
              <p:cNvSpPr/>
              <p:nvPr/>
            </p:nvSpPr>
            <p:spPr>
              <a:xfrm>
                <a:off x="23958161" y="8862135"/>
                <a:ext cx="163063" cy="90376"/>
              </a:xfrm>
              <a:custGeom>
                <a:avLst/>
                <a:gdLst>
                  <a:gd name="connsiteX0" fmla="*/ 12053 w 163063"/>
                  <a:gd name="connsiteY0" fmla="*/ 8646 h 90376"/>
                  <a:gd name="connsiteX1" fmla="*/ 122506 w 163063"/>
                  <a:gd name="connsiteY1" fmla="*/ 17851 h 90376"/>
                  <a:gd name="connsiteX2" fmla="*/ 131711 w 163063"/>
                  <a:gd name="connsiteY2" fmla="*/ 20919 h 90376"/>
                  <a:gd name="connsiteX3" fmla="*/ 147051 w 163063"/>
                  <a:gd name="connsiteY3" fmla="*/ 30123 h 90376"/>
                  <a:gd name="connsiteX4" fmla="*/ 159325 w 163063"/>
                  <a:gd name="connsiteY4" fmla="*/ 79214 h 90376"/>
                  <a:gd name="connsiteX5" fmla="*/ 113302 w 163063"/>
                  <a:gd name="connsiteY5" fmla="*/ 85351 h 90376"/>
                  <a:gd name="connsiteX6" fmla="*/ 48869 w 163063"/>
                  <a:gd name="connsiteY6" fmla="*/ 70010 h 90376"/>
                  <a:gd name="connsiteX7" fmla="*/ 5916 w 163063"/>
                  <a:gd name="connsiteY7" fmla="*/ 45464 h 90376"/>
                  <a:gd name="connsiteX8" fmla="*/ 12053 w 163063"/>
                  <a:gd name="connsiteY8" fmla="*/ 8646 h 9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063" h="90376">
                    <a:moveTo>
                      <a:pt x="12053" y="8646"/>
                    </a:moveTo>
                    <a:cubicBezTo>
                      <a:pt x="45802" y="-12831"/>
                      <a:pt x="85688" y="11715"/>
                      <a:pt x="122506" y="17851"/>
                    </a:cubicBezTo>
                    <a:cubicBezTo>
                      <a:pt x="125574" y="17851"/>
                      <a:pt x="128643" y="20919"/>
                      <a:pt x="131711" y="20919"/>
                    </a:cubicBezTo>
                    <a:cubicBezTo>
                      <a:pt x="137847" y="23987"/>
                      <a:pt x="143984" y="23987"/>
                      <a:pt x="147051" y="30123"/>
                    </a:cubicBezTo>
                    <a:cubicBezTo>
                      <a:pt x="159325" y="42396"/>
                      <a:pt x="168529" y="63874"/>
                      <a:pt x="159325" y="79214"/>
                    </a:cubicBezTo>
                    <a:cubicBezTo>
                      <a:pt x="150121" y="97623"/>
                      <a:pt x="128643" y="88419"/>
                      <a:pt x="113302" y="85351"/>
                    </a:cubicBezTo>
                    <a:cubicBezTo>
                      <a:pt x="91825" y="82282"/>
                      <a:pt x="70347" y="76146"/>
                      <a:pt x="48869" y="70010"/>
                    </a:cubicBezTo>
                    <a:cubicBezTo>
                      <a:pt x="33528" y="66941"/>
                      <a:pt x="15120" y="63874"/>
                      <a:pt x="5916" y="45464"/>
                    </a:cubicBezTo>
                    <a:cubicBezTo>
                      <a:pt x="-6358" y="30123"/>
                      <a:pt x="2846" y="14782"/>
                      <a:pt x="12053" y="864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70579B9A-12D7-4138-AB0D-A3EAA46DA9F8}"/>
                  </a:ext>
                </a:extLst>
              </p:cNvPr>
              <p:cNvSpPr/>
              <p:nvPr/>
            </p:nvSpPr>
            <p:spPr>
              <a:xfrm>
                <a:off x="23963278" y="8914969"/>
                <a:ext cx="143298" cy="73615"/>
              </a:xfrm>
              <a:custGeom>
                <a:avLst/>
                <a:gdLst>
                  <a:gd name="connsiteX0" fmla="*/ 13070 w 143298"/>
                  <a:gd name="connsiteY0" fmla="*/ 7971 h 73615"/>
                  <a:gd name="connsiteX1" fmla="*/ 111252 w 143298"/>
                  <a:gd name="connsiteY1" fmla="*/ 14108 h 73615"/>
                  <a:gd name="connsiteX2" fmla="*/ 117389 w 143298"/>
                  <a:gd name="connsiteY2" fmla="*/ 17176 h 73615"/>
                  <a:gd name="connsiteX3" fmla="*/ 129663 w 143298"/>
                  <a:gd name="connsiteY3" fmla="*/ 23312 h 73615"/>
                  <a:gd name="connsiteX4" fmla="*/ 138867 w 143298"/>
                  <a:gd name="connsiteY4" fmla="*/ 63199 h 73615"/>
                  <a:gd name="connsiteX5" fmla="*/ 95911 w 143298"/>
                  <a:gd name="connsiteY5" fmla="*/ 72403 h 73615"/>
                  <a:gd name="connsiteX6" fmla="*/ 37617 w 143298"/>
                  <a:gd name="connsiteY6" fmla="*/ 63199 h 73615"/>
                  <a:gd name="connsiteX7" fmla="*/ 799 w 143298"/>
                  <a:gd name="connsiteY7" fmla="*/ 41721 h 73615"/>
                  <a:gd name="connsiteX8" fmla="*/ 13070 w 143298"/>
                  <a:gd name="connsiteY8" fmla="*/ 7971 h 73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298" h="73615">
                    <a:moveTo>
                      <a:pt x="13070" y="7971"/>
                    </a:moveTo>
                    <a:cubicBezTo>
                      <a:pt x="43752" y="-10438"/>
                      <a:pt x="77503" y="7971"/>
                      <a:pt x="111252" y="14108"/>
                    </a:cubicBezTo>
                    <a:cubicBezTo>
                      <a:pt x="114322" y="14108"/>
                      <a:pt x="117389" y="17176"/>
                      <a:pt x="117389" y="17176"/>
                    </a:cubicBezTo>
                    <a:cubicBezTo>
                      <a:pt x="123526" y="17176"/>
                      <a:pt x="126593" y="20244"/>
                      <a:pt x="129663" y="23312"/>
                    </a:cubicBezTo>
                    <a:cubicBezTo>
                      <a:pt x="141934" y="32517"/>
                      <a:pt x="148071" y="50926"/>
                      <a:pt x="138867" y="63199"/>
                    </a:cubicBezTo>
                    <a:cubicBezTo>
                      <a:pt x="129663" y="78540"/>
                      <a:pt x="111252" y="72403"/>
                      <a:pt x="95911" y="72403"/>
                    </a:cubicBezTo>
                    <a:cubicBezTo>
                      <a:pt x="77503" y="69335"/>
                      <a:pt x="59093" y="66267"/>
                      <a:pt x="37617" y="63199"/>
                    </a:cubicBezTo>
                    <a:cubicBezTo>
                      <a:pt x="25344" y="60130"/>
                      <a:pt x="6935" y="57062"/>
                      <a:pt x="799" y="41721"/>
                    </a:cubicBezTo>
                    <a:cubicBezTo>
                      <a:pt x="-2271" y="26381"/>
                      <a:pt x="3866" y="14108"/>
                      <a:pt x="13070" y="797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48A24A7B-3FB0-450C-AA3D-504D21C10BBC}"/>
                  </a:ext>
                </a:extLst>
              </p:cNvPr>
              <p:cNvSpPr/>
              <p:nvPr/>
            </p:nvSpPr>
            <p:spPr>
              <a:xfrm>
                <a:off x="23978266" y="8965322"/>
                <a:ext cx="105593" cy="57334"/>
              </a:xfrm>
              <a:custGeom>
                <a:avLst/>
                <a:gdLst>
                  <a:gd name="connsiteX0" fmla="*/ 10355 w 105593"/>
                  <a:gd name="connsiteY0" fmla="*/ 6710 h 57334"/>
                  <a:gd name="connsiteX1" fmla="*/ 80923 w 105593"/>
                  <a:gd name="connsiteY1" fmla="*/ 9778 h 57334"/>
                  <a:gd name="connsiteX2" fmla="*/ 87060 w 105593"/>
                  <a:gd name="connsiteY2" fmla="*/ 12846 h 57334"/>
                  <a:gd name="connsiteX3" fmla="*/ 96264 w 105593"/>
                  <a:gd name="connsiteY3" fmla="*/ 18982 h 57334"/>
                  <a:gd name="connsiteX4" fmla="*/ 102401 w 105593"/>
                  <a:gd name="connsiteY4" fmla="*/ 49664 h 57334"/>
                  <a:gd name="connsiteX5" fmla="*/ 71719 w 105593"/>
                  <a:gd name="connsiteY5" fmla="*/ 55800 h 57334"/>
                  <a:gd name="connsiteX6" fmla="*/ 28764 w 105593"/>
                  <a:gd name="connsiteY6" fmla="*/ 46596 h 57334"/>
                  <a:gd name="connsiteX7" fmla="*/ 1151 w 105593"/>
                  <a:gd name="connsiteY7" fmla="*/ 31255 h 57334"/>
                  <a:gd name="connsiteX8" fmla="*/ 10355 w 105593"/>
                  <a:gd name="connsiteY8" fmla="*/ 6710 h 57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593" h="57334">
                    <a:moveTo>
                      <a:pt x="10355" y="6710"/>
                    </a:moveTo>
                    <a:cubicBezTo>
                      <a:pt x="31833" y="-8631"/>
                      <a:pt x="56378" y="6710"/>
                      <a:pt x="80923" y="9778"/>
                    </a:cubicBezTo>
                    <a:cubicBezTo>
                      <a:pt x="83992" y="9778"/>
                      <a:pt x="83992" y="9778"/>
                      <a:pt x="87060" y="12846"/>
                    </a:cubicBezTo>
                    <a:cubicBezTo>
                      <a:pt x="90127" y="12846"/>
                      <a:pt x="93197" y="15914"/>
                      <a:pt x="96264" y="18982"/>
                    </a:cubicBezTo>
                    <a:cubicBezTo>
                      <a:pt x="105468" y="25119"/>
                      <a:pt x="108537" y="40460"/>
                      <a:pt x="102401" y="49664"/>
                    </a:cubicBezTo>
                    <a:cubicBezTo>
                      <a:pt x="96264" y="61937"/>
                      <a:pt x="80923" y="55800"/>
                      <a:pt x="71719" y="55800"/>
                    </a:cubicBezTo>
                    <a:cubicBezTo>
                      <a:pt x="56378" y="52733"/>
                      <a:pt x="44104" y="52733"/>
                      <a:pt x="28764" y="46596"/>
                    </a:cubicBezTo>
                    <a:cubicBezTo>
                      <a:pt x="19559" y="43528"/>
                      <a:pt x="7288" y="43528"/>
                      <a:pt x="1151" y="31255"/>
                    </a:cubicBezTo>
                    <a:cubicBezTo>
                      <a:pt x="-1918" y="22051"/>
                      <a:pt x="1151" y="12846"/>
                      <a:pt x="10355" y="671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DAD26191-EC28-46D0-A15A-D6EF47CA2D9F}"/>
                  </a:ext>
                </a:extLst>
              </p:cNvPr>
              <p:cNvSpPr/>
              <p:nvPr/>
            </p:nvSpPr>
            <p:spPr>
              <a:xfrm>
                <a:off x="23951803" y="8809418"/>
                <a:ext cx="178254" cy="144204"/>
              </a:xfrm>
              <a:custGeom>
                <a:avLst/>
                <a:gdLst>
                  <a:gd name="connsiteX0" fmla="*/ 141137 w 178254"/>
                  <a:gd name="connsiteY0" fmla="*/ 144204 h 144204"/>
                  <a:gd name="connsiteX1" fmla="*/ 101250 w 178254"/>
                  <a:gd name="connsiteY1" fmla="*/ 141137 h 144204"/>
                  <a:gd name="connsiteX2" fmla="*/ 0 w 178254"/>
                  <a:gd name="connsiteY2" fmla="*/ 82841 h 144204"/>
                  <a:gd name="connsiteX3" fmla="*/ 6137 w 178254"/>
                  <a:gd name="connsiteY3" fmla="*/ 58295 h 144204"/>
                  <a:gd name="connsiteX4" fmla="*/ 21478 w 178254"/>
                  <a:gd name="connsiteY4" fmla="*/ 55227 h 144204"/>
                  <a:gd name="connsiteX5" fmla="*/ 141137 w 178254"/>
                  <a:gd name="connsiteY5" fmla="*/ 73636 h 144204"/>
                  <a:gd name="connsiteX6" fmla="*/ 150342 w 178254"/>
                  <a:gd name="connsiteY6" fmla="*/ 58295 h 144204"/>
                  <a:gd name="connsiteX7" fmla="*/ 147272 w 178254"/>
                  <a:gd name="connsiteY7" fmla="*/ 46023 h 144204"/>
                  <a:gd name="connsiteX8" fmla="*/ 46023 w 178254"/>
                  <a:gd name="connsiteY8" fmla="*/ 12273 h 144204"/>
                  <a:gd name="connsiteX9" fmla="*/ 39886 w 178254"/>
                  <a:gd name="connsiteY9" fmla="*/ 6136 h 144204"/>
                  <a:gd name="connsiteX10" fmla="*/ 46023 w 178254"/>
                  <a:gd name="connsiteY10" fmla="*/ 0 h 144204"/>
                  <a:gd name="connsiteX11" fmla="*/ 156478 w 178254"/>
                  <a:gd name="connsiteY11" fmla="*/ 36818 h 144204"/>
                  <a:gd name="connsiteX12" fmla="*/ 162613 w 178254"/>
                  <a:gd name="connsiteY12" fmla="*/ 58295 h 144204"/>
                  <a:gd name="connsiteX13" fmla="*/ 159546 w 178254"/>
                  <a:gd name="connsiteY13" fmla="*/ 70568 h 144204"/>
                  <a:gd name="connsiteX14" fmla="*/ 159546 w 178254"/>
                  <a:gd name="connsiteY14" fmla="*/ 70568 h 144204"/>
                  <a:gd name="connsiteX15" fmla="*/ 177954 w 178254"/>
                  <a:gd name="connsiteY15" fmla="*/ 119659 h 144204"/>
                  <a:gd name="connsiteX16" fmla="*/ 141137 w 178254"/>
                  <a:gd name="connsiteY16" fmla="*/ 144204 h 144204"/>
                  <a:gd name="connsiteX17" fmla="*/ 15341 w 178254"/>
                  <a:gd name="connsiteY17" fmla="*/ 67500 h 144204"/>
                  <a:gd name="connsiteX18" fmla="*/ 15341 w 178254"/>
                  <a:gd name="connsiteY18" fmla="*/ 67500 h 144204"/>
                  <a:gd name="connsiteX19" fmla="*/ 9204 w 178254"/>
                  <a:gd name="connsiteY19" fmla="*/ 79773 h 144204"/>
                  <a:gd name="connsiteX20" fmla="*/ 101250 w 178254"/>
                  <a:gd name="connsiteY20" fmla="*/ 125796 h 144204"/>
                  <a:gd name="connsiteX21" fmla="*/ 159546 w 178254"/>
                  <a:gd name="connsiteY21" fmla="*/ 119659 h 144204"/>
                  <a:gd name="connsiteX22" fmla="*/ 144205 w 178254"/>
                  <a:gd name="connsiteY22" fmla="*/ 82841 h 144204"/>
                  <a:gd name="connsiteX23" fmla="*/ 144205 w 178254"/>
                  <a:gd name="connsiteY23" fmla="*/ 82841 h 144204"/>
                  <a:gd name="connsiteX24" fmla="*/ 15341 w 178254"/>
                  <a:gd name="connsiteY24" fmla="*/ 67500 h 144204"/>
                  <a:gd name="connsiteX25" fmla="*/ 15341 w 178254"/>
                  <a:gd name="connsiteY25" fmla="*/ 67500 h 144204"/>
                  <a:gd name="connsiteX26" fmla="*/ 15341 w 178254"/>
                  <a:gd name="connsiteY26" fmla="*/ 67500 h 144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78254" h="144204">
                    <a:moveTo>
                      <a:pt x="141137" y="144204"/>
                    </a:moveTo>
                    <a:cubicBezTo>
                      <a:pt x="128864" y="144204"/>
                      <a:pt x="116591" y="141137"/>
                      <a:pt x="101250" y="141137"/>
                    </a:cubicBezTo>
                    <a:cubicBezTo>
                      <a:pt x="36819" y="128864"/>
                      <a:pt x="0" y="110455"/>
                      <a:pt x="0" y="82841"/>
                    </a:cubicBezTo>
                    <a:cubicBezTo>
                      <a:pt x="0" y="70568"/>
                      <a:pt x="3069" y="64432"/>
                      <a:pt x="6137" y="58295"/>
                    </a:cubicBezTo>
                    <a:cubicBezTo>
                      <a:pt x="12273" y="52159"/>
                      <a:pt x="18410" y="55227"/>
                      <a:pt x="21478" y="55227"/>
                    </a:cubicBezTo>
                    <a:cubicBezTo>
                      <a:pt x="85909" y="76705"/>
                      <a:pt x="125797" y="82841"/>
                      <a:pt x="141137" y="73636"/>
                    </a:cubicBezTo>
                    <a:cubicBezTo>
                      <a:pt x="147272" y="70568"/>
                      <a:pt x="147272" y="64432"/>
                      <a:pt x="150342" y="58295"/>
                    </a:cubicBezTo>
                    <a:cubicBezTo>
                      <a:pt x="150342" y="55227"/>
                      <a:pt x="150342" y="49091"/>
                      <a:pt x="147272" y="46023"/>
                    </a:cubicBezTo>
                    <a:cubicBezTo>
                      <a:pt x="131931" y="24546"/>
                      <a:pt x="67500" y="15341"/>
                      <a:pt x="46023" y="12273"/>
                    </a:cubicBezTo>
                    <a:cubicBezTo>
                      <a:pt x="42955" y="12273"/>
                      <a:pt x="39886" y="9205"/>
                      <a:pt x="39886" y="6136"/>
                    </a:cubicBezTo>
                    <a:cubicBezTo>
                      <a:pt x="39886" y="3068"/>
                      <a:pt x="42955" y="0"/>
                      <a:pt x="46023" y="0"/>
                    </a:cubicBezTo>
                    <a:cubicBezTo>
                      <a:pt x="49092" y="0"/>
                      <a:pt x="135001" y="9205"/>
                      <a:pt x="156478" y="36818"/>
                    </a:cubicBezTo>
                    <a:cubicBezTo>
                      <a:pt x="162613" y="42954"/>
                      <a:pt x="162613" y="49091"/>
                      <a:pt x="162613" y="58295"/>
                    </a:cubicBezTo>
                    <a:cubicBezTo>
                      <a:pt x="162613" y="61364"/>
                      <a:pt x="159546" y="67500"/>
                      <a:pt x="159546" y="70568"/>
                    </a:cubicBezTo>
                    <a:cubicBezTo>
                      <a:pt x="159546" y="70568"/>
                      <a:pt x="159546" y="70568"/>
                      <a:pt x="159546" y="70568"/>
                    </a:cubicBezTo>
                    <a:cubicBezTo>
                      <a:pt x="159546" y="70568"/>
                      <a:pt x="181023" y="98182"/>
                      <a:pt x="177954" y="119659"/>
                    </a:cubicBezTo>
                    <a:cubicBezTo>
                      <a:pt x="171819" y="141137"/>
                      <a:pt x="156478" y="144204"/>
                      <a:pt x="141137" y="144204"/>
                    </a:cubicBezTo>
                    <a:close/>
                    <a:moveTo>
                      <a:pt x="15341" y="67500"/>
                    </a:moveTo>
                    <a:cubicBezTo>
                      <a:pt x="15341" y="67500"/>
                      <a:pt x="15341" y="67500"/>
                      <a:pt x="15341" y="67500"/>
                    </a:cubicBezTo>
                    <a:cubicBezTo>
                      <a:pt x="12273" y="70568"/>
                      <a:pt x="9204" y="70568"/>
                      <a:pt x="9204" y="79773"/>
                    </a:cubicBezTo>
                    <a:cubicBezTo>
                      <a:pt x="9204" y="101250"/>
                      <a:pt x="42955" y="116591"/>
                      <a:pt x="101250" y="125796"/>
                    </a:cubicBezTo>
                    <a:cubicBezTo>
                      <a:pt x="144205" y="131932"/>
                      <a:pt x="156478" y="131932"/>
                      <a:pt x="159546" y="119659"/>
                    </a:cubicBezTo>
                    <a:cubicBezTo>
                      <a:pt x="162613" y="107386"/>
                      <a:pt x="150342" y="88977"/>
                      <a:pt x="144205" y="82841"/>
                    </a:cubicBezTo>
                    <a:cubicBezTo>
                      <a:pt x="144205" y="82841"/>
                      <a:pt x="144205" y="82841"/>
                      <a:pt x="144205" y="82841"/>
                    </a:cubicBezTo>
                    <a:cubicBezTo>
                      <a:pt x="135001" y="92045"/>
                      <a:pt x="107386" y="98182"/>
                      <a:pt x="15341" y="67500"/>
                    </a:cubicBezTo>
                    <a:lnTo>
                      <a:pt x="15341" y="67500"/>
                    </a:lnTo>
                    <a:cubicBezTo>
                      <a:pt x="15341" y="67500"/>
                      <a:pt x="15341" y="67500"/>
                      <a:pt x="15341" y="675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EBA6B7E8-5D28-4A07-8E2E-87022E823DB4}"/>
                  </a:ext>
                </a:extLst>
              </p:cNvPr>
              <p:cNvSpPr/>
              <p:nvPr/>
            </p:nvSpPr>
            <p:spPr>
              <a:xfrm>
                <a:off x="23957940" y="8916804"/>
                <a:ext cx="157499" cy="79772"/>
              </a:xfrm>
              <a:custGeom>
                <a:avLst/>
                <a:gdLst>
                  <a:gd name="connsiteX0" fmla="*/ 119660 w 157499"/>
                  <a:gd name="connsiteY0" fmla="*/ 79773 h 79772"/>
                  <a:gd name="connsiteX1" fmla="*/ 9204 w 157499"/>
                  <a:gd name="connsiteY1" fmla="*/ 52159 h 79772"/>
                  <a:gd name="connsiteX2" fmla="*/ 0 w 157499"/>
                  <a:gd name="connsiteY2" fmla="*/ 27613 h 79772"/>
                  <a:gd name="connsiteX3" fmla="*/ 15341 w 157499"/>
                  <a:gd name="connsiteY3" fmla="*/ 0 h 79772"/>
                  <a:gd name="connsiteX4" fmla="*/ 24545 w 157499"/>
                  <a:gd name="connsiteY4" fmla="*/ 3068 h 79772"/>
                  <a:gd name="connsiteX5" fmla="*/ 21478 w 157499"/>
                  <a:gd name="connsiteY5" fmla="*/ 12273 h 79772"/>
                  <a:gd name="connsiteX6" fmla="*/ 12273 w 157499"/>
                  <a:gd name="connsiteY6" fmla="*/ 30682 h 79772"/>
                  <a:gd name="connsiteX7" fmla="*/ 18408 w 157499"/>
                  <a:gd name="connsiteY7" fmla="*/ 42954 h 79772"/>
                  <a:gd name="connsiteX8" fmla="*/ 119660 w 157499"/>
                  <a:gd name="connsiteY8" fmla="*/ 67500 h 79772"/>
                  <a:gd name="connsiteX9" fmla="*/ 119660 w 157499"/>
                  <a:gd name="connsiteY9" fmla="*/ 67500 h 79772"/>
                  <a:gd name="connsiteX10" fmla="*/ 141136 w 157499"/>
                  <a:gd name="connsiteY10" fmla="*/ 58295 h 79772"/>
                  <a:gd name="connsiteX11" fmla="*/ 141136 w 157499"/>
                  <a:gd name="connsiteY11" fmla="*/ 30682 h 79772"/>
                  <a:gd name="connsiteX12" fmla="*/ 144205 w 157499"/>
                  <a:gd name="connsiteY12" fmla="*/ 21477 h 79772"/>
                  <a:gd name="connsiteX13" fmla="*/ 153409 w 157499"/>
                  <a:gd name="connsiteY13" fmla="*/ 24546 h 79772"/>
                  <a:gd name="connsiteX14" fmla="*/ 153409 w 157499"/>
                  <a:gd name="connsiteY14" fmla="*/ 61364 h 79772"/>
                  <a:gd name="connsiteX15" fmla="*/ 119660 w 157499"/>
                  <a:gd name="connsiteY15" fmla="*/ 79773 h 79772"/>
                  <a:gd name="connsiteX16" fmla="*/ 119660 w 157499"/>
                  <a:gd name="connsiteY16" fmla="*/ 79773 h 79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57499" h="79772">
                    <a:moveTo>
                      <a:pt x="119660" y="79773"/>
                    </a:moveTo>
                    <a:cubicBezTo>
                      <a:pt x="73637" y="79773"/>
                      <a:pt x="24545" y="61364"/>
                      <a:pt x="9204" y="52159"/>
                    </a:cubicBezTo>
                    <a:cubicBezTo>
                      <a:pt x="3067" y="46023"/>
                      <a:pt x="0" y="39886"/>
                      <a:pt x="0" y="27613"/>
                    </a:cubicBezTo>
                    <a:cubicBezTo>
                      <a:pt x="0" y="15341"/>
                      <a:pt x="6137" y="3068"/>
                      <a:pt x="15341" y="0"/>
                    </a:cubicBezTo>
                    <a:cubicBezTo>
                      <a:pt x="18408" y="0"/>
                      <a:pt x="21478" y="0"/>
                      <a:pt x="24545" y="3068"/>
                    </a:cubicBezTo>
                    <a:cubicBezTo>
                      <a:pt x="24545" y="6136"/>
                      <a:pt x="24545" y="9205"/>
                      <a:pt x="21478" y="12273"/>
                    </a:cubicBezTo>
                    <a:cubicBezTo>
                      <a:pt x="18408" y="12273"/>
                      <a:pt x="15341" y="21477"/>
                      <a:pt x="12273" y="30682"/>
                    </a:cubicBezTo>
                    <a:cubicBezTo>
                      <a:pt x="12273" y="33750"/>
                      <a:pt x="12273" y="39886"/>
                      <a:pt x="18408" y="42954"/>
                    </a:cubicBezTo>
                    <a:cubicBezTo>
                      <a:pt x="30682" y="52159"/>
                      <a:pt x="79772" y="67500"/>
                      <a:pt x="119660" y="67500"/>
                    </a:cubicBezTo>
                    <a:cubicBezTo>
                      <a:pt x="119660" y="67500"/>
                      <a:pt x="119660" y="67500"/>
                      <a:pt x="119660" y="67500"/>
                    </a:cubicBezTo>
                    <a:cubicBezTo>
                      <a:pt x="128864" y="67500"/>
                      <a:pt x="138068" y="64432"/>
                      <a:pt x="141136" y="58295"/>
                    </a:cubicBezTo>
                    <a:cubicBezTo>
                      <a:pt x="147272" y="49091"/>
                      <a:pt x="141136" y="30682"/>
                      <a:pt x="141136" y="30682"/>
                    </a:cubicBezTo>
                    <a:cubicBezTo>
                      <a:pt x="141136" y="27613"/>
                      <a:pt x="141136" y="24546"/>
                      <a:pt x="144205" y="21477"/>
                    </a:cubicBezTo>
                    <a:cubicBezTo>
                      <a:pt x="147272" y="21477"/>
                      <a:pt x="150342" y="21477"/>
                      <a:pt x="153409" y="24546"/>
                    </a:cubicBezTo>
                    <a:cubicBezTo>
                      <a:pt x="153409" y="24546"/>
                      <a:pt x="162613" y="46023"/>
                      <a:pt x="153409" y="61364"/>
                    </a:cubicBezTo>
                    <a:cubicBezTo>
                      <a:pt x="147272" y="73636"/>
                      <a:pt x="135001" y="79773"/>
                      <a:pt x="119660" y="79773"/>
                    </a:cubicBezTo>
                    <a:cubicBezTo>
                      <a:pt x="119660" y="79773"/>
                      <a:pt x="119660" y="79773"/>
                      <a:pt x="119660" y="7977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636D3514-24FB-471C-A4CC-88BE2875FB03}"/>
                </a:ext>
              </a:extLst>
            </p:cNvPr>
            <p:cNvSpPr/>
            <p:nvPr/>
          </p:nvSpPr>
          <p:spPr>
            <a:xfrm>
              <a:off x="24043668" y="8863295"/>
              <a:ext cx="158198" cy="121110"/>
            </a:xfrm>
            <a:custGeom>
              <a:avLst/>
              <a:gdLst>
                <a:gd name="connsiteX0" fmla="*/ 3249 w 158198"/>
                <a:gd name="connsiteY0" fmla="*/ 74986 h 121110"/>
                <a:gd name="connsiteX1" fmla="*/ 30862 w 158198"/>
                <a:gd name="connsiteY1" fmla="*/ 65782 h 121110"/>
                <a:gd name="connsiteX2" fmla="*/ 95295 w 158198"/>
                <a:gd name="connsiteY2" fmla="*/ 71919 h 121110"/>
                <a:gd name="connsiteX3" fmla="*/ 138248 w 158198"/>
                <a:gd name="connsiteY3" fmla="*/ 121009 h 121110"/>
                <a:gd name="connsiteX4" fmla="*/ 153589 w 158198"/>
                <a:gd name="connsiteY4" fmla="*/ 41237 h 121110"/>
                <a:gd name="connsiteX5" fmla="*/ 49272 w 158198"/>
                <a:gd name="connsiteY5" fmla="*/ 4418 h 121110"/>
                <a:gd name="connsiteX6" fmla="*/ 3249 w 158198"/>
                <a:gd name="connsiteY6" fmla="*/ 74986 h 121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198" h="121110">
                  <a:moveTo>
                    <a:pt x="3249" y="74986"/>
                  </a:moveTo>
                  <a:cubicBezTo>
                    <a:pt x="9384" y="84191"/>
                    <a:pt x="24725" y="68850"/>
                    <a:pt x="30862" y="65782"/>
                  </a:cubicBezTo>
                  <a:cubicBezTo>
                    <a:pt x="55407" y="59646"/>
                    <a:pt x="73817" y="56578"/>
                    <a:pt x="95295" y="71919"/>
                  </a:cubicBezTo>
                  <a:cubicBezTo>
                    <a:pt x="107566" y="81123"/>
                    <a:pt x="125977" y="108737"/>
                    <a:pt x="138248" y="121009"/>
                  </a:cubicBezTo>
                  <a:cubicBezTo>
                    <a:pt x="141318" y="124078"/>
                    <a:pt x="168930" y="56578"/>
                    <a:pt x="153589" y="41237"/>
                  </a:cubicBezTo>
                  <a:cubicBezTo>
                    <a:pt x="132112" y="16691"/>
                    <a:pt x="83021" y="-10923"/>
                    <a:pt x="49272" y="4418"/>
                  </a:cubicBezTo>
                  <a:cubicBezTo>
                    <a:pt x="30862" y="10555"/>
                    <a:pt x="-12091" y="56578"/>
                    <a:pt x="3249" y="74986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031081F1-F652-4EF8-9B1E-E8F3605E485A}"/>
                </a:ext>
              </a:extLst>
            </p:cNvPr>
            <p:cNvSpPr/>
            <p:nvPr/>
          </p:nvSpPr>
          <p:spPr>
            <a:xfrm>
              <a:off x="24034644" y="8856837"/>
              <a:ext cx="164915" cy="139740"/>
            </a:xfrm>
            <a:custGeom>
              <a:avLst/>
              <a:gdLst>
                <a:gd name="connsiteX0" fmla="*/ 113523 w 164915"/>
                <a:gd name="connsiteY0" fmla="*/ 136672 h 139740"/>
                <a:gd name="connsiteX1" fmla="*/ 110454 w 164915"/>
                <a:gd name="connsiteY1" fmla="*/ 133604 h 139740"/>
                <a:gd name="connsiteX2" fmla="*/ 101250 w 164915"/>
                <a:gd name="connsiteY2" fmla="*/ 84513 h 139740"/>
                <a:gd name="connsiteX3" fmla="*/ 39886 w 164915"/>
                <a:gd name="connsiteY3" fmla="*/ 84513 h 139740"/>
                <a:gd name="connsiteX4" fmla="*/ 9204 w 164915"/>
                <a:gd name="connsiteY4" fmla="*/ 87581 h 139740"/>
                <a:gd name="connsiteX5" fmla="*/ 0 w 164915"/>
                <a:gd name="connsiteY5" fmla="*/ 69172 h 139740"/>
                <a:gd name="connsiteX6" fmla="*/ 52159 w 164915"/>
                <a:gd name="connsiteY6" fmla="*/ 4740 h 139740"/>
                <a:gd name="connsiteX7" fmla="*/ 162613 w 164915"/>
                <a:gd name="connsiteY7" fmla="*/ 44626 h 139740"/>
                <a:gd name="connsiteX8" fmla="*/ 162613 w 164915"/>
                <a:gd name="connsiteY8" fmla="*/ 53831 h 139740"/>
                <a:gd name="connsiteX9" fmla="*/ 153409 w 164915"/>
                <a:gd name="connsiteY9" fmla="*/ 53831 h 139740"/>
                <a:gd name="connsiteX10" fmla="*/ 55227 w 164915"/>
                <a:gd name="connsiteY10" fmla="*/ 17013 h 139740"/>
                <a:gd name="connsiteX11" fmla="*/ 9204 w 164915"/>
                <a:gd name="connsiteY11" fmla="*/ 72240 h 139740"/>
                <a:gd name="connsiteX12" fmla="*/ 12273 w 164915"/>
                <a:gd name="connsiteY12" fmla="*/ 78377 h 139740"/>
                <a:gd name="connsiteX13" fmla="*/ 33749 w 164915"/>
                <a:gd name="connsiteY13" fmla="*/ 75308 h 139740"/>
                <a:gd name="connsiteX14" fmla="*/ 107386 w 164915"/>
                <a:gd name="connsiteY14" fmla="*/ 78377 h 139740"/>
                <a:gd name="connsiteX15" fmla="*/ 110454 w 164915"/>
                <a:gd name="connsiteY15" fmla="*/ 84513 h 139740"/>
                <a:gd name="connsiteX16" fmla="*/ 116591 w 164915"/>
                <a:gd name="connsiteY16" fmla="*/ 130536 h 139740"/>
                <a:gd name="connsiteX17" fmla="*/ 116591 w 164915"/>
                <a:gd name="connsiteY17" fmla="*/ 139740 h 139740"/>
                <a:gd name="connsiteX18" fmla="*/ 113523 w 164915"/>
                <a:gd name="connsiteY18" fmla="*/ 136672 h 139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4915" h="139740">
                  <a:moveTo>
                    <a:pt x="113523" y="136672"/>
                  </a:moveTo>
                  <a:cubicBezTo>
                    <a:pt x="110454" y="136672"/>
                    <a:pt x="110454" y="136672"/>
                    <a:pt x="110454" y="133604"/>
                  </a:cubicBezTo>
                  <a:cubicBezTo>
                    <a:pt x="98182" y="118263"/>
                    <a:pt x="98182" y="93718"/>
                    <a:pt x="101250" y="84513"/>
                  </a:cubicBezTo>
                  <a:cubicBezTo>
                    <a:pt x="79772" y="72240"/>
                    <a:pt x="58296" y="78377"/>
                    <a:pt x="39886" y="84513"/>
                  </a:cubicBezTo>
                  <a:cubicBezTo>
                    <a:pt x="27614" y="87581"/>
                    <a:pt x="18408" y="93718"/>
                    <a:pt x="9204" y="87581"/>
                  </a:cubicBezTo>
                  <a:cubicBezTo>
                    <a:pt x="3067" y="84513"/>
                    <a:pt x="0" y="78377"/>
                    <a:pt x="0" y="69172"/>
                  </a:cubicBezTo>
                  <a:cubicBezTo>
                    <a:pt x="0" y="50763"/>
                    <a:pt x="21478" y="23149"/>
                    <a:pt x="52159" y="4740"/>
                  </a:cubicBezTo>
                  <a:cubicBezTo>
                    <a:pt x="95113" y="-16737"/>
                    <a:pt x="162613" y="41558"/>
                    <a:pt x="162613" y="44626"/>
                  </a:cubicBezTo>
                  <a:cubicBezTo>
                    <a:pt x="165683" y="47695"/>
                    <a:pt x="165683" y="50763"/>
                    <a:pt x="162613" y="53831"/>
                  </a:cubicBezTo>
                  <a:cubicBezTo>
                    <a:pt x="159546" y="56899"/>
                    <a:pt x="156477" y="56899"/>
                    <a:pt x="153409" y="53831"/>
                  </a:cubicBezTo>
                  <a:cubicBezTo>
                    <a:pt x="153409" y="53831"/>
                    <a:pt x="92045" y="-1396"/>
                    <a:pt x="55227" y="17013"/>
                  </a:cubicBezTo>
                  <a:cubicBezTo>
                    <a:pt x="27614" y="32354"/>
                    <a:pt x="9204" y="56899"/>
                    <a:pt x="9204" y="72240"/>
                  </a:cubicBezTo>
                  <a:cubicBezTo>
                    <a:pt x="9204" y="78377"/>
                    <a:pt x="12273" y="78377"/>
                    <a:pt x="12273" y="78377"/>
                  </a:cubicBezTo>
                  <a:cubicBezTo>
                    <a:pt x="15341" y="81445"/>
                    <a:pt x="24545" y="78377"/>
                    <a:pt x="33749" y="75308"/>
                  </a:cubicBezTo>
                  <a:cubicBezTo>
                    <a:pt x="52159" y="69172"/>
                    <a:pt x="79772" y="56899"/>
                    <a:pt x="107386" y="78377"/>
                  </a:cubicBezTo>
                  <a:cubicBezTo>
                    <a:pt x="110454" y="78377"/>
                    <a:pt x="110454" y="81445"/>
                    <a:pt x="110454" y="84513"/>
                  </a:cubicBezTo>
                  <a:cubicBezTo>
                    <a:pt x="110454" y="84513"/>
                    <a:pt x="104319" y="115195"/>
                    <a:pt x="116591" y="130536"/>
                  </a:cubicBezTo>
                  <a:cubicBezTo>
                    <a:pt x="119660" y="133604"/>
                    <a:pt x="119660" y="136672"/>
                    <a:pt x="116591" y="139740"/>
                  </a:cubicBezTo>
                  <a:cubicBezTo>
                    <a:pt x="116591" y="136672"/>
                    <a:pt x="116591" y="136672"/>
                    <a:pt x="113523" y="136672"/>
                  </a:cubicBezTo>
                  <a:close/>
                </a:path>
              </a:pathLst>
            </a:custGeom>
            <a:solidFill>
              <a:srgbClr val="E87952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9" name="图形 1">
              <a:extLst>
                <a:ext uri="{FF2B5EF4-FFF2-40B4-BE49-F238E27FC236}">
                  <a16:creationId xmlns:a16="http://schemas.microsoft.com/office/drawing/2014/main" id="{683B14CE-A12A-4989-AD6F-675E9512A949}"/>
                </a:ext>
              </a:extLst>
            </p:cNvPr>
            <p:cNvGrpSpPr/>
            <p:nvPr/>
          </p:nvGrpSpPr>
          <p:grpSpPr>
            <a:xfrm>
              <a:off x="25544190" y="9907826"/>
              <a:ext cx="1162839" cy="1454318"/>
              <a:chOff x="25544190" y="9907826"/>
              <a:chExt cx="1162839" cy="1454318"/>
            </a:xfrm>
          </p:grpSpPr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E47C0B8B-4D93-46D8-A55A-62D9A634BFBD}"/>
                  </a:ext>
                </a:extLst>
              </p:cNvPr>
              <p:cNvSpPr/>
              <p:nvPr/>
            </p:nvSpPr>
            <p:spPr>
              <a:xfrm>
                <a:off x="25878621" y="9907826"/>
                <a:ext cx="431804" cy="420341"/>
              </a:xfrm>
              <a:custGeom>
                <a:avLst/>
                <a:gdLst>
                  <a:gd name="connsiteX0" fmla="*/ 6137 w 431804"/>
                  <a:gd name="connsiteY0" fmla="*/ 420341 h 420341"/>
                  <a:gd name="connsiteX1" fmla="*/ 6137 w 431804"/>
                  <a:gd name="connsiteY1" fmla="*/ 420341 h 420341"/>
                  <a:gd name="connsiteX2" fmla="*/ 0 w 431804"/>
                  <a:gd name="connsiteY2" fmla="*/ 414205 h 420341"/>
                  <a:gd name="connsiteX3" fmla="*/ 297614 w 431804"/>
                  <a:gd name="connsiteY3" fmla="*/ 0 h 420341"/>
                  <a:gd name="connsiteX4" fmla="*/ 297614 w 431804"/>
                  <a:gd name="connsiteY4" fmla="*/ 0 h 420341"/>
                  <a:gd name="connsiteX5" fmla="*/ 371251 w 431804"/>
                  <a:gd name="connsiteY5" fmla="*/ 33750 h 420341"/>
                  <a:gd name="connsiteX6" fmla="*/ 426478 w 431804"/>
                  <a:gd name="connsiteY6" fmla="*/ 414205 h 420341"/>
                  <a:gd name="connsiteX7" fmla="*/ 420341 w 431804"/>
                  <a:gd name="connsiteY7" fmla="*/ 420341 h 420341"/>
                  <a:gd name="connsiteX8" fmla="*/ 414205 w 431804"/>
                  <a:gd name="connsiteY8" fmla="*/ 414205 h 420341"/>
                  <a:gd name="connsiteX9" fmla="*/ 362047 w 431804"/>
                  <a:gd name="connsiteY9" fmla="*/ 42955 h 420341"/>
                  <a:gd name="connsiteX10" fmla="*/ 297614 w 431804"/>
                  <a:gd name="connsiteY10" fmla="*/ 12273 h 420341"/>
                  <a:gd name="connsiteX11" fmla="*/ 297614 w 431804"/>
                  <a:gd name="connsiteY11" fmla="*/ 12273 h 420341"/>
                  <a:gd name="connsiteX12" fmla="*/ 9206 w 431804"/>
                  <a:gd name="connsiteY12" fmla="*/ 420341 h 420341"/>
                  <a:gd name="connsiteX13" fmla="*/ 6137 w 431804"/>
                  <a:gd name="connsiteY13" fmla="*/ 420341 h 420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1804" h="420341">
                    <a:moveTo>
                      <a:pt x="6137" y="420341"/>
                    </a:moveTo>
                    <a:cubicBezTo>
                      <a:pt x="3069" y="420341"/>
                      <a:pt x="3069" y="420341"/>
                      <a:pt x="6137" y="420341"/>
                    </a:cubicBezTo>
                    <a:cubicBezTo>
                      <a:pt x="0" y="420341"/>
                      <a:pt x="0" y="414205"/>
                      <a:pt x="0" y="414205"/>
                    </a:cubicBezTo>
                    <a:cubicBezTo>
                      <a:pt x="6137" y="395796"/>
                      <a:pt x="150342" y="0"/>
                      <a:pt x="297614" y="0"/>
                    </a:cubicBezTo>
                    <a:cubicBezTo>
                      <a:pt x="297614" y="0"/>
                      <a:pt x="297614" y="0"/>
                      <a:pt x="297614" y="0"/>
                    </a:cubicBezTo>
                    <a:cubicBezTo>
                      <a:pt x="325228" y="0"/>
                      <a:pt x="349773" y="12273"/>
                      <a:pt x="371251" y="33750"/>
                    </a:cubicBezTo>
                    <a:cubicBezTo>
                      <a:pt x="457160" y="128864"/>
                      <a:pt x="426478" y="401932"/>
                      <a:pt x="426478" y="414205"/>
                    </a:cubicBezTo>
                    <a:cubicBezTo>
                      <a:pt x="426478" y="417273"/>
                      <a:pt x="423411" y="420341"/>
                      <a:pt x="420341" y="420341"/>
                    </a:cubicBezTo>
                    <a:cubicBezTo>
                      <a:pt x="417274" y="420341"/>
                      <a:pt x="414205" y="417273"/>
                      <a:pt x="414205" y="414205"/>
                    </a:cubicBezTo>
                    <a:cubicBezTo>
                      <a:pt x="414205" y="411137"/>
                      <a:pt x="444886" y="135001"/>
                      <a:pt x="362047" y="42955"/>
                    </a:cubicBezTo>
                    <a:cubicBezTo>
                      <a:pt x="343637" y="24546"/>
                      <a:pt x="322159" y="12273"/>
                      <a:pt x="297614" y="12273"/>
                    </a:cubicBezTo>
                    <a:cubicBezTo>
                      <a:pt x="297614" y="12273"/>
                      <a:pt x="297614" y="12273"/>
                      <a:pt x="297614" y="12273"/>
                    </a:cubicBezTo>
                    <a:cubicBezTo>
                      <a:pt x="159546" y="12273"/>
                      <a:pt x="12273" y="414205"/>
                      <a:pt x="9206" y="420341"/>
                    </a:cubicBezTo>
                    <a:cubicBezTo>
                      <a:pt x="9206" y="417273"/>
                      <a:pt x="6137" y="420341"/>
                      <a:pt x="6137" y="42034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9" name="图形 1">
                <a:extLst>
                  <a:ext uri="{FF2B5EF4-FFF2-40B4-BE49-F238E27FC236}">
                    <a16:creationId xmlns:a16="http://schemas.microsoft.com/office/drawing/2014/main" id="{CAA308B7-4109-452B-A3F6-9A9D093C7DD6}"/>
                  </a:ext>
                </a:extLst>
              </p:cNvPr>
              <p:cNvGrpSpPr/>
              <p:nvPr/>
            </p:nvGrpSpPr>
            <p:grpSpPr>
              <a:xfrm>
                <a:off x="25544190" y="10217713"/>
                <a:ext cx="1162839" cy="1144432"/>
                <a:chOff x="25544190" y="10217713"/>
                <a:chExt cx="1162839" cy="1144432"/>
              </a:xfrm>
            </p:grpSpPr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6D923579-5A19-4C37-BB87-0A469AB821B6}"/>
                    </a:ext>
                  </a:extLst>
                </p:cNvPr>
                <p:cNvSpPr/>
                <p:nvPr/>
              </p:nvSpPr>
              <p:spPr>
                <a:xfrm>
                  <a:off x="25697599" y="10236122"/>
                  <a:ext cx="1009430" cy="1126023"/>
                </a:xfrm>
                <a:custGeom>
                  <a:avLst/>
                  <a:gdLst>
                    <a:gd name="connsiteX0" fmla="*/ 98182 w 1009430"/>
                    <a:gd name="connsiteY0" fmla="*/ 0 h 1126023"/>
                    <a:gd name="connsiteX1" fmla="*/ 0 w 1009430"/>
                    <a:gd name="connsiteY1" fmla="*/ 1126023 h 1126023"/>
                    <a:gd name="connsiteX2" fmla="*/ 1009431 w 1009430"/>
                    <a:gd name="connsiteY2" fmla="*/ 1092273 h 1126023"/>
                    <a:gd name="connsiteX3" fmla="*/ 911250 w 1009430"/>
                    <a:gd name="connsiteY3" fmla="*/ 6137 h 1126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09430" h="1126023">
                      <a:moveTo>
                        <a:pt x="98182" y="0"/>
                      </a:moveTo>
                      <a:lnTo>
                        <a:pt x="0" y="1126023"/>
                      </a:lnTo>
                      <a:lnTo>
                        <a:pt x="1009431" y="1092273"/>
                      </a:lnTo>
                      <a:lnTo>
                        <a:pt x="911250" y="6137"/>
                      </a:lnTo>
                      <a:close/>
                    </a:path>
                  </a:pathLst>
                </a:custGeom>
                <a:solidFill>
                  <a:srgbClr val="D39778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34E9BF4C-CBCE-4ACC-A740-763E4E8BEABB}"/>
                    </a:ext>
                  </a:extLst>
                </p:cNvPr>
                <p:cNvSpPr/>
                <p:nvPr/>
              </p:nvSpPr>
              <p:spPr>
                <a:xfrm>
                  <a:off x="25673054" y="10217713"/>
                  <a:ext cx="935795" cy="24546"/>
                </a:xfrm>
                <a:custGeom>
                  <a:avLst/>
                  <a:gdLst>
                    <a:gd name="connsiteX0" fmla="*/ 935795 w 935795"/>
                    <a:gd name="connsiteY0" fmla="*/ 24546 h 24546"/>
                    <a:gd name="connsiteX1" fmla="*/ 736364 w 935795"/>
                    <a:gd name="connsiteY1" fmla="*/ 0 h 24546"/>
                    <a:gd name="connsiteX2" fmla="*/ 0 w 935795"/>
                    <a:gd name="connsiteY2" fmla="*/ 3068 h 24546"/>
                    <a:gd name="connsiteX3" fmla="*/ 122727 w 935795"/>
                    <a:gd name="connsiteY3" fmla="*/ 18409 h 24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35795" h="24546">
                      <a:moveTo>
                        <a:pt x="935795" y="24546"/>
                      </a:moveTo>
                      <a:lnTo>
                        <a:pt x="736364" y="0"/>
                      </a:lnTo>
                      <a:lnTo>
                        <a:pt x="0" y="3068"/>
                      </a:lnTo>
                      <a:lnTo>
                        <a:pt x="122727" y="18409"/>
                      </a:lnTo>
                      <a:close/>
                    </a:path>
                  </a:pathLst>
                </a:custGeom>
                <a:solidFill>
                  <a:srgbClr val="C6896D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EDF2EDD3-431A-4C71-87BE-394A8DF42D77}"/>
                    </a:ext>
                  </a:extLst>
                </p:cNvPr>
                <p:cNvSpPr/>
                <p:nvPr/>
              </p:nvSpPr>
              <p:spPr>
                <a:xfrm>
                  <a:off x="25544190" y="10220781"/>
                  <a:ext cx="251591" cy="1141364"/>
                </a:xfrm>
                <a:custGeom>
                  <a:avLst/>
                  <a:gdLst>
                    <a:gd name="connsiteX0" fmla="*/ 0 w 251591"/>
                    <a:gd name="connsiteY0" fmla="*/ 1037045 h 1141364"/>
                    <a:gd name="connsiteX1" fmla="*/ 153409 w 251591"/>
                    <a:gd name="connsiteY1" fmla="*/ 1141364 h 1141364"/>
                    <a:gd name="connsiteX2" fmla="*/ 251591 w 251591"/>
                    <a:gd name="connsiteY2" fmla="*/ 15341 h 1141364"/>
                    <a:gd name="connsiteX3" fmla="*/ 128864 w 251591"/>
                    <a:gd name="connsiteY3" fmla="*/ 0 h 11413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1591" h="1141364">
                      <a:moveTo>
                        <a:pt x="0" y="1037045"/>
                      </a:moveTo>
                      <a:lnTo>
                        <a:pt x="153409" y="1141364"/>
                      </a:lnTo>
                      <a:lnTo>
                        <a:pt x="251591" y="15341"/>
                      </a:lnTo>
                      <a:lnTo>
                        <a:pt x="128864" y="0"/>
                      </a:lnTo>
                      <a:close/>
                    </a:path>
                  </a:pathLst>
                </a:custGeom>
                <a:solidFill>
                  <a:srgbClr val="C6896D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9FE16D58-5770-4E48-8D22-9C157860101D}"/>
                  </a:ext>
                </a:extLst>
              </p:cNvPr>
              <p:cNvSpPr/>
              <p:nvPr/>
            </p:nvSpPr>
            <p:spPr>
              <a:xfrm>
                <a:off x="25961462" y="9907826"/>
                <a:ext cx="423408" cy="420341"/>
              </a:xfrm>
              <a:custGeom>
                <a:avLst/>
                <a:gdLst>
                  <a:gd name="connsiteX0" fmla="*/ 6137 w 423408"/>
                  <a:gd name="connsiteY0" fmla="*/ 420341 h 420341"/>
                  <a:gd name="connsiteX1" fmla="*/ 6137 w 423408"/>
                  <a:gd name="connsiteY1" fmla="*/ 420341 h 420341"/>
                  <a:gd name="connsiteX2" fmla="*/ 0 w 423408"/>
                  <a:gd name="connsiteY2" fmla="*/ 414205 h 420341"/>
                  <a:gd name="connsiteX3" fmla="*/ 211705 w 423408"/>
                  <a:gd name="connsiteY3" fmla="*/ 0 h 420341"/>
                  <a:gd name="connsiteX4" fmla="*/ 211705 w 423408"/>
                  <a:gd name="connsiteY4" fmla="*/ 0 h 420341"/>
                  <a:gd name="connsiteX5" fmla="*/ 423409 w 423408"/>
                  <a:gd name="connsiteY5" fmla="*/ 411137 h 420341"/>
                  <a:gd name="connsiteX6" fmla="*/ 417274 w 423408"/>
                  <a:gd name="connsiteY6" fmla="*/ 417273 h 420341"/>
                  <a:gd name="connsiteX7" fmla="*/ 411137 w 423408"/>
                  <a:gd name="connsiteY7" fmla="*/ 411137 h 420341"/>
                  <a:gd name="connsiteX8" fmla="*/ 208636 w 423408"/>
                  <a:gd name="connsiteY8" fmla="*/ 9205 h 420341"/>
                  <a:gd name="connsiteX9" fmla="*/ 208636 w 423408"/>
                  <a:gd name="connsiteY9" fmla="*/ 9205 h 420341"/>
                  <a:gd name="connsiteX10" fmla="*/ 6137 w 423408"/>
                  <a:gd name="connsiteY10" fmla="*/ 414205 h 420341"/>
                  <a:gd name="connsiteX11" fmla="*/ 6137 w 423408"/>
                  <a:gd name="connsiteY11" fmla="*/ 420341 h 420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23408" h="420341">
                    <a:moveTo>
                      <a:pt x="6137" y="420341"/>
                    </a:moveTo>
                    <a:cubicBezTo>
                      <a:pt x="6137" y="420341"/>
                      <a:pt x="6137" y="420341"/>
                      <a:pt x="6137" y="420341"/>
                    </a:cubicBezTo>
                    <a:cubicBezTo>
                      <a:pt x="3069" y="420341"/>
                      <a:pt x="0" y="417273"/>
                      <a:pt x="0" y="414205"/>
                    </a:cubicBezTo>
                    <a:cubicBezTo>
                      <a:pt x="3069" y="395796"/>
                      <a:pt x="64433" y="0"/>
                      <a:pt x="211705" y="0"/>
                    </a:cubicBezTo>
                    <a:cubicBezTo>
                      <a:pt x="211705" y="0"/>
                      <a:pt x="211705" y="0"/>
                      <a:pt x="211705" y="0"/>
                    </a:cubicBezTo>
                    <a:cubicBezTo>
                      <a:pt x="383523" y="0"/>
                      <a:pt x="423409" y="395796"/>
                      <a:pt x="423409" y="411137"/>
                    </a:cubicBezTo>
                    <a:cubicBezTo>
                      <a:pt x="423409" y="414205"/>
                      <a:pt x="420341" y="417273"/>
                      <a:pt x="417274" y="417273"/>
                    </a:cubicBezTo>
                    <a:cubicBezTo>
                      <a:pt x="414205" y="417273"/>
                      <a:pt x="411137" y="414205"/>
                      <a:pt x="411137" y="411137"/>
                    </a:cubicBezTo>
                    <a:cubicBezTo>
                      <a:pt x="411137" y="408069"/>
                      <a:pt x="371251" y="9205"/>
                      <a:pt x="208636" y="9205"/>
                    </a:cubicBezTo>
                    <a:cubicBezTo>
                      <a:pt x="208636" y="9205"/>
                      <a:pt x="208636" y="9205"/>
                      <a:pt x="208636" y="9205"/>
                    </a:cubicBezTo>
                    <a:cubicBezTo>
                      <a:pt x="70568" y="9205"/>
                      <a:pt x="9204" y="411137"/>
                      <a:pt x="6137" y="414205"/>
                    </a:cubicBezTo>
                    <a:cubicBezTo>
                      <a:pt x="12273" y="417273"/>
                      <a:pt x="9204" y="420341"/>
                      <a:pt x="6137" y="42034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62265D68-8984-4C6D-AB63-8C7F973A3C4E}"/>
                  </a:ext>
                </a:extLst>
              </p:cNvPr>
              <p:cNvSpPr/>
              <p:nvPr/>
            </p:nvSpPr>
            <p:spPr>
              <a:xfrm>
                <a:off x="25936917" y="10291349"/>
                <a:ext cx="61756" cy="61363"/>
              </a:xfrm>
              <a:custGeom>
                <a:avLst/>
                <a:gdLst>
                  <a:gd name="connsiteX0" fmla="*/ 30682 w 61756"/>
                  <a:gd name="connsiteY0" fmla="*/ 61364 h 61363"/>
                  <a:gd name="connsiteX1" fmla="*/ 0 w 61756"/>
                  <a:gd name="connsiteY1" fmla="*/ 30682 h 61363"/>
                  <a:gd name="connsiteX2" fmla="*/ 30682 w 61756"/>
                  <a:gd name="connsiteY2" fmla="*/ 0 h 61363"/>
                  <a:gd name="connsiteX3" fmla="*/ 61364 w 61756"/>
                  <a:gd name="connsiteY3" fmla="*/ 30682 h 61363"/>
                  <a:gd name="connsiteX4" fmla="*/ 30682 w 61756"/>
                  <a:gd name="connsiteY4" fmla="*/ 61364 h 61363"/>
                  <a:gd name="connsiteX5" fmla="*/ 30682 w 61756"/>
                  <a:gd name="connsiteY5" fmla="*/ 9205 h 61363"/>
                  <a:gd name="connsiteX6" fmla="*/ 12273 w 61756"/>
                  <a:gd name="connsiteY6" fmla="*/ 27614 h 61363"/>
                  <a:gd name="connsiteX7" fmla="*/ 30682 w 61756"/>
                  <a:gd name="connsiteY7" fmla="*/ 46023 h 61363"/>
                  <a:gd name="connsiteX8" fmla="*/ 49090 w 61756"/>
                  <a:gd name="connsiteY8" fmla="*/ 27614 h 61363"/>
                  <a:gd name="connsiteX9" fmla="*/ 30682 w 61756"/>
                  <a:gd name="connsiteY9" fmla="*/ 9205 h 61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756" h="61363">
                    <a:moveTo>
                      <a:pt x="30682" y="61364"/>
                    </a:moveTo>
                    <a:cubicBezTo>
                      <a:pt x="12273" y="61364"/>
                      <a:pt x="0" y="46023"/>
                      <a:pt x="0" y="30682"/>
                    </a:cubicBezTo>
                    <a:cubicBezTo>
                      <a:pt x="0" y="12273"/>
                      <a:pt x="15341" y="0"/>
                      <a:pt x="30682" y="0"/>
                    </a:cubicBezTo>
                    <a:cubicBezTo>
                      <a:pt x="49090" y="0"/>
                      <a:pt x="61364" y="15341"/>
                      <a:pt x="61364" y="30682"/>
                    </a:cubicBezTo>
                    <a:cubicBezTo>
                      <a:pt x="64431" y="46023"/>
                      <a:pt x="49090" y="61364"/>
                      <a:pt x="30682" y="61364"/>
                    </a:cubicBezTo>
                    <a:close/>
                    <a:moveTo>
                      <a:pt x="30682" y="9205"/>
                    </a:moveTo>
                    <a:cubicBezTo>
                      <a:pt x="18408" y="9205"/>
                      <a:pt x="12273" y="18409"/>
                      <a:pt x="12273" y="27614"/>
                    </a:cubicBezTo>
                    <a:cubicBezTo>
                      <a:pt x="12273" y="36819"/>
                      <a:pt x="21478" y="46023"/>
                      <a:pt x="30682" y="46023"/>
                    </a:cubicBezTo>
                    <a:cubicBezTo>
                      <a:pt x="42955" y="46023"/>
                      <a:pt x="49090" y="36819"/>
                      <a:pt x="49090" y="27614"/>
                    </a:cubicBezTo>
                    <a:cubicBezTo>
                      <a:pt x="49090" y="18409"/>
                      <a:pt x="42955" y="9205"/>
                      <a:pt x="30682" y="920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9372BBDE-F464-48F5-9002-C33DDBB103A5}"/>
                  </a:ext>
                </a:extLst>
              </p:cNvPr>
              <p:cNvSpPr/>
              <p:nvPr/>
            </p:nvSpPr>
            <p:spPr>
              <a:xfrm>
                <a:off x="26351122" y="10291349"/>
                <a:ext cx="61756" cy="61363"/>
              </a:xfrm>
              <a:custGeom>
                <a:avLst/>
                <a:gdLst>
                  <a:gd name="connsiteX0" fmla="*/ 30682 w 61756"/>
                  <a:gd name="connsiteY0" fmla="*/ 61364 h 61363"/>
                  <a:gd name="connsiteX1" fmla="*/ 0 w 61756"/>
                  <a:gd name="connsiteY1" fmla="*/ 30682 h 61363"/>
                  <a:gd name="connsiteX2" fmla="*/ 30682 w 61756"/>
                  <a:gd name="connsiteY2" fmla="*/ 0 h 61363"/>
                  <a:gd name="connsiteX3" fmla="*/ 61364 w 61756"/>
                  <a:gd name="connsiteY3" fmla="*/ 30682 h 61363"/>
                  <a:gd name="connsiteX4" fmla="*/ 30682 w 61756"/>
                  <a:gd name="connsiteY4" fmla="*/ 61364 h 61363"/>
                  <a:gd name="connsiteX5" fmla="*/ 30682 w 61756"/>
                  <a:gd name="connsiteY5" fmla="*/ 9205 h 61363"/>
                  <a:gd name="connsiteX6" fmla="*/ 12273 w 61756"/>
                  <a:gd name="connsiteY6" fmla="*/ 27614 h 61363"/>
                  <a:gd name="connsiteX7" fmla="*/ 30682 w 61756"/>
                  <a:gd name="connsiteY7" fmla="*/ 46023 h 61363"/>
                  <a:gd name="connsiteX8" fmla="*/ 49090 w 61756"/>
                  <a:gd name="connsiteY8" fmla="*/ 27614 h 61363"/>
                  <a:gd name="connsiteX9" fmla="*/ 30682 w 61756"/>
                  <a:gd name="connsiteY9" fmla="*/ 9205 h 61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756" h="61363">
                    <a:moveTo>
                      <a:pt x="30682" y="61364"/>
                    </a:moveTo>
                    <a:cubicBezTo>
                      <a:pt x="12273" y="61364"/>
                      <a:pt x="0" y="46023"/>
                      <a:pt x="0" y="30682"/>
                    </a:cubicBezTo>
                    <a:cubicBezTo>
                      <a:pt x="0" y="12273"/>
                      <a:pt x="15341" y="0"/>
                      <a:pt x="30682" y="0"/>
                    </a:cubicBezTo>
                    <a:cubicBezTo>
                      <a:pt x="49090" y="0"/>
                      <a:pt x="61364" y="15341"/>
                      <a:pt x="61364" y="30682"/>
                    </a:cubicBezTo>
                    <a:cubicBezTo>
                      <a:pt x="64431" y="46023"/>
                      <a:pt x="49090" y="61364"/>
                      <a:pt x="30682" y="61364"/>
                    </a:cubicBezTo>
                    <a:close/>
                    <a:moveTo>
                      <a:pt x="30682" y="9205"/>
                    </a:moveTo>
                    <a:cubicBezTo>
                      <a:pt x="18408" y="9205"/>
                      <a:pt x="12273" y="18409"/>
                      <a:pt x="12273" y="27614"/>
                    </a:cubicBezTo>
                    <a:cubicBezTo>
                      <a:pt x="12273" y="36819"/>
                      <a:pt x="21478" y="46023"/>
                      <a:pt x="30682" y="46023"/>
                    </a:cubicBezTo>
                    <a:cubicBezTo>
                      <a:pt x="42955" y="46023"/>
                      <a:pt x="49090" y="36819"/>
                      <a:pt x="49090" y="27614"/>
                    </a:cubicBezTo>
                    <a:cubicBezTo>
                      <a:pt x="49090" y="18409"/>
                      <a:pt x="42955" y="9205"/>
                      <a:pt x="30682" y="920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0" name="图形 1">
              <a:extLst>
                <a:ext uri="{FF2B5EF4-FFF2-40B4-BE49-F238E27FC236}">
                  <a16:creationId xmlns:a16="http://schemas.microsoft.com/office/drawing/2014/main" id="{AB7343AC-B141-4A47-BFE5-81558EBA89D2}"/>
                </a:ext>
              </a:extLst>
            </p:cNvPr>
            <p:cNvGrpSpPr/>
            <p:nvPr/>
          </p:nvGrpSpPr>
          <p:grpSpPr>
            <a:xfrm>
              <a:off x="25762030" y="9911828"/>
              <a:ext cx="1080000" cy="1088270"/>
              <a:chOff x="25762030" y="9911828"/>
              <a:chExt cx="1080000" cy="1088270"/>
            </a:xfrm>
          </p:grpSpPr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2F2C531B-E244-45AE-A514-DDE2B3A08C5C}"/>
                  </a:ext>
                </a:extLst>
              </p:cNvPr>
              <p:cNvSpPr/>
              <p:nvPr/>
            </p:nvSpPr>
            <p:spPr>
              <a:xfrm>
                <a:off x="25946121" y="9914730"/>
                <a:ext cx="414204" cy="474801"/>
              </a:xfrm>
              <a:custGeom>
                <a:avLst/>
                <a:gdLst>
                  <a:gd name="connsiteX0" fmla="*/ 6137 w 414204"/>
                  <a:gd name="connsiteY0" fmla="*/ 474801 h 474801"/>
                  <a:gd name="connsiteX1" fmla="*/ 6137 w 414204"/>
                  <a:gd name="connsiteY1" fmla="*/ 474801 h 474801"/>
                  <a:gd name="connsiteX2" fmla="*/ 0 w 414204"/>
                  <a:gd name="connsiteY2" fmla="*/ 468664 h 474801"/>
                  <a:gd name="connsiteX3" fmla="*/ 205569 w 414204"/>
                  <a:gd name="connsiteY3" fmla="*/ 2301 h 474801"/>
                  <a:gd name="connsiteX4" fmla="*/ 282273 w 414204"/>
                  <a:gd name="connsiteY4" fmla="*/ 20711 h 474801"/>
                  <a:gd name="connsiteX5" fmla="*/ 414205 w 414204"/>
                  <a:gd name="connsiteY5" fmla="*/ 379687 h 474801"/>
                  <a:gd name="connsiteX6" fmla="*/ 408068 w 414204"/>
                  <a:gd name="connsiteY6" fmla="*/ 385824 h 474801"/>
                  <a:gd name="connsiteX7" fmla="*/ 401933 w 414204"/>
                  <a:gd name="connsiteY7" fmla="*/ 379687 h 474801"/>
                  <a:gd name="connsiteX8" fmla="*/ 276136 w 414204"/>
                  <a:gd name="connsiteY8" fmla="*/ 26846 h 474801"/>
                  <a:gd name="connsiteX9" fmla="*/ 208636 w 414204"/>
                  <a:gd name="connsiteY9" fmla="*/ 11505 h 474801"/>
                  <a:gd name="connsiteX10" fmla="*/ 12273 w 414204"/>
                  <a:gd name="connsiteY10" fmla="*/ 468664 h 474801"/>
                  <a:gd name="connsiteX11" fmla="*/ 6137 w 414204"/>
                  <a:gd name="connsiteY11" fmla="*/ 474801 h 474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14204" h="474801">
                    <a:moveTo>
                      <a:pt x="6137" y="474801"/>
                    </a:moveTo>
                    <a:cubicBezTo>
                      <a:pt x="6137" y="474801"/>
                      <a:pt x="6137" y="474801"/>
                      <a:pt x="6137" y="474801"/>
                    </a:cubicBezTo>
                    <a:cubicBezTo>
                      <a:pt x="3069" y="474801"/>
                      <a:pt x="0" y="471733"/>
                      <a:pt x="0" y="468664"/>
                    </a:cubicBezTo>
                    <a:cubicBezTo>
                      <a:pt x="3069" y="450256"/>
                      <a:pt x="64433" y="32983"/>
                      <a:pt x="205569" y="2301"/>
                    </a:cubicBezTo>
                    <a:cubicBezTo>
                      <a:pt x="233183" y="-3835"/>
                      <a:pt x="260795" y="2301"/>
                      <a:pt x="282273" y="20711"/>
                    </a:cubicBezTo>
                    <a:cubicBezTo>
                      <a:pt x="386592" y="97415"/>
                      <a:pt x="414205" y="370483"/>
                      <a:pt x="414205" y="379687"/>
                    </a:cubicBezTo>
                    <a:cubicBezTo>
                      <a:pt x="414205" y="382756"/>
                      <a:pt x="411137" y="385824"/>
                      <a:pt x="408068" y="385824"/>
                    </a:cubicBezTo>
                    <a:cubicBezTo>
                      <a:pt x="405000" y="385824"/>
                      <a:pt x="401933" y="382756"/>
                      <a:pt x="401933" y="379687"/>
                    </a:cubicBezTo>
                    <a:cubicBezTo>
                      <a:pt x="401933" y="376619"/>
                      <a:pt x="374319" y="100483"/>
                      <a:pt x="276136" y="26846"/>
                    </a:cubicBezTo>
                    <a:cubicBezTo>
                      <a:pt x="254659" y="11505"/>
                      <a:pt x="233183" y="5370"/>
                      <a:pt x="208636" y="11505"/>
                    </a:cubicBezTo>
                    <a:cubicBezTo>
                      <a:pt x="73637" y="39119"/>
                      <a:pt x="12273" y="465597"/>
                      <a:pt x="12273" y="468664"/>
                    </a:cubicBezTo>
                    <a:cubicBezTo>
                      <a:pt x="12273" y="471733"/>
                      <a:pt x="9204" y="474801"/>
                      <a:pt x="6137" y="47480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1" name="图形 1">
                <a:extLst>
                  <a:ext uri="{FF2B5EF4-FFF2-40B4-BE49-F238E27FC236}">
                    <a16:creationId xmlns:a16="http://schemas.microsoft.com/office/drawing/2014/main" id="{858720CE-EC93-468C-9A7B-50369A48A01D}"/>
                  </a:ext>
                </a:extLst>
              </p:cNvPr>
              <p:cNvGrpSpPr/>
              <p:nvPr/>
            </p:nvGrpSpPr>
            <p:grpSpPr>
              <a:xfrm>
                <a:off x="25762030" y="10165554"/>
                <a:ext cx="1080000" cy="834544"/>
                <a:chOff x="25762030" y="10165554"/>
                <a:chExt cx="1080000" cy="834544"/>
              </a:xfrm>
            </p:grpSpPr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8D235104-8275-438E-B725-17E1BBAA355A}"/>
                    </a:ext>
                  </a:extLst>
                </p:cNvPr>
                <p:cNvSpPr/>
                <p:nvPr/>
              </p:nvSpPr>
              <p:spPr>
                <a:xfrm>
                  <a:off x="25884758" y="10165554"/>
                  <a:ext cx="957273" cy="834544"/>
                </a:xfrm>
                <a:custGeom>
                  <a:avLst/>
                  <a:gdLst>
                    <a:gd name="connsiteX0" fmla="*/ 0 w 957273"/>
                    <a:gd name="connsiteY0" fmla="*/ 147272 h 834544"/>
                    <a:gd name="connsiteX1" fmla="*/ 61364 w 957273"/>
                    <a:gd name="connsiteY1" fmla="*/ 834545 h 834544"/>
                    <a:gd name="connsiteX2" fmla="*/ 957273 w 957273"/>
                    <a:gd name="connsiteY2" fmla="*/ 613636 h 834544"/>
                    <a:gd name="connsiteX3" fmla="*/ 711819 w 957273"/>
                    <a:gd name="connsiteY3" fmla="*/ 0 h 834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57273" h="834544">
                      <a:moveTo>
                        <a:pt x="0" y="147272"/>
                      </a:moveTo>
                      <a:lnTo>
                        <a:pt x="61364" y="834545"/>
                      </a:lnTo>
                      <a:lnTo>
                        <a:pt x="957273" y="613636"/>
                      </a:lnTo>
                      <a:lnTo>
                        <a:pt x="711819" y="0"/>
                      </a:lnTo>
                      <a:close/>
                    </a:path>
                  </a:pathLst>
                </a:custGeom>
                <a:solidFill>
                  <a:srgbClr val="7F95BC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A44B2782-69D4-4A14-B9B7-145A497FDBB8}"/>
                    </a:ext>
                  </a:extLst>
                </p:cNvPr>
                <p:cNvSpPr/>
                <p:nvPr/>
              </p:nvSpPr>
              <p:spPr>
                <a:xfrm>
                  <a:off x="25762030" y="10165554"/>
                  <a:ext cx="834545" cy="156476"/>
                </a:xfrm>
                <a:custGeom>
                  <a:avLst/>
                  <a:gdLst>
                    <a:gd name="connsiteX0" fmla="*/ 834546 w 834545"/>
                    <a:gd name="connsiteY0" fmla="*/ 0 h 156476"/>
                    <a:gd name="connsiteX1" fmla="*/ 632047 w 834545"/>
                    <a:gd name="connsiteY1" fmla="*/ 18408 h 156476"/>
                    <a:gd name="connsiteX2" fmla="*/ 0 w 834545"/>
                    <a:gd name="connsiteY2" fmla="*/ 156477 h 156476"/>
                    <a:gd name="connsiteX3" fmla="*/ 122727 w 834545"/>
                    <a:gd name="connsiteY3" fmla="*/ 147272 h 156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4545" h="156476">
                      <a:moveTo>
                        <a:pt x="834546" y="0"/>
                      </a:moveTo>
                      <a:lnTo>
                        <a:pt x="632047" y="18408"/>
                      </a:lnTo>
                      <a:lnTo>
                        <a:pt x="0" y="156477"/>
                      </a:lnTo>
                      <a:lnTo>
                        <a:pt x="122727" y="147272"/>
                      </a:lnTo>
                      <a:close/>
                    </a:path>
                  </a:pathLst>
                </a:custGeom>
                <a:solidFill>
                  <a:srgbClr val="748DB2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F74F0713-FE6B-4B0E-8015-03E1BAA6DD53}"/>
                    </a:ext>
                  </a:extLst>
                </p:cNvPr>
                <p:cNvSpPr/>
                <p:nvPr/>
              </p:nvSpPr>
              <p:spPr>
                <a:xfrm>
                  <a:off x="25762030" y="10312827"/>
                  <a:ext cx="184090" cy="687272"/>
                </a:xfrm>
                <a:custGeom>
                  <a:avLst/>
                  <a:gdLst>
                    <a:gd name="connsiteX0" fmla="*/ 12273 w 184090"/>
                    <a:gd name="connsiteY0" fmla="*/ 616705 h 687272"/>
                    <a:gd name="connsiteX1" fmla="*/ 184091 w 184090"/>
                    <a:gd name="connsiteY1" fmla="*/ 687273 h 687272"/>
                    <a:gd name="connsiteX2" fmla="*/ 122727 w 184090"/>
                    <a:gd name="connsiteY2" fmla="*/ 0 h 687272"/>
                    <a:gd name="connsiteX3" fmla="*/ 0 w 184090"/>
                    <a:gd name="connsiteY3" fmla="*/ 9204 h 687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4090" h="687272">
                      <a:moveTo>
                        <a:pt x="12273" y="616705"/>
                      </a:moveTo>
                      <a:lnTo>
                        <a:pt x="184091" y="687273"/>
                      </a:lnTo>
                      <a:lnTo>
                        <a:pt x="122727" y="0"/>
                      </a:lnTo>
                      <a:lnTo>
                        <a:pt x="0" y="9204"/>
                      </a:lnTo>
                      <a:close/>
                    </a:path>
                  </a:pathLst>
                </a:custGeom>
                <a:solidFill>
                  <a:srgbClr val="748DB2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67F8ADE0-F3A7-4123-B848-B38C5F9EE584}"/>
                  </a:ext>
                </a:extLst>
              </p:cNvPr>
              <p:cNvSpPr/>
              <p:nvPr/>
            </p:nvSpPr>
            <p:spPr>
              <a:xfrm>
                <a:off x="26030899" y="9911828"/>
                <a:ext cx="415335" cy="459293"/>
              </a:xfrm>
              <a:custGeom>
                <a:avLst/>
                <a:gdLst>
                  <a:gd name="connsiteX0" fmla="*/ 7268 w 415335"/>
                  <a:gd name="connsiteY0" fmla="*/ 459294 h 459293"/>
                  <a:gd name="connsiteX1" fmla="*/ 1131 w 415335"/>
                  <a:gd name="connsiteY1" fmla="*/ 453158 h 459293"/>
                  <a:gd name="connsiteX2" fmla="*/ 123858 w 415335"/>
                  <a:gd name="connsiteY2" fmla="*/ 2135 h 459293"/>
                  <a:gd name="connsiteX3" fmla="*/ 415336 w 415335"/>
                  <a:gd name="connsiteY3" fmla="*/ 361112 h 459293"/>
                  <a:gd name="connsiteX4" fmla="*/ 412268 w 415335"/>
                  <a:gd name="connsiteY4" fmla="*/ 367248 h 459293"/>
                  <a:gd name="connsiteX5" fmla="*/ 406131 w 415335"/>
                  <a:gd name="connsiteY5" fmla="*/ 364180 h 459293"/>
                  <a:gd name="connsiteX6" fmla="*/ 126928 w 415335"/>
                  <a:gd name="connsiteY6" fmla="*/ 11339 h 459293"/>
                  <a:gd name="connsiteX7" fmla="*/ 13405 w 415335"/>
                  <a:gd name="connsiteY7" fmla="*/ 450089 h 459293"/>
                  <a:gd name="connsiteX8" fmla="*/ 7268 w 415335"/>
                  <a:gd name="connsiteY8" fmla="*/ 459294 h 459293"/>
                  <a:gd name="connsiteX9" fmla="*/ 7268 w 415335"/>
                  <a:gd name="connsiteY9" fmla="*/ 459294 h 45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5335" h="459293">
                    <a:moveTo>
                      <a:pt x="7268" y="459294"/>
                    </a:moveTo>
                    <a:cubicBezTo>
                      <a:pt x="4200" y="459294"/>
                      <a:pt x="1131" y="456225"/>
                      <a:pt x="1131" y="453158"/>
                    </a:cubicBezTo>
                    <a:cubicBezTo>
                      <a:pt x="1131" y="434749"/>
                      <a:pt x="-20345" y="32817"/>
                      <a:pt x="123858" y="2135"/>
                    </a:cubicBezTo>
                    <a:cubicBezTo>
                      <a:pt x="289541" y="-31615"/>
                      <a:pt x="412268" y="345771"/>
                      <a:pt x="415336" y="361112"/>
                    </a:cubicBezTo>
                    <a:cubicBezTo>
                      <a:pt x="415336" y="364180"/>
                      <a:pt x="415336" y="367248"/>
                      <a:pt x="412268" y="367248"/>
                    </a:cubicBezTo>
                    <a:cubicBezTo>
                      <a:pt x="409201" y="367248"/>
                      <a:pt x="406131" y="367248"/>
                      <a:pt x="406131" y="364180"/>
                    </a:cubicBezTo>
                    <a:cubicBezTo>
                      <a:pt x="406131" y="361112"/>
                      <a:pt x="283404" y="-19343"/>
                      <a:pt x="126928" y="11339"/>
                    </a:cubicBezTo>
                    <a:cubicBezTo>
                      <a:pt x="-8073" y="38953"/>
                      <a:pt x="13405" y="447021"/>
                      <a:pt x="13405" y="450089"/>
                    </a:cubicBezTo>
                    <a:cubicBezTo>
                      <a:pt x="10337" y="456225"/>
                      <a:pt x="10337" y="459294"/>
                      <a:pt x="7268" y="459294"/>
                    </a:cubicBezTo>
                    <a:cubicBezTo>
                      <a:pt x="7268" y="459294"/>
                      <a:pt x="7268" y="459294"/>
                      <a:pt x="7268" y="45929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3C9ADF74-66AC-4016-8FD3-61D37DCE5231}"/>
                  </a:ext>
                </a:extLst>
              </p:cNvPr>
              <p:cNvSpPr/>
              <p:nvPr/>
            </p:nvSpPr>
            <p:spPr>
              <a:xfrm>
                <a:off x="26006214" y="10333723"/>
                <a:ext cx="60837" cy="61945"/>
              </a:xfrm>
              <a:custGeom>
                <a:avLst/>
                <a:gdLst>
                  <a:gd name="connsiteX0" fmla="*/ 31952 w 60837"/>
                  <a:gd name="connsiteY0" fmla="*/ 61945 h 61945"/>
                  <a:gd name="connsiteX1" fmla="*/ 1271 w 60837"/>
                  <a:gd name="connsiteY1" fmla="*/ 37399 h 61945"/>
                  <a:gd name="connsiteX2" fmla="*/ 4340 w 60837"/>
                  <a:gd name="connsiteY2" fmla="*/ 12854 h 61945"/>
                  <a:gd name="connsiteX3" fmla="*/ 22748 w 60837"/>
                  <a:gd name="connsiteY3" fmla="*/ 582 h 61945"/>
                  <a:gd name="connsiteX4" fmla="*/ 59567 w 60837"/>
                  <a:gd name="connsiteY4" fmla="*/ 25127 h 61945"/>
                  <a:gd name="connsiteX5" fmla="*/ 59567 w 60837"/>
                  <a:gd name="connsiteY5" fmla="*/ 25127 h 61945"/>
                  <a:gd name="connsiteX6" fmla="*/ 56497 w 60837"/>
                  <a:gd name="connsiteY6" fmla="*/ 49672 h 61945"/>
                  <a:gd name="connsiteX7" fmla="*/ 38089 w 60837"/>
                  <a:gd name="connsiteY7" fmla="*/ 61945 h 61945"/>
                  <a:gd name="connsiteX8" fmla="*/ 31952 w 60837"/>
                  <a:gd name="connsiteY8" fmla="*/ 61945 h 61945"/>
                  <a:gd name="connsiteX9" fmla="*/ 31952 w 60837"/>
                  <a:gd name="connsiteY9" fmla="*/ 12854 h 61945"/>
                  <a:gd name="connsiteX10" fmla="*/ 28885 w 60837"/>
                  <a:gd name="connsiteY10" fmla="*/ 12854 h 61945"/>
                  <a:gd name="connsiteX11" fmla="*/ 16611 w 60837"/>
                  <a:gd name="connsiteY11" fmla="*/ 22058 h 61945"/>
                  <a:gd name="connsiteX12" fmla="*/ 13544 w 60837"/>
                  <a:gd name="connsiteY12" fmla="*/ 37399 h 61945"/>
                  <a:gd name="connsiteX13" fmla="*/ 22748 w 60837"/>
                  <a:gd name="connsiteY13" fmla="*/ 49672 h 61945"/>
                  <a:gd name="connsiteX14" fmla="*/ 38089 w 60837"/>
                  <a:gd name="connsiteY14" fmla="*/ 52740 h 61945"/>
                  <a:gd name="connsiteX15" fmla="*/ 50363 w 60837"/>
                  <a:gd name="connsiteY15" fmla="*/ 43536 h 61945"/>
                  <a:gd name="connsiteX16" fmla="*/ 53430 w 60837"/>
                  <a:gd name="connsiteY16" fmla="*/ 28195 h 61945"/>
                  <a:gd name="connsiteX17" fmla="*/ 31952 w 60837"/>
                  <a:gd name="connsiteY17" fmla="*/ 12854 h 61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0837" h="61945">
                    <a:moveTo>
                      <a:pt x="31952" y="61945"/>
                    </a:moveTo>
                    <a:cubicBezTo>
                      <a:pt x="16611" y="61945"/>
                      <a:pt x="4340" y="52740"/>
                      <a:pt x="1271" y="37399"/>
                    </a:cubicBezTo>
                    <a:cubicBezTo>
                      <a:pt x="-1797" y="28195"/>
                      <a:pt x="1271" y="22058"/>
                      <a:pt x="4340" y="12854"/>
                    </a:cubicBezTo>
                    <a:cubicBezTo>
                      <a:pt x="7407" y="6717"/>
                      <a:pt x="16611" y="582"/>
                      <a:pt x="22748" y="582"/>
                    </a:cubicBezTo>
                    <a:cubicBezTo>
                      <a:pt x="41157" y="-2487"/>
                      <a:pt x="56497" y="6717"/>
                      <a:pt x="59567" y="25127"/>
                    </a:cubicBezTo>
                    <a:lnTo>
                      <a:pt x="59567" y="25127"/>
                    </a:lnTo>
                    <a:cubicBezTo>
                      <a:pt x="62634" y="34331"/>
                      <a:pt x="59567" y="40467"/>
                      <a:pt x="56497" y="49672"/>
                    </a:cubicBezTo>
                    <a:cubicBezTo>
                      <a:pt x="53430" y="55808"/>
                      <a:pt x="44226" y="61945"/>
                      <a:pt x="38089" y="61945"/>
                    </a:cubicBezTo>
                    <a:cubicBezTo>
                      <a:pt x="35022" y="61945"/>
                      <a:pt x="31952" y="61945"/>
                      <a:pt x="31952" y="61945"/>
                    </a:cubicBezTo>
                    <a:close/>
                    <a:moveTo>
                      <a:pt x="31952" y="12854"/>
                    </a:moveTo>
                    <a:cubicBezTo>
                      <a:pt x="31952" y="12854"/>
                      <a:pt x="28885" y="12854"/>
                      <a:pt x="28885" y="12854"/>
                    </a:cubicBezTo>
                    <a:cubicBezTo>
                      <a:pt x="22748" y="12854"/>
                      <a:pt x="19681" y="15922"/>
                      <a:pt x="16611" y="22058"/>
                    </a:cubicBezTo>
                    <a:cubicBezTo>
                      <a:pt x="13544" y="25127"/>
                      <a:pt x="13544" y="31263"/>
                      <a:pt x="13544" y="37399"/>
                    </a:cubicBezTo>
                    <a:cubicBezTo>
                      <a:pt x="13544" y="43536"/>
                      <a:pt x="16611" y="46604"/>
                      <a:pt x="22748" y="49672"/>
                    </a:cubicBezTo>
                    <a:cubicBezTo>
                      <a:pt x="25816" y="52740"/>
                      <a:pt x="31952" y="52740"/>
                      <a:pt x="38089" y="52740"/>
                    </a:cubicBezTo>
                    <a:cubicBezTo>
                      <a:pt x="44226" y="52740"/>
                      <a:pt x="47293" y="49672"/>
                      <a:pt x="50363" y="43536"/>
                    </a:cubicBezTo>
                    <a:cubicBezTo>
                      <a:pt x="53430" y="40467"/>
                      <a:pt x="53430" y="34331"/>
                      <a:pt x="53430" y="28195"/>
                    </a:cubicBezTo>
                    <a:cubicBezTo>
                      <a:pt x="47293" y="18990"/>
                      <a:pt x="41157" y="12854"/>
                      <a:pt x="31952" y="1285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E4894F21-9CFB-4E63-963A-73A5DB1089A4}"/>
                  </a:ext>
                </a:extLst>
              </p:cNvPr>
              <p:cNvSpPr/>
              <p:nvPr/>
            </p:nvSpPr>
            <p:spPr>
              <a:xfrm>
                <a:off x="26411215" y="10250192"/>
                <a:ext cx="60147" cy="62634"/>
              </a:xfrm>
              <a:custGeom>
                <a:avLst/>
                <a:gdLst>
                  <a:gd name="connsiteX0" fmla="*/ 31952 w 60147"/>
                  <a:gd name="connsiteY0" fmla="*/ 62635 h 62634"/>
                  <a:gd name="connsiteX1" fmla="*/ 13544 w 60147"/>
                  <a:gd name="connsiteY1" fmla="*/ 56498 h 62634"/>
                  <a:gd name="connsiteX2" fmla="*/ 1271 w 60147"/>
                  <a:gd name="connsiteY2" fmla="*/ 38090 h 62634"/>
                  <a:gd name="connsiteX3" fmla="*/ 4338 w 60147"/>
                  <a:gd name="connsiteY3" fmla="*/ 13544 h 62634"/>
                  <a:gd name="connsiteX4" fmla="*/ 22748 w 60147"/>
                  <a:gd name="connsiteY4" fmla="*/ 1271 h 62634"/>
                  <a:gd name="connsiteX5" fmla="*/ 47293 w 60147"/>
                  <a:gd name="connsiteY5" fmla="*/ 4339 h 62634"/>
                  <a:gd name="connsiteX6" fmla="*/ 59567 w 60147"/>
                  <a:gd name="connsiteY6" fmla="*/ 22749 h 62634"/>
                  <a:gd name="connsiteX7" fmla="*/ 59567 w 60147"/>
                  <a:gd name="connsiteY7" fmla="*/ 22749 h 62634"/>
                  <a:gd name="connsiteX8" fmla="*/ 35020 w 60147"/>
                  <a:gd name="connsiteY8" fmla="*/ 59566 h 62634"/>
                  <a:gd name="connsiteX9" fmla="*/ 31952 w 60147"/>
                  <a:gd name="connsiteY9" fmla="*/ 62635 h 62634"/>
                  <a:gd name="connsiteX10" fmla="*/ 31952 w 60147"/>
                  <a:gd name="connsiteY10" fmla="*/ 10475 h 62634"/>
                  <a:gd name="connsiteX11" fmla="*/ 28885 w 60147"/>
                  <a:gd name="connsiteY11" fmla="*/ 10475 h 62634"/>
                  <a:gd name="connsiteX12" fmla="*/ 16611 w 60147"/>
                  <a:gd name="connsiteY12" fmla="*/ 19680 h 62634"/>
                  <a:gd name="connsiteX13" fmla="*/ 13544 w 60147"/>
                  <a:gd name="connsiteY13" fmla="*/ 35021 h 62634"/>
                  <a:gd name="connsiteX14" fmla="*/ 22748 w 60147"/>
                  <a:gd name="connsiteY14" fmla="*/ 47294 h 62634"/>
                  <a:gd name="connsiteX15" fmla="*/ 38089 w 60147"/>
                  <a:gd name="connsiteY15" fmla="*/ 50362 h 62634"/>
                  <a:gd name="connsiteX16" fmla="*/ 53430 w 60147"/>
                  <a:gd name="connsiteY16" fmla="*/ 25816 h 62634"/>
                  <a:gd name="connsiteX17" fmla="*/ 44226 w 60147"/>
                  <a:gd name="connsiteY17" fmla="*/ 13544 h 62634"/>
                  <a:gd name="connsiteX18" fmla="*/ 31952 w 60147"/>
                  <a:gd name="connsiteY18" fmla="*/ 10475 h 62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0147" h="62634">
                    <a:moveTo>
                      <a:pt x="31952" y="62635"/>
                    </a:moveTo>
                    <a:cubicBezTo>
                      <a:pt x="25816" y="62635"/>
                      <a:pt x="19679" y="59566"/>
                      <a:pt x="13544" y="56498"/>
                    </a:cubicBezTo>
                    <a:cubicBezTo>
                      <a:pt x="7407" y="53430"/>
                      <a:pt x="1271" y="44225"/>
                      <a:pt x="1271" y="38090"/>
                    </a:cubicBezTo>
                    <a:cubicBezTo>
                      <a:pt x="-1797" y="28884"/>
                      <a:pt x="1271" y="22749"/>
                      <a:pt x="4338" y="13544"/>
                    </a:cubicBezTo>
                    <a:cubicBezTo>
                      <a:pt x="7407" y="7408"/>
                      <a:pt x="16611" y="1271"/>
                      <a:pt x="22748" y="1271"/>
                    </a:cubicBezTo>
                    <a:cubicBezTo>
                      <a:pt x="31952" y="-1797"/>
                      <a:pt x="38089" y="1271"/>
                      <a:pt x="47293" y="4339"/>
                    </a:cubicBezTo>
                    <a:cubicBezTo>
                      <a:pt x="53430" y="7408"/>
                      <a:pt x="59567" y="16612"/>
                      <a:pt x="59567" y="22749"/>
                    </a:cubicBezTo>
                    <a:lnTo>
                      <a:pt x="59567" y="22749"/>
                    </a:lnTo>
                    <a:cubicBezTo>
                      <a:pt x="62634" y="38090"/>
                      <a:pt x="53430" y="56498"/>
                      <a:pt x="35020" y="59566"/>
                    </a:cubicBezTo>
                    <a:cubicBezTo>
                      <a:pt x="35020" y="62635"/>
                      <a:pt x="31952" y="62635"/>
                      <a:pt x="31952" y="62635"/>
                    </a:cubicBezTo>
                    <a:close/>
                    <a:moveTo>
                      <a:pt x="31952" y="10475"/>
                    </a:moveTo>
                    <a:cubicBezTo>
                      <a:pt x="31952" y="10475"/>
                      <a:pt x="28885" y="10475"/>
                      <a:pt x="28885" y="10475"/>
                    </a:cubicBezTo>
                    <a:cubicBezTo>
                      <a:pt x="22748" y="10475"/>
                      <a:pt x="19679" y="13544"/>
                      <a:pt x="16611" y="19680"/>
                    </a:cubicBezTo>
                    <a:cubicBezTo>
                      <a:pt x="13544" y="22749"/>
                      <a:pt x="13544" y="28884"/>
                      <a:pt x="13544" y="35021"/>
                    </a:cubicBezTo>
                    <a:cubicBezTo>
                      <a:pt x="13544" y="41157"/>
                      <a:pt x="16611" y="44225"/>
                      <a:pt x="22748" y="47294"/>
                    </a:cubicBezTo>
                    <a:cubicBezTo>
                      <a:pt x="25816" y="50362"/>
                      <a:pt x="31952" y="50362"/>
                      <a:pt x="38089" y="50362"/>
                    </a:cubicBezTo>
                    <a:cubicBezTo>
                      <a:pt x="47293" y="47294"/>
                      <a:pt x="56497" y="38090"/>
                      <a:pt x="53430" y="25816"/>
                    </a:cubicBezTo>
                    <a:cubicBezTo>
                      <a:pt x="53430" y="19680"/>
                      <a:pt x="50361" y="16612"/>
                      <a:pt x="44226" y="13544"/>
                    </a:cubicBezTo>
                    <a:cubicBezTo>
                      <a:pt x="38089" y="10475"/>
                      <a:pt x="35020" y="10475"/>
                      <a:pt x="31952" y="1047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3A280230-3A03-458C-B2F8-59E66503696A}"/>
                </a:ext>
              </a:extLst>
            </p:cNvPr>
            <p:cNvSpPr/>
            <p:nvPr/>
          </p:nvSpPr>
          <p:spPr>
            <a:xfrm>
              <a:off x="21180084" y="9335784"/>
              <a:ext cx="230025" cy="205019"/>
            </a:xfrm>
            <a:custGeom>
              <a:avLst/>
              <a:gdLst>
                <a:gd name="connsiteX0" fmla="*/ 191378 w 230025"/>
                <a:gd name="connsiteY0" fmla="*/ 114883 h 205019"/>
                <a:gd name="connsiteX1" fmla="*/ 228197 w 230025"/>
                <a:gd name="connsiteY1" fmla="*/ 81134 h 205019"/>
                <a:gd name="connsiteX2" fmla="*/ 10355 w 230025"/>
                <a:gd name="connsiteY2" fmla="*/ 19770 h 205019"/>
                <a:gd name="connsiteX3" fmla="*/ 4218 w 230025"/>
                <a:gd name="connsiteY3" fmla="*/ 133293 h 205019"/>
                <a:gd name="connsiteX4" fmla="*/ 99333 w 230025"/>
                <a:gd name="connsiteY4" fmla="*/ 203861 h 205019"/>
                <a:gd name="connsiteX5" fmla="*/ 191378 w 230025"/>
                <a:gd name="connsiteY5" fmla="*/ 114883 h 205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025" h="205019">
                  <a:moveTo>
                    <a:pt x="191378" y="114883"/>
                  </a:moveTo>
                  <a:cubicBezTo>
                    <a:pt x="209787" y="117952"/>
                    <a:pt x="237401" y="87270"/>
                    <a:pt x="228197" y="81134"/>
                  </a:cubicBezTo>
                  <a:cubicBezTo>
                    <a:pt x="179105" y="47383"/>
                    <a:pt x="62514" y="-38526"/>
                    <a:pt x="10355" y="19770"/>
                  </a:cubicBezTo>
                  <a:cubicBezTo>
                    <a:pt x="10355" y="19770"/>
                    <a:pt x="-8053" y="105679"/>
                    <a:pt x="4218" y="133293"/>
                  </a:cubicBezTo>
                  <a:cubicBezTo>
                    <a:pt x="19559" y="176247"/>
                    <a:pt x="62514" y="185452"/>
                    <a:pt x="99333" y="203861"/>
                  </a:cubicBezTo>
                  <a:cubicBezTo>
                    <a:pt x="120811" y="216133"/>
                    <a:pt x="212856" y="127156"/>
                    <a:pt x="191378" y="114883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2" name="图形 1">
              <a:extLst>
                <a:ext uri="{FF2B5EF4-FFF2-40B4-BE49-F238E27FC236}">
                  <a16:creationId xmlns:a16="http://schemas.microsoft.com/office/drawing/2014/main" id="{5732E21E-9F23-44D1-AEA7-7BF63D8843A9}"/>
                </a:ext>
              </a:extLst>
            </p:cNvPr>
            <p:cNvGrpSpPr/>
            <p:nvPr/>
          </p:nvGrpSpPr>
          <p:grpSpPr>
            <a:xfrm>
              <a:off x="21027826" y="9388875"/>
              <a:ext cx="1300909" cy="1258383"/>
              <a:chOff x="21027826" y="9388875"/>
              <a:chExt cx="1300909" cy="1258383"/>
            </a:xfrm>
          </p:grpSpPr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A8E0598D-EBD0-4651-BA6C-729B0446B4A6}"/>
                  </a:ext>
                </a:extLst>
              </p:cNvPr>
              <p:cNvSpPr/>
              <p:nvPr/>
            </p:nvSpPr>
            <p:spPr>
              <a:xfrm>
                <a:off x="21218562" y="9393331"/>
                <a:ext cx="392218" cy="526768"/>
              </a:xfrm>
              <a:custGeom>
                <a:avLst/>
                <a:gdLst>
                  <a:gd name="connsiteX0" fmla="*/ 36310 w 392218"/>
                  <a:gd name="connsiteY0" fmla="*/ 526769 h 526768"/>
                  <a:gd name="connsiteX1" fmla="*/ 30173 w 392218"/>
                  <a:gd name="connsiteY1" fmla="*/ 523701 h 526768"/>
                  <a:gd name="connsiteX2" fmla="*/ 66992 w 392218"/>
                  <a:gd name="connsiteY2" fmla="*/ 14382 h 526768"/>
                  <a:gd name="connsiteX3" fmla="*/ 146764 w 392218"/>
                  <a:gd name="connsiteY3" fmla="*/ 5178 h 526768"/>
                  <a:gd name="connsiteX4" fmla="*/ 392218 w 392218"/>
                  <a:gd name="connsiteY4" fmla="*/ 299723 h 526768"/>
                  <a:gd name="connsiteX5" fmla="*/ 389151 w 392218"/>
                  <a:gd name="connsiteY5" fmla="*/ 305859 h 526768"/>
                  <a:gd name="connsiteX6" fmla="*/ 383014 w 392218"/>
                  <a:gd name="connsiteY6" fmla="*/ 302791 h 526768"/>
                  <a:gd name="connsiteX7" fmla="*/ 143696 w 392218"/>
                  <a:gd name="connsiteY7" fmla="*/ 14382 h 526768"/>
                  <a:gd name="connsiteX8" fmla="*/ 73127 w 392218"/>
                  <a:gd name="connsiteY8" fmla="*/ 23587 h 526768"/>
                  <a:gd name="connsiteX9" fmla="*/ 39377 w 392218"/>
                  <a:gd name="connsiteY9" fmla="*/ 520632 h 526768"/>
                  <a:gd name="connsiteX10" fmla="*/ 36310 w 392218"/>
                  <a:gd name="connsiteY10" fmla="*/ 526769 h 526768"/>
                  <a:gd name="connsiteX11" fmla="*/ 36310 w 392218"/>
                  <a:gd name="connsiteY11" fmla="*/ 526769 h 526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2218" h="526768">
                    <a:moveTo>
                      <a:pt x="36310" y="526769"/>
                    </a:moveTo>
                    <a:cubicBezTo>
                      <a:pt x="33241" y="526769"/>
                      <a:pt x="30173" y="523701"/>
                      <a:pt x="30173" y="523701"/>
                    </a:cubicBezTo>
                    <a:cubicBezTo>
                      <a:pt x="27104" y="505291"/>
                      <a:pt x="-55735" y="91087"/>
                      <a:pt x="66992" y="14382"/>
                    </a:cubicBezTo>
                    <a:cubicBezTo>
                      <a:pt x="91537" y="-959"/>
                      <a:pt x="119149" y="-4027"/>
                      <a:pt x="146764" y="5178"/>
                    </a:cubicBezTo>
                    <a:cubicBezTo>
                      <a:pt x="269491" y="41996"/>
                      <a:pt x="386082" y="290519"/>
                      <a:pt x="392218" y="299723"/>
                    </a:cubicBezTo>
                    <a:cubicBezTo>
                      <a:pt x="392218" y="302791"/>
                      <a:pt x="392218" y="305859"/>
                      <a:pt x="389151" y="305859"/>
                    </a:cubicBezTo>
                    <a:cubicBezTo>
                      <a:pt x="386082" y="305859"/>
                      <a:pt x="383014" y="305859"/>
                      <a:pt x="383014" y="302791"/>
                    </a:cubicBezTo>
                    <a:cubicBezTo>
                      <a:pt x="383014" y="299723"/>
                      <a:pt x="263354" y="48132"/>
                      <a:pt x="143696" y="14382"/>
                    </a:cubicBezTo>
                    <a:cubicBezTo>
                      <a:pt x="119149" y="8246"/>
                      <a:pt x="94604" y="11314"/>
                      <a:pt x="73127" y="23587"/>
                    </a:cubicBezTo>
                    <a:cubicBezTo>
                      <a:pt x="-43464" y="97223"/>
                      <a:pt x="39377" y="517564"/>
                      <a:pt x="39377" y="520632"/>
                    </a:cubicBezTo>
                    <a:cubicBezTo>
                      <a:pt x="42445" y="523701"/>
                      <a:pt x="42445" y="526769"/>
                      <a:pt x="36310" y="526769"/>
                    </a:cubicBezTo>
                    <a:cubicBezTo>
                      <a:pt x="39377" y="526769"/>
                      <a:pt x="39377" y="526769"/>
                      <a:pt x="36310" y="52676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03" name="图形 1">
                <a:extLst>
                  <a:ext uri="{FF2B5EF4-FFF2-40B4-BE49-F238E27FC236}">
                    <a16:creationId xmlns:a16="http://schemas.microsoft.com/office/drawing/2014/main" id="{188C687B-9D48-433C-BE0C-DD1D97FDE3A7}"/>
                  </a:ext>
                </a:extLst>
              </p:cNvPr>
              <p:cNvGrpSpPr/>
              <p:nvPr/>
            </p:nvGrpSpPr>
            <p:grpSpPr>
              <a:xfrm>
                <a:off x="21027826" y="9466008"/>
                <a:ext cx="1300909" cy="1181250"/>
                <a:chOff x="21027826" y="9466008"/>
                <a:chExt cx="1300909" cy="1181250"/>
              </a:xfrm>
            </p:grpSpPr>
            <p:sp>
              <p:nvSpPr>
                <p:cNvPr id="107" name="任意多边形: 形状 106">
                  <a:extLst>
                    <a:ext uri="{FF2B5EF4-FFF2-40B4-BE49-F238E27FC236}">
                      <a16:creationId xmlns:a16="http://schemas.microsoft.com/office/drawing/2014/main" id="{A1640E5D-9B48-4FA7-9788-AB1D16E78D2C}"/>
                    </a:ext>
                  </a:extLst>
                </p:cNvPr>
                <p:cNvSpPr/>
                <p:nvPr/>
              </p:nvSpPr>
              <p:spPr>
                <a:xfrm>
                  <a:off x="21135212" y="9466008"/>
                  <a:ext cx="1193523" cy="1181250"/>
                </a:xfrm>
                <a:custGeom>
                  <a:avLst/>
                  <a:gdLst>
                    <a:gd name="connsiteX0" fmla="*/ 0 w 1193523"/>
                    <a:gd name="connsiteY0" fmla="*/ 423410 h 1181250"/>
                    <a:gd name="connsiteX1" fmla="*/ 420341 w 1193523"/>
                    <a:gd name="connsiteY1" fmla="*/ 1181250 h 1181250"/>
                    <a:gd name="connsiteX2" fmla="*/ 1193524 w 1193523"/>
                    <a:gd name="connsiteY2" fmla="*/ 665796 h 1181250"/>
                    <a:gd name="connsiteX3" fmla="*/ 699545 w 1193523"/>
                    <a:gd name="connsiteY3" fmla="*/ 0 h 1181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3523" h="1181250">
                      <a:moveTo>
                        <a:pt x="0" y="423410"/>
                      </a:moveTo>
                      <a:lnTo>
                        <a:pt x="420341" y="1181250"/>
                      </a:lnTo>
                      <a:lnTo>
                        <a:pt x="1193524" y="665796"/>
                      </a:lnTo>
                      <a:lnTo>
                        <a:pt x="699545" y="0"/>
                      </a:lnTo>
                      <a:close/>
                    </a:path>
                  </a:pathLst>
                </a:custGeom>
                <a:solidFill>
                  <a:srgbClr val="F1DDBB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8" name="任意多边形: 形状 107">
                  <a:extLst>
                    <a:ext uri="{FF2B5EF4-FFF2-40B4-BE49-F238E27FC236}">
                      <a16:creationId xmlns:a16="http://schemas.microsoft.com/office/drawing/2014/main" id="{D8F513DB-5900-4F27-BC6C-512E241B0AB3}"/>
                    </a:ext>
                  </a:extLst>
                </p:cNvPr>
                <p:cNvSpPr/>
                <p:nvPr/>
              </p:nvSpPr>
              <p:spPr>
                <a:xfrm>
                  <a:off x="21027826" y="9466008"/>
                  <a:ext cx="806931" cy="472499"/>
                </a:xfrm>
                <a:custGeom>
                  <a:avLst/>
                  <a:gdLst>
                    <a:gd name="connsiteX0" fmla="*/ 806931 w 806931"/>
                    <a:gd name="connsiteY0" fmla="*/ 0 h 472499"/>
                    <a:gd name="connsiteX1" fmla="*/ 619773 w 806931"/>
                    <a:gd name="connsiteY1" fmla="*/ 82841 h 472499"/>
                    <a:gd name="connsiteX2" fmla="*/ 0 w 806931"/>
                    <a:gd name="connsiteY2" fmla="*/ 472500 h 472499"/>
                    <a:gd name="connsiteX3" fmla="*/ 107386 w 806931"/>
                    <a:gd name="connsiteY3" fmla="*/ 423410 h 472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6931" h="472499">
                      <a:moveTo>
                        <a:pt x="806931" y="0"/>
                      </a:moveTo>
                      <a:lnTo>
                        <a:pt x="619773" y="82841"/>
                      </a:lnTo>
                      <a:lnTo>
                        <a:pt x="0" y="472500"/>
                      </a:lnTo>
                      <a:lnTo>
                        <a:pt x="107386" y="423410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9" name="任意多边形: 形状 108">
                  <a:extLst>
                    <a:ext uri="{FF2B5EF4-FFF2-40B4-BE49-F238E27FC236}">
                      <a16:creationId xmlns:a16="http://schemas.microsoft.com/office/drawing/2014/main" id="{5D3E7792-8D83-4C96-8E83-B32BA9BFC99E}"/>
                    </a:ext>
                  </a:extLst>
                </p:cNvPr>
                <p:cNvSpPr/>
                <p:nvPr/>
              </p:nvSpPr>
              <p:spPr>
                <a:xfrm>
                  <a:off x="21027826" y="9889418"/>
                  <a:ext cx="527727" cy="757840"/>
                </a:xfrm>
                <a:custGeom>
                  <a:avLst/>
                  <a:gdLst>
                    <a:gd name="connsiteX0" fmla="*/ 343637 w 527727"/>
                    <a:gd name="connsiteY0" fmla="*/ 748636 h 757840"/>
                    <a:gd name="connsiteX1" fmla="*/ 527728 w 527727"/>
                    <a:gd name="connsiteY1" fmla="*/ 757840 h 757840"/>
                    <a:gd name="connsiteX2" fmla="*/ 107386 w 527727"/>
                    <a:gd name="connsiteY2" fmla="*/ 0 h 757840"/>
                    <a:gd name="connsiteX3" fmla="*/ 0 w 527727"/>
                    <a:gd name="connsiteY3" fmla="*/ 49090 h 7578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27727" h="757840">
                      <a:moveTo>
                        <a:pt x="343637" y="748636"/>
                      </a:moveTo>
                      <a:lnTo>
                        <a:pt x="527728" y="757840"/>
                      </a:lnTo>
                      <a:lnTo>
                        <a:pt x="107386" y="0"/>
                      </a:lnTo>
                      <a:lnTo>
                        <a:pt x="0" y="49090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306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8432F604-6D02-4955-8DFF-F4BF4B93C75D}"/>
                  </a:ext>
                </a:extLst>
              </p:cNvPr>
              <p:cNvSpPr/>
              <p:nvPr/>
            </p:nvSpPr>
            <p:spPr>
              <a:xfrm>
                <a:off x="21236767" y="9388875"/>
                <a:ext cx="445945" cy="485202"/>
              </a:xfrm>
              <a:custGeom>
                <a:avLst/>
                <a:gdLst>
                  <a:gd name="connsiteX0" fmla="*/ 91741 w 445945"/>
                  <a:gd name="connsiteY0" fmla="*/ 485202 h 485202"/>
                  <a:gd name="connsiteX1" fmla="*/ 85604 w 445945"/>
                  <a:gd name="connsiteY1" fmla="*/ 482134 h 485202"/>
                  <a:gd name="connsiteX2" fmla="*/ 48787 w 445945"/>
                  <a:gd name="connsiteY2" fmla="*/ 15770 h 485202"/>
                  <a:gd name="connsiteX3" fmla="*/ 444582 w 445945"/>
                  <a:gd name="connsiteY3" fmla="*/ 255088 h 485202"/>
                  <a:gd name="connsiteX4" fmla="*/ 444582 w 445945"/>
                  <a:gd name="connsiteY4" fmla="*/ 264293 h 485202"/>
                  <a:gd name="connsiteX5" fmla="*/ 435378 w 445945"/>
                  <a:gd name="connsiteY5" fmla="*/ 264293 h 485202"/>
                  <a:gd name="connsiteX6" fmla="*/ 54922 w 445945"/>
                  <a:gd name="connsiteY6" fmla="*/ 28043 h 485202"/>
                  <a:gd name="connsiteX7" fmla="*/ 94810 w 445945"/>
                  <a:gd name="connsiteY7" fmla="*/ 479065 h 485202"/>
                  <a:gd name="connsiteX8" fmla="*/ 91741 w 445945"/>
                  <a:gd name="connsiteY8" fmla="*/ 485202 h 485202"/>
                  <a:gd name="connsiteX9" fmla="*/ 91741 w 445945"/>
                  <a:gd name="connsiteY9" fmla="*/ 485202 h 485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45945" h="485202">
                    <a:moveTo>
                      <a:pt x="91741" y="485202"/>
                    </a:moveTo>
                    <a:cubicBezTo>
                      <a:pt x="88673" y="485202"/>
                      <a:pt x="88673" y="485202"/>
                      <a:pt x="85604" y="482134"/>
                    </a:cubicBezTo>
                    <a:cubicBezTo>
                      <a:pt x="79469" y="466793"/>
                      <a:pt x="-77009" y="95543"/>
                      <a:pt x="48787" y="15770"/>
                    </a:cubicBezTo>
                    <a:cubicBezTo>
                      <a:pt x="192991" y="-73207"/>
                      <a:pt x="435378" y="242815"/>
                      <a:pt x="444582" y="255088"/>
                    </a:cubicBezTo>
                    <a:cubicBezTo>
                      <a:pt x="447651" y="258156"/>
                      <a:pt x="444582" y="261224"/>
                      <a:pt x="444582" y="264293"/>
                    </a:cubicBezTo>
                    <a:cubicBezTo>
                      <a:pt x="441514" y="267361"/>
                      <a:pt x="438445" y="264293"/>
                      <a:pt x="435378" y="264293"/>
                    </a:cubicBezTo>
                    <a:cubicBezTo>
                      <a:pt x="432310" y="261224"/>
                      <a:pt x="189923" y="-57866"/>
                      <a:pt x="54922" y="28043"/>
                    </a:cubicBezTo>
                    <a:cubicBezTo>
                      <a:pt x="-61668" y="101679"/>
                      <a:pt x="94810" y="475997"/>
                      <a:pt x="94810" y="479065"/>
                    </a:cubicBezTo>
                    <a:cubicBezTo>
                      <a:pt x="97878" y="482134"/>
                      <a:pt x="97878" y="485202"/>
                      <a:pt x="91741" y="485202"/>
                    </a:cubicBezTo>
                    <a:cubicBezTo>
                      <a:pt x="94810" y="485202"/>
                      <a:pt x="94810" y="485202"/>
                      <a:pt x="91741" y="48520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E6AB3A7A-A5B2-4902-80A5-6913E4D284CF}"/>
                  </a:ext>
                </a:extLst>
              </p:cNvPr>
              <p:cNvSpPr/>
              <p:nvPr/>
            </p:nvSpPr>
            <p:spPr>
              <a:xfrm>
                <a:off x="21299624" y="9838963"/>
                <a:ext cx="63997" cy="62727"/>
              </a:xfrm>
              <a:custGeom>
                <a:avLst/>
                <a:gdLst>
                  <a:gd name="connsiteX0" fmla="*/ 28884 w 63997"/>
                  <a:gd name="connsiteY0" fmla="*/ 62727 h 62727"/>
                  <a:gd name="connsiteX1" fmla="*/ 22747 w 63997"/>
                  <a:gd name="connsiteY1" fmla="*/ 62727 h 62727"/>
                  <a:gd name="connsiteX2" fmla="*/ 4339 w 63997"/>
                  <a:gd name="connsiteY2" fmla="*/ 47386 h 62727"/>
                  <a:gd name="connsiteX3" fmla="*/ 1271 w 63997"/>
                  <a:gd name="connsiteY3" fmla="*/ 22840 h 62727"/>
                  <a:gd name="connsiteX4" fmla="*/ 16612 w 63997"/>
                  <a:gd name="connsiteY4" fmla="*/ 4432 h 62727"/>
                  <a:gd name="connsiteX5" fmla="*/ 59566 w 63997"/>
                  <a:gd name="connsiteY5" fmla="*/ 13636 h 62727"/>
                  <a:gd name="connsiteX6" fmla="*/ 59566 w 63997"/>
                  <a:gd name="connsiteY6" fmla="*/ 13636 h 62727"/>
                  <a:gd name="connsiteX7" fmla="*/ 50362 w 63997"/>
                  <a:gd name="connsiteY7" fmla="*/ 56591 h 62727"/>
                  <a:gd name="connsiteX8" fmla="*/ 28884 w 63997"/>
                  <a:gd name="connsiteY8" fmla="*/ 62727 h 62727"/>
                  <a:gd name="connsiteX9" fmla="*/ 28884 w 63997"/>
                  <a:gd name="connsiteY9" fmla="*/ 10568 h 62727"/>
                  <a:gd name="connsiteX10" fmla="*/ 19680 w 63997"/>
                  <a:gd name="connsiteY10" fmla="*/ 13636 h 62727"/>
                  <a:gd name="connsiteX11" fmla="*/ 10476 w 63997"/>
                  <a:gd name="connsiteY11" fmla="*/ 25909 h 62727"/>
                  <a:gd name="connsiteX12" fmla="*/ 13543 w 63997"/>
                  <a:gd name="connsiteY12" fmla="*/ 41250 h 62727"/>
                  <a:gd name="connsiteX13" fmla="*/ 25816 w 63997"/>
                  <a:gd name="connsiteY13" fmla="*/ 50455 h 62727"/>
                  <a:gd name="connsiteX14" fmla="*/ 41157 w 63997"/>
                  <a:gd name="connsiteY14" fmla="*/ 47386 h 62727"/>
                  <a:gd name="connsiteX15" fmla="*/ 47294 w 63997"/>
                  <a:gd name="connsiteY15" fmla="*/ 19773 h 62727"/>
                  <a:gd name="connsiteX16" fmla="*/ 47294 w 63997"/>
                  <a:gd name="connsiteY16" fmla="*/ 19773 h 62727"/>
                  <a:gd name="connsiteX17" fmla="*/ 35021 w 63997"/>
                  <a:gd name="connsiteY17" fmla="*/ 10568 h 62727"/>
                  <a:gd name="connsiteX18" fmla="*/ 28884 w 63997"/>
                  <a:gd name="connsiteY18" fmla="*/ 10568 h 62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3997" h="62727">
                    <a:moveTo>
                      <a:pt x="28884" y="62727"/>
                    </a:moveTo>
                    <a:cubicBezTo>
                      <a:pt x="25816" y="62727"/>
                      <a:pt x="22747" y="62727"/>
                      <a:pt x="22747" y="62727"/>
                    </a:cubicBezTo>
                    <a:cubicBezTo>
                      <a:pt x="13543" y="59659"/>
                      <a:pt x="7406" y="56591"/>
                      <a:pt x="4339" y="47386"/>
                    </a:cubicBezTo>
                    <a:cubicBezTo>
                      <a:pt x="1271" y="41250"/>
                      <a:pt x="-1798" y="32046"/>
                      <a:pt x="1271" y="22840"/>
                    </a:cubicBezTo>
                    <a:cubicBezTo>
                      <a:pt x="4339" y="13636"/>
                      <a:pt x="7406" y="7500"/>
                      <a:pt x="16612" y="4432"/>
                    </a:cubicBezTo>
                    <a:cubicBezTo>
                      <a:pt x="31953" y="-4773"/>
                      <a:pt x="50362" y="1364"/>
                      <a:pt x="59566" y="13636"/>
                    </a:cubicBezTo>
                    <a:lnTo>
                      <a:pt x="59566" y="13636"/>
                    </a:lnTo>
                    <a:cubicBezTo>
                      <a:pt x="68770" y="28977"/>
                      <a:pt x="62635" y="47386"/>
                      <a:pt x="50362" y="56591"/>
                    </a:cubicBezTo>
                    <a:cubicBezTo>
                      <a:pt x="41157" y="59659"/>
                      <a:pt x="35021" y="62727"/>
                      <a:pt x="28884" y="62727"/>
                    </a:cubicBezTo>
                    <a:close/>
                    <a:moveTo>
                      <a:pt x="28884" y="10568"/>
                    </a:moveTo>
                    <a:cubicBezTo>
                      <a:pt x="25816" y="10568"/>
                      <a:pt x="22747" y="10568"/>
                      <a:pt x="19680" y="13636"/>
                    </a:cubicBezTo>
                    <a:cubicBezTo>
                      <a:pt x="16612" y="16705"/>
                      <a:pt x="10476" y="19773"/>
                      <a:pt x="10476" y="25909"/>
                    </a:cubicBezTo>
                    <a:cubicBezTo>
                      <a:pt x="10476" y="32046"/>
                      <a:pt x="10476" y="35114"/>
                      <a:pt x="13543" y="41250"/>
                    </a:cubicBezTo>
                    <a:cubicBezTo>
                      <a:pt x="16612" y="44318"/>
                      <a:pt x="19680" y="50455"/>
                      <a:pt x="25816" y="50455"/>
                    </a:cubicBezTo>
                    <a:cubicBezTo>
                      <a:pt x="31953" y="50455"/>
                      <a:pt x="35021" y="50455"/>
                      <a:pt x="41157" y="47386"/>
                    </a:cubicBezTo>
                    <a:cubicBezTo>
                      <a:pt x="50362" y="41250"/>
                      <a:pt x="53429" y="28977"/>
                      <a:pt x="47294" y="19773"/>
                    </a:cubicBezTo>
                    <a:lnTo>
                      <a:pt x="47294" y="19773"/>
                    </a:lnTo>
                    <a:cubicBezTo>
                      <a:pt x="44225" y="16705"/>
                      <a:pt x="41157" y="10568"/>
                      <a:pt x="35021" y="10568"/>
                    </a:cubicBezTo>
                    <a:cubicBezTo>
                      <a:pt x="31953" y="10568"/>
                      <a:pt x="31953" y="10568"/>
                      <a:pt x="28884" y="105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94F5D4B4-C874-4F0E-9296-55B2F30DEADF}"/>
                  </a:ext>
                </a:extLst>
              </p:cNvPr>
              <p:cNvSpPr/>
              <p:nvPr/>
            </p:nvSpPr>
            <p:spPr>
              <a:xfrm>
                <a:off x="21649396" y="9621215"/>
                <a:ext cx="63998" cy="62634"/>
              </a:xfrm>
              <a:custGeom>
                <a:avLst/>
                <a:gdLst>
                  <a:gd name="connsiteX0" fmla="*/ 31952 w 63998"/>
                  <a:gd name="connsiteY0" fmla="*/ 62635 h 62634"/>
                  <a:gd name="connsiteX1" fmla="*/ 4340 w 63998"/>
                  <a:gd name="connsiteY1" fmla="*/ 47294 h 62634"/>
                  <a:gd name="connsiteX2" fmla="*/ 1271 w 63998"/>
                  <a:gd name="connsiteY2" fmla="*/ 22749 h 62634"/>
                  <a:gd name="connsiteX3" fmla="*/ 16611 w 63998"/>
                  <a:gd name="connsiteY3" fmla="*/ 4339 h 62634"/>
                  <a:gd name="connsiteX4" fmla="*/ 41157 w 63998"/>
                  <a:gd name="connsiteY4" fmla="*/ 1271 h 62634"/>
                  <a:gd name="connsiteX5" fmla="*/ 59567 w 63998"/>
                  <a:gd name="connsiteY5" fmla="*/ 16612 h 62634"/>
                  <a:gd name="connsiteX6" fmla="*/ 59567 w 63998"/>
                  <a:gd name="connsiteY6" fmla="*/ 16612 h 62634"/>
                  <a:gd name="connsiteX7" fmla="*/ 50363 w 63998"/>
                  <a:gd name="connsiteY7" fmla="*/ 59566 h 62634"/>
                  <a:gd name="connsiteX8" fmla="*/ 31952 w 63998"/>
                  <a:gd name="connsiteY8" fmla="*/ 62635 h 62634"/>
                  <a:gd name="connsiteX9" fmla="*/ 31952 w 63998"/>
                  <a:gd name="connsiteY9" fmla="*/ 10475 h 62634"/>
                  <a:gd name="connsiteX10" fmla="*/ 22748 w 63998"/>
                  <a:gd name="connsiteY10" fmla="*/ 13544 h 62634"/>
                  <a:gd name="connsiteX11" fmla="*/ 13544 w 63998"/>
                  <a:gd name="connsiteY11" fmla="*/ 25816 h 62634"/>
                  <a:gd name="connsiteX12" fmla="*/ 16611 w 63998"/>
                  <a:gd name="connsiteY12" fmla="*/ 41157 h 62634"/>
                  <a:gd name="connsiteX13" fmla="*/ 44226 w 63998"/>
                  <a:gd name="connsiteY13" fmla="*/ 47294 h 62634"/>
                  <a:gd name="connsiteX14" fmla="*/ 53430 w 63998"/>
                  <a:gd name="connsiteY14" fmla="*/ 35021 h 62634"/>
                  <a:gd name="connsiteX15" fmla="*/ 50363 w 63998"/>
                  <a:gd name="connsiteY15" fmla="*/ 19680 h 62634"/>
                  <a:gd name="connsiteX16" fmla="*/ 50363 w 63998"/>
                  <a:gd name="connsiteY16" fmla="*/ 19680 h 62634"/>
                  <a:gd name="connsiteX17" fmla="*/ 38089 w 63998"/>
                  <a:gd name="connsiteY17" fmla="*/ 10475 h 62634"/>
                  <a:gd name="connsiteX18" fmla="*/ 31952 w 63998"/>
                  <a:gd name="connsiteY18" fmla="*/ 10475 h 62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3998" h="62634">
                    <a:moveTo>
                      <a:pt x="31952" y="62635"/>
                    </a:moveTo>
                    <a:cubicBezTo>
                      <a:pt x="22748" y="62635"/>
                      <a:pt x="10475" y="56498"/>
                      <a:pt x="4340" y="47294"/>
                    </a:cubicBezTo>
                    <a:cubicBezTo>
                      <a:pt x="1271" y="41157"/>
                      <a:pt x="-1797" y="31953"/>
                      <a:pt x="1271" y="22749"/>
                    </a:cubicBezTo>
                    <a:cubicBezTo>
                      <a:pt x="4340" y="13544"/>
                      <a:pt x="7407" y="7408"/>
                      <a:pt x="16611" y="4339"/>
                    </a:cubicBezTo>
                    <a:cubicBezTo>
                      <a:pt x="22748" y="1271"/>
                      <a:pt x="31952" y="-1797"/>
                      <a:pt x="41157" y="1271"/>
                    </a:cubicBezTo>
                    <a:cubicBezTo>
                      <a:pt x="50363" y="4339"/>
                      <a:pt x="56497" y="7408"/>
                      <a:pt x="59567" y="16612"/>
                    </a:cubicBezTo>
                    <a:lnTo>
                      <a:pt x="59567" y="16612"/>
                    </a:lnTo>
                    <a:cubicBezTo>
                      <a:pt x="68771" y="31953"/>
                      <a:pt x="62634" y="50362"/>
                      <a:pt x="50363" y="59566"/>
                    </a:cubicBezTo>
                    <a:cubicBezTo>
                      <a:pt x="44226" y="59566"/>
                      <a:pt x="38089" y="62635"/>
                      <a:pt x="31952" y="62635"/>
                    </a:cubicBezTo>
                    <a:close/>
                    <a:moveTo>
                      <a:pt x="31952" y="10475"/>
                    </a:moveTo>
                    <a:cubicBezTo>
                      <a:pt x="28885" y="10475"/>
                      <a:pt x="25816" y="10475"/>
                      <a:pt x="22748" y="13544"/>
                    </a:cubicBezTo>
                    <a:cubicBezTo>
                      <a:pt x="19681" y="16612"/>
                      <a:pt x="13544" y="19680"/>
                      <a:pt x="13544" y="25816"/>
                    </a:cubicBezTo>
                    <a:cubicBezTo>
                      <a:pt x="13544" y="31953"/>
                      <a:pt x="13544" y="35021"/>
                      <a:pt x="16611" y="41157"/>
                    </a:cubicBezTo>
                    <a:cubicBezTo>
                      <a:pt x="22748" y="50362"/>
                      <a:pt x="35022" y="53430"/>
                      <a:pt x="44226" y="47294"/>
                    </a:cubicBezTo>
                    <a:cubicBezTo>
                      <a:pt x="47293" y="44225"/>
                      <a:pt x="53430" y="41157"/>
                      <a:pt x="53430" y="35021"/>
                    </a:cubicBezTo>
                    <a:cubicBezTo>
                      <a:pt x="53430" y="28884"/>
                      <a:pt x="53430" y="25816"/>
                      <a:pt x="50363" y="19680"/>
                    </a:cubicBezTo>
                    <a:lnTo>
                      <a:pt x="50363" y="19680"/>
                    </a:lnTo>
                    <a:cubicBezTo>
                      <a:pt x="47293" y="16612"/>
                      <a:pt x="44226" y="10475"/>
                      <a:pt x="38089" y="10475"/>
                    </a:cubicBezTo>
                    <a:cubicBezTo>
                      <a:pt x="35022" y="10475"/>
                      <a:pt x="35022" y="10475"/>
                      <a:pt x="31952" y="1047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09DFB601-E985-46B2-A80C-30C173DC798D}"/>
                </a:ext>
              </a:extLst>
            </p:cNvPr>
            <p:cNvGrpSpPr/>
            <p:nvPr/>
          </p:nvGrpSpPr>
          <p:grpSpPr>
            <a:xfrm>
              <a:off x="21248736" y="9376343"/>
              <a:ext cx="180063" cy="174570"/>
              <a:chOff x="21248736" y="9376343"/>
              <a:chExt cx="180063" cy="174570"/>
            </a:xfrm>
          </p:grpSpPr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0C6DFD75-FB6E-4B97-8996-617C89750699}"/>
                  </a:ext>
                </a:extLst>
              </p:cNvPr>
              <p:cNvSpPr/>
              <p:nvPr/>
            </p:nvSpPr>
            <p:spPr>
              <a:xfrm>
                <a:off x="21300895" y="9380100"/>
                <a:ext cx="127904" cy="97137"/>
              </a:xfrm>
              <a:custGeom>
                <a:avLst/>
                <a:gdLst>
                  <a:gd name="connsiteX0" fmla="*/ 122727 w 127904"/>
                  <a:gd name="connsiteY0" fmla="*/ 61364 h 97137"/>
                  <a:gd name="connsiteX1" fmla="*/ 39886 w 127904"/>
                  <a:gd name="connsiteY1" fmla="*/ 6136 h 97137"/>
                  <a:gd name="connsiteX2" fmla="*/ 46023 w 127904"/>
                  <a:gd name="connsiteY2" fmla="*/ 3068 h 97137"/>
                  <a:gd name="connsiteX3" fmla="*/ 30682 w 127904"/>
                  <a:gd name="connsiteY3" fmla="*/ 0 h 97137"/>
                  <a:gd name="connsiteX4" fmla="*/ 0 w 127904"/>
                  <a:gd name="connsiteY4" fmla="*/ 27613 h 97137"/>
                  <a:gd name="connsiteX5" fmla="*/ 15341 w 127904"/>
                  <a:gd name="connsiteY5" fmla="*/ 55227 h 97137"/>
                  <a:gd name="connsiteX6" fmla="*/ 70568 w 127904"/>
                  <a:gd name="connsiteY6" fmla="*/ 85909 h 97137"/>
                  <a:gd name="connsiteX7" fmla="*/ 113521 w 127904"/>
                  <a:gd name="connsiteY7" fmla="*/ 95113 h 97137"/>
                  <a:gd name="connsiteX8" fmla="*/ 122727 w 127904"/>
                  <a:gd name="connsiteY8" fmla="*/ 61364 h 97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904" h="97137">
                    <a:moveTo>
                      <a:pt x="122727" y="61364"/>
                    </a:moveTo>
                    <a:cubicBezTo>
                      <a:pt x="107386" y="36818"/>
                      <a:pt x="70568" y="24545"/>
                      <a:pt x="39886" y="6136"/>
                    </a:cubicBezTo>
                    <a:cubicBezTo>
                      <a:pt x="36817" y="6136"/>
                      <a:pt x="46023" y="3068"/>
                      <a:pt x="46023" y="3068"/>
                    </a:cubicBezTo>
                    <a:cubicBezTo>
                      <a:pt x="39886" y="0"/>
                      <a:pt x="36817" y="0"/>
                      <a:pt x="30682" y="0"/>
                    </a:cubicBezTo>
                    <a:cubicBezTo>
                      <a:pt x="15341" y="0"/>
                      <a:pt x="0" y="9204"/>
                      <a:pt x="0" y="27613"/>
                    </a:cubicBezTo>
                    <a:cubicBezTo>
                      <a:pt x="0" y="46023"/>
                      <a:pt x="3067" y="49091"/>
                      <a:pt x="15341" y="55227"/>
                    </a:cubicBezTo>
                    <a:cubicBezTo>
                      <a:pt x="33749" y="67500"/>
                      <a:pt x="52158" y="76705"/>
                      <a:pt x="70568" y="85909"/>
                    </a:cubicBezTo>
                    <a:cubicBezTo>
                      <a:pt x="82839" y="92045"/>
                      <a:pt x="101250" y="101250"/>
                      <a:pt x="113521" y="95113"/>
                    </a:cubicBezTo>
                    <a:cubicBezTo>
                      <a:pt x="128862" y="88977"/>
                      <a:pt x="131931" y="73636"/>
                      <a:pt x="122727" y="6136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76A81A22-05D5-4C7A-A751-88B5A1FCEEDB}"/>
                  </a:ext>
                </a:extLst>
              </p:cNvPr>
              <p:cNvSpPr/>
              <p:nvPr/>
            </p:nvSpPr>
            <p:spPr>
              <a:xfrm>
                <a:off x="21264077" y="9410782"/>
                <a:ext cx="128758" cy="94069"/>
              </a:xfrm>
              <a:custGeom>
                <a:avLst/>
                <a:gdLst>
                  <a:gd name="connsiteX0" fmla="*/ 125795 w 128758"/>
                  <a:gd name="connsiteY0" fmla="*/ 61364 h 94069"/>
                  <a:gd name="connsiteX1" fmla="*/ 55227 w 128758"/>
                  <a:gd name="connsiteY1" fmla="*/ 6136 h 94069"/>
                  <a:gd name="connsiteX2" fmla="*/ 46023 w 128758"/>
                  <a:gd name="connsiteY2" fmla="*/ 3068 h 94069"/>
                  <a:gd name="connsiteX3" fmla="*/ 30682 w 128758"/>
                  <a:gd name="connsiteY3" fmla="*/ 0 h 94069"/>
                  <a:gd name="connsiteX4" fmla="*/ 0 w 128758"/>
                  <a:gd name="connsiteY4" fmla="*/ 21477 h 94069"/>
                  <a:gd name="connsiteX5" fmla="*/ 15341 w 128758"/>
                  <a:gd name="connsiteY5" fmla="*/ 52159 h 94069"/>
                  <a:gd name="connsiteX6" fmla="*/ 70568 w 128758"/>
                  <a:gd name="connsiteY6" fmla="*/ 82841 h 94069"/>
                  <a:gd name="connsiteX7" fmla="*/ 113523 w 128758"/>
                  <a:gd name="connsiteY7" fmla="*/ 92045 h 94069"/>
                  <a:gd name="connsiteX8" fmla="*/ 125795 w 128758"/>
                  <a:gd name="connsiteY8" fmla="*/ 61364 h 94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8758" h="94069">
                    <a:moveTo>
                      <a:pt x="125795" y="61364"/>
                    </a:moveTo>
                    <a:cubicBezTo>
                      <a:pt x="110454" y="24545"/>
                      <a:pt x="85909" y="24545"/>
                      <a:pt x="55227" y="6136"/>
                    </a:cubicBezTo>
                    <a:cubicBezTo>
                      <a:pt x="52159" y="6136"/>
                      <a:pt x="49090" y="3068"/>
                      <a:pt x="46023" y="3068"/>
                    </a:cubicBezTo>
                    <a:cubicBezTo>
                      <a:pt x="39886" y="0"/>
                      <a:pt x="36819" y="0"/>
                      <a:pt x="30682" y="0"/>
                    </a:cubicBezTo>
                    <a:cubicBezTo>
                      <a:pt x="15341" y="0"/>
                      <a:pt x="0" y="6136"/>
                      <a:pt x="0" y="21477"/>
                    </a:cubicBezTo>
                    <a:cubicBezTo>
                      <a:pt x="0" y="39886"/>
                      <a:pt x="3067" y="46023"/>
                      <a:pt x="15341" y="52159"/>
                    </a:cubicBezTo>
                    <a:cubicBezTo>
                      <a:pt x="33749" y="64432"/>
                      <a:pt x="52159" y="73636"/>
                      <a:pt x="70568" y="82841"/>
                    </a:cubicBezTo>
                    <a:cubicBezTo>
                      <a:pt x="82841" y="88977"/>
                      <a:pt x="101250" y="98182"/>
                      <a:pt x="113523" y="92045"/>
                    </a:cubicBezTo>
                    <a:cubicBezTo>
                      <a:pt x="128864" y="85909"/>
                      <a:pt x="131931" y="70568"/>
                      <a:pt x="125795" y="6136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864A2A55-C35E-40FB-94C0-67898C073926}"/>
                  </a:ext>
                </a:extLst>
              </p:cNvPr>
              <p:cNvSpPr/>
              <p:nvPr/>
            </p:nvSpPr>
            <p:spPr>
              <a:xfrm>
                <a:off x="21257940" y="9443672"/>
                <a:ext cx="107386" cy="88791"/>
              </a:xfrm>
              <a:custGeom>
                <a:avLst/>
                <a:gdLst>
                  <a:gd name="connsiteX0" fmla="*/ 104319 w 107386"/>
                  <a:gd name="connsiteY0" fmla="*/ 59155 h 88791"/>
                  <a:gd name="connsiteX1" fmla="*/ 27614 w 107386"/>
                  <a:gd name="connsiteY1" fmla="*/ 3927 h 88791"/>
                  <a:gd name="connsiteX2" fmla="*/ 21478 w 107386"/>
                  <a:gd name="connsiteY2" fmla="*/ 859 h 88791"/>
                  <a:gd name="connsiteX3" fmla="*/ 24545 w 107386"/>
                  <a:gd name="connsiteY3" fmla="*/ 3927 h 88791"/>
                  <a:gd name="connsiteX4" fmla="*/ 0 w 107386"/>
                  <a:gd name="connsiteY4" fmla="*/ 25405 h 88791"/>
                  <a:gd name="connsiteX5" fmla="*/ 27614 w 107386"/>
                  <a:gd name="connsiteY5" fmla="*/ 56086 h 88791"/>
                  <a:gd name="connsiteX6" fmla="*/ 58296 w 107386"/>
                  <a:gd name="connsiteY6" fmla="*/ 77564 h 88791"/>
                  <a:gd name="connsiteX7" fmla="*/ 95113 w 107386"/>
                  <a:gd name="connsiteY7" fmla="*/ 86768 h 88791"/>
                  <a:gd name="connsiteX8" fmla="*/ 104319 w 107386"/>
                  <a:gd name="connsiteY8" fmla="*/ 59155 h 88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386" h="88791">
                    <a:moveTo>
                      <a:pt x="104319" y="59155"/>
                    </a:moveTo>
                    <a:cubicBezTo>
                      <a:pt x="88978" y="28473"/>
                      <a:pt x="55227" y="19268"/>
                      <a:pt x="27614" y="3927"/>
                    </a:cubicBezTo>
                    <a:cubicBezTo>
                      <a:pt x="24545" y="3927"/>
                      <a:pt x="21478" y="859"/>
                      <a:pt x="21478" y="859"/>
                    </a:cubicBezTo>
                    <a:cubicBezTo>
                      <a:pt x="18408" y="-2209"/>
                      <a:pt x="30682" y="3927"/>
                      <a:pt x="24545" y="3927"/>
                    </a:cubicBezTo>
                    <a:cubicBezTo>
                      <a:pt x="12273" y="3927"/>
                      <a:pt x="0" y="13132"/>
                      <a:pt x="0" y="25405"/>
                    </a:cubicBezTo>
                    <a:cubicBezTo>
                      <a:pt x="0" y="40745"/>
                      <a:pt x="18408" y="49950"/>
                      <a:pt x="27614" y="56086"/>
                    </a:cubicBezTo>
                    <a:cubicBezTo>
                      <a:pt x="42955" y="65291"/>
                      <a:pt x="42955" y="68359"/>
                      <a:pt x="58296" y="77564"/>
                    </a:cubicBezTo>
                    <a:cubicBezTo>
                      <a:pt x="70568" y="83700"/>
                      <a:pt x="82841" y="92904"/>
                      <a:pt x="95113" y="86768"/>
                    </a:cubicBezTo>
                    <a:cubicBezTo>
                      <a:pt x="107386" y="83700"/>
                      <a:pt x="110454" y="71427"/>
                      <a:pt x="104319" y="59155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D8D62639-63AE-4B64-BA1D-0ECA29243DC6}"/>
                  </a:ext>
                </a:extLst>
              </p:cNvPr>
              <p:cNvSpPr/>
              <p:nvPr/>
            </p:nvSpPr>
            <p:spPr>
              <a:xfrm>
                <a:off x="21257940" y="9490554"/>
                <a:ext cx="75471" cy="60359"/>
              </a:xfrm>
              <a:custGeom>
                <a:avLst/>
                <a:gdLst>
                  <a:gd name="connsiteX0" fmla="*/ 73637 w 75471"/>
                  <a:gd name="connsiteY0" fmla="*/ 39886 h 60359"/>
                  <a:gd name="connsiteX1" fmla="*/ 33749 w 75471"/>
                  <a:gd name="connsiteY1" fmla="*/ 6136 h 60359"/>
                  <a:gd name="connsiteX2" fmla="*/ 27614 w 75471"/>
                  <a:gd name="connsiteY2" fmla="*/ 3068 h 60359"/>
                  <a:gd name="connsiteX3" fmla="*/ 18408 w 75471"/>
                  <a:gd name="connsiteY3" fmla="*/ 0 h 60359"/>
                  <a:gd name="connsiteX4" fmla="*/ 0 w 75471"/>
                  <a:gd name="connsiteY4" fmla="*/ 15341 h 60359"/>
                  <a:gd name="connsiteX5" fmla="*/ 21478 w 75471"/>
                  <a:gd name="connsiteY5" fmla="*/ 39886 h 60359"/>
                  <a:gd name="connsiteX6" fmla="*/ 39886 w 75471"/>
                  <a:gd name="connsiteY6" fmla="*/ 52159 h 60359"/>
                  <a:gd name="connsiteX7" fmla="*/ 67500 w 75471"/>
                  <a:gd name="connsiteY7" fmla="*/ 58296 h 60359"/>
                  <a:gd name="connsiteX8" fmla="*/ 73637 w 75471"/>
                  <a:gd name="connsiteY8" fmla="*/ 39886 h 60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5471" h="60359">
                    <a:moveTo>
                      <a:pt x="73637" y="39886"/>
                    </a:moveTo>
                    <a:cubicBezTo>
                      <a:pt x="64431" y="15341"/>
                      <a:pt x="55227" y="18409"/>
                      <a:pt x="33749" y="6136"/>
                    </a:cubicBezTo>
                    <a:cubicBezTo>
                      <a:pt x="30682" y="6136"/>
                      <a:pt x="30682" y="6136"/>
                      <a:pt x="27614" y="3068"/>
                    </a:cubicBezTo>
                    <a:cubicBezTo>
                      <a:pt x="24545" y="3068"/>
                      <a:pt x="21478" y="0"/>
                      <a:pt x="18408" y="0"/>
                    </a:cubicBezTo>
                    <a:cubicBezTo>
                      <a:pt x="9204" y="0"/>
                      <a:pt x="0" y="6136"/>
                      <a:pt x="0" y="15341"/>
                    </a:cubicBezTo>
                    <a:cubicBezTo>
                      <a:pt x="0" y="27614"/>
                      <a:pt x="12273" y="33750"/>
                      <a:pt x="21478" y="39886"/>
                    </a:cubicBezTo>
                    <a:cubicBezTo>
                      <a:pt x="33749" y="46023"/>
                      <a:pt x="27614" y="46023"/>
                      <a:pt x="39886" y="52159"/>
                    </a:cubicBezTo>
                    <a:cubicBezTo>
                      <a:pt x="49090" y="55227"/>
                      <a:pt x="58296" y="64432"/>
                      <a:pt x="67500" y="58296"/>
                    </a:cubicBezTo>
                    <a:cubicBezTo>
                      <a:pt x="76705" y="58296"/>
                      <a:pt x="76705" y="49091"/>
                      <a:pt x="73637" y="3988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B6296146-736A-4BAD-BEE9-48B4746A6CCF}"/>
                  </a:ext>
                </a:extLst>
              </p:cNvPr>
              <p:cNvSpPr/>
              <p:nvPr/>
            </p:nvSpPr>
            <p:spPr>
              <a:xfrm>
                <a:off x="21255397" y="9376343"/>
                <a:ext cx="143678" cy="129552"/>
              </a:xfrm>
              <a:custGeom>
                <a:avLst/>
                <a:gdLst>
                  <a:gd name="connsiteX0" fmla="*/ 116066 w 143678"/>
                  <a:gd name="connsiteY0" fmla="*/ 129552 h 129552"/>
                  <a:gd name="connsiteX1" fmla="*/ 33225 w 143678"/>
                  <a:gd name="connsiteY1" fmla="*/ 98870 h 129552"/>
                  <a:gd name="connsiteX2" fmla="*/ 2543 w 143678"/>
                  <a:gd name="connsiteY2" fmla="*/ 49780 h 129552"/>
                  <a:gd name="connsiteX3" fmla="*/ 36292 w 143678"/>
                  <a:gd name="connsiteY3" fmla="*/ 28302 h 129552"/>
                  <a:gd name="connsiteX4" fmla="*/ 42429 w 143678"/>
                  <a:gd name="connsiteY4" fmla="*/ 12961 h 129552"/>
                  <a:gd name="connsiteX5" fmla="*/ 42429 w 143678"/>
                  <a:gd name="connsiteY5" fmla="*/ 9893 h 129552"/>
                  <a:gd name="connsiteX6" fmla="*/ 54702 w 143678"/>
                  <a:gd name="connsiteY6" fmla="*/ 688 h 129552"/>
                  <a:gd name="connsiteX7" fmla="*/ 140611 w 143678"/>
                  <a:gd name="connsiteY7" fmla="*/ 34439 h 129552"/>
                  <a:gd name="connsiteX8" fmla="*/ 140611 w 143678"/>
                  <a:gd name="connsiteY8" fmla="*/ 43643 h 129552"/>
                  <a:gd name="connsiteX9" fmla="*/ 131407 w 143678"/>
                  <a:gd name="connsiteY9" fmla="*/ 43643 h 129552"/>
                  <a:gd name="connsiteX10" fmla="*/ 54702 w 143678"/>
                  <a:gd name="connsiteY10" fmla="*/ 9893 h 129552"/>
                  <a:gd name="connsiteX11" fmla="*/ 51633 w 143678"/>
                  <a:gd name="connsiteY11" fmla="*/ 12961 h 129552"/>
                  <a:gd name="connsiteX12" fmla="*/ 51633 w 143678"/>
                  <a:gd name="connsiteY12" fmla="*/ 16029 h 129552"/>
                  <a:gd name="connsiteX13" fmla="*/ 48566 w 143678"/>
                  <a:gd name="connsiteY13" fmla="*/ 31370 h 129552"/>
                  <a:gd name="connsiteX14" fmla="*/ 134474 w 143678"/>
                  <a:gd name="connsiteY14" fmla="*/ 86598 h 129552"/>
                  <a:gd name="connsiteX15" fmla="*/ 143678 w 143678"/>
                  <a:gd name="connsiteY15" fmla="*/ 98870 h 129552"/>
                  <a:gd name="connsiteX16" fmla="*/ 137544 w 143678"/>
                  <a:gd name="connsiteY16" fmla="*/ 117279 h 129552"/>
                  <a:gd name="connsiteX17" fmla="*/ 116066 w 143678"/>
                  <a:gd name="connsiteY17" fmla="*/ 129552 h 129552"/>
                  <a:gd name="connsiteX18" fmla="*/ 39361 w 143678"/>
                  <a:gd name="connsiteY18" fmla="*/ 37507 h 129552"/>
                  <a:gd name="connsiteX19" fmla="*/ 17884 w 143678"/>
                  <a:gd name="connsiteY19" fmla="*/ 52847 h 129552"/>
                  <a:gd name="connsiteX20" fmla="*/ 42429 w 143678"/>
                  <a:gd name="connsiteY20" fmla="*/ 86598 h 129552"/>
                  <a:gd name="connsiteX21" fmla="*/ 131407 w 143678"/>
                  <a:gd name="connsiteY21" fmla="*/ 111143 h 129552"/>
                  <a:gd name="connsiteX22" fmla="*/ 134474 w 143678"/>
                  <a:gd name="connsiteY22" fmla="*/ 101939 h 129552"/>
                  <a:gd name="connsiteX23" fmla="*/ 131407 w 143678"/>
                  <a:gd name="connsiteY23" fmla="*/ 98870 h 129552"/>
                  <a:gd name="connsiteX24" fmla="*/ 39361 w 143678"/>
                  <a:gd name="connsiteY24" fmla="*/ 37507 h 129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43678" h="129552">
                    <a:moveTo>
                      <a:pt x="116066" y="129552"/>
                    </a:moveTo>
                    <a:cubicBezTo>
                      <a:pt x="97656" y="129552"/>
                      <a:pt x="70043" y="117279"/>
                      <a:pt x="33225" y="98870"/>
                    </a:cubicBezTo>
                    <a:cubicBezTo>
                      <a:pt x="-525" y="77393"/>
                      <a:pt x="-3594" y="68188"/>
                      <a:pt x="2543" y="49780"/>
                    </a:cubicBezTo>
                    <a:cubicBezTo>
                      <a:pt x="8680" y="34439"/>
                      <a:pt x="27088" y="28302"/>
                      <a:pt x="36292" y="28302"/>
                    </a:cubicBezTo>
                    <a:cubicBezTo>
                      <a:pt x="36292" y="22166"/>
                      <a:pt x="39361" y="19098"/>
                      <a:pt x="42429" y="12961"/>
                    </a:cubicBezTo>
                    <a:lnTo>
                      <a:pt x="42429" y="9893"/>
                    </a:lnTo>
                    <a:cubicBezTo>
                      <a:pt x="45498" y="6825"/>
                      <a:pt x="48566" y="3757"/>
                      <a:pt x="54702" y="688"/>
                    </a:cubicBezTo>
                    <a:cubicBezTo>
                      <a:pt x="79247" y="-5448"/>
                      <a:pt x="134474" y="31370"/>
                      <a:pt x="140611" y="34439"/>
                    </a:cubicBezTo>
                    <a:cubicBezTo>
                      <a:pt x="143678" y="37507"/>
                      <a:pt x="143678" y="40575"/>
                      <a:pt x="140611" y="43643"/>
                    </a:cubicBezTo>
                    <a:cubicBezTo>
                      <a:pt x="137544" y="46711"/>
                      <a:pt x="134474" y="46711"/>
                      <a:pt x="131407" y="43643"/>
                    </a:cubicBezTo>
                    <a:cubicBezTo>
                      <a:pt x="109929" y="28302"/>
                      <a:pt x="70043" y="6825"/>
                      <a:pt x="54702" y="9893"/>
                    </a:cubicBezTo>
                    <a:cubicBezTo>
                      <a:pt x="51633" y="9893"/>
                      <a:pt x="51633" y="12961"/>
                      <a:pt x="51633" y="12961"/>
                    </a:cubicBezTo>
                    <a:lnTo>
                      <a:pt x="51633" y="16029"/>
                    </a:lnTo>
                    <a:cubicBezTo>
                      <a:pt x="48566" y="22166"/>
                      <a:pt x="45498" y="25234"/>
                      <a:pt x="48566" y="31370"/>
                    </a:cubicBezTo>
                    <a:cubicBezTo>
                      <a:pt x="54702" y="46711"/>
                      <a:pt x="82315" y="65120"/>
                      <a:pt x="134474" y="86598"/>
                    </a:cubicBezTo>
                    <a:cubicBezTo>
                      <a:pt x="134474" y="86598"/>
                      <a:pt x="143678" y="89666"/>
                      <a:pt x="143678" y="98870"/>
                    </a:cubicBezTo>
                    <a:cubicBezTo>
                      <a:pt x="143678" y="105006"/>
                      <a:pt x="143678" y="111143"/>
                      <a:pt x="137544" y="117279"/>
                    </a:cubicBezTo>
                    <a:cubicBezTo>
                      <a:pt x="134474" y="126484"/>
                      <a:pt x="128337" y="129552"/>
                      <a:pt x="116066" y="129552"/>
                    </a:cubicBezTo>
                    <a:close/>
                    <a:moveTo>
                      <a:pt x="39361" y="37507"/>
                    </a:moveTo>
                    <a:cubicBezTo>
                      <a:pt x="30157" y="40575"/>
                      <a:pt x="20951" y="43643"/>
                      <a:pt x="17884" y="52847"/>
                    </a:cubicBezTo>
                    <a:cubicBezTo>
                      <a:pt x="11747" y="65120"/>
                      <a:pt x="11747" y="68188"/>
                      <a:pt x="42429" y="86598"/>
                    </a:cubicBezTo>
                    <a:cubicBezTo>
                      <a:pt x="88451" y="114211"/>
                      <a:pt x="122203" y="123416"/>
                      <a:pt x="131407" y="111143"/>
                    </a:cubicBezTo>
                    <a:cubicBezTo>
                      <a:pt x="134474" y="108075"/>
                      <a:pt x="134474" y="105006"/>
                      <a:pt x="134474" y="101939"/>
                    </a:cubicBezTo>
                    <a:cubicBezTo>
                      <a:pt x="134474" y="98870"/>
                      <a:pt x="131407" y="98870"/>
                      <a:pt x="131407" y="98870"/>
                    </a:cubicBezTo>
                    <a:cubicBezTo>
                      <a:pt x="60839" y="68188"/>
                      <a:pt x="42429" y="49780"/>
                      <a:pt x="39361" y="3750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5AF71F58-DC69-4FE6-B538-D569B713C14C}"/>
                  </a:ext>
                </a:extLst>
              </p:cNvPr>
              <p:cNvSpPr/>
              <p:nvPr/>
            </p:nvSpPr>
            <p:spPr>
              <a:xfrm>
                <a:off x="21248736" y="9449397"/>
                <a:ext cx="124741" cy="93316"/>
              </a:xfrm>
              <a:custGeom>
                <a:avLst/>
                <a:gdLst>
                  <a:gd name="connsiteX0" fmla="*/ 101250 w 124741"/>
                  <a:gd name="connsiteY0" fmla="*/ 93316 h 93316"/>
                  <a:gd name="connsiteX1" fmla="*/ 101250 w 124741"/>
                  <a:gd name="connsiteY1" fmla="*/ 93316 h 93316"/>
                  <a:gd name="connsiteX2" fmla="*/ 18408 w 124741"/>
                  <a:gd name="connsiteY2" fmla="*/ 50362 h 93316"/>
                  <a:gd name="connsiteX3" fmla="*/ 0 w 124741"/>
                  <a:gd name="connsiteY3" fmla="*/ 19680 h 93316"/>
                  <a:gd name="connsiteX4" fmla="*/ 12272 w 124741"/>
                  <a:gd name="connsiteY4" fmla="*/ 1271 h 93316"/>
                  <a:gd name="connsiteX5" fmla="*/ 21478 w 124741"/>
                  <a:gd name="connsiteY5" fmla="*/ 4339 h 93316"/>
                  <a:gd name="connsiteX6" fmla="*/ 18408 w 124741"/>
                  <a:gd name="connsiteY6" fmla="*/ 13544 h 93316"/>
                  <a:gd name="connsiteX7" fmla="*/ 12272 w 124741"/>
                  <a:gd name="connsiteY7" fmla="*/ 22748 h 93316"/>
                  <a:gd name="connsiteX8" fmla="*/ 27613 w 124741"/>
                  <a:gd name="connsiteY8" fmla="*/ 44226 h 93316"/>
                  <a:gd name="connsiteX9" fmla="*/ 101250 w 124741"/>
                  <a:gd name="connsiteY9" fmla="*/ 84112 h 93316"/>
                  <a:gd name="connsiteX10" fmla="*/ 107386 w 124741"/>
                  <a:gd name="connsiteY10" fmla="*/ 81044 h 93316"/>
                  <a:gd name="connsiteX11" fmla="*/ 110454 w 124741"/>
                  <a:gd name="connsiteY11" fmla="*/ 62634 h 93316"/>
                  <a:gd name="connsiteX12" fmla="*/ 113523 w 124741"/>
                  <a:gd name="connsiteY12" fmla="*/ 53430 h 93316"/>
                  <a:gd name="connsiteX13" fmla="*/ 122727 w 124741"/>
                  <a:gd name="connsiteY13" fmla="*/ 56498 h 93316"/>
                  <a:gd name="connsiteX14" fmla="*/ 119658 w 124741"/>
                  <a:gd name="connsiteY14" fmla="*/ 87180 h 93316"/>
                  <a:gd name="connsiteX15" fmla="*/ 101250 w 124741"/>
                  <a:gd name="connsiteY15" fmla="*/ 93316 h 933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4741" h="93316">
                    <a:moveTo>
                      <a:pt x="101250" y="93316"/>
                    </a:moveTo>
                    <a:cubicBezTo>
                      <a:pt x="101250" y="93316"/>
                      <a:pt x="98182" y="93316"/>
                      <a:pt x="101250" y="93316"/>
                    </a:cubicBezTo>
                    <a:cubicBezTo>
                      <a:pt x="82841" y="90248"/>
                      <a:pt x="55227" y="77975"/>
                      <a:pt x="18408" y="50362"/>
                    </a:cubicBezTo>
                    <a:cubicBezTo>
                      <a:pt x="6137" y="38089"/>
                      <a:pt x="0" y="28885"/>
                      <a:pt x="0" y="19680"/>
                    </a:cubicBezTo>
                    <a:cubicBezTo>
                      <a:pt x="0" y="7407"/>
                      <a:pt x="12272" y="1271"/>
                      <a:pt x="12272" y="1271"/>
                    </a:cubicBezTo>
                    <a:cubicBezTo>
                      <a:pt x="15341" y="-1797"/>
                      <a:pt x="18408" y="1271"/>
                      <a:pt x="21478" y="4339"/>
                    </a:cubicBezTo>
                    <a:cubicBezTo>
                      <a:pt x="24545" y="7407"/>
                      <a:pt x="21478" y="10475"/>
                      <a:pt x="18408" y="13544"/>
                    </a:cubicBezTo>
                    <a:cubicBezTo>
                      <a:pt x="18408" y="13544"/>
                      <a:pt x="12272" y="16612"/>
                      <a:pt x="12272" y="22748"/>
                    </a:cubicBezTo>
                    <a:cubicBezTo>
                      <a:pt x="12272" y="28885"/>
                      <a:pt x="15341" y="35021"/>
                      <a:pt x="27613" y="44226"/>
                    </a:cubicBezTo>
                    <a:cubicBezTo>
                      <a:pt x="61364" y="71839"/>
                      <a:pt x="85909" y="81044"/>
                      <a:pt x="101250" y="84112"/>
                    </a:cubicBezTo>
                    <a:cubicBezTo>
                      <a:pt x="104317" y="84112"/>
                      <a:pt x="104317" y="84112"/>
                      <a:pt x="107386" y="81044"/>
                    </a:cubicBezTo>
                    <a:cubicBezTo>
                      <a:pt x="110454" y="74907"/>
                      <a:pt x="110454" y="65703"/>
                      <a:pt x="110454" y="62634"/>
                    </a:cubicBezTo>
                    <a:cubicBezTo>
                      <a:pt x="107386" y="59566"/>
                      <a:pt x="110454" y="56498"/>
                      <a:pt x="113523" y="53430"/>
                    </a:cubicBezTo>
                    <a:cubicBezTo>
                      <a:pt x="116591" y="53430"/>
                      <a:pt x="119658" y="53430"/>
                      <a:pt x="122727" y="56498"/>
                    </a:cubicBezTo>
                    <a:cubicBezTo>
                      <a:pt x="125795" y="65703"/>
                      <a:pt x="125795" y="77975"/>
                      <a:pt x="119658" y="87180"/>
                    </a:cubicBezTo>
                    <a:cubicBezTo>
                      <a:pt x="113523" y="90248"/>
                      <a:pt x="107386" y="93316"/>
                      <a:pt x="101250" y="9331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1FA30517-D1B9-4964-809E-C7113370B191}"/>
                </a:ext>
              </a:extLst>
            </p:cNvPr>
            <p:cNvSpPr/>
            <p:nvPr/>
          </p:nvSpPr>
          <p:spPr>
            <a:xfrm>
              <a:off x="21220323" y="9349418"/>
              <a:ext cx="132454" cy="129161"/>
            </a:xfrm>
            <a:custGeom>
              <a:avLst/>
              <a:gdLst>
                <a:gd name="connsiteX0" fmla="*/ 129662 w 132454"/>
                <a:gd name="connsiteY0" fmla="*/ 52159 h 129161"/>
                <a:gd name="connsiteX1" fmla="*/ 43754 w 132454"/>
                <a:gd name="connsiteY1" fmla="*/ 0 h 129161"/>
                <a:gd name="connsiteX2" fmla="*/ 798 w 132454"/>
                <a:gd name="connsiteY2" fmla="*/ 61364 h 129161"/>
                <a:gd name="connsiteX3" fmla="*/ 56025 w 132454"/>
                <a:gd name="connsiteY3" fmla="*/ 61364 h 129161"/>
                <a:gd name="connsiteX4" fmla="*/ 98980 w 132454"/>
                <a:gd name="connsiteY4" fmla="*/ 104318 h 129161"/>
                <a:gd name="connsiteX5" fmla="*/ 111254 w 132454"/>
                <a:gd name="connsiteY5" fmla="*/ 128864 h 129161"/>
                <a:gd name="connsiteX6" fmla="*/ 129662 w 132454"/>
                <a:gd name="connsiteY6" fmla="*/ 52159 h 129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454" h="129161">
                  <a:moveTo>
                    <a:pt x="129662" y="52159"/>
                  </a:moveTo>
                  <a:cubicBezTo>
                    <a:pt x="117389" y="21477"/>
                    <a:pt x="71366" y="3068"/>
                    <a:pt x="43754" y="0"/>
                  </a:cubicBezTo>
                  <a:cubicBezTo>
                    <a:pt x="25343" y="0"/>
                    <a:pt x="-5339" y="58295"/>
                    <a:pt x="798" y="61364"/>
                  </a:cubicBezTo>
                  <a:cubicBezTo>
                    <a:pt x="13072" y="61364"/>
                    <a:pt x="43754" y="58295"/>
                    <a:pt x="56025" y="61364"/>
                  </a:cubicBezTo>
                  <a:cubicBezTo>
                    <a:pt x="77503" y="67500"/>
                    <a:pt x="89776" y="82841"/>
                    <a:pt x="98980" y="104318"/>
                  </a:cubicBezTo>
                  <a:cubicBezTo>
                    <a:pt x="102048" y="110454"/>
                    <a:pt x="102048" y="131931"/>
                    <a:pt x="111254" y="128864"/>
                  </a:cubicBezTo>
                  <a:cubicBezTo>
                    <a:pt x="132730" y="125795"/>
                    <a:pt x="135799" y="67500"/>
                    <a:pt x="129662" y="52159"/>
                  </a:cubicBezTo>
                  <a:close/>
                </a:path>
              </a:pathLst>
            </a:custGeom>
            <a:solidFill>
              <a:srgbClr val="F5A39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DEF0C72E-AC6E-4995-8C79-C2928AF655D9}"/>
                </a:ext>
              </a:extLst>
            </p:cNvPr>
            <p:cNvSpPr/>
            <p:nvPr/>
          </p:nvSpPr>
          <p:spPr>
            <a:xfrm>
              <a:off x="21233395" y="9346350"/>
              <a:ext cx="126466" cy="138068"/>
            </a:xfrm>
            <a:custGeom>
              <a:avLst/>
              <a:gdLst>
                <a:gd name="connsiteX0" fmla="*/ 98182 w 126466"/>
                <a:gd name="connsiteY0" fmla="*/ 138068 h 138068"/>
                <a:gd name="connsiteX1" fmla="*/ 95113 w 126466"/>
                <a:gd name="connsiteY1" fmla="*/ 138068 h 138068"/>
                <a:gd name="connsiteX2" fmla="*/ 79772 w 126466"/>
                <a:gd name="connsiteY2" fmla="*/ 113523 h 138068"/>
                <a:gd name="connsiteX3" fmla="*/ 46023 w 126466"/>
                <a:gd name="connsiteY3" fmla="*/ 70568 h 138068"/>
                <a:gd name="connsiteX4" fmla="*/ 6137 w 126466"/>
                <a:gd name="connsiteY4" fmla="*/ 95114 h 138068"/>
                <a:gd name="connsiteX5" fmla="*/ 0 w 126466"/>
                <a:gd name="connsiteY5" fmla="*/ 88977 h 138068"/>
                <a:gd name="connsiteX6" fmla="*/ 6137 w 126466"/>
                <a:gd name="connsiteY6" fmla="*/ 82841 h 138068"/>
                <a:gd name="connsiteX7" fmla="*/ 36819 w 126466"/>
                <a:gd name="connsiteY7" fmla="*/ 61364 h 138068"/>
                <a:gd name="connsiteX8" fmla="*/ 42953 w 126466"/>
                <a:gd name="connsiteY8" fmla="*/ 58295 h 138068"/>
                <a:gd name="connsiteX9" fmla="*/ 88976 w 126466"/>
                <a:gd name="connsiteY9" fmla="*/ 110455 h 138068"/>
                <a:gd name="connsiteX10" fmla="*/ 98182 w 126466"/>
                <a:gd name="connsiteY10" fmla="*/ 128864 h 138068"/>
                <a:gd name="connsiteX11" fmla="*/ 101250 w 126466"/>
                <a:gd name="connsiteY11" fmla="*/ 125796 h 138068"/>
                <a:gd name="connsiteX12" fmla="*/ 110454 w 126466"/>
                <a:gd name="connsiteY12" fmla="*/ 58295 h 138068"/>
                <a:gd name="connsiteX13" fmla="*/ 30682 w 126466"/>
                <a:gd name="connsiteY13" fmla="*/ 12273 h 138068"/>
                <a:gd name="connsiteX14" fmla="*/ 24545 w 126466"/>
                <a:gd name="connsiteY14" fmla="*/ 6136 h 138068"/>
                <a:gd name="connsiteX15" fmla="*/ 30682 w 126466"/>
                <a:gd name="connsiteY15" fmla="*/ 0 h 138068"/>
                <a:gd name="connsiteX16" fmla="*/ 122727 w 126466"/>
                <a:gd name="connsiteY16" fmla="*/ 55227 h 138068"/>
                <a:gd name="connsiteX17" fmla="*/ 110454 w 126466"/>
                <a:gd name="connsiteY17" fmla="*/ 135000 h 138068"/>
                <a:gd name="connsiteX18" fmla="*/ 98182 w 126466"/>
                <a:gd name="connsiteY18" fmla="*/ 138068 h 138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466" h="138068">
                  <a:moveTo>
                    <a:pt x="98182" y="138068"/>
                  </a:moveTo>
                  <a:cubicBezTo>
                    <a:pt x="98182" y="138068"/>
                    <a:pt x="95113" y="138068"/>
                    <a:pt x="95113" y="138068"/>
                  </a:cubicBezTo>
                  <a:cubicBezTo>
                    <a:pt x="85909" y="135000"/>
                    <a:pt x="82841" y="125796"/>
                    <a:pt x="79772" y="113523"/>
                  </a:cubicBezTo>
                  <a:cubicBezTo>
                    <a:pt x="73635" y="98182"/>
                    <a:pt x="67500" y="79773"/>
                    <a:pt x="46023" y="70568"/>
                  </a:cubicBezTo>
                  <a:cubicBezTo>
                    <a:pt x="39886" y="76705"/>
                    <a:pt x="24545" y="95114"/>
                    <a:pt x="6137" y="95114"/>
                  </a:cubicBezTo>
                  <a:cubicBezTo>
                    <a:pt x="3067" y="95114"/>
                    <a:pt x="0" y="92045"/>
                    <a:pt x="0" y="88977"/>
                  </a:cubicBezTo>
                  <a:cubicBezTo>
                    <a:pt x="0" y="85909"/>
                    <a:pt x="3067" y="82841"/>
                    <a:pt x="6137" y="82841"/>
                  </a:cubicBezTo>
                  <a:cubicBezTo>
                    <a:pt x="18408" y="82841"/>
                    <a:pt x="33749" y="67500"/>
                    <a:pt x="36819" y="61364"/>
                  </a:cubicBezTo>
                  <a:cubicBezTo>
                    <a:pt x="36819" y="58295"/>
                    <a:pt x="39886" y="58295"/>
                    <a:pt x="42953" y="58295"/>
                  </a:cubicBezTo>
                  <a:cubicBezTo>
                    <a:pt x="73635" y="64432"/>
                    <a:pt x="82841" y="92045"/>
                    <a:pt x="88976" y="110455"/>
                  </a:cubicBezTo>
                  <a:cubicBezTo>
                    <a:pt x="92045" y="116591"/>
                    <a:pt x="95113" y="125796"/>
                    <a:pt x="98182" y="128864"/>
                  </a:cubicBezTo>
                  <a:cubicBezTo>
                    <a:pt x="98182" y="128864"/>
                    <a:pt x="101250" y="128864"/>
                    <a:pt x="101250" y="125796"/>
                  </a:cubicBezTo>
                  <a:cubicBezTo>
                    <a:pt x="110454" y="119659"/>
                    <a:pt x="116591" y="88977"/>
                    <a:pt x="110454" y="58295"/>
                  </a:cubicBezTo>
                  <a:cubicBezTo>
                    <a:pt x="101250" y="21477"/>
                    <a:pt x="30682" y="12273"/>
                    <a:pt x="30682" y="12273"/>
                  </a:cubicBezTo>
                  <a:cubicBezTo>
                    <a:pt x="27613" y="12273"/>
                    <a:pt x="24545" y="9205"/>
                    <a:pt x="24545" y="6136"/>
                  </a:cubicBezTo>
                  <a:cubicBezTo>
                    <a:pt x="24545" y="3068"/>
                    <a:pt x="27613" y="0"/>
                    <a:pt x="30682" y="0"/>
                  </a:cubicBezTo>
                  <a:cubicBezTo>
                    <a:pt x="33749" y="0"/>
                    <a:pt x="110454" y="9205"/>
                    <a:pt x="122727" y="55227"/>
                  </a:cubicBezTo>
                  <a:cubicBezTo>
                    <a:pt x="131931" y="88977"/>
                    <a:pt x="122727" y="122727"/>
                    <a:pt x="110454" y="135000"/>
                  </a:cubicBezTo>
                  <a:cubicBezTo>
                    <a:pt x="107386" y="138068"/>
                    <a:pt x="104317" y="138068"/>
                    <a:pt x="98182" y="138068"/>
                  </a:cubicBezTo>
                  <a:close/>
                </a:path>
              </a:pathLst>
            </a:custGeom>
            <a:solidFill>
              <a:srgbClr val="E58777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508AFACC-B376-4C01-90DF-48BCAC5D9AD0}"/>
                </a:ext>
              </a:extLst>
            </p:cNvPr>
            <p:cNvSpPr/>
            <p:nvPr/>
          </p:nvSpPr>
          <p:spPr>
            <a:xfrm>
              <a:off x="26024223" y="9800440"/>
              <a:ext cx="201104" cy="137174"/>
            </a:xfrm>
            <a:custGeom>
              <a:avLst/>
              <a:gdLst>
                <a:gd name="connsiteX0" fmla="*/ 201104 w 201104"/>
                <a:gd name="connsiteY0" fmla="*/ 0 h 137174"/>
                <a:gd name="connsiteX1" fmla="*/ 47695 w 201104"/>
                <a:gd name="connsiteY1" fmla="*/ 55228 h 137174"/>
                <a:gd name="connsiteX2" fmla="*/ 1672 w 201104"/>
                <a:gd name="connsiteY2" fmla="*/ 128864 h 137174"/>
                <a:gd name="connsiteX3" fmla="*/ 121330 w 201104"/>
                <a:gd name="connsiteY3" fmla="*/ 79773 h 137174"/>
                <a:gd name="connsiteX4" fmla="*/ 201104 w 201104"/>
                <a:gd name="connsiteY4" fmla="*/ 0 h 137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104" h="137174">
                  <a:moveTo>
                    <a:pt x="201104" y="0"/>
                  </a:moveTo>
                  <a:cubicBezTo>
                    <a:pt x="201104" y="0"/>
                    <a:pt x="72240" y="30682"/>
                    <a:pt x="47695" y="55228"/>
                  </a:cubicBezTo>
                  <a:cubicBezTo>
                    <a:pt x="23148" y="79773"/>
                    <a:pt x="-7534" y="113523"/>
                    <a:pt x="1672" y="128864"/>
                  </a:cubicBezTo>
                  <a:cubicBezTo>
                    <a:pt x="26218" y="165683"/>
                    <a:pt x="84512" y="67500"/>
                    <a:pt x="121330" y="79773"/>
                  </a:cubicBezTo>
                  <a:cubicBezTo>
                    <a:pt x="139741" y="79773"/>
                    <a:pt x="201104" y="0"/>
                    <a:pt x="201104" y="0"/>
                  </a:cubicBezTo>
                  <a:close/>
                </a:path>
              </a:pathLst>
            </a:custGeom>
            <a:solidFill>
              <a:srgbClr val="F49F84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5EC92D2B-8E2E-48A9-AF27-6B99FA82047E}"/>
                </a:ext>
              </a:extLst>
            </p:cNvPr>
            <p:cNvGrpSpPr/>
            <p:nvPr/>
          </p:nvGrpSpPr>
          <p:grpSpPr>
            <a:xfrm>
              <a:off x="26079918" y="9735815"/>
              <a:ext cx="330380" cy="306963"/>
              <a:chOff x="26079918" y="9735815"/>
              <a:chExt cx="330380" cy="306963"/>
            </a:xfrm>
          </p:grpSpPr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7A542024-9E46-4A21-854C-5D03C76EA539}"/>
                  </a:ext>
                </a:extLst>
              </p:cNvPr>
              <p:cNvSpPr/>
              <p:nvPr/>
            </p:nvSpPr>
            <p:spPr>
              <a:xfrm>
                <a:off x="26087683" y="9735815"/>
                <a:ext cx="322614" cy="306963"/>
              </a:xfrm>
              <a:custGeom>
                <a:avLst/>
                <a:gdLst>
                  <a:gd name="connsiteX0" fmla="*/ 312529 w 322614"/>
                  <a:gd name="connsiteY0" fmla="*/ 70762 h 306963"/>
                  <a:gd name="connsiteX1" fmla="*/ 189801 w 322614"/>
                  <a:gd name="connsiteY1" fmla="*/ 194 h 306963"/>
                  <a:gd name="connsiteX2" fmla="*/ 27188 w 322614"/>
                  <a:gd name="connsiteY2" fmla="*/ 168944 h 306963"/>
                  <a:gd name="connsiteX3" fmla="*/ 8780 w 322614"/>
                  <a:gd name="connsiteY3" fmla="*/ 233375 h 306963"/>
                  <a:gd name="connsiteX4" fmla="*/ 45598 w 322614"/>
                  <a:gd name="connsiteY4" fmla="*/ 245649 h 306963"/>
                  <a:gd name="connsiteX5" fmla="*/ 94688 w 322614"/>
                  <a:gd name="connsiteY5" fmla="*/ 276330 h 306963"/>
                  <a:gd name="connsiteX6" fmla="*/ 119233 w 322614"/>
                  <a:gd name="connsiteY6" fmla="*/ 300876 h 306963"/>
                  <a:gd name="connsiteX7" fmla="*/ 162189 w 322614"/>
                  <a:gd name="connsiteY7" fmla="*/ 285535 h 306963"/>
                  <a:gd name="connsiteX8" fmla="*/ 217416 w 322614"/>
                  <a:gd name="connsiteY8" fmla="*/ 294739 h 306963"/>
                  <a:gd name="connsiteX9" fmla="*/ 251165 w 322614"/>
                  <a:gd name="connsiteY9" fmla="*/ 211898 h 306963"/>
                  <a:gd name="connsiteX10" fmla="*/ 309461 w 322614"/>
                  <a:gd name="connsiteY10" fmla="*/ 122921 h 306963"/>
                  <a:gd name="connsiteX11" fmla="*/ 312529 w 322614"/>
                  <a:gd name="connsiteY11" fmla="*/ 70762 h 306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2614" h="306963">
                    <a:moveTo>
                      <a:pt x="312529" y="70762"/>
                    </a:moveTo>
                    <a:cubicBezTo>
                      <a:pt x="287983" y="30876"/>
                      <a:pt x="186734" y="-2874"/>
                      <a:pt x="189801" y="194"/>
                    </a:cubicBezTo>
                    <a:cubicBezTo>
                      <a:pt x="125370" y="73830"/>
                      <a:pt x="79347" y="86103"/>
                      <a:pt x="27188" y="168944"/>
                    </a:cubicBezTo>
                    <a:cubicBezTo>
                      <a:pt x="17984" y="181217"/>
                      <a:pt x="-15765" y="205762"/>
                      <a:pt x="8780" y="233375"/>
                    </a:cubicBezTo>
                    <a:cubicBezTo>
                      <a:pt x="14916" y="239512"/>
                      <a:pt x="30257" y="254853"/>
                      <a:pt x="45598" y="245649"/>
                    </a:cubicBezTo>
                    <a:cubicBezTo>
                      <a:pt x="42529" y="270194"/>
                      <a:pt x="82415" y="291671"/>
                      <a:pt x="94688" y="276330"/>
                    </a:cubicBezTo>
                    <a:cubicBezTo>
                      <a:pt x="94688" y="282466"/>
                      <a:pt x="110029" y="297807"/>
                      <a:pt x="119233" y="300876"/>
                    </a:cubicBezTo>
                    <a:cubicBezTo>
                      <a:pt x="137644" y="307012"/>
                      <a:pt x="149915" y="303944"/>
                      <a:pt x="162189" y="285535"/>
                    </a:cubicBezTo>
                    <a:cubicBezTo>
                      <a:pt x="174460" y="307012"/>
                      <a:pt x="199007" y="316216"/>
                      <a:pt x="217416" y="294739"/>
                    </a:cubicBezTo>
                    <a:cubicBezTo>
                      <a:pt x="241961" y="267125"/>
                      <a:pt x="232757" y="245649"/>
                      <a:pt x="251165" y="211898"/>
                    </a:cubicBezTo>
                    <a:cubicBezTo>
                      <a:pt x="269575" y="181217"/>
                      <a:pt x="291053" y="153603"/>
                      <a:pt x="309461" y="122921"/>
                    </a:cubicBezTo>
                    <a:cubicBezTo>
                      <a:pt x="324802" y="104512"/>
                      <a:pt x="327869" y="95307"/>
                      <a:pt x="312529" y="7076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C722116F-FB90-4307-8A4A-AFA21B157986}"/>
                  </a:ext>
                </a:extLst>
              </p:cNvPr>
              <p:cNvSpPr/>
              <p:nvPr/>
            </p:nvSpPr>
            <p:spPr>
              <a:xfrm>
                <a:off x="26079918" y="9835895"/>
                <a:ext cx="103817" cy="151704"/>
              </a:xfrm>
              <a:custGeom>
                <a:avLst/>
                <a:gdLst>
                  <a:gd name="connsiteX0" fmla="*/ 53364 w 103817"/>
                  <a:gd name="connsiteY0" fmla="*/ 151704 h 151704"/>
                  <a:gd name="connsiteX1" fmla="*/ 7341 w 103817"/>
                  <a:gd name="connsiteY1" fmla="*/ 136364 h 151704"/>
                  <a:gd name="connsiteX2" fmla="*/ 1204 w 103817"/>
                  <a:gd name="connsiteY2" fmla="*/ 108750 h 151704"/>
                  <a:gd name="connsiteX3" fmla="*/ 93250 w 103817"/>
                  <a:gd name="connsiteY3" fmla="*/ 1364 h 151704"/>
                  <a:gd name="connsiteX4" fmla="*/ 102454 w 103817"/>
                  <a:gd name="connsiteY4" fmla="*/ 1364 h 151704"/>
                  <a:gd name="connsiteX5" fmla="*/ 102454 w 103817"/>
                  <a:gd name="connsiteY5" fmla="*/ 10568 h 151704"/>
                  <a:gd name="connsiteX6" fmla="*/ 16545 w 103817"/>
                  <a:gd name="connsiteY6" fmla="*/ 111818 h 151704"/>
                  <a:gd name="connsiteX7" fmla="*/ 19612 w 103817"/>
                  <a:gd name="connsiteY7" fmla="*/ 130228 h 151704"/>
                  <a:gd name="connsiteX8" fmla="*/ 56431 w 103817"/>
                  <a:gd name="connsiteY8" fmla="*/ 142500 h 151704"/>
                  <a:gd name="connsiteX9" fmla="*/ 56431 w 103817"/>
                  <a:gd name="connsiteY9" fmla="*/ 142500 h 151704"/>
                  <a:gd name="connsiteX10" fmla="*/ 62568 w 103817"/>
                  <a:gd name="connsiteY10" fmla="*/ 148636 h 151704"/>
                  <a:gd name="connsiteX11" fmla="*/ 53364 w 103817"/>
                  <a:gd name="connsiteY11" fmla="*/ 151704 h 151704"/>
                  <a:gd name="connsiteX12" fmla="*/ 53364 w 103817"/>
                  <a:gd name="connsiteY12" fmla="*/ 151704 h 151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3817" h="151704">
                    <a:moveTo>
                      <a:pt x="53364" y="151704"/>
                    </a:moveTo>
                    <a:cubicBezTo>
                      <a:pt x="50294" y="151704"/>
                      <a:pt x="22682" y="151704"/>
                      <a:pt x="7341" y="136364"/>
                    </a:cubicBezTo>
                    <a:cubicBezTo>
                      <a:pt x="1204" y="130228"/>
                      <a:pt x="-1865" y="117954"/>
                      <a:pt x="1204" y="108750"/>
                    </a:cubicBezTo>
                    <a:cubicBezTo>
                      <a:pt x="10408" y="59659"/>
                      <a:pt x="90180" y="1364"/>
                      <a:pt x="93250" y="1364"/>
                    </a:cubicBezTo>
                    <a:cubicBezTo>
                      <a:pt x="96317" y="-1705"/>
                      <a:pt x="99386" y="1364"/>
                      <a:pt x="102454" y="1364"/>
                    </a:cubicBezTo>
                    <a:cubicBezTo>
                      <a:pt x="105521" y="4432"/>
                      <a:pt x="102454" y="7500"/>
                      <a:pt x="102454" y="10568"/>
                    </a:cubicBezTo>
                    <a:cubicBezTo>
                      <a:pt x="102454" y="10568"/>
                      <a:pt x="22682" y="68864"/>
                      <a:pt x="16545" y="111818"/>
                    </a:cubicBezTo>
                    <a:cubicBezTo>
                      <a:pt x="13476" y="117954"/>
                      <a:pt x="16545" y="124091"/>
                      <a:pt x="19612" y="130228"/>
                    </a:cubicBezTo>
                    <a:cubicBezTo>
                      <a:pt x="28817" y="139432"/>
                      <a:pt x="47227" y="142500"/>
                      <a:pt x="56431" y="142500"/>
                    </a:cubicBezTo>
                    <a:cubicBezTo>
                      <a:pt x="56431" y="142500"/>
                      <a:pt x="56431" y="142500"/>
                      <a:pt x="56431" y="142500"/>
                    </a:cubicBezTo>
                    <a:cubicBezTo>
                      <a:pt x="59498" y="142500"/>
                      <a:pt x="62568" y="145569"/>
                      <a:pt x="62568" y="148636"/>
                    </a:cubicBezTo>
                    <a:cubicBezTo>
                      <a:pt x="59498" y="148636"/>
                      <a:pt x="56431" y="151704"/>
                      <a:pt x="53364" y="151704"/>
                    </a:cubicBezTo>
                    <a:cubicBezTo>
                      <a:pt x="53364" y="151704"/>
                      <a:pt x="53364" y="151704"/>
                      <a:pt x="53364" y="15170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42CB67EC-24E2-4B7A-ABB3-501A3E64B0E6}"/>
                  </a:ext>
                </a:extLst>
              </p:cNvPr>
              <p:cNvSpPr/>
              <p:nvPr/>
            </p:nvSpPr>
            <p:spPr>
              <a:xfrm>
                <a:off x="26164730" y="9951549"/>
                <a:ext cx="98684" cy="42187"/>
              </a:xfrm>
              <a:custGeom>
                <a:avLst/>
                <a:gdLst>
                  <a:gd name="connsiteX0" fmla="*/ 91279 w 98684"/>
                  <a:gd name="connsiteY0" fmla="*/ 42188 h 42187"/>
                  <a:gd name="connsiteX1" fmla="*/ 91279 w 98684"/>
                  <a:gd name="connsiteY1" fmla="*/ 42188 h 42187"/>
                  <a:gd name="connsiteX2" fmla="*/ 2301 w 98684"/>
                  <a:gd name="connsiteY2" fmla="*/ 11506 h 42187"/>
                  <a:gd name="connsiteX3" fmla="*/ 2301 w 98684"/>
                  <a:gd name="connsiteY3" fmla="*/ 2301 h 42187"/>
                  <a:gd name="connsiteX4" fmla="*/ 11505 w 98684"/>
                  <a:gd name="connsiteY4" fmla="*/ 2301 h 42187"/>
                  <a:gd name="connsiteX5" fmla="*/ 94346 w 98684"/>
                  <a:gd name="connsiteY5" fmla="*/ 29915 h 42187"/>
                  <a:gd name="connsiteX6" fmla="*/ 97413 w 98684"/>
                  <a:gd name="connsiteY6" fmla="*/ 36051 h 42187"/>
                  <a:gd name="connsiteX7" fmla="*/ 91279 w 98684"/>
                  <a:gd name="connsiteY7" fmla="*/ 42188 h 42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684" h="42187">
                    <a:moveTo>
                      <a:pt x="91279" y="42188"/>
                    </a:moveTo>
                    <a:cubicBezTo>
                      <a:pt x="91279" y="42188"/>
                      <a:pt x="91279" y="42188"/>
                      <a:pt x="91279" y="42188"/>
                    </a:cubicBezTo>
                    <a:cubicBezTo>
                      <a:pt x="88209" y="42188"/>
                      <a:pt x="20709" y="26847"/>
                      <a:pt x="2301" y="11506"/>
                    </a:cubicBezTo>
                    <a:cubicBezTo>
                      <a:pt x="-767" y="8437"/>
                      <a:pt x="-767" y="5369"/>
                      <a:pt x="2301" y="2301"/>
                    </a:cubicBezTo>
                    <a:cubicBezTo>
                      <a:pt x="5368" y="-767"/>
                      <a:pt x="8437" y="-767"/>
                      <a:pt x="11505" y="2301"/>
                    </a:cubicBezTo>
                    <a:cubicBezTo>
                      <a:pt x="26846" y="11506"/>
                      <a:pt x="75938" y="26847"/>
                      <a:pt x="94346" y="29915"/>
                    </a:cubicBezTo>
                    <a:cubicBezTo>
                      <a:pt x="97413" y="29915"/>
                      <a:pt x="100483" y="32982"/>
                      <a:pt x="97413" y="36051"/>
                    </a:cubicBezTo>
                    <a:cubicBezTo>
                      <a:pt x="97413" y="42188"/>
                      <a:pt x="94346" y="42188"/>
                      <a:pt x="91279" y="421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339281D1-E5FB-42CB-97F7-284A80024C16}"/>
                </a:ext>
              </a:extLst>
            </p:cNvPr>
            <p:cNvSpPr/>
            <p:nvPr/>
          </p:nvSpPr>
          <p:spPr>
            <a:xfrm>
              <a:off x="25899901" y="8542891"/>
              <a:ext cx="764188" cy="1386413"/>
            </a:xfrm>
            <a:custGeom>
              <a:avLst/>
              <a:gdLst>
                <a:gd name="connsiteX0" fmla="*/ 33949 w 764188"/>
                <a:gd name="connsiteY0" fmla="*/ 24141 h 1386413"/>
                <a:gd name="connsiteX1" fmla="*/ 165880 w 764188"/>
                <a:gd name="connsiteY1" fmla="*/ 530391 h 1386413"/>
                <a:gd name="connsiteX2" fmla="*/ 475766 w 764188"/>
                <a:gd name="connsiteY2" fmla="*/ 812663 h 1386413"/>
                <a:gd name="connsiteX3" fmla="*/ 313153 w 764188"/>
                <a:gd name="connsiteY3" fmla="*/ 1269823 h 1386413"/>
                <a:gd name="connsiteX4" fmla="*/ 481903 w 764188"/>
                <a:gd name="connsiteY4" fmla="*/ 1386413 h 1386413"/>
                <a:gd name="connsiteX5" fmla="*/ 764176 w 764188"/>
                <a:gd name="connsiteY5" fmla="*/ 735959 h 1386413"/>
                <a:gd name="connsiteX6" fmla="*/ 33949 w 764188"/>
                <a:gd name="connsiteY6" fmla="*/ 24141 h 1386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4188" h="1386413">
                  <a:moveTo>
                    <a:pt x="33949" y="24141"/>
                  </a:moveTo>
                  <a:cubicBezTo>
                    <a:pt x="-70370" y="113118"/>
                    <a:pt x="92243" y="419936"/>
                    <a:pt x="165880" y="530391"/>
                  </a:cubicBezTo>
                  <a:cubicBezTo>
                    <a:pt x="230311" y="628572"/>
                    <a:pt x="475766" y="812663"/>
                    <a:pt x="475766" y="812663"/>
                  </a:cubicBezTo>
                  <a:lnTo>
                    <a:pt x="313153" y="1269823"/>
                  </a:lnTo>
                  <a:lnTo>
                    <a:pt x="481903" y="1386413"/>
                  </a:lnTo>
                  <a:cubicBezTo>
                    <a:pt x="481903" y="1386413"/>
                    <a:pt x="761106" y="864822"/>
                    <a:pt x="764176" y="735959"/>
                  </a:cubicBezTo>
                  <a:cubicBezTo>
                    <a:pt x="767243" y="594822"/>
                    <a:pt x="233381" y="-141542"/>
                    <a:pt x="33949" y="24141"/>
                  </a:cubicBezTo>
                  <a:close/>
                </a:path>
              </a:pathLst>
            </a:custGeom>
            <a:solidFill>
              <a:srgbClr val="D16156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FE5A8ECC-A436-4772-ADEF-9D563C1EAD43}"/>
                </a:ext>
              </a:extLst>
            </p:cNvPr>
            <p:cNvSpPr/>
            <p:nvPr/>
          </p:nvSpPr>
          <p:spPr>
            <a:xfrm>
              <a:off x="25893925" y="8533180"/>
              <a:ext cx="207907" cy="586124"/>
            </a:xfrm>
            <a:custGeom>
              <a:avLst/>
              <a:gdLst>
                <a:gd name="connsiteX0" fmla="*/ 199469 w 207907"/>
                <a:gd name="connsiteY0" fmla="*/ 583056 h 586124"/>
                <a:gd name="connsiteX1" fmla="*/ 196401 w 207907"/>
                <a:gd name="connsiteY1" fmla="*/ 579988 h 586124"/>
                <a:gd name="connsiteX2" fmla="*/ 37 w 207907"/>
                <a:gd name="connsiteY2" fmla="*/ 178056 h 586124"/>
                <a:gd name="connsiteX3" fmla="*/ 52196 w 207907"/>
                <a:gd name="connsiteY3" fmla="*/ 24647 h 586124"/>
                <a:gd name="connsiteX4" fmla="*/ 119697 w 207907"/>
                <a:gd name="connsiteY4" fmla="*/ 101 h 586124"/>
                <a:gd name="connsiteX5" fmla="*/ 125833 w 207907"/>
                <a:gd name="connsiteY5" fmla="*/ 6238 h 586124"/>
                <a:gd name="connsiteX6" fmla="*/ 119697 w 207907"/>
                <a:gd name="connsiteY6" fmla="*/ 12374 h 586124"/>
                <a:gd name="connsiteX7" fmla="*/ 61400 w 207907"/>
                <a:gd name="connsiteY7" fmla="*/ 33852 h 586124"/>
                <a:gd name="connsiteX8" fmla="*/ 12310 w 207907"/>
                <a:gd name="connsiteY8" fmla="*/ 181124 h 586124"/>
                <a:gd name="connsiteX9" fmla="*/ 205605 w 207907"/>
                <a:gd name="connsiteY9" fmla="*/ 576920 h 586124"/>
                <a:gd name="connsiteX10" fmla="*/ 205605 w 207907"/>
                <a:gd name="connsiteY10" fmla="*/ 586124 h 586124"/>
                <a:gd name="connsiteX11" fmla="*/ 199469 w 207907"/>
                <a:gd name="connsiteY11" fmla="*/ 583056 h 586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7907" h="586124">
                  <a:moveTo>
                    <a:pt x="199469" y="583056"/>
                  </a:moveTo>
                  <a:cubicBezTo>
                    <a:pt x="199469" y="583056"/>
                    <a:pt x="196401" y="583056"/>
                    <a:pt x="196401" y="579988"/>
                  </a:cubicBezTo>
                  <a:cubicBezTo>
                    <a:pt x="187197" y="570783"/>
                    <a:pt x="-3031" y="362147"/>
                    <a:pt x="37" y="178056"/>
                  </a:cubicBezTo>
                  <a:cubicBezTo>
                    <a:pt x="3106" y="104419"/>
                    <a:pt x="18447" y="52260"/>
                    <a:pt x="52196" y="24647"/>
                  </a:cubicBezTo>
                  <a:cubicBezTo>
                    <a:pt x="82878" y="-2967"/>
                    <a:pt x="116629" y="101"/>
                    <a:pt x="119697" y="101"/>
                  </a:cubicBezTo>
                  <a:cubicBezTo>
                    <a:pt x="122764" y="101"/>
                    <a:pt x="125833" y="3170"/>
                    <a:pt x="125833" y="6238"/>
                  </a:cubicBezTo>
                  <a:cubicBezTo>
                    <a:pt x="125833" y="9306"/>
                    <a:pt x="122764" y="12374"/>
                    <a:pt x="119697" y="12374"/>
                  </a:cubicBezTo>
                  <a:cubicBezTo>
                    <a:pt x="119697" y="12374"/>
                    <a:pt x="89015" y="9306"/>
                    <a:pt x="61400" y="33852"/>
                  </a:cubicBezTo>
                  <a:cubicBezTo>
                    <a:pt x="30719" y="61465"/>
                    <a:pt x="12310" y="110556"/>
                    <a:pt x="12310" y="181124"/>
                  </a:cubicBezTo>
                  <a:cubicBezTo>
                    <a:pt x="9243" y="362147"/>
                    <a:pt x="202538" y="573851"/>
                    <a:pt x="205605" y="576920"/>
                  </a:cubicBezTo>
                  <a:cubicBezTo>
                    <a:pt x="208675" y="579988"/>
                    <a:pt x="208675" y="583056"/>
                    <a:pt x="205605" y="586124"/>
                  </a:cubicBezTo>
                  <a:cubicBezTo>
                    <a:pt x="202538" y="583056"/>
                    <a:pt x="202538" y="583056"/>
                    <a:pt x="199469" y="583056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0" name="图形 1">
              <a:extLst>
                <a:ext uri="{FF2B5EF4-FFF2-40B4-BE49-F238E27FC236}">
                  <a16:creationId xmlns:a16="http://schemas.microsoft.com/office/drawing/2014/main" id="{77DBEA6F-DF01-4FCB-AE2E-335658C786D1}"/>
                </a:ext>
              </a:extLst>
            </p:cNvPr>
            <p:cNvGrpSpPr/>
            <p:nvPr/>
          </p:nvGrpSpPr>
          <p:grpSpPr>
            <a:xfrm>
              <a:off x="19631803" y="9806577"/>
              <a:ext cx="630247" cy="233182"/>
              <a:chOff x="19631803" y="9806577"/>
              <a:chExt cx="630247" cy="233182"/>
            </a:xfrm>
            <a:solidFill>
              <a:srgbClr val="38343B"/>
            </a:solidFill>
          </p:grpSpPr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30F63A60-A969-4690-A30A-77BD194727A2}"/>
                  </a:ext>
                </a:extLst>
              </p:cNvPr>
              <p:cNvSpPr/>
              <p:nvPr/>
            </p:nvSpPr>
            <p:spPr>
              <a:xfrm>
                <a:off x="19631803" y="9941577"/>
                <a:ext cx="630247" cy="98182"/>
              </a:xfrm>
              <a:custGeom>
                <a:avLst/>
                <a:gdLst>
                  <a:gd name="connsiteX0" fmla="*/ 625910 w 630247"/>
                  <a:gd name="connsiteY0" fmla="*/ 98182 h 98182"/>
                  <a:gd name="connsiteX1" fmla="*/ 625910 w 630247"/>
                  <a:gd name="connsiteY1" fmla="*/ 98182 h 98182"/>
                  <a:gd name="connsiteX2" fmla="*/ 288410 w 630247"/>
                  <a:gd name="connsiteY2" fmla="*/ 9205 h 98182"/>
                  <a:gd name="connsiteX3" fmla="*/ 6137 w 630247"/>
                  <a:gd name="connsiteY3" fmla="*/ 82841 h 98182"/>
                  <a:gd name="connsiteX4" fmla="*/ 0 w 630247"/>
                  <a:gd name="connsiteY4" fmla="*/ 79773 h 98182"/>
                  <a:gd name="connsiteX5" fmla="*/ 3067 w 630247"/>
                  <a:gd name="connsiteY5" fmla="*/ 73636 h 98182"/>
                  <a:gd name="connsiteX6" fmla="*/ 288410 w 630247"/>
                  <a:gd name="connsiteY6" fmla="*/ 0 h 98182"/>
                  <a:gd name="connsiteX7" fmla="*/ 288410 w 630247"/>
                  <a:gd name="connsiteY7" fmla="*/ 0 h 98182"/>
                  <a:gd name="connsiteX8" fmla="*/ 625910 w 630247"/>
                  <a:gd name="connsiteY8" fmla="*/ 88977 h 98182"/>
                  <a:gd name="connsiteX9" fmla="*/ 628977 w 630247"/>
                  <a:gd name="connsiteY9" fmla="*/ 95114 h 98182"/>
                  <a:gd name="connsiteX10" fmla="*/ 625910 w 630247"/>
                  <a:gd name="connsiteY10" fmla="*/ 98182 h 98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30247" h="98182">
                    <a:moveTo>
                      <a:pt x="625910" y="98182"/>
                    </a:moveTo>
                    <a:cubicBezTo>
                      <a:pt x="625910" y="98182"/>
                      <a:pt x="625910" y="98182"/>
                      <a:pt x="625910" y="98182"/>
                    </a:cubicBezTo>
                    <a:lnTo>
                      <a:pt x="288410" y="9205"/>
                    </a:lnTo>
                    <a:lnTo>
                      <a:pt x="6137" y="82841"/>
                    </a:lnTo>
                    <a:cubicBezTo>
                      <a:pt x="3067" y="82841"/>
                      <a:pt x="0" y="82841"/>
                      <a:pt x="0" y="79773"/>
                    </a:cubicBezTo>
                    <a:cubicBezTo>
                      <a:pt x="0" y="76705"/>
                      <a:pt x="0" y="73636"/>
                      <a:pt x="3067" y="73636"/>
                    </a:cubicBezTo>
                    <a:lnTo>
                      <a:pt x="288410" y="0"/>
                    </a:lnTo>
                    <a:lnTo>
                      <a:pt x="288410" y="0"/>
                    </a:lnTo>
                    <a:lnTo>
                      <a:pt x="625910" y="88977"/>
                    </a:lnTo>
                    <a:cubicBezTo>
                      <a:pt x="628977" y="88977"/>
                      <a:pt x="632045" y="92045"/>
                      <a:pt x="628977" y="95114"/>
                    </a:cubicBezTo>
                    <a:cubicBezTo>
                      <a:pt x="628977" y="95114"/>
                      <a:pt x="628977" y="98182"/>
                      <a:pt x="625910" y="981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3A30DC6A-2531-4609-8F7A-939589365D99}"/>
                  </a:ext>
                </a:extLst>
              </p:cNvPr>
              <p:cNvSpPr/>
              <p:nvPr/>
            </p:nvSpPr>
            <p:spPr>
              <a:xfrm>
                <a:off x="19861917" y="9806577"/>
                <a:ext cx="128864" cy="141136"/>
              </a:xfrm>
              <a:custGeom>
                <a:avLst/>
                <a:gdLst>
                  <a:gd name="connsiteX0" fmla="*/ 55227 w 128864"/>
                  <a:gd name="connsiteY0" fmla="*/ 141137 h 141136"/>
                  <a:gd name="connsiteX1" fmla="*/ 49090 w 128864"/>
                  <a:gd name="connsiteY1" fmla="*/ 138068 h 141136"/>
                  <a:gd name="connsiteX2" fmla="*/ 0 w 128864"/>
                  <a:gd name="connsiteY2" fmla="*/ 67500 h 141136"/>
                  <a:gd name="connsiteX3" fmla="*/ 0 w 128864"/>
                  <a:gd name="connsiteY3" fmla="*/ 64432 h 141136"/>
                  <a:gd name="connsiteX4" fmla="*/ 64431 w 128864"/>
                  <a:gd name="connsiteY4" fmla="*/ 0 h 141136"/>
                  <a:gd name="connsiteX5" fmla="*/ 64431 w 128864"/>
                  <a:gd name="connsiteY5" fmla="*/ 0 h 141136"/>
                  <a:gd name="connsiteX6" fmla="*/ 128864 w 128864"/>
                  <a:gd name="connsiteY6" fmla="*/ 64432 h 141136"/>
                  <a:gd name="connsiteX7" fmla="*/ 128864 w 128864"/>
                  <a:gd name="connsiteY7" fmla="*/ 76705 h 141136"/>
                  <a:gd name="connsiteX8" fmla="*/ 122727 w 128864"/>
                  <a:gd name="connsiteY8" fmla="*/ 82841 h 141136"/>
                  <a:gd name="connsiteX9" fmla="*/ 122727 w 128864"/>
                  <a:gd name="connsiteY9" fmla="*/ 82841 h 141136"/>
                  <a:gd name="connsiteX10" fmla="*/ 116591 w 128864"/>
                  <a:gd name="connsiteY10" fmla="*/ 76705 h 141136"/>
                  <a:gd name="connsiteX11" fmla="*/ 116591 w 128864"/>
                  <a:gd name="connsiteY11" fmla="*/ 64432 h 141136"/>
                  <a:gd name="connsiteX12" fmla="*/ 64431 w 128864"/>
                  <a:gd name="connsiteY12" fmla="*/ 9204 h 141136"/>
                  <a:gd name="connsiteX13" fmla="*/ 64431 w 128864"/>
                  <a:gd name="connsiteY13" fmla="*/ 9204 h 141136"/>
                  <a:gd name="connsiteX14" fmla="*/ 27614 w 128864"/>
                  <a:gd name="connsiteY14" fmla="*/ 24545 h 141136"/>
                  <a:gd name="connsiteX15" fmla="*/ 12273 w 128864"/>
                  <a:gd name="connsiteY15" fmla="*/ 61364 h 141136"/>
                  <a:gd name="connsiteX16" fmla="*/ 58296 w 128864"/>
                  <a:gd name="connsiteY16" fmla="*/ 128864 h 141136"/>
                  <a:gd name="connsiteX17" fmla="*/ 58296 w 128864"/>
                  <a:gd name="connsiteY17" fmla="*/ 138068 h 141136"/>
                  <a:gd name="connsiteX18" fmla="*/ 55227 w 128864"/>
                  <a:gd name="connsiteY18" fmla="*/ 141137 h 141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8864" h="141136">
                    <a:moveTo>
                      <a:pt x="55227" y="141137"/>
                    </a:moveTo>
                    <a:cubicBezTo>
                      <a:pt x="52159" y="141137"/>
                      <a:pt x="52159" y="141137"/>
                      <a:pt x="49090" y="138068"/>
                    </a:cubicBezTo>
                    <a:lnTo>
                      <a:pt x="0" y="67500"/>
                    </a:lnTo>
                    <a:lnTo>
                      <a:pt x="0" y="64432"/>
                    </a:lnTo>
                    <a:cubicBezTo>
                      <a:pt x="0" y="27613"/>
                      <a:pt x="30682" y="0"/>
                      <a:pt x="64431" y="0"/>
                    </a:cubicBezTo>
                    <a:cubicBezTo>
                      <a:pt x="64431" y="0"/>
                      <a:pt x="64431" y="0"/>
                      <a:pt x="64431" y="0"/>
                    </a:cubicBezTo>
                    <a:cubicBezTo>
                      <a:pt x="101250" y="0"/>
                      <a:pt x="128864" y="30682"/>
                      <a:pt x="128864" y="64432"/>
                    </a:cubicBezTo>
                    <a:lnTo>
                      <a:pt x="128864" y="76705"/>
                    </a:lnTo>
                    <a:cubicBezTo>
                      <a:pt x="128864" y="79773"/>
                      <a:pt x="125795" y="82841"/>
                      <a:pt x="122727" y="82841"/>
                    </a:cubicBezTo>
                    <a:cubicBezTo>
                      <a:pt x="122727" y="82841"/>
                      <a:pt x="122727" y="82841"/>
                      <a:pt x="122727" y="82841"/>
                    </a:cubicBezTo>
                    <a:cubicBezTo>
                      <a:pt x="119660" y="82841"/>
                      <a:pt x="116591" y="79773"/>
                      <a:pt x="116591" y="76705"/>
                    </a:cubicBezTo>
                    <a:lnTo>
                      <a:pt x="116591" y="64432"/>
                    </a:lnTo>
                    <a:cubicBezTo>
                      <a:pt x="116591" y="33750"/>
                      <a:pt x="92045" y="9204"/>
                      <a:pt x="64431" y="9204"/>
                    </a:cubicBezTo>
                    <a:cubicBezTo>
                      <a:pt x="64431" y="9204"/>
                      <a:pt x="64431" y="9204"/>
                      <a:pt x="64431" y="9204"/>
                    </a:cubicBezTo>
                    <a:cubicBezTo>
                      <a:pt x="49090" y="9204"/>
                      <a:pt x="36819" y="15341"/>
                      <a:pt x="27614" y="24545"/>
                    </a:cubicBezTo>
                    <a:cubicBezTo>
                      <a:pt x="18408" y="33750"/>
                      <a:pt x="12273" y="46023"/>
                      <a:pt x="12273" y="61364"/>
                    </a:cubicBezTo>
                    <a:lnTo>
                      <a:pt x="58296" y="128864"/>
                    </a:lnTo>
                    <a:cubicBezTo>
                      <a:pt x="61364" y="131931"/>
                      <a:pt x="58296" y="135000"/>
                      <a:pt x="58296" y="138068"/>
                    </a:cubicBezTo>
                    <a:cubicBezTo>
                      <a:pt x="58296" y="141137"/>
                      <a:pt x="58296" y="141137"/>
                      <a:pt x="55227" y="14113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1" name="图形 1">
              <a:extLst>
                <a:ext uri="{FF2B5EF4-FFF2-40B4-BE49-F238E27FC236}">
                  <a16:creationId xmlns:a16="http://schemas.microsoft.com/office/drawing/2014/main" id="{BEAEEFE1-37BB-45A6-B52C-46FB0A8F8AF4}"/>
                </a:ext>
              </a:extLst>
            </p:cNvPr>
            <p:cNvGrpSpPr/>
            <p:nvPr/>
          </p:nvGrpSpPr>
          <p:grpSpPr>
            <a:xfrm>
              <a:off x="19417031" y="9978395"/>
              <a:ext cx="1000226" cy="831477"/>
              <a:chOff x="19417031" y="9978395"/>
              <a:chExt cx="1000226" cy="831477"/>
            </a:xfrm>
          </p:grpSpPr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7DA5DFE7-045C-410A-AA1F-8C846D3836CE}"/>
                  </a:ext>
                </a:extLst>
              </p:cNvPr>
              <p:cNvSpPr/>
              <p:nvPr/>
            </p:nvSpPr>
            <p:spPr>
              <a:xfrm>
                <a:off x="19417031" y="9978395"/>
                <a:ext cx="1000226" cy="831477"/>
              </a:xfrm>
              <a:custGeom>
                <a:avLst/>
                <a:gdLst>
                  <a:gd name="connsiteX0" fmla="*/ 162613 w 1000226"/>
                  <a:gd name="connsiteY0" fmla="*/ 294546 h 831477"/>
                  <a:gd name="connsiteX1" fmla="*/ 116591 w 1000226"/>
                  <a:gd name="connsiteY1" fmla="*/ 312954 h 831477"/>
                  <a:gd name="connsiteX2" fmla="*/ 0 w 1000226"/>
                  <a:gd name="connsiteY2" fmla="*/ 165682 h 831477"/>
                  <a:gd name="connsiteX3" fmla="*/ 245455 w 1000226"/>
                  <a:gd name="connsiteY3" fmla="*/ 0 h 831477"/>
                  <a:gd name="connsiteX4" fmla="*/ 503183 w 1000226"/>
                  <a:gd name="connsiteY4" fmla="*/ 92045 h 831477"/>
                  <a:gd name="connsiteX5" fmla="*/ 763978 w 1000226"/>
                  <a:gd name="connsiteY5" fmla="*/ 9204 h 831477"/>
                  <a:gd name="connsiteX6" fmla="*/ 1000227 w 1000226"/>
                  <a:gd name="connsiteY6" fmla="*/ 181023 h 831477"/>
                  <a:gd name="connsiteX7" fmla="*/ 877499 w 1000226"/>
                  <a:gd name="connsiteY7" fmla="*/ 325227 h 831477"/>
                  <a:gd name="connsiteX8" fmla="*/ 822272 w 1000226"/>
                  <a:gd name="connsiteY8" fmla="*/ 300681 h 831477"/>
                  <a:gd name="connsiteX9" fmla="*/ 806931 w 1000226"/>
                  <a:gd name="connsiteY9" fmla="*/ 619772 h 831477"/>
                  <a:gd name="connsiteX10" fmla="*/ 871364 w 1000226"/>
                  <a:gd name="connsiteY10" fmla="*/ 831477 h 831477"/>
                  <a:gd name="connsiteX11" fmla="*/ 110454 w 1000226"/>
                  <a:gd name="connsiteY11" fmla="*/ 819204 h 831477"/>
                  <a:gd name="connsiteX12" fmla="*/ 174887 w 1000226"/>
                  <a:gd name="connsiteY12" fmla="*/ 570682 h 831477"/>
                  <a:gd name="connsiteX13" fmla="*/ 171817 w 1000226"/>
                  <a:gd name="connsiteY13" fmla="*/ 322159 h 831477"/>
                  <a:gd name="connsiteX14" fmla="*/ 162613 w 1000226"/>
                  <a:gd name="connsiteY14" fmla="*/ 294546 h 831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00226" h="831477">
                    <a:moveTo>
                      <a:pt x="162613" y="294546"/>
                    </a:moveTo>
                    <a:lnTo>
                      <a:pt x="116591" y="312954"/>
                    </a:lnTo>
                    <a:lnTo>
                      <a:pt x="0" y="165682"/>
                    </a:lnTo>
                    <a:cubicBezTo>
                      <a:pt x="42955" y="70568"/>
                      <a:pt x="245455" y="0"/>
                      <a:pt x="245455" y="0"/>
                    </a:cubicBezTo>
                    <a:lnTo>
                      <a:pt x="503183" y="92045"/>
                    </a:lnTo>
                    <a:lnTo>
                      <a:pt x="763978" y="9204"/>
                    </a:lnTo>
                    <a:cubicBezTo>
                      <a:pt x="763978" y="9204"/>
                      <a:pt x="963410" y="85909"/>
                      <a:pt x="1000227" y="181023"/>
                    </a:cubicBezTo>
                    <a:lnTo>
                      <a:pt x="877499" y="325227"/>
                    </a:lnTo>
                    <a:lnTo>
                      <a:pt x="822272" y="300681"/>
                    </a:lnTo>
                    <a:cubicBezTo>
                      <a:pt x="779319" y="401932"/>
                      <a:pt x="773182" y="515454"/>
                      <a:pt x="806931" y="619772"/>
                    </a:cubicBezTo>
                    <a:lnTo>
                      <a:pt x="871364" y="831477"/>
                    </a:lnTo>
                    <a:lnTo>
                      <a:pt x="110454" y="819204"/>
                    </a:lnTo>
                    <a:lnTo>
                      <a:pt x="174887" y="570682"/>
                    </a:lnTo>
                    <a:cubicBezTo>
                      <a:pt x="196364" y="487841"/>
                      <a:pt x="196364" y="401932"/>
                      <a:pt x="171817" y="322159"/>
                    </a:cubicBezTo>
                    <a:lnTo>
                      <a:pt x="162613" y="294546"/>
                    </a:lnTo>
                    <a:close/>
                  </a:path>
                </a:pathLst>
              </a:custGeom>
              <a:solidFill>
                <a:srgbClr val="708686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9B329560-D608-4ADF-AE7F-8E539674E60E}"/>
                  </a:ext>
                </a:extLst>
              </p:cNvPr>
              <p:cNvSpPr/>
              <p:nvPr/>
            </p:nvSpPr>
            <p:spPr>
              <a:xfrm>
                <a:off x="20197539" y="10156349"/>
                <a:ext cx="47316" cy="408068"/>
              </a:xfrm>
              <a:custGeom>
                <a:avLst/>
                <a:gdLst>
                  <a:gd name="connsiteX0" fmla="*/ 14152 w 47316"/>
                  <a:gd name="connsiteY0" fmla="*/ 408069 h 408068"/>
                  <a:gd name="connsiteX1" fmla="*/ 8015 w 47316"/>
                  <a:gd name="connsiteY1" fmla="*/ 401932 h 408068"/>
                  <a:gd name="connsiteX2" fmla="*/ 20286 w 47316"/>
                  <a:gd name="connsiteY2" fmla="*/ 165682 h 408068"/>
                  <a:gd name="connsiteX3" fmla="*/ 29493 w 47316"/>
                  <a:gd name="connsiteY3" fmla="*/ 6137 h 408068"/>
                  <a:gd name="connsiteX4" fmla="*/ 32560 w 47316"/>
                  <a:gd name="connsiteY4" fmla="*/ 0 h 408068"/>
                  <a:gd name="connsiteX5" fmla="*/ 38697 w 47316"/>
                  <a:gd name="connsiteY5" fmla="*/ 3068 h 408068"/>
                  <a:gd name="connsiteX6" fmla="*/ 29493 w 47316"/>
                  <a:gd name="connsiteY6" fmla="*/ 171818 h 408068"/>
                  <a:gd name="connsiteX7" fmla="*/ 20286 w 47316"/>
                  <a:gd name="connsiteY7" fmla="*/ 401932 h 408068"/>
                  <a:gd name="connsiteX8" fmla="*/ 14152 w 47316"/>
                  <a:gd name="connsiteY8" fmla="*/ 408069 h 408068"/>
                  <a:gd name="connsiteX9" fmla="*/ 14152 w 47316"/>
                  <a:gd name="connsiteY9" fmla="*/ 408069 h 408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7316" h="408068">
                    <a:moveTo>
                      <a:pt x="14152" y="408069"/>
                    </a:moveTo>
                    <a:cubicBezTo>
                      <a:pt x="11082" y="408069"/>
                      <a:pt x="8015" y="405000"/>
                      <a:pt x="8015" y="401932"/>
                    </a:cubicBezTo>
                    <a:cubicBezTo>
                      <a:pt x="8015" y="395795"/>
                      <a:pt x="-16530" y="248523"/>
                      <a:pt x="20286" y="165682"/>
                    </a:cubicBezTo>
                    <a:cubicBezTo>
                      <a:pt x="54038" y="85910"/>
                      <a:pt x="29493" y="6137"/>
                      <a:pt x="29493" y="6137"/>
                    </a:cubicBezTo>
                    <a:cubicBezTo>
                      <a:pt x="29493" y="3068"/>
                      <a:pt x="29493" y="0"/>
                      <a:pt x="32560" y="0"/>
                    </a:cubicBezTo>
                    <a:cubicBezTo>
                      <a:pt x="35627" y="0"/>
                      <a:pt x="38697" y="0"/>
                      <a:pt x="38697" y="3068"/>
                    </a:cubicBezTo>
                    <a:cubicBezTo>
                      <a:pt x="38697" y="6137"/>
                      <a:pt x="63242" y="88977"/>
                      <a:pt x="29493" y="171818"/>
                    </a:cubicBezTo>
                    <a:cubicBezTo>
                      <a:pt x="-4259" y="251591"/>
                      <a:pt x="20286" y="401932"/>
                      <a:pt x="20286" y="401932"/>
                    </a:cubicBezTo>
                    <a:cubicBezTo>
                      <a:pt x="20286" y="401932"/>
                      <a:pt x="17219" y="405000"/>
                      <a:pt x="14152" y="408069"/>
                    </a:cubicBezTo>
                    <a:cubicBezTo>
                      <a:pt x="14152" y="405000"/>
                      <a:pt x="14152" y="408069"/>
                      <a:pt x="14152" y="40806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7EC94360-348D-4B0F-B908-2B1148D2B432}"/>
                  </a:ext>
                </a:extLst>
              </p:cNvPr>
              <p:cNvSpPr/>
              <p:nvPr/>
            </p:nvSpPr>
            <p:spPr>
              <a:xfrm>
                <a:off x="19569212" y="10112124"/>
                <a:ext cx="39853" cy="418543"/>
              </a:xfrm>
              <a:custGeom>
                <a:avLst/>
                <a:gdLst>
                  <a:gd name="connsiteX0" fmla="*/ 28842 w 39853"/>
                  <a:gd name="connsiteY0" fmla="*/ 418544 h 418543"/>
                  <a:gd name="connsiteX1" fmla="*/ 28842 w 39853"/>
                  <a:gd name="connsiteY1" fmla="*/ 418544 h 418543"/>
                  <a:gd name="connsiteX2" fmla="*/ 22706 w 39853"/>
                  <a:gd name="connsiteY2" fmla="*/ 412407 h 418543"/>
                  <a:gd name="connsiteX3" fmla="*/ 4295 w 39853"/>
                  <a:gd name="connsiteY3" fmla="*/ 163884 h 418543"/>
                  <a:gd name="connsiteX4" fmla="*/ 19636 w 39853"/>
                  <a:gd name="connsiteY4" fmla="*/ 4339 h 418543"/>
                  <a:gd name="connsiteX5" fmla="*/ 25773 w 39853"/>
                  <a:gd name="connsiteY5" fmla="*/ 1271 h 418543"/>
                  <a:gd name="connsiteX6" fmla="*/ 28842 w 39853"/>
                  <a:gd name="connsiteY6" fmla="*/ 7408 h 418543"/>
                  <a:gd name="connsiteX7" fmla="*/ 13501 w 39853"/>
                  <a:gd name="connsiteY7" fmla="*/ 160817 h 418543"/>
                  <a:gd name="connsiteX8" fmla="*/ 31910 w 39853"/>
                  <a:gd name="connsiteY8" fmla="*/ 415476 h 418543"/>
                  <a:gd name="connsiteX9" fmla="*/ 28842 w 39853"/>
                  <a:gd name="connsiteY9" fmla="*/ 418544 h 418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9853" h="418543">
                    <a:moveTo>
                      <a:pt x="28842" y="418544"/>
                    </a:moveTo>
                    <a:cubicBezTo>
                      <a:pt x="28842" y="418544"/>
                      <a:pt x="25773" y="418544"/>
                      <a:pt x="28842" y="418544"/>
                    </a:cubicBezTo>
                    <a:cubicBezTo>
                      <a:pt x="25773" y="418544"/>
                      <a:pt x="22706" y="415476"/>
                      <a:pt x="22706" y="412407"/>
                    </a:cubicBezTo>
                    <a:cubicBezTo>
                      <a:pt x="41114" y="335703"/>
                      <a:pt x="19636" y="222180"/>
                      <a:pt x="4295" y="163884"/>
                    </a:cubicBezTo>
                    <a:cubicBezTo>
                      <a:pt x="-11045" y="105589"/>
                      <a:pt x="19636" y="7408"/>
                      <a:pt x="19636" y="4339"/>
                    </a:cubicBezTo>
                    <a:cubicBezTo>
                      <a:pt x="19636" y="1271"/>
                      <a:pt x="22706" y="-1797"/>
                      <a:pt x="25773" y="1271"/>
                    </a:cubicBezTo>
                    <a:cubicBezTo>
                      <a:pt x="28842" y="1271"/>
                      <a:pt x="31910" y="4339"/>
                      <a:pt x="28842" y="7408"/>
                    </a:cubicBezTo>
                    <a:cubicBezTo>
                      <a:pt x="28842" y="7408"/>
                      <a:pt x="-1839" y="105589"/>
                      <a:pt x="13501" y="160817"/>
                    </a:cubicBezTo>
                    <a:cubicBezTo>
                      <a:pt x="16569" y="176158"/>
                      <a:pt x="56455" y="317293"/>
                      <a:pt x="31910" y="415476"/>
                    </a:cubicBezTo>
                    <a:cubicBezTo>
                      <a:pt x="31910" y="415476"/>
                      <a:pt x="31910" y="418544"/>
                      <a:pt x="28842" y="41854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2" name="图形 1">
              <a:extLst>
                <a:ext uri="{FF2B5EF4-FFF2-40B4-BE49-F238E27FC236}">
                  <a16:creationId xmlns:a16="http://schemas.microsoft.com/office/drawing/2014/main" id="{6C369616-DEC6-4A1A-A623-43486E870A5D}"/>
                </a:ext>
              </a:extLst>
            </p:cNvPr>
            <p:cNvGrpSpPr/>
            <p:nvPr/>
          </p:nvGrpSpPr>
          <p:grpSpPr>
            <a:xfrm>
              <a:off x="19761776" y="9723580"/>
              <a:ext cx="283465" cy="238277"/>
              <a:chOff x="19761776" y="9723580"/>
              <a:chExt cx="283465" cy="238277"/>
            </a:xfrm>
          </p:grpSpPr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C13EA21F-CD14-4E83-82B1-CA8358311266}"/>
                  </a:ext>
                </a:extLst>
              </p:cNvPr>
              <p:cNvSpPr/>
              <p:nvPr/>
            </p:nvSpPr>
            <p:spPr>
              <a:xfrm>
                <a:off x="19761776" y="9723580"/>
                <a:ext cx="277884" cy="238277"/>
              </a:xfrm>
              <a:custGeom>
                <a:avLst/>
                <a:gdLst>
                  <a:gd name="connsiteX0" fmla="*/ 11163 w 277884"/>
                  <a:gd name="connsiteY0" fmla="*/ 95269 h 238277"/>
                  <a:gd name="connsiteX1" fmla="*/ 81733 w 277884"/>
                  <a:gd name="connsiteY1" fmla="*/ 178110 h 238277"/>
                  <a:gd name="connsiteX2" fmla="*/ 124686 w 277884"/>
                  <a:gd name="connsiteY2" fmla="*/ 233337 h 238277"/>
                  <a:gd name="connsiteX3" fmla="*/ 167642 w 277884"/>
                  <a:gd name="connsiteY3" fmla="*/ 214928 h 238277"/>
                  <a:gd name="connsiteX4" fmla="*/ 201391 w 277884"/>
                  <a:gd name="connsiteY4" fmla="*/ 217996 h 238277"/>
                  <a:gd name="connsiteX5" fmla="*/ 216732 w 277884"/>
                  <a:gd name="connsiteY5" fmla="*/ 193451 h 238277"/>
                  <a:gd name="connsiteX6" fmla="*/ 247414 w 277884"/>
                  <a:gd name="connsiteY6" fmla="*/ 159701 h 238277"/>
                  <a:gd name="connsiteX7" fmla="*/ 275028 w 277884"/>
                  <a:gd name="connsiteY7" fmla="*/ 141292 h 238277"/>
                  <a:gd name="connsiteX8" fmla="*/ 247414 w 277884"/>
                  <a:gd name="connsiteY8" fmla="*/ 95269 h 238277"/>
                  <a:gd name="connsiteX9" fmla="*/ 78664 w 277884"/>
                  <a:gd name="connsiteY9" fmla="*/ 155 h 238277"/>
                  <a:gd name="connsiteX10" fmla="*/ 5028 w 277884"/>
                  <a:gd name="connsiteY10" fmla="*/ 76860 h 238277"/>
                  <a:gd name="connsiteX11" fmla="*/ 11163 w 277884"/>
                  <a:gd name="connsiteY11" fmla="*/ 95269 h 238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7884" h="238277">
                    <a:moveTo>
                      <a:pt x="11163" y="95269"/>
                    </a:moveTo>
                    <a:cubicBezTo>
                      <a:pt x="32641" y="116747"/>
                      <a:pt x="32641" y="132088"/>
                      <a:pt x="81733" y="178110"/>
                    </a:cubicBezTo>
                    <a:cubicBezTo>
                      <a:pt x="103209" y="199587"/>
                      <a:pt x="100141" y="217996"/>
                      <a:pt x="124686" y="233337"/>
                    </a:cubicBezTo>
                    <a:cubicBezTo>
                      <a:pt x="143097" y="245610"/>
                      <a:pt x="161505" y="233337"/>
                      <a:pt x="167642" y="214928"/>
                    </a:cubicBezTo>
                    <a:cubicBezTo>
                      <a:pt x="179913" y="227202"/>
                      <a:pt x="189119" y="227202"/>
                      <a:pt x="201391" y="217996"/>
                    </a:cubicBezTo>
                    <a:cubicBezTo>
                      <a:pt x="207528" y="214928"/>
                      <a:pt x="216732" y="199587"/>
                      <a:pt x="216732" y="193451"/>
                    </a:cubicBezTo>
                    <a:cubicBezTo>
                      <a:pt x="229005" y="202656"/>
                      <a:pt x="256618" y="178110"/>
                      <a:pt x="247414" y="159701"/>
                    </a:cubicBezTo>
                    <a:cubicBezTo>
                      <a:pt x="262755" y="162770"/>
                      <a:pt x="268891" y="150497"/>
                      <a:pt x="275028" y="141292"/>
                    </a:cubicBezTo>
                    <a:cubicBezTo>
                      <a:pt x="287300" y="116747"/>
                      <a:pt x="256618" y="104474"/>
                      <a:pt x="247414" y="95269"/>
                    </a:cubicBezTo>
                    <a:cubicBezTo>
                      <a:pt x="189119" y="43111"/>
                      <a:pt x="143097" y="43111"/>
                      <a:pt x="78664" y="155"/>
                    </a:cubicBezTo>
                    <a:cubicBezTo>
                      <a:pt x="78664" y="-2912"/>
                      <a:pt x="17300" y="40042"/>
                      <a:pt x="5028" y="76860"/>
                    </a:cubicBezTo>
                    <a:cubicBezTo>
                      <a:pt x="-1108" y="98338"/>
                      <a:pt x="-4178" y="79928"/>
                      <a:pt x="11163" y="9526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3C2AACA7-99A6-4E3F-A408-51D40D93E54C}"/>
                  </a:ext>
                </a:extLst>
              </p:cNvPr>
              <p:cNvSpPr/>
              <p:nvPr/>
            </p:nvSpPr>
            <p:spPr>
              <a:xfrm>
                <a:off x="19941689" y="9775895"/>
                <a:ext cx="103552" cy="113523"/>
              </a:xfrm>
              <a:custGeom>
                <a:avLst/>
                <a:gdLst>
                  <a:gd name="connsiteX0" fmla="*/ 67500 w 103552"/>
                  <a:gd name="connsiteY0" fmla="*/ 113523 h 113523"/>
                  <a:gd name="connsiteX1" fmla="*/ 61364 w 103552"/>
                  <a:gd name="connsiteY1" fmla="*/ 110455 h 113523"/>
                  <a:gd name="connsiteX2" fmla="*/ 64433 w 103552"/>
                  <a:gd name="connsiteY2" fmla="*/ 104318 h 113523"/>
                  <a:gd name="connsiteX3" fmla="*/ 88978 w 103552"/>
                  <a:gd name="connsiteY3" fmla="*/ 88977 h 113523"/>
                  <a:gd name="connsiteX4" fmla="*/ 88978 w 103552"/>
                  <a:gd name="connsiteY4" fmla="*/ 73636 h 113523"/>
                  <a:gd name="connsiteX5" fmla="*/ 3069 w 103552"/>
                  <a:gd name="connsiteY5" fmla="*/ 12273 h 113523"/>
                  <a:gd name="connsiteX6" fmla="*/ 0 w 103552"/>
                  <a:gd name="connsiteY6" fmla="*/ 3068 h 113523"/>
                  <a:gd name="connsiteX7" fmla="*/ 9206 w 103552"/>
                  <a:gd name="connsiteY7" fmla="*/ 0 h 113523"/>
                  <a:gd name="connsiteX8" fmla="*/ 101252 w 103552"/>
                  <a:gd name="connsiteY8" fmla="*/ 67500 h 113523"/>
                  <a:gd name="connsiteX9" fmla="*/ 101252 w 103552"/>
                  <a:gd name="connsiteY9" fmla="*/ 92045 h 113523"/>
                  <a:gd name="connsiteX10" fmla="*/ 67500 w 103552"/>
                  <a:gd name="connsiteY10" fmla="*/ 113523 h 113523"/>
                  <a:gd name="connsiteX11" fmla="*/ 67500 w 103552"/>
                  <a:gd name="connsiteY11" fmla="*/ 113523 h 113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3552" h="113523">
                    <a:moveTo>
                      <a:pt x="67500" y="113523"/>
                    </a:moveTo>
                    <a:cubicBezTo>
                      <a:pt x="64433" y="113523"/>
                      <a:pt x="61364" y="110455"/>
                      <a:pt x="61364" y="110455"/>
                    </a:cubicBezTo>
                    <a:cubicBezTo>
                      <a:pt x="61364" y="107386"/>
                      <a:pt x="61364" y="104318"/>
                      <a:pt x="64433" y="104318"/>
                    </a:cubicBezTo>
                    <a:cubicBezTo>
                      <a:pt x="70570" y="104318"/>
                      <a:pt x="85911" y="98182"/>
                      <a:pt x="88978" y="88977"/>
                    </a:cubicBezTo>
                    <a:cubicBezTo>
                      <a:pt x="92045" y="85909"/>
                      <a:pt x="92045" y="79773"/>
                      <a:pt x="88978" y="73636"/>
                    </a:cubicBezTo>
                    <a:cubicBezTo>
                      <a:pt x="73637" y="42954"/>
                      <a:pt x="3069" y="12273"/>
                      <a:pt x="3069" y="12273"/>
                    </a:cubicBezTo>
                    <a:cubicBezTo>
                      <a:pt x="0" y="12273"/>
                      <a:pt x="0" y="6137"/>
                      <a:pt x="0" y="3068"/>
                    </a:cubicBezTo>
                    <a:cubicBezTo>
                      <a:pt x="0" y="0"/>
                      <a:pt x="6137" y="0"/>
                      <a:pt x="9206" y="0"/>
                    </a:cubicBezTo>
                    <a:cubicBezTo>
                      <a:pt x="12273" y="0"/>
                      <a:pt x="85911" y="30682"/>
                      <a:pt x="101252" y="67500"/>
                    </a:cubicBezTo>
                    <a:cubicBezTo>
                      <a:pt x="104319" y="76705"/>
                      <a:pt x="104319" y="82841"/>
                      <a:pt x="101252" y="92045"/>
                    </a:cubicBezTo>
                    <a:cubicBezTo>
                      <a:pt x="95115" y="107386"/>
                      <a:pt x="70570" y="113523"/>
                      <a:pt x="67500" y="113523"/>
                    </a:cubicBezTo>
                    <a:cubicBezTo>
                      <a:pt x="67500" y="113523"/>
                      <a:pt x="67500" y="113523"/>
                      <a:pt x="67500" y="11352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68ADC6A3-E896-4E22-8B69-2C84803A19E7}"/>
                  </a:ext>
                </a:extLst>
              </p:cNvPr>
              <p:cNvSpPr/>
              <p:nvPr/>
            </p:nvSpPr>
            <p:spPr>
              <a:xfrm>
                <a:off x="19907940" y="9868708"/>
                <a:ext cx="72869" cy="51392"/>
              </a:xfrm>
              <a:custGeom>
                <a:avLst/>
                <a:gdLst>
                  <a:gd name="connsiteX0" fmla="*/ 6137 w 72869"/>
                  <a:gd name="connsiteY0" fmla="*/ 51392 h 51392"/>
                  <a:gd name="connsiteX1" fmla="*/ 0 w 72869"/>
                  <a:gd name="connsiteY1" fmla="*/ 48324 h 51392"/>
                  <a:gd name="connsiteX2" fmla="*/ 3067 w 72869"/>
                  <a:gd name="connsiteY2" fmla="*/ 39119 h 51392"/>
                  <a:gd name="connsiteX3" fmla="*/ 61364 w 72869"/>
                  <a:gd name="connsiteY3" fmla="*/ 2301 h 51392"/>
                  <a:gd name="connsiteX4" fmla="*/ 70568 w 72869"/>
                  <a:gd name="connsiteY4" fmla="*/ 2301 h 51392"/>
                  <a:gd name="connsiteX5" fmla="*/ 70568 w 72869"/>
                  <a:gd name="connsiteY5" fmla="*/ 11505 h 51392"/>
                  <a:gd name="connsiteX6" fmla="*/ 6137 w 72869"/>
                  <a:gd name="connsiteY6" fmla="*/ 51392 h 51392"/>
                  <a:gd name="connsiteX7" fmla="*/ 6137 w 72869"/>
                  <a:gd name="connsiteY7" fmla="*/ 51392 h 51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2869" h="51392">
                    <a:moveTo>
                      <a:pt x="6137" y="51392"/>
                    </a:moveTo>
                    <a:cubicBezTo>
                      <a:pt x="3067" y="51392"/>
                      <a:pt x="3067" y="51392"/>
                      <a:pt x="0" y="48324"/>
                    </a:cubicBezTo>
                    <a:cubicBezTo>
                      <a:pt x="0" y="45256"/>
                      <a:pt x="0" y="42187"/>
                      <a:pt x="3067" y="39119"/>
                    </a:cubicBezTo>
                    <a:cubicBezTo>
                      <a:pt x="15341" y="32983"/>
                      <a:pt x="52159" y="11505"/>
                      <a:pt x="61364" y="2301"/>
                    </a:cubicBezTo>
                    <a:cubicBezTo>
                      <a:pt x="64431" y="-767"/>
                      <a:pt x="67500" y="-767"/>
                      <a:pt x="70568" y="2301"/>
                    </a:cubicBezTo>
                    <a:cubicBezTo>
                      <a:pt x="73637" y="5370"/>
                      <a:pt x="73637" y="8437"/>
                      <a:pt x="70568" y="11505"/>
                    </a:cubicBezTo>
                    <a:cubicBezTo>
                      <a:pt x="61364" y="23778"/>
                      <a:pt x="15341" y="48324"/>
                      <a:pt x="6137" y="51392"/>
                    </a:cubicBezTo>
                    <a:cubicBezTo>
                      <a:pt x="9204" y="51392"/>
                      <a:pt x="9204" y="51392"/>
                      <a:pt x="6137" y="5139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6D339622-B550-4F63-872C-8AD86903C025}"/>
                </a:ext>
              </a:extLst>
            </p:cNvPr>
            <p:cNvSpPr/>
            <p:nvPr/>
          </p:nvSpPr>
          <p:spPr>
            <a:xfrm>
              <a:off x="19389919" y="8739788"/>
              <a:ext cx="514953" cy="1106674"/>
            </a:xfrm>
            <a:custGeom>
              <a:avLst/>
              <a:gdLst>
                <a:gd name="connsiteX0" fmla="*/ 180520 w 514953"/>
                <a:gd name="connsiteY0" fmla="*/ 173948 h 1106674"/>
                <a:gd name="connsiteX1" fmla="*/ 404497 w 514953"/>
                <a:gd name="connsiteY1" fmla="*/ 5198 h 1106674"/>
                <a:gd name="connsiteX2" fmla="*/ 413702 w 514953"/>
                <a:gd name="connsiteY2" fmla="*/ 284402 h 1106674"/>
                <a:gd name="connsiteX3" fmla="*/ 238817 w 514953"/>
                <a:gd name="connsiteY3" fmla="*/ 661789 h 1106674"/>
                <a:gd name="connsiteX4" fmla="*/ 514953 w 514953"/>
                <a:gd name="connsiteY4" fmla="*/ 987016 h 1106674"/>
                <a:gd name="connsiteX5" fmla="*/ 392226 w 514953"/>
                <a:gd name="connsiteY5" fmla="*/ 1106675 h 1106674"/>
                <a:gd name="connsiteX6" fmla="*/ 2566 w 514953"/>
                <a:gd name="connsiteY6" fmla="*/ 701675 h 1106674"/>
                <a:gd name="connsiteX7" fmla="*/ 180520 w 514953"/>
                <a:gd name="connsiteY7" fmla="*/ 173948 h 1106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4953" h="1106674">
                  <a:moveTo>
                    <a:pt x="180520" y="173948"/>
                  </a:moveTo>
                  <a:cubicBezTo>
                    <a:pt x="290974" y="26675"/>
                    <a:pt x="324725" y="-16280"/>
                    <a:pt x="404497" y="5198"/>
                  </a:cubicBezTo>
                  <a:cubicBezTo>
                    <a:pt x="493475" y="29743"/>
                    <a:pt x="475065" y="167811"/>
                    <a:pt x="413702" y="284402"/>
                  </a:cubicBezTo>
                  <a:cubicBezTo>
                    <a:pt x="367679" y="376448"/>
                    <a:pt x="220406" y="637243"/>
                    <a:pt x="238817" y="661789"/>
                  </a:cubicBezTo>
                  <a:cubicBezTo>
                    <a:pt x="257225" y="723152"/>
                    <a:pt x="514953" y="987016"/>
                    <a:pt x="514953" y="987016"/>
                  </a:cubicBezTo>
                  <a:cubicBezTo>
                    <a:pt x="499612" y="1014629"/>
                    <a:pt x="392226" y="1106675"/>
                    <a:pt x="392226" y="1106675"/>
                  </a:cubicBezTo>
                  <a:cubicBezTo>
                    <a:pt x="392226" y="1106675"/>
                    <a:pt x="24044" y="778380"/>
                    <a:pt x="2566" y="701675"/>
                  </a:cubicBezTo>
                  <a:cubicBezTo>
                    <a:pt x="-15844" y="634175"/>
                    <a:pt x="66997" y="321220"/>
                    <a:pt x="180520" y="173948"/>
                  </a:cubicBezTo>
                  <a:close/>
                </a:path>
              </a:pathLst>
            </a:custGeom>
            <a:solidFill>
              <a:srgbClr val="6C5D68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78F30DAB-09F5-4AE3-B87C-2B12801BF89D}"/>
                </a:ext>
              </a:extLst>
            </p:cNvPr>
            <p:cNvSpPr/>
            <p:nvPr/>
          </p:nvSpPr>
          <p:spPr>
            <a:xfrm>
              <a:off x="19727684" y="8729645"/>
              <a:ext cx="142912" cy="426477"/>
            </a:xfrm>
            <a:custGeom>
              <a:avLst/>
              <a:gdLst>
                <a:gd name="connsiteX0" fmla="*/ 5369 w 142912"/>
                <a:gd name="connsiteY0" fmla="*/ 426478 h 426477"/>
                <a:gd name="connsiteX1" fmla="*/ 2302 w 142912"/>
                <a:gd name="connsiteY1" fmla="*/ 426478 h 426477"/>
                <a:gd name="connsiteX2" fmla="*/ 2302 w 142912"/>
                <a:gd name="connsiteY2" fmla="*/ 417273 h 426477"/>
                <a:gd name="connsiteX3" fmla="*/ 125029 w 142912"/>
                <a:gd name="connsiteY3" fmla="*/ 193296 h 426477"/>
                <a:gd name="connsiteX4" fmla="*/ 131166 w 142912"/>
                <a:gd name="connsiteY4" fmla="*/ 107386 h 426477"/>
                <a:gd name="connsiteX5" fmla="*/ 32984 w 142912"/>
                <a:gd name="connsiteY5" fmla="*/ 12273 h 426477"/>
                <a:gd name="connsiteX6" fmla="*/ 26847 w 142912"/>
                <a:gd name="connsiteY6" fmla="*/ 6137 h 426477"/>
                <a:gd name="connsiteX7" fmla="*/ 32984 w 142912"/>
                <a:gd name="connsiteY7" fmla="*/ 0 h 426477"/>
                <a:gd name="connsiteX8" fmla="*/ 140370 w 142912"/>
                <a:gd name="connsiteY8" fmla="*/ 104318 h 426477"/>
                <a:gd name="connsiteX9" fmla="*/ 134233 w 142912"/>
                <a:gd name="connsiteY9" fmla="*/ 193296 h 426477"/>
                <a:gd name="connsiteX10" fmla="*/ 8439 w 142912"/>
                <a:gd name="connsiteY10" fmla="*/ 420341 h 426477"/>
                <a:gd name="connsiteX11" fmla="*/ 5369 w 142912"/>
                <a:gd name="connsiteY11" fmla="*/ 426478 h 426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2912" h="426477">
                  <a:moveTo>
                    <a:pt x="5369" y="426478"/>
                  </a:moveTo>
                  <a:cubicBezTo>
                    <a:pt x="5369" y="426478"/>
                    <a:pt x="2302" y="426478"/>
                    <a:pt x="2302" y="426478"/>
                  </a:cubicBezTo>
                  <a:cubicBezTo>
                    <a:pt x="-767" y="423409"/>
                    <a:pt x="-767" y="420341"/>
                    <a:pt x="2302" y="417273"/>
                  </a:cubicBezTo>
                  <a:cubicBezTo>
                    <a:pt x="66733" y="343637"/>
                    <a:pt x="109688" y="266932"/>
                    <a:pt x="125029" y="193296"/>
                  </a:cubicBezTo>
                  <a:cubicBezTo>
                    <a:pt x="131166" y="168750"/>
                    <a:pt x="137301" y="138068"/>
                    <a:pt x="131166" y="107386"/>
                  </a:cubicBezTo>
                  <a:cubicBezTo>
                    <a:pt x="128097" y="82841"/>
                    <a:pt x="103552" y="21478"/>
                    <a:pt x="32984" y="12273"/>
                  </a:cubicBezTo>
                  <a:cubicBezTo>
                    <a:pt x="29914" y="12273"/>
                    <a:pt x="26847" y="9205"/>
                    <a:pt x="26847" y="6137"/>
                  </a:cubicBezTo>
                  <a:cubicBezTo>
                    <a:pt x="26847" y="3068"/>
                    <a:pt x="29914" y="0"/>
                    <a:pt x="32984" y="0"/>
                  </a:cubicBezTo>
                  <a:cubicBezTo>
                    <a:pt x="100484" y="9205"/>
                    <a:pt x="134233" y="67500"/>
                    <a:pt x="140370" y="104318"/>
                  </a:cubicBezTo>
                  <a:cubicBezTo>
                    <a:pt x="146507" y="135000"/>
                    <a:pt x="140370" y="168750"/>
                    <a:pt x="134233" y="193296"/>
                  </a:cubicBezTo>
                  <a:cubicBezTo>
                    <a:pt x="118893" y="270000"/>
                    <a:pt x="75937" y="346705"/>
                    <a:pt x="8439" y="420341"/>
                  </a:cubicBezTo>
                  <a:cubicBezTo>
                    <a:pt x="8439" y="426478"/>
                    <a:pt x="8439" y="426478"/>
                    <a:pt x="5369" y="426478"/>
                  </a:cubicBezTo>
                  <a:close/>
                </a:path>
              </a:pathLst>
            </a:custGeom>
            <a:solidFill>
              <a:srgbClr val="38343B"/>
            </a:solidFill>
            <a:ln w="30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13074941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" name="图形 1">
            <a:extLst>
              <a:ext uri="{FF2B5EF4-FFF2-40B4-BE49-F238E27FC236}">
                <a16:creationId xmlns:a16="http://schemas.microsoft.com/office/drawing/2014/main" id="{3F609A6D-6021-4C2A-A5BF-9D8A30C0C72C}"/>
              </a:ext>
            </a:extLst>
          </p:cNvPr>
          <p:cNvGrpSpPr/>
          <p:nvPr/>
        </p:nvGrpSpPr>
        <p:grpSpPr>
          <a:xfrm>
            <a:off x="3870489" y="2107465"/>
            <a:ext cx="5062832" cy="4737672"/>
            <a:chOff x="6327939" y="1783000"/>
            <a:chExt cx="5062832" cy="4737672"/>
          </a:xfrm>
        </p:grpSpPr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C29ECEC1-849E-4B94-B4C6-95B6630B6009}"/>
                </a:ext>
              </a:extLst>
            </p:cNvPr>
            <p:cNvSpPr/>
            <p:nvPr/>
          </p:nvSpPr>
          <p:spPr>
            <a:xfrm>
              <a:off x="8596556" y="3024248"/>
              <a:ext cx="217206" cy="226256"/>
            </a:xfrm>
            <a:custGeom>
              <a:avLst/>
              <a:gdLst>
                <a:gd name="connsiteX0" fmla="*/ 96536 w 217206"/>
                <a:gd name="connsiteY0" fmla="*/ 0 h 226256"/>
                <a:gd name="connsiteX1" fmla="*/ 0 w 217206"/>
                <a:gd name="connsiteY1" fmla="*/ 105587 h 226256"/>
                <a:gd name="connsiteX2" fmla="*/ 93520 w 217206"/>
                <a:gd name="connsiteY2" fmla="*/ 226257 h 226256"/>
                <a:gd name="connsiteX3" fmla="*/ 217207 w 217206"/>
                <a:gd name="connsiteY3" fmla="*/ 69386 h 226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206" h="226256">
                  <a:moveTo>
                    <a:pt x="96536" y="0"/>
                  </a:moveTo>
                  <a:lnTo>
                    <a:pt x="0" y="105587"/>
                  </a:lnTo>
                  <a:lnTo>
                    <a:pt x="93520" y="226257"/>
                  </a:lnTo>
                  <a:lnTo>
                    <a:pt x="217207" y="69386"/>
                  </a:ln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64C0BF56-708B-416B-ABA3-AEB3CA685340}"/>
                </a:ext>
              </a:extLst>
            </p:cNvPr>
            <p:cNvSpPr/>
            <p:nvPr/>
          </p:nvSpPr>
          <p:spPr>
            <a:xfrm>
              <a:off x="7632001" y="2592171"/>
              <a:ext cx="1151593" cy="1119925"/>
            </a:xfrm>
            <a:custGeom>
              <a:avLst/>
              <a:gdLst>
                <a:gd name="connsiteX0" fmla="*/ 71594 w 1151593"/>
                <a:gd name="connsiteY0" fmla="*/ 6714 h 1119925"/>
                <a:gd name="connsiteX1" fmla="*/ 421538 w 1151593"/>
                <a:gd name="connsiteY1" fmla="*/ 353641 h 1119925"/>
                <a:gd name="connsiteX2" fmla="*/ 614610 w 1151593"/>
                <a:gd name="connsiteY2" fmla="*/ 800121 h 1119925"/>
                <a:gd name="connsiteX3" fmla="*/ 1009806 w 1151593"/>
                <a:gd name="connsiteY3" fmla="*/ 429060 h 1119925"/>
                <a:gd name="connsiteX4" fmla="*/ 1151594 w 1151593"/>
                <a:gd name="connsiteY4" fmla="*/ 588948 h 1119925"/>
                <a:gd name="connsiteX5" fmla="*/ 602544 w 1151593"/>
                <a:gd name="connsiteY5" fmla="*/ 1119898 h 1119925"/>
                <a:gd name="connsiteX6" fmla="*/ 71594 w 1151593"/>
                <a:gd name="connsiteY6" fmla="*/ 6714 h 111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1593" h="1119925">
                  <a:moveTo>
                    <a:pt x="71594" y="6714"/>
                  </a:moveTo>
                  <a:cubicBezTo>
                    <a:pt x="195281" y="-47588"/>
                    <a:pt x="358186" y="242021"/>
                    <a:pt x="421538" y="353641"/>
                  </a:cubicBezTo>
                  <a:cubicBezTo>
                    <a:pt x="478856" y="453194"/>
                    <a:pt x="614610" y="800121"/>
                    <a:pt x="614610" y="800121"/>
                  </a:cubicBezTo>
                  <a:lnTo>
                    <a:pt x="1009806" y="429060"/>
                  </a:lnTo>
                  <a:lnTo>
                    <a:pt x="1151594" y="588948"/>
                  </a:lnTo>
                  <a:cubicBezTo>
                    <a:pt x="1151594" y="588948"/>
                    <a:pt x="729247" y="1116881"/>
                    <a:pt x="602544" y="1119898"/>
                  </a:cubicBezTo>
                  <a:cubicBezTo>
                    <a:pt x="385337" y="1125931"/>
                    <a:pt x="-202931" y="130401"/>
                    <a:pt x="71594" y="6714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43" name="图形 1">
              <a:extLst>
                <a:ext uri="{FF2B5EF4-FFF2-40B4-BE49-F238E27FC236}">
                  <a16:creationId xmlns:a16="http://schemas.microsoft.com/office/drawing/2014/main" id="{3F609A6D-6021-4C2A-A5BF-9D8A30C0C72C}"/>
                </a:ext>
              </a:extLst>
            </p:cNvPr>
            <p:cNvGrpSpPr/>
            <p:nvPr/>
          </p:nvGrpSpPr>
          <p:grpSpPr>
            <a:xfrm>
              <a:off x="7586947" y="6182796"/>
              <a:ext cx="490726" cy="337877"/>
              <a:chOff x="7586947" y="6182796"/>
              <a:chExt cx="490726" cy="337877"/>
            </a:xfrm>
          </p:grpSpPr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55D1DEE3-314F-45C2-8854-2218B0173B05}"/>
                  </a:ext>
                </a:extLst>
              </p:cNvPr>
              <p:cNvSpPr/>
              <p:nvPr/>
            </p:nvSpPr>
            <p:spPr>
              <a:xfrm>
                <a:off x="7604042" y="6182796"/>
                <a:ext cx="181005" cy="220223"/>
              </a:xfrm>
              <a:custGeom>
                <a:avLst/>
                <a:gdLst>
                  <a:gd name="connsiteX0" fmla="*/ 3016 w 181005"/>
                  <a:gd name="connsiteY0" fmla="*/ 181006 h 220223"/>
                  <a:gd name="connsiteX1" fmla="*/ 0 w 181005"/>
                  <a:gd name="connsiteY1" fmla="*/ 0 h 220223"/>
                  <a:gd name="connsiteX2" fmla="*/ 181006 w 181005"/>
                  <a:gd name="connsiteY2" fmla="*/ 0 h 220223"/>
                  <a:gd name="connsiteX3" fmla="*/ 165922 w 181005"/>
                  <a:gd name="connsiteY3" fmla="*/ 193072 h 220223"/>
                  <a:gd name="connsiteX4" fmla="*/ 15084 w 181005"/>
                  <a:gd name="connsiteY4" fmla="*/ 220224 h 220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005" h="220223">
                    <a:moveTo>
                      <a:pt x="3016" y="181006"/>
                    </a:moveTo>
                    <a:lnTo>
                      <a:pt x="0" y="0"/>
                    </a:lnTo>
                    <a:lnTo>
                      <a:pt x="181006" y="0"/>
                    </a:lnTo>
                    <a:lnTo>
                      <a:pt x="165922" y="193072"/>
                    </a:lnTo>
                    <a:lnTo>
                      <a:pt x="15084" y="220224"/>
                    </a:ln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598D0B03-2D04-4DEF-A5E2-7F35D652A28D}"/>
                  </a:ext>
                </a:extLst>
              </p:cNvPr>
              <p:cNvSpPr/>
              <p:nvPr/>
            </p:nvSpPr>
            <p:spPr>
              <a:xfrm>
                <a:off x="7586947" y="6318550"/>
                <a:ext cx="490726" cy="156871"/>
              </a:xfrm>
              <a:custGeom>
                <a:avLst/>
                <a:gdLst>
                  <a:gd name="connsiteX0" fmla="*/ 8045 w 490726"/>
                  <a:gd name="connsiteY0" fmla="*/ 45251 h 156871"/>
                  <a:gd name="connsiteX1" fmla="*/ 192067 w 490726"/>
                  <a:gd name="connsiteY1" fmla="*/ 0 h 156871"/>
                  <a:gd name="connsiteX2" fmla="*/ 324805 w 490726"/>
                  <a:gd name="connsiteY2" fmla="*/ 78435 h 156871"/>
                  <a:gd name="connsiteX3" fmla="*/ 490726 w 490726"/>
                  <a:gd name="connsiteY3" fmla="*/ 156871 h 156871"/>
                  <a:gd name="connsiteX4" fmla="*/ 8045 w 490726"/>
                  <a:gd name="connsiteY4" fmla="*/ 156871 h 156871"/>
                  <a:gd name="connsiteX5" fmla="*/ 8045 w 490726"/>
                  <a:gd name="connsiteY5" fmla="*/ 45251 h 156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0726" h="156871">
                    <a:moveTo>
                      <a:pt x="8045" y="45251"/>
                    </a:moveTo>
                    <a:cubicBezTo>
                      <a:pt x="8045" y="45251"/>
                      <a:pt x="131732" y="63352"/>
                      <a:pt x="192067" y="0"/>
                    </a:cubicBezTo>
                    <a:cubicBezTo>
                      <a:pt x="192067" y="0"/>
                      <a:pt x="279553" y="69386"/>
                      <a:pt x="324805" y="78435"/>
                    </a:cubicBezTo>
                    <a:cubicBezTo>
                      <a:pt x="370056" y="87486"/>
                      <a:pt x="478659" y="84469"/>
                      <a:pt x="490726" y="156871"/>
                    </a:cubicBezTo>
                    <a:lnTo>
                      <a:pt x="8045" y="156871"/>
                    </a:lnTo>
                    <a:cubicBezTo>
                      <a:pt x="8045" y="156871"/>
                      <a:pt x="-10056" y="96536"/>
                      <a:pt x="8045" y="45251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F5618D57-7F4A-4A01-8EFF-8506F5593156}"/>
                  </a:ext>
                </a:extLst>
              </p:cNvPr>
              <p:cNvSpPr/>
              <p:nvPr/>
            </p:nvSpPr>
            <p:spPr>
              <a:xfrm>
                <a:off x="7594991" y="6475421"/>
                <a:ext cx="482681" cy="45251"/>
              </a:xfrm>
              <a:custGeom>
                <a:avLst/>
                <a:gdLst>
                  <a:gd name="connsiteX0" fmla="*/ 0 w 482681"/>
                  <a:gd name="connsiteY0" fmla="*/ 0 h 45251"/>
                  <a:gd name="connsiteX1" fmla="*/ 482682 w 482681"/>
                  <a:gd name="connsiteY1" fmla="*/ 0 h 45251"/>
                  <a:gd name="connsiteX2" fmla="*/ 482682 w 482681"/>
                  <a:gd name="connsiteY2" fmla="*/ 45251 h 45251"/>
                  <a:gd name="connsiteX3" fmla="*/ 0 w 482681"/>
                  <a:gd name="connsiteY3" fmla="*/ 45251 h 45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2681" h="45251">
                    <a:moveTo>
                      <a:pt x="0" y="0"/>
                    </a:moveTo>
                    <a:lnTo>
                      <a:pt x="482682" y="0"/>
                    </a:lnTo>
                    <a:lnTo>
                      <a:pt x="482682" y="45251"/>
                    </a:lnTo>
                    <a:lnTo>
                      <a:pt x="0" y="45251"/>
                    </a:ln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6D1199E5-3861-470E-8FF6-B4FFDDA4F52B}"/>
                  </a:ext>
                </a:extLst>
              </p:cNvPr>
              <p:cNvSpPr/>
              <p:nvPr/>
            </p:nvSpPr>
            <p:spPr>
              <a:xfrm>
                <a:off x="7588958" y="6310254"/>
                <a:ext cx="198351" cy="62597"/>
              </a:xfrm>
              <a:custGeom>
                <a:avLst/>
                <a:gdLst>
                  <a:gd name="connsiteX0" fmla="*/ 42234 w 198351"/>
                  <a:gd name="connsiteY0" fmla="*/ 62598 h 62597"/>
                  <a:gd name="connsiteX1" fmla="*/ 6033 w 198351"/>
                  <a:gd name="connsiteY1" fmla="*/ 59581 h 62597"/>
                  <a:gd name="connsiteX2" fmla="*/ 0 w 198351"/>
                  <a:gd name="connsiteY2" fmla="*/ 53548 h 62597"/>
                  <a:gd name="connsiteX3" fmla="*/ 6033 w 198351"/>
                  <a:gd name="connsiteY3" fmla="*/ 47514 h 62597"/>
                  <a:gd name="connsiteX4" fmla="*/ 187039 w 198351"/>
                  <a:gd name="connsiteY4" fmla="*/ 2263 h 62597"/>
                  <a:gd name="connsiteX5" fmla="*/ 196089 w 198351"/>
                  <a:gd name="connsiteY5" fmla="*/ 2263 h 62597"/>
                  <a:gd name="connsiteX6" fmla="*/ 196089 w 198351"/>
                  <a:gd name="connsiteY6" fmla="*/ 11313 h 62597"/>
                  <a:gd name="connsiteX7" fmla="*/ 42234 w 198351"/>
                  <a:gd name="connsiteY7" fmla="*/ 62598 h 62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8351" h="62597">
                    <a:moveTo>
                      <a:pt x="42234" y="62598"/>
                    </a:moveTo>
                    <a:cubicBezTo>
                      <a:pt x="21117" y="62598"/>
                      <a:pt x="9050" y="59581"/>
                      <a:pt x="6033" y="59581"/>
                    </a:cubicBezTo>
                    <a:cubicBezTo>
                      <a:pt x="3016" y="59581"/>
                      <a:pt x="0" y="56564"/>
                      <a:pt x="0" y="53548"/>
                    </a:cubicBezTo>
                    <a:cubicBezTo>
                      <a:pt x="0" y="50531"/>
                      <a:pt x="3016" y="47514"/>
                      <a:pt x="6033" y="47514"/>
                    </a:cubicBezTo>
                    <a:cubicBezTo>
                      <a:pt x="6033" y="47514"/>
                      <a:pt x="117653" y="62598"/>
                      <a:pt x="187039" y="2263"/>
                    </a:cubicBezTo>
                    <a:cubicBezTo>
                      <a:pt x="190056" y="-754"/>
                      <a:pt x="193072" y="-754"/>
                      <a:pt x="196089" y="2263"/>
                    </a:cubicBezTo>
                    <a:cubicBezTo>
                      <a:pt x="199106" y="5279"/>
                      <a:pt x="199106" y="8296"/>
                      <a:pt x="196089" y="11313"/>
                    </a:cubicBezTo>
                    <a:cubicBezTo>
                      <a:pt x="144804" y="53548"/>
                      <a:pt x="81452" y="62598"/>
                      <a:pt x="42234" y="6259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5FDBAD71-A8F9-4E9A-9A5C-99593E20C5B7}"/>
                  </a:ext>
                </a:extLst>
              </p:cNvPr>
              <p:cNvSpPr/>
              <p:nvPr/>
            </p:nvSpPr>
            <p:spPr>
              <a:xfrm>
                <a:off x="7782785" y="6334388"/>
                <a:ext cx="40726" cy="41480"/>
              </a:xfrm>
              <a:custGeom>
                <a:avLst/>
                <a:gdLst>
                  <a:gd name="connsiteX0" fmla="*/ 5279 w 40726"/>
                  <a:gd name="connsiteY0" fmla="*/ 41480 h 41480"/>
                  <a:gd name="connsiteX1" fmla="*/ 2263 w 40726"/>
                  <a:gd name="connsiteY1" fmla="*/ 38464 h 41480"/>
                  <a:gd name="connsiteX2" fmla="*/ 2263 w 40726"/>
                  <a:gd name="connsiteY2" fmla="*/ 29413 h 41480"/>
                  <a:gd name="connsiteX3" fmla="*/ 29413 w 40726"/>
                  <a:gd name="connsiteY3" fmla="*/ 2262 h 41480"/>
                  <a:gd name="connsiteX4" fmla="*/ 38464 w 40726"/>
                  <a:gd name="connsiteY4" fmla="*/ 2262 h 41480"/>
                  <a:gd name="connsiteX5" fmla="*/ 38464 w 40726"/>
                  <a:gd name="connsiteY5" fmla="*/ 11313 h 41480"/>
                  <a:gd name="connsiteX6" fmla="*/ 11313 w 40726"/>
                  <a:gd name="connsiteY6" fmla="*/ 38464 h 41480"/>
                  <a:gd name="connsiteX7" fmla="*/ 5279 w 40726"/>
                  <a:gd name="connsiteY7" fmla="*/ 41480 h 4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726" h="41480">
                    <a:moveTo>
                      <a:pt x="5279" y="41480"/>
                    </a:moveTo>
                    <a:cubicBezTo>
                      <a:pt x="5279" y="41480"/>
                      <a:pt x="2263" y="41480"/>
                      <a:pt x="2263" y="38464"/>
                    </a:cubicBezTo>
                    <a:cubicBezTo>
                      <a:pt x="-754" y="35447"/>
                      <a:pt x="-754" y="32430"/>
                      <a:pt x="2263" y="29413"/>
                    </a:cubicBezTo>
                    <a:lnTo>
                      <a:pt x="29413" y="2262"/>
                    </a:lnTo>
                    <a:cubicBezTo>
                      <a:pt x="32430" y="-754"/>
                      <a:pt x="35447" y="-754"/>
                      <a:pt x="38464" y="2262"/>
                    </a:cubicBezTo>
                    <a:cubicBezTo>
                      <a:pt x="41480" y="5279"/>
                      <a:pt x="41480" y="8296"/>
                      <a:pt x="38464" y="11313"/>
                    </a:cubicBezTo>
                    <a:lnTo>
                      <a:pt x="11313" y="38464"/>
                    </a:lnTo>
                    <a:cubicBezTo>
                      <a:pt x="8296" y="41480"/>
                      <a:pt x="8296" y="41480"/>
                      <a:pt x="5279" y="4148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CDB4BEB0-2EA3-4308-8896-0B8851CABACE}"/>
                  </a:ext>
                </a:extLst>
              </p:cNvPr>
              <p:cNvSpPr/>
              <p:nvPr/>
            </p:nvSpPr>
            <p:spPr>
              <a:xfrm>
                <a:off x="7822003" y="6361538"/>
                <a:ext cx="37709" cy="41480"/>
              </a:xfrm>
              <a:custGeom>
                <a:avLst/>
                <a:gdLst>
                  <a:gd name="connsiteX0" fmla="*/ 5279 w 37709"/>
                  <a:gd name="connsiteY0" fmla="*/ 41481 h 41480"/>
                  <a:gd name="connsiteX1" fmla="*/ 2262 w 37709"/>
                  <a:gd name="connsiteY1" fmla="*/ 38464 h 41480"/>
                  <a:gd name="connsiteX2" fmla="*/ 2262 w 37709"/>
                  <a:gd name="connsiteY2" fmla="*/ 29413 h 41480"/>
                  <a:gd name="connsiteX3" fmla="*/ 26397 w 37709"/>
                  <a:gd name="connsiteY3" fmla="*/ 2263 h 41480"/>
                  <a:gd name="connsiteX4" fmla="*/ 35447 w 37709"/>
                  <a:gd name="connsiteY4" fmla="*/ 2263 h 41480"/>
                  <a:gd name="connsiteX5" fmla="*/ 35447 w 37709"/>
                  <a:gd name="connsiteY5" fmla="*/ 11313 h 41480"/>
                  <a:gd name="connsiteX6" fmla="*/ 11313 w 37709"/>
                  <a:gd name="connsiteY6" fmla="*/ 38464 h 41480"/>
                  <a:gd name="connsiteX7" fmla="*/ 5279 w 37709"/>
                  <a:gd name="connsiteY7" fmla="*/ 41481 h 4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709" h="41480">
                    <a:moveTo>
                      <a:pt x="5279" y="41481"/>
                    </a:moveTo>
                    <a:cubicBezTo>
                      <a:pt x="5279" y="41481"/>
                      <a:pt x="2262" y="41481"/>
                      <a:pt x="2262" y="38464"/>
                    </a:cubicBezTo>
                    <a:cubicBezTo>
                      <a:pt x="-754" y="35447"/>
                      <a:pt x="-754" y="32430"/>
                      <a:pt x="2262" y="29413"/>
                    </a:cubicBezTo>
                    <a:lnTo>
                      <a:pt x="26397" y="2263"/>
                    </a:lnTo>
                    <a:cubicBezTo>
                      <a:pt x="29413" y="-754"/>
                      <a:pt x="32430" y="-754"/>
                      <a:pt x="35447" y="2263"/>
                    </a:cubicBezTo>
                    <a:cubicBezTo>
                      <a:pt x="38464" y="5279"/>
                      <a:pt x="38464" y="8296"/>
                      <a:pt x="35447" y="11313"/>
                    </a:cubicBezTo>
                    <a:lnTo>
                      <a:pt x="11313" y="38464"/>
                    </a:lnTo>
                    <a:cubicBezTo>
                      <a:pt x="8296" y="41481"/>
                      <a:pt x="5279" y="41481"/>
                      <a:pt x="5279" y="4148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50" name="图形 1">
              <a:extLst>
                <a:ext uri="{FF2B5EF4-FFF2-40B4-BE49-F238E27FC236}">
                  <a16:creationId xmlns:a16="http://schemas.microsoft.com/office/drawing/2014/main" id="{3F609A6D-6021-4C2A-A5BF-9D8A30C0C72C}"/>
                </a:ext>
              </a:extLst>
            </p:cNvPr>
            <p:cNvGrpSpPr/>
            <p:nvPr/>
          </p:nvGrpSpPr>
          <p:grpSpPr>
            <a:xfrm>
              <a:off x="6881025" y="6182796"/>
              <a:ext cx="490726" cy="337877"/>
              <a:chOff x="6881025" y="6182796"/>
              <a:chExt cx="490726" cy="337877"/>
            </a:xfrm>
          </p:grpSpPr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BBC2C4B9-F075-4FCA-A789-43544FFE2CF3}"/>
                  </a:ext>
                </a:extLst>
              </p:cNvPr>
              <p:cNvSpPr/>
              <p:nvPr/>
            </p:nvSpPr>
            <p:spPr>
              <a:xfrm>
                <a:off x="6886053" y="6182796"/>
                <a:ext cx="181005" cy="220223"/>
              </a:xfrm>
              <a:custGeom>
                <a:avLst/>
                <a:gdLst>
                  <a:gd name="connsiteX0" fmla="*/ 18100 w 181005"/>
                  <a:gd name="connsiteY0" fmla="*/ 181006 h 220223"/>
                  <a:gd name="connsiteX1" fmla="*/ 0 w 181005"/>
                  <a:gd name="connsiteY1" fmla="*/ 0 h 220223"/>
                  <a:gd name="connsiteX2" fmla="*/ 181006 w 181005"/>
                  <a:gd name="connsiteY2" fmla="*/ 0 h 220223"/>
                  <a:gd name="connsiteX3" fmla="*/ 177989 w 181005"/>
                  <a:gd name="connsiteY3" fmla="*/ 193072 h 220223"/>
                  <a:gd name="connsiteX4" fmla="*/ 30168 w 181005"/>
                  <a:gd name="connsiteY4" fmla="*/ 220224 h 220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005" h="220223">
                    <a:moveTo>
                      <a:pt x="18100" y="181006"/>
                    </a:moveTo>
                    <a:lnTo>
                      <a:pt x="0" y="0"/>
                    </a:lnTo>
                    <a:lnTo>
                      <a:pt x="181006" y="0"/>
                    </a:lnTo>
                    <a:lnTo>
                      <a:pt x="177989" y="193072"/>
                    </a:lnTo>
                    <a:lnTo>
                      <a:pt x="30168" y="220224"/>
                    </a:ln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68B9ED34-1F35-493F-A57E-06A60E21CAA3}"/>
                  </a:ext>
                </a:extLst>
              </p:cNvPr>
              <p:cNvSpPr/>
              <p:nvPr/>
            </p:nvSpPr>
            <p:spPr>
              <a:xfrm>
                <a:off x="6881025" y="6318550"/>
                <a:ext cx="490726" cy="156871"/>
              </a:xfrm>
              <a:custGeom>
                <a:avLst/>
                <a:gdLst>
                  <a:gd name="connsiteX0" fmla="*/ 8045 w 490726"/>
                  <a:gd name="connsiteY0" fmla="*/ 45251 h 156871"/>
                  <a:gd name="connsiteX1" fmla="*/ 192067 w 490726"/>
                  <a:gd name="connsiteY1" fmla="*/ 0 h 156871"/>
                  <a:gd name="connsiteX2" fmla="*/ 324804 w 490726"/>
                  <a:gd name="connsiteY2" fmla="*/ 78435 h 156871"/>
                  <a:gd name="connsiteX3" fmla="*/ 490726 w 490726"/>
                  <a:gd name="connsiteY3" fmla="*/ 156871 h 156871"/>
                  <a:gd name="connsiteX4" fmla="*/ 8045 w 490726"/>
                  <a:gd name="connsiteY4" fmla="*/ 156871 h 156871"/>
                  <a:gd name="connsiteX5" fmla="*/ 8045 w 490726"/>
                  <a:gd name="connsiteY5" fmla="*/ 45251 h 156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0726" h="156871">
                    <a:moveTo>
                      <a:pt x="8045" y="45251"/>
                    </a:moveTo>
                    <a:cubicBezTo>
                      <a:pt x="8045" y="45251"/>
                      <a:pt x="131732" y="63352"/>
                      <a:pt x="192067" y="0"/>
                    </a:cubicBezTo>
                    <a:cubicBezTo>
                      <a:pt x="192067" y="0"/>
                      <a:pt x="279553" y="69386"/>
                      <a:pt x="324804" y="78435"/>
                    </a:cubicBezTo>
                    <a:cubicBezTo>
                      <a:pt x="370056" y="87486"/>
                      <a:pt x="478659" y="84469"/>
                      <a:pt x="490726" y="156871"/>
                    </a:cubicBezTo>
                    <a:lnTo>
                      <a:pt x="8045" y="156871"/>
                    </a:lnTo>
                    <a:cubicBezTo>
                      <a:pt x="8045" y="156871"/>
                      <a:pt x="-10056" y="96536"/>
                      <a:pt x="8045" y="45251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31E90D5C-A1E9-4988-9BA5-08841ECF4F13}"/>
                  </a:ext>
                </a:extLst>
              </p:cNvPr>
              <p:cNvSpPr/>
              <p:nvPr/>
            </p:nvSpPr>
            <p:spPr>
              <a:xfrm>
                <a:off x="6889070" y="6475421"/>
                <a:ext cx="482681" cy="45251"/>
              </a:xfrm>
              <a:custGeom>
                <a:avLst/>
                <a:gdLst>
                  <a:gd name="connsiteX0" fmla="*/ 0 w 482681"/>
                  <a:gd name="connsiteY0" fmla="*/ 0 h 45251"/>
                  <a:gd name="connsiteX1" fmla="*/ 482681 w 482681"/>
                  <a:gd name="connsiteY1" fmla="*/ 0 h 45251"/>
                  <a:gd name="connsiteX2" fmla="*/ 482681 w 482681"/>
                  <a:gd name="connsiteY2" fmla="*/ 45251 h 45251"/>
                  <a:gd name="connsiteX3" fmla="*/ 0 w 482681"/>
                  <a:gd name="connsiteY3" fmla="*/ 45251 h 45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2681" h="45251">
                    <a:moveTo>
                      <a:pt x="0" y="0"/>
                    </a:moveTo>
                    <a:lnTo>
                      <a:pt x="482681" y="0"/>
                    </a:lnTo>
                    <a:lnTo>
                      <a:pt x="482681" y="45251"/>
                    </a:lnTo>
                    <a:lnTo>
                      <a:pt x="0" y="45251"/>
                    </a:ln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1E724D63-BA58-4B13-8EEA-D44B27DEF0F3}"/>
                  </a:ext>
                </a:extLst>
              </p:cNvPr>
              <p:cNvSpPr/>
              <p:nvPr/>
            </p:nvSpPr>
            <p:spPr>
              <a:xfrm>
                <a:off x="6883036" y="6310254"/>
                <a:ext cx="198352" cy="62597"/>
              </a:xfrm>
              <a:custGeom>
                <a:avLst/>
                <a:gdLst>
                  <a:gd name="connsiteX0" fmla="*/ 42235 w 198352"/>
                  <a:gd name="connsiteY0" fmla="*/ 62598 h 62597"/>
                  <a:gd name="connsiteX1" fmla="*/ 6033 w 198352"/>
                  <a:gd name="connsiteY1" fmla="*/ 59581 h 62597"/>
                  <a:gd name="connsiteX2" fmla="*/ 0 w 198352"/>
                  <a:gd name="connsiteY2" fmla="*/ 53548 h 62597"/>
                  <a:gd name="connsiteX3" fmla="*/ 6033 w 198352"/>
                  <a:gd name="connsiteY3" fmla="*/ 47514 h 62597"/>
                  <a:gd name="connsiteX4" fmla="*/ 187039 w 198352"/>
                  <a:gd name="connsiteY4" fmla="*/ 2263 h 62597"/>
                  <a:gd name="connsiteX5" fmla="*/ 196089 w 198352"/>
                  <a:gd name="connsiteY5" fmla="*/ 2263 h 62597"/>
                  <a:gd name="connsiteX6" fmla="*/ 196089 w 198352"/>
                  <a:gd name="connsiteY6" fmla="*/ 11313 h 62597"/>
                  <a:gd name="connsiteX7" fmla="*/ 42235 w 198352"/>
                  <a:gd name="connsiteY7" fmla="*/ 62598 h 62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8352" h="62597">
                    <a:moveTo>
                      <a:pt x="42235" y="62598"/>
                    </a:moveTo>
                    <a:cubicBezTo>
                      <a:pt x="21117" y="62598"/>
                      <a:pt x="9050" y="59581"/>
                      <a:pt x="6033" y="59581"/>
                    </a:cubicBezTo>
                    <a:cubicBezTo>
                      <a:pt x="3017" y="59581"/>
                      <a:pt x="0" y="56564"/>
                      <a:pt x="0" y="53548"/>
                    </a:cubicBezTo>
                    <a:cubicBezTo>
                      <a:pt x="0" y="50531"/>
                      <a:pt x="3017" y="47514"/>
                      <a:pt x="6033" y="47514"/>
                    </a:cubicBezTo>
                    <a:cubicBezTo>
                      <a:pt x="6033" y="47514"/>
                      <a:pt x="117654" y="62598"/>
                      <a:pt x="187039" y="2263"/>
                    </a:cubicBezTo>
                    <a:cubicBezTo>
                      <a:pt x="190056" y="-754"/>
                      <a:pt x="193073" y="-754"/>
                      <a:pt x="196089" y="2263"/>
                    </a:cubicBezTo>
                    <a:cubicBezTo>
                      <a:pt x="199106" y="5279"/>
                      <a:pt x="199106" y="8296"/>
                      <a:pt x="196089" y="11313"/>
                    </a:cubicBezTo>
                    <a:cubicBezTo>
                      <a:pt x="147822" y="53548"/>
                      <a:pt x="81452" y="62598"/>
                      <a:pt x="42235" y="6259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38DDB6E2-0B30-45DE-89EB-8AF2AEE62D68}"/>
                  </a:ext>
                </a:extLst>
              </p:cNvPr>
              <p:cNvSpPr/>
              <p:nvPr/>
            </p:nvSpPr>
            <p:spPr>
              <a:xfrm>
                <a:off x="7076863" y="6334388"/>
                <a:ext cx="37709" cy="41480"/>
              </a:xfrm>
              <a:custGeom>
                <a:avLst/>
                <a:gdLst>
                  <a:gd name="connsiteX0" fmla="*/ 5279 w 37709"/>
                  <a:gd name="connsiteY0" fmla="*/ 41480 h 41480"/>
                  <a:gd name="connsiteX1" fmla="*/ 2262 w 37709"/>
                  <a:gd name="connsiteY1" fmla="*/ 38464 h 41480"/>
                  <a:gd name="connsiteX2" fmla="*/ 2262 w 37709"/>
                  <a:gd name="connsiteY2" fmla="*/ 29413 h 41480"/>
                  <a:gd name="connsiteX3" fmla="*/ 26397 w 37709"/>
                  <a:gd name="connsiteY3" fmla="*/ 2262 h 41480"/>
                  <a:gd name="connsiteX4" fmla="*/ 35447 w 37709"/>
                  <a:gd name="connsiteY4" fmla="*/ 2262 h 41480"/>
                  <a:gd name="connsiteX5" fmla="*/ 35447 w 37709"/>
                  <a:gd name="connsiteY5" fmla="*/ 11313 h 41480"/>
                  <a:gd name="connsiteX6" fmla="*/ 11313 w 37709"/>
                  <a:gd name="connsiteY6" fmla="*/ 38464 h 41480"/>
                  <a:gd name="connsiteX7" fmla="*/ 5279 w 37709"/>
                  <a:gd name="connsiteY7" fmla="*/ 41480 h 4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709" h="41480">
                    <a:moveTo>
                      <a:pt x="5279" y="41480"/>
                    </a:moveTo>
                    <a:cubicBezTo>
                      <a:pt x="5279" y="41480"/>
                      <a:pt x="2262" y="41480"/>
                      <a:pt x="2262" y="38464"/>
                    </a:cubicBezTo>
                    <a:cubicBezTo>
                      <a:pt x="-754" y="35447"/>
                      <a:pt x="-754" y="32430"/>
                      <a:pt x="2262" y="29413"/>
                    </a:cubicBezTo>
                    <a:lnTo>
                      <a:pt x="26397" y="2262"/>
                    </a:lnTo>
                    <a:cubicBezTo>
                      <a:pt x="29413" y="-754"/>
                      <a:pt x="32430" y="-754"/>
                      <a:pt x="35447" y="2262"/>
                    </a:cubicBezTo>
                    <a:cubicBezTo>
                      <a:pt x="38463" y="5279"/>
                      <a:pt x="38463" y="8296"/>
                      <a:pt x="35447" y="11313"/>
                    </a:cubicBezTo>
                    <a:lnTo>
                      <a:pt x="11313" y="38464"/>
                    </a:lnTo>
                    <a:cubicBezTo>
                      <a:pt x="8296" y="41480"/>
                      <a:pt x="8296" y="41480"/>
                      <a:pt x="5279" y="4148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DA69ED67-C1DF-463C-A933-A7C52D770068}"/>
                  </a:ext>
                </a:extLst>
              </p:cNvPr>
              <p:cNvSpPr/>
              <p:nvPr/>
            </p:nvSpPr>
            <p:spPr>
              <a:xfrm>
                <a:off x="7116081" y="6361538"/>
                <a:ext cx="40726" cy="41480"/>
              </a:xfrm>
              <a:custGeom>
                <a:avLst/>
                <a:gdLst>
                  <a:gd name="connsiteX0" fmla="*/ 5280 w 40726"/>
                  <a:gd name="connsiteY0" fmla="*/ 41481 h 41480"/>
                  <a:gd name="connsiteX1" fmla="*/ 2263 w 40726"/>
                  <a:gd name="connsiteY1" fmla="*/ 38464 h 41480"/>
                  <a:gd name="connsiteX2" fmla="*/ 2263 w 40726"/>
                  <a:gd name="connsiteY2" fmla="*/ 29413 h 41480"/>
                  <a:gd name="connsiteX3" fmla="*/ 29413 w 40726"/>
                  <a:gd name="connsiteY3" fmla="*/ 2263 h 41480"/>
                  <a:gd name="connsiteX4" fmla="*/ 38464 w 40726"/>
                  <a:gd name="connsiteY4" fmla="*/ 2263 h 41480"/>
                  <a:gd name="connsiteX5" fmla="*/ 38464 w 40726"/>
                  <a:gd name="connsiteY5" fmla="*/ 11313 h 41480"/>
                  <a:gd name="connsiteX6" fmla="*/ 11313 w 40726"/>
                  <a:gd name="connsiteY6" fmla="*/ 38464 h 41480"/>
                  <a:gd name="connsiteX7" fmla="*/ 5280 w 40726"/>
                  <a:gd name="connsiteY7" fmla="*/ 41481 h 4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726" h="41480">
                    <a:moveTo>
                      <a:pt x="5280" y="41481"/>
                    </a:moveTo>
                    <a:cubicBezTo>
                      <a:pt x="5280" y="41481"/>
                      <a:pt x="2263" y="41481"/>
                      <a:pt x="2263" y="38464"/>
                    </a:cubicBezTo>
                    <a:cubicBezTo>
                      <a:pt x="-754" y="35447"/>
                      <a:pt x="-754" y="32430"/>
                      <a:pt x="2263" y="29413"/>
                    </a:cubicBezTo>
                    <a:lnTo>
                      <a:pt x="29413" y="2263"/>
                    </a:lnTo>
                    <a:cubicBezTo>
                      <a:pt x="32430" y="-754"/>
                      <a:pt x="35447" y="-754"/>
                      <a:pt x="38464" y="2263"/>
                    </a:cubicBezTo>
                    <a:cubicBezTo>
                      <a:pt x="41481" y="5279"/>
                      <a:pt x="41481" y="8296"/>
                      <a:pt x="38464" y="11313"/>
                    </a:cubicBezTo>
                    <a:lnTo>
                      <a:pt x="11313" y="38464"/>
                    </a:lnTo>
                    <a:cubicBezTo>
                      <a:pt x="8296" y="41481"/>
                      <a:pt x="5280" y="41481"/>
                      <a:pt x="5280" y="4148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2C500628-F360-4869-9798-6CF4CB53EFF1}"/>
                </a:ext>
              </a:extLst>
            </p:cNvPr>
            <p:cNvSpPr/>
            <p:nvPr/>
          </p:nvSpPr>
          <p:spPr>
            <a:xfrm>
              <a:off x="6831186" y="3989611"/>
              <a:ext cx="1089992" cy="2271619"/>
            </a:xfrm>
            <a:custGeom>
              <a:avLst/>
              <a:gdLst>
                <a:gd name="connsiteX0" fmla="*/ 1059448 w 1089992"/>
                <a:gd name="connsiteY0" fmla="*/ 21117 h 2271619"/>
                <a:gd name="connsiteX1" fmla="*/ 1077549 w 1089992"/>
                <a:gd name="connsiteY1" fmla="*/ 1390726 h 2271619"/>
                <a:gd name="connsiteX2" fmla="*/ 1008163 w 1089992"/>
                <a:gd name="connsiteY2" fmla="*/ 2271620 h 2271619"/>
                <a:gd name="connsiteX3" fmla="*/ 715538 w 1089992"/>
                <a:gd name="connsiteY3" fmla="*/ 2271620 h 2271619"/>
                <a:gd name="connsiteX4" fmla="*/ 679337 w 1089992"/>
                <a:gd name="connsiteY4" fmla="*/ 1414860 h 2271619"/>
                <a:gd name="connsiteX5" fmla="*/ 567716 w 1089992"/>
                <a:gd name="connsiteY5" fmla="*/ 497765 h 2271619"/>
                <a:gd name="connsiteX6" fmla="*/ 401795 w 1089992"/>
                <a:gd name="connsiteY6" fmla="*/ 1442011 h 2271619"/>
                <a:gd name="connsiteX7" fmla="*/ 287158 w 1089992"/>
                <a:gd name="connsiteY7" fmla="*/ 2250503 h 2271619"/>
                <a:gd name="connsiteX8" fmla="*/ 3582 w 1089992"/>
                <a:gd name="connsiteY8" fmla="*/ 2259553 h 2271619"/>
                <a:gd name="connsiteX9" fmla="*/ 3582 w 1089992"/>
                <a:gd name="connsiteY9" fmla="*/ 1423911 h 2271619"/>
                <a:gd name="connsiteX10" fmla="*/ 45817 w 1089992"/>
                <a:gd name="connsiteY10" fmla="*/ 0 h 2271619"/>
                <a:gd name="connsiteX11" fmla="*/ 1059448 w 1089992"/>
                <a:gd name="connsiteY11" fmla="*/ 21117 h 227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89992" h="2271619">
                  <a:moveTo>
                    <a:pt x="1059448" y="21117"/>
                  </a:moveTo>
                  <a:cubicBezTo>
                    <a:pt x="1059448" y="21117"/>
                    <a:pt x="1113750" y="1083017"/>
                    <a:pt x="1077549" y="1390726"/>
                  </a:cubicBezTo>
                  <a:cubicBezTo>
                    <a:pt x="1047381" y="1659218"/>
                    <a:pt x="1008163" y="2271620"/>
                    <a:pt x="1008163" y="2271620"/>
                  </a:cubicBezTo>
                  <a:lnTo>
                    <a:pt x="715538" y="2271620"/>
                  </a:lnTo>
                  <a:cubicBezTo>
                    <a:pt x="715538" y="2271620"/>
                    <a:pt x="682353" y="1511397"/>
                    <a:pt x="679337" y="1414860"/>
                  </a:cubicBezTo>
                  <a:cubicBezTo>
                    <a:pt x="673303" y="1276090"/>
                    <a:pt x="582800" y="527933"/>
                    <a:pt x="567716" y="497765"/>
                  </a:cubicBezTo>
                  <a:cubicBezTo>
                    <a:pt x="552633" y="467598"/>
                    <a:pt x="401795" y="1442011"/>
                    <a:pt x="401795" y="1442011"/>
                  </a:cubicBezTo>
                  <a:lnTo>
                    <a:pt x="287158" y="2250503"/>
                  </a:lnTo>
                  <a:lnTo>
                    <a:pt x="3582" y="2259553"/>
                  </a:lnTo>
                  <a:cubicBezTo>
                    <a:pt x="3582" y="2259553"/>
                    <a:pt x="9616" y="1523464"/>
                    <a:pt x="3582" y="1423911"/>
                  </a:cubicBezTo>
                  <a:cubicBezTo>
                    <a:pt x="-5468" y="1273073"/>
                    <a:pt x="566" y="96536"/>
                    <a:pt x="45817" y="0"/>
                  </a:cubicBezTo>
                  <a:cubicBezTo>
                    <a:pt x="739672" y="33184"/>
                    <a:pt x="1059448" y="21117"/>
                    <a:pt x="1059448" y="21117"/>
                  </a:cubicBezTo>
                  <a:close/>
                </a:path>
              </a:pathLst>
            </a:custGeom>
            <a:solidFill>
              <a:srgbClr val="708686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CCE8A196-B9FD-4898-A385-FAFE1DCE4D86}"/>
                </a:ext>
              </a:extLst>
            </p:cNvPr>
            <p:cNvSpPr/>
            <p:nvPr/>
          </p:nvSpPr>
          <p:spPr>
            <a:xfrm>
              <a:off x="7392869" y="4131399"/>
              <a:ext cx="69385" cy="362011"/>
            </a:xfrm>
            <a:custGeom>
              <a:avLst/>
              <a:gdLst>
                <a:gd name="connsiteX0" fmla="*/ 6033 w 69385"/>
                <a:gd name="connsiteY0" fmla="*/ 362011 h 362011"/>
                <a:gd name="connsiteX1" fmla="*/ 6033 w 69385"/>
                <a:gd name="connsiteY1" fmla="*/ 362011 h 362011"/>
                <a:gd name="connsiteX2" fmla="*/ 0 w 69385"/>
                <a:gd name="connsiteY2" fmla="*/ 352961 h 362011"/>
                <a:gd name="connsiteX3" fmla="*/ 57318 w 69385"/>
                <a:gd name="connsiteY3" fmla="*/ 6033 h 362011"/>
                <a:gd name="connsiteX4" fmla="*/ 63352 w 69385"/>
                <a:gd name="connsiteY4" fmla="*/ 0 h 362011"/>
                <a:gd name="connsiteX5" fmla="*/ 69385 w 69385"/>
                <a:gd name="connsiteY5" fmla="*/ 6033 h 362011"/>
                <a:gd name="connsiteX6" fmla="*/ 12067 w 69385"/>
                <a:gd name="connsiteY6" fmla="*/ 355978 h 362011"/>
                <a:gd name="connsiteX7" fmla="*/ 6033 w 69385"/>
                <a:gd name="connsiteY7" fmla="*/ 362011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385" h="362011">
                  <a:moveTo>
                    <a:pt x="6033" y="362011"/>
                  </a:moveTo>
                  <a:cubicBezTo>
                    <a:pt x="6033" y="362011"/>
                    <a:pt x="3016" y="362011"/>
                    <a:pt x="6033" y="362011"/>
                  </a:cubicBezTo>
                  <a:cubicBezTo>
                    <a:pt x="0" y="358994"/>
                    <a:pt x="0" y="355978"/>
                    <a:pt x="0" y="352961"/>
                  </a:cubicBezTo>
                  <a:cubicBezTo>
                    <a:pt x="48268" y="241341"/>
                    <a:pt x="57318" y="9050"/>
                    <a:pt x="57318" y="6033"/>
                  </a:cubicBezTo>
                  <a:cubicBezTo>
                    <a:pt x="57318" y="3017"/>
                    <a:pt x="60335" y="0"/>
                    <a:pt x="63352" y="0"/>
                  </a:cubicBezTo>
                  <a:cubicBezTo>
                    <a:pt x="66369" y="0"/>
                    <a:pt x="69385" y="3017"/>
                    <a:pt x="69385" y="6033"/>
                  </a:cubicBezTo>
                  <a:cubicBezTo>
                    <a:pt x="69385" y="15084"/>
                    <a:pt x="60335" y="241341"/>
                    <a:pt x="12067" y="355978"/>
                  </a:cubicBezTo>
                  <a:cubicBezTo>
                    <a:pt x="9050" y="362011"/>
                    <a:pt x="9050" y="362011"/>
                    <a:pt x="6033" y="362011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01B8BDF0-4306-4E5A-8242-CEB523824899}"/>
                </a:ext>
              </a:extLst>
            </p:cNvPr>
            <p:cNvSpPr/>
            <p:nvPr/>
          </p:nvSpPr>
          <p:spPr>
            <a:xfrm>
              <a:off x="7421787" y="4065030"/>
              <a:ext cx="155104" cy="352961"/>
            </a:xfrm>
            <a:custGeom>
              <a:avLst/>
              <a:gdLst>
                <a:gd name="connsiteX0" fmla="*/ 7283 w 155104"/>
                <a:gd name="connsiteY0" fmla="*/ 352961 h 352961"/>
                <a:gd name="connsiteX1" fmla="*/ 1250 w 155104"/>
                <a:gd name="connsiteY1" fmla="*/ 349944 h 352961"/>
                <a:gd name="connsiteX2" fmla="*/ 4266 w 155104"/>
                <a:gd name="connsiteY2" fmla="*/ 340894 h 352961"/>
                <a:gd name="connsiteX3" fmla="*/ 109853 w 155104"/>
                <a:gd name="connsiteY3" fmla="*/ 265475 h 352961"/>
                <a:gd name="connsiteX4" fmla="*/ 143037 w 155104"/>
                <a:gd name="connsiteY4" fmla="*/ 6034 h 352961"/>
                <a:gd name="connsiteX5" fmla="*/ 149071 w 155104"/>
                <a:gd name="connsiteY5" fmla="*/ 0 h 352961"/>
                <a:gd name="connsiteX6" fmla="*/ 155104 w 155104"/>
                <a:gd name="connsiteY6" fmla="*/ 6034 h 352961"/>
                <a:gd name="connsiteX7" fmla="*/ 121920 w 155104"/>
                <a:gd name="connsiteY7" fmla="*/ 271508 h 352961"/>
                <a:gd name="connsiteX8" fmla="*/ 13317 w 155104"/>
                <a:gd name="connsiteY8" fmla="*/ 349944 h 352961"/>
                <a:gd name="connsiteX9" fmla="*/ 7283 w 155104"/>
                <a:gd name="connsiteY9" fmla="*/ 352961 h 352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5104" h="352961">
                  <a:moveTo>
                    <a:pt x="7283" y="352961"/>
                  </a:moveTo>
                  <a:cubicBezTo>
                    <a:pt x="4266" y="352961"/>
                    <a:pt x="4266" y="352961"/>
                    <a:pt x="1250" y="349944"/>
                  </a:cubicBezTo>
                  <a:cubicBezTo>
                    <a:pt x="-1767" y="346927"/>
                    <a:pt x="1250" y="343911"/>
                    <a:pt x="4266" y="340894"/>
                  </a:cubicBezTo>
                  <a:cubicBezTo>
                    <a:pt x="43484" y="316760"/>
                    <a:pt x="100802" y="274525"/>
                    <a:pt x="109853" y="265475"/>
                  </a:cubicBezTo>
                  <a:cubicBezTo>
                    <a:pt x="118903" y="253408"/>
                    <a:pt x="133987" y="99553"/>
                    <a:pt x="143037" y="6034"/>
                  </a:cubicBezTo>
                  <a:cubicBezTo>
                    <a:pt x="143037" y="3017"/>
                    <a:pt x="146054" y="0"/>
                    <a:pt x="149071" y="0"/>
                  </a:cubicBezTo>
                  <a:cubicBezTo>
                    <a:pt x="152088" y="0"/>
                    <a:pt x="155104" y="3017"/>
                    <a:pt x="155104" y="6034"/>
                  </a:cubicBezTo>
                  <a:cubicBezTo>
                    <a:pt x="152088" y="48268"/>
                    <a:pt x="130970" y="256425"/>
                    <a:pt x="121920" y="271508"/>
                  </a:cubicBezTo>
                  <a:cubicBezTo>
                    <a:pt x="109853" y="286592"/>
                    <a:pt x="22367" y="343911"/>
                    <a:pt x="13317" y="349944"/>
                  </a:cubicBezTo>
                  <a:cubicBezTo>
                    <a:pt x="7283" y="352961"/>
                    <a:pt x="7283" y="352961"/>
                    <a:pt x="7283" y="352961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84C50753-0432-4894-8D46-05AF5D9E9C1C}"/>
                </a:ext>
              </a:extLst>
            </p:cNvPr>
            <p:cNvSpPr/>
            <p:nvPr/>
          </p:nvSpPr>
          <p:spPr>
            <a:xfrm>
              <a:off x="7263148" y="2336427"/>
              <a:ext cx="247374" cy="255529"/>
            </a:xfrm>
            <a:custGeom>
              <a:avLst/>
              <a:gdLst>
                <a:gd name="connsiteX0" fmla="*/ 247374 w 247374"/>
                <a:gd name="connsiteY0" fmla="*/ 39218 h 255529"/>
                <a:gd name="connsiteX1" fmla="*/ 241341 w 247374"/>
                <a:gd name="connsiteY1" fmla="*/ 211173 h 255529"/>
                <a:gd name="connsiteX2" fmla="*/ 0 w 247374"/>
                <a:gd name="connsiteY2" fmla="*/ 202123 h 255529"/>
                <a:gd name="connsiteX3" fmla="*/ 15084 w 247374"/>
                <a:gd name="connsiteY3" fmla="*/ 0 h 255529"/>
                <a:gd name="connsiteX4" fmla="*/ 247374 w 247374"/>
                <a:gd name="connsiteY4" fmla="*/ 39218 h 255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374" h="255529">
                  <a:moveTo>
                    <a:pt x="247374" y="39218"/>
                  </a:moveTo>
                  <a:cubicBezTo>
                    <a:pt x="247374" y="39218"/>
                    <a:pt x="241341" y="138771"/>
                    <a:pt x="241341" y="211173"/>
                  </a:cubicBezTo>
                  <a:cubicBezTo>
                    <a:pt x="241341" y="211173"/>
                    <a:pt x="147821" y="316760"/>
                    <a:pt x="0" y="202123"/>
                  </a:cubicBezTo>
                  <a:cubicBezTo>
                    <a:pt x="0" y="141788"/>
                    <a:pt x="12067" y="63352"/>
                    <a:pt x="15084" y="0"/>
                  </a:cubicBezTo>
                  <a:cubicBezTo>
                    <a:pt x="12067" y="0"/>
                    <a:pt x="196089" y="51285"/>
                    <a:pt x="247374" y="39218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FE92AFB0-EA6B-4BE2-B76A-BF006A92E071}"/>
                </a:ext>
              </a:extLst>
            </p:cNvPr>
            <p:cNvSpPr/>
            <p:nvPr/>
          </p:nvSpPr>
          <p:spPr>
            <a:xfrm>
              <a:off x="7172645" y="2218773"/>
              <a:ext cx="69385" cy="135754"/>
            </a:xfrm>
            <a:custGeom>
              <a:avLst/>
              <a:gdLst>
                <a:gd name="connsiteX0" fmla="*/ 0 w 69385"/>
                <a:gd name="connsiteY0" fmla="*/ 0 h 135754"/>
                <a:gd name="connsiteX1" fmla="*/ 66369 w 69385"/>
                <a:gd name="connsiteY1" fmla="*/ 135754 h 135754"/>
                <a:gd name="connsiteX2" fmla="*/ 69386 w 69385"/>
                <a:gd name="connsiteY2" fmla="*/ 51285 h 135754"/>
                <a:gd name="connsiteX3" fmla="*/ 0 w 69385"/>
                <a:gd name="connsiteY3" fmla="*/ 0 h 13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385" h="135754">
                  <a:moveTo>
                    <a:pt x="0" y="0"/>
                  </a:moveTo>
                  <a:cubicBezTo>
                    <a:pt x="0" y="0"/>
                    <a:pt x="15084" y="117654"/>
                    <a:pt x="66369" y="135754"/>
                  </a:cubicBezTo>
                  <a:lnTo>
                    <a:pt x="69386" y="512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E1876873-7F97-412B-8CBA-05BAB0139EDB}"/>
                </a:ext>
              </a:extLst>
            </p:cNvPr>
            <p:cNvSpPr/>
            <p:nvPr/>
          </p:nvSpPr>
          <p:spPr>
            <a:xfrm>
              <a:off x="7525159" y="2010617"/>
              <a:ext cx="101556" cy="235319"/>
            </a:xfrm>
            <a:custGeom>
              <a:avLst/>
              <a:gdLst>
                <a:gd name="connsiteX0" fmla="*/ 93967 w 101556"/>
                <a:gd name="connsiteY0" fmla="*/ 0 h 235319"/>
                <a:gd name="connsiteX1" fmla="*/ 54749 w 101556"/>
                <a:gd name="connsiteY1" fmla="*/ 232291 h 235319"/>
                <a:gd name="connsiteX2" fmla="*/ 447 w 101556"/>
                <a:gd name="connsiteY2" fmla="*/ 15084 h 235319"/>
                <a:gd name="connsiteX3" fmla="*/ 93967 w 101556"/>
                <a:gd name="connsiteY3" fmla="*/ 0 h 235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556" h="235319">
                  <a:moveTo>
                    <a:pt x="93967" y="0"/>
                  </a:moveTo>
                  <a:cubicBezTo>
                    <a:pt x="93967" y="0"/>
                    <a:pt x="127151" y="193073"/>
                    <a:pt x="54749" y="232291"/>
                  </a:cubicBezTo>
                  <a:cubicBezTo>
                    <a:pt x="-8603" y="265475"/>
                    <a:pt x="447" y="15084"/>
                    <a:pt x="447" y="15084"/>
                  </a:cubicBezTo>
                  <a:lnTo>
                    <a:pt x="93967" y="0"/>
                  </a:ln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3C258792-4381-47EF-8764-0A15CEDD1B62}"/>
                </a:ext>
              </a:extLst>
            </p:cNvPr>
            <p:cNvSpPr/>
            <p:nvPr/>
          </p:nvSpPr>
          <p:spPr>
            <a:xfrm>
              <a:off x="7172645" y="1876529"/>
              <a:ext cx="418941" cy="563064"/>
            </a:xfrm>
            <a:custGeom>
              <a:avLst/>
              <a:gdLst>
                <a:gd name="connsiteX0" fmla="*/ 407263 w 418941"/>
                <a:gd name="connsiteY0" fmla="*/ 179339 h 563064"/>
                <a:gd name="connsiteX1" fmla="*/ 410279 w 418941"/>
                <a:gd name="connsiteY1" fmla="*/ 426713 h 563064"/>
                <a:gd name="connsiteX2" fmla="*/ 253408 w 418941"/>
                <a:gd name="connsiteY2" fmla="*/ 562467 h 563064"/>
                <a:gd name="connsiteX3" fmla="*/ 39218 w 418941"/>
                <a:gd name="connsiteY3" fmla="*/ 423696 h 563064"/>
                <a:gd name="connsiteX4" fmla="*/ 0 w 418941"/>
                <a:gd name="connsiteY4" fmla="*/ 200456 h 563064"/>
                <a:gd name="connsiteX5" fmla="*/ 208156 w 418941"/>
                <a:gd name="connsiteY5" fmla="*/ 1350 h 563064"/>
                <a:gd name="connsiteX6" fmla="*/ 407263 w 418941"/>
                <a:gd name="connsiteY6" fmla="*/ 179339 h 563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941" h="563064">
                  <a:moveTo>
                    <a:pt x="407263" y="179339"/>
                  </a:moveTo>
                  <a:cubicBezTo>
                    <a:pt x="407263" y="179339"/>
                    <a:pt x="431397" y="354311"/>
                    <a:pt x="410279" y="426713"/>
                  </a:cubicBezTo>
                  <a:cubicBezTo>
                    <a:pt x="392179" y="493082"/>
                    <a:pt x="304692" y="556434"/>
                    <a:pt x="253408" y="562467"/>
                  </a:cubicBezTo>
                  <a:cubicBezTo>
                    <a:pt x="187039" y="568501"/>
                    <a:pt x="69386" y="529283"/>
                    <a:pt x="39218" y="423696"/>
                  </a:cubicBezTo>
                  <a:cubicBezTo>
                    <a:pt x="18100" y="351294"/>
                    <a:pt x="0" y="251741"/>
                    <a:pt x="0" y="200456"/>
                  </a:cubicBezTo>
                  <a:cubicBezTo>
                    <a:pt x="0" y="106937"/>
                    <a:pt x="27151" y="28501"/>
                    <a:pt x="208156" y="1350"/>
                  </a:cubicBezTo>
                  <a:cubicBezTo>
                    <a:pt x="292626" y="-13734"/>
                    <a:pt x="386145" y="100903"/>
                    <a:pt x="407263" y="179339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B8807E22-33AA-45AD-A471-131947429C8B}"/>
                </a:ext>
              </a:extLst>
            </p:cNvPr>
            <p:cNvSpPr/>
            <p:nvPr/>
          </p:nvSpPr>
          <p:spPr>
            <a:xfrm>
              <a:off x="7398902" y="2134304"/>
              <a:ext cx="57318" cy="138770"/>
            </a:xfrm>
            <a:custGeom>
              <a:avLst/>
              <a:gdLst>
                <a:gd name="connsiteX0" fmla="*/ 27151 w 57318"/>
                <a:gd name="connsiteY0" fmla="*/ 138771 h 138770"/>
                <a:gd name="connsiteX1" fmla="*/ 6033 w 57318"/>
                <a:gd name="connsiteY1" fmla="*/ 135754 h 138770"/>
                <a:gd name="connsiteX2" fmla="*/ 0 w 57318"/>
                <a:gd name="connsiteY2" fmla="*/ 129721 h 138770"/>
                <a:gd name="connsiteX3" fmla="*/ 6033 w 57318"/>
                <a:gd name="connsiteY3" fmla="*/ 123687 h 138770"/>
                <a:gd name="connsiteX4" fmla="*/ 45251 w 57318"/>
                <a:gd name="connsiteY4" fmla="*/ 120670 h 138770"/>
                <a:gd name="connsiteX5" fmla="*/ 45251 w 57318"/>
                <a:gd name="connsiteY5" fmla="*/ 117654 h 138770"/>
                <a:gd name="connsiteX6" fmla="*/ 27151 w 57318"/>
                <a:gd name="connsiteY6" fmla="*/ 6034 h 138770"/>
                <a:gd name="connsiteX7" fmla="*/ 33184 w 57318"/>
                <a:gd name="connsiteY7" fmla="*/ 0 h 138770"/>
                <a:gd name="connsiteX8" fmla="*/ 39218 w 57318"/>
                <a:gd name="connsiteY8" fmla="*/ 6034 h 138770"/>
                <a:gd name="connsiteX9" fmla="*/ 57318 w 57318"/>
                <a:gd name="connsiteY9" fmla="*/ 117654 h 138770"/>
                <a:gd name="connsiteX10" fmla="*/ 51285 w 57318"/>
                <a:gd name="connsiteY10" fmla="*/ 129721 h 138770"/>
                <a:gd name="connsiteX11" fmla="*/ 27151 w 57318"/>
                <a:gd name="connsiteY11" fmla="*/ 138771 h 138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318" h="138770">
                  <a:moveTo>
                    <a:pt x="27151" y="138771"/>
                  </a:moveTo>
                  <a:cubicBezTo>
                    <a:pt x="18100" y="138771"/>
                    <a:pt x="9050" y="135754"/>
                    <a:pt x="6033" y="135754"/>
                  </a:cubicBezTo>
                  <a:cubicBezTo>
                    <a:pt x="3016" y="135754"/>
                    <a:pt x="0" y="132737"/>
                    <a:pt x="0" y="129721"/>
                  </a:cubicBezTo>
                  <a:cubicBezTo>
                    <a:pt x="0" y="126704"/>
                    <a:pt x="3016" y="123687"/>
                    <a:pt x="6033" y="123687"/>
                  </a:cubicBezTo>
                  <a:cubicBezTo>
                    <a:pt x="18100" y="126704"/>
                    <a:pt x="39218" y="126704"/>
                    <a:pt x="45251" y="120670"/>
                  </a:cubicBezTo>
                  <a:cubicBezTo>
                    <a:pt x="45251" y="120670"/>
                    <a:pt x="45251" y="117654"/>
                    <a:pt x="45251" y="117654"/>
                  </a:cubicBezTo>
                  <a:cubicBezTo>
                    <a:pt x="45251" y="99553"/>
                    <a:pt x="27151" y="9050"/>
                    <a:pt x="27151" y="6034"/>
                  </a:cubicBezTo>
                  <a:cubicBezTo>
                    <a:pt x="27151" y="3017"/>
                    <a:pt x="27151" y="0"/>
                    <a:pt x="33184" y="0"/>
                  </a:cubicBezTo>
                  <a:cubicBezTo>
                    <a:pt x="36201" y="0"/>
                    <a:pt x="39218" y="0"/>
                    <a:pt x="39218" y="6034"/>
                  </a:cubicBezTo>
                  <a:cubicBezTo>
                    <a:pt x="39218" y="9050"/>
                    <a:pt x="57318" y="99553"/>
                    <a:pt x="57318" y="117654"/>
                  </a:cubicBezTo>
                  <a:cubicBezTo>
                    <a:pt x="57318" y="123687"/>
                    <a:pt x="54302" y="126704"/>
                    <a:pt x="51285" y="129721"/>
                  </a:cubicBezTo>
                  <a:cubicBezTo>
                    <a:pt x="45251" y="135754"/>
                    <a:pt x="36201" y="138771"/>
                    <a:pt x="27151" y="138771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58C4A3C4-EC1E-49C1-9581-3787142345F6}"/>
                </a:ext>
              </a:extLst>
            </p:cNvPr>
            <p:cNvSpPr/>
            <p:nvPr/>
          </p:nvSpPr>
          <p:spPr>
            <a:xfrm>
              <a:off x="7485619" y="2112595"/>
              <a:ext cx="40578" cy="40401"/>
            </a:xfrm>
            <a:custGeom>
              <a:avLst/>
              <a:gdLst>
                <a:gd name="connsiteX0" fmla="*/ 769 w 40578"/>
                <a:gd name="connsiteY0" fmla="*/ 24726 h 40401"/>
                <a:gd name="connsiteX1" fmla="*/ 24903 w 40578"/>
                <a:gd name="connsiteY1" fmla="*/ 39810 h 40401"/>
                <a:gd name="connsiteX2" fmla="*/ 39987 w 40578"/>
                <a:gd name="connsiteY2" fmla="*/ 15676 h 40401"/>
                <a:gd name="connsiteX3" fmla="*/ 15852 w 40578"/>
                <a:gd name="connsiteY3" fmla="*/ 592 h 40401"/>
                <a:gd name="connsiteX4" fmla="*/ 769 w 40578"/>
                <a:gd name="connsiteY4" fmla="*/ 24726 h 4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0401">
                  <a:moveTo>
                    <a:pt x="769" y="24726"/>
                  </a:moveTo>
                  <a:cubicBezTo>
                    <a:pt x="3786" y="33776"/>
                    <a:pt x="12836" y="42826"/>
                    <a:pt x="24903" y="39810"/>
                  </a:cubicBezTo>
                  <a:cubicBezTo>
                    <a:pt x="33953" y="36793"/>
                    <a:pt x="43004" y="27743"/>
                    <a:pt x="39987" y="15676"/>
                  </a:cubicBezTo>
                  <a:cubicBezTo>
                    <a:pt x="36970" y="6625"/>
                    <a:pt x="27920" y="-2425"/>
                    <a:pt x="15852" y="592"/>
                  </a:cubicBezTo>
                  <a:cubicBezTo>
                    <a:pt x="3786" y="3609"/>
                    <a:pt x="-2248" y="15676"/>
                    <a:pt x="769" y="24726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216BF11F-E210-459D-9F26-04A580D8B5E1}"/>
                </a:ext>
              </a:extLst>
            </p:cNvPr>
            <p:cNvSpPr/>
            <p:nvPr/>
          </p:nvSpPr>
          <p:spPr>
            <a:xfrm>
              <a:off x="7304614" y="2133712"/>
              <a:ext cx="40578" cy="40401"/>
            </a:xfrm>
            <a:custGeom>
              <a:avLst/>
              <a:gdLst>
                <a:gd name="connsiteX0" fmla="*/ 769 w 40578"/>
                <a:gd name="connsiteY0" fmla="*/ 24726 h 40401"/>
                <a:gd name="connsiteX1" fmla="*/ 24903 w 40578"/>
                <a:gd name="connsiteY1" fmla="*/ 39810 h 40401"/>
                <a:gd name="connsiteX2" fmla="*/ 39987 w 40578"/>
                <a:gd name="connsiteY2" fmla="*/ 15676 h 40401"/>
                <a:gd name="connsiteX3" fmla="*/ 15852 w 40578"/>
                <a:gd name="connsiteY3" fmla="*/ 592 h 40401"/>
                <a:gd name="connsiteX4" fmla="*/ 769 w 40578"/>
                <a:gd name="connsiteY4" fmla="*/ 24726 h 4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0401">
                  <a:moveTo>
                    <a:pt x="769" y="24726"/>
                  </a:moveTo>
                  <a:cubicBezTo>
                    <a:pt x="3786" y="33776"/>
                    <a:pt x="12836" y="42826"/>
                    <a:pt x="24903" y="39810"/>
                  </a:cubicBezTo>
                  <a:cubicBezTo>
                    <a:pt x="33953" y="36793"/>
                    <a:pt x="43004" y="27743"/>
                    <a:pt x="39987" y="15676"/>
                  </a:cubicBezTo>
                  <a:cubicBezTo>
                    <a:pt x="36970" y="6625"/>
                    <a:pt x="27920" y="-2425"/>
                    <a:pt x="15852" y="592"/>
                  </a:cubicBezTo>
                  <a:cubicBezTo>
                    <a:pt x="3786" y="3608"/>
                    <a:pt x="-2248" y="12659"/>
                    <a:pt x="769" y="24726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A6CE78AA-94C9-4CE9-8DD1-5639F583EA2D}"/>
                </a:ext>
              </a:extLst>
            </p:cNvPr>
            <p:cNvSpPr/>
            <p:nvPr/>
          </p:nvSpPr>
          <p:spPr>
            <a:xfrm>
              <a:off x="7454971" y="2064918"/>
              <a:ext cx="90998" cy="33184"/>
            </a:xfrm>
            <a:custGeom>
              <a:avLst/>
              <a:gdLst>
                <a:gd name="connsiteX0" fmla="*/ 85719 w 90998"/>
                <a:gd name="connsiteY0" fmla="*/ 33184 h 33184"/>
                <a:gd name="connsiteX1" fmla="*/ 79685 w 90998"/>
                <a:gd name="connsiteY1" fmla="*/ 30168 h 33184"/>
                <a:gd name="connsiteX2" fmla="*/ 13317 w 90998"/>
                <a:gd name="connsiteY2" fmla="*/ 24134 h 33184"/>
                <a:gd name="connsiteX3" fmla="*/ 1249 w 90998"/>
                <a:gd name="connsiteY3" fmla="*/ 21117 h 33184"/>
                <a:gd name="connsiteX4" fmla="*/ 4266 w 90998"/>
                <a:gd name="connsiteY4" fmla="*/ 9050 h 33184"/>
                <a:gd name="connsiteX5" fmla="*/ 88736 w 90998"/>
                <a:gd name="connsiteY5" fmla="*/ 18101 h 33184"/>
                <a:gd name="connsiteX6" fmla="*/ 88736 w 90998"/>
                <a:gd name="connsiteY6" fmla="*/ 30168 h 33184"/>
                <a:gd name="connsiteX7" fmla="*/ 85719 w 90998"/>
                <a:gd name="connsiteY7" fmla="*/ 33184 h 33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3184">
                  <a:moveTo>
                    <a:pt x="85719" y="33184"/>
                  </a:moveTo>
                  <a:cubicBezTo>
                    <a:pt x="82702" y="33184"/>
                    <a:pt x="82702" y="33184"/>
                    <a:pt x="79685" y="30168"/>
                  </a:cubicBezTo>
                  <a:cubicBezTo>
                    <a:pt x="52534" y="3017"/>
                    <a:pt x="16333" y="24134"/>
                    <a:pt x="13317" y="24134"/>
                  </a:cubicBezTo>
                  <a:cubicBezTo>
                    <a:pt x="10300" y="27151"/>
                    <a:pt x="4266" y="24134"/>
                    <a:pt x="1249" y="21117"/>
                  </a:cubicBezTo>
                  <a:cubicBezTo>
                    <a:pt x="-1767" y="18101"/>
                    <a:pt x="1249" y="12067"/>
                    <a:pt x="4266" y="9050"/>
                  </a:cubicBezTo>
                  <a:cubicBezTo>
                    <a:pt x="22367" y="0"/>
                    <a:pt x="61585" y="-9050"/>
                    <a:pt x="88736" y="18101"/>
                  </a:cubicBezTo>
                  <a:cubicBezTo>
                    <a:pt x="91752" y="21117"/>
                    <a:pt x="91752" y="27151"/>
                    <a:pt x="88736" y="30168"/>
                  </a:cubicBezTo>
                  <a:cubicBezTo>
                    <a:pt x="91752" y="33184"/>
                    <a:pt x="88736" y="33184"/>
                    <a:pt x="85719" y="33184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0A1E7229-5309-4BAA-8233-CF211F33F039}"/>
                </a:ext>
              </a:extLst>
            </p:cNvPr>
            <p:cNvSpPr/>
            <p:nvPr/>
          </p:nvSpPr>
          <p:spPr>
            <a:xfrm>
              <a:off x="7269936" y="2068242"/>
              <a:ext cx="90998" cy="35894"/>
            </a:xfrm>
            <a:custGeom>
              <a:avLst/>
              <a:gdLst>
                <a:gd name="connsiteX0" fmla="*/ 8296 w 90998"/>
                <a:gd name="connsiteY0" fmla="*/ 35894 h 35894"/>
                <a:gd name="connsiteX1" fmla="*/ 2263 w 90998"/>
                <a:gd name="connsiteY1" fmla="*/ 32877 h 35894"/>
                <a:gd name="connsiteX2" fmla="*/ 2263 w 90998"/>
                <a:gd name="connsiteY2" fmla="*/ 20810 h 35894"/>
                <a:gd name="connsiteX3" fmla="*/ 86732 w 90998"/>
                <a:gd name="connsiteY3" fmla="*/ 11760 h 35894"/>
                <a:gd name="connsiteX4" fmla="*/ 89749 w 90998"/>
                <a:gd name="connsiteY4" fmla="*/ 23827 h 35894"/>
                <a:gd name="connsiteX5" fmla="*/ 77682 w 90998"/>
                <a:gd name="connsiteY5" fmla="*/ 26844 h 35894"/>
                <a:gd name="connsiteX6" fmla="*/ 11313 w 90998"/>
                <a:gd name="connsiteY6" fmla="*/ 32877 h 35894"/>
                <a:gd name="connsiteX7" fmla="*/ 8296 w 90998"/>
                <a:gd name="connsiteY7" fmla="*/ 35894 h 3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5894">
                  <a:moveTo>
                    <a:pt x="8296" y="35894"/>
                  </a:moveTo>
                  <a:cubicBezTo>
                    <a:pt x="5279" y="35894"/>
                    <a:pt x="5279" y="35894"/>
                    <a:pt x="2263" y="32877"/>
                  </a:cubicBezTo>
                  <a:cubicBezTo>
                    <a:pt x="-754" y="29861"/>
                    <a:pt x="-754" y="23827"/>
                    <a:pt x="2263" y="20810"/>
                  </a:cubicBezTo>
                  <a:cubicBezTo>
                    <a:pt x="14330" y="5727"/>
                    <a:pt x="50531" y="-12374"/>
                    <a:pt x="86732" y="11760"/>
                  </a:cubicBezTo>
                  <a:cubicBezTo>
                    <a:pt x="89749" y="14777"/>
                    <a:pt x="92766" y="17794"/>
                    <a:pt x="89749" y="23827"/>
                  </a:cubicBezTo>
                  <a:cubicBezTo>
                    <a:pt x="86732" y="26844"/>
                    <a:pt x="83715" y="29861"/>
                    <a:pt x="77682" y="26844"/>
                  </a:cubicBezTo>
                  <a:cubicBezTo>
                    <a:pt x="41480" y="2710"/>
                    <a:pt x="14330" y="32877"/>
                    <a:pt x="11313" y="32877"/>
                  </a:cubicBezTo>
                  <a:cubicBezTo>
                    <a:pt x="11313" y="32877"/>
                    <a:pt x="11313" y="35894"/>
                    <a:pt x="8296" y="35894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CEA0A75C-BB41-4B7F-96A9-78347E05EDA6}"/>
                </a:ext>
              </a:extLst>
            </p:cNvPr>
            <p:cNvSpPr/>
            <p:nvPr/>
          </p:nvSpPr>
          <p:spPr>
            <a:xfrm>
              <a:off x="7263148" y="2381678"/>
              <a:ext cx="228519" cy="63351"/>
            </a:xfrm>
            <a:custGeom>
              <a:avLst/>
              <a:gdLst>
                <a:gd name="connsiteX0" fmla="*/ 147821 w 228519"/>
                <a:gd name="connsiteY0" fmla="*/ 63352 h 63351"/>
                <a:gd name="connsiteX1" fmla="*/ 3016 w 228519"/>
                <a:gd name="connsiteY1" fmla="*/ 12067 h 63351"/>
                <a:gd name="connsiteX2" fmla="*/ 0 w 228519"/>
                <a:gd name="connsiteY2" fmla="*/ 3017 h 63351"/>
                <a:gd name="connsiteX3" fmla="*/ 9050 w 228519"/>
                <a:gd name="connsiteY3" fmla="*/ 0 h 63351"/>
                <a:gd name="connsiteX4" fmla="*/ 147821 w 228519"/>
                <a:gd name="connsiteY4" fmla="*/ 48268 h 63351"/>
                <a:gd name="connsiteX5" fmla="*/ 217207 w 228519"/>
                <a:gd name="connsiteY5" fmla="*/ 24134 h 63351"/>
                <a:gd name="connsiteX6" fmla="*/ 226257 w 228519"/>
                <a:gd name="connsiteY6" fmla="*/ 24134 h 63351"/>
                <a:gd name="connsiteX7" fmla="*/ 226257 w 228519"/>
                <a:gd name="connsiteY7" fmla="*/ 33184 h 63351"/>
                <a:gd name="connsiteX8" fmla="*/ 147821 w 228519"/>
                <a:gd name="connsiteY8" fmla="*/ 63352 h 63351"/>
                <a:gd name="connsiteX9" fmla="*/ 147821 w 228519"/>
                <a:gd name="connsiteY9" fmla="*/ 63352 h 63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519" h="63351">
                  <a:moveTo>
                    <a:pt x="147821" y="63352"/>
                  </a:moveTo>
                  <a:cubicBezTo>
                    <a:pt x="96536" y="63352"/>
                    <a:pt x="9050" y="15084"/>
                    <a:pt x="3016" y="12067"/>
                  </a:cubicBezTo>
                  <a:cubicBezTo>
                    <a:pt x="0" y="9050"/>
                    <a:pt x="0" y="6034"/>
                    <a:pt x="0" y="3017"/>
                  </a:cubicBezTo>
                  <a:cubicBezTo>
                    <a:pt x="3016" y="0"/>
                    <a:pt x="6033" y="0"/>
                    <a:pt x="9050" y="0"/>
                  </a:cubicBezTo>
                  <a:cubicBezTo>
                    <a:pt x="9050" y="0"/>
                    <a:pt x="99553" y="48268"/>
                    <a:pt x="147821" y="48268"/>
                  </a:cubicBezTo>
                  <a:cubicBezTo>
                    <a:pt x="187039" y="48268"/>
                    <a:pt x="217207" y="24134"/>
                    <a:pt x="217207" y="24134"/>
                  </a:cubicBezTo>
                  <a:cubicBezTo>
                    <a:pt x="220224" y="21117"/>
                    <a:pt x="223240" y="21117"/>
                    <a:pt x="226257" y="24134"/>
                  </a:cubicBezTo>
                  <a:cubicBezTo>
                    <a:pt x="229273" y="27151"/>
                    <a:pt x="229273" y="30168"/>
                    <a:pt x="226257" y="33184"/>
                  </a:cubicBezTo>
                  <a:cubicBezTo>
                    <a:pt x="226257" y="36201"/>
                    <a:pt x="193072" y="63352"/>
                    <a:pt x="147821" y="63352"/>
                  </a:cubicBezTo>
                  <a:cubicBezTo>
                    <a:pt x="150838" y="63352"/>
                    <a:pt x="150838" y="63352"/>
                    <a:pt x="147821" y="63352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685ABAB3-2055-4682-8471-26A25845EAAC}"/>
                </a:ext>
              </a:extLst>
            </p:cNvPr>
            <p:cNvSpPr/>
            <p:nvPr/>
          </p:nvSpPr>
          <p:spPr>
            <a:xfrm>
              <a:off x="7133114" y="1898997"/>
              <a:ext cx="111933" cy="265474"/>
            </a:xfrm>
            <a:custGeom>
              <a:avLst/>
              <a:gdLst>
                <a:gd name="connsiteX0" fmla="*/ 111933 w 111933"/>
                <a:gd name="connsiteY0" fmla="*/ 126704 h 265474"/>
                <a:gd name="connsiteX1" fmla="*/ 63665 w 111933"/>
                <a:gd name="connsiteY1" fmla="*/ 265475 h 265474"/>
                <a:gd name="connsiteX2" fmla="*/ 6346 w 111933"/>
                <a:gd name="connsiteY2" fmla="*/ 165922 h 265474"/>
                <a:gd name="connsiteX3" fmla="*/ 63665 w 111933"/>
                <a:gd name="connsiteY3" fmla="*/ 0 h 265474"/>
                <a:gd name="connsiteX4" fmla="*/ 111933 w 111933"/>
                <a:gd name="connsiteY4" fmla="*/ 126704 h 26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933" h="265474">
                  <a:moveTo>
                    <a:pt x="111933" y="126704"/>
                  </a:moveTo>
                  <a:cubicBezTo>
                    <a:pt x="111933" y="126704"/>
                    <a:pt x="57631" y="235307"/>
                    <a:pt x="63665" y="265475"/>
                  </a:cubicBezTo>
                  <a:cubicBezTo>
                    <a:pt x="63665" y="265475"/>
                    <a:pt x="21430" y="220223"/>
                    <a:pt x="6346" y="165922"/>
                  </a:cubicBezTo>
                  <a:cubicBezTo>
                    <a:pt x="-8737" y="108603"/>
                    <a:pt x="313" y="15084"/>
                    <a:pt x="63665" y="0"/>
                  </a:cubicBezTo>
                  <a:cubicBezTo>
                    <a:pt x="63665" y="3017"/>
                    <a:pt x="72715" y="108603"/>
                    <a:pt x="111933" y="126704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A247C4A0-F052-48E8-B1FC-B20D6BE668A8}"/>
                </a:ext>
              </a:extLst>
            </p:cNvPr>
            <p:cNvSpPr/>
            <p:nvPr/>
          </p:nvSpPr>
          <p:spPr>
            <a:xfrm>
              <a:off x="7186936" y="1783000"/>
              <a:ext cx="495541" cy="251781"/>
            </a:xfrm>
            <a:custGeom>
              <a:avLst/>
              <a:gdLst>
                <a:gd name="connsiteX0" fmla="*/ 58111 w 495541"/>
                <a:gd name="connsiteY0" fmla="*/ 242700 h 251781"/>
                <a:gd name="connsiteX1" fmla="*/ 178781 w 495541"/>
                <a:gd name="connsiteY1" fmla="*/ 203483 h 251781"/>
                <a:gd name="connsiteX2" fmla="*/ 495541 w 495541"/>
                <a:gd name="connsiteY2" fmla="*/ 191416 h 251781"/>
                <a:gd name="connsiteX3" fmla="*/ 127497 w 495541"/>
                <a:gd name="connsiteY3" fmla="*/ 10410 h 251781"/>
                <a:gd name="connsiteX4" fmla="*/ 9843 w 495541"/>
                <a:gd name="connsiteY4" fmla="*/ 115997 h 251781"/>
                <a:gd name="connsiteX5" fmla="*/ 58111 w 495541"/>
                <a:gd name="connsiteY5" fmla="*/ 242700 h 251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541" h="251781">
                  <a:moveTo>
                    <a:pt x="58111" y="242700"/>
                  </a:moveTo>
                  <a:cubicBezTo>
                    <a:pt x="58111" y="242700"/>
                    <a:pt x="151631" y="203483"/>
                    <a:pt x="178781" y="203483"/>
                  </a:cubicBezTo>
                  <a:cubicBezTo>
                    <a:pt x="278335" y="206499"/>
                    <a:pt x="405038" y="318119"/>
                    <a:pt x="495541" y="191416"/>
                  </a:cubicBezTo>
                  <a:cubicBezTo>
                    <a:pt x="450290" y="91862"/>
                    <a:pt x="290401" y="-37858"/>
                    <a:pt x="127497" y="10410"/>
                  </a:cubicBezTo>
                  <a:cubicBezTo>
                    <a:pt x="49061" y="31527"/>
                    <a:pt x="15877" y="79795"/>
                    <a:pt x="9843" y="115997"/>
                  </a:cubicBezTo>
                  <a:cubicBezTo>
                    <a:pt x="9843" y="119013"/>
                    <a:pt x="-32392" y="230633"/>
                    <a:pt x="58111" y="242700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A125A550-34F3-4CF0-A1D4-EBDD1464FD39}"/>
                </a:ext>
              </a:extLst>
            </p:cNvPr>
            <p:cNvSpPr/>
            <p:nvPr/>
          </p:nvSpPr>
          <p:spPr>
            <a:xfrm>
              <a:off x="7132387" y="2134115"/>
              <a:ext cx="77799" cy="109341"/>
            </a:xfrm>
            <a:custGeom>
              <a:avLst/>
              <a:gdLst>
                <a:gd name="connsiteX0" fmla="*/ 64392 w 77799"/>
                <a:gd name="connsiteY0" fmla="*/ 15272 h 109341"/>
                <a:gd name="connsiteX1" fmla="*/ 7073 w 77799"/>
                <a:gd name="connsiteY1" fmla="*/ 6222 h 109341"/>
                <a:gd name="connsiteX2" fmla="*/ 64392 w 77799"/>
                <a:gd name="connsiteY2" fmla="*/ 105775 h 109341"/>
                <a:gd name="connsiteX3" fmla="*/ 64392 w 77799"/>
                <a:gd name="connsiteY3" fmla="*/ 15272 h 109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99" h="109341">
                  <a:moveTo>
                    <a:pt x="64392" y="15272"/>
                  </a:moveTo>
                  <a:cubicBezTo>
                    <a:pt x="64392" y="15272"/>
                    <a:pt x="31207" y="-11878"/>
                    <a:pt x="7073" y="6222"/>
                  </a:cubicBezTo>
                  <a:cubicBezTo>
                    <a:pt x="-17061" y="24323"/>
                    <a:pt x="25174" y="129909"/>
                    <a:pt x="64392" y="105775"/>
                  </a:cubicBezTo>
                  <a:cubicBezTo>
                    <a:pt x="94559" y="87675"/>
                    <a:pt x="64392" y="15272"/>
                    <a:pt x="64392" y="15272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54F4D5D9-34CA-45C0-947E-BB87BDE17166}"/>
                </a:ext>
              </a:extLst>
            </p:cNvPr>
            <p:cNvSpPr/>
            <p:nvPr/>
          </p:nvSpPr>
          <p:spPr>
            <a:xfrm>
              <a:off x="7179248" y="1915848"/>
              <a:ext cx="71833" cy="239573"/>
            </a:xfrm>
            <a:custGeom>
              <a:avLst/>
              <a:gdLst>
                <a:gd name="connsiteX0" fmla="*/ 17532 w 71833"/>
                <a:gd name="connsiteY0" fmla="*/ 239574 h 239573"/>
                <a:gd name="connsiteX1" fmla="*/ 17532 w 71833"/>
                <a:gd name="connsiteY1" fmla="*/ 239574 h 239573"/>
                <a:gd name="connsiteX2" fmla="*/ 11498 w 71833"/>
                <a:gd name="connsiteY2" fmla="*/ 233540 h 239573"/>
                <a:gd name="connsiteX3" fmla="*/ 56749 w 71833"/>
                <a:gd name="connsiteY3" fmla="*/ 112870 h 239573"/>
                <a:gd name="connsiteX4" fmla="*/ 8481 w 71833"/>
                <a:gd name="connsiteY4" fmla="*/ 70635 h 239573"/>
                <a:gd name="connsiteX5" fmla="*/ 5465 w 71833"/>
                <a:gd name="connsiteY5" fmla="*/ 4266 h 239573"/>
                <a:gd name="connsiteX6" fmla="*/ 11498 w 71833"/>
                <a:gd name="connsiteY6" fmla="*/ 1250 h 239573"/>
                <a:gd name="connsiteX7" fmla="*/ 14515 w 71833"/>
                <a:gd name="connsiteY7" fmla="*/ 7283 h 239573"/>
                <a:gd name="connsiteX8" fmla="*/ 14515 w 71833"/>
                <a:gd name="connsiteY8" fmla="*/ 64602 h 239573"/>
                <a:gd name="connsiteX9" fmla="*/ 62783 w 71833"/>
                <a:gd name="connsiteY9" fmla="*/ 103819 h 239573"/>
                <a:gd name="connsiteX10" fmla="*/ 71833 w 71833"/>
                <a:gd name="connsiteY10" fmla="*/ 106836 h 239573"/>
                <a:gd name="connsiteX11" fmla="*/ 65800 w 71833"/>
                <a:gd name="connsiteY11" fmla="*/ 112870 h 239573"/>
                <a:gd name="connsiteX12" fmla="*/ 20548 w 71833"/>
                <a:gd name="connsiteY12" fmla="*/ 233540 h 239573"/>
                <a:gd name="connsiteX13" fmla="*/ 17532 w 71833"/>
                <a:gd name="connsiteY13" fmla="*/ 239574 h 23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1833" h="239573">
                  <a:moveTo>
                    <a:pt x="17532" y="239574"/>
                  </a:moveTo>
                  <a:cubicBezTo>
                    <a:pt x="17532" y="239574"/>
                    <a:pt x="17532" y="239574"/>
                    <a:pt x="17532" y="239574"/>
                  </a:cubicBezTo>
                  <a:cubicBezTo>
                    <a:pt x="14515" y="239574"/>
                    <a:pt x="11498" y="236557"/>
                    <a:pt x="11498" y="233540"/>
                  </a:cubicBezTo>
                  <a:cubicBezTo>
                    <a:pt x="14515" y="182255"/>
                    <a:pt x="44682" y="130970"/>
                    <a:pt x="56749" y="112870"/>
                  </a:cubicBezTo>
                  <a:cubicBezTo>
                    <a:pt x="44682" y="106836"/>
                    <a:pt x="20548" y="94769"/>
                    <a:pt x="8481" y="70635"/>
                  </a:cubicBezTo>
                  <a:cubicBezTo>
                    <a:pt x="-569" y="52535"/>
                    <a:pt x="-3586" y="28400"/>
                    <a:pt x="5465" y="4266"/>
                  </a:cubicBezTo>
                  <a:cubicBezTo>
                    <a:pt x="5465" y="1250"/>
                    <a:pt x="8481" y="-1767"/>
                    <a:pt x="11498" y="1250"/>
                  </a:cubicBezTo>
                  <a:cubicBezTo>
                    <a:pt x="14515" y="1250"/>
                    <a:pt x="17532" y="4266"/>
                    <a:pt x="14515" y="7283"/>
                  </a:cubicBezTo>
                  <a:cubicBezTo>
                    <a:pt x="8481" y="28400"/>
                    <a:pt x="8481" y="46501"/>
                    <a:pt x="14515" y="64602"/>
                  </a:cubicBezTo>
                  <a:cubicBezTo>
                    <a:pt x="29599" y="91752"/>
                    <a:pt x="62783" y="103819"/>
                    <a:pt x="62783" y="103819"/>
                  </a:cubicBezTo>
                  <a:lnTo>
                    <a:pt x="71833" y="106836"/>
                  </a:lnTo>
                  <a:lnTo>
                    <a:pt x="65800" y="112870"/>
                  </a:lnTo>
                  <a:cubicBezTo>
                    <a:pt x="65800" y="112870"/>
                    <a:pt x="23565" y="173205"/>
                    <a:pt x="20548" y="233540"/>
                  </a:cubicBezTo>
                  <a:cubicBezTo>
                    <a:pt x="23565" y="236557"/>
                    <a:pt x="20548" y="239574"/>
                    <a:pt x="17532" y="239574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A1B7BF5F-C996-4E71-8F9A-00C118D72388}"/>
                </a:ext>
              </a:extLst>
            </p:cNvPr>
            <p:cNvSpPr/>
            <p:nvPr/>
          </p:nvSpPr>
          <p:spPr>
            <a:xfrm>
              <a:off x="7359684" y="1956832"/>
              <a:ext cx="192318" cy="38700"/>
            </a:xfrm>
            <a:custGeom>
              <a:avLst/>
              <a:gdLst>
                <a:gd name="connsiteX0" fmla="*/ 6033 w 192318"/>
                <a:gd name="connsiteY0" fmla="*/ 38700 h 38700"/>
                <a:gd name="connsiteX1" fmla="*/ 0 w 192318"/>
                <a:gd name="connsiteY1" fmla="*/ 35684 h 38700"/>
                <a:gd name="connsiteX2" fmla="*/ 3017 w 192318"/>
                <a:gd name="connsiteY2" fmla="*/ 26633 h 38700"/>
                <a:gd name="connsiteX3" fmla="*/ 190056 w 192318"/>
                <a:gd name="connsiteY3" fmla="*/ 20600 h 38700"/>
                <a:gd name="connsiteX4" fmla="*/ 190056 w 192318"/>
                <a:gd name="connsiteY4" fmla="*/ 29650 h 38700"/>
                <a:gd name="connsiteX5" fmla="*/ 181006 w 192318"/>
                <a:gd name="connsiteY5" fmla="*/ 29650 h 38700"/>
                <a:gd name="connsiteX6" fmla="*/ 6033 w 192318"/>
                <a:gd name="connsiteY6" fmla="*/ 38700 h 38700"/>
                <a:gd name="connsiteX7" fmla="*/ 6033 w 192318"/>
                <a:gd name="connsiteY7" fmla="*/ 38700 h 38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2318" h="38700">
                  <a:moveTo>
                    <a:pt x="6033" y="38700"/>
                  </a:moveTo>
                  <a:cubicBezTo>
                    <a:pt x="3017" y="38700"/>
                    <a:pt x="3017" y="38700"/>
                    <a:pt x="0" y="35684"/>
                  </a:cubicBezTo>
                  <a:cubicBezTo>
                    <a:pt x="0" y="32667"/>
                    <a:pt x="0" y="29650"/>
                    <a:pt x="3017" y="26633"/>
                  </a:cubicBezTo>
                  <a:cubicBezTo>
                    <a:pt x="9050" y="23617"/>
                    <a:pt x="120670" y="-27668"/>
                    <a:pt x="190056" y="20600"/>
                  </a:cubicBezTo>
                  <a:cubicBezTo>
                    <a:pt x="193072" y="23617"/>
                    <a:pt x="193072" y="26633"/>
                    <a:pt x="190056" y="29650"/>
                  </a:cubicBezTo>
                  <a:cubicBezTo>
                    <a:pt x="187039" y="32667"/>
                    <a:pt x="184023" y="32667"/>
                    <a:pt x="181006" y="29650"/>
                  </a:cubicBezTo>
                  <a:cubicBezTo>
                    <a:pt x="120670" y="-12584"/>
                    <a:pt x="9050" y="35684"/>
                    <a:pt x="6033" y="38700"/>
                  </a:cubicBezTo>
                  <a:cubicBezTo>
                    <a:pt x="9050" y="38700"/>
                    <a:pt x="6033" y="38700"/>
                    <a:pt x="6033" y="38700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A814F8FE-8131-4C58-9828-D21F6E487D06}"/>
                </a:ext>
              </a:extLst>
            </p:cNvPr>
            <p:cNvSpPr/>
            <p:nvPr/>
          </p:nvSpPr>
          <p:spPr>
            <a:xfrm>
              <a:off x="6852868" y="2499332"/>
              <a:ext cx="1059691" cy="1550432"/>
            </a:xfrm>
            <a:custGeom>
              <a:avLst/>
              <a:gdLst>
                <a:gd name="connsiteX0" fmla="*/ 392179 w 1059691"/>
                <a:gd name="connsiteY0" fmla="*/ 0 h 1550432"/>
                <a:gd name="connsiteX1" fmla="*/ 678771 w 1059691"/>
                <a:gd name="connsiteY1" fmla="*/ 0 h 1550432"/>
                <a:gd name="connsiteX2" fmla="*/ 974414 w 1059691"/>
                <a:gd name="connsiteY2" fmla="*/ 129721 h 1550432"/>
                <a:gd name="connsiteX3" fmla="*/ 1058883 w 1059691"/>
                <a:gd name="connsiteY3" fmla="*/ 1520447 h 1550432"/>
                <a:gd name="connsiteX4" fmla="*/ 0 w 1059691"/>
                <a:gd name="connsiteY4" fmla="*/ 1496313 h 1550432"/>
                <a:gd name="connsiteX5" fmla="*/ 114637 w 1059691"/>
                <a:gd name="connsiteY5" fmla="*/ 102570 h 1550432"/>
                <a:gd name="connsiteX6" fmla="*/ 392179 w 1059691"/>
                <a:gd name="connsiteY6" fmla="*/ 0 h 1550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9691" h="1550432">
                  <a:moveTo>
                    <a:pt x="392179" y="0"/>
                  </a:moveTo>
                  <a:cubicBezTo>
                    <a:pt x="392179" y="0"/>
                    <a:pt x="564134" y="54302"/>
                    <a:pt x="678771" y="0"/>
                  </a:cubicBezTo>
                  <a:cubicBezTo>
                    <a:pt x="678771" y="0"/>
                    <a:pt x="950279" y="96536"/>
                    <a:pt x="974414" y="129721"/>
                  </a:cubicBezTo>
                  <a:cubicBezTo>
                    <a:pt x="998548" y="159888"/>
                    <a:pt x="1067933" y="1454078"/>
                    <a:pt x="1058883" y="1520447"/>
                  </a:cubicBezTo>
                  <a:cubicBezTo>
                    <a:pt x="1058883" y="1520447"/>
                    <a:pt x="573184" y="1601900"/>
                    <a:pt x="0" y="1496313"/>
                  </a:cubicBezTo>
                  <a:cubicBezTo>
                    <a:pt x="0" y="1143352"/>
                    <a:pt x="72403" y="132737"/>
                    <a:pt x="114637" y="102570"/>
                  </a:cubicBezTo>
                  <a:cubicBezTo>
                    <a:pt x="156871" y="69385"/>
                    <a:pt x="392179" y="0"/>
                    <a:pt x="392179" y="0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4B91173E-6945-4202-ADC3-722DDDD62899}"/>
                </a:ext>
              </a:extLst>
            </p:cNvPr>
            <p:cNvSpPr/>
            <p:nvPr/>
          </p:nvSpPr>
          <p:spPr>
            <a:xfrm>
              <a:off x="7242031" y="2499332"/>
              <a:ext cx="177988" cy="117653"/>
            </a:xfrm>
            <a:custGeom>
              <a:avLst/>
              <a:gdLst>
                <a:gd name="connsiteX0" fmla="*/ 177989 w 177988"/>
                <a:gd name="connsiteY0" fmla="*/ 21117 h 117653"/>
                <a:gd name="connsiteX1" fmla="*/ 150838 w 177988"/>
                <a:gd name="connsiteY1" fmla="*/ 117654 h 117653"/>
                <a:gd name="connsiteX2" fmla="*/ 0 w 177988"/>
                <a:gd name="connsiteY2" fmla="*/ 0 h 117653"/>
                <a:gd name="connsiteX3" fmla="*/ 177989 w 177988"/>
                <a:gd name="connsiteY3" fmla="*/ 21117 h 11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988" h="117653">
                  <a:moveTo>
                    <a:pt x="177989" y="21117"/>
                  </a:moveTo>
                  <a:lnTo>
                    <a:pt x="150838" y="117654"/>
                  </a:lnTo>
                  <a:lnTo>
                    <a:pt x="0" y="0"/>
                  </a:lnTo>
                  <a:cubicBezTo>
                    <a:pt x="3016" y="0"/>
                    <a:pt x="138771" y="21117"/>
                    <a:pt x="177989" y="21117"/>
                  </a:cubicBezTo>
                  <a:close/>
                </a:path>
              </a:pathLst>
            </a:custGeom>
            <a:solidFill>
              <a:srgbClr val="FFFFFF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B97890DA-F27D-4FA9-83C3-79AE13E5B9EC}"/>
                </a:ext>
              </a:extLst>
            </p:cNvPr>
            <p:cNvSpPr/>
            <p:nvPr/>
          </p:nvSpPr>
          <p:spPr>
            <a:xfrm>
              <a:off x="7420019" y="2499332"/>
              <a:ext cx="108698" cy="114636"/>
            </a:xfrm>
            <a:custGeom>
              <a:avLst/>
              <a:gdLst>
                <a:gd name="connsiteX0" fmla="*/ 0 w 108698"/>
                <a:gd name="connsiteY0" fmla="*/ 21117 h 114636"/>
                <a:gd name="connsiteX1" fmla="*/ 36201 w 108698"/>
                <a:gd name="connsiteY1" fmla="*/ 114637 h 114636"/>
                <a:gd name="connsiteX2" fmla="*/ 108604 w 108698"/>
                <a:gd name="connsiteY2" fmla="*/ 0 h 114636"/>
                <a:gd name="connsiteX3" fmla="*/ 0 w 108698"/>
                <a:gd name="connsiteY3" fmla="*/ 21117 h 114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698" h="114636">
                  <a:moveTo>
                    <a:pt x="0" y="21117"/>
                  </a:moveTo>
                  <a:lnTo>
                    <a:pt x="36201" y="114637"/>
                  </a:lnTo>
                  <a:lnTo>
                    <a:pt x="108604" y="0"/>
                  </a:lnTo>
                  <a:cubicBezTo>
                    <a:pt x="111620" y="0"/>
                    <a:pt x="42234" y="21117"/>
                    <a:pt x="0" y="21117"/>
                  </a:cubicBezTo>
                  <a:close/>
                </a:path>
              </a:pathLst>
            </a:custGeom>
            <a:solidFill>
              <a:srgbClr val="FFFFFF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95C39144-C32F-45CF-A029-CFE1472C9684}"/>
                </a:ext>
              </a:extLst>
            </p:cNvPr>
            <p:cNvSpPr/>
            <p:nvPr/>
          </p:nvSpPr>
          <p:spPr>
            <a:xfrm>
              <a:off x="7821249" y="2623019"/>
              <a:ext cx="52534" cy="733072"/>
            </a:xfrm>
            <a:custGeom>
              <a:avLst/>
              <a:gdLst>
                <a:gd name="connsiteX0" fmla="*/ 48268 w 52534"/>
                <a:gd name="connsiteY0" fmla="*/ 733073 h 733072"/>
                <a:gd name="connsiteX1" fmla="*/ 42234 w 52534"/>
                <a:gd name="connsiteY1" fmla="*/ 727039 h 733072"/>
                <a:gd name="connsiteX2" fmla="*/ 0 w 52534"/>
                <a:gd name="connsiteY2" fmla="*/ 6034 h 733072"/>
                <a:gd name="connsiteX3" fmla="*/ 3016 w 52534"/>
                <a:gd name="connsiteY3" fmla="*/ 0 h 733072"/>
                <a:gd name="connsiteX4" fmla="*/ 9050 w 52534"/>
                <a:gd name="connsiteY4" fmla="*/ 3017 h 733072"/>
                <a:gd name="connsiteX5" fmla="*/ 51285 w 52534"/>
                <a:gd name="connsiteY5" fmla="*/ 727039 h 733072"/>
                <a:gd name="connsiteX6" fmla="*/ 48268 w 52534"/>
                <a:gd name="connsiteY6" fmla="*/ 733073 h 733072"/>
                <a:gd name="connsiteX7" fmla="*/ 48268 w 52534"/>
                <a:gd name="connsiteY7" fmla="*/ 733073 h 733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534" h="733072">
                  <a:moveTo>
                    <a:pt x="48268" y="733073"/>
                  </a:moveTo>
                  <a:cubicBezTo>
                    <a:pt x="45251" y="733073"/>
                    <a:pt x="42234" y="730056"/>
                    <a:pt x="42234" y="727039"/>
                  </a:cubicBezTo>
                  <a:cubicBezTo>
                    <a:pt x="42234" y="721006"/>
                    <a:pt x="6033" y="45251"/>
                    <a:pt x="0" y="6034"/>
                  </a:cubicBezTo>
                  <a:cubicBezTo>
                    <a:pt x="0" y="3017"/>
                    <a:pt x="0" y="0"/>
                    <a:pt x="3016" y="0"/>
                  </a:cubicBezTo>
                  <a:cubicBezTo>
                    <a:pt x="6033" y="0"/>
                    <a:pt x="9050" y="0"/>
                    <a:pt x="9050" y="3017"/>
                  </a:cubicBezTo>
                  <a:cubicBezTo>
                    <a:pt x="18100" y="42235"/>
                    <a:pt x="51285" y="699888"/>
                    <a:pt x="51285" y="727039"/>
                  </a:cubicBezTo>
                  <a:cubicBezTo>
                    <a:pt x="54302" y="730056"/>
                    <a:pt x="51285" y="733073"/>
                    <a:pt x="48268" y="733073"/>
                  </a:cubicBezTo>
                  <a:cubicBezTo>
                    <a:pt x="48268" y="733073"/>
                    <a:pt x="48268" y="733073"/>
                    <a:pt x="48268" y="733073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3E3A4BCE-F637-4B0E-A4FC-6AE040457316}"/>
                </a:ext>
              </a:extLst>
            </p:cNvPr>
            <p:cNvSpPr/>
            <p:nvPr/>
          </p:nvSpPr>
          <p:spPr>
            <a:xfrm>
              <a:off x="7371751" y="2328131"/>
              <a:ext cx="118994" cy="29413"/>
            </a:xfrm>
            <a:custGeom>
              <a:avLst/>
              <a:gdLst>
                <a:gd name="connsiteX0" fmla="*/ 66369 w 118994"/>
                <a:gd name="connsiteY0" fmla="*/ 29413 h 29413"/>
                <a:gd name="connsiteX1" fmla="*/ 3017 w 118994"/>
                <a:gd name="connsiteY1" fmla="*/ 14330 h 29413"/>
                <a:gd name="connsiteX2" fmla="*/ 0 w 118994"/>
                <a:gd name="connsiteY2" fmla="*/ 5279 h 29413"/>
                <a:gd name="connsiteX3" fmla="*/ 9050 w 118994"/>
                <a:gd name="connsiteY3" fmla="*/ 2263 h 29413"/>
                <a:gd name="connsiteX4" fmla="*/ 108604 w 118994"/>
                <a:gd name="connsiteY4" fmla="*/ 2263 h 29413"/>
                <a:gd name="connsiteX5" fmla="*/ 117654 w 118994"/>
                <a:gd name="connsiteY5" fmla="*/ 2263 h 29413"/>
                <a:gd name="connsiteX6" fmla="*/ 117654 w 118994"/>
                <a:gd name="connsiteY6" fmla="*/ 11313 h 29413"/>
                <a:gd name="connsiteX7" fmla="*/ 66369 w 118994"/>
                <a:gd name="connsiteY7" fmla="*/ 29413 h 29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994" h="29413">
                  <a:moveTo>
                    <a:pt x="66369" y="29413"/>
                  </a:moveTo>
                  <a:cubicBezTo>
                    <a:pt x="33185" y="29413"/>
                    <a:pt x="6034" y="14330"/>
                    <a:pt x="3017" y="14330"/>
                  </a:cubicBezTo>
                  <a:cubicBezTo>
                    <a:pt x="0" y="14330"/>
                    <a:pt x="0" y="8296"/>
                    <a:pt x="0" y="5279"/>
                  </a:cubicBezTo>
                  <a:cubicBezTo>
                    <a:pt x="0" y="2263"/>
                    <a:pt x="6034" y="2263"/>
                    <a:pt x="9050" y="2263"/>
                  </a:cubicBezTo>
                  <a:cubicBezTo>
                    <a:pt x="9050" y="2263"/>
                    <a:pt x="72403" y="32430"/>
                    <a:pt x="108604" y="2263"/>
                  </a:cubicBezTo>
                  <a:cubicBezTo>
                    <a:pt x="111620" y="-754"/>
                    <a:pt x="114637" y="-754"/>
                    <a:pt x="117654" y="2263"/>
                  </a:cubicBezTo>
                  <a:cubicBezTo>
                    <a:pt x="120670" y="5279"/>
                    <a:pt x="117654" y="8296"/>
                    <a:pt x="117654" y="11313"/>
                  </a:cubicBezTo>
                  <a:cubicBezTo>
                    <a:pt x="102570" y="23380"/>
                    <a:pt x="84469" y="29413"/>
                    <a:pt x="66369" y="29413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80" name="图形 1">
              <a:extLst>
                <a:ext uri="{FF2B5EF4-FFF2-40B4-BE49-F238E27FC236}">
                  <a16:creationId xmlns:a16="http://schemas.microsoft.com/office/drawing/2014/main" id="{3F609A6D-6021-4C2A-A5BF-9D8A30C0C72C}"/>
                </a:ext>
              </a:extLst>
            </p:cNvPr>
            <p:cNvGrpSpPr/>
            <p:nvPr/>
          </p:nvGrpSpPr>
          <p:grpSpPr>
            <a:xfrm>
              <a:off x="6606265" y="3847594"/>
              <a:ext cx="308415" cy="367624"/>
              <a:chOff x="6606265" y="3847594"/>
              <a:chExt cx="308415" cy="367624"/>
            </a:xfrm>
          </p:grpSpPr>
          <p:sp>
            <p:nvSpPr>
              <p:cNvPr id="181" name="任意多边形: 形状 180">
                <a:extLst>
                  <a:ext uri="{FF2B5EF4-FFF2-40B4-BE49-F238E27FC236}">
                    <a16:creationId xmlns:a16="http://schemas.microsoft.com/office/drawing/2014/main" id="{38567889-2373-47EA-AE06-A9880569A258}"/>
                  </a:ext>
                </a:extLst>
              </p:cNvPr>
              <p:cNvSpPr/>
              <p:nvPr/>
            </p:nvSpPr>
            <p:spPr>
              <a:xfrm>
                <a:off x="6606265" y="3847594"/>
                <a:ext cx="308358" cy="367624"/>
              </a:xfrm>
              <a:custGeom>
                <a:avLst/>
                <a:gdLst>
                  <a:gd name="connsiteX0" fmla="*/ 11296 w 308358"/>
                  <a:gd name="connsiteY0" fmla="*/ 108833 h 367624"/>
                  <a:gd name="connsiteX1" fmla="*/ 59564 w 308358"/>
                  <a:gd name="connsiteY1" fmla="*/ 193302 h 367624"/>
                  <a:gd name="connsiteX2" fmla="*/ 98782 w 308358"/>
                  <a:gd name="connsiteY2" fmla="*/ 283805 h 367624"/>
                  <a:gd name="connsiteX3" fmla="*/ 131966 w 308358"/>
                  <a:gd name="connsiteY3" fmla="*/ 326039 h 367624"/>
                  <a:gd name="connsiteX4" fmla="*/ 134983 w 308358"/>
                  <a:gd name="connsiteY4" fmla="*/ 259671 h 367624"/>
                  <a:gd name="connsiteX5" fmla="*/ 162134 w 308358"/>
                  <a:gd name="connsiteY5" fmla="*/ 307939 h 367624"/>
                  <a:gd name="connsiteX6" fmla="*/ 216435 w 308358"/>
                  <a:gd name="connsiteY6" fmla="*/ 362241 h 367624"/>
                  <a:gd name="connsiteX7" fmla="*/ 228503 w 308358"/>
                  <a:gd name="connsiteY7" fmla="*/ 353190 h 367624"/>
                  <a:gd name="connsiteX8" fmla="*/ 258670 w 308358"/>
                  <a:gd name="connsiteY8" fmla="*/ 365257 h 367624"/>
                  <a:gd name="connsiteX9" fmla="*/ 264704 w 308358"/>
                  <a:gd name="connsiteY9" fmla="*/ 298889 h 367624"/>
                  <a:gd name="connsiteX10" fmla="*/ 246603 w 308358"/>
                  <a:gd name="connsiteY10" fmla="*/ 238553 h 367624"/>
                  <a:gd name="connsiteX11" fmla="*/ 276771 w 308358"/>
                  <a:gd name="connsiteY11" fmla="*/ 271738 h 367624"/>
                  <a:gd name="connsiteX12" fmla="*/ 297888 w 308358"/>
                  <a:gd name="connsiteY12" fmla="*/ 280788 h 367624"/>
                  <a:gd name="connsiteX13" fmla="*/ 282804 w 308358"/>
                  <a:gd name="connsiteY13" fmla="*/ 205369 h 367624"/>
                  <a:gd name="connsiteX14" fmla="*/ 119899 w 308358"/>
                  <a:gd name="connsiteY14" fmla="*/ 229 h 367624"/>
                  <a:gd name="connsiteX15" fmla="*/ 5262 w 308358"/>
                  <a:gd name="connsiteY15" fmla="*/ 57548 h 367624"/>
                  <a:gd name="connsiteX16" fmla="*/ 11296 w 308358"/>
                  <a:gd name="connsiteY16" fmla="*/ 108833 h 367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08358" h="367624">
                    <a:moveTo>
                      <a:pt x="11296" y="108833"/>
                    </a:moveTo>
                    <a:cubicBezTo>
                      <a:pt x="26379" y="135984"/>
                      <a:pt x="44480" y="163134"/>
                      <a:pt x="59564" y="193302"/>
                    </a:cubicBezTo>
                    <a:cubicBezTo>
                      <a:pt x="74648" y="223470"/>
                      <a:pt x="86715" y="253637"/>
                      <a:pt x="98782" y="283805"/>
                    </a:cubicBezTo>
                    <a:cubicBezTo>
                      <a:pt x="104815" y="295872"/>
                      <a:pt x="116882" y="326039"/>
                      <a:pt x="131966" y="326039"/>
                    </a:cubicBezTo>
                    <a:cubicBezTo>
                      <a:pt x="153084" y="326039"/>
                      <a:pt x="147050" y="292855"/>
                      <a:pt x="134983" y="259671"/>
                    </a:cubicBezTo>
                    <a:cubicBezTo>
                      <a:pt x="144033" y="274754"/>
                      <a:pt x="153084" y="292855"/>
                      <a:pt x="162134" y="307939"/>
                    </a:cubicBezTo>
                    <a:cubicBezTo>
                      <a:pt x="171184" y="323023"/>
                      <a:pt x="195318" y="359224"/>
                      <a:pt x="216435" y="362241"/>
                    </a:cubicBezTo>
                    <a:cubicBezTo>
                      <a:pt x="225486" y="362241"/>
                      <a:pt x="228503" y="359224"/>
                      <a:pt x="228503" y="353190"/>
                    </a:cubicBezTo>
                    <a:cubicBezTo>
                      <a:pt x="237553" y="365257"/>
                      <a:pt x="249620" y="371291"/>
                      <a:pt x="258670" y="365257"/>
                    </a:cubicBezTo>
                    <a:cubicBezTo>
                      <a:pt x="276771" y="353190"/>
                      <a:pt x="267720" y="313972"/>
                      <a:pt x="264704" y="298889"/>
                    </a:cubicBezTo>
                    <a:cubicBezTo>
                      <a:pt x="261687" y="277771"/>
                      <a:pt x="252636" y="259671"/>
                      <a:pt x="246603" y="238553"/>
                    </a:cubicBezTo>
                    <a:cubicBezTo>
                      <a:pt x="255653" y="250620"/>
                      <a:pt x="267720" y="262687"/>
                      <a:pt x="276771" y="271738"/>
                    </a:cubicBezTo>
                    <a:cubicBezTo>
                      <a:pt x="282804" y="277771"/>
                      <a:pt x="288838" y="283805"/>
                      <a:pt x="297888" y="280788"/>
                    </a:cubicBezTo>
                    <a:cubicBezTo>
                      <a:pt x="325039" y="271738"/>
                      <a:pt x="291854" y="217436"/>
                      <a:pt x="282804" y="205369"/>
                    </a:cubicBezTo>
                    <a:cubicBezTo>
                      <a:pt x="237553" y="129950"/>
                      <a:pt x="174201" y="69615"/>
                      <a:pt x="119899" y="229"/>
                    </a:cubicBezTo>
                    <a:cubicBezTo>
                      <a:pt x="122916" y="-2787"/>
                      <a:pt x="29396" y="24363"/>
                      <a:pt x="5262" y="57548"/>
                    </a:cubicBezTo>
                    <a:cubicBezTo>
                      <a:pt x="-3788" y="78665"/>
                      <a:pt x="-771" y="87715"/>
                      <a:pt x="11296" y="108833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2" name="任意多边形: 形状 181">
                <a:extLst>
                  <a:ext uri="{FF2B5EF4-FFF2-40B4-BE49-F238E27FC236}">
                    <a16:creationId xmlns:a16="http://schemas.microsoft.com/office/drawing/2014/main" id="{9275F58D-B572-47C2-B02C-3F66B35BA2BB}"/>
                  </a:ext>
                </a:extLst>
              </p:cNvPr>
              <p:cNvSpPr/>
              <p:nvPr/>
            </p:nvSpPr>
            <p:spPr>
              <a:xfrm>
                <a:off x="6801584" y="3969248"/>
                <a:ext cx="113097" cy="168184"/>
              </a:xfrm>
              <a:custGeom>
                <a:avLst/>
                <a:gdLst>
                  <a:gd name="connsiteX0" fmla="*/ 102570 w 113097"/>
                  <a:gd name="connsiteY0" fmla="*/ 165168 h 168184"/>
                  <a:gd name="connsiteX1" fmla="*/ 48268 w 113097"/>
                  <a:gd name="connsiteY1" fmla="*/ 122933 h 168184"/>
                  <a:gd name="connsiteX2" fmla="*/ 3017 w 113097"/>
                  <a:gd name="connsiteY2" fmla="*/ 56564 h 168184"/>
                  <a:gd name="connsiteX3" fmla="*/ 0 w 113097"/>
                  <a:gd name="connsiteY3" fmla="*/ 50531 h 168184"/>
                  <a:gd name="connsiteX4" fmla="*/ 6033 w 113097"/>
                  <a:gd name="connsiteY4" fmla="*/ 47514 h 168184"/>
                  <a:gd name="connsiteX5" fmla="*/ 54302 w 113097"/>
                  <a:gd name="connsiteY5" fmla="*/ 119916 h 168184"/>
                  <a:gd name="connsiteX6" fmla="*/ 96536 w 113097"/>
                  <a:gd name="connsiteY6" fmla="*/ 159134 h 168184"/>
                  <a:gd name="connsiteX7" fmla="*/ 99553 w 113097"/>
                  <a:gd name="connsiteY7" fmla="*/ 159134 h 168184"/>
                  <a:gd name="connsiteX8" fmla="*/ 102570 w 113097"/>
                  <a:gd name="connsiteY8" fmla="*/ 156117 h 168184"/>
                  <a:gd name="connsiteX9" fmla="*/ 21117 w 113097"/>
                  <a:gd name="connsiteY9" fmla="*/ 11313 h 168184"/>
                  <a:gd name="connsiteX10" fmla="*/ 21117 w 113097"/>
                  <a:gd name="connsiteY10" fmla="*/ 2263 h 168184"/>
                  <a:gd name="connsiteX11" fmla="*/ 30168 w 113097"/>
                  <a:gd name="connsiteY11" fmla="*/ 2263 h 168184"/>
                  <a:gd name="connsiteX12" fmla="*/ 111620 w 113097"/>
                  <a:gd name="connsiteY12" fmla="*/ 159134 h 168184"/>
                  <a:gd name="connsiteX13" fmla="*/ 99553 w 113097"/>
                  <a:gd name="connsiteY13" fmla="*/ 168184 h 168184"/>
                  <a:gd name="connsiteX14" fmla="*/ 102570 w 113097"/>
                  <a:gd name="connsiteY14" fmla="*/ 165168 h 168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3097" h="168184">
                    <a:moveTo>
                      <a:pt x="102570" y="165168"/>
                    </a:moveTo>
                    <a:cubicBezTo>
                      <a:pt x="78436" y="165168"/>
                      <a:pt x="51285" y="125950"/>
                      <a:pt x="48268" y="122933"/>
                    </a:cubicBezTo>
                    <a:cubicBezTo>
                      <a:pt x="33185" y="92765"/>
                      <a:pt x="12067" y="59581"/>
                      <a:pt x="3017" y="56564"/>
                    </a:cubicBezTo>
                    <a:cubicBezTo>
                      <a:pt x="0" y="56564"/>
                      <a:pt x="0" y="50531"/>
                      <a:pt x="0" y="50531"/>
                    </a:cubicBezTo>
                    <a:cubicBezTo>
                      <a:pt x="0" y="47514"/>
                      <a:pt x="6033" y="47514"/>
                      <a:pt x="6033" y="47514"/>
                    </a:cubicBezTo>
                    <a:cubicBezTo>
                      <a:pt x="18101" y="53547"/>
                      <a:pt x="45251" y="104832"/>
                      <a:pt x="54302" y="119916"/>
                    </a:cubicBezTo>
                    <a:cubicBezTo>
                      <a:pt x="60335" y="128966"/>
                      <a:pt x="81452" y="159134"/>
                      <a:pt x="96536" y="159134"/>
                    </a:cubicBezTo>
                    <a:cubicBezTo>
                      <a:pt x="96536" y="159134"/>
                      <a:pt x="96536" y="159134"/>
                      <a:pt x="99553" y="159134"/>
                    </a:cubicBezTo>
                    <a:cubicBezTo>
                      <a:pt x="99553" y="159134"/>
                      <a:pt x="102570" y="159134"/>
                      <a:pt x="102570" y="156117"/>
                    </a:cubicBezTo>
                    <a:cubicBezTo>
                      <a:pt x="108604" y="141033"/>
                      <a:pt x="87486" y="83715"/>
                      <a:pt x="21117" y="11313"/>
                    </a:cubicBezTo>
                    <a:cubicBezTo>
                      <a:pt x="18101" y="8296"/>
                      <a:pt x="18101" y="5279"/>
                      <a:pt x="21117" y="2263"/>
                    </a:cubicBezTo>
                    <a:cubicBezTo>
                      <a:pt x="24134" y="-754"/>
                      <a:pt x="27151" y="-754"/>
                      <a:pt x="30168" y="2263"/>
                    </a:cubicBezTo>
                    <a:cubicBezTo>
                      <a:pt x="87486" y="68631"/>
                      <a:pt x="120670" y="135000"/>
                      <a:pt x="111620" y="159134"/>
                    </a:cubicBezTo>
                    <a:cubicBezTo>
                      <a:pt x="108604" y="165168"/>
                      <a:pt x="105587" y="168184"/>
                      <a:pt x="99553" y="168184"/>
                    </a:cubicBezTo>
                    <a:cubicBezTo>
                      <a:pt x="105587" y="165168"/>
                      <a:pt x="105587" y="165168"/>
                      <a:pt x="102570" y="16516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3" name="任意多边形: 形状 182">
                <a:extLst>
                  <a:ext uri="{FF2B5EF4-FFF2-40B4-BE49-F238E27FC236}">
                    <a16:creationId xmlns:a16="http://schemas.microsoft.com/office/drawing/2014/main" id="{A7BA499F-4FCB-4ECE-AE7A-EFAD4455AA23}"/>
                  </a:ext>
                </a:extLst>
              </p:cNvPr>
              <p:cNvSpPr/>
              <p:nvPr/>
            </p:nvSpPr>
            <p:spPr>
              <a:xfrm>
                <a:off x="6772170" y="4041650"/>
                <a:ext cx="74664" cy="162150"/>
              </a:xfrm>
              <a:custGeom>
                <a:avLst/>
                <a:gdLst>
                  <a:gd name="connsiteX0" fmla="*/ 68631 w 74664"/>
                  <a:gd name="connsiteY0" fmla="*/ 162151 h 162150"/>
                  <a:gd name="connsiteX1" fmla="*/ 62598 w 74664"/>
                  <a:gd name="connsiteY1" fmla="*/ 159134 h 162150"/>
                  <a:gd name="connsiteX2" fmla="*/ 2263 w 74664"/>
                  <a:gd name="connsiteY2" fmla="*/ 11313 h 162150"/>
                  <a:gd name="connsiteX3" fmla="*/ 2263 w 74664"/>
                  <a:gd name="connsiteY3" fmla="*/ 2263 h 162150"/>
                  <a:gd name="connsiteX4" fmla="*/ 11313 w 74664"/>
                  <a:gd name="connsiteY4" fmla="*/ 2263 h 162150"/>
                  <a:gd name="connsiteX5" fmla="*/ 74665 w 74664"/>
                  <a:gd name="connsiteY5" fmla="*/ 153101 h 162150"/>
                  <a:gd name="connsiteX6" fmla="*/ 68631 w 74664"/>
                  <a:gd name="connsiteY6" fmla="*/ 162151 h 162150"/>
                  <a:gd name="connsiteX7" fmla="*/ 68631 w 74664"/>
                  <a:gd name="connsiteY7" fmla="*/ 162151 h 162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4664" h="162150">
                    <a:moveTo>
                      <a:pt x="68631" y="162151"/>
                    </a:moveTo>
                    <a:cubicBezTo>
                      <a:pt x="65614" y="162151"/>
                      <a:pt x="62598" y="159134"/>
                      <a:pt x="62598" y="159134"/>
                    </a:cubicBezTo>
                    <a:cubicBezTo>
                      <a:pt x="62598" y="159134"/>
                      <a:pt x="23380" y="35447"/>
                      <a:pt x="2263" y="11313"/>
                    </a:cubicBezTo>
                    <a:cubicBezTo>
                      <a:pt x="-754" y="8296"/>
                      <a:pt x="-754" y="5279"/>
                      <a:pt x="2263" y="2263"/>
                    </a:cubicBezTo>
                    <a:cubicBezTo>
                      <a:pt x="5279" y="-754"/>
                      <a:pt x="8296" y="-754"/>
                      <a:pt x="11313" y="2263"/>
                    </a:cubicBezTo>
                    <a:cubicBezTo>
                      <a:pt x="35447" y="29413"/>
                      <a:pt x="74665" y="150084"/>
                      <a:pt x="74665" y="153101"/>
                    </a:cubicBezTo>
                    <a:cubicBezTo>
                      <a:pt x="74665" y="159134"/>
                      <a:pt x="71648" y="162151"/>
                      <a:pt x="68631" y="162151"/>
                    </a:cubicBezTo>
                    <a:cubicBezTo>
                      <a:pt x="68631" y="162151"/>
                      <a:pt x="68631" y="162151"/>
                      <a:pt x="68631" y="16215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4" name="任意多边形: 形状 183">
                <a:extLst>
                  <a:ext uri="{FF2B5EF4-FFF2-40B4-BE49-F238E27FC236}">
                    <a16:creationId xmlns:a16="http://schemas.microsoft.com/office/drawing/2014/main" id="{3788031B-E0EF-4E02-9B60-5DF708082793}"/>
                  </a:ext>
                </a:extLst>
              </p:cNvPr>
              <p:cNvSpPr/>
              <p:nvPr/>
            </p:nvSpPr>
            <p:spPr>
              <a:xfrm>
                <a:off x="6709831" y="4054730"/>
                <a:ext cx="40467" cy="58567"/>
              </a:xfrm>
              <a:custGeom>
                <a:avLst/>
                <a:gdLst>
                  <a:gd name="connsiteX0" fmla="*/ 34434 w 40467"/>
                  <a:gd name="connsiteY0" fmla="*/ 58568 h 58567"/>
                  <a:gd name="connsiteX1" fmla="*/ 28400 w 40467"/>
                  <a:gd name="connsiteY1" fmla="*/ 55551 h 58567"/>
                  <a:gd name="connsiteX2" fmla="*/ 1250 w 40467"/>
                  <a:gd name="connsiteY2" fmla="*/ 10300 h 58567"/>
                  <a:gd name="connsiteX3" fmla="*/ 4267 w 40467"/>
                  <a:gd name="connsiteY3" fmla="*/ 1250 h 58567"/>
                  <a:gd name="connsiteX4" fmla="*/ 13317 w 40467"/>
                  <a:gd name="connsiteY4" fmla="*/ 4266 h 58567"/>
                  <a:gd name="connsiteX5" fmla="*/ 40468 w 40467"/>
                  <a:gd name="connsiteY5" fmla="*/ 49518 h 58567"/>
                  <a:gd name="connsiteX6" fmla="*/ 34434 w 40467"/>
                  <a:gd name="connsiteY6" fmla="*/ 58568 h 58567"/>
                  <a:gd name="connsiteX7" fmla="*/ 34434 w 40467"/>
                  <a:gd name="connsiteY7" fmla="*/ 58568 h 58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467" h="58567">
                    <a:moveTo>
                      <a:pt x="34434" y="58568"/>
                    </a:moveTo>
                    <a:cubicBezTo>
                      <a:pt x="31417" y="58568"/>
                      <a:pt x="31417" y="58568"/>
                      <a:pt x="28400" y="55551"/>
                    </a:cubicBezTo>
                    <a:lnTo>
                      <a:pt x="1250" y="10300"/>
                    </a:lnTo>
                    <a:cubicBezTo>
                      <a:pt x="-1767" y="7283"/>
                      <a:pt x="1250" y="4266"/>
                      <a:pt x="4267" y="1250"/>
                    </a:cubicBezTo>
                    <a:cubicBezTo>
                      <a:pt x="7283" y="-1767"/>
                      <a:pt x="10300" y="1250"/>
                      <a:pt x="13317" y="4266"/>
                    </a:cubicBezTo>
                    <a:lnTo>
                      <a:pt x="40468" y="49518"/>
                    </a:lnTo>
                    <a:cubicBezTo>
                      <a:pt x="40468" y="52534"/>
                      <a:pt x="40468" y="55551"/>
                      <a:pt x="34434" y="58568"/>
                    </a:cubicBezTo>
                    <a:cubicBezTo>
                      <a:pt x="37451" y="58568"/>
                      <a:pt x="34434" y="58568"/>
                      <a:pt x="34434" y="5856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5" name="任意多边形: 形状 184">
                <a:extLst>
                  <a:ext uri="{FF2B5EF4-FFF2-40B4-BE49-F238E27FC236}">
                    <a16:creationId xmlns:a16="http://schemas.microsoft.com/office/drawing/2014/main" id="{823ECD70-BD70-4482-A427-840C0148AD2E}"/>
                  </a:ext>
                </a:extLst>
              </p:cNvPr>
              <p:cNvSpPr/>
              <p:nvPr/>
            </p:nvSpPr>
            <p:spPr>
              <a:xfrm>
                <a:off x="6686947" y="3959443"/>
                <a:ext cx="96536" cy="66368"/>
              </a:xfrm>
              <a:custGeom>
                <a:avLst/>
                <a:gdLst>
                  <a:gd name="connsiteX0" fmla="*/ 6033 w 96536"/>
                  <a:gd name="connsiteY0" fmla="*/ 66369 h 66368"/>
                  <a:gd name="connsiteX1" fmla="*/ 0 w 96536"/>
                  <a:gd name="connsiteY1" fmla="*/ 60335 h 66368"/>
                  <a:gd name="connsiteX2" fmla="*/ 6033 w 96536"/>
                  <a:gd name="connsiteY2" fmla="*/ 54302 h 66368"/>
                  <a:gd name="connsiteX3" fmla="*/ 84469 w 96536"/>
                  <a:gd name="connsiteY3" fmla="*/ 3017 h 66368"/>
                  <a:gd name="connsiteX4" fmla="*/ 93520 w 96536"/>
                  <a:gd name="connsiteY4" fmla="*/ 0 h 66368"/>
                  <a:gd name="connsiteX5" fmla="*/ 96536 w 96536"/>
                  <a:gd name="connsiteY5" fmla="*/ 9050 h 66368"/>
                  <a:gd name="connsiteX6" fmla="*/ 6033 w 96536"/>
                  <a:gd name="connsiteY6" fmla="*/ 66369 h 66368"/>
                  <a:gd name="connsiteX7" fmla="*/ 6033 w 96536"/>
                  <a:gd name="connsiteY7" fmla="*/ 66369 h 66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6536" h="66368">
                    <a:moveTo>
                      <a:pt x="6033" y="66369"/>
                    </a:moveTo>
                    <a:cubicBezTo>
                      <a:pt x="3017" y="66369"/>
                      <a:pt x="0" y="63352"/>
                      <a:pt x="0" y="60335"/>
                    </a:cubicBezTo>
                    <a:cubicBezTo>
                      <a:pt x="0" y="57318"/>
                      <a:pt x="3017" y="54302"/>
                      <a:pt x="6033" y="54302"/>
                    </a:cubicBezTo>
                    <a:cubicBezTo>
                      <a:pt x="57319" y="45251"/>
                      <a:pt x="84469" y="3017"/>
                      <a:pt x="84469" y="3017"/>
                    </a:cubicBezTo>
                    <a:cubicBezTo>
                      <a:pt x="87486" y="0"/>
                      <a:pt x="90503" y="0"/>
                      <a:pt x="93520" y="0"/>
                    </a:cubicBezTo>
                    <a:cubicBezTo>
                      <a:pt x="96536" y="3017"/>
                      <a:pt x="96536" y="6034"/>
                      <a:pt x="96536" y="9050"/>
                    </a:cubicBezTo>
                    <a:cubicBezTo>
                      <a:pt x="93520" y="12067"/>
                      <a:pt x="63352" y="57318"/>
                      <a:pt x="6033" y="66369"/>
                    </a:cubicBezTo>
                    <a:cubicBezTo>
                      <a:pt x="9050" y="66369"/>
                      <a:pt x="6033" y="66369"/>
                      <a:pt x="6033" y="6636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642072A4-1DD6-4463-A64D-CD8BBB8855E2}"/>
                </a:ext>
              </a:extLst>
            </p:cNvPr>
            <p:cNvSpPr/>
            <p:nvPr/>
          </p:nvSpPr>
          <p:spPr>
            <a:xfrm>
              <a:off x="6327939" y="2604579"/>
              <a:ext cx="751381" cy="1363914"/>
            </a:xfrm>
            <a:custGeom>
              <a:avLst/>
              <a:gdLst>
                <a:gd name="connsiteX0" fmla="*/ 718002 w 751381"/>
                <a:gd name="connsiteY0" fmla="*/ 24474 h 1363914"/>
                <a:gd name="connsiteX1" fmla="*/ 588281 w 751381"/>
                <a:gd name="connsiteY1" fmla="*/ 522239 h 1363914"/>
                <a:gd name="connsiteX2" fmla="*/ 283588 w 751381"/>
                <a:gd name="connsiteY2" fmla="*/ 799781 h 1363914"/>
                <a:gd name="connsiteX3" fmla="*/ 461577 w 751381"/>
                <a:gd name="connsiteY3" fmla="*/ 1297546 h 1363914"/>
                <a:gd name="connsiteX4" fmla="*/ 277555 w 751381"/>
                <a:gd name="connsiteY4" fmla="*/ 1363915 h 1363914"/>
                <a:gd name="connsiteX5" fmla="*/ 13 w 751381"/>
                <a:gd name="connsiteY5" fmla="*/ 724362 h 1363914"/>
                <a:gd name="connsiteX6" fmla="*/ 718002 w 751381"/>
                <a:gd name="connsiteY6" fmla="*/ 24474 h 136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1381" h="1363914">
                  <a:moveTo>
                    <a:pt x="718002" y="24474"/>
                  </a:moveTo>
                  <a:cubicBezTo>
                    <a:pt x="820572" y="111960"/>
                    <a:pt x="660683" y="413636"/>
                    <a:pt x="588281" y="522239"/>
                  </a:cubicBezTo>
                  <a:cubicBezTo>
                    <a:pt x="524929" y="618775"/>
                    <a:pt x="283588" y="799781"/>
                    <a:pt x="283588" y="799781"/>
                  </a:cubicBezTo>
                  <a:lnTo>
                    <a:pt x="461577" y="1297546"/>
                  </a:lnTo>
                  <a:lnTo>
                    <a:pt x="277555" y="1363915"/>
                  </a:lnTo>
                  <a:cubicBezTo>
                    <a:pt x="277555" y="1363915"/>
                    <a:pt x="3029" y="851066"/>
                    <a:pt x="13" y="724362"/>
                  </a:cubicBezTo>
                  <a:cubicBezTo>
                    <a:pt x="-3004" y="585591"/>
                    <a:pt x="521913" y="-141448"/>
                    <a:pt x="718002" y="24474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C024A1E6-E6FC-4CC3-831D-DDA8231E71CF}"/>
                </a:ext>
              </a:extLst>
            </p:cNvPr>
            <p:cNvSpPr/>
            <p:nvPr/>
          </p:nvSpPr>
          <p:spPr>
            <a:xfrm>
              <a:off x="6883790" y="2592752"/>
              <a:ext cx="204421" cy="576300"/>
            </a:xfrm>
            <a:custGeom>
              <a:avLst/>
              <a:gdLst>
                <a:gd name="connsiteX0" fmla="*/ 5279 w 204421"/>
                <a:gd name="connsiteY0" fmla="*/ 576301 h 576300"/>
                <a:gd name="connsiteX1" fmla="*/ 2263 w 204421"/>
                <a:gd name="connsiteY1" fmla="*/ 576301 h 576300"/>
                <a:gd name="connsiteX2" fmla="*/ 2263 w 204421"/>
                <a:gd name="connsiteY2" fmla="*/ 567251 h 576300"/>
                <a:gd name="connsiteX3" fmla="*/ 192319 w 204421"/>
                <a:gd name="connsiteY3" fmla="*/ 178089 h 576300"/>
                <a:gd name="connsiteX4" fmla="*/ 144050 w 204421"/>
                <a:gd name="connsiteY4" fmla="*/ 33284 h 576300"/>
                <a:gd name="connsiteX5" fmla="*/ 86732 w 204421"/>
                <a:gd name="connsiteY5" fmla="*/ 12167 h 576300"/>
                <a:gd name="connsiteX6" fmla="*/ 80698 w 204421"/>
                <a:gd name="connsiteY6" fmla="*/ 6133 h 576300"/>
                <a:gd name="connsiteX7" fmla="*/ 86732 w 204421"/>
                <a:gd name="connsiteY7" fmla="*/ 100 h 576300"/>
                <a:gd name="connsiteX8" fmla="*/ 153101 w 204421"/>
                <a:gd name="connsiteY8" fmla="*/ 24234 h 576300"/>
                <a:gd name="connsiteX9" fmla="*/ 204386 w 204421"/>
                <a:gd name="connsiteY9" fmla="*/ 175072 h 576300"/>
                <a:gd name="connsiteX10" fmla="*/ 11313 w 204421"/>
                <a:gd name="connsiteY10" fmla="*/ 570267 h 576300"/>
                <a:gd name="connsiteX11" fmla="*/ 5279 w 204421"/>
                <a:gd name="connsiteY11" fmla="*/ 576301 h 5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4421" h="576300">
                  <a:moveTo>
                    <a:pt x="5279" y="576301"/>
                  </a:moveTo>
                  <a:cubicBezTo>
                    <a:pt x="5279" y="576301"/>
                    <a:pt x="2263" y="576301"/>
                    <a:pt x="2263" y="576301"/>
                  </a:cubicBezTo>
                  <a:cubicBezTo>
                    <a:pt x="-754" y="573284"/>
                    <a:pt x="-754" y="570267"/>
                    <a:pt x="2263" y="567251"/>
                  </a:cubicBezTo>
                  <a:cubicBezTo>
                    <a:pt x="5279" y="564234"/>
                    <a:pt x="195335" y="356077"/>
                    <a:pt x="192319" y="178089"/>
                  </a:cubicBezTo>
                  <a:cubicBezTo>
                    <a:pt x="189302" y="108703"/>
                    <a:pt x="174218" y="60435"/>
                    <a:pt x="144050" y="33284"/>
                  </a:cubicBezTo>
                  <a:cubicBezTo>
                    <a:pt x="116900" y="9150"/>
                    <a:pt x="86732" y="12167"/>
                    <a:pt x="86732" y="12167"/>
                  </a:cubicBezTo>
                  <a:cubicBezTo>
                    <a:pt x="83715" y="12167"/>
                    <a:pt x="80698" y="9150"/>
                    <a:pt x="80698" y="6133"/>
                  </a:cubicBezTo>
                  <a:cubicBezTo>
                    <a:pt x="80698" y="3116"/>
                    <a:pt x="83715" y="100"/>
                    <a:pt x="86732" y="100"/>
                  </a:cubicBezTo>
                  <a:cubicBezTo>
                    <a:pt x="86732" y="100"/>
                    <a:pt x="122933" y="-2917"/>
                    <a:pt x="153101" y="24234"/>
                  </a:cubicBezTo>
                  <a:cubicBezTo>
                    <a:pt x="186285" y="54401"/>
                    <a:pt x="204386" y="105686"/>
                    <a:pt x="204386" y="175072"/>
                  </a:cubicBezTo>
                  <a:cubicBezTo>
                    <a:pt x="207402" y="356077"/>
                    <a:pt x="20363" y="561217"/>
                    <a:pt x="11313" y="570267"/>
                  </a:cubicBezTo>
                  <a:cubicBezTo>
                    <a:pt x="8296" y="576301"/>
                    <a:pt x="5279" y="576301"/>
                    <a:pt x="5279" y="576301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6C448699-FCE9-4BA9-A073-09D9F229AFD1}"/>
                </a:ext>
              </a:extLst>
            </p:cNvPr>
            <p:cNvSpPr/>
            <p:nvPr/>
          </p:nvSpPr>
          <p:spPr>
            <a:xfrm>
              <a:off x="8682906" y="2804138"/>
              <a:ext cx="315456" cy="307595"/>
            </a:xfrm>
            <a:custGeom>
              <a:avLst/>
              <a:gdLst>
                <a:gd name="connsiteX0" fmla="*/ 299795 w 315456"/>
                <a:gd name="connsiteY0" fmla="*/ 138657 h 307595"/>
                <a:gd name="connsiteX1" fmla="*/ 278678 w 315456"/>
                <a:gd name="connsiteY1" fmla="*/ 129607 h 307595"/>
                <a:gd name="connsiteX2" fmla="*/ 272644 w 315456"/>
                <a:gd name="connsiteY2" fmla="*/ 132624 h 307595"/>
                <a:gd name="connsiteX3" fmla="*/ 293761 w 315456"/>
                <a:gd name="connsiteY3" fmla="*/ 114523 h 307595"/>
                <a:gd name="connsiteX4" fmla="*/ 314879 w 315456"/>
                <a:gd name="connsiteY4" fmla="*/ 69272 h 307595"/>
                <a:gd name="connsiteX5" fmla="*/ 308845 w 315456"/>
                <a:gd name="connsiteY5" fmla="*/ 66255 h 307595"/>
                <a:gd name="connsiteX6" fmla="*/ 305828 w 315456"/>
                <a:gd name="connsiteY6" fmla="*/ 66255 h 307595"/>
                <a:gd name="connsiteX7" fmla="*/ 308845 w 315456"/>
                <a:gd name="connsiteY7" fmla="*/ 33071 h 307595"/>
                <a:gd name="connsiteX8" fmla="*/ 281694 w 315456"/>
                <a:gd name="connsiteY8" fmla="*/ 21004 h 307595"/>
                <a:gd name="connsiteX9" fmla="*/ 236443 w 315456"/>
                <a:gd name="connsiteY9" fmla="*/ 54188 h 307595"/>
                <a:gd name="connsiteX10" fmla="*/ 173091 w 315456"/>
                <a:gd name="connsiteY10" fmla="*/ 102456 h 307595"/>
                <a:gd name="connsiteX11" fmla="*/ 209292 w 315456"/>
                <a:gd name="connsiteY11" fmla="*/ 51171 h 307595"/>
                <a:gd name="connsiteX12" fmla="*/ 233426 w 315456"/>
                <a:gd name="connsiteY12" fmla="*/ 11953 h 307595"/>
                <a:gd name="connsiteX13" fmla="*/ 200242 w 315456"/>
                <a:gd name="connsiteY13" fmla="*/ 8937 h 307595"/>
                <a:gd name="connsiteX14" fmla="*/ 4152 w 315456"/>
                <a:gd name="connsiteY14" fmla="*/ 250277 h 307595"/>
                <a:gd name="connsiteX15" fmla="*/ 109739 w 315456"/>
                <a:gd name="connsiteY15" fmla="*/ 307596 h 307595"/>
                <a:gd name="connsiteX16" fmla="*/ 218342 w 315456"/>
                <a:gd name="connsiteY16" fmla="*/ 238210 h 307595"/>
                <a:gd name="connsiteX17" fmla="*/ 278678 w 315456"/>
                <a:gd name="connsiteY17" fmla="*/ 183909 h 307595"/>
                <a:gd name="connsiteX18" fmla="*/ 299795 w 315456"/>
                <a:gd name="connsiteY18" fmla="*/ 138657 h 307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15456" h="307595">
                  <a:moveTo>
                    <a:pt x="299795" y="138657"/>
                  </a:moveTo>
                  <a:cubicBezTo>
                    <a:pt x="296778" y="129607"/>
                    <a:pt x="287728" y="126590"/>
                    <a:pt x="278678" y="129607"/>
                  </a:cubicBezTo>
                  <a:cubicBezTo>
                    <a:pt x="275661" y="129607"/>
                    <a:pt x="272644" y="129607"/>
                    <a:pt x="272644" y="132624"/>
                  </a:cubicBezTo>
                  <a:cubicBezTo>
                    <a:pt x="278678" y="126590"/>
                    <a:pt x="287728" y="120557"/>
                    <a:pt x="293761" y="114523"/>
                  </a:cubicBezTo>
                  <a:cubicBezTo>
                    <a:pt x="308845" y="102456"/>
                    <a:pt x="317895" y="87372"/>
                    <a:pt x="314879" y="69272"/>
                  </a:cubicBezTo>
                  <a:cubicBezTo>
                    <a:pt x="314879" y="66255"/>
                    <a:pt x="311862" y="66255"/>
                    <a:pt x="308845" y="66255"/>
                  </a:cubicBezTo>
                  <a:cubicBezTo>
                    <a:pt x="308845" y="66255"/>
                    <a:pt x="305828" y="66255"/>
                    <a:pt x="305828" y="66255"/>
                  </a:cubicBezTo>
                  <a:cubicBezTo>
                    <a:pt x="311862" y="57205"/>
                    <a:pt x="314879" y="45138"/>
                    <a:pt x="308845" y="33071"/>
                  </a:cubicBezTo>
                  <a:cubicBezTo>
                    <a:pt x="302811" y="21004"/>
                    <a:pt x="293761" y="17987"/>
                    <a:pt x="281694" y="21004"/>
                  </a:cubicBezTo>
                  <a:cubicBezTo>
                    <a:pt x="263594" y="27037"/>
                    <a:pt x="248510" y="42121"/>
                    <a:pt x="236443" y="54188"/>
                  </a:cubicBezTo>
                  <a:cubicBezTo>
                    <a:pt x="215326" y="69272"/>
                    <a:pt x="194208" y="87372"/>
                    <a:pt x="173091" y="102456"/>
                  </a:cubicBezTo>
                  <a:cubicBezTo>
                    <a:pt x="185158" y="84356"/>
                    <a:pt x="197225" y="69272"/>
                    <a:pt x="209292" y="51171"/>
                  </a:cubicBezTo>
                  <a:cubicBezTo>
                    <a:pt x="215326" y="39104"/>
                    <a:pt x="233426" y="24020"/>
                    <a:pt x="233426" y="11953"/>
                  </a:cubicBezTo>
                  <a:cubicBezTo>
                    <a:pt x="233426" y="-9164"/>
                    <a:pt x="209292" y="2903"/>
                    <a:pt x="200242" y="8937"/>
                  </a:cubicBezTo>
                  <a:cubicBezTo>
                    <a:pt x="145940" y="45138"/>
                    <a:pt x="-29032" y="171842"/>
                    <a:pt x="4152" y="250277"/>
                  </a:cubicBezTo>
                  <a:cubicBezTo>
                    <a:pt x="4152" y="250277"/>
                    <a:pt x="76554" y="304579"/>
                    <a:pt x="109739" y="307596"/>
                  </a:cubicBezTo>
                  <a:cubicBezTo>
                    <a:pt x="158007" y="307596"/>
                    <a:pt x="188175" y="268378"/>
                    <a:pt x="218342" y="238210"/>
                  </a:cubicBezTo>
                  <a:cubicBezTo>
                    <a:pt x="239460" y="220110"/>
                    <a:pt x="257560" y="202009"/>
                    <a:pt x="278678" y="183909"/>
                  </a:cubicBezTo>
                  <a:cubicBezTo>
                    <a:pt x="287728" y="165808"/>
                    <a:pt x="305828" y="153741"/>
                    <a:pt x="299795" y="138657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11AC519E-33D3-4836-AE73-521B9B5ABB4E}"/>
                </a:ext>
              </a:extLst>
            </p:cNvPr>
            <p:cNvSpPr/>
            <p:nvPr/>
          </p:nvSpPr>
          <p:spPr>
            <a:xfrm>
              <a:off x="8713015" y="2903578"/>
              <a:ext cx="149506" cy="139235"/>
            </a:xfrm>
            <a:custGeom>
              <a:avLst/>
              <a:gdLst>
                <a:gd name="connsiteX0" fmla="*/ 88681 w 149506"/>
                <a:gd name="connsiteY0" fmla="*/ 0 h 139235"/>
                <a:gd name="connsiteX1" fmla="*/ 1194 w 149506"/>
                <a:gd name="connsiteY1" fmla="*/ 69386 h 139235"/>
                <a:gd name="connsiteX2" fmla="*/ 40412 w 149506"/>
                <a:gd name="connsiteY2" fmla="*/ 138771 h 139235"/>
                <a:gd name="connsiteX3" fmla="*/ 64547 w 149506"/>
                <a:gd name="connsiteY3" fmla="*/ 81453 h 139235"/>
                <a:gd name="connsiteX4" fmla="*/ 124882 w 149506"/>
                <a:gd name="connsiteY4" fmla="*/ 54302 h 139235"/>
                <a:gd name="connsiteX5" fmla="*/ 149016 w 149506"/>
                <a:gd name="connsiteY5" fmla="*/ 45251 h 139235"/>
                <a:gd name="connsiteX6" fmla="*/ 88681 w 149506"/>
                <a:gd name="connsiteY6" fmla="*/ 0 h 139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506" h="139235">
                  <a:moveTo>
                    <a:pt x="88681" y="0"/>
                  </a:moveTo>
                  <a:cubicBezTo>
                    <a:pt x="52480" y="0"/>
                    <a:pt x="13262" y="39218"/>
                    <a:pt x="1194" y="69386"/>
                  </a:cubicBezTo>
                  <a:cubicBezTo>
                    <a:pt x="-7856" y="90503"/>
                    <a:pt x="37396" y="144805"/>
                    <a:pt x="40412" y="138771"/>
                  </a:cubicBezTo>
                  <a:cubicBezTo>
                    <a:pt x="46446" y="126704"/>
                    <a:pt x="55496" y="90503"/>
                    <a:pt x="64547" y="81453"/>
                  </a:cubicBezTo>
                  <a:cubicBezTo>
                    <a:pt x="79630" y="60335"/>
                    <a:pt x="97731" y="57318"/>
                    <a:pt x="124882" y="54302"/>
                  </a:cubicBezTo>
                  <a:cubicBezTo>
                    <a:pt x="133932" y="54302"/>
                    <a:pt x="145999" y="54302"/>
                    <a:pt x="149016" y="45251"/>
                  </a:cubicBezTo>
                  <a:cubicBezTo>
                    <a:pt x="155049" y="21117"/>
                    <a:pt x="103764" y="3017"/>
                    <a:pt x="88681" y="0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E54E9258-1105-4D09-9EA5-ECE625329201}"/>
                </a:ext>
              </a:extLst>
            </p:cNvPr>
            <p:cNvSpPr/>
            <p:nvPr/>
          </p:nvSpPr>
          <p:spPr>
            <a:xfrm>
              <a:off x="8708176" y="2899807"/>
              <a:ext cx="164886" cy="139524"/>
            </a:xfrm>
            <a:custGeom>
              <a:avLst/>
              <a:gdLst>
                <a:gd name="connsiteX0" fmla="*/ 75419 w 164886"/>
                <a:gd name="connsiteY0" fmla="*/ 139524 h 139524"/>
                <a:gd name="connsiteX1" fmla="*/ 75419 w 164886"/>
                <a:gd name="connsiteY1" fmla="*/ 139524 h 139524"/>
                <a:gd name="connsiteX2" fmla="*/ 69386 w 164886"/>
                <a:gd name="connsiteY2" fmla="*/ 130474 h 139524"/>
                <a:gd name="connsiteX3" fmla="*/ 63352 w 164886"/>
                <a:gd name="connsiteY3" fmla="*/ 85223 h 139524"/>
                <a:gd name="connsiteX4" fmla="*/ 63352 w 164886"/>
                <a:gd name="connsiteY4" fmla="*/ 79189 h 139524"/>
                <a:gd name="connsiteX5" fmla="*/ 132738 w 164886"/>
                <a:gd name="connsiteY5" fmla="*/ 55055 h 139524"/>
                <a:gd name="connsiteX6" fmla="*/ 153855 w 164886"/>
                <a:gd name="connsiteY6" fmla="*/ 52038 h 139524"/>
                <a:gd name="connsiteX7" fmla="*/ 153855 w 164886"/>
                <a:gd name="connsiteY7" fmla="*/ 46005 h 139524"/>
                <a:gd name="connsiteX8" fmla="*/ 93520 w 164886"/>
                <a:gd name="connsiteY8" fmla="*/ 9804 h 139524"/>
                <a:gd name="connsiteX9" fmla="*/ 12067 w 164886"/>
                <a:gd name="connsiteY9" fmla="*/ 76172 h 139524"/>
                <a:gd name="connsiteX10" fmla="*/ 3017 w 164886"/>
                <a:gd name="connsiteY10" fmla="*/ 79189 h 139524"/>
                <a:gd name="connsiteX11" fmla="*/ 0 w 164886"/>
                <a:gd name="connsiteY11" fmla="*/ 70139 h 139524"/>
                <a:gd name="connsiteX12" fmla="*/ 93520 w 164886"/>
                <a:gd name="connsiteY12" fmla="*/ 753 h 139524"/>
                <a:gd name="connsiteX13" fmla="*/ 162905 w 164886"/>
                <a:gd name="connsiteY13" fmla="*/ 42988 h 139524"/>
                <a:gd name="connsiteX14" fmla="*/ 159888 w 164886"/>
                <a:gd name="connsiteY14" fmla="*/ 61089 h 139524"/>
                <a:gd name="connsiteX15" fmla="*/ 129721 w 164886"/>
                <a:gd name="connsiteY15" fmla="*/ 67122 h 139524"/>
                <a:gd name="connsiteX16" fmla="*/ 72403 w 164886"/>
                <a:gd name="connsiteY16" fmla="*/ 85223 h 139524"/>
                <a:gd name="connsiteX17" fmla="*/ 78436 w 164886"/>
                <a:gd name="connsiteY17" fmla="*/ 136508 h 139524"/>
                <a:gd name="connsiteX18" fmla="*/ 75419 w 164886"/>
                <a:gd name="connsiteY18" fmla="*/ 139524 h 139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4886" h="139524">
                  <a:moveTo>
                    <a:pt x="75419" y="139524"/>
                  </a:moveTo>
                  <a:cubicBezTo>
                    <a:pt x="75419" y="139524"/>
                    <a:pt x="75419" y="139524"/>
                    <a:pt x="75419" y="139524"/>
                  </a:cubicBezTo>
                  <a:cubicBezTo>
                    <a:pt x="69386" y="136508"/>
                    <a:pt x="69386" y="133491"/>
                    <a:pt x="69386" y="130474"/>
                  </a:cubicBezTo>
                  <a:cubicBezTo>
                    <a:pt x="75419" y="115390"/>
                    <a:pt x="66369" y="94273"/>
                    <a:pt x="63352" y="85223"/>
                  </a:cubicBezTo>
                  <a:cubicBezTo>
                    <a:pt x="63352" y="82206"/>
                    <a:pt x="63352" y="82206"/>
                    <a:pt x="63352" y="79189"/>
                  </a:cubicBezTo>
                  <a:cubicBezTo>
                    <a:pt x="84469" y="52038"/>
                    <a:pt x="111620" y="52038"/>
                    <a:pt x="132738" y="55055"/>
                  </a:cubicBezTo>
                  <a:cubicBezTo>
                    <a:pt x="141788" y="55055"/>
                    <a:pt x="150838" y="55055"/>
                    <a:pt x="153855" y="52038"/>
                  </a:cubicBezTo>
                  <a:cubicBezTo>
                    <a:pt x="153855" y="52038"/>
                    <a:pt x="156871" y="49021"/>
                    <a:pt x="153855" y="46005"/>
                  </a:cubicBezTo>
                  <a:cubicBezTo>
                    <a:pt x="147822" y="30921"/>
                    <a:pt x="123687" y="15837"/>
                    <a:pt x="93520" y="9804"/>
                  </a:cubicBezTo>
                  <a:cubicBezTo>
                    <a:pt x="54302" y="3770"/>
                    <a:pt x="12067" y="73156"/>
                    <a:pt x="12067" y="76172"/>
                  </a:cubicBezTo>
                  <a:cubicBezTo>
                    <a:pt x="12067" y="79189"/>
                    <a:pt x="6033" y="79189"/>
                    <a:pt x="3017" y="79189"/>
                  </a:cubicBezTo>
                  <a:cubicBezTo>
                    <a:pt x="0" y="79189"/>
                    <a:pt x="0" y="73156"/>
                    <a:pt x="0" y="70139"/>
                  </a:cubicBezTo>
                  <a:cubicBezTo>
                    <a:pt x="3017" y="67122"/>
                    <a:pt x="45251" y="-8297"/>
                    <a:pt x="93520" y="753"/>
                  </a:cubicBezTo>
                  <a:cubicBezTo>
                    <a:pt x="129721" y="6787"/>
                    <a:pt x="156871" y="27904"/>
                    <a:pt x="162905" y="42988"/>
                  </a:cubicBezTo>
                  <a:cubicBezTo>
                    <a:pt x="165922" y="49021"/>
                    <a:pt x="165922" y="55055"/>
                    <a:pt x="159888" y="61089"/>
                  </a:cubicBezTo>
                  <a:cubicBezTo>
                    <a:pt x="153855" y="67122"/>
                    <a:pt x="141788" y="67122"/>
                    <a:pt x="129721" y="67122"/>
                  </a:cubicBezTo>
                  <a:cubicBezTo>
                    <a:pt x="111620" y="67122"/>
                    <a:pt x="90503" y="67122"/>
                    <a:pt x="72403" y="85223"/>
                  </a:cubicBezTo>
                  <a:cubicBezTo>
                    <a:pt x="75419" y="94273"/>
                    <a:pt x="87486" y="118407"/>
                    <a:pt x="78436" y="136508"/>
                  </a:cubicBezTo>
                  <a:cubicBezTo>
                    <a:pt x="81452" y="139524"/>
                    <a:pt x="78436" y="139524"/>
                    <a:pt x="75419" y="139524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11D8B4A3-B83D-42D1-84DF-7D111F7C6F96}"/>
                </a:ext>
              </a:extLst>
            </p:cNvPr>
            <p:cNvSpPr/>
            <p:nvPr/>
          </p:nvSpPr>
          <p:spPr>
            <a:xfrm>
              <a:off x="10789740" y="2915645"/>
              <a:ext cx="401228" cy="832625"/>
            </a:xfrm>
            <a:custGeom>
              <a:avLst/>
              <a:gdLst>
                <a:gd name="connsiteX0" fmla="*/ 0 w 401228"/>
                <a:gd name="connsiteY0" fmla="*/ 30168 h 832625"/>
                <a:gd name="connsiteX1" fmla="*/ 331844 w 401228"/>
                <a:gd name="connsiteY1" fmla="*/ 832626 h 832625"/>
                <a:gd name="connsiteX2" fmla="*/ 401229 w 401228"/>
                <a:gd name="connsiteY2" fmla="*/ 811508 h 832625"/>
                <a:gd name="connsiteX3" fmla="*/ 36201 w 401228"/>
                <a:gd name="connsiteY3" fmla="*/ 0 h 832625"/>
                <a:gd name="connsiteX4" fmla="*/ 0 w 401228"/>
                <a:gd name="connsiteY4" fmla="*/ 30168 h 832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228" h="832625">
                  <a:moveTo>
                    <a:pt x="0" y="30168"/>
                  </a:moveTo>
                  <a:cubicBezTo>
                    <a:pt x="0" y="30168"/>
                    <a:pt x="301676" y="600335"/>
                    <a:pt x="331844" y="832626"/>
                  </a:cubicBezTo>
                  <a:lnTo>
                    <a:pt x="401229" y="811508"/>
                  </a:lnTo>
                  <a:cubicBezTo>
                    <a:pt x="401229" y="811508"/>
                    <a:pt x="229273" y="226257"/>
                    <a:pt x="36201" y="0"/>
                  </a:cubicBezTo>
                  <a:lnTo>
                    <a:pt x="0" y="30168"/>
                  </a:ln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25CD8ED4-4B84-481A-B8AC-5EC7B66F4D76}"/>
                </a:ext>
              </a:extLst>
            </p:cNvPr>
            <p:cNvSpPr/>
            <p:nvPr/>
          </p:nvSpPr>
          <p:spPr>
            <a:xfrm>
              <a:off x="10355326" y="2472181"/>
              <a:ext cx="286592" cy="271508"/>
            </a:xfrm>
            <a:custGeom>
              <a:avLst/>
              <a:gdLst>
                <a:gd name="connsiteX0" fmla="*/ 0 w 286592"/>
                <a:gd name="connsiteY0" fmla="*/ 271508 h 271508"/>
                <a:gd name="connsiteX1" fmla="*/ 274525 w 286592"/>
                <a:gd name="connsiteY1" fmla="*/ 268492 h 271508"/>
                <a:gd name="connsiteX2" fmla="*/ 286592 w 286592"/>
                <a:gd name="connsiteY2" fmla="*/ 126704 h 271508"/>
                <a:gd name="connsiteX3" fmla="*/ 280559 w 286592"/>
                <a:gd name="connsiteY3" fmla="*/ 18101 h 271508"/>
                <a:gd name="connsiteX4" fmla="*/ 208157 w 286592"/>
                <a:gd name="connsiteY4" fmla="*/ 0 h 271508"/>
                <a:gd name="connsiteX5" fmla="*/ 51285 w 286592"/>
                <a:gd name="connsiteY5" fmla="*/ 87486 h 27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6592" h="271508">
                  <a:moveTo>
                    <a:pt x="0" y="271508"/>
                  </a:moveTo>
                  <a:lnTo>
                    <a:pt x="274525" y="268492"/>
                  </a:lnTo>
                  <a:lnTo>
                    <a:pt x="286592" y="126704"/>
                  </a:lnTo>
                  <a:lnTo>
                    <a:pt x="280559" y="18101"/>
                  </a:lnTo>
                  <a:lnTo>
                    <a:pt x="208157" y="0"/>
                  </a:lnTo>
                  <a:lnTo>
                    <a:pt x="51285" y="87486"/>
                  </a:lnTo>
                  <a:close/>
                </a:path>
              </a:pathLst>
            </a:custGeom>
            <a:solidFill>
              <a:srgbClr val="664241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9E8C074B-7BBE-45C3-92F9-028CAFF4F5D2}"/>
                </a:ext>
              </a:extLst>
            </p:cNvPr>
            <p:cNvSpPr/>
            <p:nvPr/>
          </p:nvSpPr>
          <p:spPr>
            <a:xfrm>
              <a:off x="10002366" y="2113155"/>
              <a:ext cx="464965" cy="656019"/>
            </a:xfrm>
            <a:custGeom>
              <a:avLst/>
              <a:gdLst>
                <a:gd name="connsiteX0" fmla="*/ 398212 w 464965"/>
                <a:gd name="connsiteY0" fmla="*/ 464612 h 656019"/>
                <a:gd name="connsiteX1" fmla="*/ 389162 w 464965"/>
                <a:gd name="connsiteY1" fmla="*/ 304724 h 656019"/>
                <a:gd name="connsiteX2" fmla="*/ 431396 w 464965"/>
                <a:gd name="connsiteY2" fmla="*/ 159920 h 656019"/>
                <a:gd name="connsiteX3" fmla="*/ 464581 w 464965"/>
                <a:gd name="connsiteY3" fmla="*/ 9082 h 656019"/>
                <a:gd name="connsiteX4" fmla="*/ 141788 w 464965"/>
                <a:gd name="connsiteY4" fmla="*/ 175003 h 656019"/>
                <a:gd name="connsiteX5" fmla="*/ 0 w 464965"/>
                <a:gd name="connsiteY5" fmla="*/ 576232 h 656019"/>
                <a:gd name="connsiteX6" fmla="*/ 419329 w 464965"/>
                <a:gd name="connsiteY6" fmla="*/ 630534 h 656019"/>
                <a:gd name="connsiteX7" fmla="*/ 398212 w 464965"/>
                <a:gd name="connsiteY7" fmla="*/ 464612 h 6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4965" h="656019">
                  <a:moveTo>
                    <a:pt x="398212" y="464612"/>
                  </a:moveTo>
                  <a:cubicBezTo>
                    <a:pt x="389162" y="413327"/>
                    <a:pt x="383128" y="359026"/>
                    <a:pt x="389162" y="304724"/>
                  </a:cubicBezTo>
                  <a:cubicBezTo>
                    <a:pt x="395196" y="253439"/>
                    <a:pt x="410280" y="205171"/>
                    <a:pt x="431396" y="159920"/>
                  </a:cubicBezTo>
                  <a:cubicBezTo>
                    <a:pt x="452514" y="111651"/>
                    <a:pt x="467598" y="9082"/>
                    <a:pt x="464581" y="9082"/>
                  </a:cubicBezTo>
                  <a:cubicBezTo>
                    <a:pt x="349944" y="-27120"/>
                    <a:pt x="168938" y="48299"/>
                    <a:pt x="141788" y="175003"/>
                  </a:cubicBezTo>
                  <a:cubicBezTo>
                    <a:pt x="129720" y="238355"/>
                    <a:pt x="120670" y="410311"/>
                    <a:pt x="0" y="576232"/>
                  </a:cubicBezTo>
                  <a:cubicBezTo>
                    <a:pt x="102570" y="651651"/>
                    <a:pt x="410280" y="681819"/>
                    <a:pt x="419329" y="630534"/>
                  </a:cubicBezTo>
                  <a:cubicBezTo>
                    <a:pt x="425363" y="588299"/>
                    <a:pt x="404246" y="506847"/>
                    <a:pt x="398212" y="464612"/>
                  </a:cubicBezTo>
                  <a:close/>
                </a:path>
              </a:pathLst>
            </a:custGeom>
            <a:solidFill>
              <a:srgbClr val="664241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94" name="图形 1">
              <a:extLst>
                <a:ext uri="{FF2B5EF4-FFF2-40B4-BE49-F238E27FC236}">
                  <a16:creationId xmlns:a16="http://schemas.microsoft.com/office/drawing/2014/main" id="{3F609A6D-6021-4C2A-A5BF-9D8A30C0C72C}"/>
                </a:ext>
              </a:extLst>
            </p:cNvPr>
            <p:cNvGrpSpPr/>
            <p:nvPr/>
          </p:nvGrpSpPr>
          <p:grpSpPr>
            <a:xfrm>
              <a:off x="10472531" y="6149611"/>
              <a:ext cx="392628" cy="354724"/>
              <a:chOff x="10472531" y="6149611"/>
              <a:chExt cx="392628" cy="354724"/>
            </a:xfrm>
          </p:grpSpPr>
          <p:sp>
            <p:nvSpPr>
              <p:cNvPr id="195" name="任意多边形: 形状 194">
                <a:extLst>
                  <a:ext uri="{FF2B5EF4-FFF2-40B4-BE49-F238E27FC236}">
                    <a16:creationId xmlns:a16="http://schemas.microsoft.com/office/drawing/2014/main" id="{440BE56E-089C-4A81-B655-0E3B73920AB0}"/>
                  </a:ext>
                </a:extLst>
              </p:cNvPr>
              <p:cNvSpPr/>
              <p:nvPr/>
            </p:nvSpPr>
            <p:spPr>
              <a:xfrm>
                <a:off x="10472531" y="6270281"/>
                <a:ext cx="391119" cy="234053"/>
              </a:xfrm>
              <a:custGeom>
                <a:avLst/>
                <a:gdLst>
                  <a:gd name="connsiteX0" fmla="*/ 284025 w 391119"/>
                  <a:gd name="connsiteY0" fmla="*/ 0 h 234053"/>
                  <a:gd name="connsiteX1" fmla="*/ 127153 w 391119"/>
                  <a:gd name="connsiteY1" fmla="*/ 123687 h 234053"/>
                  <a:gd name="connsiteX2" fmla="*/ 320226 w 391119"/>
                  <a:gd name="connsiteY2" fmla="*/ 75419 h 234053"/>
                  <a:gd name="connsiteX3" fmla="*/ 389612 w 391119"/>
                  <a:gd name="connsiteY3" fmla="*/ 51285 h 234053"/>
                  <a:gd name="connsiteX4" fmla="*/ 383578 w 391119"/>
                  <a:gd name="connsiteY4" fmla="*/ 156871 h 234053"/>
                  <a:gd name="connsiteX5" fmla="*/ 154304 w 391119"/>
                  <a:gd name="connsiteY5" fmla="*/ 229274 h 234053"/>
                  <a:gd name="connsiteX6" fmla="*/ 18550 w 391119"/>
                  <a:gd name="connsiteY6" fmla="*/ 229274 h 234053"/>
                  <a:gd name="connsiteX7" fmla="*/ 12517 w 391119"/>
                  <a:gd name="connsiteY7" fmla="*/ 174972 h 234053"/>
                  <a:gd name="connsiteX8" fmla="*/ 284025 w 391119"/>
                  <a:gd name="connsiteY8" fmla="*/ 0 h 234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119" h="234053">
                    <a:moveTo>
                      <a:pt x="284025" y="0"/>
                    </a:moveTo>
                    <a:cubicBezTo>
                      <a:pt x="284025" y="0"/>
                      <a:pt x="112070" y="111620"/>
                      <a:pt x="127153" y="123687"/>
                    </a:cubicBezTo>
                    <a:cubicBezTo>
                      <a:pt x="139220" y="138771"/>
                      <a:pt x="320226" y="75419"/>
                      <a:pt x="320226" y="75419"/>
                    </a:cubicBezTo>
                    <a:lnTo>
                      <a:pt x="389612" y="51285"/>
                    </a:lnTo>
                    <a:cubicBezTo>
                      <a:pt x="389612" y="51285"/>
                      <a:pt x="395645" y="132738"/>
                      <a:pt x="383578" y="156871"/>
                    </a:cubicBezTo>
                    <a:cubicBezTo>
                      <a:pt x="311176" y="193073"/>
                      <a:pt x="226707" y="217207"/>
                      <a:pt x="154304" y="229274"/>
                    </a:cubicBezTo>
                    <a:cubicBezTo>
                      <a:pt x="109053" y="238324"/>
                      <a:pt x="27601" y="232290"/>
                      <a:pt x="18550" y="229274"/>
                    </a:cubicBezTo>
                    <a:cubicBezTo>
                      <a:pt x="9500" y="226257"/>
                      <a:pt x="-14634" y="202123"/>
                      <a:pt x="12517" y="174972"/>
                    </a:cubicBezTo>
                    <a:cubicBezTo>
                      <a:pt x="75869" y="111620"/>
                      <a:pt x="284025" y="0"/>
                      <a:pt x="284025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6" name="任意多边形: 形状 195">
                <a:extLst>
                  <a:ext uri="{FF2B5EF4-FFF2-40B4-BE49-F238E27FC236}">
                    <a16:creationId xmlns:a16="http://schemas.microsoft.com/office/drawing/2014/main" id="{E52921B8-61A7-4B11-843A-9CE2CE89436D}"/>
                  </a:ext>
                </a:extLst>
              </p:cNvPr>
              <p:cNvSpPr/>
              <p:nvPr/>
            </p:nvSpPr>
            <p:spPr>
              <a:xfrm>
                <a:off x="10601388" y="6149611"/>
                <a:ext cx="263771" cy="251405"/>
              </a:xfrm>
              <a:custGeom>
                <a:avLst/>
                <a:gdLst>
                  <a:gd name="connsiteX0" fmla="*/ 143102 w 263771"/>
                  <a:gd name="connsiteY0" fmla="*/ 0 h 251405"/>
                  <a:gd name="connsiteX1" fmla="*/ 158185 w 263771"/>
                  <a:gd name="connsiteY1" fmla="*/ 123687 h 251405"/>
                  <a:gd name="connsiteX2" fmla="*/ 1313 w 263771"/>
                  <a:gd name="connsiteY2" fmla="*/ 247374 h 251405"/>
                  <a:gd name="connsiteX3" fmla="*/ 236620 w 263771"/>
                  <a:gd name="connsiteY3" fmla="*/ 205140 h 251405"/>
                  <a:gd name="connsiteX4" fmla="*/ 263772 w 263771"/>
                  <a:gd name="connsiteY4" fmla="*/ 174972 h 251405"/>
                  <a:gd name="connsiteX5" fmla="*/ 263772 w 263771"/>
                  <a:gd name="connsiteY5" fmla="*/ 42235 h 251405"/>
                  <a:gd name="connsiteX6" fmla="*/ 143102 w 263771"/>
                  <a:gd name="connsiteY6" fmla="*/ 0 h 251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3771" h="251405">
                    <a:moveTo>
                      <a:pt x="143102" y="0"/>
                    </a:moveTo>
                    <a:lnTo>
                      <a:pt x="158185" y="123687"/>
                    </a:lnTo>
                    <a:cubicBezTo>
                      <a:pt x="158185" y="123687"/>
                      <a:pt x="-16787" y="226257"/>
                      <a:pt x="1313" y="247374"/>
                    </a:cubicBezTo>
                    <a:cubicBezTo>
                      <a:pt x="13380" y="262458"/>
                      <a:pt x="167235" y="232290"/>
                      <a:pt x="236620" y="205140"/>
                    </a:cubicBezTo>
                    <a:cubicBezTo>
                      <a:pt x="260755" y="196089"/>
                      <a:pt x="263772" y="174972"/>
                      <a:pt x="263772" y="174972"/>
                    </a:cubicBezTo>
                    <a:lnTo>
                      <a:pt x="263772" y="42235"/>
                    </a:lnTo>
                    <a:lnTo>
                      <a:pt x="143102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97" name="图形 1">
              <a:extLst>
                <a:ext uri="{FF2B5EF4-FFF2-40B4-BE49-F238E27FC236}">
                  <a16:creationId xmlns:a16="http://schemas.microsoft.com/office/drawing/2014/main" id="{3F609A6D-6021-4C2A-A5BF-9D8A30C0C72C}"/>
                </a:ext>
              </a:extLst>
            </p:cNvPr>
            <p:cNvGrpSpPr/>
            <p:nvPr/>
          </p:nvGrpSpPr>
          <p:grpSpPr>
            <a:xfrm>
              <a:off x="9769625" y="6149611"/>
              <a:ext cx="391120" cy="354724"/>
              <a:chOff x="9769625" y="6149611"/>
              <a:chExt cx="391120" cy="354724"/>
            </a:xfrm>
          </p:grpSpPr>
          <p:sp>
            <p:nvSpPr>
              <p:cNvPr id="198" name="任意多边形: 形状 197">
                <a:extLst>
                  <a:ext uri="{FF2B5EF4-FFF2-40B4-BE49-F238E27FC236}">
                    <a16:creationId xmlns:a16="http://schemas.microsoft.com/office/drawing/2014/main" id="{6AE7CBC1-15F9-47E9-945A-C1DAED2B12BA}"/>
                  </a:ext>
                </a:extLst>
              </p:cNvPr>
              <p:cNvSpPr/>
              <p:nvPr/>
            </p:nvSpPr>
            <p:spPr>
              <a:xfrm>
                <a:off x="9769625" y="6270281"/>
                <a:ext cx="391120" cy="234053"/>
              </a:xfrm>
              <a:custGeom>
                <a:avLst/>
                <a:gdLst>
                  <a:gd name="connsiteX0" fmla="*/ 284025 w 391120"/>
                  <a:gd name="connsiteY0" fmla="*/ 0 h 234053"/>
                  <a:gd name="connsiteX1" fmla="*/ 127154 w 391120"/>
                  <a:gd name="connsiteY1" fmla="*/ 123687 h 234053"/>
                  <a:gd name="connsiteX2" fmla="*/ 320226 w 391120"/>
                  <a:gd name="connsiteY2" fmla="*/ 75419 h 234053"/>
                  <a:gd name="connsiteX3" fmla="*/ 389612 w 391120"/>
                  <a:gd name="connsiteY3" fmla="*/ 51285 h 234053"/>
                  <a:gd name="connsiteX4" fmla="*/ 383579 w 391120"/>
                  <a:gd name="connsiteY4" fmla="*/ 156871 h 234053"/>
                  <a:gd name="connsiteX5" fmla="*/ 154305 w 391120"/>
                  <a:gd name="connsiteY5" fmla="*/ 229274 h 234053"/>
                  <a:gd name="connsiteX6" fmla="*/ 18550 w 391120"/>
                  <a:gd name="connsiteY6" fmla="*/ 229274 h 234053"/>
                  <a:gd name="connsiteX7" fmla="*/ 12517 w 391120"/>
                  <a:gd name="connsiteY7" fmla="*/ 174972 h 234053"/>
                  <a:gd name="connsiteX8" fmla="*/ 284025 w 391120"/>
                  <a:gd name="connsiteY8" fmla="*/ 0 h 234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120" h="234053">
                    <a:moveTo>
                      <a:pt x="284025" y="0"/>
                    </a:moveTo>
                    <a:cubicBezTo>
                      <a:pt x="284025" y="0"/>
                      <a:pt x="112070" y="111620"/>
                      <a:pt x="127154" y="123687"/>
                    </a:cubicBezTo>
                    <a:cubicBezTo>
                      <a:pt x="139221" y="138771"/>
                      <a:pt x="320226" y="75419"/>
                      <a:pt x="320226" y="75419"/>
                    </a:cubicBezTo>
                    <a:lnTo>
                      <a:pt x="389612" y="51285"/>
                    </a:lnTo>
                    <a:cubicBezTo>
                      <a:pt x="389612" y="51285"/>
                      <a:pt x="395645" y="132738"/>
                      <a:pt x="383579" y="156871"/>
                    </a:cubicBezTo>
                    <a:cubicBezTo>
                      <a:pt x="311176" y="193073"/>
                      <a:pt x="226707" y="217207"/>
                      <a:pt x="154305" y="229274"/>
                    </a:cubicBezTo>
                    <a:cubicBezTo>
                      <a:pt x="109053" y="238324"/>
                      <a:pt x="27601" y="232290"/>
                      <a:pt x="18550" y="229274"/>
                    </a:cubicBezTo>
                    <a:cubicBezTo>
                      <a:pt x="9500" y="226257"/>
                      <a:pt x="-14634" y="202123"/>
                      <a:pt x="12517" y="174972"/>
                    </a:cubicBezTo>
                    <a:cubicBezTo>
                      <a:pt x="75869" y="111620"/>
                      <a:pt x="284025" y="0"/>
                      <a:pt x="284025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9" name="任意多边形: 形状 198">
                <a:extLst>
                  <a:ext uri="{FF2B5EF4-FFF2-40B4-BE49-F238E27FC236}">
                    <a16:creationId xmlns:a16="http://schemas.microsoft.com/office/drawing/2014/main" id="{30E68DE0-082A-4C85-9982-7FCFB660507C}"/>
                  </a:ext>
                </a:extLst>
              </p:cNvPr>
              <p:cNvSpPr/>
              <p:nvPr/>
            </p:nvSpPr>
            <p:spPr>
              <a:xfrm>
                <a:off x="9895466" y="6149611"/>
                <a:ext cx="263771" cy="251405"/>
              </a:xfrm>
              <a:custGeom>
                <a:avLst/>
                <a:gdLst>
                  <a:gd name="connsiteX0" fmla="*/ 143101 w 263771"/>
                  <a:gd name="connsiteY0" fmla="*/ 0 h 251405"/>
                  <a:gd name="connsiteX1" fmla="*/ 158185 w 263771"/>
                  <a:gd name="connsiteY1" fmla="*/ 123687 h 251405"/>
                  <a:gd name="connsiteX2" fmla="*/ 1313 w 263771"/>
                  <a:gd name="connsiteY2" fmla="*/ 247374 h 251405"/>
                  <a:gd name="connsiteX3" fmla="*/ 236620 w 263771"/>
                  <a:gd name="connsiteY3" fmla="*/ 205140 h 251405"/>
                  <a:gd name="connsiteX4" fmla="*/ 263771 w 263771"/>
                  <a:gd name="connsiteY4" fmla="*/ 174972 h 251405"/>
                  <a:gd name="connsiteX5" fmla="*/ 263771 w 263771"/>
                  <a:gd name="connsiteY5" fmla="*/ 42235 h 251405"/>
                  <a:gd name="connsiteX6" fmla="*/ 143101 w 263771"/>
                  <a:gd name="connsiteY6" fmla="*/ 0 h 251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3771" h="251405">
                    <a:moveTo>
                      <a:pt x="143101" y="0"/>
                    </a:moveTo>
                    <a:lnTo>
                      <a:pt x="158185" y="123687"/>
                    </a:lnTo>
                    <a:cubicBezTo>
                      <a:pt x="158185" y="123687"/>
                      <a:pt x="-16787" y="226257"/>
                      <a:pt x="1313" y="247374"/>
                    </a:cubicBezTo>
                    <a:cubicBezTo>
                      <a:pt x="13380" y="262458"/>
                      <a:pt x="167235" y="232290"/>
                      <a:pt x="236620" y="205140"/>
                    </a:cubicBezTo>
                    <a:cubicBezTo>
                      <a:pt x="260754" y="196089"/>
                      <a:pt x="263771" y="174972"/>
                      <a:pt x="263771" y="174972"/>
                    </a:cubicBezTo>
                    <a:lnTo>
                      <a:pt x="263771" y="42235"/>
                    </a:lnTo>
                    <a:lnTo>
                      <a:pt x="143101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00" name="任意多边形: 形状 199">
              <a:extLst>
                <a:ext uri="{FF2B5EF4-FFF2-40B4-BE49-F238E27FC236}">
                  <a16:creationId xmlns:a16="http://schemas.microsoft.com/office/drawing/2014/main" id="{FEFBADAE-14FE-4AE8-B64C-3303ACF4A201}"/>
                </a:ext>
              </a:extLst>
            </p:cNvPr>
            <p:cNvSpPr/>
            <p:nvPr/>
          </p:nvSpPr>
          <p:spPr>
            <a:xfrm>
              <a:off x="9561886" y="3169031"/>
              <a:ext cx="482714" cy="494184"/>
            </a:xfrm>
            <a:custGeom>
              <a:avLst/>
              <a:gdLst>
                <a:gd name="connsiteX0" fmla="*/ 482714 w 482714"/>
                <a:gd name="connsiteY0" fmla="*/ 313764 h 494184"/>
                <a:gd name="connsiteX1" fmla="*/ 51318 w 482714"/>
                <a:gd name="connsiteY1" fmla="*/ 21 h 494184"/>
                <a:gd name="connsiteX2" fmla="*/ 33 w 482714"/>
                <a:gd name="connsiteY2" fmla="*/ 87507 h 494184"/>
                <a:gd name="connsiteX3" fmla="*/ 404279 w 482714"/>
                <a:gd name="connsiteY3" fmla="*/ 488736 h 494184"/>
                <a:gd name="connsiteX4" fmla="*/ 482714 w 482714"/>
                <a:gd name="connsiteY4" fmla="*/ 313764 h 49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2714" h="494184">
                  <a:moveTo>
                    <a:pt x="482714" y="313764"/>
                  </a:moveTo>
                  <a:cubicBezTo>
                    <a:pt x="482714" y="313764"/>
                    <a:pt x="57351" y="-2995"/>
                    <a:pt x="51318" y="21"/>
                  </a:cubicBezTo>
                  <a:cubicBezTo>
                    <a:pt x="-9017" y="30189"/>
                    <a:pt x="24167" y="24155"/>
                    <a:pt x="33" y="87507"/>
                  </a:cubicBezTo>
                  <a:cubicBezTo>
                    <a:pt x="-2984" y="96558"/>
                    <a:pt x="202156" y="340915"/>
                    <a:pt x="404279" y="488736"/>
                  </a:cubicBezTo>
                  <a:cubicBezTo>
                    <a:pt x="461597" y="530971"/>
                    <a:pt x="482714" y="313764"/>
                    <a:pt x="482714" y="313764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1" name="任意多边形: 形状 200">
              <a:extLst>
                <a:ext uri="{FF2B5EF4-FFF2-40B4-BE49-F238E27FC236}">
                  <a16:creationId xmlns:a16="http://schemas.microsoft.com/office/drawing/2014/main" id="{FA3EC6C2-F40C-4435-8A82-FC90A8298C93}"/>
                </a:ext>
              </a:extLst>
            </p:cNvPr>
            <p:cNvSpPr/>
            <p:nvPr/>
          </p:nvSpPr>
          <p:spPr>
            <a:xfrm>
              <a:off x="9419894" y="2974176"/>
              <a:ext cx="248555" cy="298244"/>
            </a:xfrm>
            <a:custGeom>
              <a:avLst/>
              <a:gdLst>
                <a:gd name="connsiteX0" fmla="*/ 12304 w 248555"/>
                <a:gd name="connsiteY0" fmla="*/ 146609 h 298244"/>
                <a:gd name="connsiteX1" fmla="*/ 51522 w 248555"/>
                <a:gd name="connsiteY1" fmla="*/ 209961 h 298244"/>
                <a:gd name="connsiteX2" fmla="*/ 132975 w 248555"/>
                <a:gd name="connsiteY2" fmla="*/ 297447 h 298244"/>
                <a:gd name="connsiteX3" fmla="*/ 238561 w 248555"/>
                <a:gd name="connsiteY3" fmla="*/ 273313 h 298244"/>
                <a:gd name="connsiteX4" fmla="*/ 120908 w 248555"/>
                <a:gd name="connsiteY4" fmla="*/ 13871 h 298244"/>
                <a:gd name="connsiteX5" fmla="*/ 90740 w 248555"/>
                <a:gd name="connsiteY5" fmla="*/ 7838 h 298244"/>
                <a:gd name="connsiteX6" fmla="*/ 102807 w 248555"/>
                <a:gd name="connsiteY6" fmla="*/ 50072 h 298244"/>
                <a:gd name="connsiteX7" fmla="*/ 120908 w 248555"/>
                <a:gd name="connsiteY7" fmla="*/ 104374 h 298244"/>
                <a:gd name="connsiteX8" fmla="*/ 75657 w 248555"/>
                <a:gd name="connsiteY8" fmla="*/ 47056 h 298244"/>
                <a:gd name="connsiteX9" fmla="*/ 42472 w 248555"/>
                <a:gd name="connsiteY9" fmla="*/ 7838 h 298244"/>
                <a:gd name="connsiteX10" fmla="*/ 15321 w 248555"/>
                <a:gd name="connsiteY10" fmla="*/ 13871 h 298244"/>
                <a:gd name="connsiteX11" fmla="*/ 12304 w 248555"/>
                <a:gd name="connsiteY11" fmla="*/ 44039 h 298244"/>
                <a:gd name="connsiteX12" fmla="*/ 9288 w 248555"/>
                <a:gd name="connsiteY12" fmla="*/ 44039 h 298244"/>
                <a:gd name="connsiteX13" fmla="*/ 3254 w 248555"/>
                <a:gd name="connsiteY13" fmla="*/ 47056 h 298244"/>
                <a:gd name="connsiteX14" fmla="*/ 12304 w 248555"/>
                <a:gd name="connsiteY14" fmla="*/ 92307 h 298244"/>
                <a:gd name="connsiteX15" fmla="*/ 27388 w 248555"/>
                <a:gd name="connsiteY15" fmla="*/ 113424 h 298244"/>
                <a:gd name="connsiteX16" fmla="*/ 21355 w 248555"/>
                <a:gd name="connsiteY16" fmla="*/ 110408 h 298244"/>
                <a:gd name="connsiteX17" fmla="*/ 3254 w 248555"/>
                <a:gd name="connsiteY17" fmla="*/ 113424 h 298244"/>
                <a:gd name="connsiteX18" fmla="*/ 12304 w 248555"/>
                <a:gd name="connsiteY18" fmla="*/ 146609 h 298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8555" h="298244">
                  <a:moveTo>
                    <a:pt x="12304" y="146609"/>
                  </a:moveTo>
                  <a:cubicBezTo>
                    <a:pt x="24372" y="167726"/>
                    <a:pt x="39456" y="188843"/>
                    <a:pt x="51522" y="209961"/>
                  </a:cubicBezTo>
                  <a:cubicBezTo>
                    <a:pt x="72640" y="243145"/>
                    <a:pt x="90740" y="285380"/>
                    <a:pt x="132975" y="297447"/>
                  </a:cubicBezTo>
                  <a:cubicBezTo>
                    <a:pt x="160126" y="303480"/>
                    <a:pt x="238561" y="273313"/>
                    <a:pt x="238561" y="273313"/>
                  </a:cubicBezTo>
                  <a:cubicBezTo>
                    <a:pt x="283813" y="212977"/>
                    <a:pt x="163142" y="59123"/>
                    <a:pt x="120908" y="13871"/>
                  </a:cubicBezTo>
                  <a:cubicBezTo>
                    <a:pt x="114875" y="7838"/>
                    <a:pt x="93757" y="-10263"/>
                    <a:pt x="90740" y="7838"/>
                  </a:cubicBezTo>
                  <a:cubicBezTo>
                    <a:pt x="87723" y="19905"/>
                    <a:pt x="99791" y="38005"/>
                    <a:pt x="102807" y="50072"/>
                  </a:cubicBezTo>
                  <a:cubicBezTo>
                    <a:pt x="108841" y="68173"/>
                    <a:pt x="114875" y="86274"/>
                    <a:pt x="120908" y="104374"/>
                  </a:cubicBezTo>
                  <a:cubicBezTo>
                    <a:pt x="105824" y="86274"/>
                    <a:pt x="90740" y="65156"/>
                    <a:pt x="75657" y="47056"/>
                  </a:cubicBezTo>
                  <a:cubicBezTo>
                    <a:pt x="66606" y="34989"/>
                    <a:pt x="57556" y="16888"/>
                    <a:pt x="42472" y="7838"/>
                  </a:cubicBezTo>
                  <a:cubicBezTo>
                    <a:pt x="33422" y="1804"/>
                    <a:pt x="24372" y="4821"/>
                    <a:pt x="15321" y="13871"/>
                  </a:cubicBezTo>
                  <a:cubicBezTo>
                    <a:pt x="9288" y="22922"/>
                    <a:pt x="9288" y="34989"/>
                    <a:pt x="12304" y="44039"/>
                  </a:cubicBezTo>
                  <a:cubicBezTo>
                    <a:pt x="12304" y="44039"/>
                    <a:pt x="9288" y="44039"/>
                    <a:pt x="9288" y="44039"/>
                  </a:cubicBezTo>
                  <a:cubicBezTo>
                    <a:pt x="6271" y="44039"/>
                    <a:pt x="6271" y="44039"/>
                    <a:pt x="3254" y="47056"/>
                  </a:cubicBezTo>
                  <a:cubicBezTo>
                    <a:pt x="-2779" y="65156"/>
                    <a:pt x="3254" y="77223"/>
                    <a:pt x="12304" y="92307"/>
                  </a:cubicBezTo>
                  <a:cubicBezTo>
                    <a:pt x="18338" y="98341"/>
                    <a:pt x="21355" y="107391"/>
                    <a:pt x="27388" y="113424"/>
                  </a:cubicBezTo>
                  <a:cubicBezTo>
                    <a:pt x="24372" y="113424"/>
                    <a:pt x="24372" y="110408"/>
                    <a:pt x="21355" y="110408"/>
                  </a:cubicBezTo>
                  <a:cubicBezTo>
                    <a:pt x="15321" y="107391"/>
                    <a:pt x="6271" y="107391"/>
                    <a:pt x="3254" y="113424"/>
                  </a:cubicBezTo>
                  <a:cubicBezTo>
                    <a:pt x="-5796" y="122475"/>
                    <a:pt x="6271" y="137558"/>
                    <a:pt x="12304" y="146609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2" name="任意多边形: 形状 201">
              <a:extLst>
                <a:ext uri="{FF2B5EF4-FFF2-40B4-BE49-F238E27FC236}">
                  <a16:creationId xmlns:a16="http://schemas.microsoft.com/office/drawing/2014/main" id="{DDC2047D-CD3C-45E5-8058-057978D5E48A}"/>
                </a:ext>
              </a:extLst>
            </p:cNvPr>
            <p:cNvSpPr/>
            <p:nvPr/>
          </p:nvSpPr>
          <p:spPr>
            <a:xfrm>
              <a:off x="9938935" y="2952623"/>
              <a:ext cx="237338" cy="728969"/>
            </a:xfrm>
            <a:custGeom>
              <a:avLst/>
              <a:gdLst>
                <a:gd name="connsiteX0" fmla="*/ 202201 w 237338"/>
                <a:gd name="connsiteY0" fmla="*/ 294866 h 728969"/>
                <a:gd name="connsiteX1" fmla="*/ 205218 w 237338"/>
                <a:gd name="connsiteY1" fmla="*/ 5257 h 728969"/>
                <a:gd name="connsiteX2" fmla="*/ 18179 w 237338"/>
                <a:gd name="connsiteY2" fmla="*/ 231514 h 728969"/>
                <a:gd name="connsiteX3" fmla="*/ 78 w 237338"/>
                <a:gd name="connsiteY3" fmla="*/ 605592 h 728969"/>
                <a:gd name="connsiteX4" fmla="*/ 162983 w 237338"/>
                <a:gd name="connsiteY4" fmla="*/ 687044 h 728969"/>
                <a:gd name="connsiteX5" fmla="*/ 202201 w 237338"/>
                <a:gd name="connsiteY5" fmla="*/ 294866 h 728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338" h="728969">
                  <a:moveTo>
                    <a:pt x="202201" y="294866"/>
                  </a:moveTo>
                  <a:cubicBezTo>
                    <a:pt x="199185" y="113860"/>
                    <a:pt x="280637" y="32407"/>
                    <a:pt x="205218" y="5257"/>
                  </a:cubicBezTo>
                  <a:cubicBezTo>
                    <a:pt x="120749" y="-27928"/>
                    <a:pt x="39296" y="101793"/>
                    <a:pt x="18179" y="231514"/>
                  </a:cubicBezTo>
                  <a:cubicBezTo>
                    <a:pt x="3095" y="331067"/>
                    <a:pt x="78" y="605592"/>
                    <a:pt x="78" y="605592"/>
                  </a:cubicBezTo>
                  <a:cubicBezTo>
                    <a:pt x="-2938" y="708162"/>
                    <a:pt x="81531" y="777547"/>
                    <a:pt x="162983" y="687044"/>
                  </a:cubicBezTo>
                  <a:cubicBezTo>
                    <a:pt x="241419" y="596542"/>
                    <a:pt x="205218" y="475871"/>
                    <a:pt x="202201" y="294866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3" name="任意多边形: 形状 202">
              <a:extLst>
                <a:ext uri="{FF2B5EF4-FFF2-40B4-BE49-F238E27FC236}">
                  <a16:creationId xmlns:a16="http://schemas.microsoft.com/office/drawing/2014/main" id="{FAC1DBEE-157E-4290-BCAC-9CD23C5AB5A7}"/>
                </a:ext>
              </a:extLst>
            </p:cNvPr>
            <p:cNvSpPr/>
            <p:nvPr/>
          </p:nvSpPr>
          <p:spPr>
            <a:xfrm>
              <a:off x="9884712" y="2836324"/>
              <a:ext cx="381386" cy="429428"/>
            </a:xfrm>
            <a:custGeom>
              <a:avLst/>
              <a:gdLst>
                <a:gd name="connsiteX0" fmla="*/ 352961 w 381386"/>
                <a:gd name="connsiteY0" fmla="*/ 429265 h 429428"/>
                <a:gd name="connsiteX1" fmla="*/ 313743 w 381386"/>
                <a:gd name="connsiteY1" fmla="*/ 6919 h 429428"/>
                <a:gd name="connsiteX2" fmla="*/ 0 w 381386"/>
                <a:gd name="connsiteY2" fmla="*/ 341779 h 429428"/>
                <a:gd name="connsiteX3" fmla="*/ 352961 w 381386"/>
                <a:gd name="connsiteY3" fmla="*/ 429265 h 429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386" h="429428">
                  <a:moveTo>
                    <a:pt x="352961" y="429265"/>
                  </a:moveTo>
                  <a:cubicBezTo>
                    <a:pt x="404246" y="254293"/>
                    <a:pt x="383128" y="43120"/>
                    <a:pt x="313743" y="6919"/>
                  </a:cubicBezTo>
                  <a:cubicBezTo>
                    <a:pt x="223241" y="-41349"/>
                    <a:pt x="45251" y="172840"/>
                    <a:pt x="0" y="341779"/>
                  </a:cubicBezTo>
                  <a:cubicBezTo>
                    <a:pt x="54302" y="393064"/>
                    <a:pt x="250391" y="432282"/>
                    <a:pt x="352961" y="429265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4" name="任意多边形: 形状 203">
              <a:extLst>
                <a:ext uri="{FF2B5EF4-FFF2-40B4-BE49-F238E27FC236}">
                  <a16:creationId xmlns:a16="http://schemas.microsoft.com/office/drawing/2014/main" id="{8ACBAF0B-CD78-43C9-9CD8-35C292F91DE5}"/>
                </a:ext>
              </a:extLst>
            </p:cNvPr>
            <p:cNvSpPr/>
            <p:nvPr/>
          </p:nvSpPr>
          <p:spPr>
            <a:xfrm>
              <a:off x="9988543" y="3718103"/>
              <a:ext cx="913545" cy="2497876"/>
            </a:xfrm>
            <a:custGeom>
              <a:avLst/>
              <a:gdLst>
                <a:gd name="connsiteX0" fmla="*/ 783097 w 913545"/>
                <a:gd name="connsiteY0" fmla="*/ 0 h 2497876"/>
                <a:gd name="connsiteX1" fmla="*/ 122426 w 913545"/>
                <a:gd name="connsiteY1" fmla="*/ 0 h 2497876"/>
                <a:gd name="connsiteX2" fmla="*/ 4773 w 913545"/>
                <a:gd name="connsiteY2" fmla="*/ 455531 h 2497876"/>
                <a:gd name="connsiteX3" fmla="*/ 25890 w 913545"/>
                <a:gd name="connsiteY3" fmla="*/ 2497877 h 2497876"/>
                <a:gd name="connsiteX4" fmla="*/ 203879 w 913545"/>
                <a:gd name="connsiteY4" fmla="*/ 2497877 h 2497876"/>
                <a:gd name="connsiteX5" fmla="*/ 418069 w 913545"/>
                <a:gd name="connsiteY5" fmla="*/ 856760 h 2497876"/>
                <a:gd name="connsiteX6" fmla="*/ 716728 w 913545"/>
                <a:gd name="connsiteY6" fmla="*/ 2488827 h 2497876"/>
                <a:gd name="connsiteX7" fmla="*/ 909800 w 913545"/>
                <a:gd name="connsiteY7" fmla="*/ 2488827 h 2497876"/>
                <a:gd name="connsiteX8" fmla="*/ 912817 w 913545"/>
                <a:gd name="connsiteY8" fmla="*/ 416313 h 2497876"/>
                <a:gd name="connsiteX9" fmla="*/ 783097 w 913545"/>
                <a:gd name="connsiteY9" fmla="*/ 0 h 2497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3545" h="2497876">
                  <a:moveTo>
                    <a:pt x="783097" y="0"/>
                  </a:moveTo>
                  <a:lnTo>
                    <a:pt x="122426" y="0"/>
                  </a:lnTo>
                  <a:cubicBezTo>
                    <a:pt x="122426" y="0"/>
                    <a:pt x="25890" y="301676"/>
                    <a:pt x="4773" y="455531"/>
                  </a:cubicBezTo>
                  <a:cubicBezTo>
                    <a:pt x="-13328" y="606369"/>
                    <a:pt x="25890" y="2497877"/>
                    <a:pt x="25890" y="2497877"/>
                  </a:cubicBezTo>
                  <a:lnTo>
                    <a:pt x="203879" y="2497877"/>
                  </a:lnTo>
                  <a:lnTo>
                    <a:pt x="418069" y="856760"/>
                  </a:lnTo>
                  <a:lnTo>
                    <a:pt x="716728" y="2488827"/>
                  </a:lnTo>
                  <a:lnTo>
                    <a:pt x="909800" y="2488827"/>
                  </a:lnTo>
                  <a:cubicBezTo>
                    <a:pt x="909800" y="2488827"/>
                    <a:pt x="903767" y="533967"/>
                    <a:pt x="912817" y="416313"/>
                  </a:cubicBezTo>
                  <a:cubicBezTo>
                    <a:pt x="924884" y="292626"/>
                    <a:pt x="783097" y="0"/>
                    <a:pt x="783097" y="0"/>
                  </a:cubicBezTo>
                  <a:close/>
                </a:path>
              </a:pathLst>
            </a:custGeom>
            <a:solidFill>
              <a:srgbClr val="F6EBE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5" name="任意多边形: 形状 204">
              <a:extLst>
                <a:ext uri="{FF2B5EF4-FFF2-40B4-BE49-F238E27FC236}">
                  <a16:creationId xmlns:a16="http://schemas.microsoft.com/office/drawing/2014/main" id="{C4FBA2C4-0F27-4C1B-86E5-5391C1035ECB}"/>
                </a:ext>
              </a:extLst>
            </p:cNvPr>
            <p:cNvSpPr/>
            <p:nvPr/>
          </p:nvSpPr>
          <p:spPr>
            <a:xfrm>
              <a:off x="10400578" y="4104248"/>
              <a:ext cx="310726" cy="2105698"/>
            </a:xfrm>
            <a:custGeom>
              <a:avLst/>
              <a:gdLst>
                <a:gd name="connsiteX0" fmla="*/ 304693 w 310726"/>
                <a:gd name="connsiteY0" fmla="*/ 2105698 h 2105698"/>
                <a:gd name="connsiteX1" fmla="*/ 298660 w 310726"/>
                <a:gd name="connsiteY1" fmla="*/ 2102682 h 2105698"/>
                <a:gd name="connsiteX2" fmla="*/ 0 w 310726"/>
                <a:gd name="connsiteY2" fmla="*/ 470614 h 2105698"/>
                <a:gd name="connsiteX3" fmla="*/ 0 w 310726"/>
                <a:gd name="connsiteY3" fmla="*/ 6033 h 2105698"/>
                <a:gd name="connsiteX4" fmla="*/ 6034 w 310726"/>
                <a:gd name="connsiteY4" fmla="*/ 0 h 2105698"/>
                <a:gd name="connsiteX5" fmla="*/ 12068 w 310726"/>
                <a:gd name="connsiteY5" fmla="*/ 6033 h 2105698"/>
                <a:gd name="connsiteX6" fmla="*/ 12068 w 310726"/>
                <a:gd name="connsiteY6" fmla="*/ 470614 h 2105698"/>
                <a:gd name="connsiteX7" fmla="*/ 310727 w 310726"/>
                <a:gd name="connsiteY7" fmla="*/ 2102682 h 2105698"/>
                <a:gd name="connsiteX8" fmla="*/ 304693 w 310726"/>
                <a:gd name="connsiteY8" fmla="*/ 2105698 h 2105698"/>
                <a:gd name="connsiteX9" fmla="*/ 304693 w 310726"/>
                <a:gd name="connsiteY9" fmla="*/ 2105698 h 2105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0726" h="2105698">
                  <a:moveTo>
                    <a:pt x="304693" y="2105698"/>
                  </a:moveTo>
                  <a:cubicBezTo>
                    <a:pt x="301676" y="2105698"/>
                    <a:pt x="298660" y="2102682"/>
                    <a:pt x="298660" y="2102682"/>
                  </a:cubicBezTo>
                  <a:lnTo>
                    <a:pt x="0" y="470614"/>
                  </a:lnTo>
                  <a:lnTo>
                    <a:pt x="0" y="6033"/>
                  </a:lnTo>
                  <a:cubicBezTo>
                    <a:pt x="0" y="3017"/>
                    <a:pt x="3017" y="0"/>
                    <a:pt x="6034" y="0"/>
                  </a:cubicBezTo>
                  <a:cubicBezTo>
                    <a:pt x="9051" y="0"/>
                    <a:pt x="12068" y="3017"/>
                    <a:pt x="12068" y="6033"/>
                  </a:cubicBezTo>
                  <a:lnTo>
                    <a:pt x="12068" y="470614"/>
                  </a:lnTo>
                  <a:lnTo>
                    <a:pt x="310727" y="2102682"/>
                  </a:lnTo>
                  <a:cubicBezTo>
                    <a:pt x="310727" y="2102682"/>
                    <a:pt x="307710" y="2105698"/>
                    <a:pt x="304693" y="2105698"/>
                  </a:cubicBezTo>
                  <a:cubicBezTo>
                    <a:pt x="304693" y="2105698"/>
                    <a:pt x="304693" y="2105698"/>
                    <a:pt x="304693" y="2105698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6" name="任意多边形: 形状 205">
              <a:extLst>
                <a:ext uri="{FF2B5EF4-FFF2-40B4-BE49-F238E27FC236}">
                  <a16:creationId xmlns:a16="http://schemas.microsoft.com/office/drawing/2014/main" id="{2AA468B1-86AF-4483-B412-392C412F02AC}"/>
                </a:ext>
              </a:extLst>
            </p:cNvPr>
            <p:cNvSpPr/>
            <p:nvPr/>
          </p:nvSpPr>
          <p:spPr>
            <a:xfrm>
              <a:off x="10018545" y="2772456"/>
              <a:ext cx="811961" cy="972886"/>
            </a:xfrm>
            <a:custGeom>
              <a:avLst/>
              <a:gdLst>
                <a:gd name="connsiteX0" fmla="*/ 768178 w 811961"/>
                <a:gd name="connsiteY0" fmla="*/ 387546 h 972886"/>
                <a:gd name="connsiteX1" fmla="*/ 753094 w 811961"/>
                <a:gd name="connsiteY1" fmla="*/ 67770 h 972886"/>
                <a:gd name="connsiteX2" fmla="*/ 388066 w 811961"/>
                <a:gd name="connsiteY2" fmla="*/ 4418 h 972886"/>
                <a:gd name="connsiteX3" fmla="*/ 89407 w 811961"/>
                <a:gd name="connsiteY3" fmla="*/ 103971 h 972886"/>
                <a:gd name="connsiteX4" fmla="*/ 50189 w 811961"/>
                <a:gd name="connsiteY4" fmla="*/ 646988 h 972886"/>
                <a:gd name="connsiteX5" fmla="*/ 80357 w 811961"/>
                <a:gd name="connsiteY5" fmla="*/ 966764 h 972886"/>
                <a:gd name="connsiteX6" fmla="*/ 765161 w 811961"/>
                <a:gd name="connsiteY6" fmla="*/ 951680 h 972886"/>
                <a:gd name="connsiteX7" fmla="*/ 768178 w 811961"/>
                <a:gd name="connsiteY7" fmla="*/ 387546 h 97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1961" h="972886">
                  <a:moveTo>
                    <a:pt x="768178" y="387546"/>
                  </a:moveTo>
                  <a:cubicBezTo>
                    <a:pt x="777228" y="357379"/>
                    <a:pt x="870748" y="131122"/>
                    <a:pt x="753094" y="67770"/>
                  </a:cubicBezTo>
                  <a:cubicBezTo>
                    <a:pt x="650525" y="13468"/>
                    <a:pt x="505720" y="-10666"/>
                    <a:pt x="388066" y="4418"/>
                  </a:cubicBezTo>
                  <a:cubicBezTo>
                    <a:pt x="258346" y="19502"/>
                    <a:pt x="128625" y="40619"/>
                    <a:pt x="89407" y="103971"/>
                  </a:cubicBezTo>
                  <a:cubicBezTo>
                    <a:pt x="-22213" y="287993"/>
                    <a:pt x="-22213" y="450898"/>
                    <a:pt x="50189" y="646988"/>
                  </a:cubicBezTo>
                  <a:cubicBezTo>
                    <a:pt x="71306" y="704306"/>
                    <a:pt x="65273" y="837043"/>
                    <a:pt x="80357" y="966764"/>
                  </a:cubicBezTo>
                  <a:cubicBezTo>
                    <a:pt x="80357" y="966764"/>
                    <a:pt x="375999" y="987881"/>
                    <a:pt x="765161" y="951680"/>
                  </a:cubicBezTo>
                  <a:cubicBezTo>
                    <a:pt x="731977" y="737490"/>
                    <a:pt x="762144" y="411680"/>
                    <a:pt x="768178" y="387546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7" name="任意多边形: 形状 206">
              <a:extLst>
                <a:ext uri="{FF2B5EF4-FFF2-40B4-BE49-F238E27FC236}">
                  <a16:creationId xmlns:a16="http://schemas.microsoft.com/office/drawing/2014/main" id="{59016004-61DD-4A07-9A31-DF2FFB02A3D0}"/>
                </a:ext>
              </a:extLst>
            </p:cNvPr>
            <p:cNvSpPr/>
            <p:nvPr/>
          </p:nvSpPr>
          <p:spPr>
            <a:xfrm>
              <a:off x="10361360" y="2589835"/>
              <a:ext cx="105586" cy="54301"/>
            </a:xfrm>
            <a:custGeom>
              <a:avLst/>
              <a:gdLst>
                <a:gd name="connsiteX0" fmla="*/ 105587 w 105586"/>
                <a:gd name="connsiteY0" fmla="*/ 0 h 54301"/>
                <a:gd name="connsiteX1" fmla="*/ 0 w 105586"/>
                <a:gd name="connsiteY1" fmla="*/ 0 h 54301"/>
                <a:gd name="connsiteX2" fmla="*/ 51285 w 105586"/>
                <a:gd name="connsiteY2" fmla="*/ 54302 h 54301"/>
                <a:gd name="connsiteX3" fmla="*/ 105587 w 105586"/>
                <a:gd name="connsiteY3" fmla="*/ 0 h 5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586" h="54301">
                  <a:moveTo>
                    <a:pt x="105587" y="0"/>
                  </a:moveTo>
                  <a:cubicBezTo>
                    <a:pt x="51285" y="24134"/>
                    <a:pt x="0" y="0"/>
                    <a:pt x="0" y="0"/>
                  </a:cubicBezTo>
                  <a:cubicBezTo>
                    <a:pt x="0" y="0"/>
                    <a:pt x="15084" y="54302"/>
                    <a:pt x="51285" y="54302"/>
                  </a:cubicBezTo>
                  <a:cubicBezTo>
                    <a:pt x="90503" y="54302"/>
                    <a:pt x="105587" y="0"/>
                    <a:pt x="105587" y="0"/>
                  </a:cubicBezTo>
                  <a:close/>
                </a:path>
              </a:pathLst>
            </a:custGeom>
            <a:solidFill>
              <a:srgbClr val="FFFFFF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8" name="任意多边形: 形状 207">
              <a:extLst>
                <a:ext uri="{FF2B5EF4-FFF2-40B4-BE49-F238E27FC236}">
                  <a16:creationId xmlns:a16="http://schemas.microsoft.com/office/drawing/2014/main" id="{FF36F7F8-088C-4475-BD89-5ED2D6A2BAB6}"/>
                </a:ext>
              </a:extLst>
            </p:cNvPr>
            <p:cNvSpPr/>
            <p:nvPr/>
          </p:nvSpPr>
          <p:spPr>
            <a:xfrm>
              <a:off x="10298008" y="2598789"/>
              <a:ext cx="304692" cy="222050"/>
            </a:xfrm>
            <a:custGeom>
              <a:avLst/>
              <a:gdLst>
                <a:gd name="connsiteX0" fmla="*/ 54302 w 304692"/>
                <a:gd name="connsiteY0" fmla="*/ 60431 h 222050"/>
                <a:gd name="connsiteX1" fmla="*/ 0 w 304692"/>
                <a:gd name="connsiteY1" fmla="*/ 199202 h 222050"/>
                <a:gd name="connsiteX2" fmla="*/ 304693 w 304692"/>
                <a:gd name="connsiteY2" fmla="*/ 184118 h 222050"/>
                <a:gd name="connsiteX3" fmla="*/ 253408 w 304692"/>
                <a:gd name="connsiteY3" fmla="*/ 96 h 222050"/>
                <a:gd name="connsiteX4" fmla="*/ 54302 w 304692"/>
                <a:gd name="connsiteY4" fmla="*/ 60431 h 22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692" h="222050">
                  <a:moveTo>
                    <a:pt x="54302" y="60431"/>
                  </a:moveTo>
                  <a:cubicBezTo>
                    <a:pt x="54302" y="60431"/>
                    <a:pt x="60335" y="169034"/>
                    <a:pt x="0" y="199202"/>
                  </a:cubicBezTo>
                  <a:cubicBezTo>
                    <a:pt x="0" y="199202"/>
                    <a:pt x="177989" y="259537"/>
                    <a:pt x="304693" y="184118"/>
                  </a:cubicBezTo>
                  <a:cubicBezTo>
                    <a:pt x="250392" y="141883"/>
                    <a:pt x="253408" y="60431"/>
                    <a:pt x="253408" y="96"/>
                  </a:cubicBezTo>
                  <a:cubicBezTo>
                    <a:pt x="253408" y="-2921"/>
                    <a:pt x="105587" y="66464"/>
                    <a:pt x="54302" y="60431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9" name="任意多边形: 形状 208">
              <a:extLst>
                <a:ext uri="{FF2B5EF4-FFF2-40B4-BE49-F238E27FC236}">
                  <a16:creationId xmlns:a16="http://schemas.microsoft.com/office/drawing/2014/main" id="{1487C37E-5CF2-4E8D-9301-820BA54A8FB0}"/>
                </a:ext>
              </a:extLst>
            </p:cNvPr>
            <p:cNvSpPr/>
            <p:nvPr/>
          </p:nvSpPr>
          <p:spPr>
            <a:xfrm>
              <a:off x="10016631" y="2873410"/>
              <a:ext cx="100371" cy="552067"/>
            </a:xfrm>
            <a:custGeom>
              <a:avLst/>
              <a:gdLst>
                <a:gd name="connsiteX0" fmla="*/ 55120 w 100371"/>
                <a:gd name="connsiteY0" fmla="*/ 552067 h 552067"/>
                <a:gd name="connsiteX1" fmla="*/ 49086 w 100371"/>
                <a:gd name="connsiteY1" fmla="*/ 549050 h 552067"/>
                <a:gd name="connsiteX2" fmla="*/ 34002 w 100371"/>
                <a:gd name="connsiteY2" fmla="*/ 494749 h 552067"/>
                <a:gd name="connsiteX3" fmla="*/ 818 w 100371"/>
                <a:gd name="connsiteY3" fmla="*/ 343911 h 552067"/>
                <a:gd name="connsiteX4" fmla="*/ 88304 w 100371"/>
                <a:gd name="connsiteY4" fmla="*/ 3017 h 552067"/>
                <a:gd name="connsiteX5" fmla="*/ 97355 w 100371"/>
                <a:gd name="connsiteY5" fmla="*/ 0 h 552067"/>
                <a:gd name="connsiteX6" fmla="*/ 100371 w 100371"/>
                <a:gd name="connsiteY6" fmla="*/ 9050 h 552067"/>
                <a:gd name="connsiteX7" fmla="*/ 12885 w 100371"/>
                <a:gd name="connsiteY7" fmla="*/ 343911 h 552067"/>
                <a:gd name="connsiteX8" fmla="*/ 46070 w 100371"/>
                <a:gd name="connsiteY8" fmla="*/ 491732 h 552067"/>
                <a:gd name="connsiteX9" fmla="*/ 61154 w 100371"/>
                <a:gd name="connsiteY9" fmla="*/ 546034 h 552067"/>
                <a:gd name="connsiteX10" fmla="*/ 55120 w 100371"/>
                <a:gd name="connsiteY10" fmla="*/ 552067 h 552067"/>
                <a:gd name="connsiteX11" fmla="*/ 55120 w 100371"/>
                <a:gd name="connsiteY11" fmla="*/ 552067 h 55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371" h="552067">
                  <a:moveTo>
                    <a:pt x="55120" y="552067"/>
                  </a:moveTo>
                  <a:cubicBezTo>
                    <a:pt x="52103" y="552067"/>
                    <a:pt x="49086" y="549050"/>
                    <a:pt x="49086" y="549050"/>
                  </a:cubicBezTo>
                  <a:cubicBezTo>
                    <a:pt x="43053" y="530950"/>
                    <a:pt x="40036" y="512849"/>
                    <a:pt x="34002" y="494749"/>
                  </a:cubicBezTo>
                  <a:cubicBezTo>
                    <a:pt x="18919" y="443464"/>
                    <a:pt x="3835" y="392179"/>
                    <a:pt x="818" y="343911"/>
                  </a:cubicBezTo>
                  <a:cubicBezTo>
                    <a:pt x="-5216" y="220224"/>
                    <a:pt x="21936" y="105587"/>
                    <a:pt x="88304" y="3017"/>
                  </a:cubicBezTo>
                  <a:cubicBezTo>
                    <a:pt x="91321" y="0"/>
                    <a:pt x="94338" y="0"/>
                    <a:pt x="97355" y="0"/>
                  </a:cubicBezTo>
                  <a:cubicBezTo>
                    <a:pt x="100371" y="3017"/>
                    <a:pt x="100371" y="6034"/>
                    <a:pt x="100371" y="9050"/>
                  </a:cubicBezTo>
                  <a:cubicBezTo>
                    <a:pt x="37019" y="111620"/>
                    <a:pt x="6852" y="223240"/>
                    <a:pt x="12885" y="343911"/>
                  </a:cubicBezTo>
                  <a:cubicBezTo>
                    <a:pt x="15902" y="389162"/>
                    <a:pt x="30986" y="440447"/>
                    <a:pt x="46070" y="491732"/>
                  </a:cubicBezTo>
                  <a:cubicBezTo>
                    <a:pt x="52103" y="509832"/>
                    <a:pt x="58137" y="527933"/>
                    <a:pt x="61154" y="546034"/>
                  </a:cubicBezTo>
                  <a:cubicBezTo>
                    <a:pt x="61154" y="546034"/>
                    <a:pt x="61154" y="549050"/>
                    <a:pt x="55120" y="552067"/>
                  </a:cubicBezTo>
                  <a:cubicBezTo>
                    <a:pt x="58137" y="552067"/>
                    <a:pt x="58137" y="552067"/>
                    <a:pt x="55120" y="552067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0" name="任意多边形: 形状 209">
              <a:extLst>
                <a:ext uri="{FF2B5EF4-FFF2-40B4-BE49-F238E27FC236}">
                  <a16:creationId xmlns:a16="http://schemas.microsoft.com/office/drawing/2014/main" id="{4C46F9AE-246B-47E0-902B-0F5986693F91}"/>
                </a:ext>
              </a:extLst>
            </p:cNvPr>
            <p:cNvSpPr/>
            <p:nvPr/>
          </p:nvSpPr>
          <p:spPr>
            <a:xfrm>
              <a:off x="10138120" y="3311032"/>
              <a:ext cx="396444" cy="36009"/>
            </a:xfrm>
            <a:custGeom>
              <a:avLst/>
              <a:gdLst>
                <a:gd name="connsiteX0" fmla="*/ 6033 w 396444"/>
                <a:gd name="connsiteY0" fmla="*/ 36009 h 36009"/>
                <a:gd name="connsiteX1" fmla="*/ 0 w 396444"/>
                <a:gd name="connsiteY1" fmla="*/ 32992 h 36009"/>
                <a:gd name="connsiteX2" fmla="*/ 3016 w 396444"/>
                <a:gd name="connsiteY2" fmla="*/ 26959 h 36009"/>
                <a:gd name="connsiteX3" fmla="*/ 392179 w 396444"/>
                <a:gd name="connsiteY3" fmla="*/ 14892 h 36009"/>
                <a:gd name="connsiteX4" fmla="*/ 395196 w 396444"/>
                <a:gd name="connsiteY4" fmla="*/ 20925 h 36009"/>
                <a:gd name="connsiteX5" fmla="*/ 389162 w 396444"/>
                <a:gd name="connsiteY5" fmla="*/ 23942 h 36009"/>
                <a:gd name="connsiteX6" fmla="*/ 6033 w 396444"/>
                <a:gd name="connsiteY6" fmla="*/ 36009 h 36009"/>
                <a:gd name="connsiteX7" fmla="*/ 6033 w 396444"/>
                <a:gd name="connsiteY7" fmla="*/ 36009 h 36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6444" h="36009">
                  <a:moveTo>
                    <a:pt x="6033" y="36009"/>
                  </a:moveTo>
                  <a:cubicBezTo>
                    <a:pt x="3016" y="36009"/>
                    <a:pt x="3016" y="36009"/>
                    <a:pt x="0" y="32992"/>
                  </a:cubicBezTo>
                  <a:cubicBezTo>
                    <a:pt x="0" y="29976"/>
                    <a:pt x="0" y="26959"/>
                    <a:pt x="3016" y="26959"/>
                  </a:cubicBezTo>
                  <a:cubicBezTo>
                    <a:pt x="87486" y="-3209"/>
                    <a:pt x="292625" y="-9242"/>
                    <a:pt x="392179" y="14892"/>
                  </a:cubicBezTo>
                  <a:cubicBezTo>
                    <a:pt x="395196" y="14892"/>
                    <a:pt x="398212" y="17909"/>
                    <a:pt x="395196" y="20925"/>
                  </a:cubicBezTo>
                  <a:cubicBezTo>
                    <a:pt x="395196" y="23942"/>
                    <a:pt x="392179" y="26959"/>
                    <a:pt x="389162" y="23942"/>
                  </a:cubicBezTo>
                  <a:cubicBezTo>
                    <a:pt x="292625" y="-192"/>
                    <a:pt x="90503" y="5842"/>
                    <a:pt x="6033" y="36009"/>
                  </a:cubicBezTo>
                  <a:cubicBezTo>
                    <a:pt x="6033" y="36009"/>
                    <a:pt x="6033" y="36009"/>
                    <a:pt x="6033" y="36009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1" name="任意多边形: 形状 210">
              <a:extLst>
                <a:ext uri="{FF2B5EF4-FFF2-40B4-BE49-F238E27FC236}">
                  <a16:creationId xmlns:a16="http://schemas.microsoft.com/office/drawing/2014/main" id="{9BB063B4-DAE3-4F96-898F-EB6EB68283C1}"/>
                </a:ext>
              </a:extLst>
            </p:cNvPr>
            <p:cNvSpPr/>
            <p:nvPr/>
          </p:nvSpPr>
          <p:spPr>
            <a:xfrm>
              <a:off x="10414080" y="2788606"/>
              <a:ext cx="289057" cy="1163704"/>
            </a:xfrm>
            <a:custGeom>
              <a:avLst/>
              <a:gdLst>
                <a:gd name="connsiteX0" fmla="*/ 227839 w 289057"/>
                <a:gd name="connsiteY0" fmla="*/ 335 h 1163704"/>
                <a:gd name="connsiteX1" fmla="*/ 31749 w 289057"/>
                <a:gd name="connsiteY1" fmla="*/ 507151 h 1163704"/>
                <a:gd name="connsiteX2" fmla="*/ 4599 w 289057"/>
                <a:gd name="connsiteY2" fmla="*/ 1158771 h 1163704"/>
                <a:gd name="connsiteX3" fmla="*/ 70968 w 289057"/>
                <a:gd name="connsiteY3" fmla="*/ 1122570 h 1163704"/>
                <a:gd name="connsiteX4" fmla="*/ 98118 w 289057"/>
                <a:gd name="connsiteY4" fmla="*/ 510168 h 1163704"/>
                <a:gd name="connsiteX5" fmla="*/ 288174 w 289057"/>
                <a:gd name="connsiteY5" fmla="*/ 24469 h 1163704"/>
                <a:gd name="connsiteX6" fmla="*/ 227839 w 289057"/>
                <a:gd name="connsiteY6" fmla="*/ 335 h 1163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9057" h="1163704">
                  <a:moveTo>
                    <a:pt x="227839" y="335"/>
                  </a:moveTo>
                  <a:cubicBezTo>
                    <a:pt x="191638" y="24469"/>
                    <a:pt x="73985" y="271844"/>
                    <a:pt x="31749" y="507151"/>
                  </a:cubicBezTo>
                  <a:cubicBezTo>
                    <a:pt x="-16518" y="778659"/>
                    <a:pt x="4599" y="1155754"/>
                    <a:pt x="4599" y="1158771"/>
                  </a:cubicBezTo>
                  <a:cubicBezTo>
                    <a:pt x="4599" y="1176872"/>
                    <a:pt x="70968" y="1140670"/>
                    <a:pt x="70968" y="1122570"/>
                  </a:cubicBezTo>
                  <a:cubicBezTo>
                    <a:pt x="58901" y="914413"/>
                    <a:pt x="55884" y="712291"/>
                    <a:pt x="98118" y="510168"/>
                  </a:cubicBezTo>
                  <a:cubicBezTo>
                    <a:pt x="140353" y="305028"/>
                    <a:pt x="248956" y="57654"/>
                    <a:pt x="288174" y="24469"/>
                  </a:cubicBezTo>
                  <a:cubicBezTo>
                    <a:pt x="297225" y="15419"/>
                    <a:pt x="233873" y="-2682"/>
                    <a:pt x="227839" y="335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2" name="任意多边形: 形状 211">
              <a:extLst>
                <a:ext uri="{FF2B5EF4-FFF2-40B4-BE49-F238E27FC236}">
                  <a16:creationId xmlns:a16="http://schemas.microsoft.com/office/drawing/2014/main" id="{C65DCA44-C9EA-4179-991E-6559B214455B}"/>
                </a:ext>
              </a:extLst>
            </p:cNvPr>
            <p:cNvSpPr/>
            <p:nvPr/>
          </p:nvSpPr>
          <p:spPr>
            <a:xfrm>
              <a:off x="10270857" y="2782907"/>
              <a:ext cx="355977" cy="63352"/>
            </a:xfrm>
            <a:custGeom>
              <a:avLst/>
              <a:gdLst>
                <a:gd name="connsiteX0" fmla="*/ 36201 w 355977"/>
                <a:gd name="connsiteY0" fmla="*/ 9050 h 63352"/>
                <a:gd name="connsiteX1" fmla="*/ 331844 w 355977"/>
                <a:gd name="connsiteY1" fmla="*/ 0 h 63352"/>
                <a:gd name="connsiteX2" fmla="*/ 355977 w 355977"/>
                <a:gd name="connsiteY2" fmla="*/ 9050 h 63352"/>
                <a:gd name="connsiteX3" fmla="*/ 168939 w 355977"/>
                <a:gd name="connsiteY3" fmla="*/ 63352 h 63352"/>
                <a:gd name="connsiteX4" fmla="*/ 0 w 355977"/>
                <a:gd name="connsiteY4" fmla="*/ 15084 h 63352"/>
                <a:gd name="connsiteX5" fmla="*/ 36201 w 355977"/>
                <a:gd name="connsiteY5" fmla="*/ 9050 h 63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5977" h="63352">
                  <a:moveTo>
                    <a:pt x="36201" y="9050"/>
                  </a:moveTo>
                  <a:cubicBezTo>
                    <a:pt x="36201" y="9050"/>
                    <a:pt x="147821" y="66369"/>
                    <a:pt x="331844" y="0"/>
                  </a:cubicBezTo>
                  <a:lnTo>
                    <a:pt x="355977" y="9050"/>
                  </a:lnTo>
                  <a:cubicBezTo>
                    <a:pt x="355977" y="9050"/>
                    <a:pt x="277542" y="63352"/>
                    <a:pt x="168939" y="63352"/>
                  </a:cubicBezTo>
                  <a:cubicBezTo>
                    <a:pt x="66369" y="63352"/>
                    <a:pt x="0" y="15084"/>
                    <a:pt x="0" y="15084"/>
                  </a:cubicBezTo>
                  <a:cubicBezTo>
                    <a:pt x="0" y="15084"/>
                    <a:pt x="18101" y="9050"/>
                    <a:pt x="36201" y="9050"/>
                  </a:cubicBezTo>
                  <a:close/>
                </a:path>
              </a:pathLst>
            </a:custGeom>
            <a:solidFill>
              <a:srgbClr val="F6EBE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13" name="图形 1">
              <a:extLst>
                <a:ext uri="{FF2B5EF4-FFF2-40B4-BE49-F238E27FC236}">
                  <a16:creationId xmlns:a16="http://schemas.microsoft.com/office/drawing/2014/main" id="{3F609A6D-6021-4C2A-A5BF-9D8A30C0C72C}"/>
                </a:ext>
              </a:extLst>
            </p:cNvPr>
            <p:cNvGrpSpPr/>
            <p:nvPr/>
          </p:nvGrpSpPr>
          <p:grpSpPr>
            <a:xfrm>
              <a:off x="10376444" y="3633444"/>
              <a:ext cx="1014328" cy="811104"/>
              <a:chOff x="10376444" y="3633444"/>
              <a:chExt cx="1014328" cy="811104"/>
            </a:xfrm>
          </p:grpSpPr>
          <p:grpSp>
            <p:nvGrpSpPr>
              <p:cNvPr id="214" name="图形 1">
                <a:extLst>
                  <a:ext uri="{FF2B5EF4-FFF2-40B4-BE49-F238E27FC236}">
                    <a16:creationId xmlns:a16="http://schemas.microsoft.com/office/drawing/2014/main" id="{3F609A6D-6021-4C2A-A5BF-9D8A30C0C72C}"/>
                  </a:ext>
                </a:extLst>
              </p:cNvPr>
              <p:cNvGrpSpPr/>
              <p:nvPr/>
            </p:nvGrpSpPr>
            <p:grpSpPr>
              <a:xfrm>
                <a:off x="10380273" y="3633444"/>
                <a:ext cx="1010499" cy="811104"/>
                <a:chOff x="10380273" y="3633444"/>
                <a:chExt cx="1010499" cy="811104"/>
              </a:xfrm>
              <a:solidFill>
                <a:srgbClr val="D16156"/>
              </a:solidFill>
            </p:grpSpPr>
            <p:sp>
              <p:nvSpPr>
                <p:cNvPr id="215" name="任意多边形: 形状 214">
                  <a:extLst>
                    <a:ext uri="{FF2B5EF4-FFF2-40B4-BE49-F238E27FC236}">
                      <a16:creationId xmlns:a16="http://schemas.microsoft.com/office/drawing/2014/main" id="{8308BD1E-180A-428D-B711-29A4E0B9303C}"/>
                    </a:ext>
                  </a:extLst>
                </p:cNvPr>
                <p:cNvSpPr/>
                <p:nvPr/>
              </p:nvSpPr>
              <p:spPr>
                <a:xfrm>
                  <a:off x="10420969" y="3692961"/>
                  <a:ext cx="969803" cy="751587"/>
                </a:xfrm>
                <a:custGeom>
                  <a:avLst/>
                  <a:gdLst>
                    <a:gd name="connsiteX0" fmla="*/ 726 w 969803"/>
                    <a:gd name="connsiteY0" fmla="*/ 296650 h 751587"/>
                    <a:gd name="connsiteX1" fmla="*/ 163631 w 969803"/>
                    <a:gd name="connsiteY1" fmla="*/ 749164 h 751587"/>
                    <a:gd name="connsiteX2" fmla="*/ 966090 w 969803"/>
                    <a:gd name="connsiteY2" fmla="*/ 483689 h 751587"/>
                    <a:gd name="connsiteX3" fmla="*/ 812235 w 969803"/>
                    <a:gd name="connsiteY3" fmla="*/ 1008 h 751587"/>
                    <a:gd name="connsiteX4" fmla="*/ 726 w 969803"/>
                    <a:gd name="connsiteY4" fmla="*/ 296650 h 751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69803" h="751587">
                      <a:moveTo>
                        <a:pt x="726" y="296650"/>
                      </a:moveTo>
                      <a:cubicBezTo>
                        <a:pt x="-11340" y="408270"/>
                        <a:pt x="130447" y="718996"/>
                        <a:pt x="163631" y="749164"/>
                      </a:cubicBezTo>
                      <a:cubicBezTo>
                        <a:pt x="193799" y="776315"/>
                        <a:pt x="878604" y="568158"/>
                        <a:pt x="966090" y="483689"/>
                      </a:cubicBezTo>
                      <a:cubicBezTo>
                        <a:pt x="996257" y="456538"/>
                        <a:pt x="833352" y="13074"/>
                        <a:pt x="812235" y="1008"/>
                      </a:cubicBezTo>
                      <a:cubicBezTo>
                        <a:pt x="785084" y="-14076"/>
                        <a:pt x="15810" y="142795"/>
                        <a:pt x="726" y="29665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6" name="任意多边形: 形状 215">
                  <a:extLst>
                    <a:ext uri="{FF2B5EF4-FFF2-40B4-BE49-F238E27FC236}">
                      <a16:creationId xmlns:a16="http://schemas.microsoft.com/office/drawing/2014/main" id="{6C0445A7-60AD-448B-9F26-B7DDDC36EB1A}"/>
                    </a:ext>
                  </a:extLst>
                </p:cNvPr>
                <p:cNvSpPr/>
                <p:nvPr/>
              </p:nvSpPr>
              <p:spPr>
                <a:xfrm>
                  <a:off x="10380273" y="3633444"/>
                  <a:ext cx="962309" cy="569118"/>
                </a:xfrm>
                <a:custGeom>
                  <a:avLst/>
                  <a:gdLst>
                    <a:gd name="connsiteX0" fmla="*/ 2205 w 962309"/>
                    <a:gd name="connsiteY0" fmla="*/ 289799 h 569118"/>
                    <a:gd name="connsiteX1" fmla="*/ 77624 w 962309"/>
                    <a:gd name="connsiteY1" fmla="*/ 567341 h 569118"/>
                    <a:gd name="connsiteX2" fmla="*/ 961535 w 962309"/>
                    <a:gd name="connsiteY2" fmla="*/ 286782 h 569118"/>
                    <a:gd name="connsiteX3" fmla="*/ 834830 w 962309"/>
                    <a:gd name="connsiteY3" fmla="*/ 190 h 569118"/>
                    <a:gd name="connsiteX4" fmla="*/ 2205 w 962309"/>
                    <a:gd name="connsiteY4" fmla="*/ 289799 h 5691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62309" h="569118">
                      <a:moveTo>
                        <a:pt x="2205" y="289799"/>
                      </a:moveTo>
                      <a:cubicBezTo>
                        <a:pt x="-12879" y="307899"/>
                        <a:pt x="53490" y="497955"/>
                        <a:pt x="77624" y="567341"/>
                      </a:cubicBezTo>
                      <a:cubicBezTo>
                        <a:pt x="86674" y="594491"/>
                        <a:pt x="949468" y="301866"/>
                        <a:pt x="961535" y="286782"/>
                      </a:cubicBezTo>
                      <a:cubicBezTo>
                        <a:pt x="973601" y="268681"/>
                        <a:pt x="840864" y="9240"/>
                        <a:pt x="834830" y="190"/>
                      </a:cubicBezTo>
                      <a:cubicBezTo>
                        <a:pt x="828797" y="-5844"/>
                        <a:pt x="137959" y="132927"/>
                        <a:pt x="2205" y="28979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17" name="任意多边形: 形状 216">
                <a:extLst>
                  <a:ext uri="{FF2B5EF4-FFF2-40B4-BE49-F238E27FC236}">
                    <a16:creationId xmlns:a16="http://schemas.microsoft.com/office/drawing/2014/main" id="{6C435968-CA85-440D-AB69-F39884D58B73}"/>
                  </a:ext>
                </a:extLst>
              </p:cNvPr>
              <p:cNvSpPr/>
              <p:nvPr/>
            </p:nvSpPr>
            <p:spPr>
              <a:xfrm>
                <a:off x="10376444" y="3757321"/>
                <a:ext cx="968380" cy="449497"/>
              </a:xfrm>
              <a:custGeom>
                <a:avLst/>
                <a:gdLst>
                  <a:gd name="connsiteX0" fmla="*/ 78436 w 968380"/>
                  <a:gd name="connsiteY0" fmla="*/ 449497 h 449497"/>
                  <a:gd name="connsiteX1" fmla="*/ 75419 w 968380"/>
                  <a:gd name="connsiteY1" fmla="*/ 446480 h 449497"/>
                  <a:gd name="connsiteX2" fmla="*/ 0 w 968380"/>
                  <a:gd name="connsiteY2" fmla="*/ 168939 h 449497"/>
                  <a:gd name="connsiteX3" fmla="*/ 0 w 968380"/>
                  <a:gd name="connsiteY3" fmla="*/ 165922 h 449497"/>
                  <a:gd name="connsiteX4" fmla="*/ 3017 w 968380"/>
                  <a:gd name="connsiteY4" fmla="*/ 162905 h 449497"/>
                  <a:gd name="connsiteX5" fmla="*/ 325810 w 968380"/>
                  <a:gd name="connsiteY5" fmla="*/ 0 h 449497"/>
                  <a:gd name="connsiteX6" fmla="*/ 331844 w 968380"/>
                  <a:gd name="connsiteY6" fmla="*/ 3017 h 449497"/>
                  <a:gd name="connsiteX7" fmla="*/ 328827 w 968380"/>
                  <a:gd name="connsiteY7" fmla="*/ 9050 h 449497"/>
                  <a:gd name="connsiteX8" fmla="*/ 12067 w 968380"/>
                  <a:gd name="connsiteY8" fmla="*/ 168939 h 449497"/>
                  <a:gd name="connsiteX9" fmla="*/ 84469 w 968380"/>
                  <a:gd name="connsiteY9" fmla="*/ 437430 h 449497"/>
                  <a:gd name="connsiteX10" fmla="*/ 962346 w 968380"/>
                  <a:gd name="connsiteY10" fmla="*/ 156871 h 449497"/>
                  <a:gd name="connsiteX11" fmla="*/ 968380 w 968380"/>
                  <a:gd name="connsiteY11" fmla="*/ 159888 h 449497"/>
                  <a:gd name="connsiteX12" fmla="*/ 965363 w 968380"/>
                  <a:gd name="connsiteY12" fmla="*/ 165922 h 449497"/>
                  <a:gd name="connsiteX13" fmla="*/ 81453 w 968380"/>
                  <a:gd name="connsiteY13" fmla="*/ 446480 h 449497"/>
                  <a:gd name="connsiteX14" fmla="*/ 78436 w 968380"/>
                  <a:gd name="connsiteY14" fmla="*/ 449497 h 449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68380" h="449497">
                    <a:moveTo>
                      <a:pt x="78436" y="449497"/>
                    </a:moveTo>
                    <a:lnTo>
                      <a:pt x="75419" y="446480"/>
                    </a:lnTo>
                    <a:cubicBezTo>
                      <a:pt x="42234" y="377095"/>
                      <a:pt x="0" y="177989"/>
                      <a:pt x="0" y="168939"/>
                    </a:cubicBezTo>
                    <a:lnTo>
                      <a:pt x="0" y="165922"/>
                    </a:lnTo>
                    <a:lnTo>
                      <a:pt x="3017" y="162905"/>
                    </a:lnTo>
                    <a:cubicBezTo>
                      <a:pt x="3017" y="162905"/>
                      <a:pt x="117653" y="60335"/>
                      <a:pt x="325810" y="0"/>
                    </a:cubicBezTo>
                    <a:cubicBezTo>
                      <a:pt x="328827" y="0"/>
                      <a:pt x="331844" y="0"/>
                      <a:pt x="331844" y="3017"/>
                    </a:cubicBezTo>
                    <a:cubicBezTo>
                      <a:pt x="331844" y="6033"/>
                      <a:pt x="331844" y="9050"/>
                      <a:pt x="328827" y="9050"/>
                    </a:cubicBezTo>
                    <a:cubicBezTo>
                      <a:pt x="138771" y="66369"/>
                      <a:pt x="27151" y="153855"/>
                      <a:pt x="12067" y="168939"/>
                    </a:cubicBezTo>
                    <a:cubicBezTo>
                      <a:pt x="18101" y="196089"/>
                      <a:pt x="54301" y="371061"/>
                      <a:pt x="84469" y="437430"/>
                    </a:cubicBezTo>
                    <a:cubicBezTo>
                      <a:pt x="144804" y="419330"/>
                      <a:pt x="802458" y="232290"/>
                      <a:pt x="962346" y="156871"/>
                    </a:cubicBezTo>
                    <a:cubicBezTo>
                      <a:pt x="965363" y="156871"/>
                      <a:pt x="968380" y="156871"/>
                      <a:pt x="968380" y="159888"/>
                    </a:cubicBezTo>
                    <a:cubicBezTo>
                      <a:pt x="968380" y="162905"/>
                      <a:pt x="968380" y="165922"/>
                      <a:pt x="965363" y="165922"/>
                    </a:cubicBezTo>
                    <a:cubicBezTo>
                      <a:pt x="796424" y="244358"/>
                      <a:pt x="90503" y="446480"/>
                      <a:pt x="81453" y="446480"/>
                    </a:cubicBezTo>
                    <a:lnTo>
                      <a:pt x="78436" y="449497"/>
                    </a:ln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8" name="任意多边形: 形状 217">
                <a:extLst>
                  <a:ext uri="{FF2B5EF4-FFF2-40B4-BE49-F238E27FC236}">
                    <a16:creationId xmlns:a16="http://schemas.microsoft.com/office/drawing/2014/main" id="{0D52B4FE-71CF-4F67-B412-A0C1285EDF47}"/>
                  </a:ext>
                </a:extLst>
              </p:cNvPr>
              <p:cNvSpPr/>
              <p:nvPr/>
            </p:nvSpPr>
            <p:spPr>
              <a:xfrm>
                <a:off x="10620802" y="4119332"/>
                <a:ext cx="66368" cy="66368"/>
              </a:xfrm>
              <a:custGeom>
                <a:avLst/>
                <a:gdLst>
                  <a:gd name="connsiteX0" fmla="*/ 66368 w 66368"/>
                  <a:gd name="connsiteY0" fmla="*/ 33184 h 66368"/>
                  <a:gd name="connsiteX1" fmla="*/ 33185 w 66368"/>
                  <a:gd name="connsiteY1" fmla="*/ 0 h 66368"/>
                  <a:gd name="connsiteX2" fmla="*/ 0 w 66368"/>
                  <a:gd name="connsiteY2" fmla="*/ 33184 h 66368"/>
                  <a:gd name="connsiteX3" fmla="*/ 33185 w 66368"/>
                  <a:gd name="connsiteY3" fmla="*/ 66369 h 66368"/>
                  <a:gd name="connsiteX4" fmla="*/ 66368 w 66368"/>
                  <a:gd name="connsiteY4" fmla="*/ 33184 h 66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368" h="66368">
                    <a:moveTo>
                      <a:pt x="66368" y="33184"/>
                    </a:moveTo>
                    <a:cubicBezTo>
                      <a:pt x="66368" y="15084"/>
                      <a:pt x="51284" y="0"/>
                      <a:pt x="33185" y="0"/>
                    </a:cubicBezTo>
                    <a:cubicBezTo>
                      <a:pt x="15084" y="0"/>
                      <a:pt x="0" y="15084"/>
                      <a:pt x="0" y="33184"/>
                    </a:cubicBezTo>
                    <a:cubicBezTo>
                      <a:pt x="0" y="51285"/>
                      <a:pt x="15084" y="66369"/>
                      <a:pt x="33185" y="66369"/>
                    </a:cubicBezTo>
                    <a:cubicBezTo>
                      <a:pt x="51284" y="66369"/>
                      <a:pt x="66368" y="51285"/>
                      <a:pt x="66368" y="33184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9" name="任意多边形: 形状 218">
                <a:extLst>
                  <a:ext uri="{FF2B5EF4-FFF2-40B4-BE49-F238E27FC236}">
                    <a16:creationId xmlns:a16="http://schemas.microsoft.com/office/drawing/2014/main" id="{E64775D6-499A-4CE3-BAA0-297D2949251F}"/>
                  </a:ext>
                </a:extLst>
              </p:cNvPr>
              <p:cNvSpPr/>
              <p:nvPr/>
            </p:nvSpPr>
            <p:spPr>
              <a:xfrm>
                <a:off x="11118567" y="3950393"/>
                <a:ext cx="66368" cy="66368"/>
              </a:xfrm>
              <a:custGeom>
                <a:avLst/>
                <a:gdLst>
                  <a:gd name="connsiteX0" fmla="*/ 66368 w 66368"/>
                  <a:gd name="connsiteY0" fmla="*/ 33184 h 66368"/>
                  <a:gd name="connsiteX1" fmla="*/ 33185 w 66368"/>
                  <a:gd name="connsiteY1" fmla="*/ 0 h 66368"/>
                  <a:gd name="connsiteX2" fmla="*/ 0 w 66368"/>
                  <a:gd name="connsiteY2" fmla="*/ 33184 h 66368"/>
                  <a:gd name="connsiteX3" fmla="*/ 33185 w 66368"/>
                  <a:gd name="connsiteY3" fmla="*/ 66369 h 66368"/>
                  <a:gd name="connsiteX4" fmla="*/ 66368 w 66368"/>
                  <a:gd name="connsiteY4" fmla="*/ 33184 h 66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368" h="66368">
                    <a:moveTo>
                      <a:pt x="66368" y="33184"/>
                    </a:moveTo>
                    <a:cubicBezTo>
                      <a:pt x="66368" y="15084"/>
                      <a:pt x="51284" y="0"/>
                      <a:pt x="33185" y="0"/>
                    </a:cubicBezTo>
                    <a:cubicBezTo>
                      <a:pt x="15084" y="0"/>
                      <a:pt x="0" y="15084"/>
                      <a:pt x="0" y="33184"/>
                    </a:cubicBezTo>
                    <a:cubicBezTo>
                      <a:pt x="0" y="51285"/>
                      <a:pt x="15084" y="66369"/>
                      <a:pt x="33185" y="66369"/>
                    </a:cubicBezTo>
                    <a:cubicBezTo>
                      <a:pt x="51284" y="66369"/>
                      <a:pt x="66368" y="51285"/>
                      <a:pt x="66368" y="33184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20" name="任意多边形: 形状 219">
              <a:extLst>
                <a:ext uri="{FF2B5EF4-FFF2-40B4-BE49-F238E27FC236}">
                  <a16:creationId xmlns:a16="http://schemas.microsoft.com/office/drawing/2014/main" id="{86137FF4-48C8-49C5-B6D7-5B93490DFFB1}"/>
                </a:ext>
              </a:extLst>
            </p:cNvPr>
            <p:cNvSpPr/>
            <p:nvPr/>
          </p:nvSpPr>
          <p:spPr>
            <a:xfrm>
              <a:off x="10008399" y="3871957"/>
              <a:ext cx="168938" cy="190055"/>
            </a:xfrm>
            <a:custGeom>
              <a:avLst/>
              <a:gdLst>
                <a:gd name="connsiteX0" fmla="*/ 6033 w 168938"/>
                <a:gd name="connsiteY0" fmla="*/ 190056 h 190055"/>
                <a:gd name="connsiteX1" fmla="*/ 0 w 168938"/>
                <a:gd name="connsiteY1" fmla="*/ 187039 h 190055"/>
                <a:gd name="connsiteX2" fmla="*/ 3016 w 168938"/>
                <a:gd name="connsiteY2" fmla="*/ 181006 h 190055"/>
                <a:gd name="connsiteX3" fmla="*/ 159888 w 168938"/>
                <a:gd name="connsiteY3" fmla="*/ 3017 h 190055"/>
                <a:gd name="connsiteX4" fmla="*/ 165922 w 168938"/>
                <a:gd name="connsiteY4" fmla="*/ 0 h 190055"/>
                <a:gd name="connsiteX5" fmla="*/ 168938 w 168938"/>
                <a:gd name="connsiteY5" fmla="*/ 6034 h 190055"/>
                <a:gd name="connsiteX6" fmla="*/ 6033 w 168938"/>
                <a:gd name="connsiteY6" fmla="*/ 190056 h 190055"/>
                <a:gd name="connsiteX7" fmla="*/ 6033 w 168938"/>
                <a:gd name="connsiteY7" fmla="*/ 190056 h 190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8938" h="190055">
                  <a:moveTo>
                    <a:pt x="6033" y="190056"/>
                  </a:moveTo>
                  <a:cubicBezTo>
                    <a:pt x="3016" y="190056"/>
                    <a:pt x="3016" y="190056"/>
                    <a:pt x="0" y="187039"/>
                  </a:cubicBezTo>
                  <a:cubicBezTo>
                    <a:pt x="0" y="184023"/>
                    <a:pt x="0" y="181006"/>
                    <a:pt x="3016" y="181006"/>
                  </a:cubicBezTo>
                  <a:cubicBezTo>
                    <a:pt x="81452" y="150838"/>
                    <a:pt x="159888" y="3017"/>
                    <a:pt x="159888" y="3017"/>
                  </a:cubicBezTo>
                  <a:cubicBezTo>
                    <a:pt x="159888" y="0"/>
                    <a:pt x="165922" y="0"/>
                    <a:pt x="165922" y="0"/>
                  </a:cubicBezTo>
                  <a:cubicBezTo>
                    <a:pt x="168938" y="0"/>
                    <a:pt x="168938" y="6034"/>
                    <a:pt x="168938" y="6034"/>
                  </a:cubicBezTo>
                  <a:cubicBezTo>
                    <a:pt x="168938" y="12067"/>
                    <a:pt x="90503" y="156872"/>
                    <a:pt x="6033" y="190056"/>
                  </a:cubicBezTo>
                  <a:cubicBezTo>
                    <a:pt x="9050" y="190056"/>
                    <a:pt x="6033" y="190056"/>
                    <a:pt x="6033" y="190056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1" name="任意多边形: 形状 220">
              <a:extLst>
                <a:ext uri="{FF2B5EF4-FFF2-40B4-BE49-F238E27FC236}">
                  <a16:creationId xmlns:a16="http://schemas.microsoft.com/office/drawing/2014/main" id="{2192EEAF-F61D-4FD7-A0E6-6FC6C75647F4}"/>
                </a:ext>
              </a:extLst>
            </p:cNvPr>
            <p:cNvSpPr/>
            <p:nvPr/>
          </p:nvSpPr>
          <p:spPr>
            <a:xfrm>
              <a:off x="9939768" y="3399080"/>
              <a:ext cx="79944" cy="62597"/>
            </a:xfrm>
            <a:custGeom>
              <a:avLst/>
              <a:gdLst>
                <a:gd name="connsiteX0" fmla="*/ 71648 w 79944"/>
                <a:gd name="connsiteY0" fmla="*/ 62598 h 62597"/>
                <a:gd name="connsiteX1" fmla="*/ 68631 w 79944"/>
                <a:gd name="connsiteY1" fmla="*/ 62598 h 62597"/>
                <a:gd name="connsiteX2" fmla="*/ 2263 w 79944"/>
                <a:gd name="connsiteY2" fmla="*/ 11313 h 62597"/>
                <a:gd name="connsiteX3" fmla="*/ 2263 w 79944"/>
                <a:gd name="connsiteY3" fmla="*/ 2263 h 62597"/>
                <a:gd name="connsiteX4" fmla="*/ 11313 w 79944"/>
                <a:gd name="connsiteY4" fmla="*/ 2263 h 62597"/>
                <a:gd name="connsiteX5" fmla="*/ 77682 w 79944"/>
                <a:gd name="connsiteY5" fmla="*/ 53547 h 62597"/>
                <a:gd name="connsiteX6" fmla="*/ 77682 w 79944"/>
                <a:gd name="connsiteY6" fmla="*/ 62598 h 62597"/>
                <a:gd name="connsiteX7" fmla="*/ 71648 w 79944"/>
                <a:gd name="connsiteY7" fmla="*/ 62598 h 6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944" h="62597">
                  <a:moveTo>
                    <a:pt x="71648" y="62598"/>
                  </a:moveTo>
                  <a:cubicBezTo>
                    <a:pt x="71648" y="62598"/>
                    <a:pt x="68631" y="62598"/>
                    <a:pt x="68631" y="62598"/>
                  </a:cubicBezTo>
                  <a:cubicBezTo>
                    <a:pt x="32430" y="35447"/>
                    <a:pt x="2263" y="11313"/>
                    <a:pt x="2263" y="11313"/>
                  </a:cubicBezTo>
                  <a:cubicBezTo>
                    <a:pt x="-754" y="8296"/>
                    <a:pt x="-754" y="5279"/>
                    <a:pt x="2263" y="2263"/>
                  </a:cubicBezTo>
                  <a:cubicBezTo>
                    <a:pt x="5279" y="-754"/>
                    <a:pt x="8296" y="-754"/>
                    <a:pt x="11313" y="2263"/>
                  </a:cubicBezTo>
                  <a:cubicBezTo>
                    <a:pt x="11313" y="2263"/>
                    <a:pt x="44497" y="26397"/>
                    <a:pt x="77682" y="53547"/>
                  </a:cubicBezTo>
                  <a:cubicBezTo>
                    <a:pt x="80698" y="56564"/>
                    <a:pt x="80698" y="59581"/>
                    <a:pt x="77682" y="62598"/>
                  </a:cubicBezTo>
                  <a:cubicBezTo>
                    <a:pt x="74665" y="62598"/>
                    <a:pt x="71648" y="62598"/>
                    <a:pt x="71648" y="62598"/>
                  </a:cubicBezTo>
                  <a:close/>
                </a:path>
              </a:pathLst>
            </a:custGeom>
            <a:solidFill>
              <a:srgbClr val="E58777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2" name="任意多边形: 形状 221">
              <a:extLst>
                <a:ext uri="{FF2B5EF4-FFF2-40B4-BE49-F238E27FC236}">
                  <a16:creationId xmlns:a16="http://schemas.microsoft.com/office/drawing/2014/main" id="{66675DE8-F07C-4D50-BA1F-7ED077E385E8}"/>
                </a:ext>
              </a:extLst>
            </p:cNvPr>
            <p:cNvSpPr/>
            <p:nvPr/>
          </p:nvSpPr>
          <p:spPr>
            <a:xfrm>
              <a:off x="10599684" y="2942627"/>
              <a:ext cx="538344" cy="995699"/>
            </a:xfrm>
            <a:custGeom>
              <a:avLst/>
              <a:gdLst>
                <a:gd name="connsiteX0" fmla="*/ 265475 w 538344"/>
                <a:gd name="connsiteY0" fmla="*/ 12235 h 995699"/>
                <a:gd name="connsiteX1" fmla="*/ 117653 w 538344"/>
                <a:gd name="connsiteY1" fmla="*/ 217375 h 995699"/>
                <a:gd name="connsiteX2" fmla="*/ 322794 w 538344"/>
                <a:gd name="connsiteY2" fmla="*/ 585420 h 995699"/>
                <a:gd name="connsiteX3" fmla="*/ 0 w 538344"/>
                <a:gd name="connsiteY3" fmla="*/ 896146 h 995699"/>
                <a:gd name="connsiteX4" fmla="*/ 72402 w 538344"/>
                <a:gd name="connsiteY4" fmla="*/ 995699 h 995699"/>
                <a:gd name="connsiteX5" fmla="*/ 536984 w 538344"/>
                <a:gd name="connsiteY5" fmla="*/ 594470 h 995699"/>
                <a:gd name="connsiteX6" fmla="*/ 265475 w 538344"/>
                <a:gd name="connsiteY6" fmla="*/ 12235 h 995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8344" h="995699">
                  <a:moveTo>
                    <a:pt x="265475" y="12235"/>
                  </a:moveTo>
                  <a:cubicBezTo>
                    <a:pt x="93520" y="-45083"/>
                    <a:pt x="42234" y="111788"/>
                    <a:pt x="117653" y="217375"/>
                  </a:cubicBezTo>
                  <a:cubicBezTo>
                    <a:pt x="193072" y="319945"/>
                    <a:pt x="322794" y="555252"/>
                    <a:pt x="322794" y="585420"/>
                  </a:cubicBezTo>
                  <a:cubicBezTo>
                    <a:pt x="286592" y="633688"/>
                    <a:pt x="0" y="896146"/>
                    <a:pt x="0" y="896146"/>
                  </a:cubicBezTo>
                  <a:cubicBezTo>
                    <a:pt x="30168" y="908213"/>
                    <a:pt x="72402" y="995699"/>
                    <a:pt x="72402" y="995699"/>
                  </a:cubicBezTo>
                  <a:cubicBezTo>
                    <a:pt x="72402" y="995699"/>
                    <a:pt x="512849" y="724191"/>
                    <a:pt x="536984" y="594470"/>
                  </a:cubicBezTo>
                  <a:cubicBezTo>
                    <a:pt x="552068" y="528101"/>
                    <a:pt x="440447" y="69554"/>
                    <a:pt x="265475" y="12235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3" name="任意多边形: 形状 222">
              <a:extLst>
                <a:ext uri="{FF2B5EF4-FFF2-40B4-BE49-F238E27FC236}">
                  <a16:creationId xmlns:a16="http://schemas.microsoft.com/office/drawing/2014/main" id="{F8019D7B-659F-4586-B39A-B00D80E2969E}"/>
                </a:ext>
              </a:extLst>
            </p:cNvPr>
            <p:cNvSpPr/>
            <p:nvPr/>
          </p:nvSpPr>
          <p:spPr>
            <a:xfrm>
              <a:off x="10645962" y="2835148"/>
              <a:ext cx="391152" cy="439704"/>
            </a:xfrm>
            <a:custGeom>
              <a:avLst/>
              <a:gdLst>
                <a:gd name="connsiteX0" fmla="*/ 391153 w 391152"/>
                <a:gd name="connsiteY0" fmla="*/ 252452 h 439704"/>
                <a:gd name="connsiteX1" fmla="*/ 80427 w 391152"/>
                <a:gd name="connsiteY1" fmla="*/ 2061 h 439704"/>
                <a:gd name="connsiteX2" fmla="*/ 71376 w 391152"/>
                <a:gd name="connsiteY2" fmla="*/ 439491 h 439704"/>
                <a:gd name="connsiteX3" fmla="*/ 391153 w 391152"/>
                <a:gd name="connsiteY3" fmla="*/ 252452 h 439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1152" h="439704">
                  <a:moveTo>
                    <a:pt x="391153" y="252452"/>
                  </a:moveTo>
                  <a:cubicBezTo>
                    <a:pt x="315734" y="86530"/>
                    <a:pt x="155846" y="-16039"/>
                    <a:pt x="80427" y="2061"/>
                  </a:cubicBezTo>
                  <a:cubicBezTo>
                    <a:pt x="-22143" y="23178"/>
                    <a:pt x="-28177" y="264519"/>
                    <a:pt x="71376" y="439491"/>
                  </a:cubicBezTo>
                  <a:cubicBezTo>
                    <a:pt x="146795" y="445525"/>
                    <a:pt x="315734" y="321838"/>
                    <a:pt x="391153" y="252452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4" name="任意多边形: 形状 223">
              <a:extLst>
                <a:ext uri="{FF2B5EF4-FFF2-40B4-BE49-F238E27FC236}">
                  <a16:creationId xmlns:a16="http://schemas.microsoft.com/office/drawing/2014/main" id="{E3E6B15C-7EE3-4241-97D2-18F20C4FB423}"/>
                </a:ext>
              </a:extLst>
            </p:cNvPr>
            <p:cNvSpPr/>
            <p:nvPr/>
          </p:nvSpPr>
          <p:spPr>
            <a:xfrm>
              <a:off x="10643463" y="2846259"/>
              <a:ext cx="213895" cy="437430"/>
            </a:xfrm>
            <a:custGeom>
              <a:avLst/>
              <a:gdLst>
                <a:gd name="connsiteX0" fmla="*/ 79909 w 213895"/>
                <a:gd name="connsiteY0" fmla="*/ 437430 h 437430"/>
                <a:gd name="connsiteX1" fmla="*/ 70859 w 213895"/>
                <a:gd name="connsiteY1" fmla="*/ 434413 h 437430"/>
                <a:gd name="connsiteX2" fmla="*/ 70859 w 213895"/>
                <a:gd name="connsiteY2" fmla="*/ 434413 h 437430"/>
                <a:gd name="connsiteX3" fmla="*/ 70859 w 213895"/>
                <a:gd name="connsiteY3" fmla="*/ 434413 h 437430"/>
                <a:gd name="connsiteX4" fmla="*/ 10524 w 213895"/>
                <a:gd name="connsiteY4" fmla="*/ 57318 h 437430"/>
                <a:gd name="connsiteX5" fmla="*/ 52758 w 213895"/>
                <a:gd name="connsiteY5" fmla="*/ 0 h 437430"/>
                <a:gd name="connsiteX6" fmla="*/ 58791 w 213895"/>
                <a:gd name="connsiteY6" fmla="*/ 3017 h 437430"/>
                <a:gd name="connsiteX7" fmla="*/ 55775 w 213895"/>
                <a:gd name="connsiteY7" fmla="*/ 9050 h 437430"/>
                <a:gd name="connsiteX8" fmla="*/ 19574 w 213895"/>
                <a:gd name="connsiteY8" fmla="*/ 60335 h 437430"/>
                <a:gd name="connsiteX9" fmla="*/ 76892 w 213895"/>
                <a:gd name="connsiteY9" fmla="*/ 425363 h 437430"/>
                <a:gd name="connsiteX10" fmla="*/ 203596 w 213895"/>
                <a:gd name="connsiteY10" fmla="*/ 368045 h 437430"/>
                <a:gd name="connsiteX11" fmla="*/ 212646 w 213895"/>
                <a:gd name="connsiteY11" fmla="*/ 371061 h 437430"/>
                <a:gd name="connsiteX12" fmla="*/ 209629 w 213895"/>
                <a:gd name="connsiteY12" fmla="*/ 380112 h 437430"/>
                <a:gd name="connsiteX13" fmla="*/ 79909 w 213895"/>
                <a:gd name="connsiteY13" fmla="*/ 437430 h 437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3895" h="437430">
                  <a:moveTo>
                    <a:pt x="79909" y="437430"/>
                  </a:moveTo>
                  <a:cubicBezTo>
                    <a:pt x="73875" y="437430"/>
                    <a:pt x="70859" y="437430"/>
                    <a:pt x="70859" y="434413"/>
                  </a:cubicBezTo>
                  <a:lnTo>
                    <a:pt x="70859" y="434413"/>
                  </a:lnTo>
                  <a:lnTo>
                    <a:pt x="70859" y="434413"/>
                  </a:lnTo>
                  <a:cubicBezTo>
                    <a:pt x="19574" y="346927"/>
                    <a:pt x="-19644" y="156872"/>
                    <a:pt x="10524" y="57318"/>
                  </a:cubicBezTo>
                  <a:cubicBezTo>
                    <a:pt x="19574" y="27151"/>
                    <a:pt x="34657" y="9050"/>
                    <a:pt x="52758" y="0"/>
                  </a:cubicBezTo>
                  <a:cubicBezTo>
                    <a:pt x="55775" y="0"/>
                    <a:pt x="58791" y="0"/>
                    <a:pt x="58791" y="3017"/>
                  </a:cubicBezTo>
                  <a:cubicBezTo>
                    <a:pt x="58791" y="6034"/>
                    <a:pt x="58791" y="9050"/>
                    <a:pt x="55775" y="9050"/>
                  </a:cubicBezTo>
                  <a:cubicBezTo>
                    <a:pt x="40691" y="18101"/>
                    <a:pt x="28623" y="33184"/>
                    <a:pt x="19574" y="60335"/>
                  </a:cubicBezTo>
                  <a:cubicBezTo>
                    <a:pt x="-7577" y="156872"/>
                    <a:pt x="28623" y="340894"/>
                    <a:pt x="76892" y="425363"/>
                  </a:cubicBezTo>
                  <a:cubicBezTo>
                    <a:pt x="82926" y="425363"/>
                    <a:pt x="113093" y="425363"/>
                    <a:pt x="203596" y="368045"/>
                  </a:cubicBezTo>
                  <a:cubicBezTo>
                    <a:pt x="206613" y="365028"/>
                    <a:pt x="209629" y="368045"/>
                    <a:pt x="212646" y="371061"/>
                  </a:cubicBezTo>
                  <a:cubicBezTo>
                    <a:pt x="215663" y="374078"/>
                    <a:pt x="212646" y="377095"/>
                    <a:pt x="209629" y="380112"/>
                  </a:cubicBezTo>
                  <a:cubicBezTo>
                    <a:pt x="131194" y="428380"/>
                    <a:pt x="94993" y="437430"/>
                    <a:pt x="79909" y="437430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25" name="图形 1">
              <a:extLst>
                <a:ext uri="{FF2B5EF4-FFF2-40B4-BE49-F238E27FC236}">
                  <a16:creationId xmlns:a16="http://schemas.microsoft.com/office/drawing/2014/main" id="{3F609A6D-6021-4C2A-A5BF-9D8A30C0C72C}"/>
                </a:ext>
              </a:extLst>
            </p:cNvPr>
            <p:cNvGrpSpPr/>
            <p:nvPr/>
          </p:nvGrpSpPr>
          <p:grpSpPr>
            <a:xfrm>
              <a:off x="8873329" y="2699565"/>
              <a:ext cx="759865" cy="615060"/>
              <a:chOff x="8873329" y="2699565"/>
              <a:chExt cx="759865" cy="615060"/>
            </a:xfrm>
          </p:grpSpPr>
          <p:sp>
            <p:nvSpPr>
              <p:cNvPr id="226" name="任意多边形: 形状 225">
                <a:extLst>
                  <a:ext uri="{FF2B5EF4-FFF2-40B4-BE49-F238E27FC236}">
                    <a16:creationId xmlns:a16="http://schemas.microsoft.com/office/drawing/2014/main" id="{F4265555-A1B4-41E8-88D9-2AC4EF988ED0}"/>
                  </a:ext>
                </a:extLst>
              </p:cNvPr>
              <p:cNvSpPr/>
              <p:nvPr/>
            </p:nvSpPr>
            <p:spPr>
              <a:xfrm>
                <a:off x="8873329" y="2699565"/>
                <a:ext cx="759865" cy="615060"/>
              </a:xfrm>
              <a:custGeom>
                <a:avLst/>
                <a:gdLst>
                  <a:gd name="connsiteX0" fmla="*/ 646356 w 759865"/>
                  <a:gd name="connsiteY0" fmla="*/ 599208 h 615060"/>
                  <a:gd name="connsiteX1" fmla="*/ 619204 w 759865"/>
                  <a:gd name="connsiteY1" fmla="*/ 614292 h 615060"/>
                  <a:gd name="connsiteX2" fmla="*/ 317528 w 759865"/>
                  <a:gd name="connsiteY2" fmla="*/ 529823 h 615060"/>
                  <a:gd name="connsiteX3" fmla="*/ 15852 w 759865"/>
                  <a:gd name="connsiteY3" fmla="*/ 445354 h 615060"/>
                  <a:gd name="connsiteX4" fmla="*/ 769 w 759865"/>
                  <a:gd name="connsiteY4" fmla="*/ 418203 h 615060"/>
                  <a:gd name="connsiteX5" fmla="*/ 112389 w 759865"/>
                  <a:gd name="connsiteY5" fmla="*/ 19990 h 615060"/>
                  <a:gd name="connsiteX6" fmla="*/ 145573 w 759865"/>
                  <a:gd name="connsiteY6" fmla="*/ 1890 h 615060"/>
                  <a:gd name="connsiteX7" fmla="*/ 739875 w 759865"/>
                  <a:gd name="connsiteY7" fmla="*/ 167812 h 615060"/>
                  <a:gd name="connsiteX8" fmla="*/ 757976 w 759865"/>
                  <a:gd name="connsiteY8" fmla="*/ 200996 h 615060"/>
                  <a:gd name="connsiteX9" fmla="*/ 646356 w 759865"/>
                  <a:gd name="connsiteY9" fmla="*/ 599208 h 615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59865" h="615060">
                    <a:moveTo>
                      <a:pt x="646356" y="599208"/>
                    </a:moveTo>
                    <a:cubicBezTo>
                      <a:pt x="643339" y="611275"/>
                      <a:pt x="631272" y="617309"/>
                      <a:pt x="619204" y="614292"/>
                    </a:cubicBezTo>
                    <a:lnTo>
                      <a:pt x="317528" y="529823"/>
                    </a:lnTo>
                    <a:lnTo>
                      <a:pt x="15852" y="445354"/>
                    </a:lnTo>
                    <a:cubicBezTo>
                      <a:pt x="3786" y="442337"/>
                      <a:pt x="-2248" y="430270"/>
                      <a:pt x="769" y="418203"/>
                    </a:cubicBezTo>
                    <a:lnTo>
                      <a:pt x="112389" y="19990"/>
                    </a:lnTo>
                    <a:cubicBezTo>
                      <a:pt x="115406" y="4907"/>
                      <a:pt x="130489" y="-4144"/>
                      <a:pt x="145573" y="1890"/>
                    </a:cubicBezTo>
                    <a:lnTo>
                      <a:pt x="739875" y="167812"/>
                    </a:lnTo>
                    <a:cubicBezTo>
                      <a:pt x="754959" y="170828"/>
                      <a:pt x="764009" y="185912"/>
                      <a:pt x="757976" y="200996"/>
                    </a:cubicBezTo>
                    <a:lnTo>
                      <a:pt x="646356" y="599208"/>
                    </a:lnTo>
                    <a:close/>
                  </a:path>
                </a:pathLst>
              </a:custGeom>
              <a:solidFill>
                <a:srgbClr val="E8D2AF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7" name="任意多边形: 形状 226">
                <a:extLst>
                  <a:ext uri="{FF2B5EF4-FFF2-40B4-BE49-F238E27FC236}">
                    <a16:creationId xmlns:a16="http://schemas.microsoft.com/office/drawing/2014/main" id="{68855839-E9E1-41C8-B756-92C66CDD8DD4}"/>
                  </a:ext>
                </a:extLst>
              </p:cNvPr>
              <p:cNvSpPr/>
              <p:nvPr/>
            </p:nvSpPr>
            <p:spPr>
              <a:xfrm>
                <a:off x="8882876" y="2897544"/>
                <a:ext cx="622527" cy="416912"/>
              </a:xfrm>
              <a:custGeom>
                <a:avLst/>
                <a:gdLst>
                  <a:gd name="connsiteX0" fmla="*/ 401501 w 622527"/>
                  <a:gd name="connsiteY0" fmla="*/ 0 h 416912"/>
                  <a:gd name="connsiteX1" fmla="*/ 621725 w 622527"/>
                  <a:gd name="connsiteY1" fmla="*/ 404246 h 416912"/>
                  <a:gd name="connsiteX2" fmla="*/ 612674 w 622527"/>
                  <a:gd name="connsiteY2" fmla="*/ 416313 h 416912"/>
                  <a:gd name="connsiteX3" fmla="*/ 6305 w 622527"/>
                  <a:gd name="connsiteY3" fmla="*/ 247374 h 416912"/>
                  <a:gd name="connsiteX4" fmla="*/ 3289 w 622527"/>
                  <a:gd name="connsiteY4" fmla="*/ 232290 h 416912"/>
                  <a:gd name="connsiteX5" fmla="*/ 401501 w 622527"/>
                  <a:gd name="connsiteY5" fmla="*/ 0 h 416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22527" h="416912">
                    <a:moveTo>
                      <a:pt x="401501" y="0"/>
                    </a:moveTo>
                    <a:lnTo>
                      <a:pt x="621725" y="404246"/>
                    </a:lnTo>
                    <a:cubicBezTo>
                      <a:pt x="624741" y="410279"/>
                      <a:pt x="618708" y="419330"/>
                      <a:pt x="612674" y="416313"/>
                    </a:cubicBezTo>
                    <a:lnTo>
                      <a:pt x="6305" y="247374"/>
                    </a:lnTo>
                    <a:cubicBezTo>
                      <a:pt x="272" y="244358"/>
                      <a:pt x="-2745" y="235307"/>
                      <a:pt x="3289" y="232290"/>
                    </a:cubicBezTo>
                    <a:lnTo>
                      <a:pt x="401501" y="0"/>
                    </a:ln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8" name="任意多边形: 形状 227">
                <a:extLst>
                  <a:ext uri="{FF2B5EF4-FFF2-40B4-BE49-F238E27FC236}">
                    <a16:creationId xmlns:a16="http://schemas.microsoft.com/office/drawing/2014/main" id="{941E894C-43D8-4CF1-82E3-1D71B89FA1E8}"/>
                  </a:ext>
                </a:extLst>
              </p:cNvPr>
              <p:cNvSpPr/>
              <p:nvPr/>
            </p:nvSpPr>
            <p:spPr>
              <a:xfrm>
                <a:off x="8967617" y="2702582"/>
                <a:ext cx="665576" cy="391051"/>
              </a:xfrm>
              <a:custGeom>
                <a:avLst/>
                <a:gdLst>
                  <a:gd name="connsiteX0" fmla="*/ 262458 w 665576"/>
                  <a:gd name="connsiteY0" fmla="*/ 391052 h 391051"/>
                  <a:gd name="connsiteX1" fmla="*/ 0 w 665576"/>
                  <a:gd name="connsiteY1" fmla="*/ 86359 h 391051"/>
                  <a:gd name="connsiteX2" fmla="*/ 18100 w 665576"/>
                  <a:gd name="connsiteY2" fmla="*/ 19990 h 391051"/>
                  <a:gd name="connsiteX3" fmla="*/ 51285 w 665576"/>
                  <a:gd name="connsiteY3" fmla="*/ 1890 h 391051"/>
                  <a:gd name="connsiteX4" fmla="*/ 645586 w 665576"/>
                  <a:gd name="connsiteY4" fmla="*/ 167812 h 391051"/>
                  <a:gd name="connsiteX5" fmla="*/ 663687 w 665576"/>
                  <a:gd name="connsiteY5" fmla="*/ 200996 h 391051"/>
                  <a:gd name="connsiteX6" fmla="*/ 642570 w 665576"/>
                  <a:gd name="connsiteY6" fmla="*/ 273398 h 391051"/>
                  <a:gd name="connsiteX7" fmla="*/ 262458 w 665576"/>
                  <a:gd name="connsiteY7" fmla="*/ 391052 h 391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5576" h="391051">
                    <a:moveTo>
                      <a:pt x="262458" y="391052"/>
                    </a:moveTo>
                    <a:lnTo>
                      <a:pt x="0" y="86359"/>
                    </a:lnTo>
                    <a:lnTo>
                      <a:pt x="18100" y="19990"/>
                    </a:lnTo>
                    <a:cubicBezTo>
                      <a:pt x="21117" y="4907"/>
                      <a:pt x="36201" y="-4144"/>
                      <a:pt x="51285" y="1890"/>
                    </a:cubicBezTo>
                    <a:lnTo>
                      <a:pt x="645586" y="167812"/>
                    </a:lnTo>
                    <a:cubicBezTo>
                      <a:pt x="660670" y="170828"/>
                      <a:pt x="669721" y="185912"/>
                      <a:pt x="663687" y="200996"/>
                    </a:cubicBezTo>
                    <a:lnTo>
                      <a:pt x="642570" y="273398"/>
                    </a:lnTo>
                    <a:lnTo>
                      <a:pt x="262458" y="391052"/>
                    </a:lnTo>
                    <a:close/>
                  </a:path>
                </a:pathLst>
              </a:custGeom>
              <a:solidFill>
                <a:srgbClr val="F9E5C5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29" name="任意多边形: 形状 228">
              <a:extLst>
                <a:ext uri="{FF2B5EF4-FFF2-40B4-BE49-F238E27FC236}">
                  <a16:creationId xmlns:a16="http://schemas.microsoft.com/office/drawing/2014/main" id="{D16A4824-CC89-455F-A94F-3AC0826714B1}"/>
                </a:ext>
              </a:extLst>
            </p:cNvPr>
            <p:cNvSpPr/>
            <p:nvPr/>
          </p:nvSpPr>
          <p:spPr>
            <a:xfrm>
              <a:off x="10373427" y="2607935"/>
              <a:ext cx="105586" cy="54301"/>
            </a:xfrm>
            <a:custGeom>
              <a:avLst/>
              <a:gdLst>
                <a:gd name="connsiteX0" fmla="*/ 105587 w 105586"/>
                <a:gd name="connsiteY0" fmla="*/ 0 h 54301"/>
                <a:gd name="connsiteX1" fmla="*/ 0 w 105586"/>
                <a:gd name="connsiteY1" fmla="*/ 0 h 54301"/>
                <a:gd name="connsiteX2" fmla="*/ 51285 w 105586"/>
                <a:gd name="connsiteY2" fmla="*/ 54302 h 54301"/>
                <a:gd name="connsiteX3" fmla="*/ 105587 w 105586"/>
                <a:gd name="connsiteY3" fmla="*/ 0 h 5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586" h="54301">
                  <a:moveTo>
                    <a:pt x="105587" y="0"/>
                  </a:moveTo>
                  <a:cubicBezTo>
                    <a:pt x="51285" y="24134"/>
                    <a:pt x="0" y="0"/>
                    <a:pt x="0" y="0"/>
                  </a:cubicBezTo>
                  <a:cubicBezTo>
                    <a:pt x="0" y="0"/>
                    <a:pt x="15084" y="54302"/>
                    <a:pt x="51285" y="54302"/>
                  </a:cubicBezTo>
                  <a:cubicBezTo>
                    <a:pt x="90503" y="51285"/>
                    <a:pt x="105587" y="0"/>
                    <a:pt x="105587" y="0"/>
                  </a:cubicBezTo>
                  <a:close/>
                </a:path>
              </a:pathLst>
            </a:custGeom>
            <a:solidFill>
              <a:srgbClr val="FFFFFF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0" name="任意多边形: 形状 229">
              <a:extLst>
                <a:ext uri="{FF2B5EF4-FFF2-40B4-BE49-F238E27FC236}">
                  <a16:creationId xmlns:a16="http://schemas.microsoft.com/office/drawing/2014/main" id="{600D8FE3-17F1-4783-B6C1-F5D28484290D}"/>
                </a:ext>
              </a:extLst>
            </p:cNvPr>
            <p:cNvSpPr/>
            <p:nvPr/>
          </p:nvSpPr>
          <p:spPr>
            <a:xfrm>
              <a:off x="10225506" y="2157598"/>
              <a:ext cx="412120" cy="562033"/>
            </a:xfrm>
            <a:custGeom>
              <a:avLst/>
              <a:gdLst>
                <a:gd name="connsiteX0" fmla="*/ 3117 w 412120"/>
                <a:gd name="connsiteY0" fmla="*/ 187879 h 562033"/>
                <a:gd name="connsiteX1" fmla="*/ 24233 w 412120"/>
                <a:gd name="connsiteY1" fmla="*/ 441287 h 562033"/>
                <a:gd name="connsiteX2" fmla="*/ 175071 w 412120"/>
                <a:gd name="connsiteY2" fmla="*/ 561957 h 562033"/>
                <a:gd name="connsiteX3" fmla="*/ 383228 w 412120"/>
                <a:gd name="connsiteY3" fmla="*/ 411119 h 562033"/>
                <a:gd name="connsiteX4" fmla="*/ 410379 w 412120"/>
                <a:gd name="connsiteY4" fmla="*/ 187879 h 562033"/>
                <a:gd name="connsiteX5" fmla="*/ 190155 w 412120"/>
                <a:gd name="connsiteY5" fmla="*/ 840 h 562033"/>
                <a:gd name="connsiteX6" fmla="*/ 3117 w 412120"/>
                <a:gd name="connsiteY6" fmla="*/ 187879 h 56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120" h="562033">
                  <a:moveTo>
                    <a:pt x="3117" y="187879"/>
                  </a:moveTo>
                  <a:cubicBezTo>
                    <a:pt x="3117" y="187879"/>
                    <a:pt x="-11967" y="374918"/>
                    <a:pt x="24233" y="441287"/>
                  </a:cubicBezTo>
                  <a:cubicBezTo>
                    <a:pt x="63452" y="507656"/>
                    <a:pt x="126804" y="561957"/>
                    <a:pt x="175071" y="561957"/>
                  </a:cubicBezTo>
                  <a:cubicBezTo>
                    <a:pt x="241440" y="564974"/>
                    <a:pt x="350044" y="477488"/>
                    <a:pt x="383228" y="411119"/>
                  </a:cubicBezTo>
                  <a:cubicBezTo>
                    <a:pt x="416412" y="344751"/>
                    <a:pt x="413396" y="236147"/>
                    <a:pt x="410379" y="187879"/>
                  </a:cubicBezTo>
                  <a:cubicBezTo>
                    <a:pt x="404345" y="94360"/>
                    <a:pt x="374178" y="18941"/>
                    <a:pt x="190155" y="840"/>
                  </a:cubicBezTo>
                  <a:cubicBezTo>
                    <a:pt x="108703" y="-11227"/>
                    <a:pt x="21217" y="109443"/>
                    <a:pt x="3117" y="187879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1" name="任意多边形: 形状 230">
              <a:extLst>
                <a:ext uri="{FF2B5EF4-FFF2-40B4-BE49-F238E27FC236}">
                  <a16:creationId xmlns:a16="http://schemas.microsoft.com/office/drawing/2014/main" id="{B0A9875B-31F9-4765-AF31-6B092430B1E9}"/>
                </a:ext>
              </a:extLst>
            </p:cNvPr>
            <p:cNvSpPr/>
            <p:nvPr/>
          </p:nvSpPr>
          <p:spPr>
            <a:xfrm>
              <a:off x="10364377" y="2422663"/>
              <a:ext cx="57318" cy="130970"/>
            </a:xfrm>
            <a:custGeom>
              <a:avLst/>
              <a:gdLst>
                <a:gd name="connsiteX0" fmla="*/ 27151 w 57318"/>
                <a:gd name="connsiteY0" fmla="*/ 130970 h 130970"/>
                <a:gd name="connsiteX1" fmla="*/ 6033 w 57318"/>
                <a:gd name="connsiteY1" fmla="*/ 124937 h 130970"/>
                <a:gd name="connsiteX2" fmla="*/ 0 w 57318"/>
                <a:gd name="connsiteY2" fmla="*/ 112870 h 130970"/>
                <a:gd name="connsiteX3" fmla="*/ 24134 w 57318"/>
                <a:gd name="connsiteY3" fmla="*/ 4266 h 130970"/>
                <a:gd name="connsiteX4" fmla="*/ 30168 w 57318"/>
                <a:gd name="connsiteY4" fmla="*/ 1250 h 130970"/>
                <a:gd name="connsiteX5" fmla="*/ 33185 w 57318"/>
                <a:gd name="connsiteY5" fmla="*/ 7283 h 130970"/>
                <a:gd name="connsiteX6" fmla="*/ 9050 w 57318"/>
                <a:gd name="connsiteY6" fmla="*/ 112870 h 130970"/>
                <a:gd name="connsiteX7" fmla="*/ 12067 w 57318"/>
                <a:gd name="connsiteY7" fmla="*/ 115886 h 130970"/>
                <a:gd name="connsiteX8" fmla="*/ 51284 w 57318"/>
                <a:gd name="connsiteY8" fmla="*/ 115886 h 130970"/>
                <a:gd name="connsiteX9" fmla="*/ 57318 w 57318"/>
                <a:gd name="connsiteY9" fmla="*/ 118903 h 130970"/>
                <a:gd name="connsiteX10" fmla="*/ 54301 w 57318"/>
                <a:gd name="connsiteY10" fmla="*/ 124937 h 130970"/>
                <a:gd name="connsiteX11" fmla="*/ 27151 w 57318"/>
                <a:gd name="connsiteY11" fmla="*/ 130970 h 13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318" h="130970">
                  <a:moveTo>
                    <a:pt x="27151" y="130970"/>
                  </a:moveTo>
                  <a:cubicBezTo>
                    <a:pt x="18101" y="130970"/>
                    <a:pt x="12067" y="130970"/>
                    <a:pt x="6033" y="124937"/>
                  </a:cubicBezTo>
                  <a:cubicBezTo>
                    <a:pt x="3017" y="121920"/>
                    <a:pt x="0" y="118903"/>
                    <a:pt x="0" y="112870"/>
                  </a:cubicBezTo>
                  <a:cubicBezTo>
                    <a:pt x="0" y="91752"/>
                    <a:pt x="21117" y="7283"/>
                    <a:pt x="24134" y="4266"/>
                  </a:cubicBezTo>
                  <a:cubicBezTo>
                    <a:pt x="24134" y="1250"/>
                    <a:pt x="27151" y="-1767"/>
                    <a:pt x="30168" y="1250"/>
                  </a:cubicBezTo>
                  <a:cubicBezTo>
                    <a:pt x="33185" y="1250"/>
                    <a:pt x="36201" y="4266"/>
                    <a:pt x="33185" y="7283"/>
                  </a:cubicBezTo>
                  <a:cubicBezTo>
                    <a:pt x="27151" y="31417"/>
                    <a:pt x="9050" y="97786"/>
                    <a:pt x="9050" y="112870"/>
                  </a:cubicBezTo>
                  <a:cubicBezTo>
                    <a:pt x="9050" y="112870"/>
                    <a:pt x="9050" y="115886"/>
                    <a:pt x="12067" y="115886"/>
                  </a:cubicBezTo>
                  <a:cubicBezTo>
                    <a:pt x="18101" y="121920"/>
                    <a:pt x="39218" y="118903"/>
                    <a:pt x="51284" y="115886"/>
                  </a:cubicBezTo>
                  <a:cubicBezTo>
                    <a:pt x="54301" y="115886"/>
                    <a:pt x="57318" y="115886"/>
                    <a:pt x="57318" y="118903"/>
                  </a:cubicBezTo>
                  <a:cubicBezTo>
                    <a:pt x="57318" y="121920"/>
                    <a:pt x="57318" y="124937"/>
                    <a:pt x="54301" y="124937"/>
                  </a:cubicBezTo>
                  <a:cubicBezTo>
                    <a:pt x="51284" y="127953"/>
                    <a:pt x="39218" y="130970"/>
                    <a:pt x="27151" y="130970"/>
                  </a:cubicBezTo>
                  <a:close/>
                </a:path>
              </a:pathLst>
            </a:custGeom>
            <a:solidFill>
              <a:srgbClr val="E58777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2" name="任意多边形: 形状 231">
              <a:extLst>
                <a:ext uri="{FF2B5EF4-FFF2-40B4-BE49-F238E27FC236}">
                  <a16:creationId xmlns:a16="http://schemas.microsoft.com/office/drawing/2014/main" id="{F4126C33-5855-4866-B692-0C18ABA091CD}"/>
                </a:ext>
              </a:extLst>
            </p:cNvPr>
            <p:cNvSpPr/>
            <p:nvPr/>
          </p:nvSpPr>
          <p:spPr>
            <a:xfrm>
              <a:off x="10349293" y="2598885"/>
              <a:ext cx="105586" cy="54422"/>
            </a:xfrm>
            <a:custGeom>
              <a:avLst/>
              <a:gdLst>
                <a:gd name="connsiteX0" fmla="*/ 105587 w 105586"/>
                <a:gd name="connsiteY0" fmla="*/ 0 h 54422"/>
                <a:gd name="connsiteX1" fmla="*/ 0 w 105586"/>
                <a:gd name="connsiteY1" fmla="*/ 3017 h 54422"/>
                <a:gd name="connsiteX2" fmla="*/ 51284 w 105586"/>
                <a:gd name="connsiteY2" fmla="*/ 54302 h 54422"/>
                <a:gd name="connsiteX3" fmla="*/ 105587 w 105586"/>
                <a:gd name="connsiteY3" fmla="*/ 0 h 5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586" h="54422">
                  <a:moveTo>
                    <a:pt x="105587" y="0"/>
                  </a:moveTo>
                  <a:cubicBezTo>
                    <a:pt x="51284" y="27151"/>
                    <a:pt x="0" y="3017"/>
                    <a:pt x="0" y="3017"/>
                  </a:cubicBezTo>
                  <a:cubicBezTo>
                    <a:pt x="0" y="3017"/>
                    <a:pt x="15084" y="57318"/>
                    <a:pt x="51284" y="54302"/>
                  </a:cubicBezTo>
                  <a:cubicBezTo>
                    <a:pt x="93520" y="54302"/>
                    <a:pt x="105587" y="0"/>
                    <a:pt x="105587" y="0"/>
                  </a:cubicBezTo>
                  <a:close/>
                </a:path>
              </a:pathLst>
            </a:custGeom>
            <a:solidFill>
              <a:srgbClr val="FFFFFF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3" name="任意多边形: 形状 232">
              <a:extLst>
                <a:ext uri="{FF2B5EF4-FFF2-40B4-BE49-F238E27FC236}">
                  <a16:creationId xmlns:a16="http://schemas.microsoft.com/office/drawing/2014/main" id="{EB5363E1-AC6A-4CF7-91BF-EDC356CE9524}"/>
                </a:ext>
              </a:extLst>
            </p:cNvPr>
            <p:cNvSpPr/>
            <p:nvPr/>
          </p:nvSpPr>
          <p:spPr>
            <a:xfrm>
              <a:off x="10288189" y="2395993"/>
              <a:ext cx="40578" cy="40755"/>
            </a:xfrm>
            <a:custGeom>
              <a:avLst/>
              <a:gdLst>
                <a:gd name="connsiteX0" fmla="*/ 39986 w 40578"/>
                <a:gd name="connsiteY0" fmla="*/ 24903 h 40755"/>
                <a:gd name="connsiteX1" fmla="*/ 15853 w 40578"/>
                <a:gd name="connsiteY1" fmla="*/ 39987 h 40755"/>
                <a:gd name="connsiteX2" fmla="*/ 769 w 40578"/>
                <a:gd name="connsiteY2" fmla="*/ 15853 h 40755"/>
                <a:gd name="connsiteX3" fmla="*/ 24903 w 40578"/>
                <a:gd name="connsiteY3" fmla="*/ 769 h 40755"/>
                <a:gd name="connsiteX4" fmla="*/ 39986 w 40578"/>
                <a:gd name="connsiteY4" fmla="*/ 24903 h 4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0755">
                  <a:moveTo>
                    <a:pt x="39986" y="24903"/>
                  </a:moveTo>
                  <a:cubicBezTo>
                    <a:pt x="36969" y="36970"/>
                    <a:pt x="27919" y="43003"/>
                    <a:pt x="15853" y="39987"/>
                  </a:cubicBezTo>
                  <a:cubicBezTo>
                    <a:pt x="3786" y="36970"/>
                    <a:pt x="-2248" y="27920"/>
                    <a:pt x="769" y="15853"/>
                  </a:cubicBezTo>
                  <a:cubicBezTo>
                    <a:pt x="3786" y="3786"/>
                    <a:pt x="12836" y="-2248"/>
                    <a:pt x="24903" y="769"/>
                  </a:cubicBezTo>
                  <a:cubicBezTo>
                    <a:pt x="33953" y="6802"/>
                    <a:pt x="43003" y="15853"/>
                    <a:pt x="39986" y="24903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4" name="任意多边形: 形状 233">
              <a:extLst>
                <a:ext uri="{FF2B5EF4-FFF2-40B4-BE49-F238E27FC236}">
                  <a16:creationId xmlns:a16="http://schemas.microsoft.com/office/drawing/2014/main" id="{ABDA5F69-AEED-47C7-B901-8C7FD5D7182F}"/>
                </a:ext>
              </a:extLst>
            </p:cNvPr>
            <p:cNvSpPr/>
            <p:nvPr/>
          </p:nvSpPr>
          <p:spPr>
            <a:xfrm>
              <a:off x="10475228" y="2395993"/>
              <a:ext cx="40755" cy="40755"/>
            </a:xfrm>
            <a:custGeom>
              <a:avLst/>
              <a:gdLst>
                <a:gd name="connsiteX0" fmla="*/ 39987 w 40755"/>
                <a:gd name="connsiteY0" fmla="*/ 24903 h 40755"/>
                <a:gd name="connsiteX1" fmla="*/ 15852 w 40755"/>
                <a:gd name="connsiteY1" fmla="*/ 39987 h 40755"/>
                <a:gd name="connsiteX2" fmla="*/ 768 w 40755"/>
                <a:gd name="connsiteY2" fmla="*/ 15853 h 40755"/>
                <a:gd name="connsiteX3" fmla="*/ 24903 w 40755"/>
                <a:gd name="connsiteY3" fmla="*/ 769 h 40755"/>
                <a:gd name="connsiteX4" fmla="*/ 39987 w 40755"/>
                <a:gd name="connsiteY4" fmla="*/ 24903 h 4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55" h="40755">
                  <a:moveTo>
                    <a:pt x="39987" y="24903"/>
                  </a:moveTo>
                  <a:cubicBezTo>
                    <a:pt x="36970" y="36970"/>
                    <a:pt x="27920" y="43003"/>
                    <a:pt x="15852" y="39987"/>
                  </a:cubicBezTo>
                  <a:cubicBezTo>
                    <a:pt x="3785" y="36970"/>
                    <a:pt x="-2248" y="27920"/>
                    <a:pt x="768" y="15853"/>
                  </a:cubicBezTo>
                  <a:cubicBezTo>
                    <a:pt x="3785" y="3786"/>
                    <a:pt x="12836" y="-2248"/>
                    <a:pt x="24903" y="769"/>
                  </a:cubicBezTo>
                  <a:cubicBezTo>
                    <a:pt x="36970" y="3786"/>
                    <a:pt x="43004" y="12836"/>
                    <a:pt x="39987" y="24903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5" name="任意多边形: 形状 234">
              <a:extLst>
                <a:ext uri="{FF2B5EF4-FFF2-40B4-BE49-F238E27FC236}">
                  <a16:creationId xmlns:a16="http://schemas.microsoft.com/office/drawing/2014/main" id="{9BBC6273-6370-4470-BE77-23277A6BE97B}"/>
                </a:ext>
              </a:extLst>
            </p:cNvPr>
            <p:cNvSpPr/>
            <p:nvPr/>
          </p:nvSpPr>
          <p:spPr>
            <a:xfrm>
              <a:off x="10262562" y="2348396"/>
              <a:ext cx="90998" cy="36298"/>
            </a:xfrm>
            <a:custGeom>
              <a:avLst/>
              <a:gdLst>
                <a:gd name="connsiteX0" fmla="*/ 8296 w 90998"/>
                <a:gd name="connsiteY0" fmla="*/ 36299 h 36298"/>
                <a:gd name="connsiteX1" fmla="*/ 2262 w 90998"/>
                <a:gd name="connsiteY1" fmla="*/ 33282 h 36298"/>
                <a:gd name="connsiteX2" fmla="*/ 2262 w 90998"/>
                <a:gd name="connsiteY2" fmla="*/ 21215 h 36298"/>
                <a:gd name="connsiteX3" fmla="*/ 86732 w 90998"/>
                <a:gd name="connsiteY3" fmla="*/ 6131 h 36298"/>
                <a:gd name="connsiteX4" fmla="*/ 89749 w 90998"/>
                <a:gd name="connsiteY4" fmla="*/ 15181 h 36298"/>
                <a:gd name="connsiteX5" fmla="*/ 80698 w 90998"/>
                <a:gd name="connsiteY5" fmla="*/ 18198 h 36298"/>
                <a:gd name="connsiteX6" fmla="*/ 14330 w 90998"/>
                <a:gd name="connsiteY6" fmla="*/ 27248 h 36298"/>
                <a:gd name="connsiteX7" fmla="*/ 8296 w 90998"/>
                <a:gd name="connsiteY7" fmla="*/ 36299 h 36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6298">
                  <a:moveTo>
                    <a:pt x="8296" y="36299"/>
                  </a:moveTo>
                  <a:cubicBezTo>
                    <a:pt x="5279" y="36299"/>
                    <a:pt x="5279" y="36299"/>
                    <a:pt x="2262" y="33282"/>
                  </a:cubicBezTo>
                  <a:cubicBezTo>
                    <a:pt x="-754" y="30265"/>
                    <a:pt x="-754" y="24232"/>
                    <a:pt x="2262" y="21215"/>
                  </a:cubicBezTo>
                  <a:cubicBezTo>
                    <a:pt x="26397" y="-8953"/>
                    <a:pt x="68631" y="98"/>
                    <a:pt x="86732" y="6131"/>
                  </a:cubicBezTo>
                  <a:cubicBezTo>
                    <a:pt x="89749" y="9148"/>
                    <a:pt x="92765" y="12165"/>
                    <a:pt x="89749" y="15181"/>
                  </a:cubicBezTo>
                  <a:cubicBezTo>
                    <a:pt x="86732" y="18198"/>
                    <a:pt x="83715" y="21215"/>
                    <a:pt x="80698" y="18198"/>
                  </a:cubicBezTo>
                  <a:cubicBezTo>
                    <a:pt x="77681" y="18198"/>
                    <a:pt x="38464" y="98"/>
                    <a:pt x="14330" y="27248"/>
                  </a:cubicBezTo>
                  <a:cubicBezTo>
                    <a:pt x="11313" y="36299"/>
                    <a:pt x="8296" y="36299"/>
                    <a:pt x="8296" y="36299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6" name="任意多边形: 形状 235">
              <a:extLst>
                <a:ext uri="{FF2B5EF4-FFF2-40B4-BE49-F238E27FC236}">
                  <a16:creationId xmlns:a16="http://schemas.microsoft.com/office/drawing/2014/main" id="{4E709A34-6305-4616-B980-8D723571EF6C}"/>
                </a:ext>
              </a:extLst>
            </p:cNvPr>
            <p:cNvSpPr/>
            <p:nvPr/>
          </p:nvSpPr>
          <p:spPr>
            <a:xfrm>
              <a:off x="10446864" y="2340528"/>
              <a:ext cx="91730" cy="35116"/>
            </a:xfrm>
            <a:custGeom>
              <a:avLst/>
              <a:gdLst>
                <a:gd name="connsiteX0" fmla="*/ 86452 w 91730"/>
                <a:gd name="connsiteY0" fmla="*/ 35117 h 35116"/>
                <a:gd name="connsiteX1" fmla="*/ 80418 w 91730"/>
                <a:gd name="connsiteY1" fmla="*/ 32100 h 35116"/>
                <a:gd name="connsiteX2" fmla="*/ 14049 w 91730"/>
                <a:gd name="connsiteY2" fmla="*/ 29083 h 35116"/>
                <a:gd name="connsiteX3" fmla="*/ 1982 w 91730"/>
                <a:gd name="connsiteY3" fmla="*/ 26067 h 35116"/>
                <a:gd name="connsiteX4" fmla="*/ 4999 w 91730"/>
                <a:gd name="connsiteY4" fmla="*/ 14000 h 35116"/>
                <a:gd name="connsiteX5" fmla="*/ 89468 w 91730"/>
                <a:gd name="connsiteY5" fmla="*/ 20033 h 35116"/>
                <a:gd name="connsiteX6" fmla="*/ 89468 w 91730"/>
                <a:gd name="connsiteY6" fmla="*/ 32100 h 35116"/>
                <a:gd name="connsiteX7" fmla="*/ 86452 w 91730"/>
                <a:gd name="connsiteY7" fmla="*/ 35117 h 3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30" h="35116">
                  <a:moveTo>
                    <a:pt x="86452" y="35117"/>
                  </a:moveTo>
                  <a:cubicBezTo>
                    <a:pt x="83435" y="35117"/>
                    <a:pt x="83435" y="35117"/>
                    <a:pt x="80418" y="32100"/>
                  </a:cubicBezTo>
                  <a:cubicBezTo>
                    <a:pt x="80418" y="32100"/>
                    <a:pt x="50250" y="4949"/>
                    <a:pt x="14049" y="29083"/>
                  </a:cubicBezTo>
                  <a:cubicBezTo>
                    <a:pt x="11033" y="32100"/>
                    <a:pt x="4999" y="32100"/>
                    <a:pt x="1982" y="26067"/>
                  </a:cubicBezTo>
                  <a:cubicBezTo>
                    <a:pt x="-1035" y="23050"/>
                    <a:pt x="-1035" y="17016"/>
                    <a:pt x="4999" y="14000"/>
                  </a:cubicBezTo>
                  <a:cubicBezTo>
                    <a:pt x="41200" y="-13151"/>
                    <a:pt x="77401" y="4949"/>
                    <a:pt x="89468" y="20033"/>
                  </a:cubicBezTo>
                  <a:cubicBezTo>
                    <a:pt x="92484" y="23050"/>
                    <a:pt x="92484" y="29083"/>
                    <a:pt x="89468" y="32100"/>
                  </a:cubicBezTo>
                  <a:cubicBezTo>
                    <a:pt x="89468" y="35117"/>
                    <a:pt x="89468" y="35117"/>
                    <a:pt x="86452" y="35117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7" name="任意多边形: 形状 236">
              <a:extLst>
                <a:ext uri="{FF2B5EF4-FFF2-40B4-BE49-F238E27FC236}">
                  <a16:creationId xmlns:a16="http://schemas.microsoft.com/office/drawing/2014/main" id="{21EBFC9E-DE64-43D0-9091-AE5325A6C18D}"/>
                </a:ext>
              </a:extLst>
            </p:cNvPr>
            <p:cNvSpPr/>
            <p:nvPr/>
          </p:nvSpPr>
          <p:spPr>
            <a:xfrm>
              <a:off x="10205510" y="2121406"/>
              <a:ext cx="265744" cy="263313"/>
            </a:xfrm>
            <a:custGeom>
              <a:avLst/>
              <a:gdLst>
                <a:gd name="connsiteX0" fmla="*/ 261437 w 265744"/>
                <a:gd name="connsiteY0" fmla="*/ 831 h 263313"/>
                <a:gd name="connsiteX1" fmla="*/ 231269 w 265744"/>
                <a:gd name="connsiteY1" fmla="*/ 127535 h 263313"/>
                <a:gd name="connsiteX2" fmla="*/ 1995 w 265744"/>
                <a:gd name="connsiteY2" fmla="*/ 263289 h 263313"/>
                <a:gd name="connsiteX3" fmla="*/ 261437 w 265744"/>
                <a:gd name="connsiteY3" fmla="*/ 831 h 263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744" h="263313">
                  <a:moveTo>
                    <a:pt x="261437" y="831"/>
                  </a:moveTo>
                  <a:cubicBezTo>
                    <a:pt x="261437" y="831"/>
                    <a:pt x="282555" y="88317"/>
                    <a:pt x="231269" y="127535"/>
                  </a:cubicBezTo>
                  <a:cubicBezTo>
                    <a:pt x="231269" y="127535"/>
                    <a:pt x="26130" y="178820"/>
                    <a:pt x="1995" y="263289"/>
                  </a:cubicBezTo>
                  <a:cubicBezTo>
                    <a:pt x="-1022" y="266306"/>
                    <a:pt x="-28172" y="-17269"/>
                    <a:pt x="261437" y="831"/>
                  </a:cubicBezTo>
                  <a:close/>
                </a:path>
              </a:pathLst>
            </a:custGeom>
            <a:solidFill>
              <a:srgbClr val="664241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8" name="任意多边形: 形状 237">
              <a:extLst>
                <a:ext uri="{FF2B5EF4-FFF2-40B4-BE49-F238E27FC236}">
                  <a16:creationId xmlns:a16="http://schemas.microsoft.com/office/drawing/2014/main" id="{30B5D48E-9305-42CB-9775-AE01F36C4CDD}"/>
                </a:ext>
              </a:extLst>
            </p:cNvPr>
            <p:cNvSpPr/>
            <p:nvPr/>
          </p:nvSpPr>
          <p:spPr>
            <a:xfrm>
              <a:off x="10436779" y="2125199"/>
              <a:ext cx="229678" cy="304464"/>
            </a:xfrm>
            <a:custGeom>
              <a:avLst/>
              <a:gdLst>
                <a:gd name="connsiteX0" fmla="*/ 0 w 229678"/>
                <a:gd name="connsiteY0" fmla="*/ 126758 h 304464"/>
                <a:gd name="connsiteX1" fmla="*/ 141788 w 229678"/>
                <a:gd name="connsiteY1" fmla="*/ 175026 h 304464"/>
                <a:gd name="connsiteX2" fmla="*/ 205139 w 229678"/>
                <a:gd name="connsiteY2" fmla="*/ 292680 h 304464"/>
                <a:gd name="connsiteX3" fmla="*/ 229274 w 229678"/>
                <a:gd name="connsiteY3" fmla="*/ 286646 h 304464"/>
                <a:gd name="connsiteX4" fmla="*/ 30168 w 229678"/>
                <a:gd name="connsiteY4" fmla="*/ 54 h 304464"/>
                <a:gd name="connsiteX5" fmla="*/ 0 w 229678"/>
                <a:gd name="connsiteY5" fmla="*/ 126758 h 304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9678" h="304464">
                  <a:moveTo>
                    <a:pt x="0" y="126758"/>
                  </a:moveTo>
                  <a:cubicBezTo>
                    <a:pt x="0" y="126758"/>
                    <a:pt x="90503" y="168993"/>
                    <a:pt x="141788" y="175026"/>
                  </a:cubicBezTo>
                  <a:cubicBezTo>
                    <a:pt x="193072" y="178043"/>
                    <a:pt x="205139" y="292680"/>
                    <a:pt x="205139" y="292680"/>
                  </a:cubicBezTo>
                  <a:cubicBezTo>
                    <a:pt x="205139" y="292680"/>
                    <a:pt x="226257" y="322848"/>
                    <a:pt x="229274" y="286646"/>
                  </a:cubicBezTo>
                  <a:cubicBezTo>
                    <a:pt x="232291" y="208211"/>
                    <a:pt x="223240" y="12121"/>
                    <a:pt x="30168" y="54"/>
                  </a:cubicBezTo>
                  <a:cubicBezTo>
                    <a:pt x="30168" y="-2962"/>
                    <a:pt x="21118" y="120725"/>
                    <a:pt x="0" y="126758"/>
                  </a:cubicBezTo>
                  <a:close/>
                </a:path>
              </a:pathLst>
            </a:custGeom>
            <a:solidFill>
              <a:srgbClr val="664241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9" name="任意多边形: 形状 238">
              <a:extLst>
                <a:ext uri="{FF2B5EF4-FFF2-40B4-BE49-F238E27FC236}">
                  <a16:creationId xmlns:a16="http://schemas.microsoft.com/office/drawing/2014/main" id="{C083130B-DA39-470A-96DB-7EECAE9096DD}"/>
                </a:ext>
              </a:extLst>
            </p:cNvPr>
            <p:cNvSpPr/>
            <p:nvPr/>
          </p:nvSpPr>
          <p:spPr>
            <a:xfrm>
              <a:off x="10427729" y="2119220"/>
              <a:ext cx="155103" cy="184022"/>
            </a:xfrm>
            <a:custGeom>
              <a:avLst/>
              <a:gdLst>
                <a:gd name="connsiteX0" fmla="*/ 150838 w 155103"/>
                <a:gd name="connsiteY0" fmla="*/ 184022 h 184022"/>
                <a:gd name="connsiteX1" fmla="*/ 150838 w 155103"/>
                <a:gd name="connsiteY1" fmla="*/ 184022 h 184022"/>
                <a:gd name="connsiteX2" fmla="*/ 51284 w 155103"/>
                <a:gd name="connsiteY2" fmla="*/ 156871 h 184022"/>
                <a:gd name="connsiteX3" fmla="*/ 6033 w 155103"/>
                <a:gd name="connsiteY3" fmla="*/ 132737 h 184022"/>
                <a:gd name="connsiteX4" fmla="*/ 0 w 155103"/>
                <a:gd name="connsiteY4" fmla="*/ 129721 h 184022"/>
                <a:gd name="connsiteX5" fmla="*/ 3016 w 155103"/>
                <a:gd name="connsiteY5" fmla="*/ 123687 h 184022"/>
                <a:gd name="connsiteX6" fmla="*/ 18100 w 155103"/>
                <a:gd name="connsiteY6" fmla="*/ 99553 h 184022"/>
                <a:gd name="connsiteX7" fmla="*/ 27151 w 155103"/>
                <a:gd name="connsiteY7" fmla="*/ 60335 h 184022"/>
                <a:gd name="connsiteX8" fmla="*/ 30168 w 155103"/>
                <a:gd name="connsiteY8" fmla="*/ 33184 h 184022"/>
                <a:gd name="connsiteX9" fmla="*/ 33184 w 155103"/>
                <a:gd name="connsiteY9" fmla="*/ 6034 h 184022"/>
                <a:gd name="connsiteX10" fmla="*/ 39218 w 155103"/>
                <a:gd name="connsiteY10" fmla="*/ 0 h 184022"/>
                <a:gd name="connsiteX11" fmla="*/ 45251 w 155103"/>
                <a:gd name="connsiteY11" fmla="*/ 6034 h 184022"/>
                <a:gd name="connsiteX12" fmla="*/ 42234 w 155103"/>
                <a:gd name="connsiteY12" fmla="*/ 33184 h 184022"/>
                <a:gd name="connsiteX13" fmla="*/ 39218 w 155103"/>
                <a:gd name="connsiteY13" fmla="*/ 60335 h 184022"/>
                <a:gd name="connsiteX14" fmla="*/ 30168 w 155103"/>
                <a:gd name="connsiteY14" fmla="*/ 105587 h 184022"/>
                <a:gd name="connsiteX15" fmla="*/ 15084 w 155103"/>
                <a:gd name="connsiteY15" fmla="*/ 126704 h 184022"/>
                <a:gd name="connsiteX16" fmla="*/ 54301 w 155103"/>
                <a:gd name="connsiteY16" fmla="*/ 144804 h 184022"/>
                <a:gd name="connsiteX17" fmla="*/ 147821 w 155103"/>
                <a:gd name="connsiteY17" fmla="*/ 171955 h 184022"/>
                <a:gd name="connsiteX18" fmla="*/ 153854 w 155103"/>
                <a:gd name="connsiteY18" fmla="*/ 177989 h 184022"/>
                <a:gd name="connsiteX19" fmla="*/ 150838 w 155103"/>
                <a:gd name="connsiteY19" fmla="*/ 184022 h 184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5103" h="184022">
                  <a:moveTo>
                    <a:pt x="150838" y="184022"/>
                  </a:moveTo>
                  <a:cubicBezTo>
                    <a:pt x="150838" y="184022"/>
                    <a:pt x="150838" y="184022"/>
                    <a:pt x="150838" y="184022"/>
                  </a:cubicBezTo>
                  <a:cubicBezTo>
                    <a:pt x="114637" y="181006"/>
                    <a:pt x="75419" y="165922"/>
                    <a:pt x="51284" y="156871"/>
                  </a:cubicBezTo>
                  <a:cubicBezTo>
                    <a:pt x="24134" y="144804"/>
                    <a:pt x="6033" y="135754"/>
                    <a:pt x="6033" y="132737"/>
                  </a:cubicBezTo>
                  <a:lnTo>
                    <a:pt x="0" y="129721"/>
                  </a:lnTo>
                  <a:lnTo>
                    <a:pt x="3016" y="123687"/>
                  </a:lnTo>
                  <a:cubicBezTo>
                    <a:pt x="9050" y="117654"/>
                    <a:pt x="15084" y="108603"/>
                    <a:pt x="18100" y="99553"/>
                  </a:cubicBezTo>
                  <a:cubicBezTo>
                    <a:pt x="24134" y="87486"/>
                    <a:pt x="24134" y="72402"/>
                    <a:pt x="27151" y="60335"/>
                  </a:cubicBezTo>
                  <a:cubicBezTo>
                    <a:pt x="27151" y="54302"/>
                    <a:pt x="27151" y="42235"/>
                    <a:pt x="30168" y="33184"/>
                  </a:cubicBezTo>
                  <a:cubicBezTo>
                    <a:pt x="30168" y="21117"/>
                    <a:pt x="33184" y="12067"/>
                    <a:pt x="33184" y="6034"/>
                  </a:cubicBezTo>
                  <a:cubicBezTo>
                    <a:pt x="33184" y="3017"/>
                    <a:pt x="36201" y="0"/>
                    <a:pt x="39218" y="0"/>
                  </a:cubicBezTo>
                  <a:cubicBezTo>
                    <a:pt x="42234" y="0"/>
                    <a:pt x="45251" y="3017"/>
                    <a:pt x="45251" y="6034"/>
                  </a:cubicBezTo>
                  <a:cubicBezTo>
                    <a:pt x="45251" y="12067"/>
                    <a:pt x="45251" y="24134"/>
                    <a:pt x="42234" y="33184"/>
                  </a:cubicBezTo>
                  <a:cubicBezTo>
                    <a:pt x="42234" y="45251"/>
                    <a:pt x="39218" y="54302"/>
                    <a:pt x="39218" y="60335"/>
                  </a:cubicBezTo>
                  <a:cubicBezTo>
                    <a:pt x="39218" y="75419"/>
                    <a:pt x="36201" y="90503"/>
                    <a:pt x="30168" y="105587"/>
                  </a:cubicBezTo>
                  <a:cubicBezTo>
                    <a:pt x="27151" y="114637"/>
                    <a:pt x="21117" y="120670"/>
                    <a:pt x="15084" y="126704"/>
                  </a:cubicBezTo>
                  <a:cubicBezTo>
                    <a:pt x="21117" y="129721"/>
                    <a:pt x="36201" y="138771"/>
                    <a:pt x="54301" y="144804"/>
                  </a:cubicBezTo>
                  <a:cubicBezTo>
                    <a:pt x="78435" y="153855"/>
                    <a:pt x="114637" y="168939"/>
                    <a:pt x="147821" y="171955"/>
                  </a:cubicBezTo>
                  <a:cubicBezTo>
                    <a:pt x="150838" y="171955"/>
                    <a:pt x="153854" y="174972"/>
                    <a:pt x="153854" y="177989"/>
                  </a:cubicBezTo>
                  <a:cubicBezTo>
                    <a:pt x="156871" y="181006"/>
                    <a:pt x="153854" y="184022"/>
                    <a:pt x="150838" y="184022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34DA6FE0-512E-4D62-BE99-B0A60FD3717E}"/>
                </a:ext>
              </a:extLst>
            </p:cNvPr>
            <p:cNvSpPr/>
            <p:nvPr/>
          </p:nvSpPr>
          <p:spPr>
            <a:xfrm>
              <a:off x="10521248" y="2245210"/>
              <a:ext cx="253408" cy="537433"/>
            </a:xfrm>
            <a:custGeom>
              <a:avLst/>
              <a:gdLst>
                <a:gd name="connsiteX0" fmla="*/ 48268 w 253408"/>
                <a:gd name="connsiteY0" fmla="*/ 58032 h 537433"/>
                <a:gd name="connsiteX1" fmla="*/ 0 w 253408"/>
                <a:gd name="connsiteY1" fmla="*/ 516580 h 537433"/>
                <a:gd name="connsiteX2" fmla="*/ 253409 w 253408"/>
                <a:gd name="connsiteY2" fmla="*/ 498479 h 537433"/>
                <a:gd name="connsiteX3" fmla="*/ 120670 w 253408"/>
                <a:gd name="connsiteY3" fmla="*/ 3731 h 537433"/>
                <a:gd name="connsiteX4" fmla="*/ 48268 w 253408"/>
                <a:gd name="connsiteY4" fmla="*/ 58032 h 537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408" h="537433">
                  <a:moveTo>
                    <a:pt x="48268" y="58032"/>
                  </a:moveTo>
                  <a:cubicBezTo>
                    <a:pt x="48268" y="58032"/>
                    <a:pt x="159889" y="248088"/>
                    <a:pt x="0" y="516580"/>
                  </a:cubicBezTo>
                  <a:cubicBezTo>
                    <a:pt x="0" y="516580"/>
                    <a:pt x="135754" y="573898"/>
                    <a:pt x="253409" y="498479"/>
                  </a:cubicBezTo>
                  <a:cubicBezTo>
                    <a:pt x="253409" y="498479"/>
                    <a:pt x="244358" y="251105"/>
                    <a:pt x="120670" y="3731"/>
                  </a:cubicBezTo>
                  <a:cubicBezTo>
                    <a:pt x="111620" y="-17387"/>
                    <a:pt x="48268" y="58032"/>
                    <a:pt x="48268" y="58032"/>
                  </a:cubicBezTo>
                  <a:close/>
                </a:path>
              </a:pathLst>
            </a:custGeom>
            <a:solidFill>
              <a:srgbClr val="664241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id="{3121933B-8636-49A5-B6DF-D41964998FA4}"/>
                </a:ext>
              </a:extLst>
            </p:cNvPr>
            <p:cNvSpPr/>
            <p:nvPr/>
          </p:nvSpPr>
          <p:spPr>
            <a:xfrm>
              <a:off x="10174321" y="2291175"/>
              <a:ext cx="138770" cy="168938"/>
            </a:xfrm>
            <a:custGeom>
              <a:avLst/>
              <a:gdLst>
                <a:gd name="connsiteX0" fmla="*/ 6033 w 138770"/>
                <a:gd name="connsiteY0" fmla="*/ 168939 h 168938"/>
                <a:gd name="connsiteX1" fmla="*/ 6033 w 138770"/>
                <a:gd name="connsiteY1" fmla="*/ 168939 h 168938"/>
                <a:gd name="connsiteX2" fmla="*/ 0 w 138770"/>
                <a:gd name="connsiteY2" fmla="*/ 162905 h 168938"/>
                <a:gd name="connsiteX3" fmla="*/ 132738 w 138770"/>
                <a:gd name="connsiteY3" fmla="*/ 0 h 168938"/>
                <a:gd name="connsiteX4" fmla="*/ 138771 w 138770"/>
                <a:gd name="connsiteY4" fmla="*/ 3017 h 168938"/>
                <a:gd name="connsiteX5" fmla="*/ 135754 w 138770"/>
                <a:gd name="connsiteY5" fmla="*/ 9050 h 168938"/>
                <a:gd name="connsiteX6" fmla="*/ 12067 w 138770"/>
                <a:gd name="connsiteY6" fmla="*/ 162905 h 168938"/>
                <a:gd name="connsiteX7" fmla="*/ 6033 w 138770"/>
                <a:gd name="connsiteY7" fmla="*/ 168939 h 168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770" h="168938">
                  <a:moveTo>
                    <a:pt x="6033" y="168939"/>
                  </a:moveTo>
                  <a:cubicBezTo>
                    <a:pt x="6033" y="168939"/>
                    <a:pt x="6033" y="168939"/>
                    <a:pt x="6033" y="168939"/>
                  </a:cubicBezTo>
                  <a:cubicBezTo>
                    <a:pt x="3016" y="168939"/>
                    <a:pt x="0" y="165922"/>
                    <a:pt x="0" y="162905"/>
                  </a:cubicBezTo>
                  <a:cubicBezTo>
                    <a:pt x="21117" y="36201"/>
                    <a:pt x="129721" y="0"/>
                    <a:pt x="132738" y="0"/>
                  </a:cubicBezTo>
                  <a:cubicBezTo>
                    <a:pt x="135754" y="0"/>
                    <a:pt x="138771" y="0"/>
                    <a:pt x="138771" y="3017"/>
                  </a:cubicBezTo>
                  <a:cubicBezTo>
                    <a:pt x="138771" y="6034"/>
                    <a:pt x="138771" y="9050"/>
                    <a:pt x="135754" y="9050"/>
                  </a:cubicBezTo>
                  <a:cubicBezTo>
                    <a:pt x="135754" y="9050"/>
                    <a:pt x="30167" y="42235"/>
                    <a:pt x="12067" y="162905"/>
                  </a:cubicBezTo>
                  <a:cubicBezTo>
                    <a:pt x="12067" y="168939"/>
                    <a:pt x="9050" y="168939"/>
                    <a:pt x="6033" y="168939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2" name="任意多边形: 形状 241">
              <a:extLst>
                <a:ext uri="{FF2B5EF4-FFF2-40B4-BE49-F238E27FC236}">
                  <a16:creationId xmlns:a16="http://schemas.microsoft.com/office/drawing/2014/main" id="{779B06A2-76B6-4278-9AA3-2725F0E735EC}"/>
                </a:ext>
              </a:extLst>
            </p:cNvPr>
            <p:cNvSpPr/>
            <p:nvPr/>
          </p:nvSpPr>
          <p:spPr>
            <a:xfrm>
              <a:off x="10069489" y="2502348"/>
              <a:ext cx="86731" cy="187039"/>
            </a:xfrm>
            <a:custGeom>
              <a:avLst/>
              <a:gdLst>
                <a:gd name="connsiteX0" fmla="*/ 5279 w 86731"/>
                <a:gd name="connsiteY0" fmla="*/ 187039 h 187039"/>
                <a:gd name="connsiteX1" fmla="*/ 2262 w 86731"/>
                <a:gd name="connsiteY1" fmla="*/ 184022 h 187039"/>
                <a:gd name="connsiteX2" fmla="*/ 2262 w 86731"/>
                <a:gd name="connsiteY2" fmla="*/ 174972 h 187039"/>
                <a:gd name="connsiteX3" fmla="*/ 74665 w 86731"/>
                <a:gd name="connsiteY3" fmla="*/ 6034 h 187039"/>
                <a:gd name="connsiteX4" fmla="*/ 80698 w 86731"/>
                <a:gd name="connsiteY4" fmla="*/ 0 h 187039"/>
                <a:gd name="connsiteX5" fmla="*/ 86732 w 86731"/>
                <a:gd name="connsiteY5" fmla="*/ 6034 h 187039"/>
                <a:gd name="connsiteX6" fmla="*/ 14330 w 86731"/>
                <a:gd name="connsiteY6" fmla="*/ 177989 h 187039"/>
                <a:gd name="connsiteX7" fmla="*/ 5279 w 86731"/>
                <a:gd name="connsiteY7" fmla="*/ 187039 h 187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6731" h="187039">
                  <a:moveTo>
                    <a:pt x="5279" y="187039"/>
                  </a:moveTo>
                  <a:cubicBezTo>
                    <a:pt x="5279" y="187039"/>
                    <a:pt x="2262" y="187039"/>
                    <a:pt x="2262" y="184022"/>
                  </a:cubicBezTo>
                  <a:cubicBezTo>
                    <a:pt x="-754" y="181006"/>
                    <a:pt x="-754" y="177989"/>
                    <a:pt x="2262" y="174972"/>
                  </a:cubicBezTo>
                  <a:cubicBezTo>
                    <a:pt x="53548" y="120670"/>
                    <a:pt x="71648" y="9050"/>
                    <a:pt x="74665" y="6034"/>
                  </a:cubicBezTo>
                  <a:cubicBezTo>
                    <a:pt x="74665" y="3017"/>
                    <a:pt x="77681" y="0"/>
                    <a:pt x="80698" y="0"/>
                  </a:cubicBezTo>
                  <a:cubicBezTo>
                    <a:pt x="83715" y="0"/>
                    <a:pt x="86732" y="3017"/>
                    <a:pt x="86732" y="6034"/>
                  </a:cubicBezTo>
                  <a:cubicBezTo>
                    <a:pt x="86732" y="12067"/>
                    <a:pt x="65615" y="123687"/>
                    <a:pt x="14330" y="177989"/>
                  </a:cubicBezTo>
                  <a:cubicBezTo>
                    <a:pt x="8296" y="184022"/>
                    <a:pt x="8296" y="187039"/>
                    <a:pt x="5279" y="187039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3" name="任意多边形: 形状 242">
              <a:extLst>
                <a:ext uri="{FF2B5EF4-FFF2-40B4-BE49-F238E27FC236}">
                  <a16:creationId xmlns:a16="http://schemas.microsoft.com/office/drawing/2014/main" id="{24014C8A-DE7D-4D95-99BD-6E4A14E35F54}"/>
                </a:ext>
              </a:extLst>
            </p:cNvPr>
            <p:cNvSpPr/>
            <p:nvPr/>
          </p:nvSpPr>
          <p:spPr>
            <a:xfrm>
              <a:off x="10114740" y="2580784"/>
              <a:ext cx="69881" cy="126703"/>
            </a:xfrm>
            <a:custGeom>
              <a:avLst/>
              <a:gdLst>
                <a:gd name="connsiteX0" fmla="*/ 5279 w 69881"/>
                <a:gd name="connsiteY0" fmla="*/ 126704 h 126703"/>
                <a:gd name="connsiteX1" fmla="*/ 2262 w 69881"/>
                <a:gd name="connsiteY1" fmla="*/ 123687 h 126703"/>
                <a:gd name="connsiteX2" fmla="*/ 2262 w 69881"/>
                <a:gd name="connsiteY2" fmla="*/ 114637 h 126703"/>
                <a:gd name="connsiteX3" fmla="*/ 59581 w 69881"/>
                <a:gd name="connsiteY3" fmla="*/ 3017 h 126703"/>
                <a:gd name="connsiteX4" fmla="*/ 65615 w 69881"/>
                <a:gd name="connsiteY4" fmla="*/ 0 h 126703"/>
                <a:gd name="connsiteX5" fmla="*/ 68631 w 69881"/>
                <a:gd name="connsiteY5" fmla="*/ 6034 h 126703"/>
                <a:gd name="connsiteX6" fmla="*/ 5279 w 69881"/>
                <a:gd name="connsiteY6" fmla="*/ 123687 h 126703"/>
                <a:gd name="connsiteX7" fmla="*/ 5279 w 69881"/>
                <a:gd name="connsiteY7" fmla="*/ 126704 h 126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881" h="126703">
                  <a:moveTo>
                    <a:pt x="5279" y="126704"/>
                  </a:moveTo>
                  <a:cubicBezTo>
                    <a:pt x="2262" y="126704"/>
                    <a:pt x="2262" y="126704"/>
                    <a:pt x="2262" y="123687"/>
                  </a:cubicBezTo>
                  <a:cubicBezTo>
                    <a:pt x="-754" y="120670"/>
                    <a:pt x="-754" y="117654"/>
                    <a:pt x="2262" y="114637"/>
                  </a:cubicBezTo>
                  <a:cubicBezTo>
                    <a:pt x="32430" y="87486"/>
                    <a:pt x="59581" y="3017"/>
                    <a:pt x="59581" y="3017"/>
                  </a:cubicBezTo>
                  <a:cubicBezTo>
                    <a:pt x="59581" y="0"/>
                    <a:pt x="62598" y="0"/>
                    <a:pt x="65615" y="0"/>
                  </a:cubicBezTo>
                  <a:cubicBezTo>
                    <a:pt x="68631" y="0"/>
                    <a:pt x="71648" y="3017"/>
                    <a:pt x="68631" y="6034"/>
                  </a:cubicBezTo>
                  <a:cubicBezTo>
                    <a:pt x="68631" y="9050"/>
                    <a:pt x="41480" y="96536"/>
                    <a:pt x="5279" y="123687"/>
                  </a:cubicBezTo>
                  <a:cubicBezTo>
                    <a:pt x="8296" y="126704"/>
                    <a:pt x="5279" y="126704"/>
                    <a:pt x="5279" y="126704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4" name="任意多边形: 形状 243">
              <a:extLst>
                <a:ext uri="{FF2B5EF4-FFF2-40B4-BE49-F238E27FC236}">
                  <a16:creationId xmlns:a16="http://schemas.microsoft.com/office/drawing/2014/main" id="{C15CAA13-0B84-4C07-92E1-307EF9D74608}"/>
                </a:ext>
              </a:extLst>
            </p:cNvPr>
            <p:cNvSpPr/>
            <p:nvPr/>
          </p:nvSpPr>
          <p:spPr>
            <a:xfrm>
              <a:off x="10518232" y="2286818"/>
              <a:ext cx="95229" cy="477988"/>
            </a:xfrm>
            <a:custGeom>
              <a:avLst/>
              <a:gdLst>
                <a:gd name="connsiteX0" fmla="*/ 6033 w 95229"/>
                <a:gd name="connsiteY0" fmla="*/ 477989 h 477988"/>
                <a:gd name="connsiteX1" fmla="*/ 6033 w 95229"/>
                <a:gd name="connsiteY1" fmla="*/ 477989 h 477988"/>
                <a:gd name="connsiteX2" fmla="*/ 0 w 95229"/>
                <a:gd name="connsiteY2" fmla="*/ 468939 h 477988"/>
                <a:gd name="connsiteX3" fmla="*/ 78435 w 95229"/>
                <a:gd name="connsiteY3" fmla="*/ 131061 h 477988"/>
                <a:gd name="connsiteX4" fmla="*/ 36201 w 95229"/>
                <a:gd name="connsiteY4" fmla="*/ 10391 h 477988"/>
                <a:gd name="connsiteX5" fmla="*/ 36201 w 95229"/>
                <a:gd name="connsiteY5" fmla="*/ 1341 h 477988"/>
                <a:gd name="connsiteX6" fmla="*/ 45251 w 95229"/>
                <a:gd name="connsiteY6" fmla="*/ 1341 h 477988"/>
                <a:gd name="connsiteX7" fmla="*/ 90503 w 95229"/>
                <a:gd name="connsiteY7" fmla="*/ 125028 h 477988"/>
                <a:gd name="connsiteX8" fmla="*/ 12067 w 95229"/>
                <a:gd name="connsiteY8" fmla="*/ 468939 h 477988"/>
                <a:gd name="connsiteX9" fmla="*/ 6033 w 95229"/>
                <a:gd name="connsiteY9" fmla="*/ 477989 h 477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29" h="477988">
                  <a:moveTo>
                    <a:pt x="6033" y="477989"/>
                  </a:moveTo>
                  <a:cubicBezTo>
                    <a:pt x="6033" y="477989"/>
                    <a:pt x="6033" y="477989"/>
                    <a:pt x="6033" y="477989"/>
                  </a:cubicBezTo>
                  <a:cubicBezTo>
                    <a:pt x="0" y="474972"/>
                    <a:pt x="0" y="471955"/>
                    <a:pt x="0" y="468939"/>
                  </a:cubicBezTo>
                  <a:cubicBezTo>
                    <a:pt x="84469" y="321117"/>
                    <a:pt x="87486" y="203464"/>
                    <a:pt x="78435" y="131061"/>
                  </a:cubicBezTo>
                  <a:cubicBezTo>
                    <a:pt x="66368" y="52626"/>
                    <a:pt x="36201" y="10391"/>
                    <a:pt x="36201" y="10391"/>
                  </a:cubicBezTo>
                  <a:cubicBezTo>
                    <a:pt x="33184" y="7374"/>
                    <a:pt x="36201" y="4358"/>
                    <a:pt x="36201" y="1341"/>
                  </a:cubicBezTo>
                  <a:cubicBezTo>
                    <a:pt x="39218" y="-1676"/>
                    <a:pt x="42234" y="1341"/>
                    <a:pt x="45251" y="1341"/>
                  </a:cubicBezTo>
                  <a:cubicBezTo>
                    <a:pt x="45251" y="4358"/>
                    <a:pt x="78435" y="46592"/>
                    <a:pt x="90503" y="125028"/>
                  </a:cubicBezTo>
                  <a:cubicBezTo>
                    <a:pt x="102570" y="197430"/>
                    <a:pt x="96536" y="318101"/>
                    <a:pt x="12067" y="468939"/>
                  </a:cubicBezTo>
                  <a:cubicBezTo>
                    <a:pt x="12067" y="474972"/>
                    <a:pt x="9050" y="477989"/>
                    <a:pt x="6033" y="477989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id="{F1BC025F-5915-4122-86A7-8264E0E404C4}"/>
                </a:ext>
              </a:extLst>
            </p:cNvPr>
            <p:cNvSpPr/>
            <p:nvPr/>
          </p:nvSpPr>
          <p:spPr>
            <a:xfrm>
              <a:off x="10349293" y="2144360"/>
              <a:ext cx="118903" cy="18344"/>
            </a:xfrm>
            <a:custGeom>
              <a:avLst/>
              <a:gdLst>
                <a:gd name="connsiteX0" fmla="*/ 6033 w 118903"/>
                <a:gd name="connsiteY0" fmla="*/ 17095 h 18344"/>
                <a:gd name="connsiteX1" fmla="*/ 0 w 118903"/>
                <a:gd name="connsiteY1" fmla="*/ 14078 h 18344"/>
                <a:gd name="connsiteX2" fmla="*/ 3017 w 118903"/>
                <a:gd name="connsiteY2" fmla="*/ 8045 h 18344"/>
                <a:gd name="connsiteX3" fmla="*/ 114637 w 118903"/>
                <a:gd name="connsiteY3" fmla="*/ 8045 h 18344"/>
                <a:gd name="connsiteX4" fmla="*/ 117653 w 118903"/>
                <a:gd name="connsiteY4" fmla="*/ 14078 h 18344"/>
                <a:gd name="connsiteX5" fmla="*/ 111620 w 118903"/>
                <a:gd name="connsiteY5" fmla="*/ 17095 h 18344"/>
                <a:gd name="connsiteX6" fmla="*/ 6033 w 118903"/>
                <a:gd name="connsiteY6" fmla="*/ 17095 h 18344"/>
                <a:gd name="connsiteX7" fmla="*/ 6033 w 118903"/>
                <a:gd name="connsiteY7" fmla="*/ 17095 h 1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903" h="18344">
                  <a:moveTo>
                    <a:pt x="6033" y="17095"/>
                  </a:moveTo>
                  <a:cubicBezTo>
                    <a:pt x="3017" y="17095"/>
                    <a:pt x="3017" y="17095"/>
                    <a:pt x="0" y="14078"/>
                  </a:cubicBezTo>
                  <a:cubicBezTo>
                    <a:pt x="0" y="11061"/>
                    <a:pt x="0" y="8045"/>
                    <a:pt x="3017" y="8045"/>
                  </a:cubicBezTo>
                  <a:cubicBezTo>
                    <a:pt x="51284" y="-10056"/>
                    <a:pt x="114637" y="8045"/>
                    <a:pt x="114637" y="8045"/>
                  </a:cubicBezTo>
                  <a:cubicBezTo>
                    <a:pt x="117653" y="8045"/>
                    <a:pt x="120670" y="11061"/>
                    <a:pt x="117653" y="14078"/>
                  </a:cubicBezTo>
                  <a:cubicBezTo>
                    <a:pt x="117653" y="17095"/>
                    <a:pt x="114637" y="20112"/>
                    <a:pt x="111620" y="17095"/>
                  </a:cubicBezTo>
                  <a:cubicBezTo>
                    <a:pt x="114637" y="14078"/>
                    <a:pt x="51284" y="-4022"/>
                    <a:pt x="6033" y="17095"/>
                  </a:cubicBezTo>
                  <a:cubicBezTo>
                    <a:pt x="9050" y="17095"/>
                    <a:pt x="6033" y="17095"/>
                    <a:pt x="6033" y="17095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6" name="任意多边形: 形状 245">
              <a:extLst>
                <a:ext uri="{FF2B5EF4-FFF2-40B4-BE49-F238E27FC236}">
                  <a16:creationId xmlns:a16="http://schemas.microsoft.com/office/drawing/2014/main" id="{3E0B4607-2EEB-4855-B35D-FFDC6B62FC58}"/>
                </a:ext>
              </a:extLst>
            </p:cNvPr>
            <p:cNvSpPr/>
            <p:nvPr/>
          </p:nvSpPr>
          <p:spPr>
            <a:xfrm>
              <a:off x="10334210" y="2638857"/>
              <a:ext cx="216452" cy="86731"/>
            </a:xfrm>
            <a:custGeom>
              <a:avLst/>
              <a:gdLst>
                <a:gd name="connsiteX0" fmla="*/ 75419 w 216452"/>
                <a:gd name="connsiteY0" fmla="*/ 86732 h 86731"/>
                <a:gd name="connsiteX1" fmla="*/ 66368 w 216452"/>
                <a:gd name="connsiteY1" fmla="*/ 86732 h 86731"/>
                <a:gd name="connsiteX2" fmla="*/ 3017 w 216452"/>
                <a:gd name="connsiteY2" fmla="*/ 65615 h 86731"/>
                <a:gd name="connsiteX3" fmla="*/ 0 w 216452"/>
                <a:gd name="connsiteY3" fmla="*/ 56564 h 86731"/>
                <a:gd name="connsiteX4" fmla="*/ 9050 w 216452"/>
                <a:gd name="connsiteY4" fmla="*/ 53547 h 86731"/>
                <a:gd name="connsiteX5" fmla="*/ 66368 w 216452"/>
                <a:gd name="connsiteY5" fmla="*/ 71648 h 86731"/>
                <a:gd name="connsiteX6" fmla="*/ 205139 w 216452"/>
                <a:gd name="connsiteY6" fmla="*/ 2263 h 86731"/>
                <a:gd name="connsiteX7" fmla="*/ 214190 w 216452"/>
                <a:gd name="connsiteY7" fmla="*/ 2263 h 86731"/>
                <a:gd name="connsiteX8" fmla="*/ 214190 w 216452"/>
                <a:gd name="connsiteY8" fmla="*/ 11313 h 86731"/>
                <a:gd name="connsiteX9" fmla="*/ 75419 w 216452"/>
                <a:gd name="connsiteY9" fmla="*/ 86732 h 8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452" h="86731">
                  <a:moveTo>
                    <a:pt x="75419" y="86732"/>
                  </a:moveTo>
                  <a:cubicBezTo>
                    <a:pt x="72402" y="86732"/>
                    <a:pt x="69385" y="86732"/>
                    <a:pt x="66368" y="86732"/>
                  </a:cubicBezTo>
                  <a:cubicBezTo>
                    <a:pt x="45251" y="83715"/>
                    <a:pt x="24134" y="77682"/>
                    <a:pt x="3017" y="65615"/>
                  </a:cubicBezTo>
                  <a:cubicBezTo>
                    <a:pt x="0" y="62598"/>
                    <a:pt x="0" y="59581"/>
                    <a:pt x="0" y="56564"/>
                  </a:cubicBezTo>
                  <a:cubicBezTo>
                    <a:pt x="3017" y="53547"/>
                    <a:pt x="6033" y="53547"/>
                    <a:pt x="9050" y="53547"/>
                  </a:cubicBezTo>
                  <a:cubicBezTo>
                    <a:pt x="27151" y="65615"/>
                    <a:pt x="45251" y="71648"/>
                    <a:pt x="66368" y="71648"/>
                  </a:cubicBezTo>
                  <a:cubicBezTo>
                    <a:pt x="126703" y="77682"/>
                    <a:pt x="202122" y="2263"/>
                    <a:pt x="205139" y="2263"/>
                  </a:cubicBezTo>
                  <a:cubicBezTo>
                    <a:pt x="208156" y="-754"/>
                    <a:pt x="211173" y="-754"/>
                    <a:pt x="214190" y="2263"/>
                  </a:cubicBezTo>
                  <a:cubicBezTo>
                    <a:pt x="217206" y="5279"/>
                    <a:pt x="217206" y="8296"/>
                    <a:pt x="214190" y="11313"/>
                  </a:cubicBezTo>
                  <a:cubicBezTo>
                    <a:pt x="214190" y="14330"/>
                    <a:pt x="141787" y="86732"/>
                    <a:pt x="75419" y="86732"/>
                  </a:cubicBezTo>
                  <a:close/>
                </a:path>
              </a:pathLst>
            </a:custGeom>
            <a:solidFill>
              <a:srgbClr val="E58777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47" name="图形 1">
              <a:extLst>
                <a:ext uri="{FF2B5EF4-FFF2-40B4-BE49-F238E27FC236}">
                  <a16:creationId xmlns:a16="http://schemas.microsoft.com/office/drawing/2014/main" id="{3F609A6D-6021-4C2A-A5BF-9D8A30C0C72C}"/>
                </a:ext>
              </a:extLst>
            </p:cNvPr>
            <p:cNvGrpSpPr/>
            <p:nvPr/>
          </p:nvGrpSpPr>
          <p:grpSpPr>
            <a:xfrm>
              <a:off x="10040864" y="2022684"/>
              <a:ext cx="650724" cy="328826"/>
              <a:chOff x="10040864" y="2022684"/>
              <a:chExt cx="650724" cy="328826"/>
            </a:xfrm>
          </p:grpSpPr>
          <p:sp>
            <p:nvSpPr>
              <p:cNvPr id="248" name="任意多边形: 形状 247">
                <a:extLst>
                  <a:ext uri="{FF2B5EF4-FFF2-40B4-BE49-F238E27FC236}">
                    <a16:creationId xmlns:a16="http://schemas.microsoft.com/office/drawing/2014/main" id="{166825C4-1ACB-4A45-8D5E-DE826763D85D}"/>
                  </a:ext>
                </a:extLst>
              </p:cNvPr>
              <p:cNvSpPr/>
              <p:nvPr/>
            </p:nvSpPr>
            <p:spPr>
              <a:xfrm>
                <a:off x="10150187" y="2037664"/>
                <a:ext cx="541401" cy="313846"/>
              </a:xfrm>
              <a:custGeom>
                <a:avLst/>
                <a:gdLst>
                  <a:gd name="connsiteX0" fmla="*/ 389162 w 541401"/>
                  <a:gd name="connsiteY0" fmla="*/ 208260 h 313846"/>
                  <a:gd name="connsiteX1" fmla="*/ 536983 w 541401"/>
                  <a:gd name="connsiteY1" fmla="*/ 313847 h 313846"/>
                  <a:gd name="connsiteX2" fmla="*/ 383129 w 541401"/>
                  <a:gd name="connsiteY2" fmla="*/ 21221 h 313846"/>
                  <a:gd name="connsiteX3" fmla="*/ 0 w 541401"/>
                  <a:gd name="connsiteY3" fmla="*/ 129824 h 313846"/>
                  <a:gd name="connsiteX4" fmla="*/ 389162 w 541401"/>
                  <a:gd name="connsiteY4" fmla="*/ 208260 h 31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1401" h="313846">
                    <a:moveTo>
                      <a:pt x="389162" y="208260"/>
                    </a:moveTo>
                    <a:cubicBezTo>
                      <a:pt x="425363" y="238428"/>
                      <a:pt x="497765" y="259545"/>
                      <a:pt x="536983" y="313847"/>
                    </a:cubicBezTo>
                    <a:cubicBezTo>
                      <a:pt x="536983" y="313847"/>
                      <a:pt x="582234" y="90607"/>
                      <a:pt x="383129" y="21221"/>
                    </a:cubicBezTo>
                    <a:cubicBezTo>
                      <a:pt x="220223" y="-36097"/>
                      <a:pt x="63352" y="30271"/>
                      <a:pt x="0" y="129824"/>
                    </a:cubicBezTo>
                    <a:cubicBezTo>
                      <a:pt x="0" y="129824"/>
                      <a:pt x="229274" y="75523"/>
                      <a:pt x="389162" y="20826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9" name="任意多边形: 形状 248">
                <a:extLst>
                  <a:ext uri="{FF2B5EF4-FFF2-40B4-BE49-F238E27FC236}">
                    <a16:creationId xmlns:a16="http://schemas.microsoft.com/office/drawing/2014/main" id="{42E5BE36-1855-43D2-8231-642A9E100A2B}"/>
                  </a:ext>
                </a:extLst>
              </p:cNvPr>
              <p:cNvSpPr/>
              <p:nvPr/>
            </p:nvSpPr>
            <p:spPr>
              <a:xfrm>
                <a:off x="10040864" y="2074806"/>
                <a:ext cx="513568" cy="216369"/>
              </a:xfrm>
              <a:custGeom>
                <a:avLst/>
                <a:gdLst>
                  <a:gd name="connsiteX0" fmla="*/ 513569 w 513568"/>
                  <a:gd name="connsiteY0" fmla="*/ 186202 h 216369"/>
                  <a:gd name="connsiteX1" fmla="*/ 296362 w 513568"/>
                  <a:gd name="connsiteY1" fmla="*/ 47431 h 216369"/>
                  <a:gd name="connsiteX2" fmla="*/ 3736 w 513568"/>
                  <a:gd name="connsiteY2" fmla="*/ 59498 h 216369"/>
                  <a:gd name="connsiteX3" fmla="*/ 106306 w 513568"/>
                  <a:gd name="connsiteY3" fmla="*/ 216369 h 216369"/>
                  <a:gd name="connsiteX4" fmla="*/ 513569 w 513568"/>
                  <a:gd name="connsiteY4" fmla="*/ 186202 h 216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3568" h="216369">
                    <a:moveTo>
                      <a:pt x="513569" y="186202"/>
                    </a:moveTo>
                    <a:cubicBezTo>
                      <a:pt x="513569" y="186202"/>
                      <a:pt x="438150" y="110783"/>
                      <a:pt x="296362" y="47431"/>
                    </a:cubicBezTo>
                    <a:cubicBezTo>
                      <a:pt x="148541" y="-21955"/>
                      <a:pt x="30887" y="-12904"/>
                      <a:pt x="3736" y="59498"/>
                    </a:cubicBezTo>
                    <a:cubicBezTo>
                      <a:pt x="-23414" y="131900"/>
                      <a:pt x="106306" y="216369"/>
                      <a:pt x="106306" y="216369"/>
                    </a:cubicBezTo>
                    <a:cubicBezTo>
                      <a:pt x="106306" y="216369"/>
                      <a:pt x="251111" y="77599"/>
                      <a:pt x="513569" y="186202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0" name="任意多边形: 形状 249">
                <a:extLst>
                  <a:ext uri="{FF2B5EF4-FFF2-40B4-BE49-F238E27FC236}">
                    <a16:creationId xmlns:a16="http://schemas.microsoft.com/office/drawing/2014/main" id="{3DAD04B0-C973-4557-8609-7CCEA889F1C8}"/>
                  </a:ext>
                </a:extLst>
              </p:cNvPr>
              <p:cNvSpPr/>
              <p:nvPr/>
            </p:nvSpPr>
            <p:spPr>
              <a:xfrm>
                <a:off x="10515215" y="2022684"/>
                <a:ext cx="57318" cy="54301"/>
              </a:xfrm>
              <a:custGeom>
                <a:avLst/>
                <a:gdLst>
                  <a:gd name="connsiteX0" fmla="*/ 57318 w 57318"/>
                  <a:gd name="connsiteY0" fmla="*/ 27151 h 54301"/>
                  <a:gd name="connsiteX1" fmla="*/ 27151 w 57318"/>
                  <a:gd name="connsiteY1" fmla="*/ 0 h 54301"/>
                  <a:gd name="connsiteX2" fmla="*/ 0 w 57318"/>
                  <a:gd name="connsiteY2" fmla="*/ 27151 h 54301"/>
                  <a:gd name="connsiteX3" fmla="*/ 30168 w 57318"/>
                  <a:gd name="connsiteY3" fmla="*/ 54302 h 54301"/>
                  <a:gd name="connsiteX4" fmla="*/ 57318 w 57318"/>
                  <a:gd name="connsiteY4" fmla="*/ 27151 h 54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318" h="54301">
                    <a:moveTo>
                      <a:pt x="57318" y="27151"/>
                    </a:moveTo>
                    <a:cubicBezTo>
                      <a:pt x="57318" y="12067"/>
                      <a:pt x="45251" y="0"/>
                      <a:pt x="27151" y="0"/>
                    </a:cubicBezTo>
                    <a:cubicBezTo>
                      <a:pt x="12067" y="0"/>
                      <a:pt x="0" y="12067"/>
                      <a:pt x="0" y="27151"/>
                    </a:cubicBezTo>
                    <a:cubicBezTo>
                      <a:pt x="0" y="42235"/>
                      <a:pt x="12067" y="54302"/>
                      <a:pt x="30168" y="54302"/>
                    </a:cubicBezTo>
                    <a:cubicBezTo>
                      <a:pt x="45251" y="54302"/>
                      <a:pt x="57318" y="42235"/>
                      <a:pt x="57318" y="2715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51" name="任意多边形: 形状 250">
              <a:extLst>
                <a:ext uri="{FF2B5EF4-FFF2-40B4-BE49-F238E27FC236}">
                  <a16:creationId xmlns:a16="http://schemas.microsoft.com/office/drawing/2014/main" id="{D01E1810-0E06-4458-A0A3-C7EEED595D0E}"/>
                </a:ext>
              </a:extLst>
            </p:cNvPr>
            <p:cNvSpPr/>
            <p:nvPr/>
          </p:nvSpPr>
          <p:spPr>
            <a:xfrm>
              <a:off x="10030945" y="2065130"/>
              <a:ext cx="525750" cy="201911"/>
            </a:xfrm>
            <a:custGeom>
              <a:avLst/>
              <a:gdLst>
                <a:gd name="connsiteX0" fmla="*/ 523488 w 525750"/>
                <a:gd name="connsiteY0" fmla="*/ 201911 h 201911"/>
                <a:gd name="connsiteX1" fmla="*/ 517455 w 525750"/>
                <a:gd name="connsiteY1" fmla="*/ 198894 h 201911"/>
                <a:gd name="connsiteX2" fmla="*/ 191644 w 525750"/>
                <a:gd name="connsiteY2" fmla="*/ 17889 h 201911"/>
                <a:gd name="connsiteX3" fmla="*/ 16673 w 525750"/>
                <a:gd name="connsiteY3" fmla="*/ 72190 h 201911"/>
                <a:gd name="connsiteX4" fmla="*/ 70974 w 525750"/>
                <a:gd name="connsiteY4" fmla="*/ 183811 h 201911"/>
                <a:gd name="connsiteX5" fmla="*/ 70974 w 525750"/>
                <a:gd name="connsiteY5" fmla="*/ 192861 h 201911"/>
                <a:gd name="connsiteX6" fmla="*/ 61924 w 525750"/>
                <a:gd name="connsiteY6" fmla="*/ 192861 h 201911"/>
                <a:gd name="connsiteX7" fmla="*/ 4605 w 525750"/>
                <a:gd name="connsiteY7" fmla="*/ 66157 h 201911"/>
                <a:gd name="connsiteX8" fmla="*/ 191644 w 525750"/>
                <a:gd name="connsiteY8" fmla="*/ 5822 h 201911"/>
                <a:gd name="connsiteX9" fmla="*/ 523488 w 525750"/>
                <a:gd name="connsiteY9" fmla="*/ 192861 h 201911"/>
                <a:gd name="connsiteX10" fmla="*/ 523488 w 525750"/>
                <a:gd name="connsiteY10" fmla="*/ 201911 h 201911"/>
                <a:gd name="connsiteX11" fmla="*/ 523488 w 525750"/>
                <a:gd name="connsiteY11" fmla="*/ 201911 h 201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5750" h="201911">
                  <a:moveTo>
                    <a:pt x="523488" y="201911"/>
                  </a:moveTo>
                  <a:cubicBezTo>
                    <a:pt x="520471" y="201911"/>
                    <a:pt x="520471" y="201911"/>
                    <a:pt x="517455" y="198894"/>
                  </a:cubicBezTo>
                  <a:cubicBezTo>
                    <a:pt x="411868" y="66157"/>
                    <a:pt x="282147" y="29956"/>
                    <a:pt x="191644" y="17889"/>
                  </a:cubicBezTo>
                  <a:cubicBezTo>
                    <a:pt x="149410" y="11855"/>
                    <a:pt x="43823" y="2805"/>
                    <a:pt x="16673" y="72190"/>
                  </a:cubicBezTo>
                  <a:cubicBezTo>
                    <a:pt x="-4445" y="129509"/>
                    <a:pt x="67957" y="183811"/>
                    <a:pt x="70974" y="183811"/>
                  </a:cubicBezTo>
                  <a:cubicBezTo>
                    <a:pt x="73991" y="186827"/>
                    <a:pt x="73991" y="189844"/>
                    <a:pt x="70974" y="192861"/>
                  </a:cubicBezTo>
                  <a:cubicBezTo>
                    <a:pt x="67957" y="195878"/>
                    <a:pt x="64940" y="195878"/>
                    <a:pt x="61924" y="192861"/>
                  </a:cubicBezTo>
                  <a:cubicBezTo>
                    <a:pt x="58907" y="189844"/>
                    <a:pt x="-19529" y="132526"/>
                    <a:pt x="4605" y="66157"/>
                  </a:cubicBezTo>
                  <a:cubicBezTo>
                    <a:pt x="34773" y="-12279"/>
                    <a:pt x="146393" y="-3229"/>
                    <a:pt x="191644" y="5822"/>
                  </a:cubicBezTo>
                  <a:cubicBezTo>
                    <a:pt x="282147" y="20906"/>
                    <a:pt x="414884" y="57107"/>
                    <a:pt x="523488" y="192861"/>
                  </a:cubicBezTo>
                  <a:cubicBezTo>
                    <a:pt x="526505" y="195878"/>
                    <a:pt x="526505" y="198894"/>
                    <a:pt x="523488" y="201911"/>
                  </a:cubicBezTo>
                  <a:cubicBezTo>
                    <a:pt x="526505" y="201911"/>
                    <a:pt x="526505" y="201911"/>
                    <a:pt x="523488" y="201911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2" name="任意多边形: 形状 251">
              <a:extLst>
                <a:ext uri="{FF2B5EF4-FFF2-40B4-BE49-F238E27FC236}">
                  <a16:creationId xmlns:a16="http://schemas.microsoft.com/office/drawing/2014/main" id="{41A6EB9C-041D-4A9E-B70B-B3FAA8785975}"/>
                </a:ext>
              </a:extLst>
            </p:cNvPr>
            <p:cNvSpPr/>
            <p:nvPr/>
          </p:nvSpPr>
          <p:spPr>
            <a:xfrm>
              <a:off x="9522701" y="3090617"/>
              <a:ext cx="129841" cy="136377"/>
            </a:xfrm>
            <a:custGeom>
              <a:avLst/>
              <a:gdLst>
                <a:gd name="connsiteX0" fmla="*/ 0 w 129841"/>
                <a:gd name="connsiteY0" fmla="*/ 33184 h 136377"/>
                <a:gd name="connsiteX1" fmla="*/ 27151 w 129841"/>
                <a:gd name="connsiteY1" fmla="*/ 42235 h 136377"/>
                <a:gd name="connsiteX2" fmla="*/ 72403 w 129841"/>
                <a:gd name="connsiteY2" fmla="*/ 78436 h 136377"/>
                <a:gd name="connsiteX3" fmla="*/ 78436 w 129841"/>
                <a:gd name="connsiteY3" fmla="*/ 135754 h 136377"/>
                <a:gd name="connsiteX4" fmla="*/ 129721 w 129841"/>
                <a:gd name="connsiteY4" fmla="*/ 81453 h 136377"/>
                <a:gd name="connsiteX5" fmla="*/ 69386 w 129841"/>
                <a:gd name="connsiteY5" fmla="*/ 0 h 136377"/>
                <a:gd name="connsiteX6" fmla="*/ 0 w 129841"/>
                <a:gd name="connsiteY6" fmla="*/ 33184 h 136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841" h="136377">
                  <a:moveTo>
                    <a:pt x="0" y="33184"/>
                  </a:moveTo>
                  <a:cubicBezTo>
                    <a:pt x="0" y="42235"/>
                    <a:pt x="18101" y="39218"/>
                    <a:pt x="27151" y="42235"/>
                  </a:cubicBezTo>
                  <a:cubicBezTo>
                    <a:pt x="48268" y="48268"/>
                    <a:pt x="63352" y="57318"/>
                    <a:pt x="72403" y="78436"/>
                  </a:cubicBezTo>
                  <a:cubicBezTo>
                    <a:pt x="78436" y="90503"/>
                    <a:pt x="78436" y="123687"/>
                    <a:pt x="78436" y="135754"/>
                  </a:cubicBezTo>
                  <a:cubicBezTo>
                    <a:pt x="78436" y="141788"/>
                    <a:pt x="132738" y="102570"/>
                    <a:pt x="129721" y="81453"/>
                  </a:cubicBezTo>
                  <a:cubicBezTo>
                    <a:pt x="126704" y="54302"/>
                    <a:pt x="99553" y="9050"/>
                    <a:pt x="69386" y="0"/>
                  </a:cubicBezTo>
                  <a:cubicBezTo>
                    <a:pt x="54302" y="0"/>
                    <a:pt x="0" y="12067"/>
                    <a:pt x="0" y="33184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3" name="任意多边形: 形状 252">
              <a:extLst>
                <a:ext uri="{FF2B5EF4-FFF2-40B4-BE49-F238E27FC236}">
                  <a16:creationId xmlns:a16="http://schemas.microsoft.com/office/drawing/2014/main" id="{3709AA6C-5413-41EF-9BA6-C73E530345DD}"/>
                </a:ext>
              </a:extLst>
            </p:cNvPr>
            <p:cNvSpPr/>
            <p:nvPr/>
          </p:nvSpPr>
          <p:spPr>
            <a:xfrm>
              <a:off x="9514686" y="3089243"/>
              <a:ext cx="143769" cy="128077"/>
            </a:xfrm>
            <a:custGeom>
              <a:avLst/>
              <a:gdLst>
                <a:gd name="connsiteX0" fmla="*/ 59300 w 143769"/>
                <a:gd name="connsiteY0" fmla="*/ 128078 h 128077"/>
                <a:gd name="connsiteX1" fmla="*/ 53267 w 143769"/>
                <a:gd name="connsiteY1" fmla="*/ 122044 h 128077"/>
                <a:gd name="connsiteX2" fmla="*/ 71367 w 143769"/>
                <a:gd name="connsiteY2" fmla="*/ 79809 h 128077"/>
                <a:gd name="connsiteX3" fmla="*/ 26116 w 143769"/>
                <a:gd name="connsiteY3" fmla="*/ 52659 h 128077"/>
                <a:gd name="connsiteX4" fmla="*/ 1982 w 143769"/>
                <a:gd name="connsiteY4" fmla="*/ 40591 h 128077"/>
                <a:gd name="connsiteX5" fmla="*/ 4999 w 143769"/>
                <a:gd name="connsiteY5" fmla="*/ 22491 h 128077"/>
                <a:gd name="connsiteX6" fmla="*/ 77401 w 143769"/>
                <a:gd name="connsiteY6" fmla="*/ 1374 h 128077"/>
                <a:gd name="connsiteX7" fmla="*/ 143769 w 143769"/>
                <a:gd name="connsiteY7" fmla="*/ 85843 h 128077"/>
                <a:gd name="connsiteX8" fmla="*/ 140753 w 143769"/>
                <a:gd name="connsiteY8" fmla="*/ 91876 h 128077"/>
                <a:gd name="connsiteX9" fmla="*/ 134719 w 143769"/>
                <a:gd name="connsiteY9" fmla="*/ 88860 h 128077"/>
                <a:gd name="connsiteX10" fmla="*/ 80418 w 143769"/>
                <a:gd name="connsiteY10" fmla="*/ 13441 h 128077"/>
                <a:gd name="connsiteX11" fmla="*/ 20082 w 143769"/>
                <a:gd name="connsiteY11" fmla="*/ 31541 h 128077"/>
                <a:gd name="connsiteX12" fmla="*/ 20082 w 143769"/>
                <a:gd name="connsiteY12" fmla="*/ 37575 h 128077"/>
                <a:gd name="connsiteX13" fmla="*/ 38183 w 143769"/>
                <a:gd name="connsiteY13" fmla="*/ 43608 h 128077"/>
                <a:gd name="connsiteX14" fmla="*/ 92484 w 143769"/>
                <a:gd name="connsiteY14" fmla="*/ 82826 h 128077"/>
                <a:gd name="connsiteX15" fmla="*/ 92484 w 143769"/>
                <a:gd name="connsiteY15" fmla="*/ 88860 h 128077"/>
                <a:gd name="connsiteX16" fmla="*/ 77401 w 143769"/>
                <a:gd name="connsiteY16" fmla="*/ 125061 h 128077"/>
                <a:gd name="connsiteX17" fmla="*/ 59300 w 143769"/>
                <a:gd name="connsiteY17" fmla="*/ 128078 h 128077"/>
                <a:gd name="connsiteX18" fmla="*/ 59300 w 143769"/>
                <a:gd name="connsiteY18" fmla="*/ 128078 h 128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3769" h="128077">
                  <a:moveTo>
                    <a:pt x="59300" y="128078"/>
                  </a:moveTo>
                  <a:cubicBezTo>
                    <a:pt x="56283" y="128078"/>
                    <a:pt x="53267" y="125061"/>
                    <a:pt x="53267" y="122044"/>
                  </a:cubicBezTo>
                  <a:cubicBezTo>
                    <a:pt x="50250" y="103944"/>
                    <a:pt x="65334" y="85843"/>
                    <a:pt x="71367" y="79809"/>
                  </a:cubicBezTo>
                  <a:cubicBezTo>
                    <a:pt x="62317" y="58692"/>
                    <a:pt x="41200" y="55675"/>
                    <a:pt x="26116" y="52659"/>
                  </a:cubicBezTo>
                  <a:cubicBezTo>
                    <a:pt x="14049" y="49642"/>
                    <a:pt x="4999" y="46625"/>
                    <a:pt x="1982" y="40591"/>
                  </a:cubicBezTo>
                  <a:cubicBezTo>
                    <a:pt x="-1035" y="34558"/>
                    <a:pt x="-1035" y="28525"/>
                    <a:pt x="4999" y="22491"/>
                  </a:cubicBezTo>
                  <a:cubicBezTo>
                    <a:pt x="14049" y="10424"/>
                    <a:pt x="44216" y="-4660"/>
                    <a:pt x="77401" y="1374"/>
                  </a:cubicBezTo>
                  <a:cubicBezTo>
                    <a:pt x="122652" y="4390"/>
                    <a:pt x="140753" y="82826"/>
                    <a:pt x="143769" y="85843"/>
                  </a:cubicBezTo>
                  <a:cubicBezTo>
                    <a:pt x="143769" y="88860"/>
                    <a:pt x="143769" y="91876"/>
                    <a:pt x="140753" y="91876"/>
                  </a:cubicBezTo>
                  <a:cubicBezTo>
                    <a:pt x="137736" y="91876"/>
                    <a:pt x="134719" y="91876"/>
                    <a:pt x="134719" y="88860"/>
                  </a:cubicBezTo>
                  <a:cubicBezTo>
                    <a:pt x="134719" y="88860"/>
                    <a:pt x="116619" y="16457"/>
                    <a:pt x="80418" y="13441"/>
                  </a:cubicBezTo>
                  <a:cubicBezTo>
                    <a:pt x="50250" y="10424"/>
                    <a:pt x="26116" y="22491"/>
                    <a:pt x="20082" y="31541"/>
                  </a:cubicBezTo>
                  <a:cubicBezTo>
                    <a:pt x="17065" y="34558"/>
                    <a:pt x="17065" y="37575"/>
                    <a:pt x="20082" y="37575"/>
                  </a:cubicBezTo>
                  <a:cubicBezTo>
                    <a:pt x="20082" y="40591"/>
                    <a:pt x="29132" y="43608"/>
                    <a:pt x="38183" y="43608"/>
                  </a:cubicBezTo>
                  <a:cubicBezTo>
                    <a:pt x="56283" y="46625"/>
                    <a:pt x="80418" y="52659"/>
                    <a:pt x="92484" y="82826"/>
                  </a:cubicBezTo>
                  <a:cubicBezTo>
                    <a:pt x="92484" y="85843"/>
                    <a:pt x="92484" y="88860"/>
                    <a:pt x="92484" y="88860"/>
                  </a:cubicBezTo>
                  <a:cubicBezTo>
                    <a:pt x="86451" y="94893"/>
                    <a:pt x="74384" y="109977"/>
                    <a:pt x="77401" y="125061"/>
                  </a:cubicBezTo>
                  <a:cubicBezTo>
                    <a:pt x="68350" y="125061"/>
                    <a:pt x="65334" y="128078"/>
                    <a:pt x="59300" y="128078"/>
                  </a:cubicBezTo>
                  <a:cubicBezTo>
                    <a:pt x="62317" y="128078"/>
                    <a:pt x="62317" y="128078"/>
                    <a:pt x="59300" y="128078"/>
                  </a:cubicBezTo>
                  <a:close/>
                </a:path>
              </a:pathLst>
            </a:custGeom>
            <a:solidFill>
              <a:srgbClr val="E58777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54" name="图形 1">
              <a:extLst>
                <a:ext uri="{FF2B5EF4-FFF2-40B4-BE49-F238E27FC236}">
                  <a16:creationId xmlns:a16="http://schemas.microsoft.com/office/drawing/2014/main" id="{3F609A6D-6021-4C2A-A5BF-9D8A30C0C72C}"/>
                </a:ext>
              </a:extLst>
            </p:cNvPr>
            <p:cNvGrpSpPr/>
            <p:nvPr/>
          </p:nvGrpSpPr>
          <p:grpSpPr>
            <a:xfrm>
              <a:off x="10475382" y="3825456"/>
              <a:ext cx="234143" cy="278791"/>
              <a:chOff x="10475382" y="3825456"/>
              <a:chExt cx="234143" cy="278791"/>
            </a:xfrm>
          </p:grpSpPr>
          <p:sp>
            <p:nvSpPr>
              <p:cNvPr id="255" name="任意多边形: 形状 254">
                <a:extLst>
                  <a:ext uri="{FF2B5EF4-FFF2-40B4-BE49-F238E27FC236}">
                    <a16:creationId xmlns:a16="http://schemas.microsoft.com/office/drawing/2014/main" id="{ADEF08A1-ACB0-4F43-8CB7-6E026789F8CA}"/>
                  </a:ext>
                </a:extLst>
              </p:cNvPr>
              <p:cNvSpPr/>
              <p:nvPr/>
            </p:nvSpPr>
            <p:spPr>
              <a:xfrm>
                <a:off x="10481276" y="3825456"/>
                <a:ext cx="228249" cy="270013"/>
              </a:xfrm>
              <a:custGeom>
                <a:avLst/>
                <a:gdLst>
                  <a:gd name="connsiteX0" fmla="*/ 154609 w 228249"/>
                  <a:gd name="connsiteY0" fmla="*/ 4267 h 270013"/>
                  <a:gd name="connsiteX1" fmla="*/ 145558 w 228249"/>
                  <a:gd name="connsiteY1" fmla="*/ 1250 h 270013"/>
                  <a:gd name="connsiteX2" fmla="*/ 27905 w 228249"/>
                  <a:gd name="connsiteY2" fmla="*/ 79686 h 270013"/>
                  <a:gd name="connsiteX3" fmla="*/ 3771 w 228249"/>
                  <a:gd name="connsiteY3" fmla="*/ 170188 h 270013"/>
                  <a:gd name="connsiteX4" fmla="*/ 9804 w 228249"/>
                  <a:gd name="connsiteY4" fmla="*/ 206389 h 270013"/>
                  <a:gd name="connsiteX5" fmla="*/ 18855 w 228249"/>
                  <a:gd name="connsiteY5" fmla="*/ 206389 h 270013"/>
                  <a:gd name="connsiteX6" fmla="*/ 30922 w 228249"/>
                  <a:gd name="connsiteY6" fmla="*/ 194322 h 270013"/>
                  <a:gd name="connsiteX7" fmla="*/ 30922 w 228249"/>
                  <a:gd name="connsiteY7" fmla="*/ 236557 h 270013"/>
                  <a:gd name="connsiteX8" fmla="*/ 46006 w 228249"/>
                  <a:gd name="connsiteY8" fmla="*/ 266725 h 270013"/>
                  <a:gd name="connsiteX9" fmla="*/ 70139 w 228249"/>
                  <a:gd name="connsiteY9" fmla="*/ 263708 h 270013"/>
                  <a:gd name="connsiteX10" fmla="*/ 70139 w 228249"/>
                  <a:gd name="connsiteY10" fmla="*/ 263708 h 270013"/>
                  <a:gd name="connsiteX11" fmla="*/ 79190 w 228249"/>
                  <a:gd name="connsiteY11" fmla="*/ 269741 h 270013"/>
                  <a:gd name="connsiteX12" fmla="*/ 118408 w 228249"/>
                  <a:gd name="connsiteY12" fmla="*/ 215440 h 270013"/>
                  <a:gd name="connsiteX13" fmla="*/ 133492 w 228249"/>
                  <a:gd name="connsiteY13" fmla="*/ 230523 h 270013"/>
                  <a:gd name="connsiteX14" fmla="*/ 145558 w 228249"/>
                  <a:gd name="connsiteY14" fmla="*/ 227507 h 270013"/>
                  <a:gd name="connsiteX15" fmla="*/ 178743 w 228249"/>
                  <a:gd name="connsiteY15" fmla="*/ 133987 h 270013"/>
                  <a:gd name="connsiteX16" fmla="*/ 227011 w 228249"/>
                  <a:gd name="connsiteY16" fmla="*/ 82702 h 270013"/>
                  <a:gd name="connsiteX17" fmla="*/ 154609 w 228249"/>
                  <a:gd name="connsiteY17" fmla="*/ 4267 h 270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249" h="270013">
                    <a:moveTo>
                      <a:pt x="154609" y="4267"/>
                    </a:moveTo>
                    <a:cubicBezTo>
                      <a:pt x="151592" y="1250"/>
                      <a:pt x="148575" y="-1767"/>
                      <a:pt x="145558" y="1250"/>
                    </a:cubicBezTo>
                    <a:cubicBezTo>
                      <a:pt x="106341" y="19350"/>
                      <a:pt x="46006" y="37451"/>
                      <a:pt x="27905" y="79686"/>
                    </a:cubicBezTo>
                    <a:cubicBezTo>
                      <a:pt x="15838" y="106836"/>
                      <a:pt x="9804" y="140021"/>
                      <a:pt x="3771" y="170188"/>
                    </a:cubicBezTo>
                    <a:cubicBezTo>
                      <a:pt x="754" y="185272"/>
                      <a:pt x="-5280" y="197339"/>
                      <a:pt x="9804" y="206389"/>
                    </a:cubicBezTo>
                    <a:cubicBezTo>
                      <a:pt x="12821" y="209406"/>
                      <a:pt x="15838" y="209406"/>
                      <a:pt x="18855" y="206389"/>
                    </a:cubicBezTo>
                    <a:cubicBezTo>
                      <a:pt x="21872" y="203373"/>
                      <a:pt x="27905" y="200356"/>
                      <a:pt x="30922" y="194322"/>
                    </a:cubicBezTo>
                    <a:cubicBezTo>
                      <a:pt x="30922" y="209406"/>
                      <a:pt x="30922" y="221473"/>
                      <a:pt x="30922" y="236557"/>
                    </a:cubicBezTo>
                    <a:cubicBezTo>
                      <a:pt x="30922" y="248624"/>
                      <a:pt x="30922" y="263708"/>
                      <a:pt x="46006" y="266725"/>
                    </a:cubicBezTo>
                    <a:cubicBezTo>
                      <a:pt x="55056" y="272758"/>
                      <a:pt x="64106" y="269741"/>
                      <a:pt x="70139" y="263708"/>
                    </a:cubicBezTo>
                    <a:cubicBezTo>
                      <a:pt x="70139" y="263708"/>
                      <a:pt x="70139" y="263708"/>
                      <a:pt x="70139" y="263708"/>
                    </a:cubicBezTo>
                    <a:cubicBezTo>
                      <a:pt x="73156" y="266725"/>
                      <a:pt x="73156" y="269741"/>
                      <a:pt x="79190" y="269741"/>
                    </a:cubicBezTo>
                    <a:cubicBezTo>
                      <a:pt x="103324" y="272758"/>
                      <a:pt x="112375" y="242590"/>
                      <a:pt x="118408" y="215440"/>
                    </a:cubicBezTo>
                    <a:cubicBezTo>
                      <a:pt x="121425" y="221473"/>
                      <a:pt x="127459" y="224490"/>
                      <a:pt x="133492" y="230523"/>
                    </a:cubicBezTo>
                    <a:cubicBezTo>
                      <a:pt x="136509" y="233540"/>
                      <a:pt x="142542" y="230523"/>
                      <a:pt x="145558" y="227507"/>
                    </a:cubicBezTo>
                    <a:cubicBezTo>
                      <a:pt x="163659" y="200356"/>
                      <a:pt x="157626" y="161138"/>
                      <a:pt x="178743" y="133987"/>
                    </a:cubicBezTo>
                    <a:cubicBezTo>
                      <a:pt x="193827" y="115887"/>
                      <a:pt x="217961" y="106836"/>
                      <a:pt x="227011" y="82702"/>
                    </a:cubicBezTo>
                    <a:cubicBezTo>
                      <a:pt x="236061" y="40468"/>
                      <a:pt x="193827" y="10300"/>
                      <a:pt x="154609" y="426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6" name="任意多边形: 形状 255">
                <a:extLst>
                  <a:ext uri="{FF2B5EF4-FFF2-40B4-BE49-F238E27FC236}">
                    <a16:creationId xmlns:a16="http://schemas.microsoft.com/office/drawing/2014/main" id="{4497F52D-D57A-4AA2-B0E8-2EECB127142F}"/>
                  </a:ext>
                </a:extLst>
              </p:cNvPr>
              <p:cNvSpPr/>
              <p:nvPr/>
            </p:nvSpPr>
            <p:spPr>
              <a:xfrm>
                <a:off x="10475382" y="3896092"/>
                <a:ext cx="45866" cy="144804"/>
              </a:xfrm>
              <a:custGeom>
                <a:avLst/>
                <a:gdLst>
                  <a:gd name="connsiteX0" fmla="*/ 15699 w 45866"/>
                  <a:gd name="connsiteY0" fmla="*/ 144805 h 144804"/>
                  <a:gd name="connsiteX1" fmla="*/ 15699 w 45866"/>
                  <a:gd name="connsiteY1" fmla="*/ 144805 h 144804"/>
                  <a:gd name="connsiteX2" fmla="*/ 3632 w 45866"/>
                  <a:gd name="connsiteY2" fmla="*/ 138771 h 144804"/>
                  <a:gd name="connsiteX3" fmla="*/ 33799 w 45866"/>
                  <a:gd name="connsiteY3" fmla="*/ 3017 h 144804"/>
                  <a:gd name="connsiteX4" fmla="*/ 42850 w 45866"/>
                  <a:gd name="connsiteY4" fmla="*/ 0 h 144804"/>
                  <a:gd name="connsiteX5" fmla="*/ 45866 w 45866"/>
                  <a:gd name="connsiteY5" fmla="*/ 9050 h 144804"/>
                  <a:gd name="connsiteX6" fmla="*/ 15699 w 45866"/>
                  <a:gd name="connsiteY6" fmla="*/ 135754 h 144804"/>
                  <a:gd name="connsiteX7" fmla="*/ 18716 w 45866"/>
                  <a:gd name="connsiteY7" fmla="*/ 138771 h 144804"/>
                  <a:gd name="connsiteX8" fmla="*/ 33799 w 45866"/>
                  <a:gd name="connsiteY8" fmla="*/ 129721 h 144804"/>
                  <a:gd name="connsiteX9" fmla="*/ 42850 w 45866"/>
                  <a:gd name="connsiteY9" fmla="*/ 129721 h 144804"/>
                  <a:gd name="connsiteX10" fmla="*/ 42850 w 45866"/>
                  <a:gd name="connsiteY10" fmla="*/ 138771 h 144804"/>
                  <a:gd name="connsiteX11" fmla="*/ 15699 w 45866"/>
                  <a:gd name="connsiteY11" fmla="*/ 144805 h 144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5866" h="144804">
                    <a:moveTo>
                      <a:pt x="15699" y="144805"/>
                    </a:moveTo>
                    <a:cubicBezTo>
                      <a:pt x="12683" y="144805"/>
                      <a:pt x="12683" y="144805"/>
                      <a:pt x="15699" y="144805"/>
                    </a:cubicBezTo>
                    <a:cubicBezTo>
                      <a:pt x="9666" y="144805"/>
                      <a:pt x="6649" y="141788"/>
                      <a:pt x="3632" y="138771"/>
                    </a:cubicBezTo>
                    <a:cubicBezTo>
                      <a:pt x="-11452" y="114637"/>
                      <a:pt x="24749" y="21117"/>
                      <a:pt x="33799" y="3017"/>
                    </a:cubicBezTo>
                    <a:cubicBezTo>
                      <a:pt x="33799" y="0"/>
                      <a:pt x="39833" y="0"/>
                      <a:pt x="42850" y="0"/>
                    </a:cubicBezTo>
                    <a:cubicBezTo>
                      <a:pt x="45866" y="0"/>
                      <a:pt x="45866" y="6033"/>
                      <a:pt x="45866" y="9050"/>
                    </a:cubicBezTo>
                    <a:cubicBezTo>
                      <a:pt x="30782" y="48268"/>
                      <a:pt x="6649" y="117654"/>
                      <a:pt x="15699" y="135754"/>
                    </a:cubicBezTo>
                    <a:cubicBezTo>
                      <a:pt x="15699" y="135754"/>
                      <a:pt x="15699" y="138771"/>
                      <a:pt x="18716" y="138771"/>
                    </a:cubicBezTo>
                    <a:cubicBezTo>
                      <a:pt x="24749" y="138771"/>
                      <a:pt x="33799" y="132737"/>
                      <a:pt x="33799" y="129721"/>
                    </a:cubicBezTo>
                    <a:cubicBezTo>
                      <a:pt x="36816" y="126704"/>
                      <a:pt x="39833" y="126704"/>
                      <a:pt x="42850" y="129721"/>
                    </a:cubicBezTo>
                    <a:cubicBezTo>
                      <a:pt x="45866" y="132737"/>
                      <a:pt x="45866" y="135754"/>
                      <a:pt x="42850" y="138771"/>
                    </a:cubicBezTo>
                    <a:cubicBezTo>
                      <a:pt x="36816" y="132737"/>
                      <a:pt x="27766" y="144805"/>
                      <a:pt x="15699" y="14480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7" name="任意多边形: 形状 256">
                <a:extLst>
                  <a:ext uri="{FF2B5EF4-FFF2-40B4-BE49-F238E27FC236}">
                    <a16:creationId xmlns:a16="http://schemas.microsoft.com/office/drawing/2014/main" id="{418793A6-126E-4F2A-98D9-0CE3930BDD07}"/>
                  </a:ext>
                </a:extLst>
              </p:cNvPr>
              <p:cNvSpPr/>
              <p:nvPr/>
            </p:nvSpPr>
            <p:spPr>
              <a:xfrm>
                <a:off x="10506164" y="3937077"/>
                <a:ext cx="60335" cy="167171"/>
              </a:xfrm>
              <a:custGeom>
                <a:avLst/>
                <a:gdLst>
                  <a:gd name="connsiteX0" fmla="*/ 27152 w 60335"/>
                  <a:gd name="connsiteY0" fmla="*/ 167171 h 167171"/>
                  <a:gd name="connsiteX1" fmla="*/ 15084 w 60335"/>
                  <a:gd name="connsiteY1" fmla="*/ 164155 h 167171"/>
                  <a:gd name="connsiteX2" fmla="*/ 0 w 60335"/>
                  <a:gd name="connsiteY2" fmla="*/ 115886 h 167171"/>
                  <a:gd name="connsiteX3" fmla="*/ 0 w 60335"/>
                  <a:gd name="connsiteY3" fmla="*/ 112870 h 167171"/>
                  <a:gd name="connsiteX4" fmla="*/ 18101 w 60335"/>
                  <a:gd name="connsiteY4" fmla="*/ 4266 h 167171"/>
                  <a:gd name="connsiteX5" fmla="*/ 24135 w 60335"/>
                  <a:gd name="connsiteY5" fmla="*/ 1250 h 167171"/>
                  <a:gd name="connsiteX6" fmla="*/ 27152 w 60335"/>
                  <a:gd name="connsiteY6" fmla="*/ 7283 h 167171"/>
                  <a:gd name="connsiteX7" fmla="*/ 9051 w 60335"/>
                  <a:gd name="connsiteY7" fmla="*/ 109853 h 167171"/>
                  <a:gd name="connsiteX8" fmla="*/ 9051 w 60335"/>
                  <a:gd name="connsiteY8" fmla="*/ 112870 h 167171"/>
                  <a:gd name="connsiteX9" fmla="*/ 21118 w 60335"/>
                  <a:gd name="connsiteY9" fmla="*/ 152088 h 167171"/>
                  <a:gd name="connsiteX10" fmla="*/ 36201 w 60335"/>
                  <a:gd name="connsiteY10" fmla="*/ 152088 h 167171"/>
                  <a:gd name="connsiteX11" fmla="*/ 48268 w 60335"/>
                  <a:gd name="connsiteY11" fmla="*/ 25384 h 167171"/>
                  <a:gd name="connsiteX12" fmla="*/ 57319 w 60335"/>
                  <a:gd name="connsiteY12" fmla="*/ 22367 h 167171"/>
                  <a:gd name="connsiteX13" fmla="*/ 60335 w 60335"/>
                  <a:gd name="connsiteY13" fmla="*/ 31417 h 167171"/>
                  <a:gd name="connsiteX14" fmla="*/ 48268 w 60335"/>
                  <a:gd name="connsiteY14" fmla="*/ 155104 h 167171"/>
                  <a:gd name="connsiteX15" fmla="*/ 45251 w 60335"/>
                  <a:gd name="connsiteY15" fmla="*/ 161138 h 167171"/>
                  <a:gd name="connsiteX16" fmla="*/ 27152 w 60335"/>
                  <a:gd name="connsiteY16" fmla="*/ 167171 h 167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0335" h="167171">
                    <a:moveTo>
                      <a:pt x="27152" y="167171"/>
                    </a:moveTo>
                    <a:cubicBezTo>
                      <a:pt x="21118" y="167171"/>
                      <a:pt x="18101" y="167171"/>
                      <a:pt x="15084" y="164155"/>
                    </a:cubicBezTo>
                    <a:cubicBezTo>
                      <a:pt x="0" y="155104"/>
                      <a:pt x="0" y="133987"/>
                      <a:pt x="0" y="115886"/>
                    </a:cubicBezTo>
                    <a:lnTo>
                      <a:pt x="0" y="112870"/>
                    </a:lnTo>
                    <a:cubicBezTo>
                      <a:pt x="0" y="88736"/>
                      <a:pt x="18101" y="7283"/>
                      <a:pt x="18101" y="4266"/>
                    </a:cubicBezTo>
                    <a:cubicBezTo>
                      <a:pt x="18101" y="1250"/>
                      <a:pt x="21118" y="-1767"/>
                      <a:pt x="24135" y="1250"/>
                    </a:cubicBezTo>
                    <a:cubicBezTo>
                      <a:pt x="27152" y="1250"/>
                      <a:pt x="30168" y="4266"/>
                      <a:pt x="27152" y="7283"/>
                    </a:cubicBezTo>
                    <a:cubicBezTo>
                      <a:pt x="27152" y="7283"/>
                      <a:pt x="6034" y="88736"/>
                      <a:pt x="9051" y="109853"/>
                    </a:cubicBezTo>
                    <a:lnTo>
                      <a:pt x="9051" y="112870"/>
                    </a:lnTo>
                    <a:cubicBezTo>
                      <a:pt x="9051" y="127953"/>
                      <a:pt x="12068" y="146054"/>
                      <a:pt x="21118" y="152088"/>
                    </a:cubicBezTo>
                    <a:cubicBezTo>
                      <a:pt x="24135" y="155104"/>
                      <a:pt x="30168" y="155104"/>
                      <a:pt x="36201" y="152088"/>
                    </a:cubicBezTo>
                    <a:cubicBezTo>
                      <a:pt x="36201" y="133987"/>
                      <a:pt x="33185" y="55551"/>
                      <a:pt x="48268" y="25384"/>
                    </a:cubicBezTo>
                    <a:cubicBezTo>
                      <a:pt x="48268" y="22367"/>
                      <a:pt x="54302" y="22367"/>
                      <a:pt x="57319" y="22367"/>
                    </a:cubicBezTo>
                    <a:cubicBezTo>
                      <a:pt x="60335" y="22367"/>
                      <a:pt x="60335" y="28400"/>
                      <a:pt x="60335" y="31417"/>
                    </a:cubicBezTo>
                    <a:cubicBezTo>
                      <a:pt x="45251" y="61585"/>
                      <a:pt x="48268" y="155104"/>
                      <a:pt x="48268" y="155104"/>
                    </a:cubicBezTo>
                    <a:cubicBezTo>
                      <a:pt x="48268" y="158121"/>
                      <a:pt x="48268" y="161138"/>
                      <a:pt x="45251" y="161138"/>
                    </a:cubicBezTo>
                    <a:cubicBezTo>
                      <a:pt x="36201" y="164155"/>
                      <a:pt x="33185" y="167171"/>
                      <a:pt x="27152" y="16717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8" name="任意多边形: 形状 257">
                <a:extLst>
                  <a:ext uri="{FF2B5EF4-FFF2-40B4-BE49-F238E27FC236}">
                    <a16:creationId xmlns:a16="http://schemas.microsoft.com/office/drawing/2014/main" id="{E3F490F4-C64D-4CB6-BA41-F29A5349D7D9}"/>
                  </a:ext>
                </a:extLst>
              </p:cNvPr>
              <p:cNvSpPr/>
              <p:nvPr/>
            </p:nvSpPr>
            <p:spPr>
              <a:xfrm>
                <a:off x="10543120" y="3933047"/>
                <a:ext cx="88994" cy="171201"/>
              </a:xfrm>
              <a:custGeom>
                <a:avLst/>
                <a:gdLst>
                  <a:gd name="connsiteX0" fmla="*/ 17347 w 88994"/>
                  <a:gd name="connsiteY0" fmla="*/ 171201 h 171201"/>
                  <a:gd name="connsiteX1" fmla="*/ 2263 w 88994"/>
                  <a:gd name="connsiteY1" fmla="*/ 165168 h 171201"/>
                  <a:gd name="connsiteX2" fmla="*/ 2263 w 88994"/>
                  <a:gd name="connsiteY2" fmla="*/ 156117 h 171201"/>
                  <a:gd name="connsiteX3" fmla="*/ 11313 w 88994"/>
                  <a:gd name="connsiteY3" fmla="*/ 156117 h 171201"/>
                  <a:gd name="connsiteX4" fmla="*/ 32430 w 88994"/>
                  <a:gd name="connsiteY4" fmla="*/ 153101 h 171201"/>
                  <a:gd name="connsiteX5" fmla="*/ 47514 w 88994"/>
                  <a:gd name="connsiteY5" fmla="*/ 110866 h 171201"/>
                  <a:gd name="connsiteX6" fmla="*/ 47514 w 88994"/>
                  <a:gd name="connsiteY6" fmla="*/ 38464 h 171201"/>
                  <a:gd name="connsiteX7" fmla="*/ 77682 w 88994"/>
                  <a:gd name="connsiteY7" fmla="*/ 2263 h 171201"/>
                  <a:gd name="connsiteX8" fmla="*/ 86732 w 88994"/>
                  <a:gd name="connsiteY8" fmla="*/ 2263 h 171201"/>
                  <a:gd name="connsiteX9" fmla="*/ 86732 w 88994"/>
                  <a:gd name="connsiteY9" fmla="*/ 11313 h 171201"/>
                  <a:gd name="connsiteX10" fmla="*/ 59581 w 88994"/>
                  <a:gd name="connsiteY10" fmla="*/ 44497 h 171201"/>
                  <a:gd name="connsiteX11" fmla="*/ 59581 w 88994"/>
                  <a:gd name="connsiteY11" fmla="*/ 113883 h 171201"/>
                  <a:gd name="connsiteX12" fmla="*/ 41480 w 88994"/>
                  <a:gd name="connsiteY12" fmla="*/ 165168 h 171201"/>
                  <a:gd name="connsiteX13" fmla="*/ 17347 w 88994"/>
                  <a:gd name="connsiteY13" fmla="*/ 171201 h 171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8994" h="171201">
                    <a:moveTo>
                      <a:pt x="17347" y="171201"/>
                    </a:moveTo>
                    <a:cubicBezTo>
                      <a:pt x="11313" y="171201"/>
                      <a:pt x="5280" y="168185"/>
                      <a:pt x="2263" y="165168"/>
                    </a:cubicBezTo>
                    <a:cubicBezTo>
                      <a:pt x="-754" y="162151"/>
                      <a:pt x="-754" y="159134"/>
                      <a:pt x="2263" y="156117"/>
                    </a:cubicBezTo>
                    <a:cubicBezTo>
                      <a:pt x="5280" y="153101"/>
                      <a:pt x="8296" y="153101"/>
                      <a:pt x="11313" y="156117"/>
                    </a:cubicBezTo>
                    <a:cubicBezTo>
                      <a:pt x="14330" y="156117"/>
                      <a:pt x="23379" y="165168"/>
                      <a:pt x="32430" y="153101"/>
                    </a:cubicBezTo>
                    <a:cubicBezTo>
                      <a:pt x="44497" y="138017"/>
                      <a:pt x="47514" y="110866"/>
                      <a:pt x="47514" y="110866"/>
                    </a:cubicBezTo>
                    <a:cubicBezTo>
                      <a:pt x="47514" y="101816"/>
                      <a:pt x="41480" y="50531"/>
                      <a:pt x="47514" y="38464"/>
                    </a:cubicBezTo>
                    <a:cubicBezTo>
                      <a:pt x="53547" y="26397"/>
                      <a:pt x="74665" y="5279"/>
                      <a:pt x="77682" y="2263"/>
                    </a:cubicBezTo>
                    <a:cubicBezTo>
                      <a:pt x="80699" y="-754"/>
                      <a:pt x="83715" y="-754"/>
                      <a:pt x="86732" y="2263"/>
                    </a:cubicBezTo>
                    <a:cubicBezTo>
                      <a:pt x="89749" y="5279"/>
                      <a:pt x="89749" y="8296"/>
                      <a:pt x="86732" y="11313"/>
                    </a:cubicBezTo>
                    <a:cubicBezTo>
                      <a:pt x="80699" y="17347"/>
                      <a:pt x="62598" y="35447"/>
                      <a:pt x="59581" y="44497"/>
                    </a:cubicBezTo>
                    <a:cubicBezTo>
                      <a:pt x="56564" y="50531"/>
                      <a:pt x="59581" y="89749"/>
                      <a:pt x="59581" y="113883"/>
                    </a:cubicBezTo>
                    <a:cubicBezTo>
                      <a:pt x="59581" y="116899"/>
                      <a:pt x="56564" y="147067"/>
                      <a:pt x="41480" y="165168"/>
                    </a:cubicBezTo>
                    <a:cubicBezTo>
                      <a:pt x="32430" y="168185"/>
                      <a:pt x="23379" y="171201"/>
                      <a:pt x="17347" y="17120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2241742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FD47D5E4-E4A2-40F3-BF9A-1121E078E87F}"/>
              </a:ext>
            </a:extLst>
          </p:cNvPr>
          <p:cNvGrpSpPr/>
          <p:nvPr/>
        </p:nvGrpSpPr>
        <p:grpSpPr>
          <a:xfrm>
            <a:off x="2686452" y="2277185"/>
            <a:ext cx="4009273" cy="4637337"/>
            <a:chOff x="18476444" y="1952720"/>
            <a:chExt cx="4009273" cy="4637337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9231163C-5643-4862-AD49-A3B55C99CD11}"/>
                </a:ext>
              </a:extLst>
            </p:cNvPr>
            <p:cNvSpPr/>
            <p:nvPr/>
          </p:nvSpPr>
          <p:spPr>
            <a:xfrm>
              <a:off x="20186073" y="3161159"/>
              <a:ext cx="1050706" cy="826605"/>
            </a:xfrm>
            <a:custGeom>
              <a:avLst/>
              <a:gdLst>
                <a:gd name="connsiteX0" fmla="*/ 21992 w 1050706"/>
                <a:gd name="connsiteY0" fmla="*/ 279401 h 826605"/>
                <a:gd name="connsiteX1" fmla="*/ 97411 w 1050706"/>
                <a:gd name="connsiteY1" fmla="*/ 1859 h 826605"/>
                <a:gd name="connsiteX2" fmla="*/ 344784 w 1050706"/>
                <a:gd name="connsiteY2" fmla="*/ 285435 h 826605"/>
                <a:gd name="connsiteX3" fmla="*/ 492606 w 1050706"/>
                <a:gd name="connsiteY3" fmla="*/ 581077 h 826605"/>
                <a:gd name="connsiteX4" fmla="*/ 1044673 w 1050706"/>
                <a:gd name="connsiteY4" fmla="*/ 544876 h 826605"/>
                <a:gd name="connsiteX5" fmla="*/ 1050707 w 1050706"/>
                <a:gd name="connsiteY5" fmla="*/ 680630 h 826605"/>
                <a:gd name="connsiteX6" fmla="*/ 365902 w 1050706"/>
                <a:gd name="connsiteY6" fmla="*/ 822418 h 826605"/>
                <a:gd name="connsiteX7" fmla="*/ 21992 w 1050706"/>
                <a:gd name="connsiteY7" fmla="*/ 279401 h 826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0706" h="826605">
                  <a:moveTo>
                    <a:pt x="21992" y="279401"/>
                  </a:moveTo>
                  <a:cubicBezTo>
                    <a:pt x="-32311" y="143647"/>
                    <a:pt x="21992" y="-19258"/>
                    <a:pt x="97411" y="1859"/>
                  </a:cubicBezTo>
                  <a:cubicBezTo>
                    <a:pt x="184896" y="25994"/>
                    <a:pt x="287467" y="119513"/>
                    <a:pt x="344784" y="285435"/>
                  </a:cubicBezTo>
                  <a:cubicBezTo>
                    <a:pt x="377969" y="381971"/>
                    <a:pt x="474506" y="584094"/>
                    <a:pt x="492606" y="581077"/>
                  </a:cubicBezTo>
                  <a:cubicBezTo>
                    <a:pt x="498640" y="581077"/>
                    <a:pt x="1044673" y="544876"/>
                    <a:pt x="1044673" y="544876"/>
                  </a:cubicBezTo>
                  <a:cubicBezTo>
                    <a:pt x="1044673" y="605211"/>
                    <a:pt x="1050707" y="680630"/>
                    <a:pt x="1050707" y="680630"/>
                  </a:cubicBezTo>
                  <a:cubicBezTo>
                    <a:pt x="1050707" y="680630"/>
                    <a:pt x="444338" y="855603"/>
                    <a:pt x="365902" y="822418"/>
                  </a:cubicBezTo>
                  <a:cubicBezTo>
                    <a:pt x="269365" y="783200"/>
                    <a:pt x="91377" y="448340"/>
                    <a:pt x="21992" y="279401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BA04F89A-7C93-4676-9F81-9268E8059DCB}"/>
                </a:ext>
              </a:extLst>
            </p:cNvPr>
            <p:cNvGrpSpPr/>
            <p:nvPr/>
          </p:nvGrpSpPr>
          <p:grpSpPr>
            <a:xfrm>
              <a:off x="20039125" y="6261231"/>
              <a:ext cx="491732" cy="325810"/>
              <a:chOff x="20039125" y="6261231"/>
              <a:chExt cx="491732" cy="325810"/>
            </a:xfrm>
          </p:grpSpPr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CB8B4581-7AAD-4A36-869A-E0995384E49D}"/>
                  </a:ext>
                </a:extLst>
              </p:cNvPr>
              <p:cNvSpPr/>
              <p:nvPr/>
            </p:nvSpPr>
            <p:spPr>
              <a:xfrm>
                <a:off x="20048175" y="6261231"/>
                <a:ext cx="205141" cy="223240"/>
              </a:xfrm>
              <a:custGeom>
                <a:avLst/>
                <a:gdLst>
                  <a:gd name="connsiteX0" fmla="*/ 0 w 205141"/>
                  <a:gd name="connsiteY0" fmla="*/ 184023 h 223240"/>
                  <a:gd name="connsiteX1" fmla="*/ 24136 w 205141"/>
                  <a:gd name="connsiteY1" fmla="*/ 0 h 223240"/>
                  <a:gd name="connsiteX2" fmla="*/ 205141 w 205141"/>
                  <a:gd name="connsiteY2" fmla="*/ 0 h 223240"/>
                  <a:gd name="connsiteX3" fmla="*/ 159890 w 205141"/>
                  <a:gd name="connsiteY3" fmla="*/ 193073 h 223240"/>
                  <a:gd name="connsiteX4" fmla="*/ 12068 w 205141"/>
                  <a:gd name="connsiteY4" fmla="*/ 223241 h 223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141" h="223240">
                    <a:moveTo>
                      <a:pt x="0" y="184023"/>
                    </a:moveTo>
                    <a:lnTo>
                      <a:pt x="24136" y="0"/>
                    </a:lnTo>
                    <a:lnTo>
                      <a:pt x="205141" y="0"/>
                    </a:lnTo>
                    <a:lnTo>
                      <a:pt x="159890" y="193073"/>
                    </a:lnTo>
                    <a:lnTo>
                      <a:pt x="12068" y="223241"/>
                    </a:ln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91E16512-061D-4563-8F64-A10479E159D1}"/>
                  </a:ext>
                </a:extLst>
              </p:cNvPr>
              <p:cNvSpPr/>
              <p:nvPr/>
            </p:nvSpPr>
            <p:spPr>
              <a:xfrm>
                <a:off x="20040131" y="6387935"/>
                <a:ext cx="490725" cy="156871"/>
              </a:xfrm>
              <a:custGeom>
                <a:avLst/>
                <a:gdLst>
                  <a:gd name="connsiteX0" fmla="*/ 8044 w 490725"/>
                  <a:gd name="connsiteY0" fmla="*/ 45251 h 156871"/>
                  <a:gd name="connsiteX1" fmla="*/ 192068 w 490725"/>
                  <a:gd name="connsiteY1" fmla="*/ 0 h 156871"/>
                  <a:gd name="connsiteX2" fmla="*/ 324804 w 490725"/>
                  <a:gd name="connsiteY2" fmla="*/ 78435 h 156871"/>
                  <a:gd name="connsiteX3" fmla="*/ 490726 w 490725"/>
                  <a:gd name="connsiteY3" fmla="*/ 156871 h 156871"/>
                  <a:gd name="connsiteX4" fmla="*/ 8044 w 490725"/>
                  <a:gd name="connsiteY4" fmla="*/ 156871 h 156871"/>
                  <a:gd name="connsiteX5" fmla="*/ 8044 w 490725"/>
                  <a:gd name="connsiteY5" fmla="*/ 45251 h 156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0725" h="156871">
                    <a:moveTo>
                      <a:pt x="8044" y="45251"/>
                    </a:moveTo>
                    <a:cubicBezTo>
                      <a:pt x="8044" y="45251"/>
                      <a:pt x="131733" y="63352"/>
                      <a:pt x="192068" y="0"/>
                    </a:cubicBezTo>
                    <a:cubicBezTo>
                      <a:pt x="192068" y="0"/>
                      <a:pt x="279553" y="69385"/>
                      <a:pt x="324804" y="78435"/>
                    </a:cubicBezTo>
                    <a:cubicBezTo>
                      <a:pt x="370056" y="87486"/>
                      <a:pt x="478660" y="84469"/>
                      <a:pt x="490726" y="156871"/>
                    </a:cubicBezTo>
                    <a:lnTo>
                      <a:pt x="8044" y="156871"/>
                    </a:lnTo>
                    <a:cubicBezTo>
                      <a:pt x="8044" y="153854"/>
                      <a:pt x="-10055" y="93519"/>
                      <a:pt x="8044" y="45251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B0E8C8A8-6F22-49D8-9F58-FBB259F54401}"/>
                  </a:ext>
                </a:extLst>
              </p:cNvPr>
              <p:cNvSpPr/>
              <p:nvPr/>
            </p:nvSpPr>
            <p:spPr>
              <a:xfrm>
                <a:off x="20048176" y="6541790"/>
                <a:ext cx="482681" cy="45251"/>
              </a:xfrm>
              <a:custGeom>
                <a:avLst/>
                <a:gdLst>
                  <a:gd name="connsiteX0" fmla="*/ -1 w 482681"/>
                  <a:gd name="connsiteY0" fmla="*/ 0 h 45251"/>
                  <a:gd name="connsiteX1" fmla="*/ 482681 w 482681"/>
                  <a:gd name="connsiteY1" fmla="*/ 0 h 45251"/>
                  <a:gd name="connsiteX2" fmla="*/ 482681 w 482681"/>
                  <a:gd name="connsiteY2" fmla="*/ 45251 h 45251"/>
                  <a:gd name="connsiteX3" fmla="*/ -1 w 482681"/>
                  <a:gd name="connsiteY3" fmla="*/ 45251 h 45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2681" h="45251">
                    <a:moveTo>
                      <a:pt x="-1" y="0"/>
                    </a:moveTo>
                    <a:lnTo>
                      <a:pt x="482681" y="0"/>
                    </a:lnTo>
                    <a:lnTo>
                      <a:pt x="482681" y="45251"/>
                    </a:lnTo>
                    <a:lnTo>
                      <a:pt x="-1" y="45251"/>
                    </a:ln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263A0859-2C94-49E3-BAF4-18E671DD338D}"/>
                  </a:ext>
                </a:extLst>
              </p:cNvPr>
              <p:cNvSpPr/>
              <p:nvPr/>
            </p:nvSpPr>
            <p:spPr>
              <a:xfrm>
                <a:off x="20039125" y="6376622"/>
                <a:ext cx="198352" cy="62597"/>
              </a:xfrm>
              <a:custGeom>
                <a:avLst/>
                <a:gdLst>
                  <a:gd name="connsiteX0" fmla="*/ 42235 w 198352"/>
                  <a:gd name="connsiteY0" fmla="*/ 62598 h 62597"/>
                  <a:gd name="connsiteX1" fmla="*/ 6034 w 198352"/>
                  <a:gd name="connsiteY1" fmla="*/ 59581 h 62597"/>
                  <a:gd name="connsiteX2" fmla="*/ 0 w 198352"/>
                  <a:gd name="connsiteY2" fmla="*/ 53548 h 62597"/>
                  <a:gd name="connsiteX3" fmla="*/ 6034 w 198352"/>
                  <a:gd name="connsiteY3" fmla="*/ 47514 h 62597"/>
                  <a:gd name="connsiteX4" fmla="*/ 187039 w 198352"/>
                  <a:gd name="connsiteY4" fmla="*/ 2263 h 62597"/>
                  <a:gd name="connsiteX5" fmla="*/ 196089 w 198352"/>
                  <a:gd name="connsiteY5" fmla="*/ 2263 h 62597"/>
                  <a:gd name="connsiteX6" fmla="*/ 196089 w 198352"/>
                  <a:gd name="connsiteY6" fmla="*/ 11313 h 62597"/>
                  <a:gd name="connsiteX7" fmla="*/ 42235 w 198352"/>
                  <a:gd name="connsiteY7" fmla="*/ 62598 h 62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8352" h="62597">
                    <a:moveTo>
                      <a:pt x="42235" y="62598"/>
                    </a:moveTo>
                    <a:cubicBezTo>
                      <a:pt x="21118" y="62598"/>
                      <a:pt x="9050" y="59581"/>
                      <a:pt x="6034" y="59581"/>
                    </a:cubicBezTo>
                    <a:cubicBezTo>
                      <a:pt x="3018" y="59581"/>
                      <a:pt x="0" y="56564"/>
                      <a:pt x="0" y="53548"/>
                    </a:cubicBezTo>
                    <a:cubicBezTo>
                      <a:pt x="0" y="50531"/>
                      <a:pt x="3018" y="47514"/>
                      <a:pt x="6034" y="47514"/>
                    </a:cubicBezTo>
                    <a:cubicBezTo>
                      <a:pt x="6034" y="47514"/>
                      <a:pt x="117654" y="62598"/>
                      <a:pt x="187039" y="2263"/>
                    </a:cubicBezTo>
                    <a:cubicBezTo>
                      <a:pt x="190056" y="-754"/>
                      <a:pt x="193073" y="-754"/>
                      <a:pt x="196089" y="2263"/>
                    </a:cubicBezTo>
                    <a:cubicBezTo>
                      <a:pt x="199107" y="5279"/>
                      <a:pt x="199107" y="8296"/>
                      <a:pt x="196089" y="11313"/>
                    </a:cubicBezTo>
                    <a:cubicBezTo>
                      <a:pt x="147822" y="56564"/>
                      <a:pt x="84469" y="62598"/>
                      <a:pt x="42235" y="6259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4100C2F3-360E-426A-A38C-71FDCD1E073D}"/>
                  </a:ext>
                </a:extLst>
              </p:cNvPr>
              <p:cNvSpPr/>
              <p:nvPr/>
            </p:nvSpPr>
            <p:spPr>
              <a:xfrm>
                <a:off x="20235969" y="6403773"/>
                <a:ext cx="40726" cy="41480"/>
              </a:xfrm>
              <a:custGeom>
                <a:avLst/>
                <a:gdLst>
                  <a:gd name="connsiteX0" fmla="*/ 5279 w 40726"/>
                  <a:gd name="connsiteY0" fmla="*/ 41480 h 41480"/>
                  <a:gd name="connsiteX1" fmla="*/ 2263 w 40726"/>
                  <a:gd name="connsiteY1" fmla="*/ 38463 h 41480"/>
                  <a:gd name="connsiteX2" fmla="*/ 2263 w 40726"/>
                  <a:gd name="connsiteY2" fmla="*/ 29413 h 41480"/>
                  <a:gd name="connsiteX3" fmla="*/ 29413 w 40726"/>
                  <a:gd name="connsiteY3" fmla="*/ 2262 h 41480"/>
                  <a:gd name="connsiteX4" fmla="*/ 38463 w 40726"/>
                  <a:gd name="connsiteY4" fmla="*/ 2262 h 41480"/>
                  <a:gd name="connsiteX5" fmla="*/ 38463 w 40726"/>
                  <a:gd name="connsiteY5" fmla="*/ 11313 h 41480"/>
                  <a:gd name="connsiteX6" fmla="*/ 11313 w 40726"/>
                  <a:gd name="connsiteY6" fmla="*/ 38463 h 41480"/>
                  <a:gd name="connsiteX7" fmla="*/ 5279 w 40726"/>
                  <a:gd name="connsiteY7" fmla="*/ 41480 h 4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726" h="41480">
                    <a:moveTo>
                      <a:pt x="5279" y="41480"/>
                    </a:moveTo>
                    <a:cubicBezTo>
                      <a:pt x="5279" y="41480"/>
                      <a:pt x="2263" y="41480"/>
                      <a:pt x="2263" y="38463"/>
                    </a:cubicBezTo>
                    <a:cubicBezTo>
                      <a:pt x="-754" y="35447"/>
                      <a:pt x="-754" y="32430"/>
                      <a:pt x="2263" y="29413"/>
                    </a:cubicBezTo>
                    <a:lnTo>
                      <a:pt x="29413" y="2262"/>
                    </a:lnTo>
                    <a:cubicBezTo>
                      <a:pt x="32431" y="-754"/>
                      <a:pt x="35447" y="-754"/>
                      <a:pt x="38463" y="2262"/>
                    </a:cubicBezTo>
                    <a:cubicBezTo>
                      <a:pt x="41481" y="5279"/>
                      <a:pt x="41481" y="8296"/>
                      <a:pt x="38463" y="11313"/>
                    </a:cubicBezTo>
                    <a:lnTo>
                      <a:pt x="11313" y="38463"/>
                    </a:lnTo>
                    <a:cubicBezTo>
                      <a:pt x="8295" y="38463"/>
                      <a:pt x="5279" y="41480"/>
                      <a:pt x="5279" y="4148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A1A3693E-1348-4665-BCCE-F8A37A7D29B8}"/>
                  </a:ext>
                </a:extLst>
              </p:cNvPr>
              <p:cNvSpPr/>
              <p:nvPr/>
            </p:nvSpPr>
            <p:spPr>
              <a:xfrm>
                <a:off x="20272170" y="6427907"/>
                <a:ext cx="37709" cy="41480"/>
              </a:xfrm>
              <a:custGeom>
                <a:avLst/>
                <a:gdLst>
                  <a:gd name="connsiteX0" fmla="*/ 5280 w 37709"/>
                  <a:gd name="connsiteY0" fmla="*/ 41481 h 41480"/>
                  <a:gd name="connsiteX1" fmla="*/ 2262 w 37709"/>
                  <a:gd name="connsiteY1" fmla="*/ 38464 h 41480"/>
                  <a:gd name="connsiteX2" fmla="*/ 2262 w 37709"/>
                  <a:gd name="connsiteY2" fmla="*/ 29413 h 41480"/>
                  <a:gd name="connsiteX3" fmla="*/ 26398 w 37709"/>
                  <a:gd name="connsiteY3" fmla="*/ 2263 h 41480"/>
                  <a:gd name="connsiteX4" fmla="*/ 35447 w 37709"/>
                  <a:gd name="connsiteY4" fmla="*/ 2263 h 41480"/>
                  <a:gd name="connsiteX5" fmla="*/ 35447 w 37709"/>
                  <a:gd name="connsiteY5" fmla="*/ 11313 h 41480"/>
                  <a:gd name="connsiteX6" fmla="*/ 11314 w 37709"/>
                  <a:gd name="connsiteY6" fmla="*/ 38464 h 41480"/>
                  <a:gd name="connsiteX7" fmla="*/ 5280 w 37709"/>
                  <a:gd name="connsiteY7" fmla="*/ 41481 h 4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709" h="41480">
                    <a:moveTo>
                      <a:pt x="5280" y="41481"/>
                    </a:moveTo>
                    <a:cubicBezTo>
                      <a:pt x="5280" y="41481"/>
                      <a:pt x="2262" y="41481"/>
                      <a:pt x="2262" y="38464"/>
                    </a:cubicBezTo>
                    <a:cubicBezTo>
                      <a:pt x="-754" y="35447"/>
                      <a:pt x="-754" y="32430"/>
                      <a:pt x="2262" y="29413"/>
                    </a:cubicBezTo>
                    <a:lnTo>
                      <a:pt x="26398" y="2263"/>
                    </a:lnTo>
                    <a:cubicBezTo>
                      <a:pt x="29414" y="-754"/>
                      <a:pt x="32430" y="-754"/>
                      <a:pt x="35447" y="2263"/>
                    </a:cubicBezTo>
                    <a:cubicBezTo>
                      <a:pt x="38464" y="5280"/>
                      <a:pt x="38464" y="8296"/>
                      <a:pt x="35447" y="11313"/>
                    </a:cubicBezTo>
                    <a:lnTo>
                      <a:pt x="11314" y="38464"/>
                    </a:lnTo>
                    <a:cubicBezTo>
                      <a:pt x="8296" y="41481"/>
                      <a:pt x="8296" y="41481"/>
                      <a:pt x="5280" y="4148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6488EC40-008A-4647-BB32-13357E201D43}"/>
                </a:ext>
              </a:extLst>
            </p:cNvPr>
            <p:cNvGrpSpPr/>
            <p:nvPr/>
          </p:nvGrpSpPr>
          <p:grpSpPr>
            <a:xfrm>
              <a:off x="18476444" y="6128494"/>
              <a:ext cx="386144" cy="461564"/>
              <a:chOff x="18476444" y="6128494"/>
              <a:chExt cx="386144" cy="461564"/>
            </a:xfrm>
          </p:grpSpPr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61EFC801-6D1C-4C5A-AF19-175C805E76CC}"/>
                  </a:ext>
                </a:extLst>
              </p:cNvPr>
              <p:cNvSpPr/>
              <p:nvPr/>
            </p:nvSpPr>
            <p:spPr>
              <a:xfrm>
                <a:off x="18572981" y="6128494"/>
                <a:ext cx="289608" cy="253407"/>
              </a:xfrm>
              <a:custGeom>
                <a:avLst/>
                <a:gdLst>
                  <a:gd name="connsiteX0" fmla="*/ 27150 w 289608"/>
                  <a:gd name="connsiteY0" fmla="*/ 105587 h 253407"/>
                  <a:gd name="connsiteX1" fmla="*/ 177988 w 289608"/>
                  <a:gd name="connsiteY1" fmla="*/ 0 h 253407"/>
                  <a:gd name="connsiteX2" fmla="*/ 289608 w 289608"/>
                  <a:gd name="connsiteY2" fmla="*/ 144805 h 253407"/>
                  <a:gd name="connsiteX3" fmla="*/ 99553 w 289608"/>
                  <a:gd name="connsiteY3" fmla="*/ 253408 h 253407"/>
                  <a:gd name="connsiteX4" fmla="*/ 0 w 289608"/>
                  <a:gd name="connsiteY4" fmla="*/ 135754 h 253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9608" h="253407">
                    <a:moveTo>
                      <a:pt x="27150" y="105587"/>
                    </a:moveTo>
                    <a:lnTo>
                      <a:pt x="177988" y="0"/>
                    </a:lnTo>
                    <a:lnTo>
                      <a:pt x="289608" y="144805"/>
                    </a:lnTo>
                    <a:lnTo>
                      <a:pt x="99553" y="253408"/>
                    </a:lnTo>
                    <a:lnTo>
                      <a:pt x="0" y="135754"/>
                    </a:ln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F4DD3290-F019-4BA2-AC5F-5AD69D86D317}"/>
                  </a:ext>
                </a:extLst>
              </p:cNvPr>
              <p:cNvSpPr/>
              <p:nvPr/>
            </p:nvSpPr>
            <p:spPr>
              <a:xfrm>
                <a:off x="18512646" y="6222014"/>
                <a:ext cx="244356" cy="352625"/>
              </a:xfrm>
              <a:custGeom>
                <a:avLst/>
                <a:gdLst>
                  <a:gd name="connsiteX0" fmla="*/ 99553 w 244356"/>
                  <a:gd name="connsiteY0" fmla="*/ 0 h 352625"/>
                  <a:gd name="connsiteX1" fmla="*/ 229273 w 244356"/>
                  <a:gd name="connsiteY1" fmla="*/ 138771 h 352625"/>
                  <a:gd name="connsiteX2" fmla="*/ 223239 w 244356"/>
                  <a:gd name="connsiteY2" fmla="*/ 292626 h 352625"/>
                  <a:gd name="connsiteX3" fmla="*/ 244357 w 244356"/>
                  <a:gd name="connsiteY3" fmla="*/ 349944 h 352625"/>
                  <a:gd name="connsiteX4" fmla="*/ 165922 w 244356"/>
                  <a:gd name="connsiteY4" fmla="*/ 349944 h 352625"/>
                  <a:gd name="connsiteX5" fmla="*/ 0 w 244356"/>
                  <a:gd name="connsiteY5" fmla="*/ 54301 h 352625"/>
                  <a:gd name="connsiteX6" fmla="*/ 99553 w 244356"/>
                  <a:gd name="connsiteY6" fmla="*/ 0 h 352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4356" h="352625">
                    <a:moveTo>
                      <a:pt x="99553" y="0"/>
                    </a:moveTo>
                    <a:cubicBezTo>
                      <a:pt x="99553" y="0"/>
                      <a:pt x="144804" y="117653"/>
                      <a:pt x="229273" y="138771"/>
                    </a:cubicBezTo>
                    <a:cubicBezTo>
                      <a:pt x="229273" y="138771"/>
                      <a:pt x="211173" y="250391"/>
                      <a:pt x="223239" y="292626"/>
                    </a:cubicBezTo>
                    <a:cubicBezTo>
                      <a:pt x="229273" y="307709"/>
                      <a:pt x="238323" y="328827"/>
                      <a:pt x="244357" y="349944"/>
                    </a:cubicBezTo>
                    <a:cubicBezTo>
                      <a:pt x="205139" y="355977"/>
                      <a:pt x="165922" y="349944"/>
                      <a:pt x="165922" y="349944"/>
                    </a:cubicBezTo>
                    <a:lnTo>
                      <a:pt x="0" y="54301"/>
                    </a:lnTo>
                    <a:cubicBezTo>
                      <a:pt x="0" y="54301"/>
                      <a:pt x="45251" y="9050"/>
                      <a:pt x="99553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51FAFB73-9C3C-48E1-B80B-BAE26680468D}"/>
                  </a:ext>
                </a:extLst>
              </p:cNvPr>
              <p:cNvSpPr/>
              <p:nvPr/>
            </p:nvSpPr>
            <p:spPr>
              <a:xfrm>
                <a:off x="18476444" y="6276315"/>
                <a:ext cx="211173" cy="313743"/>
              </a:xfrm>
              <a:custGeom>
                <a:avLst/>
                <a:gdLst>
                  <a:gd name="connsiteX0" fmla="*/ 211173 w 211173"/>
                  <a:gd name="connsiteY0" fmla="*/ 313743 h 313743"/>
                  <a:gd name="connsiteX1" fmla="*/ 36201 w 211173"/>
                  <a:gd name="connsiteY1" fmla="*/ 0 h 313743"/>
                  <a:gd name="connsiteX2" fmla="*/ 0 w 211173"/>
                  <a:gd name="connsiteY2" fmla="*/ 24134 h 313743"/>
                  <a:gd name="connsiteX3" fmla="*/ 159888 w 211173"/>
                  <a:gd name="connsiteY3" fmla="*/ 313743 h 313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1173" h="313743">
                    <a:moveTo>
                      <a:pt x="211173" y="313743"/>
                    </a:moveTo>
                    <a:lnTo>
                      <a:pt x="36201" y="0"/>
                    </a:lnTo>
                    <a:lnTo>
                      <a:pt x="0" y="24134"/>
                    </a:lnTo>
                    <a:lnTo>
                      <a:pt x="159888" y="313743"/>
                    </a:ln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8BC1E9E6-DB7F-4FAB-8F92-7E8879E9FD93}"/>
                  </a:ext>
                </a:extLst>
              </p:cNvPr>
              <p:cNvSpPr/>
              <p:nvPr/>
            </p:nvSpPr>
            <p:spPr>
              <a:xfrm>
                <a:off x="18606164" y="6218997"/>
                <a:ext cx="138772" cy="147821"/>
              </a:xfrm>
              <a:custGeom>
                <a:avLst/>
                <a:gdLst>
                  <a:gd name="connsiteX0" fmla="*/ 135754 w 138772"/>
                  <a:gd name="connsiteY0" fmla="*/ 147821 h 147821"/>
                  <a:gd name="connsiteX1" fmla="*/ 135754 w 138772"/>
                  <a:gd name="connsiteY1" fmla="*/ 147821 h 147821"/>
                  <a:gd name="connsiteX2" fmla="*/ 0 w 138772"/>
                  <a:gd name="connsiteY2" fmla="*/ 6033 h 147821"/>
                  <a:gd name="connsiteX3" fmla="*/ 3018 w 138772"/>
                  <a:gd name="connsiteY3" fmla="*/ 0 h 147821"/>
                  <a:gd name="connsiteX4" fmla="*/ 9050 w 138772"/>
                  <a:gd name="connsiteY4" fmla="*/ 3017 h 147821"/>
                  <a:gd name="connsiteX5" fmla="*/ 135754 w 138772"/>
                  <a:gd name="connsiteY5" fmla="*/ 138771 h 147821"/>
                  <a:gd name="connsiteX6" fmla="*/ 138772 w 138772"/>
                  <a:gd name="connsiteY6" fmla="*/ 144805 h 147821"/>
                  <a:gd name="connsiteX7" fmla="*/ 135754 w 138772"/>
                  <a:gd name="connsiteY7" fmla="*/ 147821 h 147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8772" h="147821">
                    <a:moveTo>
                      <a:pt x="135754" y="147821"/>
                    </a:moveTo>
                    <a:cubicBezTo>
                      <a:pt x="135754" y="147821"/>
                      <a:pt x="132738" y="147821"/>
                      <a:pt x="135754" y="147821"/>
                    </a:cubicBezTo>
                    <a:cubicBezTo>
                      <a:pt x="42235" y="117653"/>
                      <a:pt x="3018" y="12067"/>
                      <a:pt x="0" y="6033"/>
                    </a:cubicBezTo>
                    <a:cubicBezTo>
                      <a:pt x="0" y="3017"/>
                      <a:pt x="0" y="0"/>
                      <a:pt x="3018" y="0"/>
                    </a:cubicBezTo>
                    <a:cubicBezTo>
                      <a:pt x="6034" y="0"/>
                      <a:pt x="9050" y="0"/>
                      <a:pt x="9050" y="3017"/>
                    </a:cubicBezTo>
                    <a:cubicBezTo>
                      <a:pt x="9050" y="3017"/>
                      <a:pt x="51285" y="108604"/>
                      <a:pt x="135754" y="138771"/>
                    </a:cubicBezTo>
                    <a:cubicBezTo>
                      <a:pt x="138772" y="138771"/>
                      <a:pt x="138772" y="141788"/>
                      <a:pt x="138772" y="144805"/>
                    </a:cubicBezTo>
                    <a:cubicBezTo>
                      <a:pt x="138772" y="147821"/>
                      <a:pt x="138772" y="147821"/>
                      <a:pt x="135754" y="14782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7F724DBC-B5FA-419E-B156-EC9605921E27}"/>
                  </a:ext>
                </a:extLst>
              </p:cNvPr>
              <p:cNvSpPr/>
              <p:nvPr/>
            </p:nvSpPr>
            <p:spPr>
              <a:xfrm>
                <a:off x="18695418" y="6389702"/>
                <a:ext cx="47750" cy="19350"/>
              </a:xfrm>
              <a:custGeom>
                <a:avLst/>
                <a:gdLst>
                  <a:gd name="connsiteX0" fmla="*/ 40467 w 47750"/>
                  <a:gd name="connsiteY0" fmla="*/ 19350 h 19350"/>
                  <a:gd name="connsiteX1" fmla="*/ 40467 w 47750"/>
                  <a:gd name="connsiteY1" fmla="*/ 19350 h 19350"/>
                  <a:gd name="connsiteX2" fmla="*/ 4267 w 47750"/>
                  <a:gd name="connsiteY2" fmla="*/ 10300 h 19350"/>
                  <a:gd name="connsiteX3" fmla="*/ 1249 w 47750"/>
                  <a:gd name="connsiteY3" fmla="*/ 4266 h 19350"/>
                  <a:gd name="connsiteX4" fmla="*/ 7283 w 47750"/>
                  <a:gd name="connsiteY4" fmla="*/ 1249 h 19350"/>
                  <a:gd name="connsiteX5" fmla="*/ 43485 w 47750"/>
                  <a:gd name="connsiteY5" fmla="*/ 10300 h 19350"/>
                  <a:gd name="connsiteX6" fmla="*/ 46501 w 47750"/>
                  <a:gd name="connsiteY6" fmla="*/ 16333 h 19350"/>
                  <a:gd name="connsiteX7" fmla="*/ 40467 w 47750"/>
                  <a:gd name="connsiteY7" fmla="*/ 19350 h 1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750" h="19350">
                    <a:moveTo>
                      <a:pt x="40467" y="19350"/>
                    </a:moveTo>
                    <a:cubicBezTo>
                      <a:pt x="40467" y="19350"/>
                      <a:pt x="40467" y="19350"/>
                      <a:pt x="40467" y="19350"/>
                    </a:cubicBezTo>
                    <a:lnTo>
                      <a:pt x="4267" y="10300"/>
                    </a:lnTo>
                    <a:cubicBezTo>
                      <a:pt x="1249" y="10300"/>
                      <a:pt x="-1767" y="7283"/>
                      <a:pt x="1249" y="4266"/>
                    </a:cubicBezTo>
                    <a:cubicBezTo>
                      <a:pt x="1249" y="1249"/>
                      <a:pt x="4267" y="-1767"/>
                      <a:pt x="7283" y="1249"/>
                    </a:cubicBezTo>
                    <a:lnTo>
                      <a:pt x="43485" y="10300"/>
                    </a:lnTo>
                    <a:cubicBezTo>
                      <a:pt x="46501" y="10300"/>
                      <a:pt x="49518" y="13317"/>
                      <a:pt x="46501" y="16333"/>
                    </a:cubicBezTo>
                    <a:cubicBezTo>
                      <a:pt x="43485" y="19350"/>
                      <a:pt x="43485" y="19350"/>
                      <a:pt x="40467" y="1935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CAC8C290-8B43-4F5F-A371-330D9B377FBB}"/>
                  </a:ext>
                </a:extLst>
              </p:cNvPr>
              <p:cNvSpPr/>
              <p:nvPr/>
            </p:nvSpPr>
            <p:spPr>
              <a:xfrm>
                <a:off x="18689384" y="6437970"/>
                <a:ext cx="47750" cy="19349"/>
              </a:xfrm>
              <a:custGeom>
                <a:avLst/>
                <a:gdLst>
                  <a:gd name="connsiteX0" fmla="*/ 40469 w 47750"/>
                  <a:gd name="connsiteY0" fmla="*/ 19350 h 19349"/>
                  <a:gd name="connsiteX1" fmla="*/ 40469 w 47750"/>
                  <a:gd name="connsiteY1" fmla="*/ 19350 h 19349"/>
                  <a:gd name="connsiteX2" fmla="*/ 4267 w 47750"/>
                  <a:gd name="connsiteY2" fmla="*/ 10300 h 19349"/>
                  <a:gd name="connsiteX3" fmla="*/ 1249 w 47750"/>
                  <a:gd name="connsiteY3" fmla="*/ 4266 h 19349"/>
                  <a:gd name="connsiteX4" fmla="*/ 7283 w 47750"/>
                  <a:gd name="connsiteY4" fmla="*/ 1250 h 19349"/>
                  <a:gd name="connsiteX5" fmla="*/ 43485 w 47750"/>
                  <a:gd name="connsiteY5" fmla="*/ 10300 h 19349"/>
                  <a:gd name="connsiteX6" fmla="*/ 46501 w 47750"/>
                  <a:gd name="connsiteY6" fmla="*/ 16333 h 19349"/>
                  <a:gd name="connsiteX7" fmla="*/ 40469 w 47750"/>
                  <a:gd name="connsiteY7" fmla="*/ 19350 h 19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750" h="19349">
                    <a:moveTo>
                      <a:pt x="40469" y="19350"/>
                    </a:moveTo>
                    <a:cubicBezTo>
                      <a:pt x="40469" y="19350"/>
                      <a:pt x="40469" y="19350"/>
                      <a:pt x="40469" y="19350"/>
                    </a:cubicBezTo>
                    <a:lnTo>
                      <a:pt x="4267" y="10300"/>
                    </a:lnTo>
                    <a:cubicBezTo>
                      <a:pt x="1249" y="10300"/>
                      <a:pt x="-1767" y="7283"/>
                      <a:pt x="1249" y="4266"/>
                    </a:cubicBezTo>
                    <a:cubicBezTo>
                      <a:pt x="1249" y="1250"/>
                      <a:pt x="4267" y="-1767"/>
                      <a:pt x="7283" y="1250"/>
                    </a:cubicBezTo>
                    <a:lnTo>
                      <a:pt x="43485" y="10300"/>
                    </a:lnTo>
                    <a:cubicBezTo>
                      <a:pt x="46501" y="10300"/>
                      <a:pt x="49518" y="13317"/>
                      <a:pt x="46501" y="16333"/>
                    </a:cubicBezTo>
                    <a:cubicBezTo>
                      <a:pt x="46501" y="16333"/>
                      <a:pt x="43485" y="19350"/>
                      <a:pt x="40469" y="1935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1296BEBC-24F2-4780-9A92-6556A9BDE434}"/>
                </a:ext>
              </a:extLst>
            </p:cNvPr>
            <p:cNvSpPr/>
            <p:nvPr/>
          </p:nvSpPr>
          <p:spPr>
            <a:xfrm>
              <a:off x="18672534" y="4089651"/>
              <a:ext cx="1818052" cy="2243982"/>
            </a:xfrm>
            <a:custGeom>
              <a:avLst/>
              <a:gdLst>
                <a:gd name="connsiteX0" fmla="*/ 1375642 w 1818052"/>
                <a:gd name="connsiteY0" fmla="*/ 38731 h 2243982"/>
                <a:gd name="connsiteX1" fmla="*/ 1816090 w 1818052"/>
                <a:gd name="connsiteY1" fmla="*/ 1209234 h 2243982"/>
                <a:gd name="connsiteX2" fmla="*/ 1626034 w 1818052"/>
                <a:gd name="connsiteY2" fmla="*/ 2243982 h 2243982"/>
                <a:gd name="connsiteX3" fmla="*/ 1333408 w 1818052"/>
                <a:gd name="connsiteY3" fmla="*/ 2243982 h 2243982"/>
                <a:gd name="connsiteX4" fmla="*/ 1417877 w 1818052"/>
                <a:gd name="connsiteY4" fmla="*/ 1233368 h 2243982"/>
                <a:gd name="connsiteX5" fmla="*/ 883910 w 1818052"/>
                <a:gd name="connsiteY5" fmla="*/ 515379 h 2243982"/>
                <a:gd name="connsiteX6" fmla="*/ 1007599 w 1818052"/>
                <a:gd name="connsiteY6" fmla="*/ 1429457 h 2243982"/>
                <a:gd name="connsiteX7" fmla="*/ 147822 w 1818052"/>
                <a:gd name="connsiteY7" fmla="*/ 2243982 h 2243982"/>
                <a:gd name="connsiteX8" fmla="*/ 0 w 1818052"/>
                <a:gd name="connsiteY8" fmla="*/ 2035826 h 2243982"/>
                <a:gd name="connsiteX9" fmla="*/ 518883 w 1818052"/>
                <a:gd name="connsiteY9" fmla="*/ 1360072 h 2243982"/>
                <a:gd name="connsiteX10" fmla="*/ 304692 w 1818052"/>
                <a:gd name="connsiteY10" fmla="*/ 26664 h 2243982"/>
                <a:gd name="connsiteX11" fmla="*/ 1375642 w 1818052"/>
                <a:gd name="connsiteY11" fmla="*/ 38731 h 2243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18052" h="2243982">
                  <a:moveTo>
                    <a:pt x="1375642" y="38731"/>
                  </a:moveTo>
                  <a:cubicBezTo>
                    <a:pt x="1375642" y="38731"/>
                    <a:pt x="1852291" y="901524"/>
                    <a:pt x="1816090" y="1209234"/>
                  </a:cubicBezTo>
                  <a:cubicBezTo>
                    <a:pt x="1785922" y="1477725"/>
                    <a:pt x="1626034" y="2243982"/>
                    <a:pt x="1626034" y="2243982"/>
                  </a:cubicBezTo>
                  <a:lnTo>
                    <a:pt x="1333408" y="2243982"/>
                  </a:lnTo>
                  <a:cubicBezTo>
                    <a:pt x="1333408" y="2243982"/>
                    <a:pt x="1423911" y="1329904"/>
                    <a:pt x="1417877" y="1233368"/>
                  </a:cubicBezTo>
                  <a:cubicBezTo>
                    <a:pt x="1411843" y="1094597"/>
                    <a:pt x="898994" y="545547"/>
                    <a:pt x="883910" y="515379"/>
                  </a:cubicBezTo>
                  <a:cubicBezTo>
                    <a:pt x="868826" y="485211"/>
                    <a:pt x="1067934" y="1266552"/>
                    <a:pt x="1007599" y="1429457"/>
                  </a:cubicBezTo>
                  <a:cubicBezTo>
                    <a:pt x="956313" y="1571245"/>
                    <a:pt x="147822" y="2243982"/>
                    <a:pt x="147822" y="2243982"/>
                  </a:cubicBezTo>
                  <a:lnTo>
                    <a:pt x="0" y="2035826"/>
                  </a:lnTo>
                  <a:cubicBezTo>
                    <a:pt x="0" y="2035826"/>
                    <a:pt x="524917" y="1459625"/>
                    <a:pt x="518883" y="1360072"/>
                  </a:cubicBezTo>
                  <a:cubicBezTo>
                    <a:pt x="509833" y="1209234"/>
                    <a:pt x="217207" y="162418"/>
                    <a:pt x="304692" y="26664"/>
                  </a:cubicBezTo>
                  <a:cubicBezTo>
                    <a:pt x="983463" y="-39705"/>
                    <a:pt x="1375642" y="38731"/>
                    <a:pt x="1375642" y="38731"/>
                  </a:cubicBezTo>
                  <a:close/>
                </a:path>
              </a:pathLst>
            </a:custGeom>
            <a:solidFill>
              <a:srgbClr val="F6EBE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FBC80A90-EF39-48B8-8C99-7A852663F577}"/>
                </a:ext>
              </a:extLst>
            </p:cNvPr>
            <p:cNvSpPr/>
            <p:nvPr/>
          </p:nvSpPr>
          <p:spPr>
            <a:xfrm>
              <a:off x="19550410" y="4252069"/>
              <a:ext cx="69386" cy="362011"/>
            </a:xfrm>
            <a:custGeom>
              <a:avLst/>
              <a:gdLst>
                <a:gd name="connsiteX0" fmla="*/ 6034 w 69386"/>
                <a:gd name="connsiteY0" fmla="*/ 362011 h 362011"/>
                <a:gd name="connsiteX1" fmla="*/ 6034 w 69386"/>
                <a:gd name="connsiteY1" fmla="*/ 362011 h 362011"/>
                <a:gd name="connsiteX2" fmla="*/ 0 w 69386"/>
                <a:gd name="connsiteY2" fmla="*/ 352961 h 362011"/>
                <a:gd name="connsiteX3" fmla="*/ 57319 w 69386"/>
                <a:gd name="connsiteY3" fmla="*/ 6033 h 362011"/>
                <a:gd name="connsiteX4" fmla="*/ 63353 w 69386"/>
                <a:gd name="connsiteY4" fmla="*/ 0 h 362011"/>
                <a:gd name="connsiteX5" fmla="*/ 69387 w 69386"/>
                <a:gd name="connsiteY5" fmla="*/ 6033 h 362011"/>
                <a:gd name="connsiteX6" fmla="*/ 12068 w 69386"/>
                <a:gd name="connsiteY6" fmla="*/ 355978 h 362011"/>
                <a:gd name="connsiteX7" fmla="*/ 6034 w 69386"/>
                <a:gd name="connsiteY7" fmla="*/ 362011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386" h="362011">
                  <a:moveTo>
                    <a:pt x="6034" y="362011"/>
                  </a:moveTo>
                  <a:cubicBezTo>
                    <a:pt x="6034" y="362011"/>
                    <a:pt x="3018" y="362011"/>
                    <a:pt x="6034" y="362011"/>
                  </a:cubicBezTo>
                  <a:cubicBezTo>
                    <a:pt x="0" y="358994"/>
                    <a:pt x="0" y="355978"/>
                    <a:pt x="0" y="352961"/>
                  </a:cubicBezTo>
                  <a:cubicBezTo>
                    <a:pt x="48269" y="241341"/>
                    <a:pt x="57319" y="9050"/>
                    <a:pt x="57319" y="6033"/>
                  </a:cubicBezTo>
                  <a:cubicBezTo>
                    <a:pt x="57319" y="3017"/>
                    <a:pt x="60335" y="0"/>
                    <a:pt x="63353" y="0"/>
                  </a:cubicBezTo>
                  <a:cubicBezTo>
                    <a:pt x="66369" y="0"/>
                    <a:pt x="69387" y="3017"/>
                    <a:pt x="69387" y="6033"/>
                  </a:cubicBezTo>
                  <a:cubicBezTo>
                    <a:pt x="69387" y="15084"/>
                    <a:pt x="60335" y="241341"/>
                    <a:pt x="12068" y="355978"/>
                  </a:cubicBezTo>
                  <a:cubicBezTo>
                    <a:pt x="9052" y="358994"/>
                    <a:pt x="9052" y="362011"/>
                    <a:pt x="6034" y="362011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F383A30B-065D-45DB-9187-D156A521CA1C}"/>
                </a:ext>
              </a:extLst>
            </p:cNvPr>
            <p:cNvSpPr/>
            <p:nvPr/>
          </p:nvSpPr>
          <p:spPr>
            <a:xfrm>
              <a:off x="19576312" y="4182684"/>
              <a:ext cx="155103" cy="352960"/>
            </a:xfrm>
            <a:custGeom>
              <a:avLst/>
              <a:gdLst>
                <a:gd name="connsiteX0" fmla="*/ 7283 w 155103"/>
                <a:gd name="connsiteY0" fmla="*/ 352961 h 352960"/>
                <a:gd name="connsiteX1" fmla="*/ 1249 w 155103"/>
                <a:gd name="connsiteY1" fmla="*/ 349944 h 352960"/>
                <a:gd name="connsiteX2" fmla="*/ 4265 w 155103"/>
                <a:gd name="connsiteY2" fmla="*/ 340894 h 352960"/>
                <a:gd name="connsiteX3" fmla="*/ 109852 w 155103"/>
                <a:gd name="connsiteY3" fmla="*/ 265475 h 352960"/>
                <a:gd name="connsiteX4" fmla="*/ 143037 w 155103"/>
                <a:gd name="connsiteY4" fmla="*/ 6033 h 352960"/>
                <a:gd name="connsiteX5" fmla="*/ 149071 w 155103"/>
                <a:gd name="connsiteY5" fmla="*/ 0 h 352960"/>
                <a:gd name="connsiteX6" fmla="*/ 155103 w 155103"/>
                <a:gd name="connsiteY6" fmla="*/ 6033 h 352960"/>
                <a:gd name="connsiteX7" fmla="*/ 121920 w 155103"/>
                <a:gd name="connsiteY7" fmla="*/ 271508 h 352960"/>
                <a:gd name="connsiteX8" fmla="*/ 13317 w 155103"/>
                <a:gd name="connsiteY8" fmla="*/ 349944 h 352960"/>
                <a:gd name="connsiteX9" fmla="*/ 7283 w 155103"/>
                <a:gd name="connsiteY9" fmla="*/ 352961 h 35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5103" h="352960">
                  <a:moveTo>
                    <a:pt x="7283" y="352961"/>
                  </a:moveTo>
                  <a:cubicBezTo>
                    <a:pt x="4265" y="352961"/>
                    <a:pt x="4265" y="352961"/>
                    <a:pt x="1249" y="349944"/>
                  </a:cubicBezTo>
                  <a:cubicBezTo>
                    <a:pt x="-1767" y="346927"/>
                    <a:pt x="1249" y="343911"/>
                    <a:pt x="4265" y="340894"/>
                  </a:cubicBezTo>
                  <a:cubicBezTo>
                    <a:pt x="43485" y="316760"/>
                    <a:pt x="100802" y="274525"/>
                    <a:pt x="109852" y="265475"/>
                  </a:cubicBezTo>
                  <a:cubicBezTo>
                    <a:pt x="118904" y="253408"/>
                    <a:pt x="133987" y="99553"/>
                    <a:pt x="143037" y="6033"/>
                  </a:cubicBezTo>
                  <a:cubicBezTo>
                    <a:pt x="143037" y="3017"/>
                    <a:pt x="146053" y="0"/>
                    <a:pt x="149071" y="0"/>
                  </a:cubicBezTo>
                  <a:cubicBezTo>
                    <a:pt x="152087" y="0"/>
                    <a:pt x="155103" y="3017"/>
                    <a:pt x="155103" y="6033"/>
                  </a:cubicBezTo>
                  <a:cubicBezTo>
                    <a:pt x="152087" y="48268"/>
                    <a:pt x="130970" y="256425"/>
                    <a:pt x="121920" y="271508"/>
                  </a:cubicBezTo>
                  <a:cubicBezTo>
                    <a:pt x="109852" y="286592"/>
                    <a:pt x="22367" y="343911"/>
                    <a:pt x="13317" y="349944"/>
                  </a:cubicBezTo>
                  <a:cubicBezTo>
                    <a:pt x="10299" y="352961"/>
                    <a:pt x="10299" y="352961"/>
                    <a:pt x="7283" y="352961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" name="图形 1">
              <a:extLst>
                <a:ext uri="{FF2B5EF4-FFF2-40B4-BE49-F238E27FC236}">
                  <a16:creationId xmlns:a16="http://schemas.microsoft.com/office/drawing/2014/main" id="{B587D7BB-0F53-471E-807F-06F9830D7C38}"/>
                </a:ext>
              </a:extLst>
            </p:cNvPr>
            <p:cNvGrpSpPr/>
            <p:nvPr/>
          </p:nvGrpSpPr>
          <p:grpSpPr>
            <a:xfrm>
              <a:off x="20901919" y="5706147"/>
              <a:ext cx="1583798" cy="877877"/>
              <a:chOff x="20901919" y="5706147"/>
              <a:chExt cx="1583798" cy="877877"/>
            </a:xfrm>
          </p:grpSpPr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C6BC004E-830B-48B2-AF76-FFAB38D76BEE}"/>
                  </a:ext>
                </a:extLst>
              </p:cNvPr>
              <p:cNvSpPr/>
              <p:nvPr/>
            </p:nvSpPr>
            <p:spPr>
              <a:xfrm>
                <a:off x="21173427" y="5706147"/>
                <a:ext cx="1312290" cy="877877"/>
              </a:xfrm>
              <a:custGeom>
                <a:avLst/>
                <a:gdLst>
                  <a:gd name="connsiteX0" fmla="*/ 1 w 1312290"/>
                  <a:gd name="connsiteY0" fmla="*/ 0 h 877877"/>
                  <a:gd name="connsiteX1" fmla="*/ 1312291 w 1312290"/>
                  <a:gd name="connsiteY1" fmla="*/ 0 h 877877"/>
                  <a:gd name="connsiteX2" fmla="*/ 1312291 w 1312290"/>
                  <a:gd name="connsiteY2" fmla="*/ 877877 h 877877"/>
                  <a:gd name="connsiteX3" fmla="*/ 1 w 1312290"/>
                  <a:gd name="connsiteY3" fmla="*/ 877877 h 877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2290" h="877877">
                    <a:moveTo>
                      <a:pt x="1" y="0"/>
                    </a:moveTo>
                    <a:lnTo>
                      <a:pt x="1312291" y="0"/>
                    </a:lnTo>
                    <a:lnTo>
                      <a:pt x="1312291" y="877877"/>
                    </a:lnTo>
                    <a:lnTo>
                      <a:pt x="1" y="877877"/>
                    </a:lnTo>
                    <a:close/>
                  </a:path>
                </a:pathLst>
              </a:custGeom>
              <a:solidFill>
                <a:srgbClr val="E8D2AF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C1F38C52-02C7-4BB0-A134-95EB75718882}"/>
                  </a:ext>
                </a:extLst>
              </p:cNvPr>
              <p:cNvSpPr/>
              <p:nvPr/>
            </p:nvSpPr>
            <p:spPr>
              <a:xfrm>
                <a:off x="20901919" y="5706147"/>
                <a:ext cx="1312290" cy="877877"/>
              </a:xfrm>
              <a:custGeom>
                <a:avLst/>
                <a:gdLst>
                  <a:gd name="connsiteX0" fmla="*/ 1 w 1312290"/>
                  <a:gd name="connsiteY0" fmla="*/ 0 h 877877"/>
                  <a:gd name="connsiteX1" fmla="*/ 1312291 w 1312290"/>
                  <a:gd name="connsiteY1" fmla="*/ 0 h 877877"/>
                  <a:gd name="connsiteX2" fmla="*/ 1312291 w 1312290"/>
                  <a:gd name="connsiteY2" fmla="*/ 877877 h 877877"/>
                  <a:gd name="connsiteX3" fmla="*/ 1 w 1312290"/>
                  <a:gd name="connsiteY3" fmla="*/ 877877 h 877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2290" h="877877">
                    <a:moveTo>
                      <a:pt x="1" y="0"/>
                    </a:moveTo>
                    <a:lnTo>
                      <a:pt x="1312291" y="0"/>
                    </a:lnTo>
                    <a:lnTo>
                      <a:pt x="1312291" y="877877"/>
                    </a:lnTo>
                    <a:lnTo>
                      <a:pt x="1" y="877877"/>
                    </a:ln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F7B7B8B4-42D5-4C92-9C3B-DBFD9D8357C4}"/>
                  </a:ext>
                </a:extLst>
              </p:cNvPr>
              <p:cNvSpPr/>
              <p:nvPr/>
            </p:nvSpPr>
            <p:spPr>
              <a:xfrm rot="-10800000">
                <a:off x="21754455" y="5823349"/>
                <a:ext cx="346927" cy="45251"/>
              </a:xfrm>
              <a:custGeom>
                <a:avLst/>
                <a:gdLst>
                  <a:gd name="connsiteX0" fmla="*/ 0 w 346927"/>
                  <a:gd name="connsiteY0" fmla="*/ 0 h 45251"/>
                  <a:gd name="connsiteX1" fmla="*/ 346928 w 346927"/>
                  <a:gd name="connsiteY1" fmla="*/ 0 h 45251"/>
                  <a:gd name="connsiteX2" fmla="*/ 346928 w 346927"/>
                  <a:gd name="connsiteY2" fmla="*/ 45252 h 45251"/>
                  <a:gd name="connsiteX3" fmla="*/ 0 w 346927"/>
                  <a:gd name="connsiteY3" fmla="*/ 45252 h 45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6927" h="45251">
                    <a:moveTo>
                      <a:pt x="0" y="0"/>
                    </a:moveTo>
                    <a:lnTo>
                      <a:pt x="346928" y="0"/>
                    </a:lnTo>
                    <a:lnTo>
                      <a:pt x="346928" y="45252"/>
                    </a:lnTo>
                    <a:lnTo>
                      <a:pt x="0" y="45252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4E08B060-80CB-4788-B8C3-8AFBEB897D41}"/>
                  </a:ext>
                </a:extLst>
              </p:cNvPr>
              <p:cNvSpPr/>
              <p:nvPr/>
            </p:nvSpPr>
            <p:spPr>
              <a:xfrm rot="-10800000">
                <a:off x="21754455" y="5928905"/>
                <a:ext cx="346927" cy="45251"/>
              </a:xfrm>
              <a:custGeom>
                <a:avLst/>
                <a:gdLst>
                  <a:gd name="connsiteX0" fmla="*/ 0 w 346927"/>
                  <a:gd name="connsiteY0" fmla="*/ 0 h 45251"/>
                  <a:gd name="connsiteX1" fmla="*/ 346928 w 346927"/>
                  <a:gd name="connsiteY1" fmla="*/ 0 h 45251"/>
                  <a:gd name="connsiteX2" fmla="*/ 346928 w 346927"/>
                  <a:gd name="connsiteY2" fmla="*/ 45251 h 45251"/>
                  <a:gd name="connsiteX3" fmla="*/ 0 w 346927"/>
                  <a:gd name="connsiteY3" fmla="*/ 45251 h 45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6927" h="45251">
                    <a:moveTo>
                      <a:pt x="0" y="0"/>
                    </a:moveTo>
                    <a:lnTo>
                      <a:pt x="346928" y="0"/>
                    </a:lnTo>
                    <a:lnTo>
                      <a:pt x="346928" y="45251"/>
                    </a:lnTo>
                    <a:lnTo>
                      <a:pt x="0" y="45251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46F98147-A393-499A-9140-DB0FE5251EA5}"/>
                  </a:ext>
                </a:extLst>
              </p:cNvPr>
              <p:cNvSpPr/>
              <p:nvPr/>
            </p:nvSpPr>
            <p:spPr>
              <a:xfrm>
                <a:off x="20998455" y="5823801"/>
                <a:ext cx="181005" cy="211173"/>
              </a:xfrm>
              <a:custGeom>
                <a:avLst/>
                <a:gdLst>
                  <a:gd name="connsiteX0" fmla="*/ 90503 w 181005"/>
                  <a:gd name="connsiteY0" fmla="*/ 0 h 211173"/>
                  <a:gd name="connsiteX1" fmla="*/ 181006 w 181005"/>
                  <a:gd name="connsiteY1" fmla="*/ 90503 h 211173"/>
                  <a:gd name="connsiteX2" fmla="*/ 181006 w 181005"/>
                  <a:gd name="connsiteY2" fmla="*/ 96537 h 211173"/>
                  <a:gd name="connsiteX3" fmla="*/ 147822 w 181005"/>
                  <a:gd name="connsiteY3" fmla="*/ 75419 h 211173"/>
                  <a:gd name="connsiteX4" fmla="*/ 117654 w 181005"/>
                  <a:gd name="connsiteY4" fmla="*/ 90503 h 211173"/>
                  <a:gd name="connsiteX5" fmla="*/ 99555 w 181005"/>
                  <a:gd name="connsiteY5" fmla="*/ 75419 h 211173"/>
                  <a:gd name="connsiteX6" fmla="*/ 99555 w 181005"/>
                  <a:gd name="connsiteY6" fmla="*/ 181006 h 211173"/>
                  <a:gd name="connsiteX7" fmla="*/ 111620 w 181005"/>
                  <a:gd name="connsiteY7" fmla="*/ 193073 h 211173"/>
                  <a:gd name="connsiteX8" fmla="*/ 123688 w 181005"/>
                  <a:gd name="connsiteY8" fmla="*/ 181006 h 211173"/>
                  <a:gd name="connsiteX9" fmla="*/ 123688 w 181005"/>
                  <a:gd name="connsiteY9" fmla="*/ 168939 h 211173"/>
                  <a:gd name="connsiteX10" fmla="*/ 141788 w 181005"/>
                  <a:gd name="connsiteY10" fmla="*/ 168939 h 211173"/>
                  <a:gd name="connsiteX11" fmla="*/ 141788 w 181005"/>
                  <a:gd name="connsiteY11" fmla="*/ 181006 h 211173"/>
                  <a:gd name="connsiteX12" fmla="*/ 111620 w 181005"/>
                  <a:gd name="connsiteY12" fmla="*/ 211173 h 211173"/>
                  <a:gd name="connsiteX13" fmla="*/ 81453 w 181005"/>
                  <a:gd name="connsiteY13" fmla="*/ 181006 h 211173"/>
                  <a:gd name="connsiteX14" fmla="*/ 81453 w 181005"/>
                  <a:gd name="connsiteY14" fmla="*/ 75419 h 211173"/>
                  <a:gd name="connsiteX15" fmla="*/ 63353 w 181005"/>
                  <a:gd name="connsiteY15" fmla="*/ 90503 h 211173"/>
                  <a:gd name="connsiteX16" fmla="*/ 33185 w 181005"/>
                  <a:gd name="connsiteY16" fmla="*/ 75419 h 211173"/>
                  <a:gd name="connsiteX17" fmla="*/ 0 w 181005"/>
                  <a:gd name="connsiteY17" fmla="*/ 96537 h 211173"/>
                  <a:gd name="connsiteX18" fmla="*/ 0 w 181005"/>
                  <a:gd name="connsiteY18" fmla="*/ 90503 h 211173"/>
                  <a:gd name="connsiteX19" fmla="*/ 90503 w 181005"/>
                  <a:gd name="connsiteY19" fmla="*/ 0 h 211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81005" h="211173">
                    <a:moveTo>
                      <a:pt x="90503" y="0"/>
                    </a:moveTo>
                    <a:cubicBezTo>
                      <a:pt x="141788" y="0"/>
                      <a:pt x="181006" y="39218"/>
                      <a:pt x="181006" y="90503"/>
                    </a:cubicBezTo>
                    <a:cubicBezTo>
                      <a:pt x="181006" y="93520"/>
                      <a:pt x="181006" y="93520"/>
                      <a:pt x="181006" y="96537"/>
                    </a:cubicBezTo>
                    <a:cubicBezTo>
                      <a:pt x="174974" y="84469"/>
                      <a:pt x="162906" y="75419"/>
                      <a:pt x="147822" y="75419"/>
                    </a:cubicBezTo>
                    <a:cubicBezTo>
                      <a:pt x="135754" y="75419"/>
                      <a:pt x="123688" y="81453"/>
                      <a:pt x="117654" y="90503"/>
                    </a:cubicBezTo>
                    <a:cubicBezTo>
                      <a:pt x="111620" y="84469"/>
                      <a:pt x="105587" y="78436"/>
                      <a:pt x="99555" y="75419"/>
                    </a:cubicBezTo>
                    <a:lnTo>
                      <a:pt x="99555" y="181006"/>
                    </a:lnTo>
                    <a:cubicBezTo>
                      <a:pt x="99555" y="187039"/>
                      <a:pt x="105587" y="193073"/>
                      <a:pt x="111620" y="193073"/>
                    </a:cubicBezTo>
                    <a:cubicBezTo>
                      <a:pt x="117654" y="193073"/>
                      <a:pt x="123688" y="187039"/>
                      <a:pt x="123688" y="181006"/>
                    </a:cubicBezTo>
                    <a:lnTo>
                      <a:pt x="123688" y="168939"/>
                    </a:lnTo>
                    <a:lnTo>
                      <a:pt x="141788" y="168939"/>
                    </a:lnTo>
                    <a:lnTo>
                      <a:pt x="141788" y="181006"/>
                    </a:lnTo>
                    <a:cubicBezTo>
                      <a:pt x="141788" y="199106"/>
                      <a:pt x="126704" y="211173"/>
                      <a:pt x="111620" y="211173"/>
                    </a:cubicBezTo>
                    <a:cubicBezTo>
                      <a:pt x="93521" y="211173"/>
                      <a:pt x="81453" y="196089"/>
                      <a:pt x="81453" y="181006"/>
                    </a:cubicBezTo>
                    <a:lnTo>
                      <a:pt x="81453" y="75419"/>
                    </a:lnTo>
                    <a:cubicBezTo>
                      <a:pt x="72403" y="78436"/>
                      <a:pt x="66369" y="81453"/>
                      <a:pt x="63353" y="90503"/>
                    </a:cubicBezTo>
                    <a:cubicBezTo>
                      <a:pt x="57319" y="81453"/>
                      <a:pt x="45251" y="75419"/>
                      <a:pt x="33185" y="75419"/>
                    </a:cubicBezTo>
                    <a:cubicBezTo>
                      <a:pt x="18102" y="75419"/>
                      <a:pt x="6034" y="84469"/>
                      <a:pt x="0" y="96537"/>
                    </a:cubicBezTo>
                    <a:cubicBezTo>
                      <a:pt x="0" y="93520"/>
                      <a:pt x="0" y="93520"/>
                      <a:pt x="0" y="90503"/>
                    </a:cubicBezTo>
                    <a:cubicBezTo>
                      <a:pt x="0" y="39218"/>
                      <a:pt x="39219" y="0"/>
                      <a:pt x="90503" y="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图形 1">
              <a:extLst>
                <a:ext uri="{FF2B5EF4-FFF2-40B4-BE49-F238E27FC236}">
                  <a16:creationId xmlns:a16="http://schemas.microsoft.com/office/drawing/2014/main" id="{0C2542B0-DE0F-45C4-90FD-5C529E84F640}"/>
                </a:ext>
              </a:extLst>
            </p:cNvPr>
            <p:cNvGrpSpPr/>
            <p:nvPr/>
          </p:nvGrpSpPr>
          <p:grpSpPr>
            <a:xfrm>
              <a:off x="21058791" y="5063578"/>
              <a:ext cx="1155419" cy="639553"/>
              <a:chOff x="21058791" y="5063578"/>
              <a:chExt cx="1155419" cy="639553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BCF245E4-AF04-4480-809A-C07A607AEB80}"/>
                  </a:ext>
                </a:extLst>
              </p:cNvPr>
              <p:cNvSpPr/>
              <p:nvPr/>
            </p:nvSpPr>
            <p:spPr>
              <a:xfrm>
                <a:off x="21254880" y="5063578"/>
                <a:ext cx="959329" cy="639553"/>
              </a:xfrm>
              <a:custGeom>
                <a:avLst/>
                <a:gdLst>
                  <a:gd name="connsiteX0" fmla="*/ -1 w 959329"/>
                  <a:gd name="connsiteY0" fmla="*/ 0 h 639553"/>
                  <a:gd name="connsiteX1" fmla="*/ 959329 w 959329"/>
                  <a:gd name="connsiteY1" fmla="*/ 0 h 639553"/>
                  <a:gd name="connsiteX2" fmla="*/ 959329 w 959329"/>
                  <a:gd name="connsiteY2" fmla="*/ 639553 h 639553"/>
                  <a:gd name="connsiteX3" fmla="*/ -1 w 959329"/>
                  <a:gd name="connsiteY3" fmla="*/ 639553 h 639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9329" h="639553">
                    <a:moveTo>
                      <a:pt x="-1" y="0"/>
                    </a:moveTo>
                    <a:lnTo>
                      <a:pt x="959329" y="0"/>
                    </a:lnTo>
                    <a:lnTo>
                      <a:pt x="959329" y="639553"/>
                    </a:lnTo>
                    <a:lnTo>
                      <a:pt x="-1" y="639553"/>
                    </a:lnTo>
                    <a:close/>
                  </a:path>
                </a:pathLst>
              </a:custGeom>
              <a:solidFill>
                <a:srgbClr val="E5D1D1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56B1EEC3-CB7B-479C-BF89-3E955B5BD1CC}"/>
                  </a:ext>
                </a:extLst>
              </p:cNvPr>
              <p:cNvSpPr/>
              <p:nvPr/>
            </p:nvSpPr>
            <p:spPr>
              <a:xfrm>
                <a:off x="21058791" y="5063578"/>
                <a:ext cx="959329" cy="639553"/>
              </a:xfrm>
              <a:custGeom>
                <a:avLst/>
                <a:gdLst>
                  <a:gd name="connsiteX0" fmla="*/ -1 w 959329"/>
                  <a:gd name="connsiteY0" fmla="*/ 0 h 639553"/>
                  <a:gd name="connsiteX1" fmla="*/ 959329 w 959329"/>
                  <a:gd name="connsiteY1" fmla="*/ 0 h 639553"/>
                  <a:gd name="connsiteX2" fmla="*/ 959329 w 959329"/>
                  <a:gd name="connsiteY2" fmla="*/ 639553 h 639553"/>
                  <a:gd name="connsiteX3" fmla="*/ -1 w 959329"/>
                  <a:gd name="connsiteY3" fmla="*/ 639553 h 639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9329" h="639553">
                    <a:moveTo>
                      <a:pt x="-1" y="0"/>
                    </a:moveTo>
                    <a:lnTo>
                      <a:pt x="959329" y="0"/>
                    </a:lnTo>
                    <a:lnTo>
                      <a:pt x="959329" y="639553"/>
                    </a:lnTo>
                    <a:lnTo>
                      <a:pt x="-1" y="639553"/>
                    </a:lnTo>
                    <a:close/>
                  </a:path>
                </a:pathLst>
              </a:custGeom>
              <a:solidFill>
                <a:srgbClr val="F6EBE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F1BB1068-6E8D-448C-9936-97FC8B3F1E75}"/>
                  </a:ext>
                </a:extLst>
              </p:cNvPr>
              <p:cNvSpPr/>
              <p:nvPr/>
            </p:nvSpPr>
            <p:spPr>
              <a:xfrm rot="-10800000">
                <a:off x="21682053" y="5150973"/>
                <a:ext cx="253407" cy="33184"/>
              </a:xfrm>
              <a:custGeom>
                <a:avLst/>
                <a:gdLst>
                  <a:gd name="connsiteX0" fmla="*/ 0 w 253407"/>
                  <a:gd name="connsiteY0" fmla="*/ 0 h 33184"/>
                  <a:gd name="connsiteX1" fmla="*/ 253409 w 253407"/>
                  <a:gd name="connsiteY1" fmla="*/ 0 h 33184"/>
                  <a:gd name="connsiteX2" fmla="*/ 253409 w 253407"/>
                  <a:gd name="connsiteY2" fmla="*/ 33184 h 33184"/>
                  <a:gd name="connsiteX3" fmla="*/ 0 w 253407"/>
                  <a:gd name="connsiteY3" fmla="*/ 33184 h 33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407" h="33184">
                    <a:moveTo>
                      <a:pt x="0" y="0"/>
                    </a:moveTo>
                    <a:lnTo>
                      <a:pt x="253409" y="0"/>
                    </a:lnTo>
                    <a:lnTo>
                      <a:pt x="253409" y="33184"/>
                    </a:lnTo>
                    <a:lnTo>
                      <a:pt x="0" y="33184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2C89576B-CAAD-409F-8741-4EF1D617C74F}"/>
                  </a:ext>
                </a:extLst>
              </p:cNvPr>
              <p:cNvSpPr/>
              <p:nvPr/>
            </p:nvSpPr>
            <p:spPr>
              <a:xfrm rot="-10800000">
                <a:off x="21682053" y="5228926"/>
                <a:ext cx="253407" cy="33184"/>
              </a:xfrm>
              <a:custGeom>
                <a:avLst/>
                <a:gdLst>
                  <a:gd name="connsiteX0" fmla="*/ 0 w 253407"/>
                  <a:gd name="connsiteY0" fmla="*/ 0 h 33184"/>
                  <a:gd name="connsiteX1" fmla="*/ 253409 w 253407"/>
                  <a:gd name="connsiteY1" fmla="*/ 0 h 33184"/>
                  <a:gd name="connsiteX2" fmla="*/ 253409 w 253407"/>
                  <a:gd name="connsiteY2" fmla="*/ 33184 h 33184"/>
                  <a:gd name="connsiteX3" fmla="*/ 0 w 253407"/>
                  <a:gd name="connsiteY3" fmla="*/ 33184 h 33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407" h="33184">
                    <a:moveTo>
                      <a:pt x="0" y="0"/>
                    </a:moveTo>
                    <a:lnTo>
                      <a:pt x="253409" y="0"/>
                    </a:lnTo>
                    <a:lnTo>
                      <a:pt x="253409" y="33184"/>
                    </a:lnTo>
                    <a:lnTo>
                      <a:pt x="0" y="33184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ECB681D2-096E-4BAD-8309-1EC483E77965}"/>
                  </a:ext>
                </a:extLst>
              </p:cNvPr>
              <p:cNvSpPr/>
              <p:nvPr/>
            </p:nvSpPr>
            <p:spPr>
              <a:xfrm>
                <a:off x="21130985" y="5151064"/>
                <a:ext cx="129928" cy="153854"/>
              </a:xfrm>
              <a:custGeom>
                <a:avLst/>
                <a:gdLst>
                  <a:gd name="connsiteX0" fmla="*/ 63559 w 129928"/>
                  <a:gd name="connsiteY0" fmla="*/ 0 h 153854"/>
                  <a:gd name="connsiteX1" fmla="*/ 129929 w 129928"/>
                  <a:gd name="connsiteY1" fmla="*/ 66369 h 153854"/>
                  <a:gd name="connsiteX2" fmla="*/ 129929 w 129928"/>
                  <a:gd name="connsiteY2" fmla="*/ 69386 h 153854"/>
                  <a:gd name="connsiteX3" fmla="*/ 105795 w 129928"/>
                  <a:gd name="connsiteY3" fmla="*/ 54302 h 153854"/>
                  <a:gd name="connsiteX4" fmla="*/ 84677 w 129928"/>
                  <a:gd name="connsiteY4" fmla="*/ 66369 h 153854"/>
                  <a:gd name="connsiteX5" fmla="*/ 69593 w 129928"/>
                  <a:gd name="connsiteY5" fmla="*/ 57318 h 153854"/>
                  <a:gd name="connsiteX6" fmla="*/ 69593 w 129928"/>
                  <a:gd name="connsiteY6" fmla="*/ 132737 h 153854"/>
                  <a:gd name="connsiteX7" fmla="*/ 78643 w 129928"/>
                  <a:gd name="connsiteY7" fmla="*/ 141788 h 153854"/>
                  <a:gd name="connsiteX8" fmla="*/ 87695 w 129928"/>
                  <a:gd name="connsiteY8" fmla="*/ 132737 h 153854"/>
                  <a:gd name="connsiteX9" fmla="*/ 87695 w 129928"/>
                  <a:gd name="connsiteY9" fmla="*/ 123687 h 153854"/>
                  <a:gd name="connsiteX10" fmla="*/ 102779 w 129928"/>
                  <a:gd name="connsiteY10" fmla="*/ 123687 h 153854"/>
                  <a:gd name="connsiteX11" fmla="*/ 102779 w 129928"/>
                  <a:gd name="connsiteY11" fmla="*/ 132737 h 153854"/>
                  <a:gd name="connsiteX12" fmla="*/ 81661 w 129928"/>
                  <a:gd name="connsiteY12" fmla="*/ 153855 h 153854"/>
                  <a:gd name="connsiteX13" fmla="*/ 60543 w 129928"/>
                  <a:gd name="connsiteY13" fmla="*/ 132737 h 153854"/>
                  <a:gd name="connsiteX14" fmla="*/ 60543 w 129928"/>
                  <a:gd name="connsiteY14" fmla="*/ 57318 h 153854"/>
                  <a:gd name="connsiteX15" fmla="*/ 45460 w 129928"/>
                  <a:gd name="connsiteY15" fmla="*/ 66369 h 153854"/>
                  <a:gd name="connsiteX16" fmla="*/ 24342 w 129928"/>
                  <a:gd name="connsiteY16" fmla="*/ 54302 h 153854"/>
                  <a:gd name="connsiteX17" fmla="*/ 208 w 129928"/>
                  <a:gd name="connsiteY17" fmla="*/ 69386 h 153854"/>
                  <a:gd name="connsiteX18" fmla="*/ 208 w 129928"/>
                  <a:gd name="connsiteY18" fmla="*/ 66369 h 153854"/>
                  <a:gd name="connsiteX19" fmla="*/ 63559 w 129928"/>
                  <a:gd name="connsiteY19" fmla="*/ 0 h 153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9928" h="153854">
                    <a:moveTo>
                      <a:pt x="63559" y="0"/>
                    </a:moveTo>
                    <a:cubicBezTo>
                      <a:pt x="99761" y="0"/>
                      <a:pt x="129929" y="30168"/>
                      <a:pt x="129929" y="66369"/>
                    </a:cubicBezTo>
                    <a:cubicBezTo>
                      <a:pt x="129929" y="66369"/>
                      <a:pt x="129929" y="69386"/>
                      <a:pt x="129929" y="69386"/>
                    </a:cubicBezTo>
                    <a:cubicBezTo>
                      <a:pt x="126912" y="60335"/>
                      <a:pt x="117863" y="54302"/>
                      <a:pt x="105795" y="54302"/>
                    </a:cubicBezTo>
                    <a:cubicBezTo>
                      <a:pt x="96745" y="54302"/>
                      <a:pt x="90711" y="57318"/>
                      <a:pt x="84677" y="66369"/>
                    </a:cubicBezTo>
                    <a:cubicBezTo>
                      <a:pt x="81661" y="60335"/>
                      <a:pt x="75627" y="57318"/>
                      <a:pt x="69593" y="57318"/>
                    </a:cubicBezTo>
                    <a:lnTo>
                      <a:pt x="69593" y="132737"/>
                    </a:lnTo>
                    <a:cubicBezTo>
                      <a:pt x="69593" y="138771"/>
                      <a:pt x="72611" y="141788"/>
                      <a:pt x="78643" y="141788"/>
                    </a:cubicBezTo>
                    <a:cubicBezTo>
                      <a:pt x="84677" y="141788"/>
                      <a:pt x="87695" y="138771"/>
                      <a:pt x="87695" y="132737"/>
                    </a:cubicBezTo>
                    <a:lnTo>
                      <a:pt x="87695" y="123687"/>
                    </a:lnTo>
                    <a:lnTo>
                      <a:pt x="102779" y="123687"/>
                    </a:lnTo>
                    <a:lnTo>
                      <a:pt x="102779" y="132737"/>
                    </a:lnTo>
                    <a:cubicBezTo>
                      <a:pt x="102779" y="144805"/>
                      <a:pt x="93727" y="153855"/>
                      <a:pt x="81661" y="153855"/>
                    </a:cubicBezTo>
                    <a:cubicBezTo>
                      <a:pt x="69593" y="153855"/>
                      <a:pt x="60543" y="144805"/>
                      <a:pt x="60543" y="132737"/>
                    </a:cubicBezTo>
                    <a:lnTo>
                      <a:pt x="60543" y="57318"/>
                    </a:lnTo>
                    <a:cubicBezTo>
                      <a:pt x="54510" y="60335"/>
                      <a:pt x="48476" y="63352"/>
                      <a:pt x="45460" y="66369"/>
                    </a:cubicBezTo>
                    <a:cubicBezTo>
                      <a:pt x="39426" y="60335"/>
                      <a:pt x="33392" y="54302"/>
                      <a:pt x="24342" y="54302"/>
                    </a:cubicBezTo>
                    <a:cubicBezTo>
                      <a:pt x="15292" y="54302"/>
                      <a:pt x="6242" y="60335"/>
                      <a:pt x="208" y="69386"/>
                    </a:cubicBezTo>
                    <a:cubicBezTo>
                      <a:pt x="208" y="69386"/>
                      <a:pt x="208" y="66369"/>
                      <a:pt x="208" y="66369"/>
                    </a:cubicBezTo>
                    <a:cubicBezTo>
                      <a:pt x="-2808" y="30168"/>
                      <a:pt x="27360" y="0"/>
                      <a:pt x="63559" y="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17A3E805-7192-42E4-905A-2CD7A6B6D6F6}"/>
                </a:ext>
              </a:extLst>
            </p:cNvPr>
            <p:cNvSpPr/>
            <p:nvPr/>
          </p:nvSpPr>
          <p:spPr>
            <a:xfrm>
              <a:off x="20138926" y="2859798"/>
              <a:ext cx="413048" cy="593230"/>
            </a:xfrm>
            <a:custGeom>
              <a:avLst/>
              <a:gdLst>
                <a:gd name="connsiteX0" fmla="*/ 2770 w 413048"/>
                <a:gd name="connsiteY0" fmla="*/ 589813 h 593230"/>
                <a:gd name="connsiteX1" fmla="*/ 111373 w 413048"/>
                <a:gd name="connsiteY1" fmla="*/ 4562 h 593230"/>
                <a:gd name="connsiteX2" fmla="*/ 413049 w 413048"/>
                <a:gd name="connsiteY2" fmla="*/ 502327 h 593230"/>
                <a:gd name="connsiteX3" fmla="*/ 2770 w 413048"/>
                <a:gd name="connsiteY3" fmla="*/ 589813 h 593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3048" h="593230">
                  <a:moveTo>
                    <a:pt x="2770" y="589813"/>
                  </a:moveTo>
                  <a:cubicBezTo>
                    <a:pt x="2770" y="589813"/>
                    <a:pt x="-27397" y="58863"/>
                    <a:pt x="111373" y="4562"/>
                  </a:cubicBezTo>
                  <a:cubicBezTo>
                    <a:pt x="268245" y="-55773"/>
                    <a:pt x="413049" y="502327"/>
                    <a:pt x="413049" y="502327"/>
                  </a:cubicBezTo>
                  <a:cubicBezTo>
                    <a:pt x="413049" y="502327"/>
                    <a:pt x="213943" y="613947"/>
                    <a:pt x="2770" y="589813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AED5BC83-0390-4D68-9311-8F0BC5A20FDE}"/>
                </a:ext>
              </a:extLst>
            </p:cNvPr>
            <p:cNvSpPr/>
            <p:nvPr/>
          </p:nvSpPr>
          <p:spPr>
            <a:xfrm>
              <a:off x="19800802" y="2508382"/>
              <a:ext cx="274524" cy="278376"/>
            </a:xfrm>
            <a:custGeom>
              <a:avLst/>
              <a:gdLst>
                <a:gd name="connsiteX0" fmla="*/ 274524 w 274524"/>
                <a:gd name="connsiteY0" fmla="*/ 84469 h 278376"/>
                <a:gd name="connsiteX1" fmla="*/ 235307 w 274524"/>
                <a:gd name="connsiteY1" fmla="*/ 253408 h 278376"/>
                <a:gd name="connsiteX2" fmla="*/ 0 w 274524"/>
                <a:gd name="connsiteY2" fmla="*/ 196089 h 278376"/>
                <a:gd name="connsiteX3" fmla="*/ 54301 w 274524"/>
                <a:gd name="connsiteY3" fmla="*/ 0 h 278376"/>
                <a:gd name="connsiteX4" fmla="*/ 274524 w 274524"/>
                <a:gd name="connsiteY4" fmla="*/ 84469 h 27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4524" h="278376">
                  <a:moveTo>
                    <a:pt x="274524" y="84469"/>
                  </a:moveTo>
                  <a:cubicBezTo>
                    <a:pt x="274524" y="84469"/>
                    <a:pt x="247373" y="181006"/>
                    <a:pt x="235307" y="253408"/>
                  </a:cubicBezTo>
                  <a:cubicBezTo>
                    <a:pt x="235307" y="253408"/>
                    <a:pt x="123686" y="337877"/>
                    <a:pt x="0" y="196089"/>
                  </a:cubicBezTo>
                  <a:cubicBezTo>
                    <a:pt x="12066" y="135754"/>
                    <a:pt x="39218" y="63352"/>
                    <a:pt x="54301" y="0"/>
                  </a:cubicBezTo>
                  <a:cubicBezTo>
                    <a:pt x="51283" y="0"/>
                    <a:pt x="220223" y="87486"/>
                    <a:pt x="274524" y="84469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73DFED54-7631-403C-B5B0-2A00DE7B0451}"/>
                </a:ext>
              </a:extLst>
            </p:cNvPr>
            <p:cNvSpPr/>
            <p:nvPr/>
          </p:nvSpPr>
          <p:spPr>
            <a:xfrm>
              <a:off x="19772978" y="2372628"/>
              <a:ext cx="57992" cy="147821"/>
            </a:xfrm>
            <a:custGeom>
              <a:avLst/>
              <a:gdLst>
                <a:gd name="connsiteX0" fmla="*/ 673 w 57992"/>
                <a:gd name="connsiteY0" fmla="*/ 0 h 147821"/>
                <a:gd name="connsiteX1" fmla="*/ 39891 w 57992"/>
                <a:gd name="connsiteY1" fmla="*/ 147821 h 147821"/>
                <a:gd name="connsiteX2" fmla="*/ 57992 w 57992"/>
                <a:gd name="connsiteY2" fmla="*/ 66369 h 147821"/>
                <a:gd name="connsiteX3" fmla="*/ 673 w 57992"/>
                <a:gd name="connsiteY3" fmla="*/ 0 h 147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992" h="147821">
                  <a:moveTo>
                    <a:pt x="673" y="0"/>
                  </a:moveTo>
                  <a:cubicBezTo>
                    <a:pt x="673" y="0"/>
                    <a:pt x="-8377" y="117654"/>
                    <a:pt x="39891" y="147821"/>
                  </a:cubicBezTo>
                  <a:lnTo>
                    <a:pt x="57992" y="66369"/>
                  </a:lnTo>
                  <a:lnTo>
                    <a:pt x="673" y="0"/>
                  </a:ln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B252D92E-BA18-483E-9FF9-47233D64E02D}"/>
                </a:ext>
              </a:extLst>
            </p:cNvPr>
            <p:cNvSpPr/>
            <p:nvPr/>
          </p:nvSpPr>
          <p:spPr>
            <a:xfrm>
              <a:off x="20134536" y="2254974"/>
              <a:ext cx="118780" cy="224534"/>
            </a:xfrm>
            <a:custGeom>
              <a:avLst/>
              <a:gdLst>
                <a:gd name="connsiteX0" fmla="*/ 118781 w 118780"/>
                <a:gd name="connsiteY0" fmla="*/ 3017 h 224534"/>
                <a:gd name="connsiteX1" fmla="*/ 34310 w 118780"/>
                <a:gd name="connsiteY1" fmla="*/ 223240 h 224534"/>
                <a:gd name="connsiteX2" fmla="*/ 22244 w 118780"/>
                <a:gd name="connsiteY2" fmla="*/ 0 h 224534"/>
                <a:gd name="connsiteX3" fmla="*/ 118781 w 118780"/>
                <a:gd name="connsiteY3" fmla="*/ 3017 h 224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780" h="224534">
                  <a:moveTo>
                    <a:pt x="118781" y="3017"/>
                  </a:moveTo>
                  <a:cubicBezTo>
                    <a:pt x="118781" y="3017"/>
                    <a:pt x="112747" y="199106"/>
                    <a:pt x="34310" y="223240"/>
                  </a:cubicBezTo>
                  <a:cubicBezTo>
                    <a:pt x="-35075" y="244358"/>
                    <a:pt x="22244" y="0"/>
                    <a:pt x="22244" y="0"/>
                  </a:cubicBezTo>
                  <a:lnTo>
                    <a:pt x="118781" y="3017"/>
                  </a:ln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EF04F774-A24E-4FAD-B5B1-A5F4D589432B}"/>
                </a:ext>
              </a:extLst>
            </p:cNvPr>
            <p:cNvSpPr/>
            <p:nvPr/>
          </p:nvSpPr>
          <p:spPr>
            <a:xfrm>
              <a:off x="19794646" y="2079237"/>
              <a:ext cx="413419" cy="562393"/>
            </a:xfrm>
            <a:custGeom>
              <a:avLst/>
              <a:gdLst>
                <a:gd name="connsiteX0" fmla="*/ 413419 w 413419"/>
                <a:gd name="connsiteY0" fmla="*/ 214955 h 562393"/>
                <a:gd name="connsiteX1" fmla="*/ 368168 w 413419"/>
                <a:gd name="connsiteY1" fmla="*/ 459313 h 562393"/>
                <a:gd name="connsiteX2" fmla="*/ 187162 w 413419"/>
                <a:gd name="connsiteY2" fmla="*/ 561883 h 562393"/>
                <a:gd name="connsiteX3" fmla="*/ 3139 w 413419"/>
                <a:gd name="connsiteY3" fmla="*/ 380877 h 562393"/>
                <a:gd name="connsiteX4" fmla="*/ 9173 w 413419"/>
                <a:gd name="connsiteY4" fmla="*/ 154620 h 562393"/>
                <a:gd name="connsiteX5" fmla="*/ 253530 w 413419"/>
                <a:gd name="connsiteY5" fmla="*/ 765 h 562393"/>
                <a:gd name="connsiteX6" fmla="*/ 413419 w 413419"/>
                <a:gd name="connsiteY6" fmla="*/ 214955 h 562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3419" h="562393">
                  <a:moveTo>
                    <a:pt x="413419" y="214955"/>
                  </a:moveTo>
                  <a:cubicBezTo>
                    <a:pt x="413419" y="214955"/>
                    <a:pt x="401352" y="389927"/>
                    <a:pt x="368168" y="459313"/>
                  </a:cubicBezTo>
                  <a:cubicBezTo>
                    <a:pt x="338000" y="519648"/>
                    <a:pt x="238446" y="567916"/>
                    <a:pt x="187162" y="561883"/>
                  </a:cubicBezTo>
                  <a:cubicBezTo>
                    <a:pt x="120793" y="555849"/>
                    <a:pt x="12189" y="492497"/>
                    <a:pt x="3139" y="380877"/>
                  </a:cubicBezTo>
                  <a:cubicBezTo>
                    <a:pt x="-2895" y="305458"/>
                    <a:pt x="123" y="205905"/>
                    <a:pt x="9173" y="154620"/>
                  </a:cubicBezTo>
                  <a:cubicBezTo>
                    <a:pt x="27273" y="64117"/>
                    <a:pt x="69508" y="-8285"/>
                    <a:pt x="253530" y="765"/>
                  </a:cubicBezTo>
                  <a:cubicBezTo>
                    <a:pt x="338000" y="3782"/>
                    <a:pt x="407386" y="133503"/>
                    <a:pt x="413419" y="214955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4650ECC2-2A28-4A11-9C24-ECB93762426C}"/>
                </a:ext>
              </a:extLst>
            </p:cNvPr>
            <p:cNvSpPr/>
            <p:nvPr/>
          </p:nvSpPr>
          <p:spPr>
            <a:xfrm>
              <a:off x="19987840" y="2342460"/>
              <a:ext cx="69386" cy="135754"/>
            </a:xfrm>
            <a:custGeom>
              <a:avLst/>
              <a:gdLst>
                <a:gd name="connsiteX0" fmla="*/ 39219 w 69386"/>
                <a:gd name="connsiteY0" fmla="*/ 135754 h 135754"/>
                <a:gd name="connsiteX1" fmla="*/ 3018 w 69386"/>
                <a:gd name="connsiteY1" fmla="*/ 126704 h 135754"/>
                <a:gd name="connsiteX2" fmla="*/ 0 w 69386"/>
                <a:gd name="connsiteY2" fmla="*/ 117654 h 135754"/>
                <a:gd name="connsiteX3" fmla="*/ 9052 w 69386"/>
                <a:gd name="connsiteY3" fmla="*/ 114637 h 135754"/>
                <a:gd name="connsiteX4" fmla="*/ 48269 w 69386"/>
                <a:gd name="connsiteY4" fmla="*/ 120670 h 135754"/>
                <a:gd name="connsiteX5" fmla="*/ 51285 w 69386"/>
                <a:gd name="connsiteY5" fmla="*/ 117654 h 135754"/>
                <a:gd name="connsiteX6" fmla="*/ 57319 w 69386"/>
                <a:gd name="connsiteY6" fmla="*/ 6034 h 135754"/>
                <a:gd name="connsiteX7" fmla="*/ 63353 w 69386"/>
                <a:gd name="connsiteY7" fmla="*/ 0 h 135754"/>
                <a:gd name="connsiteX8" fmla="*/ 63353 w 69386"/>
                <a:gd name="connsiteY8" fmla="*/ 0 h 135754"/>
                <a:gd name="connsiteX9" fmla="*/ 69387 w 69386"/>
                <a:gd name="connsiteY9" fmla="*/ 6034 h 135754"/>
                <a:gd name="connsiteX10" fmla="*/ 63353 w 69386"/>
                <a:gd name="connsiteY10" fmla="*/ 120670 h 135754"/>
                <a:gd name="connsiteX11" fmla="*/ 54303 w 69386"/>
                <a:gd name="connsiteY11" fmla="*/ 132737 h 135754"/>
                <a:gd name="connsiteX12" fmla="*/ 39219 w 69386"/>
                <a:gd name="connsiteY12" fmla="*/ 135754 h 13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386" h="135754">
                  <a:moveTo>
                    <a:pt x="39219" y="135754"/>
                  </a:moveTo>
                  <a:cubicBezTo>
                    <a:pt x="24136" y="135754"/>
                    <a:pt x="9052" y="129721"/>
                    <a:pt x="3018" y="126704"/>
                  </a:cubicBezTo>
                  <a:cubicBezTo>
                    <a:pt x="0" y="126704"/>
                    <a:pt x="0" y="120670"/>
                    <a:pt x="0" y="117654"/>
                  </a:cubicBezTo>
                  <a:cubicBezTo>
                    <a:pt x="0" y="114637"/>
                    <a:pt x="6034" y="114637"/>
                    <a:pt x="9052" y="114637"/>
                  </a:cubicBezTo>
                  <a:cubicBezTo>
                    <a:pt x="21118" y="120670"/>
                    <a:pt x="42235" y="123687"/>
                    <a:pt x="48269" y="120670"/>
                  </a:cubicBezTo>
                  <a:cubicBezTo>
                    <a:pt x="48269" y="120670"/>
                    <a:pt x="51285" y="120670"/>
                    <a:pt x="51285" y="117654"/>
                  </a:cubicBezTo>
                  <a:cubicBezTo>
                    <a:pt x="54303" y="99553"/>
                    <a:pt x="57319" y="6034"/>
                    <a:pt x="57319" y="6034"/>
                  </a:cubicBezTo>
                  <a:cubicBezTo>
                    <a:pt x="57319" y="3017"/>
                    <a:pt x="60335" y="0"/>
                    <a:pt x="63353" y="0"/>
                  </a:cubicBezTo>
                  <a:cubicBezTo>
                    <a:pt x="63353" y="0"/>
                    <a:pt x="63353" y="0"/>
                    <a:pt x="63353" y="0"/>
                  </a:cubicBezTo>
                  <a:cubicBezTo>
                    <a:pt x="66369" y="0"/>
                    <a:pt x="69387" y="3017"/>
                    <a:pt x="69387" y="6034"/>
                  </a:cubicBezTo>
                  <a:cubicBezTo>
                    <a:pt x="69387" y="9050"/>
                    <a:pt x="69387" y="99553"/>
                    <a:pt x="63353" y="120670"/>
                  </a:cubicBezTo>
                  <a:cubicBezTo>
                    <a:pt x="63353" y="126704"/>
                    <a:pt x="60335" y="129721"/>
                    <a:pt x="54303" y="132737"/>
                  </a:cubicBezTo>
                  <a:cubicBezTo>
                    <a:pt x="48269" y="135754"/>
                    <a:pt x="42235" y="135754"/>
                    <a:pt x="39219" y="135754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8A1C9422-2262-41D2-884F-0B172D28F262}"/>
                </a:ext>
              </a:extLst>
            </p:cNvPr>
            <p:cNvSpPr/>
            <p:nvPr/>
          </p:nvSpPr>
          <p:spPr>
            <a:xfrm>
              <a:off x="20098876" y="2336427"/>
              <a:ext cx="39801" cy="39217"/>
            </a:xfrm>
            <a:custGeom>
              <a:avLst/>
              <a:gdLst>
                <a:gd name="connsiteX0" fmla="*/ 584 w 39801"/>
                <a:gd name="connsiteY0" fmla="*/ 21117 h 39217"/>
                <a:gd name="connsiteX1" fmla="*/ 21702 w 39801"/>
                <a:gd name="connsiteY1" fmla="*/ 39218 h 39217"/>
                <a:gd name="connsiteX2" fmla="*/ 39802 w 39801"/>
                <a:gd name="connsiteY2" fmla="*/ 18101 h 39217"/>
                <a:gd name="connsiteX3" fmla="*/ 18686 w 39801"/>
                <a:gd name="connsiteY3" fmla="*/ 0 h 39217"/>
                <a:gd name="connsiteX4" fmla="*/ 584 w 39801"/>
                <a:gd name="connsiteY4" fmla="*/ 21117 h 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01" h="39217">
                  <a:moveTo>
                    <a:pt x="584" y="21117"/>
                  </a:moveTo>
                  <a:cubicBezTo>
                    <a:pt x="584" y="33184"/>
                    <a:pt x="9634" y="39218"/>
                    <a:pt x="21702" y="39218"/>
                  </a:cubicBezTo>
                  <a:cubicBezTo>
                    <a:pt x="33770" y="39218"/>
                    <a:pt x="39802" y="30168"/>
                    <a:pt x="39802" y="18101"/>
                  </a:cubicBezTo>
                  <a:cubicBezTo>
                    <a:pt x="39802" y="6034"/>
                    <a:pt x="30752" y="0"/>
                    <a:pt x="18686" y="0"/>
                  </a:cubicBezTo>
                  <a:cubicBezTo>
                    <a:pt x="6618" y="0"/>
                    <a:pt x="-2432" y="9050"/>
                    <a:pt x="584" y="21117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BA712C83-1C00-4220-BD75-6E7EACBC0E83}"/>
                </a:ext>
              </a:extLst>
            </p:cNvPr>
            <p:cNvSpPr/>
            <p:nvPr/>
          </p:nvSpPr>
          <p:spPr>
            <a:xfrm>
              <a:off x="19915439" y="2318326"/>
              <a:ext cx="39217" cy="39217"/>
            </a:xfrm>
            <a:custGeom>
              <a:avLst/>
              <a:gdLst>
                <a:gd name="connsiteX0" fmla="*/ 0 w 39217"/>
                <a:gd name="connsiteY0" fmla="*/ 21117 h 39217"/>
                <a:gd name="connsiteX1" fmla="*/ 21118 w 39217"/>
                <a:gd name="connsiteY1" fmla="*/ 39218 h 39217"/>
                <a:gd name="connsiteX2" fmla="*/ 39218 w 39217"/>
                <a:gd name="connsiteY2" fmla="*/ 18101 h 39217"/>
                <a:gd name="connsiteX3" fmla="*/ 18100 w 39217"/>
                <a:gd name="connsiteY3" fmla="*/ 0 h 39217"/>
                <a:gd name="connsiteX4" fmla="*/ 0 w 39217"/>
                <a:gd name="connsiteY4" fmla="*/ 21117 h 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17" h="39217">
                  <a:moveTo>
                    <a:pt x="0" y="21117"/>
                  </a:moveTo>
                  <a:cubicBezTo>
                    <a:pt x="0" y="33184"/>
                    <a:pt x="9050" y="39218"/>
                    <a:pt x="21118" y="39218"/>
                  </a:cubicBezTo>
                  <a:cubicBezTo>
                    <a:pt x="33184" y="39218"/>
                    <a:pt x="39218" y="30168"/>
                    <a:pt x="39218" y="18101"/>
                  </a:cubicBezTo>
                  <a:cubicBezTo>
                    <a:pt x="39218" y="6033"/>
                    <a:pt x="30168" y="0"/>
                    <a:pt x="18100" y="0"/>
                  </a:cubicBezTo>
                  <a:cubicBezTo>
                    <a:pt x="9050" y="3017"/>
                    <a:pt x="0" y="12067"/>
                    <a:pt x="0" y="21117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676FF310-5114-4B16-9AEF-DE1A3BBBFA6B}"/>
                </a:ext>
              </a:extLst>
            </p:cNvPr>
            <p:cNvSpPr/>
            <p:nvPr/>
          </p:nvSpPr>
          <p:spPr>
            <a:xfrm>
              <a:off x="20084377" y="2288107"/>
              <a:ext cx="88736" cy="42285"/>
            </a:xfrm>
            <a:custGeom>
              <a:avLst/>
              <a:gdLst>
                <a:gd name="connsiteX0" fmla="*/ 78437 w 88736"/>
                <a:gd name="connsiteY0" fmla="*/ 39269 h 42285"/>
                <a:gd name="connsiteX1" fmla="*/ 72403 w 88736"/>
                <a:gd name="connsiteY1" fmla="*/ 36252 h 42285"/>
                <a:gd name="connsiteX2" fmla="*/ 9050 w 88736"/>
                <a:gd name="connsiteY2" fmla="*/ 18152 h 42285"/>
                <a:gd name="connsiteX3" fmla="*/ 0 w 88736"/>
                <a:gd name="connsiteY3" fmla="*/ 12118 h 42285"/>
                <a:gd name="connsiteX4" fmla="*/ 6034 w 88736"/>
                <a:gd name="connsiteY4" fmla="*/ 3068 h 42285"/>
                <a:gd name="connsiteX5" fmla="*/ 87487 w 88736"/>
                <a:gd name="connsiteY5" fmla="*/ 30219 h 42285"/>
                <a:gd name="connsiteX6" fmla="*/ 84469 w 88736"/>
                <a:gd name="connsiteY6" fmla="*/ 42286 h 42285"/>
                <a:gd name="connsiteX7" fmla="*/ 78437 w 88736"/>
                <a:gd name="connsiteY7" fmla="*/ 39269 h 4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736" h="42285">
                  <a:moveTo>
                    <a:pt x="78437" y="39269"/>
                  </a:moveTo>
                  <a:cubicBezTo>
                    <a:pt x="75419" y="39269"/>
                    <a:pt x="72403" y="39269"/>
                    <a:pt x="72403" y="36252"/>
                  </a:cubicBezTo>
                  <a:cubicBezTo>
                    <a:pt x="51285" y="6085"/>
                    <a:pt x="9050" y="15135"/>
                    <a:pt x="9050" y="18152"/>
                  </a:cubicBezTo>
                  <a:cubicBezTo>
                    <a:pt x="6034" y="18152"/>
                    <a:pt x="0" y="18152"/>
                    <a:pt x="0" y="12118"/>
                  </a:cubicBezTo>
                  <a:cubicBezTo>
                    <a:pt x="0" y="9102"/>
                    <a:pt x="0" y="3068"/>
                    <a:pt x="6034" y="3068"/>
                  </a:cubicBezTo>
                  <a:cubicBezTo>
                    <a:pt x="24134" y="-2965"/>
                    <a:pt x="66369" y="-2965"/>
                    <a:pt x="87487" y="30219"/>
                  </a:cubicBezTo>
                  <a:cubicBezTo>
                    <a:pt x="90503" y="33236"/>
                    <a:pt x="87487" y="39269"/>
                    <a:pt x="84469" y="42286"/>
                  </a:cubicBezTo>
                  <a:cubicBezTo>
                    <a:pt x="81453" y="39269"/>
                    <a:pt x="78437" y="39269"/>
                    <a:pt x="78437" y="39269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07B94876-2CF2-47B6-BEEE-C52380B9D2F8}"/>
                </a:ext>
              </a:extLst>
            </p:cNvPr>
            <p:cNvSpPr/>
            <p:nvPr/>
          </p:nvSpPr>
          <p:spPr>
            <a:xfrm>
              <a:off x="19892340" y="2251124"/>
              <a:ext cx="91729" cy="37034"/>
            </a:xfrm>
            <a:custGeom>
              <a:avLst/>
              <a:gdLst>
                <a:gd name="connsiteX0" fmla="*/ 86450 w 91729"/>
                <a:gd name="connsiteY0" fmla="*/ 37034 h 37034"/>
                <a:gd name="connsiteX1" fmla="*/ 80416 w 91729"/>
                <a:gd name="connsiteY1" fmla="*/ 34018 h 37034"/>
                <a:gd name="connsiteX2" fmla="*/ 14049 w 91729"/>
                <a:gd name="connsiteY2" fmla="*/ 27984 h 37034"/>
                <a:gd name="connsiteX3" fmla="*/ 1981 w 91729"/>
                <a:gd name="connsiteY3" fmla="*/ 24967 h 37034"/>
                <a:gd name="connsiteX4" fmla="*/ 4997 w 91729"/>
                <a:gd name="connsiteY4" fmla="*/ 12900 h 37034"/>
                <a:gd name="connsiteX5" fmla="*/ 89468 w 91729"/>
                <a:gd name="connsiteY5" fmla="*/ 18934 h 37034"/>
                <a:gd name="connsiteX6" fmla="*/ 89468 w 91729"/>
                <a:gd name="connsiteY6" fmla="*/ 31001 h 37034"/>
                <a:gd name="connsiteX7" fmla="*/ 86450 w 91729"/>
                <a:gd name="connsiteY7" fmla="*/ 37034 h 3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29" h="37034">
                  <a:moveTo>
                    <a:pt x="86450" y="37034"/>
                  </a:moveTo>
                  <a:cubicBezTo>
                    <a:pt x="83434" y="37034"/>
                    <a:pt x="83434" y="37034"/>
                    <a:pt x="80416" y="34018"/>
                  </a:cubicBezTo>
                  <a:cubicBezTo>
                    <a:pt x="50249" y="3850"/>
                    <a:pt x="17065" y="27984"/>
                    <a:pt x="14049" y="27984"/>
                  </a:cubicBezTo>
                  <a:cubicBezTo>
                    <a:pt x="11031" y="31001"/>
                    <a:pt x="4997" y="27984"/>
                    <a:pt x="1981" y="24967"/>
                  </a:cubicBezTo>
                  <a:cubicBezTo>
                    <a:pt x="-1035" y="21951"/>
                    <a:pt x="-1035" y="15917"/>
                    <a:pt x="4997" y="12900"/>
                  </a:cubicBezTo>
                  <a:cubicBezTo>
                    <a:pt x="20081" y="833"/>
                    <a:pt x="59300" y="-11234"/>
                    <a:pt x="89468" y="18934"/>
                  </a:cubicBezTo>
                  <a:cubicBezTo>
                    <a:pt x="92484" y="21951"/>
                    <a:pt x="92484" y="27984"/>
                    <a:pt x="89468" y="31001"/>
                  </a:cubicBezTo>
                  <a:cubicBezTo>
                    <a:pt x="89468" y="37034"/>
                    <a:pt x="89468" y="37034"/>
                    <a:pt x="86450" y="37034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4071963B-90BC-499D-93CB-B0CA1ADC4CAE}"/>
                </a:ext>
              </a:extLst>
            </p:cNvPr>
            <p:cNvSpPr/>
            <p:nvPr/>
          </p:nvSpPr>
          <p:spPr>
            <a:xfrm>
              <a:off x="19831724" y="2551371"/>
              <a:ext cx="220718" cy="92765"/>
            </a:xfrm>
            <a:custGeom>
              <a:avLst/>
              <a:gdLst>
                <a:gd name="connsiteX0" fmla="*/ 156116 w 220718"/>
                <a:gd name="connsiteY0" fmla="*/ 92765 h 92765"/>
                <a:gd name="connsiteX1" fmla="*/ 135000 w 220718"/>
                <a:gd name="connsiteY1" fmla="*/ 89749 h 92765"/>
                <a:gd name="connsiteX2" fmla="*/ 2262 w 220718"/>
                <a:gd name="connsiteY2" fmla="*/ 11313 h 92765"/>
                <a:gd name="connsiteX3" fmla="*/ 2262 w 220718"/>
                <a:gd name="connsiteY3" fmla="*/ 2263 h 92765"/>
                <a:gd name="connsiteX4" fmla="*/ 11312 w 220718"/>
                <a:gd name="connsiteY4" fmla="*/ 2263 h 92765"/>
                <a:gd name="connsiteX5" fmla="*/ 138016 w 220718"/>
                <a:gd name="connsiteY5" fmla="*/ 77682 h 92765"/>
                <a:gd name="connsiteX6" fmla="*/ 210419 w 220718"/>
                <a:gd name="connsiteY6" fmla="*/ 65615 h 92765"/>
                <a:gd name="connsiteX7" fmla="*/ 219469 w 220718"/>
                <a:gd name="connsiteY7" fmla="*/ 68631 h 92765"/>
                <a:gd name="connsiteX8" fmla="*/ 216451 w 220718"/>
                <a:gd name="connsiteY8" fmla="*/ 77682 h 92765"/>
                <a:gd name="connsiteX9" fmla="*/ 156116 w 220718"/>
                <a:gd name="connsiteY9" fmla="*/ 92765 h 92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718" h="92765">
                  <a:moveTo>
                    <a:pt x="156116" y="92765"/>
                  </a:moveTo>
                  <a:cubicBezTo>
                    <a:pt x="150084" y="92765"/>
                    <a:pt x="141032" y="92765"/>
                    <a:pt x="135000" y="89749"/>
                  </a:cubicBezTo>
                  <a:cubicBezTo>
                    <a:pt x="83715" y="80698"/>
                    <a:pt x="8296" y="14330"/>
                    <a:pt x="2262" y="11313"/>
                  </a:cubicBezTo>
                  <a:cubicBezTo>
                    <a:pt x="-754" y="8296"/>
                    <a:pt x="-754" y="5279"/>
                    <a:pt x="2262" y="2263"/>
                  </a:cubicBezTo>
                  <a:cubicBezTo>
                    <a:pt x="5278" y="-754"/>
                    <a:pt x="8296" y="-754"/>
                    <a:pt x="11312" y="2263"/>
                  </a:cubicBezTo>
                  <a:cubicBezTo>
                    <a:pt x="11312" y="2263"/>
                    <a:pt x="89749" y="68631"/>
                    <a:pt x="138016" y="77682"/>
                  </a:cubicBezTo>
                  <a:cubicBezTo>
                    <a:pt x="177234" y="83715"/>
                    <a:pt x="210419" y="65615"/>
                    <a:pt x="210419" y="65615"/>
                  </a:cubicBezTo>
                  <a:cubicBezTo>
                    <a:pt x="213435" y="65615"/>
                    <a:pt x="216451" y="65615"/>
                    <a:pt x="219469" y="68631"/>
                  </a:cubicBezTo>
                  <a:cubicBezTo>
                    <a:pt x="222485" y="71648"/>
                    <a:pt x="219469" y="74665"/>
                    <a:pt x="216451" y="77682"/>
                  </a:cubicBezTo>
                  <a:cubicBezTo>
                    <a:pt x="213435" y="80698"/>
                    <a:pt x="189302" y="92765"/>
                    <a:pt x="156116" y="92765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6A239A6F-59D4-495A-91A5-FE5F96B1F493}"/>
                </a:ext>
              </a:extLst>
            </p:cNvPr>
            <p:cNvSpPr/>
            <p:nvPr/>
          </p:nvSpPr>
          <p:spPr>
            <a:xfrm>
              <a:off x="19785484" y="2067935"/>
              <a:ext cx="99786" cy="259441"/>
            </a:xfrm>
            <a:custGeom>
              <a:avLst/>
              <a:gdLst>
                <a:gd name="connsiteX0" fmla="*/ 99787 w 99786"/>
                <a:gd name="connsiteY0" fmla="*/ 132737 h 259441"/>
                <a:gd name="connsiteX1" fmla="*/ 24368 w 99786"/>
                <a:gd name="connsiteY1" fmla="*/ 259441 h 259441"/>
                <a:gd name="connsiteX2" fmla="*/ 234 w 99786"/>
                <a:gd name="connsiteY2" fmla="*/ 147821 h 259441"/>
                <a:gd name="connsiteX3" fmla="*/ 75653 w 99786"/>
                <a:gd name="connsiteY3" fmla="*/ 0 h 259441"/>
                <a:gd name="connsiteX4" fmla="*/ 99787 w 99786"/>
                <a:gd name="connsiteY4" fmla="*/ 132737 h 259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86" h="259441">
                  <a:moveTo>
                    <a:pt x="99787" y="132737"/>
                  </a:moveTo>
                  <a:cubicBezTo>
                    <a:pt x="99787" y="132737"/>
                    <a:pt x="24368" y="229274"/>
                    <a:pt x="24368" y="259441"/>
                  </a:cubicBezTo>
                  <a:cubicBezTo>
                    <a:pt x="24368" y="259441"/>
                    <a:pt x="-2784" y="235307"/>
                    <a:pt x="234" y="147821"/>
                  </a:cubicBezTo>
                  <a:cubicBezTo>
                    <a:pt x="3250" y="87486"/>
                    <a:pt x="9284" y="3017"/>
                    <a:pt x="75653" y="0"/>
                  </a:cubicBezTo>
                  <a:cubicBezTo>
                    <a:pt x="78669" y="0"/>
                    <a:pt x="63585" y="105587"/>
                    <a:pt x="99787" y="132737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BF7EF93E-EF3C-45A4-9880-35DA2B7349E3}"/>
                </a:ext>
              </a:extLst>
            </p:cNvPr>
            <p:cNvSpPr/>
            <p:nvPr/>
          </p:nvSpPr>
          <p:spPr>
            <a:xfrm>
              <a:off x="19840042" y="1988488"/>
              <a:ext cx="485675" cy="291659"/>
            </a:xfrm>
            <a:custGeom>
              <a:avLst/>
              <a:gdLst>
                <a:gd name="connsiteX0" fmla="*/ 45229 w 485675"/>
                <a:gd name="connsiteY0" fmla="*/ 212185 h 291659"/>
                <a:gd name="connsiteX1" fmla="*/ 171933 w 485675"/>
                <a:gd name="connsiteY1" fmla="*/ 200118 h 291659"/>
                <a:gd name="connsiteX2" fmla="*/ 485675 w 485675"/>
                <a:gd name="connsiteY2" fmla="*/ 251403 h 291659"/>
                <a:gd name="connsiteX3" fmla="*/ 159866 w 485675"/>
                <a:gd name="connsiteY3" fmla="*/ 1012 h 291659"/>
                <a:gd name="connsiteX4" fmla="*/ 24112 w 485675"/>
                <a:gd name="connsiteY4" fmla="*/ 82464 h 291659"/>
                <a:gd name="connsiteX5" fmla="*/ 45229 w 485675"/>
                <a:gd name="connsiteY5" fmla="*/ 212185 h 291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5675" h="291659">
                  <a:moveTo>
                    <a:pt x="45229" y="212185"/>
                  </a:moveTo>
                  <a:cubicBezTo>
                    <a:pt x="45229" y="212185"/>
                    <a:pt x="144782" y="194084"/>
                    <a:pt x="171933" y="200118"/>
                  </a:cubicBezTo>
                  <a:cubicBezTo>
                    <a:pt x="268468" y="224252"/>
                    <a:pt x="371039" y="356989"/>
                    <a:pt x="485675" y="251403"/>
                  </a:cubicBezTo>
                  <a:cubicBezTo>
                    <a:pt x="461542" y="142799"/>
                    <a:pt x="328804" y="-14072"/>
                    <a:pt x="159866" y="1012"/>
                  </a:cubicBezTo>
                  <a:cubicBezTo>
                    <a:pt x="78413" y="7045"/>
                    <a:pt x="36179" y="49280"/>
                    <a:pt x="24112" y="82464"/>
                  </a:cubicBezTo>
                  <a:cubicBezTo>
                    <a:pt x="24112" y="79448"/>
                    <a:pt x="-42258" y="182017"/>
                    <a:pt x="45229" y="212185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26AE69FB-B065-4068-981D-323D63D0C3F2}"/>
                </a:ext>
              </a:extLst>
            </p:cNvPr>
            <p:cNvSpPr/>
            <p:nvPr/>
          </p:nvSpPr>
          <p:spPr>
            <a:xfrm>
              <a:off x="19746423" y="2285517"/>
              <a:ext cx="69866" cy="113224"/>
            </a:xfrm>
            <a:custGeom>
              <a:avLst/>
              <a:gdLst>
                <a:gd name="connsiteX0" fmla="*/ 66446 w 69866"/>
                <a:gd name="connsiteY0" fmla="*/ 23759 h 113224"/>
                <a:gd name="connsiteX1" fmla="*/ 12144 w 69866"/>
                <a:gd name="connsiteY1" fmla="*/ 2642 h 113224"/>
                <a:gd name="connsiteX2" fmla="*/ 48346 w 69866"/>
                <a:gd name="connsiteY2" fmla="*/ 111245 h 113224"/>
                <a:gd name="connsiteX3" fmla="*/ 66446 w 69866"/>
                <a:gd name="connsiteY3" fmla="*/ 23759 h 113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66" h="113224">
                  <a:moveTo>
                    <a:pt x="66446" y="23759"/>
                  </a:moveTo>
                  <a:cubicBezTo>
                    <a:pt x="66446" y="23759"/>
                    <a:pt x="39296" y="-9425"/>
                    <a:pt x="12144" y="2642"/>
                  </a:cubicBezTo>
                  <a:cubicBezTo>
                    <a:pt x="-15007" y="17726"/>
                    <a:pt x="6110" y="129346"/>
                    <a:pt x="48346" y="111245"/>
                  </a:cubicBezTo>
                  <a:cubicBezTo>
                    <a:pt x="81529" y="102195"/>
                    <a:pt x="66446" y="23759"/>
                    <a:pt x="66446" y="23759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15DB6EB7-34C2-4F67-8EDE-B705DFD98A2E}"/>
                </a:ext>
              </a:extLst>
            </p:cNvPr>
            <p:cNvSpPr/>
            <p:nvPr/>
          </p:nvSpPr>
          <p:spPr>
            <a:xfrm>
              <a:off x="18974209" y="2662237"/>
              <a:ext cx="1364807" cy="1656536"/>
            </a:xfrm>
            <a:custGeom>
              <a:avLst/>
              <a:gdLst>
                <a:gd name="connsiteX0" fmla="*/ 817541 w 1364807"/>
                <a:gd name="connsiteY0" fmla="*/ 0 h 1656536"/>
                <a:gd name="connsiteX1" fmla="*/ 1098101 w 1364807"/>
                <a:gd name="connsiteY1" fmla="*/ 57318 h 1656536"/>
                <a:gd name="connsiteX2" fmla="*/ 1363576 w 1364807"/>
                <a:gd name="connsiteY2" fmla="*/ 241341 h 1656536"/>
                <a:gd name="connsiteX3" fmla="*/ 1170503 w 1364807"/>
                <a:gd name="connsiteY3" fmla="*/ 1623017 h 1656536"/>
                <a:gd name="connsiteX4" fmla="*/ 0 w 1364807"/>
                <a:gd name="connsiteY4" fmla="*/ 1623017 h 1656536"/>
                <a:gd name="connsiteX5" fmla="*/ 527933 w 1364807"/>
                <a:gd name="connsiteY5" fmla="*/ 45251 h 1656536"/>
                <a:gd name="connsiteX6" fmla="*/ 817541 w 1364807"/>
                <a:gd name="connsiteY6" fmla="*/ 0 h 1656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4807" h="1656536">
                  <a:moveTo>
                    <a:pt x="817541" y="0"/>
                  </a:moveTo>
                  <a:cubicBezTo>
                    <a:pt x="817541" y="0"/>
                    <a:pt x="974413" y="87486"/>
                    <a:pt x="1098101" y="57318"/>
                  </a:cubicBezTo>
                  <a:cubicBezTo>
                    <a:pt x="1098101" y="57318"/>
                    <a:pt x="1345474" y="205140"/>
                    <a:pt x="1363576" y="241341"/>
                  </a:cubicBezTo>
                  <a:cubicBezTo>
                    <a:pt x="1381676" y="277542"/>
                    <a:pt x="1194636" y="1559665"/>
                    <a:pt x="1170503" y="1623017"/>
                  </a:cubicBezTo>
                  <a:cubicBezTo>
                    <a:pt x="1170503" y="1623017"/>
                    <a:pt x="636536" y="1698436"/>
                    <a:pt x="0" y="1623017"/>
                  </a:cubicBezTo>
                  <a:cubicBezTo>
                    <a:pt x="135754" y="648603"/>
                    <a:pt x="482682" y="66369"/>
                    <a:pt x="527933" y="45251"/>
                  </a:cubicBezTo>
                  <a:cubicBezTo>
                    <a:pt x="570168" y="21117"/>
                    <a:pt x="817541" y="0"/>
                    <a:pt x="817541" y="0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ECAB1D57-FA00-4585-892F-226C779CCE7F}"/>
                </a:ext>
              </a:extLst>
            </p:cNvPr>
            <p:cNvSpPr/>
            <p:nvPr/>
          </p:nvSpPr>
          <p:spPr>
            <a:xfrm>
              <a:off x="20226165" y="2897544"/>
              <a:ext cx="114636" cy="727039"/>
            </a:xfrm>
            <a:custGeom>
              <a:avLst/>
              <a:gdLst>
                <a:gd name="connsiteX0" fmla="*/ 6034 w 114636"/>
                <a:gd name="connsiteY0" fmla="*/ 727039 h 727039"/>
                <a:gd name="connsiteX1" fmla="*/ 6034 w 114636"/>
                <a:gd name="connsiteY1" fmla="*/ 727039 h 727039"/>
                <a:gd name="connsiteX2" fmla="*/ 0 w 114636"/>
                <a:gd name="connsiteY2" fmla="*/ 721006 h 727039"/>
                <a:gd name="connsiteX3" fmla="*/ 102571 w 114636"/>
                <a:gd name="connsiteY3" fmla="*/ 6033 h 727039"/>
                <a:gd name="connsiteX4" fmla="*/ 108603 w 114636"/>
                <a:gd name="connsiteY4" fmla="*/ 0 h 727039"/>
                <a:gd name="connsiteX5" fmla="*/ 108603 w 114636"/>
                <a:gd name="connsiteY5" fmla="*/ 0 h 727039"/>
                <a:gd name="connsiteX6" fmla="*/ 114637 w 114636"/>
                <a:gd name="connsiteY6" fmla="*/ 6033 h 727039"/>
                <a:gd name="connsiteX7" fmla="*/ 12068 w 114636"/>
                <a:gd name="connsiteY7" fmla="*/ 724022 h 727039"/>
                <a:gd name="connsiteX8" fmla="*/ 6034 w 114636"/>
                <a:gd name="connsiteY8" fmla="*/ 727039 h 727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636" h="727039">
                  <a:moveTo>
                    <a:pt x="6034" y="727039"/>
                  </a:moveTo>
                  <a:cubicBezTo>
                    <a:pt x="6034" y="727039"/>
                    <a:pt x="6034" y="727039"/>
                    <a:pt x="6034" y="727039"/>
                  </a:cubicBezTo>
                  <a:cubicBezTo>
                    <a:pt x="3016" y="727039"/>
                    <a:pt x="0" y="724022"/>
                    <a:pt x="0" y="721006"/>
                  </a:cubicBezTo>
                  <a:cubicBezTo>
                    <a:pt x="0" y="714972"/>
                    <a:pt x="102571" y="45251"/>
                    <a:pt x="102571" y="6033"/>
                  </a:cubicBezTo>
                  <a:cubicBezTo>
                    <a:pt x="102571" y="3017"/>
                    <a:pt x="105587" y="0"/>
                    <a:pt x="108603" y="0"/>
                  </a:cubicBezTo>
                  <a:cubicBezTo>
                    <a:pt x="108603" y="0"/>
                    <a:pt x="108603" y="0"/>
                    <a:pt x="108603" y="0"/>
                  </a:cubicBezTo>
                  <a:cubicBezTo>
                    <a:pt x="111620" y="0"/>
                    <a:pt x="114637" y="3017"/>
                    <a:pt x="114637" y="6033"/>
                  </a:cubicBezTo>
                  <a:cubicBezTo>
                    <a:pt x="114637" y="45251"/>
                    <a:pt x="18100" y="696871"/>
                    <a:pt x="12068" y="724022"/>
                  </a:cubicBezTo>
                  <a:cubicBezTo>
                    <a:pt x="12068" y="727039"/>
                    <a:pt x="9050" y="727039"/>
                    <a:pt x="6034" y="727039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43113368-84D2-47FB-8142-98512284B976}"/>
                </a:ext>
              </a:extLst>
            </p:cNvPr>
            <p:cNvSpPr/>
            <p:nvPr/>
          </p:nvSpPr>
          <p:spPr>
            <a:xfrm>
              <a:off x="19946361" y="2521203"/>
              <a:ext cx="116898" cy="41480"/>
            </a:xfrm>
            <a:custGeom>
              <a:avLst/>
              <a:gdLst>
                <a:gd name="connsiteX0" fmla="*/ 80699 w 116898"/>
                <a:gd name="connsiteY0" fmla="*/ 41480 h 41480"/>
                <a:gd name="connsiteX1" fmla="*/ 2262 w 116898"/>
                <a:gd name="connsiteY1" fmla="*/ 11313 h 41480"/>
                <a:gd name="connsiteX2" fmla="*/ 2262 w 116898"/>
                <a:gd name="connsiteY2" fmla="*/ 2263 h 41480"/>
                <a:gd name="connsiteX3" fmla="*/ 11312 w 116898"/>
                <a:gd name="connsiteY3" fmla="*/ 2263 h 41480"/>
                <a:gd name="connsiteX4" fmla="*/ 107849 w 116898"/>
                <a:gd name="connsiteY4" fmla="*/ 23380 h 41480"/>
                <a:gd name="connsiteX5" fmla="*/ 116899 w 116898"/>
                <a:gd name="connsiteY5" fmla="*/ 26397 h 41480"/>
                <a:gd name="connsiteX6" fmla="*/ 113883 w 116898"/>
                <a:gd name="connsiteY6" fmla="*/ 35447 h 41480"/>
                <a:gd name="connsiteX7" fmla="*/ 80699 w 116898"/>
                <a:gd name="connsiteY7" fmla="*/ 41480 h 4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898" h="41480">
                  <a:moveTo>
                    <a:pt x="80699" y="41480"/>
                  </a:moveTo>
                  <a:cubicBezTo>
                    <a:pt x="41480" y="41480"/>
                    <a:pt x="5280" y="14330"/>
                    <a:pt x="2262" y="11313"/>
                  </a:cubicBezTo>
                  <a:cubicBezTo>
                    <a:pt x="-754" y="8296"/>
                    <a:pt x="-754" y="5279"/>
                    <a:pt x="2262" y="2263"/>
                  </a:cubicBezTo>
                  <a:cubicBezTo>
                    <a:pt x="5280" y="-754"/>
                    <a:pt x="8296" y="-754"/>
                    <a:pt x="11312" y="2263"/>
                  </a:cubicBezTo>
                  <a:cubicBezTo>
                    <a:pt x="11312" y="2263"/>
                    <a:pt x="65615" y="44497"/>
                    <a:pt x="107849" y="23380"/>
                  </a:cubicBezTo>
                  <a:cubicBezTo>
                    <a:pt x="110866" y="23380"/>
                    <a:pt x="113883" y="23380"/>
                    <a:pt x="116899" y="26397"/>
                  </a:cubicBezTo>
                  <a:cubicBezTo>
                    <a:pt x="116899" y="29413"/>
                    <a:pt x="116899" y="32430"/>
                    <a:pt x="113883" y="35447"/>
                  </a:cubicBezTo>
                  <a:cubicBezTo>
                    <a:pt x="104833" y="38464"/>
                    <a:pt x="92765" y="41480"/>
                    <a:pt x="80699" y="41480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8" name="图形 1">
              <a:extLst>
                <a:ext uri="{FF2B5EF4-FFF2-40B4-BE49-F238E27FC236}">
                  <a16:creationId xmlns:a16="http://schemas.microsoft.com/office/drawing/2014/main" id="{B1C04B8B-4062-458F-A321-2FF2B303FA22}"/>
                </a:ext>
              </a:extLst>
            </p:cNvPr>
            <p:cNvGrpSpPr/>
            <p:nvPr/>
          </p:nvGrpSpPr>
          <p:grpSpPr>
            <a:xfrm>
              <a:off x="19777756" y="1952720"/>
              <a:ext cx="616023" cy="359572"/>
              <a:chOff x="19777756" y="1952720"/>
              <a:chExt cx="616023" cy="359572"/>
            </a:xfrm>
          </p:grpSpPr>
          <p:grpSp>
            <p:nvGrpSpPr>
              <p:cNvPr id="47" name="图形 1">
                <a:extLst>
                  <a:ext uri="{FF2B5EF4-FFF2-40B4-BE49-F238E27FC236}">
                    <a16:creationId xmlns:a16="http://schemas.microsoft.com/office/drawing/2014/main" id="{396F9998-57C3-421D-93EC-A523597C33E2}"/>
                  </a:ext>
                </a:extLst>
              </p:cNvPr>
              <p:cNvGrpSpPr/>
              <p:nvPr/>
            </p:nvGrpSpPr>
            <p:grpSpPr>
              <a:xfrm>
                <a:off x="19777756" y="1952720"/>
                <a:ext cx="612015" cy="359572"/>
                <a:chOff x="19777756" y="1952720"/>
                <a:chExt cx="612015" cy="359572"/>
              </a:xfrm>
            </p:grpSpPr>
            <p:sp>
              <p:nvSpPr>
                <p:cNvPr id="49" name="任意多边形: 形状 48">
                  <a:extLst>
                    <a:ext uri="{FF2B5EF4-FFF2-40B4-BE49-F238E27FC236}">
                      <a16:creationId xmlns:a16="http://schemas.microsoft.com/office/drawing/2014/main" id="{83B54F1B-8B21-4FB8-834E-885030659DB7}"/>
                    </a:ext>
                  </a:extLst>
                </p:cNvPr>
                <p:cNvSpPr/>
                <p:nvPr/>
              </p:nvSpPr>
              <p:spPr>
                <a:xfrm>
                  <a:off x="19777756" y="1980249"/>
                  <a:ext cx="499723" cy="332043"/>
                </a:xfrm>
                <a:custGeom>
                  <a:avLst/>
                  <a:gdLst>
                    <a:gd name="connsiteX0" fmla="*/ 101481 w 499723"/>
                    <a:gd name="connsiteY0" fmla="*/ 181205 h 332043"/>
                    <a:gd name="connsiteX1" fmla="*/ 35112 w 499723"/>
                    <a:gd name="connsiteY1" fmla="*/ 332043 h 332043"/>
                    <a:gd name="connsiteX2" fmla="*/ 13995 w 499723"/>
                    <a:gd name="connsiteY2" fmla="*/ 313943 h 332043"/>
                    <a:gd name="connsiteX3" fmla="*/ 164833 w 499723"/>
                    <a:gd name="connsiteY3" fmla="*/ 15283 h 332043"/>
                    <a:gd name="connsiteX4" fmla="*/ 499694 w 499723"/>
                    <a:gd name="connsiteY4" fmla="*/ 181205 h 332043"/>
                    <a:gd name="connsiteX5" fmla="*/ 101481 w 499723"/>
                    <a:gd name="connsiteY5" fmla="*/ 181205 h 332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9723" h="332043">
                      <a:moveTo>
                        <a:pt x="101481" y="181205"/>
                      </a:moveTo>
                      <a:cubicBezTo>
                        <a:pt x="86398" y="193272"/>
                        <a:pt x="50196" y="268691"/>
                        <a:pt x="35112" y="332043"/>
                      </a:cubicBezTo>
                      <a:cubicBezTo>
                        <a:pt x="35112" y="332043"/>
                        <a:pt x="23046" y="319976"/>
                        <a:pt x="13995" y="313943"/>
                      </a:cubicBezTo>
                      <a:cubicBezTo>
                        <a:pt x="-10139" y="244557"/>
                        <a:pt x="-25223" y="81652"/>
                        <a:pt x="164833" y="15283"/>
                      </a:cubicBezTo>
                      <a:cubicBezTo>
                        <a:pt x="327738" y="-42035"/>
                        <a:pt x="457459" y="72602"/>
                        <a:pt x="499694" y="181205"/>
                      </a:cubicBezTo>
                      <a:cubicBezTo>
                        <a:pt x="502710" y="181205"/>
                        <a:pt x="276453" y="63552"/>
                        <a:pt x="101481" y="181205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0" name="任意多边形: 形状 49">
                  <a:extLst>
                    <a:ext uri="{FF2B5EF4-FFF2-40B4-BE49-F238E27FC236}">
                      <a16:creationId xmlns:a16="http://schemas.microsoft.com/office/drawing/2014/main" id="{CA947C7B-CBEA-4FBA-AD70-B1C9F33C3FC2}"/>
                    </a:ext>
                  </a:extLst>
                </p:cNvPr>
                <p:cNvSpPr/>
                <p:nvPr/>
              </p:nvSpPr>
              <p:spPr>
                <a:xfrm>
                  <a:off x="19864154" y="2050541"/>
                  <a:ext cx="525617" cy="234600"/>
                </a:xfrm>
                <a:custGeom>
                  <a:avLst/>
                  <a:gdLst>
                    <a:gd name="connsiteX0" fmla="*/ 0 w 525617"/>
                    <a:gd name="connsiteY0" fmla="*/ 119964 h 234600"/>
                    <a:gd name="connsiteX1" fmla="*/ 223241 w 525617"/>
                    <a:gd name="connsiteY1" fmla="*/ 14377 h 234600"/>
                    <a:gd name="connsiteX2" fmla="*/ 524917 w 525617"/>
                    <a:gd name="connsiteY2" fmla="*/ 98846 h 234600"/>
                    <a:gd name="connsiteX3" fmla="*/ 389163 w 525617"/>
                    <a:gd name="connsiteY3" fmla="*/ 234601 h 234600"/>
                    <a:gd name="connsiteX4" fmla="*/ 0 w 525617"/>
                    <a:gd name="connsiteY4" fmla="*/ 119964 h 234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5617" h="234600">
                      <a:moveTo>
                        <a:pt x="0" y="119964"/>
                      </a:moveTo>
                      <a:cubicBezTo>
                        <a:pt x="0" y="119964"/>
                        <a:pt x="72403" y="50578"/>
                        <a:pt x="223241" y="14377"/>
                      </a:cubicBezTo>
                      <a:cubicBezTo>
                        <a:pt x="380111" y="-24841"/>
                        <a:pt x="512849" y="20411"/>
                        <a:pt x="524917" y="98846"/>
                      </a:cubicBezTo>
                      <a:cubicBezTo>
                        <a:pt x="536983" y="174265"/>
                        <a:pt x="389163" y="234601"/>
                        <a:pt x="389163" y="234601"/>
                      </a:cubicBezTo>
                      <a:cubicBezTo>
                        <a:pt x="389163" y="234601"/>
                        <a:pt x="277542" y="65662"/>
                        <a:pt x="0" y="119964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1" name="任意多边形: 形状 50">
                  <a:extLst>
                    <a:ext uri="{FF2B5EF4-FFF2-40B4-BE49-F238E27FC236}">
                      <a16:creationId xmlns:a16="http://schemas.microsoft.com/office/drawing/2014/main" id="{2A004F22-394D-4E30-96F9-031A4E3AA055}"/>
                    </a:ext>
                  </a:extLst>
                </p:cNvPr>
                <p:cNvSpPr/>
                <p:nvPr/>
              </p:nvSpPr>
              <p:spPr>
                <a:xfrm>
                  <a:off x="19914861" y="1952720"/>
                  <a:ext cx="55457" cy="55457"/>
                </a:xfrm>
                <a:custGeom>
                  <a:avLst/>
                  <a:gdLst>
                    <a:gd name="connsiteX0" fmla="*/ 578 w 55457"/>
                    <a:gd name="connsiteY0" fmla="*/ 21695 h 55457"/>
                    <a:gd name="connsiteX1" fmla="*/ 33762 w 55457"/>
                    <a:gd name="connsiteY1" fmla="*/ 578 h 55457"/>
                    <a:gd name="connsiteX2" fmla="*/ 54880 w 55457"/>
                    <a:gd name="connsiteY2" fmla="*/ 33762 h 55457"/>
                    <a:gd name="connsiteX3" fmla="*/ 21696 w 55457"/>
                    <a:gd name="connsiteY3" fmla="*/ 54880 h 55457"/>
                    <a:gd name="connsiteX4" fmla="*/ 578 w 55457"/>
                    <a:gd name="connsiteY4" fmla="*/ 21695 h 55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457" h="55457">
                      <a:moveTo>
                        <a:pt x="578" y="21695"/>
                      </a:moveTo>
                      <a:cubicBezTo>
                        <a:pt x="3594" y="6612"/>
                        <a:pt x="18678" y="-2439"/>
                        <a:pt x="33762" y="578"/>
                      </a:cubicBezTo>
                      <a:cubicBezTo>
                        <a:pt x="48846" y="3595"/>
                        <a:pt x="57896" y="18679"/>
                        <a:pt x="54880" y="33762"/>
                      </a:cubicBezTo>
                      <a:cubicBezTo>
                        <a:pt x="51864" y="48846"/>
                        <a:pt x="36780" y="57896"/>
                        <a:pt x="21696" y="54880"/>
                      </a:cubicBezTo>
                      <a:cubicBezTo>
                        <a:pt x="6612" y="51863"/>
                        <a:pt x="-2440" y="36779"/>
                        <a:pt x="578" y="21695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4B2ACC36-A6BB-439C-928C-708CCFED9FF0}"/>
                  </a:ext>
                </a:extLst>
              </p:cNvPr>
              <p:cNvSpPr/>
              <p:nvPr/>
            </p:nvSpPr>
            <p:spPr>
              <a:xfrm>
                <a:off x="19855858" y="2046362"/>
                <a:ext cx="537921" cy="211628"/>
              </a:xfrm>
              <a:custGeom>
                <a:avLst/>
                <a:gdLst>
                  <a:gd name="connsiteX0" fmla="*/ 454776 w 537921"/>
                  <a:gd name="connsiteY0" fmla="*/ 211629 h 211628"/>
                  <a:gd name="connsiteX1" fmla="*/ 448742 w 537921"/>
                  <a:gd name="connsiteY1" fmla="*/ 208612 h 211628"/>
                  <a:gd name="connsiteX2" fmla="*/ 451760 w 537921"/>
                  <a:gd name="connsiteY2" fmla="*/ 199562 h 211628"/>
                  <a:gd name="connsiteX3" fmla="*/ 527179 w 537921"/>
                  <a:gd name="connsiteY3" fmla="*/ 100009 h 211628"/>
                  <a:gd name="connsiteX4" fmla="*/ 367291 w 537921"/>
                  <a:gd name="connsiteY4" fmla="*/ 12523 h 211628"/>
                  <a:gd name="connsiteX5" fmla="*/ 11312 w 537921"/>
                  <a:gd name="connsiteY5" fmla="*/ 127160 h 211628"/>
                  <a:gd name="connsiteX6" fmla="*/ 2262 w 537921"/>
                  <a:gd name="connsiteY6" fmla="*/ 127160 h 211628"/>
                  <a:gd name="connsiteX7" fmla="*/ 2262 w 537921"/>
                  <a:gd name="connsiteY7" fmla="*/ 118109 h 211628"/>
                  <a:gd name="connsiteX8" fmla="*/ 364273 w 537921"/>
                  <a:gd name="connsiteY8" fmla="*/ 456 h 211628"/>
                  <a:gd name="connsiteX9" fmla="*/ 536229 w 537921"/>
                  <a:gd name="connsiteY9" fmla="*/ 96992 h 211628"/>
                  <a:gd name="connsiteX10" fmla="*/ 454776 w 537921"/>
                  <a:gd name="connsiteY10" fmla="*/ 211629 h 211628"/>
                  <a:gd name="connsiteX11" fmla="*/ 454776 w 537921"/>
                  <a:gd name="connsiteY11" fmla="*/ 211629 h 211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7921" h="211628">
                    <a:moveTo>
                      <a:pt x="454776" y="211629"/>
                    </a:moveTo>
                    <a:cubicBezTo>
                      <a:pt x="451760" y="211629"/>
                      <a:pt x="451760" y="211629"/>
                      <a:pt x="448742" y="208612"/>
                    </a:cubicBezTo>
                    <a:cubicBezTo>
                      <a:pt x="448742" y="205595"/>
                      <a:pt x="448742" y="202579"/>
                      <a:pt x="451760" y="199562"/>
                    </a:cubicBezTo>
                    <a:cubicBezTo>
                      <a:pt x="451760" y="199562"/>
                      <a:pt x="536229" y="160344"/>
                      <a:pt x="527179" y="100009"/>
                    </a:cubicBezTo>
                    <a:cubicBezTo>
                      <a:pt x="515111" y="27607"/>
                      <a:pt x="409525" y="15540"/>
                      <a:pt x="367291" y="12523"/>
                    </a:cubicBezTo>
                    <a:cubicBezTo>
                      <a:pt x="276788" y="9506"/>
                      <a:pt x="141034" y="18556"/>
                      <a:pt x="11312" y="127160"/>
                    </a:cubicBezTo>
                    <a:cubicBezTo>
                      <a:pt x="8296" y="130176"/>
                      <a:pt x="5280" y="130176"/>
                      <a:pt x="2262" y="127160"/>
                    </a:cubicBezTo>
                    <a:cubicBezTo>
                      <a:pt x="-754" y="124143"/>
                      <a:pt x="-754" y="121126"/>
                      <a:pt x="2262" y="118109"/>
                    </a:cubicBezTo>
                    <a:cubicBezTo>
                      <a:pt x="135000" y="6489"/>
                      <a:pt x="273770" y="-2561"/>
                      <a:pt x="364273" y="456"/>
                    </a:cubicBezTo>
                    <a:cubicBezTo>
                      <a:pt x="409525" y="3473"/>
                      <a:pt x="521145" y="15540"/>
                      <a:pt x="536229" y="96992"/>
                    </a:cubicBezTo>
                    <a:cubicBezTo>
                      <a:pt x="551313" y="169394"/>
                      <a:pt x="460810" y="211629"/>
                      <a:pt x="454776" y="211629"/>
                    </a:cubicBezTo>
                    <a:cubicBezTo>
                      <a:pt x="457794" y="211629"/>
                      <a:pt x="457794" y="211629"/>
                      <a:pt x="454776" y="2116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9" name="图形 1">
              <a:extLst>
                <a:ext uri="{FF2B5EF4-FFF2-40B4-BE49-F238E27FC236}">
                  <a16:creationId xmlns:a16="http://schemas.microsoft.com/office/drawing/2014/main" id="{552EA837-D692-47CF-8A98-D1048FF1E700}"/>
                </a:ext>
              </a:extLst>
            </p:cNvPr>
            <p:cNvGrpSpPr/>
            <p:nvPr/>
          </p:nvGrpSpPr>
          <p:grpSpPr>
            <a:xfrm>
              <a:off x="20337785" y="3531064"/>
              <a:ext cx="1197653" cy="745139"/>
              <a:chOff x="20337785" y="3531064"/>
              <a:chExt cx="1197653" cy="745139"/>
            </a:xfrm>
          </p:grpSpPr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194D5FA7-E8E0-494D-B87E-DCC4E59B551E}"/>
                  </a:ext>
                </a:extLst>
              </p:cNvPr>
              <p:cNvSpPr/>
              <p:nvPr/>
            </p:nvSpPr>
            <p:spPr>
              <a:xfrm>
                <a:off x="20419237" y="3531064"/>
                <a:ext cx="1116201" cy="745139"/>
              </a:xfrm>
              <a:custGeom>
                <a:avLst/>
                <a:gdLst>
                  <a:gd name="connsiteX0" fmla="*/ 1 w 1116201"/>
                  <a:gd name="connsiteY0" fmla="*/ 0 h 745139"/>
                  <a:gd name="connsiteX1" fmla="*/ 1116202 w 1116201"/>
                  <a:gd name="connsiteY1" fmla="*/ 0 h 745139"/>
                  <a:gd name="connsiteX2" fmla="*/ 1116202 w 1116201"/>
                  <a:gd name="connsiteY2" fmla="*/ 745140 h 745139"/>
                  <a:gd name="connsiteX3" fmla="*/ 1 w 1116201"/>
                  <a:gd name="connsiteY3" fmla="*/ 745140 h 745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6201" h="745139">
                    <a:moveTo>
                      <a:pt x="1" y="0"/>
                    </a:moveTo>
                    <a:lnTo>
                      <a:pt x="1116202" y="0"/>
                    </a:lnTo>
                    <a:lnTo>
                      <a:pt x="1116202" y="745140"/>
                    </a:lnTo>
                    <a:lnTo>
                      <a:pt x="1" y="745140"/>
                    </a:lnTo>
                    <a:close/>
                  </a:path>
                </a:pathLst>
              </a:custGeom>
              <a:solidFill>
                <a:srgbClr val="E8D2AF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832FB4CE-BD40-4143-8543-61671369EBCF}"/>
                  </a:ext>
                </a:extLst>
              </p:cNvPr>
              <p:cNvSpPr/>
              <p:nvPr/>
            </p:nvSpPr>
            <p:spPr>
              <a:xfrm>
                <a:off x="20337785" y="3531064"/>
                <a:ext cx="965363" cy="745139"/>
              </a:xfrm>
              <a:custGeom>
                <a:avLst/>
                <a:gdLst>
                  <a:gd name="connsiteX0" fmla="*/ 0 w 965363"/>
                  <a:gd name="connsiteY0" fmla="*/ 0 h 745139"/>
                  <a:gd name="connsiteX1" fmla="*/ 965364 w 965363"/>
                  <a:gd name="connsiteY1" fmla="*/ 0 h 745139"/>
                  <a:gd name="connsiteX2" fmla="*/ 965364 w 965363"/>
                  <a:gd name="connsiteY2" fmla="*/ 745140 h 745139"/>
                  <a:gd name="connsiteX3" fmla="*/ 0 w 965363"/>
                  <a:gd name="connsiteY3" fmla="*/ 745140 h 745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5363" h="745139">
                    <a:moveTo>
                      <a:pt x="0" y="0"/>
                    </a:moveTo>
                    <a:lnTo>
                      <a:pt x="965364" y="0"/>
                    </a:lnTo>
                    <a:lnTo>
                      <a:pt x="965364" y="745140"/>
                    </a:lnTo>
                    <a:lnTo>
                      <a:pt x="0" y="745140"/>
                    </a:ln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2B90F9FE-F274-40E8-ADAA-3283F46FFB39}"/>
                  </a:ext>
                </a:extLst>
              </p:cNvPr>
              <p:cNvSpPr/>
              <p:nvPr/>
            </p:nvSpPr>
            <p:spPr>
              <a:xfrm rot="-10800000">
                <a:off x="20912478" y="3630768"/>
                <a:ext cx="295642" cy="39217"/>
              </a:xfrm>
              <a:custGeom>
                <a:avLst/>
                <a:gdLst>
                  <a:gd name="connsiteX0" fmla="*/ 0 w 295642"/>
                  <a:gd name="connsiteY0" fmla="*/ 0 h 39217"/>
                  <a:gd name="connsiteX1" fmla="*/ 295642 w 295642"/>
                  <a:gd name="connsiteY1" fmla="*/ 0 h 39217"/>
                  <a:gd name="connsiteX2" fmla="*/ 295642 w 295642"/>
                  <a:gd name="connsiteY2" fmla="*/ 39218 h 39217"/>
                  <a:gd name="connsiteX3" fmla="*/ 0 w 295642"/>
                  <a:gd name="connsiteY3" fmla="*/ 39218 h 39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5642" h="39217">
                    <a:moveTo>
                      <a:pt x="0" y="0"/>
                    </a:moveTo>
                    <a:lnTo>
                      <a:pt x="295642" y="0"/>
                    </a:lnTo>
                    <a:lnTo>
                      <a:pt x="295642" y="39218"/>
                    </a:lnTo>
                    <a:lnTo>
                      <a:pt x="0" y="39218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F9579090-BEA8-4867-A4F6-3E9FF50C1178}"/>
                  </a:ext>
                </a:extLst>
              </p:cNvPr>
              <p:cNvSpPr/>
              <p:nvPr/>
            </p:nvSpPr>
            <p:spPr>
              <a:xfrm rot="-10800000">
                <a:off x="20912478" y="3722266"/>
                <a:ext cx="295642" cy="39217"/>
              </a:xfrm>
              <a:custGeom>
                <a:avLst/>
                <a:gdLst>
                  <a:gd name="connsiteX0" fmla="*/ 0 w 295642"/>
                  <a:gd name="connsiteY0" fmla="*/ 0 h 39217"/>
                  <a:gd name="connsiteX1" fmla="*/ 295642 w 295642"/>
                  <a:gd name="connsiteY1" fmla="*/ 0 h 39217"/>
                  <a:gd name="connsiteX2" fmla="*/ 295642 w 295642"/>
                  <a:gd name="connsiteY2" fmla="*/ 39218 h 39217"/>
                  <a:gd name="connsiteX3" fmla="*/ 0 w 295642"/>
                  <a:gd name="connsiteY3" fmla="*/ 39218 h 39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95642" h="39217">
                    <a:moveTo>
                      <a:pt x="0" y="0"/>
                    </a:moveTo>
                    <a:lnTo>
                      <a:pt x="295642" y="0"/>
                    </a:lnTo>
                    <a:lnTo>
                      <a:pt x="295642" y="39218"/>
                    </a:lnTo>
                    <a:lnTo>
                      <a:pt x="0" y="39218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5792FCF7-3A8B-4654-8959-2AE864C00F4A}"/>
                  </a:ext>
                </a:extLst>
              </p:cNvPr>
              <p:cNvSpPr/>
              <p:nvPr/>
            </p:nvSpPr>
            <p:spPr>
              <a:xfrm>
                <a:off x="20419062" y="3606483"/>
                <a:ext cx="154030" cy="177988"/>
              </a:xfrm>
              <a:custGeom>
                <a:avLst/>
                <a:gdLst>
                  <a:gd name="connsiteX0" fmla="*/ 75595 w 154030"/>
                  <a:gd name="connsiteY0" fmla="*/ 0 h 177988"/>
                  <a:gd name="connsiteX1" fmla="*/ 154030 w 154030"/>
                  <a:gd name="connsiteY1" fmla="*/ 78436 h 177988"/>
                  <a:gd name="connsiteX2" fmla="*/ 154030 w 154030"/>
                  <a:gd name="connsiteY2" fmla="*/ 81452 h 177988"/>
                  <a:gd name="connsiteX3" fmla="*/ 126879 w 154030"/>
                  <a:gd name="connsiteY3" fmla="*/ 63352 h 177988"/>
                  <a:gd name="connsiteX4" fmla="*/ 102745 w 154030"/>
                  <a:gd name="connsiteY4" fmla="*/ 75419 h 177988"/>
                  <a:gd name="connsiteX5" fmla="*/ 87661 w 154030"/>
                  <a:gd name="connsiteY5" fmla="*/ 63352 h 177988"/>
                  <a:gd name="connsiteX6" fmla="*/ 87661 w 154030"/>
                  <a:gd name="connsiteY6" fmla="*/ 150838 h 177988"/>
                  <a:gd name="connsiteX7" fmla="*/ 96711 w 154030"/>
                  <a:gd name="connsiteY7" fmla="*/ 159888 h 177988"/>
                  <a:gd name="connsiteX8" fmla="*/ 105763 w 154030"/>
                  <a:gd name="connsiteY8" fmla="*/ 150838 h 177988"/>
                  <a:gd name="connsiteX9" fmla="*/ 105763 w 154030"/>
                  <a:gd name="connsiteY9" fmla="*/ 138771 h 177988"/>
                  <a:gd name="connsiteX10" fmla="*/ 120846 w 154030"/>
                  <a:gd name="connsiteY10" fmla="*/ 138771 h 177988"/>
                  <a:gd name="connsiteX11" fmla="*/ 120846 w 154030"/>
                  <a:gd name="connsiteY11" fmla="*/ 150838 h 177988"/>
                  <a:gd name="connsiteX12" fmla="*/ 93695 w 154030"/>
                  <a:gd name="connsiteY12" fmla="*/ 177989 h 177988"/>
                  <a:gd name="connsiteX13" fmla="*/ 66543 w 154030"/>
                  <a:gd name="connsiteY13" fmla="*/ 150838 h 177988"/>
                  <a:gd name="connsiteX14" fmla="*/ 66543 w 154030"/>
                  <a:gd name="connsiteY14" fmla="*/ 63352 h 177988"/>
                  <a:gd name="connsiteX15" fmla="*/ 51460 w 154030"/>
                  <a:gd name="connsiteY15" fmla="*/ 75419 h 177988"/>
                  <a:gd name="connsiteX16" fmla="*/ 27326 w 154030"/>
                  <a:gd name="connsiteY16" fmla="*/ 63352 h 177988"/>
                  <a:gd name="connsiteX17" fmla="*/ 176 w 154030"/>
                  <a:gd name="connsiteY17" fmla="*/ 81452 h 177988"/>
                  <a:gd name="connsiteX18" fmla="*/ 176 w 154030"/>
                  <a:gd name="connsiteY18" fmla="*/ 78436 h 177988"/>
                  <a:gd name="connsiteX19" fmla="*/ 75595 w 154030"/>
                  <a:gd name="connsiteY19" fmla="*/ 0 h 17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54030" h="177988">
                    <a:moveTo>
                      <a:pt x="75595" y="0"/>
                    </a:moveTo>
                    <a:cubicBezTo>
                      <a:pt x="117829" y="0"/>
                      <a:pt x="154030" y="33184"/>
                      <a:pt x="154030" y="78436"/>
                    </a:cubicBezTo>
                    <a:cubicBezTo>
                      <a:pt x="154030" y="78436"/>
                      <a:pt x="154030" y="81452"/>
                      <a:pt x="154030" y="81452"/>
                    </a:cubicBezTo>
                    <a:cubicBezTo>
                      <a:pt x="147996" y="72402"/>
                      <a:pt x="138946" y="63352"/>
                      <a:pt x="126879" y="63352"/>
                    </a:cubicBezTo>
                    <a:cubicBezTo>
                      <a:pt x="117829" y="63352"/>
                      <a:pt x="108779" y="69385"/>
                      <a:pt x="102745" y="75419"/>
                    </a:cubicBezTo>
                    <a:cubicBezTo>
                      <a:pt x="99729" y="69385"/>
                      <a:pt x="93695" y="66369"/>
                      <a:pt x="87661" y="63352"/>
                    </a:cubicBezTo>
                    <a:lnTo>
                      <a:pt x="87661" y="150838"/>
                    </a:lnTo>
                    <a:cubicBezTo>
                      <a:pt x="87661" y="156871"/>
                      <a:pt x="90679" y="159888"/>
                      <a:pt x="96711" y="159888"/>
                    </a:cubicBezTo>
                    <a:cubicBezTo>
                      <a:pt x="102745" y="159888"/>
                      <a:pt x="105763" y="156871"/>
                      <a:pt x="105763" y="150838"/>
                    </a:cubicBezTo>
                    <a:lnTo>
                      <a:pt x="105763" y="138771"/>
                    </a:lnTo>
                    <a:lnTo>
                      <a:pt x="120846" y="138771"/>
                    </a:lnTo>
                    <a:lnTo>
                      <a:pt x="120846" y="150838"/>
                    </a:lnTo>
                    <a:cubicBezTo>
                      <a:pt x="120846" y="165922"/>
                      <a:pt x="108779" y="177989"/>
                      <a:pt x="93695" y="177989"/>
                    </a:cubicBezTo>
                    <a:cubicBezTo>
                      <a:pt x="78611" y="177989"/>
                      <a:pt x="66543" y="165922"/>
                      <a:pt x="66543" y="150838"/>
                    </a:cubicBezTo>
                    <a:lnTo>
                      <a:pt x="66543" y="63352"/>
                    </a:lnTo>
                    <a:cubicBezTo>
                      <a:pt x="60511" y="66369"/>
                      <a:pt x="54477" y="69385"/>
                      <a:pt x="51460" y="75419"/>
                    </a:cubicBezTo>
                    <a:cubicBezTo>
                      <a:pt x="45428" y="66369"/>
                      <a:pt x="36376" y="63352"/>
                      <a:pt x="27326" y="63352"/>
                    </a:cubicBezTo>
                    <a:cubicBezTo>
                      <a:pt x="15260" y="63352"/>
                      <a:pt x="6208" y="69385"/>
                      <a:pt x="176" y="81452"/>
                    </a:cubicBezTo>
                    <a:cubicBezTo>
                      <a:pt x="176" y="81452"/>
                      <a:pt x="176" y="78436"/>
                      <a:pt x="176" y="78436"/>
                    </a:cubicBezTo>
                    <a:cubicBezTo>
                      <a:pt x="-2842" y="36201"/>
                      <a:pt x="33360" y="0"/>
                      <a:pt x="75595" y="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A5B990E6-0209-4586-B2A0-19EB471D8D8B}"/>
                </a:ext>
              </a:extLst>
            </p:cNvPr>
            <p:cNvSpPr/>
            <p:nvPr/>
          </p:nvSpPr>
          <p:spPr>
            <a:xfrm>
              <a:off x="19459907" y="3039332"/>
              <a:ext cx="911061" cy="844692"/>
            </a:xfrm>
            <a:custGeom>
              <a:avLst/>
              <a:gdLst>
                <a:gd name="connsiteX0" fmla="*/ 283576 w 911061"/>
                <a:gd name="connsiteY0" fmla="*/ 0 h 844692"/>
                <a:gd name="connsiteX1" fmla="*/ 413296 w 911061"/>
                <a:gd name="connsiteY1" fmla="*/ 536983 h 844692"/>
                <a:gd name="connsiteX2" fmla="*/ 911062 w 911061"/>
                <a:gd name="connsiteY2" fmla="*/ 708939 h 844692"/>
                <a:gd name="connsiteX3" fmla="*/ 829609 w 911061"/>
                <a:gd name="connsiteY3" fmla="*/ 844693 h 844692"/>
                <a:gd name="connsiteX4" fmla="*/ 181006 w 911061"/>
                <a:gd name="connsiteY4" fmla="*/ 675754 h 844692"/>
                <a:gd name="connsiteX5" fmla="*/ 0 w 911061"/>
                <a:gd name="connsiteY5" fmla="*/ 81453 h 844692"/>
                <a:gd name="connsiteX6" fmla="*/ 283576 w 911061"/>
                <a:gd name="connsiteY6" fmla="*/ 0 h 844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1061" h="844692">
                  <a:moveTo>
                    <a:pt x="283576" y="0"/>
                  </a:moveTo>
                  <a:lnTo>
                    <a:pt x="413296" y="536983"/>
                  </a:lnTo>
                  <a:lnTo>
                    <a:pt x="911062" y="708939"/>
                  </a:lnTo>
                  <a:lnTo>
                    <a:pt x="829609" y="844693"/>
                  </a:lnTo>
                  <a:cubicBezTo>
                    <a:pt x="829609" y="844693"/>
                    <a:pt x="280560" y="754190"/>
                    <a:pt x="181006" y="675754"/>
                  </a:cubicBezTo>
                  <a:cubicBezTo>
                    <a:pt x="81453" y="597319"/>
                    <a:pt x="0" y="81453"/>
                    <a:pt x="0" y="81453"/>
                  </a:cubicBezTo>
                  <a:lnTo>
                    <a:pt x="283576" y="0"/>
                  </a:ln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02BC6299-975E-4973-BF2D-19776B9645FA}"/>
                </a:ext>
              </a:extLst>
            </p:cNvPr>
            <p:cNvGrpSpPr/>
            <p:nvPr/>
          </p:nvGrpSpPr>
          <p:grpSpPr>
            <a:xfrm>
              <a:off x="20259348" y="3736108"/>
              <a:ext cx="381926" cy="270809"/>
              <a:chOff x="20259348" y="3736108"/>
              <a:chExt cx="381926" cy="270809"/>
            </a:xfrm>
          </p:grpSpPr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E5E7804E-DCBA-417C-8C17-7C9993C823AF}"/>
                  </a:ext>
                </a:extLst>
              </p:cNvPr>
              <p:cNvSpPr/>
              <p:nvPr/>
            </p:nvSpPr>
            <p:spPr>
              <a:xfrm>
                <a:off x="20259348" y="3736108"/>
                <a:ext cx="381926" cy="270809"/>
              </a:xfrm>
              <a:custGeom>
                <a:avLst/>
                <a:gdLst>
                  <a:gd name="connsiteX0" fmla="*/ 30168 w 381926"/>
                  <a:gd name="connsiteY0" fmla="*/ 147916 h 270809"/>
                  <a:gd name="connsiteX1" fmla="*/ 114638 w 381926"/>
                  <a:gd name="connsiteY1" fmla="*/ 193168 h 270809"/>
                  <a:gd name="connsiteX2" fmla="*/ 196089 w 381926"/>
                  <a:gd name="connsiteY2" fmla="*/ 250486 h 270809"/>
                  <a:gd name="connsiteX3" fmla="*/ 247375 w 381926"/>
                  <a:gd name="connsiteY3" fmla="*/ 268587 h 270809"/>
                  <a:gd name="connsiteX4" fmla="*/ 217207 w 381926"/>
                  <a:gd name="connsiteY4" fmla="*/ 211268 h 270809"/>
                  <a:gd name="connsiteX5" fmla="*/ 265476 w 381926"/>
                  <a:gd name="connsiteY5" fmla="*/ 238419 h 270809"/>
                  <a:gd name="connsiteX6" fmla="*/ 340895 w 381926"/>
                  <a:gd name="connsiteY6" fmla="*/ 253503 h 270809"/>
                  <a:gd name="connsiteX7" fmla="*/ 346927 w 381926"/>
                  <a:gd name="connsiteY7" fmla="*/ 238419 h 270809"/>
                  <a:gd name="connsiteX8" fmla="*/ 380113 w 381926"/>
                  <a:gd name="connsiteY8" fmla="*/ 235403 h 270809"/>
                  <a:gd name="connsiteX9" fmla="*/ 349945 w 381926"/>
                  <a:gd name="connsiteY9" fmla="*/ 175067 h 270809"/>
                  <a:gd name="connsiteX10" fmla="*/ 301676 w 381926"/>
                  <a:gd name="connsiteY10" fmla="*/ 135849 h 270809"/>
                  <a:gd name="connsiteX11" fmla="*/ 343911 w 381926"/>
                  <a:gd name="connsiteY11" fmla="*/ 147916 h 270809"/>
                  <a:gd name="connsiteX12" fmla="*/ 365029 w 381926"/>
                  <a:gd name="connsiteY12" fmla="*/ 144900 h 270809"/>
                  <a:gd name="connsiteX13" fmla="*/ 313744 w 381926"/>
                  <a:gd name="connsiteY13" fmla="*/ 87581 h 270809"/>
                  <a:gd name="connsiteX14" fmla="*/ 66369 w 381926"/>
                  <a:gd name="connsiteY14" fmla="*/ 95 h 270809"/>
                  <a:gd name="connsiteX15" fmla="*/ 0 w 381926"/>
                  <a:gd name="connsiteY15" fmla="*/ 108699 h 270809"/>
                  <a:gd name="connsiteX16" fmla="*/ 30168 w 381926"/>
                  <a:gd name="connsiteY16" fmla="*/ 147916 h 270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81926" h="270809">
                    <a:moveTo>
                      <a:pt x="30168" y="147916"/>
                    </a:moveTo>
                    <a:cubicBezTo>
                      <a:pt x="57319" y="163000"/>
                      <a:pt x="87487" y="175067"/>
                      <a:pt x="114638" y="193168"/>
                    </a:cubicBezTo>
                    <a:cubicBezTo>
                      <a:pt x="141788" y="211268"/>
                      <a:pt x="168940" y="232386"/>
                      <a:pt x="196089" y="250486"/>
                    </a:cubicBezTo>
                    <a:cubicBezTo>
                      <a:pt x="205141" y="256520"/>
                      <a:pt x="235309" y="277637"/>
                      <a:pt x="247375" y="268587"/>
                    </a:cubicBezTo>
                    <a:cubicBezTo>
                      <a:pt x="265476" y="259537"/>
                      <a:pt x="241341" y="232386"/>
                      <a:pt x="217207" y="211268"/>
                    </a:cubicBezTo>
                    <a:cubicBezTo>
                      <a:pt x="232291" y="220319"/>
                      <a:pt x="250393" y="229369"/>
                      <a:pt x="265476" y="238419"/>
                    </a:cubicBezTo>
                    <a:cubicBezTo>
                      <a:pt x="283576" y="247470"/>
                      <a:pt x="319778" y="265570"/>
                      <a:pt x="340895" y="253503"/>
                    </a:cubicBezTo>
                    <a:cubicBezTo>
                      <a:pt x="346927" y="250486"/>
                      <a:pt x="349945" y="244453"/>
                      <a:pt x="346927" y="238419"/>
                    </a:cubicBezTo>
                    <a:cubicBezTo>
                      <a:pt x="362011" y="244453"/>
                      <a:pt x="374079" y="244453"/>
                      <a:pt x="380113" y="235403"/>
                    </a:cubicBezTo>
                    <a:cubicBezTo>
                      <a:pt x="389163" y="217302"/>
                      <a:pt x="362011" y="187134"/>
                      <a:pt x="349945" y="175067"/>
                    </a:cubicBezTo>
                    <a:cubicBezTo>
                      <a:pt x="334861" y="159984"/>
                      <a:pt x="319778" y="147916"/>
                      <a:pt x="301676" y="135849"/>
                    </a:cubicBezTo>
                    <a:cubicBezTo>
                      <a:pt x="316760" y="141883"/>
                      <a:pt x="331844" y="144900"/>
                      <a:pt x="343911" y="147916"/>
                    </a:cubicBezTo>
                    <a:cubicBezTo>
                      <a:pt x="352961" y="147916"/>
                      <a:pt x="358995" y="150933"/>
                      <a:pt x="365029" y="144900"/>
                    </a:cubicBezTo>
                    <a:cubicBezTo>
                      <a:pt x="383129" y="120766"/>
                      <a:pt x="325812" y="93615"/>
                      <a:pt x="313744" y="87581"/>
                    </a:cubicBezTo>
                    <a:cubicBezTo>
                      <a:pt x="235309" y="45347"/>
                      <a:pt x="150838" y="27246"/>
                      <a:pt x="66369" y="95"/>
                    </a:cubicBezTo>
                    <a:cubicBezTo>
                      <a:pt x="66369" y="-2922"/>
                      <a:pt x="3018" y="66464"/>
                      <a:pt x="0" y="108699"/>
                    </a:cubicBezTo>
                    <a:cubicBezTo>
                      <a:pt x="3018" y="129816"/>
                      <a:pt x="9052" y="135849"/>
                      <a:pt x="30168" y="14791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B30337CE-2DA4-4F41-82B7-EBEB9A9222B4}"/>
                  </a:ext>
                </a:extLst>
              </p:cNvPr>
              <p:cNvSpPr/>
              <p:nvPr/>
            </p:nvSpPr>
            <p:spPr>
              <a:xfrm>
                <a:off x="20475306" y="3780205"/>
                <a:ext cx="161137" cy="109853"/>
              </a:xfrm>
              <a:custGeom>
                <a:avLst/>
                <a:gdLst>
                  <a:gd name="connsiteX0" fmla="*/ 133987 w 161137"/>
                  <a:gd name="connsiteY0" fmla="*/ 109853 h 109853"/>
                  <a:gd name="connsiteX1" fmla="*/ 85718 w 161137"/>
                  <a:gd name="connsiteY1" fmla="*/ 94769 h 109853"/>
                  <a:gd name="connsiteX2" fmla="*/ 13317 w 161137"/>
                  <a:gd name="connsiteY2" fmla="*/ 61585 h 109853"/>
                  <a:gd name="connsiteX3" fmla="*/ 13317 w 161137"/>
                  <a:gd name="connsiteY3" fmla="*/ 61585 h 109853"/>
                  <a:gd name="connsiteX4" fmla="*/ 7283 w 161137"/>
                  <a:gd name="connsiteY4" fmla="*/ 55551 h 109853"/>
                  <a:gd name="connsiteX5" fmla="*/ 13317 w 161137"/>
                  <a:gd name="connsiteY5" fmla="*/ 49518 h 109853"/>
                  <a:gd name="connsiteX6" fmla="*/ 91752 w 161137"/>
                  <a:gd name="connsiteY6" fmla="*/ 85719 h 109853"/>
                  <a:gd name="connsiteX7" fmla="*/ 149071 w 161137"/>
                  <a:gd name="connsiteY7" fmla="*/ 94769 h 109853"/>
                  <a:gd name="connsiteX8" fmla="*/ 149071 w 161137"/>
                  <a:gd name="connsiteY8" fmla="*/ 91752 h 109853"/>
                  <a:gd name="connsiteX9" fmla="*/ 4267 w 161137"/>
                  <a:gd name="connsiteY9" fmla="*/ 10300 h 109853"/>
                  <a:gd name="connsiteX10" fmla="*/ 1249 w 161137"/>
                  <a:gd name="connsiteY10" fmla="*/ 4267 h 109853"/>
                  <a:gd name="connsiteX11" fmla="*/ 7283 w 161137"/>
                  <a:gd name="connsiteY11" fmla="*/ 1250 h 109853"/>
                  <a:gd name="connsiteX12" fmla="*/ 161137 w 161137"/>
                  <a:gd name="connsiteY12" fmla="*/ 91752 h 109853"/>
                  <a:gd name="connsiteX13" fmla="*/ 155105 w 161137"/>
                  <a:gd name="connsiteY13" fmla="*/ 106836 h 109853"/>
                  <a:gd name="connsiteX14" fmla="*/ 133987 w 161137"/>
                  <a:gd name="connsiteY14" fmla="*/ 109853 h 109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61137" h="109853">
                    <a:moveTo>
                      <a:pt x="133987" y="109853"/>
                    </a:moveTo>
                    <a:cubicBezTo>
                      <a:pt x="112870" y="109853"/>
                      <a:pt x="88736" y="97786"/>
                      <a:pt x="85718" y="94769"/>
                    </a:cubicBezTo>
                    <a:cubicBezTo>
                      <a:pt x="55551" y="76669"/>
                      <a:pt x="22367" y="61585"/>
                      <a:pt x="13317" y="61585"/>
                    </a:cubicBezTo>
                    <a:cubicBezTo>
                      <a:pt x="13317" y="61585"/>
                      <a:pt x="13317" y="61585"/>
                      <a:pt x="13317" y="61585"/>
                    </a:cubicBezTo>
                    <a:cubicBezTo>
                      <a:pt x="10299" y="61585"/>
                      <a:pt x="7283" y="58568"/>
                      <a:pt x="7283" y="55551"/>
                    </a:cubicBezTo>
                    <a:cubicBezTo>
                      <a:pt x="7283" y="52535"/>
                      <a:pt x="10299" y="49518"/>
                      <a:pt x="13317" y="49518"/>
                    </a:cubicBezTo>
                    <a:cubicBezTo>
                      <a:pt x="28401" y="49518"/>
                      <a:pt x="76668" y="76669"/>
                      <a:pt x="91752" y="85719"/>
                    </a:cubicBezTo>
                    <a:cubicBezTo>
                      <a:pt x="103820" y="91752"/>
                      <a:pt x="137003" y="103819"/>
                      <a:pt x="149071" y="94769"/>
                    </a:cubicBezTo>
                    <a:cubicBezTo>
                      <a:pt x="149071" y="94769"/>
                      <a:pt x="152087" y="91752"/>
                      <a:pt x="149071" y="91752"/>
                    </a:cubicBezTo>
                    <a:cubicBezTo>
                      <a:pt x="146053" y="76669"/>
                      <a:pt x="97786" y="40468"/>
                      <a:pt x="4267" y="10300"/>
                    </a:cubicBezTo>
                    <a:cubicBezTo>
                      <a:pt x="1249" y="10300"/>
                      <a:pt x="-1767" y="7283"/>
                      <a:pt x="1249" y="4267"/>
                    </a:cubicBezTo>
                    <a:cubicBezTo>
                      <a:pt x="1249" y="1250"/>
                      <a:pt x="4267" y="-1767"/>
                      <a:pt x="7283" y="1250"/>
                    </a:cubicBezTo>
                    <a:cubicBezTo>
                      <a:pt x="91752" y="28400"/>
                      <a:pt x="155105" y="64602"/>
                      <a:pt x="161137" y="91752"/>
                    </a:cubicBezTo>
                    <a:cubicBezTo>
                      <a:pt x="161137" y="97786"/>
                      <a:pt x="161137" y="103819"/>
                      <a:pt x="155105" y="106836"/>
                    </a:cubicBezTo>
                    <a:cubicBezTo>
                      <a:pt x="149071" y="106836"/>
                      <a:pt x="140021" y="109853"/>
                      <a:pt x="133987" y="10985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E9781EE3-25F4-4053-BF53-63B9221163C0}"/>
                  </a:ext>
                </a:extLst>
              </p:cNvPr>
              <p:cNvSpPr/>
              <p:nvPr/>
            </p:nvSpPr>
            <p:spPr>
              <a:xfrm>
                <a:off x="20469272" y="3876741"/>
                <a:ext cx="142283" cy="106836"/>
              </a:xfrm>
              <a:custGeom>
                <a:avLst/>
                <a:gdLst>
                  <a:gd name="connsiteX0" fmla="*/ 137003 w 142283"/>
                  <a:gd name="connsiteY0" fmla="*/ 103819 h 106836"/>
                  <a:gd name="connsiteX1" fmla="*/ 133987 w 142283"/>
                  <a:gd name="connsiteY1" fmla="*/ 103819 h 106836"/>
                  <a:gd name="connsiteX2" fmla="*/ 4267 w 142283"/>
                  <a:gd name="connsiteY2" fmla="*/ 10300 h 106836"/>
                  <a:gd name="connsiteX3" fmla="*/ 1249 w 142283"/>
                  <a:gd name="connsiteY3" fmla="*/ 4266 h 106836"/>
                  <a:gd name="connsiteX4" fmla="*/ 7283 w 142283"/>
                  <a:gd name="connsiteY4" fmla="*/ 1250 h 106836"/>
                  <a:gd name="connsiteX5" fmla="*/ 140021 w 142283"/>
                  <a:gd name="connsiteY5" fmla="*/ 97786 h 106836"/>
                  <a:gd name="connsiteX6" fmla="*/ 140021 w 142283"/>
                  <a:gd name="connsiteY6" fmla="*/ 106836 h 106836"/>
                  <a:gd name="connsiteX7" fmla="*/ 137003 w 142283"/>
                  <a:gd name="connsiteY7" fmla="*/ 103819 h 106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2283" h="106836">
                    <a:moveTo>
                      <a:pt x="137003" y="103819"/>
                    </a:moveTo>
                    <a:cubicBezTo>
                      <a:pt x="137003" y="103819"/>
                      <a:pt x="133987" y="103819"/>
                      <a:pt x="133987" y="103819"/>
                    </a:cubicBezTo>
                    <a:cubicBezTo>
                      <a:pt x="133987" y="103819"/>
                      <a:pt x="37451" y="19350"/>
                      <a:pt x="4267" y="10300"/>
                    </a:cubicBezTo>
                    <a:cubicBezTo>
                      <a:pt x="1249" y="10300"/>
                      <a:pt x="-1767" y="7283"/>
                      <a:pt x="1249" y="4266"/>
                    </a:cubicBezTo>
                    <a:cubicBezTo>
                      <a:pt x="1249" y="1250"/>
                      <a:pt x="4267" y="-1767"/>
                      <a:pt x="7283" y="1250"/>
                    </a:cubicBezTo>
                    <a:cubicBezTo>
                      <a:pt x="43485" y="10300"/>
                      <a:pt x="137003" y="94769"/>
                      <a:pt x="140021" y="97786"/>
                    </a:cubicBezTo>
                    <a:cubicBezTo>
                      <a:pt x="143037" y="100803"/>
                      <a:pt x="143037" y="103819"/>
                      <a:pt x="140021" y="106836"/>
                    </a:cubicBezTo>
                    <a:cubicBezTo>
                      <a:pt x="140021" y="103819"/>
                      <a:pt x="137003" y="103819"/>
                      <a:pt x="137003" y="10381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CDB275C0-079B-4758-BA2B-9C78B94DB27C}"/>
                  </a:ext>
                </a:extLst>
              </p:cNvPr>
              <p:cNvSpPr/>
              <p:nvPr/>
            </p:nvSpPr>
            <p:spPr>
              <a:xfrm>
                <a:off x="20422254" y="3914192"/>
                <a:ext cx="60335" cy="39217"/>
              </a:xfrm>
              <a:custGeom>
                <a:avLst/>
                <a:gdLst>
                  <a:gd name="connsiteX0" fmla="*/ 54301 w 60335"/>
                  <a:gd name="connsiteY0" fmla="*/ 39218 h 39217"/>
                  <a:gd name="connsiteX1" fmla="*/ 54301 w 60335"/>
                  <a:gd name="connsiteY1" fmla="*/ 39218 h 39217"/>
                  <a:gd name="connsiteX2" fmla="*/ 3016 w 60335"/>
                  <a:gd name="connsiteY2" fmla="*/ 12067 h 39217"/>
                  <a:gd name="connsiteX3" fmla="*/ 0 w 60335"/>
                  <a:gd name="connsiteY3" fmla="*/ 3017 h 39217"/>
                  <a:gd name="connsiteX4" fmla="*/ 9050 w 60335"/>
                  <a:gd name="connsiteY4" fmla="*/ 0 h 39217"/>
                  <a:gd name="connsiteX5" fmla="*/ 57319 w 60335"/>
                  <a:gd name="connsiteY5" fmla="*/ 24134 h 39217"/>
                  <a:gd name="connsiteX6" fmla="*/ 60335 w 60335"/>
                  <a:gd name="connsiteY6" fmla="*/ 33184 h 39217"/>
                  <a:gd name="connsiteX7" fmla="*/ 54301 w 60335"/>
                  <a:gd name="connsiteY7" fmla="*/ 39218 h 39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0335" h="39217">
                    <a:moveTo>
                      <a:pt x="54301" y="39218"/>
                    </a:moveTo>
                    <a:cubicBezTo>
                      <a:pt x="54301" y="39218"/>
                      <a:pt x="51285" y="39218"/>
                      <a:pt x="54301" y="39218"/>
                    </a:cubicBezTo>
                    <a:lnTo>
                      <a:pt x="3016" y="12067"/>
                    </a:lnTo>
                    <a:cubicBezTo>
                      <a:pt x="0" y="12067"/>
                      <a:pt x="0" y="6034"/>
                      <a:pt x="0" y="3017"/>
                    </a:cubicBezTo>
                    <a:cubicBezTo>
                      <a:pt x="0" y="0"/>
                      <a:pt x="6034" y="0"/>
                      <a:pt x="9050" y="0"/>
                    </a:cubicBezTo>
                    <a:lnTo>
                      <a:pt x="57319" y="24134"/>
                    </a:lnTo>
                    <a:cubicBezTo>
                      <a:pt x="60335" y="24134"/>
                      <a:pt x="60335" y="30168"/>
                      <a:pt x="60335" y="33184"/>
                    </a:cubicBezTo>
                    <a:cubicBezTo>
                      <a:pt x="57319" y="39218"/>
                      <a:pt x="57319" y="39218"/>
                      <a:pt x="54301" y="3921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2A87BF63-AD81-46D5-9A41-51537B60FF2A}"/>
                  </a:ext>
                </a:extLst>
              </p:cNvPr>
              <p:cNvSpPr/>
              <p:nvPr/>
            </p:nvSpPr>
            <p:spPr>
              <a:xfrm>
                <a:off x="20380773" y="3802572"/>
                <a:ext cx="56564" cy="102569"/>
              </a:xfrm>
              <a:custGeom>
                <a:avLst/>
                <a:gdLst>
                  <a:gd name="connsiteX0" fmla="*/ 5279 w 56564"/>
                  <a:gd name="connsiteY0" fmla="*/ 102570 h 102569"/>
                  <a:gd name="connsiteX1" fmla="*/ 2263 w 56564"/>
                  <a:gd name="connsiteY1" fmla="*/ 99553 h 102569"/>
                  <a:gd name="connsiteX2" fmla="*/ 2263 w 56564"/>
                  <a:gd name="connsiteY2" fmla="*/ 90503 h 102569"/>
                  <a:gd name="connsiteX3" fmla="*/ 44497 w 56564"/>
                  <a:gd name="connsiteY3" fmla="*/ 6033 h 102569"/>
                  <a:gd name="connsiteX4" fmla="*/ 50531 w 56564"/>
                  <a:gd name="connsiteY4" fmla="*/ 0 h 102569"/>
                  <a:gd name="connsiteX5" fmla="*/ 50531 w 56564"/>
                  <a:gd name="connsiteY5" fmla="*/ 0 h 102569"/>
                  <a:gd name="connsiteX6" fmla="*/ 56565 w 56564"/>
                  <a:gd name="connsiteY6" fmla="*/ 6033 h 102569"/>
                  <a:gd name="connsiteX7" fmla="*/ 11313 w 56564"/>
                  <a:gd name="connsiteY7" fmla="*/ 99553 h 102569"/>
                  <a:gd name="connsiteX8" fmla="*/ 5279 w 56564"/>
                  <a:gd name="connsiteY8" fmla="*/ 102570 h 102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564" h="102569">
                    <a:moveTo>
                      <a:pt x="5279" y="102570"/>
                    </a:moveTo>
                    <a:cubicBezTo>
                      <a:pt x="2263" y="102570"/>
                      <a:pt x="2263" y="102570"/>
                      <a:pt x="2263" y="99553"/>
                    </a:cubicBezTo>
                    <a:cubicBezTo>
                      <a:pt x="-754" y="96536"/>
                      <a:pt x="-754" y="93520"/>
                      <a:pt x="2263" y="90503"/>
                    </a:cubicBezTo>
                    <a:cubicBezTo>
                      <a:pt x="41481" y="57318"/>
                      <a:pt x="44497" y="6033"/>
                      <a:pt x="44497" y="6033"/>
                    </a:cubicBezTo>
                    <a:cubicBezTo>
                      <a:pt x="44497" y="3017"/>
                      <a:pt x="47515" y="0"/>
                      <a:pt x="50531" y="0"/>
                    </a:cubicBezTo>
                    <a:cubicBezTo>
                      <a:pt x="50531" y="0"/>
                      <a:pt x="50531" y="0"/>
                      <a:pt x="50531" y="0"/>
                    </a:cubicBezTo>
                    <a:cubicBezTo>
                      <a:pt x="53549" y="0"/>
                      <a:pt x="56565" y="3017"/>
                      <a:pt x="56565" y="6033"/>
                    </a:cubicBezTo>
                    <a:cubicBezTo>
                      <a:pt x="56565" y="9050"/>
                      <a:pt x="56565" y="63352"/>
                      <a:pt x="11313" y="99553"/>
                    </a:cubicBezTo>
                    <a:cubicBezTo>
                      <a:pt x="8297" y="102570"/>
                      <a:pt x="8297" y="102570"/>
                      <a:pt x="5279" y="10257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BE33E6E3-7112-46EF-A8CA-D07C93B77091}"/>
                </a:ext>
              </a:extLst>
            </p:cNvPr>
            <p:cNvSpPr/>
            <p:nvPr/>
          </p:nvSpPr>
          <p:spPr>
            <a:xfrm>
              <a:off x="19734433" y="3036315"/>
              <a:ext cx="141788" cy="576201"/>
            </a:xfrm>
            <a:custGeom>
              <a:avLst/>
              <a:gdLst>
                <a:gd name="connsiteX0" fmla="*/ 78435 w 141788"/>
                <a:gd name="connsiteY0" fmla="*/ 576201 h 576201"/>
                <a:gd name="connsiteX1" fmla="*/ 72401 w 141788"/>
                <a:gd name="connsiteY1" fmla="*/ 573184 h 576201"/>
                <a:gd name="connsiteX2" fmla="*/ 75419 w 141788"/>
                <a:gd name="connsiteY2" fmla="*/ 567151 h 576201"/>
                <a:gd name="connsiteX3" fmla="*/ 129720 w 141788"/>
                <a:gd name="connsiteY3" fmla="*/ 536983 h 576201"/>
                <a:gd name="connsiteX4" fmla="*/ 0 w 141788"/>
                <a:gd name="connsiteY4" fmla="*/ 3017 h 576201"/>
                <a:gd name="connsiteX5" fmla="*/ 12066 w 141788"/>
                <a:gd name="connsiteY5" fmla="*/ 0 h 576201"/>
                <a:gd name="connsiteX6" fmla="*/ 141788 w 141788"/>
                <a:gd name="connsiteY6" fmla="*/ 536983 h 576201"/>
                <a:gd name="connsiteX7" fmla="*/ 138770 w 141788"/>
                <a:gd name="connsiteY7" fmla="*/ 543017 h 576201"/>
                <a:gd name="connsiteX8" fmla="*/ 78435 w 141788"/>
                <a:gd name="connsiteY8" fmla="*/ 576201 h 576201"/>
                <a:gd name="connsiteX9" fmla="*/ 78435 w 141788"/>
                <a:gd name="connsiteY9" fmla="*/ 576201 h 576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1788" h="576201">
                  <a:moveTo>
                    <a:pt x="78435" y="576201"/>
                  </a:moveTo>
                  <a:cubicBezTo>
                    <a:pt x="75419" y="576201"/>
                    <a:pt x="75419" y="576201"/>
                    <a:pt x="72401" y="573184"/>
                  </a:cubicBezTo>
                  <a:cubicBezTo>
                    <a:pt x="72401" y="570168"/>
                    <a:pt x="72401" y="567151"/>
                    <a:pt x="75419" y="567151"/>
                  </a:cubicBezTo>
                  <a:cubicBezTo>
                    <a:pt x="90503" y="561117"/>
                    <a:pt x="120670" y="543017"/>
                    <a:pt x="129720" y="536983"/>
                  </a:cubicBezTo>
                  <a:lnTo>
                    <a:pt x="0" y="3017"/>
                  </a:lnTo>
                  <a:lnTo>
                    <a:pt x="12066" y="0"/>
                  </a:lnTo>
                  <a:lnTo>
                    <a:pt x="141788" y="536983"/>
                  </a:lnTo>
                  <a:cubicBezTo>
                    <a:pt x="141788" y="540000"/>
                    <a:pt x="141788" y="543017"/>
                    <a:pt x="138770" y="543017"/>
                  </a:cubicBezTo>
                  <a:cubicBezTo>
                    <a:pt x="138770" y="546034"/>
                    <a:pt x="99553" y="570168"/>
                    <a:pt x="78435" y="576201"/>
                  </a:cubicBezTo>
                  <a:cubicBezTo>
                    <a:pt x="81453" y="576201"/>
                    <a:pt x="81453" y="576201"/>
                    <a:pt x="78435" y="576201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F5FCAD2D-E611-4572-AB7E-996D9C12BC84}"/>
                </a:ext>
              </a:extLst>
            </p:cNvPr>
            <p:cNvSpPr/>
            <p:nvPr/>
          </p:nvSpPr>
          <p:spPr>
            <a:xfrm>
              <a:off x="19413973" y="2697321"/>
              <a:ext cx="420012" cy="598644"/>
            </a:xfrm>
            <a:custGeom>
              <a:avLst/>
              <a:gdLst>
                <a:gd name="connsiteX0" fmla="*/ 21800 w 420012"/>
                <a:gd name="connsiteY0" fmla="*/ 598436 h 598644"/>
                <a:gd name="connsiteX1" fmla="*/ 76101 w 420012"/>
                <a:gd name="connsiteY1" fmla="*/ 7151 h 598644"/>
                <a:gd name="connsiteX2" fmla="*/ 420013 w 420012"/>
                <a:gd name="connsiteY2" fmla="*/ 477765 h 598644"/>
                <a:gd name="connsiteX3" fmla="*/ 21800 w 420012"/>
                <a:gd name="connsiteY3" fmla="*/ 598436 h 598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0012" h="598644">
                  <a:moveTo>
                    <a:pt x="21800" y="598436"/>
                  </a:moveTo>
                  <a:cubicBezTo>
                    <a:pt x="21800" y="598436"/>
                    <a:pt x="-53619" y="70503"/>
                    <a:pt x="76101" y="7151"/>
                  </a:cubicBezTo>
                  <a:cubicBezTo>
                    <a:pt x="226939" y="-68268"/>
                    <a:pt x="420013" y="477765"/>
                    <a:pt x="420013" y="477765"/>
                  </a:cubicBezTo>
                  <a:cubicBezTo>
                    <a:pt x="420013" y="477765"/>
                    <a:pt x="232973" y="604469"/>
                    <a:pt x="21800" y="598436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E931F38D-13B7-47A2-B0D1-3270514F8624}"/>
                </a:ext>
              </a:extLst>
            </p:cNvPr>
            <p:cNvSpPr/>
            <p:nvPr/>
          </p:nvSpPr>
          <p:spPr>
            <a:xfrm>
              <a:off x="19410765" y="2695064"/>
              <a:ext cx="441321" cy="609742"/>
            </a:xfrm>
            <a:custGeom>
              <a:avLst/>
              <a:gdLst>
                <a:gd name="connsiteX0" fmla="*/ 73278 w 441321"/>
                <a:gd name="connsiteY0" fmla="*/ 609743 h 609742"/>
                <a:gd name="connsiteX1" fmla="*/ 25009 w 441321"/>
                <a:gd name="connsiteY1" fmla="*/ 606726 h 609742"/>
                <a:gd name="connsiteX2" fmla="*/ 21993 w 441321"/>
                <a:gd name="connsiteY2" fmla="*/ 606726 h 609742"/>
                <a:gd name="connsiteX3" fmla="*/ 21993 w 441321"/>
                <a:gd name="connsiteY3" fmla="*/ 603709 h 609742"/>
                <a:gd name="connsiteX4" fmla="*/ 875 w 441321"/>
                <a:gd name="connsiteY4" fmla="*/ 302033 h 609742"/>
                <a:gd name="connsiteX5" fmla="*/ 6909 w 441321"/>
                <a:gd name="connsiteY5" fmla="*/ 295999 h 609742"/>
                <a:gd name="connsiteX6" fmla="*/ 12943 w 441321"/>
                <a:gd name="connsiteY6" fmla="*/ 302033 h 609742"/>
                <a:gd name="connsiteX7" fmla="*/ 34059 w 441321"/>
                <a:gd name="connsiteY7" fmla="*/ 594659 h 609742"/>
                <a:gd name="connsiteX8" fmla="*/ 423221 w 441321"/>
                <a:gd name="connsiteY8" fmla="*/ 477005 h 609742"/>
                <a:gd name="connsiteX9" fmla="*/ 275399 w 441321"/>
                <a:gd name="connsiteY9" fmla="*/ 157229 h 609742"/>
                <a:gd name="connsiteX10" fmla="*/ 85344 w 441321"/>
                <a:gd name="connsiteY10" fmla="*/ 12424 h 609742"/>
                <a:gd name="connsiteX11" fmla="*/ 79310 w 441321"/>
                <a:gd name="connsiteY11" fmla="*/ 6391 h 609742"/>
                <a:gd name="connsiteX12" fmla="*/ 85344 w 441321"/>
                <a:gd name="connsiteY12" fmla="*/ 357 h 609742"/>
                <a:gd name="connsiteX13" fmla="*/ 287467 w 441321"/>
                <a:gd name="connsiteY13" fmla="*/ 151195 h 609742"/>
                <a:gd name="connsiteX14" fmla="*/ 438305 w 441321"/>
                <a:gd name="connsiteY14" fmla="*/ 473988 h 609742"/>
                <a:gd name="connsiteX15" fmla="*/ 441321 w 441321"/>
                <a:gd name="connsiteY15" fmla="*/ 477005 h 609742"/>
                <a:gd name="connsiteX16" fmla="*/ 438305 w 441321"/>
                <a:gd name="connsiteY16" fmla="*/ 480022 h 609742"/>
                <a:gd name="connsiteX17" fmla="*/ 73278 w 441321"/>
                <a:gd name="connsiteY17" fmla="*/ 609743 h 609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1321" h="609742">
                  <a:moveTo>
                    <a:pt x="73278" y="609743"/>
                  </a:moveTo>
                  <a:cubicBezTo>
                    <a:pt x="58194" y="609743"/>
                    <a:pt x="40092" y="609743"/>
                    <a:pt x="25009" y="606726"/>
                  </a:cubicBezTo>
                  <a:lnTo>
                    <a:pt x="21993" y="606726"/>
                  </a:lnTo>
                  <a:lnTo>
                    <a:pt x="21993" y="603709"/>
                  </a:lnTo>
                  <a:cubicBezTo>
                    <a:pt x="21993" y="600692"/>
                    <a:pt x="-5159" y="422703"/>
                    <a:pt x="875" y="302033"/>
                  </a:cubicBezTo>
                  <a:cubicBezTo>
                    <a:pt x="875" y="299016"/>
                    <a:pt x="3891" y="295999"/>
                    <a:pt x="6909" y="295999"/>
                  </a:cubicBezTo>
                  <a:cubicBezTo>
                    <a:pt x="9925" y="295999"/>
                    <a:pt x="12943" y="299016"/>
                    <a:pt x="12943" y="302033"/>
                  </a:cubicBezTo>
                  <a:cubicBezTo>
                    <a:pt x="6909" y="410636"/>
                    <a:pt x="31043" y="567508"/>
                    <a:pt x="34059" y="594659"/>
                  </a:cubicBezTo>
                  <a:cubicBezTo>
                    <a:pt x="206014" y="615776"/>
                    <a:pt x="393054" y="495106"/>
                    <a:pt x="423221" y="477005"/>
                  </a:cubicBezTo>
                  <a:cubicBezTo>
                    <a:pt x="411154" y="449854"/>
                    <a:pt x="350818" y="305050"/>
                    <a:pt x="275399" y="157229"/>
                  </a:cubicBezTo>
                  <a:cubicBezTo>
                    <a:pt x="193948" y="357"/>
                    <a:pt x="85344" y="12424"/>
                    <a:pt x="85344" y="12424"/>
                  </a:cubicBezTo>
                  <a:cubicBezTo>
                    <a:pt x="82328" y="12424"/>
                    <a:pt x="79310" y="9407"/>
                    <a:pt x="79310" y="6391"/>
                  </a:cubicBezTo>
                  <a:cubicBezTo>
                    <a:pt x="79310" y="3374"/>
                    <a:pt x="82328" y="357"/>
                    <a:pt x="85344" y="357"/>
                  </a:cubicBezTo>
                  <a:cubicBezTo>
                    <a:pt x="91378" y="357"/>
                    <a:pt x="202998" y="-14727"/>
                    <a:pt x="287467" y="151195"/>
                  </a:cubicBezTo>
                  <a:cubicBezTo>
                    <a:pt x="371936" y="311083"/>
                    <a:pt x="438305" y="473988"/>
                    <a:pt x="438305" y="473988"/>
                  </a:cubicBezTo>
                  <a:lnTo>
                    <a:pt x="441321" y="477005"/>
                  </a:lnTo>
                  <a:lnTo>
                    <a:pt x="438305" y="480022"/>
                  </a:lnTo>
                  <a:cubicBezTo>
                    <a:pt x="426237" y="486055"/>
                    <a:pt x="248250" y="609743"/>
                    <a:pt x="73278" y="609743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3E200DEB-AF4B-49D2-BC7C-013A3979B9B6}"/>
                </a:ext>
              </a:extLst>
            </p:cNvPr>
            <p:cNvSpPr/>
            <p:nvPr/>
          </p:nvSpPr>
          <p:spPr>
            <a:xfrm>
              <a:off x="18654433" y="6550840"/>
              <a:ext cx="196089" cy="39217"/>
            </a:xfrm>
            <a:custGeom>
              <a:avLst/>
              <a:gdLst>
                <a:gd name="connsiteX0" fmla="*/ 1 w 196089"/>
                <a:gd name="connsiteY0" fmla="*/ 0 h 39217"/>
                <a:gd name="connsiteX1" fmla="*/ 196090 w 196089"/>
                <a:gd name="connsiteY1" fmla="*/ 0 h 39217"/>
                <a:gd name="connsiteX2" fmla="*/ 196090 w 196089"/>
                <a:gd name="connsiteY2" fmla="*/ 39218 h 39217"/>
                <a:gd name="connsiteX3" fmla="*/ 1 w 196089"/>
                <a:gd name="connsiteY3" fmla="*/ 39218 h 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89" h="39217">
                  <a:moveTo>
                    <a:pt x="1" y="0"/>
                  </a:moveTo>
                  <a:lnTo>
                    <a:pt x="196090" y="0"/>
                  </a:lnTo>
                  <a:lnTo>
                    <a:pt x="196090" y="39218"/>
                  </a:lnTo>
                  <a:lnTo>
                    <a:pt x="1" y="39218"/>
                  </a:ln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98E70002-2B62-4AA0-A531-A10D4BF797AC}"/>
                </a:ext>
              </a:extLst>
            </p:cNvPr>
            <p:cNvSpPr/>
            <p:nvPr/>
          </p:nvSpPr>
          <p:spPr>
            <a:xfrm>
              <a:off x="18666500" y="6481455"/>
              <a:ext cx="184023" cy="69385"/>
            </a:xfrm>
            <a:custGeom>
              <a:avLst/>
              <a:gdLst>
                <a:gd name="connsiteX0" fmla="*/ 184023 w 184023"/>
                <a:gd name="connsiteY0" fmla="*/ 69386 h 69385"/>
                <a:gd name="connsiteX1" fmla="*/ 153856 w 184023"/>
                <a:gd name="connsiteY1" fmla="*/ 12067 h 69385"/>
                <a:gd name="connsiteX2" fmla="*/ 0 w 184023"/>
                <a:gd name="connsiteY2" fmla="*/ 0 h 69385"/>
                <a:gd name="connsiteX3" fmla="*/ 0 w 184023"/>
                <a:gd name="connsiteY3" fmla="*/ 69386 h 69385"/>
                <a:gd name="connsiteX4" fmla="*/ 184023 w 184023"/>
                <a:gd name="connsiteY4" fmla="*/ 69386 h 69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023" h="69385">
                  <a:moveTo>
                    <a:pt x="184023" y="69386"/>
                  </a:moveTo>
                  <a:cubicBezTo>
                    <a:pt x="184023" y="69386"/>
                    <a:pt x="171956" y="21117"/>
                    <a:pt x="153856" y="12067"/>
                  </a:cubicBezTo>
                  <a:cubicBezTo>
                    <a:pt x="135754" y="3017"/>
                    <a:pt x="0" y="0"/>
                    <a:pt x="0" y="0"/>
                  </a:cubicBezTo>
                  <a:lnTo>
                    <a:pt x="0" y="69386"/>
                  </a:lnTo>
                  <a:lnTo>
                    <a:pt x="184023" y="69386"/>
                  </a:ln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74" name="图形 1">
            <a:extLst>
              <a:ext uri="{FF2B5EF4-FFF2-40B4-BE49-F238E27FC236}">
                <a16:creationId xmlns:a16="http://schemas.microsoft.com/office/drawing/2014/main" id="{B347A23C-373E-4A93-A05A-0F450AB13087}"/>
              </a:ext>
            </a:extLst>
          </p:cNvPr>
          <p:cNvGrpSpPr/>
          <p:nvPr/>
        </p:nvGrpSpPr>
        <p:grpSpPr>
          <a:xfrm>
            <a:off x="7563394" y="2359216"/>
            <a:ext cx="1866647" cy="4541986"/>
            <a:chOff x="23353386" y="2034751"/>
            <a:chExt cx="1866647" cy="4541986"/>
          </a:xfrm>
        </p:grpSpPr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59B1E8F1-0417-44C1-8443-A76C03BBA2C3}"/>
                </a:ext>
              </a:extLst>
            </p:cNvPr>
            <p:cNvSpPr/>
            <p:nvPr/>
          </p:nvSpPr>
          <p:spPr>
            <a:xfrm>
              <a:off x="24442417" y="2949941"/>
              <a:ext cx="734249" cy="847708"/>
            </a:xfrm>
            <a:custGeom>
              <a:avLst/>
              <a:gdLst>
                <a:gd name="connsiteX0" fmla="*/ 242518 w 734249"/>
                <a:gd name="connsiteY0" fmla="*/ 77324 h 847708"/>
                <a:gd name="connsiteX1" fmla="*/ 435591 w 734249"/>
                <a:gd name="connsiteY1" fmla="*/ 487603 h 847708"/>
                <a:gd name="connsiteX2" fmla="*/ 734249 w 734249"/>
                <a:gd name="connsiteY2" fmla="*/ 737994 h 847708"/>
                <a:gd name="connsiteX3" fmla="*/ 719166 w 734249"/>
                <a:gd name="connsiteY3" fmla="*/ 846598 h 847708"/>
                <a:gd name="connsiteX4" fmla="*/ 287769 w 734249"/>
                <a:gd name="connsiteY4" fmla="*/ 674642 h 847708"/>
                <a:gd name="connsiteX5" fmla="*/ 4195 w 734249"/>
                <a:gd name="connsiteY5" fmla="*/ 116542 h 847708"/>
                <a:gd name="connsiteX6" fmla="*/ 242518 w 734249"/>
                <a:gd name="connsiteY6" fmla="*/ 77324 h 847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249" h="847708">
                  <a:moveTo>
                    <a:pt x="242518" y="77324"/>
                  </a:moveTo>
                  <a:cubicBezTo>
                    <a:pt x="275703" y="158776"/>
                    <a:pt x="378272" y="415201"/>
                    <a:pt x="435591" y="487603"/>
                  </a:cubicBezTo>
                  <a:cubicBezTo>
                    <a:pt x="517044" y="590173"/>
                    <a:pt x="734249" y="731961"/>
                    <a:pt x="734249" y="737994"/>
                  </a:cubicBezTo>
                  <a:cubicBezTo>
                    <a:pt x="731233" y="807380"/>
                    <a:pt x="731233" y="822464"/>
                    <a:pt x="719166" y="846598"/>
                  </a:cubicBezTo>
                  <a:cubicBezTo>
                    <a:pt x="716150" y="855648"/>
                    <a:pt x="456709" y="810397"/>
                    <a:pt x="287769" y="674642"/>
                  </a:cubicBezTo>
                  <a:cubicBezTo>
                    <a:pt x="236484" y="632408"/>
                    <a:pt x="64530" y="249279"/>
                    <a:pt x="4195" y="116542"/>
                  </a:cubicBezTo>
                  <a:cubicBezTo>
                    <a:pt x="-32006" y="38106"/>
                    <a:pt x="176149" y="-79548"/>
                    <a:pt x="242518" y="77324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709F8D92-3D5F-47FF-B306-A21C59AB6E0C}"/>
                </a:ext>
              </a:extLst>
            </p:cNvPr>
            <p:cNvGrpSpPr/>
            <p:nvPr/>
          </p:nvGrpSpPr>
          <p:grpSpPr>
            <a:xfrm>
              <a:off x="24187170" y="3316874"/>
              <a:ext cx="977430" cy="609385"/>
              <a:chOff x="24187170" y="3316874"/>
              <a:chExt cx="977430" cy="609385"/>
            </a:xfrm>
          </p:grpSpPr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87FA5443-9D19-4C9A-B30D-DF3D4274F146}"/>
                  </a:ext>
                </a:extLst>
              </p:cNvPr>
              <p:cNvSpPr/>
              <p:nvPr/>
            </p:nvSpPr>
            <p:spPr>
              <a:xfrm>
                <a:off x="24253539" y="3316874"/>
                <a:ext cx="911061" cy="609385"/>
              </a:xfrm>
              <a:custGeom>
                <a:avLst/>
                <a:gdLst>
                  <a:gd name="connsiteX0" fmla="*/ 0 w 911061"/>
                  <a:gd name="connsiteY0" fmla="*/ 0 h 609385"/>
                  <a:gd name="connsiteX1" fmla="*/ 911062 w 911061"/>
                  <a:gd name="connsiteY1" fmla="*/ 0 h 609385"/>
                  <a:gd name="connsiteX2" fmla="*/ 911062 w 911061"/>
                  <a:gd name="connsiteY2" fmla="*/ 609386 h 609385"/>
                  <a:gd name="connsiteX3" fmla="*/ 0 w 911061"/>
                  <a:gd name="connsiteY3" fmla="*/ 609386 h 60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1061" h="609385">
                    <a:moveTo>
                      <a:pt x="0" y="0"/>
                    </a:moveTo>
                    <a:lnTo>
                      <a:pt x="911062" y="0"/>
                    </a:lnTo>
                    <a:lnTo>
                      <a:pt x="911062" y="609386"/>
                    </a:lnTo>
                    <a:lnTo>
                      <a:pt x="0" y="609386"/>
                    </a:lnTo>
                    <a:close/>
                  </a:path>
                </a:pathLst>
              </a:custGeom>
              <a:solidFill>
                <a:srgbClr val="E8D2AF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63968D28-A288-400B-8D4F-4CA924221A33}"/>
                  </a:ext>
                </a:extLst>
              </p:cNvPr>
              <p:cNvSpPr/>
              <p:nvPr/>
            </p:nvSpPr>
            <p:spPr>
              <a:xfrm>
                <a:off x="24187170" y="3316874"/>
                <a:ext cx="790391" cy="609385"/>
              </a:xfrm>
              <a:custGeom>
                <a:avLst/>
                <a:gdLst>
                  <a:gd name="connsiteX0" fmla="*/ 0 w 790391"/>
                  <a:gd name="connsiteY0" fmla="*/ 0 h 609385"/>
                  <a:gd name="connsiteX1" fmla="*/ 790391 w 790391"/>
                  <a:gd name="connsiteY1" fmla="*/ 0 h 609385"/>
                  <a:gd name="connsiteX2" fmla="*/ 790391 w 790391"/>
                  <a:gd name="connsiteY2" fmla="*/ 609386 h 609385"/>
                  <a:gd name="connsiteX3" fmla="*/ 0 w 790391"/>
                  <a:gd name="connsiteY3" fmla="*/ 609386 h 60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0391" h="609385">
                    <a:moveTo>
                      <a:pt x="0" y="0"/>
                    </a:moveTo>
                    <a:lnTo>
                      <a:pt x="790391" y="0"/>
                    </a:lnTo>
                    <a:lnTo>
                      <a:pt x="790391" y="609386"/>
                    </a:lnTo>
                    <a:lnTo>
                      <a:pt x="0" y="609386"/>
                    </a:ln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D06FF71C-918B-4966-B8BF-06FECDDA445B}"/>
                  </a:ext>
                </a:extLst>
              </p:cNvPr>
              <p:cNvSpPr/>
              <p:nvPr/>
            </p:nvSpPr>
            <p:spPr>
              <a:xfrm rot="-10800000">
                <a:off x="24675886" y="3725464"/>
                <a:ext cx="241340" cy="33184"/>
              </a:xfrm>
              <a:custGeom>
                <a:avLst/>
                <a:gdLst>
                  <a:gd name="connsiteX0" fmla="*/ 0 w 241340"/>
                  <a:gd name="connsiteY0" fmla="*/ 0 h 33184"/>
                  <a:gd name="connsiteX1" fmla="*/ 241341 w 241340"/>
                  <a:gd name="connsiteY1" fmla="*/ 0 h 33184"/>
                  <a:gd name="connsiteX2" fmla="*/ 241341 w 241340"/>
                  <a:gd name="connsiteY2" fmla="*/ 33184 h 33184"/>
                  <a:gd name="connsiteX3" fmla="*/ 0 w 241340"/>
                  <a:gd name="connsiteY3" fmla="*/ 33184 h 33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1340" h="33184">
                    <a:moveTo>
                      <a:pt x="0" y="0"/>
                    </a:moveTo>
                    <a:lnTo>
                      <a:pt x="241341" y="0"/>
                    </a:lnTo>
                    <a:lnTo>
                      <a:pt x="241341" y="33184"/>
                    </a:lnTo>
                    <a:lnTo>
                      <a:pt x="0" y="33184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8D5E47CF-8409-4080-9F7F-505D530E1986}"/>
                  </a:ext>
                </a:extLst>
              </p:cNvPr>
              <p:cNvSpPr/>
              <p:nvPr/>
            </p:nvSpPr>
            <p:spPr>
              <a:xfrm rot="-10800000">
                <a:off x="24675886" y="3798892"/>
                <a:ext cx="241340" cy="33184"/>
              </a:xfrm>
              <a:custGeom>
                <a:avLst/>
                <a:gdLst>
                  <a:gd name="connsiteX0" fmla="*/ 0 w 241340"/>
                  <a:gd name="connsiteY0" fmla="*/ 0 h 33184"/>
                  <a:gd name="connsiteX1" fmla="*/ 241341 w 241340"/>
                  <a:gd name="connsiteY1" fmla="*/ 0 h 33184"/>
                  <a:gd name="connsiteX2" fmla="*/ 241341 w 241340"/>
                  <a:gd name="connsiteY2" fmla="*/ 33184 h 33184"/>
                  <a:gd name="connsiteX3" fmla="*/ 0 w 241340"/>
                  <a:gd name="connsiteY3" fmla="*/ 33184 h 33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1340" h="33184">
                    <a:moveTo>
                      <a:pt x="0" y="0"/>
                    </a:moveTo>
                    <a:lnTo>
                      <a:pt x="241341" y="0"/>
                    </a:lnTo>
                    <a:lnTo>
                      <a:pt x="241341" y="33184"/>
                    </a:lnTo>
                    <a:lnTo>
                      <a:pt x="0" y="33184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7B35CAE6-DAE3-4784-9D3A-A626B965487A}"/>
                  </a:ext>
                </a:extLst>
              </p:cNvPr>
              <p:cNvSpPr/>
              <p:nvPr/>
            </p:nvSpPr>
            <p:spPr>
              <a:xfrm>
                <a:off x="24784488" y="3377209"/>
                <a:ext cx="126704" cy="147821"/>
              </a:xfrm>
              <a:custGeom>
                <a:avLst/>
                <a:gdLst>
                  <a:gd name="connsiteX0" fmla="*/ 63353 w 126704"/>
                  <a:gd name="connsiteY0" fmla="*/ 0 h 147821"/>
                  <a:gd name="connsiteX1" fmla="*/ 126704 w 126704"/>
                  <a:gd name="connsiteY1" fmla="*/ 63352 h 147821"/>
                  <a:gd name="connsiteX2" fmla="*/ 126704 w 126704"/>
                  <a:gd name="connsiteY2" fmla="*/ 66369 h 147821"/>
                  <a:gd name="connsiteX3" fmla="*/ 105587 w 126704"/>
                  <a:gd name="connsiteY3" fmla="*/ 51285 h 147821"/>
                  <a:gd name="connsiteX4" fmla="*/ 84471 w 126704"/>
                  <a:gd name="connsiteY4" fmla="*/ 60335 h 147821"/>
                  <a:gd name="connsiteX5" fmla="*/ 69387 w 126704"/>
                  <a:gd name="connsiteY5" fmla="*/ 51285 h 147821"/>
                  <a:gd name="connsiteX6" fmla="*/ 69387 w 126704"/>
                  <a:gd name="connsiteY6" fmla="*/ 126704 h 147821"/>
                  <a:gd name="connsiteX7" fmla="*/ 78437 w 126704"/>
                  <a:gd name="connsiteY7" fmla="*/ 135754 h 147821"/>
                  <a:gd name="connsiteX8" fmla="*/ 87487 w 126704"/>
                  <a:gd name="connsiteY8" fmla="*/ 126704 h 147821"/>
                  <a:gd name="connsiteX9" fmla="*/ 87487 w 126704"/>
                  <a:gd name="connsiteY9" fmla="*/ 117654 h 147821"/>
                  <a:gd name="connsiteX10" fmla="*/ 99555 w 126704"/>
                  <a:gd name="connsiteY10" fmla="*/ 117654 h 147821"/>
                  <a:gd name="connsiteX11" fmla="*/ 99555 w 126704"/>
                  <a:gd name="connsiteY11" fmla="*/ 126704 h 147821"/>
                  <a:gd name="connsiteX12" fmla="*/ 78437 w 126704"/>
                  <a:gd name="connsiteY12" fmla="*/ 147821 h 147821"/>
                  <a:gd name="connsiteX13" fmla="*/ 57319 w 126704"/>
                  <a:gd name="connsiteY13" fmla="*/ 126704 h 147821"/>
                  <a:gd name="connsiteX14" fmla="*/ 57319 w 126704"/>
                  <a:gd name="connsiteY14" fmla="*/ 54302 h 147821"/>
                  <a:gd name="connsiteX15" fmla="*/ 42235 w 126704"/>
                  <a:gd name="connsiteY15" fmla="*/ 63352 h 147821"/>
                  <a:gd name="connsiteX16" fmla="*/ 21118 w 126704"/>
                  <a:gd name="connsiteY16" fmla="*/ 54302 h 147821"/>
                  <a:gd name="connsiteX17" fmla="*/ 0 w 126704"/>
                  <a:gd name="connsiteY17" fmla="*/ 69385 h 147821"/>
                  <a:gd name="connsiteX18" fmla="*/ 0 w 126704"/>
                  <a:gd name="connsiteY18" fmla="*/ 66369 h 147821"/>
                  <a:gd name="connsiteX19" fmla="*/ 63353 w 126704"/>
                  <a:gd name="connsiteY19" fmla="*/ 0 h 147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704" h="147821">
                    <a:moveTo>
                      <a:pt x="63353" y="0"/>
                    </a:moveTo>
                    <a:cubicBezTo>
                      <a:pt x="99555" y="0"/>
                      <a:pt x="126704" y="27151"/>
                      <a:pt x="126704" y="63352"/>
                    </a:cubicBezTo>
                    <a:cubicBezTo>
                      <a:pt x="126704" y="63352"/>
                      <a:pt x="126704" y="66369"/>
                      <a:pt x="126704" y="66369"/>
                    </a:cubicBezTo>
                    <a:cubicBezTo>
                      <a:pt x="123688" y="57318"/>
                      <a:pt x="114638" y="51285"/>
                      <a:pt x="105587" y="51285"/>
                    </a:cubicBezTo>
                    <a:cubicBezTo>
                      <a:pt x="96537" y="51285"/>
                      <a:pt x="90503" y="54302"/>
                      <a:pt x="84471" y="60335"/>
                    </a:cubicBezTo>
                    <a:cubicBezTo>
                      <a:pt x="81453" y="54302"/>
                      <a:pt x="75419" y="51285"/>
                      <a:pt x="69387" y="51285"/>
                    </a:cubicBezTo>
                    <a:lnTo>
                      <a:pt x="69387" y="126704"/>
                    </a:lnTo>
                    <a:cubicBezTo>
                      <a:pt x="69387" y="129721"/>
                      <a:pt x="72403" y="135754"/>
                      <a:pt x="78437" y="135754"/>
                    </a:cubicBezTo>
                    <a:cubicBezTo>
                      <a:pt x="81453" y="135754"/>
                      <a:pt x="87487" y="132737"/>
                      <a:pt x="87487" y="126704"/>
                    </a:cubicBezTo>
                    <a:lnTo>
                      <a:pt x="87487" y="117654"/>
                    </a:lnTo>
                    <a:lnTo>
                      <a:pt x="99555" y="117654"/>
                    </a:lnTo>
                    <a:lnTo>
                      <a:pt x="99555" y="126704"/>
                    </a:lnTo>
                    <a:cubicBezTo>
                      <a:pt x="99555" y="138771"/>
                      <a:pt x="90503" y="147821"/>
                      <a:pt x="78437" y="147821"/>
                    </a:cubicBezTo>
                    <a:cubicBezTo>
                      <a:pt x="66369" y="147821"/>
                      <a:pt x="57319" y="138771"/>
                      <a:pt x="57319" y="126704"/>
                    </a:cubicBezTo>
                    <a:lnTo>
                      <a:pt x="57319" y="54302"/>
                    </a:lnTo>
                    <a:cubicBezTo>
                      <a:pt x="51285" y="57318"/>
                      <a:pt x="48269" y="60335"/>
                      <a:pt x="42235" y="63352"/>
                    </a:cubicBezTo>
                    <a:cubicBezTo>
                      <a:pt x="36201" y="57318"/>
                      <a:pt x="30168" y="54302"/>
                      <a:pt x="21118" y="54302"/>
                    </a:cubicBezTo>
                    <a:cubicBezTo>
                      <a:pt x="12068" y="54302"/>
                      <a:pt x="3018" y="60335"/>
                      <a:pt x="0" y="69385"/>
                    </a:cubicBezTo>
                    <a:cubicBezTo>
                      <a:pt x="0" y="69385"/>
                      <a:pt x="0" y="66369"/>
                      <a:pt x="0" y="66369"/>
                    </a:cubicBezTo>
                    <a:cubicBezTo>
                      <a:pt x="0" y="30168"/>
                      <a:pt x="30168" y="0"/>
                      <a:pt x="63353" y="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5EC18D2A-DDB3-469A-829F-CDB287987547}"/>
                </a:ext>
              </a:extLst>
            </p:cNvPr>
            <p:cNvSpPr/>
            <p:nvPr/>
          </p:nvSpPr>
          <p:spPr>
            <a:xfrm>
              <a:off x="24144392" y="2082812"/>
              <a:ext cx="472666" cy="792146"/>
            </a:xfrm>
            <a:custGeom>
              <a:avLst/>
              <a:gdLst>
                <a:gd name="connsiteX0" fmla="*/ 465125 w 472666"/>
                <a:gd name="connsiteY0" fmla="*/ 709146 h 792146"/>
                <a:gd name="connsiteX1" fmla="*/ 453059 w 472666"/>
                <a:gd name="connsiteY1" fmla="*/ 681995 h 792146"/>
                <a:gd name="connsiteX2" fmla="*/ 447025 w 472666"/>
                <a:gd name="connsiteY2" fmla="*/ 591492 h 792146"/>
                <a:gd name="connsiteX3" fmla="*/ 422891 w 472666"/>
                <a:gd name="connsiteY3" fmla="*/ 470822 h 792146"/>
                <a:gd name="connsiteX4" fmla="*/ 401773 w 472666"/>
                <a:gd name="connsiteY4" fmla="*/ 347135 h 792146"/>
                <a:gd name="connsiteX5" fmla="*/ 332388 w 472666"/>
                <a:gd name="connsiteY5" fmla="*/ 223447 h 792146"/>
                <a:gd name="connsiteX6" fmla="*/ 217750 w 472666"/>
                <a:gd name="connsiteY6" fmla="*/ 24341 h 792146"/>
                <a:gd name="connsiteX7" fmla="*/ 154399 w 472666"/>
                <a:gd name="connsiteY7" fmla="*/ 207 h 792146"/>
                <a:gd name="connsiteX8" fmla="*/ 12611 w 472666"/>
                <a:gd name="connsiteY8" fmla="*/ 75626 h 792146"/>
                <a:gd name="connsiteX9" fmla="*/ 6577 w 472666"/>
                <a:gd name="connsiteY9" fmla="*/ 102777 h 792146"/>
                <a:gd name="connsiteX10" fmla="*/ 42778 w 472666"/>
                <a:gd name="connsiteY10" fmla="*/ 120878 h 792146"/>
                <a:gd name="connsiteX11" fmla="*/ 69930 w 472666"/>
                <a:gd name="connsiteY11" fmla="*/ 199313 h 792146"/>
                <a:gd name="connsiteX12" fmla="*/ 118197 w 472666"/>
                <a:gd name="connsiteY12" fmla="*/ 341101 h 792146"/>
                <a:gd name="connsiteX13" fmla="*/ 69930 w 472666"/>
                <a:gd name="connsiteY13" fmla="*/ 603559 h 792146"/>
                <a:gd name="connsiteX14" fmla="*/ 154399 w 472666"/>
                <a:gd name="connsiteY14" fmla="*/ 561324 h 792146"/>
                <a:gd name="connsiteX15" fmla="*/ 238868 w 472666"/>
                <a:gd name="connsiteY15" fmla="*/ 766464 h 792146"/>
                <a:gd name="connsiteX16" fmla="*/ 462109 w 472666"/>
                <a:gd name="connsiteY16" fmla="*/ 754397 h 792146"/>
                <a:gd name="connsiteX17" fmla="*/ 465125 w 472666"/>
                <a:gd name="connsiteY17" fmla="*/ 709146 h 792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72666" h="792146">
                  <a:moveTo>
                    <a:pt x="465125" y="709146"/>
                  </a:moveTo>
                  <a:cubicBezTo>
                    <a:pt x="465125" y="700095"/>
                    <a:pt x="462109" y="688028"/>
                    <a:pt x="453059" y="681995"/>
                  </a:cubicBezTo>
                  <a:cubicBezTo>
                    <a:pt x="474174" y="651827"/>
                    <a:pt x="480208" y="612609"/>
                    <a:pt x="447025" y="591492"/>
                  </a:cubicBezTo>
                  <a:cubicBezTo>
                    <a:pt x="465125" y="546241"/>
                    <a:pt x="465125" y="497973"/>
                    <a:pt x="422891" y="470822"/>
                  </a:cubicBezTo>
                  <a:cubicBezTo>
                    <a:pt x="447025" y="431604"/>
                    <a:pt x="444007" y="365235"/>
                    <a:pt x="401773" y="347135"/>
                  </a:cubicBezTo>
                  <a:cubicBezTo>
                    <a:pt x="416857" y="313950"/>
                    <a:pt x="377640" y="223447"/>
                    <a:pt x="332388" y="223447"/>
                  </a:cubicBezTo>
                  <a:cubicBezTo>
                    <a:pt x="332388" y="220431"/>
                    <a:pt x="226802" y="30375"/>
                    <a:pt x="217750" y="24341"/>
                  </a:cubicBezTo>
                  <a:cubicBezTo>
                    <a:pt x="196634" y="9257"/>
                    <a:pt x="169482" y="207"/>
                    <a:pt x="154399" y="207"/>
                  </a:cubicBezTo>
                  <a:cubicBezTo>
                    <a:pt x="97079" y="-2810"/>
                    <a:pt x="33728" y="27358"/>
                    <a:pt x="12611" y="75626"/>
                  </a:cubicBezTo>
                  <a:cubicBezTo>
                    <a:pt x="545" y="78643"/>
                    <a:pt x="-5489" y="96743"/>
                    <a:pt x="6577" y="102777"/>
                  </a:cubicBezTo>
                  <a:cubicBezTo>
                    <a:pt x="18644" y="108810"/>
                    <a:pt x="30712" y="114844"/>
                    <a:pt x="42778" y="120878"/>
                  </a:cubicBezTo>
                  <a:cubicBezTo>
                    <a:pt x="48812" y="148028"/>
                    <a:pt x="57862" y="178196"/>
                    <a:pt x="69930" y="199313"/>
                  </a:cubicBezTo>
                  <a:cubicBezTo>
                    <a:pt x="91047" y="244565"/>
                    <a:pt x="109147" y="292833"/>
                    <a:pt x="118197" y="341101"/>
                  </a:cubicBezTo>
                  <a:cubicBezTo>
                    <a:pt x="127247" y="392386"/>
                    <a:pt x="63896" y="561324"/>
                    <a:pt x="69930" y="603559"/>
                  </a:cubicBezTo>
                  <a:cubicBezTo>
                    <a:pt x="78980" y="651827"/>
                    <a:pt x="69930" y="633727"/>
                    <a:pt x="154399" y="561324"/>
                  </a:cubicBezTo>
                  <a:cubicBezTo>
                    <a:pt x="133281" y="639760"/>
                    <a:pt x="148365" y="721213"/>
                    <a:pt x="238868" y="766464"/>
                  </a:cubicBezTo>
                  <a:cubicBezTo>
                    <a:pt x="290153" y="793615"/>
                    <a:pt x="425907" y="811716"/>
                    <a:pt x="462109" y="754397"/>
                  </a:cubicBezTo>
                  <a:cubicBezTo>
                    <a:pt x="477192" y="736297"/>
                    <a:pt x="474174" y="721213"/>
                    <a:pt x="465125" y="709146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2C0995C0-01C9-45CA-A2AA-953E0907C7F2}"/>
                </a:ext>
              </a:extLst>
            </p:cNvPr>
            <p:cNvSpPr/>
            <p:nvPr/>
          </p:nvSpPr>
          <p:spPr>
            <a:xfrm>
              <a:off x="23660130" y="2087534"/>
              <a:ext cx="599080" cy="957029"/>
            </a:xfrm>
            <a:custGeom>
              <a:avLst/>
              <a:gdLst>
                <a:gd name="connsiteX0" fmla="*/ 551174 w 599080"/>
                <a:gd name="connsiteY0" fmla="*/ 260960 h 957029"/>
                <a:gd name="connsiteX1" fmla="*/ 530058 w 599080"/>
                <a:gd name="connsiteY1" fmla="*/ 89004 h 957029"/>
                <a:gd name="connsiteX2" fmla="*/ 533074 w 599080"/>
                <a:gd name="connsiteY2" fmla="*/ 73921 h 957029"/>
                <a:gd name="connsiteX3" fmla="*/ 370169 w 599080"/>
                <a:gd name="connsiteY3" fmla="*/ 52803 h 957029"/>
                <a:gd name="connsiteX4" fmla="*/ 333969 w 599080"/>
                <a:gd name="connsiteY4" fmla="*/ 98055 h 957029"/>
                <a:gd name="connsiteX5" fmla="*/ 358103 w 599080"/>
                <a:gd name="connsiteY5" fmla="*/ 155373 h 957029"/>
                <a:gd name="connsiteX6" fmla="*/ 333969 w 599080"/>
                <a:gd name="connsiteY6" fmla="*/ 179507 h 957029"/>
                <a:gd name="connsiteX7" fmla="*/ 276650 w 599080"/>
                <a:gd name="connsiteY7" fmla="*/ 279060 h 957029"/>
                <a:gd name="connsiteX8" fmla="*/ 201231 w 599080"/>
                <a:gd name="connsiteY8" fmla="*/ 288111 h 957029"/>
                <a:gd name="connsiteX9" fmla="*/ 174079 w 599080"/>
                <a:gd name="connsiteY9" fmla="*/ 336379 h 957029"/>
                <a:gd name="connsiteX10" fmla="*/ 131846 w 599080"/>
                <a:gd name="connsiteY10" fmla="*/ 402747 h 957029"/>
                <a:gd name="connsiteX11" fmla="*/ 137880 w 599080"/>
                <a:gd name="connsiteY11" fmla="*/ 444982 h 957029"/>
                <a:gd name="connsiteX12" fmla="*/ 56427 w 599080"/>
                <a:gd name="connsiteY12" fmla="*/ 520401 h 957029"/>
                <a:gd name="connsiteX13" fmla="*/ 83576 w 599080"/>
                <a:gd name="connsiteY13" fmla="*/ 589787 h 957029"/>
                <a:gd name="connsiteX14" fmla="*/ 41343 w 599080"/>
                <a:gd name="connsiteY14" fmla="*/ 758725 h 957029"/>
                <a:gd name="connsiteX15" fmla="*/ 17209 w 599080"/>
                <a:gd name="connsiteY15" fmla="*/ 882412 h 957029"/>
                <a:gd name="connsiteX16" fmla="*/ 89610 w 599080"/>
                <a:gd name="connsiteY16" fmla="*/ 885429 h 957029"/>
                <a:gd name="connsiteX17" fmla="*/ 195197 w 599080"/>
                <a:gd name="connsiteY17" fmla="*/ 954814 h 957029"/>
                <a:gd name="connsiteX18" fmla="*/ 261566 w 599080"/>
                <a:gd name="connsiteY18" fmla="*/ 825094 h 957029"/>
                <a:gd name="connsiteX19" fmla="*/ 297767 w 599080"/>
                <a:gd name="connsiteY19" fmla="*/ 791909 h 957029"/>
                <a:gd name="connsiteX20" fmla="*/ 333969 w 599080"/>
                <a:gd name="connsiteY20" fmla="*/ 776826 h 957029"/>
                <a:gd name="connsiteX21" fmla="*/ 496873 w 599080"/>
                <a:gd name="connsiteY21" fmla="*/ 713474 h 957029"/>
                <a:gd name="connsiteX22" fmla="*/ 566258 w 599080"/>
                <a:gd name="connsiteY22" fmla="*/ 659172 h 957029"/>
                <a:gd name="connsiteX23" fmla="*/ 548158 w 599080"/>
                <a:gd name="connsiteY23" fmla="*/ 487217 h 957029"/>
                <a:gd name="connsiteX24" fmla="*/ 551174 w 599080"/>
                <a:gd name="connsiteY24" fmla="*/ 260960 h 957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99080" h="957029">
                  <a:moveTo>
                    <a:pt x="551174" y="260960"/>
                  </a:moveTo>
                  <a:cubicBezTo>
                    <a:pt x="608493" y="215708"/>
                    <a:pt x="560226" y="140289"/>
                    <a:pt x="530058" y="89004"/>
                  </a:cubicBezTo>
                  <a:cubicBezTo>
                    <a:pt x="533074" y="85988"/>
                    <a:pt x="536090" y="79954"/>
                    <a:pt x="533074" y="73921"/>
                  </a:cubicBezTo>
                  <a:cubicBezTo>
                    <a:pt x="511957" y="-7532"/>
                    <a:pt x="367153" y="-31666"/>
                    <a:pt x="370169" y="52803"/>
                  </a:cubicBezTo>
                  <a:cubicBezTo>
                    <a:pt x="333969" y="55820"/>
                    <a:pt x="349053" y="64870"/>
                    <a:pt x="333969" y="98055"/>
                  </a:cubicBezTo>
                  <a:cubicBezTo>
                    <a:pt x="321901" y="119172"/>
                    <a:pt x="346035" y="137273"/>
                    <a:pt x="358103" y="155373"/>
                  </a:cubicBezTo>
                  <a:cubicBezTo>
                    <a:pt x="358103" y="155373"/>
                    <a:pt x="333969" y="179507"/>
                    <a:pt x="333969" y="179507"/>
                  </a:cubicBezTo>
                  <a:cubicBezTo>
                    <a:pt x="288718" y="191574"/>
                    <a:pt x="270616" y="227775"/>
                    <a:pt x="276650" y="279060"/>
                  </a:cubicBezTo>
                  <a:cubicBezTo>
                    <a:pt x="258550" y="282077"/>
                    <a:pt x="231398" y="266993"/>
                    <a:pt x="201231" y="288111"/>
                  </a:cubicBezTo>
                  <a:cubicBezTo>
                    <a:pt x="186147" y="300178"/>
                    <a:pt x="180113" y="324312"/>
                    <a:pt x="174079" y="336379"/>
                  </a:cubicBezTo>
                  <a:cubicBezTo>
                    <a:pt x="146929" y="345429"/>
                    <a:pt x="134862" y="372580"/>
                    <a:pt x="131846" y="402747"/>
                  </a:cubicBezTo>
                  <a:cubicBezTo>
                    <a:pt x="128828" y="420848"/>
                    <a:pt x="131846" y="432915"/>
                    <a:pt x="137880" y="444982"/>
                  </a:cubicBezTo>
                  <a:cubicBezTo>
                    <a:pt x="101678" y="457049"/>
                    <a:pt x="62461" y="478166"/>
                    <a:pt x="56427" y="520401"/>
                  </a:cubicBezTo>
                  <a:cubicBezTo>
                    <a:pt x="50393" y="550569"/>
                    <a:pt x="62461" y="574703"/>
                    <a:pt x="83576" y="589787"/>
                  </a:cubicBezTo>
                  <a:cubicBezTo>
                    <a:pt x="38325" y="635038"/>
                    <a:pt x="-22010" y="728557"/>
                    <a:pt x="41343" y="758725"/>
                  </a:cubicBezTo>
                  <a:cubicBezTo>
                    <a:pt x="8157" y="791909"/>
                    <a:pt x="-18992" y="843194"/>
                    <a:pt x="17209" y="882412"/>
                  </a:cubicBezTo>
                  <a:cubicBezTo>
                    <a:pt x="41343" y="906546"/>
                    <a:pt x="71510" y="903530"/>
                    <a:pt x="89610" y="885429"/>
                  </a:cubicBezTo>
                  <a:cubicBezTo>
                    <a:pt x="110728" y="927664"/>
                    <a:pt x="143912" y="966881"/>
                    <a:pt x="195197" y="954814"/>
                  </a:cubicBezTo>
                  <a:cubicBezTo>
                    <a:pt x="255532" y="939731"/>
                    <a:pt x="267600" y="879395"/>
                    <a:pt x="261566" y="825094"/>
                  </a:cubicBezTo>
                  <a:cubicBezTo>
                    <a:pt x="276650" y="819060"/>
                    <a:pt x="288718" y="806993"/>
                    <a:pt x="297767" y="791909"/>
                  </a:cubicBezTo>
                  <a:cubicBezTo>
                    <a:pt x="309833" y="788893"/>
                    <a:pt x="321901" y="782859"/>
                    <a:pt x="333969" y="776826"/>
                  </a:cubicBezTo>
                  <a:cubicBezTo>
                    <a:pt x="382236" y="861295"/>
                    <a:pt x="508941" y="813027"/>
                    <a:pt x="496873" y="713474"/>
                  </a:cubicBezTo>
                  <a:cubicBezTo>
                    <a:pt x="536090" y="710457"/>
                    <a:pt x="551174" y="710457"/>
                    <a:pt x="566258" y="659172"/>
                  </a:cubicBezTo>
                  <a:cubicBezTo>
                    <a:pt x="581342" y="601854"/>
                    <a:pt x="572292" y="541518"/>
                    <a:pt x="548158" y="487217"/>
                  </a:cubicBezTo>
                  <a:cubicBezTo>
                    <a:pt x="632627" y="429898"/>
                    <a:pt x="596426" y="339395"/>
                    <a:pt x="551174" y="260960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9" name="图形 1">
              <a:extLst>
                <a:ext uri="{FF2B5EF4-FFF2-40B4-BE49-F238E27FC236}">
                  <a16:creationId xmlns:a16="http://schemas.microsoft.com/office/drawing/2014/main" id="{027A80CE-7D15-4CCE-A876-7F8A907EE7C2}"/>
                </a:ext>
              </a:extLst>
            </p:cNvPr>
            <p:cNvGrpSpPr/>
            <p:nvPr/>
          </p:nvGrpSpPr>
          <p:grpSpPr>
            <a:xfrm>
              <a:off x="24372701" y="6218997"/>
              <a:ext cx="391120" cy="357740"/>
              <a:chOff x="24372701" y="6218997"/>
              <a:chExt cx="391120" cy="357740"/>
            </a:xfrm>
          </p:grpSpPr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C28CF514-F2E5-4566-836D-F6B3618CBF6A}"/>
                  </a:ext>
                </a:extLst>
              </p:cNvPr>
              <p:cNvSpPr/>
              <p:nvPr/>
            </p:nvSpPr>
            <p:spPr>
              <a:xfrm>
                <a:off x="24372701" y="6342684"/>
                <a:ext cx="391120" cy="234053"/>
              </a:xfrm>
              <a:custGeom>
                <a:avLst/>
                <a:gdLst>
                  <a:gd name="connsiteX0" fmla="*/ 107095 w 391120"/>
                  <a:gd name="connsiteY0" fmla="*/ 0 h 234053"/>
                  <a:gd name="connsiteX1" fmla="*/ 263967 w 391120"/>
                  <a:gd name="connsiteY1" fmla="*/ 123687 h 234053"/>
                  <a:gd name="connsiteX2" fmla="*/ 70894 w 391120"/>
                  <a:gd name="connsiteY2" fmla="*/ 75419 h 234053"/>
                  <a:gd name="connsiteX3" fmla="*/ 1508 w 391120"/>
                  <a:gd name="connsiteY3" fmla="*/ 51285 h 234053"/>
                  <a:gd name="connsiteX4" fmla="*/ 7542 w 391120"/>
                  <a:gd name="connsiteY4" fmla="*/ 156871 h 234053"/>
                  <a:gd name="connsiteX5" fmla="*/ 236815 w 391120"/>
                  <a:gd name="connsiteY5" fmla="*/ 229273 h 234053"/>
                  <a:gd name="connsiteX6" fmla="*/ 372570 w 391120"/>
                  <a:gd name="connsiteY6" fmla="*/ 229273 h 234053"/>
                  <a:gd name="connsiteX7" fmla="*/ 378603 w 391120"/>
                  <a:gd name="connsiteY7" fmla="*/ 174972 h 234053"/>
                  <a:gd name="connsiteX8" fmla="*/ 107095 w 391120"/>
                  <a:gd name="connsiteY8" fmla="*/ 0 h 234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120" h="234053">
                    <a:moveTo>
                      <a:pt x="107095" y="0"/>
                    </a:moveTo>
                    <a:cubicBezTo>
                      <a:pt x="107095" y="0"/>
                      <a:pt x="279051" y="111620"/>
                      <a:pt x="263967" y="123687"/>
                    </a:cubicBezTo>
                    <a:cubicBezTo>
                      <a:pt x="251899" y="138771"/>
                      <a:pt x="70894" y="75419"/>
                      <a:pt x="70894" y="75419"/>
                    </a:cubicBezTo>
                    <a:lnTo>
                      <a:pt x="1508" y="51285"/>
                    </a:lnTo>
                    <a:cubicBezTo>
                      <a:pt x="1508" y="51285"/>
                      <a:pt x="-4525" y="132737"/>
                      <a:pt x="7542" y="156871"/>
                    </a:cubicBezTo>
                    <a:cubicBezTo>
                      <a:pt x="79943" y="193072"/>
                      <a:pt x="164414" y="217207"/>
                      <a:pt x="236815" y="229273"/>
                    </a:cubicBezTo>
                    <a:cubicBezTo>
                      <a:pt x="282067" y="238324"/>
                      <a:pt x="363520" y="232290"/>
                      <a:pt x="372570" y="229273"/>
                    </a:cubicBezTo>
                    <a:cubicBezTo>
                      <a:pt x="381619" y="226257"/>
                      <a:pt x="405755" y="202123"/>
                      <a:pt x="378603" y="174972"/>
                    </a:cubicBezTo>
                    <a:cubicBezTo>
                      <a:pt x="315252" y="111620"/>
                      <a:pt x="107095" y="0"/>
                      <a:pt x="107095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9AFA13C7-4C34-4CDB-948B-6881BE8AA97F}"/>
                  </a:ext>
                </a:extLst>
              </p:cNvPr>
              <p:cNvSpPr/>
              <p:nvPr/>
            </p:nvSpPr>
            <p:spPr>
              <a:xfrm>
                <a:off x="24374210" y="6218997"/>
                <a:ext cx="263771" cy="251405"/>
              </a:xfrm>
              <a:custGeom>
                <a:avLst/>
                <a:gdLst>
                  <a:gd name="connsiteX0" fmla="*/ 120670 w 263771"/>
                  <a:gd name="connsiteY0" fmla="*/ 0 h 251405"/>
                  <a:gd name="connsiteX1" fmla="*/ 105587 w 263771"/>
                  <a:gd name="connsiteY1" fmla="*/ 123687 h 251405"/>
                  <a:gd name="connsiteX2" fmla="*/ 262458 w 263771"/>
                  <a:gd name="connsiteY2" fmla="*/ 247374 h 251405"/>
                  <a:gd name="connsiteX3" fmla="*/ 27152 w 263771"/>
                  <a:gd name="connsiteY3" fmla="*/ 205140 h 251405"/>
                  <a:gd name="connsiteX4" fmla="*/ 0 w 263771"/>
                  <a:gd name="connsiteY4" fmla="*/ 174972 h 251405"/>
                  <a:gd name="connsiteX5" fmla="*/ 0 w 263771"/>
                  <a:gd name="connsiteY5" fmla="*/ 42234 h 251405"/>
                  <a:gd name="connsiteX6" fmla="*/ 120670 w 263771"/>
                  <a:gd name="connsiteY6" fmla="*/ 0 h 251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3771" h="251405">
                    <a:moveTo>
                      <a:pt x="120670" y="0"/>
                    </a:moveTo>
                    <a:lnTo>
                      <a:pt x="105587" y="123687"/>
                    </a:lnTo>
                    <a:cubicBezTo>
                      <a:pt x="105587" y="123687"/>
                      <a:pt x="280558" y="226257"/>
                      <a:pt x="262458" y="247374"/>
                    </a:cubicBezTo>
                    <a:cubicBezTo>
                      <a:pt x="250391" y="262458"/>
                      <a:pt x="96537" y="232290"/>
                      <a:pt x="27152" y="205140"/>
                    </a:cubicBezTo>
                    <a:cubicBezTo>
                      <a:pt x="3016" y="196089"/>
                      <a:pt x="0" y="174972"/>
                      <a:pt x="0" y="174972"/>
                    </a:cubicBezTo>
                    <a:lnTo>
                      <a:pt x="0" y="42234"/>
                    </a:lnTo>
                    <a:lnTo>
                      <a:pt x="120670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0" name="图形 1">
              <a:extLst>
                <a:ext uri="{FF2B5EF4-FFF2-40B4-BE49-F238E27FC236}">
                  <a16:creationId xmlns:a16="http://schemas.microsoft.com/office/drawing/2014/main" id="{498A8E1D-425A-4726-A8AE-5973FCAD5CD2}"/>
                </a:ext>
              </a:extLst>
            </p:cNvPr>
            <p:cNvGrpSpPr/>
            <p:nvPr/>
          </p:nvGrpSpPr>
          <p:grpSpPr>
            <a:xfrm>
              <a:off x="23639629" y="6231063"/>
              <a:ext cx="391119" cy="345673"/>
              <a:chOff x="23639629" y="6231063"/>
              <a:chExt cx="391119" cy="345673"/>
            </a:xfrm>
          </p:grpSpPr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CF554859-1D09-479A-AB01-E4BD9B6BA54B}"/>
                  </a:ext>
                </a:extLst>
              </p:cNvPr>
              <p:cNvSpPr/>
              <p:nvPr/>
            </p:nvSpPr>
            <p:spPr>
              <a:xfrm>
                <a:off x="23639629" y="6342684"/>
                <a:ext cx="391119" cy="234053"/>
              </a:xfrm>
              <a:custGeom>
                <a:avLst/>
                <a:gdLst>
                  <a:gd name="connsiteX0" fmla="*/ 122179 w 391119"/>
                  <a:gd name="connsiteY0" fmla="*/ 0 h 234053"/>
                  <a:gd name="connsiteX1" fmla="*/ 263967 w 391119"/>
                  <a:gd name="connsiteY1" fmla="*/ 123687 h 234053"/>
                  <a:gd name="connsiteX2" fmla="*/ 70894 w 391119"/>
                  <a:gd name="connsiteY2" fmla="*/ 75419 h 234053"/>
                  <a:gd name="connsiteX3" fmla="*/ 1508 w 391119"/>
                  <a:gd name="connsiteY3" fmla="*/ 51285 h 234053"/>
                  <a:gd name="connsiteX4" fmla="*/ 7542 w 391119"/>
                  <a:gd name="connsiteY4" fmla="*/ 156871 h 234053"/>
                  <a:gd name="connsiteX5" fmla="*/ 236815 w 391119"/>
                  <a:gd name="connsiteY5" fmla="*/ 229273 h 234053"/>
                  <a:gd name="connsiteX6" fmla="*/ 372570 w 391119"/>
                  <a:gd name="connsiteY6" fmla="*/ 229273 h 234053"/>
                  <a:gd name="connsiteX7" fmla="*/ 378603 w 391119"/>
                  <a:gd name="connsiteY7" fmla="*/ 174972 h 234053"/>
                  <a:gd name="connsiteX8" fmla="*/ 122179 w 391119"/>
                  <a:gd name="connsiteY8" fmla="*/ 0 h 234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119" h="234053">
                    <a:moveTo>
                      <a:pt x="122179" y="0"/>
                    </a:moveTo>
                    <a:cubicBezTo>
                      <a:pt x="122179" y="0"/>
                      <a:pt x="279051" y="111620"/>
                      <a:pt x="263967" y="123687"/>
                    </a:cubicBezTo>
                    <a:cubicBezTo>
                      <a:pt x="251899" y="138771"/>
                      <a:pt x="70894" y="75419"/>
                      <a:pt x="70894" y="75419"/>
                    </a:cubicBezTo>
                    <a:lnTo>
                      <a:pt x="1508" y="51285"/>
                    </a:lnTo>
                    <a:cubicBezTo>
                      <a:pt x="1508" y="51285"/>
                      <a:pt x="-4525" y="132737"/>
                      <a:pt x="7542" y="156871"/>
                    </a:cubicBezTo>
                    <a:cubicBezTo>
                      <a:pt x="79943" y="193072"/>
                      <a:pt x="164412" y="217207"/>
                      <a:pt x="236815" y="229273"/>
                    </a:cubicBezTo>
                    <a:cubicBezTo>
                      <a:pt x="282067" y="238324"/>
                      <a:pt x="363520" y="232290"/>
                      <a:pt x="372570" y="229273"/>
                    </a:cubicBezTo>
                    <a:cubicBezTo>
                      <a:pt x="381619" y="226257"/>
                      <a:pt x="405753" y="202123"/>
                      <a:pt x="378603" y="174972"/>
                    </a:cubicBezTo>
                    <a:cubicBezTo>
                      <a:pt x="318268" y="111620"/>
                      <a:pt x="122179" y="0"/>
                      <a:pt x="122179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0C154A94-AEAB-4A26-B8FA-1E7EDB647C47}"/>
                  </a:ext>
                </a:extLst>
              </p:cNvPr>
              <p:cNvSpPr/>
              <p:nvPr/>
            </p:nvSpPr>
            <p:spPr>
              <a:xfrm>
                <a:off x="23641137" y="6231063"/>
                <a:ext cx="263886" cy="239338"/>
              </a:xfrm>
              <a:custGeom>
                <a:avLst/>
                <a:gdLst>
                  <a:gd name="connsiteX0" fmla="*/ 162904 w 263886"/>
                  <a:gd name="connsiteY0" fmla="*/ 0 h 239338"/>
                  <a:gd name="connsiteX1" fmla="*/ 120670 w 263886"/>
                  <a:gd name="connsiteY1" fmla="*/ 111620 h 239338"/>
                  <a:gd name="connsiteX2" fmla="*/ 262458 w 263886"/>
                  <a:gd name="connsiteY2" fmla="*/ 235307 h 239338"/>
                  <a:gd name="connsiteX3" fmla="*/ 27150 w 263886"/>
                  <a:gd name="connsiteY3" fmla="*/ 193073 h 239338"/>
                  <a:gd name="connsiteX4" fmla="*/ 0 w 263886"/>
                  <a:gd name="connsiteY4" fmla="*/ 162905 h 239338"/>
                  <a:gd name="connsiteX5" fmla="*/ 39218 w 263886"/>
                  <a:gd name="connsiteY5" fmla="*/ 42235 h 239338"/>
                  <a:gd name="connsiteX6" fmla="*/ 162904 w 263886"/>
                  <a:gd name="connsiteY6" fmla="*/ 0 h 239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3886" h="239338">
                    <a:moveTo>
                      <a:pt x="162904" y="0"/>
                    </a:moveTo>
                    <a:lnTo>
                      <a:pt x="120670" y="111620"/>
                    </a:lnTo>
                    <a:cubicBezTo>
                      <a:pt x="120670" y="111620"/>
                      <a:pt x="280558" y="214190"/>
                      <a:pt x="262458" y="235307"/>
                    </a:cubicBezTo>
                    <a:cubicBezTo>
                      <a:pt x="250391" y="250391"/>
                      <a:pt x="96537" y="220224"/>
                      <a:pt x="27150" y="193073"/>
                    </a:cubicBezTo>
                    <a:cubicBezTo>
                      <a:pt x="3016" y="184023"/>
                      <a:pt x="0" y="162905"/>
                      <a:pt x="0" y="162905"/>
                    </a:cubicBezTo>
                    <a:lnTo>
                      <a:pt x="39218" y="42235"/>
                    </a:lnTo>
                    <a:lnTo>
                      <a:pt x="162904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B7FE96E0-D5AE-42B9-A915-AB639DDA36CF}"/>
                </a:ext>
              </a:extLst>
            </p:cNvPr>
            <p:cNvSpPr/>
            <p:nvPr/>
          </p:nvSpPr>
          <p:spPr>
            <a:xfrm>
              <a:off x="23641137" y="3805589"/>
              <a:ext cx="1057046" cy="2494860"/>
            </a:xfrm>
            <a:custGeom>
              <a:avLst/>
              <a:gdLst>
                <a:gd name="connsiteX0" fmla="*/ 277542 w 1057046"/>
                <a:gd name="connsiteY0" fmla="*/ 0 h 2494860"/>
                <a:gd name="connsiteX1" fmla="*/ 938212 w 1057046"/>
                <a:gd name="connsiteY1" fmla="*/ 0 h 2494860"/>
                <a:gd name="connsiteX2" fmla="*/ 1055866 w 1057046"/>
                <a:gd name="connsiteY2" fmla="*/ 455531 h 2494860"/>
                <a:gd name="connsiteX3" fmla="*/ 877876 w 1057046"/>
                <a:gd name="connsiteY3" fmla="*/ 2458659 h 2494860"/>
                <a:gd name="connsiteX4" fmla="*/ 705921 w 1057046"/>
                <a:gd name="connsiteY4" fmla="*/ 2494860 h 2494860"/>
                <a:gd name="connsiteX5" fmla="*/ 600334 w 1057046"/>
                <a:gd name="connsiteY5" fmla="*/ 802458 h 2494860"/>
                <a:gd name="connsiteX6" fmla="*/ 530949 w 1057046"/>
                <a:gd name="connsiteY6" fmla="*/ 1604916 h 2494860"/>
                <a:gd name="connsiteX7" fmla="*/ 518883 w 1057046"/>
                <a:gd name="connsiteY7" fmla="*/ 1656201 h 2494860"/>
                <a:gd name="connsiteX8" fmla="*/ 193072 w 1057046"/>
                <a:gd name="connsiteY8" fmla="*/ 2482794 h 2494860"/>
                <a:gd name="connsiteX9" fmla="*/ 0 w 1057046"/>
                <a:gd name="connsiteY9" fmla="*/ 2482794 h 2494860"/>
                <a:gd name="connsiteX10" fmla="*/ 181006 w 1057046"/>
                <a:gd name="connsiteY10" fmla="*/ 1638101 h 2494860"/>
                <a:gd name="connsiteX11" fmla="*/ 144804 w 1057046"/>
                <a:gd name="connsiteY11" fmla="*/ 410279 h 2494860"/>
                <a:gd name="connsiteX12" fmla="*/ 277542 w 1057046"/>
                <a:gd name="connsiteY12" fmla="*/ 0 h 2494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57046" h="2494860">
                  <a:moveTo>
                    <a:pt x="277542" y="0"/>
                  </a:moveTo>
                  <a:lnTo>
                    <a:pt x="938212" y="0"/>
                  </a:lnTo>
                  <a:cubicBezTo>
                    <a:pt x="938212" y="0"/>
                    <a:pt x="1034748" y="301676"/>
                    <a:pt x="1055866" y="455531"/>
                  </a:cubicBezTo>
                  <a:cubicBezTo>
                    <a:pt x="1073966" y="606369"/>
                    <a:pt x="877876" y="2458659"/>
                    <a:pt x="877876" y="2458659"/>
                  </a:cubicBezTo>
                  <a:lnTo>
                    <a:pt x="705921" y="2494860"/>
                  </a:lnTo>
                  <a:lnTo>
                    <a:pt x="600334" y="802458"/>
                  </a:lnTo>
                  <a:lnTo>
                    <a:pt x="530949" y="1604916"/>
                  </a:lnTo>
                  <a:cubicBezTo>
                    <a:pt x="527933" y="1623017"/>
                    <a:pt x="524915" y="1641117"/>
                    <a:pt x="518883" y="1656201"/>
                  </a:cubicBezTo>
                  <a:lnTo>
                    <a:pt x="193072" y="2482794"/>
                  </a:lnTo>
                  <a:lnTo>
                    <a:pt x="0" y="2482794"/>
                  </a:lnTo>
                  <a:lnTo>
                    <a:pt x="181006" y="1638101"/>
                  </a:lnTo>
                  <a:cubicBezTo>
                    <a:pt x="181006" y="1638101"/>
                    <a:pt x="150838" y="473631"/>
                    <a:pt x="144804" y="410279"/>
                  </a:cubicBezTo>
                  <a:cubicBezTo>
                    <a:pt x="135754" y="292626"/>
                    <a:pt x="277542" y="0"/>
                    <a:pt x="277542" y="0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D95BB946-6DE0-4C3F-BA17-190151BB8C94}"/>
                </a:ext>
              </a:extLst>
            </p:cNvPr>
            <p:cNvSpPr/>
            <p:nvPr/>
          </p:nvSpPr>
          <p:spPr>
            <a:xfrm>
              <a:off x="23828177" y="4188717"/>
              <a:ext cx="461563" cy="2108715"/>
            </a:xfrm>
            <a:custGeom>
              <a:avLst/>
              <a:gdLst>
                <a:gd name="connsiteX0" fmla="*/ 6032 w 461563"/>
                <a:gd name="connsiteY0" fmla="*/ 2108715 h 2108715"/>
                <a:gd name="connsiteX1" fmla="*/ 6032 w 461563"/>
                <a:gd name="connsiteY1" fmla="*/ 2108715 h 2108715"/>
                <a:gd name="connsiteX2" fmla="*/ 0 w 461563"/>
                <a:gd name="connsiteY2" fmla="*/ 2099665 h 2108715"/>
                <a:gd name="connsiteX3" fmla="*/ 325810 w 461563"/>
                <a:gd name="connsiteY3" fmla="*/ 1273073 h 2108715"/>
                <a:gd name="connsiteX4" fmla="*/ 337876 w 461563"/>
                <a:gd name="connsiteY4" fmla="*/ 1221788 h 2108715"/>
                <a:gd name="connsiteX5" fmla="*/ 407263 w 461563"/>
                <a:gd name="connsiteY5" fmla="*/ 419330 h 2108715"/>
                <a:gd name="connsiteX6" fmla="*/ 449496 w 461563"/>
                <a:gd name="connsiteY6" fmla="*/ 6034 h 2108715"/>
                <a:gd name="connsiteX7" fmla="*/ 455530 w 461563"/>
                <a:gd name="connsiteY7" fmla="*/ 0 h 2108715"/>
                <a:gd name="connsiteX8" fmla="*/ 461564 w 461563"/>
                <a:gd name="connsiteY8" fmla="*/ 6034 h 2108715"/>
                <a:gd name="connsiteX9" fmla="*/ 419329 w 461563"/>
                <a:gd name="connsiteY9" fmla="*/ 419330 h 2108715"/>
                <a:gd name="connsiteX10" fmla="*/ 349943 w 461563"/>
                <a:gd name="connsiteY10" fmla="*/ 1221788 h 2108715"/>
                <a:gd name="connsiteX11" fmla="*/ 337876 w 461563"/>
                <a:gd name="connsiteY11" fmla="*/ 1276090 h 2108715"/>
                <a:gd name="connsiteX12" fmla="*/ 12066 w 461563"/>
                <a:gd name="connsiteY12" fmla="*/ 2102682 h 2108715"/>
                <a:gd name="connsiteX13" fmla="*/ 6032 w 461563"/>
                <a:gd name="connsiteY13" fmla="*/ 2108715 h 2108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1563" h="2108715">
                  <a:moveTo>
                    <a:pt x="6032" y="2108715"/>
                  </a:moveTo>
                  <a:cubicBezTo>
                    <a:pt x="6032" y="2108715"/>
                    <a:pt x="6032" y="2108715"/>
                    <a:pt x="6032" y="2108715"/>
                  </a:cubicBezTo>
                  <a:cubicBezTo>
                    <a:pt x="0" y="2105699"/>
                    <a:pt x="0" y="2102682"/>
                    <a:pt x="0" y="2099665"/>
                  </a:cubicBezTo>
                  <a:lnTo>
                    <a:pt x="325810" y="1273073"/>
                  </a:lnTo>
                  <a:cubicBezTo>
                    <a:pt x="331844" y="1257989"/>
                    <a:pt x="334860" y="1239889"/>
                    <a:pt x="337876" y="1221788"/>
                  </a:cubicBezTo>
                  <a:lnTo>
                    <a:pt x="407263" y="419330"/>
                  </a:lnTo>
                  <a:lnTo>
                    <a:pt x="449496" y="6034"/>
                  </a:lnTo>
                  <a:cubicBezTo>
                    <a:pt x="449496" y="3017"/>
                    <a:pt x="452514" y="0"/>
                    <a:pt x="455530" y="0"/>
                  </a:cubicBezTo>
                  <a:cubicBezTo>
                    <a:pt x="458546" y="0"/>
                    <a:pt x="461564" y="3017"/>
                    <a:pt x="461564" y="6034"/>
                  </a:cubicBezTo>
                  <a:lnTo>
                    <a:pt x="419329" y="419330"/>
                  </a:lnTo>
                  <a:lnTo>
                    <a:pt x="349943" y="1221788"/>
                  </a:lnTo>
                  <a:cubicBezTo>
                    <a:pt x="346927" y="1239889"/>
                    <a:pt x="343910" y="1257989"/>
                    <a:pt x="337876" y="1276090"/>
                  </a:cubicBezTo>
                  <a:lnTo>
                    <a:pt x="12066" y="2102682"/>
                  </a:lnTo>
                  <a:cubicBezTo>
                    <a:pt x="12066" y="2105699"/>
                    <a:pt x="9050" y="2108715"/>
                    <a:pt x="6032" y="2108715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58DA97E2-6C76-419B-BEA7-B657A88C9957}"/>
                </a:ext>
              </a:extLst>
            </p:cNvPr>
            <p:cNvSpPr/>
            <p:nvPr/>
          </p:nvSpPr>
          <p:spPr>
            <a:xfrm>
              <a:off x="23788957" y="3959443"/>
              <a:ext cx="177989" cy="187039"/>
            </a:xfrm>
            <a:custGeom>
              <a:avLst/>
              <a:gdLst>
                <a:gd name="connsiteX0" fmla="*/ 6034 w 177989"/>
                <a:gd name="connsiteY0" fmla="*/ 187039 h 187039"/>
                <a:gd name="connsiteX1" fmla="*/ 0 w 177989"/>
                <a:gd name="connsiteY1" fmla="*/ 184022 h 187039"/>
                <a:gd name="connsiteX2" fmla="*/ 3018 w 177989"/>
                <a:gd name="connsiteY2" fmla="*/ 177989 h 187039"/>
                <a:gd name="connsiteX3" fmla="*/ 168940 w 177989"/>
                <a:gd name="connsiteY3" fmla="*/ 3017 h 187039"/>
                <a:gd name="connsiteX4" fmla="*/ 174974 w 177989"/>
                <a:gd name="connsiteY4" fmla="*/ 0 h 187039"/>
                <a:gd name="connsiteX5" fmla="*/ 177990 w 177989"/>
                <a:gd name="connsiteY5" fmla="*/ 6034 h 187039"/>
                <a:gd name="connsiteX6" fmla="*/ 6034 w 177989"/>
                <a:gd name="connsiteY6" fmla="*/ 187039 h 187039"/>
                <a:gd name="connsiteX7" fmla="*/ 6034 w 177989"/>
                <a:gd name="connsiteY7" fmla="*/ 187039 h 187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989" h="187039">
                  <a:moveTo>
                    <a:pt x="6034" y="187039"/>
                  </a:moveTo>
                  <a:cubicBezTo>
                    <a:pt x="3018" y="187039"/>
                    <a:pt x="0" y="184022"/>
                    <a:pt x="0" y="184022"/>
                  </a:cubicBezTo>
                  <a:cubicBezTo>
                    <a:pt x="0" y="181006"/>
                    <a:pt x="0" y="177989"/>
                    <a:pt x="3018" y="177989"/>
                  </a:cubicBezTo>
                  <a:cubicBezTo>
                    <a:pt x="114638" y="147821"/>
                    <a:pt x="165922" y="6034"/>
                    <a:pt x="168940" y="3017"/>
                  </a:cubicBezTo>
                  <a:cubicBezTo>
                    <a:pt x="168940" y="0"/>
                    <a:pt x="171956" y="0"/>
                    <a:pt x="174974" y="0"/>
                  </a:cubicBezTo>
                  <a:cubicBezTo>
                    <a:pt x="177990" y="0"/>
                    <a:pt x="177990" y="3017"/>
                    <a:pt x="177990" y="6034"/>
                  </a:cubicBezTo>
                  <a:cubicBezTo>
                    <a:pt x="177990" y="12067"/>
                    <a:pt x="123688" y="153855"/>
                    <a:pt x="6034" y="187039"/>
                  </a:cubicBezTo>
                  <a:cubicBezTo>
                    <a:pt x="9052" y="187039"/>
                    <a:pt x="6034" y="187039"/>
                    <a:pt x="6034" y="187039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7234B298-20AC-42EC-B122-6F5D4FC64038}"/>
                </a:ext>
              </a:extLst>
            </p:cNvPr>
            <p:cNvSpPr/>
            <p:nvPr/>
          </p:nvSpPr>
          <p:spPr>
            <a:xfrm>
              <a:off x="24509964" y="3956427"/>
              <a:ext cx="171955" cy="193072"/>
            </a:xfrm>
            <a:custGeom>
              <a:avLst/>
              <a:gdLst>
                <a:gd name="connsiteX0" fmla="*/ 165922 w 171955"/>
                <a:gd name="connsiteY0" fmla="*/ 193073 h 193072"/>
                <a:gd name="connsiteX1" fmla="*/ 165922 w 171955"/>
                <a:gd name="connsiteY1" fmla="*/ 193073 h 193072"/>
                <a:gd name="connsiteX2" fmla="*/ 0 w 171955"/>
                <a:gd name="connsiteY2" fmla="*/ 9050 h 193072"/>
                <a:gd name="connsiteX3" fmla="*/ 3016 w 171955"/>
                <a:gd name="connsiteY3" fmla="*/ 0 h 193072"/>
                <a:gd name="connsiteX4" fmla="*/ 12068 w 171955"/>
                <a:gd name="connsiteY4" fmla="*/ 3017 h 193072"/>
                <a:gd name="connsiteX5" fmla="*/ 168938 w 171955"/>
                <a:gd name="connsiteY5" fmla="*/ 181006 h 193072"/>
                <a:gd name="connsiteX6" fmla="*/ 171956 w 171955"/>
                <a:gd name="connsiteY6" fmla="*/ 187039 h 193072"/>
                <a:gd name="connsiteX7" fmla="*/ 165922 w 171955"/>
                <a:gd name="connsiteY7" fmla="*/ 193073 h 193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55" h="193072">
                  <a:moveTo>
                    <a:pt x="165922" y="193073"/>
                  </a:moveTo>
                  <a:cubicBezTo>
                    <a:pt x="165922" y="193073"/>
                    <a:pt x="165922" y="193073"/>
                    <a:pt x="165922" y="193073"/>
                  </a:cubicBezTo>
                  <a:cubicBezTo>
                    <a:pt x="84469" y="159888"/>
                    <a:pt x="3016" y="15084"/>
                    <a:pt x="0" y="9050"/>
                  </a:cubicBezTo>
                  <a:cubicBezTo>
                    <a:pt x="0" y="6033"/>
                    <a:pt x="0" y="3017"/>
                    <a:pt x="3016" y="0"/>
                  </a:cubicBezTo>
                  <a:cubicBezTo>
                    <a:pt x="6034" y="0"/>
                    <a:pt x="9050" y="0"/>
                    <a:pt x="12068" y="3017"/>
                  </a:cubicBezTo>
                  <a:cubicBezTo>
                    <a:pt x="12068" y="3017"/>
                    <a:pt x="93519" y="150838"/>
                    <a:pt x="168938" y="181006"/>
                  </a:cubicBezTo>
                  <a:cubicBezTo>
                    <a:pt x="171956" y="181006"/>
                    <a:pt x="171956" y="184022"/>
                    <a:pt x="171956" y="187039"/>
                  </a:cubicBezTo>
                  <a:cubicBezTo>
                    <a:pt x="171956" y="190056"/>
                    <a:pt x="168938" y="193073"/>
                    <a:pt x="165922" y="193073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6B9ADDCF-2846-4CEA-B143-8D03FBED53DA}"/>
                </a:ext>
              </a:extLst>
            </p:cNvPr>
            <p:cNvSpPr/>
            <p:nvPr/>
          </p:nvSpPr>
          <p:spPr>
            <a:xfrm>
              <a:off x="24009182" y="2163591"/>
              <a:ext cx="418158" cy="562314"/>
            </a:xfrm>
            <a:custGeom>
              <a:avLst/>
              <a:gdLst>
                <a:gd name="connsiteX0" fmla="*/ 410279 w 418158"/>
                <a:gd name="connsiteY0" fmla="*/ 181886 h 562314"/>
                <a:gd name="connsiteX1" fmla="*/ 398211 w 418158"/>
                <a:gd name="connsiteY1" fmla="*/ 435294 h 562314"/>
                <a:gd name="connsiteX2" fmla="*/ 250391 w 418158"/>
                <a:gd name="connsiteY2" fmla="*/ 561998 h 562314"/>
                <a:gd name="connsiteX3" fmla="*/ 36200 w 418158"/>
                <a:gd name="connsiteY3" fmla="*/ 420210 h 562314"/>
                <a:gd name="connsiteX4" fmla="*/ 0 w 418158"/>
                <a:gd name="connsiteY4" fmla="*/ 196970 h 562314"/>
                <a:gd name="connsiteX5" fmla="*/ 211173 w 418158"/>
                <a:gd name="connsiteY5" fmla="*/ 880 h 562314"/>
                <a:gd name="connsiteX6" fmla="*/ 410279 w 418158"/>
                <a:gd name="connsiteY6" fmla="*/ 181886 h 562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158" h="562314">
                  <a:moveTo>
                    <a:pt x="410279" y="181886"/>
                  </a:moveTo>
                  <a:cubicBezTo>
                    <a:pt x="410279" y="181886"/>
                    <a:pt x="434412" y="368925"/>
                    <a:pt x="398211" y="435294"/>
                  </a:cubicBezTo>
                  <a:cubicBezTo>
                    <a:pt x="362011" y="501663"/>
                    <a:pt x="301676" y="558981"/>
                    <a:pt x="250391" y="561998"/>
                  </a:cubicBezTo>
                  <a:cubicBezTo>
                    <a:pt x="184022" y="568031"/>
                    <a:pt x="72401" y="486579"/>
                    <a:pt x="36200" y="420210"/>
                  </a:cubicBezTo>
                  <a:cubicBezTo>
                    <a:pt x="0" y="353841"/>
                    <a:pt x="0" y="248255"/>
                    <a:pt x="0" y="196970"/>
                  </a:cubicBezTo>
                  <a:cubicBezTo>
                    <a:pt x="3016" y="103450"/>
                    <a:pt x="30168" y="25014"/>
                    <a:pt x="211173" y="880"/>
                  </a:cubicBezTo>
                  <a:cubicBezTo>
                    <a:pt x="298658" y="-11187"/>
                    <a:pt x="392179" y="103450"/>
                    <a:pt x="410279" y="181886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133BD37D-81AD-4B9F-9B05-3E04B63183B4}"/>
                </a:ext>
              </a:extLst>
            </p:cNvPr>
            <p:cNvSpPr/>
            <p:nvPr/>
          </p:nvSpPr>
          <p:spPr>
            <a:xfrm>
              <a:off x="24235439" y="2432963"/>
              <a:ext cx="54301" cy="129720"/>
            </a:xfrm>
            <a:custGeom>
              <a:avLst/>
              <a:gdLst>
                <a:gd name="connsiteX0" fmla="*/ 30168 w 54301"/>
                <a:gd name="connsiteY0" fmla="*/ 129721 h 129720"/>
                <a:gd name="connsiteX1" fmla="*/ 6032 w 54301"/>
                <a:gd name="connsiteY1" fmla="*/ 126704 h 129720"/>
                <a:gd name="connsiteX2" fmla="*/ 0 w 54301"/>
                <a:gd name="connsiteY2" fmla="*/ 120670 h 129720"/>
                <a:gd name="connsiteX3" fmla="*/ 6032 w 54301"/>
                <a:gd name="connsiteY3" fmla="*/ 114637 h 129720"/>
                <a:gd name="connsiteX4" fmla="*/ 45251 w 54301"/>
                <a:gd name="connsiteY4" fmla="*/ 114637 h 129720"/>
                <a:gd name="connsiteX5" fmla="*/ 45251 w 54301"/>
                <a:gd name="connsiteY5" fmla="*/ 111620 h 129720"/>
                <a:gd name="connsiteX6" fmla="*/ 18100 w 54301"/>
                <a:gd name="connsiteY6" fmla="*/ 6034 h 129720"/>
                <a:gd name="connsiteX7" fmla="*/ 21116 w 54301"/>
                <a:gd name="connsiteY7" fmla="*/ 0 h 129720"/>
                <a:gd name="connsiteX8" fmla="*/ 27150 w 54301"/>
                <a:gd name="connsiteY8" fmla="*/ 3017 h 129720"/>
                <a:gd name="connsiteX9" fmla="*/ 54301 w 54301"/>
                <a:gd name="connsiteY9" fmla="*/ 111620 h 129720"/>
                <a:gd name="connsiteX10" fmla="*/ 48267 w 54301"/>
                <a:gd name="connsiteY10" fmla="*/ 123687 h 129720"/>
                <a:gd name="connsiteX11" fmla="*/ 30168 w 54301"/>
                <a:gd name="connsiteY11" fmla="*/ 129721 h 12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301" h="129720">
                  <a:moveTo>
                    <a:pt x="30168" y="129721"/>
                  </a:moveTo>
                  <a:cubicBezTo>
                    <a:pt x="18100" y="129721"/>
                    <a:pt x="9050" y="126704"/>
                    <a:pt x="6032" y="126704"/>
                  </a:cubicBezTo>
                  <a:cubicBezTo>
                    <a:pt x="3016" y="126704"/>
                    <a:pt x="0" y="123687"/>
                    <a:pt x="0" y="120670"/>
                  </a:cubicBezTo>
                  <a:cubicBezTo>
                    <a:pt x="0" y="117654"/>
                    <a:pt x="3016" y="114637"/>
                    <a:pt x="6032" y="114637"/>
                  </a:cubicBezTo>
                  <a:cubicBezTo>
                    <a:pt x="18100" y="117654"/>
                    <a:pt x="39218" y="117654"/>
                    <a:pt x="45251" y="114637"/>
                  </a:cubicBezTo>
                  <a:cubicBezTo>
                    <a:pt x="45251" y="114637"/>
                    <a:pt x="45251" y="111620"/>
                    <a:pt x="45251" y="111620"/>
                  </a:cubicBezTo>
                  <a:cubicBezTo>
                    <a:pt x="45251" y="96536"/>
                    <a:pt x="24134" y="30168"/>
                    <a:pt x="18100" y="6034"/>
                  </a:cubicBezTo>
                  <a:cubicBezTo>
                    <a:pt x="18100" y="3017"/>
                    <a:pt x="18100" y="0"/>
                    <a:pt x="21116" y="0"/>
                  </a:cubicBezTo>
                  <a:cubicBezTo>
                    <a:pt x="24134" y="0"/>
                    <a:pt x="27150" y="0"/>
                    <a:pt x="27150" y="3017"/>
                  </a:cubicBezTo>
                  <a:cubicBezTo>
                    <a:pt x="27150" y="6034"/>
                    <a:pt x="54301" y="90503"/>
                    <a:pt x="54301" y="111620"/>
                  </a:cubicBezTo>
                  <a:cubicBezTo>
                    <a:pt x="54301" y="117654"/>
                    <a:pt x="51283" y="120670"/>
                    <a:pt x="48267" y="123687"/>
                  </a:cubicBezTo>
                  <a:cubicBezTo>
                    <a:pt x="48267" y="126704"/>
                    <a:pt x="39218" y="129721"/>
                    <a:pt x="30168" y="129721"/>
                  </a:cubicBezTo>
                  <a:close/>
                </a:path>
              </a:pathLst>
            </a:custGeom>
            <a:solidFill>
              <a:srgbClr val="E58777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7F642DEE-8C29-4C74-8C82-AB2515FFA47E}"/>
                </a:ext>
              </a:extLst>
            </p:cNvPr>
            <p:cNvSpPr/>
            <p:nvPr/>
          </p:nvSpPr>
          <p:spPr>
            <a:xfrm>
              <a:off x="24205272" y="2610952"/>
              <a:ext cx="105586" cy="54301"/>
            </a:xfrm>
            <a:custGeom>
              <a:avLst/>
              <a:gdLst>
                <a:gd name="connsiteX0" fmla="*/ 0 w 105586"/>
                <a:gd name="connsiteY0" fmla="*/ 0 h 54301"/>
                <a:gd name="connsiteX1" fmla="*/ 105587 w 105586"/>
                <a:gd name="connsiteY1" fmla="*/ 0 h 54301"/>
                <a:gd name="connsiteX2" fmla="*/ 54301 w 105586"/>
                <a:gd name="connsiteY2" fmla="*/ 54302 h 54301"/>
                <a:gd name="connsiteX3" fmla="*/ 0 w 105586"/>
                <a:gd name="connsiteY3" fmla="*/ 0 h 5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586" h="54301">
                  <a:moveTo>
                    <a:pt x="0" y="0"/>
                  </a:moveTo>
                  <a:cubicBezTo>
                    <a:pt x="54301" y="24134"/>
                    <a:pt x="105587" y="0"/>
                    <a:pt x="105587" y="0"/>
                  </a:cubicBezTo>
                  <a:cubicBezTo>
                    <a:pt x="105587" y="0"/>
                    <a:pt x="90503" y="54302"/>
                    <a:pt x="54301" y="54302"/>
                  </a:cubicBezTo>
                  <a:cubicBezTo>
                    <a:pt x="15084" y="51285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C680BC9F-8111-4778-8F6F-6D2C12BFC38C}"/>
                </a:ext>
              </a:extLst>
            </p:cNvPr>
            <p:cNvSpPr/>
            <p:nvPr/>
          </p:nvSpPr>
          <p:spPr>
            <a:xfrm>
              <a:off x="24325173" y="2402204"/>
              <a:ext cx="40578" cy="40401"/>
            </a:xfrm>
            <a:custGeom>
              <a:avLst/>
              <a:gdLst>
                <a:gd name="connsiteX0" fmla="*/ 769 w 40578"/>
                <a:gd name="connsiteY0" fmla="*/ 24726 h 40401"/>
                <a:gd name="connsiteX1" fmla="*/ 24903 w 40578"/>
                <a:gd name="connsiteY1" fmla="*/ 39810 h 40401"/>
                <a:gd name="connsiteX2" fmla="*/ 39987 w 40578"/>
                <a:gd name="connsiteY2" fmla="*/ 15676 h 40401"/>
                <a:gd name="connsiteX3" fmla="*/ 15853 w 40578"/>
                <a:gd name="connsiteY3" fmla="*/ 592 h 40401"/>
                <a:gd name="connsiteX4" fmla="*/ 769 w 40578"/>
                <a:gd name="connsiteY4" fmla="*/ 24726 h 4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0401">
                  <a:moveTo>
                    <a:pt x="769" y="24726"/>
                  </a:moveTo>
                  <a:cubicBezTo>
                    <a:pt x="3785" y="33776"/>
                    <a:pt x="12835" y="42826"/>
                    <a:pt x="24903" y="39810"/>
                  </a:cubicBezTo>
                  <a:cubicBezTo>
                    <a:pt x="33953" y="36793"/>
                    <a:pt x="43003" y="27743"/>
                    <a:pt x="39987" y="15676"/>
                  </a:cubicBezTo>
                  <a:cubicBezTo>
                    <a:pt x="36969" y="6625"/>
                    <a:pt x="27919" y="-2425"/>
                    <a:pt x="15853" y="592"/>
                  </a:cubicBezTo>
                  <a:cubicBezTo>
                    <a:pt x="3785" y="3609"/>
                    <a:pt x="-2249" y="15676"/>
                    <a:pt x="769" y="24726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8A5863DB-428B-4BBB-B693-685DCF5BAEC2}"/>
                </a:ext>
              </a:extLst>
            </p:cNvPr>
            <p:cNvSpPr/>
            <p:nvPr/>
          </p:nvSpPr>
          <p:spPr>
            <a:xfrm>
              <a:off x="24135885" y="2408060"/>
              <a:ext cx="39810" cy="40755"/>
            </a:xfrm>
            <a:custGeom>
              <a:avLst/>
              <a:gdLst>
                <a:gd name="connsiteX0" fmla="*/ 0 w 39810"/>
                <a:gd name="connsiteY0" fmla="*/ 24903 h 40755"/>
                <a:gd name="connsiteX1" fmla="*/ 24136 w 39810"/>
                <a:gd name="connsiteY1" fmla="*/ 39987 h 40755"/>
                <a:gd name="connsiteX2" fmla="*/ 39219 w 39810"/>
                <a:gd name="connsiteY2" fmla="*/ 15853 h 40755"/>
                <a:gd name="connsiteX3" fmla="*/ 15084 w 39810"/>
                <a:gd name="connsiteY3" fmla="*/ 769 h 40755"/>
                <a:gd name="connsiteX4" fmla="*/ 0 w 39810"/>
                <a:gd name="connsiteY4" fmla="*/ 24903 h 4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10" h="40755">
                  <a:moveTo>
                    <a:pt x="0" y="24903"/>
                  </a:moveTo>
                  <a:cubicBezTo>
                    <a:pt x="3018" y="36970"/>
                    <a:pt x="12068" y="43003"/>
                    <a:pt x="24136" y="39987"/>
                  </a:cubicBezTo>
                  <a:cubicBezTo>
                    <a:pt x="33185" y="36970"/>
                    <a:pt x="42235" y="27920"/>
                    <a:pt x="39219" y="15853"/>
                  </a:cubicBezTo>
                  <a:cubicBezTo>
                    <a:pt x="36201" y="3785"/>
                    <a:pt x="27152" y="-2248"/>
                    <a:pt x="15084" y="769"/>
                  </a:cubicBezTo>
                  <a:cubicBezTo>
                    <a:pt x="6034" y="3785"/>
                    <a:pt x="0" y="15853"/>
                    <a:pt x="0" y="24903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D767C6F4-0164-4966-A5ED-3AA8F21B0874}"/>
                </a:ext>
              </a:extLst>
            </p:cNvPr>
            <p:cNvSpPr/>
            <p:nvPr/>
          </p:nvSpPr>
          <p:spPr>
            <a:xfrm>
              <a:off x="24300557" y="2357544"/>
              <a:ext cx="90998" cy="30167"/>
            </a:xfrm>
            <a:custGeom>
              <a:avLst/>
              <a:gdLst>
                <a:gd name="connsiteX0" fmla="*/ 82702 w 90998"/>
                <a:gd name="connsiteY0" fmla="*/ 30168 h 30167"/>
                <a:gd name="connsiteX1" fmla="*/ 76668 w 90998"/>
                <a:gd name="connsiteY1" fmla="*/ 27151 h 30167"/>
                <a:gd name="connsiteX2" fmla="*/ 10301 w 90998"/>
                <a:gd name="connsiteY2" fmla="*/ 21117 h 30167"/>
                <a:gd name="connsiteX3" fmla="*/ 1249 w 90998"/>
                <a:gd name="connsiteY3" fmla="*/ 18101 h 30167"/>
                <a:gd name="connsiteX4" fmla="*/ 4267 w 90998"/>
                <a:gd name="connsiteY4" fmla="*/ 9050 h 30167"/>
                <a:gd name="connsiteX5" fmla="*/ 88736 w 90998"/>
                <a:gd name="connsiteY5" fmla="*/ 18101 h 30167"/>
                <a:gd name="connsiteX6" fmla="*/ 88736 w 90998"/>
                <a:gd name="connsiteY6" fmla="*/ 30168 h 30167"/>
                <a:gd name="connsiteX7" fmla="*/ 82702 w 90998"/>
                <a:gd name="connsiteY7" fmla="*/ 30168 h 30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0167">
                  <a:moveTo>
                    <a:pt x="82702" y="30168"/>
                  </a:moveTo>
                  <a:cubicBezTo>
                    <a:pt x="79686" y="30168"/>
                    <a:pt x="79686" y="30168"/>
                    <a:pt x="76668" y="27151"/>
                  </a:cubicBezTo>
                  <a:cubicBezTo>
                    <a:pt x="52535" y="0"/>
                    <a:pt x="13317" y="18101"/>
                    <a:pt x="10301" y="21117"/>
                  </a:cubicBezTo>
                  <a:cubicBezTo>
                    <a:pt x="7283" y="24134"/>
                    <a:pt x="1249" y="21117"/>
                    <a:pt x="1249" y="18101"/>
                  </a:cubicBezTo>
                  <a:cubicBezTo>
                    <a:pt x="-1767" y="15084"/>
                    <a:pt x="1249" y="9050"/>
                    <a:pt x="4267" y="9050"/>
                  </a:cubicBezTo>
                  <a:cubicBezTo>
                    <a:pt x="22367" y="0"/>
                    <a:pt x="61584" y="-9050"/>
                    <a:pt x="88736" y="18101"/>
                  </a:cubicBezTo>
                  <a:cubicBezTo>
                    <a:pt x="91752" y="21117"/>
                    <a:pt x="91752" y="27151"/>
                    <a:pt x="88736" y="30168"/>
                  </a:cubicBezTo>
                  <a:cubicBezTo>
                    <a:pt x="85720" y="30168"/>
                    <a:pt x="82702" y="30168"/>
                    <a:pt x="82702" y="30168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C89358F0-5E79-497E-8341-7C3D1C23B315}"/>
                </a:ext>
              </a:extLst>
            </p:cNvPr>
            <p:cNvSpPr/>
            <p:nvPr/>
          </p:nvSpPr>
          <p:spPr>
            <a:xfrm>
              <a:off x="24109489" y="2355533"/>
              <a:ext cx="90998" cy="35195"/>
            </a:xfrm>
            <a:custGeom>
              <a:avLst/>
              <a:gdLst>
                <a:gd name="connsiteX0" fmla="*/ 8296 w 90998"/>
                <a:gd name="connsiteY0" fmla="*/ 35196 h 35195"/>
                <a:gd name="connsiteX1" fmla="*/ 2262 w 90998"/>
                <a:gd name="connsiteY1" fmla="*/ 32179 h 35195"/>
                <a:gd name="connsiteX2" fmla="*/ 2262 w 90998"/>
                <a:gd name="connsiteY2" fmla="*/ 20112 h 35195"/>
                <a:gd name="connsiteX3" fmla="*/ 86731 w 90998"/>
                <a:gd name="connsiteY3" fmla="*/ 11061 h 35195"/>
                <a:gd name="connsiteX4" fmla="*/ 89749 w 90998"/>
                <a:gd name="connsiteY4" fmla="*/ 23129 h 35195"/>
                <a:gd name="connsiteX5" fmla="*/ 77681 w 90998"/>
                <a:gd name="connsiteY5" fmla="*/ 26145 h 35195"/>
                <a:gd name="connsiteX6" fmla="*/ 11312 w 90998"/>
                <a:gd name="connsiteY6" fmla="*/ 32179 h 35195"/>
                <a:gd name="connsiteX7" fmla="*/ 8296 w 90998"/>
                <a:gd name="connsiteY7" fmla="*/ 35196 h 3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5195">
                  <a:moveTo>
                    <a:pt x="8296" y="35196"/>
                  </a:moveTo>
                  <a:cubicBezTo>
                    <a:pt x="5280" y="35196"/>
                    <a:pt x="5280" y="35196"/>
                    <a:pt x="2262" y="32179"/>
                  </a:cubicBezTo>
                  <a:cubicBezTo>
                    <a:pt x="-754" y="29162"/>
                    <a:pt x="-754" y="23129"/>
                    <a:pt x="2262" y="20112"/>
                  </a:cubicBezTo>
                  <a:cubicBezTo>
                    <a:pt x="14330" y="8045"/>
                    <a:pt x="50531" y="-13073"/>
                    <a:pt x="86731" y="11061"/>
                  </a:cubicBezTo>
                  <a:cubicBezTo>
                    <a:pt x="89749" y="14078"/>
                    <a:pt x="92765" y="17095"/>
                    <a:pt x="89749" y="23129"/>
                  </a:cubicBezTo>
                  <a:cubicBezTo>
                    <a:pt x="86731" y="26145"/>
                    <a:pt x="83715" y="29162"/>
                    <a:pt x="77681" y="26145"/>
                  </a:cubicBezTo>
                  <a:cubicBezTo>
                    <a:pt x="41480" y="2011"/>
                    <a:pt x="14330" y="32179"/>
                    <a:pt x="11312" y="32179"/>
                  </a:cubicBezTo>
                  <a:cubicBezTo>
                    <a:pt x="14330" y="32179"/>
                    <a:pt x="11312" y="35196"/>
                    <a:pt x="8296" y="35196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130569D8-5DB2-49FF-8878-F2B15B7F4F20}"/>
                </a:ext>
              </a:extLst>
            </p:cNvPr>
            <p:cNvSpPr/>
            <p:nvPr/>
          </p:nvSpPr>
          <p:spPr>
            <a:xfrm>
              <a:off x="24173035" y="2132057"/>
              <a:ext cx="273801" cy="255654"/>
            </a:xfrm>
            <a:custGeom>
              <a:avLst/>
              <a:gdLst>
                <a:gd name="connsiteX0" fmla="*/ 2069 w 273801"/>
                <a:gd name="connsiteY0" fmla="*/ 2247 h 255654"/>
                <a:gd name="connsiteX1" fmla="*/ 38269 w 273801"/>
                <a:gd name="connsiteY1" fmla="*/ 128951 h 255654"/>
                <a:gd name="connsiteX2" fmla="*/ 273578 w 273801"/>
                <a:gd name="connsiteY2" fmla="*/ 255655 h 255654"/>
                <a:gd name="connsiteX3" fmla="*/ 2069 w 273801"/>
                <a:gd name="connsiteY3" fmla="*/ 2247 h 25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3801" h="255654">
                  <a:moveTo>
                    <a:pt x="2069" y="2247"/>
                  </a:moveTo>
                  <a:cubicBezTo>
                    <a:pt x="2069" y="2247"/>
                    <a:pt x="-13015" y="89733"/>
                    <a:pt x="38269" y="128951"/>
                  </a:cubicBezTo>
                  <a:cubicBezTo>
                    <a:pt x="38269" y="128951"/>
                    <a:pt x="246426" y="171186"/>
                    <a:pt x="273578" y="255655"/>
                  </a:cubicBezTo>
                  <a:cubicBezTo>
                    <a:pt x="273578" y="255655"/>
                    <a:pt x="291677" y="-27921"/>
                    <a:pt x="2069" y="2247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30CA9935-2140-4A48-9D28-734E0DA5B5FE}"/>
                </a:ext>
              </a:extLst>
            </p:cNvPr>
            <p:cNvSpPr/>
            <p:nvPr/>
          </p:nvSpPr>
          <p:spPr>
            <a:xfrm>
              <a:off x="23988385" y="2134304"/>
              <a:ext cx="222918" cy="311215"/>
            </a:xfrm>
            <a:custGeom>
              <a:avLst/>
              <a:gdLst>
                <a:gd name="connsiteX0" fmla="*/ 222919 w 222918"/>
                <a:gd name="connsiteY0" fmla="*/ 126704 h 311215"/>
                <a:gd name="connsiteX1" fmla="*/ 84148 w 222918"/>
                <a:gd name="connsiteY1" fmla="*/ 181006 h 311215"/>
                <a:gd name="connsiteX2" fmla="*/ 26829 w 222918"/>
                <a:gd name="connsiteY2" fmla="*/ 298659 h 311215"/>
                <a:gd name="connsiteX3" fmla="*/ 2696 w 222918"/>
                <a:gd name="connsiteY3" fmla="*/ 295642 h 311215"/>
                <a:gd name="connsiteX4" fmla="*/ 189735 w 222918"/>
                <a:gd name="connsiteY4" fmla="*/ 0 h 311215"/>
                <a:gd name="connsiteX5" fmla="*/ 222919 w 222918"/>
                <a:gd name="connsiteY5" fmla="*/ 126704 h 31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2918" h="311215">
                  <a:moveTo>
                    <a:pt x="222919" y="126704"/>
                  </a:moveTo>
                  <a:cubicBezTo>
                    <a:pt x="222919" y="126704"/>
                    <a:pt x="132416" y="174972"/>
                    <a:pt x="84148" y="181006"/>
                  </a:cubicBezTo>
                  <a:cubicBezTo>
                    <a:pt x="32863" y="187039"/>
                    <a:pt x="26829" y="298659"/>
                    <a:pt x="26829" y="298659"/>
                  </a:cubicBezTo>
                  <a:cubicBezTo>
                    <a:pt x="26829" y="298659"/>
                    <a:pt x="5713" y="328827"/>
                    <a:pt x="2696" y="295642"/>
                  </a:cubicBezTo>
                  <a:cubicBezTo>
                    <a:pt x="-6354" y="217207"/>
                    <a:pt x="-3338" y="21117"/>
                    <a:pt x="189735" y="0"/>
                  </a:cubicBezTo>
                  <a:cubicBezTo>
                    <a:pt x="186719" y="0"/>
                    <a:pt x="198785" y="120670"/>
                    <a:pt x="222919" y="126704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80F438FD-1622-4811-B44D-EE8D97973C1E}"/>
                </a:ext>
              </a:extLst>
            </p:cNvPr>
            <p:cNvSpPr/>
            <p:nvPr/>
          </p:nvSpPr>
          <p:spPr>
            <a:xfrm>
              <a:off x="24063484" y="2182572"/>
              <a:ext cx="155195" cy="138770"/>
            </a:xfrm>
            <a:custGeom>
              <a:avLst/>
              <a:gdLst>
                <a:gd name="connsiteX0" fmla="*/ 6034 w 155195"/>
                <a:gd name="connsiteY0" fmla="*/ 138771 h 138770"/>
                <a:gd name="connsiteX1" fmla="*/ 0 w 155195"/>
                <a:gd name="connsiteY1" fmla="*/ 132737 h 138770"/>
                <a:gd name="connsiteX2" fmla="*/ 6034 w 155195"/>
                <a:gd name="connsiteY2" fmla="*/ 126704 h 138770"/>
                <a:gd name="connsiteX3" fmla="*/ 99553 w 155195"/>
                <a:gd name="connsiteY3" fmla="*/ 96536 h 138770"/>
                <a:gd name="connsiteX4" fmla="*/ 138770 w 155195"/>
                <a:gd name="connsiteY4" fmla="*/ 75419 h 138770"/>
                <a:gd name="connsiteX5" fmla="*/ 114637 w 155195"/>
                <a:gd name="connsiteY5" fmla="*/ 6034 h 138770"/>
                <a:gd name="connsiteX6" fmla="*/ 120670 w 155195"/>
                <a:gd name="connsiteY6" fmla="*/ 0 h 138770"/>
                <a:gd name="connsiteX7" fmla="*/ 126704 w 155195"/>
                <a:gd name="connsiteY7" fmla="*/ 6034 h 138770"/>
                <a:gd name="connsiteX8" fmla="*/ 153854 w 155195"/>
                <a:gd name="connsiteY8" fmla="*/ 75419 h 138770"/>
                <a:gd name="connsiteX9" fmla="*/ 153854 w 155195"/>
                <a:gd name="connsiteY9" fmla="*/ 81453 h 138770"/>
                <a:gd name="connsiteX10" fmla="*/ 150838 w 155195"/>
                <a:gd name="connsiteY10" fmla="*/ 84469 h 138770"/>
                <a:gd name="connsiteX11" fmla="*/ 105587 w 155195"/>
                <a:gd name="connsiteY11" fmla="*/ 108603 h 138770"/>
                <a:gd name="connsiteX12" fmla="*/ 6034 w 155195"/>
                <a:gd name="connsiteY12" fmla="*/ 138771 h 138770"/>
                <a:gd name="connsiteX13" fmla="*/ 6034 w 155195"/>
                <a:gd name="connsiteY13" fmla="*/ 138771 h 138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5195" h="138770">
                  <a:moveTo>
                    <a:pt x="6034" y="138771"/>
                  </a:moveTo>
                  <a:cubicBezTo>
                    <a:pt x="3016" y="138771"/>
                    <a:pt x="0" y="135754"/>
                    <a:pt x="0" y="132737"/>
                  </a:cubicBezTo>
                  <a:cubicBezTo>
                    <a:pt x="0" y="129721"/>
                    <a:pt x="3016" y="126704"/>
                    <a:pt x="6034" y="126704"/>
                  </a:cubicBezTo>
                  <a:cubicBezTo>
                    <a:pt x="39218" y="120670"/>
                    <a:pt x="75419" y="105587"/>
                    <a:pt x="99553" y="96536"/>
                  </a:cubicBezTo>
                  <a:cubicBezTo>
                    <a:pt x="117653" y="87486"/>
                    <a:pt x="129720" y="81453"/>
                    <a:pt x="138770" y="75419"/>
                  </a:cubicBezTo>
                  <a:cubicBezTo>
                    <a:pt x="129720" y="60335"/>
                    <a:pt x="114637" y="27151"/>
                    <a:pt x="114637" y="6034"/>
                  </a:cubicBezTo>
                  <a:cubicBezTo>
                    <a:pt x="114637" y="3017"/>
                    <a:pt x="117653" y="0"/>
                    <a:pt x="120670" y="0"/>
                  </a:cubicBezTo>
                  <a:cubicBezTo>
                    <a:pt x="123686" y="0"/>
                    <a:pt x="126704" y="3017"/>
                    <a:pt x="126704" y="6034"/>
                  </a:cubicBezTo>
                  <a:cubicBezTo>
                    <a:pt x="129720" y="30168"/>
                    <a:pt x="147820" y="69385"/>
                    <a:pt x="153854" y="75419"/>
                  </a:cubicBezTo>
                  <a:cubicBezTo>
                    <a:pt x="153854" y="75419"/>
                    <a:pt x="156872" y="78436"/>
                    <a:pt x="153854" y="81453"/>
                  </a:cubicBezTo>
                  <a:cubicBezTo>
                    <a:pt x="153854" y="84469"/>
                    <a:pt x="153854" y="84469"/>
                    <a:pt x="150838" y="84469"/>
                  </a:cubicBezTo>
                  <a:cubicBezTo>
                    <a:pt x="150838" y="84469"/>
                    <a:pt x="132736" y="96536"/>
                    <a:pt x="105587" y="108603"/>
                  </a:cubicBezTo>
                  <a:cubicBezTo>
                    <a:pt x="81453" y="117654"/>
                    <a:pt x="45251" y="132737"/>
                    <a:pt x="6034" y="138771"/>
                  </a:cubicBezTo>
                  <a:cubicBezTo>
                    <a:pt x="6034" y="138771"/>
                    <a:pt x="6034" y="138771"/>
                    <a:pt x="6034" y="138771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C0F0B43B-31E6-4494-B92C-49D07884EC90}"/>
                </a:ext>
              </a:extLst>
            </p:cNvPr>
            <p:cNvSpPr/>
            <p:nvPr/>
          </p:nvSpPr>
          <p:spPr>
            <a:xfrm>
              <a:off x="23971632" y="2419427"/>
              <a:ext cx="78108" cy="112851"/>
            </a:xfrm>
            <a:custGeom>
              <a:avLst/>
              <a:gdLst>
                <a:gd name="connsiteX0" fmla="*/ 64700 w 78108"/>
                <a:gd name="connsiteY0" fmla="*/ 16553 h 112851"/>
                <a:gd name="connsiteX1" fmla="*/ 7383 w 78108"/>
                <a:gd name="connsiteY1" fmla="*/ 7503 h 112851"/>
                <a:gd name="connsiteX2" fmla="*/ 64700 w 78108"/>
                <a:gd name="connsiteY2" fmla="*/ 110072 h 112851"/>
                <a:gd name="connsiteX3" fmla="*/ 64700 w 78108"/>
                <a:gd name="connsiteY3" fmla="*/ 16553 h 112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108" h="112851">
                  <a:moveTo>
                    <a:pt x="64700" y="16553"/>
                  </a:moveTo>
                  <a:cubicBezTo>
                    <a:pt x="64700" y="16553"/>
                    <a:pt x="31517" y="-13615"/>
                    <a:pt x="7383" y="7503"/>
                  </a:cubicBezTo>
                  <a:cubicBezTo>
                    <a:pt x="-16753" y="25603"/>
                    <a:pt x="22467" y="131190"/>
                    <a:pt x="64700" y="110072"/>
                  </a:cubicBezTo>
                  <a:cubicBezTo>
                    <a:pt x="94868" y="88955"/>
                    <a:pt x="64700" y="16553"/>
                    <a:pt x="64700" y="16553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00E44E24-B5B9-4D4D-AA73-192277BEFE40}"/>
                </a:ext>
              </a:extLst>
            </p:cNvPr>
            <p:cNvSpPr/>
            <p:nvPr/>
          </p:nvSpPr>
          <p:spPr>
            <a:xfrm>
              <a:off x="24204022" y="2248941"/>
              <a:ext cx="251640" cy="159888"/>
            </a:xfrm>
            <a:custGeom>
              <a:avLst/>
              <a:gdLst>
                <a:gd name="connsiteX0" fmla="*/ 242591 w 251640"/>
                <a:gd name="connsiteY0" fmla="*/ 159888 h 159888"/>
                <a:gd name="connsiteX1" fmla="*/ 236557 w 251640"/>
                <a:gd name="connsiteY1" fmla="*/ 153855 h 159888"/>
                <a:gd name="connsiteX2" fmla="*/ 137004 w 251640"/>
                <a:gd name="connsiteY2" fmla="*/ 57318 h 159888"/>
                <a:gd name="connsiteX3" fmla="*/ 4266 w 251640"/>
                <a:gd name="connsiteY3" fmla="*/ 12067 h 159888"/>
                <a:gd name="connsiteX4" fmla="*/ 1250 w 251640"/>
                <a:gd name="connsiteY4" fmla="*/ 3017 h 159888"/>
                <a:gd name="connsiteX5" fmla="*/ 10300 w 251640"/>
                <a:gd name="connsiteY5" fmla="*/ 0 h 159888"/>
                <a:gd name="connsiteX6" fmla="*/ 143036 w 251640"/>
                <a:gd name="connsiteY6" fmla="*/ 45251 h 159888"/>
                <a:gd name="connsiteX7" fmla="*/ 251641 w 251640"/>
                <a:gd name="connsiteY7" fmla="*/ 150838 h 159888"/>
                <a:gd name="connsiteX8" fmla="*/ 242591 w 251640"/>
                <a:gd name="connsiteY8" fmla="*/ 159888 h 159888"/>
                <a:gd name="connsiteX9" fmla="*/ 242591 w 251640"/>
                <a:gd name="connsiteY9" fmla="*/ 159888 h 15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1640" h="159888">
                  <a:moveTo>
                    <a:pt x="242591" y="159888"/>
                  </a:moveTo>
                  <a:cubicBezTo>
                    <a:pt x="239573" y="159888"/>
                    <a:pt x="236557" y="156872"/>
                    <a:pt x="236557" y="153855"/>
                  </a:cubicBezTo>
                  <a:cubicBezTo>
                    <a:pt x="227507" y="96536"/>
                    <a:pt x="188288" y="72402"/>
                    <a:pt x="137004" y="57318"/>
                  </a:cubicBezTo>
                  <a:cubicBezTo>
                    <a:pt x="70635" y="36201"/>
                    <a:pt x="4266" y="12067"/>
                    <a:pt x="4266" y="12067"/>
                  </a:cubicBezTo>
                  <a:cubicBezTo>
                    <a:pt x="1250" y="12067"/>
                    <a:pt x="-1768" y="6034"/>
                    <a:pt x="1250" y="3017"/>
                  </a:cubicBezTo>
                  <a:cubicBezTo>
                    <a:pt x="1250" y="0"/>
                    <a:pt x="4266" y="0"/>
                    <a:pt x="10300" y="0"/>
                  </a:cubicBezTo>
                  <a:cubicBezTo>
                    <a:pt x="10300" y="0"/>
                    <a:pt x="76669" y="24134"/>
                    <a:pt x="143036" y="45251"/>
                  </a:cubicBezTo>
                  <a:cubicBezTo>
                    <a:pt x="194322" y="60335"/>
                    <a:pt x="239573" y="84469"/>
                    <a:pt x="251641" y="150838"/>
                  </a:cubicBezTo>
                  <a:cubicBezTo>
                    <a:pt x="248623" y="156872"/>
                    <a:pt x="245607" y="159888"/>
                    <a:pt x="242591" y="159888"/>
                  </a:cubicBezTo>
                  <a:cubicBezTo>
                    <a:pt x="242591" y="159888"/>
                    <a:pt x="242591" y="159888"/>
                    <a:pt x="242591" y="159888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4A9A4C32-AE8B-413A-9AB3-927BCB30DB6D}"/>
                </a:ext>
              </a:extLst>
            </p:cNvPr>
            <p:cNvSpPr/>
            <p:nvPr/>
          </p:nvSpPr>
          <p:spPr>
            <a:xfrm>
              <a:off x="24386694" y="2846263"/>
              <a:ext cx="397793" cy="416309"/>
            </a:xfrm>
            <a:custGeom>
              <a:avLst/>
              <a:gdLst>
                <a:gd name="connsiteX0" fmla="*/ 50867 w 397793"/>
                <a:gd name="connsiteY0" fmla="*/ 416309 h 416309"/>
                <a:gd name="connsiteX1" fmla="*/ 56900 w 397793"/>
                <a:gd name="connsiteY1" fmla="*/ 15080 h 416309"/>
                <a:gd name="connsiteX2" fmla="*/ 397794 w 397793"/>
                <a:gd name="connsiteY2" fmla="*/ 289605 h 416309"/>
                <a:gd name="connsiteX3" fmla="*/ 50867 w 397793"/>
                <a:gd name="connsiteY3" fmla="*/ 416309 h 416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793" h="416309">
                  <a:moveTo>
                    <a:pt x="50867" y="416309"/>
                  </a:moveTo>
                  <a:cubicBezTo>
                    <a:pt x="-30584" y="253404"/>
                    <a:pt x="-3435" y="63348"/>
                    <a:pt x="56900" y="15080"/>
                  </a:cubicBezTo>
                  <a:cubicBezTo>
                    <a:pt x="138353" y="-48272"/>
                    <a:pt x="328409" y="96533"/>
                    <a:pt x="397794" y="289605"/>
                  </a:cubicBezTo>
                  <a:cubicBezTo>
                    <a:pt x="355560" y="349941"/>
                    <a:pt x="150421" y="401226"/>
                    <a:pt x="50867" y="416309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193DF924-E7BD-45E0-BE8E-6E218EDCD365}"/>
                </a:ext>
              </a:extLst>
            </p:cNvPr>
            <p:cNvSpPr/>
            <p:nvPr/>
          </p:nvSpPr>
          <p:spPr>
            <a:xfrm>
              <a:off x="23835677" y="2793573"/>
              <a:ext cx="811961" cy="975903"/>
            </a:xfrm>
            <a:custGeom>
              <a:avLst/>
              <a:gdLst>
                <a:gd name="connsiteX0" fmla="*/ 43783 w 811961"/>
                <a:gd name="connsiteY0" fmla="*/ 387546 h 975903"/>
                <a:gd name="connsiteX1" fmla="*/ 58867 w 811961"/>
                <a:gd name="connsiteY1" fmla="*/ 67770 h 975903"/>
                <a:gd name="connsiteX2" fmla="*/ 423896 w 811961"/>
                <a:gd name="connsiteY2" fmla="*/ 4418 h 975903"/>
                <a:gd name="connsiteX3" fmla="*/ 722554 w 811961"/>
                <a:gd name="connsiteY3" fmla="*/ 103971 h 975903"/>
                <a:gd name="connsiteX4" fmla="*/ 761774 w 811961"/>
                <a:gd name="connsiteY4" fmla="*/ 646988 h 975903"/>
                <a:gd name="connsiteX5" fmla="*/ 719538 w 811961"/>
                <a:gd name="connsiteY5" fmla="*/ 969781 h 975903"/>
                <a:gd name="connsiteX6" fmla="*/ 49817 w 811961"/>
                <a:gd name="connsiteY6" fmla="*/ 954697 h 975903"/>
                <a:gd name="connsiteX7" fmla="*/ 43783 w 811961"/>
                <a:gd name="connsiteY7" fmla="*/ 387546 h 97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1961" h="975903">
                  <a:moveTo>
                    <a:pt x="43783" y="387546"/>
                  </a:moveTo>
                  <a:cubicBezTo>
                    <a:pt x="34733" y="357379"/>
                    <a:pt x="-58786" y="131122"/>
                    <a:pt x="58867" y="67770"/>
                  </a:cubicBezTo>
                  <a:cubicBezTo>
                    <a:pt x="161438" y="13468"/>
                    <a:pt x="306242" y="-10666"/>
                    <a:pt x="423896" y="4418"/>
                  </a:cubicBezTo>
                  <a:cubicBezTo>
                    <a:pt x="553616" y="19501"/>
                    <a:pt x="683337" y="40619"/>
                    <a:pt x="722554" y="103971"/>
                  </a:cubicBezTo>
                  <a:cubicBezTo>
                    <a:pt x="834175" y="287993"/>
                    <a:pt x="834175" y="450898"/>
                    <a:pt x="761774" y="646988"/>
                  </a:cubicBezTo>
                  <a:cubicBezTo>
                    <a:pt x="740656" y="704306"/>
                    <a:pt x="734622" y="837043"/>
                    <a:pt x="719538" y="969781"/>
                  </a:cubicBezTo>
                  <a:cubicBezTo>
                    <a:pt x="719538" y="969781"/>
                    <a:pt x="438980" y="990898"/>
                    <a:pt x="49817" y="954697"/>
                  </a:cubicBezTo>
                  <a:cubicBezTo>
                    <a:pt x="79985" y="737490"/>
                    <a:pt x="52835" y="411680"/>
                    <a:pt x="43783" y="387546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8FBA471C-B2B7-471E-B6C2-67BB38A8B338}"/>
                </a:ext>
              </a:extLst>
            </p:cNvPr>
            <p:cNvSpPr/>
            <p:nvPr/>
          </p:nvSpPr>
          <p:spPr>
            <a:xfrm>
              <a:off x="24060466" y="2616985"/>
              <a:ext cx="307709" cy="322793"/>
            </a:xfrm>
            <a:custGeom>
              <a:avLst/>
              <a:gdLst>
                <a:gd name="connsiteX0" fmla="*/ 253409 w 307709"/>
                <a:gd name="connsiteY0" fmla="*/ 60335 h 322793"/>
                <a:gd name="connsiteX1" fmla="*/ 307710 w 307709"/>
                <a:gd name="connsiteY1" fmla="*/ 199106 h 322793"/>
                <a:gd name="connsiteX2" fmla="*/ 193073 w 307709"/>
                <a:gd name="connsiteY2" fmla="*/ 322793 h 322793"/>
                <a:gd name="connsiteX3" fmla="*/ 0 w 307709"/>
                <a:gd name="connsiteY3" fmla="*/ 184022 h 322793"/>
                <a:gd name="connsiteX4" fmla="*/ 51285 w 307709"/>
                <a:gd name="connsiteY4" fmla="*/ 0 h 322793"/>
                <a:gd name="connsiteX5" fmla="*/ 253409 w 307709"/>
                <a:gd name="connsiteY5" fmla="*/ 60335 h 322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709" h="322793">
                  <a:moveTo>
                    <a:pt x="253409" y="60335"/>
                  </a:moveTo>
                  <a:cubicBezTo>
                    <a:pt x="253409" y="60335"/>
                    <a:pt x="247375" y="168939"/>
                    <a:pt x="307710" y="199106"/>
                  </a:cubicBezTo>
                  <a:lnTo>
                    <a:pt x="193073" y="322793"/>
                  </a:lnTo>
                  <a:cubicBezTo>
                    <a:pt x="193073" y="322793"/>
                    <a:pt x="54303" y="214190"/>
                    <a:pt x="0" y="184022"/>
                  </a:cubicBezTo>
                  <a:cubicBezTo>
                    <a:pt x="54303" y="141788"/>
                    <a:pt x="51285" y="60335"/>
                    <a:pt x="51285" y="0"/>
                  </a:cubicBezTo>
                  <a:cubicBezTo>
                    <a:pt x="54303" y="0"/>
                    <a:pt x="202123" y="69385"/>
                    <a:pt x="253409" y="60335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B41F989D-2C4D-4984-A2D8-82F8791DB2A1}"/>
                </a:ext>
              </a:extLst>
            </p:cNvPr>
            <p:cNvSpPr/>
            <p:nvPr/>
          </p:nvSpPr>
          <p:spPr>
            <a:xfrm>
              <a:off x="24547932" y="2890261"/>
              <a:ext cx="102373" cy="553316"/>
            </a:xfrm>
            <a:custGeom>
              <a:avLst/>
              <a:gdLst>
                <a:gd name="connsiteX0" fmla="*/ 46501 w 102373"/>
                <a:gd name="connsiteY0" fmla="*/ 553317 h 553316"/>
                <a:gd name="connsiteX1" fmla="*/ 46501 w 102373"/>
                <a:gd name="connsiteY1" fmla="*/ 553317 h 553316"/>
                <a:gd name="connsiteX2" fmla="*/ 40467 w 102373"/>
                <a:gd name="connsiteY2" fmla="*/ 547283 h 553316"/>
                <a:gd name="connsiteX3" fmla="*/ 55551 w 102373"/>
                <a:gd name="connsiteY3" fmla="*/ 492981 h 553316"/>
                <a:gd name="connsiteX4" fmla="*/ 88736 w 102373"/>
                <a:gd name="connsiteY4" fmla="*/ 345160 h 553316"/>
                <a:gd name="connsiteX5" fmla="*/ 1249 w 102373"/>
                <a:gd name="connsiteY5" fmla="*/ 10300 h 553316"/>
                <a:gd name="connsiteX6" fmla="*/ 4267 w 102373"/>
                <a:gd name="connsiteY6" fmla="*/ 1250 h 553316"/>
                <a:gd name="connsiteX7" fmla="*/ 13317 w 102373"/>
                <a:gd name="connsiteY7" fmla="*/ 4266 h 553316"/>
                <a:gd name="connsiteX8" fmla="*/ 100802 w 102373"/>
                <a:gd name="connsiteY8" fmla="*/ 345160 h 553316"/>
                <a:gd name="connsiteX9" fmla="*/ 67618 w 102373"/>
                <a:gd name="connsiteY9" fmla="*/ 492981 h 553316"/>
                <a:gd name="connsiteX10" fmla="*/ 52535 w 102373"/>
                <a:gd name="connsiteY10" fmla="*/ 547283 h 553316"/>
                <a:gd name="connsiteX11" fmla="*/ 46501 w 102373"/>
                <a:gd name="connsiteY11" fmla="*/ 553317 h 553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373" h="553316">
                  <a:moveTo>
                    <a:pt x="46501" y="553317"/>
                  </a:moveTo>
                  <a:cubicBezTo>
                    <a:pt x="46501" y="553317"/>
                    <a:pt x="46501" y="553317"/>
                    <a:pt x="46501" y="553317"/>
                  </a:cubicBezTo>
                  <a:cubicBezTo>
                    <a:pt x="43485" y="553317"/>
                    <a:pt x="40467" y="550300"/>
                    <a:pt x="40467" y="547283"/>
                  </a:cubicBezTo>
                  <a:cubicBezTo>
                    <a:pt x="46501" y="529183"/>
                    <a:pt x="49518" y="511082"/>
                    <a:pt x="55551" y="492981"/>
                  </a:cubicBezTo>
                  <a:cubicBezTo>
                    <a:pt x="70634" y="441697"/>
                    <a:pt x="85718" y="390412"/>
                    <a:pt x="88736" y="345160"/>
                  </a:cubicBezTo>
                  <a:cubicBezTo>
                    <a:pt x="94770" y="224490"/>
                    <a:pt x="67618" y="112870"/>
                    <a:pt x="1249" y="10300"/>
                  </a:cubicBezTo>
                  <a:cubicBezTo>
                    <a:pt x="-1767" y="7283"/>
                    <a:pt x="1249" y="4266"/>
                    <a:pt x="4267" y="1250"/>
                  </a:cubicBezTo>
                  <a:cubicBezTo>
                    <a:pt x="7283" y="-1767"/>
                    <a:pt x="10299" y="1250"/>
                    <a:pt x="13317" y="4266"/>
                  </a:cubicBezTo>
                  <a:cubicBezTo>
                    <a:pt x="79686" y="109853"/>
                    <a:pt x="109854" y="224490"/>
                    <a:pt x="100802" y="345160"/>
                  </a:cubicBezTo>
                  <a:cubicBezTo>
                    <a:pt x="97786" y="390412"/>
                    <a:pt x="82702" y="444713"/>
                    <a:pt x="67618" y="492981"/>
                  </a:cubicBezTo>
                  <a:cubicBezTo>
                    <a:pt x="61584" y="511082"/>
                    <a:pt x="55551" y="529183"/>
                    <a:pt x="52535" y="547283"/>
                  </a:cubicBezTo>
                  <a:cubicBezTo>
                    <a:pt x="49518" y="553317"/>
                    <a:pt x="49518" y="553317"/>
                    <a:pt x="46501" y="553317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EEF8EB50-9EE6-419B-BB65-CCE4719E4D1B}"/>
                </a:ext>
              </a:extLst>
            </p:cNvPr>
            <p:cNvSpPr/>
            <p:nvPr/>
          </p:nvSpPr>
          <p:spPr>
            <a:xfrm>
              <a:off x="24129853" y="3329133"/>
              <a:ext cx="396444" cy="36009"/>
            </a:xfrm>
            <a:custGeom>
              <a:avLst/>
              <a:gdLst>
                <a:gd name="connsiteX0" fmla="*/ 392179 w 396444"/>
                <a:gd name="connsiteY0" fmla="*/ 36009 h 36009"/>
                <a:gd name="connsiteX1" fmla="*/ 392179 w 396444"/>
                <a:gd name="connsiteY1" fmla="*/ 36009 h 36009"/>
                <a:gd name="connsiteX2" fmla="*/ 6032 w 396444"/>
                <a:gd name="connsiteY2" fmla="*/ 23942 h 36009"/>
                <a:gd name="connsiteX3" fmla="*/ 0 w 396444"/>
                <a:gd name="connsiteY3" fmla="*/ 20925 h 36009"/>
                <a:gd name="connsiteX4" fmla="*/ 3016 w 396444"/>
                <a:gd name="connsiteY4" fmla="*/ 14892 h 36009"/>
                <a:gd name="connsiteX5" fmla="*/ 392179 w 396444"/>
                <a:gd name="connsiteY5" fmla="*/ 26959 h 36009"/>
                <a:gd name="connsiteX6" fmla="*/ 395195 w 396444"/>
                <a:gd name="connsiteY6" fmla="*/ 32992 h 36009"/>
                <a:gd name="connsiteX7" fmla="*/ 392179 w 396444"/>
                <a:gd name="connsiteY7" fmla="*/ 36009 h 36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6444" h="36009">
                  <a:moveTo>
                    <a:pt x="392179" y="36009"/>
                  </a:moveTo>
                  <a:cubicBezTo>
                    <a:pt x="392179" y="36009"/>
                    <a:pt x="392179" y="36009"/>
                    <a:pt x="392179" y="36009"/>
                  </a:cubicBezTo>
                  <a:cubicBezTo>
                    <a:pt x="307708" y="5842"/>
                    <a:pt x="105587" y="-192"/>
                    <a:pt x="6032" y="23942"/>
                  </a:cubicBezTo>
                  <a:cubicBezTo>
                    <a:pt x="3016" y="23942"/>
                    <a:pt x="0" y="23942"/>
                    <a:pt x="0" y="20925"/>
                  </a:cubicBezTo>
                  <a:cubicBezTo>
                    <a:pt x="0" y="17909"/>
                    <a:pt x="0" y="14892"/>
                    <a:pt x="3016" y="14892"/>
                  </a:cubicBezTo>
                  <a:cubicBezTo>
                    <a:pt x="102569" y="-9242"/>
                    <a:pt x="307708" y="-3209"/>
                    <a:pt x="392179" y="26959"/>
                  </a:cubicBezTo>
                  <a:cubicBezTo>
                    <a:pt x="395195" y="26959"/>
                    <a:pt x="395195" y="29976"/>
                    <a:pt x="395195" y="32992"/>
                  </a:cubicBezTo>
                  <a:cubicBezTo>
                    <a:pt x="398211" y="36009"/>
                    <a:pt x="395195" y="36009"/>
                    <a:pt x="392179" y="36009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C01E485B-A0E4-4353-BA4B-B4D54C7DDFEA}"/>
                </a:ext>
              </a:extLst>
            </p:cNvPr>
            <p:cNvSpPr/>
            <p:nvPr/>
          </p:nvSpPr>
          <p:spPr>
            <a:xfrm>
              <a:off x="24039350" y="2804024"/>
              <a:ext cx="355977" cy="153854"/>
            </a:xfrm>
            <a:custGeom>
              <a:avLst/>
              <a:gdLst>
                <a:gd name="connsiteX0" fmla="*/ 319776 w 355977"/>
                <a:gd name="connsiteY0" fmla="*/ 6034 h 153854"/>
                <a:gd name="connsiteX1" fmla="*/ 217205 w 355977"/>
                <a:gd name="connsiteY1" fmla="*/ 120670 h 153854"/>
                <a:gd name="connsiteX2" fmla="*/ 24134 w 355977"/>
                <a:gd name="connsiteY2" fmla="*/ 0 h 153854"/>
                <a:gd name="connsiteX3" fmla="*/ 0 w 355977"/>
                <a:gd name="connsiteY3" fmla="*/ 9050 h 153854"/>
                <a:gd name="connsiteX4" fmla="*/ 220223 w 355977"/>
                <a:gd name="connsiteY4" fmla="*/ 153855 h 153854"/>
                <a:gd name="connsiteX5" fmla="*/ 355977 w 355977"/>
                <a:gd name="connsiteY5" fmla="*/ 15084 h 153854"/>
                <a:gd name="connsiteX6" fmla="*/ 319776 w 355977"/>
                <a:gd name="connsiteY6" fmla="*/ 6034 h 153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977" h="153854">
                  <a:moveTo>
                    <a:pt x="319776" y="6034"/>
                  </a:moveTo>
                  <a:lnTo>
                    <a:pt x="217205" y="120670"/>
                  </a:lnTo>
                  <a:cubicBezTo>
                    <a:pt x="217205" y="120670"/>
                    <a:pt x="87485" y="21117"/>
                    <a:pt x="24134" y="0"/>
                  </a:cubicBezTo>
                  <a:lnTo>
                    <a:pt x="0" y="9050"/>
                  </a:lnTo>
                  <a:lnTo>
                    <a:pt x="220223" y="153855"/>
                  </a:lnTo>
                  <a:lnTo>
                    <a:pt x="355977" y="15084"/>
                  </a:lnTo>
                  <a:cubicBezTo>
                    <a:pt x="355977" y="12067"/>
                    <a:pt x="340894" y="6034"/>
                    <a:pt x="319776" y="6034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CF92E567-8C59-4037-A124-3ADEFEE1B541}"/>
                </a:ext>
              </a:extLst>
            </p:cNvPr>
            <p:cNvSpPr/>
            <p:nvPr/>
          </p:nvSpPr>
          <p:spPr>
            <a:xfrm>
              <a:off x="23846277" y="3715086"/>
              <a:ext cx="784357" cy="237723"/>
            </a:xfrm>
            <a:custGeom>
              <a:avLst/>
              <a:gdLst>
                <a:gd name="connsiteX0" fmla="*/ 36201 w 784357"/>
                <a:gd name="connsiteY0" fmla="*/ 3017 h 237723"/>
                <a:gd name="connsiteX1" fmla="*/ 0 w 784357"/>
                <a:gd name="connsiteY1" fmla="*/ 193073 h 237723"/>
                <a:gd name="connsiteX2" fmla="*/ 784358 w 784357"/>
                <a:gd name="connsiteY2" fmla="*/ 174972 h 237723"/>
                <a:gd name="connsiteX3" fmla="*/ 687821 w 784357"/>
                <a:gd name="connsiteY3" fmla="*/ 0 h 237723"/>
                <a:gd name="connsiteX4" fmla="*/ 36201 w 784357"/>
                <a:gd name="connsiteY4" fmla="*/ 3017 h 237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4357" h="237723">
                  <a:moveTo>
                    <a:pt x="36201" y="3017"/>
                  </a:moveTo>
                  <a:lnTo>
                    <a:pt x="0" y="193073"/>
                  </a:lnTo>
                  <a:cubicBezTo>
                    <a:pt x="0" y="193073"/>
                    <a:pt x="286592" y="304693"/>
                    <a:pt x="784358" y="174972"/>
                  </a:cubicBezTo>
                  <a:lnTo>
                    <a:pt x="687821" y="0"/>
                  </a:lnTo>
                  <a:cubicBezTo>
                    <a:pt x="690839" y="0"/>
                    <a:pt x="129720" y="27151"/>
                    <a:pt x="36201" y="3017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89E0C854-5723-4C5D-9148-CA3D0732ACDE}"/>
                </a:ext>
              </a:extLst>
            </p:cNvPr>
            <p:cNvSpPr/>
            <p:nvPr/>
          </p:nvSpPr>
          <p:spPr>
            <a:xfrm>
              <a:off x="24246256" y="3737970"/>
              <a:ext cx="311975" cy="28400"/>
            </a:xfrm>
            <a:custGeom>
              <a:avLst/>
              <a:gdLst>
                <a:gd name="connsiteX0" fmla="*/ 305943 w 311975"/>
                <a:gd name="connsiteY0" fmla="*/ 28400 h 28400"/>
                <a:gd name="connsiteX1" fmla="*/ 305943 w 311975"/>
                <a:gd name="connsiteY1" fmla="*/ 28400 h 28400"/>
                <a:gd name="connsiteX2" fmla="*/ 4267 w 311975"/>
                <a:gd name="connsiteY2" fmla="*/ 10300 h 28400"/>
                <a:gd name="connsiteX3" fmla="*/ 1249 w 311975"/>
                <a:gd name="connsiteY3" fmla="*/ 4266 h 28400"/>
                <a:gd name="connsiteX4" fmla="*/ 7283 w 311975"/>
                <a:gd name="connsiteY4" fmla="*/ 1250 h 28400"/>
                <a:gd name="connsiteX5" fmla="*/ 305943 w 311975"/>
                <a:gd name="connsiteY5" fmla="*/ 19350 h 28400"/>
                <a:gd name="connsiteX6" fmla="*/ 311975 w 311975"/>
                <a:gd name="connsiteY6" fmla="*/ 25384 h 28400"/>
                <a:gd name="connsiteX7" fmla="*/ 305943 w 311975"/>
                <a:gd name="connsiteY7" fmla="*/ 28400 h 28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1975" h="28400">
                  <a:moveTo>
                    <a:pt x="305943" y="28400"/>
                  </a:moveTo>
                  <a:cubicBezTo>
                    <a:pt x="305943" y="28400"/>
                    <a:pt x="305943" y="28400"/>
                    <a:pt x="305943" y="28400"/>
                  </a:cubicBezTo>
                  <a:cubicBezTo>
                    <a:pt x="302925" y="28400"/>
                    <a:pt x="97786" y="25384"/>
                    <a:pt x="4267" y="10300"/>
                  </a:cubicBezTo>
                  <a:cubicBezTo>
                    <a:pt x="1249" y="10300"/>
                    <a:pt x="-1767" y="7283"/>
                    <a:pt x="1249" y="4266"/>
                  </a:cubicBezTo>
                  <a:cubicBezTo>
                    <a:pt x="1249" y="1250"/>
                    <a:pt x="4267" y="-1767"/>
                    <a:pt x="7283" y="1250"/>
                  </a:cubicBezTo>
                  <a:cubicBezTo>
                    <a:pt x="100802" y="19350"/>
                    <a:pt x="305943" y="19350"/>
                    <a:pt x="305943" y="19350"/>
                  </a:cubicBezTo>
                  <a:cubicBezTo>
                    <a:pt x="308959" y="19350"/>
                    <a:pt x="311975" y="22367"/>
                    <a:pt x="311975" y="25384"/>
                  </a:cubicBezTo>
                  <a:cubicBezTo>
                    <a:pt x="308959" y="25384"/>
                    <a:pt x="308959" y="28400"/>
                    <a:pt x="305943" y="28400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5" name="图形 1">
              <a:extLst>
                <a:ext uri="{FF2B5EF4-FFF2-40B4-BE49-F238E27FC236}">
                  <a16:creationId xmlns:a16="http://schemas.microsoft.com/office/drawing/2014/main" id="{3CC1C4B0-9469-4284-8DF9-86B0A11E5DC8}"/>
                </a:ext>
              </a:extLst>
            </p:cNvPr>
            <p:cNvGrpSpPr/>
            <p:nvPr/>
          </p:nvGrpSpPr>
          <p:grpSpPr>
            <a:xfrm>
              <a:off x="23357562" y="3416427"/>
              <a:ext cx="989497" cy="549050"/>
              <a:chOff x="23357562" y="3416427"/>
              <a:chExt cx="989497" cy="549050"/>
            </a:xfrm>
          </p:grpSpPr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44BB5230-EAE9-4D51-8D61-E112A79A42A9}"/>
                  </a:ext>
                </a:extLst>
              </p:cNvPr>
              <p:cNvSpPr/>
              <p:nvPr/>
            </p:nvSpPr>
            <p:spPr>
              <a:xfrm>
                <a:off x="23526500" y="3416427"/>
                <a:ext cx="820558" cy="549050"/>
              </a:xfrm>
              <a:custGeom>
                <a:avLst/>
                <a:gdLst>
                  <a:gd name="connsiteX0" fmla="*/ 1 w 820558"/>
                  <a:gd name="connsiteY0" fmla="*/ 0 h 549050"/>
                  <a:gd name="connsiteX1" fmla="*/ 820560 w 820558"/>
                  <a:gd name="connsiteY1" fmla="*/ 0 h 549050"/>
                  <a:gd name="connsiteX2" fmla="*/ 820560 w 820558"/>
                  <a:gd name="connsiteY2" fmla="*/ 549050 h 549050"/>
                  <a:gd name="connsiteX3" fmla="*/ 1 w 820558"/>
                  <a:gd name="connsiteY3" fmla="*/ 549050 h 54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0558" h="549050">
                    <a:moveTo>
                      <a:pt x="1" y="0"/>
                    </a:moveTo>
                    <a:lnTo>
                      <a:pt x="820560" y="0"/>
                    </a:lnTo>
                    <a:lnTo>
                      <a:pt x="820560" y="549050"/>
                    </a:lnTo>
                    <a:lnTo>
                      <a:pt x="1" y="549050"/>
                    </a:lnTo>
                    <a:close/>
                  </a:path>
                </a:pathLst>
              </a:custGeom>
              <a:solidFill>
                <a:srgbClr val="E5D1D1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7A3269E8-5FAB-4D27-9E53-7FB4BFF503C9}"/>
                  </a:ext>
                </a:extLst>
              </p:cNvPr>
              <p:cNvSpPr/>
              <p:nvPr/>
            </p:nvSpPr>
            <p:spPr>
              <a:xfrm>
                <a:off x="23357562" y="3416427"/>
                <a:ext cx="820558" cy="549050"/>
              </a:xfrm>
              <a:custGeom>
                <a:avLst/>
                <a:gdLst>
                  <a:gd name="connsiteX0" fmla="*/ 0 w 820558"/>
                  <a:gd name="connsiteY0" fmla="*/ 0 h 549050"/>
                  <a:gd name="connsiteX1" fmla="*/ 820559 w 820558"/>
                  <a:gd name="connsiteY1" fmla="*/ 0 h 549050"/>
                  <a:gd name="connsiteX2" fmla="*/ 820559 w 820558"/>
                  <a:gd name="connsiteY2" fmla="*/ 549050 h 549050"/>
                  <a:gd name="connsiteX3" fmla="*/ 0 w 820558"/>
                  <a:gd name="connsiteY3" fmla="*/ 549050 h 54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0558" h="549050">
                    <a:moveTo>
                      <a:pt x="0" y="0"/>
                    </a:moveTo>
                    <a:lnTo>
                      <a:pt x="820559" y="0"/>
                    </a:lnTo>
                    <a:lnTo>
                      <a:pt x="820559" y="549050"/>
                    </a:lnTo>
                    <a:lnTo>
                      <a:pt x="0" y="549050"/>
                    </a:lnTo>
                    <a:close/>
                  </a:path>
                </a:pathLst>
              </a:custGeom>
              <a:solidFill>
                <a:srgbClr val="F6EBE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3BCB00B8-0F17-48F0-A710-630EE607D1C1}"/>
                  </a:ext>
                </a:extLst>
              </p:cNvPr>
              <p:cNvSpPr/>
              <p:nvPr/>
            </p:nvSpPr>
            <p:spPr>
              <a:xfrm rot="-10800000">
                <a:off x="23890925" y="3486476"/>
                <a:ext cx="217206" cy="30167"/>
              </a:xfrm>
              <a:custGeom>
                <a:avLst/>
                <a:gdLst>
                  <a:gd name="connsiteX0" fmla="*/ 1 w 217206"/>
                  <a:gd name="connsiteY0" fmla="*/ 0 h 30167"/>
                  <a:gd name="connsiteX1" fmla="*/ 217208 w 217206"/>
                  <a:gd name="connsiteY1" fmla="*/ 0 h 30167"/>
                  <a:gd name="connsiteX2" fmla="*/ 217208 w 217206"/>
                  <a:gd name="connsiteY2" fmla="*/ 30168 h 30167"/>
                  <a:gd name="connsiteX3" fmla="*/ 1 w 217206"/>
                  <a:gd name="connsiteY3" fmla="*/ 30168 h 30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206" h="30167">
                    <a:moveTo>
                      <a:pt x="1" y="0"/>
                    </a:moveTo>
                    <a:lnTo>
                      <a:pt x="217208" y="0"/>
                    </a:lnTo>
                    <a:lnTo>
                      <a:pt x="217208" y="30168"/>
                    </a:lnTo>
                    <a:lnTo>
                      <a:pt x="1" y="30168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B96F2B76-5FB9-4245-AC11-DBB0ED9DFD33}"/>
                  </a:ext>
                </a:extLst>
              </p:cNvPr>
              <p:cNvSpPr/>
              <p:nvPr/>
            </p:nvSpPr>
            <p:spPr>
              <a:xfrm rot="-10800000">
                <a:off x="23890925" y="3554081"/>
                <a:ext cx="217206" cy="30167"/>
              </a:xfrm>
              <a:custGeom>
                <a:avLst/>
                <a:gdLst>
                  <a:gd name="connsiteX0" fmla="*/ 1 w 217206"/>
                  <a:gd name="connsiteY0" fmla="*/ 0 h 30167"/>
                  <a:gd name="connsiteX1" fmla="*/ 217208 w 217206"/>
                  <a:gd name="connsiteY1" fmla="*/ 0 h 30167"/>
                  <a:gd name="connsiteX2" fmla="*/ 217208 w 217206"/>
                  <a:gd name="connsiteY2" fmla="*/ 30168 h 30167"/>
                  <a:gd name="connsiteX3" fmla="*/ 1 w 217206"/>
                  <a:gd name="connsiteY3" fmla="*/ 30168 h 30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7206" h="30167">
                    <a:moveTo>
                      <a:pt x="1" y="0"/>
                    </a:moveTo>
                    <a:lnTo>
                      <a:pt x="217208" y="0"/>
                    </a:lnTo>
                    <a:lnTo>
                      <a:pt x="217208" y="30168"/>
                    </a:lnTo>
                    <a:lnTo>
                      <a:pt x="1" y="30168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E3A227CC-5C9B-42B0-B6D9-BA0729D94C75}"/>
                  </a:ext>
                </a:extLst>
              </p:cNvPr>
              <p:cNvSpPr/>
              <p:nvPr/>
            </p:nvSpPr>
            <p:spPr>
              <a:xfrm>
                <a:off x="23414880" y="3488829"/>
                <a:ext cx="114636" cy="132737"/>
              </a:xfrm>
              <a:custGeom>
                <a:avLst/>
                <a:gdLst>
                  <a:gd name="connsiteX0" fmla="*/ 57317 w 114636"/>
                  <a:gd name="connsiteY0" fmla="*/ 0 h 132737"/>
                  <a:gd name="connsiteX1" fmla="*/ 114637 w 114636"/>
                  <a:gd name="connsiteY1" fmla="*/ 57318 h 132737"/>
                  <a:gd name="connsiteX2" fmla="*/ 114637 w 114636"/>
                  <a:gd name="connsiteY2" fmla="*/ 60335 h 132737"/>
                  <a:gd name="connsiteX3" fmla="*/ 93519 w 114636"/>
                  <a:gd name="connsiteY3" fmla="*/ 48268 h 132737"/>
                  <a:gd name="connsiteX4" fmla="*/ 75419 w 114636"/>
                  <a:gd name="connsiteY4" fmla="*/ 57318 h 132737"/>
                  <a:gd name="connsiteX5" fmla="*/ 63351 w 114636"/>
                  <a:gd name="connsiteY5" fmla="*/ 48268 h 132737"/>
                  <a:gd name="connsiteX6" fmla="*/ 63351 w 114636"/>
                  <a:gd name="connsiteY6" fmla="*/ 114637 h 132737"/>
                  <a:gd name="connsiteX7" fmla="*/ 69385 w 114636"/>
                  <a:gd name="connsiteY7" fmla="*/ 120670 h 132737"/>
                  <a:gd name="connsiteX8" fmla="*/ 75419 w 114636"/>
                  <a:gd name="connsiteY8" fmla="*/ 114637 h 132737"/>
                  <a:gd name="connsiteX9" fmla="*/ 75419 w 114636"/>
                  <a:gd name="connsiteY9" fmla="*/ 105587 h 132737"/>
                  <a:gd name="connsiteX10" fmla="*/ 87485 w 114636"/>
                  <a:gd name="connsiteY10" fmla="*/ 105587 h 132737"/>
                  <a:gd name="connsiteX11" fmla="*/ 87485 w 114636"/>
                  <a:gd name="connsiteY11" fmla="*/ 114637 h 132737"/>
                  <a:gd name="connsiteX12" fmla="*/ 69385 w 114636"/>
                  <a:gd name="connsiteY12" fmla="*/ 132737 h 132737"/>
                  <a:gd name="connsiteX13" fmla="*/ 51285 w 114636"/>
                  <a:gd name="connsiteY13" fmla="*/ 114637 h 132737"/>
                  <a:gd name="connsiteX14" fmla="*/ 51285 w 114636"/>
                  <a:gd name="connsiteY14" fmla="*/ 48268 h 132737"/>
                  <a:gd name="connsiteX15" fmla="*/ 39218 w 114636"/>
                  <a:gd name="connsiteY15" fmla="*/ 57318 h 132737"/>
                  <a:gd name="connsiteX16" fmla="*/ 21118 w 114636"/>
                  <a:gd name="connsiteY16" fmla="*/ 48268 h 132737"/>
                  <a:gd name="connsiteX17" fmla="*/ 0 w 114636"/>
                  <a:gd name="connsiteY17" fmla="*/ 60335 h 132737"/>
                  <a:gd name="connsiteX18" fmla="*/ 0 w 114636"/>
                  <a:gd name="connsiteY18" fmla="*/ 57318 h 132737"/>
                  <a:gd name="connsiteX19" fmla="*/ 57317 w 114636"/>
                  <a:gd name="connsiteY19" fmla="*/ 0 h 132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4636" h="132737">
                    <a:moveTo>
                      <a:pt x="57317" y="0"/>
                    </a:moveTo>
                    <a:cubicBezTo>
                      <a:pt x="87485" y="0"/>
                      <a:pt x="114637" y="24134"/>
                      <a:pt x="114637" y="57318"/>
                    </a:cubicBezTo>
                    <a:cubicBezTo>
                      <a:pt x="114637" y="57318"/>
                      <a:pt x="114637" y="60335"/>
                      <a:pt x="114637" y="60335"/>
                    </a:cubicBezTo>
                    <a:cubicBezTo>
                      <a:pt x="111620" y="51285"/>
                      <a:pt x="102569" y="48268"/>
                      <a:pt x="93519" y="48268"/>
                    </a:cubicBezTo>
                    <a:cubicBezTo>
                      <a:pt x="84469" y="48268"/>
                      <a:pt x="78435" y="51285"/>
                      <a:pt x="75419" y="57318"/>
                    </a:cubicBezTo>
                    <a:cubicBezTo>
                      <a:pt x="72401" y="54302"/>
                      <a:pt x="69385" y="51285"/>
                      <a:pt x="63351" y="48268"/>
                    </a:cubicBezTo>
                    <a:lnTo>
                      <a:pt x="63351" y="114637"/>
                    </a:lnTo>
                    <a:cubicBezTo>
                      <a:pt x="63351" y="117654"/>
                      <a:pt x="66369" y="120670"/>
                      <a:pt x="69385" y="120670"/>
                    </a:cubicBezTo>
                    <a:cubicBezTo>
                      <a:pt x="72401" y="120670"/>
                      <a:pt x="75419" y="117654"/>
                      <a:pt x="75419" y="114637"/>
                    </a:cubicBezTo>
                    <a:lnTo>
                      <a:pt x="75419" y="105587"/>
                    </a:lnTo>
                    <a:lnTo>
                      <a:pt x="87485" y="105587"/>
                    </a:lnTo>
                    <a:lnTo>
                      <a:pt x="87485" y="114637"/>
                    </a:lnTo>
                    <a:cubicBezTo>
                      <a:pt x="87485" y="126704"/>
                      <a:pt x="78435" y="132737"/>
                      <a:pt x="69385" y="132737"/>
                    </a:cubicBezTo>
                    <a:cubicBezTo>
                      <a:pt x="57317" y="132737"/>
                      <a:pt x="51285" y="123687"/>
                      <a:pt x="51285" y="114637"/>
                    </a:cubicBezTo>
                    <a:lnTo>
                      <a:pt x="51285" y="48268"/>
                    </a:lnTo>
                    <a:cubicBezTo>
                      <a:pt x="45251" y="48268"/>
                      <a:pt x="42234" y="51285"/>
                      <a:pt x="39218" y="57318"/>
                    </a:cubicBezTo>
                    <a:cubicBezTo>
                      <a:pt x="36201" y="51285"/>
                      <a:pt x="27150" y="48268"/>
                      <a:pt x="21118" y="48268"/>
                    </a:cubicBezTo>
                    <a:cubicBezTo>
                      <a:pt x="12066" y="48268"/>
                      <a:pt x="6034" y="54302"/>
                      <a:pt x="0" y="60335"/>
                    </a:cubicBezTo>
                    <a:cubicBezTo>
                      <a:pt x="0" y="60335"/>
                      <a:pt x="0" y="57318"/>
                      <a:pt x="0" y="57318"/>
                    </a:cubicBezTo>
                    <a:cubicBezTo>
                      <a:pt x="0" y="27151"/>
                      <a:pt x="27150" y="0"/>
                      <a:pt x="57317" y="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6" name="图形 1">
              <a:extLst>
                <a:ext uri="{FF2B5EF4-FFF2-40B4-BE49-F238E27FC236}">
                  <a16:creationId xmlns:a16="http://schemas.microsoft.com/office/drawing/2014/main" id="{86EF34C5-285E-49C9-81D7-F30AF4160CB1}"/>
                </a:ext>
              </a:extLst>
            </p:cNvPr>
            <p:cNvGrpSpPr/>
            <p:nvPr/>
          </p:nvGrpSpPr>
          <p:grpSpPr>
            <a:xfrm>
              <a:off x="23932360" y="2034751"/>
              <a:ext cx="659662" cy="328826"/>
              <a:chOff x="23932360" y="2034751"/>
              <a:chExt cx="659662" cy="328826"/>
            </a:xfrm>
          </p:grpSpPr>
          <p:grpSp>
            <p:nvGrpSpPr>
              <p:cNvPr id="122" name="图形 1">
                <a:extLst>
                  <a:ext uri="{FF2B5EF4-FFF2-40B4-BE49-F238E27FC236}">
                    <a16:creationId xmlns:a16="http://schemas.microsoft.com/office/drawing/2014/main" id="{0B499E17-25DE-4A43-B22C-A556A924D96E}"/>
                  </a:ext>
                </a:extLst>
              </p:cNvPr>
              <p:cNvGrpSpPr/>
              <p:nvPr/>
            </p:nvGrpSpPr>
            <p:grpSpPr>
              <a:xfrm>
                <a:off x="23932360" y="2034751"/>
                <a:ext cx="653742" cy="328826"/>
                <a:chOff x="23932360" y="2034751"/>
                <a:chExt cx="653742" cy="328826"/>
              </a:xfrm>
            </p:grpSpPr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13D9EDBC-830D-4C3B-9AB5-04D573BF95EB}"/>
                    </a:ext>
                  </a:extLst>
                </p:cNvPr>
                <p:cNvSpPr/>
                <p:nvPr/>
              </p:nvSpPr>
              <p:spPr>
                <a:xfrm>
                  <a:off x="23932360" y="2049731"/>
                  <a:ext cx="541431" cy="313846"/>
                </a:xfrm>
                <a:custGeom>
                  <a:avLst/>
                  <a:gdLst>
                    <a:gd name="connsiteX0" fmla="*/ 152241 w 541431"/>
                    <a:gd name="connsiteY0" fmla="*/ 208260 h 313846"/>
                    <a:gd name="connsiteX1" fmla="*/ 4419 w 541431"/>
                    <a:gd name="connsiteY1" fmla="*/ 313847 h 313846"/>
                    <a:gd name="connsiteX2" fmla="*/ 158273 w 541431"/>
                    <a:gd name="connsiteY2" fmla="*/ 21221 h 313846"/>
                    <a:gd name="connsiteX3" fmla="*/ 541402 w 541431"/>
                    <a:gd name="connsiteY3" fmla="*/ 129824 h 313846"/>
                    <a:gd name="connsiteX4" fmla="*/ 152241 w 541431"/>
                    <a:gd name="connsiteY4" fmla="*/ 208260 h 313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1431" h="313846">
                      <a:moveTo>
                        <a:pt x="152241" y="208260"/>
                      </a:moveTo>
                      <a:cubicBezTo>
                        <a:pt x="116040" y="238428"/>
                        <a:pt x="43637" y="259545"/>
                        <a:pt x="4419" y="313847"/>
                      </a:cubicBezTo>
                      <a:cubicBezTo>
                        <a:pt x="4419" y="313847"/>
                        <a:pt x="-40832" y="90607"/>
                        <a:pt x="158273" y="21221"/>
                      </a:cubicBezTo>
                      <a:cubicBezTo>
                        <a:pt x="321179" y="-36097"/>
                        <a:pt x="478051" y="30271"/>
                        <a:pt x="541402" y="129824"/>
                      </a:cubicBezTo>
                      <a:cubicBezTo>
                        <a:pt x="544420" y="129824"/>
                        <a:pt x="315145" y="75523"/>
                        <a:pt x="152241" y="20826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81295C88-104D-4698-BA7E-177352983113}"/>
                    </a:ext>
                  </a:extLst>
                </p:cNvPr>
                <p:cNvSpPr/>
                <p:nvPr/>
              </p:nvSpPr>
              <p:spPr>
                <a:xfrm>
                  <a:off x="24072534" y="2086873"/>
                  <a:ext cx="513569" cy="216369"/>
                </a:xfrm>
                <a:custGeom>
                  <a:avLst/>
                  <a:gdLst>
                    <a:gd name="connsiteX0" fmla="*/ 0 w 513569"/>
                    <a:gd name="connsiteY0" fmla="*/ 186202 h 216369"/>
                    <a:gd name="connsiteX1" fmla="*/ 217207 w 513569"/>
                    <a:gd name="connsiteY1" fmla="*/ 47431 h 216369"/>
                    <a:gd name="connsiteX2" fmla="*/ 509833 w 513569"/>
                    <a:gd name="connsiteY2" fmla="*/ 59498 h 216369"/>
                    <a:gd name="connsiteX3" fmla="*/ 407263 w 513569"/>
                    <a:gd name="connsiteY3" fmla="*/ 216370 h 216369"/>
                    <a:gd name="connsiteX4" fmla="*/ 0 w 513569"/>
                    <a:gd name="connsiteY4" fmla="*/ 186202 h 2163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3569" h="216369">
                      <a:moveTo>
                        <a:pt x="0" y="186202"/>
                      </a:moveTo>
                      <a:cubicBezTo>
                        <a:pt x="0" y="186202"/>
                        <a:pt x="75419" y="110783"/>
                        <a:pt x="217207" y="47431"/>
                      </a:cubicBezTo>
                      <a:cubicBezTo>
                        <a:pt x="365027" y="-21955"/>
                        <a:pt x="482682" y="-12904"/>
                        <a:pt x="509833" y="59498"/>
                      </a:cubicBezTo>
                      <a:cubicBezTo>
                        <a:pt x="536983" y="131900"/>
                        <a:pt x="407263" y="216370"/>
                        <a:pt x="407263" y="216370"/>
                      </a:cubicBezTo>
                      <a:cubicBezTo>
                        <a:pt x="407263" y="216370"/>
                        <a:pt x="262458" y="77599"/>
                        <a:pt x="0" y="186202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F3C8DD80-B3D3-41C4-9294-02176C2D94CB}"/>
                    </a:ext>
                  </a:extLst>
                </p:cNvPr>
                <p:cNvSpPr/>
                <p:nvPr/>
              </p:nvSpPr>
              <p:spPr>
                <a:xfrm>
                  <a:off x="24054434" y="2034751"/>
                  <a:ext cx="57317" cy="54301"/>
                </a:xfrm>
                <a:custGeom>
                  <a:avLst/>
                  <a:gdLst>
                    <a:gd name="connsiteX0" fmla="*/ 0 w 57317"/>
                    <a:gd name="connsiteY0" fmla="*/ 27151 h 54301"/>
                    <a:gd name="connsiteX1" fmla="*/ 30168 w 57317"/>
                    <a:gd name="connsiteY1" fmla="*/ 0 h 54301"/>
                    <a:gd name="connsiteX2" fmla="*/ 57317 w 57317"/>
                    <a:gd name="connsiteY2" fmla="*/ 27151 h 54301"/>
                    <a:gd name="connsiteX3" fmla="*/ 27150 w 57317"/>
                    <a:gd name="connsiteY3" fmla="*/ 54302 h 54301"/>
                    <a:gd name="connsiteX4" fmla="*/ 0 w 57317"/>
                    <a:gd name="connsiteY4" fmla="*/ 27151 h 54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317" h="54301">
                      <a:moveTo>
                        <a:pt x="0" y="27151"/>
                      </a:moveTo>
                      <a:cubicBezTo>
                        <a:pt x="0" y="12067"/>
                        <a:pt x="12066" y="0"/>
                        <a:pt x="30168" y="0"/>
                      </a:cubicBezTo>
                      <a:cubicBezTo>
                        <a:pt x="45251" y="0"/>
                        <a:pt x="57317" y="12067"/>
                        <a:pt x="57317" y="27151"/>
                      </a:cubicBezTo>
                      <a:cubicBezTo>
                        <a:pt x="57317" y="42235"/>
                        <a:pt x="45251" y="54302"/>
                        <a:pt x="27150" y="54302"/>
                      </a:cubicBezTo>
                      <a:cubicBezTo>
                        <a:pt x="12066" y="54302"/>
                        <a:pt x="0" y="42235"/>
                        <a:pt x="0" y="27151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80DDFB50-012A-41E4-8C24-5F29B92D26C2}"/>
                  </a:ext>
                </a:extLst>
              </p:cNvPr>
              <p:cNvSpPr/>
              <p:nvPr/>
            </p:nvSpPr>
            <p:spPr>
              <a:xfrm>
                <a:off x="24065159" y="2073832"/>
                <a:ext cx="526863" cy="235443"/>
              </a:xfrm>
              <a:custGeom>
                <a:avLst/>
                <a:gdLst>
                  <a:gd name="connsiteX0" fmla="*/ 414637 w 526863"/>
                  <a:gd name="connsiteY0" fmla="*/ 235444 h 235443"/>
                  <a:gd name="connsiteX1" fmla="*/ 408603 w 526863"/>
                  <a:gd name="connsiteY1" fmla="*/ 232427 h 235443"/>
                  <a:gd name="connsiteX2" fmla="*/ 408603 w 526863"/>
                  <a:gd name="connsiteY2" fmla="*/ 223377 h 235443"/>
                  <a:gd name="connsiteX3" fmla="*/ 514190 w 526863"/>
                  <a:gd name="connsiteY3" fmla="*/ 84606 h 235443"/>
                  <a:gd name="connsiteX4" fmla="*/ 453854 w 526863"/>
                  <a:gd name="connsiteY4" fmla="*/ 21254 h 235443"/>
                  <a:gd name="connsiteX5" fmla="*/ 10390 w 526863"/>
                  <a:gd name="connsiteY5" fmla="*/ 199243 h 235443"/>
                  <a:gd name="connsiteX6" fmla="*/ 1340 w 526863"/>
                  <a:gd name="connsiteY6" fmla="*/ 199243 h 235443"/>
                  <a:gd name="connsiteX7" fmla="*/ 1340 w 526863"/>
                  <a:gd name="connsiteY7" fmla="*/ 190192 h 235443"/>
                  <a:gd name="connsiteX8" fmla="*/ 456872 w 526863"/>
                  <a:gd name="connsiteY8" fmla="*/ 9187 h 235443"/>
                  <a:gd name="connsiteX9" fmla="*/ 526257 w 526863"/>
                  <a:gd name="connsiteY9" fmla="*/ 81589 h 235443"/>
                  <a:gd name="connsiteX10" fmla="*/ 417653 w 526863"/>
                  <a:gd name="connsiteY10" fmla="*/ 229410 h 235443"/>
                  <a:gd name="connsiteX11" fmla="*/ 414637 w 526863"/>
                  <a:gd name="connsiteY11" fmla="*/ 235444 h 235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6863" h="235443">
                    <a:moveTo>
                      <a:pt x="414637" y="235444"/>
                    </a:moveTo>
                    <a:cubicBezTo>
                      <a:pt x="411621" y="235444"/>
                      <a:pt x="411621" y="235444"/>
                      <a:pt x="408603" y="232427"/>
                    </a:cubicBezTo>
                    <a:cubicBezTo>
                      <a:pt x="405587" y="229410"/>
                      <a:pt x="408603" y="226394"/>
                      <a:pt x="408603" y="223377"/>
                    </a:cubicBezTo>
                    <a:cubicBezTo>
                      <a:pt x="484022" y="169075"/>
                      <a:pt x="517208" y="123824"/>
                      <a:pt x="514190" y="84606"/>
                    </a:cubicBezTo>
                    <a:cubicBezTo>
                      <a:pt x="511174" y="51422"/>
                      <a:pt x="474972" y="30304"/>
                      <a:pt x="453854" y="21254"/>
                    </a:cubicBezTo>
                    <a:cubicBezTo>
                      <a:pt x="321118" y="-33048"/>
                      <a:pt x="13408" y="199243"/>
                      <a:pt x="10390" y="199243"/>
                    </a:cubicBezTo>
                    <a:cubicBezTo>
                      <a:pt x="7374" y="202259"/>
                      <a:pt x="4358" y="199243"/>
                      <a:pt x="1340" y="199243"/>
                    </a:cubicBezTo>
                    <a:cubicBezTo>
                      <a:pt x="-1676" y="196226"/>
                      <a:pt x="1340" y="193209"/>
                      <a:pt x="1340" y="190192"/>
                    </a:cubicBezTo>
                    <a:cubicBezTo>
                      <a:pt x="13408" y="181142"/>
                      <a:pt x="318100" y="-48132"/>
                      <a:pt x="456872" y="9187"/>
                    </a:cubicBezTo>
                    <a:cubicBezTo>
                      <a:pt x="499106" y="27287"/>
                      <a:pt x="523240" y="51422"/>
                      <a:pt x="526257" y="81589"/>
                    </a:cubicBezTo>
                    <a:cubicBezTo>
                      <a:pt x="532291" y="123824"/>
                      <a:pt x="493072" y="175109"/>
                      <a:pt x="417653" y="229410"/>
                    </a:cubicBezTo>
                    <a:cubicBezTo>
                      <a:pt x="414637" y="235444"/>
                      <a:pt x="414637" y="235444"/>
                      <a:pt x="414637" y="23544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7" name="图形 1">
              <a:extLst>
                <a:ext uri="{FF2B5EF4-FFF2-40B4-BE49-F238E27FC236}">
                  <a16:creationId xmlns:a16="http://schemas.microsoft.com/office/drawing/2014/main" id="{AF0C176C-C591-4E3F-87D5-0E144DF5D8B7}"/>
                </a:ext>
              </a:extLst>
            </p:cNvPr>
            <p:cNvGrpSpPr/>
            <p:nvPr/>
          </p:nvGrpSpPr>
          <p:grpSpPr>
            <a:xfrm>
              <a:off x="25097748" y="3654509"/>
              <a:ext cx="122285" cy="157112"/>
              <a:chOff x="25097748" y="3654509"/>
              <a:chExt cx="122285" cy="157112"/>
            </a:xfrm>
          </p:grpSpPr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EB053E4E-0CAE-4F76-A3C1-A20201CEDA92}"/>
                  </a:ext>
                </a:extLst>
              </p:cNvPr>
              <p:cNvSpPr/>
              <p:nvPr/>
            </p:nvSpPr>
            <p:spPr>
              <a:xfrm>
                <a:off x="25110177" y="3654509"/>
                <a:ext cx="109856" cy="57806"/>
              </a:xfrm>
              <a:custGeom>
                <a:avLst/>
                <a:gdLst>
                  <a:gd name="connsiteX0" fmla="*/ 99676 w 109856"/>
                  <a:gd name="connsiteY0" fmla="*/ 6275 h 57806"/>
                  <a:gd name="connsiteX1" fmla="*/ 30291 w 109856"/>
                  <a:gd name="connsiteY1" fmla="*/ 3258 h 57806"/>
                  <a:gd name="connsiteX2" fmla="*/ 18223 w 109856"/>
                  <a:gd name="connsiteY2" fmla="*/ 3258 h 57806"/>
                  <a:gd name="connsiteX3" fmla="*/ 9173 w 109856"/>
                  <a:gd name="connsiteY3" fmla="*/ 9292 h 57806"/>
                  <a:gd name="connsiteX4" fmla="*/ 3139 w 109856"/>
                  <a:gd name="connsiteY4" fmla="*/ 45493 h 57806"/>
                  <a:gd name="connsiteX5" fmla="*/ 36323 w 109856"/>
                  <a:gd name="connsiteY5" fmla="*/ 57560 h 57806"/>
                  <a:gd name="connsiteX6" fmla="*/ 81574 w 109856"/>
                  <a:gd name="connsiteY6" fmla="*/ 54543 h 57806"/>
                  <a:gd name="connsiteX7" fmla="*/ 108726 w 109856"/>
                  <a:gd name="connsiteY7" fmla="*/ 39459 h 57806"/>
                  <a:gd name="connsiteX8" fmla="*/ 99676 w 109856"/>
                  <a:gd name="connsiteY8" fmla="*/ 6275 h 57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856" h="57806">
                    <a:moveTo>
                      <a:pt x="99676" y="6275"/>
                    </a:moveTo>
                    <a:cubicBezTo>
                      <a:pt x="78558" y="-5792"/>
                      <a:pt x="54424" y="3258"/>
                      <a:pt x="30291" y="3258"/>
                    </a:cubicBezTo>
                    <a:cubicBezTo>
                      <a:pt x="27273" y="3258"/>
                      <a:pt x="21239" y="241"/>
                      <a:pt x="18223" y="3258"/>
                    </a:cubicBezTo>
                    <a:cubicBezTo>
                      <a:pt x="15207" y="3258"/>
                      <a:pt x="12189" y="6275"/>
                      <a:pt x="9173" y="9292"/>
                    </a:cubicBezTo>
                    <a:cubicBezTo>
                      <a:pt x="123" y="18342"/>
                      <a:pt x="-2895" y="33426"/>
                      <a:pt x="3139" y="45493"/>
                    </a:cubicBezTo>
                    <a:cubicBezTo>
                      <a:pt x="9173" y="60577"/>
                      <a:pt x="27273" y="57560"/>
                      <a:pt x="36323" y="57560"/>
                    </a:cubicBezTo>
                    <a:cubicBezTo>
                      <a:pt x="51406" y="57560"/>
                      <a:pt x="66490" y="57560"/>
                      <a:pt x="81574" y="54543"/>
                    </a:cubicBezTo>
                    <a:cubicBezTo>
                      <a:pt x="90626" y="51526"/>
                      <a:pt x="105710" y="54543"/>
                      <a:pt x="108726" y="39459"/>
                    </a:cubicBezTo>
                    <a:cubicBezTo>
                      <a:pt x="111742" y="27392"/>
                      <a:pt x="108726" y="12308"/>
                      <a:pt x="99676" y="6275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BB3C6E62-AB7A-4F26-98E6-F6EA50C55B5A}"/>
                  </a:ext>
                </a:extLst>
              </p:cNvPr>
              <p:cNvSpPr/>
              <p:nvPr/>
            </p:nvSpPr>
            <p:spPr>
              <a:xfrm>
                <a:off x="25101126" y="3691766"/>
                <a:ext cx="111154" cy="62784"/>
              </a:xfrm>
              <a:custGeom>
                <a:avLst/>
                <a:gdLst>
                  <a:gd name="connsiteX0" fmla="*/ 99676 w 111154"/>
                  <a:gd name="connsiteY0" fmla="*/ 11253 h 62784"/>
                  <a:gd name="connsiteX1" fmla="*/ 24257 w 111154"/>
                  <a:gd name="connsiteY1" fmla="*/ 5219 h 62784"/>
                  <a:gd name="connsiteX2" fmla="*/ 18223 w 111154"/>
                  <a:gd name="connsiteY2" fmla="*/ 8236 h 62784"/>
                  <a:gd name="connsiteX3" fmla="*/ 9173 w 111154"/>
                  <a:gd name="connsiteY3" fmla="*/ 14269 h 62784"/>
                  <a:gd name="connsiteX4" fmla="*/ 3139 w 111154"/>
                  <a:gd name="connsiteY4" fmla="*/ 50471 h 62784"/>
                  <a:gd name="connsiteX5" fmla="*/ 36323 w 111154"/>
                  <a:gd name="connsiteY5" fmla="*/ 62538 h 62784"/>
                  <a:gd name="connsiteX6" fmla="*/ 81574 w 111154"/>
                  <a:gd name="connsiteY6" fmla="*/ 59521 h 62784"/>
                  <a:gd name="connsiteX7" fmla="*/ 108726 w 111154"/>
                  <a:gd name="connsiteY7" fmla="*/ 44437 h 62784"/>
                  <a:gd name="connsiteX8" fmla="*/ 99676 w 111154"/>
                  <a:gd name="connsiteY8" fmla="*/ 11253 h 6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154" h="62784">
                    <a:moveTo>
                      <a:pt x="99676" y="11253"/>
                    </a:moveTo>
                    <a:cubicBezTo>
                      <a:pt x="75541" y="-9864"/>
                      <a:pt x="48391" y="5219"/>
                      <a:pt x="24257" y="5219"/>
                    </a:cubicBezTo>
                    <a:cubicBezTo>
                      <a:pt x="21239" y="5219"/>
                      <a:pt x="21239" y="5219"/>
                      <a:pt x="18223" y="8236"/>
                    </a:cubicBezTo>
                    <a:cubicBezTo>
                      <a:pt x="15205" y="8236"/>
                      <a:pt x="12189" y="11253"/>
                      <a:pt x="9173" y="14269"/>
                    </a:cubicBezTo>
                    <a:cubicBezTo>
                      <a:pt x="122" y="23320"/>
                      <a:pt x="-2894" y="38404"/>
                      <a:pt x="3139" y="50471"/>
                    </a:cubicBezTo>
                    <a:cubicBezTo>
                      <a:pt x="9173" y="65555"/>
                      <a:pt x="27273" y="62538"/>
                      <a:pt x="36323" y="62538"/>
                    </a:cubicBezTo>
                    <a:cubicBezTo>
                      <a:pt x="51407" y="62538"/>
                      <a:pt x="66491" y="62538"/>
                      <a:pt x="81574" y="59521"/>
                    </a:cubicBezTo>
                    <a:cubicBezTo>
                      <a:pt x="90624" y="56504"/>
                      <a:pt x="105708" y="59521"/>
                      <a:pt x="108726" y="44437"/>
                    </a:cubicBezTo>
                    <a:cubicBezTo>
                      <a:pt x="114760" y="32370"/>
                      <a:pt x="108726" y="17286"/>
                      <a:pt x="99676" y="11253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14478172-EE58-4C06-A34E-D320BF14D17A}"/>
                  </a:ext>
                </a:extLst>
              </p:cNvPr>
              <p:cNvSpPr/>
              <p:nvPr/>
            </p:nvSpPr>
            <p:spPr>
              <a:xfrm>
                <a:off x="25112133" y="3731262"/>
                <a:ext cx="97201" cy="53209"/>
              </a:xfrm>
              <a:custGeom>
                <a:avLst/>
                <a:gdLst>
                  <a:gd name="connsiteX0" fmla="*/ 88670 w 97201"/>
                  <a:gd name="connsiteY0" fmla="*/ 10975 h 53209"/>
                  <a:gd name="connsiteX1" fmla="*/ 22301 w 97201"/>
                  <a:gd name="connsiteY1" fmla="*/ 4941 h 53209"/>
                  <a:gd name="connsiteX2" fmla="*/ 16267 w 97201"/>
                  <a:gd name="connsiteY2" fmla="*/ 7958 h 53209"/>
                  <a:gd name="connsiteX3" fmla="*/ 7217 w 97201"/>
                  <a:gd name="connsiteY3" fmla="*/ 10975 h 53209"/>
                  <a:gd name="connsiteX4" fmla="*/ 1183 w 97201"/>
                  <a:gd name="connsiteY4" fmla="*/ 41142 h 53209"/>
                  <a:gd name="connsiteX5" fmla="*/ 31351 w 97201"/>
                  <a:gd name="connsiteY5" fmla="*/ 53209 h 53209"/>
                  <a:gd name="connsiteX6" fmla="*/ 70568 w 97201"/>
                  <a:gd name="connsiteY6" fmla="*/ 53209 h 53209"/>
                  <a:gd name="connsiteX7" fmla="*/ 94702 w 97201"/>
                  <a:gd name="connsiteY7" fmla="*/ 41142 h 53209"/>
                  <a:gd name="connsiteX8" fmla="*/ 88670 w 97201"/>
                  <a:gd name="connsiteY8" fmla="*/ 10975 h 53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7201" h="53209">
                    <a:moveTo>
                      <a:pt x="88670" y="10975"/>
                    </a:moveTo>
                    <a:cubicBezTo>
                      <a:pt x="67552" y="-7126"/>
                      <a:pt x="43419" y="1924"/>
                      <a:pt x="22301" y="4941"/>
                    </a:cubicBezTo>
                    <a:cubicBezTo>
                      <a:pt x="19283" y="4941"/>
                      <a:pt x="19283" y="4941"/>
                      <a:pt x="16267" y="7958"/>
                    </a:cubicBezTo>
                    <a:cubicBezTo>
                      <a:pt x="13251" y="7958"/>
                      <a:pt x="10233" y="10975"/>
                      <a:pt x="7217" y="10975"/>
                    </a:cubicBezTo>
                    <a:cubicBezTo>
                      <a:pt x="1183" y="17008"/>
                      <a:pt x="-1833" y="32092"/>
                      <a:pt x="1183" y="41142"/>
                    </a:cubicBezTo>
                    <a:cubicBezTo>
                      <a:pt x="7217" y="53209"/>
                      <a:pt x="22301" y="53209"/>
                      <a:pt x="31351" y="53209"/>
                    </a:cubicBezTo>
                    <a:cubicBezTo>
                      <a:pt x="43419" y="53209"/>
                      <a:pt x="58502" y="53209"/>
                      <a:pt x="70568" y="53209"/>
                    </a:cubicBezTo>
                    <a:cubicBezTo>
                      <a:pt x="79618" y="53209"/>
                      <a:pt x="91686" y="53209"/>
                      <a:pt x="94702" y="41142"/>
                    </a:cubicBezTo>
                    <a:cubicBezTo>
                      <a:pt x="100736" y="29075"/>
                      <a:pt x="94702" y="20025"/>
                      <a:pt x="88670" y="10975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AE92F1BD-7C7D-4877-AAE5-8D106D1F66FC}"/>
                  </a:ext>
                </a:extLst>
              </p:cNvPr>
              <p:cNvSpPr/>
              <p:nvPr/>
            </p:nvSpPr>
            <p:spPr>
              <a:xfrm>
                <a:off x="25131144" y="3772728"/>
                <a:ext cx="72674" cy="38893"/>
              </a:xfrm>
              <a:custGeom>
                <a:avLst/>
                <a:gdLst>
                  <a:gd name="connsiteX0" fmla="*/ 63624 w 72674"/>
                  <a:gd name="connsiteY0" fmla="*/ 8726 h 38893"/>
                  <a:gd name="connsiteX1" fmla="*/ 15355 w 72674"/>
                  <a:gd name="connsiteY1" fmla="*/ 2693 h 38893"/>
                  <a:gd name="connsiteX2" fmla="*/ 12339 w 72674"/>
                  <a:gd name="connsiteY2" fmla="*/ 2693 h 38893"/>
                  <a:gd name="connsiteX3" fmla="*/ 6305 w 72674"/>
                  <a:gd name="connsiteY3" fmla="*/ 5709 h 38893"/>
                  <a:gd name="connsiteX4" fmla="*/ 3289 w 72674"/>
                  <a:gd name="connsiteY4" fmla="*/ 29844 h 38893"/>
                  <a:gd name="connsiteX5" fmla="*/ 24407 w 72674"/>
                  <a:gd name="connsiteY5" fmla="*/ 38894 h 38893"/>
                  <a:gd name="connsiteX6" fmla="*/ 54575 w 72674"/>
                  <a:gd name="connsiteY6" fmla="*/ 38894 h 38893"/>
                  <a:gd name="connsiteX7" fmla="*/ 72674 w 72674"/>
                  <a:gd name="connsiteY7" fmla="*/ 29844 h 38893"/>
                  <a:gd name="connsiteX8" fmla="*/ 63624 w 72674"/>
                  <a:gd name="connsiteY8" fmla="*/ 8726 h 38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2674" h="38893">
                    <a:moveTo>
                      <a:pt x="63624" y="8726"/>
                    </a:moveTo>
                    <a:cubicBezTo>
                      <a:pt x="48541" y="-6358"/>
                      <a:pt x="30439" y="2693"/>
                      <a:pt x="15355" y="2693"/>
                    </a:cubicBezTo>
                    <a:cubicBezTo>
                      <a:pt x="15355" y="2693"/>
                      <a:pt x="12339" y="2693"/>
                      <a:pt x="12339" y="2693"/>
                    </a:cubicBezTo>
                    <a:cubicBezTo>
                      <a:pt x="9323" y="2693"/>
                      <a:pt x="6305" y="2693"/>
                      <a:pt x="6305" y="5709"/>
                    </a:cubicBezTo>
                    <a:cubicBezTo>
                      <a:pt x="271" y="11743"/>
                      <a:pt x="-2745" y="20793"/>
                      <a:pt x="3289" y="29844"/>
                    </a:cubicBezTo>
                    <a:cubicBezTo>
                      <a:pt x="9323" y="38894"/>
                      <a:pt x="18373" y="38894"/>
                      <a:pt x="24407" y="38894"/>
                    </a:cubicBezTo>
                    <a:cubicBezTo>
                      <a:pt x="33457" y="38894"/>
                      <a:pt x="42507" y="38894"/>
                      <a:pt x="54575" y="38894"/>
                    </a:cubicBezTo>
                    <a:cubicBezTo>
                      <a:pt x="60607" y="38894"/>
                      <a:pt x="69658" y="38894"/>
                      <a:pt x="72674" y="29844"/>
                    </a:cubicBezTo>
                    <a:cubicBezTo>
                      <a:pt x="72674" y="20793"/>
                      <a:pt x="69658" y="14760"/>
                      <a:pt x="63624" y="872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007B4A61-8385-4E1B-AF0D-D44C893A5C45}"/>
                  </a:ext>
                </a:extLst>
              </p:cNvPr>
              <p:cNvSpPr/>
              <p:nvPr/>
            </p:nvSpPr>
            <p:spPr>
              <a:xfrm>
                <a:off x="25097748" y="3654562"/>
                <a:ext cx="118138" cy="108791"/>
              </a:xfrm>
              <a:custGeom>
                <a:avLst/>
                <a:gdLst>
                  <a:gd name="connsiteX0" fmla="*/ 45735 w 118138"/>
                  <a:gd name="connsiteY0" fmla="*/ 102758 h 108791"/>
                  <a:gd name="connsiteX1" fmla="*/ 484 w 118138"/>
                  <a:gd name="connsiteY1" fmla="*/ 81641 h 108791"/>
                  <a:gd name="connsiteX2" fmla="*/ 9534 w 118138"/>
                  <a:gd name="connsiteY2" fmla="*/ 45440 h 108791"/>
                  <a:gd name="connsiteX3" fmla="*/ 6518 w 118138"/>
                  <a:gd name="connsiteY3" fmla="*/ 33373 h 108791"/>
                  <a:gd name="connsiteX4" fmla="*/ 9534 w 118138"/>
                  <a:gd name="connsiteY4" fmla="*/ 15272 h 108791"/>
                  <a:gd name="connsiteX5" fmla="*/ 84953 w 118138"/>
                  <a:gd name="connsiteY5" fmla="*/ 189 h 108791"/>
                  <a:gd name="connsiteX6" fmla="*/ 90987 w 118138"/>
                  <a:gd name="connsiteY6" fmla="*/ 6222 h 108791"/>
                  <a:gd name="connsiteX7" fmla="*/ 84953 w 118138"/>
                  <a:gd name="connsiteY7" fmla="*/ 12256 h 108791"/>
                  <a:gd name="connsiteX8" fmla="*/ 18584 w 118138"/>
                  <a:gd name="connsiteY8" fmla="*/ 24323 h 108791"/>
                  <a:gd name="connsiteX9" fmla="*/ 15568 w 118138"/>
                  <a:gd name="connsiteY9" fmla="*/ 33373 h 108791"/>
                  <a:gd name="connsiteX10" fmla="*/ 103055 w 118138"/>
                  <a:gd name="connsiteY10" fmla="*/ 48457 h 108791"/>
                  <a:gd name="connsiteX11" fmla="*/ 112104 w 118138"/>
                  <a:gd name="connsiteY11" fmla="*/ 51473 h 108791"/>
                  <a:gd name="connsiteX12" fmla="*/ 118138 w 118138"/>
                  <a:gd name="connsiteY12" fmla="*/ 72591 h 108791"/>
                  <a:gd name="connsiteX13" fmla="*/ 48751 w 118138"/>
                  <a:gd name="connsiteY13" fmla="*/ 108792 h 108791"/>
                  <a:gd name="connsiteX14" fmla="*/ 45735 w 118138"/>
                  <a:gd name="connsiteY14" fmla="*/ 102758 h 108791"/>
                  <a:gd name="connsiteX15" fmla="*/ 15568 w 118138"/>
                  <a:gd name="connsiteY15" fmla="*/ 51473 h 108791"/>
                  <a:gd name="connsiteX16" fmla="*/ 9534 w 118138"/>
                  <a:gd name="connsiteY16" fmla="*/ 75608 h 108791"/>
                  <a:gd name="connsiteX17" fmla="*/ 45735 w 118138"/>
                  <a:gd name="connsiteY17" fmla="*/ 87675 h 108791"/>
                  <a:gd name="connsiteX18" fmla="*/ 51769 w 118138"/>
                  <a:gd name="connsiteY18" fmla="*/ 87675 h 108791"/>
                  <a:gd name="connsiteX19" fmla="*/ 109087 w 118138"/>
                  <a:gd name="connsiteY19" fmla="*/ 63540 h 108791"/>
                  <a:gd name="connsiteX20" fmla="*/ 106071 w 118138"/>
                  <a:gd name="connsiteY20" fmla="*/ 51473 h 108791"/>
                  <a:gd name="connsiteX21" fmla="*/ 15568 w 118138"/>
                  <a:gd name="connsiteY21" fmla="*/ 51473 h 108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8138" h="108791">
                    <a:moveTo>
                      <a:pt x="45735" y="102758"/>
                    </a:moveTo>
                    <a:cubicBezTo>
                      <a:pt x="21602" y="102758"/>
                      <a:pt x="3500" y="99742"/>
                      <a:pt x="484" y="81641"/>
                    </a:cubicBezTo>
                    <a:cubicBezTo>
                      <a:pt x="-2532" y="63540"/>
                      <a:pt x="9534" y="48457"/>
                      <a:pt x="9534" y="45440"/>
                    </a:cubicBezTo>
                    <a:cubicBezTo>
                      <a:pt x="6518" y="42423"/>
                      <a:pt x="6518" y="39407"/>
                      <a:pt x="6518" y="33373"/>
                    </a:cubicBezTo>
                    <a:cubicBezTo>
                      <a:pt x="3500" y="27339"/>
                      <a:pt x="6518" y="18289"/>
                      <a:pt x="9534" y="15272"/>
                    </a:cubicBezTo>
                    <a:cubicBezTo>
                      <a:pt x="24618" y="-2828"/>
                      <a:pt x="78919" y="189"/>
                      <a:pt x="84953" y="189"/>
                    </a:cubicBezTo>
                    <a:cubicBezTo>
                      <a:pt x="87971" y="189"/>
                      <a:pt x="90987" y="3205"/>
                      <a:pt x="90987" y="6222"/>
                    </a:cubicBezTo>
                    <a:cubicBezTo>
                      <a:pt x="90987" y="9239"/>
                      <a:pt x="87971" y="12256"/>
                      <a:pt x="84953" y="12256"/>
                    </a:cubicBezTo>
                    <a:cubicBezTo>
                      <a:pt x="63835" y="12256"/>
                      <a:pt x="30652" y="12256"/>
                      <a:pt x="18584" y="24323"/>
                    </a:cubicBezTo>
                    <a:cubicBezTo>
                      <a:pt x="15568" y="27339"/>
                      <a:pt x="15568" y="30356"/>
                      <a:pt x="15568" y="33373"/>
                    </a:cubicBezTo>
                    <a:cubicBezTo>
                      <a:pt x="18584" y="45440"/>
                      <a:pt x="21602" y="63540"/>
                      <a:pt x="103055" y="48457"/>
                    </a:cubicBezTo>
                    <a:cubicBezTo>
                      <a:pt x="103055" y="48457"/>
                      <a:pt x="109087" y="48457"/>
                      <a:pt x="112104" y="51473"/>
                    </a:cubicBezTo>
                    <a:cubicBezTo>
                      <a:pt x="118138" y="54490"/>
                      <a:pt x="118138" y="63540"/>
                      <a:pt x="118138" y="72591"/>
                    </a:cubicBezTo>
                    <a:cubicBezTo>
                      <a:pt x="118138" y="87675"/>
                      <a:pt x="106071" y="108792"/>
                      <a:pt x="48751" y="108792"/>
                    </a:cubicBezTo>
                    <a:cubicBezTo>
                      <a:pt x="48751" y="102758"/>
                      <a:pt x="45735" y="102758"/>
                      <a:pt x="45735" y="102758"/>
                    </a:cubicBezTo>
                    <a:close/>
                    <a:moveTo>
                      <a:pt x="15568" y="51473"/>
                    </a:moveTo>
                    <a:cubicBezTo>
                      <a:pt x="12552" y="57507"/>
                      <a:pt x="6518" y="66557"/>
                      <a:pt x="9534" y="75608"/>
                    </a:cubicBezTo>
                    <a:cubicBezTo>
                      <a:pt x="12552" y="84658"/>
                      <a:pt x="18584" y="87675"/>
                      <a:pt x="45735" y="87675"/>
                    </a:cubicBezTo>
                    <a:cubicBezTo>
                      <a:pt x="45735" y="87675"/>
                      <a:pt x="48751" y="87675"/>
                      <a:pt x="51769" y="87675"/>
                    </a:cubicBezTo>
                    <a:cubicBezTo>
                      <a:pt x="87971" y="87675"/>
                      <a:pt x="112104" y="78624"/>
                      <a:pt x="109087" y="63540"/>
                    </a:cubicBezTo>
                    <a:cubicBezTo>
                      <a:pt x="109087" y="54490"/>
                      <a:pt x="106071" y="54490"/>
                      <a:pt x="106071" y="51473"/>
                    </a:cubicBezTo>
                    <a:cubicBezTo>
                      <a:pt x="54785" y="63540"/>
                      <a:pt x="30652" y="63540"/>
                      <a:pt x="15568" y="5147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75836481-36C0-42CE-BAED-79296A6EB725}"/>
                  </a:ext>
                </a:extLst>
              </p:cNvPr>
              <p:cNvSpPr/>
              <p:nvPr/>
            </p:nvSpPr>
            <p:spPr>
              <a:xfrm>
                <a:off x="25105312" y="3736957"/>
                <a:ext cx="113590" cy="53547"/>
              </a:xfrm>
              <a:custGeom>
                <a:avLst/>
                <a:gdLst>
                  <a:gd name="connsiteX0" fmla="*/ 50239 w 113590"/>
                  <a:gd name="connsiteY0" fmla="*/ 53548 h 53547"/>
                  <a:gd name="connsiteX1" fmla="*/ 26104 w 113590"/>
                  <a:gd name="connsiteY1" fmla="*/ 50531 h 53547"/>
                  <a:gd name="connsiteX2" fmla="*/ 4988 w 113590"/>
                  <a:gd name="connsiteY2" fmla="*/ 35447 h 53547"/>
                  <a:gd name="connsiteX3" fmla="*/ 1970 w 113590"/>
                  <a:gd name="connsiteY3" fmla="*/ 5279 h 53547"/>
                  <a:gd name="connsiteX4" fmla="*/ 8004 w 113590"/>
                  <a:gd name="connsiteY4" fmla="*/ 2263 h 53547"/>
                  <a:gd name="connsiteX5" fmla="*/ 11020 w 113590"/>
                  <a:gd name="connsiteY5" fmla="*/ 8296 h 53547"/>
                  <a:gd name="connsiteX6" fmla="*/ 14038 w 113590"/>
                  <a:gd name="connsiteY6" fmla="*/ 29413 h 53547"/>
                  <a:gd name="connsiteX7" fmla="*/ 29122 w 113590"/>
                  <a:gd name="connsiteY7" fmla="*/ 38464 h 53547"/>
                  <a:gd name="connsiteX8" fmla="*/ 98507 w 113590"/>
                  <a:gd name="connsiteY8" fmla="*/ 32430 h 53547"/>
                  <a:gd name="connsiteX9" fmla="*/ 98507 w 113590"/>
                  <a:gd name="connsiteY9" fmla="*/ 29413 h 53547"/>
                  <a:gd name="connsiteX10" fmla="*/ 92473 w 113590"/>
                  <a:gd name="connsiteY10" fmla="*/ 11313 h 53547"/>
                  <a:gd name="connsiteX11" fmla="*/ 92473 w 113590"/>
                  <a:gd name="connsiteY11" fmla="*/ 2263 h 53547"/>
                  <a:gd name="connsiteX12" fmla="*/ 101523 w 113590"/>
                  <a:gd name="connsiteY12" fmla="*/ 2263 h 53547"/>
                  <a:gd name="connsiteX13" fmla="*/ 113591 w 113590"/>
                  <a:gd name="connsiteY13" fmla="*/ 32430 h 53547"/>
                  <a:gd name="connsiteX14" fmla="*/ 107557 w 113590"/>
                  <a:gd name="connsiteY14" fmla="*/ 47514 h 53547"/>
                  <a:gd name="connsiteX15" fmla="*/ 50239 w 113590"/>
                  <a:gd name="connsiteY15" fmla="*/ 53548 h 53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3590" h="53547">
                    <a:moveTo>
                      <a:pt x="50239" y="53548"/>
                    </a:moveTo>
                    <a:cubicBezTo>
                      <a:pt x="41188" y="53548"/>
                      <a:pt x="35156" y="53548"/>
                      <a:pt x="26104" y="50531"/>
                    </a:cubicBezTo>
                    <a:cubicBezTo>
                      <a:pt x="17054" y="47514"/>
                      <a:pt x="8004" y="44497"/>
                      <a:pt x="4988" y="35447"/>
                    </a:cubicBezTo>
                    <a:cubicBezTo>
                      <a:pt x="-4064" y="23380"/>
                      <a:pt x="1970" y="5279"/>
                      <a:pt x="1970" y="5279"/>
                    </a:cubicBezTo>
                    <a:cubicBezTo>
                      <a:pt x="1970" y="2263"/>
                      <a:pt x="4988" y="-754"/>
                      <a:pt x="8004" y="2263"/>
                    </a:cubicBezTo>
                    <a:cubicBezTo>
                      <a:pt x="11020" y="2263"/>
                      <a:pt x="14038" y="5279"/>
                      <a:pt x="11020" y="8296"/>
                    </a:cubicBezTo>
                    <a:cubicBezTo>
                      <a:pt x="11020" y="8296"/>
                      <a:pt x="8004" y="20363"/>
                      <a:pt x="14038" y="29413"/>
                    </a:cubicBezTo>
                    <a:cubicBezTo>
                      <a:pt x="17054" y="32430"/>
                      <a:pt x="20072" y="35447"/>
                      <a:pt x="29122" y="38464"/>
                    </a:cubicBezTo>
                    <a:cubicBezTo>
                      <a:pt x="59289" y="44497"/>
                      <a:pt x="89457" y="35447"/>
                      <a:pt x="98507" y="32430"/>
                    </a:cubicBezTo>
                    <a:cubicBezTo>
                      <a:pt x="98507" y="32430"/>
                      <a:pt x="98507" y="29413"/>
                      <a:pt x="98507" y="29413"/>
                    </a:cubicBezTo>
                    <a:cubicBezTo>
                      <a:pt x="98507" y="23380"/>
                      <a:pt x="95491" y="11313"/>
                      <a:pt x="92473" y="11313"/>
                    </a:cubicBezTo>
                    <a:cubicBezTo>
                      <a:pt x="89457" y="8296"/>
                      <a:pt x="89457" y="5279"/>
                      <a:pt x="92473" y="2263"/>
                    </a:cubicBezTo>
                    <a:cubicBezTo>
                      <a:pt x="95491" y="-754"/>
                      <a:pt x="98507" y="-754"/>
                      <a:pt x="101523" y="2263"/>
                    </a:cubicBezTo>
                    <a:cubicBezTo>
                      <a:pt x="107557" y="8296"/>
                      <a:pt x="113591" y="20363"/>
                      <a:pt x="113591" y="32430"/>
                    </a:cubicBezTo>
                    <a:cubicBezTo>
                      <a:pt x="113591" y="41480"/>
                      <a:pt x="110575" y="44497"/>
                      <a:pt x="107557" y="47514"/>
                    </a:cubicBezTo>
                    <a:cubicBezTo>
                      <a:pt x="95491" y="50531"/>
                      <a:pt x="74373" y="53548"/>
                      <a:pt x="50239" y="5354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08131627-6462-4CD0-94BC-B0B65F70CA67}"/>
                </a:ext>
              </a:extLst>
            </p:cNvPr>
            <p:cNvSpPr/>
            <p:nvPr/>
          </p:nvSpPr>
          <p:spPr>
            <a:xfrm>
              <a:off x="23353386" y="3006147"/>
              <a:ext cx="583393" cy="989497"/>
            </a:xfrm>
            <a:custGeom>
              <a:avLst/>
              <a:gdLst>
                <a:gd name="connsiteX0" fmla="*/ 565294 w 583393"/>
                <a:gd name="connsiteY0" fmla="*/ 141788 h 989497"/>
                <a:gd name="connsiteX1" fmla="*/ 251550 w 583393"/>
                <a:gd name="connsiteY1" fmla="*/ 570168 h 989497"/>
                <a:gd name="connsiteX2" fmla="*/ 583394 w 583393"/>
                <a:gd name="connsiteY2" fmla="*/ 914078 h 989497"/>
                <a:gd name="connsiteX3" fmla="*/ 459707 w 583393"/>
                <a:gd name="connsiteY3" fmla="*/ 989497 h 989497"/>
                <a:gd name="connsiteX4" fmla="*/ 4175 w 583393"/>
                <a:gd name="connsiteY4" fmla="*/ 585251 h 989497"/>
                <a:gd name="connsiteX5" fmla="*/ 342053 w 583393"/>
                <a:gd name="connsiteY5" fmla="*/ 0 h 989497"/>
                <a:gd name="connsiteX6" fmla="*/ 565294 w 583393"/>
                <a:gd name="connsiteY6" fmla="*/ 141788 h 989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3393" h="989497">
                  <a:moveTo>
                    <a:pt x="565294" y="141788"/>
                  </a:moveTo>
                  <a:lnTo>
                    <a:pt x="251550" y="570168"/>
                  </a:lnTo>
                  <a:lnTo>
                    <a:pt x="583394" y="914078"/>
                  </a:lnTo>
                  <a:lnTo>
                    <a:pt x="459707" y="989497"/>
                  </a:lnTo>
                  <a:cubicBezTo>
                    <a:pt x="459707" y="989497"/>
                    <a:pt x="52445" y="690838"/>
                    <a:pt x="4175" y="585251"/>
                  </a:cubicBezTo>
                  <a:cubicBezTo>
                    <a:pt x="-44092" y="479665"/>
                    <a:pt x="342053" y="0"/>
                    <a:pt x="342053" y="0"/>
                  </a:cubicBezTo>
                  <a:lnTo>
                    <a:pt x="565294" y="141788"/>
                  </a:ln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CABEBA33-7C10-4ACF-A98E-6EE548D16A6F}"/>
                </a:ext>
              </a:extLst>
            </p:cNvPr>
            <p:cNvSpPr/>
            <p:nvPr/>
          </p:nvSpPr>
          <p:spPr>
            <a:xfrm>
              <a:off x="23552401" y="3117768"/>
              <a:ext cx="372310" cy="464580"/>
            </a:xfrm>
            <a:custGeom>
              <a:avLst/>
              <a:gdLst>
                <a:gd name="connsiteX0" fmla="*/ 52535 w 372310"/>
                <a:gd name="connsiteY0" fmla="*/ 464581 h 464580"/>
                <a:gd name="connsiteX1" fmla="*/ 52535 w 372310"/>
                <a:gd name="connsiteY1" fmla="*/ 464581 h 464580"/>
                <a:gd name="connsiteX2" fmla="*/ 4267 w 372310"/>
                <a:gd name="connsiteY2" fmla="*/ 455531 h 464580"/>
                <a:gd name="connsiteX3" fmla="*/ 1249 w 372310"/>
                <a:gd name="connsiteY3" fmla="*/ 449497 h 464580"/>
                <a:gd name="connsiteX4" fmla="*/ 7283 w 372310"/>
                <a:gd name="connsiteY4" fmla="*/ 446480 h 464580"/>
                <a:gd name="connsiteX5" fmla="*/ 49518 w 372310"/>
                <a:gd name="connsiteY5" fmla="*/ 452514 h 464580"/>
                <a:gd name="connsiteX6" fmla="*/ 360244 w 372310"/>
                <a:gd name="connsiteY6" fmla="*/ 3017 h 464580"/>
                <a:gd name="connsiteX7" fmla="*/ 369294 w 372310"/>
                <a:gd name="connsiteY7" fmla="*/ 0 h 464580"/>
                <a:gd name="connsiteX8" fmla="*/ 372310 w 372310"/>
                <a:gd name="connsiteY8" fmla="*/ 9050 h 464580"/>
                <a:gd name="connsiteX9" fmla="*/ 58568 w 372310"/>
                <a:gd name="connsiteY9" fmla="*/ 461564 h 464580"/>
                <a:gd name="connsiteX10" fmla="*/ 52535 w 372310"/>
                <a:gd name="connsiteY10" fmla="*/ 464581 h 464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2310" h="464580">
                  <a:moveTo>
                    <a:pt x="52535" y="464581"/>
                  </a:moveTo>
                  <a:cubicBezTo>
                    <a:pt x="52535" y="464581"/>
                    <a:pt x="52535" y="464581"/>
                    <a:pt x="52535" y="464581"/>
                  </a:cubicBezTo>
                  <a:cubicBezTo>
                    <a:pt x="52535" y="464581"/>
                    <a:pt x="22367" y="464581"/>
                    <a:pt x="4267" y="455531"/>
                  </a:cubicBezTo>
                  <a:cubicBezTo>
                    <a:pt x="1249" y="455531"/>
                    <a:pt x="-1767" y="452514"/>
                    <a:pt x="1249" y="449497"/>
                  </a:cubicBezTo>
                  <a:cubicBezTo>
                    <a:pt x="1249" y="446480"/>
                    <a:pt x="7283" y="443464"/>
                    <a:pt x="7283" y="446480"/>
                  </a:cubicBezTo>
                  <a:cubicBezTo>
                    <a:pt x="19351" y="452514"/>
                    <a:pt x="40467" y="452514"/>
                    <a:pt x="49518" y="452514"/>
                  </a:cubicBezTo>
                  <a:cubicBezTo>
                    <a:pt x="109854" y="371061"/>
                    <a:pt x="360244" y="6034"/>
                    <a:pt x="360244" y="3017"/>
                  </a:cubicBezTo>
                  <a:cubicBezTo>
                    <a:pt x="363260" y="0"/>
                    <a:pt x="366278" y="0"/>
                    <a:pt x="369294" y="0"/>
                  </a:cubicBezTo>
                  <a:cubicBezTo>
                    <a:pt x="372310" y="3017"/>
                    <a:pt x="372310" y="6034"/>
                    <a:pt x="372310" y="9050"/>
                  </a:cubicBezTo>
                  <a:cubicBezTo>
                    <a:pt x="369294" y="12067"/>
                    <a:pt x="115886" y="386145"/>
                    <a:pt x="58568" y="461564"/>
                  </a:cubicBezTo>
                  <a:cubicBezTo>
                    <a:pt x="55551" y="464581"/>
                    <a:pt x="55551" y="464581"/>
                    <a:pt x="52535" y="464581"/>
                  </a:cubicBezTo>
                  <a:close/>
                </a:path>
              </a:pathLst>
            </a:custGeom>
            <a:solidFill>
              <a:srgbClr val="E58777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8BF6EC44-2049-4DB2-8D8D-79ED6277C666}"/>
                </a:ext>
              </a:extLst>
            </p:cNvPr>
            <p:cNvSpPr/>
            <p:nvPr/>
          </p:nvSpPr>
          <p:spPr>
            <a:xfrm>
              <a:off x="23787891" y="3880517"/>
              <a:ext cx="190084" cy="170197"/>
            </a:xfrm>
            <a:custGeom>
              <a:avLst/>
              <a:gdLst>
                <a:gd name="connsiteX0" fmla="*/ 188106 w 190084"/>
                <a:gd name="connsiteY0" fmla="*/ 97027 h 170197"/>
                <a:gd name="connsiteX1" fmla="*/ 109671 w 190084"/>
                <a:gd name="connsiteY1" fmla="*/ 490 h 170197"/>
                <a:gd name="connsiteX2" fmla="*/ 1067 w 190084"/>
                <a:gd name="connsiteY2" fmla="*/ 63842 h 170197"/>
                <a:gd name="connsiteX3" fmla="*/ 25202 w 190084"/>
                <a:gd name="connsiteY3" fmla="*/ 154345 h 170197"/>
                <a:gd name="connsiteX4" fmla="*/ 61402 w 190084"/>
                <a:gd name="connsiteY4" fmla="*/ 169429 h 170197"/>
                <a:gd name="connsiteX5" fmla="*/ 79504 w 190084"/>
                <a:gd name="connsiteY5" fmla="*/ 160379 h 170197"/>
                <a:gd name="connsiteX6" fmla="*/ 97603 w 190084"/>
                <a:gd name="connsiteY6" fmla="*/ 157362 h 170197"/>
                <a:gd name="connsiteX7" fmla="*/ 109671 w 190084"/>
                <a:gd name="connsiteY7" fmla="*/ 148312 h 170197"/>
                <a:gd name="connsiteX8" fmla="*/ 130789 w 190084"/>
                <a:gd name="connsiteY8" fmla="*/ 139261 h 170197"/>
                <a:gd name="connsiteX9" fmla="*/ 145873 w 190084"/>
                <a:gd name="connsiteY9" fmla="*/ 133228 h 170197"/>
                <a:gd name="connsiteX10" fmla="*/ 154923 w 190084"/>
                <a:gd name="connsiteY10" fmla="*/ 118144 h 170197"/>
                <a:gd name="connsiteX11" fmla="*/ 188106 w 190084"/>
                <a:gd name="connsiteY11" fmla="*/ 97027 h 170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0084" h="170197">
                  <a:moveTo>
                    <a:pt x="188106" y="97027"/>
                  </a:moveTo>
                  <a:cubicBezTo>
                    <a:pt x="200174" y="78926"/>
                    <a:pt x="154923" y="27641"/>
                    <a:pt x="109671" y="490"/>
                  </a:cubicBezTo>
                  <a:cubicBezTo>
                    <a:pt x="103637" y="-5543"/>
                    <a:pt x="4085" y="45742"/>
                    <a:pt x="1067" y="63842"/>
                  </a:cubicBezTo>
                  <a:cubicBezTo>
                    <a:pt x="-4965" y="90993"/>
                    <a:pt x="16151" y="148312"/>
                    <a:pt x="25202" y="154345"/>
                  </a:cubicBezTo>
                  <a:cubicBezTo>
                    <a:pt x="37268" y="166412"/>
                    <a:pt x="46318" y="172446"/>
                    <a:pt x="61402" y="169429"/>
                  </a:cubicBezTo>
                  <a:cubicBezTo>
                    <a:pt x="76486" y="169429"/>
                    <a:pt x="70454" y="163395"/>
                    <a:pt x="79504" y="160379"/>
                  </a:cubicBezTo>
                  <a:cubicBezTo>
                    <a:pt x="88554" y="157362"/>
                    <a:pt x="91570" y="160379"/>
                    <a:pt x="97603" y="157362"/>
                  </a:cubicBezTo>
                  <a:cubicBezTo>
                    <a:pt x="103637" y="154345"/>
                    <a:pt x="103637" y="151328"/>
                    <a:pt x="109671" y="148312"/>
                  </a:cubicBezTo>
                  <a:cubicBezTo>
                    <a:pt x="121737" y="139261"/>
                    <a:pt x="112687" y="142278"/>
                    <a:pt x="130789" y="139261"/>
                  </a:cubicBezTo>
                  <a:cubicBezTo>
                    <a:pt x="136821" y="139261"/>
                    <a:pt x="142855" y="136245"/>
                    <a:pt x="145873" y="133228"/>
                  </a:cubicBezTo>
                  <a:cubicBezTo>
                    <a:pt x="151905" y="130211"/>
                    <a:pt x="154923" y="124178"/>
                    <a:pt x="154923" y="118144"/>
                  </a:cubicBezTo>
                  <a:cubicBezTo>
                    <a:pt x="166989" y="118144"/>
                    <a:pt x="179056" y="109094"/>
                    <a:pt x="188106" y="97027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7C240C10-A9F7-41AB-B399-75EE9CB33CCE}"/>
                </a:ext>
              </a:extLst>
            </p:cNvPr>
            <p:cNvSpPr/>
            <p:nvPr/>
          </p:nvSpPr>
          <p:spPr>
            <a:xfrm>
              <a:off x="23880946" y="3873021"/>
              <a:ext cx="146927" cy="89439"/>
            </a:xfrm>
            <a:custGeom>
              <a:avLst/>
              <a:gdLst>
                <a:gd name="connsiteX0" fmla="*/ 146336 w 146927"/>
                <a:gd name="connsiteY0" fmla="*/ 71339 h 89439"/>
                <a:gd name="connsiteX1" fmla="*/ 107119 w 146927"/>
                <a:gd name="connsiteY1" fmla="*/ 14021 h 89439"/>
                <a:gd name="connsiteX2" fmla="*/ 4548 w 146927"/>
                <a:gd name="connsiteY2" fmla="*/ 1954 h 89439"/>
                <a:gd name="connsiteX3" fmla="*/ 13598 w 146927"/>
                <a:gd name="connsiteY3" fmla="*/ 32121 h 89439"/>
                <a:gd name="connsiteX4" fmla="*/ 19632 w 146927"/>
                <a:gd name="connsiteY4" fmla="*/ 47205 h 89439"/>
                <a:gd name="connsiteX5" fmla="*/ 49800 w 146927"/>
                <a:gd name="connsiteY5" fmla="*/ 59272 h 89439"/>
                <a:gd name="connsiteX6" fmla="*/ 86001 w 146927"/>
                <a:gd name="connsiteY6" fmla="*/ 59272 h 89439"/>
                <a:gd name="connsiteX7" fmla="*/ 104101 w 146927"/>
                <a:gd name="connsiteY7" fmla="*/ 77373 h 89439"/>
                <a:gd name="connsiteX8" fmla="*/ 131253 w 146927"/>
                <a:gd name="connsiteY8" fmla="*/ 89440 h 89439"/>
                <a:gd name="connsiteX9" fmla="*/ 146336 w 146927"/>
                <a:gd name="connsiteY9" fmla="*/ 71339 h 89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6927" h="89439">
                  <a:moveTo>
                    <a:pt x="146336" y="71339"/>
                  </a:moveTo>
                  <a:cubicBezTo>
                    <a:pt x="137287" y="47205"/>
                    <a:pt x="134269" y="23071"/>
                    <a:pt x="107119" y="14021"/>
                  </a:cubicBezTo>
                  <a:cubicBezTo>
                    <a:pt x="79967" y="4970"/>
                    <a:pt x="34716" y="-4080"/>
                    <a:pt x="4548" y="1954"/>
                  </a:cubicBezTo>
                  <a:cubicBezTo>
                    <a:pt x="-7518" y="4970"/>
                    <a:pt x="7566" y="26088"/>
                    <a:pt x="13598" y="32121"/>
                  </a:cubicBezTo>
                  <a:cubicBezTo>
                    <a:pt x="13598" y="38155"/>
                    <a:pt x="13598" y="44188"/>
                    <a:pt x="19632" y="47205"/>
                  </a:cubicBezTo>
                  <a:cubicBezTo>
                    <a:pt x="28682" y="53238"/>
                    <a:pt x="37734" y="56255"/>
                    <a:pt x="49800" y="59272"/>
                  </a:cubicBezTo>
                  <a:cubicBezTo>
                    <a:pt x="61868" y="62289"/>
                    <a:pt x="73934" y="56255"/>
                    <a:pt x="86001" y="59272"/>
                  </a:cubicBezTo>
                  <a:cubicBezTo>
                    <a:pt x="95051" y="62289"/>
                    <a:pt x="98069" y="71339"/>
                    <a:pt x="104101" y="77373"/>
                  </a:cubicBezTo>
                  <a:cubicBezTo>
                    <a:pt x="113153" y="83406"/>
                    <a:pt x="122203" y="86423"/>
                    <a:pt x="131253" y="89440"/>
                  </a:cubicBezTo>
                  <a:cubicBezTo>
                    <a:pt x="140303" y="89440"/>
                    <a:pt x="149353" y="80389"/>
                    <a:pt x="146336" y="71339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E20AF343-D072-432D-AF7F-1C3E1FCB201E}"/>
                </a:ext>
              </a:extLst>
            </p:cNvPr>
            <p:cNvSpPr/>
            <p:nvPr/>
          </p:nvSpPr>
          <p:spPr>
            <a:xfrm>
              <a:off x="23782925" y="3896846"/>
              <a:ext cx="199105" cy="156117"/>
            </a:xfrm>
            <a:custGeom>
              <a:avLst/>
              <a:gdLst>
                <a:gd name="connsiteX0" fmla="*/ 57317 w 199105"/>
                <a:gd name="connsiteY0" fmla="*/ 156117 h 156117"/>
                <a:gd name="connsiteX1" fmla="*/ 24134 w 199105"/>
                <a:gd name="connsiteY1" fmla="*/ 138017 h 156117"/>
                <a:gd name="connsiteX2" fmla="*/ 0 w 199105"/>
                <a:gd name="connsiteY2" fmla="*/ 62598 h 156117"/>
                <a:gd name="connsiteX3" fmla="*/ 6032 w 199105"/>
                <a:gd name="connsiteY3" fmla="*/ 56564 h 156117"/>
                <a:gd name="connsiteX4" fmla="*/ 6032 w 199105"/>
                <a:gd name="connsiteY4" fmla="*/ 56564 h 156117"/>
                <a:gd name="connsiteX5" fmla="*/ 12066 w 199105"/>
                <a:gd name="connsiteY5" fmla="*/ 62598 h 156117"/>
                <a:gd name="connsiteX6" fmla="*/ 33184 w 199105"/>
                <a:gd name="connsiteY6" fmla="*/ 131983 h 156117"/>
                <a:gd name="connsiteX7" fmla="*/ 78435 w 199105"/>
                <a:gd name="connsiteY7" fmla="*/ 138017 h 156117"/>
                <a:gd name="connsiteX8" fmla="*/ 84469 w 199105"/>
                <a:gd name="connsiteY8" fmla="*/ 138017 h 156117"/>
                <a:gd name="connsiteX9" fmla="*/ 99553 w 199105"/>
                <a:gd name="connsiteY9" fmla="*/ 138017 h 156117"/>
                <a:gd name="connsiteX10" fmla="*/ 111619 w 199105"/>
                <a:gd name="connsiteY10" fmla="*/ 122933 h 156117"/>
                <a:gd name="connsiteX11" fmla="*/ 117653 w 199105"/>
                <a:gd name="connsiteY11" fmla="*/ 119916 h 156117"/>
                <a:gd name="connsiteX12" fmla="*/ 144804 w 199105"/>
                <a:gd name="connsiteY12" fmla="*/ 113883 h 156117"/>
                <a:gd name="connsiteX13" fmla="*/ 150838 w 199105"/>
                <a:gd name="connsiteY13" fmla="*/ 101816 h 156117"/>
                <a:gd name="connsiteX14" fmla="*/ 153854 w 199105"/>
                <a:gd name="connsiteY14" fmla="*/ 98799 h 156117"/>
                <a:gd name="connsiteX15" fmla="*/ 159888 w 199105"/>
                <a:gd name="connsiteY15" fmla="*/ 98799 h 156117"/>
                <a:gd name="connsiteX16" fmla="*/ 174972 w 199105"/>
                <a:gd name="connsiteY16" fmla="*/ 95782 h 156117"/>
                <a:gd name="connsiteX17" fmla="*/ 187038 w 199105"/>
                <a:gd name="connsiteY17" fmla="*/ 74665 h 156117"/>
                <a:gd name="connsiteX18" fmla="*/ 135754 w 199105"/>
                <a:gd name="connsiteY18" fmla="*/ 11313 h 156117"/>
                <a:gd name="connsiteX19" fmla="*/ 135754 w 199105"/>
                <a:gd name="connsiteY19" fmla="*/ 2263 h 156117"/>
                <a:gd name="connsiteX20" fmla="*/ 144804 w 199105"/>
                <a:gd name="connsiteY20" fmla="*/ 2263 h 156117"/>
                <a:gd name="connsiteX21" fmla="*/ 199105 w 199105"/>
                <a:gd name="connsiteY21" fmla="*/ 71648 h 156117"/>
                <a:gd name="connsiteX22" fmla="*/ 184022 w 199105"/>
                <a:gd name="connsiteY22" fmla="*/ 101816 h 156117"/>
                <a:gd name="connsiteX23" fmla="*/ 162904 w 199105"/>
                <a:gd name="connsiteY23" fmla="*/ 107849 h 156117"/>
                <a:gd name="connsiteX24" fmla="*/ 153854 w 199105"/>
                <a:gd name="connsiteY24" fmla="*/ 122933 h 156117"/>
                <a:gd name="connsiteX25" fmla="*/ 123686 w 199105"/>
                <a:gd name="connsiteY25" fmla="*/ 131983 h 156117"/>
                <a:gd name="connsiteX26" fmla="*/ 105587 w 199105"/>
                <a:gd name="connsiteY26" fmla="*/ 150084 h 156117"/>
                <a:gd name="connsiteX27" fmla="*/ 81451 w 199105"/>
                <a:gd name="connsiteY27" fmla="*/ 150084 h 156117"/>
                <a:gd name="connsiteX28" fmla="*/ 57317 w 199105"/>
                <a:gd name="connsiteY28" fmla="*/ 156117 h 156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99105" h="156117">
                  <a:moveTo>
                    <a:pt x="57317" y="156117"/>
                  </a:moveTo>
                  <a:cubicBezTo>
                    <a:pt x="45251" y="156117"/>
                    <a:pt x="33184" y="153101"/>
                    <a:pt x="24134" y="138017"/>
                  </a:cubicBezTo>
                  <a:cubicBezTo>
                    <a:pt x="0" y="107849"/>
                    <a:pt x="0" y="65614"/>
                    <a:pt x="0" y="62598"/>
                  </a:cubicBezTo>
                  <a:cubicBezTo>
                    <a:pt x="0" y="59581"/>
                    <a:pt x="3016" y="56564"/>
                    <a:pt x="6032" y="56564"/>
                  </a:cubicBezTo>
                  <a:cubicBezTo>
                    <a:pt x="6032" y="56564"/>
                    <a:pt x="6032" y="56564"/>
                    <a:pt x="6032" y="56564"/>
                  </a:cubicBezTo>
                  <a:cubicBezTo>
                    <a:pt x="9050" y="56564"/>
                    <a:pt x="12066" y="59581"/>
                    <a:pt x="12066" y="62598"/>
                  </a:cubicBezTo>
                  <a:cubicBezTo>
                    <a:pt x="12066" y="62598"/>
                    <a:pt x="12066" y="104832"/>
                    <a:pt x="33184" y="131983"/>
                  </a:cubicBezTo>
                  <a:cubicBezTo>
                    <a:pt x="51283" y="156117"/>
                    <a:pt x="78435" y="138017"/>
                    <a:pt x="78435" y="138017"/>
                  </a:cubicBezTo>
                  <a:cubicBezTo>
                    <a:pt x="81451" y="138017"/>
                    <a:pt x="81451" y="138017"/>
                    <a:pt x="84469" y="138017"/>
                  </a:cubicBezTo>
                  <a:cubicBezTo>
                    <a:pt x="90503" y="141033"/>
                    <a:pt x="96535" y="141033"/>
                    <a:pt x="99553" y="138017"/>
                  </a:cubicBezTo>
                  <a:cubicBezTo>
                    <a:pt x="108603" y="135000"/>
                    <a:pt x="111619" y="122933"/>
                    <a:pt x="111619" y="122933"/>
                  </a:cubicBezTo>
                  <a:cubicBezTo>
                    <a:pt x="111619" y="119916"/>
                    <a:pt x="114637" y="116900"/>
                    <a:pt x="117653" y="119916"/>
                  </a:cubicBezTo>
                  <a:cubicBezTo>
                    <a:pt x="129720" y="119916"/>
                    <a:pt x="138770" y="119916"/>
                    <a:pt x="144804" y="113883"/>
                  </a:cubicBezTo>
                  <a:cubicBezTo>
                    <a:pt x="150838" y="107849"/>
                    <a:pt x="150838" y="101816"/>
                    <a:pt x="150838" y="101816"/>
                  </a:cubicBezTo>
                  <a:cubicBezTo>
                    <a:pt x="150838" y="98799"/>
                    <a:pt x="150838" y="98799"/>
                    <a:pt x="153854" y="98799"/>
                  </a:cubicBezTo>
                  <a:cubicBezTo>
                    <a:pt x="156870" y="98799"/>
                    <a:pt x="156870" y="98799"/>
                    <a:pt x="159888" y="98799"/>
                  </a:cubicBezTo>
                  <a:cubicBezTo>
                    <a:pt x="162904" y="98799"/>
                    <a:pt x="171954" y="98799"/>
                    <a:pt x="174972" y="95782"/>
                  </a:cubicBezTo>
                  <a:cubicBezTo>
                    <a:pt x="181006" y="89749"/>
                    <a:pt x="187038" y="80698"/>
                    <a:pt x="187038" y="74665"/>
                  </a:cubicBezTo>
                  <a:cubicBezTo>
                    <a:pt x="187038" y="62598"/>
                    <a:pt x="156870" y="32430"/>
                    <a:pt x="135754" y="11313"/>
                  </a:cubicBezTo>
                  <a:cubicBezTo>
                    <a:pt x="132736" y="8296"/>
                    <a:pt x="132736" y="5279"/>
                    <a:pt x="135754" y="2263"/>
                  </a:cubicBezTo>
                  <a:cubicBezTo>
                    <a:pt x="138770" y="-754"/>
                    <a:pt x="141786" y="-754"/>
                    <a:pt x="144804" y="2263"/>
                  </a:cubicBezTo>
                  <a:cubicBezTo>
                    <a:pt x="153854" y="11313"/>
                    <a:pt x="196089" y="53548"/>
                    <a:pt x="199105" y="71648"/>
                  </a:cubicBezTo>
                  <a:cubicBezTo>
                    <a:pt x="199105" y="83715"/>
                    <a:pt x="193072" y="95782"/>
                    <a:pt x="184022" y="101816"/>
                  </a:cubicBezTo>
                  <a:cubicBezTo>
                    <a:pt x="177988" y="107849"/>
                    <a:pt x="168938" y="110866"/>
                    <a:pt x="162904" y="107849"/>
                  </a:cubicBezTo>
                  <a:cubicBezTo>
                    <a:pt x="162904" y="110866"/>
                    <a:pt x="159888" y="116900"/>
                    <a:pt x="153854" y="122933"/>
                  </a:cubicBezTo>
                  <a:cubicBezTo>
                    <a:pt x="147820" y="128967"/>
                    <a:pt x="135754" y="131983"/>
                    <a:pt x="123686" y="131983"/>
                  </a:cubicBezTo>
                  <a:cubicBezTo>
                    <a:pt x="120670" y="138017"/>
                    <a:pt x="114637" y="147067"/>
                    <a:pt x="105587" y="150084"/>
                  </a:cubicBezTo>
                  <a:cubicBezTo>
                    <a:pt x="99553" y="153101"/>
                    <a:pt x="90503" y="153101"/>
                    <a:pt x="81451" y="150084"/>
                  </a:cubicBezTo>
                  <a:cubicBezTo>
                    <a:pt x="75419" y="153101"/>
                    <a:pt x="66367" y="156117"/>
                    <a:pt x="57317" y="156117"/>
                  </a:cubicBezTo>
                  <a:close/>
                </a:path>
              </a:pathLst>
            </a:custGeom>
            <a:solidFill>
              <a:srgbClr val="E58777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C51477F2-EF12-42E2-94A8-1925EF52E0A0}"/>
                </a:ext>
              </a:extLst>
            </p:cNvPr>
            <p:cNvSpPr/>
            <p:nvPr/>
          </p:nvSpPr>
          <p:spPr>
            <a:xfrm>
              <a:off x="23598902" y="2842656"/>
              <a:ext cx="446047" cy="428966"/>
            </a:xfrm>
            <a:custGeom>
              <a:avLst/>
              <a:gdLst>
                <a:gd name="connsiteX0" fmla="*/ 0 w 446047"/>
                <a:gd name="connsiteY0" fmla="*/ 190642 h 428966"/>
                <a:gd name="connsiteX1" fmla="*/ 404247 w 446047"/>
                <a:gd name="connsiteY1" fmla="*/ 9637 h 428966"/>
                <a:gd name="connsiteX2" fmla="*/ 280558 w 446047"/>
                <a:gd name="connsiteY2" fmla="*/ 428966 h 428966"/>
                <a:gd name="connsiteX3" fmla="*/ 0 w 446047"/>
                <a:gd name="connsiteY3" fmla="*/ 190642 h 428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6047" h="428966">
                  <a:moveTo>
                    <a:pt x="0" y="190642"/>
                  </a:moveTo>
                  <a:cubicBezTo>
                    <a:pt x="120670" y="54888"/>
                    <a:pt x="337877" y="-29581"/>
                    <a:pt x="404247" y="9637"/>
                  </a:cubicBezTo>
                  <a:cubicBezTo>
                    <a:pt x="494749" y="60922"/>
                    <a:pt x="431396" y="293212"/>
                    <a:pt x="280558" y="428966"/>
                  </a:cubicBezTo>
                  <a:cubicBezTo>
                    <a:pt x="208157" y="410866"/>
                    <a:pt x="51285" y="278128"/>
                    <a:pt x="0" y="190642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15F9F18F-8C72-4073-9B4B-AC1F89109C8E}"/>
                </a:ext>
              </a:extLst>
            </p:cNvPr>
            <p:cNvSpPr/>
            <p:nvPr/>
          </p:nvSpPr>
          <p:spPr>
            <a:xfrm>
              <a:off x="23744460" y="2853047"/>
              <a:ext cx="308536" cy="424608"/>
            </a:xfrm>
            <a:custGeom>
              <a:avLst/>
              <a:gdLst>
                <a:gd name="connsiteX0" fmla="*/ 135000 w 308536"/>
                <a:gd name="connsiteY0" fmla="*/ 424609 h 424608"/>
                <a:gd name="connsiteX1" fmla="*/ 135000 w 308536"/>
                <a:gd name="connsiteY1" fmla="*/ 424609 h 424608"/>
                <a:gd name="connsiteX2" fmla="*/ 2263 w 308536"/>
                <a:gd name="connsiteY2" fmla="*/ 346173 h 424608"/>
                <a:gd name="connsiteX3" fmla="*/ 2263 w 308536"/>
                <a:gd name="connsiteY3" fmla="*/ 337123 h 424608"/>
                <a:gd name="connsiteX4" fmla="*/ 11313 w 308536"/>
                <a:gd name="connsiteY4" fmla="*/ 337123 h 424608"/>
                <a:gd name="connsiteX5" fmla="*/ 135000 w 308536"/>
                <a:gd name="connsiteY5" fmla="*/ 412542 h 424608"/>
                <a:gd name="connsiteX6" fmla="*/ 285838 w 308536"/>
                <a:gd name="connsiteY6" fmla="*/ 165168 h 424608"/>
                <a:gd name="connsiteX7" fmla="*/ 288856 w 308536"/>
                <a:gd name="connsiteY7" fmla="*/ 156117 h 424608"/>
                <a:gd name="connsiteX8" fmla="*/ 270754 w 308536"/>
                <a:gd name="connsiteY8" fmla="*/ 11313 h 424608"/>
                <a:gd name="connsiteX9" fmla="*/ 270754 w 308536"/>
                <a:gd name="connsiteY9" fmla="*/ 2263 h 424608"/>
                <a:gd name="connsiteX10" fmla="*/ 279806 w 308536"/>
                <a:gd name="connsiteY10" fmla="*/ 2263 h 424608"/>
                <a:gd name="connsiteX11" fmla="*/ 300922 w 308536"/>
                <a:gd name="connsiteY11" fmla="*/ 156117 h 424608"/>
                <a:gd name="connsiteX12" fmla="*/ 297906 w 308536"/>
                <a:gd name="connsiteY12" fmla="*/ 165168 h 424608"/>
                <a:gd name="connsiteX13" fmla="*/ 135000 w 308536"/>
                <a:gd name="connsiteY13" fmla="*/ 424609 h 424608"/>
                <a:gd name="connsiteX14" fmla="*/ 135000 w 308536"/>
                <a:gd name="connsiteY14" fmla="*/ 424609 h 424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8536" h="424608">
                  <a:moveTo>
                    <a:pt x="135000" y="424609"/>
                  </a:moveTo>
                  <a:lnTo>
                    <a:pt x="135000" y="424609"/>
                  </a:lnTo>
                  <a:cubicBezTo>
                    <a:pt x="104832" y="418575"/>
                    <a:pt x="59581" y="397458"/>
                    <a:pt x="2263" y="346173"/>
                  </a:cubicBezTo>
                  <a:cubicBezTo>
                    <a:pt x="-754" y="343156"/>
                    <a:pt x="-754" y="340140"/>
                    <a:pt x="2263" y="337123"/>
                  </a:cubicBezTo>
                  <a:cubicBezTo>
                    <a:pt x="5279" y="334106"/>
                    <a:pt x="8297" y="334106"/>
                    <a:pt x="11313" y="337123"/>
                  </a:cubicBezTo>
                  <a:cubicBezTo>
                    <a:pt x="65615" y="385391"/>
                    <a:pt x="107850" y="403492"/>
                    <a:pt x="135000" y="412542"/>
                  </a:cubicBezTo>
                  <a:cubicBezTo>
                    <a:pt x="162151" y="388408"/>
                    <a:pt x="264722" y="264721"/>
                    <a:pt x="285838" y="165168"/>
                  </a:cubicBezTo>
                  <a:cubicBezTo>
                    <a:pt x="285838" y="162151"/>
                    <a:pt x="285838" y="159134"/>
                    <a:pt x="288856" y="156117"/>
                  </a:cubicBezTo>
                  <a:cubicBezTo>
                    <a:pt x="294889" y="122933"/>
                    <a:pt x="309973" y="56564"/>
                    <a:pt x="270754" y="11313"/>
                  </a:cubicBezTo>
                  <a:cubicBezTo>
                    <a:pt x="267738" y="8296"/>
                    <a:pt x="267738" y="5279"/>
                    <a:pt x="270754" y="2263"/>
                  </a:cubicBezTo>
                  <a:cubicBezTo>
                    <a:pt x="273772" y="-754"/>
                    <a:pt x="276788" y="-754"/>
                    <a:pt x="279806" y="2263"/>
                  </a:cubicBezTo>
                  <a:cubicBezTo>
                    <a:pt x="322039" y="50531"/>
                    <a:pt x="306955" y="122933"/>
                    <a:pt x="300922" y="156117"/>
                  </a:cubicBezTo>
                  <a:cubicBezTo>
                    <a:pt x="300922" y="159134"/>
                    <a:pt x="300922" y="162151"/>
                    <a:pt x="297906" y="165168"/>
                  </a:cubicBezTo>
                  <a:cubicBezTo>
                    <a:pt x="273772" y="273771"/>
                    <a:pt x="165167" y="403492"/>
                    <a:pt x="135000" y="424609"/>
                  </a:cubicBezTo>
                  <a:lnTo>
                    <a:pt x="135000" y="424609"/>
                  </a:ln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4A5EC949-FFD3-4E1F-8AB4-14E4CFC0BD42}"/>
                </a:ext>
              </a:extLst>
            </p:cNvPr>
            <p:cNvSpPr/>
            <p:nvPr/>
          </p:nvSpPr>
          <p:spPr>
            <a:xfrm>
              <a:off x="24115523" y="2656957"/>
              <a:ext cx="212681" cy="77681"/>
            </a:xfrm>
            <a:custGeom>
              <a:avLst/>
              <a:gdLst>
                <a:gd name="connsiteX0" fmla="*/ 138016 w 212681"/>
                <a:gd name="connsiteY0" fmla="*/ 77682 h 77681"/>
                <a:gd name="connsiteX1" fmla="*/ 122932 w 212681"/>
                <a:gd name="connsiteY1" fmla="*/ 77682 h 77681"/>
                <a:gd name="connsiteX2" fmla="*/ 2262 w 212681"/>
                <a:gd name="connsiteY2" fmla="*/ 11313 h 77681"/>
                <a:gd name="connsiteX3" fmla="*/ 2262 w 212681"/>
                <a:gd name="connsiteY3" fmla="*/ 2263 h 77681"/>
                <a:gd name="connsiteX4" fmla="*/ 11312 w 212681"/>
                <a:gd name="connsiteY4" fmla="*/ 2263 h 77681"/>
                <a:gd name="connsiteX5" fmla="*/ 128966 w 212681"/>
                <a:gd name="connsiteY5" fmla="*/ 65614 h 77681"/>
                <a:gd name="connsiteX6" fmla="*/ 201367 w 212681"/>
                <a:gd name="connsiteY6" fmla="*/ 44497 h 77681"/>
                <a:gd name="connsiteX7" fmla="*/ 210419 w 212681"/>
                <a:gd name="connsiteY7" fmla="*/ 44497 h 77681"/>
                <a:gd name="connsiteX8" fmla="*/ 210419 w 212681"/>
                <a:gd name="connsiteY8" fmla="*/ 53548 h 77681"/>
                <a:gd name="connsiteX9" fmla="*/ 138016 w 212681"/>
                <a:gd name="connsiteY9" fmla="*/ 77682 h 77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2681" h="77681">
                  <a:moveTo>
                    <a:pt x="138016" y="77682"/>
                  </a:moveTo>
                  <a:cubicBezTo>
                    <a:pt x="131982" y="77682"/>
                    <a:pt x="128966" y="77682"/>
                    <a:pt x="122932" y="77682"/>
                  </a:cubicBezTo>
                  <a:cubicBezTo>
                    <a:pt x="77681" y="68631"/>
                    <a:pt x="5278" y="14330"/>
                    <a:pt x="2262" y="11313"/>
                  </a:cubicBezTo>
                  <a:cubicBezTo>
                    <a:pt x="-754" y="8296"/>
                    <a:pt x="-754" y="5279"/>
                    <a:pt x="2262" y="2263"/>
                  </a:cubicBezTo>
                  <a:cubicBezTo>
                    <a:pt x="5278" y="-754"/>
                    <a:pt x="8296" y="-754"/>
                    <a:pt x="11312" y="2263"/>
                  </a:cubicBezTo>
                  <a:cubicBezTo>
                    <a:pt x="11312" y="2263"/>
                    <a:pt x="86731" y="59581"/>
                    <a:pt x="128966" y="65614"/>
                  </a:cubicBezTo>
                  <a:cubicBezTo>
                    <a:pt x="168184" y="71648"/>
                    <a:pt x="201367" y="44497"/>
                    <a:pt x="201367" y="44497"/>
                  </a:cubicBezTo>
                  <a:cubicBezTo>
                    <a:pt x="204385" y="41480"/>
                    <a:pt x="207401" y="41480"/>
                    <a:pt x="210419" y="44497"/>
                  </a:cubicBezTo>
                  <a:cubicBezTo>
                    <a:pt x="213435" y="47514"/>
                    <a:pt x="213435" y="50531"/>
                    <a:pt x="210419" y="53548"/>
                  </a:cubicBezTo>
                  <a:cubicBezTo>
                    <a:pt x="201367" y="53548"/>
                    <a:pt x="174218" y="77682"/>
                    <a:pt x="138016" y="77682"/>
                  </a:cubicBezTo>
                  <a:close/>
                </a:path>
              </a:pathLst>
            </a:custGeom>
            <a:solidFill>
              <a:srgbClr val="E58777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759571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892">
            <a:extLst>
              <a:ext uri="{FF2B5EF4-FFF2-40B4-BE49-F238E27FC236}">
                <a16:creationId xmlns:a16="http://schemas.microsoft.com/office/drawing/2014/main" id="{E8BBF5D6-AF26-4578-B725-26EE268297D0}"/>
              </a:ext>
            </a:extLst>
          </p:cNvPr>
          <p:cNvGrpSpPr/>
          <p:nvPr/>
        </p:nvGrpSpPr>
        <p:grpSpPr>
          <a:xfrm>
            <a:off x="2907369" y="1747836"/>
            <a:ext cx="6377262" cy="4959433"/>
            <a:chOff x="18809123" y="1747836"/>
            <a:chExt cx="6377262" cy="4959433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B3111CC8-16B7-4067-8E5C-8A4D55C9BD2B}"/>
                </a:ext>
              </a:extLst>
            </p:cNvPr>
            <p:cNvSpPr/>
            <p:nvPr/>
          </p:nvSpPr>
          <p:spPr>
            <a:xfrm>
              <a:off x="23769512" y="1890253"/>
              <a:ext cx="503677" cy="255347"/>
            </a:xfrm>
            <a:custGeom>
              <a:avLst/>
              <a:gdLst>
                <a:gd name="connsiteX0" fmla="*/ 443626 w 503677"/>
                <a:gd name="connsiteY0" fmla="*/ 246138 h 255347"/>
                <a:gd name="connsiteX1" fmla="*/ 321246 w 503677"/>
                <a:gd name="connsiteY1" fmla="*/ 206365 h 255347"/>
                <a:gd name="connsiteX2" fmla="*/ 0 w 503677"/>
                <a:gd name="connsiteY2" fmla="*/ 194127 h 255347"/>
                <a:gd name="connsiteX3" fmla="*/ 373256 w 503677"/>
                <a:gd name="connsiteY3" fmla="*/ 10557 h 255347"/>
                <a:gd name="connsiteX4" fmla="*/ 492577 w 503677"/>
                <a:gd name="connsiteY4" fmla="*/ 117640 h 255347"/>
                <a:gd name="connsiteX5" fmla="*/ 443626 w 503677"/>
                <a:gd name="connsiteY5" fmla="*/ 246138 h 255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3677" h="255347">
                  <a:moveTo>
                    <a:pt x="443626" y="246138"/>
                  </a:moveTo>
                  <a:cubicBezTo>
                    <a:pt x="443626" y="246138"/>
                    <a:pt x="348781" y="206365"/>
                    <a:pt x="321246" y="206365"/>
                  </a:cubicBezTo>
                  <a:cubicBezTo>
                    <a:pt x="220282" y="209424"/>
                    <a:pt x="91785" y="322625"/>
                    <a:pt x="0" y="194127"/>
                  </a:cubicBezTo>
                  <a:cubicBezTo>
                    <a:pt x="45892" y="93164"/>
                    <a:pt x="208045" y="-38394"/>
                    <a:pt x="373256" y="10557"/>
                  </a:cubicBezTo>
                  <a:cubicBezTo>
                    <a:pt x="452804" y="31974"/>
                    <a:pt x="486458" y="80926"/>
                    <a:pt x="492577" y="117640"/>
                  </a:cubicBezTo>
                  <a:cubicBezTo>
                    <a:pt x="492577" y="120699"/>
                    <a:pt x="538470" y="233900"/>
                    <a:pt x="443626" y="246138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96E418BA-0AEE-4922-BEA6-9C8A47C21929}"/>
                </a:ext>
              </a:extLst>
            </p:cNvPr>
            <p:cNvSpPr/>
            <p:nvPr/>
          </p:nvSpPr>
          <p:spPr>
            <a:xfrm>
              <a:off x="23899709" y="2069607"/>
              <a:ext cx="195374" cy="36189"/>
            </a:xfrm>
            <a:custGeom>
              <a:avLst/>
              <a:gdLst>
                <a:gd name="connsiteX0" fmla="*/ 191049 w 195374"/>
                <a:gd name="connsiteY0" fmla="*/ 36189 h 36189"/>
                <a:gd name="connsiteX1" fmla="*/ 191049 w 195374"/>
                <a:gd name="connsiteY1" fmla="*/ 36189 h 36189"/>
                <a:gd name="connsiteX2" fmla="*/ 10538 w 195374"/>
                <a:gd name="connsiteY2" fmla="*/ 30070 h 36189"/>
                <a:gd name="connsiteX3" fmla="*/ 1360 w 195374"/>
                <a:gd name="connsiteY3" fmla="*/ 30070 h 36189"/>
                <a:gd name="connsiteX4" fmla="*/ 1360 w 195374"/>
                <a:gd name="connsiteY4" fmla="*/ 20892 h 36189"/>
                <a:gd name="connsiteX5" fmla="*/ 191049 w 195374"/>
                <a:gd name="connsiteY5" fmla="*/ 27011 h 36189"/>
                <a:gd name="connsiteX6" fmla="*/ 194108 w 195374"/>
                <a:gd name="connsiteY6" fmla="*/ 36189 h 36189"/>
                <a:gd name="connsiteX7" fmla="*/ 191049 w 195374"/>
                <a:gd name="connsiteY7" fmla="*/ 36189 h 36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374" h="36189">
                  <a:moveTo>
                    <a:pt x="191049" y="36189"/>
                  </a:moveTo>
                  <a:cubicBezTo>
                    <a:pt x="191049" y="36189"/>
                    <a:pt x="191049" y="36189"/>
                    <a:pt x="191049" y="36189"/>
                  </a:cubicBezTo>
                  <a:cubicBezTo>
                    <a:pt x="187988" y="36189"/>
                    <a:pt x="74787" y="-15822"/>
                    <a:pt x="10538" y="30070"/>
                  </a:cubicBezTo>
                  <a:cubicBezTo>
                    <a:pt x="7480" y="33130"/>
                    <a:pt x="4419" y="30070"/>
                    <a:pt x="1360" y="30070"/>
                  </a:cubicBezTo>
                  <a:cubicBezTo>
                    <a:pt x="-1700" y="27011"/>
                    <a:pt x="1360" y="23951"/>
                    <a:pt x="1360" y="20892"/>
                  </a:cubicBezTo>
                  <a:cubicBezTo>
                    <a:pt x="74787" y="-28060"/>
                    <a:pt x="187988" y="23951"/>
                    <a:pt x="191049" y="27011"/>
                  </a:cubicBezTo>
                  <a:cubicBezTo>
                    <a:pt x="194108" y="27011"/>
                    <a:pt x="194108" y="33130"/>
                    <a:pt x="194108" y="36189"/>
                  </a:cubicBezTo>
                  <a:cubicBezTo>
                    <a:pt x="197167" y="33130"/>
                    <a:pt x="194108" y="36189"/>
                    <a:pt x="191049" y="36189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" name="图形 892">
              <a:extLst>
                <a:ext uri="{FF2B5EF4-FFF2-40B4-BE49-F238E27FC236}">
                  <a16:creationId xmlns:a16="http://schemas.microsoft.com/office/drawing/2014/main" id="{35C7BE67-A3B1-44DE-BDA1-89C44A64CA81}"/>
                </a:ext>
              </a:extLst>
            </p:cNvPr>
            <p:cNvGrpSpPr/>
            <p:nvPr/>
          </p:nvGrpSpPr>
          <p:grpSpPr>
            <a:xfrm>
              <a:off x="18809123" y="1747836"/>
              <a:ext cx="6377262" cy="4959433"/>
              <a:chOff x="18809123" y="1747836"/>
              <a:chExt cx="6377262" cy="4959433"/>
            </a:xfrm>
          </p:grpSpPr>
          <p:grpSp>
            <p:nvGrpSpPr>
              <p:cNvPr id="6" name="图形 892">
                <a:extLst>
                  <a:ext uri="{FF2B5EF4-FFF2-40B4-BE49-F238E27FC236}">
                    <a16:creationId xmlns:a16="http://schemas.microsoft.com/office/drawing/2014/main" id="{0213EA27-4910-4AB3-B9EA-175BEDFB459F}"/>
                  </a:ext>
                </a:extLst>
              </p:cNvPr>
              <p:cNvGrpSpPr/>
              <p:nvPr/>
            </p:nvGrpSpPr>
            <p:grpSpPr>
              <a:xfrm>
                <a:off x="21539143" y="1747836"/>
                <a:ext cx="1107535" cy="1107535"/>
                <a:chOff x="21539143" y="1747836"/>
                <a:chExt cx="1107535" cy="1107535"/>
              </a:xfrm>
            </p:grpSpPr>
            <p:sp>
              <p:nvSpPr>
                <p:cNvPr id="132" name="任意多边形: 形状 131">
                  <a:extLst>
                    <a:ext uri="{FF2B5EF4-FFF2-40B4-BE49-F238E27FC236}">
                      <a16:creationId xmlns:a16="http://schemas.microsoft.com/office/drawing/2014/main" id="{5865A671-54FD-4DBC-821E-3FAC7E5AC48D}"/>
                    </a:ext>
                  </a:extLst>
                </p:cNvPr>
                <p:cNvSpPr/>
                <p:nvPr/>
              </p:nvSpPr>
              <p:spPr>
                <a:xfrm>
                  <a:off x="21539143" y="1747836"/>
                  <a:ext cx="1107535" cy="1107535"/>
                </a:xfrm>
                <a:custGeom>
                  <a:avLst/>
                  <a:gdLst>
                    <a:gd name="connsiteX0" fmla="*/ 1107536 w 1107535"/>
                    <a:gd name="connsiteY0" fmla="*/ 553768 h 1107535"/>
                    <a:gd name="connsiteX1" fmla="*/ 553767 w 1107535"/>
                    <a:gd name="connsiteY1" fmla="*/ 1107535 h 1107535"/>
                    <a:gd name="connsiteX2" fmla="*/ 0 w 1107535"/>
                    <a:gd name="connsiteY2" fmla="*/ 553768 h 1107535"/>
                    <a:gd name="connsiteX3" fmla="*/ 553767 w 1107535"/>
                    <a:gd name="connsiteY3" fmla="*/ 0 h 1107535"/>
                    <a:gd name="connsiteX4" fmla="*/ 1107536 w 1107535"/>
                    <a:gd name="connsiteY4" fmla="*/ 553768 h 11075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7535" h="1107535">
                      <a:moveTo>
                        <a:pt x="1107536" y="553768"/>
                      </a:moveTo>
                      <a:cubicBezTo>
                        <a:pt x="1107536" y="859717"/>
                        <a:pt x="859716" y="1107535"/>
                        <a:pt x="553767" y="1107535"/>
                      </a:cubicBezTo>
                      <a:cubicBezTo>
                        <a:pt x="247818" y="1107535"/>
                        <a:pt x="0" y="859717"/>
                        <a:pt x="0" y="553768"/>
                      </a:cubicBezTo>
                      <a:cubicBezTo>
                        <a:pt x="0" y="247819"/>
                        <a:pt x="247818" y="0"/>
                        <a:pt x="553767" y="0"/>
                      </a:cubicBezTo>
                      <a:cubicBezTo>
                        <a:pt x="859716" y="0"/>
                        <a:pt x="1107536" y="247819"/>
                        <a:pt x="1107536" y="553768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3" name="任意多边形: 形状 132">
                  <a:extLst>
                    <a:ext uri="{FF2B5EF4-FFF2-40B4-BE49-F238E27FC236}">
                      <a16:creationId xmlns:a16="http://schemas.microsoft.com/office/drawing/2014/main" id="{A78FE7CF-D8AF-4D67-A11F-CF13E17258DE}"/>
                    </a:ext>
                  </a:extLst>
                </p:cNvPr>
                <p:cNvSpPr/>
                <p:nvPr/>
              </p:nvSpPr>
              <p:spPr>
                <a:xfrm>
                  <a:off x="21609510" y="1821263"/>
                  <a:ext cx="960680" cy="960679"/>
                </a:xfrm>
                <a:custGeom>
                  <a:avLst/>
                  <a:gdLst>
                    <a:gd name="connsiteX0" fmla="*/ 960681 w 960680"/>
                    <a:gd name="connsiteY0" fmla="*/ 480340 h 960679"/>
                    <a:gd name="connsiteX1" fmla="*/ 480340 w 960680"/>
                    <a:gd name="connsiteY1" fmla="*/ 960680 h 960679"/>
                    <a:gd name="connsiteX2" fmla="*/ 0 w 960680"/>
                    <a:gd name="connsiteY2" fmla="*/ 480340 h 960679"/>
                    <a:gd name="connsiteX3" fmla="*/ 480340 w 960680"/>
                    <a:gd name="connsiteY3" fmla="*/ 0 h 960679"/>
                    <a:gd name="connsiteX4" fmla="*/ 960681 w 960680"/>
                    <a:gd name="connsiteY4" fmla="*/ 480340 h 960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60680" h="960679">
                      <a:moveTo>
                        <a:pt x="960681" y="480340"/>
                      </a:moveTo>
                      <a:cubicBezTo>
                        <a:pt x="960681" y="746516"/>
                        <a:pt x="746516" y="960680"/>
                        <a:pt x="480340" y="960680"/>
                      </a:cubicBezTo>
                      <a:cubicBezTo>
                        <a:pt x="214164" y="960680"/>
                        <a:pt x="0" y="746516"/>
                        <a:pt x="0" y="480340"/>
                      </a:cubicBezTo>
                      <a:cubicBezTo>
                        <a:pt x="0" y="214164"/>
                        <a:pt x="214164" y="0"/>
                        <a:pt x="480340" y="0"/>
                      </a:cubicBezTo>
                      <a:cubicBezTo>
                        <a:pt x="746516" y="3059"/>
                        <a:pt x="960681" y="217224"/>
                        <a:pt x="960681" y="480340"/>
                      </a:cubicBezTo>
                      <a:close/>
                    </a:path>
                  </a:pathLst>
                </a:custGeom>
                <a:solidFill>
                  <a:srgbClr val="FEFEFE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4" name="任意多边形: 形状 133">
                  <a:extLst>
                    <a:ext uri="{FF2B5EF4-FFF2-40B4-BE49-F238E27FC236}">
                      <a16:creationId xmlns:a16="http://schemas.microsoft.com/office/drawing/2014/main" id="{27CB438F-AFAE-4532-AEDA-1C74D575C0D2}"/>
                    </a:ext>
                  </a:extLst>
                </p:cNvPr>
                <p:cNvSpPr/>
                <p:nvPr/>
              </p:nvSpPr>
              <p:spPr>
                <a:xfrm>
                  <a:off x="22080673" y="1876334"/>
                  <a:ext cx="24475" cy="128498"/>
                </a:xfrm>
                <a:custGeom>
                  <a:avLst/>
                  <a:gdLst>
                    <a:gd name="connsiteX0" fmla="*/ 12237 w 24475"/>
                    <a:gd name="connsiteY0" fmla="*/ 128499 h 128498"/>
                    <a:gd name="connsiteX1" fmla="*/ 0 w 24475"/>
                    <a:gd name="connsiteY1" fmla="*/ 116261 h 128498"/>
                    <a:gd name="connsiteX2" fmla="*/ 0 w 24475"/>
                    <a:gd name="connsiteY2" fmla="*/ 12238 h 128498"/>
                    <a:gd name="connsiteX3" fmla="*/ 12237 w 24475"/>
                    <a:gd name="connsiteY3" fmla="*/ 0 h 128498"/>
                    <a:gd name="connsiteX4" fmla="*/ 24476 w 24475"/>
                    <a:gd name="connsiteY4" fmla="*/ 12238 h 128498"/>
                    <a:gd name="connsiteX5" fmla="*/ 24476 w 24475"/>
                    <a:gd name="connsiteY5" fmla="*/ 116261 h 128498"/>
                    <a:gd name="connsiteX6" fmla="*/ 12237 w 24475"/>
                    <a:gd name="connsiteY6" fmla="*/ 128499 h 128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4475" h="128498">
                      <a:moveTo>
                        <a:pt x="12237" y="128499"/>
                      </a:moveTo>
                      <a:cubicBezTo>
                        <a:pt x="6119" y="128499"/>
                        <a:pt x="0" y="122380"/>
                        <a:pt x="0" y="116261"/>
                      </a:cubicBezTo>
                      <a:lnTo>
                        <a:pt x="0" y="12238"/>
                      </a:lnTo>
                      <a:cubicBezTo>
                        <a:pt x="0" y="6119"/>
                        <a:pt x="6119" y="0"/>
                        <a:pt x="12237" y="0"/>
                      </a:cubicBezTo>
                      <a:cubicBezTo>
                        <a:pt x="18356" y="0"/>
                        <a:pt x="24476" y="6119"/>
                        <a:pt x="24476" y="12238"/>
                      </a:cubicBezTo>
                      <a:lnTo>
                        <a:pt x="24476" y="116261"/>
                      </a:lnTo>
                      <a:cubicBezTo>
                        <a:pt x="21417" y="122380"/>
                        <a:pt x="18356" y="128499"/>
                        <a:pt x="12237" y="128499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C0514855-53A0-482D-BB26-E2C7D9DC33A3}"/>
                    </a:ext>
                  </a:extLst>
                </p:cNvPr>
                <p:cNvSpPr/>
                <p:nvPr/>
              </p:nvSpPr>
              <p:spPr>
                <a:xfrm>
                  <a:off x="22080673" y="2607552"/>
                  <a:ext cx="24475" cy="125439"/>
                </a:xfrm>
                <a:custGeom>
                  <a:avLst/>
                  <a:gdLst>
                    <a:gd name="connsiteX0" fmla="*/ 12237 w 24475"/>
                    <a:gd name="connsiteY0" fmla="*/ 125439 h 125439"/>
                    <a:gd name="connsiteX1" fmla="*/ 0 w 24475"/>
                    <a:gd name="connsiteY1" fmla="*/ 113201 h 125439"/>
                    <a:gd name="connsiteX2" fmla="*/ 0 w 24475"/>
                    <a:gd name="connsiteY2" fmla="*/ 12238 h 125439"/>
                    <a:gd name="connsiteX3" fmla="*/ 12237 w 24475"/>
                    <a:gd name="connsiteY3" fmla="*/ 0 h 125439"/>
                    <a:gd name="connsiteX4" fmla="*/ 24476 w 24475"/>
                    <a:gd name="connsiteY4" fmla="*/ 12238 h 125439"/>
                    <a:gd name="connsiteX5" fmla="*/ 24476 w 24475"/>
                    <a:gd name="connsiteY5" fmla="*/ 113201 h 125439"/>
                    <a:gd name="connsiteX6" fmla="*/ 12237 w 24475"/>
                    <a:gd name="connsiteY6" fmla="*/ 125439 h 1254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4475" h="125439">
                      <a:moveTo>
                        <a:pt x="12237" y="125439"/>
                      </a:moveTo>
                      <a:cubicBezTo>
                        <a:pt x="6119" y="125439"/>
                        <a:pt x="0" y="119320"/>
                        <a:pt x="0" y="113201"/>
                      </a:cubicBezTo>
                      <a:lnTo>
                        <a:pt x="0" y="12238"/>
                      </a:lnTo>
                      <a:cubicBezTo>
                        <a:pt x="0" y="6119"/>
                        <a:pt x="6119" y="0"/>
                        <a:pt x="12237" y="0"/>
                      </a:cubicBezTo>
                      <a:cubicBezTo>
                        <a:pt x="18356" y="0"/>
                        <a:pt x="24476" y="6119"/>
                        <a:pt x="24476" y="12238"/>
                      </a:cubicBezTo>
                      <a:lnTo>
                        <a:pt x="24476" y="113201"/>
                      </a:lnTo>
                      <a:cubicBezTo>
                        <a:pt x="21417" y="119320"/>
                        <a:pt x="18356" y="125439"/>
                        <a:pt x="12237" y="125439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B26B0BE8-AC8C-4A71-B6A3-D81866CEED28}"/>
                    </a:ext>
                  </a:extLst>
                </p:cNvPr>
                <p:cNvSpPr/>
                <p:nvPr/>
              </p:nvSpPr>
              <p:spPr>
                <a:xfrm>
                  <a:off x="22392741" y="2292425"/>
                  <a:ext cx="125438" cy="24475"/>
                </a:xfrm>
                <a:custGeom>
                  <a:avLst/>
                  <a:gdLst>
                    <a:gd name="connsiteX0" fmla="*/ 113200 w 125438"/>
                    <a:gd name="connsiteY0" fmla="*/ 24476 h 24475"/>
                    <a:gd name="connsiteX1" fmla="*/ 12237 w 125438"/>
                    <a:gd name="connsiteY1" fmla="*/ 24476 h 24475"/>
                    <a:gd name="connsiteX2" fmla="*/ 0 w 125438"/>
                    <a:gd name="connsiteY2" fmla="*/ 12238 h 24475"/>
                    <a:gd name="connsiteX3" fmla="*/ 12237 w 125438"/>
                    <a:gd name="connsiteY3" fmla="*/ 0 h 24475"/>
                    <a:gd name="connsiteX4" fmla="*/ 113200 w 125438"/>
                    <a:gd name="connsiteY4" fmla="*/ 0 h 24475"/>
                    <a:gd name="connsiteX5" fmla="*/ 125438 w 125438"/>
                    <a:gd name="connsiteY5" fmla="*/ 12238 h 24475"/>
                    <a:gd name="connsiteX6" fmla="*/ 113200 w 125438"/>
                    <a:gd name="connsiteY6" fmla="*/ 24476 h 24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5438" h="24475">
                      <a:moveTo>
                        <a:pt x="113200" y="24476"/>
                      </a:moveTo>
                      <a:lnTo>
                        <a:pt x="12237" y="24476"/>
                      </a:lnTo>
                      <a:cubicBezTo>
                        <a:pt x="6117" y="24476"/>
                        <a:pt x="0" y="18357"/>
                        <a:pt x="0" y="12238"/>
                      </a:cubicBezTo>
                      <a:cubicBezTo>
                        <a:pt x="0" y="6119"/>
                        <a:pt x="6117" y="0"/>
                        <a:pt x="12237" y="0"/>
                      </a:cubicBezTo>
                      <a:lnTo>
                        <a:pt x="113200" y="0"/>
                      </a:lnTo>
                      <a:cubicBezTo>
                        <a:pt x="119319" y="0"/>
                        <a:pt x="125438" y="6119"/>
                        <a:pt x="125438" y="12238"/>
                      </a:cubicBezTo>
                      <a:cubicBezTo>
                        <a:pt x="125438" y="18357"/>
                        <a:pt x="119319" y="24476"/>
                        <a:pt x="113200" y="24476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7" name="任意多边形: 形状 136">
                  <a:extLst>
                    <a:ext uri="{FF2B5EF4-FFF2-40B4-BE49-F238E27FC236}">
                      <a16:creationId xmlns:a16="http://schemas.microsoft.com/office/drawing/2014/main" id="{E66084BC-346A-404C-8498-39FAB3ED1718}"/>
                    </a:ext>
                  </a:extLst>
                </p:cNvPr>
                <p:cNvSpPr/>
                <p:nvPr/>
              </p:nvSpPr>
              <p:spPr>
                <a:xfrm>
                  <a:off x="21664581" y="2292425"/>
                  <a:ext cx="125440" cy="24475"/>
                </a:xfrm>
                <a:custGeom>
                  <a:avLst/>
                  <a:gdLst>
                    <a:gd name="connsiteX0" fmla="*/ 113202 w 125440"/>
                    <a:gd name="connsiteY0" fmla="*/ 24476 h 24475"/>
                    <a:gd name="connsiteX1" fmla="*/ 12239 w 125440"/>
                    <a:gd name="connsiteY1" fmla="*/ 24476 h 24475"/>
                    <a:gd name="connsiteX2" fmla="*/ 0 w 125440"/>
                    <a:gd name="connsiteY2" fmla="*/ 12238 h 24475"/>
                    <a:gd name="connsiteX3" fmla="*/ 12239 w 125440"/>
                    <a:gd name="connsiteY3" fmla="*/ 0 h 24475"/>
                    <a:gd name="connsiteX4" fmla="*/ 113202 w 125440"/>
                    <a:gd name="connsiteY4" fmla="*/ 0 h 24475"/>
                    <a:gd name="connsiteX5" fmla="*/ 125440 w 125440"/>
                    <a:gd name="connsiteY5" fmla="*/ 12238 h 24475"/>
                    <a:gd name="connsiteX6" fmla="*/ 113202 w 125440"/>
                    <a:gd name="connsiteY6" fmla="*/ 24476 h 24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5440" h="24475">
                      <a:moveTo>
                        <a:pt x="113202" y="24476"/>
                      </a:moveTo>
                      <a:lnTo>
                        <a:pt x="12239" y="24476"/>
                      </a:lnTo>
                      <a:cubicBezTo>
                        <a:pt x="6119" y="24476"/>
                        <a:pt x="0" y="18357"/>
                        <a:pt x="0" y="12238"/>
                      </a:cubicBezTo>
                      <a:cubicBezTo>
                        <a:pt x="0" y="6119"/>
                        <a:pt x="6119" y="0"/>
                        <a:pt x="12239" y="0"/>
                      </a:cubicBezTo>
                      <a:lnTo>
                        <a:pt x="113202" y="0"/>
                      </a:lnTo>
                      <a:cubicBezTo>
                        <a:pt x="119321" y="0"/>
                        <a:pt x="125440" y="6119"/>
                        <a:pt x="125440" y="12238"/>
                      </a:cubicBezTo>
                      <a:cubicBezTo>
                        <a:pt x="125440" y="18357"/>
                        <a:pt x="119321" y="24476"/>
                        <a:pt x="113202" y="24476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4855AB2F-EFAD-45FD-B57A-9034D89C0766}"/>
                    </a:ext>
                  </a:extLst>
                </p:cNvPr>
                <p:cNvSpPr/>
                <p:nvPr/>
              </p:nvSpPr>
              <p:spPr>
                <a:xfrm>
                  <a:off x="22074553" y="2283246"/>
                  <a:ext cx="36714" cy="36713"/>
                </a:xfrm>
                <a:custGeom>
                  <a:avLst/>
                  <a:gdLst>
                    <a:gd name="connsiteX0" fmla="*/ 36714 w 36714"/>
                    <a:gd name="connsiteY0" fmla="*/ 18357 h 36713"/>
                    <a:gd name="connsiteX1" fmla="*/ 18356 w 36714"/>
                    <a:gd name="connsiteY1" fmla="*/ 0 h 36713"/>
                    <a:gd name="connsiteX2" fmla="*/ 0 w 36714"/>
                    <a:gd name="connsiteY2" fmla="*/ 18357 h 36713"/>
                    <a:gd name="connsiteX3" fmla="*/ 18356 w 36714"/>
                    <a:gd name="connsiteY3" fmla="*/ 36714 h 36713"/>
                    <a:gd name="connsiteX4" fmla="*/ 36714 w 36714"/>
                    <a:gd name="connsiteY4" fmla="*/ 18357 h 367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714" h="36713">
                      <a:moveTo>
                        <a:pt x="36714" y="18357"/>
                      </a:moveTo>
                      <a:cubicBezTo>
                        <a:pt x="36714" y="9178"/>
                        <a:pt x="27536" y="0"/>
                        <a:pt x="18356" y="0"/>
                      </a:cubicBezTo>
                      <a:cubicBezTo>
                        <a:pt x="9178" y="0"/>
                        <a:pt x="0" y="9178"/>
                        <a:pt x="0" y="18357"/>
                      </a:cubicBezTo>
                      <a:cubicBezTo>
                        <a:pt x="0" y="27535"/>
                        <a:pt x="9178" y="36714"/>
                        <a:pt x="18356" y="36714"/>
                      </a:cubicBezTo>
                      <a:cubicBezTo>
                        <a:pt x="27536" y="36714"/>
                        <a:pt x="36714" y="30595"/>
                        <a:pt x="36714" y="18357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3E2369FC-C597-4128-AAC0-F6FDD8B91982}"/>
                    </a:ext>
                  </a:extLst>
                </p:cNvPr>
                <p:cNvSpPr/>
                <p:nvPr/>
              </p:nvSpPr>
              <p:spPr>
                <a:xfrm>
                  <a:off x="22080673" y="2043339"/>
                  <a:ext cx="152209" cy="380644"/>
                </a:xfrm>
                <a:custGeom>
                  <a:avLst/>
                  <a:gdLst>
                    <a:gd name="connsiteX0" fmla="*/ 146855 w 152209"/>
                    <a:gd name="connsiteY0" fmla="*/ 380644 h 380644"/>
                    <a:gd name="connsiteX1" fmla="*/ 140736 w 152209"/>
                    <a:gd name="connsiteY1" fmla="*/ 377585 h 380644"/>
                    <a:gd name="connsiteX2" fmla="*/ 0 w 152209"/>
                    <a:gd name="connsiteY2" fmla="*/ 261324 h 380644"/>
                    <a:gd name="connsiteX3" fmla="*/ 137677 w 152209"/>
                    <a:gd name="connsiteY3" fmla="*/ 4327 h 380644"/>
                    <a:gd name="connsiteX4" fmla="*/ 146855 w 152209"/>
                    <a:gd name="connsiteY4" fmla="*/ 1267 h 380644"/>
                    <a:gd name="connsiteX5" fmla="*/ 149914 w 152209"/>
                    <a:gd name="connsiteY5" fmla="*/ 10446 h 380644"/>
                    <a:gd name="connsiteX6" fmla="*/ 18356 w 152209"/>
                    <a:gd name="connsiteY6" fmla="*/ 258264 h 380644"/>
                    <a:gd name="connsiteX7" fmla="*/ 149914 w 152209"/>
                    <a:gd name="connsiteY7" fmla="*/ 368406 h 380644"/>
                    <a:gd name="connsiteX8" fmla="*/ 149914 w 152209"/>
                    <a:gd name="connsiteY8" fmla="*/ 380644 h 380644"/>
                    <a:gd name="connsiteX9" fmla="*/ 146855 w 152209"/>
                    <a:gd name="connsiteY9" fmla="*/ 380644 h 3806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2209" h="380644">
                      <a:moveTo>
                        <a:pt x="146855" y="380644"/>
                      </a:moveTo>
                      <a:cubicBezTo>
                        <a:pt x="143796" y="380644"/>
                        <a:pt x="143796" y="380644"/>
                        <a:pt x="140736" y="377585"/>
                      </a:cubicBezTo>
                      <a:lnTo>
                        <a:pt x="0" y="261324"/>
                      </a:lnTo>
                      <a:lnTo>
                        <a:pt x="137677" y="4327"/>
                      </a:lnTo>
                      <a:cubicBezTo>
                        <a:pt x="140736" y="1267"/>
                        <a:pt x="143796" y="-1792"/>
                        <a:pt x="146855" y="1267"/>
                      </a:cubicBezTo>
                      <a:cubicBezTo>
                        <a:pt x="149914" y="4327"/>
                        <a:pt x="152975" y="7386"/>
                        <a:pt x="149914" y="10446"/>
                      </a:cubicBezTo>
                      <a:lnTo>
                        <a:pt x="18356" y="258264"/>
                      </a:lnTo>
                      <a:lnTo>
                        <a:pt x="149914" y="368406"/>
                      </a:lnTo>
                      <a:cubicBezTo>
                        <a:pt x="152975" y="371466"/>
                        <a:pt x="152975" y="374525"/>
                        <a:pt x="149914" y="380644"/>
                      </a:cubicBezTo>
                      <a:cubicBezTo>
                        <a:pt x="149914" y="377585"/>
                        <a:pt x="149914" y="380644"/>
                        <a:pt x="146855" y="380644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" name="任意多边形: 形状 6">
                <a:extLst>
                  <a:ext uri="{FF2B5EF4-FFF2-40B4-BE49-F238E27FC236}">
                    <a16:creationId xmlns:a16="http://schemas.microsoft.com/office/drawing/2014/main" id="{BE7DC91D-0A71-4D16-9773-192C1DFBA35D}"/>
                  </a:ext>
                </a:extLst>
              </p:cNvPr>
              <p:cNvSpPr/>
              <p:nvPr/>
            </p:nvSpPr>
            <p:spPr>
              <a:xfrm>
                <a:off x="22622203" y="3149082"/>
                <a:ext cx="220281" cy="229461"/>
              </a:xfrm>
              <a:custGeom>
                <a:avLst/>
                <a:gdLst>
                  <a:gd name="connsiteX0" fmla="*/ 122380 w 220281"/>
                  <a:gd name="connsiteY0" fmla="*/ 0 h 229461"/>
                  <a:gd name="connsiteX1" fmla="*/ 220282 w 220281"/>
                  <a:gd name="connsiteY1" fmla="*/ 107082 h 229461"/>
                  <a:gd name="connsiteX2" fmla="*/ 125438 w 220281"/>
                  <a:gd name="connsiteY2" fmla="*/ 229462 h 229461"/>
                  <a:gd name="connsiteX3" fmla="*/ 0 w 220281"/>
                  <a:gd name="connsiteY3" fmla="*/ 104023 h 229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0281" h="229461">
                    <a:moveTo>
                      <a:pt x="122380" y="0"/>
                    </a:moveTo>
                    <a:lnTo>
                      <a:pt x="220282" y="107082"/>
                    </a:lnTo>
                    <a:lnTo>
                      <a:pt x="125438" y="229462"/>
                    </a:lnTo>
                    <a:lnTo>
                      <a:pt x="0" y="104023"/>
                    </a:ln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" name="图形 892">
                <a:extLst>
                  <a:ext uri="{FF2B5EF4-FFF2-40B4-BE49-F238E27FC236}">
                    <a16:creationId xmlns:a16="http://schemas.microsoft.com/office/drawing/2014/main" id="{0BAA671C-D12B-4659-936B-7623DAF7E8C3}"/>
                  </a:ext>
                </a:extLst>
              </p:cNvPr>
              <p:cNvGrpSpPr/>
              <p:nvPr/>
            </p:nvGrpSpPr>
            <p:grpSpPr>
              <a:xfrm>
                <a:off x="22449651" y="2930898"/>
                <a:ext cx="309420" cy="356207"/>
                <a:chOff x="22449651" y="2930898"/>
                <a:chExt cx="309420" cy="356207"/>
              </a:xfrm>
            </p:grpSpPr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4868C65C-4196-401A-A864-58B3DB0FC103}"/>
                    </a:ext>
                  </a:extLst>
                </p:cNvPr>
                <p:cNvSpPr/>
                <p:nvPr/>
              </p:nvSpPr>
              <p:spPr>
                <a:xfrm>
                  <a:off x="22449651" y="2938632"/>
                  <a:ext cx="309420" cy="348474"/>
                </a:xfrm>
                <a:custGeom>
                  <a:avLst/>
                  <a:gdLst>
                    <a:gd name="connsiteX0" fmla="*/ 19578 w 309420"/>
                    <a:gd name="connsiteY0" fmla="*/ 256342 h 348474"/>
                    <a:gd name="connsiteX1" fmla="*/ 200086 w 309420"/>
                    <a:gd name="connsiteY1" fmla="*/ 348127 h 348474"/>
                    <a:gd name="connsiteX2" fmla="*/ 301049 w 309420"/>
                    <a:gd name="connsiteY2" fmla="*/ 296116 h 348474"/>
                    <a:gd name="connsiteX3" fmla="*/ 297991 w 309420"/>
                    <a:gd name="connsiteY3" fmla="*/ 289997 h 348474"/>
                    <a:gd name="connsiteX4" fmla="*/ 297991 w 309420"/>
                    <a:gd name="connsiteY4" fmla="*/ 286937 h 348474"/>
                    <a:gd name="connsiteX5" fmla="*/ 230681 w 309420"/>
                    <a:gd name="connsiteY5" fmla="*/ 57475 h 348474"/>
                    <a:gd name="connsiteX6" fmla="*/ 209265 w 309420"/>
                    <a:gd name="connsiteY6" fmla="*/ 75832 h 348474"/>
                    <a:gd name="connsiteX7" fmla="*/ 224562 w 309420"/>
                    <a:gd name="connsiteY7" fmla="*/ 179855 h 348474"/>
                    <a:gd name="connsiteX8" fmla="*/ 47112 w 309420"/>
                    <a:gd name="connsiteY8" fmla="*/ 8524 h 348474"/>
                    <a:gd name="connsiteX9" fmla="*/ 7339 w 309420"/>
                    <a:gd name="connsiteY9" fmla="*/ 14643 h 348474"/>
                    <a:gd name="connsiteX10" fmla="*/ 56290 w 309420"/>
                    <a:gd name="connsiteY10" fmla="*/ 72773 h 348474"/>
                    <a:gd name="connsiteX11" fmla="*/ 102182 w 309420"/>
                    <a:gd name="connsiteY11" fmla="*/ 127844 h 348474"/>
                    <a:gd name="connsiteX12" fmla="*/ 65470 w 309420"/>
                    <a:gd name="connsiteY12" fmla="*/ 106427 h 348474"/>
                    <a:gd name="connsiteX13" fmla="*/ 34875 w 309420"/>
                    <a:gd name="connsiteY13" fmla="*/ 140082 h 348474"/>
                    <a:gd name="connsiteX14" fmla="*/ 10398 w 309420"/>
                    <a:gd name="connsiteY14" fmla="*/ 192093 h 348474"/>
                    <a:gd name="connsiteX15" fmla="*/ 19578 w 309420"/>
                    <a:gd name="connsiteY15" fmla="*/ 256342 h 348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309420" h="348474">
                      <a:moveTo>
                        <a:pt x="19578" y="256342"/>
                      </a:moveTo>
                      <a:cubicBezTo>
                        <a:pt x="44053" y="277759"/>
                        <a:pt x="145016" y="354246"/>
                        <a:pt x="200086" y="348127"/>
                      </a:cubicBezTo>
                      <a:cubicBezTo>
                        <a:pt x="236801" y="345067"/>
                        <a:pt x="291871" y="335889"/>
                        <a:pt x="301049" y="296116"/>
                      </a:cubicBezTo>
                      <a:cubicBezTo>
                        <a:pt x="301049" y="293056"/>
                        <a:pt x="301049" y="293056"/>
                        <a:pt x="297991" y="289997"/>
                      </a:cubicBezTo>
                      <a:cubicBezTo>
                        <a:pt x="297991" y="289997"/>
                        <a:pt x="297991" y="289997"/>
                        <a:pt x="297991" y="286937"/>
                      </a:cubicBezTo>
                      <a:cubicBezTo>
                        <a:pt x="328585" y="198212"/>
                        <a:pt x="294932" y="94189"/>
                        <a:pt x="230681" y="57475"/>
                      </a:cubicBezTo>
                      <a:cubicBezTo>
                        <a:pt x="224562" y="54416"/>
                        <a:pt x="206206" y="60535"/>
                        <a:pt x="209265" y="75832"/>
                      </a:cubicBezTo>
                      <a:cubicBezTo>
                        <a:pt x="218445" y="112546"/>
                        <a:pt x="249039" y="143141"/>
                        <a:pt x="224562" y="179855"/>
                      </a:cubicBezTo>
                      <a:cubicBezTo>
                        <a:pt x="166433" y="130903"/>
                        <a:pt x="117480" y="45237"/>
                        <a:pt x="47112" y="8524"/>
                      </a:cubicBezTo>
                      <a:cubicBezTo>
                        <a:pt x="34875" y="2404"/>
                        <a:pt x="4280" y="-9834"/>
                        <a:pt x="7339" y="14643"/>
                      </a:cubicBezTo>
                      <a:cubicBezTo>
                        <a:pt x="10398" y="29940"/>
                        <a:pt x="47112" y="60535"/>
                        <a:pt x="56290" y="72773"/>
                      </a:cubicBezTo>
                      <a:cubicBezTo>
                        <a:pt x="71587" y="91130"/>
                        <a:pt x="86885" y="109487"/>
                        <a:pt x="102182" y="127844"/>
                      </a:cubicBezTo>
                      <a:cubicBezTo>
                        <a:pt x="86885" y="115606"/>
                        <a:pt x="80767" y="112546"/>
                        <a:pt x="65470" y="106427"/>
                      </a:cubicBezTo>
                      <a:cubicBezTo>
                        <a:pt x="47112" y="100308"/>
                        <a:pt x="28756" y="127844"/>
                        <a:pt x="34875" y="140082"/>
                      </a:cubicBezTo>
                      <a:cubicBezTo>
                        <a:pt x="22636" y="140082"/>
                        <a:pt x="-7959" y="164557"/>
                        <a:pt x="10398" y="192093"/>
                      </a:cubicBezTo>
                      <a:cubicBezTo>
                        <a:pt x="13458" y="192093"/>
                        <a:pt x="-20197" y="219628"/>
                        <a:pt x="19578" y="256342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23BC9735-FC3D-48C5-9478-3C9BFE98C08F}"/>
                    </a:ext>
                  </a:extLst>
                </p:cNvPr>
                <p:cNvSpPr/>
                <p:nvPr/>
              </p:nvSpPr>
              <p:spPr>
                <a:xfrm>
                  <a:off x="22640559" y="3136844"/>
                  <a:ext cx="26770" cy="82606"/>
                </a:xfrm>
                <a:custGeom>
                  <a:avLst/>
                  <a:gdLst>
                    <a:gd name="connsiteX0" fmla="*/ 18356 w 26770"/>
                    <a:gd name="connsiteY0" fmla="*/ 82606 h 82606"/>
                    <a:gd name="connsiteX1" fmla="*/ 12238 w 26770"/>
                    <a:gd name="connsiteY1" fmla="*/ 79547 h 82606"/>
                    <a:gd name="connsiteX2" fmla="*/ 12238 w 26770"/>
                    <a:gd name="connsiteY2" fmla="*/ 3059 h 82606"/>
                    <a:gd name="connsiteX3" fmla="*/ 21416 w 26770"/>
                    <a:gd name="connsiteY3" fmla="*/ 0 h 82606"/>
                    <a:gd name="connsiteX4" fmla="*/ 24475 w 26770"/>
                    <a:gd name="connsiteY4" fmla="*/ 9178 h 82606"/>
                    <a:gd name="connsiteX5" fmla="*/ 24475 w 26770"/>
                    <a:gd name="connsiteY5" fmla="*/ 70368 h 82606"/>
                    <a:gd name="connsiteX6" fmla="*/ 24475 w 26770"/>
                    <a:gd name="connsiteY6" fmla="*/ 79547 h 82606"/>
                    <a:gd name="connsiteX7" fmla="*/ 18356 w 26770"/>
                    <a:gd name="connsiteY7" fmla="*/ 82606 h 826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770" h="82606">
                      <a:moveTo>
                        <a:pt x="18356" y="82606"/>
                      </a:moveTo>
                      <a:cubicBezTo>
                        <a:pt x="15297" y="82606"/>
                        <a:pt x="15297" y="82606"/>
                        <a:pt x="12238" y="79547"/>
                      </a:cubicBezTo>
                      <a:cubicBezTo>
                        <a:pt x="-15298" y="45892"/>
                        <a:pt x="12238" y="6119"/>
                        <a:pt x="12238" y="3059"/>
                      </a:cubicBezTo>
                      <a:cubicBezTo>
                        <a:pt x="15297" y="0"/>
                        <a:pt x="18356" y="0"/>
                        <a:pt x="21416" y="0"/>
                      </a:cubicBezTo>
                      <a:cubicBezTo>
                        <a:pt x="24475" y="3059"/>
                        <a:pt x="24475" y="6119"/>
                        <a:pt x="24475" y="9178"/>
                      </a:cubicBezTo>
                      <a:cubicBezTo>
                        <a:pt x="24475" y="9178"/>
                        <a:pt x="3058" y="42833"/>
                        <a:pt x="24475" y="70368"/>
                      </a:cubicBezTo>
                      <a:cubicBezTo>
                        <a:pt x="27536" y="73428"/>
                        <a:pt x="27536" y="76487"/>
                        <a:pt x="24475" y="79547"/>
                      </a:cubicBezTo>
                      <a:cubicBezTo>
                        <a:pt x="21416" y="82606"/>
                        <a:pt x="18356" y="82606"/>
                        <a:pt x="18356" y="82606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CA8ED931-EB85-411B-B84C-8C94638247D4}"/>
                    </a:ext>
                  </a:extLst>
                </p:cNvPr>
                <p:cNvSpPr/>
                <p:nvPr/>
              </p:nvSpPr>
              <p:spPr>
                <a:xfrm>
                  <a:off x="22458848" y="2930898"/>
                  <a:ext cx="119756" cy="141696"/>
                </a:xfrm>
                <a:custGeom>
                  <a:avLst/>
                  <a:gdLst>
                    <a:gd name="connsiteX0" fmla="*/ 99104 w 119756"/>
                    <a:gd name="connsiteY0" fmla="*/ 141696 h 141696"/>
                    <a:gd name="connsiteX1" fmla="*/ 96045 w 119756"/>
                    <a:gd name="connsiteY1" fmla="*/ 138637 h 141696"/>
                    <a:gd name="connsiteX2" fmla="*/ 1200 w 119756"/>
                    <a:gd name="connsiteY2" fmla="*/ 25436 h 141696"/>
                    <a:gd name="connsiteX3" fmla="*/ 1200 w 119756"/>
                    <a:gd name="connsiteY3" fmla="*/ 22376 h 141696"/>
                    <a:gd name="connsiteX4" fmla="*/ 7319 w 119756"/>
                    <a:gd name="connsiteY4" fmla="*/ 4019 h 141696"/>
                    <a:gd name="connsiteX5" fmla="*/ 50153 w 119756"/>
                    <a:gd name="connsiteY5" fmla="*/ 10138 h 141696"/>
                    <a:gd name="connsiteX6" fmla="*/ 117462 w 119756"/>
                    <a:gd name="connsiteY6" fmla="*/ 62150 h 141696"/>
                    <a:gd name="connsiteX7" fmla="*/ 117462 w 119756"/>
                    <a:gd name="connsiteY7" fmla="*/ 71328 h 141696"/>
                    <a:gd name="connsiteX8" fmla="*/ 108282 w 119756"/>
                    <a:gd name="connsiteY8" fmla="*/ 71328 h 141696"/>
                    <a:gd name="connsiteX9" fmla="*/ 44034 w 119756"/>
                    <a:gd name="connsiteY9" fmla="*/ 19317 h 141696"/>
                    <a:gd name="connsiteX10" fmla="*/ 13439 w 119756"/>
                    <a:gd name="connsiteY10" fmla="*/ 13198 h 141696"/>
                    <a:gd name="connsiteX11" fmla="*/ 10380 w 119756"/>
                    <a:gd name="connsiteY11" fmla="*/ 16257 h 141696"/>
                    <a:gd name="connsiteX12" fmla="*/ 105223 w 119756"/>
                    <a:gd name="connsiteY12" fmla="*/ 129458 h 141696"/>
                    <a:gd name="connsiteX13" fmla="*/ 105223 w 119756"/>
                    <a:gd name="connsiteY13" fmla="*/ 138637 h 141696"/>
                    <a:gd name="connsiteX14" fmla="*/ 99104 w 119756"/>
                    <a:gd name="connsiteY14" fmla="*/ 141696 h 1416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19756" h="141696">
                      <a:moveTo>
                        <a:pt x="99104" y="141696"/>
                      </a:moveTo>
                      <a:cubicBezTo>
                        <a:pt x="99104" y="141696"/>
                        <a:pt x="96045" y="141696"/>
                        <a:pt x="96045" y="138637"/>
                      </a:cubicBezTo>
                      <a:cubicBezTo>
                        <a:pt x="62390" y="104982"/>
                        <a:pt x="1200" y="28495"/>
                        <a:pt x="1200" y="25436"/>
                      </a:cubicBezTo>
                      <a:cubicBezTo>
                        <a:pt x="1200" y="25436"/>
                        <a:pt x="1200" y="25436"/>
                        <a:pt x="1200" y="22376"/>
                      </a:cubicBezTo>
                      <a:cubicBezTo>
                        <a:pt x="-1859" y="16257"/>
                        <a:pt x="1200" y="10138"/>
                        <a:pt x="7319" y="4019"/>
                      </a:cubicBezTo>
                      <a:cubicBezTo>
                        <a:pt x="16497" y="-2100"/>
                        <a:pt x="34855" y="-2100"/>
                        <a:pt x="50153" y="10138"/>
                      </a:cubicBezTo>
                      <a:cubicBezTo>
                        <a:pt x="77687" y="28495"/>
                        <a:pt x="114401" y="62150"/>
                        <a:pt x="117462" y="62150"/>
                      </a:cubicBezTo>
                      <a:cubicBezTo>
                        <a:pt x="120521" y="65209"/>
                        <a:pt x="120521" y="68269"/>
                        <a:pt x="117462" y="71328"/>
                      </a:cubicBezTo>
                      <a:cubicBezTo>
                        <a:pt x="114401" y="74388"/>
                        <a:pt x="111343" y="74388"/>
                        <a:pt x="108282" y="71328"/>
                      </a:cubicBezTo>
                      <a:cubicBezTo>
                        <a:pt x="108282" y="71328"/>
                        <a:pt x="68509" y="37674"/>
                        <a:pt x="44034" y="19317"/>
                      </a:cubicBezTo>
                      <a:cubicBezTo>
                        <a:pt x="28736" y="10138"/>
                        <a:pt x="19558" y="10138"/>
                        <a:pt x="13439" y="13198"/>
                      </a:cubicBezTo>
                      <a:cubicBezTo>
                        <a:pt x="13439" y="13198"/>
                        <a:pt x="10380" y="16257"/>
                        <a:pt x="10380" y="16257"/>
                      </a:cubicBezTo>
                      <a:cubicBezTo>
                        <a:pt x="16497" y="25436"/>
                        <a:pt x="74628" y="98864"/>
                        <a:pt x="105223" y="129458"/>
                      </a:cubicBezTo>
                      <a:cubicBezTo>
                        <a:pt x="108282" y="132518"/>
                        <a:pt x="108282" y="135577"/>
                        <a:pt x="105223" y="138637"/>
                      </a:cubicBezTo>
                      <a:cubicBezTo>
                        <a:pt x="102165" y="141696"/>
                        <a:pt x="99104" y="141696"/>
                        <a:pt x="99104" y="141696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" name="任意多边形: 形状 8">
                <a:extLst>
                  <a:ext uri="{FF2B5EF4-FFF2-40B4-BE49-F238E27FC236}">
                    <a16:creationId xmlns:a16="http://schemas.microsoft.com/office/drawing/2014/main" id="{06ACCD1D-5205-4DDD-AFC8-791D783CCB54}"/>
                  </a:ext>
                </a:extLst>
              </p:cNvPr>
              <p:cNvSpPr/>
              <p:nvPr/>
            </p:nvSpPr>
            <p:spPr>
              <a:xfrm>
                <a:off x="19559652" y="3375484"/>
                <a:ext cx="296770" cy="275354"/>
              </a:xfrm>
              <a:custGeom>
                <a:avLst/>
                <a:gdLst>
                  <a:gd name="connsiteX0" fmla="*/ 296771 w 296770"/>
                  <a:gd name="connsiteY0" fmla="*/ 266176 h 275354"/>
                  <a:gd name="connsiteX1" fmla="*/ 18358 w 296770"/>
                  <a:gd name="connsiteY1" fmla="*/ 275354 h 275354"/>
                  <a:gd name="connsiteX2" fmla="*/ 0 w 296770"/>
                  <a:gd name="connsiteY2" fmla="*/ 131558 h 275354"/>
                  <a:gd name="connsiteX3" fmla="*/ 3061 w 296770"/>
                  <a:gd name="connsiteY3" fmla="*/ 18357 h 275354"/>
                  <a:gd name="connsiteX4" fmla="*/ 76487 w 296770"/>
                  <a:gd name="connsiteY4" fmla="*/ 0 h 275354"/>
                  <a:gd name="connsiteX5" fmla="*/ 238640 w 296770"/>
                  <a:gd name="connsiteY5" fmla="*/ 82606 h 275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6770" h="275354">
                    <a:moveTo>
                      <a:pt x="296771" y="266176"/>
                    </a:moveTo>
                    <a:lnTo>
                      <a:pt x="18358" y="275354"/>
                    </a:lnTo>
                    <a:lnTo>
                      <a:pt x="0" y="131558"/>
                    </a:lnTo>
                    <a:lnTo>
                      <a:pt x="3061" y="18357"/>
                    </a:lnTo>
                    <a:lnTo>
                      <a:pt x="76487" y="0"/>
                    </a:lnTo>
                    <a:lnTo>
                      <a:pt x="238640" y="82606"/>
                    </a:lnTo>
                    <a:close/>
                  </a:path>
                </a:pathLst>
              </a:custGeom>
              <a:solidFill>
                <a:srgbClr val="66424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" name="任意多边形: 形状 9">
                <a:extLst>
                  <a:ext uri="{FF2B5EF4-FFF2-40B4-BE49-F238E27FC236}">
                    <a16:creationId xmlns:a16="http://schemas.microsoft.com/office/drawing/2014/main" id="{BE957A2F-E9D9-496A-B2D3-AFE098D1A7AE}"/>
                  </a:ext>
                </a:extLst>
              </p:cNvPr>
              <p:cNvSpPr/>
              <p:nvPr/>
            </p:nvSpPr>
            <p:spPr>
              <a:xfrm>
                <a:off x="19718413" y="3003072"/>
                <a:ext cx="492910" cy="664336"/>
              </a:xfrm>
              <a:custGeom>
                <a:avLst/>
                <a:gdLst>
                  <a:gd name="connsiteX0" fmla="*/ 70701 w 492910"/>
                  <a:gd name="connsiteY0" fmla="*/ 641648 h 664336"/>
                  <a:gd name="connsiteX1" fmla="*/ 492911 w 492910"/>
                  <a:gd name="connsiteY1" fmla="*/ 568220 h 664336"/>
                  <a:gd name="connsiteX2" fmla="*/ 333819 w 492910"/>
                  <a:gd name="connsiteY2" fmla="*/ 167427 h 664336"/>
                  <a:gd name="connsiteX3" fmla="*/ 333 w 492910"/>
                  <a:gd name="connsiteY3" fmla="*/ 11393 h 664336"/>
                  <a:gd name="connsiteX4" fmla="*/ 40106 w 492910"/>
                  <a:gd name="connsiteY4" fmla="*/ 161308 h 664336"/>
                  <a:gd name="connsiteX5" fmla="*/ 89059 w 492910"/>
                  <a:gd name="connsiteY5" fmla="*/ 305104 h 664336"/>
                  <a:gd name="connsiteX6" fmla="*/ 85999 w 492910"/>
                  <a:gd name="connsiteY6" fmla="*/ 467257 h 664336"/>
                  <a:gd name="connsiteX7" fmla="*/ 70701 w 492910"/>
                  <a:gd name="connsiteY7" fmla="*/ 641648 h 664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2910" h="664336">
                    <a:moveTo>
                      <a:pt x="70701" y="641648"/>
                    </a:moveTo>
                    <a:cubicBezTo>
                      <a:pt x="79879" y="693659"/>
                      <a:pt x="391948" y="650826"/>
                      <a:pt x="492911" y="568220"/>
                    </a:cubicBezTo>
                    <a:cubicBezTo>
                      <a:pt x="367472" y="406067"/>
                      <a:pt x="349116" y="231676"/>
                      <a:pt x="333819" y="167427"/>
                    </a:cubicBezTo>
                    <a:cubicBezTo>
                      <a:pt x="303224" y="38928"/>
                      <a:pt x="116594" y="-28381"/>
                      <a:pt x="333" y="11393"/>
                    </a:cubicBezTo>
                    <a:cubicBezTo>
                      <a:pt x="-2725" y="11393"/>
                      <a:pt x="15631" y="112356"/>
                      <a:pt x="40106" y="161308"/>
                    </a:cubicBezTo>
                    <a:cubicBezTo>
                      <a:pt x="61523" y="207200"/>
                      <a:pt x="79879" y="256152"/>
                      <a:pt x="89059" y="305104"/>
                    </a:cubicBezTo>
                    <a:cubicBezTo>
                      <a:pt x="98238" y="357115"/>
                      <a:pt x="95177" y="412186"/>
                      <a:pt x="85999" y="467257"/>
                    </a:cubicBezTo>
                    <a:cubicBezTo>
                      <a:pt x="79879" y="513149"/>
                      <a:pt x="61523" y="598815"/>
                      <a:pt x="70701" y="641648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" name="图形 892">
                <a:extLst>
                  <a:ext uri="{FF2B5EF4-FFF2-40B4-BE49-F238E27FC236}">
                    <a16:creationId xmlns:a16="http://schemas.microsoft.com/office/drawing/2014/main" id="{9B168757-39D5-4A3C-B26F-B6C5B8EA8EE1}"/>
                  </a:ext>
                </a:extLst>
              </p:cNvPr>
              <p:cNvGrpSpPr/>
              <p:nvPr/>
            </p:nvGrpSpPr>
            <p:grpSpPr>
              <a:xfrm>
                <a:off x="18809123" y="3849705"/>
                <a:ext cx="1267583" cy="2851444"/>
                <a:chOff x="18809123" y="3849705"/>
                <a:chExt cx="1267583" cy="2851444"/>
              </a:xfrm>
            </p:grpSpPr>
            <p:grpSp>
              <p:nvGrpSpPr>
                <p:cNvPr id="119" name="图形 892">
                  <a:extLst>
                    <a:ext uri="{FF2B5EF4-FFF2-40B4-BE49-F238E27FC236}">
                      <a16:creationId xmlns:a16="http://schemas.microsoft.com/office/drawing/2014/main" id="{4035DC8E-8719-44F8-9F2E-66C5696E379A}"/>
                    </a:ext>
                  </a:extLst>
                </p:cNvPr>
                <p:cNvGrpSpPr/>
                <p:nvPr/>
              </p:nvGrpSpPr>
              <p:grpSpPr>
                <a:xfrm>
                  <a:off x="18809123" y="3849705"/>
                  <a:ext cx="1267583" cy="2717469"/>
                  <a:chOff x="18809123" y="3849705"/>
                  <a:chExt cx="1267583" cy="2717469"/>
                </a:xfrm>
              </p:grpSpPr>
              <p:sp>
                <p:nvSpPr>
                  <p:cNvPr id="123" name="任意多边形: 形状 122">
                    <a:extLst>
                      <a:ext uri="{FF2B5EF4-FFF2-40B4-BE49-F238E27FC236}">
                        <a16:creationId xmlns:a16="http://schemas.microsoft.com/office/drawing/2014/main" id="{3C77AC4D-4556-49CC-B301-DB0D2A1D3E97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19454712" y="5256612"/>
                    <a:ext cx="122379" cy="1281926"/>
                  </a:xfrm>
                  <a:custGeom>
                    <a:avLst/>
                    <a:gdLst>
                      <a:gd name="connsiteX0" fmla="*/ 0 w 122379"/>
                      <a:gd name="connsiteY0" fmla="*/ 0 h 1281926"/>
                      <a:gd name="connsiteX1" fmla="*/ 122379 w 122379"/>
                      <a:gd name="connsiteY1" fmla="*/ 0 h 1281926"/>
                      <a:gd name="connsiteX2" fmla="*/ 122379 w 122379"/>
                      <a:gd name="connsiteY2" fmla="*/ 1281926 h 1281926"/>
                      <a:gd name="connsiteX3" fmla="*/ 0 w 122379"/>
                      <a:gd name="connsiteY3" fmla="*/ 1281926 h 12819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22379" h="1281926">
                        <a:moveTo>
                          <a:pt x="0" y="0"/>
                        </a:moveTo>
                        <a:lnTo>
                          <a:pt x="122379" y="0"/>
                        </a:lnTo>
                        <a:lnTo>
                          <a:pt x="122379" y="1281926"/>
                        </a:lnTo>
                        <a:lnTo>
                          <a:pt x="0" y="1281926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5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" name="任意多边形: 形状 123">
                    <a:extLst>
                      <a:ext uri="{FF2B5EF4-FFF2-40B4-BE49-F238E27FC236}">
                        <a16:creationId xmlns:a16="http://schemas.microsoft.com/office/drawing/2014/main" id="{C5FCA2CC-EABA-4C08-9292-5906FE5F6EC2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19185477" y="6512104"/>
                    <a:ext cx="657790" cy="55070"/>
                  </a:xfrm>
                  <a:custGeom>
                    <a:avLst/>
                    <a:gdLst>
                      <a:gd name="connsiteX0" fmla="*/ -1 w 657790"/>
                      <a:gd name="connsiteY0" fmla="*/ 0 h 55070"/>
                      <a:gd name="connsiteX1" fmla="*/ 657790 w 657790"/>
                      <a:gd name="connsiteY1" fmla="*/ 0 h 55070"/>
                      <a:gd name="connsiteX2" fmla="*/ 657790 w 657790"/>
                      <a:gd name="connsiteY2" fmla="*/ 55071 h 55070"/>
                      <a:gd name="connsiteX3" fmla="*/ -1 w 657790"/>
                      <a:gd name="connsiteY3" fmla="*/ 55071 h 550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57790" h="55070">
                        <a:moveTo>
                          <a:pt x="-1" y="0"/>
                        </a:moveTo>
                        <a:lnTo>
                          <a:pt x="657790" y="0"/>
                        </a:lnTo>
                        <a:lnTo>
                          <a:pt x="657790" y="55071"/>
                        </a:lnTo>
                        <a:lnTo>
                          <a:pt x="-1" y="55071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5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" name="任意多边形: 形状 124">
                    <a:extLst>
                      <a:ext uri="{FF2B5EF4-FFF2-40B4-BE49-F238E27FC236}">
                        <a16:creationId xmlns:a16="http://schemas.microsoft.com/office/drawing/2014/main" id="{A99EF5B3-B334-4640-B0EA-7446C795D77C}"/>
                      </a:ext>
                    </a:extLst>
                  </p:cNvPr>
                  <p:cNvSpPr/>
                  <p:nvPr/>
                </p:nvSpPr>
                <p:spPr>
                  <a:xfrm>
                    <a:off x="18809123" y="3849705"/>
                    <a:ext cx="964693" cy="1398187"/>
                  </a:xfrm>
                  <a:custGeom>
                    <a:avLst/>
                    <a:gdLst>
                      <a:gd name="connsiteX0" fmla="*/ 187584 w 964693"/>
                      <a:gd name="connsiteY0" fmla="*/ 1398187 h 1398187"/>
                      <a:gd name="connsiteX1" fmla="*/ 964693 w 964693"/>
                      <a:gd name="connsiteY1" fmla="*/ 1398187 h 1398187"/>
                      <a:gd name="connsiteX2" fmla="*/ 775004 w 964693"/>
                      <a:gd name="connsiteY2" fmla="*/ 110142 h 1398187"/>
                      <a:gd name="connsiteX3" fmla="*/ 646507 w 964693"/>
                      <a:gd name="connsiteY3" fmla="*/ 0 h 1398187"/>
                      <a:gd name="connsiteX4" fmla="*/ 129453 w 964693"/>
                      <a:gd name="connsiteY4" fmla="*/ 0 h 1398187"/>
                      <a:gd name="connsiteX5" fmla="*/ 954 w 964693"/>
                      <a:gd name="connsiteY5" fmla="*/ 146856 h 1398187"/>
                      <a:gd name="connsiteX6" fmla="*/ 187584 w 964693"/>
                      <a:gd name="connsiteY6" fmla="*/ 1398187 h 1398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64693" h="1398187">
                        <a:moveTo>
                          <a:pt x="187584" y="1398187"/>
                        </a:moveTo>
                        <a:lnTo>
                          <a:pt x="964693" y="1398187"/>
                        </a:lnTo>
                        <a:lnTo>
                          <a:pt x="775004" y="110142"/>
                        </a:lnTo>
                        <a:cubicBezTo>
                          <a:pt x="765826" y="45892"/>
                          <a:pt x="710756" y="0"/>
                          <a:pt x="646507" y="0"/>
                        </a:cubicBezTo>
                        <a:lnTo>
                          <a:pt x="129453" y="0"/>
                        </a:lnTo>
                        <a:cubicBezTo>
                          <a:pt x="49907" y="0"/>
                          <a:pt x="-8224" y="70368"/>
                          <a:pt x="954" y="146856"/>
                        </a:cubicBezTo>
                        <a:lnTo>
                          <a:pt x="187584" y="1398187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5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" name="任意多边形: 形状 125">
                    <a:extLst>
                      <a:ext uri="{FF2B5EF4-FFF2-40B4-BE49-F238E27FC236}">
                        <a16:creationId xmlns:a16="http://schemas.microsoft.com/office/drawing/2014/main" id="{7F2B5F41-EE41-4784-975D-A3B5033232F0}"/>
                      </a:ext>
                    </a:extLst>
                  </p:cNvPr>
                  <p:cNvSpPr/>
                  <p:nvPr/>
                </p:nvSpPr>
                <p:spPr>
                  <a:xfrm>
                    <a:off x="18879491" y="3849705"/>
                    <a:ext cx="964693" cy="1398187"/>
                  </a:xfrm>
                  <a:custGeom>
                    <a:avLst/>
                    <a:gdLst>
                      <a:gd name="connsiteX0" fmla="*/ 187584 w 964693"/>
                      <a:gd name="connsiteY0" fmla="*/ 1398187 h 1398187"/>
                      <a:gd name="connsiteX1" fmla="*/ 964693 w 964693"/>
                      <a:gd name="connsiteY1" fmla="*/ 1398187 h 1398187"/>
                      <a:gd name="connsiteX2" fmla="*/ 775006 w 964693"/>
                      <a:gd name="connsiteY2" fmla="*/ 110142 h 1398187"/>
                      <a:gd name="connsiteX3" fmla="*/ 646507 w 964693"/>
                      <a:gd name="connsiteY3" fmla="*/ 0 h 1398187"/>
                      <a:gd name="connsiteX4" fmla="*/ 129453 w 964693"/>
                      <a:gd name="connsiteY4" fmla="*/ 0 h 1398187"/>
                      <a:gd name="connsiteX5" fmla="*/ 954 w 964693"/>
                      <a:gd name="connsiteY5" fmla="*/ 146856 h 1398187"/>
                      <a:gd name="connsiteX6" fmla="*/ 187584 w 964693"/>
                      <a:gd name="connsiteY6" fmla="*/ 1398187 h 13981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64693" h="1398187">
                        <a:moveTo>
                          <a:pt x="187584" y="1398187"/>
                        </a:moveTo>
                        <a:lnTo>
                          <a:pt x="964693" y="1398187"/>
                        </a:lnTo>
                        <a:lnTo>
                          <a:pt x="775006" y="110142"/>
                        </a:lnTo>
                        <a:cubicBezTo>
                          <a:pt x="765826" y="45892"/>
                          <a:pt x="710756" y="0"/>
                          <a:pt x="646507" y="0"/>
                        </a:cubicBezTo>
                        <a:lnTo>
                          <a:pt x="129453" y="0"/>
                        </a:lnTo>
                        <a:cubicBezTo>
                          <a:pt x="49907" y="0"/>
                          <a:pt x="-8224" y="70368"/>
                          <a:pt x="954" y="146856"/>
                        </a:cubicBezTo>
                        <a:lnTo>
                          <a:pt x="187584" y="1398187"/>
                        </a:lnTo>
                        <a:close/>
                      </a:path>
                    </a:pathLst>
                  </a:custGeom>
                  <a:solidFill>
                    <a:srgbClr val="F1DDBA"/>
                  </a:solidFill>
                  <a:ln w="305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" name="任意多边形: 形状 126">
                    <a:extLst>
                      <a:ext uri="{FF2B5EF4-FFF2-40B4-BE49-F238E27FC236}">
                        <a16:creationId xmlns:a16="http://schemas.microsoft.com/office/drawing/2014/main" id="{8B33BAE4-3166-415B-838D-574843E24E28}"/>
                      </a:ext>
                    </a:extLst>
                  </p:cNvPr>
                  <p:cNvSpPr/>
                  <p:nvPr/>
                </p:nvSpPr>
                <p:spPr>
                  <a:xfrm>
                    <a:off x="18892684" y="5122453"/>
                    <a:ext cx="1122833" cy="214164"/>
                  </a:xfrm>
                  <a:custGeom>
                    <a:avLst/>
                    <a:gdLst>
                      <a:gd name="connsiteX0" fmla="*/ 107082 w 1122833"/>
                      <a:gd name="connsiteY0" fmla="*/ 214164 h 214164"/>
                      <a:gd name="connsiteX1" fmla="*/ 1015751 w 1122833"/>
                      <a:gd name="connsiteY1" fmla="*/ 214164 h 214164"/>
                      <a:gd name="connsiteX2" fmla="*/ 1122833 w 1122833"/>
                      <a:gd name="connsiteY2" fmla="*/ 107082 h 214164"/>
                      <a:gd name="connsiteX3" fmla="*/ 1122833 w 1122833"/>
                      <a:gd name="connsiteY3" fmla="*/ 107082 h 214164"/>
                      <a:gd name="connsiteX4" fmla="*/ 1015751 w 1122833"/>
                      <a:gd name="connsiteY4" fmla="*/ 0 h 214164"/>
                      <a:gd name="connsiteX5" fmla="*/ 107082 w 1122833"/>
                      <a:gd name="connsiteY5" fmla="*/ 0 h 214164"/>
                      <a:gd name="connsiteX6" fmla="*/ 0 w 1122833"/>
                      <a:gd name="connsiteY6" fmla="*/ 107082 h 214164"/>
                      <a:gd name="connsiteX7" fmla="*/ 0 w 1122833"/>
                      <a:gd name="connsiteY7" fmla="*/ 107082 h 214164"/>
                      <a:gd name="connsiteX8" fmla="*/ 107082 w 1122833"/>
                      <a:gd name="connsiteY8" fmla="*/ 214164 h 21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22833" h="214164">
                        <a:moveTo>
                          <a:pt x="107082" y="214164"/>
                        </a:moveTo>
                        <a:lnTo>
                          <a:pt x="1015751" y="214164"/>
                        </a:lnTo>
                        <a:cubicBezTo>
                          <a:pt x="1073880" y="214164"/>
                          <a:pt x="1122833" y="165212"/>
                          <a:pt x="1122833" y="107082"/>
                        </a:cubicBezTo>
                        <a:lnTo>
                          <a:pt x="1122833" y="107082"/>
                        </a:lnTo>
                        <a:cubicBezTo>
                          <a:pt x="1122833" y="48952"/>
                          <a:pt x="1073880" y="0"/>
                          <a:pt x="1015751" y="0"/>
                        </a:cubicBezTo>
                        <a:lnTo>
                          <a:pt x="107082" y="0"/>
                        </a:lnTo>
                        <a:cubicBezTo>
                          <a:pt x="48951" y="0"/>
                          <a:pt x="0" y="48952"/>
                          <a:pt x="0" y="107082"/>
                        </a:cubicBezTo>
                        <a:lnTo>
                          <a:pt x="0" y="107082"/>
                        </a:lnTo>
                        <a:cubicBezTo>
                          <a:pt x="0" y="165212"/>
                          <a:pt x="45892" y="214164"/>
                          <a:pt x="107082" y="214164"/>
                        </a:cubicBezTo>
                        <a:close/>
                      </a:path>
                    </a:pathLst>
                  </a:custGeom>
                  <a:solidFill>
                    <a:srgbClr val="D39778"/>
                  </a:solidFill>
                  <a:ln w="305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" name="任意多边形: 形状 127">
                    <a:extLst>
                      <a:ext uri="{FF2B5EF4-FFF2-40B4-BE49-F238E27FC236}">
                        <a16:creationId xmlns:a16="http://schemas.microsoft.com/office/drawing/2014/main" id="{F9B63611-F439-450E-A42A-08D2A5A52DD4}"/>
                      </a:ext>
                    </a:extLst>
                  </p:cNvPr>
                  <p:cNvSpPr/>
                  <p:nvPr/>
                </p:nvSpPr>
                <p:spPr>
                  <a:xfrm>
                    <a:off x="18953873" y="5122453"/>
                    <a:ext cx="1122833" cy="214164"/>
                  </a:xfrm>
                  <a:custGeom>
                    <a:avLst/>
                    <a:gdLst>
                      <a:gd name="connsiteX0" fmla="*/ 107082 w 1122833"/>
                      <a:gd name="connsiteY0" fmla="*/ 214164 h 214164"/>
                      <a:gd name="connsiteX1" fmla="*/ 1015751 w 1122833"/>
                      <a:gd name="connsiteY1" fmla="*/ 214164 h 214164"/>
                      <a:gd name="connsiteX2" fmla="*/ 1122833 w 1122833"/>
                      <a:gd name="connsiteY2" fmla="*/ 107082 h 214164"/>
                      <a:gd name="connsiteX3" fmla="*/ 1122833 w 1122833"/>
                      <a:gd name="connsiteY3" fmla="*/ 107082 h 214164"/>
                      <a:gd name="connsiteX4" fmla="*/ 1015751 w 1122833"/>
                      <a:gd name="connsiteY4" fmla="*/ 0 h 214164"/>
                      <a:gd name="connsiteX5" fmla="*/ 107082 w 1122833"/>
                      <a:gd name="connsiteY5" fmla="*/ 0 h 214164"/>
                      <a:gd name="connsiteX6" fmla="*/ 0 w 1122833"/>
                      <a:gd name="connsiteY6" fmla="*/ 107082 h 214164"/>
                      <a:gd name="connsiteX7" fmla="*/ 0 w 1122833"/>
                      <a:gd name="connsiteY7" fmla="*/ 107082 h 214164"/>
                      <a:gd name="connsiteX8" fmla="*/ 107082 w 1122833"/>
                      <a:gd name="connsiteY8" fmla="*/ 214164 h 2141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22833" h="214164">
                        <a:moveTo>
                          <a:pt x="107082" y="214164"/>
                        </a:moveTo>
                        <a:lnTo>
                          <a:pt x="1015751" y="214164"/>
                        </a:lnTo>
                        <a:cubicBezTo>
                          <a:pt x="1073880" y="214164"/>
                          <a:pt x="1122833" y="165212"/>
                          <a:pt x="1122833" y="107082"/>
                        </a:cubicBezTo>
                        <a:lnTo>
                          <a:pt x="1122833" y="107082"/>
                        </a:lnTo>
                        <a:cubicBezTo>
                          <a:pt x="1122833" y="48952"/>
                          <a:pt x="1073880" y="0"/>
                          <a:pt x="1015751" y="0"/>
                        </a:cubicBezTo>
                        <a:lnTo>
                          <a:pt x="107082" y="0"/>
                        </a:lnTo>
                        <a:cubicBezTo>
                          <a:pt x="48951" y="0"/>
                          <a:pt x="0" y="48952"/>
                          <a:pt x="0" y="107082"/>
                        </a:cubicBezTo>
                        <a:lnTo>
                          <a:pt x="0" y="107082"/>
                        </a:lnTo>
                        <a:cubicBezTo>
                          <a:pt x="0" y="165212"/>
                          <a:pt x="45892" y="214164"/>
                          <a:pt x="107082" y="214164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05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7C52E811-EEBD-4115-9F76-8067787D499D}"/>
                    </a:ext>
                  </a:extLst>
                </p:cNvPr>
                <p:cNvSpPr/>
                <p:nvPr/>
              </p:nvSpPr>
              <p:spPr>
                <a:xfrm>
                  <a:off x="19186394" y="6566532"/>
                  <a:ext cx="134618" cy="134617"/>
                </a:xfrm>
                <a:custGeom>
                  <a:avLst/>
                  <a:gdLst>
                    <a:gd name="connsiteX0" fmla="*/ 134618 w 134618"/>
                    <a:gd name="connsiteY0" fmla="*/ 67309 h 134617"/>
                    <a:gd name="connsiteX1" fmla="*/ 67309 w 134618"/>
                    <a:gd name="connsiteY1" fmla="*/ 134617 h 134617"/>
                    <a:gd name="connsiteX2" fmla="*/ 0 w 134618"/>
                    <a:gd name="connsiteY2" fmla="*/ 67309 h 134617"/>
                    <a:gd name="connsiteX3" fmla="*/ 67309 w 134618"/>
                    <a:gd name="connsiteY3" fmla="*/ 0 h 134617"/>
                    <a:gd name="connsiteX4" fmla="*/ 134618 w 134618"/>
                    <a:gd name="connsiteY4" fmla="*/ 67309 h 134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4618" h="134617">
                      <a:moveTo>
                        <a:pt x="134618" y="67309"/>
                      </a:moveTo>
                      <a:cubicBezTo>
                        <a:pt x="134618" y="104022"/>
                        <a:pt x="104023" y="134617"/>
                        <a:pt x="67309" y="134617"/>
                      </a:cubicBezTo>
                      <a:cubicBezTo>
                        <a:pt x="30595" y="134617"/>
                        <a:pt x="0" y="104022"/>
                        <a:pt x="0" y="67309"/>
                      </a:cubicBezTo>
                      <a:cubicBezTo>
                        <a:pt x="0" y="30595"/>
                        <a:pt x="30595" y="0"/>
                        <a:pt x="67309" y="0"/>
                      </a:cubicBezTo>
                      <a:cubicBezTo>
                        <a:pt x="107082" y="0"/>
                        <a:pt x="134618" y="30595"/>
                        <a:pt x="134618" y="67309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9B56D8F5-5E7F-4E85-8A03-8E73169C6664}"/>
                    </a:ext>
                  </a:extLst>
                </p:cNvPr>
                <p:cNvSpPr/>
                <p:nvPr/>
              </p:nvSpPr>
              <p:spPr>
                <a:xfrm>
                  <a:off x="19446451" y="6566532"/>
                  <a:ext cx="134618" cy="134617"/>
                </a:xfrm>
                <a:custGeom>
                  <a:avLst/>
                  <a:gdLst>
                    <a:gd name="connsiteX0" fmla="*/ 134618 w 134618"/>
                    <a:gd name="connsiteY0" fmla="*/ 67309 h 134617"/>
                    <a:gd name="connsiteX1" fmla="*/ 67309 w 134618"/>
                    <a:gd name="connsiteY1" fmla="*/ 134617 h 134617"/>
                    <a:gd name="connsiteX2" fmla="*/ 0 w 134618"/>
                    <a:gd name="connsiteY2" fmla="*/ 67309 h 134617"/>
                    <a:gd name="connsiteX3" fmla="*/ 67309 w 134618"/>
                    <a:gd name="connsiteY3" fmla="*/ 0 h 134617"/>
                    <a:gd name="connsiteX4" fmla="*/ 134618 w 134618"/>
                    <a:gd name="connsiteY4" fmla="*/ 67309 h 134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4618" h="134617">
                      <a:moveTo>
                        <a:pt x="134618" y="67309"/>
                      </a:moveTo>
                      <a:cubicBezTo>
                        <a:pt x="134618" y="104022"/>
                        <a:pt x="104023" y="134617"/>
                        <a:pt x="67309" y="134617"/>
                      </a:cubicBezTo>
                      <a:cubicBezTo>
                        <a:pt x="30595" y="134617"/>
                        <a:pt x="0" y="104022"/>
                        <a:pt x="0" y="67309"/>
                      </a:cubicBezTo>
                      <a:cubicBezTo>
                        <a:pt x="0" y="30595"/>
                        <a:pt x="30595" y="0"/>
                        <a:pt x="67309" y="0"/>
                      </a:cubicBezTo>
                      <a:cubicBezTo>
                        <a:pt x="104023" y="0"/>
                        <a:pt x="134618" y="30595"/>
                        <a:pt x="134618" y="67309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B6C1E5A4-346C-4BF5-9B74-7F7643C23FAB}"/>
                    </a:ext>
                  </a:extLst>
                </p:cNvPr>
                <p:cNvSpPr/>
                <p:nvPr/>
              </p:nvSpPr>
              <p:spPr>
                <a:xfrm>
                  <a:off x="19706507" y="6566532"/>
                  <a:ext cx="134618" cy="134617"/>
                </a:xfrm>
                <a:custGeom>
                  <a:avLst/>
                  <a:gdLst>
                    <a:gd name="connsiteX0" fmla="*/ 134618 w 134618"/>
                    <a:gd name="connsiteY0" fmla="*/ 67309 h 134617"/>
                    <a:gd name="connsiteX1" fmla="*/ 67309 w 134618"/>
                    <a:gd name="connsiteY1" fmla="*/ 134617 h 134617"/>
                    <a:gd name="connsiteX2" fmla="*/ 0 w 134618"/>
                    <a:gd name="connsiteY2" fmla="*/ 67309 h 134617"/>
                    <a:gd name="connsiteX3" fmla="*/ 67309 w 134618"/>
                    <a:gd name="connsiteY3" fmla="*/ 0 h 134617"/>
                    <a:gd name="connsiteX4" fmla="*/ 134618 w 134618"/>
                    <a:gd name="connsiteY4" fmla="*/ 67309 h 134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4618" h="134617">
                      <a:moveTo>
                        <a:pt x="134618" y="67309"/>
                      </a:moveTo>
                      <a:cubicBezTo>
                        <a:pt x="134618" y="104022"/>
                        <a:pt x="104023" y="134617"/>
                        <a:pt x="67309" y="134617"/>
                      </a:cubicBezTo>
                      <a:cubicBezTo>
                        <a:pt x="30595" y="134617"/>
                        <a:pt x="0" y="104022"/>
                        <a:pt x="0" y="67309"/>
                      </a:cubicBezTo>
                      <a:cubicBezTo>
                        <a:pt x="0" y="30595"/>
                        <a:pt x="30595" y="0"/>
                        <a:pt x="67309" y="0"/>
                      </a:cubicBezTo>
                      <a:cubicBezTo>
                        <a:pt x="104023" y="0"/>
                        <a:pt x="134618" y="30595"/>
                        <a:pt x="134618" y="67309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" name="任意多边形: 形状 11">
                <a:extLst>
                  <a:ext uri="{FF2B5EF4-FFF2-40B4-BE49-F238E27FC236}">
                    <a16:creationId xmlns:a16="http://schemas.microsoft.com/office/drawing/2014/main" id="{D2603946-C406-4C1A-904E-D5D1EC5D590D}"/>
                  </a:ext>
                </a:extLst>
              </p:cNvPr>
              <p:cNvSpPr/>
              <p:nvPr/>
            </p:nvSpPr>
            <p:spPr>
              <a:xfrm>
                <a:off x="22655856" y="2710885"/>
                <a:ext cx="1166242" cy="1138826"/>
              </a:xfrm>
              <a:custGeom>
                <a:avLst/>
                <a:gdLst>
                  <a:gd name="connsiteX0" fmla="*/ 1092238 w 1166242"/>
                  <a:gd name="connsiteY0" fmla="*/ 6809 h 1138826"/>
                  <a:gd name="connsiteX1" fmla="*/ 737336 w 1166242"/>
                  <a:gd name="connsiteY1" fmla="*/ 358650 h 1138826"/>
                  <a:gd name="connsiteX2" fmla="*/ 541530 w 1166242"/>
                  <a:gd name="connsiteY2" fmla="*/ 811455 h 1138826"/>
                  <a:gd name="connsiteX3" fmla="*/ 143796 w 1166242"/>
                  <a:gd name="connsiteY3" fmla="*/ 438197 h 1138826"/>
                  <a:gd name="connsiteX4" fmla="*/ 0 w 1166242"/>
                  <a:gd name="connsiteY4" fmla="*/ 600350 h 1138826"/>
                  <a:gd name="connsiteX5" fmla="*/ 556828 w 1166242"/>
                  <a:gd name="connsiteY5" fmla="*/ 1138820 h 1138826"/>
                  <a:gd name="connsiteX6" fmla="*/ 1092238 w 1166242"/>
                  <a:gd name="connsiteY6" fmla="*/ 6809 h 113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66242" h="1138826">
                    <a:moveTo>
                      <a:pt x="1092238" y="6809"/>
                    </a:moveTo>
                    <a:cubicBezTo>
                      <a:pt x="966798" y="-48262"/>
                      <a:pt x="801587" y="245449"/>
                      <a:pt x="737336" y="358650"/>
                    </a:cubicBezTo>
                    <a:cubicBezTo>
                      <a:pt x="679207" y="459613"/>
                      <a:pt x="541530" y="811455"/>
                      <a:pt x="541530" y="811455"/>
                    </a:cubicBezTo>
                    <a:lnTo>
                      <a:pt x="143796" y="438197"/>
                    </a:lnTo>
                    <a:lnTo>
                      <a:pt x="0" y="600350"/>
                    </a:lnTo>
                    <a:cubicBezTo>
                      <a:pt x="0" y="600350"/>
                      <a:pt x="428329" y="1135760"/>
                      <a:pt x="556828" y="1138820"/>
                    </a:cubicBezTo>
                    <a:cubicBezTo>
                      <a:pt x="777111" y="1141880"/>
                      <a:pt x="1373712" y="132248"/>
                      <a:pt x="1092238" y="6809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3" name="图形 892">
                <a:extLst>
                  <a:ext uri="{FF2B5EF4-FFF2-40B4-BE49-F238E27FC236}">
                    <a16:creationId xmlns:a16="http://schemas.microsoft.com/office/drawing/2014/main" id="{0A4F646A-F874-4DA6-B5EF-369FF18906A8}"/>
                  </a:ext>
                </a:extLst>
              </p:cNvPr>
              <p:cNvGrpSpPr/>
              <p:nvPr/>
            </p:nvGrpSpPr>
            <p:grpSpPr>
              <a:xfrm>
                <a:off x="20361002" y="6321773"/>
                <a:ext cx="349753" cy="385495"/>
                <a:chOff x="20361002" y="6321773"/>
                <a:chExt cx="349753" cy="385495"/>
              </a:xfrm>
            </p:grpSpPr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55616BE5-BB1A-42F0-A23F-89346EDE9A6C}"/>
                    </a:ext>
                  </a:extLst>
                </p:cNvPr>
                <p:cNvSpPr/>
                <p:nvPr/>
              </p:nvSpPr>
              <p:spPr>
                <a:xfrm>
                  <a:off x="20361002" y="6413558"/>
                  <a:ext cx="349753" cy="293711"/>
                </a:xfrm>
                <a:custGeom>
                  <a:avLst/>
                  <a:gdLst>
                    <a:gd name="connsiteX0" fmla="*/ 147092 w 349753"/>
                    <a:gd name="connsiteY0" fmla="*/ 0 h 293711"/>
                    <a:gd name="connsiteX1" fmla="*/ 248055 w 349753"/>
                    <a:gd name="connsiteY1" fmla="*/ 177451 h 293711"/>
                    <a:gd name="connsiteX2" fmla="*/ 27773 w 349753"/>
                    <a:gd name="connsiteY2" fmla="*/ 36714 h 293711"/>
                    <a:gd name="connsiteX3" fmla="*/ 24713 w 349753"/>
                    <a:gd name="connsiteY3" fmla="*/ 12238 h 293711"/>
                    <a:gd name="connsiteX4" fmla="*/ 237 w 349753"/>
                    <a:gd name="connsiteY4" fmla="*/ 88725 h 293711"/>
                    <a:gd name="connsiteX5" fmla="*/ 9415 w 349753"/>
                    <a:gd name="connsiteY5" fmla="*/ 183569 h 293711"/>
                    <a:gd name="connsiteX6" fmla="*/ 36951 w 349753"/>
                    <a:gd name="connsiteY6" fmla="*/ 186629 h 293711"/>
                    <a:gd name="connsiteX7" fmla="*/ 55308 w 349753"/>
                    <a:gd name="connsiteY7" fmla="*/ 122380 h 293711"/>
                    <a:gd name="connsiteX8" fmla="*/ 186865 w 349753"/>
                    <a:gd name="connsiteY8" fmla="*/ 269235 h 293711"/>
                    <a:gd name="connsiteX9" fmla="*/ 339840 w 349753"/>
                    <a:gd name="connsiteY9" fmla="*/ 293711 h 293711"/>
                    <a:gd name="connsiteX10" fmla="*/ 342900 w 349753"/>
                    <a:gd name="connsiteY10" fmla="*/ 247819 h 293711"/>
                    <a:gd name="connsiteX11" fmla="*/ 147092 w 349753"/>
                    <a:gd name="connsiteY11" fmla="*/ 0 h 2937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49753" h="293711">
                      <a:moveTo>
                        <a:pt x="147092" y="0"/>
                      </a:moveTo>
                      <a:cubicBezTo>
                        <a:pt x="147092" y="0"/>
                        <a:pt x="266413" y="168272"/>
                        <a:pt x="248055" y="177451"/>
                      </a:cubicBezTo>
                      <a:cubicBezTo>
                        <a:pt x="229699" y="186629"/>
                        <a:pt x="27773" y="36714"/>
                        <a:pt x="27773" y="36714"/>
                      </a:cubicBezTo>
                      <a:lnTo>
                        <a:pt x="24713" y="12238"/>
                      </a:lnTo>
                      <a:cubicBezTo>
                        <a:pt x="24713" y="12238"/>
                        <a:pt x="-2822" y="61190"/>
                        <a:pt x="237" y="88725"/>
                      </a:cubicBezTo>
                      <a:cubicBezTo>
                        <a:pt x="3296" y="116261"/>
                        <a:pt x="9415" y="183569"/>
                        <a:pt x="9415" y="183569"/>
                      </a:cubicBezTo>
                      <a:lnTo>
                        <a:pt x="36951" y="186629"/>
                      </a:lnTo>
                      <a:lnTo>
                        <a:pt x="55308" y="122380"/>
                      </a:lnTo>
                      <a:cubicBezTo>
                        <a:pt x="55308" y="122380"/>
                        <a:pt x="165450" y="260057"/>
                        <a:pt x="186865" y="269235"/>
                      </a:cubicBezTo>
                      <a:cubicBezTo>
                        <a:pt x="208282" y="275354"/>
                        <a:pt x="330662" y="293711"/>
                        <a:pt x="339840" y="293711"/>
                      </a:cubicBezTo>
                      <a:cubicBezTo>
                        <a:pt x="349020" y="293711"/>
                        <a:pt x="355137" y="253938"/>
                        <a:pt x="342900" y="247819"/>
                      </a:cubicBezTo>
                      <a:cubicBezTo>
                        <a:pt x="266413" y="189688"/>
                        <a:pt x="147092" y="0"/>
                        <a:pt x="147092" y="0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5CB580F0-87B0-4C08-86A0-8013C9385C5E}"/>
                    </a:ext>
                  </a:extLst>
                </p:cNvPr>
                <p:cNvSpPr/>
                <p:nvPr/>
              </p:nvSpPr>
              <p:spPr>
                <a:xfrm>
                  <a:off x="20370417" y="6321773"/>
                  <a:ext cx="241806" cy="270290"/>
                </a:xfrm>
                <a:custGeom>
                  <a:avLst/>
                  <a:gdLst>
                    <a:gd name="connsiteX0" fmla="*/ 134618 w 241806"/>
                    <a:gd name="connsiteY0" fmla="*/ 3060 h 270290"/>
                    <a:gd name="connsiteX1" fmla="*/ 137677 w 241806"/>
                    <a:gd name="connsiteY1" fmla="*/ 91785 h 270290"/>
                    <a:gd name="connsiteX2" fmla="*/ 238640 w 241806"/>
                    <a:gd name="connsiteY2" fmla="*/ 269235 h 270290"/>
                    <a:gd name="connsiteX3" fmla="*/ 18358 w 241806"/>
                    <a:gd name="connsiteY3" fmla="*/ 128498 h 270290"/>
                    <a:gd name="connsiteX4" fmla="*/ 0 w 241806"/>
                    <a:gd name="connsiteY4" fmla="*/ 0 h 270290"/>
                    <a:gd name="connsiteX5" fmla="*/ 134618 w 241806"/>
                    <a:gd name="connsiteY5" fmla="*/ 3060 h 270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1806" h="270290">
                      <a:moveTo>
                        <a:pt x="134618" y="3060"/>
                      </a:moveTo>
                      <a:lnTo>
                        <a:pt x="137677" y="91785"/>
                      </a:lnTo>
                      <a:cubicBezTo>
                        <a:pt x="137677" y="91785"/>
                        <a:pt x="263117" y="253938"/>
                        <a:pt x="238640" y="269235"/>
                      </a:cubicBezTo>
                      <a:cubicBezTo>
                        <a:pt x="214164" y="284533"/>
                        <a:pt x="18358" y="128498"/>
                        <a:pt x="18358" y="128498"/>
                      </a:cubicBezTo>
                      <a:lnTo>
                        <a:pt x="0" y="0"/>
                      </a:lnTo>
                      <a:lnTo>
                        <a:pt x="134618" y="3060"/>
                      </a:lnTo>
                      <a:close/>
                    </a:path>
                  </a:pathLst>
                </a:custGeom>
                <a:solidFill>
                  <a:srgbClr val="F5A39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4" name="图形 892">
                <a:extLst>
                  <a:ext uri="{FF2B5EF4-FFF2-40B4-BE49-F238E27FC236}">
                    <a16:creationId xmlns:a16="http://schemas.microsoft.com/office/drawing/2014/main" id="{0F739909-8EE8-41C7-A5D3-D27CB1B6370D}"/>
                  </a:ext>
                </a:extLst>
              </p:cNvPr>
              <p:cNvGrpSpPr/>
              <p:nvPr/>
            </p:nvGrpSpPr>
            <p:grpSpPr>
              <a:xfrm>
                <a:off x="19351607" y="6067835"/>
                <a:ext cx="266176" cy="505616"/>
                <a:chOff x="19351607" y="6067835"/>
                <a:chExt cx="266176" cy="505616"/>
              </a:xfrm>
            </p:grpSpPr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B3D6A623-3592-4811-BC89-EAB898120D02}"/>
                    </a:ext>
                  </a:extLst>
                </p:cNvPr>
                <p:cNvSpPr/>
                <p:nvPr/>
              </p:nvSpPr>
              <p:spPr>
                <a:xfrm>
                  <a:off x="19351607" y="6162680"/>
                  <a:ext cx="226665" cy="410771"/>
                </a:xfrm>
                <a:custGeom>
                  <a:avLst/>
                  <a:gdLst>
                    <a:gd name="connsiteX0" fmla="*/ 217223 w 226665"/>
                    <a:gd name="connsiteY0" fmla="*/ 61190 h 410771"/>
                    <a:gd name="connsiteX1" fmla="*/ 195808 w 226665"/>
                    <a:gd name="connsiteY1" fmla="*/ 263116 h 410771"/>
                    <a:gd name="connsiteX2" fmla="*/ 100963 w 226665"/>
                    <a:gd name="connsiteY2" fmla="*/ 21416 h 410771"/>
                    <a:gd name="connsiteX3" fmla="*/ 113202 w 226665"/>
                    <a:gd name="connsiteY3" fmla="*/ 0 h 410771"/>
                    <a:gd name="connsiteX4" fmla="*/ 48951 w 226665"/>
                    <a:gd name="connsiteY4" fmla="*/ 45892 h 410771"/>
                    <a:gd name="connsiteX5" fmla="*/ 0 w 226665"/>
                    <a:gd name="connsiteY5" fmla="*/ 125439 h 410771"/>
                    <a:gd name="connsiteX6" fmla="*/ 18356 w 226665"/>
                    <a:gd name="connsiteY6" fmla="*/ 143796 h 410771"/>
                    <a:gd name="connsiteX7" fmla="*/ 70368 w 226665"/>
                    <a:gd name="connsiteY7" fmla="*/ 104022 h 410771"/>
                    <a:gd name="connsiteX8" fmla="*/ 88726 w 226665"/>
                    <a:gd name="connsiteY8" fmla="*/ 299830 h 410771"/>
                    <a:gd name="connsiteX9" fmla="*/ 195808 w 226665"/>
                    <a:gd name="connsiteY9" fmla="*/ 409972 h 410771"/>
                    <a:gd name="connsiteX10" fmla="*/ 226403 w 226665"/>
                    <a:gd name="connsiteY10" fmla="*/ 373258 h 410771"/>
                    <a:gd name="connsiteX11" fmla="*/ 217223 w 226665"/>
                    <a:gd name="connsiteY11" fmla="*/ 61190 h 410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26665" h="410771">
                      <a:moveTo>
                        <a:pt x="217223" y="61190"/>
                      </a:moveTo>
                      <a:cubicBezTo>
                        <a:pt x="217223" y="61190"/>
                        <a:pt x="217223" y="269235"/>
                        <a:pt x="195808" y="263116"/>
                      </a:cubicBezTo>
                      <a:cubicBezTo>
                        <a:pt x="177450" y="260057"/>
                        <a:pt x="100963" y="21416"/>
                        <a:pt x="100963" y="21416"/>
                      </a:cubicBezTo>
                      <a:lnTo>
                        <a:pt x="113202" y="0"/>
                      </a:lnTo>
                      <a:cubicBezTo>
                        <a:pt x="113202" y="0"/>
                        <a:pt x="61190" y="21416"/>
                        <a:pt x="48951" y="45892"/>
                      </a:cubicBezTo>
                      <a:cubicBezTo>
                        <a:pt x="33654" y="70368"/>
                        <a:pt x="0" y="125439"/>
                        <a:pt x="0" y="125439"/>
                      </a:cubicBezTo>
                      <a:lnTo>
                        <a:pt x="18356" y="143796"/>
                      </a:lnTo>
                      <a:lnTo>
                        <a:pt x="70368" y="104022"/>
                      </a:lnTo>
                      <a:cubicBezTo>
                        <a:pt x="70368" y="104022"/>
                        <a:pt x="76487" y="281473"/>
                        <a:pt x="88726" y="299830"/>
                      </a:cubicBezTo>
                      <a:cubicBezTo>
                        <a:pt x="100963" y="318187"/>
                        <a:pt x="189689" y="403853"/>
                        <a:pt x="195808" y="409972"/>
                      </a:cubicBezTo>
                      <a:cubicBezTo>
                        <a:pt x="204986" y="416090"/>
                        <a:pt x="229462" y="385495"/>
                        <a:pt x="226403" y="373258"/>
                      </a:cubicBezTo>
                      <a:cubicBezTo>
                        <a:pt x="201926" y="287592"/>
                        <a:pt x="217223" y="61190"/>
                        <a:pt x="217223" y="61190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B08F32F7-3A71-48CF-80EE-E6398B35EF42}"/>
                    </a:ext>
                  </a:extLst>
                </p:cNvPr>
                <p:cNvSpPr/>
                <p:nvPr/>
              </p:nvSpPr>
              <p:spPr>
                <a:xfrm>
                  <a:off x="19452570" y="6067835"/>
                  <a:ext cx="165213" cy="357994"/>
                </a:xfrm>
                <a:custGeom>
                  <a:avLst/>
                  <a:gdLst>
                    <a:gd name="connsiteX0" fmla="*/ 165213 w 165213"/>
                    <a:gd name="connsiteY0" fmla="*/ 82606 h 357994"/>
                    <a:gd name="connsiteX1" fmla="*/ 116260 w 165213"/>
                    <a:gd name="connsiteY1" fmla="*/ 156034 h 357994"/>
                    <a:gd name="connsiteX2" fmla="*/ 94845 w 165213"/>
                    <a:gd name="connsiteY2" fmla="*/ 357960 h 357994"/>
                    <a:gd name="connsiteX3" fmla="*/ 0 w 165213"/>
                    <a:gd name="connsiteY3" fmla="*/ 116261 h 357994"/>
                    <a:gd name="connsiteX4" fmla="*/ 61190 w 165213"/>
                    <a:gd name="connsiteY4" fmla="*/ 0 h 357994"/>
                    <a:gd name="connsiteX5" fmla="*/ 165213 w 165213"/>
                    <a:gd name="connsiteY5" fmla="*/ 82606 h 3579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65213" h="357994">
                      <a:moveTo>
                        <a:pt x="165213" y="82606"/>
                      </a:moveTo>
                      <a:lnTo>
                        <a:pt x="116260" y="156034"/>
                      </a:lnTo>
                      <a:cubicBezTo>
                        <a:pt x="116260" y="156034"/>
                        <a:pt x="122380" y="361020"/>
                        <a:pt x="94845" y="357960"/>
                      </a:cubicBezTo>
                      <a:cubicBezTo>
                        <a:pt x="67309" y="354901"/>
                        <a:pt x="0" y="116261"/>
                        <a:pt x="0" y="116261"/>
                      </a:cubicBezTo>
                      <a:lnTo>
                        <a:pt x="61190" y="0"/>
                      </a:lnTo>
                      <a:lnTo>
                        <a:pt x="165213" y="82606"/>
                      </a:lnTo>
                      <a:close/>
                    </a:path>
                  </a:pathLst>
                </a:custGeom>
                <a:solidFill>
                  <a:srgbClr val="F5A39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5" name="任意多边形: 形状 14">
                <a:extLst>
                  <a:ext uri="{FF2B5EF4-FFF2-40B4-BE49-F238E27FC236}">
                    <a16:creationId xmlns:a16="http://schemas.microsoft.com/office/drawing/2014/main" id="{F7D523E1-302A-4352-9B73-56FD833E15A8}"/>
                  </a:ext>
                </a:extLst>
              </p:cNvPr>
              <p:cNvSpPr/>
              <p:nvPr/>
            </p:nvSpPr>
            <p:spPr>
              <a:xfrm>
                <a:off x="19941202" y="3743797"/>
                <a:ext cx="924852" cy="941149"/>
              </a:xfrm>
              <a:custGeom>
                <a:avLst/>
                <a:gdLst>
                  <a:gd name="connsiteX0" fmla="*/ 22303 w 924852"/>
                  <a:gd name="connsiteY0" fmla="*/ 283359 h 941149"/>
                  <a:gd name="connsiteX1" fmla="*/ 98790 w 924852"/>
                  <a:gd name="connsiteY1" fmla="*/ 1886 h 941149"/>
                  <a:gd name="connsiteX2" fmla="*/ 349669 w 924852"/>
                  <a:gd name="connsiteY2" fmla="*/ 289478 h 941149"/>
                  <a:gd name="connsiteX3" fmla="*/ 499582 w 924852"/>
                  <a:gd name="connsiteY3" fmla="*/ 589308 h 941149"/>
                  <a:gd name="connsiteX4" fmla="*/ 924852 w 924852"/>
                  <a:gd name="connsiteY4" fmla="*/ 797353 h 941149"/>
                  <a:gd name="connsiteX5" fmla="*/ 912614 w 924852"/>
                  <a:gd name="connsiteY5" fmla="*/ 941149 h 941149"/>
                  <a:gd name="connsiteX6" fmla="*/ 233408 w 924852"/>
                  <a:gd name="connsiteY6" fmla="*/ 730044 h 941149"/>
                  <a:gd name="connsiteX7" fmla="*/ 22303 w 924852"/>
                  <a:gd name="connsiteY7" fmla="*/ 283359 h 941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24852" h="941149">
                    <a:moveTo>
                      <a:pt x="22303" y="283359"/>
                    </a:moveTo>
                    <a:cubicBezTo>
                      <a:pt x="-32768" y="145682"/>
                      <a:pt x="22303" y="-19531"/>
                      <a:pt x="98790" y="1886"/>
                    </a:cubicBezTo>
                    <a:cubicBezTo>
                      <a:pt x="187516" y="26362"/>
                      <a:pt x="291538" y="121206"/>
                      <a:pt x="349669" y="289478"/>
                    </a:cubicBezTo>
                    <a:cubicBezTo>
                      <a:pt x="383322" y="387382"/>
                      <a:pt x="481226" y="592367"/>
                      <a:pt x="499582" y="589308"/>
                    </a:cubicBezTo>
                    <a:cubicBezTo>
                      <a:pt x="505702" y="589308"/>
                      <a:pt x="924852" y="797353"/>
                      <a:pt x="924852" y="797353"/>
                    </a:cubicBezTo>
                    <a:cubicBezTo>
                      <a:pt x="909555" y="824889"/>
                      <a:pt x="912614" y="941149"/>
                      <a:pt x="912614" y="941149"/>
                    </a:cubicBezTo>
                    <a:cubicBezTo>
                      <a:pt x="912614" y="941149"/>
                      <a:pt x="288479" y="794294"/>
                      <a:pt x="233408" y="730044"/>
                    </a:cubicBezTo>
                    <a:cubicBezTo>
                      <a:pt x="187516" y="671914"/>
                      <a:pt x="92671" y="454690"/>
                      <a:pt x="22303" y="283359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" name="任意多边形: 形状 15">
                <a:extLst>
                  <a:ext uri="{FF2B5EF4-FFF2-40B4-BE49-F238E27FC236}">
                    <a16:creationId xmlns:a16="http://schemas.microsoft.com/office/drawing/2014/main" id="{B90E1CB5-7A1C-4E4B-A119-02ADA721BE31}"/>
                  </a:ext>
                </a:extLst>
              </p:cNvPr>
              <p:cNvSpPr/>
              <p:nvPr/>
            </p:nvSpPr>
            <p:spPr>
              <a:xfrm>
                <a:off x="19342486" y="4734041"/>
                <a:ext cx="808124" cy="1471471"/>
              </a:xfrm>
              <a:custGeom>
                <a:avLst/>
                <a:gdLst>
                  <a:gd name="connsiteX0" fmla="*/ 42775 w 808124"/>
                  <a:gd name="connsiteY0" fmla="*/ 5976 h 1471471"/>
                  <a:gd name="connsiteX1" fmla="*/ 12180 w 808124"/>
                  <a:gd name="connsiteY1" fmla="*/ 302746 h 1471471"/>
                  <a:gd name="connsiteX2" fmla="*/ 452747 w 808124"/>
                  <a:gd name="connsiteY2" fmla="*/ 587279 h 1471471"/>
                  <a:gd name="connsiteX3" fmla="*/ 128442 w 808124"/>
                  <a:gd name="connsiteY3" fmla="*/ 1349092 h 1471471"/>
                  <a:gd name="connsiteX4" fmla="*/ 308951 w 808124"/>
                  <a:gd name="connsiteY4" fmla="*/ 1471471 h 1471471"/>
                  <a:gd name="connsiteX5" fmla="*/ 807647 w 808124"/>
                  <a:gd name="connsiteY5" fmla="*/ 541386 h 1471471"/>
                  <a:gd name="connsiteX6" fmla="*/ 348724 w 808124"/>
                  <a:gd name="connsiteY6" fmla="*/ 9035 h 1471471"/>
                  <a:gd name="connsiteX7" fmla="*/ 42775 w 808124"/>
                  <a:gd name="connsiteY7" fmla="*/ 5976 h 1471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08124" h="1471471">
                    <a:moveTo>
                      <a:pt x="42775" y="5976"/>
                    </a:moveTo>
                    <a:cubicBezTo>
                      <a:pt x="42775" y="5976"/>
                      <a:pt x="-27593" y="189545"/>
                      <a:pt x="12180" y="302746"/>
                    </a:cubicBezTo>
                    <a:cubicBezTo>
                      <a:pt x="55013" y="415947"/>
                      <a:pt x="428272" y="535267"/>
                      <a:pt x="452747" y="587279"/>
                    </a:cubicBezTo>
                    <a:cubicBezTo>
                      <a:pt x="477223" y="642349"/>
                      <a:pt x="128442" y="1349092"/>
                      <a:pt x="128442" y="1349092"/>
                    </a:cubicBezTo>
                    <a:cubicBezTo>
                      <a:pt x="128442" y="1349092"/>
                      <a:pt x="229405" y="1462293"/>
                      <a:pt x="308951" y="1471471"/>
                    </a:cubicBezTo>
                    <a:cubicBezTo>
                      <a:pt x="308951" y="1471471"/>
                      <a:pt x="826005" y="685182"/>
                      <a:pt x="807647" y="541386"/>
                    </a:cubicBezTo>
                    <a:cubicBezTo>
                      <a:pt x="789291" y="388412"/>
                      <a:pt x="406855" y="21273"/>
                      <a:pt x="348724" y="9035"/>
                    </a:cubicBezTo>
                    <a:cubicBezTo>
                      <a:pt x="290595" y="-9322"/>
                      <a:pt x="42775" y="5976"/>
                      <a:pt x="42775" y="5976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" name="任意多边形: 形状 16">
                <a:extLst>
                  <a:ext uri="{FF2B5EF4-FFF2-40B4-BE49-F238E27FC236}">
                    <a16:creationId xmlns:a16="http://schemas.microsoft.com/office/drawing/2014/main" id="{F87C4A68-D8A0-4F13-9CD9-9ADA39F19494}"/>
                  </a:ext>
                </a:extLst>
              </p:cNvPr>
              <p:cNvSpPr/>
              <p:nvPr/>
            </p:nvSpPr>
            <p:spPr>
              <a:xfrm>
                <a:off x="19691210" y="4733218"/>
                <a:ext cx="867343" cy="1623066"/>
              </a:xfrm>
              <a:custGeom>
                <a:avLst/>
                <a:gdLst>
                  <a:gd name="connsiteX0" fmla="*/ 0 w 867343"/>
                  <a:gd name="connsiteY0" fmla="*/ 6799 h 1623066"/>
                  <a:gd name="connsiteX1" fmla="*/ 137677 w 867343"/>
                  <a:gd name="connsiteY1" fmla="*/ 303569 h 1623066"/>
                  <a:gd name="connsiteX2" fmla="*/ 471162 w 867343"/>
                  <a:gd name="connsiteY2" fmla="*/ 432068 h 1623066"/>
                  <a:gd name="connsiteX3" fmla="*/ 663910 w 867343"/>
                  <a:gd name="connsiteY3" fmla="*/ 1619150 h 1623066"/>
                  <a:gd name="connsiteX4" fmla="*/ 850540 w 867343"/>
                  <a:gd name="connsiteY4" fmla="*/ 1622210 h 1623066"/>
                  <a:gd name="connsiteX5" fmla="*/ 847479 w 867343"/>
                  <a:gd name="connsiteY5" fmla="*/ 324986 h 1623066"/>
                  <a:gd name="connsiteX6" fmla="*/ 474221 w 867343"/>
                  <a:gd name="connsiteY6" fmla="*/ 6799 h 1623066"/>
                  <a:gd name="connsiteX7" fmla="*/ 0 w 867343"/>
                  <a:gd name="connsiteY7" fmla="*/ 6799 h 1623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67343" h="1623066">
                    <a:moveTo>
                      <a:pt x="0" y="6799"/>
                    </a:moveTo>
                    <a:cubicBezTo>
                      <a:pt x="0" y="6799"/>
                      <a:pt x="94845" y="190368"/>
                      <a:pt x="137677" y="303569"/>
                    </a:cubicBezTo>
                    <a:cubicBezTo>
                      <a:pt x="180511" y="416770"/>
                      <a:pt x="446687" y="380057"/>
                      <a:pt x="471162" y="432068"/>
                    </a:cubicBezTo>
                    <a:cubicBezTo>
                      <a:pt x="495638" y="487139"/>
                      <a:pt x="663910" y="1619150"/>
                      <a:pt x="663910" y="1619150"/>
                    </a:cubicBezTo>
                    <a:cubicBezTo>
                      <a:pt x="663910" y="1619150"/>
                      <a:pt x="770992" y="1625269"/>
                      <a:pt x="850540" y="1622210"/>
                    </a:cubicBezTo>
                    <a:cubicBezTo>
                      <a:pt x="850540" y="1622210"/>
                      <a:pt x="890313" y="575864"/>
                      <a:pt x="847479" y="324986"/>
                    </a:cubicBezTo>
                    <a:cubicBezTo>
                      <a:pt x="823004" y="181190"/>
                      <a:pt x="532352" y="22096"/>
                      <a:pt x="474221" y="6799"/>
                    </a:cubicBezTo>
                    <a:cubicBezTo>
                      <a:pt x="413031" y="-8499"/>
                      <a:pt x="0" y="6799"/>
                      <a:pt x="0" y="6799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B298D8DB-B6AA-4760-8732-044DCEB8BBE9}"/>
                  </a:ext>
                </a:extLst>
              </p:cNvPr>
              <p:cNvSpPr/>
              <p:nvPr/>
            </p:nvSpPr>
            <p:spPr>
              <a:xfrm>
                <a:off x="19851069" y="4838685"/>
                <a:ext cx="305183" cy="424504"/>
              </a:xfrm>
              <a:custGeom>
                <a:avLst/>
                <a:gdLst>
                  <a:gd name="connsiteX0" fmla="*/ 296006 w 305183"/>
                  <a:gd name="connsiteY0" fmla="*/ 424504 h 424504"/>
                  <a:gd name="connsiteX1" fmla="*/ 289886 w 305183"/>
                  <a:gd name="connsiteY1" fmla="*/ 421445 h 424504"/>
                  <a:gd name="connsiteX2" fmla="*/ 2295 w 305183"/>
                  <a:gd name="connsiteY2" fmla="*/ 11473 h 424504"/>
                  <a:gd name="connsiteX3" fmla="*/ 2295 w 305183"/>
                  <a:gd name="connsiteY3" fmla="*/ 2295 h 424504"/>
                  <a:gd name="connsiteX4" fmla="*/ 11474 w 305183"/>
                  <a:gd name="connsiteY4" fmla="*/ 2295 h 424504"/>
                  <a:gd name="connsiteX5" fmla="*/ 305184 w 305183"/>
                  <a:gd name="connsiteY5" fmla="*/ 418385 h 424504"/>
                  <a:gd name="connsiteX6" fmla="*/ 296006 w 305183"/>
                  <a:gd name="connsiteY6" fmla="*/ 424504 h 424504"/>
                  <a:gd name="connsiteX7" fmla="*/ 296006 w 305183"/>
                  <a:gd name="connsiteY7" fmla="*/ 424504 h 424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5183" h="424504">
                    <a:moveTo>
                      <a:pt x="296006" y="424504"/>
                    </a:moveTo>
                    <a:cubicBezTo>
                      <a:pt x="292947" y="424504"/>
                      <a:pt x="292947" y="424504"/>
                      <a:pt x="289886" y="421445"/>
                    </a:cubicBezTo>
                    <a:cubicBezTo>
                      <a:pt x="289886" y="418385"/>
                      <a:pt x="152209" y="115496"/>
                      <a:pt x="2295" y="11473"/>
                    </a:cubicBezTo>
                    <a:cubicBezTo>
                      <a:pt x="-765" y="8414"/>
                      <a:pt x="-765" y="5354"/>
                      <a:pt x="2295" y="2295"/>
                    </a:cubicBezTo>
                    <a:cubicBezTo>
                      <a:pt x="5354" y="-765"/>
                      <a:pt x="8413" y="-765"/>
                      <a:pt x="11474" y="2295"/>
                    </a:cubicBezTo>
                    <a:cubicBezTo>
                      <a:pt x="164448" y="106317"/>
                      <a:pt x="299065" y="403088"/>
                      <a:pt x="305184" y="418385"/>
                    </a:cubicBezTo>
                    <a:cubicBezTo>
                      <a:pt x="302125" y="418385"/>
                      <a:pt x="302125" y="421445"/>
                      <a:pt x="296006" y="424504"/>
                    </a:cubicBezTo>
                    <a:cubicBezTo>
                      <a:pt x="299065" y="424504"/>
                      <a:pt x="296006" y="424504"/>
                      <a:pt x="296006" y="42450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" name="任意多边形: 形状 18">
                <a:extLst>
                  <a:ext uri="{FF2B5EF4-FFF2-40B4-BE49-F238E27FC236}">
                    <a16:creationId xmlns:a16="http://schemas.microsoft.com/office/drawing/2014/main" id="{9600C623-396A-4257-8118-7A645739CDBD}"/>
                  </a:ext>
                </a:extLst>
              </p:cNvPr>
              <p:cNvSpPr/>
              <p:nvPr/>
            </p:nvSpPr>
            <p:spPr>
              <a:xfrm>
                <a:off x="19364184" y="3665322"/>
                <a:ext cx="788723" cy="910731"/>
              </a:xfrm>
              <a:custGeom>
                <a:avLst/>
                <a:gdLst>
                  <a:gd name="connsiteX0" fmla="*/ 715581 w 788723"/>
                  <a:gd name="connsiteY0" fmla="*/ 891125 h 910731"/>
                  <a:gd name="connsiteX1" fmla="*/ 103683 w 788723"/>
                  <a:gd name="connsiteY1" fmla="*/ 881947 h 910731"/>
                  <a:gd name="connsiteX2" fmla="*/ 36374 w 788723"/>
                  <a:gd name="connsiteY2" fmla="*/ 383250 h 910731"/>
                  <a:gd name="connsiteX3" fmla="*/ 63910 w 788723"/>
                  <a:gd name="connsiteY3" fmla="*/ 58944 h 910731"/>
                  <a:gd name="connsiteX4" fmla="*/ 434108 w 788723"/>
                  <a:gd name="connsiteY4" fmla="*/ 6932 h 910731"/>
                  <a:gd name="connsiteX5" fmla="*/ 752296 w 788723"/>
                  <a:gd name="connsiteY5" fmla="*/ 150728 h 910731"/>
                  <a:gd name="connsiteX6" fmla="*/ 715581 w 788723"/>
                  <a:gd name="connsiteY6" fmla="*/ 891125 h 91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88723" h="910731">
                    <a:moveTo>
                      <a:pt x="715581" y="891125"/>
                    </a:moveTo>
                    <a:cubicBezTo>
                      <a:pt x="715581" y="897244"/>
                      <a:pt x="342323" y="937018"/>
                      <a:pt x="103683" y="881947"/>
                    </a:cubicBezTo>
                    <a:cubicBezTo>
                      <a:pt x="115922" y="793221"/>
                      <a:pt x="54732" y="453618"/>
                      <a:pt x="36374" y="383250"/>
                    </a:cubicBezTo>
                    <a:cubicBezTo>
                      <a:pt x="27196" y="349595"/>
                      <a:pt x="-55410" y="117074"/>
                      <a:pt x="63910" y="58944"/>
                    </a:cubicBezTo>
                    <a:cubicBezTo>
                      <a:pt x="170993" y="6932"/>
                      <a:pt x="317848" y="-11425"/>
                      <a:pt x="434108" y="6932"/>
                    </a:cubicBezTo>
                    <a:cubicBezTo>
                      <a:pt x="565668" y="28349"/>
                      <a:pt x="721701" y="83420"/>
                      <a:pt x="752296" y="150728"/>
                    </a:cubicBezTo>
                    <a:cubicBezTo>
                      <a:pt x="859378" y="389369"/>
                      <a:pt x="694165" y="533165"/>
                      <a:pt x="715581" y="891125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" name="任意多边形: 形状 19">
                <a:extLst>
                  <a:ext uri="{FF2B5EF4-FFF2-40B4-BE49-F238E27FC236}">
                    <a16:creationId xmlns:a16="http://schemas.microsoft.com/office/drawing/2014/main" id="{0E855012-0ED7-4A11-8532-A0A3AF00B269}"/>
                  </a:ext>
                </a:extLst>
              </p:cNvPr>
              <p:cNvSpPr/>
              <p:nvPr/>
            </p:nvSpPr>
            <p:spPr>
              <a:xfrm>
                <a:off x="19602486" y="3488596"/>
                <a:ext cx="318185" cy="254982"/>
              </a:xfrm>
              <a:custGeom>
                <a:avLst/>
                <a:gdLst>
                  <a:gd name="connsiteX0" fmla="*/ 260057 w 318185"/>
                  <a:gd name="connsiteY0" fmla="*/ 67398 h 254982"/>
                  <a:gd name="connsiteX1" fmla="*/ 318186 w 318185"/>
                  <a:gd name="connsiteY1" fmla="*/ 217313 h 254982"/>
                  <a:gd name="connsiteX2" fmla="*/ 0 w 318185"/>
                  <a:gd name="connsiteY2" fmla="*/ 183659 h 254982"/>
                  <a:gd name="connsiteX3" fmla="*/ 58129 w 318185"/>
                  <a:gd name="connsiteY3" fmla="*/ 89 h 254982"/>
                  <a:gd name="connsiteX4" fmla="*/ 260057 w 318185"/>
                  <a:gd name="connsiteY4" fmla="*/ 67398 h 254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8185" h="254982">
                    <a:moveTo>
                      <a:pt x="260057" y="67398"/>
                    </a:moveTo>
                    <a:cubicBezTo>
                      <a:pt x="260057" y="67398"/>
                      <a:pt x="247818" y="180599"/>
                      <a:pt x="318186" y="217313"/>
                    </a:cubicBezTo>
                    <a:cubicBezTo>
                      <a:pt x="318186" y="217313"/>
                      <a:pt x="134616" y="321336"/>
                      <a:pt x="0" y="183659"/>
                    </a:cubicBezTo>
                    <a:cubicBezTo>
                      <a:pt x="58129" y="143885"/>
                      <a:pt x="58129" y="61279"/>
                      <a:pt x="58129" y="89"/>
                    </a:cubicBezTo>
                    <a:cubicBezTo>
                      <a:pt x="61190" y="-2970"/>
                      <a:pt x="208045" y="73517"/>
                      <a:pt x="260057" y="67398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6D0EF77A-642B-4310-80E4-1E1B71735815}"/>
                  </a:ext>
                </a:extLst>
              </p:cNvPr>
              <p:cNvSpPr/>
              <p:nvPr/>
            </p:nvSpPr>
            <p:spPr>
              <a:xfrm>
                <a:off x="19384291" y="4547269"/>
                <a:ext cx="778081" cy="239798"/>
              </a:xfrm>
              <a:custGeom>
                <a:avLst/>
                <a:gdLst>
                  <a:gd name="connsiteX0" fmla="*/ 778082 w 778081"/>
                  <a:gd name="connsiteY0" fmla="*/ 192748 h 239798"/>
                  <a:gd name="connsiteX1" fmla="*/ 701594 w 778081"/>
                  <a:gd name="connsiteY1" fmla="*/ 12238 h 239798"/>
                  <a:gd name="connsiteX2" fmla="*/ 86638 w 778081"/>
                  <a:gd name="connsiteY2" fmla="*/ 0 h 239798"/>
                  <a:gd name="connsiteX3" fmla="*/ 970 w 778081"/>
                  <a:gd name="connsiteY3" fmla="*/ 192748 h 239798"/>
                  <a:gd name="connsiteX4" fmla="*/ 423181 w 778081"/>
                  <a:gd name="connsiteY4" fmla="*/ 229462 h 239798"/>
                  <a:gd name="connsiteX5" fmla="*/ 778082 w 778081"/>
                  <a:gd name="connsiteY5" fmla="*/ 192748 h 239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78081" h="239798">
                    <a:moveTo>
                      <a:pt x="778082" y="192748"/>
                    </a:moveTo>
                    <a:cubicBezTo>
                      <a:pt x="778082" y="192748"/>
                      <a:pt x="716892" y="67309"/>
                      <a:pt x="701594" y="12238"/>
                    </a:cubicBezTo>
                    <a:cubicBezTo>
                      <a:pt x="701594" y="12238"/>
                      <a:pt x="322217" y="45892"/>
                      <a:pt x="86638" y="0"/>
                    </a:cubicBezTo>
                    <a:cubicBezTo>
                      <a:pt x="86638" y="0"/>
                      <a:pt x="25448" y="119320"/>
                      <a:pt x="970" y="192748"/>
                    </a:cubicBezTo>
                    <a:cubicBezTo>
                      <a:pt x="-23505" y="269235"/>
                      <a:pt x="423181" y="229462"/>
                      <a:pt x="423181" y="229462"/>
                    </a:cubicBezTo>
                    <a:lnTo>
                      <a:pt x="778082" y="192748"/>
                    </a:lnTo>
                    <a:close/>
                  </a:path>
                </a:pathLst>
              </a:custGeom>
              <a:solidFill>
                <a:srgbClr val="D16156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72A2F8DF-E421-44B6-8552-133332D77AE8}"/>
                  </a:ext>
                </a:extLst>
              </p:cNvPr>
              <p:cNvSpPr/>
              <p:nvPr/>
            </p:nvSpPr>
            <p:spPr>
              <a:xfrm>
                <a:off x="20046112" y="3745683"/>
                <a:ext cx="88673" cy="578243"/>
              </a:xfrm>
              <a:custGeom>
                <a:avLst/>
                <a:gdLst>
                  <a:gd name="connsiteX0" fmla="*/ 33654 w 88673"/>
                  <a:gd name="connsiteY0" fmla="*/ 578243 h 578243"/>
                  <a:gd name="connsiteX1" fmla="*/ 33654 w 88673"/>
                  <a:gd name="connsiteY1" fmla="*/ 578243 h 578243"/>
                  <a:gd name="connsiteX2" fmla="*/ 27534 w 88673"/>
                  <a:gd name="connsiteY2" fmla="*/ 569065 h 578243"/>
                  <a:gd name="connsiteX3" fmla="*/ 73427 w 88673"/>
                  <a:gd name="connsiteY3" fmla="*/ 382436 h 578243"/>
                  <a:gd name="connsiteX4" fmla="*/ 0 w 88673"/>
                  <a:gd name="connsiteY4" fmla="*/ 9178 h 578243"/>
                  <a:gd name="connsiteX5" fmla="*/ 3059 w 88673"/>
                  <a:gd name="connsiteY5" fmla="*/ 0 h 578243"/>
                  <a:gd name="connsiteX6" fmla="*/ 12237 w 88673"/>
                  <a:gd name="connsiteY6" fmla="*/ 3059 h 578243"/>
                  <a:gd name="connsiteX7" fmla="*/ 85665 w 88673"/>
                  <a:gd name="connsiteY7" fmla="*/ 382436 h 578243"/>
                  <a:gd name="connsiteX8" fmla="*/ 39773 w 88673"/>
                  <a:gd name="connsiteY8" fmla="*/ 572125 h 578243"/>
                  <a:gd name="connsiteX9" fmla="*/ 33654 w 88673"/>
                  <a:gd name="connsiteY9" fmla="*/ 578243 h 578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8673" h="578243">
                    <a:moveTo>
                      <a:pt x="33654" y="578243"/>
                    </a:moveTo>
                    <a:cubicBezTo>
                      <a:pt x="33654" y="578243"/>
                      <a:pt x="33654" y="578243"/>
                      <a:pt x="33654" y="578243"/>
                    </a:cubicBezTo>
                    <a:cubicBezTo>
                      <a:pt x="27534" y="578243"/>
                      <a:pt x="27534" y="575184"/>
                      <a:pt x="27534" y="569065"/>
                    </a:cubicBezTo>
                    <a:cubicBezTo>
                      <a:pt x="45892" y="507875"/>
                      <a:pt x="64249" y="446686"/>
                      <a:pt x="73427" y="382436"/>
                    </a:cubicBezTo>
                    <a:cubicBezTo>
                      <a:pt x="85665" y="247819"/>
                      <a:pt x="39773" y="113201"/>
                      <a:pt x="0" y="9178"/>
                    </a:cubicBezTo>
                    <a:cubicBezTo>
                      <a:pt x="0" y="6119"/>
                      <a:pt x="0" y="3059"/>
                      <a:pt x="3059" y="0"/>
                    </a:cubicBezTo>
                    <a:cubicBezTo>
                      <a:pt x="6119" y="0"/>
                      <a:pt x="9178" y="0"/>
                      <a:pt x="12237" y="3059"/>
                    </a:cubicBezTo>
                    <a:cubicBezTo>
                      <a:pt x="55070" y="107082"/>
                      <a:pt x="100963" y="241700"/>
                      <a:pt x="85665" y="382436"/>
                    </a:cubicBezTo>
                    <a:cubicBezTo>
                      <a:pt x="79546" y="446686"/>
                      <a:pt x="58129" y="510935"/>
                      <a:pt x="39773" y="572125"/>
                    </a:cubicBezTo>
                    <a:cubicBezTo>
                      <a:pt x="39773" y="575184"/>
                      <a:pt x="36714" y="578243"/>
                      <a:pt x="33654" y="57824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40F5AB2F-AA1A-4DCC-91E7-EA266EBA2EE8}"/>
                  </a:ext>
                </a:extLst>
              </p:cNvPr>
              <p:cNvSpPr/>
              <p:nvPr/>
            </p:nvSpPr>
            <p:spPr>
              <a:xfrm>
                <a:off x="19666734" y="4163663"/>
                <a:ext cx="321246" cy="28704"/>
              </a:xfrm>
              <a:custGeom>
                <a:avLst/>
                <a:gdLst>
                  <a:gd name="connsiteX0" fmla="*/ 6119 w 321246"/>
                  <a:gd name="connsiteY0" fmla="*/ 28705 h 28704"/>
                  <a:gd name="connsiteX1" fmla="*/ 0 w 321246"/>
                  <a:gd name="connsiteY1" fmla="*/ 22586 h 28704"/>
                  <a:gd name="connsiteX2" fmla="*/ 6119 w 321246"/>
                  <a:gd name="connsiteY2" fmla="*/ 16467 h 28704"/>
                  <a:gd name="connsiteX3" fmla="*/ 315127 w 321246"/>
                  <a:gd name="connsiteY3" fmla="*/ 13407 h 28704"/>
                  <a:gd name="connsiteX4" fmla="*/ 321246 w 321246"/>
                  <a:gd name="connsiteY4" fmla="*/ 19526 h 28704"/>
                  <a:gd name="connsiteX5" fmla="*/ 315127 w 321246"/>
                  <a:gd name="connsiteY5" fmla="*/ 25645 h 28704"/>
                  <a:gd name="connsiteX6" fmla="*/ 6119 w 321246"/>
                  <a:gd name="connsiteY6" fmla="*/ 28705 h 28704"/>
                  <a:gd name="connsiteX7" fmla="*/ 6119 w 321246"/>
                  <a:gd name="connsiteY7" fmla="*/ 28705 h 28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1246" h="28704">
                    <a:moveTo>
                      <a:pt x="6119" y="28705"/>
                    </a:moveTo>
                    <a:cubicBezTo>
                      <a:pt x="3061" y="28705"/>
                      <a:pt x="0" y="25645"/>
                      <a:pt x="0" y="22586"/>
                    </a:cubicBezTo>
                    <a:cubicBezTo>
                      <a:pt x="0" y="19526"/>
                      <a:pt x="0" y="16467"/>
                      <a:pt x="6119" y="16467"/>
                    </a:cubicBezTo>
                    <a:cubicBezTo>
                      <a:pt x="107082" y="-4950"/>
                      <a:pt x="214164" y="-4950"/>
                      <a:pt x="315127" y="13407"/>
                    </a:cubicBezTo>
                    <a:cubicBezTo>
                      <a:pt x="318188" y="13407"/>
                      <a:pt x="321246" y="16467"/>
                      <a:pt x="321246" y="19526"/>
                    </a:cubicBezTo>
                    <a:cubicBezTo>
                      <a:pt x="321246" y="22586"/>
                      <a:pt x="318188" y="25645"/>
                      <a:pt x="315127" y="25645"/>
                    </a:cubicBezTo>
                    <a:cubicBezTo>
                      <a:pt x="214164" y="7288"/>
                      <a:pt x="107082" y="7288"/>
                      <a:pt x="6119" y="28705"/>
                    </a:cubicBezTo>
                    <a:cubicBezTo>
                      <a:pt x="9178" y="28705"/>
                      <a:pt x="6119" y="28705"/>
                      <a:pt x="6119" y="28705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24" name="图形 892">
                <a:extLst>
                  <a:ext uri="{FF2B5EF4-FFF2-40B4-BE49-F238E27FC236}">
                    <a16:creationId xmlns:a16="http://schemas.microsoft.com/office/drawing/2014/main" id="{8D8BFD64-C24F-4877-86CE-35BD1CFE6995}"/>
                  </a:ext>
                </a:extLst>
              </p:cNvPr>
              <p:cNvGrpSpPr/>
              <p:nvPr/>
            </p:nvGrpSpPr>
            <p:grpSpPr>
              <a:xfrm>
                <a:off x="23368717" y="6352368"/>
                <a:ext cx="499036" cy="342662"/>
                <a:chOff x="23368717" y="6352368"/>
                <a:chExt cx="499036" cy="342662"/>
              </a:xfrm>
            </p:grpSpPr>
            <p:sp>
              <p:nvSpPr>
                <p:cNvPr id="109" name="任意多边形: 形状 108">
                  <a:extLst>
                    <a:ext uri="{FF2B5EF4-FFF2-40B4-BE49-F238E27FC236}">
                      <a16:creationId xmlns:a16="http://schemas.microsoft.com/office/drawing/2014/main" id="{69123F16-47D2-4EB6-8C07-08FB9F47FB42}"/>
                    </a:ext>
                  </a:extLst>
                </p:cNvPr>
                <p:cNvSpPr/>
                <p:nvPr/>
              </p:nvSpPr>
              <p:spPr>
                <a:xfrm>
                  <a:off x="23665488" y="6352368"/>
                  <a:ext cx="183569" cy="223342"/>
                </a:xfrm>
                <a:custGeom>
                  <a:avLst/>
                  <a:gdLst>
                    <a:gd name="connsiteX0" fmla="*/ 180511 w 183569"/>
                    <a:gd name="connsiteY0" fmla="*/ 183569 h 223342"/>
                    <a:gd name="connsiteX1" fmla="*/ 183569 w 183569"/>
                    <a:gd name="connsiteY1" fmla="*/ 0 h 223342"/>
                    <a:gd name="connsiteX2" fmla="*/ 0 w 183569"/>
                    <a:gd name="connsiteY2" fmla="*/ 0 h 223342"/>
                    <a:gd name="connsiteX3" fmla="*/ 15297 w 183569"/>
                    <a:gd name="connsiteY3" fmla="*/ 195807 h 223342"/>
                    <a:gd name="connsiteX4" fmla="*/ 168272 w 183569"/>
                    <a:gd name="connsiteY4" fmla="*/ 223343 h 223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3569" h="223342">
                      <a:moveTo>
                        <a:pt x="180511" y="183569"/>
                      </a:moveTo>
                      <a:lnTo>
                        <a:pt x="183569" y="0"/>
                      </a:lnTo>
                      <a:lnTo>
                        <a:pt x="0" y="0"/>
                      </a:lnTo>
                      <a:lnTo>
                        <a:pt x="15297" y="195807"/>
                      </a:lnTo>
                      <a:lnTo>
                        <a:pt x="168272" y="223343"/>
                      </a:lnTo>
                      <a:close/>
                    </a:path>
                  </a:pathLst>
                </a:custGeom>
                <a:solidFill>
                  <a:srgbClr val="F49F84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" name="任意多边形: 形状 109">
                  <a:extLst>
                    <a:ext uri="{FF2B5EF4-FFF2-40B4-BE49-F238E27FC236}">
                      <a16:creationId xmlns:a16="http://schemas.microsoft.com/office/drawing/2014/main" id="{1CB1C1F7-617A-491F-941F-1690ED7282CC}"/>
                    </a:ext>
                  </a:extLst>
                </p:cNvPr>
                <p:cNvSpPr/>
                <p:nvPr/>
              </p:nvSpPr>
              <p:spPr>
                <a:xfrm>
                  <a:off x="23368717" y="6490045"/>
                  <a:ext cx="499036" cy="159093"/>
                </a:xfrm>
                <a:custGeom>
                  <a:avLst/>
                  <a:gdLst>
                    <a:gd name="connsiteX0" fmla="*/ 489518 w 499036"/>
                    <a:gd name="connsiteY0" fmla="*/ 45892 h 159093"/>
                    <a:gd name="connsiteX1" fmla="*/ 302890 w 499036"/>
                    <a:gd name="connsiteY1" fmla="*/ 0 h 159093"/>
                    <a:gd name="connsiteX2" fmla="*/ 168272 w 499036"/>
                    <a:gd name="connsiteY2" fmla="*/ 79547 h 159093"/>
                    <a:gd name="connsiteX3" fmla="*/ 0 w 499036"/>
                    <a:gd name="connsiteY3" fmla="*/ 159093 h 159093"/>
                    <a:gd name="connsiteX4" fmla="*/ 489518 w 499036"/>
                    <a:gd name="connsiteY4" fmla="*/ 159093 h 159093"/>
                    <a:gd name="connsiteX5" fmla="*/ 489518 w 499036"/>
                    <a:gd name="connsiteY5" fmla="*/ 45892 h 1590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9036" h="159093">
                      <a:moveTo>
                        <a:pt x="489518" y="45892"/>
                      </a:moveTo>
                      <a:cubicBezTo>
                        <a:pt x="489518" y="45892"/>
                        <a:pt x="364080" y="64249"/>
                        <a:pt x="302890" y="0"/>
                      </a:cubicBezTo>
                      <a:cubicBezTo>
                        <a:pt x="302890" y="0"/>
                        <a:pt x="214164" y="70368"/>
                        <a:pt x="168272" y="79547"/>
                      </a:cubicBezTo>
                      <a:cubicBezTo>
                        <a:pt x="122380" y="88725"/>
                        <a:pt x="12239" y="85666"/>
                        <a:pt x="0" y="159093"/>
                      </a:cubicBezTo>
                      <a:lnTo>
                        <a:pt x="489518" y="159093"/>
                      </a:lnTo>
                      <a:cubicBezTo>
                        <a:pt x="489518" y="159093"/>
                        <a:pt x="510935" y="97904"/>
                        <a:pt x="489518" y="45892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" name="任意多边形: 形状 110">
                  <a:extLst>
                    <a:ext uri="{FF2B5EF4-FFF2-40B4-BE49-F238E27FC236}">
                      <a16:creationId xmlns:a16="http://schemas.microsoft.com/office/drawing/2014/main" id="{B2489722-F749-4D46-B88E-850F9309CCC4}"/>
                    </a:ext>
                  </a:extLst>
                </p:cNvPr>
                <p:cNvSpPr/>
                <p:nvPr/>
              </p:nvSpPr>
              <p:spPr>
                <a:xfrm>
                  <a:off x="23368718" y="6649139"/>
                  <a:ext cx="489518" cy="45892"/>
                </a:xfrm>
                <a:custGeom>
                  <a:avLst/>
                  <a:gdLst>
                    <a:gd name="connsiteX0" fmla="*/ 0 w 489518"/>
                    <a:gd name="connsiteY0" fmla="*/ 0 h 45892"/>
                    <a:gd name="connsiteX1" fmla="*/ 489518 w 489518"/>
                    <a:gd name="connsiteY1" fmla="*/ 0 h 45892"/>
                    <a:gd name="connsiteX2" fmla="*/ 489518 w 489518"/>
                    <a:gd name="connsiteY2" fmla="*/ 45892 h 45892"/>
                    <a:gd name="connsiteX3" fmla="*/ 0 w 489518"/>
                    <a:gd name="connsiteY3" fmla="*/ 45892 h 4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89518" h="45892">
                      <a:moveTo>
                        <a:pt x="0" y="0"/>
                      </a:moveTo>
                      <a:lnTo>
                        <a:pt x="489518" y="0"/>
                      </a:lnTo>
                      <a:lnTo>
                        <a:pt x="489518" y="45892"/>
                      </a:lnTo>
                      <a:lnTo>
                        <a:pt x="0" y="45892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A130E324-09C9-4765-A506-D17EBD456FB1}"/>
                    </a:ext>
                  </a:extLst>
                </p:cNvPr>
                <p:cNvSpPr/>
                <p:nvPr/>
              </p:nvSpPr>
              <p:spPr>
                <a:xfrm>
                  <a:off x="23666253" y="6481631"/>
                  <a:ext cx="201160" cy="63484"/>
                </a:xfrm>
                <a:custGeom>
                  <a:avLst/>
                  <a:gdLst>
                    <a:gd name="connsiteX0" fmla="*/ 158329 w 201160"/>
                    <a:gd name="connsiteY0" fmla="*/ 63485 h 63484"/>
                    <a:gd name="connsiteX1" fmla="*/ 2294 w 201160"/>
                    <a:gd name="connsiteY1" fmla="*/ 11473 h 63484"/>
                    <a:gd name="connsiteX2" fmla="*/ 2294 w 201160"/>
                    <a:gd name="connsiteY2" fmla="*/ 2295 h 63484"/>
                    <a:gd name="connsiteX3" fmla="*/ 11474 w 201160"/>
                    <a:gd name="connsiteY3" fmla="*/ 2295 h 63484"/>
                    <a:gd name="connsiteX4" fmla="*/ 195043 w 201160"/>
                    <a:gd name="connsiteY4" fmla="*/ 48187 h 63484"/>
                    <a:gd name="connsiteX5" fmla="*/ 201161 w 201160"/>
                    <a:gd name="connsiteY5" fmla="*/ 54306 h 63484"/>
                    <a:gd name="connsiteX6" fmla="*/ 195043 w 201160"/>
                    <a:gd name="connsiteY6" fmla="*/ 60425 h 63484"/>
                    <a:gd name="connsiteX7" fmla="*/ 158329 w 201160"/>
                    <a:gd name="connsiteY7" fmla="*/ 63485 h 63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1160" h="63484">
                      <a:moveTo>
                        <a:pt x="158329" y="63485"/>
                      </a:moveTo>
                      <a:cubicBezTo>
                        <a:pt x="118556" y="63485"/>
                        <a:pt x="51247" y="57366"/>
                        <a:pt x="2294" y="11473"/>
                      </a:cubicBezTo>
                      <a:cubicBezTo>
                        <a:pt x="-765" y="8414"/>
                        <a:pt x="-765" y="5354"/>
                        <a:pt x="2294" y="2295"/>
                      </a:cubicBezTo>
                      <a:cubicBezTo>
                        <a:pt x="5355" y="-765"/>
                        <a:pt x="8413" y="-765"/>
                        <a:pt x="11474" y="2295"/>
                      </a:cubicBezTo>
                      <a:cubicBezTo>
                        <a:pt x="78781" y="63485"/>
                        <a:pt x="191983" y="48187"/>
                        <a:pt x="195043" y="48187"/>
                      </a:cubicBezTo>
                      <a:cubicBezTo>
                        <a:pt x="198102" y="48187"/>
                        <a:pt x="201161" y="51246"/>
                        <a:pt x="201161" y="54306"/>
                      </a:cubicBezTo>
                      <a:cubicBezTo>
                        <a:pt x="201161" y="57366"/>
                        <a:pt x="198102" y="60425"/>
                        <a:pt x="195043" y="60425"/>
                      </a:cubicBezTo>
                      <a:cubicBezTo>
                        <a:pt x="191983" y="60425"/>
                        <a:pt x="179746" y="63485"/>
                        <a:pt x="158329" y="63485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" name="任意多边形: 形状 112">
                  <a:extLst>
                    <a:ext uri="{FF2B5EF4-FFF2-40B4-BE49-F238E27FC236}">
                      <a16:creationId xmlns:a16="http://schemas.microsoft.com/office/drawing/2014/main" id="{174D9495-D23C-46D3-945F-3CB9EC5B34A3}"/>
                    </a:ext>
                  </a:extLst>
                </p:cNvPr>
                <p:cNvSpPr/>
                <p:nvPr/>
              </p:nvSpPr>
              <p:spPr>
                <a:xfrm>
                  <a:off x="23632599" y="6506108"/>
                  <a:ext cx="38243" cy="42067"/>
                </a:xfrm>
                <a:custGeom>
                  <a:avLst/>
                  <a:gdLst>
                    <a:gd name="connsiteX0" fmla="*/ 29830 w 38243"/>
                    <a:gd name="connsiteY0" fmla="*/ 42068 h 42067"/>
                    <a:gd name="connsiteX1" fmla="*/ 26770 w 38243"/>
                    <a:gd name="connsiteY1" fmla="*/ 39009 h 42067"/>
                    <a:gd name="connsiteX2" fmla="*/ 2294 w 38243"/>
                    <a:gd name="connsiteY2" fmla="*/ 11473 h 42067"/>
                    <a:gd name="connsiteX3" fmla="*/ 2294 w 38243"/>
                    <a:gd name="connsiteY3" fmla="*/ 2295 h 42067"/>
                    <a:gd name="connsiteX4" fmla="*/ 11472 w 38243"/>
                    <a:gd name="connsiteY4" fmla="*/ 2295 h 42067"/>
                    <a:gd name="connsiteX5" fmla="*/ 35948 w 38243"/>
                    <a:gd name="connsiteY5" fmla="*/ 29830 h 42067"/>
                    <a:gd name="connsiteX6" fmla="*/ 35948 w 38243"/>
                    <a:gd name="connsiteY6" fmla="*/ 39009 h 42067"/>
                    <a:gd name="connsiteX7" fmla="*/ 29830 w 38243"/>
                    <a:gd name="connsiteY7" fmla="*/ 42068 h 42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8243" h="42067">
                      <a:moveTo>
                        <a:pt x="29830" y="42068"/>
                      </a:moveTo>
                      <a:cubicBezTo>
                        <a:pt x="29830" y="42068"/>
                        <a:pt x="26770" y="42068"/>
                        <a:pt x="26770" y="39009"/>
                      </a:cubicBezTo>
                      <a:lnTo>
                        <a:pt x="2294" y="11473"/>
                      </a:lnTo>
                      <a:cubicBezTo>
                        <a:pt x="-765" y="8414"/>
                        <a:pt x="-765" y="5354"/>
                        <a:pt x="2294" y="2295"/>
                      </a:cubicBezTo>
                      <a:cubicBezTo>
                        <a:pt x="5353" y="-765"/>
                        <a:pt x="8413" y="-765"/>
                        <a:pt x="11472" y="2295"/>
                      </a:cubicBezTo>
                      <a:lnTo>
                        <a:pt x="35948" y="29830"/>
                      </a:lnTo>
                      <a:cubicBezTo>
                        <a:pt x="39008" y="32890"/>
                        <a:pt x="39008" y="35949"/>
                        <a:pt x="35948" y="39009"/>
                      </a:cubicBezTo>
                      <a:cubicBezTo>
                        <a:pt x="32889" y="42068"/>
                        <a:pt x="32889" y="42068"/>
                        <a:pt x="29830" y="42068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045CA776-DD87-4054-8A1F-42CC1F19063B}"/>
                    </a:ext>
                  </a:extLst>
                </p:cNvPr>
                <p:cNvSpPr/>
                <p:nvPr/>
              </p:nvSpPr>
              <p:spPr>
                <a:xfrm>
                  <a:off x="23592825" y="6533643"/>
                  <a:ext cx="41303" cy="42068"/>
                </a:xfrm>
                <a:custGeom>
                  <a:avLst/>
                  <a:gdLst>
                    <a:gd name="connsiteX0" fmla="*/ 32890 w 41303"/>
                    <a:gd name="connsiteY0" fmla="*/ 42068 h 42068"/>
                    <a:gd name="connsiteX1" fmla="*/ 29830 w 41303"/>
                    <a:gd name="connsiteY1" fmla="*/ 39009 h 42068"/>
                    <a:gd name="connsiteX2" fmla="*/ 2295 w 41303"/>
                    <a:gd name="connsiteY2" fmla="*/ 11473 h 42068"/>
                    <a:gd name="connsiteX3" fmla="*/ 2295 w 41303"/>
                    <a:gd name="connsiteY3" fmla="*/ 2295 h 42068"/>
                    <a:gd name="connsiteX4" fmla="*/ 11474 w 41303"/>
                    <a:gd name="connsiteY4" fmla="*/ 2295 h 42068"/>
                    <a:gd name="connsiteX5" fmla="*/ 39010 w 41303"/>
                    <a:gd name="connsiteY5" fmla="*/ 29830 h 42068"/>
                    <a:gd name="connsiteX6" fmla="*/ 39010 w 41303"/>
                    <a:gd name="connsiteY6" fmla="*/ 39009 h 42068"/>
                    <a:gd name="connsiteX7" fmla="*/ 32890 w 41303"/>
                    <a:gd name="connsiteY7" fmla="*/ 42068 h 4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303" h="42068">
                      <a:moveTo>
                        <a:pt x="32890" y="42068"/>
                      </a:moveTo>
                      <a:cubicBezTo>
                        <a:pt x="32890" y="42068"/>
                        <a:pt x="29830" y="42068"/>
                        <a:pt x="29830" y="39009"/>
                      </a:cubicBezTo>
                      <a:lnTo>
                        <a:pt x="2295" y="11473"/>
                      </a:lnTo>
                      <a:cubicBezTo>
                        <a:pt x="-765" y="8414"/>
                        <a:pt x="-765" y="5354"/>
                        <a:pt x="2295" y="2295"/>
                      </a:cubicBezTo>
                      <a:cubicBezTo>
                        <a:pt x="5354" y="-765"/>
                        <a:pt x="8415" y="-765"/>
                        <a:pt x="11474" y="2295"/>
                      </a:cubicBezTo>
                      <a:lnTo>
                        <a:pt x="39010" y="29830"/>
                      </a:lnTo>
                      <a:cubicBezTo>
                        <a:pt x="42068" y="32890"/>
                        <a:pt x="42068" y="35949"/>
                        <a:pt x="39010" y="39009"/>
                      </a:cubicBezTo>
                      <a:cubicBezTo>
                        <a:pt x="35949" y="42068"/>
                        <a:pt x="32890" y="42068"/>
                        <a:pt x="32890" y="42068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25" name="图形 892">
                <a:extLst>
                  <a:ext uri="{FF2B5EF4-FFF2-40B4-BE49-F238E27FC236}">
                    <a16:creationId xmlns:a16="http://schemas.microsoft.com/office/drawing/2014/main" id="{2193D08B-08CE-4C1F-8EAD-5E1BF17ABC76}"/>
                  </a:ext>
                </a:extLst>
              </p:cNvPr>
              <p:cNvGrpSpPr/>
              <p:nvPr/>
            </p:nvGrpSpPr>
            <p:grpSpPr>
              <a:xfrm>
                <a:off x="24084638" y="6352368"/>
                <a:ext cx="498696" cy="342662"/>
                <a:chOff x="24084638" y="6352368"/>
                <a:chExt cx="498696" cy="342662"/>
              </a:xfrm>
            </p:grpSpPr>
            <p:sp>
              <p:nvSpPr>
                <p:cNvPr id="103" name="任意多边形: 形状 102">
                  <a:extLst>
                    <a:ext uri="{FF2B5EF4-FFF2-40B4-BE49-F238E27FC236}">
                      <a16:creationId xmlns:a16="http://schemas.microsoft.com/office/drawing/2014/main" id="{9A23C3B4-4082-457F-883F-4C4729D73C7D}"/>
                    </a:ext>
                  </a:extLst>
                </p:cNvPr>
                <p:cNvSpPr/>
                <p:nvPr/>
              </p:nvSpPr>
              <p:spPr>
                <a:xfrm>
                  <a:off x="24393646" y="6352368"/>
                  <a:ext cx="183569" cy="223342"/>
                </a:xfrm>
                <a:custGeom>
                  <a:avLst/>
                  <a:gdLst>
                    <a:gd name="connsiteX0" fmla="*/ 168272 w 183569"/>
                    <a:gd name="connsiteY0" fmla="*/ 183569 h 223342"/>
                    <a:gd name="connsiteX1" fmla="*/ 183569 w 183569"/>
                    <a:gd name="connsiteY1" fmla="*/ 0 h 223342"/>
                    <a:gd name="connsiteX2" fmla="*/ 0 w 183569"/>
                    <a:gd name="connsiteY2" fmla="*/ 0 h 223342"/>
                    <a:gd name="connsiteX3" fmla="*/ 3061 w 183569"/>
                    <a:gd name="connsiteY3" fmla="*/ 195807 h 223342"/>
                    <a:gd name="connsiteX4" fmla="*/ 156035 w 183569"/>
                    <a:gd name="connsiteY4" fmla="*/ 223343 h 223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3569" h="223342">
                      <a:moveTo>
                        <a:pt x="168272" y="183569"/>
                      </a:moveTo>
                      <a:lnTo>
                        <a:pt x="183569" y="0"/>
                      </a:lnTo>
                      <a:lnTo>
                        <a:pt x="0" y="0"/>
                      </a:lnTo>
                      <a:lnTo>
                        <a:pt x="3061" y="195807"/>
                      </a:lnTo>
                      <a:lnTo>
                        <a:pt x="156035" y="223343"/>
                      </a:lnTo>
                      <a:close/>
                    </a:path>
                  </a:pathLst>
                </a:custGeom>
                <a:solidFill>
                  <a:srgbClr val="F49F84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4" name="任意多边形: 形状 103">
                  <a:extLst>
                    <a:ext uri="{FF2B5EF4-FFF2-40B4-BE49-F238E27FC236}">
                      <a16:creationId xmlns:a16="http://schemas.microsoft.com/office/drawing/2014/main" id="{36DAD623-205E-4EBC-AA4D-34205C2137F2}"/>
                    </a:ext>
                  </a:extLst>
                </p:cNvPr>
                <p:cNvSpPr/>
                <p:nvPr/>
              </p:nvSpPr>
              <p:spPr>
                <a:xfrm>
                  <a:off x="24084639" y="6490045"/>
                  <a:ext cx="497676" cy="159093"/>
                </a:xfrm>
                <a:custGeom>
                  <a:avLst/>
                  <a:gdLst>
                    <a:gd name="connsiteX0" fmla="*/ 489518 w 497676"/>
                    <a:gd name="connsiteY0" fmla="*/ 45892 h 159093"/>
                    <a:gd name="connsiteX1" fmla="*/ 302888 w 497676"/>
                    <a:gd name="connsiteY1" fmla="*/ 0 h 159093"/>
                    <a:gd name="connsiteX2" fmla="*/ 168272 w 497676"/>
                    <a:gd name="connsiteY2" fmla="*/ 79547 h 159093"/>
                    <a:gd name="connsiteX3" fmla="*/ 0 w 497676"/>
                    <a:gd name="connsiteY3" fmla="*/ 159093 h 159093"/>
                    <a:gd name="connsiteX4" fmla="*/ 489518 w 497676"/>
                    <a:gd name="connsiteY4" fmla="*/ 159093 h 159093"/>
                    <a:gd name="connsiteX5" fmla="*/ 489518 w 497676"/>
                    <a:gd name="connsiteY5" fmla="*/ 45892 h 1590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7676" h="159093">
                      <a:moveTo>
                        <a:pt x="489518" y="45892"/>
                      </a:moveTo>
                      <a:cubicBezTo>
                        <a:pt x="489518" y="45892"/>
                        <a:pt x="364078" y="64249"/>
                        <a:pt x="302888" y="0"/>
                      </a:cubicBezTo>
                      <a:cubicBezTo>
                        <a:pt x="302888" y="0"/>
                        <a:pt x="214164" y="70368"/>
                        <a:pt x="168272" y="79547"/>
                      </a:cubicBezTo>
                      <a:cubicBezTo>
                        <a:pt x="122380" y="88725"/>
                        <a:pt x="12237" y="85666"/>
                        <a:pt x="0" y="159093"/>
                      </a:cubicBezTo>
                      <a:lnTo>
                        <a:pt x="489518" y="159093"/>
                      </a:lnTo>
                      <a:cubicBezTo>
                        <a:pt x="489518" y="159093"/>
                        <a:pt x="507875" y="97904"/>
                        <a:pt x="489518" y="45892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5" name="任意多边形: 形状 104">
                  <a:extLst>
                    <a:ext uri="{FF2B5EF4-FFF2-40B4-BE49-F238E27FC236}">
                      <a16:creationId xmlns:a16="http://schemas.microsoft.com/office/drawing/2014/main" id="{37BD4A29-C080-4DB1-99C5-714DE58CD58B}"/>
                    </a:ext>
                  </a:extLst>
                </p:cNvPr>
                <p:cNvSpPr/>
                <p:nvPr/>
              </p:nvSpPr>
              <p:spPr>
                <a:xfrm>
                  <a:off x="24084638" y="6649139"/>
                  <a:ext cx="489518" cy="45892"/>
                </a:xfrm>
                <a:custGeom>
                  <a:avLst/>
                  <a:gdLst>
                    <a:gd name="connsiteX0" fmla="*/ 0 w 489518"/>
                    <a:gd name="connsiteY0" fmla="*/ 0 h 45892"/>
                    <a:gd name="connsiteX1" fmla="*/ 489519 w 489518"/>
                    <a:gd name="connsiteY1" fmla="*/ 0 h 45892"/>
                    <a:gd name="connsiteX2" fmla="*/ 489519 w 489518"/>
                    <a:gd name="connsiteY2" fmla="*/ 45892 h 45892"/>
                    <a:gd name="connsiteX3" fmla="*/ 0 w 489518"/>
                    <a:gd name="connsiteY3" fmla="*/ 45892 h 4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89518" h="45892">
                      <a:moveTo>
                        <a:pt x="0" y="0"/>
                      </a:moveTo>
                      <a:lnTo>
                        <a:pt x="489519" y="0"/>
                      </a:lnTo>
                      <a:lnTo>
                        <a:pt x="489519" y="45892"/>
                      </a:lnTo>
                      <a:lnTo>
                        <a:pt x="0" y="45892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6" name="任意多边形: 形状 105">
                  <a:extLst>
                    <a:ext uri="{FF2B5EF4-FFF2-40B4-BE49-F238E27FC236}">
                      <a16:creationId xmlns:a16="http://schemas.microsoft.com/office/drawing/2014/main" id="{FFD06E54-3BCD-45EB-B00A-48074ACE4016}"/>
                    </a:ext>
                  </a:extLst>
                </p:cNvPr>
                <p:cNvSpPr/>
                <p:nvPr/>
              </p:nvSpPr>
              <p:spPr>
                <a:xfrm>
                  <a:off x="24382174" y="6481631"/>
                  <a:ext cx="201160" cy="63484"/>
                </a:xfrm>
                <a:custGeom>
                  <a:avLst/>
                  <a:gdLst>
                    <a:gd name="connsiteX0" fmla="*/ 158327 w 201160"/>
                    <a:gd name="connsiteY0" fmla="*/ 63485 h 63484"/>
                    <a:gd name="connsiteX1" fmla="*/ 2294 w 201160"/>
                    <a:gd name="connsiteY1" fmla="*/ 11473 h 63484"/>
                    <a:gd name="connsiteX2" fmla="*/ 2294 w 201160"/>
                    <a:gd name="connsiteY2" fmla="*/ 2295 h 63484"/>
                    <a:gd name="connsiteX3" fmla="*/ 11472 w 201160"/>
                    <a:gd name="connsiteY3" fmla="*/ 2295 h 63484"/>
                    <a:gd name="connsiteX4" fmla="*/ 195042 w 201160"/>
                    <a:gd name="connsiteY4" fmla="*/ 48187 h 63484"/>
                    <a:gd name="connsiteX5" fmla="*/ 201161 w 201160"/>
                    <a:gd name="connsiteY5" fmla="*/ 54306 h 63484"/>
                    <a:gd name="connsiteX6" fmla="*/ 195042 w 201160"/>
                    <a:gd name="connsiteY6" fmla="*/ 60425 h 63484"/>
                    <a:gd name="connsiteX7" fmla="*/ 158327 w 201160"/>
                    <a:gd name="connsiteY7" fmla="*/ 63485 h 63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1160" h="63484">
                      <a:moveTo>
                        <a:pt x="158327" y="63485"/>
                      </a:moveTo>
                      <a:cubicBezTo>
                        <a:pt x="118554" y="63485"/>
                        <a:pt x="51245" y="57366"/>
                        <a:pt x="2294" y="11473"/>
                      </a:cubicBezTo>
                      <a:cubicBezTo>
                        <a:pt x="-765" y="8414"/>
                        <a:pt x="-765" y="5354"/>
                        <a:pt x="2294" y="2295"/>
                      </a:cubicBezTo>
                      <a:cubicBezTo>
                        <a:pt x="5353" y="-765"/>
                        <a:pt x="8413" y="-765"/>
                        <a:pt x="11472" y="2295"/>
                      </a:cubicBezTo>
                      <a:cubicBezTo>
                        <a:pt x="78781" y="63485"/>
                        <a:pt x="191983" y="48187"/>
                        <a:pt x="195042" y="48187"/>
                      </a:cubicBezTo>
                      <a:cubicBezTo>
                        <a:pt x="198102" y="48187"/>
                        <a:pt x="201161" y="51246"/>
                        <a:pt x="201161" y="54306"/>
                      </a:cubicBezTo>
                      <a:cubicBezTo>
                        <a:pt x="201161" y="57366"/>
                        <a:pt x="198102" y="60425"/>
                        <a:pt x="195042" y="60425"/>
                      </a:cubicBezTo>
                      <a:cubicBezTo>
                        <a:pt x="191983" y="60425"/>
                        <a:pt x="176685" y="63485"/>
                        <a:pt x="158327" y="63485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7" name="任意多边形: 形状 106">
                  <a:extLst>
                    <a:ext uri="{FF2B5EF4-FFF2-40B4-BE49-F238E27FC236}">
                      <a16:creationId xmlns:a16="http://schemas.microsoft.com/office/drawing/2014/main" id="{5F1EDA2F-C7DE-454F-8468-1F0410D3503E}"/>
                    </a:ext>
                  </a:extLst>
                </p:cNvPr>
                <p:cNvSpPr/>
                <p:nvPr/>
              </p:nvSpPr>
              <p:spPr>
                <a:xfrm>
                  <a:off x="24345460" y="6506108"/>
                  <a:ext cx="41302" cy="42067"/>
                </a:xfrm>
                <a:custGeom>
                  <a:avLst/>
                  <a:gdLst>
                    <a:gd name="connsiteX0" fmla="*/ 32889 w 41302"/>
                    <a:gd name="connsiteY0" fmla="*/ 42068 h 42067"/>
                    <a:gd name="connsiteX1" fmla="*/ 29830 w 41302"/>
                    <a:gd name="connsiteY1" fmla="*/ 39009 h 42067"/>
                    <a:gd name="connsiteX2" fmla="*/ 2294 w 41302"/>
                    <a:gd name="connsiteY2" fmla="*/ 11473 h 42067"/>
                    <a:gd name="connsiteX3" fmla="*/ 2294 w 41302"/>
                    <a:gd name="connsiteY3" fmla="*/ 2295 h 42067"/>
                    <a:gd name="connsiteX4" fmla="*/ 11472 w 41302"/>
                    <a:gd name="connsiteY4" fmla="*/ 2295 h 42067"/>
                    <a:gd name="connsiteX5" fmla="*/ 39008 w 41302"/>
                    <a:gd name="connsiteY5" fmla="*/ 29830 h 42067"/>
                    <a:gd name="connsiteX6" fmla="*/ 39008 w 41302"/>
                    <a:gd name="connsiteY6" fmla="*/ 39009 h 42067"/>
                    <a:gd name="connsiteX7" fmla="*/ 32889 w 41302"/>
                    <a:gd name="connsiteY7" fmla="*/ 42068 h 42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302" h="42067">
                      <a:moveTo>
                        <a:pt x="32889" y="42068"/>
                      </a:moveTo>
                      <a:cubicBezTo>
                        <a:pt x="32889" y="42068"/>
                        <a:pt x="29830" y="42068"/>
                        <a:pt x="29830" y="39009"/>
                      </a:cubicBezTo>
                      <a:lnTo>
                        <a:pt x="2294" y="11473"/>
                      </a:lnTo>
                      <a:cubicBezTo>
                        <a:pt x="-765" y="8414"/>
                        <a:pt x="-765" y="5354"/>
                        <a:pt x="2294" y="2295"/>
                      </a:cubicBezTo>
                      <a:cubicBezTo>
                        <a:pt x="5355" y="-765"/>
                        <a:pt x="8413" y="-765"/>
                        <a:pt x="11472" y="2295"/>
                      </a:cubicBezTo>
                      <a:lnTo>
                        <a:pt x="39008" y="29830"/>
                      </a:lnTo>
                      <a:cubicBezTo>
                        <a:pt x="42067" y="32890"/>
                        <a:pt x="42067" y="35949"/>
                        <a:pt x="39008" y="39009"/>
                      </a:cubicBezTo>
                      <a:cubicBezTo>
                        <a:pt x="35950" y="42068"/>
                        <a:pt x="32889" y="42068"/>
                        <a:pt x="32889" y="42068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8" name="任意多边形: 形状 107">
                  <a:extLst>
                    <a:ext uri="{FF2B5EF4-FFF2-40B4-BE49-F238E27FC236}">
                      <a16:creationId xmlns:a16="http://schemas.microsoft.com/office/drawing/2014/main" id="{D84F1E33-DE7F-4388-B440-9B267D2C9B85}"/>
                    </a:ext>
                  </a:extLst>
                </p:cNvPr>
                <p:cNvSpPr/>
                <p:nvPr/>
              </p:nvSpPr>
              <p:spPr>
                <a:xfrm>
                  <a:off x="24308746" y="6533643"/>
                  <a:ext cx="38243" cy="42068"/>
                </a:xfrm>
                <a:custGeom>
                  <a:avLst/>
                  <a:gdLst>
                    <a:gd name="connsiteX0" fmla="*/ 29830 w 38243"/>
                    <a:gd name="connsiteY0" fmla="*/ 42068 h 42068"/>
                    <a:gd name="connsiteX1" fmla="*/ 26771 w 38243"/>
                    <a:gd name="connsiteY1" fmla="*/ 39009 h 42068"/>
                    <a:gd name="connsiteX2" fmla="*/ 2294 w 38243"/>
                    <a:gd name="connsiteY2" fmla="*/ 11473 h 42068"/>
                    <a:gd name="connsiteX3" fmla="*/ 2294 w 38243"/>
                    <a:gd name="connsiteY3" fmla="*/ 2295 h 42068"/>
                    <a:gd name="connsiteX4" fmla="*/ 11474 w 38243"/>
                    <a:gd name="connsiteY4" fmla="*/ 2295 h 42068"/>
                    <a:gd name="connsiteX5" fmla="*/ 35950 w 38243"/>
                    <a:gd name="connsiteY5" fmla="*/ 29830 h 42068"/>
                    <a:gd name="connsiteX6" fmla="*/ 35950 w 38243"/>
                    <a:gd name="connsiteY6" fmla="*/ 39009 h 42068"/>
                    <a:gd name="connsiteX7" fmla="*/ 29830 w 38243"/>
                    <a:gd name="connsiteY7" fmla="*/ 42068 h 4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8243" h="42068">
                      <a:moveTo>
                        <a:pt x="29830" y="42068"/>
                      </a:moveTo>
                      <a:cubicBezTo>
                        <a:pt x="29830" y="42068"/>
                        <a:pt x="26771" y="42068"/>
                        <a:pt x="26771" y="39009"/>
                      </a:cubicBezTo>
                      <a:lnTo>
                        <a:pt x="2294" y="11473"/>
                      </a:lnTo>
                      <a:cubicBezTo>
                        <a:pt x="-765" y="8414"/>
                        <a:pt x="-765" y="5354"/>
                        <a:pt x="2294" y="2295"/>
                      </a:cubicBezTo>
                      <a:cubicBezTo>
                        <a:pt x="5355" y="-765"/>
                        <a:pt x="8413" y="-765"/>
                        <a:pt x="11474" y="2295"/>
                      </a:cubicBezTo>
                      <a:lnTo>
                        <a:pt x="35950" y="29830"/>
                      </a:lnTo>
                      <a:cubicBezTo>
                        <a:pt x="39008" y="32890"/>
                        <a:pt x="39008" y="35949"/>
                        <a:pt x="35950" y="39009"/>
                      </a:cubicBezTo>
                      <a:cubicBezTo>
                        <a:pt x="32889" y="42068"/>
                        <a:pt x="32889" y="42068"/>
                        <a:pt x="29830" y="42068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A5077015-9ADA-484D-B4E9-1CF3C1A01461}"/>
                  </a:ext>
                </a:extLst>
              </p:cNvPr>
              <p:cNvSpPr/>
              <p:nvPr/>
            </p:nvSpPr>
            <p:spPr>
              <a:xfrm>
                <a:off x="23527429" y="4128119"/>
                <a:ext cx="1108491" cy="2303796"/>
              </a:xfrm>
              <a:custGeom>
                <a:avLst/>
                <a:gdLst>
                  <a:gd name="connsiteX0" fmla="*/ 30977 w 1108491"/>
                  <a:gd name="connsiteY0" fmla="*/ 21416 h 2303796"/>
                  <a:gd name="connsiteX1" fmla="*/ 12621 w 1108491"/>
                  <a:gd name="connsiteY1" fmla="*/ 1410425 h 2303796"/>
                  <a:gd name="connsiteX2" fmla="*/ 82989 w 1108491"/>
                  <a:gd name="connsiteY2" fmla="*/ 2303796 h 2303796"/>
                  <a:gd name="connsiteX3" fmla="*/ 379759 w 1108491"/>
                  <a:gd name="connsiteY3" fmla="*/ 2303796 h 2303796"/>
                  <a:gd name="connsiteX4" fmla="*/ 419532 w 1108491"/>
                  <a:gd name="connsiteY4" fmla="*/ 1434901 h 2303796"/>
                  <a:gd name="connsiteX5" fmla="*/ 532734 w 1108491"/>
                  <a:gd name="connsiteY5" fmla="*/ 504816 h 2303796"/>
                  <a:gd name="connsiteX6" fmla="*/ 701006 w 1108491"/>
                  <a:gd name="connsiteY6" fmla="*/ 1462436 h 2303796"/>
                  <a:gd name="connsiteX7" fmla="*/ 817266 w 1108491"/>
                  <a:gd name="connsiteY7" fmla="*/ 2282379 h 2303796"/>
                  <a:gd name="connsiteX8" fmla="*/ 1104857 w 1108491"/>
                  <a:gd name="connsiteY8" fmla="*/ 2291558 h 2303796"/>
                  <a:gd name="connsiteX9" fmla="*/ 1104857 w 1108491"/>
                  <a:gd name="connsiteY9" fmla="*/ 1444079 h 2303796"/>
                  <a:gd name="connsiteX10" fmla="*/ 1062025 w 1108491"/>
                  <a:gd name="connsiteY10" fmla="*/ 0 h 2303796"/>
                  <a:gd name="connsiteX11" fmla="*/ 30977 w 1108491"/>
                  <a:gd name="connsiteY11" fmla="*/ 21416 h 2303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8491" h="2303796">
                    <a:moveTo>
                      <a:pt x="30977" y="21416"/>
                    </a:moveTo>
                    <a:cubicBezTo>
                      <a:pt x="30977" y="21416"/>
                      <a:pt x="-24094" y="1098357"/>
                      <a:pt x="12621" y="1410425"/>
                    </a:cubicBezTo>
                    <a:cubicBezTo>
                      <a:pt x="43216" y="1682720"/>
                      <a:pt x="82989" y="2303796"/>
                      <a:pt x="82989" y="2303796"/>
                    </a:cubicBezTo>
                    <a:lnTo>
                      <a:pt x="379759" y="2303796"/>
                    </a:lnTo>
                    <a:cubicBezTo>
                      <a:pt x="379759" y="2303796"/>
                      <a:pt x="413413" y="1532805"/>
                      <a:pt x="419532" y="1434901"/>
                    </a:cubicBezTo>
                    <a:cubicBezTo>
                      <a:pt x="425652" y="1294164"/>
                      <a:pt x="517437" y="535411"/>
                      <a:pt x="532734" y="504816"/>
                    </a:cubicBezTo>
                    <a:cubicBezTo>
                      <a:pt x="548031" y="474221"/>
                      <a:pt x="701006" y="1462436"/>
                      <a:pt x="701006" y="1462436"/>
                    </a:cubicBezTo>
                    <a:lnTo>
                      <a:pt x="817266" y="2282379"/>
                    </a:lnTo>
                    <a:lnTo>
                      <a:pt x="1104857" y="2291558"/>
                    </a:lnTo>
                    <a:cubicBezTo>
                      <a:pt x="1104857" y="2291558"/>
                      <a:pt x="1098740" y="1545043"/>
                      <a:pt x="1104857" y="1444079"/>
                    </a:cubicBezTo>
                    <a:cubicBezTo>
                      <a:pt x="1114037" y="1291105"/>
                      <a:pt x="1107918" y="97904"/>
                      <a:pt x="1062025" y="0"/>
                    </a:cubicBezTo>
                    <a:cubicBezTo>
                      <a:pt x="358343" y="33654"/>
                      <a:pt x="30977" y="21416"/>
                      <a:pt x="30977" y="21416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69B97AF5-0C06-4E5D-A8D0-AFF75376E3E3}"/>
                  </a:ext>
                </a:extLst>
              </p:cNvPr>
              <p:cNvSpPr/>
              <p:nvPr/>
            </p:nvSpPr>
            <p:spPr>
              <a:xfrm>
                <a:off x="23992854" y="4274974"/>
                <a:ext cx="70367" cy="364079"/>
              </a:xfrm>
              <a:custGeom>
                <a:avLst/>
                <a:gdLst>
                  <a:gd name="connsiteX0" fmla="*/ 64249 w 70367"/>
                  <a:gd name="connsiteY0" fmla="*/ 364079 h 364079"/>
                  <a:gd name="connsiteX1" fmla="*/ 58129 w 70367"/>
                  <a:gd name="connsiteY1" fmla="*/ 361020 h 364079"/>
                  <a:gd name="connsiteX2" fmla="*/ 0 w 70367"/>
                  <a:gd name="connsiteY2" fmla="*/ 6119 h 364079"/>
                  <a:gd name="connsiteX3" fmla="*/ 6119 w 70367"/>
                  <a:gd name="connsiteY3" fmla="*/ 0 h 364079"/>
                  <a:gd name="connsiteX4" fmla="*/ 12237 w 70367"/>
                  <a:gd name="connsiteY4" fmla="*/ 6119 h 364079"/>
                  <a:gd name="connsiteX5" fmla="*/ 70368 w 70367"/>
                  <a:gd name="connsiteY5" fmla="*/ 357960 h 364079"/>
                  <a:gd name="connsiteX6" fmla="*/ 64249 w 70367"/>
                  <a:gd name="connsiteY6" fmla="*/ 364079 h 364079"/>
                  <a:gd name="connsiteX7" fmla="*/ 64249 w 70367"/>
                  <a:gd name="connsiteY7" fmla="*/ 364079 h 364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0367" h="364079">
                    <a:moveTo>
                      <a:pt x="64249" y="364079"/>
                    </a:moveTo>
                    <a:cubicBezTo>
                      <a:pt x="61190" y="364079"/>
                      <a:pt x="61190" y="364079"/>
                      <a:pt x="58129" y="361020"/>
                    </a:cubicBezTo>
                    <a:cubicBezTo>
                      <a:pt x="9178" y="244759"/>
                      <a:pt x="0" y="15297"/>
                      <a:pt x="0" y="6119"/>
                    </a:cubicBezTo>
                    <a:cubicBezTo>
                      <a:pt x="0" y="3059"/>
                      <a:pt x="3059" y="0"/>
                      <a:pt x="6119" y="0"/>
                    </a:cubicBezTo>
                    <a:cubicBezTo>
                      <a:pt x="9178" y="0"/>
                      <a:pt x="12237" y="3059"/>
                      <a:pt x="12237" y="6119"/>
                    </a:cubicBezTo>
                    <a:cubicBezTo>
                      <a:pt x="12237" y="9179"/>
                      <a:pt x="21417" y="244759"/>
                      <a:pt x="70368" y="357960"/>
                    </a:cubicBezTo>
                    <a:cubicBezTo>
                      <a:pt x="70368" y="361020"/>
                      <a:pt x="70368" y="364079"/>
                      <a:pt x="64249" y="364079"/>
                    </a:cubicBezTo>
                    <a:cubicBezTo>
                      <a:pt x="67309" y="364079"/>
                      <a:pt x="67309" y="364079"/>
                      <a:pt x="64249" y="36407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8B43A695-CA11-41E8-B393-CB39E4B981AA}"/>
                  </a:ext>
                </a:extLst>
              </p:cNvPr>
              <p:cNvSpPr/>
              <p:nvPr/>
            </p:nvSpPr>
            <p:spPr>
              <a:xfrm>
                <a:off x="23882711" y="4207666"/>
                <a:ext cx="156035" cy="354900"/>
              </a:xfrm>
              <a:custGeom>
                <a:avLst/>
                <a:gdLst>
                  <a:gd name="connsiteX0" fmla="*/ 146857 w 156035"/>
                  <a:gd name="connsiteY0" fmla="*/ 354901 h 354900"/>
                  <a:gd name="connsiteX1" fmla="*/ 143796 w 156035"/>
                  <a:gd name="connsiteY1" fmla="*/ 354901 h 354900"/>
                  <a:gd name="connsiteX2" fmla="*/ 33656 w 156035"/>
                  <a:gd name="connsiteY2" fmla="*/ 275354 h 354900"/>
                  <a:gd name="connsiteX3" fmla="*/ 0 w 156035"/>
                  <a:gd name="connsiteY3" fmla="*/ 6119 h 354900"/>
                  <a:gd name="connsiteX4" fmla="*/ 6119 w 156035"/>
                  <a:gd name="connsiteY4" fmla="*/ 0 h 354900"/>
                  <a:gd name="connsiteX5" fmla="*/ 12239 w 156035"/>
                  <a:gd name="connsiteY5" fmla="*/ 6119 h 354900"/>
                  <a:gd name="connsiteX6" fmla="*/ 45892 w 156035"/>
                  <a:gd name="connsiteY6" fmla="*/ 269235 h 354900"/>
                  <a:gd name="connsiteX7" fmla="*/ 152975 w 156035"/>
                  <a:gd name="connsiteY7" fmla="*/ 345722 h 354900"/>
                  <a:gd name="connsiteX8" fmla="*/ 156035 w 156035"/>
                  <a:gd name="connsiteY8" fmla="*/ 354901 h 354900"/>
                  <a:gd name="connsiteX9" fmla="*/ 146857 w 156035"/>
                  <a:gd name="connsiteY9" fmla="*/ 354901 h 354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035" h="354900">
                    <a:moveTo>
                      <a:pt x="146857" y="354901"/>
                    </a:moveTo>
                    <a:cubicBezTo>
                      <a:pt x="146857" y="354901"/>
                      <a:pt x="143796" y="354901"/>
                      <a:pt x="143796" y="354901"/>
                    </a:cubicBezTo>
                    <a:cubicBezTo>
                      <a:pt x="134618" y="348782"/>
                      <a:pt x="45892" y="290652"/>
                      <a:pt x="33656" y="275354"/>
                    </a:cubicBezTo>
                    <a:cubicBezTo>
                      <a:pt x="21417" y="260057"/>
                      <a:pt x="3061" y="48952"/>
                      <a:pt x="0" y="6119"/>
                    </a:cubicBezTo>
                    <a:cubicBezTo>
                      <a:pt x="0" y="3059"/>
                      <a:pt x="3061" y="0"/>
                      <a:pt x="6119" y="0"/>
                    </a:cubicBezTo>
                    <a:cubicBezTo>
                      <a:pt x="9180" y="0"/>
                      <a:pt x="12239" y="3059"/>
                      <a:pt x="12239" y="6119"/>
                    </a:cubicBezTo>
                    <a:cubicBezTo>
                      <a:pt x="21417" y="100963"/>
                      <a:pt x="36714" y="256997"/>
                      <a:pt x="45892" y="269235"/>
                    </a:cubicBezTo>
                    <a:cubicBezTo>
                      <a:pt x="55072" y="278414"/>
                      <a:pt x="113202" y="321246"/>
                      <a:pt x="152975" y="345722"/>
                    </a:cubicBezTo>
                    <a:cubicBezTo>
                      <a:pt x="156035" y="348782"/>
                      <a:pt x="156035" y="351841"/>
                      <a:pt x="156035" y="354901"/>
                    </a:cubicBezTo>
                    <a:cubicBezTo>
                      <a:pt x="149916" y="351841"/>
                      <a:pt x="146857" y="354901"/>
                      <a:pt x="146857" y="35490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5FFB7332-BF5C-4DDC-BE34-3507CDAF4A45}"/>
                  </a:ext>
                </a:extLst>
              </p:cNvPr>
              <p:cNvSpPr/>
              <p:nvPr/>
            </p:nvSpPr>
            <p:spPr>
              <a:xfrm>
                <a:off x="23943901" y="2451518"/>
                <a:ext cx="250878" cy="259149"/>
              </a:xfrm>
              <a:custGeom>
                <a:avLst/>
                <a:gdLst>
                  <a:gd name="connsiteX0" fmla="*/ 0 w 250878"/>
                  <a:gd name="connsiteY0" fmla="*/ 39773 h 259149"/>
                  <a:gd name="connsiteX1" fmla="*/ 6119 w 250878"/>
                  <a:gd name="connsiteY1" fmla="*/ 214164 h 259149"/>
                  <a:gd name="connsiteX2" fmla="*/ 250879 w 250878"/>
                  <a:gd name="connsiteY2" fmla="*/ 204986 h 259149"/>
                  <a:gd name="connsiteX3" fmla="*/ 235581 w 250878"/>
                  <a:gd name="connsiteY3" fmla="*/ 0 h 259149"/>
                  <a:gd name="connsiteX4" fmla="*/ 0 w 250878"/>
                  <a:gd name="connsiteY4" fmla="*/ 39773 h 25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0878" h="259149">
                    <a:moveTo>
                      <a:pt x="0" y="39773"/>
                    </a:moveTo>
                    <a:cubicBezTo>
                      <a:pt x="0" y="39773"/>
                      <a:pt x="6119" y="140737"/>
                      <a:pt x="6119" y="214164"/>
                    </a:cubicBezTo>
                    <a:cubicBezTo>
                      <a:pt x="6119" y="214164"/>
                      <a:pt x="100965" y="321246"/>
                      <a:pt x="250879" y="204986"/>
                    </a:cubicBezTo>
                    <a:cubicBezTo>
                      <a:pt x="250879" y="143796"/>
                      <a:pt x="238642" y="64249"/>
                      <a:pt x="235581" y="0"/>
                    </a:cubicBezTo>
                    <a:cubicBezTo>
                      <a:pt x="238642" y="0"/>
                      <a:pt x="55072" y="52011"/>
                      <a:pt x="0" y="39773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182611BA-3962-47D5-89F5-632F0D3BE6C3}"/>
                  </a:ext>
                </a:extLst>
              </p:cNvPr>
              <p:cNvSpPr/>
              <p:nvPr/>
            </p:nvSpPr>
            <p:spPr>
              <a:xfrm>
                <a:off x="24219255" y="2332198"/>
                <a:ext cx="70369" cy="137677"/>
              </a:xfrm>
              <a:custGeom>
                <a:avLst/>
                <a:gdLst>
                  <a:gd name="connsiteX0" fmla="*/ 70370 w 70369"/>
                  <a:gd name="connsiteY0" fmla="*/ 0 h 137677"/>
                  <a:gd name="connsiteX1" fmla="*/ 3061 w 70369"/>
                  <a:gd name="connsiteY1" fmla="*/ 137677 h 137677"/>
                  <a:gd name="connsiteX2" fmla="*/ 0 w 70369"/>
                  <a:gd name="connsiteY2" fmla="*/ 52011 h 137677"/>
                  <a:gd name="connsiteX3" fmla="*/ 70370 w 70369"/>
                  <a:gd name="connsiteY3" fmla="*/ 0 h 137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369" h="137677">
                    <a:moveTo>
                      <a:pt x="70370" y="0"/>
                    </a:moveTo>
                    <a:cubicBezTo>
                      <a:pt x="70370" y="0"/>
                      <a:pt x="55072" y="119320"/>
                      <a:pt x="3061" y="137677"/>
                    </a:cubicBezTo>
                    <a:lnTo>
                      <a:pt x="0" y="52011"/>
                    </a:lnTo>
                    <a:lnTo>
                      <a:pt x="70370" y="0"/>
                    </a:lnTo>
                    <a:close/>
                  </a:path>
                </a:pathLst>
              </a:custGeom>
              <a:solidFill>
                <a:srgbClr val="D3977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7DE9D9DE-1214-4640-9745-4778451383AE}"/>
                  </a:ext>
                </a:extLst>
              </p:cNvPr>
              <p:cNvSpPr/>
              <p:nvPr/>
            </p:nvSpPr>
            <p:spPr>
              <a:xfrm>
                <a:off x="23826062" y="2121093"/>
                <a:ext cx="102994" cy="238653"/>
              </a:xfrm>
              <a:custGeom>
                <a:avLst/>
                <a:gdLst>
                  <a:gd name="connsiteX0" fmla="*/ 7698 w 102994"/>
                  <a:gd name="connsiteY0" fmla="*/ 0 h 238653"/>
                  <a:gd name="connsiteX1" fmla="*/ 47471 w 102994"/>
                  <a:gd name="connsiteY1" fmla="*/ 235581 h 238653"/>
                  <a:gd name="connsiteX2" fmla="*/ 102541 w 102994"/>
                  <a:gd name="connsiteY2" fmla="*/ 15297 h 238653"/>
                  <a:gd name="connsiteX3" fmla="*/ 7698 w 102994"/>
                  <a:gd name="connsiteY3" fmla="*/ 0 h 238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994" h="238653">
                    <a:moveTo>
                      <a:pt x="7698" y="0"/>
                    </a:moveTo>
                    <a:cubicBezTo>
                      <a:pt x="7698" y="0"/>
                      <a:pt x="-25956" y="195807"/>
                      <a:pt x="47471" y="235581"/>
                    </a:cubicBezTo>
                    <a:cubicBezTo>
                      <a:pt x="111721" y="269235"/>
                      <a:pt x="102541" y="15297"/>
                      <a:pt x="102541" y="15297"/>
                    </a:cubicBezTo>
                    <a:lnTo>
                      <a:pt x="7698" y="0"/>
                    </a:lnTo>
                    <a:close/>
                  </a:path>
                </a:pathLst>
              </a:custGeom>
              <a:solidFill>
                <a:srgbClr val="D3977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5707EAC6-B6A9-4A57-9F51-B78B47D0ED1B}"/>
                  </a:ext>
                </a:extLst>
              </p:cNvPr>
              <p:cNvSpPr/>
              <p:nvPr/>
            </p:nvSpPr>
            <p:spPr>
              <a:xfrm>
                <a:off x="23861689" y="1985107"/>
                <a:ext cx="424875" cy="571039"/>
              </a:xfrm>
              <a:custGeom>
                <a:avLst/>
                <a:gdLst>
                  <a:gd name="connsiteX0" fmla="*/ 11844 w 424875"/>
                  <a:gd name="connsiteY0" fmla="*/ 181879 h 571039"/>
                  <a:gd name="connsiteX1" fmla="*/ 8786 w 424875"/>
                  <a:gd name="connsiteY1" fmla="*/ 432757 h 571039"/>
                  <a:gd name="connsiteX2" fmla="*/ 167879 w 424875"/>
                  <a:gd name="connsiteY2" fmla="*/ 570434 h 571039"/>
                  <a:gd name="connsiteX3" fmla="*/ 385102 w 424875"/>
                  <a:gd name="connsiteY3" fmla="*/ 429698 h 571039"/>
                  <a:gd name="connsiteX4" fmla="*/ 424875 w 424875"/>
                  <a:gd name="connsiteY4" fmla="*/ 203295 h 571039"/>
                  <a:gd name="connsiteX5" fmla="*/ 213772 w 424875"/>
                  <a:gd name="connsiteY5" fmla="*/ 1369 h 571039"/>
                  <a:gd name="connsiteX6" fmla="*/ 11844 w 424875"/>
                  <a:gd name="connsiteY6" fmla="*/ 181879 h 571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4875" h="571039">
                    <a:moveTo>
                      <a:pt x="11844" y="181879"/>
                    </a:moveTo>
                    <a:cubicBezTo>
                      <a:pt x="11844" y="181879"/>
                      <a:pt x="-12631" y="359329"/>
                      <a:pt x="8786" y="432757"/>
                    </a:cubicBezTo>
                    <a:cubicBezTo>
                      <a:pt x="27142" y="500066"/>
                      <a:pt x="115868" y="564315"/>
                      <a:pt x="167879" y="570434"/>
                    </a:cubicBezTo>
                    <a:cubicBezTo>
                      <a:pt x="235187" y="576553"/>
                      <a:pt x="354508" y="536780"/>
                      <a:pt x="385102" y="429698"/>
                    </a:cubicBezTo>
                    <a:cubicBezTo>
                      <a:pt x="406519" y="356270"/>
                      <a:pt x="424875" y="255307"/>
                      <a:pt x="424875" y="203295"/>
                    </a:cubicBezTo>
                    <a:cubicBezTo>
                      <a:pt x="424875" y="108451"/>
                      <a:pt x="397341" y="28905"/>
                      <a:pt x="213772" y="1369"/>
                    </a:cubicBezTo>
                    <a:cubicBezTo>
                      <a:pt x="131165" y="-13928"/>
                      <a:pt x="33261" y="102332"/>
                      <a:pt x="11844" y="181879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EE4F2E3B-4F68-4AC8-B1B2-E8BD070C9639}"/>
                  </a:ext>
                </a:extLst>
              </p:cNvPr>
              <p:cNvSpPr/>
              <p:nvPr/>
            </p:nvSpPr>
            <p:spPr>
              <a:xfrm>
                <a:off x="23998973" y="2249592"/>
                <a:ext cx="58129" cy="137677"/>
              </a:xfrm>
              <a:custGeom>
                <a:avLst/>
                <a:gdLst>
                  <a:gd name="connsiteX0" fmla="*/ 33654 w 58129"/>
                  <a:gd name="connsiteY0" fmla="*/ 137677 h 137677"/>
                  <a:gd name="connsiteX1" fmla="*/ 6117 w 58129"/>
                  <a:gd name="connsiteY1" fmla="*/ 131558 h 137677"/>
                  <a:gd name="connsiteX2" fmla="*/ 0 w 58129"/>
                  <a:gd name="connsiteY2" fmla="*/ 119320 h 137677"/>
                  <a:gd name="connsiteX3" fmla="*/ 18356 w 58129"/>
                  <a:gd name="connsiteY3" fmla="*/ 6119 h 137677"/>
                  <a:gd name="connsiteX4" fmla="*/ 24476 w 58129"/>
                  <a:gd name="connsiteY4" fmla="*/ 0 h 137677"/>
                  <a:gd name="connsiteX5" fmla="*/ 30595 w 58129"/>
                  <a:gd name="connsiteY5" fmla="*/ 6119 h 137677"/>
                  <a:gd name="connsiteX6" fmla="*/ 12237 w 58129"/>
                  <a:gd name="connsiteY6" fmla="*/ 119320 h 137677"/>
                  <a:gd name="connsiteX7" fmla="*/ 12237 w 58129"/>
                  <a:gd name="connsiteY7" fmla="*/ 122380 h 137677"/>
                  <a:gd name="connsiteX8" fmla="*/ 52010 w 58129"/>
                  <a:gd name="connsiteY8" fmla="*/ 125439 h 137677"/>
                  <a:gd name="connsiteX9" fmla="*/ 58129 w 58129"/>
                  <a:gd name="connsiteY9" fmla="*/ 131558 h 137677"/>
                  <a:gd name="connsiteX10" fmla="*/ 52010 w 58129"/>
                  <a:gd name="connsiteY10" fmla="*/ 137677 h 137677"/>
                  <a:gd name="connsiteX11" fmla="*/ 33654 w 58129"/>
                  <a:gd name="connsiteY11" fmla="*/ 137677 h 137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8129" h="137677">
                    <a:moveTo>
                      <a:pt x="33654" y="137677"/>
                    </a:moveTo>
                    <a:cubicBezTo>
                      <a:pt x="24476" y="137677"/>
                      <a:pt x="12237" y="137677"/>
                      <a:pt x="6117" y="131558"/>
                    </a:cubicBezTo>
                    <a:cubicBezTo>
                      <a:pt x="3059" y="128499"/>
                      <a:pt x="0" y="125439"/>
                      <a:pt x="0" y="119320"/>
                    </a:cubicBezTo>
                    <a:cubicBezTo>
                      <a:pt x="0" y="97904"/>
                      <a:pt x="18356" y="9179"/>
                      <a:pt x="18356" y="6119"/>
                    </a:cubicBezTo>
                    <a:cubicBezTo>
                      <a:pt x="18356" y="3060"/>
                      <a:pt x="21415" y="0"/>
                      <a:pt x="24476" y="0"/>
                    </a:cubicBezTo>
                    <a:cubicBezTo>
                      <a:pt x="27534" y="0"/>
                      <a:pt x="30595" y="3060"/>
                      <a:pt x="30595" y="6119"/>
                    </a:cubicBezTo>
                    <a:cubicBezTo>
                      <a:pt x="30595" y="6119"/>
                      <a:pt x="12237" y="97904"/>
                      <a:pt x="12237" y="119320"/>
                    </a:cubicBezTo>
                    <a:cubicBezTo>
                      <a:pt x="12237" y="119320"/>
                      <a:pt x="12237" y="122380"/>
                      <a:pt x="12237" y="122380"/>
                    </a:cubicBezTo>
                    <a:cubicBezTo>
                      <a:pt x="18356" y="128499"/>
                      <a:pt x="39773" y="125439"/>
                      <a:pt x="52010" y="125439"/>
                    </a:cubicBezTo>
                    <a:cubicBezTo>
                      <a:pt x="55070" y="125439"/>
                      <a:pt x="58129" y="128499"/>
                      <a:pt x="58129" y="131558"/>
                    </a:cubicBezTo>
                    <a:cubicBezTo>
                      <a:pt x="58129" y="134618"/>
                      <a:pt x="55070" y="137677"/>
                      <a:pt x="52010" y="137677"/>
                    </a:cubicBezTo>
                    <a:cubicBezTo>
                      <a:pt x="52010" y="134618"/>
                      <a:pt x="42832" y="137677"/>
                      <a:pt x="33654" y="13767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EE8960C1-AE49-4128-ADB0-9AB7D2E3C026}"/>
                  </a:ext>
                </a:extLst>
              </p:cNvPr>
              <p:cNvSpPr/>
              <p:nvPr/>
            </p:nvSpPr>
            <p:spPr>
              <a:xfrm>
                <a:off x="23931064" y="2224516"/>
                <a:ext cx="40373" cy="40973"/>
              </a:xfrm>
              <a:custGeom>
                <a:avLst/>
                <a:gdLst>
                  <a:gd name="connsiteX0" fmla="*/ 40373 w 40373"/>
                  <a:gd name="connsiteY0" fmla="*/ 25076 h 40973"/>
                  <a:gd name="connsiteX1" fmla="*/ 15898 w 40373"/>
                  <a:gd name="connsiteY1" fmla="*/ 40373 h 40973"/>
                  <a:gd name="connsiteX2" fmla="*/ 600 w 40373"/>
                  <a:gd name="connsiteY2" fmla="*/ 15898 h 40973"/>
                  <a:gd name="connsiteX3" fmla="*/ 25076 w 40373"/>
                  <a:gd name="connsiteY3" fmla="*/ 600 h 40973"/>
                  <a:gd name="connsiteX4" fmla="*/ 40373 w 40373"/>
                  <a:gd name="connsiteY4" fmla="*/ 25076 h 40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373" h="40973">
                    <a:moveTo>
                      <a:pt x="40373" y="25076"/>
                    </a:moveTo>
                    <a:cubicBezTo>
                      <a:pt x="37315" y="34255"/>
                      <a:pt x="28135" y="43433"/>
                      <a:pt x="15898" y="40373"/>
                    </a:cubicBezTo>
                    <a:cubicBezTo>
                      <a:pt x="6720" y="37314"/>
                      <a:pt x="-2460" y="28136"/>
                      <a:pt x="600" y="15898"/>
                    </a:cubicBezTo>
                    <a:cubicBezTo>
                      <a:pt x="3659" y="6719"/>
                      <a:pt x="12837" y="-2459"/>
                      <a:pt x="25076" y="600"/>
                    </a:cubicBezTo>
                    <a:cubicBezTo>
                      <a:pt x="34254" y="3660"/>
                      <a:pt x="40373" y="15898"/>
                      <a:pt x="40373" y="2507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E55D2183-A420-4B16-901C-B08586ECE689}"/>
                  </a:ext>
                </a:extLst>
              </p:cNvPr>
              <p:cNvSpPr/>
              <p:nvPr/>
            </p:nvSpPr>
            <p:spPr>
              <a:xfrm>
                <a:off x="24114633" y="2245932"/>
                <a:ext cx="40373" cy="40973"/>
              </a:xfrm>
              <a:custGeom>
                <a:avLst/>
                <a:gdLst>
                  <a:gd name="connsiteX0" fmla="*/ 40373 w 40373"/>
                  <a:gd name="connsiteY0" fmla="*/ 25076 h 40973"/>
                  <a:gd name="connsiteX1" fmla="*/ 15898 w 40373"/>
                  <a:gd name="connsiteY1" fmla="*/ 40374 h 40973"/>
                  <a:gd name="connsiteX2" fmla="*/ 600 w 40373"/>
                  <a:gd name="connsiteY2" fmla="*/ 15898 h 40973"/>
                  <a:gd name="connsiteX3" fmla="*/ 25076 w 40373"/>
                  <a:gd name="connsiteY3" fmla="*/ 600 h 40973"/>
                  <a:gd name="connsiteX4" fmla="*/ 40373 w 40373"/>
                  <a:gd name="connsiteY4" fmla="*/ 25076 h 40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373" h="40973">
                    <a:moveTo>
                      <a:pt x="40373" y="25076"/>
                    </a:moveTo>
                    <a:cubicBezTo>
                      <a:pt x="37315" y="34255"/>
                      <a:pt x="28135" y="43433"/>
                      <a:pt x="15898" y="40374"/>
                    </a:cubicBezTo>
                    <a:cubicBezTo>
                      <a:pt x="6720" y="37314"/>
                      <a:pt x="-2460" y="28136"/>
                      <a:pt x="600" y="15898"/>
                    </a:cubicBezTo>
                    <a:cubicBezTo>
                      <a:pt x="3659" y="6719"/>
                      <a:pt x="12837" y="-2459"/>
                      <a:pt x="25076" y="600"/>
                    </a:cubicBezTo>
                    <a:cubicBezTo>
                      <a:pt x="34254" y="3660"/>
                      <a:pt x="40373" y="12838"/>
                      <a:pt x="40373" y="2507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0A53CBBC-2745-4A7A-921C-867CF64DF965}"/>
                  </a:ext>
                </a:extLst>
              </p:cNvPr>
              <p:cNvSpPr/>
              <p:nvPr/>
            </p:nvSpPr>
            <p:spPr>
              <a:xfrm>
                <a:off x="23904893" y="2176164"/>
                <a:ext cx="92287" cy="33654"/>
              </a:xfrm>
              <a:custGeom>
                <a:avLst/>
                <a:gdLst>
                  <a:gd name="connsiteX0" fmla="*/ 8413 w 92287"/>
                  <a:gd name="connsiteY0" fmla="*/ 33654 h 33654"/>
                  <a:gd name="connsiteX1" fmla="*/ 2295 w 92287"/>
                  <a:gd name="connsiteY1" fmla="*/ 30595 h 33654"/>
                  <a:gd name="connsiteX2" fmla="*/ 2295 w 92287"/>
                  <a:gd name="connsiteY2" fmla="*/ 18357 h 33654"/>
                  <a:gd name="connsiteX3" fmla="*/ 87961 w 92287"/>
                  <a:gd name="connsiteY3" fmla="*/ 9178 h 33654"/>
                  <a:gd name="connsiteX4" fmla="*/ 91020 w 92287"/>
                  <a:gd name="connsiteY4" fmla="*/ 21416 h 33654"/>
                  <a:gd name="connsiteX5" fmla="*/ 78783 w 92287"/>
                  <a:gd name="connsiteY5" fmla="*/ 24476 h 33654"/>
                  <a:gd name="connsiteX6" fmla="*/ 11474 w 92287"/>
                  <a:gd name="connsiteY6" fmla="*/ 30595 h 33654"/>
                  <a:gd name="connsiteX7" fmla="*/ 8413 w 92287"/>
                  <a:gd name="connsiteY7" fmla="*/ 33654 h 33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2287" h="33654">
                    <a:moveTo>
                      <a:pt x="8413" y="33654"/>
                    </a:moveTo>
                    <a:cubicBezTo>
                      <a:pt x="5354" y="33654"/>
                      <a:pt x="5354" y="33654"/>
                      <a:pt x="2295" y="30595"/>
                    </a:cubicBezTo>
                    <a:cubicBezTo>
                      <a:pt x="-765" y="27535"/>
                      <a:pt x="-765" y="21416"/>
                      <a:pt x="2295" y="18357"/>
                    </a:cubicBezTo>
                    <a:cubicBezTo>
                      <a:pt x="29830" y="-9178"/>
                      <a:pt x="69603" y="0"/>
                      <a:pt x="87961" y="9178"/>
                    </a:cubicBezTo>
                    <a:cubicBezTo>
                      <a:pt x="91020" y="12238"/>
                      <a:pt x="94080" y="15297"/>
                      <a:pt x="91020" y="21416"/>
                    </a:cubicBezTo>
                    <a:cubicBezTo>
                      <a:pt x="87961" y="24476"/>
                      <a:pt x="84900" y="27535"/>
                      <a:pt x="78783" y="24476"/>
                    </a:cubicBezTo>
                    <a:cubicBezTo>
                      <a:pt x="75722" y="24476"/>
                      <a:pt x="39008" y="3060"/>
                      <a:pt x="11474" y="30595"/>
                    </a:cubicBezTo>
                    <a:cubicBezTo>
                      <a:pt x="11474" y="33654"/>
                      <a:pt x="11474" y="33654"/>
                      <a:pt x="8413" y="33654"/>
                    </a:cubicBezTo>
                    <a:close/>
                  </a:path>
                </a:pathLst>
              </a:custGeom>
              <a:solidFill>
                <a:srgbClr val="664540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950D2D59-C8FE-4566-94E9-BA23D27C1B66}"/>
                  </a:ext>
                </a:extLst>
              </p:cNvPr>
              <p:cNvSpPr/>
              <p:nvPr/>
            </p:nvSpPr>
            <p:spPr>
              <a:xfrm>
                <a:off x="24092550" y="2180243"/>
                <a:ext cx="92286" cy="35694"/>
              </a:xfrm>
              <a:custGeom>
                <a:avLst/>
                <a:gdLst>
                  <a:gd name="connsiteX0" fmla="*/ 86932 w 92286"/>
                  <a:gd name="connsiteY0" fmla="*/ 35694 h 35694"/>
                  <a:gd name="connsiteX1" fmla="*/ 80813 w 92286"/>
                  <a:gd name="connsiteY1" fmla="*/ 32635 h 35694"/>
                  <a:gd name="connsiteX2" fmla="*/ 13506 w 92286"/>
                  <a:gd name="connsiteY2" fmla="*/ 26516 h 35694"/>
                  <a:gd name="connsiteX3" fmla="*/ 1267 w 92286"/>
                  <a:gd name="connsiteY3" fmla="*/ 23456 h 35694"/>
                  <a:gd name="connsiteX4" fmla="*/ 4326 w 92286"/>
                  <a:gd name="connsiteY4" fmla="*/ 11218 h 35694"/>
                  <a:gd name="connsiteX5" fmla="*/ 89993 w 92286"/>
                  <a:gd name="connsiteY5" fmla="*/ 20397 h 35694"/>
                  <a:gd name="connsiteX6" fmla="*/ 89993 w 92286"/>
                  <a:gd name="connsiteY6" fmla="*/ 32635 h 35694"/>
                  <a:gd name="connsiteX7" fmla="*/ 86932 w 92286"/>
                  <a:gd name="connsiteY7" fmla="*/ 35694 h 35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2286" h="35694">
                    <a:moveTo>
                      <a:pt x="86932" y="35694"/>
                    </a:moveTo>
                    <a:cubicBezTo>
                      <a:pt x="83874" y="35694"/>
                      <a:pt x="83874" y="35694"/>
                      <a:pt x="80813" y="32635"/>
                    </a:cubicBezTo>
                    <a:cubicBezTo>
                      <a:pt x="80813" y="32635"/>
                      <a:pt x="50218" y="2040"/>
                      <a:pt x="13506" y="26516"/>
                    </a:cubicBezTo>
                    <a:cubicBezTo>
                      <a:pt x="10445" y="29575"/>
                      <a:pt x="4326" y="26516"/>
                      <a:pt x="1267" y="23456"/>
                    </a:cubicBezTo>
                    <a:cubicBezTo>
                      <a:pt x="-1792" y="20397"/>
                      <a:pt x="1267" y="14278"/>
                      <a:pt x="4326" y="11218"/>
                    </a:cubicBezTo>
                    <a:cubicBezTo>
                      <a:pt x="41040" y="-13258"/>
                      <a:pt x="77754" y="8159"/>
                      <a:pt x="89993" y="20397"/>
                    </a:cubicBezTo>
                    <a:cubicBezTo>
                      <a:pt x="93052" y="23456"/>
                      <a:pt x="93052" y="29575"/>
                      <a:pt x="89993" y="32635"/>
                    </a:cubicBezTo>
                    <a:cubicBezTo>
                      <a:pt x="93052" y="35694"/>
                      <a:pt x="89993" y="35694"/>
                      <a:pt x="86932" y="35694"/>
                    </a:cubicBezTo>
                    <a:close/>
                  </a:path>
                </a:pathLst>
              </a:custGeom>
              <a:solidFill>
                <a:srgbClr val="664540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DC9D17A5-F05E-4D71-A873-A2A84E9AD97C}"/>
                  </a:ext>
                </a:extLst>
              </p:cNvPr>
              <p:cNvSpPr/>
              <p:nvPr/>
            </p:nvSpPr>
            <p:spPr>
              <a:xfrm>
                <a:off x="23963024" y="2500470"/>
                <a:ext cx="233023" cy="61189"/>
              </a:xfrm>
              <a:custGeom>
                <a:avLst/>
                <a:gdLst>
                  <a:gd name="connsiteX0" fmla="*/ 81842 w 233023"/>
                  <a:gd name="connsiteY0" fmla="*/ 61190 h 61189"/>
                  <a:gd name="connsiteX1" fmla="*/ 81842 w 233023"/>
                  <a:gd name="connsiteY1" fmla="*/ 61190 h 61189"/>
                  <a:gd name="connsiteX2" fmla="*/ 2294 w 233023"/>
                  <a:gd name="connsiteY2" fmla="*/ 33654 h 61189"/>
                  <a:gd name="connsiteX3" fmla="*/ 2294 w 233023"/>
                  <a:gd name="connsiteY3" fmla="*/ 24476 h 61189"/>
                  <a:gd name="connsiteX4" fmla="*/ 11472 w 233023"/>
                  <a:gd name="connsiteY4" fmla="*/ 24476 h 61189"/>
                  <a:gd name="connsiteX5" fmla="*/ 81842 w 233023"/>
                  <a:gd name="connsiteY5" fmla="*/ 48952 h 61189"/>
                  <a:gd name="connsiteX6" fmla="*/ 81842 w 233023"/>
                  <a:gd name="connsiteY6" fmla="*/ 48952 h 61189"/>
                  <a:gd name="connsiteX7" fmla="*/ 222578 w 233023"/>
                  <a:gd name="connsiteY7" fmla="*/ 0 h 61189"/>
                  <a:gd name="connsiteX8" fmla="*/ 231756 w 233023"/>
                  <a:gd name="connsiteY8" fmla="*/ 3060 h 61189"/>
                  <a:gd name="connsiteX9" fmla="*/ 228697 w 233023"/>
                  <a:gd name="connsiteY9" fmla="*/ 12238 h 61189"/>
                  <a:gd name="connsiteX10" fmla="*/ 81842 w 233023"/>
                  <a:gd name="connsiteY10" fmla="*/ 61190 h 6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3023" h="61189">
                    <a:moveTo>
                      <a:pt x="81842" y="61190"/>
                    </a:moveTo>
                    <a:cubicBezTo>
                      <a:pt x="81842" y="61190"/>
                      <a:pt x="81842" y="61190"/>
                      <a:pt x="81842" y="61190"/>
                    </a:cubicBezTo>
                    <a:cubicBezTo>
                      <a:pt x="39008" y="61190"/>
                      <a:pt x="5355" y="33654"/>
                      <a:pt x="2294" y="33654"/>
                    </a:cubicBezTo>
                    <a:cubicBezTo>
                      <a:pt x="-765" y="30595"/>
                      <a:pt x="-765" y="27535"/>
                      <a:pt x="2294" y="24476"/>
                    </a:cubicBezTo>
                    <a:cubicBezTo>
                      <a:pt x="5355" y="21416"/>
                      <a:pt x="8413" y="21416"/>
                      <a:pt x="11472" y="24476"/>
                    </a:cubicBezTo>
                    <a:cubicBezTo>
                      <a:pt x="11472" y="24476"/>
                      <a:pt x="42067" y="48952"/>
                      <a:pt x="81842" y="48952"/>
                    </a:cubicBezTo>
                    <a:cubicBezTo>
                      <a:pt x="81842" y="48952"/>
                      <a:pt x="81842" y="48952"/>
                      <a:pt x="81842" y="48952"/>
                    </a:cubicBezTo>
                    <a:cubicBezTo>
                      <a:pt x="130793" y="48952"/>
                      <a:pt x="219519" y="0"/>
                      <a:pt x="222578" y="0"/>
                    </a:cubicBezTo>
                    <a:cubicBezTo>
                      <a:pt x="225636" y="0"/>
                      <a:pt x="228697" y="0"/>
                      <a:pt x="231756" y="3060"/>
                    </a:cubicBezTo>
                    <a:cubicBezTo>
                      <a:pt x="234816" y="6119"/>
                      <a:pt x="231756" y="9178"/>
                      <a:pt x="228697" y="12238"/>
                    </a:cubicBezTo>
                    <a:cubicBezTo>
                      <a:pt x="222578" y="12238"/>
                      <a:pt x="133852" y="61190"/>
                      <a:pt x="81842" y="6119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5223DAFB-116F-4F26-AFFC-DC6212A6DBE4}"/>
                  </a:ext>
                </a:extLst>
              </p:cNvPr>
              <p:cNvSpPr/>
              <p:nvPr/>
            </p:nvSpPr>
            <p:spPr>
              <a:xfrm>
                <a:off x="24213138" y="2007892"/>
                <a:ext cx="113518" cy="269235"/>
              </a:xfrm>
              <a:custGeom>
                <a:avLst/>
                <a:gdLst>
                  <a:gd name="connsiteX0" fmla="*/ 0 w 113518"/>
                  <a:gd name="connsiteY0" fmla="*/ 128499 h 269235"/>
                  <a:gd name="connsiteX1" fmla="*/ 48951 w 113518"/>
                  <a:gd name="connsiteY1" fmla="*/ 269235 h 269235"/>
                  <a:gd name="connsiteX2" fmla="*/ 107082 w 113518"/>
                  <a:gd name="connsiteY2" fmla="*/ 168272 h 269235"/>
                  <a:gd name="connsiteX3" fmla="*/ 48951 w 113518"/>
                  <a:gd name="connsiteY3" fmla="*/ 0 h 269235"/>
                  <a:gd name="connsiteX4" fmla="*/ 0 w 113518"/>
                  <a:gd name="connsiteY4" fmla="*/ 128499 h 269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518" h="269235">
                    <a:moveTo>
                      <a:pt x="0" y="128499"/>
                    </a:moveTo>
                    <a:cubicBezTo>
                      <a:pt x="0" y="128499"/>
                      <a:pt x="55070" y="238640"/>
                      <a:pt x="48951" y="269235"/>
                    </a:cubicBezTo>
                    <a:cubicBezTo>
                      <a:pt x="48951" y="269235"/>
                      <a:pt x="91785" y="223343"/>
                      <a:pt x="107082" y="168272"/>
                    </a:cubicBezTo>
                    <a:cubicBezTo>
                      <a:pt x="122380" y="110142"/>
                      <a:pt x="113200" y="15297"/>
                      <a:pt x="48951" y="0"/>
                    </a:cubicBezTo>
                    <a:cubicBezTo>
                      <a:pt x="48951" y="3060"/>
                      <a:pt x="39773" y="110142"/>
                      <a:pt x="0" y="128499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AB0CAAE9-F485-448B-8FD5-E676BE4095F3}"/>
                  </a:ext>
                </a:extLst>
              </p:cNvPr>
              <p:cNvSpPr/>
              <p:nvPr/>
            </p:nvSpPr>
            <p:spPr>
              <a:xfrm>
                <a:off x="24248491" y="2246341"/>
                <a:ext cx="78901" cy="110890"/>
              </a:xfrm>
              <a:custGeom>
                <a:avLst/>
                <a:gdLst>
                  <a:gd name="connsiteX0" fmla="*/ 13598 w 78901"/>
                  <a:gd name="connsiteY0" fmla="*/ 15489 h 110890"/>
                  <a:gd name="connsiteX1" fmla="*/ 71729 w 78901"/>
                  <a:gd name="connsiteY1" fmla="*/ 6310 h 110890"/>
                  <a:gd name="connsiteX2" fmla="*/ 13598 w 78901"/>
                  <a:gd name="connsiteY2" fmla="*/ 107273 h 110890"/>
                  <a:gd name="connsiteX3" fmla="*/ 13598 w 78901"/>
                  <a:gd name="connsiteY3" fmla="*/ 15489 h 110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901" h="110890">
                    <a:moveTo>
                      <a:pt x="13598" y="15489"/>
                    </a:moveTo>
                    <a:cubicBezTo>
                      <a:pt x="13598" y="15489"/>
                      <a:pt x="47251" y="-12047"/>
                      <a:pt x="71729" y="6310"/>
                    </a:cubicBezTo>
                    <a:cubicBezTo>
                      <a:pt x="96204" y="24667"/>
                      <a:pt x="53371" y="131749"/>
                      <a:pt x="13598" y="107273"/>
                    </a:cubicBezTo>
                    <a:cubicBezTo>
                      <a:pt x="-16997" y="88916"/>
                      <a:pt x="13598" y="15489"/>
                      <a:pt x="13598" y="15489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CCE50D4D-1372-4AD5-9B03-024925559225}"/>
                  </a:ext>
                </a:extLst>
              </p:cNvPr>
              <p:cNvSpPr/>
              <p:nvPr/>
            </p:nvSpPr>
            <p:spPr>
              <a:xfrm>
                <a:off x="24203958" y="2026249"/>
                <a:ext cx="73851" cy="241699"/>
              </a:xfrm>
              <a:custGeom>
                <a:avLst/>
                <a:gdLst>
                  <a:gd name="connsiteX0" fmla="*/ 58131 w 73851"/>
                  <a:gd name="connsiteY0" fmla="*/ 241700 h 241699"/>
                  <a:gd name="connsiteX1" fmla="*/ 52012 w 73851"/>
                  <a:gd name="connsiteY1" fmla="*/ 235581 h 241699"/>
                  <a:gd name="connsiteX2" fmla="*/ 6119 w 73851"/>
                  <a:gd name="connsiteY2" fmla="*/ 113201 h 241699"/>
                  <a:gd name="connsiteX3" fmla="*/ 0 w 73851"/>
                  <a:gd name="connsiteY3" fmla="*/ 107082 h 241699"/>
                  <a:gd name="connsiteX4" fmla="*/ 9180 w 73851"/>
                  <a:gd name="connsiteY4" fmla="*/ 104023 h 241699"/>
                  <a:gd name="connsiteX5" fmla="*/ 58131 w 73851"/>
                  <a:gd name="connsiteY5" fmla="*/ 64249 h 241699"/>
                  <a:gd name="connsiteX6" fmla="*/ 58131 w 73851"/>
                  <a:gd name="connsiteY6" fmla="*/ 6119 h 241699"/>
                  <a:gd name="connsiteX7" fmla="*/ 61190 w 73851"/>
                  <a:gd name="connsiteY7" fmla="*/ 0 h 241699"/>
                  <a:gd name="connsiteX8" fmla="*/ 67309 w 73851"/>
                  <a:gd name="connsiteY8" fmla="*/ 3059 h 241699"/>
                  <a:gd name="connsiteX9" fmla="*/ 64250 w 73851"/>
                  <a:gd name="connsiteY9" fmla="*/ 70368 h 241699"/>
                  <a:gd name="connsiteX10" fmla="*/ 15297 w 73851"/>
                  <a:gd name="connsiteY10" fmla="*/ 113201 h 241699"/>
                  <a:gd name="connsiteX11" fmla="*/ 61190 w 73851"/>
                  <a:gd name="connsiteY11" fmla="*/ 235581 h 241699"/>
                  <a:gd name="connsiteX12" fmla="*/ 58131 w 73851"/>
                  <a:gd name="connsiteY12" fmla="*/ 241700 h 241699"/>
                  <a:gd name="connsiteX13" fmla="*/ 58131 w 73851"/>
                  <a:gd name="connsiteY13" fmla="*/ 241700 h 241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3851" h="241699">
                    <a:moveTo>
                      <a:pt x="58131" y="241700"/>
                    </a:moveTo>
                    <a:cubicBezTo>
                      <a:pt x="55072" y="241700"/>
                      <a:pt x="52012" y="238640"/>
                      <a:pt x="52012" y="235581"/>
                    </a:cubicBezTo>
                    <a:cubicBezTo>
                      <a:pt x="45892" y="174391"/>
                      <a:pt x="6119" y="113201"/>
                      <a:pt x="6119" y="113201"/>
                    </a:cubicBezTo>
                    <a:lnTo>
                      <a:pt x="0" y="107082"/>
                    </a:lnTo>
                    <a:lnTo>
                      <a:pt x="9180" y="104023"/>
                    </a:lnTo>
                    <a:cubicBezTo>
                      <a:pt x="9180" y="104023"/>
                      <a:pt x="42834" y="91785"/>
                      <a:pt x="58131" y="64249"/>
                    </a:cubicBezTo>
                    <a:cubicBezTo>
                      <a:pt x="67309" y="48952"/>
                      <a:pt x="67309" y="27535"/>
                      <a:pt x="58131" y="6119"/>
                    </a:cubicBezTo>
                    <a:cubicBezTo>
                      <a:pt x="58131" y="3059"/>
                      <a:pt x="58131" y="0"/>
                      <a:pt x="61190" y="0"/>
                    </a:cubicBezTo>
                    <a:cubicBezTo>
                      <a:pt x="64250" y="0"/>
                      <a:pt x="67309" y="0"/>
                      <a:pt x="67309" y="3059"/>
                    </a:cubicBezTo>
                    <a:cubicBezTo>
                      <a:pt x="76487" y="27535"/>
                      <a:pt x="76487" y="52011"/>
                      <a:pt x="64250" y="70368"/>
                    </a:cubicBezTo>
                    <a:cubicBezTo>
                      <a:pt x="52012" y="94844"/>
                      <a:pt x="27536" y="107082"/>
                      <a:pt x="15297" y="113201"/>
                    </a:cubicBezTo>
                    <a:cubicBezTo>
                      <a:pt x="27536" y="131558"/>
                      <a:pt x="55072" y="180510"/>
                      <a:pt x="61190" y="235581"/>
                    </a:cubicBezTo>
                    <a:cubicBezTo>
                      <a:pt x="64250" y="238640"/>
                      <a:pt x="61190" y="241700"/>
                      <a:pt x="58131" y="241700"/>
                    </a:cubicBezTo>
                    <a:cubicBezTo>
                      <a:pt x="58131" y="241700"/>
                      <a:pt x="58131" y="241700"/>
                      <a:pt x="58131" y="2417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F99D230A-AF0B-4632-8598-35C7AE6FD123}"/>
                  </a:ext>
                </a:extLst>
              </p:cNvPr>
              <p:cNvSpPr/>
              <p:nvPr/>
            </p:nvSpPr>
            <p:spPr>
              <a:xfrm>
                <a:off x="23536169" y="2616731"/>
                <a:ext cx="1074702" cy="1572393"/>
              </a:xfrm>
              <a:custGeom>
                <a:avLst/>
                <a:gdLst>
                  <a:gd name="connsiteX0" fmla="*/ 676969 w 1074702"/>
                  <a:gd name="connsiteY0" fmla="*/ 0 h 1572393"/>
                  <a:gd name="connsiteX1" fmla="*/ 386317 w 1074702"/>
                  <a:gd name="connsiteY1" fmla="*/ 0 h 1572393"/>
                  <a:gd name="connsiteX2" fmla="*/ 86485 w 1074702"/>
                  <a:gd name="connsiteY2" fmla="*/ 131558 h 1572393"/>
                  <a:gd name="connsiteX3" fmla="*/ 820 w 1074702"/>
                  <a:gd name="connsiteY3" fmla="*/ 1541983 h 1572393"/>
                  <a:gd name="connsiteX4" fmla="*/ 1074702 w 1074702"/>
                  <a:gd name="connsiteY4" fmla="*/ 1517507 h 1572393"/>
                  <a:gd name="connsiteX5" fmla="*/ 958440 w 1074702"/>
                  <a:gd name="connsiteY5" fmla="*/ 104023 h 1572393"/>
                  <a:gd name="connsiteX6" fmla="*/ 676969 w 1074702"/>
                  <a:gd name="connsiteY6" fmla="*/ 0 h 1572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4702" h="1572393">
                    <a:moveTo>
                      <a:pt x="676969" y="0"/>
                    </a:moveTo>
                    <a:cubicBezTo>
                      <a:pt x="676969" y="0"/>
                      <a:pt x="502577" y="55071"/>
                      <a:pt x="386317" y="0"/>
                    </a:cubicBezTo>
                    <a:cubicBezTo>
                      <a:pt x="386317" y="0"/>
                      <a:pt x="110963" y="97904"/>
                      <a:pt x="86485" y="131558"/>
                    </a:cubicBezTo>
                    <a:cubicBezTo>
                      <a:pt x="62010" y="162153"/>
                      <a:pt x="-8358" y="1474674"/>
                      <a:pt x="820" y="1541983"/>
                    </a:cubicBezTo>
                    <a:cubicBezTo>
                      <a:pt x="820" y="1541983"/>
                      <a:pt x="493399" y="1624589"/>
                      <a:pt x="1074702" y="1517507"/>
                    </a:cubicBezTo>
                    <a:cubicBezTo>
                      <a:pt x="1074702" y="1159547"/>
                      <a:pt x="1001274" y="134618"/>
                      <a:pt x="958440" y="104023"/>
                    </a:cubicBezTo>
                    <a:cubicBezTo>
                      <a:pt x="918667" y="70368"/>
                      <a:pt x="676969" y="0"/>
                      <a:pt x="676969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A18EAF6D-4626-4821-9C90-B6BA77E199DE}"/>
                  </a:ext>
                </a:extLst>
              </p:cNvPr>
              <p:cNvSpPr/>
              <p:nvPr/>
            </p:nvSpPr>
            <p:spPr>
              <a:xfrm>
                <a:off x="24035686" y="2616731"/>
                <a:ext cx="180510" cy="119320"/>
              </a:xfrm>
              <a:custGeom>
                <a:avLst/>
                <a:gdLst>
                  <a:gd name="connsiteX0" fmla="*/ 0 w 180510"/>
                  <a:gd name="connsiteY0" fmla="*/ 21416 h 119320"/>
                  <a:gd name="connsiteX1" fmla="*/ 27536 w 180510"/>
                  <a:gd name="connsiteY1" fmla="*/ 119320 h 119320"/>
                  <a:gd name="connsiteX2" fmla="*/ 180511 w 180510"/>
                  <a:gd name="connsiteY2" fmla="*/ 0 h 119320"/>
                  <a:gd name="connsiteX3" fmla="*/ 0 w 180510"/>
                  <a:gd name="connsiteY3" fmla="*/ 21416 h 119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510" h="119320">
                    <a:moveTo>
                      <a:pt x="0" y="21416"/>
                    </a:moveTo>
                    <a:lnTo>
                      <a:pt x="27536" y="119320"/>
                    </a:lnTo>
                    <a:lnTo>
                      <a:pt x="180511" y="0"/>
                    </a:lnTo>
                    <a:cubicBezTo>
                      <a:pt x="177452" y="0"/>
                      <a:pt x="42834" y="21416"/>
                      <a:pt x="0" y="21416"/>
                    </a:cubicBezTo>
                    <a:close/>
                  </a:path>
                </a:pathLst>
              </a:custGeom>
              <a:solidFill>
                <a:srgbClr val="FFFFFF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B24F6E4F-7063-46EE-B2E5-001C173914D5}"/>
                  </a:ext>
                </a:extLst>
              </p:cNvPr>
              <p:cNvSpPr/>
              <p:nvPr/>
            </p:nvSpPr>
            <p:spPr>
              <a:xfrm>
                <a:off x="23925545" y="2616731"/>
                <a:ext cx="110140" cy="116260"/>
              </a:xfrm>
              <a:custGeom>
                <a:avLst/>
                <a:gdLst>
                  <a:gd name="connsiteX0" fmla="*/ 110141 w 110140"/>
                  <a:gd name="connsiteY0" fmla="*/ 21416 h 116260"/>
                  <a:gd name="connsiteX1" fmla="*/ 73429 w 110140"/>
                  <a:gd name="connsiteY1" fmla="*/ 116261 h 116260"/>
                  <a:gd name="connsiteX2" fmla="*/ 0 w 110140"/>
                  <a:gd name="connsiteY2" fmla="*/ 0 h 116260"/>
                  <a:gd name="connsiteX3" fmla="*/ 110141 w 110140"/>
                  <a:gd name="connsiteY3" fmla="*/ 21416 h 116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0140" h="116260">
                    <a:moveTo>
                      <a:pt x="110141" y="21416"/>
                    </a:moveTo>
                    <a:lnTo>
                      <a:pt x="73429" y="116261"/>
                    </a:lnTo>
                    <a:lnTo>
                      <a:pt x="0" y="0"/>
                    </a:lnTo>
                    <a:cubicBezTo>
                      <a:pt x="0" y="0"/>
                      <a:pt x="70368" y="21416"/>
                      <a:pt x="110141" y="21416"/>
                    </a:cubicBezTo>
                    <a:close/>
                  </a:path>
                </a:pathLst>
              </a:custGeom>
              <a:solidFill>
                <a:srgbClr val="FFFFFF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0AE962C2-2592-4334-B3C4-EDC319F02F8D}"/>
                  </a:ext>
                </a:extLst>
              </p:cNvPr>
              <p:cNvSpPr/>
              <p:nvPr/>
            </p:nvSpPr>
            <p:spPr>
              <a:xfrm>
                <a:off x="23576762" y="2740903"/>
                <a:ext cx="53279" cy="744723"/>
              </a:xfrm>
              <a:custGeom>
                <a:avLst/>
                <a:gdLst>
                  <a:gd name="connsiteX0" fmla="*/ 6119 w 53279"/>
                  <a:gd name="connsiteY0" fmla="*/ 744723 h 744723"/>
                  <a:gd name="connsiteX1" fmla="*/ 6119 w 53279"/>
                  <a:gd name="connsiteY1" fmla="*/ 744723 h 744723"/>
                  <a:gd name="connsiteX2" fmla="*/ 0 w 53279"/>
                  <a:gd name="connsiteY2" fmla="*/ 738604 h 744723"/>
                  <a:gd name="connsiteX3" fmla="*/ 42834 w 53279"/>
                  <a:gd name="connsiteY3" fmla="*/ 4327 h 744723"/>
                  <a:gd name="connsiteX4" fmla="*/ 48953 w 53279"/>
                  <a:gd name="connsiteY4" fmla="*/ 1267 h 744723"/>
                  <a:gd name="connsiteX5" fmla="*/ 52012 w 53279"/>
                  <a:gd name="connsiteY5" fmla="*/ 7386 h 744723"/>
                  <a:gd name="connsiteX6" fmla="*/ 9180 w 53279"/>
                  <a:gd name="connsiteY6" fmla="*/ 738604 h 744723"/>
                  <a:gd name="connsiteX7" fmla="*/ 6119 w 53279"/>
                  <a:gd name="connsiteY7" fmla="*/ 744723 h 744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3279" h="744723">
                    <a:moveTo>
                      <a:pt x="6119" y="744723"/>
                    </a:moveTo>
                    <a:cubicBezTo>
                      <a:pt x="6119" y="744723"/>
                      <a:pt x="6119" y="744723"/>
                      <a:pt x="6119" y="744723"/>
                    </a:cubicBezTo>
                    <a:cubicBezTo>
                      <a:pt x="3061" y="744723"/>
                      <a:pt x="0" y="741664"/>
                      <a:pt x="0" y="738604"/>
                    </a:cubicBezTo>
                    <a:cubicBezTo>
                      <a:pt x="0" y="711069"/>
                      <a:pt x="36714" y="44100"/>
                      <a:pt x="42834" y="4327"/>
                    </a:cubicBezTo>
                    <a:cubicBezTo>
                      <a:pt x="42834" y="1267"/>
                      <a:pt x="45892" y="-1792"/>
                      <a:pt x="48953" y="1267"/>
                    </a:cubicBezTo>
                    <a:cubicBezTo>
                      <a:pt x="52012" y="1267"/>
                      <a:pt x="55072" y="4327"/>
                      <a:pt x="52012" y="7386"/>
                    </a:cubicBezTo>
                    <a:cubicBezTo>
                      <a:pt x="42834" y="47160"/>
                      <a:pt x="9180" y="732485"/>
                      <a:pt x="9180" y="738604"/>
                    </a:cubicBezTo>
                    <a:cubicBezTo>
                      <a:pt x="9180" y="741664"/>
                      <a:pt x="9180" y="744723"/>
                      <a:pt x="6119" y="74472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B2A362E0-6AE1-4F1A-A659-8DDCC96973CD}"/>
                  </a:ext>
                </a:extLst>
              </p:cNvPr>
              <p:cNvSpPr/>
              <p:nvPr/>
            </p:nvSpPr>
            <p:spPr>
              <a:xfrm>
                <a:off x="23966083" y="2446164"/>
                <a:ext cx="121614" cy="26770"/>
              </a:xfrm>
              <a:custGeom>
                <a:avLst/>
                <a:gdLst>
                  <a:gd name="connsiteX0" fmla="*/ 51247 w 121614"/>
                  <a:gd name="connsiteY0" fmla="*/ 26771 h 26770"/>
                  <a:gd name="connsiteX1" fmla="*/ 2295 w 121614"/>
                  <a:gd name="connsiteY1" fmla="*/ 11473 h 26770"/>
                  <a:gd name="connsiteX2" fmla="*/ 2295 w 121614"/>
                  <a:gd name="connsiteY2" fmla="*/ 2295 h 26770"/>
                  <a:gd name="connsiteX3" fmla="*/ 11474 w 121614"/>
                  <a:gd name="connsiteY3" fmla="*/ 2295 h 26770"/>
                  <a:gd name="connsiteX4" fmla="*/ 112436 w 121614"/>
                  <a:gd name="connsiteY4" fmla="*/ 2295 h 26770"/>
                  <a:gd name="connsiteX5" fmla="*/ 121614 w 121614"/>
                  <a:gd name="connsiteY5" fmla="*/ 5354 h 26770"/>
                  <a:gd name="connsiteX6" fmla="*/ 118556 w 121614"/>
                  <a:gd name="connsiteY6" fmla="*/ 14533 h 26770"/>
                  <a:gd name="connsiteX7" fmla="*/ 51247 w 121614"/>
                  <a:gd name="connsiteY7" fmla="*/ 26771 h 26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1614" h="26770">
                    <a:moveTo>
                      <a:pt x="51247" y="26771"/>
                    </a:moveTo>
                    <a:cubicBezTo>
                      <a:pt x="32890" y="26771"/>
                      <a:pt x="17593" y="23711"/>
                      <a:pt x="2295" y="11473"/>
                    </a:cubicBezTo>
                    <a:cubicBezTo>
                      <a:pt x="-765" y="8414"/>
                      <a:pt x="-765" y="5354"/>
                      <a:pt x="2295" y="2295"/>
                    </a:cubicBezTo>
                    <a:cubicBezTo>
                      <a:pt x="5354" y="-765"/>
                      <a:pt x="8413" y="-765"/>
                      <a:pt x="11474" y="2295"/>
                    </a:cubicBezTo>
                    <a:cubicBezTo>
                      <a:pt x="51247" y="32890"/>
                      <a:pt x="112436" y="2295"/>
                      <a:pt x="112436" y="2295"/>
                    </a:cubicBezTo>
                    <a:cubicBezTo>
                      <a:pt x="115495" y="2295"/>
                      <a:pt x="118556" y="2295"/>
                      <a:pt x="121614" y="5354"/>
                    </a:cubicBezTo>
                    <a:cubicBezTo>
                      <a:pt x="121614" y="8414"/>
                      <a:pt x="121614" y="11473"/>
                      <a:pt x="118556" y="14533"/>
                    </a:cubicBezTo>
                    <a:cubicBezTo>
                      <a:pt x="112436" y="11473"/>
                      <a:pt x="84900" y="26771"/>
                      <a:pt x="51247" y="2677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B9FD3C30-44EE-4B66-A5AB-F2CCD51BF7C2}"/>
                  </a:ext>
                </a:extLst>
              </p:cNvPr>
              <p:cNvSpPr/>
              <p:nvPr/>
            </p:nvSpPr>
            <p:spPr>
              <a:xfrm>
                <a:off x="24543587" y="4042453"/>
                <a:ext cx="156008" cy="156467"/>
              </a:xfrm>
              <a:custGeom>
                <a:avLst/>
                <a:gdLst>
                  <a:gd name="connsiteX0" fmla="*/ 156008 w 156008"/>
                  <a:gd name="connsiteY0" fmla="*/ 0 h 156467"/>
                  <a:gd name="connsiteX1" fmla="*/ 36689 w 156008"/>
                  <a:gd name="connsiteY1" fmla="*/ 70368 h 156467"/>
                  <a:gd name="connsiteX2" fmla="*/ 3034 w 156008"/>
                  <a:gd name="connsiteY2" fmla="*/ 149915 h 156467"/>
                  <a:gd name="connsiteX3" fmla="*/ 113176 w 156008"/>
                  <a:gd name="connsiteY3" fmla="*/ 79547 h 156467"/>
                  <a:gd name="connsiteX4" fmla="*/ 156008 w 156008"/>
                  <a:gd name="connsiteY4" fmla="*/ 0 h 156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6008" h="156467">
                    <a:moveTo>
                      <a:pt x="156008" y="0"/>
                    </a:moveTo>
                    <a:cubicBezTo>
                      <a:pt x="156008" y="0"/>
                      <a:pt x="55045" y="42833"/>
                      <a:pt x="36689" y="70368"/>
                    </a:cubicBezTo>
                    <a:cubicBezTo>
                      <a:pt x="18331" y="97904"/>
                      <a:pt x="-9203" y="137677"/>
                      <a:pt x="3034" y="149915"/>
                    </a:cubicBezTo>
                    <a:cubicBezTo>
                      <a:pt x="33628" y="183569"/>
                      <a:pt x="76462" y="76487"/>
                      <a:pt x="113176" y="79547"/>
                    </a:cubicBezTo>
                    <a:cubicBezTo>
                      <a:pt x="128474" y="85666"/>
                      <a:pt x="156008" y="0"/>
                      <a:pt x="156008" y="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8AC167AB-5CE5-4A17-BF62-5ED1B56E6BE7}"/>
                  </a:ext>
                </a:extLst>
              </p:cNvPr>
              <p:cNvSpPr/>
              <p:nvPr/>
            </p:nvSpPr>
            <p:spPr>
              <a:xfrm>
                <a:off x="19363846" y="4293331"/>
                <a:ext cx="801584" cy="417028"/>
              </a:xfrm>
              <a:custGeom>
                <a:avLst/>
                <a:gdLst>
                  <a:gd name="connsiteX0" fmla="*/ 715920 w 801584"/>
                  <a:gd name="connsiteY0" fmla="*/ 201927 h 417028"/>
                  <a:gd name="connsiteX1" fmla="*/ 801585 w 801584"/>
                  <a:gd name="connsiteY1" fmla="*/ 361020 h 417028"/>
                  <a:gd name="connsiteX2" fmla="*/ 0 w 801584"/>
                  <a:gd name="connsiteY2" fmla="*/ 403853 h 417028"/>
                  <a:gd name="connsiteX3" fmla="*/ 107082 w 801584"/>
                  <a:gd name="connsiteY3" fmla="*/ 134618 h 417028"/>
                  <a:gd name="connsiteX4" fmla="*/ 152975 w 801584"/>
                  <a:gd name="connsiteY4" fmla="*/ 0 h 417028"/>
                  <a:gd name="connsiteX5" fmla="*/ 715920 w 801584"/>
                  <a:gd name="connsiteY5" fmla="*/ 201927 h 417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01584" h="417028">
                    <a:moveTo>
                      <a:pt x="715920" y="201927"/>
                    </a:moveTo>
                    <a:cubicBezTo>
                      <a:pt x="731217" y="235581"/>
                      <a:pt x="801585" y="361020"/>
                      <a:pt x="801585" y="361020"/>
                    </a:cubicBezTo>
                    <a:cubicBezTo>
                      <a:pt x="801585" y="361020"/>
                      <a:pt x="235579" y="449745"/>
                      <a:pt x="0" y="403853"/>
                    </a:cubicBezTo>
                    <a:cubicBezTo>
                      <a:pt x="0" y="403853"/>
                      <a:pt x="107082" y="214164"/>
                      <a:pt x="107082" y="134618"/>
                    </a:cubicBezTo>
                    <a:cubicBezTo>
                      <a:pt x="104022" y="52011"/>
                      <a:pt x="152975" y="0"/>
                      <a:pt x="152975" y="0"/>
                    </a:cubicBezTo>
                    <a:cubicBezTo>
                      <a:pt x="152975" y="0"/>
                      <a:pt x="670027" y="100963"/>
                      <a:pt x="715920" y="201927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F200C2D8-3664-4BA0-BB18-8A570E04351B}"/>
                  </a:ext>
                </a:extLst>
              </p:cNvPr>
              <p:cNvSpPr/>
              <p:nvPr/>
            </p:nvSpPr>
            <p:spPr>
              <a:xfrm>
                <a:off x="19626961" y="4779790"/>
                <a:ext cx="569064" cy="85665"/>
              </a:xfrm>
              <a:custGeom>
                <a:avLst/>
                <a:gdLst>
                  <a:gd name="connsiteX0" fmla="*/ 0 w 569064"/>
                  <a:gd name="connsiteY0" fmla="*/ 21417 h 85665"/>
                  <a:gd name="connsiteX1" fmla="*/ 553767 w 569064"/>
                  <a:gd name="connsiteY1" fmla="*/ 0 h 85665"/>
                  <a:gd name="connsiteX2" fmla="*/ 569064 w 569064"/>
                  <a:gd name="connsiteY2" fmla="*/ 85666 h 85665"/>
                  <a:gd name="connsiteX3" fmla="*/ 333485 w 569064"/>
                  <a:gd name="connsiteY3" fmla="*/ 85666 h 85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9064" h="85665">
                    <a:moveTo>
                      <a:pt x="0" y="21417"/>
                    </a:moveTo>
                    <a:lnTo>
                      <a:pt x="553767" y="0"/>
                    </a:lnTo>
                    <a:lnTo>
                      <a:pt x="569064" y="85666"/>
                    </a:lnTo>
                    <a:lnTo>
                      <a:pt x="333485" y="85666"/>
                    </a:lnTo>
                    <a:close/>
                  </a:path>
                </a:pathLst>
              </a:custGeom>
              <a:solidFill>
                <a:srgbClr val="E5D1D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50" name="图形 892">
                <a:extLst>
                  <a:ext uri="{FF2B5EF4-FFF2-40B4-BE49-F238E27FC236}">
                    <a16:creationId xmlns:a16="http://schemas.microsoft.com/office/drawing/2014/main" id="{0B7997D6-9ED1-4397-B252-06652EEAC86D}"/>
                  </a:ext>
                </a:extLst>
              </p:cNvPr>
              <p:cNvGrpSpPr/>
              <p:nvPr/>
            </p:nvGrpSpPr>
            <p:grpSpPr>
              <a:xfrm>
                <a:off x="19616689" y="4647753"/>
                <a:ext cx="376745" cy="215274"/>
                <a:chOff x="19616689" y="4647753"/>
                <a:chExt cx="376745" cy="215274"/>
              </a:xfrm>
            </p:grpSpPr>
            <p:sp>
              <p:nvSpPr>
                <p:cNvPr id="100" name="任意多边形: 形状 99">
                  <a:extLst>
                    <a:ext uri="{FF2B5EF4-FFF2-40B4-BE49-F238E27FC236}">
                      <a16:creationId xmlns:a16="http://schemas.microsoft.com/office/drawing/2014/main" id="{0881850A-801D-4D28-AEA2-4C87F68D4B5F}"/>
                    </a:ext>
                  </a:extLst>
                </p:cNvPr>
                <p:cNvSpPr/>
                <p:nvPr/>
              </p:nvSpPr>
              <p:spPr>
                <a:xfrm>
                  <a:off x="19616689" y="4647753"/>
                  <a:ext cx="376745" cy="215274"/>
                </a:xfrm>
                <a:custGeom>
                  <a:avLst/>
                  <a:gdLst>
                    <a:gd name="connsiteX0" fmla="*/ 19450 w 376745"/>
                    <a:gd name="connsiteY0" fmla="*/ 61669 h 215274"/>
                    <a:gd name="connsiteX1" fmla="*/ 19450 w 376745"/>
                    <a:gd name="connsiteY1" fmla="*/ 18836 h 215274"/>
                    <a:gd name="connsiteX2" fmla="*/ 68403 w 376745"/>
                    <a:gd name="connsiteY2" fmla="*/ 479 h 215274"/>
                    <a:gd name="connsiteX3" fmla="*/ 239734 w 376745"/>
                    <a:gd name="connsiteY3" fmla="*/ 52490 h 215274"/>
                    <a:gd name="connsiteX4" fmla="*/ 322340 w 376745"/>
                    <a:gd name="connsiteY4" fmla="*/ 113680 h 215274"/>
                    <a:gd name="connsiteX5" fmla="*/ 371291 w 376745"/>
                    <a:gd name="connsiteY5" fmla="*/ 180989 h 215274"/>
                    <a:gd name="connsiteX6" fmla="*/ 362113 w 376745"/>
                    <a:gd name="connsiteY6" fmla="*/ 214644 h 215274"/>
                    <a:gd name="connsiteX7" fmla="*/ 242792 w 376745"/>
                    <a:gd name="connsiteY7" fmla="*/ 156513 h 215274"/>
                    <a:gd name="connsiteX8" fmla="*/ 151008 w 376745"/>
                    <a:gd name="connsiteY8" fmla="*/ 147335 h 215274"/>
                    <a:gd name="connsiteX9" fmla="*/ 59223 w 376745"/>
                    <a:gd name="connsiteY9" fmla="*/ 101442 h 215274"/>
                    <a:gd name="connsiteX10" fmla="*/ 1094 w 376745"/>
                    <a:gd name="connsiteY10" fmla="*/ 86145 h 215274"/>
                    <a:gd name="connsiteX11" fmla="*/ 19450 w 376745"/>
                    <a:gd name="connsiteY11" fmla="*/ 61669 h 215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76745" h="215274">
                      <a:moveTo>
                        <a:pt x="19450" y="61669"/>
                      </a:moveTo>
                      <a:cubicBezTo>
                        <a:pt x="16391" y="49431"/>
                        <a:pt x="13331" y="28014"/>
                        <a:pt x="19450" y="18836"/>
                      </a:cubicBezTo>
                      <a:cubicBezTo>
                        <a:pt x="19450" y="9658"/>
                        <a:pt x="62284" y="-2580"/>
                        <a:pt x="68403" y="479"/>
                      </a:cubicBezTo>
                      <a:cubicBezTo>
                        <a:pt x="120413" y="6598"/>
                        <a:pt x="193841" y="21896"/>
                        <a:pt x="239734" y="52490"/>
                      </a:cubicBezTo>
                      <a:cubicBezTo>
                        <a:pt x="264209" y="70847"/>
                        <a:pt x="297865" y="89204"/>
                        <a:pt x="322340" y="113680"/>
                      </a:cubicBezTo>
                      <a:cubicBezTo>
                        <a:pt x="340696" y="128978"/>
                        <a:pt x="368233" y="177930"/>
                        <a:pt x="371291" y="180989"/>
                      </a:cubicBezTo>
                      <a:cubicBezTo>
                        <a:pt x="386589" y="196286"/>
                        <a:pt x="365172" y="214644"/>
                        <a:pt x="362113" y="214644"/>
                      </a:cubicBezTo>
                      <a:cubicBezTo>
                        <a:pt x="355994" y="220762"/>
                        <a:pt x="313162" y="180989"/>
                        <a:pt x="242792" y="156513"/>
                      </a:cubicBezTo>
                      <a:cubicBezTo>
                        <a:pt x="218317" y="147335"/>
                        <a:pt x="175485" y="153454"/>
                        <a:pt x="151008" y="147335"/>
                      </a:cubicBezTo>
                      <a:cubicBezTo>
                        <a:pt x="123473" y="144275"/>
                        <a:pt x="53105" y="144275"/>
                        <a:pt x="59223" y="101442"/>
                      </a:cubicBezTo>
                      <a:cubicBezTo>
                        <a:pt x="59223" y="98383"/>
                        <a:pt x="-1967" y="89204"/>
                        <a:pt x="1094" y="86145"/>
                      </a:cubicBezTo>
                      <a:cubicBezTo>
                        <a:pt x="-5026" y="83085"/>
                        <a:pt x="16391" y="64728"/>
                        <a:pt x="19450" y="61669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1" name="任意多边形: 形状 100">
                  <a:extLst>
                    <a:ext uri="{FF2B5EF4-FFF2-40B4-BE49-F238E27FC236}">
                      <a16:creationId xmlns:a16="http://schemas.microsoft.com/office/drawing/2014/main" id="{A07B7735-731B-4F5F-9083-4511B2FEBB6D}"/>
                    </a:ext>
                  </a:extLst>
                </p:cNvPr>
                <p:cNvSpPr/>
                <p:nvPr/>
              </p:nvSpPr>
              <p:spPr>
                <a:xfrm>
                  <a:off x="19781728" y="4729571"/>
                  <a:ext cx="151441" cy="99170"/>
                </a:xfrm>
                <a:custGeom>
                  <a:avLst/>
                  <a:gdLst>
                    <a:gd name="connsiteX0" fmla="*/ 126707 w 151441"/>
                    <a:gd name="connsiteY0" fmla="*/ 99171 h 99170"/>
                    <a:gd name="connsiteX1" fmla="*/ 93052 w 151441"/>
                    <a:gd name="connsiteY1" fmla="*/ 86933 h 99170"/>
                    <a:gd name="connsiteX2" fmla="*/ 89993 w 151441"/>
                    <a:gd name="connsiteY2" fmla="*/ 77755 h 99170"/>
                    <a:gd name="connsiteX3" fmla="*/ 99171 w 151441"/>
                    <a:gd name="connsiteY3" fmla="*/ 74695 h 99170"/>
                    <a:gd name="connsiteX4" fmla="*/ 132827 w 151441"/>
                    <a:gd name="connsiteY4" fmla="*/ 83873 h 99170"/>
                    <a:gd name="connsiteX5" fmla="*/ 138944 w 151441"/>
                    <a:gd name="connsiteY5" fmla="*/ 77755 h 99170"/>
                    <a:gd name="connsiteX6" fmla="*/ 4328 w 151441"/>
                    <a:gd name="connsiteY6" fmla="*/ 10446 h 99170"/>
                    <a:gd name="connsiteX7" fmla="*/ 1267 w 151441"/>
                    <a:gd name="connsiteY7" fmla="*/ 4327 h 99170"/>
                    <a:gd name="connsiteX8" fmla="*/ 7386 w 151441"/>
                    <a:gd name="connsiteY8" fmla="*/ 1267 h 99170"/>
                    <a:gd name="connsiteX9" fmla="*/ 151183 w 151441"/>
                    <a:gd name="connsiteY9" fmla="*/ 83873 h 99170"/>
                    <a:gd name="connsiteX10" fmla="*/ 138944 w 151441"/>
                    <a:gd name="connsiteY10" fmla="*/ 99171 h 99170"/>
                    <a:gd name="connsiteX11" fmla="*/ 126707 w 151441"/>
                    <a:gd name="connsiteY11" fmla="*/ 99171 h 991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51441" h="99170">
                      <a:moveTo>
                        <a:pt x="126707" y="99171"/>
                      </a:moveTo>
                      <a:cubicBezTo>
                        <a:pt x="111410" y="99171"/>
                        <a:pt x="93052" y="89993"/>
                        <a:pt x="93052" y="86933"/>
                      </a:cubicBezTo>
                      <a:cubicBezTo>
                        <a:pt x="89993" y="83873"/>
                        <a:pt x="89993" y="80814"/>
                        <a:pt x="89993" y="77755"/>
                      </a:cubicBezTo>
                      <a:cubicBezTo>
                        <a:pt x="93052" y="74695"/>
                        <a:pt x="96112" y="74695"/>
                        <a:pt x="99171" y="74695"/>
                      </a:cubicBezTo>
                      <a:cubicBezTo>
                        <a:pt x="105290" y="77755"/>
                        <a:pt x="123647" y="86933"/>
                        <a:pt x="132827" y="83873"/>
                      </a:cubicBezTo>
                      <a:cubicBezTo>
                        <a:pt x="135885" y="83873"/>
                        <a:pt x="135885" y="80814"/>
                        <a:pt x="138944" y="77755"/>
                      </a:cubicBezTo>
                      <a:cubicBezTo>
                        <a:pt x="142005" y="65517"/>
                        <a:pt x="77754" y="34922"/>
                        <a:pt x="4328" y="10446"/>
                      </a:cubicBezTo>
                      <a:cubicBezTo>
                        <a:pt x="1267" y="10446"/>
                        <a:pt x="-1792" y="7386"/>
                        <a:pt x="1267" y="4327"/>
                      </a:cubicBezTo>
                      <a:cubicBezTo>
                        <a:pt x="1267" y="1267"/>
                        <a:pt x="4328" y="-1792"/>
                        <a:pt x="7386" y="1267"/>
                      </a:cubicBezTo>
                      <a:cubicBezTo>
                        <a:pt x="53279" y="16565"/>
                        <a:pt x="157302" y="53279"/>
                        <a:pt x="151183" y="83873"/>
                      </a:cubicBezTo>
                      <a:cubicBezTo>
                        <a:pt x="148124" y="93052"/>
                        <a:pt x="142005" y="96111"/>
                        <a:pt x="138944" y="99171"/>
                      </a:cubicBezTo>
                      <a:cubicBezTo>
                        <a:pt x="132827" y="96111"/>
                        <a:pt x="129766" y="99171"/>
                        <a:pt x="126707" y="99171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2" name="任意多边形: 形状 101">
                  <a:extLst>
                    <a:ext uri="{FF2B5EF4-FFF2-40B4-BE49-F238E27FC236}">
                      <a16:creationId xmlns:a16="http://schemas.microsoft.com/office/drawing/2014/main" id="{C2EC0CFC-2445-4CFA-A3F1-BC0165E2DF3A}"/>
                    </a:ext>
                  </a:extLst>
                </p:cNvPr>
                <p:cNvSpPr/>
                <p:nvPr/>
              </p:nvSpPr>
              <p:spPr>
                <a:xfrm>
                  <a:off x="19859482" y="4718600"/>
                  <a:ext cx="116262" cy="122379"/>
                </a:xfrm>
                <a:custGeom>
                  <a:avLst/>
                  <a:gdLst>
                    <a:gd name="connsiteX0" fmla="*/ 85667 w 116262"/>
                    <a:gd name="connsiteY0" fmla="*/ 122380 h 122379"/>
                    <a:gd name="connsiteX1" fmla="*/ 52012 w 116262"/>
                    <a:gd name="connsiteY1" fmla="*/ 107082 h 122379"/>
                    <a:gd name="connsiteX2" fmla="*/ 52012 w 116262"/>
                    <a:gd name="connsiteY2" fmla="*/ 97904 h 122379"/>
                    <a:gd name="connsiteX3" fmla="*/ 61190 w 116262"/>
                    <a:gd name="connsiteY3" fmla="*/ 97904 h 122379"/>
                    <a:gd name="connsiteX4" fmla="*/ 100965 w 116262"/>
                    <a:gd name="connsiteY4" fmla="*/ 104023 h 122379"/>
                    <a:gd name="connsiteX5" fmla="*/ 100965 w 116262"/>
                    <a:gd name="connsiteY5" fmla="*/ 100963 h 122379"/>
                    <a:gd name="connsiteX6" fmla="*/ 3061 w 116262"/>
                    <a:gd name="connsiteY6" fmla="*/ 12238 h 122379"/>
                    <a:gd name="connsiteX7" fmla="*/ 0 w 116262"/>
                    <a:gd name="connsiteY7" fmla="*/ 3059 h 122379"/>
                    <a:gd name="connsiteX8" fmla="*/ 9180 w 116262"/>
                    <a:gd name="connsiteY8" fmla="*/ 0 h 122379"/>
                    <a:gd name="connsiteX9" fmla="*/ 116262 w 116262"/>
                    <a:gd name="connsiteY9" fmla="*/ 97904 h 122379"/>
                    <a:gd name="connsiteX10" fmla="*/ 110143 w 116262"/>
                    <a:gd name="connsiteY10" fmla="*/ 113201 h 122379"/>
                    <a:gd name="connsiteX11" fmla="*/ 85667 w 116262"/>
                    <a:gd name="connsiteY11" fmla="*/ 122380 h 122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16262" h="122379">
                      <a:moveTo>
                        <a:pt x="85667" y="122380"/>
                      </a:moveTo>
                      <a:cubicBezTo>
                        <a:pt x="67309" y="122380"/>
                        <a:pt x="52012" y="110142"/>
                        <a:pt x="52012" y="107082"/>
                      </a:cubicBezTo>
                      <a:cubicBezTo>
                        <a:pt x="48953" y="104023"/>
                        <a:pt x="48953" y="100963"/>
                        <a:pt x="52012" y="97904"/>
                      </a:cubicBezTo>
                      <a:cubicBezTo>
                        <a:pt x="55072" y="94844"/>
                        <a:pt x="58131" y="94844"/>
                        <a:pt x="61190" y="97904"/>
                      </a:cubicBezTo>
                      <a:cubicBezTo>
                        <a:pt x="61190" y="97904"/>
                        <a:pt x="82607" y="116261"/>
                        <a:pt x="100965" y="104023"/>
                      </a:cubicBezTo>
                      <a:cubicBezTo>
                        <a:pt x="100965" y="104023"/>
                        <a:pt x="100965" y="104023"/>
                        <a:pt x="100965" y="100963"/>
                      </a:cubicBezTo>
                      <a:cubicBezTo>
                        <a:pt x="97904" y="82606"/>
                        <a:pt x="42834" y="30595"/>
                        <a:pt x="3061" y="12238"/>
                      </a:cubicBezTo>
                      <a:cubicBezTo>
                        <a:pt x="0" y="12238"/>
                        <a:pt x="0" y="6119"/>
                        <a:pt x="0" y="3059"/>
                      </a:cubicBezTo>
                      <a:cubicBezTo>
                        <a:pt x="0" y="0"/>
                        <a:pt x="6119" y="0"/>
                        <a:pt x="9180" y="0"/>
                      </a:cubicBezTo>
                      <a:cubicBezTo>
                        <a:pt x="48953" y="18357"/>
                        <a:pt x="113202" y="73428"/>
                        <a:pt x="116262" y="97904"/>
                      </a:cubicBezTo>
                      <a:cubicBezTo>
                        <a:pt x="116262" y="104023"/>
                        <a:pt x="113202" y="110142"/>
                        <a:pt x="110143" y="113201"/>
                      </a:cubicBezTo>
                      <a:cubicBezTo>
                        <a:pt x="97904" y="122380"/>
                        <a:pt x="91785" y="122380"/>
                        <a:pt x="85667" y="122380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51" name="图形 892">
                <a:extLst>
                  <a:ext uri="{FF2B5EF4-FFF2-40B4-BE49-F238E27FC236}">
                    <a16:creationId xmlns:a16="http://schemas.microsoft.com/office/drawing/2014/main" id="{E4B4D503-EE41-49D3-A45F-62903076FDC7}"/>
                  </a:ext>
                </a:extLst>
              </p:cNvPr>
              <p:cNvGrpSpPr/>
              <p:nvPr/>
            </p:nvGrpSpPr>
            <p:grpSpPr>
              <a:xfrm>
                <a:off x="19626961" y="4363700"/>
                <a:ext cx="1401133" cy="538470"/>
                <a:chOff x="19626961" y="4363700"/>
                <a:chExt cx="1401133" cy="538470"/>
              </a:xfrm>
            </p:grpSpPr>
            <p:sp>
              <p:nvSpPr>
                <p:cNvPr id="97" name="任意多边形: 形状 96">
                  <a:extLst>
                    <a:ext uri="{FF2B5EF4-FFF2-40B4-BE49-F238E27FC236}">
                      <a16:creationId xmlns:a16="http://schemas.microsoft.com/office/drawing/2014/main" id="{29CA7D1D-221B-45B5-8D6A-B824501319C8}"/>
                    </a:ext>
                  </a:extLst>
                </p:cNvPr>
                <p:cNvSpPr/>
                <p:nvPr/>
              </p:nvSpPr>
              <p:spPr>
                <a:xfrm>
                  <a:off x="19960446" y="4363700"/>
                  <a:ext cx="1067648" cy="501756"/>
                </a:xfrm>
                <a:custGeom>
                  <a:avLst/>
                  <a:gdLst>
                    <a:gd name="connsiteX0" fmla="*/ 0 w 1067648"/>
                    <a:gd name="connsiteY0" fmla="*/ 501756 h 501756"/>
                    <a:gd name="connsiteX1" fmla="*/ 923965 w 1067648"/>
                    <a:gd name="connsiteY1" fmla="*/ 501756 h 501756"/>
                    <a:gd name="connsiteX2" fmla="*/ 1064702 w 1067648"/>
                    <a:gd name="connsiteY2" fmla="*/ 73428 h 501756"/>
                    <a:gd name="connsiteX3" fmla="*/ 1012691 w 1067648"/>
                    <a:gd name="connsiteY3" fmla="*/ 0 h 501756"/>
                    <a:gd name="connsiteX4" fmla="*/ 204984 w 1067648"/>
                    <a:gd name="connsiteY4" fmla="*/ 0 h 501756"/>
                    <a:gd name="connsiteX5" fmla="*/ 152975 w 1067648"/>
                    <a:gd name="connsiteY5" fmla="*/ 36714 h 501756"/>
                    <a:gd name="connsiteX6" fmla="*/ 0 w 1067648"/>
                    <a:gd name="connsiteY6" fmla="*/ 501756 h 501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67648" h="501756">
                      <a:moveTo>
                        <a:pt x="0" y="501756"/>
                      </a:moveTo>
                      <a:lnTo>
                        <a:pt x="923965" y="501756"/>
                      </a:lnTo>
                      <a:lnTo>
                        <a:pt x="1064702" y="73428"/>
                      </a:lnTo>
                      <a:cubicBezTo>
                        <a:pt x="1076939" y="36714"/>
                        <a:pt x="1049405" y="0"/>
                        <a:pt x="1012691" y="0"/>
                      </a:cubicBezTo>
                      <a:lnTo>
                        <a:pt x="204984" y="0"/>
                      </a:lnTo>
                      <a:cubicBezTo>
                        <a:pt x="180509" y="0"/>
                        <a:pt x="159092" y="15297"/>
                        <a:pt x="152975" y="36714"/>
                      </a:cubicBezTo>
                      <a:lnTo>
                        <a:pt x="0" y="501756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" name="任意多边形: 形状 97">
                  <a:extLst>
                    <a:ext uri="{FF2B5EF4-FFF2-40B4-BE49-F238E27FC236}">
                      <a16:creationId xmlns:a16="http://schemas.microsoft.com/office/drawing/2014/main" id="{8D8BD1B7-0001-4CE0-9B6D-5585E2EE20FD}"/>
                    </a:ext>
                  </a:extLst>
                </p:cNvPr>
                <p:cNvSpPr/>
                <p:nvPr/>
              </p:nvSpPr>
              <p:spPr>
                <a:xfrm rot="-10800000">
                  <a:off x="19957080" y="4863896"/>
                  <a:ext cx="923966" cy="36713"/>
                </a:xfrm>
                <a:custGeom>
                  <a:avLst/>
                  <a:gdLst>
                    <a:gd name="connsiteX0" fmla="*/ 1 w 923966"/>
                    <a:gd name="connsiteY0" fmla="*/ 0 h 36713"/>
                    <a:gd name="connsiteX1" fmla="*/ 923967 w 923966"/>
                    <a:gd name="connsiteY1" fmla="*/ 0 h 36713"/>
                    <a:gd name="connsiteX2" fmla="*/ 923967 w 923966"/>
                    <a:gd name="connsiteY2" fmla="*/ 36714 h 36713"/>
                    <a:gd name="connsiteX3" fmla="*/ 1 w 923966"/>
                    <a:gd name="connsiteY3" fmla="*/ 36714 h 367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3966" h="36713">
                      <a:moveTo>
                        <a:pt x="1" y="0"/>
                      </a:moveTo>
                      <a:lnTo>
                        <a:pt x="923967" y="0"/>
                      </a:lnTo>
                      <a:lnTo>
                        <a:pt x="923967" y="36714"/>
                      </a:lnTo>
                      <a:lnTo>
                        <a:pt x="1" y="36714"/>
                      </a:lnTo>
                      <a:close/>
                    </a:path>
                  </a:pathLst>
                </a:custGeom>
                <a:solidFill>
                  <a:srgbClr val="E5D1D1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9" name="任意多边形: 形状 98">
                  <a:extLst>
                    <a:ext uri="{FF2B5EF4-FFF2-40B4-BE49-F238E27FC236}">
                      <a16:creationId xmlns:a16="http://schemas.microsoft.com/office/drawing/2014/main" id="{21EBBDD4-CC10-4317-87AD-80B73AC9B4D3}"/>
                    </a:ext>
                  </a:extLst>
                </p:cNvPr>
                <p:cNvSpPr/>
                <p:nvPr/>
              </p:nvSpPr>
              <p:spPr>
                <a:xfrm>
                  <a:off x="19626961" y="4801207"/>
                  <a:ext cx="333485" cy="100963"/>
                </a:xfrm>
                <a:custGeom>
                  <a:avLst/>
                  <a:gdLst>
                    <a:gd name="connsiteX0" fmla="*/ 0 w 333485"/>
                    <a:gd name="connsiteY0" fmla="*/ 36714 h 100963"/>
                    <a:gd name="connsiteX1" fmla="*/ 333485 w 333485"/>
                    <a:gd name="connsiteY1" fmla="*/ 100963 h 100963"/>
                    <a:gd name="connsiteX2" fmla="*/ 333485 w 333485"/>
                    <a:gd name="connsiteY2" fmla="*/ 64249 h 100963"/>
                    <a:gd name="connsiteX3" fmla="*/ 0 w 333485"/>
                    <a:gd name="connsiteY3" fmla="*/ 0 h 100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3485" h="100963">
                      <a:moveTo>
                        <a:pt x="0" y="36714"/>
                      </a:moveTo>
                      <a:lnTo>
                        <a:pt x="333485" y="100963"/>
                      </a:lnTo>
                      <a:lnTo>
                        <a:pt x="333485" y="6424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945F812B-083C-4A99-BA84-5DCA2A3B963F}"/>
                  </a:ext>
                </a:extLst>
              </p:cNvPr>
              <p:cNvSpPr/>
              <p:nvPr/>
            </p:nvSpPr>
            <p:spPr>
              <a:xfrm>
                <a:off x="19051411" y="3731321"/>
                <a:ext cx="642858" cy="1020933"/>
              </a:xfrm>
              <a:custGeom>
                <a:avLst/>
                <a:gdLst>
                  <a:gd name="connsiteX0" fmla="*/ 205352 w 642858"/>
                  <a:gd name="connsiteY0" fmla="*/ 173455 h 1020933"/>
                  <a:gd name="connsiteX1" fmla="*/ 428695 w 642858"/>
                  <a:gd name="connsiteY1" fmla="*/ 5183 h 1020933"/>
                  <a:gd name="connsiteX2" fmla="*/ 437873 w 642858"/>
                  <a:gd name="connsiteY2" fmla="*/ 283596 h 1020933"/>
                  <a:gd name="connsiteX3" fmla="*/ 260423 w 642858"/>
                  <a:gd name="connsiteY3" fmla="*/ 583427 h 1020933"/>
                  <a:gd name="connsiteX4" fmla="*/ 260423 w 642858"/>
                  <a:gd name="connsiteY4" fmla="*/ 583427 h 1020933"/>
                  <a:gd name="connsiteX5" fmla="*/ 642859 w 642858"/>
                  <a:gd name="connsiteY5" fmla="*/ 904673 h 1020933"/>
                  <a:gd name="connsiteX6" fmla="*/ 584728 w 642858"/>
                  <a:gd name="connsiteY6" fmla="*/ 1020934 h 1020933"/>
                  <a:gd name="connsiteX7" fmla="*/ 9544 w 642858"/>
                  <a:gd name="connsiteY7" fmla="*/ 739461 h 1020933"/>
                  <a:gd name="connsiteX8" fmla="*/ 205352 w 642858"/>
                  <a:gd name="connsiteY8" fmla="*/ 173455 h 1020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2858" h="1020933">
                    <a:moveTo>
                      <a:pt x="205352" y="173455"/>
                    </a:moveTo>
                    <a:cubicBezTo>
                      <a:pt x="315493" y="26599"/>
                      <a:pt x="349147" y="-16233"/>
                      <a:pt x="428695" y="5183"/>
                    </a:cubicBezTo>
                    <a:cubicBezTo>
                      <a:pt x="517419" y="29659"/>
                      <a:pt x="499063" y="167336"/>
                      <a:pt x="437873" y="283596"/>
                    </a:cubicBezTo>
                    <a:cubicBezTo>
                      <a:pt x="391980" y="375381"/>
                      <a:pt x="300196" y="522237"/>
                      <a:pt x="260423" y="583427"/>
                    </a:cubicBezTo>
                    <a:cubicBezTo>
                      <a:pt x="260423" y="583427"/>
                      <a:pt x="260423" y="583427"/>
                      <a:pt x="260423" y="583427"/>
                    </a:cubicBezTo>
                    <a:cubicBezTo>
                      <a:pt x="257362" y="601783"/>
                      <a:pt x="642859" y="904673"/>
                      <a:pt x="642859" y="904673"/>
                    </a:cubicBezTo>
                    <a:cubicBezTo>
                      <a:pt x="627562" y="932209"/>
                      <a:pt x="584728" y="1020934"/>
                      <a:pt x="584728" y="1020934"/>
                    </a:cubicBezTo>
                    <a:cubicBezTo>
                      <a:pt x="584728" y="1020934"/>
                      <a:pt x="64615" y="803710"/>
                      <a:pt x="9544" y="739461"/>
                    </a:cubicBezTo>
                    <a:cubicBezTo>
                      <a:pt x="-36348" y="684390"/>
                      <a:pt x="92151" y="323370"/>
                      <a:pt x="205352" y="173455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E10D7754-50A6-456D-A32F-1ABA6F516BC4}"/>
                  </a:ext>
                </a:extLst>
              </p:cNvPr>
              <p:cNvSpPr/>
              <p:nvPr/>
            </p:nvSpPr>
            <p:spPr>
              <a:xfrm>
                <a:off x="19416621" y="3739563"/>
                <a:ext cx="128548" cy="400793"/>
              </a:xfrm>
              <a:custGeom>
                <a:avLst/>
                <a:gdLst>
                  <a:gd name="connsiteX0" fmla="*/ 5354 w 128548"/>
                  <a:gd name="connsiteY0" fmla="*/ 400793 h 400793"/>
                  <a:gd name="connsiteX1" fmla="*/ 2295 w 128548"/>
                  <a:gd name="connsiteY1" fmla="*/ 400793 h 400793"/>
                  <a:gd name="connsiteX2" fmla="*/ 2295 w 128548"/>
                  <a:gd name="connsiteY2" fmla="*/ 391615 h 400793"/>
                  <a:gd name="connsiteX3" fmla="*/ 109378 w 128548"/>
                  <a:gd name="connsiteY3" fmla="*/ 168272 h 400793"/>
                  <a:gd name="connsiteX4" fmla="*/ 118556 w 128548"/>
                  <a:gd name="connsiteY4" fmla="*/ 82606 h 400793"/>
                  <a:gd name="connsiteX5" fmla="*/ 78783 w 128548"/>
                  <a:gd name="connsiteY5" fmla="*/ 12238 h 400793"/>
                  <a:gd name="connsiteX6" fmla="*/ 75722 w 128548"/>
                  <a:gd name="connsiteY6" fmla="*/ 3059 h 400793"/>
                  <a:gd name="connsiteX7" fmla="*/ 84902 w 128548"/>
                  <a:gd name="connsiteY7" fmla="*/ 0 h 400793"/>
                  <a:gd name="connsiteX8" fmla="*/ 127734 w 128548"/>
                  <a:gd name="connsiteY8" fmla="*/ 79547 h 400793"/>
                  <a:gd name="connsiteX9" fmla="*/ 118556 w 128548"/>
                  <a:gd name="connsiteY9" fmla="*/ 168272 h 400793"/>
                  <a:gd name="connsiteX10" fmla="*/ 11474 w 128548"/>
                  <a:gd name="connsiteY10" fmla="*/ 397734 h 400793"/>
                  <a:gd name="connsiteX11" fmla="*/ 5354 w 128548"/>
                  <a:gd name="connsiteY11" fmla="*/ 400793 h 400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8548" h="400793">
                    <a:moveTo>
                      <a:pt x="5354" y="400793"/>
                    </a:moveTo>
                    <a:cubicBezTo>
                      <a:pt x="5354" y="400793"/>
                      <a:pt x="2295" y="400793"/>
                      <a:pt x="2295" y="400793"/>
                    </a:cubicBezTo>
                    <a:cubicBezTo>
                      <a:pt x="-765" y="397734"/>
                      <a:pt x="-765" y="394674"/>
                      <a:pt x="2295" y="391615"/>
                    </a:cubicBezTo>
                    <a:cubicBezTo>
                      <a:pt x="51247" y="324306"/>
                      <a:pt x="87961" y="247819"/>
                      <a:pt x="109378" y="168272"/>
                    </a:cubicBezTo>
                    <a:cubicBezTo>
                      <a:pt x="115497" y="143796"/>
                      <a:pt x="121614" y="113201"/>
                      <a:pt x="118556" y="82606"/>
                    </a:cubicBezTo>
                    <a:cubicBezTo>
                      <a:pt x="115497" y="52011"/>
                      <a:pt x="100200" y="27535"/>
                      <a:pt x="78783" y="12238"/>
                    </a:cubicBezTo>
                    <a:cubicBezTo>
                      <a:pt x="75722" y="9179"/>
                      <a:pt x="75722" y="6119"/>
                      <a:pt x="75722" y="3059"/>
                    </a:cubicBezTo>
                    <a:cubicBezTo>
                      <a:pt x="78783" y="0"/>
                      <a:pt x="81841" y="0"/>
                      <a:pt x="84902" y="0"/>
                    </a:cubicBezTo>
                    <a:cubicBezTo>
                      <a:pt x="109378" y="15297"/>
                      <a:pt x="124675" y="45892"/>
                      <a:pt x="127734" y="79547"/>
                    </a:cubicBezTo>
                    <a:cubicBezTo>
                      <a:pt x="130794" y="110142"/>
                      <a:pt x="124675" y="143796"/>
                      <a:pt x="118556" y="168272"/>
                    </a:cubicBezTo>
                    <a:cubicBezTo>
                      <a:pt x="97139" y="250878"/>
                      <a:pt x="60425" y="327366"/>
                      <a:pt x="11474" y="397734"/>
                    </a:cubicBezTo>
                    <a:cubicBezTo>
                      <a:pt x="11474" y="400793"/>
                      <a:pt x="8415" y="400793"/>
                      <a:pt x="5354" y="40079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202AC28B-D78A-4D41-A031-75C8764AE8AB}"/>
                  </a:ext>
                </a:extLst>
              </p:cNvPr>
              <p:cNvSpPr/>
              <p:nvPr/>
            </p:nvSpPr>
            <p:spPr>
              <a:xfrm>
                <a:off x="19210871" y="4301958"/>
                <a:ext cx="486457" cy="340155"/>
              </a:xfrm>
              <a:custGeom>
                <a:avLst/>
                <a:gdLst>
                  <a:gd name="connsiteX0" fmla="*/ 480338 w 486457"/>
                  <a:gd name="connsiteY0" fmla="*/ 340155 h 340155"/>
                  <a:gd name="connsiteX1" fmla="*/ 477280 w 486457"/>
                  <a:gd name="connsiteY1" fmla="*/ 340155 h 340155"/>
                  <a:gd name="connsiteX2" fmla="*/ 94843 w 486457"/>
                  <a:gd name="connsiteY2" fmla="*/ 15849 h 340155"/>
                  <a:gd name="connsiteX3" fmla="*/ 9178 w 486457"/>
                  <a:gd name="connsiteY3" fmla="*/ 25028 h 340155"/>
                  <a:gd name="connsiteX4" fmla="*/ 0 w 486457"/>
                  <a:gd name="connsiteY4" fmla="*/ 21968 h 340155"/>
                  <a:gd name="connsiteX5" fmla="*/ 3059 w 486457"/>
                  <a:gd name="connsiteY5" fmla="*/ 12790 h 340155"/>
                  <a:gd name="connsiteX6" fmla="*/ 104022 w 486457"/>
                  <a:gd name="connsiteY6" fmla="*/ 6671 h 340155"/>
                  <a:gd name="connsiteX7" fmla="*/ 483399 w 486457"/>
                  <a:gd name="connsiteY7" fmla="*/ 327917 h 340155"/>
                  <a:gd name="connsiteX8" fmla="*/ 486458 w 486457"/>
                  <a:gd name="connsiteY8" fmla="*/ 337096 h 340155"/>
                  <a:gd name="connsiteX9" fmla="*/ 480338 w 486457"/>
                  <a:gd name="connsiteY9" fmla="*/ 340155 h 340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6457" h="340155">
                    <a:moveTo>
                      <a:pt x="480338" y="340155"/>
                    </a:moveTo>
                    <a:cubicBezTo>
                      <a:pt x="480338" y="340155"/>
                      <a:pt x="477280" y="340155"/>
                      <a:pt x="477280" y="340155"/>
                    </a:cubicBezTo>
                    <a:cubicBezTo>
                      <a:pt x="400792" y="288144"/>
                      <a:pt x="183569" y="101515"/>
                      <a:pt x="94843" y="15849"/>
                    </a:cubicBezTo>
                    <a:cubicBezTo>
                      <a:pt x="88724" y="9730"/>
                      <a:pt x="30595" y="12790"/>
                      <a:pt x="9178" y="25028"/>
                    </a:cubicBezTo>
                    <a:cubicBezTo>
                      <a:pt x="6117" y="25028"/>
                      <a:pt x="3059" y="25028"/>
                      <a:pt x="0" y="21968"/>
                    </a:cubicBezTo>
                    <a:cubicBezTo>
                      <a:pt x="0" y="18909"/>
                      <a:pt x="0" y="15849"/>
                      <a:pt x="3059" y="12790"/>
                    </a:cubicBezTo>
                    <a:cubicBezTo>
                      <a:pt x="24476" y="552"/>
                      <a:pt x="91785" y="-5567"/>
                      <a:pt x="104022" y="6671"/>
                    </a:cubicBezTo>
                    <a:cubicBezTo>
                      <a:pt x="192748" y="92336"/>
                      <a:pt x="409971" y="282025"/>
                      <a:pt x="483399" y="327917"/>
                    </a:cubicBezTo>
                    <a:cubicBezTo>
                      <a:pt x="486458" y="330977"/>
                      <a:pt x="486458" y="334036"/>
                      <a:pt x="486458" y="337096"/>
                    </a:cubicBezTo>
                    <a:cubicBezTo>
                      <a:pt x="483399" y="340155"/>
                      <a:pt x="483399" y="340155"/>
                      <a:pt x="480338" y="340155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55" name="图形 892">
                <a:extLst>
                  <a:ext uri="{FF2B5EF4-FFF2-40B4-BE49-F238E27FC236}">
                    <a16:creationId xmlns:a16="http://schemas.microsoft.com/office/drawing/2014/main" id="{532A6965-E19E-41BC-A742-3938E105A3B4}"/>
                  </a:ext>
                </a:extLst>
              </p:cNvPr>
              <p:cNvGrpSpPr/>
              <p:nvPr/>
            </p:nvGrpSpPr>
            <p:grpSpPr>
              <a:xfrm>
                <a:off x="20879934" y="4516674"/>
                <a:ext cx="174108" cy="171820"/>
                <a:chOff x="20879934" y="4516674"/>
                <a:chExt cx="174108" cy="171820"/>
              </a:xfrm>
            </p:grpSpPr>
            <p:sp>
              <p:nvSpPr>
                <p:cNvPr id="91" name="任意多边形: 形状 90">
                  <a:extLst>
                    <a:ext uri="{FF2B5EF4-FFF2-40B4-BE49-F238E27FC236}">
                      <a16:creationId xmlns:a16="http://schemas.microsoft.com/office/drawing/2014/main" id="{FC85C4F2-7CBE-45C5-BBFE-9B1E55A7EC2E}"/>
                    </a:ext>
                  </a:extLst>
                </p:cNvPr>
                <p:cNvSpPr/>
                <p:nvPr/>
              </p:nvSpPr>
              <p:spPr>
                <a:xfrm>
                  <a:off x="20898350" y="4521878"/>
                  <a:ext cx="155693" cy="63313"/>
                </a:xfrm>
                <a:custGeom>
                  <a:avLst/>
                  <a:gdLst>
                    <a:gd name="connsiteX0" fmla="*/ 142096 w 155693"/>
                    <a:gd name="connsiteY0" fmla="*/ 3974 h 63313"/>
                    <a:gd name="connsiteX1" fmla="*/ 44192 w 155693"/>
                    <a:gd name="connsiteY1" fmla="*/ 7034 h 63313"/>
                    <a:gd name="connsiteX2" fmla="*/ 28895 w 155693"/>
                    <a:gd name="connsiteY2" fmla="*/ 7034 h 63313"/>
                    <a:gd name="connsiteX3" fmla="*/ 13597 w 155693"/>
                    <a:gd name="connsiteY3" fmla="*/ 13153 h 63313"/>
                    <a:gd name="connsiteX4" fmla="*/ 4419 w 155693"/>
                    <a:gd name="connsiteY4" fmla="*/ 52926 h 63313"/>
                    <a:gd name="connsiteX5" fmla="*/ 50312 w 155693"/>
                    <a:gd name="connsiteY5" fmla="*/ 62105 h 63313"/>
                    <a:gd name="connsiteX6" fmla="*/ 111502 w 155693"/>
                    <a:gd name="connsiteY6" fmla="*/ 52926 h 63313"/>
                    <a:gd name="connsiteX7" fmla="*/ 151275 w 155693"/>
                    <a:gd name="connsiteY7" fmla="*/ 34569 h 63313"/>
                    <a:gd name="connsiteX8" fmla="*/ 142096 w 155693"/>
                    <a:gd name="connsiteY8" fmla="*/ 3974 h 633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5693" h="63313">
                      <a:moveTo>
                        <a:pt x="142096" y="3974"/>
                      </a:moveTo>
                      <a:cubicBezTo>
                        <a:pt x="114560" y="-5204"/>
                        <a:pt x="77846" y="3974"/>
                        <a:pt x="44192" y="7034"/>
                      </a:cubicBezTo>
                      <a:cubicBezTo>
                        <a:pt x="41134" y="7034"/>
                        <a:pt x="31954" y="7034"/>
                        <a:pt x="28895" y="7034"/>
                      </a:cubicBezTo>
                      <a:cubicBezTo>
                        <a:pt x="22776" y="7034"/>
                        <a:pt x="19717" y="10093"/>
                        <a:pt x="13597" y="13153"/>
                      </a:cubicBezTo>
                      <a:cubicBezTo>
                        <a:pt x="1359" y="22331"/>
                        <a:pt x="-4759" y="37629"/>
                        <a:pt x="4419" y="52926"/>
                      </a:cubicBezTo>
                      <a:cubicBezTo>
                        <a:pt x="13597" y="68224"/>
                        <a:pt x="38073" y="62105"/>
                        <a:pt x="50312" y="62105"/>
                      </a:cubicBezTo>
                      <a:cubicBezTo>
                        <a:pt x="71729" y="62105"/>
                        <a:pt x="93143" y="59045"/>
                        <a:pt x="111502" y="52926"/>
                      </a:cubicBezTo>
                      <a:cubicBezTo>
                        <a:pt x="123738" y="49867"/>
                        <a:pt x="145155" y="49867"/>
                        <a:pt x="151275" y="34569"/>
                      </a:cubicBezTo>
                      <a:cubicBezTo>
                        <a:pt x="160453" y="22331"/>
                        <a:pt x="154333" y="7034"/>
                        <a:pt x="142096" y="3974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2" name="任意多边形: 形状 91">
                  <a:extLst>
                    <a:ext uri="{FF2B5EF4-FFF2-40B4-BE49-F238E27FC236}">
                      <a16:creationId xmlns:a16="http://schemas.microsoft.com/office/drawing/2014/main" id="{FF2299E9-B761-4111-A1AB-4D428A59B6F0}"/>
                    </a:ext>
                  </a:extLst>
                </p:cNvPr>
                <p:cNvSpPr/>
                <p:nvPr/>
              </p:nvSpPr>
              <p:spPr>
                <a:xfrm>
                  <a:off x="20883052" y="4559942"/>
                  <a:ext cx="159287" cy="71141"/>
                </a:xfrm>
                <a:custGeom>
                  <a:avLst/>
                  <a:gdLst>
                    <a:gd name="connsiteX0" fmla="*/ 145155 w 159287"/>
                    <a:gd name="connsiteY0" fmla="*/ 8743 h 71141"/>
                    <a:gd name="connsiteX1" fmla="*/ 38073 w 159287"/>
                    <a:gd name="connsiteY1" fmla="*/ 11803 h 71141"/>
                    <a:gd name="connsiteX2" fmla="*/ 28895 w 159287"/>
                    <a:gd name="connsiteY2" fmla="*/ 14862 h 71141"/>
                    <a:gd name="connsiteX3" fmla="*/ 13597 w 159287"/>
                    <a:gd name="connsiteY3" fmla="*/ 20981 h 71141"/>
                    <a:gd name="connsiteX4" fmla="*/ 4419 w 159287"/>
                    <a:gd name="connsiteY4" fmla="*/ 60755 h 71141"/>
                    <a:gd name="connsiteX5" fmla="*/ 50312 w 159287"/>
                    <a:gd name="connsiteY5" fmla="*/ 69933 h 71141"/>
                    <a:gd name="connsiteX6" fmla="*/ 111502 w 159287"/>
                    <a:gd name="connsiteY6" fmla="*/ 60755 h 71141"/>
                    <a:gd name="connsiteX7" fmla="*/ 151275 w 159287"/>
                    <a:gd name="connsiteY7" fmla="*/ 42398 h 71141"/>
                    <a:gd name="connsiteX8" fmla="*/ 145155 w 159287"/>
                    <a:gd name="connsiteY8" fmla="*/ 8743 h 711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9287" h="71141">
                      <a:moveTo>
                        <a:pt x="145155" y="8743"/>
                      </a:moveTo>
                      <a:cubicBezTo>
                        <a:pt x="111502" y="-9614"/>
                        <a:pt x="74787" y="5684"/>
                        <a:pt x="38073" y="11803"/>
                      </a:cubicBezTo>
                      <a:cubicBezTo>
                        <a:pt x="35014" y="11803"/>
                        <a:pt x="31954" y="11803"/>
                        <a:pt x="28895" y="14862"/>
                      </a:cubicBezTo>
                      <a:cubicBezTo>
                        <a:pt x="22776" y="14862"/>
                        <a:pt x="19717" y="17922"/>
                        <a:pt x="13597" y="20981"/>
                      </a:cubicBezTo>
                      <a:cubicBezTo>
                        <a:pt x="1359" y="30160"/>
                        <a:pt x="-4759" y="45457"/>
                        <a:pt x="4419" y="60755"/>
                      </a:cubicBezTo>
                      <a:cubicBezTo>
                        <a:pt x="13597" y="76052"/>
                        <a:pt x="35014" y="69933"/>
                        <a:pt x="50312" y="69933"/>
                      </a:cubicBezTo>
                      <a:cubicBezTo>
                        <a:pt x="71729" y="69933"/>
                        <a:pt x="93143" y="66874"/>
                        <a:pt x="111502" y="60755"/>
                      </a:cubicBezTo>
                      <a:cubicBezTo>
                        <a:pt x="123738" y="57695"/>
                        <a:pt x="145155" y="57695"/>
                        <a:pt x="151275" y="42398"/>
                      </a:cubicBezTo>
                      <a:cubicBezTo>
                        <a:pt x="166572" y="27100"/>
                        <a:pt x="157394" y="14862"/>
                        <a:pt x="145155" y="8743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3" name="任意多边形: 形状 92">
                  <a:extLst>
                    <a:ext uri="{FF2B5EF4-FFF2-40B4-BE49-F238E27FC236}">
                      <a16:creationId xmlns:a16="http://schemas.microsoft.com/office/drawing/2014/main" id="{5BC5CDD9-EF52-407A-88B9-AD06BDD01970}"/>
                    </a:ext>
                  </a:extLst>
                </p:cNvPr>
                <p:cNvSpPr/>
                <p:nvPr/>
              </p:nvSpPr>
              <p:spPr>
                <a:xfrm>
                  <a:off x="20904347" y="4602636"/>
                  <a:ext cx="139157" cy="61233"/>
                </a:xfrm>
                <a:custGeom>
                  <a:avLst/>
                  <a:gdLst>
                    <a:gd name="connsiteX0" fmla="*/ 123860 w 139157"/>
                    <a:gd name="connsiteY0" fmla="*/ 8882 h 61233"/>
                    <a:gd name="connsiteX1" fmla="*/ 29017 w 139157"/>
                    <a:gd name="connsiteY1" fmla="*/ 8882 h 61233"/>
                    <a:gd name="connsiteX2" fmla="*/ 22898 w 139157"/>
                    <a:gd name="connsiteY2" fmla="*/ 11941 h 61233"/>
                    <a:gd name="connsiteX3" fmla="*/ 10659 w 139157"/>
                    <a:gd name="connsiteY3" fmla="*/ 18061 h 61233"/>
                    <a:gd name="connsiteX4" fmla="*/ 4541 w 139157"/>
                    <a:gd name="connsiteY4" fmla="*/ 51715 h 61233"/>
                    <a:gd name="connsiteX5" fmla="*/ 47373 w 139157"/>
                    <a:gd name="connsiteY5" fmla="*/ 60893 h 61233"/>
                    <a:gd name="connsiteX6" fmla="*/ 102444 w 139157"/>
                    <a:gd name="connsiteY6" fmla="*/ 54774 h 61233"/>
                    <a:gd name="connsiteX7" fmla="*/ 139158 w 139157"/>
                    <a:gd name="connsiteY7" fmla="*/ 39477 h 61233"/>
                    <a:gd name="connsiteX8" fmla="*/ 123860 w 139157"/>
                    <a:gd name="connsiteY8" fmla="*/ 8882 h 612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9157" h="61233">
                      <a:moveTo>
                        <a:pt x="123860" y="8882"/>
                      </a:moveTo>
                      <a:cubicBezTo>
                        <a:pt x="93265" y="-9475"/>
                        <a:pt x="59612" y="5823"/>
                        <a:pt x="29017" y="8882"/>
                      </a:cubicBezTo>
                      <a:cubicBezTo>
                        <a:pt x="25956" y="8882"/>
                        <a:pt x="22898" y="8882"/>
                        <a:pt x="22898" y="11941"/>
                      </a:cubicBezTo>
                      <a:cubicBezTo>
                        <a:pt x="19839" y="11941"/>
                        <a:pt x="13719" y="15001"/>
                        <a:pt x="10659" y="18061"/>
                      </a:cubicBezTo>
                      <a:cubicBezTo>
                        <a:pt x="1481" y="24179"/>
                        <a:pt x="-4639" y="39477"/>
                        <a:pt x="4541" y="51715"/>
                      </a:cubicBezTo>
                      <a:cubicBezTo>
                        <a:pt x="13719" y="63953"/>
                        <a:pt x="32076" y="60893"/>
                        <a:pt x="47373" y="60893"/>
                      </a:cubicBezTo>
                      <a:cubicBezTo>
                        <a:pt x="65731" y="60893"/>
                        <a:pt x="84087" y="57834"/>
                        <a:pt x="102444" y="54774"/>
                      </a:cubicBezTo>
                      <a:cubicBezTo>
                        <a:pt x="114682" y="51715"/>
                        <a:pt x="129980" y="51715"/>
                        <a:pt x="139158" y="39477"/>
                      </a:cubicBezTo>
                      <a:cubicBezTo>
                        <a:pt x="139158" y="24179"/>
                        <a:pt x="133038" y="15001"/>
                        <a:pt x="123860" y="8882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4" name="任意多边形: 形状 93">
                  <a:extLst>
                    <a:ext uri="{FF2B5EF4-FFF2-40B4-BE49-F238E27FC236}">
                      <a16:creationId xmlns:a16="http://schemas.microsoft.com/office/drawing/2014/main" id="{AE57B918-EA33-434E-A256-8F44CC5C62EE}"/>
                    </a:ext>
                  </a:extLst>
                </p:cNvPr>
                <p:cNvSpPr/>
                <p:nvPr/>
              </p:nvSpPr>
              <p:spPr>
                <a:xfrm>
                  <a:off x="20924061" y="4645107"/>
                  <a:ext cx="104270" cy="43388"/>
                </a:xfrm>
                <a:custGeom>
                  <a:avLst/>
                  <a:gdLst>
                    <a:gd name="connsiteX0" fmla="*/ 94968 w 104270"/>
                    <a:gd name="connsiteY0" fmla="*/ 6185 h 43388"/>
                    <a:gd name="connsiteX1" fmla="*/ 24600 w 104270"/>
                    <a:gd name="connsiteY1" fmla="*/ 6185 h 43388"/>
                    <a:gd name="connsiteX2" fmla="*/ 18481 w 104270"/>
                    <a:gd name="connsiteY2" fmla="*/ 9244 h 43388"/>
                    <a:gd name="connsiteX3" fmla="*/ 9303 w 104270"/>
                    <a:gd name="connsiteY3" fmla="*/ 12304 h 43388"/>
                    <a:gd name="connsiteX4" fmla="*/ 3183 w 104270"/>
                    <a:gd name="connsiteY4" fmla="*/ 36780 h 43388"/>
                    <a:gd name="connsiteX5" fmla="*/ 33778 w 104270"/>
                    <a:gd name="connsiteY5" fmla="*/ 42899 h 43388"/>
                    <a:gd name="connsiteX6" fmla="*/ 73551 w 104270"/>
                    <a:gd name="connsiteY6" fmla="*/ 39839 h 43388"/>
                    <a:gd name="connsiteX7" fmla="*/ 101087 w 104270"/>
                    <a:gd name="connsiteY7" fmla="*/ 30661 h 43388"/>
                    <a:gd name="connsiteX8" fmla="*/ 94968 w 104270"/>
                    <a:gd name="connsiteY8" fmla="*/ 6185 h 433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4270" h="43388">
                      <a:moveTo>
                        <a:pt x="94968" y="6185"/>
                      </a:moveTo>
                      <a:cubicBezTo>
                        <a:pt x="73551" y="-6053"/>
                        <a:pt x="49076" y="3125"/>
                        <a:pt x="24600" y="6185"/>
                      </a:cubicBezTo>
                      <a:cubicBezTo>
                        <a:pt x="21540" y="6185"/>
                        <a:pt x="21540" y="6185"/>
                        <a:pt x="18481" y="9244"/>
                      </a:cubicBezTo>
                      <a:cubicBezTo>
                        <a:pt x="15422" y="9244"/>
                        <a:pt x="12362" y="12304"/>
                        <a:pt x="9303" y="12304"/>
                      </a:cubicBezTo>
                      <a:cubicBezTo>
                        <a:pt x="125" y="18423"/>
                        <a:pt x="-2936" y="27601"/>
                        <a:pt x="3183" y="36780"/>
                      </a:cubicBezTo>
                      <a:cubicBezTo>
                        <a:pt x="9303" y="45958"/>
                        <a:pt x="24600" y="42899"/>
                        <a:pt x="33778" y="42899"/>
                      </a:cubicBezTo>
                      <a:cubicBezTo>
                        <a:pt x="46017" y="42899"/>
                        <a:pt x="61314" y="39839"/>
                        <a:pt x="73551" y="39839"/>
                      </a:cubicBezTo>
                      <a:cubicBezTo>
                        <a:pt x="82729" y="39839"/>
                        <a:pt x="94968" y="36780"/>
                        <a:pt x="101087" y="30661"/>
                      </a:cubicBezTo>
                      <a:cubicBezTo>
                        <a:pt x="107207" y="18423"/>
                        <a:pt x="104146" y="9244"/>
                        <a:pt x="94968" y="6185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5" name="任意多边形: 形状 94">
                  <a:extLst>
                    <a:ext uri="{FF2B5EF4-FFF2-40B4-BE49-F238E27FC236}">
                      <a16:creationId xmlns:a16="http://schemas.microsoft.com/office/drawing/2014/main" id="{8E4F6C07-D9CA-4639-B49D-8C8D00CF1500}"/>
                    </a:ext>
                  </a:extLst>
                </p:cNvPr>
                <p:cNvSpPr/>
                <p:nvPr/>
              </p:nvSpPr>
              <p:spPr>
                <a:xfrm>
                  <a:off x="20879934" y="4516674"/>
                  <a:ext cx="169689" cy="113201"/>
                </a:xfrm>
                <a:custGeom>
                  <a:avLst/>
                  <a:gdLst>
                    <a:gd name="connsiteX0" fmla="*/ 41191 w 169689"/>
                    <a:gd name="connsiteY0" fmla="*/ 113201 h 113201"/>
                    <a:gd name="connsiteX1" fmla="*/ 1418 w 169689"/>
                    <a:gd name="connsiteY1" fmla="*/ 94844 h 113201"/>
                    <a:gd name="connsiteX2" fmla="*/ 16715 w 169689"/>
                    <a:gd name="connsiteY2" fmla="*/ 55071 h 113201"/>
                    <a:gd name="connsiteX3" fmla="*/ 10596 w 169689"/>
                    <a:gd name="connsiteY3" fmla="*/ 45892 h 113201"/>
                    <a:gd name="connsiteX4" fmla="*/ 13657 w 169689"/>
                    <a:gd name="connsiteY4" fmla="*/ 27535 h 113201"/>
                    <a:gd name="connsiteX5" fmla="*/ 120739 w 169689"/>
                    <a:gd name="connsiteY5" fmla="*/ 0 h 113201"/>
                    <a:gd name="connsiteX6" fmla="*/ 120739 w 169689"/>
                    <a:gd name="connsiteY6" fmla="*/ 0 h 113201"/>
                    <a:gd name="connsiteX7" fmla="*/ 126856 w 169689"/>
                    <a:gd name="connsiteY7" fmla="*/ 6119 h 113201"/>
                    <a:gd name="connsiteX8" fmla="*/ 120739 w 169689"/>
                    <a:gd name="connsiteY8" fmla="*/ 12238 h 113201"/>
                    <a:gd name="connsiteX9" fmla="*/ 22835 w 169689"/>
                    <a:gd name="connsiteY9" fmla="*/ 33654 h 113201"/>
                    <a:gd name="connsiteX10" fmla="*/ 22835 w 169689"/>
                    <a:gd name="connsiteY10" fmla="*/ 39773 h 113201"/>
                    <a:gd name="connsiteX11" fmla="*/ 148273 w 169689"/>
                    <a:gd name="connsiteY11" fmla="*/ 45892 h 113201"/>
                    <a:gd name="connsiteX12" fmla="*/ 163571 w 169689"/>
                    <a:gd name="connsiteY12" fmla="*/ 48952 h 113201"/>
                    <a:gd name="connsiteX13" fmla="*/ 169690 w 169689"/>
                    <a:gd name="connsiteY13" fmla="*/ 67309 h 113201"/>
                    <a:gd name="connsiteX14" fmla="*/ 71786 w 169689"/>
                    <a:gd name="connsiteY14" fmla="*/ 110142 h 113201"/>
                    <a:gd name="connsiteX15" fmla="*/ 41191 w 169689"/>
                    <a:gd name="connsiteY15" fmla="*/ 113201 h 113201"/>
                    <a:gd name="connsiteX16" fmla="*/ 25893 w 169689"/>
                    <a:gd name="connsiteY16" fmla="*/ 64249 h 113201"/>
                    <a:gd name="connsiteX17" fmla="*/ 13657 w 169689"/>
                    <a:gd name="connsiteY17" fmla="*/ 91785 h 113201"/>
                    <a:gd name="connsiteX18" fmla="*/ 71786 w 169689"/>
                    <a:gd name="connsiteY18" fmla="*/ 100963 h 113201"/>
                    <a:gd name="connsiteX19" fmla="*/ 157451 w 169689"/>
                    <a:gd name="connsiteY19" fmla="*/ 70368 h 113201"/>
                    <a:gd name="connsiteX20" fmla="*/ 154392 w 169689"/>
                    <a:gd name="connsiteY20" fmla="*/ 61190 h 113201"/>
                    <a:gd name="connsiteX21" fmla="*/ 148273 w 169689"/>
                    <a:gd name="connsiteY21" fmla="*/ 61190 h 113201"/>
                    <a:gd name="connsiteX22" fmla="*/ 25893 w 169689"/>
                    <a:gd name="connsiteY22" fmla="*/ 64249 h 113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69689" h="113201">
                      <a:moveTo>
                        <a:pt x="41191" y="113201"/>
                      </a:moveTo>
                      <a:cubicBezTo>
                        <a:pt x="19774" y="113201"/>
                        <a:pt x="4477" y="110142"/>
                        <a:pt x="1418" y="94844"/>
                      </a:cubicBezTo>
                      <a:cubicBezTo>
                        <a:pt x="-4701" y="76487"/>
                        <a:pt x="10596" y="61190"/>
                        <a:pt x="16715" y="55071"/>
                      </a:cubicBezTo>
                      <a:cubicBezTo>
                        <a:pt x="13657" y="52011"/>
                        <a:pt x="13657" y="48952"/>
                        <a:pt x="10596" y="45892"/>
                      </a:cubicBezTo>
                      <a:cubicBezTo>
                        <a:pt x="7537" y="39773"/>
                        <a:pt x="10596" y="33654"/>
                        <a:pt x="13657" y="27535"/>
                      </a:cubicBezTo>
                      <a:cubicBezTo>
                        <a:pt x="32013" y="3059"/>
                        <a:pt x="111559" y="0"/>
                        <a:pt x="120739" y="0"/>
                      </a:cubicBezTo>
                      <a:cubicBezTo>
                        <a:pt x="120739" y="0"/>
                        <a:pt x="120739" y="0"/>
                        <a:pt x="120739" y="0"/>
                      </a:cubicBezTo>
                      <a:cubicBezTo>
                        <a:pt x="123798" y="0"/>
                        <a:pt x="126856" y="3059"/>
                        <a:pt x="126856" y="6119"/>
                      </a:cubicBezTo>
                      <a:cubicBezTo>
                        <a:pt x="126856" y="9179"/>
                        <a:pt x="123798" y="12238"/>
                        <a:pt x="120739" y="12238"/>
                      </a:cubicBezTo>
                      <a:cubicBezTo>
                        <a:pt x="90144" y="12238"/>
                        <a:pt x="35072" y="18357"/>
                        <a:pt x="22835" y="33654"/>
                      </a:cubicBezTo>
                      <a:cubicBezTo>
                        <a:pt x="22835" y="36714"/>
                        <a:pt x="19774" y="36714"/>
                        <a:pt x="22835" y="39773"/>
                      </a:cubicBezTo>
                      <a:cubicBezTo>
                        <a:pt x="25893" y="48952"/>
                        <a:pt x="32013" y="70368"/>
                        <a:pt x="148273" y="45892"/>
                      </a:cubicBezTo>
                      <a:cubicBezTo>
                        <a:pt x="148273" y="45892"/>
                        <a:pt x="157451" y="45892"/>
                        <a:pt x="163571" y="48952"/>
                      </a:cubicBezTo>
                      <a:cubicBezTo>
                        <a:pt x="169690" y="52011"/>
                        <a:pt x="169690" y="58130"/>
                        <a:pt x="169690" y="67309"/>
                      </a:cubicBezTo>
                      <a:cubicBezTo>
                        <a:pt x="169690" y="91785"/>
                        <a:pt x="136036" y="104023"/>
                        <a:pt x="71786" y="110142"/>
                      </a:cubicBezTo>
                      <a:cubicBezTo>
                        <a:pt x="62608" y="113201"/>
                        <a:pt x="50369" y="113201"/>
                        <a:pt x="41191" y="113201"/>
                      </a:cubicBezTo>
                      <a:close/>
                      <a:moveTo>
                        <a:pt x="25893" y="64249"/>
                      </a:moveTo>
                      <a:cubicBezTo>
                        <a:pt x="19774" y="70368"/>
                        <a:pt x="10596" y="82606"/>
                        <a:pt x="13657" y="91785"/>
                      </a:cubicBezTo>
                      <a:cubicBezTo>
                        <a:pt x="16715" y="104023"/>
                        <a:pt x="35072" y="104023"/>
                        <a:pt x="71786" y="100963"/>
                      </a:cubicBezTo>
                      <a:cubicBezTo>
                        <a:pt x="126856" y="97904"/>
                        <a:pt x="157451" y="85666"/>
                        <a:pt x="157451" y="70368"/>
                      </a:cubicBezTo>
                      <a:cubicBezTo>
                        <a:pt x="157451" y="67309"/>
                        <a:pt x="157451" y="64249"/>
                        <a:pt x="154392" y="61190"/>
                      </a:cubicBezTo>
                      <a:cubicBezTo>
                        <a:pt x="151334" y="58130"/>
                        <a:pt x="148273" y="61190"/>
                        <a:pt x="148273" y="61190"/>
                      </a:cubicBezTo>
                      <a:cubicBezTo>
                        <a:pt x="74846" y="76487"/>
                        <a:pt x="41191" y="73428"/>
                        <a:pt x="25893" y="64249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6" name="任意多边形: 形状 95">
                  <a:extLst>
                    <a:ext uri="{FF2B5EF4-FFF2-40B4-BE49-F238E27FC236}">
                      <a16:creationId xmlns:a16="http://schemas.microsoft.com/office/drawing/2014/main" id="{AB1FA536-2B8B-4919-AAC1-EB3AAC892E14}"/>
                    </a:ext>
                  </a:extLst>
                </p:cNvPr>
                <p:cNvSpPr/>
                <p:nvPr/>
              </p:nvSpPr>
              <p:spPr>
                <a:xfrm>
                  <a:off x="20894651" y="4605399"/>
                  <a:ext cx="151914" cy="61189"/>
                </a:xfrm>
                <a:custGeom>
                  <a:avLst/>
                  <a:gdLst>
                    <a:gd name="connsiteX0" fmla="*/ 47891 w 151914"/>
                    <a:gd name="connsiteY0" fmla="*/ 61190 h 61189"/>
                    <a:gd name="connsiteX1" fmla="*/ 35652 w 151914"/>
                    <a:gd name="connsiteY1" fmla="*/ 61190 h 61189"/>
                    <a:gd name="connsiteX2" fmla="*/ 5057 w 151914"/>
                    <a:gd name="connsiteY2" fmla="*/ 45892 h 61189"/>
                    <a:gd name="connsiteX3" fmla="*/ 1998 w 151914"/>
                    <a:gd name="connsiteY3" fmla="*/ 15297 h 61189"/>
                    <a:gd name="connsiteX4" fmla="*/ 11176 w 151914"/>
                    <a:gd name="connsiteY4" fmla="*/ 12238 h 61189"/>
                    <a:gd name="connsiteX5" fmla="*/ 14237 w 151914"/>
                    <a:gd name="connsiteY5" fmla="*/ 21416 h 61189"/>
                    <a:gd name="connsiteX6" fmla="*/ 14237 w 151914"/>
                    <a:gd name="connsiteY6" fmla="*/ 39773 h 61189"/>
                    <a:gd name="connsiteX7" fmla="*/ 35652 w 151914"/>
                    <a:gd name="connsiteY7" fmla="*/ 48952 h 61189"/>
                    <a:gd name="connsiteX8" fmla="*/ 136617 w 151914"/>
                    <a:gd name="connsiteY8" fmla="*/ 33654 h 61189"/>
                    <a:gd name="connsiteX9" fmla="*/ 139675 w 151914"/>
                    <a:gd name="connsiteY9" fmla="*/ 27535 h 61189"/>
                    <a:gd name="connsiteX10" fmla="*/ 130497 w 151914"/>
                    <a:gd name="connsiteY10" fmla="*/ 12238 h 61189"/>
                    <a:gd name="connsiteX11" fmla="*/ 127437 w 151914"/>
                    <a:gd name="connsiteY11" fmla="*/ 3059 h 61189"/>
                    <a:gd name="connsiteX12" fmla="*/ 136617 w 151914"/>
                    <a:gd name="connsiteY12" fmla="*/ 0 h 61189"/>
                    <a:gd name="connsiteX13" fmla="*/ 151914 w 151914"/>
                    <a:gd name="connsiteY13" fmla="*/ 27535 h 61189"/>
                    <a:gd name="connsiteX14" fmla="*/ 142734 w 151914"/>
                    <a:gd name="connsiteY14" fmla="*/ 42833 h 61189"/>
                    <a:gd name="connsiteX15" fmla="*/ 47891 w 151914"/>
                    <a:gd name="connsiteY15" fmla="*/ 61190 h 611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51914" h="61189">
                      <a:moveTo>
                        <a:pt x="47891" y="61190"/>
                      </a:moveTo>
                      <a:cubicBezTo>
                        <a:pt x="44832" y="61190"/>
                        <a:pt x="38713" y="61190"/>
                        <a:pt x="35652" y="61190"/>
                      </a:cubicBezTo>
                      <a:cubicBezTo>
                        <a:pt x="20355" y="61190"/>
                        <a:pt x="8118" y="55071"/>
                        <a:pt x="5057" y="45892"/>
                      </a:cubicBezTo>
                      <a:cubicBezTo>
                        <a:pt x="-4121" y="33654"/>
                        <a:pt x="1998" y="18357"/>
                        <a:pt x="1998" y="15297"/>
                      </a:cubicBezTo>
                      <a:cubicBezTo>
                        <a:pt x="1998" y="12238"/>
                        <a:pt x="8118" y="9178"/>
                        <a:pt x="11176" y="12238"/>
                      </a:cubicBezTo>
                      <a:cubicBezTo>
                        <a:pt x="14237" y="12238"/>
                        <a:pt x="14237" y="18357"/>
                        <a:pt x="14237" y="21416"/>
                      </a:cubicBezTo>
                      <a:cubicBezTo>
                        <a:pt x="14237" y="21416"/>
                        <a:pt x="11176" y="33654"/>
                        <a:pt x="14237" y="39773"/>
                      </a:cubicBezTo>
                      <a:cubicBezTo>
                        <a:pt x="17296" y="45892"/>
                        <a:pt x="26474" y="48952"/>
                        <a:pt x="35652" y="48952"/>
                      </a:cubicBezTo>
                      <a:cubicBezTo>
                        <a:pt x="78486" y="52011"/>
                        <a:pt x="124378" y="39773"/>
                        <a:pt x="136617" y="33654"/>
                      </a:cubicBezTo>
                      <a:cubicBezTo>
                        <a:pt x="136617" y="33654"/>
                        <a:pt x="139675" y="30595"/>
                        <a:pt x="139675" y="27535"/>
                      </a:cubicBezTo>
                      <a:cubicBezTo>
                        <a:pt x="139675" y="21416"/>
                        <a:pt x="133556" y="12238"/>
                        <a:pt x="130497" y="12238"/>
                      </a:cubicBezTo>
                      <a:cubicBezTo>
                        <a:pt x="127437" y="12238"/>
                        <a:pt x="127437" y="6119"/>
                        <a:pt x="127437" y="3059"/>
                      </a:cubicBezTo>
                      <a:cubicBezTo>
                        <a:pt x="127437" y="0"/>
                        <a:pt x="133556" y="0"/>
                        <a:pt x="136617" y="0"/>
                      </a:cubicBezTo>
                      <a:cubicBezTo>
                        <a:pt x="145795" y="3059"/>
                        <a:pt x="151914" y="15297"/>
                        <a:pt x="151914" y="27535"/>
                      </a:cubicBezTo>
                      <a:cubicBezTo>
                        <a:pt x="151914" y="33654"/>
                        <a:pt x="148853" y="39773"/>
                        <a:pt x="142734" y="42833"/>
                      </a:cubicBezTo>
                      <a:cubicBezTo>
                        <a:pt x="130497" y="48952"/>
                        <a:pt x="90724" y="61190"/>
                        <a:pt x="47891" y="61190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D03851E0-0C4A-42DE-8DF8-AFB74656AA59}"/>
                  </a:ext>
                </a:extLst>
              </p:cNvPr>
              <p:cNvSpPr/>
              <p:nvPr/>
            </p:nvSpPr>
            <p:spPr>
              <a:xfrm>
                <a:off x="19550474" y="3047226"/>
                <a:ext cx="424082" cy="570278"/>
              </a:xfrm>
              <a:custGeom>
                <a:avLst/>
                <a:gdLst>
                  <a:gd name="connsiteX0" fmla="*/ 416090 w 424082"/>
                  <a:gd name="connsiteY0" fmla="*/ 184462 h 570278"/>
                  <a:gd name="connsiteX1" fmla="*/ 403853 w 424082"/>
                  <a:gd name="connsiteY1" fmla="*/ 441459 h 570278"/>
                  <a:gd name="connsiteX2" fmla="*/ 253937 w 424082"/>
                  <a:gd name="connsiteY2" fmla="*/ 569958 h 570278"/>
                  <a:gd name="connsiteX3" fmla="*/ 36714 w 424082"/>
                  <a:gd name="connsiteY3" fmla="*/ 426162 h 570278"/>
                  <a:gd name="connsiteX4" fmla="*/ 0 w 424082"/>
                  <a:gd name="connsiteY4" fmla="*/ 199760 h 570278"/>
                  <a:gd name="connsiteX5" fmla="*/ 214164 w 424082"/>
                  <a:gd name="connsiteY5" fmla="*/ 893 h 570278"/>
                  <a:gd name="connsiteX6" fmla="*/ 416090 w 424082"/>
                  <a:gd name="connsiteY6" fmla="*/ 184462 h 570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4082" h="570278">
                    <a:moveTo>
                      <a:pt x="416090" y="184462"/>
                    </a:moveTo>
                    <a:cubicBezTo>
                      <a:pt x="416090" y="184462"/>
                      <a:pt x="440567" y="374151"/>
                      <a:pt x="403853" y="441459"/>
                    </a:cubicBezTo>
                    <a:cubicBezTo>
                      <a:pt x="367139" y="508768"/>
                      <a:pt x="305949" y="566899"/>
                      <a:pt x="253937" y="569958"/>
                    </a:cubicBezTo>
                    <a:cubicBezTo>
                      <a:pt x="186628" y="576077"/>
                      <a:pt x="73429" y="493471"/>
                      <a:pt x="36714" y="426162"/>
                    </a:cubicBezTo>
                    <a:cubicBezTo>
                      <a:pt x="0" y="358853"/>
                      <a:pt x="0" y="251771"/>
                      <a:pt x="0" y="199760"/>
                    </a:cubicBezTo>
                    <a:cubicBezTo>
                      <a:pt x="3059" y="104916"/>
                      <a:pt x="30595" y="25369"/>
                      <a:pt x="214164" y="893"/>
                    </a:cubicBezTo>
                    <a:cubicBezTo>
                      <a:pt x="302890" y="-11345"/>
                      <a:pt x="397734" y="104916"/>
                      <a:pt x="416090" y="18446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F55376CD-626C-475E-A79A-DF6B41CA3C72}"/>
                  </a:ext>
                </a:extLst>
              </p:cNvPr>
              <p:cNvSpPr/>
              <p:nvPr/>
            </p:nvSpPr>
            <p:spPr>
              <a:xfrm>
                <a:off x="19776877" y="3317354"/>
                <a:ext cx="55070" cy="131558"/>
              </a:xfrm>
              <a:custGeom>
                <a:avLst/>
                <a:gdLst>
                  <a:gd name="connsiteX0" fmla="*/ 30595 w 55070"/>
                  <a:gd name="connsiteY0" fmla="*/ 131558 h 131558"/>
                  <a:gd name="connsiteX1" fmla="*/ 6117 w 55070"/>
                  <a:gd name="connsiteY1" fmla="*/ 128499 h 131558"/>
                  <a:gd name="connsiteX2" fmla="*/ 0 w 55070"/>
                  <a:gd name="connsiteY2" fmla="*/ 122380 h 131558"/>
                  <a:gd name="connsiteX3" fmla="*/ 6117 w 55070"/>
                  <a:gd name="connsiteY3" fmla="*/ 116261 h 131558"/>
                  <a:gd name="connsiteX4" fmla="*/ 45892 w 55070"/>
                  <a:gd name="connsiteY4" fmla="*/ 116261 h 131558"/>
                  <a:gd name="connsiteX5" fmla="*/ 45892 w 55070"/>
                  <a:gd name="connsiteY5" fmla="*/ 113201 h 131558"/>
                  <a:gd name="connsiteX6" fmla="*/ 18356 w 55070"/>
                  <a:gd name="connsiteY6" fmla="*/ 6119 h 131558"/>
                  <a:gd name="connsiteX7" fmla="*/ 21415 w 55070"/>
                  <a:gd name="connsiteY7" fmla="*/ 0 h 131558"/>
                  <a:gd name="connsiteX8" fmla="*/ 27534 w 55070"/>
                  <a:gd name="connsiteY8" fmla="*/ 3060 h 131558"/>
                  <a:gd name="connsiteX9" fmla="*/ 55070 w 55070"/>
                  <a:gd name="connsiteY9" fmla="*/ 113201 h 131558"/>
                  <a:gd name="connsiteX10" fmla="*/ 48951 w 55070"/>
                  <a:gd name="connsiteY10" fmla="*/ 125439 h 131558"/>
                  <a:gd name="connsiteX11" fmla="*/ 30595 w 55070"/>
                  <a:gd name="connsiteY11" fmla="*/ 131558 h 131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5070" h="131558">
                    <a:moveTo>
                      <a:pt x="30595" y="131558"/>
                    </a:moveTo>
                    <a:cubicBezTo>
                      <a:pt x="18356" y="131558"/>
                      <a:pt x="9178" y="128499"/>
                      <a:pt x="6117" y="128499"/>
                    </a:cubicBezTo>
                    <a:cubicBezTo>
                      <a:pt x="3059" y="128499"/>
                      <a:pt x="0" y="125439"/>
                      <a:pt x="0" y="122380"/>
                    </a:cubicBezTo>
                    <a:cubicBezTo>
                      <a:pt x="0" y="119320"/>
                      <a:pt x="3059" y="116261"/>
                      <a:pt x="6117" y="116261"/>
                    </a:cubicBezTo>
                    <a:cubicBezTo>
                      <a:pt x="18356" y="119320"/>
                      <a:pt x="39773" y="119320"/>
                      <a:pt x="45892" y="116261"/>
                    </a:cubicBezTo>
                    <a:cubicBezTo>
                      <a:pt x="45892" y="116261"/>
                      <a:pt x="45892" y="113201"/>
                      <a:pt x="45892" y="113201"/>
                    </a:cubicBezTo>
                    <a:cubicBezTo>
                      <a:pt x="45892" y="97904"/>
                      <a:pt x="24476" y="30595"/>
                      <a:pt x="18356" y="6119"/>
                    </a:cubicBezTo>
                    <a:cubicBezTo>
                      <a:pt x="18356" y="3060"/>
                      <a:pt x="18356" y="0"/>
                      <a:pt x="21415" y="0"/>
                    </a:cubicBezTo>
                    <a:cubicBezTo>
                      <a:pt x="24476" y="0"/>
                      <a:pt x="27534" y="0"/>
                      <a:pt x="27534" y="3060"/>
                    </a:cubicBezTo>
                    <a:cubicBezTo>
                      <a:pt x="27534" y="6119"/>
                      <a:pt x="55070" y="91785"/>
                      <a:pt x="55070" y="113201"/>
                    </a:cubicBezTo>
                    <a:cubicBezTo>
                      <a:pt x="55070" y="119320"/>
                      <a:pt x="52010" y="122380"/>
                      <a:pt x="48951" y="125439"/>
                    </a:cubicBezTo>
                    <a:cubicBezTo>
                      <a:pt x="52010" y="131558"/>
                      <a:pt x="39773" y="131558"/>
                      <a:pt x="30595" y="13155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0C032148-A82E-43F6-B893-B1B55852A231}"/>
                  </a:ext>
                </a:extLst>
              </p:cNvPr>
              <p:cNvSpPr/>
              <p:nvPr/>
            </p:nvSpPr>
            <p:spPr>
              <a:xfrm>
                <a:off x="19749341" y="3497864"/>
                <a:ext cx="107082" cy="55070"/>
              </a:xfrm>
              <a:custGeom>
                <a:avLst/>
                <a:gdLst>
                  <a:gd name="connsiteX0" fmla="*/ 0 w 107082"/>
                  <a:gd name="connsiteY0" fmla="*/ 0 h 55070"/>
                  <a:gd name="connsiteX1" fmla="*/ 107082 w 107082"/>
                  <a:gd name="connsiteY1" fmla="*/ 0 h 55070"/>
                  <a:gd name="connsiteX2" fmla="*/ 55070 w 107082"/>
                  <a:gd name="connsiteY2" fmla="*/ 55071 h 55070"/>
                  <a:gd name="connsiteX3" fmla="*/ 0 w 107082"/>
                  <a:gd name="connsiteY3" fmla="*/ 0 h 55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7082" h="55070">
                    <a:moveTo>
                      <a:pt x="0" y="0"/>
                    </a:moveTo>
                    <a:cubicBezTo>
                      <a:pt x="55070" y="24476"/>
                      <a:pt x="107082" y="0"/>
                      <a:pt x="107082" y="0"/>
                    </a:cubicBezTo>
                    <a:cubicBezTo>
                      <a:pt x="107082" y="0"/>
                      <a:pt x="91785" y="55071"/>
                      <a:pt x="55070" y="55071"/>
                    </a:cubicBezTo>
                    <a:cubicBezTo>
                      <a:pt x="15297" y="5507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B9B9B0C0-0299-4148-BC4C-D8C494196BA8}"/>
                  </a:ext>
                </a:extLst>
              </p:cNvPr>
              <p:cNvSpPr/>
              <p:nvPr/>
            </p:nvSpPr>
            <p:spPr>
              <a:xfrm>
                <a:off x="19870941" y="3289039"/>
                <a:ext cx="41332" cy="41153"/>
              </a:xfrm>
              <a:custGeom>
                <a:avLst/>
                <a:gdLst>
                  <a:gd name="connsiteX0" fmla="*/ 779 w 41332"/>
                  <a:gd name="connsiteY0" fmla="*/ 25256 h 41153"/>
                  <a:gd name="connsiteX1" fmla="*/ 25255 w 41332"/>
                  <a:gd name="connsiteY1" fmla="*/ 40553 h 41153"/>
                  <a:gd name="connsiteX2" fmla="*/ 40552 w 41332"/>
                  <a:gd name="connsiteY2" fmla="*/ 16077 h 41153"/>
                  <a:gd name="connsiteX3" fmla="*/ 16077 w 41332"/>
                  <a:gd name="connsiteY3" fmla="*/ 780 h 41153"/>
                  <a:gd name="connsiteX4" fmla="*/ 779 w 41332"/>
                  <a:gd name="connsiteY4" fmla="*/ 25256 h 41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332" h="41153">
                    <a:moveTo>
                      <a:pt x="779" y="25256"/>
                    </a:moveTo>
                    <a:cubicBezTo>
                      <a:pt x="3838" y="34434"/>
                      <a:pt x="13018" y="43612"/>
                      <a:pt x="25255" y="40553"/>
                    </a:cubicBezTo>
                    <a:cubicBezTo>
                      <a:pt x="37494" y="37493"/>
                      <a:pt x="43613" y="28315"/>
                      <a:pt x="40552" y="16077"/>
                    </a:cubicBezTo>
                    <a:cubicBezTo>
                      <a:pt x="37494" y="3839"/>
                      <a:pt x="28316" y="-2280"/>
                      <a:pt x="16077" y="780"/>
                    </a:cubicBezTo>
                    <a:cubicBezTo>
                      <a:pt x="3838" y="3839"/>
                      <a:pt x="-2279" y="13018"/>
                      <a:pt x="779" y="2525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388A2B2E-1BA8-438F-B440-9D0D5707666E}"/>
                  </a:ext>
                </a:extLst>
              </p:cNvPr>
              <p:cNvSpPr/>
              <p:nvPr/>
            </p:nvSpPr>
            <p:spPr>
              <a:xfrm>
                <a:off x="19678373" y="3295337"/>
                <a:ext cx="41152" cy="40973"/>
              </a:xfrm>
              <a:custGeom>
                <a:avLst/>
                <a:gdLst>
                  <a:gd name="connsiteX0" fmla="*/ 600 w 41152"/>
                  <a:gd name="connsiteY0" fmla="*/ 25076 h 40973"/>
                  <a:gd name="connsiteX1" fmla="*/ 25076 w 41152"/>
                  <a:gd name="connsiteY1" fmla="*/ 40374 h 40973"/>
                  <a:gd name="connsiteX2" fmla="*/ 40373 w 41152"/>
                  <a:gd name="connsiteY2" fmla="*/ 15898 h 40973"/>
                  <a:gd name="connsiteX3" fmla="*/ 15898 w 41152"/>
                  <a:gd name="connsiteY3" fmla="*/ 600 h 40973"/>
                  <a:gd name="connsiteX4" fmla="*/ 600 w 41152"/>
                  <a:gd name="connsiteY4" fmla="*/ 25076 h 40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52" h="40973">
                    <a:moveTo>
                      <a:pt x="600" y="25076"/>
                    </a:moveTo>
                    <a:cubicBezTo>
                      <a:pt x="3659" y="34255"/>
                      <a:pt x="12837" y="43433"/>
                      <a:pt x="25076" y="40374"/>
                    </a:cubicBezTo>
                    <a:cubicBezTo>
                      <a:pt x="37315" y="37314"/>
                      <a:pt x="43432" y="28136"/>
                      <a:pt x="40373" y="15898"/>
                    </a:cubicBezTo>
                    <a:cubicBezTo>
                      <a:pt x="37315" y="6719"/>
                      <a:pt x="28135" y="-2459"/>
                      <a:pt x="15898" y="600"/>
                    </a:cubicBezTo>
                    <a:cubicBezTo>
                      <a:pt x="6720" y="3660"/>
                      <a:pt x="-2460" y="12838"/>
                      <a:pt x="600" y="2507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54F0AFAF-43C2-41D8-BA31-59BE4385E9C0}"/>
                  </a:ext>
                </a:extLst>
              </p:cNvPr>
              <p:cNvSpPr/>
              <p:nvPr/>
            </p:nvSpPr>
            <p:spPr>
              <a:xfrm>
                <a:off x="19842917" y="3244286"/>
                <a:ext cx="92286" cy="33294"/>
              </a:xfrm>
              <a:custGeom>
                <a:avLst/>
                <a:gdLst>
                  <a:gd name="connsiteX0" fmla="*/ 83874 w 92286"/>
                  <a:gd name="connsiteY0" fmla="*/ 30235 h 33294"/>
                  <a:gd name="connsiteX1" fmla="*/ 77754 w 92286"/>
                  <a:gd name="connsiteY1" fmla="*/ 27175 h 33294"/>
                  <a:gd name="connsiteX2" fmla="*/ 10447 w 92286"/>
                  <a:gd name="connsiteY2" fmla="*/ 21056 h 33294"/>
                  <a:gd name="connsiteX3" fmla="*/ 1267 w 92286"/>
                  <a:gd name="connsiteY3" fmla="*/ 17997 h 33294"/>
                  <a:gd name="connsiteX4" fmla="*/ 4328 w 92286"/>
                  <a:gd name="connsiteY4" fmla="*/ 8818 h 33294"/>
                  <a:gd name="connsiteX5" fmla="*/ 89993 w 92286"/>
                  <a:gd name="connsiteY5" fmla="*/ 21056 h 33294"/>
                  <a:gd name="connsiteX6" fmla="*/ 89993 w 92286"/>
                  <a:gd name="connsiteY6" fmla="*/ 33294 h 33294"/>
                  <a:gd name="connsiteX7" fmla="*/ 83874 w 92286"/>
                  <a:gd name="connsiteY7" fmla="*/ 30235 h 33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2286" h="33294">
                    <a:moveTo>
                      <a:pt x="83874" y="30235"/>
                    </a:moveTo>
                    <a:cubicBezTo>
                      <a:pt x="80815" y="30235"/>
                      <a:pt x="80815" y="30235"/>
                      <a:pt x="77754" y="27175"/>
                    </a:cubicBezTo>
                    <a:cubicBezTo>
                      <a:pt x="53279" y="-360"/>
                      <a:pt x="10447" y="21056"/>
                      <a:pt x="10447" y="21056"/>
                    </a:cubicBezTo>
                    <a:cubicBezTo>
                      <a:pt x="7386" y="24116"/>
                      <a:pt x="1267" y="21056"/>
                      <a:pt x="1267" y="17997"/>
                    </a:cubicBezTo>
                    <a:cubicBezTo>
                      <a:pt x="-1792" y="14937"/>
                      <a:pt x="1267" y="8818"/>
                      <a:pt x="4328" y="8818"/>
                    </a:cubicBezTo>
                    <a:cubicBezTo>
                      <a:pt x="22684" y="-360"/>
                      <a:pt x="62457" y="-9539"/>
                      <a:pt x="89993" y="21056"/>
                    </a:cubicBezTo>
                    <a:cubicBezTo>
                      <a:pt x="93052" y="24116"/>
                      <a:pt x="93052" y="30235"/>
                      <a:pt x="89993" y="33294"/>
                    </a:cubicBezTo>
                    <a:cubicBezTo>
                      <a:pt x="89993" y="27175"/>
                      <a:pt x="86934" y="30235"/>
                      <a:pt x="83874" y="30235"/>
                    </a:cubicBezTo>
                    <a:close/>
                  </a:path>
                </a:pathLst>
              </a:custGeom>
              <a:solidFill>
                <a:srgbClr val="664540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D25B7993-8FAF-4F30-8F65-D789791C195A}"/>
                  </a:ext>
                </a:extLst>
              </p:cNvPr>
              <p:cNvSpPr/>
              <p:nvPr/>
            </p:nvSpPr>
            <p:spPr>
              <a:xfrm>
                <a:off x="19652202" y="3238827"/>
                <a:ext cx="92287" cy="35694"/>
              </a:xfrm>
              <a:custGeom>
                <a:avLst/>
                <a:gdLst>
                  <a:gd name="connsiteX0" fmla="*/ 8413 w 92287"/>
                  <a:gd name="connsiteY0" fmla="*/ 35694 h 35694"/>
                  <a:gd name="connsiteX1" fmla="*/ 2295 w 92287"/>
                  <a:gd name="connsiteY1" fmla="*/ 32635 h 35694"/>
                  <a:gd name="connsiteX2" fmla="*/ 2295 w 92287"/>
                  <a:gd name="connsiteY2" fmla="*/ 20397 h 35694"/>
                  <a:gd name="connsiteX3" fmla="*/ 87961 w 92287"/>
                  <a:gd name="connsiteY3" fmla="*/ 11218 h 35694"/>
                  <a:gd name="connsiteX4" fmla="*/ 91020 w 92287"/>
                  <a:gd name="connsiteY4" fmla="*/ 23456 h 35694"/>
                  <a:gd name="connsiteX5" fmla="*/ 78783 w 92287"/>
                  <a:gd name="connsiteY5" fmla="*/ 26516 h 35694"/>
                  <a:gd name="connsiteX6" fmla="*/ 11474 w 92287"/>
                  <a:gd name="connsiteY6" fmla="*/ 32635 h 35694"/>
                  <a:gd name="connsiteX7" fmla="*/ 8413 w 92287"/>
                  <a:gd name="connsiteY7" fmla="*/ 35694 h 35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2287" h="35694">
                    <a:moveTo>
                      <a:pt x="8413" y="35694"/>
                    </a:moveTo>
                    <a:cubicBezTo>
                      <a:pt x="5354" y="35694"/>
                      <a:pt x="5354" y="35694"/>
                      <a:pt x="2295" y="32635"/>
                    </a:cubicBezTo>
                    <a:cubicBezTo>
                      <a:pt x="-765" y="29575"/>
                      <a:pt x="-765" y="23456"/>
                      <a:pt x="2295" y="20397"/>
                    </a:cubicBezTo>
                    <a:cubicBezTo>
                      <a:pt x="14532" y="8159"/>
                      <a:pt x="51247" y="-13258"/>
                      <a:pt x="87961" y="11218"/>
                    </a:cubicBezTo>
                    <a:cubicBezTo>
                      <a:pt x="91020" y="14278"/>
                      <a:pt x="94080" y="17337"/>
                      <a:pt x="91020" y="23456"/>
                    </a:cubicBezTo>
                    <a:cubicBezTo>
                      <a:pt x="87961" y="26516"/>
                      <a:pt x="84900" y="29575"/>
                      <a:pt x="78783" y="26516"/>
                    </a:cubicBezTo>
                    <a:cubicBezTo>
                      <a:pt x="42068" y="2040"/>
                      <a:pt x="14532" y="32635"/>
                      <a:pt x="11474" y="32635"/>
                    </a:cubicBezTo>
                    <a:cubicBezTo>
                      <a:pt x="11474" y="35694"/>
                      <a:pt x="11474" y="35694"/>
                      <a:pt x="8413" y="35694"/>
                    </a:cubicBezTo>
                    <a:close/>
                  </a:path>
                </a:pathLst>
              </a:custGeom>
              <a:solidFill>
                <a:srgbClr val="664540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E00BB8BF-A142-4307-B197-4FE6F57D5CA6}"/>
                  </a:ext>
                </a:extLst>
              </p:cNvPr>
              <p:cNvSpPr/>
              <p:nvPr/>
            </p:nvSpPr>
            <p:spPr>
              <a:xfrm>
                <a:off x="19716648" y="3014785"/>
                <a:ext cx="277591" cy="259735"/>
              </a:xfrm>
              <a:custGeom>
                <a:avLst/>
                <a:gdLst>
                  <a:gd name="connsiteX0" fmla="*/ 2098 w 277591"/>
                  <a:gd name="connsiteY0" fmla="*/ 2739 h 259735"/>
                  <a:gd name="connsiteX1" fmla="*/ 38813 w 277591"/>
                  <a:gd name="connsiteY1" fmla="*/ 131237 h 259735"/>
                  <a:gd name="connsiteX2" fmla="*/ 277453 w 277591"/>
                  <a:gd name="connsiteY2" fmla="*/ 259736 h 259735"/>
                  <a:gd name="connsiteX3" fmla="*/ 2098 w 277591"/>
                  <a:gd name="connsiteY3" fmla="*/ 2739 h 259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7591" h="259735">
                    <a:moveTo>
                      <a:pt x="2098" y="2739"/>
                    </a:moveTo>
                    <a:cubicBezTo>
                      <a:pt x="2098" y="2739"/>
                      <a:pt x="-13199" y="91464"/>
                      <a:pt x="38813" y="131237"/>
                    </a:cubicBezTo>
                    <a:cubicBezTo>
                      <a:pt x="38813" y="131237"/>
                      <a:pt x="249916" y="174070"/>
                      <a:pt x="277453" y="259736"/>
                    </a:cubicBezTo>
                    <a:cubicBezTo>
                      <a:pt x="277453" y="256676"/>
                      <a:pt x="292750" y="-30916"/>
                      <a:pt x="2098" y="2739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F59E8A3B-78AA-41DC-823C-C43C326AB72A}"/>
                  </a:ext>
                </a:extLst>
              </p:cNvPr>
              <p:cNvSpPr/>
              <p:nvPr/>
            </p:nvSpPr>
            <p:spPr>
              <a:xfrm>
                <a:off x="19530417" y="3017524"/>
                <a:ext cx="225042" cy="315624"/>
              </a:xfrm>
              <a:custGeom>
                <a:avLst/>
                <a:gdLst>
                  <a:gd name="connsiteX0" fmla="*/ 225043 w 225042"/>
                  <a:gd name="connsiteY0" fmla="*/ 128499 h 315624"/>
                  <a:gd name="connsiteX1" fmla="*/ 84305 w 225042"/>
                  <a:gd name="connsiteY1" fmla="*/ 183569 h 315624"/>
                  <a:gd name="connsiteX2" fmla="*/ 26176 w 225042"/>
                  <a:gd name="connsiteY2" fmla="*/ 302890 h 315624"/>
                  <a:gd name="connsiteX3" fmla="*/ 1700 w 225042"/>
                  <a:gd name="connsiteY3" fmla="*/ 299830 h 315624"/>
                  <a:gd name="connsiteX4" fmla="*/ 191387 w 225042"/>
                  <a:gd name="connsiteY4" fmla="*/ 0 h 315624"/>
                  <a:gd name="connsiteX5" fmla="*/ 225043 w 225042"/>
                  <a:gd name="connsiteY5" fmla="*/ 128499 h 31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5042" h="315624">
                    <a:moveTo>
                      <a:pt x="225043" y="128499"/>
                    </a:moveTo>
                    <a:cubicBezTo>
                      <a:pt x="225043" y="128499"/>
                      <a:pt x="133258" y="177450"/>
                      <a:pt x="84305" y="183569"/>
                    </a:cubicBezTo>
                    <a:cubicBezTo>
                      <a:pt x="32295" y="189688"/>
                      <a:pt x="26176" y="302890"/>
                      <a:pt x="26176" y="302890"/>
                    </a:cubicBezTo>
                    <a:cubicBezTo>
                      <a:pt x="26176" y="302890"/>
                      <a:pt x="4759" y="333484"/>
                      <a:pt x="1700" y="299830"/>
                    </a:cubicBezTo>
                    <a:cubicBezTo>
                      <a:pt x="-4419" y="220283"/>
                      <a:pt x="-4419" y="21416"/>
                      <a:pt x="191387" y="0"/>
                    </a:cubicBezTo>
                    <a:cubicBezTo>
                      <a:pt x="188329" y="0"/>
                      <a:pt x="200567" y="122380"/>
                      <a:pt x="225043" y="128499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C5E8CDE2-B1F5-4F91-99FA-C076F9ACA1EA}"/>
                  </a:ext>
                </a:extLst>
              </p:cNvPr>
              <p:cNvSpPr/>
              <p:nvPr/>
            </p:nvSpPr>
            <p:spPr>
              <a:xfrm>
                <a:off x="19605544" y="3014464"/>
                <a:ext cx="156035" cy="189688"/>
              </a:xfrm>
              <a:custGeom>
                <a:avLst/>
                <a:gdLst>
                  <a:gd name="connsiteX0" fmla="*/ 6119 w 156035"/>
                  <a:gd name="connsiteY0" fmla="*/ 189688 h 189688"/>
                  <a:gd name="connsiteX1" fmla="*/ 0 w 156035"/>
                  <a:gd name="connsiteY1" fmla="*/ 183569 h 189688"/>
                  <a:gd name="connsiteX2" fmla="*/ 6119 w 156035"/>
                  <a:gd name="connsiteY2" fmla="*/ 177450 h 189688"/>
                  <a:gd name="connsiteX3" fmla="*/ 100963 w 156035"/>
                  <a:gd name="connsiteY3" fmla="*/ 146856 h 189688"/>
                  <a:gd name="connsiteX4" fmla="*/ 140738 w 156035"/>
                  <a:gd name="connsiteY4" fmla="*/ 125439 h 189688"/>
                  <a:gd name="connsiteX5" fmla="*/ 125440 w 156035"/>
                  <a:gd name="connsiteY5" fmla="*/ 104023 h 189688"/>
                  <a:gd name="connsiteX6" fmla="*/ 113202 w 156035"/>
                  <a:gd name="connsiteY6" fmla="*/ 61190 h 189688"/>
                  <a:gd name="connsiteX7" fmla="*/ 110143 w 156035"/>
                  <a:gd name="connsiteY7" fmla="*/ 33654 h 189688"/>
                  <a:gd name="connsiteX8" fmla="*/ 107082 w 156035"/>
                  <a:gd name="connsiteY8" fmla="*/ 6119 h 189688"/>
                  <a:gd name="connsiteX9" fmla="*/ 113202 w 156035"/>
                  <a:gd name="connsiteY9" fmla="*/ 0 h 189688"/>
                  <a:gd name="connsiteX10" fmla="*/ 119321 w 156035"/>
                  <a:gd name="connsiteY10" fmla="*/ 6119 h 189688"/>
                  <a:gd name="connsiteX11" fmla="*/ 122380 w 156035"/>
                  <a:gd name="connsiteY11" fmla="*/ 33654 h 189688"/>
                  <a:gd name="connsiteX12" fmla="*/ 125440 w 156035"/>
                  <a:gd name="connsiteY12" fmla="*/ 61190 h 189688"/>
                  <a:gd name="connsiteX13" fmla="*/ 134618 w 156035"/>
                  <a:gd name="connsiteY13" fmla="*/ 100963 h 189688"/>
                  <a:gd name="connsiteX14" fmla="*/ 152975 w 156035"/>
                  <a:gd name="connsiteY14" fmla="*/ 125439 h 189688"/>
                  <a:gd name="connsiteX15" fmla="*/ 156035 w 156035"/>
                  <a:gd name="connsiteY15" fmla="*/ 131558 h 189688"/>
                  <a:gd name="connsiteX16" fmla="*/ 149916 w 156035"/>
                  <a:gd name="connsiteY16" fmla="*/ 134618 h 189688"/>
                  <a:gd name="connsiteX17" fmla="*/ 104023 w 156035"/>
                  <a:gd name="connsiteY17" fmla="*/ 159093 h 189688"/>
                  <a:gd name="connsiteX18" fmla="*/ 6119 w 156035"/>
                  <a:gd name="connsiteY18" fmla="*/ 189688 h 189688"/>
                  <a:gd name="connsiteX19" fmla="*/ 6119 w 156035"/>
                  <a:gd name="connsiteY19" fmla="*/ 189688 h 18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56035" h="189688">
                    <a:moveTo>
                      <a:pt x="6119" y="189688"/>
                    </a:moveTo>
                    <a:cubicBezTo>
                      <a:pt x="3061" y="189688"/>
                      <a:pt x="0" y="186629"/>
                      <a:pt x="0" y="183569"/>
                    </a:cubicBezTo>
                    <a:cubicBezTo>
                      <a:pt x="0" y="180510"/>
                      <a:pt x="3061" y="177450"/>
                      <a:pt x="6119" y="177450"/>
                    </a:cubicBezTo>
                    <a:cubicBezTo>
                      <a:pt x="33656" y="174391"/>
                      <a:pt x="67309" y="162153"/>
                      <a:pt x="100963" y="146856"/>
                    </a:cubicBezTo>
                    <a:cubicBezTo>
                      <a:pt x="119321" y="137677"/>
                      <a:pt x="131558" y="131558"/>
                      <a:pt x="140738" y="125439"/>
                    </a:cubicBezTo>
                    <a:cubicBezTo>
                      <a:pt x="134618" y="119320"/>
                      <a:pt x="128499" y="113201"/>
                      <a:pt x="125440" y="104023"/>
                    </a:cubicBezTo>
                    <a:cubicBezTo>
                      <a:pt x="119321" y="88725"/>
                      <a:pt x="116260" y="73428"/>
                      <a:pt x="113202" y="61190"/>
                    </a:cubicBezTo>
                    <a:cubicBezTo>
                      <a:pt x="113202" y="55071"/>
                      <a:pt x="110143" y="42833"/>
                      <a:pt x="110143" y="33654"/>
                    </a:cubicBezTo>
                    <a:cubicBezTo>
                      <a:pt x="110143" y="21416"/>
                      <a:pt x="107082" y="12238"/>
                      <a:pt x="107082" y="6119"/>
                    </a:cubicBezTo>
                    <a:cubicBezTo>
                      <a:pt x="107082" y="3059"/>
                      <a:pt x="110143" y="0"/>
                      <a:pt x="113202" y="0"/>
                    </a:cubicBezTo>
                    <a:cubicBezTo>
                      <a:pt x="116260" y="0"/>
                      <a:pt x="119321" y="3059"/>
                      <a:pt x="119321" y="6119"/>
                    </a:cubicBezTo>
                    <a:cubicBezTo>
                      <a:pt x="119321" y="12238"/>
                      <a:pt x="122380" y="24476"/>
                      <a:pt x="122380" y="33654"/>
                    </a:cubicBezTo>
                    <a:cubicBezTo>
                      <a:pt x="122380" y="45892"/>
                      <a:pt x="125440" y="55071"/>
                      <a:pt x="125440" y="61190"/>
                    </a:cubicBezTo>
                    <a:cubicBezTo>
                      <a:pt x="128499" y="76487"/>
                      <a:pt x="128499" y="88725"/>
                      <a:pt x="134618" y="100963"/>
                    </a:cubicBezTo>
                    <a:cubicBezTo>
                      <a:pt x="137677" y="110142"/>
                      <a:pt x="146855" y="116261"/>
                      <a:pt x="152975" y="125439"/>
                    </a:cubicBezTo>
                    <a:lnTo>
                      <a:pt x="156035" y="131558"/>
                    </a:lnTo>
                    <a:lnTo>
                      <a:pt x="149916" y="134618"/>
                    </a:lnTo>
                    <a:cubicBezTo>
                      <a:pt x="149916" y="134618"/>
                      <a:pt x="131558" y="146856"/>
                      <a:pt x="104023" y="159093"/>
                    </a:cubicBezTo>
                    <a:cubicBezTo>
                      <a:pt x="70368" y="174391"/>
                      <a:pt x="36714" y="186629"/>
                      <a:pt x="6119" y="189688"/>
                    </a:cubicBezTo>
                    <a:cubicBezTo>
                      <a:pt x="6119" y="189688"/>
                      <a:pt x="6119" y="189688"/>
                      <a:pt x="6119" y="18968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2CBAF8DF-4069-4237-9182-500FC38B0C3A}"/>
                  </a:ext>
                </a:extLst>
              </p:cNvPr>
              <p:cNvSpPr/>
              <p:nvPr/>
            </p:nvSpPr>
            <p:spPr>
              <a:xfrm>
                <a:off x="19431153" y="3150206"/>
                <a:ext cx="256997" cy="541399"/>
              </a:xfrm>
              <a:custGeom>
                <a:avLst/>
                <a:gdLst>
                  <a:gd name="connsiteX0" fmla="*/ 189689 w 256997"/>
                  <a:gd name="connsiteY0" fmla="*/ 53947 h 541399"/>
                  <a:gd name="connsiteX1" fmla="*/ 256998 w 256997"/>
                  <a:gd name="connsiteY1" fmla="*/ 515930 h 541399"/>
                  <a:gd name="connsiteX2" fmla="*/ 0 w 256997"/>
                  <a:gd name="connsiteY2" fmla="*/ 509811 h 541399"/>
                  <a:gd name="connsiteX3" fmla="*/ 113202 w 256997"/>
                  <a:gd name="connsiteY3" fmla="*/ 4995 h 541399"/>
                  <a:gd name="connsiteX4" fmla="*/ 189689 w 256997"/>
                  <a:gd name="connsiteY4" fmla="*/ 53947 h 541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6997" h="541399">
                    <a:moveTo>
                      <a:pt x="189689" y="53947"/>
                    </a:moveTo>
                    <a:cubicBezTo>
                      <a:pt x="189689" y="53947"/>
                      <a:pt x="85667" y="249754"/>
                      <a:pt x="256998" y="515930"/>
                    </a:cubicBezTo>
                    <a:cubicBezTo>
                      <a:pt x="256998" y="515930"/>
                      <a:pt x="119321" y="577120"/>
                      <a:pt x="0" y="509811"/>
                    </a:cubicBezTo>
                    <a:cubicBezTo>
                      <a:pt x="0" y="509811"/>
                      <a:pt x="0" y="258933"/>
                      <a:pt x="113202" y="4995"/>
                    </a:cubicBezTo>
                    <a:cubicBezTo>
                      <a:pt x="122380" y="-19481"/>
                      <a:pt x="189689" y="53947"/>
                      <a:pt x="189689" y="53947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68EAF431-55F8-406F-AF59-4F2040629954}"/>
                  </a:ext>
                </a:extLst>
              </p:cNvPr>
              <p:cNvSpPr/>
              <p:nvPr/>
            </p:nvSpPr>
            <p:spPr>
              <a:xfrm>
                <a:off x="19879632" y="3184529"/>
                <a:ext cx="148122" cy="163420"/>
              </a:xfrm>
              <a:custGeom>
                <a:avLst/>
                <a:gdLst>
                  <a:gd name="connsiteX0" fmla="*/ 142005 w 148122"/>
                  <a:gd name="connsiteY0" fmla="*/ 163420 h 163420"/>
                  <a:gd name="connsiteX1" fmla="*/ 135885 w 148122"/>
                  <a:gd name="connsiteY1" fmla="*/ 160361 h 163420"/>
                  <a:gd name="connsiteX2" fmla="*/ 4328 w 148122"/>
                  <a:gd name="connsiteY2" fmla="*/ 10446 h 163420"/>
                  <a:gd name="connsiteX3" fmla="*/ 1267 w 148122"/>
                  <a:gd name="connsiteY3" fmla="*/ 4327 h 163420"/>
                  <a:gd name="connsiteX4" fmla="*/ 7386 w 148122"/>
                  <a:gd name="connsiteY4" fmla="*/ 1267 h 163420"/>
                  <a:gd name="connsiteX5" fmla="*/ 148122 w 148122"/>
                  <a:gd name="connsiteY5" fmla="*/ 160361 h 163420"/>
                  <a:gd name="connsiteX6" fmla="*/ 142005 w 148122"/>
                  <a:gd name="connsiteY6" fmla="*/ 163420 h 163420"/>
                  <a:gd name="connsiteX7" fmla="*/ 142005 w 148122"/>
                  <a:gd name="connsiteY7" fmla="*/ 163420 h 163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8122" h="163420">
                    <a:moveTo>
                      <a:pt x="142005" y="163420"/>
                    </a:moveTo>
                    <a:cubicBezTo>
                      <a:pt x="138944" y="163420"/>
                      <a:pt x="135885" y="160361"/>
                      <a:pt x="135885" y="160361"/>
                    </a:cubicBezTo>
                    <a:cubicBezTo>
                      <a:pt x="111410" y="37981"/>
                      <a:pt x="4328" y="10446"/>
                      <a:pt x="4328" y="10446"/>
                    </a:cubicBezTo>
                    <a:cubicBezTo>
                      <a:pt x="1267" y="10446"/>
                      <a:pt x="-1792" y="7386"/>
                      <a:pt x="1267" y="4327"/>
                    </a:cubicBezTo>
                    <a:cubicBezTo>
                      <a:pt x="1267" y="1267"/>
                      <a:pt x="4328" y="-1792"/>
                      <a:pt x="7386" y="1267"/>
                    </a:cubicBezTo>
                    <a:cubicBezTo>
                      <a:pt x="7386" y="1267"/>
                      <a:pt x="123647" y="31862"/>
                      <a:pt x="148122" y="160361"/>
                    </a:cubicBezTo>
                    <a:cubicBezTo>
                      <a:pt x="148122" y="160361"/>
                      <a:pt x="145063" y="160361"/>
                      <a:pt x="142005" y="163420"/>
                    </a:cubicBezTo>
                    <a:cubicBezTo>
                      <a:pt x="142005" y="163420"/>
                      <a:pt x="142005" y="163420"/>
                      <a:pt x="142005" y="16342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CE6B527E-F62B-4492-8B43-C618816D20CB}"/>
                  </a:ext>
                </a:extLst>
              </p:cNvPr>
              <p:cNvSpPr/>
              <p:nvPr/>
            </p:nvSpPr>
            <p:spPr>
              <a:xfrm>
                <a:off x="20052231" y="3390782"/>
                <a:ext cx="91019" cy="180509"/>
              </a:xfrm>
              <a:custGeom>
                <a:avLst/>
                <a:gdLst>
                  <a:gd name="connsiteX0" fmla="*/ 85665 w 91019"/>
                  <a:gd name="connsiteY0" fmla="*/ 180510 h 180509"/>
                  <a:gd name="connsiteX1" fmla="*/ 82605 w 91019"/>
                  <a:gd name="connsiteY1" fmla="*/ 177450 h 180509"/>
                  <a:gd name="connsiteX2" fmla="*/ 0 w 91019"/>
                  <a:gd name="connsiteY2" fmla="*/ 6119 h 180509"/>
                  <a:gd name="connsiteX3" fmla="*/ 3059 w 91019"/>
                  <a:gd name="connsiteY3" fmla="*/ 0 h 180509"/>
                  <a:gd name="connsiteX4" fmla="*/ 9178 w 91019"/>
                  <a:gd name="connsiteY4" fmla="*/ 3059 h 180509"/>
                  <a:gd name="connsiteX5" fmla="*/ 88724 w 91019"/>
                  <a:gd name="connsiteY5" fmla="*/ 171331 h 180509"/>
                  <a:gd name="connsiteX6" fmla="*/ 88724 w 91019"/>
                  <a:gd name="connsiteY6" fmla="*/ 180510 h 180509"/>
                  <a:gd name="connsiteX7" fmla="*/ 85665 w 91019"/>
                  <a:gd name="connsiteY7" fmla="*/ 180510 h 180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019" h="180509">
                    <a:moveTo>
                      <a:pt x="85665" y="180510"/>
                    </a:moveTo>
                    <a:cubicBezTo>
                      <a:pt x="85665" y="180510"/>
                      <a:pt x="82605" y="180510"/>
                      <a:pt x="82605" y="177450"/>
                    </a:cubicBezTo>
                    <a:cubicBezTo>
                      <a:pt x="27534" y="122380"/>
                      <a:pt x="0" y="9178"/>
                      <a:pt x="0" y="6119"/>
                    </a:cubicBezTo>
                    <a:cubicBezTo>
                      <a:pt x="0" y="3059"/>
                      <a:pt x="0" y="0"/>
                      <a:pt x="3059" y="0"/>
                    </a:cubicBezTo>
                    <a:cubicBezTo>
                      <a:pt x="6117" y="0"/>
                      <a:pt x="9178" y="0"/>
                      <a:pt x="9178" y="3059"/>
                    </a:cubicBezTo>
                    <a:cubicBezTo>
                      <a:pt x="9178" y="3059"/>
                      <a:pt x="33654" y="116261"/>
                      <a:pt x="88724" y="171331"/>
                    </a:cubicBezTo>
                    <a:cubicBezTo>
                      <a:pt x="91785" y="174391"/>
                      <a:pt x="91785" y="177450"/>
                      <a:pt x="88724" y="180510"/>
                    </a:cubicBezTo>
                    <a:cubicBezTo>
                      <a:pt x="88724" y="180510"/>
                      <a:pt x="85665" y="180510"/>
                      <a:pt x="85665" y="18051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A810245F-2ED5-4E68-A488-6DAFE5DD9DEC}"/>
                  </a:ext>
                </a:extLst>
              </p:cNvPr>
              <p:cNvSpPr/>
              <p:nvPr/>
            </p:nvSpPr>
            <p:spPr>
              <a:xfrm>
                <a:off x="20021636" y="3473388"/>
                <a:ext cx="75722" cy="125439"/>
              </a:xfrm>
              <a:custGeom>
                <a:avLst/>
                <a:gdLst>
                  <a:gd name="connsiteX0" fmla="*/ 70368 w 75722"/>
                  <a:gd name="connsiteY0" fmla="*/ 122380 h 125439"/>
                  <a:gd name="connsiteX1" fmla="*/ 67307 w 75722"/>
                  <a:gd name="connsiteY1" fmla="*/ 122380 h 125439"/>
                  <a:gd name="connsiteX2" fmla="*/ 0 w 75722"/>
                  <a:gd name="connsiteY2" fmla="*/ 6119 h 125439"/>
                  <a:gd name="connsiteX3" fmla="*/ 3059 w 75722"/>
                  <a:gd name="connsiteY3" fmla="*/ 0 h 125439"/>
                  <a:gd name="connsiteX4" fmla="*/ 9178 w 75722"/>
                  <a:gd name="connsiteY4" fmla="*/ 3059 h 125439"/>
                  <a:gd name="connsiteX5" fmla="*/ 73427 w 75722"/>
                  <a:gd name="connsiteY5" fmla="*/ 116261 h 125439"/>
                  <a:gd name="connsiteX6" fmla="*/ 73427 w 75722"/>
                  <a:gd name="connsiteY6" fmla="*/ 125439 h 125439"/>
                  <a:gd name="connsiteX7" fmla="*/ 70368 w 75722"/>
                  <a:gd name="connsiteY7" fmla="*/ 122380 h 125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5722" h="125439">
                    <a:moveTo>
                      <a:pt x="70368" y="122380"/>
                    </a:moveTo>
                    <a:cubicBezTo>
                      <a:pt x="70368" y="122380"/>
                      <a:pt x="67307" y="122380"/>
                      <a:pt x="67307" y="122380"/>
                    </a:cubicBezTo>
                    <a:cubicBezTo>
                      <a:pt x="30595" y="94844"/>
                      <a:pt x="0" y="9178"/>
                      <a:pt x="0" y="6119"/>
                    </a:cubicBezTo>
                    <a:cubicBezTo>
                      <a:pt x="0" y="3059"/>
                      <a:pt x="0" y="0"/>
                      <a:pt x="3059" y="0"/>
                    </a:cubicBezTo>
                    <a:cubicBezTo>
                      <a:pt x="6117" y="0"/>
                      <a:pt x="9178" y="0"/>
                      <a:pt x="9178" y="3059"/>
                    </a:cubicBezTo>
                    <a:cubicBezTo>
                      <a:pt x="9178" y="3059"/>
                      <a:pt x="39773" y="88725"/>
                      <a:pt x="73427" y="116261"/>
                    </a:cubicBezTo>
                    <a:cubicBezTo>
                      <a:pt x="76487" y="119320"/>
                      <a:pt x="76487" y="122380"/>
                      <a:pt x="73427" y="125439"/>
                    </a:cubicBezTo>
                    <a:cubicBezTo>
                      <a:pt x="73427" y="122380"/>
                      <a:pt x="73427" y="122380"/>
                      <a:pt x="70368" y="12238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5734DB0E-7315-4024-AE3E-DB1A309DB272}"/>
                  </a:ext>
                </a:extLst>
              </p:cNvPr>
              <p:cNvSpPr/>
              <p:nvPr/>
            </p:nvSpPr>
            <p:spPr>
              <a:xfrm>
                <a:off x="19582634" y="3189620"/>
                <a:ext cx="107046" cy="479575"/>
              </a:xfrm>
              <a:custGeom>
                <a:avLst/>
                <a:gdLst>
                  <a:gd name="connsiteX0" fmla="*/ 102458 w 107046"/>
                  <a:gd name="connsiteY0" fmla="*/ 479575 h 479575"/>
                  <a:gd name="connsiteX1" fmla="*/ 96339 w 107046"/>
                  <a:gd name="connsiteY1" fmla="*/ 476516 h 479575"/>
                  <a:gd name="connsiteX2" fmla="*/ 1493 w 107046"/>
                  <a:gd name="connsiteY2" fmla="*/ 130793 h 479575"/>
                  <a:gd name="connsiteX3" fmla="*/ 41268 w 107046"/>
                  <a:gd name="connsiteY3" fmla="*/ 2295 h 479575"/>
                  <a:gd name="connsiteX4" fmla="*/ 50446 w 107046"/>
                  <a:gd name="connsiteY4" fmla="*/ 2295 h 479575"/>
                  <a:gd name="connsiteX5" fmla="*/ 50446 w 107046"/>
                  <a:gd name="connsiteY5" fmla="*/ 11473 h 479575"/>
                  <a:gd name="connsiteX6" fmla="*/ 10673 w 107046"/>
                  <a:gd name="connsiteY6" fmla="*/ 133853 h 479575"/>
                  <a:gd name="connsiteX7" fmla="*/ 102458 w 107046"/>
                  <a:gd name="connsiteY7" fmla="*/ 470397 h 479575"/>
                  <a:gd name="connsiteX8" fmla="*/ 102458 w 107046"/>
                  <a:gd name="connsiteY8" fmla="*/ 479575 h 479575"/>
                  <a:gd name="connsiteX9" fmla="*/ 102458 w 107046"/>
                  <a:gd name="connsiteY9" fmla="*/ 479575 h 47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7046" h="479575">
                    <a:moveTo>
                      <a:pt x="102458" y="479575"/>
                    </a:moveTo>
                    <a:cubicBezTo>
                      <a:pt x="99397" y="479575"/>
                      <a:pt x="99397" y="479575"/>
                      <a:pt x="96339" y="476516"/>
                    </a:cubicBezTo>
                    <a:cubicBezTo>
                      <a:pt x="4554" y="326601"/>
                      <a:pt x="-4624" y="207281"/>
                      <a:pt x="1493" y="130793"/>
                    </a:cubicBezTo>
                    <a:cubicBezTo>
                      <a:pt x="10673" y="48187"/>
                      <a:pt x="41268" y="5354"/>
                      <a:pt x="41268" y="2295"/>
                    </a:cubicBezTo>
                    <a:cubicBezTo>
                      <a:pt x="44327" y="-765"/>
                      <a:pt x="47386" y="-765"/>
                      <a:pt x="50446" y="2295"/>
                    </a:cubicBezTo>
                    <a:cubicBezTo>
                      <a:pt x="53505" y="5354"/>
                      <a:pt x="53505" y="8414"/>
                      <a:pt x="50446" y="11473"/>
                    </a:cubicBezTo>
                    <a:cubicBezTo>
                      <a:pt x="50446" y="11473"/>
                      <a:pt x="19851" y="57365"/>
                      <a:pt x="10673" y="133853"/>
                    </a:cubicBezTo>
                    <a:cubicBezTo>
                      <a:pt x="4554" y="207281"/>
                      <a:pt x="13732" y="323541"/>
                      <a:pt x="102458" y="470397"/>
                    </a:cubicBezTo>
                    <a:cubicBezTo>
                      <a:pt x="108575" y="473456"/>
                      <a:pt x="108575" y="476516"/>
                      <a:pt x="102458" y="479575"/>
                    </a:cubicBezTo>
                    <a:cubicBezTo>
                      <a:pt x="105517" y="479575"/>
                      <a:pt x="102458" y="479575"/>
                      <a:pt x="102458" y="47957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6DA67CA6-C22C-4A91-AEE3-6911E64BBEDD}"/>
                  </a:ext>
                </a:extLst>
              </p:cNvPr>
              <p:cNvSpPr/>
              <p:nvPr/>
            </p:nvSpPr>
            <p:spPr>
              <a:xfrm>
                <a:off x="19715687" y="3034565"/>
                <a:ext cx="119318" cy="19672"/>
              </a:xfrm>
              <a:custGeom>
                <a:avLst/>
                <a:gdLst>
                  <a:gd name="connsiteX0" fmla="*/ 6117 w 119318"/>
                  <a:gd name="connsiteY0" fmla="*/ 19673 h 19672"/>
                  <a:gd name="connsiteX1" fmla="*/ 0 w 119318"/>
                  <a:gd name="connsiteY1" fmla="*/ 16613 h 19672"/>
                  <a:gd name="connsiteX2" fmla="*/ 3059 w 119318"/>
                  <a:gd name="connsiteY2" fmla="*/ 10494 h 19672"/>
                  <a:gd name="connsiteX3" fmla="*/ 116260 w 119318"/>
                  <a:gd name="connsiteY3" fmla="*/ 7435 h 19672"/>
                  <a:gd name="connsiteX4" fmla="*/ 119319 w 119318"/>
                  <a:gd name="connsiteY4" fmla="*/ 13554 h 19672"/>
                  <a:gd name="connsiteX5" fmla="*/ 113200 w 119318"/>
                  <a:gd name="connsiteY5" fmla="*/ 16613 h 19672"/>
                  <a:gd name="connsiteX6" fmla="*/ 6117 w 119318"/>
                  <a:gd name="connsiteY6" fmla="*/ 19673 h 19672"/>
                  <a:gd name="connsiteX7" fmla="*/ 6117 w 119318"/>
                  <a:gd name="connsiteY7" fmla="*/ 19673 h 19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9318" h="19672">
                    <a:moveTo>
                      <a:pt x="6117" y="19673"/>
                    </a:moveTo>
                    <a:cubicBezTo>
                      <a:pt x="3059" y="19673"/>
                      <a:pt x="3059" y="19673"/>
                      <a:pt x="0" y="16613"/>
                    </a:cubicBezTo>
                    <a:cubicBezTo>
                      <a:pt x="0" y="13554"/>
                      <a:pt x="0" y="10494"/>
                      <a:pt x="3059" y="10494"/>
                    </a:cubicBezTo>
                    <a:cubicBezTo>
                      <a:pt x="6117" y="10494"/>
                      <a:pt x="67307" y="-10922"/>
                      <a:pt x="116260" y="7435"/>
                    </a:cubicBezTo>
                    <a:cubicBezTo>
                      <a:pt x="119319" y="7435"/>
                      <a:pt x="119319" y="10494"/>
                      <a:pt x="119319" y="13554"/>
                    </a:cubicBezTo>
                    <a:cubicBezTo>
                      <a:pt x="119319" y="16613"/>
                      <a:pt x="116260" y="16613"/>
                      <a:pt x="113200" y="16613"/>
                    </a:cubicBezTo>
                    <a:cubicBezTo>
                      <a:pt x="67307" y="-1744"/>
                      <a:pt x="6117" y="19673"/>
                      <a:pt x="6117" y="19673"/>
                    </a:cubicBezTo>
                    <a:cubicBezTo>
                      <a:pt x="6117" y="19673"/>
                      <a:pt x="6117" y="19673"/>
                      <a:pt x="6117" y="1967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A9B57B87-6B2F-47F7-A00A-DF5F5E1D0744}"/>
                  </a:ext>
                </a:extLst>
              </p:cNvPr>
              <p:cNvSpPr/>
              <p:nvPr/>
            </p:nvSpPr>
            <p:spPr>
              <a:xfrm>
                <a:off x="19652202" y="3541462"/>
                <a:ext cx="223845" cy="81841"/>
              </a:xfrm>
              <a:custGeom>
                <a:avLst/>
                <a:gdLst>
                  <a:gd name="connsiteX0" fmla="*/ 143031 w 223845"/>
                  <a:gd name="connsiteY0" fmla="*/ 81841 h 81841"/>
                  <a:gd name="connsiteX1" fmla="*/ 2295 w 223845"/>
                  <a:gd name="connsiteY1" fmla="*/ 11473 h 81841"/>
                  <a:gd name="connsiteX2" fmla="*/ 2295 w 223845"/>
                  <a:gd name="connsiteY2" fmla="*/ 2295 h 81841"/>
                  <a:gd name="connsiteX3" fmla="*/ 11474 w 223845"/>
                  <a:gd name="connsiteY3" fmla="*/ 2295 h 81841"/>
                  <a:gd name="connsiteX4" fmla="*/ 155270 w 223845"/>
                  <a:gd name="connsiteY4" fmla="*/ 66544 h 81841"/>
                  <a:gd name="connsiteX5" fmla="*/ 213399 w 223845"/>
                  <a:gd name="connsiteY5" fmla="*/ 45127 h 81841"/>
                  <a:gd name="connsiteX6" fmla="*/ 222577 w 223845"/>
                  <a:gd name="connsiteY6" fmla="*/ 48187 h 81841"/>
                  <a:gd name="connsiteX7" fmla="*/ 219519 w 223845"/>
                  <a:gd name="connsiteY7" fmla="*/ 57365 h 81841"/>
                  <a:gd name="connsiteX8" fmla="*/ 158329 w 223845"/>
                  <a:gd name="connsiteY8" fmla="*/ 81841 h 81841"/>
                  <a:gd name="connsiteX9" fmla="*/ 143031 w 223845"/>
                  <a:gd name="connsiteY9" fmla="*/ 81841 h 81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3845" h="81841">
                    <a:moveTo>
                      <a:pt x="143031" y="81841"/>
                    </a:moveTo>
                    <a:cubicBezTo>
                      <a:pt x="78783" y="81841"/>
                      <a:pt x="5354" y="14533"/>
                      <a:pt x="2295" y="11473"/>
                    </a:cubicBezTo>
                    <a:cubicBezTo>
                      <a:pt x="-765" y="8414"/>
                      <a:pt x="-765" y="5354"/>
                      <a:pt x="2295" y="2295"/>
                    </a:cubicBezTo>
                    <a:cubicBezTo>
                      <a:pt x="5354" y="-765"/>
                      <a:pt x="8413" y="-765"/>
                      <a:pt x="11474" y="2295"/>
                    </a:cubicBezTo>
                    <a:cubicBezTo>
                      <a:pt x="11474" y="2295"/>
                      <a:pt x="94080" y="75722"/>
                      <a:pt x="155270" y="66544"/>
                    </a:cubicBezTo>
                    <a:cubicBezTo>
                      <a:pt x="176685" y="63484"/>
                      <a:pt x="195043" y="57365"/>
                      <a:pt x="213399" y="45127"/>
                    </a:cubicBezTo>
                    <a:cubicBezTo>
                      <a:pt x="216460" y="42068"/>
                      <a:pt x="219519" y="45127"/>
                      <a:pt x="222577" y="48187"/>
                    </a:cubicBezTo>
                    <a:cubicBezTo>
                      <a:pt x="225638" y="51246"/>
                      <a:pt x="222577" y="54306"/>
                      <a:pt x="219519" y="57365"/>
                    </a:cubicBezTo>
                    <a:cubicBezTo>
                      <a:pt x="201162" y="69603"/>
                      <a:pt x="179746" y="78782"/>
                      <a:pt x="158329" y="81841"/>
                    </a:cubicBezTo>
                    <a:cubicBezTo>
                      <a:pt x="152209" y="81841"/>
                      <a:pt x="146090" y="81841"/>
                      <a:pt x="143031" y="8184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73" name="图形 892">
                <a:extLst>
                  <a:ext uri="{FF2B5EF4-FFF2-40B4-BE49-F238E27FC236}">
                    <a16:creationId xmlns:a16="http://schemas.microsoft.com/office/drawing/2014/main" id="{A687D670-05F6-4EE3-8792-1D8DA551482F}"/>
                  </a:ext>
                </a:extLst>
              </p:cNvPr>
              <p:cNvGrpSpPr/>
              <p:nvPr/>
            </p:nvGrpSpPr>
            <p:grpSpPr>
              <a:xfrm>
                <a:off x="24007860" y="4122000"/>
                <a:ext cx="1178526" cy="905898"/>
                <a:chOff x="24007860" y="4122000"/>
                <a:chExt cx="1178526" cy="905898"/>
              </a:xfrm>
            </p:grpSpPr>
            <p:grpSp>
              <p:nvGrpSpPr>
                <p:cNvPr id="83" name="图形 892">
                  <a:extLst>
                    <a:ext uri="{FF2B5EF4-FFF2-40B4-BE49-F238E27FC236}">
                      <a16:creationId xmlns:a16="http://schemas.microsoft.com/office/drawing/2014/main" id="{3402A3E0-AF61-46FB-ADCE-108D21192196}"/>
                    </a:ext>
                  </a:extLst>
                </p:cNvPr>
                <p:cNvGrpSpPr/>
                <p:nvPr/>
              </p:nvGrpSpPr>
              <p:grpSpPr>
                <a:xfrm>
                  <a:off x="24007860" y="4122000"/>
                  <a:ext cx="1178526" cy="905898"/>
                  <a:chOff x="24007860" y="4122000"/>
                  <a:chExt cx="1178526" cy="905898"/>
                </a:xfrm>
              </p:grpSpPr>
              <p:sp>
                <p:nvSpPr>
                  <p:cNvPr id="86" name="任意多边形: 形状 85">
                    <a:extLst>
                      <a:ext uri="{FF2B5EF4-FFF2-40B4-BE49-F238E27FC236}">
                        <a16:creationId xmlns:a16="http://schemas.microsoft.com/office/drawing/2014/main" id="{BFA1AD2C-2B09-435D-B945-6866902AB210}"/>
                      </a:ext>
                    </a:extLst>
                  </p:cNvPr>
                  <p:cNvSpPr/>
                  <p:nvPr/>
                </p:nvSpPr>
                <p:spPr>
                  <a:xfrm>
                    <a:off x="24433419" y="4122000"/>
                    <a:ext cx="447074" cy="327365"/>
                  </a:xfrm>
                  <a:custGeom>
                    <a:avLst/>
                    <a:gdLst>
                      <a:gd name="connsiteX0" fmla="*/ 30595 w 447074"/>
                      <a:gd name="connsiteY0" fmla="*/ 42833 h 327365"/>
                      <a:gd name="connsiteX1" fmla="*/ 0 w 447074"/>
                      <a:gd name="connsiteY1" fmla="*/ 275354 h 327365"/>
                      <a:gd name="connsiteX2" fmla="*/ 416092 w 447074"/>
                      <a:gd name="connsiteY2" fmla="*/ 327366 h 327365"/>
                      <a:gd name="connsiteX3" fmla="*/ 446687 w 447074"/>
                      <a:gd name="connsiteY3" fmla="*/ 88725 h 327365"/>
                      <a:gd name="connsiteX4" fmla="*/ 409972 w 447074"/>
                      <a:gd name="connsiteY4" fmla="*/ 42833 h 327365"/>
                      <a:gd name="connsiteX5" fmla="*/ 82607 w 447074"/>
                      <a:gd name="connsiteY5" fmla="*/ 0 h 327365"/>
                      <a:gd name="connsiteX6" fmla="*/ 30595 w 447074"/>
                      <a:gd name="connsiteY6" fmla="*/ 42833 h 327365"/>
                      <a:gd name="connsiteX7" fmla="*/ 67309 w 447074"/>
                      <a:gd name="connsiteY7" fmla="*/ 85666 h 327365"/>
                      <a:gd name="connsiteX8" fmla="*/ 110143 w 447074"/>
                      <a:gd name="connsiteY8" fmla="*/ 52011 h 327365"/>
                      <a:gd name="connsiteX9" fmla="*/ 370199 w 447074"/>
                      <a:gd name="connsiteY9" fmla="*/ 85666 h 327365"/>
                      <a:gd name="connsiteX10" fmla="*/ 397734 w 447074"/>
                      <a:gd name="connsiteY10" fmla="*/ 122380 h 327365"/>
                      <a:gd name="connsiteX11" fmla="*/ 373258 w 447074"/>
                      <a:gd name="connsiteY11" fmla="*/ 312068 h 327365"/>
                      <a:gd name="connsiteX12" fmla="*/ 42834 w 447074"/>
                      <a:gd name="connsiteY12" fmla="*/ 272295 h 327365"/>
                      <a:gd name="connsiteX13" fmla="*/ 67309 w 447074"/>
                      <a:gd name="connsiteY13" fmla="*/ 85666 h 3273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447074" h="327365">
                        <a:moveTo>
                          <a:pt x="30595" y="42833"/>
                        </a:moveTo>
                        <a:lnTo>
                          <a:pt x="0" y="275354"/>
                        </a:lnTo>
                        <a:lnTo>
                          <a:pt x="416092" y="327366"/>
                        </a:lnTo>
                        <a:lnTo>
                          <a:pt x="446687" y="88725"/>
                        </a:lnTo>
                        <a:cubicBezTo>
                          <a:pt x="449745" y="64249"/>
                          <a:pt x="434448" y="45892"/>
                          <a:pt x="409972" y="42833"/>
                        </a:cubicBezTo>
                        <a:lnTo>
                          <a:pt x="82607" y="0"/>
                        </a:lnTo>
                        <a:cubicBezTo>
                          <a:pt x="58131" y="0"/>
                          <a:pt x="33656" y="18357"/>
                          <a:pt x="30595" y="42833"/>
                        </a:cubicBezTo>
                        <a:close/>
                        <a:moveTo>
                          <a:pt x="67309" y="85666"/>
                        </a:moveTo>
                        <a:cubicBezTo>
                          <a:pt x="70370" y="64249"/>
                          <a:pt x="88726" y="52011"/>
                          <a:pt x="110143" y="52011"/>
                        </a:cubicBezTo>
                        <a:lnTo>
                          <a:pt x="370199" y="85666"/>
                        </a:lnTo>
                        <a:cubicBezTo>
                          <a:pt x="388556" y="88725"/>
                          <a:pt x="400794" y="104023"/>
                          <a:pt x="397734" y="122380"/>
                        </a:cubicBezTo>
                        <a:lnTo>
                          <a:pt x="373258" y="312068"/>
                        </a:lnTo>
                        <a:lnTo>
                          <a:pt x="42834" y="272295"/>
                        </a:lnTo>
                        <a:lnTo>
                          <a:pt x="67309" y="85666"/>
                        </a:lnTo>
                        <a:close/>
                      </a:path>
                    </a:pathLst>
                  </a:custGeom>
                  <a:solidFill>
                    <a:srgbClr val="6C5D68"/>
                  </a:solidFill>
                  <a:ln w="305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7" name="任意多边形: 形状 86">
                    <a:extLst>
                      <a:ext uri="{FF2B5EF4-FFF2-40B4-BE49-F238E27FC236}">
                        <a16:creationId xmlns:a16="http://schemas.microsoft.com/office/drawing/2014/main" id="{F40B680F-35A8-4F08-8B7C-91C7B2E3BB47}"/>
                      </a:ext>
                    </a:extLst>
                  </p:cNvPr>
                  <p:cNvSpPr/>
                  <p:nvPr/>
                </p:nvSpPr>
                <p:spPr>
                  <a:xfrm>
                    <a:off x="24007860" y="4195138"/>
                    <a:ext cx="1095919" cy="823582"/>
                  </a:xfrm>
                  <a:custGeom>
                    <a:avLst/>
                    <a:gdLst>
                      <a:gd name="connsiteX0" fmla="*/ 46184 w 1095919"/>
                      <a:gd name="connsiteY0" fmla="*/ 707032 h 823582"/>
                      <a:gd name="connsiteX1" fmla="*/ 945673 w 1095919"/>
                      <a:gd name="connsiteY1" fmla="*/ 823293 h 823582"/>
                      <a:gd name="connsiteX2" fmla="*/ 1012982 w 1095919"/>
                      <a:gd name="connsiteY2" fmla="*/ 771281 h 823582"/>
                      <a:gd name="connsiteX3" fmla="*/ 1095589 w 1095919"/>
                      <a:gd name="connsiteY3" fmla="*/ 177740 h 823582"/>
                      <a:gd name="connsiteX4" fmla="*/ 1049696 w 1095919"/>
                      <a:gd name="connsiteY4" fmla="*/ 119610 h 823582"/>
                      <a:gd name="connsiteX5" fmla="*/ 150206 w 1095919"/>
                      <a:gd name="connsiteY5" fmla="*/ 290 h 823582"/>
                      <a:gd name="connsiteX6" fmla="*/ 82898 w 1095919"/>
                      <a:gd name="connsiteY6" fmla="*/ 52301 h 823582"/>
                      <a:gd name="connsiteX7" fmla="*/ 292 w 1095919"/>
                      <a:gd name="connsiteY7" fmla="*/ 645842 h 823582"/>
                      <a:gd name="connsiteX8" fmla="*/ 46184 w 1095919"/>
                      <a:gd name="connsiteY8" fmla="*/ 707032 h 8235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95919" h="823582">
                        <a:moveTo>
                          <a:pt x="46184" y="707032"/>
                        </a:moveTo>
                        <a:lnTo>
                          <a:pt x="945673" y="823293"/>
                        </a:lnTo>
                        <a:cubicBezTo>
                          <a:pt x="976268" y="826352"/>
                          <a:pt x="1006863" y="804936"/>
                          <a:pt x="1012982" y="771281"/>
                        </a:cubicBezTo>
                        <a:lnTo>
                          <a:pt x="1095589" y="177740"/>
                        </a:lnTo>
                        <a:cubicBezTo>
                          <a:pt x="1098648" y="147146"/>
                          <a:pt x="1080291" y="122669"/>
                          <a:pt x="1049696" y="119610"/>
                        </a:cubicBezTo>
                        <a:lnTo>
                          <a:pt x="150206" y="290"/>
                        </a:lnTo>
                        <a:cubicBezTo>
                          <a:pt x="119611" y="-2770"/>
                          <a:pt x="89016" y="18647"/>
                          <a:pt x="82898" y="52301"/>
                        </a:cubicBezTo>
                        <a:lnTo>
                          <a:pt x="292" y="645842"/>
                        </a:lnTo>
                        <a:cubicBezTo>
                          <a:pt x="-2769" y="676437"/>
                          <a:pt x="18648" y="700913"/>
                          <a:pt x="46184" y="707032"/>
                        </a:cubicBezTo>
                        <a:close/>
                      </a:path>
                    </a:pathLst>
                  </a:custGeom>
                  <a:solidFill>
                    <a:srgbClr val="6C5D68"/>
                  </a:solidFill>
                  <a:ln w="305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8" name="任意多边形: 形状 87">
                    <a:extLst>
                      <a:ext uri="{FF2B5EF4-FFF2-40B4-BE49-F238E27FC236}">
                        <a16:creationId xmlns:a16="http://schemas.microsoft.com/office/drawing/2014/main" id="{3B7AD14E-F128-4DD2-815C-F4BC8049ABAF}"/>
                      </a:ext>
                    </a:extLst>
                  </p:cNvPr>
                  <p:cNvSpPr/>
                  <p:nvPr/>
                </p:nvSpPr>
                <p:spPr>
                  <a:xfrm>
                    <a:off x="24090427" y="4207376"/>
                    <a:ext cx="1095959" cy="820523"/>
                  </a:xfrm>
                  <a:custGeom>
                    <a:avLst/>
                    <a:gdLst>
                      <a:gd name="connsiteX0" fmla="*/ 46224 w 1095959"/>
                      <a:gd name="connsiteY0" fmla="*/ 703973 h 820523"/>
                      <a:gd name="connsiteX1" fmla="*/ 945713 w 1095959"/>
                      <a:gd name="connsiteY1" fmla="*/ 820233 h 820523"/>
                      <a:gd name="connsiteX2" fmla="*/ 1013022 w 1095959"/>
                      <a:gd name="connsiteY2" fmla="*/ 768222 h 820523"/>
                      <a:gd name="connsiteX3" fmla="*/ 1095629 w 1095959"/>
                      <a:gd name="connsiteY3" fmla="*/ 174681 h 820523"/>
                      <a:gd name="connsiteX4" fmla="*/ 1049736 w 1095959"/>
                      <a:gd name="connsiteY4" fmla="*/ 116550 h 820523"/>
                      <a:gd name="connsiteX5" fmla="*/ 150245 w 1095959"/>
                      <a:gd name="connsiteY5" fmla="*/ 290 h 820523"/>
                      <a:gd name="connsiteX6" fmla="*/ 82936 w 1095959"/>
                      <a:gd name="connsiteY6" fmla="*/ 52301 h 820523"/>
                      <a:gd name="connsiteX7" fmla="*/ 331 w 1095959"/>
                      <a:gd name="connsiteY7" fmla="*/ 645842 h 820523"/>
                      <a:gd name="connsiteX8" fmla="*/ 46224 w 1095959"/>
                      <a:gd name="connsiteY8" fmla="*/ 703973 h 8205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95959" h="820523">
                        <a:moveTo>
                          <a:pt x="46224" y="703973"/>
                        </a:moveTo>
                        <a:lnTo>
                          <a:pt x="945713" y="820233"/>
                        </a:lnTo>
                        <a:cubicBezTo>
                          <a:pt x="976308" y="823293"/>
                          <a:pt x="1006903" y="801876"/>
                          <a:pt x="1013022" y="768222"/>
                        </a:cubicBezTo>
                        <a:lnTo>
                          <a:pt x="1095629" y="174681"/>
                        </a:lnTo>
                        <a:cubicBezTo>
                          <a:pt x="1098687" y="144086"/>
                          <a:pt x="1080331" y="119610"/>
                          <a:pt x="1049736" y="116550"/>
                        </a:cubicBezTo>
                        <a:lnTo>
                          <a:pt x="150245" y="290"/>
                        </a:lnTo>
                        <a:cubicBezTo>
                          <a:pt x="119650" y="-2770"/>
                          <a:pt x="89056" y="18647"/>
                          <a:pt x="82936" y="52301"/>
                        </a:cubicBezTo>
                        <a:lnTo>
                          <a:pt x="331" y="645842"/>
                        </a:lnTo>
                        <a:cubicBezTo>
                          <a:pt x="-2729" y="676437"/>
                          <a:pt x="15629" y="700913"/>
                          <a:pt x="46224" y="703973"/>
                        </a:cubicBezTo>
                        <a:close/>
                      </a:path>
                    </a:pathLst>
                  </a:custGeom>
                  <a:solidFill>
                    <a:srgbClr val="D39778"/>
                  </a:solidFill>
                  <a:ln w="305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9" name="任意多边形: 形状 88">
                    <a:extLst>
                      <a:ext uri="{FF2B5EF4-FFF2-40B4-BE49-F238E27FC236}">
                        <a16:creationId xmlns:a16="http://schemas.microsoft.com/office/drawing/2014/main" id="{6E178983-3F8B-47A4-8FA4-0202B09C7780}"/>
                      </a:ext>
                    </a:extLst>
                  </p:cNvPr>
                  <p:cNvSpPr/>
                  <p:nvPr/>
                </p:nvSpPr>
                <p:spPr>
                  <a:xfrm>
                    <a:off x="24133590" y="4501377"/>
                    <a:ext cx="1021870" cy="140736"/>
                  </a:xfrm>
                  <a:custGeom>
                    <a:avLst/>
                    <a:gdLst>
                      <a:gd name="connsiteX0" fmla="*/ 1015751 w 1021870"/>
                      <a:gd name="connsiteY0" fmla="*/ 140737 h 140736"/>
                      <a:gd name="connsiteX1" fmla="*/ 1015751 w 1021870"/>
                      <a:gd name="connsiteY1" fmla="*/ 140737 h 140736"/>
                      <a:gd name="connsiteX2" fmla="*/ 6119 w 1021870"/>
                      <a:gd name="connsiteY2" fmla="*/ 12238 h 140736"/>
                      <a:gd name="connsiteX3" fmla="*/ 0 w 1021870"/>
                      <a:gd name="connsiteY3" fmla="*/ 6119 h 140736"/>
                      <a:gd name="connsiteX4" fmla="*/ 6119 w 1021870"/>
                      <a:gd name="connsiteY4" fmla="*/ 0 h 140736"/>
                      <a:gd name="connsiteX5" fmla="*/ 1015751 w 1021870"/>
                      <a:gd name="connsiteY5" fmla="*/ 128498 h 140736"/>
                      <a:gd name="connsiteX6" fmla="*/ 1021870 w 1021870"/>
                      <a:gd name="connsiteY6" fmla="*/ 134618 h 140736"/>
                      <a:gd name="connsiteX7" fmla="*/ 1015751 w 1021870"/>
                      <a:gd name="connsiteY7" fmla="*/ 140737 h 1407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21870" h="140736">
                        <a:moveTo>
                          <a:pt x="1015751" y="140737"/>
                        </a:moveTo>
                        <a:cubicBezTo>
                          <a:pt x="1015751" y="140737"/>
                          <a:pt x="1015751" y="140737"/>
                          <a:pt x="1015751" y="140737"/>
                        </a:cubicBezTo>
                        <a:lnTo>
                          <a:pt x="6119" y="12238"/>
                        </a:lnTo>
                        <a:cubicBezTo>
                          <a:pt x="3061" y="12238"/>
                          <a:pt x="0" y="9179"/>
                          <a:pt x="0" y="6119"/>
                        </a:cubicBezTo>
                        <a:cubicBezTo>
                          <a:pt x="0" y="3059"/>
                          <a:pt x="3061" y="0"/>
                          <a:pt x="6119" y="0"/>
                        </a:cubicBezTo>
                        <a:lnTo>
                          <a:pt x="1015751" y="128498"/>
                        </a:lnTo>
                        <a:cubicBezTo>
                          <a:pt x="1018810" y="128498"/>
                          <a:pt x="1021870" y="131558"/>
                          <a:pt x="1021870" y="134618"/>
                        </a:cubicBezTo>
                        <a:cubicBezTo>
                          <a:pt x="1021870" y="137677"/>
                          <a:pt x="1018810" y="140737"/>
                          <a:pt x="1015751" y="140737"/>
                        </a:cubicBezTo>
                        <a:close/>
                      </a:path>
                    </a:pathLst>
                  </a:custGeom>
                  <a:solidFill>
                    <a:srgbClr val="38343B"/>
                  </a:solidFill>
                  <a:ln w="305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0" name="任意多边形: 形状 89">
                    <a:extLst>
                      <a:ext uri="{FF2B5EF4-FFF2-40B4-BE49-F238E27FC236}">
                        <a16:creationId xmlns:a16="http://schemas.microsoft.com/office/drawing/2014/main" id="{947718D6-2326-48B9-8B90-9D604BC8A830}"/>
                      </a:ext>
                    </a:extLst>
                  </p:cNvPr>
                  <p:cNvSpPr/>
                  <p:nvPr/>
                </p:nvSpPr>
                <p:spPr>
                  <a:xfrm>
                    <a:off x="24096876" y="4305569"/>
                    <a:ext cx="70369" cy="468102"/>
                  </a:xfrm>
                  <a:custGeom>
                    <a:avLst/>
                    <a:gdLst>
                      <a:gd name="connsiteX0" fmla="*/ 6119 w 70369"/>
                      <a:gd name="connsiteY0" fmla="*/ 468102 h 468102"/>
                      <a:gd name="connsiteX1" fmla="*/ 6119 w 70369"/>
                      <a:gd name="connsiteY1" fmla="*/ 468102 h 468102"/>
                      <a:gd name="connsiteX2" fmla="*/ 0 w 70369"/>
                      <a:gd name="connsiteY2" fmla="*/ 461983 h 468102"/>
                      <a:gd name="connsiteX3" fmla="*/ 58131 w 70369"/>
                      <a:gd name="connsiteY3" fmla="*/ 6119 h 468102"/>
                      <a:gd name="connsiteX4" fmla="*/ 64250 w 70369"/>
                      <a:gd name="connsiteY4" fmla="*/ 0 h 468102"/>
                      <a:gd name="connsiteX5" fmla="*/ 70370 w 70369"/>
                      <a:gd name="connsiteY5" fmla="*/ 6119 h 468102"/>
                      <a:gd name="connsiteX6" fmla="*/ 12239 w 70369"/>
                      <a:gd name="connsiteY6" fmla="*/ 461983 h 468102"/>
                      <a:gd name="connsiteX7" fmla="*/ 6119 w 70369"/>
                      <a:gd name="connsiteY7" fmla="*/ 468102 h 4681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0369" h="468102">
                        <a:moveTo>
                          <a:pt x="6119" y="468102"/>
                        </a:moveTo>
                        <a:cubicBezTo>
                          <a:pt x="6119" y="468102"/>
                          <a:pt x="6119" y="468102"/>
                          <a:pt x="6119" y="468102"/>
                        </a:cubicBezTo>
                        <a:cubicBezTo>
                          <a:pt x="3061" y="468102"/>
                          <a:pt x="0" y="465043"/>
                          <a:pt x="0" y="461983"/>
                        </a:cubicBezTo>
                        <a:lnTo>
                          <a:pt x="58131" y="6119"/>
                        </a:lnTo>
                        <a:cubicBezTo>
                          <a:pt x="58131" y="3059"/>
                          <a:pt x="61190" y="0"/>
                          <a:pt x="64250" y="0"/>
                        </a:cubicBezTo>
                        <a:cubicBezTo>
                          <a:pt x="67309" y="0"/>
                          <a:pt x="70370" y="3059"/>
                          <a:pt x="70370" y="6119"/>
                        </a:cubicBezTo>
                        <a:lnTo>
                          <a:pt x="12239" y="461983"/>
                        </a:lnTo>
                        <a:cubicBezTo>
                          <a:pt x="12239" y="465043"/>
                          <a:pt x="9180" y="468102"/>
                          <a:pt x="6119" y="468102"/>
                        </a:cubicBezTo>
                        <a:close/>
                      </a:path>
                    </a:pathLst>
                  </a:custGeom>
                  <a:solidFill>
                    <a:srgbClr val="38343B"/>
                  </a:solidFill>
                  <a:ln w="305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84" name="任意多边形: 形状 83">
                  <a:extLst>
                    <a:ext uri="{FF2B5EF4-FFF2-40B4-BE49-F238E27FC236}">
                      <a16:creationId xmlns:a16="http://schemas.microsoft.com/office/drawing/2014/main" id="{4B24DA7E-5696-49A5-9019-A67190280246}"/>
                    </a:ext>
                  </a:extLst>
                </p:cNvPr>
                <p:cNvSpPr/>
                <p:nvPr/>
              </p:nvSpPr>
              <p:spPr>
                <a:xfrm>
                  <a:off x="24301862" y="4443246"/>
                  <a:ext cx="146855" cy="186628"/>
                </a:xfrm>
                <a:custGeom>
                  <a:avLst/>
                  <a:gdLst>
                    <a:gd name="connsiteX0" fmla="*/ 107082 w 146855"/>
                    <a:gd name="connsiteY0" fmla="*/ 186629 h 186628"/>
                    <a:gd name="connsiteX1" fmla="*/ 18358 w 146855"/>
                    <a:gd name="connsiteY1" fmla="*/ 174391 h 186628"/>
                    <a:gd name="connsiteX2" fmla="*/ 0 w 146855"/>
                    <a:gd name="connsiteY2" fmla="*/ 152975 h 186628"/>
                    <a:gd name="connsiteX3" fmla="*/ 18358 w 146855"/>
                    <a:gd name="connsiteY3" fmla="*/ 18357 h 186628"/>
                    <a:gd name="connsiteX4" fmla="*/ 39773 w 146855"/>
                    <a:gd name="connsiteY4" fmla="*/ 0 h 186628"/>
                    <a:gd name="connsiteX5" fmla="*/ 128499 w 146855"/>
                    <a:gd name="connsiteY5" fmla="*/ 12238 h 186628"/>
                    <a:gd name="connsiteX6" fmla="*/ 146855 w 146855"/>
                    <a:gd name="connsiteY6" fmla="*/ 33654 h 186628"/>
                    <a:gd name="connsiteX7" fmla="*/ 128499 w 146855"/>
                    <a:gd name="connsiteY7" fmla="*/ 168272 h 186628"/>
                    <a:gd name="connsiteX8" fmla="*/ 107082 w 146855"/>
                    <a:gd name="connsiteY8" fmla="*/ 186629 h 186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46855" h="186628">
                      <a:moveTo>
                        <a:pt x="107082" y="186629"/>
                      </a:moveTo>
                      <a:lnTo>
                        <a:pt x="18358" y="174391"/>
                      </a:lnTo>
                      <a:cubicBezTo>
                        <a:pt x="6119" y="174391"/>
                        <a:pt x="0" y="162153"/>
                        <a:pt x="0" y="152975"/>
                      </a:cubicBezTo>
                      <a:lnTo>
                        <a:pt x="18358" y="18357"/>
                      </a:lnTo>
                      <a:cubicBezTo>
                        <a:pt x="18358" y="6119"/>
                        <a:pt x="30595" y="0"/>
                        <a:pt x="39773" y="0"/>
                      </a:cubicBezTo>
                      <a:lnTo>
                        <a:pt x="128499" y="12238"/>
                      </a:lnTo>
                      <a:cubicBezTo>
                        <a:pt x="140738" y="12238"/>
                        <a:pt x="146855" y="24476"/>
                        <a:pt x="146855" y="33654"/>
                      </a:cubicBezTo>
                      <a:lnTo>
                        <a:pt x="128499" y="168272"/>
                      </a:lnTo>
                      <a:cubicBezTo>
                        <a:pt x="128499" y="180510"/>
                        <a:pt x="116260" y="186629"/>
                        <a:pt x="107082" y="186629"/>
                      </a:cubicBezTo>
                      <a:close/>
                    </a:path>
                  </a:pathLst>
                </a:custGeom>
                <a:solidFill>
                  <a:srgbClr val="F1DDB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: 形状 84">
                  <a:extLst>
                    <a:ext uri="{FF2B5EF4-FFF2-40B4-BE49-F238E27FC236}">
                      <a16:creationId xmlns:a16="http://schemas.microsoft.com/office/drawing/2014/main" id="{35CBC89B-C3CB-46AD-9358-427FDCE6ADF1}"/>
                    </a:ext>
                  </a:extLst>
                </p:cNvPr>
                <p:cNvSpPr/>
                <p:nvPr/>
              </p:nvSpPr>
              <p:spPr>
                <a:xfrm>
                  <a:off x="24861748" y="4516674"/>
                  <a:ext cx="146857" cy="186628"/>
                </a:xfrm>
                <a:custGeom>
                  <a:avLst/>
                  <a:gdLst>
                    <a:gd name="connsiteX0" fmla="*/ 107082 w 146857"/>
                    <a:gd name="connsiteY0" fmla="*/ 186629 h 186628"/>
                    <a:gd name="connsiteX1" fmla="*/ 18358 w 146857"/>
                    <a:gd name="connsiteY1" fmla="*/ 174391 h 186628"/>
                    <a:gd name="connsiteX2" fmla="*/ 0 w 146857"/>
                    <a:gd name="connsiteY2" fmla="*/ 152975 h 186628"/>
                    <a:gd name="connsiteX3" fmla="*/ 18358 w 146857"/>
                    <a:gd name="connsiteY3" fmla="*/ 18357 h 186628"/>
                    <a:gd name="connsiteX4" fmla="*/ 39775 w 146857"/>
                    <a:gd name="connsiteY4" fmla="*/ 0 h 186628"/>
                    <a:gd name="connsiteX5" fmla="*/ 128499 w 146857"/>
                    <a:gd name="connsiteY5" fmla="*/ 12238 h 186628"/>
                    <a:gd name="connsiteX6" fmla="*/ 146857 w 146857"/>
                    <a:gd name="connsiteY6" fmla="*/ 33654 h 186628"/>
                    <a:gd name="connsiteX7" fmla="*/ 128499 w 146857"/>
                    <a:gd name="connsiteY7" fmla="*/ 168272 h 186628"/>
                    <a:gd name="connsiteX8" fmla="*/ 107082 w 146857"/>
                    <a:gd name="connsiteY8" fmla="*/ 186629 h 186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46857" h="186628">
                      <a:moveTo>
                        <a:pt x="107082" y="186629"/>
                      </a:moveTo>
                      <a:lnTo>
                        <a:pt x="18358" y="174391"/>
                      </a:lnTo>
                      <a:cubicBezTo>
                        <a:pt x="6119" y="174391"/>
                        <a:pt x="0" y="162153"/>
                        <a:pt x="0" y="152975"/>
                      </a:cubicBezTo>
                      <a:lnTo>
                        <a:pt x="18358" y="18357"/>
                      </a:lnTo>
                      <a:cubicBezTo>
                        <a:pt x="18358" y="9179"/>
                        <a:pt x="30595" y="0"/>
                        <a:pt x="39775" y="0"/>
                      </a:cubicBezTo>
                      <a:lnTo>
                        <a:pt x="128499" y="12238"/>
                      </a:lnTo>
                      <a:cubicBezTo>
                        <a:pt x="140738" y="12238"/>
                        <a:pt x="146857" y="24476"/>
                        <a:pt x="146857" y="33654"/>
                      </a:cubicBezTo>
                      <a:lnTo>
                        <a:pt x="128499" y="168272"/>
                      </a:lnTo>
                      <a:cubicBezTo>
                        <a:pt x="128499" y="177451"/>
                        <a:pt x="119321" y="186629"/>
                        <a:pt x="107082" y="186629"/>
                      </a:cubicBezTo>
                      <a:close/>
                    </a:path>
                  </a:pathLst>
                </a:custGeom>
                <a:solidFill>
                  <a:srgbClr val="F1DDB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74" name="图形 892">
                <a:extLst>
                  <a:ext uri="{FF2B5EF4-FFF2-40B4-BE49-F238E27FC236}">
                    <a16:creationId xmlns:a16="http://schemas.microsoft.com/office/drawing/2014/main" id="{F3F5F729-3DCF-4894-B146-456E93A6ABF9}"/>
                  </a:ext>
                </a:extLst>
              </p:cNvPr>
              <p:cNvGrpSpPr/>
              <p:nvPr/>
            </p:nvGrpSpPr>
            <p:grpSpPr>
              <a:xfrm>
                <a:off x="24573343" y="3974814"/>
                <a:ext cx="305381" cy="313149"/>
                <a:chOff x="24573343" y="3974814"/>
                <a:chExt cx="305381" cy="313149"/>
              </a:xfrm>
            </p:grpSpPr>
            <p:sp>
              <p:nvSpPr>
                <p:cNvPr id="80" name="任意多边形: 形状 79">
                  <a:extLst>
                    <a:ext uri="{FF2B5EF4-FFF2-40B4-BE49-F238E27FC236}">
                      <a16:creationId xmlns:a16="http://schemas.microsoft.com/office/drawing/2014/main" id="{68662930-67EC-474B-B150-EC3F82227BE7}"/>
                    </a:ext>
                  </a:extLst>
                </p:cNvPr>
                <p:cNvSpPr/>
                <p:nvPr/>
              </p:nvSpPr>
              <p:spPr>
                <a:xfrm>
                  <a:off x="24576073" y="3974814"/>
                  <a:ext cx="302651" cy="313149"/>
                </a:xfrm>
                <a:custGeom>
                  <a:avLst/>
                  <a:gdLst>
                    <a:gd name="connsiteX0" fmla="*/ 288736 w 302651"/>
                    <a:gd name="connsiteY0" fmla="*/ 49282 h 313149"/>
                    <a:gd name="connsiteX1" fmla="*/ 154117 w 302651"/>
                    <a:gd name="connsiteY1" fmla="*/ 330 h 313149"/>
                    <a:gd name="connsiteX2" fmla="*/ 19501 w 302651"/>
                    <a:gd name="connsiteY2" fmla="*/ 193078 h 313149"/>
                    <a:gd name="connsiteX3" fmla="*/ 13382 w 302651"/>
                    <a:gd name="connsiteY3" fmla="*/ 260387 h 313149"/>
                    <a:gd name="connsiteX4" fmla="*/ 53155 w 302651"/>
                    <a:gd name="connsiteY4" fmla="*/ 266506 h 313149"/>
                    <a:gd name="connsiteX5" fmla="*/ 108225 w 302651"/>
                    <a:gd name="connsiteY5" fmla="*/ 290982 h 313149"/>
                    <a:gd name="connsiteX6" fmla="*/ 135761 w 302651"/>
                    <a:gd name="connsiteY6" fmla="*/ 312398 h 313149"/>
                    <a:gd name="connsiteX7" fmla="*/ 175534 w 302651"/>
                    <a:gd name="connsiteY7" fmla="*/ 290982 h 313149"/>
                    <a:gd name="connsiteX8" fmla="*/ 233665 w 302651"/>
                    <a:gd name="connsiteY8" fmla="*/ 290982 h 313149"/>
                    <a:gd name="connsiteX9" fmla="*/ 255080 w 302651"/>
                    <a:gd name="connsiteY9" fmla="*/ 205316 h 313149"/>
                    <a:gd name="connsiteX10" fmla="*/ 297914 w 302651"/>
                    <a:gd name="connsiteY10" fmla="*/ 107412 h 313149"/>
                    <a:gd name="connsiteX11" fmla="*/ 288736 w 302651"/>
                    <a:gd name="connsiteY11" fmla="*/ 49282 h 31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02651" h="313149">
                      <a:moveTo>
                        <a:pt x="288736" y="49282"/>
                      </a:moveTo>
                      <a:cubicBezTo>
                        <a:pt x="258141" y="15628"/>
                        <a:pt x="154117" y="-2730"/>
                        <a:pt x="154117" y="330"/>
                      </a:cubicBezTo>
                      <a:cubicBezTo>
                        <a:pt x="102106" y="82936"/>
                        <a:pt x="59274" y="104353"/>
                        <a:pt x="19501" y="193078"/>
                      </a:cubicBezTo>
                      <a:cubicBezTo>
                        <a:pt x="13382" y="208375"/>
                        <a:pt x="-17213" y="235911"/>
                        <a:pt x="13382" y="260387"/>
                      </a:cubicBezTo>
                      <a:cubicBezTo>
                        <a:pt x="22560" y="266506"/>
                        <a:pt x="37857" y="278744"/>
                        <a:pt x="53155" y="266506"/>
                      </a:cubicBezTo>
                      <a:cubicBezTo>
                        <a:pt x="56213" y="290982"/>
                        <a:pt x="99047" y="306279"/>
                        <a:pt x="108225" y="290982"/>
                      </a:cubicBezTo>
                      <a:cubicBezTo>
                        <a:pt x="111286" y="297101"/>
                        <a:pt x="126583" y="309339"/>
                        <a:pt x="135761" y="312398"/>
                      </a:cubicBezTo>
                      <a:cubicBezTo>
                        <a:pt x="157178" y="315457"/>
                        <a:pt x="166356" y="309339"/>
                        <a:pt x="175534" y="290982"/>
                      </a:cubicBezTo>
                      <a:cubicBezTo>
                        <a:pt x="190832" y="309339"/>
                        <a:pt x="218368" y="315457"/>
                        <a:pt x="233665" y="290982"/>
                      </a:cubicBezTo>
                      <a:cubicBezTo>
                        <a:pt x="252021" y="260387"/>
                        <a:pt x="242843" y="238970"/>
                        <a:pt x="255080" y="205316"/>
                      </a:cubicBezTo>
                      <a:cubicBezTo>
                        <a:pt x="267319" y="171662"/>
                        <a:pt x="285675" y="138007"/>
                        <a:pt x="297914" y="107412"/>
                      </a:cubicBezTo>
                      <a:cubicBezTo>
                        <a:pt x="304033" y="76817"/>
                        <a:pt x="307092" y="70698"/>
                        <a:pt x="288736" y="49282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1" name="任意多边形: 形状 80">
                  <a:extLst>
                    <a:ext uri="{FF2B5EF4-FFF2-40B4-BE49-F238E27FC236}">
                      <a16:creationId xmlns:a16="http://schemas.microsoft.com/office/drawing/2014/main" id="{ACAEB31C-4CDD-4606-BEC6-FAA7F38C0871}"/>
                    </a:ext>
                  </a:extLst>
                </p:cNvPr>
                <p:cNvSpPr/>
                <p:nvPr/>
              </p:nvSpPr>
              <p:spPr>
                <a:xfrm>
                  <a:off x="24573343" y="4086051"/>
                  <a:ext cx="85714" cy="161387"/>
                </a:xfrm>
                <a:custGeom>
                  <a:avLst/>
                  <a:gdLst>
                    <a:gd name="connsiteX0" fmla="*/ 43646 w 85714"/>
                    <a:gd name="connsiteY0" fmla="*/ 161388 h 161387"/>
                    <a:gd name="connsiteX1" fmla="*/ 9992 w 85714"/>
                    <a:gd name="connsiteY1" fmla="*/ 152210 h 161387"/>
                    <a:gd name="connsiteX2" fmla="*/ 814 w 85714"/>
                    <a:gd name="connsiteY2" fmla="*/ 124674 h 161387"/>
                    <a:gd name="connsiteX3" fmla="*/ 74241 w 85714"/>
                    <a:gd name="connsiteY3" fmla="*/ 2295 h 161387"/>
                    <a:gd name="connsiteX4" fmla="*/ 83421 w 85714"/>
                    <a:gd name="connsiteY4" fmla="*/ 2295 h 161387"/>
                    <a:gd name="connsiteX5" fmla="*/ 83421 w 85714"/>
                    <a:gd name="connsiteY5" fmla="*/ 11473 h 161387"/>
                    <a:gd name="connsiteX6" fmla="*/ 13051 w 85714"/>
                    <a:gd name="connsiteY6" fmla="*/ 127734 h 161387"/>
                    <a:gd name="connsiteX7" fmla="*/ 19170 w 85714"/>
                    <a:gd name="connsiteY7" fmla="*/ 146091 h 161387"/>
                    <a:gd name="connsiteX8" fmla="*/ 58943 w 85714"/>
                    <a:gd name="connsiteY8" fmla="*/ 152210 h 161387"/>
                    <a:gd name="connsiteX9" fmla="*/ 65063 w 85714"/>
                    <a:gd name="connsiteY9" fmla="*/ 155269 h 161387"/>
                    <a:gd name="connsiteX10" fmla="*/ 62004 w 85714"/>
                    <a:gd name="connsiteY10" fmla="*/ 161388 h 161387"/>
                    <a:gd name="connsiteX11" fmla="*/ 43646 w 85714"/>
                    <a:gd name="connsiteY11" fmla="*/ 161388 h 161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85714" h="161387">
                      <a:moveTo>
                        <a:pt x="43646" y="161388"/>
                      </a:moveTo>
                      <a:cubicBezTo>
                        <a:pt x="34468" y="161388"/>
                        <a:pt x="19170" y="158329"/>
                        <a:pt x="9992" y="152210"/>
                      </a:cubicBezTo>
                      <a:cubicBezTo>
                        <a:pt x="3873" y="146091"/>
                        <a:pt x="-2246" y="136912"/>
                        <a:pt x="814" y="124674"/>
                      </a:cubicBezTo>
                      <a:cubicBezTo>
                        <a:pt x="3873" y="75722"/>
                        <a:pt x="71182" y="5354"/>
                        <a:pt x="74241" y="2295"/>
                      </a:cubicBezTo>
                      <a:cubicBezTo>
                        <a:pt x="77302" y="-765"/>
                        <a:pt x="80360" y="-765"/>
                        <a:pt x="83421" y="2295"/>
                      </a:cubicBezTo>
                      <a:cubicBezTo>
                        <a:pt x="86480" y="5354"/>
                        <a:pt x="86480" y="8413"/>
                        <a:pt x="83421" y="11473"/>
                      </a:cubicBezTo>
                      <a:cubicBezTo>
                        <a:pt x="83421" y="11473"/>
                        <a:pt x="16112" y="81841"/>
                        <a:pt x="13051" y="127734"/>
                      </a:cubicBezTo>
                      <a:cubicBezTo>
                        <a:pt x="13051" y="136912"/>
                        <a:pt x="16112" y="143031"/>
                        <a:pt x="19170" y="146091"/>
                      </a:cubicBezTo>
                      <a:cubicBezTo>
                        <a:pt x="31409" y="158329"/>
                        <a:pt x="58943" y="152210"/>
                        <a:pt x="58943" y="152210"/>
                      </a:cubicBezTo>
                      <a:cubicBezTo>
                        <a:pt x="62004" y="152210"/>
                        <a:pt x="65063" y="152210"/>
                        <a:pt x="65063" y="155269"/>
                      </a:cubicBezTo>
                      <a:cubicBezTo>
                        <a:pt x="65063" y="158329"/>
                        <a:pt x="65063" y="161388"/>
                        <a:pt x="62004" y="161388"/>
                      </a:cubicBezTo>
                      <a:cubicBezTo>
                        <a:pt x="55885" y="161388"/>
                        <a:pt x="49765" y="161388"/>
                        <a:pt x="43646" y="161388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: 形状 81">
                  <a:extLst>
                    <a:ext uri="{FF2B5EF4-FFF2-40B4-BE49-F238E27FC236}">
                      <a16:creationId xmlns:a16="http://schemas.microsoft.com/office/drawing/2014/main" id="{464C28BC-64F7-4063-B202-9E22486DD1C6}"/>
                    </a:ext>
                  </a:extLst>
                </p:cNvPr>
                <p:cNvSpPr/>
                <p:nvPr/>
              </p:nvSpPr>
              <p:spPr>
                <a:xfrm>
                  <a:off x="24656764" y="4207666"/>
                  <a:ext cx="99169" cy="24475"/>
                </a:xfrm>
                <a:custGeom>
                  <a:avLst/>
                  <a:gdLst>
                    <a:gd name="connsiteX0" fmla="*/ 94843 w 99169"/>
                    <a:gd name="connsiteY0" fmla="*/ 24476 h 24475"/>
                    <a:gd name="connsiteX1" fmla="*/ 94843 w 99169"/>
                    <a:gd name="connsiteY1" fmla="*/ 24476 h 24475"/>
                    <a:gd name="connsiteX2" fmla="*/ 3059 w 99169"/>
                    <a:gd name="connsiteY2" fmla="*/ 9178 h 24475"/>
                    <a:gd name="connsiteX3" fmla="*/ 0 w 99169"/>
                    <a:gd name="connsiteY3" fmla="*/ 3059 h 24475"/>
                    <a:gd name="connsiteX4" fmla="*/ 6117 w 99169"/>
                    <a:gd name="connsiteY4" fmla="*/ 0 h 24475"/>
                    <a:gd name="connsiteX5" fmla="*/ 91785 w 99169"/>
                    <a:gd name="connsiteY5" fmla="*/ 12238 h 24475"/>
                    <a:gd name="connsiteX6" fmla="*/ 97902 w 99169"/>
                    <a:gd name="connsiteY6" fmla="*/ 18357 h 24475"/>
                    <a:gd name="connsiteX7" fmla="*/ 94843 w 99169"/>
                    <a:gd name="connsiteY7" fmla="*/ 24476 h 24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9169" h="24475">
                      <a:moveTo>
                        <a:pt x="94843" y="24476"/>
                      </a:moveTo>
                      <a:cubicBezTo>
                        <a:pt x="94843" y="24476"/>
                        <a:pt x="94843" y="24476"/>
                        <a:pt x="94843" y="24476"/>
                      </a:cubicBezTo>
                      <a:cubicBezTo>
                        <a:pt x="91785" y="24476"/>
                        <a:pt x="24476" y="18357"/>
                        <a:pt x="3059" y="9178"/>
                      </a:cubicBezTo>
                      <a:cubicBezTo>
                        <a:pt x="0" y="9178"/>
                        <a:pt x="0" y="3059"/>
                        <a:pt x="0" y="3059"/>
                      </a:cubicBezTo>
                      <a:cubicBezTo>
                        <a:pt x="0" y="0"/>
                        <a:pt x="3059" y="0"/>
                        <a:pt x="6117" y="0"/>
                      </a:cubicBezTo>
                      <a:cubicBezTo>
                        <a:pt x="21415" y="6119"/>
                        <a:pt x="73427" y="12238"/>
                        <a:pt x="91785" y="12238"/>
                      </a:cubicBezTo>
                      <a:cubicBezTo>
                        <a:pt x="94843" y="12238"/>
                        <a:pt x="97902" y="15297"/>
                        <a:pt x="97902" y="18357"/>
                      </a:cubicBezTo>
                      <a:cubicBezTo>
                        <a:pt x="100963" y="21416"/>
                        <a:pt x="97902" y="24476"/>
                        <a:pt x="94843" y="24476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B34ED1F5-1762-465C-8BAD-D32C247343FC}"/>
                  </a:ext>
                </a:extLst>
              </p:cNvPr>
              <p:cNvSpPr/>
              <p:nvPr/>
            </p:nvSpPr>
            <p:spPr>
              <a:xfrm>
                <a:off x="24381211" y="2723469"/>
                <a:ext cx="762023" cy="1383233"/>
              </a:xfrm>
              <a:custGeom>
                <a:avLst/>
                <a:gdLst>
                  <a:gd name="connsiteX0" fmla="*/ 33852 w 762023"/>
                  <a:gd name="connsiteY0" fmla="*/ 24820 h 1383233"/>
                  <a:gd name="connsiteX1" fmla="*/ 165410 w 762023"/>
                  <a:gd name="connsiteY1" fmla="*/ 529636 h 1383233"/>
                  <a:gd name="connsiteX2" fmla="*/ 474420 w 762023"/>
                  <a:gd name="connsiteY2" fmla="*/ 811109 h 1383233"/>
                  <a:gd name="connsiteX3" fmla="*/ 293909 w 762023"/>
                  <a:gd name="connsiteY3" fmla="*/ 1315925 h 1383233"/>
                  <a:gd name="connsiteX4" fmla="*/ 480537 w 762023"/>
                  <a:gd name="connsiteY4" fmla="*/ 1383234 h 1383233"/>
                  <a:gd name="connsiteX5" fmla="*/ 762011 w 762023"/>
                  <a:gd name="connsiteY5" fmla="*/ 734622 h 1383233"/>
                  <a:gd name="connsiteX6" fmla="*/ 33852 w 762023"/>
                  <a:gd name="connsiteY6" fmla="*/ 24820 h 1383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2023" h="1383233">
                    <a:moveTo>
                      <a:pt x="33852" y="24820"/>
                    </a:moveTo>
                    <a:cubicBezTo>
                      <a:pt x="-70171" y="113545"/>
                      <a:pt x="91983" y="419494"/>
                      <a:pt x="165410" y="529636"/>
                    </a:cubicBezTo>
                    <a:cubicBezTo>
                      <a:pt x="229660" y="627540"/>
                      <a:pt x="474420" y="811109"/>
                      <a:pt x="474420" y="811109"/>
                    </a:cubicBezTo>
                    <a:lnTo>
                      <a:pt x="293909" y="1315925"/>
                    </a:lnTo>
                    <a:lnTo>
                      <a:pt x="480537" y="1383234"/>
                    </a:lnTo>
                    <a:cubicBezTo>
                      <a:pt x="480537" y="1383234"/>
                      <a:pt x="758952" y="863120"/>
                      <a:pt x="762011" y="734622"/>
                    </a:cubicBezTo>
                    <a:cubicBezTo>
                      <a:pt x="765071" y="593885"/>
                      <a:pt x="232719" y="-143452"/>
                      <a:pt x="33852" y="2482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F5777A99-0E9C-4A52-8F41-4F2C7B0B1C64}"/>
                  </a:ext>
                </a:extLst>
              </p:cNvPr>
              <p:cNvSpPr/>
              <p:nvPr/>
            </p:nvSpPr>
            <p:spPr>
              <a:xfrm>
                <a:off x="24375254" y="2714533"/>
                <a:ext cx="207316" cy="584463"/>
              </a:xfrm>
              <a:custGeom>
                <a:avLst/>
                <a:gdLst>
                  <a:gd name="connsiteX0" fmla="*/ 198904 w 207316"/>
                  <a:gd name="connsiteY0" fmla="*/ 581404 h 584463"/>
                  <a:gd name="connsiteX1" fmla="*/ 195843 w 207316"/>
                  <a:gd name="connsiteY1" fmla="*/ 578345 h 584463"/>
                  <a:gd name="connsiteX2" fmla="*/ 37 w 207316"/>
                  <a:gd name="connsiteY2" fmla="*/ 177552 h 584463"/>
                  <a:gd name="connsiteX3" fmla="*/ 52048 w 207316"/>
                  <a:gd name="connsiteY3" fmla="*/ 24577 h 584463"/>
                  <a:gd name="connsiteX4" fmla="*/ 119356 w 207316"/>
                  <a:gd name="connsiteY4" fmla="*/ 101 h 584463"/>
                  <a:gd name="connsiteX5" fmla="*/ 125475 w 207316"/>
                  <a:gd name="connsiteY5" fmla="*/ 6220 h 584463"/>
                  <a:gd name="connsiteX6" fmla="*/ 119356 w 207316"/>
                  <a:gd name="connsiteY6" fmla="*/ 12339 h 584463"/>
                  <a:gd name="connsiteX7" fmla="*/ 61226 w 207316"/>
                  <a:gd name="connsiteY7" fmla="*/ 33756 h 584463"/>
                  <a:gd name="connsiteX8" fmla="*/ 12273 w 207316"/>
                  <a:gd name="connsiteY8" fmla="*/ 180611 h 584463"/>
                  <a:gd name="connsiteX9" fmla="*/ 205023 w 207316"/>
                  <a:gd name="connsiteY9" fmla="*/ 575285 h 584463"/>
                  <a:gd name="connsiteX10" fmla="*/ 205023 w 207316"/>
                  <a:gd name="connsiteY10" fmla="*/ 584464 h 584463"/>
                  <a:gd name="connsiteX11" fmla="*/ 198904 w 207316"/>
                  <a:gd name="connsiteY11" fmla="*/ 581404 h 584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7316" h="584463">
                    <a:moveTo>
                      <a:pt x="198904" y="581404"/>
                    </a:moveTo>
                    <a:cubicBezTo>
                      <a:pt x="198904" y="581404"/>
                      <a:pt x="195843" y="581404"/>
                      <a:pt x="195843" y="578345"/>
                    </a:cubicBezTo>
                    <a:cubicBezTo>
                      <a:pt x="186665" y="569166"/>
                      <a:pt x="-3024" y="361121"/>
                      <a:pt x="37" y="177552"/>
                    </a:cubicBezTo>
                    <a:cubicBezTo>
                      <a:pt x="3095" y="104124"/>
                      <a:pt x="18393" y="52112"/>
                      <a:pt x="52048" y="24577"/>
                    </a:cubicBezTo>
                    <a:cubicBezTo>
                      <a:pt x="82643" y="-2958"/>
                      <a:pt x="116297" y="101"/>
                      <a:pt x="119356" y="101"/>
                    </a:cubicBezTo>
                    <a:cubicBezTo>
                      <a:pt x="122416" y="101"/>
                      <a:pt x="125475" y="3161"/>
                      <a:pt x="125475" y="6220"/>
                    </a:cubicBezTo>
                    <a:cubicBezTo>
                      <a:pt x="125475" y="9280"/>
                      <a:pt x="122416" y="12339"/>
                      <a:pt x="119356" y="12339"/>
                    </a:cubicBezTo>
                    <a:cubicBezTo>
                      <a:pt x="119356" y="12339"/>
                      <a:pt x="88761" y="9280"/>
                      <a:pt x="61226" y="33756"/>
                    </a:cubicBezTo>
                    <a:cubicBezTo>
                      <a:pt x="30632" y="61291"/>
                      <a:pt x="12273" y="110243"/>
                      <a:pt x="12273" y="180611"/>
                    </a:cubicBezTo>
                    <a:cubicBezTo>
                      <a:pt x="9215" y="361121"/>
                      <a:pt x="201962" y="572226"/>
                      <a:pt x="205023" y="575285"/>
                    </a:cubicBezTo>
                    <a:cubicBezTo>
                      <a:pt x="208082" y="578345"/>
                      <a:pt x="208082" y="581404"/>
                      <a:pt x="205023" y="584464"/>
                    </a:cubicBezTo>
                    <a:cubicBezTo>
                      <a:pt x="201962" y="581404"/>
                      <a:pt x="201962" y="581404"/>
                      <a:pt x="198904" y="58140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3717DF0F-B2F7-4D01-B1CC-1716E04D89BB}"/>
                  </a:ext>
                </a:extLst>
              </p:cNvPr>
              <p:cNvSpPr/>
              <p:nvPr/>
            </p:nvSpPr>
            <p:spPr>
              <a:xfrm>
                <a:off x="22482783" y="3040338"/>
                <a:ext cx="103905" cy="99565"/>
              </a:xfrm>
              <a:custGeom>
                <a:avLst/>
                <a:gdLst>
                  <a:gd name="connsiteX0" fmla="*/ 90467 w 103905"/>
                  <a:gd name="connsiteY0" fmla="*/ 99566 h 99565"/>
                  <a:gd name="connsiteX1" fmla="*/ 29277 w 103905"/>
                  <a:gd name="connsiteY1" fmla="*/ 68971 h 99565"/>
                  <a:gd name="connsiteX2" fmla="*/ 4801 w 103905"/>
                  <a:gd name="connsiteY2" fmla="*/ 13900 h 99565"/>
                  <a:gd name="connsiteX3" fmla="*/ 56813 w 103905"/>
                  <a:gd name="connsiteY3" fmla="*/ 4721 h 99565"/>
                  <a:gd name="connsiteX4" fmla="*/ 56813 w 103905"/>
                  <a:gd name="connsiteY4" fmla="*/ 4721 h 99565"/>
                  <a:gd name="connsiteX5" fmla="*/ 96586 w 103905"/>
                  <a:gd name="connsiteY5" fmla="*/ 38376 h 99565"/>
                  <a:gd name="connsiteX6" fmla="*/ 102705 w 103905"/>
                  <a:gd name="connsiteY6" fmla="*/ 87328 h 99565"/>
                  <a:gd name="connsiteX7" fmla="*/ 93527 w 103905"/>
                  <a:gd name="connsiteY7" fmla="*/ 96506 h 99565"/>
                  <a:gd name="connsiteX8" fmla="*/ 90467 w 103905"/>
                  <a:gd name="connsiteY8" fmla="*/ 99566 h 99565"/>
                  <a:gd name="connsiteX9" fmla="*/ 32337 w 103905"/>
                  <a:gd name="connsiteY9" fmla="*/ 13900 h 99565"/>
                  <a:gd name="connsiteX10" fmla="*/ 17040 w 103905"/>
                  <a:gd name="connsiteY10" fmla="*/ 20019 h 99565"/>
                  <a:gd name="connsiteX11" fmla="*/ 35396 w 103905"/>
                  <a:gd name="connsiteY11" fmla="*/ 59792 h 99565"/>
                  <a:gd name="connsiteX12" fmla="*/ 90467 w 103905"/>
                  <a:gd name="connsiteY12" fmla="*/ 87328 h 99565"/>
                  <a:gd name="connsiteX13" fmla="*/ 87408 w 103905"/>
                  <a:gd name="connsiteY13" fmla="*/ 47554 h 99565"/>
                  <a:gd name="connsiteX14" fmla="*/ 50694 w 103905"/>
                  <a:gd name="connsiteY14" fmla="*/ 16959 h 99565"/>
                  <a:gd name="connsiteX15" fmla="*/ 32337 w 103905"/>
                  <a:gd name="connsiteY15" fmla="*/ 13900 h 99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3905" h="99565">
                    <a:moveTo>
                      <a:pt x="90467" y="99566"/>
                    </a:moveTo>
                    <a:cubicBezTo>
                      <a:pt x="84347" y="99566"/>
                      <a:pt x="69050" y="96506"/>
                      <a:pt x="29277" y="68971"/>
                    </a:cubicBezTo>
                    <a:cubicBezTo>
                      <a:pt x="4801" y="53673"/>
                      <a:pt x="-7437" y="38376"/>
                      <a:pt x="4801" y="13900"/>
                    </a:cubicBezTo>
                    <a:cubicBezTo>
                      <a:pt x="17040" y="-10576"/>
                      <a:pt x="53752" y="4721"/>
                      <a:pt x="56813" y="4721"/>
                    </a:cubicBezTo>
                    <a:cubicBezTo>
                      <a:pt x="56813" y="4721"/>
                      <a:pt x="56813" y="4721"/>
                      <a:pt x="56813" y="4721"/>
                    </a:cubicBezTo>
                    <a:cubicBezTo>
                      <a:pt x="59872" y="7781"/>
                      <a:pt x="90467" y="29197"/>
                      <a:pt x="96586" y="38376"/>
                    </a:cubicBezTo>
                    <a:cubicBezTo>
                      <a:pt x="102705" y="47554"/>
                      <a:pt x="105764" y="75090"/>
                      <a:pt x="102705" y="87328"/>
                    </a:cubicBezTo>
                    <a:cubicBezTo>
                      <a:pt x="99645" y="93447"/>
                      <a:pt x="96586" y="96506"/>
                      <a:pt x="93527" y="96506"/>
                    </a:cubicBezTo>
                    <a:cubicBezTo>
                      <a:pt x="93527" y="99566"/>
                      <a:pt x="93527" y="99566"/>
                      <a:pt x="90467" y="99566"/>
                    </a:cubicBezTo>
                    <a:close/>
                    <a:moveTo>
                      <a:pt x="32337" y="13900"/>
                    </a:moveTo>
                    <a:cubicBezTo>
                      <a:pt x="26218" y="13900"/>
                      <a:pt x="20099" y="16959"/>
                      <a:pt x="17040" y="20019"/>
                    </a:cubicBezTo>
                    <a:cubicBezTo>
                      <a:pt x="7860" y="32257"/>
                      <a:pt x="10921" y="41435"/>
                      <a:pt x="35396" y="59792"/>
                    </a:cubicBezTo>
                    <a:cubicBezTo>
                      <a:pt x="69050" y="81209"/>
                      <a:pt x="87408" y="87328"/>
                      <a:pt x="90467" y="87328"/>
                    </a:cubicBezTo>
                    <a:cubicBezTo>
                      <a:pt x="93527" y="84268"/>
                      <a:pt x="93527" y="53673"/>
                      <a:pt x="87408" y="47554"/>
                    </a:cubicBezTo>
                    <a:cubicBezTo>
                      <a:pt x="81289" y="41435"/>
                      <a:pt x="59872" y="23078"/>
                      <a:pt x="50694" y="16959"/>
                    </a:cubicBezTo>
                    <a:cubicBezTo>
                      <a:pt x="47635" y="16959"/>
                      <a:pt x="41516" y="13900"/>
                      <a:pt x="32337" y="139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E473E5C7-AA63-4A68-96BF-2A6327395455}"/>
                  </a:ext>
                </a:extLst>
              </p:cNvPr>
              <p:cNvSpPr/>
              <p:nvPr/>
            </p:nvSpPr>
            <p:spPr>
              <a:xfrm>
                <a:off x="22450747" y="3072595"/>
                <a:ext cx="123703" cy="113201"/>
              </a:xfrm>
              <a:custGeom>
                <a:avLst/>
                <a:gdLst>
                  <a:gd name="connsiteX0" fmla="*/ 98027 w 123703"/>
                  <a:gd name="connsiteY0" fmla="*/ 113201 h 113201"/>
                  <a:gd name="connsiteX1" fmla="*/ 9301 w 123703"/>
                  <a:gd name="connsiteY1" fmla="*/ 61190 h 113201"/>
                  <a:gd name="connsiteX2" fmla="*/ 3184 w 123703"/>
                  <a:gd name="connsiteY2" fmla="*/ 24476 h 113201"/>
                  <a:gd name="connsiteX3" fmla="*/ 36838 w 123703"/>
                  <a:gd name="connsiteY3" fmla="*/ 0 h 113201"/>
                  <a:gd name="connsiteX4" fmla="*/ 42957 w 123703"/>
                  <a:gd name="connsiteY4" fmla="*/ 3060 h 113201"/>
                  <a:gd name="connsiteX5" fmla="*/ 39896 w 123703"/>
                  <a:gd name="connsiteY5" fmla="*/ 9178 h 113201"/>
                  <a:gd name="connsiteX6" fmla="*/ 15421 w 123703"/>
                  <a:gd name="connsiteY6" fmla="*/ 27535 h 113201"/>
                  <a:gd name="connsiteX7" fmla="*/ 21540 w 123703"/>
                  <a:gd name="connsiteY7" fmla="*/ 52011 h 113201"/>
                  <a:gd name="connsiteX8" fmla="*/ 104147 w 123703"/>
                  <a:gd name="connsiteY8" fmla="*/ 97904 h 113201"/>
                  <a:gd name="connsiteX9" fmla="*/ 110266 w 123703"/>
                  <a:gd name="connsiteY9" fmla="*/ 82606 h 113201"/>
                  <a:gd name="connsiteX10" fmla="*/ 107206 w 123703"/>
                  <a:gd name="connsiteY10" fmla="*/ 61190 h 113201"/>
                  <a:gd name="connsiteX11" fmla="*/ 107206 w 123703"/>
                  <a:gd name="connsiteY11" fmla="*/ 52011 h 113201"/>
                  <a:gd name="connsiteX12" fmla="*/ 116384 w 123703"/>
                  <a:gd name="connsiteY12" fmla="*/ 52011 h 113201"/>
                  <a:gd name="connsiteX13" fmla="*/ 122503 w 123703"/>
                  <a:gd name="connsiteY13" fmla="*/ 82606 h 113201"/>
                  <a:gd name="connsiteX14" fmla="*/ 110266 w 123703"/>
                  <a:gd name="connsiteY14" fmla="*/ 107082 h 113201"/>
                  <a:gd name="connsiteX15" fmla="*/ 98027 w 123703"/>
                  <a:gd name="connsiteY15" fmla="*/ 113201 h 113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3703" h="113201">
                    <a:moveTo>
                      <a:pt x="98027" y="113201"/>
                    </a:moveTo>
                    <a:cubicBezTo>
                      <a:pt x="76611" y="113201"/>
                      <a:pt x="33779" y="97904"/>
                      <a:pt x="9301" y="61190"/>
                    </a:cubicBezTo>
                    <a:cubicBezTo>
                      <a:pt x="123" y="48952"/>
                      <a:pt x="-2935" y="36714"/>
                      <a:pt x="3184" y="24476"/>
                    </a:cubicBezTo>
                    <a:cubicBezTo>
                      <a:pt x="9301" y="6119"/>
                      <a:pt x="36838" y="0"/>
                      <a:pt x="36838" y="0"/>
                    </a:cubicBezTo>
                    <a:cubicBezTo>
                      <a:pt x="39896" y="0"/>
                      <a:pt x="42957" y="0"/>
                      <a:pt x="42957" y="3060"/>
                    </a:cubicBezTo>
                    <a:cubicBezTo>
                      <a:pt x="42957" y="6119"/>
                      <a:pt x="42957" y="9178"/>
                      <a:pt x="39896" y="9178"/>
                    </a:cubicBezTo>
                    <a:cubicBezTo>
                      <a:pt x="39896" y="9178"/>
                      <a:pt x="18481" y="12238"/>
                      <a:pt x="15421" y="27535"/>
                    </a:cubicBezTo>
                    <a:cubicBezTo>
                      <a:pt x="12362" y="33654"/>
                      <a:pt x="15421" y="42833"/>
                      <a:pt x="21540" y="52011"/>
                    </a:cubicBezTo>
                    <a:cubicBezTo>
                      <a:pt x="46016" y="91785"/>
                      <a:pt x="98027" y="100963"/>
                      <a:pt x="104147" y="97904"/>
                    </a:cubicBezTo>
                    <a:cubicBezTo>
                      <a:pt x="104147" y="97904"/>
                      <a:pt x="110266" y="91785"/>
                      <a:pt x="110266" y="82606"/>
                    </a:cubicBezTo>
                    <a:cubicBezTo>
                      <a:pt x="110266" y="76487"/>
                      <a:pt x="113325" y="67309"/>
                      <a:pt x="107206" y="61190"/>
                    </a:cubicBezTo>
                    <a:cubicBezTo>
                      <a:pt x="104147" y="58130"/>
                      <a:pt x="104147" y="55071"/>
                      <a:pt x="107206" y="52011"/>
                    </a:cubicBezTo>
                    <a:cubicBezTo>
                      <a:pt x="110266" y="48952"/>
                      <a:pt x="113325" y="48952"/>
                      <a:pt x="116384" y="52011"/>
                    </a:cubicBezTo>
                    <a:cubicBezTo>
                      <a:pt x="122503" y="61190"/>
                      <a:pt x="125564" y="70368"/>
                      <a:pt x="122503" y="82606"/>
                    </a:cubicBezTo>
                    <a:cubicBezTo>
                      <a:pt x="119444" y="91785"/>
                      <a:pt x="116384" y="104023"/>
                      <a:pt x="110266" y="107082"/>
                    </a:cubicBezTo>
                    <a:cubicBezTo>
                      <a:pt x="107206" y="113201"/>
                      <a:pt x="104147" y="113201"/>
                      <a:pt x="98027" y="11320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1D450A3A-9F42-43D1-BBA2-1866AB9A5233}"/>
                  </a:ext>
                </a:extLst>
              </p:cNvPr>
              <p:cNvSpPr/>
              <p:nvPr/>
            </p:nvSpPr>
            <p:spPr>
              <a:xfrm>
                <a:off x="22446571" y="3125371"/>
                <a:ext cx="104154" cy="106317"/>
              </a:xfrm>
              <a:custGeom>
                <a:avLst/>
                <a:gdLst>
                  <a:gd name="connsiteX0" fmla="*/ 68549 w 104154"/>
                  <a:gd name="connsiteY0" fmla="*/ 106317 h 106317"/>
                  <a:gd name="connsiteX1" fmla="*/ 56311 w 104154"/>
                  <a:gd name="connsiteY1" fmla="*/ 103258 h 106317"/>
                  <a:gd name="connsiteX2" fmla="*/ 1240 w 104154"/>
                  <a:gd name="connsiteY2" fmla="*/ 45127 h 106317"/>
                  <a:gd name="connsiteX3" fmla="*/ 16538 w 104154"/>
                  <a:gd name="connsiteY3" fmla="*/ 2295 h 106317"/>
                  <a:gd name="connsiteX4" fmla="*/ 25716 w 104154"/>
                  <a:gd name="connsiteY4" fmla="*/ 2295 h 106317"/>
                  <a:gd name="connsiteX5" fmla="*/ 25716 w 104154"/>
                  <a:gd name="connsiteY5" fmla="*/ 11473 h 106317"/>
                  <a:gd name="connsiteX6" fmla="*/ 13477 w 104154"/>
                  <a:gd name="connsiteY6" fmla="*/ 39008 h 106317"/>
                  <a:gd name="connsiteX7" fmla="*/ 62430 w 104154"/>
                  <a:gd name="connsiteY7" fmla="*/ 91020 h 106317"/>
                  <a:gd name="connsiteX8" fmla="*/ 89964 w 104154"/>
                  <a:gd name="connsiteY8" fmla="*/ 81841 h 106317"/>
                  <a:gd name="connsiteX9" fmla="*/ 83847 w 104154"/>
                  <a:gd name="connsiteY9" fmla="*/ 57365 h 106317"/>
                  <a:gd name="connsiteX10" fmla="*/ 83847 w 104154"/>
                  <a:gd name="connsiteY10" fmla="*/ 48187 h 106317"/>
                  <a:gd name="connsiteX11" fmla="*/ 93025 w 104154"/>
                  <a:gd name="connsiteY11" fmla="*/ 48187 h 106317"/>
                  <a:gd name="connsiteX12" fmla="*/ 99144 w 104154"/>
                  <a:gd name="connsiteY12" fmla="*/ 87960 h 106317"/>
                  <a:gd name="connsiteX13" fmla="*/ 68549 w 104154"/>
                  <a:gd name="connsiteY13" fmla="*/ 106317 h 106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4154" h="106317">
                    <a:moveTo>
                      <a:pt x="68549" y="106317"/>
                    </a:moveTo>
                    <a:cubicBezTo>
                      <a:pt x="62430" y="106317"/>
                      <a:pt x="59369" y="106317"/>
                      <a:pt x="56311" y="103258"/>
                    </a:cubicBezTo>
                    <a:cubicBezTo>
                      <a:pt x="41013" y="94079"/>
                      <a:pt x="7360" y="60425"/>
                      <a:pt x="1240" y="45127"/>
                    </a:cubicBezTo>
                    <a:cubicBezTo>
                      <a:pt x="-4879" y="29830"/>
                      <a:pt x="13477" y="5354"/>
                      <a:pt x="16538" y="2295"/>
                    </a:cubicBezTo>
                    <a:cubicBezTo>
                      <a:pt x="19596" y="-765"/>
                      <a:pt x="22657" y="-765"/>
                      <a:pt x="25716" y="2295"/>
                    </a:cubicBezTo>
                    <a:cubicBezTo>
                      <a:pt x="28774" y="5354"/>
                      <a:pt x="28774" y="8414"/>
                      <a:pt x="25716" y="11473"/>
                    </a:cubicBezTo>
                    <a:cubicBezTo>
                      <a:pt x="19596" y="17592"/>
                      <a:pt x="10418" y="32889"/>
                      <a:pt x="13477" y="39008"/>
                    </a:cubicBezTo>
                    <a:cubicBezTo>
                      <a:pt x="19596" y="51246"/>
                      <a:pt x="47133" y="81841"/>
                      <a:pt x="62430" y="91020"/>
                    </a:cubicBezTo>
                    <a:cubicBezTo>
                      <a:pt x="68549" y="94079"/>
                      <a:pt x="83847" y="91020"/>
                      <a:pt x="89964" y="81841"/>
                    </a:cubicBezTo>
                    <a:cubicBezTo>
                      <a:pt x="96084" y="75722"/>
                      <a:pt x="93025" y="66544"/>
                      <a:pt x="83847" y="57365"/>
                    </a:cubicBezTo>
                    <a:cubicBezTo>
                      <a:pt x="80786" y="54306"/>
                      <a:pt x="80786" y="51246"/>
                      <a:pt x="83847" y="48187"/>
                    </a:cubicBezTo>
                    <a:cubicBezTo>
                      <a:pt x="86906" y="45127"/>
                      <a:pt x="89964" y="45127"/>
                      <a:pt x="93025" y="48187"/>
                    </a:cubicBezTo>
                    <a:cubicBezTo>
                      <a:pt x="111381" y="69603"/>
                      <a:pt x="102203" y="84901"/>
                      <a:pt x="99144" y="87960"/>
                    </a:cubicBezTo>
                    <a:cubicBezTo>
                      <a:pt x="89964" y="100198"/>
                      <a:pt x="77727" y="106317"/>
                      <a:pt x="68549" y="10631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4328336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00A01A28-0F0D-489B-828E-AB674F9C430D}"/>
              </a:ext>
            </a:extLst>
          </p:cNvPr>
          <p:cNvGrpSpPr/>
          <p:nvPr/>
        </p:nvGrpSpPr>
        <p:grpSpPr>
          <a:xfrm>
            <a:off x="1774175" y="1972028"/>
            <a:ext cx="5169724" cy="4885972"/>
            <a:chOff x="17711651" y="7635035"/>
            <a:chExt cx="5169724" cy="4885972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AB8554FA-4291-4284-92D2-D02F730A10D2}"/>
                </a:ext>
              </a:extLst>
            </p:cNvPr>
            <p:cNvSpPr/>
            <p:nvPr/>
          </p:nvSpPr>
          <p:spPr>
            <a:xfrm>
              <a:off x="20039125" y="8734974"/>
              <a:ext cx="844692" cy="785134"/>
            </a:xfrm>
            <a:custGeom>
              <a:avLst/>
              <a:gdLst>
                <a:gd name="connsiteX0" fmla="*/ 416313 w 844692"/>
                <a:gd name="connsiteY0" fmla="*/ 0 h 785134"/>
                <a:gd name="connsiteX1" fmla="*/ 479666 w 844692"/>
                <a:gd name="connsiteY1" fmla="*/ 600336 h 785134"/>
                <a:gd name="connsiteX2" fmla="*/ 844693 w 844692"/>
                <a:gd name="connsiteY2" fmla="*/ 624470 h 785134"/>
                <a:gd name="connsiteX3" fmla="*/ 787375 w 844692"/>
                <a:gd name="connsiteY3" fmla="*/ 730056 h 785134"/>
                <a:gd name="connsiteX4" fmla="*/ 289610 w 844692"/>
                <a:gd name="connsiteY4" fmla="*/ 739106 h 785134"/>
                <a:gd name="connsiteX5" fmla="*/ 0 w 844692"/>
                <a:gd name="connsiteY5" fmla="*/ 84469 h 785134"/>
                <a:gd name="connsiteX6" fmla="*/ 416313 w 844692"/>
                <a:gd name="connsiteY6" fmla="*/ 0 h 785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4692" h="785134">
                  <a:moveTo>
                    <a:pt x="416313" y="0"/>
                  </a:moveTo>
                  <a:lnTo>
                    <a:pt x="479666" y="600336"/>
                  </a:lnTo>
                  <a:lnTo>
                    <a:pt x="844693" y="624470"/>
                  </a:lnTo>
                  <a:lnTo>
                    <a:pt x="787375" y="730056"/>
                  </a:lnTo>
                  <a:cubicBezTo>
                    <a:pt x="787375" y="730056"/>
                    <a:pt x="352961" y="847710"/>
                    <a:pt x="289610" y="739106"/>
                  </a:cubicBezTo>
                  <a:cubicBezTo>
                    <a:pt x="214191" y="603352"/>
                    <a:pt x="0" y="84469"/>
                    <a:pt x="0" y="84469"/>
                  </a:cubicBezTo>
                  <a:lnTo>
                    <a:pt x="416313" y="0"/>
                  </a:ln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C549A51C-1F4E-484F-A591-0E0137D698C2}"/>
                </a:ext>
              </a:extLst>
            </p:cNvPr>
            <p:cNvSpPr/>
            <p:nvPr/>
          </p:nvSpPr>
          <p:spPr>
            <a:xfrm>
              <a:off x="20774247" y="9353410"/>
              <a:ext cx="275563" cy="196650"/>
            </a:xfrm>
            <a:custGeom>
              <a:avLst/>
              <a:gdLst>
                <a:gd name="connsiteX0" fmla="*/ 22086 w 275563"/>
                <a:gd name="connsiteY0" fmla="*/ 36201 h 196650"/>
                <a:gd name="connsiteX1" fmla="*/ 28118 w 275563"/>
                <a:gd name="connsiteY1" fmla="*/ 36201 h 196650"/>
                <a:gd name="connsiteX2" fmla="*/ 55270 w 275563"/>
                <a:gd name="connsiteY2" fmla="*/ 12067 h 196650"/>
                <a:gd name="connsiteX3" fmla="*/ 79403 w 275563"/>
                <a:gd name="connsiteY3" fmla="*/ 0 h 196650"/>
                <a:gd name="connsiteX4" fmla="*/ 203092 w 275563"/>
                <a:gd name="connsiteY4" fmla="*/ 45251 h 196650"/>
                <a:gd name="connsiteX5" fmla="*/ 269459 w 275563"/>
                <a:gd name="connsiteY5" fmla="*/ 111620 h 196650"/>
                <a:gd name="connsiteX6" fmla="*/ 248343 w 275563"/>
                <a:gd name="connsiteY6" fmla="*/ 162905 h 196650"/>
                <a:gd name="connsiteX7" fmla="*/ 197058 w 275563"/>
                <a:gd name="connsiteY7" fmla="*/ 184023 h 196650"/>
                <a:gd name="connsiteX8" fmla="*/ 188008 w 275563"/>
                <a:gd name="connsiteY8" fmla="*/ 168939 h 196650"/>
                <a:gd name="connsiteX9" fmla="*/ 139739 w 275563"/>
                <a:gd name="connsiteY9" fmla="*/ 162905 h 196650"/>
                <a:gd name="connsiteX10" fmla="*/ 112589 w 275563"/>
                <a:gd name="connsiteY10" fmla="*/ 102570 h 196650"/>
                <a:gd name="connsiteX11" fmla="*/ 31136 w 275563"/>
                <a:gd name="connsiteY11" fmla="*/ 93520 h 196650"/>
                <a:gd name="connsiteX12" fmla="*/ 22086 w 275563"/>
                <a:gd name="connsiteY12" fmla="*/ 36201 h 196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5563" h="196650">
                  <a:moveTo>
                    <a:pt x="22086" y="36201"/>
                  </a:moveTo>
                  <a:cubicBezTo>
                    <a:pt x="25102" y="36201"/>
                    <a:pt x="28118" y="36201"/>
                    <a:pt x="28118" y="36201"/>
                  </a:cubicBezTo>
                  <a:cubicBezTo>
                    <a:pt x="31136" y="24134"/>
                    <a:pt x="40186" y="12067"/>
                    <a:pt x="55270" y="12067"/>
                  </a:cubicBezTo>
                  <a:cubicBezTo>
                    <a:pt x="61304" y="6034"/>
                    <a:pt x="67338" y="0"/>
                    <a:pt x="79403" y="0"/>
                  </a:cubicBezTo>
                  <a:cubicBezTo>
                    <a:pt x="115605" y="3017"/>
                    <a:pt x="172924" y="24134"/>
                    <a:pt x="203092" y="45251"/>
                  </a:cubicBezTo>
                  <a:cubicBezTo>
                    <a:pt x="233259" y="66369"/>
                    <a:pt x="248343" y="78436"/>
                    <a:pt x="269459" y="111620"/>
                  </a:cubicBezTo>
                  <a:cubicBezTo>
                    <a:pt x="284543" y="132737"/>
                    <a:pt x="269459" y="156872"/>
                    <a:pt x="248343" y="162905"/>
                  </a:cubicBezTo>
                  <a:cubicBezTo>
                    <a:pt x="248343" y="190056"/>
                    <a:pt x="215158" y="211173"/>
                    <a:pt x="197058" y="184023"/>
                  </a:cubicBezTo>
                  <a:cubicBezTo>
                    <a:pt x="194040" y="177989"/>
                    <a:pt x="191024" y="174973"/>
                    <a:pt x="188008" y="168939"/>
                  </a:cubicBezTo>
                  <a:cubicBezTo>
                    <a:pt x="175940" y="181006"/>
                    <a:pt x="148789" y="184023"/>
                    <a:pt x="139739" y="162905"/>
                  </a:cubicBezTo>
                  <a:cubicBezTo>
                    <a:pt x="130689" y="144805"/>
                    <a:pt x="127673" y="117653"/>
                    <a:pt x="112589" y="102570"/>
                  </a:cubicBezTo>
                  <a:cubicBezTo>
                    <a:pt x="94487" y="84469"/>
                    <a:pt x="52254" y="93520"/>
                    <a:pt x="31136" y="93520"/>
                  </a:cubicBezTo>
                  <a:cubicBezTo>
                    <a:pt x="-2049" y="99554"/>
                    <a:pt x="-14115" y="42235"/>
                    <a:pt x="22086" y="36201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3A98780C-9AEC-433A-97E2-313B3D8EB1CE}"/>
                </a:ext>
              </a:extLst>
            </p:cNvPr>
            <p:cNvSpPr/>
            <p:nvPr/>
          </p:nvSpPr>
          <p:spPr>
            <a:xfrm>
              <a:off x="20175969" y="7974751"/>
              <a:ext cx="68903" cy="146786"/>
            </a:xfrm>
            <a:custGeom>
              <a:avLst/>
              <a:gdLst>
                <a:gd name="connsiteX0" fmla="*/ 56230 w 68903"/>
                <a:gd name="connsiteY0" fmla="*/ 63352 h 146786"/>
                <a:gd name="connsiteX1" fmla="*/ 62264 w 68903"/>
                <a:gd name="connsiteY1" fmla="*/ 54302 h 146786"/>
                <a:gd name="connsiteX2" fmla="*/ 65280 w 68903"/>
                <a:gd name="connsiteY2" fmla="*/ 15084 h 146786"/>
                <a:gd name="connsiteX3" fmla="*/ 44162 w 68903"/>
                <a:gd name="connsiteY3" fmla="*/ 0 h 146786"/>
                <a:gd name="connsiteX4" fmla="*/ 29078 w 68903"/>
                <a:gd name="connsiteY4" fmla="*/ 6033 h 146786"/>
                <a:gd name="connsiteX5" fmla="*/ 1928 w 68903"/>
                <a:gd name="connsiteY5" fmla="*/ 84469 h 146786"/>
                <a:gd name="connsiteX6" fmla="*/ 13994 w 68903"/>
                <a:gd name="connsiteY6" fmla="*/ 144805 h 146786"/>
                <a:gd name="connsiteX7" fmla="*/ 44162 w 68903"/>
                <a:gd name="connsiteY7" fmla="*/ 141788 h 146786"/>
                <a:gd name="connsiteX8" fmla="*/ 59246 w 68903"/>
                <a:gd name="connsiteY8" fmla="*/ 111620 h 146786"/>
                <a:gd name="connsiteX9" fmla="*/ 68296 w 68903"/>
                <a:gd name="connsiteY9" fmla="*/ 78436 h 146786"/>
                <a:gd name="connsiteX10" fmla="*/ 56230 w 68903"/>
                <a:gd name="connsiteY10" fmla="*/ 63352 h 146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8903" h="146786">
                  <a:moveTo>
                    <a:pt x="56230" y="63352"/>
                  </a:moveTo>
                  <a:cubicBezTo>
                    <a:pt x="56230" y="57319"/>
                    <a:pt x="59246" y="57319"/>
                    <a:pt x="62264" y="54302"/>
                  </a:cubicBezTo>
                  <a:cubicBezTo>
                    <a:pt x="74330" y="39218"/>
                    <a:pt x="65280" y="30168"/>
                    <a:pt x="65280" y="15084"/>
                  </a:cubicBezTo>
                  <a:cubicBezTo>
                    <a:pt x="65280" y="3017"/>
                    <a:pt x="53212" y="0"/>
                    <a:pt x="44162" y="0"/>
                  </a:cubicBezTo>
                  <a:cubicBezTo>
                    <a:pt x="38128" y="0"/>
                    <a:pt x="32096" y="0"/>
                    <a:pt x="29078" y="6033"/>
                  </a:cubicBezTo>
                  <a:cubicBezTo>
                    <a:pt x="13994" y="33185"/>
                    <a:pt x="1928" y="54302"/>
                    <a:pt x="1928" y="84469"/>
                  </a:cubicBezTo>
                  <a:cubicBezTo>
                    <a:pt x="1928" y="108604"/>
                    <a:pt x="-7123" y="132738"/>
                    <a:pt x="13994" y="144805"/>
                  </a:cubicBezTo>
                  <a:cubicBezTo>
                    <a:pt x="20028" y="147822"/>
                    <a:pt x="38128" y="147822"/>
                    <a:pt x="44162" y="141788"/>
                  </a:cubicBezTo>
                  <a:cubicBezTo>
                    <a:pt x="56230" y="135754"/>
                    <a:pt x="53212" y="114637"/>
                    <a:pt x="59246" y="111620"/>
                  </a:cubicBezTo>
                  <a:cubicBezTo>
                    <a:pt x="62264" y="99553"/>
                    <a:pt x="71314" y="93520"/>
                    <a:pt x="68296" y="78436"/>
                  </a:cubicBezTo>
                  <a:cubicBezTo>
                    <a:pt x="65280" y="75419"/>
                    <a:pt x="56230" y="69386"/>
                    <a:pt x="56230" y="63352"/>
                  </a:cubicBezTo>
                  <a:close/>
                </a:path>
              </a:pathLst>
            </a:custGeom>
            <a:solidFill>
              <a:srgbClr val="664241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7A8FC398-B84A-46B0-AA89-B5EC6635FE61}"/>
                </a:ext>
              </a:extLst>
            </p:cNvPr>
            <p:cNvGrpSpPr/>
            <p:nvPr/>
          </p:nvGrpSpPr>
          <p:grpSpPr>
            <a:xfrm>
              <a:off x="20519289" y="11356538"/>
              <a:ext cx="527435" cy="366911"/>
              <a:chOff x="20519289" y="11356538"/>
              <a:chExt cx="527435" cy="366911"/>
            </a:xfrm>
          </p:grpSpPr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75E5F219-0239-4D8A-BD79-D2775DE819DF}"/>
                  </a:ext>
                </a:extLst>
              </p:cNvPr>
              <p:cNvSpPr/>
              <p:nvPr/>
            </p:nvSpPr>
            <p:spPr>
              <a:xfrm>
                <a:off x="20530857" y="11356538"/>
                <a:ext cx="199107" cy="223240"/>
              </a:xfrm>
              <a:custGeom>
                <a:avLst/>
                <a:gdLst>
                  <a:gd name="connsiteX0" fmla="*/ 0 w 199107"/>
                  <a:gd name="connsiteY0" fmla="*/ 181006 h 223240"/>
                  <a:gd name="connsiteX1" fmla="*/ 21118 w 199107"/>
                  <a:gd name="connsiteY1" fmla="*/ 0 h 223240"/>
                  <a:gd name="connsiteX2" fmla="*/ 199107 w 199107"/>
                  <a:gd name="connsiteY2" fmla="*/ 6034 h 223240"/>
                  <a:gd name="connsiteX3" fmla="*/ 177990 w 199107"/>
                  <a:gd name="connsiteY3" fmla="*/ 196089 h 223240"/>
                  <a:gd name="connsiteX4" fmla="*/ 12068 w 199107"/>
                  <a:gd name="connsiteY4" fmla="*/ 223241 h 223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107" h="223240">
                    <a:moveTo>
                      <a:pt x="0" y="181006"/>
                    </a:moveTo>
                    <a:lnTo>
                      <a:pt x="21118" y="0"/>
                    </a:lnTo>
                    <a:lnTo>
                      <a:pt x="199107" y="6034"/>
                    </a:lnTo>
                    <a:lnTo>
                      <a:pt x="177990" y="196089"/>
                    </a:lnTo>
                    <a:lnTo>
                      <a:pt x="12068" y="223241"/>
                    </a:ln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17352E91-1E48-4F73-B1B6-5FB2B45E6926}"/>
                  </a:ext>
                </a:extLst>
              </p:cNvPr>
              <p:cNvSpPr/>
              <p:nvPr/>
            </p:nvSpPr>
            <p:spPr>
              <a:xfrm>
                <a:off x="20519289" y="11492292"/>
                <a:ext cx="527435" cy="181005"/>
              </a:xfrm>
              <a:custGeom>
                <a:avLst/>
                <a:gdLst>
                  <a:gd name="connsiteX0" fmla="*/ 11568 w 527435"/>
                  <a:gd name="connsiteY0" fmla="*/ 45251 h 181005"/>
                  <a:gd name="connsiteX1" fmla="*/ 201625 w 527435"/>
                  <a:gd name="connsiteY1" fmla="*/ 0 h 181005"/>
                  <a:gd name="connsiteX2" fmla="*/ 346429 w 527435"/>
                  <a:gd name="connsiteY2" fmla="*/ 90503 h 181005"/>
                  <a:gd name="connsiteX3" fmla="*/ 527435 w 527435"/>
                  <a:gd name="connsiteY3" fmla="*/ 181006 h 181005"/>
                  <a:gd name="connsiteX4" fmla="*/ 8552 w 527435"/>
                  <a:gd name="connsiteY4" fmla="*/ 168939 h 181005"/>
                  <a:gd name="connsiteX5" fmla="*/ 11568 w 527435"/>
                  <a:gd name="connsiteY5" fmla="*/ 45251 h 181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7435" h="181005">
                    <a:moveTo>
                      <a:pt x="11568" y="45251"/>
                    </a:moveTo>
                    <a:cubicBezTo>
                      <a:pt x="11568" y="45251"/>
                      <a:pt x="132238" y="69386"/>
                      <a:pt x="201625" y="0"/>
                    </a:cubicBezTo>
                    <a:cubicBezTo>
                      <a:pt x="201625" y="0"/>
                      <a:pt x="295144" y="81453"/>
                      <a:pt x="346429" y="90503"/>
                    </a:cubicBezTo>
                    <a:cubicBezTo>
                      <a:pt x="394697" y="102571"/>
                      <a:pt x="515367" y="102571"/>
                      <a:pt x="527435" y="181006"/>
                    </a:cubicBezTo>
                    <a:lnTo>
                      <a:pt x="8552" y="168939"/>
                    </a:lnTo>
                    <a:cubicBezTo>
                      <a:pt x="8552" y="168939"/>
                      <a:pt x="-12566" y="99554"/>
                      <a:pt x="11568" y="45251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2A614B83-CD3F-4DB0-8207-C5EC39249EC8}"/>
                  </a:ext>
                </a:extLst>
              </p:cNvPr>
              <p:cNvSpPr/>
              <p:nvPr/>
            </p:nvSpPr>
            <p:spPr>
              <a:xfrm rot="-5317603">
                <a:off x="20761553" y="11433667"/>
                <a:ext cx="48267" cy="518876"/>
              </a:xfrm>
              <a:custGeom>
                <a:avLst/>
                <a:gdLst>
                  <a:gd name="connsiteX0" fmla="*/ 0 w 48267"/>
                  <a:gd name="connsiteY0" fmla="*/ 0 h 518876"/>
                  <a:gd name="connsiteX1" fmla="*/ 48267 w 48267"/>
                  <a:gd name="connsiteY1" fmla="*/ 0 h 518876"/>
                  <a:gd name="connsiteX2" fmla="*/ 48267 w 48267"/>
                  <a:gd name="connsiteY2" fmla="*/ 518876 h 518876"/>
                  <a:gd name="connsiteX3" fmla="*/ 0 w 48267"/>
                  <a:gd name="connsiteY3" fmla="*/ 518876 h 518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267" h="518876">
                    <a:moveTo>
                      <a:pt x="0" y="0"/>
                    </a:moveTo>
                    <a:lnTo>
                      <a:pt x="48267" y="0"/>
                    </a:lnTo>
                    <a:lnTo>
                      <a:pt x="48267" y="518876"/>
                    </a:lnTo>
                    <a:lnTo>
                      <a:pt x="0" y="518876"/>
                    </a:ln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317F2D25-BECC-49AE-85BE-3CD38B94D668}"/>
                  </a:ext>
                </a:extLst>
              </p:cNvPr>
              <p:cNvSpPr/>
              <p:nvPr/>
            </p:nvSpPr>
            <p:spPr>
              <a:xfrm>
                <a:off x="20521807" y="11483997"/>
                <a:ext cx="201369" cy="62597"/>
              </a:xfrm>
              <a:custGeom>
                <a:avLst/>
                <a:gdLst>
                  <a:gd name="connsiteX0" fmla="*/ 48269 w 201369"/>
                  <a:gd name="connsiteY0" fmla="*/ 62598 h 62597"/>
                  <a:gd name="connsiteX1" fmla="*/ 6034 w 201369"/>
                  <a:gd name="connsiteY1" fmla="*/ 59581 h 62597"/>
                  <a:gd name="connsiteX2" fmla="*/ 0 w 201369"/>
                  <a:gd name="connsiteY2" fmla="*/ 53547 h 62597"/>
                  <a:gd name="connsiteX3" fmla="*/ 6034 w 201369"/>
                  <a:gd name="connsiteY3" fmla="*/ 47514 h 62597"/>
                  <a:gd name="connsiteX4" fmla="*/ 190056 w 201369"/>
                  <a:gd name="connsiteY4" fmla="*/ 2263 h 62597"/>
                  <a:gd name="connsiteX5" fmla="*/ 199107 w 201369"/>
                  <a:gd name="connsiteY5" fmla="*/ 2263 h 62597"/>
                  <a:gd name="connsiteX6" fmla="*/ 199107 w 201369"/>
                  <a:gd name="connsiteY6" fmla="*/ 11313 h 62597"/>
                  <a:gd name="connsiteX7" fmla="*/ 48269 w 201369"/>
                  <a:gd name="connsiteY7" fmla="*/ 62598 h 62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369" h="62597">
                    <a:moveTo>
                      <a:pt x="48269" y="62598"/>
                    </a:moveTo>
                    <a:cubicBezTo>
                      <a:pt x="24134" y="62598"/>
                      <a:pt x="9050" y="59581"/>
                      <a:pt x="6034" y="59581"/>
                    </a:cubicBezTo>
                    <a:cubicBezTo>
                      <a:pt x="3018" y="59581"/>
                      <a:pt x="0" y="56564"/>
                      <a:pt x="0" y="53547"/>
                    </a:cubicBezTo>
                    <a:cubicBezTo>
                      <a:pt x="0" y="50531"/>
                      <a:pt x="3018" y="47514"/>
                      <a:pt x="6034" y="47514"/>
                    </a:cubicBezTo>
                    <a:cubicBezTo>
                      <a:pt x="6034" y="47514"/>
                      <a:pt x="114637" y="68631"/>
                      <a:pt x="190056" y="2263"/>
                    </a:cubicBezTo>
                    <a:cubicBezTo>
                      <a:pt x="193073" y="-754"/>
                      <a:pt x="196089" y="-754"/>
                      <a:pt x="199107" y="2263"/>
                    </a:cubicBezTo>
                    <a:cubicBezTo>
                      <a:pt x="202123" y="5280"/>
                      <a:pt x="202123" y="8296"/>
                      <a:pt x="199107" y="11313"/>
                    </a:cubicBezTo>
                    <a:cubicBezTo>
                      <a:pt x="150838" y="53547"/>
                      <a:pt x="90503" y="62598"/>
                      <a:pt x="48269" y="6259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F067B5A0-B401-4C91-8CD5-02D265CDFD28}"/>
                  </a:ext>
                </a:extLst>
              </p:cNvPr>
              <p:cNvSpPr/>
              <p:nvPr/>
            </p:nvSpPr>
            <p:spPr>
              <a:xfrm>
                <a:off x="20724684" y="11514164"/>
                <a:ext cx="43743" cy="41480"/>
              </a:xfrm>
              <a:custGeom>
                <a:avLst/>
                <a:gdLst>
                  <a:gd name="connsiteX0" fmla="*/ 5280 w 43743"/>
                  <a:gd name="connsiteY0" fmla="*/ 41480 h 41480"/>
                  <a:gd name="connsiteX1" fmla="*/ 2262 w 43743"/>
                  <a:gd name="connsiteY1" fmla="*/ 38463 h 41480"/>
                  <a:gd name="connsiteX2" fmla="*/ 2262 w 43743"/>
                  <a:gd name="connsiteY2" fmla="*/ 29413 h 41480"/>
                  <a:gd name="connsiteX3" fmla="*/ 32430 w 43743"/>
                  <a:gd name="connsiteY3" fmla="*/ 2263 h 41480"/>
                  <a:gd name="connsiteX4" fmla="*/ 41481 w 43743"/>
                  <a:gd name="connsiteY4" fmla="*/ 2263 h 41480"/>
                  <a:gd name="connsiteX5" fmla="*/ 41481 w 43743"/>
                  <a:gd name="connsiteY5" fmla="*/ 11313 h 41480"/>
                  <a:gd name="connsiteX6" fmla="*/ 11314 w 43743"/>
                  <a:gd name="connsiteY6" fmla="*/ 38463 h 41480"/>
                  <a:gd name="connsiteX7" fmla="*/ 5280 w 43743"/>
                  <a:gd name="connsiteY7" fmla="*/ 41480 h 4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743" h="41480">
                    <a:moveTo>
                      <a:pt x="5280" y="41480"/>
                    </a:moveTo>
                    <a:cubicBezTo>
                      <a:pt x="2262" y="41480"/>
                      <a:pt x="2262" y="41480"/>
                      <a:pt x="2262" y="38463"/>
                    </a:cubicBezTo>
                    <a:cubicBezTo>
                      <a:pt x="-754" y="35447"/>
                      <a:pt x="-754" y="32430"/>
                      <a:pt x="2262" y="29413"/>
                    </a:cubicBezTo>
                    <a:lnTo>
                      <a:pt x="32430" y="2263"/>
                    </a:lnTo>
                    <a:cubicBezTo>
                      <a:pt x="35447" y="-754"/>
                      <a:pt x="38464" y="-754"/>
                      <a:pt x="41481" y="2263"/>
                    </a:cubicBezTo>
                    <a:cubicBezTo>
                      <a:pt x="44497" y="5280"/>
                      <a:pt x="44497" y="8296"/>
                      <a:pt x="41481" y="11313"/>
                    </a:cubicBezTo>
                    <a:lnTo>
                      <a:pt x="11314" y="38463"/>
                    </a:lnTo>
                    <a:cubicBezTo>
                      <a:pt x="8296" y="41480"/>
                      <a:pt x="5280" y="41480"/>
                      <a:pt x="5280" y="4148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B838649D-138A-4E1E-8307-ABB27A2FDD01}"/>
                  </a:ext>
                </a:extLst>
              </p:cNvPr>
              <p:cNvSpPr/>
              <p:nvPr/>
            </p:nvSpPr>
            <p:spPr>
              <a:xfrm>
                <a:off x="20763902" y="11544332"/>
                <a:ext cx="43742" cy="41480"/>
              </a:xfrm>
              <a:custGeom>
                <a:avLst/>
                <a:gdLst>
                  <a:gd name="connsiteX0" fmla="*/ 5279 w 43742"/>
                  <a:gd name="connsiteY0" fmla="*/ 41480 h 41480"/>
                  <a:gd name="connsiteX1" fmla="*/ 2263 w 43742"/>
                  <a:gd name="connsiteY1" fmla="*/ 38463 h 41480"/>
                  <a:gd name="connsiteX2" fmla="*/ 2263 w 43742"/>
                  <a:gd name="connsiteY2" fmla="*/ 29413 h 41480"/>
                  <a:gd name="connsiteX3" fmla="*/ 32431 w 43742"/>
                  <a:gd name="connsiteY3" fmla="*/ 2263 h 41480"/>
                  <a:gd name="connsiteX4" fmla="*/ 41481 w 43742"/>
                  <a:gd name="connsiteY4" fmla="*/ 2263 h 41480"/>
                  <a:gd name="connsiteX5" fmla="*/ 41481 w 43742"/>
                  <a:gd name="connsiteY5" fmla="*/ 11313 h 41480"/>
                  <a:gd name="connsiteX6" fmla="*/ 11313 w 43742"/>
                  <a:gd name="connsiteY6" fmla="*/ 38463 h 41480"/>
                  <a:gd name="connsiteX7" fmla="*/ 5279 w 43742"/>
                  <a:gd name="connsiteY7" fmla="*/ 41480 h 4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742" h="41480">
                    <a:moveTo>
                      <a:pt x="5279" y="41480"/>
                    </a:moveTo>
                    <a:cubicBezTo>
                      <a:pt x="2263" y="41480"/>
                      <a:pt x="2263" y="41480"/>
                      <a:pt x="2263" y="38463"/>
                    </a:cubicBezTo>
                    <a:cubicBezTo>
                      <a:pt x="-754" y="35447"/>
                      <a:pt x="-754" y="32430"/>
                      <a:pt x="2263" y="29413"/>
                    </a:cubicBezTo>
                    <a:lnTo>
                      <a:pt x="32431" y="2263"/>
                    </a:lnTo>
                    <a:cubicBezTo>
                      <a:pt x="35447" y="-754"/>
                      <a:pt x="38463" y="-754"/>
                      <a:pt x="41481" y="2263"/>
                    </a:cubicBezTo>
                    <a:cubicBezTo>
                      <a:pt x="44497" y="5280"/>
                      <a:pt x="44497" y="8296"/>
                      <a:pt x="41481" y="11313"/>
                    </a:cubicBezTo>
                    <a:lnTo>
                      <a:pt x="11313" y="38463"/>
                    </a:lnTo>
                    <a:cubicBezTo>
                      <a:pt x="8295" y="41480"/>
                      <a:pt x="8295" y="41480"/>
                      <a:pt x="5279" y="4148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6D3A08E6-D9CC-4AA4-A4F0-6B18FB4DAB31}"/>
                </a:ext>
              </a:extLst>
            </p:cNvPr>
            <p:cNvSpPr/>
            <p:nvPr/>
          </p:nvSpPr>
          <p:spPr>
            <a:xfrm>
              <a:off x="19890158" y="9676203"/>
              <a:ext cx="1167429" cy="1753923"/>
            </a:xfrm>
            <a:custGeom>
              <a:avLst/>
              <a:gdLst>
                <a:gd name="connsiteX0" fmla="*/ 19247 w 1167429"/>
                <a:gd name="connsiteY0" fmla="*/ 0 h 1753923"/>
                <a:gd name="connsiteX1" fmla="*/ 22263 w 1167429"/>
                <a:gd name="connsiteY1" fmla="*/ 337877 h 1753923"/>
                <a:gd name="connsiteX2" fmla="*/ 749303 w 1167429"/>
                <a:gd name="connsiteY2" fmla="*/ 805474 h 1753923"/>
                <a:gd name="connsiteX3" fmla="*/ 616565 w 1167429"/>
                <a:gd name="connsiteY3" fmla="*/ 1746704 h 1753923"/>
                <a:gd name="connsiteX4" fmla="*/ 906175 w 1167429"/>
                <a:gd name="connsiteY4" fmla="*/ 1743687 h 1753923"/>
                <a:gd name="connsiteX5" fmla="*/ 1165616 w 1167429"/>
                <a:gd name="connsiteY5" fmla="*/ 711956 h 1753923"/>
                <a:gd name="connsiteX6" fmla="*/ 513996 w 1167429"/>
                <a:gd name="connsiteY6" fmla="*/ 60335 h 1753923"/>
                <a:gd name="connsiteX7" fmla="*/ 19247 w 1167429"/>
                <a:gd name="connsiteY7" fmla="*/ 0 h 1753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7429" h="1753923">
                  <a:moveTo>
                    <a:pt x="19247" y="0"/>
                  </a:moveTo>
                  <a:cubicBezTo>
                    <a:pt x="19247" y="0"/>
                    <a:pt x="-26004" y="226257"/>
                    <a:pt x="22263" y="337877"/>
                  </a:cubicBezTo>
                  <a:cubicBezTo>
                    <a:pt x="67514" y="449497"/>
                    <a:pt x="722152" y="751173"/>
                    <a:pt x="749303" y="805474"/>
                  </a:cubicBezTo>
                  <a:cubicBezTo>
                    <a:pt x="776453" y="859777"/>
                    <a:pt x="616565" y="1746704"/>
                    <a:pt x="616565" y="1746704"/>
                  </a:cubicBezTo>
                  <a:cubicBezTo>
                    <a:pt x="616565" y="1746704"/>
                    <a:pt x="833772" y="1764805"/>
                    <a:pt x="906175" y="1743687"/>
                  </a:cubicBezTo>
                  <a:cubicBezTo>
                    <a:pt x="906175" y="1743687"/>
                    <a:pt x="1192767" y="853743"/>
                    <a:pt x="1165616" y="711956"/>
                  </a:cubicBezTo>
                  <a:cubicBezTo>
                    <a:pt x="1138464" y="570167"/>
                    <a:pt x="577348" y="75419"/>
                    <a:pt x="513996" y="60335"/>
                  </a:cubicBezTo>
                  <a:cubicBezTo>
                    <a:pt x="447627" y="48268"/>
                    <a:pt x="19247" y="0"/>
                    <a:pt x="19247" y="0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4292227A-30FB-4F82-ACC3-32EB69203930}"/>
                </a:ext>
              </a:extLst>
            </p:cNvPr>
            <p:cNvGrpSpPr/>
            <p:nvPr/>
          </p:nvGrpSpPr>
          <p:grpSpPr>
            <a:xfrm>
              <a:off x="17788623" y="9594751"/>
              <a:ext cx="1242905" cy="687821"/>
              <a:chOff x="17788623" y="9594751"/>
              <a:chExt cx="1242905" cy="687821"/>
            </a:xfrm>
          </p:grpSpPr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7889794A-85DF-4600-AF68-B42051814F8B}"/>
                  </a:ext>
                </a:extLst>
              </p:cNvPr>
              <p:cNvSpPr/>
              <p:nvPr/>
            </p:nvSpPr>
            <p:spPr>
              <a:xfrm>
                <a:off x="18002813" y="9594751"/>
                <a:ext cx="1028715" cy="687821"/>
              </a:xfrm>
              <a:custGeom>
                <a:avLst/>
                <a:gdLst>
                  <a:gd name="connsiteX0" fmla="*/ 0 w 1028715"/>
                  <a:gd name="connsiteY0" fmla="*/ 0 h 687821"/>
                  <a:gd name="connsiteX1" fmla="*/ 1028714 w 1028715"/>
                  <a:gd name="connsiteY1" fmla="*/ 0 h 687821"/>
                  <a:gd name="connsiteX2" fmla="*/ 1028714 w 1028715"/>
                  <a:gd name="connsiteY2" fmla="*/ 687821 h 687821"/>
                  <a:gd name="connsiteX3" fmla="*/ 0 w 1028715"/>
                  <a:gd name="connsiteY3" fmla="*/ 687821 h 687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715" h="687821">
                    <a:moveTo>
                      <a:pt x="0" y="0"/>
                    </a:moveTo>
                    <a:lnTo>
                      <a:pt x="1028714" y="0"/>
                    </a:lnTo>
                    <a:lnTo>
                      <a:pt x="1028714" y="687821"/>
                    </a:lnTo>
                    <a:lnTo>
                      <a:pt x="0" y="687821"/>
                    </a:lnTo>
                    <a:close/>
                  </a:path>
                </a:pathLst>
              </a:custGeom>
              <a:solidFill>
                <a:srgbClr val="E8D2AF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D6D0D57B-92A0-4407-8A0F-CB180078D8E6}"/>
                  </a:ext>
                </a:extLst>
              </p:cNvPr>
              <p:cNvSpPr/>
              <p:nvPr/>
            </p:nvSpPr>
            <p:spPr>
              <a:xfrm>
                <a:off x="17788623" y="9594751"/>
                <a:ext cx="1028715" cy="687821"/>
              </a:xfrm>
              <a:custGeom>
                <a:avLst/>
                <a:gdLst>
                  <a:gd name="connsiteX0" fmla="*/ 0 w 1028715"/>
                  <a:gd name="connsiteY0" fmla="*/ 0 h 687821"/>
                  <a:gd name="connsiteX1" fmla="*/ 1028715 w 1028715"/>
                  <a:gd name="connsiteY1" fmla="*/ 0 h 687821"/>
                  <a:gd name="connsiteX2" fmla="*/ 1028715 w 1028715"/>
                  <a:gd name="connsiteY2" fmla="*/ 687821 h 687821"/>
                  <a:gd name="connsiteX3" fmla="*/ -1 w 1028715"/>
                  <a:gd name="connsiteY3" fmla="*/ 687821 h 687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715" h="687821">
                    <a:moveTo>
                      <a:pt x="0" y="0"/>
                    </a:moveTo>
                    <a:lnTo>
                      <a:pt x="1028715" y="0"/>
                    </a:lnTo>
                    <a:lnTo>
                      <a:pt x="1028715" y="687821"/>
                    </a:lnTo>
                    <a:lnTo>
                      <a:pt x="-1" y="687821"/>
                    </a:ln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D63CA7C7-4954-4E9B-956D-FC950555471A}"/>
                  </a:ext>
                </a:extLst>
              </p:cNvPr>
              <p:cNvSpPr/>
              <p:nvPr/>
            </p:nvSpPr>
            <p:spPr>
              <a:xfrm rot="-10800000">
                <a:off x="18460455" y="9685646"/>
                <a:ext cx="271508" cy="36201"/>
              </a:xfrm>
              <a:custGeom>
                <a:avLst/>
                <a:gdLst>
                  <a:gd name="connsiteX0" fmla="*/ 1 w 271508"/>
                  <a:gd name="connsiteY0" fmla="*/ 0 h 36201"/>
                  <a:gd name="connsiteX1" fmla="*/ 271509 w 271508"/>
                  <a:gd name="connsiteY1" fmla="*/ 0 h 36201"/>
                  <a:gd name="connsiteX2" fmla="*/ 271509 w 271508"/>
                  <a:gd name="connsiteY2" fmla="*/ 36201 h 36201"/>
                  <a:gd name="connsiteX3" fmla="*/ 1 w 271508"/>
                  <a:gd name="connsiteY3" fmla="*/ 36201 h 36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1508" h="36201">
                    <a:moveTo>
                      <a:pt x="1" y="0"/>
                    </a:moveTo>
                    <a:lnTo>
                      <a:pt x="271509" y="0"/>
                    </a:lnTo>
                    <a:lnTo>
                      <a:pt x="271509" y="36201"/>
                    </a:lnTo>
                    <a:lnTo>
                      <a:pt x="1" y="36201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916591ED-9130-43A4-8A9B-29BA0D9EEF1D}"/>
                  </a:ext>
                </a:extLst>
              </p:cNvPr>
              <p:cNvSpPr/>
              <p:nvPr/>
            </p:nvSpPr>
            <p:spPr>
              <a:xfrm rot="-10800000">
                <a:off x="18460455" y="9769180"/>
                <a:ext cx="271508" cy="36201"/>
              </a:xfrm>
              <a:custGeom>
                <a:avLst/>
                <a:gdLst>
                  <a:gd name="connsiteX0" fmla="*/ 1 w 271508"/>
                  <a:gd name="connsiteY0" fmla="*/ 0 h 36201"/>
                  <a:gd name="connsiteX1" fmla="*/ 271509 w 271508"/>
                  <a:gd name="connsiteY1" fmla="*/ 0 h 36201"/>
                  <a:gd name="connsiteX2" fmla="*/ 271509 w 271508"/>
                  <a:gd name="connsiteY2" fmla="*/ 36202 h 36201"/>
                  <a:gd name="connsiteX3" fmla="*/ 1 w 271508"/>
                  <a:gd name="connsiteY3" fmla="*/ 36202 h 36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1508" h="36201">
                    <a:moveTo>
                      <a:pt x="1" y="0"/>
                    </a:moveTo>
                    <a:lnTo>
                      <a:pt x="271509" y="0"/>
                    </a:lnTo>
                    <a:lnTo>
                      <a:pt x="271509" y="36202"/>
                    </a:lnTo>
                    <a:lnTo>
                      <a:pt x="1" y="36202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7D3924D9-988B-44B2-A6C3-288635BE55FA}"/>
                  </a:ext>
                </a:extLst>
              </p:cNvPr>
              <p:cNvSpPr/>
              <p:nvPr/>
            </p:nvSpPr>
            <p:spPr>
              <a:xfrm>
                <a:off x="17866868" y="9685253"/>
                <a:ext cx="141978" cy="165921"/>
              </a:xfrm>
              <a:custGeom>
                <a:avLst/>
                <a:gdLst>
                  <a:gd name="connsiteX0" fmla="*/ 69576 w 141978"/>
                  <a:gd name="connsiteY0" fmla="*/ 0 h 165921"/>
                  <a:gd name="connsiteX1" fmla="*/ 141979 w 141978"/>
                  <a:gd name="connsiteY1" fmla="*/ 72402 h 165921"/>
                  <a:gd name="connsiteX2" fmla="*/ 141979 w 141978"/>
                  <a:gd name="connsiteY2" fmla="*/ 75419 h 165921"/>
                  <a:gd name="connsiteX3" fmla="*/ 117845 w 141978"/>
                  <a:gd name="connsiteY3" fmla="*/ 60335 h 165921"/>
                  <a:gd name="connsiteX4" fmla="*/ 93711 w 141978"/>
                  <a:gd name="connsiteY4" fmla="*/ 72402 h 165921"/>
                  <a:gd name="connsiteX5" fmla="*/ 78628 w 141978"/>
                  <a:gd name="connsiteY5" fmla="*/ 60335 h 165921"/>
                  <a:gd name="connsiteX6" fmla="*/ 78628 w 141978"/>
                  <a:gd name="connsiteY6" fmla="*/ 141788 h 165921"/>
                  <a:gd name="connsiteX7" fmla="*/ 87677 w 141978"/>
                  <a:gd name="connsiteY7" fmla="*/ 150838 h 165921"/>
                  <a:gd name="connsiteX8" fmla="*/ 96727 w 141978"/>
                  <a:gd name="connsiteY8" fmla="*/ 141788 h 165921"/>
                  <a:gd name="connsiteX9" fmla="*/ 96727 w 141978"/>
                  <a:gd name="connsiteY9" fmla="*/ 132737 h 165921"/>
                  <a:gd name="connsiteX10" fmla="*/ 111811 w 141978"/>
                  <a:gd name="connsiteY10" fmla="*/ 132737 h 165921"/>
                  <a:gd name="connsiteX11" fmla="*/ 111811 w 141978"/>
                  <a:gd name="connsiteY11" fmla="*/ 141788 h 165921"/>
                  <a:gd name="connsiteX12" fmla="*/ 87677 w 141978"/>
                  <a:gd name="connsiteY12" fmla="*/ 165922 h 165921"/>
                  <a:gd name="connsiteX13" fmla="*/ 63544 w 141978"/>
                  <a:gd name="connsiteY13" fmla="*/ 141788 h 165921"/>
                  <a:gd name="connsiteX14" fmla="*/ 63544 w 141978"/>
                  <a:gd name="connsiteY14" fmla="*/ 60335 h 165921"/>
                  <a:gd name="connsiteX15" fmla="*/ 48460 w 141978"/>
                  <a:gd name="connsiteY15" fmla="*/ 72402 h 165921"/>
                  <a:gd name="connsiteX16" fmla="*/ 24325 w 141978"/>
                  <a:gd name="connsiteY16" fmla="*/ 60335 h 165921"/>
                  <a:gd name="connsiteX17" fmla="*/ 191 w 141978"/>
                  <a:gd name="connsiteY17" fmla="*/ 75419 h 165921"/>
                  <a:gd name="connsiteX18" fmla="*/ 191 w 141978"/>
                  <a:gd name="connsiteY18" fmla="*/ 72402 h 165921"/>
                  <a:gd name="connsiteX19" fmla="*/ 69576 w 141978"/>
                  <a:gd name="connsiteY19" fmla="*/ 0 h 165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41978" h="165921">
                    <a:moveTo>
                      <a:pt x="69576" y="0"/>
                    </a:moveTo>
                    <a:cubicBezTo>
                      <a:pt x="108795" y="0"/>
                      <a:pt x="141979" y="33185"/>
                      <a:pt x="141979" y="72402"/>
                    </a:cubicBezTo>
                    <a:cubicBezTo>
                      <a:pt x="141979" y="72402"/>
                      <a:pt x="141979" y="75419"/>
                      <a:pt x="141979" y="75419"/>
                    </a:cubicBezTo>
                    <a:cubicBezTo>
                      <a:pt x="138963" y="66369"/>
                      <a:pt x="126895" y="60335"/>
                      <a:pt x="117845" y="60335"/>
                    </a:cubicBezTo>
                    <a:cubicBezTo>
                      <a:pt x="108795" y="60335"/>
                      <a:pt x="99743" y="66369"/>
                      <a:pt x="93711" y="72402"/>
                    </a:cubicBezTo>
                    <a:cubicBezTo>
                      <a:pt x="90694" y="66369"/>
                      <a:pt x="84660" y="63352"/>
                      <a:pt x="78628" y="60335"/>
                    </a:cubicBezTo>
                    <a:lnTo>
                      <a:pt x="78628" y="141788"/>
                    </a:lnTo>
                    <a:cubicBezTo>
                      <a:pt x="78628" y="147821"/>
                      <a:pt x="81644" y="150838"/>
                      <a:pt x="87677" y="150838"/>
                    </a:cubicBezTo>
                    <a:cubicBezTo>
                      <a:pt x="93711" y="150838"/>
                      <a:pt x="96727" y="147821"/>
                      <a:pt x="96727" y="141788"/>
                    </a:cubicBezTo>
                    <a:lnTo>
                      <a:pt x="96727" y="132737"/>
                    </a:lnTo>
                    <a:lnTo>
                      <a:pt x="111811" y="132737"/>
                    </a:lnTo>
                    <a:lnTo>
                      <a:pt x="111811" y="141788"/>
                    </a:lnTo>
                    <a:cubicBezTo>
                      <a:pt x="111811" y="153855"/>
                      <a:pt x="99743" y="165922"/>
                      <a:pt x="87677" y="165922"/>
                    </a:cubicBezTo>
                    <a:cubicBezTo>
                      <a:pt x="75610" y="165922"/>
                      <a:pt x="63544" y="153855"/>
                      <a:pt x="63544" y="141788"/>
                    </a:cubicBezTo>
                    <a:lnTo>
                      <a:pt x="63544" y="60335"/>
                    </a:lnTo>
                    <a:cubicBezTo>
                      <a:pt x="57510" y="63352"/>
                      <a:pt x="51476" y="66369"/>
                      <a:pt x="48460" y="72402"/>
                    </a:cubicBezTo>
                    <a:cubicBezTo>
                      <a:pt x="42426" y="66369"/>
                      <a:pt x="36392" y="60335"/>
                      <a:pt x="24325" y="60335"/>
                    </a:cubicBezTo>
                    <a:cubicBezTo>
                      <a:pt x="12258" y="60335"/>
                      <a:pt x="3208" y="66369"/>
                      <a:pt x="191" y="75419"/>
                    </a:cubicBezTo>
                    <a:cubicBezTo>
                      <a:pt x="191" y="75419"/>
                      <a:pt x="191" y="72402"/>
                      <a:pt x="191" y="72402"/>
                    </a:cubicBezTo>
                    <a:cubicBezTo>
                      <a:pt x="-2825" y="33185"/>
                      <a:pt x="30358" y="0"/>
                      <a:pt x="69576" y="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图形 1">
              <a:extLst>
                <a:ext uri="{FF2B5EF4-FFF2-40B4-BE49-F238E27FC236}">
                  <a16:creationId xmlns:a16="http://schemas.microsoft.com/office/drawing/2014/main" id="{8BE672E7-A1F8-4964-BEEB-5E8E116774A3}"/>
                </a:ext>
              </a:extLst>
            </p:cNvPr>
            <p:cNvGrpSpPr/>
            <p:nvPr/>
          </p:nvGrpSpPr>
          <p:grpSpPr>
            <a:xfrm>
              <a:off x="17867059" y="9115086"/>
              <a:ext cx="877877" cy="485698"/>
              <a:chOff x="17867059" y="9115086"/>
              <a:chExt cx="877877" cy="485698"/>
            </a:xfrm>
          </p:grpSpPr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9E41D695-5519-4A36-8905-67F23F2A8F05}"/>
                  </a:ext>
                </a:extLst>
              </p:cNvPr>
              <p:cNvSpPr/>
              <p:nvPr/>
            </p:nvSpPr>
            <p:spPr>
              <a:xfrm>
                <a:off x="18017897" y="9115086"/>
                <a:ext cx="727039" cy="485698"/>
              </a:xfrm>
              <a:custGeom>
                <a:avLst/>
                <a:gdLst>
                  <a:gd name="connsiteX0" fmla="*/ 0 w 727039"/>
                  <a:gd name="connsiteY0" fmla="*/ 0 h 485698"/>
                  <a:gd name="connsiteX1" fmla="*/ 727038 w 727039"/>
                  <a:gd name="connsiteY1" fmla="*/ 0 h 485698"/>
                  <a:gd name="connsiteX2" fmla="*/ 727038 w 727039"/>
                  <a:gd name="connsiteY2" fmla="*/ 485699 h 485698"/>
                  <a:gd name="connsiteX3" fmla="*/ 0 w 727039"/>
                  <a:gd name="connsiteY3" fmla="*/ 485699 h 485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7039" h="485698">
                    <a:moveTo>
                      <a:pt x="0" y="0"/>
                    </a:moveTo>
                    <a:lnTo>
                      <a:pt x="727038" y="0"/>
                    </a:lnTo>
                    <a:lnTo>
                      <a:pt x="727038" y="485699"/>
                    </a:lnTo>
                    <a:lnTo>
                      <a:pt x="0" y="485699"/>
                    </a:lnTo>
                    <a:close/>
                  </a:path>
                </a:pathLst>
              </a:custGeom>
              <a:solidFill>
                <a:srgbClr val="E8D2AF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43080AD0-CAE0-4450-A34A-74FFA05A79C6}"/>
                  </a:ext>
                </a:extLst>
              </p:cNvPr>
              <p:cNvSpPr/>
              <p:nvPr/>
            </p:nvSpPr>
            <p:spPr>
              <a:xfrm>
                <a:off x="17867059" y="9115086"/>
                <a:ext cx="727039" cy="485698"/>
              </a:xfrm>
              <a:custGeom>
                <a:avLst/>
                <a:gdLst>
                  <a:gd name="connsiteX0" fmla="*/ 0 w 727039"/>
                  <a:gd name="connsiteY0" fmla="*/ 0 h 485698"/>
                  <a:gd name="connsiteX1" fmla="*/ 727038 w 727039"/>
                  <a:gd name="connsiteY1" fmla="*/ 0 h 485698"/>
                  <a:gd name="connsiteX2" fmla="*/ 727038 w 727039"/>
                  <a:gd name="connsiteY2" fmla="*/ 485699 h 485698"/>
                  <a:gd name="connsiteX3" fmla="*/ -1 w 727039"/>
                  <a:gd name="connsiteY3" fmla="*/ 485699 h 485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7039" h="485698">
                    <a:moveTo>
                      <a:pt x="0" y="0"/>
                    </a:moveTo>
                    <a:lnTo>
                      <a:pt x="727038" y="0"/>
                    </a:lnTo>
                    <a:lnTo>
                      <a:pt x="727038" y="485699"/>
                    </a:lnTo>
                    <a:lnTo>
                      <a:pt x="-1" y="485699"/>
                    </a:ln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84B20B98-118E-4B1E-9252-54EA7A2D9F4A}"/>
                  </a:ext>
                </a:extLst>
              </p:cNvPr>
              <p:cNvSpPr/>
              <p:nvPr/>
            </p:nvSpPr>
            <p:spPr>
              <a:xfrm rot="-10800000">
                <a:off x="18341293" y="9178679"/>
                <a:ext cx="190055" cy="24134"/>
              </a:xfrm>
              <a:custGeom>
                <a:avLst/>
                <a:gdLst>
                  <a:gd name="connsiteX0" fmla="*/ 1 w 190055"/>
                  <a:gd name="connsiteY0" fmla="*/ 0 h 24134"/>
                  <a:gd name="connsiteX1" fmla="*/ 190056 w 190055"/>
                  <a:gd name="connsiteY1" fmla="*/ 0 h 24134"/>
                  <a:gd name="connsiteX2" fmla="*/ 190056 w 190055"/>
                  <a:gd name="connsiteY2" fmla="*/ 24134 h 24134"/>
                  <a:gd name="connsiteX3" fmla="*/ 1 w 190055"/>
                  <a:gd name="connsiteY3" fmla="*/ 24134 h 2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055" h="24134">
                    <a:moveTo>
                      <a:pt x="1" y="0"/>
                    </a:moveTo>
                    <a:lnTo>
                      <a:pt x="190056" y="0"/>
                    </a:lnTo>
                    <a:lnTo>
                      <a:pt x="190056" y="24134"/>
                    </a:lnTo>
                    <a:lnTo>
                      <a:pt x="1" y="24134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5B7DB1C4-3E6F-486D-A020-4A16C0FF78B5}"/>
                  </a:ext>
                </a:extLst>
              </p:cNvPr>
              <p:cNvSpPr/>
              <p:nvPr/>
            </p:nvSpPr>
            <p:spPr>
              <a:xfrm rot="-10800000">
                <a:off x="18341293" y="9239829"/>
                <a:ext cx="190055" cy="24134"/>
              </a:xfrm>
              <a:custGeom>
                <a:avLst/>
                <a:gdLst>
                  <a:gd name="connsiteX0" fmla="*/ 1 w 190055"/>
                  <a:gd name="connsiteY0" fmla="*/ 0 h 24134"/>
                  <a:gd name="connsiteX1" fmla="*/ 190056 w 190055"/>
                  <a:gd name="connsiteY1" fmla="*/ 0 h 24134"/>
                  <a:gd name="connsiteX2" fmla="*/ 190056 w 190055"/>
                  <a:gd name="connsiteY2" fmla="*/ 24134 h 24134"/>
                  <a:gd name="connsiteX3" fmla="*/ 1 w 190055"/>
                  <a:gd name="connsiteY3" fmla="*/ 24134 h 2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055" h="24134">
                    <a:moveTo>
                      <a:pt x="1" y="0"/>
                    </a:moveTo>
                    <a:lnTo>
                      <a:pt x="190056" y="0"/>
                    </a:lnTo>
                    <a:lnTo>
                      <a:pt x="190056" y="24134"/>
                    </a:lnTo>
                    <a:lnTo>
                      <a:pt x="1" y="24134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B8682D62-E1EB-42D9-A210-FCA25313B3AC}"/>
                  </a:ext>
                </a:extLst>
              </p:cNvPr>
              <p:cNvSpPr/>
              <p:nvPr/>
            </p:nvSpPr>
            <p:spPr>
              <a:xfrm>
                <a:off x="17918344" y="9178438"/>
                <a:ext cx="102570" cy="117653"/>
              </a:xfrm>
              <a:custGeom>
                <a:avLst/>
                <a:gdLst>
                  <a:gd name="connsiteX0" fmla="*/ 51285 w 102570"/>
                  <a:gd name="connsiteY0" fmla="*/ 0 h 117653"/>
                  <a:gd name="connsiteX1" fmla="*/ 102571 w 102570"/>
                  <a:gd name="connsiteY1" fmla="*/ 51285 h 117653"/>
                  <a:gd name="connsiteX2" fmla="*/ 102571 w 102570"/>
                  <a:gd name="connsiteY2" fmla="*/ 54301 h 117653"/>
                  <a:gd name="connsiteX3" fmla="*/ 84469 w 102570"/>
                  <a:gd name="connsiteY3" fmla="*/ 42234 h 117653"/>
                  <a:gd name="connsiteX4" fmla="*/ 69385 w 102570"/>
                  <a:gd name="connsiteY4" fmla="*/ 51285 h 117653"/>
                  <a:gd name="connsiteX5" fmla="*/ 57319 w 102570"/>
                  <a:gd name="connsiteY5" fmla="*/ 42234 h 117653"/>
                  <a:gd name="connsiteX6" fmla="*/ 57319 w 102570"/>
                  <a:gd name="connsiteY6" fmla="*/ 99553 h 117653"/>
                  <a:gd name="connsiteX7" fmla="*/ 63351 w 102570"/>
                  <a:gd name="connsiteY7" fmla="*/ 105587 h 117653"/>
                  <a:gd name="connsiteX8" fmla="*/ 69385 w 102570"/>
                  <a:gd name="connsiteY8" fmla="*/ 99553 h 117653"/>
                  <a:gd name="connsiteX9" fmla="*/ 69385 w 102570"/>
                  <a:gd name="connsiteY9" fmla="*/ 93519 h 117653"/>
                  <a:gd name="connsiteX10" fmla="*/ 81453 w 102570"/>
                  <a:gd name="connsiteY10" fmla="*/ 93519 h 117653"/>
                  <a:gd name="connsiteX11" fmla="*/ 81453 w 102570"/>
                  <a:gd name="connsiteY11" fmla="*/ 99553 h 117653"/>
                  <a:gd name="connsiteX12" fmla="*/ 63351 w 102570"/>
                  <a:gd name="connsiteY12" fmla="*/ 117653 h 117653"/>
                  <a:gd name="connsiteX13" fmla="*/ 45251 w 102570"/>
                  <a:gd name="connsiteY13" fmla="*/ 99553 h 117653"/>
                  <a:gd name="connsiteX14" fmla="*/ 45251 w 102570"/>
                  <a:gd name="connsiteY14" fmla="*/ 42234 h 117653"/>
                  <a:gd name="connsiteX15" fmla="*/ 33184 w 102570"/>
                  <a:gd name="connsiteY15" fmla="*/ 51285 h 117653"/>
                  <a:gd name="connsiteX16" fmla="*/ 18100 w 102570"/>
                  <a:gd name="connsiteY16" fmla="*/ 42234 h 117653"/>
                  <a:gd name="connsiteX17" fmla="*/ 0 w 102570"/>
                  <a:gd name="connsiteY17" fmla="*/ 54301 h 117653"/>
                  <a:gd name="connsiteX18" fmla="*/ 0 w 102570"/>
                  <a:gd name="connsiteY18" fmla="*/ 51285 h 117653"/>
                  <a:gd name="connsiteX19" fmla="*/ 51285 w 102570"/>
                  <a:gd name="connsiteY19" fmla="*/ 0 h 117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2570" h="117653">
                    <a:moveTo>
                      <a:pt x="51285" y="0"/>
                    </a:moveTo>
                    <a:cubicBezTo>
                      <a:pt x="78435" y="0"/>
                      <a:pt x="102571" y="21117"/>
                      <a:pt x="102571" y="51285"/>
                    </a:cubicBezTo>
                    <a:cubicBezTo>
                      <a:pt x="102571" y="51285"/>
                      <a:pt x="102571" y="54301"/>
                      <a:pt x="102571" y="54301"/>
                    </a:cubicBezTo>
                    <a:cubicBezTo>
                      <a:pt x="99553" y="48268"/>
                      <a:pt x="93519" y="42234"/>
                      <a:pt x="84469" y="42234"/>
                    </a:cubicBezTo>
                    <a:cubicBezTo>
                      <a:pt x="78435" y="42234"/>
                      <a:pt x="72403" y="45251"/>
                      <a:pt x="69385" y="51285"/>
                    </a:cubicBezTo>
                    <a:cubicBezTo>
                      <a:pt x="66369" y="48268"/>
                      <a:pt x="63351" y="45251"/>
                      <a:pt x="57319" y="42234"/>
                    </a:cubicBezTo>
                    <a:lnTo>
                      <a:pt x="57319" y="99553"/>
                    </a:lnTo>
                    <a:cubicBezTo>
                      <a:pt x="57319" y="102570"/>
                      <a:pt x="60335" y="105587"/>
                      <a:pt x="63351" y="105587"/>
                    </a:cubicBezTo>
                    <a:cubicBezTo>
                      <a:pt x="66369" y="105587"/>
                      <a:pt x="69385" y="102570"/>
                      <a:pt x="69385" y="99553"/>
                    </a:cubicBezTo>
                    <a:lnTo>
                      <a:pt x="69385" y="93519"/>
                    </a:lnTo>
                    <a:lnTo>
                      <a:pt x="81453" y="93519"/>
                    </a:lnTo>
                    <a:lnTo>
                      <a:pt x="81453" y="99553"/>
                    </a:lnTo>
                    <a:cubicBezTo>
                      <a:pt x="81453" y="108603"/>
                      <a:pt x="72403" y="117653"/>
                      <a:pt x="63351" y="117653"/>
                    </a:cubicBezTo>
                    <a:cubicBezTo>
                      <a:pt x="54301" y="117653"/>
                      <a:pt x="45251" y="108603"/>
                      <a:pt x="45251" y="99553"/>
                    </a:cubicBezTo>
                    <a:lnTo>
                      <a:pt x="45251" y="42234"/>
                    </a:lnTo>
                    <a:cubicBezTo>
                      <a:pt x="42235" y="42234"/>
                      <a:pt x="36201" y="45251"/>
                      <a:pt x="33184" y="51285"/>
                    </a:cubicBezTo>
                    <a:cubicBezTo>
                      <a:pt x="30168" y="45251"/>
                      <a:pt x="24134" y="42234"/>
                      <a:pt x="18100" y="42234"/>
                    </a:cubicBezTo>
                    <a:cubicBezTo>
                      <a:pt x="9050" y="42234"/>
                      <a:pt x="3016" y="48268"/>
                      <a:pt x="0" y="54301"/>
                    </a:cubicBezTo>
                    <a:cubicBezTo>
                      <a:pt x="0" y="54301"/>
                      <a:pt x="0" y="51285"/>
                      <a:pt x="0" y="51285"/>
                    </a:cubicBezTo>
                    <a:cubicBezTo>
                      <a:pt x="3016" y="21117"/>
                      <a:pt x="24134" y="0"/>
                      <a:pt x="51285" y="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图形 1">
              <a:extLst>
                <a:ext uri="{FF2B5EF4-FFF2-40B4-BE49-F238E27FC236}">
                  <a16:creationId xmlns:a16="http://schemas.microsoft.com/office/drawing/2014/main" id="{83F60DFB-A296-4AE5-9301-A4E4EF17E5E6}"/>
                </a:ext>
              </a:extLst>
            </p:cNvPr>
            <p:cNvGrpSpPr/>
            <p:nvPr/>
          </p:nvGrpSpPr>
          <p:grpSpPr>
            <a:xfrm>
              <a:off x="17711651" y="9398417"/>
              <a:ext cx="5169724" cy="3122590"/>
              <a:chOff x="17711651" y="9398417"/>
              <a:chExt cx="5169724" cy="3122590"/>
            </a:xfrm>
          </p:grpSpPr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15309B0A-501B-4582-8450-5F7398289747}"/>
                  </a:ext>
                </a:extLst>
              </p:cNvPr>
              <p:cNvSpPr/>
              <p:nvPr/>
            </p:nvSpPr>
            <p:spPr>
              <a:xfrm>
                <a:off x="17755439" y="10276538"/>
                <a:ext cx="1837206" cy="96536"/>
              </a:xfrm>
              <a:custGeom>
                <a:avLst/>
                <a:gdLst>
                  <a:gd name="connsiteX0" fmla="*/ 1837207 w 1837206"/>
                  <a:gd name="connsiteY0" fmla="*/ 96537 h 96536"/>
                  <a:gd name="connsiteX1" fmla="*/ 48268 w 1837206"/>
                  <a:gd name="connsiteY1" fmla="*/ 96537 h 96536"/>
                  <a:gd name="connsiteX2" fmla="*/ 0 w 1837206"/>
                  <a:gd name="connsiteY2" fmla="*/ 48268 h 96536"/>
                  <a:gd name="connsiteX3" fmla="*/ 0 w 1837206"/>
                  <a:gd name="connsiteY3" fmla="*/ 48268 h 96536"/>
                  <a:gd name="connsiteX4" fmla="*/ 48268 w 1837206"/>
                  <a:gd name="connsiteY4" fmla="*/ 0 h 96536"/>
                  <a:gd name="connsiteX5" fmla="*/ 1837207 w 1837206"/>
                  <a:gd name="connsiteY5" fmla="*/ 0 h 96536"/>
                  <a:gd name="connsiteX6" fmla="*/ 1837207 w 1837206"/>
                  <a:gd name="connsiteY6" fmla="*/ 96537 h 96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37206" h="96536">
                    <a:moveTo>
                      <a:pt x="1837207" y="96537"/>
                    </a:moveTo>
                    <a:lnTo>
                      <a:pt x="48268" y="96537"/>
                    </a:lnTo>
                    <a:cubicBezTo>
                      <a:pt x="21117" y="96537"/>
                      <a:pt x="0" y="75419"/>
                      <a:pt x="0" y="48268"/>
                    </a:cubicBezTo>
                    <a:lnTo>
                      <a:pt x="0" y="48268"/>
                    </a:lnTo>
                    <a:cubicBezTo>
                      <a:pt x="0" y="21118"/>
                      <a:pt x="21117" y="0"/>
                      <a:pt x="48268" y="0"/>
                    </a:cubicBezTo>
                    <a:lnTo>
                      <a:pt x="1837207" y="0"/>
                    </a:lnTo>
                    <a:lnTo>
                      <a:pt x="1837207" y="96537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67BD1ABB-1178-406A-9917-2AD429CB4E9E}"/>
                  </a:ext>
                </a:extLst>
              </p:cNvPr>
              <p:cNvSpPr/>
              <p:nvPr/>
            </p:nvSpPr>
            <p:spPr>
              <a:xfrm>
                <a:off x="19532310" y="10225253"/>
                <a:ext cx="1912626" cy="1384693"/>
              </a:xfrm>
              <a:custGeom>
                <a:avLst/>
                <a:gdLst>
                  <a:gd name="connsiteX0" fmla="*/ 636536 w 1912626"/>
                  <a:gd name="connsiteY0" fmla="*/ 1384694 h 1384693"/>
                  <a:gd name="connsiteX1" fmla="*/ 1912627 w 1912626"/>
                  <a:gd name="connsiteY1" fmla="*/ 280559 h 1384693"/>
                  <a:gd name="connsiteX2" fmla="*/ 1888491 w 1912626"/>
                  <a:gd name="connsiteY2" fmla="*/ 250392 h 1384693"/>
                  <a:gd name="connsiteX3" fmla="*/ 648603 w 1912626"/>
                  <a:gd name="connsiteY3" fmla="*/ 1327374 h 1384693"/>
                  <a:gd name="connsiteX4" fmla="*/ 33184 w 1912626"/>
                  <a:gd name="connsiteY4" fmla="*/ 0 h 1384693"/>
                  <a:gd name="connsiteX5" fmla="*/ 0 w 1912626"/>
                  <a:gd name="connsiteY5" fmla="*/ 15084 h 1384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12626" h="1384693">
                    <a:moveTo>
                      <a:pt x="636536" y="1384694"/>
                    </a:moveTo>
                    <a:lnTo>
                      <a:pt x="1912627" y="280559"/>
                    </a:lnTo>
                    <a:lnTo>
                      <a:pt x="1888491" y="250392"/>
                    </a:lnTo>
                    <a:lnTo>
                      <a:pt x="648603" y="1327374"/>
                    </a:lnTo>
                    <a:lnTo>
                      <a:pt x="33184" y="0"/>
                    </a:lnTo>
                    <a:lnTo>
                      <a:pt x="0" y="15084"/>
                    </a:lnTo>
                    <a:close/>
                  </a:path>
                </a:pathLst>
              </a:custGeom>
              <a:solidFill>
                <a:srgbClr val="F6EBE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7B12C30D-A10C-46FB-9793-9D5B7B6DFB49}"/>
                  </a:ext>
                </a:extLst>
              </p:cNvPr>
              <p:cNvSpPr/>
              <p:nvPr/>
            </p:nvSpPr>
            <p:spPr>
              <a:xfrm>
                <a:off x="19993874" y="10421343"/>
                <a:ext cx="1420894" cy="799441"/>
              </a:xfrm>
              <a:custGeom>
                <a:avLst/>
                <a:gdLst>
                  <a:gd name="connsiteX0" fmla="*/ 15084 w 1420894"/>
                  <a:gd name="connsiteY0" fmla="*/ 799441 h 799441"/>
                  <a:gd name="connsiteX1" fmla="*/ 1420895 w 1420894"/>
                  <a:gd name="connsiteY1" fmla="*/ 33185 h 799441"/>
                  <a:gd name="connsiteX2" fmla="*/ 1402793 w 1420894"/>
                  <a:gd name="connsiteY2" fmla="*/ 0 h 799441"/>
                  <a:gd name="connsiteX3" fmla="*/ 0 w 1420894"/>
                  <a:gd name="connsiteY3" fmla="*/ 769274 h 799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0894" h="799441">
                    <a:moveTo>
                      <a:pt x="15084" y="799441"/>
                    </a:moveTo>
                    <a:lnTo>
                      <a:pt x="1420895" y="33185"/>
                    </a:lnTo>
                    <a:lnTo>
                      <a:pt x="1402793" y="0"/>
                    </a:lnTo>
                    <a:lnTo>
                      <a:pt x="0" y="769274"/>
                    </a:lnTo>
                    <a:close/>
                  </a:path>
                </a:pathLst>
              </a:custGeom>
              <a:solidFill>
                <a:srgbClr val="F6EBE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CEE4AE87-6971-4F0D-AB4E-2D2F59352219}"/>
                  </a:ext>
                </a:extLst>
              </p:cNvPr>
              <p:cNvSpPr/>
              <p:nvPr/>
            </p:nvSpPr>
            <p:spPr>
              <a:xfrm>
                <a:off x="20280466" y="11712516"/>
                <a:ext cx="304692" cy="60335"/>
              </a:xfrm>
              <a:custGeom>
                <a:avLst/>
                <a:gdLst>
                  <a:gd name="connsiteX0" fmla="*/ 0 w 304692"/>
                  <a:gd name="connsiteY0" fmla="*/ 0 h 60335"/>
                  <a:gd name="connsiteX1" fmla="*/ 304692 w 304692"/>
                  <a:gd name="connsiteY1" fmla="*/ 0 h 60335"/>
                  <a:gd name="connsiteX2" fmla="*/ 304692 w 304692"/>
                  <a:gd name="connsiteY2" fmla="*/ 60335 h 60335"/>
                  <a:gd name="connsiteX3" fmla="*/ 0 w 304692"/>
                  <a:gd name="connsiteY3" fmla="*/ 60335 h 60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692" h="60335">
                    <a:moveTo>
                      <a:pt x="0" y="0"/>
                    </a:moveTo>
                    <a:lnTo>
                      <a:pt x="304692" y="0"/>
                    </a:lnTo>
                    <a:lnTo>
                      <a:pt x="304692" y="60335"/>
                    </a:lnTo>
                    <a:lnTo>
                      <a:pt x="0" y="60335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5A5F7D22-B1FD-4C55-8300-BB2EA73AA153}"/>
                  </a:ext>
                </a:extLst>
              </p:cNvPr>
              <p:cNvSpPr/>
              <p:nvPr/>
            </p:nvSpPr>
            <p:spPr>
              <a:xfrm rot="-2236739">
                <a:off x="18844823" y="11166813"/>
                <a:ext cx="1104140" cy="36201"/>
              </a:xfrm>
              <a:custGeom>
                <a:avLst/>
                <a:gdLst>
                  <a:gd name="connsiteX0" fmla="*/ 0 w 1104140"/>
                  <a:gd name="connsiteY0" fmla="*/ 0 h 36201"/>
                  <a:gd name="connsiteX1" fmla="*/ 1104140 w 1104140"/>
                  <a:gd name="connsiteY1" fmla="*/ 0 h 36201"/>
                  <a:gd name="connsiteX2" fmla="*/ 1104140 w 1104140"/>
                  <a:gd name="connsiteY2" fmla="*/ 36202 h 36201"/>
                  <a:gd name="connsiteX3" fmla="*/ 0 w 1104140"/>
                  <a:gd name="connsiteY3" fmla="*/ 36202 h 36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04140" h="36201">
                    <a:moveTo>
                      <a:pt x="0" y="0"/>
                    </a:moveTo>
                    <a:lnTo>
                      <a:pt x="1104140" y="0"/>
                    </a:lnTo>
                    <a:lnTo>
                      <a:pt x="1104140" y="36202"/>
                    </a:lnTo>
                    <a:lnTo>
                      <a:pt x="0" y="36202"/>
                    </a:lnTo>
                    <a:close/>
                  </a:path>
                </a:pathLst>
              </a:custGeom>
              <a:solidFill>
                <a:srgbClr val="F6EBE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2" name="图形 1">
                <a:extLst>
                  <a:ext uri="{FF2B5EF4-FFF2-40B4-BE49-F238E27FC236}">
                    <a16:creationId xmlns:a16="http://schemas.microsoft.com/office/drawing/2014/main" id="{264827DE-0251-4609-8A88-AAAF5A8A29F8}"/>
                  </a:ext>
                </a:extLst>
              </p:cNvPr>
              <p:cNvGrpSpPr/>
              <p:nvPr/>
            </p:nvGrpSpPr>
            <p:grpSpPr>
              <a:xfrm>
                <a:off x="17711651" y="10545030"/>
                <a:ext cx="2056428" cy="1975977"/>
                <a:chOff x="17711651" y="10545030"/>
                <a:chExt cx="2056428" cy="1975977"/>
              </a:xfrm>
            </p:grpSpPr>
            <p:sp>
              <p:nvSpPr>
                <p:cNvPr id="82" name="任意多边形: 形状 81">
                  <a:extLst>
                    <a:ext uri="{FF2B5EF4-FFF2-40B4-BE49-F238E27FC236}">
                      <a16:creationId xmlns:a16="http://schemas.microsoft.com/office/drawing/2014/main" id="{7E67825A-D2B8-4BBA-B0D6-D7EAB6055A88}"/>
                    </a:ext>
                  </a:extLst>
                </p:cNvPr>
                <p:cNvSpPr/>
                <p:nvPr/>
              </p:nvSpPr>
              <p:spPr>
                <a:xfrm>
                  <a:off x="18732869" y="10735086"/>
                  <a:ext cx="36201" cy="859776"/>
                </a:xfrm>
                <a:custGeom>
                  <a:avLst/>
                  <a:gdLst>
                    <a:gd name="connsiteX0" fmla="*/ 0 w 36201"/>
                    <a:gd name="connsiteY0" fmla="*/ 0 h 859776"/>
                    <a:gd name="connsiteX1" fmla="*/ 36201 w 36201"/>
                    <a:gd name="connsiteY1" fmla="*/ 0 h 859776"/>
                    <a:gd name="connsiteX2" fmla="*/ 36201 w 36201"/>
                    <a:gd name="connsiteY2" fmla="*/ 859777 h 859776"/>
                    <a:gd name="connsiteX3" fmla="*/ 0 w 36201"/>
                    <a:gd name="connsiteY3" fmla="*/ 859777 h 859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201" h="859776">
                      <a:moveTo>
                        <a:pt x="0" y="0"/>
                      </a:moveTo>
                      <a:lnTo>
                        <a:pt x="36201" y="0"/>
                      </a:lnTo>
                      <a:lnTo>
                        <a:pt x="36201" y="859777"/>
                      </a:lnTo>
                      <a:lnTo>
                        <a:pt x="0" y="859777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: 形状 82">
                  <a:extLst>
                    <a:ext uri="{FF2B5EF4-FFF2-40B4-BE49-F238E27FC236}">
                      <a16:creationId xmlns:a16="http://schemas.microsoft.com/office/drawing/2014/main" id="{D105279C-23F1-49EB-B3CC-D6CCD82AE9B3}"/>
                    </a:ext>
                  </a:extLst>
                </p:cNvPr>
                <p:cNvSpPr/>
                <p:nvPr/>
              </p:nvSpPr>
              <p:spPr>
                <a:xfrm rot="-2700000">
                  <a:off x="18428057" y="10862722"/>
                  <a:ext cx="36200" cy="859768"/>
                </a:xfrm>
                <a:custGeom>
                  <a:avLst/>
                  <a:gdLst>
                    <a:gd name="connsiteX0" fmla="*/ 1 w 36200"/>
                    <a:gd name="connsiteY0" fmla="*/ 0 h 859768"/>
                    <a:gd name="connsiteX1" fmla="*/ 36202 w 36200"/>
                    <a:gd name="connsiteY1" fmla="*/ 0 h 859768"/>
                    <a:gd name="connsiteX2" fmla="*/ 36202 w 36200"/>
                    <a:gd name="connsiteY2" fmla="*/ 859768 h 859768"/>
                    <a:gd name="connsiteX3" fmla="*/ 1 w 36200"/>
                    <a:gd name="connsiteY3" fmla="*/ 859768 h 8597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200" h="859768">
                      <a:moveTo>
                        <a:pt x="1" y="0"/>
                      </a:moveTo>
                      <a:lnTo>
                        <a:pt x="36202" y="0"/>
                      </a:lnTo>
                      <a:lnTo>
                        <a:pt x="36202" y="859768"/>
                      </a:lnTo>
                      <a:lnTo>
                        <a:pt x="1" y="859768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: 形状 83">
                  <a:extLst>
                    <a:ext uri="{FF2B5EF4-FFF2-40B4-BE49-F238E27FC236}">
                      <a16:creationId xmlns:a16="http://schemas.microsoft.com/office/drawing/2014/main" id="{B429F345-A790-477D-BAC0-139012AB4897}"/>
                    </a:ext>
                  </a:extLst>
                </p:cNvPr>
                <p:cNvSpPr/>
                <p:nvPr/>
              </p:nvSpPr>
              <p:spPr>
                <a:xfrm>
                  <a:off x="17891193" y="11576762"/>
                  <a:ext cx="859776" cy="36201"/>
                </a:xfrm>
                <a:custGeom>
                  <a:avLst/>
                  <a:gdLst>
                    <a:gd name="connsiteX0" fmla="*/ 0 w 859776"/>
                    <a:gd name="connsiteY0" fmla="*/ 0 h 36201"/>
                    <a:gd name="connsiteX1" fmla="*/ 859776 w 859776"/>
                    <a:gd name="connsiteY1" fmla="*/ 0 h 36201"/>
                    <a:gd name="connsiteX2" fmla="*/ 859776 w 859776"/>
                    <a:gd name="connsiteY2" fmla="*/ 36202 h 36201"/>
                    <a:gd name="connsiteX3" fmla="*/ -1 w 859776"/>
                    <a:gd name="connsiteY3" fmla="*/ 36202 h 36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59776" h="36201">
                      <a:moveTo>
                        <a:pt x="0" y="0"/>
                      </a:moveTo>
                      <a:lnTo>
                        <a:pt x="859776" y="0"/>
                      </a:lnTo>
                      <a:lnTo>
                        <a:pt x="859776" y="36202"/>
                      </a:lnTo>
                      <a:lnTo>
                        <a:pt x="-1" y="36202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: 形状 84">
                  <a:extLst>
                    <a:ext uri="{FF2B5EF4-FFF2-40B4-BE49-F238E27FC236}">
                      <a16:creationId xmlns:a16="http://schemas.microsoft.com/office/drawing/2014/main" id="{590E41FD-4CAE-4A48-82A3-E51A57CC34EC}"/>
                    </a:ext>
                  </a:extLst>
                </p:cNvPr>
                <p:cNvSpPr/>
                <p:nvPr/>
              </p:nvSpPr>
              <p:spPr>
                <a:xfrm rot="-2700000">
                  <a:off x="18016494" y="11880504"/>
                  <a:ext cx="859768" cy="36200"/>
                </a:xfrm>
                <a:custGeom>
                  <a:avLst/>
                  <a:gdLst>
                    <a:gd name="connsiteX0" fmla="*/ 0 w 859768"/>
                    <a:gd name="connsiteY0" fmla="*/ 0 h 36200"/>
                    <a:gd name="connsiteX1" fmla="*/ 859768 w 859768"/>
                    <a:gd name="connsiteY1" fmla="*/ 0 h 36200"/>
                    <a:gd name="connsiteX2" fmla="*/ 859768 w 859768"/>
                    <a:gd name="connsiteY2" fmla="*/ 36201 h 36200"/>
                    <a:gd name="connsiteX3" fmla="*/ 0 w 859768"/>
                    <a:gd name="connsiteY3" fmla="*/ 36201 h 36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59768" h="36200">
                      <a:moveTo>
                        <a:pt x="0" y="0"/>
                      </a:moveTo>
                      <a:lnTo>
                        <a:pt x="859768" y="0"/>
                      </a:lnTo>
                      <a:lnTo>
                        <a:pt x="859768" y="36201"/>
                      </a:lnTo>
                      <a:lnTo>
                        <a:pt x="0" y="36201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: 形状 85">
                  <a:extLst>
                    <a:ext uri="{FF2B5EF4-FFF2-40B4-BE49-F238E27FC236}">
                      <a16:creationId xmlns:a16="http://schemas.microsoft.com/office/drawing/2014/main" id="{9B3D4D20-BBE5-4696-B7DD-0E6A8B9228A4}"/>
                    </a:ext>
                  </a:extLst>
                </p:cNvPr>
                <p:cNvSpPr/>
                <p:nvPr/>
              </p:nvSpPr>
              <p:spPr>
                <a:xfrm>
                  <a:off x="18732869" y="11597879"/>
                  <a:ext cx="36201" cy="859776"/>
                </a:xfrm>
                <a:custGeom>
                  <a:avLst/>
                  <a:gdLst>
                    <a:gd name="connsiteX0" fmla="*/ 0 w 36201"/>
                    <a:gd name="connsiteY0" fmla="*/ 0 h 859776"/>
                    <a:gd name="connsiteX1" fmla="*/ 36201 w 36201"/>
                    <a:gd name="connsiteY1" fmla="*/ 0 h 859776"/>
                    <a:gd name="connsiteX2" fmla="*/ 36201 w 36201"/>
                    <a:gd name="connsiteY2" fmla="*/ 859776 h 859776"/>
                    <a:gd name="connsiteX3" fmla="*/ 0 w 36201"/>
                    <a:gd name="connsiteY3" fmla="*/ 859776 h 859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201" h="859776">
                      <a:moveTo>
                        <a:pt x="0" y="0"/>
                      </a:moveTo>
                      <a:lnTo>
                        <a:pt x="36201" y="0"/>
                      </a:lnTo>
                      <a:lnTo>
                        <a:pt x="36201" y="859776"/>
                      </a:lnTo>
                      <a:lnTo>
                        <a:pt x="0" y="859776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7" name="任意多边形: 形状 86">
                  <a:extLst>
                    <a:ext uri="{FF2B5EF4-FFF2-40B4-BE49-F238E27FC236}">
                      <a16:creationId xmlns:a16="http://schemas.microsoft.com/office/drawing/2014/main" id="{5FE85400-560D-468D-81EC-28248F191402}"/>
                    </a:ext>
                  </a:extLst>
                </p:cNvPr>
                <p:cNvSpPr/>
                <p:nvPr/>
              </p:nvSpPr>
              <p:spPr>
                <a:xfrm rot="-2700000">
                  <a:off x="19037809" y="11471896"/>
                  <a:ext cx="36200" cy="859768"/>
                </a:xfrm>
                <a:custGeom>
                  <a:avLst/>
                  <a:gdLst>
                    <a:gd name="connsiteX0" fmla="*/ -1 w 36200"/>
                    <a:gd name="connsiteY0" fmla="*/ 0 h 859768"/>
                    <a:gd name="connsiteX1" fmla="*/ 36200 w 36200"/>
                    <a:gd name="connsiteY1" fmla="*/ 0 h 859768"/>
                    <a:gd name="connsiteX2" fmla="*/ 36200 w 36200"/>
                    <a:gd name="connsiteY2" fmla="*/ 859769 h 859768"/>
                    <a:gd name="connsiteX3" fmla="*/ -1 w 36200"/>
                    <a:gd name="connsiteY3" fmla="*/ 859769 h 8597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200" h="859768">
                      <a:moveTo>
                        <a:pt x="-1" y="0"/>
                      </a:moveTo>
                      <a:lnTo>
                        <a:pt x="36200" y="0"/>
                      </a:lnTo>
                      <a:lnTo>
                        <a:pt x="36200" y="859769"/>
                      </a:lnTo>
                      <a:lnTo>
                        <a:pt x="-1" y="859769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8" name="任意多边形: 形状 87">
                  <a:extLst>
                    <a:ext uri="{FF2B5EF4-FFF2-40B4-BE49-F238E27FC236}">
                      <a16:creationId xmlns:a16="http://schemas.microsoft.com/office/drawing/2014/main" id="{DE736C38-08CA-4DC7-896F-C756EE87DFE6}"/>
                    </a:ext>
                  </a:extLst>
                </p:cNvPr>
                <p:cNvSpPr/>
                <p:nvPr/>
              </p:nvSpPr>
              <p:spPr>
                <a:xfrm>
                  <a:off x="18750969" y="11576762"/>
                  <a:ext cx="859776" cy="36201"/>
                </a:xfrm>
                <a:custGeom>
                  <a:avLst/>
                  <a:gdLst>
                    <a:gd name="connsiteX0" fmla="*/ -1 w 859776"/>
                    <a:gd name="connsiteY0" fmla="*/ 0 h 36201"/>
                    <a:gd name="connsiteX1" fmla="*/ 859776 w 859776"/>
                    <a:gd name="connsiteY1" fmla="*/ 0 h 36201"/>
                    <a:gd name="connsiteX2" fmla="*/ 859776 w 859776"/>
                    <a:gd name="connsiteY2" fmla="*/ 36202 h 36201"/>
                    <a:gd name="connsiteX3" fmla="*/ -1 w 859776"/>
                    <a:gd name="connsiteY3" fmla="*/ 36202 h 36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59776" h="36201">
                      <a:moveTo>
                        <a:pt x="-1" y="0"/>
                      </a:moveTo>
                      <a:lnTo>
                        <a:pt x="859776" y="0"/>
                      </a:lnTo>
                      <a:lnTo>
                        <a:pt x="859776" y="36202"/>
                      </a:lnTo>
                      <a:lnTo>
                        <a:pt x="-1" y="36202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9" name="任意多边形: 形状 88">
                  <a:extLst>
                    <a:ext uri="{FF2B5EF4-FFF2-40B4-BE49-F238E27FC236}">
                      <a16:creationId xmlns:a16="http://schemas.microsoft.com/office/drawing/2014/main" id="{09D6CAEA-F0EC-4B5A-BAF4-655162FB6EAC}"/>
                    </a:ext>
                  </a:extLst>
                </p:cNvPr>
                <p:cNvSpPr/>
                <p:nvPr/>
              </p:nvSpPr>
              <p:spPr>
                <a:xfrm rot="-2700000">
                  <a:off x="18625756" y="11277260"/>
                  <a:ext cx="859768" cy="36200"/>
                </a:xfrm>
                <a:custGeom>
                  <a:avLst/>
                  <a:gdLst>
                    <a:gd name="connsiteX0" fmla="*/ 1 w 859768"/>
                    <a:gd name="connsiteY0" fmla="*/ 0 h 36200"/>
                    <a:gd name="connsiteX1" fmla="*/ 859769 w 859768"/>
                    <a:gd name="connsiteY1" fmla="*/ 0 h 36200"/>
                    <a:gd name="connsiteX2" fmla="*/ 859769 w 859768"/>
                    <a:gd name="connsiteY2" fmla="*/ 36201 h 36200"/>
                    <a:gd name="connsiteX3" fmla="*/ 1 w 859768"/>
                    <a:gd name="connsiteY3" fmla="*/ 36201 h 36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59768" h="36200">
                      <a:moveTo>
                        <a:pt x="1" y="0"/>
                      </a:moveTo>
                      <a:lnTo>
                        <a:pt x="859769" y="0"/>
                      </a:lnTo>
                      <a:lnTo>
                        <a:pt x="859769" y="36201"/>
                      </a:lnTo>
                      <a:lnTo>
                        <a:pt x="1" y="36201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0" name="任意多边形: 形状 89">
                  <a:extLst>
                    <a:ext uri="{FF2B5EF4-FFF2-40B4-BE49-F238E27FC236}">
                      <a16:creationId xmlns:a16="http://schemas.microsoft.com/office/drawing/2014/main" id="{E24E9FD2-EA6E-4DC2-9A2A-B2E843827ACD}"/>
                    </a:ext>
                  </a:extLst>
                </p:cNvPr>
                <p:cNvSpPr/>
                <p:nvPr/>
              </p:nvSpPr>
              <p:spPr>
                <a:xfrm>
                  <a:off x="17833875" y="10686818"/>
                  <a:ext cx="1834206" cy="1834189"/>
                </a:xfrm>
                <a:custGeom>
                  <a:avLst/>
                  <a:gdLst>
                    <a:gd name="connsiteX0" fmla="*/ 917094 w 1834206"/>
                    <a:gd name="connsiteY0" fmla="*/ 0 h 1834189"/>
                    <a:gd name="connsiteX1" fmla="*/ 0 w 1834206"/>
                    <a:gd name="connsiteY1" fmla="*/ 917095 h 1834189"/>
                    <a:gd name="connsiteX2" fmla="*/ 917094 w 1834206"/>
                    <a:gd name="connsiteY2" fmla="*/ 1834190 h 1834189"/>
                    <a:gd name="connsiteX3" fmla="*/ 1834190 w 1834206"/>
                    <a:gd name="connsiteY3" fmla="*/ 917095 h 1834189"/>
                    <a:gd name="connsiteX4" fmla="*/ 917094 w 1834206"/>
                    <a:gd name="connsiteY4" fmla="*/ 0 h 1834189"/>
                    <a:gd name="connsiteX5" fmla="*/ 917094 w 1834206"/>
                    <a:gd name="connsiteY5" fmla="*/ 1758771 h 1834189"/>
                    <a:gd name="connsiteX6" fmla="*/ 75419 w 1834206"/>
                    <a:gd name="connsiteY6" fmla="*/ 917095 h 1834189"/>
                    <a:gd name="connsiteX7" fmla="*/ 917094 w 1834206"/>
                    <a:gd name="connsiteY7" fmla="*/ 75419 h 1834189"/>
                    <a:gd name="connsiteX8" fmla="*/ 1758771 w 1834206"/>
                    <a:gd name="connsiteY8" fmla="*/ 917095 h 1834189"/>
                    <a:gd name="connsiteX9" fmla="*/ 917094 w 1834206"/>
                    <a:gd name="connsiteY9" fmla="*/ 1758771 h 18341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34206" h="1834189">
                      <a:moveTo>
                        <a:pt x="917094" y="0"/>
                      </a:moveTo>
                      <a:cubicBezTo>
                        <a:pt x="410279" y="0"/>
                        <a:pt x="0" y="410280"/>
                        <a:pt x="0" y="917095"/>
                      </a:cubicBezTo>
                      <a:cubicBezTo>
                        <a:pt x="0" y="1423910"/>
                        <a:pt x="410279" y="1834190"/>
                        <a:pt x="917094" y="1834190"/>
                      </a:cubicBezTo>
                      <a:cubicBezTo>
                        <a:pt x="1423911" y="1834190"/>
                        <a:pt x="1834190" y="1423910"/>
                        <a:pt x="1834190" y="917095"/>
                      </a:cubicBezTo>
                      <a:cubicBezTo>
                        <a:pt x="1837206" y="410280"/>
                        <a:pt x="1423911" y="0"/>
                        <a:pt x="917094" y="0"/>
                      </a:cubicBezTo>
                      <a:close/>
                      <a:moveTo>
                        <a:pt x="917094" y="1758771"/>
                      </a:moveTo>
                      <a:cubicBezTo>
                        <a:pt x="452514" y="1758771"/>
                        <a:pt x="75419" y="1381676"/>
                        <a:pt x="75419" y="917095"/>
                      </a:cubicBezTo>
                      <a:cubicBezTo>
                        <a:pt x="75419" y="452514"/>
                        <a:pt x="452514" y="75419"/>
                        <a:pt x="917094" y="75419"/>
                      </a:cubicBezTo>
                      <a:cubicBezTo>
                        <a:pt x="1381676" y="75419"/>
                        <a:pt x="1758771" y="452514"/>
                        <a:pt x="1758771" y="917095"/>
                      </a:cubicBezTo>
                      <a:cubicBezTo>
                        <a:pt x="1758771" y="1381676"/>
                        <a:pt x="1381676" y="1758771"/>
                        <a:pt x="917094" y="1758771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1" name="任意多边形: 形状 90">
                  <a:extLst>
                    <a:ext uri="{FF2B5EF4-FFF2-40B4-BE49-F238E27FC236}">
                      <a16:creationId xmlns:a16="http://schemas.microsoft.com/office/drawing/2014/main" id="{6377D087-AF10-4191-9EFB-1C175F20014F}"/>
                    </a:ext>
                  </a:extLst>
                </p:cNvPr>
                <p:cNvSpPr/>
                <p:nvPr/>
              </p:nvSpPr>
              <p:spPr>
                <a:xfrm>
                  <a:off x="17711651" y="10545030"/>
                  <a:ext cx="2056428" cy="856759"/>
                </a:xfrm>
                <a:custGeom>
                  <a:avLst/>
                  <a:gdLst>
                    <a:gd name="connsiteX0" fmla="*/ 2022782 w 2056428"/>
                    <a:gd name="connsiteY0" fmla="*/ 856760 h 856759"/>
                    <a:gd name="connsiteX1" fmla="*/ 1986581 w 2056428"/>
                    <a:gd name="connsiteY1" fmla="*/ 826592 h 856759"/>
                    <a:gd name="connsiteX2" fmla="*/ 1030268 w 2056428"/>
                    <a:gd name="connsiteY2" fmla="*/ 75419 h 856759"/>
                    <a:gd name="connsiteX3" fmla="*/ 73955 w 2056428"/>
                    <a:gd name="connsiteY3" fmla="*/ 814525 h 856759"/>
                    <a:gd name="connsiteX4" fmla="*/ 28704 w 2056428"/>
                    <a:gd name="connsiteY4" fmla="*/ 841676 h 856759"/>
                    <a:gd name="connsiteX5" fmla="*/ 1553 w 2056428"/>
                    <a:gd name="connsiteY5" fmla="*/ 796424 h 856759"/>
                    <a:gd name="connsiteX6" fmla="*/ 1027252 w 2056428"/>
                    <a:gd name="connsiteY6" fmla="*/ 0 h 856759"/>
                    <a:gd name="connsiteX7" fmla="*/ 2055966 w 2056428"/>
                    <a:gd name="connsiteY7" fmla="*/ 808492 h 856759"/>
                    <a:gd name="connsiteX8" fmla="*/ 2028816 w 2056428"/>
                    <a:gd name="connsiteY8" fmla="*/ 850727 h 856759"/>
                    <a:gd name="connsiteX9" fmla="*/ 2022782 w 2056428"/>
                    <a:gd name="connsiteY9" fmla="*/ 856760 h 856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56428" h="856759">
                      <a:moveTo>
                        <a:pt x="2022782" y="856760"/>
                      </a:moveTo>
                      <a:cubicBezTo>
                        <a:pt x="2004681" y="856760"/>
                        <a:pt x="1989597" y="844693"/>
                        <a:pt x="1986581" y="826592"/>
                      </a:cubicBezTo>
                      <a:cubicBezTo>
                        <a:pt x="1893062" y="392179"/>
                        <a:pt x="1488816" y="75419"/>
                        <a:pt x="1030268" y="75419"/>
                      </a:cubicBezTo>
                      <a:cubicBezTo>
                        <a:pt x="577754" y="75419"/>
                        <a:pt x="173508" y="386146"/>
                        <a:pt x="73955" y="814525"/>
                      </a:cubicBezTo>
                      <a:cubicBezTo>
                        <a:pt x="67921" y="835643"/>
                        <a:pt x="49821" y="847710"/>
                        <a:pt x="28704" y="841676"/>
                      </a:cubicBezTo>
                      <a:cubicBezTo>
                        <a:pt x="7586" y="835643"/>
                        <a:pt x="-4481" y="817542"/>
                        <a:pt x="1553" y="796424"/>
                      </a:cubicBezTo>
                      <a:cubicBezTo>
                        <a:pt x="110156" y="334861"/>
                        <a:pt x="541552" y="0"/>
                        <a:pt x="1027252" y="0"/>
                      </a:cubicBezTo>
                      <a:cubicBezTo>
                        <a:pt x="1518983" y="0"/>
                        <a:pt x="1953397" y="340894"/>
                        <a:pt x="2055966" y="808492"/>
                      </a:cubicBezTo>
                      <a:cubicBezTo>
                        <a:pt x="2058984" y="829609"/>
                        <a:pt x="2046916" y="847710"/>
                        <a:pt x="2028816" y="850727"/>
                      </a:cubicBezTo>
                      <a:cubicBezTo>
                        <a:pt x="2028816" y="856760"/>
                        <a:pt x="2025798" y="856760"/>
                        <a:pt x="2022782" y="85676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63" name="图形 1">
                <a:extLst>
                  <a:ext uri="{FF2B5EF4-FFF2-40B4-BE49-F238E27FC236}">
                    <a16:creationId xmlns:a16="http://schemas.microsoft.com/office/drawing/2014/main" id="{1F5F3812-BD36-48DD-AFB4-F3149BAD029E}"/>
                  </a:ext>
                </a:extLst>
              </p:cNvPr>
              <p:cNvGrpSpPr/>
              <p:nvPr/>
            </p:nvGrpSpPr>
            <p:grpSpPr>
              <a:xfrm>
                <a:off x="20824947" y="10545030"/>
                <a:ext cx="2056427" cy="1975977"/>
                <a:chOff x="20824947" y="10545030"/>
                <a:chExt cx="2056427" cy="1975977"/>
              </a:xfrm>
            </p:grpSpPr>
            <p:sp>
              <p:nvSpPr>
                <p:cNvPr id="72" name="任意多边形: 形状 71">
                  <a:extLst>
                    <a:ext uri="{FF2B5EF4-FFF2-40B4-BE49-F238E27FC236}">
                      <a16:creationId xmlns:a16="http://schemas.microsoft.com/office/drawing/2014/main" id="{E5B7BEE9-C265-413A-A4DB-F3E6EE88FB42}"/>
                    </a:ext>
                  </a:extLst>
                </p:cNvPr>
                <p:cNvSpPr/>
                <p:nvPr/>
              </p:nvSpPr>
              <p:spPr>
                <a:xfrm>
                  <a:off x="21843148" y="10735086"/>
                  <a:ext cx="36201" cy="859776"/>
                </a:xfrm>
                <a:custGeom>
                  <a:avLst/>
                  <a:gdLst>
                    <a:gd name="connsiteX0" fmla="*/ -1 w 36201"/>
                    <a:gd name="connsiteY0" fmla="*/ 0 h 859776"/>
                    <a:gd name="connsiteX1" fmla="*/ 36201 w 36201"/>
                    <a:gd name="connsiteY1" fmla="*/ 0 h 859776"/>
                    <a:gd name="connsiteX2" fmla="*/ 36201 w 36201"/>
                    <a:gd name="connsiteY2" fmla="*/ 859777 h 859776"/>
                    <a:gd name="connsiteX3" fmla="*/ -1 w 36201"/>
                    <a:gd name="connsiteY3" fmla="*/ 859777 h 859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201" h="859776">
                      <a:moveTo>
                        <a:pt x="-1" y="0"/>
                      </a:moveTo>
                      <a:lnTo>
                        <a:pt x="36201" y="0"/>
                      </a:lnTo>
                      <a:lnTo>
                        <a:pt x="36201" y="859777"/>
                      </a:lnTo>
                      <a:lnTo>
                        <a:pt x="-1" y="859777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: 形状 72">
                  <a:extLst>
                    <a:ext uri="{FF2B5EF4-FFF2-40B4-BE49-F238E27FC236}">
                      <a16:creationId xmlns:a16="http://schemas.microsoft.com/office/drawing/2014/main" id="{39EA7BF5-12F3-4E06-B6FB-EB6C1137E622}"/>
                    </a:ext>
                  </a:extLst>
                </p:cNvPr>
                <p:cNvSpPr/>
                <p:nvPr/>
              </p:nvSpPr>
              <p:spPr>
                <a:xfrm rot="-2700000">
                  <a:off x="21538536" y="10863385"/>
                  <a:ext cx="36200" cy="859768"/>
                </a:xfrm>
                <a:custGeom>
                  <a:avLst/>
                  <a:gdLst>
                    <a:gd name="connsiteX0" fmla="*/ 0 w 36200"/>
                    <a:gd name="connsiteY0" fmla="*/ 0 h 859768"/>
                    <a:gd name="connsiteX1" fmla="*/ 36201 w 36200"/>
                    <a:gd name="connsiteY1" fmla="*/ 0 h 859768"/>
                    <a:gd name="connsiteX2" fmla="*/ 36201 w 36200"/>
                    <a:gd name="connsiteY2" fmla="*/ 859768 h 859768"/>
                    <a:gd name="connsiteX3" fmla="*/ 0 w 36200"/>
                    <a:gd name="connsiteY3" fmla="*/ 859768 h 8597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200" h="859768">
                      <a:moveTo>
                        <a:pt x="0" y="0"/>
                      </a:moveTo>
                      <a:lnTo>
                        <a:pt x="36201" y="0"/>
                      </a:lnTo>
                      <a:lnTo>
                        <a:pt x="36201" y="859768"/>
                      </a:lnTo>
                      <a:lnTo>
                        <a:pt x="0" y="859768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: 形状 73">
                  <a:extLst>
                    <a:ext uri="{FF2B5EF4-FFF2-40B4-BE49-F238E27FC236}">
                      <a16:creationId xmlns:a16="http://schemas.microsoft.com/office/drawing/2014/main" id="{E02435F1-680C-45B3-925F-24D312429B65}"/>
                    </a:ext>
                  </a:extLst>
                </p:cNvPr>
                <p:cNvSpPr/>
                <p:nvPr/>
              </p:nvSpPr>
              <p:spPr>
                <a:xfrm>
                  <a:off x="21001472" y="11576762"/>
                  <a:ext cx="859776" cy="36201"/>
                </a:xfrm>
                <a:custGeom>
                  <a:avLst/>
                  <a:gdLst>
                    <a:gd name="connsiteX0" fmla="*/ 0 w 859776"/>
                    <a:gd name="connsiteY0" fmla="*/ 0 h 36201"/>
                    <a:gd name="connsiteX1" fmla="*/ 859777 w 859776"/>
                    <a:gd name="connsiteY1" fmla="*/ 0 h 36201"/>
                    <a:gd name="connsiteX2" fmla="*/ 859777 w 859776"/>
                    <a:gd name="connsiteY2" fmla="*/ 36202 h 36201"/>
                    <a:gd name="connsiteX3" fmla="*/ 0 w 859776"/>
                    <a:gd name="connsiteY3" fmla="*/ 36202 h 36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59776" h="36201">
                      <a:moveTo>
                        <a:pt x="0" y="0"/>
                      </a:moveTo>
                      <a:lnTo>
                        <a:pt x="859777" y="0"/>
                      </a:lnTo>
                      <a:lnTo>
                        <a:pt x="859777" y="36202"/>
                      </a:lnTo>
                      <a:lnTo>
                        <a:pt x="0" y="36202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: 形状 74">
                  <a:extLst>
                    <a:ext uri="{FF2B5EF4-FFF2-40B4-BE49-F238E27FC236}">
                      <a16:creationId xmlns:a16="http://schemas.microsoft.com/office/drawing/2014/main" id="{9A142425-B22D-4418-BCF8-A67B924F4725}"/>
                    </a:ext>
                  </a:extLst>
                </p:cNvPr>
                <p:cNvSpPr/>
                <p:nvPr/>
              </p:nvSpPr>
              <p:spPr>
                <a:xfrm rot="-2700000">
                  <a:off x="21126678" y="11880504"/>
                  <a:ext cx="859768" cy="36200"/>
                </a:xfrm>
                <a:custGeom>
                  <a:avLst/>
                  <a:gdLst>
                    <a:gd name="connsiteX0" fmla="*/ 1 w 859768"/>
                    <a:gd name="connsiteY0" fmla="*/ 0 h 36200"/>
                    <a:gd name="connsiteX1" fmla="*/ 859769 w 859768"/>
                    <a:gd name="connsiteY1" fmla="*/ 0 h 36200"/>
                    <a:gd name="connsiteX2" fmla="*/ 859769 w 859768"/>
                    <a:gd name="connsiteY2" fmla="*/ 36201 h 36200"/>
                    <a:gd name="connsiteX3" fmla="*/ 1 w 859768"/>
                    <a:gd name="connsiteY3" fmla="*/ 36201 h 36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59768" h="36200">
                      <a:moveTo>
                        <a:pt x="1" y="0"/>
                      </a:moveTo>
                      <a:lnTo>
                        <a:pt x="859769" y="0"/>
                      </a:lnTo>
                      <a:lnTo>
                        <a:pt x="859769" y="36201"/>
                      </a:lnTo>
                      <a:lnTo>
                        <a:pt x="1" y="36201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: 形状 75">
                  <a:extLst>
                    <a:ext uri="{FF2B5EF4-FFF2-40B4-BE49-F238E27FC236}">
                      <a16:creationId xmlns:a16="http://schemas.microsoft.com/office/drawing/2014/main" id="{EDFAF159-5269-491F-ABDC-3CA703FA6782}"/>
                    </a:ext>
                  </a:extLst>
                </p:cNvPr>
                <p:cNvSpPr/>
                <p:nvPr/>
              </p:nvSpPr>
              <p:spPr>
                <a:xfrm>
                  <a:off x="21843148" y="11597879"/>
                  <a:ext cx="36201" cy="859776"/>
                </a:xfrm>
                <a:custGeom>
                  <a:avLst/>
                  <a:gdLst>
                    <a:gd name="connsiteX0" fmla="*/ -1 w 36201"/>
                    <a:gd name="connsiteY0" fmla="*/ 0 h 859776"/>
                    <a:gd name="connsiteX1" fmla="*/ 36201 w 36201"/>
                    <a:gd name="connsiteY1" fmla="*/ 0 h 859776"/>
                    <a:gd name="connsiteX2" fmla="*/ 36201 w 36201"/>
                    <a:gd name="connsiteY2" fmla="*/ 859776 h 859776"/>
                    <a:gd name="connsiteX3" fmla="*/ -1 w 36201"/>
                    <a:gd name="connsiteY3" fmla="*/ 859776 h 859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201" h="859776">
                      <a:moveTo>
                        <a:pt x="-1" y="0"/>
                      </a:moveTo>
                      <a:lnTo>
                        <a:pt x="36201" y="0"/>
                      </a:lnTo>
                      <a:lnTo>
                        <a:pt x="36201" y="859776"/>
                      </a:lnTo>
                      <a:lnTo>
                        <a:pt x="-1" y="859776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: 形状 76">
                  <a:extLst>
                    <a:ext uri="{FF2B5EF4-FFF2-40B4-BE49-F238E27FC236}">
                      <a16:creationId xmlns:a16="http://schemas.microsoft.com/office/drawing/2014/main" id="{531D41A8-4DC9-437E-AFEA-DBD82BF589FC}"/>
                    </a:ext>
                  </a:extLst>
                </p:cNvPr>
                <p:cNvSpPr/>
                <p:nvPr/>
              </p:nvSpPr>
              <p:spPr>
                <a:xfrm rot="-2700000">
                  <a:off x="22147835" y="11471021"/>
                  <a:ext cx="36200" cy="859768"/>
                </a:xfrm>
                <a:custGeom>
                  <a:avLst/>
                  <a:gdLst>
                    <a:gd name="connsiteX0" fmla="*/ 0 w 36200"/>
                    <a:gd name="connsiteY0" fmla="*/ 0 h 859768"/>
                    <a:gd name="connsiteX1" fmla="*/ 36202 w 36200"/>
                    <a:gd name="connsiteY1" fmla="*/ 0 h 859768"/>
                    <a:gd name="connsiteX2" fmla="*/ 36202 w 36200"/>
                    <a:gd name="connsiteY2" fmla="*/ 859769 h 859768"/>
                    <a:gd name="connsiteX3" fmla="*/ 0 w 36200"/>
                    <a:gd name="connsiteY3" fmla="*/ 859769 h 8597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200" h="859768">
                      <a:moveTo>
                        <a:pt x="0" y="0"/>
                      </a:moveTo>
                      <a:lnTo>
                        <a:pt x="36202" y="0"/>
                      </a:lnTo>
                      <a:lnTo>
                        <a:pt x="36202" y="859769"/>
                      </a:lnTo>
                      <a:lnTo>
                        <a:pt x="0" y="859769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: 形状 77">
                  <a:extLst>
                    <a:ext uri="{FF2B5EF4-FFF2-40B4-BE49-F238E27FC236}">
                      <a16:creationId xmlns:a16="http://schemas.microsoft.com/office/drawing/2014/main" id="{769135BF-6D08-49C3-BE2D-1AF30D6665EF}"/>
                    </a:ext>
                  </a:extLst>
                </p:cNvPr>
                <p:cNvSpPr/>
                <p:nvPr/>
              </p:nvSpPr>
              <p:spPr>
                <a:xfrm>
                  <a:off x="21861249" y="11576762"/>
                  <a:ext cx="859776" cy="36201"/>
                </a:xfrm>
                <a:custGeom>
                  <a:avLst/>
                  <a:gdLst>
                    <a:gd name="connsiteX0" fmla="*/ 0 w 859776"/>
                    <a:gd name="connsiteY0" fmla="*/ 0 h 36201"/>
                    <a:gd name="connsiteX1" fmla="*/ 859777 w 859776"/>
                    <a:gd name="connsiteY1" fmla="*/ 0 h 36201"/>
                    <a:gd name="connsiteX2" fmla="*/ 859777 w 859776"/>
                    <a:gd name="connsiteY2" fmla="*/ 36202 h 36201"/>
                    <a:gd name="connsiteX3" fmla="*/ 0 w 859776"/>
                    <a:gd name="connsiteY3" fmla="*/ 36202 h 36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59776" h="36201">
                      <a:moveTo>
                        <a:pt x="0" y="0"/>
                      </a:moveTo>
                      <a:lnTo>
                        <a:pt x="859777" y="0"/>
                      </a:lnTo>
                      <a:lnTo>
                        <a:pt x="859777" y="36202"/>
                      </a:lnTo>
                      <a:lnTo>
                        <a:pt x="0" y="36202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9" name="任意多边形: 形状 78">
                  <a:extLst>
                    <a:ext uri="{FF2B5EF4-FFF2-40B4-BE49-F238E27FC236}">
                      <a16:creationId xmlns:a16="http://schemas.microsoft.com/office/drawing/2014/main" id="{F544320F-B784-453F-9C1F-D0F32FF74184}"/>
                    </a:ext>
                  </a:extLst>
                </p:cNvPr>
                <p:cNvSpPr/>
                <p:nvPr/>
              </p:nvSpPr>
              <p:spPr>
                <a:xfrm rot="-2700000">
                  <a:off x="21737907" y="11274191"/>
                  <a:ext cx="859768" cy="36200"/>
                </a:xfrm>
                <a:custGeom>
                  <a:avLst/>
                  <a:gdLst>
                    <a:gd name="connsiteX0" fmla="*/ -1 w 859768"/>
                    <a:gd name="connsiteY0" fmla="*/ 0 h 36200"/>
                    <a:gd name="connsiteX1" fmla="*/ 859768 w 859768"/>
                    <a:gd name="connsiteY1" fmla="*/ 0 h 36200"/>
                    <a:gd name="connsiteX2" fmla="*/ 859768 w 859768"/>
                    <a:gd name="connsiteY2" fmla="*/ 36201 h 36200"/>
                    <a:gd name="connsiteX3" fmla="*/ -1 w 859768"/>
                    <a:gd name="connsiteY3" fmla="*/ 36201 h 36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59768" h="36200">
                      <a:moveTo>
                        <a:pt x="-1" y="0"/>
                      </a:moveTo>
                      <a:lnTo>
                        <a:pt x="859768" y="0"/>
                      </a:lnTo>
                      <a:lnTo>
                        <a:pt x="859768" y="36201"/>
                      </a:lnTo>
                      <a:lnTo>
                        <a:pt x="-1" y="36201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0" name="任意多边形: 形状 79">
                  <a:extLst>
                    <a:ext uri="{FF2B5EF4-FFF2-40B4-BE49-F238E27FC236}">
                      <a16:creationId xmlns:a16="http://schemas.microsoft.com/office/drawing/2014/main" id="{F5AD6A6F-1AD5-400B-9F4C-D50A683BAF40}"/>
                    </a:ext>
                  </a:extLst>
                </p:cNvPr>
                <p:cNvSpPr/>
                <p:nvPr/>
              </p:nvSpPr>
              <p:spPr>
                <a:xfrm>
                  <a:off x="20944153" y="10686818"/>
                  <a:ext cx="1834206" cy="1834189"/>
                </a:xfrm>
                <a:custGeom>
                  <a:avLst/>
                  <a:gdLst>
                    <a:gd name="connsiteX0" fmla="*/ 917096 w 1834206"/>
                    <a:gd name="connsiteY0" fmla="*/ 0 h 1834189"/>
                    <a:gd name="connsiteX1" fmla="*/ 0 w 1834206"/>
                    <a:gd name="connsiteY1" fmla="*/ 917095 h 1834189"/>
                    <a:gd name="connsiteX2" fmla="*/ 917096 w 1834206"/>
                    <a:gd name="connsiteY2" fmla="*/ 1834190 h 1834189"/>
                    <a:gd name="connsiteX3" fmla="*/ 1834190 w 1834206"/>
                    <a:gd name="connsiteY3" fmla="*/ 917095 h 1834189"/>
                    <a:gd name="connsiteX4" fmla="*/ 917096 w 1834206"/>
                    <a:gd name="connsiteY4" fmla="*/ 0 h 1834189"/>
                    <a:gd name="connsiteX5" fmla="*/ 917096 w 1834206"/>
                    <a:gd name="connsiteY5" fmla="*/ 1758771 h 1834189"/>
                    <a:gd name="connsiteX6" fmla="*/ 75419 w 1834206"/>
                    <a:gd name="connsiteY6" fmla="*/ 917095 h 1834189"/>
                    <a:gd name="connsiteX7" fmla="*/ 917096 w 1834206"/>
                    <a:gd name="connsiteY7" fmla="*/ 75419 h 1834189"/>
                    <a:gd name="connsiteX8" fmla="*/ 1758771 w 1834206"/>
                    <a:gd name="connsiteY8" fmla="*/ 917095 h 1834189"/>
                    <a:gd name="connsiteX9" fmla="*/ 917096 w 1834206"/>
                    <a:gd name="connsiteY9" fmla="*/ 1758771 h 18341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34206" h="1834189">
                      <a:moveTo>
                        <a:pt x="917096" y="0"/>
                      </a:moveTo>
                      <a:cubicBezTo>
                        <a:pt x="410280" y="0"/>
                        <a:pt x="0" y="410280"/>
                        <a:pt x="0" y="917095"/>
                      </a:cubicBezTo>
                      <a:cubicBezTo>
                        <a:pt x="0" y="1423910"/>
                        <a:pt x="410280" y="1834190"/>
                        <a:pt x="917096" y="1834190"/>
                      </a:cubicBezTo>
                      <a:cubicBezTo>
                        <a:pt x="1423911" y="1834190"/>
                        <a:pt x="1834190" y="1423910"/>
                        <a:pt x="1834190" y="917095"/>
                      </a:cubicBezTo>
                      <a:cubicBezTo>
                        <a:pt x="1837208" y="410280"/>
                        <a:pt x="1423911" y="0"/>
                        <a:pt x="917096" y="0"/>
                      </a:cubicBezTo>
                      <a:close/>
                      <a:moveTo>
                        <a:pt x="917096" y="1758771"/>
                      </a:moveTo>
                      <a:cubicBezTo>
                        <a:pt x="452514" y="1758771"/>
                        <a:pt x="75419" y="1381676"/>
                        <a:pt x="75419" y="917095"/>
                      </a:cubicBezTo>
                      <a:cubicBezTo>
                        <a:pt x="75419" y="452514"/>
                        <a:pt x="452514" y="75419"/>
                        <a:pt x="917096" y="75419"/>
                      </a:cubicBezTo>
                      <a:cubicBezTo>
                        <a:pt x="1381676" y="75419"/>
                        <a:pt x="1758771" y="452514"/>
                        <a:pt x="1758771" y="917095"/>
                      </a:cubicBezTo>
                      <a:cubicBezTo>
                        <a:pt x="1758771" y="1381676"/>
                        <a:pt x="1381676" y="1758771"/>
                        <a:pt x="917096" y="1758771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1" name="任意多边形: 形状 80">
                  <a:extLst>
                    <a:ext uri="{FF2B5EF4-FFF2-40B4-BE49-F238E27FC236}">
                      <a16:creationId xmlns:a16="http://schemas.microsoft.com/office/drawing/2014/main" id="{FCCEC9A0-C526-407F-9C39-ABF0E38F641D}"/>
                    </a:ext>
                  </a:extLst>
                </p:cNvPr>
                <p:cNvSpPr/>
                <p:nvPr/>
              </p:nvSpPr>
              <p:spPr>
                <a:xfrm>
                  <a:off x="20824947" y="10545030"/>
                  <a:ext cx="2056427" cy="856759"/>
                </a:xfrm>
                <a:custGeom>
                  <a:avLst/>
                  <a:gdLst>
                    <a:gd name="connsiteX0" fmla="*/ 2022783 w 2056427"/>
                    <a:gd name="connsiteY0" fmla="*/ 856760 h 856759"/>
                    <a:gd name="connsiteX1" fmla="*/ 1986581 w 2056427"/>
                    <a:gd name="connsiteY1" fmla="*/ 826592 h 856759"/>
                    <a:gd name="connsiteX2" fmla="*/ 1030268 w 2056427"/>
                    <a:gd name="connsiteY2" fmla="*/ 75419 h 856759"/>
                    <a:gd name="connsiteX3" fmla="*/ 73955 w 2056427"/>
                    <a:gd name="connsiteY3" fmla="*/ 814525 h 856759"/>
                    <a:gd name="connsiteX4" fmla="*/ 28703 w 2056427"/>
                    <a:gd name="connsiteY4" fmla="*/ 841676 h 856759"/>
                    <a:gd name="connsiteX5" fmla="*/ 1553 w 2056427"/>
                    <a:gd name="connsiteY5" fmla="*/ 796424 h 856759"/>
                    <a:gd name="connsiteX6" fmla="*/ 1027252 w 2056427"/>
                    <a:gd name="connsiteY6" fmla="*/ 0 h 856759"/>
                    <a:gd name="connsiteX7" fmla="*/ 2055966 w 2056427"/>
                    <a:gd name="connsiteY7" fmla="*/ 808492 h 856759"/>
                    <a:gd name="connsiteX8" fmla="*/ 2028815 w 2056427"/>
                    <a:gd name="connsiteY8" fmla="*/ 850727 h 856759"/>
                    <a:gd name="connsiteX9" fmla="*/ 2022783 w 2056427"/>
                    <a:gd name="connsiteY9" fmla="*/ 856760 h 856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56427" h="856759">
                      <a:moveTo>
                        <a:pt x="2022783" y="856760"/>
                      </a:moveTo>
                      <a:cubicBezTo>
                        <a:pt x="2004681" y="856760"/>
                        <a:pt x="1989597" y="844693"/>
                        <a:pt x="1986581" y="826592"/>
                      </a:cubicBezTo>
                      <a:cubicBezTo>
                        <a:pt x="1893060" y="392179"/>
                        <a:pt x="1488816" y="75419"/>
                        <a:pt x="1030268" y="75419"/>
                      </a:cubicBezTo>
                      <a:cubicBezTo>
                        <a:pt x="577754" y="75419"/>
                        <a:pt x="173507" y="386146"/>
                        <a:pt x="73955" y="814525"/>
                      </a:cubicBezTo>
                      <a:cubicBezTo>
                        <a:pt x="67921" y="835643"/>
                        <a:pt x="49821" y="847710"/>
                        <a:pt x="28703" y="841676"/>
                      </a:cubicBezTo>
                      <a:cubicBezTo>
                        <a:pt x="7585" y="835643"/>
                        <a:pt x="-4481" y="817542"/>
                        <a:pt x="1553" y="796424"/>
                      </a:cubicBezTo>
                      <a:cubicBezTo>
                        <a:pt x="110156" y="334861"/>
                        <a:pt x="541552" y="0"/>
                        <a:pt x="1027252" y="0"/>
                      </a:cubicBezTo>
                      <a:cubicBezTo>
                        <a:pt x="1518983" y="0"/>
                        <a:pt x="1953396" y="340894"/>
                        <a:pt x="2055966" y="808492"/>
                      </a:cubicBezTo>
                      <a:cubicBezTo>
                        <a:pt x="2058982" y="829609"/>
                        <a:pt x="2046916" y="847710"/>
                        <a:pt x="2028815" y="850727"/>
                      </a:cubicBezTo>
                      <a:cubicBezTo>
                        <a:pt x="2025799" y="856760"/>
                        <a:pt x="2022783" y="856760"/>
                        <a:pt x="2022783" y="85676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EA96F282-14C5-48E8-A3A8-9DA9BF5B96F1}"/>
                  </a:ext>
                </a:extLst>
              </p:cNvPr>
              <p:cNvSpPr/>
              <p:nvPr/>
            </p:nvSpPr>
            <p:spPr>
              <a:xfrm>
                <a:off x="18880691" y="11459052"/>
                <a:ext cx="1502402" cy="537096"/>
              </a:xfrm>
              <a:custGeom>
                <a:avLst/>
                <a:gdLst>
                  <a:gd name="connsiteX0" fmla="*/ 1233854 w 1502402"/>
                  <a:gd name="connsiteY0" fmla="*/ 57 h 537096"/>
                  <a:gd name="connsiteX1" fmla="*/ 87485 w 1502402"/>
                  <a:gd name="connsiteY1" fmla="*/ 18157 h 537096"/>
                  <a:gd name="connsiteX2" fmla="*/ 0 w 1502402"/>
                  <a:gd name="connsiteY2" fmla="*/ 108659 h 537096"/>
                  <a:gd name="connsiteX3" fmla="*/ 84469 w 1502402"/>
                  <a:gd name="connsiteY3" fmla="*/ 196146 h 537096"/>
                  <a:gd name="connsiteX4" fmla="*/ 971395 w 1502402"/>
                  <a:gd name="connsiteY4" fmla="*/ 235364 h 537096"/>
                  <a:gd name="connsiteX5" fmla="*/ 968379 w 1502402"/>
                  <a:gd name="connsiteY5" fmla="*/ 274581 h 537096"/>
                  <a:gd name="connsiteX6" fmla="*/ 1239888 w 1502402"/>
                  <a:gd name="connsiteY6" fmla="*/ 537040 h 537096"/>
                  <a:gd name="connsiteX7" fmla="*/ 1502346 w 1502402"/>
                  <a:gd name="connsiteY7" fmla="*/ 265531 h 537096"/>
                  <a:gd name="connsiteX8" fmla="*/ 1233854 w 1502402"/>
                  <a:gd name="connsiteY8" fmla="*/ 57 h 537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02402" h="537096">
                    <a:moveTo>
                      <a:pt x="1233854" y="57"/>
                    </a:moveTo>
                    <a:lnTo>
                      <a:pt x="87485" y="18157"/>
                    </a:lnTo>
                    <a:cubicBezTo>
                      <a:pt x="39218" y="18157"/>
                      <a:pt x="0" y="60392"/>
                      <a:pt x="0" y="108659"/>
                    </a:cubicBezTo>
                    <a:cubicBezTo>
                      <a:pt x="0" y="153911"/>
                      <a:pt x="36200" y="193129"/>
                      <a:pt x="84469" y="196146"/>
                    </a:cubicBezTo>
                    <a:lnTo>
                      <a:pt x="971395" y="235364"/>
                    </a:lnTo>
                    <a:cubicBezTo>
                      <a:pt x="968379" y="247431"/>
                      <a:pt x="968379" y="259497"/>
                      <a:pt x="968379" y="274581"/>
                    </a:cubicBezTo>
                    <a:cubicBezTo>
                      <a:pt x="971395" y="422403"/>
                      <a:pt x="1092066" y="540057"/>
                      <a:pt x="1239888" y="537040"/>
                    </a:cubicBezTo>
                    <a:cubicBezTo>
                      <a:pt x="1387710" y="534023"/>
                      <a:pt x="1505362" y="413352"/>
                      <a:pt x="1502346" y="265531"/>
                    </a:cubicBezTo>
                    <a:cubicBezTo>
                      <a:pt x="1505362" y="114693"/>
                      <a:pt x="1381676" y="-2960"/>
                      <a:pt x="1233854" y="57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B1ABD4A6-4349-43C2-955B-CB16B74F4E93}"/>
                  </a:ext>
                </a:extLst>
              </p:cNvPr>
              <p:cNvSpPr/>
              <p:nvPr/>
            </p:nvSpPr>
            <p:spPr>
              <a:xfrm>
                <a:off x="20509741" y="11700449"/>
                <a:ext cx="398210" cy="96535"/>
              </a:xfrm>
              <a:custGeom>
                <a:avLst/>
                <a:gdLst>
                  <a:gd name="connsiteX0" fmla="*/ 349943 w 398210"/>
                  <a:gd name="connsiteY0" fmla="*/ 96536 h 96535"/>
                  <a:gd name="connsiteX1" fmla="*/ 48267 w 398210"/>
                  <a:gd name="connsiteY1" fmla="*/ 96536 h 96535"/>
                  <a:gd name="connsiteX2" fmla="*/ 0 w 398210"/>
                  <a:gd name="connsiteY2" fmla="*/ 48267 h 96535"/>
                  <a:gd name="connsiteX3" fmla="*/ 0 w 398210"/>
                  <a:gd name="connsiteY3" fmla="*/ 48267 h 96535"/>
                  <a:gd name="connsiteX4" fmla="*/ 48267 w 398210"/>
                  <a:gd name="connsiteY4" fmla="*/ 0 h 96535"/>
                  <a:gd name="connsiteX5" fmla="*/ 349943 w 398210"/>
                  <a:gd name="connsiteY5" fmla="*/ 0 h 96535"/>
                  <a:gd name="connsiteX6" fmla="*/ 398211 w 398210"/>
                  <a:gd name="connsiteY6" fmla="*/ 48267 h 96535"/>
                  <a:gd name="connsiteX7" fmla="*/ 398211 w 398210"/>
                  <a:gd name="connsiteY7" fmla="*/ 48267 h 96535"/>
                  <a:gd name="connsiteX8" fmla="*/ 349943 w 398210"/>
                  <a:gd name="connsiteY8" fmla="*/ 96536 h 96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8210" h="96535">
                    <a:moveTo>
                      <a:pt x="349943" y="96536"/>
                    </a:moveTo>
                    <a:lnTo>
                      <a:pt x="48267" y="96536"/>
                    </a:lnTo>
                    <a:cubicBezTo>
                      <a:pt x="21116" y="96536"/>
                      <a:pt x="0" y="75419"/>
                      <a:pt x="0" y="48267"/>
                    </a:cubicBezTo>
                    <a:lnTo>
                      <a:pt x="0" y="48267"/>
                    </a:lnTo>
                    <a:cubicBezTo>
                      <a:pt x="0" y="21117"/>
                      <a:pt x="21116" y="0"/>
                      <a:pt x="48267" y="0"/>
                    </a:cubicBezTo>
                    <a:lnTo>
                      <a:pt x="349943" y="0"/>
                    </a:lnTo>
                    <a:cubicBezTo>
                      <a:pt x="377095" y="0"/>
                      <a:pt x="398211" y="21117"/>
                      <a:pt x="398211" y="48267"/>
                    </a:cubicBezTo>
                    <a:lnTo>
                      <a:pt x="398211" y="48267"/>
                    </a:lnTo>
                    <a:cubicBezTo>
                      <a:pt x="398211" y="75419"/>
                      <a:pt x="377095" y="96536"/>
                      <a:pt x="349943" y="96536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DD16B5BE-B572-42B0-8297-0077E8FED210}"/>
                  </a:ext>
                </a:extLst>
              </p:cNvPr>
              <p:cNvSpPr/>
              <p:nvPr/>
            </p:nvSpPr>
            <p:spPr>
              <a:xfrm>
                <a:off x="19960690" y="11567711"/>
                <a:ext cx="319775" cy="319776"/>
              </a:xfrm>
              <a:custGeom>
                <a:avLst/>
                <a:gdLst>
                  <a:gd name="connsiteX0" fmla="*/ 319776 w 319775"/>
                  <a:gd name="connsiteY0" fmla="*/ 159889 h 319776"/>
                  <a:gd name="connsiteX1" fmla="*/ 159888 w 319775"/>
                  <a:gd name="connsiteY1" fmla="*/ 0 h 319776"/>
                  <a:gd name="connsiteX2" fmla="*/ 0 w 319775"/>
                  <a:gd name="connsiteY2" fmla="*/ 159889 h 319776"/>
                  <a:gd name="connsiteX3" fmla="*/ 159888 w 319775"/>
                  <a:gd name="connsiteY3" fmla="*/ 319777 h 319776"/>
                  <a:gd name="connsiteX4" fmla="*/ 319776 w 319775"/>
                  <a:gd name="connsiteY4" fmla="*/ 159889 h 319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9775" h="319776">
                    <a:moveTo>
                      <a:pt x="319776" y="159889"/>
                    </a:moveTo>
                    <a:cubicBezTo>
                      <a:pt x="319776" y="72403"/>
                      <a:pt x="247375" y="0"/>
                      <a:pt x="159888" y="0"/>
                    </a:cubicBezTo>
                    <a:cubicBezTo>
                      <a:pt x="72401" y="0"/>
                      <a:pt x="0" y="72403"/>
                      <a:pt x="0" y="159889"/>
                    </a:cubicBezTo>
                    <a:cubicBezTo>
                      <a:pt x="0" y="247375"/>
                      <a:pt x="72401" y="319777"/>
                      <a:pt x="159888" y="319777"/>
                    </a:cubicBezTo>
                    <a:cubicBezTo>
                      <a:pt x="247375" y="319777"/>
                      <a:pt x="319776" y="250392"/>
                      <a:pt x="319776" y="159889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B22E922A-E45D-45A0-96AA-E1366376547C}"/>
                  </a:ext>
                </a:extLst>
              </p:cNvPr>
              <p:cNvSpPr/>
              <p:nvPr/>
            </p:nvSpPr>
            <p:spPr>
              <a:xfrm>
                <a:off x="21122143" y="9643019"/>
                <a:ext cx="745140" cy="1948826"/>
              </a:xfrm>
              <a:custGeom>
                <a:avLst/>
                <a:gdLst>
                  <a:gd name="connsiteX0" fmla="*/ 711955 w 745140"/>
                  <a:gd name="connsiteY0" fmla="*/ 1948827 h 1948826"/>
                  <a:gd name="connsiteX1" fmla="*/ 745140 w 745140"/>
                  <a:gd name="connsiteY1" fmla="*/ 1933743 h 1948826"/>
                  <a:gd name="connsiteX2" fmla="*/ 33184 w 745140"/>
                  <a:gd name="connsiteY2" fmla="*/ 0 h 1948826"/>
                  <a:gd name="connsiteX3" fmla="*/ 0 w 745140"/>
                  <a:gd name="connsiteY3" fmla="*/ 15084 h 194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5140" h="1948826">
                    <a:moveTo>
                      <a:pt x="711955" y="1948827"/>
                    </a:moveTo>
                    <a:lnTo>
                      <a:pt x="745140" y="1933743"/>
                    </a:lnTo>
                    <a:lnTo>
                      <a:pt x="33184" y="0"/>
                    </a:lnTo>
                    <a:lnTo>
                      <a:pt x="0" y="15084"/>
                    </a:lnTo>
                    <a:close/>
                  </a:path>
                </a:pathLst>
              </a:custGeom>
              <a:solidFill>
                <a:srgbClr val="F6EBE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13420C61-BEBE-4D5C-AD5F-979191253E36}"/>
                  </a:ext>
                </a:extLst>
              </p:cNvPr>
              <p:cNvSpPr/>
              <p:nvPr/>
            </p:nvSpPr>
            <p:spPr>
              <a:xfrm>
                <a:off x="20900778" y="9503107"/>
                <a:ext cx="285857" cy="183396"/>
              </a:xfrm>
              <a:custGeom>
                <a:avLst/>
                <a:gdLst>
                  <a:gd name="connsiteX0" fmla="*/ 257566 w 285857"/>
                  <a:gd name="connsiteY0" fmla="*/ 182147 h 183396"/>
                  <a:gd name="connsiteX1" fmla="*/ 281700 w 285857"/>
                  <a:gd name="connsiteY1" fmla="*/ 164046 h 183396"/>
                  <a:gd name="connsiteX2" fmla="*/ 266616 w 285857"/>
                  <a:gd name="connsiteY2" fmla="*/ 115778 h 183396"/>
                  <a:gd name="connsiteX3" fmla="*/ 52425 w 285857"/>
                  <a:gd name="connsiteY3" fmla="*/ 4158 h 183396"/>
                  <a:gd name="connsiteX4" fmla="*/ 4158 w 285857"/>
                  <a:gd name="connsiteY4" fmla="*/ 19242 h 183396"/>
                  <a:gd name="connsiteX5" fmla="*/ 19241 w 285857"/>
                  <a:gd name="connsiteY5" fmla="*/ 67510 h 183396"/>
                  <a:gd name="connsiteX6" fmla="*/ 233431 w 285857"/>
                  <a:gd name="connsiteY6" fmla="*/ 179130 h 183396"/>
                  <a:gd name="connsiteX7" fmla="*/ 257566 w 285857"/>
                  <a:gd name="connsiteY7" fmla="*/ 182147 h 183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857" h="183396">
                    <a:moveTo>
                      <a:pt x="257566" y="182147"/>
                    </a:moveTo>
                    <a:cubicBezTo>
                      <a:pt x="266616" y="179130"/>
                      <a:pt x="275666" y="173097"/>
                      <a:pt x="281700" y="164046"/>
                    </a:cubicBezTo>
                    <a:cubicBezTo>
                      <a:pt x="290750" y="145946"/>
                      <a:pt x="284716" y="124828"/>
                      <a:pt x="266616" y="115778"/>
                    </a:cubicBezTo>
                    <a:lnTo>
                      <a:pt x="52425" y="4158"/>
                    </a:lnTo>
                    <a:cubicBezTo>
                      <a:pt x="34325" y="-4892"/>
                      <a:pt x="13208" y="1141"/>
                      <a:pt x="4158" y="19242"/>
                    </a:cubicBezTo>
                    <a:cubicBezTo>
                      <a:pt x="-4892" y="37342"/>
                      <a:pt x="1142" y="58459"/>
                      <a:pt x="19241" y="67510"/>
                    </a:cubicBezTo>
                    <a:lnTo>
                      <a:pt x="233431" y="179130"/>
                    </a:lnTo>
                    <a:cubicBezTo>
                      <a:pt x="239465" y="182147"/>
                      <a:pt x="248514" y="185163"/>
                      <a:pt x="257566" y="182147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8B5EC994-4358-485B-8053-E10184A23988}"/>
                  </a:ext>
                </a:extLst>
              </p:cNvPr>
              <p:cNvSpPr/>
              <p:nvPr/>
            </p:nvSpPr>
            <p:spPr>
              <a:xfrm>
                <a:off x="19817572" y="11795655"/>
                <a:ext cx="385789" cy="184967"/>
              </a:xfrm>
              <a:custGeom>
                <a:avLst/>
                <a:gdLst>
                  <a:gd name="connsiteX0" fmla="*/ 324124 w 385789"/>
                  <a:gd name="connsiteY0" fmla="*/ 182336 h 184967"/>
                  <a:gd name="connsiteX1" fmla="*/ 34514 w 385789"/>
                  <a:gd name="connsiteY1" fmla="*/ 94850 h 184967"/>
                  <a:gd name="connsiteX2" fmla="*/ 1331 w 385789"/>
                  <a:gd name="connsiteY2" fmla="*/ 34515 h 184967"/>
                  <a:gd name="connsiteX3" fmla="*/ 1331 w 385789"/>
                  <a:gd name="connsiteY3" fmla="*/ 34515 h 184967"/>
                  <a:gd name="connsiteX4" fmla="*/ 61666 w 385789"/>
                  <a:gd name="connsiteY4" fmla="*/ 1330 h 184967"/>
                  <a:gd name="connsiteX5" fmla="*/ 351274 w 385789"/>
                  <a:gd name="connsiteY5" fmla="*/ 88816 h 184967"/>
                  <a:gd name="connsiteX6" fmla="*/ 384459 w 385789"/>
                  <a:gd name="connsiteY6" fmla="*/ 149151 h 184967"/>
                  <a:gd name="connsiteX7" fmla="*/ 384459 w 385789"/>
                  <a:gd name="connsiteY7" fmla="*/ 149151 h 184967"/>
                  <a:gd name="connsiteX8" fmla="*/ 324124 w 385789"/>
                  <a:gd name="connsiteY8" fmla="*/ 182336 h 184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5789" h="184967">
                    <a:moveTo>
                      <a:pt x="324124" y="182336"/>
                    </a:moveTo>
                    <a:lnTo>
                      <a:pt x="34514" y="94850"/>
                    </a:lnTo>
                    <a:cubicBezTo>
                      <a:pt x="10380" y="85800"/>
                      <a:pt x="-4703" y="58648"/>
                      <a:pt x="1331" y="34515"/>
                    </a:cubicBezTo>
                    <a:lnTo>
                      <a:pt x="1331" y="34515"/>
                    </a:lnTo>
                    <a:cubicBezTo>
                      <a:pt x="10380" y="10381"/>
                      <a:pt x="37532" y="-4703"/>
                      <a:pt x="61666" y="1330"/>
                    </a:cubicBezTo>
                    <a:lnTo>
                      <a:pt x="351274" y="88816"/>
                    </a:lnTo>
                    <a:cubicBezTo>
                      <a:pt x="375410" y="97867"/>
                      <a:pt x="390493" y="125018"/>
                      <a:pt x="384459" y="149151"/>
                    </a:cubicBezTo>
                    <a:lnTo>
                      <a:pt x="384459" y="149151"/>
                    </a:lnTo>
                    <a:cubicBezTo>
                      <a:pt x="378426" y="176303"/>
                      <a:pt x="351274" y="191387"/>
                      <a:pt x="324124" y="182336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0BCEFAC0-ED90-4A81-936F-16FE0A38A677}"/>
                  </a:ext>
                </a:extLst>
              </p:cNvPr>
              <p:cNvSpPr/>
              <p:nvPr/>
            </p:nvSpPr>
            <p:spPr>
              <a:xfrm>
                <a:off x="20756870" y="9398417"/>
                <a:ext cx="287080" cy="228426"/>
              </a:xfrm>
              <a:custGeom>
                <a:avLst/>
                <a:gdLst>
                  <a:gd name="connsiteX0" fmla="*/ 205385 w 287080"/>
                  <a:gd name="connsiteY0" fmla="*/ 223484 h 228426"/>
                  <a:gd name="connsiteX1" fmla="*/ 18345 w 287080"/>
                  <a:gd name="connsiteY1" fmla="*/ 111865 h 228426"/>
                  <a:gd name="connsiteX2" fmla="*/ 6278 w 287080"/>
                  <a:gd name="connsiteY2" fmla="*/ 63596 h 228426"/>
                  <a:gd name="connsiteX3" fmla="*/ 33429 w 287080"/>
                  <a:gd name="connsiteY3" fmla="*/ 18345 h 228426"/>
                  <a:gd name="connsiteX4" fmla="*/ 81697 w 287080"/>
                  <a:gd name="connsiteY4" fmla="*/ 6278 h 228426"/>
                  <a:gd name="connsiteX5" fmla="*/ 268736 w 287080"/>
                  <a:gd name="connsiteY5" fmla="*/ 117898 h 228426"/>
                  <a:gd name="connsiteX6" fmla="*/ 280804 w 287080"/>
                  <a:gd name="connsiteY6" fmla="*/ 166166 h 228426"/>
                  <a:gd name="connsiteX7" fmla="*/ 253652 w 287080"/>
                  <a:gd name="connsiteY7" fmla="*/ 211418 h 228426"/>
                  <a:gd name="connsiteX8" fmla="*/ 205385 w 287080"/>
                  <a:gd name="connsiteY8" fmla="*/ 223484 h 228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7080" h="228426">
                    <a:moveTo>
                      <a:pt x="205385" y="223484"/>
                    </a:moveTo>
                    <a:lnTo>
                      <a:pt x="18345" y="111865"/>
                    </a:lnTo>
                    <a:cubicBezTo>
                      <a:pt x="244" y="102814"/>
                      <a:pt x="-5788" y="78680"/>
                      <a:pt x="6278" y="63596"/>
                    </a:cubicBezTo>
                    <a:lnTo>
                      <a:pt x="33429" y="18345"/>
                    </a:lnTo>
                    <a:cubicBezTo>
                      <a:pt x="42479" y="244"/>
                      <a:pt x="66613" y="-5789"/>
                      <a:pt x="81697" y="6278"/>
                    </a:cubicBezTo>
                    <a:lnTo>
                      <a:pt x="268736" y="117898"/>
                    </a:lnTo>
                    <a:cubicBezTo>
                      <a:pt x="286836" y="126949"/>
                      <a:pt x="292870" y="151082"/>
                      <a:pt x="280804" y="166166"/>
                    </a:cubicBezTo>
                    <a:lnTo>
                      <a:pt x="253652" y="211418"/>
                    </a:lnTo>
                    <a:cubicBezTo>
                      <a:pt x="244602" y="229518"/>
                      <a:pt x="220469" y="232535"/>
                      <a:pt x="205385" y="22348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67AC5496-A779-4257-B1F3-66AFACC92DC9}"/>
                  </a:ext>
                </a:extLst>
              </p:cNvPr>
              <p:cNvSpPr/>
              <p:nvPr/>
            </p:nvSpPr>
            <p:spPr>
              <a:xfrm>
                <a:off x="17755439" y="10005030"/>
                <a:ext cx="93519" cy="368045"/>
              </a:xfrm>
              <a:custGeom>
                <a:avLst/>
                <a:gdLst>
                  <a:gd name="connsiteX0" fmla="*/ 93520 w 93519"/>
                  <a:gd name="connsiteY0" fmla="*/ 368045 h 368045"/>
                  <a:gd name="connsiteX1" fmla="*/ 0 w 93519"/>
                  <a:gd name="connsiteY1" fmla="*/ 368045 h 368045"/>
                  <a:gd name="connsiteX2" fmla="*/ 0 w 93519"/>
                  <a:gd name="connsiteY2" fmla="*/ 45251 h 368045"/>
                  <a:gd name="connsiteX3" fmla="*/ 45251 w 93519"/>
                  <a:gd name="connsiteY3" fmla="*/ 0 h 368045"/>
                  <a:gd name="connsiteX4" fmla="*/ 45251 w 93519"/>
                  <a:gd name="connsiteY4" fmla="*/ 0 h 368045"/>
                  <a:gd name="connsiteX5" fmla="*/ 90503 w 93519"/>
                  <a:gd name="connsiteY5" fmla="*/ 45251 h 368045"/>
                  <a:gd name="connsiteX6" fmla="*/ 90503 w 93519"/>
                  <a:gd name="connsiteY6" fmla="*/ 368045 h 368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3519" h="368045">
                    <a:moveTo>
                      <a:pt x="93520" y="368045"/>
                    </a:moveTo>
                    <a:lnTo>
                      <a:pt x="0" y="368045"/>
                    </a:lnTo>
                    <a:lnTo>
                      <a:pt x="0" y="45251"/>
                    </a:lnTo>
                    <a:cubicBezTo>
                      <a:pt x="0" y="18101"/>
                      <a:pt x="21117" y="0"/>
                      <a:pt x="45251" y="0"/>
                    </a:cubicBezTo>
                    <a:lnTo>
                      <a:pt x="45251" y="0"/>
                    </a:lnTo>
                    <a:cubicBezTo>
                      <a:pt x="72402" y="0"/>
                      <a:pt x="90503" y="21118"/>
                      <a:pt x="90503" y="45251"/>
                    </a:cubicBezTo>
                    <a:lnTo>
                      <a:pt x="90503" y="368045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图形 1">
              <a:extLst>
                <a:ext uri="{FF2B5EF4-FFF2-40B4-BE49-F238E27FC236}">
                  <a16:creationId xmlns:a16="http://schemas.microsoft.com/office/drawing/2014/main" id="{53408B1A-3368-4180-8136-3FB67C77DFA2}"/>
                </a:ext>
              </a:extLst>
            </p:cNvPr>
            <p:cNvGrpSpPr/>
            <p:nvPr/>
          </p:nvGrpSpPr>
          <p:grpSpPr>
            <a:xfrm>
              <a:off x="19865724" y="11431957"/>
              <a:ext cx="506129" cy="537936"/>
              <a:chOff x="19865724" y="11431957"/>
              <a:chExt cx="506129" cy="537936"/>
            </a:xfrm>
          </p:grpSpPr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9E87AB45-094E-44A7-A34F-4E6D61810CF1}"/>
                  </a:ext>
                </a:extLst>
              </p:cNvPr>
              <p:cNvSpPr/>
              <p:nvPr/>
            </p:nvSpPr>
            <p:spPr>
              <a:xfrm>
                <a:off x="19921473" y="11431957"/>
                <a:ext cx="214189" cy="271508"/>
              </a:xfrm>
              <a:custGeom>
                <a:avLst/>
                <a:gdLst>
                  <a:gd name="connsiteX0" fmla="*/ 3016 w 214189"/>
                  <a:gd name="connsiteY0" fmla="*/ 199106 h 271508"/>
                  <a:gd name="connsiteX1" fmla="*/ 45251 w 214189"/>
                  <a:gd name="connsiteY1" fmla="*/ 0 h 271508"/>
                  <a:gd name="connsiteX2" fmla="*/ 214189 w 214189"/>
                  <a:gd name="connsiteY2" fmla="*/ 60335 h 271508"/>
                  <a:gd name="connsiteX3" fmla="*/ 165922 w 214189"/>
                  <a:gd name="connsiteY3" fmla="*/ 271508 h 271508"/>
                  <a:gd name="connsiteX4" fmla="*/ 0 w 214189"/>
                  <a:gd name="connsiteY4" fmla="*/ 244358 h 271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189" h="271508">
                    <a:moveTo>
                      <a:pt x="3016" y="199106"/>
                    </a:moveTo>
                    <a:lnTo>
                      <a:pt x="45251" y="0"/>
                    </a:lnTo>
                    <a:lnTo>
                      <a:pt x="214189" y="60335"/>
                    </a:lnTo>
                    <a:lnTo>
                      <a:pt x="165922" y="271508"/>
                    </a:lnTo>
                    <a:lnTo>
                      <a:pt x="0" y="244358"/>
                    </a:ln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EFB4CD2C-66B9-4FBA-8D38-4B2F805976F4}"/>
                  </a:ext>
                </a:extLst>
              </p:cNvPr>
              <p:cNvSpPr/>
              <p:nvPr/>
            </p:nvSpPr>
            <p:spPr>
              <a:xfrm>
                <a:off x="19882253" y="11631063"/>
                <a:ext cx="489600" cy="292626"/>
              </a:xfrm>
              <a:custGeom>
                <a:avLst/>
                <a:gdLst>
                  <a:gd name="connsiteX0" fmla="*/ 42235 w 489600"/>
                  <a:gd name="connsiteY0" fmla="*/ 0 h 292626"/>
                  <a:gd name="connsiteX1" fmla="*/ 238325 w 489600"/>
                  <a:gd name="connsiteY1" fmla="*/ 15084 h 292626"/>
                  <a:gd name="connsiteX2" fmla="*/ 343911 w 489600"/>
                  <a:gd name="connsiteY2" fmla="*/ 147821 h 292626"/>
                  <a:gd name="connsiteX3" fmla="*/ 488715 w 489600"/>
                  <a:gd name="connsiteY3" fmla="*/ 292626 h 292626"/>
                  <a:gd name="connsiteX4" fmla="*/ 0 w 489600"/>
                  <a:gd name="connsiteY4" fmla="*/ 114637 h 292626"/>
                  <a:gd name="connsiteX5" fmla="*/ 42235 w 489600"/>
                  <a:gd name="connsiteY5" fmla="*/ 0 h 292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9600" h="292626">
                    <a:moveTo>
                      <a:pt x="42235" y="0"/>
                    </a:moveTo>
                    <a:cubicBezTo>
                      <a:pt x="42235" y="0"/>
                      <a:pt x="147822" y="60335"/>
                      <a:pt x="238325" y="15084"/>
                    </a:cubicBezTo>
                    <a:cubicBezTo>
                      <a:pt x="238325" y="15084"/>
                      <a:pt x="301676" y="120670"/>
                      <a:pt x="343911" y="147821"/>
                    </a:cubicBezTo>
                    <a:cubicBezTo>
                      <a:pt x="386147" y="174973"/>
                      <a:pt x="500783" y="214190"/>
                      <a:pt x="488715" y="292626"/>
                    </a:cubicBezTo>
                    <a:lnTo>
                      <a:pt x="0" y="114637"/>
                    </a:lnTo>
                    <a:cubicBezTo>
                      <a:pt x="0" y="114637"/>
                      <a:pt x="3018" y="45251"/>
                      <a:pt x="42235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0D04060B-251C-47FC-BA39-7C83C791EBAC}"/>
                  </a:ext>
                </a:extLst>
              </p:cNvPr>
              <p:cNvSpPr/>
              <p:nvPr/>
            </p:nvSpPr>
            <p:spPr>
              <a:xfrm rot="-4204098">
                <a:off x="20093718" y="11599320"/>
                <a:ext cx="48268" cy="518882"/>
              </a:xfrm>
              <a:custGeom>
                <a:avLst/>
                <a:gdLst>
                  <a:gd name="connsiteX0" fmla="*/ -1 w 48268"/>
                  <a:gd name="connsiteY0" fmla="*/ 0 h 518882"/>
                  <a:gd name="connsiteX1" fmla="*/ 48267 w 48268"/>
                  <a:gd name="connsiteY1" fmla="*/ 0 h 518882"/>
                  <a:gd name="connsiteX2" fmla="*/ 48267 w 48268"/>
                  <a:gd name="connsiteY2" fmla="*/ 518883 h 518882"/>
                  <a:gd name="connsiteX3" fmla="*/ -1 w 48268"/>
                  <a:gd name="connsiteY3" fmla="*/ 518883 h 518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268" h="518882">
                    <a:moveTo>
                      <a:pt x="-1" y="0"/>
                    </a:moveTo>
                    <a:lnTo>
                      <a:pt x="48267" y="0"/>
                    </a:lnTo>
                    <a:lnTo>
                      <a:pt x="48267" y="518883"/>
                    </a:lnTo>
                    <a:lnTo>
                      <a:pt x="-1" y="518883"/>
                    </a:ln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8CE823E8-AD82-4156-8D9E-326ABD2BD3DF}"/>
                  </a:ext>
                </a:extLst>
              </p:cNvPr>
              <p:cNvSpPr/>
              <p:nvPr/>
            </p:nvSpPr>
            <p:spPr>
              <a:xfrm>
                <a:off x="19918455" y="11625030"/>
                <a:ext cx="208157" cy="42234"/>
              </a:xfrm>
              <a:custGeom>
                <a:avLst/>
                <a:gdLst>
                  <a:gd name="connsiteX0" fmla="*/ 126704 w 208157"/>
                  <a:gd name="connsiteY0" fmla="*/ 42234 h 42234"/>
                  <a:gd name="connsiteX1" fmla="*/ 3018 w 208157"/>
                  <a:gd name="connsiteY1" fmla="*/ 12067 h 42234"/>
                  <a:gd name="connsiteX2" fmla="*/ 0 w 208157"/>
                  <a:gd name="connsiteY2" fmla="*/ 3016 h 42234"/>
                  <a:gd name="connsiteX3" fmla="*/ 9050 w 208157"/>
                  <a:gd name="connsiteY3" fmla="*/ 0 h 42234"/>
                  <a:gd name="connsiteX4" fmla="*/ 199107 w 208157"/>
                  <a:gd name="connsiteY4" fmla="*/ 15084 h 42234"/>
                  <a:gd name="connsiteX5" fmla="*/ 208157 w 208157"/>
                  <a:gd name="connsiteY5" fmla="*/ 18100 h 42234"/>
                  <a:gd name="connsiteX6" fmla="*/ 205139 w 208157"/>
                  <a:gd name="connsiteY6" fmla="*/ 27151 h 42234"/>
                  <a:gd name="connsiteX7" fmla="*/ 126704 w 208157"/>
                  <a:gd name="connsiteY7" fmla="*/ 42234 h 42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8157" h="42234">
                    <a:moveTo>
                      <a:pt x="126704" y="42234"/>
                    </a:moveTo>
                    <a:cubicBezTo>
                      <a:pt x="60335" y="42234"/>
                      <a:pt x="6034" y="12067"/>
                      <a:pt x="3018" y="12067"/>
                    </a:cubicBezTo>
                    <a:cubicBezTo>
                      <a:pt x="0" y="9050"/>
                      <a:pt x="0" y="6033"/>
                      <a:pt x="0" y="3016"/>
                    </a:cubicBezTo>
                    <a:cubicBezTo>
                      <a:pt x="3018" y="0"/>
                      <a:pt x="6034" y="0"/>
                      <a:pt x="9050" y="0"/>
                    </a:cubicBezTo>
                    <a:cubicBezTo>
                      <a:pt x="9050" y="0"/>
                      <a:pt x="105587" y="54301"/>
                      <a:pt x="199107" y="15084"/>
                    </a:cubicBezTo>
                    <a:cubicBezTo>
                      <a:pt x="202123" y="15084"/>
                      <a:pt x="205139" y="15084"/>
                      <a:pt x="208157" y="18100"/>
                    </a:cubicBezTo>
                    <a:cubicBezTo>
                      <a:pt x="208157" y="21117"/>
                      <a:pt x="208157" y="24134"/>
                      <a:pt x="205139" y="27151"/>
                    </a:cubicBezTo>
                    <a:cubicBezTo>
                      <a:pt x="177990" y="39218"/>
                      <a:pt x="150838" y="42234"/>
                      <a:pt x="126704" y="4223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D12D4EED-01E8-405A-A371-D294450E6A8B}"/>
                  </a:ext>
                </a:extLst>
              </p:cNvPr>
              <p:cNvSpPr/>
              <p:nvPr/>
            </p:nvSpPr>
            <p:spPr>
              <a:xfrm>
                <a:off x="20102478" y="11682349"/>
                <a:ext cx="48267" cy="30167"/>
              </a:xfrm>
              <a:custGeom>
                <a:avLst/>
                <a:gdLst>
                  <a:gd name="connsiteX0" fmla="*/ 6032 w 48267"/>
                  <a:gd name="connsiteY0" fmla="*/ 30168 h 30167"/>
                  <a:gd name="connsiteX1" fmla="*/ 0 w 48267"/>
                  <a:gd name="connsiteY1" fmla="*/ 27151 h 30167"/>
                  <a:gd name="connsiteX2" fmla="*/ 3016 w 48267"/>
                  <a:gd name="connsiteY2" fmla="*/ 18101 h 30167"/>
                  <a:gd name="connsiteX3" fmla="*/ 39218 w 48267"/>
                  <a:gd name="connsiteY3" fmla="*/ 0 h 30167"/>
                  <a:gd name="connsiteX4" fmla="*/ 48267 w 48267"/>
                  <a:gd name="connsiteY4" fmla="*/ 3017 h 30167"/>
                  <a:gd name="connsiteX5" fmla="*/ 45251 w 48267"/>
                  <a:gd name="connsiteY5" fmla="*/ 12067 h 30167"/>
                  <a:gd name="connsiteX6" fmla="*/ 6032 w 48267"/>
                  <a:gd name="connsiteY6" fmla="*/ 30168 h 30167"/>
                  <a:gd name="connsiteX7" fmla="*/ 6032 w 48267"/>
                  <a:gd name="connsiteY7" fmla="*/ 30168 h 30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267" h="30167">
                    <a:moveTo>
                      <a:pt x="6032" y="30168"/>
                    </a:moveTo>
                    <a:cubicBezTo>
                      <a:pt x="3016" y="30168"/>
                      <a:pt x="3016" y="30168"/>
                      <a:pt x="0" y="27151"/>
                    </a:cubicBezTo>
                    <a:cubicBezTo>
                      <a:pt x="0" y="24134"/>
                      <a:pt x="0" y="21117"/>
                      <a:pt x="3016" y="18101"/>
                    </a:cubicBezTo>
                    <a:lnTo>
                      <a:pt x="39218" y="0"/>
                    </a:lnTo>
                    <a:cubicBezTo>
                      <a:pt x="42234" y="0"/>
                      <a:pt x="45251" y="0"/>
                      <a:pt x="48267" y="3017"/>
                    </a:cubicBezTo>
                    <a:cubicBezTo>
                      <a:pt x="48267" y="6033"/>
                      <a:pt x="48267" y="9050"/>
                      <a:pt x="45251" y="12067"/>
                    </a:cubicBezTo>
                    <a:lnTo>
                      <a:pt x="6032" y="30168"/>
                    </a:lnTo>
                    <a:cubicBezTo>
                      <a:pt x="9050" y="30168"/>
                      <a:pt x="6032" y="30168"/>
                      <a:pt x="6032" y="301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EDE967C9-41FE-494C-B6DA-A97C8A9FED3C}"/>
                  </a:ext>
                </a:extLst>
              </p:cNvPr>
              <p:cNvSpPr/>
              <p:nvPr/>
            </p:nvSpPr>
            <p:spPr>
              <a:xfrm>
                <a:off x="20132646" y="11721566"/>
                <a:ext cx="48267" cy="30167"/>
              </a:xfrm>
              <a:custGeom>
                <a:avLst/>
                <a:gdLst>
                  <a:gd name="connsiteX0" fmla="*/ 6032 w 48267"/>
                  <a:gd name="connsiteY0" fmla="*/ 30168 h 30167"/>
                  <a:gd name="connsiteX1" fmla="*/ 0 w 48267"/>
                  <a:gd name="connsiteY1" fmla="*/ 27151 h 30167"/>
                  <a:gd name="connsiteX2" fmla="*/ 3016 w 48267"/>
                  <a:gd name="connsiteY2" fmla="*/ 18101 h 30167"/>
                  <a:gd name="connsiteX3" fmla="*/ 39218 w 48267"/>
                  <a:gd name="connsiteY3" fmla="*/ 0 h 30167"/>
                  <a:gd name="connsiteX4" fmla="*/ 48267 w 48267"/>
                  <a:gd name="connsiteY4" fmla="*/ 3017 h 30167"/>
                  <a:gd name="connsiteX5" fmla="*/ 45251 w 48267"/>
                  <a:gd name="connsiteY5" fmla="*/ 12067 h 30167"/>
                  <a:gd name="connsiteX6" fmla="*/ 6032 w 48267"/>
                  <a:gd name="connsiteY6" fmla="*/ 30168 h 30167"/>
                  <a:gd name="connsiteX7" fmla="*/ 6032 w 48267"/>
                  <a:gd name="connsiteY7" fmla="*/ 30168 h 30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267" h="30167">
                    <a:moveTo>
                      <a:pt x="6032" y="30168"/>
                    </a:moveTo>
                    <a:cubicBezTo>
                      <a:pt x="3016" y="30168"/>
                      <a:pt x="3016" y="30168"/>
                      <a:pt x="0" y="27151"/>
                    </a:cubicBezTo>
                    <a:cubicBezTo>
                      <a:pt x="0" y="24135"/>
                      <a:pt x="0" y="21118"/>
                      <a:pt x="3016" y="18101"/>
                    </a:cubicBezTo>
                    <a:lnTo>
                      <a:pt x="39218" y="0"/>
                    </a:lnTo>
                    <a:cubicBezTo>
                      <a:pt x="42234" y="0"/>
                      <a:pt x="45251" y="0"/>
                      <a:pt x="48267" y="3017"/>
                    </a:cubicBezTo>
                    <a:cubicBezTo>
                      <a:pt x="48267" y="6034"/>
                      <a:pt x="48267" y="9051"/>
                      <a:pt x="45251" y="12067"/>
                    </a:cubicBezTo>
                    <a:lnTo>
                      <a:pt x="6032" y="30168"/>
                    </a:lnTo>
                    <a:cubicBezTo>
                      <a:pt x="6032" y="30168"/>
                      <a:pt x="6032" y="30168"/>
                      <a:pt x="6032" y="301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14EF08EE-C4ED-4152-9124-F6E5E2D8DCB5}"/>
                </a:ext>
              </a:extLst>
            </p:cNvPr>
            <p:cNvSpPr/>
            <p:nvPr/>
          </p:nvSpPr>
          <p:spPr>
            <a:xfrm>
              <a:off x="19350835" y="9775756"/>
              <a:ext cx="1226528" cy="1780870"/>
            </a:xfrm>
            <a:custGeom>
              <a:avLst/>
              <a:gdLst>
                <a:gd name="connsiteX0" fmla="*/ 24603 w 1226528"/>
                <a:gd name="connsiteY0" fmla="*/ 0 h 1780870"/>
                <a:gd name="connsiteX1" fmla="*/ 27621 w 1226528"/>
                <a:gd name="connsiteY1" fmla="*/ 337877 h 1780870"/>
                <a:gd name="connsiteX2" fmla="*/ 787843 w 1226528"/>
                <a:gd name="connsiteY2" fmla="*/ 739106 h 1780870"/>
                <a:gd name="connsiteX3" fmla="*/ 546502 w 1226528"/>
                <a:gd name="connsiteY3" fmla="*/ 1728604 h 1780870"/>
                <a:gd name="connsiteX4" fmla="*/ 830078 w 1226528"/>
                <a:gd name="connsiteY4" fmla="*/ 1776871 h 1780870"/>
                <a:gd name="connsiteX5" fmla="*/ 1225273 w 1226528"/>
                <a:gd name="connsiteY5" fmla="*/ 630503 h 1780870"/>
                <a:gd name="connsiteX6" fmla="*/ 630973 w 1226528"/>
                <a:gd name="connsiteY6" fmla="*/ 51285 h 1780870"/>
                <a:gd name="connsiteX7" fmla="*/ 24603 w 1226528"/>
                <a:gd name="connsiteY7" fmla="*/ 0 h 1780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6528" h="1780870">
                  <a:moveTo>
                    <a:pt x="24603" y="0"/>
                  </a:moveTo>
                  <a:cubicBezTo>
                    <a:pt x="24603" y="0"/>
                    <a:pt x="-32714" y="199106"/>
                    <a:pt x="27621" y="337877"/>
                  </a:cubicBezTo>
                  <a:cubicBezTo>
                    <a:pt x="103040" y="518883"/>
                    <a:pt x="760693" y="684805"/>
                    <a:pt x="787843" y="739106"/>
                  </a:cubicBezTo>
                  <a:cubicBezTo>
                    <a:pt x="814995" y="793408"/>
                    <a:pt x="546502" y="1728604"/>
                    <a:pt x="546502" y="1728604"/>
                  </a:cubicBezTo>
                  <a:cubicBezTo>
                    <a:pt x="546502" y="1728604"/>
                    <a:pt x="757675" y="1797989"/>
                    <a:pt x="830078" y="1776871"/>
                  </a:cubicBezTo>
                  <a:cubicBezTo>
                    <a:pt x="830078" y="1776871"/>
                    <a:pt x="1252425" y="769274"/>
                    <a:pt x="1225273" y="630503"/>
                  </a:cubicBezTo>
                  <a:cubicBezTo>
                    <a:pt x="1198124" y="488715"/>
                    <a:pt x="697340" y="66369"/>
                    <a:pt x="630973" y="51285"/>
                  </a:cubicBezTo>
                  <a:cubicBezTo>
                    <a:pt x="567620" y="33185"/>
                    <a:pt x="24603" y="0"/>
                    <a:pt x="24603" y="0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E617DE75-4A4D-48E9-8040-162E0705376D}"/>
                </a:ext>
              </a:extLst>
            </p:cNvPr>
            <p:cNvSpPr/>
            <p:nvPr/>
          </p:nvSpPr>
          <p:spPr>
            <a:xfrm>
              <a:off x="19824936" y="8197991"/>
              <a:ext cx="256424" cy="263159"/>
            </a:xfrm>
            <a:custGeom>
              <a:avLst/>
              <a:gdLst>
                <a:gd name="connsiteX0" fmla="*/ 256425 w 256424"/>
                <a:gd name="connsiteY0" fmla="*/ 51285 h 263159"/>
                <a:gd name="connsiteX1" fmla="*/ 241341 w 256424"/>
                <a:gd name="connsiteY1" fmla="*/ 223240 h 263159"/>
                <a:gd name="connsiteX2" fmla="*/ 0 w 256424"/>
                <a:gd name="connsiteY2" fmla="*/ 202123 h 263159"/>
                <a:gd name="connsiteX3" fmla="*/ 24134 w 256424"/>
                <a:gd name="connsiteY3" fmla="*/ 0 h 263159"/>
                <a:gd name="connsiteX4" fmla="*/ 256425 w 256424"/>
                <a:gd name="connsiteY4" fmla="*/ 51285 h 263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6424" h="263159">
                  <a:moveTo>
                    <a:pt x="256425" y="51285"/>
                  </a:moveTo>
                  <a:cubicBezTo>
                    <a:pt x="256425" y="51285"/>
                    <a:pt x="244357" y="150838"/>
                    <a:pt x="241341" y="223240"/>
                  </a:cubicBezTo>
                  <a:cubicBezTo>
                    <a:pt x="241341" y="223240"/>
                    <a:pt x="144804" y="325810"/>
                    <a:pt x="0" y="202123"/>
                  </a:cubicBezTo>
                  <a:cubicBezTo>
                    <a:pt x="3016" y="141788"/>
                    <a:pt x="18100" y="63352"/>
                    <a:pt x="24134" y="0"/>
                  </a:cubicBezTo>
                  <a:cubicBezTo>
                    <a:pt x="24134" y="0"/>
                    <a:pt x="205139" y="60335"/>
                    <a:pt x="256425" y="51285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9582D41C-DE6F-4770-9BF8-6FA19F6AC63C}"/>
                </a:ext>
              </a:extLst>
            </p:cNvPr>
            <p:cNvSpPr/>
            <p:nvPr/>
          </p:nvSpPr>
          <p:spPr>
            <a:xfrm>
              <a:off x="19333205" y="8363913"/>
              <a:ext cx="1121709" cy="1479506"/>
            </a:xfrm>
            <a:custGeom>
              <a:avLst/>
              <a:gdLst>
                <a:gd name="connsiteX0" fmla="*/ 494748 w 1121709"/>
                <a:gd name="connsiteY0" fmla="*/ 0 h 1479506"/>
                <a:gd name="connsiteX1" fmla="*/ 736088 w 1121709"/>
                <a:gd name="connsiteY1" fmla="*/ 21117 h 1479506"/>
                <a:gd name="connsiteX2" fmla="*/ 1052848 w 1121709"/>
                <a:gd name="connsiteY2" fmla="*/ 147821 h 1479506"/>
                <a:gd name="connsiteX3" fmla="*/ 1119217 w 1121709"/>
                <a:gd name="connsiteY3" fmla="*/ 1393743 h 1479506"/>
                <a:gd name="connsiteX4" fmla="*/ 0 w 1121709"/>
                <a:gd name="connsiteY4" fmla="*/ 1429944 h 1479506"/>
                <a:gd name="connsiteX5" fmla="*/ 196089 w 1121709"/>
                <a:gd name="connsiteY5" fmla="*/ 81452 h 1479506"/>
                <a:gd name="connsiteX6" fmla="*/ 494748 w 1121709"/>
                <a:gd name="connsiteY6" fmla="*/ 0 h 147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1709" h="1479506">
                  <a:moveTo>
                    <a:pt x="494748" y="0"/>
                  </a:moveTo>
                  <a:cubicBezTo>
                    <a:pt x="494748" y="0"/>
                    <a:pt x="618436" y="102570"/>
                    <a:pt x="736088" y="21117"/>
                  </a:cubicBezTo>
                  <a:cubicBezTo>
                    <a:pt x="736088" y="21117"/>
                    <a:pt x="1028714" y="114637"/>
                    <a:pt x="1052848" y="147821"/>
                  </a:cubicBezTo>
                  <a:cubicBezTo>
                    <a:pt x="1076982" y="181006"/>
                    <a:pt x="1134301" y="1327374"/>
                    <a:pt x="1119217" y="1393743"/>
                  </a:cubicBezTo>
                  <a:cubicBezTo>
                    <a:pt x="1119217" y="1393743"/>
                    <a:pt x="567151" y="1559664"/>
                    <a:pt x="0" y="1429944"/>
                  </a:cubicBezTo>
                  <a:cubicBezTo>
                    <a:pt x="15084" y="1076983"/>
                    <a:pt x="153854" y="111620"/>
                    <a:pt x="196089" y="81452"/>
                  </a:cubicBezTo>
                  <a:cubicBezTo>
                    <a:pt x="238323" y="54301"/>
                    <a:pt x="494748" y="0"/>
                    <a:pt x="494748" y="0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17FE7F49-ED43-43C9-A1D8-9375F7D0496D}"/>
                </a:ext>
              </a:extLst>
            </p:cNvPr>
            <p:cNvSpPr/>
            <p:nvPr/>
          </p:nvSpPr>
          <p:spPr>
            <a:xfrm>
              <a:off x="20105494" y="8529417"/>
              <a:ext cx="416316" cy="577430"/>
            </a:xfrm>
            <a:custGeom>
              <a:avLst/>
              <a:gdLst>
                <a:gd name="connsiteX0" fmla="*/ 0 w 416316"/>
                <a:gd name="connsiteY0" fmla="*/ 537401 h 577430"/>
                <a:gd name="connsiteX1" fmla="*/ 250391 w 416316"/>
                <a:gd name="connsiteY1" fmla="*/ 418 h 577430"/>
                <a:gd name="connsiteX2" fmla="*/ 416313 w 416316"/>
                <a:gd name="connsiteY2" fmla="*/ 558518 h 577430"/>
                <a:gd name="connsiteX3" fmla="*/ 0 w 416316"/>
                <a:gd name="connsiteY3" fmla="*/ 537401 h 577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6316" h="577430">
                  <a:moveTo>
                    <a:pt x="0" y="537401"/>
                  </a:moveTo>
                  <a:cubicBezTo>
                    <a:pt x="0" y="537401"/>
                    <a:pt x="105587" y="15502"/>
                    <a:pt x="250391" y="418"/>
                  </a:cubicBezTo>
                  <a:cubicBezTo>
                    <a:pt x="419330" y="-17683"/>
                    <a:pt x="416313" y="558518"/>
                    <a:pt x="416313" y="558518"/>
                  </a:cubicBezTo>
                  <a:cubicBezTo>
                    <a:pt x="416313" y="558518"/>
                    <a:pt x="196089" y="612820"/>
                    <a:pt x="0" y="537401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75F70D88-E3F9-4824-9952-35CF613489E4}"/>
                </a:ext>
              </a:extLst>
            </p:cNvPr>
            <p:cNvSpPr/>
            <p:nvPr/>
          </p:nvSpPr>
          <p:spPr>
            <a:xfrm>
              <a:off x="20383037" y="8505701"/>
              <a:ext cx="30167" cy="549050"/>
            </a:xfrm>
            <a:custGeom>
              <a:avLst/>
              <a:gdLst>
                <a:gd name="connsiteX0" fmla="*/ 24134 w 30167"/>
                <a:gd name="connsiteY0" fmla="*/ 549050 h 549050"/>
                <a:gd name="connsiteX1" fmla="*/ 18100 w 30167"/>
                <a:gd name="connsiteY1" fmla="*/ 543017 h 549050"/>
                <a:gd name="connsiteX2" fmla="*/ 0 w 30167"/>
                <a:gd name="connsiteY2" fmla="*/ 6033 h 549050"/>
                <a:gd name="connsiteX3" fmla="*/ 6034 w 30167"/>
                <a:gd name="connsiteY3" fmla="*/ 0 h 549050"/>
                <a:gd name="connsiteX4" fmla="*/ 12066 w 30167"/>
                <a:gd name="connsiteY4" fmla="*/ 6033 h 549050"/>
                <a:gd name="connsiteX5" fmla="*/ 30168 w 30167"/>
                <a:gd name="connsiteY5" fmla="*/ 543017 h 549050"/>
                <a:gd name="connsiteX6" fmla="*/ 24134 w 30167"/>
                <a:gd name="connsiteY6" fmla="*/ 549050 h 549050"/>
                <a:gd name="connsiteX7" fmla="*/ 24134 w 30167"/>
                <a:gd name="connsiteY7" fmla="*/ 549050 h 54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167" h="549050">
                  <a:moveTo>
                    <a:pt x="24134" y="549050"/>
                  </a:moveTo>
                  <a:cubicBezTo>
                    <a:pt x="21118" y="549050"/>
                    <a:pt x="18100" y="546033"/>
                    <a:pt x="18100" y="543017"/>
                  </a:cubicBezTo>
                  <a:cubicBezTo>
                    <a:pt x="18100" y="536983"/>
                    <a:pt x="6034" y="45251"/>
                    <a:pt x="0" y="6033"/>
                  </a:cubicBezTo>
                  <a:cubicBezTo>
                    <a:pt x="0" y="3016"/>
                    <a:pt x="3016" y="0"/>
                    <a:pt x="6034" y="0"/>
                  </a:cubicBezTo>
                  <a:cubicBezTo>
                    <a:pt x="9050" y="0"/>
                    <a:pt x="12066" y="3016"/>
                    <a:pt x="12066" y="6033"/>
                  </a:cubicBezTo>
                  <a:cubicBezTo>
                    <a:pt x="18100" y="45251"/>
                    <a:pt x="30168" y="521900"/>
                    <a:pt x="30168" y="543017"/>
                  </a:cubicBezTo>
                  <a:cubicBezTo>
                    <a:pt x="27150" y="546033"/>
                    <a:pt x="27150" y="549050"/>
                    <a:pt x="24134" y="549050"/>
                  </a:cubicBezTo>
                  <a:cubicBezTo>
                    <a:pt x="24134" y="549050"/>
                    <a:pt x="24134" y="549050"/>
                    <a:pt x="24134" y="549050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972E551F-AC5D-47C4-B425-12204F7ED9A7}"/>
                </a:ext>
              </a:extLst>
            </p:cNvPr>
            <p:cNvSpPr/>
            <p:nvPr/>
          </p:nvSpPr>
          <p:spPr>
            <a:xfrm>
              <a:off x="19773651" y="8080337"/>
              <a:ext cx="66369" cy="138771"/>
            </a:xfrm>
            <a:custGeom>
              <a:avLst/>
              <a:gdLst>
                <a:gd name="connsiteX0" fmla="*/ 0 w 66369"/>
                <a:gd name="connsiteY0" fmla="*/ 0 h 138771"/>
                <a:gd name="connsiteX1" fmla="*/ 60335 w 66369"/>
                <a:gd name="connsiteY1" fmla="*/ 138771 h 138771"/>
                <a:gd name="connsiteX2" fmla="*/ 66369 w 66369"/>
                <a:gd name="connsiteY2" fmla="*/ 54302 h 138771"/>
                <a:gd name="connsiteX3" fmla="*/ 0 w 66369"/>
                <a:gd name="connsiteY3" fmla="*/ 0 h 138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369" h="138771">
                  <a:moveTo>
                    <a:pt x="0" y="0"/>
                  </a:moveTo>
                  <a:cubicBezTo>
                    <a:pt x="0" y="0"/>
                    <a:pt x="9050" y="117654"/>
                    <a:pt x="60335" y="138771"/>
                  </a:cubicBezTo>
                  <a:lnTo>
                    <a:pt x="66369" y="54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A73FC9F8-64CA-4091-ABC0-CFCBB7590C6A}"/>
                </a:ext>
              </a:extLst>
            </p:cNvPr>
            <p:cNvSpPr/>
            <p:nvPr/>
          </p:nvSpPr>
          <p:spPr>
            <a:xfrm>
              <a:off x="20130252" y="7893298"/>
              <a:ext cx="102604" cy="235286"/>
            </a:xfrm>
            <a:custGeom>
              <a:avLst/>
              <a:gdLst>
                <a:gd name="connsiteX0" fmla="*/ 98929 w 102604"/>
                <a:gd name="connsiteY0" fmla="*/ 0 h 235286"/>
                <a:gd name="connsiteX1" fmla="*/ 47645 w 102604"/>
                <a:gd name="connsiteY1" fmla="*/ 232290 h 235286"/>
                <a:gd name="connsiteX2" fmla="*/ 2394 w 102604"/>
                <a:gd name="connsiteY2" fmla="*/ 12067 h 235286"/>
                <a:gd name="connsiteX3" fmla="*/ 98929 w 102604"/>
                <a:gd name="connsiteY3" fmla="*/ 0 h 235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604" h="235286">
                  <a:moveTo>
                    <a:pt x="98929" y="0"/>
                  </a:moveTo>
                  <a:cubicBezTo>
                    <a:pt x="98929" y="0"/>
                    <a:pt x="123064" y="193072"/>
                    <a:pt x="47645" y="232290"/>
                  </a:cubicBezTo>
                  <a:cubicBezTo>
                    <a:pt x="-15708" y="265475"/>
                    <a:pt x="2394" y="12067"/>
                    <a:pt x="2394" y="12067"/>
                  </a:cubicBezTo>
                  <a:lnTo>
                    <a:pt x="98929" y="0"/>
                  </a:lnTo>
                  <a:close/>
                </a:path>
              </a:pathLst>
            </a:custGeom>
            <a:solidFill>
              <a:srgbClr val="664241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3B7F815B-CBD4-4546-ABA7-4DAC0AEDFEA4}"/>
                </a:ext>
              </a:extLst>
            </p:cNvPr>
            <p:cNvSpPr/>
            <p:nvPr/>
          </p:nvSpPr>
          <p:spPr>
            <a:xfrm>
              <a:off x="19779685" y="7750651"/>
              <a:ext cx="412481" cy="562126"/>
            </a:xfrm>
            <a:custGeom>
              <a:avLst/>
              <a:gdLst>
                <a:gd name="connsiteX0" fmla="*/ 407263 w 412481"/>
                <a:gd name="connsiteY0" fmla="*/ 184882 h 562126"/>
                <a:gd name="connsiteX1" fmla="*/ 401229 w 412481"/>
                <a:gd name="connsiteY1" fmla="*/ 432256 h 562126"/>
                <a:gd name="connsiteX2" fmla="*/ 238323 w 412481"/>
                <a:gd name="connsiteY2" fmla="*/ 561977 h 562126"/>
                <a:gd name="connsiteX3" fmla="*/ 30168 w 412481"/>
                <a:gd name="connsiteY3" fmla="*/ 414156 h 562126"/>
                <a:gd name="connsiteX4" fmla="*/ 0 w 412481"/>
                <a:gd name="connsiteY4" fmla="*/ 190916 h 562126"/>
                <a:gd name="connsiteX5" fmla="*/ 217207 w 412481"/>
                <a:gd name="connsiteY5" fmla="*/ 860 h 562126"/>
                <a:gd name="connsiteX6" fmla="*/ 407263 w 412481"/>
                <a:gd name="connsiteY6" fmla="*/ 184882 h 562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481" h="562126">
                  <a:moveTo>
                    <a:pt x="407263" y="184882"/>
                  </a:moveTo>
                  <a:cubicBezTo>
                    <a:pt x="407263" y="184882"/>
                    <a:pt x="422346" y="359854"/>
                    <a:pt x="401229" y="432256"/>
                  </a:cubicBezTo>
                  <a:cubicBezTo>
                    <a:pt x="380111" y="495608"/>
                    <a:pt x="289608" y="558960"/>
                    <a:pt x="238323" y="561977"/>
                  </a:cubicBezTo>
                  <a:cubicBezTo>
                    <a:pt x="171956" y="564994"/>
                    <a:pt x="57317" y="522759"/>
                    <a:pt x="30168" y="414156"/>
                  </a:cubicBezTo>
                  <a:cubicBezTo>
                    <a:pt x="12066" y="341754"/>
                    <a:pt x="0" y="242201"/>
                    <a:pt x="0" y="190916"/>
                  </a:cubicBezTo>
                  <a:cubicBezTo>
                    <a:pt x="6034" y="97396"/>
                    <a:pt x="33184" y="18960"/>
                    <a:pt x="217207" y="860"/>
                  </a:cubicBezTo>
                  <a:cubicBezTo>
                    <a:pt x="301676" y="-11208"/>
                    <a:pt x="389161" y="106446"/>
                    <a:pt x="407263" y="184882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69339C13-A0B8-4D51-BEE2-2FD9D2125A3E}"/>
                </a:ext>
              </a:extLst>
            </p:cNvPr>
            <p:cNvSpPr/>
            <p:nvPr/>
          </p:nvSpPr>
          <p:spPr>
            <a:xfrm>
              <a:off x="19995642" y="8013969"/>
              <a:ext cx="58567" cy="132737"/>
            </a:xfrm>
            <a:custGeom>
              <a:avLst/>
              <a:gdLst>
                <a:gd name="connsiteX0" fmla="*/ 31418 w 58567"/>
                <a:gd name="connsiteY0" fmla="*/ 132737 h 132737"/>
                <a:gd name="connsiteX1" fmla="*/ 4266 w 58567"/>
                <a:gd name="connsiteY1" fmla="*/ 129721 h 132737"/>
                <a:gd name="connsiteX2" fmla="*/ 1250 w 58567"/>
                <a:gd name="connsiteY2" fmla="*/ 123687 h 132737"/>
                <a:gd name="connsiteX3" fmla="*/ 7282 w 58567"/>
                <a:gd name="connsiteY3" fmla="*/ 120670 h 132737"/>
                <a:gd name="connsiteX4" fmla="*/ 46501 w 58567"/>
                <a:gd name="connsiteY4" fmla="*/ 120670 h 132737"/>
                <a:gd name="connsiteX5" fmla="*/ 46501 w 58567"/>
                <a:gd name="connsiteY5" fmla="*/ 117653 h 132737"/>
                <a:gd name="connsiteX6" fmla="*/ 34434 w 58567"/>
                <a:gd name="connsiteY6" fmla="*/ 6033 h 132737"/>
                <a:gd name="connsiteX7" fmla="*/ 40468 w 58567"/>
                <a:gd name="connsiteY7" fmla="*/ 0 h 132737"/>
                <a:gd name="connsiteX8" fmla="*/ 46501 w 58567"/>
                <a:gd name="connsiteY8" fmla="*/ 6033 h 132737"/>
                <a:gd name="connsiteX9" fmla="*/ 58567 w 58567"/>
                <a:gd name="connsiteY9" fmla="*/ 117653 h 132737"/>
                <a:gd name="connsiteX10" fmla="*/ 52534 w 58567"/>
                <a:gd name="connsiteY10" fmla="*/ 129721 h 132737"/>
                <a:gd name="connsiteX11" fmla="*/ 31418 w 58567"/>
                <a:gd name="connsiteY11" fmla="*/ 132737 h 13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567" h="132737">
                  <a:moveTo>
                    <a:pt x="31418" y="132737"/>
                  </a:moveTo>
                  <a:cubicBezTo>
                    <a:pt x="19350" y="132737"/>
                    <a:pt x="7282" y="129721"/>
                    <a:pt x="4266" y="129721"/>
                  </a:cubicBezTo>
                  <a:cubicBezTo>
                    <a:pt x="1250" y="129721"/>
                    <a:pt x="-1768" y="126704"/>
                    <a:pt x="1250" y="123687"/>
                  </a:cubicBezTo>
                  <a:cubicBezTo>
                    <a:pt x="1250" y="120670"/>
                    <a:pt x="4266" y="117653"/>
                    <a:pt x="7282" y="120670"/>
                  </a:cubicBezTo>
                  <a:cubicBezTo>
                    <a:pt x="19350" y="123687"/>
                    <a:pt x="40468" y="126704"/>
                    <a:pt x="46501" y="120670"/>
                  </a:cubicBezTo>
                  <a:cubicBezTo>
                    <a:pt x="46501" y="120670"/>
                    <a:pt x="46501" y="117653"/>
                    <a:pt x="46501" y="117653"/>
                  </a:cubicBezTo>
                  <a:cubicBezTo>
                    <a:pt x="46501" y="99553"/>
                    <a:pt x="34434" y="6033"/>
                    <a:pt x="34434" y="6033"/>
                  </a:cubicBezTo>
                  <a:cubicBezTo>
                    <a:pt x="34434" y="3017"/>
                    <a:pt x="37450" y="0"/>
                    <a:pt x="40468" y="0"/>
                  </a:cubicBezTo>
                  <a:cubicBezTo>
                    <a:pt x="43484" y="0"/>
                    <a:pt x="46501" y="3017"/>
                    <a:pt x="46501" y="6033"/>
                  </a:cubicBezTo>
                  <a:cubicBezTo>
                    <a:pt x="46501" y="9050"/>
                    <a:pt x="58567" y="99553"/>
                    <a:pt x="58567" y="117653"/>
                  </a:cubicBezTo>
                  <a:cubicBezTo>
                    <a:pt x="58567" y="123687"/>
                    <a:pt x="55551" y="126704"/>
                    <a:pt x="52534" y="129721"/>
                  </a:cubicBezTo>
                  <a:cubicBezTo>
                    <a:pt x="49518" y="132737"/>
                    <a:pt x="40468" y="132737"/>
                    <a:pt x="31418" y="132737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E67D6BA2-46F8-489C-A324-026F2133A33F}"/>
                </a:ext>
              </a:extLst>
            </p:cNvPr>
            <p:cNvSpPr/>
            <p:nvPr/>
          </p:nvSpPr>
          <p:spPr>
            <a:xfrm>
              <a:off x="20089642" y="7989066"/>
              <a:ext cx="40755" cy="40755"/>
            </a:xfrm>
            <a:custGeom>
              <a:avLst/>
              <a:gdLst>
                <a:gd name="connsiteX0" fmla="*/ 769 w 40755"/>
                <a:gd name="connsiteY0" fmla="*/ 24903 h 40755"/>
                <a:gd name="connsiteX1" fmla="*/ 24902 w 40755"/>
                <a:gd name="connsiteY1" fmla="*/ 39987 h 40755"/>
                <a:gd name="connsiteX2" fmla="*/ 39986 w 40755"/>
                <a:gd name="connsiteY2" fmla="*/ 15852 h 40755"/>
                <a:gd name="connsiteX3" fmla="*/ 15852 w 40755"/>
                <a:gd name="connsiteY3" fmla="*/ 769 h 40755"/>
                <a:gd name="connsiteX4" fmla="*/ 769 w 40755"/>
                <a:gd name="connsiteY4" fmla="*/ 24903 h 4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55" h="40755">
                  <a:moveTo>
                    <a:pt x="769" y="24903"/>
                  </a:moveTo>
                  <a:cubicBezTo>
                    <a:pt x="3785" y="36970"/>
                    <a:pt x="12836" y="43004"/>
                    <a:pt x="24902" y="39987"/>
                  </a:cubicBezTo>
                  <a:cubicBezTo>
                    <a:pt x="36970" y="36970"/>
                    <a:pt x="43004" y="27920"/>
                    <a:pt x="39986" y="15852"/>
                  </a:cubicBezTo>
                  <a:cubicBezTo>
                    <a:pt x="36970" y="3786"/>
                    <a:pt x="27920" y="-2248"/>
                    <a:pt x="15852" y="769"/>
                  </a:cubicBezTo>
                  <a:cubicBezTo>
                    <a:pt x="3785" y="3786"/>
                    <a:pt x="-2247" y="15852"/>
                    <a:pt x="769" y="24903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7A823ED8-18F4-4F83-88B0-232EAC48901B}"/>
                </a:ext>
              </a:extLst>
            </p:cNvPr>
            <p:cNvSpPr/>
            <p:nvPr/>
          </p:nvSpPr>
          <p:spPr>
            <a:xfrm>
              <a:off x="19906389" y="8001133"/>
              <a:ext cx="39985" cy="40755"/>
            </a:xfrm>
            <a:custGeom>
              <a:avLst/>
              <a:gdLst>
                <a:gd name="connsiteX0" fmla="*/ 0 w 39985"/>
                <a:gd name="connsiteY0" fmla="*/ 24903 h 40755"/>
                <a:gd name="connsiteX1" fmla="*/ 24134 w 39985"/>
                <a:gd name="connsiteY1" fmla="*/ 39986 h 40755"/>
                <a:gd name="connsiteX2" fmla="*/ 39218 w 39985"/>
                <a:gd name="connsiteY2" fmla="*/ 15853 h 40755"/>
                <a:gd name="connsiteX3" fmla="*/ 15084 w 39985"/>
                <a:gd name="connsiteY3" fmla="*/ 769 h 40755"/>
                <a:gd name="connsiteX4" fmla="*/ 0 w 39985"/>
                <a:gd name="connsiteY4" fmla="*/ 24903 h 4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85" h="40755">
                  <a:moveTo>
                    <a:pt x="0" y="24903"/>
                  </a:moveTo>
                  <a:cubicBezTo>
                    <a:pt x="3016" y="36970"/>
                    <a:pt x="12066" y="43003"/>
                    <a:pt x="24134" y="39986"/>
                  </a:cubicBezTo>
                  <a:cubicBezTo>
                    <a:pt x="36200" y="36970"/>
                    <a:pt x="42234" y="27920"/>
                    <a:pt x="39218" y="15853"/>
                  </a:cubicBezTo>
                  <a:cubicBezTo>
                    <a:pt x="36200" y="3785"/>
                    <a:pt x="27150" y="-2248"/>
                    <a:pt x="15084" y="769"/>
                  </a:cubicBezTo>
                  <a:cubicBezTo>
                    <a:pt x="6032" y="3785"/>
                    <a:pt x="0" y="15853"/>
                    <a:pt x="0" y="24903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21FEBC74-2554-4F8C-9F73-B96C5E5D359C}"/>
                </a:ext>
              </a:extLst>
            </p:cNvPr>
            <p:cNvSpPr/>
            <p:nvPr/>
          </p:nvSpPr>
          <p:spPr>
            <a:xfrm>
              <a:off x="20065027" y="7944938"/>
              <a:ext cx="90998" cy="32829"/>
            </a:xfrm>
            <a:custGeom>
              <a:avLst/>
              <a:gdLst>
                <a:gd name="connsiteX0" fmla="*/ 82703 w 90998"/>
                <a:gd name="connsiteY0" fmla="*/ 32830 h 32829"/>
                <a:gd name="connsiteX1" fmla="*/ 76669 w 90998"/>
                <a:gd name="connsiteY1" fmla="*/ 29813 h 32829"/>
                <a:gd name="connsiteX2" fmla="*/ 10300 w 90998"/>
                <a:gd name="connsiteY2" fmla="*/ 20762 h 32829"/>
                <a:gd name="connsiteX3" fmla="*/ 1250 w 90998"/>
                <a:gd name="connsiteY3" fmla="*/ 17746 h 32829"/>
                <a:gd name="connsiteX4" fmla="*/ 4266 w 90998"/>
                <a:gd name="connsiteY4" fmla="*/ 8695 h 32829"/>
                <a:gd name="connsiteX5" fmla="*/ 88735 w 90998"/>
                <a:gd name="connsiteY5" fmla="*/ 20762 h 32829"/>
                <a:gd name="connsiteX6" fmla="*/ 88735 w 90998"/>
                <a:gd name="connsiteY6" fmla="*/ 32830 h 32829"/>
                <a:gd name="connsiteX7" fmla="*/ 82703 w 90998"/>
                <a:gd name="connsiteY7" fmla="*/ 32830 h 32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2829">
                  <a:moveTo>
                    <a:pt x="82703" y="32830"/>
                  </a:moveTo>
                  <a:cubicBezTo>
                    <a:pt x="79685" y="32830"/>
                    <a:pt x="79685" y="32830"/>
                    <a:pt x="76669" y="29813"/>
                  </a:cubicBezTo>
                  <a:cubicBezTo>
                    <a:pt x="52535" y="2662"/>
                    <a:pt x="13316" y="20762"/>
                    <a:pt x="10300" y="20762"/>
                  </a:cubicBezTo>
                  <a:cubicBezTo>
                    <a:pt x="7284" y="23779"/>
                    <a:pt x="1250" y="20762"/>
                    <a:pt x="1250" y="17746"/>
                  </a:cubicBezTo>
                  <a:cubicBezTo>
                    <a:pt x="-1768" y="14729"/>
                    <a:pt x="1250" y="8695"/>
                    <a:pt x="4266" y="8695"/>
                  </a:cubicBezTo>
                  <a:cubicBezTo>
                    <a:pt x="22368" y="-355"/>
                    <a:pt x="61585" y="-9405"/>
                    <a:pt x="88735" y="20762"/>
                  </a:cubicBezTo>
                  <a:cubicBezTo>
                    <a:pt x="91753" y="23779"/>
                    <a:pt x="91753" y="29813"/>
                    <a:pt x="88735" y="32830"/>
                  </a:cubicBezTo>
                  <a:cubicBezTo>
                    <a:pt x="85719" y="32830"/>
                    <a:pt x="85719" y="32830"/>
                    <a:pt x="82703" y="32830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0CC9108A-DCE1-4210-A6C0-3CEAE481A43D}"/>
                </a:ext>
              </a:extLst>
            </p:cNvPr>
            <p:cNvSpPr/>
            <p:nvPr/>
          </p:nvSpPr>
          <p:spPr>
            <a:xfrm>
              <a:off x="19876975" y="7938721"/>
              <a:ext cx="89748" cy="33013"/>
            </a:xfrm>
            <a:custGeom>
              <a:avLst/>
              <a:gdLst>
                <a:gd name="connsiteX0" fmla="*/ 8296 w 89748"/>
                <a:gd name="connsiteY0" fmla="*/ 33013 h 33013"/>
                <a:gd name="connsiteX1" fmla="*/ 2262 w 89748"/>
                <a:gd name="connsiteY1" fmla="*/ 29997 h 33013"/>
                <a:gd name="connsiteX2" fmla="*/ 2262 w 89748"/>
                <a:gd name="connsiteY2" fmla="*/ 17930 h 33013"/>
                <a:gd name="connsiteX3" fmla="*/ 86731 w 89748"/>
                <a:gd name="connsiteY3" fmla="*/ 11896 h 33013"/>
                <a:gd name="connsiteX4" fmla="*/ 89749 w 89748"/>
                <a:gd name="connsiteY4" fmla="*/ 23963 h 33013"/>
                <a:gd name="connsiteX5" fmla="*/ 77681 w 89748"/>
                <a:gd name="connsiteY5" fmla="*/ 26980 h 33013"/>
                <a:gd name="connsiteX6" fmla="*/ 11312 w 89748"/>
                <a:gd name="connsiteY6" fmla="*/ 29997 h 33013"/>
                <a:gd name="connsiteX7" fmla="*/ 8296 w 89748"/>
                <a:gd name="connsiteY7" fmla="*/ 33013 h 33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8" h="33013">
                  <a:moveTo>
                    <a:pt x="8296" y="33013"/>
                  </a:moveTo>
                  <a:cubicBezTo>
                    <a:pt x="5278" y="33013"/>
                    <a:pt x="5278" y="33013"/>
                    <a:pt x="2262" y="29997"/>
                  </a:cubicBezTo>
                  <a:cubicBezTo>
                    <a:pt x="-754" y="26980"/>
                    <a:pt x="-754" y="20946"/>
                    <a:pt x="2262" y="17930"/>
                  </a:cubicBezTo>
                  <a:cubicBezTo>
                    <a:pt x="17346" y="5862"/>
                    <a:pt x="50529" y="-12238"/>
                    <a:pt x="86731" y="11896"/>
                  </a:cubicBezTo>
                  <a:cubicBezTo>
                    <a:pt x="89749" y="14913"/>
                    <a:pt x="89749" y="17930"/>
                    <a:pt x="89749" y="23963"/>
                  </a:cubicBezTo>
                  <a:cubicBezTo>
                    <a:pt x="86731" y="26980"/>
                    <a:pt x="83715" y="26980"/>
                    <a:pt x="77681" y="26980"/>
                  </a:cubicBezTo>
                  <a:cubicBezTo>
                    <a:pt x="41480" y="2846"/>
                    <a:pt x="14330" y="29997"/>
                    <a:pt x="11312" y="29997"/>
                  </a:cubicBezTo>
                  <a:cubicBezTo>
                    <a:pt x="11312" y="29997"/>
                    <a:pt x="8296" y="33013"/>
                    <a:pt x="8296" y="33013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91DA0795-1F28-4F1B-9F69-0C4B1C0B02A7}"/>
                </a:ext>
              </a:extLst>
            </p:cNvPr>
            <p:cNvSpPr/>
            <p:nvPr/>
          </p:nvSpPr>
          <p:spPr>
            <a:xfrm>
              <a:off x="19858120" y="8249276"/>
              <a:ext cx="224581" cy="69385"/>
            </a:xfrm>
            <a:custGeom>
              <a:avLst/>
              <a:gdLst>
                <a:gd name="connsiteX0" fmla="*/ 147822 w 224581"/>
                <a:gd name="connsiteY0" fmla="*/ 69386 h 69385"/>
                <a:gd name="connsiteX1" fmla="*/ 144804 w 224581"/>
                <a:gd name="connsiteY1" fmla="*/ 69386 h 69385"/>
                <a:gd name="connsiteX2" fmla="*/ 3018 w 224581"/>
                <a:gd name="connsiteY2" fmla="*/ 12067 h 69385"/>
                <a:gd name="connsiteX3" fmla="*/ 0 w 224581"/>
                <a:gd name="connsiteY3" fmla="*/ 3016 h 69385"/>
                <a:gd name="connsiteX4" fmla="*/ 9050 w 224581"/>
                <a:gd name="connsiteY4" fmla="*/ 0 h 69385"/>
                <a:gd name="connsiteX5" fmla="*/ 144804 w 224581"/>
                <a:gd name="connsiteY5" fmla="*/ 54302 h 69385"/>
                <a:gd name="connsiteX6" fmla="*/ 214191 w 224581"/>
                <a:gd name="connsiteY6" fmla="*/ 33184 h 69385"/>
                <a:gd name="connsiteX7" fmla="*/ 223241 w 224581"/>
                <a:gd name="connsiteY7" fmla="*/ 33184 h 69385"/>
                <a:gd name="connsiteX8" fmla="*/ 223241 w 224581"/>
                <a:gd name="connsiteY8" fmla="*/ 42234 h 69385"/>
                <a:gd name="connsiteX9" fmla="*/ 147822 w 224581"/>
                <a:gd name="connsiteY9" fmla="*/ 69386 h 69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581" h="69385">
                  <a:moveTo>
                    <a:pt x="147822" y="69386"/>
                  </a:moveTo>
                  <a:cubicBezTo>
                    <a:pt x="147822" y="69386"/>
                    <a:pt x="144804" y="69386"/>
                    <a:pt x="144804" y="69386"/>
                  </a:cubicBezTo>
                  <a:cubicBezTo>
                    <a:pt x="93521" y="66369"/>
                    <a:pt x="6034" y="15084"/>
                    <a:pt x="3018" y="12067"/>
                  </a:cubicBezTo>
                  <a:cubicBezTo>
                    <a:pt x="0" y="9050"/>
                    <a:pt x="0" y="6033"/>
                    <a:pt x="0" y="3016"/>
                  </a:cubicBezTo>
                  <a:cubicBezTo>
                    <a:pt x="3018" y="0"/>
                    <a:pt x="6034" y="0"/>
                    <a:pt x="9050" y="0"/>
                  </a:cubicBezTo>
                  <a:cubicBezTo>
                    <a:pt x="9050" y="0"/>
                    <a:pt x="96537" y="54302"/>
                    <a:pt x="144804" y="54302"/>
                  </a:cubicBezTo>
                  <a:cubicBezTo>
                    <a:pt x="184023" y="57318"/>
                    <a:pt x="214191" y="33184"/>
                    <a:pt x="214191" y="33184"/>
                  </a:cubicBezTo>
                  <a:cubicBezTo>
                    <a:pt x="217207" y="30168"/>
                    <a:pt x="220223" y="33184"/>
                    <a:pt x="223241" y="33184"/>
                  </a:cubicBezTo>
                  <a:cubicBezTo>
                    <a:pt x="226257" y="36201"/>
                    <a:pt x="223241" y="39218"/>
                    <a:pt x="223241" y="42234"/>
                  </a:cubicBezTo>
                  <a:cubicBezTo>
                    <a:pt x="223241" y="45251"/>
                    <a:pt x="190056" y="69386"/>
                    <a:pt x="147822" y="69386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8A8DFA40-8ED7-4953-9D55-689AAFBD0B6F}"/>
                </a:ext>
              </a:extLst>
            </p:cNvPr>
            <p:cNvSpPr/>
            <p:nvPr/>
          </p:nvSpPr>
          <p:spPr>
            <a:xfrm>
              <a:off x="19734511" y="7996118"/>
              <a:ext cx="77511" cy="111834"/>
            </a:xfrm>
            <a:custGeom>
              <a:avLst/>
              <a:gdLst>
                <a:gd name="connsiteX0" fmla="*/ 66292 w 77511"/>
                <a:gd name="connsiteY0" fmla="*/ 17851 h 111834"/>
                <a:gd name="connsiteX1" fmla="*/ 8972 w 77511"/>
                <a:gd name="connsiteY1" fmla="*/ 5784 h 111834"/>
                <a:gd name="connsiteX2" fmla="*/ 63274 w 77511"/>
                <a:gd name="connsiteY2" fmla="*/ 108353 h 111834"/>
                <a:gd name="connsiteX3" fmla="*/ 66292 w 77511"/>
                <a:gd name="connsiteY3" fmla="*/ 17851 h 111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511" h="111834">
                  <a:moveTo>
                    <a:pt x="66292" y="17851"/>
                  </a:moveTo>
                  <a:cubicBezTo>
                    <a:pt x="66292" y="17851"/>
                    <a:pt x="33106" y="-12317"/>
                    <a:pt x="8972" y="5784"/>
                  </a:cubicBezTo>
                  <a:cubicBezTo>
                    <a:pt x="-18179" y="23884"/>
                    <a:pt x="21040" y="132488"/>
                    <a:pt x="63274" y="108353"/>
                  </a:cubicBezTo>
                  <a:cubicBezTo>
                    <a:pt x="93441" y="93270"/>
                    <a:pt x="66292" y="17851"/>
                    <a:pt x="66292" y="17851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C417FDD8-3E5C-424C-AB9C-71589CBEFD20}"/>
                </a:ext>
              </a:extLst>
            </p:cNvPr>
            <p:cNvSpPr/>
            <p:nvPr/>
          </p:nvSpPr>
          <p:spPr>
            <a:xfrm>
              <a:off x="19742295" y="7635035"/>
              <a:ext cx="506849" cy="378933"/>
            </a:xfrm>
            <a:custGeom>
              <a:avLst/>
              <a:gdLst>
                <a:gd name="connsiteX0" fmla="*/ 4205 w 506849"/>
                <a:gd name="connsiteY0" fmla="*/ 294464 h 378933"/>
                <a:gd name="connsiteX1" fmla="*/ 58508 w 506849"/>
                <a:gd name="connsiteY1" fmla="*/ 378933 h 378933"/>
                <a:gd name="connsiteX2" fmla="*/ 109791 w 506849"/>
                <a:gd name="connsiteY2" fmla="*/ 258263 h 378933"/>
                <a:gd name="connsiteX3" fmla="*/ 118843 w 506849"/>
                <a:gd name="connsiteY3" fmla="*/ 255246 h 378933"/>
                <a:gd name="connsiteX4" fmla="*/ 197278 w 506849"/>
                <a:gd name="connsiteY4" fmla="*/ 231112 h 378933"/>
                <a:gd name="connsiteX5" fmla="*/ 209346 w 506849"/>
                <a:gd name="connsiteY5" fmla="*/ 228095 h 378933"/>
                <a:gd name="connsiteX6" fmla="*/ 245545 w 506849"/>
                <a:gd name="connsiteY6" fmla="*/ 249213 h 378933"/>
                <a:gd name="connsiteX7" fmla="*/ 260629 w 506849"/>
                <a:gd name="connsiteY7" fmla="*/ 240162 h 378933"/>
                <a:gd name="connsiteX8" fmla="*/ 311914 w 506849"/>
                <a:gd name="connsiteY8" fmla="*/ 258263 h 378933"/>
                <a:gd name="connsiteX9" fmla="*/ 348116 w 506849"/>
                <a:gd name="connsiteY9" fmla="*/ 267313 h 378933"/>
                <a:gd name="connsiteX10" fmla="*/ 360184 w 506849"/>
                <a:gd name="connsiteY10" fmla="*/ 267313 h 378933"/>
                <a:gd name="connsiteX11" fmla="*/ 372250 w 506849"/>
                <a:gd name="connsiteY11" fmla="*/ 264296 h 378933"/>
                <a:gd name="connsiteX12" fmla="*/ 381300 w 506849"/>
                <a:gd name="connsiteY12" fmla="*/ 270330 h 378933"/>
                <a:gd name="connsiteX13" fmla="*/ 387333 w 506849"/>
                <a:gd name="connsiteY13" fmla="*/ 276364 h 378933"/>
                <a:gd name="connsiteX14" fmla="*/ 393367 w 506849"/>
                <a:gd name="connsiteY14" fmla="*/ 279380 h 378933"/>
                <a:gd name="connsiteX15" fmla="*/ 399401 w 506849"/>
                <a:gd name="connsiteY15" fmla="*/ 282397 h 378933"/>
                <a:gd name="connsiteX16" fmla="*/ 405435 w 506849"/>
                <a:gd name="connsiteY16" fmla="*/ 291448 h 378933"/>
                <a:gd name="connsiteX17" fmla="*/ 423535 w 506849"/>
                <a:gd name="connsiteY17" fmla="*/ 312565 h 378933"/>
                <a:gd name="connsiteX18" fmla="*/ 450686 w 506849"/>
                <a:gd name="connsiteY18" fmla="*/ 324632 h 378933"/>
                <a:gd name="connsiteX19" fmla="*/ 465770 w 506849"/>
                <a:gd name="connsiteY19" fmla="*/ 378933 h 378933"/>
                <a:gd name="connsiteX20" fmla="*/ 474820 w 506849"/>
                <a:gd name="connsiteY20" fmla="*/ 348766 h 378933"/>
                <a:gd name="connsiteX21" fmla="*/ 483870 w 506849"/>
                <a:gd name="connsiteY21" fmla="*/ 345749 h 378933"/>
                <a:gd name="connsiteX22" fmla="*/ 504988 w 506849"/>
                <a:gd name="connsiteY22" fmla="*/ 249213 h 378933"/>
                <a:gd name="connsiteX23" fmla="*/ 486886 w 506849"/>
                <a:gd name="connsiteY23" fmla="*/ 206978 h 378933"/>
                <a:gd name="connsiteX24" fmla="*/ 492920 w 506849"/>
                <a:gd name="connsiteY24" fmla="*/ 173794 h 378933"/>
                <a:gd name="connsiteX25" fmla="*/ 486886 w 506849"/>
                <a:gd name="connsiteY25" fmla="*/ 137593 h 378933"/>
                <a:gd name="connsiteX26" fmla="*/ 468786 w 506849"/>
                <a:gd name="connsiteY26" fmla="*/ 107425 h 378933"/>
                <a:gd name="connsiteX27" fmla="*/ 453703 w 506849"/>
                <a:gd name="connsiteY27" fmla="*/ 65191 h 378933"/>
                <a:gd name="connsiteX28" fmla="*/ 393367 w 506849"/>
                <a:gd name="connsiteY28" fmla="*/ 41056 h 378933"/>
                <a:gd name="connsiteX29" fmla="*/ 272697 w 506849"/>
                <a:gd name="connsiteY29" fmla="*/ 1838 h 378933"/>
                <a:gd name="connsiteX30" fmla="*/ 260629 w 506849"/>
                <a:gd name="connsiteY30" fmla="*/ 7872 h 378933"/>
                <a:gd name="connsiteX31" fmla="*/ 203312 w 506849"/>
                <a:gd name="connsiteY31" fmla="*/ 19939 h 378933"/>
                <a:gd name="connsiteX32" fmla="*/ 170126 w 506849"/>
                <a:gd name="connsiteY32" fmla="*/ 22956 h 378933"/>
                <a:gd name="connsiteX33" fmla="*/ 139959 w 506849"/>
                <a:gd name="connsiteY33" fmla="*/ 53123 h 378933"/>
                <a:gd name="connsiteX34" fmla="*/ 124875 w 506849"/>
                <a:gd name="connsiteY34" fmla="*/ 71224 h 378933"/>
                <a:gd name="connsiteX35" fmla="*/ 94707 w 506849"/>
                <a:gd name="connsiteY35" fmla="*/ 92341 h 378933"/>
                <a:gd name="connsiteX36" fmla="*/ 82641 w 506849"/>
                <a:gd name="connsiteY36" fmla="*/ 89324 h 378933"/>
                <a:gd name="connsiteX37" fmla="*/ 64540 w 506849"/>
                <a:gd name="connsiteY37" fmla="*/ 128542 h 378933"/>
                <a:gd name="connsiteX38" fmla="*/ 4205 w 506849"/>
                <a:gd name="connsiteY38" fmla="*/ 294464 h 378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06849" h="378933">
                  <a:moveTo>
                    <a:pt x="4205" y="294464"/>
                  </a:moveTo>
                  <a:cubicBezTo>
                    <a:pt x="16272" y="348766"/>
                    <a:pt x="58508" y="378933"/>
                    <a:pt x="58508" y="378933"/>
                  </a:cubicBezTo>
                  <a:cubicBezTo>
                    <a:pt x="52474" y="348766"/>
                    <a:pt x="109791" y="258263"/>
                    <a:pt x="109791" y="258263"/>
                  </a:cubicBezTo>
                  <a:cubicBezTo>
                    <a:pt x="109791" y="258263"/>
                    <a:pt x="112809" y="258263"/>
                    <a:pt x="118843" y="255246"/>
                  </a:cubicBezTo>
                  <a:cubicBezTo>
                    <a:pt x="145993" y="255246"/>
                    <a:pt x="173144" y="246196"/>
                    <a:pt x="197278" y="231112"/>
                  </a:cubicBezTo>
                  <a:cubicBezTo>
                    <a:pt x="200294" y="231112"/>
                    <a:pt x="206328" y="228095"/>
                    <a:pt x="209346" y="228095"/>
                  </a:cubicBezTo>
                  <a:cubicBezTo>
                    <a:pt x="215378" y="240162"/>
                    <a:pt x="227446" y="252230"/>
                    <a:pt x="245545" y="249213"/>
                  </a:cubicBezTo>
                  <a:cubicBezTo>
                    <a:pt x="254597" y="249213"/>
                    <a:pt x="257613" y="240162"/>
                    <a:pt x="260629" y="240162"/>
                  </a:cubicBezTo>
                  <a:cubicBezTo>
                    <a:pt x="281747" y="234129"/>
                    <a:pt x="293815" y="249213"/>
                    <a:pt x="311914" y="258263"/>
                  </a:cubicBezTo>
                  <a:cubicBezTo>
                    <a:pt x="323982" y="264296"/>
                    <a:pt x="336048" y="267313"/>
                    <a:pt x="348116" y="267313"/>
                  </a:cubicBezTo>
                  <a:cubicBezTo>
                    <a:pt x="351132" y="267313"/>
                    <a:pt x="357166" y="264296"/>
                    <a:pt x="360184" y="267313"/>
                  </a:cubicBezTo>
                  <a:cubicBezTo>
                    <a:pt x="366216" y="264296"/>
                    <a:pt x="369234" y="264296"/>
                    <a:pt x="372250" y="264296"/>
                  </a:cubicBezTo>
                  <a:cubicBezTo>
                    <a:pt x="375267" y="267313"/>
                    <a:pt x="378284" y="267313"/>
                    <a:pt x="381300" y="270330"/>
                  </a:cubicBezTo>
                  <a:cubicBezTo>
                    <a:pt x="384317" y="270330"/>
                    <a:pt x="384317" y="273347"/>
                    <a:pt x="387333" y="276364"/>
                  </a:cubicBezTo>
                  <a:cubicBezTo>
                    <a:pt x="390351" y="276364"/>
                    <a:pt x="390351" y="276364"/>
                    <a:pt x="393367" y="279380"/>
                  </a:cubicBezTo>
                  <a:cubicBezTo>
                    <a:pt x="396383" y="279380"/>
                    <a:pt x="399401" y="282397"/>
                    <a:pt x="399401" y="282397"/>
                  </a:cubicBezTo>
                  <a:cubicBezTo>
                    <a:pt x="402417" y="285414"/>
                    <a:pt x="402417" y="288431"/>
                    <a:pt x="405435" y="291448"/>
                  </a:cubicBezTo>
                  <a:cubicBezTo>
                    <a:pt x="411467" y="300497"/>
                    <a:pt x="414485" y="306531"/>
                    <a:pt x="423535" y="312565"/>
                  </a:cubicBezTo>
                  <a:cubicBezTo>
                    <a:pt x="429569" y="318598"/>
                    <a:pt x="441635" y="321615"/>
                    <a:pt x="450686" y="324632"/>
                  </a:cubicBezTo>
                  <a:cubicBezTo>
                    <a:pt x="465770" y="342732"/>
                    <a:pt x="471802" y="360833"/>
                    <a:pt x="465770" y="378933"/>
                  </a:cubicBezTo>
                  <a:cubicBezTo>
                    <a:pt x="465770" y="378933"/>
                    <a:pt x="468786" y="366867"/>
                    <a:pt x="474820" y="348766"/>
                  </a:cubicBezTo>
                  <a:cubicBezTo>
                    <a:pt x="477836" y="351783"/>
                    <a:pt x="480854" y="351783"/>
                    <a:pt x="483870" y="345749"/>
                  </a:cubicBezTo>
                  <a:cubicBezTo>
                    <a:pt x="501970" y="318598"/>
                    <a:pt x="511022" y="285414"/>
                    <a:pt x="504988" y="249213"/>
                  </a:cubicBezTo>
                  <a:cubicBezTo>
                    <a:pt x="501970" y="234129"/>
                    <a:pt x="492920" y="222062"/>
                    <a:pt x="486886" y="206978"/>
                  </a:cubicBezTo>
                  <a:cubicBezTo>
                    <a:pt x="480854" y="188877"/>
                    <a:pt x="489904" y="188877"/>
                    <a:pt x="492920" y="173794"/>
                  </a:cubicBezTo>
                  <a:cubicBezTo>
                    <a:pt x="495938" y="161727"/>
                    <a:pt x="492920" y="149659"/>
                    <a:pt x="486886" y="137593"/>
                  </a:cubicBezTo>
                  <a:cubicBezTo>
                    <a:pt x="480854" y="128542"/>
                    <a:pt x="474820" y="119492"/>
                    <a:pt x="468786" y="107425"/>
                  </a:cubicBezTo>
                  <a:cubicBezTo>
                    <a:pt x="459736" y="89324"/>
                    <a:pt x="459736" y="80274"/>
                    <a:pt x="453703" y="65191"/>
                  </a:cubicBezTo>
                  <a:cubicBezTo>
                    <a:pt x="441635" y="38039"/>
                    <a:pt x="417501" y="41056"/>
                    <a:pt x="393367" y="41056"/>
                  </a:cubicBezTo>
                  <a:cubicBezTo>
                    <a:pt x="351132" y="41056"/>
                    <a:pt x="314932" y="-10228"/>
                    <a:pt x="272697" y="1838"/>
                  </a:cubicBezTo>
                  <a:cubicBezTo>
                    <a:pt x="266663" y="1838"/>
                    <a:pt x="263647" y="4855"/>
                    <a:pt x="260629" y="7872"/>
                  </a:cubicBezTo>
                  <a:cubicBezTo>
                    <a:pt x="242529" y="16922"/>
                    <a:pt x="224429" y="22956"/>
                    <a:pt x="203312" y="19939"/>
                  </a:cubicBezTo>
                  <a:cubicBezTo>
                    <a:pt x="191244" y="19939"/>
                    <a:pt x="182194" y="16922"/>
                    <a:pt x="170126" y="22956"/>
                  </a:cubicBezTo>
                  <a:cubicBezTo>
                    <a:pt x="155043" y="28989"/>
                    <a:pt x="149010" y="41056"/>
                    <a:pt x="139959" y="53123"/>
                  </a:cubicBezTo>
                  <a:cubicBezTo>
                    <a:pt x="136943" y="59157"/>
                    <a:pt x="130909" y="65191"/>
                    <a:pt x="124875" y="71224"/>
                  </a:cubicBezTo>
                  <a:cubicBezTo>
                    <a:pt x="112809" y="77257"/>
                    <a:pt x="103759" y="83291"/>
                    <a:pt x="94707" y="92341"/>
                  </a:cubicBezTo>
                  <a:cubicBezTo>
                    <a:pt x="94707" y="89324"/>
                    <a:pt x="100741" y="77257"/>
                    <a:pt x="82641" y="89324"/>
                  </a:cubicBezTo>
                  <a:cubicBezTo>
                    <a:pt x="67558" y="98375"/>
                    <a:pt x="61524" y="113458"/>
                    <a:pt x="64540" y="128542"/>
                  </a:cubicBezTo>
                  <a:cubicBezTo>
                    <a:pt x="4205" y="152676"/>
                    <a:pt x="-7861" y="237146"/>
                    <a:pt x="4205" y="294464"/>
                  </a:cubicBezTo>
                  <a:close/>
                </a:path>
              </a:pathLst>
            </a:custGeom>
            <a:solidFill>
              <a:srgbClr val="664241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24AA8C0-6E82-4628-B73D-E781837BD291}"/>
                </a:ext>
              </a:extLst>
            </p:cNvPr>
            <p:cNvSpPr/>
            <p:nvPr/>
          </p:nvSpPr>
          <p:spPr>
            <a:xfrm>
              <a:off x="19943343" y="8198745"/>
              <a:ext cx="113883" cy="38463"/>
            </a:xfrm>
            <a:custGeom>
              <a:avLst/>
              <a:gdLst>
                <a:gd name="connsiteX0" fmla="*/ 80698 w 113883"/>
                <a:gd name="connsiteY0" fmla="*/ 38463 h 38463"/>
                <a:gd name="connsiteX1" fmla="*/ 2263 w 113883"/>
                <a:gd name="connsiteY1" fmla="*/ 11313 h 38463"/>
                <a:gd name="connsiteX2" fmla="*/ 2263 w 113883"/>
                <a:gd name="connsiteY2" fmla="*/ 2262 h 38463"/>
                <a:gd name="connsiteX3" fmla="*/ 11313 w 113883"/>
                <a:gd name="connsiteY3" fmla="*/ 2262 h 38463"/>
                <a:gd name="connsiteX4" fmla="*/ 107850 w 113883"/>
                <a:gd name="connsiteY4" fmla="*/ 23380 h 38463"/>
                <a:gd name="connsiteX5" fmla="*/ 113884 w 113883"/>
                <a:gd name="connsiteY5" fmla="*/ 29413 h 38463"/>
                <a:gd name="connsiteX6" fmla="*/ 107850 w 113883"/>
                <a:gd name="connsiteY6" fmla="*/ 35447 h 38463"/>
                <a:gd name="connsiteX7" fmla="*/ 80698 w 113883"/>
                <a:gd name="connsiteY7" fmla="*/ 38463 h 38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883" h="38463">
                  <a:moveTo>
                    <a:pt x="80698" y="38463"/>
                  </a:moveTo>
                  <a:cubicBezTo>
                    <a:pt x="56565" y="38463"/>
                    <a:pt x="23381" y="32430"/>
                    <a:pt x="2263" y="11313"/>
                  </a:cubicBezTo>
                  <a:cubicBezTo>
                    <a:pt x="-754" y="8296"/>
                    <a:pt x="-754" y="5279"/>
                    <a:pt x="2263" y="2262"/>
                  </a:cubicBezTo>
                  <a:cubicBezTo>
                    <a:pt x="5279" y="-754"/>
                    <a:pt x="8297" y="-754"/>
                    <a:pt x="11313" y="2262"/>
                  </a:cubicBezTo>
                  <a:cubicBezTo>
                    <a:pt x="44497" y="35447"/>
                    <a:pt x="107850" y="23380"/>
                    <a:pt x="107850" y="23380"/>
                  </a:cubicBezTo>
                  <a:cubicBezTo>
                    <a:pt x="110866" y="23380"/>
                    <a:pt x="113884" y="23380"/>
                    <a:pt x="113884" y="29413"/>
                  </a:cubicBezTo>
                  <a:cubicBezTo>
                    <a:pt x="113884" y="32430"/>
                    <a:pt x="113884" y="35447"/>
                    <a:pt x="107850" y="35447"/>
                  </a:cubicBezTo>
                  <a:cubicBezTo>
                    <a:pt x="107850" y="38463"/>
                    <a:pt x="95782" y="38463"/>
                    <a:pt x="80698" y="38463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D4F4ED65-7370-48DC-A38E-4D431243B166}"/>
                </a:ext>
              </a:extLst>
            </p:cNvPr>
            <p:cNvSpPr/>
            <p:nvPr/>
          </p:nvSpPr>
          <p:spPr>
            <a:xfrm>
              <a:off x="19794769" y="8363913"/>
              <a:ext cx="307709" cy="81920"/>
            </a:xfrm>
            <a:custGeom>
              <a:avLst/>
              <a:gdLst>
                <a:gd name="connsiteX0" fmla="*/ 33184 w 307709"/>
                <a:gd name="connsiteY0" fmla="*/ 0 h 81920"/>
                <a:gd name="connsiteX1" fmla="*/ 156872 w 307709"/>
                <a:gd name="connsiteY1" fmla="*/ 51285 h 81920"/>
                <a:gd name="connsiteX2" fmla="*/ 271508 w 307709"/>
                <a:gd name="connsiteY2" fmla="*/ 21117 h 81920"/>
                <a:gd name="connsiteX3" fmla="*/ 307710 w 307709"/>
                <a:gd name="connsiteY3" fmla="*/ 33184 h 81920"/>
                <a:gd name="connsiteX4" fmla="*/ 156872 w 307709"/>
                <a:gd name="connsiteY4" fmla="*/ 81452 h 81920"/>
                <a:gd name="connsiteX5" fmla="*/ 0 w 307709"/>
                <a:gd name="connsiteY5" fmla="*/ 9050 h 81920"/>
                <a:gd name="connsiteX6" fmla="*/ 33184 w 307709"/>
                <a:gd name="connsiteY6" fmla="*/ 0 h 8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7709" h="81920">
                  <a:moveTo>
                    <a:pt x="33184" y="0"/>
                  </a:moveTo>
                  <a:cubicBezTo>
                    <a:pt x="33184" y="0"/>
                    <a:pt x="102569" y="48268"/>
                    <a:pt x="156872" y="51285"/>
                  </a:cubicBezTo>
                  <a:cubicBezTo>
                    <a:pt x="214189" y="57318"/>
                    <a:pt x="271508" y="21117"/>
                    <a:pt x="271508" y="21117"/>
                  </a:cubicBezTo>
                  <a:lnTo>
                    <a:pt x="307710" y="33184"/>
                  </a:lnTo>
                  <a:cubicBezTo>
                    <a:pt x="307710" y="33184"/>
                    <a:pt x="223239" y="87486"/>
                    <a:pt x="156872" y="81452"/>
                  </a:cubicBezTo>
                  <a:cubicBezTo>
                    <a:pt x="90503" y="75419"/>
                    <a:pt x="0" y="9050"/>
                    <a:pt x="0" y="9050"/>
                  </a:cubicBezTo>
                  <a:lnTo>
                    <a:pt x="33184" y="0"/>
                  </a:lnTo>
                  <a:close/>
                </a:path>
              </a:pathLst>
            </a:custGeom>
            <a:solidFill>
              <a:srgbClr val="F1DDBA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AC02E072-7A79-43AA-B5A0-D95B5BF109FF}"/>
                </a:ext>
              </a:extLst>
            </p:cNvPr>
            <p:cNvSpPr/>
            <p:nvPr/>
          </p:nvSpPr>
          <p:spPr>
            <a:xfrm>
              <a:off x="20235969" y="10017851"/>
              <a:ext cx="346193" cy="741368"/>
            </a:xfrm>
            <a:custGeom>
              <a:avLst/>
              <a:gdLst>
                <a:gd name="connsiteX0" fmla="*/ 255670 w 346193"/>
                <a:gd name="connsiteY0" fmla="*/ 741369 h 741368"/>
                <a:gd name="connsiteX1" fmla="*/ 255670 w 346193"/>
                <a:gd name="connsiteY1" fmla="*/ 741369 h 741368"/>
                <a:gd name="connsiteX2" fmla="*/ 249636 w 346193"/>
                <a:gd name="connsiteY2" fmla="*/ 735335 h 741368"/>
                <a:gd name="connsiteX3" fmla="*/ 334107 w 346193"/>
                <a:gd name="connsiteY3" fmla="*/ 388408 h 741368"/>
                <a:gd name="connsiteX4" fmla="*/ 2263 w 346193"/>
                <a:gd name="connsiteY4" fmla="*/ 11313 h 741368"/>
                <a:gd name="connsiteX5" fmla="*/ 2263 w 346193"/>
                <a:gd name="connsiteY5" fmla="*/ 2263 h 741368"/>
                <a:gd name="connsiteX6" fmla="*/ 11313 w 346193"/>
                <a:gd name="connsiteY6" fmla="*/ 2263 h 741368"/>
                <a:gd name="connsiteX7" fmla="*/ 346173 w 346193"/>
                <a:gd name="connsiteY7" fmla="*/ 388408 h 741368"/>
                <a:gd name="connsiteX8" fmla="*/ 258688 w 346193"/>
                <a:gd name="connsiteY8" fmla="*/ 738352 h 741368"/>
                <a:gd name="connsiteX9" fmla="*/ 255670 w 346193"/>
                <a:gd name="connsiteY9" fmla="*/ 741369 h 741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6193" h="741368">
                  <a:moveTo>
                    <a:pt x="255670" y="741369"/>
                  </a:moveTo>
                  <a:cubicBezTo>
                    <a:pt x="255670" y="741369"/>
                    <a:pt x="252654" y="738352"/>
                    <a:pt x="255670" y="741369"/>
                  </a:cubicBezTo>
                  <a:cubicBezTo>
                    <a:pt x="252654" y="741369"/>
                    <a:pt x="249636" y="738352"/>
                    <a:pt x="249636" y="735335"/>
                  </a:cubicBezTo>
                  <a:cubicBezTo>
                    <a:pt x="249636" y="732319"/>
                    <a:pt x="331089" y="463827"/>
                    <a:pt x="334107" y="388408"/>
                  </a:cubicBezTo>
                  <a:cubicBezTo>
                    <a:pt x="337123" y="328072"/>
                    <a:pt x="95782" y="95782"/>
                    <a:pt x="2263" y="11313"/>
                  </a:cubicBezTo>
                  <a:cubicBezTo>
                    <a:pt x="-754" y="8297"/>
                    <a:pt x="-754" y="5280"/>
                    <a:pt x="2263" y="2263"/>
                  </a:cubicBezTo>
                  <a:cubicBezTo>
                    <a:pt x="5279" y="-754"/>
                    <a:pt x="8295" y="-754"/>
                    <a:pt x="11313" y="2263"/>
                  </a:cubicBezTo>
                  <a:cubicBezTo>
                    <a:pt x="26397" y="14330"/>
                    <a:pt x="349191" y="309973"/>
                    <a:pt x="346173" y="388408"/>
                  </a:cubicBezTo>
                  <a:cubicBezTo>
                    <a:pt x="343157" y="466844"/>
                    <a:pt x="264720" y="726285"/>
                    <a:pt x="258688" y="738352"/>
                  </a:cubicBezTo>
                  <a:cubicBezTo>
                    <a:pt x="258688" y="738352"/>
                    <a:pt x="255670" y="741369"/>
                    <a:pt x="255670" y="741369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12E0AE0B-49F8-460C-8A1B-EE213FDFDE06}"/>
                </a:ext>
              </a:extLst>
            </p:cNvPr>
            <p:cNvGrpSpPr/>
            <p:nvPr/>
          </p:nvGrpSpPr>
          <p:grpSpPr>
            <a:xfrm>
              <a:off x="19741905" y="7639532"/>
              <a:ext cx="602392" cy="374436"/>
              <a:chOff x="19741905" y="7639532"/>
              <a:chExt cx="602392" cy="374436"/>
            </a:xfrm>
          </p:grpSpPr>
          <p:grpSp>
            <p:nvGrpSpPr>
              <p:cNvPr id="46" name="图形 1">
                <a:extLst>
                  <a:ext uri="{FF2B5EF4-FFF2-40B4-BE49-F238E27FC236}">
                    <a16:creationId xmlns:a16="http://schemas.microsoft.com/office/drawing/2014/main" id="{4DCB9E0A-C082-450D-9AD9-C6677B9B91DF}"/>
                  </a:ext>
                </a:extLst>
              </p:cNvPr>
              <p:cNvGrpSpPr/>
              <p:nvPr/>
            </p:nvGrpSpPr>
            <p:grpSpPr>
              <a:xfrm>
                <a:off x="19741905" y="7639532"/>
                <a:ext cx="600040" cy="374436"/>
                <a:chOff x="19741905" y="7639532"/>
                <a:chExt cx="600040" cy="374436"/>
              </a:xfrm>
            </p:grpSpPr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6261B9C4-88C0-4552-AB1E-D3017C19F947}"/>
                    </a:ext>
                  </a:extLst>
                </p:cNvPr>
                <p:cNvSpPr/>
                <p:nvPr/>
              </p:nvSpPr>
              <p:spPr>
                <a:xfrm>
                  <a:off x="19741905" y="7639532"/>
                  <a:ext cx="487303" cy="374436"/>
                </a:xfrm>
                <a:custGeom>
                  <a:avLst/>
                  <a:gdLst>
                    <a:gd name="connsiteX0" fmla="*/ 98115 w 487303"/>
                    <a:gd name="connsiteY0" fmla="*/ 214549 h 374436"/>
                    <a:gd name="connsiteX1" fmla="*/ 61913 w 487303"/>
                    <a:gd name="connsiteY1" fmla="*/ 374437 h 374436"/>
                    <a:gd name="connsiteX2" fmla="*/ 34762 w 487303"/>
                    <a:gd name="connsiteY2" fmla="*/ 359353 h 374436"/>
                    <a:gd name="connsiteX3" fmla="*/ 125265 w 487303"/>
                    <a:gd name="connsiteY3" fmla="*/ 36560 h 374436"/>
                    <a:gd name="connsiteX4" fmla="*/ 487276 w 487303"/>
                    <a:gd name="connsiteY4" fmla="*/ 133096 h 374436"/>
                    <a:gd name="connsiteX5" fmla="*/ 98115 w 487303"/>
                    <a:gd name="connsiteY5" fmla="*/ 214549 h 3744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7303" h="374436">
                      <a:moveTo>
                        <a:pt x="98115" y="214549"/>
                      </a:moveTo>
                      <a:cubicBezTo>
                        <a:pt x="83031" y="229632"/>
                        <a:pt x="64930" y="308068"/>
                        <a:pt x="61913" y="374437"/>
                      </a:cubicBezTo>
                      <a:cubicBezTo>
                        <a:pt x="61913" y="374437"/>
                        <a:pt x="46830" y="365387"/>
                        <a:pt x="34762" y="359353"/>
                      </a:cubicBezTo>
                      <a:cubicBezTo>
                        <a:pt x="-1438" y="296001"/>
                        <a:pt x="-49707" y="139130"/>
                        <a:pt x="125265" y="36560"/>
                      </a:cubicBezTo>
                      <a:cubicBezTo>
                        <a:pt x="276103" y="-50926"/>
                        <a:pt x="423925" y="33543"/>
                        <a:pt x="487276" y="133096"/>
                      </a:cubicBezTo>
                      <a:cubicBezTo>
                        <a:pt x="490294" y="136113"/>
                        <a:pt x="245935" y="66728"/>
                        <a:pt x="98115" y="21454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9" name="任意多边形: 形状 48">
                  <a:extLst>
                    <a:ext uri="{FF2B5EF4-FFF2-40B4-BE49-F238E27FC236}">
                      <a16:creationId xmlns:a16="http://schemas.microsoft.com/office/drawing/2014/main" id="{C93B88F7-6FE6-48CF-9349-334BB3C68776}"/>
                    </a:ext>
                  </a:extLst>
                </p:cNvPr>
                <p:cNvSpPr/>
                <p:nvPr/>
              </p:nvSpPr>
              <p:spPr>
                <a:xfrm>
                  <a:off x="19824936" y="7677725"/>
                  <a:ext cx="517008" cy="251774"/>
                </a:xfrm>
                <a:custGeom>
                  <a:avLst/>
                  <a:gdLst>
                    <a:gd name="connsiteX0" fmla="*/ 0 w 517008"/>
                    <a:gd name="connsiteY0" fmla="*/ 191439 h 251774"/>
                    <a:gd name="connsiteX1" fmla="*/ 199105 w 517008"/>
                    <a:gd name="connsiteY1" fmla="*/ 43618 h 251774"/>
                    <a:gd name="connsiteX2" fmla="*/ 512849 w 517008"/>
                    <a:gd name="connsiteY2" fmla="*/ 64735 h 251774"/>
                    <a:gd name="connsiteX3" fmla="*/ 425362 w 517008"/>
                    <a:gd name="connsiteY3" fmla="*/ 251774 h 251774"/>
                    <a:gd name="connsiteX4" fmla="*/ 0 w 517008"/>
                    <a:gd name="connsiteY4" fmla="*/ 191439 h 251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7008" h="251774">
                      <a:moveTo>
                        <a:pt x="0" y="191439"/>
                      </a:moveTo>
                      <a:cubicBezTo>
                        <a:pt x="0" y="191439"/>
                        <a:pt x="57317" y="109987"/>
                        <a:pt x="199105" y="43618"/>
                      </a:cubicBezTo>
                      <a:cubicBezTo>
                        <a:pt x="346927" y="-25768"/>
                        <a:pt x="485698" y="-7667"/>
                        <a:pt x="512849" y="64735"/>
                      </a:cubicBezTo>
                      <a:cubicBezTo>
                        <a:pt x="539999" y="137137"/>
                        <a:pt x="425362" y="251774"/>
                        <a:pt x="425362" y="251774"/>
                      </a:cubicBezTo>
                      <a:cubicBezTo>
                        <a:pt x="425362" y="251774"/>
                        <a:pt x="262458" y="82836"/>
                        <a:pt x="0" y="19143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0" name="任意多边形: 形状 49">
                  <a:extLst>
                    <a:ext uri="{FF2B5EF4-FFF2-40B4-BE49-F238E27FC236}">
                      <a16:creationId xmlns:a16="http://schemas.microsoft.com/office/drawing/2014/main" id="{C3639C2C-4CEE-49CD-8769-381028A6973C}"/>
                    </a:ext>
                  </a:extLst>
                </p:cNvPr>
                <p:cNvSpPr/>
                <p:nvPr/>
              </p:nvSpPr>
              <p:spPr>
                <a:xfrm>
                  <a:off x="19837002" y="7639891"/>
                  <a:ext cx="57319" cy="54301"/>
                </a:xfrm>
                <a:custGeom>
                  <a:avLst/>
                  <a:gdLst>
                    <a:gd name="connsiteX0" fmla="*/ 0 w 57319"/>
                    <a:gd name="connsiteY0" fmla="*/ 27151 h 54301"/>
                    <a:gd name="connsiteX1" fmla="*/ 30168 w 57319"/>
                    <a:gd name="connsiteY1" fmla="*/ 0 h 54301"/>
                    <a:gd name="connsiteX2" fmla="*/ 57319 w 57319"/>
                    <a:gd name="connsiteY2" fmla="*/ 27151 h 54301"/>
                    <a:gd name="connsiteX3" fmla="*/ 27152 w 57319"/>
                    <a:gd name="connsiteY3" fmla="*/ 54301 h 54301"/>
                    <a:gd name="connsiteX4" fmla="*/ 0 w 57319"/>
                    <a:gd name="connsiteY4" fmla="*/ 27151 h 54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319" h="54301">
                      <a:moveTo>
                        <a:pt x="0" y="27151"/>
                      </a:moveTo>
                      <a:cubicBezTo>
                        <a:pt x="0" y="12067"/>
                        <a:pt x="12068" y="0"/>
                        <a:pt x="30168" y="0"/>
                      </a:cubicBezTo>
                      <a:cubicBezTo>
                        <a:pt x="45251" y="0"/>
                        <a:pt x="57319" y="12067"/>
                        <a:pt x="57319" y="27151"/>
                      </a:cubicBezTo>
                      <a:cubicBezTo>
                        <a:pt x="57319" y="42234"/>
                        <a:pt x="45251" y="54301"/>
                        <a:pt x="27152" y="54301"/>
                      </a:cubicBezTo>
                      <a:cubicBezTo>
                        <a:pt x="12068" y="54301"/>
                        <a:pt x="0" y="42234"/>
                        <a:pt x="0" y="27151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3A7552B0-5263-43CE-A24C-5FD7B36518A7}"/>
                  </a:ext>
                </a:extLst>
              </p:cNvPr>
              <p:cNvSpPr/>
              <p:nvPr/>
            </p:nvSpPr>
            <p:spPr>
              <a:xfrm>
                <a:off x="19819656" y="7667253"/>
                <a:ext cx="524641" cy="265263"/>
              </a:xfrm>
              <a:custGeom>
                <a:avLst/>
                <a:gdLst>
                  <a:gd name="connsiteX0" fmla="*/ 427626 w 524641"/>
                  <a:gd name="connsiteY0" fmla="*/ 265263 h 265263"/>
                  <a:gd name="connsiteX1" fmla="*/ 424608 w 524641"/>
                  <a:gd name="connsiteY1" fmla="*/ 265263 h 265263"/>
                  <a:gd name="connsiteX2" fmla="*/ 424608 w 524641"/>
                  <a:gd name="connsiteY2" fmla="*/ 256213 h 265263"/>
                  <a:gd name="connsiteX3" fmla="*/ 512095 w 524641"/>
                  <a:gd name="connsiteY3" fmla="*/ 75207 h 265263"/>
                  <a:gd name="connsiteX4" fmla="*/ 337123 w 524641"/>
                  <a:gd name="connsiteY4" fmla="*/ 20906 h 265263"/>
                  <a:gd name="connsiteX5" fmla="*/ 11314 w 524641"/>
                  <a:gd name="connsiteY5" fmla="*/ 201911 h 265263"/>
                  <a:gd name="connsiteX6" fmla="*/ 2262 w 524641"/>
                  <a:gd name="connsiteY6" fmla="*/ 201911 h 265263"/>
                  <a:gd name="connsiteX7" fmla="*/ 2262 w 524641"/>
                  <a:gd name="connsiteY7" fmla="*/ 192861 h 265263"/>
                  <a:gd name="connsiteX8" fmla="*/ 334106 w 524641"/>
                  <a:gd name="connsiteY8" fmla="*/ 5822 h 265263"/>
                  <a:gd name="connsiteX9" fmla="*/ 521145 w 524641"/>
                  <a:gd name="connsiteY9" fmla="*/ 66157 h 265263"/>
                  <a:gd name="connsiteX10" fmla="*/ 433660 w 524641"/>
                  <a:gd name="connsiteY10" fmla="*/ 259230 h 265263"/>
                  <a:gd name="connsiteX11" fmla="*/ 427626 w 524641"/>
                  <a:gd name="connsiteY11" fmla="*/ 265263 h 265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4641" h="265263">
                    <a:moveTo>
                      <a:pt x="427626" y="265263"/>
                    </a:moveTo>
                    <a:cubicBezTo>
                      <a:pt x="427626" y="265263"/>
                      <a:pt x="424608" y="265263"/>
                      <a:pt x="424608" y="265263"/>
                    </a:cubicBezTo>
                    <a:cubicBezTo>
                      <a:pt x="421592" y="262246"/>
                      <a:pt x="421592" y="259230"/>
                      <a:pt x="424608" y="256213"/>
                    </a:cubicBezTo>
                    <a:cubicBezTo>
                      <a:pt x="424608" y="256213"/>
                      <a:pt x="533213" y="132526"/>
                      <a:pt x="512095" y="75207"/>
                    </a:cubicBezTo>
                    <a:cubicBezTo>
                      <a:pt x="484944" y="5822"/>
                      <a:pt x="382375" y="14872"/>
                      <a:pt x="337123" y="20906"/>
                    </a:cubicBezTo>
                    <a:cubicBezTo>
                      <a:pt x="246621" y="35989"/>
                      <a:pt x="116900" y="69174"/>
                      <a:pt x="11314" y="201911"/>
                    </a:cubicBezTo>
                    <a:cubicBezTo>
                      <a:pt x="8296" y="204928"/>
                      <a:pt x="5280" y="204928"/>
                      <a:pt x="2262" y="201911"/>
                    </a:cubicBezTo>
                    <a:cubicBezTo>
                      <a:pt x="-754" y="198895"/>
                      <a:pt x="-754" y="195878"/>
                      <a:pt x="2262" y="192861"/>
                    </a:cubicBezTo>
                    <a:cubicBezTo>
                      <a:pt x="110866" y="57107"/>
                      <a:pt x="243603" y="20906"/>
                      <a:pt x="334106" y="5822"/>
                    </a:cubicBezTo>
                    <a:cubicBezTo>
                      <a:pt x="379357" y="-3229"/>
                      <a:pt x="490977" y="-12279"/>
                      <a:pt x="521145" y="66157"/>
                    </a:cubicBezTo>
                    <a:cubicBezTo>
                      <a:pt x="545279" y="129509"/>
                      <a:pt x="436676" y="253196"/>
                      <a:pt x="433660" y="259230"/>
                    </a:cubicBezTo>
                    <a:cubicBezTo>
                      <a:pt x="433660" y="265263"/>
                      <a:pt x="430642" y="265263"/>
                      <a:pt x="427626" y="26526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A374E410-093C-4FA2-A3E2-51B15455BE12}"/>
                </a:ext>
              </a:extLst>
            </p:cNvPr>
            <p:cNvSpPr/>
            <p:nvPr/>
          </p:nvSpPr>
          <p:spPr>
            <a:xfrm>
              <a:off x="20006786" y="7817110"/>
              <a:ext cx="249546" cy="126593"/>
            </a:xfrm>
            <a:custGeom>
              <a:avLst/>
              <a:gdLst>
                <a:gd name="connsiteX0" fmla="*/ 240496 w 249546"/>
                <a:gd name="connsiteY0" fmla="*/ 70154 h 126593"/>
                <a:gd name="connsiteX1" fmla="*/ 201279 w 249546"/>
                <a:gd name="connsiteY1" fmla="*/ 27919 h 126593"/>
                <a:gd name="connsiteX2" fmla="*/ 162059 w 249546"/>
                <a:gd name="connsiteY2" fmla="*/ 12836 h 126593"/>
                <a:gd name="connsiteX3" fmla="*/ 116808 w 249546"/>
                <a:gd name="connsiteY3" fmla="*/ 18870 h 126593"/>
                <a:gd name="connsiteX4" fmla="*/ 53457 w 249546"/>
                <a:gd name="connsiteY4" fmla="*/ 769 h 126593"/>
                <a:gd name="connsiteX5" fmla="*/ 5189 w 249546"/>
                <a:gd name="connsiteY5" fmla="*/ 15853 h 126593"/>
                <a:gd name="connsiteX6" fmla="*/ 26305 w 249546"/>
                <a:gd name="connsiteY6" fmla="*/ 36970 h 126593"/>
                <a:gd name="connsiteX7" fmla="*/ 113792 w 249546"/>
                <a:gd name="connsiteY7" fmla="*/ 55071 h 126593"/>
                <a:gd name="connsiteX8" fmla="*/ 122842 w 249546"/>
                <a:gd name="connsiteY8" fmla="*/ 52054 h 126593"/>
                <a:gd name="connsiteX9" fmla="*/ 128876 w 249546"/>
                <a:gd name="connsiteY9" fmla="*/ 61104 h 126593"/>
                <a:gd name="connsiteX10" fmla="*/ 210329 w 249546"/>
                <a:gd name="connsiteY10" fmla="*/ 97305 h 126593"/>
                <a:gd name="connsiteX11" fmla="*/ 213345 w 249546"/>
                <a:gd name="connsiteY11" fmla="*/ 100322 h 126593"/>
                <a:gd name="connsiteX12" fmla="*/ 213345 w 249546"/>
                <a:gd name="connsiteY12" fmla="*/ 103338 h 126593"/>
                <a:gd name="connsiteX13" fmla="*/ 240496 w 249546"/>
                <a:gd name="connsiteY13" fmla="*/ 118422 h 126593"/>
                <a:gd name="connsiteX14" fmla="*/ 249546 w 249546"/>
                <a:gd name="connsiteY14" fmla="*/ 88255 h 126593"/>
                <a:gd name="connsiteX15" fmla="*/ 240496 w 249546"/>
                <a:gd name="connsiteY15" fmla="*/ 70154 h 1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9546" h="126593">
                  <a:moveTo>
                    <a:pt x="240496" y="70154"/>
                  </a:moveTo>
                  <a:cubicBezTo>
                    <a:pt x="249546" y="39987"/>
                    <a:pt x="228429" y="21886"/>
                    <a:pt x="201279" y="27919"/>
                  </a:cubicBezTo>
                  <a:cubicBezTo>
                    <a:pt x="177143" y="33953"/>
                    <a:pt x="186195" y="21886"/>
                    <a:pt x="162059" y="12836"/>
                  </a:cubicBezTo>
                  <a:cubicBezTo>
                    <a:pt x="143960" y="6802"/>
                    <a:pt x="134910" y="15853"/>
                    <a:pt x="116808" y="18870"/>
                  </a:cubicBezTo>
                  <a:cubicBezTo>
                    <a:pt x="95692" y="21886"/>
                    <a:pt x="77591" y="769"/>
                    <a:pt x="53457" y="769"/>
                  </a:cubicBezTo>
                  <a:cubicBezTo>
                    <a:pt x="35357" y="-2248"/>
                    <a:pt x="20273" y="3786"/>
                    <a:pt x="5189" y="15853"/>
                  </a:cubicBezTo>
                  <a:cubicBezTo>
                    <a:pt x="-9894" y="27919"/>
                    <a:pt x="11221" y="49037"/>
                    <a:pt x="26305" y="36970"/>
                  </a:cubicBezTo>
                  <a:cubicBezTo>
                    <a:pt x="56473" y="12836"/>
                    <a:pt x="83624" y="55071"/>
                    <a:pt x="113792" y="55071"/>
                  </a:cubicBezTo>
                  <a:cubicBezTo>
                    <a:pt x="116808" y="55071"/>
                    <a:pt x="119826" y="52054"/>
                    <a:pt x="122842" y="52054"/>
                  </a:cubicBezTo>
                  <a:cubicBezTo>
                    <a:pt x="122842" y="55071"/>
                    <a:pt x="125860" y="58087"/>
                    <a:pt x="128876" y="61104"/>
                  </a:cubicBezTo>
                  <a:cubicBezTo>
                    <a:pt x="149994" y="73171"/>
                    <a:pt x="183177" y="100322"/>
                    <a:pt x="210329" y="97305"/>
                  </a:cubicBezTo>
                  <a:cubicBezTo>
                    <a:pt x="210329" y="97305"/>
                    <a:pt x="213345" y="97305"/>
                    <a:pt x="213345" y="100322"/>
                  </a:cubicBezTo>
                  <a:cubicBezTo>
                    <a:pt x="213345" y="100322"/>
                    <a:pt x="213345" y="100322"/>
                    <a:pt x="213345" y="103338"/>
                  </a:cubicBezTo>
                  <a:cubicBezTo>
                    <a:pt x="204295" y="121439"/>
                    <a:pt x="231446" y="136523"/>
                    <a:pt x="240496" y="118422"/>
                  </a:cubicBezTo>
                  <a:cubicBezTo>
                    <a:pt x="246530" y="106355"/>
                    <a:pt x="249546" y="103338"/>
                    <a:pt x="249546" y="88255"/>
                  </a:cubicBezTo>
                  <a:cubicBezTo>
                    <a:pt x="246530" y="76188"/>
                    <a:pt x="243512" y="73171"/>
                    <a:pt x="240496" y="70154"/>
                  </a:cubicBezTo>
                  <a:close/>
                </a:path>
              </a:pathLst>
            </a:custGeom>
            <a:solidFill>
              <a:srgbClr val="664241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46870B7A-00CB-44F0-BDB3-6CA44FF6B341}"/>
                </a:ext>
              </a:extLst>
            </p:cNvPr>
            <p:cNvSpPr/>
            <p:nvPr/>
          </p:nvSpPr>
          <p:spPr>
            <a:xfrm>
              <a:off x="20800677" y="9375880"/>
              <a:ext cx="248218" cy="210088"/>
            </a:xfrm>
            <a:custGeom>
              <a:avLst/>
              <a:gdLst>
                <a:gd name="connsiteX0" fmla="*/ 243029 w 248218"/>
                <a:gd name="connsiteY0" fmla="*/ 113284 h 210088"/>
                <a:gd name="connsiteX1" fmla="*/ 200796 w 248218"/>
                <a:gd name="connsiteY1" fmla="*/ 86134 h 210088"/>
                <a:gd name="connsiteX2" fmla="*/ 37890 w 248218"/>
                <a:gd name="connsiteY2" fmla="*/ 7698 h 210088"/>
                <a:gd name="connsiteX3" fmla="*/ 16772 w 248218"/>
                <a:gd name="connsiteY3" fmla="*/ 152503 h 210088"/>
                <a:gd name="connsiteX4" fmla="*/ 98225 w 248218"/>
                <a:gd name="connsiteY4" fmla="*/ 203787 h 210088"/>
                <a:gd name="connsiteX5" fmla="*/ 71075 w 248218"/>
                <a:gd name="connsiteY5" fmla="*/ 149486 h 210088"/>
                <a:gd name="connsiteX6" fmla="*/ 77107 w 248218"/>
                <a:gd name="connsiteY6" fmla="*/ 86134 h 210088"/>
                <a:gd name="connsiteX7" fmla="*/ 131411 w 248218"/>
                <a:gd name="connsiteY7" fmla="*/ 86134 h 210088"/>
                <a:gd name="connsiteX8" fmla="*/ 221913 w 248218"/>
                <a:gd name="connsiteY8" fmla="*/ 134402 h 210088"/>
                <a:gd name="connsiteX9" fmla="*/ 243029 w 248218"/>
                <a:gd name="connsiteY9" fmla="*/ 113284 h 210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8218" h="210088">
                  <a:moveTo>
                    <a:pt x="243029" y="113284"/>
                  </a:moveTo>
                  <a:cubicBezTo>
                    <a:pt x="230963" y="101218"/>
                    <a:pt x="215879" y="92168"/>
                    <a:pt x="200796" y="86134"/>
                  </a:cubicBezTo>
                  <a:cubicBezTo>
                    <a:pt x="185712" y="7698"/>
                    <a:pt x="101243" y="-13419"/>
                    <a:pt x="37890" y="7698"/>
                  </a:cubicBezTo>
                  <a:cubicBezTo>
                    <a:pt x="-25461" y="25799"/>
                    <a:pt x="7722" y="134402"/>
                    <a:pt x="16772" y="152503"/>
                  </a:cubicBezTo>
                  <a:cubicBezTo>
                    <a:pt x="28840" y="176637"/>
                    <a:pt x="59008" y="227922"/>
                    <a:pt x="98225" y="203787"/>
                  </a:cubicBezTo>
                  <a:cubicBezTo>
                    <a:pt x="89175" y="188703"/>
                    <a:pt x="71075" y="164570"/>
                    <a:pt x="71075" y="149486"/>
                  </a:cubicBezTo>
                  <a:cubicBezTo>
                    <a:pt x="71075" y="131385"/>
                    <a:pt x="62024" y="95184"/>
                    <a:pt x="77107" y="86134"/>
                  </a:cubicBezTo>
                  <a:cubicBezTo>
                    <a:pt x="86159" y="80100"/>
                    <a:pt x="113309" y="83117"/>
                    <a:pt x="131411" y="86134"/>
                  </a:cubicBezTo>
                  <a:cubicBezTo>
                    <a:pt x="164594" y="92168"/>
                    <a:pt x="200796" y="113284"/>
                    <a:pt x="221913" y="134402"/>
                  </a:cubicBezTo>
                  <a:cubicBezTo>
                    <a:pt x="236997" y="149486"/>
                    <a:pt x="258113" y="128368"/>
                    <a:pt x="243029" y="113284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64A5BDFE-E197-45E7-AD95-7EE37901CBF8}"/>
                </a:ext>
              </a:extLst>
            </p:cNvPr>
            <p:cNvSpPr/>
            <p:nvPr/>
          </p:nvSpPr>
          <p:spPr>
            <a:xfrm>
              <a:off x="20860619" y="9437879"/>
              <a:ext cx="41300" cy="147821"/>
            </a:xfrm>
            <a:custGeom>
              <a:avLst/>
              <a:gdLst>
                <a:gd name="connsiteX0" fmla="*/ 38283 w 41300"/>
                <a:gd name="connsiteY0" fmla="*/ 147822 h 147821"/>
                <a:gd name="connsiteX1" fmla="*/ 32249 w 41300"/>
                <a:gd name="connsiteY1" fmla="*/ 144805 h 147821"/>
                <a:gd name="connsiteX2" fmla="*/ 11133 w 41300"/>
                <a:gd name="connsiteY2" fmla="*/ 21117 h 147821"/>
                <a:gd name="connsiteX3" fmla="*/ 35267 w 41300"/>
                <a:gd name="connsiteY3" fmla="*/ 0 h 147821"/>
                <a:gd name="connsiteX4" fmla="*/ 41301 w 41300"/>
                <a:gd name="connsiteY4" fmla="*/ 3017 h 147821"/>
                <a:gd name="connsiteX5" fmla="*/ 38283 w 41300"/>
                <a:gd name="connsiteY5" fmla="*/ 9050 h 147821"/>
                <a:gd name="connsiteX6" fmla="*/ 17165 w 41300"/>
                <a:gd name="connsiteY6" fmla="*/ 27151 h 147821"/>
                <a:gd name="connsiteX7" fmla="*/ 38283 w 41300"/>
                <a:gd name="connsiteY7" fmla="*/ 138771 h 147821"/>
                <a:gd name="connsiteX8" fmla="*/ 38283 w 41300"/>
                <a:gd name="connsiteY8" fmla="*/ 147822 h 147821"/>
                <a:gd name="connsiteX9" fmla="*/ 38283 w 41300"/>
                <a:gd name="connsiteY9" fmla="*/ 147822 h 147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300" h="147821">
                  <a:moveTo>
                    <a:pt x="38283" y="147822"/>
                  </a:moveTo>
                  <a:cubicBezTo>
                    <a:pt x="35267" y="147822"/>
                    <a:pt x="35267" y="147822"/>
                    <a:pt x="32249" y="144805"/>
                  </a:cubicBezTo>
                  <a:cubicBezTo>
                    <a:pt x="29233" y="141788"/>
                    <a:pt x="-22052" y="63352"/>
                    <a:pt x="11133" y="21117"/>
                  </a:cubicBezTo>
                  <a:cubicBezTo>
                    <a:pt x="17165" y="12067"/>
                    <a:pt x="23199" y="6033"/>
                    <a:pt x="35267" y="0"/>
                  </a:cubicBezTo>
                  <a:cubicBezTo>
                    <a:pt x="38283" y="0"/>
                    <a:pt x="41301" y="0"/>
                    <a:pt x="41301" y="3017"/>
                  </a:cubicBezTo>
                  <a:cubicBezTo>
                    <a:pt x="41301" y="6033"/>
                    <a:pt x="41301" y="9050"/>
                    <a:pt x="38283" y="9050"/>
                  </a:cubicBezTo>
                  <a:cubicBezTo>
                    <a:pt x="29233" y="12067"/>
                    <a:pt x="23199" y="18100"/>
                    <a:pt x="17165" y="27151"/>
                  </a:cubicBezTo>
                  <a:cubicBezTo>
                    <a:pt x="-9985" y="63352"/>
                    <a:pt x="38283" y="138771"/>
                    <a:pt x="38283" y="138771"/>
                  </a:cubicBezTo>
                  <a:cubicBezTo>
                    <a:pt x="41301" y="141788"/>
                    <a:pt x="38283" y="144805"/>
                    <a:pt x="38283" y="147822"/>
                  </a:cubicBezTo>
                  <a:cubicBezTo>
                    <a:pt x="41301" y="147822"/>
                    <a:pt x="38283" y="147822"/>
                    <a:pt x="38283" y="147822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0B28B550-F28B-44BA-8072-15DE59670A03}"/>
                </a:ext>
              </a:extLst>
            </p:cNvPr>
            <p:cNvSpPr/>
            <p:nvPr/>
          </p:nvSpPr>
          <p:spPr>
            <a:xfrm>
              <a:off x="20962255" y="9413745"/>
              <a:ext cx="85599" cy="105586"/>
            </a:xfrm>
            <a:custGeom>
              <a:avLst/>
              <a:gdLst>
                <a:gd name="connsiteX0" fmla="*/ 72401 w 85599"/>
                <a:gd name="connsiteY0" fmla="*/ 105587 h 105586"/>
                <a:gd name="connsiteX1" fmla="*/ 69385 w 85599"/>
                <a:gd name="connsiteY1" fmla="*/ 105587 h 105586"/>
                <a:gd name="connsiteX2" fmla="*/ 69385 w 85599"/>
                <a:gd name="connsiteY2" fmla="*/ 96537 h 105586"/>
                <a:gd name="connsiteX3" fmla="*/ 75419 w 85599"/>
                <a:gd name="connsiteY3" fmla="*/ 72402 h 105586"/>
                <a:gd name="connsiteX4" fmla="*/ 3016 w 85599"/>
                <a:gd name="connsiteY4" fmla="*/ 9050 h 105586"/>
                <a:gd name="connsiteX5" fmla="*/ 0 w 85599"/>
                <a:gd name="connsiteY5" fmla="*/ 3017 h 105586"/>
                <a:gd name="connsiteX6" fmla="*/ 6032 w 85599"/>
                <a:gd name="connsiteY6" fmla="*/ 0 h 105586"/>
                <a:gd name="connsiteX7" fmla="*/ 84469 w 85599"/>
                <a:gd name="connsiteY7" fmla="*/ 72402 h 105586"/>
                <a:gd name="connsiteX8" fmla="*/ 75419 w 85599"/>
                <a:gd name="connsiteY8" fmla="*/ 105587 h 105586"/>
                <a:gd name="connsiteX9" fmla="*/ 72401 w 85599"/>
                <a:gd name="connsiteY9" fmla="*/ 105587 h 10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599" h="105586">
                  <a:moveTo>
                    <a:pt x="72401" y="105587"/>
                  </a:moveTo>
                  <a:cubicBezTo>
                    <a:pt x="72401" y="105587"/>
                    <a:pt x="69385" y="105587"/>
                    <a:pt x="69385" y="105587"/>
                  </a:cubicBezTo>
                  <a:cubicBezTo>
                    <a:pt x="66367" y="102570"/>
                    <a:pt x="66367" y="99554"/>
                    <a:pt x="69385" y="96537"/>
                  </a:cubicBezTo>
                  <a:cubicBezTo>
                    <a:pt x="75419" y="87486"/>
                    <a:pt x="78435" y="81453"/>
                    <a:pt x="75419" y="72402"/>
                  </a:cubicBezTo>
                  <a:cubicBezTo>
                    <a:pt x="69385" y="39218"/>
                    <a:pt x="6032" y="9050"/>
                    <a:pt x="3016" y="9050"/>
                  </a:cubicBezTo>
                  <a:cubicBezTo>
                    <a:pt x="0" y="9050"/>
                    <a:pt x="0" y="3017"/>
                    <a:pt x="0" y="3017"/>
                  </a:cubicBezTo>
                  <a:cubicBezTo>
                    <a:pt x="0" y="0"/>
                    <a:pt x="6032" y="0"/>
                    <a:pt x="6032" y="0"/>
                  </a:cubicBezTo>
                  <a:cubicBezTo>
                    <a:pt x="9050" y="0"/>
                    <a:pt x="75419" y="33185"/>
                    <a:pt x="84469" y="72402"/>
                  </a:cubicBezTo>
                  <a:cubicBezTo>
                    <a:pt x="87485" y="84470"/>
                    <a:pt x="84469" y="96537"/>
                    <a:pt x="75419" y="105587"/>
                  </a:cubicBezTo>
                  <a:cubicBezTo>
                    <a:pt x="75419" y="102570"/>
                    <a:pt x="75419" y="105587"/>
                    <a:pt x="72401" y="105587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ED8B0263-FC56-48DC-8176-644B03FF6832}"/>
                </a:ext>
              </a:extLst>
            </p:cNvPr>
            <p:cNvSpPr/>
            <p:nvPr/>
          </p:nvSpPr>
          <p:spPr>
            <a:xfrm>
              <a:off x="19532310" y="8819443"/>
              <a:ext cx="1004955" cy="844693"/>
            </a:xfrm>
            <a:custGeom>
              <a:avLst/>
              <a:gdLst>
                <a:gd name="connsiteX0" fmla="*/ 307710 w 1004955"/>
                <a:gd name="connsiteY0" fmla="*/ 0 h 844693"/>
                <a:gd name="connsiteX1" fmla="*/ 509833 w 1004955"/>
                <a:gd name="connsiteY1" fmla="*/ 533966 h 844693"/>
                <a:gd name="connsiteX2" fmla="*/ 1001565 w 1004955"/>
                <a:gd name="connsiteY2" fmla="*/ 769274 h 844693"/>
                <a:gd name="connsiteX3" fmla="*/ 883910 w 1004955"/>
                <a:gd name="connsiteY3" fmla="*/ 844693 h 844693"/>
                <a:gd name="connsiteX4" fmla="*/ 262458 w 1004955"/>
                <a:gd name="connsiteY4" fmla="*/ 705922 h 844693"/>
                <a:gd name="connsiteX5" fmla="*/ 0 w 1004955"/>
                <a:gd name="connsiteY5" fmla="*/ 123687 h 844693"/>
                <a:gd name="connsiteX6" fmla="*/ 307710 w 1004955"/>
                <a:gd name="connsiteY6" fmla="*/ 0 h 844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4955" h="844693">
                  <a:moveTo>
                    <a:pt x="307710" y="0"/>
                  </a:moveTo>
                  <a:lnTo>
                    <a:pt x="509833" y="533966"/>
                  </a:lnTo>
                  <a:cubicBezTo>
                    <a:pt x="509833" y="533966"/>
                    <a:pt x="877876" y="660671"/>
                    <a:pt x="1001565" y="769274"/>
                  </a:cubicBezTo>
                  <a:cubicBezTo>
                    <a:pt x="1028714" y="793408"/>
                    <a:pt x="883910" y="844693"/>
                    <a:pt x="883910" y="844693"/>
                  </a:cubicBezTo>
                  <a:cubicBezTo>
                    <a:pt x="883910" y="844693"/>
                    <a:pt x="337877" y="805475"/>
                    <a:pt x="262458" y="705922"/>
                  </a:cubicBezTo>
                  <a:cubicBezTo>
                    <a:pt x="187039" y="603352"/>
                    <a:pt x="0" y="123687"/>
                    <a:pt x="0" y="123687"/>
                  </a:cubicBezTo>
                  <a:lnTo>
                    <a:pt x="307710" y="0"/>
                  </a:ln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883CCC85-CA50-48FC-9A9E-5E12BF2CF51F}"/>
                </a:ext>
              </a:extLst>
            </p:cNvPr>
            <p:cNvSpPr/>
            <p:nvPr/>
          </p:nvSpPr>
          <p:spPr>
            <a:xfrm>
              <a:off x="19467517" y="8439181"/>
              <a:ext cx="438871" cy="603503"/>
            </a:xfrm>
            <a:custGeom>
              <a:avLst/>
              <a:gdLst>
                <a:gd name="connsiteX0" fmla="*/ 49709 w 438871"/>
                <a:gd name="connsiteY0" fmla="*/ 603503 h 603503"/>
                <a:gd name="connsiteX1" fmla="*/ 58759 w 438871"/>
                <a:gd name="connsiteY1" fmla="*/ 9201 h 603503"/>
                <a:gd name="connsiteX2" fmla="*/ 438872 w 438871"/>
                <a:gd name="connsiteY2" fmla="*/ 449648 h 603503"/>
                <a:gd name="connsiteX3" fmla="*/ 49709 w 438871"/>
                <a:gd name="connsiteY3" fmla="*/ 603503 h 603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871" h="603503">
                  <a:moveTo>
                    <a:pt x="49709" y="603503"/>
                  </a:moveTo>
                  <a:cubicBezTo>
                    <a:pt x="49709" y="603503"/>
                    <a:pt x="-67945" y="84620"/>
                    <a:pt x="58759" y="9201"/>
                  </a:cubicBezTo>
                  <a:cubicBezTo>
                    <a:pt x="203563" y="-75268"/>
                    <a:pt x="438872" y="449648"/>
                    <a:pt x="438872" y="449648"/>
                  </a:cubicBezTo>
                  <a:cubicBezTo>
                    <a:pt x="438872" y="449648"/>
                    <a:pt x="278982" y="603503"/>
                    <a:pt x="49709" y="603503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66EC0158-5EEA-451E-A144-019609A17528}"/>
                </a:ext>
              </a:extLst>
            </p:cNvPr>
            <p:cNvSpPr/>
            <p:nvPr/>
          </p:nvSpPr>
          <p:spPr>
            <a:xfrm>
              <a:off x="19478009" y="8444029"/>
              <a:ext cx="446480" cy="604688"/>
            </a:xfrm>
            <a:custGeom>
              <a:avLst/>
              <a:gdLst>
                <a:gd name="connsiteX0" fmla="*/ 54301 w 446480"/>
                <a:gd name="connsiteY0" fmla="*/ 604688 h 604688"/>
                <a:gd name="connsiteX1" fmla="*/ 42234 w 446480"/>
                <a:gd name="connsiteY1" fmla="*/ 604688 h 604688"/>
                <a:gd name="connsiteX2" fmla="*/ 39218 w 446480"/>
                <a:gd name="connsiteY2" fmla="*/ 604688 h 604688"/>
                <a:gd name="connsiteX3" fmla="*/ 39218 w 446480"/>
                <a:gd name="connsiteY3" fmla="*/ 601671 h 604688"/>
                <a:gd name="connsiteX4" fmla="*/ 0 w 446480"/>
                <a:gd name="connsiteY4" fmla="*/ 363347 h 604688"/>
                <a:gd name="connsiteX5" fmla="*/ 6034 w 446480"/>
                <a:gd name="connsiteY5" fmla="*/ 357314 h 604688"/>
                <a:gd name="connsiteX6" fmla="*/ 12066 w 446480"/>
                <a:gd name="connsiteY6" fmla="*/ 363347 h 604688"/>
                <a:gd name="connsiteX7" fmla="*/ 51285 w 446480"/>
                <a:gd name="connsiteY7" fmla="*/ 595638 h 604688"/>
                <a:gd name="connsiteX8" fmla="*/ 60335 w 446480"/>
                <a:gd name="connsiteY8" fmla="*/ 595638 h 604688"/>
                <a:gd name="connsiteX9" fmla="*/ 431396 w 446480"/>
                <a:gd name="connsiteY9" fmla="*/ 447817 h 604688"/>
                <a:gd name="connsiteX10" fmla="*/ 259441 w 446480"/>
                <a:gd name="connsiteY10" fmla="*/ 140107 h 604688"/>
                <a:gd name="connsiteX11" fmla="*/ 60335 w 446480"/>
                <a:gd name="connsiteY11" fmla="*/ 10387 h 604688"/>
                <a:gd name="connsiteX12" fmla="*/ 54301 w 446480"/>
                <a:gd name="connsiteY12" fmla="*/ 7370 h 604688"/>
                <a:gd name="connsiteX13" fmla="*/ 57317 w 446480"/>
                <a:gd name="connsiteY13" fmla="*/ 1336 h 604688"/>
                <a:gd name="connsiteX14" fmla="*/ 268491 w 446480"/>
                <a:gd name="connsiteY14" fmla="*/ 134073 h 604688"/>
                <a:gd name="connsiteX15" fmla="*/ 443464 w 446480"/>
                <a:gd name="connsiteY15" fmla="*/ 444800 h 604688"/>
                <a:gd name="connsiteX16" fmla="*/ 446480 w 446480"/>
                <a:gd name="connsiteY16" fmla="*/ 447817 h 604688"/>
                <a:gd name="connsiteX17" fmla="*/ 443464 w 446480"/>
                <a:gd name="connsiteY17" fmla="*/ 450833 h 604688"/>
                <a:gd name="connsiteX18" fmla="*/ 54301 w 446480"/>
                <a:gd name="connsiteY18" fmla="*/ 604688 h 604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46480" h="604688">
                  <a:moveTo>
                    <a:pt x="54301" y="604688"/>
                  </a:moveTo>
                  <a:cubicBezTo>
                    <a:pt x="51285" y="604688"/>
                    <a:pt x="45251" y="604688"/>
                    <a:pt x="42234" y="604688"/>
                  </a:cubicBezTo>
                  <a:lnTo>
                    <a:pt x="39218" y="604688"/>
                  </a:lnTo>
                  <a:lnTo>
                    <a:pt x="39218" y="601671"/>
                  </a:lnTo>
                  <a:cubicBezTo>
                    <a:pt x="39218" y="598655"/>
                    <a:pt x="6034" y="417649"/>
                    <a:pt x="0" y="363347"/>
                  </a:cubicBezTo>
                  <a:cubicBezTo>
                    <a:pt x="0" y="360330"/>
                    <a:pt x="3016" y="357314"/>
                    <a:pt x="6034" y="357314"/>
                  </a:cubicBezTo>
                  <a:cubicBezTo>
                    <a:pt x="9050" y="357314"/>
                    <a:pt x="12066" y="360330"/>
                    <a:pt x="12066" y="363347"/>
                  </a:cubicBezTo>
                  <a:cubicBezTo>
                    <a:pt x="18100" y="414632"/>
                    <a:pt x="45251" y="568487"/>
                    <a:pt x="51285" y="595638"/>
                  </a:cubicBezTo>
                  <a:cubicBezTo>
                    <a:pt x="54301" y="595638"/>
                    <a:pt x="57317" y="595638"/>
                    <a:pt x="60335" y="595638"/>
                  </a:cubicBezTo>
                  <a:cubicBezTo>
                    <a:pt x="253407" y="595638"/>
                    <a:pt x="407263" y="468934"/>
                    <a:pt x="431396" y="447817"/>
                  </a:cubicBezTo>
                  <a:cubicBezTo>
                    <a:pt x="419329" y="423683"/>
                    <a:pt x="346927" y="281895"/>
                    <a:pt x="259441" y="140107"/>
                  </a:cubicBezTo>
                  <a:cubicBezTo>
                    <a:pt x="165922" y="-10731"/>
                    <a:pt x="60335" y="10387"/>
                    <a:pt x="60335" y="10387"/>
                  </a:cubicBezTo>
                  <a:cubicBezTo>
                    <a:pt x="57317" y="10387"/>
                    <a:pt x="54301" y="10387"/>
                    <a:pt x="54301" y="7370"/>
                  </a:cubicBezTo>
                  <a:cubicBezTo>
                    <a:pt x="54301" y="4353"/>
                    <a:pt x="54301" y="1336"/>
                    <a:pt x="57317" y="1336"/>
                  </a:cubicBezTo>
                  <a:cubicBezTo>
                    <a:pt x="63351" y="1336"/>
                    <a:pt x="171956" y="-22798"/>
                    <a:pt x="268491" y="134073"/>
                  </a:cubicBezTo>
                  <a:cubicBezTo>
                    <a:pt x="365027" y="287928"/>
                    <a:pt x="443464" y="444800"/>
                    <a:pt x="443464" y="444800"/>
                  </a:cubicBezTo>
                  <a:lnTo>
                    <a:pt x="446480" y="447817"/>
                  </a:lnTo>
                  <a:lnTo>
                    <a:pt x="443464" y="450833"/>
                  </a:lnTo>
                  <a:cubicBezTo>
                    <a:pt x="431396" y="453850"/>
                    <a:pt x="265475" y="604688"/>
                    <a:pt x="54301" y="604688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4B6C9BD9-8D91-4D6A-9003-59B6D7E8D1EC}"/>
                </a:ext>
              </a:extLst>
            </p:cNvPr>
            <p:cNvSpPr/>
            <p:nvPr/>
          </p:nvSpPr>
          <p:spPr>
            <a:xfrm>
              <a:off x="20748064" y="9374527"/>
              <a:ext cx="114636" cy="105586"/>
            </a:xfrm>
            <a:custGeom>
              <a:avLst/>
              <a:gdLst>
                <a:gd name="connsiteX0" fmla="*/ 78437 w 114636"/>
                <a:gd name="connsiteY0" fmla="*/ 87486 h 105586"/>
                <a:gd name="connsiteX1" fmla="*/ 0 w 114636"/>
                <a:gd name="connsiteY1" fmla="*/ 105587 h 105586"/>
                <a:gd name="connsiteX2" fmla="*/ 15084 w 114636"/>
                <a:gd name="connsiteY2" fmla="*/ 9050 h 105586"/>
                <a:gd name="connsiteX3" fmla="*/ 78437 w 114636"/>
                <a:gd name="connsiteY3" fmla="*/ 0 h 105586"/>
                <a:gd name="connsiteX4" fmla="*/ 114637 w 114636"/>
                <a:gd name="connsiteY4" fmla="*/ 21117 h 10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636" h="105586">
                  <a:moveTo>
                    <a:pt x="78437" y="87486"/>
                  </a:moveTo>
                  <a:lnTo>
                    <a:pt x="0" y="105587"/>
                  </a:lnTo>
                  <a:lnTo>
                    <a:pt x="15084" y="9050"/>
                  </a:lnTo>
                  <a:lnTo>
                    <a:pt x="78437" y="0"/>
                  </a:lnTo>
                  <a:lnTo>
                    <a:pt x="114637" y="21117"/>
                  </a:ln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099B8406-408A-4A99-9BC4-5B3A30307D42}"/>
                </a:ext>
              </a:extLst>
            </p:cNvPr>
            <p:cNvSpPr/>
            <p:nvPr/>
          </p:nvSpPr>
          <p:spPr>
            <a:xfrm>
              <a:off x="20654545" y="9612851"/>
              <a:ext cx="530948" cy="127088"/>
            </a:xfrm>
            <a:custGeom>
              <a:avLst/>
              <a:gdLst>
                <a:gd name="connsiteX0" fmla="*/ 36201 w 530948"/>
                <a:gd name="connsiteY0" fmla="*/ 126704 h 127088"/>
                <a:gd name="connsiteX1" fmla="*/ 39218 w 530948"/>
                <a:gd name="connsiteY1" fmla="*/ 126704 h 127088"/>
                <a:gd name="connsiteX2" fmla="*/ 497765 w 530948"/>
                <a:gd name="connsiteY2" fmla="*/ 72402 h 127088"/>
                <a:gd name="connsiteX3" fmla="*/ 530949 w 530948"/>
                <a:gd name="connsiteY3" fmla="*/ 33185 h 127088"/>
                <a:gd name="connsiteX4" fmla="*/ 491731 w 530948"/>
                <a:gd name="connsiteY4" fmla="*/ 0 h 127088"/>
                <a:gd name="connsiteX5" fmla="*/ 33184 w 530948"/>
                <a:gd name="connsiteY5" fmla="*/ 54301 h 127088"/>
                <a:gd name="connsiteX6" fmla="*/ 0 w 530948"/>
                <a:gd name="connsiteY6" fmla="*/ 93520 h 127088"/>
                <a:gd name="connsiteX7" fmla="*/ 36201 w 530948"/>
                <a:gd name="connsiteY7" fmla="*/ 126704 h 127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0948" h="127088">
                  <a:moveTo>
                    <a:pt x="36201" y="126704"/>
                  </a:moveTo>
                  <a:cubicBezTo>
                    <a:pt x="36201" y="126704"/>
                    <a:pt x="39218" y="126704"/>
                    <a:pt x="39218" y="126704"/>
                  </a:cubicBezTo>
                  <a:lnTo>
                    <a:pt x="497765" y="72402"/>
                  </a:lnTo>
                  <a:cubicBezTo>
                    <a:pt x="518883" y="69385"/>
                    <a:pt x="530949" y="51285"/>
                    <a:pt x="530949" y="33185"/>
                  </a:cubicBezTo>
                  <a:cubicBezTo>
                    <a:pt x="527933" y="12067"/>
                    <a:pt x="509831" y="0"/>
                    <a:pt x="491731" y="0"/>
                  </a:cubicBezTo>
                  <a:lnTo>
                    <a:pt x="33184" y="54301"/>
                  </a:lnTo>
                  <a:cubicBezTo>
                    <a:pt x="12066" y="57318"/>
                    <a:pt x="0" y="75419"/>
                    <a:pt x="0" y="93520"/>
                  </a:cubicBezTo>
                  <a:cubicBezTo>
                    <a:pt x="3016" y="114637"/>
                    <a:pt x="18100" y="129720"/>
                    <a:pt x="36201" y="126704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BDB0CE70-DDCF-4E2A-89F1-7ACAFEBE297F}"/>
                </a:ext>
              </a:extLst>
            </p:cNvPr>
            <p:cNvSpPr/>
            <p:nvPr/>
          </p:nvSpPr>
          <p:spPr>
            <a:xfrm>
              <a:off x="20361460" y="9630493"/>
              <a:ext cx="440904" cy="184939"/>
            </a:xfrm>
            <a:custGeom>
              <a:avLst/>
              <a:gdLst>
                <a:gd name="connsiteX0" fmla="*/ 410737 w 440904"/>
                <a:gd name="connsiteY0" fmla="*/ 124146 h 184939"/>
                <a:gd name="connsiteX1" fmla="*/ 51744 w 440904"/>
                <a:gd name="connsiteY1" fmla="*/ 184481 h 184939"/>
                <a:gd name="connsiteX2" fmla="*/ 9508 w 440904"/>
                <a:gd name="connsiteY2" fmla="*/ 154314 h 184939"/>
                <a:gd name="connsiteX3" fmla="*/ 459 w 440904"/>
                <a:gd name="connsiteY3" fmla="*/ 103028 h 184939"/>
                <a:gd name="connsiteX4" fmla="*/ 30626 w 440904"/>
                <a:gd name="connsiteY4" fmla="*/ 60794 h 184939"/>
                <a:gd name="connsiteX5" fmla="*/ 389621 w 440904"/>
                <a:gd name="connsiteY5" fmla="*/ 459 h 184939"/>
                <a:gd name="connsiteX6" fmla="*/ 431855 w 440904"/>
                <a:gd name="connsiteY6" fmla="*/ 30626 h 184939"/>
                <a:gd name="connsiteX7" fmla="*/ 440905 w 440904"/>
                <a:gd name="connsiteY7" fmla="*/ 81911 h 184939"/>
                <a:gd name="connsiteX8" fmla="*/ 410737 w 440904"/>
                <a:gd name="connsiteY8" fmla="*/ 124146 h 184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0904" h="184939">
                  <a:moveTo>
                    <a:pt x="410737" y="124146"/>
                  </a:moveTo>
                  <a:lnTo>
                    <a:pt x="51744" y="184481"/>
                  </a:lnTo>
                  <a:cubicBezTo>
                    <a:pt x="33642" y="187497"/>
                    <a:pt x="12526" y="175430"/>
                    <a:pt x="9508" y="154314"/>
                  </a:cubicBezTo>
                  <a:lnTo>
                    <a:pt x="459" y="103028"/>
                  </a:lnTo>
                  <a:cubicBezTo>
                    <a:pt x="-2557" y="84928"/>
                    <a:pt x="9508" y="63811"/>
                    <a:pt x="30626" y="60794"/>
                  </a:cubicBezTo>
                  <a:lnTo>
                    <a:pt x="389621" y="459"/>
                  </a:lnTo>
                  <a:cubicBezTo>
                    <a:pt x="407721" y="-2558"/>
                    <a:pt x="428839" y="9509"/>
                    <a:pt x="431855" y="30626"/>
                  </a:cubicBezTo>
                  <a:lnTo>
                    <a:pt x="440905" y="81911"/>
                  </a:lnTo>
                  <a:cubicBezTo>
                    <a:pt x="440905" y="103028"/>
                    <a:pt x="428839" y="121129"/>
                    <a:pt x="410737" y="124146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2" name="图形 1">
              <a:extLst>
                <a:ext uri="{FF2B5EF4-FFF2-40B4-BE49-F238E27FC236}">
                  <a16:creationId xmlns:a16="http://schemas.microsoft.com/office/drawing/2014/main" id="{1394A312-3948-480B-9C42-2CBF673F30C1}"/>
                </a:ext>
              </a:extLst>
            </p:cNvPr>
            <p:cNvGrpSpPr/>
            <p:nvPr/>
          </p:nvGrpSpPr>
          <p:grpSpPr>
            <a:xfrm>
              <a:off x="20377349" y="9552263"/>
              <a:ext cx="323630" cy="298865"/>
              <a:chOff x="20377349" y="9552263"/>
              <a:chExt cx="323630" cy="298865"/>
            </a:xfrm>
          </p:grpSpPr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0ACFA4F1-EB9B-4A34-B53F-B1F12E858731}"/>
                  </a:ext>
                </a:extLst>
              </p:cNvPr>
              <p:cNvSpPr/>
              <p:nvPr/>
            </p:nvSpPr>
            <p:spPr>
              <a:xfrm>
                <a:off x="20377349" y="9552263"/>
                <a:ext cx="310014" cy="298865"/>
              </a:xfrm>
              <a:custGeom>
                <a:avLst/>
                <a:gdLst>
                  <a:gd name="connsiteX0" fmla="*/ 11722 w 310014"/>
                  <a:gd name="connsiteY0" fmla="*/ 114890 h 298865"/>
                  <a:gd name="connsiteX1" fmla="*/ 66023 w 310014"/>
                  <a:gd name="connsiteY1" fmla="*/ 205393 h 298865"/>
                  <a:gd name="connsiteX2" fmla="*/ 99207 w 310014"/>
                  <a:gd name="connsiteY2" fmla="*/ 286846 h 298865"/>
                  <a:gd name="connsiteX3" fmla="*/ 153508 w 310014"/>
                  <a:gd name="connsiteY3" fmla="*/ 277796 h 298865"/>
                  <a:gd name="connsiteX4" fmla="*/ 192727 w 310014"/>
                  <a:gd name="connsiteY4" fmla="*/ 292880 h 298865"/>
                  <a:gd name="connsiteX5" fmla="*/ 216861 w 310014"/>
                  <a:gd name="connsiteY5" fmla="*/ 268745 h 298865"/>
                  <a:gd name="connsiteX6" fmla="*/ 265128 w 310014"/>
                  <a:gd name="connsiteY6" fmla="*/ 238577 h 298865"/>
                  <a:gd name="connsiteX7" fmla="*/ 301330 w 310014"/>
                  <a:gd name="connsiteY7" fmla="*/ 226511 h 298865"/>
                  <a:gd name="connsiteX8" fmla="*/ 286246 w 310014"/>
                  <a:gd name="connsiteY8" fmla="*/ 163158 h 298865"/>
                  <a:gd name="connsiteX9" fmla="*/ 108256 w 310014"/>
                  <a:gd name="connsiteY9" fmla="*/ 254 h 298865"/>
                  <a:gd name="connsiteX10" fmla="*/ 8704 w 310014"/>
                  <a:gd name="connsiteY10" fmla="*/ 60589 h 298865"/>
                  <a:gd name="connsiteX11" fmla="*/ 11722 w 310014"/>
                  <a:gd name="connsiteY11" fmla="*/ 114890 h 298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10014" h="298865">
                    <a:moveTo>
                      <a:pt x="11722" y="114890"/>
                    </a:moveTo>
                    <a:cubicBezTo>
                      <a:pt x="29821" y="145058"/>
                      <a:pt x="50939" y="175225"/>
                      <a:pt x="66023" y="205393"/>
                    </a:cubicBezTo>
                    <a:cubicBezTo>
                      <a:pt x="84123" y="238577"/>
                      <a:pt x="75073" y="256678"/>
                      <a:pt x="99207" y="286846"/>
                    </a:cubicBezTo>
                    <a:cubicBezTo>
                      <a:pt x="117308" y="307963"/>
                      <a:pt x="141442" y="298913"/>
                      <a:pt x="153508" y="277796"/>
                    </a:cubicBezTo>
                    <a:cubicBezTo>
                      <a:pt x="165576" y="295896"/>
                      <a:pt x="174626" y="298913"/>
                      <a:pt x="192727" y="292880"/>
                    </a:cubicBezTo>
                    <a:cubicBezTo>
                      <a:pt x="201777" y="289863"/>
                      <a:pt x="216861" y="274779"/>
                      <a:pt x="216861" y="268745"/>
                    </a:cubicBezTo>
                    <a:cubicBezTo>
                      <a:pt x="228927" y="283829"/>
                      <a:pt x="268146" y="262712"/>
                      <a:pt x="265128" y="238577"/>
                    </a:cubicBezTo>
                    <a:cubicBezTo>
                      <a:pt x="280212" y="247628"/>
                      <a:pt x="295296" y="232544"/>
                      <a:pt x="301330" y="226511"/>
                    </a:cubicBezTo>
                    <a:cubicBezTo>
                      <a:pt x="325464" y="199360"/>
                      <a:pt x="292280" y="178242"/>
                      <a:pt x="286246" y="163158"/>
                    </a:cubicBezTo>
                    <a:cubicBezTo>
                      <a:pt x="234961" y="81706"/>
                      <a:pt x="171610" y="45505"/>
                      <a:pt x="108256" y="254"/>
                    </a:cubicBezTo>
                    <a:cubicBezTo>
                      <a:pt x="111274" y="-2763"/>
                      <a:pt x="32837" y="21371"/>
                      <a:pt x="8704" y="60589"/>
                    </a:cubicBezTo>
                    <a:cubicBezTo>
                      <a:pt x="-3362" y="84722"/>
                      <a:pt x="-3362" y="90756"/>
                      <a:pt x="11722" y="11489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3956F4A2-9B5C-4C9C-8313-68D4A1E3E6D1}"/>
                  </a:ext>
                </a:extLst>
              </p:cNvPr>
              <p:cNvSpPr/>
              <p:nvPr/>
            </p:nvSpPr>
            <p:spPr>
              <a:xfrm>
                <a:off x="20600998" y="9640756"/>
                <a:ext cx="99981" cy="156117"/>
              </a:xfrm>
              <a:custGeom>
                <a:avLst/>
                <a:gdLst>
                  <a:gd name="connsiteX0" fmla="*/ 44497 w 99981"/>
                  <a:gd name="connsiteY0" fmla="*/ 156118 h 156117"/>
                  <a:gd name="connsiteX1" fmla="*/ 44497 w 99981"/>
                  <a:gd name="connsiteY1" fmla="*/ 156118 h 156117"/>
                  <a:gd name="connsiteX2" fmla="*/ 38464 w 99981"/>
                  <a:gd name="connsiteY2" fmla="*/ 150084 h 156117"/>
                  <a:gd name="connsiteX3" fmla="*/ 44497 w 99981"/>
                  <a:gd name="connsiteY3" fmla="*/ 144051 h 156117"/>
                  <a:gd name="connsiteX4" fmla="*/ 47513 w 99981"/>
                  <a:gd name="connsiteY4" fmla="*/ 144051 h 156117"/>
                  <a:gd name="connsiteX5" fmla="*/ 83715 w 99981"/>
                  <a:gd name="connsiteY5" fmla="*/ 131983 h 156117"/>
                  <a:gd name="connsiteX6" fmla="*/ 86731 w 99981"/>
                  <a:gd name="connsiteY6" fmla="*/ 113883 h 156117"/>
                  <a:gd name="connsiteX7" fmla="*/ 2262 w 99981"/>
                  <a:gd name="connsiteY7" fmla="*/ 11313 h 156117"/>
                  <a:gd name="connsiteX8" fmla="*/ 2262 w 99981"/>
                  <a:gd name="connsiteY8" fmla="*/ 2263 h 156117"/>
                  <a:gd name="connsiteX9" fmla="*/ 11312 w 99981"/>
                  <a:gd name="connsiteY9" fmla="*/ 2263 h 156117"/>
                  <a:gd name="connsiteX10" fmla="*/ 98799 w 99981"/>
                  <a:gd name="connsiteY10" fmla="*/ 110866 h 156117"/>
                  <a:gd name="connsiteX11" fmla="*/ 92765 w 99981"/>
                  <a:gd name="connsiteY11" fmla="*/ 138017 h 156117"/>
                  <a:gd name="connsiteX12" fmla="*/ 44497 w 99981"/>
                  <a:gd name="connsiteY12" fmla="*/ 156118 h 156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9981" h="156117">
                    <a:moveTo>
                      <a:pt x="44497" y="156118"/>
                    </a:moveTo>
                    <a:cubicBezTo>
                      <a:pt x="44497" y="156118"/>
                      <a:pt x="44497" y="156118"/>
                      <a:pt x="44497" y="156118"/>
                    </a:cubicBezTo>
                    <a:cubicBezTo>
                      <a:pt x="38464" y="156118"/>
                      <a:pt x="38464" y="153101"/>
                      <a:pt x="38464" y="150084"/>
                    </a:cubicBezTo>
                    <a:cubicBezTo>
                      <a:pt x="38464" y="147067"/>
                      <a:pt x="41480" y="144051"/>
                      <a:pt x="44497" y="144051"/>
                    </a:cubicBezTo>
                    <a:cubicBezTo>
                      <a:pt x="44497" y="144051"/>
                      <a:pt x="44497" y="144051"/>
                      <a:pt x="47513" y="144051"/>
                    </a:cubicBezTo>
                    <a:cubicBezTo>
                      <a:pt x="56563" y="144051"/>
                      <a:pt x="74665" y="141034"/>
                      <a:pt x="83715" y="131983"/>
                    </a:cubicBezTo>
                    <a:cubicBezTo>
                      <a:pt x="86731" y="125950"/>
                      <a:pt x="89749" y="122933"/>
                      <a:pt x="86731" y="113883"/>
                    </a:cubicBezTo>
                    <a:cubicBezTo>
                      <a:pt x="77681" y="71648"/>
                      <a:pt x="5278" y="11313"/>
                      <a:pt x="2262" y="11313"/>
                    </a:cubicBezTo>
                    <a:cubicBezTo>
                      <a:pt x="-754" y="8297"/>
                      <a:pt x="-754" y="5280"/>
                      <a:pt x="2262" y="2263"/>
                    </a:cubicBezTo>
                    <a:cubicBezTo>
                      <a:pt x="5278" y="-754"/>
                      <a:pt x="8296" y="-754"/>
                      <a:pt x="11312" y="2263"/>
                    </a:cubicBezTo>
                    <a:cubicBezTo>
                      <a:pt x="14330" y="5280"/>
                      <a:pt x="89749" y="65615"/>
                      <a:pt x="98799" y="110866"/>
                    </a:cubicBezTo>
                    <a:cubicBezTo>
                      <a:pt x="101815" y="122933"/>
                      <a:pt x="98799" y="131983"/>
                      <a:pt x="92765" y="138017"/>
                    </a:cubicBezTo>
                    <a:cubicBezTo>
                      <a:pt x="77681" y="156118"/>
                      <a:pt x="50529" y="156118"/>
                      <a:pt x="44497" y="15611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47D79F38-6B1C-42B7-8152-905AB04D9836}"/>
                  </a:ext>
                </a:extLst>
              </p:cNvPr>
              <p:cNvSpPr/>
              <p:nvPr/>
            </p:nvSpPr>
            <p:spPr>
              <a:xfrm>
                <a:off x="20518791" y="9762440"/>
                <a:ext cx="97785" cy="37451"/>
              </a:xfrm>
              <a:custGeom>
                <a:avLst/>
                <a:gdLst>
                  <a:gd name="connsiteX0" fmla="*/ 6034 w 97785"/>
                  <a:gd name="connsiteY0" fmla="*/ 37451 h 37451"/>
                  <a:gd name="connsiteX1" fmla="*/ 0 w 97785"/>
                  <a:gd name="connsiteY1" fmla="*/ 31417 h 37451"/>
                  <a:gd name="connsiteX2" fmla="*/ 6034 w 97785"/>
                  <a:gd name="connsiteY2" fmla="*/ 25383 h 37451"/>
                  <a:gd name="connsiteX3" fmla="*/ 87485 w 97785"/>
                  <a:gd name="connsiteY3" fmla="*/ 1250 h 37451"/>
                  <a:gd name="connsiteX4" fmla="*/ 96537 w 97785"/>
                  <a:gd name="connsiteY4" fmla="*/ 4267 h 37451"/>
                  <a:gd name="connsiteX5" fmla="*/ 93519 w 97785"/>
                  <a:gd name="connsiteY5" fmla="*/ 13317 h 37451"/>
                  <a:gd name="connsiteX6" fmla="*/ 6034 w 97785"/>
                  <a:gd name="connsiteY6" fmla="*/ 37451 h 37451"/>
                  <a:gd name="connsiteX7" fmla="*/ 6034 w 97785"/>
                  <a:gd name="connsiteY7" fmla="*/ 37451 h 37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785" h="37451">
                    <a:moveTo>
                      <a:pt x="6034" y="37451"/>
                    </a:moveTo>
                    <a:cubicBezTo>
                      <a:pt x="3016" y="37451"/>
                      <a:pt x="0" y="34434"/>
                      <a:pt x="0" y="31417"/>
                    </a:cubicBezTo>
                    <a:cubicBezTo>
                      <a:pt x="0" y="28400"/>
                      <a:pt x="0" y="25383"/>
                      <a:pt x="6034" y="25383"/>
                    </a:cubicBezTo>
                    <a:cubicBezTo>
                      <a:pt x="24134" y="22367"/>
                      <a:pt x="75419" y="10300"/>
                      <a:pt x="87485" y="1250"/>
                    </a:cubicBezTo>
                    <a:cubicBezTo>
                      <a:pt x="90503" y="-1767"/>
                      <a:pt x="93519" y="1250"/>
                      <a:pt x="96537" y="4267"/>
                    </a:cubicBezTo>
                    <a:cubicBezTo>
                      <a:pt x="99553" y="7284"/>
                      <a:pt x="96537" y="10300"/>
                      <a:pt x="93519" y="13317"/>
                    </a:cubicBezTo>
                    <a:cubicBezTo>
                      <a:pt x="72401" y="22367"/>
                      <a:pt x="9050" y="37451"/>
                      <a:pt x="6034" y="37451"/>
                    </a:cubicBezTo>
                    <a:cubicBezTo>
                      <a:pt x="6034" y="37451"/>
                      <a:pt x="6034" y="37451"/>
                      <a:pt x="6034" y="3745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108" name="图形 1">
            <a:extLst>
              <a:ext uri="{FF2B5EF4-FFF2-40B4-BE49-F238E27FC236}">
                <a16:creationId xmlns:a16="http://schemas.microsoft.com/office/drawing/2014/main" id="{34E107F7-5FB5-4C58-AAF8-329EF8F74227}"/>
              </a:ext>
            </a:extLst>
          </p:cNvPr>
          <p:cNvGrpSpPr/>
          <p:nvPr/>
        </p:nvGrpSpPr>
        <p:grpSpPr>
          <a:xfrm>
            <a:off x="7149166" y="2254425"/>
            <a:ext cx="2424886" cy="4602321"/>
            <a:chOff x="23086642" y="7917432"/>
            <a:chExt cx="2424886" cy="4602321"/>
          </a:xfrm>
        </p:grpSpPr>
        <p:grpSp>
          <p:nvGrpSpPr>
            <p:cNvPr id="109" name="图形 1">
              <a:extLst>
                <a:ext uri="{FF2B5EF4-FFF2-40B4-BE49-F238E27FC236}">
                  <a16:creationId xmlns:a16="http://schemas.microsoft.com/office/drawing/2014/main" id="{DD80FD4E-D1C1-4DD6-89DC-813AA64A04C6}"/>
                </a:ext>
              </a:extLst>
            </p:cNvPr>
            <p:cNvGrpSpPr/>
            <p:nvPr/>
          </p:nvGrpSpPr>
          <p:grpSpPr>
            <a:xfrm>
              <a:off x="23945380" y="12162013"/>
              <a:ext cx="391120" cy="357740"/>
              <a:chOff x="23945380" y="12162013"/>
              <a:chExt cx="391120" cy="357740"/>
            </a:xfrm>
          </p:grpSpPr>
          <p:sp>
            <p:nvSpPr>
              <p:cNvPr id="182" name="任意多边形: 形状 181">
                <a:extLst>
                  <a:ext uri="{FF2B5EF4-FFF2-40B4-BE49-F238E27FC236}">
                    <a16:creationId xmlns:a16="http://schemas.microsoft.com/office/drawing/2014/main" id="{AFDB44EF-A116-4643-8427-7D9E1C07F7B8}"/>
                  </a:ext>
                </a:extLst>
              </p:cNvPr>
              <p:cNvSpPr/>
              <p:nvPr/>
            </p:nvSpPr>
            <p:spPr>
              <a:xfrm>
                <a:off x="23945380" y="12285701"/>
                <a:ext cx="391120" cy="234053"/>
              </a:xfrm>
              <a:custGeom>
                <a:avLst/>
                <a:gdLst>
                  <a:gd name="connsiteX0" fmla="*/ 284026 w 391120"/>
                  <a:gd name="connsiteY0" fmla="*/ 0 h 234053"/>
                  <a:gd name="connsiteX1" fmla="*/ 127154 w 391120"/>
                  <a:gd name="connsiteY1" fmla="*/ 123687 h 234053"/>
                  <a:gd name="connsiteX2" fmla="*/ 320227 w 391120"/>
                  <a:gd name="connsiteY2" fmla="*/ 75419 h 234053"/>
                  <a:gd name="connsiteX3" fmla="*/ 389612 w 391120"/>
                  <a:gd name="connsiteY3" fmla="*/ 51284 h 234053"/>
                  <a:gd name="connsiteX4" fmla="*/ 383579 w 391120"/>
                  <a:gd name="connsiteY4" fmla="*/ 156871 h 234053"/>
                  <a:gd name="connsiteX5" fmla="*/ 154306 w 391120"/>
                  <a:gd name="connsiteY5" fmla="*/ 229274 h 234053"/>
                  <a:gd name="connsiteX6" fmla="*/ 18551 w 391120"/>
                  <a:gd name="connsiteY6" fmla="*/ 229274 h 234053"/>
                  <a:gd name="connsiteX7" fmla="*/ 12517 w 391120"/>
                  <a:gd name="connsiteY7" fmla="*/ 174972 h 234053"/>
                  <a:gd name="connsiteX8" fmla="*/ 284026 w 391120"/>
                  <a:gd name="connsiteY8" fmla="*/ 0 h 234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120" h="234053">
                    <a:moveTo>
                      <a:pt x="284026" y="0"/>
                    </a:moveTo>
                    <a:cubicBezTo>
                      <a:pt x="284026" y="0"/>
                      <a:pt x="112070" y="111620"/>
                      <a:pt x="127154" y="123687"/>
                    </a:cubicBezTo>
                    <a:cubicBezTo>
                      <a:pt x="139222" y="138771"/>
                      <a:pt x="320227" y="75419"/>
                      <a:pt x="320227" y="75419"/>
                    </a:cubicBezTo>
                    <a:lnTo>
                      <a:pt x="389612" y="51284"/>
                    </a:lnTo>
                    <a:cubicBezTo>
                      <a:pt x="389612" y="51284"/>
                      <a:pt x="395646" y="132737"/>
                      <a:pt x="383579" y="156871"/>
                    </a:cubicBezTo>
                    <a:cubicBezTo>
                      <a:pt x="311176" y="193072"/>
                      <a:pt x="226707" y="217206"/>
                      <a:pt x="154306" y="229274"/>
                    </a:cubicBezTo>
                    <a:cubicBezTo>
                      <a:pt x="109054" y="238324"/>
                      <a:pt x="27601" y="232290"/>
                      <a:pt x="18551" y="229274"/>
                    </a:cubicBezTo>
                    <a:cubicBezTo>
                      <a:pt x="9500" y="226257"/>
                      <a:pt x="-14634" y="202122"/>
                      <a:pt x="12517" y="174972"/>
                    </a:cubicBezTo>
                    <a:cubicBezTo>
                      <a:pt x="75869" y="108604"/>
                      <a:pt x="284026" y="0"/>
                      <a:pt x="284026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3" name="任意多边形: 形状 182">
                <a:extLst>
                  <a:ext uri="{FF2B5EF4-FFF2-40B4-BE49-F238E27FC236}">
                    <a16:creationId xmlns:a16="http://schemas.microsoft.com/office/drawing/2014/main" id="{B4437E2E-24A8-4B87-900B-613841DDC624}"/>
                  </a:ext>
                </a:extLst>
              </p:cNvPr>
              <p:cNvSpPr/>
              <p:nvPr/>
            </p:nvSpPr>
            <p:spPr>
              <a:xfrm>
                <a:off x="24071220" y="12162013"/>
                <a:ext cx="263771" cy="251405"/>
              </a:xfrm>
              <a:custGeom>
                <a:avLst/>
                <a:gdLst>
                  <a:gd name="connsiteX0" fmla="*/ 143101 w 263771"/>
                  <a:gd name="connsiteY0" fmla="*/ 0 h 251405"/>
                  <a:gd name="connsiteX1" fmla="*/ 158185 w 263771"/>
                  <a:gd name="connsiteY1" fmla="*/ 123687 h 251405"/>
                  <a:gd name="connsiteX2" fmla="*/ 1313 w 263771"/>
                  <a:gd name="connsiteY2" fmla="*/ 247375 h 251405"/>
                  <a:gd name="connsiteX3" fmla="*/ 236620 w 263771"/>
                  <a:gd name="connsiteY3" fmla="*/ 205139 h 251405"/>
                  <a:gd name="connsiteX4" fmla="*/ 263772 w 263771"/>
                  <a:gd name="connsiteY4" fmla="*/ 174972 h 251405"/>
                  <a:gd name="connsiteX5" fmla="*/ 263772 w 263771"/>
                  <a:gd name="connsiteY5" fmla="*/ 42234 h 251405"/>
                  <a:gd name="connsiteX6" fmla="*/ 143101 w 263771"/>
                  <a:gd name="connsiteY6" fmla="*/ 0 h 251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3771" h="251405">
                    <a:moveTo>
                      <a:pt x="143101" y="0"/>
                    </a:moveTo>
                    <a:lnTo>
                      <a:pt x="158185" y="123687"/>
                    </a:lnTo>
                    <a:cubicBezTo>
                      <a:pt x="158185" y="123687"/>
                      <a:pt x="-16787" y="226257"/>
                      <a:pt x="1313" y="247375"/>
                    </a:cubicBezTo>
                    <a:cubicBezTo>
                      <a:pt x="13381" y="262458"/>
                      <a:pt x="167235" y="232291"/>
                      <a:pt x="236620" y="205139"/>
                    </a:cubicBezTo>
                    <a:cubicBezTo>
                      <a:pt x="260754" y="196089"/>
                      <a:pt x="263772" y="174972"/>
                      <a:pt x="263772" y="174972"/>
                    </a:cubicBezTo>
                    <a:lnTo>
                      <a:pt x="263772" y="42234"/>
                    </a:lnTo>
                    <a:lnTo>
                      <a:pt x="143101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0" name="图形 1">
              <a:extLst>
                <a:ext uri="{FF2B5EF4-FFF2-40B4-BE49-F238E27FC236}">
                  <a16:creationId xmlns:a16="http://schemas.microsoft.com/office/drawing/2014/main" id="{1BF92A37-9218-45BB-8F37-FB268564E7ED}"/>
                </a:ext>
              </a:extLst>
            </p:cNvPr>
            <p:cNvGrpSpPr/>
            <p:nvPr/>
          </p:nvGrpSpPr>
          <p:grpSpPr>
            <a:xfrm>
              <a:off x="25215886" y="11842237"/>
              <a:ext cx="295642" cy="481054"/>
              <a:chOff x="25215886" y="11842237"/>
              <a:chExt cx="295642" cy="481054"/>
            </a:xfrm>
          </p:grpSpPr>
          <p:sp>
            <p:nvSpPr>
              <p:cNvPr id="180" name="任意多边形: 形状 179">
                <a:extLst>
                  <a:ext uri="{FF2B5EF4-FFF2-40B4-BE49-F238E27FC236}">
                    <a16:creationId xmlns:a16="http://schemas.microsoft.com/office/drawing/2014/main" id="{8D05FED9-19F8-4F4D-B5D2-D11594EF645B}"/>
                  </a:ext>
                </a:extLst>
              </p:cNvPr>
              <p:cNvSpPr/>
              <p:nvPr/>
            </p:nvSpPr>
            <p:spPr>
              <a:xfrm>
                <a:off x="25307859" y="11914639"/>
                <a:ext cx="203669" cy="408652"/>
              </a:xfrm>
              <a:custGeom>
                <a:avLst/>
                <a:gdLst>
                  <a:gd name="connsiteX0" fmla="*/ 16630 w 203669"/>
                  <a:gd name="connsiteY0" fmla="*/ 60335 h 408652"/>
                  <a:gd name="connsiteX1" fmla="*/ 31714 w 203669"/>
                  <a:gd name="connsiteY1" fmla="*/ 259442 h 408652"/>
                  <a:gd name="connsiteX2" fmla="*/ 101099 w 203669"/>
                  <a:gd name="connsiteY2" fmla="*/ 72403 h 408652"/>
                  <a:gd name="connsiteX3" fmla="*/ 119200 w 203669"/>
                  <a:gd name="connsiteY3" fmla="*/ 0 h 408652"/>
                  <a:gd name="connsiteX4" fmla="*/ 203669 w 203669"/>
                  <a:gd name="connsiteY4" fmla="*/ 63352 h 408652"/>
                  <a:gd name="connsiteX5" fmla="*/ 134284 w 203669"/>
                  <a:gd name="connsiteY5" fmla="*/ 292626 h 408652"/>
                  <a:gd name="connsiteX6" fmla="*/ 55847 w 203669"/>
                  <a:gd name="connsiteY6" fmla="*/ 404247 h 408652"/>
                  <a:gd name="connsiteX7" fmla="*/ 4562 w 203669"/>
                  <a:gd name="connsiteY7" fmla="*/ 377095 h 408652"/>
                  <a:gd name="connsiteX8" fmla="*/ 16630 w 203669"/>
                  <a:gd name="connsiteY8" fmla="*/ 60335 h 408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3669" h="408652">
                    <a:moveTo>
                      <a:pt x="16630" y="60335"/>
                    </a:moveTo>
                    <a:cubicBezTo>
                      <a:pt x="16630" y="60335"/>
                      <a:pt x="13614" y="265475"/>
                      <a:pt x="31714" y="259442"/>
                    </a:cubicBezTo>
                    <a:cubicBezTo>
                      <a:pt x="49814" y="256425"/>
                      <a:pt x="101099" y="72403"/>
                      <a:pt x="101099" y="72403"/>
                    </a:cubicBezTo>
                    <a:lnTo>
                      <a:pt x="119200" y="0"/>
                    </a:lnTo>
                    <a:cubicBezTo>
                      <a:pt x="119200" y="0"/>
                      <a:pt x="188586" y="42235"/>
                      <a:pt x="203669" y="63352"/>
                    </a:cubicBezTo>
                    <a:cubicBezTo>
                      <a:pt x="194619" y="141788"/>
                      <a:pt x="164452" y="226257"/>
                      <a:pt x="134284" y="292626"/>
                    </a:cubicBezTo>
                    <a:cubicBezTo>
                      <a:pt x="116183" y="334861"/>
                      <a:pt x="64897" y="401230"/>
                      <a:pt x="55847" y="404247"/>
                    </a:cubicBezTo>
                    <a:cubicBezTo>
                      <a:pt x="46797" y="410280"/>
                      <a:pt x="13614" y="416313"/>
                      <a:pt x="4562" y="377095"/>
                    </a:cubicBezTo>
                    <a:cubicBezTo>
                      <a:pt x="-10522" y="295643"/>
                      <a:pt x="16630" y="60335"/>
                      <a:pt x="16630" y="60335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1" name="任意多边形: 形状 180">
                <a:extLst>
                  <a:ext uri="{FF2B5EF4-FFF2-40B4-BE49-F238E27FC236}">
                    <a16:creationId xmlns:a16="http://schemas.microsoft.com/office/drawing/2014/main" id="{5ACBFF2B-71FC-41CC-954A-558610DCA27C}"/>
                  </a:ext>
                </a:extLst>
              </p:cNvPr>
              <p:cNvSpPr/>
              <p:nvPr/>
            </p:nvSpPr>
            <p:spPr>
              <a:xfrm>
                <a:off x="25215886" y="11842237"/>
                <a:ext cx="224470" cy="331877"/>
              </a:xfrm>
              <a:custGeom>
                <a:avLst/>
                <a:gdLst>
                  <a:gd name="connsiteX0" fmla="*/ 0 w 224470"/>
                  <a:gd name="connsiteY0" fmla="*/ 75419 h 331877"/>
                  <a:gd name="connsiteX1" fmla="*/ 108603 w 224470"/>
                  <a:gd name="connsiteY1" fmla="*/ 132737 h 331877"/>
                  <a:gd name="connsiteX2" fmla="*/ 123686 w 224470"/>
                  <a:gd name="connsiteY2" fmla="*/ 331844 h 331877"/>
                  <a:gd name="connsiteX3" fmla="*/ 223239 w 224470"/>
                  <a:gd name="connsiteY3" fmla="*/ 114637 h 331877"/>
                  <a:gd name="connsiteX4" fmla="*/ 211173 w 224470"/>
                  <a:gd name="connsiteY4" fmla="*/ 75419 h 331877"/>
                  <a:gd name="connsiteX5" fmla="*/ 102569 w 224470"/>
                  <a:gd name="connsiteY5" fmla="*/ 0 h 331877"/>
                  <a:gd name="connsiteX6" fmla="*/ 0 w 224470"/>
                  <a:gd name="connsiteY6" fmla="*/ 75419 h 331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4470" h="331877">
                    <a:moveTo>
                      <a:pt x="0" y="75419"/>
                    </a:moveTo>
                    <a:lnTo>
                      <a:pt x="108603" y="132737"/>
                    </a:lnTo>
                    <a:cubicBezTo>
                      <a:pt x="108603" y="132737"/>
                      <a:pt x="96535" y="334861"/>
                      <a:pt x="123686" y="331844"/>
                    </a:cubicBezTo>
                    <a:cubicBezTo>
                      <a:pt x="144804" y="331844"/>
                      <a:pt x="205139" y="187039"/>
                      <a:pt x="223239" y="114637"/>
                    </a:cubicBezTo>
                    <a:cubicBezTo>
                      <a:pt x="229273" y="90503"/>
                      <a:pt x="211173" y="75419"/>
                      <a:pt x="211173" y="75419"/>
                    </a:cubicBezTo>
                    <a:lnTo>
                      <a:pt x="102569" y="0"/>
                    </a:lnTo>
                    <a:lnTo>
                      <a:pt x="0" y="75419"/>
                    </a:ln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4D8BA12D-28D2-4763-ACCB-41D6AAA8035F}"/>
                </a:ext>
              </a:extLst>
            </p:cNvPr>
            <p:cNvSpPr/>
            <p:nvPr/>
          </p:nvSpPr>
          <p:spPr>
            <a:xfrm>
              <a:off x="23998950" y="9757655"/>
              <a:ext cx="1364755" cy="2476759"/>
            </a:xfrm>
            <a:custGeom>
              <a:avLst/>
              <a:gdLst>
                <a:gd name="connsiteX0" fmla="*/ 779506 w 1364755"/>
                <a:gd name="connsiteY0" fmla="*/ 0 h 2476759"/>
                <a:gd name="connsiteX1" fmla="*/ 118834 w 1364755"/>
                <a:gd name="connsiteY1" fmla="*/ 0 h 2476759"/>
                <a:gd name="connsiteX2" fmla="*/ 1180 w 1364755"/>
                <a:gd name="connsiteY2" fmla="*/ 455531 h 2476759"/>
                <a:gd name="connsiteX3" fmla="*/ 179170 w 1364755"/>
                <a:gd name="connsiteY3" fmla="*/ 2458659 h 2476759"/>
                <a:gd name="connsiteX4" fmla="*/ 375259 w 1364755"/>
                <a:gd name="connsiteY4" fmla="*/ 2476760 h 2476759"/>
                <a:gd name="connsiteX5" fmla="*/ 456712 w 1364755"/>
                <a:gd name="connsiteY5" fmla="*/ 802458 h 2476759"/>
                <a:gd name="connsiteX6" fmla="*/ 547215 w 1364755"/>
                <a:gd name="connsiteY6" fmla="*/ 1737654 h 2476759"/>
                <a:gd name="connsiteX7" fmla="*/ 1262187 w 1364755"/>
                <a:gd name="connsiteY7" fmla="*/ 2250503 h 2476759"/>
                <a:gd name="connsiteX8" fmla="*/ 1364756 w 1364755"/>
                <a:gd name="connsiteY8" fmla="*/ 2063464 h 2476759"/>
                <a:gd name="connsiteX9" fmla="*/ 876041 w 1364755"/>
                <a:gd name="connsiteY9" fmla="*/ 1638101 h 2476759"/>
                <a:gd name="connsiteX10" fmla="*/ 912242 w 1364755"/>
                <a:gd name="connsiteY10" fmla="*/ 410280 h 2476759"/>
                <a:gd name="connsiteX11" fmla="*/ 779506 w 1364755"/>
                <a:gd name="connsiteY11" fmla="*/ 0 h 2476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64755" h="2476759">
                  <a:moveTo>
                    <a:pt x="779506" y="0"/>
                  </a:moveTo>
                  <a:lnTo>
                    <a:pt x="118834" y="0"/>
                  </a:lnTo>
                  <a:cubicBezTo>
                    <a:pt x="118834" y="0"/>
                    <a:pt x="22298" y="301676"/>
                    <a:pt x="1180" y="455531"/>
                  </a:cubicBezTo>
                  <a:cubicBezTo>
                    <a:pt x="-16920" y="606369"/>
                    <a:pt x="179170" y="2458659"/>
                    <a:pt x="179170" y="2458659"/>
                  </a:cubicBezTo>
                  <a:lnTo>
                    <a:pt x="375259" y="2476760"/>
                  </a:lnTo>
                  <a:lnTo>
                    <a:pt x="456712" y="802458"/>
                  </a:lnTo>
                  <a:cubicBezTo>
                    <a:pt x="456712" y="802458"/>
                    <a:pt x="541181" y="1722570"/>
                    <a:pt x="547215" y="1737654"/>
                  </a:cubicBezTo>
                  <a:lnTo>
                    <a:pt x="1262187" y="2250503"/>
                  </a:lnTo>
                  <a:lnTo>
                    <a:pt x="1364756" y="2063464"/>
                  </a:lnTo>
                  <a:lnTo>
                    <a:pt x="876041" y="1638101"/>
                  </a:lnTo>
                  <a:cubicBezTo>
                    <a:pt x="876041" y="1638101"/>
                    <a:pt x="906208" y="473632"/>
                    <a:pt x="912242" y="410280"/>
                  </a:cubicBezTo>
                  <a:cubicBezTo>
                    <a:pt x="921292" y="292626"/>
                    <a:pt x="779506" y="0"/>
                    <a:pt x="779506" y="0"/>
                  </a:cubicBezTo>
                  <a:close/>
                </a:path>
              </a:pathLst>
            </a:custGeom>
            <a:solidFill>
              <a:srgbClr val="F6EBE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106FE4B2-4BEB-4A2D-BAA2-40F4D9EA2E32}"/>
                </a:ext>
              </a:extLst>
            </p:cNvPr>
            <p:cNvSpPr/>
            <p:nvPr/>
          </p:nvSpPr>
          <p:spPr>
            <a:xfrm>
              <a:off x="24410411" y="10143801"/>
              <a:ext cx="859022" cy="1876424"/>
            </a:xfrm>
            <a:custGeom>
              <a:avLst/>
              <a:gdLst>
                <a:gd name="connsiteX0" fmla="*/ 850727 w 859022"/>
                <a:gd name="connsiteY0" fmla="*/ 1873408 h 1876424"/>
                <a:gd name="connsiteX1" fmla="*/ 847709 w 859022"/>
                <a:gd name="connsiteY1" fmla="*/ 1873408 h 1876424"/>
                <a:gd name="connsiteX2" fmla="*/ 132736 w 859022"/>
                <a:gd name="connsiteY2" fmla="*/ 1360559 h 1876424"/>
                <a:gd name="connsiteX3" fmla="*/ 132736 w 859022"/>
                <a:gd name="connsiteY3" fmla="*/ 1357542 h 1876424"/>
                <a:gd name="connsiteX4" fmla="*/ 42234 w 859022"/>
                <a:gd name="connsiteY4" fmla="*/ 419329 h 1876424"/>
                <a:gd name="connsiteX5" fmla="*/ 0 w 859022"/>
                <a:gd name="connsiteY5" fmla="*/ 6033 h 1876424"/>
                <a:gd name="connsiteX6" fmla="*/ 6034 w 859022"/>
                <a:gd name="connsiteY6" fmla="*/ 0 h 1876424"/>
                <a:gd name="connsiteX7" fmla="*/ 12066 w 859022"/>
                <a:gd name="connsiteY7" fmla="*/ 6033 h 1876424"/>
                <a:gd name="connsiteX8" fmla="*/ 54301 w 859022"/>
                <a:gd name="connsiteY8" fmla="*/ 419329 h 1876424"/>
                <a:gd name="connsiteX9" fmla="*/ 144804 w 859022"/>
                <a:gd name="connsiteY9" fmla="*/ 1354525 h 1876424"/>
                <a:gd name="connsiteX10" fmla="*/ 856759 w 859022"/>
                <a:gd name="connsiteY10" fmla="*/ 1867374 h 1876424"/>
                <a:gd name="connsiteX11" fmla="*/ 856759 w 859022"/>
                <a:gd name="connsiteY11" fmla="*/ 1876424 h 1876424"/>
                <a:gd name="connsiteX12" fmla="*/ 850727 w 859022"/>
                <a:gd name="connsiteY12" fmla="*/ 1873408 h 1876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9022" h="1876424">
                  <a:moveTo>
                    <a:pt x="850727" y="1873408"/>
                  </a:moveTo>
                  <a:cubicBezTo>
                    <a:pt x="850727" y="1873408"/>
                    <a:pt x="847709" y="1873408"/>
                    <a:pt x="847709" y="1873408"/>
                  </a:cubicBezTo>
                  <a:lnTo>
                    <a:pt x="132736" y="1360559"/>
                  </a:lnTo>
                  <a:lnTo>
                    <a:pt x="132736" y="1357542"/>
                  </a:lnTo>
                  <a:cubicBezTo>
                    <a:pt x="126704" y="1339441"/>
                    <a:pt x="51285" y="512849"/>
                    <a:pt x="42234" y="419329"/>
                  </a:cubicBezTo>
                  <a:lnTo>
                    <a:pt x="0" y="6033"/>
                  </a:lnTo>
                  <a:cubicBezTo>
                    <a:pt x="0" y="3017"/>
                    <a:pt x="3016" y="0"/>
                    <a:pt x="6034" y="0"/>
                  </a:cubicBezTo>
                  <a:cubicBezTo>
                    <a:pt x="9050" y="0"/>
                    <a:pt x="12066" y="3017"/>
                    <a:pt x="12066" y="6033"/>
                  </a:cubicBezTo>
                  <a:lnTo>
                    <a:pt x="54301" y="419329"/>
                  </a:lnTo>
                  <a:cubicBezTo>
                    <a:pt x="81453" y="730055"/>
                    <a:pt x="135754" y="1315308"/>
                    <a:pt x="144804" y="1354525"/>
                  </a:cubicBezTo>
                  <a:lnTo>
                    <a:pt x="856759" y="1867374"/>
                  </a:lnTo>
                  <a:cubicBezTo>
                    <a:pt x="859777" y="1870391"/>
                    <a:pt x="859777" y="1873408"/>
                    <a:pt x="856759" y="1876424"/>
                  </a:cubicBezTo>
                  <a:cubicBezTo>
                    <a:pt x="853743" y="1873408"/>
                    <a:pt x="853743" y="1873408"/>
                    <a:pt x="850727" y="1873408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FA52F3D3-ACAF-46C2-AC33-3274877A81B5}"/>
                </a:ext>
              </a:extLst>
            </p:cNvPr>
            <p:cNvSpPr/>
            <p:nvPr/>
          </p:nvSpPr>
          <p:spPr>
            <a:xfrm>
              <a:off x="24727171" y="9911510"/>
              <a:ext cx="179237" cy="187039"/>
            </a:xfrm>
            <a:custGeom>
              <a:avLst/>
              <a:gdLst>
                <a:gd name="connsiteX0" fmla="*/ 174972 w 179237"/>
                <a:gd name="connsiteY0" fmla="*/ 187039 h 187039"/>
                <a:gd name="connsiteX1" fmla="*/ 174972 w 179237"/>
                <a:gd name="connsiteY1" fmla="*/ 187039 h 187039"/>
                <a:gd name="connsiteX2" fmla="*/ 0 w 179237"/>
                <a:gd name="connsiteY2" fmla="*/ 6034 h 187039"/>
                <a:gd name="connsiteX3" fmla="*/ 3016 w 179237"/>
                <a:gd name="connsiteY3" fmla="*/ 0 h 187039"/>
                <a:gd name="connsiteX4" fmla="*/ 9050 w 179237"/>
                <a:gd name="connsiteY4" fmla="*/ 3017 h 187039"/>
                <a:gd name="connsiteX5" fmla="*/ 174972 w 179237"/>
                <a:gd name="connsiteY5" fmla="*/ 177989 h 187039"/>
                <a:gd name="connsiteX6" fmla="*/ 177988 w 179237"/>
                <a:gd name="connsiteY6" fmla="*/ 184023 h 187039"/>
                <a:gd name="connsiteX7" fmla="*/ 174972 w 179237"/>
                <a:gd name="connsiteY7" fmla="*/ 187039 h 187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7" h="187039">
                  <a:moveTo>
                    <a:pt x="174972" y="187039"/>
                  </a:moveTo>
                  <a:cubicBezTo>
                    <a:pt x="174972" y="187039"/>
                    <a:pt x="174972" y="187039"/>
                    <a:pt x="174972" y="187039"/>
                  </a:cubicBezTo>
                  <a:cubicBezTo>
                    <a:pt x="57317" y="153855"/>
                    <a:pt x="3016" y="12067"/>
                    <a:pt x="0" y="6034"/>
                  </a:cubicBezTo>
                  <a:cubicBezTo>
                    <a:pt x="0" y="3017"/>
                    <a:pt x="0" y="0"/>
                    <a:pt x="3016" y="0"/>
                  </a:cubicBezTo>
                  <a:cubicBezTo>
                    <a:pt x="6034" y="0"/>
                    <a:pt x="9050" y="0"/>
                    <a:pt x="9050" y="3017"/>
                  </a:cubicBezTo>
                  <a:cubicBezTo>
                    <a:pt x="9050" y="3017"/>
                    <a:pt x="63351" y="147821"/>
                    <a:pt x="174972" y="177989"/>
                  </a:cubicBezTo>
                  <a:cubicBezTo>
                    <a:pt x="177988" y="177989"/>
                    <a:pt x="181006" y="181006"/>
                    <a:pt x="177988" y="184023"/>
                  </a:cubicBezTo>
                  <a:cubicBezTo>
                    <a:pt x="181006" y="187039"/>
                    <a:pt x="177988" y="187039"/>
                    <a:pt x="174972" y="187039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50767F2C-2355-45BD-9CC0-924E2B3F188F}"/>
                </a:ext>
              </a:extLst>
            </p:cNvPr>
            <p:cNvSpPr/>
            <p:nvPr/>
          </p:nvSpPr>
          <p:spPr>
            <a:xfrm>
              <a:off x="24015214" y="9911510"/>
              <a:ext cx="171955" cy="190056"/>
            </a:xfrm>
            <a:custGeom>
              <a:avLst/>
              <a:gdLst>
                <a:gd name="connsiteX0" fmla="*/ 6034 w 171955"/>
                <a:gd name="connsiteY0" fmla="*/ 190056 h 190056"/>
                <a:gd name="connsiteX1" fmla="*/ 0 w 171955"/>
                <a:gd name="connsiteY1" fmla="*/ 187039 h 190056"/>
                <a:gd name="connsiteX2" fmla="*/ 3018 w 171955"/>
                <a:gd name="connsiteY2" fmla="*/ 181006 h 190056"/>
                <a:gd name="connsiteX3" fmla="*/ 159890 w 171955"/>
                <a:gd name="connsiteY3" fmla="*/ 3017 h 190056"/>
                <a:gd name="connsiteX4" fmla="*/ 168940 w 171955"/>
                <a:gd name="connsiteY4" fmla="*/ 0 h 190056"/>
                <a:gd name="connsiteX5" fmla="*/ 171956 w 171955"/>
                <a:gd name="connsiteY5" fmla="*/ 9051 h 190056"/>
                <a:gd name="connsiteX6" fmla="*/ 6034 w 171955"/>
                <a:gd name="connsiteY6" fmla="*/ 190056 h 190056"/>
                <a:gd name="connsiteX7" fmla="*/ 6034 w 171955"/>
                <a:gd name="connsiteY7" fmla="*/ 190056 h 190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55" h="190056">
                  <a:moveTo>
                    <a:pt x="6034" y="190056"/>
                  </a:moveTo>
                  <a:cubicBezTo>
                    <a:pt x="3018" y="190056"/>
                    <a:pt x="3018" y="190056"/>
                    <a:pt x="0" y="187039"/>
                  </a:cubicBezTo>
                  <a:cubicBezTo>
                    <a:pt x="0" y="184023"/>
                    <a:pt x="0" y="181006"/>
                    <a:pt x="3018" y="181006"/>
                  </a:cubicBezTo>
                  <a:cubicBezTo>
                    <a:pt x="81453" y="150838"/>
                    <a:pt x="159890" y="3017"/>
                    <a:pt x="159890" y="3017"/>
                  </a:cubicBezTo>
                  <a:cubicBezTo>
                    <a:pt x="159890" y="0"/>
                    <a:pt x="165922" y="0"/>
                    <a:pt x="168940" y="0"/>
                  </a:cubicBezTo>
                  <a:cubicBezTo>
                    <a:pt x="171956" y="0"/>
                    <a:pt x="171956" y="6034"/>
                    <a:pt x="171956" y="9051"/>
                  </a:cubicBezTo>
                  <a:cubicBezTo>
                    <a:pt x="168940" y="12067"/>
                    <a:pt x="90503" y="156872"/>
                    <a:pt x="6034" y="190056"/>
                  </a:cubicBezTo>
                  <a:cubicBezTo>
                    <a:pt x="9052" y="190056"/>
                    <a:pt x="9052" y="190056"/>
                    <a:pt x="6034" y="190056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E7475B1D-B891-4265-AFDE-FBAAAB0B3BB4}"/>
                </a:ext>
              </a:extLst>
            </p:cNvPr>
            <p:cNvSpPr/>
            <p:nvPr/>
          </p:nvSpPr>
          <p:spPr>
            <a:xfrm>
              <a:off x="23308189" y="8979259"/>
              <a:ext cx="804017" cy="781931"/>
            </a:xfrm>
            <a:custGeom>
              <a:avLst/>
              <a:gdLst>
                <a:gd name="connsiteX0" fmla="*/ 616522 w 804017"/>
                <a:gd name="connsiteY0" fmla="*/ 45324 h 781931"/>
                <a:gd name="connsiteX1" fmla="*/ 435517 w 804017"/>
                <a:gd name="connsiteY1" fmla="*/ 588341 h 781931"/>
                <a:gd name="connsiteX2" fmla="*/ 4121 w 804017"/>
                <a:gd name="connsiteY2" fmla="*/ 654710 h 781931"/>
                <a:gd name="connsiteX3" fmla="*/ 67474 w 804017"/>
                <a:gd name="connsiteY3" fmla="*/ 733145 h 781931"/>
                <a:gd name="connsiteX4" fmla="*/ 523004 w 804017"/>
                <a:gd name="connsiteY4" fmla="*/ 763312 h 781931"/>
                <a:gd name="connsiteX5" fmla="*/ 800546 w 804017"/>
                <a:gd name="connsiteY5" fmla="*/ 253480 h 781931"/>
                <a:gd name="connsiteX6" fmla="*/ 616522 w 804017"/>
                <a:gd name="connsiteY6" fmla="*/ 45324 h 781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4017" h="781931">
                  <a:moveTo>
                    <a:pt x="616522" y="45324"/>
                  </a:moveTo>
                  <a:cubicBezTo>
                    <a:pt x="568255" y="147893"/>
                    <a:pt x="435517" y="588341"/>
                    <a:pt x="435517" y="588341"/>
                  </a:cubicBezTo>
                  <a:cubicBezTo>
                    <a:pt x="435517" y="588341"/>
                    <a:pt x="4121" y="648676"/>
                    <a:pt x="4121" y="654710"/>
                  </a:cubicBezTo>
                  <a:cubicBezTo>
                    <a:pt x="-13979" y="721078"/>
                    <a:pt x="31272" y="724095"/>
                    <a:pt x="67474" y="733145"/>
                  </a:cubicBezTo>
                  <a:cubicBezTo>
                    <a:pt x="76524" y="736162"/>
                    <a:pt x="275629" y="817615"/>
                    <a:pt x="523004" y="763312"/>
                  </a:cubicBezTo>
                  <a:cubicBezTo>
                    <a:pt x="589373" y="748228"/>
                    <a:pt x="746245" y="395268"/>
                    <a:pt x="800546" y="253480"/>
                  </a:cubicBezTo>
                  <a:cubicBezTo>
                    <a:pt x="827696" y="172028"/>
                    <a:pt x="688925" y="-108531"/>
                    <a:pt x="616522" y="45324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5F4DB519-5514-419E-8580-3980ED56BFB8}"/>
                </a:ext>
              </a:extLst>
            </p:cNvPr>
            <p:cNvSpPr/>
            <p:nvPr/>
          </p:nvSpPr>
          <p:spPr>
            <a:xfrm>
              <a:off x="24196220" y="8489748"/>
              <a:ext cx="147821" cy="202991"/>
            </a:xfrm>
            <a:custGeom>
              <a:avLst/>
              <a:gdLst>
                <a:gd name="connsiteX0" fmla="*/ 0 w 147821"/>
                <a:gd name="connsiteY0" fmla="*/ 869 h 202991"/>
                <a:gd name="connsiteX1" fmla="*/ 39219 w 147821"/>
                <a:gd name="connsiteY1" fmla="*/ 187908 h 202991"/>
                <a:gd name="connsiteX2" fmla="*/ 102571 w 147821"/>
                <a:gd name="connsiteY2" fmla="*/ 202991 h 202991"/>
                <a:gd name="connsiteX3" fmla="*/ 147822 w 147821"/>
                <a:gd name="connsiteY3" fmla="*/ 106455 h 202991"/>
                <a:gd name="connsiteX4" fmla="*/ 0 w 147821"/>
                <a:gd name="connsiteY4" fmla="*/ 869 h 20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821" h="202991">
                  <a:moveTo>
                    <a:pt x="0" y="869"/>
                  </a:moveTo>
                  <a:lnTo>
                    <a:pt x="39219" y="187908"/>
                  </a:lnTo>
                  <a:lnTo>
                    <a:pt x="102571" y="202991"/>
                  </a:lnTo>
                  <a:lnTo>
                    <a:pt x="147822" y="106455"/>
                  </a:lnTo>
                  <a:cubicBezTo>
                    <a:pt x="147822" y="106455"/>
                    <a:pt x="96537" y="-11199"/>
                    <a:pt x="0" y="869"/>
                  </a:cubicBezTo>
                  <a:close/>
                </a:path>
              </a:pathLst>
            </a:custGeom>
            <a:solidFill>
              <a:srgbClr val="F1DDBA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9EB31307-D2DB-448A-84AE-5CB89847DAF7}"/>
                </a:ext>
              </a:extLst>
            </p:cNvPr>
            <p:cNvSpPr/>
            <p:nvPr/>
          </p:nvSpPr>
          <p:spPr>
            <a:xfrm>
              <a:off x="24491864" y="8336762"/>
              <a:ext cx="244356" cy="362011"/>
            </a:xfrm>
            <a:custGeom>
              <a:avLst/>
              <a:gdLst>
                <a:gd name="connsiteX0" fmla="*/ 244357 w 244356"/>
                <a:gd name="connsiteY0" fmla="*/ 0 h 362011"/>
                <a:gd name="connsiteX1" fmla="*/ 123686 w 244356"/>
                <a:gd name="connsiteY1" fmla="*/ 355978 h 362011"/>
                <a:gd name="connsiteX2" fmla="*/ 45251 w 244356"/>
                <a:gd name="connsiteY2" fmla="*/ 362011 h 362011"/>
                <a:gd name="connsiteX3" fmla="*/ 0 w 244356"/>
                <a:gd name="connsiteY3" fmla="*/ 247374 h 362011"/>
                <a:gd name="connsiteX4" fmla="*/ 90503 w 244356"/>
                <a:gd name="connsiteY4" fmla="*/ 111620 h 362011"/>
                <a:gd name="connsiteX5" fmla="*/ 244357 w 244356"/>
                <a:gd name="connsiteY5" fmla="*/ 0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4356" h="362011">
                  <a:moveTo>
                    <a:pt x="244357" y="0"/>
                  </a:moveTo>
                  <a:cubicBezTo>
                    <a:pt x="244357" y="0"/>
                    <a:pt x="244357" y="181006"/>
                    <a:pt x="123686" y="355978"/>
                  </a:cubicBezTo>
                  <a:lnTo>
                    <a:pt x="45251" y="362011"/>
                  </a:lnTo>
                  <a:lnTo>
                    <a:pt x="0" y="247374"/>
                  </a:lnTo>
                  <a:lnTo>
                    <a:pt x="90503" y="111620"/>
                  </a:lnTo>
                  <a:lnTo>
                    <a:pt x="244357" y="0"/>
                  </a:lnTo>
                  <a:close/>
                </a:path>
              </a:pathLst>
            </a:custGeom>
            <a:solidFill>
              <a:srgbClr val="F1DDBA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6F6F0DCA-8863-49E2-98AF-2C1EFFEBCE3F}"/>
                </a:ext>
              </a:extLst>
            </p:cNvPr>
            <p:cNvSpPr/>
            <p:nvPr/>
          </p:nvSpPr>
          <p:spPr>
            <a:xfrm>
              <a:off x="23861360" y="8780229"/>
              <a:ext cx="397794" cy="416309"/>
            </a:xfrm>
            <a:custGeom>
              <a:avLst/>
              <a:gdLst>
                <a:gd name="connsiteX0" fmla="*/ 346927 w 397794"/>
                <a:gd name="connsiteY0" fmla="*/ 416309 h 416309"/>
                <a:gd name="connsiteX1" fmla="*/ 340894 w 397794"/>
                <a:gd name="connsiteY1" fmla="*/ 15080 h 416309"/>
                <a:gd name="connsiteX2" fmla="*/ 0 w 397794"/>
                <a:gd name="connsiteY2" fmla="*/ 289606 h 416309"/>
                <a:gd name="connsiteX3" fmla="*/ 346927 w 397794"/>
                <a:gd name="connsiteY3" fmla="*/ 416309 h 416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794" h="416309">
                  <a:moveTo>
                    <a:pt x="346927" y="416309"/>
                  </a:moveTo>
                  <a:cubicBezTo>
                    <a:pt x="428380" y="253404"/>
                    <a:pt x="401229" y="63349"/>
                    <a:pt x="340894" y="15080"/>
                  </a:cubicBezTo>
                  <a:cubicBezTo>
                    <a:pt x="259441" y="-48272"/>
                    <a:pt x="69385" y="96533"/>
                    <a:pt x="0" y="289606"/>
                  </a:cubicBezTo>
                  <a:cubicBezTo>
                    <a:pt x="42235" y="352958"/>
                    <a:pt x="247375" y="404242"/>
                    <a:pt x="346927" y="416309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10D83293-843E-4BE5-A766-D05AA1C6726B}"/>
                </a:ext>
              </a:extLst>
            </p:cNvPr>
            <p:cNvSpPr/>
            <p:nvPr/>
          </p:nvSpPr>
          <p:spPr>
            <a:xfrm>
              <a:off x="23995194" y="8730556"/>
              <a:ext cx="811961" cy="975903"/>
            </a:xfrm>
            <a:custGeom>
              <a:avLst/>
              <a:gdLst>
                <a:gd name="connsiteX0" fmla="*/ 768178 w 811961"/>
                <a:gd name="connsiteY0" fmla="*/ 387547 h 975903"/>
                <a:gd name="connsiteX1" fmla="*/ 753095 w 811961"/>
                <a:gd name="connsiteY1" fmla="*/ 67770 h 975903"/>
                <a:gd name="connsiteX2" fmla="*/ 388066 w 811961"/>
                <a:gd name="connsiteY2" fmla="*/ 4418 h 975903"/>
                <a:gd name="connsiteX3" fmla="*/ 89407 w 811961"/>
                <a:gd name="connsiteY3" fmla="*/ 103971 h 975903"/>
                <a:gd name="connsiteX4" fmla="*/ 50188 w 811961"/>
                <a:gd name="connsiteY4" fmla="*/ 646988 h 975903"/>
                <a:gd name="connsiteX5" fmla="*/ 92423 w 811961"/>
                <a:gd name="connsiteY5" fmla="*/ 969781 h 975903"/>
                <a:gd name="connsiteX6" fmla="*/ 762145 w 811961"/>
                <a:gd name="connsiteY6" fmla="*/ 954697 h 975903"/>
                <a:gd name="connsiteX7" fmla="*/ 768178 w 811961"/>
                <a:gd name="connsiteY7" fmla="*/ 387547 h 97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1961" h="975903">
                  <a:moveTo>
                    <a:pt x="768178" y="387547"/>
                  </a:moveTo>
                  <a:cubicBezTo>
                    <a:pt x="777228" y="357379"/>
                    <a:pt x="870747" y="131122"/>
                    <a:pt x="753095" y="67770"/>
                  </a:cubicBezTo>
                  <a:cubicBezTo>
                    <a:pt x="650524" y="13468"/>
                    <a:pt x="505720" y="-10666"/>
                    <a:pt x="388066" y="4418"/>
                  </a:cubicBezTo>
                  <a:cubicBezTo>
                    <a:pt x="258345" y="19501"/>
                    <a:pt x="128625" y="40619"/>
                    <a:pt x="89407" y="103971"/>
                  </a:cubicBezTo>
                  <a:cubicBezTo>
                    <a:pt x="-22213" y="287993"/>
                    <a:pt x="-22213" y="450898"/>
                    <a:pt x="50188" y="646988"/>
                  </a:cubicBezTo>
                  <a:cubicBezTo>
                    <a:pt x="71306" y="704306"/>
                    <a:pt x="77340" y="837044"/>
                    <a:pt x="92423" y="969781"/>
                  </a:cubicBezTo>
                  <a:cubicBezTo>
                    <a:pt x="92423" y="969781"/>
                    <a:pt x="372982" y="990899"/>
                    <a:pt x="762145" y="954697"/>
                  </a:cubicBezTo>
                  <a:cubicBezTo>
                    <a:pt x="734993" y="737491"/>
                    <a:pt x="762145" y="408664"/>
                    <a:pt x="768178" y="387547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14C72484-94E4-4B7B-BAD5-8803B4C6ACCE}"/>
                </a:ext>
              </a:extLst>
            </p:cNvPr>
            <p:cNvSpPr/>
            <p:nvPr/>
          </p:nvSpPr>
          <p:spPr>
            <a:xfrm>
              <a:off x="24155546" y="8044468"/>
              <a:ext cx="318598" cy="583582"/>
            </a:xfrm>
            <a:custGeom>
              <a:avLst/>
              <a:gdLst>
                <a:gd name="connsiteX0" fmla="*/ 233747 w 318598"/>
                <a:gd name="connsiteY0" fmla="*/ 316428 h 583582"/>
                <a:gd name="connsiteX1" fmla="*/ 282014 w 318598"/>
                <a:gd name="connsiteY1" fmla="*/ 174641 h 583582"/>
                <a:gd name="connsiteX2" fmla="*/ 318216 w 318598"/>
                <a:gd name="connsiteY2" fmla="*/ 8719 h 583582"/>
                <a:gd name="connsiteX3" fmla="*/ 1456 w 318598"/>
                <a:gd name="connsiteY3" fmla="*/ 228942 h 583582"/>
                <a:gd name="connsiteX4" fmla="*/ 176428 w 318598"/>
                <a:gd name="connsiteY4" fmla="*/ 569836 h 583582"/>
                <a:gd name="connsiteX5" fmla="*/ 233747 w 318598"/>
                <a:gd name="connsiteY5" fmla="*/ 316428 h 583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8598" h="583582">
                  <a:moveTo>
                    <a:pt x="233747" y="316428"/>
                  </a:moveTo>
                  <a:cubicBezTo>
                    <a:pt x="242797" y="265143"/>
                    <a:pt x="257881" y="219892"/>
                    <a:pt x="282014" y="174641"/>
                  </a:cubicBezTo>
                  <a:cubicBezTo>
                    <a:pt x="306150" y="126372"/>
                    <a:pt x="321234" y="8719"/>
                    <a:pt x="318216" y="8719"/>
                  </a:cubicBezTo>
                  <a:cubicBezTo>
                    <a:pt x="206595" y="-30499"/>
                    <a:pt x="22574" y="66037"/>
                    <a:pt x="1456" y="228942"/>
                  </a:cubicBezTo>
                  <a:cubicBezTo>
                    <a:pt x="-7594" y="295311"/>
                    <a:pt x="22574" y="542685"/>
                    <a:pt x="176428" y="569836"/>
                  </a:cubicBezTo>
                  <a:cubicBezTo>
                    <a:pt x="272964" y="648272"/>
                    <a:pt x="224697" y="367713"/>
                    <a:pt x="233747" y="316428"/>
                  </a:cubicBezTo>
                  <a:close/>
                </a:path>
              </a:pathLst>
            </a:custGeom>
            <a:solidFill>
              <a:srgbClr val="F1DDBA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0DA61905-517A-43BB-A780-C27E2B051916}"/>
                </a:ext>
              </a:extLst>
            </p:cNvPr>
            <p:cNvSpPr/>
            <p:nvPr/>
          </p:nvSpPr>
          <p:spPr>
            <a:xfrm>
              <a:off x="24221525" y="8100574"/>
              <a:ext cx="418159" cy="562314"/>
            </a:xfrm>
            <a:custGeom>
              <a:avLst/>
              <a:gdLst>
                <a:gd name="connsiteX0" fmla="*/ 7881 w 418159"/>
                <a:gd name="connsiteY0" fmla="*/ 181886 h 562314"/>
                <a:gd name="connsiteX1" fmla="*/ 19947 w 418159"/>
                <a:gd name="connsiteY1" fmla="*/ 435294 h 562314"/>
                <a:gd name="connsiteX2" fmla="*/ 167768 w 418159"/>
                <a:gd name="connsiteY2" fmla="*/ 561998 h 562314"/>
                <a:gd name="connsiteX3" fmla="*/ 381958 w 418159"/>
                <a:gd name="connsiteY3" fmla="*/ 420210 h 562314"/>
                <a:gd name="connsiteX4" fmla="*/ 418159 w 418159"/>
                <a:gd name="connsiteY4" fmla="*/ 196970 h 562314"/>
                <a:gd name="connsiteX5" fmla="*/ 206986 w 418159"/>
                <a:gd name="connsiteY5" fmla="*/ 880 h 562314"/>
                <a:gd name="connsiteX6" fmla="*/ 7881 w 418159"/>
                <a:gd name="connsiteY6" fmla="*/ 181886 h 562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159" h="562314">
                  <a:moveTo>
                    <a:pt x="7881" y="181886"/>
                  </a:moveTo>
                  <a:cubicBezTo>
                    <a:pt x="7881" y="181886"/>
                    <a:pt x="-16253" y="368925"/>
                    <a:pt x="19947" y="435294"/>
                  </a:cubicBezTo>
                  <a:cubicBezTo>
                    <a:pt x="56148" y="501663"/>
                    <a:pt x="116483" y="558981"/>
                    <a:pt x="167768" y="561998"/>
                  </a:cubicBezTo>
                  <a:cubicBezTo>
                    <a:pt x="234138" y="568031"/>
                    <a:pt x="345758" y="486579"/>
                    <a:pt x="381958" y="420210"/>
                  </a:cubicBezTo>
                  <a:cubicBezTo>
                    <a:pt x="418159" y="353842"/>
                    <a:pt x="418159" y="248255"/>
                    <a:pt x="418159" y="196970"/>
                  </a:cubicBezTo>
                  <a:cubicBezTo>
                    <a:pt x="415143" y="103450"/>
                    <a:pt x="387992" y="25015"/>
                    <a:pt x="206986" y="880"/>
                  </a:cubicBezTo>
                  <a:cubicBezTo>
                    <a:pt x="119501" y="-11186"/>
                    <a:pt x="25980" y="103450"/>
                    <a:pt x="7881" y="181886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6AF43D71-1478-475E-A9C8-F5DAC586FCE3}"/>
                </a:ext>
              </a:extLst>
            </p:cNvPr>
            <p:cNvSpPr/>
            <p:nvPr/>
          </p:nvSpPr>
          <p:spPr>
            <a:xfrm>
              <a:off x="24356110" y="8365680"/>
              <a:ext cx="54301" cy="130970"/>
            </a:xfrm>
            <a:custGeom>
              <a:avLst/>
              <a:gdLst>
                <a:gd name="connsiteX0" fmla="*/ 30168 w 54301"/>
                <a:gd name="connsiteY0" fmla="*/ 130970 h 130970"/>
                <a:gd name="connsiteX1" fmla="*/ 6032 w 54301"/>
                <a:gd name="connsiteY1" fmla="*/ 124937 h 130970"/>
                <a:gd name="connsiteX2" fmla="*/ 0 w 54301"/>
                <a:gd name="connsiteY2" fmla="*/ 112869 h 130970"/>
                <a:gd name="connsiteX3" fmla="*/ 27150 w 54301"/>
                <a:gd name="connsiteY3" fmla="*/ 4266 h 130970"/>
                <a:gd name="connsiteX4" fmla="*/ 33184 w 54301"/>
                <a:gd name="connsiteY4" fmla="*/ 1249 h 130970"/>
                <a:gd name="connsiteX5" fmla="*/ 36200 w 54301"/>
                <a:gd name="connsiteY5" fmla="*/ 7283 h 130970"/>
                <a:gd name="connsiteX6" fmla="*/ 9050 w 54301"/>
                <a:gd name="connsiteY6" fmla="*/ 112869 h 130970"/>
                <a:gd name="connsiteX7" fmla="*/ 9050 w 54301"/>
                <a:gd name="connsiteY7" fmla="*/ 115886 h 130970"/>
                <a:gd name="connsiteX8" fmla="*/ 48267 w 54301"/>
                <a:gd name="connsiteY8" fmla="*/ 115886 h 130970"/>
                <a:gd name="connsiteX9" fmla="*/ 54301 w 54301"/>
                <a:gd name="connsiteY9" fmla="*/ 121920 h 130970"/>
                <a:gd name="connsiteX10" fmla="*/ 48267 w 54301"/>
                <a:gd name="connsiteY10" fmla="*/ 127953 h 130970"/>
                <a:gd name="connsiteX11" fmla="*/ 30168 w 54301"/>
                <a:gd name="connsiteY11" fmla="*/ 130970 h 13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301" h="130970">
                  <a:moveTo>
                    <a:pt x="30168" y="130970"/>
                  </a:moveTo>
                  <a:cubicBezTo>
                    <a:pt x="21116" y="130970"/>
                    <a:pt x="12066" y="130970"/>
                    <a:pt x="6032" y="124937"/>
                  </a:cubicBezTo>
                  <a:cubicBezTo>
                    <a:pt x="3016" y="121920"/>
                    <a:pt x="0" y="118903"/>
                    <a:pt x="0" y="112869"/>
                  </a:cubicBezTo>
                  <a:cubicBezTo>
                    <a:pt x="0" y="91752"/>
                    <a:pt x="27150" y="7283"/>
                    <a:pt x="27150" y="4266"/>
                  </a:cubicBezTo>
                  <a:cubicBezTo>
                    <a:pt x="27150" y="1249"/>
                    <a:pt x="30168" y="-1767"/>
                    <a:pt x="33184" y="1249"/>
                  </a:cubicBezTo>
                  <a:cubicBezTo>
                    <a:pt x="36200" y="1249"/>
                    <a:pt x="39218" y="4266"/>
                    <a:pt x="36200" y="7283"/>
                  </a:cubicBezTo>
                  <a:cubicBezTo>
                    <a:pt x="30168" y="31417"/>
                    <a:pt x="9050" y="94769"/>
                    <a:pt x="9050" y="112869"/>
                  </a:cubicBezTo>
                  <a:cubicBezTo>
                    <a:pt x="9050" y="112869"/>
                    <a:pt x="9050" y="115886"/>
                    <a:pt x="9050" y="115886"/>
                  </a:cubicBezTo>
                  <a:cubicBezTo>
                    <a:pt x="15084" y="121920"/>
                    <a:pt x="36200" y="118903"/>
                    <a:pt x="48267" y="115886"/>
                  </a:cubicBezTo>
                  <a:cubicBezTo>
                    <a:pt x="51283" y="115886"/>
                    <a:pt x="54301" y="115886"/>
                    <a:pt x="54301" y="121920"/>
                  </a:cubicBezTo>
                  <a:cubicBezTo>
                    <a:pt x="54301" y="124937"/>
                    <a:pt x="54301" y="127953"/>
                    <a:pt x="48267" y="127953"/>
                  </a:cubicBezTo>
                  <a:cubicBezTo>
                    <a:pt x="51283" y="127953"/>
                    <a:pt x="42234" y="130970"/>
                    <a:pt x="30168" y="130970"/>
                  </a:cubicBezTo>
                  <a:close/>
                </a:path>
              </a:pathLst>
            </a:custGeom>
            <a:solidFill>
              <a:srgbClr val="E58777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270B6E30-0B33-471F-97B4-24BA42C62D35}"/>
                </a:ext>
              </a:extLst>
            </p:cNvPr>
            <p:cNvSpPr/>
            <p:nvPr/>
          </p:nvSpPr>
          <p:spPr>
            <a:xfrm>
              <a:off x="24338008" y="8544919"/>
              <a:ext cx="105586" cy="54301"/>
            </a:xfrm>
            <a:custGeom>
              <a:avLst/>
              <a:gdLst>
                <a:gd name="connsiteX0" fmla="*/ 105587 w 105586"/>
                <a:gd name="connsiteY0" fmla="*/ 0 h 54301"/>
                <a:gd name="connsiteX1" fmla="*/ 0 w 105586"/>
                <a:gd name="connsiteY1" fmla="*/ 0 h 54301"/>
                <a:gd name="connsiteX2" fmla="*/ 51285 w 105586"/>
                <a:gd name="connsiteY2" fmla="*/ 54301 h 54301"/>
                <a:gd name="connsiteX3" fmla="*/ 105587 w 105586"/>
                <a:gd name="connsiteY3" fmla="*/ 0 h 5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586" h="54301">
                  <a:moveTo>
                    <a:pt x="105587" y="0"/>
                  </a:moveTo>
                  <a:cubicBezTo>
                    <a:pt x="51285" y="24134"/>
                    <a:pt x="0" y="0"/>
                    <a:pt x="0" y="0"/>
                  </a:cubicBezTo>
                  <a:cubicBezTo>
                    <a:pt x="0" y="0"/>
                    <a:pt x="15084" y="54301"/>
                    <a:pt x="51285" y="54301"/>
                  </a:cubicBezTo>
                  <a:cubicBezTo>
                    <a:pt x="93521" y="54301"/>
                    <a:pt x="105587" y="0"/>
                    <a:pt x="105587" y="0"/>
                  </a:cubicBezTo>
                  <a:close/>
                </a:path>
              </a:pathLst>
            </a:custGeom>
            <a:solidFill>
              <a:srgbClr val="FFFFFF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6877D2AE-4BA5-47F5-8D54-CFDC089C678A}"/>
                </a:ext>
              </a:extLst>
            </p:cNvPr>
            <p:cNvSpPr/>
            <p:nvPr/>
          </p:nvSpPr>
          <p:spPr>
            <a:xfrm>
              <a:off x="24286131" y="8339010"/>
              <a:ext cx="39810" cy="40755"/>
            </a:xfrm>
            <a:custGeom>
              <a:avLst/>
              <a:gdLst>
                <a:gd name="connsiteX0" fmla="*/ 39811 w 39810"/>
                <a:gd name="connsiteY0" fmla="*/ 24903 h 40755"/>
                <a:gd name="connsiteX1" fmla="*/ 15675 w 39810"/>
                <a:gd name="connsiteY1" fmla="*/ 39987 h 40755"/>
                <a:gd name="connsiteX2" fmla="*/ 592 w 39810"/>
                <a:gd name="connsiteY2" fmla="*/ 15853 h 40755"/>
                <a:gd name="connsiteX3" fmla="*/ 24727 w 39810"/>
                <a:gd name="connsiteY3" fmla="*/ 769 h 40755"/>
                <a:gd name="connsiteX4" fmla="*/ 39811 w 39810"/>
                <a:gd name="connsiteY4" fmla="*/ 24903 h 4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10" h="40755">
                  <a:moveTo>
                    <a:pt x="39811" y="24903"/>
                  </a:moveTo>
                  <a:cubicBezTo>
                    <a:pt x="36793" y="36970"/>
                    <a:pt x="27743" y="43003"/>
                    <a:pt x="15675" y="39987"/>
                  </a:cubicBezTo>
                  <a:cubicBezTo>
                    <a:pt x="6625" y="36970"/>
                    <a:pt x="-2425" y="27920"/>
                    <a:pt x="592" y="15853"/>
                  </a:cubicBezTo>
                  <a:cubicBezTo>
                    <a:pt x="3609" y="3785"/>
                    <a:pt x="12659" y="-2248"/>
                    <a:pt x="24727" y="769"/>
                  </a:cubicBezTo>
                  <a:cubicBezTo>
                    <a:pt x="33777" y="3785"/>
                    <a:pt x="39811" y="12836"/>
                    <a:pt x="39811" y="24903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98BEC3BC-6E69-4DE8-9984-7D693811C55B}"/>
                </a:ext>
              </a:extLst>
            </p:cNvPr>
            <p:cNvSpPr/>
            <p:nvPr/>
          </p:nvSpPr>
          <p:spPr>
            <a:xfrm>
              <a:off x="24473171" y="8345043"/>
              <a:ext cx="40578" cy="40755"/>
            </a:xfrm>
            <a:custGeom>
              <a:avLst/>
              <a:gdLst>
                <a:gd name="connsiteX0" fmla="*/ 39809 w 40578"/>
                <a:gd name="connsiteY0" fmla="*/ 24903 h 40755"/>
                <a:gd name="connsiteX1" fmla="*/ 15675 w 40578"/>
                <a:gd name="connsiteY1" fmla="*/ 39987 h 40755"/>
                <a:gd name="connsiteX2" fmla="*/ 592 w 40578"/>
                <a:gd name="connsiteY2" fmla="*/ 15853 h 40755"/>
                <a:gd name="connsiteX3" fmla="*/ 24725 w 40578"/>
                <a:gd name="connsiteY3" fmla="*/ 769 h 40755"/>
                <a:gd name="connsiteX4" fmla="*/ 39809 w 40578"/>
                <a:gd name="connsiteY4" fmla="*/ 24903 h 4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0755">
                  <a:moveTo>
                    <a:pt x="39809" y="24903"/>
                  </a:moveTo>
                  <a:cubicBezTo>
                    <a:pt x="36793" y="36970"/>
                    <a:pt x="27743" y="43003"/>
                    <a:pt x="15675" y="39987"/>
                  </a:cubicBezTo>
                  <a:cubicBezTo>
                    <a:pt x="6625" y="36970"/>
                    <a:pt x="-2425" y="27919"/>
                    <a:pt x="592" y="15853"/>
                  </a:cubicBezTo>
                  <a:cubicBezTo>
                    <a:pt x="3609" y="3786"/>
                    <a:pt x="12659" y="-2248"/>
                    <a:pt x="24725" y="769"/>
                  </a:cubicBezTo>
                  <a:cubicBezTo>
                    <a:pt x="36793" y="3786"/>
                    <a:pt x="42827" y="12836"/>
                    <a:pt x="39809" y="24903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624C62CF-4E89-467B-B5A7-75445D27B11C}"/>
                </a:ext>
              </a:extLst>
            </p:cNvPr>
            <p:cNvSpPr/>
            <p:nvPr/>
          </p:nvSpPr>
          <p:spPr>
            <a:xfrm>
              <a:off x="24260327" y="8290358"/>
              <a:ext cx="90998" cy="34337"/>
            </a:xfrm>
            <a:custGeom>
              <a:avLst/>
              <a:gdLst>
                <a:gd name="connsiteX0" fmla="*/ 8296 w 90998"/>
                <a:gd name="connsiteY0" fmla="*/ 34337 h 34337"/>
                <a:gd name="connsiteX1" fmla="*/ 2262 w 90998"/>
                <a:gd name="connsiteY1" fmla="*/ 31320 h 34337"/>
                <a:gd name="connsiteX2" fmla="*/ 2262 w 90998"/>
                <a:gd name="connsiteY2" fmla="*/ 19253 h 34337"/>
                <a:gd name="connsiteX3" fmla="*/ 86731 w 90998"/>
                <a:gd name="connsiteY3" fmla="*/ 10203 h 34337"/>
                <a:gd name="connsiteX4" fmla="*/ 89749 w 90998"/>
                <a:gd name="connsiteY4" fmla="*/ 19253 h 34337"/>
                <a:gd name="connsiteX5" fmla="*/ 80699 w 90998"/>
                <a:gd name="connsiteY5" fmla="*/ 22270 h 34337"/>
                <a:gd name="connsiteX6" fmla="*/ 14330 w 90998"/>
                <a:gd name="connsiteY6" fmla="*/ 28304 h 34337"/>
                <a:gd name="connsiteX7" fmla="*/ 8296 w 90998"/>
                <a:gd name="connsiteY7" fmla="*/ 34337 h 3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4337">
                  <a:moveTo>
                    <a:pt x="8296" y="34337"/>
                  </a:moveTo>
                  <a:cubicBezTo>
                    <a:pt x="5280" y="34337"/>
                    <a:pt x="5280" y="34337"/>
                    <a:pt x="2262" y="31320"/>
                  </a:cubicBezTo>
                  <a:cubicBezTo>
                    <a:pt x="-754" y="28304"/>
                    <a:pt x="-754" y="22270"/>
                    <a:pt x="2262" y="19253"/>
                  </a:cubicBezTo>
                  <a:cubicBezTo>
                    <a:pt x="29414" y="-10914"/>
                    <a:pt x="68631" y="1153"/>
                    <a:pt x="86731" y="10203"/>
                  </a:cubicBezTo>
                  <a:cubicBezTo>
                    <a:pt x="89749" y="13220"/>
                    <a:pt x="92765" y="16236"/>
                    <a:pt x="89749" y="19253"/>
                  </a:cubicBezTo>
                  <a:cubicBezTo>
                    <a:pt x="86731" y="22270"/>
                    <a:pt x="83715" y="25287"/>
                    <a:pt x="80699" y="22270"/>
                  </a:cubicBezTo>
                  <a:cubicBezTo>
                    <a:pt x="77681" y="22270"/>
                    <a:pt x="38464" y="1153"/>
                    <a:pt x="14330" y="28304"/>
                  </a:cubicBezTo>
                  <a:cubicBezTo>
                    <a:pt x="11312" y="31320"/>
                    <a:pt x="11312" y="34337"/>
                    <a:pt x="8296" y="34337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E5CEABA8-73BD-4DD4-BC1F-8BB33087B5CD}"/>
                </a:ext>
              </a:extLst>
            </p:cNvPr>
            <p:cNvSpPr/>
            <p:nvPr/>
          </p:nvSpPr>
          <p:spPr>
            <a:xfrm>
              <a:off x="24445362" y="8288801"/>
              <a:ext cx="90998" cy="35894"/>
            </a:xfrm>
            <a:custGeom>
              <a:avLst/>
              <a:gdLst>
                <a:gd name="connsiteX0" fmla="*/ 85719 w 90998"/>
                <a:gd name="connsiteY0" fmla="*/ 35894 h 35894"/>
                <a:gd name="connsiteX1" fmla="*/ 79685 w 90998"/>
                <a:gd name="connsiteY1" fmla="*/ 32877 h 35894"/>
                <a:gd name="connsiteX2" fmla="*/ 13316 w 90998"/>
                <a:gd name="connsiteY2" fmla="*/ 26844 h 35894"/>
                <a:gd name="connsiteX3" fmla="*/ 1250 w 90998"/>
                <a:gd name="connsiteY3" fmla="*/ 23827 h 35894"/>
                <a:gd name="connsiteX4" fmla="*/ 4266 w 90998"/>
                <a:gd name="connsiteY4" fmla="*/ 11760 h 35894"/>
                <a:gd name="connsiteX5" fmla="*/ 88735 w 90998"/>
                <a:gd name="connsiteY5" fmla="*/ 20810 h 35894"/>
                <a:gd name="connsiteX6" fmla="*/ 88735 w 90998"/>
                <a:gd name="connsiteY6" fmla="*/ 32877 h 35894"/>
                <a:gd name="connsiteX7" fmla="*/ 85719 w 90998"/>
                <a:gd name="connsiteY7" fmla="*/ 35894 h 3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5894">
                  <a:moveTo>
                    <a:pt x="85719" y="35894"/>
                  </a:moveTo>
                  <a:cubicBezTo>
                    <a:pt x="82701" y="35894"/>
                    <a:pt x="82701" y="35894"/>
                    <a:pt x="79685" y="32877"/>
                  </a:cubicBezTo>
                  <a:cubicBezTo>
                    <a:pt x="79685" y="32877"/>
                    <a:pt x="49518" y="2710"/>
                    <a:pt x="13316" y="26844"/>
                  </a:cubicBezTo>
                  <a:cubicBezTo>
                    <a:pt x="10300" y="29861"/>
                    <a:pt x="4266" y="26844"/>
                    <a:pt x="1250" y="23827"/>
                  </a:cubicBezTo>
                  <a:cubicBezTo>
                    <a:pt x="-1768" y="20810"/>
                    <a:pt x="1250" y="14777"/>
                    <a:pt x="4266" y="11760"/>
                  </a:cubicBezTo>
                  <a:cubicBezTo>
                    <a:pt x="40468" y="-12374"/>
                    <a:pt x="76669" y="5727"/>
                    <a:pt x="88735" y="20810"/>
                  </a:cubicBezTo>
                  <a:cubicBezTo>
                    <a:pt x="91753" y="23827"/>
                    <a:pt x="91753" y="29861"/>
                    <a:pt x="88735" y="32877"/>
                  </a:cubicBezTo>
                  <a:cubicBezTo>
                    <a:pt x="91753" y="35894"/>
                    <a:pt x="88735" y="35894"/>
                    <a:pt x="85719" y="35894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0D1CB95A-AE2A-4DB5-A3E9-F3BD6F49BB8E}"/>
                </a:ext>
              </a:extLst>
            </p:cNvPr>
            <p:cNvSpPr/>
            <p:nvPr/>
          </p:nvSpPr>
          <p:spPr>
            <a:xfrm>
              <a:off x="24204930" y="8050637"/>
              <a:ext cx="271932" cy="274057"/>
            </a:xfrm>
            <a:custGeom>
              <a:avLst/>
              <a:gdLst>
                <a:gd name="connsiteX0" fmla="*/ 268833 w 271932"/>
                <a:gd name="connsiteY0" fmla="*/ 2549 h 274057"/>
                <a:gd name="connsiteX1" fmla="*/ 235649 w 271932"/>
                <a:gd name="connsiteY1" fmla="*/ 147354 h 274057"/>
                <a:gd name="connsiteX2" fmla="*/ 342 w 271932"/>
                <a:gd name="connsiteY2" fmla="*/ 274058 h 274057"/>
                <a:gd name="connsiteX3" fmla="*/ 268833 w 271932"/>
                <a:gd name="connsiteY3" fmla="*/ 2549 h 274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932" h="274057">
                  <a:moveTo>
                    <a:pt x="268833" y="2549"/>
                  </a:moveTo>
                  <a:cubicBezTo>
                    <a:pt x="268833" y="2549"/>
                    <a:pt x="286934" y="108136"/>
                    <a:pt x="235649" y="147354"/>
                  </a:cubicBezTo>
                  <a:cubicBezTo>
                    <a:pt x="235649" y="147354"/>
                    <a:pt x="27492" y="189589"/>
                    <a:pt x="342" y="274058"/>
                  </a:cubicBezTo>
                  <a:cubicBezTo>
                    <a:pt x="342" y="271041"/>
                    <a:pt x="-20776" y="-30635"/>
                    <a:pt x="268833" y="2549"/>
                  </a:cubicBezTo>
                  <a:close/>
                </a:path>
              </a:pathLst>
            </a:custGeom>
            <a:solidFill>
              <a:srgbClr val="F1DDBA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DD2AE540-3AC0-47D4-809E-F49688711702}"/>
                </a:ext>
              </a:extLst>
            </p:cNvPr>
            <p:cNvSpPr/>
            <p:nvPr/>
          </p:nvSpPr>
          <p:spPr>
            <a:xfrm>
              <a:off x="24440579" y="8053187"/>
              <a:ext cx="294001" cy="347382"/>
            </a:xfrm>
            <a:custGeom>
              <a:avLst/>
              <a:gdLst>
                <a:gd name="connsiteX0" fmla="*/ 0 w 294001"/>
                <a:gd name="connsiteY0" fmla="*/ 144805 h 347382"/>
                <a:gd name="connsiteX1" fmla="*/ 138770 w 294001"/>
                <a:gd name="connsiteY1" fmla="*/ 199106 h 347382"/>
                <a:gd name="connsiteX2" fmla="*/ 196089 w 294001"/>
                <a:gd name="connsiteY2" fmla="*/ 316760 h 347382"/>
                <a:gd name="connsiteX3" fmla="*/ 283574 w 294001"/>
                <a:gd name="connsiteY3" fmla="*/ 337877 h 347382"/>
                <a:gd name="connsiteX4" fmla="*/ 30168 w 294001"/>
                <a:gd name="connsiteY4" fmla="*/ 0 h 347382"/>
                <a:gd name="connsiteX5" fmla="*/ 0 w 294001"/>
                <a:gd name="connsiteY5" fmla="*/ 144805 h 347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001" h="347382">
                  <a:moveTo>
                    <a:pt x="0" y="144805"/>
                  </a:moveTo>
                  <a:cubicBezTo>
                    <a:pt x="0" y="144805"/>
                    <a:pt x="90503" y="193072"/>
                    <a:pt x="138770" y="199106"/>
                  </a:cubicBezTo>
                  <a:cubicBezTo>
                    <a:pt x="190056" y="205140"/>
                    <a:pt x="196089" y="316760"/>
                    <a:pt x="196089" y="316760"/>
                  </a:cubicBezTo>
                  <a:cubicBezTo>
                    <a:pt x="196089" y="316760"/>
                    <a:pt x="268491" y="368045"/>
                    <a:pt x="283574" y="337877"/>
                  </a:cubicBezTo>
                  <a:cubicBezTo>
                    <a:pt x="316760" y="271508"/>
                    <a:pt x="280558" y="0"/>
                    <a:pt x="30168" y="0"/>
                  </a:cubicBezTo>
                  <a:cubicBezTo>
                    <a:pt x="33184" y="0"/>
                    <a:pt x="24134" y="138771"/>
                    <a:pt x="0" y="144805"/>
                  </a:cubicBezTo>
                  <a:close/>
                </a:path>
              </a:pathLst>
            </a:custGeom>
            <a:solidFill>
              <a:srgbClr val="F1DDBA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07364E29-D7E7-41E3-B35B-22E9B3DEF7C5}"/>
                </a:ext>
              </a:extLst>
            </p:cNvPr>
            <p:cNvSpPr/>
            <p:nvPr/>
          </p:nvSpPr>
          <p:spPr>
            <a:xfrm>
              <a:off x="24434545" y="8050170"/>
              <a:ext cx="150837" cy="205139"/>
            </a:xfrm>
            <a:custGeom>
              <a:avLst/>
              <a:gdLst>
                <a:gd name="connsiteX0" fmla="*/ 144804 w 150837"/>
                <a:gd name="connsiteY0" fmla="*/ 205140 h 205139"/>
                <a:gd name="connsiteX1" fmla="*/ 144804 w 150837"/>
                <a:gd name="connsiteY1" fmla="*/ 205140 h 205139"/>
                <a:gd name="connsiteX2" fmla="*/ 48267 w 150837"/>
                <a:gd name="connsiteY2" fmla="*/ 171955 h 205139"/>
                <a:gd name="connsiteX3" fmla="*/ 3016 w 150837"/>
                <a:gd name="connsiteY3" fmla="*/ 147822 h 205139"/>
                <a:gd name="connsiteX4" fmla="*/ 0 w 150837"/>
                <a:gd name="connsiteY4" fmla="*/ 144805 h 205139"/>
                <a:gd name="connsiteX5" fmla="*/ 0 w 150837"/>
                <a:gd name="connsiteY5" fmla="*/ 141788 h 205139"/>
                <a:gd name="connsiteX6" fmla="*/ 18100 w 150837"/>
                <a:gd name="connsiteY6" fmla="*/ 117654 h 205139"/>
                <a:gd name="connsiteX7" fmla="*/ 27152 w 150837"/>
                <a:gd name="connsiteY7" fmla="*/ 78436 h 205139"/>
                <a:gd name="connsiteX8" fmla="*/ 30168 w 150837"/>
                <a:gd name="connsiteY8" fmla="*/ 42235 h 205139"/>
                <a:gd name="connsiteX9" fmla="*/ 33184 w 150837"/>
                <a:gd name="connsiteY9" fmla="*/ 6033 h 205139"/>
                <a:gd name="connsiteX10" fmla="*/ 39218 w 150837"/>
                <a:gd name="connsiteY10" fmla="*/ 0 h 205139"/>
                <a:gd name="connsiteX11" fmla="*/ 45251 w 150837"/>
                <a:gd name="connsiteY11" fmla="*/ 6033 h 205139"/>
                <a:gd name="connsiteX12" fmla="*/ 42235 w 150837"/>
                <a:gd name="connsiteY12" fmla="*/ 42235 h 205139"/>
                <a:gd name="connsiteX13" fmla="*/ 39218 w 150837"/>
                <a:gd name="connsiteY13" fmla="*/ 81452 h 205139"/>
                <a:gd name="connsiteX14" fmla="*/ 27152 w 150837"/>
                <a:gd name="connsiteY14" fmla="*/ 123687 h 205139"/>
                <a:gd name="connsiteX15" fmla="*/ 12068 w 150837"/>
                <a:gd name="connsiteY15" fmla="*/ 144805 h 205139"/>
                <a:gd name="connsiteX16" fmla="*/ 51285 w 150837"/>
                <a:gd name="connsiteY16" fmla="*/ 165922 h 205139"/>
                <a:gd name="connsiteX17" fmla="*/ 144804 w 150837"/>
                <a:gd name="connsiteY17" fmla="*/ 196089 h 205139"/>
                <a:gd name="connsiteX18" fmla="*/ 150838 w 150837"/>
                <a:gd name="connsiteY18" fmla="*/ 202123 h 205139"/>
                <a:gd name="connsiteX19" fmla="*/ 144804 w 150837"/>
                <a:gd name="connsiteY19" fmla="*/ 205140 h 205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0837" h="205139">
                  <a:moveTo>
                    <a:pt x="144804" y="205140"/>
                  </a:moveTo>
                  <a:cubicBezTo>
                    <a:pt x="144804" y="205140"/>
                    <a:pt x="144804" y="205140"/>
                    <a:pt x="144804" y="205140"/>
                  </a:cubicBezTo>
                  <a:cubicBezTo>
                    <a:pt x="114637" y="202123"/>
                    <a:pt x="81453" y="190056"/>
                    <a:pt x="48267" y="171955"/>
                  </a:cubicBezTo>
                  <a:cubicBezTo>
                    <a:pt x="21118" y="159888"/>
                    <a:pt x="3016" y="147822"/>
                    <a:pt x="3016" y="147822"/>
                  </a:cubicBezTo>
                  <a:cubicBezTo>
                    <a:pt x="3016" y="147822"/>
                    <a:pt x="0" y="144805"/>
                    <a:pt x="0" y="144805"/>
                  </a:cubicBezTo>
                  <a:cubicBezTo>
                    <a:pt x="0" y="141788"/>
                    <a:pt x="0" y="141788"/>
                    <a:pt x="0" y="141788"/>
                  </a:cubicBezTo>
                  <a:cubicBezTo>
                    <a:pt x="6034" y="135754"/>
                    <a:pt x="12068" y="126704"/>
                    <a:pt x="18100" y="117654"/>
                  </a:cubicBezTo>
                  <a:cubicBezTo>
                    <a:pt x="24134" y="105587"/>
                    <a:pt x="27152" y="90503"/>
                    <a:pt x="27152" y="78436"/>
                  </a:cubicBezTo>
                  <a:cubicBezTo>
                    <a:pt x="27152" y="72403"/>
                    <a:pt x="27152" y="57319"/>
                    <a:pt x="30168" y="42235"/>
                  </a:cubicBezTo>
                  <a:cubicBezTo>
                    <a:pt x="30168" y="27151"/>
                    <a:pt x="30168" y="12067"/>
                    <a:pt x="33184" y="6033"/>
                  </a:cubicBezTo>
                  <a:cubicBezTo>
                    <a:pt x="33184" y="3017"/>
                    <a:pt x="36201" y="0"/>
                    <a:pt x="39218" y="0"/>
                  </a:cubicBezTo>
                  <a:cubicBezTo>
                    <a:pt x="42235" y="0"/>
                    <a:pt x="45251" y="3017"/>
                    <a:pt x="45251" y="6033"/>
                  </a:cubicBezTo>
                  <a:cubicBezTo>
                    <a:pt x="45251" y="12067"/>
                    <a:pt x="45251" y="27151"/>
                    <a:pt x="42235" y="42235"/>
                  </a:cubicBezTo>
                  <a:cubicBezTo>
                    <a:pt x="42235" y="57319"/>
                    <a:pt x="42235" y="72403"/>
                    <a:pt x="39218" y="81452"/>
                  </a:cubicBezTo>
                  <a:cubicBezTo>
                    <a:pt x="36201" y="96536"/>
                    <a:pt x="36201" y="111620"/>
                    <a:pt x="27152" y="123687"/>
                  </a:cubicBezTo>
                  <a:cubicBezTo>
                    <a:pt x="24134" y="129721"/>
                    <a:pt x="18100" y="138771"/>
                    <a:pt x="12068" y="144805"/>
                  </a:cubicBezTo>
                  <a:cubicBezTo>
                    <a:pt x="18100" y="147822"/>
                    <a:pt x="33184" y="156871"/>
                    <a:pt x="51285" y="165922"/>
                  </a:cubicBezTo>
                  <a:cubicBezTo>
                    <a:pt x="84469" y="181006"/>
                    <a:pt x="117654" y="193073"/>
                    <a:pt x="144804" y="196089"/>
                  </a:cubicBezTo>
                  <a:cubicBezTo>
                    <a:pt x="147822" y="196089"/>
                    <a:pt x="150838" y="199106"/>
                    <a:pt x="150838" y="202123"/>
                  </a:cubicBezTo>
                  <a:cubicBezTo>
                    <a:pt x="150838" y="202123"/>
                    <a:pt x="147822" y="205140"/>
                    <a:pt x="144804" y="205140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3CE803FF-BECB-46C6-A245-EBD7F58EBC7A}"/>
                </a:ext>
              </a:extLst>
            </p:cNvPr>
            <p:cNvSpPr/>
            <p:nvPr/>
          </p:nvSpPr>
          <p:spPr>
            <a:xfrm>
              <a:off x="24274657" y="8553873"/>
              <a:ext cx="307709" cy="322889"/>
            </a:xfrm>
            <a:custGeom>
              <a:avLst/>
              <a:gdLst>
                <a:gd name="connsiteX0" fmla="*/ 54301 w 307709"/>
                <a:gd name="connsiteY0" fmla="*/ 60431 h 322889"/>
                <a:gd name="connsiteX1" fmla="*/ 0 w 307709"/>
                <a:gd name="connsiteY1" fmla="*/ 199202 h 322889"/>
                <a:gd name="connsiteX2" fmla="*/ 114637 w 307709"/>
                <a:gd name="connsiteY2" fmla="*/ 322889 h 322889"/>
                <a:gd name="connsiteX3" fmla="*/ 307710 w 307709"/>
                <a:gd name="connsiteY3" fmla="*/ 184118 h 322889"/>
                <a:gd name="connsiteX4" fmla="*/ 256425 w 307709"/>
                <a:gd name="connsiteY4" fmla="*/ 96 h 322889"/>
                <a:gd name="connsiteX5" fmla="*/ 54301 w 307709"/>
                <a:gd name="connsiteY5" fmla="*/ 60431 h 322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709" h="322889">
                  <a:moveTo>
                    <a:pt x="54301" y="60431"/>
                  </a:moveTo>
                  <a:cubicBezTo>
                    <a:pt x="54301" y="60431"/>
                    <a:pt x="60335" y="169034"/>
                    <a:pt x="0" y="199202"/>
                  </a:cubicBezTo>
                  <a:lnTo>
                    <a:pt x="114637" y="322889"/>
                  </a:lnTo>
                  <a:cubicBezTo>
                    <a:pt x="114637" y="322889"/>
                    <a:pt x="253407" y="214286"/>
                    <a:pt x="307710" y="184118"/>
                  </a:cubicBezTo>
                  <a:cubicBezTo>
                    <a:pt x="253407" y="141884"/>
                    <a:pt x="256425" y="60431"/>
                    <a:pt x="256425" y="96"/>
                  </a:cubicBezTo>
                  <a:cubicBezTo>
                    <a:pt x="256425" y="-2921"/>
                    <a:pt x="108603" y="66465"/>
                    <a:pt x="54301" y="60431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D7BF3E52-BA9F-4CAC-B29A-2CCCDE73B5A9}"/>
                </a:ext>
              </a:extLst>
            </p:cNvPr>
            <p:cNvSpPr/>
            <p:nvPr/>
          </p:nvSpPr>
          <p:spPr>
            <a:xfrm>
              <a:off x="24320662" y="8588920"/>
              <a:ext cx="220718" cy="79685"/>
            </a:xfrm>
            <a:custGeom>
              <a:avLst/>
              <a:gdLst>
                <a:gd name="connsiteX0" fmla="*/ 71647 w 220718"/>
                <a:gd name="connsiteY0" fmla="*/ 79685 h 79685"/>
                <a:gd name="connsiteX1" fmla="*/ 2262 w 220718"/>
                <a:gd name="connsiteY1" fmla="*/ 52534 h 79685"/>
                <a:gd name="connsiteX2" fmla="*/ 2262 w 220718"/>
                <a:gd name="connsiteY2" fmla="*/ 43484 h 79685"/>
                <a:gd name="connsiteX3" fmla="*/ 11312 w 220718"/>
                <a:gd name="connsiteY3" fmla="*/ 43484 h 79685"/>
                <a:gd name="connsiteX4" fmla="*/ 80699 w 220718"/>
                <a:gd name="connsiteY4" fmla="*/ 67618 h 79685"/>
                <a:gd name="connsiteX5" fmla="*/ 210419 w 220718"/>
                <a:gd name="connsiteY5" fmla="*/ 1250 h 79685"/>
                <a:gd name="connsiteX6" fmla="*/ 219469 w 220718"/>
                <a:gd name="connsiteY6" fmla="*/ 4266 h 79685"/>
                <a:gd name="connsiteX7" fmla="*/ 216453 w 220718"/>
                <a:gd name="connsiteY7" fmla="*/ 13317 h 79685"/>
                <a:gd name="connsiteX8" fmla="*/ 80699 w 220718"/>
                <a:gd name="connsiteY8" fmla="*/ 79685 h 79685"/>
                <a:gd name="connsiteX9" fmla="*/ 71647 w 220718"/>
                <a:gd name="connsiteY9" fmla="*/ 79685 h 79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718" h="79685">
                  <a:moveTo>
                    <a:pt x="71647" y="79685"/>
                  </a:moveTo>
                  <a:cubicBezTo>
                    <a:pt x="32430" y="79685"/>
                    <a:pt x="5280" y="52534"/>
                    <a:pt x="2262" y="52534"/>
                  </a:cubicBezTo>
                  <a:cubicBezTo>
                    <a:pt x="-754" y="49518"/>
                    <a:pt x="-754" y="46501"/>
                    <a:pt x="2262" y="43484"/>
                  </a:cubicBezTo>
                  <a:cubicBezTo>
                    <a:pt x="5280" y="40467"/>
                    <a:pt x="8296" y="40467"/>
                    <a:pt x="11312" y="43484"/>
                  </a:cubicBezTo>
                  <a:cubicBezTo>
                    <a:pt x="11312" y="43484"/>
                    <a:pt x="44497" y="73652"/>
                    <a:pt x="80699" y="67618"/>
                  </a:cubicBezTo>
                  <a:cubicBezTo>
                    <a:pt x="119916" y="61585"/>
                    <a:pt x="210419" y="1250"/>
                    <a:pt x="210419" y="1250"/>
                  </a:cubicBezTo>
                  <a:cubicBezTo>
                    <a:pt x="213435" y="-1767"/>
                    <a:pt x="216453" y="1250"/>
                    <a:pt x="219469" y="4266"/>
                  </a:cubicBezTo>
                  <a:cubicBezTo>
                    <a:pt x="222485" y="7283"/>
                    <a:pt x="219469" y="10300"/>
                    <a:pt x="216453" y="13317"/>
                  </a:cubicBezTo>
                  <a:cubicBezTo>
                    <a:pt x="213435" y="16333"/>
                    <a:pt x="122932" y="76669"/>
                    <a:pt x="80699" y="79685"/>
                  </a:cubicBezTo>
                  <a:cubicBezTo>
                    <a:pt x="77681" y="79685"/>
                    <a:pt x="74665" y="79685"/>
                    <a:pt x="71647" y="79685"/>
                  </a:cubicBezTo>
                  <a:close/>
                </a:path>
              </a:pathLst>
            </a:custGeom>
            <a:solidFill>
              <a:srgbClr val="E58777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D87E7BE2-0A00-4E86-BBAD-531334092CC9}"/>
                </a:ext>
              </a:extLst>
            </p:cNvPr>
            <p:cNvSpPr/>
            <p:nvPr/>
          </p:nvSpPr>
          <p:spPr>
            <a:xfrm>
              <a:off x="23996296" y="8831511"/>
              <a:ext cx="100371" cy="549050"/>
            </a:xfrm>
            <a:custGeom>
              <a:avLst/>
              <a:gdLst>
                <a:gd name="connsiteX0" fmla="*/ 55120 w 100371"/>
                <a:gd name="connsiteY0" fmla="*/ 549050 h 549050"/>
                <a:gd name="connsiteX1" fmla="*/ 49086 w 100371"/>
                <a:gd name="connsiteY1" fmla="*/ 546033 h 549050"/>
                <a:gd name="connsiteX2" fmla="*/ 34002 w 100371"/>
                <a:gd name="connsiteY2" fmla="*/ 491731 h 549050"/>
                <a:gd name="connsiteX3" fmla="*/ 818 w 100371"/>
                <a:gd name="connsiteY3" fmla="*/ 343910 h 549050"/>
                <a:gd name="connsiteX4" fmla="*/ 88305 w 100371"/>
                <a:gd name="connsiteY4" fmla="*/ 3016 h 549050"/>
                <a:gd name="connsiteX5" fmla="*/ 97355 w 100371"/>
                <a:gd name="connsiteY5" fmla="*/ 0 h 549050"/>
                <a:gd name="connsiteX6" fmla="*/ 100371 w 100371"/>
                <a:gd name="connsiteY6" fmla="*/ 9050 h 549050"/>
                <a:gd name="connsiteX7" fmla="*/ 12886 w 100371"/>
                <a:gd name="connsiteY7" fmla="*/ 343910 h 549050"/>
                <a:gd name="connsiteX8" fmla="*/ 46070 w 100371"/>
                <a:gd name="connsiteY8" fmla="*/ 491731 h 549050"/>
                <a:gd name="connsiteX9" fmla="*/ 61154 w 100371"/>
                <a:gd name="connsiteY9" fmla="*/ 546033 h 549050"/>
                <a:gd name="connsiteX10" fmla="*/ 55120 w 100371"/>
                <a:gd name="connsiteY10" fmla="*/ 549050 h 549050"/>
                <a:gd name="connsiteX11" fmla="*/ 55120 w 100371"/>
                <a:gd name="connsiteY11" fmla="*/ 549050 h 54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371" h="549050">
                  <a:moveTo>
                    <a:pt x="55120" y="549050"/>
                  </a:moveTo>
                  <a:cubicBezTo>
                    <a:pt x="52104" y="549050"/>
                    <a:pt x="49086" y="546033"/>
                    <a:pt x="49086" y="546033"/>
                  </a:cubicBezTo>
                  <a:cubicBezTo>
                    <a:pt x="43054" y="527933"/>
                    <a:pt x="40036" y="509832"/>
                    <a:pt x="34002" y="491731"/>
                  </a:cubicBezTo>
                  <a:cubicBezTo>
                    <a:pt x="18918" y="440447"/>
                    <a:pt x="3834" y="389162"/>
                    <a:pt x="818" y="343910"/>
                  </a:cubicBezTo>
                  <a:cubicBezTo>
                    <a:pt x="-5216" y="220223"/>
                    <a:pt x="21936" y="105587"/>
                    <a:pt x="88305" y="3016"/>
                  </a:cubicBezTo>
                  <a:cubicBezTo>
                    <a:pt x="91321" y="0"/>
                    <a:pt x="94337" y="0"/>
                    <a:pt x="97355" y="0"/>
                  </a:cubicBezTo>
                  <a:cubicBezTo>
                    <a:pt x="100371" y="3016"/>
                    <a:pt x="100371" y="6033"/>
                    <a:pt x="100371" y="9050"/>
                  </a:cubicBezTo>
                  <a:cubicBezTo>
                    <a:pt x="37020" y="111620"/>
                    <a:pt x="6852" y="223240"/>
                    <a:pt x="12886" y="343910"/>
                  </a:cubicBezTo>
                  <a:cubicBezTo>
                    <a:pt x="15902" y="389162"/>
                    <a:pt x="30986" y="440447"/>
                    <a:pt x="46070" y="491731"/>
                  </a:cubicBezTo>
                  <a:cubicBezTo>
                    <a:pt x="52104" y="509832"/>
                    <a:pt x="58138" y="527933"/>
                    <a:pt x="61154" y="546033"/>
                  </a:cubicBezTo>
                  <a:cubicBezTo>
                    <a:pt x="61154" y="543017"/>
                    <a:pt x="58138" y="546033"/>
                    <a:pt x="55120" y="549050"/>
                  </a:cubicBezTo>
                  <a:cubicBezTo>
                    <a:pt x="55120" y="549050"/>
                    <a:pt x="55120" y="549050"/>
                    <a:pt x="55120" y="549050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11FF8531-DD0A-4466-A011-C6937B7933EC}"/>
                </a:ext>
              </a:extLst>
            </p:cNvPr>
            <p:cNvSpPr/>
            <p:nvPr/>
          </p:nvSpPr>
          <p:spPr>
            <a:xfrm>
              <a:off x="24114769" y="9266116"/>
              <a:ext cx="396444" cy="36009"/>
            </a:xfrm>
            <a:custGeom>
              <a:avLst/>
              <a:gdLst>
                <a:gd name="connsiteX0" fmla="*/ 6032 w 396444"/>
                <a:gd name="connsiteY0" fmla="*/ 36009 h 36009"/>
                <a:gd name="connsiteX1" fmla="*/ 0 w 396444"/>
                <a:gd name="connsiteY1" fmla="*/ 32993 h 36009"/>
                <a:gd name="connsiteX2" fmla="*/ 3016 w 396444"/>
                <a:gd name="connsiteY2" fmla="*/ 26959 h 36009"/>
                <a:gd name="connsiteX3" fmla="*/ 392179 w 396444"/>
                <a:gd name="connsiteY3" fmla="*/ 14892 h 36009"/>
                <a:gd name="connsiteX4" fmla="*/ 395195 w 396444"/>
                <a:gd name="connsiteY4" fmla="*/ 20925 h 36009"/>
                <a:gd name="connsiteX5" fmla="*/ 389161 w 396444"/>
                <a:gd name="connsiteY5" fmla="*/ 23942 h 36009"/>
                <a:gd name="connsiteX6" fmla="*/ 6032 w 396444"/>
                <a:gd name="connsiteY6" fmla="*/ 36009 h 36009"/>
                <a:gd name="connsiteX7" fmla="*/ 6032 w 396444"/>
                <a:gd name="connsiteY7" fmla="*/ 36009 h 36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6444" h="36009">
                  <a:moveTo>
                    <a:pt x="6032" y="36009"/>
                  </a:moveTo>
                  <a:cubicBezTo>
                    <a:pt x="3016" y="36009"/>
                    <a:pt x="3016" y="36009"/>
                    <a:pt x="0" y="32993"/>
                  </a:cubicBezTo>
                  <a:cubicBezTo>
                    <a:pt x="0" y="29976"/>
                    <a:pt x="0" y="26959"/>
                    <a:pt x="3016" y="26959"/>
                  </a:cubicBezTo>
                  <a:cubicBezTo>
                    <a:pt x="87485" y="-3209"/>
                    <a:pt x="292624" y="-9242"/>
                    <a:pt x="392179" y="14892"/>
                  </a:cubicBezTo>
                  <a:cubicBezTo>
                    <a:pt x="395195" y="14892"/>
                    <a:pt x="398211" y="17909"/>
                    <a:pt x="395195" y="20925"/>
                  </a:cubicBezTo>
                  <a:cubicBezTo>
                    <a:pt x="395195" y="23942"/>
                    <a:pt x="392179" y="26959"/>
                    <a:pt x="389161" y="23942"/>
                  </a:cubicBezTo>
                  <a:cubicBezTo>
                    <a:pt x="295642" y="-192"/>
                    <a:pt x="90503" y="5842"/>
                    <a:pt x="6032" y="36009"/>
                  </a:cubicBezTo>
                  <a:cubicBezTo>
                    <a:pt x="9050" y="36009"/>
                    <a:pt x="9050" y="36009"/>
                    <a:pt x="6032" y="36009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B7FA2C79-5FD5-4DF8-AD08-A05C21D5E3B1}"/>
                </a:ext>
              </a:extLst>
            </p:cNvPr>
            <p:cNvSpPr/>
            <p:nvPr/>
          </p:nvSpPr>
          <p:spPr>
            <a:xfrm>
              <a:off x="24600467" y="8353393"/>
              <a:ext cx="76766" cy="112851"/>
            </a:xfrm>
            <a:custGeom>
              <a:avLst/>
              <a:gdLst>
                <a:gd name="connsiteX0" fmla="*/ 12067 w 76766"/>
                <a:gd name="connsiteY0" fmla="*/ 16553 h 112851"/>
                <a:gd name="connsiteX1" fmla="*/ 69385 w 76766"/>
                <a:gd name="connsiteY1" fmla="*/ 7503 h 112851"/>
                <a:gd name="connsiteX2" fmla="*/ 12067 w 76766"/>
                <a:gd name="connsiteY2" fmla="*/ 110072 h 112851"/>
                <a:gd name="connsiteX3" fmla="*/ 12067 w 76766"/>
                <a:gd name="connsiteY3" fmla="*/ 16553 h 112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766" h="112851">
                  <a:moveTo>
                    <a:pt x="12067" y="16553"/>
                  </a:moveTo>
                  <a:cubicBezTo>
                    <a:pt x="12067" y="16553"/>
                    <a:pt x="45251" y="-13615"/>
                    <a:pt x="69385" y="7503"/>
                  </a:cubicBezTo>
                  <a:cubicBezTo>
                    <a:pt x="93518" y="25603"/>
                    <a:pt x="54301" y="131190"/>
                    <a:pt x="12067" y="110072"/>
                  </a:cubicBezTo>
                  <a:cubicBezTo>
                    <a:pt x="-15084" y="88955"/>
                    <a:pt x="12067" y="16553"/>
                    <a:pt x="12067" y="16553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25ADE0D0-461C-41FC-A989-72174BAFB9B8}"/>
                </a:ext>
              </a:extLst>
            </p:cNvPr>
            <p:cNvSpPr/>
            <p:nvPr/>
          </p:nvSpPr>
          <p:spPr>
            <a:xfrm>
              <a:off x="24169070" y="8234192"/>
              <a:ext cx="144804" cy="162904"/>
            </a:xfrm>
            <a:custGeom>
              <a:avLst/>
              <a:gdLst>
                <a:gd name="connsiteX0" fmla="*/ 6034 w 144804"/>
                <a:gd name="connsiteY0" fmla="*/ 162905 h 162904"/>
                <a:gd name="connsiteX1" fmla="*/ 6034 w 144804"/>
                <a:gd name="connsiteY1" fmla="*/ 162905 h 162904"/>
                <a:gd name="connsiteX2" fmla="*/ 0 w 144804"/>
                <a:gd name="connsiteY2" fmla="*/ 156871 h 162904"/>
                <a:gd name="connsiteX3" fmla="*/ 138770 w 144804"/>
                <a:gd name="connsiteY3" fmla="*/ 0 h 162904"/>
                <a:gd name="connsiteX4" fmla="*/ 144804 w 144804"/>
                <a:gd name="connsiteY4" fmla="*/ 3016 h 162904"/>
                <a:gd name="connsiteX5" fmla="*/ 141788 w 144804"/>
                <a:gd name="connsiteY5" fmla="*/ 9050 h 162904"/>
                <a:gd name="connsiteX6" fmla="*/ 12066 w 144804"/>
                <a:gd name="connsiteY6" fmla="*/ 156871 h 162904"/>
                <a:gd name="connsiteX7" fmla="*/ 6034 w 144804"/>
                <a:gd name="connsiteY7" fmla="*/ 162905 h 162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804" h="162904">
                  <a:moveTo>
                    <a:pt x="6034" y="162905"/>
                  </a:moveTo>
                  <a:cubicBezTo>
                    <a:pt x="6034" y="162905"/>
                    <a:pt x="6034" y="162905"/>
                    <a:pt x="6034" y="162905"/>
                  </a:cubicBezTo>
                  <a:cubicBezTo>
                    <a:pt x="3016" y="162905"/>
                    <a:pt x="0" y="159888"/>
                    <a:pt x="0" y="156871"/>
                  </a:cubicBezTo>
                  <a:cubicBezTo>
                    <a:pt x="24134" y="30168"/>
                    <a:pt x="138770" y="0"/>
                    <a:pt x="138770" y="0"/>
                  </a:cubicBezTo>
                  <a:cubicBezTo>
                    <a:pt x="141788" y="0"/>
                    <a:pt x="144804" y="0"/>
                    <a:pt x="144804" y="3016"/>
                  </a:cubicBezTo>
                  <a:cubicBezTo>
                    <a:pt x="144804" y="6033"/>
                    <a:pt x="144804" y="9050"/>
                    <a:pt x="141788" y="9050"/>
                  </a:cubicBezTo>
                  <a:cubicBezTo>
                    <a:pt x="141788" y="9050"/>
                    <a:pt x="36201" y="39218"/>
                    <a:pt x="12066" y="156871"/>
                  </a:cubicBezTo>
                  <a:cubicBezTo>
                    <a:pt x="12066" y="159888"/>
                    <a:pt x="9050" y="162905"/>
                    <a:pt x="6034" y="162905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BD41740E-A895-4ED4-908B-7EE973DDC5C3}"/>
                </a:ext>
              </a:extLst>
            </p:cNvPr>
            <p:cNvSpPr/>
            <p:nvPr/>
          </p:nvSpPr>
          <p:spPr>
            <a:xfrm>
              <a:off x="24531081" y="8179890"/>
              <a:ext cx="109852" cy="184022"/>
            </a:xfrm>
            <a:custGeom>
              <a:avLst/>
              <a:gdLst>
                <a:gd name="connsiteX0" fmla="*/ 105587 w 109852"/>
                <a:gd name="connsiteY0" fmla="*/ 184023 h 184022"/>
                <a:gd name="connsiteX1" fmla="*/ 99553 w 109852"/>
                <a:gd name="connsiteY1" fmla="*/ 177989 h 184022"/>
                <a:gd name="connsiteX2" fmla="*/ 54301 w 109852"/>
                <a:gd name="connsiteY2" fmla="*/ 72402 h 184022"/>
                <a:gd name="connsiteX3" fmla="*/ 0 w 109852"/>
                <a:gd name="connsiteY3" fmla="*/ 6033 h 184022"/>
                <a:gd name="connsiteX4" fmla="*/ 3016 w 109852"/>
                <a:gd name="connsiteY4" fmla="*/ 0 h 184022"/>
                <a:gd name="connsiteX5" fmla="*/ 9050 w 109852"/>
                <a:gd name="connsiteY5" fmla="*/ 3017 h 184022"/>
                <a:gd name="connsiteX6" fmla="*/ 57317 w 109852"/>
                <a:gd name="connsiteY6" fmla="*/ 66369 h 184022"/>
                <a:gd name="connsiteX7" fmla="*/ 108603 w 109852"/>
                <a:gd name="connsiteY7" fmla="*/ 177989 h 184022"/>
                <a:gd name="connsiteX8" fmla="*/ 105587 w 109852"/>
                <a:gd name="connsiteY8" fmla="*/ 184023 h 184022"/>
                <a:gd name="connsiteX9" fmla="*/ 105587 w 109852"/>
                <a:gd name="connsiteY9" fmla="*/ 184023 h 184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852" h="184022">
                  <a:moveTo>
                    <a:pt x="105587" y="184023"/>
                  </a:moveTo>
                  <a:cubicBezTo>
                    <a:pt x="102569" y="184023"/>
                    <a:pt x="99553" y="181006"/>
                    <a:pt x="99553" y="177989"/>
                  </a:cubicBezTo>
                  <a:cubicBezTo>
                    <a:pt x="99553" y="165922"/>
                    <a:pt x="90503" y="99553"/>
                    <a:pt x="54301" y="72402"/>
                  </a:cubicBezTo>
                  <a:cubicBezTo>
                    <a:pt x="21118" y="48268"/>
                    <a:pt x="3016" y="6033"/>
                    <a:pt x="0" y="6033"/>
                  </a:cubicBezTo>
                  <a:cubicBezTo>
                    <a:pt x="0" y="3017"/>
                    <a:pt x="0" y="0"/>
                    <a:pt x="3016" y="0"/>
                  </a:cubicBezTo>
                  <a:cubicBezTo>
                    <a:pt x="6034" y="0"/>
                    <a:pt x="9050" y="0"/>
                    <a:pt x="9050" y="3017"/>
                  </a:cubicBezTo>
                  <a:cubicBezTo>
                    <a:pt x="9050" y="3017"/>
                    <a:pt x="27150" y="42234"/>
                    <a:pt x="57317" y="66369"/>
                  </a:cubicBezTo>
                  <a:cubicBezTo>
                    <a:pt x="96537" y="93520"/>
                    <a:pt x="105587" y="165922"/>
                    <a:pt x="108603" y="177989"/>
                  </a:cubicBezTo>
                  <a:cubicBezTo>
                    <a:pt x="111620" y="181006"/>
                    <a:pt x="108603" y="184023"/>
                    <a:pt x="105587" y="184023"/>
                  </a:cubicBezTo>
                  <a:cubicBezTo>
                    <a:pt x="105587" y="184023"/>
                    <a:pt x="105587" y="184023"/>
                    <a:pt x="105587" y="184023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D0682007-AA08-4D4F-99D6-20195B2F2CEC}"/>
                </a:ext>
              </a:extLst>
            </p:cNvPr>
            <p:cNvSpPr/>
            <p:nvPr/>
          </p:nvSpPr>
          <p:spPr>
            <a:xfrm>
              <a:off x="24250523" y="8741008"/>
              <a:ext cx="355977" cy="153854"/>
            </a:xfrm>
            <a:custGeom>
              <a:avLst/>
              <a:gdLst>
                <a:gd name="connsiteX0" fmla="*/ 36200 w 355977"/>
                <a:gd name="connsiteY0" fmla="*/ 6033 h 153854"/>
                <a:gd name="connsiteX1" fmla="*/ 138770 w 355977"/>
                <a:gd name="connsiteY1" fmla="*/ 120670 h 153854"/>
                <a:gd name="connsiteX2" fmla="*/ 331844 w 355977"/>
                <a:gd name="connsiteY2" fmla="*/ 0 h 153854"/>
                <a:gd name="connsiteX3" fmla="*/ 355977 w 355977"/>
                <a:gd name="connsiteY3" fmla="*/ 9050 h 153854"/>
                <a:gd name="connsiteX4" fmla="*/ 135754 w 355977"/>
                <a:gd name="connsiteY4" fmla="*/ 153854 h 153854"/>
                <a:gd name="connsiteX5" fmla="*/ 0 w 355977"/>
                <a:gd name="connsiteY5" fmla="*/ 15084 h 153854"/>
                <a:gd name="connsiteX6" fmla="*/ 36200 w 355977"/>
                <a:gd name="connsiteY6" fmla="*/ 6033 h 153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977" h="153854">
                  <a:moveTo>
                    <a:pt x="36200" y="6033"/>
                  </a:moveTo>
                  <a:lnTo>
                    <a:pt x="138770" y="120670"/>
                  </a:lnTo>
                  <a:cubicBezTo>
                    <a:pt x="138770" y="120670"/>
                    <a:pt x="268491" y="21117"/>
                    <a:pt x="331844" y="0"/>
                  </a:cubicBezTo>
                  <a:lnTo>
                    <a:pt x="355977" y="9050"/>
                  </a:lnTo>
                  <a:lnTo>
                    <a:pt x="135754" y="153854"/>
                  </a:lnTo>
                  <a:lnTo>
                    <a:pt x="0" y="15084"/>
                  </a:lnTo>
                  <a:cubicBezTo>
                    <a:pt x="0" y="12067"/>
                    <a:pt x="15084" y="6033"/>
                    <a:pt x="36200" y="6033"/>
                  </a:cubicBezTo>
                  <a:close/>
                </a:path>
              </a:pathLst>
            </a:custGeom>
            <a:solidFill>
              <a:srgbClr val="D16156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61D761B4-09A4-4E17-8283-E7D627315F96}"/>
                </a:ext>
              </a:extLst>
            </p:cNvPr>
            <p:cNvSpPr/>
            <p:nvPr/>
          </p:nvSpPr>
          <p:spPr>
            <a:xfrm>
              <a:off x="23991081" y="9655086"/>
              <a:ext cx="883910" cy="267778"/>
            </a:xfrm>
            <a:custGeom>
              <a:avLst/>
              <a:gdLst>
                <a:gd name="connsiteX0" fmla="*/ 769274 w 883910"/>
                <a:gd name="connsiteY0" fmla="*/ 0 h 267778"/>
                <a:gd name="connsiteX1" fmla="*/ 883910 w 883910"/>
                <a:gd name="connsiteY1" fmla="*/ 181006 h 267778"/>
                <a:gd name="connsiteX2" fmla="*/ 0 w 883910"/>
                <a:gd name="connsiteY2" fmla="*/ 205140 h 267778"/>
                <a:gd name="connsiteX3" fmla="*/ 102571 w 883910"/>
                <a:gd name="connsiteY3" fmla="*/ 45251 h 267778"/>
                <a:gd name="connsiteX4" fmla="*/ 769274 w 883910"/>
                <a:gd name="connsiteY4" fmla="*/ 0 h 267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910" h="267778">
                  <a:moveTo>
                    <a:pt x="769274" y="0"/>
                  </a:moveTo>
                  <a:lnTo>
                    <a:pt x="883910" y="181006"/>
                  </a:lnTo>
                  <a:cubicBezTo>
                    <a:pt x="883910" y="181006"/>
                    <a:pt x="398213" y="358994"/>
                    <a:pt x="0" y="205140"/>
                  </a:cubicBezTo>
                  <a:lnTo>
                    <a:pt x="102571" y="45251"/>
                  </a:lnTo>
                  <a:cubicBezTo>
                    <a:pt x="102571" y="42234"/>
                    <a:pt x="678771" y="24135"/>
                    <a:pt x="769274" y="0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01E7362D-0AC8-496A-AD53-CD4C3F345796}"/>
                </a:ext>
              </a:extLst>
            </p:cNvPr>
            <p:cNvSpPr/>
            <p:nvPr/>
          </p:nvSpPr>
          <p:spPr>
            <a:xfrm>
              <a:off x="24087617" y="9670170"/>
              <a:ext cx="310725" cy="30167"/>
            </a:xfrm>
            <a:custGeom>
              <a:avLst/>
              <a:gdLst>
                <a:gd name="connsiteX0" fmla="*/ 6034 w 310725"/>
                <a:gd name="connsiteY0" fmla="*/ 30168 h 30167"/>
                <a:gd name="connsiteX1" fmla="*/ 0 w 310725"/>
                <a:gd name="connsiteY1" fmla="*/ 24135 h 30167"/>
                <a:gd name="connsiteX2" fmla="*/ 6034 w 310725"/>
                <a:gd name="connsiteY2" fmla="*/ 18101 h 30167"/>
                <a:gd name="connsiteX3" fmla="*/ 304692 w 310725"/>
                <a:gd name="connsiteY3" fmla="*/ 0 h 30167"/>
                <a:gd name="connsiteX4" fmla="*/ 310726 w 310725"/>
                <a:gd name="connsiteY4" fmla="*/ 3017 h 30167"/>
                <a:gd name="connsiteX5" fmla="*/ 307710 w 310725"/>
                <a:gd name="connsiteY5" fmla="*/ 9051 h 30167"/>
                <a:gd name="connsiteX6" fmla="*/ 6034 w 310725"/>
                <a:gd name="connsiteY6" fmla="*/ 30168 h 30167"/>
                <a:gd name="connsiteX7" fmla="*/ 6034 w 310725"/>
                <a:gd name="connsiteY7" fmla="*/ 30168 h 30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0725" h="30167">
                  <a:moveTo>
                    <a:pt x="6034" y="30168"/>
                  </a:moveTo>
                  <a:cubicBezTo>
                    <a:pt x="3016" y="30168"/>
                    <a:pt x="0" y="27151"/>
                    <a:pt x="0" y="24135"/>
                  </a:cubicBezTo>
                  <a:cubicBezTo>
                    <a:pt x="0" y="21118"/>
                    <a:pt x="3016" y="18101"/>
                    <a:pt x="6034" y="18101"/>
                  </a:cubicBezTo>
                  <a:cubicBezTo>
                    <a:pt x="9050" y="18101"/>
                    <a:pt x="214189" y="15084"/>
                    <a:pt x="304692" y="0"/>
                  </a:cubicBezTo>
                  <a:cubicBezTo>
                    <a:pt x="307710" y="0"/>
                    <a:pt x="310726" y="0"/>
                    <a:pt x="310726" y="3017"/>
                  </a:cubicBezTo>
                  <a:cubicBezTo>
                    <a:pt x="310726" y="6034"/>
                    <a:pt x="310726" y="9051"/>
                    <a:pt x="307710" y="9051"/>
                  </a:cubicBezTo>
                  <a:cubicBezTo>
                    <a:pt x="214189" y="30168"/>
                    <a:pt x="9050" y="30168"/>
                    <a:pt x="6034" y="30168"/>
                  </a:cubicBezTo>
                  <a:cubicBezTo>
                    <a:pt x="6034" y="30168"/>
                    <a:pt x="6034" y="30168"/>
                    <a:pt x="6034" y="30168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AEE2A59B-22BB-4BE7-8F60-6622810FC204}"/>
                </a:ext>
              </a:extLst>
            </p:cNvPr>
            <p:cNvSpPr/>
            <p:nvPr/>
          </p:nvSpPr>
          <p:spPr>
            <a:xfrm>
              <a:off x="24375668" y="8653522"/>
              <a:ext cx="236866" cy="407262"/>
            </a:xfrm>
            <a:custGeom>
              <a:avLst/>
              <a:gdLst>
                <a:gd name="connsiteX0" fmla="*/ 203681 w 236866"/>
                <a:gd name="connsiteY0" fmla="*/ 0 h 407262"/>
                <a:gd name="connsiteX1" fmla="*/ 28709 w 236866"/>
                <a:gd name="connsiteY1" fmla="*/ 193073 h 407262"/>
                <a:gd name="connsiteX2" fmla="*/ 10609 w 236866"/>
                <a:gd name="connsiteY2" fmla="*/ 386145 h 407262"/>
                <a:gd name="connsiteX3" fmla="*/ 55861 w 236866"/>
                <a:gd name="connsiteY3" fmla="*/ 386145 h 407262"/>
                <a:gd name="connsiteX4" fmla="*/ 131280 w 236866"/>
                <a:gd name="connsiteY4" fmla="*/ 407263 h 407262"/>
                <a:gd name="connsiteX5" fmla="*/ 173513 w 236866"/>
                <a:gd name="connsiteY5" fmla="*/ 380112 h 407262"/>
                <a:gd name="connsiteX6" fmla="*/ 236866 w 236866"/>
                <a:gd name="connsiteY6" fmla="*/ 36201 h 407262"/>
                <a:gd name="connsiteX7" fmla="*/ 203681 w 236866"/>
                <a:gd name="connsiteY7" fmla="*/ 0 h 407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866" h="407262">
                  <a:moveTo>
                    <a:pt x="203681" y="0"/>
                  </a:moveTo>
                  <a:cubicBezTo>
                    <a:pt x="203681" y="0"/>
                    <a:pt x="64911" y="90503"/>
                    <a:pt x="28709" y="193073"/>
                  </a:cubicBezTo>
                  <a:cubicBezTo>
                    <a:pt x="-7492" y="298660"/>
                    <a:pt x="-4474" y="377095"/>
                    <a:pt x="10609" y="386145"/>
                  </a:cubicBezTo>
                  <a:cubicBezTo>
                    <a:pt x="22675" y="395196"/>
                    <a:pt x="37759" y="377095"/>
                    <a:pt x="55861" y="386145"/>
                  </a:cubicBezTo>
                  <a:cubicBezTo>
                    <a:pt x="73961" y="395196"/>
                    <a:pt x="119212" y="407263"/>
                    <a:pt x="131280" y="407263"/>
                  </a:cubicBezTo>
                  <a:cubicBezTo>
                    <a:pt x="146364" y="407263"/>
                    <a:pt x="179547" y="392179"/>
                    <a:pt x="173513" y="380112"/>
                  </a:cubicBezTo>
                  <a:cubicBezTo>
                    <a:pt x="167479" y="368045"/>
                    <a:pt x="212731" y="63352"/>
                    <a:pt x="236866" y="36201"/>
                  </a:cubicBezTo>
                  <a:lnTo>
                    <a:pt x="203681" y="0"/>
                  </a:lnTo>
                  <a:close/>
                </a:path>
              </a:pathLst>
            </a:custGeom>
            <a:solidFill>
              <a:srgbClr val="F1DDBA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07A7749D-02C4-4BD2-8B8D-30A3F5608612}"/>
                </a:ext>
              </a:extLst>
            </p:cNvPr>
            <p:cNvSpPr/>
            <p:nvPr/>
          </p:nvSpPr>
          <p:spPr>
            <a:xfrm>
              <a:off x="24422477" y="8690477"/>
              <a:ext cx="147067" cy="261704"/>
            </a:xfrm>
            <a:custGeom>
              <a:avLst/>
              <a:gdLst>
                <a:gd name="connsiteX0" fmla="*/ 6034 w 147067"/>
                <a:gd name="connsiteY0" fmla="*/ 261704 h 261704"/>
                <a:gd name="connsiteX1" fmla="*/ 6034 w 147067"/>
                <a:gd name="connsiteY1" fmla="*/ 261704 h 261704"/>
                <a:gd name="connsiteX2" fmla="*/ 0 w 147067"/>
                <a:gd name="connsiteY2" fmla="*/ 255670 h 261704"/>
                <a:gd name="connsiteX3" fmla="*/ 135754 w 147067"/>
                <a:gd name="connsiteY3" fmla="*/ 2263 h 261704"/>
                <a:gd name="connsiteX4" fmla="*/ 144806 w 147067"/>
                <a:gd name="connsiteY4" fmla="*/ 2263 h 261704"/>
                <a:gd name="connsiteX5" fmla="*/ 144806 w 147067"/>
                <a:gd name="connsiteY5" fmla="*/ 11313 h 261704"/>
                <a:gd name="connsiteX6" fmla="*/ 12068 w 147067"/>
                <a:gd name="connsiteY6" fmla="*/ 258687 h 261704"/>
                <a:gd name="connsiteX7" fmla="*/ 6034 w 147067"/>
                <a:gd name="connsiteY7" fmla="*/ 261704 h 261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067" h="261704">
                  <a:moveTo>
                    <a:pt x="6034" y="261704"/>
                  </a:moveTo>
                  <a:cubicBezTo>
                    <a:pt x="6034" y="261704"/>
                    <a:pt x="6034" y="261704"/>
                    <a:pt x="6034" y="261704"/>
                  </a:cubicBezTo>
                  <a:cubicBezTo>
                    <a:pt x="3018" y="261704"/>
                    <a:pt x="0" y="258687"/>
                    <a:pt x="0" y="255670"/>
                  </a:cubicBezTo>
                  <a:cubicBezTo>
                    <a:pt x="6034" y="138017"/>
                    <a:pt x="129722" y="8296"/>
                    <a:pt x="135754" y="2263"/>
                  </a:cubicBezTo>
                  <a:cubicBezTo>
                    <a:pt x="138772" y="-754"/>
                    <a:pt x="141788" y="-754"/>
                    <a:pt x="144806" y="2263"/>
                  </a:cubicBezTo>
                  <a:cubicBezTo>
                    <a:pt x="147822" y="5280"/>
                    <a:pt x="147822" y="8296"/>
                    <a:pt x="144806" y="11313"/>
                  </a:cubicBezTo>
                  <a:cubicBezTo>
                    <a:pt x="144806" y="11313"/>
                    <a:pt x="18102" y="144050"/>
                    <a:pt x="12068" y="258687"/>
                  </a:cubicBezTo>
                  <a:cubicBezTo>
                    <a:pt x="12068" y="258687"/>
                    <a:pt x="9052" y="261704"/>
                    <a:pt x="6034" y="261704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5E3788C4-B9C3-42FD-9A13-ABE7503C0890}"/>
                </a:ext>
              </a:extLst>
            </p:cNvPr>
            <p:cNvSpPr/>
            <p:nvPr/>
          </p:nvSpPr>
          <p:spPr>
            <a:xfrm>
              <a:off x="24525048" y="8637846"/>
              <a:ext cx="103938" cy="78007"/>
            </a:xfrm>
            <a:custGeom>
              <a:avLst/>
              <a:gdLst>
                <a:gd name="connsiteX0" fmla="*/ 0 w 103938"/>
                <a:gd name="connsiteY0" fmla="*/ 15675 h 78007"/>
                <a:gd name="connsiteX1" fmla="*/ 18100 w 103938"/>
                <a:gd name="connsiteY1" fmla="*/ 592 h 78007"/>
                <a:gd name="connsiteX2" fmla="*/ 93519 w 103938"/>
                <a:gd name="connsiteY2" fmla="*/ 24726 h 78007"/>
                <a:gd name="connsiteX3" fmla="*/ 99553 w 103938"/>
                <a:gd name="connsiteY3" fmla="*/ 51876 h 78007"/>
                <a:gd name="connsiteX4" fmla="*/ 81453 w 103938"/>
                <a:gd name="connsiteY4" fmla="*/ 76011 h 78007"/>
                <a:gd name="connsiteX5" fmla="*/ 15084 w 103938"/>
                <a:gd name="connsiteY5" fmla="*/ 54893 h 78007"/>
                <a:gd name="connsiteX6" fmla="*/ 6034 w 103938"/>
                <a:gd name="connsiteY6" fmla="*/ 39810 h 78007"/>
                <a:gd name="connsiteX7" fmla="*/ 0 w 103938"/>
                <a:gd name="connsiteY7" fmla="*/ 15675 h 78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938" h="78007">
                  <a:moveTo>
                    <a:pt x="0" y="15675"/>
                  </a:moveTo>
                  <a:cubicBezTo>
                    <a:pt x="0" y="6625"/>
                    <a:pt x="9050" y="-2425"/>
                    <a:pt x="18100" y="592"/>
                  </a:cubicBezTo>
                  <a:cubicBezTo>
                    <a:pt x="42235" y="9642"/>
                    <a:pt x="69385" y="15675"/>
                    <a:pt x="93519" y="24726"/>
                  </a:cubicBezTo>
                  <a:cubicBezTo>
                    <a:pt x="105587" y="27743"/>
                    <a:pt x="105587" y="45843"/>
                    <a:pt x="99553" y="51876"/>
                  </a:cubicBezTo>
                  <a:cubicBezTo>
                    <a:pt x="111620" y="60927"/>
                    <a:pt x="96537" y="85061"/>
                    <a:pt x="81453" y="76011"/>
                  </a:cubicBezTo>
                  <a:cubicBezTo>
                    <a:pt x="60335" y="63944"/>
                    <a:pt x="39218" y="57910"/>
                    <a:pt x="15084" y="54893"/>
                  </a:cubicBezTo>
                  <a:cubicBezTo>
                    <a:pt x="6034" y="54893"/>
                    <a:pt x="3016" y="45843"/>
                    <a:pt x="6034" y="39810"/>
                  </a:cubicBezTo>
                  <a:cubicBezTo>
                    <a:pt x="0" y="33776"/>
                    <a:pt x="0" y="24726"/>
                    <a:pt x="0" y="15675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A6BB153C-481E-4627-8FAC-01EECDE12852}"/>
                </a:ext>
              </a:extLst>
            </p:cNvPr>
            <p:cNvSpPr/>
            <p:nvPr/>
          </p:nvSpPr>
          <p:spPr>
            <a:xfrm>
              <a:off x="24058908" y="8653522"/>
              <a:ext cx="236866" cy="407262"/>
            </a:xfrm>
            <a:custGeom>
              <a:avLst/>
              <a:gdLst>
                <a:gd name="connsiteX0" fmla="*/ 203681 w 236866"/>
                <a:gd name="connsiteY0" fmla="*/ 0 h 407262"/>
                <a:gd name="connsiteX1" fmla="*/ 28709 w 236866"/>
                <a:gd name="connsiteY1" fmla="*/ 193073 h 407262"/>
                <a:gd name="connsiteX2" fmla="*/ 10609 w 236866"/>
                <a:gd name="connsiteY2" fmla="*/ 386145 h 407262"/>
                <a:gd name="connsiteX3" fmla="*/ 55861 w 236866"/>
                <a:gd name="connsiteY3" fmla="*/ 386145 h 407262"/>
                <a:gd name="connsiteX4" fmla="*/ 131280 w 236866"/>
                <a:gd name="connsiteY4" fmla="*/ 407263 h 407262"/>
                <a:gd name="connsiteX5" fmla="*/ 173513 w 236866"/>
                <a:gd name="connsiteY5" fmla="*/ 380112 h 407262"/>
                <a:gd name="connsiteX6" fmla="*/ 236866 w 236866"/>
                <a:gd name="connsiteY6" fmla="*/ 36201 h 407262"/>
                <a:gd name="connsiteX7" fmla="*/ 203681 w 236866"/>
                <a:gd name="connsiteY7" fmla="*/ 0 h 407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866" h="407262">
                  <a:moveTo>
                    <a:pt x="203681" y="0"/>
                  </a:moveTo>
                  <a:cubicBezTo>
                    <a:pt x="203681" y="0"/>
                    <a:pt x="64911" y="90503"/>
                    <a:pt x="28709" y="193073"/>
                  </a:cubicBezTo>
                  <a:cubicBezTo>
                    <a:pt x="-7492" y="298660"/>
                    <a:pt x="-4474" y="377095"/>
                    <a:pt x="10609" y="386145"/>
                  </a:cubicBezTo>
                  <a:cubicBezTo>
                    <a:pt x="22675" y="395196"/>
                    <a:pt x="37759" y="377095"/>
                    <a:pt x="55861" y="386145"/>
                  </a:cubicBezTo>
                  <a:cubicBezTo>
                    <a:pt x="73961" y="395196"/>
                    <a:pt x="119212" y="407263"/>
                    <a:pt x="131280" y="407263"/>
                  </a:cubicBezTo>
                  <a:cubicBezTo>
                    <a:pt x="146364" y="407263"/>
                    <a:pt x="179547" y="392179"/>
                    <a:pt x="173513" y="380112"/>
                  </a:cubicBezTo>
                  <a:cubicBezTo>
                    <a:pt x="167479" y="368045"/>
                    <a:pt x="212731" y="63352"/>
                    <a:pt x="236866" y="36201"/>
                  </a:cubicBezTo>
                  <a:lnTo>
                    <a:pt x="203681" y="0"/>
                  </a:lnTo>
                  <a:close/>
                </a:path>
              </a:pathLst>
            </a:custGeom>
            <a:solidFill>
              <a:srgbClr val="F1DDBA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5659B84D-42AD-4ADF-97DA-9448E5E97BEF}"/>
                </a:ext>
              </a:extLst>
            </p:cNvPr>
            <p:cNvSpPr/>
            <p:nvPr/>
          </p:nvSpPr>
          <p:spPr>
            <a:xfrm>
              <a:off x="24105717" y="8690477"/>
              <a:ext cx="147067" cy="261704"/>
            </a:xfrm>
            <a:custGeom>
              <a:avLst/>
              <a:gdLst>
                <a:gd name="connsiteX0" fmla="*/ 6034 w 147067"/>
                <a:gd name="connsiteY0" fmla="*/ 261704 h 261704"/>
                <a:gd name="connsiteX1" fmla="*/ 6034 w 147067"/>
                <a:gd name="connsiteY1" fmla="*/ 261704 h 261704"/>
                <a:gd name="connsiteX2" fmla="*/ 0 w 147067"/>
                <a:gd name="connsiteY2" fmla="*/ 255670 h 261704"/>
                <a:gd name="connsiteX3" fmla="*/ 135754 w 147067"/>
                <a:gd name="connsiteY3" fmla="*/ 2263 h 261704"/>
                <a:gd name="connsiteX4" fmla="*/ 144806 w 147067"/>
                <a:gd name="connsiteY4" fmla="*/ 2263 h 261704"/>
                <a:gd name="connsiteX5" fmla="*/ 144806 w 147067"/>
                <a:gd name="connsiteY5" fmla="*/ 11313 h 261704"/>
                <a:gd name="connsiteX6" fmla="*/ 12068 w 147067"/>
                <a:gd name="connsiteY6" fmla="*/ 258687 h 261704"/>
                <a:gd name="connsiteX7" fmla="*/ 6034 w 147067"/>
                <a:gd name="connsiteY7" fmla="*/ 261704 h 261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067" h="261704">
                  <a:moveTo>
                    <a:pt x="6034" y="261704"/>
                  </a:moveTo>
                  <a:cubicBezTo>
                    <a:pt x="6034" y="261704"/>
                    <a:pt x="6034" y="261704"/>
                    <a:pt x="6034" y="261704"/>
                  </a:cubicBezTo>
                  <a:cubicBezTo>
                    <a:pt x="3018" y="261704"/>
                    <a:pt x="0" y="258687"/>
                    <a:pt x="0" y="255670"/>
                  </a:cubicBezTo>
                  <a:cubicBezTo>
                    <a:pt x="6034" y="138017"/>
                    <a:pt x="129722" y="8296"/>
                    <a:pt x="135754" y="2263"/>
                  </a:cubicBezTo>
                  <a:cubicBezTo>
                    <a:pt x="138772" y="-754"/>
                    <a:pt x="141788" y="-754"/>
                    <a:pt x="144806" y="2263"/>
                  </a:cubicBezTo>
                  <a:cubicBezTo>
                    <a:pt x="147822" y="5280"/>
                    <a:pt x="147822" y="8296"/>
                    <a:pt x="144806" y="11313"/>
                  </a:cubicBezTo>
                  <a:cubicBezTo>
                    <a:pt x="144806" y="11313"/>
                    <a:pt x="18102" y="144050"/>
                    <a:pt x="12068" y="258687"/>
                  </a:cubicBezTo>
                  <a:cubicBezTo>
                    <a:pt x="12068" y="258687"/>
                    <a:pt x="9052" y="261704"/>
                    <a:pt x="6034" y="261704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B464D349-334D-4EEA-BC6F-9D51534E8573}"/>
                </a:ext>
              </a:extLst>
            </p:cNvPr>
            <p:cNvSpPr/>
            <p:nvPr/>
          </p:nvSpPr>
          <p:spPr>
            <a:xfrm>
              <a:off x="24208288" y="8637846"/>
              <a:ext cx="103938" cy="78007"/>
            </a:xfrm>
            <a:custGeom>
              <a:avLst/>
              <a:gdLst>
                <a:gd name="connsiteX0" fmla="*/ 0 w 103938"/>
                <a:gd name="connsiteY0" fmla="*/ 15675 h 78007"/>
                <a:gd name="connsiteX1" fmla="*/ 18100 w 103938"/>
                <a:gd name="connsiteY1" fmla="*/ 592 h 78007"/>
                <a:gd name="connsiteX2" fmla="*/ 93519 w 103938"/>
                <a:gd name="connsiteY2" fmla="*/ 24726 h 78007"/>
                <a:gd name="connsiteX3" fmla="*/ 99553 w 103938"/>
                <a:gd name="connsiteY3" fmla="*/ 51876 h 78007"/>
                <a:gd name="connsiteX4" fmla="*/ 81453 w 103938"/>
                <a:gd name="connsiteY4" fmla="*/ 76011 h 78007"/>
                <a:gd name="connsiteX5" fmla="*/ 15084 w 103938"/>
                <a:gd name="connsiteY5" fmla="*/ 54893 h 78007"/>
                <a:gd name="connsiteX6" fmla="*/ 6034 w 103938"/>
                <a:gd name="connsiteY6" fmla="*/ 39810 h 78007"/>
                <a:gd name="connsiteX7" fmla="*/ 0 w 103938"/>
                <a:gd name="connsiteY7" fmla="*/ 15675 h 78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938" h="78007">
                  <a:moveTo>
                    <a:pt x="0" y="15675"/>
                  </a:moveTo>
                  <a:cubicBezTo>
                    <a:pt x="0" y="6625"/>
                    <a:pt x="9050" y="-2425"/>
                    <a:pt x="18100" y="592"/>
                  </a:cubicBezTo>
                  <a:cubicBezTo>
                    <a:pt x="42235" y="9642"/>
                    <a:pt x="69385" y="15675"/>
                    <a:pt x="93519" y="24726"/>
                  </a:cubicBezTo>
                  <a:cubicBezTo>
                    <a:pt x="105587" y="27743"/>
                    <a:pt x="105587" y="45843"/>
                    <a:pt x="99553" y="51876"/>
                  </a:cubicBezTo>
                  <a:cubicBezTo>
                    <a:pt x="111620" y="60927"/>
                    <a:pt x="96537" y="85061"/>
                    <a:pt x="81453" y="76011"/>
                  </a:cubicBezTo>
                  <a:cubicBezTo>
                    <a:pt x="60335" y="63944"/>
                    <a:pt x="39218" y="57910"/>
                    <a:pt x="15084" y="54893"/>
                  </a:cubicBezTo>
                  <a:cubicBezTo>
                    <a:pt x="6034" y="54893"/>
                    <a:pt x="3016" y="45843"/>
                    <a:pt x="6034" y="39810"/>
                  </a:cubicBezTo>
                  <a:cubicBezTo>
                    <a:pt x="3016" y="33776"/>
                    <a:pt x="0" y="24726"/>
                    <a:pt x="0" y="15675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313A1DC9-8D87-405B-9AE7-81A68F42241D}"/>
                </a:ext>
              </a:extLst>
            </p:cNvPr>
            <p:cNvSpPr/>
            <p:nvPr/>
          </p:nvSpPr>
          <p:spPr>
            <a:xfrm>
              <a:off x="24023016" y="9600784"/>
              <a:ext cx="158120" cy="87485"/>
            </a:xfrm>
            <a:custGeom>
              <a:avLst/>
              <a:gdLst>
                <a:gd name="connsiteX0" fmla="*/ 76669 w 158120"/>
                <a:gd name="connsiteY0" fmla="*/ 87486 h 87485"/>
                <a:gd name="connsiteX1" fmla="*/ 73651 w 158120"/>
                <a:gd name="connsiteY1" fmla="*/ 84469 h 87485"/>
                <a:gd name="connsiteX2" fmla="*/ 64601 w 158120"/>
                <a:gd name="connsiteY2" fmla="*/ 69385 h 87485"/>
                <a:gd name="connsiteX3" fmla="*/ 49518 w 158120"/>
                <a:gd name="connsiteY3" fmla="*/ 51284 h 87485"/>
                <a:gd name="connsiteX4" fmla="*/ 31418 w 158120"/>
                <a:gd name="connsiteY4" fmla="*/ 48268 h 87485"/>
                <a:gd name="connsiteX5" fmla="*/ 1250 w 158120"/>
                <a:gd name="connsiteY5" fmla="*/ 36201 h 87485"/>
                <a:gd name="connsiteX6" fmla="*/ 4266 w 158120"/>
                <a:gd name="connsiteY6" fmla="*/ 18101 h 87485"/>
                <a:gd name="connsiteX7" fmla="*/ 61585 w 158120"/>
                <a:gd name="connsiteY7" fmla="*/ 0 h 87485"/>
                <a:gd name="connsiteX8" fmla="*/ 61585 w 158120"/>
                <a:gd name="connsiteY8" fmla="*/ 0 h 87485"/>
                <a:gd name="connsiteX9" fmla="*/ 155104 w 158120"/>
                <a:gd name="connsiteY9" fmla="*/ 36201 h 87485"/>
                <a:gd name="connsiteX10" fmla="*/ 158120 w 158120"/>
                <a:gd name="connsiteY10" fmla="*/ 45251 h 87485"/>
                <a:gd name="connsiteX11" fmla="*/ 149070 w 158120"/>
                <a:gd name="connsiteY11" fmla="*/ 48268 h 87485"/>
                <a:gd name="connsiteX12" fmla="*/ 61585 w 158120"/>
                <a:gd name="connsiteY12" fmla="*/ 12067 h 87485"/>
                <a:gd name="connsiteX13" fmla="*/ 61585 w 158120"/>
                <a:gd name="connsiteY13" fmla="*/ 12067 h 87485"/>
                <a:gd name="connsiteX14" fmla="*/ 16334 w 158120"/>
                <a:gd name="connsiteY14" fmla="*/ 27151 h 87485"/>
                <a:gd name="connsiteX15" fmla="*/ 16334 w 158120"/>
                <a:gd name="connsiteY15" fmla="*/ 33185 h 87485"/>
                <a:gd name="connsiteX16" fmla="*/ 37450 w 158120"/>
                <a:gd name="connsiteY16" fmla="*/ 36201 h 87485"/>
                <a:gd name="connsiteX17" fmla="*/ 55551 w 158120"/>
                <a:gd name="connsiteY17" fmla="*/ 39218 h 87485"/>
                <a:gd name="connsiteX18" fmla="*/ 79685 w 158120"/>
                <a:gd name="connsiteY18" fmla="*/ 63352 h 87485"/>
                <a:gd name="connsiteX19" fmla="*/ 88735 w 158120"/>
                <a:gd name="connsiteY19" fmla="*/ 75419 h 87485"/>
                <a:gd name="connsiteX20" fmla="*/ 88735 w 158120"/>
                <a:gd name="connsiteY20" fmla="*/ 84469 h 87485"/>
                <a:gd name="connsiteX21" fmla="*/ 76669 w 158120"/>
                <a:gd name="connsiteY21" fmla="*/ 87486 h 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8120" h="87485">
                  <a:moveTo>
                    <a:pt x="76669" y="87486"/>
                  </a:moveTo>
                  <a:cubicBezTo>
                    <a:pt x="73651" y="87486"/>
                    <a:pt x="73651" y="87486"/>
                    <a:pt x="73651" y="84469"/>
                  </a:cubicBezTo>
                  <a:cubicBezTo>
                    <a:pt x="70635" y="81452"/>
                    <a:pt x="67617" y="75419"/>
                    <a:pt x="64601" y="69385"/>
                  </a:cubicBezTo>
                  <a:cubicBezTo>
                    <a:pt x="58567" y="60335"/>
                    <a:pt x="55551" y="51284"/>
                    <a:pt x="49518" y="51284"/>
                  </a:cubicBezTo>
                  <a:cubicBezTo>
                    <a:pt x="46501" y="51284"/>
                    <a:pt x="40468" y="48268"/>
                    <a:pt x="31418" y="48268"/>
                  </a:cubicBezTo>
                  <a:cubicBezTo>
                    <a:pt x="16334" y="48268"/>
                    <a:pt x="4266" y="48268"/>
                    <a:pt x="1250" y="36201"/>
                  </a:cubicBezTo>
                  <a:cubicBezTo>
                    <a:pt x="-1768" y="30168"/>
                    <a:pt x="1250" y="24134"/>
                    <a:pt x="4266" y="18101"/>
                  </a:cubicBezTo>
                  <a:cubicBezTo>
                    <a:pt x="13316" y="3017"/>
                    <a:pt x="43484" y="0"/>
                    <a:pt x="61585" y="0"/>
                  </a:cubicBezTo>
                  <a:cubicBezTo>
                    <a:pt x="61585" y="0"/>
                    <a:pt x="61585" y="0"/>
                    <a:pt x="61585" y="0"/>
                  </a:cubicBezTo>
                  <a:cubicBezTo>
                    <a:pt x="82701" y="0"/>
                    <a:pt x="146054" y="33185"/>
                    <a:pt x="155104" y="36201"/>
                  </a:cubicBezTo>
                  <a:cubicBezTo>
                    <a:pt x="158120" y="36201"/>
                    <a:pt x="158120" y="42234"/>
                    <a:pt x="158120" y="45251"/>
                  </a:cubicBezTo>
                  <a:cubicBezTo>
                    <a:pt x="158120" y="48268"/>
                    <a:pt x="152088" y="48268"/>
                    <a:pt x="149070" y="48268"/>
                  </a:cubicBezTo>
                  <a:cubicBezTo>
                    <a:pt x="130970" y="39218"/>
                    <a:pt x="76669" y="12067"/>
                    <a:pt x="61585" y="12067"/>
                  </a:cubicBezTo>
                  <a:cubicBezTo>
                    <a:pt x="61585" y="12067"/>
                    <a:pt x="61585" y="12067"/>
                    <a:pt x="61585" y="12067"/>
                  </a:cubicBezTo>
                  <a:cubicBezTo>
                    <a:pt x="43484" y="12067"/>
                    <a:pt x="22366" y="18101"/>
                    <a:pt x="16334" y="27151"/>
                  </a:cubicBezTo>
                  <a:cubicBezTo>
                    <a:pt x="16334" y="30168"/>
                    <a:pt x="13316" y="30168"/>
                    <a:pt x="16334" y="33185"/>
                  </a:cubicBezTo>
                  <a:cubicBezTo>
                    <a:pt x="16334" y="36201"/>
                    <a:pt x="31418" y="36201"/>
                    <a:pt x="37450" y="36201"/>
                  </a:cubicBezTo>
                  <a:cubicBezTo>
                    <a:pt x="43484" y="36201"/>
                    <a:pt x="52534" y="36201"/>
                    <a:pt x="55551" y="39218"/>
                  </a:cubicBezTo>
                  <a:cubicBezTo>
                    <a:pt x="67617" y="42234"/>
                    <a:pt x="73651" y="54301"/>
                    <a:pt x="79685" y="63352"/>
                  </a:cubicBezTo>
                  <a:cubicBezTo>
                    <a:pt x="82701" y="69385"/>
                    <a:pt x="85719" y="72402"/>
                    <a:pt x="88735" y="75419"/>
                  </a:cubicBezTo>
                  <a:cubicBezTo>
                    <a:pt x="91753" y="78436"/>
                    <a:pt x="91753" y="81452"/>
                    <a:pt x="88735" y="84469"/>
                  </a:cubicBezTo>
                  <a:cubicBezTo>
                    <a:pt x="79685" y="84469"/>
                    <a:pt x="79685" y="87486"/>
                    <a:pt x="76669" y="87486"/>
                  </a:cubicBezTo>
                  <a:close/>
                </a:path>
              </a:pathLst>
            </a:custGeom>
            <a:solidFill>
              <a:srgbClr val="E58777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48" name="图形 1">
              <a:extLst>
                <a:ext uri="{FF2B5EF4-FFF2-40B4-BE49-F238E27FC236}">
                  <a16:creationId xmlns:a16="http://schemas.microsoft.com/office/drawing/2014/main" id="{BB95FD1E-E8EA-4030-907F-15B91750CB8B}"/>
                </a:ext>
              </a:extLst>
            </p:cNvPr>
            <p:cNvGrpSpPr/>
            <p:nvPr/>
          </p:nvGrpSpPr>
          <p:grpSpPr>
            <a:xfrm>
              <a:off x="23119237" y="9130170"/>
              <a:ext cx="1055865" cy="585251"/>
              <a:chOff x="23119237" y="9130170"/>
              <a:chExt cx="1055865" cy="585251"/>
            </a:xfrm>
          </p:grpSpPr>
          <p:sp>
            <p:nvSpPr>
              <p:cNvPr id="175" name="任意多边形: 形状 174">
                <a:extLst>
                  <a:ext uri="{FF2B5EF4-FFF2-40B4-BE49-F238E27FC236}">
                    <a16:creationId xmlns:a16="http://schemas.microsoft.com/office/drawing/2014/main" id="{2EE26242-D48C-401A-AA7F-BD0103DF2421}"/>
                  </a:ext>
                </a:extLst>
              </p:cNvPr>
              <p:cNvSpPr/>
              <p:nvPr/>
            </p:nvSpPr>
            <p:spPr>
              <a:xfrm>
                <a:off x="23300243" y="9130170"/>
                <a:ext cx="874860" cy="585251"/>
              </a:xfrm>
              <a:custGeom>
                <a:avLst/>
                <a:gdLst>
                  <a:gd name="connsiteX0" fmla="*/ 1 w 874860"/>
                  <a:gd name="connsiteY0" fmla="*/ 0 h 585251"/>
                  <a:gd name="connsiteX1" fmla="*/ 874861 w 874860"/>
                  <a:gd name="connsiteY1" fmla="*/ 0 h 585251"/>
                  <a:gd name="connsiteX2" fmla="*/ 874861 w 874860"/>
                  <a:gd name="connsiteY2" fmla="*/ 585251 h 585251"/>
                  <a:gd name="connsiteX3" fmla="*/ 1 w 874860"/>
                  <a:gd name="connsiteY3" fmla="*/ 585251 h 585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4860" h="585251">
                    <a:moveTo>
                      <a:pt x="1" y="0"/>
                    </a:moveTo>
                    <a:lnTo>
                      <a:pt x="874861" y="0"/>
                    </a:lnTo>
                    <a:lnTo>
                      <a:pt x="874861" y="585251"/>
                    </a:lnTo>
                    <a:lnTo>
                      <a:pt x="1" y="585251"/>
                    </a:lnTo>
                    <a:close/>
                  </a:path>
                </a:pathLst>
              </a:custGeom>
              <a:solidFill>
                <a:srgbClr val="E8D2AF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6" name="任意多边形: 形状 175">
                <a:extLst>
                  <a:ext uri="{FF2B5EF4-FFF2-40B4-BE49-F238E27FC236}">
                    <a16:creationId xmlns:a16="http://schemas.microsoft.com/office/drawing/2014/main" id="{B4786DCE-A1E6-4592-A950-C63848F81442}"/>
                  </a:ext>
                </a:extLst>
              </p:cNvPr>
              <p:cNvSpPr/>
              <p:nvPr/>
            </p:nvSpPr>
            <p:spPr>
              <a:xfrm>
                <a:off x="23119237" y="9130170"/>
                <a:ext cx="874860" cy="585251"/>
              </a:xfrm>
              <a:custGeom>
                <a:avLst/>
                <a:gdLst>
                  <a:gd name="connsiteX0" fmla="*/ 1 w 874860"/>
                  <a:gd name="connsiteY0" fmla="*/ 0 h 585251"/>
                  <a:gd name="connsiteX1" fmla="*/ 874861 w 874860"/>
                  <a:gd name="connsiteY1" fmla="*/ 0 h 585251"/>
                  <a:gd name="connsiteX2" fmla="*/ 874861 w 874860"/>
                  <a:gd name="connsiteY2" fmla="*/ 585251 h 585251"/>
                  <a:gd name="connsiteX3" fmla="*/ 1 w 874860"/>
                  <a:gd name="connsiteY3" fmla="*/ 585251 h 585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4860" h="585251">
                    <a:moveTo>
                      <a:pt x="1" y="0"/>
                    </a:moveTo>
                    <a:lnTo>
                      <a:pt x="874861" y="0"/>
                    </a:lnTo>
                    <a:lnTo>
                      <a:pt x="874861" y="585251"/>
                    </a:lnTo>
                    <a:lnTo>
                      <a:pt x="1" y="585251"/>
                    </a:ln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7" name="任意多边形: 形状 176">
                <a:extLst>
                  <a:ext uri="{FF2B5EF4-FFF2-40B4-BE49-F238E27FC236}">
                    <a16:creationId xmlns:a16="http://schemas.microsoft.com/office/drawing/2014/main" id="{E49E7D0E-CE3F-457E-A61A-C5718D086706}"/>
                  </a:ext>
                </a:extLst>
              </p:cNvPr>
              <p:cNvSpPr/>
              <p:nvPr/>
            </p:nvSpPr>
            <p:spPr>
              <a:xfrm rot="-10800000">
                <a:off x="23688198" y="9207731"/>
                <a:ext cx="232290" cy="30167"/>
              </a:xfrm>
              <a:custGeom>
                <a:avLst/>
                <a:gdLst>
                  <a:gd name="connsiteX0" fmla="*/ 0 w 232290"/>
                  <a:gd name="connsiteY0" fmla="*/ 0 h 30167"/>
                  <a:gd name="connsiteX1" fmla="*/ 232290 w 232290"/>
                  <a:gd name="connsiteY1" fmla="*/ 0 h 30167"/>
                  <a:gd name="connsiteX2" fmla="*/ 232290 w 232290"/>
                  <a:gd name="connsiteY2" fmla="*/ 30168 h 30167"/>
                  <a:gd name="connsiteX3" fmla="*/ 0 w 232290"/>
                  <a:gd name="connsiteY3" fmla="*/ 30168 h 30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2290" h="30167">
                    <a:moveTo>
                      <a:pt x="0" y="0"/>
                    </a:moveTo>
                    <a:lnTo>
                      <a:pt x="232290" y="0"/>
                    </a:lnTo>
                    <a:lnTo>
                      <a:pt x="232290" y="30168"/>
                    </a:lnTo>
                    <a:lnTo>
                      <a:pt x="0" y="30168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8" name="任意多边形: 形状 177">
                <a:extLst>
                  <a:ext uri="{FF2B5EF4-FFF2-40B4-BE49-F238E27FC236}">
                    <a16:creationId xmlns:a16="http://schemas.microsoft.com/office/drawing/2014/main" id="{4CD3968A-9732-4E80-81B8-61DACEF5CF02}"/>
                  </a:ext>
                </a:extLst>
              </p:cNvPr>
              <p:cNvSpPr/>
              <p:nvPr/>
            </p:nvSpPr>
            <p:spPr>
              <a:xfrm rot="-10800000">
                <a:off x="23688198" y="9281219"/>
                <a:ext cx="232290" cy="30167"/>
              </a:xfrm>
              <a:custGeom>
                <a:avLst/>
                <a:gdLst>
                  <a:gd name="connsiteX0" fmla="*/ 0 w 232290"/>
                  <a:gd name="connsiteY0" fmla="*/ 0 h 30167"/>
                  <a:gd name="connsiteX1" fmla="*/ 232290 w 232290"/>
                  <a:gd name="connsiteY1" fmla="*/ 0 h 30167"/>
                  <a:gd name="connsiteX2" fmla="*/ 232290 w 232290"/>
                  <a:gd name="connsiteY2" fmla="*/ 30168 h 30167"/>
                  <a:gd name="connsiteX3" fmla="*/ 0 w 232290"/>
                  <a:gd name="connsiteY3" fmla="*/ 30168 h 30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2290" h="30167">
                    <a:moveTo>
                      <a:pt x="0" y="0"/>
                    </a:moveTo>
                    <a:lnTo>
                      <a:pt x="232290" y="0"/>
                    </a:lnTo>
                    <a:lnTo>
                      <a:pt x="232290" y="30168"/>
                    </a:lnTo>
                    <a:lnTo>
                      <a:pt x="0" y="30168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9" name="任意多边形: 形状 178">
                <a:extLst>
                  <a:ext uri="{FF2B5EF4-FFF2-40B4-BE49-F238E27FC236}">
                    <a16:creationId xmlns:a16="http://schemas.microsoft.com/office/drawing/2014/main" id="{10A750CE-CB7D-4AA4-AA72-AA5E4E61CDDE}"/>
                  </a:ext>
                </a:extLst>
              </p:cNvPr>
              <p:cNvSpPr/>
              <p:nvPr/>
            </p:nvSpPr>
            <p:spPr>
              <a:xfrm>
                <a:off x="23188369" y="9208606"/>
                <a:ext cx="114891" cy="138770"/>
              </a:xfrm>
              <a:custGeom>
                <a:avLst/>
                <a:gdLst>
                  <a:gd name="connsiteX0" fmla="*/ 54556 w 114891"/>
                  <a:gd name="connsiteY0" fmla="*/ 0 h 138770"/>
                  <a:gd name="connsiteX1" fmla="*/ 114891 w 114891"/>
                  <a:gd name="connsiteY1" fmla="*/ 60335 h 138770"/>
                  <a:gd name="connsiteX2" fmla="*/ 114891 w 114891"/>
                  <a:gd name="connsiteY2" fmla="*/ 63352 h 138770"/>
                  <a:gd name="connsiteX3" fmla="*/ 93774 w 114891"/>
                  <a:gd name="connsiteY3" fmla="*/ 48268 h 138770"/>
                  <a:gd name="connsiteX4" fmla="*/ 75674 w 114891"/>
                  <a:gd name="connsiteY4" fmla="*/ 57318 h 138770"/>
                  <a:gd name="connsiteX5" fmla="*/ 63606 w 114891"/>
                  <a:gd name="connsiteY5" fmla="*/ 48268 h 138770"/>
                  <a:gd name="connsiteX6" fmla="*/ 63606 w 114891"/>
                  <a:gd name="connsiteY6" fmla="*/ 117653 h 138770"/>
                  <a:gd name="connsiteX7" fmla="*/ 72656 w 114891"/>
                  <a:gd name="connsiteY7" fmla="*/ 126704 h 138770"/>
                  <a:gd name="connsiteX8" fmla="*/ 81708 w 114891"/>
                  <a:gd name="connsiteY8" fmla="*/ 117653 h 138770"/>
                  <a:gd name="connsiteX9" fmla="*/ 81708 w 114891"/>
                  <a:gd name="connsiteY9" fmla="*/ 108603 h 138770"/>
                  <a:gd name="connsiteX10" fmla="*/ 93774 w 114891"/>
                  <a:gd name="connsiteY10" fmla="*/ 108603 h 138770"/>
                  <a:gd name="connsiteX11" fmla="*/ 93774 w 114891"/>
                  <a:gd name="connsiteY11" fmla="*/ 117653 h 138770"/>
                  <a:gd name="connsiteX12" fmla="*/ 72656 w 114891"/>
                  <a:gd name="connsiteY12" fmla="*/ 138771 h 138770"/>
                  <a:gd name="connsiteX13" fmla="*/ 51540 w 114891"/>
                  <a:gd name="connsiteY13" fmla="*/ 117653 h 138770"/>
                  <a:gd name="connsiteX14" fmla="*/ 51540 w 114891"/>
                  <a:gd name="connsiteY14" fmla="*/ 48268 h 138770"/>
                  <a:gd name="connsiteX15" fmla="*/ 39472 w 114891"/>
                  <a:gd name="connsiteY15" fmla="*/ 57318 h 138770"/>
                  <a:gd name="connsiteX16" fmla="*/ 21372 w 114891"/>
                  <a:gd name="connsiteY16" fmla="*/ 48268 h 138770"/>
                  <a:gd name="connsiteX17" fmla="*/ 255 w 114891"/>
                  <a:gd name="connsiteY17" fmla="*/ 63352 h 138770"/>
                  <a:gd name="connsiteX18" fmla="*/ 255 w 114891"/>
                  <a:gd name="connsiteY18" fmla="*/ 60335 h 138770"/>
                  <a:gd name="connsiteX19" fmla="*/ 54556 w 114891"/>
                  <a:gd name="connsiteY19" fmla="*/ 0 h 138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4891" h="138770">
                    <a:moveTo>
                      <a:pt x="54556" y="0"/>
                    </a:moveTo>
                    <a:cubicBezTo>
                      <a:pt x="87740" y="0"/>
                      <a:pt x="114891" y="27151"/>
                      <a:pt x="114891" y="60335"/>
                    </a:cubicBezTo>
                    <a:cubicBezTo>
                      <a:pt x="114891" y="60335"/>
                      <a:pt x="114891" y="63352"/>
                      <a:pt x="114891" y="63352"/>
                    </a:cubicBezTo>
                    <a:cubicBezTo>
                      <a:pt x="111875" y="54301"/>
                      <a:pt x="102823" y="48268"/>
                      <a:pt x="93774" y="48268"/>
                    </a:cubicBezTo>
                    <a:cubicBezTo>
                      <a:pt x="84724" y="48268"/>
                      <a:pt x="78690" y="51285"/>
                      <a:pt x="75674" y="57318"/>
                    </a:cubicBezTo>
                    <a:cubicBezTo>
                      <a:pt x="72656" y="54301"/>
                      <a:pt x="66624" y="48268"/>
                      <a:pt x="63606" y="48268"/>
                    </a:cubicBezTo>
                    <a:lnTo>
                      <a:pt x="63606" y="117653"/>
                    </a:lnTo>
                    <a:cubicBezTo>
                      <a:pt x="63606" y="120670"/>
                      <a:pt x="66624" y="126704"/>
                      <a:pt x="72656" y="126704"/>
                    </a:cubicBezTo>
                    <a:cubicBezTo>
                      <a:pt x="78690" y="126704"/>
                      <a:pt x="81708" y="123687"/>
                      <a:pt x="81708" y="117653"/>
                    </a:cubicBezTo>
                    <a:lnTo>
                      <a:pt x="81708" y="108603"/>
                    </a:lnTo>
                    <a:lnTo>
                      <a:pt x="93774" y="108603"/>
                    </a:lnTo>
                    <a:lnTo>
                      <a:pt x="93774" y="117653"/>
                    </a:lnTo>
                    <a:cubicBezTo>
                      <a:pt x="93774" y="129720"/>
                      <a:pt x="84724" y="138771"/>
                      <a:pt x="72656" y="138771"/>
                    </a:cubicBezTo>
                    <a:cubicBezTo>
                      <a:pt x="60590" y="138771"/>
                      <a:pt x="51540" y="129720"/>
                      <a:pt x="51540" y="117653"/>
                    </a:cubicBezTo>
                    <a:lnTo>
                      <a:pt x="51540" y="48268"/>
                    </a:lnTo>
                    <a:cubicBezTo>
                      <a:pt x="45506" y="51285"/>
                      <a:pt x="42488" y="54301"/>
                      <a:pt x="39472" y="57318"/>
                    </a:cubicBezTo>
                    <a:cubicBezTo>
                      <a:pt x="36456" y="51285"/>
                      <a:pt x="27404" y="48268"/>
                      <a:pt x="21372" y="48268"/>
                    </a:cubicBezTo>
                    <a:cubicBezTo>
                      <a:pt x="12321" y="48268"/>
                      <a:pt x="3271" y="54301"/>
                      <a:pt x="255" y="63352"/>
                    </a:cubicBezTo>
                    <a:cubicBezTo>
                      <a:pt x="255" y="63352"/>
                      <a:pt x="255" y="60335"/>
                      <a:pt x="255" y="60335"/>
                    </a:cubicBezTo>
                    <a:cubicBezTo>
                      <a:pt x="-2763" y="27151"/>
                      <a:pt x="21372" y="0"/>
                      <a:pt x="54556" y="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49" name="图形 1">
              <a:extLst>
                <a:ext uri="{FF2B5EF4-FFF2-40B4-BE49-F238E27FC236}">
                  <a16:creationId xmlns:a16="http://schemas.microsoft.com/office/drawing/2014/main" id="{F56F71E7-9321-4022-A1F3-DCA86C8C0B30}"/>
                </a:ext>
              </a:extLst>
            </p:cNvPr>
            <p:cNvGrpSpPr/>
            <p:nvPr/>
          </p:nvGrpSpPr>
          <p:grpSpPr>
            <a:xfrm>
              <a:off x="23185606" y="8722907"/>
              <a:ext cx="745139" cy="413296"/>
              <a:chOff x="23185606" y="8722907"/>
              <a:chExt cx="745139" cy="413296"/>
            </a:xfrm>
          </p:grpSpPr>
          <p:sp>
            <p:nvSpPr>
              <p:cNvPr id="170" name="任意多边形: 形状 169">
                <a:extLst>
                  <a:ext uri="{FF2B5EF4-FFF2-40B4-BE49-F238E27FC236}">
                    <a16:creationId xmlns:a16="http://schemas.microsoft.com/office/drawing/2014/main" id="{544E4B1A-446B-498B-869D-4AFE857DA4DB}"/>
                  </a:ext>
                </a:extLst>
              </p:cNvPr>
              <p:cNvSpPr/>
              <p:nvPr/>
            </p:nvSpPr>
            <p:spPr>
              <a:xfrm>
                <a:off x="23312310" y="8722907"/>
                <a:ext cx="618435" cy="413296"/>
              </a:xfrm>
              <a:custGeom>
                <a:avLst/>
                <a:gdLst>
                  <a:gd name="connsiteX0" fmla="*/ 0 w 618435"/>
                  <a:gd name="connsiteY0" fmla="*/ 0 h 413296"/>
                  <a:gd name="connsiteX1" fmla="*/ 618435 w 618435"/>
                  <a:gd name="connsiteY1" fmla="*/ 0 h 413296"/>
                  <a:gd name="connsiteX2" fmla="*/ 618435 w 618435"/>
                  <a:gd name="connsiteY2" fmla="*/ 413296 h 413296"/>
                  <a:gd name="connsiteX3" fmla="*/ 0 w 618435"/>
                  <a:gd name="connsiteY3" fmla="*/ 413296 h 413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8435" h="413296">
                    <a:moveTo>
                      <a:pt x="0" y="0"/>
                    </a:moveTo>
                    <a:lnTo>
                      <a:pt x="618435" y="0"/>
                    </a:lnTo>
                    <a:lnTo>
                      <a:pt x="618435" y="413296"/>
                    </a:lnTo>
                    <a:lnTo>
                      <a:pt x="0" y="413296"/>
                    </a:lnTo>
                    <a:close/>
                  </a:path>
                </a:pathLst>
              </a:custGeom>
              <a:solidFill>
                <a:srgbClr val="E8D2AF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1" name="任意多边形: 形状 170">
                <a:extLst>
                  <a:ext uri="{FF2B5EF4-FFF2-40B4-BE49-F238E27FC236}">
                    <a16:creationId xmlns:a16="http://schemas.microsoft.com/office/drawing/2014/main" id="{91B3CD09-7A5E-48EF-BE44-4FCD94C8254B}"/>
                  </a:ext>
                </a:extLst>
              </p:cNvPr>
              <p:cNvSpPr/>
              <p:nvPr/>
            </p:nvSpPr>
            <p:spPr>
              <a:xfrm>
                <a:off x="23185606" y="8722907"/>
                <a:ext cx="618435" cy="413296"/>
              </a:xfrm>
              <a:custGeom>
                <a:avLst/>
                <a:gdLst>
                  <a:gd name="connsiteX0" fmla="*/ -1 w 618435"/>
                  <a:gd name="connsiteY0" fmla="*/ 0 h 413296"/>
                  <a:gd name="connsiteX1" fmla="*/ 618435 w 618435"/>
                  <a:gd name="connsiteY1" fmla="*/ 0 h 413296"/>
                  <a:gd name="connsiteX2" fmla="*/ 618435 w 618435"/>
                  <a:gd name="connsiteY2" fmla="*/ 413296 h 413296"/>
                  <a:gd name="connsiteX3" fmla="*/ -1 w 618435"/>
                  <a:gd name="connsiteY3" fmla="*/ 413296 h 413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8435" h="413296">
                    <a:moveTo>
                      <a:pt x="-1" y="0"/>
                    </a:moveTo>
                    <a:lnTo>
                      <a:pt x="618435" y="0"/>
                    </a:lnTo>
                    <a:lnTo>
                      <a:pt x="618435" y="413296"/>
                    </a:lnTo>
                    <a:lnTo>
                      <a:pt x="-1" y="413296"/>
                    </a:ln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2" name="任意多边形: 形状 171">
                <a:extLst>
                  <a:ext uri="{FF2B5EF4-FFF2-40B4-BE49-F238E27FC236}">
                    <a16:creationId xmlns:a16="http://schemas.microsoft.com/office/drawing/2014/main" id="{2DAF66D6-B110-48E8-BF7B-FD94B0D43779}"/>
                  </a:ext>
                </a:extLst>
              </p:cNvPr>
              <p:cNvSpPr/>
              <p:nvPr/>
            </p:nvSpPr>
            <p:spPr>
              <a:xfrm rot="-10800000">
                <a:off x="23586835" y="8775550"/>
                <a:ext cx="162905" cy="21117"/>
              </a:xfrm>
              <a:custGeom>
                <a:avLst/>
                <a:gdLst>
                  <a:gd name="connsiteX0" fmla="*/ 1 w 162905"/>
                  <a:gd name="connsiteY0" fmla="*/ 0 h 21117"/>
                  <a:gd name="connsiteX1" fmla="*/ 162907 w 162905"/>
                  <a:gd name="connsiteY1" fmla="*/ 0 h 21117"/>
                  <a:gd name="connsiteX2" fmla="*/ 162907 w 162905"/>
                  <a:gd name="connsiteY2" fmla="*/ 21117 h 21117"/>
                  <a:gd name="connsiteX3" fmla="*/ 1 w 162905"/>
                  <a:gd name="connsiteY3" fmla="*/ 21117 h 21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905" h="21117">
                    <a:moveTo>
                      <a:pt x="1" y="0"/>
                    </a:moveTo>
                    <a:lnTo>
                      <a:pt x="162907" y="0"/>
                    </a:lnTo>
                    <a:lnTo>
                      <a:pt x="162907" y="21117"/>
                    </a:lnTo>
                    <a:lnTo>
                      <a:pt x="1" y="21117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3" name="任意多边形: 形状 172">
                <a:extLst>
                  <a:ext uri="{FF2B5EF4-FFF2-40B4-BE49-F238E27FC236}">
                    <a16:creationId xmlns:a16="http://schemas.microsoft.com/office/drawing/2014/main" id="{4B101328-732E-42BB-B8A1-066153AA734F}"/>
                  </a:ext>
                </a:extLst>
              </p:cNvPr>
              <p:cNvSpPr/>
              <p:nvPr/>
            </p:nvSpPr>
            <p:spPr>
              <a:xfrm rot="-10800000">
                <a:off x="23586835" y="8828041"/>
                <a:ext cx="162905" cy="21117"/>
              </a:xfrm>
              <a:custGeom>
                <a:avLst/>
                <a:gdLst>
                  <a:gd name="connsiteX0" fmla="*/ 1 w 162905"/>
                  <a:gd name="connsiteY0" fmla="*/ 0 h 21117"/>
                  <a:gd name="connsiteX1" fmla="*/ 162907 w 162905"/>
                  <a:gd name="connsiteY1" fmla="*/ 0 h 21117"/>
                  <a:gd name="connsiteX2" fmla="*/ 162907 w 162905"/>
                  <a:gd name="connsiteY2" fmla="*/ 21117 h 21117"/>
                  <a:gd name="connsiteX3" fmla="*/ 1 w 162905"/>
                  <a:gd name="connsiteY3" fmla="*/ 21117 h 21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905" h="21117">
                    <a:moveTo>
                      <a:pt x="1" y="0"/>
                    </a:moveTo>
                    <a:lnTo>
                      <a:pt x="162907" y="0"/>
                    </a:lnTo>
                    <a:lnTo>
                      <a:pt x="162907" y="21117"/>
                    </a:lnTo>
                    <a:lnTo>
                      <a:pt x="1" y="21117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4" name="任意多边形: 形状 173">
                <a:extLst>
                  <a:ext uri="{FF2B5EF4-FFF2-40B4-BE49-F238E27FC236}">
                    <a16:creationId xmlns:a16="http://schemas.microsoft.com/office/drawing/2014/main" id="{C912CC6A-69F7-4E2D-B6FB-0C3749868177}"/>
                  </a:ext>
                </a:extLst>
              </p:cNvPr>
              <p:cNvSpPr/>
              <p:nvPr/>
            </p:nvSpPr>
            <p:spPr>
              <a:xfrm>
                <a:off x="23227841" y="8777209"/>
                <a:ext cx="87486" cy="99553"/>
              </a:xfrm>
              <a:custGeom>
                <a:avLst/>
                <a:gdLst>
                  <a:gd name="connsiteX0" fmla="*/ 45251 w 87486"/>
                  <a:gd name="connsiteY0" fmla="*/ 0 h 99553"/>
                  <a:gd name="connsiteX1" fmla="*/ 87487 w 87486"/>
                  <a:gd name="connsiteY1" fmla="*/ 42234 h 99553"/>
                  <a:gd name="connsiteX2" fmla="*/ 87487 w 87486"/>
                  <a:gd name="connsiteY2" fmla="*/ 45251 h 99553"/>
                  <a:gd name="connsiteX3" fmla="*/ 72403 w 87486"/>
                  <a:gd name="connsiteY3" fmla="*/ 36201 h 99553"/>
                  <a:gd name="connsiteX4" fmla="*/ 57319 w 87486"/>
                  <a:gd name="connsiteY4" fmla="*/ 42234 h 99553"/>
                  <a:gd name="connsiteX5" fmla="*/ 48267 w 87486"/>
                  <a:gd name="connsiteY5" fmla="*/ 36201 h 99553"/>
                  <a:gd name="connsiteX6" fmla="*/ 48267 w 87486"/>
                  <a:gd name="connsiteY6" fmla="*/ 84469 h 99553"/>
                  <a:gd name="connsiteX7" fmla="*/ 54301 w 87486"/>
                  <a:gd name="connsiteY7" fmla="*/ 90503 h 99553"/>
                  <a:gd name="connsiteX8" fmla="*/ 60335 w 87486"/>
                  <a:gd name="connsiteY8" fmla="*/ 84469 h 99553"/>
                  <a:gd name="connsiteX9" fmla="*/ 60335 w 87486"/>
                  <a:gd name="connsiteY9" fmla="*/ 78435 h 99553"/>
                  <a:gd name="connsiteX10" fmla="*/ 69385 w 87486"/>
                  <a:gd name="connsiteY10" fmla="*/ 78435 h 99553"/>
                  <a:gd name="connsiteX11" fmla="*/ 69385 w 87486"/>
                  <a:gd name="connsiteY11" fmla="*/ 84469 h 99553"/>
                  <a:gd name="connsiteX12" fmla="*/ 54301 w 87486"/>
                  <a:gd name="connsiteY12" fmla="*/ 99553 h 99553"/>
                  <a:gd name="connsiteX13" fmla="*/ 39218 w 87486"/>
                  <a:gd name="connsiteY13" fmla="*/ 84469 h 99553"/>
                  <a:gd name="connsiteX14" fmla="*/ 39218 w 87486"/>
                  <a:gd name="connsiteY14" fmla="*/ 36201 h 99553"/>
                  <a:gd name="connsiteX15" fmla="*/ 30168 w 87486"/>
                  <a:gd name="connsiteY15" fmla="*/ 42234 h 99553"/>
                  <a:gd name="connsiteX16" fmla="*/ 15084 w 87486"/>
                  <a:gd name="connsiteY16" fmla="*/ 36201 h 99553"/>
                  <a:gd name="connsiteX17" fmla="*/ 0 w 87486"/>
                  <a:gd name="connsiteY17" fmla="*/ 45251 h 99553"/>
                  <a:gd name="connsiteX18" fmla="*/ 0 w 87486"/>
                  <a:gd name="connsiteY18" fmla="*/ 42234 h 99553"/>
                  <a:gd name="connsiteX19" fmla="*/ 45251 w 87486"/>
                  <a:gd name="connsiteY19" fmla="*/ 0 h 99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7486" h="99553">
                    <a:moveTo>
                      <a:pt x="45251" y="0"/>
                    </a:moveTo>
                    <a:cubicBezTo>
                      <a:pt x="69385" y="0"/>
                      <a:pt x="87487" y="18100"/>
                      <a:pt x="87487" y="42234"/>
                    </a:cubicBezTo>
                    <a:cubicBezTo>
                      <a:pt x="87487" y="42234"/>
                      <a:pt x="87487" y="42234"/>
                      <a:pt x="87487" y="45251"/>
                    </a:cubicBezTo>
                    <a:cubicBezTo>
                      <a:pt x="84469" y="39218"/>
                      <a:pt x="78435" y="36201"/>
                      <a:pt x="72403" y="36201"/>
                    </a:cubicBezTo>
                    <a:cubicBezTo>
                      <a:pt x="66369" y="36201"/>
                      <a:pt x="60335" y="39218"/>
                      <a:pt x="57319" y="42234"/>
                    </a:cubicBezTo>
                    <a:cubicBezTo>
                      <a:pt x="54301" y="39218"/>
                      <a:pt x="51285" y="36201"/>
                      <a:pt x="48267" y="36201"/>
                    </a:cubicBezTo>
                    <a:lnTo>
                      <a:pt x="48267" y="84469"/>
                    </a:lnTo>
                    <a:cubicBezTo>
                      <a:pt x="48267" y="87486"/>
                      <a:pt x="51285" y="90503"/>
                      <a:pt x="54301" y="90503"/>
                    </a:cubicBezTo>
                    <a:cubicBezTo>
                      <a:pt x="57319" y="90503"/>
                      <a:pt x="60335" y="87486"/>
                      <a:pt x="60335" y="84469"/>
                    </a:cubicBezTo>
                    <a:lnTo>
                      <a:pt x="60335" y="78435"/>
                    </a:lnTo>
                    <a:lnTo>
                      <a:pt x="69385" y="78435"/>
                    </a:lnTo>
                    <a:lnTo>
                      <a:pt x="69385" y="84469"/>
                    </a:lnTo>
                    <a:cubicBezTo>
                      <a:pt x="69385" y="93519"/>
                      <a:pt x="63351" y="99553"/>
                      <a:pt x="54301" y="99553"/>
                    </a:cubicBezTo>
                    <a:cubicBezTo>
                      <a:pt x="45251" y="99553"/>
                      <a:pt x="39218" y="93519"/>
                      <a:pt x="39218" y="84469"/>
                    </a:cubicBezTo>
                    <a:lnTo>
                      <a:pt x="39218" y="36201"/>
                    </a:lnTo>
                    <a:cubicBezTo>
                      <a:pt x="36201" y="36201"/>
                      <a:pt x="33184" y="39218"/>
                      <a:pt x="30168" y="42234"/>
                    </a:cubicBezTo>
                    <a:cubicBezTo>
                      <a:pt x="27152" y="39218"/>
                      <a:pt x="21118" y="36201"/>
                      <a:pt x="15084" y="36201"/>
                    </a:cubicBezTo>
                    <a:cubicBezTo>
                      <a:pt x="9050" y="36201"/>
                      <a:pt x="3016" y="39218"/>
                      <a:pt x="0" y="45251"/>
                    </a:cubicBezTo>
                    <a:cubicBezTo>
                      <a:pt x="0" y="45251"/>
                      <a:pt x="0" y="45251"/>
                      <a:pt x="0" y="42234"/>
                    </a:cubicBezTo>
                    <a:cubicBezTo>
                      <a:pt x="3016" y="18100"/>
                      <a:pt x="21118" y="0"/>
                      <a:pt x="45251" y="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50" name="图形 1">
              <a:extLst>
                <a:ext uri="{FF2B5EF4-FFF2-40B4-BE49-F238E27FC236}">
                  <a16:creationId xmlns:a16="http://schemas.microsoft.com/office/drawing/2014/main" id="{17C1B950-7D3C-4D1D-82A6-8361E3A20748}"/>
                </a:ext>
              </a:extLst>
            </p:cNvPr>
            <p:cNvGrpSpPr/>
            <p:nvPr/>
          </p:nvGrpSpPr>
          <p:grpSpPr>
            <a:xfrm>
              <a:off x="23086642" y="9392439"/>
              <a:ext cx="121747" cy="166110"/>
              <a:chOff x="23086642" y="9392439"/>
              <a:chExt cx="121747" cy="166110"/>
            </a:xfrm>
          </p:grpSpPr>
          <p:sp>
            <p:nvSpPr>
              <p:cNvPr id="164" name="任意多边形: 形状 163">
                <a:extLst>
                  <a:ext uri="{FF2B5EF4-FFF2-40B4-BE49-F238E27FC236}">
                    <a16:creationId xmlns:a16="http://schemas.microsoft.com/office/drawing/2014/main" id="{3E2B4819-0C78-473C-8737-D3A1E7E21262}"/>
                  </a:ext>
                </a:extLst>
              </p:cNvPr>
              <p:cNvSpPr/>
              <p:nvPr/>
            </p:nvSpPr>
            <p:spPr>
              <a:xfrm>
                <a:off x="23086642" y="9401437"/>
                <a:ext cx="111153" cy="57805"/>
              </a:xfrm>
              <a:custGeom>
                <a:avLst/>
                <a:gdLst>
                  <a:gd name="connsiteX0" fmla="*/ 11479 w 111153"/>
                  <a:gd name="connsiteY0" fmla="*/ 6275 h 57805"/>
                  <a:gd name="connsiteX1" fmla="*/ 80864 w 111153"/>
                  <a:gd name="connsiteY1" fmla="*/ 3258 h 57805"/>
                  <a:gd name="connsiteX2" fmla="*/ 92932 w 111153"/>
                  <a:gd name="connsiteY2" fmla="*/ 3258 h 57805"/>
                  <a:gd name="connsiteX3" fmla="*/ 101982 w 111153"/>
                  <a:gd name="connsiteY3" fmla="*/ 9292 h 57805"/>
                  <a:gd name="connsiteX4" fmla="*/ 108015 w 111153"/>
                  <a:gd name="connsiteY4" fmla="*/ 45493 h 57805"/>
                  <a:gd name="connsiteX5" fmla="*/ 74830 w 111153"/>
                  <a:gd name="connsiteY5" fmla="*/ 57560 h 57805"/>
                  <a:gd name="connsiteX6" fmla="*/ 29579 w 111153"/>
                  <a:gd name="connsiteY6" fmla="*/ 54543 h 57805"/>
                  <a:gd name="connsiteX7" fmla="*/ 2429 w 111153"/>
                  <a:gd name="connsiteY7" fmla="*/ 39459 h 57805"/>
                  <a:gd name="connsiteX8" fmla="*/ 11479 w 111153"/>
                  <a:gd name="connsiteY8" fmla="*/ 6275 h 57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153" h="57805">
                    <a:moveTo>
                      <a:pt x="11479" y="6275"/>
                    </a:moveTo>
                    <a:cubicBezTo>
                      <a:pt x="32596" y="-5792"/>
                      <a:pt x="56730" y="3258"/>
                      <a:pt x="80864" y="3258"/>
                    </a:cubicBezTo>
                    <a:cubicBezTo>
                      <a:pt x="83880" y="3258"/>
                      <a:pt x="89914" y="241"/>
                      <a:pt x="92932" y="3258"/>
                    </a:cubicBezTo>
                    <a:cubicBezTo>
                      <a:pt x="95948" y="3258"/>
                      <a:pt x="98964" y="6275"/>
                      <a:pt x="101982" y="9292"/>
                    </a:cubicBezTo>
                    <a:cubicBezTo>
                      <a:pt x="111031" y="18342"/>
                      <a:pt x="114047" y="33426"/>
                      <a:pt x="108015" y="45493"/>
                    </a:cubicBezTo>
                    <a:cubicBezTo>
                      <a:pt x="101982" y="60576"/>
                      <a:pt x="83880" y="57560"/>
                      <a:pt x="74830" y="57560"/>
                    </a:cubicBezTo>
                    <a:cubicBezTo>
                      <a:pt x="59746" y="57560"/>
                      <a:pt x="44662" y="57560"/>
                      <a:pt x="29579" y="54543"/>
                    </a:cubicBezTo>
                    <a:cubicBezTo>
                      <a:pt x="20529" y="51527"/>
                      <a:pt x="5445" y="54543"/>
                      <a:pt x="2429" y="39459"/>
                    </a:cubicBezTo>
                    <a:cubicBezTo>
                      <a:pt x="-3605" y="27392"/>
                      <a:pt x="2429" y="12308"/>
                      <a:pt x="11479" y="6275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29A3E3C5-945A-47F8-89D3-1D3ED12F5116}"/>
                  </a:ext>
                </a:extLst>
              </p:cNvPr>
              <p:cNvSpPr/>
              <p:nvPr/>
            </p:nvSpPr>
            <p:spPr>
              <a:xfrm>
                <a:off x="23094301" y="9438693"/>
                <a:ext cx="109528" cy="62783"/>
              </a:xfrm>
              <a:custGeom>
                <a:avLst/>
                <a:gdLst>
                  <a:gd name="connsiteX0" fmla="*/ 9854 w 109528"/>
                  <a:gd name="connsiteY0" fmla="*/ 11253 h 62783"/>
                  <a:gd name="connsiteX1" fmla="*/ 85273 w 109528"/>
                  <a:gd name="connsiteY1" fmla="*/ 5219 h 62783"/>
                  <a:gd name="connsiteX2" fmla="*/ 91305 w 109528"/>
                  <a:gd name="connsiteY2" fmla="*/ 8236 h 62783"/>
                  <a:gd name="connsiteX3" fmla="*/ 100357 w 109528"/>
                  <a:gd name="connsiteY3" fmla="*/ 14270 h 62783"/>
                  <a:gd name="connsiteX4" fmla="*/ 106389 w 109528"/>
                  <a:gd name="connsiteY4" fmla="*/ 50471 h 62783"/>
                  <a:gd name="connsiteX5" fmla="*/ 73205 w 109528"/>
                  <a:gd name="connsiteY5" fmla="*/ 62537 h 62783"/>
                  <a:gd name="connsiteX6" fmla="*/ 27954 w 109528"/>
                  <a:gd name="connsiteY6" fmla="*/ 59521 h 62783"/>
                  <a:gd name="connsiteX7" fmla="*/ 802 w 109528"/>
                  <a:gd name="connsiteY7" fmla="*/ 44438 h 62783"/>
                  <a:gd name="connsiteX8" fmla="*/ 9854 w 109528"/>
                  <a:gd name="connsiteY8" fmla="*/ 11253 h 62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528" h="62783">
                    <a:moveTo>
                      <a:pt x="9854" y="11253"/>
                    </a:moveTo>
                    <a:cubicBezTo>
                      <a:pt x="33988" y="-9865"/>
                      <a:pt x="61137" y="5219"/>
                      <a:pt x="85273" y="5219"/>
                    </a:cubicBezTo>
                    <a:cubicBezTo>
                      <a:pt x="88289" y="5219"/>
                      <a:pt x="88289" y="5219"/>
                      <a:pt x="91305" y="8236"/>
                    </a:cubicBezTo>
                    <a:cubicBezTo>
                      <a:pt x="94323" y="8236"/>
                      <a:pt x="97339" y="11253"/>
                      <a:pt x="100357" y="14270"/>
                    </a:cubicBezTo>
                    <a:cubicBezTo>
                      <a:pt x="109407" y="23320"/>
                      <a:pt x="112423" y="38404"/>
                      <a:pt x="106389" y="50471"/>
                    </a:cubicBezTo>
                    <a:cubicBezTo>
                      <a:pt x="100357" y="65554"/>
                      <a:pt x="82255" y="62537"/>
                      <a:pt x="73205" y="62537"/>
                    </a:cubicBezTo>
                    <a:cubicBezTo>
                      <a:pt x="58121" y="62537"/>
                      <a:pt x="43037" y="62537"/>
                      <a:pt x="27954" y="59521"/>
                    </a:cubicBezTo>
                    <a:cubicBezTo>
                      <a:pt x="18904" y="56505"/>
                      <a:pt x="3820" y="59521"/>
                      <a:pt x="802" y="44438"/>
                    </a:cubicBezTo>
                    <a:cubicBezTo>
                      <a:pt x="-2214" y="29354"/>
                      <a:pt x="3820" y="17286"/>
                      <a:pt x="9854" y="11253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CEC5EEEC-873B-4171-9207-B357F68A461D}"/>
                  </a:ext>
                </a:extLst>
              </p:cNvPr>
              <p:cNvSpPr/>
              <p:nvPr/>
            </p:nvSpPr>
            <p:spPr>
              <a:xfrm>
                <a:off x="23097998" y="9478189"/>
                <a:ext cx="97842" cy="53209"/>
              </a:xfrm>
              <a:custGeom>
                <a:avLst/>
                <a:gdLst>
                  <a:gd name="connsiteX0" fmla="*/ 9173 w 97842"/>
                  <a:gd name="connsiteY0" fmla="*/ 10975 h 53209"/>
                  <a:gd name="connsiteX1" fmla="*/ 75542 w 97842"/>
                  <a:gd name="connsiteY1" fmla="*/ 4942 h 53209"/>
                  <a:gd name="connsiteX2" fmla="*/ 81576 w 97842"/>
                  <a:gd name="connsiteY2" fmla="*/ 7958 h 53209"/>
                  <a:gd name="connsiteX3" fmla="*/ 90626 w 97842"/>
                  <a:gd name="connsiteY3" fmla="*/ 10975 h 53209"/>
                  <a:gd name="connsiteX4" fmla="*/ 96660 w 97842"/>
                  <a:gd name="connsiteY4" fmla="*/ 41142 h 53209"/>
                  <a:gd name="connsiteX5" fmla="*/ 66492 w 97842"/>
                  <a:gd name="connsiteY5" fmla="*/ 53209 h 53209"/>
                  <a:gd name="connsiteX6" fmla="*/ 27273 w 97842"/>
                  <a:gd name="connsiteY6" fmla="*/ 53209 h 53209"/>
                  <a:gd name="connsiteX7" fmla="*/ 3139 w 97842"/>
                  <a:gd name="connsiteY7" fmla="*/ 41142 h 53209"/>
                  <a:gd name="connsiteX8" fmla="*/ 9173 w 97842"/>
                  <a:gd name="connsiteY8" fmla="*/ 10975 h 53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7842" h="53209">
                    <a:moveTo>
                      <a:pt x="9173" y="10975"/>
                    </a:moveTo>
                    <a:cubicBezTo>
                      <a:pt x="30291" y="-7126"/>
                      <a:pt x="54424" y="1925"/>
                      <a:pt x="75542" y="4942"/>
                    </a:cubicBezTo>
                    <a:cubicBezTo>
                      <a:pt x="78558" y="4942"/>
                      <a:pt x="78558" y="4942"/>
                      <a:pt x="81576" y="7958"/>
                    </a:cubicBezTo>
                    <a:cubicBezTo>
                      <a:pt x="84592" y="7958"/>
                      <a:pt x="87608" y="10975"/>
                      <a:pt x="90626" y="10975"/>
                    </a:cubicBezTo>
                    <a:cubicBezTo>
                      <a:pt x="96660" y="17009"/>
                      <a:pt x="99676" y="32092"/>
                      <a:pt x="96660" y="41142"/>
                    </a:cubicBezTo>
                    <a:cubicBezTo>
                      <a:pt x="90626" y="53209"/>
                      <a:pt x="75542" y="53209"/>
                      <a:pt x="66492" y="53209"/>
                    </a:cubicBezTo>
                    <a:cubicBezTo>
                      <a:pt x="54424" y="53209"/>
                      <a:pt x="39340" y="53209"/>
                      <a:pt x="27273" y="53209"/>
                    </a:cubicBezTo>
                    <a:cubicBezTo>
                      <a:pt x="18223" y="53209"/>
                      <a:pt x="6157" y="53209"/>
                      <a:pt x="3139" y="41142"/>
                    </a:cubicBezTo>
                    <a:cubicBezTo>
                      <a:pt x="-2895" y="29075"/>
                      <a:pt x="123" y="17009"/>
                      <a:pt x="9173" y="10975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130F6F68-EB08-4BFA-BC48-30B733CA8174}"/>
                  </a:ext>
                </a:extLst>
              </p:cNvPr>
              <p:cNvSpPr/>
              <p:nvPr/>
            </p:nvSpPr>
            <p:spPr>
              <a:xfrm>
                <a:off x="23101137" y="9519656"/>
                <a:ext cx="72674" cy="38893"/>
              </a:xfrm>
              <a:custGeom>
                <a:avLst/>
                <a:gdLst>
                  <a:gd name="connsiteX0" fmla="*/ 9050 w 72674"/>
                  <a:gd name="connsiteY0" fmla="*/ 8726 h 38893"/>
                  <a:gd name="connsiteX1" fmla="*/ 57319 w 72674"/>
                  <a:gd name="connsiteY1" fmla="*/ 2692 h 38893"/>
                  <a:gd name="connsiteX2" fmla="*/ 60335 w 72674"/>
                  <a:gd name="connsiteY2" fmla="*/ 2692 h 38893"/>
                  <a:gd name="connsiteX3" fmla="*/ 66369 w 72674"/>
                  <a:gd name="connsiteY3" fmla="*/ 5709 h 38893"/>
                  <a:gd name="connsiteX4" fmla="*/ 69385 w 72674"/>
                  <a:gd name="connsiteY4" fmla="*/ 29843 h 38893"/>
                  <a:gd name="connsiteX5" fmla="*/ 48269 w 72674"/>
                  <a:gd name="connsiteY5" fmla="*/ 38894 h 38893"/>
                  <a:gd name="connsiteX6" fmla="*/ 18102 w 72674"/>
                  <a:gd name="connsiteY6" fmla="*/ 38894 h 38893"/>
                  <a:gd name="connsiteX7" fmla="*/ 0 w 72674"/>
                  <a:gd name="connsiteY7" fmla="*/ 29843 h 38893"/>
                  <a:gd name="connsiteX8" fmla="*/ 9050 w 72674"/>
                  <a:gd name="connsiteY8" fmla="*/ 8726 h 38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2674" h="38893">
                    <a:moveTo>
                      <a:pt x="9050" y="8726"/>
                    </a:moveTo>
                    <a:cubicBezTo>
                      <a:pt x="24134" y="-6357"/>
                      <a:pt x="42235" y="2692"/>
                      <a:pt x="57319" y="2692"/>
                    </a:cubicBezTo>
                    <a:cubicBezTo>
                      <a:pt x="57319" y="2692"/>
                      <a:pt x="60335" y="2692"/>
                      <a:pt x="60335" y="2692"/>
                    </a:cubicBezTo>
                    <a:cubicBezTo>
                      <a:pt x="63353" y="2692"/>
                      <a:pt x="66369" y="2692"/>
                      <a:pt x="66369" y="5709"/>
                    </a:cubicBezTo>
                    <a:cubicBezTo>
                      <a:pt x="72403" y="11742"/>
                      <a:pt x="75419" y="20793"/>
                      <a:pt x="69385" y="29843"/>
                    </a:cubicBezTo>
                    <a:cubicBezTo>
                      <a:pt x="63353" y="38894"/>
                      <a:pt x="54301" y="38894"/>
                      <a:pt x="48269" y="38894"/>
                    </a:cubicBezTo>
                    <a:cubicBezTo>
                      <a:pt x="39218" y="38894"/>
                      <a:pt x="30168" y="38894"/>
                      <a:pt x="18102" y="38894"/>
                    </a:cubicBezTo>
                    <a:cubicBezTo>
                      <a:pt x="12068" y="38894"/>
                      <a:pt x="3018" y="38894"/>
                      <a:pt x="0" y="29843"/>
                    </a:cubicBezTo>
                    <a:cubicBezTo>
                      <a:pt x="0" y="20793"/>
                      <a:pt x="6034" y="11742"/>
                      <a:pt x="9050" y="872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8" name="任意多边形: 形状 167">
                <a:extLst>
                  <a:ext uri="{FF2B5EF4-FFF2-40B4-BE49-F238E27FC236}">
                    <a16:creationId xmlns:a16="http://schemas.microsoft.com/office/drawing/2014/main" id="{5B28FB20-8680-4B08-A27F-C5DB58F89C9F}"/>
                  </a:ext>
                </a:extLst>
              </p:cNvPr>
              <p:cNvSpPr/>
              <p:nvPr/>
            </p:nvSpPr>
            <p:spPr>
              <a:xfrm>
                <a:off x="23089071" y="9392439"/>
                <a:ext cx="119318" cy="108791"/>
              </a:xfrm>
              <a:custGeom>
                <a:avLst/>
                <a:gdLst>
                  <a:gd name="connsiteX0" fmla="*/ 75419 w 119318"/>
                  <a:gd name="connsiteY0" fmla="*/ 108792 h 108791"/>
                  <a:gd name="connsiteX1" fmla="*/ 69385 w 119318"/>
                  <a:gd name="connsiteY1" fmla="*/ 108792 h 108791"/>
                  <a:gd name="connsiteX2" fmla="*/ 0 w 119318"/>
                  <a:gd name="connsiteY2" fmla="*/ 72591 h 108791"/>
                  <a:gd name="connsiteX3" fmla="*/ 6032 w 119318"/>
                  <a:gd name="connsiteY3" fmla="*/ 51473 h 108791"/>
                  <a:gd name="connsiteX4" fmla="*/ 15084 w 119318"/>
                  <a:gd name="connsiteY4" fmla="*/ 48457 h 108791"/>
                  <a:gd name="connsiteX5" fmla="*/ 102569 w 119318"/>
                  <a:gd name="connsiteY5" fmla="*/ 33373 h 108791"/>
                  <a:gd name="connsiteX6" fmla="*/ 99553 w 119318"/>
                  <a:gd name="connsiteY6" fmla="*/ 24323 h 108791"/>
                  <a:gd name="connsiteX7" fmla="*/ 33184 w 119318"/>
                  <a:gd name="connsiteY7" fmla="*/ 12256 h 108791"/>
                  <a:gd name="connsiteX8" fmla="*/ 27150 w 119318"/>
                  <a:gd name="connsiteY8" fmla="*/ 6222 h 108791"/>
                  <a:gd name="connsiteX9" fmla="*/ 33184 w 119318"/>
                  <a:gd name="connsiteY9" fmla="*/ 189 h 108791"/>
                  <a:gd name="connsiteX10" fmla="*/ 108603 w 119318"/>
                  <a:gd name="connsiteY10" fmla="*/ 15272 h 108791"/>
                  <a:gd name="connsiteX11" fmla="*/ 111619 w 119318"/>
                  <a:gd name="connsiteY11" fmla="*/ 33373 h 108791"/>
                  <a:gd name="connsiteX12" fmla="*/ 108603 w 119318"/>
                  <a:gd name="connsiteY12" fmla="*/ 45440 h 108791"/>
                  <a:gd name="connsiteX13" fmla="*/ 117653 w 119318"/>
                  <a:gd name="connsiteY13" fmla="*/ 81641 h 108791"/>
                  <a:gd name="connsiteX14" fmla="*/ 75419 w 119318"/>
                  <a:gd name="connsiteY14" fmla="*/ 108792 h 108791"/>
                  <a:gd name="connsiteX15" fmla="*/ 15084 w 119318"/>
                  <a:gd name="connsiteY15" fmla="*/ 63540 h 108791"/>
                  <a:gd name="connsiteX16" fmla="*/ 15084 w 119318"/>
                  <a:gd name="connsiteY16" fmla="*/ 63540 h 108791"/>
                  <a:gd name="connsiteX17" fmla="*/ 12066 w 119318"/>
                  <a:gd name="connsiteY17" fmla="*/ 75608 h 108791"/>
                  <a:gd name="connsiteX18" fmla="*/ 69385 w 119318"/>
                  <a:gd name="connsiteY18" fmla="*/ 99742 h 108791"/>
                  <a:gd name="connsiteX19" fmla="*/ 108603 w 119318"/>
                  <a:gd name="connsiteY19" fmla="*/ 87675 h 108791"/>
                  <a:gd name="connsiteX20" fmla="*/ 102569 w 119318"/>
                  <a:gd name="connsiteY20" fmla="*/ 63540 h 108791"/>
                  <a:gd name="connsiteX21" fmla="*/ 15084 w 119318"/>
                  <a:gd name="connsiteY21" fmla="*/ 63540 h 108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318" h="108791">
                    <a:moveTo>
                      <a:pt x="75419" y="108792"/>
                    </a:moveTo>
                    <a:cubicBezTo>
                      <a:pt x="72401" y="108792"/>
                      <a:pt x="72401" y="108792"/>
                      <a:pt x="69385" y="108792"/>
                    </a:cubicBezTo>
                    <a:cubicBezTo>
                      <a:pt x="12066" y="108792"/>
                      <a:pt x="0" y="87675"/>
                      <a:pt x="0" y="72591"/>
                    </a:cubicBezTo>
                    <a:cubicBezTo>
                      <a:pt x="0" y="63540"/>
                      <a:pt x="3016" y="57507"/>
                      <a:pt x="6032" y="51473"/>
                    </a:cubicBezTo>
                    <a:cubicBezTo>
                      <a:pt x="12066" y="48457"/>
                      <a:pt x="15084" y="48457"/>
                      <a:pt x="15084" y="48457"/>
                    </a:cubicBezTo>
                    <a:cubicBezTo>
                      <a:pt x="96535" y="63540"/>
                      <a:pt x="99553" y="45440"/>
                      <a:pt x="102569" y="33373"/>
                    </a:cubicBezTo>
                    <a:cubicBezTo>
                      <a:pt x="102569" y="30356"/>
                      <a:pt x="102569" y="27340"/>
                      <a:pt x="99553" y="24323"/>
                    </a:cubicBezTo>
                    <a:cubicBezTo>
                      <a:pt x="90503" y="12256"/>
                      <a:pt x="54301" y="12256"/>
                      <a:pt x="33184" y="12256"/>
                    </a:cubicBezTo>
                    <a:cubicBezTo>
                      <a:pt x="30168" y="12256"/>
                      <a:pt x="27150" y="9239"/>
                      <a:pt x="27150" y="6222"/>
                    </a:cubicBezTo>
                    <a:cubicBezTo>
                      <a:pt x="27150" y="3205"/>
                      <a:pt x="30168" y="189"/>
                      <a:pt x="33184" y="189"/>
                    </a:cubicBezTo>
                    <a:cubicBezTo>
                      <a:pt x="39218" y="189"/>
                      <a:pt x="90503" y="-2828"/>
                      <a:pt x="108603" y="15272"/>
                    </a:cubicBezTo>
                    <a:cubicBezTo>
                      <a:pt x="114637" y="21306"/>
                      <a:pt x="114637" y="27340"/>
                      <a:pt x="111619" y="33373"/>
                    </a:cubicBezTo>
                    <a:cubicBezTo>
                      <a:pt x="111619" y="36390"/>
                      <a:pt x="108603" y="42423"/>
                      <a:pt x="108603" y="45440"/>
                    </a:cubicBezTo>
                    <a:cubicBezTo>
                      <a:pt x="111619" y="48457"/>
                      <a:pt x="123686" y="66557"/>
                      <a:pt x="117653" y="81641"/>
                    </a:cubicBezTo>
                    <a:cubicBezTo>
                      <a:pt x="117653" y="105776"/>
                      <a:pt x="99553" y="108792"/>
                      <a:pt x="75419" y="108792"/>
                    </a:cubicBezTo>
                    <a:close/>
                    <a:moveTo>
                      <a:pt x="15084" y="63540"/>
                    </a:moveTo>
                    <a:cubicBezTo>
                      <a:pt x="15084" y="63540"/>
                      <a:pt x="15084" y="63540"/>
                      <a:pt x="15084" y="63540"/>
                    </a:cubicBezTo>
                    <a:cubicBezTo>
                      <a:pt x="12066" y="66557"/>
                      <a:pt x="12066" y="66557"/>
                      <a:pt x="12066" y="75608"/>
                    </a:cubicBezTo>
                    <a:cubicBezTo>
                      <a:pt x="12066" y="96725"/>
                      <a:pt x="54301" y="99742"/>
                      <a:pt x="69385" y="99742"/>
                    </a:cubicBezTo>
                    <a:cubicBezTo>
                      <a:pt x="99553" y="99742"/>
                      <a:pt x="108603" y="96725"/>
                      <a:pt x="108603" y="87675"/>
                    </a:cubicBezTo>
                    <a:cubicBezTo>
                      <a:pt x="111619" y="78624"/>
                      <a:pt x="105587" y="66557"/>
                      <a:pt x="102569" y="63540"/>
                    </a:cubicBezTo>
                    <a:cubicBezTo>
                      <a:pt x="90503" y="69574"/>
                      <a:pt x="66367" y="72591"/>
                      <a:pt x="15084" y="6354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9" name="任意多边形: 形状 168">
                <a:extLst>
                  <a:ext uri="{FF2B5EF4-FFF2-40B4-BE49-F238E27FC236}">
                    <a16:creationId xmlns:a16="http://schemas.microsoft.com/office/drawing/2014/main" id="{598B82DB-C751-46EC-A954-9DB081E10675}"/>
                  </a:ext>
                </a:extLst>
              </p:cNvPr>
              <p:cNvSpPr/>
              <p:nvPr/>
            </p:nvSpPr>
            <p:spPr>
              <a:xfrm>
                <a:off x="23092087" y="9481790"/>
                <a:ext cx="113590" cy="55642"/>
              </a:xfrm>
              <a:custGeom>
                <a:avLst/>
                <a:gdLst>
                  <a:gd name="connsiteX0" fmla="*/ 60335 w 113590"/>
                  <a:gd name="connsiteY0" fmla="*/ 55642 h 55642"/>
                  <a:gd name="connsiteX1" fmla="*/ 6034 w 113590"/>
                  <a:gd name="connsiteY1" fmla="*/ 46592 h 55642"/>
                  <a:gd name="connsiteX2" fmla="*/ 0 w 113590"/>
                  <a:gd name="connsiteY2" fmla="*/ 31508 h 55642"/>
                  <a:gd name="connsiteX3" fmla="*/ 12068 w 113590"/>
                  <a:gd name="connsiteY3" fmla="*/ 1341 h 55642"/>
                  <a:gd name="connsiteX4" fmla="*/ 21118 w 113590"/>
                  <a:gd name="connsiteY4" fmla="*/ 1341 h 55642"/>
                  <a:gd name="connsiteX5" fmla="*/ 21118 w 113590"/>
                  <a:gd name="connsiteY5" fmla="*/ 10391 h 55642"/>
                  <a:gd name="connsiteX6" fmla="*/ 15084 w 113590"/>
                  <a:gd name="connsiteY6" fmla="*/ 28492 h 55642"/>
                  <a:gd name="connsiteX7" fmla="*/ 15084 w 113590"/>
                  <a:gd name="connsiteY7" fmla="*/ 31508 h 55642"/>
                  <a:gd name="connsiteX8" fmla="*/ 84469 w 113590"/>
                  <a:gd name="connsiteY8" fmla="*/ 37541 h 55642"/>
                  <a:gd name="connsiteX9" fmla="*/ 99553 w 113590"/>
                  <a:gd name="connsiteY9" fmla="*/ 28492 h 55642"/>
                  <a:gd name="connsiteX10" fmla="*/ 102571 w 113590"/>
                  <a:gd name="connsiteY10" fmla="*/ 7374 h 55642"/>
                  <a:gd name="connsiteX11" fmla="*/ 105587 w 113590"/>
                  <a:gd name="connsiteY11" fmla="*/ 1341 h 55642"/>
                  <a:gd name="connsiteX12" fmla="*/ 111620 w 113590"/>
                  <a:gd name="connsiteY12" fmla="*/ 4357 h 55642"/>
                  <a:gd name="connsiteX13" fmla="*/ 108603 w 113590"/>
                  <a:gd name="connsiteY13" fmla="*/ 34524 h 55642"/>
                  <a:gd name="connsiteX14" fmla="*/ 87487 w 113590"/>
                  <a:gd name="connsiteY14" fmla="*/ 49608 h 55642"/>
                  <a:gd name="connsiteX15" fmla="*/ 60335 w 113590"/>
                  <a:gd name="connsiteY15" fmla="*/ 55642 h 55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3590" h="55642">
                    <a:moveTo>
                      <a:pt x="60335" y="55642"/>
                    </a:moveTo>
                    <a:cubicBezTo>
                      <a:pt x="36201" y="55642"/>
                      <a:pt x="15084" y="49608"/>
                      <a:pt x="6034" y="46592"/>
                    </a:cubicBezTo>
                    <a:cubicBezTo>
                      <a:pt x="3016" y="43575"/>
                      <a:pt x="0" y="40558"/>
                      <a:pt x="0" y="31508"/>
                    </a:cubicBezTo>
                    <a:cubicBezTo>
                      <a:pt x="0" y="22458"/>
                      <a:pt x="6034" y="7374"/>
                      <a:pt x="12068" y="1341"/>
                    </a:cubicBezTo>
                    <a:cubicBezTo>
                      <a:pt x="15084" y="-1676"/>
                      <a:pt x="18100" y="1341"/>
                      <a:pt x="21118" y="1341"/>
                    </a:cubicBezTo>
                    <a:cubicBezTo>
                      <a:pt x="24134" y="4357"/>
                      <a:pt x="21118" y="7374"/>
                      <a:pt x="21118" y="10391"/>
                    </a:cubicBezTo>
                    <a:cubicBezTo>
                      <a:pt x="18100" y="13408"/>
                      <a:pt x="15084" y="22458"/>
                      <a:pt x="15084" y="28492"/>
                    </a:cubicBezTo>
                    <a:cubicBezTo>
                      <a:pt x="15084" y="28492"/>
                      <a:pt x="15084" y="31508"/>
                      <a:pt x="15084" y="31508"/>
                    </a:cubicBezTo>
                    <a:cubicBezTo>
                      <a:pt x="21118" y="34524"/>
                      <a:pt x="54301" y="43575"/>
                      <a:pt x="84469" y="37541"/>
                    </a:cubicBezTo>
                    <a:cubicBezTo>
                      <a:pt x="90503" y="37541"/>
                      <a:pt x="96537" y="34524"/>
                      <a:pt x="99553" y="28492"/>
                    </a:cubicBezTo>
                    <a:cubicBezTo>
                      <a:pt x="105587" y="19441"/>
                      <a:pt x="102571" y="7374"/>
                      <a:pt x="102571" y="7374"/>
                    </a:cubicBezTo>
                    <a:cubicBezTo>
                      <a:pt x="102571" y="4357"/>
                      <a:pt x="102571" y="1341"/>
                      <a:pt x="105587" y="1341"/>
                    </a:cubicBezTo>
                    <a:cubicBezTo>
                      <a:pt x="108603" y="1341"/>
                      <a:pt x="111620" y="1341"/>
                      <a:pt x="111620" y="4357"/>
                    </a:cubicBezTo>
                    <a:cubicBezTo>
                      <a:pt x="111620" y="4357"/>
                      <a:pt x="117654" y="22458"/>
                      <a:pt x="108603" y="34524"/>
                    </a:cubicBezTo>
                    <a:cubicBezTo>
                      <a:pt x="102571" y="40558"/>
                      <a:pt x="96537" y="46592"/>
                      <a:pt x="87487" y="49608"/>
                    </a:cubicBezTo>
                    <a:cubicBezTo>
                      <a:pt x="75419" y="55642"/>
                      <a:pt x="66369" y="55642"/>
                      <a:pt x="60335" y="5564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51" name="图形 1">
              <a:extLst>
                <a:ext uri="{FF2B5EF4-FFF2-40B4-BE49-F238E27FC236}">
                  <a16:creationId xmlns:a16="http://schemas.microsoft.com/office/drawing/2014/main" id="{A4745588-9B45-4CD5-A642-CCA11CFD67CF}"/>
                </a:ext>
              </a:extLst>
            </p:cNvPr>
            <p:cNvGrpSpPr/>
            <p:nvPr/>
          </p:nvGrpSpPr>
          <p:grpSpPr>
            <a:xfrm>
              <a:off x="24074903" y="7917432"/>
              <a:ext cx="656686" cy="331843"/>
              <a:chOff x="24074903" y="7917432"/>
              <a:chExt cx="656686" cy="331843"/>
            </a:xfrm>
          </p:grpSpPr>
          <p:grpSp>
            <p:nvGrpSpPr>
              <p:cNvPr id="159" name="图形 1">
                <a:extLst>
                  <a:ext uri="{FF2B5EF4-FFF2-40B4-BE49-F238E27FC236}">
                    <a16:creationId xmlns:a16="http://schemas.microsoft.com/office/drawing/2014/main" id="{A9A13180-A0D0-4101-BA67-F135E73A5E7A}"/>
                  </a:ext>
                </a:extLst>
              </p:cNvPr>
              <p:cNvGrpSpPr/>
              <p:nvPr/>
            </p:nvGrpSpPr>
            <p:grpSpPr>
              <a:xfrm>
                <a:off x="24077847" y="7917432"/>
                <a:ext cx="653742" cy="331843"/>
                <a:chOff x="24077847" y="7917432"/>
                <a:chExt cx="653742" cy="331843"/>
              </a:xfrm>
            </p:grpSpPr>
            <p:sp>
              <p:nvSpPr>
                <p:cNvPr id="161" name="任意多边形: 形状 160">
                  <a:extLst>
                    <a:ext uri="{FF2B5EF4-FFF2-40B4-BE49-F238E27FC236}">
                      <a16:creationId xmlns:a16="http://schemas.microsoft.com/office/drawing/2014/main" id="{7AB391F4-87EE-4E86-9E87-248FB03038C7}"/>
                    </a:ext>
                  </a:extLst>
                </p:cNvPr>
                <p:cNvSpPr/>
                <p:nvPr/>
              </p:nvSpPr>
              <p:spPr>
                <a:xfrm>
                  <a:off x="24190158" y="7935429"/>
                  <a:ext cx="541431" cy="313846"/>
                </a:xfrm>
                <a:custGeom>
                  <a:avLst/>
                  <a:gdLst>
                    <a:gd name="connsiteX0" fmla="*/ 389190 w 541431"/>
                    <a:gd name="connsiteY0" fmla="*/ 208260 h 313846"/>
                    <a:gd name="connsiteX1" fmla="*/ 537012 w 541431"/>
                    <a:gd name="connsiteY1" fmla="*/ 313847 h 313846"/>
                    <a:gd name="connsiteX2" fmla="*/ 383157 w 541431"/>
                    <a:gd name="connsiteY2" fmla="*/ 21221 h 313846"/>
                    <a:gd name="connsiteX3" fmla="*/ 29 w 541431"/>
                    <a:gd name="connsiteY3" fmla="*/ 129824 h 313846"/>
                    <a:gd name="connsiteX4" fmla="*/ 389190 w 541431"/>
                    <a:gd name="connsiteY4" fmla="*/ 208260 h 313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1431" h="313846">
                      <a:moveTo>
                        <a:pt x="389190" y="208260"/>
                      </a:moveTo>
                      <a:cubicBezTo>
                        <a:pt x="425392" y="238428"/>
                        <a:pt x="497795" y="259545"/>
                        <a:pt x="537012" y="313847"/>
                      </a:cubicBezTo>
                      <a:cubicBezTo>
                        <a:pt x="537012" y="313847"/>
                        <a:pt x="582264" y="90606"/>
                        <a:pt x="383157" y="21221"/>
                      </a:cubicBezTo>
                      <a:cubicBezTo>
                        <a:pt x="220253" y="-36097"/>
                        <a:pt x="63381" y="30271"/>
                        <a:pt x="29" y="129824"/>
                      </a:cubicBezTo>
                      <a:cubicBezTo>
                        <a:pt x="-2988" y="126808"/>
                        <a:pt x="226286" y="72506"/>
                        <a:pt x="389190" y="20826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2" name="任意多边形: 形状 161">
                  <a:extLst>
                    <a:ext uri="{FF2B5EF4-FFF2-40B4-BE49-F238E27FC236}">
                      <a16:creationId xmlns:a16="http://schemas.microsoft.com/office/drawing/2014/main" id="{69E6E60D-5676-459E-A7BD-FD7B8A60AC48}"/>
                    </a:ext>
                  </a:extLst>
                </p:cNvPr>
                <p:cNvSpPr/>
                <p:nvPr/>
              </p:nvSpPr>
              <p:spPr>
                <a:xfrm>
                  <a:off x="24077847" y="7969555"/>
                  <a:ext cx="513569" cy="216369"/>
                </a:xfrm>
                <a:custGeom>
                  <a:avLst/>
                  <a:gdLst>
                    <a:gd name="connsiteX0" fmla="*/ 513569 w 513569"/>
                    <a:gd name="connsiteY0" fmla="*/ 186202 h 216369"/>
                    <a:gd name="connsiteX1" fmla="*/ 296362 w 513569"/>
                    <a:gd name="connsiteY1" fmla="*/ 47431 h 216369"/>
                    <a:gd name="connsiteX2" fmla="*/ 3736 w 513569"/>
                    <a:gd name="connsiteY2" fmla="*/ 59498 h 216369"/>
                    <a:gd name="connsiteX3" fmla="*/ 106307 w 513569"/>
                    <a:gd name="connsiteY3" fmla="*/ 216369 h 216369"/>
                    <a:gd name="connsiteX4" fmla="*/ 513569 w 513569"/>
                    <a:gd name="connsiteY4" fmla="*/ 186202 h 2163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3569" h="216369">
                      <a:moveTo>
                        <a:pt x="513569" y="186202"/>
                      </a:moveTo>
                      <a:cubicBezTo>
                        <a:pt x="513569" y="186202"/>
                        <a:pt x="438150" y="110783"/>
                        <a:pt x="296362" y="47431"/>
                      </a:cubicBezTo>
                      <a:cubicBezTo>
                        <a:pt x="148540" y="-21955"/>
                        <a:pt x="30888" y="-12904"/>
                        <a:pt x="3736" y="59498"/>
                      </a:cubicBezTo>
                      <a:cubicBezTo>
                        <a:pt x="-23414" y="131900"/>
                        <a:pt x="106307" y="216369"/>
                        <a:pt x="106307" y="216369"/>
                      </a:cubicBezTo>
                      <a:cubicBezTo>
                        <a:pt x="106307" y="216369"/>
                        <a:pt x="254127" y="77599"/>
                        <a:pt x="513569" y="186202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3" name="任意多边形: 形状 162">
                  <a:extLst>
                    <a:ext uri="{FF2B5EF4-FFF2-40B4-BE49-F238E27FC236}">
                      <a16:creationId xmlns:a16="http://schemas.microsoft.com/office/drawing/2014/main" id="{E3EE6B8C-742A-4669-BD92-BF71CF736104}"/>
                    </a:ext>
                  </a:extLst>
                </p:cNvPr>
                <p:cNvSpPr/>
                <p:nvPr/>
              </p:nvSpPr>
              <p:spPr>
                <a:xfrm>
                  <a:off x="24552199" y="7917432"/>
                  <a:ext cx="57317" cy="54301"/>
                </a:xfrm>
                <a:custGeom>
                  <a:avLst/>
                  <a:gdLst>
                    <a:gd name="connsiteX0" fmla="*/ 57317 w 57317"/>
                    <a:gd name="connsiteY0" fmla="*/ 27151 h 54301"/>
                    <a:gd name="connsiteX1" fmla="*/ 27150 w 57317"/>
                    <a:gd name="connsiteY1" fmla="*/ 0 h 54301"/>
                    <a:gd name="connsiteX2" fmla="*/ 0 w 57317"/>
                    <a:gd name="connsiteY2" fmla="*/ 27151 h 54301"/>
                    <a:gd name="connsiteX3" fmla="*/ 30168 w 57317"/>
                    <a:gd name="connsiteY3" fmla="*/ 54302 h 54301"/>
                    <a:gd name="connsiteX4" fmla="*/ 57317 w 57317"/>
                    <a:gd name="connsiteY4" fmla="*/ 27151 h 54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317" h="54301">
                      <a:moveTo>
                        <a:pt x="57317" y="27151"/>
                      </a:moveTo>
                      <a:cubicBezTo>
                        <a:pt x="57317" y="12067"/>
                        <a:pt x="45251" y="0"/>
                        <a:pt x="27150" y="0"/>
                      </a:cubicBezTo>
                      <a:cubicBezTo>
                        <a:pt x="12066" y="0"/>
                        <a:pt x="0" y="12067"/>
                        <a:pt x="0" y="27151"/>
                      </a:cubicBezTo>
                      <a:cubicBezTo>
                        <a:pt x="0" y="42234"/>
                        <a:pt x="12066" y="54302"/>
                        <a:pt x="30168" y="54302"/>
                      </a:cubicBezTo>
                      <a:cubicBezTo>
                        <a:pt x="45251" y="54302"/>
                        <a:pt x="57317" y="42234"/>
                        <a:pt x="57317" y="27151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2E727A60-F2FF-48FF-A152-EE04DDBAF09A}"/>
                  </a:ext>
                </a:extLst>
              </p:cNvPr>
              <p:cNvSpPr/>
              <p:nvPr/>
            </p:nvSpPr>
            <p:spPr>
              <a:xfrm>
                <a:off x="24074903" y="7962547"/>
                <a:ext cx="527825" cy="232426"/>
              </a:xfrm>
              <a:custGeom>
                <a:avLst/>
                <a:gdLst>
                  <a:gd name="connsiteX0" fmla="*/ 112267 w 527825"/>
                  <a:gd name="connsiteY0" fmla="*/ 229410 h 232426"/>
                  <a:gd name="connsiteX1" fmla="*/ 109251 w 527825"/>
                  <a:gd name="connsiteY1" fmla="*/ 229410 h 232426"/>
                  <a:gd name="connsiteX2" fmla="*/ 646 w 527825"/>
                  <a:gd name="connsiteY2" fmla="*/ 81589 h 232426"/>
                  <a:gd name="connsiteX3" fmla="*/ 70033 w 527825"/>
                  <a:gd name="connsiteY3" fmla="*/ 9187 h 232426"/>
                  <a:gd name="connsiteX4" fmla="*/ 525563 w 527825"/>
                  <a:gd name="connsiteY4" fmla="*/ 190193 h 232426"/>
                  <a:gd name="connsiteX5" fmla="*/ 525563 w 527825"/>
                  <a:gd name="connsiteY5" fmla="*/ 199242 h 232426"/>
                  <a:gd name="connsiteX6" fmla="*/ 516513 w 527825"/>
                  <a:gd name="connsiteY6" fmla="*/ 199242 h 232426"/>
                  <a:gd name="connsiteX7" fmla="*/ 73049 w 527825"/>
                  <a:gd name="connsiteY7" fmla="*/ 21254 h 232426"/>
                  <a:gd name="connsiteX8" fmla="*/ 12714 w 527825"/>
                  <a:gd name="connsiteY8" fmla="*/ 84606 h 232426"/>
                  <a:gd name="connsiteX9" fmla="*/ 118301 w 527825"/>
                  <a:gd name="connsiteY9" fmla="*/ 223377 h 232426"/>
                  <a:gd name="connsiteX10" fmla="*/ 118301 w 527825"/>
                  <a:gd name="connsiteY10" fmla="*/ 232427 h 232426"/>
                  <a:gd name="connsiteX11" fmla="*/ 112267 w 527825"/>
                  <a:gd name="connsiteY11" fmla="*/ 229410 h 232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7825" h="232426">
                    <a:moveTo>
                      <a:pt x="112267" y="229410"/>
                    </a:moveTo>
                    <a:cubicBezTo>
                      <a:pt x="112267" y="229410"/>
                      <a:pt x="109251" y="229410"/>
                      <a:pt x="109251" y="229410"/>
                    </a:cubicBezTo>
                    <a:cubicBezTo>
                      <a:pt x="30814" y="175109"/>
                      <a:pt x="-5386" y="123823"/>
                      <a:pt x="646" y="81589"/>
                    </a:cubicBezTo>
                    <a:cubicBezTo>
                      <a:pt x="3664" y="51421"/>
                      <a:pt x="27798" y="27287"/>
                      <a:pt x="70033" y="9187"/>
                    </a:cubicBezTo>
                    <a:cubicBezTo>
                      <a:pt x="208803" y="-48132"/>
                      <a:pt x="510479" y="181142"/>
                      <a:pt x="525563" y="190193"/>
                    </a:cubicBezTo>
                    <a:cubicBezTo>
                      <a:pt x="528579" y="193209"/>
                      <a:pt x="528579" y="196226"/>
                      <a:pt x="525563" y="199242"/>
                    </a:cubicBezTo>
                    <a:cubicBezTo>
                      <a:pt x="522547" y="202259"/>
                      <a:pt x="519529" y="202259"/>
                      <a:pt x="516513" y="199242"/>
                    </a:cubicBezTo>
                    <a:cubicBezTo>
                      <a:pt x="513495" y="196226"/>
                      <a:pt x="205787" y="-36064"/>
                      <a:pt x="73049" y="21254"/>
                    </a:cubicBezTo>
                    <a:cubicBezTo>
                      <a:pt x="51931" y="30304"/>
                      <a:pt x="15730" y="51421"/>
                      <a:pt x="12714" y="84606"/>
                    </a:cubicBezTo>
                    <a:cubicBezTo>
                      <a:pt x="9698" y="123823"/>
                      <a:pt x="42882" y="169075"/>
                      <a:pt x="118301" y="223377"/>
                    </a:cubicBezTo>
                    <a:cubicBezTo>
                      <a:pt x="121317" y="226394"/>
                      <a:pt x="121317" y="229410"/>
                      <a:pt x="118301" y="232427"/>
                    </a:cubicBezTo>
                    <a:cubicBezTo>
                      <a:pt x="115285" y="229410"/>
                      <a:pt x="112267" y="229410"/>
                      <a:pt x="112267" y="22941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FF88D2C2-89A5-4A03-AF17-B31BAEB3FF81}"/>
                </a:ext>
              </a:extLst>
            </p:cNvPr>
            <p:cNvSpPr/>
            <p:nvPr/>
          </p:nvSpPr>
          <p:spPr>
            <a:xfrm>
              <a:off x="24160020" y="8946905"/>
              <a:ext cx="716172" cy="819800"/>
            </a:xfrm>
            <a:custGeom>
              <a:avLst/>
              <a:gdLst>
                <a:gd name="connsiteX0" fmla="*/ 666703 w 716172"/>
                <a:gd name="connsiteY0" fmla="*/ 62594 h 819800"/>
                <a:gd name="connsiteX1" fmla="*/ 437430 w 716172"/>
                <a:gd name="connsiteY1" fmla="*/ 165164 h 819800"/>
                <a:gd name="connsiteX2" fmla="*/ 431396 w 716172"/>
                <a:gd name="connsiteY2" fmla="*/ 587510 h 819800"/>
                <a:gd name="connsiteX3" fmla="*/ 0 w 716172"/>
                <a:gd name="connsiteY3" fmla="*/ 696114 h 819800"/>
                <a:gd name="connsiteX4" fmla="*/ 12066 w 716172"/>
                <a:gd name="connsiteY4" fmla="*/ 819801 h 819800"/>
                <a:gd name="connsiteX5" fmla="*/ 612402 w 716172"/>
                <a:gd name="connsiteY5" fmla="*/ 705164 h 819800"/>
                <a:gd name="connsiteX6" fmla="*/ 666703 w 716172"/>
                <a:gd name="connsiteY6" fmla="*/ 62594 h 81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6172" h="819800">
                  <a:moveTo>
                    <a:pt x="666703" y="62594"/>
                  </a:moveTo>
                  <a:cubicBezTo>
                    <a:pt x="546033" y="-73160"/>
                    <a:pt x="425362" y="35443"/>
                    <a:pt x="437430" y="165164"/>
                  </a:cubicBezTo>
                  <a:cubicBezTo>
                    <a:pt x="449496" y="291868"/>
                    <a:pt x="446480" y="560359"/>
                    <a:pt x="431396" y="587510"/>
                  </a:cubicBezTo>
                  <a:cubicBezTo>
                    <a:pt x="377095" y="611645"/>
                    <a:pt x="0" y="696114"/>
                    <a:pt x="0" y="696114"/>
                  </a:cubicBezTo>
                  <a:cubicBezTo>
                    <a:pt x="18100" y="723264"/>
                    <a:pt x="12066" y="819801"/>
                    <a:pt x="12066" y="819801"/>
                  </a:cubicBezTo>
                  <a:cubicBezTo>
                    <a:pt x="12066" y="819801"/>
                    <a:pt x="527933" y="804717"/>
                    <a:pt x="612402" y="705164"/>
                  </a:cubicBezTo>
                  <a:cubicBezTo>
                    <a:pt x="654635" y="650862"/>
                    <a:pt x="787374" y="198348"/>
                    <a:pt x="666703" y="62594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53" name="图形 1">
              <a:extLst>
                <a:ext uri="{FF2B5EF4-FFF2-40B4-BE49-F238E27FC236}">
                  <a16:creationId xmlns:a16="http://schemas.microsoft.com/office/drawing/2014/main" id="{3EC9BAF4-3A93-4BD9-A680-A177FF5889F7}"/>
                </a:ext>
              </a:extLst>
            </p:cNvPr>
            <p:cNvGrpSpPr/>
            <p:nvPr/>
          </p:nvGrpSpPr>
          <p:grpSpPr>
            <a:xfrm>
              <a:off x="23927729" y="9609352"/>
              <a:ext cx="290167" cy="175117"/>
              <a:chOff x="23927729" y="9609352"/>
              <a:chExt cx="290167" cy="175117"/>
            </a:xfrm>
          </p:grpSpPr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ADDDD60E-6FF7-463D-9BA7-2D5CBF137423}"/>
                  </a:ext>
                </a:extLst>
              </p:cNvPr>
              <p:cNvSpPr/>
              <p:nvPr/>
            </p:nvSpPr>
            <p:spPr>
              <a:xfrm>
                <a:off x="23930746" y="9609352"/>
                <a:ext cx="287151" cy="175117"/>
              </a:xfrm>
              <a:custGeom>
                <a:avLst/>
                <a:gdLst>
                  <a:gd name="connsiteX0" fmla="*/ 247375 w 287151"/>
                  <a:gd name="connsiteY0" fmla="*/ 33667 h 175117"/>
                  <a:gd name="connsiteX1" fmla="*/ 177990 w 287151"/>
                  <a:gd name="connsiteY1" fmla="*/ 6517 h 175117"/>
                  <a:gd name="connsiteX2" fmla="*/ 123688 w 287151"/>
                  <a:gd name="connsiteY2" fmla="*/ 483 h 175117"/>
                  <a:gd name="connsiteX3" fmla="*/ 96537 w 287151"/>
                  <a:gd name="connsiteY3" fmla="*/ 21600 h 175117"/>
                  <a:gd name="connsiteX4" fmla="*/ 141788 w 287151"/>
                  <a:gd name="connsiteY4" fmla="*/ 36684 h 175117"/>
                  <a:gd name="connsiteX5" fmla="*/ 168940 w 287151"/>
                  <a:gd name="connsiteY5" fmla="*/ 72885 h 175117"/>
                  <a:gd name="connsiteX6" fmla="*/ 24134 w 287151"/>
                  <a:gd name="connsiteY6" fmla="*/ 42717 h 175117"/>
                  <a:gd name="connsiteX7" fmla="*/ 9050 w 287151"/>
                  <a:gd name="connsiteY7" fmla="*/ 54785 h 175117"/>
                  <a:gd name="connsiteX8" fmla="*/ 12068 w 287151"/>
                  <a:gd name="connsiteY8" fmla="*/ 57801 h 175117"/>
                  <a:gd name="connsiteX9" fmla="*/ 0 w 287151"/>
                  <a:gd name="connsiteY9" fmla="*/ 66852 h 175117"/>
                  <a:gd name="connsiteX10" fmla="*/ 21118 w 287151"/>
                  <a:gd name="connsiteY10" fmla="*/ 90986 h 175117"/>
                  <a:gd name="connsiteX11" fmla="*/ 60335 w 287151"/>
                  <a:gd name="connsiteY11" fmla="*/ 112103 h 175117"/>
                  <a:gd name="connsiteX12" fmla="*/ 24134 w 287151"/>
                  <a:gd name="connsiteY12" fmla="*/ 103052 h 175117"/>
                  <a:gd name="connsiteX13" fmla="*/ 15084 w 287151"/>
                  <a:gd name="connsiteY13" fmla="*/ 115120 h 175117"/>
                  <a:gd name="connsiteX14" fmla="*/ 126704 w 287151"/>
                  <a:gd name="connsiteY14" fmla="*/ 172438 h 175117"/>
                  <a:gd name="connsiteX15" fmla="*/ 271508 w 287151"/>
                  <a:gd name="connsiteY15" fmla="*/ 145288 h 175117"/>
                  <a:gd name="connsiteX16" fmla="*/ 274526 w 287151"/>
                  <a:gd name="connsiteY16" fmla="*/ 136237 h 175117"/>
                  <a:gd name="connsiteX17" fmla="*/ 247375 w 287151"/>
                  <a:gd name="connsiteY17" fmla="*/ 33667 h 17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87151" h="175117">
                    <a:moveTo>
                      <a:pt x="247375" y="33667"/>
                    </a:moveTo>
                    <a:cubicBezTo>
                      <a:pt x="223241" y="24617"/>
                      <a:pt x="199107" y="15567"/>
                      <a:pt x="177990" y="6517"/>
                    </a:cubicBezTo>
                    <a:cubicBezTo>
                      <a:pt x="150838" y="-2534"/>
                      <a:pt x="156872" y="483"/>
                      <a:pt x="123688" y="483"/>
                    </a:cubicBezTo>
                    <a:cubicBezTo>
                      <a:pt x="120670" y="483"/>
                      <a:pt x="96537" y="15567"/>
                      <a:pt x="96537" y="21600"/>
                    </a:cubicBezTo>
                    <a:cubicBezTo>
                      <a:pt x="96537" y="27633"/>
                      <a:pt x="105587" y="39701"/>
                      <a:pt x="141788" y="36684"/>
                    </a:cubicBezTo>
                    <a:cubicBezTo>
                      <a:pt x="156872" y="45734"/>
                      <a:pt x="165922" y="66852"/>
                      <a:pt x="168940" y="72885"/>
                    </a:cubicBezTo>
                    <a:cubicBezTo>
                      <a:pt x="144804" y="103052"/>
                      <a:pt x="36201" y="24617"/>
                      <a:pt x="24134" y="42717"/>
                    </a:cubicBezTo>
                    <a:cubicBezTo>
                      <a:pt x="21118" y="45734"/>
                      <a:pt x="6034" y="48751"/>
                      <a:pt x="9050" y="54785"/>
                    </a:cubicBezTo>
                    <a:cubicBezTo>
                      <a:pt x="9050" y="54785"/>
                      <a:pt x="12068" y="57801"/>
                      <a:pt x="12068" y="57801"/>
                    </a:cubicBezTo>
                    <a:cubicBezTo>
                      <a:pt x="3018" y="57801"/>
                      <a:pt x="0" y="57801"/>
                      <a:pt x="0" y="66852"/>
                    </a:cubicBezTo>
                    <a:cubicBezTo>
                      <a:pt x="0" y="75902"/>
                      <a:pt x="12068" y="81936"/>
                      <a:pt x="21118" y="90986"/>
                    </a:cubicBezTo>
                    <a:cubicBezTo>
                      <a:pt x="33185" y="100036"/>
                      <a:pt x="48269" y="103052"/>
                      <a:pt x="60335" y="112103"/>
                    </a:cubicBezTo>
                    <a:cubicBezTo>
                      <a:pt x="54301" y="112103"/>
                      <a:pt x="30168" y="100036"/>
                      <a:pt x="24134" y="103052"/>
                    </a:cubicBezTo>
                    <a:cubicBezTo>
                      <a:pt x="21118" y="106069"/>
                      <a:pt x="15084" y="109086"/>
                      <a:pt x="15084" y="115120"/>
                    </a:cubicBezTo>
                    <a:cubicBezTo>
                      <a:pt x="15084" y="130204"/>
                      <a:pt x="96537" y="166405"/>
                      <a:pt x="126704" y="172438"/>
                    </a:cubicBezTo>
                    <a:cubicBezTo>
                      <a:pt x="171956" y="181488"/>
                      <a:pt x="232291" y="166405"/>
                      <a:pt x="271508" y="145288"/>
                    </a:cubicBezTo>
                    <a:cubicBezTo>
                      <a:pt x="274526" y="142271"/>
                      <a:pt x="277542" y="139254"/>
                      <a:pt x="274526" y="136237"/>
                    </a:cubicBezTo>
                    <a:cubicBezTo>
                      <a:pt x="295642" y="100036"/>
                      <a:pt x="292626" y="48751"/>
                      <a:pt x="247375" y="3366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272BA5CC-96AD-484F-9F06-2D93BEE66274}"/>
                  </a:ext>
                </a:extLst>
              </p:cNvPr>
              <p:cNvSpPr/>
              <p:nvPr/>
            </p:nvSpPr>
            <p:spPr>
              <a:xfrm>
                <a:off x="23927729" y="9655885"/>
                <a:ext cx="132736" cy="92720"/>
              </a:xfrm>
              <a:custGeom>
                <a:avLst/>
                <a:gdLst>
                  <a:gd name="connsiteX0" fmla="*/ 99553 w 132736"/>
                  <a:gd name="connsiteY0" fmla="*/ 92720 h 92720"/>
                  <a:gd name="connsiteX1" fmla="*/ 99553 w 132736"/>
                  <a:gd name="connsiteY1" fmla="*/ 92720 h 92720"/>
                  <a:gd name="connsiteX2" fmla="*/ 24134 w 132736"/>
                  <a:gd name="connsiteY2" fmla="*/ 50486 h 92720"/>
                  <a:gd name="connsiteX3" fmla="*/ 0 w 132736"/>
                  <a:gd name="connsiteY3" fmla="*/ 17301 h 92720"/>
                  <a:gd name="connsiteX4" fmla="*/ 9050 w 132736"/>
                  <a:gd name="connsiteY4" fmla="*/ 2218 h 92720"/>
                  <a:gd name="connsiteX5" fmla="*/ 51285 w 132736"/>
                  <a:gd name="connsiteY5" fmla="*/ 23335 h 92720"/>
                  <a:gd name="connsiteX6" fmla="*/ 126704 w 132736"/>
                  <a:gd name="connsiteY6" fmla="*/ 65570 h 92720"/>
                  <a:gd name="connsiteX7" fmla="*/ 132736 w 132736"/>
                  <a:gd name="connsiteY7" fmla="*/ 71603 h 92720"/>
                  <a:gd name="connsiteX8" fmla="*/ 126704 w 132736"/>
                  <a:gd name="connsiteY8" fmla="*/ 77637 h 92720"/>
                  <a:gd name="connsiteX9" fmla="*/ 48267 w 132736"/>
                  <a:gd name="connsiteY9" fmla="*/ 32385 h 92720"/>
                  <a:gd name="connsiteX10" fmla="*/ 21118 w 132736"/>
                  <a:gd name="connsiteY10" fmla="*/ 14285 h 92720"/>
                  <a:gd name="connsiteX11" fmla="*/ 18100 w 132736"/>
                  <a:gd name="connsiteY11" fmla="*/ 20318 h 92720"/>
                  <a:gd name="connsiteX12" fmla="*/ 39218 w 132736"/>
                  <a:gd name="connsiteY12" fmla="*/ 44452 h 92720"/>
                  <a:gd name="connsiteX13" fmla="*/ 108603 w 132736"/>
                  <a:gd name="connsiteY13" fmla="*/ 83671 h 92720"/>
                  <a:gd name="connsiteX14" fmla="*/ 111620 w 132736"/>
                  <a:gd name="connsiteY14" fmla="*/ 92720 h 92720"/>
                  <a:gd name="connsiteX15" fmla="*/ 99553 w 132736"/>
                  <a:gd name="connsiteY15" fmla="*/ 92720 h 92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2736" h="92720">
                    <a:moveTo>
                      <a:pt x="99553" y="92720"/>
                    </a:moveTo>
                    <a:cubicBezTo>
                      <a:pt x="99553" y="92720"/>
                      <a:pt x="99553" y="92720"/>
                      <a:pt x="99553" y="92720"/>
                    </a:cubicBezTo>
                    <a:cubicBezTo>
                      <a:pt x="93519" y="89704"/>
                      <a:pt x="45251" y="65570"/>
                      <a:pt x="24134" y="50486"/>
                    </a:cubicBezTo>
                    <a:cubicBezTo>
                      <a:pt x="9050" y="38419"/>
                      <a:pt x="0" y="29368"/>
                      <a:pt x="0" y="17301"/>
                    </a:cubicBezTo>
                    <a:cubicBezTo>
                      <a:pt x="0" y="11268"/>
                      <a:pt x="3016" y="5235"/>
                      <a:pt x="9050" y="2218"/>
                    </a:cubicBezTo>
                    <a:cubicBezTo>
                      <a:pt x="15084" y="-3816"/>
                      <a:pt x="24134" y="2218"/>
                      <a:pt x="51285" y="23335"/>
                    </a:cubicBezTo>
                    <a:cubicBezTo>
                      <a:pt x="75419" y="41435"/>
                      <a:pt x="105587" y="62553"/>
                      <a:pt x="126704" y="65570"/>
                    </a:cubicBezTo>
                    <a:cubicBezTo>
                      <a:pt x="129720" y="65570"/>
                      <a:pt x="132736" y="68587"/>
                      <a:pt x="132736" y="71603"/>
                    </a:cubicBezTo>
                    <a:cubicBezTo>
                      <a:pt x="132736" y="74620"/>
                      <a:pt x="129720" y="77637"/>
                      <a:pt x="126704" y="77637"/>
                    </a:cubicBezTo>
                    <a:cubicBezTo>
                      <a:pt x="102569" y="74620"/>
                      <a:pt x="72401" y="50486"/>
                      <a:pt x="48267" y="32385"/>
                    </a:cubicBezTo>
                    <a:cubicBezTo>
                      <a:pt x="39218" y="23335"/>
                      <a:pt x="27150" y="14285"/>
                      <a:pt x="21118" y="14285"/>
                    </a:cubicBezTo>
                    <a:cubicBezTo>
                      <a:pt x="18100" y="17301"/>
                      <a:pt x="18100" y="20318"/>
                      <a:pt x="18100" y="20318"/>
                    </a:cubicBezTo>
                    <a:cubicBezTo>
                      <a:pt x="18100" y="26351"/>
                      <a:pt x="33184" y="38419"/>
                      <a:pt x="39218" y="44452"/>
                    </a:cubicBezTo>
                    <a:cubicBezTo>
                      <a:pt x="57317" y="59536"/>
                      <a:pt x="108603" y="83671"/>
                      <a:pt x="108603" y="83671"/>
                    </a:cubicBezTo>
                    <a:cubicBezTo>
                      <a:pt x="111620" y="83671"/>
                      <a:pt x="111620" y="89704"/>
                      <a:pt x="111620" y="92720"/>
                    </a:cubicBezTo>
                    <a:cubicBezTo>
                      <a:pt x="105587" y="92720"/>
                      <a:pt x="102569" y="92720"/>
                      <a:pt x="99553" y="9272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55A30EE2-DA0F-4B5A-ABE7-E323CDD86DB3}"/>
                  </a:ext>
                </a:extLst>
              </p:cNvPr>
              <p:cNvSpPr/>
              <p:nvPr/>
            </p:nvSpPr>
            <p:spPr>
              <a:xfrm>
                <a:off x="23948092" y="9645444"/>
                <a:ext cx="163658" cy="48860"/>
              </a:xfrm>
              <a:custGeom>
                <a:avLst/>
                <a:gdLst>
                  <a:gd name="connsiteX0" fmla="*/ 124441 w 163658"/>
                  <a:gd name="connsiteY0" fmla="*/ 48860 h 48860"/>
                  <a:gd name="connsiteX1" fmla="*/ 121425 w 163658"/>
                  <a:gd name="connsiteY1" fmla="*/ 48860 h 48860"/>
                  <a:gd name="connsiteX2" fmla="*/ 55056 w 163658"/>
                  <a:gd name="connsiteY2" fmla="*/ 21709 h 48860"/>
                  <a:gd name="connsiteX3" fmla="*/ 21871 w 163658"/>
                  <a:gd name="connsiteY3" fmla="*/ 9642 h 48860"/>
                  <a:gd name="connsiteX4" fmla="*/ 9805 w 163658"/>
                  <a:gd name="connsiteY4" fmla="*/ 15676 h 48860"/>
                  <a:gd name="connsiteX5" fmla="*/ 9805 w 163658"/>
                  <a:gd name="connsiteY5" fmla="*/ 21709 h 48860"/>
                  <a:gd name="connsiteX6" fmla="*/ 6787 w 163658"/>
                  <a:gd name="connsiteY6" fmla="*/ 27742 h 48860"/>
                  <a:gd name="connsiteX7" fmla="*/ 755 w 163658"/>
                  <a:gd name="connsiteY7" fmla="*/ 24726 h 48860"/>
                  <a:gd name="connsiteX8" fmla="*/ 3771 w 163658"/>
                  <a:gd name="connsiteY8" fmla="*/ 9642 h 48860"/>
                  <a:gd name="connsiteX9" fmla="*/ 24888 w 163658"/>
                  <a:gd name="connsiteY9" fmla="*/ 592 h 48860"/>
                  <a:gd name="connsiteX10" fmla="*/ 64106 w 163658"/>
                  <a:gd name="connsiteY10" fmla="*/ 15676 h 48860"/>
                  <a:gd name="connsiteX11" fmla="*/ 124441 w 163658"/>
                  <a:gd name="connsiteY11" fmla="*/ 39809 h 48860"/>
                  <a:gd name="connsiteX12" fmla="*/ 154609 w 163658"/>
                  <a:gd name="connsiteY12" fmla="*/ 33776 h 48860"/>
                  <a:gd name="connsiteX13" fmla="*/ 163659 w 163658"/>
                  <a:gd name="connsiteY13" fmla="*/ 36792 h 48860"/>
                  <a:gd name="connsiteX14" fmla="*/ 160643 w 163658"/>
                  <a:gd name="connsiteY14" fmla="*/ 45843 h 48860"/>
                  <a:gd name="connsiteX15" fmla="*/ 124441 w 163658"/>
                  <a:gd name="connsiteY15" fmla="*/ 48860 h 4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3658" h="48860">
                    <a:moveTo>
                      <a:pt x="124441" y="48860"/>
                    </a:moveTo>
                    <a:cubicBezTo>
                      <a:pt x="124441" y="48860"/>
                      <a:pt x="121425" y="48860"/>
                      <a:pt x="121425" y="48860"/>
                    </a:cubicBezTo>
                    <a:cubicBezTo>
                      <a:pt x="94274" y="45843"/>
                      <a:pt x="73156" y="33776"/>
                      <a:pt x="55056" y="21709"/>
                    </a:cubicBezTo>
                    <a:cubicBezTo>
                      <a:pt x="42988" y="12659"/>
                      <a:pt x="30922" y="6625"/>
                      <a:pt x="21871" y="9642"/>
                    </a:cubicBezTo>
                    <a:cubicBezTo>
                      <a:pt x="15838" y="9642"/>
                      <a:pt x="12821" y="12659"/>
                      <a:pt x="9805" y="15676"/>
                    </a:cubicBezTo>
                    <a:cubicBezTo>
                      <a:pt x="6787" y="18693"/>
                      <a:pt x="9805" y="21709"/>
                      <a:pt x="9805" y="21709"/>
                    </a:cubicBezTo>
                    <a:cubicBezTo>
                      <a:pt x="9805" y="24726"/>
                      <a:pt x="9805" y="27742"/>
                      <a:pt x="6787" y="27742"/>
                    </a:cubicBezTo>
                    <a:cubicBezTo>
                      <a:pt x="3771" y="27742"/>
                      <a:pt x="755" y="27742"/>
                      <a:pt x="755" y="24726"/>
                    </a:cubicBezTo>
                    <a:cubicBezTo>
                      <a:pt x="755" y="24726"/>
                      <a:pt x="-2263" y="15676"/>
                      <a:pt x="3771" y="9642"/>
                    </a:cubicBezTo>
                    <a:cubicBezTo>
                      <a:pt x="6787" y="3609"/>
                      <a:pt x="12821" y="592"/>
                      <a:pt x="24888" y="592"/>
                    </a:cubicBezTo>
                    <a:cubicBezTo>
                      <a:pt x="36954" y="-2425"/>
                      <a:pt x="49022" y="6625"/>
                      <a:pt x="64106" y="15676"/>
                    </a:cubicBezTo>
                    <a:cubicBezTo>
                      <a:pt x="82206" y="24726"/>
                      <a:pt x="100307" y="36792"/>
                      <a:pt x="124441" y="39809"/>
                    </a:cubicBezTo>
                    <a:cubicBezTo>
                      <a:pt x="133491" y="39809"/>
                      <a:pt x="148575" y="36792"/>
                      <a:pt x="154609" y="33776"/>
                    </a:cubicBezTo>
                    <a:cubicBezTo>
                      <a:pt x="157625" y="33776"/>
                      <a:pt x="160643" y="33776"/>
                      <a:pt x="163659" y="36792"/>
                    </a:cubicBezTo>
                    <a:cubicBezTo>
                      <a:pt x="163659" y="39809"/>
                      <a:pt x="163659" y="42826"/>
                      <a:pt x="160643" y="45843"/>
                    </a:cubicBezTo>
                    <a:cubicBezTo>
                      <a:pt x="154609" y="42826"/>
                      <a:pt x="136509" y="48860"/>
                      <a:pt x="124441" y="4886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AC6E54FA-6586-43BF-AF22-AFFDA3DC5570}"/>
                </a:ext>
              </a:extLst>
            </p:cNvPr>
            <p:cNvSpPr/>
            <p:nvPr/>
          </p:nvSpPr>
          <p:spPr>
            <a:xfrm>
              <a:off x="24573676" y="8799880"/>
              <a:ext cx="370766" cy="427100"/>
            </a:xfrm>
            <a:custGeom>
              <a:avLst/>
              <a:gdLst>
                <a:gd name="connsiteX0" fmla="*/ 370702 w 370766"/>
                <a:gd name="connsiteY0" fmla="*/ 408726 h 427100"/>
                <a:gd name="connsiteX1" fmla="*/ 192712 w 370766"/>
                <a:gd name="connsiteY1" fmla="*/ 1463 h 427100"/>
                <a:gd name="connsiteX2" fmla="*/ 2657 w 370766"/>
                <a:gd name="connsiteY2" fmla="*/ 396658 h 427100"/>
                <a:gd name="connsiteX3" fmla="*/ 370702 w 370766"/>
                <a:gd name="connsiteY3" fmla="*/ 408726 h 427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766" h="427100">
                  <a:moveTo>
                    <a:pt x="370702" y="408726"/>
                  </a:moveTo>
                  <a:cubicBezTo>
                    <a:pt x="373718" y="227720"/>
                    <a:pt x="271147" y="19563"/>
                    <a:pt x="192712" y="1463"/>
                  </a:cubicBezTo>
                  <a:cubicBezTo>
                    <a:pt x="90142" y="-19655"/>
                    <a:pt x="-18461" y="191519"/>
                    <a:pt x="2657" y="396658"/>
                  </a:cubicBezTo>
                  <a:cubicBezTo>
                    <a:pt x="69026" y="429843"/>
                    <a:pt x="274165" y="438893"/>
                    <a:pt x="370702" y="408726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01EDF96C-5CB1-45EE-B934-6A314E7EAF41}"/>
                </a:ext>
              </a:extLst>
            </p:cNvPr>
            <p:cNvSpPr/>
            <p:nvPr/>
          </p:nvSpPr>
          <p:spPr>
            <a:xfrm>
              <a:off x="24568414" y="8792293"/>
              <a:ext cx="188924" cy="437430"/>
            </a:xfrm>
            <a:custGeom>
              <a:avLst/>
              <a:gdLst>
                <a:gd name="connsiteX0" fmla="*/ 152723 w 188924"/>
                <a:gd name="connsiteY0" fmla="*/ 437430 h 437430"/>
                <a:gd name="connsiteX1" fmla="*/ 152723 w 188924"/>
                <a:gd name="connsiteY1" fmla="*/ 437430 h 437430"/>
                <a:gd name="connsiteX2" fmla="*/ 4901 w 188924"/>
                <a:gd name="connsiteY2" fmla="*/ 407263 h 437430"/>
                <a:gd name="connsiteX3" fmla="*/ 1885 w 188924"/>
                <a:gd name="connsiteY3" fmla="*/ 407263 h 437430"/>
                <a:gd name="connsiteX4" fmla="*/ 1885 w 188924"/>
                <a:gd name="connsiteY4" fmla="*/ 404246 h 437430"/>
                <a:gd name="connsiteX5" fmla="*/ 56186 w 188924"/>
                <a:gd name="connsiteY5" fmla="*/ 108603 h 437430"/>
                <a:gd name="connsiteX6" fmla="*/ 62220 w 188924"/>
                <a:gd name="connsiteY6" fmla="*/ 99553 h 437430"/>
                <a:gd name="connsiteX7" fmla="*/ 182890 w 188924"/>
                <a:gd name="connsiteY7" fmla="*/ 0 h 437430"/>
                <a:gd name="connsiteX8" fmla="*/ 188924 w 188924"/>
                <a:gd name="connsiteY8" fmla="*/ 6033 h 437430"/>
                <a:gd name="connsiteX9" fmla="*/ 182890 w 188924"/>
                <a:gd name="connsiteY9" fmla="*/ 12067 h 437430"/>
                <a:gd name="connsiteX10" fmla="*/ 71270 w 188924"/>
                <a:gd name="connsiteY10" fmla="*/ 108603 h 437430"/>
                <a:gd name="connsiteX11" fmla="*/ 65236 w 188924"/>
                <a:gd name="connsiteY11" fmla="*/ 117653 h 437430"/>
                <a:gd name="connsiteX12" fmla="*/ 10935 w 188924"/>
                <a:gd name="connsiteY12" fmla="*/ 401229 h 437430"/>
                <a:gd name="connsiteX13" fmla="*/ 152723 w 188924"/>
                <a:gd name="connsiteY13" fmla="*/ 428380 h 437430"/>
                <a:gd name="connsiteX14" fmla="*/ 158757 w 188924"/>
                <a:gd name="connsiteY14" fmla="*/ 434413 h 437430"/>
                <a:gd name="connsiteX15" fmla="*/ 152723 w 188924"/>
                <a:gd name="connsiteY15" fmla="*/ 437430 h 437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8924" h="437430">
                  <a:moveTo>
                    <a:pt x="152723" y="437430"/>
                  </a:moveTo>
                  <a:cubicBezTo>
                    <a:pt x="152723" y="437430"/>
                    <a:pt x="152723" y="437430"/>
                    <a:pt x="152723" y="437430"/>
                  </a:cubicBezTo>
                  <a:cubicBezTo>
                    <a:pt x="74288" y="437430"/>
                    <a:pt x="29036" y="419329"/>
                    <a:pt x="4901" y="407263"/>
                  </a:cubicBezTo>
                  <a:lnTo>
                    <a:pt x="1885" y="407263"/>
                  </a:lnTo>
                  <a:lnTo>
                    <a:pt x="1885" y="404246"/>
                  </a:lnTo>
                  <a:cubicBezTo>
                    <a:pt x="-4149" y="371062"/>
                    <a:pt x="1885" y="202123"/>
                    <a:pt x="56186" y="108603"/>
                  </a:cubicBezTo>
                  <a:cubicBezTo>
                    <a:pt x="56186" y="105587"/>
                    <a:pt x="59204" y="102570"/>
                    <a:pt x="62220" y="99553"/>
                  </a:cubicBezTo>
                  <a:cubicBezTo>
                    <a:pt x="80320" y="69386"/>
                    <a:pt x="116521" y="6033"/>
                    <a:pt x="182890" y="0"/>
                  </a:cubicBezTo>
                  <a:cubicBezTo>
                    <a:pt x="185906" y="0"/>
                    <a:pt x="188924" y="3016"/>
                    <a:pt x="188924" y="6033"/>
                  </a:cubicBezTo>
                  <a:cubicBezTo>
                    <a:pt x="188924" y="9050"/>
                    <a:pt x="185906" y="12067"/>
                    <a:pt x="182890" y="12067"/>
                  </a:cubicBezTo>
                  <a:cubicBezTo>
                    <a:pt x="122555" y="18100"/>
                    <a:pt x="89372" y="78435"/>
                    <a:pt x="71270" y="108603"/>
                  </a:cubicBezTo>
                  <a:cubicBezTo>
                    <a:pt x="68254" y="111620"/>
                    <a:pt x="68254" y="114637"/>
                    <a:pt x="65236" y="117653"/>
                  </a:cubicBezTo>
                  <a:cubicBezTo>
                    <a:pt x="13953" y="202123"/>
                    <a:pt x="4901" y="365028"/>
                    <a:pt x="10935" y="401229"/>
                  </a:cubicBezTo>
                  <a:cubicBezTo>
                    <a:pt x="35068" y="413296"/>
                    <a:pt x="80320" y="428380"/>
                    <a:pt x="152723" y="428380"/>
                  </a:cubicBezTo>
                  <a:cubicBezTo>
                    <a:pt x="155739" y="428380"/>
                    <a:pt x="158757" y="431397"/>
                    <a:pt x="158757" y="434413"/>
                  </a:cubicBezTo>
                  <a:cubicBezTo>
                    <a:pt x="158757" y="434413"/>
                    <a:pt x="155739" y="437430"/>
                    <a:pt x="152723" y="437430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86559028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F3D0246C-A768-4519-864F-F04C59050313}"/>
              </a:ext>
            </a:extLst>
          </p:cNvPr>
          <p:cNvGrpSpPr/>
          <p:nvPr/>
        </p:nvGrpSpPr>
        <p:grpSpPr>
          <a:xfrm>
            <a:off x="3223809" y="2080602"/>
            <a:ext cx="5601508" cy="4777398"/>
            <a:chOff x="10342230" y="7696850"/>
            <a:chExt cx="5601508" cy="4777398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18745587-9A04-4346-A505-3190CABE9046}"/>
                </a:ext>
              </a:extLst>
            </p:cNvPr>
            <p:cNvGrpSpPr/>
            <p:nvPr/>
          </p:nvGrpSpPr>
          <p:grpSpPr>
            <a:xfrm>
              <a:off x="14502618" y="12059444"/>
              <a:ext cx="360716" cy="382092"/>
              <a:chOff x="14502618" y="12059444"/>
              <a:chExt cx="360716" cy="382092"/>
            </a:xfrm>
          </p:grpSpPr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6B47B828-B7EB-412E-ADBE-82B25FAB74E6}"/>
                  </a:ext>
                </a:extLst>
              </p:cNvPr>
              <p:cNvSpPr/>
              <p:nvPr/>
            </p:nvSpPr>
            <p:spPr>
              <a:xfrm>
                <a:off x="14502618" y="12183131"/>
                <a:ext cx="360716" cy="258405"/>
              </a:xfrm>
              <a:custGeom>
                <a:avLst/>
                <a:gdLst>
                  <a:gd name="connsiteX0" fmla="*/ 223995 w 360716"/>
                  <a:gd name="connsiteY0" fmla="*/ 0 h 258405"/>
                  <a:gd name="connsiteX1" fmla="*/ 106340 w 360716"/>
                  <a:gd name="connsiteY1" fmla="*/ 162905 h 258405"/>
                  <a:gd name="connsiteX2" fmla="*/ 320530 w 360716"/>
                  <a:gd name="connsiteY2" fmla="*/ 36201 h 258405"/>
                  <a:gd name="connsiteX3" fmla="*/ 341648 w 360716"/>
                  <a:gd name="connsiteY3" fmla="*/ 21117 h 258405"/>
                  <a:gd name="connsiteX4" fmla="*/ 359749 w 360716"/>
                  <a:gd name="connsiteY4" fmla="*/ 96536 h 258405"/>
                  <a:gd name="connsiteX5" fmla="*/ 347681 w 360716"/>
                  <a:gd name="connsiteY5" fmla="*/ 232290 h 258405"/>
                  <a:gd name="connsiteX6" fmla="*/ 320530 w 360716"/>
                  <a:gd name="connsiteY6" fmla="*/ 232290 h 258405"/>
                  <a:gd name="connsiteX7" fmla="*/ 305446 w 360716"/>
                  <a:gd name="connsiteY7" fmla="*/ 123686 h 258405"/>
                  <a:gd name="connsiteX8" fmla="*/ 163659 w 360716"/>
                  <a:gd name="connsiteY8" fmla="*/ 253408 h 258405"/>
                  <a:gd name="connsiteX9" fmla="*/ 6787 w 360716"/>
                  <a:gd name="connsiteY9" fmla="*/ 256425 h 258405"/>
                  <a:gd name="connsiteX10" fmla="*/ 6787 w 360716"/>
                  <a:gd name="connsiteY10" fmla="*/ 211173 h 258405"/>
                  <a:gd name="connsiteX11" fmla="*/ 223995 w 360716"/>
                  <a:gd name="connsiteY11" fmla="*/ 0 h 258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0716" h="258405">
                    <a:moveTo>
                      <a:pt x="223995" y="0"/>
                    </a:moveTo>
                    <a:cubicBezTo>
                      <a:pt x="223995" y="0"/>
                      <a:pt x="91256" y="153854"/>
                      <a:pt x="106340" y="162905"/>
                    </a:cubicBezTo>
                    <a:cubicBezTo>
                      <a:pt x="124441" y="171955"/>
                      <a:pt x="320530" y="36201"/>
                      <a:pt x="320530" y="36201"/>
                    </a:cubicBezTo>
                    <a:lnTo>
                      <a:pt x="341648" y="21117"/>
                    </a:lnTo>
                    <a:cubicBezTo>
                      <a:pt x="341648" y="21117"/>
                      <a:pt x="365782" y="69385"/>
                      <a:pt x="359749" y="96536"/>
                    </a:cubicBezTo>
                    <a:cubicBezTo>
                      <a:pt x="353715" y="123686"/>
                      <a:pt x="347681" y="232290"/>
                      <a:pt x="347681" y="232290"/>
                    </a:cubicBezTo>
                    <a:lnTo>
                      <a:pt x="320530" y="232290"/>
                    </a:lnTo>
                    <a:lnTo>
                      <a:pt x="305446" y="123686"/>
                    </a:lnTo>
                    <a:cubicBezTo>
                      <a:pt x="305446" y="123686"/>
                      <a:pt x="184776" y="250391"/>
                      <a:pt x="163659" y="253408"/>
                    </a:cubicBezTo>
                    <a:cubicBezTo>
                      <a:pt x="142542" y="259441"/>
                      <a:pt x="18854" y="259441"/>
                      <a:pt x="6787" y="256425"/>
                    </a:cubicBezTo>
                    <a:cubicBezTo>
                      <a:pt x="-2262" y="256425"/>
                      <a:pt x="-2262" y="217206"/>
                      <a:pt x="6787" y="211173"/>
                    </a:cubicBezTo>
                    <a:cubicBezTo>
                      <a:pt x="82206" y="168938"/>
                      <a:pt x="223995" y="0"/>
                      <a:pt x="223995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F5F2B766-80CD-4440-B3D8-FEA5708E59E5}"/>
                  </a:ext>
                </a:extLst>
              </p:cNvPr>
              <p:cNvSpPr/>
              <p:nvPr/>
            </p:nvSpPr>
            <p:spPr>
              <a:xfrm>
                <a:off x="14606771" y="12059444"/>
                <a:ext cx="234509" cy="291332"/>
              </a:xfrm>
              <a:custGeom>
                <a:avLst/>
                <a:gdLst>
                  <a:gd name="connsiteX0" fmla="*/ 168109 w 234509"/>
                  <a:gd name="connsiteY0" fmla="*/ 0 h 291332"/>
                  <a:gd name="connsiteX1" fmla="*/ 119841 w 234509"/>
                  <a:gd name="connsiteY1" fmla="*/ 126703 h 291332"/>
                  <a:gd name="connsiteX2" fmla="*/ 2187 w 234509"/>
                  <a:gd name="connsiteY2" fmla="*/ 289609 h 291332"/>
                  <a:gd name="connsiteX3" fmla="*/ 234478 w 234509"/>
                  <a:gd name="connsiteY3" fmla="*/ 147821 h 291332"/>
                  <a:gd name="connsiteX4" fmla="*/ 225428 w 234509"/>
                  <a:gd name="connsiteY4" fmla="*/ 0 h 291332"/>
                  <a:gd name="connsiteX5" fmla="*/ 168109 w 234509"/>
                  <a:gd name="connsiteY5" fmla="*/ 0 h 291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4509" h="291332">
                    <a:moveTo>
                      <a:pt x="168109" y="0"/>
                    </a:moveTo>
                    <a:lnTo>
                      <a:pt x="119841" y="126703"/>
                    </a:lnTo>
                    <a:cubicBezTo>
                      <a:pt x="119841" y="126703"/>
                      <a:pt x="-18930" y="274525"/>
                      <a:pt x="2187" y="289609"/>
                    </a:cubicBezTo>
                    <a:cubicBezTo>
                      <a:pt x="23305" y="307709"/>
                      <a:pt x="237495" y="177989"/>
                      <a:pt x="234478" y="147821"/>
                    </a:cubicBezTo>
                    <a:cubicBezTo>
                      <a:pt x="234478" y="99553"/>
                      <a:pt x="225428" y="0"/>
                      <a:pt x="225428" y="0"/>
                    </a:cubicBezTo>
                    <a:lnTo>
                      <a:pt x="168109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7B855261-B379-48A5-9880-F26E415A1B7B}"/>
                </a:ext>
              </a:extLst>
            </p:cNvPr>
            <p:cNvGrpSpPr/>
            <p:nvPr/>
          </p:nvGrpSpPr>
          <p:grpSpPr>
            <a:xfrm>
              <a:off x="15381475" y="12002125"/>
              <a:ext cx="325584" cy="446657"/>
              <a:chOff x="15381475" y="12002125"/>
              <a:chExt cx="325584" cy="446657"/>
            </a:xfrm>
          </p:grpSpPr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02AE3BF8-935D-4BFC-8542-A4514E52E8B2}"/>
                  </a:ext>
                </a:extLst>
              </p:cNvPr>
              <p:cNvSpPr/>
              <p:nvPr/>
            </p:nvSpPr>
            <p:spPr>
              <a:xfrm>
                <a:off x="15381475" y="12107712"/>
                <a:ext cx="325584" cy="341071"/>
              </a:xfrm>
              <a:custGeom>
                <a:avLst/>
                <a:gdLst>
                  <a:gd name="connsiteX0" fmla="*/ 132511 w 325584"/>
                  <a:gd name="connsiteY0" fmla="*/ 18100 h 341071"/>
                  <a:gd name="connsiteX1" fmla="*/ 78209 w 325584"/>
                  <a:gd name="connsiteY1" fmla="*/ 211173 h 341071"/>
                  <a:gd name="connsiteX2" fmla="*/ 235081 w 325584"/>
                  <a:gd name="connsiteY2" fmla="*/ 21117 h 341071"/>
                  <a:gd name="connsiteX3" fmla="*/ 247148 w 325584"/>
                  <a:gd name="connsiteY3" fmla="*/ 0 h 341071"/>
                  <a:gd name="connsiteX4" fmla="*/ 289383 w 325584"/>
                  <a:gd name="connsiteY4" fmla="*/ 66368 h 341071"/>
                  <a:gd name="connsiteX5" fmla="*/ 325584 w 325584"/>
                  <a:gd name="connsiteY5" fmla="*/ 199105 h 341071"/>
                  <a:gd name="connsiteX6" fmla="*/ 301450 w 325584"/>
                  <a:gd name="connsiteY6" fmla="*/ 208156 h 341071"/>
                  <a:gd name="connsiteX7" fmla="*/ 250165 w 325584"/>
                  <a:gd name="connsiteY7" fmla="*/ 111620 h 341071"/>
                  <a:gd name="connsiteX8" fmla="*/ 162678 w 325584"/>
                  <a:gd name="connsiteY8" fmla="*/ 283575 h 341071"/>
                  <a:gd name="connsiteX9" fmla="*/ 17874 w 325584"/>
                  <a:gd name="connsiteY9" fmla="*/ 340894 h 341071"/>
                  <a:gd name="connsiteX10" fmla="*/ 2790 w 325584"/>
                  <a:gd name="connsiteY10" fmla="*/ 295642 h 341071"/>
                  <a:gd name="connsiteX11" fmla="*/ 132511 w 325584"/>
                  <a:gd name="connsiteY11" fmla="*/ 18100 h 341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5584" h="341071">
                    <a:moveTo>
                      <a:pt x="132511" y="18100"/>
                    </a:moveTo>
                    <a:cubicBezTo>
                      <a:pt x="132511" y="18100"/>
                      <a:pt x="60109" y="208156"/>
                      <a:pt x="78209" y="211173"/>
                    </a:cubicBezTo>
                    <a:cubicBezTo>
                      <a:pt x="96310" y="214189"/>
                      <a:pt x="235081" y="21117"/>
                      <a:pt x="235081" y="21117"/>
                    </a:cubicBezTo>
                    <a:lnTo>
                      <a:pt x="247148" y="0"/>
                    </a:lnTo>
                    <a:cubicBezTo>
                      <a:pt x="247148" y="0"/>
                      <a:pt x="286366" y="39218"/>
                      <a:pt x="289383" y="66368"/>
                    </a:cubicBezTo>
                    <a:cubicBezTo>
                      <a:pt x="295417" y="93519"/>
                      <a:pt x="325584" y="199105"/>
                      <a:pt x="325584" y="199105"/>
                    </a:cubicBezTo>
                    <a:lnTo>
                      <a:pt x="301450" y="208156"/>
                    </a:lnTo>
                    <a:lnTo>
                      <a:pt x="250165" y="111620"/>
                    </a:lnTo>
                    <a:cubicBezTo>
                      <a:pt x="250165" y="111620"/>
                      <a:pt x="180779" y="271508"/>
                      <a:pt x="162678" y="283575"/>
                    </a:cubicBezTo>
                    <a:cubicBezTo>
                      <a:pt x="144579" y="295642"/>
                      <a:pt x="26924" y="337877"/>
                      <a:pt x="17874" y="340894"/>
                    </a:cubicBezTo>
                    <a:cubicBezTo>
                      <a:pt x="8824" y="343910"/>
                      <a:pt x="-6259" y="307709"/>
                      <a:pt x="2790" y="295642"/>
                    </a:cubicBezTo>
                    <a:cubicBezTo>
                      <a:pt x="60109" y="223240"/>
                      <a:pt x="132511" y="18100"/>
                      <a:pt x="132511" y="1810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FB41FA78-4832-4726-90A2-ED1B9C0CB1A9}"/>
                  </a:ext>
                </a:extLst>
              </p:cNvPr>
              <p:cNvSpPr/>
              <p:nvPr/>
            </p:nvSpPr>
            <p:spPr>
              <a:xfrm>
                <a:off x="15454143" y="12002125"/>
                <a:ext cx="177880" cy="317067"/>
              </a:xfrm>
              <a:custGeom>
                <a:avLst/>
                <a:gdLst>
                  <a:gd name="connsiteX0" fmla="*/ 17608 w 177880"/>
                  <a:gd name="connsiteY0" fmla="*/ 6033 h 317067"/>
                  <a:gd name="connsiteX1" fmla="*/ 59842 w 177880"/>
                  <a:gd name="connsiteY1" fmla="*/ 123686 h 317067"/>
                  <a:gd name="connsiteX2" fmla="*/ 5541 w 177880"/>
                  <a:gd name="connsiteY2" fmla="*/ 316760 h 317067"/>
                  <a:gd name="connsiteX3" fmla="*/ 177497 w 177880"/>
                  <a:gd name="connsiteY3" fmla="*/ 102570 h 317067"/>
                  <a:gd name="connsiteX4" fmla="*/ 65876 w 177880"/>
                  <a:gd name="connsiteY4" fmla="*/ 0 h 317067"/>
                  <a:gd name="connsiteX5" fmla="*/ 17608 w 177880"/>
                  <a:gd name="connsiteY5" fmla="*/ 6033 h 317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7880" h="317067">
                    <a:moveTo>
                      <a:pt x="17608" y="6033"/>
                    </a:moveTo>
                    <a:lnTo>
                      <a:pt x="59842" y="123686"/>
                    </a:lnTo>
                    <a:cubicBezTo>
                      <a:pt x="59842" y="123686"/>
                      <a:pt x="-21610" y="307709"/>
                      <a:pt x="5541" y="316760"/>
                    </a:cubicBezTo>
                    <a:cubicBezTo>
                      <a:pt x="32692" y="325810"/>
                      <a:pt x="186547" y="132737"/>
                      <a:pt x="177497" y="102570"/>
                    </a:cubicBezTo>
                    <a:cubicBezTo>
                      <a:pt x="126211" y="66368"/>
                      <a:pt x="65876" y="0"/>
                      <a:pt x="65876" y="0"/>
                    </a:cubicBezTo>
                    <a:lnTo>
                      <a:pt x="17608" y="6033"/>
                    </a:ln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D75499FD-018A-4402-92D5-257473D36B51}"/>
                </a:ext>
              </a:extLst>
            </p:cNvPr>
            <p:cNvSpPr/>
            <p:nvPr/>
          </p:nvSpPr>
          <p:spPr>
            <a:xfrm>
              <a:off x="14568405" y="9652069"/>
              <a:ext cx="1066250" cy="2555195"/>
            </a:xfrm>
            <a:custGeom>
              <a:avLst/>
              <a:gdLst>
                <a:gd name="connsiteX0" fmla="*/ 779659 w 1066250"/>
                <a:gd name="connsiteY0" fmla="*/ 0 h 2555195"/>
                <a:gd name="connsiteX1" fmla="*/ 118988 w 1066250"/>
                <a:gd name="connsiteY1" fmla="*/ 0 h 2555195"/>
                <a:gd name="connsiteX2" fmla="*/ 1335 w 1066250"/>
                <a:gd name="connsiteY2" fmla="*/ 455531 h 2555195"/>
                <a:gd name="connsiteX3" fmla="*/ 155190 w 1066250"/>
                <a:gd name="connsiteY3" fmla="*/ 2534078 h 2555195"/>
                <a:gd name="connsiteX4" fmla="*/ 272843 w 1066250"/>
                <a:gd name="connsiteY4" fmla="*/ 2555196 h 2555195"/>
                <a:gd name="connsiteX5" fmla="*/ 456866 w 1066250"/>
                <a:gd name="connsiteY5" fmla="*/ 805475 h 2555195"/>
                <a:gd name="connsiteX6" fmla="*/ 529268 w 1066250"/>
                <a:gd name="connsiteY6" fmla="*/ 1604917 h 2555195"/>
                <a:gd name="connsiteX7" fmla="*/ 541335 w 1066250"/>
                <a:gd name="connsiteY7" fmla="*/ 1656202 h 2555195"/>
                <a:gd name="connsiteX8" fmla="*/ 948597 w 1066250"/>
                <a:gd name="connsiteY8" fmla="*/ 2470727 h 2555195"/>
                <a:gd name="connsiteX9" fmla="*/ 1066251 w 1066250"/>
                <a:gd name="connsiteY9" fmla="*/ 2449609 h 2555195"/>
                <a:gd name="connsiteX10" fmla="*/ 879212 w 1066250"/>
                <a:gd name="connsiteY10" fmla="*/ 1635084 h 2555195"/>
                <a:gd name="connsiteX11" fmla="*/ 915413 w 1066250"/>
                <a:gd name="connsiteY11" fmla="*/ 407263 h 2555195"/>
                <a:gd name="connsiteX12" fmla="*/ 779659 w 1066250"/>
                <a:gd name="connsiteY12" fmla="*/ 0 h 255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66250" h="2555195">
                  <a:moveTo>
                    <a:pt x="779659" y="0"/>
                  </a:moveTo>
                  <a:lnTo>
                    <a:pt x="118988" y="0"/>
                  </a:lnTo>
                  <a:cubicBezTo>
                    <a:pt x="118988" y="0"/>
                    <a:pt x="22453" y="301676"/>
                    <a:pt x="1335" y="455531"/>
                  </a:cubicBezTo>
                  <a:cubicBezTo>
                    <a:pt x="-16766" y="606369"/>
                    <a:pt x="155190" y="2534078"/>
                    <a:pt x="155190" y="2534078"/>
                  </a:cubicBezTo>
                  <a:lnTo>
                    <a:pt x="272843" y="2555196"/>
                  </a:lnTo>
                  <a:lnTo>
                    <a:pt x="456866" y="805475"/>
                  </a:lnTo>
                  <a:lnTo>
                    <a:pt x="529268" y="1604917"/>
                  </a:lnTo>
                  <a:cubicBezTo>
                    <a:pt x="532285" y="1623017"/>
                    <a:pt x="535302" y="1641118"/>
                    <a:pt x="541335" y="1656202"/>
                  </a:cubicBezTo>
                  <a:lnTo>
                    <a:pt x="948597" y="2470727"/>
                  </a:lnTo>
                  <a:lnTo>
                    <a:pt x="1066251" y="2449609"/>
                  </a:lnTo>
                  <a:lnTo>
                    <a:pt x="879212" y="1635084"/>
                  </a:lnTo>
                  <a:cubicBezTo>
                    <a:pt x="879212" y="1635084"/>
                    <a:pt x="909380" y="470615"/>
                    <a:pt x="915413" y="407263"/>
                  </a:cubicBezTo>
                  <a:cubicBezTo>
                    <a:pt x="921447" y="289609"/>
                    <a:pt x="779659" y="0"/>
                    <a:pt x="779659" y="0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4F536895-CDEE-490C-B6F0-17D63D6DC2AF}"/>
                </a:ext>
              </a:extLst>
            </p:cNvPr>
            <p:cNvSpPr/>
            <p:nvPr/>
          </p:nvSpPr>
          <p:spPr>
            <a:xfrm>
              <a:off x="14277114" y="9652069"/>
              <a:ext cx="1653184" cy="1635175"/>
            </a:xfrm>
            <a:custGeom>
              <a:avLst/>
              <a:gdLst>
                <a:gd name="connsiteX0" fmla="*/ 1653185 w 1653184"/>
                <a:gd name="connsiteY0" fmla="*/ 1372626 h 1635175"/>
                <a:gd name="connsiteX1" fmla="*/ 1616984 w 1653184"/>
                <a:gd name="connsiteY1" fmla="*/ 1399777 h 1635175"/>
                <a:gd name="connsiteX2" fmla="*/ 0 w 1653184"/>
                <a:gd name="connsiteY2" fmla="*/ 1553631 h 1635175"/>
                <a:gd name="connsiteX3" fmla="*/ 141788 w 1653184"/>
                <a:gd name="connsiteY3" fmla="*/ 1254972 h 1635175"/>
                <a:gd name="connsiteX4" fmla="*/ 150838 w 1653184"/>
                <a:gd name="connsiteY4" fmla="*/ 1227822 h 1635175"/>
                <a:gd name="connsiteX5" fmla="*/ 235308 w 1653184"/>
                <a:gd name="connsiteY5" fmla="*/ 941229 h 1635175"/>
                <a:gd name="connsiteX6" fmla="*/ 241341 w 1653184"/>
                <a:gd name="connsiteY6" fmla="*/ 911062 h 1635175"/>
                <a:gd name="connsiteX7" fmla="*/ 283576 w 1653184"/>
                <a:gd name="connsiteY7" fmla="*/ 552068 h 1635175"/>
                <a:gd name="connsiteX8" fmla="*/ 286592 w 1653184"/>
                <a:gd name="connsiteY8" fmla="*/ 521900 h 1635175"/>
                <a:gd name="connsiteX9" fmla="*/ 289609 w 1653184"/>
                <a:gd name="connsiteY9" fmla="*/ 455531 h 1635175"/>
                <a:gd name="connsiteX10" fmla="*/ 334861 w 1653184"/>
                <a:gd name="connsiteY10" fmla="*/ 202123 h 1635175"/>
                <a:gd name="connsiteX11" fmla="*/ 343911 w 1653184"/>
                <a:gd name="connsiteY11" fmla="*/ 171956 h 1635175"/>
                <a:gd name="connsiteX12" fmla="*/ 404247 w 1653184"/>
                <a:gd name="connsiteY12" fmla="*/ 18101 h 1635175"/>
                <a:gd name="connsiteX13" fmla="*/ 1067934 w 1653184"/>
                <a:gd name="connsiteY13" fmla="*/ 0 h 1635175"/>
                <a:gd name="connsiteX14" fmla="*/ 1140336 w 1653184"/>
                <a:gd name="connsiteY14" fmla="*/ 99554 h 1635175"/>
                <a:gd name="connsiteX15" fmla="*/ 1155420 w 1653184"/>
                <a:gd name="connsiteY15" fmla="*/ 123687 h 1635175"/>
                <a:gd name="connsiteX16" fmla="*/ 1155420 w 1653184"/>
                <a:gd name="connsiteY16" fmla="*/ 123687 h 1635175"/>
                <a:gd name="connsiteX17" fmla="*/ 1315308 w 1653184"/>
                <a:gd name="connsiteY17" fmla="*/ 455531 h 1635175"/>
                <a:gd name="connsiteX18" fmla="*/ 1327374 w 1653184"/>
                <a:gd name="connsiteY18" fmla="*/ 482682 h 1635175"/>
                <a:gd name="connsiteX19" fmla="*/ 1466146 w 1653184"/>
                <a:gd name="connsiteY19" fmla="*/ 877877 h 1635175"/>
                <a:gd name="connsiteX20" fmla="*/ 1475196 w 1653184"/>
                <a:gd name="connsiteY20" fmla="*/ 908045 h 1635175"/>
                <a:gd name="connsiteX21" fmla="*/ 1644134 w 1653184"/>
                <a:gd name="connsiteY21" fmla="*/ 1360559 h 1635175"/>
                <a:gd name="connsiteX22" fmla="*/ 1644134 w 1653184"/>
                <a:gd name="connsiteY22" fmla="*/ 1360559 h 1635175"/>
                <a:gd name="connsiteX23" fmla="*/ 1653185 w 1653184"/>
                <a:gd name="connsiteY23" fmla="*/ 1372626 h 163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653184" h="1635175">
                  <a:moveTo>
                    <a:pt x="1653185" y="1372626"/>
                  </a:moveTo>
                  <a:cubicBezTo>
                    <a:pt x="1641118" y="1381677"/>
                    <a:pt x="1629050" y="1390727"/>
                    <a:pt x="1616984" y="1399777"/>
                  </a:cubicBezTo>
                  <a:cubicBezTo>
                    <a:pt x="1248939" y="1662235"/>
                    <a:pt x="579218" y="1692402"/>
                    <a:pt x="0" y="1553631"/>
                  </a:cubicBezTo>
                  <a:cubicBezTo>
                    <a:pt x="60335" y="1448045"/>
                    <a:pt x="105587" y="1348492"/>
                    <a:pt x="141788" y="1254972"/>
                  </a:cubicBezTo>
                  <a:cubicBezTo>
                    <a:pt x="144805" y="1245922"/>
                    <a:pt x="147822" y="1236872"/>
                    <a:pt x="150838" y="1227822"/>
                  </a:cubicBezTo>
                  <a:cubicBezTo>
                    <a:pt x="190056" y="1125252"/>
                    <a:pt x="217207" y="1028715"/>
                    <a:pt x="235308" y="941229"/>
                  </a:cubicBezTo>
                  <a:cubicBezTo>
                    <a:pt x="238325" y="932180"/>
                    <a:pt x="241341" y="920112"/>
                    <a:pt x="241341" y="911062"/>
                  </a:cubicBezTo>
                  <a:cubicBezTo>
                    <a:pt x="271508" y="766258"/>
                    <a:pt x="280559" y="648603"/>
                    <a:pt x="283576" y="552068"/>
                  </a:cubicBezTo>
                  <a:cubicBezTo>
                    <a:pt x="283576" y="540001"/>
                    <a:pt x="283576" y="530950"/>
                    <a:pt x="286592" y="521900"/>
                  </a:cubicBezTo>
                  <a:cubicBezTo>
                    <a:pt x="286592" y="497765"/>
                    <a:pt x="289609" y="476649"/>
                    <a:pt x="289609" y="455531"/>
                  </a:cubicBezTo>
                  <a:cubicBezTo>
                    <a:pt x="295643" y="365028"/>
                    <a:pt x="313744" y="274525"/>
                    <a:pt x="334861" y="202123"/>
                  </a:cubicBezTo>
                  <a:cubicBezTo>
                    <a:pt x="337877" y="193073"/>
                    <a:pt x="340894" y="181006"/>
                    <a:pt x="343911" y="171956"/>
                  </a:cubicBezTo>
                  <a:cubicBezTo>
                    <a:pt x="374079" y="69386"/>
                    <a:pt x="404247" y="18101"/>
                    <a:pt x="404247" y="18101"/>
                  </a:cubicBezTo>
                  <a:cubicBezTo>
                    <a:pt x="404247" y="18101"/>
                    <a:pt x="690839" y="39218"/>
                    <a:pt x="1067934" y="0"/>
                  </a:cubicBezTo>
                  <a:cubicBezTo>
                    <a:pt x="1092067" y="30168"/>
                    <a:pt x="1116201" y="66369"/>
                    <a:pt x="1140336" y="99554"/>
                  </a:cubicBezTo>
                  <a:cubicBezTo>
                    <a:pt x="1146369" y="108604"/>
                    <a:pt x="1152403" y="117654"/>
                    <a:pt x="1155420" y="123687"/>
                  </a:cubicBezTo>
                  <a:lnTo>
                    <a:pt x="1155420" y="123687"/>
                  </a:lnTo>
                  <a:cubicBezTo>
                    <a:pt x="1215755" y="223241"/>
                    <a:pt x="1270056" y="337877"/>
                    <a:pt x="1315308" y="455531"/>
                  </a:cubicBezTo>
                  <a:cubicBezTo>
                    <a:pt x="1318324" y="464582"/>
                    <a:pt x="1321341" y="473632"/>
                    <a:pt x="1327374" y="482682"/>
                  </a:cubicBezTo>
                  <a:cubicBezTo>
                    <a:pt x="1378660" y="612403"/>
                    <a:pt x="1420894" y="745140"/>
                    <a:pt x="1466146" y="877877"/>
                  </a:cubicBezTo>
                  <a:cubicBezTo>
                    <a:pt x="1469162" y="886928"/>
                    <a:pt x="1472179" y="895978"/>
                    <a:pt x="1475196" y="908045"/>
                  </a:cubicBezTo>
                  <a:cubicBezTo>
                    <a:pt x="1529498" y="1067934"/>
                    <a:pt x="1580783" y="1224805"/>
                    <a:pt x="1644134" y="1360559"/>
                  </a:cubicBezTo>
                  <a:lnTo>
                    <a:pt x="1644134" y="1360559"/>
                  </a:lnTo>
                  <a:cubicBezTo>
                    <a:pt x="1650168" y="1366593"/>
                    <a:pt x="1650168" y="1369610"/>
                    <a:pt x="1653185" y="1372626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9F0DEE34-52BE-4306-AD45-1DA17783CA16}"/>
                </a:ext>
              </a:extLst>
            </p:cNvPr>
            <p:cNvSpPr/>
            <p:nvPr/>
          </p:nvSpPr>
          <p:spPr>
            <a:xfrm>
              <a:off x="10569516" y="8617321"/>
              <a:ext cx="452513" cy="941229"/>
            </a:xfrm>
            <a:custGeom>
              <a:avLst/>
              <a:gdLst>
                <a:gd name="connsiteX0" fmla="*/ 452514 w 452513"/>
                <a:gd name="connsiteY0" fmla="*/ 36201 h 941229"/>
                <a:gd name="connsiteX1" fmla="*/ 78436 w 452513"/>
                <a:gd name="connsiteY1" fmla="*/ 941229 h 941229"/>
                <a:gd name="connsiteX2" fmla="*/ 0 w 452513"/>
                <a:gd name="connsiteY2" fmla="*/ 917095 h 941229"/>
                <a:gd name="connsiteX3" fmla="*/ 410280 w 452513"/>
                <a:gd name="connsiteY3" fmla="*/ 0 h 941229"/>
                <a:gd name="connsiteX4" fmla="*/ 452514 w 452513"/>
                <a:gd name="connsiteY4" fmla="*/ 36201 h 941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2513" h="941229">
                  <a:moveTo>
                    <a:pt x="452514" y="36201"/>
                  </a:moveTo>
                  <a:cubicBezTo>
                    <a:pt x="452514" y="36201"/>
                    <a:pt x="111620" y="678771"/>
                    <a:pt x="78436" y="941229"/>
                  </a:cubicBezTo>
                  <a:lnTo>
                    <a:pt x="0" y="917095"/>
                  </a:lnTo>
                  <a:cubicBezTo>
                    <a:pt x="0" y="917095"/>
                    <a:pt x="193072" y="256425"/>
                    <a:pt x="410280" y="0"/>
                  </a:cubicBezTo>
                  <a:lnTo>
                    <a:pt x="452514" y="36201"/>
                  </a:ln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EBD93289-CC3F-400A-9816-FBBAA8A66162}"/>
                </a:ext>
              </a:extLst>
            </p:cNvPr>
            <p:cNvSpPr/>
            <p:nvPr/>
          </p:nvSpPr>
          <p:spPr>
            <a:xfrm>
              <a:off x="12657115" y="8964248"/>
              <a:ext cx="214190" cy="226256"/>
            </a:xfrm>
            <a:custGeom>
              <a:avLst/>
              <a:gdLst>
                <a:gd name="connsiteX0" fmla="*/ 93520 w 214190"/>
                <a:gd name="connsiteY0" fmla="*/ 0 h 226256"/>
                <a:gd name="connsiteX1" fmla="*/ 0 w 214190"/>
                <a:gd name="connsiteY1" fmla="*/ 108604 h 226256"/>
                <a:gd name="connsiteX2" fmla="*/ 93520 w 214190"/>
                <a:gd name="connsiteY2" fmla="*/ 226257 h 226256"/>
                <a:gd name="connsiteX3" fmla="*/ 214190 w 214190"/>
                <a:gd name="connsiteY3" fmla="*/ 102570 h 226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4190" h="226256">
                  <a:moveTo>
                    <a:pt x="93520" y="0"/>
                  </a:moveTo>
                  <a:lnTo>
                    <a:pt x="0" y="108604"/>
                  </a:lnTo>
                  <a:lnTo>
                    <a:pt x="93520" y="226257"/>
                  </a:lnTo>
                  <a:lnTo>
                    <a:pt x="214190" y="102570"/>
                  </a:ln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1AECD01C-2240-4F8F-97A9-C1F076EE4089}"/>
                </a:ext>
              </a:extLst>
            </p:cNvPr>
            <p:cNvSpPr/>
            <p:nvPr/>
          </p:nvSpPr>
          <p:spPr>
            <a:xfrm>
              <a:off x="11689524" y="8535188"/>
              <a:ext cx="1148595" cy="1122914"/>
            </a:xfrm>
            <a:custGeom>
              <a:avLst/>
              <a:gdLst>
                <a:gd name="connsiteX0" fmla="*/ 71612 w 1148595"/>
                <a:gd name="connsiteY0" fmla="*/ 6714 h 1122914"/>
                <a:gd name="connsiteX1" fmla="*/ 421557 w 1148595"/>
                <a:gd name="connsiteY1" fmla="*/ 353641 h 1122914"/>
                <a:gd name="connsiteX2" fmla="*/ 614629 w 1148595"/>
                <a:gd name="connsiteY2" fmla="*/ 800122 h 1122914"/>
                <a:gd name="connsiteX3" fmla="*/ 1006808 w 1148595"/>
                <a:gd name="connsiteY3" fmla="*/ 432077 h 1122914"/>
                <a:gd name="connsiteX4" fmla="*/ 1148596 w 1148595"/>
                <a:gd name="connsiteY4" fmla="*/ 591965 h 1122914"/>
                <a:gd name="connsiteX5" fmla="*/ 599545 w 1148595"/>
                <a:gd name="connsiteY5" fmla="*/ 1122915 h 1122914"/>
                <a:gd name="connsiteX6" fmla="*/ 71612 w 1148595"/>
                <a:gd name="connsiteY6" fmla="*/ 6714 h 1122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8595" h="1122914">
                  <a:moveTo>
                    <a:pt x="71612" y="6714"/>
                  </a:moveTo>
                  <a:cubicBezTo>
                    <a:pt x="195300" y="-47588"/>
                    <a:pt x="358205" y="242021"/>
                    <a:pt x="421557" y="353641"/>
                  </a:cubicBezTo>
                  <a:cubicBezTo>
                    <a:pt x="478875" y="453194"/>
                    <a:pt x="614629" y="800122"/>
                    <a:pt x="614629" y="800122"/>
                  </a:cubicBezTo>
                  <a:lnTo>
                    <a:pt x="1006808" y="432077"/>
                  </a:lnTo>
                  <a:lnTo>
                    <a:pt x="1148596" y="591965"/>
                  </a:lnTo>
                  <a:cubicBezTo>
                    <a:pt x="1148596" y="591965"/>
                    <a:pt x="726250" y="1119898"/>
                    <a:pt x="599545" y="1122915"/>
                  </a:cubicBezTo>
                  <a:cubicBezTo>
                    <a:pt x="385355" y="1122915"/>
                    <a:pt x="-202913" y="127384"/>
                    <a:pt x="71612" y="6714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" name="图形 1">
              <a:extLst>
                <a:ext uri="{FF2B5EF4-FFF2-40B4-BE49-F238E27FC236}">
                  <a16:creationId xmlns:a16="http://schemas.microsoft.com/office/drawing/2014/main" id="{510D5EEB-EDD9-402B-BBE5-EEC935907813}"/>
                </a:ext>
              </a:extLst>
            </p:cNvPr>
            <p:cNvGrpSpPr/>
            <p:nvPr/>
          </p:nvGrpSpPr>
          <p:grpSpPr>
            <a:xfrm>
              <a:off x="11537453" y="11905589"/>
              <a:ext cx="425844" cy="568659"/>
              <a:chOff x="11537453" y="11905589"/>
              <a:chExt cx="425844" cy="568659"/>
            </a:xfrm>
          </p:grpSpPr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FA60D428-61C3-4466-A0B9-1B9A8B3F840F}"/>
                  </a:ext>
                </a:extLst>
              </p:cNvPr>
              <p:cNvSpPr/>
              <p:nvPr/>
            </p:nvSpPr>
            <p:spPr>
              <a:xfrm>
                <a:off x="11625382" y="11905589"/>
                <a:ext cx="226256" cy="271508"/>
              </a:xfrm>
              <a:custGeom>
                <a:avLst/>
                <a:gdLst>
                  <a:gd name="connsiteX0" fmla="*/ 12067 w 226256"/>
                  <a:gd name="connsiteY0" fmla="*/ 168939 h 271508"/>
                  <a:gd name="connsiteX1" fmla="*/ 78436 w 226256"/>
                  <a:gd name="connsiteY1" fmla="*/ 0 h 271508"/>
                  <a:gd name="connsiteX2" fmla="*/ 226257 w 226256"/>
                  <a:gd name="connsiteY2" fmla="*/ 105587 h 271508"/>
                  <a:gd name="connsiteX3" fmla="*/ 138771 w 226256"/>
                  <a:gd name="connsiteY3" fmla="*/ 271508 h 271508"/>
                  <a:gd name="connsiteX4" fmla="*/ 0 w 226256"/>
                  <a:gd name="connsiteY4" fmla="*/ 208156 h 271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6256" h="271508">
                    <a:moveTo>
                      <a:pt x="12067" y="168939"/>
                    </a:moveTo>
                    <a:lnTo>
                      <a:pt x="78436" y="0"/>
                    </a:lnTo>
                    <a:lnTo>
                      <a:pt x="226257" y="105587"/>
                    </a:lnTo>
                    <a:lnTo>
                      <a:pt x="138771" y="271508"/>
                    </a:lnTo>
                    <a:lnTo>
                      <a:pt x="0" y="208156"/>
                    </a:ln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5A788728-C83B-46EF-97F8-BA6876FCD289}"/>
                  </a:ext>
                </a:extLst>
              </p:cNvPr>
              <p:cNvSpPr/>
              <p:nvPr/>
            </p:nvSpPr>
            <p:spPr>
              <a:xfrm>
                <a:off x="11564764" y="12065477"/>
                <a:ext cx="398533" cy="371062"/>
              </a:xfrm>
              <a:custGeom>
                <a:avLst/>
                <a:gdLst>
                  <a:gd name="connsiteX0" fmla="*/ 63635 w 398533"/>
                  <a:gd name="connsiteY0" fmla="*/ 0 h 371062"/>
                  <a:gd name="connsiteX1" fmla="*/ 241624 w 398533"/>
                  <a:gd name="connsiteY1" fmla="*/ 69386 h 371062"/>
                  <a:gd name="connsiteX2" fmla="*/ 301959 w 398533"/>
                  <a:gd name="connsiteY2" fmla="*/ 211173 h 371062"/>
                  <a:gd name="connsiteX3" fmla="*/ 392462 w 398533"/>
                  <a:gd name="connsiteY3" fmla="*/ 371062 h 371062"/>
                  <a:gd name="connsiteX4" fmla="*/ 283 w 398533"/>
                  <a:gd name="connsiteY4" fmla="*/ 90503 h 371062"/>
                  <a:gd name="connsiteX5" fmla="*/ 63635 w 398533"/>
                  <a:gd name="connsiteY5" fmla="*/ 0 h 371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8533" h="371062">
                    <a:moveTo>
                      <a:pt x="63635" y="0"/>
                    </a:moveTo>
                    <a:cubicBezTo>
                      <a:pt x="63635" y="0"/>
                      <a:pt x="154138" y="87487"/>
                      <a:pt x="241624" y="69386"/>
                    </a:cubicBezTo>
                    <a:cubicBezTo>
                      <a:pt x="241624" y="69386"/>
                      <a:pt x="271791" y="177990"/>
                      <a:pt x="301959" y="211173"/>
                    </a:cubicBezTo>
                    <a:cubicBezTo>
                      <a:pt x="332126" y="244358"/>
                      <a:pt x="422629" y="307710"/>
                      <a:pt x="392462" y="371062"/>
                    </a:cubicBezTo>
                    <a:lnTo>
                      <a:pt x="283" y="90503"/>
                    </a:lnTo>
                    <a:cubicBezTo>
                      <a:pt x="-2734" y="93520"/>
                      <a:pt x="18384" y="30168"/>
                      <a:pt x="63635" y="0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ECB5C8B0-8C3F-4C8A-A42D-5C456EC9E974}"/>
                  </a:ext>
                </a:extLst>
              </p:cNvPr>
              <p:cNvSpPr/>
              <p:nvPr/>
            </p:nvSpPr>
            <p:spPr>
              <a:xfrm rot="-3268738">
                <a:off x="11724400" y="12074274"/>
                <a:ext cx="45251" cy="482680"/>
              </a:xfrm>
              <a:custGeom>
                <a:avLst/>
                <a:gdLst>
                  <a:gd name="connsiteX0" fmla="*/ 0 w 45251"/>
                  <a:gd name="connsiteY0" fmla="*/ 0 h 482680"/>
                  <a:gd name="connsiteX1" fmla="*/ 45252 w 45251"/>
                  <a:gd name="connsiteY1" fmla="*/ 0 h 482680"/>
                  <a:gd name="connsiteX2" fmla="*/ 45252 w 45251"/>
                  <a:gd name="connsiteY2" fmla="*/ 482680 h 482680"/>
                  <a:gd name="connsiteX3" fmla="*/ 0 w 45251"/>
                  <a:gd name="connsiteY3" fmla="*/ 482680 h 482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251" h="482680">
                    <a:moveTo>
                      <a:pt x="0" y="0"/>
                    </a:moveTo>
                    <a:lnTo>
                      <a:pt x="45252" y="0"/>
                    </a:lnTo>
                    <a:lnTo>
                      <a:pt x="45252" y="482680"/>
                    </a:lnTo>
                    <a:lnTo>
                      <a:pt x="0" y="482680"/>
                    </a:ln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ADAF0112-CAA5-43FD-AF5F-6EA16F474978}"/>
                  </a:ext>
                </a:extLst>
              </p:cNvPr>
              <p:cNvSpPr/>
              <p:nvPr/>
            </p:nvSpPr>
            <p:spPr>
              <a:xfrm>
                <a:off x="11623120" y="12060198"/>
                <a:ext cx="189302" cy="83714"/>
              </a:xfrm>
              <a:custGeom>
                <a:avLst/>
                <a:gdLst>
                  <a:gd name="connsiteX0" fmla="*/ 165168 w 189302"/>
                  <a:gd name="connsiteY0" fmla="*/ 83715 h 83714"/>
                  <a:gd name="connsiteX1" fmla="*/ 2263 w 189302"/>
                  <a:gd name="connsiteY1" fmla="*/ 11313 h 83714"/>
                  <a:gd name="connsiteX2" fmla="*/ 2263 w 189302"/>
                  <a:gd name="connsiteY2" fmla="*/ 2263 h 83714"/>
                  <a:gd name="connsiteX3" fmla="*/ 11314 w 189302"/>
                  <a:gd name="connsiteY3" fmla="*/ 2263 h 83714"/>
                  <a:gd name="connsiteX4" fmla="*/ 183268 w 189302"/>
                  <a:gd name="connsiteY4" fmla="*/ 68631 h 83714"/>
                  <a:gd name="connsiteX5" fmla="*/ 189302 w 189302"/>
                  <a:gd name="connsiteY5" fmla="*/ 74665 h 83714"/>
                  <a:gd name="connsiteX6" fmla="*/ 183268 w 189302"/>
                  <a:gd name="connsiteY6" fmla="*/ 80698 h 83714"/>
                  <a:gd name="connsiteX7" fmla="*/ 165168 w 189302"/>
                  <a:gd name="connsiteY7" fmla="*/ 83715 h 83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9302" h="83714">
                    <a:moveTo>
                      <a:pt x="165168" y="83715"/>
                    </a:moveTo>
                    <a:cubicBezTo>
                      <a:pt x="77682" y="83715"/>
                      <a:pt x="5280" y="14330"/>
                      <a:pt x="2263" y="11313"/>
                    </a:cubicBezTo>
                    <a:cubicBezTo>
                      <a:pt x="-754" y="8296"/>
                      <a:pt x="-754" y="5279"/>
                      <a:pt x="2263" y="2263"/>
                    </a:cubicBezTo>
                    <a:cubicBezTo>
                      <a:pt x="5280" y="-754"/>
                      <a:pt x="8297" y="-754"/>
                      <a:pt x="11314" y="2263"/>
                    </a:cubicBezTo>
                    <a:cubicBezTo>
                      <a:pt x="11314" y="2263"/>
                      <a:pt x="92766" y="80698"/>
                      <a:pt x="183268" y="68631"/>
                    </a:cubicBezTo>
                    <a:cubicBezTo>
                      <a:pt x="186285" y="68631"/>
                      <a:pt x="189302" y="71648"/>
                      <a:pt x="189302" y="74665"/>
                    </a:cubicBezTo>
                    <a:cubicBezTo>
                      <a:pt x="189302" y="77682"/>
                      <a:pt x="186285" y="80698"/>
                      <a:pt x="183268" y="80698"/>
                    </a:cubicBezTo>
                    <a:cubicBezTo>
                      <a:pt x="174218" y="80698"/>
                      <a:pt x="168185" y="83715"/>
                      <a:pt x="165168" y="8371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77BFD119-9BCF-4C3D-8EFB-6500E09A0792}"/>
                  </a:ext>
                </a:extLst>
              </p:cNvPr>
              <p:cNvSpPr/>
              <p:nvPr/>
            </p:nvSpPr>
            <p:spPr>
              <a:xfrm>
                <a:off x="11776220" y="12171063"/>
                <a:ext cx="45251" cy="18100"/>
              </a:xfrm>
              <a:custGeom>
                <a:avLst/>
                <a:gdLst>
                  <a:gd name="connsiteX0" fmla="*/ 6034 w 45251"/>
                  <a:gd name="connsiteY0" fmla="*/ 18101 h 18100"/>
                  <a:gd name="connsiteX1" fmla="*/ 0 w 45251"/>
                  <a:gd name="connsiteY1" fmla="*/ 12068 h 18100"/>
                  <a:gd name="connsiteX2" fmla="*/ 3017 w 45251"/>
                  <a:gd name="connsiteY2" fmla="*/ 6034 h 18100"/>
                  <a:gd name="connsiteX3" fmla="*/ 39218 w 45251"/>
                  <a:gd name="connsiteY3" fmla="*/ 0 h 18100"/>
                  <a:gd name="connsiteX4" fmla="*/ 45251 w 45251"/>
                  <a:gd name="connsiteY4" fmla="*/ 3017 h 18100"/>
                  <a:gd name="connsiteX5" fmla="*/ 42234 w 45251"/>
                  <a:gd name="connsiteY5" fmla="*/ 9051 h 18100"/>
                  <a:gd name="connsiteX6" fmla="*/ 6034 w 45251"/>
                  <a:gd name="connsiteY6" fmla="*/ 18101 h 18100"/>
                  <a:gd name="connsiteX7" fmla="*/ 6034 w 45251"/>
                  <a:gd name="connsiteY7" fmla="*/ 18101 h 1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251" h="18100">
                    <a:moveTo>
                      <a:pt x="6034" y="18101"/>
                    </a:moveTo>
                    <a:cubicBezTo>
                      <a:pt x="3017" y="18101"/>
                      <a:pt x="0" y="15084"/>
                      <a:pt x="0" y="12068"/>
                    </a:cubicBezTo>
                    <a:cubicBezTo>
                      <a:pt x="0" y="9051"/>
                      <a:pt x="0" y="6034"/>
                      <a:pt x="3017" y="6034"/>
                    </a:cubicBezTo>
                    <a:lnTo>
                      <a:pt x="39218" y="0"/>
                    </a:lnTo>
                    <a:cubicBezTo>
                      <a:pt x="42234" y="0"/>
                      <a:pt x="45251" y="0"/>
                      <a:pt x="45251" y="3017"/>
                    </a:cubicBezTo>
                    <a:cubicBezTo>
                      <a:pt x="45251" y="6034"/>
                      <a:pt x="45251" y="9051"/>
                      <a:pt x="42234" y="9051"/>
                    </a:cubicBezTo>
                    <a:lnTo>
                      <a:pt x="6034" y="18101"/>
                    </a:lnTo>
                    <a:cubicBezTo>
                      <a:pt x="6034" y="18101"/>
                      <a:pt x="6034" y="18101"/>
                      <a:pt x="6034" y="1810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15BFD281-B567-4826-8AD4-C8FDAA048BC2}"/>
                  </a:ext>
                </a:extLst>
              </p:cNvPr>
              <p:cNvSpPr/>
              <p:nvPr/>
            </p:nvSpPr>
            <p:spPr>
              <a:xfrm>
                <a:off x="11791304" y="12216315"/>
                <a:ext cx="45251" cy="18100"/>
              </a:xfrm>
              <a:custGeom>
                <a:avLst/>
                <a:gdLst>
                  <a:gd name="connsiteX0" fmla="*/ 6034 w 45251"/>
                  <a:gd name="connsiteY0" fmla="*/ 18101 h 18100"/>
                  <a:gd name="connsiteX1" fmla="*/ 0 w 45251"/>
                  <a:gd name="connsiteY1" fmla="*/ 12068 h 18100"/>
                  <a:gd name="connsiteX2" fmla="*/ 3017 w 45251"/>
                  <a:gd name="connsiteY2" fmla="*/ 6034 h 18100"/>
                  <a:gd name="connsiteX3" fmla="*/ 39218 w 45251"/>
                  <a:gd name="connsiteY3" fmla="*/ 0 h 18100"/>
                  <a:gd name="connsiteX4" fmla="*/ 45251 w 45251"/>
                  <a:gd name="connsiteY4" fmla="*/ 3017 h 18100"/>
                  <a:gd name="connsiteX5" fmla="*/ 42234 w 45251"/>
                  <a:gd name="connsiteY5" fmla="*/ 9051 h 18100"/>
                  <a:gd name="connsiteX6" fmla="*/ 6034 w 45251"/>
                  <a:gd name="connsiteY6" fmla="*/ 18101 h 18100"/>
                  <a:gd name="connsiteX7" fmla="*/ 6034 w 45251"/>
                  <a:gd name="connsiteY7" fmla="*/ 18101 h 1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251" h="18100">
                    <a:moveTo>
                      <a:pt x="6034" y="18101"/>
                    </a:moveTo>
                    <a:cubicBezTo>
                      <a:pt x="3017" y="18101"/>
                      <a:pt x="0" y="15084"/>
                      <a:pt x="0" y="12068"/>
                    </a:cubicBezTo>
                    <a:cubicBezTo>
                      <a:pt x="0" y="9051"/>
                      <a:pt x="0" y="6034"/>
                      <a:pt x="3017" y="6034"/>
                    </a:cubicBezTo>
                    <a:lnTo>
                      <a:pt x="39218" y="0"/>
                    </a:lnTo>
                    <a:cubicBezTo>
                      <a:pt x="42234" y="0"/>
                      <a:pt x="45251" y="0"/>
                      <a:pt x="45251" y="3017"/>
                    </a:cubicBezTo>
                    <a:cubicBezTo>
                      <a:pt x="45251" y="6034"/>
                      <a:pt x="45251" y="9051"/>
                      <a:pt x="42234" y="9051"/>
                    </a:cubicBezTo>
                    <a:lnTo>
                      <a:pt x="6034" y="18101"/>
                    </a:lnTo>
                    <a:cubicBezTo>
                      <a:pt x="6034" y="18101"/>
                      <a:pt x="6034" y="18101"/>
                      <a:pt x="6034" y="1810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图形 1">
              <a:extLst>
                <a:ext uri="{FF2B5EF4-FFF2-40B4-BE49-F238E27FC236}">
                  <a16:creationId xmlns:a16="http://schemas.microsoft.com/office/drawing/2014/main" id="{0DA0B8E8-3C4A-45A9-9073-95B1AA95298B}"/>
                </a:ext>
              </a:extLst>
            </p:cNvPr>
            <p:cNvGrpSpPr/>
            <p:nvPr/>
          </p:nvGrpSpPr>
          <p:grpSpPr>
            <a:xfrm>
              <a:off x="11018679" y="12122796"/>
              <a:ext cx="492067" cy="337876"/>
              <a:chOff x="11018679" y="12122796"/>
              <a:chExt cx="492067" cy="337876"/>
            </a:xfrm>
          </p:grpSpPr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6052B1E2-7604-4F95-A69C-5FB58F7F4E82}"/>
                  </a:ext>
                </a:extLst>
              </p:cNvPr>
              <p:cNvSpPr/>
              <p:nvPr/>
            </p:nvSpPr>
            <p:spPr>
              <a:xfrm>
                <a:off x="11040131" y="12122796"/>
                <a:ext cx="181005" cy="220223"/>
              </a:xfrm>
              <a:custGeom>
                <a:avLst/>
                <a:gdLst>
                  <a:gd name="connsiteX0" fmla="*/ 0 w 181005"/>
                  <a:gd name="connsiteY0" fmla="*/ 184022 h 220223"/>
                  <a:gd name="connsiteX1" fmla="*/ 0 w 181005"/>
                  <a:gd name="connsiteY1" fmla="*/ 0 h 220223"/>
                  <a:gd name="connsiteX2" fmla="*/ 181006 w 181005"/>
                  <a:gd name="connsiteY2" fmla="*/ 0 h 220223"/>
                  <a:gd name="connsiteX3" fmla="*/ 162905 w 181005"/>
                  <a:gd name="connsiteY3" fmla="*/ 193072 h 220223"/>
                  <a:gd name="connsiteX4" fmla="*/ 12067 w 181005"/>
                  <a:gd name="connsiteY4" fmla="*/ 220223 h 220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005" h="220223">
                    <a:moveTo>
                      <a:pt x="0" y="184022"/>
                    </a:moveTo>
                    <a:lnTo>
                      <a:pt x="0" y="0"/>
                    </a:lnTo>
                    <a:lnTo>
                      <a:pt x="181006" y="0"/>
                    </a:lnTo>
                    <a:lnTo>
                      <a:pt x="162905" y="193072"/>
                    </a:lnTo>
                    <a:lnTo>
                      <a:pt x="12067" y="220223"/>
                    </a:ln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59FA12CF-DCB7-45EF-AF74-C2DFA0D77FCB}"/>
                  </a:ext>
                </a:extLst>
              </p:cNvPr>
              <p:cNvSpPr/>
              <p:nvPr/>
            </p:nvSpPr>
            <p:spPr>
              <a:xfrm>
                <a:off x="11018679" y="12261566"/>
                <a:ext cx="492067" cy="156871"/>
              </a:xfrm>
              <a:custGeom>
                <a:avLst/>
                <a:gdLst>
                  <a:gd name="connsiteX0" fmla="*/ 9386 w 492067"/>
                  <a:gd name="connsiteY0" fmla="*/ 45251 h 156871"/>
                  <a:gd name="connsiteX1" fmla="*/ 193408 w 492067"/>
                  <a:gd name="connsiteY1" fmla="*/ 0 h 156871"/>
                  <a:gd name="connsiteX2" fmla="*/ 326145 w 492067"/>
                  <a:gd name="connsiteY2" fmla="*/ 78436 h 156871"/>
                  <a:gd name="connsiteX3" fmla="*/ 492067 w 492067"/>
                  <a:gd name="connsiteY3" fmla="*/ 156872 h 156871"/>
                  <a:gd name="connsiteX4" fmla="*/ 9386 w 492067"/>
                  <a:gd name="connsiteY4" fmla="*/ 156872 h 156871"/>
                  <a:gd name="connsiteX5" fmla="*/ 9386 w 492067"/>
                  <a:gd name="connsiteY5" fmla="*/ 45251 h 156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2067" h="156871">
                    <a:moveTo>
                      <a:pt x="9386" y="45251"/>
                    </a:moveTo>
                    <a:cubicBezTo>
                      <a:pt x="9386" y="45251"/>
                      <a:pt x="133073" y="63352"/>
                      <a:pt x="193408" y="0"/>
                    </a:cubicBezTo>
                    <a:cubicBezTo>
                      <a:pt x="193408" y="0"/>
                      <a:pt x="280894" y="69386"/>
                      <a:pt x="326145" y="78436"/>
                    </a:cubicBezTo>
                    <a:cubicBezTo>
                      <a:pt x="371397" y="87487"/>
                      <a:pt x="480000" y="84470"/>
                      <a:pt x="492067" y="156872"/>
                    </a:cubicBezTo>
                    <a:lnTo>
                      <a:pt x="9386" y="156872"/>
                    </a:lnTo>
                    <a:cubicBezTo>
                      <a:pt x="9386" y="153855"/>
                      <a:pt x="-11732" y="93520"/>
                      <a:pt x="9386" y="45251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7F970AC6-42EC-4C9A-936D-8A42A16A045C}"/>
                  </a:ext>
                </a:extLst>
              </p:cNvPr>
              <p:cNvSpPr/>
              <p:nvPr/>
            </p:nvSpPr>
            <p:spPr>
              <a:xfrm>
                <a:off x="11028064" y="12415421"/>
                <a:ext cx="482681" cy="45251"/>
              </a:xfrm>
              <a:custGeom>
                <a:avLst/>
                <a:gdLst>
                  <a:gd name="connsiteX0" fmla="*/ 0 w 482681"/>
                  <a:gd name="connsiteY0" fmla="*/ 0 h 45251"/>
                  <a:gd name="connsiteX1" fmla="*/ 482682 w 482681"/>
                  <a:gd name="connsiteY1" fmla="*/ 0 h 45251"/>
                  <a:gd name="connsiteX2" fmla="*/ 482682 w 482681"/>
                  <a:gd name="connsiteY2" fmla="*/ 45251 h 45251"/>
                  <a:gd name="connsiteX3" fmla="*/ 0 w 482681"/>
                  <a:gd name="connsiteY3" fmla="*/ 45251 h 45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2681" h="45251">
                    <a:moveTo>
                      <a:pt x="0" y="0"/>
                    </a:moveTo>
                    <a:lnTo>
                      <a:pt x="482682" y="0"/>
                    </a:lnTo>
                    <a:lnTo>
                      <a:pt x="482682" y="45251"/>
                    </a:lnTo>
                    <a:lnTo>
                      <a:pt x="0" y="45251"/>
                    </a:ln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9AC9F887-41CE-483B-9593-3AA7619C6376}"/>
                  </a:ext>
                </a:extLst>
              </p:cNvPr>
              <p:cNvSpPr/>
              <p:nvPr/>
            </p:nvSpPr>
            <p:spPr>
              <a:xfrm>
                <a:off x="11019013" y="12250253"/>
                <a:ext cx="198352" cy="62597"/>
              </a:xfrm>
              <a:custGeom>
                <a:avLst/>
                <a:gdLst>
                  <a:gd name="connsiteX0" fmla="*/ 42235 w 198352"/>
                  <a:gd name="connsiteY0" fmla="*/ 62598 h 62597"/>
                  <a:gd name="connsiteX1" fmla="*/ 6034 w 198352"/>
                  <a:gd name="connsiteY1" fmla="*/ 59581 h 62597"/>
                  <a:gd name="connsiteX2" fmla="*/ 0 w 198352"/>
                  <a:gd name="connsiteY2" fmla="*/ 53548 h 62597"/>
                  <a:gd name="connsiteX3" fmla="*/ 6034 w 198352"/>
                  <a:gd name="connsiteY3" fmla="*/ 47514 h 62597"/>
                  <a:gd name="connsiteX4" fmla="*/ 187039 w 198352"/>
                  <a:gd name="connsiteY4" fmla="*/ 2263 h 62597"/>
                  <a:gd name="connsiteX5" fmla="*/ 196089 w 198352"/>
                  <a:gd name="connsiteY5" fmla="*/ 2263 h 62597"/>
                  <a:gd name="connsiteX6" fmla="*/ 196089 w 198352"/>
                  <a:gd name="connsiteY6" fmla="*/ 11313 h 62597"/>
                  <a:gd name="connsiteX7" fmla="*/ 42235 w 198352"/>
                  <a:gd name="connsiteY7" fmla="*/ 62598 h 62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8352" h="62597">
                    <a:moveTo>
                      <a:pt x="42235" y="62598"/>
                    </a:moveTo>
                    <a:cubicBezTo>
                      <a:pt x="21118" y="62598"/>
                      <a:pt x="9051" y="59581"/>
                      <a:pt x="6034" y="59581"/>
                    </a:cubicBezTo>
                    <a:cubicBezTo>
                      <a:pt x="3017" y="59581"/>
                      <a:pt x="0" y="56564"/>
                      <a:pt x="0" y="53548"/>
                    </a:cubicBezTo>
                    <a:cubicBezTo>
                      <a:pt x="0" y="50531"/>
                      <a:pt x="3017" y="47514"/>
                      <a:pt x="6034" y="47514"/>
                    </a:cubicBezTo>
                    <a:cubicBezTo>
                      <a:pt x="6034" y="47514"/>
                      <a:pt x="117654" y="62598"/>
                      <a:pt x="187039" y="2263"/>
                    </a:cubicBezTo>
                    <a:cubicBezTo>
                      <a:pt x="190056" y="-754"/>
                      <a:pt x="193073" y="-754"/>
                      <a:pt x="196089" y="2263"/>
                    </a:cubicBezTo>
                    <a:cubicBezTo>
                      <a:pt x="199106" y="5280"/>
                      <a:pt x="199106" y="8297"/>
                      <a:pt x="196089" y="11313"/>
                    </a:cubicBezTo>
                    <a:cubicBezTo>
                      <a:pt x="147822" y="56564"/>
                      <a:pt x="81453" y="62598"/>
                      <a:pt x="42235" y="6259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1D531F24-B70C-450F-9A25-3E87DAE956E2}"/>
                  </a:ext>
                </a:extLst>
              </p:cNvPr>
              <p:cNvSpPr/>
              <p:nvPr/>
            </p:nvSpPr>
            <p:spPr>
              <a:xfrm>
                <a:off x="11215857" y="12277404"/>
                <a:ext cx="37709" cy="41481"/>
              </a:xfrm>
              <a:custGeom>
                <a:avLst/>
                <a:gdLst>
                  <a:gd name="connsiteX0" fmla="*/ 5280 w 37709"/>
                  <a:gd name="connsiteY0" fmla="*/ 41481 h 41481"/>
                  <a:gd name="connsiteX1" fmla="*/ 2263 w 37709"/>
                  <a:gd name="connsiteY1" fmla="*/ 38464 h 41481"/>
                  <a:gd name="connsiteX2" fmla="*/ 2263 w 37709"/>
                  <a:gd name="connsiteY2" fmla="*/ 29413 h 41481"/>
                  <a:gd name="connsiteX3" fmla="*/ 26397 w 37709"/>
                  <a:gd name="connsiteY3" fmla="*/ 2263 h 41481"/>
                  <a:gd name="connsiteX4" fmla="*/ 35447 w 37709"/>
                  <a:gd name="connsiteY4" fmla="*/ 2263 h 41481"/>
                  <a:gd name="connsiteX5" fmla="*/ 35447 w 37709"/>
                  <a:gd name="connsiteY5" fmla="*/ 11314 h 41481"/>
                  <a:gd name="connsiteX6" fmla="*/ 11314 w 37709"/>
                  <a:gd name="connsiteY6" fmla="*/ 38464 h 41481"/>
                  <a:gd name="connsiteX7" fmla="*/ 5280 w 37709"/>
                  <a:gd name="connsiteY7" fmla="*/ 41481 h 41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709" h="41481">
                    <a:moveTo>
                      <a:pt x="5280" y="41481"/>
                    </a:moveTo>
                    <a:cubicBezTo>
                      <a:pt x="5280" y="41481"/>
                      <a:pt x="2263" y="41481"/>
                      <a:pt x="2263" y="38464"/>
                    </a:cubicBezTo>
                    <a:cubicBezTo>
                      <a:pt x="-754" y="35447"/>
                      <a:pt x="-754" y="32430"/>
                      <a:pt x="2263" y="29413"/>
                    </a:cubicBezTo>
                    <a:lnTo>
                      <a:pt x="26397" y="2263"/>
                    </a:lnTo>
                    <a:cubicBezTo>
                      <a:pt x="29413" y="-754"/>
                      <a:pt x="32430" y="-754"/>
                      <a:pt x="35447" y="2263"/>
                    </a:cubicBezTo>
                    <a:cubicBezTo>
                      <a:pt x="38464" y="5280"/>
                      <a:pt x="38464" y="8297"/>
                      <a:pt x="35447" y="11314"/>
                    </a:cubicBezTo>
                    <a:lnTo>
                      <a:pt x="11314" y="38464"/>
                    </a:lnTo>
                    <a:cubicBezTo>
                      <a:pt x="8297" y="38464"/>
                      <a:pt x="5280" y="41481"/>
                      <a:pt x="5280" y="4148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6469DB15-BB41-4B84-9EAD-ABFEF0067CFD}"/>
                  </a:ext>
                </a:extLst>
              </p:cNvPr>
              <p:cNvSpPr/>
              <p:nvPr/>
            </p:nvSpPr>
            <p:spPr>
              <a:xfrm>
                <a:off x="11252059" y="12301539"/>
                <a:ext cx="40725" cy="41480"/>
              </a:xfrm>
              <a:custGeom>
                <a:avLst/>
                <a:gdLst>
                  <a:gd name="connsiteX0" fmla="*/ 5280 w 40725"/>
                  <a:gd name="connsiteY0" fmla="*/ 41480 h 41480"/>
                  <a:gd name="connsiteX1" fmla="*/ 2263 w 40725"/>
                  <a:gd name="connsiteY1" fmla="*/ 38463 h 41480"/>
                  <a:gd name="connsiteX2" fmla="*/ 2263 w 40725"/>
                  <a:gd name="connsiteY2" fmla="*/ 29413 h 41480"/>
                  <a:gd name="connsiteX3" fmla="*/ 29413 w 40725"/>
                  <a:gd name="connsiteY3" fmla="*/ 2263 h 41480"/>
                  <a:gd name="connsiteX4" fmla="*/ 38463 w 40725"/>
                  <a:gd name="connsiteY4" fmla="*/ 2263 h 41480"/>
                  <a:gd name="connsiteX5" fmla="*/ 38463 w 40725"/>
                  <a:gd name="connsiteY5" fmla="*/ 11313 h 41480"/>
                  <a:gd name="connsiteX6" fmla="*/ 11313 w 40725"/>
                  <a:gd name="connsiteY6" fmla="*/ 38463 h 41480"/>
                  <a:gd name="connsiteX7" fmla="*/ 5280 w 40725"/>
                  <a:gd name="connsiteY7" fmla="*/ 41480 h 4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725" h="41480">
                    <a:moveTo>
                      <a:pt x="5280" y="41480"/>
                    </a:moveTo>
                    <a:cubicBezTo>
                      <a:pt x="5280" y="41480"/>
                      <a:pt x="2263" y="41480"/>
                      <a:pt x="2263" y="38463"/>
                    </a:cubicBezTo>
                    <a:cubicBezTo>
                      <a:pt x="-754" y="35446"/>
                      <a:pt x="-754" y="32430"/>
                      <a:pt x="2263" y="29413"/>
                    </a:cubicBezTo>
                    <a:lnTo>
                      <a:pt x="29413" y="2263"/>
                    </a:lnTo>
                    <a:cubicBezTo>
                      <a:pt x="32430" y="-754"/>
                      <a:pt x="35447" y="-754"/>
                      <a:pt x="38463" y="2263"/>
                    </a:cubicBezTo>
                    <a:cubicBezTo>
                      <a:pt x="41480" y="5279"/>
                      <a:pt x="41480" y="8296"/>
                      <a:pt x="38463" y="11313"/>
                    </a:cubicBezTo>
                    <a:lnTo>
                      <a:pt x="11313" y="38463"/>
                    </a:lnTo>
                    <a:cubicBezTo>
                      <a:pt x="8296" y="41480"/>
                      <a:pt x="8296" y="41480"/>
                      <a:pt x="5280" y="4148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ADDD0955-C5E9-4126-8754-CCF3854FE3FC}"/>
                </a:ext>
              </a:extLst>
            </p:cNvPr>
            <p:cNvSpPr/>
            <p:nvPr/>
          </p:nvSpPr>
          <p:spPr>
            <a:xfrm>
              <a:off x="10924011" y="9929611"/>
              <a:ext cx="1331874" cy="2259552"/>
            </a:xfrm>
            <a:custGeom>
              <a:avLst/>
              <a:gdLst>
                <a:gd name="connsiteX0" fmla="*/ 1024165 w 1331874"/>
                <a:gd name="connsiteY0" fmla="*/ 21118 h 2259552"/>
                <a:gd name="connsiteX1" fmla="*/ 1331874 w 1331874"/>
                <a:gd name="connsiteY1" fmla="*/ 1267039 h 2259552"/>
                <a:gd name="connsiteX2" fmla="*/ 975897 w 1331874"/>
                <a:gd name="connsiteY2" fmla="*/ 2172067 h 2259552"/>
                <a:gd name="connsiteX3" fmla="*/ 668187 w 1331874"/>
                <a:gd name="connsiteY3" fmla="*/ 2018212 h 2259552"/>
                <a:gd name="connsiteX4" fmla="*/ 930645 w 1331874"/>
                <a:gd name="connsiteY4" fmla="*/ 1248938 h 2259552"/>
                <a:gd name="connsiteX5" fmla="*/ 532433 w 1331874"/>
                <a:gd name="connsiteY5" fmla="*/ 497765 h 2259552"/>
                <a:gd name="connsiteX6" fmla="*/ 487181 w 1331874"/>
                <a:gd name="connsiteY6" fmla="*/ 1460112 h 2259552"/>
                <a:gd name="connsiteX7" fmla="*/ 342377 w 1331874"/>
                <a:gd name="connsiteY7" fmla="*/ 2250503 h 2259552"/>
                <a:gd name="connsiteX8" fmla="*/ 58802 w 1331874"/>
                <a:gd name="connsiteY8" fmla="*/ 2259553 h 2259552"/>
                <a:gd name="connsiteX9" fmla="*/ 88970 w 1331874"/>
                <a:gd name="connsiteY9" fmla="*/ 1442011 h 2259552"/>
                <a:gd name="connsiteX10" fmla="*/ 10534 w 1331874"/>
                <a:gd name="connsiteY10" fmla="*/ 0 h 2259552"/>
                <a:gd name="connsiteX11" fmla="*/ 1024165 w 1331874"/>
                <a:gd name="connsiteY11" fmla="*/ 21118 h 225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1874" h="2259552">
                  <a:moveTo>
                    <a:pt x="1024165" y="21118"/>
                  </a:moveTo>
                  <a:lnTo>
                    <a:pt x="1331874" y="1267039"/>
                  </a:lnTo>
                  <a:lnTo>
                    <a:pt x="975897" y="2172067"/>
                  </a:lnTo>
                  <a:lnTo>
                    <a:pt x="668187" y="2018212"/>
                  </a:lnTo>
                  <a:lnTo>
                    <a:pt x="930645" y="1248938"/>
                  </a:lnTo>
                  <a:cubicBezTo>
                    <a:pt x="930645" y="1248938"/>
                    <a:pt x="541484" y="512849"/>
                    <a:pt x="532433" y="497765"/>
                  </a:cubicBezTo>
                  <a:cubicBezTo>
                    <a:pt x="517349" y="467598"/>
                    <a:pt x="487181" y="1460112"/>
                    <a:pt x="487181" y="1460112"/>
                  </a:cubicBezTo>
                  <a:lnTo>
                    <a:pt x="342377" y="2250503"/>
                  </a:lnTo>
                  <a:lnTo>
                    <a:pt x="58802" y="2259553"/>
                  </a:lnTo>
                  <a:cubicBezTo>
                    <a:pt x="58802" y="2259553"/>
                    <a:pt x="95003" y="1541564"/>
                    <a:pt x="88970" y="1442011"/>
                  </a:cubicBezTo>
                  <a:cubicBezTo>
                    <a:pt x="79919" y="1291173"/>
                    <a:pt x="-34718" y="96537"/>
                    <a:pt x="10534" y="0"/>
                  </a:cubicBezTo>
                  <a:cubicBezTo>
                    <a:pt x="704388" y="33185"/>
                    <a:pt x="1024165" y="21118"/>
                    <a:pt x="1024165" y="21118"/>
                  </a:cubicBezTo>
                  <a:close/>
                </a:path>
              </a:pathLst>
            </a:custGeom>
            <a:solidFill>
              <a:srgbClr val="F1DDBA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A388B749-7AB4-4311-9A1F-C50A045D5D9B}"/>
                </a:ext>
              </a:extLst>
            </p:cNvPr>
            <p:cNvSpPr/>
            <p:nvPr/>
          </p:nvSpPr>
          <p:spPr>
            <a:xfrm>
              <a:off x="11453428" y="10074415"/>
              <a:ext cx="69385" cy="362011"/>
            </a:xfrm>
            <a:custGeom>
              <a:avLst/>
              <a:gdLst>
                <a:gd name="connsiteX0" fmla="*/ 6033 w 69385"/>
                <a:gd name="connsiteY0" fmla="*/ 362011 h 362011"/>
                <a:gd name="connsiteX1" fmla="*/ 6033 w 69385"/>
                <a:gd name="connsiteY1" fmla="*/ 362011 h 362011"/>
                <a:gd name="connsiteX2" fmla="*/ 0 w 69385"/>
                <a:gd name="connsiteY2" fmla="*/ 352961 h 362011"/>
                <a:gd name="connsiteX3" fmla="*/ 57318 w 69385"/>
                <a:gd name="connsiteY3" fmla="*/ 6034 h 362011"/>
                <a:gd name="connsiteX4" fmla="*/ 63351 w 69385"/>
                <a:gd name="connsiteY4" fmla="*/ 0 h 362011"/>
                <a:gd name="connsiteX5" fmla="*/ 63351 w 69385"/>
                <a:gd name="connsiteY5" fmla="*/ 0 h 362011"/>
                <a:gd name="connsiteX6" fmla="*/ 69385 w 69385"/>
                <a:gd name="connsiteY6" fmla="*/ 6034 h 362011"/>
                <a:gd name="connsiteX7" fmla="*/ 12067 w 69385"/>
                <a:gd name="connsiteY7" fmla="*/ 355978 h 362011"/>
                <a:gd name="connsiteX8" fmla="*/ 6033 w 69385"/>
                <a:gd name="connsiteY8" fmla="*/ 362011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85" h="362011">
                  <a:moveTo>
                    <a:pt x="6033" y="362011"/>
                  </a:moveTo>
                  <a:cubicBezTo>
                    <a:pt x="3016" y="362011"/>
                    <a:pt x="3016" y="362011"/>
                    <a:pt x="6033" y="362011"/>
                  </a:cubicBezTo>
                  <a:cubicBezTo>
                    <a:pt x="0" y="358995"/>
                    <a:pt x="0" y="355978"/>
                    <a:pt x="0" y="352961"/>
                  </a:cubicBezTo>
                  <a:cubicBezTo>
                    <a:pt x="48267" y="241341"/>
                    <a:pt x="57318" y="9051"/>
                    <a:pt x="57318" y="6034"/>
                  </a:cubicBezTo>
                  <a:cubicBezTo>
                    <a:pt x="57318" y="3017"/>
                    <a:pt x="60335" y="0"/>
                    <a:pt x="63351" y="0"/>
                  </a:cubicBezTo>
                  <a:cubicBezTo>
                    <a:pt x="63351" y="0"/>
                    <a:pt x="63351" y="0"/>
                    <a:pt x="63351" y="0"/>
                  </a:cubicBezTo>
                  <a:cubicBezTo>
                    <a:pt x="66368" y="0"/>
                    <a:pt x="69385" y="3017"/>
                    <a:pt x="69385" y="6034"/>
                  </a:cubicBezTo>
                  <a:cubicBezTo>
                    <a:pt x="69385" y="15084"/>
                    <a:pt x="60335" y="241341"/>
                    <a:pt x="12067" y="355978"/>
                  </a:cubicBezTo>
                  <a:cubicBezTo>
                    <a:pt x="9050" y="358995"/>
                    <a:pt x="6033" y="362011"/>
                    <a:pt x="6033" y="362011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A317A3CC-F3CD-4DCF-B732-411079FBE38A}"/>
                </a:ext>
              </a:extLst>
            </p:cNvPr>
            <p:cNvSpPr/>
            <p:nvPr/>
          </p:nvSpPr>
          <p:spPr>
            <a:xfrm>
              <a:off x="11479329" y="10005030"/>
              <a:ext cx="155104" cy="352961"/>
            </a:xfrm>
            <a:custGeom>
              <a:avLst/>
              <a:gdLst>
                <a:gd name="connsiteX0" fmla="*/ 7283 w 155104"/>
                <a:gd name="connsiteY0" fmla="*/ 352961 h 352961"/>
                <a:gd name="connsiteX1" fmla="*/ 1250 w 155104"/>
                <a:gd name="connsiteY1" fmla="*/ 349944 h 352961"/>
                <a:gd name="connsiteX2" fmla="*/ 4267 w 155104"/>
                <a:gd name="connsiteY2" fmla="*/ 340894 h 352961"/>
                <a:gd name="connsiteX3" fmla="*/ 109853 w 155104"/>
                <a:gd name="connsiteY3" fmla="*/ 265475 h 352961"/>
                <a:gd name="connsiteX4" fmla="*/ 143037 w 155104"/>
                <a:gd name="connsiteY4" fmla="*/ 6034 h 352961"/>
                <a:gd name="connsiteX5" fmla="*/ 149071 w 155104"/>
                <a:gd name="connsiteY5" fmla="*/ 0 h 352961"/>
                <a:gd name="connsiteX6" fmla="*/ 155105 w 155104"/>
                <a:gd name="connsiteY6" fmla="*/ 6034 h 352961"/>
                <a:gd name="connsiteX7" fmla="*/ 121920 w 155104"/>
                <a:gd name="connsiteY7" fmla="*/ 271508 h 352961"/>
                <a:gd name="connsiteX8" fmla="*/ 13317 w 155104"/>
                <a:gd name="connsiteY8" fmla="*/ 349944 h 352961"/>
                <a:gd name="connsiteX9" fmla="*/ 7283 w 155104"/>
                <a:gd name="connsiteY9" fmla="*/ 352961 h 352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5104" h="352961">
                  <a:moveTo>
                    <a:pt x="7283" y="352961"/>
                  </a:moveTo>
                  <a:cubicBezTo>
                    <a:pt x="4267" y="352961"/>
                    <a:pt x="4267" y="352961"/>
                    <a:pt x="1250" y="349944"/>
                  </a:cubicBezTo>
                  <a:cubicBezTo>
                    <a:pt x="-1767" y="346927"/>
                    <a:pt x="1250" y="343910"/>
                    <a:pt x="4267" y="340894"/>
                  </a:cubicBezTo>
                  <a:cubicBezTo>
                    <a:pt x="43484" y="316760"/>
                    <a:pt x="100802" y="274525"/>
                    <a:pt x="109853" y="265475"/>
                  </a:cubicBezTo>
                  <a:cubicBezTo>
                    <a:pt x="118903" y="253408"/>
                    <a:pt x="133987" y="99553"/>
                    <a:pt x="143037" y="6034"/>
                  </a:cubicBezTo>
                  <a:cubicBezTo>
                    <a:pt x="143037" y="3017"/>
                    <a:pt x="146054" y="0"/>
                    <a:pt x="149071" y="0"/>
                  </a:cubicBezTo>
                  <a:cubicBezTo>
                    <a:pt x="152088" y="0"/>
                    <a:pt x="155105" y="3017"/>
                    <a:pt x="155105" y="6034"/>
                  </a:cubicBezTo>
                  <a:cubicBezTo>
                    <a:pt x="152088" y="48268"/>
                    <a:pt x="130970" y="256425"/>
                    <a:pt x="121920" y="271508"/>
                  </a:cubicBezTo>
                  <a:cubicBezTo>
                    <a:pt x="109853" y="286592"/>
                    <a:pt x="22366" y="343910"/>
                    <a:pt x="13317" y="349944"/>
                  </a:cubicBezTo>
                  <a:cubicBezTo>
                    <a:pt x="10300" y="352961"/>
                    <a:pt x="7283" y="352961"/>
                    <a:pt x="7283" y="352961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EC975D61-8869-41FF-8D76-C2B1B7B46AF5}"/>
                </a:ext>
              </a:extLst>
            </p:cNvPr>
            <p:cNvSpPr/>
            <p:nvPr/>
          </p:nvSpPr>
          <p:spPr>
            <a:xfrm>
              <a:off x="11320689" y="8276427"/>
              <a:ext cx="247374" cy="255529"/>
            </a:xfrm>
            <a:custGeom>
              <a:avLst/>
              <a:gdLst>
                <a:gd name="connsiteX0" fmla="*/ 247375 w 247374"/>
                <a:gd name="connsiteY0" fmla="*/ 39218 h 255529"/>
                <a:gd name="connsiteX1" fmla="*/ 241341 w 247374"/>
                <a:gd name="connsiteY1" fmla="*/ 211173 h 255529"/>
                <a:gd name="connsiteX2" fmla="*/ 0 w 247374"/>
                <a:gd name="connsiteY2" fmla="*/ 202123 h 255529"/>
                <a:gd name="connsiteX3" fmla="*/ 15084 w 247374"/>
                <a:gd name="connsiteY3" fmla="*/ 0 h 255529"/>
                <a:gd name="connsiteX4" fmla="*/ 247375 w 247374"/>
                <a:gd name="connsiteY4" fmla="*/ 39218 h 255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374" h="255529">
                  <a:moveTo>
                    <a:pt x="247375" y="39218"/>
                  </a:moveTo>
                  <a:cubicBezTo>
                    <a:pt x="247375" y="39218"/>
                    <a:pt x="241341" y="138771"/>
                    <a:pt x="241341" y="211173"/>
                  </a:cubicBezTo>
                  <a:cubicBezTo>
                    <a:pt x="241341" y="211173"/>
                    <a:pt x="147822" y="316760"/>
                    <a:pt x="0" y="202123"/>
                  </a:cubicBezTo>
                  <a:cubicBezTo>
                    <a:pt x="0" y="141788"/>
                    <a:pt x="12068" y="63352"/>
                    <a:pt x="15084" y="0"/>
                  </a:cubicBezTo>
                  <a:cubicBezTo>
                    <a:pt x="15084" y="0"/>
                    <a:pt x="196089" y="51285"/>
                    <a:pt x="247375" y="39218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DD1331E8-AD85-40A8-8545-7BCFC56B0641}"/>
                </a:ext>
              </a:extLst>
            </p:cNvPr>
            <p:cNvSpPr/>
            <p:nvPr/>
          </p:nvSpPr>
          <p:spPr>
            <a:xfrm>
              <a:off x="10913427" y="8439332"/>
              <a:ext cx="1059691" cy="1550432"/>
            </a:xfrm>
            <a:custGeom>
              <a:avLst/>
              <a:gdLst>
                <a:gd name="connsiteX0" fmla="*/ 392179 w 1059691"/>
                <a:gd name="connsiteY0" fmla="*/ 0 h 1550432"/>
                <a:gd name="connsiteX1" fmla="*/ 678771 w 1059691"/>
                <a:gd name="connsiteY1" fmla="*/ 0 h 1550432"/>
                <a:gd name="connsiteX2" fmla="*/ 974414 w 1059691"/>
                <a:gd name="connsiteY2" fmla="*/ 129720 h 1550432"/>
                <a:gd name="connsiteX3" fmla="*/ 1058883 w 1059691"/>
                <a:gd name="connsiteY3" fmla="*/ 1520447 h 1550432"/>
                <a:gd name="connsiteX4" fmla="*/ 0 w 1059691"/>
                <a:gd name="connsiteY4" fmla="*/ 1496313 h 1550432"/>
                <a:gd name="connsiteX5" fmla="*/ 114637 w 1059691"/>
                <a:gd name="connsiteY5" fmla="*/ 102570 h 1550432"/>
                <a:gd name="connsiteX6" fmla="*/ 392179 w 1059691"/>
                <a:gd name="connsiteY6" fmla="*/ 0 h 1550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9691" h="1550432">
                  <a:moveTo>
                    <a:pt x="392179" y="0"/>
                  </a:moveTo>
                  <a:cubicBezTo>
                    <a:pt x="392179" y="0"/>
                    <a:pt x="564134" y="54301"/>
                    <a:pt x="678771" y="0"/>
                  </a:cubicBezTo>
                  <a:cubicBezTo>
                    <a:pt x="678771" y="0"/>
                    <a:pt x="950279" y="96536"/>
                    <a:pt x="974414" y="129720"/>
                  </a:cubicBezTo>
                  <a:cubicBezTo>
                    <a:pt x="998548" y="162905"/>
                    <a:pt x="1067934" y="1454078"/>
                    <a:pt x="1058883" y="1520447"/>
                  </a:cubicBezTo>
                  <a:cubicBezTo>
                    <a:pt x="1058883" y="1520447"/>
                    <a:pt x="573184" y="1601900"/>
                    <a:pt x="0" y="1496313"/>
                  </a:cubicBezTo>
                  <a:cubicBezTo>
                    <a:pt x="0" y="1143352"/>
                    <a:pt x="72403" y="132737"/>
                    <a:pt x="114637" y="102570"/>
                  </a:cubicBezTo>
                  <a:cubicBezTo>
                    <a:pt x="153855" y="69385"/>
                    <a:pt x="392179" y="0"/>
                    <a:pt x="392179" y="0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DB01F755-7EC4-4DA4-9815-43E87FB114A6}"/>
                </a:ext>
              </a:extLst>
            </p:cNvPr>
            <p:cNvSpPr/>
            <p:nvPr/>
          </p:nvSpPr>
          <p:spPr>
            <a:xfrm>
              <a:off x="11878790" y="8563019"/>
              <a:ext cx="52534" cy="733072"/>
            </a:xfrm>
            <a:custGeom>
              <a:avLst/>
              <a:gdLst>
                <a:gd name="connsiteX0" fmla="*/ 48268 w 52534"/>
                <a:gd name="connsiteY0" fmla="*/ 733073 h 733072"/>
                <a:gd name="connsiteX1" fmla="*/ 42235 w 52534"/>
                <a:gd name="connsiteY1" fmla="*/ 727039 h 733072"/>
                <a:gd name="connsiteX2" fmla="*/ 0 w 52534"/>
                <a:gd name="connsiteY2" fmla="*/ 6033 h 733072"/>
                <a:gd name="connsiteX3" fmla="*/ 3017 w 52534"/>
                <a:gd name="connsiteY3" fmla="*/ 0 h 733072"/>
                <a:gd name="connsiteX4" fmla="*/ 9051 w 52534"/>
                <a:gd name="connsiteY4" fmla="*/ 3017 h 733072"/>
                <a:gd name="connsiteX5" fmla="*/ 51285 w 52534"/>
                <a:gd name="connsiteY5" fmla="*/ 727039 h 733072"/>
                <a:gd name="connsiteX6" fmla="*/ 48268 w 52534"/>
                <a:gd name="connsiteY6" fmla="*/ 733073 h 733072"/>
                <a:gd name="connsiteX7" fmla="*/ 48268 w 52534"/>
                <a:gd name="connsiteY7" fmla="*/ 733073 h 733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534" h="733072">
                  <a:moveTo>
                    <a:pt x="48268" y="733073"/>
                  </a:moveTo>
                  <a:cubicBezTo>
                    <a:pt x="45251" y="733073"/>
                    <a:pt x="42235" y="730056"/>
                    <a:pt x="42235" y="727039"/>
                  </a:cubicBezTo>
                  <a:cubicBezTo>
                    <a:pt x="42235" y="721006"/>
                    <a:pt x="6034" y="45251"/>
                    <a:pt x="0" y="6033"/>
                  </a:cubicBezTo>
                  <a:cubicBezTo>
                    <a:pt x="0" y="3017"/>
                    <a:pt x="0" y="0"/>
                    <a:pt x="3017" y="0"/>
                  </a:cubicBezTo>
                  <a:cubicBezTo>
                    <a:pt x="6034" y="0"/>
                    <a:pt x="9051" y="0"/>
                    <a:pt x="9051" y="3017"/>
                  </a:cubicBezTo>
                  <a:cubicBezTo>
                    <a:pt x="18101" y="42235"/>
                    <a:pt x="51285" y="699888"/>
                    <a:pt x="51285" y="727039"/>
                  </a:cubicBezTo>
                  <a:cubicBezTo>
                    <a:pt x="54302" y="730056"/>
                    <a:pt x="51285" y="733073"/>
                    <a:pt x="48268" y="733073"/>
                  </a:cubicBezTo>
                  <a:cubicBezTo>
                    <a:pt x="48268" y="733073"/>
                    <a:pt x="48268" y="733073"/>
                    <a:pt x="48268" y="733073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9EB7DC9E-684A-4BC1-938C-D45073B346ED}"/>
                </a:ext>
              </a:extLst>
            </p:cNvPr>
            <p:cNvSpPr/>
            <p:nvPr/>
          </p:nvSpPr>
          <p:spPr>
            <a:xfrm>
              <a:off x="12741131" y="8750172"/>
              <a:ext cx="320807" cy="331729"/>
            </a:xfrm>
            <a:custGeom>
              <a:avLst/>
              <a:gdLst>
                <a:gd name="connsiteX0" fmla="*/ 305146 w 320807"/>
                <a:gd name="connsiteY0" fmla="*/ 138657 h 331729"/>
                <a:gd name="connsiteX1" fmla="*/ 284028 w 320807"/>
                <a:gd name="connsiteY1" fmla="*/ 129607 h 331729"/>
                <a:gd name="connsiteX2" fmla="*/ 277995 w 320807"/>
                <a:gd name="connsiteY2" fmla="*/ 132624 h 331729"/>
                <a:gd name="connsiteX3" fmla="*/ 299112 w 320807"/>
                <a:gd name="connsiteY3" fmla="*/ 114523 h 331729"/>
                <a:gd name="connsiteX4" fmla="*/ 320230 w 320807"/>
                <a:gd name="connsiteY4" fmla="*/ 69272 h 331729"/>
                <a:gd name="connsiteX5" fmla="*/ 314196 w 320807"/>
                <a:gd name="connsiteY5" fmla="*/ 66255 h 331729"/>
                <a:gd name="connsiteX6" fmla="*/ 311180 w 320807"/>
                <a:gd name="connsiteY6" fmla="*/ 66255 h 331729"/>
                <a:gd name="connsiteX7" fmla="*/ 314196 w 320807"/>
                <a:gd name="connsiteY7" fmla="*/ 33071 h 331729"/>
                <a:gd name="connsiteX8" fmla="*/ 287045 w 320807"/>
                <a:gd name="connsiteY8" fmla="*/ 21004 h 331729"/>
                <a:gd name="connsiteX9" fmla="*/ 238777 w 320807"/>
                <a:gd name="connsiteY9" fmla="*/ 54188 h 331729"/>
                <a:gd name="connsiteX10" fmla="*/ 175425 w 320807"/>
                <a:gd name="connsiteY10" fmla="*/ 102456 h 331729"/>
                <a:gd name="connsiteX11" fmla="*/ 211626 w 320807"/>
                <a:gd name="connsiteY11" fmla="*/ 51171 h 331729"/>
                <a:gd name="connsiteX12" fmla="*/ 235761 w 320807"/>
                <a:gd name="connsiteY12" fmla="*/ 11953 h 331729"/>
                <a:gd name="connsiteX13" fmla="*/ 202576 w 320807"/>
                <a:gd name="connsiteY13" fmla="*/ 8936 h 331729"/>
                <a:gd name="connsiteX14" fmla="*/ 3470 w 320807"/>
                <a:gd name="connsiteY14" fmla="*/ 250277 h 331729"/>
                <a:gd name="connsiteX15" fmla="*/ 118106 w 320807"/>
                <a:gd name="connsiteY15" fmla="*/ 331730 h 331729"/>
                <a:gd name="connsiteX16" fmla="*/ 220677 w 320807"/>
                <a:gd name="connsiteY16" fmla="*/ 238210 h 331729"/>
                <a:gd name="connsiteX17" fmla="*/ 281012 w 320807"/>
                <a:gd name="connsiteY17" fmla="*/ 183909 h 331729"/>
                <a:gd name="connsiteX18" fmla="*/ 305146 w 320807"/>
                <a:gd name="connsiteY18" fmla="*/ 138657 h 33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0807" h="331729">
                  <a:moveTo>
                    <a:pt x="305146" y="138657"/>
                  </a:moveTo>
                  <a:cubicBezTo>
                    <a:pt x="302129" y="129607"/>
                    <a:pt x="293079" y="126590"/>
                    <a:pt x="284028" y="129607"/>
                  </a:cubicBezTo>
                  <a:cubicBezTo>
                    <a:pt x="281012" y="129607"/>
                    <a:pt x="277995" y="129607"/>
                    <a:pt x="277995" y="132624"/>
                  </a:cubicBezTo>
                  <a:cubicBezTo>
                    <a:pt x="284028" y="126590"/>
                    <a:pt x="293079" y="120556"/>
                    <a:pt x="299112" y="114523"/>
                  </a:cubicBezTo>
                  <a:cubicBezTo>
                    <a:pt x="314196" y="102456"/>
                    <a:pt x="323246" y="87372"/>
                    <a:pt x="320230" y="69272"/>
                  </a:cubicBezTo>
                  <a:cubicBezTo>
                    <a:pt x="320230" y="66255"/>
                    <a:pt x="317213" y="66255"/>
                    <a:pt x="314196" y="66255"/>
                  </a:cubicBezTo>
                  <a:cubicBezTo>
                    <a:pt x="314196" y="66255"/>
                    <a:pt x="311180" y="66255"/>
                    <a:pt x="311180" y="66255"/>
                  </a:cubicBezTo>
                  <a:cubicBezTo>
                    <a:pt x="317213" y="57205"/>
                    <a:pt x="320230" y="45137"/>
                    <a:pt x="314196" y="33071"/>
                  </a:cubicBezTo>
                  <a:cubicBezTo>
                    <a:pt x="308163" y="21004"/>
                    <a:pt x="299112" y="17987"/>
                    <a:pt x="287045" y="21004"/>
                  </a:cubicBezTo>
                  <a:cubicBezTo>
                    <a:pt x="268944" y="27037"/>
                    <a:pt x="253860" y="42121"/>
                    <a:pt x="238777" y="54188"/>
                  </a:cubicBezTo>
                  <a:cubicBezTo>
                    <a:pt x="217660" y="69272"/>
                    <a:pt x="196542" y="87372"/>
                    <a:pt x="175425" y="102456"/>
                  </a:cubicBezTo>
                  <a:cubicBezTo>
                    <a:pt x="187492" y="84355"/>
                    <a:pt x="199559" y="69272"/>
                    <a:pt x="211626" y="51171"/>
                  </a:cubicBezTo>
                  <a:cubicBezTo>
                    <a:pt x="217660" y="39104"/>
                    <a:pt x="235761" y="24020"/>
                    <a:pt x="235761" y="11953"/>
                  </a:cubicBezTo>
                  <a:cubicBezTo>
                    <a:pt x="235761" y="-9164"/>
                    <a:pt x="211626" y="2903"/>
                    <a:pt x="202576" y="8936"/>
                  </a:cubicBezTo>
                  <a:cubicBezTo>
                    <a:pt x="148274" y="45137"/>
                    <a:pt x="-26698" y="171842"/>
                    <a:pt x="3470" y="250277"/>
                  </a:cubicBezTo>
                  <a:cubicBezTo>
                    <a:pt x="3470" y="250277"/>
                    <a:pt x="84923" y="328713"/>
                    <a:pt x="118106" y="331730"/>
                  </a:cubicBezTo>
                  <a:cubicBezTo>
                    <a:pt x="166375" y="331730"/>
                    <a:pt x="187492" y="268378"/>
                    <a:pt x="220677" y="238210"/>
                  </a:cubicBezTo>
                  <a:cubicBezTo>
                    <a:pt x="241794" y="220110"/>
                    <a:pt x="259894" y="202009"/>
                    <a:pt x="281012" y="183909"/>
                  </a:cubicBezTo>
                  <a:cubicBezTo>
                    <a:pt x="293079" y="168825"/>
                    <a:pt x="311180" y="156758"/>
                    <a:pt x="305146" y="138657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B947F654-EE22-40BA-A35D-4A88AD4EA248}"/>
                </a:ext>
              </a:extLst>
            </p:cNvPr>
            <p:cNvSpPr/>
            <p:nvPr/>
          </p:nvSpPr>
          <p:spPr>
            <a:xfrm>
              <a:off x="11117262" y="8475198"/>
              <a:ext cx="326426" cy="1311235"/>
            </a:xfrm>
            <a:custGeom>
              <a:avLst/>
              <a:gdLst>
                <a:gd name="connsiteX0" fmla="*/ 70690 w 326426"/>
                <a:gd name="connsiteY0" fmla="*/ 335 h 1311235"/>
                <a:gd name="connsiteX1" fmla="*/ 290914 w 326426"/>
                <a:gd name="connsiteY1" fmla="*/ 570503 h 1311235"/>
                <a:gd name="connsiteX2" fmla="*/ 321082 w 326426"/>
                <a:gd name="connsiteY2" fmla="*/ 1306592 h 1311235"/>
                <a:gd name="connsiteX3" fmla="*/ 248679 w 326426"/>
                <a:gd name="connsiteY3" fmla="*/ 1264358 h 1311235"/>
                <a:gd name="connsiteX4" fmla="*/ 215495 w 326426"/>
                <a:gd name="connsiteY4" fmla="*/ 573520 h 1311235"/>
                <a:gd name="connsiteX5" fmla="*/ 1305 w 326426"/>
                <a:gd name="connsiteY5" fmla="*/ 24469 h 1311235"/>
                <a:gd name="connsiteX6" fmla="*/ 70690 w 326426"/>
                <a:gd name="connsiteY6" fmla="*/ 335 h 1311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6426" h="1311235">
                  <a:moveTo>
                    <a:pt x="70690" y="335"/>
                  </a:moveTo>
                  <a:cubicBezTo>
                    <a:pt x="112925" y="27486"/>
                    <a:pt x="242646" y="305028"/>
                    <a:pt x="290914" y="570503"/>
                  </a:cubicBezTo>
                  <a:cubicBezTo>
                    <a:pt x="345216" y="878212"/>
                    <a:pt x="321082" y="1303575"/>
                    <a:pt x="321082" y="1306592"/>
                  </a:cubicBezTo>
                  <a:cubicBezTo>
                    <a:pt x="321082" y="1324693"/>
                    <a:pt x="245663" y="1285475"/>
                    <a:pt x="248679" y="1264358"/>
                  </a:cubicBezTo>
                  <a:cubicBezTo>
                    <a:pt x="263763" y="1032067"/>
                    <a:pt x="263763" y="802793"/>
                    <a:pt x="215495" y="573520"/>
                  </a:cubicBezTo>
                  <a:cubicBezTo>
                    <a:pt x="167227" y="341229"/>
                    <a:pt x="46557" y="63687"/>
                    <a:pt x="1305" y="24469"/>
                  </a:cubicBezTo>
                  <a:cubicBezTo>
                    <a:pt x="-10762" y="15419"/>
                    <a:pt x="64657" y="-2682"/>
                    <a:pt x="70690" y="335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0" name="图形 1">
              <a:extLst>
                <a:ext uri="{FF2B5EF4-FFF2-40B4-BE49-F238E27FC236}">
                  <a16:creationId xmlns:a16="http://schemas.microsoft.com/office/drawing/2014/main" id="{BAB1F997-050C-4AA2-B840-EEC776C3B001}"/>
                </a:ext>
              </a:extLst>
            </p:cNvPr>
            <p:cNvGrpSpPr/>
            <p:nvPr/>
          </p:nvGrpSpPr>
          <p:grpSpPr>
            <a:xfrm>
              <a:off x="10342230" y="9428462"/>
              <a:ext cx="1141365" cy="914079"/>
              <a:chOff x="10342230" y="9428462"/>
              <a:chExt cx="1141365" cy="914079"/>
            </a:xfrm>
          </p:grpSpPr>
          <p:grpSp>
            <p:nvGrpSpPr>
              <p:cNvPr id="95" name="图形 1">
                <a:extLst>
                  <a:ext uri="{FF2B5EF4-FFF2-40B4-BE49-F238E27FC236}">
                    <a16:creationId xmlns:a16="http://schemas.microsoft.com/office/drawing/2014/main" id="{3963107A-7473-4C7B-A5A9-4D99424D9A50}"/>
                  </a:ext>
                </a:extLst>
              </p:cNvPr>
              <p:cNvGrpSpPr/>
              <p:nvPr/>
            </p:nvGrpSpPr>
            <p:grpSpPr>
              <a:xfrm>
                <a:off x="10342230" y="9428462"/>
                <a:ext cx="1141121" cy="914079"/>
                <a:chOff x="10342230" y="9428462"/>
                <a:chExt cx="1141121" cy="914079"/>
              </a:xfrm>
              <a:solidFill>
                <a:srgbClr val="D39778"/>
              </a:solidFill>
            </p:grpSpPr>
            <p:sp>
              <p:nvSpPr>
                <p:cNvPr id="99" name="任意多边形: 形状 98">
                  <a:extLst>
                    <a:ext uri="{FF2B5EF4-FFF2-40B4-BE49-F238E27FC236}">
                      <a16:creationId xmlns:a16="http://schemas.microsoft.com/office/drawing/2014/main" id="{1C7E8CE8-F3A7-4E00-9D67-E2A76329EF60}"/>
                    </a:ext>
                  </a:extLst>
                </p:cNvPr>
                <p:cNvSpPr/>
                <p:nvPr/>
              </p:nvSpPr>
              <p:spPr>
                <a:xfrm>
                  <a:off x="10342230" y="9494302"/>
                  <a:ext cx="1097114" cy="848239"/>
                </a:xfrm>
                <a:custGeom>
                  <a:avLst/>
                  <a:gdLst>
                    <a:gd name="connsiteX0" fmla="*/ 1096114 w 1097114"/>
                    <a:gd name="connsiteY0" fmla="*/ 335757 h 848239"/>
                    <a:gd name="connsiteX1" fmla="*/ 912092 w 1097114"/>
                    <a:gd name="connsiteY1" fmla="*/ 845589 h 848239"/>
                    <a:gd name="connsiteX2" fmla="*/ 4047 w 1097114"/>
                    <a:gd name="connsiteY2" fmla="*/ 546930 h 848239"/>
                    <a:gd name="connsiteX3" fmla="*/ 179019 w 1097114"/>
                    <a:gd name="connsiteY3" fmla="*/ 896 h 848239"/>
                    <a:gd name="connsiteX4" fmla="*/ 1096114 w 1097114"/>
                    <a:gd name="connsiteY4" fmla="*/ 335757 h 848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97114" h="848239">
                      <a:moveTo>
                        <a:pt x="1096114" y="335757"/>
                      </a:moveTo>
                      <a:cubicBezTo>
                        <a:pt x="1111198" y="462460"/>
                        <a:pt x="951309" y="812404"/>
                        <a:pt x="912092" y="845589"/>
                      </a:cubicBezTo>
                      <a:cubicBezTo>
                        <a:pt x="878907" y="875756"/>
                        <a:pt x="103600" y="640449"/>
                        <a:pt x="4047" y="546930"/>
                      </a:cubicBezTo>
                      <a:cubicBezTo>
                        <a:pt x="-29138" y="516762"/>
                        <a:pt x="151868" y="15980"/>
                        <a:pt x="179019" y="896"/>
                      </a:cubicBezTo>
                      <a:cubicBezTo>
                        <a:pt x="206170" y="-14188"/>
                        <a:pt x="1074997" y="163801"/>
                        <a:pt x="1096114" y="335757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0" name="任意多边形: 形状 99">
                  <a:extLst>
                    <a:ext uri="{FF2B5EF4-FFF2-40B4-BE49-F238E27FC236}">
                      <a16:creationId xmlns:a16="http://schemas.microsoft.com/office/drawing/2014/main" id="{D03B6AF7-ED7D-4288-B357-38EB0EED970C}"/>
                    </a:ext>
                  </a:extLst>
                </p:cNvPr>
                <p:cNvSpPr/>
                <p:nvPr/>
              </p:nvSpPr>
              <p:spPr>
                <a:xfrm>
                  <a:off x="10399878" y="9428462"/>
                  <a:ext cx="1083473" cy="641874"/>
                </a:xfrm>
                <a:custGeom>
                  <a:avLst/>
                  <a:gdLst>
                    <a:gd name="connsiteX0" fmla="*/ 1080701 w 1083473"/>
                    <a:gd name="connsiteY0" fmla="*/ 329193 h 641874"/>
                    <a:gd name="connsiteX1" fmla="*/ 996231 w 1083473"/>
                    <a:gd name="connsiteY1" fmla="*/ 639920 h 641874"/>
                    <a:gd name="connsiteX2" fmla="*/ 700 w 1083473"/>
                    <a:gd name="connsiteY2" fmla="*/ 323160 h 641874"/>
                    <a:gd name="connsiteX3" fmla="*/ 142488 w 1083473"/>
                    <a:gd name="connsiteY3" fmla="*/ 367 h 641874"/>
                    <a:gd name="connsiteX4" fmla="*/ 1080701 w 1083473"/>
                    <a:gd name="connsiteY4" fmla="*/ 329193 h 6418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83473" h="641874">
                      <a:moveTo>
                        <a:pt x="1080701" y="329193"/>
                      </a:moveTo>
                      <a:cubicBezTo>
                        <a:pt x="1098802" y="347294"/>
                        <a:pt x="1023383" y="564501"/>
                        <a:pt x="996231" y="639920"/>
                      </a:cubicBezTo>
                      <a:cubicBezTo>
                        <a:pt x="984164" y="670088"/>
                        <a:pt x="12768" y="341261"/>
                        <a:pt x="700" y="323160"/>
                      </a:cubicBezTo>
                      <a:cubicBezTo>
                        <a:pt x="-11367" y="305059"/>
                        <a:pt x="136454" y="9417"/>
                        <a:pt x="142488" y="367"/>
                      </a:cubicBezTo>
                      <a:cubicBezTo>
                        <a:pt x="148522" y="-8683"/>
                        <a:pt x="929863" y="151205"/>
                        <a:pt x="1080701" y="329193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54ABE4A3-DB4F-4782-8B05-835A57D1F78B}"/>
                  </a:ext>
                </a:extLst>
              </p:cNvPr>
              <p:cNvSpPr/>
              <p:nvPr/>
            </p:nvSpPr>
            <p:spPr>
              <a:xfrm>
                <a:off x="10394545" y="9572384"/>
                <a:ext cx="1089050" cy="505048"/>
              </a:xfrm>
              <a:custGeom>
                <a:avLst/>
                <a:gdLst>
                  <a:gd name="connsiteX0" fmla="*/ 1004581 w 1089050"/>
                  <a:gd name="connsiteY0" fmla="*/ 502031 h 505048"/>
                  <a:gd name="connsiteX1" fmla="*/ 1001564 w 1089050"/>
                  <a:gd name="connsiteY1" fmla="*/ 502031 h 505048"/>
                  <a:gd name="connsiteX2" fmla="*/ 3017 w 1089050"/>
                  <a:gd name="connsiteY2" fmla="*/ 185271 h 505048"/>
                  <a:gd name="connsiteX3" fmla="*/ 0 w 1089050"/>
                  <a:gd name="connsiteY3" fmla="*/ 179238 h 505048"/>
                  <a:gd name="connsiteX4" fmla="*/ 6033 w 1089050"/>
                  <a:gd name="connsiteY4" fmla="*/ 176221 h 505048"/>
                  <a:gd name="connsiteX5" fmla="*/ 995531 w 1089050"/>
                  <a:gd name="connsiteY5" fmla="*/ 492981 h 505048"/>
                  <a:gd name="connsiteX6" fmla="*/ 1076983 w 1089050"/>
                  <a:gd name="connsiteY6" fmla="*/ 191305 h 505048"/>
                  <a:gd name="connsiteX7" fmla="*/ 717988 w 1089050"/>
                  <a:gd name="connsiteY7" fmla="*/ 10300 h 505048"/>
                  <a:gd name="connsiteX8" fmla="*/ 714972 w 1089050"/>
                  <a:gd name="connsiteY8" fmla="*/ 4266 h 505048"/>
                  <a:gd name="connsiteX9" fmla="*/ 721005 w 1089050"/>
                  <a:gd name="connsiteY9" fmla="*/ 1250 h 505048"/>
                  <a:gd name="connsiteX10" fmla="*/ 1086034 w 1089050"/>
                  <a:gd name="connsiteY10" fmla="*/ 185271 h 505048"/>
                  <a:gd name="connsiteX11" fmla="*/ 1089051 w 1089050"/>
                  <a:gd name="connsiteY11" fmla="*/ 188288 h 505048"/>
                  <a:gd name="connsiteX12" fmla="*/ 1089051 w 1089050"/>
                  <a:gd name="connsiteY12" fmla="*/ 191305 h 505048"/>
                  <a:gd name="connsiteX13" fmla="*/ 1001564 w 1089050"/>
                  <a:gd name="connsiteY13" fmla="*/ 505048 h 505048"/>
                  <a:gd name="connsiteX14" fmla="*/ 1004581 w 1089050"/>
                  <a:gd name="connsiteY14" fmla="*/ 502031 h 505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89050" h="505048">
                    <a:moveTo>
                      <a:pt x="1004581" y="502031"/>
                    </a:moveTo>
                    <a:lnTo>
                      <a:pt x="1001564" y="502031"/>
                    </a:lnTo>
                    <a:cubicBezTo>
                      <a:pt x="992514" y="499015"/>
                      <a:pt x="193072" y="272758"/>
                      <a:pt x="3017" y="185271"/>
                    </a:cubicBezTo>
                    <a:cubicBezTo>
                      <a:pt x="0" y="185271"/>
                      <a:pt x="0" y="179238"/>
                      <a:pt x="0" y="179238"/>
                    </a:cubicBezTo>
                    <a:cubicBezTo>
                      <a:pt x="0" y="176221"/>
                      <a:pt x="6033" y="176221"/>
                      <a:pt x="6033" y="176221"/>
                    </a:cubicBezTo>
                    <a:cubicBezTo>
                      <a:pt x="187039" y="260690"/>
                      <a:pt x="932179" y="471863"/>
                      <a:pt x="995531" y="492981"/>
                    </a:cubicBezTo>
                    <a:cubicBezTo>
                      <a:pt x="1031731" y="417562"/>
                      <a:pt x="1073967" y="218456"/>
                      <a:pt x="1076983" y="191305"/>
                    </a:cubicBezTo>
                    <a:cubicBezTo>
                      <a:pt x="1058883" y="176221"/>
                      <a:pt x="932179" y="73652"/>
                      <a:pt x="717988" y="10300"/>
                    </a:cubicBezTo>
                    <a:cubicBezTo>
                      <a:pt x="714972" y="10300"/>
                      <a:pt x="711956" y="7283"/>
                      <a:pt x="714972" y="4266"/>
                    </a:cubicBezTo>
                    <a:cubicBezTo>
                      <a:pt x="714972" y="1250"/>
                      <a:pt x="717988" y="-1767"/>
                      <a:pt x="721005" y="1250"/>
                    </a:cubicBezTo>
                    <a:cubicBezTo>
                      <a:pt x="956312" y="70635"/>
                      <a:pt x="1086034" y="185271"/>
                      <a:pt x="1086034" y="185271"/>
                    </a:cubicBezTo>
                    <a:lnTo>
                      <a:pt x="1089051" y="188288"/>
                    </a:lnTo>
                    <a:lnTo>
                      <a:pt x="1089051" y="191305"/>
                    </a:lnTo>
                    <a:cubicBezTo>
                      <a:pt x="1086034" y="200355"/>
                      <a:pt x="1040782" y="426612"/>
                      <a:pt x="1001564" y="505048"/>
                    </a:cubicBezTo>
                    <a:lnTo>
                      <a:pt x="1004581" y="502031"/>
                    </a:ln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36F2D636-6BE1-4593-A201-C25C787B798B}"/>
                  </a:ext>
                </a:extLst>
              </p:cNvPr>
              <p:cNvSpPr/>
              <p:nvPr/>
            </p:nvSpPr>
            <p:spPr>
              <a:xfrm>
                <a:off x="11136668" y="9977879"/>
                <a:ext cx="72402" cy="72732"/>
              </a:xfrm>
              <a:custGeom>
                <a:avLst/>
                <a:gdLst>
                  <a:gd name="connsiteX0" fmla="*/ 0 w 72402"/>
                  <a:gd name="connsiteY0" fmla="*/ 36201 h 72732"/>
                  <a:gd name="connsiteX1" fmla="*/ 36201 w 72402"/>
                  <a:gd name="connsiteY1" fmla="*/ 0 h 72732"/>
                  <a:gd name="connsiteX2" fmla="*/ 72402 w 72402"/>
                  <a:gd name="connsiteY2" fmla="*/ 36201 h 72732"/>
                  <a:gd name="connsiteX3" fmla="*/ 36201 w 72402"/>
                  <a:gd name="connsiteY3" fmla="*/ 72402 h 72732"/>
                  <a:gd name="connsiteX4" fmla="*/ 0 w 72402"/>
                  <a:gd name="connsiteY4" fmla="*/ 36201 h 72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402" h="72732">
                    <a:moveTo>
                      <a:pt x="0" y="36201"/>
                    </a:moveTo>
                    <a:cubicBezTo>
                      <a:pt x="0" y="15084"/>
                      <a:pt x="15084" y="0"/>
                      <a:pt x="36201" y="0"/>
                    </a:cubicBezTo>
                    <a:cubicBezTo>
                      <a:pt x="57318" y="0"/>
                      <a:pt x="72402" y="15084"/>
                      <a:pt x="72402" y="36201"/>
                    </a:cubicBezTo>
                    <a:cubicBezTo>
                      <a:pt x="72402" y="57318"/>
                      <a:pt x="57318" y="72402"/>
                      <a:pt x="36201" y="72402"/>
                    </a:cubicBezTo>
                    <a:cubicBezTo>
                      <a:pt x="18100" y="75419"/>
                      <a:pt x="0" y="57318"/>
                      <a:pt x="0" y="36201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E61D0CF6-B1AE-4274-A851-6DED0171A2A0}"/>
                  </a:ext>
                </a:extLst>
              </p:cNvPr>
              <p:cNvSpPr/>
              <p:nvPr/>
            </p:nvSpPr>
            <p:spPr>
              <a:xfrm>
                <a:off x="10575550" y="9787823"/>
                <a:ext cx="72402" cy="72402"/>
              </a:xfrm>
              <a:custGeom>
                <a:avLst/>
                <a:gdLst>
                  <a:gd name="connsiteX0" fmla="*/ 0 w 72402"/>
                  <a:gd name="connsiteY0" fmla="*/ 36201 h 72402"/>
                  <a:gd name="connsiteX1" fmla="*/ 36201 w 72402"/>
                  <a:gd name="connsiteY1" fmla="*/ 0 h 72402"/>
                  <a:gd name="connsiteX2" fmla="*/ 72402 w 72402"/>
                  <a:gd name="connsiteY2" fmla="*/ 36201 h 72402"/>
                  <a:gd name="connsiteX3" fmla="*/ 36201 w 72402"/>
                  <a:gd name="connsiteY3" fmla="*/ 72403 h 72402"/>
                  <a:gd name="connsiteX4" fmla="*/ 0 w 72402"/>
                  <a:gd name="connsiteY4" fmla="*/ 36201 h 72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402" h="72402">
                    <a:moveTo>
                      <a:pt x="0" y="36201"/>
                    </a:moveTo>
                    <a:cubicBezTo>
                      <a:pt x="0" y="15084"/>
                      <a:pt x="15084" y="0"/>
                      <a:pt x="36201" y="0"/>
                    </a:cubicBezTo>
                    <a:cubicBezTo>
                      <a:pt x="57318" y="0"/>
                      <a:pt x="72402" y="15084"/>
                      <a:pt x="72402" y="36201"/>
                    </a:cubicBezTo>
                    <a:cubicBezTo>
                      <a:pt x="72402" y="57319"/>
                      <a:pt x="57318" y="72403"/>
                      <a:pt x="36201" y="72403"/>
                    </a:cubicBezTo>
                    <a:cubicBezTo>
                      <a:pt x="15084" y="72403"/>
                      <a:pt x="0" y="57319"/>
                      <a:pt x="0" y="36201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1" name="图形 1">
              <a:extLst>
                <a:ext uri="{FF2B5EF4-FFF2-40B4-BE49-F238E27FC236}">
                  <a16:creationId xmlns:a16="http://schemas.microsoft.com/office/drawing/2014/main" id="{CD7D820C-FE89-4CBB-9F37-CA93F7D4128E}"/>
                </a:ext>
              </a:extLst>
            </p:cNvPr>
            <p:cNvGrpSpPr/>
            <p:nvPr/>
          </p:nvGrpSpPr>
          <p:grpSpPr>
            <a:xfrm>
              <a:off x="10649806" y="9778396"/>
              <a:ext cx="293040" cy="381243"/>
              <a:chOff x="10649806" y="9778396"/>
              <a:chExt cx="293040" cy="381243"/>
            </a:xfrm>
          </p:grpSpPr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9A4CB9C4-858F-419D-8C0D-49BE43FF83AA}"/>
                  </a:ext>
                </a:extLst>
              </p:cNvPr>
              <p:cNvSpPr/>
              <p:nvPr/>
            </p:nvSpPr>
            <p:spPr>
              <a:xfrm>
                <a:off x="10789740" y="9808941"/>
                <a:ext cx="136897" cy="203936"/>
              </a:xfrm>
              <a:custGeom>
                <a:avLst/>
                <a:gdLst>
                  <a:gd name="connsiteX0" fmla="*/ 0 w 136897"/>
                  <a:gd name="connsiteY0" fmla="*/ 0 h 203936"/>
                  <a:gd name="connsiteX1" fmla="*/ 99553 w 136897"/>
                  <a:gd name="connsiteY1" fmla="*/ 60335 h 203936"/>
                  <a:gd name="connsiteX2" fmla="*/ 129720 w 136897"/>
                  <a:gd name="connsiteY2" fmla="*/ 193072 h 203936"/>
                  <a:gd name="connsiteX3" fmla="*/ 93519 w 136897"/>
                  <a:gd name="connsiteY3" fmla="*/ 181006 h 203936"/>
                  <a:gd name="connsiteX4" fmla="*/ 0 w 136897"/>
                  <a:gd name="connsiteY4" fmla="*/ 0 h 203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897" h="203936">
                    <a:moveTo>
                      <a:pt x="0" y="0"/>
                    </a:moveTo>
                    <a:cubicBezTo>
                      <a:pt x="0" y="0"/>
                      <a:pt x="75419" y="24134"/>
                      <a:pt x="99553" y="60335"/>
                    </a:cubicBezTo>
                    <a:cubicBezTo>
                      <a:pt x="120670" y="96537"/>
                      <a:pt x="150838" y="162905"/>
                      <a:pt x="129720" y="193072"/>
                    </a:cubicBezTo>
                    <a:cubicBezTo>
                      <a:pt x="108603" y="223240"/>
                      <a:pt x="93519" y="181006"/>
                      <a:pt x="93519" y="18100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FFF29DA7-8E14-48C2-967A-DDE852F28812}"/>
                  </a:ext>
                </a:extLst>
              </p:cNvPr>
              <p:cNvSpPr/>
              <p:nvPr/>
            </p:nvSpPr>
            <p:spPr>
              <a:xfrm>
                <a:off x="10649806" y="9778396"/>
                <a:ext cx="287543" cy="381243"/>
              </a:xfrm>
              <a:custGeom>
                <a:avLst/>
                <a:gdLst>
                  <a:gd name="connsiteX0" fmla="*/ 7196 w 287543"/>
                  <a:gd name="connsiteY0" fmla="*/ 96914 h 381243"/>
                  <a:gd name="connsiteX1" fmla="*/ 46415 w 287543"/>
                  <a:gd name="connsiteY1" fmla="*/ 184400 h 381243"/>
                  <a:gd name="connsiteX2" fmla="*/ 76582 w 287543"/>
                  <a:gd name="connsiteY2" fmla="*/ 277919 h 381243"/>
                  <a:gd name="connsiteX3" fmla="*/ 103733 w 287543"/>
                  <a:gd name="connsiteY3" fmla="*/ 326187 h 381243"/>
                  <a:gd name="connsiteX4" fmla="*/ 115800 w 287543"/>
                  <a:gd name="connsiteY4" fmla="*/ 259819 h 381243"/>
                  <a:gd name="connsiteX5" fmla="*/ 136918 w 287543"/>
                  <a:gd name="connsiteY5" fmla="*/ 311103 h 381243"/>
                  <a:gd name="connsiteX6" fmla="*/ 185186 w 287543"/>
                  <a:gd name="connsiteY6" fmla="*/ 371438 h 381243"/>
                  <a:gd name="connsiteX7" fmla="*/ 200270 w 287543"/>
                  <a:gd name="connsiteY7" fmla="*/ 362388 h 381243"/>
                  <a:gd name="connsiteX8" fmla="*/ 227420 w 287543"/>
                  <a:gd name="connsiteY8" fmla="*/ 380489 h 381243"/>
                  <a:gd name="connsiteX9" fmla="*/ 242504 w 287543"/>
                  <a:gd name="connsiteY9" fmla="*/ 314120 h 381243"/>
                  <a:gd name="connsiteX10" fmla="*/ 230437 w 287543"/>
                  <a:gd name="connsiteY10" fmla="*/ 253785 h 381243"/>
                  <a:gd name="connsiteX11" fmla="*/ 257588 w 287543"/>
                  <a:gd name="connsiteY11" fmla="*/ 289986 h 381243"/>
                  <a:gd name="connsiteX12" fmla="*/ 275689 w 287543"/>
                  <a:gd name="connsiteY12" fmla="*/ 299036 h 381243"/>
                  <a:gd name="connsiteX13" fmla="*/ 269655 w 287543"/>
                  <a:gd name="connsiteY13" fmla="*/ 223617 h 381243"/>
                  <a:gd name="connsiteX14" fmla="*/ 133901 w 287543"/>
                  <a:gd name="connsiteY14" fmla="*/ 377 h 381243"/>
                  <a:gd name="connsiteX15" fmla="*/ 13230 w 287543"/>
                  <a:gd name="connsiteY15" fmla="*/ 45629 h 381243"/>
                  <a:gd name="connsiteX16" fmla="*/ 7196 w 287543"/>
                  <a:gd name="connsiteY16" fmla="*/ 96914 h 381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7543" h="381243">
                    <a:moveTo>
                      <a:pt x="7196" y="96914"/>
                    </a:moveTo>
                    <a:cubicBezTo>
                      <a:pt x="19264" y="127081"/>
                      <a:pt x="34348" y="154232"/>
                      <a:pt x="46415" y="184400"/>
                    </a:cubicBezTo>
                    <a:cubicBezTo>
                      <a:pt x="58482" y="214567"/>
                      <a:pt x="64515" y="247752"/>
                      <a:pt x="76582" y="277919"/>
                    </a:cubicBezTo>
                    <a:cubicBezTo>
                      <a:pt x="79599" y="289986"/>
                      <a:pt x="88649" y="323171"/>
                      <a:pt x="103733" y="326187"/>
                    </a:cubicBezTo>
                    <a:cubicBezTo>
                      <a:pt x="124851" y="329204"/>
                      <a:pt x="121834" y="293003"/>
                      <a:pt x="115800" y="259819"/>
                    </a:cubicBezTo>
                    <a:cubicBezTo>
                      <a:pt x="121834" y="277919"/>
                      <a:pt x="130884" y="293003"/>
                      <a:pt x="136918" y="311103"/>
                    </a:cubicBezTo>
                    <a:cubicBezTo>
                      <a:pt x="145967" y="329204"/>
                      <a:pt x="164068" y="368422"/>
                      <a:pt x="185186" y="371438"/>
                    </a:cubicBezTo>
                    <a:cubicBezTo>
                      <a:pt x="191219" y="371438"/>
                      <a:pt x="197253" y="368422"/>
                      <a:pt x="200270" y="362388"/>
                    </a:cubicBezTo>
                    <a:cubicBezTo>
                      <a:pt x="209320" y="377472"/>
                      <a:pt x="218370" y="383506"/>
                      <a:pt x="227420" y="380489"/>
                    </a:cubicBezTo>
                    <a:cubicBezTo>
                      <a:pt x="245521" y="371438"/>
                      <a:pt x="242504" y="332221"/>
                      <a:pt x="242504" y="314120"/>
                    </a:cubicBezTo>
                    <a:cubicBezTo>
                      <a:pt x="239487" y="293003"/>
                      <a:pt x="236470" y="271886"/>
                      <a:pt x="230437" y="253785"/>
                    </a:cubicBezTo>
                    <a:cubicBezTo>
                      <a:pt x="239487" y="265852"/>
                      <a:pt x="248537" y="277919"/>
                      <a:pt x="257588" y="289986"/>
                    </a:cubicBezTo>
                    <a:cubicBezTo>
                      <a:pt x="263621" y="296019"/>
                      <a:pt x="266638" y="302053"/>
                      <a:pt x="275689" y="299036"/>
                    </a:cubicBezTo>
                    <a:cubicBezTo>
                      <a:pt x="302839" y="293003"/>
                      <a:pt x="275689" y="235684"/>
                      <a:pt x="269655" y="223617"/>
                    </a:cubicBezTo>
                    <a:cubicBezTo>
                      <a:pt x="233453" y="142165"/>
                      <a:pt x="179152" y="75796"/>
                      <a:pt x="133901" y="377"/>
                    </a:cubicBezTo>
                    <a:cubicBezTo>
                      <a:pt x="136918" y="-2640"/>
                      <a:pt x="43398" y="12444"/>
                      <a:pt x="13230" y="45629"/>
                    </a:cubicBezTo>
                    <a:cubicBezTo>
                      <a:pt x="-4871" y="63729"/>
                      <a:pt x="-1854" y="72779"/>
                      <a:pt x="7196" y="9691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94000B0A-BCA1-4CA8-B4C1-A6D2C77B46F1}"/>
                  </a:ext>
                </a:extLst>
              </p:cNvPr>
              <p:cNvSpPr/>
              <p:nvPr/>
            </p:nvSpPr>
            <p:spPr>
              <a:xfrm>
                <a:off x="10797450" y="9976539"/>
                <a:ext cx="55642" cy="170279"/>
              </a:xfrm>
              <a:custGeom>
                <a:avLst/>
                <a:gdLst>
                  <a:gd name="connsiteX0" fmla="*/ 49609 w 55642"/>
                  <a:gd name="connsiteY0" fmla="*/ 170280 h 170279"/>
                  <a:gd name="connsiteX1" fmla="*/ 43575 w 55642"/>
                  <a:gd name="connsiteY1" fmla="*/ 164246 h 170279"/>
                  <a:gd name="connsiteX2" fmla="*/ 1341 w 55642"/>
                  <a:gd name="connsiteY2" fmla="*/ 10391 h 170279"/>
                  <a:gd name="connsiteX3" fmla="*/ 1341 w 55642"/>
                  <a:gd name="connsiteY3" fmla="*/ 1341 h 170279"/>
                  <a:gd name="connsiteX4" fmla="*/ 10391 w 55642"/>
                  <a:gd name="connsiteY4" fmla="*/ 1341 h 170279"/>
                  <a:gd name="connsiteX5" fmla="*/ 55642 w 55642"/>
                  <a:gd name="connsiteY5" fmla="*/ 161229 h 170279"/>
                  <a:gd name="connsiteX6" fmla="*/ 49609 w 55642"/>
                  <a:gd name="connsiteY6" fmla="*/ 170280 h 170279"/>
                  <a:gd name="connsiteX7" fmla="*/ 49609 w 55642"/>
                  <a:gd name="connsiteY7" fmla="*/ 170280 h 170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642" h="170279">
                    <a:moveTo>
                      <a:pt x="49609" y="170280"/>
                    </a:moveTo>
                    <a:cubicBezTo>
                      <a:pt x="46592" y="170280"/>
                      <a:pt x="43575" y="167263"/>
                      <a:pt x="43575" y="164246"/>
                    </a:cubicBezTo>
                    <a:cubicBezTo>
                      <a:pt x="43575" y="164246"/>
                      <a:pt x="19442" y="37541"/>
                      <a:pt x="1341" y="10391"/>
                    </a:cubicBezTo>
                    <a:cubicBezTo>
                      <a:pt x="-1676" y="7374"/>
                      <a:pt x="1341" y="4358"/>
                      <a:pt x="1341" y="1341"/>
                    </a:cubicBezTo>
                    <a:cubicBezTo>
                      <a:pt x="4358" y="-1676"/>
                      <a:pt x="7375" y="1341"/>
                      <a:pt x="10391" y="1341"/>
                    </a:cubicBezTo>
                    <a:cubicBezTo>
                      <a:pt x="31508" y="31508"/>
                      <a:pt x="55642" y="155196"/>
                      <a:pt x="55642" y="161229"/>
                    </a:cubicBezTo>
                    <a:cubicBezTo>
                      <a:pt x="55642" y="167263"/>
                      <a:pt x="55642" y="170280"/>
                      <a:pt x="49609" y="170280"/>
                    </a:cubicBezTo>
                    <a:cubicBezTo>
                      <a:pt x="49609" y="170280"/>
                      <a:pt x="49609" y="170280"/>
                      <a:pt x="49609" y="17028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C7D420C3-6357-4A6F-818E-F537A4BF424F}"/>
                  </a:ext>
                </a:extLst>
              </p:cNvPr>
              <p:cNvSpPr/>
              <p:nvPr/>
            </p:nvSpPr>
            <p:spPr>
              <a:xfrm>
                <a:off x="10735438" y="9986929"/>
                <a:ext cx="32149" cy="57318"/>
              </a:xfrm>
              <a:custGeom>
                <a:avLst/>
                <a:gdLst>
                  <a:gd name="connsiteX0" fmla="*/ 27151 w 32149"/>
                  <a:gd name="connsiteY0" fmla="*/ 57318 h 57318"/>
                  <a:gd name="connsiteX1" fmla="*/ 21118 w 32149"/>
                  <a:gd name="connsiteY1" fmla="*/ 54302 h 57318"/>
                  <a:gd name="connsiteX2" fmla="*/ 0 w 32149"/>
                  <a:gd name="connsiteY2" fmla="*/ 6034 h 57318"/>
                  <a:gd name="connsiteX3" fmla="*/ 3017 w 32149"/>
                  <a:gd name="connsiteY3" fmla="*/ 0 h 57318"/>
                  <a:gd name="connsiteX4" fmla="*/ 9051 w 32149"/>
                  <a:gd name="connsiteY4" fmla="*/ 3017 h 57318"/>
                  <a:gd name="connsiteX5" fmla="*/ 30168 w 32149"/>
                  <a:gd name="connsiteY5" fmla="*/ 51285 h 57318"/>
                  <a:gd name="connsiteX6" fmla="*/ 27151 w 32149"/>
                  <a:gd name="connsiteY6" fmla="*/ 57318 h 57318"/>
                  <a:gd name="connsiteX7" fmla="*/ 27151 w 32149"/>
                  <a:gd name="connsiteY7" fmla="*/ 57318 h 5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149" h="57318">
                    <a:moveTo>
                      <a:pt x="27151" y="57318"/>
                    </a:moveTo>
                    <a:cubicBezTo>
                      <a:pt x="24135" y="57318"/>
                      <a:pt x="24135" y="57318"/>
                      <a:pt x="21118" y="54302"/>
                    </a:cubicBezTo>
                    <a:lnTo>
                      <a:pt x="0" y="6034"/>
                    </a:lnTo>
                    <a:cubicBezTo>
                      <a:pt x="0" y="3017"/>
                      <a:pt x="0" y="0"/>
                      <a:pt x="3017" y="0"/>
                    </a:cubicBezTo>
                    <a:cubicBezTo>
                      <a:pt x="6034" y="0"/>
                      <a:pt x="9051" y="0"/>
                      <a:pt x="9051" y="3017"/>
                    </a:cubicBezTo>
                    <a:lnTo>
                      <a:pt x="30168" y="51285"/>
                    </a:lnTo>
                    <a:cubicBezTo>
                      <a:pt x="33185" y="54302"/>
                      <a:pt x="33185" y="57318"/>
                      <a:pt x="27151" y="57318"/>
                    </a:cubicBezTo>
                    <a:cubicBezTo>
                      <a:pt x="30168" y="57318"/>
                      <a:pt x="30168" y="57318"/>
                      <a:pt x="27151" y="5731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EE17D8E9-1414-4D10-B232-24FE05BD1454}"/>
                  </a:ext>
                </a:extLst>
              </p:cNvPr>
              <p:cNvSpPr/>
              <p:nvPr/>
            </p:nvSpPr>
            <p:spPr>
              <a:xfrm>
                <a:off x="10717338" y="9897181"/>
                <a:ext cx="101816" cy="56564"/>
              </a:xfrm>
              <a:custGeom>
                <a:avLst/>
                <a:gdLst>
                  <a:gd name="connsiteX0" fmla="*/ 6034 w 101816"/>
                  <a:gd name="connsiteY0" fmla="*/ 56564 h 56564"/>
                  <a:gd name="connsiteX1" fmla="*/ 0 w 101816"/>
                  <a:gd name="connsiteY1" fmla="*/ 50531 h 56564"/>
                  <a:gd name="connsiteX2" fmla="*/ 6034 w 101816"/>
                  <a:gd name="connsiteY2" fmla="*/ 44497 h 56564"/>
                  <a:gd name="connsiteX3" fmla="*/ 90503 w 101816"/>
                  <a:gd name="connsiteY3" fmla="*/ 2263 h 56564"/>
                  <a:gd name="connsiteX4" fmla="*/ 99554 w 101816"/>
                  <a:gd name="connsiteY4" fmla="*/ 2263 h 56564"/>
                  <a:gd name="connsiteX5" fmla="*/ 99554 w 101816"/>
                  <a:gd name="connsiteY5" fmla="*/ 11313 h 56564"/>
                  <a:gd name="connsiteX6" fmla="*/ 6034 w 101816"/>
                  <a:gd name="connsiteY6" fmla="*/ 56564 h 56564"/>
                  <a:gd name="connsiteX7" fmla="*/ 6034 w 101816"/>
                  <a:gd name="connsiteY7" fmla="*/ 56564 h 56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816" h="56564">
                    <a:moveTo>
                      <a:pt x="6034" y="56564"/>
                    </a:moveTo>
                    <a:cubicBezTo>
                      <a:pt x="3017" y="56564"/>
                      <a:pt x="0" y="53548"/>
                      <a:pt x="0" y="50531"/>
                    </a:cubicBezTo>
                    <a:cubicBezTo>
                      <a:pt x="0" y="47514"/>
                      <a:pt x="3017" y="44497"/>
                      <a:pt x="6034" y="44497"/>
                    </a:cubicBezTo>
                    <a:cubicBezTo>
                      <a:pt x="57319" y="41480"/>
                      <a:pt x="90503" y="5280"/>
                      <a:pt x="90503" y="2263"/>
                    </a:cubicBezTo>
                    <a:cubicBezTo>
                      <a:pt x="93520" y="-754"/>
                      <a:pt x="96537" y="-754"/>
                      <a:pt x="99554" y="2263"/>
                    </a:cubicBezTo>
                    <a:cubicBezTo>
                      <a:pt x="102571" y="5280"/>
                      <a:pt x="102571" y="8297"/>
                      <a:pt x="99554" y="11313"/>
                    </a:cubicBezTo>
                    <a:cubicBezTo>
                      <a:pt x="99554" y="11313"/>
                      <a:pt x="63352" y="53548"/>
                      <a:pt x="6034" y="56564"/>
                    </a:cubicBezTo>
                    <a:cubicBezTo>
                      <a:pt x="6034" y="56564"/>
                      <a:pt x="6034" y="56564"/>
                      <a:pt x="6034" y="5656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A86D2E94-A506-425F-9461-AB50BB2E3C5C}"/>
                  </a:ext>
                </a:extLst>
              </p:cNvPr>
              <p:cNvSpPr/>
              <p:nvPr/>
            </p:nvSpPr>
            <p:spPr>
              <a:xfrm>
                <a:off x="10824600" y="9840784"/>
                <a:ext cx="118246" cy="245698"/>
              </a:xfrm>
              <a:custGeom>
                <a:avLst/>
                <a:gdLst>
                  <a:gd name="connsiteX0" fmla="*/ 97878 w 118246"/>
                  <a:gd name="connsiteY0" fmla="*/ 245699 h 245698"/>
                  <a:gd name="connsiteX1" fmla="*/ 46592 w 118246"/>
                  <a:gd name="connsiteY1" fmla="*/ 197430 h 245698"/>
                  <a:gd name="connsiteX2" fmla="*/ 46592 w 118246"/>
                  <a:gd name="connsiteY2" fmla="*/ 194413 h 245698"/>
                  <a:gd name="connsiteX3" fmla="*/ 13408 w 118246"/>
                  <a:gd name="connsiteY3" fmla="*/ 115977 h 245698"/>
                  <a:gd name="connsiteX4" fmla="*/ 16425 w 118246"/>
                  <a:gd name="connsiteY4" fmla="*/ 106927 h 245698"/>
                  <a:gd name="connsiteX5" fmla="*/ 25475 w 118246"/>
                  <a:gd name="connsiteY5" fmla="*/ 109944 h 245698"/>
                  <a:gd name="connsiteX6" fmla="*/ 61676 w 118246"/>
                  <a:gd name="connsiteY6" fmla="*/ 191396 h 245698"/>
                  <a:gd name="connsiteX7" fmla="*/ 100894 w 118246"/>
                  <a:gd name="connsiteY7" fmla="*/ 233631 h 245698"/>
                  <a:gd name="connsiteX8" fmla="*/ 103911 w 118246"/>
                  <a:gd name="connsiteY8" fmla="*/ 230615 h 245698"/>
                  <a:gd name="connsiteX9" fmla="*/ 1341 w 118246"/>
                  <a:gd name="connsiteY9" fmla="*/ 10391 h 245698"/>
                  <a:gd name="connsiteX10" fmla="*/ 1341 w 118246"/>
                  <a:gd name="connsiteY10" fmla="*/ 1341 h 245698"/>
                  <a:gd name="connsiteX11" fmla="*/ 10392 w 118246"/>
                  <a:gd name="connsiteY11" fmla="*/ 1341 h 245698"/>
                  <a:gd name="connsiteX12" fmla="*/ 115978 w 118246"/>
                  <a:gd name="connsiteY12" fmla="*/ 233631 h 245698"/>
                  <a:gd name="connsiteX13" fmla="*/ 97878 w 118246"/>
                  <a:gd name="connsiteY13" fmla="*/ 245699 h 245698"/>
                  <a:gd name="connsiteX14" fmla="*/ 97878 w 118246"/>
                  <a:gd name="connsiteY14" fmla="*/ 245699 h 245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8246" h="245698">
                    <a:moveTo>
                      <a:pt x="97878" y="245699"/>
                    </a:moveTo>
                    <a:cubicBezTo>
                      <a:pt x="70727" y="245699"/>
                      <a:pt x="49609" y="200447"/>
                      <a:pt x="46592" y="197430"/>
                    </a:cubicBezTo>
                    <a:cubicBezTo>
                      <a:pt x="46592" y="197430"/>
                      <a:pt x="46592" y="194413"/>
                      <a:pt x="46592" y="194413"/>
                    </a:cubicBezTo>
                    <a:cubicBezTo>
                      <a:pt x="43575" y="185363"/>
                      <a:pt x="28492" y="143128"/>
                      <a:pt x="13408" y="115977"/>
                    </a:cubicBezTo>
                    <a:cubicBezTo>
                      <a:pt x="10392" y="112960"/>
                      <a:pt x="13408" y="109944"/>
                      <a:pt x="16425" y="106927"/>
                    </a:cubicBezTo>
                    <a:cubicBezTo>
                      <a:pt x="19442" y="103911"/>
                      <a:pt x="22459" y="106927"/>
                      <a:pt x="25475" y="109944"/>
                    </a:cubicBezTo>
                    <a:cubicBezTo>
                      <a:pt x="31508" y="122011"/>
                      <a:pt x="58659" y="173296"/>
                      <a:pt x="61676" y="191396"/>
                    </a:cubicBezTo>
                    <a:cubicBezTo>
                      <a:pt x="67710" y="203463"/>
                      <a:pt x="85811" y="233631"/>
                      <a:pt x="100894" y="233631"/>
                    </a:cubicBezTo>
                    <a:cubicBezTo>
                      <a:pt x="100894" y="233631"/>
                      <a:pt x="100894" y="233631"/>
                      <a:pt x="103911" y="230615"/>
                    </a:cubicBezTo>
                    <a:cubicBezTo>
                      <a:pt x="112961" y="215531"/>
                      <a:pt x="88827" y="131061"/>
                      <a:pt x="1341" y="10391"/>
                    </a:cubicBezTo>
                    <a:cubicBezTo>
                      <a:pt x="-1676" y="7374"/>
                      <a:pt x="1341" y="4358"/>
                      <a:pt x="1341" y="1341"/>
                    </a:cubicBezTo>
                    <a:cubicBezTo>
                      <a:pt x="4358" y="-1676"/>
                      <a:pt x="7375" y="1341"/>
                      <a:pt x="10392" y="1341"/>
                    </a:cubicBezTo>
                    <a:cubicBezTo>
                      <a:pt x="91844" y="112960"/>
                      <a:pt x="128045" y="206480"/>
                      <a:pt x="115978" y="233631"/>
                    </a:cubicBezTo>
                    <a:cubicBezTo>
                      <a:pt x="109944" y="242682"/>
                      <a:pt x="103911" y="242682"/>
                      <a:pt x="97878" y="245699"/>
                    </a:cubicBezTo>
                    <a:cubicBezTo>
                      <a:pt x="97878" y="245699"/>
                      <a:pt x="97878" y="245699"/>
                      <a:pt x="97878" y="24569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9B99312A-AD91-430C-8A61-AD99F8D45CEF}"/>
                </a:ext>
              </a:extLst>
            </p:cNvPr>
            <p:cNvSpPr/>
            <p:nvPr/>
          </p:nvSpPr>
          <p:spPr>
            <a:xfrm>
              <a:off x="10385494" y="8545316"/>
              <a:ext cx="751368" cy="1363177"/>
            </a:xfrm>
            <a:custGeom>
              <a:avLst/>
              <a:gdLst>
                <a:gd name="connsiteX0" fmla="*/ 717989 w 751368"/>
                <a:gd name="connsiteY0" fmla="*/ 23736 h 1363177"/>
                <a:gd name="connsiteX1" fmla="*/ 588268 w 751368"/>
                <a:gd name="connsiteY1" fmla="*/ 521501 h 1363177"/>
                <a:gd name="connsiteX2" fmla="*/ 283576 w 751368"/>
                <a:gd name="connsiteY2" fmla="*/ 799044 h 1363177"/>
                <a:gd name="connsiteX3" fmla="*/ 443464 w 751368"/>
                <a:gd name="connsiteY3" fmla="*/ 1248541 h 1363177"/>
                <a:gd name="connsiteX4" fmla="*/ 277542 w 751368"/>
                <a:gd name="connsiteY4" fmla="*/ 1363177 h 1363177"/>
                <a:gd name="connsiteX5" fmla="*/ 0 w 751368"/>
                <a:gd name="connsiteY5" fmla="*/ 723625 h 1363177"/>
                <a:gd name="connsiteX6" fmla="*/ 717989 w 751368"/>
                <a:gd name="connsiteY6" fmla="*/ 23736 h 1363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1368" h="1363177">
                  <a:moveTo>
                    <a:pt x="717989" y="23736"/>
                  </a:moveTo>
                  <a:cubicBezTo>
                    <a:pt x="820559" y="111222"/>
                    <a:pt x="660671" y="412898"/>
                    <a:pt x="588268" y="521501"/>
                  </a:cubicBezTo>
                  <a:cubicBezTo>
                    <a:pt x="524917" y="618038"/>
                    <a:pt x="283576" y="799044"/>
                    <a:pt x="283576" y="799044"/>
                  </a:cubicBezTo>
                  <a:lnTo>
                    <a:pt x="443464" y="1248541"/>
                  </a:lnTo>
                  <a:lnTo>
                    <a:pt x="277542" y="1363177"/>
                  </a:lnTo>
                  <a:cubicBezTo>
                    <a:pt x="277542" y="1363177"/>
                    <a:pt x="3017" y="850328"/>
                    <a:pt x="0" y="723625"/>
                  </a:cubicBezTo>
                  <a:cubicBezTo>
                    <a:pt x="0" y="584853"/>
                    <a:pt x="524917" y="-139169"/>
                    <a:pt x="717989" y="23736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33D7A0E6-3B33-4813-B187-793663694206}"/>
                </a:ext>
              </a:extLst>
            </p:cNvPr>
            <p:cNvSpPr/>
            <p:nvPr/>
          </p:nvSpPr>
          <p:spPr>
            <a:xfrm>
              <a:off x="10941332" y="8532752"/>
              <a:ext cx="204421" cy="576301"/>
            </a:xfrm>
            <a:custGeom>
              <a:avLst/>
              <a:gdLst>
                <a:gd name="connsiteX0" fmla="*/ 5279 w 204421"/>
                <a:gd name="connsiteY0" fmla="*/ 576301 h 576301"/>
                <a:gd name="connsiteX1" fmla="*/ 2262 w 204421"/>
                <a:gd name="connsiteY1" fmla="*/ 576301 h 576301"/>
                <a:gd name="connsiteX2" fmla="*/ 2262 w 204421"/>
                <a:gd name="connsiteY2" fmla="*/ 567251 h 576301"/>
                <a:gd name="connsiteX3" fmla="*/ 192318 w 204421"/>
                <a:gd name="connsiteY3" fmla="*/ 178089 h 576301"/>
                <a:gd name="connsiteX4" fmla="*/ 144050 w 204421"/>
                <a:gd name="connsiteY4" fmla="*/ 33284 h 576301"/>
                <a:gd name="connsiteX5" fmla="*/ 86732 w 204421"/>
                <a:gd name="connsiteY5" fmla="*/ 12167 h 576301"/>
                <a:gd name="connsiteX6" fmla="*/ 80698 w 204421"/>
                <a:gd name="connsiteY6" fmla="*/ 6133 h 576301"/>
                <a:gd name="connsiteX7" fmla="*/ 86732 w 204421"/>
                <a:gd name="connsiteY7" fmla="*/ 100 h 576301"/>
                <a:gd name="connsiteX8" fmla="*/ 153100 w 204421"/>
                <a:gd name="connsiteY8" fmla="*/ 24234 h 576301"/>
                <a:gd name="connsiteX9" fmla="*/ 204385 w 204421"/>
                <a:gd name="connsiteY9" fmla="*/ 175072 h 576301"/>
                <a:gd name="connsiteX10" fmla="*/ 11313 w 204421"/>
                <a:gd name="connsiteY10" fmla="*/ 570268 h 576301"/>
                <a:gd name="connsiteX11" fmla="*/ 5279 w 204421"/>
                <a:gd name="connsiteY11" fmla="*/ 576301 h 57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4421" h="576301">
                  <a:moveTo>
                    <a:pt x="5279" y="576301"/>
                  </a:moveTo>
                  <a:cubicBezTo>
                    <a:pt x="5279" y="576301"/>
                    <a:pt x="2262" y="576301"/>
                    <a:pt x="2262" y="576301"/>
                  </a:cubicBezTo>
                  <a:cubicBezTo>
                    <a:pt x="-754" y="573284"/>
                    <a:pt x="-754" y="570268"/>
                    <a:pt x="2262" y="567251"/>
                  </a:cubicBezTo>
                  <a:cubicBezTo>
                    <a:pt x="5279" y="564234"/>
                    <a:pt x="195335" y="356077"/>
                    <a:pt x="192318" y="178089"/>
                  </a:cubicBezTo>
                  <a:cubicBezTo>
                    <a:pt x="189302" y="108703"/>
                    <a:pt x="174218" y="60435"/>
                    <a:pt x="144050" y="33284"/>
                  </a:cubicBezTo>
                  <a:cubicBezTo>
                    <a:pt x="116899" y="9150"/>
                    <a:pt x="86732" y="12167"/>
                    <a:pt x="86732" y="12167"/>
                  </a:cubicBezTo>
                  <a:cubicBezTo>
                    <a:pt x="83715" y="12167"/>
                    <a:pt x="80698" y="9150"/>
                    <a:pt x="80698" y="6133"/>
                  </a:cubicBezTo>
                  <a:cubicBezTo>
                    <a:pt x="80698" y="3117"/>
                    <a:pt x="83715" y="100"/>
                    <a:pt x="86732" y="100"/>
                  </a:cubicBezTo>
                  <a:cubicBezTo>
                    <a:pt x="86732" y="100"/>
                    <a:pt x="122932" y="-2917"/>
                    <a:pt x="153100" y="24234"/>
                  </a:cubicBezTo>
                  <a:cubicBezTo>
                    <a:pt x="186285" y="54401"/>
                    <a:pt x="204385" y="105686"/>
                    <a:pt x="204385" y="175072"/>
                  </a:cubicBezTo>
                  <a:cubicBezTo>
                    <a:pt x="207402" y="356077"/>
                    <a:pt x="20363" y="561217"/>
                    <a:pt x="11313" y="570268"/>
                  </a:cubicBezTo>
                  <a:cubicBezTo>
                    <a:pt x="8296" y="576301"/>
                    <a:pt x="8296" y="576301"/>
                    <a:pt x="5279" y="576301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8A8F9395-06C4-4C92-8FEC-E87564447788}"/>
                </a:ext>
              </a:extLst>
            </p:cNvPr>
            <p:cNvSpPr/>
            <p:nvPr/>
          </p:nvSpPr>
          <p:spPr>
            <a:xfrm>
              <a:off x="11248287" y="8140672"/>
              <a:ext cx="69386" cy="135754"/>
            </a:xfrm>
            <a:custGeom>
              <a:avLst/>
              <a:gdLst>
                <a:gd name="connsiteX0" fmla="*/ 0 w 69386"/>
                <a:gd name="connsiteY0" fmla="*/ 0 h 135754"/>
                <a:gd name="connsiteX1" fmla="*/ 66369 w 69386"/>
                <a:gd name="connsiteY1" fmla="*/ 135754 h 135754"/>
                <a:gd name="connsiteX2" fmla="*/ 69386 w 69386"/>
                <a:gd name="connsiteY2" fmla="*/ 51285 h 135754"/>
                <a:gd name="connsiteX3" fmla="*/ 0 w 69386"/>
                <a:gd name="connsiteY3" fmla="*/ 0 h 13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386" h="135754">
                  <a:moveTo>
                    <a:pt x="0" y="0"/>
                  </a:moveTo>
                  <a:cubicBezTo>
                    <a:pt x="0" y="0"/>
                    <a:pt x="15084" y="117654"/>
                    <a:pt x="66369" y="135754"/>
                  </a:cubicBezTo>
                  <a:lnTo>
                    <a:pt x="69386" y="512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8C747379-A67D-4C74-B01B-664AFC31453E}"/>
                </a:ext>
              </a:extLst>
            </p:cNvPr>
            <p:cNvSpPr/>
            <p:nvPr/>
          </p:nvSpPr>
          <p:spPr>
            <a:xfrm>
              <a:off x="11600802" y="7935533"/>
              <a:ext cx="101556" cy="235320"/>
            </a:xfrm>
            <a:custGeom>
              <a:avLst/>
              <a:gdLst>
                <a:gd name="connsiteX0" fmla="*/ 93967 w 101556"/>
                <a:gd name="connsiteY0" fmla="*/ 0 h 235320"/>
                <a:gd name="connsiteX1" fmla="*/ 54748 w 101556"/>
                <a:gd name="connsiteY1" fmla="*/ 232291 h 235320"/>
                <a:gd name="connsiteX2" fmla="*/ 447 w 101556"/>
                <a:gd name="connsiteY2" fmla="*/ 15084 h 235320"/>
                <a:gd name="connsiteX3" fmla="*/ 93967 w 101556"/>
                <a:gd name="connsiteY3" fmla="*/ 0 h 235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556" h="235320">
                  <a:moveTo>
                    <a:pt x="93967" y="0"/>
                  </a:moveTo>
                  <a:cubicBezTo>
                    <a:pt x="93967" y="0"/>
                    <a:pt x="127150" y="193073"/>
                    <a:pt x="54748" y="232291"/>
                  </a:cubicBezTo>
                  <a:cubicBezTo>
                    <a:pt x="-8604" y="265475"/>
                    <a:pt x="447" y="15084"/>
                    <a:pt x="447" y="15084"/>
                  </a:cubicBezTo>
                  <a:lnTo>
                    <a:pt x="93967" y="0"/>
                  </a:ln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9B271B7B-F395-471E-B971-68AF57D00220}"/>
                </a:ext>
              </a:extLst>
            </p:cNvPr>
            <p:cNvSpPr/>
            <p:nvPr/>
          </p:nvSpPr>
          <p:spPr>
            <a:xfrm>
              <a:off x="11248287" y="7798898"/>
              <a:ext cx="418942" cy="562595"/>
            </a:xfrm>
            <a:custGeom>
              <a:avLst/>
              <a:gdLst>
                <a:gd name="connsiteX0" fmla="*/ 407263 w 418942"/>
                <a:gd name="connsiteY0" fmla="*/ 178870 h 562595"/>
                <a:gd name="connsiteX1" fmla="*/ 410280 w 418942"/>
                <a:gd name="connsiteY1" fmla="*/ 426244 h 562595"/>
                <a:gd name="connsiteX2" fmla="*/ 253408 w 418942"/>
                <a:gd name="connsiteY2" fmla="*/ 561998 h 562595"/>
                <a:gd name="connsiteX3" fmla="*/ 39218 w 418942"/>
                <a:gd name="connsiteY3" fmla="*/ 423227 h 562595"/>
                <a:gd name="connsiteX4" fmla="*/ 0 w 418942"/>
                <a:gd name="connsiteY4" fmla="*/ 199987 h 562595"/>
                <a:gd name="connsiteX5" fmla="*/ 208156 w 418942"/>
                <a:gd name="connsiteY5" fmla="*/ 881 h 562595"/>
                <a:gd name="connsiteX6" fmla="*/ 407263 w 418942"/>
                <a:gd name="connsiteY6" fmla="*/ 178870 h 562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942" h="562595">
                  <a:moveTo>
                    <a:pt x="407263" y="178870"/>
                  </a:moveTo>
                  <a:cubicBezTo>
                    <a:pt x="407263" y="178870"/>
                    <a:pt x="431397" y="353842"/>
                    <a:pt x="410280" y="426244"/>
                  </a:cubicBezTo>
                  <a:cubicBezTo>
                    <a:pt x="392179" y="492613"/>
                    <a:pt x="304693" y="555965"/>
                    <a:pt x="253408" y="561998"/>
                  </a:cubicBezTo>
                  <a:cubicBezTo>
                    <a:pt x="187039" y="568032"/>
                    <a:pt x="69386" y="528814"/>
                    <a:pt x="39218" y="423227"/>
                  </a:cubicBezTo>
                  <a:cubicBezTo>
                    <a:pt x="18101" y="350825"/>
                    <a:pt x="0" y="251272"/>
                    <a:pt x="0" y="199987"/>
                  </a:cubicBezTo>
                  <a:cubicBezTo>
                    <a:pt x="0" y="106467"/>
                    <a:pt x="27151" y="28032"/>
                    <a:pt x="208156" y="881"/>
                  </a:cubicBezTo>
                  <a:cubicBezTo>
                    <a:pt x="292626" y="-11186"/>
                    <a:pt x="386146" y="103451"/>
                    <a:pt x="407263" y="178870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D780D876-E283-4987-BC3F-60C407E39A6B}"/>
                </a:ext>
              </a:extLst>
            </p:cNvPr>
            <p:cNvSpPr/>
            <p:nvPr/>
          </p:nvSpPr>
          <p:spPr>
            <a:xfrm>
              <a:off x="11474544" y="8056203"/>
              <a:ext cx="57318" cy="138771"/>
            </a:xfrm>
            <a:custGeom>
              <a:avLst/>
              <a:gdLst>
                <a:gd name="connsiteX0" fmla="*/ 27151 w 57318"/>
                <a:gd name="connsiteY0" fmla="*/ 138771 h 138771"/>
                <a:gd name="connsiteX1" fmla="*/ 6034 w 57318"/>
                <a:gd name="connsiteY1" fmla="*/ 135754 h 138771"/>
                <a:gd name="connsiteX2" fmla="*/ 0 w 57318"/>
                <a:gd name="connsiteY2" fmla="*/ 129721 h 138771"/>
                <a:gd name="connsiteX3" fmla="*/ 6034 w 57318"/>
                <a:gd name="connsiteY3" fmla="*/ 123687 h 138771"/>
                <a:gd name="connsiteX4" fmla="*/ 45251 w 57318"/>
                <a:gd name="connsiteY4" fmla="*/ 120670 h 138771"/>
                <a:gd name="connsiteX5" fmla="*/ 45251 w 57318"/>
                <a:gd name="connsiteY5" fmla="*/ 117654 h 138771"/>
                <a:gd name="connsiteX6" fmla="*/ 27151 w 57318"/>
                <a:gd name="connsiteY6" fmla="*/ 6034 h 138771"/>
                <a:gd name="connsiteX7" fmla="*/ 33185 w 57318"/>
                <a:gd name="connsiteY7" fmla="*/ 0 h 138771"/>
                <a:gd name="connsiteX8" fmla="*/ 39218 w 57318"/>
                <a:gd name="connsiteY8" fmla="*/ 6034 h 138771"/>
                <a:gd name="connsiteX9" fmla="*/ 57318 w 57318"/>
                <a:gd name="connsiteY9" fmla="*/ 117654 h 138771"/>
                <a:gd name="connsiteX10" fmla="*/ 51285 w 57318"/>
                <a:gd name="connsiteY10" fmla="*/ 129721 h 138771"/>
                <a:gd name="connsiteX11" fmla="*/ 27151 w 57318"/>
                <a:gd name="connsiteY11" fmla="*/ 138771 h 138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318" h="138771">
                  <a:moveTo>
                    <a:pt x="27151" y="138771"/>
                  </a:moveTo>
                  <a:cubicBezTo>
                    <a:pt x="18101" y="138771"/>
                    <a:pt x="9051" y="135754"/>
                    <a:pt x="6034" y="135754"/>
                  </a:cubicBezTo>
                  <a:cubicBezTo>
                    <a:pt x="3017" y="135754"/>
                    <a:pt x="0" y="132738"/>
                    <a:pt x="0" y="129721"/>
                  </a:cubicBezTo>
                  <a:cubicBezTo>
                    <a:pt x="0" y="126704"/>
                    <a:pt x="3017" y="123687"/>
                    <a:pt x="6034" y="123687"/>
                  </a:cubicBezTo>
                  <a:cubicBezTo>
                    <a:pt x="18101" y="126704"/>
                    <a:pt x="39218" y="126704"/>
                    <a:pt x="45251" y="120670"/>
                  </a:cubicBezTo>
                  <a:cubicBezTo>
                    <a:pt x="45251" y="120670"/>
                    <a:pt x="45251" y="117654"/>
                    <a:pt x="45251" y="117654"/>
                  </a:cubicBezTo>
                  <a:cubicBezTo>
                    <a:pt x="45251" y="99553"/>
                    <a:pt x="27151" y="9050"/>
                    <a:pt x="27151" y="6034"/>
                  </a:cubicBezTo>
                  <a:cubicBezTo>
                    <a:pt x="27151" y="3017"/>
                    <a:pt x="27151" y="0"/>
                    <a:pt x="33185" y="0"/>
                  </a:cubicBezTo>
                  <a:cubicBezTo>
                    <a:pt x="36201" y="0"/>
                    <a:pt x="39218" y="0"/>
                    <a:pt x="39218" y="6034"/>
                  </a:cubicBezTo>
                  <a:cubicBezTo>
                    <a:pt x="39218" y="9050"/>
                    <a:pt x="57318" y="99553"/>
                    <a:pt x="57318" y="117654"/>
                  </a:cubicBezTo>
                  <a:cubicBezTo>
                    <a:pt x="57318" y="123687"/>
                    <a:pt x="54302" y="126704"/>
                    <a:pt x="51285" y="129721"/>
                  </a:cubicBezTo>
                  <a:cubicBezTo>
                    <a:pt x="45251" y="138771"/>
                    <a:pt x="36201" y="138771"/>
                    <a:pt x="27151" y="138771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4403E7B7-CC3E-4A3D-992F-94BF29219C25}"/>
                </a:ext>
              </a:extLst>
            </p:cNvPr>
            <p:cNvSpPr/>
            <p:nvPr/>
          </p:nvSpPr>
          <p:spPr>
            <a:xfrm>
              <a:off x="11561262" y="8037511"/>
              <a:ext cx="40578" cy="40401"/>
            </a:xfrm>
            <a:custGeom>
              <a:avLst/>
              <a:gdLst>
                <a:gd name="connsiteX0" fmla="*/ 768 w 40578"/>
                <a:gd name="connsiteY0" fmla="*/ 24726 h 40401"/>
                <a:gd name="connsiteX1" fmla="*/ 24903 w 40578"/>
                <a:gd name="connsiteY1" fmla="*/ 39810 h 40401"/>
                <a:gd name="connsiteX2" fmla="*/ 39987 w 40578"/>
                <a:gd name="connsiteY2" fmla="*/ 15676 h 40401"/>
                <a:gd name="connsiteX3" fmla="*/ 15852 w 40578"/>
                <a:gd name="connsiteY3" fmla="*/ 592 h 40401"/>
                <a:gd name="connsiteX4" fmla="*/ 768 w 40578"/>
                <a:gd name="connsiteY4" fmla="*/ 24726 h 4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0401">
                  <a:moveTo>
                    <a:pt x="768" y="24726"/>
                  </a:moveTo>
                  <a:cubicBezTo>
                    <a:pt x="3785" y="33776"/>
                    <a:pt x="12836" y="42826"/>
                    <a:pt x="24903" y="39810"/>
                  </a:cubicBezTo>
                  <a:cubicBezTo>
                    <a:pt x="33953" y="36793"/>
                    <a:pt x="43004" y="27742"/>
                    <a:pt x="39987" y="15676"/>
                  </a:cubicBezTo>
                  <a:cubicBezTo>
                    <a:pt x="36970" y="6625"/>
                    <a:pt x="27920" y="-2425"/>
                    <a:pt x="15852" y="592"/>
                  </a:cubicBezTo>
                  <a:cubicBezTo>
                    <a:pt x="3785" y="3608"/>
                    <a:pt x="-2248" y="12659"/>
                    <a:pt x="768" y="24726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9C5729A2-A2FA-4D4E-B196-5AD32E73509B}"/>
                </a:ext>
              </a:extLst>
            </p:cNvPr>
            <p:cNvSpPr/>
            <p:nvPr/>
          </p:nvSpPr>
          <p:spPr>
            <a:xfrm>
              <a:off x="11380256" y="8055611"/>
              <a:ext cx="40578" cy="40401"/>
            </a:xfrm>
            <a:custGeom>
              <a:avLst/>
              <a:gdLst>
                <a:gd name="connsiteX0" fmla="*/ 768 w 40578"/>
                <a:gd name="connsiteY0" fmla="*/ 24726 h 40401"/>
                <a:gd name="connsiteX1" fmla="*/ 24903 w 40578"/>
                <a:gd name="connsiteY1" fmla="*/ 39810 h 40401"/>
                <a:gd name="connsiteX2" fmla="*/ 39987 w 40578"/>
                <a:gd name="connsiteY2" fmla="*/ 15675 h 40401"/>
                <a:gd name="connsiteX3" fmla="*/ 15852 w 40578"/>
                <a:gd name="connsiteY3" fmla="*/ 592 h 40401"/>
                <a:gd name="connsiteX4" fmla="*/ 768 w 40578"/>
                <a:gd name="connsiteY4" fmla="*/ 24726 h 4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0401">
                  <a:moveTo>
                    <a:pt x="768" y="24726"/>
                  </a:moveTo>
                  <a:cubicBezTo>
                    <a:pt x="3785" y="33776"/>
                    <a:pt x="12836" y="42827"/>
                    <a:pt x="24903" y="39810"/>
                  </a:cubicBezTo>
                  <a:cubicBezTo>
                    <a:pt x="33953" y="36793"/>
                    <a:pt x="43004" y="27743"/>
                    <a:pt x="39987" y="15675"/>
                  </a:cubicBezTo>
                  <a:cubicBezTo>
                    <a:pt x="36970" y="6626"/>
                    <a:pt x="27920" y="-2425"/>
                    <a:pt x="15852" y="592"/>
                  </a:cubicBezTo>
                  <a:cubicBezTo>
                    <a:pt x="3785" y="3609"/>
                    <a:pt x="-2248" y="15675"/>
                    <a:pt x="768" y="24726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28E52E02-ED1A-4E13-8FD8-2E083C6A6FCE}"/>
                </a:ext>
              </a:extLst>
            </p:cNvPr>
            <p:cNvSpPr/>
            <p:nvPr/>
          </p:nvSpPr>
          <p:spPr>
            <a:xfrm>
              <a:off x="11530613" y="7989834"/>
              <a:ext cx="90998" cy="33184"/>
            </a:xfrm>
            <a:custGeom>
              <a:avLst/>
              <a:gdLst>
                <a:gd name="connsiteX0" fmla="*/ 85719 w 90998"/>
                <a:gd name="connsiteY0" fmla="*/ 33185 h 33184"/>
                <a:gd name="connsiteX1" fmla="*/ 79685 w 90998"/>
                <a:gd name="connsiteY1" fmla="*/ 30168 h 33184"/>
                <a:gd name="connsiteX2" fmla="*/ 13317 w 90998"/>
                <a:gd name="connsiteY2" fmla="*/ 24134 h 33184"/>
                <a:gd name="connsiteX3" fmla="*/ 1249 w 90998"/>
                <a:gd name="connsiteY3" fmla="*/ 21117 h 33184"/>
                <a:gd name="connsiteX4" fmla="*/ 4266 w 90998"/>
                <a:gd name="connsiteY4" fmla="*/ 9050 h 33184"/>
                <a:gd name="connsiteX5" fmla="*/ 88736 w 90998"/>
                <a:gd name="connsiteY5" fmla="*/ 18101 h 33184"/>
                <a:gd name="connsiteX6" fmla="*/ 88736 w 90998"/>
                <a:gd name="connsiteY6" fmla="*/ 30168 h 33184"/>
                <a:gd name="connsiteX7" fmla="*/ 85719 w 90998"/>
                <a:gd name="connsiteY7" fmla="*/ 33185 h 33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3184">
                  <a:moveTo>
                    <a:pt x="85719" y="33185"/>
                  </a:moveTo>
                  <a:cubicBezTo>
                    <a:pt x="82702" y="33185"/>
                    <a:pt x="82702" y="33185"/>
                    <a:pt x="79685" y="30168"/>
                  </a:cubicBezTo>
                  <a:cubicBezTo>
                    <a:pt x="52535" y="3017"/>
                    <a:pt x="16333" y="24134"/>
                    <a:pt x="13317" y="24134"/>
                  </a:cubicBezTo>
                  <a:cubicBezTo>
                    <a:pt x="10300" y="27151"/>
                    <a:pt x="4266" y="24134"/>
                    <a:pt x="1249" y="21117"/>
                  </a:cubicBezTo>
                  <a:cubicBezTo>
                    <a:pt x="-1767" y="18101"/>
                    <a:pt x="1249" y="12067"/>
                    <a:pt x="4266" y="9050"/>
                  </a:cubicBezTo>
                  <a:cubicBezTo>
                    <a:pt x="22367" y="0"/>
                    <a:pt x="61584" y="-9050"/>
                    <a:pt x="88736" y="18101"/>
                  </a:cubicBezTo>
                  <a:cubicBezTo>
                    <a:pt x="91752" y="21117"/>
                    <a:pt x="91752" y="27151"/>
                    <a:pt x="88736" y="30168"/>
                  </a:cubicBezTo>
                  <a:cubicBezTo>
                    <a:pt x="91752" y="30168"/>
                    <a:pt x="88736" y="33185"/>
                    <a:pt x="85719" y="33185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7AF544B7-32BB-43C3-ADD9-78280828DB7F}"/>
                </a:ext>
              </a:extLst>
            </p:cNvPr>
            <p:cNvSpPr/>
            <p:nvPr/>
          </p:nvSpPr>
          <p:spPr>
            <a:xfrm>
              <a:off x="11345578" y="7990142"/>
              <a:ext cx="90998" cy="35893"/>
            </a:xfrm>
            <a:custGeom>
              <a:avLst/>
              <a:gdLst>
                <a:gd name="connsiteX0" fmla="*/ 8296 w 90998"/>
                <a:gd name="connsiteY0" fmla="*/ 35894 h 35893"/>
                <a:gd name="connsiteX1" fmla="*/ 2263 w 90998"/>
                <a:gd name="connsiteY1" fmla="*/ 32877 h 35893"/>
                <a:gd name="connsiteX2" fmla="*/ 2263 w 90998"/>
                <a:gd name="connsiteY2" fmla="*/ 20810 h 35893"/>
                <a:gd name="connsiteX3" fmla="*/ 86732 w 90998"/>
                <a:gd name="connsiteY3" fmla="*/ 11760 h 35893"/>
                <a:gd name="connsiteX4" fmla="*/ 89749 w 90998"/>
                <a:gd name="connsiteY4" fmla="*/ 23827 h 35893"/>
                <a:gd name="connsiteX5" fmla="*/ 77682 w 90998"/>
                <a:gd name="connsiteY5" fmla="*/ 26844 h 35893"/>
                <a:gd name="connsiteX6" fmla="*/ 11313 w 90998"/>
                <a:gd name="connsiteY6" fmla="*/ 32877 h 35893"/>
                <a:gd name="connsiteX7" fmla="*/ 8296 w 90998"/>
                <a:gd name="connsiteY7" fmla="*/ 35894 h 35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5893">
                  <a:moveTo>
                    <a:pt x="8296" y="35894"/>
                  </a:moveTo>
                  <a:cubicBezTo>
                    <a:pt x="5279" y="35894"/>
                    <a:pt x="5279" y="35894"/>
                    <a:pt x="2263" y="32877"/>
                  </a:cubicBezTo>
                  <a:cubicBezTo>
                    <a:pt x="-754" y="29860"/>
                    <a:pt x="-754" y="23827"/>
                    <a:pt x="2263" y="20810"/>
                  </a:cubicBezTo>
                  <a:cubicBezTo>
                    <a:pt x="14330" y="5726"/>
                    <a:pt x="50530" y="-12374"/>
                    <a:pt x="86732" y="11760"/>
                  </a:cubicBezTo>
                  <a:cubicBezTo>
                    <a:pt x="89749" y="14777"/>
                    <a:pt x="92766" y="17794"/>
                    <a:pt x="89749" y="23827"/>
                  </a:cubicBezTo>
                  <a:cubicBezTo>
                    <a:pt x="86732" y="26844"/>
                    <a:pt x="83715" y="29860"/>
                    <a:pt x="77682" y="26844"/>
                  </a:cubicBezTo>
                  <a:cubicBezTo>
                    <a:pt x="41480" y="2710"/>
                    <a:pt x="14330" y="32877"/>
                    <a:pt x="11313" y="32877"/>
                  </a:cubicBezTo>
                  <a:cubicBezTo>
                    <a:pt x="11313" y="35894"/>
                    <a:pt x="11313" y="35894"/>
                    <a:pt x="8296" y="35894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FB124497-6A24-4C1B-9FB6-7CBDF12767BD}"/>
                </a:ext>
              </a:extLst>
            </p:cNvPr>
            <p:cNvSpPr/>
            <p:nvPr/>
          </p:nvSpPr>
          <p:spPr>
            <a:xfrm>
              <a:off x="11341807" y="8303578"/>
              <a:ext cx="228519" cy="63351"/>
            </a:xfrm>
            <a:custGeom>
              <a:avLst/>
              <a:gdLst>
                <a:gd name="connsiteX0" fmla="*/ 147821 w 228519"/>
                <a:gd name="connsiteY0" fmla="*/ 63352 h 63351"/>
                <a:gd name="connsiteX1" fmla="*/ 3017 w 228519"/>
                <a:gd name="connsiteY1" fmla="*/ 12067 h 63351"/>
                <a:gd name="connsiteX2" fmla="*/ 0 w 228519"/>
                <a:gd name="connsiteY2" fmla="*/ 3016 h 63351"/>
                <a:gd name="connsiteX3" fmla="*/ 9050 w 228519"/>
                <a:gd name="connsiteY3" fmla="*/ 0 h 63351"/>
                <a:gd name="connsiteX4" fmla="*/ 147821 w 228519"/>
                <a:gd name="connsiteY4" fmla="*/ 48268 h 63351"/>
                <a:gd name="connsiteX5" fmla="*/ 147821 w 228519"/>
                <a:gd name="connsiteY5" fmla="*/ 48268 h 63351"/>
                <a:gd name="connsiteX6" fmla="*/ 217207 w 228519"/>
                <a:gd name="connsiteY6" fmla="*/ 24134 h 63351"/>
                <a:gd name="connsiteX7" fmla="*/ 226257 w 228519"/>
                <a:gd name="connsiteY7" fmla="*/ 24134 h 63351"/>
                <a:gd name="connsiteX8" fmla="*/ 226257 w 228519"/>
                <a:gd name="connsiteY8" fmla="*/ 33184 h 63351"/>
                <a:gd name="connsiteX9" fmla="*/ 147821 w 228519"/>
                <a:gd name="connsiteY9" fmla="*/ 63352 h 63351"/>
                <a:gd name="connsiteX10" fmla="*/ 147821 w 228519"/>
                <a:gd name="connsiteY10" fmla="*/ 63352 h 63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8519" h="63351">
                  <a:moveTo>
                    <a:pt x="147821" y="63352"/>
                  </a:moveTo>
                  <a:cubicBezTo>
                    <a:pt x="96537" y="63352"/>
                    <a:pt x="9050" y="15084"/>
                    <a:pt x="3017" y="12067"/>
                  </a:cubicBezTo>
                  <a:cubicBezTo>
                    <a:pt x="0" y="9050"/>
                    <a:pt x="0" y="6033"/>
                    <a:pt x="0" y="3016"/>
                  </a:cubicBezTo>
                  <a:cubicBezTo>
                    <a:pt x="3017" y="0"/>
                    <a:pt x="6034" y="0"/>
                    <a:pt x="9050" y="0"/>
                  </a:cubicBezTo>
                  <a:cubicBezTo>
                    <a:pt x="9050" y="0"/>
                    <a:pt x="99553" y="48268"/>
                    <a:pt x="147821" y="48268"/>
                  </a:cubicBezTo>
                  <a:cubicBezTo>
                    <a:pt x="147821" y="48268"/>
                    <a:pt x="147821" y="48268"/>
                    <a:pt x="147821" y="48268"/>
                  </a:cubicBezTo>
                  <a:cubicBezTo>
                    <a:pt x="187039" y="48268"/>
                    <a:pt x="217207" y="24134"/>
                    <a:pt x="217207" y="24134"/>
                  </a:cubicBezTo>
                  <a:cubicBezTo>
                    <a:pt x="220223" y="21117"/>
                    <a:pt x="223240" y="21117"/>
                    <a:pt x="226257" y="24134"/>
                  </a:cubicBezTo>
                  <a:cubicBezTo>
                    <a:pt x="229274" y="27151"/>
                    <a:pt x="229274" y="30168"/>
                    <a:pt x="226257" y="33184"/>
                  </a:cubicBezTo>
                  <a:cubicBezTo>
                    <a:pt x="223240" y="36201"/>
                    <a:pt x="190056" y="63352"/>
                    <a:pt x="147821" y="63352"/>
                  </a:cubicBezTo>
                  <a:cubicBezTo>
                    <a:pt x="147821" y="63352"/>
                    <a:pt x="147821" y="63352"/>
                    <a:pt x="147821" y="63352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2C3FD941-0650-4515-8882-13582AFA1762}"/>
                </a:ext>
              </a:extLst>
            </p:cNvPr>
            <p:cNvSpPr/>
            <p:nvPr/>
          </p:nvSpPr>
          <p:spPr>
            <a:xfrm>
              <a:off x="11220771" y="7823913"/>
              <a:ext cx="99918" cy="265474"/>
            </a:xfrm>
            <a:custGeom>
              <a:avLst/>
              <a:gdLst>
                <a:gd name="connsiteX0" fmla="*/ 99919 w 99918"/>
                <a:gd name="connsiteY0" fmla="*/ 126704 h 265474"/>
                <a:gd name="connsiteX1" fmla="*/ 51651 w 99918"/>
                <a:gd name="connsiteY1" fmla="*/ 265475 h 265474"/>
                <a:gd name="connsiteX2" fmla="*/ 6400 w 99918"/>
                <a:gd name="connsiteY2" fmla="*/ 159888 h 265474"/>
                <a:gd name="connsiteX3" fmla="*/ 51651 w 99918"/>
                <a:gd name="connsiteY3" fmla="*/ 0 h 265474"/>
                <a:gd name="connsiteX4" fmla="*/ 99919 w 99918"/>
                <a:gd name="connsiteY4" fmla="*/ 126704 h 26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18" h="265474">
                  <a:moveTo>
                    <a:pt x="99919" y="126704"/>
                  </a:moveTo>
                  <a:cubicBezTo>
                    <a:pt x="99919" y="126704"/>
                    <a:pt x="45617" y="235307"/>
                    <a:pt x="51651" y="265475"/>
                  </a:cubicBezTo>
                  <a:cubicBezTo>
                    <a:pt x="51651" y="265475"/>
                    <a:pt x="21484" y="247374"/>
                    <a:pt x="6400" y="159888"/>
                  </a:cubicBezTo>
                  <a:cubicBezTo>
                    <a:pt x="-2651" y="99553"/>
                    <a:pt x="-11701" y="15084"/>
                    <a:pt x="51651" y="0"/>
                  </a:cubicBezTo>
                  <a:cubicBezTo>
                    <a:pt x="51651" y="0"/>
                    <a:pt x="60701" y="108604"/>
                    <a:pt x="99919" y="126704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58B5181A-3F59-4CAC-BA0D-BF2B989ADFE2}"/>
                </a:ext>
              </a:extLst>
            </p:cNvPr>
            <p:cNvSpPr/>
            <p:nvPr/>
          </p:nvSpPr>
          <p:spPr>
            <a:xfrm>
              <a:off x="11262579" y="7707916"/>
              <a:ext cx="495540" cy="251781"/>
            </a:xfrm>
            <a:custGeom>
              <a:avLst/>
              <a:gdLst>
                <a:gd name="connsiteX0" fmla="*/ 58111 w 495540"/>
                <a:gd name="connsiteY0" fmla="*/ 242700 h 251781"/>
                <a:gd name="connsiteX1" fmla="*/ 178781 w 495540"/>
                <a:gd name="connsiteY1" fmla="*/ 203483 h 251781"/>
                <a:gd name="connsiteX2" fmla="*/ 495541 w 495540"/>
                <a:gd name="connsiteY2" fmla="*/ 191415 h 251781"/>
                <a:gd name="connsiteX3" fmla="*/ 127497 w 495540"/>
                <a:gd name="connsiteY3" fmla="*/ 10410 h 251781"/>
                <a:gd name="connsiteX4" fmla="*/ 9843 w 495540"/>
                <a:gd name="connsiteY4" fmla="*/ 115996 h 251781"/>
                <a:gd name="connsiteX5" fmla="*/ 58111 w 495540"/>
                <a:gd name="connsiteY5" fmla="*/ 242700 h 251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540" h="251781">
                  <a:moveTo>
                    <a:pt x="58111" y="242700"/>
                  </a:moveTo>
                  <a:cubicBezTo>
                    <a:pt x="58111" y="242700"/>
                    <a:pt x="151631" y="203483"/>
                    <a:pt x="178781" y="203483"/>
                  </a:cubicBezTo>
                  <a:cubicBezTo>
                    <a:pt x="278335" y="206499"/>
                    <a:pt x="405038" y="318119"/>
                    <a:pt x="495541" y="191415"/>
                  </a:cubicBezTo>
                  <a:cubicBezTo>
                    <a:pt x="450290" y="91862"/>
                    <a:pt x="290402" y="-37858"/>
                    <a:pt x="127497" y="10410"/>
                  </a:cubicBezTo>
                  <a:cubicBezTo>
                    <a:pt x="49061" y="31527"/>
                    <a:pt x="15876" y="79795"/>
                    <a:pt x="9843" y="115996"/>
                  </a:cubicBezTo>
                  <a:cubicBezTo>
                    <a:pt x="9843" y="115996"/>
                    <a:pt x="-32392" y="230633"/>
                    <a:pt x="58111" y="242700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6740D7DB-7C3E-4D26-A36F-647314AA4DB1}"/>
                </a:ext>
              </a:extLst>
            </p:cNvPr>
            <p:cNvSpPr/>
            <p:nvPr/>
          </p:nvSpPr>
          <p:spPr>
            <a:xfrm>
              <a:off x="11211047" y="8059032"/>
              <a:ext cx="76458" cy="109341"/>
            </a:xfrm>
            <a:custGeom>
              <a:avLst/>
              <a:gdLst>
                <a:gd name="connsiteX0" fmla="*/ 64391 w 76458"/>
                <a:gd name="connsiteY0" fmla="*/ 15272 h 109341"/>
                <a:gd name="connsiteX1" fmla="*/ 7073 w 76458"/>
                <a:gd name="connsiteY1" fmla="*/ 6222 h 109341"/>
                <a:gd name="connsiteX2" fmla="*/ 64391 w 76458"/>
                <a:gd name="connsiteY2" fmla="*/ 105775 h 109341"/>
                <a:gd name="connsiteX3" fmla="*/ 64391 w 76458"/>
                <a:gd name="connsiteY3" fmla="*/ 15272 h 109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458" h="109341">
                  <a:moveTo>
                    <a:pt x="64391" y="15272"/>
                  </a:moveTo>
                  <a:cubicBezTo>
                    <a:pt x="64391" y="15272"/>
                    <a:pt x="31208" y="-11878"/>
                    <a:pt x="7073" y="6222"/>
                  </a:cubicBezTo>
                  <a:cubicBezTo>
                    <a:pt x="-17061" y="24323"/>
                    <a:pt x="25174" y="129909"/>
                    <a:pt x="64391" y="105775"/>
                  </a:cubicBezTo>
                  <a:cubicBezTo>
                    <a:pt x="91543" y="87674"/>
                    <a:pt x="64391" y="15272"/>
                    <a:pt x="64391" y="15272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2F18F0D2-DCC0-446A-8B20-B6D593B9F774}"/>
                </a:ext>
              </a:extLst>
            </p:cNvPr>
            <p:cNvSpPr/>
            <p:nvPr/>
          </p:nvSpPr>
          <p:spPr>
            <a:xfrm>
              <a:off x="11456444" y="8246259"/>
              <a:ext cx="105586" cy="51284"/>
            </a:xfrm>
            <a:custGeom>
              <a:avLst/>
              <a:gdLst>
                <a:gd name="connsiteX0" fmla="*/ 105587 w 105586"/>
                <a:gd name="connsiteY0" fmla="*/ 0 h 51284"/>
                <a:gd name="connsiteX1" fmla="*/ 0 w 105586"/>
                <a:gd name="connsiteY1" fmla="*/ 0 h 51284"/>
                <a:gd name="connsiteX2" fmla="*/ 63352 w 105586"/>
                <a:gd name="connsiteY2" fmla="*/ 51285 h 51284"/>
                <a:gd name="connsiteX3" fmla="*/ 105587 w 105586"/>
                <a:gd name="connsiteY3" fmla="*/ 0 h 5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586" h="51284">
                  <a:moveTo>
                    <a:pt x="105587" y="0"/>
                  </a:moveTo>
                  <a:cubicBezTo>
                    <a:pt x="60335" y="15084"/>
                    <a:pt x="0" y="0"/>
                    <a:pt x="0" y="0"/>
                  </a:cubicBezTo>
                  <a:cubicBezTo>
                    <a:pt x="0" y="0"/>
                    <a:pt x="21118" y="51285"/>
                    <a:pt x="63352" y="51285"/>
                  </a:cubicBezTo>
                  <a:cubicBezTo>
                    <a:pt x="87487" y="48268"/>
                    <a:pt x="105587" y="0"/>
                    <a:pt x="105587" y="0"/>
                  </a:cubicBezTo>
                  <a:close/>
                </a:path>
              </a:pathLst>
            </a:custGeom>
            <a:solidFill>
              <a:srgbClr val="FFFFFF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7" name="图形 1">
              <a:extLst>
                <a:ext uri="{FF2B5EF4-FFF2-40B4-BE49-F238E27FC236}">
                  <a16:creationId xmlns:a16="http://schemas.microsoft.com/office/drawing/2014/main" id="{62201802-7155-4A2B-89A6-5B571E656792}"/>
                </a:ext>
              </a:extLst>
            </p:cNvPr>
            <p:cNvGrpSpPr/>
            <p:nvPr/>
          </p:nvGrpSpPr>
          <p:grpSpPr>
            <a:xfrm>
              <a:off x="11210508" y="7696850"/>
              <a:ext cx="603501" cy="374436"/>
              <a:chOff x="11210508" y="7696850"/>
              <a:chExt cx="603501" cy="374436"/>
            </a:xfrm>
          </p:grpSpPr>
          <p:grpSp>
            <p:nvGrpSpPr>
              <p:cNvPr id="84" name="图形 1">
                <a:extLst>
                  <a:ext uri="{FF2B5EF4-FFF2-40B4-BE49-F238E27FC236}">
                    <a16:creationId xmlns:a16="http://schemas.microsoft.com/office/drawing/2014/main" id="{A2465A48-99A4-4B70-B3A1-2409715BFCDE}"/>
                  </a:ext>
                </a:extLst>
              </p:cNvPr>
              <p:cNvGrpSpPr/>
              <p:nvPr/>
            </p:nvGrpSpPr>
            <p:grpSpPr>
              <a:xfrm>
                <a:off x="11210508" y="7696850"/>
                <a:ext cx="599541" cy="374436"/>
                <a:chOff x="11210508" y="7696850"/>
                <a:chExt cx="599541" cy="374436"/>
              </a:xfrm>
            </p:grpSpPr>
            <p:sp>
              <p:nvSpPr>
                <p:cNvPr id="86" name="任意多边形: 形状 85">
                  <a:extLst>
                    <a:ext uri="{FF2B5EF4-FFF2-40B4-BE49-F238E27FC236}">
                      <a16:creationId xmlns:a16="http://schemas.microsoft.com/office/drawing/2014/main" id="{DA4DB4E9-9146-4D87-84EB-BB4458DEFA9C}"/>
                    </a:ext>
                  </a:extLst>
                </p:cNvPr>
                <p:cNvSpPr/>
                <p:nvPr/>
              </p:nvSpPr>
              <p:spPr>
                <a:xfrm>
                  <a:off x="11210508" y="7696850"/>
                  <a:ext cx="487303" cy="374436"/>
                </a:xfrm>
                <a:custGeom>
                  <a:avLst/>
                  <a:gdLst>
                    <a:gd name="connsiteX0" fmla="*/ 98114 w 487303"/>
                    <a:gd name="connsiteY0" fmla="*/ 214549 h 374436"/>
                    <a:gd name="connsiteX1" fmla="*/ 61914 w 487303"/>
                    <a:gd name="connsiteY1" fmla="*/ 374437 h 374436"/>
                    <a:gd name="connsiteX2" fmla="*/ 34762 w 487303"/>
                    <a:gd name="connsiteY2" fmla="*/ 359353 h 374436"/>
                    <a:gd name="connsiteX3" fmla="*/ 125265 w 487303"/>
                    <a:gd name="connsiteY3" fmla="*/ 36560 h 374436"/>
                    <a:gd name="connsiteX4" fmla="*/ 487276 w 487303"/>
                    <a:gd name="connsiteY4" fmla="*/ 133096 h 374436"/>
                    <a:gd name="connsiteX5" fmla="*/ 98114 w 487303"/>
                    <a:gd name="connsiteY5" fmla="*/ 214549 h 3744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7303" h="374436">
                      <a:moveTo>
                        <a:pt x="98114" y="214549"/>
                      </a:moveTo>
                      <a:cubicBezTo>
                        <a:pt x="83031" y="229633"/>
                        <a:pt x="64930" y="308068"/>
                        <a:pt x="61914" y="374437"/>
                      </a:cubicBezTo>
                      <a:cubicBezTo>
                        <a:pt x="61914" y="374437"/>
                        <a:pt x="46830" y="365387"/>
                        <a:pt x="34762" y="359353"/>
                      </a:cubicBezTo>
                      <a:cubicBezTo>
                        <a:pt x="-1438" y="296001"/>
                        <a:pt x="-49707" y="139130"/>
                        <a:pt x="125265" y="36560"/>
                      </a:cubicBezTo>
                      <a:cubicBezTo>
                        <a:pt x="276103" y="-50926"/>
                        <a:pt x="423925" y="33543"/>
                        <a:pt x="487276" y="133096"/>
                      </a:cubicBezTo>
                      <a:cubicBezTo>
                        <a:pt x="490293" y="136113"/>
                        <a:pt x="245935" y="66727"/>
                        <a:pt x="98114" y="21454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7" name="任意多边形: 形状 86">
                  <a:extLst>
                    <a:ext uri="{FF2B5EF4-FFF2-40B4-BE49-F238E27FC236}">
                      <a16:creationId xmlns:a16="http://schemas.microsoft.com/office/drawing/2014/main" id="{C8713A08-8B8F-442A-9128-075898E28DE8}"/>
                    </a:ext>
                  </a:extLst>
                </p:cNvPr>
                <p:cNvSpPr/>
                <p:nvPr/>
              </p:nvSpPr>
              <p:spPr>
                <a:xfrm>
                  <a:off x="11293539" y="7735043"/>
                  <a:ext cx="516510" cy="224623"/>
                </a:xfrm>
                <a:custGeom>
                  <a:avLst/>
                  <a:gdLst>
                    <a:gd name="connsiteX0" fmla="*/ 0 w 516510"/>
                    <a:gd name="connsiteY0" fmla="*/ 191440 h 224623"/>
                    <a:gd name="connsiteX1" fmla="*/ 199106 w 516510"/>
                    <a:gd name="connsiteY1" fmla="*/ 43618 h 224623"/>
                    <a:gd name="connsiteX2" fmla="*/ 512849 w 516510"/>
                    <a:gd name="connsiteY2" fmla="*/ 64735 h 224623"/>
                    <a:gd name="connsiteX3" fmla="*/ 407263 w 516510"/>
                    <a:gd name="connsiteY3" fmla="*/ 224624 h 224623"/>
                    <a:gd name="connsiteX4" fmla="*/ 0 w 516510"/>
                    <a:gd name="connsiteY4" fmla="*/ 191440 h 224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6510" h="224623">
                      <a:moveTo>
                        <a:pt x="0" y="191440"/>
                      </a:moveTo>
                      <a:cubicBezTo>
                        <a:pt x="0" y="191440"/>
                        <a:pt x="57318" y="109987"/>
                        <a:pt x="199106" y="43618"/>
                      </a:cubicBezTo>
                      <a:cubicBezTo>
                        <a:pt x="346927" y="-25768"/>
                        <a:pt x="485699" y="-7667"/>
                        <a:pt x="512849" y="64735"/>
                      </a:cubicBezTo>
                      <a:cubicBezTo>
                        <a:pt x="540000" y="137138"/>
                        <a:pt x="407263" y="224624"/>
                        <a:pt x="407263" y="224624"/>
                      </a:cubicBezTo>
                      <a:cubicBezTo>
                        <a:pt x="407263" y="224624"/>
                        <a:pt x="262458" y="82836"/>
                        <a:pt x="0" y="19144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8" name="任意多边形: 形状 87">
                  <a:extLst>
                    <a:ext uri="{FF2B5EF4-FFF2-40B4-BE49-F238E27FC236}">
                      <a16:creationId xmlns:a16="http://schemas.microsoft.com/office/drawing/2014/main" id="{18D3E8F9-9AB5-432A-A460-6691480FC371}"/>
                    </a:ext>
                  </a:extLst>
                </p:cNvPr>
                <p:cNvSpPr/>
                <p:nvPr/>
              </p:nvSpPr>
              <p:spPr>
                <a:xfrm>
                  <a:off x="11305606" y="7697209"/>
                  <a:ext cx="57319" cy="54301"/>
                </a:xfrm>
                <a:custGeom>
                  <a:avLst/>
                  <a:gdLst>
                    <a:gd name="connsiteX0" fmla="*/ 0 w 57319"/>
                    <a:gd name="connsiteY0" fmla="*/ 27151 h 54301"/>
                    <a:gd name="connsiteX1" fmla="*/ 30168 w 57319"/>
                    <a:gd name="connsiteY1" fmla="*/ 0 h 54301"/>
                    <a:gd name="connsiteX2" fmla="*/ 57319 w 57319"/>
                    <a:gd name="connsiteY2" fmla="*/ 27151 h 54301"/>
                    <a:gd name="connsiteX3" fmla="*/ 27152 w 57319"/>
                    <a:gd name="connsiteY3" fmla="*/ 54302 h 54301"/>
                    <a:gd name="connsiteX4" fmla="*/ 0 w 57319"/>
                    <a:gd name="connsiteY4" fmla="*/ 27151 h 54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319" h="54301">
                      <a:moveTo>
                        <a:pt x="0" y="27151"/>
                      </a:moveTo>
                      <a:cubicBezTo>
                        <a:pt x="0" y="12067"/>
                        <a:pt x="12068" y="0"/>
                        <a:pt x="30168" y="0"/>
                      </a:cubicBezTo>
                      <a:cubicBezTo>
                        <a:pt x="45251" y="0"/>
                        <a:pt x="57319" y="12067"/>
                        <a:pt x="57319" y="27151"/>
                      </a:cubicBezTo>
                      <a:cubicBezTo>
                        <a:pt x="57319" y="42234"/>
                        <a:pt x="45251" y="54302"/>
                        <a:pt x="27152" y="54302"/>
                      </a:cubicBezTo>
                      <a:cubicBezTo>
                        <a:pt x="12068" y="54302"/>
                        <a:pt x="0" y="42234"/>
                        <a:pt x="0" y="27151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EDDA4820-BDAE-4FB9-9988-9F8973886BCA}"/>
                  </a:ext>
                </a:extLst>
              </p:cNvPr>
              <p:cNvSpPr/>
              <p:nvPr/>
            </p:nvSpPr>
            <p:spPr>
              <a:xfrm>
                <a:off x="11288260" y="7730605"/>
                <a:ext cx="525750" cy="201911"/>
              </a:xfrm>
              <a:custGeom>
                <a:avLst/>
                <a:gdLst>
                  <a:gd name="connsiteX0" fmla="*/ 5279 w 525750"/>
                  <a:gd name="connsiteY0" fmla="*/ 201911 h 201911"/>
                  <a:gd name="connsiteX1" fmla="*/ 2262 w 525750"/>
                  <a:gd name="connsiteY1" fmla="*/ 201911 h 201911"/>
                  <a:gd name="connsiteX2" fmla="*/ 2262 w 525750"/>
                  <a:gd name="connsiteY2" fmla="*/ 192861 h 201911"/>
                  <a:gd name="connsiteX3" fmla="*/ 334106 w 525750"/>
                  <a:gd name="connsiteY3" fmla="*/ 5822 h 201911"/>
                  <a:gd name="connsiteX4" fmla="*/ 521145 w 525750"/>
                  <a:gd name="connsiteY4" fmla="*/ 66157 h 201911"/>
                  <a:gd name="connsiteX5" fmla="*/ 463827 w 525750"/>
                  <a:gd name="connsiteY5" fmla="*/ 192861 h 201911"/>
                  <a:gd name="connsiteX6" fmla="*/ 454776 w 525750"/>
                  <a:gd name="connsiteY6" fmla="*/ 192861 h 201911"/>
                  <a:gd name="connsiteX7" fmla="*/ 454776 w 525750"/>
                  <a:gd name="connsiteY7" fmla="*/ 183810 h 201911"/>
                  <a:gd name="connsiteX8" fmla="*/ 509078 w 525750"/>
                  <a:gd name="connsiteY8" fmla="*/ 72190 h 201911"/>
                  <a:gd name="connsiteX9" fmla="*/ 334106 w 525750"/>
                  <a:gd name="connsiteY9" fmla="*/ 17889 h 201911"/>
                  <a:gd name="connsiteX10" fmla="*/ 8296 w 525750"/>
                  <a:gd name="connsiteY10" fmla="*/ 198894 h 201911"/>
                  <a:gd name="connsiteX11" fmla="*/ 5279 w 525750"/>
                  <a:gd name="connsiteY11" fmla="*/ 201911 h 20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5750" h="201911">
                    <a:moveTo>
                      <a:pt x="5279" y="201911"/>
                    </a:moveTo>
                    <a:cubicBezTo>
                      <a:pt x="5279" y="201911"/>
                      <a:pt x="2262" y="201911"/>
                      <a:pt x="2262" y="201911"/>
                    </a:cubicBezTo>
                    <a:cubicBezTo>
                      <a:pt x="-754" y="198894"/>
                      <a:pt x="-754" y="195878"/>
                      <a:pt x="2262" y="192861"/>
                    </a:cubicBezTo>
                    <a:cubicBezTo>
                      <a:pt x="110866" y="57107"/>
                      <a:pt x="243603" y="20906"/>
                      <a:pt x="334106" y="5822"/>
                    </a:cubicBezTo>
                    <a:cubicBezTo>
                      <a:pt x="379357" y="-3229"/>
                      <a:pt x="490977" y="-12279"/>
                      <a:pt x="521145" y="66157"/>
                    </a:cubicBezTo>
                    <a:cubicBezTo>
                      <a:pt x="545279" y="129509"/>
                      <a:pt x="466844" y="189844"/>
                      <a:pt x="463827" y="192861"/>
                    </a:cubicBezTo>
                    <a:cubicBezTo>
                      <a:pt x="460810" y="195878"/>
                      <a:pt x="457793" y="192861"/>
                      <a:pt x="454776" y="192861"/>
                    </a:cubicBezTo>
                    <a:cubicBezTo>
                      <a:pt x="451760" y="189844"/>
                      <a:pt x="454776" y="186827"/>
                      <a:pt x="454776" y="183810"/>
                    </a:cubicBezTo>
                    <a:cubicBezTo>
                      <a:pt x="454776" y="183810"/>
                      <a:pt x="530195" y="126492"/>
                      <a:pt x="509078" y="72190"/>
                    </a:cubicBezTo>
                    <a:cubicBezTo>
                      <a:pt x="481928" y="2805"/>
                      <a:pt x="379357" y="11855"/>
                      <a:pt x="334106" y="17889"/>
                    </a:cubicBezTo>
                    <a:cubicBezTo>
                      <a:pt x="243603" y="32972"/>
                      <a:pt x="113883" y="66157"/>
                      <a:pt x="8296" y="198894"/>
                    </a:cubicBezTo>
                    <a:cubicBezTo>
                      <a:pt x="11313" y="201911"/>
                      <a:pt x="8296" y="201911"/>
                      <a:pt x="5279" y="20191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149092EC-D47B-42E1-95EC-7375C2FDD26A}"/>
                </a:ext>
              </a:extLst>
            </p:cNvPr>
            <p:cNvSpPr/>
            <p:nvPr/>
          </p:nvSpPr>
          <p:spPr>
            <a:xfrm>
              <a:off x="11528805" y="7899332"/>
              <a:ext cx="205181" cy="60722"/>
            </a:xfrm>
            <a:custGeom>
              <a:avLst/>
              <a:gdLst>
                <a:gd name="connsiteX0" fmla="*/ 120712 w 205181"/>
                <a:gd name="connsiteY0" fmla="*/ 60335 h 60722"/>
                <a:gd name="connsiteX1" fmla="*/ 205181 w 205181"/>
                <a:gd name="connsiteY1" fmla="*/ 0 h 60722"/>
                <a:gd name="connsiteX2" fmla="*/ 42276 w 205181"/>
                <a:gd name="connsiteY2" fmla="*/ 6033 h 60722"/>
                <a:gd name="connsiteX3" fmla="*/ 42 w 205181"/>
                <a:gd name="connsiteY3" fmla="*/ 27151 h 60722"/>
                <a:gd name="connsiteX4" fmla="*/ 120712 w 205181"/>
                <a:gd name="connsiteY4" fmla="*/ 60335 h 60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181" h="60722">
                  <a:moveTo>
                    <a:pt x="120712" y="60335"/>
                  </a:moveTo>
                  <a:cubicBezTo>
                    <a:pt x="120712" y="60335"/>
                    <a:pt x="187080" y="69386"/>
                    <a:pt x="205181" y="0"/>
                  </a:cubicBezTo>
                  <a:cubicBezTo>
                    <a:pt x="205181" y="0"/>
                    <a:pt x="153896" y="12067"/>
                    <a:pt x="42276" y="6033"/>
                  </a:cubicBezTo>
                  <a:cubicBezTo>
                    <a:pt x="-2975" y="3017"/>
                    <a:pt x="42" y="27151"/>
                    <a:pt x="42" y="27151"/>
                  </a:cubicBezTo>
                  <a:lnTo>
                    <a:pt x="120712" y="60335"/>
                  </a:ln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6AA8B77F-9287-4B32-AB74-83B12CF9EDA8}"/>
                </a:ext>
              </a:extLst>
            </p:cNvPr>
            <p:cNvSpPr/>
            <p:nvPr/>
          </p:nvSpPr>
          <p:spPr>
            <a:xfrm>
              <a:off x="11601249" y="8861678"/>
              <a:ext cx="174971" cy="199105"/>
            </a:xfrm>
            <a:custGeom>
              <a:avLst/>
              <a:gdLst>
                <a:gd name="connsiteX0" fmla="*/ 105587 w 174971"/>
                <a:gd name="connsiteY0" fmla="*/ 199106 h 199105"/>
                <a:gd name="connsiteX1" fmla="*/ 102570 w 174971"/>
                <a:gd name="connsiteY1" fmla="*/ 199106 h 199105"/>
                <a:gd name="connsiteX2" fmla="*/ 15084 w 174971"/>
                <a:gd name="connsiteY2" fmla="*/ 132737 h 199105"/>
                <a:gd name="connsiteX3" fmla="*/ 12067 w 174971"/>
                <a:gd name="connsiteY3" fmla="*/ 126704 h 199105"/>
                <a:gd name="connsiteX4" fmla="*/ 0 w 174971"/>
                <a:gd name="connsiteY4" fmla="*/ 9050 h 199105"/>
                <a:gd name="connsiteX5" fmla="*/ 0 w 174971"/>
                <a:gd name="connsiteY5" fmla="*/ 3016 h 199105"/>
                <a:gd name="connsiteX6" fmla="*/ 6033 w 174971"/>
                <a:gd name="connsiteY6" fmla="*/ 0 h 199105"/>
                <a:gd name="connsiteX7" fmla="*/ 6033 w 174971"/>
                <a:gd name="connsiteY7" fmla="*/ 0 h 199105"/>
                <a:gd name="connsiteX8" fmla="*/ 168939 w 174971"/>
                <a:gd name="connsiteY8" fmla="*/ 3016 h 199105"/>
                <a:gd name="connsiteX9" fmla="*/ 174972 w 174971"/>
                <a:gd name="connsiteY9" fmla="*/ 9050 h 199105"/>
                <a:gd name="connsiteX10" fmla="*/ 174972 w 174971"/>
                <a:gd name="connsiteY10" fmla="*/ 123687 h 199105"/>
                <a:gd name="connsiteX11" fmla="*/ 171955 w 174971"/>
                <a:gd name="connsiteY11" fmla="*/ 126704 h 199105"/>
                <a:gd name="connsiteX12" fmla="*/ 105587 w 174971"/>
                <a:gd name="connsiteY12" fmla="*/ 193072 h 199105"/>
                <a:gd name="connsiteX13" fmla="*/ 105587 w 174971"/>
                <a:gd name="connsiteY13" fmla="*/ 199106 h 199105"/>
                <a:gd name="connsiteX14" fmla="*/ 24134 w 174971"/>
                <a:gd name="connsiteY14" fmla="*/ 126704 h 199105"/>
                <a:gd name="connsiteX15" fmla="*/ 105587 w 174971"/>
                <a:gd name="connsiteY15" fmla="*/ 187039 h 199105"/>
                <a:gd name="connsiteX16" fmla="*/ 165922 w 174971"/>
                <a:gd name="connsiteY16" fmla="*/ 126704 h 199105"/>
                <a:gd name="connsiteX17" fmla="*/ 165922 w 174971"/>
                <a:gd name="connsiteY17" fmla="*/ 18100 h 199105"/>
                <a:gd name="connsiteX18" fmla="*/ 15084 w 174971"/>
                <a:gd name="connsiteY18" fmla="*/ 15084 h 199105"/>
                <a:gd name="connsiteX19" fmla="*/ 24134 w 174971"/>
                <a:gd name="connsiteY19" fmla="*/ 126704 h 199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4971" h="199105">
                  <a:moveTo>
                    <a:pt x="105587" y="199106"/>
                  </a:moveTo>
                  <a:cubicBezTo>
                    <a:pt x="105587" y="199106"/>
                    <a:pt x="102570" y="199106"/>
                    <a:pt x="102570" y="199106"/>
                  </a:cubicBezTo>
                  <a:lnTo>
                    <a:pt x="15084" y="132737"/>
                  </a:lnTo>
                  <a:cubicBezTo>
                    <a:pt x="15084" y="132737"/>
                    <a:pt x="12067" y="129720"/>
                    <a:pt x="12067" y="126704"/>
                  </a:cubicBezTo>
                  <a:cubicBezTo>
                    <a:pt x="12067" y="126704"/>
                    <a:pt x="12067" y="45251"/>
                    <a:pt x="0" y="9050"/>
                  </a:cubicBezTo>
                  <a:cubicBezTo>
                    <a:pt x="0" y="6033"/>
                    <a:pt x="0" y="6033"/>
                    <a:pt x="0" y="3016"/>
                  </a:cubicBezTo>
                  <a:cubicBezTo>
                    <a:pt x="0" y="3016"/>
                    <a:pt x="3017" y="0"/>
                    <a:pt x="6033" y="0"/>
                  </a:cubicBezTo>
                  <a:cubicBezTo>
                    <a:pt x="6033" y="0"/>
                    <a:pt x="6033" y="0"/>
                    <a:pt x="6033" y="0"/>
                  </a:cubicBezTo>
                  <a:lnTo>
                    <a:pt x="168939" y="3016"/>
                  </a:lnTo>
                  <a:cubicBezTo>
                    <a:pt x="171955" y="3016"/>
                    <a:pt x="174972" y="6033"/>
                    <a:pt x="174972" y="9050"/>
                  </a:cubicBezTo>
                  <a:lnTo>
                    <a:pt x="174972" y="123687"/>
                  </a:lnTo>
                  <a:cubicBezTo>
                    <a:pt x="174972" y="123687"/>
                    <a:pt x="174972" y="126704"/>
                    <a:pt x="171955" y="126704"/>
                  </a:cubicBezTo>
                  <a:lnTo>
                    <a:pt x="105587" y="193072"/>
                  </a:lnTo>
                  <a:cubicBezTo>
                    <a:pt x="108604" y="199106"/>
                    <a:pt x="105587" y="199106"/>
                    <a:pt x="105587" y="199106"/>
                  </a:cubicBezTo>
                  <a:close/>
                  <a:moveTo>
                    <a:pt x="24134" y="126704"/>
                  </a:moveTo>
                  <a:lnTo>
                    <a:pt x="105587" y="187039"/>
                  </a:lnTo>
                  <a:lnTo>
                    <a:pt x="165922" y="126704"/>
                  </a:lnTo>
                  <a:lnTo>
                    <a:pt x="165922" y="18100"/>
                  </a:lnTo>
                  <a:lnTo>
                    <a:pt x="15084" y="15084"/>
                  </a:lnTo>
                  <a:cubicBezTo>
                    <a:pt x="24134" y="51285"/>
                    <a:pt x="24134" y="111620"/>
                    <a:pt x="24134" y="126704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0" name="图形 1">
              <a:extLst>
                <a:ext uri="{FF2B5EF4-FFF2-40B4-BE49-F238E27FC236}">
                  <a16:creationId xmlns:a16="http://schemas.microsoft.com/office/drawing/2014/main" id="{1D64C0FB-0364-46B6-961E-0ECF338F119C}"/>
                </a:ext>
              </a:extLst>
            </p:cNvPr>
            <p:cNvGrpSpPr/>
            <p:nvPr/>
          </p:nvGrpSpPr>
          <p:grpSpPr>
            <a:xfrm>
              <a:off x="12806063" y="8518894"/>
              <a:ext cx="759865" cy="615060"/>
              <a:chOff x="12806063" y="8518894"/>
              <a:chExt cx="759865" cy="615060"/>
            </a:xfrm>
          </p:grpSpPr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153B0835-E312-4E3F-8980-8F6C24AC05BA}"/>
                  </a:ext>
                </a:extLst>
              </p:cNvPr>
              <p:cNvSpPr/>
              <p:nvPr/>
            </p:nvSpPr>
            <p:spPr>
              <a:xfrm>
                <a:off x="12806063" y="8518894"/>
                <a:ext cx="759865" cy="615060"/>
              </a:xfrm>
              <a:custGeom>
                <a:avLst/>
                <a:gdLst>
                  <a:gd name="connsiteX0" fmla="*/ 113510 w 759865"/>
                  <a:gd name="connsiteY0" fmla="*/ 599208 h 615060"/>
                  <a:gd name="connsiteX1" fmla="*/ 140661 w 759865"/>
                  <a:gd name="connsiteY1" fmla="*/ 614292 h 615060"/>
                  <a:gd name="connsiteX2" fmla="*/ 442337 w 759865"/>
                  <a:gd name="connsiteY2" fmla="*/ 529823 h 615060"/>
                  <a:gd name="connsiteX3" fmla="*/ 744013 w 759865"/>
                  <a:gd name="connsiteY3" fmla="*/ 445353 h 615060"/>
                  <a:gd name="connsiteX4" fmla="*/ 759097 w 759865"/>
                  <a:gd name="connsiteY4" fmla="*/ 418203 h 615060"/>
                  <a:gd name="connsiteX5" fmla="*/ 647476 w 759865"/>
                  <a:gd name="connsiteY5" fmla="*/ 19990 h 615060"/>
                  <a:gd name="connsiteX6" fmla="*/ 614292 w 759865"/>
                  <a:gd name="connsiteY6" fmla="*/ 1890 h 615060"/>
                  <a:gd name="connsiteX7" fmla="*/ 19991 w 759865"/>
                  <a:gd name="connsiteY7" fmla="*/ 167812 h 615060"/>
                  <a:gd name="connsiteX8" fmla="*/ 1890 w 759865"/>
                  <a:gd name="connsiteY8" fmla="*/ 200996 h 615060"/>
                  <a:gd name="connsiteX9" fmla="*/ 113510 w 759865"/>
                  <a:gd name="connsiteY9" fmla="*/ 599208 h 615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59865" h="615060">
                    <a:moveTo>
                      <a:pt x="113510" y="599208"/>
                    </a:moveTo>
                    <a:cubicBezTo>
                      <a:pt x="116527" y="611275"/>
                      <a:pt x="128593" y="617309"/>
                      <a:pt x="140661" y="614292"/>
                    </a:cubicBezTo>
                    <a:lnTo>
                      <a:pt x="442337" y="529823"/>
                    </a:lnTo>
                    <a:lnTo>
                      <a:pt x="744013" y="445353"/>
                    </a:lnTo>
                    <a:cubicBezTo>
                      <a:pt x="756080" y="442337"/>
                      <a:pt x="762113" y="430270"/>
                      <a:pt x="759097" y="418203"/>
                    </a:cubicBezTo>
                    <a:lnTo>
                      <a:pt x="647476" y="19990"/>
                    </a:lnTo>
                    <a:cubicBezTo>
                      <a:pt x="644460" y="4906"/>
                      <a:pt x="629376" y="-4144"/>
                      <a:pt x="614292" y="1890"/>
                    </a:cubicBezTo>
                    <a:lnTo>
                      <a:pt x="19991" y="167812"/>
                    </a:lnTo>
                    <a:cubicBezTo>
                      <a:pt x="4907" y="170828"/>
                      <a:pt x="-4144" y="185912"/>
                      <a:pt x="1890" y="200996"/>
                    </a:cubicBezTo>
                    <a:lnTo>
                      <a:pt x="113510" y="599208"/>
                    </a:lnTo>
                    <a:close/>
                  </a:path>
                </a:pathLst>
              </a:custGeom>
              <a:solidFill>
                <a:srgbClr val="E8D2AF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9829B8C2-AF46-4F19-86BD-EE506C6B9EF3}"/>
                  </a:ext>
                </a:extLst>
              </p:cNvPr>
              <p:cNvSpPr/>
              <p:nvPr/>
            </p:nvSpPr>
            <p:spPr>
              <a:xfrm>
                <a:off x="12933854" y="8716874"/>
                <a:ext cx="622526" cy="416912"/>
              </a:xfrm>
              <a:custGeom>
                <a:avLst/>
                <a:gdLst>
                  <a:gd name="connsiteX0" fmla="*/ 221026 w 622526"/>
                  <a:gd name="connsiteY0" fmla="*/ 0 h 416912"/>
                  <a:gd name="connsiteX1" fmla="*/ 802 w 622526"/>
                  <a:gd name="connsiteY1" fmla="*/ 404246 h 416912"/>
                  <a:gd name="connsiteX2" fmla="*/ 9853 w 622526"/>
                  <a:gd name="connsiteY2" fmla="*/ 416313 h 416912"/>
                  <a:gd name="connsiteX3" fmla="*/ 616222 w 622526"/>
                  <a:gd name="connsiteY3" fmla="*/ 247374 h 416912"/>
                  <a:gd name="connsiteX4" fmla="*/ 619238 w 622526"/>
                  <a:gd name="connsiteY4" fmla="*/ 232290 h 416912"/>
                  <a:gd name="connsiteX5" fmla="*/ 221026 w 622526"/>
                  <a:gd name="connsiteY5" fmla="*/ 0 h 416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22526" h="416912">
                    <a:moveTo>
                      <a:pt x="221026" y="0"/>
                    </a:moveTo>
                    <a:lnTo>
                      <a:pt x="802" y="404246"/>
                    </a:lnTo>
                    <a:cubicBezTo>
                      <a:pt x="-2214" y="410279"/>
                      <a:pt x="3819" y="419329"/>
                      <a:pt x="9853" y="416313"/>
                    </a:cubicBezTo>
                    <a:lnTo>
                      <a:pt x="616222" y="247374"/>
                    </a:lnTo>
                    <a:cubicBezTo>
                      <a:pt x="622255" y="244357"/>
                      <a:pt x="625272" y="235307"/>
                      <a:pt x="619238" y="232290"/>
                    </a:cubicBezTo>
                    <a:lnTo>
                      <a:pt x="221026" y="0"/>
                    </a:ln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A58F5306-E681-4D6D-86C1-D43F903D86C3}"/>
                  </a:ext>
                </a:extLst>
              </p:cNvPr>
              <p:cNvSpPr/>
              <p:nvPr/>
            </p:nvSpPr>
            <p:spPr>
              <a:xfrm>
                <a:off x="12806063" y="8521911"/>
                <a:ext cx="665577" cy="391052"/>
              </a:xfrm>
              <a:custGeom>
                <a:avLst/>
                <a:gdLst>
                  <a:gd name="connsiteX0" fmla="*/ 403119 w 665577"/>
                  <a:gd name="connsiteY0" fmla="*/ 391052 h 391052"/>
                  <a:gd name="connsiteX1" fmla="*/ 665577 w 665577"/>
                  <a:gd name="connsiteY1" fmla="*/ 86359 h 391052"/>
                  <a:gd name="connsiteX2" fmla="*/ 647476 w 665577"/>
                  <a:gd name="connsiteY2" fmla="*/ 19991 h 391052"/>
                  <a:gd name="connsiteX3" fmla="*/ 614292 w 665577"/>
                  <a:gd name="connsiteY3" fmla="*/ 1890 h 391052"/>
                  <a:gd name="connsiteX4" fmla="*/ 19991 w 665577"/>
                  <a:gd name="connsiteY4" fmla="*/ 167812 h 391052"/>
                  <a:gd name="connsiteX5" fmla="*/ 1890 w 665577"/>
                  <a:gd name="connsiteY5" fmla="*/ 200996 h 391052"/>
                  <a:gd name="connsiteX6" fmla="*/ 23007 w 665577"/>
                  <a:gd name="connsiteY6" fmla="*/ 273398 h 391052"/>
                  <a:gd name="connsiteX7" fmla="*/ 403119 w 665577"/>
                  <a:gd name="connsiteY7" fmla="*/ 391052 h 391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5577" h="391052">
                    <a:moveTo>
                      <a:pt x="403119" y="391052"/>
                    </a:moveTo>
                    <a:lnTo>
                      <a:pt x="665577" y="86359"/>
                    </a:lnTo>
                    <a:lnTo>
                      <a:pt x="647476" y="19991"/>
                    </a:lnTo>
                    <a:cubicBezTo>
                      <a:pt x="644460" y="4907"/>
                      <a:pt x="629376" y="-4144"/>
                      <a:pt x="614292" y="1890"/>
                    </a:cubicBezTo>
                    <a:lnTo>
                      <a:pt x="19991" y="167812"/>
                    </a:lnTo>
                    <a:cubicBezTo>
                      <a:pt x="4907" y="170829"/>
                      <a:pt x="-4144" y="185912"/>
                      <a:pt x="1890" y="200996"/>
                    </a:cubicBezTo>
                    <a:lnTo>
                      <a:pt x="23007" y="273398"/>
                    </a:lnTo>
                    <a:lnTo>
                      <a:pt x="403119" y="391052"/>
                    </a:lnTo>
                    <a:close/>
                  </a:path>
                </a:pathLst>
              </a:custGeom>
              <a:solidFill>
                <a:srgbClr val="F9E5C5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E6C78B0F-0DDB-4866-BBA6-B2BD3EB1ACED}"/>
                </a:ext>
              </a:extLst>
            </p:cNvPr>
            <p:cNvSpPr/>
            <p:nvPr/>
          </p:nvSpPr>
          <p:spPr>
            <a:xfrm>
              <a:off x="12776588" y="8852475"/>
              <a:ext cx="153044" cy="136372"/>
            </a:xfrm>
            <a:custGeom>
              <a:avLst/>
              <a:gdLst>
                <a:gd name="connsiteX0" fmla="*/ 88683 w 153044"/>
                <a:gd name="connsiteY0" fmla="*/ 153 h 136372"/>
                <a:gd name="connsiteX1" fmla="*/ 1197 w 153044"/>
                <a:gd name="connsiteY1" fmla="*/ 66522 h 136372"/>
                <a:gd name="connsiteX2" fmla="*/ 37397 w 153044"/>
                <a:gd name="connsiteY2" fmla="*/ 135907 h 136372"/>
                <a:gd name="connsiteX3" fmla="*/ 61532 w 153044"/>
                <a:gd name="connsiteY3" fmla="*/ 78589 h 136372"/>
                <a:gd name="connsiteX4" fmla="*/ 121867 w 153044"/>
                <a:gd name="connsiteY4" fmla="*/ 51438 h 136372"/>
                <a:gd name="connsiteX5" fmla="*/ 152035 w 153044"/>
                <a:gd name="connsiteY5" fmla="*/ 51438 h 136372"/>
                <a:gd name="connsiteX6" fmla="*/ 88683 w 153044"/>
                <a:gd name="connsiteY6" fmla="*/ 153 h 13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3044" h="136372">
                  <a:moveTo>
                    <a:pt x="88683" y="153"/>
                  </a:moveTo>
                  <a:cubicBezTo>
                    <a:pt x="52481" y="-2864"/>
                    <a:pt x="13264" y="39371"/>
                    <a:pt x="1197" y="66522"/>
                  </a:cubicBezTo>
                  <a:cubicBezTo>
                    <a:pt x="-7854" y="87639"/>
                    <a:pt x="37397" y="141941"/>
                    <a:pt x="37397" y="135907"/>
                  </a:cubicBezTo>
                  <a:cubicBezTo>
                    <a:pt x="43431" y="123840"/>
                    <a:pt x="52481" y="90656"/>
                    <a:pt x="61532" y="78589"/>
                  </a:cubicBezTo>
                  <a:cubicBezTo>
                    <a:pt x="76616" y="57471"/>
                    <a:pt x="94717" y="54455"/>
                    <a:pt x="121867" y="51438"/>
                  </a:cubicBezTo>
                  <a:cubicBezTo>
                    <a:pt x="130917" y="51438"/>
                    <a:pt x="149018" y="60488"/>
                    <a:pt x="152035" y="51438"/>
                  </a:cubicBezTo>
                  <a:cubicBezTo>
                    <a:pt x="161085" y="27304"/>
                    <a:pt x="106783" y="153"/>
                    <a:pt x="88683" y="153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4A5A815C-6A46-49C8-AECB-73EF4CE80C11}"/>
                </a:ext>
              </a:extLst>
            </p:cNvPr>
            <p:cNvSpPr/>
            <p:nvPr/>
          </p:nvSpPr>
          <p:spPr>
            <a:xfrm>
              <a:off x="12771751" y="8845841"/>
              <a:ext cx="164886" cy="139524"/>
            </a:xfrm>
            <a:custGeom>
              <a:avLst/>
              <a:gdLst>
                <a:gd name="connsiteX0" fmla="*/ 75419 w 164886"/>
                <a:gd name="connsiteY0" fmla="*/ 139524 h 139524"/>
                <a:gd name="connsiteX1" fmla="*/ 75419 w 164886"/>
                <a:gd name="connsiteY1" fmla="*/ 139524 h 139524"/>
                <a:gd name="connsiteX2" fmla="*/ 69386 w 164886"/>
                <a:gd name="connsiteY2" fmla="*/ 130474 h 139524"/>
                <a:gd name="connsiteX3" fmla="*/ 63352 w 164886"/>
                <a:gd name="connsiteY3" fmla="*/ 85222 h 139524"/>
                <a:gd name="connsiteX4" fmla="*/ 63352 w 164886"/>
                <a:gd name="connsiteY4" fmla="*/ 79189 h 139524"/>
                <a:gd name="connsiteX5" fmla="*/ 132737 w 164886"/>
                <a:gd name="connsiteY5" fmla="*/ 55055 h 139524"/>
                <a:gd name="connsiteX6" fmla="*/ 153855 w 164886"/>
                <a:gd name="connsiteY6" fmla="*/ 52038 h 139524"/>
                <a:gd name="connsiteX7" fmla="*/ 153855 w 164886"/>
                <a:gd name="connsiteY7" fmla="*/ 46005 h 139524"/>
                <a:gd name="connsiteX8" fmla="*/ 93520 w 164886"/>
                <a:gd name="connsiteY8" fmla="*/ 9803 h 139524"/>
                <a:gd name="connsiteX9" fmla="*/ 87486 w 164886"/>
                <a:gd name="connsiteY9" fmla="*/ 9803 h 139524"/>
                <a:gd name="connsiteX10" fmla="*/ 12067 w 164886"/>
                <a:gd name="connsiteY10" fmla="*/ 76172 h 139524"/>
                <a:gd name="connsiteX11" fmla="*/ 3017 w 164886"/>
                <a:gd name="connsiteY11" fmla="*/ 79189 h 139524"/>
                <a:gd name="connsiteX12" fmla="*/ 0 w 164886"/>
                <a:gd name="connsiteY12" fmla="*/ 70139 h 139524"/>
                <a:gd name="connsiteX13" fmla="*/ 93520 w 164886"/>
                <a:gd name="connsiteY13" fmla="*/ 753 h 139524"/>
                <a:gd name="connsiteX14" fmla="*/ 162905 w 164886"/>
                <a:gd name="connsiteY14" fmla="*/ 46005 h 139524"/>
                <a:gd name="connsiteX15" fmla="*/ 159889 w 164886"/>
                <a:gd name="connsiteY15" fmla="*/ 64105 h 139524"/>
                <a:gd name="connsiteX16" fmla="*/ 129721 w 164886"/>
                <a:gd name="connsiteY16" fmla="*/ 70139 h 139524"/>
                <a:gd name="connsiteX17" fmla="*/ 72402 w 164886"/>
                <a:gd name="connsiteY17" fmla="*/ 88239 h 139524"/>
                <a:gd name="connsiteX18" fmla="*/ 78436 w 164886"/>
                <a:gd name="connsiteY18" fmla="*/ 139524 h 139524"/>
                <a:gd name="connsiteX19" fmla="*/ 75419 w 164886"/>
                <a:gd name="connsiteY19" fmla="*/ 139524 h 139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4886" h="139524">
                  <a:moveTo>
                    <a:pt x="75419" y="139524"/>
                  </a:moveTo>
                  <a:cubicBezTo>
                    <a:pt x="75419" y="139524"/>
                    <a:pt x="75419" y="139524"/>
                    <a:pt x="75419" y="139524"/>
                  </a:cubicBezTo>
                  <a:cubicBezTo>
                    <a:pt x="69386" y="136508"/>
                    <a:pt x="69386" y="133491"/>
                    <a:pt x="69386" y="130474"/>
                  </a:cubicBezTo>
                  <a:cubicBezTo>
                    <a:pt x="75419" y="115390"/>
                    <a:pt x="66369" y="94273"/>
                    <a:pt x="63352" y="85222"/>
                  </a:cubicBezTo>
                  <a:cubicBezTo>
                    <a:pt x="63352" y="82206"/>
                    <a:pt x="63352" y="82206"/>
                    <a:pt x="63352" y="79189"/>
                  </a:cubicBezTo>
                  <a:cubicBezTo>
                    <a:pt x="84470" y="52038"/>
                    <a:pt x="111620" y="52038"/>
                    <a:pt x="132737" y="55055"/>
                  </a:cubicBezTo>
                  <a:cubicBezTo>
                    <a:pt x="141788" y="55055"/>
                    <a:pt x="150838" y="55055"/>
                    <a:pt x="153855" y="52038"/>
                  </a:cubicBezTo>
                  <a:cubicBezTo>
                    <a:pt x="153855" y="52038"/>
                    <a:pt x="156872" y="49021"/>
                    <a:pt x="153855" y="46005"/>
                  </a:cubicBezTo>
                  <a:cubicBezTo>
                    <a:pt x="147821" y="30921"/>
                    <a:pt x="123687" y="15837"/>
                    <a:pt x="93520" y="9803"/>
                  </a:cubicBezTo>
                  <a:cubicBezTo>
                    <a:pt x="90503" y="9803"/>
                    <a:pt x="90503" y="9803"/>
                    <a:pt x="87486" y="9803"/>
                  </a:cubicBezTo>
                  <a:cubicBezTo>
                    <a:pt x="48268" y="9803"/>
                    <a:pt x="12067" y="73155"/>
                    <a:pt x="12067" y="76172"/>
                  </a:cubicBezTo>
                  <a:cubicBezTo>
                    <a:pt x="9051" y="79189"/>
                    <a:pt x="6034" y="79189"/>
                    <a:pt x="3017" y="79189"/>
                  </a:cubicBezTo>
                  <a:cubicBezTo>
                    <a:pt x="0" y="76172"/>
                    <a:pt x="0" y="73155"/>
                    <a:pt x="0" y="70139"/>
                  </a:cubicBezTo>
                  <a:cubicBezTo>
                    <a:pt x="3017" y="67122"/>
                    <a:pt x="45251" y="-8297"/>
                    <a:pt x="93520" y="753"/>
                  </a:cubicBezTo>
                  <a:cubicBezTo>
                    <a:pt x="129721" y="6787"/>
                    <a:pt x="156872" y="27904"/>
                    <a:pt x="162905" y="46005"/>
                  </a:cubicBezTo>
                  <a:cubicBezTo>
                    <a:pt x="165922" y="52038"/>
                    <a:pt x="165922" y="58072"/>
                    <a:pt x="159889" y="64105"/>
                  </a:cubicBezTo>
                  <a:cubicBezTo>
                    <a:pt x="153855" y="70139"/>
                    <a:pt x="141788" y="70139"/>
                    <a:pt x="129721" y="70139"/>
                  </a:cubicBezTo>
                  <a:cubicBezTo>
                    <a:pt x="111620" y="70139"/>
                    <a:pt x="90503" y="67122"/>
                    <a:pt x="72402" y="88239"/>
                  </a:cubicBezTo>
                  <a:cubicBezTo>
                    <a:pt x="75419" y="97290"/>
                    <a:pt x="87486" y="121424"/>
                    <a:pt x="78436" y="139524"/>
                  </a:cubicBezTo>
                  <a:cubicBezTo>
                    <a:pt x="81453" y="139524"/>
                    <a:pt x="78436" y="139524"/>
                    <a:pt x="75419" y="139524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5B3E57D6-29FB-4D5A-B8A2-6AC684988D24}"/>
                </a:ext>
              </a:extLst>
            </p:cNvPr>
            <p:cNvSpPr/>
            <p:nvPr/>
          </p:nvSpPr>
          <p:spPr>
            <a:xfrm>
              <a:off x="14255181" y="9635477"/>
              <a:ext cx="1688557" cy="1662028"/>
            </a:xfrm>
            <a:custGeom>
              <a:avLst/>
              <a:gdLst>
                <a:gd name="connsiteX0" fmla="*/ 1669084 w 1688557"/>
                <a:gd name="connsiteY0" fmla="*/ 1371118 h 1662028"/>
                <a:gd name="connsiteX1" fmla="*/ 1539364 w 1688557"/>
                <a:gd name="connsiteY1" fmla="*/ 1455586 h 1662028"/>
                <a:gd name="connsiteX2" fmla="*/ 1005397 w 1688557"/>
                <a:gd name="connsiteY2" fmla="*/ 28659 h 1662028"/>
                <a:gd name="connsiteX3" fmla="*/ 978246 w 1688557"/>
                <a:gd name="connsiteY3" fmla="*/ 43743 h 1662028"/>
                <a:gd name="connsiteX4" fmla="*/ 1509196 w 1688557"/>
                <a:gd name="connsiteY4" fmla="*/ 1470670 h 1662028"/>
                <a:gd name="connsiteX5" fmla="*/ 1316124 w 1688557"/>
                <a:gd name="connsiteY5" fmla="*/ 1567207 h 1662028"/>
                <a:gd name="connsiteX6" fmla="*/ 1198470 w 1688557"/>
                <a:gd name="connsiteY6" fmla="*/ 1600391 h 1662028"/>
                <a:gd name="connsiteX7" fmla="*/ 1174336 w 1688557"/>
                <a:gd name="connsiteY7" fmla="*/ 816033 h 1662028"/>
                <a:gd name="connsiteX8" fmla="*/ 911877 w 1688557"/>
                <a:gd name="connsiteY8" fmla="*/ 40726 h 1662028"/>
                <a:gd name="connsiteX9" fmla="*/ 881710 w 1688557"/>
                <a:gd name="connsiteY9" fmla="*/ 49776 h 1662028"/>
                <a:gd name="connsiteX10" fmla="*/ 1138134 w 1688557"/>
                <a:gd name="connsiteY10" fmla="*/ 797933 h 1662028"/>
                <a:gd name="connsiteX11" fmla="*/ 1165286 w 1688557"/>
                <a:gd name="connsiteY11" fmla="*/ 1603407 h 1662028"/>
                <a:gd name="connsiteX12" fmla="*/ 1165286 w 1688557"/>
                <a:gd name="connsiteY12" fmla="*/ 1603407 h 1662028"/>
                <a:gd name="connsiteX13" fmla="*/ 881710 w 1688557"/>
                <a:gd name="connsiteY13" fmla="*/ 1624525 h 1662028"/>
                <a:gd name="connsiteX14" fmla="*/ 776123 w 1688557"/>
                <a:gd name="connsiteY14" fmla="*/ 1627542 h 1662028"/>
                <a:gd name="connsiteX15" fmla="*/ 833442 w 1688557"/>
                <a:gd name="connsiteY15" fmla="*/ 13576 h 1662028"/>
                <a:gd name="connsiteX16" fmla="*/ 803275 w 1688557"/>
                <a:gd name="connsiteY16" fmla="*/ 13576 h 1662028"/>
                <a:gd name="connsiteX17" fmla="*/ 745956 w 1688557"/>
                <a:gd name="connsiteY17" fmla="*/ 1627542 h 1662028"/>
                <a:gd name="connsiteX18" fmla="*/ 377911 w 1688557"/>
                <a:gd name="connsiteY18" fmla="*/ 1615474 h 1662028"/>
                <a:gd name="connsiteX19" fmla="*/ 628302 w 1688557"/>
                <a:gd name="connsiteY19" fmla="*/ 31675 h 1662028"/>
                <a:gd name="connsiteX20" fmla="*/ 601151 w 1688557"/>
                <a:gd name="connsiteY20" fmla="*/ 16592 h 1662028"/>
                <a:gd name="connsiteX21" fmla="*/ 341710 w 1688557"/>
                <a:gd name="connsiteY21" fmla="*/ 1612458 h 1662028"/>
                <a:gd name="connsiteX22" fmla="*/ 18917 w 1688557"/>
                <a:gd name="connsiteY22" fmla="*/ 1543072 h 1662028"/>
                <a:gd name="connsiteX23" fmla="*/ 9866 w 1688557"/>
                <a:gd name="connsiteY23" fmla="*/ 1573240 h 1662028"/>
                <a:gd name="connsiteX24" fmla="*/ 908861 w 1688557"/>
                <a:gd name="connsiteY24" fmla="*/ 1654693 h 1662028"/>
                <a:gd name="connsiteX25" fmla="*/ 1319140 w 1688557"/>
                <a:gd name="connsiteY25" fmla="*/ 1594358 h 1662028"/>
                <a:gd name="connsiteX26" fmla="*/ 1678135 w 1688557"/>
                <a:gd name="connsiteY26" fmla="*/ 1395251 h 1662028"/>
                <a:gd name="connsiteX27" fmla="*/ 1669084 w 1688557"/>
                <a:gd name="connsiteY27" fmla="*/ 1371118 h 1662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688557" h="1662028">
                  <a:moveTo>
                    <a:pt x="1669084" y="1371118"/>
                  </a:moveTo>
                  <a:cubicBezTo>
                    <a:pt x="1626850" y="1398268"/>
                    <a:pt x="1581598" y="1428436"/>
                    <a:pt x="1539364" y="1455586"/>
                  </a:cubicBezTo>
                  <a:cubicBezTo>
                    <a:pt x="1454894" y="951787"/>
                    <a:pt x="1273889" y="466090"/>
                    <a:pt x="1005397" y="28659"/>
                  </a:cubicBezTo>
                  <a:cubicBezTo>
                    <a:pt x="996347" y="13576"/>
                    <a:pt x="969196" y="28659"/>
                    <a:pt x="978246" y="43743"/>
                  </a:cubicBezTo>
                  <a:cubicBezTo>
                    <a:pt x="1246738" y="481173"/>
                    <a:pt x="1427743" y="963855"/>
                    <a:pt x="1509196" y="1470670"/>
                  </a:cubicBezTo>
                  <a:cubicBezTo>
                    <a:pt x="1445844" y="1506872"/>
                    <a:pt x="1382492" y="1540055"/>
                    <a:pt x="1316124" y="1567207"/>
                  </a:cubicBezTo>
                  <a:cubicBezTo>
                    <a:pt x="1276905" y="1582291"/>
                    <a:pt x="1237688" y="1591341"/>
                    <a:pt x="1198470" y="1600391"/>
                  </a:cubicBezTo>
                  <a:cubicBezTo>
                    <a:pt x="1213553" y="1340950"/>
                    <a:pt x="1231654" y="1072458"/>
                    <a:pt x="1174336" y="816033"/>
                  </a:cubicBezTo>
                  <a:cubicBezTo>
                    <a:pt x="1117018" y="553575"/>
                    <a:pt x="1014448" y="288100"/>
                    <a:pt x="911877" y="40726"/>
                  </a:cubicBezTo>
                  <a:cubicBezTo>
                    <a:pt x="905844" y="22625"/>
                    <a:pt x="875677" y="31675"/>
                    <a:pt x="881710" y="49776"/>
                  </a:cubicBezTo>
                  <a:cubicBezTo>
                    <a:pt x="981263" y="291117"/>
                    <a:pt x="1077799" y="544525"/>
                    <a:pt x="1138134" y="797933"/>
                  </a:cubicBezTo>
                  <a:cubicBezTo>
                    <a:pt x="1201486" y="1060391"/>
                    <a:pt x="1183386" y="1337933"/>
                    <a:pt x="1165286" y="1603407"/>
                  </a:cubicBezTo>
                  <a:cubicBezTo>
                    <a:pt x="1165286" y="1603407"/>
                    <a:pt x="1165286" y="1603407"/>
                    <a:pt x="1165286" y="1603407"/>
                  </a:cubicBezTo>
                  <a:cubicBezTo>
                    <a:pt x="1071766" y="1618491"/>
                    <a:pt x="978246" y="1621508"/>
                    <a:pt x="881710" y="1624525"/>
                  </a:cubicBezTo>
                  <a:cubicBezTo>
                    <a:pt x="845509" y="1627542"/>
                    <a:pt x="809308" y="1627542"/>
                    <a:pt x="776123" y="1627542"/>
                  </a:cubicBezTo>
                  <a:cubicBezTo>
                    <a:pt x="833442" y="1090558"/>
                    <a:pt x="851542" y="550558"/>
                    <a:pt x="833442" y="13576"/>
                  </a:cubicBezTo>
                  <a:cubicBezTo>
                    <a:pt x="833442" y="-4525"/>
                    <a:pt x="803275" y="-4525"/>
                    <a:pt x="803275" y="13576"/>
                  </a:cubicBezTo>
                  <a:cubicBezTo>
                    <a:pt x="821375" y="553575"/>
                    <a:pt x="800258" y="1093575"/>
                    <a:pt x="745956" y="1627542"/>
                  </a:cubicBezTo>
                  <a:cubicBezTo>
                    <a:pt x="622269" y="1630558"/>
                    <a:pt x="498582" y="1627542"/>
                    <a:pt x="377911" y="1615474"/>
                  </a:cubicBezTo>
                  <a:cubicBezTo>
                    <a:pt x="673553" y="1132793"/>
                    <a:pt x="396012" y="532458"/>
                    <a:pt x="628302" y="31675"/>
                  </a:cubicBezTo>
                  <a:cubicBezTo>
                    <a:pt x="637353" y="13576"/>
                    <a:pt x="610201" y="-1508"/>
                    <a:pt x="601151" y="16592"/>
                  </a:cubicBezTo>
                  <a:cubicBezTo>
                    <a:pt x="365845" y="523408"/>
                    <a:pt x="646403" y="1129777"/>
                    <a:pt x="341710" y="1612458"/>
                  </a:cubicBezTo>
                  <a:cubicBezTo>
                    <a:pt x="233106" y="1600391"/>
                    <a:pt x="124504" y="1576257"/>
                    <a:pt x="18917" y="1543072"/>
                  </a:cubicBezTo>
                  <a:cubicBezTo>
                    <a:pt x="816" y="1537039"/>
                    <a:pt x="-8234" y="1567207"/>
                    <a:pt x="9866" y="1573240"/>
                  </a:cubicBezTo>
                  <a:cubicBezTo>
                    <a:pt x="299475" y="1669777"/>
                    <a:pt x="607185" y="1669777"/>
                    <a:pt x="908861" y="1654693"/>
                  </a:cubicBezTo>
                  <a:cubicBezTo>
                    <a:pt x="1047632" y="1648659"/>
                    <a:pt x="1186403" y="1645642"/>
                    <a:pt x="1319140" y="1594358"/>
                  </a:cubicBezTo>
                  <a:cubicBezTo>
                    <a:pt x="1448861" y="1546089"/>
                    <a:pt x="1563498" y="1470670"/>
                    <a:pt x="1678135" y="1395251"/>
                  </a:cubicBezTo>
                  <a:cubicBezTo>
                    <a:pt x="1699252" y="1386201"/>
                    <a:pt x="1684168" y="1359050"/>
                    <a:pt x="1669084" y="1371118"/>
                  </a:cubicBezTo>
                  <a:close/>
                </a:path>
              </a:pathLst>
            </a:custGeom>
            <a:solidFill>
              <a:srgbClr val="F1DDBA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2797528F-FC3B-4342-8F98-342E3208395C}"/>
                </a:ext>
              </a:extLst>
            </p:cNvPr>
            <p:cNvSpPr/>
            <p:nvPr/>
          </p:nvSpPr>
          <p:spPr>
            <a:xfrm>
              <a:off x="15016337" y="8072856"/>
              <a:ext cx="550868" cy="907971"/>
            </a:xfrm>
            <a:custGeom>
              <a:avLst/>
              <a:gdLst>
                <a:gd name="connsiteX0" fmla="*/ 27035 w 550868"/>
                <a:gd name="connsiteY0" fmla="*/ 653069 h 907971"/>
                <a:gd name="connsiteX1" fmla="*/ 150721 w 550868"/>
                <a:gd name="connsiteY1" fmla="*/ 891392 h 907971"/>
                <a:gd name="connsiteX2" fmla="*/ 313627 w 550868"/>
                <a:gd name="connsiteY2" fmla="*/ 906476 h 907971"/>
                <a:gd name="connsiteX3" fmla="*/ 473515 w 550868"/>
                <a:gd name="connsiteY3" fmla="*/ 882342 h 907971"/>
                <a:gd name="connsiteX4" fmla="*/ 545917 w 550868"/>
                <a:gd name="connsiteY4" fmla="*/ 743571 h 907971"/>
                <a:gd name="connsiteX5" fmla="*/ 431280 w 550868"/>
                <a:gd name="connsiteY5" fmla="*/ 577650 h 907971"/>
                <a:gd name="connsiteX6" fmla="*/ 416196 w 550868"/>
                <a:gd name="connsiteY6" fmla="*/ 438878 h 907971"/>
                <a:gd name="connsiteX7" fmla="*/ 334743 w 550868"/>
                <a:gd name="connsiteY7" fmla="*/ 360443 h 907971"/>
                <a:gd name="connsiteX8" fmla="*/ 295526 w 550868"/>
                <a:gd name="connsiteY8" fmla="*/ 185471 h 907971"/>
                <a:gd name="connsiteX9" fmla="*/ 8934 w 550868"/>
                <a:gd name="connsiteY9" fmla="*/ 1448 h 907971"/>
                <a:gd name="connsiteX10" fmla="*/ 60218 w 550868"/>
                <a:gd name="connsiteY10" fmla="*/ 43683 h 907971"/>
                <a:gd name="connsiteX11" fmla="*/ 114520 w 550868"/>
                <a:gd name="connsiteY11" fmla="*/ 67817 h 907971"/>
                <a:gd name="connsiteX12" fmla="*/ 27035 w 550868"/>
                <a:gd name="connsiteY12" fmla="*/ 653069 h 907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0868" h="907971">
                  <a:moveTo>
                    <a:pt x="27035" y="653069"/>
                  </a:moveTo>
                  <a:cubicBezTo>
                    <a:pt x="45134" y="746588"/>
                    <a:pt x="48151" y="855191"/>
                    <a:pt x="150721" y="891392"/>
                  </a:cubicBezTo>
                  <a:cubicBezTo>
                    <a:pt x="202006" y="909493"/>
                    <a:pt x="259324" y="909493"/>
                    <a:pt x="313627" y="906476"/>
                  </a:cubicBezTo>
                  <a:cubicBezTo>
                    <a:pt x="364911" y="903459"/>
                    <a:pt x="425246" y="903459"/>
                    <a:pt x="473515" y="882342"/>
                  </a:cubicBezTo>
                  <a:cubicBezTo>
                    <a:pt x="530833" y="858208"/>
                    <a:pt x="564017" y="803907"/>
                    <a:pt x="545917" y="743571"/>
                  </a:cubicBezTo>
                  <a:cubicBezTo>
                    <a:pt x="524800" y="677202"/>
                    <a:pt x="443347" y="644018"/>
                    <a:pt x="431280" y="577650"/>
                  </a:cubicBezTo>
                  <a:cubicBezTo>
                    <a:pt x="422229" y="529381"/>
                    <a:pt x="446364" y="484130"/>
                    <a:pt x="416196" y="438878"/>
                  </a:cubicBezTo>
                  <a:cubicBezTo>
                    <a:pt x="395079" y="405694"/>
                    <a:pt x="355861" y="390610"/>
                    <a:pt x="334743" y="360443"/>
                  </a:cubicBezTo>
                  <a:cubicBezTo>
                    <a:pt x="295526" y="309158"/>
                    <a:pt x="319660" y="242789"/>
                    <a:pt x="295526" y="185471"/>
                  </a:cubicBezTo>
                  <a:cubicBezTo>
                    <a:pt x="256308" y="91951"/>
                    <a:pt x="117537" y="-13635"/>
                    <a:pt x="8934" y="1448"/>
                  </a:cubicBezTo>
                  <a:cubicBezTo>
                    <a:pt x="-9167" y="4465"/>
                    <a:pt x="42118" y="34633"/>
                    <a:pt x="60218" y="43683"/>
                  </a:cubicBezTo>
                  <a:cubicBezTo>
                    <a:pt x="78319" y="49717"/>
                    <a:pt x="96420" y="58767"/>
                    <a:pt x="114520" y="67817"/>
                  </a:cubicBezTo>
                  <a:cubicBezTo>
                    <a:pt x="-36318" y="203571"/>
                    <a:pt x="-6150" y="478096"/>
                    <a:pt x="27035" y="653069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607CDD60-D508-497D-B9EC-ACF9EAE1E539}"/>
                </a:ext>
              </a:extLst>
            </p:cNvPr>
            <p:cNvSpPr/>
            <p:nvPr/>
          </p:nvSpPr>
          <p:spPr>
            <a:xfrm>
              <a:off x="14512490" y="8062879"/>
              <a:ext cx="513165" cy="845488"/>
            </a:xfrm>
            <a:custGeom>
              <a:avLst/>
              <a:gdLst>
                <a:gd name="connsiteX0" fmla="*/ 446412 w 513165"/>
                <a:gd name="connsiteY0" fmla="*/ 463939 h 845488"/>
                <a:gd name="connsiteX1" fmla="*/ 437362 w 513165"/>
                <a:gd name="connsiteY1" fmla="*/ 304050 h 845488"/>
                <a:gd name="connsiteX2" fmla="*/ 479596 w 513165"/>
                <a:gd name="connsiteY2" fmla="*/ 159246 h 845488"/>
                <a:gd name="connsiteX3" fmla="*/ 512781 w 513165"/>
                <a:gd name="connsiteY3" fmla="*/ 8408 h 845488"/>
                <a:gd name="connsiteX4" fmla="*/ 205071 w 513165"/>
                <a:gd name="connsiteY4" fmla="*/ 189413 h 845488"/>
                <a:gd name="connsiteX5" fmla="*/ 205071 w 513165"/>
                <a:gd name="connsiteY5" fmla="*/ 246732 h 845488"/>
                <a:gd name="connsiteX6" fmla="*/ 156803 w 513165"/>
                <a:gd name="connsiteY6" fmla="*/ 304050 h 845488"/>
                <a:gd name="connsiteX7" fmla="*/ 105518 w 513165"/>
                <a:gd name="connsiteY7" fmla="*/ 370419 h 845488"/>
                <a:gd name="connsiteX8" fmla="*/ 105518 w 513165"/>
                <a:gd name="connsiteY8" fmla="*/ 457905 h 845488"/>
                <a:gd name="connsiteX9" fmla="*/ 84400 w 513165"/>
                <a:gd name="connsiteY9" fmla="*/ 533324 h 845488"/>
                <a:gd name="connsiteX10" fmla="*/ 15015 w 513165"/>
                <a:gd name="connsiteY10" fmla="*/ 632877 h 845488"/>
                <a:gd name="connsiteX11" fmla="*/ 63284 w 513165"/>
                <a:gd name="connsiteY11" fmla="*/ 819916 h 845488"/>
                <a:gd name="connsiteX12" fmla="*/ 265406 w 513165"/>
                <a:gd name="connsiteY12" fmla="*/ 844051 h 845488"/>
                <a:gd name="connsiteX13" fmla="*/ 271440 w 513165"/>
                <a:gd name="connsiteY13" fmla="*/ 753548 h 845488"/>
                <a:gd name="connsiteX14" fmla="*/ 364960 w 513165"/>
                <a:gd name="connsiteY14" fmla="*/ 744497 h 845488"/>
                <a:gd name="connsiteX15" fmla="*/ 455462 w 513165"/>
                <a:gd name="connsiteY15" fmla="*/ 587626 h 845488"/>
                <a:gd name="connsiteX16" fmla="*/ 446412 w 513165"/>
                <a:gd name="connsiteY16" fmla="*/ 463939 h 845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13165" h="845488">
                  <a:moveTo>
                    <a:pt x="446412" y="463939"/>
                  </a:moveTo>
                  <a:cubicBezTo>
                    <a:pt x="437362" y="412654"/>
                    <a:pt x="431328" y="358352"/>
                    <a:pt x="437362" y="304050"/>
                  </a:cubicBezTo>
                  <a:cubicBezTo>
                    <a:pt x="443395" y="252765"/>
                    <a:pt x="458479" y="204497"/>
                    <a:pt x="479596" y="159246"/>
                  </a:cubicBezTo>
                  <a:cubicBezTo>
                    <a:pt x="500714" y="110978"/>
                    <a:pt x="515798" y="8408"/>
                    <a:pt x="512781" y="8408"/>
                  </a:cubicBezTo>
                  <a:cubicBezTo>
                    <a:pt x="398143" y="-27793"/>
                    <a:pt x="202054" y="56676"/>
                    <a:pt x="205071" y="189413"/>
                  </a:cubicBezTo>
                  <a:cubicBezTo>
                    <a:pt x="205071" y="210531"/>
                    <a:pt x="208088" y="228631"/>
                    <a:pt x="205071" y="246732"/>
                  </a:cubicBezTo>
                  <a:cubicBezTo>
                    <a:pt x="199038" y="276900"/>
                    <a:pt x="180937" y="288966"/>
                    <a:pt x="156803" y="304050"/>
                  </a:cubicBezTo>
                  <a:cubicBezTo>
                    <a:pt x="132669" y="322151"/>
                    <a:pt x="114568" y="343268"/>
                    <a:pt x="105518" y="370419"/>
                  </a:cubicBezTo>
                  <a:cubicBezTo>
                    <a:pt x="96467" y="400587"/>
                    <a:pt x="99484" y="427738"/>
                    <a:pt x="105518" y="457905"/>
                  </a:cubicBezTo>
                  <a:cubicBezTo>
                    <a:pt x="111551" y="488073"/>
                    <a:pt x="111551" y="512207"/>
                    <a:pt x="84400" y="533324"/>
                  </a:cubicBezTo>
                  <a:cubicBezTo>
                    <a:pt x="69317" y="548408"/>
                    <a:pt x="21048" y="614777"/>
                    <a:pt x="15015" y="632877"/>
                  </a:cubicBezTo>
                  <a:cubicBezTo>
                    <a:pt x="-24203" y="735447"/>
                    <a:pt x="21048" y="777681"/>
                    <a:pt x="63284" y="819916"/>
                  </a:cubicBezTo>
                  <a:cubicBezTo>
                    <a:pt x="120602" y="874218"/>
                    <a:pt x="205071" y="807849"/>
                    <a:pt x="265406" y="844051"/>
                  </a:cubicBezTo>
                  <a:cubicBezTo>
                    <a:pt x="289541" y="859134"/>
                    <a:pt x="241272" y="750531"/>
                    <a:pt x="271440" y="753548"/>
                  </a:cubicBezTo>
                  <a:cubicBezTo>
                    <a:pt x="298591" y="756564"/>
                    <a:pt x="337808" y="753548"/>
                    <a:pt x="364960" y="744497"/>
                  </a:cubicBezTo>
                  <a:cubicBezTo>
                    <a:pt x="416244" y="723380"/>
                    <a:pt x="446412" y="638911"/>
                    <a:pt x="455462" y="587626"/>
                  </a:cubicBezTo>
                  <a:cubicBezTo>
                    <a:pt x="464512" y="548408"/>
                    <a:pt x="452446" y="509190"/>
                    <a:pt x="446412" y="463939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04925917-E142-4DD1-A32F-8407814A88D6}"/>
                </a:ext>
              </a:extLst>
            </p:cNvPr>
            <p:cNvSpPr/>
            <p:nvPr/>
          </p:nvSpPr>
          <p:spPr>
            <a:xfrm>
              <a:off x="13602507" y="8949556"/>
              <a:ext cx="987520" cy="455743"/>
            </a:xfrm>
            <a:custGeom>
              <a:avLst/>
              <a:gdLst>
                <a:gd name="connsiteX0" fmla="*/ 798294 w 987520"/>
                <a:gd name="connsiteY0" fmla="*/ 14692 h 455743"/>
                <a:gd name="connsiteX1" fmla="*/ 433266 w 987520"/>
                <a:gd name="connsiteY1" fmla="*/ 259050 h 455743"/>
                <a:gd name="connsiteX2" fmla="*/ 22988 w 987520"/>
                <a:gd name="connsiteY2" fmla="*/ 192681 h 455743"/>
                <a:gd name="connsiteX3" fmla="*/ 16954 w 987520"/>
                <a:gd name="connsiteY3" fmla="*/ 295251 h 455743"/>
                <a:gd name="connsiteX4" fmla="*/ 442317 w 987520"/>
                <a:gd name="connsiteY4" fmla="*/ 455140 h 455743"/>
                <a:gd name="connsiteX5" fmla="*/ 958183 w 987520"/>
                <a:gd name="connsiteY5" fmla="*/ 231899 h 455743"/>
                <a:gd name="connsiteX6" fmla="*/ 798294 w 987520"/>
                <a:gd name="connsiteY6" fmla="*/ 14692 h 455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87520" h="455743">
                  <a:moveTo>
                    <a:pt x="798294" y="14692"/>
                  </a:moveTo>
                  <a:cubicBezTo>
                    <a:pt x="719858" y="56927"/>
                    <a:pt x="433266" y="259050"/>
                    <a:pt x="433266" y="259050"/>
                  </a:cubicBezTo>
                  <a:cubicBezTo>
                    <a:pt x="433266" y="259050"/>
                    <a:pt x="29020" y="186648"/>
                    <a:pt x="22988" y="192681"/>
                  </a:cubicBezTo>
                  <a:cubicBezTo>
                    <a:pt x="-19248" y="246983"/>
                    <a:pt x="7904" y="225866"/>
                    <a:pt x="16954" y="295251"/>
                  </a:cubicBezTo>
                  <a:cubicBezTo>
                    <a:pt x="16954" y="304302"/>
                    <a:pt x="194942" y="406871"/>
                    <a:pt x="442317" y="455140"/>
                  </a:cubicBezTo>
                  <a:cubicBezTo>
                    <a:pt x="508685" y="467206"/>
                    <a:pt x="825445" y="295251"/>
                    <a:pt x="958183" y="231899"/>
                  </a:cubicBezTo>
                  <a:cubicBezTo>
                    <a:pt x="1036618" y="195698"/>
                    <a:pt x="949132" y="-63744"/>
                    <a:pt x="798294" y="14692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464F1353-B917-4329-BE76-A8CCF5E470AE}"/>
                </a:ext>
              </a:extLst>
            </p:cNvPr>
            <p:cNvSpPr/>
            <p:nvPr/>
          </p:nvSpPr>
          <p:spPr>
            <a:xfrm>
              <a:off x="14361530" y="8764858"/>
              <a:ext cx="427761" cy="488998"/>
            </a:xfrm>
            <a:custGeom>
              <a:avLst/>
              <a:gdLst>
                <a:gd name="connsiteX0" fmla="*/ 190110 w 427761"/>
                <a:gd name="connsiteY0" fmla="*/ 488999 h 488998"/>
                <a:gd name="connsiteX1" fmla="*/ 425418 w 427761"/>
                <a:gd name="connsiteY1" fmla="*/ 36485 h 488998"/>
                <a:gd name="connsiteX2" fmla="*/ 54 w 427761"/>
                <a:gd name="connsiteY2" fmla="*/ 172239 h 488998"/>
                <a:gd name="connsiteX3" fmla="*/ 190110 w 427761"/>
                <a:gd name="connsiteY3" fmla="*/ 488999 h 48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761" h="488998">
                  <a:moveTo>
                    <a:pt x="190110" y="488999"/>
                  </a:moveTo>
                  <a:cubicBezTo>
                    <a:pt x="356031" y="413580"/>
                    <a:pt x="443517" y="111904"/>
                    <a:pt x="425418" y="36485"/>
                  </a:cubicBezTo>
                  <a:cubicBezTo>
                    <a:pt x="401283" y="-66085"/>
                    <a:pt x="175026" y="69669"/>
                    <a:pt x="54" y="172239"/>
                  </a:cubicBezTo>
                  <a:cubicBezTo>
                    <a:pt x="-2963" y="244641"/>
                    <a:pt x="120725" y="413580"/>
                    <a:pt x="190110" y="488999"/>
                  </a:cubicBezTo>
                  <a:close/>
                </a:path>
              </a:pathLst>
            </a:custGeom>
            <a:solidFill>
              <a:srgbClr val="F6EBE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BE8857C1-E8D3-4C14-84BF-FF3B1A33F495}"/>
                </a:ext>
              </a:extLst>
            </p:cNvPr>
            <p:cNvSpPr/>
            <p:nvPr/>
          </p:nvSpPr>
          <p:spPr>
            <a:xfrm>
              <a:off x="14588936" y="8703406"/>
              <a:ext cx="808944" cy="975903"/>
            </a:xfrm>
            <a:custGeom>
              <a:avLst/>
              <a:gdLst>
                <a:gd name="connsiteX0" fmla="*/ 765161 w 808944"/>
                <a:gd name="connsiteY0" fmla="*/ 387546 h 975903"/>
                <a:gd name="connsiteX1" fmla="*/ 750078 w 808944"/>
                <a:gd name="connsiteY1" fmla="*/ 67770 h 975903"/>
                <a:gd name="connsiteX2" fmla="*/ 385049 w 808944"/>
                <a:gd name="connsiteY2" fmla="*/ 4418 h 975903"/>
                <a:gd name="connsiteX3" fmla="*/ 89407 w 808944"/>
                <a:gd name="connsiteY3" fmla="*/ 103971 h 975903"/>
                <a:gd name="connsiteX4" fmla="*/ 50189 w 808944"/>
                <a:gd name="connsiteY4" fmla="*/ 646988 h 975903"/>
                <a:gd name="connsiteX5" fmla="*/ 92424 w 808944"/>
                <a:gd name="connsiteY5" fmla="*/ 969781 h 975903"/>
                <a:gd name="connsiteX6" fmla="*/ 762144 w 808944"/>
                <a:gd name="connsiteY6" fmla="*/ 954697 h 975903"/>
                <a:gd name="connsiteX7" fmla="*/ 765161 w 808944"/>
                <a:gd name="connsiteY7" fmla="*/ 387546 h 97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8944" h="975903">
                  <a:moveTo>
                    <a:pt x="765161" y="387546"/>
                  </a:moveTo>
                  <a:cubicBezTo>
                    <a:pt x="774211" y="357379"/>
                    <a:pt x="867731" y="131122"/>
                    <a:pt x="750078" y="67770"/>
                  </a:cubicBezTo>
                  <a:cubicBezTo>
                    <a:pt x="647508" y="13468"/>
                    <a:pt x="502703" y="-10666"/>
                    <a:pt x="385049" y="4418"/>
                  </a:cubicBezTo>
                  <a:cubicBezTo>
                    <a:pt x="255329" y="19501"/>
                    <a:pt x="125608" y="40619"/>
                    <a:pt x="89407" y="103971"/>
                  </a:cubicBezTo>
                  <a:cubicBezTo>
                    <a:pt x="-22213" y="287993"/>
                    <a:pt x="-22213" y="450898"/>
                    <a:pt x="50189" y="646988"/>
                  </a:cubicBezTo>
                  <a:cubicBezTo>
                    <a:pt x="71307" y="704306"/>
                    <a:pt x="77340" y="837044"/>
                    <a:pt x="92424" y="969781"/>
                  </a:cubicBezTo>
                  <a:cubicBezTo>
                    <a:pt x="92424" y="969781"/>
                    <a:pt x="372983" y="990899"/>
                    <a:pt x="762144" y="954697"/>
                  </a:cubicBezTo>
                  <a:cubicBezTo>
                    <a:pt x="731977" y="737490"/>
                    <a:pt x="759127" y="411680"/>
                    <a:pt x="765161" y="387546"/>
                  </a:cubicBezTo>
                  <a:close/>
                </a:path>
              </a:pathLst>
            </a:custGeom>
            <a:solidFill>
              <a:srgbClr val="F6EBE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429E4734-1AA2-441F-8C8F-A1E408C4A2E6}"/>
                </a:ext>
              </a:extLst>
            </p:cNvPr>
            <p:cNvSpPr/>
            <p:nvPr/>
          </p:nvSpPr>
          <p:spPr>
            <a:xfrm>
              <a:off x="14865382" y="8526818"/>
              <a:ext cx="307709" cy="322793"/>
            </a:xfrm>
            <a:custGeom>
              <a:avLst/>
              <a:gdLst>
                <a:gd name="connsiteX0" fmla="*/ 54302 w 307709"/>
                <a:gd name="connsiteY0" fmla="*/ 60335 h 322793"/>
                <a:gd name="connsiteX1" fmla="*/ 0 w 307709"/>
                <a:gd name="connsiteY1" fmla="*/ 199106 h 322793"/>
                <a:gd name="connsiteX2" fmla="*/ 114637 w 307709"/>
                <a:gd name="connsiteY2" fmla="*/ 322793 h 322793"/>
                <a:gd name="connsiteX3" fmla="*/ 307710 w 307709"/>
                <a:gd name="connsiteY3" fmla="*/ 184023 h 322793"/>
                <a:gd name="connsiteX4" fmla="*/ 256425 w 307709"/>
                <a:gd name="connsiteY4" fmla="*/ 0 h 322793"/>
                <a:gd name="connsiteX5" fmla="*/ 54302 w 307709"/>
                <a:gd name="connsiteY5" fmla="*/ 60335 h 322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709" h="322793">
                  <a:moveTo>
                    <a:pt x="54302" y="60335"/>
                  </a:moveTo>
                  <a:cubicBezTo>
                    <a:pt x="54302" y="60335"/>
                    <a:pt x="60335" y="168939"/>
                    <a:pt x="0" y="199106"/>
                  </a:cubicBezTo>
                  <a:lnTo>
                    <a:pt x="114637" y="322793"/>
                  </a:lnTo>
                  <a:cubicBezTo>
                    <a:pt x="114637" y="322793"/>
                    <a:pt x="253409" y="214190"/>
                    <a:pt x="307710" y="184023"/>
                  </a:cubicBezTo>
                  <a:cubicBezTo>
                    <a:pt x="253409" y="141788"/>
                    <a:pt x="256425" y="60335"/>
                    <a:pt x="256425" y="0"/>
                  </a:cubicBezTo>
                  <a:cubicBezTo>
                    <a:pt x="256425" y="0"/>
                    <a:pt x="108604" y="66369"/>
                    <a:pt x="54302" y="60335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4134323F-5FDB-4330-84CA-226173876F64}"/>
                </a:ext>
              </a:extLst>
            </p:cNvPr>
            <p:cNvSpPr/>
            <p:nvPr/>
          </p:nvSpPr>
          <p:spPr>
            <a:xfrm>
              <a:off x="14587023" y="8804360"/>
              <a:ext cx="100371" cy="549050"/>
            </a:xfrm>
            <a:custGeom>
              <a:avLst/>
              <a:gdLst>
                <a:gd name="connsiteX0" fmla="*/ 55120 w 100371"/>
                <a:gd name="connsiteY0" fmla="*/ 549050 h 549050"/>
                <a:gd name="connsiteX1" fmla="*/ 49087 w 100371"/>
                <a:gd name="connsiteY1" fmla="*/ 546034 h 549050"/>
                <a:gd name="connsiteX2" fmla="*/ 34003 w 100371"/>
                <a:gd name="connsiteY2" fmla="*/ 491732 h 549050"/>
                <a:gd name="connsiteX3" fmla="*/ 818 w 100371"/>
                <a:gd name="connsiteY3" fmla="*/ 343911 h 549050"/>
                <a:gd name="connsiteX4" fmla="*/ 88304 w 100371"/>
                <a:gd name="connsiteY4" fmla="*/ 3017 h 549050"/>
                <a:gd name="connsiteX5" fmla="*/ 97354 w 100371"/>
                <a:gd name="connsiteY5" fmla="*/ 0 h 549050"/>
                <a:gd name="connsiteX6" fmla="*/ 100371 w 100371"/>
                <a:gd name="connsiteY6" fmla="*/ 9050 h 549050"/>
                <a:gd name="connsiteX7" fmla="*/ 12885 w 100371"/>
                <a:gd name="connsiteY7" fmla="*/ 343911 h 549050"/>
                <a:gd name="connsiteX8" fmla="*/ 46070 w 100371"/>
                <a:gd name="connsiteY8" fmla="*/ 491732 h 549050"/>
                <a:gd name="connsiteX9" fmla="*/ 61154 w 100371"/>
                <a:gd name="connsiteY9" fmla="*/ 546034 h 549050"/>
                <a:gd name="connsiteX10" fmla="*/ 55120 w 100371"/>
                <a:gd name="connsiteY10" fmla="*/ 549050 h 549050"/>
                <a:gd name="connsiteX11" fmla="*/ 55120 w 100371"/>
                <a:gd name="connsiteY11" fmla="*/ 549050 h 54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371" h="549050">
                  <a:moveTo>
                    <a:pt x="55120" y="549050"/>
                  </a:moveTo>
                  <a:cubicBezTo>
                    <a:pt x="52103" y="549050"/>
                    <a:pt x="49087" y="546034"/>
                    <a:pt x="49087" y="546034"/>
                  </a:cubicBezTo>
                  <a:cubicBezTo>
                    <a:pt x="43053" y="527933"/>
                    <a:pt x="40036" y="509833"/>
                    <a:pt x="34003" y="491732"/>
                  </a:cubicBezTo>
                  <a:cubicBezTo>
                    <a:pt x="18919" y="440447"/>
                    <a:pt x="3835" y="389162"/>
                    <a:pt x="818" y="343911"/>
                  </a:cubicBezTo>
                  <a:cubicBezTo>
                    <a:pt x="-5216" y="220224"/>
                    <a:pt x="21935" y="105587"/>
                    <a:pt x="88304" y="3017"/>
                  </a:cubicBezTo>
                  <a:cubicBezTo>
                    <a:pt x="91321" y="0"/>
                    <a:pt x="94338" y="0"/>
                    <a:pt x="97354" y="0"/>
                  </a:cubicBezTo>
                  <a:cubicBezTo>
                    <a:pt x="100371" y="3017"/>
                    <a:pt x="100371" y="6033"/>
                    <a:pt x="100371" y="9050"/>
                  </a:cubicBezTo>
                  <a:cubicBezTo>
                    <a:pt x="37019" y="111620"/>
                    <a:pt x="6851" y="223241"/>
                    <a:pt x="12885" y="343911"/>
                  </a:cubicBezTo>
                  <a:cubicBezTo>
                    <a:pt x="15902" y="389162"/>
                    <a:pt x="30986" y="440447"/>
                    <a:pt x="46070" y="491732"/>
                  </a:cubicBezTo>
                  <a:cubicBezTo>
                    <a:pt x="52103" y="509833"/>
                    <a:pt x="58137" y="527933"/>
                    <a:pt x="61154" y="546034"/>
                  </a:cubicBezTo>
                  <a:cubicBezTo>
                    <a:pt x="61154" y="546034"/>
                    <a:pt x="58137" y="549050"/>
                    <a:pt x="55120" y="549050"/>
                  </a:cubicBezTo>
                  <a:cubicBezTo>
                    <a:pt x="55120" y="549050"/>
                    <a:pt x="55120" y="549050"/>
                    <a:pt x="55120" y="549050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6165A512-F640-4F05-92B0-9E301364DF22}"/>
                </a:ext>
              </a:extLst>
            </p:cNvPr>
            <p:cNvSpPr/>
            <p:nvPr/>
          </p:nvSpPr>
          <p:spPr>
            <a:xfrm>
              <a:off x="14705494" y="9238965"/>
              <a:ext cx="396445" cy="36009"/>
            </a:xfrm>
            <a:custGeom>
              <a:avLst/>
              <a:gdLst>
                <a:gd name="connsiteX0" fmla="*/ 6034 w 396445"/>
                <a:gd name="connsiteY0" fmla="*/ 36009 h 36009"/>
                <a:gd name="connsiteX1" fmla="*/ 0 w 396445"/>
                <a:gd name="connsiteY1" fmla="*/ 32992 h 36009"/>
                <a:gd name="connsiteX2" fmla="*/ 3017 w 396445"/>
                <a:gd name="connsiteY2" fmla="*/ 26959 h 36009"/>
                <a:gd name="connsiteX3" fmla="*/ 392179 w 396445"/>
                <a:gd name="connsiteY3" fmla="*/ 14892 h 36009"/>
                <a:gd name="connsiteX4" fmla="*/ 395196 w 396445"/>
                <a:gd name="connsiteY4" fmla="*/ 20925 h 36009"/>
                <a:gd name="connsiteX5" fmla="*/ 389162 w 396445"/>
                <a:gd name="connsiteY5" fmla="*/ 23942 h 36009"/>
                <a:gd name="connsiteX6" fmla="*/ 6034 w 396445"/>
                <a:gd name="connsiteY6" fmla="*/ 36009 h 36009"/>
                <a:gd name="connsiteX7" fmla="*/ 6034 w 396445"/>
                <a:gd name="connsiteY7" fmla="*/ 36009 h 36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6445" h="36009">
                  <a:moveTo>
                    <a:pt x="6034" y="36009"/>
                  </a:moveTo>
                  <a:cubicBezTo>
                    <a:pt x="3017" y="36009"/>
                    <a:pt x="3017" y="36009"/>
                    <a:pt x="0" y="32992"/>
                  </a:cubicBezTo>
                  <a:cubicBezTo>
                    <a:pt x="0" y="29976"/>
                    <a:pt x="0" y="26959"/>
                    <a:pt x="3017" y="26959"/>
                  </a:cubicBezTo>
                  <a:cubicBezTo>
                    <a:pt x="87486" y="-3209"/>
                    <a:pt x="292626" y="-9242"/>
                    <a:pt x="392179" y="14892"/>
                  </a:cubicBezTo>
                  <a:cubicBezTo>
                    <a:pt x="395196" y="14892"/>
                    <a:pt x="398213" y="17908"/>
                    <a:pt x="395196" y="20925"/>
                  </a:cubicBezTo>
                  <a:cubicBezTo>
                    <a:pt x="395196" y="23942"/>
                    <a:pt x="392179" y="26959"/>
                    <a:pt x="389162" y="23942"/>
                  </a:cubicBezTo>
                  <a:cubicBezTo>
                    <a:pt x="295642" y="-192"/>
                    <a:pt x="90503" y="5842"/>
                    <a:pt x="6034" y="36009"/>
                  </a:cubicBezTo>
                  <a:cubicBezTo>
                    <a:pt x="9050" y="36009"/>
                    <a:pt x="6034" y="36009"/>
                    <a:pt x="6034" y="36009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C80D7841-03DF-48C3-BF54-778C14991834}"/>
                </a:ext>
              </a:extLst>
            </p:cNvPr>
            <p:cNvSpPr/>
            <p:nvPr/>
          </p:nvSpPr>
          <p:spPr>
            <a:xfrm>
              <a:off x="14841249" y="8713857"/>
              <a:ext cx="355977" cy="153854"/>
            </a:xfrm>
            <a:custGeom>
              <a:avLst/>
              <a:gdLst>
                <a:gd name="connsiteX0" fmla="*/ 36201 w 355977"/>
                <a:gd name="connsiteY0" fmla="*/ 6033 h 153854"/>
                <a:gd name="connsiteX1" fmla="*/ 138771 w 355977"/>
                <a:gd name="connsiteY1" fmla="*/ 120670 h 153854"/>
                <a:gd name="connsiteX2" fmla="*/ 331844 w 355977"/>
                <a:gd name="connsiteY2" fmla="*/ 0 h 153854"/>
                <a:gd name="connsiteX3" fmla="*/ 355977 w 355977"/>
                <a:gd name="connsiteY3" fmla="*/ 9050 h 153854"/>
                <a:gd name="connsiteX4" fmla="*/ 135754 w 355977"/>
                <a:gd name="connsiteY4" fmla="*/ 153855 h 153854"/>
                <a:gd name="connsiteX5" fmla="*/ 0 w 355977"/>
                <a:gd name="connsiteY5" fmla="*/ 15084 h 153854"/>
                <a:gd name="connsiteX6" fmla="*/ 36201 w 355977"/>
                <a:gd name="connsiteY6" fmla="*/ 6033 h 153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977" h="153854">
                  <a:moveTo>
                    <a:pt x="36201" y="6033"/>
                  </a:moveTo>
                  <a:lnTo>
                    <a:pt x="138771" y="120670"/>
                  </a:lnTo>
                  <a:cubicBezTo>
                    <a:pt x="138771" y="120670"/>
                    <a:pt x="268491" y="21117"/>
                    <a:pt x="331844" y="0"/>
                  </a:cubicBezTo>
                  <a:lnTo>
                    <a:pt x="355977" y="9050"/>
                  </a:lnTo>
                  <a:lnTo>
                    <a:pt x="135754" y="153855"/>
                  </a:lnTo>
                  <a:lnTo>
                    <a:pt x="0" y="15084"/>
                  </a:lnTo>
                  <a:cubicBezTo>
                    <a:pt x="0" y="12067"/>
                    <a:pt x="15084" y="6033"/>
                    <a:pt x="36201" y="6033"/>
                  </a:cubicBezTo>
                  <a:close/>
                </a:path>
              </a:pathLst>
            </a:custGeom>
            <a:solidFill>
              <a:srgbClr val="D16156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C97C845F-D234-43E3-AE12-ACA664FD402A}"/>
                </a:ext>
              </a:extLst>
            </p:cNvPr>
            <p:cNvSpPr/>
            <p:nvPr/>
          </p:nvSpPr>
          <p:spPr>
            <a:xfrm>
              <a:off x="13383351" y="9007991"/>
              <a:ext cx="315449" cy="256565"/>
            </a:xfrm>
            <a:custGeom>
              <a:avLst/>
              <a:gdLst>
                <a:gd name="connsiteX0" fmla="*/ 58121 w 315449"/>
                <a:gd name="connsiteY0" fmla="*/ 173464 h 256565"/>
                <a:gd name="connsiteX1" fmla="*/ 121473 w 315449"/>
                <a:gd name="connsiteY1" fmla="*/ 212682 h 256565"/>
                <a:gd name="connsiteX2" fmla="*/ 230076 w 315449"/>
                <a:gd name="connsiteY2" fmla="*/ 254916 h 256565"/>
                <a:gd name="connsiteX3" fmla="*/ 314545 w 315449"/>
                <a:gd name="connsiteY3" fmla="*/ 185531 h 256565"/>
                <a:gd name="connsiteX4" fmla="*/ 97338 w 315449"/>
                <a:gd name="connsiteY4" fmla="*/ 4525 h 256565"/>
                <a:gd name="connsiteX5" fmla="*/ 67171 w 315449"/>
                <a:gd name="connsiteY5" fmla="*/ 13575 h 256565"/>
                <a:gd name="connsiteX6" fmla="*/ 97338 w 315449"/>
                <a:gd name="connsiteY6" fmla="*/ 46760 h 256565"/>
                <a:gd name="connsiteX7" fmla="*/ 136557 w 315449"/>
                <a:gd name="connsiteY7" fmla="*/ 85978 h 256565"/>
                <a:gd name="connsiteX8" fmla="*/ 70188 w 315449"/>
                <a:gd name="connsiteY8" fmla="*/ 52793 h 256565"/>
                <a:gd name="connsiteX9" fmla="*/ 21919 w 315449"/>
                <a:gd name="connsiteY9" fmla="*/ 31676 h 256565"/>
                <a:gd name="connsiteX10" fmla="*/ 803 w 315449"/>
                <a:gd name="connsiteY10" fmla="*/ 46760 h 256565"/>
                <a:gd name="connsiteX11" fmla="*/ 9852 w 315449"/>
                <a:gd name="connsiteY11" fmla="*/ 76927 h 256565"/>
                <a:gd name="connsiteX12" fmla="*/ 6836 w 315449"/>
                <a:gd name="connsiteY12" fmla="*/ 76927 h 256565"/>
                <a:gd name="connsiteX13" fmla="*/ 3819 w 315449"/>
                <a:gd name="connsiteY13" fmla="*/ 79944 h 256565"/>
                <a:gd name="connsiteX14" fmla="*/ 30970 w 315449"/>
                <a:gd name="connsiteY14" fmla="*/ 116145 h 256565"/>
                <a:gd name="connsiteX15" fmla="*/ 52087 w 315449"/>
                <a:gd name="connsiteY15" fmla="*/ 128212 h 256565"/>
                <a:gd name="connsiteX16" fmla="*/ 46054 w 315449"/>
                <a:gd name="connsiteY16" fmla="*/ 128212 h 256565"/>
                <a:gd name="connsiteX17" fmla="*/ 30970 w 315449"/>
                <a:gd name="connsiteY17" fmla="*/ 140280 h 256565"/>
                <a:gd name="connsiteX18" fmla="*/ 58121 w 315449"/>
                <a:gd name="connsiteY18" fmla="*/ 173464 h 256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15449" h="256565">
                  <a:moveTo>
                    <a:pt x="58121" y="173464"/>
                  </a:moveTo>
                  <a:cubicBezTo>
                    <a:pt x="79238" y="185531"/>
                    <a:pt x="100355" y="200615"/>
                    <a:pt x="121473" y="212682"/>
                  </a:cubicBezTo>
                  <a:cubicBezTo>
                    <a:pt x="154657" y="233799"/>
                    <a:pt x="187841" y="263966"/>
                    <a:pt x="230076" y="254916"/>
                  </a:cubicBezTo>
                  <a:cubicBezTo>
                    <a:pt x="257227" y="248883"/>
                    <a:pt x="314545" y="188547"/>
                    <a:pt x="314545" y="185531"/>
                  </a:cubicBezTo>
                  <a:cubicBezTo>
                    <a:pt x="329629" y="110112"/>
                    <a:pt x="151641" y="28659"/>
                    <a:pt x="97338" y="4525"/>
                  </a:cubicBezTo>
                  <a:cubicBezTo>
                    <a:pt x="88288" y="1508"/>
                    <a:pt x="61138" y="-7542"/>
                    <a:pt x="67171" y="13575"/>
                  </a:cubicBezTo>
                  <a:cubicBezTo>
                    <a:pt x="70188" y="25643"/>
                    <a:pt x="88288" y="37709"/>
                    <a:pt x="97338" y="46760"/>
                  </a:cubicBezTo>
                  <a:cubicBezTo>
                    <a:pt x="109405" y="58827"/>
                    <a:pt x="124489" y="73910"/>
                    <a:pt x="136557" y="85978"/>
                  </a:cubicBezTo>
                  <a:cubicBezTo>
                    <a:pt x="115439" y="73910"/>
                    <a:pt x="94321" y="64861"/>
                    <a:pt x="70188" y="52793"/>
                  </a:cubicBezTo>
                  <a:cubicBezTo>
                    <a:pt x="55104" y="46760"/>
                    <a:pt x="40020" y="31676"/>
                    <a:pt x="21919" y="31676"/>
                  </a:cubicBezTo>
                  <a:cubicBezTo>
                    <a:pt x="9852" y="31676"/>
                    <a:pt x="3819" y="37709"/>
                    <a:pt x="803" y="46760"/>
                  </a:cubicBezTo>
                  <a:cubicBezTo>
                    <a:pt x="-2214" y="58827"/>
                    <a:pt x="3819" y="67877"/>
                    <a:pt x="9852" y="76927"/>
                  </a:cubicBezTo>
                  <a:cubicBezTo>
                    <a:pt x="9852" y="76927"/>
                    <a:pt x="6836" y="76927"/>
                    <a:pt x="6836" y="76927"/>
                  </a:cubicBezTo>
                  <a:cubicBezTo>
                    <a:pt x="3819" y="76927"/>
                    <a:pt x="3819" y="79944"/>
                    <a:pt x="3819" y="79944"/>
                  </a:cubicBezTo>
                  <a:cubicBezTo>
                    <a:pt x="6836" y="98045"/>
                    <a:pt x="15886" y="107095"/>
                    <a:pt x="30970" y="116145"/>
                  </a:cubicBezTo>
                  <a:cubicBezTo>
                    <a:pt x="37003" y="119162"/>
                    <a:pt x="46054" y="125196"/>
                    <a:pt x="52087" y="128212"/>
                  </a:cubicBezTo>
                  <a:cubicBezTo>
                    <a:pt x="49070" y="128212"/>
                    <a:pt x="49070" y="128212"/>
                    <a:pt x="46054" y="128212"/>
                  </a:cubicBezTo>
                  <a:cubicBezTo>
                    <a:pt x="37003" y="128212"/>
                    <a:pt x="30970" y="131229"/>
                    <a:pt x="30970" y="140280"/>
                  </a:cubicBezTo>
                  <a:cubicBezTo>
                    <a:pt x="30970" y="158380"/>
                    <a:pt x="46054" y="167430"/>
                    <a:pt x="58121" y="173464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4" name="图形 1">
              <a:extLst>
                <a:ext uri="{FF2B5EF4-FFF2-40B4-BE49-F238E27FC236}">
                  <a16:creationId xmlns:a16="http://schemas.microsoft.com/office/drawing/2014/main" id="{5BF70194-0845-4C46-84B6-762F0383D308}"/>
                </a:ext>
              </a:extLst>
            </p:cNvPr>
            <p:cNvGrpSpPr/>
            <p:nvPr/>
          </p:nvGrpSpPr>
          <p:grpSpPr>
            <a:xfrm>
              <a:off x="13513874" y="9079485"/>
              <a:ext cx="153100" cy="126104"/>
              <a:chOff x="13513874" y="9079485"/>
              <a:chExt cx="153100" cy="126104"/>
            </a:xfrm>
          </p:grpSpPr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E08DCD3E-6CF3-4D50-A292-E89DA39F467D}"/>
                  </a:ext>
                </a:extLst>
              </p:cNvPr>
              <p:cNvSpPr/>
              <p:nvPr/>
            </p:nvSpPr>
            <p:spPr>
              <a:xfrm>
                <a:off x="13520902" y="9086291"/>
                <a:ext cx="143628" cy="116395"/>
              </a:xfrm>
              <a:custGeom>
                <a:avLst/>
                <a:gdLst>
                  <a:gd name="connsiteX0" fmla="*/ 2022 w 143628"/>
                  <a:gd name="connsiteY0" fmla="*/ 58962 h 116395"/>
                  <a:gd name="connsiteX1" fmla="*/ 29174 w 143628"/>
                  <a:gd name="connsiteY1" fmla="*/ 55945 h 116395"/>
                  <a:gd name="connsiteX2" fmla="*/ 86492 w 143628"/>
                  <a:gd name="connsiteY2" fmla="*/ 68013 h 116395"/>
                  <a:gd name="connsiteX3" fmla="*/ 119676 w 143628"/>
                  <a:gd name="connsiteY3" fmla="*/ 116280 h 116395"/>
                  <a:gd name="connsiteX4" fmla="*/ 140793 w 143628"/>
                  <a:gd name="connsiteY4" fmla="*/ 46895 h 116395"/>
                  <a:gd name="connsiteX5" fmla="*/ 50290 w 143628"/>
                  <a:gd name="connsiteY5" fmla="*/ 1644 h 116395"/>
                  <a:gd name="connsiteX6" fmla="*/ 2022 w 143628"/>
                  <a:gd name="connsiteY6" fmla="*/ 58962 h 116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3628" h="116395">
                    <a:moveTo>
                      <a:pt x="2022" y="58962"/>
                    </a:moveTo>
                    <a:cubicBezTo>
                      <a:pt x="8056" y="68013"/>
                      <a:pt x="20123" y="55945"/>
                      <a:pt x="29174" y="55945"/>
                    </a:cubicBezTo>
                    <a:cubicBezTo>
                      <a:pt x="50290" y="52929"/>
                      <a:pt x="68391" y="52929"/>
                      <a:pt x="86492" y="68013"/>
                    </a:cubicBezTo>
                    <a:cubicBezTo>
                      <a:pt x="95542" y="77063"/>
                      <a:pt x="110626" y="104214"/>
                      <a:pt x="119676" y="116280"/>
                    </a:cubicBezTo>
                    <a:cubicBezTo>
                      <a:pt x="122692" y="119297"/>
                      <a:pt x="152860" y="61979"/>
                      <a:pt x="140793" y="46895"/>
                    </a:cubicBezTo>
                    <a:cubicBezTo>
                      <a:pt x="125709" y="22761"/>
                      <a:pt x="83475" y="-7406"/>
                      <a:pt x="50290" y="1644"/>
                    </a:cubicBezTo>
                    <a:cubicBezTo>
                      <a:pt x="35207" y="4660"/>
                      <a:pt x="-10045" y="37845"/>
                      <a:pt x="2022" y="5896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E8B45A7B-26C9-49D4-A624-A33A9FF89F03}"/>
                  </a:ext>
                </a:extLst>
              </p:cNvPr>
              <p:cNvSpPr/>
              <p:nvPr/>
            </p:nvSpPr>
            <p:spPr>
              <a:xfrm>
                <a:off x="13513874" y="9079485"/>
                <a:ext cx="153100" cy="126104"/>
              </a:xfrm>
              <a:custGeom>
                <a:avLst/>
                <a:gdLst>
                  <a:gd name="connsiteX0" fmla="*/ 93520 w 153100"/>
                  <a:gd name="connsiteY0" fmla="*/ 126104 h 126104"/>
                  <a:gd name="connsiteX1" fmla="*/ 87486 w 153100"/>
                  <a:gd name="connsiteY1" fmla="*/ 123087 h 126104"/>
                  <a:gd name="connsiteX2" fmla="*/ 84469 w 153100"/>
                  <a:gd name="connsiteY2" fmla="*/ 77836 h 126104"/>
                  <a:gd name="connsiteX3" fmla="*/ 33185 w 153100"/>
                  <a:gd name="connsiteY3" fmla="*/ 71802 h 126104"/>
                  <a:gd name="connsiteX4" fmla="*/ 6034 w 153100"/>
                  <a:gd name="connsiteY4" fmla="*/ 71802 h 126104"/>
                  <a:gd name="connsiteX5" fmla="*/ 0 w 153100"/>
                  <a:gd name="connsiteY5" fmla="*/ 53702 h 126104"/>
                  <a:gd name="connsiteX6" fmla="*/ 54301 w 153100"/>
                  <a:gd name="connsiteY6" fmla="*/ 2417 h 126104"/>
                  <a:gd name="connsiteX7" fmla="*/ 150838 w 153100"/>
                  <a:gd name="connsiteY7" fmla="*/ 50685 h 126104"/>
                  <a:gd name="connsiteX8" fmla="*/ 150838 w 153100"/>
                  <a:gd name="connsiteY8" fmla="*/ 59735 h 126104"/>
                  <a:gd name="connsiteX9" fmla="*/ 141788 w 153100"/>
                  <a:gd name="connsiteY9" fmla="*/ 59735 h 126104"/>
                  <a:gd name="connsiteX10" fmla="*/ 60335 w 153100"/>
                  <a:gd name="connsiteY10" fmla="*/ 14484 h 126104"/>
                  <a:gd name="connsiteX11" fmla="*/ 12067 w 153100"/>
                  <a:gd name="connsiteY11" fmla="*/ 56719 h 126104"/>
                  <a:gd name="connsiteX12" fmla="*/ 12067 w 153100"/>
                  <a:gd name="connsiteY12" fmla="*/ 62752 h 126104"/>
                  <a:gd name="connsiteX13" fmla="*/ 30168 w 153100"/>
                  <a:gd name="connsiteY13" fmla="*/ 59735 h 126104"/>
                  <a:gd name="connsiteX14" fmla="*/ 96537 w 153100"/>
                  <a:gd name="connsiteY14" fmla="*/ 71802 h 126104"/>
                  <a:gd name="connsiteX15" fmla="*/ 99553 w 153100"/>
                  <a:gd name="connsiteY15" fmla="*/ 77836 h 126104"/>
                  <a:gd name="connsiteX16" fmla="*/ 99553 w 153100"/>
                  <a:gd name="connsiteY16" fmla="*/ 117054 h 126104"/>
                  <a:gd name="connsiteX17" fmla="*/ 96537 w 153100"/>
                  <a:gd name="connsiteY17" fmla="*/ 126104 h 126104"/>
                  <a:gd name="connsiteX18" fmla="*/ 93520 w 153100"/>
                  <a:gd name="connsiteY18" fmla="*/ 126104 h 12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53100" h="126104">
                    <a:moveTo>
                      <a:pt x="93520" y="126104"/>
                    </a:moveTo>
                    <a:cubicBezTo>
                      <a:pt x="90503" y="126104"/>
                      <a:pt x="90503" y="126104"/>
                      <a:pt x="87486" y="123087"/>
                    </a:cubicBezTo>
                    <a:cubicBezTo>
                      <a:pt x="78436" y="108003"/>
                      <a:pt x="81453" y="86886"/>
                      <a:pt x="84469" y="77836"/>
                    </a:cubicBezTo>
                    <a:cubicBezTo>
                      <a:pt x="66369" y="62752"/>
                      <a:pt x="48268" y="68786"/>
                      <a:pt x="33185" y="71802"/>
                    </a:cubicBezTo>
                    <a:cubicBezTo>
                      <a:pt x="21118" y="74819"/>
                      <a:pt x="12067" y="77836"/>
                      <a:pt x="6034" y="71802"/>
                    </a:cubicBezTo>
                    <a:cubicBezTo>
                      <a:pt x="0" y="68786"/>
                      <a:pt x="0" y="62752"/>
                      <a:pt x="0" y="53702"/>
                    </a:cubicBezTo>
                    <a:cubicBezTo>
                      <a:pt x="3017" y="38618"/>
                      <a:pt x="24134" y="14484"/>
                      <a:pt x="54301" y="2417"/>
                    </a:cubicBezTo>
                    <a:cubicBezTo>
                      <a:pt x="96537" y="-12667"/>
                      <a:pt x="147821" y="47668"/>
                      <a:pt x="150838" y="50685"/>
                    </a:cubicBezTo>
                    <a:cubicBezTo>
                      <a:pt x="153855" y="53702"/>
                      <a:pt x="153855" y="56719"/>
                      <a:pt x="150838" y="59735"/>
                    </a:cubicBezTo>
                    <a:cubicBezTo>
                      <a:pt x="147821" y="62752"/>
                      <a:pt x="144804" y="62752"/>
                      <a:pt x="141788" y="59735"/>
                    </a:cubicBezTo>
                    <a:cubicBezTo>
                      <a:pt x="141788" y="59735"/>
                      <a:pt x="93520" y="2417"/>
                      <a:pt x="60335" y="14484"/>
                    </a:cubicBezTo>
                    <a:cubicBezTo>
                      <a:pt x="33185" y="23534"/>
                      <a:pt x="15084" y="44652"/>
                      <a:pt x="12067" y="56719"/>
                    </a:cubicBezTo>
                    <a:cubicBezTo>
                      <a:pt x="12067" y="59735"/>
                      <a:pt x="12067" y="62752"/>
                      <a:pt x="12067" y="62752"/>
                    </a:cubicBezTo>
                    <a:cubicBezTo>
                      <a:pt x="15084" y="65769"/>
                      <a:pt x="21118" y="62752"/>
                      <a:pt x="30168" y="59735"/>
                    </a:cubicBezTo>
                    <a:cubicBezTo>
                      <a:pt x="48268" y="56719"/>
                      <a:pt x="72402" y="50685"/>
                      <a:pt x="96537" y="71802"/>
                    </a:cubicBezTo>
                    <a:cubicBezTo>
                      <a:pt x="99553" y="74819"/>
                      <a:pt x="99553" y="74819"/>
                      <a:pt x="99553" y="77836"/>
                    </a:cubicBezTo>
                    <a:cubicBezTo>
                      <a:pt x="96537" y="83870"/>
                      <a:pt x="93520" y="104987"/>
                      <a:pt x="99553" y="117054"/>
                    </a:cubicBezTo>
                    <a:cubicBezTo>
                      <a:pt x="102570" y="120071"/>
                      <a:pt x="99553" y="123087"/>
                      <a:pt x="96537" y="126104"/>
                    </a:cubicBezTo>
                    <a:cubicBezTo>
                      <a:pt x="96537" y="126104"/>
                      <a:pt x="96537" y="126104"/>
                      <a:pt x="93520" y="12610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001A8D5F-2269-4199-A675-C9176C81A1B7}"/>
                </a:ext>
              </a:extLst>
            </p:cNvPr>
            <p:cNvSpPr/>
            <p:nvPr/>
          </p:nvSpPr>
          <p:spPr>
            <a:xfrm>
              <a:off x="14786847" y="8109645"/>
              <a:ext cx="412120" cy="562053"/>
            </a:xfrm>
            <a:custGeom>
              <a:avLst/>
              <a:gdLst>
                <a:gd name="connsiteX0" fmla="*/ 3116 w 412120"/>
                <a:gd name="connsiteY0" fmla="*/ 184882 h 562053"/>
                <a:gd name="connsiteX1" fmla="*/ 24234 w 412120"/>
                <a:gd name="connsiteY1" fmla="*/ 438290 h 562053"/>
                <a:gd name="connsiteX2" fmla="*/ 175072 w 412120"/>
                <a:gd name="connsiteY2" fmla="*/ 561977 h 562053"/>
                <a:gd name="connsiteX3" fmla="*/ 383228 w 412120"/>
                <a:gd name="connsiteY3" fmla="*/ 411139 h 562053"/>
                <a:gd name="connsiteX4" fmla="*/ 410379 w 412120"/>
                <a:gd name="connsiteY4" fmla="*/ 187899 h 562053"/>
                <a:gd name="connsiteX5" fmla="*/ 190156 w 412120"/>
                <a:gd name="connsiteY5" fmla="*/ 860 h 562053"/>
                <a:gd name="connsiteX6" fmla="*/ 3116 w 412120"/>
                <a:gd name="connsiteY6" fmla="*/ 184882 h 5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120" h="562053">
                  <a:moveTo>
                    <a:pt x="3116" y="184882"/>
                  </a:moveTo>
                  <a:cubicBezTo>
                    <a:pt x="3116" y="184882"/>
                    <a:pt x="-11967" y="371921"/>
                    <a:pt x="24234" y="438290"/>
                  </a:cubicBezTo>
                  <a:cubicBezTo>
                    <a:pt x="63452" y="504658"/>
                    <a:pt x="126804" y="558960"/>
                    <a:pt x="175072" y="561977"/>
                  </a:cubicBezTo>
                  <a:cubicBezTo>
                    <a:pt x="241441" y="564994"/>
                    <a:pt x="350044" y="477508"/>
                    <a:pt x="383228" y="411139"/>
                  </a:cubicBezTo>
                  <a:cubicBezTo>
                    <a:pt x="416413" y="344771"/>
                    <a:pt x="413396" y="236167"/>
                    <a:pt x="410379" y="187899"/>
                  </a:cubicBezTo>
                  <a:cubicBezTo>
                    <a:pt x="404346" y="94379"/>
                    <a:pt x="374178" y="18960"/>
                    <a:pt x="190156" y="860"/>
                  </a:cubicBezTo>
                  <a:cubicBezTo>
                    <a:pt x="108703" y="-11207"/>
                    <a:pt x="18200" y="106446"/>
                    <a:pt x="3116" y="184882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FFE31805-24BC-44AC-AD41-6B6149B6DFCD}"/>
                </a:ext>
              </a:extLst>
            </p:cNvPr>
            <p:cNvSpPr/>
            <p:nvPr/>
          </p:nvSpPr>
          <p:spPr>
            <a:xfrm>
              <a:off x="14922701" y="8374730"/>
              <a:ext cx="57318" cy="130970"/>
            </a:xfrm>
            <a:custGeom>
              <a:avLst/>
              <a:gdLst>
                <a:gd name="connsiteX0" fmla="*/ 27151 w 57318"/>
                <a:gd name="connsiteY0" fmla="*/ 130970 h 130970"/>
                <a:gd name="connsiteX1" fmla="*/ 6033 w 57318"/>
                <a:gd name="connsiteY1" fmla="*/ 124937 h 130970"/>
                <a:gd name="connsiteX2" fmla="*/ 0 w 57318"/>
                <a:gd name="connsiteY2" fmla="*/ 112870 h 130970"/>
                <a:gd name="connsiteX3" fmla="*/ 24134 w 57318"/>
                <a:gd name="connsiteY3" fmla="*/ 4267 h 130970"/>
                <a:gd name="connsiteX4" fmla="*/ 30168 w 57318"/>
                <a:gd name="connsiteY4" fmla="*/ 1250 h 130970"/>
                <a:gd name="connsiteX5" fmla="*/ 33184 w 57318"/>
                <a:gd name="connsiteY5" fmla="*/ 7283 h 130970"/>
                <a:gd name="connsiteX6" fmla="*/ 9050 w 57318"/>
                <a:gd name="connsiteY6" fmla="*/ 112870 h 130970"/>
                <a:gd name="connsiteX7" fmla="*/ 12067 w 57318"/>
                <a:gd name="connsiteY7" fmla="*/ 115887 h 130970"/>
                <a:gd name="connsiteX8" fmla="*/ 51284 w 57318"/>
                <a:gd name="connsiteY8" fmla="*/ 115887 h 130970"/>
                <a:gd name="connsiteX9" fmla="*/ 57318 w 57318"/>
                <a:gd name="connsiteY9" fmla="*/ 118903 h 130970"/>
                <a:gd name="connsiteX10" fmla="*/ 54301 w 57318"/>
                <a:gd name="connsiteY10" fmla="*/ 124937 h 130970"/>
                <a:gd name="connsiteX11" fmla="*/ 27151 w 57318"/>
                <a:gd name="connsiteY11" fmla="*/ 130970 h 13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318" h="130970">
                  <a:moveTo>
                    <a:pt x="27151" y="130970"/>
                  </a:moveTo>
                  <a:cubicBezTo>
                    <a:pt x="18100" y="130970"/>
                    <a:pt x="9050" y="130970"/>
                    <a:pt x="6033" y="124937"/>
                  </a:cubicBezTo>
                  <a:cubicBezTo>
                    <a:pt x="3016" y="121920"/>
                    <a:pt x="0" y="118903"/>
                    <a:pt x="0" y="112870"/>
                  </a:cubicBezTo>
                  <a:cubicBezTo>
                    <a:pt x="0" y="91752"/>
                    <a:pt x="21117" y="7283"/>
                    <a:pt x="24134" y="4267"/>
                  </a:cubicBezTo>
                  <a:cubicBezTo>
                    <a:pt x="24134" y="1250"/>
                    <a:pt x="27151" y="-1767"/>
                    <a:pt x="30168" y="1250"/>
                  </a:cubicBezTo>
                  <a:cubicBezTo>
                    <a:pt x="33184" y="1250"/>
                    <a:pt x="36201" y="4267"/>
                    <a:pt x="33184" y="7283"/>
                  </a:cubicBezTo>
                  <a:cubicBezTo>
                    <a:pt x="27151" y="31417"/>
                    <a:pt x="9050" y="97786"/>
                    <a:pt x="9050" y="112870"/>
                  </a:cubicBezTo>
                  <a:cubicBezTo>
                    <a:pt x="9050" y="112870"/>
                    <a:pt x="9050" y="115887"/>
                    <a:pt x="12067" y="115887"/>
                  </a:cubicBezTo>
                  <a:cubicBezTo>
                    <a:pt x="18100" y="121920"/>
                    <a:pt x="39218" y="118903"/>
                    <a:pt x="51284" y="115887"/>
                  </a:cubicBezTo>
                  <a:cubicBezTo>
                    <a:pt x="54301" y="115887"/>
                    <a:pt x="57318" y="115887"/>
                    <a:pt x="57318" y="118903"/>
                  </a:cubicBezTo>
                  <a:cubicBezTo>
                    <a:pt x="57318" y="121920"/>
                    <a:pt x="57318" y="124937"/>
                    <a:pt x="54301" y="124937"/>
                  </a:cubicBezTo>
                  <a:cubicBezTo>
                    <a:pt x="51284" y="127953"/>
                    <a:pt x="39218" y="130970"/>
                    <a:pt x="27151" y="130970"/>
                  </a:cubicBezTo>
                  <a:close/>
                </a:path>
              </a:pathLst>
            </a:custGeom>
            <a:solidFill>
              <a:srgbClr val="E58777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767D3DE5-6808-457B-91D5-883873E64E75}"/>
                </a:ext>
              </a:extLst>
            </p:cNvPr>
            <p:cNvSpPr/>
            <p:nvPr/>
          </p:nvSpPr>
          <p:spPr>
            <a:xfrm>
              <a:off x="14907618" y="8550952"/>
              <a:ext cx="105586" cy="57723"/>
            </a:xfrm>
            <a:custGeom>
              <a:avLst/>
              <a:gdLst>
                <a:gd name="connsiteX0" fmla="*/ 105587 w 105586"/>
                <a:gd name="connsiteY0" fmla="*/ 0 h 57723"/>
                <a:gd name="connsiteX1" fmla="*/ 0 w 105586"/>
                <a:gd name="connsiteY1" fmla="*/ 3016 h 57723"/>
                <a:gd name="connsiteX2" fmla="*/ 42234 w 105586"/>
                <a:gd name="connsiteY2" fmla="*/ 57318 h 57723"/>
                <a:gd name="connsiteX3" fmla="*/ 105587 w 105586"/>
                <a:gd name="connsiteY3" fmla="*/ 0 h 57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586" h="57723">
                  <a:moveTo>
                    <a:pt x="105587" y="0"/>
                  </a:moveTo>
                  <a:cubicBezTo>
                    <a:pt x="54301" y="30168"/>
                    <a:pt x="0" y="3016"/>
                    <a:pt x="0" y="3016"/>
                  </a:cubicBezTo>
                  <a:cubicBezTo>
                    <a:pt x="0" y="3016"/>
                    <a:pt x="9050" y="51285"/>
                    <a:pt x="42234" y="57318"/>
                  </a:cubicBezTo>
                  <a:cubicBezTo>
                    <a:pt x="78435" y="63352"/>
                    <a:pt x="105587" y="0"/>
                    <a:pt x="105587" y="0"/>
                  </a:cubicBezTo>
                  <a:close/>
                </a:path>
              </a:pathLst>
            </a:custGeom>
            <a:solidFill>
              <a:srgbClr val="FFFFFF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89F514D8-F1C2-444C-8FAE-374EAD515517}"/>
                </a:ext>
              </a:extLst>
            </p:cNvPr>
            <p:cNvSpPr/>
            <p:nvPr/>
          </p:nvSpPr>
          <p:spPr>
            <a:xfrm>
              <a:off x="14846514" y="8348060"/>
              <a:ext cx="40755" cy="40755"/>
            </a:xfrm>
            <a:custGeom>
              <a:avLst/>
              <a:gdLst>
                <a:gd name="connsiteX0" fmla="*/ 39986 w 40755"/>
                <a:gd name="connsiteY0" fmla="*/ 24903 h 40755"/>
                <a:gd name="connsiteX1" fmla="*/ 15853 w 40755"/>
                <a:gd name="connsiteY1" fmla="*/ 39986 h 40755"/>
                <a:gd name="connsiteX2" fmla="*/ 769 w 40755"/>
                <a:gd name="connsiteY2" fmla="*/ 15853 h 40755"/>
                <a:gd name="connsiteX3" fmla="*/ 24903 w 40755"/>
                <a:gd name="connsiteY3" fmla="*/ 769 h 40755"/>
                <a:gd name="connsiteX4" fmla="*/ 39986 w 40755"/>
                <a:gd name="connsiteY4" fmla="*/ 24903 h 4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55" h="40755">
                  <a:moveTo>
                    <a:pt x="39986" y="24903"/>
                  </a:moveTo>
                  <a:cubicBezTo>
                    <a:pt x="36969" y="36970"/>
                    <a:pt x="27920" y="43003"/>
                    <a:pt x="15853" y="39986"/>
                  </a:cubicBezTo>
                  <a:cubicBezTo>
                    <a:pt x="3785" y="36970"/>
                    <a:pt x="-2248" y="27920"/>
                    <a:pt x="769" y="15853"/>
                  </a:cubicBezTo>
                  <a:cubicBezTo>
                    <a:pt x="3785" y="3785"/>
                    <a:pt x="12836" y="-2248"/>
                    <a:pt x="24903" y="769"/>
                  </a:cubicBezTo>
                  <a:cubicBezTo>
                    <a:pt x="36969" y="3785"/>
                    <a:pt x="43003" y="15853"/>
                    <a:pt x="39986" y="24903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F2FE9BAB-AB83-4AFB-8EC3-9AE6609461D7}"/>
                </a:ext>
              </a:extLst>
            </p:cNvPr>
            <p:cNvSpPr/>
            <p:nvPr/>
          </p:nvSpPr>
          <p:spPr>
            <a:xfrm>
              <a:off x="15036569" y="8348060"/>
              <a:ext cx="39986" cy="40755"/>
            </a:xfrm>
            <a:custGeom>
              <a:avLst/>
              <a:gdLst>
                <a:gd name="connsiteX0" fmla="*/ 39986 w 39986"/>
                <a:gd name="connsiteY0" fmla="*/ 24903 h 40755"/>
                <a:gd name="connsiteX1" fmla="*/ 15853 w 39986"/>
                <a:gd name="connsiteY1" fmla="*/ 39986 h 40755"/>
                <a:gd name="connsiteX2" fmla="*/ 769 w 39986"/>
                <a:gd name="connsiteY2" fmla="*/ 15853 h 40755"/>
                <a:gd name="connsiteX3" fmla="*/ 24903 w 39986"/>
                <a:gd name="connsiteY3" fmla="*/ 769 h 40755"/>
                <a:gd name="connsiteX4" fmla="*/ 39986 w 39986"/>
                <a:gd name="connsiteY4" fmla="*/ 24903 h 4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86" h="40755">
                  <a:moveTo>
                    <a:pt x="39986" y="24903"/>
                  </a:moveTo>
                  <a:cubicBezTo>
                    <a:pt x="36970" y="36970"/>
                    <a:pt x="27919" y="43003"/>
                    <a:pt x="15853" y="39986"/>
                  </a:cubicBezTo>
                  <a:cubicBezTo>
                    <a:pt x="3786" y="36970"/>
                    <a:pt x="-2248" y="27920"/>
                    <a:pt x="769" y="15853"/>
                  </a:cubicBezTo>
                  <a:cubicBezTo>
                    <a:pt x="3786" y="3785"/>
                    <a:pt x="12836" y="-2248"/>
                    <a:pt x="24903" y="769"/>
                  </a:cubicBezTo>
                  <a:cubicBezTo>
                    <a:pt x="33953" y="3785"/>
                    <a:pt x="39986" y="12836"/>
                    <a:pt x="39986" y="24903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60B226F3-8C45-4506-8876-D19F8595F156}"/>
                </a:ext>
              </a:extLst>
            </p:cNvPr>
            <p:cNvSpPr/>
            <p:nvPr/>
          </p:nvSpPr>
          <p:spPr>
            <a:xfrm>
              <a:off x="14820885" y="8300463"/>
              <a:ext cx="90998" cy="36298"/>
            </a:xfrm>
            <a:custGeom>
              <a:avLst/>
              <a:gdLst>
                <a:gd name="connsiteX0" fmla="*/ 8297 w 90998"/>
                <a:gd name="connsiteY0" fmla="*/ 36299 h 36298"/>
                <a:gd name="connsiteX1" fmla="*/ 2263 w 90998"/>
                <a:gd name="connsiteY1" fmla="*/ 33282 h 36298"/>
                <a:gd name="connsiteX2" fmla="*/ 2263 w 90998"/>
                <a:gd name="connsiteY2" fmla="*/ 21215 h 36298"/>
                <a:gd name="connsiteX3" fmla="*/ 86733 w 90998"/>
                <a:gd name="connsiteY3" fmla="*/ 6131 h 36298"/>
                <a:gd name="connsiteX4" fmla="*/ 89749 w 90998"/>
                <a:gd name="connsiteY4" fmla="*/ 15181 h 36298"/>
                <a:gd name="connsiteX5" fmla="*/ 80699 w 90998"/>
                <a:gd name="connsiteY5" fmla="*/ 18198 h 36298"/>
                <a:gd name="connsiteX6" fmla="*/ 14330 w 90998"/>
                <a:gd name="connsiteY6" fmla="*/ 27248 h 36298"/>
                <a:gd name="connsiteX7" fmla="*/ 8297 w 90998"/>
                <a:gd name="connsiteY7" fmla="*/ 36299 h 36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6298">
                  <a:moveTo>
                    <a:pt x="8297" y="36299"/>
                  </a:moveTo>
                  <a:cubicBezTo>
                    <a:pt x="5280" y="36299"/>
                    <a:pt x="5280" y="36299"/>
                    <a:pt x="2263" y="33282"/>
                  </a:cubicBezTo>
                  <a:cubicBezTo>
                    <a:pt x="-754" y="30265"/>
                    <a:pt x="-754" y="24232"/>
                    <a:pt x="2263" y="21215"/>
                  </a:cubicBezTo>
                  <a:cubicBezTo>
                    <a:pt x="26397" y="-8953"/>
                    <a:pt x="68632" y="98"/>
                    <a:pt x="86733" y="6131"/>
                  </a:cubicBezTo>
                  <a:cubicBezTo>
                    <a:pt x="89749" y="9148"/>
                    <a:pt x="92766" y="12164"/>
                    <a:pt x="89749" y="15181"/>
                  </a:cubicBezTo>
                  <a:cubicBezTo>
                    <a:pt x="86733" y="18198"/>
                    <a:pt x="83716" y="21215"/>
                    <a:pt x="80699" y="18198"/>
                  </a:cubicBezTo>
                  <a:cubicBezTo>
                    <a:pt x="77682" y="18198"/>
                    <a:pt x="38464" y="98"/>
                    <a:pt x="14330" y="27248"/>
                  </a:cubicBezTo>
                  <a:cubicBezTo>
                    <a:pt x="11314" y="36299"/>
                    <a:pt x="11314" y="36299"/>
                    <a:pt x="8297" y="36299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FC1F0FD6-CE6E-4543-93F7-782C2045ED23}"/>
                </a:ext>
              </a:extLst>
            </p:cNvPr>
            <p:cNvSpPr/>
            <p:nvPr/>
          </p:nvSpPr>
          <p:spPr>
            <a:xfrm>
              <a:off x="15005189" y="8292595"/>
              <a:ext cx="91730" cy="35116"/>
            </a:xfrm>
            <a:custGeom>
              <a:avLst/>
              <a:gdLst>
                <a:gd name="connsiteX0" fmla="*/ 86451 w 91730"/>
                <a:gd name="connsiteY0" fmla="*/ 35117 h 35116"/>
                <a:gd name="connsiteX1" fmla="*/ 80418 w 91730"/>
                <a:gd name="connsiteY1" fmla="*/ 32100 h 35116"/>
                <a:gd name="connsiteX2" fmla="*/ 14049 w 91730"/>
                <a:gd name="connsiteY2" fmla="*/ 29083 h 35116"/>
                <a:gd name="connsiteX3" fmla="*/ 1982 w 91730"/>
                <a:gd name="connsiteY3" fmla="*/ 26067 h 35116"/>
                <a:gd name="connsiteX4" fmla="*/ 4999 w 91730"/>
                <a:gd name="connsiteY4" fmla="*/ 14000 h 35116"/>
                <a:gd name="connsiteX5" fmla="*/ 89468 w 91730"/>
                <a:gd name="connsiteY5" fmla="*/ 20033 h 35116"/>
                <a:gd name="connsiteX6" fmla="*/ 89468 w 91730"/>
                <a:gd name="connsiteY6" fmla="*/ 32100 h 35116"/>
                <a:gd name="connsiteX7" fmla="*/ 86451 w 91730"/>
                <a:gd name="connsiteY7" fmla="*/ 35117 h 3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30" h="35116">
                  <a:moveTo>
                    <a:pt x="86451" y="35117"/>
                  </a:moveTo>
                  <a:cubicBezTo>
                    <a:pt x="83435" y="35117"/>
                    <a:pt x="83435" y="35117"/>
                    <a:pt x="80418" y="32100"/>
                  </a:cubicBezTo>
                  <a:cubicBezTo>
                    <a:pt x="80418" y="32100"/>
                    <a:pt x="50250" y="4949"/>
                    <a:pt x="14049" y="29083"/>
                  </a:cubicBezTo>
                  <a:cubicBezTo>
                    <a:pt x="11032" y="32100"/>
                    <a:pt x="4999" y="32100"/>
                    <a:pt x="1982" y="26067"/>
                  </a:cubicBezTo>
                  <a:cubicBezTo>
                    <a:pt x="-1035" y="23050"/>
                    <a:pt x="-1035" y="17017"/>
                    <a:pt x="4999" y="14000"/>
                  </a:cubicBezTo>
                  <a:cubicBezTo>
                    <a:pt x="41199" y="-13151"/>
                    <a:pt x="77401" y="4949"/>
                    <a:pt x="89468" y="20033"/>
                  </a:cubicBezTo>
                  <a:cubicBezTo>
                    <a:pt x="92484" y="23050"/>
                    <a:pt x="92484" y="29083"/>
                    <a:pt x="89468" y="32100"/>
                  </a:cubicBezTo>
                  <a:cubicBezTo>
                    <a:pt x="92484" y="35117"/>
                    <a:pt x="89468" y="35117"/>
                    <a:pt x="86451" y="35117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E3BB5971-0B29-46C9-AB74-3BB23134CF2E}"/>
                </a:ext>
              </a:extLst>
            </p:cNvPr>
            <p:cNvSpPr/>
            <p:nvPr/>
          </p:nvSpPr>
          <p:spPr>
            <a:xfrm>
              <a:off x="14762813" y="8073180"/>
              <a:ext cx="265783" cy="263581"/>
            </a:xfrm>
            <a:custGeom>
              <a:avLst/>
              <a:gdLst>
                <a:gd name="connsiteX0" fmla="*/ 262458 w 265783"/>
                <a:gd name="connsiteY0" fmla="*/ 1123 h 263581"/>
                <a:gd name="connsiteX1" fmla="*/ 232291 w 265783"/>
                <a:gd name="connsiteY1" fmla="*/ 127827 h 263581"/>
                <a:gd name="connsiteX2" fmla="*/ 0 w 265783"/>
                <a:gd name="connsiteY2" fmla="*/ 263581 h 263581"/>
                <a:gd name="connsiteX3" fmla="*/ 262458 w 265783"/>
                <a:gd name="connsiteY3" fmla="*/ 1123 h 263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783" h="263581">
                  <a:moveTo>
                    <a:pt x="262458" y="1123"/>
                  </a:moveTo>
                  <a:cubicBezTo>
                    <a:pt x="262458" y="1123"/>
                    <a:pt x="280559" y="88609"/>
                    <a:pt x="232291" y="127827"/>
                  </a:cubicBezTo>
                  <a:cubicBezTo>
                    <a:pt x="232291" y="127827"/>
                    <a:pt x="27151" y="179112"/>
                    <a:pt x="0" y="263581"/>
                  </a:cubicBezTo>
                  <a:cubicBezTo>
                    <a:pt x="3017" y="263581"/>
                    <a:pt x="-24134" y="-19994"/>
                    <a:pt x="262458" y="1123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3A5DCDBD-656B-4639-AD46-9860BBCAB0EE}"/>
                </a:ext>
              </a:extLst>
            </p:cNvPr>
            <p:cNvSpPr/>
            <p:nvPr/>
          </p:nvSpPr>
          <p:spPr>
            <a:xfrm>
              <a:off x="14995103" y="8077265"/>
              <a:ext cx="230497" cy="304465"/>
            </a:xfrm>
            <a:custGeom>
              <a:avLst/>
              <a:gdLst>
                <a:gd name="connsiteX0" fmla="*/ 0 w 230497"/>
                <a:gd name="connsiteY0" fmla="*/ 126759 h 304465"/>
                <a:gd name="connsiteX1" fmla="*/ 141787 w 230497"/>
                <a:gd name="connsiteY1" fmla="*/ 175027 h 304465"/>
                <a:gd name="connsiteX2" fmla="*/ 205139 w 230497"/>
                <a:gd name="connsiteY2" fmla="*/ 292681 h 304465"/>
                <a:gd name="connsiteX3" fmla="*/ 229274 w 230497"/>
                <a:gd name="connsiteY3" fmla="*/ 286648 h 304465"/>
                <a:gd name="connsiteX4" fmla="*/ 30168 w 230497"/>
                <a:gd name="connsiteY4" fmla="*/ 56 h 304465"/>
                <a:gd name="connsiteX5" fmla="*/ 0 w 230497"/>
                <a:gd name="connsiteY5" fmla="*/ 126759 h 304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497" h="304465">
                  <a:moveTo>
                    <a:pt x="0" y="126759"/>
                  </a:moveTo>
                  <a:cubicBezTo>
                    <a:pt x="0" y="126759"/>
                    <a:pt x="90503" y="172011"/>
                    <a:pt x="141787" y="175027"/>
                  </a:cubicBezTo>
                  <a:cubicBezTo>
                    <a:pt x="193072" y="178044"/>
                    <a:pt x="205139" y="292681"/>
                    <a:pt x="205139" y="292681"/>
                  </a:cubicBezTo>
                  <a:cubicBezTo>
                    <a:pt x="205139" y="292681"/>
                    <a:pt x="226257" y="322849"/>
                    <a:pt x="229274" y="286648"/>
                  </a:cubicBezTo>
                  <a:cubicBezTo>
                    <a:pt x="235307" y="208212"/>
                    <a:pt x="226257" y="12122"/>
                    <a:pt x="30168" y="56"/>
                  </a:cubicBezTo>
                  <a:cubicBezTo>
                    <a:pt x="30168" y="-2961"/>
                    <a:pt x="24134" y="117709"/>
                    <a:pt x="0" y="126759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4F755021-86D7-4CFD-A5FF-7305DAB9641D}"/>
                </a:ext>
              </a:extLst>
            </p:cNvPr>
            <p:cNvSpPr/>
            <p:nvPr/>
          </p:nvSpPr>
          <p:spPr>
            <a:xfrm>
              <a:off x="15165649" y="8352096"/>
              <a:ext cx="76787" cy="111835"/>
            </a:xfrm>
            <a:custGeom>
              <a:avLst/>
              <a:gdLst>
                <a:gd name="connsiteX0" fmla="*/ 10460 w 76787"/>
                <a:gd name="connsiteY0" fmla="*/ 17851 h 111835"/>
                <a:gd name="connsiteX1" fmla="*/ 67778 w 76787"/>
                <a:gd name="connsiteY1" fmla="*/ 5783 h 111835"/>
                <a:gd name="connsiteX2" fmla="*/ 16493 w 76787"/>
                <a:gd name="connsiteY2" fmla="*/ 108354 h 111835"/>
                <a:gd name="connsiteX3" fmla="*/ 10460 w 76787"/>
                <a:gd name="connsiteY3" fmla="*/ 17851 h 111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787" h="111835">
                  <a:moveTo>
                    <a:pt x="10460" y="17851"/>
                  </a:moveTo>
                  <a:cubicBezTo>
                    <a:pt x="10460" y="17851"/>
                    <a:pt x="43645" y="-12317"/>
                    <a:pt x="67778" y="5783"/>
                  </a:cubicBezTo>
                  <a:cubicBezTo>
                    <a:pt x="94929" y="23884"/>
                    <a:pt x="55711" y="132488"/>
                    <a:pt x="16493" y="108354"/>
                  </a:cubicBezTo>
                  <a:cubicBezTo>
                    <a:pt x="-16691" y="93270"/>
                    <a:pt x="10460" y="17851"/>
                    <a:pt x="10460" y="17851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9AF4792E-B68C-44AF-B583-EE6F9EC20135}"/>
                </a:ext>
              </a:extLst>
            </p:cNvPr>
            <p:cNvSpPr/>
            <p:nvPr/>
          </p:nvSpPr>
          <p:spPr>
            <a:xfrm>
              <a:off x="14986053" y="8071287"/>
              <a:ext cx="215439" cy="289609"/>
            </a:xfrm>
            <a:custGeom>
              <a:avLst/>
              <a:gdLst>
                <a:gd name="connsiteX0" fmla="*/ 211173 w 215439"/>
                <a:gd name="connsiteY0" fmla="*/ 289609 h 289609"/>
                <a:gd name="connsiteX1" fmla="*/ 205140 w 215439"/>
                <a:gd name="connsiteY1" fmla="*/ 283576 h 289609"/>
                <a:gd name="connsiteX2" fmla="*/ 150838 w 215439"/>
                <a:gd name="connsiteY2" fmla="*/ 184023 h 289609"/>
                <a:gd name="connsiteX3" fmla="*/ 6034 w 215439"/>
                <a:gd name="connsiteY3" fmla="*/ 132738 h 289609"/>
                <a:gd name="connsiteX4" fmla="*/ 0 w 215439"/>
                <a:gd name="connsiteY4" fmla="*/ 129721 h 289609"/>
                <a:gd name="connsiteX5" fmla="*/ 3017 w 215439"/>
                <a:gd name="connsiteY5" fmla="*/ 123687 h 289609"/>
                <a:gd name="connsiteX6" fmla="*/ 21118 w 215439"/>
                <a:gd name="connsiteY6" fmla="*/ 99553 h 289609"/>
                <a:gd name="connsiteX7" fmla="*/ 30168 w 215439"/>
                <a:gd name="connsiteY7" fmla="*/ 60335 h 289609"/>
                <a:gd name="connsiteX8" fmla="*/ 33185 w 215439"/>
                <a:gd name="connsiteY8" fmla="*/ 33185 h 289609"/>
                <a:gd name="connsiteX9" fmla="*/ 36201 w 215439"/>
                <a:gd name="connsiteY9" fmla="*/ 6034 h 289609"/>
                <a:gd name="connsiteX10" fmla="*/ 42235 w 215439"/>
                <a:gd name="connsiteY10" fmla="*/ 0 h 289609"/>
                <a:gd name="connsiteX11" fmla="*/ 48268 w 215439"/>
                <a:gd name="connsiteY11" fmla="*/ 6034 h 289609"/>
                <a:gd name="connsiteX12" fmla="*/ 45251 w 215439"/>
                <a:gd name="connsiteY12" fmla="*/ 33185 h 289609"/>
                <a:gd name="connsiteX13" fmla="*/ 42235 w 215439"/>
                <a:gd name="connsiteY13" fmla="*/ 60335 h 289609"/>
                <a:gd name="connsiteX14" fmla="*/ 33185 w 215439"/>
                <a:gd name="connsiteY14" fmla="*/ 105587 h 289609"/>
                <a:gd name="connsiteX15" fmla="*/ 18101 w 215439"/>
                <a:gd name="connsiteY15" fmla="*/ 126704 h 289609"/>
                <a:gd name="connsiteX16" fmla="*/ 150838 w 215439"/>
                <a:gd name="connsiteY16" fmla="*/ 171956 h 289609"/>
                <a:gd name="connsiteX17" fmla="*/ 214190 w 215439"/>
                <a:gd name="connsiteY17" fmla="*/ 283576 h 289609"/>
                <a:gd name="connsiteX18" fmla="*/ 211173 w 215439"/>
                <a:gd name="connsiteY18" fmla="*/ 289609 h 289609"/>
                <a:gd name="connsiteX19" fmla="*/ 211173 w 215439"/>
                <a:gd name="connsiteY19" fmla="*/ 289609 h 289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5439" h="289609">
                  <a:moveTo>
                    <a:pt x="211173" y="289609"/>
                  </a:moveTo>
                  <a:cubicBezTo>
                    <a:pt x="208157" y="289609"/>
                    <a:pt x="205140" y="286592"/>
                    <a:pt x="205140" y="283576"/>
                  </a:cubicBezTo>
                  <a:cubicBezTo>
                    <a:pt x="205140" y="283576"/>
                    <a:pt x="199106" y="190056"/>
                    <a:pt x="150838" y="184023"/>
                  </a:cubicBezTo>
                  <a:cubicBezTo>
                    <a:pt x="81453" y="174972"/>
                    <a:pt x="9051" y="135754"/>
                    <a:pt x="6034" y="132738"/>
                  </a:cubicBezTo>
                  <a:lnTo>
                    <a:pt x="0" y="129721"/>
                  </a:lnTo>
                  <a:lnTo>
                    <a:pt x="3017" y="123687"/>
                  </a:lnTo>
                  <a:cubicBezTo>
                    <a:pt x="9051" y="117654"/>
                    <a:pt x="15084" y="108604"/>
                    <a:pt x="21118" y="99553"/>
                  </a:cubicBezTo>
                  <a:cubicBezTo>
                    <a:pt x="27152" y="87486"/>
                    <a:pt x="27152" y="72403"/>
                    <a:pt x="30168" y="60335"/>
                  </a:cubicBezTo>
                  <a:cubicBezTo>
                    <a:pt x="30168" y="54302"/>
                    <a:pt x="33185" y="42235"/>
                    <a:pt x="33185" y="33185"/>
                  </a:cubicBezTo>
                  <a:cubicBezTo>
                    <a:pt x="33185" y="21118"/>
                    <a:pt x="36201" y="12067"/>
                    <a:pt x="36201" y="6034"/>
                  </a:cubicBezTo>
                  <a:cubicBezTo>
                    <a:pt x="36201" y="3017"/>
                    <a:pt x="39218" y="0"/>
                    <a:pt x="42235" y="0"/>
                  </a:cubicBezTo>
                  <a:cubicBezTo>
                    <a:pt x="45251" y="0"/>
                    <a:pt x="48268" y="3017"/>
                    <a:pt x="48268" y="6034"/>
                  </a:cubicBezTo>
                  <a:cubicBezTo>
                    <a:pt x="48268" y="12067"/>
                    <a:pt x="45251" y="24134"/>
                    <a:pt x="45251" y="33185"/>
                  </a:cubicBezTo>
                  <a:cubicBezTo>
                    <a:pt x="45251" y="45251"/>
                    <a:pt x="42235" y="54302"/>
                    <a:pt x="42235" y="60335"/>
                  </a:cubicBezTo>
                  <a:cubicBezTo>
                    <a:pt x="42235" y="75419"/>
                    <a:pt x="39218" y="90503"/>
                    <a:pt x="33185" y="105587"/>
                  </a:cubicBezTo>
                  <a:cubicBezTo>
                    <a:pt x="30168" y="114637"/>
                    <a:pt x="24135" y="120670"/>
                    <a:pt x="18101" y="126704"/>
                  </a:cubicBezTo>
                  <a:cubicBezTo>
                    <a:pt x="36201" y="135754"/>
                    <a:pt x="96537" y="165922"/>
                    <a:pt x="150838" y="171956"/>
                  </a:cubicBezTo>
                  <a:cubicBezTo>
                    <a:pt x="208157" y="177989"/>
                    <a:pt x="214190" y="277542"/>
                    <a:pt x="214190" y="283576"/>
                  </a:cubicBezTo>
                  <a:cubicBezTo>
                    <a:pt x="217207" y="286592"/>
                    <a:pt x="214190" y="289609"/>
                    <a:pt x="211173" y="289609"/>
                  </a:cubicBezTo>
                  <a:cubicBezTo>
                    <a:pt x="211173" y="289609"/>
                    <a:pt x="211173" y="289609"/>
                    <a:pt x="211173" y="289609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E19A4C56-44F4-4A23-915D-920CD792702D}"/>
                </a:ext>
              </a:extLst>
            </p:cNvPr>
            <p:cNvSpPr/>
            <p:nvPr/>
          </p:nvSpPr>
          <p:spPr>
            <a:xfrm>
              <a:off x="14893288" y="8594862"/>
              <a:ext cx="220809" cy="82793"/>
            </a:xfrm>
            <a:custGeom>
              <a:avLst/>
              <a:gdLst>
                <a:gd name="connsiteX0" fmla="*/ 68631 w 220809"/>
                <a:gd name="connsiteY0" fmla="*/ 82793 h 82793"/>
                <a:gd name="connsiteX1" fmla="*/ 2262 w 220809"/>
                <a:gd name="connsiteY1" fmla="*/ 58659 h 82793"/>
                <a:gd name="connsiteX2" fmla="*/ 2262 w 220809"/>
                <a:gd name="connsiteY2" fmla="*/ 49609 h 82793"/>
                <a:gd name="connsiteX3" fmla="*/ 11313 w 220809"/>
                <a:gd name="connsiteY3" fmla="*/ 49609 h 82793"/>
                <a:gd name="connsiteX4" fmla="*/ 80698 w 220809"/>
                <a:gd name="connsiteY4" fmla="*/ 70726 h 82793"/>
                <a:gd name="connsiteX5" fmla="*/ 210419 w 220809"/>
                <a:gd name="connsiteY5" fmla="*/ 1341 h 82793"/>
                <a:gd name="connsiteX6" fmla="*/ 219469 w 220809"/>
                <a:gd name="connsiteY6" fmla="*/ 1341 h 82793"/>
                <a:gd name="connsiteX7" fmla="*/ 219469 w 220809"/>
                <a:gd name="connsiteY7" fmla="*/ 10391 h 82793"/>
                <a:gd name="connsiteX8" fmla="*/ 86732 w 220809"/>
                <a:gd name="connsiteY8" fmla="*/ 82793 h 82793"/>
                <a:gd name="connsiteX9" fmla="*/ 68631 w 220809"/>
                <a:gd name="connsiteY9" fmla="*/ 82793 h 82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809" h="82793">
                  <a:moveTo>
                    <a:pt x="68631" y="82793"/>
                  </a:moveTo>
                  <a:cubicBezTo>
                    <a:pt x="32430" y="82793"/>
                    <a:pt x="5279" y="58659"/>
                    <a:pt x="2262" y="58659"/>
                  </a:cubicBezTo>
                  <a:cubicBezTo>
                    <a:pt x="-754" y="55643"/>
                    <a:pt x="-754" y="52626"/>
                    <a:pt x="2262" y="49609"/>
                  </a:cubicBezTo>
                  <a:cubicBezTo>
                    <a:pt x="5279" y="46592"/>
                    <a:pt x="8296" y="46592"/>
                    <a:pt x="11313" y="49609"/>
                  </a:cubicBezTo>
                  <a:cubicBezTo>
                    <a:pt x="11313" y="49609"/>
                    <a:pt x="44497" y="76760"/>
                    <a:pt x="80698" y="70726"/>
                  </a:cubicBezTo>
                  <a:cubicBezTo>
                    <a:pt x="119916" y="64693"/>
                    <a:pt x="207402" y="1341"/>
                    <a:pt x="210419" y="1341"/>
                  </a:cubicBezTo>
                  <a:cubicBezTo>
                    <a:pt x="213435" y="-1676"/>
                    <a:pt x="216452" y="1341"/>
                    <a:pt x="219469" y="1341"/>
                  </a:cubicBezTo>
                  <a:cubicBezTo>
                    <a:pt x="222486" y="4357"/>
                    <a:pt x="219469" y="7374"/>
                    <a:pt x="219469" y="10391"/>
                  </a:cubicBezTo>
                  <a:cubicBezTo>
                    <a:pt x="216452" y="13408"/>
                    <a:pt x="125949" y="76760"/>
                    <a:pt x="86732" y="82793"/>
                  </a:cubicBezTo>
                  <a:cubicBezTo>
                    <a:pt x="77681" y="79776"/>
                    <a:pt x="74665" y="82793"/>
                    <a:pt x="68631" y="82793"/>
                  </a:cubicBezTo>
                  <a:close/>
                </a:path>
              </a:pathLst>
            </a:custGeom>
            <a:solidFill>
              <a:srgbClr val="E58777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20C1BE58-AF19-47E5-85B4-4FDAA5154F6C}"/>
                </a:ext>
              </a:extLst>
            </p:cNvPr>
            <p:cNvSpPr/>
            <p:nvPr/>
          </p:nvSpPr>
          <p:spPr>
            <a:xfrm>
              <a:off x="15287729" y="8433298"/>
              <a:ext cx="119916" cy="292626"/>
            </a:xfrm>
            <a:custGeom>
              <a:avLst/>
              <a:gdLst>
                <a:gd name="connsiteX0" fmla="*/ 111620 w 119916"/>
                <a:gd name="connsiteY0" fmla="*/ 289609 h 292626"/>
                <a:gd name="connsiteX1" fmla="*/ 108604 w 119916"/>
                <a:gd name="connsiteY1" fmla="*/ 286592 h 292626"/>
                <a:gd name="connsiteX2" fmla="*/ 84470 w 119916"/>
                <a:gd name="connsiteY2" fmla="*/ 184023 h 292626"/>
                <a:gd name="connsiteX3" fmla="*/ 36201 w 119916"/>
                <a:gd name="connsiteY3" fmla="*/ 78436 h 292626"/>
                <a:gd name="connsiteX4" fmla="*/ 0 w 119916"/>
                <a:gd name="connsiteY4" fmla="*/ 6034 h 292626"/>
                <a:gd name="connsiteX5" fmla="*/ 6034 w 119916"/>
                <a:gd name="connsiteY5" fmla="*/ 0 h 292626"/>
                <a:gd name="connsiteX6" fmla="*/ 12068 w 119916"/>
                <a:gd name="connsiteY6" fmla="*/ 6034 h 292626"/>
                <a:gd name="connsiteX7" fmla="*/ 45251 w 119916"/>
                <a:gd name="connsiteY7" fmla="*/ 72403 h 292626"/>
                <a:gd name="connsiteX8" fmla="*/ 96537 w 119916"/>
                <a:gd name="connsiteY8" fmla="*/ 190056 h 292626"/>
                <a:gd name="connsiteX9" fmla="*/ 117654 w 119916"/>
                <a:gd name="connsiteY9" fmla="*/ 283576 h 292626"/>
                <a:gd name="connsiteX10" fmla="*/ 117654 w 119916"/>
                <a:gd name="connsiteY10" fmla="*/ 292626 h 292626"/>
                <a:gd name="connsiteX11" fmla="*/ 111620 w 119916"/>
                <a:gd name="connsiteY11" fmla="*/ 289609 h 292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916" h="292626">
                  <a:moveTo>
                    <a:pt x="111620" y="289609"/>
                  </a:moveTo>
                  <a:cubicBezTo>
                    <a:pt x="108604" y="289609"/>
                    <a:pt x="108604" y="289609"/>
                    <a:pt x="108604" y="286592"/>
                  </a:cubicBezTo>
                  <a:cubicBezTo>
                    <a:pt x="90503" y="265475"/>
                    <a:pt x="75419" y="220224"/>
                    <a:pt x="84470" y="184023"/>
                  </a:cubicBezTo>
                  <a:cubicBezTo>
                    <a:pt x="93520" y="147822"/>
                    <a:pt x="66369" y="102570"/>
                    <a:pt x="36201" y="78436"/>
                  </a:cubicBezTo>
                  <a:cubicBezTo>
                    <a:pt x="3017" y="51285"/>
                    <a:pt x="0" y="6034"/>
                    <a:pt x="0" y="6034"/>
                  </a:cubicBezTo>
                  <a:cubicBezTo>
                    <a:pt x="0" y="3017"/>
                    <a:pt x="3017" y="0"/>
                    <a:pt x="6034" y="0"/>
                  </a:cubicBezTo>
                  <a:cubicBezTo>
                    <a:pt x="9051" y="0"/>
                    <a:pt x="12068" y="3017"/>
                    <a:pt x="12068" y="6034"/>
                  </a:cubicBezTo>
                  <a:cubicBezTo>
                    <a:pt x="12068" y="6034"/>
                    <a:pt x="15084" y="48268"/>
                    <a:pt x="45251" y="72403"/>
                  </a:cubicBezTo>
                  <a:cubicBezTo>
                    <a:pt x="78436" y="99553"/>
                    <a:pt x="105587" y="147822"/>
                    <a:pt x="96537" y="190056"/>
                  </a:cubicBezTo>
                  <a:cubicBezTo>
                    <a:pt x="87487" y="226257"/>
                    <a:pt x="102571" y="265475"/>
                    <a:pt x="117654" y="283576"/>
                  </a:cubicBezTo>
                  <a:cubicBezTo>
                    <a:pt x="120670" y="286592"/>
                    <a:pt x="120670" y="289609"/>
                    <a:pt x="117654" y="292626"/>
                  </a:cubicBezTo>
                  <a:cubicBezTo>
                    <a:pt x="114637" y="289609"/>
                    <a:pt x="111620" y="289609"/>
                    <a:pt x="111620" y="289609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BF8BD8F9-C6F7-4EF0-9ADE-6F00616EE4F2}"/>
                </a:ext>
              </a:extLst>
            </p:cNvPr>
            <p:cNvSpPr/>
            <p:nvPr/>
          </p:nvSpPr>
          <p:spPr>
            <a:xfrm>
              <a:off x="14664014" y="8404807"/>
              <a:ext cx="66954" cy="239664"/>
            </a:xfrm>
            <a:custGeom>
              <a:avLst/>
              <a:gdLst>
                <a:gd name="connsiteX0" fmla="*/ 5279 w 66954"/>
                <a:gd name="connsiteY0" fmla="*/ 239665 h 239664"/>
                <a:gd name="connsiteX1" fmla="*/ 2263 w 66954"/>
                <a:gd name="connsiteY1" fmla="*/ 236648 h 239664"/>
                <a:gd name="connsiteX2" fmla="*/ 2263 w 66954"/>
                <a:gd name="connsiteY2" fmla="*/ 227598 h 239664"/>
                <a:gd name="connsiteX3" fmla="*/ 14330 w 66954"/>
                <a:gd name="connsiteY3" fmla="*/ 91844 h 239664"/>
                <a:gd name="connsiteX4" fmla="*/ 56564 w 66954"/>
                <a:gd name="connsiteY4" fmla="*/ 1341 h 239664"/>
                <a:gd name="connsiteX5" fmla="*/ 65614 w 66954"/>
                <a:gd name="connsiteY5" fmla="*/ 1341 h 239664"/>
                <a:gd name="connsiteX6" fmla="*/ 65614 w 66954"/>
                <a:gd name="connsiteY6" fmla="*/ 10391 h 239664"/>
                <a:gd name="connsiteX7" fmla="*/ 29413 w 66954"/>
                <a:gd name="connsiteY7" fmla="*/ 88827 h 239664"/>
                <a:gd name="connsiteX8" fmla="*/ 14330 w 66954"/>
                <a:gd name="connsiteY8" fmla="*/ 233631 h 239664"/>
                <a:gd name="connsiteX9" fmla="*/ 5279 w 66954"/>
                <a:gd name="connsiteY9" fmla="*/ 239665 h 239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954" h="239664">
                  <a:moveTo>
                    <a:pt x="5279" y="239665"/>
                  </a:moveTo>
                  <a:cubicBezTo>
                    <a:pt x="2263" y="239665"/>
                    <a:pt x="2263" y="239665"/>
                    <a:pt x="2263" y="236648"/>
                  </a:cubicBezTo>
                  <a:cubicBezTo>
                    <a:pt x="-754" y="233631"/>
                    <a:pt x="-754" y="230615"/>
                    <a:pt x="2263" y="227598"/>
                  </a:cubicBezTo>
                  <a:cubicBezTo>
                    <a:pt x="32430" y="203464"/>
                    <a:pt x="26396" y="146145"/>
                    <a:pt x="14330" y="91844"/>
                  </a:cubicBezTo>
                  <a:cubicBezTo>
                    <a:pt x="2263" y="40559"/>
                    <a:pt x="53547" y="1341"/>
                    <a:pt x="56564" y="1341"/>
                  </a:cubicBezTo>
                  <a:cubicBezTo>
                    <a:pt x="59581" y="-1676"/>
                    <a:pt x="62598" y="1341"/>
                    <a:pt x="65614" y="1341"/>
                  </a:cubicBezTo>
                  <a:cubicBezTo>
                    <a:pt x="68631" y="4358"/>
                    <a:pt x="65614" y="7374"/>
                    <a:pt x="65614" y="10391"/>
                  </a:cubicBezTo>
                  <a:cubicBezTo>
                    <a:pt x="65614" y="10391"/>
                    <a:pt x="20363" y="46592"/>
                    <a:pt x="29413" y="88827"/>
                  </a:cubicBezTo>
                  <a:cubicBezTo>
                    <a:pt x="41480" y="146145"/>
                    <a:pt x="47514" y="206481"/>
                    <a:pt x="14330" y="233631"/>
                  </a:cubicBezTo>
                  <a:cubicBezTo>
                    <a:pt x="8296" y="239665"/>
                    <a:pt x="8296" y="239665"/>
                    <a:pt x="5279" y="239665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2D69355A-E63B-41DC-82E9-FCFD7CEB418D}"/>
                </a:ext>
              </a:extLst>
            </p:cNvPr>
            <p:cNvSpPr/>
            <p:nvPr/>
          </p:nvSpPr>
          <p:spPr>
            <a:xfrm>
              <a:off x="14719237" y="8590170"/>
              <a:ext cx="59180" cy="117653"/>
            </a:xfrm>
            <a:custGeom>
              <a:avLst/>
              <a:gdLst>
                <a:gd name="connsiteX0" fmla="*/ 4358 w 59180"/>
                <a:gd name="connsiteY0" fmla="*/ 117653 h 117653"/>
                <a:gd name="connsiteX1" fmla="*/ 1341 w 59180"/>
                <a:gd name="connsiteY1" fmla="*/ 114637 h 117653"/>
                <a:gd name="connsiteX2" fmla="*/ 1341 w 59180"/>
                <a:gd name="connsiteY2" fmla="*/ 105587 h 117653"/>
                <a:gd name="connsiteX3" fmla="*/ 46592 w 59180"/>
                <a:gd name="connsiteY3" fmla="*/ 6033 h 117653"/>
                <a:gd name="connsiteX4" fmla="*/ 52626 w 59180"/>
                <a:gd name="connsiteY4" fmla="*/ 0 h 117653"/>
                <a:gd name="connsiteX5" fmla="*/ 58659 w 59180"/>
                <a:gd name="connsiteY5" fmla="*/ 6033 h 117653"/>
                <a:gd name="connsiteX6" fmla="*/ 10391 w 59180"/>
                <a:gd name="connsiteY6" fmla="*/ 114637 h 117653"/>
                <a:gd name="connsiteX7" fmla="*/ 4358 w 59180"/>
                <a:gd name="connsiteY7" fmla="*/ 117653 h 11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180" h="117653">
                  <a:moveTo>
                    <a:pt x="4358" y="117653"/>
                  </a:moveTo>
                  <a:cubicBezTo>
                    <a:pt x="1341" y="117653"/>
                    <a:pt x="1341" y="117653"/>
                    <a:pt x="1341" y="114637"/>
                  </a:cubicBezTo>
                  <a:cubicBezTo>
                    <a:pt x="-1676" y="111620"/>
                    <a:pt x="1341" y="108603"/>
                    <a:pt x="1341" y="105587"/>
                  </a:cubicBezTo>
                  <a:cubicBezTo>
                    <a:pt x="52626" y="69385"/>
                    <a:pt x="46592" y="9050"/>
                    <a:pt x="46592" y="6033"/>
                  </a:cubicBezTo>
                  <a:cubicBezTo>
                    <a:pt x="46592" y="3016"/>
                    <a:pt x="49609" y="0"/>
                    <a:pt x="52626" y="0"/>
                  </a:cubicBezTo>
                  <a:cubicBezTo>
                    <a:pt x="55642" y="0"/>
                    <a:pt x="58659" y="3016"/>
                    <a:pt x="58659" y="6033"/>
                  </a:cubicBezTo>
                  <a:cubicBezTo>
                    <a:pt x="58659" y="9050"/>
                    <a:pt x="67710" y="72402"/>
                    <a:pt x="10391" y="114637"/>
                  </a:cubicBezTo>
                  <a:cubicBezTo>
                    <a:pt x="7375" y="117653"/>
                    <a:pt x="4358" y="117653"/>
                    <a:pt x="4358" y="117653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C9AD398C-EA6E-47A3-9A88-8A201CCB8CE9}"/>
                </a:ext>
              </a:extLst>
            </p:cNvPr>
            <p:cNvSpPr/>
            <p:nvPr/>
          </p:nvSpPr>
          <p:spPr>
            <a:xfrm>
              <a:off x="14678344" y="9612851"/>
              <a:ext cx="675754" cy="64664"/>
            </a:xfrm>
            <a:custGeom>
              <a:avLst/>
              <a:gdLst>
                <a:gd name="connsiteX0" fmla="*/ 675754 w 675754"/>
                <a:gd name="connsiteY0" fmla="*/ 42234 h 64664"/>
                <a:gd name="connsiteX1" fmla="*/ 6033 w 675754"/>
                <a:gd name="connsiteY1" fmla="*/ 57318 h 64664"/>
                <a:gd name="connsiteX2" fmla="*/ 0 w 675754"/>
                <a:gd name="connsiteY2" fmla="*/ 12067 h 64664"/>
                <a:gd name="connsiteX3" fmla="*/ 669720 w 675754"/>
                <a:gd name="connsiteY3" fmla="*/ 0 h 64664"/>
                <a:gd name="connsiteX4" fmla="*/ 675754 w 675754"/>
                <a:gd name="connsiteY4" fmla="*/ 42234 h 64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5754" h="64664">
                  <a:moveTo>
                    <a:pt x="675754" y="42234"/>
                  </a:moveTo>
                  <a:cubicBezTo>
                    <a:pt x="491731" y="81453"/>
                    <a:pt x="6033" y="57318"/>
                    <a:pt x="6033" y="57318"/>
                  </a:cubicBezTo>
                  <a:lnTo>
                    <a:pt x="0" y="12067"/>
                  </a:lnTo>
                  <a:cubicBezTo>
                    <a:pt x="0" y="12067"/>
                    <a:pt x="407263" y="39218"/>
                    <a:pt x="669720" y="0"/>
                  </a:cubicBezTo>
                  <a:lnTo>
                    <a:pt x="675754" y="42234"/>
                  </a:ln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1" name="图形 1">
              <a:extLst>
                <a:ext uri="{FF2B5EF4-FFF2-40B4-BE49-F238E27FC236}">
                  <a16:creationId xmlns:a16="http://schemas.microsoft.com/office/drawing/2014/main" id="{E9146463-79F9-45EB-AA75-BD00C49899E2}"/>
                </a:ext>
              </a:extLst>
            </p:cNvPr>
            <p:cNvGrpSpPr/>
            <p:nvPr/>
          </p:nvGrpSpPr>
          <p:grpSpPr>
            <a:xfrm>
              <a:off x="15147055" y="9842125"/>
              <a:ext cx="187842" cy="241340"/>
              <a:chOff x="15147055" y="9842125"/>
              <a:chExt cx="187842" cy="241340"/>
            </a:xfrm>
          </p:grpSpPr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4EF1161B-978B-41F0-AB89-ED545A50C76A}"/>
                  </a:ext>
                </a:extLst>
              </p:cNvPr>
              <p:cNvSpPr/>
              <p:nvPr/>
            </p:nvSpPr>
            <p:spPr>
              <a:xfrm>
                <a:off x="15159517" y="9842125"/>
                <a:ext cx="175380" cy="233473"/>
              </a:xfrm>
              <a:custGeom>
                <a:avLst/>
                <a:gdLst>
                  <a:gd name="connsiteX0" fmla="*/ 125196 w 175380"/>
                  <a:gd name="connsiteY0" fmla="*/ 3017 h 233473"/>
                  <a:gd name="connsiteX1" fmla="*/ 116145 w 175380"/>
                  <a:gd name="connsiteY1" fmla="*/ 0 h 233473"/>
                  <a:gd name="connsiteX2" fmla="*/ 13575 w 175380"/>
                  <a:gd name="connsiteY2" fmla="*/ 75419 h 233473"/>
                  <a:gd name="connsiteX3" fmla="*/ 1509 w 175380"/>
                  <a:gd name="connsiteY3" fmla="*/ 153855 h 233473"/>
                  <a:gd name="connsiteX4" fmla="*/ 7542 w 175380"/>
                  <a:gd name="connsiteY4" fmla="*/ 184023 h 233473"/>
                  <a:gd name="connsiteX5" fmla="*/ 16592 w 175380"/>
                  <a:gd name="connsiteY5" fmla="*/ 184023 h 233473"/>
                  <a:gd name="connsiteX6" fmla="*/ 25642 w 175380"/>
                  <a:gd name="connsiteY6" fmla="*/ 171955 h 233473"/>
                  <a:gd name="connsiteX7" fmla="*/ 28659 w 175380"/>
                  <a:gd name="connsiteY7" fmla="*/ 208156 h 233473"/>
                  <a:gd name="connsiteX8" fmla="*/ 43743 w 175380"/>
                  <a:gd name="connsiteY8" fmla="*/ 232290 h 233473"/>
                  <a:gd name="connsiteX9" fmla="*/ 61844 w 175380"/>
                  <a:gd name="connsiteY9" fmla="*/ 226257 h 233473"/>
                  <a:gd name="connsiteX10" fmla="*/ 61844 w 175380"/>
                  <a:gd name="connsiteY10" fmla="*/ 226257 h 233473"/>
                  <a:gd name="connsiteX11" fmla="*/ 67877 w 175380"/>
                  <a:gd name="connsiteY11" fmla="*/ 229274 h 233473"/>
                  <a:gd name="connsiteX12" fmla="*/ 95028 w 175380"/>
                  <a:gd name="connsiteY12" fmla="*/ 181006 h 233473"/>
                  <a:gd name="connsiteX13" fmla="*/ 107095 w 175380"/>
                  <a:gd name="connsiteY13" fmla="*/ 193072 h 233473"/>
                  <a:gd name="connsiteX14" fmla="*/ 116145 w 175380"/>
                  <a:gd name="connsiteY14" fmla="*/ 190056 h 233473"/>
                  <a:gd name="connsiteX15" fmla="*/ 137263 w 175380"/>
                  <a:gd name="connsiteY15" fmla="*/ 108604 h 233473"/>
                  <a:gd name="connsiteX16" fmla="*/ 173463 w 175380"/>
                  <a:gd name="connsiteY16" fmla="*/ 60335 h 233473"/>
                  <a:gd name="connsiteX17" fmla="*/ 125196 w 175380"/>
                  <a:gd name="connsiteY17" fmla="*/ 3017 h 233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5380" h="233473">
                    <a:moveTo>
                      <a:pt x="125196" y="3017"/>
                    </a:moveTo>
                    <a:cubicBezTo>
                      <a:pt x="122179" y="0"/>
                      <a:pt x="119162" y="0"/>
                      <a:pt x="116145" y="0"/>
                    </a:cubicBezTo>
                    <a:cubicBezTo>
                      <a:pt x="79945" y="12067"/>
                      <a:pt x="22625" y="39218"/>
                      <a:pt x="13575" y="75419"/>
                    </a:cubicBezTo>
                    <a:cubicBezTo>
                      <a:pt x="4526" y="99553"/>
                      <a:pt x="4526" y="129720"/>
                      <a:pt x="1509" y="153855"/>
                    </a:cubicBezTo>
                    <a:cubicBezTo>
                      <a:pt x="1509" y="165922"/>
                      <a:pt x="-4525" y="177989"/>
                      <a:pt x="7542" y="184023"/>
                    </a:cubicBezTo>
                    <a:cubicBezTo>
                      <a:pt x="10558" y="187039"/>
                      <a:pt x="13575" y="187039"/>
                      <a:pt x="16592" y="184023"/>
                    </a:cubicBezTo>
                    <a:cubicBezTo>
                      <a:pt x="19609" y="181006"/>
                      <a:pt x="22625" y="177989"/>
                      <a:pt x="25642" y="171955"/>
                    </a:cubicBezTo>
                    <a:cubicBezTo>
                      <a:pt x="25642" y="184023"/>
                      <a:pt x="28659" y="196089"/>
                      <a:pt x="28659" y="208156"/>
                    </a:cubicBezTo>
                    <a:cubicBezTo>
                      <a:pt x="31676" y="217206"/>
                      <a:pt x="31676" y="229274"/>
                      <a:pt x="43743" y="232290"/>
                    </a:cubicBezTo>
                    <a:cubicBezTo>
                      <a:pt x="52793" y="235307"/>
                      <a:pt x="58827" y="232290"/>
                      <a:pt x="61844" y="226257"/>
                    </a:cubicBezTo>
                    <a:cubicBezTo>
                      <a:pt x="61844" y="226257"/>
                      <a:pt x="61844" y="226257"/>
                      <a:pt x="61844" y="226257"/>
                    </a:cubicBezTo>
                    <a:cubicBezTo>
                      <a:pt x="64861" y="229274"/>
                      <a:pt x="64861" y="229274"/>
                      <a:pt x="67877" y="229274"/>
                    </a:cubicBezTo>
                    <a:cubicBezTo>
                      <a:pt x="85977" y="229274"/>
                      <a:pt x="92011" y="205139"/>
                      <a:pt x="95028" y="181006"/>
                    </a:cubicBezTo>
                    <a:cubicBezTo>
                      <a:pt x="98044" y="184023"/>
                      <a:pt x="101061" y="190056"/>
                      <a:pt x="107095" y="193072"/>
                    </a:cubicBezTo>
                    <a:cubicBezTo>
                      <a:pt x="110112" y="196089"/>
                      <a:pt x="113128" y="193072"/>
                      <a:pt x="116145" y="190056"/>
                    </a:cubicBezTo>
                    <a:cubicBezTo>
                      <a:pt x="128212" y="165922"/>
                      <a:pt x="122179" y="132737"/>
                      <a:pt x="137263" y="108604"/>
                    </a:cubicBezTo>
                    <a:cubicBezTo>
                      <a:pt x="149330" y="90503"/>
                      <a:pt x="167430" y="81452"/>
                      <a:pt x="173463" y="60335"/>
                    </a:cubicBezTo>
                    <a:cubicBezTo>
                      <a:pt x="182514" y="27151"/>
                      <a:pt x="158380" y="3017"/>
                      <a:pt x="125196" y="301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3910979B-7FC9-497C-87F5-E2DA5C8158B9}"/>
                  </a:ext>
                </a:extLst>
              </p:cNvPr>
              <p:cNvSpPr/>
              <p:nvPr/>
            </p:nvSpPr>
            <p:spPr>
              <a:xfrm>
                <a:off x="15147055" y="9907244"/>
                <a:ext cx="34333" cy="127953"/>
              </a:xfrm>
              <a:custGeom>
                <a:avLst/>
                <a:gdLst>
                  <a:gd name="connsiteX0" fmla="*/ 16987 w 34333"/>
                  <a:gd name="connsiteY0" fmla="*/ 127954 h 127953"/>
                  <a:gd name="connsiteX1" fmla="*/ 4920 w 34333"/>
                  <a:gd name="connsiteY1" fmla="*/ 121920 h 127953"/>
                  <a:gd name="connsiteX2" fmla="*/ 16987 w 34333"/>
                  <a:gd name="connsiteY2" fmla="*/ 4266 h 127953"/>
                  <a:gd name="connsiteX3" fmla="*/ 23020 w 34333"/>
                  <a:gd name="connsiteY3" fmla="*/ 1249 h 127953"/>
                  <a:gd name="connsiteX4" fmla="*/ 26037 w 34333"/>
                  <a:gd name="connsiteY4" fmla="*/ 7283 h 127953"/>
                  <a:gd name="connsiteX5" fmla="*/ 10953 w 34333"/>
                  <a:gd name="connsiteY5" fmla="*/ 112870 h 127953"/>
                  <a:gd name="connsiteX6" fmla="*/ 10953 w 34333"/>
                  <a:gd name="connsiteY6" fmla="*/ 112870 h 127953"/>
                  <a:gd name="connsiteX7" fmla="*/ 10953 w 34333"/>
                  <a:gd name="connsiteY7" fmla="*/ 112870 h 127953"/>
                  <a:gd name="connsiteX8" fmla="*/ 23020 w 34333"/>
                  <a:gd name="connsiteY8" fmla="*/ 103820 h 127953"/>
                  <a:gd name="connsiteX9" fmla="*/ 32071 w 34333"/>
                  <a:gd name="connsiteY9" fmla="*/ 103820 h 127953"/>
                  <a:gd name="connsiteX10" fmla="*/ 32071 w 34333"/>
                  <a:gd name="connsiteY10" fmla="*/ 112870 h 127953"/>
                  <a:gd name="connsiteX11" fmla="*/ 16987 w 34333"/>
                  <a:gd name="connsiteY11" fmla="*/ 127954 h 127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4333" h="127953">
                    <a:moveTo>
                      <a:pt x="16987" y="127954"/>
                    </a:moveTo>
                    <a:cubicBezTo>
                      <a:pt x="13970" y="127954"/>
                      <a:pt x="7937" y="124937"/>
                      <a:pt x="4920" y="121920"/>
                    </a:cubicBezTo>
                    <a:cubicBezTo>
                      <a:pt x="-10164" y="100803"/>
                      <a:pt x="13970" y="22367"/>
                      <a:pt x="16987" y="4266"/>
                    </a:cubicBezTo>
                    <a:cubicBezTo>
                      <a:pt x="16987" y="1249"/>
                      <a:pt x="20003" y="-1767"/>
                      <a:pt x="23020" y="1249"/>
                    </a:cubicBezTo>
                    <a:cubicBezTo>
                      <a:pt x="26037" y="1249"/>
                      <a:pt x="29054" y="4266"/>
                      <a:pt x="26037" y="7283"/>
                    </a:cubicBezTo>
                    <a:cubicBezTo>
                      <a:pt x="13970" y="43485"/>
                      <a:pt x="1904" y="100803"/>
                      <a:pt x="10953" y="112870"/>
                    </a:cubicBezTo>
                    <a:cubicBezTo>
                      <a:pt x="10953" y="112870"/>
                      <a:pt x="10953" y="112870"/>
                      <a:pt x="10953" y="112870"/>
                    </a:cubicBezTo>
                    <a:lnTo>
                      <a:pt x="10953" y="112870"/>
                    </a:lnTo>
                    <a:cubicBezTo>
                      <a:pt x="13970" y="112870"/>
                      <a:pt x="20003" y="106836"/>
                      <a:pt x="23020" y="103820"/>
                    </a:cubicBezTo>
                    <a:cubicBezTo>
                      <a:pt x="26037" y="100803"/>
                      <a:pt x="29054" y="100803"/>
                      <a:pt x="32071" y="103820"/>
                    </a:cubicBezTo>
                    <a:cubicBezTo>
                      <a:pt x="35087" y="106836"/>
                      <a:pt x="35087" y="109853"/>
                      <a:pt x="32071" y="112870"/>
                    </a:cubicBezTo>
                    <a:cubicBezTo>
                      <a:pt x="38104" y="115887"/>
                      <a:pt x="29054" y="127954"/>
                      <a:pt x="16987" y="12795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66ECA360-B374-424A-8515-BCEEFBECE60C}"/>
                  </a:ext>
                </a:extLst>
              </p:cNvPr>
              <p:cNvSpPr/>
              <p:nvPr/>
            </p:nvSpPr>
            <p:spPr>
              <a:xfrm>
                <a:off x="15178510" y="9941678"/>
                <a:ext cx="48883" cy="141788"/>
              </a:xfrm>
              <a:custGeom>
                <a:avLst/>
                <a:gdLst>
                  <a:gd name="connsiteX0" fmla="*/ 27766 w 48883"/>
                  <a:gd name="connsiteY0" fmla="*/ 141788 h 141788"/>
                  <a:gd name="connsiteX1" fmla="*/ 18716 w 48883"/>
                  <a:gd name="connsiteY1" fmla="*/ 138771 h 141788"/>
                  <a:gd name="connsiteX2" fmla="*/ 616 w 48883"/>
                  <a:gd name="connsiteY2" fmla="*/ 99554 h 141788"/>
                  <a:gd name="connsiteX3" fmla="*/ 616 w 48883"/>
                  <a:gd name="connsiteY3" fmla="*/ 96537 h 141788"/>
                  <a:gd name="connsiteX4" fmla="*/ 6649 w 48883"/>
                  <a:gd name="connsiteY4" fmla="*/ 6034 h 141788"/>
                  <a:gd name="connsiteX5" fmla="*/ 12683 w 48883"/>
                  <a:gd name="connsiteY5" fmla="*/ 0 h 141788"/>
                  <a:gd name="connsiteX6" fmla="*/ 18716 w 48883"/>
                  <a:gd name="connsiteY6" fmla="*/ 6034 h 141788"/>
                  <a:gd name="connsiteX7" fmla="*/ 12683 w 48883"/>
                  <a:gd name="connsiteY7" fmla="*/ 93520 h 141788"/>
                  <a:gd name="connsiteX8" fmla="*/ 12683 w 48883"/>
                  <a:gd name="connsiteY8" fmla="*/ 96537 h 141788"/>
                  <a:gd name="connsiteX9" fmla="*/ 24749 w 48883"/>
                  <a:gd name="connsiteY9" fmla="*/ 126704 h 141788"/>
                  <a:gd name="connsiteX10" fmla="*/ 36816 w 48883"/>
                  <a:gd name="connsiteY10" fmla="*/ 126704 h 141788"/>
                  <a:gd name="connsiteX11" fmla="*/ 36816 w 48883"/>
                  <a:gd name="connsiteY11" fmla="*/ 21118 h 141788"/>
                  <a:gd name="connsiteX12" fmla="*/ 45867 w 48883"/>
                  <a:gd name="connsiteY12" fmla="*/ 18101 h 141788"/>
                  <a:gd name="connsiteX13" fmla="*/ 48883 w 48883"/>
                  <a:gd name="connsiteY13" fmla="*/ 27151 h 141788"/>
                  <a:gd name="connsiteX14" fmla="*/ 48883 w 48883"/>
                  <a:gd name="connsiteY14" fmla="*/ 129721 h 141788"/>
                  <a:gd name="connsiteX15" fmla="*/ 45867 w 48883"/>
                  <a:gd name="connsiteY15" fmla="*/ 135754 h 141788"/>
                  <a:gd name="connsiteX16" fmla="*/ 27766 w 48883"/>
                  <a:gd name="connsiteY16" fmla="*/ 141788 h 141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8883" h="141788">
                    <a:moveTo>
                      <a:pt x="27766" y="141788"/>
                    </a:moveTo>
                    <a:cubicBezTo>
                      <a:pt x="24749" y="141788"/>
                      <a:pt x="21733" y="141788"/>
                      <a:pt x="18716" y="138771"/>
                    </a:cubicBezTo>
                    <a:cubicBezTo>
                      <a:pt x="6649" y="132737"/>
                      <a:pt x="3632" y="114637"/>
                      <a:pt x="616" y="99554"/>
                    </a:cubicBezTo>
                    <a:lnTo>
                      <a:pt x="616" y="96537"/>
                    </a:lnTo>
                    <a:cubicBezTo>
                      <a:pt x="-2401" y="75419"/>
                      <a:pt x="6649" y="9051"/>
                      <a:pt x="6649" y="6034"/>
                    </a:cubicBezTo>
                    <a:cubicBezTo>
                      <a:pt x="6649" y="3017"/>
                      <a:pt x="9666" y="0"/>
                      <a:pt x="12683" y="0"/>
                    </a:cubicBezTo>
                    <a:cubicBezTo>
                      <a:pt x="15700" y="0"/>
                      <a:pt x="18716" y="3017"/>
                      <a:pt x="18716" y="6034"/>
                    </a:cubicBezTo>
                    <a:cubicBezTo>
                      <a:pt x="15700" y="24135"/>
                      <a:pt x="9666" y="78436"/>
                      <a:pt x="12683" y="93520"/>
                    </a:cubicBezTo>
                    <a:lnTo>
                      <a:pt x="12683" y="96537"/>
                    </a:lnTo>
                    <a:cubicBezTo>
                      <a:pt x="15700" y="108604"/>
                      <a:pt x="15700" y="123687"/>
                      <a:pt x="24749" y="126704"/>
                    </a:cubicBezTo>
                    <a:cubicBezTo>
                      <a:pt x="27766" y="126704"/>
                      <a:pt x="30783" y="126704"/>
                      <a:pt x="36816" y="126704"/>
                    </a:cubicBezTo>
                    <a:cubicBezTo>
                      <a:pt x="33799" y="108604"/>
                      <a:pt x="24749" y="48268"/>
                      <a:pt x="36816" y="21118"/>
                    </a:cubicBezTo>
                    <a:cubicBezTo>
                      <a:pt x="36816" y="18101"/>
                      <a:pt x="42850" y="18101"/>
                      <a:pt x="45867" y="18101"/>
                    </a:cubicBezTo>
                    <a:cubicBezTo>
                      <a:pt x="48883" y="18101"/>
                      <a:pt x="48883" y="24135"/>
                      <a:pt x="48883" y="27151"/>
                    </a:cubicBezTo>
                    <a:cubicBezTo>
                      <a:pt x="36816" y="54302"/>
                      <a:pt x="48883" y="129721"/>
                      <a:pt x="48883" y="129721"/>
                    </a:cubicBezTo>
                    <a:cubicBezTo>
                      <a:pt x="48883" y="132737"/>
                      <a:pt x="48883" y="135754"/>
                      <a:pt x="45867" y="135754"/>
                    </a:cubicBezTo>
                    <a:cubicBezTo>
                      <a:pt x="36816" y="141788"/>
                      <a:pt x="30783" y="141788"/>
                      <a:pt x="27766" y="14178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24D7F696-51DE-44DE-A0B0-E38F3A8E309C}"/>
                  </a:ext>
                </a:extLst>
              </p:cNvPr>
              <p:cNvSpPr/>
              <p:nvPr/>
            </p:nvSpPr>
            <p:spPr>
              <a:xfrm>
                <a:off x="15212310" y="9933382"/>
                <a:ext cx="59581" cy="150083"/>
              </a:xfrm>
              <a:custGeom>
                <a:avLst/>
                <a:gdLst>
                  <a:gd name="connsiteX0" fmla="*/ 15084 w 59581"/>
                  <a:gd name="connsiteY0" fmla="*/ 150084 h 150083"/>
                  <a:gd name="connsiteX1" fmla="*/ 3017 w 59581"/>
                  <a:gd name="connsiteY1" fmla="*/ 147067 h 150083"/>
                  <a:gd name="connsiteX2" fmla="*/ 0 w 59581"/>
                  <a:gd name="connsiteY2" fmla="*/ 138017 h 150083"/>
                  <a:gd name="connsiteX3" fmla="*/ 9051 w 59581"/>
                  <a:gd name="connsiteY3" fmla="*/ 135000 h 150083"/>
                  <a:gd name="connsiteX4" fmla="*/ 24135 w 59581"/>
                  <a:gd name="connsiteY4" fmla="*/ 131983 h 150083"/>
                  <a:gd name="connsiteX5" fmla="*/ 33185 w 59581"/>
                  <a:gd name="connsiteY5" fmla="*/ 95782 h 150083"/>
                  <a:gd name="connsiteX6" fmla="*/ 27152 w 59581"/>
                  <a:gd name="connsiteY6" fmla="*/ 35446 h 150083"/>
                  <a:gd name="connsiteX7" fmla="*/ 48268 w 59581"/>
                  <a:gd name="connsiteY7" fmla="*/ 2263 h 150083"/>
                  <a:gd name="connsiteX8" fmla="*/ 57319 w 59581"/>
                  <a:gd name="connsiteY8" fmla="*/ 2263 h 150083"/>
                  <a:gd name="connsiteX9" fmla="*/ 57319 w 59581"/>
                  <a:gd name="connsiteY9" fmla="*/ 11313 h 150083"/>
                  <a:gd name="connsiteX10" fmla="*/ 39218 w 59581"/>
                  <a:gd name="connsiteY10" fmla="*/ 41480 h 150083"/>
                  <a:gd name="connsiteX11" fmla="*/ 45251 w 59581"/>
                  <a:gd name="connsiteY11" fmla="*/ 98798 h 150083"/>
                  <a:gd name="connsiteX12" fmla="*/ 33185 w 59581"/>
                  <a:gd name="connsiteY12" fmla="*/ 144050 h 150083"/>
                  <a:gd name="connsiteX13" fmla="*/ 15084 w 59581"/>
                  <a:gd name="connsiteY13" fmla="*/ 150084 h 150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9581" h="150083">
                    <a:moveTo>
                      <a:pt x="15084" y="150084"/>
                    </a:moveTo>
                    <a:cubicBezTo>
                      <a:pt x="9051" y="150084"/>
                      <a:pt x="6034" y="147067"/>
                      <a:pt x="3017" y="147067"/>
                    </a:cubicBezTo>
                    <a:cubicBezTo>
                      <a:pt x="0" y="144050"/>
                      <a:pt x="0" y="141033"/>
                      <a:pt x="0" y="138017"/>
                    </a:cubicBezTo>
                    <a:cubicBezTo>
                      <a:pt x="3017" y="135000"/>
                      <a:pt x="6034" y="135000"/>
                      <a:pt x="9051" y="135000"/>
                    </a:cubicBezTo>
                    <a:cubicBezTo>
                      <a:pt x="12068" y="135000"/>
                      <a:pt x="18101" y="141033"/>
                      <a:pt x="24135" y="131983"/>
                    </a:cubicBezTo>
                    <a:cubicBezTo>
                      <a:pt x="33185" y="119916"/>
                      <a:pt x="33185" y="95782"/>
                      <a:pt x="33185" y="95782"/>
                    </a:cubicBezTo>
                    <a:cubicBezTo>
                      <a:pt x="33185" y="86732"/>
                      <a:pt x="24135" y="44497"/>
                      <a:pt x="27152" y="35446"/>
                    </a:cubicBezTo>
                    <a:cubicBezTo>
                      <a:pt x="30168" y="23379"/>
                      <a:pt x="45251" y="5279"/>
                      <a:pt x="48268" y="2263"/>
                    </a:cubicBezTo>
                    <a:cubicBezTo>
                      <a:pt x="51285" y="-754"/>
                      <a:pt x="54302" y="-754"/>
                      <a:pt x="57319" y="2263"/>
                    </a:cubicBezTo>
                    <a:cubicBezTo>
                      <a:pt x="60335" y="5279"/>
                      <a:pt x="60335" y="8296"/>
                      <a:pt x="57319" y="11313"/>
                    </a:cubicBezTo>
                    <a:cubicBezTo>
                      <a:pt x="51285" y="20363"/>
                      <a:pt x="39218" y="32430"/>
                      <a:pt x="39218" y="41480"/>
                    </a:cubicBezTo>
                    <a:cubicBezTo>
                      <a:pt x="36201" y="47514"/>
                      <a:pt x="42235" y="74665"/>
                      <a:pt x="45251" y="98798"/>
                    </a:cubicBezTo>
                    <a:cubicBezTo>
                      <a:pt x="45251" y="101815"/>
                      <a:pt x="45251" y="125949"/>
                      <a:pt x="33185" y="144050"/>
                    </a:cubicBezTo>
                    <a:cubicBezTo>
                      <a:pt x="30168" y="147067"/>
                      <a:pt x="21118" y="150084"/>
                      <a:pt x="15084" y="15008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04E2CAF8-9A8D-463E-91AB-5E1B1560EB3C}"/>
                </a:ext>
              </a:extLst>
            </p:cNvPr>
            <p:cNvSpPr/>
            <p:nvPr/>
          </p:nvSpPr>
          <p:spPr>
            <a:xfrm>
              <a:off x="15227393" y="8831679"/>
              <a:ext cx="470752" cy="1091897"/>
            </a:xfrm>
            <a:custGeom>
              <a:avLst/>
              <a:gdLst>
                <a:gd name="connsiteX0" fmla="*/ 226257 w 470752"/>
                <a:gd name="connsiteY0" fmla="*/ 54133 h 1091897"/>
                <a:gd name="connsiteX1" fmla="*/ 30168 w 470752"/>
                <a:gd name="connsiteY1" fmla="*/ 211005 h 1091897"/>
                <a:gd name="connsiteX2" fmla="*/ 256425 w 470752"/>
                <a:gd name="connsiteY2" fmla="*/ 636368 h 1091897"/>
                <a:gd name="connsiteX3" fmla="*/ 0 w 470752"/>
                <a:gd name="connsiteY3" fmla="*/ 1052680 h 1091897"/>
                <a:gd name="connsiteX4" fmla="*/ 93520 w 470752"/>
                <a:gd name="connsiteY4" fmla="*/ 1091898 h 1091897"/>
                <a:gd name="connsiteX5" fmla="*/ 467598 w 470752"/>
                <a:gd name="connsiteY5" fmla="*/ 657485 h 1091897"/>
                <a:gd name="connsiteX6" fmla="*/ 226257 w 470752"/>
                <a:gd name="connsiteY6" fmla="*/ 54133 h 1091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0752" h="1091897">
                  <a:moveTo>
                    <a:pt x="226257" y="54133"/>
                  </a:moveTo>
                  <a:cubicBezTo>
                    <a:pt x="114637" y="-90671"/>
                    <a:pt x="-15084" y="87317"/>
                    <a:pt x="30168" y="211005"/>
                  </a:cubicBezTo>
                  <a:cubicBezTo>
                    <a:pt x="72403" y="331675"/>
                    <a:pt x="223241" y="563965"/>
                    <a:pt x="256425" y="636368"/>
                  </a:cubicBezTo>
                  <a:cubicBezTo>
                    <a:pt x="241341" y="729887"/>
                    <a:pt x="0" y="1052680"/>
                    <a:pt x="0" y="1052680"/>
                  </a:cubicBezTo>
                  <a:cubicBezTo>
                    <a:pt x="24135" y="1073798"/>
                    <a:pt x="93520" y="1091898"/>
                    <a:pt x="93520" y="1091898"/>
                  </a:cubicBezTo>
                  <a:cubicBezTo>
                    <a:pt x="93520" y="1091898"/>
                    <a:pt x="410280" y="775138"/>
                    <a:pt x="467598" y="657485"/>
                  </a:cubicBezTo>
                  <a:cubicBezTo>
                    <a:pt x="494749" y="594133"/>
                    <a:pt x="340894" y="204971"/>
                    <a:pt x="226257" y="54133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96A3F7E7-2896-4212-8D1B-4A5A7BF959E7}"/>
                </a:ext>
              </a:extLst>
            </p:cNvPr>
            <p:cNvSpPr/>
            <p:nvPr/>
          </p:nvSpPr>
          <p:spPr>
            <a:xfrm>
              <a:off x="15203136" y="8743524"/>
              <a:ext cx="386268" cy="436334"/>
            </a:xfrm>
            <a:custGeom>
              <a:avLst/>
              <a:gdLst>
                <a:gd name="connsiteX0" fmla="*/ 386268 w 386268"/>
                <a:gd name="connsiteY0" fmla="*/ 278042 h 436334"/>
                <a:gd name="connsiteX1" fmla="*/ 96660 w 386268"/>
                <a:gd name="connsiteY1" fmla="*/ 500 h 436334"/>
                <a:gd name="connsiteX2" fmla="*/ 51409 w 386268"/>
                <a:gd name="connsiteY2" fmla="*/ 434914 h 436334"/>
                <a:gd name="connsiteX3" fmla="*/ 386268 w 386268"/>
                <a:gd name="connsiteY3" fmla="*/ 278042 h 436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6268" h="436334">
                  <a:moveTo>
                    <a:pt x="386268" y="278042"/>
                  </a:moveTo>
                  <a:cubicBezTo>
                    <a:pt x="325933" y="106087"/>
                    <a:pt x="175095" y="-8550"/>
                    <a:pt x="96660" y="500"/>
                  </a:cubicBezTo>
                  <a:cubicBezTo>
                    <a:pt x="-5910" y="12567"/>
                    <a:pt x="-36078" y="250891"/>
                    <a:pt x="51409" y="434914"/>
                  </a:cubicBezTo>
                  <a:cubicBezTo>
                    <a:pt x="123811" y="449997"/>
                    <a:pt x="304817" y="341394"/>
                    <a:pt x="386268" y="278042"/>
                  </a:cubicBezTo>
                  <a:close/>
                </a:path>
              </a:pathLst>
            </a:custGeom>
            <a:solidFill>
              <a:srgbClr val="F6EBE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B99196C7-4235-4A67-BD7E-2AA16D143037}"/>
                </a:ext>
              </a:extLst>
            </p:cNvPr>
            <p:cNvSpPr/>
            <p:nvPr/>
          </p:nvSpPr>
          <p:spPr>
            <a:xfrm>
              <a:off x="15198246" y="8744024"/>
              <a:ext cx="198086" cy="443463"/>
            </a:xfrm>
            <a:custGeom>
              <a:avLst/>
              <a:gdLst>
                <a:gd name="connsiteX0" fmla="*/ 65349 w 198086"/>
                <a:gd name="connsiteY0" fmla="*/ 443464 h 443463"/>
                <a:gd name="connsiteX1" fmla="*/ 56299 w 198086"/>
                <a:gd name="connsiteY1" fmla="*/ 443464 h 443463"/>
                <a:gd name="connsiteX2" fmla="*/ 53283 w 198086"/>
                <a:gd name="connsiteY2" fmla="*/ 443464 h 443463"/>
                <a:gd name="connsiteX3" fmla="*/ 53283 w 198086"/>
                <a:gd name="connsiteY3" fmla="*/ 440447 h 443463"/>
                <a:gd name="connsiteX4" fmla="*/ 5014 w 198086"/>
                <a:gd name="connsiteY4" fmla="*/ 144805 h 443463"/>
                <a:gd name="connsiteX5" fmla="*/ 8031 w 198086"/>
                <a:gd name="connsiteY5" fmla="*/ 135754 h 443463"/>
                <a:gd name="connsiteX6" fmla="*/ 86467 w 198086"/>
                <a:gd name="connsiteY6" fmla="*/ 0 h 443463"/>
                <a:gd name="connsiteX7" fmla="*/ 92500 w 198086"/>
                <a:gd name="connsiteY7" fmla="*/ 3017 h 443463"/>
                <a:gd name="connsiteX8" fmla="*/ 89483 w 198086"/>
                <a:gd name="connsiteY8" fmla="*/ 9050 h 443463"/>
                <a:gd name="connsiteX9" fmla="*/ 17081 w 198086"/>
                <a:gd name="connsiteY9" fmla="*/ 135754 h 443463"/>
                <a:gd name="connsiteX10" fmla="*/ 14064 w 198086"/>
                <a:gd name="connsiteY10" fmla="*/ 144805 h 443463"/>
                <a:gd name="connsiteX11" fmla="*/ 59315 w 198086"/>
                <a:gd name="connsiteY11" fmla="*/ 431397 h 443463"/>
                <a:gd name="connsiteX12" fmla="*/ 192054 w 198086"/>
                <a:gd name="connsiteY12" fmla="*/ 392179 h 443463"/>
                <a:gd name="connsiteX13" fmla="*/ 198087 w 198086"/>
                <a:gd name="connsiteY13" fmla="*/ 395196 h 443463"/>
                <a:gd name="connsiteX14" fmla="*/ 195070 w 198086"/>
                <a:gd name="connsiteY14" fmla="*/ 401229 h 443463"/>
                <a:gd name="connsiteX15" fmla="*/ 65349 w 198086"/>
                <a:gd name="connsiteY15" fmla="*/ 443464 h 443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8086" h="443463">
                  <a:moveTo>
                    <a:pt x="65349" y="443464"/>
                  </a:moveTo>
                  <a:cubicBezTo>
                    <a:pt x="62332" y="443464"/>
                    <a:pt x="59315" y="443464"/>
                    <a:pt x="56299" y="443464"/>
                  </a:cubicBezTo>
                  <a:lnTo>
                    <a:pt x="53283" y="443464"/>
                  </a:lnTo>
                  <a:lnTo>
                    <a:pt x="53283" y="440447"/>
                  </a:lnTo>
                  <a:cubicBezTo>
                    <a:pt x="35182" y="413296"/>
                    <a:pt x="-16103" y="250391"/>
                    <a:pt x="5014" y="144805"/>
                  </a:cubicBezTo>
                  <a:cubicBezTo>
                    <a:pt x="5014" y="141788"/>
                    <a:pt x="5014" y="138771"/>
                    <a:pt x="8031" y="135754"/>
                  </a:cubicBezTo>
                  <a:cubicBezTo>
                    <a:pt x="14064" y="102570"/>
                    <a:pt x="26132" y="30168"/>
                    <a:pt x="86467" y="0"/>
                  </a:cubicBezTo>
                  <a:cubicBezTo>
                    <a:pt x="89483" y="0"/>
                    <a:pt x="92500" y="0"/>
                    <a:pt x="92500" y="3017"/>
                  </a:cubicBezTo>
                  <a:cubicBezTo>
                    <a:pt x="92500" y="6033"/>
                    <a:pt x="92500" y="9050"/>
                    <a:pt x="89483" y="9050"/>
                  </a:cubicBezTo>
                  <a:cubicBezTo>
                    <a:pt x="35182" y="36201"/>
                    <a:pt x="23115" y="102570"/>
                    <a:pt x="17081" y="135754"/>
                  </a:cubicBezTo>
                  <a:cubicBezTo>
                    <a:pt x="17081" y="138771"/>
                    <a:pt x="17081" y="141788"/>
                    <a:pt x="14064" y="144805"/>
                  </a:cubicBezTo>
                  <a:cubicBezTo>
                    <a:pt x="-7053" y="241341"/>
                    <a:pt x="41216" y="398212"/>
                    <a:pt x="59315" y="431397"/>
                  </a:cubicBezTo>
                  <a:cubicBezTo>
                    <a:pt x="86467" y="434414"/>
                    <a:pt x="128702" y="419330"/>
                    <a:pt x="192054" y="392179"/>
                  </a:cubicBezTo>
                  <a:cubicBezTo>
                    <a:pt x="195070" y="392179"/>
                    <a:pt x="198087" y="392179"/>
                    <a:pt x="198087" y="395196"/>
                  </a:cubicBezTo>
                  <a:cubicBezTo>
                    <a:pt x="198087" y="398212"/>
                    <a:pt x="198087" y="401229"/>
                    <a:pt x="195070" y="401229"/>
                  </a:cubicBezTo>
                  <a:cubicBezTo>
                    <a:pt x="134735" y="428380"/>
                    <a:pt x="92500" y="443464"/>
                    <a:pt x="65349" y="443464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27877579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B8040198-FF27-483C-A160-D9D03A632711}"/>
              </a:ext>
            </a:extLst>
          </p:cNvPr>
          <p:cNvGrpSpPr/>
          <p:nvPr/>
        </p:nvGrpSpPr>
        <p:grpSpPr>
          <a:xfrm>
            <a:off x="6413768" y="2089399"/>
            <a:ext cx="2391738" cy="4757788"/>
            <a:chOff x="6010030" y="7690817"/>
            <a:chExt cx="2391738" cy="4757788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B4EDFAA2-93E2-4A84-B639-0BB6798E9839}"/>
                </a:ext>
              </a:extLst>
            </p:cNvPr>
            <p:cNvSpPr/>
            <p:nvPr/>
          </p:nvSpPr>
          <p:spPr>
            <a:xfrm>
              <a:off x="6705047" y="8513203"/>
              <a:ext cx="445867" cy="604900"/>
            </a:xfrm>
            <a:custGeom>
              <a:avLst/>
              <a:gdLst>
                <a:gd name="connsiteX0" fmla="*/ 383128 w 445867"/>
                <a:gd name="connsiteY0" fmla="*/ 604900 h 604900"/>
                <a:gd name="connsiteX1" fmla="*/ 395195 w 445867"/>
                <a:gd name="connsiteY1" fmla="*/ 10598 h 604900"/>
                <a:gd name="connsiteX2" fmla="*/ 0 w 445867"/>
                <a:gd name="connsiteY2" fmla="*/ 438978 h 604900"/>
                <a:gd name="connsiteX3" fmla="*/ 383128 w 445867"/>
                <a:gd name="connsiteY3" fmla="*/ 604900 h 6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5867" h="604900">
                  <a:moveTo>
                    <a:pt x="383128" y="604900"/>
                  </a:moveTo>
                  <a:cubicBezTo>
                    <a:pt x="383128" y="604900"/>
                    <a:pt x="515866" y="89034"/>
                    <a:pt x="395195" y="10598"/>
                  </a:cubicBezTo>
                  <a:cubicBezTo>
                    <a:pt x="253408" y="-79905"/>
                    <a:pt x="0" y="438978"/>
                    <a:pt x="0" y="438978"/>
                  </a:cubicBezTo>
                  <a:cubicBezTo>
                    <a:pt x="0" y="438978"/>
                    <a:pt x="171955" y="586800"/>
                    <a:pt x="383128" y="604900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416D386C-504F-48EC-944A-6671119A02AD}"/>
                </a:ext>
              </a:extLst>
            </p:cNvPr>
            <p:cNvGrpSpPr/>
            <p:nvPr/>
          </p:nvGrpSpPr>
          <p:grpSpPr>
            <a:xfrm>
              <a:off x="8009580" y="11839220"/>
              <a:ext cx="392188" cy="572905"/>
              <a:chOff x="8009580" y="11839220"/>
              <a:chExt cx="392188" cy="572905"/>
            </a:xfrm>
          </p:grpSpPr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DF0C6B85-0685-463D-B267-967F7432F7B7}"/>
                  </a:ext>
                </a:extLst>
              </p:cNvPr>
              <p:cNvSpPr/>
              <p:nvPr/>
            </p:nvSpPr>
            <p:spPr>
              <a:xfrm>
                <a:off x="8029405" y="11839220"/>
                <a:ext cx="271508" cy="253408"/>
              </a:xfrm>
              <a:custGeom>
                <a:avLst/>
                <a:gdLst>
                  <a:gd name="connsiteX0" fmla="*/ 253408 w 271508"/>
                  <a:gd name="connsiteY0" fmla="*/ 135754 h 253408"/>
                  <a:gd name="connsiteX1" fmla="*/ 129721 w 271508"/>
                  <a:gd name="connsiteY1" fmla="*/ 0 h 253408"/>
                  <a:gd name="connsiteX2" fmla="*/ 0 w 271508"/>
                  <a:gd name="connsiteY2" fmla="*/ 123687 h 253408"/>
                  <a:gd name="connsiteX3" fmla="*/ 141788 w 271508"/>
                  <a:gd name="connsiteY3" fmla="*/ 253409 h 253408"/>
                  <a:gd name="connsiteX4" fmla="*/ 271508 w 271508"/>
                  <a:gd name="connsiteY4" fmla="*/ 171956 h 25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1508" h="253408">
                    <a:moveTo>
                      <a:pt x="253408" y="135754"/>
                    </a:moveTo>
                    <a:lnTo>
                      <a:pt x="129721" y="0"/>
                    </a:lnTo>
                    <a:lnTo>
                      <a:pt x="0" y="123687"/>
                    </a:lnTo>
                    <a:lnTo>
                      <a:pt x="141788" y="253409"/>
                    </a:lnTo>
                    <a:lnTo>
                      <a:pt x="271508" y="171956"/>
                    </a:ln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67EDD3FC-3350-48B0-99C2-680C0B44029C}"/>
                  </a:ext>
                </a:extLst>
              </p:cNvPr>
              <p:cNvSpPr/>
              <p:nvPr/>
            </p:nvSpPr>
            <p:spPr>
              <a:xfrm>
                <a:off x="8009580" y="11965924"/>
                <a:ext cx="360718" cy="413296"/>
              </a:xfrm>
              <a:custGeom>
                <a:avLst/>
                <a:gdLst>
                  <a:gd name="connsiteX0" fmla="*/ 282283 w 360718"/>
                  <a:gd name="connsiteY0" fmla="*/ 0 h 413296"/>
                  <a:gd name="connsiteX1" fmla="*/ 116361 w 360718"/>
                  <a:gd name="connsiteY1" fmla="*/ 93520 h 413296"/>
                  <a:gd name="connsiteX2" fmla="*/ 77143 w 360718"/>
                  <a:gd name="connsiteY2" fmla="*/ 241341 h 413296"/>
                  <a:gd name="connsiteX3" fmla="*/ 10774 w 360718"/>
                  <a:gd name="connsiteY3" fmla="*/ 413296 h 413296"/>
                  <a:gd name="connsiteX4" fmla="*/ 360718 w 360718"/>
                  <a:gd name="connsiteY4" fmla="*/ 78436 h 413296"/>
                  <a:gd name="connsiteX5" fmla="*/ 282283 w 360718"/>
                  <a:gd name="connsiteY5" fmla="*/ 0 h 413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0718" h="413296">
                    <a:moveTo>
                      <a:pt x="282283" y="0"/>
                    </a:moveTo>
                    <a:cubicBezTo>
                      <a:pt x="282283" y="0"/>
                      <a:pt x="206864" y="99553"/>
                      <a:pt x="116361" y="93520"/>
                    </a:cubicBezTo>
                    <a:cubicBezTo>
                      <a:pt x="116361" y="93520"/>
                      <a:pt x="101277" y="205139"/>
                      <a:pt x="77143" y="241341"/>
                    </a:cubicBezTo>
                    <a:cubicBezTo>
                      <a:pt x="49992" y="277542"/>
                      <a:pt x="-28443" y="352961"/>
                      <a:pt x="10774" y="413296"/>
                    </a:cubicBezTo>
                    <a:lnTo>
                      <a:pt x="360718" y="78436"/>
                    </a:lnTo>
                    <a:cubicBezTo>
                      <a:pt x="360718" y="81453"/>
                      <a:pt x="330551" y="24134"/>
                      <a:pt x="282283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BEB91EE4-F0C5-43F5-A82B-B1AE9AC44D64}"/>
                  </a:ext>
                </a:extLst>
              </p:cNvPr>
              <p:cNvSpPr/>
              <p:nvPr/>
            </p:nvSpPr>
            <p:spPr>
              <a:xfrm rot="-2621480">
                <a:off x="7970275" y="12206420"/>
                <a:ext cx="482700" cy="45253"/>
              </a:xfrm>
              <a:custGeom>
                <a:avLst/>
                <a:gdLst>
                  <a:gd name="connsiteX0" fmla="*/ 0 w 482700"/>
                  <a:gd name="connsiteY0" fmla="*/ 0 h 45253"/>
                  <a:gd name="connsiteX1" fmla="*/ 482700 w 482700"/>
                  <a:gd name="connsiteY1" fmla="*/ 0 h 45253"/>
                  <a:gd name="connsiteX2" fmla="*/ 482700 w 482700"/>
                  <a:gd name="connsiteY2" fmla="*/ 45253 h 45253"/>
                  <a:gd name="connsiteX3" fmla="*/ 0 w 482700"/>
                  <a:gd name="connsiteY3" fmla="*/ 45253 h 45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2700" h="45253">
                    <a:moveTo>
                      <a:pt x="0" y="0"/>
                    </a:moveTo>
                    <a:lnTo>
                      <a:pt x="482700" y="0"/>
                    </a:lnTo>
                    <a:lnTo>
                      <a:pt x="482700" y="45253"/>
                    </a:lnTo>
                    <a:lnTo>
                      <a:pt x="0" y="45253"/>
                    </a:lnTo>
                    <a:close/>
                  </a:path>
                </a:pathLst>
              </a:custGeom>
              <a:solidFill>
                <a:srgbClr val="38333D"/>
              </a:solidFill>
              <a:ln w="301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3FFDCBA0-E716-47E5-ABD2-676D4B79F204}"/>
                  </a:ext>
                </a:extLst>
              </p:cNvPr>
              <p:cNvSpPr/>
              <p:nvPr/>
            </p:nvSpPr>
            <p:spPr>
              <a:xfrm>
                <a:off x="8119908" y="11960644"/>
                <a:ext cx="177234" cy="104832"/>
              </a:xfrm>
              <a:custGeom>
                <a:avLst/>
                <a:gdLst>
                  <a:gd name="connsiteX0" fmla="*/ 6033 w 177234"/>
                  <a:gd name="connsiteY0" fmla="*/ 104832 h 104832"/>
                  <a:gd name="connsiteX1" fmla="*/ 0 w 177234"/>
                  <a:gd name="connsiteY1" fmla="*/ 98799 h 104832"/>
                  <a:gd name="connsiteX2" fmla="*/ 6033 w 177234"/>
                  <a:gd name="connsiteY2" fmla="*/ 92766 h 104832"/>
                  <a:gd name="connsiteX3" fmla="*/ 165922 w 177234"/>
                  <a:gd name="connsiteY3" fmla="*/ 2263 h 104832"/>
                  <a:gd name="connsiteX4" fmla="*/ 174972 w 177234"/>
                  <a:gd name="connsiteY4" fmla="*/ 2263 h 104832"/>
                  <a:gd name="connsiteX5" fmla="*/ 174972 w 177234"/>
                  <a:gd name="connsiteY5" fmla="*/ 11314 h 104832"/>
                  <a:gd name="connsiteX6" fmla="*/ 6033 w 177234"/>
                  <a:gd name="connsiteY6" fmla="*/ 104832 h 104832"/>
                  <a:gd name="connsiteX7" fmla="*/ 6033 w 177234"/>
                  <a:gd name="connsiteY7" fmla="*/ 104832 h 104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7234" h="104832">
                    <a:moveTo>
                      <a:pt x="6033" y="104832"/>
                    </a:moveTo>
                    <a:cubicBezTo>
                      <a:pt x="3017" y="104832"/>
                      <a:pt x="0" y="101816"/>
                      <a:pt x="0" y="98799"/>
                    </a:cubicBezTo>
                    <a:cubicBezTo>
                      <a:pt x="0" y="95782"/>
                      <a:pt x="3017" y="92766"/>
                      <a:pt x="6033" y="92766"/>
                    </a:cubicBezTo>
                    <a:cubicBezTo>
                      <a:pt x="96536" y="89749"/>
                      <a:pt x="165922" y="2263"/>
                      <a:pt x="165922" y="2263"/>
                    </a:cubicBezTo>
                    <a:cubicBezTo>
                      <a:pt x="168939" y="-754"/>
                      <a:pt x="171955" y="-754"/>
                      <a:pt x="174972" y="2263"/>
                    </a:cubicBezTo>
                    <a:cubicBezTo>
                      <a:pt x="177989" y="5280"/>
                      <a:pt x="177989" y="8297"/>
                      <a:pt x="174972" y="11314"/>
                    </a:cubicBezTo>
                    <a:cubicBezTo>
                      <a:pt x="174972" y="11314"/>
                      <a:pt x="102570" y="101816"/>
                      <a:pt x="6033" y="104832"/>
                    </a:cubicBezTo>
                    <a:cubicBezTo>
                      <a:pt x="6033" y="104832"/>
                      <a:pt x="6033" y="104832"/>
                      <a:pt x="6033" y="10483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893B34E7-C19E-4DE2-9157-65B3020C5D96}"/>
                  </a:ext>
                </a:extLst>
              </p:cNvPr>
              <p:cNvSpPr/>
              <p:nvPr/>
            </p:nvSpPr>
            <p:spPr>
              <a:xfrm>
                <a:off x="8113874" y="12098661"/>
                <a:ext cx="48268" cy="12066"/>
              </a:xfrm>
              <a:custGeom>
                <a:avLst/>
                <a:gdLst>
                  <a:gd name="connsiteX0" fmla="*/ 42234 w 48268"/>
                  <a:gd name="connsiteY0" fmla="*/ 12067 h 12066"/>
                  <a:gd name="connsiteX1" fmla="*/ 42234 w 48268"/>
                  <a:gd name="connsiteY1" fmla="*/ 12067 h 12066"/>
                  <a:gd name="connsiteX2" fmla="*/ 6033 w 48268"/>
                  <a:gd name="connsiteY2" fmla="*/ 12067 h 12066"/>
                  <a:gd name="connsiteX3" fmla="*/ 0 w 48268"/>
                  <a:gd name="connsiteY3" fmla="*/ 6034 h 12066"/>
                  <a:gd name="connsiteX4" fmla="*/ 6033 w 48268"/>
                  <a:gd name="connsiteY4" fmla="*/ 0 h 12066"/>
                  <a:gd name="connsiteX5" fmla="*/ 42234 w 48268"/>
                  <a:gd name="connsiteY5" fmla="*/ 0 h 12066"/>
                  <a:gd name="connsiteX6" fmla="*/ 48268 w 48268"/>
                  <a:gd name="connsiteY6" fmla="*/ 6034 h 12066"/>
                  <a:gd name="connsiteX7" fmla="*/ 42234 w 48268"/>
                  <a:gd name="connsiteY7" fmla="*/ 12067 h 12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268" h="12066">
                    <a:moveTo>
                      <a:pt x="42234" y="12067"/>
                    </a:moveTo>
                    <a:cubicBezTo>
                      <a:pt x="42234" y="12067"/>
                      <a:pt x="42234" y="12067"/>
                      <a:pt x="42234" y="12067"/>
                    </a:cubicBezTo>
                    <a:lnTo>
                      <a:pt x="6033" y="12067"/>
                    </a:lnTo>
                    <a:cubicBezTo>
                      <a:pt x="3017" y="12067"/>
                      <a:pt x="0" y="9051"/>
                      <a:pt x="0" y="6034"/>
                    </a:cubicBezTo>
                    <a:cubicBezTo>
                      <a:pt x="0" y="3017"/>
                      <a:pt x="3017" y="0"/>
                      <a:pt x="6033" y="0"/>
                    </a:cubicBezTo>
                    <a:lnTo>
                      <a:pt x="42234" y="0"/>
                    </a:lnTo>
                    <a:cubicBezTo>
                      <a:pt x="45251" y="0"/>
                      <a:pt x="48268" y="3017"/>
                      <a:pt x="48268" y="6034"/>
                    </a:cubicBezTo>
                    <a:cubicBezTo>
                      <a:pt x="48268" y="9051"/>
                      <a:pt x="45251" y="12067"/>
                      <a:pt x="42234" y="1206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5653CD4F-8C14-4CDF-B22D-1415DC3DF1B2}"/>
                  </a:ext>
                </a:extLst>
              </p:cNvPr>
              <p:cNvSpPr/>
              <p:nvPr/>
            </p:nvSpPr>
            <p:spPr>
              <a:xfrm>
                <a:off x="8104824" y="12143913"/>
                <a:ext cx="48268" cy="12066"/>
              </a:xfrm>
              <a:custGeom>
                <a:avLst/>
                <a:gdLst>
                  <a:gd name="connsiteX0" fmla="*/ 42235 w 48268"/>
                  <a:gd name="connsiteY0" fmla="*/ 12067 h 12066"/>
                  <a:gd name="connsiteX1" fmla="*/ 42235 w 48268"/>
                  <a:gd name="connsiteY1" fmla="*/ 12067 h 12066"/>
                  <a:gd name="connsiteX2" fmla="*/ 6033 w 48268"/>
                  <a:gd name="connsiteY2" fmla="*/ 12067 h 12066"/>
                  <a:gd name="connsiteX3" fmla="*/ 0 w 48268"/>
                  <a:gd name="connsiteY3" fmla="*/ 6034 h 12066"/>
                  <a:gd name="connsiteX4" fmla="*/ 6033 w 48268"/>
                  <a:gd name="connsiteY4" fmla="*/ 0 h 12066"/>
                  <a:gd name="connsiteX5" fmla="*/ 6033 w 48268"/>
                  <a:gd name="connsiteY5" fmla="*/ 0 h 12066"/>
                  <a:gd name="connsiteX6" fmla="*/ 42235 w 48268"/>
                  <a:gd name="connsiteY6" fmla="*/ 0 h 12066"/>
                  <a:gd name="connsiteX7" fmla="*/ 48268 w 48268"/>
                  <a:gd name="connsiteY7" fmla="*/ 6034 h 12066"/>
                  <a:gd name="connsiteX8" fmla="*/ 42235 w 48268"/>
                  <a:gd name="connsiteY8" fmla="*/ 12067 h 12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268" h="12066">
                    <a:moveTo>
                      <a:pt x="42235" y="12067"/>
                    </a:moveTo>
                    <a:cubicBezTo>
                      <a:pt x="42235" y="12067"/>
                      <a:pt x="42235" y="12067"/>
                      <a:pt x="42235" y="12067"/>
                    </a:cubicBezTo>
                    <a:lnTo>
                      <a:pt x="6033" y="12067"/>
                    </a:lnTo>
                    <a:cubicBezTo>
                      <a:pt x="3017" y="12067"/>
                      <a:pt x="0" y="9051"/>
                      <a:pt x="0" y="6034"/>
                    </a:cubicBezTo>
                    <a:cubicBezTo>
                      <a:pt x="0" y="3017"/>
                      <a:pt x="3017" y="0"/>
                      <a:pt x="6033" y="0"/>
                    </a:cubicBezTo>
                    <a:cubicBezTo>
                      <a:pt x="6033" y="0"/>
                      <a:pt x="6033" y="0"/>
                      <a:pt x="6033" y="0"/>
                    </a:cubicBezTo>
                    <a:lnTo>
                      <a:pt x="42235" y="0"/>
                    </a:lnTo>
                    <a:cubicBezTo>
                      <a:pt x="45251" y="0"/>
                      <a:pt x="48268" y="3017"/>
                      <a:pt x="48268" y="6034"/>
                    </a:cubicBezTo>
                    <a:cubicBezTo>
                      <a:pt x="48268" y="9051"/>
                      <a:pt x="45251" y="12067"/>
                      <a:pt x="42235" y="1206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8D2CF839-3321-4891-8594-E64FAFE749D5}"/>
                </a:ext>
              </a:extLst>
            </p:cNvPr>
            <p:cNvGrpSpPr/>
            <p:nvPr/>
          </p:nvGrpSpPr>
          <p:grpSpPr>
            <a:xfrm>
              <a:off x="6774433" y="12110728"/>
              <a:ext cx="490726" cy="337877"/>
              <a:chOff x="6774433" y="12110728"/>
              <a:chExt cx="490726" cy="337877"/>
            </a:xfrm>
          </p:grpSpPr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D56E2370-02D8-4504-9DEF-8539EE55319F}"/>
                  </a:ext>
                </a:extLst>
              </p:cNvPr>
              <p:cNvSpPr/>
              <p:nvPr/>
            </p:nvSpPr>
            <p:spPr>
              <a:xfrm>
                <a:off x="7067059" y="12110728"/>
                <a:ext cx="181005" cy="220224"/>
              </a:xfrm>
              <a:custGeom>
                <a:avLst/>
                <a:gdLst>
                  <a:gd name="connsiteX0" fmla="*/ 174972 w 181005"/>
                  <a:gd name="connsiteY0" fmla="*/ 181006 h 220224"/>
                  <a:gd name="connsiteX1" fmla="*/ 181006 w 181005"/>
                  <a:gd name="connsiteY1" fmla="*/ 0 h 220224"/>
                  <a:gd name="connsiteX2" fmla="*/ 0 w 181005"/>
                  <a:gd name="connsiteY2" fmla="*/ 0 h 220224"/>
                  <a:gd name="connsiteX3" fmla="*/ 15084 w 181005"/>
                  <a:gd name="connsiteY3" fmla="*/ 193073 h 220224"/>
                  <a:gd name="connsiteX4" fmla="*/ 162905 w 181005"/>
                  <a:gd name="connsiteY4" fmla="*/ 220224 h 220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005" h="220224">
                    <a:moveTo>
                      <a:pt x="174972" y="181006"/>
                    </a:moveTo>
                    <a:lnTo>
                      <a:pt x="181006" y="0"/>
                    </a:lnTo>
                    <a:lnTo>
                      <a:pt x="0" y="0"/>
                    </a:lnTo>
                    <a:lnTo>
                      <a:pt x="15084" y="193073"/>
                    </a:lnTo>
                    <a:lnTo>
                      <a:pt x="162905" y="220224"/>
                    </a:ln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B9F19D0C-8236-43C5-A7FA-5F278C2BD55A}"/>
                  </a:ext>
                </a:extLst>
              </p:cNvPr>
              <p:cNvSpPr/>
              <p:nvPr/>
            </p:nvSpPr>
            <p:spPr>
              <a:xfrm>
                <a:off x="6774433" y="12246482"/>
                <a:ext cx="490726" cy="156871"/>
              </a:xfrm>
              <a:custGeom>
                <a:avLst/>
                <a:gdLst>
                  <a:gd name="connsiteX0" fmla="*/ 482682 w 490726"/>
                  <a:gd name="connsiteY0" fmla="*/ 45251 h 156871"/>
                  <a:gd name="connsiteX1" fmla="*/ 298659 w 490726"/>
                  <a:gd name="connsiteY1" fmla="*/ 0 h 156871"/>
                  <a:gd name="connsiteX2" fmla="*/ 165922 w 490726"/>
                  <a:gd name="connsiteY2" fmla="*/ 78436 h 156871"/>
                  <a:gd name="connsiteX3" fmla="*/ 0 w 490726"/>
                  <a:gd name="connsiteY3" fmla="*/ 156872 h 156871"/>
                  <a:gd name="connsiteX4" fmla="*/ 482682 w 490726"/>
                  <a:gd name="connsiteY4" fmla="*/ 156872 h 156871"/>
                  <a:gd name="connsiteX5" fmla="*/ 482682 w 490726"/>
                  <a:gd name="connsiteY5" fmla="*/ 45251 h 156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0726" h="156871">
                    <a:moveTo>
                      <a:pt x="482682" y="45251"/>
                    </a:moveTo>
                    <a:cubicBezTo>
                      <a:pt x="482682" y="45251"/>
                      <a:pt x="358994" y="63352"/>
                      <a:pt x="298659" y="0"/>
                    </a:cubicBezTo>
                    <a:cubicBezTo>
                      <a:pt x="298659" y="0"/>
                      <a:pt x="211173" y="69386"/>
                      <a:pt x="165922" y="78436"/>
                    </a:cubicBezTo>
                    <a:cubicBezTo>
                      <a:pt x="120670" y="87487"/>
                      <a:pt x="12067" y="84470"/>
                      <a:pt x="0" y="156872"/>
                    </a:cubicBezTo>
                    <a:lnTo>
                      <a:pt x="482682" y="156872"/>
                    </a:lnTo>
                    <a:cubicBezTo>
                      <a:pt x="482682" y="156872"/>
                      <a:pt x="500782" y="96537"/>
                      <a:pt x="482682" y="45251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34F33CE1-70F0-445E-8564-F8737620FE00}"/>
                  </a:ext>
                </a:extLst>
              </p:cNvPr>
              <p:cNvSpPr/>
              <p:nvPr/>
            </p:nvSpPr>
            <p:spPr>
              <a:xfrm>
                <a:off x="6774433" y="12403354"/>
                <a:ext cx="482681" cy="45251"/>
              </a:xfrm>
              <a:custGeom>
                <a:avLst/>
                <a:gdLst>
                  <a:gd name="connsiteX0" fmla="*/ 0 w 482681"/>
                  <a:gd name="connsiteY0" fmla="*/ 0 h 45251"/>
                  <a:gd name="connsiteX1" fmla="*/ 482682 w 482681"/>
                  <a:gd name="connsiteY1" fmla="*/ 0 h 45251"/>
                  <a:gd name="connsiteX2" fmla="*/ 482682 w 482681"/>
                  <a:gd name="connsiteY2" fmla="*/ 45251 h 45251"/>
                  <a:gd name="connsiteX3" fmla="*/ 0 w 482681"/>
                  <a:gd name="connsiteY3" fmla="*/ 45251 h 45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2681" h="45251">
                    <a:moveTo>
                      <a:pt x="0" y="0"/>
                    </a:moveTo>
                    <a:lnTo>
                      <a:pt x="482682" y="0"/>
                    </a:lnTo>
                    <a:lnTo>
                      <a:pt x="482682" y="45251"/>
                    </a:lnTo>
                    <a:lnTo>
                      <a:pt x="0" y="45251"/>
                    </a:ln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5A8C3FB1-0CF8-4EFD-AAF3-575E4FFE46DB}"/>
                  </a:ext>
                </a:extLst>
              </p:cNvPr>
              <p:cNvSpPr/>
              <p:nvPr/>
            </p:nvSpPr>
            <p:spPr>
              <a:xfrm>
                <a:off x="7064796" y="12238187"/>
                <a:ext cx="198352" cy="62597"/>
              </a:xfrm>
              <a:custGeom>
                <a:avLst/>
                <a:gdLst>
                  <a:gd name="connsiteX0" fmla="*/ 156117 w 198352"/>
                  <a:gd name="connsiteY0" fmla="*/ 62598 h 62597"/>
                  <a:gd name="connsiteX1" fmla="*/ 2263 w 198352"/>
                  <a:gd name="connsiteY1" fmla="*/ 11313 h 62597"/>
                  <a:gd name="connsiteX2" fmla="*/ 2263 w 198352"/>
                  <a:gd name="connsiteY2" fmla="*/ 2263 h 62597"/>
                  <a:gd name="connsiteX3" fmla="*/ 11313 w 198352"/>
                  <a:gd name="connsiteY3" fmla="*/ 2263 h 62597"/>
                  <a:gd name="connsiteX4" fmla="*/ 192319 w 198352"/>
                  <a:gd name="connsiteY4" fmla="*/ 47514 h 62597"/>
                  <a:gd name="connsiteX5" fmla="*/ 198352 w 198352"/>
                  <a:gd name="connsiteY5" fmla="*/ 53547 h 62597"/>
                  <a:gd name="connsiteX6" fmla="*/ 192319 w 198352"/>
                  <a:gd name="connsiteY6" fmla="*/ 59581 h 62597"/>
                  <a:gd name="connsiteX7" fmla="*/ 156117 w 198352"/>
                  <a:gd name="connsiteY7" fmla="*/ 62598 h 62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8352" h="62597">
                    <a:moveTo>
                      <a:pt x="156117" y="62598"/>
                    </a:moveTo>
                    <a:cubicBezTo>
                      <a:pt x="116900" y="62598"/>
                      <a:pt x="50531" y="56564"/>
                      <a:pt x="2263" y="11313"/>
                    </a:cubicBezTo>
                    <a:cubicBezTo>
                      <a:pt x="-754" y="8296"/>
                      <a:pt x="-754" y="5280"/>
                      <a:pt x="2263" y="2263"/>
                    </a:cubicBezTo>
                    <a:cubicBezTo>
                      <a:pt x="5279" y="-754"/>
                      <a:pt x="8296" y="-754"/>
                      <a:pt x="11313" y="2263"/>
                    </a:cubicBezTo>
                    <a:cubicBezTo>
                      <a:pt x="77682" y="62598"/>
                      <a:pt x="189302" y="47514"/>
                      <a:pt x="192319" y="47514"/>
                    </a:cubicBezTo>
                    <a:cubicBezTo>
                      <a:pt x="195335" y="47514"/>
                      <a:pt x="198352" y="50531"/>
                      <a:pt x="198352" y="53547"/>
                    </a:cubicBezTo>
                    <a:cubicBezTo>
                      <a:pt x="198352" y="56564"/>
                      <a:pt x="195335" y="59581"/>
                      <a:pt x="192319" y="59581"/>
                    </a:cubicBezTo>
                    <a:cubicBezTo>
                      <a:pt x="192319" y="59581"/>
                      <a:pt x="177235" y="62598"/>
                      <a:pt x="156117" y="6259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6C28C753-186E-4A7B-AFE3-806A3A3E64C9}"/>
                  </a:ext>
                </a:extLst>
              </p:cNvPr>
              <p:cNvSpPr/>
              <p:nvPr/>
            </p:nvSpPr>
            <p:spPr>
              <a:xfrm>
                <a:off x="7031612" y="12262320"/>
                <a:ext cx="40726" cy="41481"/>
              </a:xfrm>
              <a:custGeom>
                <a:avLst/>
                <a:gdLst>
                  <a:gd name="connsiteX0" fmla="*/ 32430 w 40726"/>
                  <a:gd name="connsiteY0" fmla="*/ 41481 h 41481"/>
                  <a:gd name="connsiteX1" fmla="*/ 29413 w 40726"/>
                  <a:gd name="connsiteY1" fmla="*/ 38464 h 41481"/>
                  <a:gd name="connsiteX2" fmla="*/ 2262 w 40726"/>
                  <a:gd name="connsiteY2" fmla="*/ 11314 h 41481"/>
                  <a:gd name="connsiteX3" fmla="*/ 2262 w 40726"/>
                  <a:gd name="connsiteY3" fmla="*/ 2263 h 41481"/>
                  <a:gd name="connsiteX4" fmla="*/ 11313 w 40726"/>
                  <a:gd name="connsiteY4" fmla="*/ 2263 h 41481"/>
                  <a:gd name="connsiteX5" fmla="*/ 38463 w 40726"/>
                  <a:gd name="connsiteY5" fmla="*/ 29413 h 41481"/>
                  <a:gd name="connsiteX6" fmla="*/ 38463 w 40726"/>
                  <a:gd name="connsiteY6" fmla="*/ 38464 h 41481"/>
                  <a:gd name="connsiteX7" fmla="*/ 32430 w 40726"/>
                  <a:gd name="connsiteY7" fmla="*/ 41481 h 41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726" h="41481">
                    <a:moveTo>
                      <a:pt x="32430" y="41481"/>
                    </a:moveTo>
                    <a:cubicBezTo>
                      <a:pt x="32430" y="41481"/>
                      <a:pt x="29413" y="41481"/>
                      <a:pt x="29413" y="38464"/>
                    </a:cubicBezTo>
                    <a:lnTo>
                      <a:pt x="2262" y="11314"/>
                    </a:lnTo>
                    <a:cubicBezTo>
                      <a:pt x="-754" y="8297"/>
                      <a:pt x="-754" y="5280"/>
                      <a:pt x="2262" y="2263"/>
                    </a:cubicBezTo>
                    <a:cubicBezTo>
                      <a:pt x="5279" y="-754"/>
                      <a:pt x="8296" y="-754"/>
                      <a:pt x="11313" y="2263"/>
                    </a:cubicBezTo>
                    <a:lnTo>
                      <a:pt x="38463" y="29413"/>
                    </a:lnTo>
                    <a:cubicBezTo>
                      <a:pt x="41480" y="32430"/>
                      <a:pt x="41480" y="35447"/>
                      <a:pt x="38463" y="38464"/>
                    </a:cubicBezTo>
                    <a:cubicBezTo>
                      <a:pt x="35447" y="41481"/>
                      <a:pt x="32430" y="41481"/>
                      <a:pt x="32430" y="4148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0702FDEB-6B4F-4B2C-8A04-CD83487CC935}"/>
                  </a:ext>
                </a:extLst>
              </p:cNvPr>
              <p:cNvSpPr/>
              <p:nvPr/>
            </p:nvSpPr>
            <p:spPr>
              <a:xfrm>
                <a:off x="6992394" y="12289472"/>
                <a:ext cx="40726" cy="41480"/>
              </a:xfrm>
              <a:custGeom>
                <a:avLst/>
                <a:gdLst>
                  <a:gd name="connsiteX0" fmla="*/ 32430 w 40726"/>
                  <a:gd name="connsiteY0" fmla="*/ 41480 h 41480"/>
                  <a:gd name="connsiteX1" fmla="*/ 29413 w 40726"/>
                  <a:gd name="connsiteY1" fmla="*/ 38464 h 41480"/>
                  <a:gd name="connsiteX2" fmla="*/ 2262 w 40726"/>
                  <a:gd name="connsiteY2" fmla="*/ 11313 h 41480"/>
                  <a:gd name="connsiteX3" fmla="*/ 2262 w 40726"/>
                  <a:gd name="connsiteY3" fmla="*/ 2262 h 41480"/>
                  <a:gd name="connsiteX4" fmla="*/ 11313 w 40726"/>
                  <a:gd name="connsiteY4" fmla="*/ 2262 h 41480"/>
                  <a:gd name="connsiteX5" fmla="*/ 38464 w 40726"/>
                  <a:gd name="connsiteY5" fmla="*/ 29414 h 41480"/>
                  <a:gd name="connsiteX6" fmla="*/ 38464 w 40726"/>
                  <a:gd name="connsiteY6" fmla="*/ 38464 h 41480"/>
                  <a:gd name="connsiteX7" fmla="*/ 32430 w 40726"/>
                  <a:gd name="connsiteY7" fmla="*/ 41480 h 4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726" h="41480">
                    <a:moveTo>
                      <a:pt x="32430" y="41480"/>
                    </a:moveTo>
                    <a:cubicBezTo>
                      <a:pt x="32430" y="41480"/>
                      <a:pt x="29413" y="41480"/>
                      <a:pt x="29413" y="38464"/>
                    </a:cubicBezTo>
                    <a:lnTo>
                      <a:pt x="2262" y="11313"/>
                    </a:lnTo>
                    <a:cubicBezTo>
                      <a:pt x="-754" y="8296"/>
                      <a:pt x="-754" y="5279"/>
                      <a:pt x="2262" y="2262"/>
                    </a:cubicBezTo>
                    <a:cubicBezTo>
                      <a:pt x="5279" y="-754"/>
                      <a:pt x="8296" y="-754"/>
                      <a:pt x="11313" y="2262"/>
                    </a:cubicBezTo>
                    <a:lnTo>
                      <a:pt x="38464" y="29414"/>
                    </a:lnTo>
                    <a:cubicBezTo>
                      <a:pt x="41480" y="32430"/>
                      <a:pt x="41480" y="35447"/>
                      <a:pt x="38464" y="38464"/>
                    </a:cubicBezTo>
                    <a:cubicBezTo>
                      <a:pt x="35447" y="41480"/>
                      <a:pt x="35447" y="41480"/>
                      <a:pt x="32430" y="4148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F6BBF430-7D6F-4F19-BF38-0A025768A789}"/>
                </a:ext>
              </a:extLst>
            </p:cNvPr>
            <p:cNvSpPr/>
            <p:nvPr/>
          </p:nvSpPr>
          <p:spPr>
            <a:xfrm>
              <a:off x="6923424" y="9917544"/>
              <a:ext cx="1371455" cy="2271619"/>
            </a:xfrm>
            <a:custGeom>
              <a:avLst/>
              <a:gdLst>
                <a:gd name="connsiteX0" fmla="*/ 7881 w 1371455"/>
                <a:gd name="connsiteY0" fmla="*/ 21117 h 2271619"/>
                <a:gd name="connsiteX1" fmla="*/ 19947 w 1371455"/>
                <a:gd name="connsiteY1" fmla="*/ 1390727 h 2271619"/>
                <a:gd name="connsiteX2" fmla="*/ 89333 w 1371455"/>
                <a:gd name="connsiteY2" fmla="*/ 2271620 h 2271619"/>
                <a:gd name="connsiteX3" fmla="*/ 381959 w 1371455"/>
                <a:gd name="connsiteY3" fmla="*/ 2271620 h 2271619"/>
                <a:gd name="connsiteX4" fmla="*/ 418160 w 1371455"/>
                <a:gd name="connsiteY4" fmla="*/ 1414860 h 2271619"/>
                <a:gd name="connsiteX5" fmla="*/ 499613 w 1371455"/>
                <a:gd name="connsiteY5" fmla="*/ 497765 h 2271619"/>
                <a:gd name="connsiteX6" fmla="*/ 538830 w 1371455"/>
                <a:gd name="connsiteY6" fmla="*/ 1396759 h 2271619"/>
                <a:gd name="connsiteX7" fmla="*/ 575032 w 1371455"/>
                <a:gd name="connsiteY7" fmla="*/ 1493296 h 2271619"/>
                <a:gd name="connsiteX8" fmla="*/ 1087881 w 1371455"/>
                <a:gd name="connsiteY8" fmla="*/ 2156983 h 2271619"/>
                <a:gd name="connsiteX9" fmla="*/ 1371456 w 1371455"/>
                <a:gd name="connsiteY9" fmla="*/ 1918659 h 2271619"/>
                <a:gd name="connsiteX10" fmla="*/ 943076 w 1371455"/>
                <a:gd name="connsiteY10" fmla="*/ 1327374 h 2271619"/>
                <a:gd name="connsiteX11" fmla="*/ 1021512 w 1371455"/>
                <a:gd name="connsiteY11" fmla="*/ 0 h 2271619"/>
                <a:gd name="connsiteX12" fmla="*/ 7881 w 1371455"/>
                <a:gd name="connsiteY12" fmla="*/ 21117 h 227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455" h="2271619">
                  <a:moveTo>
                    <a:pt x="7881" y="21117"/>
                  </a:moveTo>
                  <a:cubicBezTo>
                    <a:pt x="7881" y="21117"/>
                    <a:pt x="-16254" y="1083017"/>
                    <a:pt x="19947" y="1390727"/>
                  </a:cubicBezTo>
                  <a:cubicBezTo>
                    <a:pt x="50115" y="1659218"/>
                    <a:pt x="89333" y="2271620"/>
                    <a:pt x="89333" y="2271620"/>
                  </a:cubicBezTo>
                  <a:lnTo>
                    <a:pt x="381959" y="2271620"/>
                  </a:lnTo>
                  <a:cubicBezTo>
                    <a:pt x="381959" y="2271620"/>
                    <a:pt x="415143" y="1511397"/>
                    <a:pt x="418160" y="1414860"/>
                  </a:cubicBezTo>
                  <a:cubicBezTo>
                    <a:pt x="424194" y="1276089"/>
                    <a:pt x="484529" y="527933"/>
                    <a:pt x="499613" y="497765"/>
                  </a:cubicBezTo>
                  <a:cubicBezTo>
                    <a:pt x="511679" y="473631"/>
                    <a:pt x="532797" y="1191620"/>
                    <a:pt x="538830" y="1396759"/>
                  </a:cubicBezTo>
                  <a:cubicBezTo>
                    <a:pt x="538830" y="1432961"/>
                    <a:pt x="550897" y="1466145"/>
                    <a:pt x="575032" y="1493296"/>
                  </a:cubicBezTo>
                  <a:lnTo>
                    <a:pt x="1087881" y="2156983"/>
                  </a:lnTo>
                  <a:lnTo>
                    <a:pt x="1371456" y="1918659"/>
                  </a:lnTo>
                  <a:lnTo>
                    <a:pt x="943076" y="1327374"/>
                  </a:lnTo>
                  <a:cubicBezTo>
                    <a:pt x="943076" y="1327374"/>
                    <a:pt x="1063747" y="96536"/>
                    <a:pt x="1021512" y="0"/>
                  </a:cubicBezTo>
                  <a:cubicBezTo>
                    <a:pt x="327657" y="33185"/>
                    <a:pt x="7881" y="21117"/>
                    <a:pt x="7881" y="21117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A5F3F0C4-84F4-4C51-BF9E-BE959E28AD73}"/>
                </a:ext>
              </a:extLst>
            </p:cNvPr>
            <p:cNvSpPr/>
            <p:nvPr/>
          </p:nvSpPr>
          <p:spPr>
            <a:xfrm>
              <a:off x="7359684" y="10065365"/>
              <a:ext cx="69385" cy="358994"/>
            </a:xfrm>
            <a:custGeom>
              <a:avLst/>
              <a:gdLst>
                <a:gd name="connsiteX0" fmla="*/ 63352 w 69385"/>
                <a:gd name="connsiteY0" fmla="*/ 358994 h 358994"/>
                <a:gd name="connsiteX1" fmla="*/ 57318 w 69385"/>
                <a:gd name="connsiteY1" fmla="*/ 355977 h 358994"/>
                <a:gd name="connsiteX2" fmla="*/ 0 w 69385"/>
                <a:gd name="connsiteY2" fmla="*/ 6034 h 358994"/>
                <a:gd name="connsiteX3" fmla="*/ 6033 w 69385"/>
                <a:gd name="connsiteY3" fmla="*/ 0 h 358994"/>
                <a:gd name="connsiteX4" fmla="*/ 12067 w 69385"/>
                <a:gd name="connsiteY4" fmla="*/ 6034 h 358994"/>
                <a:gd name="connsiteX5" fmla="*/ 69386 w 69385"/>
                <a:gd name="connsiteY5" fmla="*/ 352961 h 358994"/>
                <a:gd name="connsiteX6" fmla="*/ 63352 w 69385"/>
                <a:gd name="connsiteY6" fmla="*/ 358994 h 358994"/>
                <a:gd name="connsiteX7" fmla="*/ 63352 w 69385"/>
                <a:gd name="connsiteY7" fmla="*/ 358994 h 35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385" h="358994">
                  <a:moveTo>
                    <a:pt x="63352" y="358994"/>
                  </a:moveTo>
                  <a:cubicBezTo>
                    <a:pt x="60335" y="358994"/>
                    <a:pt x="60335" y="358994"/>
                    <a:pt x="57318" y="355977"/>
                  </a:cubicBezTo>
                  <a:cubicBezTo>
                    <a:pt x="9050" y="241341"/>
                    <a:pt x="0" y="15084"/>
                    <a:pt x="0" y="6034"/>
                  </a:cubicBezTo>
                  <a:cubicBezTo>
                    <a:pt x="0" y="3017"/>
                    <a:pt x="3017" y="0"/>
                    <a:pt x="6033" y="0"/>
                  </a:cubicBezTo>
                  <a:cubicBezTo>
                    <a:pt x="9050" y="0"/>
                    <a:pt x="12067" y="3017"/>
                    <a:pt x="12067" y="6034"/>
                  </a:cubicBezTo>
                  <a:cubicBezTo>
                    <a:pt x="12067" y="9050"/>
                    <a:pt x="21117" y="241341"/>
                    <a:pt x="69386" y="352961"/>
                  </a:cubicBezTo>
                  <a:cubicBezTo>
                    <a:pt x="69386" y="352961"/>
                    <a:pt x="66369" y="355977"/>
                    <a:pt x="63352" y="358994"/>
                  </a:cubicBezTo>
                  <a:cubicBezTo>
                    <a:pt x="63352" y="358994"/>
                    <a:pt x="63352" y="358994"/>
                    <a:pt x="63352" y="358994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E95213C8-FF89-4BFF-A65D-4DBC83DA29A4}"/>
                </a:ext>
              </a:extLst>
            </p:cNvPr>
            <p:cNvSpPr/>
            <p:nvPr/>
          </p:nvSpPr>
          <p:spPr>
            <a:xfrm>
              <a:off x="7248064" y="9995980"/>
              <a:ext cx="153854" cy="349943"/>
            </a:xfrm>
            <a:custGeom>
              <a:avLst/>
              <a:gdLst>
                <a:gd name="connsiteX0" fmla="*/ 144805 w 153854"/>
                <a:gd name="connsiteY0" fmla="*/ 349943 h 349943"/>
                <a:gd name="connsiteX1" fmla="*/ 141788 w 153854"/>
                <a:gd name="connsiteY1" fmla="*/ 349943 h 349943"/>
                <a:gd name="connsiteX2" fmla="*/ 33184 w 153854"/>
                <a:gd name="connsiteY2" fmla="*/ 271508 h 349943"/>
                <a:gd name="connsiteX3" fmla="*/ 0 w 153854"/>
                <a:gd name="connsiteY3" fmla="*/ 6033 h 349943"/>
                <a:gd name="connsiteX4" fmla="*/ 6033 w 153854"/>
                <a:gd name="connsiteY4" fmla="*/ 0 h 349943"/>
                <a:gd name="connsiteX5" fmla="*/ 12067 w 153854"/>
                <a:gd name="connsiteY5" fmla="*/ 6033 h 349943"/>
                <a:gd name="connsiteX6" fmla="*/ 45251 w 153854"/>
                <a:gd name="connsiteY6" fmla="*/ 265475 h 349943"/>
                <a:gd name="connsiteX7" fmla="*/ 150838 w 153854"/>
                <a:gd name="connsiteY7" fmla="*/ 340894 h 349943"/>
                <a:gd name="connsiteX8" fmla="*/ 153854 w 153854"/>
                <a:gd name="connsiteY8" fmla="*/ 349943 h 349943"/>
                <a:gd name="connsiteX9" fmla="*/ 144805 w 153854"/>
                <a:gd name="connsiteY9" fmla="*/ 349943 h 349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3854" h="349943">
                  <a:moveTo>
                    <a:pt x="144805" y="349943"/>
                  </a:moveTo>
                  <a:cubicBezTo>
                    <a:pt x="144805" y="349943"/>
                    <a:pt x="141788" y="349943"/>
                    <a:pt x="141788" y="349943"/>
                  </a:cubicBezTo>
                  <a:cubicBezTo>
                    <a:pt x="132737" y="343910"/>
                    <a:pt x="45251" y="286592"/>
                    <a:pt x="33184" y="271508"/>
                  </a:cubicBezTo>
                  <a:cubicBezTo>
                    <a:pt x="21117" y="256425"/>
                    <a:pt x="3016" y="48267"/>
                    <a:pt x="0" y="6033"/>
                  </a:cubicBezTo>
                  <a:cubicBezTo>
                    <a:pt x="0" y="3016"/>
                    <a:pt x="3016" y="0"/>
                    <a:pt x="6033" y="0"/>
                  </a:cubicBezTo>
                  <a:cubicBezTo>
                    <a:pt x="9050" y="0"/>
                    <a:pt x="12067" y="3016"/>
                    <a:pt x="12067" y="6033"/>
                  </a:cubicBezTo>
                  <a:cubicBezTo>
                    <a:pt x="21117" y="99553"/>
                    <a:pt x="36201" y="253408"/>
                    <a:pt x="45251" y="265475"/>
                  </a:cubicBezTo>
                  <a:cubicBezTo>
                    <a:pt x="54302" y="274524"/>
                    <a:pt x="111620" y="316760"/>
                    <a:pt x="150838" y="340894"/>
                  </a:cubicBezTo>
                  <a:cubicBezTo>
                    <a:pt x="153854" y="343910"/>
                    <a:pt x="153854" y="346927"/>
                    <a:pt x="153854" y="349943"/>
                  </a:cubicBezTo>
                  <a:cubicBezTo>
                    <a:pt x="147821" y="346927"/>
                    <a:pt x="147821" y="349943"/>
                    <a:pt x="144805" y="349943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CDA1D76D-9BFA-4051-A786-E04D76B54D1E}"/>
                </a:ext>
              </a:extLst>
            </p:cNvPr>
            <p:cNvSpPr/>
            <p:nvPr/>
          </p:nvSpPr>
          <p:spPr>
            <a:xfrm>
              <a:off x="6162031" y="8787416"/>
              <a:ext cx="893834" cy="859563"/>
            </a:xfrm>
            <a:custGeom>
              <a:avLst/>
              <a:gdLst>
                <a:gd name="connsiteX0" fmla="*/ 871843 w 893834"/>
                <a:gd name="connsiteY0" fmla="*/ 279401 h 859563"/>
                <a:gd name="connsiteX1" fmla="*/ 796424 w 893834"/>
                <a:gd name="connsiteY1" fmla="*/ 1859 h 859563"/>
                <a:gd name="connsiteX2" fmla="*/ 549050 w 893834"/>
                <a:gd name="connsiteY2" fmla="*/ 285435 h 859563"/>
                <a:gd name="connsiteX3" fmla="*/ 401229 w 893834"/>
                <a:gd name="connsiteY3" fmla="*/ 581077 h 859563"/>
                <a:gd name="connsiteX4" fmla="*/ 45251 w 893834"/>
                <a:gd name="connsiteY4" fmla="*/ 249234 h 859563"/>
                <a:gd name="connsiteX5" fmla="*/ 0 w 893834"/>
                <a:gd name="connsiteY5" fmla="*/ 388005 h 859563"/>
                <a:gd name="connsiteX6" fmla="*/ 488715 w 893834"/>
                <a:gd name="connsiteY6" fmla="*/ 855603 h 859563"/>
                <a:gd name="connsiteX7" fmla="*/ 871843 w 893834"/>
                <a:gd name="connsiteY7" fmla="*/ 279401 h 859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3834" h="859563">
                  <a:moveTo>
                    <a:pt x="871843" y="279401"/>
                  </a:moveTo>
                  <a:cubicBezTo>
                    <a:pt x="926145" y="143647"/>
                    <a:pt x="871843" y="-19258"/>
                    <a:pt x="796424" y="1859"/>
                  </a:cubicBezTo>
                  <a:cubicBezTo>
                    <a:pt x="708939" y="25994"/>
                    <a:pt x="606368" y="119513"/>
                    <a:pt x="549050" y="285435"/>
                  </a:cubicBezTo>
                  <a:cubicBezTo>
                    <a:pt x="515866" y="381971"/>
                    <a:pt x="419329" y="584094"/>
                    <a:pt x="401229" y="581077"/>
                  </a:cubicBezTo>
                  <a:cubicBezTo>
                    <a:pt x="395195" y="581077"/>
                    <a:pt x="45251" y="249234"/>
                    <a:pt x="45251" y="249234"/>
                  </a:cubicBezTo>
                  <a:cubicBezTo>
                    <a:pt x="45251" y="309569"/>
                    <a:pt x="0" y="388005"/>
                    <a:pt x="0" y="388005"/>
                  </a:cubicBezTo>
                  <a:cubicBezTo>
                    <a:pt x="0" y="388005"/>
                    <a:pt x="298659" y="909904"/>
                    <a:pt x="488715" y="855603"/>
                  </a:cubicBezTo>
                  <a:cubicBezTo>
                    <a:pt x="588268" y="825435"/>
                    <a:pt x="805475" y="448340"/>
                    <a:pt x="871843" y="279401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F7F55A85-1B06-4FB6-A8B8-3115CADFD60A}"/>
                </a:ext>
              </a:extLst>
            </p:cNvPr>
            <p:cNvSpPr/>
            <p:nvPr/>
          </p:nvSpPr>
          <p:spPr>
            <a:xfrm>
              <a:off x="7818232" y="9932628"/>
              <a:ext cx="144804" cy="235306"/>
            </a:xfrm>
            <a:custGeom>
              <a:avLst/>
              <a:gdLst>
                <a:gd name="connsiteX0" fmla="*/ 138771 w 144804"/>
                <a:gd name="connsiteY0" fmla="*/ 235307 h 235306"/>
                <a:gd name="connsiteX1" fmla="*/ 138771 w 144804"/>
                <a:gd name="connsiteY1" fmla="*/ 235307 h 235306"/>
                <a:gd name="connsiteX2" fmla="*/ 15084 w 144804"/>
                <a:gd name="connsiteY2" fmla="*/ 202122 h 235306"/>
                <a:gd name="connsiteX3" fmla="*/ 0 w 144804"/>
                <a:gd name="connsiteY3" fmla="*/ 6033 h 235306"/>
                <a:gd name="connsiteX4" fmla="*/ 6033 w 144804"/>
                <a:gd name="connsiteY4" fmla="*/ 0 h 235306"/>
                <a:gd name="connsiteX5" fmla="*/ 6033 w 144804"/>
                <a:gd name="connsiteY5" fmla="*/ 0 h 235306"/>
                <a:gd name="connsiteX6" fmla="*/ 12067 w 144804"/>
                <a:gd name="connsiteY6" fmla="*/ 6033 h 235306"/>
                <a:gd name="connsiteX7" fmla="*/ 24134 w 144804"/>
                <a:gd name="connsiteY7" fmla="*/ 199106 h 235306"/>
                <a:gd name="connsiteX8" fmla="*/ 138771 w 144804"/>
                <a:gd name="connsiteY8" fmla="*/ 226257 h 235306"/>
                <a:gd name="connsiteX9" fmla="*/ 144805 w 144804"/>
                <a:gd name="connsiteY9" fmla="*/ 232290 h 235306"/>
                <a:gd name="connsiteX10" fmla="*/ 138771 w 144804"/>
                <a:gd name="connsiteY10" fmla="*/ 235307 h 23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804" h="235306">
                  <a:moveTo>
                    <a:pt x="138771" y="235307"/>
                  </a:moveTo>
                  <a:cubicBezTo>
                    <a:pt x="138771" y="235307"/>
                    <a:pt x="138771" y="235307"/>
                    <a:pt x="138771" y="235307"/>
                  </a:cubicBezTo>
                  <a:cubicBezTo>
                    <a:pt x="111620" y="232290"/>
                    <a:pt x="24134" y="220223"/>
                    <a:pt x="15084" y="202122"/>
                  </a:cubicBezTo>
                  <a:cubicBezTo>
                    <a:pt x="6033" y="184023"/>
                    <a:pt x="0" y="24134"/>
                    <a:pt x="0" y="6033"/>
                  </a:cubicBezTo>
                  <a:cubicBezTo>
                    <a:pt x="0" y="3017"/>
                    <a:pt x="3017" y="0"/>
                    <a:pt x="6033" y="0"/>
                  </a:cubicBezTo>
                  <a:cubicBezTo>
                    <a:pt x="6033" y="0"/>
                    <a:pt x="6033" y="0"/>
                    <a:pt x="6033" y="0"/>
                  </a:cubicBezTo>
                  <a:cubicBezTo>
                    <a:pt x="9050" y="0"/>
                    <a:pt x="12067" y="3017"/>
                    <a:pt x="12067" y="6033"/>
                  </a:cubicBezTo>
                  <a:cubicBezTo>
                    <a:pt x="12067" y="75419"/>
                    <a:pt x="18101" y="187039"/>
                    <a:pt x="24134" y="199106"/>
                  </a:cubicBezTo>
                  <a:cubicBezTo>
                    <a:pt x="30168" y="208156"/>
                    <a:pt x="87486" y="220223"/>
                    <a:pt x="138771" y="226257"/>
                  </a:cubicBezTo>
                  <a:cubicBezTo>
                    <a:pt x="141788" y="226257"/>
                    <a:pt x="144805" y="229274"/>
                    <a:pt x="144805" y="232290"/>
                  </a:cubicBezTo>
                  <a:cubicBezTo>
                    <a:pt x="144805" y="232290"/>
                    <a:pt x="141788" y="235307"/>
                    <a:pt x="138771" y="235307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8823B9BA-7F82-499D-9E89-D4353225CFBC}"/>
                </a:ext>
              </a:extLst>
            </p:cNvPr>
            <p:cNvSpPr/>
            <p:nvPr/>
          </p:nvSpPr>
          <p:spPr>
            <a:xfrm>
              <a:off x="6931304" y="9941678"/>
              <a:ext cx="90502" cy="205140"/>
            </a:xfrm>
            <a:custGeom>
              <a:avLst/>
              <a:gdLst>
                <a:gd name="connsiteX0" fmla="*/ 12067 w 90502"/>
                <a:gd name="connsiteY0" fmla="*/ 205140 h 205140"/>
                <a:gd name="connsiteX1" fmla="*/ 6033 w 90502"/>
                <a:gd name="connsiteY1" fmla="*/ 205140 h 205140"/>
                <a:gd name="connsiteX2" fmla="*/ 0 w 90502"/>
                <a:gd name="connsiteY2" fmla="*/ 199106 h 205140"/>
                <a:gd name="connsiteX3" fmla="*/ 6033 w 90502"/>
                <a:gd name="connsiteY3" fmla="*/ 193072 h 205140"/>
                <a:gd name="connsiteX4" fmla="*/ 60335 w 90502"/>
                <a:gd name="connsiteY4" fmla="*/ 174973 h 205140"/>
                <a:gd name="connsiteX5" fmla="*/ 78435 w 90502"/>
                <a:gd name="connsiteY5" fmla="*/ 6034 h 205140"/>
                <a:gd name="connsiteX6" fmla="*/ 84469 w 90502"/>
                <a:gd name="connsiteY6" fmla="*/ 0 h 205140"/>
                <a:gd name="connsiteX7" fmla="*/ 84469 w 90502"/>
                <a:gd name="connsiteY7" fmla="*/ 0 h 205140"/>
                <a:gd name="connsiteX8" fmla="*/ 90503 w 90502"/>
                <a:gd name="connsiteY8" fmla="*/ 6034 h 205140"/>
                <a:gd name="connsiteX9" fmla="*/ 69386 w 90502"/>
                <a:gd name="connsiteY9" fmla="*/ 177989 h 205140"/>
                <a:gd name="connsiteX10" fmla="*/ 12067 w 90502"/>
                <a:gd name="connsiteY10" fmla="*/ 205140 h 205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0502" h="205140">
                  <a:moveTo>
                    <a:pt x="12067" y="205140"/>
                  </a:moveTo>
                  <a:cubicBezTo>
                    <a:pt x="9050" y="205140"/>
                    <a:pt x="6033" y="205140"/>
                    <a:pt x="6033" y="205140"/>
                  </a:cubicBezTo>
                  <a:cubicBezTo>
                    <a:pt x="3016" y="205140"/>
                    <a:pt x="0" y="202123"/>
                    <a:pt x="0" y="199106"/>
                  </a:cubicBezTo>
                  <a:cubicBezTo>
                    <a:pt x="0" y="196089"/>
                    <a:pt x="3016" y="193072"/>
                    <a:pt x="6033" y="193072"/>
                  </a:cubicBezTo>
                  <a:cubicBezTo>
                    <a:pt x="6033" y="193072"/>
                    <a:pt x="48268" y="196089"/>
                    <a:pt x="60335" y="174973"/>
                  </a:cubicBezTo>
                  <a:cubicBezTo>
                    <a:pt x="72402" y="153855"/>
                    <a:pt x="78435" y="48268"/>
                    <a:pt x="78435" y="6034"/>
                  </a:cubicBezTo>
                  <a:cubicBezTo>
                    <a:pt x="78435" y="3017"/>
                    <a:pt x="81452" y="0"/>
                    <a:pt x="84469" y="0"/>
                  </a:cubicBezTo>
                  <a:cubicBezTo>
                    <a:pt x="84469" y="0"/>
                    <a:pt x="84469" y="0"/>
                    <a:pt x="84469" y="0"/>
                  </a:cubicBezTo>
                  <a:cubicBezTo>
                    <a:pt x="87486" y="0"/>
                    <a:pt x="90503" y="3017"/>
                    <a:pt x="90503" y="6034"/>
                  </a:cubicBezTo>
                  <a:cubicBezTo>
                    <a:pt x="90503" y="21118"/>
                    <a:pt x="84469" y="153855"/>
                    <a:pt x="69386" y="177989"/>
                  </a:cubicBezTo>
                  <a:cubicBezTo>
                    <a:pt x="57318" y="202123"/>
                    <a:pt x="27151" y="205140"/>
                    <a:pt x="12067" y="205140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7DA74A44-3244-4C32-A20B-6C9407EFF428}"/>
                </a:ext>
              </a:extLst>
            </p:cNvPr>
            <p:cNvSpPr/>
            <p:nvPr/>
          </p:nvSpPr>
          <p:spPr>
            <a:xfrm>
              <a:off x="7311416" y="8264360"/>
              <a:ext cx="247374" cy="255529"/>
            </a:xfrm>
            <a:custGeom>
              <a:avLst/>
              <a:gdLst>
                <a:gd name="connsiteX0" fmla="*/ 0 w 247374"/>
                <a:gd name="connsiteY0" fmla="*/ 39218 h 255529"/>
                <a:gd name="connsiteX1" fmla="*/ 6034 w 247374"/>
                <a:gd name="connsiteY1" fmla="*/ 211173 h 255529"/>
                <a:gd name="connsiteX2" fmla="*/ 247375 w 247374"/>
                <a:gd name="connsiteY2" fmla="*/ 202123 h 255529"/>
                <a:gd name="connsiteX3" fmla="*/ 232291 w 247374"/>
                <a:gd name="connsiteY3" fmla="*/ 0 h 255529"/>
                <a:gd name="connsiteX4" fmla="*/ 0 w 247374"/>
                <a:gd name="connsiteY4" fmla="*/ 39218 h 255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374" h="255529">
                  <a:moveTo>
                    <a:pt x="0" y="39218"/>
                  </a:moveTo>
                  <a:cubicBezTo>
                    <a:pt x="0" y="39218"/>
                    <a:pt x="6034" y="138771"/>
                    <a:pt x="6034" y="211173"/>
                  </a:cubicBezTo>
                  <a:cubicBezTo>
                    <a:pt x="6034" y="211173"/>
                    <a:pt x="99553" y="316760"/>
                    <a:pt x="247375" y="202123"/>
                  </a:cubicBezTo>
                  <a:cubicBezTo>
                    <a:pt x="247375" y="141788"/>
                    <a:pt x="235307" y="63352"/>
                    <a:pt x="232291" y="0"/>
                  </a:cubicBezTo>
                  <a:cubicBezTo>
                    <a:pt x="235307" y="0"/>
                    <a:pt x="51285" y="51285"/>
                    <a:pt x="0" y="39218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99ECA7E9-576F-4B95-A391-2C40C013D721}"/>
                </a:ext>
              </a:extLst>
            </p:cNvPr>
            <p:cNvSpPr/>
            <p:nvPr/>
          </p:nvSpPr>
          <p:spPr>
            <a:xfrm>
              <a:off x="6909378" y="8427265"/>
              <a:ext cx="1059691" cy="1550432"/>
            </a:xfrm>
            <a:custGeom>
              <a:avLst/>
              <a:gdLst>
                <a:gd name="connsiteX0" fmla="*/ 667512 w 1059691"/>
                <a:gd name="connsiteY0" fmla="*/ 0 h 1550432"/>
                <a:gd name="connsiteX1" fmla="*/ 380920 w 1059691"/>
                <a:gd name="connsiteY1" fmla="*/ 0 h 1550432"/>
                <a:gd name="connsiteX2" fmla="*/ 85278 w 1059691"/>
                <a:gd name="connsiteY2" fmla="*/ 129721 h 1550432"/>
                <a:gd name="connsiteX3" fmla="*/ 809 w 1059691"/>
                <a:gd name="connsiteY3" fmla="*/ 1520447 h 1550432"/>
                <a:gd name="connsiteX4" fmla="*/ 1059691 w 1059691"/>
                <a:gd name="connsiteY4" fmla="*/ 1496313 h 1550432"/>
                <a:gd name="connsiteX5" fmla="*/ 945054 w 1059691"/>
                <a:gd name="connsiteY5" fmla="*/ 102570 h 1550432"/>
                <a:gd name="connsiteX6" fmla="*/ 667512 w 1059691"/>
                <a:gd name="connsiteY6" fmla="*/ 0 h 1550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9691" h="1550432">
                  <a:moveTo>
                    <a:pt x="667512" y="0"/>
                  </a:moveTo>
                  <a:cubicBezTo>
                    <a:pt x="667512" y="0"/>
                    <a:pt x="495557" y="54302"/>
                    <a:pt x="380920" y="0"/>
                  </a:cubicBezTo>
                  <a:cubicBezTo>
                    <a:pt x="380920" y="0"/>
                    <a:pt x="109412" y="96536"/>
                    <a:pt x="85278" y="129721"/>
                  </a:cubicBezTo>
                  <a:cubicBezTo>
                    <a:pt x="61144" y="159888"/>
                    <a:pt x="-8242" y="1454078"/>
                    <a:pt x="809" y="1520447"/>
                  </a:cubicBezTo>
                  <a:cubicBezTo>
                    <a:pt x="809" y="1520447"/>
                    <a:pt x="486507" y="1601899"/>
                    <a:pt x="1059691" y="1496313"/>
                  </a:cubicBezTo>
                  <a:cubicBezTo>
                    <a:pt x="1059691" y="1143352"/>
                    <a:pt x="987289" y="132738"/>
                    <a:pt x="945054" y="102570"/>
                  </a:cubicBezTo>
                  <a:cubicBezTo>
                    <a:pt x="902820" y="69386"/>
                    <a:pt x="667512" y="0"/>
                    <a:pt x="667512" y="0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3E21F32-6880-4E8E-BC0E-10E2EFC1BFBF}"/>
                </a:ext>
              </a:extLst>
            </p:cNvPr>
            <p:cNvSpPr/>
            <p:nvPr/>
          </p:nvSpPr>
          <p:spPr>
            <a:xfrm>
              <a:off x="6946388" y="8549702"/>
              <a:ext cx="52534" cy="547282"/>
            </a:xfrm>
            <a:custGeom>
              <a:avLst/>
              <a:gdLst>
                <a:gd name="connsiteX0" fmla="*/ 6033 w 52534"/>
                <a:gd name="connsiteY0" fmla="*/ 547283 h 547282"/>
                <a:gd name="connsiteX1" fmla="*/ 6033 w 52534"/>
                <a:gd name="connsiteY1" fmla="*/ 547283 h 547282"/>
                <a:gd name="connsiteX2" fmla="*/ 0 w 52534"/>
                <a:gd name="connsiteY2" fmla="*/ 541250 h 547282"/>
                <a:gd name="connsiteX3" fmla="*/ 42234 w 52534"/>
                <a:gd name="connsiteY3" fmla="*/ 4266 h 547282"/>
                <a:gd name="connsiteX4" fmla="*/ 48268 w 52534"/>
                <a:gd name="connsiteY4" fmla="*/ 1250 h 547282"/>
                <a:gd name="connsiteX5" fmla="*/ 51285 w 52534"/>
                <a:gd name="connsiteY5" fmla="*/ 7283 h 547282"/>
                <a:gd name="connsiteX6" fmla="*/ 9050 w 52534"/>
                <a:gd name="connsiteY6" fmla="*/ 541250 h 547282"/>
                <a:gd name="connsiteX7" fmla="*/ 6033 w 52534"/>
                <a:gd name="connsiteY7" fmla="*/ 547283 h 547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534" h="547282">
                  <a:moveTo>
                    <a:pt x="6033" y="547283"/>
                  </a:moveTo>
                  <a:cubicBezTo>
                    <a:pt x="6033" y="547283"/>
                    <a:pt x="6033" y="547283"/>
                    <a:pt x="6033" y="547283"/>
                  </a:cubicBezTo>
                  <a:cubicBezTo>
                    <a:pt x="3016" y="547283"/>
                    <a:pt x="0" y="544266"/>
                    <a:pt x="0" y="541250"/>
                  </a:cubicBezTo>
                  <a:cubicBezTo>
                    <a:pt x="0" y="520132"/>
                    <a:pt x="36201" y="43484"/>
                    <a:pt x="42234" y="4266"/>
                  </a:cubicBezTo>
                  <a:cubicBezTo>
                    <a:pt x="42234" y="1250"/>
                    <a:pt x="45251" y="-1767"/>
                    <a:pt x="48268" y="1250"/>
                  </a:cubicBezTo>
                  <a:cubicBezTo>
                    <a:pt x="51285" y="1250"/>
                    <a:pt x="54302" y="4266"/>
                    <a:pt x="51285" y="7283"/>
                  </a:cubicBezTo>
                  <a:cubicBezTo>
                    <a:pt x="42234" y="46501"/>
                    <a:pt x="9050" y="538233"/>
                    <a:pt x="9050" y="541250"/>
                  </a:cubicBezTo>
                  <a:cubicBezTo>
                    <a:pt x="12067" y="544266"/>
                    <a:pt x="9050" y="547283"/>
                    <a:pt x="6033" y="547283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809DD400-0FB5-4B5B-8BDD-5C18B94A2A44}"/>
                </a:ext>
              </a:extLst>
            </p:cNvPr>
            <p:cNvSpPr/>
            <p:nvPr/>
          </p:nvSpPr>
          <p:spPr>
            <a:xfrm>
              <a:off x="7836332" y="8982349"/>
              <a:ext cx="305307" cy="702015"/>
            </a:xfrm>
            <a:custGeom>
              <a:avLst/>
              <a:gdLst>
                <a:gd name="connsiteX0" fmla="*/ 0 w 305307"/>
                <a:gd name="connsiteY0" fmla="*/ 27151 h 702015"/>
                <a:gd name="connsiteX1" fmla="*/ 105587 w 305307"/>
                <a:gd name="connsiteY1" fmla="*/ 585251 h 702015"/>
                <a:gd name="connsiteX2" fmla="*/ 259441 w 305307"/>
                <a:gd name="connsiteY2" fmla="*/ 681788 h 702015"/>
                <a:gd name="connsiteX3" fmla="*/ 265475 w 305307"/>
                <a:gd name="connsiteY3" fmla="*/ 0 h 702015"/>
                <a:gd name="connsiteX4" fmla="*/ 0 w 305307"/>
                <a:gd name="connsiteY4" fmla="*/ 27151 h 702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307" h="702015">
                  <a:moveTo>
                    <a:pt x="0" y="27151"/>
                  </a:moveTo>
                  <a:lnTo>
                    <a:pt x="105587" y="585251"/>
                  </a:lnTo>
                  <a:cubicBezTo>
                    <a:pt x="105587" y="585251"/>
                    <a:pt x="159888" y="760223"/>
                    <a:pt x="259441" y="681788"/>
                  </a:cubicBezTo>
                  <a:cubicBezTo>
                    <a:pt x="358994" y="603352"/>
                    <a:pt x="265475" y="0"/>
                    <a:pt x="265475" y="0"/>
                  </a:cubicBezTo>
                  <a:lnTo>
                    <a:pt x="0" y="27151"/>
                  </a:ln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502F7FE6-6475-4A46-9522-EB9E7911310C}"/>
                </a:ext>
              </a:extLst>
            </p:cNvPr>
            <p:cNvSpPr/>
            <p:nvPr/>
          </p:nvSpPr>
          <p:spPr>
            <a:xfrm>
              <a:off x="7737210" y="8529835"/>
              <a:ext cx="424932" cy="577646"/>
            </a:xfrm>
            <a:custGeom>
              <a:avLst/>
              <a:gdLst>
                <a:gd name="connsiteX0" fmla="*/ 424932 w 424932"/>
                <a:gd name="connsiteY0" fmla="*/ 506815 h 577646"/>
                <a:gd name="connsiteX1" fmla="*/ 117223 w 424932"/>
                <a:gd name="connsiteY1" fmla="*/ 0 h 577646"/>
                <a:gd name="connsiteX2" fmla="*/ 11636 w 424932"/>
                <a:gd name="connsiteY2" fmla="*/ 573184 h 577646"/>
                <a:gd name="connsiteX3" fmla="*/ 424932 w 424932"/>
                <a:gd name="connsiteY3" fmla="*/ 506815 h 577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932" h="577646">
                  <a:moveTo>
                    <a:pt x="424932" y="506815"/>
                  </a:moveTo>
                  <a:cubicBezTo>
                    <a:pt x="424932" y="506815"/>
                    <a:pt x="262027" y="0"/>
                    <a:pt x="117223" y="0"/>
                  </a:cubicBezTo>
                  <a:cubicBezTo>
                    <a:pt x="-51716" y="0"/>
                    <a:pt x="11636" y="573184"/>
                    <a:pt x="11636" y="573184"/>
                  </a:cubicBezTo>
                  <a:cubicBezTo>
                    <a:pt x="11636" y="573184"/>
                    <a:pt x="237893" y="603352"/>
                    <a:pt x="424932" y="506815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37E68080-3A3B-4C98-A4D5-1BB13E573828}"/>
                </a:ext>
              </a:extLst>
            </p:cNvPr>
            <p:cNvSpPr/>
            <p:nvPr/>
          </p:nvSpPr>
          <p:spPr>
            <a:xfrm>
              <a:off x="7736163" y="8520784"/>
              <a:ext cx="121286" cy="567150"/>
            </a:xfrm>
            <a:custGeom>
              <a:avLst/>
              <a:gdLst>
                <a:gd name="connsiteX0" fmla="*/ 12683 w 121286"/>
                <a:gd name="connsiteY0" fmla="*/ 567151 h 567150"/>
                <a:gd name="connsiteX1" fmla="*/ 6649 w 121286"/>
                <a:gd name="connsiteY1" fmla="*/ 561117 h 567150"/>
                <a:gd name="connsiteX2" fmla="*/ 616 w 121286"/>
                <a:gd name="connsiteY2" fmla="*/ 223240 h 567150"/>
                <a:gd name="connsiteX3" fmla="*/ 115253 w 121286"/>
                <a:gd name="connsiteY3" fmla="*/ 0 h 567150"/>
                <a:gd name="connsiteX4" fmla="*/ 121286 w 121286"/>
                <a:gd name="connsiteY4" fmla="*/ 3016 h 567150"/>
                <a:gd name="connsiteX5" fmla="*/ 118269 w 121286"/>
                <a:gd name="connsiteY5" fmla="*/ 9050 h 567150"/>
                <a:gd name="connsiteX6" fmla="*/ 9666 w 121286"/>
                <a:gd name="connsiteY6" fmla="*/ 220224 h 567150"/>
                <a:gd name="connsiteX7" fmla="*/ 15700 w 121286"/>
                <a:gd name="connsiteY7" fmla="*/ 558101 h 567150"/>
                <a:gd name="connsiteX8" fmla="*/ 12683 w 121286"/>
                <a:gd name="connsiteY8" fmla="*/ 567151 h 567150"/>
                <a:gd name="connsiteX9" fmla="*/ 12683 w 121286"/>
                <a:gd name="connsiteY9" fmla="*/ 567151 h 56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286" h="567150">
                  <a:moveTo>
                    <a:pt x="12683" y="567151"/>
                  </a:moveTo>
                  <a:cubicBezTo>
                    <a:pt x="9666" y="567151"/>
                    <a:pt x="6649" y="564134"/>
                    <a:pt x="6649" y="561117"/>
                  </a:cubicBezTo>
                  <a:cubicBezTo>
                    <a:pt x="6649" y="558101"/>
                    <a:pt x="-2401" y="404246"/>
                    <a:pt x="616" y="223240"/>
                  </a:cubicBezTo>
                  <a:cubicBezTo>
                    <a:pt x="3633" y="39218"/>
                    <a:pt x="112236" y="3016"/>
                    <a:pt x="115253" y="0"/>
                  </a:cubicBezTo>
                  <a:cubicBezTo>
                    <a:pt x="118269" y="0"/>
                    <a:pt x="121286" y="0"/>
                    <a:pt x="121286" y="3016"/>
                  </a:cubicBezTo>
                  <a:cubicBezTo>
                    <a:pt x="121286" y="6033"/>
                    <a:pt x="121286" y="9050"/>
                    <a:pt x="118269" y="9050"/>
                  </a:cubicBezTo>
                  <a:cubicBezTo>
                    <a:pt x="118269" y="9050"/>
                    <a:pt x="15700" y="45251"/>
                    <a:pt x="9666" y="220224"/>
                  </a:cubicBezTo>
                  <a:cubicBezTo>
                    <a:pt x="6649" y="401229"/>
                    <a:pt x="15700" y="555084"/>
                    <a:pt x="15700" y="558101"/>
                  </a:cubicBezTo>
                  <a:cubicBezTo>
                    <a:pt x="18716" y="564134"/>
                    <a:pt x="15700" y="567151"/>
                    <a:pt x="12683" y="567151"/>
                  </a:cubicBezTo>
                  <a:cubicBezTo>
                    <a:pt x="12683" y="567151"/>
                    <a:pt x="12683" y="567151"/>
                    <a:pt x="12683" y="567151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1305AD10-0413-45BD-B13F-0F973E0027D5}"/>
                </a:ext>
              </a:extLst>
            </p:cNvPr>
            <p:cNvSpPr/>
            <p:nvPr/>
          </p:nvSpPr>
          <p:spPr>
            <a:xfrm>
              <a:off x="7232672" y="9429499"/>
              <a:ext cx="885578" cy="258332"/>
            </a:xfrm>
            <a:custGeom>
              <a:avLst/>
              <a:gdLst>
                <a:gd name="connsiteX0" fmla="*/ 78744 w 885578"/>
                <a:gd name="connsiteY0" fmla="*/ 147151 h 258332"/>
                <a:gd name="connsiteX1" fmla="*/ 829917 w 885578"/>
                <a:gd name="connsiteY1" fmla="*/ 249721 h 258332"/>
                <a:gd name="connsiteX2" fmla="*/ 802766 w 885578"/>
                <a:gd name="connsiteY2" fmla="*/ 17430 h 258332"/>
                <a:gd name="connsiteX3" fmla="*/ 308 w 885578"/>
                <a:gd name="connsiteY3" fmla="*/ 17430 h 258332"/>
                <a:gd name="connsiteX4" fmla="*/ 78744 w 885578"/>
                <a:gd name="connsiteY4" fmla="*/ 147151 h 258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578" h="258332">
                  <a:moveTo>
                    <a:pt x="78744" y="147151"/>
                  </a:moveTo>
                  <a:cubicBezTo>
                    <a:pt x="78744" y="147151"/>
                    <a:pt x="754498" y="294972"/>
                    <a:pt x="829917" y="249721"/>
                  </a:cubicBezTo>
                  <a:cubicBezTo>
                    <a:pt x="905336" y="207486"/>
                    <a:pt x="911370" y="56648"/>
                    <a:pt x="802766" y="17430"/>
                  </a:cubicBezTo>
                  <a:cubicBezTo>
                    <a:pt x="691146" y="-21788"/>
                    <a:pt x="9359" y="17430"/>
                    <a:pt x="308" y="17430"/>
                  </a:cubicBezTo>
                  <a:cubicBezTo>
                    <a:pt x="-5725" y="17430"/>
                    <a:pt x="78744" y="147151"/>
                    <a:pt x="78744" y="147151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3F677749-F340-45FA-AAF0-23D7CE970C19}"/>
                </a:ext>
              </a:extLst>
            </p:cNvPr>
            <p:cNvSpPr/>
            <p:nvPr/>
          </p:nvSpPr>
          <p:spPr>
            <a:xfrm>
              <a:off x="7736779" y="11244919"/>
              <a:ext cx="129720" cy="33184"/>
            </a:xfrm>
            <a:custGeom>
              <a:avLst/>
              <a:gdLst>
                <a:gd name="connsiteX0" fmla="*/ 6033 w 129720"/>
                <a:gd name="connsiteY0" fmla="*/ 33185 h 33184"/>
                <a:gd name="connsiteX1" fmla="*/ 0 w 129720"/>
                <a:gd name="connsiteY1" fmla="*/ 30168 h 33184"/>
                <a:gd name="connsiteX2" fmla="*/ 3017 w 129720"/>
                <a:gd name="connsiteY2" fmla="*/ 24134 h 33184"/>
                <a:gd name="connsiteX3" fmla="*/ 123687 w 129720"/>
                <a:gd name="connsiteY3" fmla="*/ 0 h 33184"/>
                <a:gd name="connsiteX4" fmla="*/ 129721 w 129720"/>
                <a:gd name="connsiteY4" fmla="*/ 3017 h 33184"/>
                <a:gd name="connsiteX5" fmla="*/ 126704 w 129720"/>
                <a:gd name="connsiteY5" fmla="*/ 9050 h 33184"/>
                <a:gd name="connsiteX6" fmla="*/ 6033 w 129720"/>
                <a:gd name="connsiteY6" fmla="*/ 33185 h 33184"/>
                <a:gd name="connsiteX7" fmla="*/ 6033 w 129720"/>
                <a:gd name="connsiteY7" fmla="*/ 33185 h 33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720" h="33184">
                  <a:moveTo>
                    <a:pt x="6033" y="33185"/>
                  </a:moveTo>
                  <a:cubicBezTo>
                    <a:pt x="3017" y="33185"/>
                    <a:pt x="0" y="30168"/>
                    <a:pt x="0" y="30168"/>
                  </a:cubicBezTo>
                  <a:cubicBezTo>
                    <a:pt x="0" y="27151"/>
                    <a:pt x="0" y="24134"/>
                    <a:pt x="3017" y="24134"/>
                  </a:cubicBezTo>
                  <a:lnTo>
                    <a:pt x="123687" y="0"/>
                  </a:lnTo>
                  <a:cubicBezTo>
                    <a:pt x="126704" y="0"/>
                    <a:pt x="129721" y="0"/>
                    <a:pt x="129721" y="3017"/>
                  </a:cubicBezTo>
                  <a:cubicBezTo>
                    <a:pt x="129721" y="6033"/>
                    <a:pt x="129721" y="9050"/>
                    <a:pt x="126704" y="9050"/>
                  </a:cubicBezTo>
                  <a:lnTo>
                    <a:pt x="6033" y="33185"/>
                  </a:lnTo>
                  <a:cubicBezTo>
                    <a:pt x="6033" y="33185"/>
                    <a:pt x="6033" y="33185"/>
                    <a:pt x="6033" y="33185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0" name="图形 1">
              <a:extLst>
                <a:ext uri="{FF2B5EF4-FFF2-40B4-BE49-F238E27FC236}">
                  <a16:creationId xmlns:a16="http://schemas.microsoft.com/office/drawing/2014/main" id="{C071D09F-9491-4816-95F2-6BAB7172CB09}"/>
                </a:ext>
              </a:extLst>
            </p:cNvPr>
            <p:cNvGrpSpPr/>
            <p:nvPr/>
          </p:nvGrpSpPr>
          <p:grpSpPr>
            <a:xfrm>
              <a:off x="6080578" y="8831511"/>
              <a:ext cx="1242905" cy="687821"/>
              <a:chOff x="6080578" y="8831511"/>
              <a:chExt cx="1242905" cy="687821"/>
            </a:xfrm>
          </p:grpSpPr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20E04615-D412-458F-910C-EA59CD9FAA10}"/>
                  </a:ext>
                </a:extLst>
              </p:cNvPr>
              <p:cNvSpPr/>
              <p:nvPr/>
            </p:nvSpPr>
            <p:spPr>
              <a:xfrm>
                <a:off x="6294768" y="8831511"/>
                <a:ext cx="1028715" cy="687821"/>
              </a:xfrm>
              <a:custGeom>
                <a:avLst/>
                <a:gdLst>
                  <a:gd name="connsiteX0" fmla="*/ 0 w 1028715"/>
                  <a:gd name="connsiteY0" fmla="*/ 0 h 687821"/>
                  <a:gd name="connsiteX1" fmla="*/ 1028715 w 1028715"/>
                  <a:gd name="connsiteY1" fmla="*/ 0 h 687821"/>
                  <a:gd name="connsiteX2" fmla="*/ 1028715 w 1028715"/>
                  <a:gd name="connsiteY2" fmla="*/ 687821 h 687821"/>
                  <a:gd name="connsiteX3" fmla="*/ 0 w 1028715"/>
                  <a:gd name="connsiteY3" fmla="*/ 687821 h 687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715" h="687821">
                    <a:moveTo>
                      <a:pt x="0" y="0"/>
                    </a:moveTo>
                    <a:lnTo>
                      <a:pt x="1028715" y="0"/>
                    </a:lnTo>
                    <a:lnTo>
                      <a:pt x="1028715" y="687821"/>
                    </a:lnTo>
                    <a:lnTo>
                      <a:pt x="0" y="687821"/>
                    </a:lnTo>
                    <a:close/>
                  </a:path>
                </a:pathLst>
              </a:custGeom>
              <a:solidFill>
                <a:srgbClr val="E8D2AF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E0378A23-0199-478D-AE8B-ED8D37B208DD}"/>
                  </a:ext>
                </a:extLst>
              </p:cNvPr>
              <p:cNvSpPr/>
              <p:nvPr/>
            </p:nvSpPr>
            <p:spPr>
              <a:xfrm>
                <a:off x="6080578" y="8831511"/>
                <a:ext cx="1028715" cy="687821"/>
              </a:xfrm>
              <a:custGeom>
                <a:avLst/>
                <a:gdLst>
                  <a:gd name="connsiteX0" fmla="*/ 0 w 1028715"/>
                  <a:gd name="connsiteY0" fmla="*/ 0 h 687821"/>
                  <a:gd name="connsiteX1" fmla="*/ 1028715 w 1028715"/>
                  <a:gd name="connsiteY1" fmla="*/ 0 h 687821"/>
                  <a:gd name="connsiteX2" fmla="*/ 1028715 w 1028715"/>
                  <a:gd name="connsiteY2" fmla="*/ 687821 h 687821"/>
                  <a:gd name="connsiteX3" fmla="*/ 0 w 1028715"/>
                  <a:gd name="connsiteY3" fmla="*/ 687821 h 687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715" h="687821">
                    <a:moveTo>
                      <a:pt x="0" y="0"/>
                    </a:moveTo>
                    <a:lnTo>
                      <a:pt x="1028715" y="0"/>
                    </a:lnTo>
                    <a:lnTo>
                      <a:pt x="1028715" y="687821"/>
                    </a:lnTo>
                    <a:lnTo>
                      <a:pt x="0" y="687821"/>
                    </a:ln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910B61F8-DABC-4287-ACB0-07E555B4BF2F}"/>
                  </a:ext>
                </a:extLst>
              </p:cNvPr>
              <p:cNvSpPr/>
              <p:nvPr/>
            </p:nvSpPr>
            <p:spPr>
              <a:xfrm rot="-10800000">
                <a:off x="6752229" y="8924879"/>
                <a:ext cx="271508" cy="36201"/>
              </a:xfrm>
              <a:custGeom>
                <a:avLst/>
                <a:gdLst>
                  <a:gd name="connsiteX0" fmla="*/ 0 w 271508"/>
                  <a:gd name="connsiteY0" fmla="*/ 0 h 36201"/>
                  <a:gd name="connsiteX1" fmla="*/ 271509 w 271508"/>
                  <a:gd name="connsiteY1" fmla="*/ 0 h 36201"/>
                  <a:gd name="connsiteX2" fmla="*/ 271509 w 271508"/>
                  <a:gd name="connsiteY2" fmla="*/ 36201 h 36201"/>
                  <a:gd name="connsiteX3" fmla="*/ 0 w 271508"/>
                  <a:gd name="connsiteY3" fmla="*/ 36201 h 36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1508" h="36201">
                    <a:moveTo>
                      <a:pt x="0" y="0"/>
                    </a:moveTo>
                    <a:lnTo>
                      <a:pt x="271509" y="0"/>
                    </a:lnTo>
                    <a:lnTo>
                      <a:pt x="271509" y="36201"/>
                    </a:lnTo>
                    <a:lnTo>
                      <a:pt x="0" y="36201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7CFFAB24-81F4-42C8-A818-AAEDF2D1384A}"/>
                  </a:ext>
                </a:extLst>
              </p:cNvPr>
              <p:cNvSpPr/>
              <p:nvPr/>
            </p:nvSpPr>
            <p:spPr>
              <a:xfrm rot="-10800000">
                <a:off x="6752229" y="9008443"/>
                <a:ext cx="271508" cy="36201"/>
              </a:xfrm>
              <a:custGeom>
                <a:avLst/>
                <a:gdLst>
                  <a:gd name="connsiteX0" fmla="*/ 0 w 271508"/>
                  <a:gd name="connsiteY0" fmla="*/ 0 h 36201"/>
                  <a:gd name="connsiteX1" fmla="*/ 271509 w 271508"/>
                  <a:gd name="connsiteY1" fmla="*/ 0 h 36201"/>
                  <a:gd name="connsiteX2" fmla="*/ 271509 w 271508"/>
                  <a:gd name="connsiteY2" fmla="*/ 36201 h 36201"/>
                  <a:gd name="connsiteX3" fmla="*/ 0 w 271508"/>
                  <a:gd name="connsiteY3" fmla="*/ 36201 h 36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1508" h="36201">
                    <a:moveTo>
                      <a:pt x="0" y="0"/>
                    </a:moveTo>
                    <a:lnTo>
                      <a:pt x="271509" y="0"/>
                    </a:lnTo>
                    <a:lnTo>
                      <a:pt x="271509" y="36201"/>
                    </a:lnTo>
                    <a:lnTo>
                      <a:pt x="0" y="36201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DAEFCBF4-8AB1-4CDF-8B5D-4968522F5D82}"/>
                  </a:ext>
                </a:extLst>
              </p:cNvPr>
              <p:cNvSpPr/>
              <p:nvPr/>
            </p:nvSpPr>
            <p:spPr>
              <a:xfrm>
                <a:off x="6158823" y="8925030"/>
                <a:ext cx="141978" cy="162905"/>
              </a:xfrm>
              <a:custGeom>
                <a:avLst/>
                <a:gdLst>
                  <a:gd name="connsiteX0" fmla="*/ 69576 w 141978"/>
                  <a:gd name="connsiteY0" fmla="*/ 0 h 162905"/>
                  <a:gd name="connsiteX1" fmla="*/ 141979 w 141978"/>
                  <a:gd name="connsiteY1" fmla="*/ 72403 h 162905"/>
                  <a:gd name="connsiteX2" fmla="*/ 141979 w 141978"/>
                  <a:gd name="connsiteY2" fmla="*/ 75419 h 162905"/>
                  <a:gd name="connsiteX3" fmla="*/ 117844 w 141978"/>
                  <a:gd name="connsiteY3" fmla="*/ 60335 h 162905"/>
                  <a:gd name="connsiteX4" fmla="*/ 93711 w 141978"/>
                  <a:gd name="connsiteY4" fmla="*/ 72403 h 162905"/>
                  <a:gd name="connsiteX5" fmla="*/ 78627 w 141978"/>
                  <a:gd name="connsiteY5" fmla="*/ 60335 h 162905"/>
                  <a:gd name="connsiteX6" fmla="*/ 78627 w 141978"/>
                  <a:gd name="connsiteY6" fmla="*/ 141788 h 162905"/>
                  <a:gd name="connsiteX7" fmla="*/ 87677 w 141978"/>
                  <a:gd name="connsiteY7" fmla="*/ 150838 h 162905"/>
                  <a:gd name="connsiteX8" fmla="*/ 96727 w 141978"/>
                  <a:gd name="connsiteY8" fmla="*/ 141788 h 162905"/>
                  <a:gd name="connsiteX9" fmla="*/ 96727 w 141978"/>
                  <a:gd name="connsiteY9" fmla="*/ 129721 h 162905"/>
                  <a:gd name="connsiteX10" fmla="*/ 111811 w 141978"/>
                  <a:gd name="connsiteY10" fmla="*/ 129721 h 162905"/>
                  <a:gd name="connsiteX11" fmla="*/ 111811 w 141978"/>
                  <a:gd name="connsiteY11" fmla="*/ 138771 h 162905"/>
                  <a:gd name="connsiteX12" fmla="*/ 87677 w 141978"/>
                  <a:gd name="connsiteY12" fmla="*/ 162905 h 162905"/>
                  <a:gd name="connsiteX13" fmla="*/ 63543 w 141978"/>
                  <a:gd name="connsiteY13" fmla="*/ 138771 h 162905"/>
                  <a:gd name="connsiteX14" fmla="*/ 63543 w 141978"/>
                  <a:gd name="connsiteY14" fmla="*/ 57319 h 162905"/>
                  <a:gd name="connsiteX15" fmla="*/ 48459 w 141978"/>
                  <a:gd name="connsiteY15" fmla="*/ 69386 h 162905"/>
                  <a:gd name="connsiteX16" fmla="*/ 24325 w 141978"/>
                  <a:gd name="connsiteY16" fmla="*/ 57319 h 162905"/>
                  <a:gd name="connsiteX17" fmla="*/ 191 w 141978"/>
                  <a:gd name="connsiteY17" fmla="*/ 72403 h 162905"/>
                  <a:gd name="connsiteX18" fmla="*/ 191 w 141978"/>
                  <a:gd name="connsiteY18" fmla="*/ 69386 h 162905"/>
                  <a:gd name="connsiteX19" fmla="*/ 69576 w 141978"/>
                  <a:gd name="connsiteY19" fmla="*/ 0 h 162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41978" h="162905">
                    <a:moveTo>
                      <a:pt x="69576" y="0"/>
                    </a:moveTo>
                    <a:cubicBezTo>
                      <a:pt x="108794" y="0"/>
                      <a:pt x="141979" y="33185"/>
                      <a:pt x="141979" y="72403"/>
                    </a:cubicBezTo>
                    <a:cubicBezTo>
                      <a:pt x="141979" y="72403"/>
                      <a:pt x="141979" y="75419"/>
                      <a:pt x="141979" y="75419"/>
                    </a:cubicBezTo>
                    <a:cubicBezTo>
                      <a:pt x="138962" y="66369"/>
                      <a:pt x="126895" y="60335"/>
                      <a:pt x="117844" y="60335"/>
                    </a:cubicBezTo>
                    <a:cubicBezTo>
                      <a:pt x="108794" y="60335"/>
                      <a:pt x="99744" y="66369"/>
                      <a:pt x="93711" y="72403"/>
                    </a:cubicBezTo>
                    <a:cubicBezTo>
                      <a:pt x="90694" y="66369"/>
                      <a:pt x="84660" y="63352"/>
                      <a:pt x="78627" y="60335"/>
                    </a:cubicBezTo>
                    <a:lnTo>
                      <a:pt x="78627" y="141788"/>
                    </a:lnTo>
                    <a:cubicBezTo>
                      <a:pt x="78627" y="147822"/>
                      <a:pt x="81643" y="150838"/>
                      <a:pt x="87677" y="150838"/>
                    </a:cubicBezTo>
                    <a:cubicBezTo>
                      <a:pt x="93711" y="150838"/>
                      <a:pt x="96727" y="147822"/>
                      <a:pt x="96727" y="141788"/>
                    </a:cubicBezTo>
                    <a:lnTo>
                      <a:pt x="96727" y="129721"/>
                    </a:lnTo>
                    <a:lnTo>
                      <a:pt x="111811" y="129721"/>
                    </a:lnTo>
                    <a:lnTo>
                      <a:pt x="111811" y="138771"/>
                    </a:lnTo>
                    <a:cubicBezTo>
                      <a:pt x="111811" y="150838"/>
                      <a:pt x="99744" y="162905"/>
                      <a:pt x="87677" y="162905"/>
                    </a:cubicBezTo>
                    <a:cubicBezTo>
                      <a:pt x="75610" y="162905"/>
                      <a:pt x="63543" y="150838"/>
                      <a:pt x="63543" y="138771"/>
                    </a:cubicBezTo>
                    <a:lnTo>
                      <a:pt x="63543" y="57319"/>
                    </a:lnTo>
                    <a:cubicBezTo>
                      <a:pt x="57509" y="60335"/>
                      <a:pt x="51476" y="63352"/>
                      <a:pt x="48459" y="69386"/>
                    </a:cubicBezTo>
                    <a:cubicBezTo>
                      <a:pt x="42425" y="63352"/>
                      <a:pt x="36392" y="57319"/>
                      <a:pt x="24325" y="57319"/>
                    </a:cubicBezTo>
                    <a:cubicBezTo>
                      <a:pt x="12258" y="57319"/>
                      <a:pt x="3208" y="63352"/>
                      <a:pt x="191" y="72403"/>
                    </a:cubicBezTo>
                    <a:cubicBezTo>
                      <a:pt x="191" y="72403"/>
                      <a:pt x="191" y="69386"/>
                      <a:pt x="191" y="69386"/>
                    </a:cubicBezTo>
                    <a:cubicBezTo>
                      <a:pt x="-2826" y="30168"/>
                      <a:pt x="30358" y="0"/>
                      <a:pt x="69576" y="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1" name="图形 1">
              <a:extLst>
                <a:ext uri="{FF2B5EF4-FFF2-40B4-BE49-F238E27FC236}">
                  <a16:creationId xmlns:a16="http://schemas.microsoft.com/office/drawing/2014/main" id="{3FFF09C1-6E28-4685-A6F4-0B7094AD4010}"/>
                </a:ext>
              </a:extLst>
            </p:cNvPr>
            <p:cNvGrpSpPr/>
            <p:nvPr/>
          </p:nvGrpSpPr>
          <p:grpSpPr>
            <a:xfrm>
              <a:off x="6159014" y="8351846"/>
              <a:ext cx="874860" cy="485698"/>
              <a:chOff x="6159014" y="8351846"/>
              <a:chExt cx="874860" cy="485698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76578765-32F9-4C10-BE81-F065F8BC164F}"/>
                  </a:ext>
                </a:extLst>
              </p:cNvPr>
              <p:cNvSpPr/>
              <p:nvPr/>
            </p:nvSpPr>
            <p:spPr>
              <a:xfrm>
                <a:off x="6306835" y="8351846"/>
                <a:ext cx="727039" cy="485698"/>
              </a:xfrm>
              <a:custGeom>
                <a:avLst/>
                <a:gdLst>
                  <a:gd name="connsiteX0" fmla="*/ 0 w 727039"/>
                  <a:gd name="connsiteY0" fmla="*/ 0 h 485698"/>
                  <a:gd name="connsiteX1" fmla="*/ 727039 w 727039"/>
                  <a:gd name="connsiteY1" fmla="*/ 0 h 485698"/>
                  <a:gd name="connsiteX2" fmla="*/ 727039 w 727039"/>
                  <a:gd name="connsiteY2" fmla="*/ 485698 h 485698"/>
                  <a:gd name="connsiteX3" fmla="*/ 0 w 727039"/>
                  <a:gd name="connsiteY3" fmla="*/ 485698 h 485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7039" h="485698">
                    <a:moveTo>
                      <a:pt x="0" y="0"/>
                    </a:moveTo>
                    <a:lnTo>
                      <a:pt x="727039" y="0"/>
                    </a:lnTo>
                    <a:lnTo>
                      <a:pt x="727039" y="485698"/>
                    </a:lnTo>
                    <a:lnTo>
                      <a:pt x="0" y="485698"/>
                    </a:lnTo>
                    <a:close/>
                  </a:path>
                </a:pathLst>
              </a:custGeom>
              <a:solidFill>
                <a:srgbClr val="E8D2AF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26C04A96-A5E1-4021-9BE1-2D4C5AF39747}"/>
                  </a:ext>
                </a:extLst>
              </p:cNvPr>
              <p:cNvSpPr/>
              <p:nvPr/>
            </p:nvSpPr>
            <p:spPr>
              <a:xfrm>
                <a:off x="6159014" y="8351846"/>
                <a:ext cx="727039" cy="485698"/>
              </a:xfrm>
              <a:custGeom>
                <a:avLst/>
                <a:gdLst>
                  <a:gd name="connsiteX0" fmla="*/ 0 w 727039"/>
                  <a:gd name="connsiteY0" fmla="*/ 0 h 485698"/>
                  <a:gd name="connsiteX1" fmla="*/ 727039 w 727039"/>
                  <a:gd name="connsiteY1" fmla="*/ 0 h 485698"/>
                  <a:gd name="connsiteX2" fmla="*/ 727039 w 727039"/>
                  <a:gd name="connsiteY2" fmla="*/ 485698 h 485698"/>
                  <a:gd name="connsiteX3" fmla="*/ 0 w 727039"/>
                  <a:gd name="connsiteY3" fmla="*/ 485698 h 485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7039" h="485698">
                    <a:moveTo>
                      <a:pt x="0" y="0"/>
                    </a:moveTo>
                    <a:lnTo>
                      <a:pt x="727039" y="0"/>
                    </a:lnTo>
                    <a:lnTo>
                      <a:pt x="727039" y="485698"/>
                    </a:lnTo>
                    <a:lnTo>
                      <a:pt x="0" y="485698"/>
                    </a:ln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5EA07D66-AAD5-42AD-8D60-C12EE30519EC}"/>
                  </a:ext>
                </a:extLst>
              </p:cNvPr>
              <p:cNvSpPr/>
              <p:nvPr/>
            </p:nvSpPr>
            <p:spPr>
              <a:xfrm rot="-10800000">
                <a:off x="6633158" y="8417883"/>
                <a:ext cx="190055" cy="24134"/>
              </a:xfrm>
              <a:custGeom>
                <a:avLst/>
                <a:gdLst>
                  <a:gd name="connsiteX0" fmla="*/ 0 w 190055"/>
                  <a:gd name="connsiteY0" fmla="*/ 0 h 24134"/>
                  <a:gd name="connsiteX1" fmla="*/ 190056 w 190055"/>
                  <a:gd name="connsiteY1" fmla="*/ 0 h 24134"/>
                  <a:gd name="connsiteX2" fmla="*/ 190056 w 190055"/>
                  <a:gd name="connsiteY2" fmla="*/ 24134 h 24134"/>
                  <a:gd name="connsiteX3" fmla="*/ 0 w 190055"/>
                  <a:gd name="connsiteY3" fmla="*/ 24134 h 2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055" h="24134">
                    <a:moveTo>
                      <a:pt x="0" y="0"/>
                    </a:moveTo>
                    <a:lnTo>
                      <a:pt x="190056" y="0"/>
                    </a:lnTo>
                    <a:lnTo>
                      <a:pt x="190056" y="24134"/>
                    </a:lnTo>
                    <a:lnTo>
                      <a:pt x="0" y="24134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FF46B4AA-6358-434A-AB85-B4A468C42E4E}"/>
                  </a:ext>
                </a:extLst>
              </p:cNvPr>
              <p:cNvSpPr/>
              <p:nvPr/>
            </p:nvSpPr>
            <p:spPr>
              <a:xfrm rot="-10800000">
                <a:off x="6633158" y="8476046"/>
                <a:ext cx="190055" cy="24134"/>
              </a:xfrm>
              <a:custGeom>
                <a:avLst/>
                <a:gdLst>
                  <a:gd name="connsiteX0" fmla="*/ 0 w 190055"/>
                  <a:gd name="connsiteY0" fmla="*/ 0 h 24134"/>
                  <a:gd name="connsiteX1" fmla="*/ 190056 w 190055"/>
                  <a:gd name="connsiteY1" fmla="*/ 0 h 24134"/>
                  <a:gd name="connsiteX2" fmla="*/ 190056 w 190055"/>
                  <a:gd name="connsiteY2" fmla="*/ 24134 h 24134"/>
                  <a:gd name="connsiteX3" fmla="*/ 0 w 190055"/>
                  <a:gd name="connsiteY3" fmla="*/ 24134 h 2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055" h="24134">
                    <a:moveTo>
                      <a:pt x="0" y="0"/>
                    </a:moveTo>
                    <a:lnTo>
                      <a:pt x="190056" y="0"/>
                    </a:lnTo>
                    <a:lnTo>
                      <a:pt x="190056" y="24134"/>
                    </a:lnTo>
                    <a:lnTo>
                      <a:pt x="0" y="24134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2ED1DEF6-C55F-473B-BF58-01D162644F65}"/>
                  </a:ext>
                </a:extLst>
              </p:cNvPr>
              <p:cNvSpPr/>
              <p:nvPr/>
            </p:nvSpPr>
            <p:spPr>
              <a:xfrm>
                <a:off x="6210299" y="8415198"/>
                <a:ext cx="102569" cy="117653"/>
              </a:xfrm>
              <a:custGeom>
                <a:avLst/>
                <a:gdLst>
                  <a:gd name="connsiteX0" fmla="*/ 51285 w 102569"/>
                  <a:gd name="connsiteY0" fmla="*/ 0 h 117653"/>
                  <a:gd name="connsiteX1" fmla="*/ 102570 w 102569"/>
                  <a:gd name="connsiteY1" fmla="*/ 51285 h 117653"/>
                  <a:gd name="connsiteX2" fmla="*/ 102570 w 102569"/>
                  <a:gd name="connsiteY2" fmla="*/ 54302 h 117653"/>
                  <a:gd name="connsiteX3" fmla="*/ 84469 w 102569"/>
                  <a:gd name="connsiteY3" fmla="*/ 42234 h 117653"/>
                  <a:gd name="connsiteX4" fmla="*/ 69385 w 102569"/>
                  <a:gd name="connsiteY4" fmla="*/ 51285 h 117653"/>
                  <a:gd name="connsiteX5" fmla="*/ 57318 w 102569"/>
                  <a:gd name="connsiteY5" fmla="*/ 42234 h 117653"/>
                  <a:gd name="connsiteX6" fmla="*/ 57318 w 102569"/>
                  <a:gd name="connsiteY6" fmla="*/ 99553 h 117653"/>
                  <a:gd name="connsiteX7" fmla="*/ 63352 w 102569"/>
                  <a:gd name="connsiteY7" fmla="*/ 105587 h 117653"/>
                  <a:gd name="connsiteX8" fmla="*/ 69385 w 102569"/>
                  <a:gd name="connsiteY8" fmla="*/ 99553 h 117653"/>
                  <a:gd name="connsiteX9" fmla="*/ 69385 w 102569"/>
                  <a:gd name="connsiteY9" fmla="*/ 93519 h 117653"/>
                  <a:gd name="connsiteX10" fmla="*/ 81452 w 102569"/>
                  <a:gd name="connsiteY10" fmla="*/ 93519 h 117653"/>
                  <a:gd name="connsiteX11" fmla="*/ 81452 w 102569"/>
                  <a:gd name="connsiteY11" fmla="*/ 99553 h 117653"/>
                  <a:gd name="connsiteX12" fmla="*/ 63352 w 102569"/>
                  <a:gd name="connsiteY12" fmla="*/ 117653 h 117653"/>
                  <a:gd name="connsiteX13" fmla="*/ 45251 w 102569"/>
                  <a:gd name="connsiteY13" fmla="*/ 99553 h 117653"/>
                  <a:gd name="connsiteX14" fmla="*/ 45251 w 102569"/>
                  <a:gd name="connsiteY14" fmla="*/ 42234 h 117653"/>
                  <a:gd name="connsiteX15" fmla="*/ 33184 w 102569"/>
                  <a:gd name="connsiteY15" fmla="*/ 51285 h 117653"/>
                  <a:gd name="connsiteX16" fmla="*/ 18101 w 102569"/>
                  <a:gd name="connsiteY16" fmla="*/ 42234 h 117653"/>
                  <a:gd name="connsiteX17" fmla="*/ 0 w 102569"/>
                  <a:gd name="connsiteY17" fmla="*/ 54302 h 117653"/>
                  <a:gd name="connsiteX18" fmla="*/ 0 w 102569"/>
                  <a:gd name="connsiteY18" fmla="*/ 51285 h 117653"/>
                  <a:gd name="connsiteX19" fmla="*/ 51285 w 102569"/>
                  <a:gd name="connsiteY19" fmla="*/ 0 h 117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2569" h="117653">
                    <a:moveTo>
                      <a:pt x="51285" y="0"/>
                    </a:moveTo>
                    <a:cubicBezTo>
                      <a:pt x="78436" y="0"/>
                      <a:pt x="102570" y="21117"/>
                      <a:pt x="102570" y="51285"/>
                    </a:cubicBezTo>
                    <a:cubicBezTo>
                      <a:pt x="102570" y="51285"/>
                      <a:pt x="102570" y="54302"/>
                      <a:pt x="102570" y="54302"/>
                    </a:cubicBezTo>
                    <a:cubicBezTo>
                      <a:pt x="99553" y="48268"/>
                      <a:pt x="93520" y="42234"/>
                      <a:pt x="84469" y="42234"/>
                    </a:cubicBezTo>
                    <a:cubicBezTo>
                      <a:pt x="78436" y="42234"/>
                      <a:pt x="72402" y="45251"/>
                      <a:pt x="69385" y="51285"/>
                    </a:cubicBezTo>
                    <a:cubicBezTo>
                      <a:pt x="66369" y="48268"/>
                      <a:pt x="63352" y="45251"/>
                      <a:pt x="57318" y="42234"/>
                    </a:cubicBezTo>
                    <a:lnTo>
                      <a:pt x="57318" y="99553"/>
                    </a:lnTo>
                    <a:cubicBezTo>
                      <a:pt x="57318" y="102570"/>
                      <a:pt x="60335" y="105587"/>
                      <a:pt x="63352" y="105587"/>
                    </a:cubicBezTo>
                    <a:cubicBezTo>
                      <a:pt x="66369" y="105587"/>
                      <a:pt x="69385" y="102570"/>
                      <a:pt x="69385" y="99553"/>
                    </a:cubicBezTo>
                    <a:lnTo>
                      <a:pt x="69385" y="93519"/>
                    </a:lnTo>
                    <a:lnTo>
                      <a:pt x="81452" y="93519"/>
                    </a:lnTo>
                    <a:lnTo>
                      <a:pt x="81452" y="99553"/>
                    </a:lnTo>
                    <a:cubicBezTo>
                      <a:pt x="81452" y="108603"/>
                      <a:pt x="72402" y="117653"/>
                      <a:pt x="63352" y="117653"/>
                    </a:cubicBezTo>
                    <a:cubicBezTo>
                      <a:pt x="54302" y="117653"/>
                      <a:pt x="45251" y="108603"/>
                      <a:pt x="45251" y="99553"/>
                    </a:cubicBezTo>
                    <a:lnTo>
                      <a:pt x="45251" y="42234"/>
                    </a:lnTo>
                    <a:cubicBezTo>
                      <a:pt x="42235" y="42234"/>
                      <a:pt x="36201" y="45251"/>
                      <a:pt x="33184" y="51285"/>
                    </a:cubicBezTo>
                    <a:cubicBezTo>
                      <a:pt x="30168" y="45251"/>
                      <a:pt x="24134" y="42234"/>
                      <a:pt x="18101" y="42234"/>
                    </a:cubicBezTo>
                    <a:cubicBezTo>
                      <a:pt x="9050" y="42234"/>
                      <a:pt x="3017" y="48268"/>
                      <a:pt x="0" y="54302"/>
                    </a:cubicBezTo>
                    <a:cubicBezTo>
                      <a:pt x="0" y="54302"/>
                      <a:pt x="0" y="51285"/>
                      <a:pt x="0" y="51285"/>
                    </a:cubicBezTo>
                    <a:cubicBezTo>
                      <a:pt x="3017" y="24134"/>
                      <a:pt x="24134" y="0"/>
                      <a:pt x="51285" y="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BFD01583-120E-4F4E-87E4-97D833DCB4FB}"/>
                </a:ext>
              </a:extLst>
            </p:cNvPr>
            <p:cNvSpPr/>
            <p:nvPr/>
          </p:nvSpPr>
          <p:spPr>
            <a:xfrm>
              <a:off x="7549740" y="8134639"/>
              <a:ext cx="69385" cy="135754"/>
            </a:xfrm>
            <a:custGeom>
              <a:avLst/>
              <a:gdLst>
                <a:gd name="connsiteX0" fmla="*/ 69386 w 69385"/>
                <a:gd name="connsiteY0" fmla="*/ 0 h 135754"/>
                <a:gd name="connsiteX1" fmla="*/ 3016 w 69385"/>
                <a:gd name="connsiteY1" fmla="*/ 135754 h 135754"/>
                <a:gd name="connsiteX2" fmla="*/ 0 w 69385"/>
                <a:gd name="connsiteY2" fmla="*/ 51285 h 135754"/>
                <a:gd name="connsiteX3" fmla="*/ 69386 w 69385"/>
                <a:gd name="connsiteY3" fmla="*/ 0 h 13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385" h="135754">
                  <a:moveTo>
                    <a:pt x="69386" y="0"/>
                  </a:moveTo>
                  <a:cubicBezTo>
                    <a:pt x="69386" y="0"/>
                    <a:pt x="54302" y="117653"/>
                    <a:pt x="3016" y="135754"/>
                  </a:cubicBezTo>
                  <a:lnTo>
                    <a:pt x="0" y="51285"/>
                  </a:lnTo>
                  <a:lnTo>
                    <a:pt x="69386" y="0"/>
                  </a:ln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478F79C1-ACE4-4E2C-9500-511579A2D9A5}"/>
                </a:ext>
              </a:extLst>
            </p:cNvPr>
            <p:cNvSpPr/>
            <p:nvPr/>
          </p:nvSpPr>
          <p:spPr>
            <a:xfrm>
              <a:off x="7165055" y="7929499"/>
              <a:ext cx="101556" cy="235319"/>
            </a:xfrm>
            <a:custGeom>
              <a:avLst/>
              <a:gdLst>
                <a:gd name="connsiteX0" fmla="*/ 7590 w 101556"/>
                <a:gd name="connsiteY0" fmla="*/ 0 h 235319"/>
                <a:gd name="connsiteX1" fmla="*/ 46808 w 101556"/>
                <a:gd name="connsiteY1" fmla="*/ 232290 h 235319"/>
                <a:gd name="connsiteX2" fmla="*/ 101110 w 101556"/>
                <a:gd name="connsiteY2" fmla="*/ 15084 h 235319"/>
                <a:gd name="connsiteX3" fmla="*/ 7590 w 101556"/>
                <a:gd name="connsiteY3" fmla="*/ 0 h 235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556" h="235319">
                  <a:moveTo>
                    <a:pt x="7590" y="0"/>
                  </a:moveTo>
                  <a:cubicBezTo>
                    <a:pt x="7590" y="0"/>
                    <a:pt x="-25594" y="193073"/>
                    <a:pt x="46808" y="232290"/>
                  </a:cubicBezTo>
                  <a:cubicBezTo>
                    <a:pt x="110160" y="265475"/>
                    <a:pt x="101110" y="15084"/>
                    <a:pt x="101110" y="15084"/>
                  </a:cubicBezTo>
                  <a:lnTo>
                    <a:pt x="7590" y="0"/>
                  </a:ln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B458C8B0-3FA2-4DB3-8996-BBBD7EBC184D}"/>
                </a:ext>
              </a:extLst>
            </p:cNvPr>
            <p:cNvSpPr/>
            <p:nvPr/>
          </p:nvSpPr>
          <p:spPr>
            <a:xfrm>
              <a:off x="7200184" y="7792843"/>
              <a:ext cx="418941" cy="562616"/>
            </a:xfrm>
            <a:custGeom>
              <a:avLst/>
              <a:gdLst>
                <a:gd name="connsiteX0" fmla="*/ 11679 w 418941"/>
                <a:gd name="connsiteY0" fmla="*/ 178891 h 562616"/>
                <a:gd name="connsiteX1" fmla="*/ 8662 w 418941"/>
                <a:gd name="connsiteY1" fmla="*/ 426265 h 562616"/>
                <a:gd name="connsiteX2" fmla="*/ 165534 w 418941"/>
                <a:gd name="connsiteY2" fmla="*/ 562020 h 562616"/>
                <a:gd name="connsiteX3" fmla="*/ 379724 w 418941"/>
                <a:gd name="connsiteY3" fmla="*/ 423248 h 562616"/>
                <a:gd name="connsiteX4" fmla="*/ 418942 w 418941"/>
                <a:gd name="connsiteY4" fmla="*/ 200008 h 562616"/>
                <a:gd name="connsiteX5" fmla="*/ 210785 w 418941"/>
                <a:gd name="connsiteY5" fmla="*/ 902 h 562616"/>
                <a:gd name="connsiteX6" fmla="*/ 11679 w 418941"/>
                <a:gd name="connsiteY6" fmla="*/ 178891 h 562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941" h="562616">
                  <a:moveTo>
                    <a:pt x="11679" y="178891"/>
                  </a:moveTo>
                  <a:cubicBezTo>
                    <a:pt x="11679" y="178891"/>
                    <a:pt x="-12455" y="353863"/>
                    <a:pt x="8662" y="426265"/>
                  </a:cubicBezTo>
                  <a:cubicBezTo>
                    <a:pt x="26763" y="492634"/>
                    <a:pt x="114249" y="555986"/>
                    <a:pt x="165534" y="562020"/>
                  </a:cubicBezTo>
                  <a:cubicBezTo>
                    <a:pt x="231902" y="568053"/>
                    <a:pt x="349556" y="528835"/>
                    <a:pt x="379724" y="423248"/>
                  </a:cubicBezTo>
                  <a:cubicBezTo>
                    <a:pt x="400841" y="350846"/>
                    <a:pt x="418942" y="251293"/>
                    <a:pt x="418942" y="200008"/>
                  </a:cubicBezTo>
                  <a:cubicBezTo>
                    <a:pt x="418942" y="106489"/>
                    <a:pt x="391791" y="28053"/>
                    <a:pt x="210785" y="902"/>
                  </a:cubicBezTo>
                  <a:cubicBezTo>
                    <a:pt x="126316" y="-11165"/>
                    <a:pt x="32797" y="100455"/>
                    <a:pt x="11679" y="178891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575E63B5-695C-454E-9837-2C20BAC3FBEE}"/>
                </a:ext>
              </a:extLst>
            </p:cNvPr>
            <p:cNvSpPr/>
            <p:nvPr/>
          </p:nvSpPr>
          <p:spPr>
            <a:xfrm>
              <a:off x="7332534" y="8053187"/>
              <a:ext cx="57318" cy="135754"/>
            </a:xfrm>
            <a:custGeom>
              <a:avLst/>
              <a:gdLst>
                <a:gd name="connsiteX0" fmla="*/ 33184 w 57318"/>
                <a:gd name="connsiteY0" fmla="*/ 135754 h 135754"/>
                <a:gd name="connsiteX1" fmla="*/ 6033 w 57318"/>
                <a:gd name="connsiteY1" fmla="*/ 129721 h 135754"/>
                <a:gd name="connsiteX2" fmla="*/ 0 w 57318"/>
                <a:gd name="connsiteY2" fmla="*/ 117653 h 135754"/>
                <a:gd name="connsiteX3" fmla="*/ 18100 w 57318"/>
                <a:gd name="connsiteY3" fmla="*/ 6033 h 135754"/>
                <a:gd name="connsiteX4" fmla="*/ 24134 w 57318"/>
                <a:gd name="connsiteY4" fmla="*/ 0 h 135754"/>
                <a:gd name="connsiteX5" fmla="*/ 30168 w 57318"/>
                <a:gd name="connsiteY5" fmla="*/ 6033 h 135754"/>
                <a:gd name="connsiteX6" fmla="*/ 12067 w 57318"/>
                <a:gd name="connsiteY6" fmla="*/ 117653 h 135754"/>
                <a:gd name="connsiteX7" fmla="*/ 12067 w 57318"/>
                <a:gd name="connsiteY7" fmla="*/ 120670 h 135754"/>
                <a:gd name="connsiteX8" fmla="*/ 51285 w 57318"/>
                <a:gd name="connsiteY8" fmla="*/ 123687 h 135754"/>
                <a:gd name="connsiteX9" fmla="*/ 57318 w 57318"/>
                <a:gd name="connsiteY9" fmla="*/ 129721 h 135754"/>
                <a:gd name="connsiteX10" fmla="*/ 51285 w 57318"/>
                <a:gd name="connsiteY10" fmla="*/ 135754 h 135754"/>
                <a:gd name="connsiteX11" fmla="*/ 33184 w 57318"/>
                <a:gd name="connsiteY11" fmla="*/ 135754 h 13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318" h="135754">
                  <a:moveTo>
                    <a:pt x="33184" y="135754"/>
                  </a:moveTo>
                  <a:cubicBezTo>
                    <a:pt x="24134" y="135754"/>
                    <a:pt x="12067" y="135754"/>
                    <a:pt x="6033" y="129721"/>
                  </a:cubicBezTo>
                  <a:cubicBezTo>
                    <a:pt x="3016" y="126704"/>
                    <a:pt x="0" y="123687"/>
                    <a:pt x="0" y="117653"/>
                  </a:cubicBezTo>
                  <a:cubicBezTo>
                    <a:pt x="0" y="96536"/>
                    <a:pt x="18100" y="9050"/>
                    <a:pt x="18100" y="6033"/>
                  </a:cubicBezTo>
                  <a:cubicBezTo>
                    <a:pt x="18100" y="3016"/>
                    <a:pt x="21117" y="0"/>
                    <a:pt x="24134" y="0"/>
                  </a:cubicBezTo>
                  <a:cubicBezTo>
                    <a:pt x="27151" y="0"/>
                    <a:pt x="30168" y="3016"/>
                    <a:pt x="30168" y="6033"/>
                  </a:cubicBezTo>
                  <a:cubicBezTo>
                    <a:pt x="30168" y="6033"/>
                    <a:pt x="12067" y="96536"/>
                    <a:pt x="12067" y="117653"/>
                  </a:cubicBezTo>
                  <a:cubicBezTo>
                    <a:pt x="12067" y="117653"/>
                    <a:pt x="12067" y="120670"/>
                    <a:pt x="12067" y="120670"/>
                  </a:cubicBezTo>
                  <a:cubicBezTo>
                    <a:pt x="18100" y="126704"/>
                    <a:pt x="39218" y="123687"/>
                    <a:pt x="51285" y="123687"/>
                  </a:cubicBezTo>
                  <a:cubicBezTo>
                    <a:pt x="54301" y="123687"/>
                    <a:pt x="57318" y="123687"/>
                    <a:pt x="57318" y="129721"/>
                  </a:cubicBezTo>
                  <a:cubicBezTo>
                    <a:pt x="57318" y="132737"/>
                    <a:pt x="54301" y="135754"/>
                    <a:pt x="51285" y="135754"/>
                  </a:cubicBezTo>
                  <a:cubicBezTo>
                    <a:pt x="54301" y="135754"/>
                    <a:pt x="42234" y="135754"/>
                    <a:pt x="33184" y="135754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94FC60EB-3FA8-4BCB-BA2D-D3D30FB719BF}"/>
                </a:ext>
              </a:extLst>
            </p:cNvPr>
            <p:cNvSpPr/>
            <p:nvPr/>
          </p:nvSpPr>
          <p:spPr>
            <a:xfrm>
              <a:off x="7265573" y="8031478"/>
              <a:ext cx="40578" cy="40401"/>
            </a:xfrm>
            <a:custGeom>
              <a:avLst/>
              <a:gdLst>
                <a:gd name="connsiteX0" fmla="*/ 39810 w 40578"/>
                <a:gd name="connsiteY0" fmla="*/ 24726 h 40401"/>
                <a:gd name="connsiteX1" fmla="*/ 15675 w 40578"/>
                <a:gd name="connsiteY1" fmla="*/ 39809 h 40401"/>
                <a:gd name="connsiteX2" fmla="*/ 592 w 40578"/>
                <a:gd name="connsiteY2" fmla="*/ 15676 h 40401"/>
                <a:gd name="connsiteX3" fmla="*/ 24726 w 40578"/>
                <a:gd name="connsiteY3" fmla="*/ 592 h 40401"/>
                <a:gd name="connsiteX4" fmla="*/ 39810 w 40578"/>
                <a:gd name="connsiteY4" fmla="*/ 24726 h 4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0401">
                  <a:moveTo>
                    <a:pt x="39810" y="24726"/>
                  </a:moveTo>
                  <a:cubicBezTo>
                    <a:pt x="36793" y="33776"/>
                    <a:pt x="27743" y="42826"/>
                    <a:pt x="15675" y="39809"/>
                  </a:cubicBezTo>
                  <a:cubicBezTo>
                    <a:pt x="6626" y="36793"/>
                    <a:pt x="-2425" y="27742"/>
                    <a:pt x="592" y="15676"/>
                  </a:cubicBezTo>
                  <a:cubicBezTo>
                    <a:pt x="3609" y="6625"/>
                    <a:pt x="12659" y="-2425"/>
                    <a:pt x="24726" y="592"/>
                  </a:cubicBezTo>
                  <a:cubicBezTo>
                    <a:pt x="36793" y="3608"/>
                    <a:pt x="42827" y="12659"/>
                    <a:pt x="39810" y="24726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EF23BB3B-EC0E-4CE9-AB4F-0A51BEDAE241}"/>
                </a:ext>
              </a:extLst>
            </p:cNvPr>
            <p:cNvSpPr/>
            <p:nvPr/>
          </p:nvSpPr>
          <p:spPr>
            <a:xfrm>
              <a:off x="7446578" y="8049578"/>
              <a:ext cx="40578" cy="40401"/>
            </a:xfrm>
            <a:custGeom>
              <a:avLst/>
              <a:gdLst>
                <a:gd name="connsiteX0" fmla="*/ 39810 w 40578"/>
                <a:gd name="connsiteY0" fmla="*/ 24726 h 40401"/>
                <a:gd name="connsiteX1" fmla="*/ 15675 w 40578"/>
                <a:gd name="connsiteY1" fmla="*/ 39810 h 40401"/>
                <a:gd name="connsiteX2" fmla="*/ 592 w 40578"/>
                <a:gd name="connsiteY2" fmla="*/ 15675 h 40401"/>
                <a:gd name="connsiteX3" fmla="*/ 24726 w 40578"/>
                <a:gd name="connsiteY3" fmla="*/ 592 h 40401"/>
                <a:gd name="connsiteX4" fmla="*/ 39810 w 40578"/>
                <a:gd name="connsiteY4" fmla="*/ 24726 h 4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0401">
                  <a:moveTo>
                    <a:pt x="39810" y="24726"/>
                  </a:moveTo>
                  <a:cubicBezTo>
                    <a:pt x="36793" y="33776"/>
                    <a:pt x="27743" y="42827"/>
                    <a:pt x="15675" y="39810"/>
                  </a:cubicBezTo>
                  <a:cubicBezTo>
                    <a:pt x="6626" y="36793"/>
                    <a:pt x="-2425" y="27743"/>
                    <a:pt x="592" y="15675"/>
                  </a:cubicBezTo>
                  <a:cubicBezTo>
                    <a:pt x="3609" y="6625"/>
                    <a:pt x="12659" y="-2425"/>
                    <a:pt x="24726" y="592"/>
                  </a:cubicBezTo>
                  <a:cubicBezTo>
                    <a:pt x="36793" y="3609"/>
                    <a:pt x="42827" y="15675"/>
                    <a:pt x="39810" y="24726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F57EC9D2-0408-448B-9BC6-E7E7BFA1C3D3}"/>
                </a:ext>
              </a:extLst>
            </p:cNvPr>
            <p:cNvSpPr/>
            <p:nvPr/>
          </p:nvSpPr>
          <p:spPr>
            <a:xfrm>
              <a:off x="7242785" y="7980784"/>
              <a:ext cx="90998" cy="33184"/>
            </a:xfrm>
            <a:custGeom>
              <a:avLst/>
              <a:gdLst>
                <a:gd name="connsiteX0" fmla="*/ 8296 w 90998"/>
                <a:gd name="connsiteY0" fmla="*/ 33184 h 33184"/>
                <a:gd name="connsiteX1" fmla="*/ 2262 w 90998"/>
                <a:gd name="connsiteY1" fmla="*/ 30167 h 33184"/>
                <a:gd name="connsiteX2" fmla="*/ 2262 w 90998"/>
                <a:gd name="connsiteY2" fmla="*/ 18101 h 33184"/>
                <a:gd name="connsiteX3" fmla="*/ 86732 w 90998"/>
                <a:gd name="connsiteY3" fmla="*/ 9050 h 33184"/>
                <a:gd name="connsiteX4" fmla="*/ 89749 w 90998"/>
                <a:gd name="connsiteY4" fmla="*/ 21118 h 33184"/>
                <a:gd name="connsiteX5" fmla="*/ 77681 w 90998"/>
                <a:gd name="connsiteY5" fmla="*/ 24134 h 33184"/>
                <a:gd name="connsiteX6" fmla="*/ 11313 w 90998"/>
                <a:gd name="connsiteY6" fmla="*/ 30167 h 33184"/>
                <a:gd name="connsiteX7" fmla="*/ 8296 w 90998"/>
                <a:gd name="connsiteY7" fmla="*/ 33184 h 33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3184">
                  <a:moveTo>
                    <a:pt x="8296" y="33184"/>
                  </a:moveTo>
                  <a:cubicBezTo>
                    <a:pt x="5279" y="33184"/>
                    <a:pt x="5279" y="33184"/>
                    <a:pt x="2262" y="30167"/>
                  </a:cubicBezTo>
                  <a:cubicBezTo>
                    <a:pt x="-754" y="27151"/>
                    <a:pt x="-754" y="21118"/>
                    <a:pt x="2262" y="18101"/>
                  </a:cubicBezTo>
                  <a:cubicBezTo>
                    <a:pt x="29413" y="-9050"/>
                    <a:pt x="68631" y="0"/>
                    <a:pt x="86732" y="9050"/>
                  </a:cubicBezTo>
                  <a:cubicBezTo>
                    <a:pt x="89749" y="12067"/>
                    <a:pt x="92765" y="15084"/>
                    <a:pt x="89749" y="21118"/>
                  </a:cubicBezTo>
                  <a:cubicBezTo>
                    <a:pt x="86732" y="24134"/>
                    <a:pt x="83715" y="27151"/>
                    <a:pt x="77681" y="24134"/>
                  </a:cubicBezTo>
                  <a:cubicBezTo>
                    <a:pt x="74665" y="24134"/>
                    <a:pt x="38463" y="3017"/>
                    <a:pt x="11313" y="30167"/>
                  </a:cubicBezTo>
                  <a:cubicBezTo>
                    <a:pt x="11313" y="33184"/>
                    <a:pt x="8296" y="33184"/>
                    <a:pt x="8296" y="33184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3441DF4A-5472-463A-A13A-F06B610E696B}"/>
                </a:ext>
              </a:extLst>
            </p:cNvPr>
            <p:cNvSpPr/>
            <p:nvPr/>
          </p:nvSpPr>
          <p:spPr>
            <a:xfrm>
              <a:off x="7427820" y="7984807"/>
              <a:ext cx="90998" cy="35195"/>
            </a:xfrm>
            <a:custGeom>
              <a:avLst/>
              <a:gdLst>
                <a:gd name="connsiteX0" fmla="*/ 85719 w 90998"/>
                <a:gd name="connsiteY0" fmla="*/ 35195 h 35195"/>
                <a:gd name="connsiteX1" fmla="*/ 79685 w 90998"/>
                <a:gd name="connsiteY1" fmla="*/ 32179 h 35195"/>
                <a:gd name="connsiteX2" fmla="*/ 13317 w 90998"/>
                <a:gd name="connsiteY2" fmla="*/ 26145 h 35195"/>
                <a:gd name="connsiteX3" fmla="*/ 1250 w 90998"/>
                <a:gd name="connsiteY3" fmla="*/ 23129 h 35195"/>
                <a:gd name="connsiteX4" fmla="*/ 4266 w 90998"/>
                <a:gd name="connsiteY4" fmla="*/ 11061 h 35195"/>
                <a:gd name="connsiteX5" fmla="*/ 88736 w 90998"/>
                <a:gd name="connsiteY5" fmla="*/ 20112 h 35195"/>
                <a:gd name="connsiteX6" fmla="*/ 88736 w 90998"/>
                <a:gd name="connsiteY6" fmla="*/ 32179 h 35195"/>
                <a:gd name="connsiteX7" fmla="*/ 85719 w 90998"/>
                <a:gd name="connsiteY7" fmla="*/ 35195 h 3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5195">
                  <a:moveTo>
                    <a:pt x="85719" y="35195"/>
                  </a:moveTo>
                  <a:cubicBezTo>
                    <a:pt x="82702" y="35195"/>
                    <a:pt x="82702" y="35195"/>
                    <a:pt x="79685" y="32179"/>
                  </a:cubicBezTo>
                  <a:cubicBezTo>
                    <a:pt x="79685" y="32179"/>
                    <a:pt x="49518" y="2011"/>
                    <a:pt x="13317" y="26145"/>
                  </a:cubicBezTo>
                  <a:cubicBezTo>
                    <a:pt x="10300" y="29162"/>
                    <a:pt x="4266" y="26145"/>
                    <a:pt x="1250" y="23129"/>
                  </a:cubicBezTo>
                  <a:cubicBezTo>
                    <a:pt x="-1767" y="20112"/>
                    <a:pt x="1250" y="14078"/>
                    <a:pt x="4266" y="11061"/>
                  </a:cubicBezTo>
                  <a:cubicBezTo>
                    <a:pt x="40468" y="-13072"/>
                    <a:pt x="76669" y="8045"/>
                    <a:pt x="88736" y="20112"/>
                  </a:cubicBezTo>
                  <a:cubicBezTo>
                    <a:pt x="91752" y="23129"/>
                    <a:pt x="91752" y="29162"/>
                    <a:pt x="88736" y="32179"/>
                  </a:cubicBezTo>
                  <a:cubicBezTo>
                    <a:pt x="88736" y="35195"/>
                    <a:pt x="88736" y="35195"/>
                    <a:pt x="85719" y="35195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D3714AE3-A59D-4FF9-9FFE-25120A09A5AE}"/>
                </a:ext>
              </a:extLst>
            </p:cNvPr>
            <p:cNvSpPr/>
            <p:nvPr/>
          </p:nvSpPr>
          <p:spPr>
            <a:xfrm>
              <a:off x="7297086" y="8300561"/>
              <a:ext cx="229769" cy="60335"/>
            </a:xfrm>
            <a:custGeom>
              <a:avLst/>
              <a:gdLst>
                <a:gd name="connsiteX0" fmla="*/ 80699 w 229769"/>
                <a:gd name="connsiteY0" fmla="*/ 60335 h 60335"/>
                <a:gd name="connsiteX1" fmla="*/ 80699 w 229769"/>
                <a:gd name="connsiteY1" fmla="*/ 60335 h 60335"/>
                <a:gd name="connsiteX2" fmla="*/ 2263 w 229769"/>
                <a:gd name="connsiteY2" fmla="*/ 33185 h 60335"/>
                <a:gd name="connsiteX3" fmla="*/ 2263 w 229769"/>
                <a:gd name="connsiteY3" fmla="*/ 24134 h 60335"/>
                <a:gd name="connsiteX4" fmla="*/ 11313 w 229769"/>
                <a:gd name="connsiteY4" fmla="*/ 24134 h 60335"/>
                <a:gd name="connsiteX5" fmla="*/ 80699 w 229769"/>
                <a:gd name="connsiteY5" fmla="*/ 48268 h 60335"/>
                <a:gd name="connsiteX6" fmla="*/ 80699 w 229769"/>
                <a:gd name="connsiteY6" fmla="*/ 48268 h 60335"/>
                <a:gd name="connsiteX7" fmla="*/ 219469 w 229769"/>
                <a:gd name="connsiteY7" fmla="*/ 0 h 60335"/>
                <a:gd name="connsiteX8" fmla="*/ 228520 w 229769"/>
                <a:gd name="connsiteY8" fmla="*/ 3017 h 60335"/>
                <a:gd name="connsiteX9" fmla="*/ 225503 w 229769"/>
                <a:gd name="connsiteY9" fmla="*/ 12067 h 60335"/>
                <a:gd name="connsiteX10" fmla="*/ 80699 w 229769"/>
                <a:gd name="connsiteY10" fmla="*/ 60335 h 60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9769" h="60335">
                  <a:moveTo>
                    <a:pt x="80699" y="60335"/>
                  </a:moveTo>
                  <a:cubicBezTo>
                    <a:pt x="80699" y="60335"/>
                    <a:pt x="80699" y="60335"/>
                    <a:pt x="80699" y="60335"/>
                  </a:cubicBezTo>
                  <a:cubicBezTo>
                    <a:pt x="38464" y="60335"/>
                    <a:pt x="5280" y="33185"/>
                    <a:pt x="2263" y="33185"/>
                  </a:cubicBezTo>
                  <a:cubicBezTo>
                    <a:pt x="-754" y="30168"/>
                    <a:pt x="-754" y="27151"/>
                    <a:pt x="2263" y="24134"/>
                  </a:cubicBezTo>
                  <a:cubicBezTo>
                    <a:pt x="5280" y="21117"/>
                    <a:pt x="8296" y="21117"/>
                    <a:pt x="11313" y="24134"/>
                  </a:cubicBezTo>
                  <a:cubicBezTo>
                    <a:pt x="11313" y="24134"/>
                    <a:pt x="41481" y="48268"/>
                    <a:pt x="80699" y="48268"/>
                  </a:cubicBezTo>
                  <a:cubicBezTo>
                    <a:pt x="80699" y="48268"/>
                    <a:pt x="80699" y="48268"/>
                    <a:pt x="80699" y="48268"/>
                  </a:cubicBezTo>
                  <a:cubicBezTo>
                    <a:pt x="128967" y="48268"/>
                    <a:pt x="216453" y="0"/>
                    <a:pt x="219469" y="0"/>
                  </a:cubicBezTo>
                  <a:cubicBezTo>
                    <a:pt x="222486" y="0"/>
                    <a:pt x="225503" y="0"/>
                    <a:pt x="228520" y="3017"/>
                  </a:cubicBezTo>
                  <a:cubicBezTo>
                    <a:pt x="231537" y="6033"/>
                    <a:pt x="228520" y="9050"/>
                    <a:pt x="225503" y="12067"/>
                  </a:cubicBezTo>
                  <a:cubicBezTo>
                    <a:pt x="222486" y="12067"/>
                    <a:pt x="131983" y="60335"/>
                    <a:pt x="80699" y="60335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8014C6B8-4539-40C5-9AF8-606E5F50CB89}"/>
                </a:ext>
              </a:extLst>
            </p:cNvPr>
            <p:cNvSpPr/>
            <p:nvPr/>
          </p:nvSpPr>
          <p:spPr>
            <a:xfrm>
              <a:off x="7546723" y="7817879"/>
              <a:ext cx="99919" cy="265474"/>
            </a:xfrm>
            <a:custGeom>
              <a:avLst/>
              <a:gdLst>
                <a:gd name="connsiteX0" fmla="*/ 0 w 99919"/>
                <a:gd name="connsiteY0" fmla="*/ 126704 h 265474"/>
                <a:gd name="connsiteX1" fmla="*/ 48268 w 99919"/>
                <a:gd name="connsiteY1" fmla="*/ 265475 h 265474"/>
                <a:gd name="connsiteX2" fmla="*/ 93520 w 99919"/>
                <a:gd name="connsiteY2" fmla="*/ 159888 h 265474"/>
                <a:gd name="connsiteX3" fmla="*/ 48268 w 99919"/>
                <a:gd name="connsiteY3" fmla="*/ 0 h 265474"/>
                <a:gd name="connsiteX4" fmla="*/ 0 w 99919"/>
                <a:gd name="connsiteY4" fmla="*/ 126704 h 26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19" h="265474">
                  <a:moveTo>
                    <a:pt x="0" y="126704"/>
                  </a:moveTo>
                  <a:cubicBezTo>
                    <a:pt x="0" y="126704"/>
                    <a:pt x="54302" y="235307"/>
                    <a:pt x="48268" y="265475"/>
                  </a:cubicBezTo>
                  <a:cubicBezTo>
                    <a:pt x="48268" y="265475"/>
                    <a:pt x="78436" y="247374"/>
                    <a:pt x="93520" y="159888"/>
                  </a:cubicBezTo>
                  <a:cubicBezTo>
                    <a:pt x="102570" y="99553"/>
                    <a:pt x="111620" y="15084"/>
                    <a:pt x="48268" y="0"/>
                  </a:cubicBezTo>
                  <a:cubicBezTo>
                    <a:pt x="48268" y="0"/>
                    <a:pt x="39218" y="105587"/>
                    <a:pt x="0" y="126704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5298E930-7009-4837-93D3-8FDDDD78FFE0}"/>
                </a:ext>
              </a:extLst>
            </p:cNvPr>
            <p:cNvSpPr/>
            <p:nvPr/>
          </p:nvSpPr>
          <p:spPr>
            <a:xfrm>
              <a:off x="7109293" y="7701883"/>
              <a:ext cx="495541" cy="251781"/>
            </a:xfrm>
            <a:custGeom>
              <a:avLst/>
              <a:gdLst>
                <a:gd name="connsiteX0" fmla="*/ 437430 w 495541"/>
                <a:gd name="connsiteY0" fmla="*/ 242700 h 251781"/>
                <a:gd name="connsiteX1" fmla="*/ 316760 w 495541"/>
                <a:gd name="connsiteY1" fmla="*/ 203482 h 251781"/>
                <a:gd name="connsiteX2" fmla="*/ 0 w 495541"/>
                <a:gd name="connsiteY2" fmla="*/ 191416 h 251781"/>
                <a:gd name="connsiteX3" fmla="*/ 368045 w 495541"/>
                <a:gd name="connsiteY3" fmla="*/ 10410 h 251781"/>
                <a:gd name="connsiteX4" fmla="*/ 485699 w 495541"/>
                <a:gd name="connsiteY4" fmla="*/ 115997 h 251781"/>
                <a:gd name="connsiteX5" fmla="*/ 437430 w 495541"/>
                <a:gd name="connsiteY5" fmla="*/ 242700 h 251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541" h="251781">
                  <a:moveTo>
                    <a:pt x="437430" y="242700"/>
                  </a:moveTo>
                  <a:cubicBezTo>
                    <a:pt x="437430" y="242700"/>
                    <a:pt x="343911" y="203482"/>
                    <a:pt x="316760" y="203482"/>
                  </a:cubicBezTo>
                  <a:cubicBezTo>
                    <a:pt x="217207" y="206499"/>
                    <a:pt x="90503" y="318119"/>
                    <a:pt x="0" y="191416"/>
                  </a:cubicBezTo>
                  <a:cubicBezTo>
                    <a:pt x="45251" y="91862"/>
                    <a:pt x="205140" y="-37858"/>
                    <a:pt x="368045" y="10410"/>
                  </a:cubicBezTo>
                  <a:cubicBezTo>
                    <a:pt x="446481" y="31527"/>
                    <a:pt x="479665" y="79796"/>
                    <a:pt x="485699" y="115997"/>
                  </a:cubicBezTo>
                  <a:cubicBezTo>
                    <a:pt x="485699" y="115997"/>
                    <a:pt x="527933" y="230634"/>
                    <a:pt x="437430" y="242700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66B61A48-1573-41F6-86B1-FCBA0D52B12F}"/>
                </a:ext>
              </a:extLst>
            </p:cNvPr>
            <p:cNvSpPr/>
            <p:nvPr/>
          </p:nvSpPr>
          <p:spPr>
            <a:xfrm>
              <a:off x="7579908" y="8049981"/>
              <a:ext cx="76458" cy="109341"/>
            </a:xfrm>
            <a:custGeom>
              <a:avLst/>
              <a:gdLst>
                <a:gd name="connsiteX0" fmla="*/ 12067 w 76458"/>
                <a:gd name="connsiteY0" fmla="*/ 15272 h 109341"/>
                <a:gd name="connsiteX1" fmla="*/ 69386 w 76458"/>
                <a:gd name="connsiteY1" fmla="*/ 6222 h 109341"/>
                <a:gd name="connsiteX2" fmla="*/ 12067 w 76458"/>
                <a:gd name="connsiteY2" fmla="*/ 105775 h 109341"/>
                <a:gd name="connsiteX3" fmla="*/ 12067 w 76458"/>
                <a:gd name="connsiteY3" fmla="*/ 15272 h 109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458" h="109341">
                  <a:moveTo>
                    <a:pt x="12067" y="15272"/>
                  </a:moveTo>
                  <a:cubicBezTo>
                    <a:pt x="12067" y="15272"/>
                    <a:pt x="45252" y="-11878"/>
                    <a:pt x="69386" y="6222"/>
                  </a:cubicBezTo>
                  <a:cubicBezTo>
                    <a:pt x="93519" y="24323"/>
                    <a:pt x="51285" y="129909"/>
                    <a:pt x="12067" y="105775"/>
                  </a:cubicBezTo>
                  <a:cubicBezTo>
                    <a:pt x="-15084" y="90691"/>
                    <a:pt x="12067" y="15272"/>
                    <a:pt x="12067" y="15272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A0D3FF1B-8F63-4509-BC70-080B1A81B774}"/>
                </a:ext>
              </a:extLst>
            </p:cNvPr>
            <p:cNvSpPr/>
            <p:nvPr/>
          </p:nvSpPr>
          <p:spPr>
            <a:xfrm>
              <a:off x="7305382" y="8240226"/>
              <a:ext cx="105586" cy="51284"/>
            </a:xfrm>
            <a:custGeom>
              <a:avLst/>
              <a:gdLst>
                <a:gd name="connsiteX0" fmla="*/ 0 w 105586"/>
                <a:gd name="connsiteY0" fmla="*/ 0 h 51284"/>
                <a:gd name="connsiteX1" fmla="*/ 105587 w 105586"/>
                <a:gd name="connsiteY1" fmla="*/ 0 h 51284"/>
                <a:gd name="connsiteX2" fmla="*/ 42235 w 105586"/>
                <a:gd name="connsiteY2" fmla="*/ 51285 h 51284"/>
                <a:gd name="connsiteX3" fmla="*/ 0 w 105586"/>
                <a:gd name="connsiteY3" fmla="*/ 0 h 5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586" h="51284">
                  <a:moveTo>
                    <a:pt x="0" y="0"/>
                  </a:moveTo>
                  <a:cubicBezTo>
                    <a:pt x="45251" y="15084"/>
                    <a:pt x="105587" y="0"/>
                    <a:pt x="105587" y="0"/>
                  </a:cubicBezTo>
                  <a:cubicBezTo>
                    <a:pt x="105587" y="0"/>
                    <a:pt x="84469" y="51285"/>
                    <a:pt x="42235" y="51285"/>
                  </a:cubicBezTo>
                  <a:cubicBezTo>
                    <a:pt x="18101" y="48268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5" name="图形 1">
              <a:extLst>
                <a:ext uri="{FF2B5EF4-FFF2-40B4-BE49-F238E27FC236}">
                  <a16:creationId xmlns:a16="http://schemas.microsoft.com/office/drawing/2014/main" id="{0F41282A-291B-4631-A28C-8CA629B6EB79}"/>
                </a:ext>
              </a:extLst>
            </p:cNvPr>
            <p:cNvGrpSpPr/>
            <p:nvPr/>
          </p:nvGrpSpPr>
          <p:grpSpPr>
            <a:xfrm>
              <a:off x="7047370" y="7690817"/>
              <a:ext cx="609535" cy="374436"/>
              <a:chOff x="7047370" y="7690817"/>
              <a:chExt cx="609535" cy="374436"/>
            </a:xfrm>
          </p:grpSpPr>
          <p:grpSp>
            <p:nvGrpSpPr>
              <p:cNvPr id="47" name="图形 1">
                <a:extLst>
                  <a:ext uri="{FF2B5EF4-FFF2-40B4-BE49-F238E27FC236}">
                    <a16:creationId xmlns:a16="http://schemas.microsoft.com/office/drawing/2014/main" id="{C21E34A0-9876-4DD9-BEA5-D9C0BD454C4A}"/>
                  </a:ext>
                </a:extLst>
              </p:cNvPr>
              <p:cNvGrpSpPr/>
              <p:nvPr/>
            </p:nvGrpSpPr>
            <p:grpSpPr>
              <a:xfrm>
                <a:off x="7054346" y="7690817"/>
                <a:ext cx="602558" cy="374436"/>
                <a:chOff x="7054346" y="7690817"/>
                <a:chExt cx="602558" cy="374436"/>
              </a:xfrm>
            </p:grpSpPr>
            <p:sp>
              <p:nvSpPr>
                <p:cNvPr id="49" name="任意多边形: 形状 48">
                  <a:extLst>
                    <a:ext uri="{FF2B5EF4-FFF2-40B4-BE49-F238E27FC236}">
                      <a16:creationId xmlns:a16="http://schemas.microsoft.com/office/drawing/2014/main" id="{386756B3-97D1-494A-A16D-0FA49956CFEF}"/>
                    </a:ext>
                  </a:extLst>
                </p:cNvPr>
                <p:cNvSpPr/>
                <p:nvPr/>
              </p:nvSpPr>
              <p:spPr>
                <a:xfrm>
                  <a:off x="7169601" y="7690817"/>
                  <a:ext cx="487304" cy="374436"/>
                </a:xfrm>
                <a:custGeom>
                  <a:avLst/>
                  <a:gdLst>
                    <a:gd name="connsiteX0" fmla="*/ 389190 w 487304"/>
                    <a:gd name="connsiteY0" fmla="*/ 214548 h 374436"/>
                    <a:gd name="connsiteX1" fmla="*/ 425391 w 487304"/>
                    <a:gd name="connsiteY1" fmla="*/ 374437 h 374436"/>
                    <a:gd name="connsiteX2" fmla="*/ 452542 w 487304"/>
                    <a:gd name="connsiteY2" fmla="*/ 359353 h 374436"/>
                    <a:gd name="connsiteX3" fmla="*/ 362039 w 487304"/>
                    <a:gd name="connsiteY3" fmla="*/ 36560 h 374436"/>
                    <a:gd name="connsiteX4" fmla="*/ 28 w 487304"/>
                    <a:gd name="connsiteY4" fmla="*/ 133096 h 374436"/>
                    <a:gd name="connsiteX5" fmla="*/ 389190 w 487304"/>
                    <a:gd name="connsiteY5" fmla="*/ 214548 h 3744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7304" h="374436">
                      <a:moveTo>
                        <a:pt x="389190" y="214548"/>
                      </a:moveTo>
                      <a:cubicBezTo>
                        <a:pt x="404274" y="229632"/>
                        <a:pt x="422374" y="308068"/>
                        <a:pt x="425391" y="374437"/>
                      </a:cubicBezTo>
                      <a:cubicBezTo>
                        <a:pt x="425391" y="374437"/>
                        <a:pt x="440475" y="365386"/>
                        <a:pt x="452542" y="359353"/>
                      </a:cubicBezTo>
                      <a:cubicBezTo>
                        <a:pt x="488743" y="296001"/>
                        <a:pt x="537011" y="139129"/>
                        <a:pt x="362039" y="36560"/>
                      </a:cubicBezTo>
                      <a:cubicBezTo>
                        <a:pt x="211201" y="-50926"/>
                        <a:pt x="63380" y="33543"/>
                        <a:pt x="28" y="133096"/>
                      </a:cubicBezTo>
                      <a:cubicBezTo>
                        <a:pt x="-2989" y="136113"/>
                        <a:pt x="241368" y="66727"/>
                        <a:pt x="389190" y="214548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0" name="任意多边形: 形状 49">
                  <a:extLst>
                    <a:ext uri="{FF2B5EF4-FFF2-40B4-BE49-F238E27FC236}">
                      <a16:creationId xmlns:a16="http://schemas.microsoft.com/office/drawing/2014/main" id="{502FF5A0-C002-44CB-BCD4-74641FB3C3A2}"/>
                    </a:ext>
                  </a:extLst>
                </p:cNvPr>
                <p:cNvSpPr/>
                <p:nvPr/>
              </p:nvSpPr>
              <p:spPr>
                <a:xfrm>
                  <a:off x="7054346" y="7729010"/>
                  <a:ext cx="516510" cy="224623"/>
                </a:xfrm>
                <a:custGeom>
                  <a:avLst/>
                  <a:gdLst>
                    <a:gd name="connsiteX0" fmla="*/ 516511 w 516510"/>
                    <a:gd name="connsiteY0" fmla="*/ 191439 h 224623"/>
                    <a:gd name="connsiteX1" fmla="*/ 317405 w 516510"/>
                    <a:gd name="connsiteY1" fmla="*/ 43618 h 224623"/>
                    <a:gd name="connsiteX2" fmla="*/ 3662 w 516510"/>
                    <a:gd name="connsiteY2" fmla="*/ 64735 h 224623"/>
                    <a:gd name="connsiteX3" fmla="*/ 109248 w 516510"/>
                    <a:gd name="connsiteY3" fmla="*/ 224624 h 224623"/>
                    <a:gd name="connsiteX4" fmla="*/ 516511 w 516510"/>
                    <a:gd name="connsiteY4" fmla="*/ 191439 h 224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6510" h="224623">
                      <a:moveTo>
                        <a:pt x="516511" y="191439"/>
                      </a:moveTo>
                      <a:cubicBezTo>
                        <a:pt x="516511" y="191439"/>
                        <a:pt x="459193" y="109987"/>
                        <a:pt x="317405" y="43618"/>
                      </a:cubicBezTo>
                      <a:cubicBezTo>
                        <a:pt x="169584" y="-25768"/>
                        <a:pt x="30812" y="-7667"/>
                        <a:pt x="3662" y="64735"/>
                      </a:cubicBezTo>
                      <a:cubicBezTo>
                        <a:pt x="-23489" y="137138"/>
                        <a:pt x="109248" y="224624"/>
                        <a:pt x="109248" y="224624"/>
                      </a:cubicBezTo>
                      <a:cubicBezTo>
                        <a:pt x="109248" y="224624"/>
                        <a:pt x="257069" y="82836"/>
                        <a:pt x="516511" y="19143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1" name="任意多边形: 形状 50">
                  <a:extLst>
                    <a:ext uri="{FF2B5EF4-FFF2-40B4-BE49-F238E27FC236}">
                      <a16:creationId xmlns:a16="http://schemas.microsoft.com/office/drawing/2014/main" id="{9179DCF5-69F8-463E-8509-A689F3032854}"/>
                    </a:ext>
                  </a:extLst>
                </p:cNvPr>
                <p:cNvSpPr/>
                <p:nvPr/>
              </p:nvSpPr>
              <p:spPr>
                <a:xfrm>
                  <a:off x="7504489" y="7691175"/>
                  <a:ext cx="57318" cy="54301"/>
                </a:xfrm>
                <a:custGeom>
                  <a:avLst/>
                  <a:gdLst>
                    <a:gd name="connsiteX0" fmla="*/ 57318 w 57318"/>
                    <a:gd name="connsiteY0" fmla="*/ 27151 h 54301"/>
                    <a:gd name="connsiteX1" fmla="*/ 27151 w 57318"/>
                    <a:gd name="connsiteY1" fmla="*/ 0 h 54301"/>
                    <a:gd name="connsiteX2" fmla="*/ 0 w 57318"/>
                    <a:gd name="connsiteY2" fmla="*/ 27151 h 54301"/>
                    <a:gd name="connsiteX3" fmla="*/ 30168 w 57318"/>
                    <a:gd name="connsiteY3" fmla="*/ 54302 h 54301"/>
                    <a:gd name="connsiteX4" fmla="*/ 57318 w 57318"/>
                    <a:gd name="connsiteY4" fmla="*/ 27151 h 54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318" h="54301">
                      <a:moveTo>
                        <a:pt x="57318" y="27151"/>
                      </a:moveTo>
                      <a:cubicBezTo>
                        <a:pt x="57318" y="12067"/>
                        <a:pt x="45251" y="0"/>
                        <a:pt x="27151" y="0"/>
                      </a:cubicBezTo>
                      <a:cubicBezTo>
                        <a:pt x="12067" y="0"/>
                        <a:pt x="0" y="12067"/>
                        <a:pt x="0" y="27151"/>
                      </a:cubicBezTo>
                      <a:cubicBezTo>
                        <a:pt x="0" y="42234"/>
                        <a:pt x="12067" y="54302"/>
                        <a:pt x="30168" y="54302"/>
                      </a:cubicBezTo>
                      <a:cubicBezTo>
                        <a:pt x="45251" y="54302"/>
                        <a:pt x="57318" y="42234"/>
                        <a:pt x="57318" y="27151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5142E652-65AE-4D30-9047-F97C8DBA18B0}"/>
                  </a:ext>
                </a:extLst>
              </p:cNvPr>
              <p:cNvSpPr/>
              <p:nvPr/>
            </p:nvSpPr>
            <p:spPr>
              <a:xfrm>
                <a:off x="7047370" y="7724572"/>
                <a:ext cx="525750" cy="201911"/>
              </a:xfrm>
              <a:custGeom>
                <a:avLst/>
                <a:gdLst>
                  <a:gd name="connsiteX0" fmla="*/ 523488 w 525750"/>
                  <a:gd name="connsiteY0" fmla="*/ 201911 h 201911"/>
                  <a:gd name="connsiteX1" fmla="*/ 517454 w 525750"/>
                  <a:gd name="connsiteY1" fmla="*/ 198894 h 201911"/>
                  <a:gd name="connsiteX2" fmla="*/ 191644 w 525750"/>
                  <a:gd name="connsiteY2" fmla="*/ 17889 h 201911"/>
                  <a:gd name="connsiteX3" fmla="*/ 16672 w 525750"/>
                  <a:gd name="connsiteY3" fmla="*/ 72190 h 201911"/>
                  <a:gd name="connsiteX4" fmla="*/ 70974 w 525750"/>
                  <a:gd name="connsiteY4" fmla="*/ 183810 h 201911"/>
                  <a:gd name="connsiteX5" fmla="*/ 70974 w 525750"/>
                  <a:gd name="connsiteY5" fmla="*/ 192861 h 201911"/>
                  <a:gd name="connsiteX6" fmla="*/ 61923 w 525750"/>
                  <a:gd name="connsiteY6" fmla="*/ 192861 h 201911"/>
                  <a:gd name="connsiteX7" fmla="*/ 4605 w 525750"/>
                  <a:gd name="connsiteY7" fmla="*/ 66157 h 201911"/>
                  <a:gd name="connsiteX8" fmla="*/ 191644 w 525750"/>
                  <a:gd name="connsiteY8" fmla="*/ 5822 h 201911"/>
                  <a:gd name="connsiteX9" fmla="*/ 523488 w 525750"/>
                  <a:gd name="connsiteY9" fmla="*/ 192861 h 201911"/>
                  <a:gd name="connsiteX10" fmla="*/ 523488 w 525750"/>
                  <a:gd name="connsiteY10" fmla="*/ 201911 h 201911"/>
                  <a:gd name="connsiteX11" fmla="*/ 523488 w 525750"/>
                  <a:gd name="connsiteY11" fmla="*/ 201911 h 20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5750" h="201911">
                    <a:moveTo>
                      <a:pt x="523488" y="201911"/>
                    </a:moveTo>
                    <a:cubicBezTo>
                      <a:pt x="520471" y="201911"/>
                      <a:pt x="520471" y="201911"/>
                      <a:pt x="517454" y="198894"/>
                    </a:cubicBezTo>
                    <a:cubicBezTo>
                      <a:pt x="411868" y="66157"/>
                      <a:pt x="282147" y="29956"/>
                      <a:pt x="191644" y="17889"/>
                    </a:cubicBezTo>
                    <a:cubicBezTo>
                      <a:pt x="149410" y="11855"/>
                      <a:pt x="43823" y="2805"/>
                      <a:pt x="16672" y="72190"/>
                    </a:cubicBezTo>
                    <a:cubicBezTo>
                      <a:pt x="-4445" y="126492"/>
                      <a:pt x="67957" y="183810"/>
                      <a:pt x="70974" y="183810"/>
                    </a:cubicBezTo>
                    <a:cubicBezTo>
                      <a:pt x="73991" y="186827"/>
                      <a:pt x="73991" y="189844"/>
                      <a:pt x="70974" y="192861"/>
                    </a:cubicBezTo>
                    <a:cubicBezTo>
                      <a:pt x="67957" y="195877"/>
                      <a:pt x="64940" y="195877"/>
                      <a:pt x="61923" y="192861"/>
                    </a:cubicBezTo>
                    <a:cubicBezTo>
                      <a:pt x="58907" y="189844"/>
                      <a:pt x="-19529" y="132526"/>
                      <a:pt x="4605" y="66157"/>
                    </a:cubicBezTo>
                    <a:cubicBezTo>
                      <a:pt x="34773" y="-12279"/>
                      <a:pt x="146393" y="-3229"/>
                      <a:pt x="191644" y="5822"/>
                    </a:cubicBezTo>
                    <a:cubicBezTo>
                      <a:pt x="282147" y="20906"/>
                      <a:pt x="414884" y="57107"/>
                      <a:pt x="523488" y="192861"/>
                    </a:cubicBezTo>
                    <a:cubicBezTo>
                      <a:pt x="526505" y="195877"/>
                      <a:pt x="526505" y="198894"/>
                      <a:pt x="523488" y="201911"/>
                    </a:cubicBezTo>
                    <a:cubicBezTo>
                      <a:pt x="526505" y="201911"/>
                      <a:pt x="526505" y="201911"/>
                      <a:pt x="523488" y="20191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937A80B1-EC46-408C-B668-423F78963CA8}"/>
                </a:ext>
              </a:extLst>
            </p:cNvPr>
            <p:cNvGrpSpPr/>
            <p:nvPr/>
          </p:nvGrpSpPr>
          <p:grpSpPr>
            <a:xfrm>
              <a:off x="6010030" y="9120077"/>
              <a:ext cx="179151" cy="161684"/>
              <a:chOff x="6010030" y="9120077"/>
              <a:chExt cx="179151" cy="161684"/>
            </a:xfrm>
          </p:grpSpPr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64630A35-8FD7-45EA-A035-42457F2BF34A}"/>
                  </a:ext>
                </a:extLst>
              </p:cNvPr>
              <p:cNvSpPr/>
              <p:nvPr/>
            </p:nvSpPr>
            <p:spPr>
              <a:xfrm>
                <a:off x="6010030" y="9121119"/>
                <a:ext cx="156907" cy="67877"/>
              </a:xfrm>
              <a:custGeom>
                <a:avLst/>
                <a:gdLst>
                  <a:gd name="connsiteX0" fmla="*/ 10213 w 156907"/>
                  <a:gd name="connsiteY0" fmla="*/ 24134 h 67877"/>
                  <a:gd name="connsiteX1" fmla="*/ 106749 w 156907"/>
                  <a:gd name="connsiteY1" fmla="*/ 3017 h 67877"/>
                  <a:gd name="connsiteX2" fmla="*/ 121833 w 156907"/>
                  <a:gd name="connsiteY2" fmla="*/ 0 h 67877"/>
                  <a:gd name="connsiteX3" fmla="*/ 136917 w 156907"/>
                  <a:gd name="connsiteY3" fmla="*/ 3017 h 67877"/>
                  <a:gd name="connsiteX4" fmla="*/ 155017 w 156907"/>
                  <a:gd name="connsiteY4" fmla="*/ 36201 h 67877"/>
                  <a:gd name="connsiteX5" fmla="*/ 112783 w 156907"/>
                  <a:gd name="connsiteY5" fmla="*/ 57319 h 67877"/>
                  <a:gd name="connsiteX6" fmla="*/ 52447 w 156907"/>
                  <a:gd name="connsiteY6" fmla="*/ 66369 h 67877"/>
                  <a:gd name="connsiteX7" fmla="*/ 10213 w 156907"/>
                  <a:gd name="connsiteY7" fmla="*/ 60335 h 67877"/>
                  <a:gd name="connsiteX8" fmla="*/ 10213 w 156907"/>
                  <a:gd name="connsiteY8" fmla="*/ 24134 h 67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6907" h="67877">
                    <a:moveTo>
                      <a:pt x="10213" y="24134"/>
                    </a:moveTo>
                    <a:cubicBezTo>
                      <a:pt x="34347" y="6033"/>
                      <a:pt x="70548" y="9050"/>
                      <a:pt x="106749" y="3017"/>
                    </a:cubicBezTo>
                    <a:cubicBezTo>
                      <a:pt x="109766" y="3017"/>
                      <a:pt x="118816" y="0"/>
                      <a:pt x="121833" y="0"/>
                    </a:cubicBezTo>
                    <a:cubicBezTo>
                      <a:pt x="127866" y="0"/>
                      <a:pt x="130883" y="0"/>
                      <a:pt x="136917" y="3017"/>
                    </a:cubicBezTo>
                    <a:cubicBezTo>
                      <a:pt x="152001" y="9050"/>
                      <a:pt x="161051" y="24134"/>
                      <a:pt x="155017" y="36201"/>
                    </a:cubicBezTo>
                    <a:cubicBezTo>
                      <a:pt x="148984" y="51285"/>
                      <a:pt x="127866" y="54302"/>
                      <a:pt x="112783" y="57319"/>
                    </a:cubicBezTo>
                    <a:cubicBezTo>
                      <a:pt x="91665" y="60335"/>
                      <a:pt x="70548" y="63352"/>
                      <a:pt x="52447" y="66369"/>
                    </a:cubicBezTo>
                    <a:cubicBezTo>
                      <a:pt x="37364" y="66369"/>
                      <a:pt x="19263" y="72403"/>
                      <a:pt x="10213" y="60335"/>
                    </a:cubicBezTo>
                    <a:cubicBezTo>
                      <a:pt x="-4871" y="45251"/>
                      <a:pt x="-1854" y="30168"/>
                      <a:pt x="10213" y="2413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B205FD01-BC52-4FF9-92B6-4C97928DA0AE}"/>
                  </a:ext>
                </a:extLst>
              </p:cNvPr>
              <p:cNvSpPr/>
              <p:nvPr/>
            </p:nvSpPr>
            <p:spPr>
              <a:xfrm>
                <a:off x="6032173" y="9157320"/>
                <a:ext cx="155881" cy="67877"/>
              </a:xfrm>
              <a:custGeom>
                <a:avLst/>
                <a:gdLst>
                  <a:gd name="connsiteX0" fmla="*/ 9188 w 155881"/>
                  <a:gd name="connsiteY0" fmla="*/ 24134 h 67877"/>
                  <a:gd name="connsiteX1" fmla="*/ 111757 w 155881"/>
                  <a:gd name="connsiteY1" fmla="*/ 0 h 67877"/>
                  <a:gd name="connsiteX2" fmla="*/ 120808 w 155881"/>
                  <a:gd name="connsiteY2" fmla="*/ 0 h 67877"/>
                  <a:gd name="connsiteX3" fmla="*/ 135891 w 155881"/>
                  <a:gd name="connsiteY3" fmla="*/ 3017 h 67877"/>
                  <a:gd name="connsiteX4" fmla="*/ 153992 w 155881"/>
                  <a:gd name="connsiteY4" fmla="*/ 36201 h 67877"/>
                  <a:gd name="connsiteX5" fmla="*/ 111757 w 155881"/>
                  <a:gd name="connsiteY5" fmla="*/ 57319 h 67877"/>
                  <a:gd name="connsiteX6" fmla="*/ 51422 w 155881"/>
                  <a:gd name="connsiteY6" fmla="*/ 66369 h 67877"/>
                  <a:gd name="connsiteX7" fmla="*/ 9188 w 155881"/>
                  <a:gd name="connsiteY7" fmla="*/ 60335 h 67877"/>
                  <a:gd name="connsiteX8" fmla="*/ 9188 w 155881"/>
                  <a:gd name="connsiteY8" fmla="*/ 24134 h 67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5881" h="67877">
                    <a:moveTo>
                      <a:pt x="9188" y="24134"/>
                    </a:moveTo>
                    <a:cubicBezTo>
                      <a:pt x="36338" y="-3016"/>
                      <a:pt x="75556" y="3017"/>
                      <a:pt x="111757" y="0"/>
                    </a:cubicBezTo>
                    <a:cubicBezTo>
                      <a:pt x="114774" y="0"/>
                      <a:pt x="117791" y="0"/>
                      <a:pt x="120808" y="0"/>
                    </a:cubicBezTo>
                    <a:cubicBezTo>
                      <a:pt x="126841" y="0"/>
                      <a:pt x="129858" y="0"/>
                      <a:pt x="135891" y="3017"/>
                    </a:cubicBezTo>
                    <a:cubicBezTo>
                      <a:pt x="150975" y="9050"/>
                      <a:pt x="160026" y="24134"/>
                      <a:pt x="153992" y="36201"/>
                    </a:cubicBezTo>
                    <a:cubicBezTo>
                      <a:pt x="147958" y="51285"/>
                      <a:pt x="126841" y="54302"/>
                      <a:pt x="111757" y="57319"/>
                    </a:cubicBezTo>
                    <a:cubicBezTo>
                      <a:pt x="90640" y="60335"/>
                      <a:pt x="69523" y="63352"/>
                      <a:pt x="51422" y="66369"/>
                    </a:cubicBezTo>
                    <a:cubicBezTo>
                      <a:pt x="39355" y="66369"/>
                      <a:pt x="18238" y="72403"/>
                      <a:pt x="9188" y="60335"/>
                    </a:cubicBezTo>
                    <a:cubicBezTo>
                      <a:pt x="-5896" y="48268"/>
                      <a:pt x="137" y="33185"/>
                      <a:pt x="9188" y="2413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9B176EE7-5A3C-4754-9B0B-2360E1E352A4}"/>
                  </a:ext>
                </a:extLst>
              </p:cNvPr>
              <p:cNvSpPr/>
              <p:nvPr/>
            </p:nvSpPr>
            <p:spPr>
              <a:xfrm>
                <a:off x="6044946" y="9196538"/>
                <a:ext cx="134088" cy="58827"/>
              </a:xfrm>
              <a:custGeom>
                <a:avLst/>
                <a:gdLst>
                  <a:gd name="connsiteX0" fmla="*/ 8481 w 134088"/>
                  <a:gd name="connsiteY0" fmla="*/ 24134 h 58827"/>
                  <a:gd name="connsiteX1" fmla="*/ 98984 w 134088"/>
                  <a:gd name="connsiteY1" fmla="*/ 0 h 58827"/>
                  <a:gd name="connsiteX2" fmla="*/ 105018 w 134088"/>
                  <a:gd name="connsiteY2" fmla="*/ 0 h 58827"/>
                  <a:gd name="connsiteX3" fmla="*/ 117085 w 134088"/>
                  <a:gd name="connsiteY3" fmla="*/ 0 h 58827"/>
                  <a:gd name="connsiteX4" fmla="*/ 132168 w 134088"/>
                  <a:gd name="connsiteY4" fmla="*/ 30168 h 58827"/>
                  <a:gd name="connsiteX5" fmla="*/ 95967 w 134088"/>
                  <a:gd name="connsiteY5" fmla="*/ 48268 h 58827"/>
                  <a:gd name="connsiteX6" fmla="*/ 41666 w 134088"/>
                  <a:gd name="connsiteY6" fmla="*/ 57319 h 58827"/>
                  <a:gd name="connsiteX7" fmla="*/ 5464 w 134088"/>
                  <a:gd name="connsiteY7" fmla="*/ 51285 h 58827"/>
                  <a:gd name="connsiteX8" fmla="*/ 8481 w 134088"/>
                  <a:gd name="connsiteY8" fmla="*/ 24134 h 58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4088" h="58827">
                    <a:moveTo>
                      <a:pt x="8481" y="24134"/>
                    </a:moveTo>
                    <a:cubicBezTo>
                      <a:pt x="32615" y="0"/>
                      <a:pt x="68816" y="6033"/>
                      <a:pt x="98984" y="0"/>
                    </a:cubicBezTo>
                    <a:cubicBezTo>
                      <a:pt x="102001" y="0"/>
                      <a:pt x="105018" y="0"/>
                      <a:pt x="105018" y="0"/>
                    </a:cubicBezTo>
                    <a:cubicBezTo>
                      <a:pt x="111051" y="0"/>
                      <a:pt x="114068" y="0"/>
                      <a:pt x="117085" y="0"/>
                    </a:cubicBezTo>
                    <a:cubicBezTo>
                      <a:pt x="129152" y="3017"/>
                      <a:pt x="138202" y="18101"/>
                      <a:pt x="132168" y="30168"/>
                    </a:cubicBezTo>
                    <a:cubicBezTo>
                      <a:pt x="126135" y="45251"/>
                      <a:pt x="108034" y="45251"/>
                      <a:pt x="95967" y="48268"/>
                    </a:cubicBezTo>
                    <a:cubicBezTo>
                      <a:pt x="77867" y="51285"/>
                      <a:pt x="59766" y="54302"/>
                      <a:pt x="41666" y="57319"/>
                    </a:cubicBezTo>
                    <a:cubicBezTo>
                      <a:pt x="29599" y="57319"/>
                      <a:pt x="14515" y="63352"/>
                      <a:pt x="5464" y="51285"/>
                    </a:cubicBezTo>
                    <a:cubicBezTo>
                      <a:pt x="-3586" y="45251"/>
                      <a:pt x="-569" y="33185"/>
                      <a:pt x="8481" y="2413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F0DE5D15-DB92-402F-A79A-2C64B2E40764}"/>
                  </a:ext>
                </a:extLst>
              </p:cNvPr>
              <p:cNvSpPr/>
              <p:nvPr/>
            </p:nvSpPr>
            <p:spPr>
              <a:xfrm>
                <a:off x="6065816" y="9238773"/>
                <a:ext cx="100016" cy="42988"/>
              </a:xfrm>
              <a:custGeom>
                <a:avLst/>
                <a:gdLst>
                  <a:gd name="connsiteX0" fmla="*/ 5712 w 100016"/>
                  <a:gd name="connsiteY0" fmla="*/ 18100 h 42988"/>
                  <a:gd name="connsiteX1" fmla="*/ 72081 w 100016"/>
                  <a:gd name="connsiteY1" fmla="*/ 0 h 42988"/>
                  <a:gd name="connsiteX2" fmla="*/ 78114 w 100016"/>
                  <a:gd name="connsiteY2" fmla="*/ 0 h 42988"/>
                  <a:gd name="connsiteX3" fmla="*/ 87164 w 100016"/>
                  <a:gd name="connsiteY3" fmla="*/ 0 h 42988"/>
                  <a:gd name="connsiteX4" fmla="*/ 99232 w 100016"/>
                  <a:gd name="connsiteY4" fmla="*/ 21117 h 42988"/>
                  <a:gd name="connsiteX5" fmla="*/ 72081 w 100016"/>
                  <a:gd name="connsiteY5" fmla="*/ 36201 h 42988"/>
                  <a:gd name="connsiteX6" fmla="*/ 32863 w 100016"/>
                  <a:gd name="connsiteY6" fmla="*/ 42234 h 42988"/>
                  <a:gd name="connsiteX7" fmla="*/ 5712 w 100016"/>
                  <a:gd name="connsiteY7" fmla="*/ 39218 h 42988"/>
                  <a:gd name="connsiteX8" fmla="*/ 5712 w 100016"/>
                  <a:gd name="connsiteY8" fmla="*/ 18100 h 42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6" h="42988">
                    <a:moveTo>
                      <a:pt x="5712" y="18100"/>
                    </a:moveTo>
                    <a:cubicBezTo>
                      <a:pt x="23813" y="0"/>
                      <a:pt x="47946" y="3016"/>
                      <a:pt x="72081" y="0"/>
                    </a:cubicBezTo>
                    <a:cubicBezTo>
                      <a:pt x="75097" y="0"/>
                      <a:pt x="75097" y="0"/>
                      <a:pt x="78114" y="0"/>
                    </a:cubicBezTo>
                    <a:cubicBezTo>
                      <a:pt x="81131" y="0"/>
                      <a:pt x="84148" y="0"/>
                      <a:pt x="87164" y="0"/>
                    </a:cubicBezTo>
                    <a:cubicBezTo>
                      <a:pt x="96215" y="3016"/>
                      <a:pt x="102248" y="12067"/>
                      <a:pt x="99232" y="21117"/>
                    </a:cubicBezTo>
                    <a:cubicBezTo>
                      <a:pt x="96215" y="30168"/>
                      <a:pt x="81131" y="33184"/>
                      <a:pt x="72081" y="36201"/>
                    </a:cubicBezTo>
                    <a:cubicBezTo>
                      <a:pt x="60014" y="39218"/>
                      <a:pt x="44930" y="42234"/>
                      <a:pt x="32863" y="42234"/>
                    </a:cubicBezTo>
                    <a:cubicBezTo>
                      <a:pt x="23813" y="42234"/>
                      <a:pt x="11745" y="45251"/>
                      <a:pt x="5712" y="39218"/>
                    </a:cubicBezTo>
                    <a:cubicBezTo>
                      <a:pt x="-3338" y="33184"/>
                      <a:pt x="-322" y="24134"/>
                      <a:pt x="5712" y="1810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F3972511-1BF1-43B4-AC1F-27941A6883BB}"/>
                  </a:ext>
                </a:extLst>
              </p:cNvPr>
              <p:cNvSpPr/>
              <p:nvPr/>
            </p:nvSpPr>
            <p:spPr>
              <a:xfrm>
                <a:off x="6025027" y="9120077"/>
                <a:ext cx="164154" cy="106628"/>
              </a:xfrm>
              <a:custGeom>
                <a:avLst/>
                <a:gdLst>
                  <a:gd name="connsiteX0" fmla="*/ 49518 w 164154"/>
                  <a:gd name="connsiteY0" fmla="*/ 106629 h 106628"/>
                  <a:gd name="connsiteX1" fmla="*/ 1250 w 164154"/>
                  <a:gd name="connsiteY1" fmla="*/ 85512 h 106628"/>
                  <a:gd name="connsiteX2" fmla="*/ 4266 w 164154"/>
                  <a:gd name="connsiteY2" fmla="*/ 64394 h 106628"/>
                  <a:gd name="connsiteX3" fmla="*/ 16333 w 164154"/>
                  <a:gd name="connsiteY3" fmla="*/ 58361 h 106628"/>
                  <a:gd name="connsiteX4" fmla="*/ 133987 w 164154"/>
                  <a:gd name="connsiteY4" fmla="*/ 22159 h 106628"/>
                  <a:gd name="connsiteX5" fmla="*/ 130970 w 164154"/>
                  <a:gd name="connsiteY5" fmla="*/ 16126 h 106628"/>
                  <a:gd name="connsiteX6" fmla="*/ 31417 w 164154"/>
                  <a:gd name="connsiteY6" fmla="*/ 19143 h 106628"/>
                  <a:gd name="connsiteX7" fmla="*/ 25384 w 164154"/>
                  <a:gd name="connsiteY7" fmla="*/ 16126 h 106628"/>
                  <a:gd name="connsiteX8" fmla="*/ 28400 w 164154"/>
                  <a:gd name="connsiteY8" fmla="*/ 10093 h 106628"/>
                  <a:gd name="connsiteX9" fmla="*/ 137004 w 164154"/>
                  <a:gd name="connsiteY9" fmla="*/ 10093 h 106628"/>
                  <a:gd name="connsiteX10" fmla="*/ 143037 w 164154"/>
                  <a:gd name="connsiteY10" fmla="*/ 25176 h 106628"/>
                  <a:gd name="connsiteX11" fmla="*/ 140021 w 164154"/>
                  <a:gd name="connsiteY11" fmla="*/ 37243 h 106628"/>
                  <a:gd name="connsiteX12" fmla="*/ 164155 w 164154"/>
                  <a:gd name="connsiteY12" fmla="*/ 70428 h 106628"/>
                  <a:gd name="connsiteX13" fmla="*/ 100803 w 164154"/>
                  <a:gd name="connsiteY13" fmla="*/ 103612 h 106628"/>
                  <a:gd name="connsiteX14" fmla="*/ 49518 w 164154"/>
                  <a:gd name="connsiteY14" fmla="*/ 106629 h 106628"/>
                  <a:gd name="connsiteX15" fmla="*/ 16333 w 164154"/>
                  <a:gd name="connsiteY15" fmla="*/ 67411 h 106628"/>
                  <a:gd name="connsiteX16" fmla="*/ 13317 w 164154"/>
                  <a:gd name="connsiteY16" fmla="*/ 70428 h 106628"/>
                  <a:gd name="connsiteX17" fmla="*/ 13317 w 164154"/>
                  <a:gd name="connsiteY17" fmla="*/ 79478 h 106628"/>
                  <a:gd name="connsiteX18" fmla="*/ 103819 w 164154"/>
                  <a:gd name="connsiteY18" fmla="*/ 88528 h 106628"/>
                  <a:gd name="connsiteX19" fmla="*/ 158121 w 164154"/>
                  <a:gd name="connsiteY19" fmla="*/ 64394 h 106628"/>
                  <a:gd name="connsiteX20" fmla="*/ 140021 w 164154"/>
                  <a:gd name="connsiteY20" fmla="*/ 40260 h 106628"/>
                  <a:gd name="connsiteX21" fmla="*/ 16333 w 164154"/>
                  <a:gd name="connsiteY21" fmla="*/ 67411 h 106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64154" h="106628">
                    <a:moveTo>
                      <a:pt x="49518" y="106629"/>
                    </a:moveTo>
                    <a:cubicBezTo>
                      <a:pt x="19350" y="106629"/>
                      <a:pt x="4266" y="100595"/>
                      <a:pt x="1250" y="85512"/>
                    </a:cubicBezTo>
                    <a:cubicBezTo>
                      <a:pt x="-1767" y="76461"/>
                      <a:pt x="1250" y="70428"/>
                      <a:pt x="4266" y="64394"/>
                    </a:cubicBezTo>
                    <a:cubicBezTo>
                      <a:pt x="10300" y="58361"/>
                      <a:pt x="16333" y="58361"/>
                      <a:pt x="16333" y="58361"/>
                    </a:cubicBezTo>
                    <a:cubicBezTo>
                      <a:pt x="133987" y="52327"/>
                      <a:pt x="133987" y="34227"/>
                      <a:pt x="133987" y="22159"/>
                    </a:cubicBezTo>
                    <a:cubicBezTo>
                      <a:pt x="133987" y="19143"/>
                      <a:pt x="133987" y="19143"/>
                      <a:pt x="130970" y="16126"/>
                    </a:cubicBezTo>
                    <a:cubicBezTo>
                      <a:pt x="115886" y="4059"/>
                      <a:pt x="64602" y="13109"/>
                      <a:pt x="31417" y="19143"/>
                    </a:cubicBezTo>
                    <a:cubicBezTo>
                      <a:pt x="28400" y="19143"/>
                      <a:pt x="25384" y="19143"/>
                      <a:pt x="25384" y="16126"/>
                    </a:cubicBezTo>
                    <a:cubicBezTo>
                      <a:pt x="25384" y="13109"/>
                      <a:pt x="25384" y="10093"/>
                      <a:pt x="28400" y="10093"/>
                    </a:cubicBezTo>
                    <a:cubicBezTo>
                      <a:pt x="37451" y="7076"/>
                      <a:pt x="112870" y="-11025"/>
                      <a:pt x="137004" y="10093"/>
                    </a:cubicBezTo>
                    <a:cubicBezTo>
                      <a:pt x="143037" y="13109"/>
                      <a:pt x="143037" y="19143"/>
                      <a:pt x="143037" y="25176"/>
                    </a:cubicBezTo>
                    <a:cubicBezTo>
                      <a:pt x="143037" y="28193"/>
                      <a:pt x="143037" y="34227"/>
                      <a:pt x="140021" y="37243"/>
                    </a:cubicBezTo>
                    <a:cubicBezTo>
                      <a:pt x="146054" y="40260"/>
                      <a:pt x="164155" y="52327"/>
                      <a:pt x="164155" y="70428"/>
                    </a:cubicBezTo>
                    <a:cubicBezTo>
                      <a:pt x="164155" y="91545"/>
                      <a:pt x="140021" y="97578"/>
                      <a:pt x="100803" y="103612"/>
                    </a:cubicBezTo>
                    <a:cubicBezTo>
                      <a:pt x="82702" y="103612"/>
                      <a:pt x="64602" y="106629"/>
                      <a:pt x="49518" y="106629"/>
                    </a:cubicBezTo>
                    <a:close/>
                    <a:moveTo>
                      <a:pt x="16333" y="67411"/>
                    </a:moveTo>
                    <a:cubicBezTo>
                      <a:pt x="16333" y="67411"/>
                      <a:pt x="13317" y="67411"/>
                      <a:pt x="13317" y="70428"/>
                    </a:cubicBezTo>
                    <a:cubicBezTo>
                      <a:pt x="13317" y="73445"/>
                      <a:pt x="13317" y="76461"/>
                      <a:pt x="13317" y="79478"/>
                    </a:cubicBezTo>
                    <a:cubicBezTo>
                      <a:pt x="16333" y="94562"/>
                      <a:pt x="49518" y="97578"/>
                      <a:pt x="103819" y="88528"/>
                    </a:cubicBezTo>
                    <a:cubicBezTo>
                      <a:pt x="140021" y="82495"/>
                      <a:pt x="158121" y="76461"/>
                      <a:pt x="158121" y="64394"/>
                    </a:cubicBezTo>
                    <a:cubicBezTo>
                      <a:pt x="158121" y="55344"/>
                      <a:pt x="146054" y="43277"/>
                      <a:pt x="140021" y="40260"/>
                    </a:cubicBezTo>
                    <a:cubicBezTo>
                      <a:pt x="124937" y="55344"/>
                      <a:pt x="91752" y="64394"/>
                      <a:pt x="16333" y="6741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7C5411F5-5D71-48D5-B706-14AB499EFB6D}"/>
                  </a:ext>
                </a:extLst>
              </p:cNvPr>
              <p:cNvSpPr/>
              <p:nvPr/>
            </p:nvSpPr>
            <p:spPr>
              <a:xfrm>
                <a:off x="6040229" y="9198214"/>
                <a:ext cx="146551" cy="64692"/>
              </a:xfrm>
              <a:custGeom>
                <a:avLst/>
                <a:gdLst>
                  <a:gd name="connsiteX0" fmla="*/ 31299 w 146551"/>
                  <a:gd name="connsiteY0" fmla="*/ 64693 h 64692"/>
                  <a:gd name="connsiteX1" fmla="*/ 13198 w 146551"/>
                  <a:gd name="connsiteY1" fmla="*/ 64693 h 64692"/>
                  <a:gd name="connsiteX2" fmla="*/ 1131 w 146551"/>
                  <a:gd name="connsiteY2" fmla="*/ 52626 h 64692"/>
                  <a:gd name="connsiteX3" fmla="*/ 10182 w 146551"/>
                  <a:gd name="connsiteY3" fmla="*/ 22458 h 64692"/>
                  <a:gd name="connsiteX4" fmla="*/ 19232 w 146551"/>
                  <a:gd name="connsiteY4" fmla="*/ 22458 h 64692"/>
                  <a:gd name="connsiteX5" fmla="*/ 19232 w 146551"/>
                  <a:gd name="connsiteY5" fmla="*/ 31508 h 64692"/>
                  <a:gd name="connsiteX6" fmla="*/ 13198 w 146551"/>
                  <a:gd name="connsiteY6" fmla="*/ 49609 h 64692"/>
                  <a:gd name="connsiteX7" fmla="*/ 16215 w 146551"/>
                  <a:gd name="connsiteY7" fmla="*/ 55643 h 64692"/>
                  <a:gd name="connsiteX8" fmla="*/ 115768 w 146551"/>
                  <a:gd name="connsiteY8" fmla="*/ 43575 h 64692"/>
                  <a:gd name="connsiteX9" fmla="*/ 133869 w 146551"/>
                  <a:gd name="connsiteY9" fmla="*/ 28492 h 64692"/>
                  <a:gd name="connsiteX10" fmla="*/ 130852 w 146551"/>
                  <a:gd name="connsiteY10" fmla="*/ 10391 h 64692"/>
                  <a:gd name="connsiteX11" fmla="*/ 130852 w 146551"/>
                  <a:gd name="connsiteY11" fmla="*/ 1341 h 64692"/>
                  <a:gd name="connsiteX12" fmla="*/ 139902 w 146551"/>
                  <a:gd name="connsiteY12" fmla="*/ 1341 h 64692"/>
                  <a:gd name="connsiteX13" fmla="*/ 145936 w 146551"/>
                  <a:gd name="connsiteY13" fmla="*/ 28492 h 64692"/>
                  <a:gd name="connsiteX14" fmla="*/ 118785 w 146551"/>
                  <a:gd name="connsiteY14" fmla="*/ 49609 h 64692"/>
                  <a:gd name="connsiteX15" fmla="*/ 31299 w 146551"/>
                  <a:gd name="connsiteY15" fmla="*/ 64693 h 64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6551" h="64692">
                    <a:moveTo>
                      <a:pt x="31299" y="64693"/>
                    </a:moveTo>
                    <a:cubicBezTo>
                      <a:pt x="22249" y="64693"/>
                      <a:pt x="16215" y="64693"/>
                      <a:pt x="13198" y="64693"/>
                    </a:cubicBezTo>
                    <a:cubicBezTo>
                      <a:pt x="7165" y="64693"/>
                      <a:pt x="1131" y="58659"/>
                      <a:pt x="1131" y="52626"/>
                    </a:cubicBezTo>
                    <a:cubicBezTo>
                      <a:pt x="-1886" y="43575"/>
                      <a:pt x="1131" y="28492"/>
                      <a:pt x="10182" y="22458"/>
                    </a:cubicBezTo>
                    <a:cubicBezTo>
                      <a:pt x="13198" y="19441"/>
                      <a:pt x="16215" y="19441"/>
                      <a:pt x="19232" y="22458"/>
                    </a:cubicBezTo>
                    <a:cubicBezTo>
                      <a:pt x="22249" y="25475"/>
                      <a:pt x="22249" y="28492"/>
                      <a:pt x="19232" y="31508"/>
                    </a:cubicBezTo>
                    <a:cubicBezTo>
                      <a:pt x="16215" y="34525"/>
                      <a:pt x="13198" y="43575"/>
                      <a:pt x="13198" y="49609"/>
                    </a:cubicBezTo>
                    <a:cubicBezTo>
                      <a:pt x="13198" y="52626"/>
                      <a:pt x="16215" y="52626"/>
                      <a:pt x="16215" y="55643"/>
                    </a:cubicBezTo>
                    <a:cubicBezTo>
                      <a:pt x="28282" y="58659"/>
                      <a:pt x="76550" y="55643"/>
                      <a:pt x="115768" y="43575"/>
                    </a:cubicBezTo>
                    <a:cubicBezTo>
                      <a:pt x="127835" y="40559"/>
                      <a:pt x="133869" y="34525"/>
                      <a:pt x="133869" y="28492"/>
                    </a:cubicBezTo>
                    <a:cubicBezTo>
                      <a:pt x="136886" y="19441"/>
                      <a:pt x="130852" y="10391"/>
                      <a:pt x="130852" y="10391"/>
                    </a:cubicBezTo>
                    <a:cubicBezTo>
                      <a:pt x="127835" y="7374"/>
                      <a:pt x="130852" y="4357"/>
                      <a:pt x="130852" y="1341"/>
                    </a:cubicBezTo>
                    <a:cubicBezTo>
                      <a:pt x="133869" y="-1676"/>
                      <a:pt x="136886" y="1341"/>
                      <a:pt x="139902" y="1341"/>
                    </a:cubicBezTo>
                    <a:cubicBezTo>
                      <a:pt x="139902" y="1341"/>
                      <a:pt x="148952" y="16425"/>
                      <a:pt x="145936" y="28492"/>
                    </a:cubicBezTo>
                    <a:cubicBezTo>
                      <a:pt x="142919" y="37542"/>
                      <a:pt x="133869" y="46592"/>
                      <a:pt x="118785" y="49609"/>
                    </a:cubicBezTo>
                    <a:cubicBezTo>
                      <a:pt x="88617" y="61676"/>
                      <a:pt x="55433" y="64693"/>
                      <a:pt x="31299" y="6469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7" name="图形 1">
              <a:extLst>
                <a:ext uri="{FF2B5EF4-FFF2-40B4-BE49-F238E27FC236}">
                  <a16:creationId xmlns:a16="http://schemas.microsoft.com/office/drawing/2014/main" id="{E4CF68F3-6B82-4392-AC77-EF3E9C48CD72}"/>
                </a:ext>
              </a:extLst>
            </p:cNvPr>
            <p:cNvGrpSpPr/>
            <p:nvPr/>
          </p:nvGrpSpPr>
          <p:grpSpPr>
            <a:xfrm>
              <a:off x="6988623" y="9389276"/>
              <a:ext cx="354592" cy="211990"/>
              <a:chOff x="6988623" y="9389276"/>
              <a:chExt cx="354592" cy="211990"/>
            </a:xfrm>
          </p:grpSpPr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0F1BD58E-00BF-47BE-85F3-80CDED2E9383}"/>
                  </a:ext>
                </a:extLst>
              </p:cNvPr>
              <p:cNvSpPr/>
              <p:nvPr/>
            </p:nvSpPr>
            <p:spPr>
              <a:xfrm>
                <a:off x="6991640" y="9389276"/>
                <a:ext cx="351575" cy="211990"/>
              </a:xfrm>
              <a:custGeom>
                <a:avLst/>
                <a:gdLst>
                  <a:gd name="connsiteX0" fmla="*/ 301676 w 351575"/>
                  <a:gd name="connsiteY0" fmla="*/ 42570 h 211990"/>
                  <a:gd name="connsiteX1" fmla="*/ 217207 w 351575"/>
                  <a:gd name="connsiteY1" fmla="*/ 9385 h 211990"/>
                  <a:gd name="connsiteX2" fmla="*/ 150838 w 351575"/>
                  <a:gd name="connsiteY2" fmla="*/ 335 h 211990"/>
                  <a:gd name="connsiteX3" fmla="*/ 117653 w 351575"/>
                  <a:gd name="connsiteY3" fmla="*/ 24469 h 211990"/>
                  <a:gd name="connsiteX4" fmla="*/ 171955 w 351575"/>
                  <a:gd name="connsiteY4" fmla="*/ 42570 h 211990"/>
                  <a:gd name="connsiteX5" fmla="*/ 208156 w 351575"/>
                  <a:gd name="connsiteY5" fmla="*/ 87821 h 211990"/>
                  <a:gd name="connsiteX6" fmla="*/ 30168 w 351575"/>
                  <a:gd name="connsiteY6" fmla="*/ 51620 h 211990"/>
                  <a:gd name="connsiteX7" fmla="*/ 9050 w 351575"/>
                  <a:gd name="connsiteY7" fmla="*/ 63687 h 211990"/>
                  <a:gd name="connsiteX8" fmla="*/ 15084 w 351575"/>
                  <a:gd name="connsiteY8" fmla="*/ 66703 h 211990"/>
                  <a:gd name="connsiteX9" fmla="*/ 0 w 351575"/>
                  <a:gd name="connsiteY9" fmla="*/ 78771 h 211990"/>
                  <a:gd name="connsiteX10" fmla="*/ 24134 w 351575"/>
                  <a:gd name="connsiteY10" fmla="*/ 108939 h 211990"/>
                  <a:gd name="connsiteX11" fmla="*/ 72402 w 351575"/>
                  <a:gd name="connsiteY11" fmla="*/ 136089 h 211990"/>
                  <a:gd name="connsiteX12" fmla="*/ 30168 w 351575"/>
                  <a:gd name="connsiteY12" fmla="*/ 124023 h 211990"/>
                  <a:gd name="connsiteX13" fmla="*/ 18100 w 351575"/>
                  <a:gd name="connsiteY13" fmla="*/ 139106 h 211990"/>
                  <a:gd name="connsiteX14" fmla="*/ 156871 w 351575"/>
                  <a:gd name="connsiteY14" fmla="*/ 208491 h 211990"/>
                  <a:gd name="connsiteX15" fmla="*/ 334860 w 351575"/>
                  <a:gd name="connsiteY15" fmla="*/ 175307 h 211990"/>
                  <a:gd name="connsiteX16" fmla="*/ 340894 w 351575"/>
                  <a:gd name="connsiteY16" fmla="*/ 163240 h 211990"/>
                  <a:gd name="connsiteX17" fmla="*/ 301676 w 351575"/>
                  <a:gd name="connsiteY17" fmla="*/ 42570 h 211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51575" h="211990">
                    <a:moveTo>
                      <a:pt x="301676" y="42570"/>
                    </a:moveTo>
                    <a:cubicBezTo>
                      <a:pt x="271508" y="33519"/>
                      <a:pt x="244357" y="21452"/>
                      <a:pt x="217207" y="9385"/>
                    </a:cubicBezTo>
                    <a:cubicBezTo>
                      <a:pt x="184022" y="-2682"/>
                      <a:pt x="177989" y="335"/>
                      <a:pt x="150838" y="335"/>
                    </a:cubicBezTo>
                    <a:cubicBezTo>
                      <a:pt x="138771" y="335"/>
                      <a:pt x="117653" y="18436"/>
                      <a:pt x="117653" y="24469"/>
                    </a:cubicBezTo>
                    <a:cubicBezTo>
                      <a:pt x="117653" y="36536"/>
                      <a:pt x="129721" y="45587"/>
                      <a:pt x="171955" y="42570"/>
                    </a:cubicBezTo>
                    <a:cubicBezTo>
                      <a:pt x="190056" y="51620"/>
                      <a:pt x="202123" y="78771"/>
                      <a:pt x="208156" y="87821"/>
                    </a:cubicBezTo>
                    <a:cubicBezTo>
                      <a:pt x="177989" y="124023"/>
                      <a:pt x="45251" y="27486"/>
                      <a:pt x="30168" y="51620"/>
                    </a:cubicBezTo>
                    <a:cubicBezTo>
                      <a:pt x="27151" y="54637"/>
                      <a:pt x="9050" y="60670"/>
                      <a:pt x="9050" y="63687"/>
                    </a:cubicBezTo>
                    <a:cubicBezTo>
                      <a:pt x="9050" y="63687"/>
                      <a:pt x="15084" y="66703"/>
                      <a:pt x="15084" y="66703"/>
                    </a:cubicBezTo>
                    <a:cubicBezTo>
                      <a:pt x="6033" y="66703"/>
                      <a:pt x="0" y="66703"/>
                      <a:pt x="0" y="78771"/>
                    </a:cubicBezTo>
                    <a:cubicBezTo>
                      <a:pt x="0" y="87821"/>
                      <a:pt x="12067" y="99888"/>
                      <a:pt x="24134" y="108939"/>
                    </a:cubicBezTo>
                    <a:cubicBezTo>
                      <a:pt x="36201" y="121006"/>
                      <a:pt x="57318" y="124023"/>
                      <a:pt x="72402" y="136089"/>
                    </a:cubicBezTo>
                    <a:cubicBezTo>
                      <a:pt x="63352" y="136089"/>
                      <a:pt x="36201" y="121006"/>
                      <a:pt x="30168" y="124023"/>
                    </a:cubicBezTo>
                    <a:cubicBezTo>
                      <a:pt x="27151" y="127039"/>
                      <a:pt x="18100" y="133073"/>
                      <a:pt x="18100" y="139106"/>
                    </a:cubicBezTo>
                    <a:cubicBezTo>
                      <a:pt x="18100" y="160223"/>
                      <a:pt x="117653" y="202458"/>
                      <a:pt x="156871" y="208491"/>
                    </a:cubicBezTo>
                    <a:cubicBezTo>
                      <a:pt x="211173" y="220558"/>
                      <a:pt x="286592" y="199442"/>
                      <a:pt x="334860" y="175307"/>
                    </a:cubicBezTo>
                    <a:cubicBezTo>
                      <a:pt x="340894" y="172290"/>
                      <a:pt x="340894" y="166257"/>
                      <a:pt x="340894" y="163240"/>
                    </a:cubicBezTo>
                    <a:cubicBezTo>
                      <a:pt x="358994" y="121006"/>
                      <a:pt x="358994" y="60670"/>
                      <a:pt x="301676" y="4257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231B74F1-969B-4DBF-98A3-1A4CBB3DD8A8}"/>
                  </a:ext>
                </a:extLst>
              </p:cNvPr>
              <p:cNvSpPr/>
              <p:nvPr/>
            </p:nvSpPr>
            <p:spPr>
              <a:xfrm>
                <a:off x="6988623" y="9447770"/>
                <a:ext cx="153854" cy="110779"/>
              </a:xfrm>
              <a:custGeom>
                <a:avLst/>
                <a:gdLst>
                  <a:gd name="connsiteX0" fmla="*/ 120670 w 153854"/>
                  <a:gd name="connsiteY0" fmla="*/ 110780 h 110779"/>
                  <a:gd name="connsiteX1" fmla="*/ 120670 w 153854"/>
                  <a:gd name="connsiteY1" fmla="*/ 110780 h 110779"/>
                  <a:gd name="connsiteX2" fmla="*/ 30168 w 153854"/>
                  <a:gd name="connsiteY2" fmla="*/ 59495 h 110779"/>
                  <a:gd name="connsiteX3" fmla="*/ 0 w 153854"/>
                  <a:gd name="connsiteY3" fmla="*/ 20277 h 110779"/>
                  <a:gd name="connsiteX4" fmla="*/ 9050 w 153854"/>
                  <a:gd name="connsiteY4" fmla="*/ 2176 h 110779"/>
                  <a:gd name="connsiteX5" fmla="*/ 57319 w 153854"/>
                  <a:gd name="connsiteY5" fmla="*/ 26310 h 110779"/>
                  <a:gd name="connsiteX6" fmla="*/ 147822 w 153854"/>
                  <a:gd name="connsiteY6" fmla="*/ 80612 h 110779"/>
                  <a:gd name="connsiteX7" fmla="*/ 153855 w 153854"/>
                  <a:gd name="connsiteY7" fmla="*/ 86645 h 110779"/>
                  <a:gd name="connsiteX8" fmla="*/ 147822 w 153854"/>
                  <a:gd name="connsiteY8" fmla="*/ 92679 h 110779"/>
                  <a:gd name="connsiteX9" fmla="*/ 51285 w 153854"/>
                  <a:gd name="connsiteY9" fmla="*/ 38377 h 110779"/>
                  <a:gd name="connsiteX10" fmla="*/ 15084 w 153854"/>
                  <a:gd name="connsiteY10" fmla="*/ 14243 h 110779"/>
                  <a:gd name="connsiteX11" fmla="*/ 12067 w 153854"/>
                  <a:gd name="connsiteY11" fmla="*/ 23293 h 110779"/>
                  <a:gd name="connsiteX12" fmla="*/ 36201 w 153854"/>
                  <a:gd name="connsiteY12" fmla="*/ 53461 h 110779"/>
                  <a:gd name="connsiteX13" fmla="*/ 120670 w 153854"/>
                  <a:gd name="connsiteY13" fmla="*/ 101729 h 110779"/>
                  <a:gd name="connsiteX14" fmla="*/ 123687 w 153854"/>
                  <a:gd name="connsiteY14" fmla="*/ 107763 h 110779"/>
                  <a:gd name="connsiteX15" fmla="*/ 120670 w 153854"/>
                  <a:gd name="connsiteY15" fmla="*/ 110780 h 110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3854" h="110779">
                    <a:moveTo>
                      <a:pt x="120670" y="110780"/>
                    </a:moveTo>
                    <a:cubicBezTo>
                      <a:pt x="120670" y="110780"/>
                      <a:pt x="117654" y="110780"/>
                      <a:pt x="120670" y="110780"/>
                    </a:cubicBezTo>
                    <a:cubicBezTo>
                      <a:pt x="114637" y="107763"/>
                      <a:pt x="54302" y="77595"/>
                      <a:pt x="30168" y="59495"/>
                    </a:cubicBezTo>
                    <a:cubicBezTo>
                      <a:pt x="12067" y="44411"/>
                      <a:pt x="0" y="32344"/>
                      <a:pt x="0" y="20277"/>
                    </a:cubicBezTo>
                    <a:cubicBezTo>
                      <a:pt x="0" y="14243"/>
                      <a:pt x="3017" y="8209"/>
                      <a:pt x="9050" y="2176"/>
                    </a:cubicBezTo>
                    <a:cubicBezTo>
                      <a:pt x="15084" y="-3858"/>
                      <a:pt x="27151" y="2176"/>
                      <a:pt x="57319" y="26310"/>
                    </a:cubicBezTo>
                    <a:cubicBezTo>
                      <a:pt x="84469" y="47428"/>
                      <a:pt x="123687" y="77595"/>
                      <a:pt x="147822" y="80612"/>
                    </a:cubicBezTo>
                    <a:cubicBezTo>
                      <a:pt x="150838" y="80612"/>
                      <a:pt x="153855" y="83628"/>
                      <a:pt x="153855" y="86645"/>
                    </a:cubicBezTo>
                    <a:cubicBezTo>
                      <a:pt x="153855" y="89662"/>
                      <a:pt x="150838" y="92679"/>
                      <a:pt x="147822" y="92679"/>
                    </a:cubicBezTo>
                    <a:cubicBezTo>
                      <a:pt x="120670" y="89662"/>
                      <a:pt x="81452" y="59495"/>
                      <a:pt x="51285" y="38377"/>
                    </a:cubicBezTo>
                    <a:cubicBezTo>
                      <a:pt x="39218" y="29327"/>
                      <a:pt x="21117" y="17260"/>
                      <a:pt x="15084" y="14243"/>
                    </a:cubicBezTo>
                    <a:cubicBezTo>
                      <a:pt x="12067" y="17260"/>
                      <a:pt x="12067" y="20277"/>
                      <a:pt x="12067" y="23293"/>
                    </a:cubicBezTo>
                    <a:cubicBezTo>
                      <a:pt x="12067" y="32344"/>
                      <a:pt x="24134" y="41394"/>
                      <a:pt x="36201" y="53461"/>
                    </a:cubicBezTo>
                    <a:cubicBezTo>
                      <a:pt x="57319" y="71561"/>
                      <a:pt x="120670" y="101729"/>
                      <a:pt x="120670" y="101729"/>
                    </a:cubicBezTo>
                    <a:cubicBezTo>
                      <a:pt x="123687" y="101729"/>
                      <a:pt x="123687" y="107763"/>
                      <a:pt x="123687" y="107763"/>
                    </a:cubicBezTo>
                    <a:cubicBezTo>
                      <a:pt x="123687" y="110780"/>
                      <a:pt x="120670" y="110780"/>
                      <a:pt x="120670" y="11078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79D79A49-976A-41E1-A352-3C27E480DD4C}"/>
                  </a:ext>
                </a:extLst>
              </p:cNvPr>
              <p:cNvSpPr/>
              <p:nvPr/>
            </p:nvSpPr>
            <p:spPr>
              <a:xfrm>
                <a:off x="7008986" y="9428356"/>
                <a:ext cx="193826" cy="63824"/>
              </a:xfrm>
              <a:custGeom>
                <a:avLst/>
                <a:gdLst>
                  <a:gd name="connsiteX0" fmla="*/ 151592 w 193826"/>
                  <a:gd name="connsiteY0" fmla="*/ 63825 h 63824"/>
                  <a:gd name="connsiteX1" fmla="*/ 145559 w 193826"/>
                  <a:gd name="connsiteY1" fmla="*/ 63825 h 63824"/>
                  <a:gd name="connsiteX2" fmla="*/ 67123 w 193826"/>
                  <a:gd name="connsiteY2" fmla="*/ 30640 h 63824"/>
                  <a:gd name="connsiteX3" fmla="*/ 24888 w 193826"/>
                  <a:gd name="connsiteY3" fmla="*/ 12540 h 63824"/>
                  <a:gd name="connsiteX4" fmla="*/ 9804 w 193826"/>
                  <a:gd name="connsiteY4" fmla="*/ 18573 h 63824"/>
                  <a:gd name="connsiteX5" fmla="*/ 9804 w 193826"/>
                  <a:gd name="connsiteY5" fmla="*/ 27623 h 63824"/>
                  <a:gd name="connsiteX6" fmla="*/ 6788 w 193826"/>
                  <a:gd name="connsiteY6" fmla="*/ 33657 h 63824"/>
                  <a:gd name="connsiteX7" fmla="*/ 754 w 193826"/>
                  <a:gd name="connsiteY7" fmla="*/ 30640 h 63824"/>
                  <a:gd name="connsiteX8" fmla="*/ 3771 w 193826"/>
                  <a:gd name="connsiteY8" fmla="*/ 12540 h 63824"/>
                  <a:gd name="connsiteX9" fmla="*/ 27905 w 193826"/>
                  <a:gd name="connsiteY9" fmla="*/ 472 h 63824"/>
                  <a:gd name="connsiteX10" fmla="*/ 76173 w 193826"/>
                  <a:gd name="connsiteY10" fmla="*/ 18573 h 63824"/>
                  <a:gd name="connsiteX11" fmla="*/ 151592 w 193826"/>
                  <a:gd name="connsiteY11" fmla="*/ 48741 h 63824"/>
                  <a:gd name="connsiteX12" fmla="*/ 187794 w 193826"/>
                  <a:gd name="connsiteY12" fmla="*/ 42707 h 63824"/>
                  <a:gd name="connsiteX13" fmla="*/ 193827 w 193826"/>
                  <a:gd name="connsiteY13" fmla="*/ 45724 h 63824"/>
                  <a:gd name="connsiteX14" fmla="*/ 190810 w 193826"/>
                  <a:gd name="connsiteY14" fmla="*/ 51758 h 63824"/>
                  <a:gd name="connsiteX15" fmla="*/ 151592 w 193826"/>
                  <a:gd name="connsiteY15" fmla="*/ 63825 h 63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3826" h="63824">
                    <a:moveTo>
                      <a:pt x="151592" y="63825"/>
                    </a:moveTo>
                    <a:cubicBezTo>
                      <a:pt x="148576" y="63825"/>
                      <a:pt x="148576" y="63825"/>
                      <a:pt x="145559" y="63825"/>
                    </a:cubicBezTo>
                    <a:cubicBezTo>
                      <a:pt x="112375" y="60808"/>
                      <a:pt x="88240" y="45724"/>
                      <a:pt x="67123" y="30640"/>
                    </a:cubicBezTo>
                    <a:cubicBezTo>
                      <a:pt x="52039" y="21590"/>
                      <a:pt x="36956" y="12540"/>
                      <a:pt x="24888" y="12540"/>
                    </a:cubicBezTo>
                    <a:cubicBezTo>
                      <a:pt x="15838" y="12540"/>
                      <a:pt x="12821" y="15556"/>
                      <a:pt x="9804" y="18573"/>
                    </a:cubicBezTo>
                    <a:cubicBezTo>
                      <a:pt x="6788" y="21590"/>
                      <a:pt x="9804" y="27623"/>
                      <a:pt x="9804" y="27623"/>
                    </a:cubicBezTo>
                    <a:cubicBezTo>
                      <a:pt x="9804" y="30640"/>
                      <a:pt x="9804" y="33657"/>
                      <a:pt x="6788" y="33657"/>
                    </a:cubicBezTo>
                    <a:cubicBezTo>
                      <a:pt x="3771" y="33657"/>
                      <a:pt x="754" y="33657"/>
                      <a:pt x="754" y="30640"/>
                    </a:cubicBezTo>
                    <a:cubicBezTo>
                      <a:pt x="754" y="30640"/>
                      <a:pt x="-2262" y="21590"/>
                      <a:pt x="3771" y="12540"/>
                    </a:cubicBezTo>
                    <a:cubicBezTo>
                      <a:pt x="6788" y="6506"/>
                      <a:pt x="15838" y="3489"/>
                      <a:pt x="27905" y="472"/>
                    </a:cubicBezTo>
                    <a:cubicBezTo>
                      <a:pt x="42989" y="-2544"/>
                      <a:pt x="58073" y="9523"/>
                      <a:pt x="76173" y="18573"/>
                    </a:cubicBezTo>
                    <a:cubicBezTo>
                      <a:pt x="97291" y="30640"/>
                      <a:pt x="121424" y="45724"/>
                      <a:pt x="151592" y="48741"/>
                    </a:cubicBezTo>
                    <a:cubicBezTo>
                      <a:pt x="166676" y="51758"/>
                      <a:pt x="187794" y="42707"/>
                      <a:pt x="187794" y="42707"/>
                    </a:cubicBezTo>
                    <a:cubicBezTo>
                      <a:pt x="190810" y="42707"/>
                      <a:pt x="193827" y="42707"/>
                      <a:pt x="193827" y="45724"/>
                    </a:cubicBezTo>
                    <a:cubicBezTo>
                      <a:pt x="193827" y="48741"/>
                      <a:pt x="193827" y="51758"/>
                      <a:pt x="190810" y="51758"/>
                    </a:cubicBezTo>
                    <a:cubicBezTo>
                      <a:pt x="190810" y="54775"/>
                      <a:pt x="169693" y="63825"/>
                      <a:pt x="151592" y="6382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74" name="图形 1">
            <a:extLst>
              <a:ext uri="{FF2B5EF4-FFF2-40B4-BE49-F238E27FC236}">
                <a16:creationId xmlns:a16="http://schemas.microsoft.com/office/drawing/2014/main" id="{4930144E-FD24-4579-A418-06100B694C74}"/>
              </a:ext>
            </a:extLst>
          </p:cNvPr>
          <p:cNvGrpSpPr/>
          <p:nvPr/>
        </p:nvGrpSpPr>
        <p:grpSpPr>
          <a:xfrm>
            <a:off x="3397902" y="2418584"/>
            <a:ext cx="1630450" cy="4439416"/>
            <a:chOff x="2994164" y="8020002"/>
            <a:chExt cx="1630450" cy="4439416"/>
          </a:xfrm>
        </p:grpSpPr>
        <p:grpSp>
          <p:nvGrpSpPr>
            <p:cNvPr id="75" name="图形 1">
              <a:extLst>
                <a:ext uri="{FF2B5EF4-FFF2-40B4-BE49-F238E27FC236}">
                  <a16:creationId xmlns:a16="http://schemas.microsoft.com/office/drawing/2014/main" id="{19690735-721F-40A9-8D48-E852B3C712D5}"/>
                </a:ext>
              </a:extLst>
            </p:cNvPr>
            <p:cNvGrpSpPr/>
            <p:nvPr/>
          </p:nvGrpSpPr>
          <p:grpSpPr>
            <a:xfrm>
              <a:off x="3053260" y="12104695"/>
              <a:ext cx="391120" cy="354723"/>
              <a:chOff x="3053260" y="12104695"/>
              <a:chExt cx="391120" cy="354723"/>
            </a:xfrm>
          </p:grpSpPr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8F1AD3EE-7F37-4177-930E-464FDBE93B66}"/>
                  </a:ext>
                </a:extLst>
              </p:cNvPr>
              <p:cNvSpPr/>
              <p:nvPr/>
            </p:nvSpPr>
            <p:spPr>
              <a:xfrm>
                <a:off x="3053260" y="12225365"/>
                <a:ext cx="391120" cy="234053"/>
              </a:xfrm>
              <a:custGeom>
                <a:avLst/>
                <a:gdLst>
                  <a:gd name="connsiteX0" fmla="*/ 107095 w 391120"/>
                  <a:gd name="connsiteY0" fmla="*/ 0 h 234053"/>
                  <a:gd name="connsiteX1" fmla="*/ 263967 w 391120"/>
                  <a:gd name="connsiteY1" fmla="*/ 123687 h 234053"/>
                  <a:gd name="connsiteX2" fmla="*/ 70894 w 391120"/>
                  <a:gd name="connsiteY2" fmla="*/ 75419 h 234053"/>
                  <a:gd name="connsiteX3" fmla="*/ 1508 w 391120"/>
                  <a:gd name="connsiteY3" fmla="*/ 51284 h 234053"/>
                  <a:gd name="connsiteX4" fmla="*/ 7542 w 391120"/>
                  <a:gd name="connsiteY4" fmla="*/ 156871 h 234053"/>
                  <a:gd name="connsiteX5" fmla="*/ 236816 w 391120"/>
                  <a:gd name="connsiteY5" fmla="*/ 229274 h 234053"/>
                  <a:gd name="connsiteX6" fmla="*/ 372570 w 391120"/>
                  <a:gd name="connsiteY6" fmla="*/ 229274 h 234053"/>
                  <a:gd name="connsiteX7" fmla="*/ 378603 w 391120"/>
                  <a:gd name="connsiteY7" fmla="*/ 174972 h 234053"/>
                  <a:gd name="connsiteX8" fmla="*/ 107095 w 391120"/>
                  <a:gd name="connsiteY8" fmla="*/ 0 h 234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120" h="234053">
                    <a:moveTo>
                      <a:pt x="107095" y="0"/>
                    </a:moveTo>
                    <a:cubicBezTo>
                      <a:pt x="107095" y="0"/>
                      <a:pt x="279050" y="111620"/>
                      <a:pt x="263967" y="123687"/>
                    </a:cubicBezTo>
                    <a:cubicBezTo>
                      <a:pt x="251899" y="138771"/>
                      <a:pt x="70894" y="75419"/>
                      <a:pt x="70894" y="75419"/>
                    </a:cubicBezTo>
                    <a:lnTo>
                      <a:pt x="1508" y="51284"/>
                    </a:lnTo>
                    <a:cubicBezTo>
                      <a:pt x="1508" y="51284"/>
                      <a:pt x="-4525" y="132737"/>
                      <a:pt x="7542" y="156871"/>
                    </a:cubicBezTo>
                    <a:cubicBezTo>
                      <a:pt x="79944" y="193072"/>
                      <a:pt x="164413" y="217206"/>
                      <a:pt x="236816" y="229274"/>
                    </a:cubicBezTo>
                    <a:cubicBezTo>
                      <a:pt x="282067" y="238324"/>
                      <a:pt x="363520" y="232290"/>
                      <a:pt x="372570" y="229274"/>
                    </a:cubicBezTo>
                    <a:cubicBezTo>
                      <a:pt x="381620" y="226257"/>
                      <a:pt x="405754" y="202122"/>
                      <a:pt x="378603" y="174972"/>
                    </a:cubicBezTo>
                    <a:cubicBezTo>
                      <a:pt x="318268" y="111620"/>
                      <a:pt x="107095" y="0"/>
                      <a:pt x="107095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6B352AAC-77F1-4888-9F69-4FC131552A6F}"/>
                  </a:ext>
                </a:extLst>
              </p:cNvPr>
              <p:cNvSpPr/>
              <p:nvPr/>
            </p:nvSpPr>
            <p:spPr>
              <a:xfrm>
                <a:off x="3054768" y="12104695"/>
                <a:ext cx="263771" cy="251404"/>
              </a:xfrm>
              <a:custGeom>
                <a:avLst/>
                <a:gdLst>
                  <a:gd name="connsiteX0" fmla="*/ 120670 w 263771"/>
                  <a:gd name="connsiteY0" fmla="*/ 0 h 251404"/>
                  <a:gd name="connsiteX1" fmla="*/ 105587 w 263771"/>
                  <a:gd name="connsiteY1" fmla="*/ 123687 h 251404"/>
                  <a:gd name="connsiteX2" fmla="*/ 262458 w 263771"/>
                  <a:gd name="connsiteY2" fmla="*/ 247374 h 251404"/>
                  <a:gd name="connsiteX3" fmla="*/ 27151 w 263771"/>
                  <a:gd name="connsiteY3" fmla="*/ 205139 h 251404"/>
                  <a:gd name="connsiteX4" fmla="*/ 0 w 263771"/>
                  <a:gd name="connsiteY4" fmla="*/ 174972 h 251404"/>
                  <a:gd name="connsiteX5" fmla="*/ 0 w 263771"/>
                  <a:gd name="connsiteY5" fmla="*/ 42234 h 251404"/>
                  <a:gd name="connsiteX6" fmla="*/ 120670 w 263771"/>
                  <a:gd name="connsiteY6" fmla="*/ 0 h 25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3771" h="251404">
                    <a:moveTo>
                      <a:pt x="120670" y="0"/>
                    </a:moveTo>
                    <a:lnTo>
                      <a:pt x="105587" y="123687"/>
                    </a:lnTo>
                    <a:cubicBezTo>
                      <a:pt x="105587" y="123687"/>
                      <a:pt x="280559" y="226257"/>
                      <a:pt x="262458" y="247374"/>
                    </a:cubicBezTo>
                    <a:cubicBezTo>
                      <a:pt x="250391" y="262458"/>
                      <a:pt x="96536" y="232290"/>
                      <a:pt x="27151" y="205139"/>
                    </a:cubicBezTo>
                    <a:cubicBezTo>
                      <a:pt x="3017" y="196089"/>
                      <a:pt x="0" y="174972"/>
                      <a:pt x="0" y="174972"/>
                    </a:cubicBezTo>
                    <a:lnTo>
                      <a:pt x="0" y="42234"/>
                    </a:lnTo>
                    <a:lnTo>
                      <a:pt x="120670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DAD7D5E7-1F46-47B6-804F-77D6DC4E8245}"/>
                </a:ext>
              </a:extLst>
            </p:cNvPr>
            <p:cNvGrpSpPr/>
            <p:nvPr/>
          </p:nvGrpSpPr>
          <p:grpSpPr>
            <a:xfrm>
              <a:off x="3756165" y="12104695"/>
              <a:ext cx="391120" cy="354723"/>
              <a:chOff x="3756165" y="12104695"/>
              <a:chExt cx="391120" cy="354723"/>
            </a:xfrm>
          </p:grpSpPr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490179E8-29E4-4C4F-BBCD-C880B191E108}"/>
                  </a:ext>
                </a:extLst>
              </p:cNvPr>
              <p:cNvSpPr/>
              <p:nvPr/>
            </p:nvSpPr>
            <p:spPr>
              <a:xfrm>
                <a:off x="3756165" y="12225365"/>
                <a:ext cx="391120" cy="234053"/>
              </a:xfrm>
              <a:custGeom>
                <a:avLst/>
                <a:gdLst>
                  <a:gd name="connsiteX0" fmla="*/ 107095 w 391120"/>
                  <a:gd name="connsiteY0" fmla="*/ 0 h 234053"/>
                  <a:gd name="connsiteX1" fmla="*/ 263966 w 391120"/>
                  <a:gd name="connsiteY1" fmla="*/ 123687 h 234053"/>
                  <a:gd name="connsiteX2" fmla="*/ 70894 w 391120"/>
                  <a:gd name="connsiteY2" fmla="*/ 75419 h 234053"/>
                  <a:gd name="connsiteX3" fmla="*/ 1508 w 391120"/>
                  <a:gd name="connsiteY3" fmla="*/ 51284 h 234053"/>
                  <a:gd name="connsiteX4" fmla="*/ 7542 w 391120"/>
                  <a:gd name="connsiteY4" fmla="*/ 156871 h 234053"/>
                  <a:gd name="connsiteX5" fmla="*/ 236816 w 391120"/>
                  <a:gd name="connsiteY5" fmla="*/ 229274 h 234053"/>
                  <a:gd name="connsiteX6" fmla="*/ 372570 w 391120"/>
                  <a:gd name="connsiteY6" fmla="*/ 229274 h 234053"/>
                  <a:gd name="connsiteX7" fmla="*/ 378603 w 391120"/>
                  <a:gd name="connsiteY7" fmla="*/ 174972 h 234053"/>
                  <a:gd name="connsiteX8" fmla="*/ 107095 w 391120"/>
                  <a:gd name="connsiteY8" fmla="*/ 0 h 234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120" h="234053">
                    <a:moveTo>
                      <a:pt x="107095" y="0"/>
                    </a:moveTo>
                    <a:cubicBezTo>
                      <a:pt x="107095" y="0"/>
                      <a:pt x="279050" y="111620"/>
                      <a:pt x="263966" y="123687"/>
                    </a:cubicBezTo>
                    <a:cubicBezTo>
                      <a:pt x="251900" y="138771"/>
                      <a:pt x="70894" y="75419"/>
                      <a:pt x="70894" y="75419"/>
                    </a:cubicBezTo>
                    <a:lnTo>
                      <a:pt x="1508" y="51284"/>
                    </a:lnTo>
                    <a:cubicBezTo>
                      <a:pt x="1508" y="51284"/>
                      <a:pt x="-4525" y="132737"/>
                      <a:pt x="7542" y="156871"/>
                    </a:cubicBezTo>
                    <a:cubicBezTo>
                      <a:pt x="79944" y="193072"/>
                      <a:pt x="164413" y="217206"/>
                      <a:pt x="236816" y="229274"/>
                    </a:cubicBezTo>
                    <a:cubicBezTo>
                      <a:pt x="282067" y="238324"/>
                      <a:pt x="363520" y="232290"/>
                      <a:pt x="372570" y="229274"/>
                    </a:cubicBezTo>
                    <a:cubicBezTo>
                      <a:pt x="381620" y="226257"/>
                      <a:pt x="405754" y="202122"/>
                      <a:pt x="378603" y="174972"/>
                    </a:cubicBezTo>
                    <a:cubicBezTo>
                      <a:pt x="318268" y="111620"/>
                      <a:pt x="107095" y="0"/>
                      <a:pt x="107095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BD3DAC25-8CA3-43A7-B4C7-80288548195F}"/>
                  </a:ext>
                </a:extLst>
              </p:cNvPr>
              <p:cNvSpPr/>
              <p:nvPr/>
            </p:nvSpPr>
            <p:spPr>
              <a:xfrm>
                <a:off x="3757673" y="12104695"/>
                <a:ext cx="263771" cy="251404"/>
              </a:xfrm>
              <a:custGeom>
                <a:avLst/>
                <a:gdLst>
                  <a:gd name="connsiteX0" fmla="*/ 120670 w 263771"/>
                  <a:gd name="connsiteY0" fmla="*/ 0 h 251404"/>
                  <a:gd name="connsiteX1" fmla="*/ 105587 w 263771"/>
                  <a:gd name="connsiteY1" fmla="*/ 123687 h 251404"/>
                  <a:gd name="connsiteX2" fmla="*/ 262458 w 263771"/>
                  <a:gd name="connsiteY2" fmla="*/ 247374 h 251404"/>
                  <a:gd name="connsiteX3" fmla="*/ 27151 w 263771"/>
                  <a:gd name="connsiteY3" fmla="*/ 205139 h 251404"/>
                  <a:gd name="connsiteX4" fmla="*/ 0 w 263771"/>
                  <a:gd name="connsiteY4" fmla="*/ 174972 h 251404"/>
                  <a:gd name="connsiteX5" fmla="*/ 0 w 263771"/>
                  <a:gd name="connsiteY5" fmla="*/ 42234 h 251404"/>
                  <a:gd name="connsiteX6" fmla="*/ 120670 w 263771"/>
                  <a:gd name="connsiteY6" fmla="*/ 0 h 25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3771" h="251404">
                    <a:moveTo>
                      <a:pt x="120670" y="0"/>
                    </a:moveTo>
                    <a:lnTo>
                      <a:pt x="105587" y="123687"/>
                    </a:lnTo>
                    <a:cubicBezTo>
                      <a:pt x="105587" y="123687"/>
                      <a:pt x="280559" y="226257"/>
                      <a:pt x="262458" y="247374"/>
                    </a:cubicBezTo>
                    <a:cubicBezTo>
                      <a:pt x="250391" y="262458"/>
                      <a:pt x="96536" y="232290"/>
                      <a:pt x="27151" y="205139"/>
                    </a:cubicBezTo>
                    <a:cubicBezTo>
                      <a:pt x="3017" y="196089"/>
                      <a:pt x="0" y="174972"/>
                      <a:pt x="0" y="174972"/>
                    </a:cubicBezTo>
                    <a:lnTo>
                      <a:pt x="0" y="42234"/>
                    </a:lnTo>
                    <a:lnTo>
                      <a:pt x="120670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5BF84682-2741-4986-B478-D3488026A24D}"/>
                </a:ext>
              </a:extLst>
            </p:cNvPr>
            <p:cNvSpPr/>
            <p:nvPr/>
          </p:nvSpPr>
          <p:spPr>
            <a:xfrm>
              <a:off x="3015135" y="9673187"/>
              <a:ext cx="916249" cy="2497876"/>
            </a:xfrm>
            <a:custGeom>
              <a:avLst/>
              <a:gdLst>
                <a:gd name="connsiteX0" fmla="*/ 133153 w 916249"/>
                <a:gd name="connsiteY0" fmla="*/ 0 h 2497876"/>
                <a:gd name="connsiteX1" fmla="*/ 793823 w 916249"/>
                <a:gd name="connsiteY1" fmla="*/ 0 h 2497876"/>
                <a:gd name="connsiteX2" fmla="*/ 911477 w 916249"/>
                <a:gd name="connsiteY2" fmla="*/ 455531 h 2497876"/>
                <a:gd name="connsiteX3" fmla="*/ 890360 w 916249"/>
                <a:gd name="connsiteY3" fmla="*/ 2497877 h 2497876"/>
                <a:gd name="connsiteX4" fmla="*/ 712371 w 916249"/>
                <a:gd name="connsiteY4" fmla="*/ 2497877 h 2497876"/>
                <a:gd name="connsiteX5" fmla="*/ 498181 w 916249"/>
                <a:gd name="connsiteY5" fmla="*/ 856760 h 2497876"/>
                <a:gd name="connsiteX6" fmla="*/ 196505 w 916249"/>
                <a:gd name="connsiteY6" fmla="*/ 2485810 h 2497876"/>
                <a:gd name="connsiteX7" fmla="*/ 3432 w 916249"/>
                <a:gd name="connsiteY7" fmla="*/ 2485810 h 2497876"/>
                <a:gd name="connsiteX8" fmla="*/ 416 w 916249"/>
                <a:gd name="connsiteY8" fmla="*/ 413296 h 2497876"/>
                <a:gd name="connsiteX9" fmla="*/ 133153 w 916249"/>
                <a:gd name="connsiteY9" fmla="*/ 0 h 2497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6249" h="2497876">
                  <a:moveTo>
                    <a:pt x="133153" y="0"/>
                  </a:moveTo>
                  <a:lnTo>
                    <a:pt x="793823" y="0"/>
                  </a:lnTo>
                  <a:cubicBezTo>
                    <a:pt x="793823" y="0"/>
                    <a:pt x="890360" y="301676"/>
                    <a:pt x="911477" y="455531"/>
                  </a:cubicBezTo>
                  <a:cubicBezTo>
                    <a:pt x="929578" y="606369"/>
                    <a:pt x="890360" y="2497877"/>
                    <a:pt x="890360" y="2497877"/>
                  </a:cubicBezTo>
                  <a:lnTo>
                    <a:pt x="712371" y="2497877"/>
                  </a:lnTo>
                  <a:lnTo>
                    <a:pt x="498181" y="856760"/>
                  </a:lnTo>
                  <a:lnTo>
                    <a:pt x="196505" y="2485810"/>
                  </a:lnTo>
                  <a:lnTo>
                    <a:pt x="3432" y="2485810"/>
                  </a:lnTo>
                  <a:cubicBezTo>
                    <a:pt x="3432" y="2485810"/>
                    <a:pt x="9466" y="530950"/>
                    <a:pt x="416" y="413296"/>
                  </a:cubicBezTo>
                  <a:cubicBezTo>
                    <a:pt x="-8635" y="292626"/>
                    <a:pt x="133153" y="0"/>
                    <a:pt x="133153" y="0"/>
                  </a:cubicBezTo>
                  <a:close/>
                </a:path>
              </a:pathLst>
            </a:custGeom>
            <a:solidFill>
              <a:srgbClr val="F6EBE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F3434545-3447-4AF3-9C83-E14AB57E9C8E}"/>
                </a:ext>
              </a:extLst>
            </p:cNvPr>
            <p:cNvSpPr/>
            <p:nvPr/>
          </p:nvSpPr>
          <p:spPr>
            <a:xfrm>
              <a:off x="3205606" y="10056315"/>
              <a:ext cx="310726" cy="2108714"/>
            </a:xfrm>
            <a:custGeom>
              <a:avLst/>
              <a:gdLst>
                <a:gd name="connsiteX0" fmla="*/ 6034 w 310726"/>
                <a:gd name="connsiteY0" fmla="*/ 2108715 h 2108714"/>
                <a:gd name="connsiteX1" fmla="*/ 6034 w 310726"/>
                <a:gd name="connsiteY1" fmla="*/ 2108715 h 2108714"/>
                <a:gd name="connsiteX2" fmla="*/ 0 w 310726"/>
                <a:gd name="connsiteY2" fmla="*/ 2102681 h 2108714"/>
                <a:gd name="connsiteX3" fmla="*/ 298659 w 310726"/>
                <a:gd name="connsiteY3" fmla="*/ 470614 h 2108714"/>
                <a:gd name="connsiteX4" fmla="*/ 298659 w 310726"/>
                <a:gd name="connsiteY4" fmla="*/ 6033 h 2108714"/>
                <a:gd name="connsiteX5" fmla="*/ 304693 w 310726"/>
                <a:gd name="connsiteY5" fmla="*/ 0 h 2108714"/>
                <a:gd name="connsiteX6" fmla="*/ 310726 w 310726"/>
                <a:gd name="connsiteY6" fmla="*/ 6033 h 2108714"/>
                <a:gd name="connsiteX7" fmla="*/ 310726 w 310726"/>
                <a:gd name="connsiteY7" fmla="*/ 470614 h 2108714"/>
                <a:gd name="connsiteX8" fmla="*/ 12067 w 310726"/>
                <a:gd name="connsiteY8" fmla="*/ 2102681 h 2108714"/>
                <a:gd name="connsiteX9" fmla="*/ 6034 w 310726"/>
                <a:gd name="connsiteY9" fmla="*/ 2108715 h 210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0726" h="2108714">
                  <a:moveTo>
                    <a:pt x="6034" y="2108715"/>
                  </a:moveTo>
                  <a:cubicBezTo>
                    <a:pt x="6034" y="2108715"/>
                    <a:pt x="6034" y="2108715"/>
                    <a:pt x="6034" y="2108715"/>
                  </a:cubicBezTo>
                  <a:cubicBezTo>
                    <a:pt x="3017" y="2108715"/>
                    <a:pt x="0" y="2105698"/>
                    <a:pt x="0" y="2102681"/>
                  </a:cubicBezTo>
                  <a:lnTo>
                    <a:pt x="298659" y="470614"/>
                  </a:lnTo>
                  <a:lnTo>
                    <a:pt x="298659" y="6033"/>
                  </a:lnTo>
                  <a:cubicBezTo>
                    <a:pt x="298659" y="3016"/>
                    <a:pt x="301676" y="0"/>
                    <a:pt x="304693" y="0"/>
                  </a:cubicBezTo>
                  <a:cubicBezTo>
                    <a:pt x="307710" y="0"/>
                    <a:pt x="310726" y="3016"/>
                    <a:pt x="310726" y="6033"/>
                  </a:cubicBezTo>
                  <a:lnTo>
                    <a:pt x="310726" y="470614"/>
                  </a:lnTo>
                  <a:lnTo>
                    <a:pt x="12067" y="2102681"/>
                  </a:lnTo>
                  <a:cubicBezTo>
                    <a:pt x="12067" y="2105698"/>
                    <a:pt x="9050" y="2108715"/>
                    <a:pt x="6034" y="2108715"/>
                  </a:cubicBezTo>
                  <a:close/>
                </a:path>
              </a:pathLst>
            </a:custGeom>
            <a:solidFill>
              <a:srgbClr val="6C5D6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6119BC66-65C8-47AF-836C-0A050A67154A}"/>
                </a:ext>
              </a:extLst>
            </p:cNvPr>
            <p:cNvSpPr/>
            <p:nvPr/>
          </p:nvSpPr>
          <p:spPr>
            <a:xfrm>
              <a:off x="3630095" y="8811551"/>
              <a:ext cx="914952" cy="831428"/>
            </a:xfrm>
            <a:custGeom>
              <a:avLst/>
              <a:gdLst>
                <a:gd name="connsiteX0" fmla="*/ 21991 w 914952"/>
                <a:gd name="connsiteY0" fmla="*/ 279401 h 831428"/>
                <a:gd name="connsiteX1" fmla="*/ 97410 w 914952"/>
                <a:gd name="connsiteY1" fmla="*/ 1859 h 831428"/>
                <a:gd name="connsiteX2" fmla="*/ 344785 w 914952"/>
                <a:gd name="connsiteY2" fmla="*/ 285435 h 831428"/>
                <a:gd name="connsiteX3" fmla="*/ 492606 w 914952"/>
                <a:gd name="connsiteY3" fmla="*/ 581077 h 831428"/>
                <a:gd name="connsiteX4" fmla="*/ 908919 w 914952"/>
                <a:gd name="connsiteY4" fmla="*/ 569010 h 831428"/>
                <a:gd name="connsiteX5" fmla="*/ 914952 w 914952"/>
                <a:gd name="connsiteY5" fmla="*/ 762083 h 831428"/>
                <a:gd name="connsiteX6" fmla="*/ 362885 w 914952"/>
                <a:gd name="connsiteY6" fmla="*/ 825435 h 831428"/>
                <a:gd name="connsiteX7" fmla="*/ 21991 w 914952"/>
                <a:gd name="connsiteY7" fmla="*/ 279401 h 83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4952" h="831428">
                  <a:moveTo>
                    <a:pt x="21991" y="279401"/>
                  </a:moveTo>
                  <a:cubicBezTo>
                    <a:pt x="-32310" y="143647"/>
                    <a:pt x="21991" y="-19258"/>
                    <a:pt x="97410" y="1859"/>
                  </a:cubicBezTo>
                  <a:cubicBezTo>
                    <a:pt x="184897" y="25994"/>
                    <a:pt x="287466" y="119513"/>
                    <a:pt x="344785" y="285435"/>
                  </a:cubicBezTo>
                  <a:cubicBezTo>
                    <a:pt x="377969" y="381971"/>
                    <a:pt x="474505" y="584094"/>
                    <a:pt x="492606" y="581077"/>
                  </a:cubicBezTo>
                  <a:cubicBezTo>
                    <a:pt x="498640" y="581077"/>
                    <a:pt x="908919" y="569010"/>
                    <a:pt x="908919" y="569010"/>
                  </a:cubicBezTo>
                  <a:cubicBezTo>
                    <a:pt x="908919" y="629346"/>
                    <a:pt x="914952" y="762083"/>
                    <a:pt x="914952" y="762083"/>
                  </a:cubicBezTo>
                  <a:cubicBezTo>
                    <a:pt x="914952" y="762083"/>
                    <a:pt x="441321" y="855602"/>
                    <a:pt x="362885" y="825435"/>
                  </a:cubicBezTo>
                  <a:cubicBezTo>
                    <a:pt x="266349" y="786217"/>
                    <a:pt x="88360" y="451356"/>
                    <a:pt x="21991" y="279401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DE445113-4E69-43CC-B3A5-C17893940F84}"/>
                </a:ext>
              </a:extLst>
            </p:cNvPr>
            <p:cNvSpPr/>
            <p:nvPr/>
          </p:nvSpPr>
          <p:spPr>
            <a:xfrm>
              <a:off x="3089420" y="8751674"/>
              <a:ext cx="811961" cy="978930"/>
            </a:xfrm>
            <a:custGeom>
              <a:avLst/>
              <a:gdLst>
                <a:gd name="connsiteX0" fmla="*/ 43784 w 811961"/>
                <a:gd name="connsiteY0" fmla="*/ 387546 h 978930"/>
                <a:gd name="connsiteX1" fmla="*/ 58868 w 811961"/>
                <a:gd name="connsiteY1" fmla="*/ 67769 h 978930"/>
                <a:gd name="connsiteX2" fmla="*/ 423896 w 811961"/>
                <a:gd name="connsiteY2" fmla="*/ 4418 h 978930"/>
                <a:gd name="connsiteX3" fmla="*/ 722555 w 811961"/>
                <a:gd name="connsiteY3" fmla="*/ 103970 h 978930"/>
                <a:gd name="connsiteX4" fmla="*/ 761773 w 811961"/>
                <a:gd name="connsiteY4" fmla="*/ 646987 h 978930"/>
                <a:gd name="connsiteX5" fmla="*/ 740655 w 811961"/>
                <a:gd name="connsiteY5" fmla="*/ 975814 h 978930"/>
                <a:gd name="connsiteX6" fmla="*/ 49817 w 811961"/>
                <a:gd name="connsiteY6" fmla="*/ 954697 h 978930"/>
                <a:gd name="connsiteX7" fmla="*/ 43784 w 811961"/>
                <a:gd name="connsiteY7" fmla="*/ 387546 h 978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1961" h="978930">
                  <a:moveTo>
                    <a:pt x="43784" y="387546"/>
                  </a:moveTo>
                  <a:cubicBezTo>
                    <a:pt x="34734" y="357379"/>
                    <a:pt x="-58786" y="131122"/>
                    <a:pt x="58868" y="67769"/>
                  </a:cubicBezTo>
                  <a:cubicBezTo>
                    <a:pt x="161437" y="13468"/>
                    <a:pt x="306242" y="-10666"/>
                    <a:pt x="423896" y="4418"/>
                  </a:cubicBezTo>
                  <a:cubicBezTo>
                    <a:pt x="553616" y="19502"/>
                    <a:pt x="683337" y="40619"/>
                    <a:pt x="722555" y="103970"/>
                  </a:cubicBezTo>
                  <a:cubicBezTo>
                    <a:pt x="834175" y="287993"/>
                    <a:pt x="834175" y="450898"/>
                    <a:pt x="761773" y="646987"/>
                  </a:cubicBezTo>
                  <a:cubicBezTo>
                    <a:pt x="740655" y="704305"/>
                    <a:pt x="716521" y="840060"/>
                    <a:pt x="740655" y="975814"/>
                  </a:cubicBezTo>
                  <a:cubicBezTo>
                    <a:pt x="740655" y="975814"/>
                    <a:pt x="438979" y="990898"/>
                    <a:pt x="49817" y="954697"/>
                  </a:cubicBezTo>
                  <a:cubicBezTo>
                    <a:pt x="76968" y="737490"/>
                    <a:pt x="49817" y="411680"/>
                    <a:pt x="43784" y="387546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69DA897A-22D3-4390-9DA2-CF7D301C3558}"/>
                </a:ext>
              </a:extLst>
            </p:cNvPr>
            <p:cNvSpPr/>
            <p:nvPr/>
          </p:nvSpPr>
          <p:spPr>
            <a:xfrm>
              <a:off x="3265941" y="8445365"/>
              <a:ext cx="292625" cy="271508"/>
            </a:xfrm>
            <a:custGeom>
              <a:avLst/>
              <a:gdLst>
                <a:gd name="connsiteX0" fmla="*/ 292626 w 292625"/>
                <a:gd name="connsiteY0" fmla="*/ 262458 h 271508"/>
                <a:gd name="connsiteX1" fmla="*/ 15084 w 292625"/>
                <a:gd name="connsiteY1" fmla="*/ 271508 h 271508"/>
                <a:gd name="connsiteX2" fmla="*/ 0 w 292625"/>
                <a:gd name="connsiteY2" fmla="*/ 132737 h 271508"/>
                <a:gd name="connsiteX3" fmla="*/ 3017 w 292625"/>
                <a:gd name="connsiteY3" fmla="*/ 21117 h 271508"/>
                <a:gd name="connsiteX4" fmla="*/ 75419 w 292625"/>
                <a:gd name="connsiteY4" fmla="*/ 0 h 271508"/>
                <a:gd name="connsiteX5" fmla="*/ 235307 w 292625"/>
                <a:gd name="connsiteY5" fmla="*/ 81452 h 27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2625" h="271508">
                  <a:moveTo>
                    <a:pt x="292626" y="262458"/>
                  </a:moveTo>
                  <a:lnTo>
                    <a:pt x="15084" y="271508"/>
                  </a:lnTo>
                  <a:lnTo>
                    <a:pt x="0" y="132737"/>
                  </a:lnTo>
                  <a:lnTo>
                    <a:pt x="3017" y="21117"/>
                  </a:lnTo>
                  <a:lnTo>
                    <a:pt x="75419" y="0"/>
                  </a:lnTo>
                  <a:lnTo>
                    <a:pt x="235307" y="81452"/>
                  </a:lnTo>
                  <a:close/>
                </a:path>
              </a:pathLst>
            </a:custGeom>
            <a:solidFill>
              <a:srgbClr val="F1DDBA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8439C394-CA03-410D-A5E0-7B4C39D99A57}"/>
                </a:ext>
              </a:extLst>
            </p:cNvPr>
            <p:cNvSpPr/>
            <p:nvPr/>
          </p:nvSpPr>
          <p:spPr>
            <a:xfrm>
              <a:off x="3422484" y="8078154"/>
              <a:ext cx="486027" cy="655058"/>
            </a:xfrm>
            <a:custGeom>
              <a:avLst/>
              <a:gdLst>
                <a:gd name="connsiteX0" fmla="*/ 69714 w 486027"/>
                <a:gd name="connsiteY0" fmla="*/ 632686 h 655058"/>
                <a:gd name="connsiteX1" fmla="*/ 486027 w 486027"/>
                <a:gd name="connsiteY1" fmla="*/ 560284 h 655058"/>
                <a:gd name="connsiteX2" fmla="*/ 329156 w 486027"/>
                <a:gd name="connsiteY2" fmla="*/ 165089 h 655058"/>
                <a:gd name="connsiteX3" fmla="*/ 329 w 486027"/>
                <a:gd name="connsiteY3" fmla="*/ 11234 h 655058"/>
                <a:gd name="connsiteX4" fmla="*/ 39547 w 486027"/>
                <a:gd name="connsiteY4" fmla="*/ 159055 h 655058"/>
                <a:gd name="connsiteX5" fmla="*/ 87815 w 486027"/>
                <a:gd name="connsiteY5" fmla="*/ 300843 h 655058"/>
                <a:gd name="connsiteX6" fmla="*/ 84798 w 486027"/>
                <a:gd name="connsiteY6" fmla="*/ 460731 h 655058"/>
                <a:gd name="connsiteX7" fmla="*/ 69714 w 486027"/>
                <a:gd name="connsiteY7" fmla="*/ 632686 h 655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6027" h="655058">
                  <a:moveTo>
                    <a:pt x="69714" y="632686"/>
                  </a:moveTo>
                  <a:cubicBezTo>
                    <a:pt x="78765" y="683971"/>
                    <a:pt x="386474" y="641736"/>
                    <a:pt x="486027" y="560284"/>
                  </a:cubicBezTo>
                  <a:cubicBezTo>
                    <a:pt x="362340" y="400396"/>
                    <a:pt x="344240" y="228440"/>
                    <a:pt x="329156" y="165089"/>
                  </a:cubicBezTo>
                  <a:cubicBezTo>
                    <a:pt x="298988" y="38384"/>
                    <a:pt x="114966" y="-27984"/>
                    <a:pt x="329" y="11234"/>
                  </a:cubicBezTo>
                  <a:cubicBezTo>
                    <a:pt x="-2688" y="11234"/>
                    <a:pt x="15413" y="110787"/>
                    <a:pt x="39547" y="159055"/>
                  </a:cubicBezTo>
                  <a:cubicBezTo>
                    <a:pt x="60664" y="204306"/>
                    <a:pt x="78765" y="252574"/>
                    <a:pt x="87815" y="300843"/>
                  </a:cubicBezTo>
                  <a:cubicBezTo>
                    <a:pt x="96865" y="352128"/>
                    <a:pt x="93848" y="406429"/>
                    <a:pt x="84798" y="460731"/>
                  </a:cubicBezTo>
                  <a:cubicBezTo>
                    <a:pt x="78765" y="508999"/>
                    <a:pt x="60664" y="590452"/>
                    <a:pt x="69714" y="632686"/>
                  </a:cubicBezTo>
                  <a:close/>
                </a:path>
              </a:pathLst>
            </a:custGeom>
            <a:solidFill>
              <a:srgbClr val="F1DDBA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7ED16318-4864-451C-AC24-337D226D19CC}"/>
                </a:ext>
              </a:extLst>
            </p:cNvPr>
            <p:cNvSpPr/>
            <p:nvPr/>
          </p:nvSpPr>
          <p:spPr>
            <a:xfrm>
              <a:off x="3256891" y="8121692"/>
              <a:ext cx="418159" cy="562313"/>
            </a:xfrm>
            <a:custGeom>
              <a:avLst/>
              <a:gdLst>
                <a:gd name="connsiteX0" fmla="*/ 410279 w 418159"/>
                <a:gd name="connsiteY0" fmla="*/ 181886 h 562313"/>
                <a:gd name="connsiteX1" fmla="*/ 398212 w 418159"/>
                <a:gd name="connsiteY1" fmla="*/ 435294 h 562313"/>
                <a:gd name="connsiteX2" fmla="*/ 250391 w 418159"/>
                <a:gd name="connsiteY2" fmla="*/ 561997 h 562313"/>
                <a:gd name="connsiteX3" fmla="*/ 36201 w 418159"/>
                <a:gd name="connsiteY3" fmla="*/ 420210 h 562313"/>
                <a:gd name="connsiteX4" fmla="*/ 0 w 418159"/>
                <a:gd name="connsiteY4" fmla="*/ 196970 h 562313"/>
                <a:gd name="connsiteX5" fmla="*/ 211173 w 418159"/>
                <a:gd name="connsiteY5" fmla="*/ 880 h 562313"/>
                <a:gd name="connsiteX6" fmla="*/ 410279 w 418159"/>
                <a:gd name="connsiteY6" fmla="*/ 181886 h 562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159" h="562313">
                  <a:moveTo>
                    <a:pt x="410279" y="181886"/>
                  </a:moveTo>
                  <a:cubicBezTo>
                    <a:pt x="410279" y="181886"/>
                    <a:pt x="434413" y="368925"/>
                    <a:pt x="398212" y="435294"/>
                  </a:cubicBezTo>
                  <a:cubicBezTo>
                    <a:pt x="362011" y="501662"/>
                    <a:pt x="301676" y="558981"/>
                    <a:pt x="250391" y="561997"/>
                  </a:cubicBezTo>
                  <a:cubicBezTo>
                    <a:pt x="184022" y="568031"/>
                    <a:pt x="72402" y="486578"/>
                    <a:pt x="36201" y="420210"/>
                  </a:cubicBezTo>
                  <a:cubicBezTo>
                    <a:pt x="0" y="353841"/>
                    <a:pt x="0" y="248255"/>
                    <a:pt x="0" y="196970"/>
                  </a:cubicBezTo>
                  <a:cubicBezTo>
                    <a:pt x="3017" y="103450"/>
                    <a:pt x="30168" y="25014"/>
                    <a:pt x="211173" y="880"/>
                  </a:cubicBezTo>
                  <a:cubicBezTo>
                    <a:pt x="298659" y="-11187"/>
                    <a:pt x="392179" y="103450"/>
                    <a:pt x="410279" y="181886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013D7C8E-4A3C-4E0D-BC9B-09BF79EF52A4}"/>
                </a:ext>
              </a:extLst>
            </p:cNvPr>
            <p:cNvSpPr/>
            <p:nvPr/>
          </p:nvSpPr>
          <p:spPr>
            <a:xfrm>
              <a:off x="3480131" y="8391064"/>
              <a:ext cx="54301" cy="129720"/>
            </a:xfrm>
            <a:custGeom>
              <a:avLst/>
              <a:gdLst>
                <a:gd name="connsiteX0" fmla="*/ 30168 w 54301"/>
                <a:gd name="connsiteY0" fmla="*/ 129721 h 129720"/>
                <a:gd name="connsiteX1" fmla="*/ 6033 w 54301"/>
                <a:gd name="connsiteY1" fmla="*/ 126704 h 129720"/>
                <a:gd name="connsiteX2" fmla="*/ 0 w 54301"/>
                <a:gd name="connsiteY2" fmla="*/ 120670 h 129720"/>
                <a:gd name="connsiteX3" fmla="*/ 6033 w 54301"/>
                <a:gd name="connsiteY3" fmla="*/ 114637 h 129720"/>
                <a:gd name="connsiteX4" fmla="*/ 45251 w 54301"/>
                <a:gd name="connsiteY4" fmla="*/ 114637 h 129720"/>
                <a:gd name="connsiteX5" fmla="*/ 45251 w 54301"/>
                <a:gd name="connsiteY5" fmla="*/ 111620 h 129720"/>
                <a:gd name="connsiteX6" fmla="*/ 18101 w 54301"/>
                <a:gd name="connsiteY6" fmla="*/ 6033 h 129720"/>
                <a:gd name="connsiteX7" fmla="*/ 21117 w 54301"/>
                <a:gd name="connsiteY7" fmla="*/ 0 h 129720"/>
                <a:gd name="connsiteX8" fmla="*/ 27151 w 54301"/>
                <a:gd name="connsiteY8" fmla="*/ 3017 h 129720"/>
                <a:gd name="connsiteX9" fmla="*/ 54302 w 54301"/>
                <a:gd name="connsiteY9" fmla="*/ 111620 h 129720"/>
                <a:gd name="connsiteX10" fmla="*/ 48268 w 54301"/>
                <a:gd name="connsiteY10" fmla="*/ 123687 h 129720"/>
                <a:gd name="connsiteX11" fmla="*/ 30168 w 54301"/>
                <a:gd name="connsiteY11" fmla="*/ 129721 h 12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301" h="129720">
                  <a:moveTo>
                    <a:pt x="30168" y="129721"/>
                  </a:moveTo>
                  <a:cubicBezTo>
                    <a:pt x="18101" y="129721"/>
                    <a:pt x="9050" y="126704"/>
                    <a:pt x="6033" y="126704"/>
                  </a:cubicBezTo>
                  <a:cubicBezTo>
                    <a:pt x="3017" y="126704"/>
                    <a:pt x="0" y="123687"/>
                    <a:pt x="0" y="120670"/>
                  </a:cubicBezTo>
                  <a:cubicBezTo>
                    <a:pt x="0" y="117653"/>
                    <a:pt x="3017" y="114637"/>
                    <a:pt x="6033" y="114637"/>
                  </a:cubicBezTo>
                  <a:cubicBezTo>
                    <a:pt x="18101" y="117653"/>
                    <a:pt x="39218" y="117653"/>
                    <a:pt x="45251" y="114637"/>
                  </a:cubicBezTo>
                  <a:cubicBezTo>
                    <a:pt x="45251" y="114637"/>
                    <a:pt x="45251" y="111620"/>
                    <a:pt x="45251" y="111620"/>
                  </a:cubicBezTo>
                  <a:cubicBezTo>
                    <a:pt x="45251" y="96536"/>
                    <a:pt x="24134" y="30168"/>
                    <a:pt x="18101" y="6033"/>
                  </a:cubicBezTo>
                  <a:cubicBezTo>
                    <a:pt x="18101" y="3017"/>
                    <a:pt x="18101" y="0"/>
                    <a:pt x="21117" y="0"/>
                  </a:cubicBezTo>
                  <a:cubicBezTo>
                    <a:pt x="24134" y="0"/>
                    <a:pt x="27151" y="0"/>
                    <a:pt x="27151" y="3017"/>
                  </a:cubicBezTo>
                  <a:cubicBezTo>
                    <a:pt x="27151" y="6033"/>
                    <a:pt x="54302" y="90503"/>
                    <a:pt x="54302" y="111620"/>
                  </a:cubicBezTo>
                  <a:cubicBezTo>
                    <a:pt x="54302" y="117653"/>
                    <a:pt x="51285" y="120670"/>
                    <a:pt x="48268" y="123687"/>
                  </a:cubicBezTo>
                  <a:cubicBezTo>
                    <a:pt x="51285" y="126704"/>
                    <a:pt x="39218" y="129721"/>
                    <a:pt x="30168" y="129721"/>
                  </a:cubicBezTo>
                  <a:close/>
                </a:path>
              </a:pathLst>
            </a:custGeom>
            <a:solidFill>
              <a:srgbClr val="E58777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B0286093-ECBC-4574-8BE1-EF8865C3475B}"/>
                </a:ext>
              </a:extLst>
            </p:cNvPr>
            <p:cNvSpPr/>
            <p:nvPr/>
          </p:nvSpPr>
          <p:spPr>
            <a:xfrm>
              <a:off x="3452980" y="8569052"/>
              <a:ext cx="105586" cy="54301"/>
            </a:xfrm>
            <a:custGeom>
              <a:avLst/>
              <a:gdLst>
                <a:gd name="connsiteX0" fmla="*/ 0 w 105586"/>
                <a:gd name="connsiteY0" fmla="*/ 0 h 54301"/>
                <a:gd name="connsiteX1" fmla="*/ 105587 w 105586"/>
                <a:gd name="connsiteY1" fmla="*/ 0 h 54301"/>
                <a:gd name="connsiteX2" fmla="*/ 54302 w 105586"/>
                <a:gd name="connsiteY2" fmla="*/ 54302 h 54301"/>
                <a:gd name="connsiteX3" fmla="*/ 0 w 105586"/>
                <a:gd name="connsiteY3" fmla="*/ 0 h 5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586" h="54301">
                  <a:moveTo>
                    <a:pt x="0" y="0"/>
                  </a:moveTo>
                  <a:cubicBezTo>
                    <a:pt x="54302" y="24134"/>
                    <a:pt x="105587" y="0"/>
                    <a:pt x="105587" y="0"/>
                  </a:cubicBezTo>
                  <a:cubicBezTo>
                    <a:pt x="105587" y="0"/>
                    <a:pt x="90503" y="54302"/>
                    <a:pt x="54302" y="54302"/>
                  </a:cubicBezTo>
                  <a:cubicBezTo>
                    <a:pt x="12067" y="51285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14E936B7-2885-41B1-8CC1-186FD25D9F63}"/>
                </a:ext>
              </a:extLst>
            </p:cNvPr>
            <p:cNvSpPr/>
            <p:nvPr/>
          </p:nvSpPr>
          <p:spPr>
            <a:xfrm>
              <a:off x="3570634" y="8360127"/>
              <a:ext cx="39986" cy="40755"/>
            </a:xfrm>
            <a:custGeom>
              <a:avLst/>
              <a:gdLst>
                <a:gd name="connsiteX0" fmla="*/ 0 w 39986"/>
                <a:gd name="connsiteY0" fmla="*/ 24903 h 40755"/>
                <a:gd name="connsiteX1" fmla="*/ 24134 w 39986"/>
                <a:gd name="connsiteY1" fmla="*/ 39987 h 40755"/>
                <a:gd name="connsiteX2" fmla="*/ 39218 w 39986"/>
                <a:gd name="connsiteY2" fmla="*/ 15853 h 40755"/>
                <a:gd name="connsiteX3" fmla="*/ 15084 w 39986"/>
                <a:gd name="connsiteY3" fmla="*/ 769 h 40755"/>
                <a:gd name="connsiteX4" fmla="*/ 0 w 39986"/>
                <a:gd name="connsiteY4" fmla="*/ 24903 h 4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86" h="40755">
                  <a:moveTo>
                    <a:pt x="0" y="24903"/>
                  </a:moveTo>
                  <a:cubicBezTo>
                    <a:pt x="3017" y="36970"/>
                    <a:pt x="12067" y="43003"/>
                    <a:pt x="24134" y="39987"/>
                  </a:cubicBezTo>
                  <a:cubicBezTo>
                    <a:pt x="36201" y="36970"/>
                    <a:pt x="42235" y="27919"/>
                    <a:pt x="39218" y="15853"/>
                  </a:cubicBezTo>
                  <a:cubicBezTo>
                    <a:pt x="36201" y="3786"/>
                    <a:pt x="27151" y="-2248"/>
                    <a:pt x="15084" y="769"/>
                  </a:cubicBezTo>
                  <a:cubicBezTo>
                    <a:pt x="6033" y="3786"/>
                    <a:pt x="0" y="15853"/>
                    <a:pt x="0" y="24903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726156B4-8AF3-4AE4-94F0-7AEAC788FF3D}"/>
                </a:ext>
              </a:extLst>
            </p:cNvPr>
            <p:cNvSpPr/>
            <p:nvPr/>
          </p:nvSpPr>
          <p:spPr>
            <a:xfrm>
              <a:off x="3382826" y="8366161"/>
              <a:ext cx="40755" cy="40578"/>
            </a:xfrm>
            <a:custGeom>
              <a:avLst/>
              <a:gdLst>
                <a:gd name="connsiteX0" fmla="*/ 769 w 40755"/>
                <a:gd name="connsiteY0" fmla="*/ 24903 h 40578"/>
                <a:gd name="connsiteX1" fmla="*/ 24903 w 40755"/>
                <a:gd name="connsiteY1" fmla="*/ 39987 h 40578"/>
                <a:gd name="connsiteX2" fmla="*/ 39987 w 40755"/>
                <a:gd name="connsiteY2" fmla="*/ 15852 h 40578"/>
                <a:gd name="connsiteX3" fmla="*/ 15853 w 40755"/>
                <a:gd name="connsiteY3" fmla="*/ 769 h 40578"/>
                <a:gd name="connsiteX4" fmla="*/ 769 w 40755"/>
                <a:gd name="connsiteY4" fmla="*/ 24903 h 40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55" h="40578">
                  <a:moveTo>
                    <a:pt x="769" y="24903"/>
                  </a:moveTo>
                  <a:cubicBezTo>
                    <a:pt x="3785" y="33953"/>
                    <a:pt x="12836" y="43004"/>
                    <a:pt x="24903" y="39987"/>
                  </a:cubicBezTo>
                  <a:cubicBezTo>
                    <a:pt x="36970" y="36970"/>
                    <a:pt x="43003" y="27920"/>
                    <a:pt x="39987" y="15852"/>
                  </a:cubicBezTo>
                  <a:cubicBezTo>
                    <a:pt x="36970" y="3786"/>
                    <a:pt x="27920" y="-2248"/>
                    <a:pt x="15853" y="769"/>
                  </a:cubicBezTo>
                  <a:cubicBezTo>
                    <a:pt x="3785" y="3786"/>
                    <a:pt x="-2248" y="15852"/>
                    <a:pt x="769" y="24903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2893C728-745F-469B-925C-8DC683320C6A}"/>
                </a:ext>
              </a:extLst>
            </p:cNvPr>
            <p:cNvSpPr/>
            <p:nvPr/>
          </p:nvSpPr>
          <p:spPr>
            <a:xfrm>
              <a:off x="3545250" y="8315645"/>
              <a:ext cx="90998" cy="30167"/>
            </a:xfrm>
            <a:custGeom>
              <a:avLst/>
              <a:gdLst>
                <a:gd name="connsiteX0" fmla="*/ 82702 w 90998"/>
                <a:gd name="connsiteY0" fmla="*/ 30168 h 30167"/>
                <a:gd name="connsiteX1" fmla="*/ 76669 w 90998"/>
                <a:gd name="connsiteY1" fmla="*/ 27151 h 30167"/>
                <a:gd name="connsiteX2" fmla="*/ 10300 w 90998"/>
                <a:gd name="connsiteY2" fmla="*/ 21117 h 30167"/>
                <a:gd name="connsiteX3" fmla="*/ 1250 w 90998"/>
                <a:gd name="connsiteY3" fmla="*/ 18101 h 30167"/>
                <a:gd name="connsiteX4" fmla="*/ 4266 w 90998"/>
                <a:gd name="connsiteY4" fmla="*/ 9050 h 30167"/>
                <a:gd name="connsiteX5" fmla="*/ 88736 w 90998"/>
                <a:gd name="connsiteY5" fmla="*/ 18101 h 30167"/>
                <a:gd name="connsiteX6" fmla="*/ 88736 w 90998"/>
                <a:gd name="connsiteY6" fmla="*/ 30168 h 30167"/>
                <a:gd name="connsiteX7" fmla="*/ 82702 w 90998"/>
                <a:gd name="connsiteY7" fmla="*/ 30168 h 30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0167">
                  <a:moveTo>
                    <a:pt x="82702" y="30168"/>
                  </a:moveTo>
                  <a:cubicBezTo>
                    <a:pt x="79685" y="30168"/>
                    <a:pt x="79685" y="30168"/>
                    <a:pt x="76669" y="27151"/>
                  </a:cubicBezTo>
                  <a:cubicBezTo>
                    <a:pt x="52535" y="0"/>
                    <a:pt x="13317" y="18101"/>
                    <a:pt x="10300" y="21117"/>
                  </a:cubicBezTo>
                  <a:cubicBezTo>
                    <a:pt x="7283" y="24134"/>
                    <a:pt x="1250" y="21117"/>
                    <a:pt x="1250" y="18101"/>
                  </a:cubicBezTo>
                  <a:cubicBezTo>
                    <a:pt x="-1767" y="15084"/>
                    <a:pt x="1250" y="9050"/>
                    <a:pt x="4266" y="9050"/>
                  </a:cubicBezTo>
                  <a:cubicBezTo>
                    <a:pt x="22367" y="0"/>
                    <a:pt x="61585" y="-9050"/>
                    <a:pt x="88736" y="18101"/>
                  </a:cubicBezTo>
                  <a:cubicBezTo>
                    <a:pt x="91752" y="21117"/>
                    <a:pt x="91752" y="27151"/>
                    <a:pt x="88736" y="30168"/>
                  </a:cubicBezTo>
                  <a:cubicBezTo>
                    <a:pt x="85719" y="30168"/>
                    <a:pt x="85719" y="30168"/>
                    <a:pt x="82702" y="30168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9002F684-515D-4FE4-B91E-4161449624BC}"/>
                </a:ext>
              </a:extLst>
            </p:cNvPr>
            <p:cNvSpPr/>
            <p:nvPr/>
          </p:nvSpPr>
          <p:spPr>
            <a:xfrm>
              <a:off x="3357198" y="8312935"/>
              <a:ext cx="90998" cy="35894"/>
            </a:xfrm>
            <a:custGeom>
              <a:avLst/>
              <a:gdLst>
                <a:gd name="connsiteX0" fmla="*/ 8296 w 90998"/>
                <a:gd name="connsiteY0" fmla="*/ 35894 h 35894"/>
                <a:gd name="connsiteX1" fmla="*/ 2263 w 90998"/>
                <a:gd name="connsiteY1" fmla="*/ 32877 h 35894"/>
                <a:gd name="connsiteX2" fmla="*/ 2263 w 90998"/>
                <a:gd name="connsiteY2" fmla="*/ 20810 h 35894"/>
                <a:gd name="connsiteX3" fmla="*/ 86732 w 90998"/>
                <a:gd name="connsiteY3" fmla="*/ 11760 h 35894"/>
                <a:gd name="connsiteX4" fmla="*/ 89749 w 90998"/>
                <a:gd name="connsiteY4" fmla="*/ 23827 h 35894"/>
                <a:gd name="connsiteX5" fmla="*/ 77682 w 90998"/>
                <a:gd name="connsiteY5" fmla="*/ 26844 h 35894"/>
                <a:gd name="connsiteX6" fmla="*/ 11313 w 90998"/>
                <a:gd name="connsiteY6" fmla="*/ 32877 h 35894"/>
                <a:gd name="connsiteX7" fmla="*/ 8296 w 90998"/>
                <a:gd name="connsiteY7" fmla="*/ 35894 h 3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5894">
                  <a:moveTo>
                    <a:pt x="8296" y="35894"/>
                  </a:moveTo>
                  <a:cubicBezTo>
                    <a:pt x="5279" y="35894"/>
                    <a:pt x="5279" y="35894"/>
                    <a:pt x="2263" y="32877"/>
                  </a:cubicBezTo>
                  <a:cubicBezTo>
                    <a:pt x="-754" y="29860"/>
                    <a:pt x="-754" y="23827"/>
                    <a:pt x="2263" y="20810"/>
                  </a:cubicBezTo>
                  <a:cubicBezTo>
                    <a:pt x="14330" y="5727"/>
                    <a:pt x="50531" y="-12374"/>
                    <a:pt x="86732" y="11760"/>
                  </a:cubicBezTo>
                  <a:cubicBezTo>
                    <a:pt x="89749" y="14777"/>
                    <a:pt x="92765" y="17794"/>
                    <a:pt x="89749" y="23827"/>
                  </a:cubicBezTo>
                  <a:cubicBezTo>
                    <a:pt x="86732" y="26844"/>
                    <a:pt x="83715" y="29860"/>
                    <a:pt x="77682" y="26844"/>
                  </a:cubicBezTo>
                  <a:cubicBezTo>
                    <a:pt x="41480" y="2710"/>
                    <a:pt x="14330" y="32877"/>
                    <a:pt x="11313" y="32877"/>
                  </a:cubicBezTo>
                  <a:cubicBezTo>
                    <a:pt x="11313" y="32877"/>
                    <a:pt x="11313" y="35894"/>
                    <a:pt x="8296" y="35894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80173243-9BAB-4424-80F3-32004A899C08}"/>
                </a:ext>
              </a:extLst>
            </p:cNvPr>
            <p:cNvSpPr/>
            <p:nvPr/>
          </p:nvSpPr>
          <p:spPr>
            <a:xfrm>
              <a:off x="3420744" y="8090158"/>
              <a:ext cx="273714" cy="255654"/>
            </a:xfrm>
            <a:custGeom>
              <a:avLst/>
              <a:gdLst>
                <a:gd name="connsiteX0" fmla="*/ 2069 w 273714"/>
                <a:gd name="connsiteY0" fmla="*/ 2247 h 255654"/>
                <a:gd name="connsiteX1" fmla="*/ 38270 w 273714"/>
                <a:gd name="connsiteY1" fmla="*/ 128951 h 255654"/>
                <a:gd name="connsiteX2" fmla="*/ 273578 w 273714"/>
                <a:gd name="connsiteY2" fmla="*/ 255655 h 255654"/>
                <a:gd name="connsiteX3" fmla="*/ 2069 w 273714"/>
                <a:gd name="connsiteY3" fmla="*/ 2247 h 25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3714" h="255654">
                  <a:moveTo>
                    <a:pt x="2069" y="2247"/>
                  </a:moveTo>
                  <a:cubicBezTo>
                    <a:pt x="2069" y="2247"/>
                    <a:pt x="-13015" y="89733"/>
                    <a:pt x="38270" y="128951"/>
                  </a:cubicBezTo>
                  <a:cubicBezTo>
                    <a:pt x="38270" y="128951"/>
                    <a:pt x="246427" y="171185"/>
                    <a:pt x="273578" y="255655"/>
                  </a:cubicBezTo>
                  <a:cubicBezTo>
                    <a:pt x="273578" y="255655"/>
                    <a:pt x="288661" y="-27921"/>
                    <a:pt x="2069" y="2247"/>
                  </a:cubicBezTo>
                  <a:close/>
                </a:path>
              </a:pathLst>
            </a:custGeom>
            <a:solidFill>
              <a:srgbClr val="F1DDBA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EC9F5840-A8B8-4A65-9616-E0E4225D4885}"/>
                </a:ext>
              </a:extLst>
            </p:cNvPr>
            <p:cNvSpPr/>
            <p:nvPr/>
          </p:nvSpPr>
          <p:spPr>
            <a:xfrm>
              <a:off x="3234097" y="8092405"/>
              <a:ext cx="221899" cy="311215"/>
            </a:xfrm>
            <a:custGeom>
              <a:avLst/>
              <a:gdLst>
                <a:gd name="connsiteX0" fmla="*/ 221900 w 221899"/>
                <a:gd name="connsiteY0" fmla="*/ 126704 h 311215"/>
                <a:gd name="connsiteX1" fmla="*/ 83129 w 221899"/>
                <a:gd name="connsiteY1" fmla="*/ 181006 h 311215"/>
                <a:gd name="connsiteX2" fmla="*/ 25811 w 221899"/>
                <a:gd name="connsiteY2" fmla="*/ 298659 h 311215"/>
                <a:gd name="connsiteX3" fmla="*/ 1677 w 221899"/>
                <a:gd name="connsiteY3" fmla="*/ 295642 h 311215"/>
                <a:gd name="connsiteX4" fmla="*/ 188716 w 221899"/>
                <a:gd name="connsiteY4" fmla="*/ 0 h 311215"/>
                <a:gd name="connsiteX5" fmla="*/ 221900 w 221899"/>
                <a:gd name="connsiteY5" fmla="*/ 126704 h 31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899" h="311215">
                  <a:moveTo>
                    <a:pt x="221900" y="126704"/>
                  </a:moveTo>
                  <a:cubicBezTo>
                    <a:pt x="221900" y="126704"/>
                    <a:pt x="131397" y="174972"/>
                    <a:pt x="83129" y="181006"/>
                  </a:cubicBezTo>
                  <a:cubicBezTo>
                    <a:pt x="31844" y="187039"/>
                    <a:pt x="25811" y="298659"/>
                    <a:pt x="25811" y="298659"/>
                  </a:cubicBezTo>
                  <a:cubicBezTo>
                    <a:pt x="25811" y="298659"/>
                    <a:pt x="4693" y="328827"/>
                    <a:pt x="1677" y="295642"/>
                  </a:cubicBezTo>
                  <a:cubicBezTo>
                    <a:pt x="-4357" y="217207"/>
                    <a:pt x="-4357" y="21117"/>
                    <a:pt x="188716" y="0"/>
                  </a:cubicBezTo>
                  <a:cubicBezTo>
                    <a:pt x="188716" y="0"/>
                    <a:pt x="200783" y="120670"/>
                    <a:pt x="221900" y="126704"/>
                  </a:cubicBezTo>
                  <a:close/>
                </a:path>
              </a:pathLst>
            </a:custGeom>
            <a:solidFill>
              <a:srgbClr val="F1DDBA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090C86AF-ABA3-4ACB-83E7-EF958E9B8FFA}"/>
                </a:ext>
              </a:extLst>
            </p:cNvPr>
            <p:cNvSpPr/>
            <p:nvPr/>
          </p:nvSpPr>
          <p:spPr>
            <a:xfrm>
              <a:off x="3311193" y="8092405"/>
              <a:ext cx="152178" cy="187039"/>
            </a:xfrm>
            <a:custGeom>
              <a:avLst/>
              <a:gdLst>
                <a:gd name="connsiteX0" fmla="*/ 6034 w 152178"/>
                <a:gd name="connsiteY0" fmla="*/ 187039 h 187039"/>
                <a:gd name="connsiteX1" fmla="*/ 0 w 152178"/>
                <a:gd name="connsiteY1" fmla="*/ 181006 h 187039"/>
                <a:gd name="connsiteX2" fmla="*/ 6034 w 152178"/>
                <a:gd name="connsiteY2" fmla="*/ 174972 h 187039"/>
                <a:gd name="connsiteX3" fmla="*/ 99553 w 152178"/>
                <a:gd name="connsiteY3" fmla="*/ 144804 h 187039"/>
                <a:gd name="connsiteX4" fmla="*/ 138771 w 152178"/>
                <a:gd name="connsiteY4" fmla="*/ 123687 h 187039"/>
                <a:gd name="connsiteX5" fmla="*/ 123687 w 152178"/>
                <a:gd name="connsiteY5" fmla="*/ 102570 h 187039"/>
                <a:gd name="connsiteX6" fmla="*/ 111620 w 152178"/>
                <a:gd name="connsiteY6" fmla="*/ 60335 h 187039"/>
                <a:gd name="connsiteX7" fmla="*/ 108603 w 152178"/>
                <a:gd name="connsiteY7" fmla="*/ 33184 h 187039"/>
                <a:gd name="connsiteX8" fmla="*/ 105587 w 152178"/>
                <a:gd name="connsiteY8" fmla="*/ 6033 h 187039"/>
                <a:gd name="connsiteX9" fmla="*/ 111620 w 152178"/>
                <a:gd name="connsiteY9" fmla="*/ 0 h 187039"/>
                <a:gd name="connsiteX10" fmla="*/ 117654 w 152178"/>
                <a:gd name="connsiteY10" fmla="*/ 6033 h 187039"/>
                <a:gd name="connsiteX11" fmla="*/ 120670 w 152178"/>
                <a:gd name="connsiteY11" fmla="*/ 33184 h 187039"/>
                <a:gd name="connsiteX12" fmla="*/ 123687 w 152178"/>
                <a:gd name="connsiteY12" fmla="*/ 60335 h 187039"/>
                <a:gd name="connsiteX13" fmla="*/ 132737 w 152178"/>
                <a:gd name="connsiteY13" fmla="*/ 99553 h 187039"/>
                <a:gd name="connsiteX14" fmla="*/ 150838 w 152178"/>
                <a:gd name="connsiteY14" fmla="*/ 123687 h 187039"/>
                <a:gd name="connsiteX15" fmla="*/ 150838 w 152178"/>
                <a:gd name="connsiteY15" fmla="*/ 129720 h 187039"/>
                <a:gd name="connsiteX16" fmla="*/ 147821 w 152178"/>
                <a:gd name="connsiteY16" fmla="*/ 132737 h 187039"/>
                <a:gd name="connsiteX17" fmla="*/ 102570 w 152178"/>
                <a:gd name="connsiteY17" fmla="*/ 156871 h 187039"/>
                <a:gd name="connsiteX18" fmla="*/ 6034 w 152178"/>
                <a:gd name="connsiteY18" fmla="*/ 187039 h 187039"/>
                <a:gd name="connsiteX19" fmla="*/ 6034 w 152178"/>
                <a:gd name="connsiteY19" fmla="*/ 187039 h 187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2178" h="187039">
                  <a:moveTo>
                    <a:pt x="6034" y="187039"/>
                  </a:moveTo>
                  <a:cubicBezTo>
                    <a:pt x="3017" y="187039"/>
                    <a:pt x="0" y="184022"/>
                    <a:pt x="0" y="181006"/>
                  </a:cubicBezTo>
                  <a:cubicBezTo>
                    <a:pt x="0" y="177989"/>
                    <a:pt x="3017" y="174972"/>
                    <a:pt x="6034" y="174972"/>
                  </a:cubicBezTo>
                  <a:cubicBezTo>
                    <a:pt x="33184" y="171955"/>
                    <a:pt x="66369" y="159888"/>
                    <a:pt x="99553" y="144804"/>
                  </a:cubicBezTo>
                  <a:cubicBezTo>
                    <a:pt x="117654" y="135754"/>
                    <a:pt x="129721" y="129720"/>
                    <a:pt x="138771" y="123687"/>
                  </a:cubicBezTo>
                  <a:cubicBezTo>
                    <a:pt x="132737" y="117653"/>
                    <a:pt x="129721" y="111620"/>
                    <a:pt x="123687" y="102570"/>
                  </a:cubicBezTo>
                  <a:cubicBezTo>
                    <a:pt x="117654" y="87486"/>
                    <a:pt x="114637" y="72402"/>
                    <a:pt x="111620" y="60335"/>
                  </a:cubicBezTo>
                  <a:cubicBezTo>
                    <a:pt x="111620" y="54301"/>
                    <a:pt x="108603" y="42234"/>
                    <a:pt x="108603" y="33184"/>
                  </a:cubicBezTo>
                  <a:cubicBezTo>
                    <a:pt x="108603" y="21117"/>
                    <a:pt x="105587" y="12067"/>
                    <a:pt x="105587" y="6033"/>
                  </a:cubicBezTo>
                  <a:cubicBezTo>
                    <a:pt x="105587" y="3016"/>
                    <a:pt x="108603" y="0"/>
                    <a:pt x="111620" y="0"/>
                  </a:cubicBezTo>
                  <a:cubicBezTo>
                    <a:pt x="114637" y="0"/>
                    <a:pt x="117654" y="3016"/>
                    <a:pt x="117654" y="6033"/>
                  </a:cubicBezTo>
                  <a:cubicBezTo>
                    <a:pt x="117654" y="12067"/>
                    <a:pt x="120670" y="24134"/>
                    <a:pt x="120670" y="33184"/>
                  </a:cubicBezTo>
                  <a:cubicBezTo>
                    <a:pt x="120670" y="45251"/>
                    <a:pt x="123687" y="54301"/>
                    <a:pt x="123687" y="60335"/>
                  </a:cubicBezTo>
                  <a:cubicBezTo>
                    <a:pt x="126704" y="75419"/>
                    <a:pt x="126704" y="87486"/>
                    <a:pt x="132737" y="99553"/>
                  </a:cubicBezTo>
                  <a:cubicBezTo>
                    <a:pt x="135754" y="108603"/>
                    <a:pt x="144804" y="114637"/>
                    <a:pt x="150838" y="123687"/>
                  </a:cubicBezTo>
                  <a:cubicBezTo>
                    <a:pt x="150838" y="123687"/>
                    <a:pt x="153855" y="126704"/>
                    <a:pt x="150838" y="129720"/>
                  </a:cubicBezTo>
                  <a:cubicBezTo>
                    <a:pt x="150838" y="132737"/>
                    <a:pt x="150838" y="132737"/>
                    <a:pt x="147821" y="132737"/>
                  </a:cubicBezTo>
                  <a:cubicBezTo>
                    <a:pt x="147821" y="132737"/>
                    <a:pt x="129721" y="144804"/>
                    <a:pt x="102570" y="156871"/>
                  </a:cubicBezTo>
                  <a:cubicBezTo>
                    <a:pt x="69386" y="171955"/>
                    <a:pt x="36201" y="181006"/>
                    <a:pt x="6034" y="187039"/>
                  </a:cubicBezTo>
                  <a:cubicBezTo>
                    <a:pt x="6034" y="187039"/>
                    <a:pt x="6034" y="187039"/>
                    <a:pt x="6034" y="187039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FB467A8F-D4D3-43AB-B67A-BC7DD33AF9E7}"/>
                </a:ext>
              </a:extLst>
            </p:cNvPr>
            <p:cNvSpPr/>
            <p:nvPr/>
          </p:nvSpPr>
          <p:spPr>
            <a:xfrm>
              <a:off x="3317226" y="8575086"/>
              <a:ext cx="304692" cy="221954"/>
            </a:xfrm>
            <a:custGeom>
              <a:avLst/>
              <a:gdLst>
                <a:gd name="connsiteX0" fmla="*/ 250391 w 304692"/>
                <a:gd name="connsiteY0" fmla="*/ 60335 h 221954"/>
                <a:gd name="connsiteX1" fmla="*/ 304693 w 304692"/>
                <a:gd name="connsiteY1" fmla="*/ 199106 h 221954"/>
                <a:gd name="connsiteX2" fmla="*/ 0 w 304692"/>
                <a:gd name="connsiteY2" fmla="*/ 184022 h 221954"/>
                <a:gd name="connsiteX3" fmla="*/ 51285 w 304692"/>
                <a:gd name="connsiteY3" fmla="*/ 0 h 221954"/>
                <a:gd name="connsiteX4" fmla="*/ 250391 w 304692"/>
                <a:gd name="connsiteY4" fmla="*/ 60335 h 22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692" h="221954">
                  <a:moveTo>
                    <a:pt x="250391" y="60335"/>
                  </a:moveTo>
                  <a:cubicBezTo>
                    <a:pt x="250391" y="60335"/>
                    <a:pt x="244358" y="168938"/>
                    <a:pt x="304693" y="199106"/>
                  </a:cubicBezTo>
                  <a:cubicBezTo>
                    <a:pt x="304693" y="199106"/>
                    <a:pt x="126704" y="259441"/>
                    <a:pt x="0" y="184022"/>
                  </a:cubicBezTo>
                  <a:cubicBezTo>
                    <a:pt x="54302" y="141788"/>
                    <a:pt x="51285" y="60335"/>
                    <a:pt x="51285" y="0"/>
                  </a:cubicBezTo>
                  <a:cubicBezTo>
                    <a:pt x="48268" y="0"/>
                    <a:pt x="196089" y="69385"/>
                    <a:pt x="250391" y="60335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8F0D61FD-CFA0-440D-A435-B5C92250B20D}"/>
                </a:ext>
              </a:extLst>
            </p:cNvPr>
            <p:cNvSpPr/>
            <p:nvPr/>
          </p:nvSpPr>
          <p:spPr>
            <a:xfrm>
              <a:off x="3356444" y="8614304"/>
              <a:ext cx="219469" cy="78435"/>
            </a:xfrm>
            <a:custGeom>
              <a:avLst/>
              <a:gdLst>
                <a:gd name="connsiteX0" fmla="*/ 147821 w 219469"/>
                <a:gd name="connsiteY0" fmla="*/ 78436 h 78435"/>
                <a:gd name="connsiteX1" fmla="*/ 138771 w 219469"/>
                <a:gd name="connsiteY1" fmla="*/ 78436 h 78435"/>
                <a:gd name="connsiteX2" fmla="*/ 3017 w 219469"/>
                <a:gd name="connsiteY2" fmla="*/ 12067 h 78435"/>
                <a:gd name="connsiteX3" fmla="*/ 0 w 219469"/>
                <a:gd name="connsiteY3" fmla="*/ 3017 h 78435"/>
                <a:gd name="connsiteX4" fmla="*/ 9050 w 219469"/>
                <a:gd name="connsiteY4" fmla="*/ 0 h 78435"/>
                <a:gd name="connsiteX5" fmla="*/ 138771 w 219469"/>
                <a:gd name="connsiteY5" fmla="*/ 66369 h 78435"/>
                <a:gd name="connsiteX6" fmla="*/ 208156 w 219469"/>
                <a:gd name="connsiteY6" fmla="*/ 42235 h 78435"/>
                <a:gd name="connsiteX7" fmla="*/ 217207 w 219469"/>
                <a:gd name="connsiteY7" fmla="*/ 42235 h 78435"/>
                <a:gd name="connsiteX8" fmla="*/ 217207 w 219469"/>
                <a:gd name="connsiteY8" fmla="*/ 51285 h 78435"/>
                <a:gd name="connsiteX9" fmla="*/ 147821 w 219469"/>
                <a:gd name="connsiteY9" fmla="*/ 78436 h 78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9469" h="78435">
                  <a:moveTo>
                    <a:pt x="147821" y="78436"/>
                  </a:moveTo>
                  <a:cubicBezTo>
                    <a:pt x="144804" y="78436"/>
                    <a:pt x="141788" y="78436"/>
                    <a:pt x="138771" y="78436"/>
                  </a:cubicBezTo>
                  <a:cubicBezTo>
                    <a:pt x="96536" y="72403"/>
                    <a:pt x="6034" y="12067"/>
                    <a:pt x="3017" y="12067"/>
                  </a:cubicBezTo>
                  <a:cubicBezTo>
                    <a:pt x="0" y="9050"/>
                    <a:pt x="0" y="6034"/>
                    <a:pt x="0" y="3017"/>
                  </a:cubicBezTo>
                  <a:cubicBezTo>
                    <a:pt x="3017" y="0"/>
                    <a:pt x="6034" y="0"/>
                    <a:pt x="9050" y="0"/>
                  </a:cubicBezTo>
                  <a:cubicBezTo>
                    <a:pt x="9050" y="0"/>
                    <a:pt x="102570" y="60335"/>
                    <a:pt x="138771" y="66369"/>
                  </a:cubicBezTo>
                  <a:cubicBezTo>
                    <a:pt x="174972" y="72403"/>
                    <a:pt x="208156" y="42235"/>
                    <a:pt x="208156" y="42235"/>
                  </a:cubicBezTo>
                  <a:cubicBezTo>
                    <a:pt x="211173" y="39218"/>
                    <a:pt x="214190" y="39218"/>
                    <a:pt x="217207" y="42235"/>
                  </a:cubicBezTo>
                  <a:cubicBezTo>
                    <a:pt x="220223" y="45251"/>
                    <a:pt x="220223" y="48268"/>
                    <a:pt x="217207" y="51285"/>
                  </a:cubicBezTo>
                  <a:cubicBezTo>
                    <a:pt x="214190" y="51285"/>
                    <a:pt x="187039" y="78436"/>
                    <a:pt x="147821" y="78436"/>
                  </a:cubicBezTo>
                  <a:close/>
                </a:path>
              </a:pathLst>
            </a:custGeom>
            <a:solidFill>
              <a:srgbClr val="E58777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4B11CC1A-5088-4898-B3F5-4B10E48DAB49}"/>
                </a:ext>
              </a:extLst>
            </p:cNvPr>
            <p:cNvSpPr/>
            <p:nvPr/>
          </p:nvSpPr>
          <p:spPr>
            <a:xfrm>
              <a:off x="3798658" y="8848362"/>
              <a:ext cx="102373" cy="553316"/>
            </a:xfrm>
            <a:custGeom>
              <a:avLst/>
              <a:gdLst>
                <a:gd name="connsiteX0" fmla="*/ 46501 w 102373"/>
                <a:gd name="connsiteY0" fmla="*/ 553317 h 553316"/>
                <a:gd name="connsiteX1" fmla="*/ 46501 w 102373"/>
                <a:gd name="connsiteY1" fmla="*/ 553317 h 553316"/>
                <a:gd name="connsiteX2" fmla="*/ 40467 w 102373"/>
                <a:gd name="connsiteY2" fmla="*/ 547283 h 553316"/>
                <a:gd name="connsiteX3" fmla="*/ 55551 w 102373"/>
                <a:gd name="connsiteY3" fmla="*/ 492981 h 553316"/>
                <a:gd name="connsiteX4" fmla="*/ 88736 w 102373"/>
                <a:gd name="connsiteY4" fmla="*/ 345160 h 553316"/>
                <a:gd name="connsiteX5" fmla="*/ 1250 w 102373"/>
                <a:gd name="connsiteY5" fmla="*/ 10300 h 553316"/>
                <a:gd name="connsiteX6" fmla="*/ 4266 w 102373"/>
                <a:gd name="connsiteY6" fmla="*/ 1249 h 553316"/>
                <a:gd name="connsiteX7" fmla="*/ 13317 w 102373"/>
                <a:gd name="connsiteY7" fmla="*/ 4266 h 553316"/>
                <a:gd name="connsiteX8" fmla="*/ 100803 w 102373"/>
                <a:gd name="connsiteY8" fmla="*/ 345160 h 553316"/>
                <a:gd name="connsiteX9" fmla="*/ 67618 w 102373"/>
                <a:gd name="connsiteY9" fmla="*/ 492981 h 553316"/>
                <a:gd name="connsiteX10" fmla="*/ 52535 w 102373"/>
                <a:gd name="connsiteY10" fmla="*/ 547283 h 553316"/>
                <a:gd name="connsiteX11" fmla="*/ 46501 w 102373"/>
                <a:gd name="connsiteY11" fmla="*/ 553317 h 553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373" h="553316">
                  <a:moveTo>
                    <a:pt x="46501" y="553317"/>
                  </a:moveTo>
                  <a:cubicBezTo>
                    <a:pt x="46501" y="553317"/>
                    <a:pt x="46501" y="553317"/>
                    <a:pt x="46501" y="553317"/>
                  </a:cubicBezTo>
                  <a:cubicBezTo>
                    <a:pt x="43484" y="553317"/>
                    <a:pt x="40467" y="550300"/>
                    <a:pt x="40467" y="547283"/>
                  </a:cubicBezTo>
                  <a:cubicBezTo>
                    <a:pt x="46501" y="529182"/>
                    <a:pt x="49518" y="511082"/>
                    <a:pt x="55551" y="492981"/>
                  </a:cubicBezTo>
                  <a:cubicBezTo>
                    <a:pt x="70635" y="441697"/>
                    <a:pt x="85719" y="390412"/>
                    <a:pt x="88736" y="345160"/>
                  </a:cubicBezTo>
                  <a:cubicBezTo>
                    <a:pt x="94769" y="224490"/>
                    <a:pt x="67618" y="112869"/>
                    <a:pt x="1250" y="10300"/>
                  </a:cubicBezTo>
                  <a:cubicBezTo>
                    <a:pt x="-1767" y="7283"/>
                    <a:pt x="1250" y="4266"/>
                    <a:pt x="4266" y="1249"/>
                  </a:cubicBezTo>
                  <a:cubicBezTo>
                    <a:pt x="7283" y="-1767"/>
                    <a:pt x="10300" y="1249"/>
                    <a:pt x="13317" y="4266"/>
                  </a:cubicBezTo>
                  <a:cubicBezTo>
                    <a:pt x="79685" y="109853"/>
                    <a:pt x="109853" y="224490"/>
                    <a:pt x="100803" y="345160"/>
                  </a:cubicBezTo>
                  <a:cubicBezTo>
                    <a:pt x="97786" y="390412"/>
                    <a:pt x="82702" y="444713"/>
                    <a:pt x="67618" y="492981"/>
                  </a:cubicBezTo>
                  <a:cubicBezTo>
                    <a:pt x="61585" y="511082"/>
                    <a:pt x="55551" y="529182"/>
                    <a:pt x="52535" y="547283"/>
                  </a:cubicBezTo>
                  <a:cubicBezTo>
                    <a:pt x="52535" y="553317"/>
                    <a:pt x="49518" y="553317"/>
                    <a:pt x="46501" y="553317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8981D285-80EC-4BBF-B82C-8841CCB0AAE0}"/>
                </a:ext>
              </a:extLst>
            </p:cNvPr>
            <p:cNvSpPr/>
            <p:nvPr/>
          </p:nvSpPr>
          <p:spPr>
            <a:xfrm>
              <a:off x="3383595" y="9287233"/>
              <a:ext cx="395195" cy="36008"/>
            </a:xfrm>
            <a:custGeom>
              <a:avLst/>
              <a:gdLst>
                <a:gd name="connsiteX0" fmla="*/ 392179 w 395195"/>
                <a:gd name="connsiteY0" fmla="*/ 36009 h 36008"/>
                <a:gd name="connsiteX1" fmla="*/ 392179 w 395195"/>
                <a:gd name="connsiteY1" fmla="*/ 36009 h 36008"/>
                <a:gd name="connsiteX2" fmla="*/ 6033 w 395195"/>
                <a:gd name="connsiteY2" fmla="*/ 23942 h 36008"/>
                <a:gd name="connsiteX3" fmla="*/ 0 w 395195"/>
                <a:gd name="connsiteY3" fmla="*/ 20925 h 36008"/>
                <a:gd name="connsiteX4" fmla="*/ 3017 w 395195"/>
                <a:gd name="connsiteY4" fmla="*/ 14892 h 36008"/>
                <a:gd name="connsiteX5" fmla="*/ 392179 w 395195"/>
                <a:gd name="connsiteY5" fmla="*/ 26959 h 36008"/>
                <a:gd name="connsiteX6" fmla="*/ 395196 w 395195"/>
                <a:gd name="connsiteY6" fmla="*/ 32992 h 36008"/>
                <a:gd name="connsiteX7" fmla="*/ 392179 w 395195"/>
                <a:gd name="connsiteY7" fmla="*/ 36009 h 36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5195" h="36008">
                  <a:moveTo>
                    <a:pt x="392179" y="36009"/>
                  </a:moveTo>
                  <a:cubicBezTo>
                    <a:pt x="392179" y="36009"/>
                    <a:pt x="389162" y="36009"/>
                    <a:pt x="392179" y="36009"/>
                  </a:cubicBezTo>
                  <a:cubicBezTo>
                    <a:pt x="307710" y="5841"/>
                    <a:pt x="105587" y="-192"/>
                    <a:pt x="6033" y="23942"/>
                  </a:cubicBezTo>
                  <a:cubicBezTo>
                    <a:pt x="3017" y="23942"/>
                    <a:pt x="0" y="23942"/>
                    <a:pt x="0" y="20925"/>
                  </a:cubicBezTo>
                  <a:cubicBezTo>
                    <a:pt x="0" y="17909"/>
                    <a:pt x="0" y="14892"/>
                    <a:pt x="3017" y="14892"/>
                  </a:cubicBezTo>
                  <a:cubicBezTo>
                    <a:pt x="102570" y="-9242"/>
                    <a:pt x="307710" y="-3209"/>
                    <a:pt x="392179" y="26959"/>
                  </a:cubicBezTo>
                  <a:cubicBezTo>
                    <a:pt x="395196" y="26959"/>
                    <a:pt x="395196" y="29976"/>
                    <a:pt x="395196" y="32992"/>
                  </a:cubicBezTo>
                  <a:cubicBezTo>
                    <a:pt x="395196" y="36009"/>
                    <a:pt x="395196" y="36009"/>
                    <a:pt x="392179" y="36009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95E1A58A-EBBE-49A9-A2E3-E0E4CFE604F5}"/>
                </a:ext>
              </a:extLst>
            </p:cNvPr>
            <p:cNvSpPr/>
            <p:nvPr/>
          </p:nvSpPr>
          <p:spPr>
            <a:xfrm>
              <a:off x="3226723" y="8457432"/>
              <a:ext cx="162905" cy="276727"/>
            </a:xfrm>
            <a:custGeom>
              <a:avLst/>
              <a:gdLst>
                <a:gd name="connsiteX0" fmla="*/ 48268 w 162905"/>
                <a:gd name="connsiteY0" fmla="*/ 30168 h 276727"/>
                <a:gd name="connsiteX1" fmla="*/ 162905 w 162905"/>
                <a:gd name="connsiteY1" fmla="*/ 271508 h 276727"/>
                <a:gd name="connsiteX2" fmla="*/ 0 w 162905"/>
                <a:gd name="connsiteY2" fmla="*/ 265475 h 276727"/>
                <a:gd name="connsiteX3" fmla="*/ 6034 w 162905"/>
                <a:gd name="connsiteY3" fmla="*/ 0 h 276727"/>
                <a:gd name="connsiteX4" fmla="*/ 48268 w 162905"/>
                <a:gd name="connsiteY4" fmla="*/ 30168 h 27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905" h="276727">
                  <a:moveTo>
                    <a:pt x="48268" y="30168"/>
                  </a:moveTo>
                  <a:cubicBezTo>
                    <a:pt x="48268" y="30168"/>
                    <a:pt x="81453" y="220224"/>
                    <a:pt x="162905" y="271508"/>
                  </a:cubicBezTo>
                  <a:cubicBezTo>
                    <a:pt x="162905" y="271508"/>
                    <a:pt x="57318" y="286592"/>
                    <a:pt x="0" y="265475"/>
                  </a:cubicBezTo>
                  <a:lnTo>
                    <a:pt x="6034" y="0"/>
                  </a:lnTo>
                  <a:lnTo>
                    <a:pt x="48268" y="30168"/>
                  </a:lnTo>
                  <a:close/>
                </a:path>
              </a:pathLst>
            </a:custGeom>
            <a:solidFill>
              <a:srgbClr val="F1DDBA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9D3BD9A6-F3F9-42D5-8E47-6ACD9569185F}"/>
                </a:ext>
              </a:extLst>
            </p:cNvPr>
            <p:cNvSpPr/>
            <p:nvPr/>
          </p:nvSpPr>
          <p:spPr>
            <a:xfrm>
              <a:off x="3219341" y="8377528"/>
              <a:ext cx="76767" cy="112851"/>
            </a:xfrm>
            <a:custGeom>
              <a:avLst/>
              <a:gdLst>
                <a:gd name="connsiteX0" fmla="*/ 64701 w 76767"/>
                <a:gd name="connsiteY0" fmla="*/ 16553 h 112851"/>
                <a:gd name="connsiteX1" fmla="*/ 7382 w 76767"/>
                <a:gd name="connsiteY1" fmla="*/ 7503 h 112851"/>
                <a:gd name="connsiteX2" fmla="*/ 64701 w 76767"/>
                <a:gd name="connsiteY2" fmla="*/ 110072 h 112851"/>
                <a:gd name="connsiteX3" fmla="*/ 64701 w 76767"/>
                <a:gd name="connsiteY3" fmla="*/ 16553 h 112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767" h="112851">
                  <a:moveTo>
                    <a:pt x="64701" y="16553"/>
                  </a:moveTo>
                  <a:cubicBezTo>
                    <a:pt x="64701" y="16553"/>
                    <a:pt x="31516" y="-13615"/>
                    <a:pt x="7382" y="7503"/>
                  </a:cubicBezTo>
                  <a:cubicBezTo>
                    <a:pt x="-16752" y="25603"/>
                    <a:pt x="22466" y="131189"/>
                    <a:pt x="64701" y="110072"/>
                  </a:cubicBezTo>
                  <a:cubicBezTo>
                    <a:pt x="91852" y="88955"/>
                    <a:pt x="64701" y="16553"/>
                    <a:pt x="64701" y="16553"/>
                  </a:cubicBezTo>
                  <a:close/>
                </a:path>
              </a:pathLst>
            </a:custGeom>
            <a:solidFill>
              <a:srgbClr val="F5A39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51B75F33-466D-403C-B4CD-311A265DFA67}"/>
                </a:ext>
              </a:extLst>
            </p:cNvPr>
            <p:cNvSpPr/>
            <p:nvPr/>
          </p:nvSpPr>
          <p:spPr>
            <a:xfrm>
              <a:off x="3581451" y="8254060"/>
              <a:ext cx="146054" cy="164154"/>
            </a:xfrm>
            <a:custGeom>
              <a:avLst/>
              <a:gdLst>
                <a:gd name="connsiteX0" fmla="*/ 140021 w 146054"/>
                <a:gd name="connsiteY0" fmla="*/ 164155 h 164154"/>
                <a:gd name="connsiteX1" fmla="*/ 133987 w 146054"/>
                <a:gd name="connsiteY1" fmla="*/ 158121 h 164154"/>
                <a:gd name="connsiteX2" fmla="*/ 4266 w 146054"/>
                <a:gd name="connsiteY2" fmla="*/ 10300 h 164154"/>
                <a:gd name="connsiteX3" fmla="*/ 1250 w 146054"/>
                <a:gd name="connsiteY3" fmla="*/ 4267 h 164154"/>
                <a:gd name="connsiteX4" fmla="*/ 7283 w 146054"/>
                <a:gd name="connsiteY4" fmla="*/ 1250 h 164154"/>
                <a:gd name="connsiteX5" fmla="*/ 146054 w 146054"/>
                <a:gd name="connsiteY5" fmla="*/ 158121 h 164154"/>
                <a:gd name="connsiteX6" fmla="*/ 140021 w 146054"/>
                <a:gd name="connsiteY6" fmla="*/ 164155 h 164154"/>
                <a:gd name="connsiteX7" fmla="*/ 140021 w 146054"/>
                <a:gd name="connsiteY7" fmla="*/ 164155 h 164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054" h="164154">
                  <a:moveTo>
                    <a:pt x="140021" y="164155"/>
                  </a:moveTo>
                  <a:cubicBezTo>
                    <a:pt x="137004" y="164155"/>
                    <a:pt x="133987" y="161138"/>
                    <a:pt x="133987" y="158121"/>
                  </a:cubicBezTo>
                  <a:cubicBezTo>
                    <a:pt x="109853" y="37451"/>
                    <a:pt x="4266" y="10300"/>
                    <a:pt x="4266" y="10300"/>
                  </a:cubicBezTo>
                  <a:cubicBezTo>
                    <a:pt x="1250" y="10300"/>
                    <a:pt x="-1767" y="7283"/>
                    <a:pt x="1250" y="4267"/>
                  </a:cubicBezTo>
                  <a:cubicBezTo>
                    <a:pt x="1250" y="1250"/>
                    <a:pt x="4266" y="-1767"/>
                    <a:pt x="7283" y="1250"/>
                  </a:cubicBezTo>
                  <a:cubicBezTo>
                    <a:pt x="7283" y="1250"/>
                    <a:pt x="121920" y="31417"/>
                    <a:pt x="146054" y="158121"/>
                  </a:cubicBezTo>
                  <a:cubicBezTo>
                    <a:pt x="146054" y="161138"/>
                    <a:pt x="143037" y="164155"/>
                    <a:pt x="140021" y="164155"/>
                  </a:cubicBezTo>
                  <a:cubicBezTo>
                    <a:pt x="140021" y="164155"/>
                    <a:pt x="140021" y="164155"/>
                    <a:pt x="140021" y="164155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EF5F3702-AAF8-4574-B418-5EA93F5BB70F}"/>
                </a:ext>
              </a:extLst>
            </p:cNvPr>
            <p:cNvSpPr/>
            <p:nvPr/>
          </p:nvSpPr>
          <p:spPr>
            <a:xfrm>
              <a:off x="3751640" y="8463466"/>
              <a:ext cx="89748" cy="177989"/>
            </a:xfrm>
            <a:custGeom>
              <a:avLst/>
              <a:gdLst>
                <a:gd name="connsiteX0" fmla="*/ 84469 w 89748"/>
                <a:gd name="connsiteY0" fmla="*/ 177989 h 177989"/>
                <a:gd name="connsiteX1" fmla="*/ 81452 w 89748"/>
                <a:gd name="connsiteY1" fmla="*/ 174972 h 177989"/>
                <a:gd name="connsiteX2" fmla="*/ 0 w 89748"/>
                <a:gd name="connsiteY2" fmla="*/ 6034 h 177989"/>
                <a:gd name="connsiteX3" fmla="*/ 3017 w 89748"/>
                <a:gd name="connsiteY3" fmla="*/ 0 h 177989"/>
                <a:gd name="connsiteX4" fmla="*/ 9050 w 89748"/>
                <a:gd name="connsiteY4" fmla="*/ 3017 h 177989"/>
                <a:gd name="connsiteX5" fmla="*/ 87486 w 89748"/>
                <a:gd name="connsiteY5" fmla="*/ 165922 h 177989"/>
                <a:gd name="connsiteX6" fmla="*/ 87486 w 89748"/>
                <a:gd name="connsiteY6" fmla="*/ 174972 h 177989"/>
                <a:gd name="connsiteX7" fmla="*/ 84469 w 89748"/>
                <a:gd name="connsiteY7" fmla="*/ 177989 h 177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8" h="177989">
                  <a:moveTo>
                    <a:pt x="84469" y="177989"/>
                  </a:moveTo>
                  <a:cubicBezTo>
                    <a:pt x="84469" y="177989"/>
                    <a:pt x="81452" y="177989"/>
                    <a:pt x="81452" y="174972"/>
                  </a:cubicBezTo>
                  <a:cubicBezTo>
                    <a:pt x="27151" y="120670"/>
                    <a:pt x="0" y="9050"/>
                    <a:pt x="0" y="6034"/>
                  </a:cubicBezTo>
                  <a:cubicBezTo>
                    <a:pt x="0" y="3017"/>
                    <a:pt x="0" y="0"/>
                    <a:pt x="3017" y="0"/>
                  </a:cubicBezTo>
                  <a:cubicBezTo>
                    <a:pt x="6033" y="0"/>
                    <a:pt x="9050" y="0"/>
                    <a:pt x="9050" y="3017"/>
                  </a:cubicBezTo>
                  <a:cubicBezTo>
                    <a:pt x="9050" y="3017"/>
                    <a:pt x="33184" y="114637"/>
                    <a:pt x="87486" y="165922"/>
                  </a:cubicBezTo>
                  <a:cubicBezTo>
                    <a:pt x="90503" y="168939"/>
                    <a:pt x="90503" y="171956"/>
                    <a:pt x="87486" y="174972"/>
                  </a:cubicBezTo>
                  <a:cubicBezTo>
                    <a:pt x="87486" y="177989"/>
                    <a:pt x="84469" y="177989"/>
                    <a:pt x="84469" y="177989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E91177AE-6322-489C-91FB-4B81AC986F53}"/>
                </a:ext>
              </a:extLst>
            </p:cNvPr>
            <p:cNvSpPr/>
            <p:nvPr/>
          </p:nvSpPr>
          <p:spPr>
            <a:xfrm>
              <a:off x="3721472" y="8541902"/>
              <a:ext cx="74664" cy="123687"/>
            </a:xfrm>
            <a:custGeom>
              <a:avLst/>
              <a:gdLst>
                <a:gd name="connsiteX0" fmla="*/ 69385 w 74664"/>
                <a:gd name="connsiteY0" fmla="*/ 120670 h 123687"/>
                <a:gd name="connsiteX1" fmla="*/ 66369 w 74664"/>
                <a:gd name="connsiteY1" fmla="*/ 120670 h 123687"/>
                <a:gd name="connsiteX2" fmla="*/ 0 w 74664"/>
                <a:gd name="connsiteY2" fmla="*/ 6033 h 123687"/>
                <a:gd name="connsiteX3" fmla="*/ 3017 w 74664"/>
                <a:gd name="connsiteY3" fmla="*/ 0 h 123687"/>
                <a:gd name="connsiteX4" fmla="*/ 9050 w 74664"/>
                <a:gd name="connsiteY4" fmla="*/ 3017 h 123687"/>
                <a:gd name="connsiteX5" fmla="*/ 72402 w 74664"/>
                <a:gd name="connsiteY5" fmla="*/ 114637 h 123687"/>
                <a:gd name="connsiteX6" fmla="*/ 72402 w 74664"/>
                <a:gd name="connsiteY6" fmla="*/ 123687 h 123687"/>
                <a:gd name="connsiteX7" fmla="*/ 69385 w 74664"/>
                <a:gd name="connsiteY7" fmla="*/ 120670 h 12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64" h="123687">
                  <a:moveTo>
                    <a:pt x="69385" y="120670"/>
                  </a:moveTo>
                  <a:cubicBezTo>
                    <a:pt x="69385" y="120670"/>
                    <a:pt x="66369" y="120670"/>
                    <a:pt x="66369" y="120670"/>
                  </a:cubicBezTo>
                  <a:cubicBezTo>
                    <a:pt x="30168" y="93520"/>
                    <a:pt x="0" y="9050"/>
                    <a:pt x="0" y="6033"/>
                  </a:cubicBezTo>
                  <a:cubicBezTo>
                    <a:pt x="0" y="3017"/>
                    <a:pt x="0" y="0"/>
                    <a:pt x="3017" y="0"/>
                  </a:cubicBezTo>
                  <a:cubicBezTo>
                    <a:pt x="6033" y="0"/>
                    <a:pt x="9050" y="0"/>
                    <a:pt x="9050" y="3017"/>
                  </a:cubicBezTo>
                  <a:cubicBezTo>
                    <a:pt x="9050" y="3017"/>
                    <a:pt x="39218" y="87486"/>
                    <a:pt x="72402" y="114637"/>
                  </a:cubicBezTo>
                  <a:cubicBezTo>
                    <a:pt x="75419" y="117653"/>
                    <a:pt x="75419" y="120670"/>
                    <a:pt x="72402" y="123687"/>
                  </a:cubicBezTo>
                  <a:cubicBezTo>
                    <a:pt x="72402" y="120670"/>
                    <a:pt x="72402" y="120670"/>
                    <a:pt x="69385" y="120670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E1D05253-884C-4654-9314-882780F2E41B}"/>
                </a:ext>
              </a:extLst>
            </p:cNvPr>
            <p:cNvSpPr/>
            <p:nvPr/>
          </p:nvSpPr>
          <p:spPr>
            <a:xfrm>
              <a:off x="3278008" y="8478549"/>
              <a:ext cx="119916" cy="256424"/>
            </a:xfrm>
            <a:custGeom>
              <a:avLst/>
              <a:gdLst>
                <a:gd name="connsiteX0" fmla="*/ 111620 w 119916"/>
                <a:gd name="connsiteY0" fmla="*/ 256425 h 256424"/>
                <a:gd name="connsiteX1" fmla="*/ 108603 w 119916"/>
                <a:gd name="connsiteY1" fmla="*/ 253408 h 256424"/>
                <a:gd name="connsiteX2" fmla="*/ 0 w 119916"/>
                <a:gd name="connsiteY2" fmla="*/ 6034 h 256424"/>
                <a:gd name="connsiteX3" fmla="*/ 6033 w 119916"/>
                <a:gd name="connsiteY3" fmla="*/ 0 h 256424"/>
                <a:gd name="connsiteX4" fmla="*/ 12067 w 119916"/>
                <a:gd name="connsiteY4" fmla="*/ 6034 h 256424"/>
                <a:gd name="connsiteX5" fmla="*/ 117654 w 119916"/>
                <a:gd name="connsiteY5" fmla="*/ 247375 h 256424"/>
                <a:gd name="connsiteX6" fmla="*/ 117654 w 119916"/>
                <a:gd name="connsiteY6" fmla="*/ 256425 h 256424"/>
                <a:gd name="connsiteX7" fmla="*/ 111620 w 119916"/>
                <a:gd name="connsiteY7" fmla="*/ 256425 h 256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916" h="256424">
                  <a:moveTo>
                    <a:pt x="111620" y="256425"/>
                  </a:moveTo>
                  <a:cubicBezTo>
                    <a:pt x="108603" y="256425"/>
                    <a:pt x="108603" y="256425"/>
                    <a:pt x="108603" y="253408"/>
                  </a:cubicBezTo>
                  <a:cubicBezTo>
                    <a:pt x="21117" y="159888"/>
                    <a:pt x="0" y="12067"/>
                    <a:pt x="0" y="6034"/>
                  </a:cubicBezTo>
                  <a:cubicBezTo>
                    <a:pt x="0" y="3017"/>
                    <a:pt x="3017" y="0"/>
                    <a:pt x="6033" y="0"/>
                  </a:cubicBezTo>
                  <a:cubicBezTo>
                    <a:pt x="9050" y="0"/>
                    <a:pt x="12067" y="3017"/>
                    <a:pt x="12067" y="6034"/>
                  </a:cubicBezTo>
                  <a:cubicBezTo>
                    <a:pt x="12067" y="6034"/>
                    <a:pt x="33184" y="156872"/>
                    <a:pt x="117654" y="247375"/>
                  </a:cubicBezTo>
                  <a:cubicBezTo>
                    <a:pt x="120670" y="250391"/>
                    <a:pt x="120670" y="253408"/>
                    <a:pt x="117654" y="256425"/>
                  </a:cubicBezTo>
                  <a:cubicBezTo>
                    <a:pt x="114637" y="256425"/>
                    <a:pt x="111620" y="256425"/>
                    <a:pt x="111620" y="256425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59AD705C-1C09-4608-95F9-77D9A42D8EF1}"/>
                </a:ext>
              </a:extLst>
            </p:cNvPr>
            <p:cNvSpPr/>
            <p:nvPr/>
          </p:nvSpPr>
          <p:spPr>
            <a:xfrm>
              <a:off x="3253874" y="8204025"/>
              <a:ext cx="111620" cy="184022"/>
            </a:xfrm>
            <a:custGeom>
              <a:avLst/>
              <a:gdLst>
                <a:gd name="connsiteX0" fmla="*/ 6034 w 111620"/>
                <a:gd name="connsiteY0" fmla="*/ 184022 h 184022"/>
                <a:gd name="connsiteX1" fmla="*/ 6034 w 111620"/>
                <a:gd name="connsiteY1" fmla="*/ 184022 h 184022"/>
                <a:gd name="connsiteX2" fmla="*/ 0 w 111620"/>
                <a:gd name="connsiteY2" fmla="*/ 177989 h 184022"/>
                <a:gd name="connsiteX3" fmla="*/ 51285 w 111620"/>
                <a:gd name="connsiteY3" fmla="*/ 66369 h 184022"/>
                <a:gd name="connsiteX4" fmla="*/ 99553 w 111620"/>
                <a:gd name="connsiteY4" fmla="*/ 3016 h 184022"/>
                <a:gd name="connsiteX5" fmla="*/ 108603 w 111620"/>
                <a:gd name="connsiteY5" fmla="*/ 0 h 184022"/>
                <a:gd name="connsiteX6" fmla="*/ 111620 w 111620"/>
                <a:gd name="connsiteY6" fmla="*/ 9050 h 184022"/>
                <a:gd name="connsiteX7" fmla="*/ 57318 w 111620"/>
                <a:gd name="connsiteY7" fmla="*/ 75419 h 184022"/>
                <a:gd name="connsiteX8" fmla="*/ 12067 w 111620"/>
                <a:gd name="connsiteY8" fmla="*/ 177989 h 184022"/>
                <a:gd name="connsiteX9" fmla="*/ 6034 w 111620"/>
                <a:gd name="connsiteY9" fmla="*/ 184022 h 184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1620" h="184022">
                  <a:moveTo>
                    <a:pt x="6034" y="184022"/>
                  </a:moveTo>
                  <a:cubicBezTo>
                    <a:pt x="6034" y="184022"/>
                    <a:pt x="6034" y="184022"/>
                    <a:pt x="6034" y="184022"/>
                  </a:cubicBezTo>
                  <a:cubicBezTo>
                    <a:pt x="3017" y="184022"/>
                    <a:pt x="0" y="181006"/>
                    <a:pt x="0" y="177989"/>
                  </a:cubicBezTo>
                  <a:cubicBezTo>
                    <a:pt x="0" y="162905"/>
                    <a:pt x="12067" y="93519"/>
                    <a:pt x="51285" y="66369"/>
                  </a:cubicBezTo>
                  <a:cubicBezTo>
                    <a:pt x="81453" y="45251"/>
                    <a:pt x="99553" y="6033"/>
                    <a:pt x="99553" y="3016"/>
                  </a:cubicBezTo>
                  <a:cubicBezTo>
                    <a:pt x="99553" y="0"/>
                    <a:pt x="105587" y="0"/>
                    <a:pt x="108603" y="0"/>
                  </a:cubicBezTo>
                  <a:cubicBezTo>
                    <a:pt x="111620" y="0"/>
                    <a:pt x="111620" y="6033"/>
                    <a:pt x="111620" y="9050"/>
                  </a:cubicBezTo>
                  <a:cubicBezTo>
                    <a:pt x="111620" y="12067"/>
                    <a:pt x="90503" y="51285"/>
                    <a:pt x="57318" y="75419"/>
                  </a:cubicBezTo>
                  <a:cubicBezTo>
                    <a:pt x="30168" y="96536"/>
                    <a:pt x="15084" y="144805"/>
                    <a:pt x="12067" y="177989"/>
                  </a:cubicBezTo>
                  <a:cubicBezTo>
                    <a:pt x="12067" y="181006"/>
                    <a:pt x="9050" y="184022"/>
                    <a:pt x="6034" y="184022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5B8D8152-392B-47FD-A9A0-A983CC05D4FC}"/>
                </a:ext>
              </a:extLst>
            </p:cNvPr>
            <p:cNvSpPr/>
            <p:nvPr/>
          </p:nvSpPr>
          <p:spPr>
            <a:xfrm>
              <a:off x="3416779" y="8109208"/>
              <a:ext cx="118903" cy="20647"/>
            </a:xfrm>
            <a:custGeom>
              <a:avLst/>
              <a:gdLst>
                <a:gd name="connsiteX0" fmla="*/ 6034 w 118903"/>
                <a:gd name="connsiteY0" fmla="*/ 19398 h 20647"/>
                <a:gd name="connsiteX1" fmla="*/ 0 w 118903"/>
                <a:gd name="connsiteY1" fmla="*/ 16381 h 20647"/>
                <a:gd name="connsiteX2" fmla="*/ 3017 w 118903"/>
                <a:gd name="connsiteY2" fmla="*/ 10348 h 20647"/>
                <a:gd name="connsiteX3" fmla="*/ 114637 w 118903"/>
                <a:gd name="connsiteY3" fmla="*/ 7331 h 20647"/>
                <a:gd name="connsiteX4" fmla="*/ 117654 w 118903"/>
                <a:gd name="connsiteY4" fmla="*/ 16381 h 20647"/>
                <a:gd name="connsiteX5" fmla="*/ 108603 w 118903"/>
                <a:gd name="connsiteY5" fmla="*/ 19398 h 20647"/>
                <a:gd name="connsiteX6" fmla="*/ 6034 w 118903"/>
                <a:gd name="connsiteY6" fmla="*/ 19398 h 20647"/>
                <a:gd name="connsiteX7" fmla="*/ 6034 w 118903"/>
                <a:gd name="connsiteY7" fmla="*/ 19398 h 20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903" h="20647">
                  <a:moveTo>
                    <a:pt x="6034" y="19398"/>
                  </a:moveTo>
                  <a:cubicBezTo>
                    <a:pt x="3017" y="19398"/>
                    <a:pt x="0" y="19398"/>
                    <a:pt x="0" y="16381"/>
                  </a:cubicBezTo>
                  <a:cubicBezTo>
                    <a:pt x="0" y="13364"/>
                    <a:pt x="0" y="10348"/>
                    <a:pt x="3017" y="10348"/>
                  </a:cubicBezTo>
                  <a:cubicBezTo>
                    <a:pt x="6034" y="10348"/>
                    <a:pt x="66369" y="-10770"/>
                    <a:pt x="114637" y="7331"/>
                  </a:cubicBezTo>
                  <a:cubicBezTo>
                    <a:pt x="117654" y="7331"/>
                    <a:pt x="120670" y="10348"/>
                    <a:pt x="117654" y="16381"/>
                  </a:cubicBezTo>
                  <a:cubicBezTo>
                    <a:pt x="117654" y="19398"/>
                    <a:pt x="114637" y="22414"/>
                    <a:pt x="108603" y="19398"/>
                  </a:cubicBezTo>
                  <a:cubicBezTo>
                    <a:pt x="69385" y="1297"/>
                    <a:pt x="9050" y="19398"/>
                    <a:pt x="6034" y="19398"/>
                  </a:cubicBezTo>
                  <a:cubicBezTo>
                    <a:pt x="9050" y="19398"/>
                    <a:pt x="9050" y="19398"/>
                    <a:pt x="6034" y="19398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DDAEB7A8-8145-4962-A596-69747C2D7FAE}"/>
                </a:ext>
              </a:extLst>
            </p:cNvPr>
            <p:cNvSpPr/>
            <p:nvPr/>
          </p:nvSpPr>
          <p:spPr>
            <a:xfrm>
              <a:off x="3290075" y="8759108"/>
              <a:ext cx="355977" cy="63352"/>
            </a:xfrm>
            <a:custGeom>
              <a:avLst/>
              <a:gdLst>
                <a:gd name="connsiteX0" fmla="*/ 319777 w 355977"/>
                <a:gd name="connsiteY0" fmla="*/ 9050 h 63352"/>
                <a:gd name="connsiteX1" fmla="*/ 24134 w 355977"/>
                <a:gd name="connsiteY1" fmla="*/ 0 h 63352"/>
                <a:gd name="connsiteX2" fmla="*/ 0 w 355977"/>
                <a:gd name="connsiteY2" fmla="*/ 9050 h 63352"/>
                <a:gd name="connsiteX3" fmla="*/ 187039 w 355977"/>
                <a:gd name="connsiteY3" fmla="*/ 63352 h 63352"/>
                <a:gd name="connsiteX4" fmla="*/ 355978 w 355977"/>
                <a:gd name="connsiteY4" fmla="*/ 15084 h 63352"/>
                <a:gd name="connsiteX5" fmla="*/ 319777 w 355977"/>
                <a:gd name="connsiteY5" fmla="*/ 9050 h 63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5977" h="63352">
                  <a:moveTo>
                    <a:pt x="319777" y="9050"/>
                  </a:moveTo>
                  <a:cubicBezTo>
                    <a:pt x="319777" y="9050"/>
                    <a:pt x="208156" y="66369"/>
                    <a:pt x="24134" y="0"/>
                  </a:cubicBezTo>
                  <a:lnTo>
                    <a:pt x="0" y="9050"/>
                  </a:lnTo>
                  <a:cubicBezTo>
                    <a:pt x="0" y="9050"/>
                    <a:pt x="78436" y="63352"/>
                    <a:pt x="187039" y="63352"/>
                  </a:cubicBezTo>
                  <a:cubicBezTo>
                    <a:pt x="289609" y="63352"/>
                    <a:pt x="355978" y="15084"/>
                    <a:pt x="355978" y="15084"/>
                  </a:cubicBezTo>
                  <a:cubicBezTo>
                    <a:pt x="355978" y="15084"/>
                    <a:pt x="340894" y="9050"/>
                    <a:pt x="319777" y="9050"/>
                  </a:cubicBezTo>
                  <a:close/>
                </a:path>
              </a:pathLst>
            </a:custGeom>
            <a:solidFill>
              <a:srgbClr val="F6EBE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6" name="图形 1">
              <a:extLst>
                <a:ext uri="{FF2B5EF4-FFF2-40B4-BE49-F238E27FC236}">
                  <a16:creationId xmlns:a16="http://schemas.microsoft.com/office/drawing/2014/main" id="{D01F3EB1-749C-45DD-B739-4A56F123BDDF}"/>
                </a:ext>
              </a:extLst>
            </p:cNvPr>
            <p:cNvGrpSpPr/>
            <p:nvPr/>
          </p:nvGrpSpPr>
          <p:grpSpPr>
            <a:xfrm>
              <a:off x="3225321" y="8020002"/>
              <a:ext cx="659661" cy="328827"/>
              <a:chOff x="3225321" y="8020002"/>
              <a:chExt cx="659661" cy="328827"/>
            </a:xfrm>
          </p:grpSpPr>
          <p:grpSp>
            <p:nvGrpSpPr>
              <p:cNvPr id="127" name="图形 1">
                <a:extLst>
                  <a:ext uri="{FF2B5EF4-FFF2-40B4-BE49-F238E27FC236}">
                    <a16:creationId xmlns:a16="http://schemas.microsoft.com/office/drawing/2014/main" id="{04B80E7A-6B2E-4BEA-8C0D-433333B4EE10}"/>
                  </a:ext>
                </a:extLst>
              </p:cNvPr>
              <p:cNvGrpSpPr/>
              <p:nvPr/>
            </p:nvGrpSpPr>
            <p:grpSpPr>
              <a:xfrm>
                <a:off x="3225321" y="8020002"/>
                <a:ext cx="653742" cy="328827"/>
                <a:chOff x="3225321" y="8020002"/>
                <a:chExt cx="653742" cy="328827"/>
              </a:xfrm>
            </p:grpSpPr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47E69119-9AF8-467C-ACA2-5046FA21D743}"/>
                    </a:ext>
                  </a:extLst>
                </p:cNvPr>
                <p:cNvSpPr/>
                <p:nvPr/>
              </p:nvSpPr>
              <p:spPr>
                <a:xfrm>
                  <a:off x="3225321" y="8034982"/>
                  <a:ext cx="541431" cy="313847"/>
                </a:xfrm>
                <a:custGeom>
                  <a:avLst/>
                  <a:gdLst>
                    <a:gd name="connsiteX0" fmla="*/ 152240 w 541431"/>
                    <a:gd name="connsiteY0" fmla="*/ 208260 h 313847"/>
                    <a:gd name="connsiteX1" fmla="*/ 4419 w 541431"/>
                    <a:gd name="connsiteY1" fmla="*/ 313847 h 313847"/>
                    <a:gd name="connsiteX2" fmla="*/ 158274 w 541431"/>
                    <a:gd name="connsiteY2" fmla="*/ 21221 h 313847"/>
                    <a:gd name="connsiteX3" fmla="*/ 541402 w 541431"/>
                    <a:gd name="connsiteY3" fmla="*/ 129825 h 313847"/>
                    <a:gd name="connsiteX4" fmla="*/ 152240 w 541431"/>
                    <a:gd name="connsiteY4" fmla="*/ 208260 h 313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1431" h="313847">
                      <a:moveTo>
                        <a:pt x="152240" y="208260"/>
                      </a:moveTo>
                      <a:cubicBezTo>
                        <a:pt x="116039" y="238428"/>
                        <a:pt x="43637" y="259545"/>
                        <a:pt x="4419" y="313847"/>
                      </a:cubicBezTo>
                      <a:cubicBezTo>
                        <a:pt x="4419" y="313847"/>
                        <a:pt x="-40832" y="90607"/>
                        <a:pt x="158274" y="21221"/>
                      </a:cubicBezTo>
                      <a:cubicBezTo>
                        <a:pt x="321179" y="-36097"/>
                        <a:pt x="478050" y="30271"/>
                        <a:pt x="541402" y="129825"/>
                      </a:cubicBezTo>
                      <a:cubicBezTo>
                        <a:pt x="544419" y="126808"/>
                        <a:pt x="315145" y="72506"/>
                        <a:pt x="152240" y="20826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428BA713-8A61-4851-9D18-0A69EFD74C49}"/>
                    </a:ext>
                  </a:extLst>
                </p:cNvPr>
                <p:cNvSpPr/>
                <p:nvPr/>
              </p:nvSpPr>
              <p:spPr>
                <a:xfrm>
                  <a:off x="3365494" y="8069108"/>
                  <a:ext cx="513568" cy="216369"/>
                </a:xfrm>
                <a:custGeom>
                  <a:avLst/>
                  <a:gdLst>
                    <a:gd name="connsiteX0" fmla="*/ 0 w 513568"/>
                    <a:gd name="connsiteY0" fmla="*/ 186202 h 216369"/>
                    <a:gd name="connsiteX1" fmla="*/ 217207 w 513568"/>
                    <a:gd name="connsiteY1" fmla="*/ 47431 h 216369"/>
                    <a:gd name="connsiteX2" fmla="*/ 509832 w 513568"/>
                    <a:gd name="connsiteY2" fmla="*/ 59498 h 216369"/>
                    <a:gd name="connsiteX3" fmla="*/ 407263 w 513568"/>
                    <a:gd name="connsiteY3" fmla="*/ 216370 h 216369"/>
                    <a:gd name="connsiteX4" fmla="*/ 0 w 513568"/>
                    <a:gd name="connsiteY4" fmla="*/ 186202 h 2163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3568" h="216369">
                      <a:moveTo>
                        <a:pt x="0" y="186202"/>
                      </a:moveTo>
                      <a:cubicBezTo>
                        <a:pt x="0" y="186202"/>
                        <a:pt x="75419" y="110783"/>
                        <a:pt x="217207" y="47431"/>
                      </a:cubicBezTo>
                      <a:cubicBezTo>
                        <a:pt x="365028" y="-21954"/>
                        <a:pt x="482682" y="-12904"/>
                        <a:pt x="509832" y="59498"/>
                      </a:cubicBezTo>
                      <a:cubicBezTo>
                        <a:pt x="536983" y="131900"/>
                        <a:pt x="407263" y="216370"/>
                        <a:pt x="407263" y="216370"/>
                      </a:cubicBezTo>
                      <a:cubicBezTo>
                        <a:pt x="407263" y="216370"/>
                        <a:pt x="262458" y="77598"/>
                        <a:pt x="0" y="186202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821639EE-3A5E-42AE-9E9A-2DFD54C330FE}"/>
                    </a:ext>
                  </a:extLst>
                </p:cNvPr>
                <p:cNvSpPr/>
                <p:nvPr/>
              </p:nvSpPr>
              <p:spPr>
                <a:xfrm>
                  <a:off x="3347394" y="8020002"/>
                  <a:ext cx="57318" cy="54301"/>
                </a:xfrm>
                <a:custGeom>
                  <a:avLst/>
                  <a:gdLst>
                    <a:gd name="connsiteX0" fmla="*/ 0 w 57318"/>
                    <a:gd name="connsiteY0" fmla="*/ 27151 h 54301"/>
                    <a:gd name="connsiteX1" fmla="*/ 30168 w 57318"/>
                    <a:gd name="connsiteY1" fmla="*/ 0 h 54301"/>
                    <a:gd name="connsiteX2" fmla="*/ 57318 w 57318"/>
                    <a:gd name="connsiteY2" fmla="*/ 27151 h 54301"/>
                    <a:gd name="connsiteX3" fmla="*/ 27151 w 57318"/>
                    <a:gd name="connsiteY3" fmla="*/ 54302 h 54301"/>
                    <a:gd name="connsiteX4" fmla="*/ 0 w 57318"/>
                    <a:gd name="connsiteY4" fmla="*/ 27151 h 54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318" h="54301">
                      <a:moveTo>
                        <a:pt x="0" y="27151"/>
                      </a:moveTo>
                      <a:cubicBezTo>
                        <a:pt x="0" y="12067"/>
                        <a:pt x="12067" y="0"/>
                        <a:pt x="30168" y="0"/>
                      </a:cubicBezTo>
                      <a:cubicBezTo>
                        <a:pt x="45251" y="0"/>
                        <a:pt x="57318" y="12067"/>
                        <a:pt x="57318" y="27151"/>
                      </a:cubicBezTo>
                      <a:cubicBezTo>
                        <a:pt x="57318" y="42235"/>
                        <a:pt x="45251" y="54302"/>
                        <a:pt x="27151" y="54302"/>
                      </a:cubicBezTo>
                      <a:cubicBezTo>
                        <a:pt x="12067" y="51285"/>
                        <a:pt x="0" y="39218"/>
                        <a:pt x="0" y="27151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9B412AC7-7CDC-43A8-9CA6-56D0B8D11D33}"/>
                  </a:ext>
                </a:extLst>
              </p:cNvPr>
              <p:cNvSpPr/>
              <p:nvPr/>
            </p:nvSpPr>
            <p:spPr>
              <a:xfrm>
                <a:off x="3358120" y="8056067"/>
                <a:ext cx="526863" cy="235443"/>
              </a:xfrm>
              <a:custGeom>
                <a:avLst/>
                <a:gdLst>
                  <a:gd name="connsiteX0" fmla="*/ 414637 w 526863"/>
                  <a:gd name="connsiteY0" fmla="*/ 235444 h 235443"/>
                  <a:gd name="connsiteX1" fmla="*/ 408603 w 526863"/>
                  <a:gd name="connsiteY1" fmla="*/ 232427 h 235443"/>
                  <a:gd name="connsiteX2" fmla="*/ 408603 w 526863"/>
                  <a:gd name="connsiteY2" fmla="*/ 223377 h 235443"/>
                  <a:gd name="connsiteX3" fmla="*/ 514190 w 526863"/>
                  <a:gd name="connsiteY3" fmla="*/ 84606 h 235443"/>
                  <a:gd name="connsiteX4" fmla="*/ 453855 w 526863"/>
                  <a:gd name="connsiteY4" fmla="*/ 21254 h 235443"/>
                  <a:gd name="connsiteX5" fmla="*/ 10391 w 526863"/>
                  <a:gd name="connsiteY5" fmla="*/ 199243 h 235443"/>
                  <a:gd name="connsiteX6" fmla="*/ 1341 w 526863"/>
                  <a:gd name="connsiteY6" fmla="*/ 199243 h 235443"/>
                  <a:gd name="connsiteX7" fmla="*/ 1341 w 526863"/>
                  <a:gd name="connsiteY7" fmla="*/ 190192 h 235443"/>
                  <a:gd name="connsiteX8" fmla="*/ 456872 w 526863"/>
                  <a:gd name="connsiteY8" fmla="*/ 9187 h 235443"/>
                  <a:gd name="connsiteX9" fmla="*/ 526257 w 526863"/>
                  <a:gd name="connsiteY9" fmla="*/ 81589 h 235443"/>
                  <a:gd name="connsiteX10" fmla="*/ 417654 w 526863"/>
                  <a:gd name="connsiteY10" fmla="*/ 229410 h 235443"/>
                  <a:gd name="connsiteX11" fmla="*/ 414637 w 526863"/>
                  <a:gd name="connsiteY11" fmla="*/ 235444 h 235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6863" h="235443">
                    <a:moveTo>
                      <a:pt x="414637" y="235444"/>
                    </a:moveTo>
                    <a:cubicBezTo>
                      <a:pt x="411620" y="235444"/>
                      <a:pt x="411620" y="235444"/>
                      <a:pt x="408603" y="232427"/>
                    </a:cubicBezTo>
                    <a:cubicBezTo>
                      <a:pt x="405587" y="229410"/>
                      <a:pt x="408603" y="226393"/>
                      <a:pt x="408603" y="223377"/>
                    </a:cubicBezTo>
                    <a:cubicBezTo>
                      <a:pt x="484022" y="169075"/>
                      <a:pt x="517207" y="123824"/>
                      <a:pt x="514190" y="84606"/>
                    </a:cubicBezTo>
                    <a:cubicBezTo>
                      <a:pt x="511173" y="51422"/>
                      <a:pt x="474972" y="30304"/>
                      <a:pt x="453855" y="21254"/>
                    </a:cubicBezTo>
                    <a:cubicBezTo>
                      <a:pt x="321117" y="-33048"/>
                      <a:pt x="13408" y="199243"/>
                      <a:pt x="10391" y="199243"/>
                    </a:cubicBezTo>
                    <a:cubicBezTo>
                      <a:pt x="7374" y="202260"/>
                      <a:pt x="4358" y="199243"/>
                      <a:pt x="1341" y="199243"/>
                    </a:cubicBezTo>
                    <a:cubicBezTo>
                      <a:pt x="-1676" y="196226"/>
                      <a:pt x="1341" y="193209"/>
                      <a:pt x="1341" y="190192"/>
                    </a:cubicBezTo>
                    <a:cubicBezTo>
                      <a:pt x="13408" y="181142"/>
                      <a:pt x="318101" y="-48131"/>
                      <a:pt x="456872" y="9187"/>
                    </a:cubicBezTo>
                    <a:cubicBezTo>
                      <a:pt x="499106" y="27288"/>
                      <a:pt x="523240" y="51422"/>
                      <a:pt x="526257" y="81589"/>
                    </a:cubicBezTo>
                    <a:cubicBezTo>
                      <a:pt x="532291" y="123824"/>
                      <a:pt x="493073" y="175109"/>
                      <a:pt x="417654" y="229410"/>
                    </a:cubicBezTo>
                    <a:cubicBezTo>
                      <a:pt x="414637" y="235444"/>
                      <a:pt x="414637" y="235444"/>
                      <a:pt x="414637" y="23544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7" name="图形 1">
              <a:extLst>
                <a:ext uri="{FF2B5EF4-FFF2-40B4-BE49-F238E27FC236}">
                  <a16:creationId xmlns:a16="http://schemas.microsoft.com/office/drawing/2014/main" id="{2791B8B5-FC86-4BA5-BDBC-97D1204BD81A}"/>
                </a:ext>
              </a:extLst>
            </p:cNvPr>
            <p:cNvGrpSpPr/>
            <p:nvPr/>
          </p:nvGrpSpPr>
          <p:grpSpPr>
            <a:xfrm>
              <a:off x="3652086" y="9109052"/>
              <a:ext cx="938212" cy="585251"/>
              <a:chOff x="3652086" y="9109052"/>
              <a:chExt cx="938212" cy="585251"/>
            </a:xfrm>
          </p:grpSpPr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1E8A9C75-86F2-4690-9D67-26B3078A618A}"/>
                  </a:ext>
                </a:extLst>
              </p:cNvPr>
              <p:cNvSpPr/>
              <p:nvPr/>
            </p:nvSpPr>
            <p:spPr>
              <a:xfrm>
                <a:off x="3715438" y="9109052"/>
                <a:ext cx="874860" cy="585251"/>
              </a:xfrm>
              <a:custGeom>
                <a:avLst/>
                <a:gdLst>
                  <a:gd name="connsiteX0" fmla="*/ 0 w 874860"/>
                  <a:gd name="connsiteY0" fmla="*/ 0 h 585251"/>
                  <a:gd name="connsiteX1" fmla="*/ 874860 w 874860"/>
                  <a:gd name="connsiteY1" fmla="*/ 0 h 585251"/>
                  <a:gd name="connsiteX2" fmla="*/ 874860 w 874860"/>
                  <a:gd name="connsiteY2" fmla="*/ 585252 h 585251"/>
                  <a:gd name="connsiteX3" fmla="*/ 0 w 874860"/>
                  <a:gd name="connsiteY3" fmla="*/ 585252 h 585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4860" h="585251">
                    <a:moveTo>
                      <a:pt x="0" y="0"/>
                    </a:moveTo>
                    <a:lnTo>
                      <a:pt x="874860" y="0"/>
                    </a:lnTo>
                    <a:lnTo>
                      <a:pt x="874860" y="585252"/>
                    </a:lnTo>
                    <a:lnTo>
                      <a:pt x="0" y="585252"/>
                    </a:lnTo>
                    <a:close/>
                  </a:path>
                </a:pathLst>
              </a:custGeom>
              <a:solidFill>
                <a:srgbClr val="E8D2AF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9AC368D5-08AB-4CCF-90E9-7435C221BE67}"/>
                  </a:ext>
                </a:extLst>
              </p:cNvPr>
              <p:cNvSpPr/>
              <p:nvPr/>
            </p:nvSpPr>
            <p:spPr>
              <a:xfrm>
                <a:off x="3652086" y="9109052"/>
                <a:ext cx="757206" cy="585251"/>
              </a:xfrm>
              <a:custGeom>
                <a:avLst/>
                <a:gdLst>
                  <a:gd name="connsiteX0" fmla="*/ 0 w 757206"/>
                  <a:gd name="connsiteY0" fmla="*/ 0 h 585251"/>
                  <a:gd name="connsiteX1" fmla="*/ 757207 w 757206"/>
                  <a:gd name="connsiteY1" fmla="*/ 0 h 585251"/>
                  <a:gd name="connsiteX2" fmla="*/ 757207 w 757206"/>
                  <a:gd name="connsiteY2" fmla="*/ 585252 h 585251"/>
                  <a:gd name="connsiteX3" fmla="*/ 0 w 757206"/>
                  <a:gd name="connsiteY3" fmla="*/ 585252 h 585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7206" h="585251">
                    <a:moveTo>
                      <a:pt x="0" y="0"/>
                    </a:moveTo>
                    <a:lnTo>
                      <a:pt x="757207" y="0"/>
                    </a:lnTo>
                    <a:lnTo>
                      <a:pt x="757207" y="585252"/>
                    </a:lnTo>
                    <a:lnTo>
                      <a:pt x="0" y="585252"/>
                    </a:ln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A98BACB7-B890-4B2F-A502-FB5C74577718}"/>
                  </a:ext>
                </a:extLst>
              </p:cNvPr>
              <p:cNvSpPr/>
              <p:nvPr/>
            </p:nvSpPr>
            <p:spPr>
              <a:xfrm rot="-10800000">
                <a:off x="4103816" y="9187156"/>
                <a:ext cx="232290" cy="30167"/>
              </a:xfrm>
              <a:custGeom>
                <a:avLst/>
                <a:gdLst>
                  <a:gd name="connsiteX0" fmla="*/ 0 w 232290"/>
                  <a:gd name="connsiteY0" fmla="*/ 0 h 30167"/>
                  <a:gd name="connsiteX1" fmla="*/ 232290 w 232290"/>
                  <a:gd name="connsiteY1" fmla="*/ 0 h 30167"/>
                  <a:gd name="connsiteX2" fmla="*/ 232290 w 232290"/>
                  <a:gd name="connsiteY2" fmla="*/ 30167 h 30167"/>
                  <a:gd name="connsiteX3" fmla="*/ 0 w 232290"/>
                  <a:gd name="connsiteY3" fmla="*/ 30167 h 30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2290" h="30167">
                    <a:moveTo>
                      <a:pt x="0" y="0"/>
                    </a:moveTo>
                    <a:lnTo>
                      <a:pt x="232290" y="0"/>
                    </a:lnTo>
                    <a:lnTo>
                      <a:pt x="232290" y="30167"/>
                    </a:lnTo>
                    <a:lnTo>
                      <a:pt x="0" y="30167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CDC03A32-9EF1-4D12-A469-3A99D53B897A}"/>
                  </a:ext>
                </a:extLst>
              </p:cNvPr>
              <p:cNvSpPr/>
              <p:nvPr/>
            </p:nvSpPr>
            <p:spPr>
              <a:xfrm rot="-10800000">
                <a:off x="4103816" y="9257658"/>
                <a:ext cx="232290" cy="30167"/>
              </a:xfrm>
              <a:custGeom>
                <a:avLst/>
                <a:gdLst>
                  <a:gd name="connsiteX0" fmla="*/ 0 w 232290"/>
                  <a:gd name="connsiteY0" fmla="*/ 0 h 30167"/>
                  <a:gd name="connsiteX1" fmla="*/ 232290 w 232290"/>
                  <a:gd name="connsiteY1" fmla="*/ 0 h 30167"/>
                  <a:gd name="connsiteX2" fmla="*/ 232290 w 232290"/>
                  <a:gd name="connsiteY2" fmla="*/ 30168 h 30167"/>
                  <a:gd name="connsiteX3" fmla="*/ 0 w 232290"/>
                  <a:gd name="connsiteY3" fmla="*/ 30168 h 30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2290" h="30167">
                    <a:moveTo>
                      <a:pt x="0" y="0"/>
                    </a:moveTo>
                    <a:lnTo>
                      <a:pt x="232290" y="0"/>
                    </a:lnTo>
                    <a:lnTo>
                      <a:pt x="232290" y="30168"/>
                    </a:lnTo>
                    <a:lnTo>
                      <a:pt x="0" y="30168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D724B58D-3669-48B0-AD94-E21FD6D3C2F4}"/>
                  </a:ext>
                </a:extLst>
              </p:cNvPr>
              <p:cNvSpPr/>
              <p:nvPr/>
            </p:nvSpPr>
            <p:spPr>
              <a:xfrm>
                <a:off x="3720628" y="9169388"/>
                <a:ext cx="115481" cy="138770"/>
              </a:xfrm>
              <a:custGeom>
                <a:avLst/>
                <a:gdLst>
                  <a:gd name="connsiteX0" fmla="*/ 55146 w 115481"/>
                  <a:gd name="connsiteY0" fmla="*/ 0 h 138770"/>
                  <a:gd name="connsiteX1" fmla="*/ 115481 w 115481"/>
                  <a:gd name="connsiteY1" fmla="*/ 60335 h 138770"/>
                  <a:gd name="connsiteX2" fmla="*/ 115481 w 115481"/>
                  <a:gd name="connsiteY2" fmla="*/ 63352 h 138770"/>
                  <a:gd name="connsiteX3" fmla="*/ 94364 w 115481"/>
                  <a:gd name="connsiteY3" fmla="*/ 48268 h 138770"/>
                  <a:gd name="connsiteX4" fmla="*/ 76263 w 115481"/>
                  <a:gd name="connsiteY4" fmla="*/ 57318 h 138770"/>
                  <a:gd name="connsiteX5" fmla="*/ 64196 w 115481"/>
                  <a:gd name="connsiteY5" fmla="*/ 48268 h 138770"/>
                  <a:gd name="connsiteX6" fmla="*/ 64196 w 115481"/>
                  <a:gd name="connsiteY6" fmla="*/ 117653 h 138770"/>
                  <a:gd name="connsiteX7" fmla="*/ 73247 w 115481"/>
                  <a:gd name="connsiteY7" fmla="*/ 126704 h 138770"/>
                  <a:gd name="connsiteX8" fmla="*/ 82297 w 115481"/>
                  <a:gd name="connsiteY8" fmla="*/ 117653 h 138770"/>
                  <a:gd name="connsiteX9" fmla="*/ 82297 w 115481"/>
                  <a:gd name="connsiteY9" fmla="*/ 108603 h 138770"/>
                  <a:gd name="connsiteX10" fmla="*/ 94364 w 115481"/>
                  <a:gd name="connsiteY10" fmla="*/ 108603 h 138770"/>
                  <a:gd name="connsiteX11" fmla="*/ 94364 w 115481"/>
                  <a:gd name="connsiteY11" fmla="*/ 117653 h 138770"/>
                  <a:gd name="connsiteX12" fmla="*/ 73247 w 115481"/>
                  <a:gd name="connsiteY12" fmla="*/ 138771 h 138770"/>
                  <a:gd name="connsiteX13" fmla="*/ 52129 w 115481"/>
                  <a:gd name="connsiteY13" fmla="*/ 117653 h 138770"/>
                  <a:gd name="connsiteX14" fmla="*/ 52129 w 115481"/>
                  <a:gd name="connsiteY14" fmla="*/ 48268 h 138770"/>
                  <a:gd name="connsiteX15" fmla="*/ 40062 w 115481"/>
                  <a:gd name="connsiteY15" fmla="*/ 57318 h 138770"/>
                  <a:gd name="connsiteX16" fmla="*/ 21962 w 115481"/>
                  <a:gd name="connsiteY16" fmla="*/ 48268 h 138770"/>
                  <a:gd name="connsiteX17" fmla="*/ 844 w 115481"/>
                  <a:gd name="connsiteY17" fmla="*/ 63352 h 138770"/>
                  <a:gd name="connsiteX18" fmla="*/ 844 w 115481"/>
                  <a:gd name="connsiteY18" fmla="*/ 60335 h 138770"/>
                  <a:gd name="connsiteX19" fmla="*/ 55146 w 115481"/>
                  <a:gd name="connsiteY19" fmla="*/ 0 h 138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5481" h="138770">
                    <a:moveTo>
                      <a:pt x="55146" y="0"/>
                    </a:moveTo>
                    <a:cubicBezTo>
                      <a:pt x="88330" y="0"/>
                      <a:pt x="115481" y="27151"/>
                      <a:pt x="115481" y="60335"/>
                    </a:cubicBezTo>
                    <a:cubicBezTo>
                      <a:pt x="115481" y="60335"/>
                      <a:pt x="115481" y="63352"/>
                      <a:pt x="115481" y="63352"/>
                    </a:cubicBezTo>
                    <a:cubicBezTo>
                      <a:pt x="112464" y="54302"/>
                      <a:pt x="103414" y="48268"/>
                      <a:pt x="94364" y="48268"/>
                    </a:cubicBezTo>
                    <a:cubicBezTo>
                      <a:pt x="85314" y="48268"/>
                      <a:pt x="79280" y="51285"/>
                      <a:pt x="76263" y="57318"/>
                    </a:cubicBezTo>
                    <a:cubicBezTo>
                      <a:pt x="73247" y="54302"/>
                      <a:pt x="67213" y="48268"/>
                      <a:pt x="64196" y="48268"/>
                    </a:cubicBezTo>
                    <a:lnTo>
                      <a:pt x="64196" y="117653"/>
                    </a:lnTo>
                    <a:cubicBezTo>
                      <a:pt x="64196" y="120670"/>
                      <a:pt x="67213" y="126704"/>
                      <a:pt x="73247" y="126704"/>
                    </a:cubicBezTo>
                    <a:cubicBezTo>
                      <a:pt x="76263" y="126704"/>
                      <a:pt x="82297" y="123687"/>
                      <a:pt x="82297" y="117653"/>
                    </a:cubicBezTo>
                    <a:lnTo>
                      <a:pt x="82297" y="108603"/>
                    </a:lnTo>
                    <a:lnTo>
                      <a:pt x="94364" y="108603"/>
                    </a:lnTo>
                    <a:lnTo>
                      <a:pt x="94364" y="117653"/>
                    </a:lnTo>
                    <a:cubicBezTo>
                      <a:pt x="94364" y="129721"/>
                      <a:pt x="85314" y="138771"/>
                      <a:pt x="73247" y="138771"/>
                    </a:cubicBezTo>
                    <a:cubicBezTo>
                      <a:pt x="61180" y="138771"/>
                      <a:pt x="52129" y="129721"/>
                      <a:pt x="52129" y="117653"/>
                    </a:cubicBezTo>
                    <a:lnTo>
                      <a:pt x="52129" y="48268"/>
                    </a:lnTo>
                    <a:cubicBezTo>
                      <a:pt x="46096" y="51285"/>
                      <a:pt x="43079" y="54302"/>
                      <a:pt x="40062" y="57318"/>
                    </a:cubicBezTo>
                    <a:cubicBezTo>
                      <a:pt x="37045" y="51285"/>
                      <a:pt x="27995" y="48268"/>
                      <a:pt x="21962" y="48268"/>
                    </a:cubicBezTo>
                    <a:cubicBezTo>
                      <a:pt x="12911" y="48268"/>
                      <a:pt x="3861" y="54302"/>
                      <a:pt x="844" y="63352"/>
                    </a:cubicBezTo>
                    <a:cubicBezTo>
                      <a:pt x="844" y="63352"/>
                      <a:pt x="844" y="60335"/>
                      <a:pt x="844" y="60335"/>
                    </a:cubicBezTo>
                    <a:cubicBezTo>
                      <a:pt x="-5189" y="27151"/>
                      <a:pt x="21962" y="0"/>
                      <a:pt x="55146" y="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8" name="图形 1">
              <a:extLst>
                <a:ext uri="{FF2B5EF4-FFF2-40B4-BE49-F238E27FC236}">
                  <a16:creationId xmlns:a16="http://schemas.microsoft.com/office/drawing/2014/main" id="{A7D24C6E-D8C1-4785-A559-CAB4BD57A85A}"/>
                </a:ext>
              </a:extLst>
            </p:cNvPr>
            <p:cNvGrpSpPr/>
            <p:nvPr/>
          </p:nvGrpSpPr>
          <p:grpSpPr>
            <a:xfrm>
              <a:off x="4502329" y="9377355"/>
              <a:ext cx="122285" cy="160076"/>
              <a:chOff x="4502329" y="9377355"/>
              <a:chExt cx="122285" cy="160076"/>
            </a:xfrm>
          </p:grpSpPr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CE219166-BEB9-4F28-9C6B-7E81CBAFD3E5}"/>
                  </a:ext>
                </a:extLst>
              </p:cNvPr>
              <p:cNvSpPr/>
              <p:nvPr/>
            </p:nvSpPr>
            <p:spPr>
              <a:xfrm>
                <a:off x="4514757" y="9380319"/>
                <a:ext cx="109856" cy="57805"/>
              </a:xfrm>
              <a:custGeom>
                <a:avLst/>
                <a:gdLst>
                  <a:gd name="connsiteX0" fmla="*/ 99675 w 109856"/>
                  <a:gd name="connsiteY0" fmla="*/ 6275 h 57805"/>
                  <a:gd name="connsiteX1" fmla="*/ 30290 w 109856"/>
                  <a:gd name="connsiteY1" fmla="*/ 3258 h 57805"/>
                  <a:gd name="connsiteX2" fmla="*/ 18223 w 109856"/>
                  <a:gd name="connsiteY2" fmla="*/ 3258 h 57805"/>
                  <a:gd name="connsiteX3" fmla="*/ 9173 w 109856"/>
                  <a:gd name="connsiteY3" fmla="*/ 9292 h 57805"/>
                  <a:gd name="connsiteX4" fmla="*/ 3139 w 109856"/>
                  <a:gd name="connsiteY4" fmla="*/ 45493 h 57805"/>
                  <a:gd name="connsiteX5" fmla="*/ 36323 w 109856"/>
                  <a:gd name="connsiteY5" fmla="*/ 57560 h 57805"/>
                  <a:gd name="connsiteX6" fmla="*/ 81575 w 109856"/>
                  <a:gd name="connsiteY6" fmla="*/ 54543 h 57805"/>
                  <a:gd name="connsiteX7" fmla="*/ 108726 w 109856"/>
                  <a:gd name="connsiteY7" fmla="*/ 39459 h 57805"/>
                  <a:gd name="connsiteX8" fmla="*/ 99675 w 109856"/>
                  <a:gd name="connsiteY8" fmla="*/ 6275 h 57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856" h="57805">
                    <a:moveTo>
                      <a:pt x="99675" y="6275"/>
                    </a:moveTo>
                    <a:cubicBezTo>
                      <a:pt x="78558" y="-5792"/>
                      <a:pt x="54424" y="3258"/>
                      <a:pt x="30290" y="3258"/>
                    </a:cubicBezTo>
                    <a:cubicBezTo>
                      <a:pt x="27273" y="3258"/>
                      <a:pt x="21240" y="241"/>
                      <a:pt x="18223" y="3258"/>
                    </a:cubicBezTo>
                    <a:cubicBezTo>
                      <a:pt x="15206" y="3258"/>
                      <a:pt x="12189" y="6275"/>
                      <a:pt x="9173" y="9292"/>
                    </a:cubicBezTo>
                    <a:cubicBezTo>
                      <a:pt x="122" y="18342"/>
                      <a:pt x="-2895" y="33426"/>
                      <a:pt x="3139" y="45493"/>
                    </a:cubicBezTo>
                    <a:cubicBezTo>
                      <a:pt x="9173" y="60577"/>
                      <a:pt x="27273" y="57560"/>
                      <a:pt x="36323" y="57560"/>
                    </a:cubicBezTo>
                    <a:cubicBezTo>
                      <a:pt x="51407" y="57560"/>
                      <a:pt x="66491" y="57560"/>
                      <a:pt x="81575" y="54543"/>
                    </a:cubicBezTo>
                    <a:cubicBezTo>
                      <a:pt x="90625" y="51526"/>
                      <a:pt x="105709" y="54543"/>
                      <a:pt x="108726" y="39459"/>
                    </a:cubicBezTo>
                    <a:cubicBezTo>
                      <a:pt x="111742" y="27392"/>
                      <a:pt x="108726" y="12308"/>
                      <a:pt x="99675" y="6275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DB855874-C469-449A-8948-617C41978B7F}"/>
                  </a:ext>
                </a:extLst>
              </p:cNvPr>
              <p:cNvSpPr/>
              <p:nvPr/>
            </p:nvSpPr>
            <p:spPr>
              <a:xfrm>
                <a:off x="4505707" y="9417576"/>
                <a:ext cx="111154" cy="62784"/>
              </a:xfrm>
              <a:custGeom>
                <a:avLst/>
                <a:gdLst>
                  <a:gd name="connsiteX0" fmla="*/ 99675 w 111154"/>
                  <a:gd name="connsiteY0" fmla="*/ 11253 h 62784"/>
                  <a:gd name="connsiteX1" fmla="*/ 24256 w 111154"/>
                  <a:gd name="connsiteY1" fmla="*/ 5219 h 62784"/>
                  <a:gd name="connsiteX2" fmla="*/ 18223 w 111154"/>
                  <a:gd name="connsiteY2" fmla="*/ 8236 h 62784"/>
                  <a:gd name="connsiteX3" fmla="*/ 9172 w 111154"/>
                  <a:gd name="connsiteY3" fmla="*/ 14270 h 62784"/>
                  <a:gd name="connsiteX4" fmla="*/ 3139 w 111154"/>
                  <a:gd name="connsiteY4" fmla="*/ 50471 h 62784"/>
                  <a:gd name="connsiteX5" fmla="*/ 36323 w 111154"/>
                  <a:gd name="connsiteY5" fmla="*/ 62538 h 62784"/>
                  <a:gd name="connsiteX6" fmla="*/ 81575 w 111154"/>
                  <a:gd name="connsiteY6" fmla="*/ 59521 h 62784"/>
                  <a:gd name="connsiteX7" fmla="*/ 108726 w 111154"/>
                  <a:gd name="connsiteY7" fmla="*/ 44437 h 62784"/>
                  <a:gd name="connsiteX8" fmla="*/ 99675 w 111154"/>
                  <a:gd name="connsiteY8" fmla="*/ 11253 h 6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154" h="62784">
                    <a:moveTo>
                      <a:pt x="99675" y="11253"/>
                    </a:moveTo>
                    <a:cubicBezTo>
                      <a:pt x="75541" y="-9864"/>
                      <a:pt x="48390" y="5219"/>
                      <a:pt x="24256" y="5219"/>
                    </a:cubicBezTo>
                    <a:cubicBezTo>
                      <a:pt x="21239" y="5219"/>
                      <a:pt x="21239" y="5219"/>
                      <a:pt x="18223" y="8236"/>
                    </a:cubicBezTo>
                    <a:cubicBezTo>
                      <a:pt x="15206" y="8236"/>
                      <a:pt x="12189" y="11253"/>
                      <a:pt x="9172" y="14270"/>
                    </a:cubicBezTo>
                    <a:cubicBezTo>
                      <a:pt x="122" y="23320"/>
                      <a:pt x="-2894" y="38403"/>
                      <a:pt x="3139" y="50471"/>
                    </a:cubicBezTo>
                    <a:cubicBezTo>
                      <a:pt x="9172" y="65555"/>
                      <a:pt x="27273" y="62538"/>
                      <a:pt x="36323" y="62538"/>
                    </a:cubicBezTo>
                    <a:cubicBezTo>
                      <a:pt x="51407" y="62538"/>
                      <a:pt x="66491" y="62538"/>
                      <a:pt x="81575" y="59521"/>
                    </a:cubicBezTo>
                    <a:cubicBezTo>
                      <a:pt x="90625" y="56504"/>
                      <a:pt x="105709" y="59521"/>
                      <a:pt x="108726" y="44437"/>
                    </a:cubicBezTo>
                    <a:cubicBezTo>
                      <a:pt x="114759" y="29353"/>
                      <a:pt x="108726" y="17287"/>
                      <a:pt x="99675" y="11253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3D7551DD-F4FB-487F-8BFB-9452EA7447FE}"/>
                  </a:ext>
                </a:extLst>
              </p:cNvPr>
              <p:cNvSpPr/>
              <p:nvPr/>
            </p:nvSpPr>
            <p:spPr>
              <a:xfrm>
                <a:off x="4516713" y="9457072"/>
                <a:ext cx="97202" cy="53209"/>
              </a:xfrm>
              <a:custGeom>
                <a:avLst/>
                <a:gdLst>
                  <a:gd name="connsiteX0" fmla="*/ 88669 w 97202"/>
                  <a:gd name="connsiteY0" fmla="*/ 10975 h 53209"/>
                  <a:gd name="connsiteX1" fmla="*/ 22301 w 97202"/>
                  <a:gd name="connsiteY1" fmla="*/ 4941 h 53209"/>
                  <a:gd name="connsiteX2" fmla="*/ 16267 w 97202"/>
                  <a:gd name="connsiteY2" fmla="*/ 7958 h 53209"/>
                  <a:gd name="connsiteX3" fmla="*/ 7217 w 97202"/>
                  <a:gd name="connsiteY3" fmla="*/ 10975 h 53209"/>
                  <a:gd name="connsiteX4" fmla="*/ 1184 w 97202"/>
                  <a:gd name="connsiteY4" fmla="*/ 41143 h 53209"/>
                  <a:gd name="connsiteX5" fmla="*/ 31351 w 97202"/>
                  <a:gd name="connsiteY5" fmla="*/ 53210 h 53209"/>
                  <a:gd name="connsiteX6" fmla="*/ 70569 w 97202"/>
                  <a:gd name="connsiteY6" fmla="*/ 53210 h 53209"/>
                  <a:gd name="connsiteX7" fmla="*/ 94703 w 97202"/>
                  <a:gd name="connsiteY7" fmla="*/ 41143 h 53209"/>
                  <a:gd name="connsiteX8" fmla="*/ 88669 w 97202"/>
                  <a:gd name="connsiteY8" fmla="*/ 10975 h 53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7202" h="53209">
                    <a:moveTo>
                      <a:pt x="88669" y="10975"/>
                    </a:moveTo>
                    <a:cubicBezTo>
                      <a:pt x="67552" y="-7126"/>
                      <a:pt x="43418" y="1924"/>
                      <a:pt x="22301" y="4941"/>
                    </a:cubicBezTo>
                    <a:cubicBezTo>
                      <a:pt x="19284" y="4941"/>
                      <a:pt x="19284" y="4941"/>
                      <a:pt x="16267" y="7958"/>
                    </a:cubicBezTo>
                    <a:cubicBezTo>
                      <a:pt x="13250" y="7958"/>
                      <a:pt x="10234" y="10975"/>
                      <a:pt x="7217" y="10975"/>
                    </a:cubicBezTo>
                    <a:cubicBezTo>
                      <a:pt x="1184" y="17008"/>
                      <a:pt x="-1833" y="32092"/>
                      <a:pt x="1184" y="41143"/>
                    </a:cubicBezTo>
                    <a:cubicBezTo>
                      <a:pt x="7217" y="53210"/>
                      <a:pt x="22301" y="53210"/>
                      <a:pt x="31351" y="53210"/>
                    </a:cubicBezTo>
                    <a:cubicBezTo>
                      <a:pt x="43418" y="53210"/>
                      <a:pt x="58502" y="53210"/>
                      <a:pt x="70569" y="53210"/>
                    </a:cubicBezTo>
                    <a:cubicBezTo>
                      <a:pt x="79619" y="53210"/>
                      <a:pt x="91686" y="53210"/>
                      <a:pt x="94703" y="41143"/>
                    </a:cubicBezTo>
                    <a:cubicBezTo>
                      <a:pt x="100737" y="29075"/>
                      <a:pt x="94703" y="17008"/>
                      <a:pt x="88669" y="10975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CA2773F8-751F-4F7E-BF09-A535315D6A01}"/>
                  </a:ext>
                </a:extLst>
              </p:cNvPr>
              <p:cNvSpPr/>
              <p:nvPr/>
            </p:nvSpPr>
            <p:spPr>
              <a:xfrm>
                <a:off x="4535725" y="9498538"/>
                <a:ext cx="72674" cy="38893"/>
              </a:xfrm>
              <a:custGeom>
                <a:avLst/>
                <a:gdLst>
                  <a:gd name="connsiteX0" fmla="*/ 63624 w 72674"/>
                  <a:gd name="connsiteY0" fmla="*/ 8726 h 38893"/>
                  <a:gd name="connsiteX1" fmla="*/ 15356 w 72674"/>
                  <a:gd name="connsiteY1" fmla="*/ 2692 h 38893"/>
                  <a:gd name="connsiteX2" fmla="*/ 12339 w 72674"/>
                  <a:gd name="connsiteY2" fmla="*/ 2692 h 38893"/>
                  <a:gd name="connsiteX3" fmla="*/ 6305 w 72674"/>
                  <a:gd name="connsiteY3" fmla="*/ 5709 h 38893"/>
                  <a:gd name="connsiteX4" fmla="*/ 3289 w 72674"/>
                  <a:gd name="connsiteY4" fmla="*/ 29844 h 38893"/>
                  <a:gd name="connsiteX5" fmla="*/ 24406 w 72674"/>
                  <a:gd name="connsiteY5" fmla="*/ 38894 h 38893"/>
                  <a:gd name="connsiteX6" fmla="*/ 54574 w 72674"/>
                  <a:gd name="connsiteY6" fmla="*/ 38894 h 38893"/>
                  <a:gd name="connsiteX7" fmla="*/ 72674 w 72674"/>
                  <a:gd name="connsiteY7" fmla="*/ 29844 h 38893"/>
                  <a:gd name="connsiteX8" fmla="*/ 63624 w 72674"/>
                  <a:gd name="connsiteY8" fmla="*/ 8726 h 38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2674" h="38893">
                    <a:moveTo>
                      <a:pt x="63624" y="8726"/>
                    </a:moveTo>
                    <a:cubicBezTo>
                      <a:pt x="48540" y="-6357"/>
                      <a:pt x="30440" y="2692"/>
                      <a:pt x="15356" y="2692"/>
                    </a:cubicBezTo>
                    <a:cubicBezTo>
                      <a:pt x="15356" y="2692"/>
                      <a:pt x="12339" y="2692"/>
                      <a:pt x="12339" y="2692"/>
                    </a:cubicBezTo>
                    <a:cubicBezTo>
                      <a:pt x="9322" y="2692"/>
                      <a:pt x="6305" y="2692"/>
                      <a:pt x="6305" y="5709"/>
                    </a:cubicBezTo>
                    <a:cubicBezTo>
                      <a:pt x="272" y="11743"/>
                      <a:pt x="-2745" y="20793"/>
                      <a:pt x="3289" y="29844"/>
                    </a:cubicBezTo>
                    <a:cubicBezTo>
                      <a:pt x="9322" y="38894"/>
                      <a:pt x="18373" y="38894"/>
                      <a:pt x="24406" y="38894"/>
                    </a:cubicBezTo>
                    <a:cubicBezTo>
                      <a:pt x="33456" y="38894"/>
                      <a:pt x="42507" y="38894"/>
                      <a:pt x="54574" y="38894"/>
                    </a:cubicBezTo>
                    <a:cubicBezTo>
                      <a:pt x="60607" y="38894"/>
                      <a:pt x="69657" y="38894"/>
                      <a:pt x="72674" y="29844"/>
                    </a:cubicBezTo>
                    <a:cubicBezTo>
                      <a:pt x="72674" y="20793"/>
                      <a:pt x="69657" y="11743"/>
                      <a:pt x="63624" y="872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5D6766C4-9654-464F-8400-E70030463734}"/>
                  </a:ext>
                </a:extLst>
              </p:cNvPr>
              <p:cNvSpPr/>
              <p:nvPr/>
            </p:nvSpPr>
            <p:spPr>
              <a:xfrm>
                <a:off x="4502329" y="9377355"/>
                <a:ext cx="118137" cy="108791"/>
              </a:xfrm>
              <a:custGeom>
                <a:avLst/>
                <a:gdLst>
                  <a:gd name="connsiteX0" fmla="*/ 45736 w 118137"/>
                  <a:gd name="connsiteY0" fmla="*/ 102759 h 108791"/>
                  <a:gd name="connsiteX1" fmla="*/ 484 w 118137"/>
                  <a:gd name="connsiteY1" fmla="*/ 81641 h 108791"/>
                  <a:gd name="connsiteX2" fmla="*/ 9534 w 118137"/>
                  <a:gd name="connsiteY2" fmla="*/ 45440 h 108791"/>
                  <a:gd name="connsiteX3" fmla="*/ 6518 w 118137"/>
                  <a:gd name="connsiteY3" fmla="*/ 33373 h 108791"/>
                  <a:gd name="connsiteX4" fmla="*/ 9534 w 118137"/>
                  <a:gd name="connsiteY4" fmla="*/ 15272 h 108791"/>
                  <a:gd name="connsiteX5" fmla="*/ 84953 w 118137"/>
                  <a:gd name="connsiteY5" fmla="*/ 189 h 108791"/>
                  <a:gd name="connsiteX6" fmla="*/ 90987 w 118137"/>
                  <a:gd name="connsiteY6" fmla="*/ 6222 h 108791"/>
                  <a:gd name="connsiteX7" fmla="*/ 84953 w 118137"/>
                  <a:gd name="connsiteY7" fmla="*/ 12256 h 108791"/>
                  <a:gd name="connsiteX8" fmla="*/ 18585 w 118137"/>
                  <a:gd name="connsiteY8" fmla="*/ 24323 h 108791"/>
                  <a:gd name="connsiteX9" fmla="*/ 15568 w 118137"/>
                  <a:gd name="connsiteY9" fmla="*/ 33373 h 108791"/>
                  <a:gd name="connsiteX10" fmla="*/ 103054 w 118137"/>
                  <a:gd name="connsiteY10" fmla="*/ 48457 h 108791"/>
                  <a:gd name="connsiteX11" fmla="*/ 112104 w 118137"/>
                  <a:gd name="connsiteY11" fmla="*/ 51473 h 108791"/>
                  <a:gd name="connsiteX12" fmla="*/ 118138 w 118137"/>
                  <a:gd name="connsiteY12" fmla="*/ 72591 h 108791"/>
                  <a:gd name="connsiteX13" fmla="*/ 48752 w 118137"/>
                  <a:gd name="connsiteY13" fmla="*/ 108792 h 108791"/>
                  <a:gd name="connsiteX14" fmla="*/ 45736 w 118137"/>
                  <a:gd name="connsiteY14" fmla="*/ 102759 h 108791"/>
                  <a:gd name="connsiteX15" fmla="*/ 15568 w 118137"/>
                  <a:gd name="connsiteY15" fmla="*/ 54490 h 108791"/>
                  <a:gd name="connsiteX16" fmla="*/ 9534 w 118137"/>
                  <a:gd name="connsiteY16" fmla="*/ 78624 h 108791"/>
                  <a:gd name="connsiteX17" fmla="*/ 48752 w 118137"/>
                  <a:gd name="connsiteY17" fmla="*/ 90692 h 108791"/>
                  <a:gd name="connsiteX18" fmla="*/ 106071 w 118137"/>
                  <a:gd name="connsiteY18" fmla="*/ 66557 h 108791"/>
                  <a:gd name="connsiteX19" fmla="*/ 103054 w 118137"/>
                  <a:gd name="connsiteY19" fmla="*/ 54490 h 108791"/>
                  <a:gd name="connsiteX20" fmla="*/ 15568 w 118137"/>
                  <a:gd name="connsiteY20" fmla="*/ 54490 h 108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8137" h="108791">
                    <a:moveTo>
                      <a:pt x="45736" y="102759"/>
                    </a:moveTo>
                    <a:cubicBezTo>
                      <a:pt x="21601" y="102759"/>
                      <a:pt x="3501" y="99742"/>
                      <a:pt x="484" y="81641"/>
                    </a:cubicBezTo>
                    <a:cubicBezTo>
                      <a:pt x="-2533" y="66557"/>
                      <a:pt x="9534" y="48457"/>
                      <a:pt x="9534" y="45440"/>
                    </a:cubicBezTo>
                    <a:cubicBezTo>
                      <a:pt x="6518" y="42423"/>
                      <a:pt x="6518" y="39406"/>
                      <a:pt x="6518" y="33373"/>
                    </a:cubicBezTo>
                    <a:cubicBezTo>
                      <a:pt x="3501" y="27340"/>
                      <a:pt x="6518" y="18289"/>
                      <a:pt x="9534" y="15272"/>
                    </a:cubicBezTo>
                    <a:cubicBezTo>
                      <a:pt x="24618" y="-2828"/>
                      <a:pt x="78920" y="189"/>
                      <a:pt x="84953" y="189"/>
                    </a:cubicBezTo>
                    <a:cubicBezTo>
                      <a:pt x="87970" y="189"/>
                      <a:pt x="90987" y="3205"/>
                      <a:pt x="90987" y="6222"/>
                    </a:cubicBezTo>
                    <a:cubicBezTo>
                      <a:pt x="90987" y="9239"/>
                      <a:pt x="87970" y="12256"/>
                      <a:pt x="84953" y="12256"/>
                    </a:cubicBezTo>
                    <a:cubicBezTo>
                      <a:pt x="63836" y="12256"/>
                      <a:pt x="30652" y="12256"/>
                      <a:pt x="18585" y="24323"/>
                    </a:cubicBezTo>
                    <a:cubicBezTo>
                      <a:pt x="15568" y="27340"/>
                      <a:pt x="15568" y="30356"/>
                      <a:pt x="15568" y="33373"/>
                    </a:cubicBezTo>
                    <a:cubicBezTo>
                      <a:pt x="18585" y="45440"/>
                      <a:pt x="21601" y="63541"/>
                      <a:pt x="103054" y="48457"/>
                    </a:cubicBezTo>
                    <a:cubicBezTo>
                      <a:pt x="103054" y="48457"/>
                      <a:pt x="109088" y="48457"/>
                      <a:pt x="112104" y="51473"/>
                    </a:cubicBezTo>
                    <a:cubicBezTo>
                      <a:pt x="118138" y="54490"/>
                      <a:pt x="118138" y="63541"/>
                      <a:pt x="118138" y="72591"/>
                    </a:cubicBezTo>
                    <a:cubicBezTo>
                      <a:pt x="118138" y="87675"/>
                      <a:pt x="106071" y="108792"/>
                      <a:pt x="48752" y="108792"/>
                    </a:cubicBezTo>
                    <a:cubicBezTo>
                      <a:pt x="48752" y="102759"/>
                      <a:pt x="45736" y="102759"/>
                      <a:pt x="45736" y="102759"/>
                    </a:cubicBezTo>
                    <a:close/>
                    <a:moveTo>
                      <a:pt x="15568" y="54490"/>
                    </a:moveTo>
                    <a:cubicBezTo>
                      <a:pt x="12551" y="60524"/>
                      <a:pt x="6518" y="69574"/>
                      <a:pt x="9534" y="78624"/>
                    </a:cubicBezTo>
                    <a:cubicBezTo>
                      <a:pt x="12551" y="87675"/>
                      <a:pt x="18585" y="90692"/>
                      <a:pt x="48752" y="90692"/>
                    </a:cubicBezTo>
                    <a:cubicBezTo>
                      <a:pt x="84953" y="90692"/>
                      <a:pt x="109088" y="81641"/>
                      <a:pt x="106071" y="66557"/>
                    </a:cubicBezTo>
                    <a:cubicBezTo>
                      <a:pt x="106071" y="57507"/>
                      <a:pt x="103054" y="57507"/>
                      <a:pt x="103054" y="54490"/>
                    </a:cubicBezTo>
                    <a:cubicBezTo>
                      <a:pt x="51769" y="66557"/>
                      <a:pt x="27635" y="63541"/>
                      <a:pt x="15568" y="5449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8BD11EB3-B15C-41DD-A0D6-265D88121D81}"/>
                  </a:ext>
                </a:extLst>
              </p:cNvPr>
              <p:cNvSpPr/>
              <p:nvPr/>
            </p:nvSpPr>
            <p:spPr>
              <a:xfrm>
                <a:off x="4509893" y="9462768"/>
                <a:ext cx="113590" cy="53547"/>
              </a:xfrm>
              <a:custGeom>
                <a:avLst/>
                <a:gdLst>
                  <a:gd name="connsiteX0" fmla="*/ 50238 w 113590"/>
                  <a:gd name="connsiteY0" fmla="*/ 53547 h 53547"/>
                  <a:gd name="connsiteX1" fmla="*/ 26104 w 113590"/>
                  <a:gd name="connsiteY1" fmla="*/ 50531 h 53547"/>
                  <a:gd name="connsiteX2" fmla="*/ 4987 w 113590"/>
                  <a:gd name="connsiteY2" fmla="*/ 35447 h 53547"/>
                  <a:gd name="connsiteX3" fmla="*/ 1970 w 113590"/>
                  <a:gd name="connsiteY3" fmla="*/ 5280 h 53547"/>
                  <a:gd name="connsiteX4" fmla="*/ 8004 w 113590"/>
                  <a:gd name="connsiteY4" fmla="*/ 2263 h 53547"/>
                  <a:gd name="connsiteX5" fmla="*/ 11020 w 113590"/>
                  <a:gd name="connsiteY5" fmla="*/ 8296 h 53547"/>
                  <a:gd name="connsiteX6" fmla="*/ 14037 w 113590"/>
                  <a:gd name="connsiteY6" fmla="*/ 29413 h 53547"/>
                  <a:gd name="connsiteX7" fmla="*/ 29121 w 113590"/>
                  <a:gd name="connsiteY7" fmla="*/ 38463 h 53547"/>
                  <a:gd name="connsiteX8" fmla="*/ 98507 w 113590"/>
                  <a:gd name="connsiteY8" fmla="*/ 32430 h 53547"/>
                  <a:gd name="connsiteX9" fmla="*/ 98507 w 113590"/>
                  <a:gd name="connsiteY9" fmla="*/ 29413 h 53547"/>
                  <a:gd name="connsiteX10" fmla="*/ 92473 w 113590"/>
                  <a:gd name="connsiteY10" fmla="*/ 11313 h 53547"/>
                  <a:gd name="connsiteX11" fmla="*/ 92473 w 113590"/>
                  <a:gd name="connsiteY11" fmla="*/ 2263 h 53547"/>
                  <a:gd name="connsiteX12" fmla="*/ 101523 w 113590"/>
                  <a:gd name="connsiteY12" fmla="*/ 2263 h 53547"/>
                  <a:gd name="connsiteX13" fmla="*/ 113590 w 113590"/>
                  <a:gd name="connsiteY13" fmla="*/ 32430 h 53547"/>
                  <a:gd name="connsiteX14" fmla="*/ 107557 w 113590"/>
                  <a:gd name="connsiteY14" fmla="*/ 47514 h 53547"/>
                  <a:gd name="connsiteX15" fmla="*/ 50238 w 113590"/>
                  <a:gd name="connsiteY15" fmla="*/ 53547 h 53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3590" h="53547">
                    <a:moveTo>
                      <a:pt x="50238" y="53547"/>
                    </a:moveTo>
                    <a:cubicBezTo>
                      <a:pt x="41188" y="53547"/>
                      <a:pt x="35154" y="53547"/>
                      <a:pt x="26104" y="50531"/>
                    </a:cubicBezTo>
                    <a:cubicBezTo>
                      <a:pt x="17054" y="47514"/>
                      <a:pt x="8004" y="44497"/>
                      <a:pt x="4987" y="35447"/>
                    </a:cubicBezTo>
                    <a:cubicBezTo>
                      <a:pt x="-4063" y="23379"/>
                      <a:pt x="1970" y="5280"/>
                      <a:pt x="1970" y="5280"/>
                    </a:cubicBezTo>
                    <a:cubicBezTo>
                      <a:pt x="1970" y="2263"/>
                      <a:pt x="4987" y="-754"/>
                      <a:pt x="8004" y="2263"/>
                    </a:cubicBezTo>
                    <a:cubicBezTo>
                      <a:pt x="11020" y="2263"/>
                      <a:pt x="14037" y="5280"/>
                      <a:pt x="11020" y="8296"/>
                    </a:cubicBezTo>
                    <a:cubicBezTo>
                      <a:pt x="11020" y="8296"/>
                      <a:pt x="8004" y="20363"/>
                      <a:pt x="14037" y="29413"/>
                    </a:cubicBezTo>
                    <a:cubicBezTo>
                      <a:pt x="17054" y="32430"/>
                      <a:pt x="20071" y="35447"/>
                      <a:pt x="29121" y="38463"/>
                    </a:cubicBezTo>
                    <a:cubicBezTo>
                      <a:pt x="59289" y="44497"/>
                      <a:pt x="89456" y="35447"/>
                      <a:pt x="98507" y="32430"/>
                    </a:cubicBezTo>
                    <a:cubicBezTo>
                      <a:pt x="98507" y="32430"/>
                      <a:pt x="98507" y="29413"/>
                      <a:pt x="98507" y="29413"/>
                    </a:cubicBezTo>
                    <a:cubicBezTo>
                      <a:pt x="98507" y="23379"/>
                      <a:pt x="95490" y="11313"/>
                      <a:pt x="92473" y="11313"/>
                    </a:cubicBezTo>
                    <a:cubicBezTo>
                      <a:pt x="89456" y="8296"/>
                      <a:pt x="89456" y="5280"/>
                      <a:pt x="92473" y="2263"/>
                    </a:cubicBezTo>
                    <a:cubicBezTo>
                      <a:pt x="95490" y="-754"/>
                      <a:pt x="98507" y="-754"/>
                      <a:pt x="101523" y="2263"/>
                    </a:cubicBezTo>
                    <a:cubicBezTo>
                      <a:pt x="107557" y="8296"/>
                      <a:pt x="113590" y="20363"/>
                      <a:pt x="113590" y="32430"/>
                    </a:cubicBezTo>
                    <a:cubicBezTo>
                      <a:pt x="113590" y="41480"/>
                      <a:pt x="110573" y="44497"/>
                      <a:pt x="107557" y="47514"/>
                    </a:cubicBezTo>
                    <a:cubicBezTo>
                      <a:pt x="95490" y="50531"/>
                      <a:pt x="74372" y="53547"/>
                      <a:pt x="50238" y="5354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9" name="图形 1">
              <a:extLst>
                <a:ext uri="{FF2B5EF4-FFF2-40B4-BE49-F238E27FC236}">
                  <a16:creationId xmlns:a16="http://schemas.microsoft.com/office/drawing/2014/main" id="{849FD23B-9507-4618-8AA8-73AD529ADFB3}"/>
                </a:ext>
              </a:extLst>
            </p:cNvPr>
            <p:cNvGrpSpPr/>
            <p:nvPr/>
          </p:nvGrpSpPr>
          <p:grpSpPr>
            <a:xfrm>
              <a:off x="3492957" y="9588235"/>
              <a:ext cx="294883" cy="175117"/>
              <a:chOff x="3492957" y="9588235"/>
              <a:chExt cx="294883" cy="175117"/>
            </a:xfrm>
          </p:grpSpPr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A320EEBA-0DE7-4953-B43D-43959B9E9827}"/>
                  </a:ext>
                </a:extLst>
              </p:cNvPr>
              <p:cNvSpPr/>
              <p:nvPr/>
            </p:nvSpPr>
            <p:spPr>
              <a:xfrm>
                <a:off x="3492957" y="9588235"/>
                <a:ext cx="285833" cy="175117"/>
              </a:xfrm>
              <a:custGeom>
                <a:avLst/>
                <a:gdLst>
                  <a:gd name="connsiteX0" fmla="*/ 11308 w 285833"/>
                  <a:gd name="connsiteY0" fmla="*/ 136237 h 175117"/>
                  <a:gd name="connsiteX1" fmla="*/ 14325 w 285833"/>
                  <a:gd name="connsiteY1" fmla="*/ 145287 h 175117"/>
                  <a:gd name="connsiteX2" fmla="*/ 159130 w 285833"/>
                  <a:gd name="connsiteY2" fmla="*/ 172438 h 175117"/>
                  <a:gd name="connsiteX3" fmla="*/ 270750 w 285833"/>
                  <a:gd name="connsiteY3" fmla="*/ 115119 h 175117"/>
                  <a:gd name="connsiteX4" fmla="*/ 261699 w 285833"/>
                  <a:gd name="connsiteY4" fmla="*/ 103052 h 175117"/>
                  <a:gd name="connsiteX5" fmla="*/ 225498 w 285833"/>
                  <a:gd name="connsiteY5" fmla="*/ 112102 h 175117"/>
                  <a:gd name="connsiteX6" fmla="*/ 264716 w 285833"/>
                  <a:gd name="connsiteY6" fmla="*/ 90986 h 175117"/>
                  <a:gd name="connsiteX7" fmla="*/ 285834 w 285833"/>
                  <a:gd name="connsiteY7" fmla="*/ 66851 h 175117"/>
                  <a:gd name="connsiteX8" fmla="*/ 273767 w 285833"/>
                  <a:gd name="connsiteY8" fmla="*/ 57801 h 175117"/>
                  <a:gd name="connsiteX9" fmla="*/ 276783 w 285833"/>
                  <a:gd name="connsiteY9" fmla="*/ 54784 h 175117"/>
                  <a:gd name="connsiteX10" fmla="*/ 261699 w 285833"/>
                  <a:gd name="connsiteY10" fmla="*/ 42717 h 175117"/>
                  <a:gd name="connsiteX11" fmla="*/ 116895 w 285833"/>
                  <a:gd name="connsiteY11" fmla="*/ 72885 h 175117"/>
                  <a:gd name="connsiteX12" fmla="*/ 144046 w 285833"/>
                  <a:gd name="connsiteY12" fmla="*/ 36683 h 175117"/>
                  <a:gd name="connsiteX13" fmla="*/ 189297 w 285833"/>
                  <a:gd name="connsiteY13" fmla="*/ 21600 h 175117"/>
                  <a:gd name="connsiteX14" fmla="*/ 162146 w 285833"/>
                  <a:gd name="connsiteY14" fmla="*/ 483 h 175117"/>
                  <a:gd name="connsiteX15" fmla="*/ 107845 w 285833"/>
                  <a:gd name="connsiteY15" fmla="*/ 6516 h 175117"/>
                  <a:gd name="connsiteX16" fmla="*/ 38459 w 285833"/>
                  <a:gd name="connsiteY16" fmla="*/ 33666 h 175117"/>
                  <a:gd name="connsiteX17" fmla="*/ 11308 w 285833"/>
                  <a:gd name="connsiteY17" fmla="*/ 136237 h 17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85833" h="175117">
                    <a:moveTo>
                      <a:pt x="11308" y="136237"/>
                    </a:moveTo>
                    <a:cubicBezTo>
                      <a:pt x="11308" y="139253"/>
                      <a:pt x="11308" y="145287"/>
                      <a:pt x="14325" y="145287"/>
                    </a:cubicBezTo>
                    <a:cubicBezTo>
                      <a:pt x="50526" y="166405"/>
                      <a:pt x="113878" y="181488"/>
                      <a:pt x="159130" y="172438"/>
                    </a:cubicBezTo>
                    <a:cubicBezTo>
                      <a:pt x="189297" y="166405"/>
                      <a:pt x="270750" y="130203"/>
                      <a:pt x="270750" y="115119"/>
                    </a:cubicBezTo>
                    <a:cubicBezTo>
                      <a:pt x="270750" y="112102"/>
                      <a:pt x="264716" y="106069"/>
                      <a:pt x="261699" y="103052"/>
                    </a:cubicBezTo>
                    <a:cubicBezTo>
                      <a:pt x="255666" y="100035"/>
                      <a:pt x="231532" y="112102"/>
                      <a:pt x="225498" y="112102"/>
                    </a:cubicBezTo>
                    <a:cubicBezTo>
                      <a:pt x="237565" y="103052"/>
                      <a:pt x="252649" y="100035"/>
                      <a:pt x="264716" y="90986"/>
                    </a:cubicBezTo>
                    <a:cubicBezTo>
                      <a:pt x="273767" y="81935"/>
                      <a:pt x="285834" y="75902"/>
                      <a:pt x="285834" y="66851"/>
                    </a:cubicBezTo>
                    <a:cubicBezTo>
                      <a:pt x="285834" y="54784"/>
                      <a:pt x="279800" y="57801"/>
                      <a:pt x="273767" y="57801"/>
                    </a:cubicBezTo>
                    <a:cubicBezTo>
                      <a:pt x="273767" y="57801"/>
                      <a:pt x="276783" y="54784"/>
                      <a:pt x="276783" y="54784"/>
                    </a:cubicBezTo>
                    <a:cubicBezTo>
                      <a:pt x="279800" y="51767"/>
                      <a:pt x="261699" y="48750"/>
                      <a:pt x="261699" y="42717"/>
                    </a:cubicBezTo>
                    <a:cubicBezTo>
                      <a:pt x="249632" y="21600"/>
                      <a:pt x="141029" y="100035"/>
                      <a:pt x="116895" y="72885"/>
                    </a:cubicBezTo>
                    <a:cubicBezTo>
                      <a:pt x="119912" y="66851"/>
                      <a:pt x="131979" y="45734"/>
                      <a:pt x="144046" y="36683"/>
                    </a:cubicBezTo>
                    <a:cubicBezTo>
                      <a:pt x="180247" y="36683"/>
                      <a:pt x="189297" y="24616"/>
                      <a:pt x="189297" y="21600"/>
                    </a:cubicBezTo>
                    <a:cubicBezTo>
                      <a:pt x="189297" y="15567"/>
                      <a:pt x="165163" y="483"/>
                      <a:pt x="162146" y="483"/>
                    </a:cubicBezTo>
                    <a:cubicBezTo>
                      <a:pt x="128962" y="483"/>
                      <a:pt x="134996" y="-2534"/>
                      <a:pt x="107845" y="6516"/>
                    </a:cubicBezTo>
                    <a:cubicBezTo>
                      <a:pt x="83711" y="15567"/>
                      <a:pt x="62593" y="24616"/>
                      <a:pt x="38459" y="33666"/>
                    </a:cubicBezTo>
                    <a:cubicBezTo>
                      <a:pt x="-6792" y="48750"/>
                      <a:pt x="-6792" y="100035"/>
                      <a:pt x="11308" y="13623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62AFCCE6-B736-4BEA-B351-C8A844735114}"/>
                  </a:ext>
                </a:extLst>
              </p:cNvPr>
              <p:cNvSpPr/>
              <p:nvPr/>
            </p:nvSpPr>
            <p:spPr>
              <a:xfrm>
                <a:off x="3655103" y="9633228"/>
                <a:ext cx="132737" cy="94259"/>
              </a:xfrm>
              <a:custGeom>
                <a:avLst/>
                <a:gdLst>
                  <a:gd name="connsiteX0" fmla="*/ 27151 w 132737"/>
                  <a:gd name="connsiteY0" fmla="*/ 94260 h 94259"/>
                  <a:gd name="connsiteX1" fmla="*/ 21117 w 132737"/>
                  <a:gd name="connsiteY1" fmla="*/ 91244 h 94259"/>
                  <a:gd name="connsiteX2" fmla="*/ 24134 w 132737"/>
                  <a:gd name="connsiteY2" fmla="*/ 82193 h 94259"/>
                  <a:gd name="connsiteX3" fmla="*/ 93520 w 132737"/>
                  <a:gd name="connsiteY3" fmla="*/ 42975 h 94259"/>
                  <a:gd name="connsiteX4" fmla="*/ 114637 w 132737"/>
                  <a:gd name="connsiteY4" fmla="*/ 18841 h 94259"/>
                  <a:gd name="connsiteX5" fmla="*/ 111620 w 132737"/>
                  <a:gd name="connsiteY5" fmla="*/ 12808 h 94259"/>
                  <a:gd name="connsiteX6" fmla="*/ 84469 w 132737"/>
                  <a:gd name="connsiteY6" fmla="*/ 30908 h 94259"/>
                  <a:gd name="connsiteX7" fmla="*/ 6034 w 132737"/>
                  <a:gd name="connsiteY7" fmla="*/ 76160 h 94259"/>
                  <a:gd name="connsiteX8" fmla="*/ 0 w 132737"/>
                  <a:gd name="connsiteY8" fmla="*/ 70126 h 94259"/>
                  <a:gd name="connsiteX9" fmla="*/ 6034 w 132737"/>
                  <a:gd name="connsiteY9" fmla="*/ 64092 h 94259"/>
                  <a:gd name="connsiteX10" fmla="*/ 81453 w 132737"/>
                  <a:gd name="connsiteY10" fmla="*/ 21858 h 94259"/>
                  <a:gd name="connsiteX11" fmla="*/ 123687 w 132737"/>
                  <a:gd name="connsiteY11" fmla="*/ 741 h 94259"/>
                  <a:gd name="connsiteX12" fmla="*/ 132737 w 132737"/>
                  <a:gd name="connsiteY12" fmla="*/ 15825 h 94259"/>
                  <a:gd name="connsiteX13" fmla="*/ 108603 w 132737"/>
                  <a:gd name="connsiteY13" fmla="*/ 49008 h 94259"/>
                  <a:gd name="connsiteX14" fmla="*/ 27151 w 132737"/>
                  <a:gd name="connsiteY14" fmla="*/ 94260 h 94259"/>
                  <a:gd name="connsiteX15" fmla="*/ 27151 w 132737"/>
                  <a:gd name="connsiteY15" fmla="*/ 94260 h 94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2737" h="94259">
                    <a:moveTo>
                      <a:pt x="27151" y="94260"/>
                    </a:moveTo>
                    <a:cubicBezTo>
                      <a:pt x="24134" y="94260"/>
                      <a:pt x="24134" y="94260"/>
                      <a:pt x="21117" y="91244"/>
                    </a:cubicBezTo>
                    <a:cubicBezTo>
                      <a:pt x="21117" y="88227"/>
                      <a:pt x="21117" y="85210"/>
                      <a:pt x="24134" y="82193"/>
                    </a:cubicBezTo>
                    <a:cubicBezTo>
                      <a:pt x="24134" y="82193"/>
                      <a:pt x="75419" y="55042"/>
                      <a:pt x="93520" y="42975"/>
                    </a:cubicBezTo>
                    <a:cubicBezTo>
                      <a:pt x="99553" y="36941"/>
                      <a:pt x="114637" y="27892"/>
                      <a:pt x="114637" y="18841"/>
                    </a:cubicBezTo>
                    <a:cubicBezTo>
                      <a:pt x="114637" y="18841"/>
                      <a:pt x="114637" y="15825"/>
                      <a:pt x="111620" y="12808"/>
                    </a:cubicBezTo>
                    <a:cubicBezTo>
                      <a:pt x="105587" y="15825"/>
                      <a:pt x="93520" y="24875"/>
                      <a:pt x="84469" y="30908"/>
                    </a:cubicBezTo>
                    <a:cubicBezTo>
                      <a:pt x="60335" y="49008"/>
                      <a:pt x="27151" y="73143"/>
                      <a:pt x="6034" y="76160"/>
                    </a:cubicBezTo>
                    <a:cubicBezTo>
                      <a:pt x="3017" y="76160"/>
                      <a:pt x="0" y="73143"/>
                      <a:pt x="0" y="70126"/>
                    </a:cubicBezTo>
                    <a:cubicBezTo>
                      <a:pt x="0" y="67109"/>
                      <a:pt x="3017" y="64092"/>
                      <a:pt x="6034" y="64092"/>
                    </a:cubicBezTo>
                    <a:cubicBezTo>
                      <a:pt x="27151" y="61076"/>
                      <a:pt x="57318" y="36941"/>
                      <a:pt x="81453" y="21858"/>
                    </a:cubicBezTo>
                    <a:cubicBezTo>
                      <a:pt x="105587" y="3757"/>
                      <a:pt x="114637" y="-2276"/>
                      <a:pt x="123687" y="741"/>
                    </a:cubicBezTo>
                    <a:cubicBezTo>
                      <a:pt x="129721" y="6774"/>
                      <a:pt x="132737" y="9791"/>
                      <a:pt x="132737" y="15825"/>
                    </a:cubicBezTo>
                    <a:cubicBezTo>
                      <a:pt x="132737" y="24875"/>
                      <a:pt x="123687" y="36941"/>
                      <a:pt x="108603" y="49008"/>
                    </a:cubicBezTo>
                    <a:cubicBezTo>
                      <a:pt x="84469" y="67109"/>
                      <a:pt x="33184" y="94260"/>
                      <a:pt x="27151" y="94260"/>
                    </a:cubicBezTo>
                    <a:cubicBezTo>
                      <a:pt x="30168" y="94260"/>
                      <a:pt x="30168" y="94260"/>
                      <a:pt x="27151" y="9426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D4BD7287-1468-4A5A-A1C7-2B056DA76A03}"/>
                  </a:ext>
                </a:extLst>
              </p:cNvPr>
              <p:cNvSpPr/>
              <p:nvPr/>
            </p:nvSpPr>
            <p:spPr>
              <a:xfrm>
                <a:off x="3605585" y="9621901"/>
                <a:ext cx="164908" cy="51285"/>
              </a:xfrm>
              <a:custGeom>
                <a:avLst/>
                <a:gdLst>
                  <a:gd name="connsiteX0" fmla="*/ 34434 w 164908"/>
                  <a:gd name="connsiteY0" fmla="*/ 51285 h 51285"/>
                  <a:gd name="connsiteX1" fmla="*/ 4266 w 164908"/>
                  <a:gd name="connsiteY1" fmla="*/ 45251 h 51285"/>
                  <a:gd name="connsiteX2" fmla="*/ 1250 w 164908"/>
                  <a:gd name="connsiteY2" fmla="*/ 36201 h 51285"/>
                  <a:gd name="connsiteX3" fmla="*/ 10300 w 164908"/>
                  <a:gd name="connsiteY3" fmla="*/ 33185 h 51285"/>
                  <a:gd name="connsiteX4" fmla="*/ 40468 w 164908"/>
                  <a:gd name="connsiteY4" fmla="*/ 39218 h 51285"/>
                  <a:gd name="connsiteX5" fmla="*/ 100803 w 164908"/>
                  <a:gd name="connsiteY5" fmla="*/ 15084 h 51285"/>
                  <a:gd name="connsiteX6" fmla="*/ 140021 w 164908"/>
                  <a:gd name="connsiteY6" fmla="*/ 0 h 51285"/>
                  <a:gd name="connsiteX7" fmla="*/ 161138 w 164908"/>
                  <a:gd name="connsiteY7" fmla="*/ 9051 h 51285"/>
                  <a:gd name="connsiteX8" fmla="*/ 164155 w 164908"/>
                  <a:gd name="connsiteY8" fmla="*/ 24135 h 51285"/>
                  <a:gd name="connsiteX9" fmla="*/ 158121 w 164908"/>
                  <a:gd name="connsiteY9" fmla="*/ 27152 h 51285"/>
                  <a:gd name="connsiteX10" fmla="*/ 155104 w 164908"/>
                  <a:gd name="connsiteY10" fmla="*/ 21118 h 51285"/>
                  <a:gd name="connsiteX11" fmla="*/ 155104 w 164908"/>
                  <a:gd name="connsiteY11" fmla="*/ 15084 h 51285"/>
                  <a:gd name="connsiteX12" fmla="*/ 143037 w 164908"/>
                  <a:gd name="connsiteY12" fmla="*/ 9051 h 51285"/>
                  <a:gd name="connsiteX13" fmla="*/ 109853 w 164908"/>
                  <a:gd name="connsiteY13" fmla="*/ 21118 h 51285"/>
                  <a:gd name="connsiteX14" fmla="*/ 43484 w 164908"/>
                  <a:gd name="connsiteY14" fmla="*/ 48268 h 51285"/>
                  <a:gd name="connsiteX15" fmla="*/ 34434 w 164908"/>
                  <a:gd name="connsiteY15" fmla="*/ 51285 h 51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4908" h="51285">
                    <a:moveTo>
                      <a:pt x="34434" y="51285"/>
                    </a:moveTo>
                    <a:cubicBezTo>
                      <a:pt x="22367" y="51285"/>
                      <a:pt x="4266" y="45251"/>
                      <a:pt x="4266" y="45251"/>
                    </a:cubicBezTo>
                    <a:cubicBezTo>
                      <a:pt x="1250" y="45251"/>
                      <a:pt x="-1767" y="39218"/>
                      <a:pt x="1250" y="36201"/>
                    </a:cubicBezTo>
                    <a:cubicBezTo>
                      <a:pt x="1250" y="33185"/>
                      <a:pt x="7283" y="30168"/>
                      <a:pt x="10300" y="33185"/>
                    </a:cubicBezTo>
                    <a:cubicBezTo>
                      <a:pt x="16333" y="36201"/>
                      <a:pt x="31417" y="39218"/>
                      <a:pt x="40468" y="39218"/>
                    </a:cubicBezTo>
                    <a:cubicBezTo>
                      <a:pt x="64602" y="36201"/>
                      <a:pt x="82702" y="24135"/>
                      <a:pt x="100803" y="15084"/>
                    </a:cubicBezTo>
                    <a:cubicBezTo>
                      <a:pt x="115887" y="6034"/>
                      <a:pt x="127954" y="0"/>
                      <a:pt x="140021" y="0"/>
                    </a:cubicBezTo>
                    <a:cubicBezTo>
                      <a:pt x="149071" y="0"/>
                      <a:pt x="155104" y="6034"/>
                      <a:pt x="161138" y="9051"/>
                    </a:cubicBezTo>
                    <a:cubicBezTo>
                      <a:pt x="167171" y="15084"/>
                      <a:pt x="164155" y="24135"/>
                      <a:pt x="164155" y="24135"/>
                    </a:cubicBezTo>
                    <a:cubicBezTo>
                      <a:pt x="164155" y="27152"/>
                      <a:pt x="161138" y="30168"/>
                      <a:pt x="158121" y="27152"/>
                    </a:cubicBezTo>
                    <a:cubicBezTo>
                      <a:pt x="155104" y="27152"/>
                      <a:pt x="152088" y="24135"/>
                      <a:pt x="155104" y="21118"/>
                    </a:cubicBezTo>
                    <a:cubicBezTo>
                      <a:pt x="155104" y="21118"/>
                      <a:pt x="155104" y="18101"/>
                      <a:pt x="155104" y="15084"/>
                    </a:cubicBezTo>
                    <a:cubicBezTo>
                      <a:pt x="152088" y="12068"/>
                      <a:pt x="149071" y="12068"/>
                      <a:pt x="143037" y="9051"/>
                    </a:cubicBezTo>
                    <a:cubicBezTo>
                      <a:pt x="133987" y="9051"/>
                      <a:pt x="124937" y="15084"/>
                      <a:pt x="109853" y="21118"/>
                    </a:cubicBezTo>
                    <a:cubicBezTo>
                      <a:pt x="91752" y="30168"/>
                      <a:pt x="70635" y="45251"/>
                      <a:pt x="43484" y="48268"/>
                    </a:cubicBezTo>
                    <a:cubicBezTo>
                      <a:pt x="37451" y="51285"/>
                      <a:pt x="34434" y="51285"/>
                      <a:pt x="34434" y="5128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42102727-A365-4644-9425-0F274F818713}"/>
                </a:ext>
              </a:extLst>
            </p:cNvPr>
            <p:cNvSpPr/>
            <p:nvPr/>
          </p:nvSpPr>
          <p:spPr>
            <a:xfrm>
              <a:off x="2994164" y="8829813"/>
              <a:ext cx="525184" cy="927842"/>
            </a:xfrm>
            <a:custGeom>
              <a:avLst/>
              <a:gdLst>
                <a:gd name="connsiteX0" fmla="*/ 3285 w 525184"/>
                <a:gd name="connsiteY0" fmla="*/ 246055 h 927842"/>
                <a:gd name="connsiteX1" fmla="*/ 126973 w 525184"/>
                <a:gd name="connsiteY1" fmla="*/ 1698 h 927842"/>
                <a:gd name="connsiteX2" fmla="*/ 253677 w 525184"/>
                <a:gd name="connsiteY2" fmla="*/ 243039 h 927842"/>
                <a:gd name="connsiteX3" fmla="*/ 262727 w 525184"/>
                <a:gd name="connsiteY3" fmla="*/ 653318 h 927842"/>
                <a:gd name="connsiteX4" fmla="*/ 525185 w 525184"/>
                <a:gd name="connsiteY4" fmla="*/ 786055 h 927842"/>
                <a:gd name="connsiteX5" fmla="*/ 507084 w 525184"/>
                <a:gd name="connsiteY5" fmla="*/ 927843 h 927842"/>
                <a:gd name="connsiteX6" fmla="*/ 72671 w 525184"/>
                <a:gd name="connsiteY6" fmla="*/ 789072 h 927842"/>
                <a:gd name="connsiteX7" fmla="*/ 3285 w 525184"/>
                <a:gd name="connsiteY7" fmla="*/ 246055 h 92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5184" h="927842">
                  <a:moveTo>
                    <a:pt x="3285" y="246055"/>
                  </a:moveTo>
                  <a:cubicBezTo>
                    <a:pt x="15353" y="95217"/>
                    <a:pt x="48537" y="13765"/>
                    <a:pt x="126973" y="1698"/>
                  </a:cubicBezTo>
                  <a:cubicBezTo>
                    <a:pt x="217475" y="-16403"/>
                    <a:pt x="256693" y="113318"/>
                    <a:pt x="253677" y="243039"/>
                  </a:cubicBezTo>
                  <a:cubicBezTo>
                    <a:pt x="250660" y="345608"/>
                    <a:pt x="232559" y="638234"/>
                    <a:pt x="262727" y="653318"/>
                  </a:cubicBezTo>
                  <a:cubicBezTo>
                    <a:pt x="304961" y="701586"/>
                    <a:pt x="525185" y="786055"/>
                    <a:pt x="525185" y="786055"/>
                  </a:cubicBezTo>
                  <a:cubicBezTo>
                    <a:pt x="522168" y="819240"/>
                    <a:pt x="507084" y="927843"/>
                    <a:pt x="507084" y="927843"/>
                  </a:cubicBezTo>
                  <a:cubicBezTo>
                    <a:pt x="507084" y="927843"/>
                    <a:pt x="123956" y="849408"/>
                    <a:pt x="72671" y="789072"/>
                  </a:cubicBezTo>
                  <a:cubicBezTo>
                    <a:pt x="27420" y="734770"/>
                    <a:pt x="-11798" y="427061"/>
                    <a:pt x="3285" y="246055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2996D47A-832A-4464-99ED-C9AB68BCF610}"/>
                </a:ext>
              </a:extLst>
            </p:cNvPr>
            <p:cNvSpPr/>
            <p:nvPr/>
          </p:nvSpPr>
          <p:spPr>
            <a:xfrm>
              <a:off x="3084936" y="8825203"/>
              <a:ext cx="438679" cy="793682"/>
            </a:xfrm>
            <a:custGeom>
              <a:avLst/>
              <a:gdLst>
                <a:gd name="connsiteX0" fmla="*/ 434413 w 438679"/>
                <a:gd name="connsiteY0" fmla="*/ 793682 h 793682"/>
                <a:gd name="connsiteX1" fmla="*/ 434413 w 438679"/>
                <a:gd name="connsiteY1" fmla="*/ 793682 h 793682"/>
                <a:gd name="connsiteX2" fmla="*/ 165922 w 438679"/>
                <a:gd name="connsiteY2" fmla="*/ 660944 h 793682"/>
                <a:gd name="connsiteX3" fmla="*/ 147821 w 438679"/>
                <a:gd name="connsiteY3" fmla="*/ 434688 h 793682"/>
                <a:gd name="connsiteX4" fmla="*/ 150838 w 438679"/>
                <a:gd name="connsiteY4" fmla="*/ 389436 h 793682"/>
                <a:gd name="connsiteX5" fmla="*/ 159888 w 438679"/>
                <a:gd name="connsiteY5" fmla="*/ 292900 h 793682"/>
                <a:gd name="connsiteX6" fmla="*/ 162905 w 438679"/>
                <a:gd name="connsiteY6" fmla="*/ 136028 h 793682"/>
                <a:gd name="connsiteX7" fmla="*/ 132737 w 438679"/>
                <a:gd name="connsiteY7" fmla="*/ 57593 h 793682"/>
                <a:gd name="connsiteX8" fmla="*/ 6034 w 438679"/>
                <a:gd name="connsiteY8" fmla="*/ 15358 h 793682"/>
                <a:gd name="connsiteX9" fmla="*/ 0 w 438679"/>
                <a:gd name="connsiteY9" fmla="*/ 12341 h 793682"/>
                <a:gd name="connsiteX10" fmla="*/ 3017 w 438679"/>
                <a:gd name="connsiteY10" fmla="*/ 6308 h 793682"/>
                <a:gd name="connsiteX11" fmla="*/ 141788 w 438679"/>
                <a:gd name="connsiteY11" fmla="*/ 51559 h 793682"/>
                <a:gd name="connsiteX12" fmla="*/ 174972 w 438679"/>
                <a:gd name="connsiteY12" fmla="*/ 133012 h 793682"/>
                <a:gd name="connsiteX13" fmla="*/ 171955 w 438679"/>
                <a:gd name="connsiteY13" fmla="*/ 292900 h 793682"/>
                <a:gd name="connsiteX14" fmla="*/ 162905 w 438679"/>
                <a:gd name="connsiteY14" fmla="*/ 386419 h 793682"/>
                <a:gd name="connsiteX15" fmla="*/ 159888 w 438679"/>
                <a:gd name="connsiteY15" fmla="*/ 431671 h 793682"/>
                <a:gd name="connsiteX16" fmla="*/ 171955 w 438679"/>
                <a:gd name="connsiteY16" fmla="*/ 648877 h 793682"/>
                <a:gd name="connsiteX17" fmla="*/ 434413 w 438679"/>
                <a:gd name="connsiteY17" fmla="*/ 781615 h 793682"/>
                <a:gd name="connsiteX18" fmla="*/ 437430 w 438679"/>
                <a:gd name="connsiteY18" fmla="*/ 787649 h 793682"/>
                <a:gd name="connsiteX19" fmla="*/ 434413 w 438679"/>
                <a:gd name="connsiteY19" fmla="*/ 793682 h 793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38679" h="793682">
                  <a:moveTo>
                    <a:pt x="434413" y="793682"/>
                  </a:moveTo>
                  <a:cubicBezTo>
                    <a:pt x="434413" y="793682"/>
                    <a:pt x="434413" y="793682"/>
                    <a:pt x="434413" y="793682"/>
                  </a:cubicBezTo>
                  <a:cubicBezTo>
                    <a:pt x="422346" y="787649"/>
                    <a:pt x="196089" y="682062"/>
                    <a:pt x="165922" y="660944"/>
                  </a:cubicBezTo>
                  <a:cubicBezTo>
                    <a:pt x="141788" y="642845"/>
                    <a:pt x="144805" y="546308"/>
                    <a:pt x="147821" y="434688"/>
                  </a:cubicBezTo>
                  <a:cubicBezTo>
                    <a:pt x="147821" y="416587"/>
                    <a:pt x="147821" y="401503"/>
                    <a:pt x="150838" y="389436"/>
                  </a:cubicBezTo>
                  <a:cubicBezTo>
                    <a:pt x="150838" y="356252"/>
                    <a:pt x="156872" y="326084"/>
                    <a:pt x="159888" y="292900"/>
                  </a:cubicBezTo>
                  <a:cubicBezTo>
                    <a:pt x="168939" y="238598"/>
                    <a:pt x="174972" y="187314"/>
                    <a:pt x="162905" y="136028"/>
                  </a:cubicBezTo>
                  <a:cubicBezTo>
                    <a:pt x="156872" y="111895"/>
                    <a:pt x="147821" y="81727"/>
                    <a:pt x="132737" y="57593"/>
                  </a:cubicBezTo>
                  <a:cubicBezTo>
                    <a:pt x="120670" y="39492"/>
                    <a:pt x="69386" y="-5759"/>
                    <a:pt x="6034" y="15358"/>
                  </a:cubicBezTo>
                  <a:cubicBezTo>
                    <a:pt x="3017" y="15358"/>
                    <a:pt x="0" y="15358"/>
                    <a:pt x="0" y="12341"/>
                  </a:cubicBezTo>
                  <a:cubicBezTo>
                    <a:pt x="0" y="9324"/>
                    <a:pt x="0" y="6308"/>
                    <a:pt x="3017" y="6308"/>
                  </a:cubicBezTo>
                  <a:cubicBezTo>
                    <a:pt x="66369" y="-14810"/>
                    <a:pt x="123687" y="21392"/>
                    <a:pt x="141788" y="51559"/>
                  </a:cubicBezTo>
                  <a:cubicBezTo>
                    <a:pt x="159888" y="78710"/>
                    <a:pt x="168939" y="108878"/>
                    <a:pt x="174972" y="133012"/>
                  </a:cubicBezTo>
                  <a:cubicBezTo>
                    <a:pt x="187039" y="184297"/>
                    <a:pt x="181006" y="238598"/>
                    <a:pt x="171955" y="292900"/>
                  </a:cubicBezTo>
                  <a:cubicBezTo>
                    <a:pt x="168939" y="323068"/>
                    <a:pt x="162905" y="356252"/>
                    <a:pt x="162905" y="386419"/>
                  </a:cubicBezTo>
                  <a:cubicBezTo>
                    <a:pt x="162905" y="398487"/>
                    <a:pt x="162905" y="413571"/>
                    <a:pt x="159888" y="431671"/>
                  </a:cubicBezTo>
                  <a:cubicBezTo>
                    <a:pt x="156872" y="507090"/>
                    <a:pt x="150838" y="630777"/>
                    <a:pt x="171955" y="648877"/>
                  </a:cubicBezTo>
                  <a:cubicBezTo>
                    <a:pt x="202123" y="669995"/>
                    <a:pt x="431397" y="778599"/>
                    <a:pt x="434413" y="781615"/>
                  </a:cubicBezTo>
                  <a:cubicBezTo>
                    <a:pt x="437430" y="781615"/>
                    <a:pt x="437430" y="787649"/>
                    <a:pt x="437430" y="787649"/>
                  </a:cubicBezTo>
                  <a:cubicBezTo>
                    <a:pt x="440447" y="793682"/>
                    <a:pt x="437430" y="793682"/>
                    <a:pt x="434413" y="793682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1D9352B1-19A8-4E49-AEEF-503BCD4AF913}"/>
                </a:ext>
              </a:extLst>
            </p:cNvPr>
            <p:cNvSpPr/>
            <p:nvPr/>
          </p:nvSpPr>
          <p:spPr>
            <a:xfrm>
              <a:off x="3121137" y="9646036"/>
              <a:ext cx="384378" cy="114636"/>
            </a:xfrm>
            <a:custGeom>
              <a:avLst/>
              <a:gdLst>
                <a:gd name="connsiteX0" fmla="*/ 380112 w 384378"/>
                <a:gd name="connsiteY0" fmla="*/ 114637 h 114636"/>
                <a:gd name="connsiteX1" fmla="*/ 380112 w 384378"/>
                <a:gd name="connsiteY1" fmla="*/ 114637 h 114636"/>
                <a:gd name="connsiteX2" fmla="*/ 3017 w 384378"/>
                <a:gd name="connsiteY2" fmla="*/ 12067 h 114636"/>
                <a:gd name="connsiteX3" fmla="*/ 0 w 384378"/>
                <a:gd name="connsiteY3" fmla="*/ 3017 h 114636"/>
                <a:gd name="connsiteX4" fmla="*/ 9050 w 384378"/>
                <a:gd name="connsiteY4" fmla="*/ 0 h 114636"/>
                <a:gd name="connsiteX5" fmla="*/ 380112 w 384378"/>
                <a:gd name="connsiteY5" fmla="*/ 102570 h 114636"/>
                <a:gd name="connsiteX6" fmla="*/ 383129 w 384378"/>
                <a:gd name="connsiteY6" fmla="*/ 108604 h 114636"/>
                <a:gd name="connsiteX7" fmla="*/ 380112 w 384378"/>
                <a:gd name="connsiteY7" fmla="*/ 114637 h 114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378" h="114636">
                  <a:moveTo>
                    <a:pt x="380112" y="114637"/>
                  </a:moveTo>
                  <a:cubicBezTo>
                    <a:pt x="380112" y="114637"/>
                    <a:pt x="380112" y="114637"/>
                    <a:pt x="380112" y="114637"/>
                  </a:cubicBezTo>
                  <a:cubicBezTo>
                    <a:pt x="365028" y="111620"/>
                    <a:pt x="66369" y="48268"/>
                    <a:pt x="3017" y="12067"/>
                  </a:cubicBezTo>
                  <a:cubicBezTo>
                    <a:pt x="0" y="9050"/>
                    <a:pt x="0" y="6033"/>
                    <a:pt x="0" y="3017"/>
                  </a:cubicBezTo>
                  <a:cubicBezTo>
                    <a:pt x="3017" y="0"/>
                    <a:pt x="6034" y="0"/>
                    <a:pt x="9050" y="0"/>
                  </a:cubicBezTo>
                  <a:cubicBezTo>
                    <a:pt x="69385" y="36201"/>
                    <a:pt x="377095" y="102570"/>
                    <a:pt x="380112" y="102570"/>
                  </a:cubicBezTo>
                  <a:cubicBezTo>
                    <a:pt x="383129" y="102570"/>
                    <a:pt x="386145" y="105587"/>
                    <a:pt x="383129" y="108604"/>
                  </a:cubicBezTo>
                  <a:cubicBezTo>
                    <a:pt x="386145" y="114637"/>
                    <a:pt x="383129" y="114637"/>
                    <a:pt x="380112" y="114637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699753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87C2009E-B555-4B28-A84E-FB14C4682BD1}"/>
              </a:ext>
            </a:extLst>
          </p:cNvPr>
          <p:cNvGrpSpPr/>
          <p:nvPr/>
        </p:nvGrpSpPr>
        <p:grpSpPr>
          <a:xfrm>
            <a:off x="3008672" y="2048131"/>
            <a:ext cx="2093631" cy="4745721"/>
            <a:chOff x="2457450" y="1723666"/>
            <a:chExt cx="2093631" cy="4745721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8AF39764-DF38-4073-B822-3821EE004E0D}"/>
                </a:ext>
              </a:extLst>
            </p:cNvPr>
            <p:cNvGrpSpPr/>
            <p:nvPr/>
          </p:nvGrpSpPr>
          <p:grpSpPr>
            <a:xfrm>
              <a:off x="3851193" y="6028941"/>
              <a:ext cx="561163" cy="383918"/>
              <a:chOff x="3851193" y="6028941"/>
              <a:chExt cx="561163" cy="383918"/>
            </a:xfrm>
          </p:grpSpPr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E42B712B-A270-43FA-B7FF-42518D327B6E}"/>
                  </a:ext>
                </a:extLst>
              </p:cNvPr>
              <p:cNvSpPr/>
              <p:nvPr/>
            </p:nvSpPr>
            <p:spPr>
              <a:xfrm>
                <a:off x="3851193" y="6028941"/>
                <a:ext cx="220223" cy="265474"/>
              </a:xfrm>
              <a:custGeom>
                <a:avLst/>
                <a:gdLst>
                  <a:gd name="connsiteX0" fmla="*/ 66369 w 220223"/>
                  <a:gd name="connsiteY0" fmla="*/ 232290 h 265474"/>
                  <a:gd name="connsiteX1" fmla="*/ 0 w 220223"/>
                  <a:gd name="connsiteY1" fmla="*/ 60335 h 265474"/>
                  <a:gd name="connsiteX2" fmla="*/ 168939 w 220223"/>
                  <a:gd name="connsiteY2" fmla="*/ 0 h 265474"/>
                  <a:gd name="connsiteX3" fmla="*/ 220223 w 220223"/>
                  <a:gd name="connsiteY3" fmla="*/ 187039 h 265474"/>
                  <a:gd name="connsiteX4" fmla="*/ 90503 w 220223"/>
                  <a:gd name="connsiteY4" fmla="*/ 265475 h 265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0223" h="265474">
                    <a:moveTo>
                      <a:pt x="66369" y="232290"/>
                    </a:moveTo>
                    <a:lnTo>
                      <a:pt x="0" y="60335"/>
                    </a:lnTo>
                    <a:lnTo>
                      <a:pt x="168939" y="0"/>
                    </a:lnTo>
                    <a:lnTo>
                      <a:pt x="220223" y="187039"/>
                    </a:lnTo>
                    <a:lnTo>
                      <a:pt x="90503" y="265475"/>
                    </a:ln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48881663-939C-4F97-B578-F2ECC7351081}"/>
                  </a:ext>
                </a:extLst>
              </p:cNvPr>
              <p:cNvSpPr/>
              <p:nvPr/>
            </p:nvSpPr>
            <p:spPr>
              <a:xfrm>
                <a:off x="3902477" y="6158661"/>
                <a:ext cx="491731" cy="211173"/>
              </a:xfrm>
              <a:custGeom>
                <a:avLst/>
                <a:gdLst>
                  <a:gd name="connsiteX0" fmla="*/ 0 w 491731"/>
                  <a:gd name="connsiteY0" fmla="*/ 105587 h 211173"/>
                  <a:gd name="connsiteX1" fmla="*/ 156871 w 491731"/>
                  <a:gd name="connsiteY1" fmla="*/ 0 h 211173"/>
                  <a:gd name="connsiteX2" fmla="*/ 307709 w 491731"/>
                  <a:gd name="connsiteY2" fmla="*/ 30168 h 211173"/>
                  <a:gd name="connsiteX3" fmla="*/ 491732 w 491731"/>
                  <a:gd name="connsiteY3" fmla="*/ 48268 h 211173"/>
                  <a:gd name="connsiteX4" fmla="*/ 39218 w 491731"/>
                  <a:gd name="connsiteY4" fmla="*/ 211173 h 211173"/>
                  <a:gd name="connsiteX5" fmla="*/ 0 w 491731"/>
                  <a:gd name="connsiteY5" fmla="*/ 105587 h 211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1731" h="211173">
                    <a:moveTo>
                      <a:pt x="0" y="105587"/>
                    </a:moveTo>
                    <a:cubicBezTo>
                      <a:pt x="0" y="105587"/>
                      <a:pt x="120670" y="81452"/>
                      <a:pt x="156871" y="0"/>
                    </a:cubicBezTo>
                    <a:cubicBezTo>
                      <a:pt x="156871" y="0"/>
                      <a:pt x="262458" y="36201"/>
                      <a:pt x="307709" y="30168"/>
                    </a:cubicBezTo>
                    <a:cubicBezTo>
                      <a:pt x="352961" y="24134"/>
                      <a:pt x="455531" y="-15084"/>
                      <a:pt x="491732" y="48268"/>
                    </a:cubicBezTo>
                    <a:lnTo>
                      <a:pt x="39218" y="211173"/>
                    </a:lnTo>
                    <a:cubicBezTo>
                      <a:pt x="39218" y="211173"/>
                      <a:pt x="0" y="159888"/>
                      <a:pt x="0" y="105587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C3B540A0-670A-49F4-BEAE-96EC80365227}"/>
                  </a:ext>
                </a:extLst>
              </p:cNvPr>
              <p:cNvSpPr/>
              <p:nvPr/>
            </p:nvSpPr>
            <p:spPr>
              <a:xfrm rot="-1175784">
                <a:off x="3936054" y="6287971"/>
                <a:ext cx="482692" cy="45252"/>
              </a:xfrm>
              <a:custGeom>
                <a:avLst/>
                <a:gdLst>
                  <a:gd name="connsiteX0" fmla="*/ 0 w 482692"/>
                  <a:gd name="connsiteY0" fmla="*/ 0 h 45252"/>
                  <a:gd name="connsiteX1" fmla="*/ 482693 w 482692"/>
                  <a:gd name="connsiteY1" fmla="*/ 0 h 45252"/>
                  <a:gd name="connsiteX2" fmla="*/ 482693 w 482692"/>
                  <a:gd name="connsiteY2" fmla="*/ 45253 h 45252"/>
                  <a:gd name="connsiteX3" fmla="*/ 0 w 482692"/>
                  <a:gd name="connsiteY3" fmla="*/ 45253 h 45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2692" h="45252">
                    <a:moveTo>
                      <a:pt x="0" y="0"/>
                    </a:moveTo>
                    <a:lnTo>
                      <a:pt x="482693" y="0"/>
                    </a:lnTo>
                    <a:lnTo>
                      <a:pt x="482693" y="45253"/>
                    </a:lnTo>
                    <a:lnTo>
                      <a:pt x="0" y="45253"/>
                    </a:lnTo>
                    <a:close/>
                  </a:path>
                </a:pathLst>
              </a:custGeom>
              <a:solidFill>
                <a:srgbClr val="38333D"/>
              </a:solidFill>
              <a:ln w="301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4F71C66E-97EF-48D7-8713-B2746F3B47EA}"/>
                  </a:ext>
                </a:extLst>
              </p:cNvPr>
              <p:cNvSpPr/>
              <p:nvPr/>
            </p:nvSpPr>
            <p:spPr>
              <a:xfrm>
                <a:off x="3896444" y="6155644"/>
                <a:ext cx="168938" cy="114636"/>
              </a:xfrm>
              <a:custGeom>
                <a:avLst/>
                <a:gdLst>
                  <a:gd name="connsiteX0" fmla="*/ 6034 w 168938"/>
                  <a:gd name="connsiteY0" fmla="*/ 114637 h 114636"/>
                  <a:gd name="connsiteX1" fmla="*/ 0 w 168938"/>
                  <a:gd name="connsiteY1" fmla="*/ 111620 h 114636"/>
                  <a:gd name="connsiteX2" fmla="*/ 3017 w 168938"/>
                  <a:gd name="connsiteY2" fmla="*/ 105587 h 114636"/>
                  <a:gd name="connsiteX3" fmla="*/ 156872 w 168938"/>
                  <a:gd name="connsiteY3" fmla="*/ 3017 h 114636"/>
                  <a:gd name="connsiteX4" fmla="*/ 165922 w 168938"/>
                  <a:gd name="connsiteY4" fmla="*/ 0 h 114636"/>
                  <a:gd name="connsiteX5" fmla="*/ 168939 w 168938"/>
                  <a:gd name="connsiteY5" fmla="*/ 9050 h 114636"/>
                  <a:gd name="connsiteX6" fmla="*/ 6034 w 168938"/>
                  <a:gd name="connsiteY6" fmla="*/ 114637 h 114636"/>
                  <a:gd name="connsiteX7" fmla="*/ 6034 w 168938"/>
                  <a:gd name="connsiteY7" fmla="*/ 114637 h 114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8938" h="114636">
                    <a:moveTo>
                      <a:pt x="6034" y="114637"/>
                    </a:moveTo>
                    <a:cubicBezTo>
                      <a:pt x="3017" y="114637"/>
                      <a:pt x="0" y="111620"/>
                      <a:pt x="0" y="111620"/>
                    </a:cubicBezTo>
                    <a:cubicBezTo>
                      <a:pt x="0" y="108604"/>
                      <a:pt x="0" y="105587"/>
                      <a:pt x="3017" y="105587"/>
                    </a:cubicBezTo>
                    <a:cubicBezTo>
                      <a:pt x="3017" y="105587"/>
                      <a:pt x="114637" y="81453"/>
                      <a:pt x="156872" y="3017"/>
                    </a:cubicBezTo>
                    <a:cubicBezTo>
                      <a:pt x="156872" y="0"/>
                      <a:pt x="162905" y="0"/>
                      <a:pt x="165922" y="0"/>
                    </a:cubicBezTo>
                    <a:cubicBezTo>
                      <a:pt x="168939" y="0"/>
                      <a:pt x="168939" y="6034"/>
                      <a:pt x="168939" y="9050"/>
                    </a:cubicBezTo>
                    <a:cubicBezTo>
                      <a:pt x="123687" y="90503"/>
                      <a:pt x="12067" y="114637"/>
                      <a:pt x="6034" y="114637"/>
                    </a:cubicBezTo>
                    <a:cubicBezTo>
                      <a:pt x="9050" y="114637"/>
                      <a:pt x="9050" y="114637"/>
                      <a:pt x="6034" y="11463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907BAFA5-8644-4C0F-8699-CCD7762C2897}"/>
                  </a:ext>
                </a:extLst>
              </p:cNvPr>
              <p:cNvSpPr/>
              <p:nvPr/>
            </p:nvSpPr>
            <p:spPr>
              <a:xfrm>
                <a:off x="4083483" y="6167712"/>
                <a:ext cx="24134" cy="45251"/>
              </a:xfrm>
              <a:custGeom>
                <a:avLst/>
                <a:gdLst>
                  <a:gd name="connsiteX0" fmla="*/ 6033 w 24134"/>
                  <a:gd name="connsiteY0" fmla="*/ 45251 h 45251"/>
                  <a:gd name="connsiteX1" fmla="*/ 6033 w 24134"/>
                  <a:gd name="connsiteY1" fmla="*/ 45251 h 45251"/>
                  <a:gd name="connsiteX2" fmla="*/ 0 w 24134"/>
                  <a:gd name="connsiteY2" fmla="*/ 36201 h 45251"/>
                  <a:gd name="connsiteX3" fmla="*/ 15084 w 24134"/>
                  <a:gd name="connsiteY3" fmla="*/ 3016 h 45251"/>
                  <a:gd name="connsiteX4" fmla="*/ 21117 w 24134"/>
                  <a:gd name="connsiteY4" fmla="*/ 0 h 45251"/>
                  <a:gd name="connsiteX5" fmla="*/ 24134 w 24134"/>
                  <a:gd name="connsiteY5" fmla="*/ 6033 h 45251"/>
                  <a:gd name="connsiteX6" fmla="*/ 9050 w 24134"/>
                  <a:gd name="connsiteY6" fmla="*/ 39218 h 45251"/>
                  <a:gd name="connsiteX7" fmla="*/ 6033 w 24134"/>
                  <a:gd name="connsiteY7" fmla="*/ 45251 h 45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134" h="45251">
                    <a:moveTo>
                      <a:pt x="6033" y="45251"/>
                    </a:moveTo>
                    <a:cubicBezTo>
                      <a:pt x="3017" y="45251"/>
                      <a:pt x="3017" y="45251"/>
                      <a:pt x="6033" y="45251"/>
                    </a:cubicBezTo>
                    <a:cubicBezTo>
                      <a:pt x="0" y="42234"/>
                      <a:pt x="0" y="39218"/>
                      <a:pt x="0" y="36201"/>
                    </a:cubicBezTo>
                    <a:lnTo>
                      <a:pt x="15084" y="3016"/>
                    </a:lnTo>
                    <a:cubicBezTo>
                      <a:pt x="15084" y="0"/>
                      <a:pt x="21117" y="0"/>
                      <a:pt x="21117" y="0"/>
                    </a:cubicBezTo>
                    <a:cubicBezTo>
                      <a:pt x="24134" y="0"/>
                      <a:pt x="24134" y="6033"/>
                      <a:pt x="24134" y="6033"/>
                    </a:cubicBezTo>
                    <a:lnTo>
                      <a:pt x="9050" y="39218"/>
                    </a:lnTo>
                    <a:cubicBezTo>
                      <a:pt x="9050" y="42234"/>
                      <a:pt x="6033" y="45251"/>
                      <a:pt x="6033" y="4525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7AB0AEDB-EBDB-427C-AE3F-D0087B774622}"/>
                  </a:ext>
                </a:extLst>
              </p:cNvPr>
              <p:cNvSpPr/>
              <p:nvPr/>
            </p:nvSpPr>
            <p:spPr>
              <a:xfrm>
                <a:off x="4125718" y="6179779"/>
                <a:ext cx="24134" cy="45251"/>
              </a:xfrm>
              <a:custGeom>
                <a:avLst/>
                <a:gdLst>
                  <a:gd name="connsiteX0" fmla="*/ 6034 w 24134"/>
                  <a:gd name="connsiteY0" fmla="*/ 45251 h 45251"/>
                  <a:gd name="connsiteX1" fmla="*/ 6034 w 24134"/>
                  <a:gd name="connsiteY1" fmla="*/ 45251 h 45251"/>
                  <a:gd name="connsiteX2" fmla="*/ 0 w 24134"/>
                  <a:gd name="connsiteY2" fmla="*/ 36201 h 45251"/>
                  <a:gd name="connsiteX3" fmla="*/ 15084 w 24134"/>
                  <a:gd name="connsiteY3" fmla="*/ 3017 h 45251"/>
                  <a:gd name="connsiteX4" fmla="*/ 21117 w 24134"/>
                  <a:gd name="connsiteY4" fmla="*/ 0 h 45251"/>
                  <a:gd name="connsiteX5" fmla="*/ 24134 w 24134"/>
                  <a:gd name="connsiteY5" fmla="*/ 6033 h 45251"/>
                  <a:gd name="connsiteX6" fmla="*/ 9050 w 24134"/>
                  <a:gd name="connsiteY6" fmla="*/ 39218 h 45251"/>
                  <a:gd name="connsiteX7" fmla="*/ 6034 w 24134"/>
                  <a:gd name="connsiteY7" fmla="*/ 45251 h 45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134" h="45251">
                    <a:moveTo>
                      <a:pt x="6034" y="45251"/>
                    </a:moveTo>
                    <a:cubicBezTo>
                      <a:pt x="6034" y="45251"/>
                      <a:pt x="6034" y="45251"/>
                      <a:pt x="6034" y="45251"/>
                    </a:cubicBezTo>
                    <a:cubicBezTo>
                      <a:pt x="0" y="42235"/>
                      <a:pt x="0" y="39218"/>
                      <a:pt x="0" y="36201"/>
                    </a:cubicBezTo>
                    <a:lnTo>
                      <a:pt x="15084" y="3017"/>
                    </a:lnTo>
                    <a:cubicBezTo>
                      <a:pt x="15084" y="0"/>
                      <a:pt x="21117" y="0"/>
                      <a:pt x="21117" y="0"/>
                    </a:cubicBezTo>
                    <a:cubicBezTo>
                      <a:pt x="24134" y="0"/>
                      <a:pt x="24134" y="6033"/>
                      <a:pt x="24134" y="6033"/>
                    </a:cubicBezTo>
                    <a:lnTo>
                      <a:pt x="9050" y="39218"/>
                    </a:lnTo>
                    <a:cubicBezTo>
                      <a:pt x="12067" y="42235"/>
                      <a:pt x="9050" y="45251"/>
                      <a:pt x="6034" y="4525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71E50F0C-35F4-45D4-BCBF-C86F671052BC}"/>
                </a:ext>
              </a:extLst>
            </p:cNvPr>
            <p:cNvGrpSpPr/>
            <p:nvPr/>
          </p:nvGrpSpPr>
          <p:grpSpPr>
            <a:xfrm>
              <a:off x="2663595" y="6131511"/>
              <a:ext cx="490726" cy="337876"/>
              <a:chOff x="2663595" y="6131511"/>
              <a:chExt cx="490726" cy="337876"/>
            </a:xfrm>
          </p:grpSpPr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29AB3CC9-70E2-411A-AAA4-916A3D3FD642}"/>
                  </a:ext>
                </a:extLst>
              </p:cNvPr>
              <p:cNvSpPr/>
              <p:nvPr/>
            </p:nvSpPr>
            <p:spPr>
              <a:xfrm>
                <a:off x="2686723" y="6131511"/>
                <a:ext cx="181005" cy="220223"/>
              </a:xfrm>
              <a:custGeom>
                <a:avLst/>
                <a:gdLst>
                  <a:gd name="connsiteX0" fmla="*/ 0 w 181005"/>
                  <a:gd name="connsiteY0" fmla="*/ 181006 h 220223"/>
                  <a:gd name="connsiteX1" fmla="*/ 0 w 181005"/>
                  <a:gd name="connsiteY1" fmla="*/ 0 h 220223"/>
                  <a:gd name="connsiteX2" fmla="*/ 181006 w 181005"/>
                  <a:gd name="connsiteY2" fmla="*/ 0 h 220223"/>
                  <a:gd name="connsiteX3" fmla="*/ 162905 w 181005"/>
                  <a:gd name="connsiteY3" fmla="*/ 193072 h 220223"/>
                  <a:gd name="connsiteX4" fmla="*/ 12067 w 181005"/>
                  <a:gd name="connsiteY4" fmla="*/ 220223 h 220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005" h="220223">
                    <a:moveTo>
                      <a:pt x="0" y="181006"/>
                    </a:moveTo>
                    <a:lnTo>
                      <a:pt x="0" y="0"/>
                    </a:lnTo>
                    <a:lnTo>
                      <a:pt x="181006" y="0"/>
                    </a:lnTo>
                    <a:lnTo>
                      <a:pt x="162905" y="193072"/>
                    </a:lnTo>
                    <a:lnTo>
                      <a:pt x="12067" y="220223"/>
                    </a:ln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7A383748-856B-442A-9F98-0E91B8D7EA16}"/>
                  </a:ext>
                </a:extLst>
              </p:cNvPr>
              <p:cNvSpPr/>
              <p:nvPr/>
            </p:nvSpPr>
            <p:spPr>
              <a:xfrm>
                <a:off x="2663595" y="6267265"/>
                <a:ext cx="490726" cy="156871"/>
              </a:xfrm>
              <a:custGeom>
                <a:avLst/>
                <a:gdLst>
                  <a:gd name="connsiteX0" fmla="*/ 8045 w 490726"/>
                  <a:gd name="connsiteY0" fmla="*/ 45251 h 156871"/>
                  <a:gd name="connsiteX1" fmla="*/ 192067 w 490726"/>
                  <a:gd name="connsiteY1" fmla="*/ 0 h 156871"/>
                  <a:gd name="connsiteX2" fmla="*/ 324805 w 490726"/>
                  <a:gd name="connsiteY2" fmla="*/ 78435 h 156871"/>
                  <a:gd name="connsiteX3" fmla="*/ 490726 w 490726"/>
                  <a:gd name="connsiteY3" fmla="*/ 156871 h 156871"/>
                  <a:gd name="connsiteX4" fmla="*/ 8045 w 490726"/>
                  <a:gd name="connsiteY4" fmla="*/ 156871 h 156871"/>
                  <a:gd name="connsiteX5" fmla="*/ 8045 w 490726"/>
                  <a:gd name="connsiteY5" fmla="*/ 45251 h 156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0726" h="156871">
                    <a:moveTo>
                      <a:pt x="8045" y="45251"/>
                    </a:moveTo>
                    <a:cubicBezTo>
                      <a:pt x="8045" y="45251"/>
                      <a:pt x="131732" y="63352"/>
                      <a:pt x="192067" y="0"/>
                    </a:cubicBezTo>
                    <a:cubicBezTo>
                      <a:pt x="192067" y="0"/>
                      <a:pt x="279553" y="69385"/>
                      <a:pt x="324805" y="78435"/>
                    </a:cubicBezTo>
                    <a:cubicBezTo>
                      <a:pt x="370056" y="87486"/>
                      <a:pt x="478659" y="84469"/>
                      <a:pt x="490726" y="156871"/>
                    </a:cubicBezTo>
                    <a:lnTo>
                      <a:pt x="8045" y="156871"/>
                    </a:lnTo>
                    <a:cubicBezTo>
                      <a:pt x="8045" y="156871"/>
                      <a:pt x="-10056" y="96536"/>
                      <a:pt x="8045" y="45251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28CF3864-51DD-4E7F-8024-4521B9D96209}"/>
                  </a:ext>
                </a:extLst>
              </p:cNvPr>
              <p:cNvSpPr/>
              <p:nvPr/>
            </p:nvSpPr>
            <p:spPr>
              <a:xfrm>
                <a:off x="2671639" y="6424136"/>
                <a:ext cx="482681" cy="45251"/>
              </a:xfrm>
              <a:custGeom>
                <a:avLst/>
                <a:gdLst>
                  <a:gd name="connsiteX0" fmla="*/ 0 w 482681"/>
                  <a:gd name="connsiteY0" fmla="*/ 0 h 45251"/>
                  <a:gd name="connsiteX1" fmla="*/ 482682 w 482681"/>
                  <a:gd name="connsiteY1" fmla="*/ 0 h 45251"/>
                  <a:gd name="connsiteX2" fmla="*/ 482682 w 482681"/>
                  <a:gd name="connsiteY2" fmla="*/ 45251 h 45251"/>
                  <a:gd name="connsiteX3" fmla="*/ 0 w 482681"/>
                  <a:gd name="connsiteY3" fmla="*/ 45251 h 45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2681" h="45251">
                    <a:moveTo>
                      <a:pt x="0" y="0"/>
                    </a:moveTo>
                    <a:lnTo>
                      <a:pt x="482682" y="0"/>
                    </a:lnTo>
                    <a:lnTo>
                      <a:pt x="482682" y="45251"/>
                    </a:lnTo>
                    <a:lnTo>
                      <a:pt x="0" y="45251"/>
                    </a:ln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C4141C2E-4648-4D8E-9C98-B1DC77FE198A}"/>
                  </a:ext>
                </a:extLst>
              </p:cNvPr>
              <p:cNvSpPr/>
              <p:nvPr/>
            </p:nvSpPr>
            <p:spPr>
              <a:xfrm>
                <a:off x="2665606" y="6258969"/>
                <a:ext cx="198351" cy="62597"/>
              </a:xfrm>
              <a:custGeom>
                <a:avLst/>
                <a:gdLst>
                  <a:gd name="connsiteX0" fmla="*/ 42235 w 198351"/>
                  <a:gd name="connsiteY0" fmla="*/ 62598 h 62597"/>
                  <a:gd name="connsiteX1" fmla="*/ 6034 w 198351"/>
                  <a:gd name="connsiteY1" fmla="*/ 59581 h 62597"/>
                  <a:gd name="connsiteX2" fmla="*/ 0 w 198351"/>
                  <a:gd name="connsiteY2" fmla="*/ 53548 h 62597"/>
                  <a:gd name="connsiteX3" fmla="*/ 6034 w 198351"/>
                  <a:gd name="connsiteY3" fmla="*/ 47514 h 62597"/>
                  <a:gd name="connsiteX4" fmla="*/ 187039 w 198351"/>
                  <a:gd name="connsiteY4" fmla="*/ 2262 h 62597"/>
                  <a:gd name="connsiteX5" fmla="*/ 196089 w 198351"/>
                  <a:gd name="connsiteY5" fmla="*/ 2262 h 62597"/>
                  <a:gd name="connsiteX6" fmla="*/ 196089 w 198351"/>
                  <a:gd name="connsiteY6" fmla="*/ 11313 h 62597"/>
                  <a:gd name="connsiteX7" fmla="*/ 42235 w 198351"/>
                  <a:gd name="connsiteY7" fmla="*/ 62598 h 62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8351" h="62597">
                    <a:moveTo>
                      <a:pt x="42235" y="62598"/>
                    </a:moveTo>
                    <a:cubicBezTo>
                      <a:pt x="21117" y="62598"/>
                      <a:pt x="9050" y="59581"/>
                      <a:pt x="6034" y="59581"/>
                    </a:cubicBezTo>
                    <a:cubicBezTo>
                      <a:pt x="3017" y="59581"/>
                      <a:pt x="0" y="56564"/>
                      <a:pt x="0" y="53548"/>
                    </a:cubicBezTo>
                    <a:cubicBezTo>
                      <a:pt x="0" y="50531"/>
                      <a:pt x="3017" y="47514"/>
                      <a:pt x="6034" y="47514"/>
                    </a:cubicBezTo>
                    <a:cubicBezTo>
                      <a:pt x="6034" y="47514"/>
                      <a:pt x="117654" y="62598"/>
                      <a:pt x="187039" y="2262"/>
                    </a:cubicBezTo>
                    <a:cubicBezTo>
                      <a:pt x="190056" y="-754"/>
                      <a:pt x="193073" y="-754"/>
                      <a:pt x="196089" y="2262"/>
                    </a:cubicBezTo>
                    <a:cubicBezTo>
                      <a:pt x="199106" y="5279"/>
                      <a:pt x="199106" y="8296"/>
                      <a:pt x="196089" y="11313"/>
                    </a:cubicBezTo>
                    <a:cubicBezTo>
                      <a:pt x="147821" y="53548"/>
                      <a:pt x="81453" y="62598"/>
                      <a:pt x="42235" y="6259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C4AD659E-8229-4F89-AA03-0B2943DC7A03}"/>
                  </a:ext>
                </a:extLst>
              </p:cNvPr>
              <p:cNvSpPr/>
              <p:nvPr/>
            </p:nvSpPr>
            <p:spPr>
              <a:xfrm>
                <a:off x="2862449" y="6283103"/>
                <a:ext cx="40726" cy="41480"/>
              </a:xfrm>
              <a:custGeom>
                <a:avLst/>
                <a:gdLst>
                  <a:gd name="connsiteX0" fmla="*/ 5279 w 40726"/>
                  <a:gd name="connsiteY0" fmla="*/ 41480 h 41480"/>
                  <a:gd name="connsiteX1" fmla="*/ 2263 w 40726"/>
                  <a:gd name="connsiteY1" fmla="*/ 38463 h 41480"/>
                  <a:gd name="connsiteX2" fmla="*/ 2263 w 40726"/>
                  <a:gd name="connsiteY2" fmla="*/ 29413 h 41480"/>
                  <a:gd name="connsiteX3" fmla="*/ 29413 w 40726"/>
                  <a:gd name="connsiteY3" fmla="*/ 2262 h 41480"/>
                  <a:gd name="connsiteX4" fmla="*/ 38464 w 40726"/>
                  <a:gd name="connsiteY4" fmla="*/ 2262 h 41480"/>
                  <a:gd name="connsiteX5" fmla="*/ 38464 w 40726"/>
                  <a:gd name="connsiteY5" fmla="*/ 11313 h 41480"/>
                  <a:gd name="connsiteX6" fmla="*/ 11313 w 40726"/>
                  <a:gd name="connsiteY6" fmla="*/ 38463 h 41480"/>
                  <a:gd name="connsiteX7" fmla="*/ 5279 w 40726"/>
                  <a:gd name="connsiteY7" fmla="*/ 41480 h 4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726" h="41480">
                    <a:moveTo>
                      <a:pt x="5279" y="41480"/>
                    </a:moveTo>
                    <a:cubicBezTo>
                      <a:pt x="5279" y="41480"/>
                      <a:pt x="2263" y="41480"/>
                      <a:pt x="2263" y="38463"/>
                    </a:cubicBezTo>
                    <a:cubicBezTo>
                      <a:pt x="-754" y="35447"/>
                      <a:pt x="-754" y="32430"/>
                      <a:pt x="2263" y="29413"/>
                    </a:cubicBezTo>
                    <a:lnTo>
                      <a:pt x="29413" y="2262"/>
                    </a:lnTo>
                    <a:cubicBezTo>
                      <a:pt x="32430" y="-754"/>
                      <a:pt x="35447" y="-754"/>
                      <a:pt x="38464" y="2262"/>
                    </a:cubicBezTo>
                    <a:cubicBezTo>
                      <a:pt x="41480" y="5279"/>
                      <a:pt x="41480" y="8296"/>
                      <a:pt x="38464" y="11313"/>
                    </a:cubicBezTo>
                    <a:lnTo>
                      <a:pt x="11313" y="38463"/>
                    </a:lnTo>
                    <a:cubicBezTo>
                      <a:pt x="5279" y="41480"/>
                      <a:pt x="5279" y="41480"/>
                      <a:pt x="5279" y="4148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19839D15-942F-4CA0-8558-8688612696FE}"/>
                  </a:ext>
                </a:extLst>
              </p:cNvPr>
              <p:cNvSpPr/>
              <p:nvPr/>
            </p:nvSpPr>
            <p:spPr>
              <a:xfrm>
                <a:off x="2898651" y="6310254"/>
                <a:ext cx="37709" cy="41480"/>
              </a:xfrm>
              <a:custGeom>
                <a:avLst/>
                <a:gdLst>
                  <a:gd name="connsiteX0" fmla="*/ 5279 w 37709"/>
                  <a:gd name="connsiteY0" fmla="*/ 41480 h 41480"/>
                  <a:gd name="connsiteX1" fmla="*/ 2263 w 37709"/>
                  <a:gd name="connsiteY1" fmla="*/ 38464 h 41480"/>
                  <a:gd name="connsiteX2" fmla="*/ 2263 w 37709"/>
                  <a:gd name="connsiteY2" fmla="*/ 29413 h 41480"/>
                  <a:gd name="connsiteX3" fmla="*/ 26397 w 37709"/>
                  <a:gd name="connsiteY3" fmla="*/ 2263 h 41480"/>
                  <a:gd name="connsiteX4" fmla="*/ 35447 w 37709"/>
                  <a:gd name="connsiteY4" fmla="*/ 2263 h 41480"/>
                  <a:gd name="connsiteX5" fmla="*/ 35447 w 37709"/>
                  <a:gd name="connsiteY5" fmla="*/ 11313 h 41480"/>
                  <a:gd name="connsiteX6" fmla="*/ 11313 w 37709"/>
                  <a:gd name="connsiteY6" fmla="*/ 38464 h 41480"/>
                  <a:gd name="connsiteX7" fmla="*/ 5279 w 37709"/>
                  <a:gd name="connsiteY7" fmla="*/ 41480 h 4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709" h="41480">
                    <a:moveTo>
                      <a:pt x="5279" y="41480"/>
                    </a:moveTo>
                    <a:cubicBezTo>
                      <a:pt x="5279" y="41480"/>
                      <a:pt x="2263" y="41480"/>
                      <a:pt x="2263" y="38464"/>
                    </a:cubicBezTo>
                    <a:cubicBezTo>
                      <a:pt x="-754" y="35447"/>
                      <a:pt x="-754" y="32430"/>
                      <a:pt x="2263" y="29413"/>
                    </a:cubicBezTo>
                    <a:lnTo>
                      <a:pt x="26397" y="2263"/>
                    </a:lnTo>
                    <a:cubicBezTo>
                      <a:pt x="29413" y="-754"/>
                      <a:pt x="32430" y="-754"/>
                      <a:pt x="35447" y="2263"/>
                    </a:cubicBezTo>
                    <a:cubicBezTo>
                      <a:pt x="38464" y="5279"/>
                      <a:pt x="38464" y="8296"/>
                      <a:pt x="35447" y="11313"/>
                    </a:cubicBezTo>
                    <a:lnTo>
                      <a:pt x="11313" y="38464"/>
                    </a:lnTo>
                    <a:cubicBezTo>
                      <a:pt x="8296" y="41480"/>
                      <a:pt x="8296" y="41480"/>
                      <a:pt x="5279" y="4148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B219F539-3440-4E69-8255-4EFCE38E4B03}"/>
                </a:ext>
              </a:extLst>
            </p:cNvPr>
            <p:cNvSpPr/>
            <p:nvPr/>
          </p:nvSpPr>
          <p:spPr>
            <a:xfrm>
              <a:off x="2573620" y="3938326"/>
              <a:ext cx="1506846" cy="2259553"/>
            </a:xfrm>
            <a:custGeom>
              <a:avLst/>
              <a:gdLst>
                <a:gd name="connsiteX0" fmla="*/ 1021148 w 1506846"/>
                <a:gd name="connsiteY0" fmla="*/ 21117 h 2259553"/>
                <a:gd name="connsiteX1" fmla="*/ 1337908 w 1506846"/>
                <a:gd name="connsiteY1" fmla="*/ 1119218 h 2259553"/>
                <a:gd name="connsiteX2" fmla="*/ 1506847 w 1506846"/>
                <a:gd name="connsiteY2" fmla="*/ 2108715 h 2259553"/>
                <a:gd name="connsiteX3" fmla="*/ 1220254 w 1506846"/>
                <a:gd name="connsiteY3" fmla="*/ 2223352 h 2259553"/>
                <a:gd name="connsiteX4" fmla="*/ 924612 w 1506846"/>
                <a:gd name="connsiteY4" fmla="*/ 1324358 h 2259553"/>
                <a:gd name="connsiteX5" fmla="*/ 529416 w 1506846"/>
                <a:gd name="connsiteY5" fmla="*/ 500782 h 2259553"/>
                <a:gd name="connsiteX6" fmla="*/ 484165 w 1506846"/>
                <a:gd name="connsiteY6" fmla="*/ 1463129 h 2259553"/>
                <a:gd name="connsiteX7" fmla="*/ 342377 w 1506846"/>
                <a:gd name="connsiteY7" fmla="*/ 2250503 h 2259553"/>
                <a:gd name="connsiteX8" fmla="*/ 58802 w 1506846"/>
                <a:gd name="connsiteY8" fmla="*/ 2259553 h 2259553"/>
                <a:gd name="connsiteX9" fmla="*/ 88969 w 1506846"/>
                <a:gd name="connsiteY9" fmla="*/ 1442011 h 2259553"/>
                <a:gd name="connsiteX10" fmla="*/ 10534 w 1506846"/>
                <a:gd name="connsiteY10" fmla="*/ 0 h 2259553"/>
                <a:gd name="connsiteX11" fmla="*/ 1021148 w 1506846"/>
                <a:gd name="connsiteY11" fmla="*/ 21117 h 225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06846" h="2259553">
                  <a:moveTo>
                    <a:pt x="1021148" y="21117"/>
                  </a:moveTo>
                  <a:lnTo>
                    <a:pt x="1337908" y="1119218"/>
                  </a:lnTo>
                  <a:lnTo>
                    <a:pt x="1506847" y="2108715"/>
                  </a:lnTo>
                  <a:lnTo>
                    <a:pt x="1220254" y="2223352"/>
                  </a:lnTo>
                  <a:lnTo>
                    <a:pt x="924612" y="1324358"/>
                  </a:lnTo>
                  <a:cubicBezTo>
                    <a:pt x="924612" y="1324358"/>
                    <a:pt x="538467" y="515866"/>
                    <a:pt x="529416" y="500782"/>
                  </a:cubicBezTo>
                  <a:cubicBezTo>
                    <a:pt x="514333" y="470614"/>
                    <a:pt x="484165" y="1463129"/>
                    <a:pt x="484165" y="1463129"/>
                  </a:cubicBezTo>
                  <a:lnTo>
                    <a:pt x="342377" y="2250503"/>
                  </a:lnTo>
                  <a:lnTo>
                    <a:pt x="58802" y="2259553"/>
                  </a:lnTo>
                  <a:cubicBezTo>
                    <a:pt x="58802" y="2259553"/>
                    <a:pt x="95003" y="1541564"/>
                    <a:pt x="88969" y="1442011"/>
                  </a:cubicBezTo>
                  <a:cubicBezTo>
                    <a:pt x="79919" y="1291173"/>
                    <a:pt x="-34718" y="96536"/>
                    <a:pt x="10534" y="0"/>
                  </a:cubicBezTo>
                  <a:cubicBezTo>
                    <a:pt x="701372" y="33184"/>
                    <a:pt x="1021148" y="21117"/>
                    <a:pt x="1021148" y="21117"/>
                  </a:cubicBezTo>
                  <a:close/>
                </a:path>
              </a:pathLst>
            </a:custGeom>
            <a:solidFill>
              <a:srgbClr val="F6EBE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727DFE07-593F-4BA8-BF61-23EF50AEA857}"/>
                </a:ext>
              </a:extLst>
            </p:cNvPr>
            <p:cNvSpPr/>
            <p:nvPr/>
          </p:nvSpPr>
          <p:spPr>
            <a:xfrm>
              <a:off x="3097003" y="4083131"/>
              <a:ext cx="69385" cy="362011"/>
            </a:xfrm>
            <a:custGeom>
              <a:avLst/>
              <a:gdLst>
                <a:gd name="connsiteX0" fmla="*/ 6033 w 69385"/>
                <a:gd name="connsiteY0" fmla="*/ 362011 h 362011"/>
                <a:gd name="connsiteX1" fmla="*/ 6033 w 69385"/>
                <a:gd name="connsiteY1" fmla="*/ 362011 h 362011"/>
                <a:gd name="connsiteX2" fmla="*/ 0 w 69385"/>
                <a:gd name="connsiteY2" fmla="*/ 352961 h 362011"/>
                <a:gd name="connsiteX3" fmla="*/ 57318 w 69385"/>
                <a:gd name="connsiteY3" fmla="*/ 6034 h 362011"/>
                <a:gd name="connsiteX4" fmla="*/ 63352 w 69385"/>
                <a:gd name="connsiteY4" fmla="*/ 0 h 362011"/>
                <a:gd name="connsiteX5" fmla="*/ 69385 w 69385"/>
                <a:gd name="connsiteY5" fmla="*/ 6034 h 362011"/>
                <a:gd name="connsiteX6" fmla="*/ 12067 w 69385"/>
                <a:gd name="connsiteY6" fmla="*/ 355978 h 362011"/>
                <a:gd name="connsiteX7" fmla="*/ 6033 w 69385"/>
                <a:gd name="connsiteY7" fmla="*/ 362011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385" h="362011">
                  <a:moveTo>
                    <a:pt x="6033" y="362011"/>
                  </a:moveTo>
                  <a:cubicBezTo>
                    <a:pt x="6033" y="362011"/>
                    <a:pt x="6033" y="362011"/>
                    <a:pt x="6033" y="362011"/>
                  </a:cubicBezTo>
                  <a:cubicBezTo>
                    <a:pt x="0" y="358994"/>
                    <a:pt x="0" y="355978"/>
                    <a:pt x="0" y="352961"/>
                  </a:cubicBezTo>
                  <a:cubicBezTo>
                    <a:pt x="48268" y="241341"/>
                    <a:pt x="57318" y="9050"/>
                    <a:pt x="57318" y="6034"/>
                  </a:cubicBezTo>
                  <a:cubicBezTo>
                    <a:pt x="57318" y="3017"/>
                    <a:pt x="60335" y="0"/>
                    <a:pt x="63352" y="0"/>
                  </a:cubicBezTo>
                  <a:cubicBezTo>
                    <a:pt x="66369" y="0"/>
                    <a:pt x="69385" y="3017"/>
                    <a:pt x="69385" y="6034"/>
                  </a:cubicBezTo>
                  <a:cubicBezTo>
                    <a:pt x="69385" y="15084"/>
                    <a:pt x="60335" y="241341"/>
                    <a:pt x="12067" y="355978"/>
                  </a:cubicBezTo>
                  <a:cubicBezTo>
                    <a:pt x="12067" y="358994"/>
                    <a:pt x="9050" y="362011"/>
                    <a:pt x="6033" y="362011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EA7ED369-8E2B-432C-92D2-66D07DDA282E}"/>
                </a:ext>
              </a:extLst>
            </p:cNvPr>
            <p:cNvSpPr/>
            <p:nvPr/>
          </p:nvSpPr>
          <p:spPr>
            <a:xfrm>
              <a:off x="3125921" y="4013745"/>
              <a:ext cx="155104" cy="352960"/>
            </a:xfrm>
            <a:custGeom>
              <a:avLst/>
              <a:gdLst>
                <a:gd name="connsiteX0" fmla="*/ 7283 w 155104"/>
                <a:gd name="connsiteY0" fmla="*/ 352961 h 352960"/>
                <a:gd name="connsiteX1" fmla="*/ 1250 w 155104"/>
                <a:gd name="connsiteY1" fmla="*/ 349944 h 352960"/>
                <a:gd name="connsiteX2" fmla="*/ 4266 w 155104"/>
                <a:gd name="connsiteY2" fmla="*/ 340894 h 352960"/>
                <a:gd name="connsiteX3" fmla="*/ 109853 w 155104"/>
                <a:gd name="connsiteY3" fmla="*/ 265475 h 352960"/>
                <a:gd name="connsiteX4" fmla="*/ 143037 w 155104"/>
                <a:gd name="connsiteY4" fmla="*/ 6033 h 352960"/>
                <a:gd name="connsiteX5" fmla="*/ 149071 w 155104"/>
                <a:gd name="connsiteY5" fmla="*/ 0 h 352960"/>
                <a:gd name="connsiteX6" fmla="*/ 155104 w 155104"/>
                <a:gd name="connsiteY6" fmla="*/ 6033 h 352960"/>
                <a:gd name="connsiteX7" fmla="*/ 121920 w 155104"/>
                <a:gd name="connsiteY7" fmla="*/ 271508 h 352960"/>
                <a:gd name="connsiteX8" fmla="*/ 13317 w 155104"/>
                <a:gd name="connsiteY8" fmla="*/ 349944 h 352960"/>
                <a:gd name="connsiteX9" fmla="*/ 7283 w 155104"/>
                <a:gd name="connsiteY9" fmla="*/ 352961 h 35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5104" h="352960">
                  <a:moveTo>
                    <a:pt x="7283" y="352961"/>
                  </a:moveTo>
                  <a:cubicBezTo>
                    <a:pt x="4266" y="352961"/>
                    <a:pt x="4266" y="352961"/>
                    <a:pt x="1250" y="349944"/>
                  </a:cubicBezTo>
                  <a:cubicBezTo>
                    <a:pt x="-1767" y="346927"/>
                    <a:pt x="1250" y="343911"/>
                    <a:pt x="4266" y="340894"/>
                  </a:cubicBezTo>
                  <a:cubicBezTo>
                    <a:pt x="43484" y="316760"/>
                    <a:pt x="100803" y="274525"/>
                    <a:pt x="109853" y="265475"/>
                  </a:cubicBezTo>
                  <a:cubicBezTo>
                    <a:pt x="118903" y="253408"/>
                    <a:pt x="133987" y="99553"/>
                    <a:pt x="143037" y="6033"/>
                  </a:cubicBezTo>
                  <a:cubicBezTo>
                    <a:pt x="143037" y="3017"/>
                    <a:pt x="146054" y="0"/>
                    <a:pt x="149071" y="0"/>
                  </a:cubicBezTo>
                  <a:cubicBezTo>
                    <a:pt x="152088" y="0"/>
                    <a:pt x="155104" y="3017"/>
                    <a:pt x="155104" y="6033"/>
                  </a:cubicBezTo>
                  <a:cubicBezTo>
                    <a:pt x="152088" y="48268"/>
                    <a:pt x="130970" y="256425"/>
                    <a:pt x="121920" y="271508"/>
                  </a:cubicBezTo>
                  <a:cubicBezTo>
                    <a:pt x="109853" y="286592"/>
                    <a:pt x="22367" y="343911"/>
                    <a:pt x="13317" y="349944"/>
                  </a:cubicBezTo>
                  <a:cubicBezTo>
                    <a:pt x="10300" y="352961"/>
                    <a:pt x="7283" y="352961"/>
                    <a:pt x="7283" y="352961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688CECC1-B12A-4C9C-8E43-AB25222DB16D}"/>
                </a:ext>
              </a:extLst>
            </p:cNvPr>
            <p:cNvSpPr/>
            <p:nvPr/>
          </p:nvSpPr>
          <p:spPr>
            <a:xfrm>
              <a:off x="3411358" y="2546052"/>
              <a:ext cx="445867" cy="604899"/>
            </a:xfrm>
            <a:custGeom>
              <a:avLst/>
              <a:gdLst>
                <a:gd name="connsiteX0" fmla="*/ 62739 w 445867"/>
                <a:gd name="connsiteY0" fmla="*/ 604900 h 604899"/>
                <a:gd name="connsiteX1" fmla="*/ 50672 w 445867"/>
                <a:gd name="connsiteY1" fmla="*/ 10598 h 604899"/>
                <a:gd name="connsiteX2" fmla="*/ 445868 w 445867"/>
                <a:gd name="connsiteY2" fmla="*/ 438978 h 604899"/>
                <a:gd name="connsiteX3" fmla="*/ 62739 w 445867"/>
                <a:gd name="connsiteY3" fmla="*/ 604900 h 60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5867" h="604899">
                  <a:moveTo>
                    <a:pt x="62739" y="604900"/>
                  </a:moveTo>
                  <a:cubicBezTo>
                    <a:pt x="62739" y="604900"/>
                    <a:pt x="-69998" y="89034"/>
                    <a:pt x="50672" y="10598"/>
                  </a:cubicBezTo>
                  <a:cubicBezTo>
                    <a:pt x="192460" y="-79905"/>
                    <a:pt x="445868" y="438978"/>
                    <a:pt x="445868" y="438978"/>
                  </a:cubicBezTo>
                  <a:cubicBezTo>
                    <a:pt x="445868" y="438978"/>
                    <a:pt x="273912" y="586799"/>
                    <a:pt x="62739" y="604900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1988C290-B2FB-4865-9D5C-4A960FA9A64E}"/>
                </a:ext>
              </a:extLst>
            </p:cNvPr>
            <p:cNvSpPr/>
            <p:nvPr/>
          </p:nvSpPr>
          <p:spPr>
            <a:xfrm>
              <a:off x="2988399" y="2285142"/>
              <a:ext cx="247374" cy="255529"/>
            </a:xfrm>
            <a:custGeom>
              <a:avLst/>
              <a:gdLst>
                <a:gd name="connsiteX0" fmla="*/ 247374 w 247374"/>
                <a:gd name="connsiteY0" fmla="*/ 39218 h 255529"/>
                <a:gd name="connsiteX1" fmla="*/ 241341 w 247374"/>
                <a:gd name="connsiteY1" fmla="*/ 211173 h 255529"/>
                <a:gd name="connsiteX2" fmla="*/ 0 w 247374"/>
                <a:gd name="connsiteY2" fmla="*/ 202123 h 255529"/>
                <a:gd name="connsiteX3" fmla="*/ 15084 w 247374"/>
                <a:gd name="connsiteY3" fmla="*/ 0 h 255529"/>
                <a:gd name="connsiteX4" fmla="*/ 247374 w 247374"/>
                <a:gd name="connsiteY4" fmla="*/ 39218 h 255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374" h="255529">
                  <a:moveTo>
                    <a:pt x="247374" y="39218"/>
                  </a:moveTo>
                  <a:cubicBezTo>
                    <a:pt x="247374" y="39218"/>
                    <a:pt x="241341" y="138771"/>
                    <a:pt x="241341" y="211173"/>
                  </a:cubicBezTo>
                  <a:cubicBezTo>
                    <a:pt x="241341" y="211173"/>
                    <a:pt x="147821" y="316760"/>
                    <a:pt x="0" y="202123"/>
                  </a:cubicBezTo>
                  <a:cubicBezTo>
                    <a:pt x="0" y="141788"/>
                    <a:pt x="12067" y="63352"/>
                    <a:pt x="15084" y="0"/>
                  </a:cubicBezTo>
                  <a:cubicBezTo>
                    <a:pt x="15084" y="0"/>
                    <a:pt x="196089" y="51285"/>
                    <a:pt x="247374" y="39218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2FADFC4-15D0-4D83-A6A3-26B02B7D50C5}"/>
                </a:ext>
              </a:extLst>
            </p:cNvPr>
            <p:cNvSpPr/>
            <p:nvPr/>
          </p:nvSpPr>
          <p:spPr>
            <a:xfrm>
              <a:off x="2897896" y="2167488"/>
              <a:ext cx="69385" cy="135754"/>
            </a:xfrm>
            <a:custGeom>
              <a:avLst/>
              <a:gdLst>
                <a:gd name="connsiteX0" fmla="*/ 0 w 69385"/>
                <a:gd name="connsiteY0" fmla="*/ 0 h 135754"/>
                <a:gd name="connsiteX1" fmla="*/ 66369 w 69385"/>
                <a:gd name="connsiteY1" fmla="*/ 135754 h 135754"/>
                <a:gd name="connsiteX2" fmla="*/ 69385 w 69385"/>
                <a:gd name="connsiteY2" fmla="*/ 51285 h 135754"/>
                <a:gd name="connsiteX3" fmla="*/ 0 w 69385"/>
                <a:gd name="connsiteY3" fmla="*/ 0 h 13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385" h="135754">
                  <a:moveTo>
                    <a:pt x="0" y="0"/>
                  </a:moveTo>
                  <a:cubicBezTo>
                    <a:pt x="0" y="0"/>
                    <a:pt x="15084" y="117654"/>
                    <a:pt x="66369" y="135754"/>
                  </a:cubicBezTo>
                  <a:lnTo>
                    <a:pt x="69385" y="512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5520B94-976B-4D3D-8A07-B78EB51CCE8B}"/>
                </a:ext>
              </a:extLst>
            </p:cNvPr>
            <p:cNvSpPr/>
            <p:nvPr/>
          </p:nvSpPr>
          <p:spPr>
            <a:xfrm>
              <a:off x="3253427" y="1962349"/>
              <a:ext cx="101556" cy="235319"/>
            </a:xfrm>
            <a:custGeom>
              <a:avLst/>
              <a:gdLst>
                <a:gd name="connsiteX0" fmla="*/ 93966 w 101556"/>
                <a:gd name="connsiteY0" fmla="*/ 0 h 235319"/>
                <a:gd name="connsiteX1" fmla="*/ 54749 w 101556"/>
                <a:gd name="connsiteY1" fmla="*/ 232291 h 235319"/>
                <a:gd name="connsiteX2" fmla="*/ 447 w 101556"/>
                <a:gd name="connsiteY2" fmla="*/ 15084 h 235319"/>
                <a:gd name="connsiteX3" fmla="*/ 93966 w 101556"/>
                <a:gd name="connsiteY3" fmla="*/ 0 h 235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556" h="235319">
                  <a:moveTo>
                    <a:pt x="93966" y="0"/>
                  </a:moveTo>
                  <a:cubicBezTo>
                    <a:pt x="93966" y="0"/>
                    <a:pt x="127151" y="193073"/>
                    <a:pt x="54749" y="232291"/>
                  </a:cubicBezTo>
                  <a:cubicBezTo>
                    <a:pt x="-8603" y="265475"/>
                    <a:pt x="447" y="15084"/>
                    <a:pt x="447" y="15084"/>
                  </a:cubicBezTo>
                  <a:lnTo>
                    <a:pt x="93966" y="0"/>
                  </a:ln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EB443E32-019B-4E66-9FEF-5FF3BE5E57FC}"/>
                </a:ext>
              </a:extLst>
            </p:cNvPr>
            <p:cNvSpPr/>
            <p:nvPr/>
          </p:nvSpPr>
          <p:spPr>
            <a:xfrm>
              <a:off x="2897896" y="1825692"/>
              <a:ext cx="418941" cy="562616"/>
            </a:xfrm>
            <a:custGeom>
              <a:avLst/>
              <a:gdLst>
                <a:gd name="connsiteX0" fmla="*/ 407263 w 418941"/>
                <a:gd name="connsiteY0" fmla="*/ 178891 h 562616"/>
                <a:gd name="connsiteX1" fmla="*/ 410279 w 418941"/>
                <a:gd name="connsiteY1" fmla="*/ 426265 h 562616"/>
                <a:gd name="connsiteX2" fmla="*/ 253408 w 418941"/>
                <a:gd name="connsiteY2" fmla="*/ 562019 h 562616"/>
                <a:gd name="connsiteX3" fmla="*/ 39218 w 418941"/>
                <a:gd name="connsiteY3" fmla="*/ 423248 h 562616"/>
                <a:gd name="connsiteX4" fmla="*/ 0 w 418941"/>
                <a:gd name="connsiteY4" fmla="*/ 200008 h 562616"/>
                <a:gd name="connsiteX5" fmla="*/ 208156 w 418941"/>
                <a:gd name="connsiteY5" fmla="*/ 902 h 562616"/>
                <a:gd name="connsiteX6" fmla="*/ 407263 w 418941"/>
                <a:gd name="connsiteY6" fmla="*/ 178891 h 562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941" h="562616">
                  <a:moveTo>
                    <a:pt x="407263" y="178891"/>
                  </a:moveTo>
                  <a:cubicBezTo>
                    <a:pt x="407263" y="178891"/>
                    <a:pt x="431397" y="353863"/>
                    <a:pt x="410279" y="426265"/>
                  </a:cubicBezTo>
                  <a:cubicBezTo>
                    <a:pt x="392179" y="492634"/>
                    <a:pt x="304693" y="555986"/>
                    <a:pt x="253408" y="562019"/>
                  </a:cubicBezTo>
                  <a:cubicBezTo>
                    <a:pt x="187039" y="568053"/>
                    <a:pt x="69385" y="528835"/>
                    <a:pt x="39218" y="423248"/>
                  </a:cubicBezTo>
                  <a:cubicBezTo>
                    <a:pt x="18101" y="350846"/>
                    <a:pt x="0" y="251293"/>
                    <a:pt x="0" y="200008"/>
                  </a:cubicBezTo>
                  <a:cubicBezTo>
                    <a:pt x="0" y="106489"/>
                    <a:pt x="27151" y="28053"/>
                    <a:pt x="208156" y="902"/>
                  </a:cubicBezTo>
                  <a:cubicBezTo>
                    <a:pt x="292626" y="-11165"/>
                    <a:pt x="389162" y="100455"/>
                    <a:pt x="407263" y="178891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073249CD-D5CE-44AB-8C77-77C77A6B0AC9}"/>
                </a:ext>
              </a:extLst>
            </p:cNvPr>
            <p:cNvSpPr/>
            <p:nvPr/>
          </p:nvSpPr>
          <p:spPr>
            <a:xfrm>
              <a:off x="3124153" y="2083019"/>
              <a:ext cx="57318" cy="138770"/>
            </a:xfrm>
            <a:custGeom>
              <a:avLst/>
              <a:gdLst>
                <a:gd name="connsiteX0" fmla="*/ 27151 w 57318"/>
                <a:gd name="connsiteY0" fmla="*/ 138771 h 138770"/>
                <a:gd name="connsiteX1" fmla="*/ 6033 w 57318"/>
                <a:gd name="connsiteY1" fmla="*/ 135754 h 138770"/>
                <a:gd name="connsiteX2" fmla="*/ 0 w 57318"/>
                <a:gd name="connsiteY2" fmla="*/ 129721 h 138770"/>
                <a:gd name="connsiteX3" fmla="*/ 6033 w 57318"/>
                <a:gd name="connsiteY3" fmla="*/ 123687 h 138770"/>
                <a:gd name="connsiteX4" fmla="*/ 45251 w 57318"/>
                <a:gd name="connsiteY4" fmla="*/ 120670 h 138770"/>
                <a:gd name="connsiteX5" fmla="*/ 45251 w 57318"/>
                <a:gd name="connsiteY5" fmla="*/ 117654 h 138770"/>
                <a:gd name="connsiteX6" fmla="*/ 27151 w 57318"/>
                <a:gd name="connsiteY6" fmla="*/ 6034 h 138770"/>
                <a:gd name="connsiteX7" fmla="*/ 33184 w 57318"/>
                <a:gd name="connsiteY7" fmla="*/ 0 h 138770"/>
                <a:gd name="connsiteX8" fmla="*/ 39218 w 57318"/>
                <a:gd name="connsiteY8" fmla="*/ 6034 h 138770"/>
                <a:gd name="connsiteX9" fmla="*/ 57318 w 57318"/>
                <a:gd name="connsiteY9" fmla="*/ 117654 h 138770"/>
                <a:gd name="connsiteX10" fmla="*/ 51285 w 57318"/>
                <a:gd name="connsiteY10" fmla="*/ 129721 h 138770"/>
                <a:gd name="connsiteX11" fmla="*/ 27151 w 57318"/>
                <a:gd name="connsiteY11" fmla="*/ 138771 h 138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318" h="138770">
                  <a:moveTo>
                    <a:pt x="27151" y="138771"/>
                  </a:moveTo>
                  <a:cubicBezTo>
                    <a:pt x="18101" y="138771"/>
                    <a:pt x="9050" y="135754"/>
                    <a:pt x="6033" y="135754"/>
                  </a:cubicBezTo>
                  <a:cubicBezTo>
                    <a:pt x="3017" y="135754"/>
                    <a:pt x="0" y="132737"/>
                    <a:pt x="0" y="129721"/>
                  </a:cubicBezTo>
                  <a:cubicBezTo>
                    <a:pt x="0" y="126704"/>
                    <a:pt x="3017" y="123687"/>
                    <a:pt x="6033" y="123687"/>
                  </a:cubicBezTo>
                  <a:cubicBezTo>
                    <a:pt x="18101" y="126704"/>
                    <a:pt x="39218" y="126704"/>
                    <a:pt x="45251" y="120670"/>
                  </a:cubicBezTo>
                  <a:cubicBezTo>
                    <a:pt x="45251" y="120670"/>
                    <a:pt x="45251" y="117654"/>
                    <a:pt x="45251" y="117654"/>
                  </a:cubicBezTo>
                  <a:cubicBezTo>
                    <a:pt x="45251" y="99553"/>
                    <a:pt x="27151" y="9050"/>
                    <a:pt x="27151" y="6034"/>
                  </a:cubicBezTo>
                  <a:cubicBezTo>
                    <a:pt x="27151" y="3017"/>
                    <a:pt x="27151" y="0"/>
                    <a:pt x="33184" y="0"/>
                  </a:cubicBezTo>
                  <a:cubicBezTo>
                    <a:pt x="36201" y="0"/>
                    <a:pt x="39218" y="0"/>
                    <a:pt x="39218" y="6034"/>
                  </a:cubicBezTo>
                  <a:cubicBezTo>
                    <a:pt x="39218" y="9050"/>
                    <a:pt x="57318" y="99553"/>
                    <a:pt x="57318" y="117654"/>
                  </a:cubicBezTo>
                  <a:cubicBezTo>
                    <a:pt x="57318" y="123687"/>
                    <a:pt x="54302" y="126704"/>
                    <a:pt x="51285" y="129721"/>
                  </a:cubicBezTo>
                  <a:cubicBezTo>
                    <a:pt x="48268" y="138771"/>
                    <a:pt x="36201" y="138771"/>
                    <a:pt x="27151" y="138771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094EDD0E-78A0-430B-87CB-25219866CA57}"/>
                </a:ext>
              </a:extLst>
            </p:cNvPr>
            <p:cNvSpPr/>
            <p:nvPr/>
          </p:nvSpPr>
          <p:spPr>
            <a:xfrm>
              <a:off x="3211639" y="2064327"/>
              <a:ext cx="39809" cy="40401"/>
            </a:xfrm>
            <a:custGeom>
              <a:avLst/>
              <a:gdLst>
                <a:gd name="connsiteX0" fmla="*/ 0 w 39809"/>
                <a:gd name="connsiteY0" fmla="*/ 24726 h 40401"/>
                <a:gd name="connsiteX1" fmla="*/ 24134 w 39809"/>
                <a:gd name="connsiteY1" fmla="*/ 39810 h 40401"/>
                <a:gd name="connsiteX2" fmla="*/ 39218 w 39809"/>
                <a:gd name="connsiteY2" fmla="*/ 15676 h 40401"/>
                <a:gd name="connsiteX3" fmla="*/ 15084 w 39809"/>
                <a:gd name="connsiteY3" fmla="*/ 592 h 40401"/>
                <a:gd name="connsiteX4" fmla="*/ 0 w 39809"/>
                <a:gd name="connsiteY4" fmla="*/ 24726 h 4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09" h="40401">
                  <a:moveTo>
                    <a:pt x="0" y="24726"/>
                  </a:moveTo>
                  <a:cubicBezTo>
                    <a:pt x="3017" y="33776"/>
                    <a:pt x="12067" y="42826"/>
                    <a:pt x="24134" y="39810"/>
                  </a:cubicBezTo>
                  <a:cubicBezTo>
                    <a:pt x="33184" y="36793"/>
                    <a:pt x="42235" y="27743"/>
                    <a:pt x="39218" y="15676"/>
                  </a:cubicBezTo>
                  <a:cubicBezTo>
                    <a:pt x="36201" y="6625"/>
                    <a:pt x="27151" y="-2425"/>
                    <a:pt x="15084" y="592"/>
                  </a:cubicBezTo>
                  <a:cubicBezTo>
                    <a:pt x="6034" y="3608"/>
                    <a:pt x="0" y="12659"/>
                    <a:pt x="0" y="24726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16BB9CD6-15F5-47BA-AD4A-9EE1E37FAD42}"/>
                </a:ext>
              </a:extLst>
            </p:cNvPr>
            <p:cNvSpPr/>
            <p:nvPr/>
          </p:nvSpPr>
          <p:spPr>
            <a:xfrm>
              <a:off x="3030634" y="2082427"/>
              <a:ext cx="39809" cy="40401"/>
            </a:xfrm>
            <a:custGeom>
              <a:avLst/>
              <a:gdLst>
                <a:gd name="connsiteX0" fmla="*/ 0 w 39809"/>
                <a:gd name="connsiteY0" fmla="*/ 24726 h 40401"/>
                <a:gd name="connsiteX1" fmla="*/ 24134 w 39809"/>
                <a:gd name="connsiteY1" fmla="*/ 39810 h 40401"/>
                <a:gd name="connsiteX2" fmla="*/ 39218 w 39809"/>
                <a:gd name="connsiteY2" fmla="*/ 15676 h 40401"/>
                <a:gd name="connsiteX3" fmla="*/ 15084 w 39809"/>
                <a:gd name="connsiteY3" fmla="*/ 592 h 40401"/>
                <a:gd name="connsiteX4" fmla="*/ 0 w 39809"/>
                <a:gd name="connsiteY4" fmla="*/ 24726 h 4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09" h="40401">
                  <a:moveTo>
                    <a:pt x="0" y="24726"/>
                  </a:moveTo>
                  <a:cubicBezTo>
                    <a:pt x="3017" y="33776"/>
                    <a:pt x="12067" y="42826"/>
                    <a:pt x="24134" y="39810"/>
                  </a:cubicBezTo>
                  <a:cubicBezTo>
                    <a:pt x="33184" y="36793"/>
                    <a:pt x="42235" y="27743"/>
                    <a:pt x="39218" y="15676"/>
                  </a:cubicBezTo>
                  <a:cubicBezTo>
                    <a:pt x="36201" y="6625"/>
                    <a:pt x="27151" y="-2425"/>
                    <a:pt x="15084" y="592"/>
                  </a:cubicBezTo>
                  <a:cubicBezTo>
                    <a:pt x="6034" y="3609"/>
                    <a:pt x="0" y="15676"/>
                    <a:pt x="0" y="24726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7C5984F9-4A4A-4690-80F9-CD4E5552684F}"/>
                </a:ext>
              </a:extLst>
            </p:cNvPr>
            <p:cNvSpPr/>
            <p:nvPr/>
          </p:nvSpPr>
          <p:spPr>
            <a:xfrm>
              <a:off x="3183239" y="2013633"/>
              <a:ext cx="90998" cy="33184"/>
            </a:xfrm>
            <a:custGeom>
              <a:avLst/>
              <a:gdLst>
                <a:gd name="connsiteX0" fmla="*/ 85719 w 90998"/>
                <a:gd name="connsiteY0" fmla="*/ 33184 h 33184"/>
                <a:gd name="connsiteX1" fmla="*/ 79685 w 90998"/>
                <a:gd name="connsiteY1" fmla="*/ 30168 h 33184"/>
                <a:gd name="connsiteX2" fmla="*/ 13317 w 90998"/>
                <a:gd name="connsiteY2" fmla="*/ 24134 h 33184"/>
                <a:gd name="connsiteX3" fmla="*/ 1250 w 90998"/>
                <a:gd name="connsiteY3" fmla="*/ 21117 h 33184"/>
                <a:gd name="connsiteX4" fmla="*/ 4266 w 90998"/>
                <a:gd name="connsiteY4" fmla="*/ 9050 h 33184"/>
                <a:gd name="connsiteX5" fmla="*/ 88736 w 90998"/>
                <a:gd name="connsiteY5" fmla="*/ 18101 h 33184"/>
                <a:gd name="connsiteX6" fmla="*/ 88736 w 90998"/>
                <a:gd name="connsiteY6" fmla="*/ 30168 h 33184"/>
                <a:gd name="connsiteX7" fmla="*/ 85719 w 90998"/>
                <a:gd name="connsiteY7" fmla="*/ 33184 h 33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3184">
                  <a:moveTo>
                    <a:pt x="85719" y="33184"/>
                  </a:moveTo>
                  <a:cubicBezTo>
                    <a:pt x="82702" y="33184"/>
                    <a:pt x="82702" y="33184"/>
                    <a:pt x="79685" y="30168"/>
                  </a:cubicBezTo>
                  <a:cubicBezTo>
                    <a:pt x="52534" y="3017"/>
                    <a:pt x="16333" y="24134"/>
                    <a:pt x="13317" y="24134"/>
                  </a:cubicBezTo>
                  <a:cubicBezTo>
                    <a:pt x="10300" y="27151"/>
                    <a:pt x="4266" y="24134"/>
                    <a:pt x="1250" y="21117"/>
                  </a:cubicBezTo>
                  <a:cubicBezTo>
                    <a:pt x="-1767" y="18101"/>
                    <a:pt x="1250" y="12067"/>
                    <a:pt x="4266" y="9050"/>
                  </a:cubicBezTo>
                  <a:cubicBezTo>
                    <a:pt x="22367" y="0"/>
                    <a:pt x="61585" y="-9050"/>
                    <a:pt x="88736" y="18101"/>
                  </a:cubicBezTo>
                  <a:cubicBezTo>
                    <a:pt x="91752" y="21117"/>
                    <a:pt x="91752" y="27151"/>
                    <a:pt x="88736" y="30168"/>
                  </a:cubicBezTo>
                  <a:cubicBezTo>
                    <a:pt x="88736" y="33184"/>
                    <a:pt x="85719" y="33184"/>
                    <a:pt x="85719" y="33184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AECBEBEB-808C-48F5-8110-3C38381410D9}"/>
                </a:ext>
              </a:extLst>
            </p:cNvPr>
            <p:cNvSpPr/>
            <p:nvPr/>
          </p:nvSpPr>
          <p:spPr>
            <a:xfrm>
              <a:off x="2995187" y="2016957"/>
              <a:ext cx="90998" cy="35894"/>
            </a:xfrm>
            <a:custGeom>
              <a:avLst/>
              <a:gdLst>
                <a:gd name="connsiteX0" fmla="*/ 8296 w 90998"/>
                <a:gd name="connsiteY0" fmla="*/ 35894 h 35894"/>
                <a:gd name="connsiteX1" fmla="*/ 2263 w 90998"/>
                <a:gd name="connsiteY1" fmla="*/ 32877 h 35894"/>
                <a:gd name="connsiteX2" fmla="*/ 2263 w 90998"/>
                <a:gd name="connsiteY2" fmla="*/ 20810 h 35894"/>
                <a:gd name="connsiteX3" fmla="*/ 86732 w 90998"/>
                <a:gd name="connsiteY3" fmla="*/ 11760 h 35894"/>
                <a:gd name="connsiteX4" fmla="*/ 89749 w 90998"/>
                <a:gd name="connsiteY4" fmla="*/ 23827 h 35894"/>
                <a:gd name="connsiteX5" fmla="*/ 77682 w 90998"/>
                <a:gd name="connsiteY5" fmla="*/ 26844 h 35894"/>
                <a:gd name="connsiteX6" fmla="*/ 11313 w 90998"/>
                <a:gd name="connsiteY6" fmla="*/ 32877 h 35894"/>
                <a:gd name="connsiteX7" fmla="*/ 8296 w 90998"/>
                <a:gd name="connsiteY7" fmla="*/ 35894 h 3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5894">
                  <a:moveTo>
                    <a:pt x="8296" y="35894"/>
                  </a:moveTo>
                  <a:cubicBezTo>
                    <a:pt x="5279" y="35894"/>
                    <a:pt x="5279" y="35894"/>
                    <a:pt x="2263" y="32877"/>
                  </a:cubicBezTo>
                  <a:cubicBezTo>
                    <a:pt x="-754" y="29861"/>
                    <a:pt x="-754" y="23827"/>
                    <a:pt x="2263" y="20810"/>
                  </a:cubicBezTo>
                  <a:cubicBezTo>
                    <a:pt x="14330" y="5727"/>
                    <a:pt x="50531" y="-12374"/>
                    <a:pt x="86732" y="11760"/>
                  </a:cubicBezTo>
                  <a:cubicBezTo>
                    <a:pt x="89749" y="14777"/>
                    <a:pt x="92765" y="17794"/>
                    <a:pt x="89749" y="23827"/>
                  </a:cubicBezTo>
                  <a:cubicBezTo>
                    <a:pt x="86732" y="26844"/>
                    <a:pt x="83715" y="29861"/>
                    <a:pt x="77682" y="26844"/>
                  </a:cubicBezTo>
                  <a:cubicBezTo>
                    <a:pt x="41480" y="2710"/>
                    <a:pt x="14330" y="32877"/>
                    <a:pt x="11313" y="32877"/>
                  </a:cubicBezTo>
                  <a:cubicBezTo>
                    <a:pt x="14330" y="35894"/>
                    <a:pt x="11313" y="35894"/>
                    <a:pt x="8296" y="35894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0767E2AB-7935-4E92-ACB8-69F7466F421C}"/>
                </a:ext>
              </a:extLst>
            </p:cNvPr>
            <p:cNvSpPr/>
            <p:nvPr/>
          </p:nvSpPr>
          <p:spPr>
            <a:xfrm>
              <a:off x="2991416" y="2330393"/>
              <a:ext cx="228519" cy="63351"/>
            </a:xfrm>
            <a:custGeom>
              <a:avLst/>
              <a:gdLst>
                <a:gd name="connsiteX0" fmla="*/ 147821 w 228519"/>
                <a:gd name="connsiteY0" fmla="*/ 63352 h 63351"/>
                <a:gd name="connsiteX1" fmla="*/ 3017 w 228519"/>
                <a:gd name="connsiteY1" fmla="*/ 12067 h 63351"/>
                <a:gd name="connsiteX2" fmla="*/ 0 w 228519"/>
                <a:gd name="connsiteY2" fmla="*/ 3017 h 63351"/>
                <a:gd name="connsiteX3" fmla="*/ 9050 w 228519"/>
                <a:gd name="connsiteY3" fmla="*/ 0 h 63351"/>
                <a:gd name="connsiteX4" fmla="*/ 147821 w 228519"/>
                <a:gd name="connsiteY4" fmla="*/ 48268 h 63351"/>
                <a:gd name="connsiteX5" fmla="*/ 147821 w 228519"/>
                <a:gd name="connsiteY5" fmla="*/ 48268 h 63351"/>
                <a:gd name="connsiteX6" fmla="*/ 217207 w 228519"/>
                <a:gd name="connsiteY6" fmla="*/ 24134 h 63351"/>
                <a:gd name="connsiteX7" fmla="*/ 226257 w 228519"/>
                <a:gd name="connsiteY7" fmla="*/ 24134 h 63351"/>
                <a:gd name="connsiteX8" fmla="*/ 226257 w 228519"/>
                <a:gd name="connsiteY8" fmla="*/ 33184 h 63351"/>
                <a:gd name="connsiteX9" fmla="*/ 147821 w 228519"/>
                <a:gd name="connsiteY9" fmla="*/ 63352 h 63351"/>
                <a:gd name="connsiteX10" fmla="*/ 147821 w 228519"/>
                <a:gd name="connsiteY10" fmla="*/ 63352 h 63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8519" h="63351">
                  <a:moveTo>
                    <a:pt x="147821" y="63352"/>
                  </a:moveTo>
                  <a:cubicBezTo>
                    <a:pt x="96536" y="63352"/>
                    <a:pt x="9050" y="15084"/>
                    <a:pt x="3017" y="12067"/>
                  </a:cubicBezTo>
                  <a:cubicBezTo>
                    <a:pt x="0" y="9050"/>
                    <a:pt x="0" y="6033"/>
                    <a:pt x="0" y="3017"/>
                  </a:cubicBezTo>
                  <a:cubicBezTo>
                    <a:pt x="3017" y="0"/>
                    <a:pt x="6033" y="0"/>
                    <a:pt x="9050" y="0"/>
                  </a:cubicBezTo>
                  <a:cubicBezTo>
                    <a:pt x="9050" y="0"/>
                    <a:pt x="99553" y="48268"/>
                    <a:pt x="147821" y="48268"/>
                  </a:cubicBezTo>
                  <a:cubicBezTo>
                    <a:pt x="147821" y="48268"/>
                    <a:pt x="147821" y="48268"/>
                    <a:pt x="147821" y="48268"/>
                  </a:cubicBezTo>
                  <a:cubicBezTo>
                    <a:pt x="187039" y="48268"/>
                    <a:pt x="217207" y="24134"/>
                    <a:pt x="217207" y="24134"/>
                  </a:cubicBezTo>
                  <a:cubicBezTo>
                    <a:pt x="220223" y="21117"/>
                    <a:pt x="223240" y="21117"/>
                    <a:pt x="226257" y="24134"/>
                  </a:cubicBezTo>
                  <a:cubicBezTo>
                    <a:pt x="229274" y="27151"/>
                    <a:pt x="229274" y="30168"/>
                    <a:pt x="226257" y="33184"/>
                  </a:cubicBezTo>
                  <a:cubicBezTo>
                    <a:pt x="223240" y="36201"/>
                    <a:pt x="190056" y="63352"/>
                    <a:pt x="147821" y="63352"/>
                  </a:cubicBezTo>
                  <a:cubicBezTo>
                    <a:pt x="147821" y="63352"/>
                    <a:pt x="147821" y="63352"/>
                    <a:pt x="147821" y="63352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77C829C8-5E0E-4FDC-B9E4-1D1C68BE56F3}"/>
                </a:ext>
              </a:extLst>
            </p:cNvPr>
            <p:cNvSpPr/>
            <p:nvPr/>
          </p:nvSpPr>
          <p:spPr>
            <a:xfrm>
              <a:off x="2873396" y="1850728"/>
              <a:ext cx="99919" cy="265474"/>
            </a:xfrm>
            <a:custGeom>
              <a:avLst/>
              <a:gdLst>
                <a:gd name="connsiteX0" fmla="*/ 99919 w 99919"/>
                <a:gd name="connsiteY0" fmla="*/ 126704 h 265474"/>
                <a:gd name="connsiteX1" fmla="*/ 51651 w 99919"/>
                <a:gd name="connsiteY1" fmla="*/ 265475 h 265474"/>
                <a:gd name="connsiteX2" fmla="*/ 6400 w 99919"/>
                <a:gd name="connsiteY2" fmla="*/ 159888 h 265474"/>
                <a:gd name="connsiteX3" fmla="*/ 51651 w 99919"/>
                <a:gd name="connsiteY3" fmla="*/ 0 h 265474"/>
                <a:gd name="connsiteX4" fmla="*/ 99919 w 99919"/>
                <a:gd name="connsiteY4" fmla="*/ 126704 h 26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19" h="265474">
                  <a:moveTo>
                    <a:pt x="99919" y="126704"/>
                  </a:moveTo>
                  <a:cubicBezTo>
                    <a:pt x="99919" y="126704"/>
                    <a:pt x="45617" y="235307"/>
                    <a:pt x="51651" y="265475"/>
                  </a:cubicBezTo>
                  <a:cubicBezTo>
                    <a:pt x="51651" y="265475"/>
                    <a:pt x="21483" y="247374"/>
                    <a:pt x="6400" y="159888"/>
                  </a:cubicBezTo>
                  <a:cubicBezTo>
                    <a:pt x="-2651" y="99553"/>
                    <a:pt x="-11701" y="15084"/>
                    <a:pt x="51651" y="0"/>
                  </a:cubicBezTo>
                  <a:cubicBezTo>
                    <a:pt x="51651" y="0"/>
                    <a:pt x="57684" y="105587"/>
                    <a:pt x="99919" y="126704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6F6A9B2A-5EB3-4F3F-903D-48DC0E622C6E}"/>
                </a:ext>
              </a:extLst>
            </p:cNvPr>
            <p:cNvSpPr/>
            <p:nvPr/>
          </p:nvSpPr>
          <p:spPr>
            <a:xfrm>
              <a:off x="2914102" y="1734732"/>
              <a:ext cx="496643" cy="251781"/>
            </a:xfrm>
            <a:custGeom>
              <a:avLst/>
              <a:gdLst>
                <a:gd name="connsiteX0" fmla="*/ 59213 w 496643"/>
                <a:gd name="connsiteY0" fmla="*/ 242700 h 251781"/>
                <a:gd name="connsiteX1" fmla="*/ 179884 w 496643"/>
                <a:gd name="connsiteY1" fmla="*/ 203483 h 251781"/>
                <a:gd name="connsiteX2" fmla="*/ 496643 w 496643"/>
                <a:gd name="connsiteY2" fmla="*/ 191416 h 251781"/>
                <a:gd name="connsiteX3" fmla="*/ 128599 w 496643"/>
                <a:gd name="connsiteY3" fmla="*/ 10410 h 251781"/>
                <a:gd name="connsiteX4" fmla="*/ 10945 w 496643"/>
                <a:gd name="connsiteY4" fmla="*/ 115997 h 251781"/>
                <a:gd name="connsiteX5" fmla="*/ 59213 w 496643"/>
                <a:gd name="connsiteY5" fmla="*/ 242700 h 251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6643" h="251781">
                  <a:moveTo>
                    <a:pt x="59213" y="242700"/>
                  </a:moveTo>
                  <a:cubicBezTo>
                    <a:pt x="59213" y="242700"/>
                    <a:pt x="152733" y="203483"/>
                    <a:pt x="179884" y="203483"/>
                  </a:cubicBezTo>
                  <a:cubicBezTo>
                    <a:pt x="279437" y="206499"/>
                    <a:pt x="406141" y="318119"/>
                    <a:pt x="496643" y="191416"/>
                  </a:cubicBezTo>
                  <a:cubicBezTo>
                    <a:pt x="451392" y="91862"/>
                    <a:pt x="291504" y="-37858"/>
                    <a:pt x="128599" y="10410"/>
                  </a:cubicBezTo>
                  <a:cubicBezTo>
                    <a:pt x="50163" y="31527"/>
                    <a:pt x="16978" y="79795"/>
                    <a:pt x="10945" y="115997"/>
                  </a:cubicBezTo>
                  <a:cubicBezTo>
                    <a:pt x="10945" y="115997"/>
                    <a:pt x="-34306" y="230633"/>
                    <a:pt x="59213" y="242700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1C3F780F-73A0-4EDF-86C5-278AF4BF9BAC}"/>
                </a:ext>
              </a:extLst>
            </p:cNvPr>
            <p:cNvSpPr/>
            <p:nvPr/>
          </p:nvSpPr>
          <p:spPr>
            <a:xfrm>
              <a:off x="2860656" y="2082830"/>
              <a:ext cx="77799" cy="109341"/>
            </a:xfrm>
            <a:custGeom>
              <a:avLst/>
              <a:gdLst>
                <a:gd name="connsiteX0" fmla="*/ 64392 w 77799"/>
                <a:gd name="connsiteY0" fmla="*/ 15272 h 109341"/>
                <a:gd name="connsiteX1" fmla="*/ 7073 w 77799"/>
                <a:gd name="connsiteY1" fmla="*/ 6222 h 109341"/>
                <a:gd name="connsiteX2" fmla="*/ 64392 w 77799"/>
                <a:gd name="connsiteY2" fmla="*/ 105775 h 109341"/>
                <a:gd name="connsiteX3" fmla="*/ 64392 w 77799"/>
                <a:gd name="connsiteY3" fmla="*/ 15272 h 109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99" h="109341">
                  <a:moveTo>
                    <a:pt x="64392" y="15272"/>
                  </a:moveTo>
                  <a:cubicBezTo>
                    <a:pt x="64392" y="15272"/>
                    <a:pt x="31207" y="-11878"/>
                    <a:pt x="7073" y="6222"/>
                  </a:cubicBezTo>
                  <a:cubicBezTo>
                    <a:pt x="-17061" y="24323"/>
                    <a:pt x="25174" y="129909"/>
                    <a:pt x="64392" y="105775"/>
                  </a:cubicBezTo>
                  <a:cubicBezTo>
                    <a:pt x="94559" y="90691"/>
                    <a:pt x="64392" y="15272"/>
                    <a:pt x="64392" y="15272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3CF69759-82F4-4782-ADE8-EDAB589C0372}"/>
                </a:ext>
              </a:extLst>
            </p:cNvPr>
            <p:cNvSpPr/>
            <p:nvPr/>
          </p:nvSpPr>
          <p:spPr>
            <a:xfrm>
              <a:off x="2581137" y="2448047"/>
              <a:ext cx="1059691" cy="1550432"/>
            </a:xfrm>
            <a:custGeom>
              <a:avLst/>
              <a:gdLst>
                <a:gd name="connsiteX0" fmla="*/ 392179 w 1059691"/>
                <a:gd name="connsiteY0" fmla="*/ 0 h 1550432"/>
                <a:gd name="connsiteX1" fmla="*/ 678771 w 1059691"/>
                <a:gd name="connsiteY1" fmla="*/ 0 h 1550432"/>
                <a:gd name="connsiteX2" fmla="*/ 974414 w 1059691"/>
                <a:gd name="connsiteY2" fmla="*/ 129721 h 1550432"/>
                <a:gd name="connsiteX3" fmla="*/ 1058883 w 1059691"/>
                <a:gd name="connsiteY3" fmla="*/ 1520447 h 1550432"/>
                <a:gd name="connsiteX4" fmla="*/ 0 w 1059691"/>
                <a:gd name="connsiteY4" fmla="*/ 1496313 h 1550432"/>
                <a:gd name="connsiteX5" fmla="*/ 114637 w 1059691"/>
                <a:gd name="connsiteY5" fmla="*/ 102570 h 1550432"/>
                <a:gd name="connsiteX6" fmla="*/ 392179 w 1059691"/>
                <a:gd name="connsiteY6" fmla="*/ 0 h 1550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9691" h="1550432">
                  <a:moveTo>
                    <a:pt x="392179" y="0"/>
                  </a:moveTo>
                  <a:cubicBezTo>
                    <a:pt x="392179" y="0"/>
                    <a:pt x="564134" y="54302"/>
                    <a:pt x="678771" y="0"/>
                  </a:cubicBezTo>
                  <a:cubicBezTo>
                    <a:pt x="678771" y="0"/>
                    <a:pt x="950279" y="96536"/>
                    <a:pt x="974414" y="129721"/>
                  </a:cubicBezTo>
                  <a:cubicBezTo>
                    <a:pt x="998548" y="159888"/>
                    <a:pt x="1067933" y="1454078"/>
                    <a:pt x="1058883" y="1520447"/>
                  </a:cubicBezTo>
                  <a:cubicBezTo>
                    <a:pt x="1058883" y="1520447"/>
                    <a:pt x="573184" y="1601899"/>
                    <a:pt x="0" y="1496313"/>
                  </a:cubicBezTo>
                  <a:cubicBezTo>
                    <a:pt x="0" y="1143352"/>
                    <a:pt x="72402" y="132737"/>
                    <a:pt x="114637" y="102570"/>
                  </a:cubicBezTo>
                  <a:cubicBezTo>
                    <a:pt x="153855" y="69385"/>
                    <a:pt x="392179" y="0"/>
                    <a:pt x="392179" y="0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DA115AB2-F594-43FB-A10D-507C305BC4A4}"/>
                </a:ext>
              </a:extLst>
            </p:cNvPr>
            <p:cNvSpPr/>
            <p:nvPr/>
          </p:nvSpPr>
          <p:spPr>
            <a:xfrm>
              <a:off x="3546500" y="2571734"/>
              <a:ext cx="52534" cy="733072"/>
            </a:xfrm>
            <a:custGeom>
              <a:avLst/>
              <a:gdLst>
                <a:gd name="connsiteX0" fmla="*/ 48268 w 52534"/>
                <a:gd name="connsiteY0" fmla="*/ 733073 h 733072"/>
                <a:gd name="connsiteX1" fmla="*/ 42235 w 52534"/>
                <a:gd name="connsiteY1" fmla="*/ 727039 h 733072"/>
                <a:gd name="connsiteX2" fmla="*/ 0 w 52534"/>
                <a:gd name="connsiteY2" fmla="*/ 6033 h 733072"/>
                <a:gd name="connsiteX3" fmla="*/ 3017 w 52534"/>
                <a:gd name="connsiteY3" fmla="*/ 0 h 733072"/>
                <a:gd name="connsiteX4" fmla="*/ 9050 w 52534"/>
                <a:gd name="connsiteY4" fmla="*/ 3017 h 733072"/>
                <a:gd name="connsiteX5" fmla="*/ 51285 w 52534"/>
                <a:gd name="connsiteY5" fmla="*/ 727039 h 733072"/>
                <a:gd name="connsiteX6" fmla="*/ 48268 w 52534"/>
                <a:gd name="connsiteY6" fmla="*/ 733073 h 733072"/>
                <a:gd name="connsiteX7" fmla="*/ 48268 w 52534"/>
                <a:gd name="connsiteY7" fmla="*/ 733073 h 733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534" h="733072">
                  <a:moveTo>
                    <a:pt x="48268" y="733073"/>
                  </a:moveTo>
                  <a:cubicBezTo>
                    <a:pt x="45251" y="733073"/>
                    <a:pt x="42235" y="730056"/>
                    <a:pt x="42235" y="727039"/>
                  </a:cubicBezTo>
                  <a:cubicBezTo>
                    <a:pt x="42235" y="721006"/>
                    <a:pt x="6034" y="45251"/>
                    <a:pt x="0" y="6033"/>
                  </a:cubicBezTo>
                  <a:cubicBezTo>
                    <a:pt x="0" y="3017"/>
                    <a:pt x="0" y="0"/>
                    <a:pt x="3017" y="0"/>
                  </a:cubicBezTo>
                  <a:cubicBezTo>
                    <a:pt x="6034" y="0"/>
                    <a:pt x="9050" y="0"/>
                    <a:pt x="9050" y="3017"/>
                  </a:cubicBezTo>
                  <a:cubicBezTo>
                    <a:pt x="18101" y="42235"/>
                    <a:pt x="51285" y="699888"/>
                    <a:pt x="51285" y="727039"/>
                  </a:cubicBezTo>
                  <a:cubicBezTo>
                    <a:pt x="54302" y="730056"/>
                    <a:pt x="51285" y="733073"/>
                    <a:pt x="48268" y="733073"/>
                  </a:cubicBezTo>
                  <a:cubicBezTo>
                    <a:pt x="48268" y="733073"/>
                    <a:pt x="48268" y="733073"/>
                    <a:pt x="48268" y="733073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0AE9A19D-8FF7-403E-84E9-C2EEC9FA9636}"/>
                </a:ext>
              </a:extLst>
            </p:cNvPr>
            <p:cNvSpPr/>
            <p:nvPr/>
          </p:nvSpPr>
          <p:spPr>
            <a:xfrm>
              <a:off x="3100019" y="2276846"/>
              <a:ext cx="118994" cy="29413"/>
            </a:xfrm>
            <a:custGeom>
              <a:avLst/>
              <a:gdLst>
                <a:gd name="connsiteX0" fmla="*/ 66369 w 118994"/>
                <a:gd name="connsiteY0" fmla="*/ 29413 h 29413"/>
                <a:gd name="connsiteX1" fmla="*/ 3017 w 118994"/>
                <a:gd name="connsiteY1" fmla="*/ 14330 h 29413"/>
                <a:gd name="connsiteX2" fmla="*/ 0 w 118994"/>
                <a:gd name="connsiteY2" fmla="*/ 5279 h 29413"/>
                <a:gd name="connsiteX3" fmla="*/ 9050 w 118994"/>
                <a:gd name="connsiteY3" fmla="*/ 2263 h 29413"/>
                <a:gd name="connsiteX4" fmla="*/ 108603 w 118994"/>
                <a:gd name="connsiteY4" fmla="*/ 2263 h 29413"/>
                <a:gd name="connsiteX5" fmla="*/ 117654 w 118994"/>
                <a:gd name="connsiteY5" fmla="*/ 2263 h 29413"/>
                <a:gd name="connsiteX6" fmla="*/ 117654 w 118994"/>
                <a:gd name="connsiteY6" fmla="*/ 11313 h 29413"/>
                <a:gd name="connsiteX7" fmla="*/ 66369 w 118994"/>
                <a:gd name="connsiteY7" fmla="*/ 29413 h 29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994" h="29413">
                  <a:moveTo>
                    <a:pt x="66369" y="29413"/>
                  </a:moveTo>
                  <a:cubicBezTo>
                    <a:pt x="33184" y="29413"/>
                    <a:pt x="6034" y="14330"/>
                    <a:pt x="3017" y="14330"/>
                  </a:cubicBezTo>
                  <a:cubicBezTo>
                    <a:pt x="0" y="14330"/>
                    <a:pt x="0" y="8296"/>
                    <a:pt x="0" y="5279"/>
                  </a:cubicBezTo>
                  <a:cubicBezTo>
                    <a:pt x="0" y="2263"/>
                    <a:pt x="6034" y="2263"/>
                    <a:pt x="9050" y="2263"/>
                  </a:cubicBezTo>
                  <a:cubicBezTo>
                    <a:pt x="9050" y="2263"/>
                    <a:pt x="72402" y="32430"/>
                    <a:pt x="108603" y="2263"/>
                  </a:cubicBezTo>
                  <a:cubicBezTo>
                    <a:pt x="111620" y="-754"/>
                    <a:pt x="114637" y="-754"/>
                    <a:pt x="117654" y="2263"/>
                  </a:cubicBezTo>
                  <a:cubicBezTo>
                    <a:pt x="120670" y="5279"/>
                    <a:pt x="117654" y="8296"/>
                    <a:pt x="117654" y="11313"/>
                  </a:cubicBezTo>
                  <a:cubicBezTo>
                    <a:pt x="99553" y="26397"/>
                    <a:pt x="81453" y="29413"/>
                    <a:pt x="66369" y="29413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EFDC43D7-A38D-4F6C-87E6-1DA5F60C8849}"/>
                </a:ext>
              </a:extLst>
            </p:cNvPr>
            <p:cNvSpPr/>
            <p:nvPr/>
          </p:nvSpPr>
          <p:spPr>
            <a:xfrm>
              <a:off x="2461027" y="3009164"/>
              <a:ext cx="786813" cy="817541"/>
            </a:xfrm>
            <a:custGeom>
              <a:avLst/>
              <a:gdLst>
                <a:gd name="connsiteX0" fmla="*/ 319216 w 786813"/>
                <a:gd name="connsiteY0" fmla="*/ 0 h 817541"/>
                <a:gd name="connsiteX1" fmla="*/ 261897 w 786813"/>
                <a:gd name="connsiteY1" fmla="*/ 536983 h 817541"/>
                <a:gd name="connsiteX2" fmla="*/ 786814 w 786813"/>
                <a:gd name="connsiteY2" fmla="*/ 684805 h 817541"/>
                <a:gd name="connsiteX3" fmla="*/ 780780 w 786813"/>
                <a:gd name="connsiteY3" fmla="*/ 817542 h 817541"/>
                <a:gd name="connsiteX4" fmla="*/ 44691 w 786813"/>
                <a:gd name="connsiteY4" fmla="*/ 696871 h 817541"/>
                <a:gd name="connsiteX5" fmla="*/ 53741 w 786813"/>
                <a:gd name="connsiteY5" fmla="*/ 0 h 817541"/>
                <a:gd name="connsiteX6" fmla="*/ 319216 w 786813"/>
                <a:gd name="connsiteY6" fmla="*/ 0 h 817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813" h="817541">
                  <a:moveTo>
                    <a:pt x="319216" y="0"/>
                  </a:moveTo>
                  <a:lnTo>
                    <a:pt x="261897" y="536983"/>
                  </a:lnTo>
                  <a:lnTo>
                    <a:pt x="786814" y="684805"/>
                  </a:lnTo>
                  <a:lnTo>
                    <a:pt x="780780" y="817542"/>
                  </a:lnTo>
                  <a:cubicBezTo>
                    <a:pt x="780780" y="817542"/>
                    <a:pt x="150277" y="766257"/>
                    <a:pt x="44691" y="696871"/>
                  </a:cubicBezTo>
                  <a:cubicBezTo>
                    <a:pt x="-60896" y="627486"/>
                    <a:pt x="53741" y="0"/>
                    <a:pt x="53741" y="0"/>
                  </a:cubicBezTo>
                  <a:lnTo>
                    <a:pt x="319216" y="0"/>
                  </a:ln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EF6AB7BE-74EC-42A6-9A38-78ACEF22A1C3}"/>
                </a:ext>
              </a:extLst>
            </p:cNvPr>
            <p:cNvSpPr/>
            <p:nvPr/>
          </p:nvSpPr>
          <p:spPr>
            <a:xfrm>
              <a:off x="2662589" y="3111734"/>
              <a:ext cx="114636" cy="476648"/>
            </a:xfrm>
            <a:custGeom>
              <a:avLst/>
              <a:gdLst>
                <a:gd name="connsiteX0" fmla="*/ 6034 w 114636"/>
                <a:gd name="connsiteY0" fmla="*/ 476648 h 476648"/>
                <a:gd name="connsiteX1" fmla="*/ 0 w 114636"/>
                <a:gd name="connsiteY1" fmla="*/ 473631 h 476648"/>
                <a:gd name="connsiteX2" fmla="*/ 3017 w 114636"/>
                <a:gd name="connsiteY2" fmla="*/ 467598 h 476648"/>
                <a:gd name="connsiteX3" fmla="*/ 54302 w 114636"/>
                <a:gd name="connsiteY3" fmla="*/ 431397 h 476648"/>
                <a:gd name="connsiteX4" fmla="*/ 102570 w 114636"/>
                <a:gd name="connsiteY4" fmla="*/ 0 h 476648"/>
                <a:gd name="connsiteX5" fmla="*/ 114637 w 114636"/>
                <a:gd name="connsiteY5" fmla="*/ 0 h 476648"/>
                <a:gd name="connsiteX6" fmla="*/ 69385 w 114636"/>
                <a:gd name="connsiteY6" fmla="*/ 434413 h 476648"/>
                <a:gd name="connsiteX7" fmla="*/ 66369 w 114636"/>
                <a:gd name="connsiteY7" fmla="*/ 437430 h 476648"/>
                <a:gd name="connsiteX8" fmla="*/ 6034 w 114636"/>
                <a:gd name="connsiteY8" fmla="*/ 476648 h 476648"/>
                <a:gd name="connsiteX9" fmla="*/ 6034 w 114636"/>
                <a:gd name="connsiteY9" fmla="*/ 476648 h 476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4636" h="476648">
                  <a:moveTo>
                    <a:pt x="6034" y="476648"/>
                  </a:moveTo>
                  <a:cubicBezTo>
                    <a:pt x="3017" y="476648"/>
                    <a:pt x="3017" y="476648"/>
                    <a:pt x="0" y="473631"/>
                  </a:cubicBezTo>
                  <a:cubicBezTo>
                    <a:pt x="0" y="470614"/>
                    <a:pt x="0" y="467598"/>
                    <a:pt x="3017" y="467598"/>
                  </a:cubicBezTo>
                  <a:cubicBezTo>
                    <a:pt x="18101" y="458548"/>
                    <a:pt x="48268" y="437430"/>
                    <a:pt x="54302" y="431397"/>
                  </a:cubicBezTo>
                  <a:cubicBezTo>
                    <a:pt x="69385" y="310726"/>
                    <a:pt x="102570" y="0"/>
                    <a:pt x="102570" y="0"/>
                  </a:cubicBezTo>
                  <a:lnTo>
                    <a:pt x="114637" y="0"/>
                  </a:lnTo>
                  <a:cubicBezTo>
                    <a:pt x="114637" y="0"/>
                    <a:pt x="81453" y="316760"/>
                    <a:pt x="69385" y="434413"/>
                  </a:cubicBezTo>
                  <a:cubicBezTo>
                    <a:pt x="69385" y="437430"/>
                    <a:pt x="69385" y="437430"/>
                    <a:pt x="66369" y="437430"/>
                  </a:cubicBezTo>
                  <a:cubicBezTo>
                    <a:pt x="63352" y="440447"/>
                    <a:pt x="27151" y="467598"/>
                    <a:pt x="6034" y="476648"/>
                  </a:cubicBezTo>
                  <a:cubicBezTo>
                    <a:pt x="9050" y="476648"/>
                    <a:pt x="6034" y="476648"/>
                    <a:pt x="6034" y="476648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CE0372CF-87DB-4FAD-AEFE-097A908CCBA1}"/>
                </a:ext>
              </a:extLst>
            </p:cNvPr>
            <p:cNvSpPr/>
            <p:nvPr/>
          </p:nvSpPr>
          <p:spPr>
            <a:xfrm>
              <a:off x="2457450" y="2532225"/>
              <a:ext cx="416501" cy="577876"/>
            </a:xfrm>
            <a:custGeom>
              <a:avLst/>
              <a:gdLst>
                <a:gd name="connsiteX0" fmla="*/ 0 w 416501"/>
                <a:gd name="connsiteY0" fmla="*/ 534258 h 577876"/>
                <a:gd name="connsiteX1" fmla="*/ 259441 w 416501"/>
                <a:gd name="connsiteY1" fmla="*/ 291 h 577876"/>
                <a:gd name="connsiteX2" fmla="*/ 416313 w 416501"/>
                <a:gd name="connsiteY2" fmla="*/ 561408 h 577876"/>
                <a:gd name="connsiteX3" fmla="*/ 0 w 416501"/>
                <a:gd name="connsiteY3" fmla="*/ 534258 h 577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6501" h="577876">
                  <a:moveTo>
                    <a:pt x="0" y="534258"/>
                  </a:moveTo>
                  <a:cubicBezTo>
                    <a:pt x="0" y="534258"/>
                    <a:pt x="114637" y="15375"/>
                    <a:pt x="259441" y="291"/>
                  </a:cubicBezTo>
                  <a:cubicBezTo>
                    <a:pt x="428380" y="-14793"/>
                    <a:pt x="416313" y="561408"/>
                    <a:pt x="416313" y="561408"/>
                  </a:cubicBezTo>
                  <a:cubicBezTo>
                    <a:pt x="416313" y="561408"/>
                    <a:pt x="196089" y="612693"/>
                    <a:pt x="0" y="534258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53D4F859-B732-40BE-B4C2-51DE6DC0983D}"/>
                </a:ext>
              </a:extLst>
            </p:cNvPr>
            <p:cNvSpPr/>
            <p:nvPr/>
          </p:nvSpPr>
          <p:spPr>
            <a:xfrm>
              <a:off x="2712624" y="2528250"/>
              <a:ext cx="170188" cy="589517"/>
            </a:xfrm>
            <a:custGeom>
              <a:avLst/>
              <a:gdLst>
                <a:gd name="connsiteX0" fmla="*/ 34434 w 170188"/>
                <a:gd name="connsiteY0" fmla="*/ 589518 h 589517"/>
                <a:gd name="connsiteX1" fmla="*/ 28400 w 170188"/>
                <a:gd name="connsiteY1" fmla="*/ 589518 h 589517"/>
                <a:gd name="connsiteX2" fmla="*/ 22367 w 170188"/>
                <a:gd name="connsiteY2" fmla="*/ 583484 h 589517"/>
                <a:gd name="connsiteX3" fmla="*/ 28400 w 170188"/>
                <a:gd name="connsiteY3" fmla="*/ 577451 h 589517"/>
                <a:gd name="connsiteX4" fmla="*/ 155104 w 170188"/>
                <a:gd name="connsiteY4" fmla="*/ 562367 h 589517"/>
                <a:gd name="connsiteX5" fmla="*/ 130970 w 170188"/>
                <a:gd name="connsiteY5" fmla="*/ 212423 h 589517"/>
                <a:gd name="connsiteX6" fmla="*/ 4266 w 170188"/>
                <a:gd name="connsiteY6" fmla="*/ 10300 h 589517"/>
                <a:gd name="connsiteX7" fmla="*/ 1250 w 170188"/>
                <a:gd name="connsiteY7" fmla="*/ 4266 h 589517"/>
                <a:gd name="connsiteX8" fmla="*/ 7283 w 170188"/>
                <a:gd name="connsiteY8" fmla="*/ 1250 h 589517"/>
                <a:gd name="connsiteX9" fmla="*/ 143037 w 170188"/>
                <a:gd name="connsiteY9" fmla="*/ 212423 h 589517"/>
                <a:gd name="connsiteX10" fmla="*/ 170188 w 170188"/>
                <a:gd name="connsiteY10" fmla="*/ 568400 h 589517"/>
                <a:gd name="connsiteX11" fmla="*/ 170188 w 170188"/>
                <a:gd name="connsiteY11" fmla="*/ 571417 h 589517"/>
                <a:gd name="connsiteX12" fmla="*/ 167171 w 170188"/>
                <a:gd name="connsiteY12" fmla="*/ 571417 h 589517"/>
                <a:gd name="connsiteX13" fmla="*/ 34434 w 170188"/>
                <a:gd name="connsiteY13" fmla="*/ 589518 h 589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0188" h="589517">
                  <a:moveTo>
                    <a:pt x="34434" y="589518"/>
                  </a:moveTo>
                  <a:cubicBezTo>
                    <a:pt x="31417" y="589518"/>
                    <a:pt x="28400" y="589518"/>
                    <a:pt x="28400" y="589518"/>
                  </a:cubicBezTo>
                  <a:cubicBezTo>
                    <a:pt x="25384" y="589518"/>
                    <a:pt x="22367" y="586501"/>
                    <a:pt x="22367" y="583484"/>
                  </a:cubicBezTo>
                  <a:cubicBezTo>
                    <a:pt x="22367" y="580468"/>
                    <a:pt x="25384" y="577451"/>
                    <a:pt x="28400" y="577451"/>
                  </a:cubicBezTo>
                  <a:cubicBezTo>
                    <a:pt x="82702" y="577451"/>
                    <a:pt x="140021" y="565384"/>
                    <a:pt x="155104" y="562367"/>
                  </a:cubicBezTo>
                  <a:cubicBezTo>
                    <a:pt x="155104" y="535216"/>
                    <a:pt x="149071" y="375328"/>
                    <a:pt x="130970" y="212423"/>
                  </a:cubicBezTo>
                  <a:cubicBezTo>
                    <a:pt x="109853" y="37451"/>
                    <a:pt x="4266" y="10300"/>
                    <a:pt x="4266" y="10300"/>
                  </a:cubicBezTo>
                  <a:cubicBezTo>
                    <a:pt x="1250" y="10300"/>
                    <a:pt x="-1767" y="7283"/>
                    <a:pt x="1250" y="4266"/>
                  </a:cubicBezTo>
                  <a:cubicBezTo>
                    <a:pt x="1250" y="1250"/>
                    <a:pt x="4266" y="-1767"/>
                    <a:pt x="7283" y="1250"/>
                  </a:cubicBezTo>
                  <a:cubicBezTo>
                    <a:pt x="13317" y="1250"/>
                    <a:pt x="121920" y="28400"/>
                    <a:pt x="143037" y="212423"/>
                  </a:cubicBezTo>
                  <a:cubicBezTo>
                    <a:pt x="164155" y="390412"/>
                    <a:pt x="170188" y="565384"/>
                    <a:pt x="170188" y="568400"/>
                  </a:cubicBezTo>
                  <a:lnTo>
                    <a:pt x="170188" y="571417"/>
                  </a:lnTo>
                  <a:lnTo>
                    <a:pt x="167171" y="571417"/>
                  </a:lnTo>
                  <a:cubicBezTo>
                    <a:pt x="164155" y="571417"/>
                    <a:pt x="97786" y="589518"/>
                    <a:pt x="34434" y="589518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9" name="图形 1">
              <a:extLst>
                <a:ext uri="{FF2B5EF4-FFF2-40B4-BE49-F238E27FC236}">
                  <a16:creationId xmlns:a16="http://schemas.microsoft.com/office/drawing/2014/main" id="{172A2110-F329-4DC2-B108-87F0BA0F09AE}"/>
                </a:ext>
              </a:extLst>
            </p:cNvPr>
            <p:cNvGrpSpPr/>
            <p:nvPr/>
          </p:nvGrpSpPr>
          <p:grpSpPr>
            <a:xfrm>
              <a:off x="3238790" y="2918661"/>
              <a:ext cx="1239888" cy="895977"/>
              <a:chOff x="3238790" y="2918661"/>
              <a:chExt cx="1239888" cy="895977"/>
            </a:xfrm>
          </p:grpSpPr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583FF712-8C8B-4D4A-8622-6EC425C5189A}"/>
                  </a:ext>
                </a:extLst>
              </p:cNvPr>
              <p:cNvSpPr/>
              <p:nvPr/>
            </p:nvSpPr>
            <p:spPr>
              <a:xfrm>
                <a:off x="3449963" y="2918661"/>
                <a:ext cx="1028715" cy="895977"/>
              </a:xfrm>
              <a:custGeom>
                <a:avLst/>
                <a:gdLst>
                  <a:gd name="connsiteX0" fmla="*/ 0 w 1028715"/>
                  <a:gd name="connsiteY0" fmla="*/ 0 h 895977"/>
                  <a:gd name="connsiteX1" fmla="*/ 1028715 w 1028715"/>
                  <a:gd name="connsiteY1" fmla="*/ 0 h 895977"/>
                  <a:gd name="connsiteX2" fmla="*/ 1028715 w 1028715"/>
                  <a:gd name="connsiteY2" fmla="*/ 895978 h 895977"/>
                  <a:gd name="connsiteX3" fmla="*/ 0 w 1028715"/>
                  <a:gd name="connsiteY3" fmla="*/ 895978 h 895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715" h="895977">
                    <a:moveTo>
                      <a:pt x="0" y="0"/>
                    </a:moveTo>
                    <a:lnTo>
                      <a:pt x="1028715" y="0"/>
                    </a:lnTo>
                    <a:lnTo>
                      <a:pt x="1028715" y="895978"/>
                    </a:lnTo>
                    <a:lnTo>
                      <a:pt x="0" y="895978"/>
                    </a:lnTo>
                    <a:close/>
                  </a:path>
                </a:pathLst>
              </a:custGeom>
              <a:solidFill>
                <a:srgbClr val="E8D2AF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7E73F9C7-F3FE-4D46-B348-768B98EC5677}"/>
                  </a:ext>
                </a:extLst>
              </p:cNvPr>
              <p:cNvSpPr/>
              <p:nvPr/>
            </p:nvSpPr>
            <p:spPr>
              <a:xfrm>
                <a:off x="3238790" y="2918661"/>
                <a:ext cx="1028715" cy="895977"/>
              </a:xfrm>
              <a:custGeom>
                <a:avLst/>
                <a:gdLst>
                  <a:gd name="connsiteX0" fmla="*/ 0 w 1028715"/>
                  <a:gd name="connsiteY0" fmla="*/ 0 h 895977"/>
                  <a:gd name="connsiteX1" fmla="*/ 1028715 w 1028715"/>
                  <a:gd name="connsiteY1" fmla="*/ 0 h 895977"/>
                  <a:gd name="connsiteX2" fmla="*/ 1028715 w 1028715"/>
                  <a:gd name="connsiteY2" fmla="*/ 895978 h 895977"/>
                  <a:gd name="connsiteX3" fmla="*/ 0 w 1028715"/>
                  <a:gd name="connsiteY3" fmla="*/ 895978 h 895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715" h="895977">
                    <a:moveTo>
                      <a:pt x="0" y="0"/>
                    </a:moveTo>
                    <a:lnTo>
                      <a:pt x="1028715" y="0"/>
                    </a:lnTo>
                    <a:lnTo>
                      <a:pt x="1028715" y="895978"/>
                    </a:lnTo>
                    <a:lnTo>
                      <a:pt x="0" y="895978"/>
                    </a:ln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8FDFA134-5E36-4135-A7D3-E8042A4EE2E8}"/>
                  </a:ext>
                </a:extLst>
              </p:cNvPr>
              <p:cNvSpPr/>
              <p:nvPr/>
            </p:nvSpPr>
            <p:spPr>
              <a:xfrm rot="-10800000">
                <a:off x="3905585" y="3007967"/>
                <a:ext cx="271508" cy="36201"/>
              </a:xfrm>
              <a:custGeom>
                <a:avLst/>
                <a:gdLst>
                  <a:gd name="connsiteX0" fmla="*/ 0 w 271508"/>
                  <a:gd name="connsiteY0" fmla="*/ 0 h 36201"/>
                  <a:gd name="connsiteX1" fmla="*/ 271508 w 271508"/>
                  <a:gd name="connsiteY1" fmla="*/ 0 h 36201"/>
                  <a:gd name="connsiteX2" fmla="*/ 271508 w 271508"/>
                  <a:gd name="connsiteY2" fmla="*/ 36201 h 36201"/>
                  <a:gd name="connsiteX3" fmla="*/ 0 w 271508"/>
                  <a:gd name="connsiteY3" fmla="*/ 36201 h 36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1508" h="36201">
                    <a:moveTo>
                      <a:pt x="0" y="0"/>
                    </a:moveTo>
                    <a:lnTo>
                      <a:pt x="271508" y="0"/>
                    </a:lnTo>
                    <a:lnTo>
                      <a:pt x="271508" y="36201"/>
                    </a:lnTo>
                    <a:lnTo>
                      <a:pt x="0" y="36201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ED9F9886-990A-4577-A8B9-2900AA2C2AD0}"/>
                  </a:ext>
                </a:extLst>
              </p:cNvPr>
              <p:cNvSpPr/>
              <p:nvPr/>
            </p:nvSpPr>
            <p:spPr>
              <a:xfrm rot="-10800000">
                <a:off x="3905585" y="3091513"/>
                <a:ext cx="271508" cy="36201"/>
              </a:xfrm>
              <a:custGeom>
                <a:avLst/>
                <a:gdLst>
                  <a:gd name="connsiteX0" fmla="*/ 0 w 271508"/>
                  <a:gd name="connsiteY0" fmla="*/ 0 h 36201"/>
                  <a:gd name="connsiteX1" fmla="*/ 271508 w 271508"/>
                  <a:gd name="connsiteY1" fmla="*/ 0 h 36201"/>
                  <a:gd name="connsiteX2" fmla="*/ 271508 w 271508"/>
                  <a:gd name="connsiteY2" fmla="*/ 36201 h 36201"/>
                  <a:gd name="connsiteX3" fmla="*/ 0 w 271508"/>
                  <a:gd name="connsiteY3" fmla="*/ 36201 h 36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1508" h="36201">
                    <a:moveTo>
                      <a:pt x="0" y="0"/>
                    </a:moveTo>
                    <a:lnTo>
                      <a:pt x="271508" y="0"/>
                    </a:lnTo>
                    <a:lnTo>
                      <a:pt x="271508" y="36201"/>
                    </a:lnTo>
                    <a:lnTo>
                      <a:pt x="0" y="36201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D872640A-601E-4A08-8DC5-082E5A760B53}"/>
                  </a:ext>
                </a:extLst>
              </p:cNvPr>
              <p:cNvSpPr/>
              <p:nvPr/>
            </p:nvSpPr>
            <p:spPr>
              <a:xfrm>
                <a:off x="3314209" y="3009164"/>
                <a:ext cx="141787" cy="165921"/>
              </a:xfrm>
              <a:custGeom>
                <a:avLst/>
                <a:gdLst>
                  <a:gd name="connsiteX0" fmla="*/ 69386 w 141787"/>
                  <a:gd name="connsiteY0" fmla="*/ 0 h 165921"/>
                  <a:gd name="connsiteX1" fmla="*/ 141788 w 141787"/>
                  <a:gd name="connsiteY1" fmla="*/ 72402 h 165921"/>
                  <a:gd name="connsiteX2" fmla="*/ 141788 w 141787"/>
                  <a:gd name="connsiteY2" fmla="*/ 75419 h 165921"/>
                  <a:gd name="connsiteX3" fmla="*/ 117654 w 141787"/>
                  <a:gd name="connsiteY3" fmla="*/ 60335 h 165921"/>
                  <a:gd name="connsiteX4" fmla="*/ 93520 w 141787"/>
                  <a:gd name="connsiteY4" fmla="*/ 72402 h 165921"/>
                  <a:gd name="connsiteX5" fmla="*/ 78436 w 141787"/>
                  <a:gd name="connsiteY5" fmla="*/ 60335 h 165921"/>
                  <a:gd name="connsiteX6" fmla="*/ 78436 w 141787"/>
                  <a:gd name="connsiteY6" fmla="*/ 141788 h 165921"/>
                  <a:gd name="connsiteX7" fmla="*/ 87486 w 141787"/>
                  <a:gd name="connsiteY7" fmla="*/ 150838 h 165921"/>
                  <a:gd name="connsiteX8" fmla="*/ 96536 w 141787"/>
                  <a:gd name="connsiteY8" fmla="*/ 141788 h 165921"/>
                  <a:gd name="connsiteX9" fmla="*/ 96536 w 141787"/>
                  <a:gd name="connsiteY9" fmla="*/ 132737 h 165921"/>
                  <a:gd name="connsiteX10" fmla="*/ 111620 w 141787"/>
                  <a:gd name="connsiteY10" fmla="*/ 132737 h 165921"/>
                  <a:gd name="connsiteX11" fmla="*/ 111620 w 141787"/>
                  <a:gd name="connsiteY11" fmla="*/ 141788 h 165921"/>
                  <a:gd name="connsiteX12" fmla="*/ 87486 w 141787"/>
                  <a:gd name="connsiteY12" fmla="*/ 165922 h 165921"/>
                  <a:gd name="connsiteX13" fmla="*/ 63352 w 141787"/>
                  <a:gd name="connsiteY13" fmla="*/ 141788 h 165921"/>
                  <a:gd name="connsiteX14" fmla="*/ 63352 w 141787"/>
                  <a:gd name="connsiteY14" fmla="*/ 60335 h 165921"/>
                  <a:gd name="connsiteX15" fmla="*/ 48268 w 141787"/>
                  <a:gd name="connsiteY15" fmla="*/ 72402 h 165921"/>
                  <a:gd name="connsiteX16" fmla="*/ 24134 w 141787"/>
                  <a:gd name="connsiteY16" fmla="*/ 60335 h 165921"/>
                  <a:gd name="connsiteX17" fmla="*/ 0 w 141787"/>
                  <a:gd name="connsiteY17" fmla="*/ 75419 h 165921"/>
                  <a:gd name="connsiteX18" fmla="*/ 0 w 141787"/>
                  <a:gd name="connsiteY18" fmla="*/ 72402 h 165921"/>
                  <a:gd name="connsiteX19" fmla="*/ 69386 w 141787"/>
                  <a:gd name="connsiteY19" fmla="*/ 0 h 165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41787" h="165921">
                    <a:moveTo>
                      <a:pt x="69386" y="0"/>
                    </a:moveTo>
                    <a:cubicBezTo>
                      <a:pt x="108603" y="0"/>
                      <a:pt x="141788" y="33184"/>
                      <a:pt x="141788" y="72402"/>
                    </a:cubicBezTo>
                    <a:cubicBezTo>
                      <a:pt x="141788" y="72402"/>
                      <a:pt x="141788" y="75419"/>
                      <a:pt x="141788" y="75419"/>
                    </a:cubicBezTo>
                    <a:cubicBezTo>
                      <a:pt x="138771" y="66369"/>
                      <a:pt x="126704" y="60335"/>
                      <a:pt x="117654" y="60335"/>
                    </a:cubicBezTo>
                    <a:cubicBezTo>
                      <a:pt x="108603" y="60335"/>
                      <a:pt x="99553" y="66369"/>
                      <a:pt x="93520" y="72402"/>
                    </a:cubicBezTo>
                    <a:cubicBezTo>
                      <a:pt x="90503" y="66369"/>
                      <a:pt x="84469" y="63352"/>
                      <a:pt x="78436" y="60335"/>
                    </a:cubicBezTo>
                    <a:lnTo>
                      <a:pt x="78436" y="141788"/>
                    </a:lnTo>
                    <a:cubicBezTo>
                      <a:pt x="78436" y="147821"/>
                      <a:pt x="81453" y="150838"/>
                      <a:pt x="87486" y="150838"/>
                    </a:cubicBezTo>
                    <a:cubicBezTo>
                      <a:pt x="93520" y="150838"/>
                      <a:pt x="96536" y="147821"/>
                      <a:pt x="96536" y="141788"/>
                    </a:cubicBezTo>
                    <a:lnTo>
                      <a:pt x="96536" y="132737"/>
                    </a:lnTo>
                    <a:lnTo>
                      <a:pt x="111620" y="132737"/>
                    </a:lnTo>
                    <a:lnTo>
                      <a:pt x="111620" y="141788"/>
                    </a:lnTo>
                    <a:cubicBezTo>
                      <a:pt x="111620" y="153855"/>
                      <a:pt x="99553" y="165922"/>
                      <a:pt x="87486" y="165922"/>
                    </a:cubicBezTo>
                    <a:cubicBezTo>
                      <a:pt x="75419" y="165922"/>
                      <a:pt x="63352" y="153855"/>
                      <a:pt x="63352" y="141788"/>
                    </a:cubicBezTo>
                    <a:lnTo>
                      <a:pt x="63352" y="60335"/>
                    </a:lnTo>
                    <a:cubicBezTo>
                      <a:pt x="57318" y="63352"/>
                      <a:pt x="51285" y="66369"/>
                      <a:pt x="48268" y="72402"/>
                    </a:cubicBezTo>
                    <a:cubicBezTo>
                      <a:pt x="42235" y="66369"/>
                      <a:pt x="36201" y="60335"/>
                      <a:pt x="24134" y="60335"/>
                    </a:cubicBezTo>
                    <a:cubicBezTo>
                      <a:pt x="12067" y="60335"/>
                      <a:pt x="3017" y="66369"/>
                      <a:pt x="0" y="75419"/>
                    </a:cubicBezTo>
                    <a:cubicBezTo>
                      <a:pt x="0" y="75419"/>
                      <a:pt x="0" y="72402"/>
                      <a:pt x="0" y="72402"/>
                    </a:cubicBezTo>
                    <a:cubicBezTo>
                      <a:pt x="0" y="33184"/>
                      <a:pt x="30168" y="0"/>
                      <a:pt x="69386" y="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0" name="图形 1">
              <a:extLst>
                <a:ext uri="{FF2B5EF4-FFF2-40B4-BE49-F238E27FC236}">
                  <a16:creationId xmlns:a16="http://schemas.microsoft.com/office/drawing/2014/main" id="{175D3B98-23F8-400C-A95D-CAE045470E76}"/>
                </a:ext>
              </a:extLst>
            </p:cNvPr>
            <p:cNvGrpSpPr/>
            <p:nvPr/>
          </p:nvGrpSpPr>
          <p:grpSpPr>
            <a:xfrm>
              <a:off x="2863134" y="1723666"/>
              <a:ext cx="600485" cy="374436"/>
              <a:chOff x="2863134" y="1723666"/>
              <a:chExt cx="600485" cy="374436"/>
            </a:xfrm>
          </p:grpSpPr>
          <p:grpSp>
            <p:nvGrpSpPr>
              <p:cNvPr id="44" name="图形 1">
                <a:extLst>
                  <a:ext uri="{FF2B5EF4-FFF2-40B4-BE49-F238E27FC236}">
                    <a16:creationId xmlns:a16="http://schemas.microsoft.com/office/drawing/2014/main" id="{D9DE3F39-D4BE-4F54-A2EF-644A65DF076D}"/>
                  </a:ext>
                </a:extLst>
              </p:cNvPr>
              <p:cNvGrpSpPr/>
              <p:nvPr/>
            </p:nvGrpSpPr>
            <p:grpSpPr>
              <a:xfrm>
                <a:off x="2863134" y="1723666"/>
                <a:ext cx="599541" cy="374436"/>
                <a:chOff x="2863134" y="1723666"/>
                <a:chExt cx="599541" cy="374436"/>
              </a:xfrm>
            </p:grpSpPr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BF636738-0E20-4881-A885-1AFC0BF9E1F7}"/>
                    </a:ext>
                  </a:extLst>
                </p:cNvPr>
                <p:cNvSpPr/>
                <p:nvPr/>
              </p:nvSpPr>
              <p:spPr>
                <a:xfrm>
                  <a:off x="2863134" y="1723666"/>
                  <a:ext cx="487276" cy="374436"/>
                </a:xfrm>
                <a:custGeom>
                  <a:avLst/>
                  <a:gdLst>
                    <a:gd name="connsiteX0" fmla="*/ 98115 w 487276"/>
                    <a:gd name="connsiteY0" fmla="*/ 214549 h 374436"/>
                    <a:gd name="connsiteX1" fmla="*/ 61913 w 487276"/>
                    <a:gd name="connsiteY1" fmla="*/ 374437 h 374436"/>
                    <a:gd name="connsiteX2" fmla="*/ 34763 w 487276"/>
                    <a:gd name="connsiteY2" fmla="*/ 359353 h 374436"/>
                    <a:gd name="connsiteX3" fmla="*/ 125265 w 487276"/>
                    <a:gd name="connsiteY3" fmla="*/ 36560 h 374436"/>
                    <a:gd name="connsiteX4" fmla="*/ 487277 w 487276"/>
                    <a:gd name="connsiteY4" fmla="*/ 133096 h 374436"/>
                    <a:gd name="connsiteX5" fmla="*/ 98115 w 487276"/>
                    <a:gd name="connsiteY5" fmla="*/ 214549 h 3744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7276" h="374436">
                      <a:moveTo>
                        <a:pt x="98115" y="214549"/>
                      </a:moveTo>
                      <a:cubicBezTo>
                        <a:pt x="83031" y="229632"/>
                        <a:pt x="64930" y="308068"/>
                        <a:pt x="61913" y="374437"/>
                      </a:cubicBezTo>
                      <a:cubicBezTo>
                        <a:pt x="61913" y="374437"/>
                        <a:pt x="49846" y="365387"/>
                        <a:pt x="34763" y="359353"/>
                      </a:cubicBezTo>
                      <a:cubicBezTo>
                        <a:pt x="-1438" y="296001"/>
                        <a:pt x="-49707" y="139130"/>
                        <a:pt x="125265" y="36560"/>
                      </a:cubicBezTo>
                      <a:cubicBezTo>
                        <a:pt x="276103" y="-50926"/>
                        <a:pt x="423925" y="33543"/>
                        <a:pt x="487277" y="133096"/>
                      </a:cubicBezTo>
                      <a:cubicBezTo>
                        <a:pt x="487277" y="136113"/>
                        <a:pt x="245936" y="66727"/>
                        <a:pt x="98115" y="21454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F011332C-F934-4259-8057-94BF6983EF4C}"/>
                    </a:ext>
                  </a:extLst>
                </p:cNvPr>
                <p:cNvSpPr/>
                <p:nvPr/>
              </p:nvSpPr>
              <p:spPr>
                <a:xfrm>
                  <a:off x="2946165" y="1761859"/>
                  <a:ext cx="516511" cy="224623"/>
                </a:xfrm>
                <a:custGeom>
                  <a:avLst/>
                  <a:gdLst>
                    <a:gd name="connsiteX0" fmla="*/ 0 w 516511"/>
                    <a:gd name="connsiteY0" fmla="*/ 191439 h 224623"/>
                    <a:gd name="connsiteX1" fmla="*/ 199106 w 516511"/>
                    <a:gd name="connsiteY1" fmla="*/ 43618 h 224623"/>
                    <a:gd name="connsiteX2" fmla="*/ 512849 w 516511"/>
                    <a:gd name="connsiteY2" fmla="*/ 64735 h 224623"/>
                    <a:gd name="connsiteX3" fmla="*/ 407263 w 516511"/>
                    <a:gd name="connsiteY3" fmla="*/ 224624 h 224623"/>
                    <a:gd name="connsiteX4" fmla="*/ 0 w 516511"/>
                    <a:gd name="connsiteY4" fmla="*/ 191439 h 224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6511" h="224623">
                      <a:moveTo>
                        <a:pt x="0" y="191439"/>
                      </a:moveTo>
                      <a:cubicBezTo>
                        <a:pt x="0" y="191439"/>
                        <a:pt x="57318" y="109987"/>
                        <a:pt x="199106" y="43618"/>
                      </a:cubicBezTo>
                      <a:cubicBezTo>
                        <a:pt x="346927" y="-25768"/>
                        <a:pt x="485698" y="-7667"/>
                        <a:pt x="512849" y="64735"/>
                      </a:cubicBezTo>
                      <a:cubicBezTo>
                        <a:pt x="540000" y="137138"/>
                        <a:pt x="407263" y="224624"/>
                        <a:pt x="407263" y="224624"/>
                      </a:cubicBezTo>
                      <a:cubicBezTo>
                        <a:pt x="407263" y="224624"/>
                        <a:pt x="262458" y="82836"/>
                        <a:pt x="0" y="19143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BE2F811B-DD81-4C94-B425-053D2E4B53F2}"/>
                    </a:ext>
                  </a:extLst>
                </p:cNvPr>
                <p:cNvSpPr/>
                <p:nvPr/>
              </p:nvSpPr>
              <p:spPr>
                <a:xfrm>
                  <a:off x="2958232" y="1724025"/>
                  <a:ext cx="57318" cy="54301"/>
                </a:xfrm>
                <a:custGeom>
                  <a:avLst/>
                  <a:gdLst>
                    <a:gd name="connsiteX0" fmla="*/ 0 w 57318"/>
                    <a:gd name="connsiteY0" fmla="*/ 27151 h 54301"/>
                    <a:gd name="connsiteX1" fmla="*/ 30168 w 57318"/>
                    <a:gd name="connsiteY1" fmla="*/ 0 h 54301"/>
                    <a:gd name="connsiteX2" fmla="*/ 57318 w 57318"/>
                    <a:gd name="connsiteY2" fmla="*/ 27151 h 54301"/>
                    <a:gd name="connsiteX3" fmla="*/ 27151 w 57318"/>
                    <a:gd name="connsiteY3" fmla="*/ 54302 h 54301"/>
                    <a:gd name="connsiteX4" fmla="*/ 0 w 57318"/>
                    <a:gd name="connsiteY4" fmla="*/ 27151 h 54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318" h="54301">
                      <a:moveTo>
                        <a:pt x="0" y="27151"/>
                      </a:moveTo>
                      <a:cubicBezTo>
                        <a:pt x="0" y="12067"/>
                        <a:pt x="12067" y="0"/>
                        <a:pt x="30168" y="0"/>
                      </a:cubicBezTo>
                      <a:cubicBezTo>
                        <a:pt x="45251" y="0"/>
                        <a:pt x="57318" y="12067"/>
                        <a:pt x="57318" y="27151"/>
                      </a:cubicBezTo>
                      <a:cubicBezTo>
                        <a:pt x="57318" y="42235"/>
                        <a:pt x="45251" y="54302"/>
                        <a:pt x="27151" y="54302"/>
                      </a:cubicBezTo>
                      <a:cubicBezTo>
                        <a:pt x="12067" y="54302"/>
                        <a:pt x="0" y="42235"/>
                        <a:pt x="0" y="27151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B7182BEB-4651-4C68-82D9-AAA351FA4A59}"/>
                  </a:ext>
                </a:extLst>
              </p:cNvPr>
              <p:cNvSpPr/>
              <p:nvPr/>
            </p:nvSpPr>
            <p:spPr>
              <a:xfrm>
                <a:off x="2940131" y="1757421"/>
                <a:ext cx="523487" cy="201911"/>
              </a:xfrm>
              <a:custGeom>
                <a:avLst/>
                <a:gdLst>
                  <a:gd name="connsiteX0" fmla="*/ 6034 w 523487"/>
                  <a:gd name="connsiteY0" fmla="*/ 201911 h 201911"/>
                  <a:gd name="connsiteX1" fmla="*/ 3017 w 523487"/>
                  <a:gd name="connsiteY1" fmla="*/ 201911 h 201911"/>
                  <a:gd name="connsiteX2" fmla="*/ 0 w 523487"/>
                  <a:gd name="connsiteY2" fmla="*/ 192861 h 201911"/>
                  <a:gd name="connsiteX3" fmla="*/ 331844 w 523487"/>
                  <a:gd name="connsiteY3" fmla="*/ 5822 h 201911"/>
                  <a:gd name="connsiteX4" fmla="*/ 518883 w 523487"/>
                  <a:gd name="connsiteY4" fmla="*/ 66157 h 201911"/>
                  <a:gd name="connsiteX5" fmla="*/ 461564 w 523487"/>
                  <a:gd name="connsiteY5" fmla="*/ 192861 h 201911"/>
                  <a:gd name="connsiteX6" fmla="*/ 452514 w 523487"/>
                  <a:gd name="connsiteY6" fmla="*/ 192861 h 201911"/>
                  <a:gd name="connsiteX7" fmla="*/ 452514 w 523487"/>
                  <a:gd name="connsiteY7" fmla="*/ 183811 h 201911"/>
                  <a:gd name="connsiteX8" fmla="*/ 506816 w 523487"/>
                  <a:gd name="connsiteY8" fmla="*/ 72190 h 201911"/>
                  <a:gd name="connsiteX9" fmla="*/ 331844 w 523487"/>
                  <a:gd name="connsiteY9" fmla="*/ 17889 h 201911"/>
                  <a:gd name="connsiteX10" fmla="*/ 6034 w 523487"/>
                  <a:gd name="connsiteY10" fmla="*/ 198894 h 201911"/>
                  <a:gd name="connsiteX11" fmla="*/ 6034 w 523487"/>
                  <a:gd name="connsiteY11" fmla="*/ 201911 h 20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3487" h="201911">
                    <a:moveTo>
                      <a:pt x="6034" y="201911"/>
                    </a:moveTo>
                    <a:cubicBezTo>
                      <a:pt x="6034" y="201911"/>
                      <a:pt x="3017" y="201911"/>
                      <a:pt x="3017" y="201911"/>
                    </a:cubicBezTo>
                    <a:cubicBezTo>
                      <a:pt x="0" y="198894"/>
                      <a:pt x="0" y="192861"/>
                      <a:pt x="0" y="192861"/>
                    </a:cubicBezTo>
                    <a:cubicBezTo>
                      <a:pt x="108603" y="57107"/>
                      <a:pt x="241341" y="20906"/>
                      <a:pt x="331844" y="5822"/>
                    </a:cubicBezTo>
                    <a:cubicBezTo>
                      <a:pt x="377095" y="-3229"/>
                      <a:pt x="488715" y="-12279"/>
                      <a:pt x="518883" y="66157"/>
                    </a:cubicBezTo>
                    <a:cubicBezTo>
                      <a:pt x="543017" y="129509"/>
                      <a:pt x="464581" y="189844"/>
                      <a:pt x="461564" y="192861"/>
                    </a:cubicBezTo>
                    <a:cubicBezTo>
                      <a:pt x="458548" y="195878"/>
                      <a:pt x="455531" y="192861"/>
                      <a:pt x="452514" y="192861"/>
                    </a:cubicBezTo>
                    <a:cubicBezTo>
                      <a:pt x="449497" y="189844"/>
                      <a:pt x="452514" y="186827"/>
                      <a:pt x="452514" y="183811"/>
                    </a:cubicBezTo>
                    <a:cubicBezTo>
                      <a:pt x="452514" y="183811"/>
                      <a:pt x="527933" y="126492"/>
                      <a:pt x="506816" y="72190"/>
                    </a:cubicBezTo>
                    <a:cubicBezTo>
                      <a:pt x="479665" y="2805"/>
                      <a:pt x="377095" y="11855"/>
                      <a:pt x="331844" y="17889"/>
                    </a:cubicBezTo>
                    <a:cubicBezTo>
                      <a:pt x="241341" y="32973"/>
                      <a:pt x="111620" y="66157"/>
                      <a:pt x="6034" y="198894"/>
                    </a:cubicBezTo>
                    <a:cubicBezTo>
                      <a:pt x="9050" y="198894"/>
                      <a:pt x="9050" y="201911"/>
                      <a:pt x="6034" y="20191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8C7D2294-C8D9-4F11-B91C-94B4D399C310}"/>
                </a:ext>
              </a:extLst>
            </p:cNvPr>
            <p:cNvGrpSpPr/>
            <p:nvPr/>
          </p:nvGrpSpPr>
          <p:grpSpPr>
            <a:xfrm>
              <a:off x="4371167" y="3370133"/>
              <a:ext cx="179914" cy="161684"/>
              <a:chOff x="4371167" y="3370133"/>
              <a:chExt cx="179914" cy="161684"/>
            </a:xfrm>
          </p:grpSpPr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2688DA65-6B50-40D5-BEA5-4F691B13D484}"/>
                  </a:ext>
                </a:extLst>
              </p:cNvPr>
              <p:cNvSpPr/>
              <p:nvPr/>
            </p:nvSpPr>
            <p:spPr>
              <a:xfrm>
                <a:off x="4371167" y="3371175"/>
                <a:ext cx="154653" cy="67877"/>
              </a:xfrm>
              <a:custGeom>
                <a:avLst/>
                <a:gdLst>
                  <a:gd name="connsiteX0" fmla="*/ 7959 w 154653"/>
                  <a:gd name="connsiteY0" fmla="*/ 24134 h 67877"/>
                  <a:gd name="connsiteX1" fmla="*/ 104495 w 154653"/>
                  <a:gd name="connsiteY1" fmla="*/ 3017 h 67877"/>
                  <a:gd name="connsiteX2" fmla="*/ 119579 w 154653"/>
                  <a:gd name="connsiteY2" fmla="*/ 0 h 67877"/>
                  <a:gd name="connsiteX3" fmla="*/ 134663 w 154653"/>
                  <a:gd name="connsiteY3" fmla="*/ 3017 h 67877"/>
                  <a:gd name="connsiteX4" fmla="*/ 152763 w 154653"/>
                  <a:gd name="connsiteY4" fmla="*/ 36201 h 67877"/>
                  <a:gd name="connsiteX5" fmla="*/ 110529 w 154653"/>
                  <a:gd name="connsiteY5" fmla="*/ 57318 h 67877"/>
                  <a:gd name="connsiteX6" fmla="*/ 50194 w 154653"/>
                  <a:gd name="connsiteY6" fmla="*/ 66369 h 67877"/>
                  <a:gd name="connsiteX7" fmla="*/ 7959 w 154653"/>
                  <a:gd name="connsiteY7" fmla="*/ 60335 h 67877"/>
                  <a:gd name="connsiteX8" fmla="*/ 7959 w 154653"/>
                  <a:gd name="connsiteY8" fmla="*/ 24134 h 67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653" h="67877">
                    <a:moveTo>
                      <a:pt x="7959" y="24134"/>
                    </a:moveTo>
                    <a:cubicBezTo>
                      <a:pt x="32093" y="6034"/>
                      <a:pt x="68294" y="9050"/>
                      <a:pt x="104495" y="3017"/>
                    </a:cubicBezTo>
                    <a:cubicBezTo>
                      <a:pt x="107512" y="3017"/>
                      <a:pt x="116562" y="0"/>
                      <a:pt x="119579" y="0"/>
                    </a:cubicBezTo>
                    <a:cubicBezTo>
                      <a:pt x="125613" y="0"/>
                      <a:pt x="128629" y="0"/>
                      <a:pt x="134663" y="3017"/>
                    </a:cubicBezTo>
                    <a:cubicBezTo>
                      <a:pt x="149747" y="9050"/>
                      <a:pt x="158797" y="24134"/>
                      <a:pt x="152763" y="36201"/>
                    </a:cubicBezTo>
                    <a:cubicBezTo>
                      <a:pt x="146730" y="51285"/>
                      <a:pt x="125613" y="54302"/>
                      <a:pt x="110529" y="57318"/>
                    </a:cubicBezTo>
                    <a:cubicBezTo>
                      <a:pt x="89412" y="60335"/>
                      <a:pt x="68294" y="63352"/>
                      <a:pt x="50194" y="66369"/>
                    </a:cubicBezTo>
                    <a:cubicBezTo>
                      <a:pt x="38126" y="66369"/>
                      <a:pt x="17009" y="72402"/>
                      <a:pt x="7959" y="60335"/>
                    </a:cubicBezTo>
                    <a:cubicBezTo>
                      <a:pt x="-4108" y="45251"/>
                      <a:pt x="-1091" y="30168"/>
                      <a:pt x="7959" y="2413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876F7297-B51E-471D-BE85-D5E5A2860B4D}"/>
                  </a:ext>
                </a:extLst>
              </p:cNvPr>
              <p:cNvSpPr/>
              <p:nvPr/>
            </p:nvSpPr>
            <p:spPr>
              <a:xfrm>
                <a:off x="4392284" y="3407376"/>
                <a:ext cx="154653" cy="67877"/>
              </a:xfrm>
              <a:custGeom>
                <a:avLst/>
                <a:gdLst>
                  <a:gd name="connsiteX0" fmla="*/ 7959 w 154653"/>
                  <a:gd name="connsiteY0" fmla="*/ 24134 h 67877"/>
                  <a:gd name="connsiteX1" fmla="*/ 110529 w 154653"/>
                  <a:gd name="connsiteY1" fmla="*/ 0 h 67877"/>
                  <a:gd name="connsiteX2" fmla="*/ 119579 w 154653"/>
                  <a:gd name="connsiteY2" fmla="*/ 0 h 67877"/>
                  <a:gd name="connsiteX3" fmla="*/ 134663 w 154653"/>
                  <a:gd name="connsiteY3" fmla="*/ 3017 h 67877"/>
                  <a:gd name="connsiteX4" fmla="*/ 152763 w 154653"/>
                  <a:gd name="connsiteY4" fmla="*/ 36201 h 67877"/>
                  <a:gd name="connsiteX5" fmla="*/ 110529 w 154653"/>
                  <a:gd name="connsiteY5" fmla="*/ 57318 h 67877"/>
                  <a:gd name="connsiteX6" fmla="*/ 50194 w 154653"/>
                  <a:gd name="connsiteY6" fmla="*/ 66369 h 67877"/>
                  <a:gd name="connsiteX7" fmla="*/ 7959 w 154653"/>
                  <a:gd name="connsiteY7" fmla="*/ 60335 h 67877"/>
                  <a:gd name="connsiteX8" fmla="*/ 7959 w 154653"/>
                  <a:gd name="connsiteY8" fmla="*/ 24134 h 67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653" h="67877">
                    <a:moveTo>
                      <a:pt x="7959" y="24134"/>
                    </a:moveTo>
                    <a:cubicBezTo>
                      <a:pt x="35110" y="-3017"/>
                      <a:pt x="74328" y="3017"/>
                      <a:pt x="110529" y="0"/>
                    </a:cubicBezTo>
                    <a:cubicBezTo>
                      <a:pt x="113546" y="0"/>
                      <a:pt x="116562" y="0"/>
                      <a:pt x="119579" y="0"/>
                    </a:cubicBezTo>
                    <a:cubicBezTo>
                      <a:pt x="125613" y="0"/>
                      <a:pt x="128629" y="0"/>
                      <a:pt x="134663" y="3017"/>
                    </a:cubicBezTo>
                    <a:cubicBezTo>
                      <a:pt x="149747" y="9050"/>
                      <a:pt x="158797" y="24134"/>
                      <a:pt x="152763" y="36201"/>
                    </a:cubicBezTo>
                    <a:cubicBezTo>
                      <a:pt x="146730" y="51285"/>
                      <a:pt x="125613" y="54302"/>
                      <a:pt x="110529" y="57318"/>
                    </a:cubicBezTo>
                    <a:cubicBezTo>
                      <a:pt x="89411" y="60335"/>
                      <a:pt x="68294" y="63352"/>
                      <a:pt x="50194" y="66369"/>
                    </a:cubicBezTo>
                    <a:cubicBezTo>
                      <a:pt x="38127" y="66369"/>
                      <a:pt x="17009" y="72402"/>
                      <a:pt x="7959" y="60335"/>
                    </a:cubicBezTo>
                    <a:cubicBezTo>
                      <a:pt x="-4108" y="48268"/>
                      <a:pt x="-1091" y="33184"/>
                      <a:pt x="7959" y="2413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09DE1495-EF38-4B3D-BCC6-E8B6BA24FB1A}"/>
                  </a:ext>
                </a:extLst>
              </p:cNvPr>
              <p:cNvSpPr/>
              <p:nvPr/>
            </p:nvSpPr>
            <p:spPr>
              <a:xfrm>
                <a:off x="4404678" y="3449611"/>
                <a:ext cx="133239" cy="58826"/>
              </a:xfrm>
              <a:custGeom>
                <a:avLst/>
                <a:gdLst>
                  <a:gd name="connsiteX0" fmla="*/ 7632 w 133239"/>
                  <a:gd name="connsiteY0" fmla="*/ 24134 h 58826"/>
                  <a:gd name="connsiteX1" fmla="*/ 98135 w 133239"/>
                  <a:gd name="connsiteY1" fmla="*/ 0 h 58826"/>
                  <a:gd name="connsiteX2" fmla="*/ 104168 w 133239"/>
                  <a:gd name="connsiteY2" fmla="*/ 0 h 58826"/>
                  <a:gd name="connsiteX3" fmla="*/ 116235 w 133239"/>
                  <a:gd name="connsiteY3" fmla="*/ 0 h 58826"/>
                  <a:gd name="connsiteX4" fmla="*/ 131319 w 133239"/>
                  <a:gd name="connsiteY4" fmla="*/ 30168 h 58826"/>
                  <a:gd name="connsiteX5" fmla="*/ 95118 w 133239"/>
                  <a:gd name="connsiteY5" fmla="*/ 48268 h 58826"/>
                  <a:gd name="connsiteX6" fmla="*/ 40816 w 133239"/>
                  <a:gd name="connsiteY6" fmla="*/ 57318 h 58826"/>
                  <a:gd name="connsiteX7" fmla="*/ 4615 w 133239"/>
                  <a:gd name="connsiteY7" fmla="*/ 51285 h 58826"/>
                  <a:gd name="connsiteX8" fmla="*/ 7632 w 133239"/>
                  <a:gd name="connsiteY8" fmla="*/ 24134 h 5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3239" h="58826">
                    <a:moveTo>
                      <a:pt x="7632" y="24134"/>
                    </a:moveTo>
                    <a:cubicBezTo>
                      <a:pt x="31766" y="0"/>
                      <a:pt x="67967" y="6034"/>
                      <a:pt x="98135" y="0"/>
                    </a:cubicBezTo>
                    <a:cubicBezTo>
                      <a:pt x="101151" y="0"/>
                      <a:pt x="104168" y="0"/>
                      <a:pt x="104168" y="0"/>
                    </a:cubicBezTo>
                    <a:cubicBezTo>
                      <a:pt x="110202" y="0"/>
                      <a:pt x="113219" y="0"/>
                      <a:pt x="116235" y="0"/>
                    </a:cubicBezTo>
                    <a:cubicBezTo>
                      <a:pt x="128302" y="3017"/>
                      <a:pt x="137353" y="18101"/>
                      <a:pt x="131319" y="30168"/>
                    </a:cubicBezTo>
                    <a:cubicBezTo>
                      <a:pt x="125285" y="45251"/>
                      <a:pt x="107185" y="45251"/>
                      <a:pt x="95118" y="48268"/>
                    </a:cubicBezTo>
                    <a:cubicBezTo>
                      <a:pt x="77017" y="51285"/>
                      <a:pt x="58917" y="54302"/>
                      <a:pt x="40816" y="57318"/>
                    </a:cubicBezTo>
                    <a:cubicBezTo>
                      <a:pt x="28749" y="57318"/>
                      <a:pt x="13665" y="63352"/>
                      <a:pt x="4615" y="51285"/>
                    </a:cubicBezTo>
                    <a:cubicBezTo>
                      <a:pt x="-4435" y="42235"/>
                      <a:pt x="1598" y="30168"/>
                      <a:pt x="7632" y="2413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17C665B1-8E36-47EE-8B5B-88FA44EFE147}"/>
                  </a:ext>
                </a:extLst>
              </p:cNvPr>
              <p:cNvSpPr/>
              <p:nvPr/>
            </p:nvSpPr>
            <p:spPr>
              <a:xfrm>
                <a:off x="4424698" y="3488829"/>
                <a:ext cx="100016" cy="42988"/>
              </a:xfrm>
              <a:custGeom>
                <a:avLst/>
                <a:gdLst>
                  <a:gd name="connsiteX0" fmla="*/ 5712 w 100016"/>
                  <a:gd name="connsiteY0" fmla="*/ 18101 h 42988"/>
                  <a:gd name="connsiteX1" fmla="*/ 72081 w 100016"/>
                  <a:gd name="connsiteY1" fmla="*/ 0 h 42988"/>
                  <a:gd name="connsiteX2" fmla="*/ 78114 w 100016"/>
                  <a:gd name="connsiteY2" fmla="*/ 0 h 42988"/>
                  <a:gd name="connsiteX3" fmla="*/ 87164 w 100016"/>
                  <a:gd name="connsiteY3" fmla="*/ 0 h 42988"/>
                  <a:gd name="connsiteX4" fmla="*/ 99232 w 100016"/>
                  <a:gd name="connsiteY4" fmla="*/ 21117 h 42988"/>
                  <a:gd name="connsiteX5" fmla="*/ 72081 w 100016"/>
                  <a:gd name="connsiteY5" fmla="*/ 36201 h 42988"/>
                  <a:gd name="connsiteX6" fmla="*/ 32863 w 100016"/>
                  <a:gd name="connsiteY6" fmla="*/ 42235 h 42988"/>
                  <a:gd name="connsiteX7" fmla="*/ 5712 w 100016"/>
                  <a:gd name="connsiteY7" fmla="*/ 39218 h 42988"/>
                  <a:gd name="connsiteX8" fmla="*/ 5712 w 100016"/>
                  <a:gd name="connsiteY8" fmla="*/ 18101 h 42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6" h="42988">
                    <a:moveTo>
                      <a:pt x="5712" y="18101"/>
                    </a:moveTo>
                    <a:cubicBezTo>
                      <a:pt x="23813" y="0"/>
                      <a:pt x="47947" y="3017"/>
                      <a:pt x="72081" y="0"/>
                    </a:cubicBezTo>
                    <a:cubicBezTo>
                      <a:pt x="75097" y="0"/>
                      <a:pt x="75097" y="0"/>
                      <a:pt x="78114" y="0"/>
                    </a:cubicBezTo>
                    <a:cubicBezTo>
                      <a:pt x="81131" y="0"/>
                      <a:pt x="84148" y="0"/>
                      <a:pt x="87164" y="0"/>
                    </a:cubicBezTo>
                    <a:cubicBezTo>
                      <a:pt x="96215" y="3017"/>
                      <a:pt x="102248" y="12067"/>
                      <a:pt x="99232" y="21117"/>
                    </a:cubicBezTo>
                    <a:cubicBezTo>
                      <a:pt x="96215" y="30168"/>
                      <a:pt x="81131" y="33184"/>
                      <a:pt x="72081" y="36201"/>
                    </a:cubicBezTo>
                    <a:cubicBezTo>
                      <a:pt x="60014" y="39218"/>
                      <a:pt x="44930" y="42235"/>
                      <a:pt x="32863" y="42235"/>
                    </a:cubicBezTo>
                    <a:cubicBezTo>
                      <a:pt x="23813" y="42235"/>
                      <a:pt x="11745" y="45251"/>
                      <a:pt x="5712" y="39218"/>
                    </a:cubicBezTo>
                    <a:cubicBezTo>
                      <a:pt x="-3338" y="33184"/>
                      <a:pt x="-322" y="24134"/>
                      <a:pt x="5712" y="1810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51182B66-3EDB-499B-B321-94F63934DBCE}"/>
                  </a:ext>
                </a:extLst>
              </p:cNvPr>
              <p:cNvSpPr/>
              <p:nvPr/>
            </p:nvSpPr>
            <p:spPr>
              <a:xfrm>
                <a:off x="4386926" y="3370133"/>
                <a:ext cx="164154" cy="106628"/>
              </a:xfrm>
              <a:custGeom>
                <a:avLst/>
                <a:gdLst>
                  <a:gd name="connsiteX0" fmla="*/ 49518 w 164154"/>
                  <a:gd name="connsiteY0" fmla="*/ 106629 h 106628"/>
                  <a:gd name="connsiteX1" fmla="*/ 1250 w 164154"/>
                  <a:gd name="connsiteY1" fmla="*/ 85512 h 106628"/>
                  <a:gd name="connsiteX2" fmla="*/ 4266 w 164154"/>
                  <a:gd name="connsiteY2" fmla="*/ 64394 h 106628"/>
                  <a:gd name="connsiteX3" fmla="*/ 16333 w 164154"/>
                  <a:gd name="connsiteY3" fmla="*/ 58361 h 106628"/>
                  <a:gd name="connsiteX4" fmla="*/ 133987 w 164154"/>
                  <a:gd name="connsiteY4" fmla="*/ 22160 h 106628"/>
                  <a:gd name="connsiteX5" fmla="*/ 130970 w 164154"/>
                  <a:gd name="connsiteY5" fmla="*/ 16126 h 106628"/>
                  <a:gd name="connsiteX6" fmla="*/ 31417 w 164154"/>
                  <a:gd name="connsiteY6" fmla="*/ 19143 h 106628"/>
                  <a:gd name="connsiteX7" fmla="*/ 25384 w 164154"/>
                  <a:gd name="connsiteY7" fmla="*/ 16126 h 106628"/>
                  <a:gd name="connsiteX8" fmla="*/ 28400 w 164154"/>
                  <a:gd name="connsiteY8" fmla="*/ 10093 h 106628"/>
                  <a:gd name="connsiteX9" fmla="*/ 137004 w 164154"/>
                  <a:gd name="connsiteY9" fmla="*/ 10093 h 106628"/>
                  <a:gd name="connsiteX10" fmla="*/ 143037 w 164154"/>
                  <a:gd name="connsiteY10" fmla="*/ 25176 h 106628"/>
                  <a:gd name="connsiteX11" fmla="*/ 140020 w 164154"/>
                  <a:gd name="connsiteY11" fmla="*/ 37243 h 106628"/>
                  <a:gd name="connsiteX12" fmla="*/ 164155 w 164154"/>
                  <a:gd name="connsiteY12" fmla="*/ 70428 h 106628"/>
                  <a:gd name="connsiteX13" fmla="*/ 100803 w 164154"/>
                  <a:gd name="connsiteY13" fmla="*/ 103612 h 106628"/>
                  <a:gd name="connsiteX14" fmla="*/ 49518 w 164154"/>
                  <a:gd name="connsiteY14" fmla="*/ 106629 h 106628"/>
                  <a:gd name="connsiteX15" fmla="*/ 13317 w 164154"/>
                  <a:gd name="connsiteY15" fmla="*/ 67411 h 106628"/>
                  <a:gd name="connsiteX16" fmla="*/ 10300 w 164154"/>
                  <a:gd name="connsiteY16" fmla="*/ 70428 h 106628"/>
                  <a:gd name="connsiteX17" fmla="*/ 10300 w 164154"/>
                  <a:gd name="connsiteY17" fmla="*/ 79478 h 106628"/>
                  <a:gd name="connsiteX18" fmla="*/ 100803 w 164154"/>
                  <a:gd name="connsiteY18" fmla="*/ 88528 h 106628"/>
                  <a:gd name="connsiteX19" fmla="*/ 155104 w 164154"/>
                  <a:gd name="connsiteY19" fmla="*/ 64394 h 106628"/>
                  <a:gd name="connsiteX20" fmla="*/ 137004 w 164154"/>
                  <a:gd name="connsiteY20" fmla="*/ 40260 h 106628"/>
                  <a:gd name="connsiteX21" fmla="*/ 13317 w 164154"/>
                  <a:gd name="connsiteY21" fmla="*/ 67411 h 106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64154" h="106628">
                    <a:moveTo>
                      <a:pt x="49518" y="106629"/>
                    </a:moveTo>
                    <a:cubicBezTo>
                      <a:pt x="19350" y="106629"/>
                      <a:pt x="4266" y="100595"/>
                      <a:pt x="1250" y="85512"/>
                    </a:cubicBezTo>
                    <a:cubicBezTo>
                      <a:pt x="-1767" y="76461"/>
                      <a:pt x="1250" y="70428"/>
                      <a:pt x="4266" y="64394"/>
                    </a:cubicBezTo>
                    <a:cubicBezTo>
                      <a:pt x="10300" y="58361"/>
                      <a:pt x="16333" y="58361"/>
                      <a:pt x="16333" y="58361"/>
                    </a:cubicBezTo>
                    <a:cubicBezTo>
                      <a:pt x="133987" y="52327"/>
                      <a:pt x="133987" y="34227"/>
                      <a:pt x="133987" y="22160"/>
                    </a:cubicBezTo>
                    <a:cubicBezTo>
                      <a:pt x="133987" y="19143"/>
                      <a:pt x="133987" y="19143"/>
                      <a:pt x="130970" y="16126"/>
                    </a:cubicBezTo>
                    <a:cubicBezTo>
                      <a:pt x="115887" y="4059"/>
                      <a:pt x="64601" y="13109"/>
                      <a:pt x="31417" y="19143"/>
                    </a:cubicBezTo>
                    <a:cubicBezTo>
                      <a:pt x="28400" y="19143"/>
                      <a:pt x="25384" y="19143"/>
                      <a:pt x="25384" y="16126"/>
                    </a:cubicBezTo>
                    <a:cubicBezTo>
                      <a:pt x="25384" y="13109"/>
                      <a:pt x="25384" y="10093"/>
                      <a:pt x="28400" y="10093"/>
                    </a:cubicBezTo>
                    <a:cubicBezTo>
                      <a:pt x="37451" y="7076"/>
                      <a:pt x="112870" y="-11025"/>
                      <a:pt x="137004" y="10093"/>
                    </a:cubicBezTo>
                    <a:cubicBezTo>
                      <a:pt x="143037" y="13109"/>
                      <a:pt x="143037" y="19143"/>
                      <a:pt x="143037" y="25176"/>
                    </a:cubicBezTo>
                    <a:cubicBezTo>
                      <a:pt x="143037" y="28193"/>
                      <a:pt x="143037" y="34227"/>
                      <a:pt x="140020" y="37243"/>
                    </a:cubicBezTo>
                    <a:cubicBezTo>
                      <a:pt x="146054" y="40260"/>
                      <a:pt x="164155" y="52327"/>
                      <a:pt x="164155" y="70428"/>
                    </a:cubicBezTo>
                    <a:cubicBezTo>
                      <a:pt x="164155" y="91545"/>
                      <a:pt x="140020" y="97579"/>
                      <a:pt x="100803" y="103612"/>
                    </a:cubicBezTo>
                    <a:cubicBezTo>
                      <a:pt x="79685" y="103612"/>
                      <a:pt x="61585" y="106629"/>
                      <a:pt x="49518" y="106629"/>
                    </a:cubicBezTo>
                    <a:close/>
                    <a:moveTo>
                      <a:pt x="13317" y="67411"/>
                    </a:moveTo>
                    <a:cubicBezTo>
                      <a:pt x="13317" y="67411"/>
                      <a:pt x="10300" y="67411"/>
                      <a:pt x="10300" y="70428"/>
                    </a:cubicBezTo>
                    <a:cubicBezTo>
                      <a:pt x="10300" y="73444"/>
                      <a:pt x="10300" y="76461"/>
                      <a:pt x="10300" y="79478"/>
                    </a:cubicBezTo>
                    <a:cubicBezTo>
                      <a:pt x="13317" y="94562"/>
                      <a:pt x="46501" y="97579"/>
                      <a:pt x="100803" y="88528"/>
                    </a:cubicBezTo>
                    <a:cubicBezTo>
                      <a:pt x="137004" y="82495"/>
                      <a:pt x="155104" y="76461"/>
                      <a:pt x="155104" y="64394"/>
                    </a:cubicBezTo>
                    <a:cubicBezTo>
                      <a:pt x="155104" y="55344"/>
                      <a:pt x="143037" y="43277"/>
                      <a:pt x="137004" y="40260"/>
                    </a:cubicBezTo>
                    <a:cubicBezTo>
                      <a:pt x="121920" y="55344"/>
                      <a:pt x="91752" y="64394"/>
                      <a:pt x="13317" y="6741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6649AD83-C143-4B99-BD1B-ACCF7C2BDBF1}"/>
                  </a:ext>
                </a:extLst>
              </p:cNvPr>
              <p:cNvSpPr/>
              <p:nvPr/>
            </p:nvSpPr>
            <p:spPr>
              <a:xfrm>
                <a:off x="4402128" y="3448270"/>
                <a:ext cx="146551" cy="64692"/>
              </a:xfrm>
              <a:custGeom>
                <a:avLst/>
                <a:gdLst>
                  <a:gd name="connsiteX0" fmla="*/ 31299 w 146551"/>
                  <a:gd name="connsiteY0" fmla="*/ 64693 h 64692"/>
                  <a:gd name="connsiteX1" fmla="*/ 13198 w 146551"/>
                  <a:gd name="connsiteY1" fmla="*/ 64693 h 64692"/>
                  <a:gd name="connsiteX2" fmla="*/ 1131 w 146551"/>
                  <a:gd name="connsiteY2" fmla="*/ 52626 h 64692"/>
                  <a:gd name="connsiteX3" fmla="*/ 10182 w 146551"/>
                  <a:gd name="connsiteY3" fmla="*/ 22458 h 64692"/>
                  <a:gd name="connsiteX4" fmla="*/ 19232 w 146551"/>
                  <a:gd name="connsiteY4" fmla="*/ 22458 h 64692"/>
                  <a:gd name="connsiteX5" fmla="*/ 19232 w 146551"/>
                  <a:gd name="connsiteY5" fmla="*/ 31508 h 64692"/>
                  <a:gd name="connsiteX6" fmla="*/ 13198 w 146551"/>
                  <a:gd name="connsiteY6" fmla="*/ 49609 h 64692"/>
                  <a:gd name="connsiteX7" fmla="*/ 16215 w 146551"/>
                  <a:gd name="connsiteY7" fmla="*/ 55642 h 64692"/>
                  <a:gd name="connsiteX8" fmla="*/ 115768 w 146551"/>
                  <a:gd name="connsiteY8" fmla="*/ 43575 h 64692"/>
                  <a:gd name="connsiteX9" fmla="*/ 133869 w 146551"/>
                  <a:gd name="connsiteY9" fmla="*/ 28492 h 64692"/>
                  <a:gd name="connsiteX10" fmla="*/ 130852 w 146551"/>
                  <a:gd name="connsiteY10" fmla="*/ 10391 h 64692"/>
                  <a:gd name="connsiteX11" fmla="*/ 130852 w 146551"/>
                  <a:gd name="connsiteY11" fmla="*/ 1341 h 64692"/>
                  <a:gd name="connsiteX12" fmla="*/ 139902 w 146551"/>
                  <a:gd name="connsiteY12" fmla="*/ 1341 h 64692"/>
                  <a:gd name="connsiteX13" fmla="*/ 145936 w 146551"/>
                  <a:gd name="connsiteY13" fmla="*/ 28492 h 64692"/>
                  <a:gd name="connsiteX14" fmla="*/ 118785 w 146551"/>
                  <a:gd name="connsiteY14" fmla="*/ 49609 h 64692"/>
                  <a:gd name="connsiteX15" fmla="*/ 31299 w 146551"/>
                  <a:gd name="connsiteY15" fmla="*/ 64693 h 64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6551" h="64692">
                    <a:moveTo>
                      <a:pt x="31299" y="64693"/>
                    </a:moveTo>
                    <a:cubicBezTo>
                      <a:pt x="22248" y="64693"/>
                      <a:pt x="16215" y="64693"/>
                      <a:pt x="13198" y="64693"/>
                    </a:cubicBezTo>
                    <a:cubicBezTo>
                      <a:pt x="7165" y="64693"/>
                      <a:pt x="1131" y="58659"/>
                      <a:pt x="1131" y="52626"/>
                    </a:cubicBezTo>
                    <a:cubicBezTo>
                      <a:pt x="-1885" y="43575"/>
                      <a:pt x="1131" y="28492"/>
                      <a:pt x="10182" y="22458"/>
                    </a:cubicBezTo>
                    <a:cubicBezTo>
                      <a:pt x="13198" y="19441"/>
                      <a:pt x="16215" y="19441"/>
                      <a:pt x="19232" y="22458"/>
                    </a:cubicBezTo>
                    <a:cubicBezTo>
                      <a:pt x="22248" y="25475"/>
                      <a:pt x="22248" y="28492"/>
                      <a:pt x="19232" y="31508"/>
                    </a:cubicBezTo>
                    <a:cubicBezTo>
                      <a:pt x="16215" y="34525"/>
                      <a:pt x="13198" y="43575"/>
                      <a:pt x="13198" y="49609"/>
                    </a:cubicBezTo>
                    <a:cubicBezTo>
                      <a:pt x="13198" y="52626"/>
                      <a:pt x="16215" y="52626"/>
                      <a:pt x="16215" y="55642"/>
                    </a:cubicBezTo>
                    <a:cubicBezTo>
                      <a:pt x="28282" y="58659"/>
                      <a:pt x="76550" y="55642"/>
                      <a:pt x="115768" y="43575"/>
                    </a:cubicBezTo>
                    <a:cubicBezTo>
                      <a:pt x="127835" y="40559"/>
                      <a:pt x="133869" y="34525"/>
                      <a:pt x="133869" y="28492"/>
                    </a:cubicBezTo>
                    <a:cubicBezTo>
                      <a:pt x="136885" y="19441"/>
                      <a:pt x="130852" y="10391"/>
                      <a:pt x="130852" y="10391"/>
                    </a:cubicBezTo>
                    <a:cubicBezTo>
                      <a:pt x="127835" y="7374"/>
                      <a:pt x="130852" y="4358"/>
                      <a:pt x="130852" y="1341"/>
                    </a:cubicBezTo>
                    <a:cubicBezTo>
                      <a:pt x="133869" y="-1676"/>
                      <a:pt x="136885" y="1341"/>
                      <a:pt x="139902" y="1341"/>
                    </a:cubicBezTo>
                    <a:cubicBezTo>
                      <a:pt x="139902" y="1341"/>
                      <a:pt x="148953" y="16425"/>
                      <a:pt x="145936" y="28492"/>
                    </a:cubicBezTo>
                    <a:cubicBezTo>
                      <a:pt x="142919" y="37542"/>
                      <a:pt x="133869" y="46592"/>
                      <a:pt x="118785" y="49609"/>
                    </a:cubicBezTo>
                    <a:cubicBezTo>
                      <a:pt x="88617" y="61676"/>
                      <a:pt x="52416" y="64693"/>
                      <a:pt x="31299" y="6469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2" name="图形 1">
              <a:extLst>
                <a:ext uri="{FF2B5EF4-FFF2-40B4-BE49-F238E27FC236}">
                  <a16:creationId xmlns:a16="http://schemas.microsoft.com/office/drawing/2014/main" id="{3F258520-BCF1-4E4F-BCEC-664B4690C29A}"/>
                </a:ext>
              </a:extLst>
            </p:cNvPr>
            <p:cNvGrpSpPr/>
            <p:nvPr/>
          </p:nvGrpSpPr>
          <p:grpSpPr>
            <a:xfrm>
              <a:off x="3178633" y="3648382"/>
              <a:ext cx="355800" cy="211991"/>
              <a:chOff x="3178633" y="3648382"/>
              <a:chExt cx="355800" cy="211991"/>
            </a:xfrm>
          </p:grpSpPr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40F080AB-2820-48E2-9A90-40B7FAF37F33}"/>
                  </a:ext>
                </a:extLst>
              </p:cNvPr>
              <p:cNvSpPr/>
              <p:nvPr/>
            </p:nvSpPr>
            <p:spPr>
              <a:xfrm>
                <a:off x="3178633" y="3648382"/>
                <a:ext cx="355800" cy="211991"/>
              </a:xfrm>
              <a:custGeom>
                <a:avLst/>
                <a:gdLst>
                  <a:gd name="connsiteX0" fmla="*/ 14906 w 355800"/>
                  <a:gd name="connsiteY0" fmla="*/ 163240 h 211991"/>
                  <a:gd name="connsiteX1" fmla="*/ 20940 w 355800"/>
                  <a:gd name="connsiteY1" fmla="*/ 175307 h 211991"/>
                  <a:gd name="connsiteX2" fmla="*/ 198929 w 355800"/>
                  <a:gd name="connsiteY2" fmla="*/ 208492 h 211991"/>
                  <a:gd name="connsiteX3" fmla="*/ 337700 w 355800"/>
                  <a:gd name="connsiteY3" fmla="*/ 139106 h 211991"/>
                  <a:gd name="connsiteX4" fmla="*/ 325633 w 355800"/>
                  <a:gd name="connsiteY4" fmla="*/ 124022 h 211991"/>
                  <a:gd name="connsiteX5" fmla="*/ 283398 w 355800"/>
                  <a:gd name="connsiteY5" fmla="*/ 136089 h 211991"/>
                  <a:gd name="connsiteX6" fmla="*/ 331666 w 355800"/>
                  <a:gd name="connsiteY6" fmla="*/ 108939 h 211991"/>
                  <a:gd name="connsiteX7" fmla="*/ 355800 w 355800"/>
                  <a:gd name="connsiteY7" fmla="*/ 78771 h 211991"/>
                  <a:gd name="connsiteX8" fmla="*/ 340716 w 355800"/>
                  <a:gd name="connsiteY8" fmla="*/ 66704 h 211991"/>
                  <a:gd name="connsiteX9" fmla="*/ 346750 w 355800"/>
                  <a:gd name="connsiteY9" fmla="*/ 63687 h 211991"/>
                  <a:gd name="connsiteX10" fmla="*/ 325633 w 355800"/>
                  <a:gd name="connsiteY10" fmla="*/ 51620 h 211991"/>
                  <a:gd name="connsiteX11" fmla="*/ 147644 w 355800"/>
                  <a:gd name="connsiteY11" fmla="*/ 87821 h 211991"/>
                  <a:gd name="connsiteX12" fmla="*/ 183845 w 355800"/>
                  <a:gd name="connsiteY12" fmla="*/ 42570 h 211991"/>
                  <a:gd name="connsiteX13" fmla="*/ 238147 w 355800"/>
                  <a:gd name="connsiteY13" fmla="*/ 24469 h 211991"/>
                  <a:gd name="connsiteX14" fmla="*/ 204962 w 355800"/>
                  <a:gd name="connsiteY14" fmla="*/ 335 h 211991"/>
                  <a:gd name="connsiteX15" fmla="*/ 138593 w 355800"/>
                  <a:gd name="connsiteY15" fmla="*/ 9385 h 211991"/>
                  <a:gd name="connsiteX16" fmla="*/ 54124 w 355800"/>
                  <a:gd name="connsiteY16" fmla="*/ 42570 h 211991"/>
                  <a:gd name="connsiteX17" fmla="*/ 14906 w 355800"/>
                  <a:gd name="connsiteY17" fmla="*/ 163240 h 211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55800" h="211991">
                    <a:moveTo>
                      <a:pt x="14906" y="163240"/>
                    </a:moveTo>
                    <a:cubicBezTo>
                      <a:pt x="14906" y="166257"/>
                      <a:pt x="14906" y="172291"/>
                      <a:pt x="20940" y="175307"/>
                    </a:cubicBezTo>
                    <a:cubicBezTo>
                      <a:pt x="66191" y="199441"/>
                      <a:pt x="141610" y="220559"/>
                      <a:pt x="198929" y="208492"/>
                    </a:cubicBezTo>
                    <a:cubicBezTo>
                      <a:pt x="235130" y="199441"/>
                      <a:pt x="334683" y="157207"/>
                      <a:pt x="337700" y="139106"/>
                    </a:cubicBezTo>
                    <a:cubicBezTo>
                      <a:pt x="337700" y="136089"/>
                      <a:pt x="328649" y="127039"/>
                      <a:pt x="325633" y="124022"/>
                    </a:cubicBezTo>
                    <a:cubicBezTo>
                      <a:pt x="319599" y="121006"/>
                      <a:pt x="289431" y="136089"/>
                      <a:pt x="283398" y="136089"/>
                    </a:cubicBezTo>
                    <a:cubicBezTo>
                      <a:pt x="298482" y="127039"/>
                      <a:pt x="316582" y="121006"/>
                      <a:pt x="331666" y="108939"/>
                    </a:cubicBezTo>
                    <a:cubicBezTo>
                      <a:pt x="343733" y="99888"/>
                      <a:pt x="355800" y="90838"/>
                      <a:pt x="355800" y="78771"/>
                    </a:cubicBezTo>
                    <a:cubicBezTo>
                      <a:pt x="355800" y="63687"/>
                      <a:pt x="349767" y="66704"/>
                      <a:pt x="340716" y="66704"/>
                    </a:cubicBezTo>
                    <a:cubicBezTo>
                      <a:pt x="340716" y="66704"/>
                      <a:pt x="346750" y="63687"/>
                      <a:pt x="346750" y="63687"/>
                    </a:cubicBezTo>
                    <a:cubicBezTo>
                      <a:pt x="349767" y="60670"/>
                      <a:pt x="328649" y="54637"/>
                      <a:pt x="325633" y="51620"/>
                    </a:cubicBezTo>
                    <a:cubicBezTo>
                      <a:pt x="310549" y="27486"/>
                      <a:pt x="177811" y="124022"/>
                      <a:pt x="147644" y="87821"/>
                    </a:cubicBezTo>
                    <a:cubicBezTo>
                      <a:pt x="150661" y="78771"/>
                      <a:pt x="165744" y="54637"/>
                      <a:pt x="183845" y="42570"/>
                    </a:cubicBezTo>
                    <a:cubicBezTo>
                      <a:pt x="226080" y="42570"/>
                      <a:pt x="241163" y="36536"/>
                      <a:pt x="238147" y="24469"/>
                    </a:cubicBezTo>
                    <a:cubicBezTo>
                      <a:pt x="238147" y="18436"/>
                      <a:pt x="217029" y="335"/>
                      <a:pt x="204962" y="335"/>
                    </a:cubicBezTo>
                    <a:cubicBezTo>
                      <a:pt x="177811" y="335"/>
                      <a:pt x="171778" y="-2682"/>
                      <a:pt x="138593" y="9385"/>
                    </a:cubicBezTo>
                    <a:cubicBezTo>
                      <a:pt x="111443" y="18436"/>
                      <a:pt x="84292" y="33520"/>
                      <a:pt x="54124" y="42570"/>
                    </a:cubicBezTo>
                    <a:cubicBezTo>
                      <a:pt x="-9228" y="57654"/>
                      <a:pt x="-9228" y="117989"/>
                      <a:pt x="14906" y="16324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472D5A5A-A745-4F3D-800F-3BA219152B72}"/>
                  </a:ext>
                </a:extLst>
              </p:cNvPr>
              <p:cNvSpPr/>
              <p:nvPr/>
            </p:nvSpPr>
            <p:spPr>
              <a:xfrm>
                <a:off x="3374544" y="3703859"/>
                <a:ext cx="153854" cy="110779"/>
              </a:xfrm>
              <a:custGeom>
                <a:avLst/>
                <a:gdLst>
                  <a:gd name="connsiteX0" fmla="*/ 36201 w 153854"/>
                  <a:gd name="connsiteY0" fmla="*/ 110780 h 110779"/>
                  <a:gd name="connsiteX1" fmla="*/ 30168 w 153854"/>
                  <a:gd name="connsiteY1" fmla="*/ 107763 h 110779"/>
                  <a:gd name="connsiteX2" fmla="*/ 33184 w 153854"/>
                  <a:gd name="connsiteY2" fmla="*/ 101729 h 110779"/>
                  <a:gd name="connsiteX3" fmla="*/ 117654 w 153854"/>
                  <a:gd name="connsiteY3" fmla="*/ 53461 h 110779"/>
                  <a:gd name="connsiteX4" fmla="*/ 141788 w 153854"/>
                  <a:gd name="connsiteY4" fmla="*/ 23294 h 110779"/>
                  <a:gd name="connsiteX5" fmla="*/ 138771 w 153854"/>
                  <a:gd name="connsiteY5" fmla="*/ 14243 h 110779"/>
                  <a:gd name="connsiteX6" fmla="*/ 102570 w 153854"/>
                  <a:gd name="connsiteY6" fmla="*/ 38377 h 110779"/>
                  <a:gd name="connsiteX7" fmla="*/ 6034 w 153854"/>
                  <a:gd name="connsiteY7" fmla="*/ 92679 h 110779"/>
                  <a:gd name="connsiteX8" fmla="*/ 0 w 153854"/>
                  <a:gd name="connsiteY8" fmla="*/ 86645 h 110779"/>
                  <a:gd name="connsiteX9" fmla="*/ 6034 w 153854"/>
                  <a:gd name="connsiteY9" fmla="*/ 80612 h 110779"/>
                  <a:gd name="connsiteX10" fmla="*/ 96536 w 153854"/>
                  <a:gd name="connsiteY10" fmla="*/ 26310 h 110779"/>
                  <a:gd name="connsiteX11" fmla="*/ 144805 w 153854"/>
                  <a:gd name="connsiteY11" fmla="*/ 2176 h 110779"/>
                  <a:gd name="connsiteX12" fmla="*/ 153855 w 153854"/>
                  <a:gd name="connsiteY12" fmla="*/ 20277 h 110779"/>
                  <a:gd name="connsiteX13" fmla="*/ 123687 w 153854"/>
                  <a:gd name="connsiteY13" fmla="*/ 59495 h 110779"/>
                  <a:gd name="connsiteX14" fmla="*/ 36201 w 153854"/>
                  <a:gd name="connsiteY14" fmla="*/ 110780 h 110779"/>
                  <a:gd name="connsiteX15" fmla="*/ 36201 w 153854"/>
                  <a:gd name="connsiteY15" fmla="*/ 110780 h 110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3854" h="110779">
                    <a:moveTo>
                      <a:pt x="36201" y="110780"/>
                    </a:moveTo>
                    <a:cubicBezTo>
                      <a:pt x="33184" y="110780"/>
                      <a:pt x="33184" y="110780"/>
                      <a:pt x="30168" y="107763"/>
                    </a:cubicBezTo>
                    <a:cubicBezTo>
                      <a:pt x="30168" y="104746"/>
                      <a:pt x="30168" y="101729"/>
                      <a:pt x="33184" y="101729"/>
                    </a:cubicBezTo>
                    <a:cubicBezTo>
                      <a:pt x="33184" y="101729"/>
                      <a:pt x="96536" y="71562"/>
                      <a:pt x="117654" y="53461"/>
                    </a:cubicBezTo>
                    <a:cubicBezTo>
                      <a:pt x="129721" y="41394"/>
                      <a:pt x="141788" y="32344"/>
                      <a:pt x="141788" y="23294"/>
                    </a:cubicBezTo>
                    <a:cubicBezTo>
                      <a:pt x="141788" y="20277"/>
                      <a:pt x="141788" y="17260"/>
                      <a:pt x="138771" y="14243"/>
                    </a:cubicBezTo>
                    <a:cubicBezTo>
                      <a:pt x="132737" y="17260"/>
                      <a:pt x="117654" y="29327"/>
                      <a:pt x="102570" y="38377"/>
                    </a:cubicBezTo>
                    <a:cubicBezTo>
                      <a:pt x="72402" y="62511"/>
                      <a:pt x="33184" y="89662"/>
                      <a:pt x="6034" y="92679"/>
                    </a:cubicBezTo>
                    <a:cubicBezTo>
                      <a:pt x="3017" y="92679"/>
                      <a:pt x="0" y="89662"/>
                      <a:pt x="0" y="86645"/>
                    </a:cubicBezTo>
                    <a:cubicBezTo>
                      <a:pt x="0" y="83629"/>
                      <a:pt x="3017" y="80612"/>
                      <a:pt x="6034" y="80612"/>
                    </a:cubicBezTo>
                    <a:cubicBezTo>
                      <a:pt x="30168" y="77595"/>
                      <a:pt x="69386" y="47428"/>
                      <a:pt x="96536" y="26310"/>
                    </a:cubicBezTo>
                    <a:cubicBezTo>
                      <a:pt x="126704" y="2176"/>
                      <a:pt x="138771" y="-3857"/>
                      <a:pt x="144805" y="2176"/>
                    </a:cubicBezTo>
                    <a:cubicBezTo>
                      <a:pt x="150838" y="8210"/>
                      <a:pt x="153855" y="14243"/>
                      <a:pt x="153855" y="20277"/>
                    </a:cubicBezTo>
                    <a:cubicBezTo>
                      <a:pt x="153855" y="35361"/>
                      <a:pt x="138771" y="47428"/>
                      <a:pt x="123687" y="59495"/>
                    </a:cubicBezTo>
                    <a:cubicBezTo>
                      <a:pt x="105587" y="77595"/>
                      <a:pt x="42235" y="107763"/>
                      <a:pt x="36201" y="110780"/>
                    </a:cubicBezTo>
                    <a:cubicBezTo>
                      <a:pt x="39218" y="110780"/>
                      <a:pt x="39218" y="110780"/>
                      <a:pt x="36201" y="11078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093D1D7E-1110-41C2-86D0-6701CA844A90}"/>
                  </a:ext>
                </a:extLst>
              </p:cNvPr>
              <p:cNvSpPr/>
              <p:nvPr/>
            </p:nvSpPr>
            <p:spPr>
              <a:xfrm>
                <a:off x="3317226" y="3687350"/>
                <a:ext cx="193826" cy="60919"/>
              </a:xfrm>
              <a:custGeom>
                <a:avLst/>
                <a:gdLst>
                  <a:gd name="connsiteX0" fmla="*/ 42235 w 193826"/>
                  <a:gd name="connsiteY0" fmla="*/ 60920 h 60919"/>
                  <a:gd name="connsiteX1" fmla="*/ 3017 w 193826"/>
                  <a:gd name="connsiteY1" fmla="*/ 51870 h 60919"/>
                  <a:gd name="connsiteX2" fmla="*/ 0 w 193826"/>
                  <a:gd name="connsiteY2" fmla="*/ 45836 h 60919"/>
                  <a:gd name="connsiteX3" fmla="*/ 6034 w 193826"/>
                  <a:gd name="connsiteY3" fmla="*/ 42819 h 60919"/>
                  <a:gd name="connsiteX4" fmla="*/ 42235 w 193826"/>
                  <a:gd name="connsiteY4" fmla="*/ 48853 h 60919"/>
                  <a:gd name="connsiteX5" fmla="*/ 117654 w 193826"/>
                  <a:gd name="connsiteY5" fmla="*/ 18685 h 60919"/>
                  <a:gd name="connsiteX6" fmla="*/ 165922 w 193826"/>
                  <a:gd name="connsiteY6" fmla="*/ 585 h 60919"/>
                  <a:gd name="connsiteX7" fmla="*/ 190056 w 193826"/>
                  <a:gd name="connsiteY7" fmla="*/ 12652 h 60919"/>
                  <a:gd name="connsiteX8" fmla="*/ 193073 w 193826"/>
                  <a:gd name="connsiteY8" fmla="*/ 30752 h 60919"/>
                  <a:gd name="connsiteX9" fmla="*/ 187039 w 193826"/>
                  <a:gd name="connsiteY9" fmla="*/ 33769 h 60919"/>
                  <a:gd name="connsiteX10" fmla="*/ 184022 w 193826"/>
                  <a:gd name="connsiteY10" fmla="*/ 27736 h 60919"/>
                  <a:gd name="connsiteX11" fmla="*/ 184022 w 193826"/>
                  <a:gd name="connsiteY11" fmla="*/ 18685 h 60919"/>
                  <a:gd name="connsiteX12" fmla="*/ 168939 w 193826"/>
                  <a:gd name="connsiteY12" fmla="*/ 12652 h 60919"/>
                  <a:gd name="connsiteX13" fmla="*/ 126704 w 193826"/>
                  <a:gd name="connsiteY13" fmla="*/ 30752 h 60919"/>
                  <a:gd name="connsiteX14" fmla="*/ 45251 w 193826"/>
                  <a:gd name="connsiteY14" fmla="*/ 57903 h 60919"/>
                  <a:gd name="connsiteX15" fmla="*/ 42235 w 193826"/>
                  <a:gd name="connsiteY15" fmla="*/ 60920 h 60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3826" h="60919">
                    <a:moveTo>
                      <a:pt x="42235" y="60920"/>
                    </a:moveTo>
                    <a:cubicBezTo>
                      <a:pt x="27151" y="60920"/>
                      <a:pt x="6034" y="51870"/>
                      <a:pt x="3017" y="51870"/>
                    </a:cubicBezTo>
                    <a:cubicBezTo>
                      <a:pt x="0" y="51870"/>
                      <a:pt x="0" y="48853"/>
                      <a:pt x="0" y="45836"/>
                    </a:cubicBezTo>
                    <a:cubicBezTo>
                      <a:pt x="0" y="42819"/>
                      <a:pt x="3017" y="42819"/>
                      <a:pt x="6034" y="42819"/>
                    </a:cubicBezTo>
                    <a:cubicBezTo>
                      <a:pt x="6034" y="42819"/>
                      <a:pt x="30168" y="51870"/>
                      <a:pt x="42235" y="48853"/>
                    </a:cubicBezTo>
                    <a:cubicBezTo>
                      <a:pt x="72402" y="45836"/>
                      <a:pt x="96536" y="30752"/>
                      <a:pt x="117654" y="18685"/>
                    </a:cubicBezTo>
                    <a:cubicBezTo>
                      <a:pt x="135754" y="6618"/>
                      <a:pt x="150838" y="-2432"/>
                      <a:pt x="165922" y="585"/>
                    </a:cubicBezTo>
                    <a:cubicBezTo>
                      <a:pt x="177989" y="585"/>
                      <a:pt x="184022" y="6618"/>
                      <a:pt x="190056" y="12652"/>
                    </a:cubicBezTo>
                    <a:cubicBezTo>
                      <a:pt x="196089" y="21702"/>
                      <a:pt x="193073" y="27736"/>
                      <a:pt x="193073" y="30752"/>
                    </a:cubicBezTo>
                    <a:cubicBezTo>
                      <a:pt x="193073" y="33769"/>
                      <a:pt x="190056" y="36786"/>
                      <a:pt x="187039" y="33769"/>
                    </a:cubicBezTo>
                    <a:cubicBezTo>
                      <a:pt x="184022" y="33769"/>
                      <a:pt x="184022" y="30752"/>
                      <a:pt x="184022" y="27736"/>
                    </a:cubicBezTo>
                    <a:cubicBezTo>
                      <a:pt x="184022" y="27736"/>
                      <a:pt x="184022" y="24719"/>
                      <a:pt x="184022" y="18685"/>
                    </a:cubicBezTo>
                    <a:cubicBezTo>
                      <a:pt x="181006" y="15668"/>
                      <a:pt x="177989" y="12652"/>
                      <a:pt x="168939" y="12652"/>
                    </a:cubicBezTo>
                    <a:cubicBezTo>
                      <a:pt x="159888" y="12652"/>
                      <a:pt x="144804" y="18685"/>
                      <a:pt x="126704" y="30752"/>
                    </a:cubicBezTo>
                    <a:cubicBezTo>
                      <a:pt x="105587" y="39803"/>
                      <a:pt x="78436" y="54886"/>
                      <a:pt x="45251" y="57903"/>
                    </a:cubicBezTo>
                    <a:cubicBezTo>
                      <a:pt x="45251" y="60920"/>
                      <a:pt x="42235" y="60920"/>
                      <a:pt x="42235" y="6092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557E7443-CB4C-4370-8823-F7AC744ACE81}"/>
                </a:ext>
              </a:extLst>
            </p:cNvPr>
            <p:cNvSpPr/>
            <p:nvPr/>
          </p:nvSpPr>
          <p:spPr>
            <a:xfrm>
              <a:off x="2625047" y="4013745"/>
              <a:ext cx="203463" cy="223240"/>
            </a:xfrm>
            <a:custGeom>
              <a:avLst/>
              <a:gdLst>
                <a:gd name="connsiteX0" fmla="*/ 34525 w 203463"/>
                <a:gd name="connsiteY0" fmla="*/ 223240 h 223240"/>
                <a:gd name="connsiteX1" fmla="*/ 31508 w 203463"/>
                <a:gd name="connsiteY1" fmla="*/ 220223 h 223240"/>
                <a:gd name="connsiteX2" fmla="*/ 1341 w 203463"/>
                <a:gd name="connsiteY2" fmla="*/ 187039 h 223240"/>
                <a:gd name="connsiteX3" fmla="*/ 1341 w 203463"/>
                <a:gd name="connsiteY3" fmla="*/ 184022 h 223240"/>
                <a:gd name="connsiteX4" fmla="*/ 4358 w 203463"/>
                <a:gd name="connsiteY4" fmla="*/ 181006 h 223240"/>
                <a:gd name="connsiteX5" fmla="*/ 149162 w 203463"/>
                <a:gd name="connsiteY5" fmla="*/ 3017 h 223240"/>
                <a:gd name="connsiteX6" fmla="*/ 155196 w 203463"/>
                <a:gd name="connsiteY6" fmla="*/ 0 h 223240"/>
                <a:gd name="connsiteX7" fmla="*/ 200447 w 203463"/>
                <a:gd name="connsiteY7" fmla="*/ 15084 h 223240"/>
                <a:gd name="connsiteX8" fmla="*/ 203464 w 203463"/>
                <a:gd name="connsiteY8" fmla="*/ 18101 h 223240"/>
                <a:gd name="connsiteX9" fmla="*/ 203464 w 203463"/>
                <a:gd name="connsiteY9" fmla="*/ 21117 h 223240"/>
                <a:gd name="connsiteX10" fmla="*/ 40559 w 203463"/>
                <a:gd name="connsiteY10" fmla="*/ 220223 h 223240"/>
                <a:gd name="connsiteX11" fmla="*/ 34525 w 203463"/>
                <a:gd name="connsiteY11" fmla="*/ 223240 h 223240"/>
                <a:gd name="connsiteX12" fmla="*/ 10391 w 203463"/>
                <a:gd name="connsiteY12" fmla="*/ 187039 h 223240"/>
                <a:gd name="connsiteX13" fmla="*/ 34525 w 203463"/>
                <a:gd name="connsiteY13" fmla="*/ 211173 h 223240"/>
                <a:gd name="connsiteX14" fmla="*/ 188380 w 203463"/>
                <a:gd name="connsiteY14" fmla="*/ 24134 h 223240"/>
                <a:gd name="connsiteX15" fmla="*/ 152179 w 203463"/>
                <a:gd name="connsiteY15" fmla="*/ 12067 h 223240"/>
                <a:gd name="connsiteX16" fmla="*/ 10391 w 203463"/>
                <a:gd name="connsiteY16" fmla="*/ 187039 h 223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463" h="223240">
                  <a:moveTo>
                    <a:pt x="34525" y="223240"/>
                  </a:moveTo>
                  <a:cubicBezTo>
                    <a:pt x="31508" y="223240"/>
                    <a:pt x="31508" y="223240"/>
                    <a:pt x="31508" y="220223"/>
                  </a:cubicBezTo>
                  <a:lnTo>
                    <a:pt x="1341" y="187039"/>
                  </a:lnTo>
                  <a:cubicBezTo>
                    <a:pt x="1341" y="187039"/>
                    <a:pt x="-1676" y="184022"/>
                    <a:pt x="1341" y="184022"/>
                  </a:cubicBezTo>
                  <a:cubicBezTo>
                    <a:pt x="1341" y="184022"/>
                    <a:pt x="1341" y="181006"/>
                    <a:pt x="4358" y="181006"/>
                  </a:cubicBezTo>
                  <a:cubicBezTo>
                    <a:pt x="91844" y="111620"/>
                    <a:pt x="149162" y="3017"/>
                    <a:pt x="149162" y="3017"/>
                  </a:cubicBezTo>
                  <a:cubicBezTo>
                    <a:pt x="149162" y="0"/>
                    <a:pt x="152179" y="0"/>
                    <a:pt x="155196" y="0"/>
                  </a:cubicBezTo>
                  <a:lnTo>
                    <a:pt x="200447" y="15084"/>
                  </a:lnTo>
                  <a:cubicBezTo>
                    <a:pt x="200447" y="15084"/>
                    <a:pt x="203464" y="18101"/>
                    <a:pt x="203464" y="18101"/>
                  </a:cubicBezTo>
                  <a:cubicBezTo>
                    <a:pt x="203464" y="18101"/>
                    <a:pt x="203464" y="21117"/>
                    <a:pt x="203464" y="21117"/>
                  </a:cubicBezTo>
                  <a:cubicBezTo>
                    <a:pt x="170279" y="111620"/>
                    <a:pt x="43575" y="217207"/>
                    <a:pt x="40559" y="220223"/>
                  </a:cubicBezTo>
                  <a:cubicBezTo>
                    <a:pt x="34525" y="223240"/>
                    <a:pt x="34525" y="223240"/>
                    <a:pt x="34525" y="223240"/>
                  </a:cubicBezTo>
                  <a:close/>
                  <a:moveTo>
                    <a:pt x="10391" y="187039"/>
                  </a:moveTo>
                  <a:lnTo>
                    <a:pt x="34525" y="211173"/>
                  </a:lnTo>
                  <a:cubicBezTo>
                    <a:pt x="55642" y="193073"/>
                    <a:pt x="155196" y="102570"/>
                    <a:pt x="188380" y="24134"/>
                  </a:cubicBezTo>
                  <a:lnTo>
                    <a:pt x="152179" y="12067"/>
                  </a:lnTo>
                  <a:cubicBezTo>
                    <a:pt x="140112" y="33184"/>
                    <a:pt x="85810" y="123687"/>
                    <a:pt x="10391" y="187039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D54B53C7-0F2B-46F5-B3A6-40A492363558}"/>
                </a:ext>
              </a:extLst>
            </p:cNvPr>
            <p:cNvSpPr/>
            <p:nvPr/>
          </p:nvSpPr>
          <p:spPr>
            <a:xfrm>
              <a:off x="3549517" y="4022795"/>
              <a:ext cx="96536" cy="99553"/>
            </a:xfrm>
            <a:custGeom>
              <a:avLst/>
              <a:gdLst>
                <a:gd name="connsiteX0" fmla="*/ 87486 w 96536"/>
                <a:gd name="connsiteY0" fmla="*/ 99553 h 99553"/>
                <a:gd name="connsiteX1" fmla="*/ 87486 w 96536"/>
                <a:gd name="connsiteY1" fmla="*/ 99553 h 99553"/>
                <a:gd name="connsiteX2" fmla="*/ 3017 w 96536"/>
                <a:gd name="connsiteY2" fmla="*/ 54302 h 99553"/>
                <a:gd name="connsiteX3" fmla="*/ 0 w 96536"/>
                <a:gd name="connsiteY3" fmla="*/ 48268 h 99553"/>
                <a:gd name="connsiteX4" fmla="*/ 0 w 96536"/>
                <a:gd name="connsiteY4" fmla="*/ 6034 h 99553"/>
                <a:gd name="connsiteX5" fmla="*/ 3017 w 96536"/>
                <a:gd name="connsiteY5" fmla="*/ 0 h 99553"/>
                <a:gd name="connsiteX6" fmla="*/ 9050 w 96536"/>
                <a:gd name="connsiteY6" fmla="*/ 0 h 99553"/>
                <a:gd name="connsiteX7" fmla="*/ 78436 w 96536"/>
                <a:gd name="connsiteY7" fmla="*/ 33185 h 99553"/>
                <a:gd name="connsiteX8" fmla="*/ 81453 w 96536"/>
                <a:gd name="connsiteY8" fmla="*/ 39218 h 99553"/>
                <a:gd name="connsiteX9" fmla="*/ 75419 w 96536"/>
                <a:gd name="connsiteY9" fmla="*/ 42235 h 99553"/>
                <a:gd name="connsiteX10" fmla="*/ 12067 w 96536"/>
                <a:gd name="connsiteY10" fmla="*/ 15084 h 99553"/>
                <a:gd name="connsiteX11" fmla="*/ 12067 w 96536"/>
                <a:gd name="connsiteY11" fmla="*/ 45251 h 99553"/>
                <a:gd name="connsiteX12" fmla="*/ 93520 w 96536"/>
                <a:gd name="connsiteY12" fmla="*/ 90503 h 99553"/>
                <a:gd name="connsiteX13" fmla="*/ 96536 w 96536"/>
                <a:gd name="connsiteY13" fmla="*/ 99553 h 99553"/>
                <a:gd name="connsiteX14" fmla="*/ 87486 w 96536"/>
                <a:gd name="connsiteY14" fmla="*/ 99553 h 9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536" h="99553">
                  <a:moveTo>
                    <a:pt x="87486" y="99553"/>
                  </a:moveTo>
                  <a:cubicBezTo>
                    <a:pt x="87486" y="99553"/>
                    <a:pt x="87486" y="99553"/>
                    <a:pt x="87486" y="99553"/>
                  </a:cubicBezTo>
                  <a:lnTo>
                    <a:pt x="3017" y="54302"/>
                  </a:lnTo>
                  <a:cubicBezTo>
                    <a:pt x="0" y="54302"/>
                    <a:pt x="0" y="51285"/>
                    <a:pt x="0" y="48268"/>
                  </a:cubicBezTo>
                  <a:lnTo>
                    <a:pt x="0" y="6034"/>
                  </a:lnTo>
                  <a:cubicBezTo>
                    <a:pt x="0" y="3017"/>
                    <a:pt x="0" y="3017"/>
                    <a:pt x="3017" y="0"/>
                  </a:cubicBezTo>
                  <a:cubicBezTo>
                    <a:pt x="6034" y="0"/>
                    <a:pt x="6034" y="0"/>
                    <a:pt x="9050" y="0"/>
                  </a:cubicBezTo>
                  <a:cubicBezTo>
                    <a:pt x="24134" y="9050"/>
                    <a:pt x="78436" y="33185"/>
                    <a:pt x="78436" y="33185"/>
                  </a:cubicBezTo>
                  <a:cubicBezTo>
                    <a:pt x="81453" y="33185"/>
                    <a:pt x="81453" y="36201"/>
                    <a:pt x="81453" y="39218"/>
                  </a:cubicBezTo>
                  <a:cubicBezTo>
                    <a:pt x="81453" y="42235"/>
                    <a:pt x="78436" y="42235"/>
                    <a:pt x="75419" y="42235"/>
                  </a:cubicBezTo>
                  <a:cubicBezTo>
                    <a:pt x="72402" y="42235"/>
                    <a:pt x="33184" y="24134"/>
                    <a:pt x="12067" y="15084"/>
                  </a:cubicBezTo>
                  <a:lnTo>
                    <a:pt x="12067" y="45251"/>
                  </a:lnTo>
                  <a:lnTo>
                    <a:pt x="93520" y="90503"/>
                  </a:lnTo>
                  <a:cubicBezTo>
                    <a:pt x="96536" y="90503"/>
                    <a:pt x="96536" y="96536"/>
                    <a:pt x="96536" y="99553"/>
                  </a:cubicBezTo>
                  <a:cubicBezTo>
                    <a:pt x="90503" y="99553"/>
                    <a:pt x="90503" y="99553"/>
                    <a:pt x="87486" y="99553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6" name="图形 1">
            <a:extLst>
              <a:ext uri="{FF2B5EF4-FFF2-40B4-BE49-F238E27FC236}">
                <a16:creationId xmlns:a16="http://schemas.microsoft.com/office/drawing/2014/main" id="{5A375C2E-25D1-4CBD-B405-BEFC770007DA}"/>
              </a:ext>
            </a:extLst>
          </p:cNvPr>
          <p:cNvGrpSpPr/>
          <p:nvPr/>
        </p:nvGrpSpPr>
        <p:grpSpPr>
          <a:xfrm>
            <a:off x="5818086" y="2184244"/>
            <a:ext cx="4316408" cy="4709162"/>
            <a:chOff x="12524377" y="1859779"/>
            <a:chExt cx="4316408" cy="4709162"/>
          </a:xfrm>
        </p:grpSpPr>
        <p:grpSp>
          <p:nvGrpSpPr>
            <p:cNvPr id="67" name="图形 1">
              <a:extLst>
                <a:ext uri="{FF2B5EF4-FFF2-40B4-BE49-F238E27FC236}">
                  <a16:creationId xmlns:a16="http://schemas.microsoft.com/office/drawing/2014/main" id="{BD1C17EE-0995-4DFF-9E6F-9FABE5DBD13F}"/>
                </a:ext>
              </a:extLst>
            </p:cNvPr>
            <p:cNvGrpSpPr/>
            <p:nvPr/>
          </p:nvGrpSpPr>
          <p:grpSpPr>
            <a:xfrm>
              <a:off x="16450474" y="5899220"/>
              <a:ext cx="390311" cy="569721"/>
              <a:chOff x="16450474" y="5899220"/>
              <a:chExt cx="390311" cy="569721"/>
            </a:xfrm>
          </p:grpSpPr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68DAD19B-52F2-4DFB-A641-D995F7705EE9}"/>
                  </a:ext>
                </a:extLst>
              </p:cNvPr>
              <p:cNvSpPr/>
              <p:nvPr/>
            </p:nvSpPr>
            <p:spPr>
              <a:xfrm>
                <a:off x="16470299" y="5899220"/>
                <a:ext cx="271508" cy="253408"/>
              </a:xfrm>
              <a:custGeom>
                <a:avLst/>
                <a:gdLst>
                  <a:gd name="connsiteX0" fmla="*/ 253408 w 271508"/>
                  <a:gd name="connsiteY0" fmla="*/ 135754 h 253408"/>
                  <a:gd name="connsiteX1" fmla="*/ 129720 w 271508"/>
                  <a:gd name="connsiteY1" fmla="*/ 0 h 253408"/>
                  <a:gd name="connsiteX2" fmla="*/ 0 w 271508"/>
                  <a:gd name="connsiteY2" fmla="*/ 123687 h 253408"/>
                  <a:gd name="connsiteX3" fmla="*/ 141788 w 271508"/>
                  <a:gd name="connsiteY3" fmla="*/ 253408 h 253408"/>
                  <a:gd name="connsiteX4" fmla="*/ 271508 w 271508"/>
                  <a:gd name="connsiteY4" fmla="*/ 171956 h 25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1508" h="253408">
                    <a:moveTo>
                      <a:pt x="253408" y="135754"/>
                    </a:moveTo>
                    <a:lnTo>
                      <a:pt x="129720" y="0"/>
                    </a:lnTo>
                    <a:lnTo>
                      <a:pt x="0" y="123687"/>
                    </a:lnTo>
                    <a:lnTo>
                      <a:pt x="141788" y="253408"/>
                    </a:lnTo>
                    <a:lnTo>
                      <a:pt x="271508" y="171956"/>
                    </a:ln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661EABBB-9128-4759-B66A-BE1E01831147}"/>
                  </a:ext>
                </a:extLst>
              </p:cNvPr>
              <p:cNvSpPr/>
              <p:nvPr/>
            </p:nvSpPr>
            <p:spPr>
              <a:xfrm>
                <a:off x="16450474" y="6025924"/>
                <a:ext cx="360717" cy="413295"/>
              </a:xfrm>
              <a:custGeom>
                <a:avLst/>
                <a:gdLst>
                  <a:gd name="connsiteX0" fmla="*/ 282283 w 360717"/>
                  <a:gd name="connsiteY0" fmla="*/ 0 h 413295"/>
                  <a:gd name="connsiteX1" fmla="*/ 116361 w 360717"/>
                  <a:gd name="connsiteY1" fmla="*/ 93519 h 413295"/>
                  <a:gd name="connsiteX2" fmla="*/ 77143 w 360717"/>
                  <a:gd name="connsiteY2" fmla="*/ 241341 h 413295"/>
                  <a:gd name="connsiteX3" fmla="*/ 10775 w 360717"/>
                  <a:gd name="connsiteY3" fmla="*/ 413296 h 413295"/>
                  <a:gd name="connsiteX4" fmla="*/ 360718 w 360717"/>
                  <a:gd name="connsiteY4" fmla="*/ 78435 h 413295"/>
                  <a:gd name="connsiteX5" fmla="*/ 282283 w 360717"/>
                  <a:gd name="connsiteY5" fmla="*/ 0 h 413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0717" h="413295">
                    <a:moveTo>
                      <a:pt x="282283" y="0"/>
                    </a:moveTo>
                    <a:cubicBezTo>
                      <a:pt x="282283" y="0"/>
                      <a:pt x="206864" y="99553"/>
                      <a:pt x="116361" y="93519"/>
                    </a:cubicBezTo>
                    <a:cubicBezTo>
                      <a:pt x="116361" y="93519"/>
                      <a:pt x="101277" y="205139"/>
                      <a:pt x="77143" y="241341"/>
                    </a:cubicBezTo>
                    <a:cubicBezTo>
                      <a:pt x="49992" y="277542"/>
                      <a:pt x="-28444" y="352961"/>
                      <a:pt x="10775" y="413296"/>
                    </a:cubicBezTo>
                    <a:lnTo>
                      <a:pt x="360718" y="78435"/>
                    </a:lnTo>
                    <a:cubicBezTo>
                      <a:pt x="357702" y="78435"/>
                      <a:pt x="330550" y="21117"/>
                      <a:pt x="282283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9A4960A9-1A58-4223-A77B-CBDF7A57CF7B}"/>
                  </a:ext>
                </a:extLst>
              </p:cNvPr>
              <p:cNvSpPr/>
              <p:nvPr/>
            </p:nvSpPr>
            <p:spPr>
              <a:xfrm rot="-2621480">
                <a:off x="16409292" y="6263236"/>
                <a:ext cx="482700" cy="45253"/>
              </a:xfrm>
              <a:custGeom>
                <a:avLst/>
                <a:gdLst>
                  <a:gd name="connsiteX0" fmla="*/ 0 w 482700"/>
                  <a:gd name="connsiteY0" fmla="*/ 0 h 45253"/>
                  <a:gd name="connsiteX1" fmla="*/ 482700 w 482700"/>
                  <a:gd name="connsiteY1" fmla="*/ 0 h 45253"/>
                  <a:gd name="connsiteX2" fmla="*/ 482700 w 482700"/>
                  <a:gd name="connsiteY2" fmla="*/ 45253 h 45253"/>
                  <a:gd name="connsiteX3" fmla="*/ 0 w 482700"/>
                  <a:gd name="connsiteY3" fmla="*/ 45253 h 45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2700" h="45253">
                    <a:moveTo>
                      <a:pt x="0" y="0"/>
                    </a:moveTo>
                    <a:lnTo>
                      <a:pt x="482700" y="0"/>
                    </a:lnTo>
                    <a:lnTo>
                      <a:pt x="482700" y="45253"/>
                    </a:lnTo>
                    <a:lnTo>
                      <a:pt x="0" y="45253"/>
                    </a:lnTo>
                    <a:close/>
                  </a:path>
                </a:pathLst>
              </a:custGeom>
              <a:solidFill>
                <a:srgbClr val="38333D"/>
              </a:solidFill>
              <a:ln w="301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00E325FA-BC8E-4A96-A6BE-4237DA935D29}"/>
                  </a:ext>
                </a:extLst>
              </p:cNvPr>
              <p:cNvSpPr/>
              <p:nvPr/>
            </p:nvSpPr>
            <p:spPr>
              <a:xfrm>
                <a:off x="16560802" y="6017628"/>
                <a:ext cx="177234" cy="104832"/>
              </a:xfrm>
              <a:custGeom>
                <a:avLst/>
                <a:gdLst>
                  <a:gd name="connsiteX0" fmla="*/ 6034 w 177234"/>
                  <a:gd name="connsiteY0" fmla="*/ 104832 h 104832"/>
                  <a:gd name="connsiteX1" fmla="*/ 0 w 177234"/>
                  <a:gd name="connsiteY1" fmla="*/ 98799 h 104832"/>
                  <a:gd name="connsiteX2" fmla="*/ 6034 w 177234"/>
                  <a:gd name="connsiteY2" fmla="*/ 92765 h 104832"/>
                  <a:gd name="connsiteX3" fmla="*/ 165922 w 177234"/>
                  <a:gd name="connsiteY3" fmla="*/ 2262 h 104832"/>
                  <a:gd name="connsiteX4" fmla="*/ 174972 w 177234"/>
                  <a:gd name="connsiteY4" fmla="*/ 2262 h 104832"/>
                  <a:gd name="connsiteX5" fmla="*/ 174972 w 177234"/>
                  <a:gd name="connsiteY5" fmla="*/ 11313 h 104832"/>
                  <a:gd name="connsiteX6" fmla="*/ 6034 w 177234"/>
                  <a:gd name="connsiteY6" fmla="*/ 104832 h 104832"/>
                  <a:gd name="connsiteX7" fmla="*/ 6034 w 177234"/>
                  <a:gd name="connsiteY7" fmla="*/ 104832 h 104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7234" h="104832">
                    <a:moveTo>
                      <a:pt x="6034" y="104832"/>
                    </a:moveTo>
                    <a:cubicBezTo>
                      <a:pt x="3017" y="104832"/>
                      <a:pt x="0" y="101816"/>
                      <a:pt x="0" y="98799"/>
                    </a:cubicBezTo>
                    <a:cubicBezTo>
                      <a:pt x="0" y="95782"/>
                      <a:pt x="3017" y="92765"/>
                      <a:pt x="6034" y="92765"/>
                    </a:cubicBezTo>
                    <a:cubicBezTo>
                      <a:pt x="96537" y="89749"/>
                      <a:pt x="165922" y="2262"/>
                      <a:pt x="165922" y="2262"/>
                    </a:cubicBezTo>
                    <a:cubicBezTo>
                      <a:pt x="168939" y="-754"/>
                      <a:pt x="171956" y="-754"/>
                      <a:pt x="174972" y="2262"/>
                    </a:cubicBezTo>
                    <a:cubicBezTo>
                      <a:pt x="177989" y="5279"/>
                      <a:pt x="177989" y="8296"/>
                      <a:pt x="174972" y="11313"/>
                    </a:cubicBezTo>
                    <a:cubicBezTo>
                      <a:pt x="171956" y="14330"/>
                      <a:pt x="102570" y="101816"/>
                      <a:pt x="6034" y="104832"/>
                    </a:cubicBezTo>
                    <a:cubicBezTo>
                      <a:pt x="6034" y="104832"/>
                      <a:pt x="6034" y="104832"/>
                      <a:pt x="6034" y="10483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BE74B03D-D371-4FE4-A8E3-63BE43E19B3E}"/>
                  </a:ext>
                </a:extLst>
              </p:cNvPr>
              <p:cNvSpPr/>
              <p:nvPr/>
            </p:nvSpPr>
            <p:spPr>
              <a:xfrm>
                <a:off x="16554768" y="6155644"/>
                <a:ext cx="48268" cy="12067"/>
              </a:xfrm>
              <a:custGeom>
                <a:avLst/>
                <a:gdLst>
                  <a:gd name="connsiteX0" fmla="*/ 42235 w 48268"/>
                  <a:gd name="connsiteY0" fmla="*/ 12067 h 12067"/>
                  <a:gd name="connsiteX1" fmla="*/ 42235 w 48268"/>
                  <a:gd name="connsiteY1" fmla="*/ 12067 h 12067"/>
                  <a:gd name="connsiteX2" fmla="*/ 6034 w 48268"/>
                  <a:gd name="connsiteY2" fmla="*/ 12067 h 12067"/>
                  <a:gd name="connsiteX3" fmla="*/ 0 w 48268"/>
                  <a:gd name="connsiteY3" fmla="*/ 6034 h 12067"/>
                  <a:gd name="connsiteX4" fmla="*/ 6034 w 48268"/>
                  <a:gd name="connsiteY4" fmla="*/ 0 h 12067"/>
                  <a:gd name="connsiteX5" fmla="*/ 42235 w 48268"/>
                  <a:gd name="connsiteY5" fmla="*/ 0 h 12067"/>
                  <a:gd name="connsiteX6" fmla="*/ 48268 w 48268"/>
                  <a:gd name="connsiteY6" fmla="*/ 6034 h 12067"/>
                  <a:gd name="connsiteX7" fmla="*/ 42235 w 48268"/>
                  <a:gd name="connsiteY7" fmla="*/ 12067 h 12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268" h="12067">
                    <a:moveTo>
                      <a:pt x="42235" y="12067"/>
                    </a:moveTo>
                    <a:cubicBezTo>
                      <a:pt x="42235" y="12067"/>
                      <a:pt x="42235" y="12067"/>
                      <a:pt x="42235" y="12067"/>
                    </a:cubicBezTo>
                    <a:lnTo>
                      <a:pt x="6034" y="12067"/>
                    </a:lnTo>
                    <a:cubicBezTo>
                      <a:pt x="3017" y="12067"/>
                      <a:pt x="0" y="9050"/>
                      <a:pt x="0" y="6034"/>
                    </a:cubicBezTo>
                    <a:cubicBezTo>
                      <a:pt x="0" y="3017"/>
                      <a:pt x="3017" y="0"/>
                      <a:pt x="6034" y="0"/>
                    </a:cubicBezTo>
                    <a:lnTo>
                      <a:pt x="42235" y="0"/>
                    </a:lnTo>
                    <a:cubicBezTo>
                      <a:pt x="45251" y="0"/>
                      <a:pt x="48268" y="3017"/>
                      <a:pt x="48268" y="6034"/>
                    </a:cubicBezTo>
                    <a:cubicBezTo>
                      <a:pt x="48268" y="12067"/>
                      <a:pt x="45251" y="12067"/>
                      <a:pt x="42235" y="1206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5212AC5E-A1C5-46FD-A74D-F8A77A98E189}"/>
                  </a:ext>
                </a:extLst>
              </p:cNvPr>
              <p:cNvSpPr/>
              <p:nvPr/>
            </p:nvSpPr>
            <p:spPr>
              <a:xfrm>
                <a:off x="16545718" y="6200896"/>
                <a:ext cx="48268" cy="12067"/>
              </a:xfrm>
              <a:custGeom>
                <a:avLst/>
                <a:gdLst>
                  <a:gd name="connsiteX0" fmla="*/ 42234 w 48268"/>
                  <a:gd name="connsiteY0" fmla="*/ 12067 h 12067"/>
                  <a:gd name="connsiteX1" fmla="*/ 42234 w 48268"/>
                  <a:gd name="connsiteY1" fmla="*/ 12067 h 12067"/>
                  <a:gd name="connsiteX2" fmla="*/ 6034 w 48268"/>
                  <a:gd name="connsiteY2" fmla="*/ 12067 h 12067"/>
                  <a:gd name="connsiteX3" fmla="*/ 0 w 48268"/>
                  <a:gd name="connsiteY3" fmla="*/ 6034 h 12067"/>
                  <a:gd name="connsiteX4" fmla="*/ 6034 w 48268"/>
                  <a:gd name="connsiteY4" fmla="*/ 0 h 12067"/>
                  <a:gd name="connsiteX5" fmla="*/ 42234 w 48268"/>
                  <a:gd name="connsiteY5" fmla="*/ 0 h 12067"/>
                  <a:gd name="connsiteX6" fmla="*/ 48268 w 48268"/>
                  <a:gd name="connsiteY6" fmla="*/ 6034 h 12067"/>
                  <a:gd name="connsiteX7" fmla="*/ 42234 w 48268"/>
                  <a:gd name="connsiteY7" fmla="*/ 12067 h 12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268" h="12067">
                    <a:moveTo>
                      <a:pt x="42234" y="12067"/>
                    </a:moveTo>
                    <a:cubicBezTo>
                      <a:pt x="42234" y="12067"/>
                      <a:pt x="42234" y="12067"/>
                      <a:pt x="42234" y="12067"/>
                    </a:cubicBezTo>
                    <a:lnTo>
                      <a:pt x="6034" y="12067"/>
                    </a:lnTo>
                    <a:cubicBezTo>
                      <a:pt x="3017" y="12067"/>
                      <a:pt x="0" y="9050"/>
                      <a:pt x="0" y="6034"/>
                    </a:cubicBezTo>
                    <a:cubicBezTo>
                      <a:pt x="0" y="3017"/>
                      <a:pt x="3017" y="0"/>
                      <a:pt x="6034" y="0"/>
                    </a:cubicBezTo>
                    <a:lnTo>
                      <a:pt x="42234" y="0"/>
                    </a:lnTo>
                    <a:cubicBezTo>
                      <a:pt x="45251" y="0"/>
                      <a:pt x="48268" y="3017"/>
                      <a:pt x="48268" y="6034"/>
                    </a:cubicBezTo>
                    <a:cubicBezTo>
                      <a:pt x="48268" y="9050"/>
                      <a:pt x="45251" y="12067"/>
                      <a:pt x="42234" y="1206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8" name="图形 1">
              <a:extLst>
                <a:ext uri="{FF2B5EF4-FFF2-40B4-BE49-F238E27FC236}">
                  <a16:creationId xmlns:a16="http://schemas.microsoft.com/office/drawing/2014/main" id="{223F32DC-2C67-477A-A105-8B6BA0DEA32D}"/>
                </a:ext>
              </a:extLst>
            </p:cNvPr>
            <p:cNvGrpSpPr/>
            <p:nvPr/>
          </p:nvGrpSpPr>
          <p:grpSpPr>
            <a:xfrm>
              <a:off x="15215327" y="6167712"/>
              <a:ext cx="490726" cy="340893"/>
              <a:chOff x="15215327" y="6167712"/>
              <a:chExt cx="490726" cy="340893"/>
            </a:xfrm>
          </p:grpSpPr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855965D1-DB3F-4ED8-8DE4-9CEF4487C75A}"/>
                  </a:ext>
                </a:extLst>
              </p:cNvPr>
              <p:cNvSpPr/>
              <p:nvPr/>
            </p:nvSpPr>
            <p:spPr>
              <a:xfrm>
                <a:off x="15507953" y="6167712"/>
                <a:ext cx="181005" cy="223240"/>
              </a:xfrm>
              <a:custGeom>
                <a:avLst/>
                <a:gdLst>
                  <a:gd name="connsiteX0" fmla="*/ 174972 w 181005"/>
                  <a:gd name="connsiteY0" fmla="*/ 184022 h 223240"/>
                  <a:gd name="connsiteX1" fmla="*/ 181006 w 181005"/>
                  <a:gd name="connsiteY1" fmla="*/ 0 h 223240"/>
                  <a:gd name="connsiteX2" fmla="*/ 0 w 181005"/>
                  <a:gd name="connsiteY2" fmla="*/ 0 h 223240"/>
                  <a:gd name="connsiteX3" fmla="*/ 12067 w 181005"/>
                  <a:gd name="connsiteY3" fmla="*/ 196089 h 223240"/>
                  <a:gd name="connsiteX4" fmla="*/ 162905 w 181005"/>
                  <a:gd name="connsiteY4" fmla="*/ 223240 h 223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005" h="223240">
                    <a:moveTo>
                      <a:pt x="174972" y="184022"/>
                    </a:moveTo>
                    <a:lnTo>
                      <a:pt x="181006" y="0"/>
                    </a:lnTo>
                    <a:lnTo>
                      <a:pt x="0" y="0"/>
                    </a:lnTo>
                    <a:lnTo>
                      <a:pt x="12067" y="196089"/>
                    </a:lnTo>
                    <a:lnTo>
                      <a:pt x="162905" y="223240"/>
                    </a:ln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4191E1AD-646C-455C-A707-0C8D97133C3D}"/>
                  </a:ext>
                </a:extLst>
              </p:cNvPr>
              <p:cNvSpPr/>
              <p:nvPr/>
            </p:nvSpPr>
            <p:spPr>
              <a:xfrm>
                <a:off x="15215327" y="6306482"/>
                <a:ext cx="490726" cy="156871"/>
              </a:xfrm>
              <a:custGeom>
                <a:avLst/>
                <a:gdLst>
                  <a:gd name="connsiteX0" fmla="*/ 482682 w 490726"/>
                  <a:gd name="connsiteY0" fmla="*/ 45251 h 156871"/>
                  <a:gd name="connsiteX1" fmla="*/ 298659 w 490726"/>
                  <a:gd name="connsiteY1" fmla="*/ 0 h 156871"/>
                  <a:gd name="connsiteX2" fmla="*/ 165922 w 490726"/>
                  <a:gd name="connsiteY2" fmla="*/ 78436 h 156871"/>
                  <a:gd name="connsiteX3" fmla="*/ 0 w 490726"/>
                  <a:gd name="connsiteY3" fmla="*/ 156872 h 156871"/>
                  <a:gd name="connsiteX4" fmla="*/ 482682 w 490726"/>
                  <a:gd name="connsiteY4" fmla="*/ 156872 h 156871"/>
                  <a:gd name="connsiteX5" fmla="*/ 482682 w 490726"/>
                  <a:gd name="connsiteY5" fmla="*/ 45251 h 156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0726" h="156871">
                    <a:moveTo>
                      <a:pt x="482682" y="45251"/>
                    </a:moveTo>
                    <a:cubicBezTo>
                      <a:pt x="482682" y="45251"/>
                      <a:pt x="358994" y="63352"/>
                      <a:pt x="298659" y="0"/>
                    </a:cubicBezTo>
                    <a:cubicBezTo>
                      <a:pt x="298659" y="0"/>
                      <a:pt x="211173" y="69386"/>
                      <a:pt x="165922" y="78436"/>
                    </a:cubicBezTo>
                    <a:cubicBezTo>
                      <a:pt x="120670" y="87486"/>
                      <a:pt x="12067" y="84469"/>
                      <a:pt x="0" y="156872"/>
                    </a:cubicBezTo>
                    <a:lnTo>
                      <a:pt x="482682" y="156872"/>
                    </a:lnTo>
                    <a:cubicBezTo>
                      <a:pt x="482682" y="156872"/>
                      <a:pt x="500782" y="96537"/>
                      <a:pt x="482682" y="45251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A12ECB6F-5F8F-47F2-998B-F51AE02598F0}"/>
                  </a:ext>
                </a:extLst>
              </p:cNvPr>
              <p:cNvSpPr/>
              <p:nvPr/>
            </p:nvSpPr>
            <p:spPr>
              <a:xfrm>
                <a:off x="15215327" y="6463354"/>
                <a:ext cx="482681" cy="45251"/>
              </a:xfrm>
              <a:custGeom>
                <a:avLst/>
                <a:gdLst>
                  <a:gd name="connsiteX0" fmla="*/ 0 w 482681"/>
                  <a:gd name="connsiteY0" fmla="*/ 0 h 45251"/>
                  <a:gd name="connsiteX1" fmla="*/ 482681 w 482681"/>
                  <a:gd name="connsiteY1" fmla="*/ 0 h 45251"/>
                  <a:gd name="connsiteX2" fmla="*/ 482681 w 482681"/>
                  <a:gd name="connsiteY2" fmla="*/ 45252 h 45251"/>
                  <a:gd name="connsiteX3" fmla="*/ 0 w 482681"/>
                  <a:gd name="connsiteY3" fmla="*/ 45252 h 45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2681" h="45251">
                    <a:moveTo>
                      <a:pt x="0" y="0"/>
                    </a:moveTo>
                    <a:lnTo>
                      <a:pt x="482681" y="0"/>
                    </a:lnTo>
                    <a:lnTo>
                      <a:pt x="482681" y="45252"/>
                    </a:lnTo>
                    <a:lnTo>
                      <a:pt x="0" y="45252"/>
                    </a:ln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BEDDFA80-6A0E-4CEB-BE9C-ACE9C2F5C840}"/>
                  </a:ext>
                </a:extLst>
              </p:cNvPr>
              <p:cNvSpPr/>
              <p:nvPr/>
            </p:nvSpPr>
            <p:spPr>
              <a:xfrm>
                <a:off x="15505690" y="6298187"/>
                <a:ext cx="198352" cy="62597"/>
              </a:xfrm>
              <a:custGeom>
                <a:avLst/>
                <a:gdLst>
                  <a:gd name="connsiteX0" fmla="*/ 156118 w 198352"/>
                  <a:gd name="connsiteY0" fmla="*/ 62598 h 62597"/>
                  <a:gd name="connsiteX1" fmla="*/ 2263 w 198352"/>
                  <a:gd name="connsiteY1" fmla="*/ 11313 h 62597"/>
                  <a:gd name="connsiteX2" fmla="*/ 2263 w 198352"/>
                  <a:gd name="connsiteY2" fmla="*/ 2262 h 62597"/>
                  <a:gd name="connsiteX3" fmla="*/ 11313 w 198352"/>
                  <a:gd name="connsiteY3" fmla="*/ 2262 h 62597"/>
                  <a:gd name="connsiteX4" fmla="*/ 192318 w 198352"/>
                  <a:gd name="connsiteY4" fmla="*/ 47514 h 62597"/>
                  <a:gd name="connsiteX5" fmla="*/ 198352 w 198352"/>
                  <a:gd name="connsiteY5" fmla="*/ 53547 h 62597"/>
                  <a:gd name="connsiteX6" fmla="*/ 192318 w 198352"/>
                  <a:gd name="connsiteY6" fmla="*/ 59581 h 62597"/>
                  <a:gd name="connsiteX7" fmla="*/ 156118 w 198352"/>
                  <a:gd name="connsiteY7" fmla="*/ 62598 h 62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8352" h="62597">
                    <a:moveTo>
                      <a:pt x="156118" y="62598"/>
                    </a:moveTo>
                    <a:cubicBezTo>
                      <a:pt x="116899" y="62598"/>
                      <a:pt x="50531" y="56564"/>
                      <a:pt x="2263" y="11313"/>
                    </a:cubicBezTo>
                    <a:cubicBezTo>
                      <a:pt x="-754" y="8296"/>
                      <a:pt x="-754" y="5279"/>
                      <a:pt x="2263" y="2262"/>
                    </a:cubicBezTo>
                    <a:cubicBezTo>
                      <a:pt x="5280" y="-754"/>
                      <a:pt x="8296" y="-754"/>
                      <a:pt x="11313" y="2262"/>
                    </a:cubicBezTo>
                    <a:cubicBezTo>
                      <a:pt x="77682" y="62598"/>
                      <a:pt x="189301" y="47514"/>
                      <a:pt x="192318" y="47514"/>
                    </a:cubicBezTo>
                    <a:cubicBezTo>
                      <a:pt x="195335" y="47514"/>
                      <a:pt x="198352" y="50531"/>
                      <a:pt x="198352" y="53547"/>
                    </a:cubicBezTo>
                    <a:cubicBezTo>
                      <a:pt x="198352" y="56564"/>
                      <a:pt x="195335" y="59581"/>
                      <a:pt x="192318" y="59581"/>
                    </a:cubicBezTo>
                    <a:cubicBezTo>
                      <a:pt x="189301" y="59581"/>
                      <a:pt x="177234" y="62598"/>
                      <a:pt x="156118" y="6259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20B14390-49D7-4CDC-A1C2-8863492EB119}"/>
                  </a:ext>
                </a:extLst>
              </p:cNvPr>
              <p:cNvSpPr/>
              <p:nvPr/>
            </p:nvSpPr>
            <p:spPr>
              <a:xfrm>
                <a:off x="15469488" y="6322320"/>
                <a:ext cx="40726" cy="41480"/>
              </a:xfrm>
              <a:custGeom>
                <a:avLst/>
                <a:gdLst>
                  <a:gd name="connsiteX0" fmla="*/ 32430 w 40726"/>
                  <a:gd name="connsiteY0" fmla="*/ 41481 h 41480"/>
                  <a:gd name="connsiteX1" fmla="*/ 29413 w 40726"/>
                  <a:gd name="connsiteY1" fmla="*/ 38464 h 41480"/>
                  <a:gd name="connsiteX2" fmla="*/ 2263 w 40726"/>
                  <a:gd name="connsiteY2" fmla="*/ 11313 h 41480"/>
                  <a:gd name="connsiteX3" fmla="*/ 2263 w 40726"/>
                  <a:gd name="connsiteY3" fmla="*/ 2263 h 41480"/>
                  <a:gd name="connsiteX4" fmla="*/ 11314 w 40726"/>
                  <a:gd name="connsiteY4" fmla="*/ 2263 h 41480"/>
                  <a:gd name="connsiteX5" fmla="*/ 38464 w 40726"/>
                  <a:gd name="connsiteY5" fmla="*/ 29413 h 41480"/>
                  <a:gd name="connsiteX6" fmla="*/ 38464 w 40726"/>
                  <a:gd name="connsiteY6" fmla="*/ 38464 h 41480"/>
                  <a:gd name="connsiteX7" fmla="*/ 32430 w 40726"/>
                  <a:gd name="connsiteY7" fmla="*/ 41481 h 4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726" h="41480">
                    <a:moveTo>
                      <a:pt x="32430" y="41481"/>
                    </a:moveTo>
                    <a:cubicBezTo>
                      <a:pt x="32430" y="41481"/>
                      <a:pt x="29413" y="41481"/>
                      <a:pt x="29413" y="38464"/>
                    </a:cubicBezTo>
                    <a:lnTo>
                      <a:pt x="2263" y="11313"/>
                    </a:lnTo>
                    <a:cubicBezTo>
                      <a:pt x="-754" y="8296"/>
                      <a:pt x="-754" y="5280"/>
                      <a:pt x="2263" y="2263"/>
                    </a:cubicBezTo>
                    <a:cubicBezTo>
                      <a:pt x="5280" y="-754"/>
                      <a:pt x="8297" y="-754"/>
                      <a:pt x="11314" y="2263"/>
                    </a:cubicBezTo>
                    <a:lnTo>
                      <a:pt x="38464" y="29413"/>
                    </a:lnTo>
                    <a:cubicBezTo>
                      <a:pt x="41481" y="32430"/>
                      <a:pt x="41481" y="35447"/>
                      <a:pt x="38464" y="38464"/>
                    </a:cubicBezTo>
                    <a:cubicBezTo>
                      <a:pt x="35447" y="41481"/>
                      <a:pt x="35447" y="41481"/>
                      <a:pt x="32430" y="4148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D6628941-9C33-4905-B5A1-5D8982E8388F}"/>
                  </a:ext>
                </a:extLst>
              </p:cNvPr>
              <p:cNvSpPr/>
              <p:nvPr/>
            </p:nvSpPr>
            <p:spPr>
              <a:xfrm>
                <a:off x="15436305" y="6349471"/>
                <a:ext cx="37709" cy="41480"/>
              </a:xfrm>
              <a:custGeom>
                <a:avLst/>
                <a:gdLst>
                  <a:gd name="connsiteX0" fmla="*/ 29414 w 37709"/>
                  <a:gd name="connsiteY0" fmla="*/ 41480 h 41480"/>
                  <a:gd name="connsiteX1" fmla="*/ 26397 w 37709"/>
                  <a:gd name="connsiteY1" fmla="*/ 38464 h 41480"/>
                  <a:gd name="connsiteX2" fmla="*/ 2262 w 37709"/>
                  <a:gd name="connsiteY2" fmla="*/ 11313 h 41480"/>
                  <a:gd name="connsiteX3" fmla="*/ 2262 w 37709"/>
                  <a:gd name="connsiteY3" fmla="*/ 2262 h 41480"/>
                  <a:gd name="connsiteX4" fmla="*/ 11313 w 37709"/>
                  <a:gd name="connsiteY4" fmla="*/ 2262 h 41480"/>
                  <a:gd name="connsiteX5" fmla="*/ 35447 w 37709"/>
                  <a:gd name="connsiteY5" fmla="*/ 29413 h 41480"/>
                  <a:gd name="connsiteX6" fmla="*/ 35447 w 37709"/>
                  <a:gd name="connsiteY6" fmla="*/ 38464 h 41480"/>
                  <a:gd name="connsiteX7" fmla="*/ 29414 w 37709"/>
                  <a:gd name="connsiteY7" fmla="*/ 41480 h 4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709" h="41480">
                    <a:moveTo>
                      <a:pt x="29414" y="41480"/>
                    </a:moveTo>
                    <a:cubicBezTo>
                      <a:pt x="29414" y="41480"/>
                      <a:pt x="26397" y="41480"/>
                      <a:pt x="26397" y="38464"/>
                    </a:cubicBezTo>
                    <a:lnTo>
                      <a:pt x="2262" y="11313"/>
                    </a:lnTo>
                    <a:cubicBezTo>
                      <a:pt x="-754" y="8296"/>
                      <a:pt x="-754" y="5279"/>
                      <a:pt x="2262" y="2262"/>
                    </a:cubicBezTo>
                    <a:cubicBezTo>
                      <a:pt x="5279" y="-754"/>
                      <a:pt x="8296" y="-754"/>
                      <a:pt x="11313" y="2262"/>
                    </a:cubicBezTo>
                    <a:lnTo>
                      <a:pt x="35447" y="29413"/>
                    </a:lnTo>
                    <a:cubicBezTo>
                      <a:pt x="38464" y="32430"/>
                      <a:pt x="38464" y="35447"/>
                      <a:pt x="35447" y="38464"/>
                    </a:cubicBezTo>
                    <a:cubicBezTo>
                      <a:pt x="32430" y="41480"/>
                      <a:pt x="29414" y="41480"/>
                      <a:pt x="29414" y="4148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F71FE636-4ADE-463C-85FF-4F7A1FD5B89C}"/>
                </a:ext>
              </a:extLst>
            </p:cNvPr>
            <p:cNvSpPr/>
            <p:nvPr/>
          </p:nvSpPr>
          <p:spPr>
            <a:xfrm>
              <a:off x="15364318" y="3977544"/>
              <a:ext cx="1371455" cy="2271620"/>
            </a:xfrm>
            <a:custGeom>
              <a:avLst/>
              <a:gdLst>
                <a:gd name="connsiteX0" fmla="*/ 7881 w 1371455"/>
                <a:gd name="connsiteY0" fmla="*/ 21117 h 2271620"/>
                <a:gd name="connsiteX1" fmla="*/ 19948 w 1371455"/>
                <a:gd name="connsiteY1" fmla="*/ 1390727 h 2271620"/>
                <a:gd name="connsiteX2" fmla="*/ 89333 w 1371455"/>
                <a:gd name="connsiteY2" fmla="*/ 2271620 h 2271620"/>
                <a:gd name="connsiteX3" fmla="*/ 381959 w 1371455"/>
                <a:gd name="connsiteY3" fmla="*/ 2271620 h 2271620"/>
                <a:gd name="connsiteX4" fmla="*/ 418160 w 1371455"/>
                <a:gd name="connsiteY4" fmla="*/ 1414860 h 2271620"/>
                <a:gd name="connsiteX5" fmla="*/ 499612 w 1371455"/>
                <a:gd name="connsiteY5" fmla="*/ 497765 h 2271620"/>
                <a:gd name="connsiteX6" fmla="*/ 538831 w 1371455"/>
                <a:gd name="connsiteY6" fmla="*/ 1396760 h 2271620"/>
                <a:gd name="connsiteX7" fmla="*/ 575031 w 1371455"/>
                <a:gd name="connsiteY7" fmla="*/ 1493296 h 2271620"/>
                <a:gd name="connsiteX8" fmla="*/ 1087880 w 1371455"/>
                <a:gd name="connsiteY8" fmla="*/ 2156983 h 2271620"/>
                <a:gd name="connsiteX9" fmla="*/ 1371456 w 1371455"/>
                <a:gd name="connsiteY9" fmla="*/ 1918659 h 2271620"/>
                <a:gd name="connsiteX10" fmla="*/ 940059 w 1371455"/>
                <a:gd name="connsiteY10" fmla="*/ 1327374 h 2271620"/>
                <a:gd name="connsiteX11" fmla="*/ 1018495 w 1371455"/>
                <a:gd name="connsiteY11" fmla="*/ 0 h 2271620"/>
                <a:gd name="connsiteX12" fmla="*/ 7881 w 1371455"/>
                <a:gd name="connsiteY12" fmla="*/ 21117 h 227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455" h="2271620">
                  <a:moveTo>
                    <a:pt x="7881" y="21117"/>
                  </a:moveTo>
                  <a:cubicBezTo>
                    <a:pt x="7881" y="21117"/>
                    <a:pt x="-16254" y="1083017"/>
                    <a:pt x="19948" y="1390727"/>
                  </a:cubicBezTo>
                  <a:cubicBezTo>
                    <a:pt x="50115" y="1659218"/>
                    <a:pt x="89333" y="2271620"/>
                    <a:pt x="89333" y="2271620"/>
                  </a:cubicBezTo>
                  <a:lnTo>
                    <a:pt x="381959" y="2271620"/>
                  </a:lnTo>
                  <a:cubicBezTo>
                    <a:pt x="381959" y="2271620"/>
                    <a:pt x="415143" y="1511397"/>
                    <a:pt x="418160" y="1414860"/>
                  </a:cubicBezTo>
                  <a:cubicBezTo>
                    <a:pt x="424193" y="1276090"/>
                    <a:pt x="484528" y="527933"/>
                    <a:pt x="499612" y="497765"/>
                  </a:cubicBezTo>
                  <a:cubicBezTo>
                    <a:pt x="511679" y="473631"/>
                    <a:pt x="532797" y="1191620"/>
                    <a:pt x="538831" y="1396760"/>
                  </a:cubicBezTo>
                  <a:cubicBezTo>
                    <a:pt x="538831" y="1432961"/>
                    <a:pt x="550898" y="1466145"/>
                    <a:pt x="575031" y="1493296"/>
                  </a:cubicBezTo>
                  <a:lnTo>
                    <a:pt x="1087880" y="2156983"/>
                  </a:lnTo>
                  <a:lnTo>
                    <a:pt x="1371456" y="1918659"/>
                  </a:lnTo>
                  <a:lnTo>
                    <a:pt x="940059" y="1327374"/>
                  </a:lnTo>
                  <a:cubicBezTo>
                    <a:pt x="940059" y="1327374"/>
                    <a:pt x="1060730" y="96536"/>
                    <a:pt x="1018495" y="0"/>
                  </a:cubicBezTo>
                  <a:cubicBezTo>
                    <a:pt x="327658" y="33185"/>
                    <a:pt x="7881" y="21117"/>
                    <a:pt x="7881" y="21117"/>
                  </a:cubicBezTo>
                  <a:close/>
                </a:path>
              </a:pathLst>
            </a:custGeom>
            <a:solidFill>
              <a:srgbClr val="F1DDBA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BAEF92C3-E806-41AB-87DC-361F7DE76B3E}"/>
                </a:ext>
              </a:extLst>
            </p:cNvPr>
            <p:cNvSpPr/>
            <p:nvPr/>
          </p:nvSpPr>
          <p:spPr>
            <a:xfrm>
              <a:off x="15800578" y="4122349"/>
              <a:ext cx="69386" cy="358994"/>
            </a:xfrm>
            <a:custGeom>
              <a:avLst/>
              <a:gdLst>
                <a:gd name="connsiteX0" fmla="*/ 63352 w 69386"/>
                <a:gd name="connsiteY0" fmla="*/ 358994 h 358994"/>
                <a:gd name="connsiteX1" fmla="*/ 57319 w 69386"/>
                <a:gd name="connsiteY1" fmla="*/ 355978 h 358994"/>
                <a:gd name="connsiteX2" fmla="*/ 0 w 69386"/>
                <a:gd name="connsiteY2" fmla="*/ 6033 h 358994"/>
                <a:gd name="connsiteX3" fmla="*/ 6034 w 69386"/>
                <a:gd name="connsiteY3" fmla="*/ 0 h 358994"/>
                <a:gd name="connsiteX4" fmla="*/ 12068 w 69386"/>
                <a:gd name="connsiteY4" fmla="*/ 6033 h 358994"/>
                <a:gd name="connsiteX5" fmla="*/ 69386 w 69386"/>
                <a:gd name="connsiteY5" fmla="*/ 352961 h 358994"/>
                <a:gd name="connsiteX6" fmla="*/ 63352 w 69386"/>
                <a:gd name="connsiteY6" fmla="*/ 358994 h 358994"/>
                <a:gd name="connsiteX7" fmla="*/ 63352 w 69386"/>
                <a:gd name="connsiteY7" fmla="*/ 358994 h 35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386" h="358994">
                  <a:moveTo>
                    <a:pt x="63352" y="358994"/>
                  </a:moveTo>
                  <a:cubicBezTo>
                    <a:pt x="60335" y="358994"/>
                    <a:pt x="60335" y="358994"/>
                    <a:pt x="57319" y="355978"/>
                  </a:cubicBezTo>
                  <a:cubicBezTo>
                    <a:pt x="9051" y="241341"/>
                    <a:pt x="0" y="15084"/>
                    <a:pt x="0" y="6033"/>
                  </a:cubicBezTo>
                  <a:cubicBezTo>
                    <a:pt x="0" y="3017"/>
                    <a:pt x="3017" y="0"/>
                    <a:pt x="6034" y="0"/>
                  </a:cubicBezTo>
                  <a:cubicBezTo>
                    <a:pt x="9051" y="0"/>
                    <a:pt x="12068" y="3017"/>
                    <a:pt x="12068" y="6033"/>
                  </a:cubicBezTo>
                  <a:cubicBezTo>
                    <a:pt x="12068" y="9050"/>
                    <a:pt x="21118" y="241341"/>
                    <a:pt x="69386" y="352961"/>
                  </a:cubicBezTo>
                  <a:cubicBezTo>
                    <a:pt x="69386" y="355978"/>
                    <a:pt x="66369" y="358994"/>
                    <a:pt x="63352" y="358994"/>
                  </a:cubicBezTo>
                  <a:cubicBezTo>
                    <a:pt x="63352" y="358994"/>
                    <a:pt x="63352" y="358994"/>
                    <a:pt x="63352" y="358994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B55E0E16-C398-4353-9C11-2939E74212BD}"/>
                </a:ext>
              </a:extLst>
            </p:cNvPr>
            <p:cNvSpPr/>
            <p:nvPr/>
          </p:nvSpPr>
          <p:spPr>
            <a:xfrm>
              <a:off x="15688958" y="4052963"/>
              <a:ext cx="153854" cy="349944"/>
            </a:xfrm>
            <a:custGeom>
              <a:avLst/>
              <a:gdLst>
                <a:gd name="connsiteX0" fmla="*/ 144804 w 153854"/>
                <a:gd name="connsiteY0" fmla="*/ 349944 h 349944"/>
                <a:gd name="connsiteX1" fmla="*/ 141787 w 153854"/>
                <a:gd name="connsiteY1" fmla="*/ 349944 h 349944"/>
                <a:gd name="connsiteX2" fmla="*/ 33185 w 153854"/>
                <a:gd name="connsiteY2" fmla="*/ 271508 h 349944"/>
                <a:gd name="connsiteX3" fmla="*/ 0 w 153854"/>
                <a:gd name="connsiteY3" fmla="*/ 6034 h 349944"/>
                <a:gd name="connsiteX4" fmla="*/ 6033 w 153854"/>
                <a:gd name="connsiteY4" fmla="*/ 0 h 349944"/>
                <a:gd name="connsiteX5" fmla="*/ 12067 w 153854"/>
                <a:gd name="connsiteY5" fmla="*/ 6034 h 349944"/>
                <a:gd name="connsiteX6" fmla="*/ 45251 w 153854"/>
                <a:gd name="connsiteY6" fmla="*/ 265475 h 349944"/>
                <a:gd name="connsiteX7" fmla="*/ 150838 w 153854"/>
                <a:gd name="connsiteY7" fmla="*/ 340894 h 349944"/>
                <a:gd name="connsiteX8" fmla="*/ 153855 w 153854"/>
                <a:gd name="connsiteY8" fmla="*/ 349944 h 349944"/>
                <a:gd name="connsiteX9" fmla="*/ 144804 w 153854"/>
                <a:gd name="connsiteY9" fmla="*/ 349944 h 349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3854" h="349944">
                  <a:moveTo>
                    <a:pt x="144804" y="349944"/>
                  </a:moveTo>
                  <a:cubicBezTo>
                    <a:pt x="144804" y="349944"/>
                    <a:pt x="141787" y="349944"/>
                    <a:pt x="141787" y="349944"/>
                  </a:cubicBezTo>
                  <a:cubicBezTo>
                    <a:pt x="132737" y="343911"/>
                    <a:pt x="45251" y="286592"/>
                    <a:pt x="33185" y="271508"/>
                  </a:cubicBezTo>
                  <a:cubicBezTo>
                    <a:pt x="21117" y="256425"/>
                    <a:pt x="3017" y="48268"/>
                    <a:pt x="0" y="6034"/>
                  </a:cubicBezTo>
                  <a:cubicBezTo>
                    <a:pt x="0" y="3017"/>
                    <a:pt x="3017" y="0"/>
                    <a:pt x="6033" y="0"/>
                  </a:cubicBezTo>
                  <a:cubicBezTo>
                    <a:pt x="9050" y="0"/>
                    <a:pt x="12067" y="3017"/>
                    <a:pt x="12067" y="6034"/>
                  </a:cubicBezTo>
                  <a:cubicBezTo>
                    <a:pt x="21117" y="99553"/>
                    <a:pt x="36201" y="253408"/>
                    <a:pt x="45251" y="265475"/>
                  </a:cubicBezTo>
                  <a:cubicBezTo>
                    <a:pt x="54301" y="274525"/>
                    <a:pt x="111620" y="316760"/>
                    <a:pt x="150838" y="340894"/>
                  </a:cubicBezTo>
                  <a:cubicBezTo>
                    <a:pt x="153855" y="343911"/>
                    <a:pt x="153855" y="346927"/>
                    <a:pt x="153855" y="349944"/>
                  </a:cubicBezTo>
                  <a:cubicBezTo>
                    <a:pt x="147821" y="349944"/>
                    <a:pt x="147821" y="349944"/>
                    <a:pt x="144804" y="349944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54298F58-DA64-422F-AD3D-9F8E67B49C01}"/>
                </a:ext>
              </a:extLst>
            </p:cNvPr>
            <p:cNvSpPr/>
            <p:nvPr/>
          </p:nvSpPr>
          <p:spPr>
            <a:xfrm>
              <a:off x="16177673" y="5304918"/>
              <a:ext cx="129721" cy="33184"/>
            </a:xfrm>
            <a:custGeom>
              <a:avLst/>
              <a:gdLst>
                <a:gd name="connsiteX0" fmla="*/ 6034 w 129721"/>
                <a:gd name="connsiteY0" fmla="*/ 33185 h 33184"/>
                <a:gd name="connsiteX1" fmla="*/ 0 w 129721"/>
                <a:gd name="connsiteY1" fmla="*/ 30168 h 33184"/>
                <a:gd name="connsiteX2" fmla="*/ 3017 w 129721"/>
                <a:gd name="connsiteY2" fmla="*/ 24134 h 33184"/>
                <a:gd name="connsiteX3" fmla="*/ 123687 w 129721"/>
                <a:gd name="connsiteY3" fmla="*/ 0 h 33184"/>
                <a:gd name="connsiteX4" fmla="*/ 129721 w 129721"/>
                <a:gd name="connsiteY4" fmla="*/ 3017 h 33184"/>
                <a:gd name="connsiteX5" fmla="*/ 126704 w 129721"/>
                <a:gd name="connsiteY5" fmla="*/ 9050 h 33184"/>
                <a:gd name="connsiteX6" fmla="*/ 6034 w 129721"/>
                <a:gd name="connsiteY6" fmla="*/ 33185 h 33184"/>
                <a:gd name="connsiteX7" fmla="*/ 6034 w 129721"/>
                <a:gd name="connsiteY7" fmla="*/ 33185 h 33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721" h="33184">
                  <a:moveTo>
                    <a:pt x="6034" y="33185"/>
                  </a:moveTo>
                  <a:cubicBezTo>
                    <a:pt x="3017" y="33185"/>
                    <a:pt x="0" y="30168"/>
                    <a:pt x="0" y="30168"/>
                  </a:cubicBezTo>
                  <a:cubicBezTo>
                    <a:pt x="0" y="27151"/>
                    <a:pt x="0" y="24134"/>
                    <a:pt x="3017" y="24134"/>
                  </a:cubicBezTo>
                  <a:lnTo>
                    <a:pt x="123687" y="0"/>
                  </a:lnTo>
                  <a:cubicBezTo>
                    <a:pt x="126704" y="0"/>
                    <a:pt x="129721" y="0"/>
                    <a:pt x="129721" y="3017"/>
                  </a:cubicBezTo>
                  <a:cubicBezTo>
                    <a:pt x="129721" y="6034"/>
                    <a:pt x="129721" y="9050"/>
                    <a:pt x="126704" y="9050"/>
                  </a:cubicBezTo>
                  <a:lnTo>
                    <a:pt x="6034" y="33185"/>
                  </a:lnTo>
                  <a:cubicBezTo>
                    <a:pt x="6034" y="33185"/>
                    <a:pt x="6034" y="33185"/>
                    <a:pt x="6034" y="33185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EA431E70-A6ED-40DF-B403-D96F823A2242}"/>
                </a:ext>
              </a:extLst>
            </p:cNvPr>
            <p:cNvGrpSpPr/>
            <p:nvPr/>
          </p:nvGrpSpPr>
          <p:grpSpPr>
            <a:xfrm>
              <a:off x="13182031" y="6143578"/>
              <a:ext cx="362011" cy="425363"/>
              <a:chOff x="13182031" y="6143578"/>
              <a:chExt cx="362011" cy="425363"/>
            </a:xfrm>
          </p:grpSpPr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55604C2D-D6EB-42FD-A17D-1A05C4653856}"/>
                  </a:ext>
                </a:extLst>
              </p:cNvPr>
              <p:cNvSpPr/>
              <p:nvPr/>
            </p:nvSpPr>
            <p:spPr>
              <a:xfrm>
                <a:off x="13182031" y="6143578"/>
                <a:ext cx="316759" cy="425363"/>
              </a:xfrm>
              <a:custGeom>
                <a:avLst/>
                <a:gdLst>
                  <a:gd name="connsiteX0" fmla="*/ 159888 w 316759"/>
                  <a:gd name="connsiteY0" fmla="*/ 211173 h 425363"/>
                  <a:gd name="connsiteX1" fmla="*/ 316760 w 316759"/>
                  <a:gd name="connsiteY1" fmla="*/ 205140 h 425363"/>
                  <a:gd name="connsiteX2" fmla="*/ 156872 w 316759"/>
                  <a:gd name="connsiteY2" fmla="*/ 0 h 425363"/>
                  <a:gd name="connsiteX3" fmla="*/ 0 w 316759"/>
                  <a:gd name="connsiteY3" fmla="*/ 214190 h 425363"/>
                  <a:gd name="connsiteX4" fmla="*/ 159888 w 316759"/>
                  <a:gd name="connsiteY4" fmla="*/ 425363 h 425363"/>
                  <a:gd name="connsiteX5" fmla="*/ 316760 w 316759"/>
                  <a:gd name="connsiteY5" fmla="*/ 211173 h 425363"/>
                  <a:gd name="connsiteX6" fmla="*/ 159888 w 316759"/>
                  <a:gd name="connsiteY6" fmla="*/ 211173 h 425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6759" h="425363">
                    <a:moveTo>
                      <a:pt x="159888" y="211173"/>
                    </a:moveTo>
                    <a:lnTo>
                      <a:pt x="316760" y="205140"/>
                    </a:lnTo>
                    <a:cubicBezTo>
                      <a:pt x="313743" y="90503"/>
                      <a:pt x="244358" y="0"/>
                      <a:pt x="156872" y="0"/>
                    </a:cubicBezTo>
                    <a:cubicBezTo>
                      <a:pt x="69385" y="0"/>
                      <a:pt x="0" y="96536"/>
                      <a:pt x="0" y="214190"/>
                    </a:cubicBezTo>
                    <a:cubicBezTo>
                      <a:pt x="0" y="331844"/>
                      <a:pt x="72402" y="425363"/>
                      <a:pt x="159888" y="425363"/>
                    </a:cubicBezTo>
                    <a:cubicBezTo>
                      <a:pt x="247375" y="425363"/>
                      <a:pt x="316760" y="328827"/>
                      <a:pt x="316760" y="211173"/>
                    </a:cubicBezTo>
                    <a:lnTo>
                      <a:pt x="159888" y="211173"/>
                    </a:ln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26D333D9-AC6B-4833-803B-59626613AB97}"/>
                  </a:ext>
                </a:extLst>
              </p:cNvPr>
              <p:cNvSpPr/>
              <p:nvPr/>
            </p:nvSpPr>
            <p:spPr>
              <a:xfrm>
                <a:off x="13341919" y="6143578"/>
                <a:ext cx="42235" cy="422346"/>
              </a:xfrm>
              <a:custGeom>
                <a:avLst/>
                <a:gdLst>
                  <a:gd name="connsiteX0" fmla="*/ 42235 w 42235"/>
                  <a:gd name="connsiteY0" fmla="*/ 422346 h 422346"/>
                  <a:gd name="connsiteX1" fmla="*/ 0 w 42235"/>
                  <a:gd name="connsiteY1" fmla="*/ 422346 h 422346"/>
                  <a:gd name="connsiteX2" fmla="*/ 0 w 42235"/>
                  <a:gd name="connsiteY2" fmla="*/ 0 h 422346"/>
                  <a:gd name="connsiteX3" fmla="*/ 42235 w 42235"/>
                  <a:gd name="connsiteY3" fmla="*/ 0 h 42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35" h="422346">
                    <a:moveTo>
                      <a:pt x="42235" y="422346"/>
                    </a:moveTo>
                    <a:lnTo>
                      <a:pt x="0" y="422346"/>
                    </a:lnTo>
                    <a:lnTo>
                      <a:pt x="0" y="0"/>
                    </a:lnTo>
                    <a:lnTo>
                      <a:pt x="42235" y="0"/>
                    </a:lnTo>
                    <a:close/>
                  </a:path>
                </a:pathLst>
              </a:custGeom>
              <a:solidFill>
                <a:srgbClr val="443E6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758CDEC4-4FBD-40C4-BF0D-21502C81D33A}"/>
                  </a:ext>
                </a:extLst>
              </p:cNvPr>
              <p:cNvSpPr/>
              <p:nvPr/>
            </p:nvSpPr>
            <p:spPr>
              <a:xfrm>
                <a:off x="13227282" y="6143578"/>
                <a:ext cx="316759" cy="425363"/>
              </a:xfrm>
              <a:custGeom>
                <a:avLst/>
                <a:gdLst>
                  <a:gd name="connsiteX0" fmla="*/ 316760 w 316759"/>
                  <a:gd name="connsiteY0" fmla="*/ 211173 h 425363"/>
                  <a:gd name="connsiteX1" fmla="*/ 156872 w 316759"/>
                  <a:gd name="connsiteY1" fmla="*/ 0 h 425363"/>
                  <a:gd name="connsiteX2" fmla="*/ 0 w 316759"/>
                  <a:gd name="connsiteY2" fmla="*/ 214190 h 425363"/>
                  <a:gd name="connsiteX3" fmla="*/ 159888 w 316759"/>
                  <a:gd name="connsiteY3" fmla="*/ 425363 h 425363"/>
                  <a:gd name="connsiteX4" fmla="*/ 316760 w 316759"/>
                  <a:gd name="connsiteY4" fmla="*/ 211173 h 425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6759" h="425363">
                    <a:moveTo>
                      <a:pt x="316760" y="211173"/>
                    </a:moveTo>
                    <a:cubicBezTo>
                      <a:pt x="316760" y="93520"/>
                      <a:pt x="244358" y="0"/>
                      <a:pt x="156872" y="0"/>
                    </a:cubicBezTo>
                    <a:cubicBezTo>
                      <a:pt x="69385" y="0"/>
                      <a:pt x="0" y="96536"/>
                      <a:pt x="0" y="214190"/>
                    </a:cubicBezTo>
                    <a:cubicBezTo>
                      <a:pt x="0" y="331844"/>
                      <a:pt x="72402" y="425363"/>
                      <a:pt x="159888" y="425363"/>
                    </a:cubicBezTo>
                    <a:cubicBezTo>
                      <a:pt x="244358" y="422346"/>
                      <a:pt x="316760" y="328827"/>
                      <a:pt x="316760" y="211173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3EF6BC66-2FE3-48C5-8F77-5578F02214A4}"/>
                  </a:ext>
                </a:extLst>
              </p:cNvPr>
              <p:cNvSpPr/>
              <p:nvPr/>
            </p:nvSpPr>
            <p:spPr>
              <a:xfrm>
                <a:off x="13278567" y="6206930"/>
                <a:ext cx="217206" cy="295642"/>
              </a:xfrm>
              <a:custGeom>
                <a:avLst/>
                <a:gdLst>
                  <a:gd name="connsiteX0" fmla="*/ 217206 w 217206"/>
                  <a:gd name="connsiteY0" fmla="*/ 147821 h 295642"/>
                  <a:gd name="connsiteX1" fmla="*/ 108603 w 217206"/>
                  <a:gd name="connsiteY1" fmla="*/ 0 h 295642"/>
                  <a:gd name="connsiteX2" fmla="*/ 0 w 217206"/>
                  <a:gd name="connsiteY2" fmla="*/ 147821 h 295642"/>
                  <a:gd name="connsiteX3" fmla="*/ 108603 w 217206"/>
                  <a:gd name="connsiteY3" fmla="*/ 295642 h 295642"/>
                  <a:gd name="connsiteX4" fmla="*/ 217206 w 217206"/>
                  <a:gd name="connsiteY4" fmla="*/ 147821 h 295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7206" h="295642">
                    <a:moveTo>
                      <a:pt x="217206" y="147821"/>
                    </a:moveTo>
                    <a:cubicBezTo>
                      <a:pt x="217206" y="66369"/>
                      <a:pt x="168938" y="0"/>
                      <a:pt x="108603" y="0"/>
                    </a:cubicBezTo>
                    <a:cubicBezTo>
                      <a:pt x="48267" y="0"/>
                      <a:pt x="0" y="66369"/>
                      <a:pt x="0" y="147821"/>
                    </a:cubicBezTo>
                    <a:cubicBezTo>
                      <a:pt x="0" y="229273"/>
                      <a:pt x="48267" y="295642"/>
                      <a:pt x="108603" y="295642"/>
                    </a:cubicBezTo>
                    <a:cubicBezTo>
                      <a:pt x="165922" y="295642"/>
                      <a:pt x="217206" y="229273"/>
                      <a:pt x="217206" y="147821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4" name="图形 1">
              <a:extLst>
                <a:ext uri="{FF2B5EF4-FFF2-40B4-BE49-F238E27FC236}">
                  <a16:creationId xmlns:a16="http://schemas.microsoft.com/office/drawing/2014/main" id="{9CA8C9FF-0F59-46FF-85FD-C152CFCDF394}"/>
                </a:ext>
              </a:extLst>
            </p:cNvPr>
            <p:cNvGrpSpPr/>
            <p:nvPr/>
          </p:nvGrpSpPr>
          <p:grpSpPr>
            <a:xfrm>
              <a:off x="13317785" y="3986594"/>
              <a:ext cx="1991061" cy="2229385"/>
              <a:chOff x="13317785" y="3986594"/>
              <a:chExt cx="1991061" cy="2229385"/>
            </a:xfrm>
            <a:solidFill>
              <a:srgbClr val="6C5D68"/>
            </a:solidFill>
          </p:grpSpPr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46ABFC74-E7BE-47AB-B9A7-B75E7575720E}"/>
                  </a:ext>
                </a:extLst>
              </p:cNvPr>
              <p:cNvSpPr/>
              <p:nvPr/>
            </p:nvSpPr>
            <p:spPr>
              <a:xfrm>
                <a:off x="14684377" y="3986594"/>
                <a:ext cx="624469" cy="2229385"/>
              </a:xfrm>
              <a:custGeom>
                <a:avLst/>
                <a:gdLst>
                  <a:gd name="connsiteX0" fmla="*/ 527933 w 624469"/>
                  <a:gd name="connsiteY0" fmla="*/ 0 h 2229385"/>
                  <a:gd name="connsiteX1" fmla="*/ 624470 w 624469"/>
                  <a:gd name="connsiteY1" fmla="*/ 0 h 2229385"/>
                  <a:gd name="connsiteX2" fmla="*/ 93520 w 624469"/>
                  <a:gd name="connsiteY2" fmla="*/ 898995 h 2229385"/>
                  <a:gd name="connsiteX3" fmla="*/ 93520 w 624469"/>
                  <a:gd name="connsiteY3" fmla="*/ 2229385 h 2229385"/>
                  <a:gd name="connsiteX4" fmla="*/ 0 w 624469"/>
                  <a:gd name="connsiteY4" fmla="*/ 2229385 h 2229385"/>
                  <a:gd name="connsiteX5" fmla="*/ 0 w 624469"/>
                  <a:gd name="connsiteY5" fmla="*/ 898995 h 222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24469" h="2229385">
                    <a:moveTo>
                      <a:pt x="527933" y="0"/>
                    </a:moveTo>
                    <a:lnTo>
                      <a:pt x="624470" y="0"/>
                    </a:lnTo>
                    <a:lnTo>
                      <a:pt x="93520" y="898995"/>
                    </a:lnTo>
                    <a:lnTo>
                      <a:pt x="93520" y="2229385"/>
                    </a:lnTo>
                    <a:lnTo>
                      <a:pt x="0" y="2229385"/>
                    </a:lnTo>
                    <a:lnTo>
                      <a:pt x="0" y="898995"/>
                    </a:ln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C50E6FD9-9AA2-41E0-9FCF-3AB5B4483155}"/>
                  </a:ext>
                </a:extLst>
              </p:cNvPr>
              <p:cNvSpPr/>
              <p:nvPr/>
            </p:nvSpPr>
            <p:spPr>
              <a:xfrm>
                <a:off x="13317785" y="3986594"/>
                <a:ext cx="624469" cy="2229385"/>
              </a:xfrm>
              <a:custGeom>
                <a:avLst/>
                <a:gdLst>
                  <a:gd name="connsiteX0" fmla="*/ 527933 w 624469"/>
                  <a:gd name="connsiteY0" fmla="*/ 0 h 2229385"/>
                  <a:gd name="connsiteX1" fmla="*/ 624470 w 624469"/>
                  <a:gd name="connsiteY1" fmla="*/ 0 h 2229385"/>
                  <a:gd name="connsiteX2" fmla="*/ 93520 w 624469"/>
                  <a:gd name="connsiteY2" fmla="*/ 898995 h 2229385"/>
                  <a:gd name="connsiteX3" fmla="*/ 93520 w 624469"/>
                  <a:gd name="connsiteY3" fmla="*/ 2229385 h 2229385"/>
                  <a:gd name="connsiteX4" fmla="*/ 0 w 624469"/>
                  <a:gd name="connsiteY4" fmla="*/ 2229385 h 2229385"/>
                  <a:gd name="connsiteX5" fmla="*/ 0 w 624469"/>
                  <a:gd name="connsiteY5" fmla="*/ 898995 h 222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24469" h="2229385">
                    <a:moveTo>
                      <a:pt x="527933" y="0"/>
                    </a:moveTo>
                    <a:lnTo>
                      <a:pt x="624470" y="0"/>
                    </a:lnTo>
                    <a:lnTo>
                      <a:pt x="93520" y="898995"/>
                    </a:lnTo>
                    <a:lnTo>
                      <a:pt x="93520" y="2229385"/>
                    </a:lnTo>
                    <a:lnTo>
                      <a:pt x="0" y="2229385"/>
                    </a:lnTo>
                    <a:lnTo>
                      <a:pt x="0" y="898995"/>
                    </a:ln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BE582323-27CE-4EC2-83C2-3BF1A2DDD8A9}"/>
                  </a:ext>
                </a:extLst>
              </p:cNvPr>
              <p:cNvSpPr/>
              <p:nvPr/>
            </p:nvSpPr>
            <p:spPr>
              <a:xfrm rot="5400000">
                <a:off x="14001383" y="4582103"/>
                <a:ext cx="60335" cy="1336424"/>
              </a:xfrm>
              <a:custGeom>
                <a:avLst/>
                <a:gdLst>
                  <a:gd name="connsiteX0" fmla="*/ 0 w 60335"/>
                  <a:gd name="connsiteY0" fmla="*/ 0 h 1336424"/>
                  <a:gd name="connsiteX1" fmla="*/ 60336 w 60335"/>
                  <a:gd name="connsiteY1" fmla="*/ 0 h 1336424"/>
                  <a:gd name="connsiteX2" fmla="*/ 60336 w 60335"/>
                  <a:gd name="connsiteY2" fmla="*/ 1336425 h 1336424"/>
                  <a:gd name="connsiteX3" fmla="*/ 0 w 60335"/>
                  <a:gd name="connsiteY3" fmla="*/ 1336425 h 1336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335" h="1336424">
                    <a:moveTo>
                      <a:pt x="0" y="0"/>
                    </a:moveTo>
                    <a:lnTo>
                      <a:pt x="60336" y="0"/>
                    </a:lnTo>
                    <a:lnTo>
                      <a:pt x="60336" y="1336425"/>
                    </a:lnTo>
                    <a:lnTo>
                      <a:pt x="0" y="1336425"/>
                    </a:ln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DEEC6B94-D0DE-41F2-BE60-3B24CFB09117}"/>
                  </a:ext>
                </a:extLst>
              </p:cNvPr>
              <p:cNvSpPr/>
              <p:nvPr/>
            </p:nvSpPr>
            <p:spPr>
              <a:xfrm rot="5400000">
                <a:off x="14001835" y="4935516"/>
                <a:ext cx="60335" cy="1336424"/>
              </a:xfrm>
              <a:custGeom>
                <a:avLst/>
                <a:gdLst>
                  <a:gd name="connsiteX0" fmla="*/ 0 w 60335"/>
                  <a:gd name="connsiteY0" fmla="*/ 0 h 1336424"/>
                  <a:gd name="connsiteX1" fmla="*/ 60336 w 60335"/>
                  <a:gd name="connsiteY1" fmla="*/ 0 h 1336424"/>
                  <a:gd name="connsiteX2" fmla="*/ 60336 w 60335"/>
                  <a:gd name="connsiteY2" fmla="*/ 1336425 h 1336424"/>
                  <a:gd name="connsiteX3" fmla="*/ 0 w 60335"/>
                  <a:gd name="connsiteY3" fmla="*/ 1336425 h 1336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335" h="1336424">
                    <a:moveTo>
                      <a:pt x="0" y="0"/>
                    </a:moveTo>
                    <a:lnTo>
                      <a:pt x="60336" y="0"/>
                    </a:lnTo>
                    <a:lnTo>
                      <a:pt x="60336" y="1336425"/>
                    </a:lnTo>
                    <a:lnTo>
                      <a:pt x="0" y="1336425"/>
                    </a:ln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BC09685E-4173-4DFC-B9A8-298B97B2E114}"/>
                  </a:ext>
                </a:extLst>
              </p:cNvPr>
              <p:cNvSpPr/>
              <p:nvPr/>
            </p:nvSpPr>
            <p:spPr>
              <a:xfrm rot="5400000">
                <a:off x="14000960" y="4228719"/>
                <a:ext cx="60335" cy="1336424"/>
              </a:xfrm>
              <a:custGeom>
                <a:avLst/>
                <a:gdLst>
                  <a:gd name="connsiteX0" fmla="*/ 0 w 60335"/>
                  <a:gd name="connsiteY0" fmla="*/ 0 h 1336424"/>
                  <a:gd name="connsiteX1" fmla="*/ 60336 w 60335"/>
                  <a:gd name="connsiteY1" fmla="*/ 0 h 1336424"/>
                  <a:gd name="connsiteX2" fmla="*/ 60336 w 60335"/>
                  <a:gd name="connsiteY2" fmla="*/ 1336425 h 1336424"/>
                  <a:gd name="connsiteX3" fmla="*/ 0 w 60335"/>
                  <a:gd name="connsiteY3" fmla="*/ 1336425 h 1336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335" h="1336424">
                    <a:moveTo>
                      <a:pt x="0" y="0"/>
                    </a:moveTo>
                    <a:lnTo>
                      <a:pt x="60336" y="0"/>
                    </a:lnTo>
                    <a:lnTo>
                      <a:pt x="60336" y="1336425"/>
                    </a:lnTo>
                    <a:lnTo>
                      <a:pt x="0" y="1336425"/>
                    </a:ln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CECE761E-5AE5-410B-9F0F-A8402F86622A}"/>
                </a:ext>
              </a:extLst>
            </p:cNvPr>
            <p:cNvSpPr/>
            <p:nvPr/>
          </p:nvSpPr>
          <p:spPr>
            <a:xfrm>
              <a:off x="12524377" y="6215980"/>
              <a:ext cx="2030278" cy="223240"/>
            </a:xfrm>
            <a:custGeom>
              <a:avLst/>
              <a:gdLst>
                <a:gd name="connsiteX0" fmla="*/ 2030279 w 2030278"/>
                <a:gd name="connsiteY0" fmla="*/ 223241 h 223240"/>
                <a:gd name="connsiteX1" fmla="*/ 2030279 w 2030278"/>
                <a:gd name="connsiteY1" fmla="*/ 0 h 223240"/>
                <a:gd name="connsiteX2" fmla="*/ 111620 w 2030278"/>
                <a:gd name="connsiteY2" fmla="*/ 0 h 223240"/>
                <a:gd name="connsiteX3" fmla="*/ 0 w 2030278"/>
                <a:gd name="connsiteY3" fmla="*/ 111620 h 223240"/>
                <a:gd name="connsiteX4" fmla="*/ 0 w 2030278"/>
                <a:gd name="connsiteY4" fmla="*/ 111620 h 223240"/>
                <a:gd name="connsiteX5" fmla="*/ 111620 w 2030278"/>
                <a:gd name="connsiteY5" fmla="*/ 223241 h 223240"/>
                <a:gd name="connsiteX6" fmla="*/ 2030279 w 2030278"/>
                <a:gd name="connsiteY6" fmla="*/ 223241 h 223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30278" h="223240">
                  <a:moveTo>
                    <a:pt x="2030279" y="223241"/>
                  </a:moveTo>
                  <a:lnTo>
                    <a:pt x="2030279" y="0"/>
                  </a:lnTo>
                  <a:lnTo>
                    <a:pt x="111620" y="0"/>
                  </a:lnTo>
                  <a:cubicBezTo>
                    <a:pt x="51284" y="0"/>
                    <a:pt x="0" y="51285"/>
                    <a:pt x="0" y="111620"/>
                  </a:cubicBezTo>
                  <a:lnTo>
                    <a:pt x="0" y="111620"/>
                  </a:lnTo>
                  <a:cubicBezTo>
                    <a:pt x="0" y="171956"/>
                    <a:pt x="51284" y="223241"/>
                    <a:pt x="111620" y="223241"/>
                  </a:cubicBezTo>
                  <a:lnTo>
                    <a:pt x="2030279" y="223241"/>
                  </a:ln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01EF3FAB-294D-460B-B759-11ABF24386F8}"/>
                </a:ext>
              </a:extLst>
            </p:cNvPr>
            <p:cNvGrpSpPr/>
            <p:nvPr/>
          </p:nvGrpSpPr>
          <p:grpSpPr>
            <a:xfrm>
              <a:off x="14503371" y="6143578"/>
              <a:ext cx="359086" cy="425363"/>
              <a:chOff x="14503371" y="6143578"/>
              <a:chExt cx="359086" cy="425363"/>
            </a:xfrm>
          </p:grpSpPr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30928825-BC4A-494B-97ED-ED29EC0AD8A7}"/>
                  </a:ext>
                </a:extLst>
              </p:cNvPr>
              <p:cNvSpPr/>
              <p:nvPr/>
            </p:nvSpPr>
            <p:spPr>
              <a:xfrm>
                <a:off x="14503371" y="6143578"/>
                <a:ext cx="316759" cy="425363"/>
              </a:xfrm>
              <a:custGeom>
                <a:avLst/>
                <a:gdLst>
                  <a:gd name="connsiteX0" fmla="*/ 159889 w 316759"/>
                  <a:gd name="connsiteY0" fmla="*/ 211173 h 425363"/>
                  <a:gd name="connsiteX1" fmla="*/ 316760 w 316759"/>
                  <a:gd name="connsiteY1" fmla="*/ 205140 h 425363"/>
                  <a:gd name="connsiteX2" fmla="*/ 156872 w 316759"/>
                  <a:gd name="connsiteY2" fmla="*/ 0 h 425363"/>
                  <a:gd name="connsiteX3" fmla="*/ 0 w 316759"/>
                  <a:gd name="connsiteY3" fmla="*/ 214190 h 425363"/>
                  <a:gd name="connsiteX4" fmla="*/ 159889 w 316759"/>
                  <a:gd name="connsiteY4" fmla="*/ 425363 h 425363"/>
                  <a:gd name="connsiteX5" fmla="*/ 316760 w 316759"/>
                  <a:gd name="connsiteY5" fmla="*/ 211173 h 425363"/>
                  <a:gd name="connsiteX6" fmla="*/ 159889 w 316759"/>
                  <a:gd name="connsiteY6" fmla="*/ 211173 h 425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6759" h="425363">
                    <a:moveTo>
                      <a:pt x="159889" y="211173"/>
                    </a:moveTo>
                    <a:lnTo>
                      <a:pt x="316760" y="205140"/>
                    </a:lnTo>
                    <a:cubicBezTo>
                      <a:pt x="313744" y="90503"/>
                      <a:pt x="244358" y="0"/>
                      <a:pt x="156872" y="0"/>
                    </a:cubicBezTo>
                    <a:cubicBezTo>
                      <a:pt x="69386" y="0"/>
                      <a:pt x="0" y="96536"/>
                      <a:pt x="0" y="214190"/>
                    </a:cubicBezTo>
                    <a:cubicBezTo>
                      <a:pt x="0" y="331844"/>
                      <a:pt x="72403" y="425363"/>
                      <a:pt x="159889" y="425363"/>
                    </a:cubicBezTo>
                    <a:cubicBezTo>
                      <a:pt x="247375" y="425363"/>
                      <a:pt x="316760" y="328827"/>
                      <a:pt x="316760" y="211173"/>
                    </a:cubicBezTo>
                    <a:lnTo>
                      <a:pt x="159889" y="211173"/>
                    </a:ln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D07B9D29-5C04-43A3-BB65-FD8D6504D959}"/>
                  </a:ext>
                </a:extLst>
              </p:cNvPr>
              <p:cNvSpPr/>
              <p:nvPr/>
            </p:nvSpPr>
            <p:spPr>
              <a:xfrm>
                <a:off x="14663260" y="6143578"/>
                <a:ext cx="42234" cy="422346"/>
              </a:xfrm>
              <a:custGeom>
                <a:avLst/>
                <a:gdLst>
                  <a:gd name="connsiteX0" fmla="*/ 42234 w 42234"/>
                  <a:gd name="connsiteY0" fmla="*/ 422346 h 422346"/>
                  <a:gd name="connsiteX1" fmla="*/ 0 w 42234"/>
                  <a:gd name="connsiteY1" fmla="*/ 422346 h 422346"/>
                  <a:gd name="connsiteX2" fmla="*/ 0 w 42234"/>
                  <a:gd name="connsiteY2" fmla="*/ 0 h 422346"/>
                  <a:gd name="connsiteX3" fmla="*/ 42234 w 42234"/>
                  <a:gd name="connsiteY3" fmla="*/ 0 h 42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34" h="422346">
                    <a:moveTo>
                      <a:pt x="42234" y="422346"/>
                    </a:moveTo>
                    <a:lnTo>
                      <a:pt x="0" y="422346"/>
                    </a:lnTo>
                    <a:lnTo>
                      <a:pt x="0" y="0"/>
                    </a:lnTo>
                    <a:lnTo>
                      <a:pt x="42234" y="0"/>
                    </a:lnTo>
                    <a:close/>
                  </a:path>
                </a:pathLst>
              </a:custGeom>
              <a:solidFill>
                <a:srgbClr val="443E6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A7F37904-6BB9-453D-A7C0-8E2222842A78}"/>
                  </a:ext>
                </a:extLst>
              </p:cNvPr>
              <p:cNvSpPr/>
              <p:nvPr/>
            </p:nvSpPr>
            <p:spPr>
              <a:xfrm>
                <a:off x="14545606" y="6143578"/>
                <a:ext cx="316850" cy="425363"/>
              </a:xfrm>
              <a:custGeom>
                <a:avLst/>
                <a:gdLst>
                  <a:gd name="connsiteX0" fmla="*/ 316760 w 316850"/>
                  <a:gd name="connsiteY0" fmla="*/ 211173 h 425363"/>
                  <a:gd name="connsiteX1" fmla="*/ 156871 w 316850"/>
                  <a:gd name="connsiteY1" fmla="*/ 0 h 425363"/>
                  <a:gd name="connsiteX2" fmla="*/ 0 w 316850"/>
                  <a:gd name="connsiteY2" fmla="*/ 214190 h 425363"/>
                  <a:gd name="connsiteX3" fmla="*/ 159888 w 316850"/>
                  <a:gd name="connsiteY3" fmla="*/ 425363 h 425363"/>
                  <a:gd name="connsiteX4" fmla="*/ 316760 w 316850"/>
                  <a:gd name="connsiteY4" fmla="*/ 211173 h 425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6850" h="425363">
                    <a:moveTo>
                      <a:pt x="316760" y="211173"/>
                    </a:moveTo>
                    <a:cubicBezTo>
                      <a:pt x="316760" y="93520"/>
                      <a:pt x="244357" y="0"/>
                      <a:pt x="156871" y="0"/>
                    </a:cubicBezTo>
                    <a:cubicBezTo>
                      <a:pt x="69385" y="0"/>
                      <a:pt x="0" y="96536"/>
                      <a:pt x="0" y="214190"/>
                    </a:cubicBezTo>
                    <a:cubicBezTo>
                      <a:pt x="0" y="331844"/>
                      <a:pt x="72402" y="425363"/>
                      <a:pt x="159888" y="425363"/>
                    </a:cubicBezTo>
                    <a:cubicBezTo>
                      <a:pt x="247374" y="422346"/>
                      <a:pt x="319776" y="328827"/>
                      <a:pt x="316760" y="211173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047D3ED1-3BA0-4048-A3C1-60C0A7D40318}"/>
                  </a:ext>
                </a:extLst>
              </p:cNvPr>
              <p:cNvSpPr/>
              <p:nvPr/>
            </p:nvSpPr>
            <p:spPr>
              <a:xfrm>
                <a:off x="14596891" y="6206930"/>
                <a:ext cx="217333" cy="295642"/>
              </a:xfrm>
              <a:custGeom>
                <a:avLst/>
                <a:gdLst>
                  <a:gd name="connsiteX0" fmla="*/ 217207 w 217333"/>
                  <a:gd name="connsiteY0" fmla="*/ 147821 h 295642"/>
                  <a:gd name="connsiteX1" fmla="*/ 108604 w 217333"/>
                  <a:gd name="connsiteY1" fmla="*/ 0 h 295642"/>
                  <a:gd name="connsiteX2" fmla="*/ 0 w 217333"/>
                  <a:gd name="connsiteY2" fmla="*/ 147821 h 295642"/>
                  <a:gd name="connsiteX3" fmla="*/ 108604 w 217333"/>
                  <a:gd name="connsiteY3" fmla="*/ 295642 h 295642"/>
                  <a:gd name="connsiteX4" fmla="*/ 217207 w 217333"/>
                  <a:gd name="connsiteY4" fmla="*/ 147821 h 295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7333" h="295642">
                    <a:moveTo>
                      <a:pt x="217207" y="147821"/>
                    </a:moveTo>
                    <a:cubicBezTo>
                      <a:pt x="217207" y="66369"/>
                      <a:pt x="168939" y="0"/>
                      <a:pt x="108604" y="0"/>
                    </a:cubicBezTo>
                    <a:cubicBezTo>
                      <a:pt x="48268" y="0"/>
                      <a:pt x="0" y="66369"/>
                      <a:pt x="0" y="147821"/>
                    </a:cubicBezTo>
                    <a:cubicBezTo>
                      <a:pt x="0" y="229273"/>
                      <a:pt x="48268" y="295642"/>
                      <a:pt x="108604" y="295642"/>
                    </a:cubicBezTo>
                    <a:cubicBezTo>
                      <a:pt x="168939" y="295642"/>
                      <a:pt x="220224" y="229273"/>
                      <a:pt x="217207" y="147821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BBFE509C-7FDF-4026-AF50-F9C153AF99F7}"/>
                </a:ext>
              </a:extLst>
            </p:cNvPr>
            <p:cNvGrpSpPr/>
            <p:nvPr/>
          </p:nvGrpSpPr>
          <p:grpSpPr>
            <a:xfrm>
              <a:off x="12797665" y="5326639"/>
              <a:ext cx="1605006" cy="889944"/>
              <a:chOff x="12797665" y="5326639"/>
              <a:chExt cx="1605006" cy="889944"/>
            </a:xfrm>
          </p:grpSpPr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5460F457-51FC-4810-BD39-0ADF0701E827}"/>
                  </a:ext>
                </a:extLst>
              </p:cNvPr>
              <p:cNvSpPr/>
              <p:nvPr/>
            </p:nvSpPr>
            <p:spPr>
              <a:xfrm rot="-10800000">
                <a:off x="12797665" y="5326639"/>
                <a:ext cx="1330391" cy="889944"/>
              </a:xfrm>
              <a:custGeom>
                <a:avLst/>
                <a:gdLst>
                  <a:gd name="connsiteX0" fmla="*/ 0 w 1330391"/>
                  <a:gd name="connsiteY0" fmla="*/ 0 h 889944"/>
                  <a:gd name="connsiteX1" fmla="*/ 1330392 w 1330391"/>
                  <a:gd name="connsiteY1" fmla="*/ 0 h 889944"/>
                  <a:gd name="connsiteX2" fmla="*/ 1330392 w 1330391"/>
                  <a:gd name="connsiteY2" fmla="*/ 889944 h 889944"/>
                  <a:gd name="connsiteX3" fmla="*/ 0 w 1330391"/>
                  <a:gd name="connsiteY3" fmla="*/ 889944 h 889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0391" h="889944">
                    <a:moveTo>
                      <a:pt x="0" y="0"/>
                    </a:moveTo>
                    <a:lnTo>
                      <a:pt x="1330392" y="0"/>
                    </a:lnTo>
                    <a:lnTo>
                      <a:pt x="1330392" y="889944"/>
                    </a:lnTo>
                    <a:lnTo>
                      <a:pt x="0" y="889944"/>
                    </a:lnTo>
                    <a:close/>
                  </a:path>
                </a:pathLst>
              </a:custGeom>
              <a:solidFill>
                <a:srgbClr val="E8D2AF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B1F659D1-F986-47CB-ACBA-282FCF4C52E1}"/>
                  </a:ext>
                </a:extLst>
              </p:cNvPr>
              <p:cNvSpPr/>
              <p:nvPr/>
            </p:nvSpPr>
            <p:spPr>
              <a:xfrm rot="-10800000">
                <a:off x="13072281" y="5326639"/>
                <a:ext cx="1330391" cy="889944"/>
              </a:xfrm>
              <a:custGeom>
                <a:avLst/>
                <a:gdLst>
                  <a:gd name="connsiteX0" fmla="*/ 0 w 1330391"/>
                  <a:gd name="connsiteY0" fmla="*/ 0 h 889944"/>
                  <a:gd name="connsiteX1" fmla="*/ 1330391 w 1330391"/>
                  <a:gd name="connsiteY1" fmla="*/ 0 h 889944"/>
                  <a:gd name="connsiteX2" fmla="*/ 1330391 w 1330391"/>
                  <a:gd name="connsiteY2" fmla="*/ 889944 h 889944"/>
                  <a:gd name="connsiteX3" fmla="*/ 0 w 1330391"/>
                  <a:gd name="connsiteY3" fmla="*/ 889944 h 889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0391" h="889944">
                    <a:moveTo>
                      <a:pt x="0" y="0"/>
                    </a:moveTo>
                    <a:lnTo>
                      <a:pt x="1330391" y="0"/>
                    </a:lnTo>
                    <a:lnTo>
                      <a:pt x="1330391" y="889944"/>
                    </a:lnTo>
                    <a:lnTo>
                      <a:pt x="0" y="889944"/>
                    </a:ln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FB9DE2E2-D0CD-487B-AD68-99476C973585}"/>
                  </a:ext>
                </a:extLst>
              </p:cNvPr>
              <p:cNvSpPr/>
              <p:nvPr/>
            </p:nvSpPr>
            <p:spPr>
              <a:xfrm>
                <a:off x="13185047" y="5443689"/>
                <a:ext cx="349944" cy="48268"/>
              </a:xfrm>
              <a:custGeom>
                <a:avLst/>
                <a:gdLst>
                  <a:gd name="connsiteX0" fmla="*/ 0 w 349944"/>
                  <a:gd name="connsiteY0" fmla="*/ 0 h 48268"/>
                  <a:gd name="connsiteX1" fmla="*/ 349945 w 349944"/>
                  <a:gd name="connsiteY1" fmla="*/ 0 h 48268"/>
                  <a:gd name="connsiteX2" fmla="*/ 349945 w 349944"/>
                  <a:gd name="connsiteY2" fmla="*/ 48268 h 48268"/>
                  <a:gd name="connsiteX3" fmla="*/ 0 w 349944"/>
                  <a:gd name="connsiteY3" fmla="*/ 48268 h 48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9944" h="48268">
                    <a:moveTo>
                      <a:pt x="0" y="0"/>
                    </a:moveTo>
                    <a:lnTo>
                      <a:pt x="349945" y="0"/>
                    </a:lnTo>
                    <a:lnTo>
                      <a:pt x="349945" y="48268"/>
                    </a:lnTo>
                    <a:lnTo>
                      <a:pt x="0" y="48268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ED28BB90-C3D0-4CFF-8306-0425344C9A44}"/>
                  </a:ext>
                </a:extLst>
              </p:cNvPr>
              <p:cNvSpPr/>
              <p:nvPr/>
            </p:nvSpPr>
            <p:spPr>
              <a:xfrm>
                <a:off x="13185047" y="5552293"/>
                <a:ext cx="349944" cy="48268"/>
              </a:xfrm>
              <a:custGeom>
                <a:avLst/>
                <a:gdLst>
                  <a:gd name="connsiteX0" fmla="*/ 0 w 349944"/>
                  <a:gd name="connsiteY0" fmla="*/ 0 h 48268"/>
                  <a:gd name="connsiteX1" fmla="*/ 349945 w 349944"/>
                  <a:gd name="connsiteY1" fmla="*/ 0 h 48268"/>
                  <a:gd name="connsiteX2" fmla="*/ 349945 w 349944"/>
                  <a:gd name="connsiteY2" fmla="*/ 48268 h 48268"/>
                  <a:gd name="connsiteX3" fmla="*/ 0 w 349944"/>
                  <a:gd name="connsiteY3" fmla="*/ 48268 h 48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9944" h="48268">
                    <a:moveTo>
                      <a:pt x="0" y="0"/>
                    </a:moveTo>
                    <a:lnTo>
                      <a:pt x="349945" y="0"/>
                    </a:lnTo>
                    <a:lnTo>
                      <a:pt x="349945" y="48268"/>
                    </a:lnTo>
                    <a:lnTo>
                      <a:pt x="0" y="48268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A42AAE02-DBED-4C09-9B9F-520CF0AC62C2}"/>
                  </a:ext>
                </a:extLst>
              </p:cNvPr>
              <p:cNvSpPr/>
              <p:nvPr/>
            </p:nvSpPr>
            <p:spPr>
              <a:xfrm>
                <a:off x="14123260" y="5446706"/>
                <a:ext cx="187038" cy="211172"/>
              </a:xfrm>
              <a:custGeom>
                <a:avLst/>
                <a:gdLst>
                  <a:gd name="connsiteX0" fmla="*/ 90503 w 187038"/>
                  <a:gd name="connsiteY0" fmla="*/ 0 h 211172"/>
                  <a:gd name="connsiteX1" fmla="*/ 0 w 187038"/>
                  <a:gd name="connsiteY1" fmla="*/ 90503 h 211172"/>
                  <a:gd name="connsiteX2" fmla="*/ 0 w 187038"/>
                  <a:gd name="connsiteY2" fmla="*/ 96536 h 211172"/>
                  <a:gd name="connsiteX3" fmla="*/ 33184 w 187038"/>
                  <a:gd name="connsiteY3" fmla="*/ 75419 h 211172"/>
                  <a:gd name="connsiteX4" fmla="*/ 63351 w 187038"/>
                  <a:gd name="connsiteY4" fmla="*/ 90503 h 211172"/>
                  <a:gd name="connsiteX5" fmla="*/ 84469 w 187038"/>
                  <a:gd name="connsiteY5" fmla="*/ 75419 h 211172"/>
                  <a:gd name="connsiteX6" fmla="*/ 84469 w 187038"/>
                  <a:gd name="connsiteY6" fmla="*/ 181005 h 211172"/>
                  <a:gd name="connsiteX7" fmla="*/ 72402 w 187038"/>
                  <a:gd name="connsiteY7" fmla="*/ 193073 h 211172"/>
                  <a:gd name="connsiteX8" fmla="*/ 60335 w 187038"/>
                  <a:gd name="connsiteY8" fmla="*/ 181005 h 211172"/>
                  <a:gd name="connsiteX9" fmla="*/ 60335 w 187038"/>
                  <a:gd name="connsiteY9" fmla="*/ 168939 h 211172"/>
                  <a:gd name="connsiteX10" fmla="*/ 42234 w 187038"/>
                  <a:gd name="connsiteY10" fmla="*/ 168939 h 211172"/>
                  <a:gd name="connsiteX11" fmla="*/ 42234 w 187038"/>
                  <a:gd name="connsiteY11" fmla="*/ 181005 h 211172"/>
                  <a:gd name="connsiteX12" fmla="*/ 72402 w 187038"/>
                  <a:gd name="connsiteY12" fmla="*/ 211173 h 211172"/>
                  <a:gd name="connsiteX13" fmla="*/ 102570 w 187038"/>
                  <a:gd name="connsiteY13" fmla="*/ 181005 h 211172"/>
                  <a:gd name="connsiteX14" fmla="*/ 102570 w 187038"/>
                  <a:gd name="connsiteY14" fmla="*/ 75419 h 211172"/>
                  <a:gd name="connsiteX15" fmla="*/ 123686 w 187038"/>
                  <a:gd name="connsiteY15" fmla="*/ 90503 h 211172"/>
                  <a:gd name="connsiteX16" fmla="*/ 153854 w 187038"/>
                  <a:gd name="connsiteY16" fmla="*/ 75419 h 211172"/>
                  <a:gd name="connsiteX17" fmla="*/ 187039 w 187038"/>
                  <a:gd name="connsiteY17" fmla="*/ 96536 h 211172"/>
                  <a:gd name="connsiteX18" fmla="*/ 187039 w 187038"/>
                  <a:gd name="connsiteY18" fmla="*/ 90503 h 211172"/>
                  <a:gd name="connsiteX19" fmla="*/ 90503 w 187038"/>
                  <a:gd name="connsiteY19" fmla="*/ 0 h 211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87038" h="211172">
                    <a:moveTo>
                      <a:pt x="90503" y="0"/>
                    </a:moveTo>
                    <a:cubicBezTo>
                      <a:pt x="39218" y="0"/>
                      <a:pt x="0" y="42235"/>
                      <a:pt x="0" y="90503"/>
                    </a:cubicBezTo>
                    <a:cubicBezTo>
                      <a:pt x="0" y="93520"/>
                      <a:pt x="0" y="93520"/>
                      <a:pt x="0" y="96536"/>
                    </a:cubicBezTo>
                    <a:cubicBezTo>
                      <a:pt x="6033" y="84469"/>
                      <a:pt x="18100" y="75419"/>
                      <a:pt x="33184" y="75419"/>
                    </a:cubicBezTo>
                    <a:cubicBezTo>
                      <a:pt x="45251" y="75419"/>
                      <a:pt x="57318" y="81452"/>
                      <a:pt x="63351" y="90503"/>
                    </a:cubicBezTo>
                    <a:cubicBezTo>
                      <a:pt x="69385" y="84469"/>
                      <a:pt x="75419" y="78436"/>
                      <a:pt x="84469" y="75419"/>
                    </a:cubicBezTo>
                    <a:lnTo>
                      <a:pt x="84469" y="181005"/>
                    </a:lnTo>
                    <a:cubicBezTo>
                      <a:pt x="84469" y="187039"/>
                      <a:pt x="78435" y="193073"/>
                      <a:pt x="72402" y="193073"/>
                    </a:cubicBezTo>
                    <a:cubicBezTo>
                      <a:pt x="66368" y="193073"/>
                      <a:pt x="60335" y="187039"/>
                      <a:pt x="60335" y="181005"/>
                    </a:cubicBezTo>
                    <a:lnTo>
                      <a:pt x="60335" y="168939"/>
                    </a:lnTo>
                    <a:lnTo>
                      <a:pt x="42234" y="168939"/>
                    </a:lnTo>
                    <a:lnTo>
                      <a:pt x="42234" y="181005"/>
                    </a:lnTo>
                    <a:cubicBezTo>
                      <a:pt x="42234" y="199106"/>
                      <a:pt x="57318" y="211173"/>
                      <a:pt x="72402" y="211173"/>
                    </a:cubicBezTo>
                    <a:cubicBezTo>
                      <a:pt x="90503" y="211173"/>
                      <a:pt x="102570" y="196089"/>
                      <a:pt x="102570" y="181005"/>
                    </a:cubicBezTo>
                    <a:lnTo>
                      <a:pt x="102570" y="75419"/>
                    </a:lnTo>
                    <a:cubicBezTo>
                      <a:pt x="111620" y="78436"/>
                      <a:pt x="117653" y="81452"/>
                      <a:pt x="123686" y="90503"/>
                    </a:cubicBezTo>
                    <a:cubicBezTo>
                      <a:pt x="129720" y="81452"/>
                      <a:pt x="141787" y="75419"/>
                      <a:pt x="153854" y="75419"/>
                    </a:cubicBezTo>
                    <a:cubicBezTo>
                      <a:pt x="168938" y="75419"/>
                      <a:pt x="181006" y="84469"/>
                      <a:pt x="187039" y="96536"/>
                    </a:cubicBezTo>
                    <a:cubicBezTo>
                      <a:pt x="187039" y="93520"/>
                      <a:pt x="187039" y="93520"/>
                      <a:pt x="187039" y="90503"/>
                    </a:cubicBezTo>
                    <a:cubicBezTo>
                      <a:pt x="181006" y="39218"/>
                      <a:pt x="138770" y="0"/>
                      <a:pt x="90503" y="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8" name="图形 1">
              <a:extLst>
                <a:ext uri="{FF2B5EF4-FFF2-40B4-BE49-F238E27FC236}">
                  <a16:creationId xmlns:a16="http://schemas.microsoft.com/office/drawing/2014/main" id="{849D5C57-C61A-4CA0-9A35-F742E1D9E492}"/>
                </a:ext>
              </a:extLst>
            </p:cNvPr>
            <p:cNvGrpSpPr/>
            <p:nvPr/>
          </p:nvGrpSpPr>
          <p:grpSpPr>
            <a:xfrm>
              <a:off x="13234552" y="4759277"/>
              <a:ext cx="1022651" cy="567150"/>
              <a:chOff x="13234552" y="4759277"/>
              <a:chExt cx="1022651" cy="567150"/>
            </a:xfrm>
          </p:grpSpPr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8569F4F5-954D-42FF-9395-9AD19FCF48B4}"/>
                  </a:ext>
                </a:extLst>
              </p:cNvPr>
              <p:cNvSpPr/>
              <p:nvPr/>
            </p:nvSpPr>
            <p:spPr>
              <a:xfrm rot="-10800000">
                <a:off x="13234552" y="4759277"/>
                <a:ext cx="847709" cy="567150"/>
              </a:xfrm>
              <a:custGeom>
                <a:avLst/>
                <a:gdLst>
                  <a:gd name="connsiteX0" fmla="*/ 0 w 847709"/>
                  <a:gd name="connsiteY0" fmla="*/ 0 h 567150"/>
                  <a:gd name="connsiteX1" fmla="*/ 847709 w 847709"/>
                  <a:gd name="connsiteY1" fmla="*/ 0 h 567150"/>
                  <a:gd name="connsiteX2" fmla="*/ 847709 w 847709"/>
                  <a:gd name="connsiteY2" fmla="*/ 567151 h 567150"/>
                  <a:gd name="connsiteX3" fmla="*/ 0 w 847709"/>
                  <a:gd name="connsiteY3" fmla="*/ 567151 h 56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7709" h="567150">
                    <a:moveTo>
                      <a:pt x="0" y="0"/>
                    </a:moveTo>
                    <a:lnTo>
                      <a:pt x="847709" y="0"/>
                    </a:lnTo>
                    <a:lnTo>
                      <a:pt x="847709" y="567151"/>
                    </a:lnTo>
                    <a:lnTo>
                      <a:pt x="0" y="567151"/>
                    </a:lnTo>
                    <a:close/>
                  </a:path>
                </a:pathLst>
              </a:custGeom>
              <a:solidFill>
                <a:srgbClr val="E8D2AF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49DEB0F1-E551-46E1-BD77-92ED0F6F4F1A}"/>
                  </a:ext>
                </a:extLst>
              </p:cNvPr>
              <p:cNvSpPr/>
              <p:nvPr/>
            </p:nvSpPr>
            <p:spPr>
              <a:xfrm rot="-10800000">
                <a:off x="13409494" y="4759277"/>
                <a:ext cx="847709" cy="567150"/>
              </a:xfrm>
              <a:custGeom>
                <a:avLst/>
                <a:gdLst>
                  <a:gd name="connsiteX0" fmla="*/ 0 w 847709"/>
                  <a:gd name="connsiteY0" fmla="*/ 0 h 567150"/>
                  <a:gd name="connsiteX1" fmla="*/ 847710 w 847709"/>
                  <a:gd name="connsiteY1" fmla="*/ 0 h 567150"/>
                  <a:gd name="connsiteX2" fmla="*/ 847710 w 847709"/>
                  <a:gd name="connsiteY2" fmla="*/ 567151 h 567150"/>
                  <a:gd name="connsiteX3" fmla="*/ 0 w 847709"/>
                  <a:gd name="connsiteY3" fmla="*/ 567151 h 56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47709" h="567150">
                    <a:moveTo>
                      <a:pt x="0" y="0"/>
                    </a:moveTo>
                    <a:lnTo>
                      <a:pt x="847710" y="0"/>
                    </a:lnTo>
                    <a:lnTo>
                      <a:pt x="847710" y="567151"/>
                    </a:lnTo>
                    <a:lnTo>
                      <a:pt x="0" y="567151"/>
                    </a:ln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1B62761C-D8E0-418D-81C5-DD1D044A9756}"/>
                  </a:ext>
                </a:extLst>
              </p:cNvPr>
              <p:cNvSpPr/>
              <p:nvPr/>
            </p:nvSpPr>
            <p:spPr>
              <a:xfrm>
                <a:off x="13483707" y="4834304"/>
                <a:ext cx="223240" cy="30167"/>
              </a:xfrm>
              <a:custGeom>
                <a:avLst/>
                <a:gdLst>
                  <a:gd name="connsiteX0" fmla="*/ 0 w 223240"/>
                  <a:gd name="connsiteY0" fmla="*/ 0 h 30167"/>
                  <a:gd name="connsiteX1" fmla="*/ 223240 w 223240"/>
                  <a:gd name="connsiteY1" fmla="*/ 0 h 30167"/>
                  <a:gd name="connsiteX2" fmla="*/ 223240 w 223240"/>
                  <a:gd name="connsiteY2" fmla="*/ 30168 h 30167"/>
                  <a:gd name="connsiteX3" fmla="*/ 0 w 223240"/>
                  <a:gd name="connsiteY3" fmla="*/ 30168 h 30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3240" h="30167">
                    <a:moveTo>
                      <a:pt x="0" y="0"/>
                    </a:moveTo>
                    <a:lnTo>
                      <a:pt x="223240" y="0"/>
                    </a:lnTo>
                    <a:lnTo>
                      <a:pt x="223240" y="30168"/>
                    </a:lnTo>
                    <a:lnTo>
                      <a:pt x="0" y="30168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BFE82B28-57A1-41BF-92E1-84167A0BAC6B}"/>
                  </a:ext>
                </a:extLst>
              </p:cNvPr>
              <p:cNvSpPr/>
              <p:nvPr/>
            </p:nvSpPr>
            <p:spPr>
              <a:xfrm>
                <a:off x="13483707" y="4903689"/>
                <a:ext cx="223240" cy="30167"/>
              </a:xfrm>
              <a:custGeom>
                <a:avLst/>
                <a:gdLst>
                  <a:gd name="connsiteX0" fmla="*/ 0 w 223240"/>
                  <a:gd name="connsiteY0" fmla="*/ 0 h 30167"/>
                  <a:gd name="connsiteX1" fmla="*/ 223240 w 223240"/>
                  <a:gd name="connsiteY1" fmla="*/ 0 h 30167"/>
                  <a:gd name="connsiteX2" fmla="*/ 223240 w 223240"/>
                  <a:gd name="connsiteY2" fmla="*/ 30168 h 30167"/>
                  <a:gd name="connsiteX3" fmla="*/ 0 w 223240"/>
                  <a:gd name="connsiteY3" fmla="*/ 30168 h 30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3240" h="30167">
                    <a:moveTo>
                      <a:pt x="0" y="0"/>
                    </a:moveTo>
                    <a:lnTo>
                      <a:pt x="223240" y="0"/>
                    </a:lnTo>
                    <a:lnTo>
                      <a:pt x="223240" y="30168"/>
                    </a:lnTo>
                    <a:lnTo>
                      <a:pt x="0" y="30168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D738B15C-8777-490D-A88A-2788816AB014}"/>
                  </a:ext>
                </a:extLst>
              </p:cNvPr>
              <p:cNvSpPr/>
              <p:nvPr/>
            </p:nvSpPr>
            <p:spPr>
              <a:xfrm>
                <a:off x="14081025" y="4834304"/>
                <a:ext cx="120670" cy="135754"/>
              </a:xfrm>
              <a:custGeom>
                <a:avLst/>
                <a:gdLst>
                  <a:gd name="connsiteX0" fmla="*/ 57319 w 120670"/>
                  <a:gd name="connsiteY0" fmla="*/ 0 h 135754"/>
                  <a:gd name="connsiteX1" fmla="*/ 0 w 120670"/>
                  <a:gd name="connsiteY1" fmla="*/ 57318 h 135754"/>
                  <a:gd name="connsiteX2" fmla="*/ 0 w 120670"/>
                  <a:gd name="connsiteY2" fmla="*/ 60335 h 135754"/>
                  <a:gd name="connsiteX3" fmla="*/ 21118 w 120670"/>
                  <a:gd name="connsiteY3" fmla="*/ 48268 h 135754"/>
                  <a:gd name="connsiteX4" fmla="*/ 39218 w 120670"/>
                  <a:gd name="connsiteY4" fmla="*/ 57318 h 135754"/>
                  <a:gd name="connsiteX5" fmla="*/ 51285 w 120670"/>
                  <a:gd name="connsiteY5" fmla="*/ 48268 h 135754"/>
                  <a:gd name="connsiteX6" fmla="*/ 51285 w 120670"/>
                  <a:gd name="connsiteY6" fmla="*/ 114637 h 135754"/>
                  <a:gd name="connsiteX7" fmla="*/ 45251 w 120670"/>
                  <a:gd name="connsiteY7" fmla="*/ 120670 h 135754"/>
                  <a:gd name="connsiteX8" fmla="*/ 39218 w 120670"/>
                  <a:gd name="connsiteY8" fmla="*/ 114637 h 135754"/>
                  <a:gd name="connsiteX9" fmla="*/ 39218 w 120670"/>
                  <a:gd name="connsiteY9" fmla="*/ 105587 h 135754"/>
                  <a:gd name="connsiteX10" fmla="*/ 27152 w 120670"/>
                  <a:gd name="connsiteY10" fmla="*/ 105587 h 135754"/>
                  <a:gd name="connsiteX11" fmla="*/ 27152 w 120670"/>
                  <a:gd name="connsiteY11" fmla="*/ 114637 h 135754"/>
                  <a:gd name="connsiteX12" fmla="*/ 48268 w 120670"/>
                  <a:gd name="connsiteY12" fmla="*/ 135754 h 135754"/>
                  <a:gd name="connsiteX13" fmla="*/ 69386 w 120670"/>
                  <a:gd name="connsiteY13" fmla="*/ 114637 h 135754"/>
                  <a:gd name="connsiteX14" fmla="*/ 69386 w 120670"/>
                  <a:gd name="connsiteY14" fmla="*/ 48268 h 135754"/>
                  <a:gd name="connsiteX15" fmla="*/ 81453 w 120670"/>
                  <a:gd name="connsiteY15" fmla="*/ 57318 h 135754"/>
                  <a:gd name="connsiteX16" fmla="*/ 99554 w 120670"/>
                  <a:gd name="connsiteY16" fmla="*/ 48268 h 135754"/>
                  <a:gd name="connsiteX17" fmla="*/ 120670 w 120670"/>
                  <a:gd name="connsiteY17" fmla="*/ 60335 h 135754"/>
                  <a:gd name="connsiteX18" fmla="*/ 120670 w 120670"/>
                  <a:gd name="connsiteY18" fmla="*/ 57318 h 135754"/>
                  <a:gd name="connsiteX19" fmla="*/ 57319 w 120670"/>
                  <a:gd name="connsiteY19" fmla="*/ 0 h 135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0670" h="135754">
                    <a:moveTo>
                      <a:pt x="57319" y="0"/>
                    </a:moveTo>
                    <a:cubicBezTo>
                      <a:pt x="24135" y="0"/>
                      <a:pt x="0" y="27151"/>
                      <a:pt x="0" y="57318"/>
                    </a:cubicBezTo>
                    <a:cubicBezTo>
                      <a:pt x="0" y="57318"/>
                      <a:pt x="0" y="60335"/>
                      <a:pt x="0" y="60335"/>
                    </a:cubicBezTo>
                    <a:cubicBezTo>
                      <a:pt x="3017" y="51285"/>
                      <a:pt x="12068" y="48268"/>
                      <a:pt x="21118" y="48268"/>
                    </a:cubicBezTo>
                    <a:cubicBezTo>
                      <a:pt x="30168" y="48268"/>
                      <a:pt x="36201" y="51285"/>
                      <a:pt x="39218" y="57318"/>
                    </a:cubicBezTo>
                    <a:cubicBezTo>
                      <a:pt x="42235" y="54302"/>
                      <a:pt x="45251" y="51285"/>
                      <a:pt x="51285" y="48268"/>
                    </a:cubicBezTo>
                    <a:lnTo>
                      <a:pt x="51285" y="114637"/>
                    </a:lnTo>
                    <a:cubicBezTo>
                      <a:pt x="51285" y="117654"/>
                      <a:pt x="48268" y="120670"/>
                      <a:pt x="45251" y="120670"/>
                    </a:cubicBezTo>
                    <a:cubicBezTo>
                      <a:pt x="42235" y="120670"/>
                      <a:pt x="39218" y="117654"/>
                      <a:pt x="39218" y="114637"/>
                    </a:cubicBezTo>
                    <a:lnTo>
                      <a:pt x="39218" y="105587"/>
                    </a:lnTo>
                    <a:lnTo>
                      <a:pt x="27152" y="105587"/>
                    </a:lnTo>
                    <a:lnTo>
                      <a:pt x="27152" y="114637"/>
                    </a:lnTo>
                    <a:cubicBezTo>
                      <a:pt x="27152" y="126704"/>
                      <a:pt x="36201" y="135754"/>
                      <a:pt x="48268" y="135754"/>
                    </a:cubicBezTo>
                    <a:cubicBezTo>
                      <a:pt x="60335" y="135754"/>
                      <a:pt x="69386" y="126704"/>
                      <a:pt x="69386" y="114637"/>
                    </a:cubicBezTo>
                    <a:lnTo>
                      <a:pt x="69386" y="48268"/>
                    </a:lnTo>
                    <a:cubicBezTo>
                      <a:pt x="75419" y="48268"/>
                      <a:pt x="78436" y="54302"/>
                      <a:pt x="81453" y="57318"/>
                    </a:cubicBezTo>
                    <a:cubicBezTo>
                      <a:pt x="84470" y="51285"/>
                      <a:pt x="93520" y="48268"/>
                      <a:pt x="99554" y="48268"/>
                    </a:cubicBezTo>
                    <a:cubicBezTo>
                      <a:pt x="108604" y="48268"/>
                      <a:pt x="117654" y="54302"/>
                      <a:pt x="120670" y="60335"/>
                    </a:cubicBezTo>
                    <a:cubicBezTo>
                      <a:pt x="120670" y="60335"/>
                      <a:pt x="120670" y="57318"/>
                      <a:pt x="120670" y="57318"/>
                    </a:cubicBezTo>
                    <a:cubicBezTo>
                      <a:pt x="114637" y="27151"/>
                      <a:pt x="87487" y="0"/>
                      <a:pt x="57319" y="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9" name="图形 1">
              <a:extLst>
                <a:ext uri="{FF2B5EF4-FFF2-40B4-BE49-F238E27FC236}">
                  <a16:creationId xmlns:a16="http://schemas.microsoft.com/office/drawing/2014/main" id="{3F2619FC-30E7-44A7-AD19-DA4FFDE51A07}"/>
                </a:ext>
              </a:extLst>
            </p:cNvPr>
            <p:cNvGrpSpPr/>
            <p:nvPr/>
          </p:nvGrpSpPr>
          <p:grpSpPr>
            <a:xfrm>
              <a:off x="13547813" y="4417146"/>
              <a:ext cx="618315" cy="340893"/>
              <a:chOff x="13547813" y="4417146"/>
              <a:chExt cx="618315" cy="340893"/>
            </a:xfrm>
          </p:grpSpPr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E06AD3DF-2F33-4217-8F29-9D1B07BB7E5C}"/>
                  </a:ext>
                </a:extLst>
              </p:cNvPr>
              <p:cNvSpPr/>
              <p:nvPr/>
            </p:nvSpPr>
            <p:spPr>
              <a:xfrm rot="-10800000">
                <a:off x="13547813" y="4417146"/>
                <a:ext cx="512849" cy="340893"/>
              </a:xfrm>
              <a:custGeom>
                <a:avLst/>
                <a:gdLst>
                  <a:gd name="connsiteX0" fmla="*/ 0 w 512849"/>
                  <a:gd name="connsiteY0" fmla="*/ 0 h 340893"/>
                  <a:gd name="connsiteX1" fmla="*/ 512849 w 512849"/>
                  <a:gd name="connsiteY1" fmla="*/ 0 h 340893"/>
                  <a:gd name="connsiteX2" fmla="*/ 512849 w 512849"/>
                  <a:gd name="connsiteY2" fmla="*/ 340894 h 340893"/>
                  <a:gd name="connsiteX3" fmla="*/ 0 w 512849"/>
                  <a:gd name="connsiteY3" fmla="*/ 340894 h 340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2849" h="340893">
                    <a:moveTo>
                      <a:pt x="0" y="0"/>
                    </a:moveTo>
                    <a:lnTo>
                      <a:pt x="512849" y="0"/>
                    </a:lnTo>
                    <a:lnTo>
                      <a:pt x="512849" y="340894"/>
                    </a:lnTo>
                    <a:lnTo>
                      <a:pt x="0" y="340894"/>
                    </a:lnTo>
                    <a:close/>
                  </a:path>
                </a:pathLst>
              </a:custGeom>
              <a:solidFill>
                <a:srgbClr val="E8D2AF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1CAF298B-9FF4-4C4C-BEC7-27383BF84B01}"/>
                  </a:ext>
                </a:extLst>
              </p:cNvPr>
              <p:cNvSpPr/>
              <p:nvPr/>
            </p:nvSpPr>
            <p:spPr>
              <a:xfrm rot="-10800000">
                <a:off x="13653279" y="4417146"/>
                <a:ext cx="512849" cy="340893"/>
              </a:xfrm>
              <a:custGeom>
                <a:avLst/>
                <a:gdLst>
                  <a:gd name="connsiteX0" fmla="*/ 0 w 512849"/>
                  <a:gd name="connsiteY0" fmla="*/ 0 h 340893"/>
                  <a:gd name="connsiteX1" fmla="*/ 512849 w 512849"/>
                  <a:gd name="connsiteY1" fmla="*/ 0 h 340893"/>
                  <a:gd name="connsiteX2" fmla="*/ 512849 w 512849"/>
                  <a:gd name="connsiteY2" fmla="*/ 340894 h 340893"/>
                  <a:gd name="connsiteX3" fmla="*/ 0 w 512849"/>
                  <a:gd name="connsiteY3" fmla="*/ 340894 h 340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2849" h="340893">
                    <a:moveTo>
                      <a:pt x="0" y="0"/>
                    </a:moveTo>
                    <a:lnTo>
                      <a:pt x="512849" y="0"/>
                    </a:lnTo>
                    <a:lnTo>
                      <a:pt x="512849" y="340894"/>
                    </a:lnTo>
                    <a:lnTo>
                      <a:pt x="0" y="340894"/>
                    </a:lnTo>
                    <a:close/>
                  </a:path>
                </a:pathLst>
              </a:custGeom>
              <a:solidFill>
                <a:srgbClr val="F1DDBA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9B1199C7-08F2-46C1-B0C3-BB01BABB6743}"/>
                  </a:ext>
                </a:extLst>
              </p:cNvPr>
              <p:cNvSpPr/>
              <p:nvPr/>
            </p:nvSpPr>
            <p:spPr>
              <a:xfrm>
                <a:off x="13697897" y="4463242"/>
                <a:ext cx="135754" cy="18100"/>
              </a:xfrm>
              <a:custGeom>
                <a:avLst/>
                <a:gdLst>
                  <a:gd name="connsiteX0" fmla="*/ 0 w 135754"/>
                  <a:gd name="connsiteY0" fmla="*/ 0 h 18100"/>
                  <a:gd name="connsiteX1" fmla="*/ 135754 w 135754"/>
                  <a:gd name="connsiteY1" fmla="*/ 0 h 18100"/>
                  <a:gd name="connsiteX2" fmla="*/ 135754 w 135754"/>
                  <a:gd name="connsiteY2" fmla="*/ 18101 h 18100"/>
                  <a:gd name="connsiteX3" fmla="*/ 0 w 135754"/>
                  <a:gd name="connsiteY3" fmla="*/ 18101 h 1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754" h="18100">
                    <a:moveTo>
                      <a:pt x="0" y="0"/>
                    </a:moveTo>
                    <a:lnTo>
                      <a:pt x="135754" y="0"/>
                    </a:lnTo>
                    <a:lnTo>
                      <a:pt x="135754" y="18101"/>
                    </a:lnTo>
                    <a:lnTo>
                      <a:pt x="0" y="18101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8A18E9E2-E00B-4297-AE0D-B07C7C48A9F7}"/>
                  </a:ext>
                </a:extLst>
              </p:cNvPr>
              <p:cNvSpPr/>
              <p:nvPr/>
            </p:nvSpPr>
            <p:spPr>
              <a:xfrm>
                <a:off x="13697897" y="4502460"/>
                <a:ext cx="135754" cy="18100"/>
              </a:xfrm>
              <a:custGeom>
                <a:avLst/>
                <a:gdLst>
                  <a:gd name="connsiteX0" fmla="*/ 0 w 135754"/>
                  <a:gd name="connsiteY0" fmla="*/ 0 h 18100"/>
                  <a:gd name="connsiteX1" fmla="*/ 135754 w 135754"/>
                  <a:gd name="connsiteY1" fmla="*/ 0 h 18100"/>
                  <a:gd name="connsiteX2" fmla="*/ 135754 w 135754"/>
                  <a:gd name="connsiteY2" fmla="*/ 18100 h 18100"/>
                  <a:gd name="connsiteX3" fmla="*/ 0 w 135754"/>
                  <a:gd name="connsiteY3" fmla="*/ 18100 h 1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754" h="18100">
                    <a:moveTo>
                      <a:pt x="0" y="0"/>
                    </a:moveTo>
                    <a:lnTo>
                      <a:pt x="135754" y="0"/>
                    </a:lnTo>
                    <a:lnTo>
                      <a:pt x="135754" y="18100"/>
                    </a:lnTo>
                    <a:lnTo>
                      <a:pt x="0" y="18100"/>
                    </a:ln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F8810C49-3F48-4CF4-B228-557EA148576A}"/>
                  </a:ext>
                </a:extLst>
              </p:cNvPr>
              <p:cNvSpPr/>
              <p:nvPr/>
            </p:nvSpPr>
            <p:spPr>
              <a:xfrm>
                <a:off x="14056891" y="4463242"/>
                <a:ext cx="75418" cy="81452"/>
              </a:xfrm>
              <a:custGeom>
                <a:avLst/>
                <a:gdLst>
                  <a:gd name="connsiteX0" fmla="*/ 36201 w 75418"/>
                  <a:gd name="connsiteY0" fmla="*/ 0 h 81452"/>
                  <a:gd name="connsiteX1" fmla="*/ 0 w 75418"/>
                  <a:gd name="connsiteY1" fmla="*/ 36201 h 81452"/>
                  <a:gd name="connsiteX2" fmla="*/ 0 w 75418"/>
                  <a:gd name="connsiteY2" fmla="*/ 39218 h 81452"/>
                  <a:gd name="connsiteX3" fmla="*/ 12067 w 75418"/>
                  <a:gd name="connsiteY3" fmla="*/ 30168 h 81452"/>
                  <a:gd name="connsiteX4" fmla="*/ 24134 w 75418"/>
                  <a:gd name="connsiteY4" fmla="*/ 36201 h 81452"/>
                  <a:gd name="connsiteX5" fmla="*/ 33185 w 75418"/>
                  <a:gd name="connsiteY5" fmla="*/ 30168 h 81452"/>
                  <a:gd name="connsiteX6" fmla="*/ 33185 w 75418"/>
                  <a:gd name="connsiteY6" fmla="*/ 69385 h 81452"/>
                  <a:gd name="connsiteX7" fmla="*/ 27151 w 75418"/>
                  <a:gd name="connsiteY7" fmla="*/ 75419 h 81452"/>
                  <a:gd name="connsiteX8" fmla="*/ 24134 w 75418"/>
                  <a:gd name="connsiteY8" fmla="*/ 69385 h 81452"/>
                  <a:gd name="connsiteX9" fmla="*/ 24134 w 75418"/>
                  <a:gd name="connsiteY9" fmla="*/ 63352 h 81452"/>
                  <a:gd name="connsiteX10" fmla="*/ 18101 w 75418"/>
                  <a:gd name="connsiteY10" fmla="*/ 63352 h 81452"/>
                  <a:gd name="connsiteX11" fmla="*/ 18101 w 75418"/>
                  <a:gd name="connsiteY11" fmla="*/ 69385 h 81452"/>
                  <a:gd name="connsiteX12" fmla="*/ 30168 w 75418"/>
                  <a:gd name="connsiteY12" fmla="*/ 81452 h 81452"/>
                  <a:gd name="connsiteX13" fmla="*/ 42234 w 75418"/>
                  <a:gd name="connsiteY13" fmla="*/ 69385 h 81452"/>
                  <a:gd name="connsiteX14" fmla="*/ 42234 w 75418"/>
                  <a:gd name="connsiteY14" fmla="*/ 30168 h 81452"/>
                  <a:gd name="connsiteX15" fmla="*/ 51285 w 75418"/>
                  <a:gd name="connsiteY15" fmla="*/ 36201 h 81452"/>
                  <a:gd name="connsiteX16" fmla="*/ 63352 w 75418"/>
                  <a:gd name="connsiteY16" fmla="*/ 30168 h 81452"/>
                  <a:gd name="connsiteX17" fmla="*/ 75419 w 75418"/>
                  <a:gd name="connsiteY17" fmla="*/ 39218 h 81452"/>
                  <a:gd name="connsiteX18" fmla="*/ 75419 w 75418"/>
                  <a:gd name="connsiteY18" fmla="*/ 36201 h 81452"/>
                  <a:gd name="connsiteX19" fmla="*/ 36201 w 75418"/>
                  <a:gd name="connsiteY19" fmla="*/ 0 h 81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75418" h="81452">
                    <a:moveTo>
                      <a:pt x="36201" y="0"/>
                    </a:moveTo>
                    <a:cubicBezTo>
                      <a:pt x="18101" y="0"/>
                      <a:pt x="0" y="15084"/>
                      <a:pt x="0" y="36201"/>
                    </a:cubicBezTo>
                    <a:cubicBezTo>
                      <a:pt x="0" y="36201"/>
                      <a:pt x="0" y="36201"/>
                      <a:pt x="0" y="39218"/>
                    </a:cubicBezTo>
                    <a:cubicBezTo>
                      <a:pt x="3017" y="33184"/>
                      <a:pt x="6034" y="30168"/>
                      <a:pt x="12067" y="30168"/>
                    </a:cubicBezTo>
                    <a:cubicBezTo>
                      <a:pt x="18101" y="30168"/>
                      <a:pt x="21118" y="33184"/>
                      <a:pt x="24134" y="36201"/>
                    </a:cubicBezTo>
                    <a:cubicBezTo>
                      <a:pt x="27151" y="33184"/>
                      <a:pt x="27151" y="33184"/>
                      <a:pt x="33185" y="30168"/>
                    </a:cubicBezTo>
                    <a:lnTo>
                      <a:pt x="33185" y="69385"/>
                    </a:lnTo>
                    <a:cubicBezTo>
                      <a:pt x="33185" y="72402"/>
                      <a:pt x="30168" y="75419"/>
                      <a:pt x="27151" y="75419"/>
                    </a:cubicBezTo>
                    <a:cubicBezTo>
                      <a:pt x="24134" y="75419"/>
                      <a:pt x="24134" y="72402"/>
                      <a:pt x="24134" y="69385"/>
                    </a:cubicBezTo>
                    <a:lnTo>
                      <a:pt x="24134" y="63352"/>
                    </a:lnTo>
                    <a:lnTo>
                      <a:pt x="18101" y="63352"/>
                    </a:lnTo>
                    <a:lnTo>
                      <a:pt x="18101" y="69385"/>
                    </a:lnTo>
                    <a:cubicBezTo>
                      <a:pt x="18101" y="75419"/>
                      <a:pt x="24134" y="81452"/>
                      <a:pt x="30168" y="81452"/>
                    </a:cubicBezTo>
                    <a:cubicBezTo>
                      <a:pt x="36201" y="81452"/>
                      <a:pt x="42234" y="75419"/>
                      <a:pt x="42234" y="69385"/>
                    </a:cubicBezTo>
                    <a:lnTo>
                      <a:pt x="42234" y="30168"/>
                    </a:lnTo>
                    <a:cubicBezTo>
                      <a:pt x="45251" y="30168"/>
                      <a:pt x="48268" y="33184"/>
                      <a:pt x="51285" y="36201"/>
                    </a:cubicBezTo>
                    <a:cubicBezTo>
                      <a:pt x="54301" y="33184"/>
                      <a:pt x="57318" y="30168"/>
                      <a:pt x="63352" y="30168"/>
                    </a:cubicBezTo>
                    <a:cubicBezTo>
                      <a:pt x="69385" y="30168"/>
                      <a:pt x="72402" y="33184"/>
                      <a:pt x="75419" y="39218"/>
                    </a:cubicBezTo>
                    <a:cubicBezTo>
                      <a:pt x="75419" y="39218"/>
                      <a:pt x="75419" y="39218"/>
                      <a:pt x="75419" y="36201"/>
                    </a:cubicBezTo>
                    <a:cubicBezTo>
                      <a:pt x="72402" y="15084"/>
                      <a:pt x="57318" y="0"/>
                      <a:pt x="36201" y="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D60606A8-2BDB-470E-9040-98332E1A319E}"/>
                </a:ext>
              </a:extLst>
            </p:cNvPr>
            <p:cNvSpPr/>
            <p:nvPr/>
          </p:nvSpPr>
          <p:spPr>
            <a:xfrm>
              <a:off x="14599908" y="2991064"/>
              <a:ext cx="908044" cy="971396"/>
            </a:xfrm>
            <a:custGeom>
              <a:avLst/>
              <a:gdLst>
                <a:gd name="connsiteX0" fmla="*/ 615419 w 908044"/>
                <a:gd name="connsiteY0" fmla="*/ 0 h 971396"/>
                <a:gd name="connsiteX1" fmla="*/ 440447 w 908044"/>
                <a:gd name="connsiteY1" fmla="*/ 543017 h 971396"/>
                <a:gd name="connsiteX2" fmla="*/ 0 w 908044"/>
                <a:gd name="connsiteY2" fmla="*/ 865810 h 971396"/>
                <a:gd name="connsiteX3" fmla="*/ 57318 w 908044"/>
                <a:gd name="connsiteY3" fmla="*/ 971397 h 971396"/>
                <a:gd name="connsiteX4" fmla="*/ 627486 w 908044"/>
                <a:gd name="connsiteY4" fmla="*/ 681788 h 971396"/>
                <a:gd name="connsiteX5" fmla="*/ 908045 w 908044"/>
                <a:gd name="connsiteY5" fmla="*/ 60335 h 971396"/>
                <a:gd name="connsiteX6" fmla="*/ 615419 w 908044"/>
                <a:gd name="connsiteY6" fmla="*/ 0 h 971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8044" h="971396">
                  <a:moveTo>
                    <a:pt x="615419" y="0"/>
                  </a:moveTo>
                  <a:lnTo>
                    <a:pt x="440447" y="543017"/>
                  </a:lnTo>
                  <a:lnTo>
                    <a:pt x="0" y="865810"/>
                  </a:lnTo>
                  <a:lnTo>
                    <a:pt x="57318" y="971397"/>
                  </a:lnTo>
                  <a:cubicBezTo>
                    <a:pt x="57318" y="971397"/>
                    <a:pt x="567151" y="790391"/>
                    <a:pt x="627486" y="681788"/>
                  </a:cubicBezTo>
                  <a:cubicBezTo>
                    <a:pt x="708939" y="543017"/>
                    <a:pt x="908045" y="60335"/>
                    <a:pt x="908045" y="60335"/>
                  </a:cubicBezTo>
                  <a:lnTo>
                    <a:pt x="615419" y="0"/>
                  </a:ln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63476260-CDD4-43CC-98E9-A90A95E80155}"/>
                </a:ext>
              </a:extLst>
            </p:cNvPr>
            <p:cNvSpPr/>
            <p:nvPr/>
          </p:nvSpPr>
          <p:spPr>
            <a:xfrm>
              <a:off x="15679907" y="2417879"/>
              <a:ext cx="256424" cy="263159"/>
            </a:xfrm>
            <a:custGeom>
              <a:avLst/>
              <a:gdLst>
                <a:gd name="connsiteX0" fmla="*/ 0 w 256424"/>
                <a:gd name="connsiteY0" fmla="*/ 51285 h 263159"/>
                <a:gd name="connsiteX1" fmla="*/ 15084 w 256424"/>
                <a:gd name="connsiteY1" fmla="*/ 223240 h 263159"/>
                <a:gd name="connsiteX2" fmla="*/ 256425 w 256424"/>
                <a:gd name="connsiteY2" fmla="*/ 202123 h 263159"/>
                <a:gd name="connsiteX3" fmla="*/ 232291 w 256424"/>
                <a:gd name="connsiteY3" fmla="*/ 0 h 263159"/>
                <a:gd name="connsiteX4" fmla="*/ 0 w 256424"/>
                <a:gd name="connsiteY4" fmla="*/ 51285 h 263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6424" h="263159">
                  <a:moveTo>
                    <a:pt x="0" y="51285"/>
                  </a:moveTo>
                  <a:cubicBezTo>
                    <a:pt x="0" y="51285"/>
                    <a:pt x="12068" y="150838"/>
                    <a:pt x="15084" y="223240"/>
                  </a:cubicBezTo>
                  <a:cubicBezTo>
                    <a:pt x="15084" y="223240"/>
                    <a:pt x="111620" y="325810"/>
                    <a:pt x="256425" y="202123"/>
                  </a:cubicBezTo>
                  <a:cubicBezTo>
                    <a:pt x="253409" y="141788"/>
                    <a:pt x="238325" y="63352"/>
                    <a:pt x="232291" y="0"/>
                  </a:cubicBezTo>
                  <a:cubicBezTo>
                    <a:pt x="232291" y="3017"/>
                    <a:pt x="54302" y="60335"/>
                    <a:pt x="0" y="51285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15152266-AE8C-4F24-8A99-BDD60FCF7A7A}"/>
                </a:ext>
              </a:extLst>
            </p:cNvPr>
            <p:cNvSpPr/>
            <p:nvPr/>
          </p:nvSpPr>
          <p:spPr>
            <a:xfrm>
              <a:off x="15306354" y="2586818"/>
              <a:ext cx="1121710" cy="1479507"/>
            </a:xfrm>
            <a:custGeom>
              <a:avLst/>
              <a:gdLst>
                <a:gd name="connsiteX0" fmla="*/ 626962 w 1121710"/>
                <a:gd name="connsiteY0" fmla="*/ 0 h 1479507"/>
                <a:gd name="connsiteX1" fmla="*/ 385621 w 1121710"/>
                <a:gd name="connsiteY1" fmla="*/ 21117 h 1479507"/>
                <a:gd name="connsiteX2" fmla="*/ 68861 w 1121710"/>
                <a:gd name="connsiteY2" fmla="*/ 147821 h 1479507"/>
                <a:gd name="connsiteX3" fmla="*/ 2492 w 1121710"/>
                <a:gd name="connsiteY3" fmla="*/ 1393743 h 1479507"/>
                <a:gd name="connsiteX4" fmla="*/ 1121710 w 1121710"/>
                <a:gd name="connsiteY4" fmla="*/ 1429944 h 1479507"/>
                <a:gd name="connsiteX5" fmla="*/ 925621 w 1121710"/>
                <a:gd name="connsiteY5" fmla="*/ 81452 h 1479507"/>
                <a:gd name="connsiteX6" fmla="*/ 626962 w 1121710"/>
                <a:gd name="connsiteY6" fmla="*/ 0 h 147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1710" h="1479507">
                  <a:moveTo>
                    <a:pt x="626962" y="0"/>
                  </a:moveTo>
                  <a:cubicBezTo>
                    <a:pt x="626962" y="0"/>
                    <a:pt x="503275" y="102570"/>
                    <a:pt x="385621" y="21117"/>
                  </a:cubicBezTo>
                  <a:cubicBezTo>
                    <a:pt x="385621" y="21117"/>
                    <a:pt x="92995" y="114637"/>
                    <a:pt x="68861" y="147821"/>
                  </a:cubicBezTo>
                  <a:cubicBezTo>
                    <a:pt x="44727" y="181006"/>
                    <a:pt x="-12591" y="1327374"/>
                    <a:pt x="2492" y="1393743"/>
                  </a:cubicBezTo>
                  <a:cubicBezTo>
                    <a:pt x="2492" y="1393743"/>
                    <a:pt x="554559" y="1559665"/>
                    <a:pt x="1121710" y="1429944"/>
                  </a:cubicBezTo>
                  <a:cubicBezTo>
                    <a:pt x="1106627" y="1076983"/>
                    <a:pt x="967855" y="111620"/>
                    <a:pt x="925621" y="81452"/>
                  </a:cubicBezTo>
                  <a:cubicBezTo>
                    <a:pt x="883387" y="54302"/>
                    <a:pt x="626962" y="0"/>
                    <a:pt x="626962" y="0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D4DD57A3-E08C-46D1-9FA0-D68BE1D84B42}"/>
                </a:ext>
              </a:extLst>
            </p:cNvPr>
            <p:cNvSpPr/>
            <p:nvPr/>
          </p:nvSpPr>
          <p:spPr>
            <a:xfrm>
              <a:off x="15088623" y="2728026"/>
              <a:ext cx="419764" cy="598360"/>
            </a:xfrm>
            <a:custGeom>
              <a:avLst/>
              <a:gdLst>
                <a:gd name="connsiteX0" fmla="*/ 401229 w 419764"/>
                <a:gd name="connsiteY0" fmla="*/ 597897 h 598360"/>
                <a:gd name="connsiteX1" fmla="*/ 340894 w 419764"/>
                <a:gd name="connsiteY1" fmla="*/ 6613 h 598360"/>
                <a:gd name="connsiteX2" fmla="*/ 0 w 419764"/>
                <a:gd name="connsiteY2" fmla="*/ 480244 h 598360"/>
                <a:gd name="connsiteX3" fmla="*/ 401229 w 419764"/>
                <a:gd name="connsiteY3" fmla="*/ 597897 h 598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9764" h="598360">
                  <a:moveTo>
                    <a:pt x="401229" y="597897"/>
                  </a:moveTo>
                  <a:cubicBezTo>
                    <a:pt x="401229" y="597897"/>
                    <a:pt x="470614" y="69965"/>
                    <a:pt x="340894" y="6613"/>
                  </a:cubicBezTo>
                  <a:cubicBezTo>
                    <a:pt x="187039" y="-65790"/>
                    <a:pt x="0" y="480244"/>
                    <a:pt x="0" y="480244"/>
                  </a:cubicBezTo>
                  <a:cubicBezTo>
                    <a:pt x="0" y="480244"/>
                    <a:pt x="190056" y="606948"/>
                    <a:pt x="401229" y="597897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1340BC82-A0CF-481E-A6C1-EBA640BA74E3}"/>
                </a:ext>
              </a:extLst>
            </p:cNvPr>
            <p:cNvSpPr/>
            <p:nvPr/>
          </p:nvSpPr>
          <p:spPr>
            <a:xfrm>
              <a:off x="15351081" y="2728605"/>
              <a:ext cx="30167" cy="549050"/>
            </a:xfrm>
            <a:custGeom>
              <a:avLst/>
              <a:gdLst>
                <a:gd name="connsiteX0" fmla="*/ 6034 w 30167"/>
                <a:gd name="connsiteY0" fmla="*/ 549050 h 549050"/>
                <a:gd name="connsiteX1" fmla="*/ 6034 w 30167"/>
                <a:gd name="connsiteY1" fmla="*/ 549050 h 549050"/>
                <a:gd name="connsiteX2" fmla="*/ 0 w 30167"/>
                <a:gd name="connsiteY2" fmla="*/ 543017 h 549050"/>
                <a:gd name="connsiteX3" fmla="*/ 18101 w 30167"/>
                <a:gd name="connsiteY3" fmla="*/ 6034 h 549050"/>
                <a:gd name="connsiteX4" fmla="*/ 24135 w 30167"/>
                <a:gd name="connsiteY4" fmla="*/ 0 h 549050"/>
                <a:gd name="connsiteX5" fmla="*/ 30168 w 30167"/>
                <a:gd name="connsiteY5" fmla="*/ 6034 h 549050"/>
                <a:gd name="connsiteX6" fmla="*/ 12067 w 30167"/>
                <a:gd name="connsiteY6" fmla="*/ 543017 h 549050"/>
                <a:gd name="connsiteX7" fmla="*/ 6034 w 30167"/>
                <a:gd name="connsiteY7" fmla="*/ 549050 h 54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167" h="549050">
                  <a:moveTo>
                    <a:pt x="6034" y="549050"/>
                  </a:moveTo>
                  <a:cubicBezTo>
                    <a:pt x="6034" y="549050"/>
                    <a:pt x="6034" y="549050"/>
                    <a:pt x="6034" y="549050"/>
                  </a:cubicBezTo>
                  <a:cubicBezTo>
                    <a:pt x="3017" y="549050"/>
                    <a:pt x="0" y="546034"/>
                    <a:pt x="0" y="543017"/>
                  </a:cubicBezTo>
                  <a:cubicBezTo>
                    <a:pt x="0" y="521899"/>
                    <a:pt x="12067" y="45251"/>
                    <a:pt x="18101" y="6034"/>
                  </a:cubicBezTo>
                  <a:cubicBezTo>
                    <a:pt x="18101" y="3017"/>
                    <a:pt x="21118" y="0"/>
                    <a:pt x="24135" y="0"/>
                  </a:cubicBezTo>
                  <a:cubicBezTo>
                    <a:pt x="27151" y="0"/>
                    <a:pt x="30168" y="3017"/>
                    <a:pt x="30168" y="6034"/>
                  </a:cubicBezTo>
                  <a:cubicBezTo>
                    <a:pt x="24135" y="45251"/>
                    <a:pt x="12067" y="536983"/>
                    <a:pt x="12067" y="543017"/>
                  </a:cubicBezTo>
                  <a:cubicBezTo>
                    <a:pt x="12067" y="546034"/>
                    <a:pt x="9051" y="549050"/>
                    <a:pt x="6034" y="549050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253DAA5B-CB77-4747-A6BC-BD22BD8C11D2}"/>
                </a:ext>
              </a:extLst>
            </p:cNvPr>
            <p:cNvSpPr/>
            <p:nvPr/>
          </p:nvSpPr>
          <p:spPr>
            <a:xfrm>
              <a:off x="15924265" y="2303242"/>
              <a:ext cx="66369" cy="138770"/>
            </a:xfrm>
            <a:custGeom>
              <a:avLst/>
              <a:gdLst>
                <a:gd name="connsiteX0" fmla="*/ 66369 w 66369"/>
                <a:gd name="connsiteY0" fmla="*/ 0 h 138770"/>
                <a:gd name="connsiteX1" fmla="*/ 6034 w 66369"/>
                <a:gd name="connsiteY1" fmla="*/ 138771 h 138770"/>
                <a:gd name="connsiteX2" fmla="*/ 0 w 66369"/>
                <a:gd name="connsiteY2" fmla="*/ 54302 h 138770"/>
                <a:gd name="connsiteX3" fmla="*/ 66369 w 66369"/>
                <a:gd name="connsiteY3" fmla="*/ 0 h 138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369" h="138770">
                  <a:moveTo>
                    <a:pt x="66369" y="0"/>
                  </a:moveTo>
                  <a:cubicBezTo>
                    <a:pt x="66369" y="0"/>
                    <a:pt x="57318" y="117654"/>
                    <a:pt x="6034" y="138771"/>
                  </a:cubicBezTo>
                  <a:lnTo>
                    <a:pt x="0" y="54302"/>
                  </a:lnTo>
                  <a:lnTo>
                    <a:pt x="66369" y="0"/>
                  </a:ln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1B832180-58A4-4351-B777-2BA80387DEA1}"/>
                </a:ext>
              </a:extLst>
            </p:cNvPr>
            <p:cNvSpPr/>
            <p:nvPr/>
          </p:nvSpPr>
          <p:spPr>
            <a:xfrm>
              <a:off x="15519778" y="2116203"/>
              <a:ext cx="114255" cy="235286"/>
            </a:xfrm>
            <a:custGeom>
              <a:avLst/>
              <a:gdLst>
                <a:gd name="connsiteX0" fmla="*/ 12308 w 114255"/>
                <a:gd name="connsiteY0" fmla="*/ 144804 h 235286"/>
                <a:gd name="connsiteX1" fmla="*/ 6275 w 114255"/>
                <a:gd name="connsiteY1" fmla="*/ 135754 h 235286"/>
                <a:gd name="connsiteX2" fmla="*/ 3258 w 114255"/>
                <a:gd name="connsiteY2" fmla="*/ 96536 h 235286"/>
                <a:gd name="connsiteX3" fmla="*/ 12308 w 114255"/>
                <a:gd name="connsiteY3" fmla="*/ 84469 h 235286"/>
                <a:gd name="connsiteX4" fmla="*/ 15325 w 114255"/>
                <a:gd name="connsiteY4" fmla="*/ 0 h 235286"/>
                <a:gd name="connsiteX5" fmla="*/ 111862 w 114255"/>
                <a:gd name="connsiteY5" fmla="*/ 12067 h 235286"/>
                <a:gd name="connsiteX6" fmla="*/ 66610 w 114255"/>
                <a:gd name="connsiteY6" fmla="*/ 232291 h 235286"/>
                <a:gd name="connsiteX7" fmla="*/ 57560 w 114255"/>
                <a:gd name="connsiteY7" fmla="*/ 226257 h 235286"/>
                <a:gd name="connsiteX8" fmla="*/ 57560 w 114255"/>
                <a:gd name="connsiteY8" fmla="*/ 226257 h 235286"/>
                <a:gd name="connsiteX9" fmla="*/ 27392 w 114255"/>
                <a:gd name="connsiteY9" fmla="*/ 223240 h 235286"/>
                <a:gd name="connsiteX10" fmla="*/ 12308 w 114255"/>
                <a:gd name="connsiteY10" fmla="*/ 193073 h 235286"/>
                <a:gd name="connsiteX11" fmla="*/ 3258 w 114255"/>
                <a:gd name="connsiteY11" fmla="*/ 159888 h 235286"/>
                <a:gd name="connsiteX12" fmla="*/ 12308 w 114255"/>
                <a:gd name="connsiteY12" fmla="*/ 144804 h 235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4255" h="235286">
                  <a:moveTo>
                    <a:pt x="12308" y="144804"/>
                  </a:moveTo>
                  <a:cubicBezTo>
                    <a:pt x="12308" y="138771"/>
                    <a:pt x="9291" y="138771"/>
                    <a:pt x="6275" y="135754"/>
                  </a:cubicBezTo>
                  <a:cubicBezTo>
                    <a:pt x="-5793" y="120670"/>
                    <a:pt x="3258" y="111620"/>
                    <a:pt x="3258" y="96536"/>
                  </a:cubicBezTo>
                  <a:cubicBezTo>
                    <a:pt x="3258" y="90503"/>
                    <a:pt x="6275" y="87486"/>
                    <a:pt x="12308" y="84469"/>
                  </a:cubicBezTo>
                  <a:cubicBezTo>
                    <a:pt x="12308" y="39218"/>
                    <a:pt x="15325" y="0"/>
                    <a:pt x="15325" y="0"/>
                  </a:cubicBezTo>
                  <a:lnTo>
                    <a:pt x="111862" y="12067"/>
                  </a:lnTo>
                  <a:cubicBezTo>
                    <a:pt x="111862" y="12067"/>
                    <a:pt x="129962" y="265475"/>
                    <a:pt x="66610" y="232291"/>
                  </a:cubicBezTo>
                  <a:cubicBezTo>
                    <a:pt x="63593" y="229274"/>
                    <a:pt x="60577" y="229274"/>
                    <a:pt x="57560" y="226257"/>
                  </a:cubicBezTo>
                  <a:cubicBezTo>
                    <a:pt x="57560" y="226257"/>
                    <a:pt x="57560" y="226257"/>
                    <a:pt x="57560" y="226257"/>
                  </a:cubicBezTo>
                  <a:cubicBezTo>
                    <a:pt x="51527" y="229274"/>
                    <a:pt x="33426" y="229274"/>
                    <a:pt x="27392" y="223240"/>
                  </a:cubicBezTo>
                  <a:cubicBezTo>
                    <a:pt x="15325" y="217207"/>
                    <a:pt x="18342" y="196089"/>
                    <a:pt x="12308" y="193073"/>
                  </a:cubicBezTo>
                  <a:cubicBezTo>
                    <a:pt x="9291" y="181006"/>
                    <a:pt x="241" y="174972"/>
                    <a:pt x="3258" y="159888"/>
                  </a:cubicBezTo>
                  <a:cubicBezTo>
                    <a:pt x="3258" y="153855"/>
                    <a:pt x="9291" y="150838"/>
                    <a:pt x="12308" y="144804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8363D8AE-BF39-424C-9A03-73C93AEC5B47}"/>
                </a:ext>
              </a:extLst>
            </p:cNvPr>
            <p:cNvSpPr/>
            <p:nvPr/>
          </p:nvSpPr>
          <p:spPr>
            <a:xfrm>
              <a:off x="15569102" y="1973556"/>
              <a:ext cx="412481" cy="562127"/>
            </a:xfrm>
            <a:custGeom>
              <a:avLst/>
              <a:gdLst>
                <a:gd name="connsiteX0" fmla="*/ 5219 w 412481"/>
                <a:gd name="connsiteY0" fmla="*/ 184882 h 562127"/>
                <a:gd name="connsiteX1" fmla="*/ 11253 w 412481"/>
                <a:gd name="connsiteY1" fmla="*/ 432256 h 562127"/>
                <a:gd name="connsiteX2" fmla="*/ 174158 w 412481"/>
                <a:gd name="connsiteY2" fmla="*/ 561977 h 562127"/>
                <a:gd name="connsiteX3" fmla="*/ 382314 w 412481"/>
                <a:gd name="connsiteY3" fmla="*/ 414156 h 562127"/>
                <a:gd name="connsiteX4" fmla="*/ 412482 w 412481"/>
                <a:gd name="connsiteY4" fmla="*/ 190916 h 562127"/>
                <a:gd name="connsiteX5" fmla="*/ 195276 w 412481"/>
                <a:gd name="connsiteY5" fmla="*/ 860 h 562127"/>
                <a:gd name="connsiteX6" fmla="*/ 5219 w 412481"/>
                <a:gd name="connsiteY6" fmla="*/ 184882 h 562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481" h="562127">
                  <a:moveTo>
                    <a:pt x="5219" y="184882"/>
                  </a:moveTo>
                  <a:cubicBezTo>
                    <a:pt x="5219" y="184882"/>
                    <a:pt x="-9865" y="359854"/>
                    <a:pt x="11253" y="432256"/>
                  </a:cubicBezTo>
                  <a:cubicBezTo>
                    <a:pt x="32371" y="495608"/>
                    <a:pt x="122874" y="558960"/>
                    <a:pt x="174158" y="561977"/>
                  </a:cubicBezTo>
                  <a:cubicBezTo>
                    <a:pt x="240527" y="564994"/>
                    <a:pt x="355164" y="522759"/>
                    <a:pt x="382314" y="414156"/>
                  </a:cubicBezTo>
                  <a:cubicBezTo>
                    <a:pt x="400415" y="341754"/>
                    <a:pt x="412482" y="242200"/>
                    <a:pt x="412482" y="190916"/>
                  </a:cubicBezTo>
                  <a:cubicBezTo>
                    <a:pt x="406449" y="97396"/>
                    <a:pt x="379298" y="18960"/>
                    <a:pt x="195276" y="860"/>
                  </a:cubicBezTo>
                  <a:cubicBezTo>
                    <a:pt x="113823" y="-11207"/>
                    <a:pt x="23320" y="106446"/>
                    <a:pt x="5219" y="184882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60F6A6AF-6F44-49FA-8935-409833A21A5F}"/>
                </a:ext>
              </a:extLst>
            </p:cNvPr>
            <p:cNvSpPr/>
            <p:nvPr/>
          </p:nvSpPr>
          <p:spPr>
            <a:xfrm>
              <a:off x="15704042" y="2233857"/>
              <a:ext cx="57318" cy="135754"/>
            </a:xfrm>
            <a:custGeom>
              <a:avLst/>
              <a:gdLst>
                <a:gd name="connsiteX0" fmla="*/ 30168 w 57318"/>
                <a:gd name="connsiteY0" fmla="*/ 135754 h 135754"/>
                <a:gd name="connsiteX1" fmla="*/ 6033 w 57318"/>
                <a:gd name="connsiteY1" fmla="*/ 129721 h 135754"/>
                <a:gd name="connsiteX2" fmla="*/ 0 w 57318"/>
                <a:gd name="connsiteY2" fmla="*/ 117654 h 135754"/>
                <a:gd name="connsiteX3" fmla="*/ 12067 w 57318"/>
                <a:gd name="connsiteY3" fmla="*/ 6034 h 135754"/>
                <a:gd name="connsiteX4" fmla="*/ 18101 w 57318"/>
                <a:gd name="connsiteY4" fmla="*/ 0 h 135754"/>
                <a:gd name="connsiteX5" fmla="*/ 24134 w 57318"/>
                <a:gd name="connsiteY5" fmla="*/ 6034 h 135754"/>
                <a:gd name="connsiteX6" fmla="*/ 12067 w 57318"/>
                <a:gd name="connsiteY6" fmla="*/ 117654 h 135754"/>
                <a:gd name="connsiteX7" fmla="*/ 12067 w 57318"/>
                <a:gd name="connsiteY7" fmla="*/ 120670 h 135754"/>
                <a:gd name="connsiteX8" fmla="*/ 51284 w 57318"/>
                <a:gd name="connsiteY8" fmla="*/ 120670 h 135754"/>
                <a:gd name="connsiteX9" fmla="*/ 57318 w 57318"/>
                <a:gd name="connsiteY9" fmla="*/ 123687 h 135754"/>
                <a:gd name="connsiteX10" fmla="*/ 54301 w 57318"/>
                <a:gd name="connsiteY10" fmla="*/ 129721 h 135754"/>
                <a:gd name="connsiteX11" fmla="*/ 30168 w 57318"/>
                <a:gd name="connsiteY11" fmla="*/ 135754 h 13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318" h="135754">
                  <a:moveTo>
                    <a:pt x="30168" y="135754"/>
                  </a:moveTo>
                  <a:cubicBezTo>
                    <a:pt x="21117" y="135754"/>
                    <a:pt x="12067" y="135754"/>
                    <a:pt x="6033" y="129721"/>
                  </a:cubicBezTo>
                  <a:cubicBezTo>
                    <a:pt x="3017" y="126704"/>
                    <a:pt x="0" y="123687"/>
                    <a:pt x="0" y="117654"/>
                  </a:cubicBezTo>
                  <a:cubicBezTo>
                    <a:pt x="0" y="96536"/>
                    <a:pt x="12067" y="9050"/>
                    <a:pt x="12067" y="6034"/>
                  </a:cubicBezTo>
                  <a:cubicBezTo>
                    <a:pt x="12067" y="3017"/>
                    <a:pt x="15084" y="0"/>
                    <a:pt x="18101" y="0"/>
                  </a:cubicBezTo>
                  <a:cubicBezTo>
                    <a:pt x="21117" y="0"/>
                    <a:pt x="24134" y="3017"/>
                    <a:pt x="24134" y="6034"/>
                  </a:cubicBezTo>
                  <a:cubicBezTo>
                    <a:pt x="24134" y="6034"/>
                    <a:pt x="12067" y="96536"/>
                    <a:pt x="12067" y="117654"/>
                  </a:cubicBezTo>
                  <a:cubicBezTo>
                    <a:pt x="12067" y="117654"/>
                    <a:pt x="12067" y="120670"/>
                    <a:pt x="12067" y="120670"/>
                  </a:cubicBezTo>
                  <a:cubicBezTo>
                    <a:pt x="18101" y="126704"/>
                    <a:pt x="39218" y="123687"/>
                    <a:pt x="51284" y="120670"/>
                  </a:cubicBezTo>
                  <a:cubicBezTo>
                    <a:pt x="54301" y="120670"/>
                    <a:pt x="57318" y="120670"/>
                    <a:pt x="57318" y="123687"/>
                  </a:cubicBezTo>
                  <a:cubicBezTo>
                    <a:pt x="57318" y="126704"/>
                    <a:pt x="57318" y="129721"/>
                    <a:pt x="54301" y="129721"/>
                  </a:cubicBezTo>
                  <a:cubicBezTo>
                    <a:pt x="54301" y="132737"/>
                    <a:pt x="42234" y="135754"/>
                    <a:pt x="30168" y="135754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C5AF44AE-1B38-4986-A4DF-BCEC369554EF}"/>
                </a:ext>
              </a:extLst>
            </p:cNvPr>
            <p:cNvSpPr/>
            <p:nvPr/>
          </p:nvSpPr>
          <p:spPr>
            <a:xfrm>
              <a:off x="15633888" y="2211971"/>
              <a:ext cx="39986" cy="40755"/>
            </a:xfrm>
            <a:custGeom>
              <a:avLst/>
              <a:gdLst>
                <a:gd name="connsiteX0" fmla="*/ 39987 w 39986"/>
                <a:gd name="connsiteY0" fmla="*/ 24903 h 40755"/>
                <a:gd name="connsiteX1" fmla="*/ 15852 w 39986"/>
                <a:gd name="connsiteY1" fmla="*/ 39987 h 40755"/>
                <a:gd name="connsiteX2" fmla="*/ 768 w 39986"/>
                <a:gd name="connsiteY2" fmla="*/ 15853 h 40755"/>
                <a:gd name="connsiteX3" fmla="*/ 24903 w 39986"/>
                <a:gd name="connsiteY3" fmla="*/ 769 h 40755"/>
                <a:gd name="connsiteX4" fmla="*/ 39987 w 39986"/>
                <a:gd name="connsiteY4" fmla="*/ 24903 h 4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86" h="40755">
                  <a:moveTo>
                    <a:pt x="39987" y="24903"/>
                  </a:moveTo>
                  <a:cubicBezTo>
                    <a:pt x="36970" y="36970"/>
                    <a:pt x="27920" y="43003"/>
                    <a:pt x="15852" y="39987"/>
                  </a:cubicBezTo>
                  <a:cubicBezTo>
                    <a:pt x="3785" y="36970"/>
                    <a:pt x="-2248" y="27920"/>
                    <a:pt x="768" y="15853"/>
                  </a:cubicBezTo>
                  <a:cubicBezTo>
                    <a:pt x="3785" y="3785"/>
                    <a:pt x="12836" y="-2248"/>
                    <a:pt x="24903" y="769"/>
                  </a:cubicBezTo>
                  <a:cubicBezTo>
                    <a:pt x="33953" y="3785"/>
                    <a:pt x="39987" y="12836"/>
                    <a:pt x="39987" y="24903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EA991AAB-73A9-4F53-B57A-C430F91E721A}"/>
                </a:ext>
              </a:extLst>
            </p:cNvPr>
            <p:cNvSpPr/>
            <p:nvPr/>
          </p:nvSpPr>
          <p:spPr>
            <a:xfrm>
              <a:off x="15814893" y="2224038"/>
              <a:ext cx="40578" cy="40755"/>
            </a:xfrm>
            <a:custGeom>
              <a:avLst/>
              <a:gdLst>
                <a:gd name="connsiteX0" fmla="*/ 39987 w 40578"/>
                <a:gd name="connsiteY0" fmla="*/ 24903 h 40755"/>
                <a:gd name="connsiteX1" fmla="*/ 15852 w 40578"/>
                <a:gd name="connsiteY1" fmla="*/ 39987 h 40755"/>
                <a:gd name="connsiteX2" fmla="*/ 768 w 40578"/>
                <a:gd name="connsiteY2" fmla="*/ 15853 h 40755"/>
                <a:gd name="connsiteX3" fmla="*/ 24903 w 40578"/>
                <a:gd name="connsiteY3" fmla="*/ 769 h 40755"/>
                <a:gd name="connsiteX4" fmla="*/ 39987 w 40578"/>
                <a:gd name="connsiteY4" fmla="*/ 24903 h 4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0755">
                  <a:moveTo>
                    <a:pt x="39987" y="24903"/>
                  </a:moveTo>
                  <a:cubicBezTo>
                    <a:pt x="36970" y="36970"/>
                    <a:pt x="27920" y="43003"/>
                    <a:pt x="15852" y="39987"/>
                  </a:cubicBezTo>
                  <a:cubicBezTo>
                    <a:pt x="3785" y="36970"/>
                    <a:pt x="-2248" y="27920"/>
                    <a:pt x="768" y="15853"/>
                  </a:cubicBezTo>
                  <a:cubicBezTo>
                    <a:pt x="3785" y="3786"/>
                    <a:pt x="12836" y="-2248"/>
                    <a:pt x="24903" y="769"/>
                  </a:cubicBezTo>
                  <a:cubicBezTo>
                    <a:pt x="33953" y="3786"/>
                    <a:pt x="43004" y="12836"/>
                    <a:pt x="39987" y="24903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B09932A0-EDA9-4BB3-A960-9BAE2F644FCB}"/>
                </a:ext>
              </a:extLst>
            </p:cNvPr>
            <p:cNvSpPr/>
            <p:nvPr/>
          </p:nvSpPr>
          <p:spPr>
            <a:xfrm>
              <a:off x="15605243" y="2161810"/>
              <a:ext cx="90998" cy="35846"/>
            </a:xfrm>
            <a:custGeom>
              <a:avLst/>
              <a:gdLst>
                <a:gd name="connsiteX0" fmla="*/ 8297 w 90998"/>
                <a:gd name="connsiteY0" fmla="*/ 35846 h 35846"/>
                <a:gd name="connsiteX1" fmla="*/ 2263 w 90998"/>
                <a:gd name="connsiteY1" fmla="*/ 32829 h 35846"/>
                <a:gd name="connsiteX2" fmla="*/ 2263 w 90998"/>
                <a:gd name="connsiteY2" fmla="*/ 20762 h 35846"/>
                <a:gd name="connsiteX3" fmla="*/ 86733 w 90998"/>
                <a:gd name="connsiteY3" fmla="*/ 8695 h 35846"/>
                <a:gd name="connsiteX4" fmla="*/ 89749 w 90998"/>
                <a:gd name="connsiteY4" fmla="*/ 17746 h 35846"/>
                <a:gd name="connsiteX5" fmla="*/ 80699 w 90998"/>
                <a:gd name="connsiteY5" fmla="*/ 20762 h 35846"/>
                <a:gd name="connsiteX6" fmla="*/ 14330 w 90998"/>
                <a:gd name="connsiteY6" fmla="*/ 29813 h 35846"/>
                <a:gd name="connsiteX7" fmla="*/ 8297 w 90998"/>
                <a:gd name="connsiteY7" fmla="*/ 35846 h 35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5846">
                  <a:moveTo>
                    <a:pt x="8297" y="35846"/>
                  </a:moveTo>
                  <a:cubicBezTo>
                    <a:pt x="5280" y="35846"/>
                    <a:pt x="5280" y="35846"/>
                    <a:pt x="2263" y="32829"/>
                  </a:cubicBezTo>
                  <a:cubicBezTo>
                    <a:pt x="-754" y="29813"/>
                    <a:pt x="-754" y="23779"/>
                    <a:pt x="2263" y="20762"/>
                  </a:cubicBezTo>
                  <a:cubicBezTo>
                    <a:pt x="29413" y="-9405"/>
                    <a:pt x="68632" y="-355"/>
                    <a:pt x="86733" y="8695"/>
                  </a:cubicBezTo>
                  <a:cubicBezTo>
                    <a:pt x="89749" y="11712"/>
                    <a:pt x="92766" y="14729"/>
                    <a:pt x="89749" y="17746"/>
                  </a:cubicBezTo>
                  <a:cubicBezTo>
                    <a:pt x="86733" y="20762"/>
                    <a:pt x="83716" y="23779"/>
                    <a:pt x="80699" y="20762"/>
                  </a:cubicBezTo>
                  <a:cubicBezTo>
                    <a:pt x="77682" y="20762"/>
                    <a:pt x="38464" y="2662"/>
                    <a:pt x="14330" y="29813"/>
                  </a:cubicBezTo>
                  <a:cubicBezTo>
                    <a:pt x="14330" y="35846"/>
                    <a:pt x="11314" y="35846"/>
                    <a:pt x="8297" y="35846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069BB513-C903-492F-88CA-FB0F28554542}"/>
                </a:ext>
              </a:extLst>
            </p:cNvPr>
            <p:cNvSpPr/>
            <p:nvPr/>
          </p:nvSpPr>
          <p:spPr>
            <a:xfrm>
              <a:off x="15792563" y="2158609"/>
              <a:ext cx="91730" cy="33013"/>
            </a:xfrm>
            <a:custGeom>
              <a:avLst/>
              <a:gdLst>
                <a:gd name="connsiteX0" fmla="*/ 86451 w 91730"/>
                <a:gd name="connsiteY0" fmla="*/ 33013 h 33013"/>
                <a:gd name="connsiteX1" fmla="*/ 80418 w 91730"/>
                <a:gd name="connsiteY1" fmla="*/ 29997 h 33013"/>
                <a:gd name="connsiteX2" fmla="*/ 14049 w 91730"/>
                <a:gd name="connsiteY2" fmla="*/ 26980 h 33013"/>
                <a:gd name="connsiteX3" fmla="*/ 1982 w 91730"/>
                <a:gd name="connsiteY3" fmla="*/ 23963 h 33013"/>
                <a:gd name="connsiteX4" fmla="*/ 4999 w 91730"/>
                <a:gd name="connsiteY4" fmla="*/ 11896 h 33013"/>
                <a:gd name="connsiteX5" fmla="*/ 89468 w 91730"/>
                <a:gd name="connsiteY5" fmla="*/ 17930 h 33013"/>
                <a:gd name="connsiteX6" fmla="*/ 89468 w 91730"/>
                <a:gd name="connsiteY6" fmla="*/ 29997 h 33013"/>
                <a:gd name="connsiteX7" fmla="*/ 86451 w 91730"/>
                <a:gd name="connsiteY7" fmla="*/ 33013 h 33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30" h="33013">
                  <a:moveTo>
                    <a:pt x="86451" y="33013"/>
                  </a:moveTo>
                  <a:cubicBezTo>
                    <a:pt x="83434" y="33013"/>
                    <a:pt x="83434" y="33013"/>
                    <a:pt x="80418" y="29997"/>
                  </a:cubicBezTo>
                  <a:cubicBezTo>
                    <a:pt x="80418" y="29997"/>
                    <a:pt x="50250" y="-171"/>
                    <a:pt x="14049" y="26980"/>
                  </a:cubicBezTo>
                  <a:cubicBezTo>
                    <a:pt x="11032" y="29997"/>
                    <a:pt x="4999" y="29997"/>
                    <a:pt x="1982" y="23963"/>
                  </a:cubicBezTo>
                  <a:cubicBezTo>
                    <a:pt x="-1035" y="20946"/>
                    <a:pt x="-1035" y="14913"/>
                    <a:pt x="4999" y="11896"/>
                  </a:cubicBezTo>
                  <a:cubicBezTo>
                    <a:pt x="41199" y="-12238"/>
                    <a:pt x="77401" y="5862"/>
                    <a:pt x="89468" y="17930"/>
                  </a:cubicBezTo>
                  <a:cubicBezTo>
                    <a:pt x="92484" y="20946"/>
                    <a:pt x="92484" y="26980"/>
                    <a:pt x="89468" y="29997"/>
                  </a:cubicBezTo>
                  <a:cubicBezTo>
                    <a:pt x="89468" y="33013"/>
                    <a:pt x="89468" y="33013"/>
                    <a:pt x="86451" y="33013"/>
                  </a:cubicBezTo>
                  <a:close/>
                </a:path>
              </a:pathLst>
            </a:custGeom>
            <a:solidFill>
              <a:srgbClr val="664540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112A82B0-4972-4DEB-9971-54CFFFEEA799}"/>
                </a:ext>
              </a:extLst>
            </p:cNvPr>
            <p:cNvSpPr/>
            <p:nvPr/>
          </p:nvSpPr>
          <p:spPr>
            <a:xfrm>
              <a:off x="15677645" y="2470931"/>
              <a:ext cx="226752" cy="70635"/>
            </a:xfrm>
            <a:custGeom>
              <a:avLst/>
              <a:gdLst>
                <a:gd name="connsiteX0" fmla="*/ 77681 w 226752"/>
                <a:gd name="connsiteY0" fmla="*/ 67618 h 70635"/>
                <a:gd name="connsiteX1" fmla="*/ 2262 w 226752"/>
                <a:gd name="connsiteY1" fmla="*/ 43484 h 70635"/>
                <a:gd name="connsiteX2" fmla="*/ 2262 w 226752"/>
                <a:gd name="connsiteY2" fmla="*/ 34434 h 70635"/>
                <a:gd name="connsiteX3" fmla="*/ 11313 w 226752"/>
                <a:gd name="connsiteY3" fmla="*/ 34434 h 70635"/>
                <a:gd name="connsiteX4" fmla="*/ 77681 w 226752"/>
                <a:gd name="connsiteY4" fmla="*/ 55551 h 70635"/>
                <a:gd name="connsiteX5" fmla="*/ 80698 w 226752"/>
                <a:gd name="connsiteY5" fmla="*/ 55551 h 70635"/>
                <a:gd name="connsiteX6" fmla="*/ 216452 w 226752"/>
                <a:gd name="connsiteY6" fmla="*/ 1250 h 70635"/>
                <a:gd name="connsiteX7" fmla="*/ 225503 w 226752"/>
                <a:gd name="connsiteY7" fmla="*/ 4266 h 70635"/>
                <a:gd name="connsiteX8" fmla="*/ 222486 w 226752"/>
                <a:gd name="connsiteY8" fmla="*/ 13317 h 70635"/>
                <a:gd name="connsiteX9" fmla="*/ 80698 w 226752"/>
                <a:gd name="connsiteY9" fmla="*/ 70635 h 70635"/>
                <a:gd name="connsiteX10" fmla="*/ 77681 w 226752"/>
                <a:gd name="connsiteY10" fmla="*/ 67618 h 70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6752" h="70635">
                  <a:moveTo>
                    <a:pt x="77681" y="67618"/>
                  </a:moveTo>
                  <a:cubicBezTo>
                    <a:pt x="35447" y="67618"/>
                    <a:pt x="5279" y="43484"/>
                    <a:pt x="2262" y="43484"/>
                  </a:cubicBezTo>
                  <a:cubicBezTo>
                    <a:pt x="-754" y="40467"/>
                    <a:pt x="-754" y="37451"/>
                    <a:pt x="2262" y="34434"/>
                  </a:cubicBezTo>
                  <a:cubicBezTo>
                    <a:pt x="5279" y="31417"/>
                    <a:pt x="8296" y="31417"/>
                    <a:pt x="11313" y="34434"/>
                  </a:cubicBezTo>
                  <a:cubicBezTo>
                    <a:pt x="11313" y="34434"/>
                    <a:pt x="41480" y="55551"/>
                    <a:pt x="77681" y="55551"/>
                  </a:cubicBezTo>
                  <a:cubicBezTo>
                    <a:pt x="77681" y="55551"/>
                    <a:pt x="80698" y="55551"/>
                    <a:pt x="80698" y="55551"/>
                  </a:cubicBezTo>
                  <a:cubicBezTo>
                    <a:pt x="128966" y="52535"/>
                    <a:pt x="216452" y="1250"/>
                    <a:pt x="216452" y="1250"/>
                  </a:cubicBezTo>
                  <a:cubicBezTo>
                    <a:pt x="219469" y="-1767"/>
                    <a:pt x="222486" y="1250"/>
                    <a:pt x="225503" y="4266"/>
                  </a:cubicBezTo>
                  <a:cubicBezTo>
                    <a:pt x="228519" y="7283"/>
                    <a:pt x="225503" y="10300"/>
                    <a:pt x="222486" y="13317"/>
                  </a:cubicBezTo>
                  <a:cubicBezTo>
                    <a:pt x="219469" y="16333"/>
                    <a:pt x="131983" y="67618"/>
                    <a:pt x="80698" y="70635"/>
                  </a:cubicBezTo>
                  <a:cubicBezTo>
                    <a:pt x="80698" y="67618"/>
                    <a:pt x="77681" y="67618"/>
                    <a:pt x="77681" y="67618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930195B6-1432-4459-A43D-A1ECE7CB61C3}"/>
                </a:ext>
              </a:extLst>
            </p:cNvPr>
            <p:cNvSpPr/>
            <p:nvPr/>
          </p:nvSpPr>
          <p:spPr>
            <a:xfrm>
              <a:off x="15949246" y="2216006"/>
              <a:ext cx="77510" cy="111835"/>
            </a:xfrm>
            <a:custGeom>
              <a:avLst/>
              <a:gdLst>
                <a:gd name="connsiteX0" fmla="*/ 11220 w 77510"/>
                <a:gd name="connsiteY0" fmla="*/ 17851 h 111835"/>
                <a:gd name="connsiteX1" fmla="*/ 68539 w 77510"/>
                <a:gd name="connsiteY1" fmla="*/ 5784 h 111835"/>
                <a:gd name="connsiteX2" fmla="*/ 14237 w 77510"/>
                <a:gd name="connsiteY2" fmla="*/ 108353 h 111835"/>
                <a:gd name="connsiteX3" fmla="*/ 11220 w 77510"/>
                <a:gd name="connsiteY3" fmla="*/ 17851 h 111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510" h="111835">
                  <a:moveTo>
                    <a:pt x="11220" y="17851"/>
                  </a:moveTo>
                  <a:cubicBezTo>
                    <a:pt x="11220" y="17851"/>
                    <a:pt x="44405" y="-12317"/>
                    <a:pt x="68539" y="5784"/>
                  </a:cubicBezTo>
                  <a:cubicBezTo>
                    <a:pt x="95689" y="23884"/>
                    <a:pt x="56472" y="132488"/>
                    <a:pt x="14237" y="108353"/>
                  </a:cubicBezTo>
                  <a:cubicBezTo>
                    <a:pt x="-15930" y="93270"/>
                    <a:pt x="11220" y="17851"/>
                    <a:pt x="11220" y="17851"/>
                  </a:cubicBez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21600682-B4EF-400F-8D09-CA70A6B4C7F2}"/>
                </a:ext>
              </a:extLst>
            </p:cNvPr>
            <p:cNvSpPr/>
            <p:nvPr/>
          </p:nvSpPr>
          <p:spPr>
            <a:xfrm>
              <a:off x="15514785" y="1860957"/>
              <a:ext cx="507608" cy="378933"/>
            </a:xfrm>
            <a:custGeom>
              <a:avLst/>
              <a:gdLst>
                <a:gd name="connsiteX0" fmla="*/ 442664 w 507608"/>
                <a:gd name="connsiteY0" fmla="*/ 128542 h 378933"/>
                <a:gd name="connsiteX1" fmla="*/ 424564 w 507608"/>
                <a:gd name="connsiteY1" fmla="*/ 89325 h 378933"/>
                <a:gd name="connsiteX2" fmla="*/ 412497 w 507608"/>
                <a:gd name="connsiteY2" fmla="*/ 92341 h 378933"/>
                <a:gd name="connsiteX3" fmla="*/ 382329 w 507608"/>
                <a:gd name="connsiteY3" fmla="*/ 71224 h 378933"/>
                <a:gd name="connsiteX4" fmla="*/ 367245 w 507608"/>
                <a:gd name="connsiteY4" fmla="*/ 53123 h 378933"/>
                <a:gd name="connsiteX5" fmla="*/ 337078 w 507608"/>
                <a:gd name="connsiteY5" fmla="*/ 22956 h 378933"/>
                <a:gd name="connsiteX6" fmla="*/ 303893 w 507608"/>
                <a:gd name="connsiteY6" fmla="*/ 19939 h 378933"/>
                <a:gd name="connsiteX7" fmla="*/ 246575 w 507608"/>
                <a:gd name="connsiteY7" fmla="*/ 7872 h 378933"/>
                <a:gd name="connsiteX8" fmla="*/ 234508 w 507608"/>
                <a:gd name="connsiteY8" fmla="*/ 1838 h 378933"/>
                <a:gd name="connsiteX9" fmla="*/ 113838 w 507608"/>
                <a:gd name="connsiteY9" fmla="*/ 41056 h 378933"/>
                <a:gd name="connsiteX10" fmla="*/ 53503 w 507608"/>
                <a:gd name="connsiteY10" fmla="*/ 65190 h 378933"/>
                <a:gd name="connsiteX11" fmla="*/ 38419 w 507608"/>
                <a:gd name="connsiteY11" fmla="*/ 107425 h 378933"/>
                <a:gd name="connsiteX12" fmla="*/ 20318 w 507608"/>
                <a:gd name="connsiteY12" fmla="*/ 137593 h 378933"/>
                <a:gd name="connsiteX13" fmla="*/ 14284 w 507608"/>
                <a:gd name="connsiteY13" fmla="*/ 173794 h 378933"/>
                <a:gd name="connsiteX14" fmla="*/ 20318 w 507608"/>
                <a:gd name="connsiteY14" fmla="*/ 206978 h 378933"/>
                <a:gd name="connsiteX15" fmla="*/ 2217 w 507608"/>
                <a:gd name="connsiteY15" fmla="*/ 249213 h 378933"/>
                <a:gd name="connsiteX16" fmla="*/ 23335 w 507608"/>
                <a:gd name="connsiteY16" fmla="*/ 345749 h 378933"/>
                <a:gd name="connsiteX17" fmla="*/ 32385 w 507608"/>
                <a:gd name="connsiteY17" fmla="*/ 348766 h 378933"/>
                <a:gd name="connsiteX18" fmla="*/ 41436 w 507608"/>
                <a:gd name="connsiteY18" fmla="*/ 378933 h 378933"/>
                <a:gd name="connsiteX19" fmla="*/ 56520 w 507608"/>
                <a:gd name="connsiteY19" fmla="*/ 324632 h 378933"/>
                <a:gd name="connsiteX20" fmla="*/ 83670 w 507608"/>
                <a:gd name="connsiteY20" fmla="*/ 312565 h 378933"/>
                <a:gd name="connsiteX21" fmla="*/ 101771 w 507608"/>
                <a:gd name="connsiteY21" fmla="*/ 291447 h 378933"/>
                <a:gd name="connsiteX22" fmla="*/ 107804 w 507608"/>
                <a:gd name="connsiteY22" fmla="*/ 282397 h 378933"/>
                <a:gd name="connsiteX23" fmla="*/ 113838 w 507608"/>
                <a:gd name="connsiteY23" fmla="*/ 279380 h 378933"/>
                <a:gd name="connsiteX24" fmla="*/ 119871 w 507608"/>
                <a:gd name="connsiteY24" fmla="*/ 276364 h 378933"/>
                <a:gd name="connsiteX25" fmla="*/ 125905 w 507608"/>
                <a:gd name="connsiteY25" fmla="*/ 270330 h 378933"/>
                <a:gd name="connsiteX26" fmla="*/ 134955 w 507608"/>
                <a:gd name="connsiteY26" fmla="*/ 264297 h 378933"/>
                <a:gd name="connsiteX27" fmla="*/ 147022 w 507608"/>
                <a:gd name="connsiteY27" fmla="*/ 267313 h 378933"/>
                <a:gd name="connsiteX28" fmla="*/ 159089 w 507608"/>
                <a:gd name="connsiteY28" fmla="*/ 267313 h 378933"/>
                <a:gd name="connsiteX29" fmla="*/ 195290 w 507608"/>
                <a:gd name="connsiteY29" fmla="*/ 258263 h 378933"/>
                <a:gd name="connsiteX30" fmla="*/ 246575 w 507608"/>
                <a:gd name="connsiteY30" fmla="*/ 240163 h 378933"/>
                <a:gd name="connsiteX31" fmla="*/ 264676 w 507608"/>
                <a:gd name="connsiteY31" fmla="*/ 249213 h 378933"/>
                <a:gd name="connsiteX32" fmla="*/ 300876 w 507608"/>
                <a:gd name="connsiteY32" fmla="*/ 228095 h 378933"/>
                <a:gd name="connsiteX33" fmla="*/ 312944 w 507608"/>
                <a:gd name="connsiteY33" fmla="*/ 231112 h 378933"/>
                <a:gd name="connsiteX34" fmla="*/ 391379 w 507608"/>
                <a:gd name="connsiteY34" fmla="*/ 255246 h 378933"/>
                <a:gd name="connsiteX35" fmla="*/ 400430 w 507608"/>
                <a:gd name="connsiteY35" fmla="*/ 258263 h 378933"/>
                <a:gd name="connsiteX36" fmla="*/ 451714 w 507608"/>
                <a:gd name="connsiteY36" fmla="*/ 378933 h 378933"/>
                <a:gd name="connsiteX37" fmla="*/ 506017 w 507608"/>
                <a:gd name="connsiteY37" fmla="*/ 294464 h 378933"/>
                <a:gd name="connsiteX38" fmla="*/ 442664 w 507608"/>
                <a:gd name="connsiteY38" fmla="*/ 128542 h 378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07608" h="378933">
                  <a:moveTo>
                    <a:pt x="442664" y="128542"/>
                  </a:moveTo>
                  <a:cubicBezTo>
                    <a:pt x="442664" y="113459"/>
                    <a:pt x="439647" y="98375"/>
                    <a:pt x="424564" y="89325"/>
                  </a:cubicBezTo>
                  <a:cubicBezTo>
                    <a:pt x="409480" y="77257"/>
                    <a:pt x="412497" y="89325"/>
                    <a:pt x="412497" y="92341"/>
                  </a:cubicBezTo>
                  <a:cubicBezTo>
                    <a:pt x="403447" y="86308"/>
                    <a:pt x="394396" y="80274"/>
                    <a:pt x="382329" y="71224"/>
                  </a:cubicBezTo>
                  <a:cubicBezTo>
                    <a:pt x="376295" y="65190"/>
                    <a:pt x="373279" y="59157"/>
                    <a:pt x="367245" y="53123"/>
                  </a:cubicBezTo>
                  <a:cubicBezTo>
                    <a:pt x="358196" y="41056"/>
                    <a:pt x="349145" y="28989"/>
                    <a:pt x="337078" y="22956"/>
                  </a:cubicBezTo>
                  <a:cubicBezTo>
                    <a:pt x="325011" y="16922"/>
                    <a:pt x="315960" y="19939"/>
                    <a:pt x="303893" y="19939"/>
                  </a:cubicBezTo>
                  <a:cubicBezTo>
                    <a:pt x="282777" y="22956"/>
                    <a:pt x="267693" y="16922"/>
                    <a:pt x="246575" y="7872"/>
                  </a:cubicBezTo>
                  <a:cubicBezTo>
                    <a:pt x="240541" y="4855"/>
                    <a:pt x="237525" y="1838"/>
                    <a:pt x="234508" y="1838"/>
                  </a:cubicBezTo>
                  <a:cubicBezTo>
                    <a:pt x="189257" y="-10229"/>
                    <a:pt x="156072" y="41056"/>
                    <a:pt x="113838" y="41056"/>
                  </a:cubicBezTo>
                  <a:cubicBezTo>
                    <a:pt x="89703" y="41056"/>
                    <a:pt x="65569" y="38040"/>
                    <a:pt x="53503" y="65190"/>
                  </a:cubicBezTo>
                  <a:cubicBezTo>
                    <a:pt x="47469" y="80274"/>
                    <a:pt x="47469" y="92341"/>
                    <a:pt x="38419" y="107425"/>
                  </a:cubicBezTo>
                  <a:cubicBezTo>
                    <a:pt x="32385" y="116475"/>
                    <a:pt x="26352" y="125526"/>
                    <a:pt x="20318" y="137593"/>
                  </a:cubicBezTo>
                  <a:cubicBezTo>
                    <a:pt x="14284" y="146643"/>
                    <a:pt x="11268" y="161727"/>
                    <a:pt x="14284" y="173794"/>
                  </a:cubicBezTo>
                  <a:cubicBezTo>
                    <a:pt x="17301" y="191894"/>
                    <a:pt x="26352" y="191894"/>
                    <a:pt x="20318" y="206978"/>
                  </a:cubicBezTo>
                  <a:cubicBezTo>
                    <a:pt x="14284" y="222062"/>
                    <a:pt x="5234" y="234129"/>
                    <a:pt x="2217" y="249213"/>
                  </a:cubicBezTo>
                  <a:cubicBezTo>
                    <a:pt x="-3816" y="282397"/>
                    <a:pt x="2217" y="315582"/>
                    <a:pt x="23335" y="345749"/>
                  </a:cubicBezTo>
                  <a:cubicBezTo>
                    <a:pt x="26352" y="348766"/>
                    <a:pt x="29368" y="348766"/>
                    <a:pt x="32385" y="348766"/>
                  </a:cubicBezTo>
                  <a:cubicBezTo>
                    <a:pt x="35402" y="366866"/>
                    <a:pt x="41436" y="378933"/>
                    <a:pt x="41436" y="378933"/>
                  </a:cubicBezTo>
                  <a:cubicBezTo>
                    <a:pt x="35402" y="360833"/>
                    <a:pt x="44452" y="342732"/>
                    <a:pt x="56520" y="324632"/>
                  </a:cubicBezTo>
                  <a:cubicBezTo>
                    <a:pt x="65569" y="321615"/>
                    <a:pt x="77636" y="318598"/>
                    <a:pt x="83670" y="312565"/>
                  </a:cubicBezTo>
                  <a:cubicBezTo>
                    <a:pt x="92720" y="306531"/>
                    <a:pt x="95737" y="297481"/>
                    <a:pt x="101771" y="291447"/>
                  </a:cubicBezTo>
                  <a:cubicBezTo>
                    <a:pt x="101771" y="288431"/>
                    <a:pt x="104787" y="285414"/>
                    <a:pt x="107804" y="282397"/>
                  </a:cubicBezTo>
                  <a:cubicBezTo>
                    <a:pt x="110821" y="282397"/>
                    <a:pt x="113838" y="279380"/>
                    <a:pt x="113838" y="279380"/>
                  </a:cubicBezTo>
                  <a:cubicBezTo>
                    <a:pt x="116855" y="279380"/>
                    <a:pt x="116855" y="279380"/>
                    <a:pt x="119871" y="276364"/>
                  </a:cubicBezTo>
                  <a:cubicBezTo>
                    <a:pt x="119871" y="273347"/>
                    <a:pt x="122888" y="273347"/>
                    <a:pt x="125905" y="270330"/>
                  </a:cubicBezTo>
                  <a:cubicBezTo>
                    <a:pt x="128922" y="267313"/>
                    <a:pt x="131939" y="267313"/>
                    <a:pt x="134955" y="264297"/>
                  </a:cubicBezTo>
                  <a:cubicBezTo>
                    <a:pt x="137971" y="264297"/>
                    <a:pt x="144005" y="264297"/>
                    <a:pt x="147022" y="267313"/>
                  </a:cubicBezTo>
                  <a:cubicBezTo>
                    <a:pt x="150038" y="267313"/>
                    <a:pt x="156072" y="267313"/>
                    <a:pt x="159089" y="267313"/>
                  </a:cubicBezTo>
                  <a:cubicBezTo>
                    <a:pt x="171156" y="267313"/>
                    <a:pt x="183223" y="264297"/>
                    <a:pt x="195290" y="258263"/>
                  </a:cubicBezTo>
                  <a:cubicBezTo>
                    <a:pt x="213390" y="249213"/>
                    <a:pt x="222441" y="234129"/>
                    <a:pt x="246575" y="240163"/>
                  </a:cubicBezTo>
                  <a:cubicBezTo>
                    <a:pt x="252609" y="243179"/>
                    <a:pt x="255625" y="249213"/>
                    <a:pt x="264676" y="249213"/>
                  </a:cubicBezTo>
                  <a:cubicBezTo>
                    <a:pt x="279760" y="252230"/>
                    <a:pt x="291826" y="240163"/>
                    <a:pt x="300876" y="228095"/>
                  </a:cubicBezTo>
                  <a:cubicBezTo>
                    <a:pt x="303893" y="228095"/>
                    <a:pt x="309927" y="231112"/>
                    <a:pt x="312944" y="231112"/>
                  </a:cubicBezTo>
                  <a:cubicBezTo>
                    <a:pt x="337078" y="246196"/>
                    <a:pt x="361212" y="255246"/>
                    <a:pt x="391379" y="255246"/>
                  </a:cubicBezTo>
                  <a:cubicBezTo>
                    <a:pt x="397413" y="258263"/>
                    <a:pt x="400430" y="258263"/>
                    <a:pt x="400430" y="258263"/>
                  </a:cubicBezTo>
                  <a:cubicBezTo>
                    <a:pt x="400430" y="258263"/>
                    <a:pt x="457748" y="348766"/>
                    <a:pt x="451714" y="378933"/>
                  </a:cubicBezTo>
                  <a:cubicBezTo>
                    <a:pt x="451714" y="378933"/>
                    <a:pt x="493950" y="348766"/>
                    <a:pt x="506017" y="294464"/>
                  </a:cubicBezTo>
                  <a:cubicBezTo>
                    <a:pt x="512050" y="234129"/>
                    <a:pt x="503000" y="146643"/>
                    <a:pt x="442664" y="128542"/>
                  </a:cubicBezTo>
                  <a:close/>
                </a:path>
              </a:pathLst>
            </a:custGeom>
            <a:solidFill>
              <a:srgbClr val="38333D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92B9573B-BB37-4FE6-88BE-904AD717EAAF}"/>
                </a:ext>
              </a:extLst>
            </p:cNvPr>
            <p:cNvSpPr/>
            <p:nvPr/>
          </p:nvSpPr>
          <p:spPr>
            <a:xfrm>
              <a:off x="15704042" y="2421650"/>
              <a:ext cx="113882" cy="38463"/>
            </a:xfrm>
            <a:custGeom>
              <a:avLst/>
              <a:gdLst>
                <a:gd name="connsiteX0" fmla="*/ 36201 w 113882"/>
                <a:gd name="connsiteY0" fmla="*/ 38464 h 38463"/>
                <a:gd name="connsiteX1" fmla="*/ 6033 w 113882"/>
                <a:gd name="connsiteY1" fmla="*/ 35447 h 38463"/>
                <a:gd name="connsiteX2" fmla="*/ 0 w 113882"/>
                <a:gd name="connsiteY2" fmla="*/ 29413 h 38463"/>
                <a:gd name="connsiteX3" fmla="*/ 6033 w 113882"/>
                <a:gd name="connsiteY3" fmla="*/ 23380 h 38463"/>
                <a:gd name="connsiteX4" fmla="*/ 102570 w 113882"/>
                <a:gd name="connsiteY4" fmla="*/ 2263 h 38463"/>
                <a:gd name="connsiteX5" fmla="*/ 111620 w 113882"/>
                <a:gd name="connsiteY5" fmla="*/ 2263 h 38463"/>
                <a:gd name="connsiteX6" fmla="*/ 111620 w 113882"/>
                <a:gd name="connsiteY6" fmla="*/ 11313 h 38463"/>
                <a:gd name="connsiteX7" fmla="*/ 36201 w 113882"/>
                <a:gd name="connsiteY7" fmla="*/ 38464 h 38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882" h="38463">
                  <a:moveTo>
                    <a:pt x="36201" y="38464"/>
                  </a:moveTo>
                  <a:cubicBezTo>
                    <a:pt x="21117" y="38464"/>
                    <a:pt x="9050" y="35447"/>
                    <a:pt x="6033" y="35447"/>
                  </a:cubicBezTo>
                  <a:cubicBezTo>
                    <a:pt x="3017" y="35447"/>
                    <a:pt x="0" y="32430"/>
                    <a:pt x="0" y="29413"/>
                  </a:cubicBezTo>
                  <a:cubicBezTo>
                    <a:pt x="0" y="26397"/>
                    <a:pt x="3017" y="23380"/>
                    <a:pt x="6033" y="23380"/>
                  </a:cubicBezTo>
                  <a:cubicBezTo>
                    <a:pt x="6033" y="23380"/>
                    <a:pt x="72402" y="35447"/>
                    <a:pt x="102570" y="2263"/>
                  </a:cubicBezTo>
                  <a:cubicBezTo>
                    <a:pt x="105587" y="-754"/>
                    <a:pt x="108604" y="-754"/>
                    <a:pt x="111620" y="2263"/>
                  </a:cubicBezTo>
                  <a:cubicBezTo>
                    <a:pt x="114637" y="5279"/>
                    <a:pt x="114637" y="8296"/>
                    <a:pt x="111620" y="11313"/>
                  </a:cubicBezTo>
                  <a:cubicBezTo>
                    <a:pt x="93520" y="32430"/>
                    <a:pt x="60335" y="38464"/>
                    <a:pt x="36201" y="38464"/>
                  </a:cubicBezTo>
                  <a:close/>
                </a:path>
              </a:pathLst>
            </a:custGeom>
            <a:solidFill>
              <a:srgbClr val="E87952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6F961BC7-9D7B-405F-A47D-E4CF9E2CAAFD}"/>
                </a:ext>
              </a:extLst>
            </p:cNvPr>
            <p:cNvSpPr/>
            <p:nvPr/>
          </p:nvSpPr>
          <p:spPr>
            <a:xfrm>
              <a:off x="15658791" y="2586818"/>
              <a:ext cx="307708" cy="81920"/>
            </a:xfrm>
            <a:custGeom>
              <a:avLst/>
              <a:gdLst>
                <a:gd name="connsiteX0" fmla="*/ 274525 w 307708"/>
                <a:gd name="connsiteY0" fmla="*/ 0 h 81920"/>
                <a:gd name="connsiteX1" fmla="*/ 150838 w 307708"/>
                <a:gd name="connsiteY1" fmla="*/ 51285 h 81920"/>
                <a:gd name="connsiteX2" fmla="*/ 36201 w 307708"/>
                <a:gd name="connsiteY2" fmla="*/ 21117 h 81920"/>
                <a:gd name="connsiteX3" fmla="*/ 0 w 307708"/>
                <a:gd name="connsiteY3" fmla="*/ 33184 h 81920"/>
                <a:gd name="connsiteX4" fmla="*/ 150838 w 307708"/>
                <a:gd name="connsiteY4" fmla="*/ 81452 h 81920"/>
                <a:gd name="connsiteX5" fmla="*/ 307709 w 307708"/>
                <a:gd name="connsiteY5" fmla="*/ 9050 h 81920"/>
                <a:gd name="connsiteX6" fmla="*/ 274525 w 307708"/>
                <a:gd name="connsiteY6" fmla="*/ 0 h 8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7708" h="81920">
                  <a:moveTo>
                    <a:pt x="274525" y="0"/>
                  </a:moveTo>
                  <a:cubicBezTo>
                    <a:pt x="274525" y="0"/>
                    <a:pt x="205139" y="48268"/>
                    <a:pt x="150838" y="51285"/>
                  </a:cubicBezTo>
                  <a:cubicBezTo>
                    <a:pt x="93520" y="57318"/>
                    <a:pt x="36201" y="21117"/>
                    <a:pt x="36201" y="21117"/>
                  </a:cubicBezTo>
                  <a:lnTo>
                    <a:pt x="0" y="33184"/>
                  </a:lnTo>
                  <a:cubicBezTo>
                    <a:pt x="0" y="33184"/>
                    <a:pt x="84469" y="87486"/>
                    <a:pt x="150838" y="81452"/>
                  </a:cubicBezTo>
                  <a:cubicBezTo>
                    <a:pt x="217206" y="75419"/>
                    <a:pt x="307709" y="9050"/>
                    <a:pt x="307709" y="9050"/>
                  </a:cubicBezTo>
                  <a:lnTo>
                    <a:pt x="274525" y="0"/>
                  </a:lnTo>
                  <a:close/>
                </a:path>
              </a:pathLst>
            </a:custGeom>
            <a:solidFill>
              <a:srgbClr val="F1DDBA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8" name="图形 1">
              <a:extLst>
                <a:ext uri="{FF2B5EF4-FFF2-40B4-BE49-F238E27FC236}">
                  <a16:creationId xmlns:a16="http://schemas.microsoft.com/office/drawing/2014/main" id="{21C219E9-2D9C-4C9B-A8C3-BC4C112961A5}"/>
                </a:ext>
              </a:extLst>
            </p:cNvPr>
            <p:cNvGrpSpPr/>
            <p:nvPr/>
          </p:nvGrpSpPr>
          <p:grpSpPr>
            <a:xfrm>
              <a:off x="15419134" y="1859779"/>
              <a:ext cx="603246" cy="377094"/>
              <a:chOff x="15419134" y="1859779"/>
              <a:chExt cx="603246" cy="377094"/>
            </a:xfrm>
          </p:grpSpPr>
          <p:grpSp>
            <p:nvGrpSpPr>
              <p:cNvPr id="117" name="图形 1">
                <a:extLst>
                  <a:ext uri="{FF2B5EF4-FFF2-40B4-BE49-F238E27FC236}">
                    <a16:creationId xmlns:a16="http://schemas.microsoft.com/office/drawing/2014/main" id="{55FD1035-8743-4953-9A32-2DE264CBF7B4}"/>
                  </a:ext>
                </a:extLst>
              </p:cNvPr>
              <p:cNvGrpSpPr/>
              <p:nvPr/>
            </p:nvGrpSpPr>
            <p:grpSpPr>
              <a:xfrm>
                <a:off x="15419323" y="1859779"/>
                <a:ext cx="603057" cy="377094"/>
                <a:chOff x="15419323" y="1859779"/>
                <a:chExt cx="603057" cy="377094"/>
              </a:xfrm>
            </p:grpSpPr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6BBF6303-E646-4FF8-B59E-A4F5E40EA441}"/>
                    </a:ext>
                  </a:extLst>
                </p:cNvPr>
                <p:cNvSpPr/>
                <p:nvPr/>
              </p:nvSpPr>
              <p:spPr>
                <a:xfrm>
                  <a:off x="15535075" y="1862437"/>
                  <a:ext cx="487304" cy="374436"/>
                </a:xfrm>
                <a:custGeom>
                  <a:avLst/>
                  <a:gdLst>
                    <a:gd name="connsiteX0" fmla="*/ 389190 w 487304"/>
                    <a:gd name="connsiteY0" fmla="*/ 214549 h 374436"/>
                    <a:gd name="connsiteX1" fmla="*/ 425391 w 487304"/>
                    <a:gd name="connsiteY1" fmla="*/ 374437 h 374436"/>
                    <a:gd name="connsiteX2" fmla="*/ 452542 w 487304"/>
                    <a:gd name="connsiteY2" fmla="*/ 359353 h 374436"/>
                    <a:gd name="connsiteX3" fmla="*/ 362039 w 487304"/>
                    <a:gd name="connsiteY3" fmla="*/ 36560 h 374436"/>
                    <a:gd name="connsiteX4" fmla="*/ 28 w 487304"/>
                    <a:gd name="connsiteY4" fmla="*/ 133096 h 374436"/>
                    <a:gd name="connsiteX5" fmla="*/ 389190 w 487304"/>
                    <a:gd name="connsiteY5" fmla="*/ 214549 h 3744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7304" h="374436">
                      <a:moveTo>
                        <a:pt x="389190" y="214549"/>
                      </a:moveTo>
                      <a:cubicBezTo>
                        <a:pt x="404274" y="229632"/>
                        <a:pt x="422374" y="308068"/>
                        <a:pt x="425391" y="374437"/>
                      </a:cubicBezTo>
                      <a:cubicBezTo>
                        <a:pt x="425391" y="374437"/>
                        <a:pt x="440475" y="365387"/>
                        <a:pt x="452542" y="359353"/>
                      </a:cubicBezTo>
                      <a:cubicBezTo>
                        <a:pt x="488743" y="296001"/>
                        <a:pt x="537011" y="139130"/>
                        <a:pt x="362039" y="36560"/>
                      </a:cubicBezTo>
                      <a:cubicBezTo>
                        <a:pt x="211201" y="-50926"/>
                        <a:pt x="63380" y="33543"/>
                        <a:pt x="28" y="133096"/>
                      </a:cubicBezTo>
                      <a:cubicBezTo>
                        <a:pt x="-2989" y="133096"/>
                        <a:pt x="238352" y="63711"/>
                        <a:pt x="389190" y="21454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DDB098C8-2524-4229-A19D-745E7B0804FE}"/>
                    </a:ext>
                  </a:extLst>
                </p:cNvPr>
                <p:cNvSpPr/>
                <p:nvPr/>
              </p:nvSpPr>
              <p:spPr>
                <a:xfrm>
                  <a:off x="15419323" y="1897613"/>
                  <a:ext cx="517009" cy="251774"/>
                </a:xfrm>
                <a:custGeom>
                  <a:avLst/>
                  <a:gdLst>
                    <a:gd name="connsiteX0" fmla="*/ 517009 w 517009"/>
                    <a:gd name="connsiteY0" fmla="*/ 191439 h 251774"/>
                    <a:gd name="connsiteX1" fmla="*/ 317904 w 517009"/>
                    <a:gd name="connsiteY1" fmla="*/ 43618 h 251774"/>
                    <a:gd name="connsiteX2" fmla="*/ 4160 w 517009"/>
                    <a:gd name="connsiteY2" fmla="*/ 64735 h 251774"/>
                    <a:gd name="connsiteX3" fmla="*/ 91647 w 517009"/>
                    <a:gd name="connsiteY3" fmla="*/ 251774 h 251774"/>
                    <a:gd name="connsiteX4" fmla="*/ 517009 w 517009"/>
                    <a:gd name="connsiteY4" fmla="*/ 191439 h 251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7009" h="251774">
                      <a:moveTo>
                        <a:pt x="517009" y="191439"/>
                      </a:moveTo>
                      <a:cubicBezTo>
                        <a:pt x="517009" y="191439"/>
                        <a:pt x="459691" y="109987"/>
                        <a:pt x="317904" y="43618"/>
                      </a:cubicBezTo>
                      <a:cubicBezTo>
                        <a:pt x="170082" y="-25768"/>
                        <a:pt x="31312" y="-7667"/>
                        <a:pt x="4160" y="64735"/>
                      </a:cubicBezTo>
                      <a:cubicBezTo>
                        <a:pt x="-22991" y="137138"/>
                        <a:pt x="91647" y="251774"/>
                        <a:pt x="91647" y="251774"/>
                      </a:cubicBezTo>
                      <a:cubicBezTo>
                        <a:pt x="91647" y="251774"/>
                        <a:pt x="254552" y="82836"/>
                        <a:pt x="517009" y="19143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4D185D86-0317-401B-B160-962E0E4E7879}"/>
                    </a:ext>
                  </a:extLst>
                </p:cNvPr>
                <p:cNvSpPr/>
                <p:nvPr/>
              </p:nvSpPr>
              <p:spPr>
                <a:xfrm>
                  <a:off x="15866947" y="1859779"/>
                  <a:ext cx="57706" cy="54301"/>
                </a:xfrm>
                <a:custGeom>
                  <a:avLst/>
                  <a:gdLst>
                    <a:gd name="connsiteX0" fmla="*/ 57318 w 57706"/>
                    <a:gd name="connsiteY0" fmla="*/ 27151 h 54301"/>
                    <a:gd name="connsiteX1" fmla="*/ 27151 w 57706"/>
                    <a:gd name="connsiteY1" fmla="*/ 0 h 54301"/>
                    <a:gd name="connsiteX2" fmla="*/ 0 w 57706"/>
                    <a:gd name="connsiteY2" fmla="*/ 27151 h 54301"/>
                    <a:gd name="connsiteX3" fmla="*/ 30168 w 57706"/>
                    <a:gd name="connsiteY3" fmla="*/ 54302 h 54301"/>
                    <a:gd name="connsiteX4" fmla="*/ 57318 w 57706"/>
                    <a:gd name="connsiteY4" fmla="*/ 27151 h 54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706" h="54301">
                      <a:moveTo>
                        <a:pt x="57318" y="27151"/>
                      </a:moveTo>
                      <a:cubicBezTo>
                        <a:pt x="57318" y="12067"/>
                        <a:pt x="45251" y="0"/>
                        <a:pt x="27151" y="0"/>
                      </a:cubicBezTo>
                      <a:cubicBezTo>
                        <a:pt x="12067" y="0"/>
                        <a:pt x="0" y="12067"/>
                        <a:pt x="0" y="27151"/>
                      </a:cubicBezTo>
                      <a:cubicBezTo>
                        <a:pt x="0" y="42235"/>
                        <a:pt x="12067" y="54302"/>
                        <a:pt x="30168" y="54302"/>
                      </a:cubicBezTo>
                      <a:cubicBezTo>
                        <a:pt x="45251" y="54302"/>
                        <a:pt x="60335" y="42235"/>
                        <a:pt x="57318" y="27151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1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305830CE-BFCD-4D84-A4DA-27DD81C996A7}"/>
                  </a:ext>
                </a:extLst>
              </p:cNvPr>
              <p:cNvSpPr/>
              <p:nvPr/>
            </p:nvSpPr>
            <p:spPr>
              <a:xfrm>
                <a:off x="15419134" y="1893175"/>
                <a:ext cx="525495" cy="262246"/>
              </a:xfrm>
              <a:custGeom>
                <a:avLst/>
                <a:gdLst>
                  <a:gd name="connsiteX0" fmla="*/ 94852 w 525495"/>
                  <a:gd name="connsiteY0" fmla="*/ 262246 h 262246"/>
                  <a:gd name="connsiteX1" fmla="*/ 91836 w 525495"/>
                  <a:gd name="connsiteY1" fmla="*/ 259230 h 262246"/>
                  <a:gd name="connsiteX2" fmla="*/ 4349 w 525495"/>
                  <a:gd name="connsiteY2" fmla="*/ 66157 h 262246"/>
                  <a:gd name="connsiteX3" fmla="*/ 191389 w 525495"/>
                  <a:gd name="connsiteY3" fmla="*/ 5822 h 262246"/>
                  <a:gd name="connsiteX4" fmla="*/ 523232 w 525495"/>
                  <a:gd name="connsiteY4" fmla="*/ 192861 h 262246"/>
                  <a:gd name="connsiteX5" fmla="*/ 523232 w 525495"/>
                  <a:gd name="connsiteY5" fmla="*/ 201911 h 262246"/>
                  <a:gd name="connsiteX6" fmla="*/ 514182 w 525495"/>
                  <a:gd name="connsiteY6" fmla="*/ 201911 h 262246"/>
                  <a:gd name="connsiteX7" fmla="*/ 188372 w 525495"/>
                  <a:gd name="connsiteY7" fmla="*/ 20906 h 262246"/>
                  <a:gd name="connsiteX8" fmla="*/ 13400 w 525495"/>
                  <a:gd name="connsiteY8" fmla="*/ 72190 h 262246"/>
                  <a:gd name="connsiteX9" fmla="*/ 100886 w 525495"/>
                  <a:gd name="connsiteY9" fmla="*/ 253196 h 262246"/>
                  <a:gd name="connsiteX10" fmla="*/ 100886 w 525495"/>
                  <a:gd name="connsiteY10" fmla="*/ 262246 h 262246"/>
                  <a:gd name="connsiteX11" fmla="*/ 94852 w 525495"/>
                  <a:gd name="connsiteY11" fmla="*/ 262246 h 26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5495" h="262246">
                    <a:moveTo>
                      <a:pt x="94852" y="262246"/>
                    </a:moveTo>
                    <a:cubicBezTo>
                      <a:pt x="91836" y="262246"/>
                      <a:pt x="91836" y="262246"/>
                      <a:pt x="91836" y="259230"/>
                    </a:cubicBezTo>
                    <a:cubicBezTo>
                      <a:pt x="85802" y="253196"/>
                      <a:pt x="-22801" y="129509"/>
                      <a:pt x="4349" y="66157"/>
                    </a:cubicBezTo>
                    <a:cubicBezTo>
                      <a:pt x="34517" y="-12279"/>
                      <a:pt x="146137" y="-3229"/>
                      <a:pt x="191389" y="5822"/>
                    </a:cubicBezTo>
                    <a:cubicBezTo>
                      <a:pt x="281892" y="20906"/>
                      <a:pt x="414629" y="57107"/>
                      <a:pt x="523232" y="192861"/>
                    </a:cubicBezTo>
                    <a:cubicBezTo>
                      <a:pt x="526249" y="195878"/>
                      <a:pt x="526249" y="198894"/>
                      <a:pt x="523232" y="201911"/>
                    </a:cubicBezTo>
                    <a:cubicBezTo>
                      <a:pt x="520215" y="204928"/>
                      <a:pt x="517198" y="204928"/>
                      <a:pt x="514182" y="201911"/>
                    </a:cubicBezTo>
                    <a:cubicBezTo>
                      <a:pt x="408596" y="69174"/>
                      <a:pt x="278875" y="32973"/>
                      <a:pt x="188372" y="20906"/>
                    </a:cubicBezTo>
                    <a:cubicBezTo>
                      <a:pt x="143120" y="11855"/>
                      <a:pt x="40551" y="2805"/>
                      <a:pt x="13400" y="72190"/>
                    </a:cubicBezTo>
                    <a:cubicBezTo>
                      <a:pt x="-7718" y="129509"/>
                      <a:pt x="97869" y="253196"/>
                      <a:pt x="100886" y="253196"/>
                    </a:cubicBezTo>
                    <a:cubicBezTo>
                      <a:pt x="103903" y="256213"/>
                      <a:pt x="103903" y="259230"/>
                      <a:pt x="100886" y="262246"/>
                    </a:cubicBezTo>
                    <a:cubicBezTo>
                      <a:pt x="97869" y="262246"/>
                      <a:pt x="94852" y="262246"/>
                      <a:pt x="94852" y="2622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62242A0A-6D78-4EC2-923F-773376FD12A0}"/>
                </a:ext>
              </a:extLst>
            </p:cNvPr>
            <p:cNvSpPr/>
            <p:nvPr/>
          </p:nvSpPr>
          <p:spPr>
            <a:xfrm>
              <a:off x="15507953" y="2036999"/>
              <a:ext cx="249546" cy="126593"/>
            </a:xfrm>
            <a:custGeom>
              <a:avLst/>
              <a:gdLst>
                <a:gd name="connsiteX0" fmla="*/ 9050 w 249546"/>
                <a:gd name="connsiteY0" fmla="*/ 70154 h 126593"/>
                <a:gd name="connsiteX1" fmla="*/ 48268 w 249546"/>
                <a:gd name="connsiteY1" fmla="*/ 27920 h 126593"/>
                <a:gd name="connsiteX2" fmla="*/ 87486 w 249546"/>
                <a:gd name="connsiteY2" fmla="*/ 12836 h 126593"/>
                <a:gd name="connsiteX3" fmla="*/ 132737 w 249546"/>
                <a:gd name="connsiteY3" fmla="*/ 18869 h 126593"/>
                <a:gd name="connsiteX4" fmla="*/ 196089 w 249546"/>
                <a:gd name="connsiteY4" fmla="*/ 769 h 126593"/>
                <a:gd name="connsiteX5" fmla="*/ 244358 w 249546"/>
                <a:gd name="connsiteY5" fmla="*/ 15853 h 126593"/>
                <a:gd name="connsiteX6" fmla="*/ 223240 w 249546"/>
                <a:gd name="connsiteY6" fmla="*/ 36970 h 126593"/>
                <a:gd name="connsiteX7" fmla="*/ 135754 w 249546"/>
                <a:gd name="connsiteY7" fmla="*/ 55070 h 126593"/>
                <a:gd name="connsiteX8" fmla="*/ 126703 w 249546"/>
                <a:gd name="connsiteY8" fmla="*/ 52054 h 126593"/>
                <a:gd name="connsiteX9" fmla="*/ 120670 w 249546"/>
                <a:gd name="connsiteY9" fmla="*/ 61104 h 126593"/>
                <a:gd name="connsiteX10" fmla="*/ 39218 w 249546"/>
                <a:gd name="connsiteY10" fmla="*/ 97305 h 126593"/>
                <a:gd name="connsiteX11" fmla="*/ 36201 w 249546"/>
                <a:gd name="connsiteY11" fmla="*/ 100322 h 126593"/>
                <a:gd name="connsiteX12" fmla="*/ 36201 w 249546"/>
                <a:gd name="connsiteY12" fmla="*/ 103339 h 126593"/>
                <a:gd name="connsiteX13" fmla="*/ 9050 w 249546"/>
                <a:gd name="connsiteY13" fmla="*/ 118422 h 126593"/>
                <a:gd name="connsiteX14" fmla="*/ 0 w 249546"/>
                <a:gd name="connsiteY14" fmla="*/ 88255 h 126593"/>
                <a:gd name="connsiteX15" fmla="*/ 9050 w 249546"/>
                <a:gd name="connsiteY15" fmla="*/ 70154 h 1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9546" h="126593">
                  <a:moveTo>
                    <a:pt x="9050" y="70154"/>
                  </a:moveTo>
                  <a:cubicBezTo>
                    <a:pt x="0" y="39987"/>
                    <a:pt x="21117" y="21886"/>
                    <a:pt x="48268" y="27920"/>
                  </a:cubicBezTo>
                  <a:cubicBezTo>
                    <a:pt x="72402" y="33953"/>
                    <a:pt x="63352" y="21886"/>
                    <a:pt x="87486" y="12836"/>
                  </a:cubicBezTo>
                  <a:cubicBezTo>
                    <a:pt x="105587" y="6802"/>
                    <a:pt x="114637" y="15853"/>
                    <a:pt x="132737" y="18869"/>
                  </a:cubicBezTo>
                  <a:cubicBezTo>
                    <a:pt x="153855" y="21886"/>
                    <a:pt x="171955" y="769"/>
                    <a:pt x="196089" y="769"/>
                  </a:cubicBezTo>
                  <a:cubicBezTo>
                    <a:pt x="214190" y="-2248"/>
                    <a:pt x="229274" y="3786"/>
                    <a:pt x="244358" y="15853"/>
                  </a:cubicBezTo>
                  <a:cubicBezTo>
                    <a:pt x="259442" y="27920"/>
                    <a:pt x="238324" y="49037"/>
                    <a:pt x="223240" y="36970"/>
                  </a:cubicBezTo>
                  <a:cubicBezTo>
                    <a:pt x="193072" y="12836"/>
                    <a:pt x="165922" y="55070"/>
                    <a:pt x="135754" y="55070"/>
                  </a:cubicBezTo>
                  <a:cubicBezTo>
                    <a:pt x="132737" y="55070"/>
                    <a:pt x="129720" y="52054"/>
                    <a:pt x="126703" y="52054"/>
                  </a:cubicBezTo>
                  <a:cubicBezTo>
                    <a:pt x="126703" y="55070"/>
                    <a:pt x="123687" y="58087"/>
                    <a:pt x="120670" y="61104"/>
                  </a:cubicBezTo>
                  <a:cubicBezTo>
                    <a:pt x="99553" y="73171"/>
                    <a:pt x="66368" y="100322"/>
                    <a:pt x="39218" y="97305"/>
                  </a:cubicBezTo>
                  <a:cubicBezTo>
                    <a:pt x="39218" y="97305"/>
                    <a:pt x="36201" y="97305"/>
                    <a:pt x="36201" y="100322"/>
                  </a:cubicBezTo>
                  <a:cubicBezTo>
                    <a:pt x="36201" y="100322"/>
                    <a:pt x="36201" y="100322"/>
                    <a:pt x="36201" y="103339"/>
                  </a:cubicBezTo>
                  <a:cubicBezTo>
                    <a:pt x="45251" y="121439"/>
                    <a:pt x="18101" y="136523"/>
                    <a:pt x="9050" y="118422"/>
                  </a:cubicBezTo>
                  <a:cubicBezTo>
                    <a:pt x="3017" y="106355"/>
                    <a:pt x="0" y="103339"/>
                    <a:pt x="0" y="88255"/>
                  </a:cubicBezTo>
                  <a:cubicBezTo>
                    <a:pt x="0" y="79205"/>
                    <a:pt x="3017" y="73171"/>
                    <a:pt x="9050" y="70154"/>
                  </a:cubicBezTo>
                  <a:close/>
                </a:path>
              </a:pathLst>
            </a:custGeom>
            <a:solidFill>
              <a:srgbClr val="664241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3B86F2BA-6C3B-4EA7-90F9-97226930F4E9}"/>
                </a:ext>
              </a:extLst>
            </p:cNvPr>
            <p:cNvSpPr/>
            <p:nvPr/>
          </p:nvSpPr>
          <p:spPr>
            <a:xfrm>
              <a:off x="15176308" y="3039332"/>
              <a:ext cx="1052650" cy="871843"/>
            </a:xfrm>
            <a:custGeom>
              <a:avLst/>
              <a:gdLst>
                <a:gd name="connsiteX0" fmla="*/ 744940 w 1052650"/>
                <a:gd name="connsiteY0" fmla="*/ 0 h 871843"/>
                <a:gd name="connsiteX1" fmla="*/ 542818 w 1052650"/>
                <a:gd name="connsiteY1" fmla="*/ 533967 h 871843"/>
                <a:gd name="connsiteX2" fmla="*/ 2818 w 1052650"/>
                <a:gd name="connsiteY2" fmla="*/ 811508 h 871843"/>
                <a:gd name="connsiteX3" fmla="*/ 153656 w 1052650"/>
                <a:gd name="connsiteY3" fmla="*/ 871844 h 871843"/>
                <a:gd name="connsiteX4" fmla="*/ 790192 w 1052650"/>
                <a:gd name="connsiteY4" fmla="*/ 708939 h 871843"/>
                <a:gd name="connsiteX5" fmla="*/ 1052650 w 1052650"/>
                <a:gd name="connsiteY5" fmla="*/ 126704 h 871843"/>
                <a:gd name="connsiteX6" fmla="*/ 744940 w 1052650"/>
                <a:gd name="connsiteY6" fmla="*/ 0 h 87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2650" h="871843">
                  <a:moveTo>
                    <a:pt x="744940" y="0"/>
                  </a:moveTo>
                  <a:lnTo>
                    <a:pt x="542818" y="533967"/>
                  </a:lnTo>
                  <a:cubicBezTo>
                    <a:pt x="542818" y="533967"/>
                    <a:pt x="126504" y="699888"/>
                    <a:pt x="2818" y="811508"/>
                  </a:cubicBezTo>
                  <a:cubicBezTo>
                    <a:pt x="-24334" y="835643"/>
                    <a:pt x="153656" y="871844"/>
                    <a:pt x="153656" y="871844"/>
                  </a:cubicBezTo>
                  <a:cubicBezTo>
                    <a:pt x="153656" y="871844"/>
                    <a:pt x="714773" y="808492"/>
                    <a:pt x="790192" y="708939"/>
                  </a:cubicBezTo>
                  <a:cubicBezTo>
                    <a:pt x="865611" y="606369"/>
                    <a:pt x="1052650" y="126704"/>
                    <a:pt x="1052650" y="126704"/>
                  </a:cubicBezTo>
                  <a:lnTo>
                    <a:pt x="744940" y="0"/>
                  </a:lnTo>
                  <a:close/>
                </a:path>
              </a:pathLst>
            </a:custGeom>
            <a:solidFill>
              <a:srgbClr val="F49F84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A64EB424-32CF-4B7B-97F7-ADE4F729595F}"/>
                </a:ext>
              </a:extLst>
            </p:cNvPr>
            <p:cNvSpPr/>
            <p:nvPr/>
          </p:nvSpPr>
          <p:spPr>
            <a:xfrm>
              <a:off x="15854880" y="2662086"/>
              <a:ext cx="438870" cy="603502"/>
            </a:xfrm>
            <a:custGeom>
              <a:avLst/>
              <a:gdLst>
                <a:gd name="connsiteX0" fmla="*/ 389162 w 438870"/>
                <a:gd name="connsiteY0" fmla="*/ 603503 h 603502"/>
                <a:gd name="connsiteX1" fmla="*/ 380112 w 438870"/>
                <a:gd name="connsiteY1" fmla="*/ 9201 h 603502"/>
                <a:gd name="connsiteX2" fmla="*/ 0 w 438870"/>
                <a:gd name="connsiteY2" fmla="*/ 449648 h 603502"/>
                <a:gd name="connsiteX3" fmla="*/ 389162 w 438870"/>
                <a:gd name="connsiteY3" fmla="*/ 603503 h 603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870" h="603502">
                  <a:moveTo>
                    <a:pt x="389162" y="603503"/>
                  </a:moveTo>
                  <a:cubicBezTo>
                    <a:pt x="389162" y="603503"/>
                    <a:pt x="506815" y="84620"/>
                    <a:pt x="380112" y="9201"/>
                  </a:cubicBezTo>
                  <a:cubicBezTo>
                    <a:pt x="235307" y="-75268"/>
                    <a:pt x="0" y="449648"/>
                    <a:pt x="0" y="449648"/>
                  </a:cubicBezTo>
                  <a:cubicBezTo>
                    <a:pt x="0" y="449648"/>
                    <a:pt x="159888" y="603503"/>
                    <a:pt x="389162" y="603503"/>
                  </a:cubicBezTo>
                  <a:close/>
                </a:path>
              </a:pathLst>
            </a:custGeom>
            <a:solidFill>
              <a:srgbClr val="7F95BC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927E45E5-4BA3-4586-96A5-215A23F3B6FF}"/>
                </a:ext>
              </a:extLst>
            </p:cNvPr>
            <p:cNvSpPr/>
            <p:nvPr/>
          </p:nvSpPr>
          <p:spPr>
            <a:xfrm>
              <a:off x="15848846" y="2665677"/>
              <a:ext cx="446481" cy="605945"/>
            </a:xfrm>
            <a:custGeom>
              <a:avLst/>
              <a:gdLst>
                <a:gd name="connsiteX0" fmla="*/ 383129 w 446481"/>
                <a:gd name="connsiteY0" fmla="*/ 605945 h 605945"/>
                <a:gd name="connsiteX1" fmla="*/ 3017 w 446481"/>
                <a:gd name="connsiteY1" fmla="*/ 452091 h 605945"/>
                <a:gd name="connsiteX2" fmla="*/ 0 w 446481"/>
                <a:gd name="connsiteY2" fmla="*/ 449074 h 605945"/>
                <a:gd name="connsiteX3" fmla="*/ 3017 w 446481"/>
                <a:gd name="connsiteY3" fmla="*/ 446057 h 605945"/>
                <a:gd name="connsiteX4" fmla="*/ 177989 w 446481"/>
                <a:gd name="connsiteY4" fmla="*/ 135331 h 605945"/>
                <a:gd name="connsiteX5" fmla="*/ 389162 w 446481"/>
                <a:gd name="connsiteY5" fmla="*/ 2593 h 605945"/>
                <a:gd name="connsiteX6" fmla="*/ 392179 w 446481"/>
                <a:gd name="connsiteY6" fmla="*/ 8627 h 605945"/>
                <a:gd name="connsiteX7" fmla="*/ 386146 w 446481"/>
                <a:gd name="connsiteY7" fmla="*/ 11644 h 605945"/>
                <a:gd name="connsiteX8" fmla="*/ 187039 w 446481"/>
                <a:gd name="connsiteY8" fmla="*/ 141364 h 605945"/>
                <a:gd name="connsiteX9" fmla="*/ 15084 w 446481"/>
                <a:gd name="connsiteY9" fmla="*/ 449074 h 605945"/>
                <a:gd name="connsiteX10" fmla="*/ 386146 w 446481"/>
                <a:gd name="connsiteY10" fmla="*/ 596895 h 605945"/>
                <a:gd name="connsiteX11" fmla="*/ 395196 w 446481"/>
                <a:gd name="connsiteY11" fmla="*/ 596895 h 605945"/>
                <a:gd name="connsiteX12" fmla="*/ 434413 w 446481"/>
                <a:gd name="connsiteY12" fmla="*/ 364605 h 605945"/>
                <a:gd name="connsiteX13" fmla="*/ 440447 w 446481"/>
                <a:gd name="connsiteY13" fmla="*/ 358571 h 605945"/>
                <a:gd name="connsiteX14" fmla="*/ 446481 w 446481"/>
                <a:gd name="connsiteY14" fmla="*/ 364605 h 605945"/>
                <a:gd name="connsiteX15" fmla="*/ 407263 w 446481"/>
                <a:gd name="connsiteY15" fmla="*/ 602929 h 605945"/>
                <a:gd name="connsiteX16" fmla="*/ 407263 w 446481"/>
                <a:gd name="connsiteY16" fmla="*/ 605945 h 605945"/>
                <a:gd name="connsiteX17" fmla="*/ 404246 w 446481"/>
                <a:gd name="connsiteY17" fmla="*/ 605945 h 605945"/>
                <a:gd name="connsiteX18" fmla="*/ 383129 w 446481"/>
                <a:gd name="connsiteY18" fmla="*/ 605945 h 605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46481" h="605945">
                  <a:moveTo>
                    <a:pt x="383129" y="605945"/>
                  </a:moveTo>
                  <a:cubicBezTo>
                    <a:pt x="168939" y="605945"/>
                    <a:pt x="3017" y="455107"/>
                    <a:pt x="3017" y="452091"/>
                  </a:cubicBezTo>
                  <a:lnTo>
                    <a:pt x="0" y="449074"/>
                  </a:lnTo>
                  <a:lnTo>
                    <a:pt x="3017" y="446057"/>
                  </a:lnTo>
                  <a:cubicBezTo>
                    <a:pt x="3017" y="443040"/>
                    <a:pt x="81453" y="289186"/>
                    <a:pt x="177989" y="135331"/>
                  </a:cubicBezTo>
                  <a:cubicBezTo>
                    <a:pt x="274525" y="-21541"/>
                    <a:pt x="386146" y="-423"/>
                    <a:pt x="389162" y="2593"/>
                  </a:cubicBezTo>
                  <a:cubicBezTo>
                    <a:pt x="392179" y="2593"/>
                    <a:pt x="395196" y="5610"/>
                    <a:pt x="392179" y="8627"/>
                  </a:cubicBezTo>
                  <a:cubicBezTo>
                    <a:pt x="392179" y="11644"/>
                    <a:pt x="389162" y="14660"/>
                    <a:pt x="386146" y="11644"/>
                  </a:cubicBezTo>
                  <a:cubicBezTo>
                    <a:pt x="386146" y="11644"/>
                    <a:pt x="277542" y="-9474"/>
                    <a:pt x="187039" y="141364"/>
                  </a:cubicBezTo>
                  <a:cubicBezTo>
                    <a:pt x="99554" y="280135"/>
                    <a:pt x="27151" y="421923"/>
                    <a:pt x="15084" y="449074"/>
                  </a:cubicBezTo>
                  <a:cubicBezTo>
                    <a:pt x="39218" y="470191"/>
                    <a:pt x="193072" y="596895"/>
                    <a:pt x="386146" y="596895"/>
                  </a:cubicBezTo>
                  <a:cubicBezTo>
                    <a:pt x="389162" y="596895"/>
                    <a:pt x="392179" y="596895"/>
                    <a:pt x="395196" y="596895"/>
                  </a:cubicBezTo>
                  <a:cubicBezTo>
                    <a:pt x="401230" y="569744"/>
                    <a:pt x="428380" y="412873"/>
                    <a:pt x="434413" y="364605"/>
                  </a:cubicBezTo>
                  <a:cubicBezTo>
                    <a:pt x="434413" y="361588"/>
                    <a:pt x="437430" y="358571"/>
                    <a:pt x="440447" y="358571"/>
                  </a:cubicBezTo>
                  <a:cubicBezTo>
                    <a:pt x="443464" y="358571"/>
                    <a:pt x="446481" y="361588"/>
                    <a:pt x="446481" y="364605"/>
                  </a:cubicBezTo>
                  <a:cubicBezTo>
                    <a:pt x="440447" y="418906"/>
                    <a:pt x="407263" y="602929"/>
                    <a:pt x="407263" y="602929"/>
                  </a:cubicBezTo>
                  <a:lnTo>
                    <a:pt x="407263" y="605945"/>
                  </a:lnTo>
                  <a:lnTo>
                    <a:pt x="404246" y="605945"/>
                  </a:lnTo>
                  <a:cubicBezTo>
                    <a:pt x="392179" y="605945"/>
                    <a:pt x="386146" y="605945"/>
                    <a:pt x="383129" y="605945"/>
                  </a:cubicBezTo>
                  <a:close/>
                </a:path>
              </a:pathLst>
            </a:custGeom>
            <a:solidFill>
              <a:srgbClr val="38343B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9591D2D7-D452-4CB6-9938-C902D1B87708}"/>
                </a:ext>
              </a:extLst>
            </p:cNvPr>
            <p:cNvSpPr/>
            <p:nvPr/>
          </p:nvSpPr>
          <p:spPr>
            <a:xfrm>
              <a:off x="13788400" y="3902125"/>
              <a:ext cx="1577765" cy="120670"/>
            </a:xfrm>
            <a:custGeom>
              <a:avLst/>
              <a:gdLst>
                <a:gd name="connsiteX0" fmla="*/ 1577765 w 1577765"/>
                <a:gd name="connsiteY0" fmla="*/ 60335 h 120670"/>
                <a:gd name="connsiteX1" fmla="*/ 1577765 w 1577765"/>
                <a:gd name="connsiteY1" fmla="*/ 60335 h 120670"/>
                <a:gd name="connsiteX2" fmla="*/ 1517430 w 1577765"/>
                <a:gd name="connsiteY2" fmla="*/ 0 h 120670"/>
                <a:gd name="connsiteX3" fmla="*/ 60335 w 1577765"/>
                <a:gd name="connsiteY3" fmla="*/ 0 h 120670"/>
                <a:gd name="connsiteX4" fmla="*/ 0 w 1577765"/>
                <a:gd name="connsiteY4" fmla="*/ 60335 h 120670"/>
                <a:gd name="connsiteX5" fmla="*/ 0 w 1577765"/>
                <a:gd name="connsiteY5" fmla="*/ 60335 h 120670"/>
                <a:gd name="connsiteX6" fmla="*/ 60335 w 1577765"/>
                <a:gd name="connsiteY6" fmla="*/ 120670 h 120670"/>
                <a:gd name="connsiteX7" fmla="*/ 1517430 w 1577765"/>
                <a:gd name="connsiteY7" fmla="*/ 120670 h 120670"/>
                <a:gd name="connsiteX8" fmla="*/ 1577765 w 1577765"/>
                <a:gd name="connsiteY8" fmla="*/ 60335 h 120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7765" h="120670">
                  <a:moveTo>
                    <a:pt x="1577765" y="60335"/>
                  </a:moveTo>
                  <a:lnTo>
                    <a:pt x="1577765" y="60335"/>
                  </a:lnTo>
                  <a:cubicBezTo>
                    <a:pt x="1577765" y="27151"/>
                    <a:pt x="1550614" y="0"/>
                    <a:pt x="1517430" y="0"/>
                  </a:cubicBezTo>
                  <a:lnTo>
                    <a:pt x="60335" y="0"/>
                  </a:lnTo>
                  <a:cubicBezTo>
                    <a:pt x="27151" y="0"/>
                    <a:pt x="0" y="27151"/>
                    <a:pt x="0" y="60335"/>
                  </a:cubicBezTo>
                  <a:lnTo>
                    <a:pt x="0" y="60335"/>
                  </a:lnTo>
                  <a:cubicBezTo>
                    <a:pt x="0" y="93520"/>
                    <a:pt x="27151" y="120670"/>
                    <a:pt x="60335" y="120670"/>
                  </a:cubicBezTo>
                  <a:lnTo>
                    <a:pt x="1517430" y="120670"/>
                  </a:lnTo>
                  <a:cubicBezTo>
                    <a:pt x="1550614" y="120670"/>
                    <a:pt x="1577765" y="93520"/>
                    <a:pt x="1577765" y="60335"/>
                  </a:cubicBezTo>
                  <a:close/>
                </a:path>
              </a:pathLst>
            </a:custGeom>
            <a:solidFill>
              <a:srgbClr val="D39778"/>
            </a:solidFill>
            <a:ln w="3015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4" name="图形 1">
              <a:extLst>
                <a:ext uri="{FF2B5EF4-FFF2-40B4-BE49-F238E27FC236}">
                  <a16:creationId xmlns:a16="http://schemas.microsoft.com/office/drawing/2014/main" id="{737B35C3-9ABC-4403-80B7-5BF18A6B25DC}"/>
                </a:ext>
              </a:extLst>
            </p:cNvPr>
            <p:cNvGrpSpPr/>
            <p:nvPr/>
          </p:nvGrpSpPr>
          <p:grpSpPr>
            <a:xfrm>
              <a:off x="14546653" y="3833389"/>
              <a:ext cx="215336" cy="150188"/>
              <a:chOff x="14546653" y="3833389"/>
              <a:chExt cx="215336" cy="150188"/>
            </a:xfrm>
          </p:grpSpPr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264DF1A5-9609-4032-A3D5-8B8B386B27CE}"/>
                  </a:ext>
                </a:extLst>
              </p:cNvPr>
              <p:cNvSpPr/>
              <p:nvPr/>
            </p:nvSpPr>
            <p:spPr>
              <a:xfrm>
                <a:off x="14666857" y="3833389"/>
                <a:ext cx="95132" cy="139581"/>
              </a:xfrm>
              <a:custGeom>
                <a:avLst/>
                <a:gdLst>
                  <a:gd name="connsiteX0" fmla="*/ 92939 w 95132"/>
                  <a:gd name="connsiteY0" fmla="*/ 14434 h 139581"/>
                  <a:gd name="connsiteX1" fmla="*/ 68805 w 95132"/>
                  <a:gd name="connsiteY1" fmla="*/ 101920 h 139581"/>
                  <a:gd name="connsiteX2" fmla="*/ 65788 w 95132"/>
                  <a:gd name="connsiteY2" fmla="*/ 117004 h 139581"/>
                  <a:gd name="connsiteX3" fmla="*/ 56739 w 95132"/>
                  <a:gd name="connsiteY3" fmla="*/ 129071 h 139581"/>
                  <a:gd name="connsiteX4" fmla="*/ 8470 w 95132"/>
                  <a:gd name="connsiteY4" fmla="*/ 135104 h 139581"/>
                  <a:gd name="connsiteX5" fmla="*/ 5453 w 95132"/>
                  <a:gd name="connsiteY5" fmla="*/ 92870 h 139581"/>
                  <a:gd name="connsiteX6" fmla="*/ 26571 w 95132"/>
                  <a:gd name="connsiteY6" fmla="*/ 38568 h 139581"/>
                  <a:gd name="connsiteX7" fmla="*/ 56739 w 95132"/>
                  <a:gd name="connsiteY7" fmla="*/ 2367 h 139581"/>
                  <a:gd name="connsiteX8" fmla="*/ 92939 w 95132"/>
                  <a:gd name="connsiteY8" fmla="*/ 14434 h 139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132" h="139581">
                    <a:moveTo>
                      <a:pt x="92939" y="14434"/>
                    </a:moveTo>
                    <a:cubicBezTo>
                      <a:pt x="101990" y="38568"/>
                      <a:pt x="80872" y="71753"/>
                      <a:pt x="68805" y="101920"/>
                    </a:cubicBezTo>
                    <a:cubicBezTo>
                      <a:pt x="68805" y="104937"/>
                      <a:pt x="68805" y="113987"/>
                      <a:pt x="65788" y="117004"/>
                    </a:cubicBezTo>
                    <a:cubicBezTo>
                      <a:pt x="62771" y="123037"/>
                      <a:pt x="59755" y="126054"/>
                      <a:pt x="56739" y="129071"/>
                    </a:cubicBezTo>
                    <a:cubicBezTo>
                      <a:pt x="44672" y="138121"/>
                      <a:pt x="20537" y="144155"/>
                      <a:pt x="8470" y="135104"/>
                    </a:cubicBezTo>
                    <a:cubicBezTo>
                      <a:pt x="-6614" y="126054"/>
                      <a:pt x="2436" y="104937"/>
                      <a:pt x="5453" y="92870"/>
                    </a:cubicBezTo>
                    <a:cubicBezTo>
                      <a:pt x="11487" y="74769"/>
                      <a:pt x="17520" y="56669"/>
                      <a:pt x="26571" y="38568"/>
                    </a:cubicBezTo>
                    <a:cubicBezTo>
                      <a:pt x="32604" y="26501"/>
                      <a:pt x="35621" y="8400"/>
                      <a:pt x="56739" y="2367"/>
                    </a:cubicBezTo>
                    <a:cubicBezTo>
                      <a:pt x="74839" y="-3666"/>
                      <a:pt x="89923" y="2367"/>
                      <a:pt x="92939" y="1443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19A29131-560C-4D1F-B112-A41A3BDE8E38}"/>
                  </a:ext>
                </a:extLst>
              </p:cNvPr>
              <p:cNvSpPr/>
              <p:nvPr/>
            </p:nvSpPr>
            <p:spPr>
              <a:xfrm>
                <a:off x="14612555" y="3838181"/>
                <a:ext cx="98986" cy="137806"/>
              </a:xfrm>
              <a:custGeom>
                <a:avLst/>
                <a:gdLst>
                  <a:gd name="connsiteX0" fmla="*/ 92939 w 98986"/>
                  <a:gd name="connsiteY0" fmla="*/ 15676 h 137806"/>
                  <a:gd name="connsiteX1" fmla="*/ 71821 w 98986"/>
                  <a:gd name="connsiteY1" fmla="*/ 109195 h 137806"/>
                  <a:gd name="connsiteX2" fmla="*/ 65788 w 98986"/>
                  <a:gd name="connsiteY2" fmla="*/ 115229 h 137806"/>
                  <a:gd name="connsiteX3" fmla="*/ 56738 w 98986"/>
                  <a:gd name="connsiteY3" fmla="*/ 127296 h 137806"/>
                  <a:gd name="connsiteX4" fmla="*/ 8470 w 98986"/>
                  <a:gd name="connsiteY4" fmla="*/ 133329 h 137806"/>
                  <a:gd name="connsiteX5" fmla="*/ 5453 w 98986"/>
                  <a:gd name="connsiteY5" fmla="*/ 91095 h 137806"/>
                  <a:gd name="connsiteX6" fmla="*/ 26570 w 98986"/>
                  <a:gd name="connsiteY6" fmla="*/ 36793 h 137806"/>
                  <a:gd name="connsiteX7" fmla="*/ 56738 w 98986"/>
                  <a:gd name="connsiteY7" fmla="*/ 592 h 137806"/>
                  <a:gd name="connsiteX8" fmla="*/ 92939 w 98986"/>
                  <a:gd name="connsiteY8" fmla="*/ 15676 h 137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986" h="137806">
                    <a:moveTo>
                      <a:pt x="92939" y="15676"/>
                    </a:moveTo>
                    <a:cubicBezTo>
                      <a:pt x="111040" y="45843"/>
                      <a:pt x="83889" y="79027"/>
                      <a:pt x="71821" y="109195"/>
                    </a:cubicBezTo>
                    <a:cubicBezTo>
                      <a:pt x="71821" y="112212"/>
                      <a:pt x="68805" y="115229"/>
                      <a:pt x="65788" y="115229"/>
                    </a:cubicBezTo>
                    <a:cubicBezTo>
                      <a:pt x="62771" y="121262"/>
                      <a:pt x="59755" y="124279"/>
                      <a:pt x="56738" y="127296"/>
                    </a:cubicBezTo>
                    <a:cubicBezTo>
                      <a:pt x="44671" y="136346"/>
                      <a:pt x="20537" y="142380"/>
                      <a:pt x="8470" y="133329"/>
                    </a:cubicBezTo>
                    <a:cubicBezTo>
                      <a:pt x="-6614" y="124279"/>
                      <a:pt x="2436" y="103162"/>
                      <a:pt x="5453" y="91095"/>
                    </a:cubicBezTo>
                    <a:cubicBezTo>
                      <a:pt x="11486" y="72994"/>
                      <a:pt x="17520" y="54893"/>
                      <a:pt x="26570" y="36793"/>
                    </a:cubicBezTo>
                    <a:cubicBezTo>
                      <a:pt x="32604" y="24726"/>
                      <a:pt x="35621" y="6625"/>
                      <a:pt x="56738" y="592"/>
                    </a:cubicBezTo>
                    <a:cubicBezTo>
                      <a:pt x="74838" y="-2425"/>
                      <a:pt x="86905" y="6625"/>
                      <a:pt x="92939" y="1567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8EB5A1D9-B522-425A-A212-28E687DBDC29}"/>
                  </a:ext>
                </a:extLst>
              </p:cNvPr>
              <p:cNvSpPr/>
              <p:nvPr/>
            </p:nvSpPr>
            <p:spPr>
              <a:xfrm>
                <a:off x="14577605" y="3843346"/>
                <a:ext cx="81883" cy="122252"/>
              </a:xfrm>
              <a:custGeom>
                <a:avLst/>
                <a:gdLst>
                  <a:gd name="connsiteX0" fmla="*/ 76604 w 81883"/>
                  <a:gd name="connsiteY0" fmla="*/ 10510 h 122252"/>
                  <a:gd name="connsiteX1" fmla="*/ 61520 w 81883"/>
                  <a:gd name="connsiteY1" fmla="*/ 94980 h 122252"/>
                  <a:gd name="connsiteX2" fmla="*/ 58504 w 81883"/>
                  <a:gd name="connsiteY2" fmla="*/ 101013 h 122252"/>
                  <a:gd name="connsiteX3" fmla="*/ 49453 w 81883"/>
                  <a:gd name="connsiteY3" fmla="*/ 113080 h 122252"/>
                  <a:gd name="connsiteX4" fmla="*/ 7219 w 81883"/>
                  <a:gd name="connsiteY4" fmla="*/ 119114 h 122252"/>
                  <a:gd name="connsiteX5" fmla="*/ 4202 w 81883"/>
                  <a:gd name="connsiteY5" fmla="*/ 82913 h 122252"/>
                  <a:gd name="connsiteX6" fmla="*/ 19286 w 81883"/>
                  <a:gd name="connsiteY6" fmla="*/ 34645 h 122252"/>
                  <a:gd name="connsiteX7" fmla="*/ 43421 w 81883"/>
                  <a:gd name="connsiteY7" fmla="*/ 4477 h 122252"/>
                  <a:gd name="connsiteX8" fmla="*/ 76604 w 81883"/>
                  <a:gd name="connsiteY8" fmla="*/ 10510 h 122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883" h="122252">
                    <a:moveTo>
                      <a:pt x="76604" y="10510"/>
                    </a:moveTo>
                    <a:cubicBezTo>
                      <a:pt x="91688" y="37661"/>
                      <a:pt x="70571" y="64812"/>
                      <a:pt x="61520" y="94980"/>
                    </a:cubicBezTo>
                    <a:cubicBezTo>
                      <a:pt x="61520" y="97996"/>
                      <a:pt x="58504" y="97996"/>
                      <a:pt x="58504" y="101013"/>
                    </a:cubicBezTo>
                    <a:cubicBezTo>
                      <a:pt x="55487" y="104030"/>
                      <a:pt x="55487" y="110064"/>
                      <a:pt x="49453" y="113080"/>
                    </a:cubicBezTo>
                    <a:cubicBezTo>
                      <a:pt x="37387" y="122131"/>
                      <a:pt x="19286" y="125147"/>
                      <a:pt x="7219" y="119114"/>
                    </a:cubicBezTo>
                    <a:cubicBezTo>
                      <a:pt x="-4848" y="110064"/>
                      <a:pt x="1185" y="91963"/>
                      <a:pt x="4202" y="82913"/>
                    </a:cubicBezTo>
                    <a:cubicBezTo>
                      <a:pt x="7219" y="67829"/>
                      <a:pt x="13253" y="49728"/>
                      <a:pt x="19286" y="34645"/>
                    </a:cubicBezTo>
                    <a:cubicBezTo>
                      <a:pt x="22303" y="25594"/>
                      <a:pt x="28337" y="10510"/>
                      <a:pt x="43421" y="4477"/>
                    </a:cubicBezTo>
                    <a:cubicBezTo>
                      <a:pt x="58504" y="-4573"/>
                      <a:pt x="70571" y="1460"/>
                      <a:pt x="76604" y="1051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CE6E1D6E-61B1-46D7-9C02-C387E7D7F3C9}"/>
                  </a:ext>
                </a:extLst>
              </p:cNvPr>
              <p:cNvSpPr/>
              <p:nvPr/>
            </p:nvSpPr>
            <p:spPr>
              <a:xfrm>
                <a:off x="14546653" y="3847823"/>
                <a:ext cx="60331" cy="90774"/>
              </a:xfrm>
              <a:custGeom>
                <a:avLst/>
                <a:gdLst>
                  <a:gd name="connsiteX0" fmla="*/ 56272 w 60331"/>
                  <a:gd name="connsiteY0" fmla="*/ 12067 h 90774"/>
                  <a:gd name="connsiteX1" fmla="*/ 44205 w 60331"/>
                  <a:gd name="connsiteY1" fmla="*/ 72402 h 90774"/>
                  <a:gd name="connsiteX2" fmla="*/ 41188 w 60331"/>
                  <a:gd name="connsiteY2" fmla="*/ 75419 h 90774"/>
                  <a:gd name="connsiteX3" fmla="*/ 35154 w 60331"/>
                  <a:gd name="connsiteY3" fmla="*/ 84469 h 90774"/>
                  <a:gd name="connsiteX4" fmla="*/ 4987 w 60331"/>
                  <a:gd name="connsiteY4" fmla="*/ 87486 h 90774"/>
                  <a:gd name="connsiteX5" fmla="*/ 1970 w 60331"/>
                  <a:gd name="connsiteY5" fmla="*/ 60335 h 90774"/>
                  <a:gd name="connsiteX6" fmla="*/ 14038 w 60331"/>
                  <a:gd name="connsiteY6" fmla="*/ 24134 h 90774"/>
                  <a:gd name="connsiteX7" fmla="*/ 32137 w 60331"/>
                  <a:gd name="connsiteY7" fmla="*/ 0 h 90774"/>
                  <a:gd name="connsiteX8" fmla="*/ 56272 w 60331"/>
                  <a:gd name="connsiteY8" fmla="*/ 12067 h 90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331" h="90774">
                    <a:moveTo>
                      <a:pt x="56272" y="12067"/>
                    </a:moveTo>
                    <a:cubicBezTo>
                      <a:pt x="68339" y="33184"/>
                      <a:pt x="50238" y="54302"/>
                      <a:pt x="44205" y="72402"/>
                    </a:cubicBezTo>
                    <a:cubicBezTo>
                      <a:pt x="44205" y="75419"/>
                      <a:pt x="41188" y="75419"/>
                      <a:pt x="41188" y="75419"/>
                    </a:cubicBezTo>
                    <a:cubicBezTo>
                      <a:pt x="41188" y="78436"/>
                      <a:pt x="38171" y="81452"/>
                      <a:pt x="35154" y="84469"/>
                    </a:cubicBezTo>
                    <a:cubicBezTo>
                      <a:pt x="26104" y="90503"/>
                      <a:pt x="14038" y="93520"/>
                      <a:pt x="4987" y="87486"/>
                    </a:cubicBezTo>
                    <a:cubicBezTo>
                      <a:pt x="-4063" y="81452"/>
                      <a:pt x="1970" y="69385"/>
                      <a:pt x="1970" y="60335"/>
                    </a:cubicBezTo>
                    <a:cubicBezTo>
                      <a:pt x="4987" y="48268"/>
                      <a:pt x="8004" y="36201"/>
                      <a:pt x="14038" y="24134"/>
                    </a:cubicBezTo>
                    <a:cubicBezTo>
                      <a:pt x="17054" y="15084"/>
                      <a:pt x="20071" y="6033"/>
                      <a:pt x="32137" y="0"/>
                    </a:cubicBezTo>
                    <a:cubicBezTo>
                      <a:pt x="44205" y="0"/>
                      <a:pt x="53255" y="6033"/>
                      <a:pt x="56272" y="12067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2E43C0C3-0A52-4B71-9724-0C2668220A23}"/>
                  </a:ext>
                </a:extLst>
              </p:cNvPr>
              <p:cNvSpPr/>
              <p:nvPr/>
            </p:nvSpPr>
            <p:spPr>
              <a:xfrm>
                <a:off x="14611852" y="3835756"/>
                <a:ext cx="146176" cy="147821"/>
              </a:xfrm>
              <a:custGeom>
                <a:avLst/>
                <a:gdLst>
                  <a:gd name="connsiteX0" fmla="*/ 27273 w 146176"/>
                  <a:gd name="connsiteY0" fmla="*/ 147821 h 147821"/>
                  <a:gd name="connsiteX1" fmla="*/ 18223 w 146176"/>
                  <a:gd name="connsiteY1" fmla="*/ 147821 h 147821"/>
                  <a:gd name="connsiteX2" fmla="*/ 3139 w 146176"/>
                  <a:gd name="connsiteY2" fmla="*/ 138771 h 147821"/>
                  <a:gd name="connsiteX3" fmla="*/ 9173 w 146176"/>
                  <a:gd name="connsiteY3" fmla="*/ 84469 h 147821"/>
                  <a:gd name="connsiteX4" fmla="*/ 75541 w 146176"/>
                  <a:gd name="connsiteY4" fmla="*/ 0 h 147821"/>
                  <a:gd name="connsiteX5" fmla="*/ 75541 w 146176"/>
                  <a:gd name="connsiteY5" fmla="*/ 0 h 147821"/>
                  <a:gd name="connsiteX6" fmla="*/ 96659 w 146176"/>
                  <a:gd name="connsiteY6" fmla="*/ 9050 h 147821"/>
                  <a:gd name="connsiteX7" fmla="*/ 96659 w 146176"/>
                  <a:gd name="connsiteY7" fmla="*/ 21117 h 147821"/>
                  <a:gd name="connsiteX8" fmla="*/ 66491 w 146176"/>
                  <a:gd name="connsiteY8" fmla="*/ 120670 h 147821"/>
                  <a:gd name="connsiteX9" fmla="*/ 81575 w 146176"/>
                  <a:gd name="connsiteY9" fmla="*/ 129721 h 147821"/>
                  <a:gd name="connsiteX10" fmla="*/ 93642 w 146176"/>
                  <a:gd name="connsiteY10" fmla="*/ 126704 h 147821"/>
                  <a:gd name="connsiteX11" fmla="*/ 135876 w 146176"/>
                  <a:gd name="connsiteY11" fmla="*/ 42235 h 147821"/>
                  <a:gd name="connsiteX12" fmla="*/ 141910 w 146176"/>
                  <a:gd name="connsiteY12" fmla="*/ 39218 h 147821"/>
                  <a:gd name="connsiteX13" fmla="*/ 144927 w 146176"/>
                  <a:gd name="connsiteY13" fmla="*/ 45251 h 147821"/>
                  <a:gd name="connsiteX14" fmla="*/ 96659 w 146176"/>
                  <a:gd name="connsiteY14" fmla="*/ 135754 h 147821"/>
                  <a:gd name="connsiteX15" fmla="*/ 75541 w 146176"/>
                  <a:gd name="connsiteY15" fmla="*/ 138771 h 147821"/>
                  <a:gd name="connsiteX16" fmla="*/ 63474 w 146176"/>
                  <a:gd name="connsiteY16" fmla="*/ 132737 h 147821"/>
                  <a:gd name="connsiteX17" fmla="*/ 63474 w 146176"/>
                  <a:gd name="connsiteY17" fmla="*/ 132737 h 147821"/>
                  <a:gd name="connsiteX18" fmla="*/ 27273 w 146176"/>
                  <a:gd name="connsiteY18" fmla="*/ 147821 h 147821"/>
                  <a:gd name="connsiteX19" fmla="*/ 75541 w 146176"/>
                  <a:gd name="connsiteY19" fmla="*/ 9050 h 147821"/>
                  <a:gd name="connsiteX20" fmla="*/ 21240 w 146176"/>
                  <a:gd name="connsiteY20" fmla="*/ 84469 h 147821"/>
                  <a:gd name="connsiteX21" fmla="*/ 15206 w 146176"/>
                  <a:gd name="connsiteY21" fmla="*/ 129721 h 147821"/>
                  <a:gd name="connsiteX22" fmla="*/ 21240 w 146176"/>
                  <a:gd name="connsiteY22" fmla="*/ 135754 h 147821"/>
                  <a:gd name="connsiteX23" fmla="*/ 60457 w 146176"/>
                  <a:gd name="connsiteY23" fmla="*/ 126704 h 147821"/>
                  <a:gd name="connsiteX24" fmla="*/ 60457 w 146176"/>
                  <a:gd name="connsiteY24" fmla="*/ 123687 h 147821"/>
                  <a:gd name="connsiteX25" fmla="*/ 90625 w 146176"/>
                  <a:gd name="connsiteY25" fmla="*/ 15084 h 147821"/>
                  <a:gd name="connsiteX26" fmla="*/ 90625 w 146176"/>
                  <a:gd name="connsiteY26" fmla="*/ 15084 h 147821"/>
                  <a:gd name="connsiteX27" fmla="*/ 90625 w 146176"/>
                  <a:gd name="connsiteY27" fmla="*/ 12067 h 147821"/>
                  <a:gd name="connsiteX28" fmla="*/ 75541 w 146176"/>
                  <a:gd name="connsiteY28" fmla="*/ 9050 h 147821"/>
                  <a:gd name="connsiteX29" fmla="*/ 75541 w 146176"/>
                  <a:gd name="connsiteY29" fmla="*/ 9050 h 147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46176" h="147821">
                    <a:moveTo>
                      <a:pt x="27273" y="147821"/>
                    </a:moveTo>
                    <a:cubicBezTo>
                      <a:pt x="24257" y="147821"/>
                      <a:pt x="21240" y="147821"/>
                      <a:pt x="18223" y="147821"/>
                    </a:cubicBezTo>
                    <a:cubicBezTo>
                      <a:pt x="12189" y="144805"/>
                      <a:pt x="6156" y="141788"/>
                      <a:pt x="3139" y="138771"/>
                    </a:cubicBezTo>
                    <a:cubicBezTo>
                      <a:pt x="-2895" y="126704"/>
                      <a:pt x="122" y="111620"/>
                      <a:pt x="9173" y="84469"/>
                    </a:cubicBezTo>
                    <a:cubicBezTo>
                      <a:pt x="27273" y="30168"/>
                      <a:pt x="48391" y="0"/>
                      <a:pt x="75541" y="0"/>
                    </a:cubicBezTo>
                    <a:cubicBezTo>
                      <a:pt x="75541" y="0"/>
                      <a:pt x="75541" y="0"/>
                      <a:pt x="75541" y="0"/>
                    </a:cubicBezTo>
                    <a:cubicBezTo>
                      <a:pt x="87608" y="0"/>
                      <a:pt x="93642" y="3017"/>
                      <a:pt x="96659" y="9050"/>
                    </a:cubicBezTo>
                    <a:cubicBezTo>
                      <a:pt x="99676" y="15084"/>
                      <a:pt x="96659" y="21117"/>
                      <a:pt x="96659" y="21117"/>
                    </a:cubicBezTo>
                    <a:cubicBezTo>
                      <a:pt x="69508" y="72402"/>
                      <a:pt x="60457" y="105587"/>
                      <a:pt x="66491" y="120670"/>
                    </a:cubicBezTo>
                    <a:cubicBezTo>
                      <a:pt x="69508" y="126704"/>
                      <a:pt x="72524" y="126704"/>
                      <a:pt x="81575" y="129721"/>
                    </a:cubicBezTo>
                    <a:cubicBezTo>
                      <a:pt x="87608" y="129721"/>
                      <a:pt x="90625" y="129721"/>
                      <a:pt x="93642" y="126704"/>
                    </a:cubicBezTo>
                    <a:cubicBezTo>
                      <a:pt x="114760" y="114637"/>
                      <a:pt x="129843" y="63352"/>
                      <a:pt x="135876" y="42235"/>
                    </a:cubicBezTo>
                    <a:cubicBezTo>
                      <a:pt x="135876" y="39218"/>
                      <a:pt x="138893" y="36201"/>
                      <a:pt x="141910" y="39218"/>
                    </a:cubicBezTo>
                    <a:cubicBezTo>
                      <a:pt x="144927" y="39218"/>
                      <a:pt x="147943" y="42235"/>
                      <a:pt x="144927" y="45251"/>
                    </a:cubicBezTo>
                    <a:cubicBezTo>
                      <a:pt x="144927" y="48268"/>
                      <a:pt x="126827" y="117654"/>
                      <a:pt x="96659" y="135754"/>
                    </a:cubicBezTo>
                    <a:cubicBezTo>
                      <a:pt x="90625" y="138771"/>
                      <a:pt x="81575" y="141788"/>
                      <a:pt x="75541" y="138771"/>
                    </a:cubicBezTo>
                    <a:cubicBezTo>
                      <a:pt x="72524" y="138771"/>
                      <a:pt x="66491" y="135754"/>
                      <a:pt x="63474" y="132737"/>
                    </a:cubicBezTo>
                    <a:cubicBezTo>
                      <a:pt x="63474" y="132737"/>
                      <a:pt x="63474" y="132737"/>
                      <a:pt x="63474" y="132737"/>
                    </a:cubicBezTo>
                    <a:cubicBezTo>
                      <a:pt x="66491" y="135754"/>
                      <a:pt x="45374" y="147821"/>
                      <a:pt x="27273" y="147821"/>
                    </a:cubicBezTo>
                    <a:close/>
                    <a:moveTo>
                      <a:pt x="75541" y="9050"/>
                    </a:moveTo>
                    <a:cubicBezTo>
                      <a:pt x="54424" y="9050"/>
                      <a:pt x="36324" y="36201"/>
                      <a:pt x="21240" y="84469"/>
                    </a:cubicBezTo>
                    <a:cubicBezTo>
                      <a:pt x="15206" y="102570"/>
                      <a:pt x="9173" y="123687"/>
                      <a:pt x="15206" y="129721"/>
                    </a:cubicBezTo>
                    <a:cubicBezTo>
                      <a:pt x="15206" y="129721"/>
                      <a:pt x="18223" y="132737"/>
                      <a:pt x="21240" y="135754"/>
                    </a:cubicBezTo>
                    <a:cubicBezTo>
                      <a:pt x="33307" y="138771"/>
                      <a:pt x="51408" y="129721"/>
                      <a:pt x="60457" y="126704"/>
                    </a:cubicBezTo>
                    <a:cubicBezTo>
                      <a:pt x="60457" y="126704"/>
                      <a:pt x="60457" y="126704"/>
                      <a:pt x="60457" y="123687"/>
                    </a:cubicBezTo>
                    <a:cubicBezTo>
                      <a:pt x="54424" y="111620"/>
                      <a:pt x="54424" y="87486"/>
                      <a:pt x="90625" y="15084"/>
                    </a:cubicBezTo>
                    <a:cubicBezTo>
                      <a:pt x="90625" y="15084"/>
                      <a:pt x="90625" y="15084"/>
                      <a:pt x="90625" y="15084"/>
                    </a:cubicBezTo>
                    <a:cubicBezTo>
                      <a:pt x="90625" y="15084"/>
                      <a:pt x="90625" y="15084"/>
                      <a:pt x="90625" y="12067"/>
                    </a:cubicBezTo>
                    <a:cubicBezTo>
                      <a:pt x="87608" y="12067"/>
                      <a:pt x="84592" y="12067"/>
                      <a:pt x="75541" y="9050"/>
                    </a:cubicBezTo>
                    <a:cubicBezTo>
                      <a:pt x="75541" y="9050"/>
                      <a:pt x="75541" y="9050"/>
                      <a:pt x="75541" y="905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83708F9C-53D9-4AC7-A11F-0678FB834AB5}"/>
                  </a:ext>
                </a:extLst>
              </p:cNvPr>
              <p:cNvSpPr/>
              <p:nvPr/>
            </p:nvSpPr>
            <p:spPr>
              <a:xfrm>
                <a:off x="14569740" y="3834573"/>
                <a:ext cx="87485" cy="136937"/>
              </a:xfrm>
              <a:custGeom>
                <a:avLst/>
                <a:gdLst>
                  <a:gd name="connsiteX0" fmla="*/ 33185 w 87485"/>
                  <a:gd name="connsiteY0" fmla="*/ 136938 h 136937"/>
                  <a:gd name="connsiteX1" fmla="*/ 9050 w 87485"/>
                  <a:gd name="connsiteY1" fmla="*/ 127887 h 136937"/>
                  <a:gd name="connsiteX2" fmla="*/ 0 w 87485"/>
                  <a:gd name="connsiteY2" fmla="*/ 100737 h 136937"/>
                  <a:gd name="connsiteX3" fmla="*/ 39218 w 87485"/>
                  <a:gd name="connsiteY3" fmla="*/ 7217 h 136937"/>
                  <a:gd name="connsiteX4" fmla="*/ 63352 w 87485"/>
                  <a:gd name="connsiteY4" fmla="*/ 1183 h 136937"/>
                  <a:gd name="connsiteX5" fmla="*/ 87486 w 87485"/>
                  <a:gd name="connsiteY5" fmla="*/ 16267 h 136937"/>
                  <a:gd name="connsiteX6" fmla="*/ 84469 w 87485"/>
                  <a:gd name="connsiteY6" fmla="*/ 25318 h 136937"/>
                  <a:gd name="connsiteX7" fmla="*/ 75419 w 87485"/>
                  <a:gd name="connsiteY7" fmla="*/ 22301 h 136937"/>
                  <a:gd name="connsiteX8" fmla="*/ 60335 w 87485"/>
                  <a:gd name="connsiteY8" fmla="*/ 13251 h 136937"/>
                  <a:gd name="connsiteX9" fmla="*/ 45251 w 87485"/>
                  <a:gd name="connsiteY9" fmla="*/ 16267 h 136937"/>
                  <a:gd name="connsiteX10" fmla="*/ 9050 w 87485"/>
                  <a:gd name="connsiteY10" fmla="*/ 103753 h 136937"/>
                  <a:gd name="connsiteX11" fmla="*/ 12067 w 87485"/>
                  <a:gd name="connsiteY11" fmla="*/ 121854 h 136937"/>
                  <a:gd name="connsiteX12" fmla="*/ 39218 w 87485"/>
                  <a:gd name="connsiteY12" fmla="*/ 124871 h 136937"/>
                  <a:gd name="connsiteX13" fmla="*/ 45251 w 87485"/>
                  <a:gd name="connsiteY13" fmla="*/ 127887 h 136937"/>
                  <a:gd name="connsiteX14" fmla="*/ 42234 w 87485"/>
                  <a:gd name="connsiteY14" fmla="*/ 133921 h 136937"/>
                  <a:gd name="connsiteX15" fmla="*/ 33185 w 87485"/>
                  <a:gd name="connsiteY15" fmla="*/ 136938 h 136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7485" h="136937">
                    <a:moveTo>
                      <a:pt x="33185" y="136938"/>
                    </a:moveTo>
                    <a:cubicBezTo>
                      <a:pt x="24134" y="136938"/>
                      <a:pt x="15084" y="133921"/>
                      <a:pt x="9050" y="127887"/>
                    </a:cubicBezTo>
                    <a:cubicBezTo>
                      <a:pt x="3017" y="121854"/>
                      <a:pt x="0" y="112803"/>
                      <a:pt x="0" y="100737"/>
                    </a:cubicBezTo>
                    <a:cubicBezTo>
                      <a:pt x="6034" y="61519"/>
                      <a:pt x="27151" y="19284"/>
                      <a:pt x="39218" y="7217"/>
                    </a:cubicBezTo>
                    <a:cubicBezTo>
                      <a:pt x="45251" y="1183"/>
                      <a:pt x="54301" y="-1833"/>
                      <a:pt x="63352" y="1183"/>
                    </a:cubicBezTo>
                    <a:cubicBezTo>
                      <a:pt x="72402" y="4200"/>
                      <a:pt x="84469" y="10234"/>
                      <a:pt x="87486" y="16267"/>
                    </a:cubicBezTo>
                    <a:cubicBezTo>
                      <a:pt x="87486" y="19284"/>
                      <a:pt x="87486" y="22301"/>
                      <a:pt x="84469" y="25318"/>
                    </a:cubicBezTo>
                    <a:cubicBezTo>
                      <a:pt x="81453" y="25318"/>
                      <a:pt x="78436" y="25318"/>
                      <a:pt x="75419" y="22301"/>
                    </a:cubicBezTo>
                    <a:cubicBezTo>
                      <a:pt x="75419" y="19284"/>
                      <a:pt x="66369" y="16267"/>
                      <a:pt x="60335" y="13251"/>
                    </a:cubicBezTo>
                    <a:cubicBezTo>
                      <a:pt x="57318" y="13251"/>
                      <a:pt x="51285" y="13251"/>
                      <a:pt x="45251" y="16267"/>
                    </a:cubicBezTo>
                    <a:cubicBezTo>
                      <a:pt x="36201" y="25318"/>
                      <a:pt x="15084" y="67552"/>
                      <a:pt x="9050" y="103753"/>
                    </a:cubicBezTo>
                    <a:cubicBezTo>
                      <a:pt x="9050" y="112803"/>
                      <a:pt x="9050" y="118837"/>
                      <a:pt x="12067" y="121854"/>
                    </a:cubicBezTo>
                    <a:cubicBezTo>
                      <a:pt x="18101" y="127887"/>
                      <a:pt x="33185" y="127887"/>
                      <a:pt x="39218" y="124871"/>
                    </a:cubicBezTo>
                    <a:cubicBezTo>
                      <a:pt x="42234" y="124871"/>
                      <a:pt x="45251" y="124871"/>
                      <a:pt x="45251" y="127887"/>
                    </a:cubicBezTo>
                    <a:cubicBezTo>
                      <a:pt x="45251" y="130904"/>
                      <a:pt x="45251" y="133921"/>
                      <a:pt x="42234" y="133921"/>
                    </a:cubicBezTo>
                    <a:cubicBezTo>
                      <a:pt x="48268" y="133921"/>
                      <a:pt x="42234" y="136938"/>
                      <a:pt x="33185" y="13693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5" name="图形 1">
              <a:extLst>
                <a:ext uri="{FF2B5EF4-FFF2-40B4-BE49-F238E27FC236}">
                  <a16:creationId xmlns:a16="http://schemas.microsoft.com/office/drawing/2014/main" id="{CE510EDB-C559-40F2-A374-17D97FD4A943}"/>
                </a:ext>
              </a:extLst>
            </p:cNvPr>
            <p:cNvGrpSpPr/>
            <p:nvPr/>
          </p:nvGrpSpPr>
          <p:grpSpPr>
            <a:xfrm>
              <a:off x="14984239" y="3772309"/>
              <a:ext cx="382631" cy="269801"/>
              <a:chOff x="14984239" y="3772309"/>
              <a:chExt cx="382631" cy="269801"/>
            </a:xfrm>
          </p:grpSpPr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91B58E83-C98E-4EC1-B02D-878B213DB833}"/>
                  </a:ext>
                </a:extLst>
              </p:cNvPr>
              <p:cNvSpPr/>
              <p:nvPr/>
            </p:nvSpPr>
            <p:spPr>
              <a:xfrm>
                <a:off x="14984239" y="3772309"/>
                <a:ext cx="382631" cy="269801"/>
              </a:xfrm>
              <a:custGeom>
                <a:avLst/>
                <a:gdLst>
                  <a:gd name="connsiteX0" fmla="*/ 381925 w 382631"/>
                  <a:gd name="connsiteY0" fmla="*/ 108699 h 269801"/>
                  <a:gd name="connsiteX1" fmla="*/ 315557 w 382631"/>
                  <a:gd name="connsiteY1" fmla="*/ 95 h 269801"/>
                  <a:gd name="connsiteX2" fmla="*/ 68182 w 382631"/>
                  <a:gd name="connsiteY2" fmla="*/ 87581 h 269801"/>
                  <a:gd name="connsiteX3" fmla="*/ 16897 w 382631"/>
                  <a:gd name="connsiteY3" fmla="*/ 144900 h 269801"/>
                  <a:gd name="connsiteX4" fmla="*/ 38015 w 382631"/>
                  <a:gd name="connsiteY4" fmla="*/ 147916 h 269801"/>
                  <a:gd name="connsiteX5" fmla="*/ 80249 w 382631"/>
                  <a:gd name="connsiteY5" fmla="*/ 135849 h 269801"/>
                  <a:gd name="connsiteX6" fmla="*/ 31981 w 382631"/>
                  <a:gd name="connsiteY6" fmla="*/ 175067 h 269801"/>
                  <a:gd name="connsiteX7" fmla="*/ 1813 w 382631"/>
                  <a:gd name="connsiteY7" fmla="*/ 235402 h 269801"/>
                  <a:gd name="connsiteX8" fmla="*/ 34998 w 382631"/>
                  <a:gd name="connsiteY8" fmla="*/ 238419 h 269801"/>
                  <a:gd name="connsiteX9" fmla="*/ 41032 w 382631"/>
                  <a:gd name="connsiteY9" fmla="*/ 253503 h 269801"/>
                  <a:gd name="connsiteX10" fmla="*/ 116451 w 382631"/>
                  <a:gd name="connsiteY10" fmla="*/ 238419 h 269801"/>
                  <a:gd name="connsiteX11" fmla="*/ 164719 w 382631"/>
                  <a:gd name="connsiteY11" fmla="*/ 211268 h 269801"/>
                  <a:gd name="connsiteX12" fmla="*/ 134551 w 382631"/>
                  <a:gd name="connsiteY12" fmla="*/ 268587 h 269801"/>
                  <a:gd name="connsiteX13" fmla="*/ 185836 w 382631"/>
                  <a:gd name="connsiteY13" fmla="*/ 250486 h 269801"/>
                  <a:gd name="connsiteX14" fmla="*/ 267289 w 382631"/>
                  <a:gd name="connsiteY14" fmla="*/ 193168 h 269801"/>
                  <a:gd name="connsiteX15" fmla="*/ 351758 w 382631"/>
                  <a:gd name="connsiteY15" fmla="*/ 147916 h 269801"/>
                  <a:gd name="connsiteX16" fmla="*/ 381925 w 382631"/>
                  <a:gd name="connsiteY16" fmla="*/ 108699 h 269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82631" h="269801">
                    <a:moveTo>
                      <a:pt x="381925" y="108699"/>
                    </a:moveTo>
                    <a:cubicBezTo>
                      <a:pt x="378908" y="66464"/>
                      <a:pt x="315557" y="-2922"/>
                      <a:pt x="315557" y="95"/>
                    </a:cubicBezTo>
                    <a:cubicBezTo>
                      <a:pt x="234104" y="30263"/>
                      <a:pt x="146618" y="48363"/>
                      <a:pt x="68182" y="87581"/>
                    </a:cubicBezTo>
                    <a:cubicBezTo>
                      <a:pt x="56115" y="93615"/>
                      <a:pt x="-1203" y="120766"/>
                      <a:pt x="16897" y="144900"/>
                    </a:cubicBezTo>
                    <a:cubicBezTo>
                      <a:pt x="22931" y="150933"/>
                      <a:pt x="28965" y="150933"/>
                      <a:pt x="38015" y="147916"/>
                    </a:cubicBezTo>
                    <a:cubicBezTo>
                      <a:pt x="53099" y="144900"/>
                      <a:pt x="68182" y="141883"/>
                      <a:pt x="80249" y="135849"/>
                    </a:cubicBezTo>
                    <a:cubicBezTo>
                      <a:pt x="62148" y="147916"/>
                      <a:pt x="47065" y="159983"/>
                      <a:pt x="31981" y="175067"/>
                    </a:cubicBezTo>
                    <a:cubicBezTo>
                      <a:pt x="19914" y="187134"/>
                      <a:pt x="-7237" y="214285"/>
                      <a:pt x="1813" y="235402"/>
                    </a:cubicBezTo>
                    <a:cubicBezTo>
                      <a:pt x="7847" y="244453"/>
                      <a:pt x="19914" y="244453"/>
                      <a:pt x="34998" y="238419"/>
                    </a:cubicBezTo>
                    <a:cubicBezTo>
                      <a:pt x="31981" y="244453"/>
                      <a:pt x="34998" y="250486"/>
                      <a:pt x="41032" y="253503"/>
                    </a:cubicBezTo>
                    <a:cubicBezTo>
                      <a:pt x="59132" y="265570"/>
                      <a:pt x="98350" y="244453"/>
                      <a:pt x="116451" y="238419"/>
                    </a:cubicBezTo>
                    <a:cubicBezTo>
                      <a:pt x="134551" y="229369"/>
                      <a:pt x="149635" y="220319"/>
                      <a:pt x="164719" y="211268"/>
                    </a:cubicBezTo>
                    <a:cubicBezTo>
                      <a:pt x="140584" y="232386"/>
                      <a:pt x="113434" y="259536"/>
                      <a:pt x="134551" y="268587"/>
                    </a:cubicBezTo>
                    <a:cubicBezTo>
                      <a:pt x="146618" y="274620"/>
                      <a:pt x="176786" y="256520"/>
                      <a:pt x="185836" y="250486"/>
                    </a:cubicBezTo>
                    <a:cubicBezTo>
                      <a:pt x="212986" y="232386"/>
                      <a:pt x="240138" y="211268"/>
                      <a:pt x="267289" y="193168"/>
                    </a:cubicBezTo>
                    <a:cubicBezTo>
                      <a:pt x="294439" y="175067"/>
                      <a:pt x="324607" y="163000"/>
                      <a:pt x="351758" y="147916"/>
                    </a:cubicBezTo>
                    <a:cubicBezTo>
                      <a:pt x="378908" y="138866"/>
                      <a:pt x="384942" y="135849"/>
                      <a:pt x="381925" y="108699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4875C0AB-3A05-4583-9127-A4BC72459017}"/>
                  </a:ext>
                </a:extLst>
              </p:cNvPr>
              <p:cNvSpPr/>
              <p:nvPr/>
            </p:nvSpPr>
            <p:spPr>
              <a:xfrm>
                <a:off x="14992087" y="3817656"/>
                <a:ext cx="159887" cy="111620"/>
              </a:xfrm>
              <a:custGeom>
                <a:avLst/>
                <a:gdLst>
                  <a:gd name="connsiteX0" fmla="*/ 27151 w 159887"/>
                  <a:gd name="connsiteY0" fmla="*/ 111620 h 111620"/>
                  <a:gd name="connsiteX1" fmla="*/ 6034 w 159887"/>
                  <a:gd name="connsiteY1" fmla="*/ 105587 h 111620"/>
                  <a:gd name="connsiteX2" fmla="*/ 0 w 159887"/>
                  <a:gd name="connsiteY2" fmla="*/ 90503 h 111620"/>
                  <a:gd name="connsiteX3" fmla="*/ 153855 w 159887"/>
                  <a:gd name="connsiteY3" fmla="*/ 0 h 111620"/>
                  <a:gd name="connsiteX4" fmla="*/ 159888 w 159887"/>
                  <a:gd name="connsiteY4" fmla="*/ 3017 h 111620"/>
                  <a:gd name="connsiteX5" fmla="*/ 156872 w 159887"/>
                  <a:gd name="connsiteY5" fmla="*/ 9050 h 111620"/>
                  <a:gd name="connsiteX6" fmla="*/ 12067 w 159887"/>
                  <a:gd name="connsiteY6" fmla="*/ 90503 h 111620"/>
                  <a:gd name="connsiteX7" fmla="*/ 12067 w 159887"/>
                  <a:gd name="connsiteY7" fmla="*/ 93520 h 111620"/>
                  <a:gd name="connsiteX8" fmla="*/ 69385 w 159887"/>
                  <a:gd name="connsiteY8" fmla="*/ 84469 h 111620"/>
                  <a:gd name="connsiteX9" fmla="*/ 147821 w 159887"/>
                  <a:gd name="connsiteY9" fmla="*/ 48268 h 111620"/>
                  <a:gd name="connsiteX10" fmla="*/ 147821 w 159887"/>
                  <a:gd name="connsiteY10" fmla="*/ 48268 h 111620"/>
                  <a:gd name="connsiteX11" fmla="*/ 153855 w 159887"/>
                  <a:gd name="connsiteY11" fmla="*/ 54302 h 111620"/>
                  <a:gd name="connsiteX12" fmla="*/ 147821 w 159887"/>
                  <a:gd name="connsiteY12" fmla="*/ 60335 h 111620"/>
                  <a:gd name="connsiteX13" fmla="*/ 147821 w 159887"/>
                  <a:gd name="connsiteY13" fmla="*/ 60335 h 111620"/>
                  <a:gd name="connsiteX14" fmla="*/ 75419 w 159887"/>
                  <a:gd name="connsiteY14" fmla="*/ 93520 h 111620"/>
                  <a:gd name="connsiteX15" fmla="*/ 27151 w 159887"/>
                  <a:gd name="connsiteY15" fmla="*/ 111620 h 111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9887" h="111620">
                    <a:moveTo>
                      <a:pt x="27151" y="111620"/>
                    </a:moveTo>
                    <a:cubicBezTo>
                      <a:pt x="18101" y="111620"/>
                      <a:pt x="12067" y="108603"/>
                      <a:pt x="6034" y="105587"/>
                    </a:cubicBezTo>
                    <a:cubicBezTo>
                      <a:pt x="3017" y="102570"/>
                      <a:pt x="0" y="96536"/>
                      <a:pt x="0" y="90503"/>
                    </a:cubicBezTo>
                    <a:cubicBezTo>
                      <a:pt x="6034" y="63352"/>
                      <a:pt x="69385" y="27151"/>
                      <a:pt x="153855" y="0"/>
                    </a:cubicBezTo>
                    <a:cubicBezTo>
                      <a:pt x="156872" y="0"/>
                      <a:pt x="159888" y="0"/>
                      <a:pt x="159888" y="3017"/>
                    </a:cubicBezTo>
                    <a:cubicBezTo>
                      <a:pt x="159888" y="6033"/>
                      <a:pt x="159888" y="9050"/>
                      <a:pt x="156872" y="9050"/>
                    </a:cubicBezTo>
                    <a:cubicBezTo>
                      <a:pt x="63352" y="39218"/>
                      <a:pt x="15084" y="75419"/>
                      <a:pt x="12067" y="90503"/>
                    </a:cubicBezTo>
                    <a:cubicBezTo>
                      <a:pt x="12067" y="93520"/>
                      <a:pt x="12067" y="93520"/>
                      <a:pt x="12067" y="93520"/>
                    </a:cubicBezTo>
                    <a:cubicBezTo>
                      <a:pt x="24134" y="105587"/>
                      <a:pt x="60335" y="90503"/>
                      <a:pt x="69385" y="84469"/>
                    </a:cubicBezTo>
                    <a:cubicBezTo>
                      <a:pt x="84469" y="75419"/>
                      <a:pt x="132737" y="48268"/>
                      <a:pt x="147821" y="48268"/>
                    </a:cubicBezTo>
                    <a:cubicBezTo>
                      <a:pt x="147821" y="48268"/>
                      <a:pt x="147821" y="48268"/>
                      <a:pt x="147821" y="48268"/>
                    </a:cubicBezTo>
                    <a:cubicBezTo>
                      <a:pt x="150838" y="48268"/>
                      <a:pt x="153855" y="51285"/>
                      <a:pt x="153855" y="54302"/>
                    </a:cubicBezTo>
                    <a:cubicBezTo>
                      <a:pt x="153855" y="57318"/>
                      <a:pt x="150838" y="60335"/>
                      <a:pt x="147821" y="60335"/>
                    </a:cubicBezTo>
                    <a:cubicBezTo>
                      <a:pt x="147821" y="60335"/>
                      <a:pt x="147821" y="60335"/>
                      <a:pt x="147821" y="60335"/>
                    </a:cubicBezTo>
                    <a:cubicBezTo>
                      <a:pt x="138771" y="60335"/>
                      <a:pt x="105587" y="78436"/>
                      <a:pt x="75419" y="93520"/>
                    </a:cubicBezTo>
                    <a:cubicBezTo>
                      <a:pt x="75419" y="99553"/>
                      <a:pt x="48268" y="111620"/>
                      <a:pt x="27151" y="11162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7A0226DF-CE13-4960-9FD9-DD78023C3B83}"/>
                  </a:ext>
                </a:extLst>
              </p:cNvPr>
              <p:cNvSpPr/>
              <p:nvPr/>
            </p:nvSpPr>
            <p:spPr>
              <a:xfrm>
                <a:off x="15016974" y="3911175"/>
                <a:ext cx="141033" cy="108603"/>
              </a:xfrm>
              <a:custGeom>
                <a:avLst/>
                <a:gdLst>
                  <a:gd name="connsiteX0" fmla="*/ 5280 w 141033"/>
                  <a:gd name="connsiteY0" fmla="*/ 108603 h 108603"/>
                  <a:gd name="connsiteX1" fmla="*/ 2263 w 141033"/>
                  <a:gd name="connsiteY1" fmla="*/ 105587 h 108603"/>
                  <a:gd name="connsiteX2" fmla="*/ 2263 w 141033"/>
                  <a:gd name="connsiteY2" fmla="*/ 96536 h 108603"/>
                  <a:gd name="connsiteX3" fmla="*/ 135000 w 141033"/>
                  <a:gd name="connsiteY3" fmla="*/ 0 h 108603"/>
                  <a:gd name="connsiteX4" fmla="*/ 141034 w 141033"/>
                  <a:gd name="connsiteY4" fmla="*/ 3017 h 108603"/>
                  <a:gd name="connsiteX5" fmla="*/ 138017 w 141033"/>
                  <a:gd name="connsiteY5" fmla="*/ 9050 h 108603"/>
                  <a:gd name="connsiteX6" fmla="*/ 8297 w 141033"/>
                  <a:gd name="connsiteY6" fmla="*/ 102570 h 108603"/>
                  <a:gd name="connsiteX7" fmla="*/ 5280 w 141033"/>
                  <a:gd name="connsiteY7" fmla="*/ 108603 h 108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1033" h="108603">
                    <a:moveTo>
                      <a:pt x="5280" y="108603"/>
                    </a:moveTo>
                    <a:cubicBezTo>
                      <a:pt x="2263" y="108603"/>
                      <a:pt x="2263" y="108603"/>
                      <a:pt x="2263" y="105587"/>
                    </a:cubicBezTo>
                    <a:cubicBezTo>
                      <a:pt x="-754" y="102570"/>
                      <a:pt x="-754" y="99553"/>
                      <a:pt x="2263" y="96536"/>
                    </a:cubicBezTo>
                    <a:cubicBezTo>
                      <a:pt x="5280" y="93520"/>
                      <a:pt x="101816" y="9050"/>
                      <a:pt x="135000" y="0"/>
                    </a:cubicBezTo>
                    <a:cubicBezTo>
                      <a:pt x="138017" y="0"/>
                      <a:pt x="141034" y="0"/>
                      <a:pt x="141034" y="3017"/>
                    </a:cubicBezTo>
                    <a:cubicBezTo>
                      <a:pt x="141034" y="6033"/>
                      <a:pt x="141034" y="9050"/>
                      <a:pt x="138017" y="9050"/>
                    </a:cubicBezTo>
                    <a:cubicBezTo>
                      <a:pt x="104832" y="18101"/>
                      <a:pt x="8297" y="102570"/>
                      <a:pt x="8297" y="102570"/>
                    </a:cubicBezTo>
                    <a:cubicBezTo>
                      <a:pt x="8297" y="108603"/>
                      <a:pt x="8297" y="108603"/>
                      <a:pt x="5280" y="10860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EF1D60DB-62D3-4258-9629-1C32EB85D9B4}"/>
                  </a:ext>
                </a:extLst>
              </p:cNvPr>
              <p:cNvSpPr/>
              <p:nvPr/>
            </p:nvSpPr>
            <p:spPr>
              <a:xfrm>
                <a:off x="15145941" y="3956427"/>
                <a:ext cx="60335" cy="36201"/>
              </a:xfrm>
              <a:custGeom>
                <a:avLst/>
                <a:gdLst>
                  <a:gd name="connsiteX0" fmla="*/ 6033 w 60335"/>
                  <a:gd name="connsiteY0" fmla="*/ 36201 h 36201"/>
                  <a:gd name="connsiteX1" fmla="*/ 0 w 60335"/>
                  <a:gd name="connsiteY1" fmla="*/ 33184 h 36201"/>
                  <a:gd name="connsiteX2" fmla="*/ 3017 w 60335"/>
                  <a:gd name="connsiteY2" fmla="*/ 24134 h 36201"/>
                  <a:gd name="connsiteX3" fmla="*/ 51284 w 60335"/>
                  <a:gd name="connsiteY3" fmla="*/ 0 h 36201"/>
                  <a:gd name="connsiteX4" fmla="*/ 60335 w 60335"/>
                  <a:gd name="connsiteY4" fmla="*/ 3017 h 36201"/>
                  <a:gd name="connsiteX5" fmla="*/ 57318 w 60335"/>
                  <a:gd name="connsiteY5" fmla="*/ 12067 h 36201"/>
                  <a:gd name="connsiteX6" fmla="*/ 6033 w 60335"/>
                  <a:gd name="connsiteY6" fmla="*/ 36201 h 36201"/>
                  <a:gd name="connsiteX7" fmla="*/ 6033 w 60335"/>
                  <a:gd name="connsiteY7" fmla="*/ 36201 h 36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0335" h="36201">
                    <a:moveTo>
                      <a:pt x="6033" y="36201"/>
                    </a:moveTo>
                    <a:cubicBezTo>
                      <a:pt x="3017" y="36201"/>
                      <a:pt x="3017" y="36201"/>
                      <a:pt x="0" y="33184"/>
                    </a:cubicBezTo>
                    <a:cubicBezTo>
                      <a:pt x="0" y="30168"/>
                      <a:pt x="0" y="27151"/>
                      <a:pt x="3017" y="24134"/>
                    </a:cubicBezTo>
                    <a:lnTo>
                      <a:pt x="51284" y="0"/>
                    </a:lnTo>
                    <a:cubicBezTo>
                      <a:pt x="54301" y="0"/>
                      <a:pt x="57318" y="0"/>
                      <a:pt x="60335" y="3017"/>
                    </a:cubicBezTo>
                    <a:cubicBezTo>
                      <a:pt x="60335" y="6033"/>
                      <a:pt x="60335" y="9050"/>
                      <a:pt x="57318" y="12067"/>
                    </a:cubicBezTo>
                    <a:lnTo>
                      <a:pt x="6033" y="36201"/>
                    </a:lnTo>
                    <a:cubicBezTo>
                      <a:pt x="9050" y="36201"/>
                      <a:pt x="6033" y="36201"/>
                      <a:pt x="6033" y="3620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D9BCEECA-29C4-4665-BAC1-5B6EEBD9DD6E}"/>
                  </a:ext>
                </a:extLst>
              </p:cNvPr>
              <p:cNvSpPr/>
              <p:nvPr/>
            </p:nvSpPr>
            <p:spPr>
              <a:xfrm>
                <a:off x="15194210" y="3844807"/>
                <a:ext cx="56564" cy="99552"/>
              </a:xfrm>
              <a:custGeom>
                <a:avLst/>
                <a:gdLst>
                  <a:gd name="connsiteX0" fmla="*/ 48267 w 56564"/>
                  <a:gd name="connsiteY0" fmla="*/ 99553 h 99552"/>
                  <a:gd name="connsiteX1" fmla="*/ 45251 w 56564"/>
                  <a:gd name="connsiteY1" fmla="*/ 99553 h 99552"/>
                  <a:gd name="connsiteX2" fmla="*/ 0 w 56564"/>
                  <a:gd name="connsiteY2" fmla="*/ 6033 h 99552"/>
                  <a:gd name="connsiteX3" fmla="*/ 6033 w 56564"/>
                  <a:gd name="connsiteY3" fmla="*/ 0 h 99552"/>
                  <a:gd name="connsiteX4" fmla="*/ 12067 w 56564"/>
                  <a:gd name="connsiteY4" fmla="*/ 6033 h 99552"/>
                  <a:gd name="connsiteX5" fmla="*/ 54301 w 56564"/>
                  <a:gd name="connsiteY5" fmla="*/ 90503 h 99552"/>
                  <a:gd name="connsiteX6" fmla="*/ 54301 w 56564"/>
                  <a:gd name="connsiteY6" fmla="*/ 99553 h 99552"/>
                  <a:gd name="connsiteX7" fmla="*/ 48267 w 56564"/>
                  <a:gd name="connsiteY7" fmla="*/ 99553 h 99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564" h="99552">
                    <a:moveTo>
                      <a:pt x="48267" y="99553"/>
                    </a:moveTo>
                    <a:cubicBezTo>
                      <a:pt x="48267" y="99553"/>
                      <a:pt x="45251" y="99553"/>
                      <a:pt x="45251" y="99553"/>
                    </a:cubicBezTo>
                    <a:cubicBezTo>
                      <a:pt x="3016" y="63352"/>
                      <a:pt x="0" y="9050"/>
                      <a:pt x="0" y="6033"/>
                    </a:cubicBezTo>
                    <a:cubicBezTo>
                      <a:pt x="0" y="3017"/>
                      <a:pt x="3016" y="0"/>
                      <a:pt x="6033" y="0"/>
                    </a:cubicBezTo>
                    <a:cubicBezTo>
                      <a:pt x="9050" y="0"/>
                      <a:pt x="12067" y="3017"/>
                      <a:pt x="12067" y="6033"/>
                    </a:cubicBezTo>
                    <a:cubicBezTo>
                      <a:pt x="12067" y="6033"/>
                      <a:pt x="12067" y="57318"/>
                      <a:pt x="54301" y="90503"/>
                    </a:cubicBezTo>
                    <a:cubicBezTo>
                      <a:pt x="57318" y="93520"/>
                      <a:pt x="57318" y="96536"/>
                      <a:pt x="54301" y="99553"/>
                    </a:cubicBezTo>
                    <a:cubicBezTo>
                      <a:pt x="51284" y="99553"/>
                      <a:pt x="48267" y="99553"/>
                      <a:pt x="48267" y="9955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8983832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1" name="图形 1">
            <a:extLst>
              <a:ext uri="{FF2B5EF4-FFF2-40B4-BE49-F238E27FC236}">
                <a16:creationId xmlns:a16="http://schemas.microsoft.com/office/drawing/2014/main" id="{63DA345D-CFCA-408F-A558-D0D0637712DC}"/>
              </a:ext>
            </a:extLst>
          </p:cNvPr>
          <p:cNvGrpSpPr/>
          <p:nvPr/>
        </p:nvGrpSpPr>
        <p:grpSpPr>
          <a:xfrm>
            <a:off x="3487617" y="2082634"/>
            <a:ext cx="5460173" cy="4785307"/>
            <a:chOff x="6879747" y="2209263"/>
            <a:chExt cx="5460173" cy="4785307"/>
          </a:xfrm>
        </p:grpSpPr>
        <p:sp>
          <p:nvSpPr>
            <p:cNvPr id="232" name="任意多边形: 形状 231">
              <a:extLst>
                <a:ext uri="{FF2B5EF4-FFF2-40B4-BE49-F238E27FC236}">
                  <a16:creationId xmlns:a16="http://schemas.microsoft.com/office/drawing/2014/main" id="{A401D587-B80A-463C-B9FD-F0D4DFDCBA6E}"/>
                </a:ext>
              </a:extLst>
            </p:cNvPr>
            <p:cNvSpPr/>
            <p:nvPr/>
          </p:nvSpPr>
          <p:spPr>
            <a:xfrm>
              <a:off x="8019921" y="3404460"/>
              <a:ext cx="928681" cy="733615"/>
            </a:xfrm>
            <a:custGeom>
              <a:avLst/>
              <a:gdLst>
                <a:gd name="connsiteX0" fmla="*/ 237363 w 928681"/>
                <a:gd name="connsiteY0" fmla="*/ 0 h 733615"/>
                <a:gd name="connsiteX1" fmla="*/ 421319 w 928681"/>
                <a:gd name="connsiteY1" fmla="*/ 495495 h 733615"/>
                <a:gd name="connsiteX2" fmla="*/ 928681 w 928681"/>
                <a:gd name="connsiteY2" fmla="*/ 382747 h 733615"/>
                <a:gd name="connsiteX3" fmla="*/ 928681 w 928681"/>
                <a:gd name="connsiteY3" fmla="*/ 540000 h 733615"/>
                <a:gd name="connsiteX4" fmla="*/ 296703 w 928681"/>
                <a:gd name="connsiteY4" fmla="*/ 732857 h 733615"/>
                <a:gd name="connsiteX5" fmla="*/ 0 w 928681"/>
                <a:gd name="connsiteY5" fmla="*/ 115714 h 733615"/>
                <a:gd name="connsiteX6" fmla="*/ 237363 w 928681"/>
                <a:gd name="connsiteY6" fmla="*/ 0 h 73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8681" h="733615">
                  <a:moveTo>
                    <a:pt x="237363" y="0"/>
                  </a:moveTo>
                  <a:lnTo>
                    <a:pt x="421319" y="495495"/>
                  </a:lnTo>
                  <a:lnTo>
                    <a:pt x="928681" y="382747"/>
                  </a:lnTo>
                  <a:lnTo>
                    <a:pt x="928681" y="540000"/>
                  </a:lnTo>
                  <a:cubicBezTo>
                    <a:pt x="928681" y="540000"/>
                    <a:pt x="421319" y="747692"/>
                    <a:pt x="296703" y="732857"/>
                  </a:cubicBezTo>
                  <a:cubicBezTo>
                    <a:pt x="172088" y="718022"/>
                    <a:pt x="0" y="115714"/>
                    <a:pt x="0" y="115714"/>
                  </a:cubicBezTo>
                  <a:lnTo>
                    <a:pt x="237363" y="0"/>
                  </a:ln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33" name="图形 1">
              <a:extLst>
                <a:ext uri="{FF2B5EF4-FFF2-40B4-BE49-F238E27FC236}">
                  <a16:creationId xmlns:a16="http://schemas.microsoft.com/office/drawing/2014/main" id="{63DA345D-CFCA-408F-A558-D0D0637712DC}"/>
                </a:ext>
              </a:extLst>
            </p:cNvPr>
            <p:cNvGrpSpPr/>
            <p:nvPr/>
          </p:nvGrpSpPr>
          <p:grpSpPr>
            <a:xfrm>
              <a:off x="7741020" y="6507977"/>
              <a:ext cx="471758" cy="335274"/>
              <a:chOff x="7741020" y="6507977"/>
              <a:chExt cx="471758" cy="335274"/>
            </a:xfrm>
          </p:grpSpPr>
          <p:sp>
            <p:nvSpPr>
              <p:cNvPr id="234" name="任意多边形: 形状 233">
                <a:extLst>
                  <a:ext uri="{FF2B5EF4-FFF2-40B4-BE49-F238E27FC236}">
                    <a16:creationId xmlns:a16="http://schemas.microsoft.com/office/drawing/2014/main" id="{E67C0800-8932-4CCC-AA10-B4D14D53709F}"/>
                  </a:ext>
                </a:extLst>
              </p:cNvPr>
              <p:cNvSpPr/>
              <p:nvPr/>
            </p:nvSpPr>
            <p:spPr>
              <a:xfrm>
                <a:off x="7749921" y="6507977"/>
                <a:ext cx="207692" cy="219560"/>
              </a:xfrm>
              <a:custGeom>
                <a:avLst/>
                <a:gdLst>
                  <a:gd name="connsiteX0" fmla="*/ 0 w 207692"/>
                  <a:gd name="connsiteY0" fmla="*/ 180989 h 219560"/>
                  <a:gd name="connsiteX1" fmla="*/ 8901 w 207692"/>
                  <a:gd name="connsiteY1" fmla="*/ 0 h 219560"/>
                  <a:gd name="connsiteX2" fmla="*/ 207692 w 207692"/>
                  <a:gd name="connsiteY2" fmla="*/ 0 h 219560"/>
                  <a:gd name="connsiteX3" fmla="*/ 160220 w 207692"/>
                  <a:gd name="connsiteY3" fmla="*/ 189890 h 219560"/>
                  <a:gd name="connsiteX4" fmla="*/ 11868 w 207692"/>
                  <a:gd name="connsiteY4" fmla="*/ 219561 h 21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7692" h="219560">
                    <a:moveTo>
                      <a:pt x="0" y="180989"/>
                    </a:moveTo>
                    <a:lnTo>
                      <a:pt x="8901" y="0"/>
                    </a:lnTo>
                    <a:lnTo>
                      <a:pt x="207692" y="0"/>
                    </a:lnTo>
                    <a:lnTo>
                      <a:pt x="160220" y="189890"/>
                    </a:lnTo>
                    <a:lnTo>
                      <a:pt x="11868" y="219561"/>
                    </a:ln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5" name="任意多边形: 形状 234">
                <a:extLst>
                  <a:ext uri="{FF2B5EF4-FFF2-40B4-BE49-F238E27FC236}">
                    <a16:creationId xmlns:a16="http://schemas.microsoft.com/office/drawing/2014/main" id="{1155E8C7-2102-4529-9E82-F9FCA7623262}"/>
                  </a:ext>
                </a:extLst>
              </p:cNvPr>
              <p:cNvSpPr/>
              <p:nvPr/>
            </p:nvSpPr>
            <p:spPr>
              <a:xfrm>
                <a:off x="7742009" y="6644461"/>
                <a:ext cx="470769" cy="154285"/>
              </a:xfrm>
              <a:custGeom>
                <a:avLst/>
                <a:gdLst>
                  <a:gd name="connsiteX0" fmla="*/ 7912 w 470769"/>
                  <a:gd name="connsiteY0" fmla="*/ 44505 h 154285"/>
                  <a:gd name="connsiteX1" fmla="*/ 177033 w 470769"/>
                  <a:gd name="connsiteY1" fmla="*/ 0 h 154285"/>
                  <a:gd name="connsiteX2" fmla="*/ 307582 w 470769"/>
                  <a:gd name="connsiteY2" fmla="*/ 77143 h 154285"/>
                  <a:gd name="connsiteX3" fmla="*/ 470769 w 470769"/>
                  <a:gd name="connsiteY3" fmla="*/ 154286 h 154285"/>
                  <a:gd name="connsiteX4" fmla="*/ 7912 w 470769"/>
                  <a:gd name="connsiteY4" fmla="*/ 154286 h 154285"/>
                  <a:gd name="connsiteX5" fmla="*/ 7912 w 470769"/>
                  <a:gd name="connsiteY5" fmla="*/ 44505 h 154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0769" h="154285">
                    <a:moveTo>
                      <a:pt x="7912" y="44505"/>
                    </a:moveTo>
                    <a:cubicBezTo>
                      <a:pt x="7912" y="44505"/>
                      <a:pt x="114725" y="62307"/>
                      <a:pt x="177033" y="0"/>
                    </a:cubicBezTo>
                    <a:cubicBezTo>
                      <a:pt x="177033" y="0"/>
                      <a:pt x="263077" y="68242"/>
                      <a:pt x="307582" y="77143"/>
                    </a:cubicBezTo>
                    <a:cubicBezTo>
                      <a:pt x="352088" y="86044"/>
                      <a:pt x="458901" y="83077"/>
                      <a:pt x="470769" y="154286"/>
                    </a:cubicBezTo>
                    <a:lnTo>
                      <a:pt x="7912" y="154286"/>
                    </a:lnTo>
                    <a:cubicBezTo>
                      <a:pt x="7912" y="154286"/>
                      <a:pt x="-9890" y="91978"/>
                      <a:pt x="7912" y="44505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6" name="任意多边形: 形状 235">
                <a:extLst>
                  <a:ext uri="{FF2B5EF4-FFF2-40B4-BE49-F238E27FC236}">
                    <a16:creationId xmlns:a16="http://schemas.microsoft.com/office/drawing/2014/main" id="{A8380F29-D0B1-4480-B91F-9CEB6ADDB3A2}"/>
                  </a:ext>
                </a:extLst>
              </p:cNvPr>
              <p:cNvSpPr/>
              <p:nvPr/>
            </p:nvSpPr>
            <p:spPr>
              <a:xfrm>
                <a:off x="7749921" y="6798746"/>
                <a:ext cx="462857" cy="44505"/>
              </a:xfrm>
              <a:custGeom>
                <a:avLst/>
                <a:gdLst>
                  <a:gd name="connsiteX0" fmla="*/ 0 w 462857"/>
                  <a:gd name="connsiteY0" fmla="*/ 0 h 44505"/>
                  <a:gd name="connsiteX1" fmla="*/ 462857 w 462857"/>
                  <a:gd name="connsiteY1" fmla="*/ 0 h 44505"/>
                  <a:gd name="connsiteX2" fmla="*/ 462857 w 462857"/>
                  <a:gd name="connsiteY2" fmla="*/ 44505 h 44505"/>
                  <a:gd name="connsiteX3" fmla="*/ 0 w 462857"/>
                  <a:gd name="connsiteY3" fmla="*/ 44505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2857" h="44505">
                    <a:moveTo>
                      <a:pt x="0" y="0"/>
                    </a:moveTo>
                    <a:lnTo>
                      <a:pt x="462857" y="0"/>
                    </a:lnTo>
                    <a:lnTo>
                      <a:pt x="462857" y="44505"/>
                    </a:lnTo>
                    <a:lnTo>
                      <a:pt x="0" y="44505"/>
                    </a:lnTo>
                    <a:close/>
                  </a:path>
                </a:pathLst>
              </a:custGeom>
              <a:solidFill>
                <a:srgbClr val="38333D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7" name="任意多边形: 形状 236">
                <a:extLst>
                  <a:ext uri="{FF2B5EF4-FFF2-40B4-BE49-F238E27FC236}">
                    <a16:creationId xmlns:a16="http://schemas.microsoft.com/office/drawing/2014/main" id="{7F2E3B60-16BE-4BC2-8499-396EE94FBB53}"/>
                  </a:ext>
                </a:extLst>
              </p:cNvPr>
              <p:cNvSpPr/>
              <p:nvPr/>
            </p:nvSpPr>
            <p:spPr>
              <a:xfrm>
                <a:off x="7741020" y="6633334"/>
                <a:ext cx="180247" cy="61566"/>
              </a:xfrm>
              <a:custGeom>
                <a:avLst/>
                <a:gdLst>
                  <a:gd name="connsiteX0" fmla="*/ 38571 w 180247"/>
                  <a:gd name="connsiteY0" fmla="*/ 61566 h 61566"/>
                  <a:gd name="connsiteX1" fmla="*/ 5934 w 180247"/>
                  <a:gd name="connsiteY1" fmla="*/ 58599 h 61566"/>
                  <a:gd name="connsiteX2" fmla="*/ 0 w 180247"/>
                  <a:gd name="connsiteY2" fmla="*/ 52665 h 61566"/>
                  <a:gd name="connsiteX3" fmla="*/ 5934 w 180247"/>
                  <a:gd name="connsiteY3" fmla="*/ 46731 h 61566"/>
                  <a:gd name="connsiteX4" fmla="*/ 169121 w 180247"/>
                  <a:gd name="connsiteY4" fmla="*/ 2225 h 61566"/>
                  <a:gd name="connsiteX5" fmla="*/ 178022 w 180247"/>
                  <a:gd name="connsiteY5" fmla="*/ 2225 h 61566"/>
                  <a:gd name="connsiteX6" fmla="*/ 178022 w 180247"/>
                  <a:gd name="connsiteY6" fmla="*/ 11127 h 61566"/>
                  <a:gd name="connsiteX7" fmla="*/ 38571 w 180247"/>
                  <a:gd name="connsiteY7" fmla="*/ 61566 h 61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0247" h="61566">
                    <a:moveTo>
                      <a:pt x="38571" y="61566"/>
                    </a:moveTo>
                    <a:cubicBezTo>
                      <a:pt x="20769" y="61566"/>
                      <a:pt x="8901" y="58599"/>
                      <a:pt x="5934" y="58599"/>
                    </a:cubicBezTo>
                    <a:cubicBezTo>
                      <a:pt x="2967" y="58599"/>
                      <a:pt x="0" y="55632"/>
                      <a:pt x="0" y="52665"/>
                    </a:cubicBezTo>
                    <a:cubicBezTo>
                      <a:pt x="0" y="49698"/>
                      <a:pt x="2967" y="46731"/>
                      <a:pt x="5934" y="46731"/>
                    </a:cubicBezTo>
                    <a:cubicBezTo>
                      <a:pt x="5934" y="46731"/>
                      <a:pt x="103846" y="61566"/>
                      <a:pt x="169121" y="2225"/>
                    </a:cubicBezTo>
                    <a:cubicBezTo>
                      <a:pt x="172088" y="-742"/>
                      <a:pt x="175055" y="-742"/>
                      <a:pt x="178022" y="2225"/>
                    </a:cubicBezTo>
                    <a:cubicBezTo>
                      <a:pt x="180989" y="5193"/>
                      <a:pt x="180989" y="8159"/>
                      <a:pt x="178022" y="11127"/>
                    </a:cubicBezTo>
                    <a:cubicBezTo>
                      <a:pt x="133516" y="55632"/>
                      <a:pt x="74176" y="61566"/>
                      <a:pt x="38571" y="6156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8" name="任意多边形: 形状 237">
                <a:extLst>
                  <a:ext uri="{FF2B5EF4-FFF2-40B4-BE49-F238E27FC236}">
                    <a16:creationId xmlns:a16="http://schemas.microsoft.com/office/drawing/2014/main" id="{625D7629-7652-4D0B-B8C1-8E3AF2CF2258}"/>
                  </a:ext>
                </a:extLst>
              </p:cNvPr>
              <p:cNvSpPr/>
              <p:nvPr/>
            </p:nvSpPr>
            <p:spPr>
              <a:xfrm>
                <a:off x="7922750" y="6660037"/>
                <a:ext cx="40055" cy="40796"/>
              </a:xfrm>
              <a:custGeom>
                <a:avLst/>
                <a:gdLst>
                  <a:gd name="connsiteX0" fmla="*/ 5192 w 40055"/>
                  <a:gd name="connsiteY0" fmla="*/ 40797 h 40796"/>
                  <a:gd name="connsiteX1" fmla="*/ 2225 w 40055"/>
                  <a:gd name="connsiteY1" fmla="*/ 37830 h 40796"/>
                  <a:gd name="connsiteX2" fmla="*/ 2225 w 40055"/>
                  <a:gd name="connsiteY2" fmla="*/ 28929 h 40796"/>
                  <a:gd name="connsiteX3" fmla="*/ 28929 w 40055"/>
                  <a:gd name="connsiteY3" fmla="*/ 2225 h 40796"/>
                  <a:gd name="connsiteX4" fmla="*/ 37830 w 40055"/>
                  <a:gd name="connsiteY4" fmla="*/ 2225 h 40796"/>
                  <a:gd name="connsiteX5" fmla="*/ 37830 w 40055"/>
                  <a:gd name="connsiteY5" fmla="*/ 11126 h 40796"/>
                  <a:gd name="connsiteX6" fmla="*/ 11127 w 40055"/>
                  <a:gd name="connsiteY6" fmla="*/ 37830 h 40796"/>
                  <a:gd name="connsiteX7" fmla="*/ 5192 w 40055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5" h="40796">
                    <a:moveTo>
                      <a:pt x="5192" y="40797"/>
                    </a:moveTo>
                    <a:cubicBezTo>
                      <a:pt x="5192" y="40797"/>
                      <a:pt x="2225" y="40797"/>
                      <a:pt x="2225" y="37830"/>
                    </a:cubicBezTo>
                    <a:cubicBezTo>
                      <a:pt x="-742" y="34863"/>
                      <a:pt x="-742" y="31895"/>
                      <a:pt x="2225" y="28929"/>
                    </a:cubicBezTo>
                    <a:lnTo>
                      <a:pt x="28929" y="2225"/>
                    </a:lnTo>
                    <a:cubicBezTo>
                      <a:pt x="31896" y="-742"/>
                      <a:pt x="34863" y="-742"/>
                      <a:pt x="37830" y="2225"/>
                    </a:cubicBezTo>
                    <a:cubicBezTo>
                      <a:pt x="40797" y="5192"/>
                      <a:pt x="40797" y="8159"/>
                      <a:pt x="37830" y="11126"/>
                    </a:cubicBezTo>
                    <a:lnTo>
                      <a:pt x="11127" y="37830"/>
                    </a:lnTo>
                    <a:cubicBezTo>
                      <a:pt x="8159" y="40797"/>
                      <a:pt x="5192" y="40797"/>
                      <a:pt x="5192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9" name="任意多边形: 形状 238">
                <a:extLst>
                  <a:ext uri="{FF2B5EF4-FFF2-40B4-BE49-F238E27FC236}">
                    <a16:creationId xmlns:a16="http://schemas.microsoft.com/office/drawing/2014/main" id="{E959BF77-D411-44C2-AEDE-357AEC4F8AD2}"/>
                  </a:ext>
                </a:extLst>
              </p:cNvPr>
              <p:cNvSpPr/>
              <p:nvPr/>
            </p:nvSpPr>
            <p:spPr>
              <a:xfrm>
                <a:off x="7958355" y="6686741"/>
                <a:ext cx="37088" cy="40796"/>
              </a:xfrm>
              <a:custGeom>
                <a:avLst/>
                <a:gdLst>
                  <a:gd name="connsiteX0" fmla="*/ 5193 w 37088"/>
                  <a:gd name="connsiteY0" fmla="*/ 40797 h 40796"/>
                  <a:gd name="connsiteX1" fmla="*/ 2225 w 37088"/>
                  <a:gd name="connsiteY1" fmla="*/ 37830 h 40796"/>
                  <a:gd name="connsiteX2" fmla="*/ 2225 w 37088"/>
                  <a:gd name="connsiteY2" fmla="*/ 28929 h 40796"/>
                  <a:gd name="connsiteX3" fmla="*/ 25962 w 37088"/>
                  <a:gd name="connsiteY3" fmla="*/ 2225 h 40796"/>
                  <a:gd name="connsiteX4" fmla="*/ 34863 w 37088"/>
                  <a:gd name="connsiteY4" fmla="*/ 2225 h 40796"/>
                  <a:gd name="connsiteX5" fmla="*/ 34863 w 37088"/>
                  <a:gd name="connsiteY5" fmla="*/ 11127 h 40796"/>
                  <a:gd name="connsiteX6" fmla="*/ 11127 w 37088"/>
                  <a:gd name="connsiteY6" fmla="*/ 37830 h 40796"/>
                  <a:gd name="connsiteX7" fmla="*/ 5193 w 37088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88" h="40796">
                    <a:moveTo>
                      <a:pt x="5193" y="40797"/>
                    </a:moveTo>
                    <a:cubicBezTo>
                      <a:pt x="5193" y="40797"/>
                      <a:pt x="2225" y="40797"/>
                      <a:pt x="2225" y="37830"/>
                    </a:cubicBezTo>
                    <a:cubicBezTo>
                      <a:pt x="-742" y="34863"/>
                      <a:pt x="-742" y="31896"/>
                      <a:pt x="2225" y="28929"/>
                    </a:cubicBezTo>
                    <a:lnTo>
                      <a:pt x="25962" y="2225"/>
                    </a:lnTo>
                    <a:cubicBezTo>
                      <a:pt x="28929" y="-742"/>
                      <a:pt x="31896" y="-742"/>
                      <a:pt x="34863" y="2225"/>
                    </a:cubicBezTo>
                    <a:cubicBezTo>
                      <a:pt x="37830" y="5192"/>
                      <a:pt x="37830" y="8159"/>
                      <a:pt x="34863" y="11127"/>
                    </a:cubicBezTo>
                    <a:lnTo>
                      <a:pt x="11127" y="37830"/>
                    </a:lnTo>
                    <a:cubicBezTo>
                      <a:pt x="8159" y="37830"/>
                      <a:pt x="8159" y="40797"/>
                      <a:pt x="5193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4691DF37-AC77-4550-BDC5-2FF4B1AAEE70}"/>
                </a:ext>
              </a:extLst>
            </p:cNvPr>
            <p:cNvSpPr/>
            <p:nvPr/>
          </p:nvSpPr>
          <p:spPr>
            <a:xfrm>
              <a:off x="7515525" y="2748746"/>
              <a:ext cx="243296" cy="251317"/>
            </a:xfrm>
            <a:custGeom>
              <a:avLst/>
              <a:gdLst>
                <a:gd name="connsiteX0" fmla="*/ 243297 w 243296"/>
                <a:gd name="connsiteY0" fmla="*/ 38571 h 251317"/>
                <a:gd name="connsiteX1" fmla="*/ 237363 w 243296"/>
                <a:gd name="connsiteY1" fmla="*/ 207692 h 251317"/>
                <a:gd name="connsiteX2" fmla="*/ 0 w 243296"/>
                <a:gd name="connsiteY2" fmla="*/ 198791 h 251317"/>
                <a:gd name="connsiteX3" fmla="*/ 14835 w 243296"/>
                <a:gd name="connsiteY3" fmla="*/ 0 h 251317"/>
                <a:gd name="connsiteX4" fmla="*/ 243297 w 243296"/>
                <a:gd name="connsiteY4" fmla="*/ 38571 h 251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296" h="251317">
                  <a:moveTo>
                    <a:pt x="243297" y="38571"/>
                  </a:moveTo>
                  <a:cubicBezTo>
                    <a:pt x="243297" y="38571"/>
                    <a:pt x="237363" y="136483"/>
                    <a:pt x="237363" y="207692"/>
                  </a:cubicBezTo>
                  <a:cubicBezTo>
                    <a:pt x="237363" y="207692"/>
                    <a:pt x="145384" y="311538"/>
                    <a:pt x="0" y="198791"/>
                  </a:cubicBezTo>
                  <a:cubicBezTo>
                    <a:pt x="0" y="139451"/>
                    <a:pt x="11868" y="62308"/>
                    <a:pt x="14835" y="0"/>
                  </a:cubicBezTo>
                  <a:cubicBezTo>
                    <a:pt x="11868" y="0"/>
                    <a:pt x="192857" y="50440"/>
                    <a:pt x="243297" y="38571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id="{0F8DD7D6-7BE6-4C72-BD0E-F7D9A388BD39}"/>
                </a:ext>
              </a:extLst>
            </p:cNvPr>
            <p:cNvSpPr/>
            <p:nvPr/>
          </p:nvSpPr>
          <p:spPr>
            <a:xfrm>
              <a:off x="7426514" y="2633032"/>
              <a:ext cx="68241" cy="133516"/>
            </a:xfrm>
            <a:custGeom>
              <a:avLst/>
              <a:gdLst>
                <a:gd name="connsiteX0" fmla="*/ 0 w 68241"/>
                <a:gd name="connsiteY0" fmla="*/ 0 h 133516"/>
                <a:gd name="connsiteX1" fmla="*/ 65275 w 68241"/>
                <a:gd name="connsiteY1" fmla="*/ 133516 h 133516"/>
                <a:gd name="connsiteX2" fmla="*/ 68242 w 68241"/>
                <a:gd name="connsiteY2" fmla="*/ 50440 h 133516"/>
                <a:gd name="connsiteX3" fmla="*/ 0 w 68241"/>
                <a:gd name="connsiteY3" fmla="*/ 0 h 13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241" h="133516">
                  <a:moveTo>
                    <a:pt x="0" y="0"/>
                  </a:moveTo>
                  <a:cubicBezTo>
                    <a:pt x="0" y="0"/>
                    <a:pt x="14835" y="115714"/>
                    <a:pt x="65275" y="133516"/>
                  </a:cubicBezTo>
                  <a:lnTo>
                    <a:pt x="68242" y="504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2" name="任意多边形: 形状 241">
              <a:extLst>
                <a:ext uri="{FF2B5EF4-FFF2-40B4-BE49-F238E27FC236}">
                  <a16:creationId xmlns:a16="http://schemas.microsoft.com/office/drawing/2014/main" id="{8DE9FCE2-FF64-4EDC-859B-A076CC15CE48}"/>
                </a:ext>
              </a:extLst>
            </p:cNvPr>
            <p:cNvSpPr/>
            <p:nvPr/>
          </p:nvSpPr>
          <p:spPr>
            <a:xfrm>
              <a:off x="7773217" y="2431274"/>
              <a:ext cx="99882" cy="231440"/>
            </a:xfrm>
            <a:custGeom>
              <a:avLst/>
              <a:gdLst>
                <a:gd name="connsiteX0" fmla="*/ 92418 w 99882"/>
                <a:gd name="connsiteY0" fmla="*/ 0 h 231440"/>
                <a:gd name="connsiteX1" fmla="*/ 53846 w 99882"/>
                <a:gd name="connsiteY1" fmla="*/ 228462 h 231440"/>
                <a:gd name="connsiteX2" fmla="*/ 440 w 99882"/>
                <a:gd name="connsiteY2" fmla="*/ 14835 h 231440"/>
                <a:gd name="connsiteX3" fmla="*/ 92418 w 99882"/>
                <a:gd name="connsiteY3" fmla="*/ 0 h 23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882" h="231440">
                  <a:moveTo>
                    <a:pt x="92418" y="0"/>
                  </a:moveTo>
                  <a:cubicBezTo>
                    <a:pt x="92418" y="0"/>
                    <a:pt x="125055" y="189890"/>
                    <a:pt x="53846" y="228462"/>
                  </a:cubicBezTo>
                  <a:cubicBezTo>
                    <a:pt x="-8462" y="261099"/>
                    <a:pt x="440" y="14835"/>
                    <a:pt x="440" y="14835"/>
                  </a:cubicBezTo>
                  <a:lnTo>
                    <a:pt x="92418" y="0"/>
                  </a:lnTo>
                  <a:close/>
                </a:path>
              </a:pathLst>
            </a:custGeom>
            <a:solidFill>
              <a:srgbClr val="664241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3" name="任意多边形: 形状 242">
              <a:extLst>
                <a:ext uri="{FF2B5EF4-FFF2-40B4-BE49-F238E27FC236}">
                  <a16:creationId xmlns:a16="http://schemas.microsoft.com/office/drawing/2014/main" id="{A879E630-168B-4206-998B-DB6883FF4BE9}"/>
                </a:ext>
              </a:extLst>
            </p:cNvPr>
            <p:cNvSpPr/>
            <p:nvPr/>
          </p:nvSpPr>
          <p:spPr>
            <a:xfrm>
              <a:off x="7426514" y="2296891"/>
              <a:ext cx="412036" cy="553321"/>
            </a:xfrm>
            <a:custGeom>
              <a:avLst/>
              <a:gdLst>
                <a:gd name="connsiteX0" fmla="*/ 400549 w 412036"/>
                <a:gd name="connsiteY0" fmla="*/ 175921 h 553321"/>
                <a:gd name="connsiteX1" fmla="*/ 403517 w 412036"/>
                <a:gd name="connsiteY1" fmla="*/ 419218 h 553321"/>
                <a:gd name="connsiteX2" fmla="*/ 249231 w 412036"/>
                <a:gd name="connsiteY2" fmla="*/ 552734 h 553321"/>
                <a:gd name="connsiteX3" fmla="*/ 38572 w 412036"/>
                <a:gd name="connsiteY3" fmla="*/ 416251 h 553321"/>
                <a:gd name="connsiteX4" fmla="*/ 0 w 412036"/>
                <a:gd name="connsiteY4" fmla="*/ 196690 h 553321"/>
                <a:gd name="connsiteX5" fmla="*/ 204725 w 412036"/>
                <a:gd name="connsiteY5" fmla="*/ 866 h 553321"/>
                <a:gd name="connsiteX6" fmla="*/ 400549 w 412036"/>
                <a:gd name="connsiteY6" fmla="*/ 175921 h 5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036" h="553321">
                  <a:moveTo>
                    <a:pt x="400549" y="175921"/>
                  </a:moveTo>
                  <a:cubicBezTo>
                    <a:pt x="400549" y="175921"/>
                    <a:pt x="424286" y="348009"/>
                    <a:pt x="403517" y="419218"/>
                  </a:cubicBezTo>
                  <a:cubicBezTo>
                    <a:pt x="385714" y="484493"/>
                    <a:pt x="299671" y="546800"/>
                    <a:pt x="249231" y="552734"/>
                  </a:cubicBezTo>
                  <a:cubicBezTo>
                    <a:pt x="183956" y="558668"/>
                    <a:pt x="68242" y="520097"/>
                    <a:pt x="38572" y="416251"/>
                  </a:cubicBezTo>
                  <a:cubicBezTo>
                    <a:pt x="17802" y="345042"/>
                    <a:pt x="0" y="247130"/>
                    <a:pt x="0" y="196690"/>
                  </a:cubicBezTo>
                  <a:cubicBezTo>
                    <a:pt x="0" y="104712"/>
                    <a:pt x="26703" y="27570"/>
                    <a:pt x="204725" y="866"/>
                  </a:cubicBezTo>
                  <a:cubicBezTo>
                    <a:pt x="287802" y="-11002"/>
                    <a:pt x="379780" y="101745"/>
                    <a:pt x="400549" y="175921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4" name="任意多边形: 形状 243">
              <a:extLst>
                <a:ext uri="{FF2B5EF4-FFF2-40B4-BE49-F238E27FC236}">
                  <a16:creationId xmlns:a16="http://schemas.microsoft.com/office/drawing/2014/main" id="{C6A17E1D-DA65-4BBF-BE9B-E45D821F19D9}"/>
                </a:ext>
              </a:extLst>
            </p:cNvPr>
            <p:cNvSpPr/>
            <p:nvPr/>
          </p:nvSpPr>
          <p:spPr>
            <a:xfrm>
              <a:off x="7649042" y="2549955"/>
              <a:ext cx="56373" cy="136483"/>
            </a:xfrm>
            <a:custGeom>
              <a:avLst/>
              <a:gdLst>
                <a:gd name="connsiteX0" fmla="*/ 26703 w 56373"/>
                <a:gd name="connsiteY0" fmla="*/ 136484 h 136483"/>
                <a:gd name="connsiteX1" fmla="*/ 5934 w 56373"/>
                <a:gd name="connsiteY1" fmla="*/ 133516 h 136483"/>
                <a:gd name="connsiteX2" fmla="*/ 0 w 56373"/>
                <a:gd name="connsiteY2" fmla="*/ 127582 h 136483"/>
                <a:gd name="connsiteX3" fmla="*/ 5934 w 56373"/>
                <a:gd name="connsiteY3" fmla="*/ 121648 h 136483"/>
                <a:gd name="connsiteX4" fmla="*/ 44505 w 56373"/>
                <a:gd name="connsiteY4" fmla="*/ 118681 h 136483"/>
                <a:gd name="connsiteX5" fmla="*/ 44505 w 56373"/>
                <a:gd name="connsiteY5" fmla="*/ 115714 h 136483"/>
                <a:gd name="connsiteX6" fmla="*/ 26703 w 56373"/>
                <a:gd name="connsiteY6" fmla="*/ 5934 h 136483"/>
                <a:gd name="connsiteX7" fmla="*/ 32638 w 56373"/>
                <a:gd name="connsiteY7" fmla="*/ 0 h 136483"/>
                <a:gd name="connsiteX8" fmla="*/ 38572 w 56373"/>
                <a:gd name="connsiteY8" fmla="*/ 5934 h 136483"/>
                <a:gd name="connsiteX9" fmla="*/ 56373 w 56373"/>
                <a:gd name="connsiteY9" fmla="*/ 115714 h 136483"/>
                <a:gd name="connsiteX10" fmla="*/ 50439 w 56373"/>
                <a:gd name="connsiteY10" fmla="*/ 127582 h 136483"/>
                <a:gd name="connsiteX11" fmla="*/ 26703 w 56373"/>
                <a:gd name="connsiteY11" fmla="*/ 136484 h 13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373" h="136483">
                  <a:moveTo>
                    <a:pt x="26703" y="136484"/>
                  </a:moveTo>
                  <a:cubicBezTo>
                    <a:pt x="17802" y="136484"/>
                    <a:pt x="8901" y="133516"/>
                    <a:pt x="5934" y="133516"/>
                  </a:cubicBezTo>
                  <a:cubicBezTo>
                    <a:pt x="2967" y="133516"/>
                    <a:pt x="0" y="130549"/>
                    <a:pt x="0" y="127582"/>
                  </a:cubicBezTo>
                  <a:cubicBezTo>
                    <a:pt x="0" y="124615"/>
                    <a:pt x="2967" y="121648"/>
                    <a:pt x="5934" y="121648"/>
                  </a:cubicBezTo>
                  <a:cubicBezTo>
                    <a:pt x="17802" y="124615"/>
                    <a:pt x="38572" y="124615"/>
                    <a:pt x="44505" y="118681"/>
                  </a:cubicBezTo>
                  <a:cubicBezTo>
                    <a:pt x="44505" y="118681"/>
                    <a:pt x="44505" y="115714"/>
                    <a:pt x="44505" y="115714"/>
                  </a:cubicBezTo>
                  <a:cubicBezTo>
                    <a:pt x="44505" y="97912"/>
                    <a:pt x="26703" y="8901"/>
                    <a:pt x="26703" y="5934"/>
                  </a:cubicBezTo>
                  <a:cubicBezTo>
                    <a:pt x="26703" y="2967"/>
                    <a:pt x="26703" y="0"/>
                    <a:pt x="32638" y="0"/>
                  </a:cubicBezTo>
                  <a:cubicBezTo>
                    <a:pt x="35604" y="0"/>
                    <a:pt x="38572" y="0"/>
                    <a:pt x="38572" y="5934"/>
                  </a:cubicBezTo>
                  <a:cubicBezTo>
                    <a:pt x="38572" y="8901"/>
                    <a:pt x="56373" y="97912"/>
                    <a:pt x="56373" y="115714"/>
                  </a:cubicBezTo>
                  <a:cubicBezTo>
                    <a:pt x="56373" y="121648"/>
                    <a:pt x="53407" y="124615"/>
                    <a:pt x="50439" y="127582"/>
                  </a:cubicBezTo>
                  <a:cubicBezTo>
                    <a:pt x="44505" y="136484"/>
                    <a:pt x="35604" y="136484"/>
                    <a:pt x="26703" y="136484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id="{A4EAEF75-7FC8-449C-9BF2-A125AEBCFDBB}"/>
                </a:ext>
              </a:extLst>
            </p:cNvPr>
            <p:cNvSpPr/>
            <p:nvPr/>
          </p:nvSpPr>
          <p:spPr>
            <a:xfrm>
              <a:off x="7619371" y="2736878"/>
              <a:ext cx="103846" cy="50439"/>
            </a:xfrm>
            <a:custGeom>
              <a:avLst/>
              <a:gdLst>
                <a:gd name="connsiteX0" fmla="*/ 103846 w 103846"/>
                <a:gd name="connsiteY0" fmla="*/ 0 h 50439"/>
                <a:gd name="connsiteX1" fmla="*/ 0 w 103846"/>
                <a:gd name="connsiteY1" fmla="*/ 0 h 50439"/>
                <a:gd name="connsiteX2" fmla="*/ 50439 w 103846"/>
                <a:gd name="connsiteY2" fmla="*/ 50440 h 50439"/>
                <a:gd name="connsiteX3" fmla="*/ 103846 w 103846"/>
                <a:gd name="connsiteY3" fmla="*/ 0 h 50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46" h="50439">
                  <a:moveTo>
                    <a:pt x="103846" y="0"/>
                  </a:moveTo>
                  <a:cubicBezTo>
                    <a:pt x="103846" y="0"/>
                    <a:pt x="50439" y="14835"/>
                    <a:pt x="0" y="0"/>
                  </a:cubicBezTo>
                  <a:cubicBezTo>
                    <a:pt x="0" y="0"/>
                    <a:pt x="2967" y="50440"/>
                    <a:pt x="50439" y="50440"/>
                  </a:cubicBezTo>
                  <a:cubicBezTo>
                    <a:pt x="91978" y="50440"/>
                    <a:pt x="103846" y="0"/>
                    <a:pt x="103846" y="0"/>
                  </a:cubicBezTo>
                  <a:close/>
                </a:path>
              </a:pathLst>
            </a:custGeom>
            <a:solidFill>
              <a:srgbClr val="FFFFFF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6" name="任意多边形: 形状 245">
              <a:extLst>
                <a:ext uri="{FF2B5EF4-FFF2-40B4-BE49-F238E27FC236}">
                  <a16:creationId xmlns:a16="http://schemas.microsoft.com/office/drawing/2014/main" id="{99A37FA7-B193-486D-A9D4-3B468987629D}"/>
                </a:ext>
              </a:extLst>
            </p:cNvPr>
            <p:cNvSpPr/>
            <p:nvPr/>
          </p:nvSpPr>
          <p:spPr>
            <a:xfrm>
              <a:off x="7734329" y="2531571"/>
              <a:ext cx="39909" cy="39735"/>
            </a:xfrm>
            <a:custGeom>
              <a:avLst/>
              <a:gdLst>
                <a:gd name="connsiteX0" fmla="*/ 756 w 39909"/>
                <a:gd name="connsiteY0" fmla="*/ 24318 h 39735"/>
                <a:gd name="connsiteX1" fmla="*/ 24492 w 39909"/>
                <a:gd name="connsiteY1" fmla="*/ 39153 h 39735"/>
                <a:gd name="connsiteX2" fmla="*/ 39328 w 39909"/>
                <a:gd name="connsiteY2" fmla="*/ 15417 h 39735"/>
                <a:gd name="connsiteX3" fmla="*/ 15591 w 39909"/>
                <a:gd name="connsiteY3" fmla="*/ 582 h 39735"/>
                <a:gd name="connsiteX4" fmla="*/ 756 w 39909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39735">
                  <a:moveTo>
                    <a:pt x="756" y="24318"/>
                  </a:moveTo>
                  <a:cubicBezTo>
                    <a:pt x="3723" y="33219"/>
                    <a:pt x="12624" y="42120"/>
                    <a:pt x="24492" y="39153"/>
                  </a:cubicBezTo>
                  <a:cubicBezTo>
                    <a:pt x="33394" y="36186"/>
                    <a:pt x="42295" y="27285"/>
                    <a:pt x="39328" y="15417"/>
                  </a:cubicBezTo>
                  <a:cubicBezTo>
                    <a:pt x="36361" y="6516"/>
                    <a:pt x="27460" y="-2385"/>
                    <a:pt x="15591" y="582"/>
                  </a:cubicBezTo>
                  <a:cubicBezTo>
                    <a:pt x="3723" y="3549"/>
                    <a:pt x="-2211" y="12450"/>
                    <a:pt x="756" y="24318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7" name="任意多边形: 形状 246">
              <a:extLst>
                <a:ext uri="{FF2B5EF4-FFF2-40B4-BE49-F238E27FC236}">
                  <a16:creationId xmlns:a16="http://schemas.microsoft.com/office/drawing/2014/main" id="{03BA412B-27CD-4D58-9CC9-79F08500D578}"/>
                </a:ext>
              </a:extLst>
            </p:cNvPr>
            <p:cNvSpPr/>
            <p:nvPr/>
          </p:nvSpPr>
          <p:spPr>
            <a:xfrm>
              <a:off x="7556307" y="2549373"/>
              <a:ext cx="39909" cy="39735"/>
            </a:xfrm>
            <a:custGeom>
              <a:avLst/>
              <a:gdLst>
                <a:gd name="connsiteX0" fmla="*/ 756 w 39909"/>
                <a:gd name="connsiteY0" fmla="*/ 24318 h 39735"/>
                <a:gd name="connsiteX1" fmla="*/ 24492 w 39909"/>
                <a:gd name="connsiteY1" fmla="*/ 39153 h 39735"/>
                <a:gd name="connsiteX2" fmla="*/ 39328 w 39909"/>
                <a:gd name="connsiteY2" fmla="*/ 15417 h 39735"/>
                <a:gd name="connsiteX3" fmla="*/ 15591 w 39909"/>
                <a:gd name="connsiteY3" fmla="*/ 582 h 39735"/>
                <a:gd name="connsiteX4" fmla="*/ 756 w 39909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39735">
                  <a:moveTo>
                    <a:pt x="756" y="24318"/>
                  </a:moveTo>
                  <a:cubicBezTo>
                    <a:pt x="3723" y="33219"/>
                    <a:pt x="12624" y="42120"/>
                    <a:pt x="24492" y="39153"/>
                  </a:cubicBezTo>
                  <a:cubicBezTo>
                    <a:pt x="33394" y="36186"/>
                    <a:pt x="42295" y="27285"/>
                    <a:pt x="39328" y="15417"/>
                  </a:cubicBezTo>
                  <a:cubicBezTo>
                    <a:pt x="36361" y="6516"/>
                    <a:pt x="27460" y="-2385"/>
                    <a:pt x="15591" y="582"/>
                  </a:cubicBezTo>
                  <a:cubicBezTo>
                    <a:pt x="3723" y="3549"/>
                    <a:pt x="-2211" y="15417"/>
                    <a:pt x="756" y="24318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8" name="任意多边形: 形状 247">
              <a:extLst>
                <a:ext uri="{FF2B5EF4-FFF2-40B4-BE49-F238E27FC236}">
                  <a16:creationId xmlns:a16="http://schemas.microsoft.com/office/drawing/2014/main" id="{6E9A96AF-E101-4AA8-A479-50D284418B46}"/>
                </a:ext>
              </a:extLst>
            </p:cNvPr>
            <p:cNvSpPr/>
            <p:nvPr/>
          </p:nvSpPr>
          <p:spPr>
            <a:xfrm>
              <a:off x="7704186" y="2484680"/>
              <a:ext cx="89498" cy="32637"/>
            </a:xfrm>
            <a:custGeom>
              <a:avLst/>
              <a:gdLst>
                <a:gd name="connsiteX0" fmla="*/ 84306 w 89498"/>
                <a:gd name="connsiteY0" fmla="*/ 32637 h 32637"/>
                <a:gd name="connsiteX1" fmla="*/ 78372 w 89498"/>
                <a:gd name="connsiteY1" fmla="*/ 29670 h 32637"/>
                <a:gd name="connsiteX2" fmla="*/ 13097 w 89498"/>
                <a:gd name="connsiteY2" fmla="*/ 23736 h 32637"/>
                <a:gd name="connsiteX3" fmla="*/ 1229 w 89498"/>
                <a:gd name="connsiteY3" fmla="*/ 20769 h 32637"/>
                <a:gd name="connsiteX4" fmla="*/ 4196 w 89498"/>
                <a:gd name="connsiteY4" fmla="*/ 8901 h 32637"/>
                <a:gd name="connsiteX5" fmla="*/ 87273 w 89498"/>
                <a:gd name="connsiteY5" fmla="*/ 17802 h 32637"/>
                <a:gd name="connsiteX6" fmla="*/ 87273 w 89498"/>
                <a:gd name="connsiteY6" fmla="*/ 29670 h 32637"/>
                <a:gd name="connsiteX7" fmla="*/ 84306 w 89498"/>
                <a:gd name="connsiteY7" fmla="*/ 32637 h 32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2637">
                  <a:moveTo>
                    <a:pt x="84306" y="32637"/>
                  </a:moveTo>
                  <a:cubicBezTo>
                    <a:pt x="81339" y="32637"/>
                    <a:pt x="81339" y="32637"/>
                    <a:pt x="78372" y="29670"/>
                  </a:cubicBezTo>
                  <a:cubicBezTo>
                    <a:pt x="51669" y="2967"/>
                    <a:pt x="13097" y="23736"/>
                    <a:pt x="13097" y="23736"/>
                  </a:cubicBezTo>
                  <a:cubicBezTo>
                    <a:pt x="10130" y="26703"/>
                    <a:pt x="4196" y="23736"/>
                    <a:pt x="1229" y="20769"/>
                  </a:cubicBezTo>
                  <a:cubicBezTo>
                    <a:pt x="-1738" y="17802"/>
                    <a:pt x="1229" y="11868"/>
                    <a:pt x="4196" y="8901"/>
                  </a:cubicBezTo>
                  <a:cubicBezTo>
                    <a:pt x="21998" y="0"/>
                    <a:pt x="60570" y="-8901"/>
                    <a:pt x="87273" y="17802"/>
                  </a:cubicBezTo>
                  <a:cubicBezTo>
                    <a:pt x="90240" y="20769"/>
                    <a:pt x="90240" y="26703"/>
                    <a:pt x="87273" y="29670"/>
                  </a:cubicBezTo>
                  <a:cubicBezTo>
                    <a:pt x="90240" y="29670"/>
                    <a:pt x="87273" y="32637"/>
                    <a:pt x="84306" y="32637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9" name="任意多边形: 形状 248">
              <a:extLst>
                <a:ext uri="{FF2B5EF4-FFF2-40B4-BE49-F238E27FC236}">
                  <a16:creationId xmlns:a16="http://schemas.microsoft.com/office/drawing/2014/main" id="{0631483C-C95E-4EF1-BF03-16E85B195ECA}"/>
                </a:ext>
              </a:extLst>
            </p:cNvPr>
            <p:cNvSpPr/>
            <p:nvPr/>
          </p:nvSpPr>
          <p:spPr>
            <a:xfrm>
              <a:off x="7522201" y="2484982"/>
              <a:ext cx="89498" cy="35302"/>
            </a:xfrm>
            <a:custGeom>
              <a:avLst/>
              <a:gdLst>
                <a:gd name="connsiteX0" fmla="*/ 8159 w 89498"/>
                <a:gd name="connsiteY0" fmla="*/ 35302 h 35302"/>
                <a:gd name="connsiteX1" fmla="*/ 2225 w 89498"/>
                <a:gd name="connsiteY1" fmla="*/ 32335 h 35302"/>
                <a:gd name="connsiteX2" fmla="*/ 2225 w 89498"/>
                <a:gd name="connsiteY2" fmla="*/ 20467 h 35302"/>
                <a:gd name="connsiteX3" fmla="*/ 85302 w 89498"/>
                <a:gd name="connsiteY3" fmla="*/ 11566 h 35302"/>
                <a:gd name="connsiteX4" fmla="*/ 88269 w 89498"/>
                <a:gd name="connsiteY4" fmla="*/ 23434 h 35302"/>
                <a:gd name="connsiteX5" fmla="*/ 76401 w 89498"/>
                <a:gd name="connsiteY5" fmla="*/ 26401 h 35302"/>
                <a:gd name="connsiteX6" fmla="*/ 11127 w 89498"/>
                <a:gd name="connsiteY6" fmla="*/ 32335 h 35302"/>
                <a:gd name="connsiteX7" fmla="*/ 8159 w 89498"/>
                <a:gd name="connsiteY7" fmla="*/ 35302 h 35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302">
                  <a:moveTo>
                    <a:pt x="8159" y="35302"/>
                  </a:moveTo>
                  <a:cubicBezTo>
                    <a:pt x="5192" y="35302"/>
                    <a:pt x="5192" y="35302"/>
                    <a:pt x="2225" y="32335"/>
                  </a:cubicBezTo>
                  <a:cubicBezTo>
                    <a:pt x="-742" y="29368"/>
                    <a:pt x="-742" y="23434"/>
                    <a:pt x="2225" y="20467"/>
                  </a:cubicBezTo>
                  <a:cubicBezTo>
                    <a:pt x="14093" y="5632"/>
                    <a:pt x="49698" y="-12170"/>
                    <a:pt x="85302" y="11566"/>
                  </a:cubicBezTo>
                  <a:cubicBezTo>
                    <a:pt x="88269" y="14533"/>
                    <a:pt x="91236" y="17500"/>
                    <a:pt x="88269" y="23434"/>
                  </a:cubicBezTo>
                  <a:cubicBezTo>
                    <a:pt x="85302" y="26401"/>
                    <a:pt x="82335" y="29368"/>
                    <a:pt x="76401" y="26401"/>
                  </a:cubicBezTo>
                  <a:cubicBezTo>
                    <a:pt x="40797" y="2665"/>
                    <a:pt x="14093" y="32335"/>
                    <a:pt x="11127" y="32335"/>
                  </a:cubicBezTo>
                  <a:cubicBezTo>
                    <a:pt x="11127" y="35302"/>
                    <a:pt x="11127" y="35302"/>
                    <a:pt x="8159" y="35302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0" name="任意多边形: 形状 249">
              <a:extLst>
                <a:ext uri="{FF2B5EF4-FFF2-40B4-BE49-F238E27FC236}">
                  <a16:creationId xmlns:a16="http://schemas.microsoft.com/office/drawing/2014/main" id="{1D6E7FB4-52BE-4095-861B-F9B465F9945A}"/>
                </a:ext>
              </a:extLst>
            </p:cNvPr>
            <p:cNvSpPr/>
            <p:nvPr/>
          </p:nvSpPr>
          <p:spPr>
            <a:xfrm>
              <a:off x="7515525" y="2793252"/>
              <a:ext cx="224752" cy="62307"/>
            </a:xfrm>
            <a:custGeom>
              <a:avLst/>
              <a:gdLst>
                <a:gd name="connsiteX0" fmla="*/ 145384 w 224752"/>
                <a:gd name="connsiteY0" fmla="*/ 62308 h 62307"/>
                <a:gd name="connsiteX1" fmla="*/ 2967 w 224752"/>
                <a:gd name="connsiteY1" fmla="*/ 11868 h 62307"/>
                <a:gd name="connsiteX2" fmla="*/ 0 w 224752"/>
                <a:gd name="connsiteY2" fmla="*/ 2967 h 62307"/>
                <a:gd name="connsiteX3" fmla="*/ 8901 w 224752"/>
                <a:gd name="connsiteY3" fmla="*/ 0 h 62307"/>
                <a:gd name="connsiteX4" fmla="*/ 145384 w 224752"/>
                <a:gd name="connsiteY4" fmla="*/ 47472 h 62307"/>
                <a:gd name="connsiteX5" fmla="*/ 145384 w 224752"/>
                <a:gd name="connsiteY5" fmla="*/ 47472 h 62307"/>
                <a:gd name="connsiteX6" fmla="*/ 213626 w 224752"/>
                <a:gd name="connsiteY6" fmla="*/ 23736 h 62307"/>
                <a:gd name="connsiteX7" fmla="*/ 222527 w 224752"/>
                <a:gd name="connsiteY7" fmla="*/ 23736 h 62307"/>
                <a:gd name="connsiteX8" fmla="*/ 222527 w 224752"/>
                <a:gd name="connsiteY8" fmla="*/ 32637 h 62307"/>
                <a:gd name="connsiteX9" fmla="*/ 145384 w 224752"/>
                <a:gd name="connsiteY9" fmla="*/ 62308 h 62307"/>
                <a:gd name="connsiteX10" fmla="*/ 145384 w 224752"/>
                <a:gd name="connsiteY10" fmla="*/ 62308 h 6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752" h="62307">
                  <a:moveTo>
                    <a:pt x="145384" y="62308"/>
                  </a:moveTo>
                  <a:cubicBezTo>
                    <a:pt x="94945" y="62308"/>
                    <a:pt x="8901" y="14835"/>
                    <a:pt x="2967" y="11868"/>
                  </a:cubicBezTo>
                  <a:cubicBezTo>
                    <a:pt x="0" y="8901"/>
                    <a:pt x="0" y="5934"/>
                    <a:pt x="0" y="2967"/>
                  </a:cubicBezTo>
                  <a:cubicBezTo>
                    <a:pt x="2967" y="0"/>
                    <a:pt x="5934" y="0"/>
                    <a:pt x="8901" y="0"/>
                  </a:cubicBezTo>
                  <a:cubicBezTo>
                    <a:pt x="8901" y="0"/>
                    <a:pt x="97912" y="47472"/>
                    <a:pt x="145384" y="47472"/>
                  </a:cubicBezTo>
                  <a:cubicBezTo>
                    <a:pt x="145384" y="47472"/>
                    <a:pt x="145384" y="47472"/>
                    <a:pt x="145384" y="47472"/>
                  </a:cubicBezTo>
                  <a:cubicBezTo>
                    <a:pt x="183956" y="47472"/>
                    <a:pt x="213626" y="23736"/>
                    <a:pt x="213626" y="23736"/>
                  </a:cubicBezTo>
                  <a:cubicBezTo>
                    <a:pt x="216594" y="20769"/>
                    <a:pt x="219560" y="20769"/>
                    <a:pt x="222527" y="23736"/>
                  </a:cubicBezTo>
                  <a:cubicBezTo>
                    <a:pt x="225495" y="26703"/>
                    <a:pt x="225495" y="29670"/>
                    <a:pt x="222527" y="32637"/>
                  </a:cubicBezTo>
                  <a:cubicBezTo>
                    <a:pt x="222527" y="35604"/>
                    <a:pt x="189890" y="62308"/>
                    <a:pt x="145384" y="62308"/>
                  </a:cubicBezTo>
                  <a:cubicBezTo>
                    <a:pt x="148352" y="62308"/>
                    <a:pt x="148352" y="62308"/>
                    <a:pt x="145384" y="62308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1" name="任意多边形: 形状 250">
              <a:extLst>
                <a:ext uri="{FF2B5EF4-FFF2-40B4-BE49-F238E27FC236}">
                  <a16:creationId xmlns:a16="http://schemas.microsoft.com/office/drawing/2014/main" id="{BE3233CC-39DF-4BC2-9DA6-E8232EE1C4F3}"/>
                </a:ext>
              </a:extLst>
            </p:cNvPr>
            <p:cNvSpPr/>
            <p:nvPr/>
          </p:nvSpPr>
          <p:spPr>
            <a:xfrm>
              <a:off x="7387635" y="2321493"/>
              <a:ext cx="110087" cy="261098"/>
            </a:xfrm>
            <a:custGeom>
              <a:avLst/>
              <a:gdLst>
                <a:gd name="connsiteX0" fmla="*/ 110088 w 110087"/>
                <a:gd name="connsiteY0" fmla="*/ 124615 h 261098"/>
                <a:gd name="connsiteX1" fmla="*/ 62616 w 110087"/>
                <a:gd name="connsiteY1" fmla="*/ 261099 h 261098"/>
                <a:gd name="connsiteX2" fmla="*/ 6242 w 110087"/>
                <a:gd name="connsiteY2" fmla="*/ 163187 h 261098"/>
                <a:gd name="connsiteX3" fmla="*/ 62616 w 110087"/>
                <a:gd name="connsiteY3" fmla="*/ 0 h 261098"/>
                <a:gd name="connsiteX4" fmla="*/ 110088 w 110087"/>
                <a:gd name="connsiteY4" fmla="*/ 124615 h 26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087" h="261098">
                  <a:moveTo>
                    <a:pt x="110088" y="124615"/>
                  </a:moveTo>
                  <a:cubicBezTo>
                    <a:pt x="110088" y="124615"/>
                    <a:pt x="56682" y="231429"/>
                    <a:pt x="62616" y="261099"/>
                  </a:cubicBezTo>
                  <a:cubicBezTo>
                    <a:pt x="62616" y="261099"/>
                    <a:pt x="21077" y="216593"/>
                    <a:pt x="6242" y="163187"/>
                  </a:cubicBezTo>
                  <a:cubicBezTo>
                    <a:pt x="-8593" y="106813"/>
                    <a:pt x="308" y="14835"/>
                    <a:pt x="62616" y="0"/>
                  </a:cubicBezTo>
                  <a:cubicBezTo>
                    <a:pt x="62616" y="0"/>
                    <a:pt x="71517" y="106813"/>
                    <a:pt x="110088" y="124615"/>
                  </a:cubicBezTo>
                  <a:close/>
                </a:path>
              </a:pathLst>
            </a:custGeom>
            <a:solidFill>
              <a:srgbClr val="664241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2" name="任意多边形: 形状 251">
              <a:extLst>
                <a:ext uri="{FF2B5EF4-FFF2-40B4-BE49-F238E27FC236}">
                  <a16:creationId xmlns:a16="http://schemas.microsoft.com/office/drawing/2014/main" id="{FEFE841F-736E-4A41-BC0A-7DCC282C1F84}"/>
                </a:ext>
              </a:extLst>
            </p:cNvPr>
            <p:cNvSpPr/>
            <p:nvPr/>
          </p:nvSpPr>
          <p:spPr>
            <a:xfrm>
              <a:off x="7440570" y="2209263"/>
              <a:ext cx="425656" cy="340691"/>
            </a:xfrm>
            <a:custGeom>
              <a:avLst/>
              <a:gdLst>
                <a:gd name="connsiteX0" fmla="*/ 57153 w 425656"/>
                <a:gd name="connsiteY0" fmla="*/ 236846 h 340691"/>
                <a:gd name="connsiteX1" fmla="*/ 175834 w 425656"/>
                <a:gd name="connsiteY1" fmla="*/ 198274 h 340691"/>
                <a:gd name="connsiteX2" fmla="*/ 410230 w 425656"/>
                <a:gd name="connsiteY2" fmla="*/ 340692 h 340691"/>
                <a:gd name="connsiteX3" fmla="*/ 413197 w 425656"/>
                <a:gd name="connsiteY3" fmla="*/ 177505 h 340691"/>
                <a:gd name="connsiteX4" fmla="*/ 324186 w 425656"/>
                <a:gd name="connsiteY4" fmla="*/ 32120 h 340691"/>
                <a:gd name="connsiteX5" fmla="*/ 128362 w 425656"/>
                <a:gd name="connsiteY5" fmla="*/ 17285 h 340691"/>
                <a:gd name="connsiteX6" fmla="*/ 9681 w 425656"/>
                <a:gd name="connsiteY6" fmla="*/ 109263 h 340691"/>
                <a:gd name="connsiteX7" fmla="*/ 57153 w 425656"/>
                <a:gd name="connsiteY7" fmla="*/ 236846 h 340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5656" h="340691">
                  <a:moveTo>
                    <a:pt x="57153" y="236846"/>
                  </a:moveTo>
                  <a:cubicBezTo>
                    <a:pt x="57153" y="236846"/>
                    <a:pt x="149131" y="198274"/>
                    <a:pt x="175834" y="198274"/>
                  </a:cubicBezTo>
                  <a:cubicBezTo>
                    <a:pt x="273747" y="201241"/>
                    <a:pt x="425066" y="269483"/>
                    <a:pt x="410230" y="340692"/>
                  </a:cubicBezTo>
                  <a:cubicBezTo>
                    <a:pt x="410230" y="340692"/>
                    <a:pt x="442867" y="239813"/>
                    <a:pt x="413197" y="177505"/>
                  </a:cubicBezTo>
                  <a:cubicBezTo>
                    <a:pt x="413197" y="177505"/>
                    <a:pt x="413197" y="55857"/>
                    <a:pt x="324186" y="32120"/>
                  </a:cubicBezTo>
                  <a:cubicBezTo>
                    <a:pt x="235175" y="8384"/>
                    <a:pt x="196604" y="-18319"/>
                    <a:pt x="128362" y="17285"/>
                  </a:cubicBezTo>
                  <a:cubicBezTo>
                    <a:pt x="60120" y="55857"/>
                    <a:pt x="15615" y="73659"/>
                    <a:pt x="9681" y="109263"/>
                  </a:cubicBezTo>
                  <a:cubicBezTo>
                    <a:pt x="9681" y="112230"/>
                    <a:pt x="-31858" y="224977"/>
                    <a:pt x="57153" y="236846"/>
                  </a:cubicBezTo>
                  <a:close/>
                </a:path>
              </a:pathLst>
            </a:custGeom>
            <a:solidFill>
              <a:srgbClr val="664241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3" name="任意多边形: 形状 252">
              <a:extLst>
                <a:ext uri="{FF2B5EF4-FFF2-40B4-BE49-F238E27FC236}">
                  <a16:creationId xmlns:a16="http://schemas.microsoft.com/office/drawing/2014/main" id="{2FA4F5BF-6546-4048-980F-5BEC12EE499E}"/>
                </a:ext>
              </a:extLst>
            </p:cNvPr>
            <p:cNvSpPr/>
            <p:nvPr/>
          </p:nvSpPr>
          <p:spPr>
            <a:xfrm>
              <a:off x="7386920" y="2552737"/>
              <a:ext cx="76517" cy="107624"/>
            </a:xfrm>
            <a:custGeom>
              <a:avLst/>
              <a:gdLst>
                <a:gd name="connsiteX0" fmla="*/ 63330 w 76517"/>
                <a:gd name="connsiteY0" fmla="*/ 15021 h 107624"/>
                <a:gd name="connsiteX1" fmla="*/ 6956 w 76517"/>
                <a:gd name="connsiteY1" fmla="*/ 6120 h 107624"/>
                <a:gd name="connsiteX2" fmla="*/ 63330 w 76517"/>
                <a:gd name="connsiteY2" fmla="*/ 104032 h 107624"/>
                <a:gd name="connsiteX3" fmla="*/ 63330 w 76517"/>
                <a:gd name="connsiteY3" fmla="*/ 15021 h 10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517" h="107624">
                  <a:moveTo>
                    <a:pt x="63330" y="15021"/>
                  </a:moveTo>
                  <a:cubicBezTo>
                    <a:pt x="63330" y="15021"/>
                    <a:pt x="30693" y="-11683"/>
                    <a:pt x="6956" y="6120"/>
                  </a:cubicBezTo>
                  <a:cubicBezTo>
                    <a:pt x="-16779" y="26889"/>
                    <a:pt x="24759" y="127768"/>
                    <a:pt x="63330" y="104032"/>
                  </a:cubicBezTo>
                  <a:cubicBezTo>
                    <a:pt x="93001" y="86229"/>
                    <a:pt x="63330" y="15021"/>
                    <a:pt x="63330" y="15021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4" name="任意多边形: 形状 253">
              <a:extLst>
                <a:ext uri="{FF2B5EF4-FFF2-40B4-BE49-F238E27FC236}">
                  <a16:creationId xmlns:a16="http://schemas.microsoft.com/office/drawing/2014/main" id="{0221741C-AA1B-41B6-BE71-7A568E7AF424}"/>
                </a:ext>
              </a:extLst>
            </p:cNvPr>
            <p:cNvSpPr/>
            <p:nvPr/>
          </p:nvSpPr>
          <p:spPr>
            <a:xfrm>
              <a:off x="7433008" y="2335100"/>
              <a:ext cx="70649" cy="235624"/>
            </a:xfrm>
            <a:custGeom>
              <a:avLst/>
              <a:gdLst>
                <a:gd name="connsiteX0" fmla="*/ 17243 w 70649"/>
                <a:gd name="connsiteY0" fmla="*/ 235625 h 235624"/>
                <a:gd name="connsiteX1" fmla="*/ 17243 w 70649"/>
                <a:gd name="connsiteY1" fmla="*/ 235625 h 235624"/>
                <a:gd name="connsiteX2" fmla="*/ 11309 w 70649"/>
                <a:gd name="connsiteY2" fmla="*/ 229691 h 235624"/>
                <a:gd name="connsiteX3" fmla="*/ 55814 w 70649"/>
                <a:gd name="connsiteY3" fmla="*/ 111009 h 235624"/>
                <a:gd name="connsiteX4" fmla="*/ 8341 w 70649"/>
                <a:gd name="connsiteY4" fmla="*/ 69471 h 235624"/>
                <a:gd name="connsiteX5" fmla="*/ 5374 w 70649"/>
                <a:gd name="connsiteY5" fmla="*/ 4196 h 235624"/>
                <a:gd name="connsiteX6" fmla="*/ 11309 w 70649"/>
                <a:gd name="connsiteY6" fmla="*/ 1229 h 235624"/>
                <a:gd name="connsiteX7" fmla="*/ 14275 w 70649"/>
                <a:gd name="connsiteY7" fmla="*/ 7163 h 235624"/>
                <a:gd name="connsiteX8" fmla="*/ 14275 w 70649"/>
                <a:gd name="connsiteY8" fmla="*/ 63537 h 235624"/>
                <a:gd name="connsiteX9" fmla="*/ 61748 w 70649"/>
                <a:gd name="connsiteY9" fmla="*/ 102108 h 235624"/>
                <a:gd name="connsiteX10" fmla="*/ 70649 w 70649"/>
                <a:gd name="connsiteY10" fmla="*/ 105075 h 235624"/>
                <a:gd name="connsiteX11" fmla="*/ 64715 w 70649"/>
                <a:gd name="connsiteY11" fmla="*/ 111009 h 235624"/>
                <a:gd name="connsiteX12" fmla="*/ 20209 w 70649"/>
                <a:gd name="connsiteY12" fmla="*/ 229691 h 235624"/>
                <a:gd name="connsiteX13" fmla="*/ 17243 w 70649"/>
                <a:gd name="connsiteY13" fmla="*/ 235625 h 23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649" h="235624">
                  <a:moveTo>
                    <a:pt x="17243" y="235625"/>
                  </a:moveTo>
                  <a:cubicBezTo>
                    <a:pt x="17243" y="235625"/>
                    <a:pt x="17243" y="235625"/>
                    <a:pt x="17243" y="235625"/>
                  </a:cubicBezTo>
                  <a:cubicBezTo>
                    <a:pt x="14275" y="235625"/>
                    <a:pt x="11309" y="232658"/>
                    <a:pt x="11309" y="229691"/>
                  </a:cubicBezTo>
                  <a:cubicBezTo>
                    <a:pt x="14275" y="179251"/>
                    <a:pt x="43946" y="128811"/>
                    <a:pt x="55814" y="111009"/>
                  </a:cubicBezTo>
                  <a:cubicBezTo>
                    <a:pt x="43946" y="105075"/>
                    <a:pt x="20209" y="93207"/>
                    <a:pt x="8341" y="69471"/>
                  </a:cubicBezTo>
                  <a:cubicBezTo>
                    <a:pt x="-560" y="51669"/>
                    <a:pt x="-3526" y="27932"/>
                    <a:pt x="5374" y="4196"/>
                  </a:cubicBezTo>
                  <a:cubicBezTo>
                    <a:pt x="5374" y="1229"/>
                    <a:pt x="8341" y="-1738"/>
                    <a:pt x="11309" y="1229"/>
                  </a:cubicBezTo>
                  <a:cubicBezTo>
                    <a:pt x="14275" y="1229"/>
                    <a:pt x="17243" y="4196"/>
                    <a:pt x="14275" y="7163"/>
                  </a:cubicBezTo>
                  <a:cubicBezTo>
                    <a:pt x="8341" y="27932"/>
                    <a:pt x="8341" y="45734"/>
                    <a:pt x="14275" y="63537"/>
                  </a:cubicBezTo>
                  <a:cubicBezTo>
                    <a:pt x="29111" y="90240"/>
                    <a:pt x="61748" y="102108"/>
                    <a:pt x="61748" y="102108"/>
                  </a:cubicBezTo>
                  <a:lnTo>
                    <a:pt x="70649" y="105075"/>
                  </a:lnTo>
                  <a:lnTo>
                    <a:pt x="64715" y="111009"/>
                  </a:lnTo>
                  <a:cubicBezTo>
                    <a:pt x="64715" y="111009"/>
                    <a:pt x="23177" y="170350"/>
                    <a:pt x="20209" y="229691"/>
                  </a:cubicBezTo>
                  <a:cubicBezTo>
                    <a:pt x="23177" y="235625"/>
                    <a:pt x="20209" y="235625"/>
                    <a:pt x="17243" y="235625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5" name="任意多边形: 形状 254">
              <a:extLst>
                <a:ext uri="{FF2B5EF4-FFF2-40B4-BE49-F238E27FC236}">
                  <a16:creationId xmlns:a16="http://schemas.microsoft.com/office/drawing/2014/main" id="{7FAB2090-ADE9-4F60-BA33-8E143FDD0628}"/>
                </a:ext>
              </a:extLst>
            </p:cNvPr>
            <p:cNvSpPr/>
            <p:nvPr/>
          </p:nvSpPr>
          <p:spPr>
            <a:xfrm>
              <a:off x="7215855" y="6478307"/>
              <a:ext cx="195824" cy="246263"/>
            </a:xfrm>
            <a:custGeom>
              <a:avLst/>
              <a:gdLst>
                <a:gd name="connsiteX0" fmla="*/ 0 w 195824"/>
                <a:gd name="connsiteY0" fmla="*/ 207692 h 246263"/>
                <a:gd name="connsiteX1" fmla="*/ 0 w 195824"/>
                <a:gd name="connsiteY1" fmla="*/ 0 h 246263"/>
                <a:gd name="connsiteX2" fmla="*/ 195824 w 195824"/>
                <a:gd name="connsiteY2" fmla="*/ 0 h 246263"/>
                <a:gd name="connsiteX3" fmla="*/ 157253 w 195824"/>
                <a:gd name="connsiteY3" fmla="*/ 219561 h 246263"/>
                <a:gd name="connsiteX4" fmla="*/ 11868 w 195824"/>
                <a:gd name="connsiteY4" fmla="*/ 246264 h 246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824" h="246263">
                  <a:moveTo>
                    <a:pt x="0" y="207692"/>
                  </a:moveTo>
                  <a:lnTo>
                    <a:pt x="0" y="0"/>
                  </a:lnTo>
                  <a:lnTo>
                    <a:pt x="195824" y="0"/>
                  </a:lnTo>
                  <a:lnTo>
                    <a:pt x="157253" y="219561"/>
                  </a:lnTo>
                  <a:lnTo>
                    <a:pt x="11868" y="246264"/>
                  </a:ln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6" name="任意多边形: 形状 255">
              <a:extLst>
                <a:ext uri="{FF2B5EF4-FFF2-40B4-BE49-F238E27FC236}">
                  <a16:creationId xmlns:a16="http://schemas.microsoft.com/office/drawing/2014/main" id="{B64AC11D-8407-4A4B-8C9D-A9F54F4F76B0}"/>
                </a:ext>
              </a:extLst>
            </p:cNvPr>
            <p:cNvSpPr/>
            <p:nvPr/>
          </p:nvSpPr>
          <p:spPr>
            <a:xfrm>
              <a:off x="7116181" y="4380614"/>
              <a:ext cx="1118427" cy="2195604"/>
            </a:xfrm>
            <a:custGeom>
              <a:avLst/>
              <a:gdLst>
                <a:gd name="connsiteX0" fmla="*/ 1016487 w 1118427"/>
                <a:gd name="connsiteY0" fmla="*/ 17802 h 2195604"/>
                <a:gd name="connsiteX1" fmla="*/ 1111432 w 1118427"/>
                <a:gd name="connsiteY1" fmla="*/ 1352967 h 2195604"/>
                <a:gd name="connsiteX2" fmla="*/ 838465 w 1118427"/>
                <a:gd name="connsiteY2" fmla="*/ 2195605 h 2195604"/>
                <a:gd name="connsiteX3" fmla="*/ 559564 w 1118427"/>
                <a:gd name="connsiteY3" fmla="*/ 2195605 h 2195604"/>
                <a:gd name="connsiteX4" fmla="*/ 707915 w 1118427"/>
                <a:gd name="connsiteY4" fmla="*/ 1222418 h 2195604"/>
                <a:gd name="connsiteX5" fmla="*/ 532861 w 1118427"/>
                <a:gd name="connsiteY5" fmla="*/ 486593 h 2195604"/>
                <a:gd name="connsiteX6" fmla="*/ 503190 w 1118427"/>
                <a:gd name="connsiteY6" fmla="*/ 1207582 h 2195604"/>
                <a:gd name="connsiteX7" fmla="*/ 342971 w 1118427"/>
                <a:gd name="connsiteY7" fmla="*/ 2189671 h 2195604"/>
                <a:gd name="connsiteX8" fmla="*/ 43300 w 1118427"/>
                <a:gd name="connsiteY8" fmla="*/ 2174835 h 2195604"/>
                <a:gd name="connsiteX9" fmla="*/ 25498 w 1118427"/>
                <a:gd name="connsiteY9" fmla="*/ 1130440 h 2195604"/>
                <a:gd name="connsiteX10" fmla="*/ 22531 w 1118427"/>
                <a:gd name="connsiteY10" fmla="*/ 0 h 2195604"/>
                <a:gd name="connsiteX11" fmla="*/ 1016487 w 1118427"/>
                <a:gd name="connsiteY11" fmla="*/ 17802 h 2195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18427" h="2195604">
                  <a:moveTo>
                    <a:pt x="1016487" y="17802"/>
                  </a:moveTo>
                  <a:cubicBezTo>
                    <a:pt x="1016487" y="17802"/>
                    <a:pt x="1150004" y="1252088"/>
                    <a:pt x="1111432" y="1352967"/>
                  </a:cubicBezTo>
                  <a:cubicBezTo>
                    <a:pt x="1072861" y="1453846"/>
                    <a:pt x="838465" y="2195605"/>
                    <a:pt x="838465" y="2195605"/>
                  </a:cubicBezTo>
                  <a:lnTo>
                    <a:pt x="559564" y="2195605"/>
                  </a:lnTo>
                  <a:cubicBezTo>
                    <a:pt x="559564" y="2195605"/>
                    <a:pt x="701981" y="1317363"/>
                    <a:pt x="707915" y="1222418"/>
                  </a:cubicBezTo>
                  <a:cubicBezTo>
                    <a:pt x="713850" y="1127473"/>
                    <a:pt x="547696" y="516264"/>
                    <a:pt x="532861" y="486593"/>
                  </a:cubicBezTo>
                  <a:cubicBezTo>
                    <a:pt x="518025" y="456923"/>
                    <a:pt x="503190" y="1207582"/>
                    <a:pt x="503190" y="1207582"/>
                  </a:cubicBezTo>
                  <a:lnTo>
                    <a:pt x="342971" y="2189671"/>
                  </a:lnTo>
                  <a:lnTo>
                    <a:pt x="43300" y="2174835"/>
                  </a:lnTo>
                  <a:cubicBezTo>
                    <a:pt x="43300" y="2174835"/>
                    <a:pt x="40333" y="1225385"/>
                    <a:pt x="25498" y="1130440"/>
                  </a:cubicBezTo>
                  <a:cubicBezTo>
                    <a:pt x="10663" y="1035495"/>
                    <a:pt x="-21975" y="94945"/>
                    <a:pt x="22531" y="0"/>
                  </a:cubicBezTo>
                  <a:cubicBezTo>
                    <a:pt x="701981" y="29670"/>
                    <a:pt x="1016487" y="17802"/>
                    <a:pt x="1016487" y="17802"/>
                  </a:cubicBezTo>
                  <a:close/>
                </a:path>
              </a:pathLst>
            </a:custGeom>
            <a:solidFill>
              <a:srgbClr val="70868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7" name="任意多边形: 形状 256">
              <a:extLst>
                <a:ext uri="{FF2B5EF4-FFF2-40B4-BE49-F238E27FC236}">
                  <a16:creationId xmlns:a16="http://schemas.microsoft.com/office/drawing/2014/main" id="{F563659E-ADFE-4FA1-8002-7B44CB80B039}"/>
                </a:ext>
              </a:extLst>
            </p:cNvPr>
            <p:cNvSpPr/>
            <p:nvPr/>
          </p:nvSpPr>
          <p:spPr>
            <a:xfrm>
              <a:off x="7610470" y="2375409"/>
              <a:ext cx="189148" cy="38062"/>
            </a:xfrm>
            <a:custGeom>
              <a:avLst/>
              <a:gdLst>
                <a:gd name="connsiteX0" fmla="*/ 5934 w 189148"/>
                <a:gd name="connsiteY0" fmla="*/ 38063 h 38062"/>
                <a:gd name="connsiteX1" fmla="*/ 0 w 189148"/>
                <a:gd name="connsiteY1" fmla="*/ 35096 h 38062"/>
                <a:gd name="connsiteX2" fmla="*/ 2967 w 189148"/>
                <a:gd name="connsiteY2" fmla="*/ 26194 h 38062"/>
                <a:gd name="connsiteX3" fmla="*/ 186923 w 189148"/>
                <a:gd name="connsiteY3" fmla="*/ 20260 h 38062"/>
                <a:gd name="connsiteX4" fmla="*/ 186923 w 189148"/>
                <a:gd name="connsiteY4" fmla="*/ 29161 h 38062"/>
                <a:gd name="connsiteX5" fmla="*/ 178022 w 189148"/>
                <a:gd name="connsiteY5" fmla="*/ 29161 h 38062"/>
                <a:gd name="connsiteX6" fmla="*/ 5934 w 189148"/>
                <a:gd name="connsiteY6" fmla="*/ 38063 h 38062"/>
                <a:gd name="connsiteX7" fmla="*/ 5934 w 189148"/>
                <a:gd name="connsiteY7" fmla="*/ 38063 h 38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148" h="38062">
                  <a:moveTo>
                    <a:pt x="5934" y="38063"/>
                  </a:moveTo>
                  <a:cubicBezTo>
                    <a:pt x="2967" y="38063"/>
                    <a:pt x="2967" y="38063"/>
                    <a:pt x="0" y="35096"/>
                  </a:cubicBezTo>
                  <a:cubicBezTo>
                    <a:pt x="0" y="32128"/>
                    <a:pt x="0" y="29161"/>
                    <a:pt x="2967" y="26194"/>
                  </a:cubicBezTo>
                  <a:cubicBezTo>
                    <a:pt x="8901" y="23227"/>
                    <a:pt x="118681" y="-27212"/>
                    <a:pt x="186923" y="20260"/>
                  </a:cubicBezTo>
                  <a:cubicBezTo>
                    <a:pt x="189890" y="23227"/>
                    <a:pt x="189890" y="26194"/>
                    <a:pt x="186923" y="29161"/>
                  </a:cubicBezTo>
                  <a:cubicBezTo>
                    <a:pt x="183956" y="32128"/>
                    <a:pt x="180989" y="32128"/>
                    <a:pt x="178022" y="29161"/>
                  </a:cubicBezTo>
                  <a:cubicBezTo>
                    <a:pt x="118681" y="-12377"/>
                    <a:pt x="8901" y="38063"/>
                    <a:pt x="5934" y="38063"/>
                  </a:cubicBezTo>
                  <a:cubicBezTo>
                    <a:pt x="8901" y="38063"/>
                    <a:pt x="5934" y="38063"/>
                    <a:pt x="5934" y="38063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8" name="任意多边形: 形状 257">
              <a:extLst>
                <a:ext uri="{FF2B5EF4-FFF2-40B4-BE49-F238E27FC236}">
                  <a16:creationId xmlns:a16="http://schemas.microsoft.com/office/drawing/2014/main" id="{9E46675F-16B9-4D56-8382-1EBB65763D74}"/>
                </a:ext>
              </a:extLst>
            </p:cNvPr>
            <p:cNvSpPr/>
            <p:nvPr/>
          </p:nvSpPr>
          <p:spPr>
            <a:xfrm>
              <a:off x="7112008" y="2908966"/>
              <a:ext cx="1042224" cy="1524875"/>
            </a:xfrm>
            <a:custGeom>
              <a:avLst/>
              <a:gdLst>
                <a:gd name="connsiteX0" fmla="*/ 385714 w 1042224"/>
                <a:gd name="connsiteY0" fmla="*/ 0 h 1524875"/>
                <a:gd name="connsiteX1" fmla="*/ 667582 w 1042224"/>
                <a:gd name="connsiteY1" fmla="*/ 0 h 1524875"/>
                <a:gd name="connsiteX2" fmla="*/ 958352 w 1042224"/>
                <a:gd name="connsiteY2" fmla="*/ 127582 h 1524875"/>
                <a:gd name="connsiteX3" fmla="*/ 1041429 w 1042224"/>
                <a:gd name="connsiteY3" fmla="*/ 1495385 h 1524875"/>
                <a:gd name="connsiteX4" fmla="*/ 0 w 1042224"/>
                <a:gd name="connsiteY4" fmla="*/ 1471648 h 1524875"/>
                <a:gd name="connsiteX5" fmla="*/ 112747 w 1042224"/>
                <a:gd name="connsiteY5" fmla="*/ 100879 h 1524875"/>
                <a:gd name="connsiteX6" fmla="*/ 385714 w 1042224"/>
                <a:gd name="connsiteY6" fmla="*/ 0 h 152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2224" h="1524875">
                  <a:moveTo>
                    <a:pt x="385714" y="0"/>
                  </a:moveTo>
                  <a:cubicBezTo>
                    <a:pt x="385714" y="0"/>
                    <a:pt x="554836" y="53407"/>
                    <a:pt x="667582" y="0"/>
                  </a:cubicBezTo>
                  <a:cubicBezTo>
                    <a:pt x="667582" y="0"/>
                    <a:pt x="934615" y="94945"/>
                    <a:pt x="958352" y="127582"/>
                  </a:cubicBezTo>
                  <a:cubicBezTo>
                    <a:pt x="982088" y="157253"/>
                    <a:pt x="1050330" y="1430110"/>
                    <a:pt x="1041429" y="1495385"/>
                  </a:cubicBezTo>
                  <a:cubicBezTo>
                    <a:pt x="1041429" y="1495385"/>
                    <a:pt x="563736" y="1575495"/>
                    <a:pt x="0" y="1471648"/>
                  </a:cubicBezTo>
                  <a:cubicBezTo>
                    <a:pt x="0" y="1124506"/>
                    <a:pt x="71209" y="130549"/>
                    <a:pt x="112747" y="100879"/>
                  </a:cubicBezTo>
                  <a:cubicBezTo>
                    <a:pt x="154286" y="68242"/>
                    <a:pt x="385714" y="0"/>
                    <a:pt x="385714" y="0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9" name="任意多边形: 形状 258">
              <a:extLst>
                <a:ext uri="{FF2B5EF4-FFF2-40B4-BE49-F238E27FC236}">
                  <a16:creationId xmlns:a16="http://schemas.microsoft.com/office/drawing/2014/main" id="{D6EDDD1F-5014-438F-B9A5-441244369478}"/>
                </a:ext>
              </a:extLst>
            </p:cNvPr>
            <p:cNvSpPr/>
            <p:nvPr/>
          </p:nvSpPr>
          <p:spPr>
            <a:xfrm>
              <a:off x="7494756" y="2908966"/>
              <a:ext cx="175054" cy="115714"/>
            </a:xfrm>
            <a:custGeom>
              <a:avLst/>
              <a:gdLst>
                <a:gd name="connsiteX0" fmla="*/ 175055 w 175054"/>
                <a:gd name="connsiteY0" fmla="*/ 20769 h 115714"/>
                <a:gd name="connsiteX1" fmla="*/ 148352 w 175054"/>
                <a:gd name="connsiteY1" fmla="*/ 115714 h 115714"/>
                <a:gd name="connsiteX2" fmla="*/ 0 w 175054"/>
                <a:gd name="connsiteY2" fmla="*/ 0 h 115714"/>
                <a:gd name="connsiteX3" fmla="*/ 175055 w 175054"/>
                <a:gd name="connsiteY3" fmla="*/ 20769 h 11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054" h="115714">
                  <a:moveTo>
                    <a:pt x="175055" y="20769"/>
                  </a:moveTo>
                  <a:lnTo>
                    <a:pt x="148352" y="115714"/>
                  </a:lnTo>
                  <a:lnTo>
                    <a:pt x="0" y="0"/>
                  </a:lnTo>
                  <a:cubicBezTo>
                    <a:pt x="2967" y="0"/>
                    <a:pt x="136483" y="20769"/>
                    <a:pt x="175055" y="20769"/>
                  </a:cubicBezTo>
                  <a:close/>
                </a:path>
              </a:pathLst>
            </a:custGeom>
            <a:solidFill>
              <a:srgbClr val="FFFFFF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0" name="任意多边形: 形状 259">
              <a:extLst>
                <a:ext uri="{FF2B5EF4-FFF2-40B4-BE49-F238E27FC236}">
                  <a16:creationId xmlns:a16="http://schemas.microsoft.com/office/drawing/2014/main" id="{DB8D5831-29F6-43D6-9E14-D27D9EFCE68D}"/>
                </a:ext>
              </a:extLst>
            </p:cNvPr>
            <p:cNvSpPr/>
            <p:nvPr/>
          </p:nvSpPr>
          <p:spPr>
            <a:xfrm>
              <a:off x="7669811" y="2908966"/>
              <a:ext cx="106906" cy="112747"/>
            </a:xfrm>
            <a:custGeom>
              <a:avLst/>
              <a:gdLst>
                <a:gd name="connsiteX0" fmla="*/ 0 w 106906"/>
                <a:gd name="connsiteY0" fmla="*/ 20769 h 112747"/>
                <a:gd name="connsiteX1" fmla="*/ 35604 w 106906"/>
                <a:gd name="connsiteY1" fmla="*/ 112747 h 112747"/>
                <a:gd name="connsiteX2" fmla="*/ 106813 w 106906"/>
                <a:gd name="connsiteY2" fmla="*/ 0 h 112747"/>
                <a:gd name="connsiteX3" fmla="*/ 0 w 106906"/>
                <a:gd name="connsiteY3" fmla="*/ 20769 h 112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906" h="112747">
                  <a:moveTo>
                    <a:pt x="0" y="20769"/>
                  </a:moveTo>
                  <a:lnTo>
                    <a:pt x="35604" y="112747"/>
                  </a:lnTo>
                  <a:lnTo>
                    <a:pt x="106813" y="0"/>
                  </a:lnTo>
                  <a:cubicBezTo>
                    <a:pt x="109780" y="0"/>
                    <a:pt x="41539" y="20769"/>
                    <a:pt x="0" y="20769"/>
                  </a:cubicBezTo>
                  <a:close/>
                </a:path>
              </a:pathLst>
            </a:custGeom>
            <a:solidFill>
              <a:srgbClr val="FFFFFF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1" name="任意多边形: 形状 260">
              <a:extLst>
                <a:ext uri="{FF2B5EF4-FFF2-40B4-BE49-F238E27FC236}">
                  <a16:creationId xmlns:a16="http://schemas.microsoft.com/office/drawing/2014/main" id="{EAE97329-9603-4C74-9B88-19AAF95B9FF0}"/>
                </a:ext>
              </a:extLst>
            </p:cNvPr>
            <p:cNvSpPr/>
            <p:nvPr/>
          </p:nvSpPr>
          <p:spPr>
            <a:xfrm>
              <a:off x="7916677" y="2996455"/>
              <a:ext cx="438518" cy="594929"/>
            </a:xfrm>
            <a:custGeom>
              <a:avLst/>
              <a:gdLst>
                <a:gd name="connsiteX0" fmla="*/ 61705 w 438518"/>
                <a:gd name="connsiteY0" fmla="*/ 594929 h 594929"/>
                <a:gd name="connsiteX1" fmla="*/ 49837 w 438518"/>
                <a:gd name="connsiteY1" fmla="*/ 10424 h 594929"/>
                <a:gd name="connsiteX2" fmla="*/ 438518 w 438518"/>
                <a:gd name="connsiteY2" fmla="*/ 431742 h 594929"/>
                <a:gd name="connsiteX3" fmla="*/ 61705 w 438518"/>
                <a:gd name="connsiteY3" fmla="*/ 594929 h 594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518" h="594929">
                  <a:moveTo>
                    <a:pt x="61705" y="594929"/>
                  </a:moveTo>
                  <a:cubicBezTo>
                    <a:pt x="61705" y="594929"/>
                    <a:pt x="-68845" y="87566"/>
                    <a:pt x="49837" y="10424"/>
                  </a:cubicBezTo>
                  <a:cubicBezTo>
                    <a:pt x="189287" y="-78587"/>
                    <a:pt x="438518" y="431742"/>
                    <a:pt x="438518" y="431742"/>
                  </a:cubicBezTo>
                  <a:cubicBezTo>
                    <a:pt x="438518" y="431742"/>
                    <a:pt x="269398" y="577127"/>
                    <a:pt x="61705" y="594929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2" name="任意多边形: 形状 261">
              <a:extLst>
                <a:ext uri="{FF2B5EF4-FFF2-40B4-BE49-F238E27FC236}">
                  <a16:creationId xmlns:a16="http://schemas.microsoft.com/office/drawing/2014/main" id="{4F7327E6-0C98-460E-9962-1BD8699C742D}"/>
                </a:ext>
              </a:extLst>
            </p:cNvPr>
            <p:cNvSpPr/>
            <p:nvPr/>
          </p:nvSpPr>
          <p:spPr>
            <a:xfrm>
              <a:off x="8064426" y="3030614"/>
              <a:ext cx="51668" cy="537032"/>
            </a:xfrm>
            <a:custGeom>
              <a:avLst/>
              <a:gdLst>
                <a:gd name="connsiteX0" fmla="*/ 47473 w 51668"/>
                <a:gd name="connsiteY0" fmla="*/ 537033 h 537032"/>
                <a:gd name="connsiteX1" fmla="*/ 41538 w 51668"/>
                <a:gd name="connsiteY1" fmla="*/ 531099 h 537032"/>
                <a:gd name="connsiteX2" fmla="*/ 0 w 51668"/>
                <a:gd name="connsiteY2" fmla="*/ 5934 h 537032"/>
                <a:gd name="connsiteX3" fmla="*/ 2967 w 51668"/>
                <a:gd name="connsiteY3" fmla="*/ 0 h 537032"/>
                <a:gd name="connsiteX4" fmla="*/ 8901 w 51668"/>
                <a:gd name="connsiteY4" fmla="*/ 2967 h 537032"/>
                <a:gd name="connsiteX5" fmla="*/ 50439 w 51668"/>
                <a:gd name="connsiteY5" fmla="*/ 531099 h 537032"/>
                <a:gd name="connsiteX6" fmla="*/ 47473 w 51668"/>
                <a:gd name="connsiteY6" fmla="*/ 537033 h 537032"/>
                <a:gd name="connsiteX7" fmla="*/ 47473 w 51668"/>
                <a:gd name="connsiteY7" fmla="*/ 537033 h 537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68" h="537032">
                  <a:moveTo>
                    <a:pt x="47473" y="537033"/>
                  </a:moveTo>
                  <a:cubicBezTo>
                    <a:pt x="44505" y="537033"/>
                    <a:pt x="41538" y="534066"/>
                    <a:pt x="41538" y="531099"/>
                  </a:cubicBezTo>
                  <a:cubicBezTo>
                    <a:pt x="41538" y="525165"/>
                    <a:pt x="5934" y="44505"/>
                    <a:pt x="0" y="5934"/>
                  </a:cubicBezTo>
                  <a:cubicBezTo>
                    <a:pt x="0" y="2967"/>
                    <a:pt x="0" y="0"/>
                    <a:pt x="2967" y="0"/>
                  </a:cubicBezTo>
                  <a:cubicBezTo>
                    <a:pt x="5934" y="0"/>
                    <a:pt x="8901" y="0"/>
                    <a:pt x="8901" y="2967"/>
                  </a:cubicBezTo>
                  <a:cubicBezTo>
                    <a:pt x="17802" y="41539"/>
                    <a:pt x="50439" y="510330"/>
                    <a:pt x="50439" y="531099"/>
                  </a:cubicBezTo>
                  <a:cubicBezTo>
                    <a:pt x="53407" y="534066"/>
                    <a:pt x="50439" y="537033"/>
                    <a:pt x="47473" y="537033"/>
                  </a:cubicBezTo>
                  <a:cubicBezTo>
                    <a:pt x="47473" y="537033"/>
                    <a:pt x="47473" y="537033"/>
                    <a:pt x="47473" y="537033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3" name="任意多边形: 形状 262">
              <a:extLst>
                <a:ext uri="{FF2B5EF4-FFF2-40B4-BE49-F238E27FC236}">
                  <a16:creationId xmlns:a16="http://schemas.microsoft.com/office/drawing/2014/main" id="{E7B2CF29-E667-4F40-8912-FDA6A8A1B50E}"/>
                </a:ext>
              </a:extLst>
            </p:cNvPr>
            <p:cNvSpPr/>
            <p:nvPr/>
          </p:nvSpPr>
          <p:spPr>
            <a:xfrm>
              <a:off x="7643108" y="4517098"/>
              <a:ext cx="68241" cy="356043"/>
            </a:xfrm>
            <a:custGeom>
              <a:avLst/>
              <a:gdLst>
                <a:gd name="connsiteX0" fmla="*/ 5934 w 68241"/>
                <a:gd name="connsiteY0" fmla="*/ 356044 h 356043"/>
                <a:gd name="connsiteX1" fmla="*/ 5934 w 68241"/>
                <a:gd name="connsiteY1" fmla="*/ 356044 h 356043"/>
                <a:gd name="connsiteX2" fmla="*/ 0 w 68241"/>
                <a:gd name="connsiteY2" fmla="*/ 347143 h 356043"/>
                <a:gd name="connsiteX3" fmla="*/ 56373 w 68241"/>
                <a:gd name="connsiteY3" fmla="*/ 5934 h 356043"/>
                <a:gd name="connsiteX4" fmla="*/ 62307 w 68241"/>
                <a:gd name="connsiteY4" fmla="*/ 0 h 356043"/>
                <a:gd name="connsiteX5" fmla="*/ 68242 w 68241"/>
                <a:gd name="connsiteY5" fmla="*/ 5934 h 356043"/>
                <a:gd name="connsiteX6" fmla="*/ 11868 w 68241"/>
                <a:gd name="connsiteY6" fmla="*/ 350110 h 356043"/>
                <a:gd name="connsiteX7" fmla="*/ 5934 w 68241"/>
                <a:gd name="connsiteY7" fmla="*/ 356044 h 356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241" h="356043">
                  <a:moveTo>
                    <a:pt x="5934" y="356044"/>
                  </a:moveTo>
                  <a:cubicBezTo>
                    <a:pt x="5934" y="356044"/>
                    <a:pt x="2967" y="356044"/>
                    <a:pt x="5934" y="356044"/>
                  </a:cubicBezTo>
                  <a:cubicBezTo>
                    <a:pt x="0" y="353077"/>
                    <a:pt x="0" y="350110"/>
                    <a:pt x="0" y="347143"/>
                  </a:cubicBezTo>
                  <a:cubicBezTo>
                    <a:pt x="47472" y="237363"/>
                    <a:pt x="56373" y="8901"/>
                    <a:pt x="56373" y="5934"/>
                  </a:cubicBezTo>
                  <a:cubicBezTo>
                    <a:pt x="56373" y="2967"/>
                    <a:pt x="59341" y="0"/>
                    <a:pt x="62307" y="0"/>
                  </a:cubicBezTo>
                  <a:cubicBezTo>
                    <a:pt x="65275" y="0"/>
                    <a:pt x="68242" y="2967"/>
                    <a:pt x="68242" y="5934"/>
                  </a:cubicBezTo>
                  <a:cubicBezTo>
                    <a:pt x="68242" y="14835"/>
                    <a:pt x="59341" y="237363"/>
                    <a:pt x="11868" y="350110"/>
                  </a:cubicBezTo>
                  <a:cubicBezTo>
                    <a:pt x="8901" y="356044"/>
                    <a:pt x="8901" y="356044"/>
                    <a:pt x="5934" y="356044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4" name="任意多边形: 形状 263">
              <a:extLst>
                <a:ext uri="{FF2B5EF4-FFF2-40B4-BE49-F238E27FC236}">
                  <a16:creationId xmlns:a16="http://schemas.microsoft.com/office/drawing/2014/main" id="{9E94231F-01BF-4284-B2E8-C42F31B07A7F}"/>
                </a:ext>
              </a:extLst>
            </p:cNvPr>
            <p:cNvSpPr/>
            <p:nvPr/>
          </p:nvSpPr>
          <p:spPr>
            <a:xfrm>
              <a:off x="7671549" y="4448856"/>
              <a:ext cx="152547" cy="347142"/>
            </a:xfrm>
            <a:custGeom>
              <a:avLst/>
              <a:gdLst>
                <a:gd name="connsiteX0" fmla="*/ 7163 w 152547"/>
                <a:gd name="connsiteY0" fmla="*/ 347143 h 347142"/>
                <a:gd name="connsiteX1" fmla="*/ 1229 w 152547"/>
                <a:gd name="connsiteY1" fmla="*/ 344176 h 347142"/>
                <a:gd name="connsiteX2" fmla="*/ 4196 w 152547"/>
                <a:gd name="connsiteY2" fmla="*/ 335275 h 347142"/>
                <a:gd name="connsiteX3" fmla="*/ 108042 w 152547"/>
                <a:gd name="connsiteY3" fmla="*/ 261099 h 347142"/>
                <a:gd name="connsiteX4" fmla="*/ 140680 w 152547"/>
                <a:gd name="connsiteY4" fmla="*/ 5934 h 347142"/>
                <a:gd name="connsiteX5" fmla="*/ 146614 w 152547"/>
                <a:gd name="connsiteY5" fmla="*/ 0 h 347142"/>
                <a:gd name="connsiteX6" fmla="*/ 152547 w 152547"/>
                <a:gd name="connsiteY6" fmla="*/ 5934 h 347142"/>
                <a:gd name="connsiteX7" fmla="*/ 119910 w 152547"/>
                <a:gd name="connsiteY7" fmla="*/ 267033 h 347142"/>
                <a:gd name="connsiteX8" fmla="*/ 13097 w 152547"/>
                <a:gd name="connsiteY8" fmla="*/ 344176 h 347142"/>
                <a:gd name="connsiteX9" fmla="*/ 7163 w 152547"/>
                <a:gd name="connsiteY9" fmla="*/ 347143 h 34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547" h="347142">
                  <a:moveTo>
                    <a:pt x="7163" y="347143"/>
                  </a:moveTo>
                  <a:cubicBezTo>
                    <a:pt x="4196" y="347143"/>
                    <a:pt x="4196" y="347143"/>
                    <a:pt x="1229" y="344176"/>
                  </a:cubicBezTo>
                  <a:cubicBezTo>
                    <a:pt x="-1738" y="341209"/>
                    <a:pt x="1229" y="338242"/>
                    <a:pt x="4196" y="335275"/>
                  </a:cubicBezTo>
                  <a:cubicBezTo>
                    <a:pt x="42767" y="311538"/>
                    <a:pt x="99141" y="270000"/>
                    <a:pt x="108042" y="261099"/>
                  </a:cubicBezTo>
                  <a:cubicBezTo>
                    <a:pt x="116943" y="249231"/>
                    <a:pt x="131778" y="97912"/>
                    <a:pt x="140680" y="5934"/>
                  </a:cubicBezTo>
                  <a:cubicBezTo>
                    <a:pt x="140680" y="2967"/>
                    <a:pt x="143647" y="0"/>
                    <a:pt x="146614" y="0"/>
                  </a:cubicBezTo>
                  <a:cubicBezTo>
                    <a:pt x="149581" y="0"/>
                    <a:pt x="152547" y="2967"/>
                    <a:pt x="152547" y="5934"/>
                  </a:cubicBezTo>
                  <a:cubicBezTo>
                    <a:pt x="149581" y="47472"/>
                    <a:pt x="128812" y="252198"/>
                    <a:pt x="119910" y="267033"/>
                  </a:cubicBezTo>
                  <a:cubicBezTo>
                    <a:pt x="108042" y="281868"/>
                    <a:pt x="21998" y="338242"/>
                    <a:pt x="13097" y="344176"/>
                  </a:cubicBezTo>
                  <a:cubicBezTo>
                    <a:pt x="7163" y="347143"/>
                    <a:pt x="7163" y="347143"/>
                    <a:pt x="7163" y="347143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5" name="任意多边形: 形状 264">
              <a:extLst>
                <a:ext uri="{FF2B5EF4-FFF2-40B4-BE49-F238E27FC236}">
                  <a16:creationId xmlns:a16="http://schemas.microsoft.com/office/drawing/2014/main" id="{5E84F88E-E3F4-4E4C-B968-769A43D8159E}"/>
                </a:ext>
              </a:extLst>
            </p:cNvPr>
            <p:cNvSpPr/>
            <p:nvPr/>
          </p:nvSpPr>
          <p:spPr>
            <a:xfrm>
              <a:off x="7136075" y="6668197"/>
              <a:ext cx="278325" cy="326373"/>
            </a:xfrm>
            <a:custGeom>
              <a:avLst/>
              <a:gdLst>
                <a:gd name="connsiteX0" fmla="*/ 2637 w 278325"/>
                <a:gd name="connsiteY0" fmla="*/ 219560 h 326373"/>
                <a:gd name="connsiteX1" fmla="*/ 2637 w 278325"/>
                <a:gd name="connsiteY1" fmla="*/ 272967 h 326373"/>
                <a:gd name="connsiteX2" fmla="*/ 133187 w 278325"/>
                <a:gd name="connsiteY2" fmla="*/ 326374 h 326373"/>
                <a:gd name="connsiteX3" fmla="*/ 272637 w 278325"/>
                <a:gd name="connsiteY3" fmla="*/ 272967 h 326373"/>
                <a:gd name="connsiteX4" fmla="*/ 260769 w 278325"/>
                <a:gd name="connsiteY4" fmla="*/ 38571 h 326373"/>
                <a:gd name="connsiteX5" fmla="*/ 245934 w 278325"/>
                <a:gd name="connsiteY5" fmla="*/ 0 h 326373"/>
                <a:gd name="connsiteX6" fmla="*/ 228132 w 278325"/>
                <a:gd name="connsiteY6" fmla="*/ 219560 h 326373"/>
                <a:gd name="connsiteX7" fmla="*/ 2637 w 278325"/>
                <a:gd name="connsiteY7" fmla="*/ 219560 h 326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8325" h="326373">
                  <a:moveTo>
                    <a:pt x="2637" y="219560"/>
                  </a:moveTo>
                  <a:cubicBezTo>
                    <a:pt x="2637" y="219560"/>
                    <a:pt x="-3297" y="261099"/>
                    <a:pt x="2637" y="272967"/>
                  </a:cubicBezTo>
                  <a:cubicBezTo>
                    <a:pt x="11539" y="290769"/>
                    <a:pt x="70879" y="326374"/>
                    <a:pt x="133187" y="326374"/>
                  </a:cubicBezTo>
                  <a:cubicBezTo>
                    <a:pt x="207362" y="326374"/>
                    <a:pt x="257802" y="290769"/>
                    <a:pt x="272637" y="272967"/>
                  </a:cubicBezTo>
                  <a:cubicBezTo>
                    <a:pt x="290439" y="255165"/>
                    <a:pt x="260769" y="38571"/>
                    <a:pt x="260769" y="38571"/>
                  </a:cubicBezTo>
                  <a:lnTo>
                    <a:pt x="245934" y="0"/>
                  </a:lnTo>
                  <a:lnTo>
                    <a:pt x="228132" y="219560"/>
                  </a:lnTo>
                  <a:lnTo>
                    <a:pt x="2637" y="219560"/>
                  </a:ln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6" name="任意多边形: 形状 265">
              <a:extLst>
                <a:ext uri="{FF2B5EF4-FFF2-40B4-BE49-F238E27FC236}">
                  <a16:creationId xmlns:a16="http://schemas.microsoft.com/office/drawing/2014/main" id="{740DEAD9-885A-4D36-85AE-423075A65C13}"/>
                </a:ext>
              </a:extLst>
            </p:cNvPr>
            <p:cNvSpPr/>
            <p:nvPr/>
          </p:nvSpPr>
          <p:spPr>
            <a:xfrm>
              <a:off x="7137335" y="6650395"/>
              <a:ext cx="264473" cy="302842"/>
            </a:xfrm>
            <a:custGeom>
              <a:avLst/>
              <a:gdLst>
                <a:gd name="connsiteX0" fmla="*/ 75553 w 264473"/>
                <a:gd name="connsiteY0" fmla="*/ 0 h 302842"/>
                <a:gd name="connsiteX1" fmla="*/ 247641 w 264473"/>
                <a:gd name="connsiteY1" fmla="*/ 14835 h 302842"/>
                <a:gd name="connsiteX2" fmla="*/ 262476 w 264473"/>
                <a:gd name="connsiteY2" fmla="*/ 243297 h 302842"/>
                <a:gd name="connsiteX3" fmla="*/ 125993 w 264473"/>
                <a:gd name="connsiteY3" fmla="*/ 302637 h 302842"/>
                <a:gd name="connsiteX4" fmla="*/ 1377 w 264473"/>
                <a:gd name="connsiteY4" fmla="*/ 240330 h 302842"/>
                <a:gd name="connsiteX5" fmla="*/ 75553 w 264473"/>
                <a:gd name="connsiteY5" fmla="*/ 0 h 302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4473" h="302842">
                  <a:moveTo>
                    <a:pt x="75553" y="0"/>
                  </a:moveTo>
                  <a:cubicBezTo>
                    <a:pt x="75553" y="0"/>
                    <a:pt x="134894" y="68242"/>
                    <a:pt x="247641" y="14835"/>
                  </a:cubicBezTo>
                  <a:cubicBezTo>
                    <a:pt x="247641" y="14835"/>
                    <a:pt x="271377" y="210660"/>
                    <a:pt x="262476" y="243297"/>
                  </a:cubicBezTo>
                  <a:cubicBezTo>
                    <a:pt x="250608" y="275934"/>
                    <a:pt x="164564" y="305605"/>
                    <a:pt x="125993" y="302637"/>
                  </a:cubicBezTo>
                  <a:cubicBezTo>
                    <a:pt x="87421" y="299671"/>
                    <a:pt x="13245" y="264066"/>
                    <a:pt x="1377" y="240330"/>
                  </a:cubicBezTo>
                  <a:cubicBezTo>
                    <a:pt x="-10491" y="222527"/>
                    <a:pt x="57751" y="53407"/>
                    <a:pt x="75553" y="0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7" name="任意多边形: 形状 266">
              <a:extLst>
                <a:ext uri="{FF2B5EF4-FFF2-40B4-BE49-F238E27FC236}">
                  <a16:creationId xmlns:a16="http://schemas.microsoft.com/office/drawing/2014/main" id="{0CF82E74-5066-4484-8EA4-F50DB7A7FD70}"/>
                </a:ext>
              </a:extLst>
            </p:cNvPr>
            <p:cNvSpPr/>
            <p:nvPr/>
          </p:nvSpPr>
          <p:spPr>
            <a:xfrm>
              <a:off x="7205725" y="6643232"/>
              <a:ext cx="185185" cy="48701"/>
            </a:xfrm>
            <a:custGeom>
              <a:avLst/>
              <a:gdLst>
                <a:gd name="connsiteX0" fmla="*/ 90240 w 185185"/>
                <a:gd name="connsiteY0" fmla="*/ 48701 h 48701"/>
                <a:gd name="connsiteX1" fmla="*/ 1229 w 185185"/>
                <a:gd name="connsiteY1" fmla="*/ 10130 h 48701"/>
                <a:gd name="connsiteX2" fmla="*/ 4196 w 185185"/>
                <a:gd name="connsiteY2" fmla="*/ 1229 h 48701"/>
                <a:gd name="connsiteX3" fmla="*/ 13097 w 185185"/>
                <a:gd name="connsiteY3" fmla="*/ 4196 h 48701"/>
                <a:gd name="connsiteX4" fmla="*/ 179251 w 185185"/>
                <a:gd name="connsiteY4" fmla="*/ 16064 h 48701"/>
                <a:gd name="connsiteX5" fmla="*/ 185185 w 185185"/>
                <a:gd name="connsiteY5" fmla="*/ 19031 h 48701"/>
                <a:gd name="connsiteX6" fmla="*/ 182218 w 185185"/>
                <a:gd name="connsiteY6" fmla="*/ 24965 h 48701"/>
                <a:gd name="connsiteX7" fmla="*/ 90240 w 185185"/>
                <a:gd name="connsiteY7" fmla="*/ 48701 h 48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5185" h="48701">
                  <a:moveTo>
                    <a:pt x="90240" y="48701"/>
                  </a:moveTo>
                  <a:cubicBezTo>
                    <a:pt x="27932" y="48701"/>
                    <a:pt x="4196" y="13097"/>
                    <a:pt x="1229" y="10130"/>
                  </a:cubicBezTo>
                  <a:cubicBezTo>
                    <a:pt x="-1738" y="7163"/>
                    <a:pt x="1229" y="4196"/>
                    <a:pt x="4196" y="1229"/>
                  </a:cubicBezTo>
                  <a:cubicBezTo>
                    <a:pt x="7163" y="-1738"/>
                    <a:pt x="10130" y="1229"/>
                    <a:pt x="13097" y="4196"/>
                  </a:cubicBezTo>
                  <a:cubicBezTo>
                    <a:pt x="16064" y="7163"/>
                    <a:pt x="57603" y="69471"/>
                    <a:pt x="179251" y="16064"/>
                  </a:cubicBezTo>
                  <a:cubicBezTo>
                    <a:pt x="182218" y="16064"/>
                    <a:pt x="185185" y="16064"/>
                    <a:pt x="185185" y="19031"/>
                  </a:cubicBezTo>
                  <a:cubicBezTo>
                    <a:pt x="185185" y="21998"/>
                    <a:pt x="185185" y="24965"/>
                    <a:pt x="182218" y="24965"/>
                  </a:cubicBezTo>
                  <a:cubicBezTo>
                    <a:pt x="143646" y="42767"/>
                    <a:pt x="113976" y="48701"/>
                    <a:pt x="90240" y="48701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8" name="任意多边形: 形状 267">
              <a:extLst>
                <a:ext uri="{FF2B5EF4-FFF2-40B4-BE49-F238E27FC236}">
                  <a16:creationId xmlns:a16="http://schemas.microsoft.com/office/drawing/2014/main" id="{6CB2D735-99EA-442B-9611-6F432BA5E4E4}"/>
                </a:ext>
              </a:extLst>
            </p:cNvPr>
            <p:cNvSpPr/>
            <p:nvPr/>
          </p:nvSpPr>
          <p:spPr>
            <a:xfrm>
              <a:off x="7221789" y="6718636"/>
              <a:ext cx="118681" cy="26703"/>
            </a:xfrm>
            <a:custGeom>
              <a:avLst/>
              <a:gdLst>
                <a:gd name="connsiteX0" fmla="*/ 77143 w 118681"/>
                <a:gd name="connsiteY0" fmla="*/ 26703 h 26703"/>
                <a:gd name="connsiteX1" fmla="*/ 2967 w 118681"/>
                <a:gd name="connsiteY1" fmla="*/ 8901 h 26703"/>
                <a:gd name="connsiteX2" fmla="*/ 0 w 118681"/>
                <a:gd name="connsiteY2" fmla="*/ 2967 h 26703"/>
                <a:gd name="connsiteX3" fmla="*/ 5934 w 118681"/>
                <a:gd name="connsiteY3" fmla="*/ 0 h 26703"/>
                <a:gd name="connsiteX4" fmla="*/ 112747 w 118681"/>
                <a:gd name="connsiteY4" fmla="*/ 11868 h 26703"/>
                <a:gd name="connsiteX5" fmla="*/ 118681 w 118681"/>
                <a:gd name="connsiteY5" fmla="*/ 14835 h 26703"/>
                <a:gd name="connsiteX6" fmla="*/ 115714 w 118681"/>
                <a:gd name="connsiteY6" fmla="*/ 20769 h 26703"/>
                <a:gd name="connsiteX7" fmla="*/ 77143 w 118681"/>
                <a:gd name="connsiteY7" fmla="*/ 26703 h 26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681" h="26703">
                  <a:moveTo>
                    <a:pt x="77143" y="26703"/>
                  </a:moveTo>
                  <a:cubicBezTo>
                    <a:pt x="32637" y="26703"/>
                    <a:pt x="2967" y="11868"/>
                    <a:pt x="2967" y="8901"/>
                  </a:cubicBezTo>
                  <a:cubicBezTo>
                    <a:pt x="0" y="8901"/>
                    <a:pt x="0" y="2967"/>
                    <a:pt x="0" y="2967"/>
                  </a:cubicBezTo>
                  <a:cubicBezTo>
                    <a:pt x="0" y="0"/>
                    <a:pt x="5934" y="0"/>
                    <a:pt x="5934" y="0"/>
                  </a:cubicBezTo>
                  <a:cubicBezTo>
                    <a:pt x="5934" y="0"/>
                    <a:pt x="53406" y="23736"/>
                    <a:pt x="112747" y="11868"/>
                  </a:cubicBezTo>
                  <a:cubicBezTo>
                    <a:pt x="115714" y="11868"/>
                    <a:pt x="118681" y="11868"/>
                    <a:pt x="118681" y="14835"/>
                  </a:cubicBezTo>
                  <a:cubicBezTo>
                    <a:pt x="118681" y="17802"/>
                    <a:pt x="118681" y="20769"/>
                    <a:pt x="115714" y="20769"/>
                  </a:cubicBezTo>
                  <a:cubicBezTo>
                    <a:pt x="103846" y="26703"/>
                    <a:pt x="89011" y="26703"/>
                    <a:pt x="77143" y="26703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9" name="任意多边形: 形状 268">
              <a:extLst>
                <a:ext uri="{FF2B5EF4-FFF2-40B4-BE49-F238E27FC236}">
                  <a16:creationId xmlns:a16="http://schemas.microsoft.com/office/drawing/2014/main" id="{2E435A51-850E-430D-B687-B439C72F52DA}"/>
                </a:ext>
              </a:extLst>
            </p:cNvPr>
            <p:cNvSpPr/>
            <p:nvPr/>
          </p:nvSpPr>
          <p:spPr>
            <a:xfrm>
              <a:off x="7209921" y="6772043"/>
              <a:ext cx="121648" cy="26703"/>
            </a:xfrm>
            <a:custGeom>
              <a:avLst/>
              <a:gdLst>
                <a:gd name="connsiteX0" fmla="*/ 77143 w 121648"/>
                <a:gd name="connsiteY0" fmla="*/ 26703 h 26703"/>
                <a:gd name="connsiteX1" fmla="*/ 2967 w 121648"/>
                <a:gd name="connsiteY1" fmla="*/ 8901 h 26703"/>
                <a:gd name="connsiteX2" fmla="*/ 0 w 121648"/>
                <a:gd name="connsiteY2" fmla="*/ 2967 h 26703"/>
                <a:gd name="connsiteX3" fmla="*/ 8901 w 121648"/>
                <a:gd name="connsiteY3" fmla="*/ 0 h 26703"/>
                <a:gd name="connsiteX4" fmla="*/ 115715 w 121648"/>
                <a:gd name="connsiteY4" fmla="*/ 11868 h 26703"/>
                <a:gd name="connsiteX5" fmla="*/ 121649 w 121648"/>
                <a:gd name="connsiteY5" fmla="*/ 14835 h 26703"/>
                <a:gd name="connsiteX6" fmla="*/ 118681 w 121648"/>
                <a:gd name="connsiteY6" fmla="*/ 20769 h 26703"/>
                <a:gd name="connsiteX7" fmla="*/ 77143 w 121648"/>
                <a:gd name="connsiteY7" fmla="*/ 26703 h 26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648" h="26703">
                  <a:moveTo>
                    <a:pt x="77143" y="26703"/>
                  </a:moveTo>
                  <a:cubicBezTo>
                    <a:pt x="32638" y="26703"/>
                    <a:pt x="2967" y="11868"/>
                    <a:pt x="2967" y="8901"/>
                  </a:cubicBezTo>
                  <a:cubicBezTo>
                    <a:pt x="0" y="8901"/>
                    <a:pt x="0" y="2967"/>
                    <a:pt x="0" y="2967"/>
                  </a:cubicBezTo>
                  <a:cubicBezTo>
                    <a:pt x="0" y="0"/>
                    <a:pt x="5934" y="0"/>
                    <a:pt x="8901" y="0"/>
                  </a:cubicBezTo>
                  <a:cubicBezTo>
                    <a:pt x="8901" y="0"/>
                    <a:pt x="56374" y="23736"/>
                    <a:pt x="115715" y="11868"/>
                  </a:cubicBezTo>
                  <a:cubicBezTo>
                    <a:pt x="118681" y="11868"/>
                    <a:pt x="121649" y="11868"/>
                    <a:pt x="121649" y="14835"/>
                  </a:cubicBezTo>
                  <a:cubicBezTo>
                    <a:pt x="121649" y="17802"/>
                    <a:pt x="121649" y="20769"/>
                    <a:pt x="118681" y="20769"/>
                  </a:cubicBezTo>
                  <a:cubicBezTo>
                    <a:pt x="100879" y="26703"/>
                    <a:pt x="89011" y="26703"/>
                    <a:pt x="77143" y="26703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0" name="任意多边形: 形状 269">
              <a:extLst>
                <a:ext uri="{FF2B5EF4-FFF2-40B4-BE49-F238E27FC236}">
                  <a16:creationId xmlns:a16="http://schemas.microsoft.com/office/drawing/2014/main" id="{0F733DF7-D3BA-434B-94C8-8C11131D7A71}"/>
                </a:ext>
              </a:extLst>
            </p:cNvPr>
            <p:cNvSpPr/>
            <p:nvPr/>
          </p:nvSpPr>
          <p:spPr>
            <a:xfrm>
              <a:off x="6879747" y="3457867"/>
              <a:ext cx="748525" cy="845604"/>
            </a:xfrm>
            <a:custGeom>
              <a:avLst/>
              <a:gdLst>
                <a:gd name="connsiteX0" fmla="*/ 362811 w 748525"/>
                <a:gd name="connsiteY0" fmla="*/ 23736 h 845604"/>
                <a:gd name="connsiteX1" fmla="*/ 258965 w 748525"/>
                <a:gd name="connsiteY1" fmla="*/ 542967 h 845604"/>
                <a:gd name="connsiteX2" fmla="*/ 748525 w 748525"/>
                <a:gd name="connsiteY2" fmla="*/ 712088 h 845604"/>
                <a:gd name="connsiteX3" fmla="*/ 668415 w 748525"/>
                <a:gd name="connsiteY3" fmla="*/ 845604 h 845604"/>
                <a:gd name="connsiteX4" fmla="*/ 30503 w 748525"/>
                <a:gd name="connsiteY4" fmla="*/ 679451 h 845604"/>
                <a:gd name="connsiteX5" fmla="*/ 101712 w 748525"/>
                <a:gd name="connsiteY5" fmla="*/ 0 h 845604"/>
                <a:gd name="connsiteX6" fmla="*/ 362811 w 748525"/>
                <a:gd name="connsiteY6" fmla="*/ 23736 h 845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8525" h="845604">
                  <a:moveTo>
                    <a:pt x="362811" y="23736"/>
                  </a:moveTo>
                  <a:lnTo>
                    <a:pt x="258965" y="542967"/>
                  </a:lnTo>
                  <a:lnTo>
                    <a:pt x="748525" y="712088"/>
                  </a:lnTo>
                  <a:lnTo>
                    <a:pt x="668415" y="845604"/>
                  </a:lnTo>
                  <a:cubicBezTo>
                    <a:pt x="668415" y="845604"/>
                    <a:pt x="128415" y="756593"/>
                    <a:pt x="30503" y="679451"/>
                  </a:cubicBezTo>
                  <a:cubicBezTo>
                    <a:pt x="-67409" y="602308"/>
                    <a:pt x="101712" y="0"/>
                    <a:pt x="101712" y="0"/>
                  </a:cubicBezTo>
                  <a:lnTo>
                    <a:pt x="362811" y="23736"/>
                  </a:ln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1" name="任意多边形: 形状 270">
              <a:extLst>
                <a:ext uri="{FF2B5EF4-FFF2-40B4-BE49-F238E27FC236}">
                  <a16:creationId xmlns:a16="http://schemas.microsoft.com/office/drawing/2014/main" id="{0E854B08-FA3E-448F-8957-2C7593ADEA15}"/>
                </a:ext>
              </a:extLst>
            </p:cNvPr>
            <p:cNvSpPr/>
            <p:nvPr/>
          </p:nvSpPr>
          <p:spPr>
            <a:xfrm>
              <a:off x="7518492" y="4157993"/>
              <a:ext cx="375629" cy="266345"/>
            </a:xfrm>
            <a:custGeom>
              <a:avLst/>
              <a:gdLst>
                <a:gd name="connsiteX0" fmla="*/ 29670 w 375629"/>
                <a:gd name="connsiteY0" fmla="*/ 145478 h 266345"/>
                <a:gd name="connsiteX1" fmla="*/ 112747 w 375629"/>
                <a:gd name="connsiteY1" fmla="*/ 189984 h 266345"/>
                <a:gd name="connsiteX2" fmla="*/ 192857 w 375629"/>
                <a:gd name="connsiteY2" fmla="*/ 246357 h 266345"/>
                <a:gd name="connsiteX3" fmla="*/ 243297 w 375629"/>
                <a:gd name="connsiteY3" fmla="*/ 264160 h 266345"/>
                <a:gd name="connsiteX4" fmla="*/ 213626 w 375629"/>
                <a:gd name="connsiteY4" fmla="*/ 207786 h 266345"/>
                <a:gd name="connsiteX5" fmla="*/ 261099 w 375629"/>
                <a:gd name="connsiteY5" fmla="*/ 234489 h 266345"/>
                <a:gd name="connsiteX6" fmla="*/ 335274 w 375629"/>
                <a:gd name="connsiteY6" fmla="*/ 249324 h 266345"/>
                <a:gd name="connsiteX7" fmla="*/ 341209 w 375629"/>
                <a:gd name="connsiteY7" fmla="*/ 234489 h 266345"/>
                <a:gd name="connsiteX8" fmla="*/ 373846 w 375629"/>
                <a:gd name="connsiteY8" fmla="*/ 231522 h 266345"/>
                <a:gd name="connsiteX9" fmla="*/ 344176 w 375629"/>
                <a:gd name="connsiteY9" fmla="*/ 172182 h 266345"/>
                <a:gd name="connsiteX10" fmla="*/ 296703 w 375629"/>
                <a:gd name="connsiteY10" fmla="*/ 133610 h 266345"/>
                <a:gd name="connsiteX11" fmla="*/ 338242 w 375629"/>
                <a:gd name="connsiteY11" fmla="*/ 145478 h 266345"/>
                <a:gd name="connsiteX12" fmla="*/ 359011 w 375629"/>
                <a:gd name="connsiteY12" fmla="*/ 142511 h 266345"/>
                <a:gd name="connsiteX13" fmla="*/ 308571 w 375629"/>
                <a:gd name="connsiteY13" fmla="*/ 86138 h 266345"/>
                <a:gd name="connsiteX14" fmla="*/ 65275 w 375629"/>
                <a:gd name="connsiteY14" fmla="*/ 94 h 266345"/>
                <a:gd name="connsiteX15" fmla="*/ 0 w 375629"/>
                <a:gd name="connsiteY15" fmla="*/ 106907 h 266345"/>
                <a:gd name="connsiteX16" fmla="*/ 29670 w 375629"/>
                <a:gd name="connsiteY16" fmla="*/ 145478 h 266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75629" h="266345">
                  <a:moveTo>
                    <a:pt x="29670" y="145478"/>
                  </a:moveTo>
                  <a:cubicBezTo>
                    <a:pt x="56373" y="160313"/>
                    <a:pt x="86044" y="172182"/>
                    <a:pt x="112747" y="189984"/>
                  </a:cubicBezTo>
                  <a:cubicBezTo>
                    <a:pt x="139450" y="207786"/>
                    <a:pt x="166154" y="228555"/>
                    <a:pt x="192857" y="246357"/>
                  </a:cubicBezTo>
                  <a:cubicBezTo>
                    <a:pt x="201758" y="252291"/>
                    <a:pt x="231428" y="273061"/>
                    <a:pt x="243297" y="264160"/>
                  </a:cubicBezTo>
                  <a:cubicBezTo>
                    <a:pt x="261099" y="255258"/>
                    <a:pt x="237363" y="228555"/>
                    <a:pt x="213626" y="207786"/>
                  </a:cubicBezTo>
                  <a:cubicBezTo>
                    <a:pt x="228461" y="216687"/>
                    <a:pt x="246263" y="225588"/>
                    <a:pt x="261099" y="234489"/>
                  </a:cubicBezTo>
                  <a:cubicBezTo>
                    <a:pt x="278901" y="243390"/>
                    <a:pt x="314505" y="261193"/>
                    <a:pt x="335274" y="249324"/>
                  </a:cubicBezTo>
                  <a:cubicBezTo>
                    <a:pt x="341209" y="246357"/>
                    <a:pt x="344176" y="240423"/>
                    <a:pt x="341209" y="234489"/>
                  </a:cubicBezTo>
                  <a:cubicBezTo>
                    <a:pt x="356044" y="240423"/>
                    <a:pt x="367912" y="240423"/>
                    <a:pt x="373846" y="231522"/>
                  </a:cubicBezTo>
                  <a:cubicBezTo>
                    <a:pt x="382747" y="213720"/>
                    <a:pt x="356044" y="184050"/>
                    <a:pt x="344176" y="172182"/>
                  </a:cubicBezTo>
                  <a:cubicBezTo>
                    <a:pt x="329340" y="157346"/>
                    <a:pt x="314505" y="145478"/>
                    <a:pt x="296703" y="133610"/>
                  </a:cubicBezTo>
                  <a:cubicBezTo>
                    <a:pt x="311538" y="139544"/>
                    <a:pt x="326374" y="142511"/>
                    <a:pt x="338242" y="145478"/>
                  </a:cubicBezTo>
                  <a:cubicBezTo>
                    <a:pt x="347143" y="145478"/>
                    <a:pt x="353077" y="148445"/>
                    <a:pt x="359011" y="142511"/>
                  </a:cubicBezTo>
                  <a:cubicBezTo>
                    <a:pt x="376813" y="118775"/>
                    <a:pt x="320439" y="92072"/>
                    <a:pt x="308571" y="86138"/>
                  </a:cubicBezTo>
                  <a:cubicBezTo>
                    <a:pt x="231428" y="44599"/>
                    <a:pt x="148352" y="26797"/>
                    <a:pt x="65275" y="94"/>
                  </a:cubicBezTo>
                  <a:cubicBezTo>
                    <a:pt x="65275" y="-2873"/>
                    <a:pt x="2967" y="65368"/>
                    <a:pt x="0" y="106907"/>
                  </a:cubicBezTo>
                  <a:cubicBezTo>
                    <a:pt x="2967" y="130643"/>
                    <a:pt x="8901" y="133610"/>
                    <a:pt x="29670" y="145478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2" name="任意多边形: 形状 271">
              <a:extLst>
                <a:ext uri="{FF2B5EF4-FFF2-40B4-BE49-F238E27FC236}">
                  <a16:creationId xmlns:a16="http://schemas.microsoft.com/office/drawing/2014/main" id="{B683B76F-0B11-4024-B642-F821F2FD68D2}"/>
                </a:ext>
              </a:extLst>
            </p:cNvPr>
            <p:cNvSpPr/>
            <p:nvPr/>
          </p:nvSpPr>
          <p:spPr>
            <a:xfrm>
              <a:off x="7730890" y="4201363"/>
              <a:ext cx="158481" cy="108042"/>
            </a:xfrm>
            <a:custGeom>
              <a:avLst/>
              <a:gdLst>
                <a:gd name="connsiteX0" fmla="*/ 131778 w 158481"/>
                <a:gd name="connsiteY0" fmla="*/ 108042 h 108042"/>
                <a:gd name="connsiteX1" fmla="*/ 84306 w 158481"/>
                <a:gd name="connsiteY1" fmla="*/ 93207 h 108042"/>
                <a:gd name="connsiteX2" fmla="*/ 13097 w 158481"/>
                <a:gd name="connsiteY2" fmla="*/ 60570 h 108042"/>
                <a:gd name="connsiteX3" fmla="*/ 13097 w 158481"/>
                <a:gd name="connsiteY3" fmla="*/ 60570 h 108042"/>
                <a:gd name="connsiteX4" fmla="*/ 7163 w 158481"/>
                <a:gd name="connsiteY4" fmla="*/ 54636 h 108042"/>
                <a:gd name="connsiteX5" fmla="*/ 13097 w 158481"/>
                <a:gd name="connsiteY5" fmla="*/ 48701 h 108042"/>
                <a:gd name="connsiteX6" fmla="*/ 90240 w 158481"/>
                <a:gd name="connsiteY6" fmla="*/ 84306 h 108042"/>
                <a:gd name="connsiteX7" fmla="*/ 146614 w 158481"/>
                <a:gd name="connsiteY7" fmla="*/ 93207 h 108042"/>
                <a:gd name="connsiteX8" fmla="*/ 146614 w 158481"/>
                <a:gd name="connsiteY8" fmla="*/ 90240 h 108042"/>
                <a:gd name="connsiteX9" fmla="*/ 4196 w 158481"/>
                <a:gd name="connsiteY9" fmla="*/ 10130 h 108042"/>
                <a:gd name="connsiteX10" fmla="*/ 1229 w 158481"/>
                <a:gd name="connsiteY10" fmla="*/ 4196 h 108042"/>
                <a:gd name="connsiteX11" fmla="*/ 7163 w 158481"/>
                <a:gd name="connsiteY11" fmla="*/ 1229 h 108042"/>
                <a:gd name="connsiteX12" fmla="*/ 158482 w 158481"/>
                <a:gd name="connsiteY12" fmla="*/ 90240 h 108042"/>
                <a:gd name="connsiteX13" fmla="*/ 152547 w 158481"/>
                <a:gd name="connsiteY13" fmla="*/ 105075 h 108042"/>
                <a:gd name="connsiteX14" fmla="*/ 131778 w 158481"/>
                <a:gd name="connsiteY14" fmla="*/ 108042 h 10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8481" h="108042">
                  <a:moveTo>
                    <a:pt x="131778" y="108042"/>
                  </a:moveTo>
                  <a:cubicBezTo>
                    <a:pt x="111009" y="108042"/>
                    <a:pt x="87273" y="96174"/>
                    <a:pt x="84306" y="93207"/>
                  </a:cubicBezTo>
                  <a:cubicBezTo>
                    <a:pt x="54636" y="75405"/>
                    <a:pt x="21998" y="60570"/>
                    <a:pt x="13097" y="60570"/>
                  </a:cubicBezTo>
                  <a:cubicBezTo>
                    <a:pt x="13097" y="60570"/>
                    <a:pt x="13097" y="60570"/>
                    <a:pt x="13097" y="60570"/>
                  </a:cubicBezTo>
                  <a:cubicBezTo>
                    <a:pt x="10130" y="60570"/>
                    <a:pt x="7163" y="57603"/>
                    <a:pt x="7163" y="54636"/>
                  </a:cubicBezTo>
                  <a:cubicBezTo>
                    <a:pt x="7163" y="51668"/>
                    <a:pt x="10130" y="48701"/>
                    <a:pt x="13097" y="48701"/>
                  </a:cubicBezTo>
                  <a:cubicBezTo>
                    <a:pt x="24965" y="48701"/>
                    <a:pt x="75405" y="75405"/>
                    <a:pt x="90240" y="84306"/>
                  </a:cubicBezTo>
                  <a:cubicBezTo>
                    <a:pt x="102108" y="90240"/>
                    <a:pt x="134746" y="102108"/>
                    <a:pt x="146614" y="93207"/>
                  </a:cubicBezTo>
                  <a:cubicBezTo>
                    <a:pt x="146614" y="93207"/>
                    <a:pt x="149581" y="90240"/>
                    <a:pt x="146614" y="90240"/>
                  </a:cubicBezTo>
                  <a:cubicBezTo>
                    <a:pt x="143647" y="75405"/>
                    <a:pt x="96174" y="39800"/>
                    <a:pt x="4196" y="10130"/>
                  </a:cubicBezTo>
                  <a:cubicBezTo>
                    <a:pt x="1229" y="10130"/>
                    <a:pt x="-1738" y="7163"/>
                    <a:pt x="1229" y="4196"/>
                  </a:cubicBezTo>
                  <a:cubicBezTo>
                    <a:pt x="1229" y="1229"/>
                    <a:pt x="4196" y="-1738"/>
                    <a:pt x="7163" y="1229"/>
                  </a:cubicBezTo>
                  <a:cubicBezTo>
                    <a:pt x="90240" y="27932"/>
                    <a:pt x="152547" y="63537"/>
                    <a:pt x="158482" y="90240"/>
                  </a:cubicBezTo>
                  <a:cubicBezTo>
                    <a:pt x="158482" y="96174"/>
                    <a:pt x="158482" y="102108"/>
                    <a:pt x="152547" y="105075"/>
                  </a:cubicBezTo>
                  <a:cubicBezTo>
                    <a:pt x="146614" y="105075"/>
                    <a:pt x="140680" y="108042"/>
                    <a:pt x="131778" y="108042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3" name="任意多边形: 形状 272">
              <a:extLst>
                <a:ext uri="{FF2B5EF4-FFF2-40B4-BE49-F238E27FC236}">
                  <a16:creationId xmlns:a16="http://schemas.microsoft.com/office/drawing/2014/main" id="{0159E4BD-731F-472F-A15E-078E4A7AE4C6}"/>
                </a:ext>
              </a:extLst>
            </p:cNvPr>
            <p:cNvSpPr/>
            <p:nvPr/>
          </p:nvSpPr>
          <p:spPr>
            <a:xfrm>
              <a:off x="7724956" y="4296308"/>
              <a:ext cx="139937" cy="105075"/>
            </a:xfrm>
            <a:custGeom>
              <a:avLst/>
              <a:gdLst>
                <a:gd name="connsiteX0" fmla="*/ 134746 w 139937"/>
                <a:gd name="connsiteY0" fmla="*/ 102108 h 105075"/>
                <a:gd name="connsiteX1" fmla="*/ 131778 w 139937"/>
                <a:gd name="connsiteY1" fmla="*/ 102108 h 105075"/>
                <a:gd name="connsiteX2" fmla="*/ 4196 w 139937"/>
                <a:gd name="connsiteY2" fmla="*/ 10130 h 105075"/>
                <a:gd name="connsiteX3" fmla="*/ 1229 w 139937"/>
                <a:gd name="connsiteY3" fmla="*/ 4196 h 105075"/>
                <a:gd name="connsiteX4" fmla="*/ 7163 w 139937"/>
                <a:gd name="connsiteY4" fmla="*/ 1229 h 105075"/>
                <a:gd name="connsiteX5" fmla="*/ 137712 w 139937"/>
                <a:gd name="connsiteY5" fmla="*/ 96174 h 105075"/>
                <a:gd name="connsiteX6" fmla="*/ 137712 w 139937"/>
                <a:gd name="connsiteY6" fmla="*/ 105075 h 105075"/>
                <a:gd name="connsiteX7" fmla="*/ 134746 w 139937"/>
                <a:gd name="connsiteY7" fmla="*/ 102108 h 105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937" h="105075">
                  <a:moveTo>
                    <a:pt x="134746" y="102108"/>
                  </a:moveTo>
                  <a:cubicBezTo>
                    <a:pt x="134746" y="102108"/>
                    <a:pt x="131778" y="102108"/>
                    <a:pt x="131778" y="102108"/>
                  </a:cubicBezTo>
                  <a:cubicBezTo>
                    <a:pt x="131778" y="102108"/>
                    <a:pt x="36833" y="19031"/>
                    <a:pt x="4196" y="10130"/>
                  </a:cubicBezTo>
                  <a:cubicBezTo>
                    <a:pt x="1229" y="10130"/>
                    <a:pt x="-1738" y="7163"/>
                    <a:pt x="1229" y="4196"/>
                  </a:cubicBezTo>
                  <a:cubicBezTo>
                    <a:pt x="1229" y="1229"/>
                    <a:pt x="4196" y="-1738"/>
                    <a:pt x="7163" y="1229"/>
                  </a:cubicBezTo>
                  <a:cubicBezTo>
                    <a:pt x="42767" y="10130"/>
                    <a:pt x="134746" y="93207"/>
                    <a:pt x="137712" y="96174"/>
                  </a:cubicBezTo>
                  <a:cubicBezTo>
                    <a:pt x="140680" y="99141"/>
                    <a:pt x="140680" y="102108"/>
                    <a:pt x="137712" y="105075"/>
                  </a:cubicBezTo>
                  <a:cubicBezTo>
                    <a:pt x="137712" y="102108"/>
                    <a:pt x="134746" y="102108"/>
                    <a:pt x="134746" y="102108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4" name="任意多边形: 形状 273">
              <a:extLst>
                <a:ext uri="{FF2B5EF4-FFF2-40B4-BE49-F238E27FC236}">
                  <a16:creationId xmlns:a16="http://schemas.microsoft.com/office/drawing/2014/main" id="{97DAC347-B806-42D8-9D5C-E1D9C4DAD0C7}"/>
                </a:ext>
              </a:extLst>
            </p:cNvPr>
            <p:cNvSpPr/>
            <p:nvPr/>
          </p:nvSpPr>
          <p:spPr>
            <a:xfrm>
              <a:off x="7678712" y="4336109"/>
              <a:ext cx="56373" cy="35604"/>
            </a:xfrm>
            <a:custGeom>
              <a:avLst/>
              <a:gdLst>
                <a:gd name="connsiteX0" fmla="*/ 53407 w 56373"/>
                <a:gd name="connsiteY0" fmla="*/ 35604 h 35604"/>
                <a:gd name="connsiteX1" fmla="*/ 53407 w 56373"/>
                <a:gd name="connsiteY1" fmla="*/ 35604 h 35604"/>
                <a:gd name="connsiteX2" fmla="*/ 2967 w 56373"/>
                <a:gd name="connsiteY2" fmla="*/ 8901 h 35604"/>
                <a:gd name="connsiteX3" fmla="*/ 0 w 56373"/>
                <a:gd name="connsiteY3" fmla="*/ 2967 h 35604"/>
                <a:gd name="connsiteX4" fmla="*/ 5934 w 56373"/>
                <a:gd name="connsiteY4" fmla="*/ 0 h 35604"/>
                <a:gd name="connsiteX5" fmla="*/ 53407 w 56373"/>
                <a:gd name="connsiteY5" fmla="*/ 23736 h 35604"/>
                <a:gd name="connsiteX6" fmla="*/ 56373 w 56373"/>
                <a:gd name="connsiteY6" fmla="*/ 29670 h 35604"/>
                <a:gd name="connsiteX7" fmla="*/ 53407 w 56373"/>
                <a:gd name="connsiteY7" fmla="*/ 35604 h 35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373" h="35604">
                  <a:moveTo>
                    <a:pt x="53407" y="35604"/>
                  </a:moveTo>
                  <a:cubicBezTo>
                    <a:pt x="53407" y="35604"/>
                    <a:pt x="50439" y="35604"/>
                    <a:pt x="53407" y="35604"/>
                  </a:cubicBezTo>
                  <a:lnTo>
                    <a:pt x="2967" y="8901"/>
                  </a:lnTo>
                  <a:cubicBezTo>
                    <a:pt x="0" y="8901"/>
                    <a:pt x="0" y="2967"/>
                    <a:pt x="0" y="2967"/>
                  </a:cubicBezTo>
                  <a:cubicBezTo>
                    <a:pt x="0" y="0"/>
                    <a:pt x="5934" y="0"/>
                    <a:pt x="5934" y="0"/>
                  </a:cubicBezTo>
                  <a:lnTo>
                    <a:pt x="53407" y="23736"/>
                  </a:lnTo>
                  <a:cubicBezTo>
                    <a:pt x="56373" y="23736"/>
                    <a:pt x="56373" y="29670"/>
                    <a:pt x="56373" y="29670"/>
                  </a:cubicBezTo>
                  <a:cubicBezTo>
                    <a:pt x="56373" y="35604"/>
                    <a:pt x="56373" y="35604"/>
                    <a:pt x="53407" y="35604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5" name="任意多边形: 形状 274">
              <a:extLst>
                <a:ext uri="{FF2B5EF4-FFF2-40B4-BE49-F238E27FC236}">
                  <a16:creationId xmlns:a16="http://schemas.microsoft.com/office/drawing/2014/main" id="{94B6A720-A43E-4F4F-854C-B915A493E4B1}"/>
                </a:ext>
              </a:extLst>
            </p:cNvPr>
            <p:cNvSpPr/>
            <p:nvPr/>
          </p:nvSpPr>
          <p:spPr>
            <a:xfrm>
              <a:off x="7640882" y="4223361"/>
              <a:ext cx="55632" cy="100879"/>
            </a:xfrm>
            <a:custGeom>
              <a:avLst/>
              <a:gdLst>
                <a:gd name="connsiteX0" fmla="*/ 5192 w 55632"/>
                <a:gd name="connsiteY0" fmla="*/ 100879 h 100879"/>
                <a:gd name="connsiteX1" fmla="*/ 2225 w 55632"/>
                <a:gd name="connsiteY1" fmla="*/ 97912 h 100879"/>
                <a:gd name="connsiteX2" fmla="*/ 2225 w 55632"/>
                <a:gd name="connsiteY2" fmla="*/ 89011 h 100879"/>
                <a:gd name="connsiteX3" fmla="*/ 43764 w 55632"/>
                <a:gd name="connsiteY3" fmla="*/ 5934 h 100879"/>
                <a:gd name="connsiteX4" fmla="*/ 49698 w 55632"/>
                <a:gd name="connsiteY4" fmla="*/ 0 h 100879"/>
                <a:gd name="connsiteX5" fmla="*/ 49698 w 55632"/>
                <a:gd name="connsiteY5" fmla="*/ 0 h 100879"/>
                <a:gd name="connsiteX6" fmla="*/ 55632 w 55632"/>
                <a:gd name="connsiteY6" fmla="*/ 5934 h 100879"/>
                <a:gd name="connsiteX7" fmla="*/ 11127 w 55632"/>
                <a:gd name="connsiteY7" fmla="*/ 97912 h 100879"/>
                <a:gd name="connsiteX8" fmla="*/ 5192 w 55632"/>
                <a:gd name="connsiteY8" fmla="*/ 100879 h 100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632" h="100879">
                  <a:moveTo>
                    <a:pt x="5192" y="100879"/>
                  </a:moveTo>
                  <a:cubicBezTo>
                    <a:pt x="2225" y="100879"/>
                    <a:pt x="2225" y="100879"/>
                    <a:pt x="2225" y="97912"/>
                  </a:cubicBezTo>
                  <a:cubicBezTo>
                    <a:pt x="-742" y="94945"/>
                    <a:pt x="-742" y="91978"/>
                    <a:pt x="2225" y="89011"/>
                  </a:cubicBezTo>
                  <a:cubicBezTo>
                    <a:pt x="40797" y="56374"/>
                    <a:pt x="43764" y="5934"/>
                    <a:pt x="43764" y="5934"/>
                  </a:cubicBezTo>
                  <a:cubicBezTo>
                    <a:pt x="43764" y="2967"/>
                    <a:pt x="46731" y="0"/>
                    <a:pt x="49698" y="0"/>
                  </a:cubicBezTo>
                  <a:cubicBezTo>
                    <a:pt x="49698" y="0"/>
                    <a:pt x="49698" y="0"/>
                    <a:pt x="49698" y="0"/>
                  </a:cubicBezTo>
                  <a:cubicBezTo>
                    <a:pt x="52665" y="0"/>
                    <a:pt x="55632" y="2967"/>
                    <a:pt x="55632" y="5934"/>
                  </a:cubicBezTo>
                  <a:cubicBezTo>
                    <a:pt x="55632" y="8901"/>
                    <a:pt x="55632" y="62308"/>
                    <a:pt x="11127" y="97912"/>
                  </a:cubicBezTo>
                  <a:cubicBezTo>
                    <a:pt x="5192" y="100879"/>
                    <a:pt x="5192" y="100879"/>
                    <a:pt x="5192" y="100879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6" name="任意多边形: 形状 275">
              <a:extLst>
                <a:ext uri="{FF2B5EF4-FFF2-40B4-BE49-F238E27FC236}">
                  <a16:creationId xmlns:a16="http://schemas.microsoft.com/office/drawing/2014/main" id="{4997A762-6AEB-48C5-9077-601F6CB442B1}"/>
                </a:ext>
              </a:extLst>
            </p:cNvPr>
            <p:cNvSpPr/>
            <p:nvPr/>
          </p:nvSpPr>
          <p:spPr>
            <a:xfrm>
              <a:off x="7073437" y="3582482"/>
              <a:ext cx="151318" cy="456923"/>
            </a:xfrm>
            <a:custGeom>
              <a:avLst/>
              <a:gdLst>
                <a:gd name="connsiteX0" fmla="*/ 5934 w 151318"/>
                <a:gd name="connsiteY0" fmla="*/ 456923 h 456923"/>
                <a:gd name="connsiteX1" fmla="*/ 0 w 151318"/>
                <a:gd name="connsiteY1" fmla="*/ 453956 h 456923"/>
                <a:gd name="connsiteX2" fmla="*/ 2967 w 151318"/>
                <a:gd name="connsiteY2" fmla="*/ 448022 h 456923"/>
                <a:gd name="connsiteX3" fmla="*/ 56373 w 151318"/>
                <a:gd name="connsiteY3" fmla="*/ 418352 h 456923"/>
                <a:gd name="connsiteX4" fmla="*/ 139450 w 151318"/>
                <a:gd name="connsiteY4" fmla="*/ 0 h 456923"/>
                <a:gd name="connsiteX5" fmla="*/ 151318 w 151318"/>
                <a:gd name="connsiteY5" fmla="*/ 2967 h 456923"/>
                <a:gd name="connsiteX6" fmla="*/ 68241 w 151318"/>
                <a:gd name="connsiteY6" fmla="*/ 424286 h 456923"/>
                <a:gd name="connsiteX7" fmla="*/ 65275 w 151318"/>
                <a:gd name="connsiteY7" fmla="*/ 427253 h 456923"/>
                <a:gd name="connsiteX8" fmla="*/ 5934 w 151318"/>
                <a:gd name="connsiteY8" fmla="*/ 456923 h 456923"/>
                <a:gd name="connsiteX9" fmla="*/ 5934 w 151318"/>
                <a:gd name="connsiteY9" fmla="*/ 456923 h 45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1318" h="456923">
                  <a:moveTo>
                    <a:pt x="5934" y="456923"/>
                  </a:moveTo>
                  <a:cubicBezTo>
                    <a:pt x="2967" y="456923"/>
                    <a:pt x="2967" y="456923"/>
                    <a:pt x="0" y="453956"/>
                  </a:cubicBezTo>
                  <a:cubicBezTo>
                    <a:pt x="0" y="450989"/>
                    <a:pt x="0" y="448022"/>
                    <a:pt x="2967" y="448022"/>
                  </a:cubicBezTo>
                  <a:cubicBezTo>
                    <a:pt x="17802" y="442088"/>
                    <a:pt x="50439" y="424286"/>
                    <a:pt x="56373" y="418352"/>
                  </a:cubicBezTo>
                  <a:cubicBezTo>
                    <a:pt x="80110" y="302638"/>
                    <a:pt x="139450" y="0"/>
                    <a:pt x="139450" y="0"/>
                  </a:cubicBezTo>
                  <a:lnTo>
                    <a:pt x="151318" y="2967"/>
                  </a:lnTo>
                  <a:cubicBezTo>
                    <a:pt x="151318" y="2967"/>
                    <a:pt x="89011" y="311538"/>
                    <a:pt x="68241" y="424286"/>
                  </a:cubicBezTo>
                  <a:cubicBezTo>
                    <a:pt x="68241" y="424286"/>
                    <a:pt x="68241" y="427253"/>
                    <a:pt x="65275" y="427253"/>
                  </a:cubicBezTo>
                  <a:cubicBezTo>
                    <a:pt x="65275" y="424286"/>
                    <a:pt x="26703" y="448022"/>
                    <a:pt x="5934" y="456923"/>
                  </a:cubicBezTo>
                  <a:cubicBezTo>
                    <a:pt x="8901" y="456923"/>
                    <a:pt x="8901" y="456923"/>
                    <a:pt x="5934" y="456923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7" name="任意多边形: 形状 276">
              <a:extLst>
                <a:ext uri="{FF2B5EF4-FFF2-40B4-BE49-F238E27FC236}">
                  <a16:creationId xmlns:a16="http://schemas.microsoft.com/office/drawing/2014/main" id="{5EFB9662-B186-4178-8512-2107C9A55A26}"/>
                </a:ext>
              </a:extLst>
            </p:cNvPr>
            <p:cNvSpPr/>
            <p:nvPr/>
          </p:nvSpPr>
          <p:spPr>
            <a:xfrm>
              <a:off x="6919151" y="3009845"/>
              <a:ext cx="417928" cy="568125"/>
            </a:xfrm>
            <a:custGeom>
              <a:avLst/>
              <a:gdLst>
                <a:gd name="connsiteX0" fmla="*/ 0 w 417928"/>
                <a:gd name="connsiteY0" fmla="*/ 498462 h 568125"/>
                <a:gd name="connsiteX1" fmla="*/ 302638 w 417928"/>
                <a:gd name="connsiteY1" fmla="*/ 0 h 568125"/>
                <a:gd name="connsiteX2" fmla="*/ 406484 w 417928"/>
                <a:gd name="connsiteY2" fmla="*/ 563736 h 568125"/>
                <a:gd name="connsiteX3" fmla="*/ 0 w 417928"/>
                <a:gd name="connsiteY3" fmla="*/ 498462 h 56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7928" h="568125">
                  <a:moveTo>
                    <a:pt x="0" y="498462"/>
                  </a:moveTo>
                  <a:cubicBezTo>
                    <a:pt x="0" y="498462"/>
                    <a:pt x="160220" y="0"/>
                    <a:pt x="302638" y="0"/>
                  </a:cubicBezTo>
                  <a:cubicBezTo>
                    <a:pt x="468791" y="0"/>
                    <a:pt x="406484" y="563736"/>
                    <a:pt x="406484" y="563736"/>
                  </a:cubicBezTo>
                  <a:cubicBezTo>
                    <a:pt x="406484" y="563736"/>
                    <a:pt x="186923" y="593407"/>
                    <a:pt x="0" y="498462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8" name="任意多边形: 形状 277">
              <a:extLst>
                <a:ext uri="{FF2B5EF4-FFF2-40B4-BE49-F238E27FC236}">
                  <a16:creationId xmlns:a16="http://schemas.microsoft.com/office/drawing/2014/main" id="{ECCEAF0D-CEFE-4607-9FAE-9D224545FA10}"/>
                </a:ext>
              </a:extLst>
            </p:cNvPr>
            <p:cNvSpPr/>
            <p:nvPr/>
          </p:nvSpPr>
          <p:spPr>
            <a:xfrm>
              <a:off x="7189152" y="3006878"/>
              <a:ext cx="148957" cy="578571"/>
            </a:xfrm>
            <a:custGeom>
              <a:avLst/>
              <a:gdLst>
                <a:gd name="connsiteX0" fmla="*/ 50439 w 148957"/>
                <a:gd name="connsiteY0" fmla="*/ 578571 h 578571"/>
                <a:gd name="connsiteX1" fmla="*/ 5934 w 148957"/>
                <a:gd name="connsiteY1" fmla="*/ 575604 h 578571"/>
                <a:gd name="connsiteX2" fmla="*/ 0 w 148957"/>
                <a:gd name="connsiteY2" fmla="*/ 569670 h 578571"/>
                <a:gd name="connsiteX3" fmla="*/ 5934 w 148957"/>
                <a:gd name="connsiteY3" fmla="*/ 563736 h 578571"/>
                <a:gd name="connsiteX4" fmla="*/ 133516 w 148957"/>
                <a:gd name="connsiteY4" fmla="*/ 560769 h 578571"/>
                <a:gd name="connsiteX5" fmla="*/ 139450 w 148957"/>
                <a:gd name="connsiteY5" fmla="*/ 216593 h 578571"/>
                <a:gd name="connsiteX6" fmla="*/ 32638 w 148957"/>
                <a:gd name="connsiteY6" fmla="*/ 8901 h 578571"/>
                <a:gd name="connsiteX7" fmla="*/ 29670 w 148957"/>
                <a:gd name="connsiteY7" fmla="*/ 2967 h 578571"/>
                <a:gd name="connsiteX8" fmla="*/ 35604 w 148957"/>
                <a:gd name="connsiteY8" fmla="*/ 0 h 578571"/>
                <a:gd name="connsiteX9" fmla="*/ 148352 w 148957"/>
                <a:gd name="connsiteY9" fmla="*/ 219560 h 578571"/>
                <a:gd name="connsiteX10" fmla="*/ 142418 w 148957"/>
                <a:gd name="connsiteY10" fmla="*/ 569670 h 578571"/>
                <a:gd name="connsiteX11" fmla="*/ 142418 w 148957"/>
                <a:gd name="connsiteY11" fmla="*/ 572637 h 578571"/>
                <a:gd name="connsiteX12" fmla="*/ 139450 w 148957"/>
                <a:gd name="connsiteY12" fmla="*/ 572637 h 578571"/>
                <a:gd name="connsiteX13" fmla="*/ 50439 w 148957"/>
                <a:gd name="connsiteY13" fmla="*/ 578571 h 578571"/>
                <a:gd name="connsiteX14" fmla="*/ 136484 w 148957"/>
                <a:gd name="connsiteY14" fmla="*/ 566703 h 578571"/>
                <a:gd name="connsiteX15" fmla="*/ 136484 w 148957"/>
                <a:gd name="connsiteY15" fmla="*/ 566703 h 578571"/>
                <a:gd name="connsiteX16" fmla="*/ 136484 w 148957"/>
                <a:gd name="connsiteY16" fmla="*/ 566703 h 578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8957" h="578571">
                  <a:moveTo>
                    <a:pt x="50439" y="578571"/>
                  </a:moveTo>
                  <a:cubicBezTo>
                    <a:pt x="35604" y="578571"/>
                    <a:pt x="20769" y="578571"/>
                    <a:pt x="5934" y="575604"/>
                  </a:cubicBezTo>
                  <a:cubicBezTo>
                    <a:pt x="2967" y="575604"/>
                    <a:pt x="0" y="572637"/>
                    <a:pt x="0" y="569670"/>
                  </a:cubicBezTo>
                  <a:cubicBezTo>
                    <a:pt x="0" y="566703"/>
                    <a:pt x="2967" y="563736"/>
                    <a:pt x="5934" y="563736"/>
                  </a:cubicBezTo>
                  <a:cubicBezTo>
                    <a:pt x="59341" y="569670"/>
                    <a:pt x="115714" y="563736"/>
                    <a:pt x="133516" y="560769"/>
                  </a:cubicBezTo>
                  <a:cubicBezTo>
                    <a:pt x="136484" y="534066"/>
                    <a:pt x="145384" y="376813"/>
                    <a:pt x="139450" y="216593"/>
                  </a:cubicBezTo>
                  <a:cubicBezTo>
                    <a:pt x="136484" y="44505"/>
                    <a:pt x="35604" y="8901"/>
                    <a:pt x="32638" y="8901"/>
                  </a:cubicBezTo>
                  <a:cubicBezTo>
                    <a:pt x="29670" y="8901"/>
                    <a:pt x="29670" y="5934"/>
                    <a:pt x="29670" y="2967"/>
                  </a:cubicBezTo>
                  <a:cubicBezTo>
                    <a:pt x="29670" y="0"/>
                    <a:pt x="32638" y="0"/>
                    <a:pt x="35604" y="0"/>
                  </a:cubicBezTo>
                  <a:cubicBezTo>
                    <a:pt x="41538" y="0"/>
                    <a:pt x="145384" y="38571"/>
                    <a:pt x="148352" y="219560"/>
                  </a:cubicBezTo>
                  <a:cubicBezTo>
                    <a:pt x="151319" y="397582"/>
                    <a:pt x="142418" y="569670"/>
                    <a:pt x="142418" y="569670"/>
                  </a:cubicBezTo>
                  <a:lnTo>
                    <a:pt x="142418" y="572637"/>
                  </a:lnTo>
                  <a:lnTo>
                    <a:pt x="139450" y="572637"/>
                  </a:lnTo>
                  <a:cubicBezTo>
                    <a:pt x="136484" y="572637"/>
                    <a:pt x="97912" y="578571"/>
                    <a:pt x="50439" y="578571"/>
                  </a:cubicBezTo>
                  <a:close/>
                  <a:moveTo>
                    <a:pt x="136484" y="566703"/>
                  </a:moveTo>
                  <a:lnTo>
                    <a:pt x="136484" y="566703"/>
                  </a:lnTo>
                  <a:lnTo>
                    <a:pt x="136484" y="566703"/>
                  </a:ln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79" name="图形 1">
              <a:extLst>
                <a:ext uri="{FF2B5EF4-FFF2-40B4-BE49-F238E27FC236}">
                  <a16:creationId xmlns:a16="http://schemas.microsoft.com/office/drawing/2014/main" id="{63DA345D-CFCA-408F-A558-D0D0637712DC}"/>
                </a:ext>
              </a:extLst>
            </p:cNvPr>
            <p:cNvGrpSpPr/>
            <p:nvPr/>
          </p:nvGrpSpPr>
          <p:grpSpPr>
            <a:xfrm>
              <a:off x="10799588" y="6534680"/>
              <a:ext cx="384672" cy="348876"/>
              <a:chOff x="10799588" y="6534680"/>
              <a:chExt cx="384672" cy="348876"/>
            </a:xfrm>
          </p:grpSpPr>
          <p:sp>
            <p:nvSpPr>
              <p:cNvPr id="280" name="任意多边形: 形状 279">
                <a:extLst>
                  <a:ext uri="{FF2B5EF4-FFF2-40B4-BE49-F238E27FC236}">
                    <a16:creationId xmlns:a16="http://schemas.microsoft.com/office/drawing/2014/main" id="{54855BA4-4A89-4107-83B4-2BF0216BEE13}"/>
                  </a:ext>
                </a:extLst>
              </p:cNvPr>
              <p:cNvSpPr/>
              <p:nvPr/>
            </p:nvSpPr>
            <p:spPr>
              <a:xfrm>
                <a:off x="10799588" y="6653362"/>
                <a:ext cx="384672" cy="230195"/>
              </a:xfrm>
              <a:custGeom>
                <a:avLst/>
                <a:gdLst>
                  <a:gd name="connsiteX0" fmla="*/ 279344 w 384672"/>
                  <a:gd name="connsiteY0" fmla="*/ 0 h 230195"/>
                  <a:gd name="connsiteX1" fmla="*/ 125057 w 384672"/>
                  <a:gd name="connsiteY1" fmla="*/ 121648 h 230195"/>
                  <a:gd name="connsiteX2" fmla="*/ 314947 w 384672"/>
                  <a:gd name="connsiteY2" fmla="*/ 74176 h 230195"/>
                  <a:gd name="connsiteX3" fmla="*/ 383190 w 384672"/>
                  <a:gd name="connsiteY3" fmla="*/ 50439 h 230195"/>
                  <a:gd name="connsiteX4" fmla="*/ 377255 w 384672"/>
                  <a:gd name="connsiteY4" fmla="*/ 154286 h 230195"/>
                  <a:gd name="connsiteX5" fmla="*/ 151761 w 384672"/>
                  <a:gd name="connsiteY5" fmla="*/ 225494 h 230195"/>
                  <a:gd name="connsiteX6" fmla="*/ 18244 w 384672"/>
                  <a:gd name="connsiteY6" fmla="*/ 225494 h 230195"/>
                  <a:gd name="connsiteX7" fmla="*/ 12311 w 384672"/>
                  <a:gd name="connsiteY7" fmla="*/ 172088 h 230195"/>
                  <a:gd name="connsiteX8" fmla="*/ 279344 w 384672"/>
                  <a:gd name="connsiteY8" fmla="*/ 0 h 230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4672" h="230195">
                    <a:moveTo>
                      <a:pt x="279344" y="0"/>
                    </a:moveTo>
                    <a:cubicBezTo>
                      <a:pt x="279344" y="0"/>
                      <a:pt x="110222" y="109780"/>
                      <a:pt x="125057" y="121648"/>
                    </a:cubicBezTo>
                    <a:cubicBezTo>
                      <a:pt x="136925" y="136483"/>
                      <a:pt x="314947" y="74176"/>
                      <a:pt x="314947" y="74176"/>
                    </a:cubicBezTo>
                    <a:lnTo>
                      <a:pt x="383190" y="50439"/>
                    </a:lnTo>
                    <a:cubicBezTo>
                      <a:pt x="383190" y="50439"/>
                      <a:pt x="389123" y="130549"/>
                      <a:pt x="377255" y="154286"/>
                    </a:cubicBezTo>
                    <a:cubicBezTo>
                      <a:pt x="306047" y="189890"/>
                      <a:pt x="222970" y="213626"/>
                      <a:pt x="151761" y="225494"/>
                    </a:cubicBezTo>
                    <a:cubicBezTo>
                      <a:pt x="107255" y="234395"/>
                      <a:pt x="27146" y="228461"/>
                      <a:pt x="18244" y="225494"/>
                    </a:cubicBezTo>
                    <a:cubicBezTo>
                      <a:pt x="9343" y="222527"/>
                      <a:pt x="-14393" y="198791"/>
                      <a:pt x="12311" y="172088"/>
                    </a:cubicBezTo>
                    <a:cubicBezTo>
                      <a:pt x="71651" y="109780"/>
                      <a:pt x="279344" y="0"/>
                      <a:pt x="279344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1" name="任意多边形: 形状 280">
                <a:extLst>
                  <a:ext uri="{FF2B5EF4-FFF2-40B4-BE49-F238E27FC236}">
                    <a16:creationId xmlns:a16="http://schemas.microsoft.com/office/drawing/2014/main" id="{4FA7DB12-643B-410A-9C16-368FD51EFE4C}"/>
                  </a:ext>
                </a:extLst>
              </p:cNvPr>
              <p:cNvSpPr/>
              <p:nvPr/>
            </p:nvSpPr>
            <p:spPr>
              <a:xfrm>
                <a:off x="10923354" y="6534680"/>
                <a:ext cx="259424" cy="247261"/>
              </a:xfrm>
              <a:custGeom>
                <a:avLst/>
                <a:gdLst>
                  <a:gd name="connsiteX0" fmla="*/ 140743 w 259424"/>
                  <a:gd name="connsiteY0" fmla="*/ 0 h 247261"/>
                  <a:gd name="connsiteX1" fmla="*/ 155578 w 259424"/>
                  <a:gd name="connsiteY1" fmla="*/ 121648 h 247261"/>
                  <a:gd name="connsiteX2" fmla="*/ 1292 w 259424"/>
                  <a:gd name="connsiteY2" fmla="*/ 243297 h 247261"/>
                  <a:gd name="connsiteX3" fmla="*/ 232721 w 259424"/>
                  <a:gd name="connsiteY3" fmla="*/ 201758 h 247261"/>
                  <a:gd name="connsiteX4" fmla="*/ 259424 w 259424"/>
                  <a:gd name="connsiteY4" fmla="*/ 172088 h 247261"/>
                  <a:gd name="connsiteX5" fmla="*/ 259424 w 259424"/>
                  <a:gd name="connsiteY5" fmla="*/ 41538 h 247261"/>
                  <a:gd name="connsiteX6" fmla="*/ 140743 w 259424"/>
                  <a:gd name="connsiteY6" fmla="*/ 0 h 247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9424" h="247261">
                    <a:moveTo>
                      <a:pt x="140743" y="0"/>
                    </a:moveTo>
                    <a:lnTo>
                      <a:pt x="155578" y="121648"/>
                    </a:lnTo>
                    <a:cubicBezTo>
                      <a:pt x="155578" y="121648"/>
                      <a:pt x="-16511" y="222527"/>
                      <a:pt x="1292" y="243297"/>
                    </a:cubicBezTo>
                    <a:cubicBezTo>
                      <a:pt x="13160" y="258132"/>
                      <a:pt x="164479" y="228461"/>
                      <a:pt x="232721" y="201758"/>
                    </a:cubicBezTo>
                    <a:cubicBezTo>
                      <a:pt x="256457" y="192857"/>
                      <a:pt x="259424" y="172088"/>
                      <a:pt x="259424" y="172088"/>
                    </a:cubicBezTo>
                    <a:lnTo>
                      <a:pt x="259424" y="41538"/>
                    </a:lnTo>
                    <a:lnTo>
                      <a:pt x="140743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82" name="图形 1">
              <a:extLst>
                <a:ext uri="{FF2B5EF4-FFF2-40B4-BE49-F238E27FC236}">
                  <a16:creationId xmlns:a16="http://schemas.microsoft.com/office/drawing/2014/main" id="{63DA345D-CFCA-408F-A558-D0D0637712DC}"/>
                </a:ext>
              </a:extLst>
            </p:cNvPr>
            <p:cNvGrpSpPr/>
            <p:nvPr/>
          </p:nvGrpSpPr>
          <p:grpSpPr>
            <a:xfrm>
              <a:off x="12049151" y="6220175"/>
              <a:ext cx="290769" cy="473124"/>
              <a:chOff x="12049151" y="6220175"/>
              <a:chExt cx="290769" cy="473124"/>
            </a:xfrm>
          </p:grpSpPr>
          <p:sp>
            <p:nvSpPr>
              <p:cNvPr id="283" name="任意多边形: 形状 282">
                <a:extLst>
                  <a:ext uri="{FF2B5EF4-FFF2-40B4-BE49-F238E27FC236}">
                    <a16:creationId xmlns:a16="http://schemas.microsoft.com/office/drawing/2014/main" id="{2DE9EDBE-CC78-4DBC-B068-F73EF5AE1795}"/>
                  </a:ext>
                </a:extLst>
              </p:cNvPr>
              <p:cNvSpPr/>
              <p:nvPr/>
            </p:nvSpPr>
            <p:spPr>
              <a:xfrm>
                <a:off x="12139610" y="6291383"/>
                <a:ext cx="200311" cy="401916"/>
              </a:xfrm>
              <a:custGeom>
                <a:avLst/>
                <a:gdLst>
                  <a:gd name="connsiteX0" fmla="*/ 16355 w 200311"/>
                  <a:gd name="connsiteY0" fmla="*/ 59341 h 401916"/>
                  <a:gd name="connsiteX1" fmla="*/ 31190 w 200311"/>
                  <a:gd name="connsiteY1" fmla="*/ 255165 h 401916"/>
                  <a:gd name="connsiteX2" fmla="*/ 99432 w 200311"/>
                  <a:gd name="connsiteY2" fmla="*/ 71209 h 401916"/>
                  <a:gd name="connsiteX3" fmla="*/ 117234 w 200311"/>
                  <a:gd name="connsiteY3" fmla="*/ 0 h 401916"/>
                  <a:gd name="connsiteX4" fmla="*/ 200311 w 200311"/>
                  <a:gd name="connsiteY4" fmla="*/ 62308 h 401916"/>
                  <a:gd name="connsiteX5" fmla="*/ 132069 w 200311"/>
                  <a:gd name="connsiteY5" fmla="*/ 287803 h 401916"/>
                  <a:gd name="connsiteX6" fmla="*/ 54927 w 200311"/>
                  <a:gd name="connsiteY6" fmla="*/ 397583 h 401916"/>
                  <a:gd name="connsiteX7" fmla="*/ 4487 w 200311"/>
                  <a:gd name="connsiteY7" fmla="*/ 370879 h 401916"/>
                  <a:gd name="connsiteX8" fmla="*/ 16355 w 200311"/>
                  <a:gd name="connsiteY8" fmla="*/ 59341 h 401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0311" h="401916">
                    <a:moveTo>
                      <a:pt x="16355" y="59341"/>
                    </a:moveTo>
                    <a:cubicBezTo>
                      <a:pt x="16355" y="59341"/>
                      <a:pt x="13388" y="261099"/>
                      <a:pt x="31190" y="255165"/>
                    </a:cubicBezTo>
                    <a:cubicBezTo>
                      <a:pt x="48993" y="252198"/>
                      <a:pt x="99432" y="71209"/>
                      <a:pt x="99432" y="71209"/>
                    </a:cubicBezTo>
                    <a:lnTo>
                      <a:pt x="117234" y="0"/>
                    </a:lnTo>
                    <a:cubicBezTo>
                      <a:pt x="117234" y="0"/>
                      <a:pt x="185476" y="41539"/>
                      <a:pt x="200311" y="62308"/>
                    </a:cubicBezTo>
                    <a:cubicBezTo>
                      <a:pt x="191410" y="139451"/>
                      <a:pt x="161739" y="222527"/>
                      <a:pt x="132069" y="287803"/>
                    </a:cubicBezTo>
                    <a:cubicBezTo>
                      <a:pt x="114268" y="329341"/>
                      <a:pt x="63828" y="394615"/>
                      <a:pt x="54927" y="397583"/>
                    </a:cubicBezTo>
                    <a:cubicBezTo>
                      <a:pt x="46025" y="403517"/>
                      <a:pt x="13388" y="409451"/>
                      <a:pt x="4487" y="370879"/>
                    </a:cubicBezTo>
                    <a:cubicBezTo>
                      <a:pt x="-10348" y="290769"/>
                      <a:pt x="16355" y="59341"/>
                      <a:pt x="16355" y="59341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4" name="任意多边形: 形状 283">
                <a:extLst>
                  <a:ext uri="{FF2B5EF4-FFF2-40B4-BE49-F238E27FC236}">
                    <a16:creationId xmlns:a16="http://schemas.microsoft.com/office/drawing/2014/main" id="{06271671-C980-46E7-9127-B60327DF892F}"/>
                  </a:ext>
                </a:extLst>
              </p:cNvPr>
              <p:cNvSpPr/>
              <p:nvPr/>
            </p:nvSpPr>
            <p:spPr>
              <a:xfrm>
                <a:off x="12049151" y="6220175"/>
                <a:ext cx="220771" cy="326406"/>
              </a:xfrm>
              <a:custGeom>
                <a:avLst/>
                <a:gdLst>
                  <a:gd name="connsiteX0" fmla="*/ 0 w 220771"/>
                  <a:gd name="connsiteY0" fmla="*/ 74176 h 326406"/>
                  <a:gd name="connsiteX1" fmla="*/ 106813 w 220771"/>
                  <a:gd name="connsiteY1" fmla="*/ 130549 h 326406"/>
                  <a:gd name="connsiteX2" fmla="*/ 121649 w 220771"/>
                  <a:gd name="connsiteY2" fmla="*/ 326374 h 326406"/>
                  <a:gd name="connsiteX3" fmla="*/ 219561 w 220771"/>
                  <a:gd name="connsiteY3" fmla="*/ 112747 h 326406"/>
                  <a:gd name="connsiteX4" fmla="*/ 207692 w 220771"/>
                  <a:gd name="connsiteY4" fmla="*/ 74176 h 326406"/>
                  <a:gd name="connsiteX5" fmla="*/ 100880 w 220771"/>
                  <a:gd name="connsiteY5" fmla="*/ 0 h 326406"/>
                  <a:gd name="connsiteX6" fmla="*/ 0 w 220771"/>
                  <a:gd name="connsiteY6" fmla="*/ 74176 h 326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0771" h="326406">
                    <a:moveTo>
                      <a:pt x="0" y="74176"/>
                    </a:moveTo>
                    <a:lnTo>
                      <a:pt x="106813" y="130549"/>
                    </a:lnTo>
                    <a:cubicBezTo>
                      <a:pt x="106813" y="130549"/>
                      <a:pt x="94945" y="329341"/>
                      <a:pt x="121649" y="326374"/>
                    </a:cubicBezTo>
                    <a:cubicBezTo>
                      <a:pt x="142418" y="326374"/>
                      <a:pt x="201759" y="183956"/>
                      <a:pt x="219561" y="112747"/>
                    </a:cubicBezTo>
                    <a:cubicBezTo>
                      <a:pt x="225495" y="89011"/>
                      <a:pt x="207692" y="74176"/>
                      <a:pt x="207692" y="74176"/>
                    </a:cubicBezTo>
                    <a:lnTo>
                      <a:pt x="100880" y="0"/>
                    </a:lnTo>
                    <a:lnTo>
                      <a:pt x="0" y="74176"/>
                    </a:ln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85" name="任意多边形: 形状 284">
              <a:extLst>
                <a:ext uri="{FF2B5EF4-FFF2-40B4-BE49-F238E27FC236}">
                  <a16:creationId xmlns:a16="http://schemas.microsoft.com/office/drawing/2014/main" id="{43A56563-E6DC-4123-ACAC-A90624506FFC}"/>
                </a:ext>
              </a:extLst>
            </p:cNvPr>
            <p:cNvSpPr/>
            <p:nvPr/>
          </p:nvSpPr>
          <p:spPr>
            <a:xfrm>
              <a:off x="10852276" y="4169955"/>
              <a:ext cx="1342260" cy="2435934"/>
            </a:xfrm>
            <a:custGeom>
              <a:avLst/>
              <a:gdLst>
                <a:gd name="connsiteX0" fmla="*/ 766655 w 1342260"/>
                <a:gd name="connsiteY0" fmla="*/ 0 h 2435934"/>
                <a:gd name="connsiteX1" fmla="*/ 116875 w 1342260"/>
                <a:gd name="connsiteY1" fmla="*/ 0 h 2435934"/>
                <a:gd name="connsiteX2" fmla="*/ 1161 w 1342260"/>
                <a:gd name="connsiteY2" fmla="*/ 448022 h 2435934"/>
                <a:gd name="connsiteX3" fmla="*/ 176216 w 1342260"/>
                <a:gd name="connsiteY3" fmla="*/ 2418132 h 2435934"/>
                <a:gd name="connsiteX4" fmla="*/ 369073 w 1342260"/>
                <a:gd name="connsiteY4" fmla="*/ 2435934 h 2435934"/>
                <a:gd name="connsiteX5" fmla="*/ 449183 w 1342260"/>
                <a:gd name="connsiteY5" fmla="*/ 789231 h 2435934"/>
                <a:gd name="connsiteX6" fmla="*/ 538194 w 1342260"/>
                <a:gd name="connsiteY6" fmla="*/ 1709011 h 2435934"/>
                <a:gd name="connsiteX7" fmla="*/ 1241380 w 1342260"/>
                <a:gd name="connsiteY7" fmla="*/ 2213407 h 2435934"/>
                <a:gd name="connsiteX8" fmla="*/ 1342260 w 1342260"/>
                <a:gd name="connsiteY8" fmla="*/ 2029451 h 2435934"/>
                <a:gd name="connsiteX9" fmla="*/ 861600 w 1342260"/>
                <a:gd name="connsiteY9" fmla="*/ 1614066 h 2435934"/>
                <a:gd name="connsiteX10" fmla="*/ 897205 w 1342260"/>
                <a:gd name="connsiteY10" fmla="*/ 406483 h 2435934"/>
                <a:gd name="connsiteX11" fmla="*/ 766655 w 1342260"/>
                <a:gd name="connsiteY11" fmla="*/ 0 h 2435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42260" h="2435934">
                  <a:moveTo>
                    <a:pt x="766655" y="0"/>
                  </a:moveTo>
                  <a:lnTo>
                    <a:pt x="116875" y="0"/>
                  </a:lnTo>
                  <a:cubicBezTo>
                    <a:pt x="116875" y="0"/>
                    <a:pt x="21930" y="296703"/>
                    <a:pt x="1161" y="448022"/>
                  </a:cubicBezTo>
                  <a:cubicBezTo>
                    <a:pt x="-16642" y="596374"/>
                    <a:pt x="176216" y="2418132"/>
                    <a:pt x="176216" y="2418132"/>
                  </a:cubicBezTo>
                  <a:lnTo>
                    <a:pt x="369073" y="2435934"/>
                  </a:lnTo>
                  <a:lnTo>
                    <a:pt x="449183" y="789231"/>
                  </a:lnTo>
                  <a:cubicBezTo>
                    <a:pt x="449183" y="789231"/>
                    <a:pt x="532260" y="1694176"/>
                    <a:pt x="538194" y="1709011"/>
                  </a:cubicBezTo>
                  <a:lnTo>
                    <a:pt x="1241380" y="2213407"/>
                  </a:lnTo>
                  <a:lnTo>
                    <a:pt x="1342260" y="2029451"/>
                  </a:lnTo>
                  <a:lnTo>
                    <a:pt x="861600" y="1614066"/>
                  </a:lnTo>
                  <a:cubicBezTo>
                    <a:pt x="861600" y="1614066"/>
                    <a:pt x="891271" y="468791"/>
                    <a:pt x="897205" y="406483"/>
                  </a:cubicBezTo>
                  <a:cubicBezTo>
                    <a:pt x="906106" y="287802"/>
                    <a:pt x="766655" y="0"/>
                    <a:pt x="766655" y="0"/>
                  </a:cubicBezTo>
                  <a:close/>
                </a:path>
              </a:pathLst>
            </a:custGeom>
            <a:solidFill>
              <a:srgbClr val="F6EBE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6" name="任意多边形: 形状 285">
              <a:extLst>
                <a:ext uri="{FF2B5EF4-FFF2-40B4-BE49-F238E27FC236}">
                  <a16:creationId xmlns:a16="http://schemas.microsoft.com/office/drawing/2014/main" id="{EC80DF78-9503-4574-BFDB-E3B9FC492302}"/>
                </a:ext>
              </a:extLst>
            </p:cNvPr>
            <p:cNvSpPr/>
            <p:nvPr/>
          </p:nvSpPr>
          <p:spPr>
            <a:xfrm>
              <a:off x="11256954" y="4549735"/>
              <a:ext cx="844862" cy="1845494"/>
            </a:xfrm>
            <a:custGeom>
              <a:avLst/>
              <a:gdLst>
                <a:gd name="connsiteX0" fmla="*/ 836703 w 844862"/>
                <a:gd name="connsiteY0" fmla="*/ 1842528 h 1845494"/>
                <a:gd name="connsiteX1" fmla="*/ 833736 w 844862"/>
                <a:gd name="connsiteY1" fmla="*/ 1842528 h 1845494"/>
                <a:gd name="connsiteX2" fmla="*/ 130549 w 844862"/>
                <a:gd name="connsiteY2" fmla="*/ 1338132 h 1845494"/>
                <a:gd name="connsiteX3" fmla="*/ 130549 w 844862"/>
                <a:gd name="connsiteY3" fmla="*/ 1335165 h 1845494"/>
                <a:gd name="connsiteX4" fmla="*/ 41538 w 844862"/>
                <a:gd name="connsiteY4" fmla="*/ 412418 h 1845494"/>
                <a:gd name="connsiteX5" fmla="*/ 0 w 844862"/>
                <a:gd name="connsiteY5" fmla="*/ 5934 h 1845494"/>
                <a:gd name="connsiteX6" fmla="*/ 5934 w 844862"/>
                <a:gd name="connsiteY6" fmla="*/ 0 h 1845494"/>
                <a:gd name="connsiteX7" fmla="*/ 11868 w 844862"/>
                <a:gd name="connsiteY7" fmla="*/ 5934 h 1845494"/>
                <a:gd name="connsiteX8" fmla="*/ 53406 w 844862"/>
                <a:gd name="connsiteY8" fmla="*/ 412418 h 1845494"/>
                <a:gd name="connsiteX9" fmla="*/ 142417 w 844862"/>
                <a:gd name="connsiteY9" fmla="*/ 1332198 h 1845494"/>
                <a:gd name="connsiteX10" fmla="*/ 842637 w 844862"/>
                <a:gd name="connsiteY10" fmla="*/ 1836594 h 1845494"/>
                <a:gd name="connsiteX11" fmla="*/ 842637 w 844862"/>
                <a:gd name="connsiteY11" fmla="*/ 1845494 h 1845494"/>
                <a:gd name="connsiteX12" fmla="*/ 836703 w 844862"/>
                <a:gd name="connsiteY12" fmla="*/ 1842528 h 1845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44862" h="1845494">
                  <a:moveTo>
                    <a:pt x="836703" y="1842528"/>
                  </a:moveTo>
                  <a:cubicBezTo>
                    <a:pt x="836703" y="1842528"/>
                    <a:pt x="833736" y="1842528"/>
                    <a:pt x="833736" y="1842528"/>
                  </a:cubicBezTo>
                  <a:lnTo>
                    <a:pt x="130549" y="1338132"/>
                  </a:lnTo>
                  <a:lnTo>
                    <a:pt x="130549" y="1335165"/>
                  </a:lnTo>
                  <a:cubicBezTo>
                    <a:pt x="124615" y="1317363"/>
                    <a:pt x="50439" y="504396"/>
                    <a:pt x="41538" y="412418"/>
                  </a:cubicBezTo>
                  <a:lnTo>
                    <a:pt x="0" y="5934"/>
                  </a:lnTo>
                  <a:cubicBezTo>
                    <a:pt x="0" y="2967"/>
                    <a:pt x="2967" y="0"/>
                    <a:pt x="5934" y="0"/>
                  </a:cubicBezTo>
                  <a:cubicBezTo>
                    <a:pt x="8901" y="0"/>
                    <a:pt x="11868" y="2967"/>
                    <a:pt x="11868" y="5934"/>
                  </a:cubicBezTo>
                  <a:lnTo>
                    <a:pt x="53406" y="412418"/>
                  </a:lnTo>
                  <a:cubicBezTo>
                    <a:pt x="80109" y="718022"/>
                    <a:pt x="133516" y="1293627"/>
                    <a:pt x="142417" y="1332198"/>
                  </a:cubicBezTo>
                  <a:lnTo>
                    <a:pt x="842637" y="1836594"/>
                  </a:lnTo>
                  <a:cubicBezTo>
                    <a:pt x="845604" y="1839561"/>
                    <a:pt x="845604" y="1842528"/>
                    <a:pt x="842637" y="1845494"/>
                  </a:cubicBezTo>
                  <a:cubicBezTo>
                    <a:pt x="839670" y="1842528"/>
                    <a:pt x="836703" y="1842528"/>
                    <a:pt x="836703" y="1842528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7" name="任意多边形: 形状 286">
              <a:extLst>
                <a:ext uri="{FF2B5EF4-FFF2-40B4-BE49-F238E27FC236}">
                  <a16:creationId xmlns:a16="http://schemas.microsoft.com/office/drawing/2014/main" id="{459C9481-74FD-4B1D-879A-9EC8AD4975BD}"/>
                </a:ext>
              </a:extLst>
            </p:cNvPr>
            <p:cNvSpPr/>
            <p:nvPr/>
          </p:nvSpPr>
          <p:spPr>
            <a:xfrm>
              <a:off x="11568492" y="4321274"/>
              <a:ext cx="176283" cy="183955"/>
            </a:xfrm>
            <a:custGeom>
              <a:avLst/>
              <a:gdLst>
                <a:gd name="connsiteX0" fmla="*/ 172088 w 176283"/>
                <a:gd name="connsiteY0" fmla="*/ 183956 h 183955"/>
                <a:gd name="connsiteX1" fmla="*/ 172088 w 176283"/>
                <a:gd name="connsiteY1" fmla="*/ 183956 h 183955"/>
                <a:gd name="connsiteX2" fmla="*/ 0 w 176283"/>
                <a:gd name="connsiteY2" fmla="*/ 5934 h 183955"/>
                <a:gd name="connsiteX3" fmla="*/ 2967 w 176283"/>
                <a:gd name="connsiteY3" fmla="*/ 0 h 183955"/>
                <a:gd name="connsiteX4" fmla="*/ 8901 w 176283"/>
                <a:gd name="connsiteY4" fmla="*/ 2967 h 183955"/>
                <a:gd name="connsiteX5" fmla="*/ 172088 w 176283"/>
                <a:gd name="connsiteY5" fmla="*/ 175055 h 183955"/>
                <a:gd name="connsiteX6" fmla="*/ 175055 w 176283"/>
                <a:gd name="connsiteY6" fmla="*/ 180989 h 183955"/>
                <a:gd name="connsiteX7" fmla="*/ 172088 w 176283"/>
                <a:gd name="connsiteY7" fmla="*/ 183956 h 183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283" h="183955">
                  <a:moveTo>
                    <a:pt x="172088" y="183956"/>
                  </a:moveTo>
                  <a:cubicBezTo>
                    <a:pt x="172088" y="183956"/>
                    <a:pt x="172088" y="183956"/>
                    <a:pt x="172088" y="183956"/>
                  </a:cubicBezTo>
                  <a:cubicBezTo>
                    <a:pt x="56373" y="151319"/>
                    <a:pt x="2967" y="11868"/>
                    <a:pt x="0" y="5934"/>
                  </a:cubicBezTo>
                  <a:cubicBezTo>
                    <a:pt x="0" y="2967"/>
                    <a:pt x="0" y="0"/>
                    <a:pt x="2967" y="0"/>
                  </a:cubicBezTo>
                  <a:cubicBezTo>
                    <a:pt x="5934" y="0"/>
                    <a:pt x="8901" y="0"/>
                    <a:pt x="8901" y="2967"/>
                  </a:cubicBezTo>
                  <a:cubicBezTo>
                    <a:pt x="8901" y="2967"/>
                    <a:pt x="62308" y="145385"/>
                    <a:pt x="172088" y="175055"/>
                  </a:cubicBezTo>
                  <a:cubicBezTo>
                    <a:pt x="175055" y="175055"/>
                    <a:pt x="178022" y="178022"/>
                    <a:pt x="175055" y="180989"/>
                  </a:cubicBezTo>
                  <a:cubicBezTo>
                    <a:pt x="178022" y="180989"/>
                    <a:pt x="175055" y="183956"/>
                    <a:pt x="172088" y="183956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8" name="任意多边形: 形状 287">
              <a:extLst>
                <a:ext uri="{FF2B5EF4-FFF2-40B4-BE49-F238E27FC236}">
                  <a16:creationId xmlns:a16="http://schemas.microsoft.com/office/drawing/2014/main" id="{596BEF01-B7EA-41BC-859A-ED194CB8BD06}"/>
                </a:ext>
              </a:extLst>
            </p:cNvPr>
            <p:cNvSpPr/>
            <p:nvPr/>
          </p:nvSpPr>
          <p:spPr>
            <a:xfrm>
              <a:off x="10868272" y="4321274"/>
              <a:ext cx="169121" cy="186923"/>
            </a:xfrm>
            <a:custGeom>
              <a:avLst/>
              <a:gdLst>
                <a:gd name="connsiteX0" fmla="*/ 5934 w 169121"/>
                <a:gd name="connsiteY0" fmla="*/ 186923 h 186923"/>
                <a:gd name="connsiteX1" fmla="*/ 0 w 169121"/>
                <a:gd name="connsiteY1" fmla="*/ 183956 h 186923"/>
                <a:gd name="connsiteX2" fmla="*/ 2967 w 169121"/>
                <a:gd name="connsiteY2" fmla="*/ 178022 h 186923"/>
                <a:gd name="connsiteX3" fmla="*/ 157252 w 169121"/>
                <a:gd name="connsiteY3" fmla="*/ 2967 h 186923"/>
                <a:gd name="connsiteX4" fmla="*/ 166154 w 169121"/>
                <a:gd name="connsiteY4" fmla="*/ 0 h 186923"/>
                <a:gd name="connsiteX5" fmla="*/ 169121 w 169121"/>
                <a:gd name="connsiteY5" fmla="*/ 8901 h 186923"/>
                <a:gd name="connsiteX6" fmla="*/ 5934 w 169121"/>
                <a:gd name="connsiteY6" fmla="*/ 186923 h 186923"/>
                <a:gd name="connsiteX7" fmla="*/ 5934 w 169121"/>
                <a:gd name="connsiteY7" fmla="*/ 186923 h 18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121" h="186923">
                  <a:moveTo>
                    <a:pt x="5934" y="186923"/>
                  </a:moveTo>
                  <a:cubicBezTo>
                    <a:pt x="2967" y="186923"/>
                    <a:pt x="2967" y="186923"/>
                    <a:pt x="0" y="183956"/>
                  </a:cubicBezTo>
                  <a:cubicBezTo>
                    <a:pt x="0" y="180989"/>
                    <a:pt x="0" y="178022"/>
                    <a:pt x="2967" y="178022"/>
                  </a:cubicBezTo>
                  <a:cubicBezTo>
                    <a:pt x="80110" y="148352"/>
                    <a:pt x="157252" y="2967"/>
                    <a:pt x="157252" y="2967"/>
                  </a:cubicBezTo>
                  <a:cubicBezTo>
                    <a:pt x="157252" y="0"/>
                    <a:pt x="163187" y="0"/>
                    <a:pt x="166154" y="0"/>
                  </a:cubicBezTo>
                  <a:cubicBezTo>
                    <a:pt x="169121" y="0"/>
                    <a:pt x="169121" y="5934"/>
                    <a:pt x="169121" y="8901"/>
                  </a:cubicBezTo>
                  <a:cubicBezTo>
                    <a:pt x="166154" y="11868"/>
                    <a:pt x="89011" y="154286"/>
                    <a:pt x="5934" y="186923"/>
                  </a:cubicBezTo>
                  <a:cubicBezTo>
                    <a:pt x="8901" y="186923"/>
                    <a:pt x="5934" y="186923"/>
                    <a:pt x="5934" y="186923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9" name="任意多边形: 形状 288">
              <a:extLst>
                <a:ext uri="{FF2B5EF4-FFF2-40B4-BE49-F238E27FC236}">
                  <a16:creationId xmlns:a16="http://schemas.microsoft.com/office/drawing/2014/main" id="{EA67A6EB-A3D4-4465-AFE1-F33264319311}"/>
                </a:ext>
              </a:extLst>
            </p:cNvPr>
            <p:cNvSpPr/>
            <p:nvPr/>
          </p:nvSpPr>
          <p:spPr>
            <a:xfrm>
              <a:off x="10172901" y="3404389"/>
              <a:ext cx="790764" cy="769042"/>
            </a:xfrm>
            <a:custGeom>
              <a:avLst/>
              <a:gdLst>
                <a:gd name="connsiteX0" fmla="*/ 606361 w 790764"/>
                <a:gd name="connsiteY0" fmla="*/ 44577 h 769042"/>
                <a:gd name="connsiteX1" fmla="*/ 428339 w 790764"/>
                <a:gd name="connsiteY1" fmla="*/ 578643 h 769042"/>
                <a:gd name="connsiteX2" fmla="*/ 4053 w 790764"/>
                <a:gd name="connsiteY2" fmla="*/ 643917 h 769042"/>
                <a:gd name="connsiteX3" fmla="*/ 66360 w 790764"/>
                <a:gd name="connsiteY3" fmla="*/ 721060 h 769042"/>
                <a:gd name="connsiteX4" fmla="*/ 514382 w 790764"/>
                <a:gd name="connsiteY4" fmla="*/ 750731 h 769042"/>
                <a:gd name="connsiteX5" fmla="*/ 787350 w 790764"/>
                <a:gd name="connsiteY5" fmla="*/ 249302 h 769042"/>
                <a:gd name="connsiteX6" fmla="*/ 606361 w 790764"/>
                <a:gd name="connsiteY6" fmla="*/ 44577 h 769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0764" h="769042">
                  <a:moveTo>
                    <a:pt x="606361" y="44577"/>
                  </a:moveTo>
                  <a:cubicBezTo>
                    <a:pt x="558888" y="145456"/>
                    <a:pt x="428339" y="578643"/>
                    <a:pt x="428339" y="578643"/>
                  </a:cubicBezTo>
                  <a:cubicBezTo>
                    <a:pt x="428339" y="578643"/>
                    <a:pt x="4053" y="637983"/>
                    <a:pt x="4053" y="643917"/>
                  </a:cubicBezTo>
                  <a:cubicBezTo>
                    <a:pt x="-13749" y="709192"/>
                    <a:pt x="30756" y="712159"/>
                    <a:pt x="66360" y="721060"/>
                  </a:cubicBezTo>
                  <a:cubicBezTo>
                    <a:pt x="75262" y="724027"/>
                    <a:pt x="271086" y="804137"/>
                    <a:pt x="514382" y="750731"/>
                  </a:cubicBezTo>
                  <a:cubicBezTo>
                    <a:pt x="579658" y="735895"/>
                    <a:pt x="733943" y="388752"/>
                    <a:pt x="787350" y="249302"/>
                  </a:cubicBezTo>
                  <a:cubicBezTo>
                    <a:pt x="814053" y="169192"/>
                    <a:pt x="677569" y="-106742"/>
                    <a:pt x="606361" y="44577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0" name="任意多边形: 形状 289">
              <a:extLst>
                <a:ext uri="{FF2B5EF4-FFF2-40B4-BE49-F238E27FC236}">
                  <a16:creationId xmlns:a16="http://schemas.microsoft.com/office/drawing/2014/main" id="{516F205E-1141-48B6-A4CD-A51288BE1829}"/>
                </a:ext>
              </a:extLst>
            </p:cNvPr>
            <p:cNvSpPr/>
            <p:nvPr/>
          </p:nvSpPr>
          <p:spPr>
            <a:xfrm>
              <a:off x="11046294" y="2922926"/>
              <a:ext cx="145384" cy="199666"/>
            </a:xfrm>
            <a:custGeom>
              <a:avLst/>
              <a:gdLst>
                <a:gd name="connsiteX0" fmla="*/ 0 w 145384"/>
                <a:gd name="connsiteY0" fmla="*/ 875 h 199666"/>
                <a:gd name="connsiteX1" fmla="*/ 38571 w 145384"/>
                <a:gd name="connsiteY1" fmla="*/ 184831 h 199666"/>
                <a:gd name="connsiteX2" fmla="*/ 100879 w 145384"/>
                <a:gd name="connsiteY2" fmla="*/ 199666 h 199666"/>
                <a:gd name="connsiteX3" fmla="*/ 145384 w 145384"/>
                <a:gd name="connsiteY3" fmla="*/ 104721 h 199666"/>
                <a:gd name="connsiteX4" fmla="*/ 0 w 145384"/>
                <a:gd name="connsiteY4" fmla="*/ 875 h 199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384" h="199666">
                  <a:moveTo>
                    <a:pt x="0" y="875"/>
                  </a:moveTo>
                  <a:lnTo>
                    <a:pt x="38571" y="184831"/>
                  </a:lnTo>
                  <a:lnTo>
                    <a:pt x="100879" y="199666"/>
                  </a:lnTo>
                  <a:lnTo>
                    <a:pt x="145384" y="104721"/>
                  </a:lnTo>
                  <a:cubicBezTo>
                    <a:pt x="145384" y="101754"/>
                    <a:pt x="94945" y="-10993"/>
                    <a:pt x="0" y="875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1" name="任意多边形: 形状 290">
              <a:extLst>
                <a:ext uri="{FF2B5EF4-FFF2-40B4-BE49-F238E27FC236}">
                  <a16:creationId xmlns:a16="http://schemas.microsoft.com/office/drawing/2014/main" id="{9C37E47A-EB60-4129-A5F9-7F2D9473210A}"/>
                </a:ext>
              </a:extLst>
            </p:cNvPr>
            <p:cNvSpPr/>
            <p:nvPr/>
          </p:nvSpPr>
          <p:spPr>
            <a:xfrm>
              <a:off x="11337063" y="2772482"/>
              <a:ext cx="240329" cy="356043"/>
            </a:xfrm>
            <a:custGeom>
              <a:avLst/>
              <a:gdLst>
                <a:gd name="connsiteX0" fmla="*/ 240330 w 240329"/>
                <a:gd name="connsiteY0" fmla="*/ 0 h 356043"/>
                <a:gd name="connsiteX1" fmla="*/ 121649 w 240329"/>
                <a:gd name="connsiteY1" fmla="*/ 350110 h 356043"/>
                <a:gd name="connsiteX2" fmla="*/ 44505 w 240329"/>
                <a:gd name="connsiteY2" fmla="*/ 356044 h 356043"/>
                <a:gd name="connsiteX3" fmla="*/ 0 w 240329"/>
                <a:gd name="connsiteY3" fmla="*/ 243297 h 356043"/>
                <a:gd name="connsiteX4" fmla="*/ 89011 w 240329"/>
                <a:gd name="connsiteY4" fmla="*/ 109780 h 356043"/>
                <a:gd name="connsiteX5" fmla="*/ 240330 w 240329"/>
                <a:gd name="connsiteY5" fmla="*/ 0 h 356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0329" h="356043">
                  <a:moveTo>
                    <a:pt x="240330" y="0"/>
                  </a:moveTo>
                  <a:cubicBezTo>
                    <a:pt x="240330" y="0"/>
                    <a:pt x="240330" y="178022"/>
                    <a:pt x="121649" y="350110"/>
                  </a:cubicBezTo>
                  <a:lnTo>
                    <a:pt x="44505" y="356044"/>
                  </a:lnTo>
                  <a:lnTo>
                    <a:pt x="0" y="243297"/>
                  </a:lnTo>
                  <a:lnTo>
                    <a:pt x="89011" y="109780"/>
                  </a:lnTo>
                  <a:lnTo>
                    <a:pt x="240330" y="0"/>
                  </a:ln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2" name="任意多边形: 形状 291">
              <a:extLst>
                <a:ext uri="{FF2B5EF4-FFF2-40B4-BE49-F238E27FC236}">
                  <a16:creationId xmlns:a16="http://schemas.microsoft.com/office/drawing/2014/main" id="{D2B214EF-D597-46FA-BD7A-CC227A1AA0F0}"/>
                </a:ext>
              </a:extLst>
            </p:cNvPr>
            <p:cNvSpPr/>
            <p:nvPr/>
          </p:nvSpPr>
          <p:spPr>
            <a:xfrm>
              <a:off x="10716954" y="3208640"/>
              <a:ext cx="391238" cy="409447"/>
            </a:xfrm>
            <a:custGeom>
              <a:avLst/>
              <a:gdLst>
                <a:gd name="connsiteX0" fmla="*/ 341209 w 391238"/>
                <a:gd name="connsiteY0" fmla="*/ 409447 h 409447"/>
                <a:gd name="connsiteX1" fmla="*/ 335275 w 391238"/>
                <a:gd name="connsiteY1" fmla="*/ 14832 h 409447"/>
                <a:gd name="connsiteX2" fmla="*/ 0 w 391238"/>
                <a:gd name="connsiteY2" fmla="*/ 284832 h 409447"/>
                <a:gd name="connsiteX3" fmla="*/ 341209 w 391238"/>
                <a:gd name="connsiteY3" fmla="*/ 409447 h 409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1238" h="409447">
                  <a:moveTo>
                    <a:pt x="341209" y="409447"/>
                  </a:moveTo>
                  <a:cubicBezTo>
                    <a:pt x="421319" y="249227"/>
                    <a:pt x="394616" y="62304"/>
                    <a:pt x="335275" y="14832"/>
                  </a:cubicBezTo>
                  <a:cubicBezTo>
                    <a:pt x="255165" y="-47476"/>
                    <a:pt x="68242" y="94942"/>
                    <a:pt x="0" y="284832"/>
                  </a:cubicBezTo>
                  <a:cubicBezTo>
                    <a:pt x="41538" y="344172"/>
                    <a:pt x="240330" y="397579"/>
                    <a:pt x="341209" y="409447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3" name="任意多边形: 形状 292">
              <a:extLst>
                <a:ext uri="{FF2B5EF4-FFF2-40B4-BE49-F238E27FC236}">
                  <a16:creationId xmlns:a16="http://schemas.microsoft.com/office/drawing/2014/main" id="{85820A66-FA34-4E9F-A118-BEC9DFA9A93A}"/>
                </a:ext>
              </a:extLst>
            </p:cNvPr>
            <p:cNvSpPr/>
            <p:nvPr/>
          </p:nvSpPr>
          <p:spPr>
            <a:xfrm>
              <a:off x="10848581" y="3156819"/>
              <a:ext cx="798577" cy="959817"/>
            </a:xfrm>
            <a:custGeom>
              <a:avLst/>
              <a:gdLst>
                <a:gd name="connsiteX0" fmla="*/ 755515 w 798577"/>
                <a:gd name="connsiteY0" fmla="*/ 381158 h 959817"/>
                <a:gd name="connsiteX1" fmla="*/ 740680 w 798577"/>
                <a:gd name="connsiteY1" fmla="*/ 66653 h 959817"/>
                <a:gd name="connsiteX2" fmla="*/ 381670 w 798577"/>
                <a:gd name="connsiteY2" fmla="*/ 4345 h 959817"/>
                <a:gd name="connsiteX3" fmla="*/ 87933 w 798577"/>
                <a:gd name="connsiteY3" fmla="*/ 102257 h 959817"/>
                <a:gd name="connsiteX4" fmla="*/ 49362 w 798577"/>
                <a:gd name="connsiteY4" fmla="*/ 636323 h 959817"/>
                <a:gd name="connsiteX5" fmla="*/ 90900 w 798577"/>
                <a:gd name="connsiteY5" fmla="*/ 953795 h 959817"/>
                <a:gd name="connsiteX6" fmla="*/ 749582 w 798577"/>
                <a:gd name="connsiteY6" fmla="*/ 938960 h 959817"/>
                <a:gd name="connsiteX7" fmla="*/ 755515 w 798577"/>
                <a:gd name="connsiteY7" fmla="*/ 381158 h 959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8577" h="959817">
                  <a:moveTo>
                    <a:pt x="755515" y="381158"/>
                  </a:moveTo>
                  <a:cubicBezTo>
                    <a:pt x="764417" y="351488"/>
                    <a:pt x="856395" y="128960"/>
                    <a:pt x="740680" y="66653"/>
                  </a:cubicBezTo>
                  <a:cubicBezTo>
                    <a:pt x="639801" y="13246"/>
                    <a:pt x="497384" y="-10490"/>
                    <a:pt x="381670" y="4345"/>
                  </a:cubicBezTo>
                  <a:cubicBezTo>
                    <a:pt x="254087" y="19180"/>
                    <a:pt x="126505" y="39949"/>
                    <a:pt x="87933" y="102257"/>
                  </a:cubicBezTo>
                  <a:cubicBezTo>
                    <a:pt x="-21847" y="283246"/>
                    <a:pt x="-21847" y="443466"/>
                    <a:pt x="49362" y="636323"/>
                  </a:cubicBezTo>
                  <a:cubicBezTo>
                    <a:pt x="70131" y="692696"/>
                    <a:pt x="76065" y="823246"/>
                    <a:pt x="90900" y="953795"/>
                  </a:cubicBezTo>
                  <a:cubicBezTo>
                    <a:pt x="90900" y="953795"/>
                    <a:pt x="366835" y="974565"/>
                    <a:pt x="749582" y="938960"/>
                  </a:cubicBezTo>
                  <a:cubicBezTo>
                    <a:pt x="719911" y="725334"/>
                    <a:pt x="749582" y="404894"/>
                    <a:pt x="755515" y="381158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4" name="任意多边形: 形状 293">
              <a:extLst>
                <a:ext uri="{FF2B5EF4-FFF2-40B4-BE49-F238E27FC236}">
                  <a16:creationId xmlns:a16="http://schemas.microsoft.com/office/drawing/2014/main" id="{D032BC58-9784-4225-82C7-B27E6484EAFA}"/>
                </a:ext>
              </a:extLst>
            </p:cNvPr>
            <p:cNvSpPr/>
            <p:nvPr/>
          </p:nvSpPr>
          <p:spPr>
            <a:xfrm>
              <a:off x="11003324" y="2485006"/>
              <a:ext cx="313346" cy="573962"/>
            </a:xfrm>
            <a:custGeom>
              <a:avLst/>
              <a:gdLst>
                <a:gd name="connsiteX0" fmla="*/ 229893 w 313346"/>
                <a:gd name="connsiteY0" fmla="*/ 311212 h 573962"/>
                <a:gd name="connsiteX1" fmla="*/ 277366 w 313346"/>
                <a:gd name="connsiteY1" fmla="*/ 171762 h 573962"/>
                <a:gd name="connsiteX2" fmla="*/ 312971 w 313346"/>
                <a:gd name="connsiteY2" fmla="*/ 8575 h 573962"/>
                <a:gd name="connsiteX3" fmla="*/ 1432 w 313346"/>
                <a:gd name="connsiteY3" fmla="*/ 225169 h 573962"/>
                <a:gd name="connsiteX4" fmla="*/ 173520 w 313346"/>
                <a:gd name="connsiteY4" fmla="*/ 560443 h 573962"/>
                <a:gd name="connsiteX5" fmla="*/ 229893 w 313346"/>
                <a:gd name="connsiteY5" fmla="*/ 311212 h 573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3346" h="573962">
                  <a:moveTo>
                    <a:pt x="229893" y="311212"/>
                  </a:moveTo>
                  <a:cubicBezTo>
                    <a:pt x="238795" y="260773"/>
                    <a:pt x="253630" y="216267"/>
                    <a:pt x="277366" y="171762"/>
                  </a:cubicBezTo>
                  <a:cubicBezTo>
                    <a:pt x="301103" y="124289"/>
                    <a:pt x="315938" y="8575"/>
                    <a:pt x="312971" y="8575"/>
                  </a:cubicBezTo>
                  <a:cubicBezTo>
                    <a:pt x="203190" y="-29996"/>
                    <a:pt x="22201" y="64949"/>
                    <a:pt x="1432" y="225169"/>
                  </a:cubicBezTo>
                  <a:cubicBezTo>
                    <a:pt x="-7469" y="290443"/>
                    <a:pt x="22201" y="533740"/>
                    <a:pt x="173520" y="560443"/>
                  </a:cubicBezTo>
                  <a:cubicBezTo>
                    <a:pt x="268465" y="637586"/>
                    <a:pt x="223960" y="361652"/>
                    <a:pt x="229893" y="311212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5" name="任意多边形: 形状 294">
              <a:extLst>
                <a:ext uri="{FF2B5EF4-FFF2-40B4-BE49-F238E27FC236}">
                  <a16:creationId xmlns:a16="http://schemas.microsoft.com/office/drawing/2014/main" id="{E1D17952-5BAF-44B9-AFAC-7420FA695732}"/>
                </a:ext>
              </a:extLst>
            </p:cNvPr>
            <p:cNvSpPr/>
            <p:nvPr/>
          </p:nvSpPr>
          <p:spPr>
            <a:xfrm>
              <a:off x="11071181" y="2537221"/>
              <a:ext cx="411267" cy="553045"/>
            </a:xfrm>
            <a:custGeom>
              <a:avLst/>
              <a:gdLst>
                <a:gd name="connsiteX0" fmla="*/ 7751 w 411267"/>
                <a:gd name="connsiteY0" fmla="*/ 178888 h 553045"/>
                <a:gd name="connsiteX1" fmla="*/ 19619 w 411267"/>
                <a:gd name="connsiteY1" fmla="*/ 428119 h 553045"/>
                <a:gd name="connsiteX2" fmla="*/ 165003 w 411267"/>
                <a:gd name="connsiteY2" fmla="*/ 552734 h 553045"/>
                <a:gd name="connsiteX3" fmla="*/ 375663 w 411267"/>
                <a:gd name="connsiteY3" fmla="*/ 413283 h 553045"/>
                <a:gd name="connsiteX4" fmla="*/ 411268 w 411267"/>
                <a:gd name="connsiteY4" fmla="*/ 193723 h 553045"/>
                <a:gd name="connsiteX5" fmla="*/ 203575 w 411267"/>
                <a:gd name="connsiteY5" fmla="*/ 866 h 553045"/>
                <a:gd name="connsiteX6" fmla="*/ 7751 w 411267"/>
                <a:gd name="connsiteY6" fmla="*/ 178888 h 553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1267" h="553045">
                  <a:moveTo>
                    <a:pt x="7751" y="178888"/>
                  </a:moveTo>
                  <a:cubicBezTo>
                    <a:pt x="7751" y="178888"/>
                    <a:pt x="-15986" y="362844"/>
                    <a:pt x="19619" y="428119"/>
                  </a:cubicBezTo>
                  <a:cubicBezTo>
                    <a:pt x="55224" y="493393"/>
                    <a:pt x="114564" y="549767"/>
                    <a:pt x="165003" y="552734"/>
                  </a:cubicBezTo>
                  <a:cubicBezTo>
                    <a:pt x="230278" y="558668"/>
                    <a:pt x="340058" y="478558"/>
                    <a:pt x="375663" y="413283"/>
                  </a:cubicBezTo>
                  <a:cubicBezTo>
                    <a:pt x="411268" y="348009"/>
                    <a:pt x="411268" y="244163"/>
                    <a:pt x="411268" y="193723"/>
                  </a:cubicBezTo>
                  <a:cubicBezTo>
                    <a:pt x="408300" y="101745"/>
                    <a:pt x="381597" y="24602"/>
                    <a:pt x="203575" y="866"/>
                  </a:cubicBezTo>
                  <a:cubicBezTo>
                    <a:pt x="117531" y="-11002"/>
                    <a:pt x="25553" y="101745"/>
                    <a:pt x="7751" y="178888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6" name="任意多边形: 形状 295">
              <a:extLst>
                <a:ext uri="{FF2B5EF4-FFF2-40B4-BE49-F238E27FC236}">
                  <a16:creationId xmlns:a16="http://schemas.microsoft.com/office/drawing/2014/main" id="{361797BC-1100-4DCB-A344-21A11A31E130}"/>
                </a:ext>
              </a:extLst>
            </p:cNvPr>
            <p:cNvSpPr/>
            <p:nvPr/>
          </p:nvSpPr>
          <p:spPr>
            <a:xfrm>
              <a:off x="11203547" y="2800924"/>
              <a:ext cx="53407" cy="128811"/>
            </a:xfrm>
            <a:custGeom>
              <a:avLst/>
              <a:gdLst>
                <a:gd name="connsiteX0" fmla="*/ 29670 w 53407"/>
                <a:gd name="connsiteY0" fmla="*/ 128811 h 128811"/>
                <a:gd name="connsiteX1" fmla="*/ 5934 w 53407"/>
                <a:gd name="connsiteY1" fmla="*/ 122877 h 128811"/>
                <a:gd name="connsiteX2" fmla="*/ 0 w 53407"/>
                <a:gd name="connsiteY2" fmla="*/ 111009 h 128811"/>
                <a:gd name="connsiteX3" fmla="*/ 26704 w 53407"/>
                <a:gd name="connsiteY3" fmla="*/ 4196 h 128811"/>
                <a:gd name="connsiteX4" fmla="*/ 32638 w 53407"/>
                <a:gd name="connsiteY4" fmla="*/ 1229 h 128811"/>
                <a:gd name="connsiteX5" fmla="*/ 35605 w 53407"/>
                <a:gd name="connsiteY5" fmla="*/ 7163 h 128811"/>
                <a:gd name="connsiteX6" fmla="*/ 8902 w 53407"/>
                <a:gd name="connsiteY6" fmla="*/ 111009 h 128811"/>
                <a:gd name="connsiteX7" fmla="*/ 8902 w 53407"/>
                <a:gd name="connsiteY7" fmla="*/ 113976 h 128811"/>
                <a:gd name="connsiteX8" fmla="*/ 47473 w 53407"/>
                <a:gd name="connsiteY8" fmla="*/ 113976 h 128811"/>
                <a:gd name="connsiteX9" fmla="*/ 53407 w 53407"/>
                <a:gd name="connsiteY9" fmla="*/ 119910 h 128811"/>
                <a:gd name="connsiteX10" fmla="*/ 47473 w 53407"/>
                <a:gd name="connsiteY10" fmla="*/ 125844 h 128811"/>
                <a:gd name="connsiteX11" fmla="*/ 29670 w 53407"/>
                <a:gd name="connsiteY11" fmla="*/ 128811 h 128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407" h="128811">
                  <a:moveTo>
                    <a:pt x="29670" y="128811"/>
                  </a:moveTo>
                  <a:cubicBezTo>
                    <a:pt x="20770" y="128811"/>
                    <a:pt x="11869" y="128811"/>
                    <a:pt x="5934" y="122877"/>
                  </a:cubicBezTo>
                  <a:cubicBezTo>
                    <a:pt x="2967" y="119910"/>
                    <a:pt x="0" y="116943"/>
                    <a:pt x="0" y="111009"/>
                  </a:cubicBezTo>
                  <a:cubicBezTo>
                    <a:pt x="0" y="90240"/>
                    <a:pt x="26704" y="7163"/>
                    <a:pt x="26704" y="4196"/>
                  </a:cubicBezTo>
                  <a:cubicBezTo>
                    <a:pt x="26704" y="1229"/>
                    <a:pt x="29670" y="-1738"/>
                    <a:pt x="32638" y="1229"/>
                  </a:cubicBezTo>
                  <a:cubicBezTo>
                    <a:pt x="35605" y="1229"/>
                    <a:pt x="38572" y="4196"/>
                    <a:pt x="35605" y="7163"/>
                  </a:cubicBezTo>
                  <a:cubicBezTo>
                    <a:pt x="29670" y="30899"/>
                    <a:pt x="8902" y="93207"/>
                    <a:pt x="8902" y="111009"/>
                  </a:cubicBezTo>
                  <a:cubicBezTo>
                    <a:pt x="8902" y="111009"/>
                    <a:pt x="8902" y="113976"/>
                    <a:pt x="8902" y="113976"/>
                  </a:cubicBezTo>
                  <a:cubicBezTo>
                    <a:pt x="14835" y="119910"/>
                    <a:pt x="35605" y="116943"/>
                    <a:pt x="47473" y="113976"/>
                  </a:cubicBezTo>
                  <a:cubicBezTo>
                    <a:pt x="50440" y="113976"/>
                    <a:pt x="53407" y="113976"/>
                    <a:pt x="53407" y="119910"/>
                  </a:cubicBezTo>
                  <a:cubicBezTo>
                    <a:pt x="53407" y="122877"/>
                    <a:pt x="53407" y="125844"/>
                    <a:pt x="47473" y="125844"/>
                  </a:cubicBezTo>
                  <a:cubicBezTo>
                    <a:pt x="50440" y="125844"/>
                    <a:pt x="38572" y="128811"/>
                    <a:pt x="29670" y="128811"/>
                  </a:cubicBezTo>
                  <a:close/>
                </a:path>
              </a:pathLst>
            </a:custGeom>
            <a:solidFill>
              <a:srgbClr val="E58777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7" name="任意多边形: 形状 296">
              <a:extLst>
                <a:ext uri="{FF2B5EF4-FFF2-40B4-BE49-F238E27FC236}">
                  <a16:creationId xmlns:a16="http://schemas.microsoft.com/office/drawing/2014/main" id="{B576ABC1-1E81-48DD-B846-BA4BE922D3B1}"/>
                </a:ext>
              </a:extLst>
            </p:cNvPr>
            <p:cNvSpPr/>
            <p:nvPr/>
          </p:nvSpPr>
          <p:spPr>
            <a:xfrm>
              <a:off x="11185745" y="2977208"/>
              <a:ext cx="103846" cy="53406"/>
            </a:xfrm>
            <a:custGeom>
              <a:avLst/>
              <a:gdLst>
                <a:gd name="connsiteX0" fmla="*/ 103846 w 103846"/>
                <a:gd name="connsiteY0" fmla="*/ 0 h 53406"/>
                <a:gd name="connsiteX1" fmla="*/ 0 w 103846"/>
                <a:gd name="connsiteY1" fmla="*/ 0 h 53406"/>
                <a:gd name="connsiteX2" fmla="*/ 50439 w 103846"/>
                <a:gd name="connsiteY2" fmla="*/ 53407 h 53406"/>
                <a:gd name="connsiteX3" fmla="*/ 103846 w 103846"/>
                <a:gd name="connsiteY3" fmla="*/ 0 h 53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46" h="53406">
                  <a:moveTo>
                    <a:pt x="103846" y="0"/>
                  </a:moveTo>
                  <a:cubicBezTo>
                    <a:pt x="50439" y="23736"/>
                    <a:pt x="0" y="0"/>
                    <a:pt x="0" y="0"/>
                  </a:cubicBezTo>
                  <a:cubicBezTo>
                    <a:pt x="0" y="0"/>
                    <a:pt x="14835" y="53407"/>
                    <a:pt x="50439" y="53407"/>
                  </a:cubicBezTo>
                  <a:cubicBezTo>
                    <a:pt x="89011" y="53407"/>
                    <a:pt x="103846" y="0"/>
                    <a:pt x="103846" y="0"/>
                  </a:cubicBezTo>
                  <a:close/>
                </a:path>
              </a:pathLst>
            </a:custGeom>
            <a:solidFill>
              <a:srgbClr val="FFFFFF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8" name="任意多边形: 形状 297">
              <a:extLst>
                <a:ext uri="{FF2B5EF4-FFF2-40B4-BE49-F238E27FC236}">
                  <a16:creationId xmlns:a16="http://schemas.microsoft.com/office/drawing/2014/main" id="{85AB77DD-02CD-4498-94F7-AC695A086439}"/>
                </a:ext>
              </a:extLst>
            </p:cNvPr>
            <p:cNvSpPr/>
            <p:nvPr/>
          </p:nvSpPr>
          <p:spPr>
            <a:xfrm>
              <a:off x="11131582" y="2771726"/>
              <a:ext cx="40083" cy="39909"/>
            </a:xfrm>
            <a:custGeom>
              <a:avLst/>
              <a:gdLst>
                <a:gd name="connsiteX0" fmla="*/ 39328 w 40083"/>
                <a:gd name="connsiteY0" fmla="*/ 24492 h 39909"/>
                <a:gd name="connsiteX1" fmla="*/ 15591 w 40083"/>
                <a:gd name="connsiteY1" fmla="*/ 39327 h 39909"/>
                <a:gd name="connsiteX2" fmla="*/ 756 w 40083"/>
                <a:gd name="connsiteY2" fmla="*/ 15591 h 39909"/>
                <a:gd name="connsiteX3" fmla="*/ 24493 w 40083"/>
                <a:gd name="connsiteY3" fmla="*/ 756 h 39909"/>
                <a:gd name="connsiteX4" fmla="*/ 39328 w 40083"/>
                <a:gd name="connsiteY4" fmla="*/ 24492 h 3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83" h="39909">
                  <a:moveTo>
                    <a:pt x="39328" y="24492"/>
                  </a:moveTo>
                  <a:cubicBezTo>
                    <a:pt x="36361" y="33394"/>
                    <a:pt x="27459" y="42295"/>
                    <a:pt x="15591" y="39327"/>
                  </a:cubicBezTo>
                  <a:cubicBezTo>
                    <a:pt x="3723" y="36361"/>
                    <a:pt x="-2211" y="27459"/>
                    <a:pt x="756" y="15591"/>
                  </a:cubicBezTo>
                  <a:cubicBezTo>
                    <a:pt x="3723" y="3723"/>
                    <a:pt x="12624" y="-2211"/>
                    <a:pt x="24493" y="756"/>
                  </a:cubicBezTo>
                  <a:cubicBezTo>
                    <a:pt x="36361" y="3723"/>
                    <a:pt x="42294" y="15591"/>
                    <a:pt x="39328" y="24492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9" name="任意多边形: 形状 298">
              <a:extLst>
                <a:ext uri="{FF2B5EF4-FFF2-40B4-BE49-F238E27FC236}">
                  <a16:creationId xmlns:a16="http://schemas.microsoft.com/office/drawing/2014/main" id="{3B777D73-DC25-46C0-8004-3E853AB15470}"/>
                </a:ext>
              </a:extLst>
            </p:cNvPr>
            <p:cNvSpPr/>
            <p:nvPr/>
          </p:nvSpPr>
          <p:spPr>
            <a:xfrm>
              <a:off x="11318680" y="2777660"/>
              <a:ext cx="39735" cy="39909"/>
            </a:xfrm>
            <a:custGeom>
              <a:avLst/>
              <a:gdLst>
                <a:gd name="connsiteX0" fmla="*/ 39153 w 39735"/>
                <a:gd name="connsiteY0" fmla="*/ 24492 h 39909"/>
                <a:gd name="connsiteX1" fmla="*/ 15417 w 39735"/>
                <a:gd name="connsiteY1" fmla="*/ 39327 h 39909"/>
                <a:gd name="connsiteX2" fmla="*/ 582 w 39735"/>
                <a:gd name="connsiteY2" fmla="*/ 15591 h 39909"/>
                <a:gd name="connsiteX3" fmla="*/ 24318 w 39735"/>
                <a:gd name="connsiteY3" fmla="*/ 756 h 39909"/>
                <a:gd name="connsiteX4" fmla="*/ 39153 w 39735"/>
                <a:gd name="connsiteY4" fmla="*/ 24492 h 3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735" h="39909">
                  <a:moveTo>
                    <a:pt x="39153" y="24492"/>
                  </a:moveTo>
                  <a:cubicBezTo>
                    <a:pt x="36186" y="33393"/>
                    <a:pt x="27285" y="42295"/>
                    <a:pt x="15417" y="39327"/>
                  </a:cubicBezTo>
                  <a:cubicBezTo>
                    <a:pt x="6516" y="36361"/>
                    <a:pt x="-2385" y="27459"/>
                    <a:pt x="582" y="15591"/>
                  </a:cubicBezTo>
                  <a:cubicBezTo>
                    <a:pt x="3548" y="3723"/>
                    <a:pt x="12450" y="-2211"/>
                    <a:pt x="24318" y="756"/>
                  </a:cubicBezTo>
                  <a:cubicBezTo>
                    <a:pt x="33219" y="6690"/>
                    <a:pt x="42120" y="15591"/>
                    <a:pt x="39153" y="24492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0" name="任意多边形: 形状 299">
              <a:extLst>
                <a:ext uri="{FF2B5EF4-FFF2-40B4-BE49-F238E27FC236}">
                  <a16:creationId xmlns:a16="http://schemas.microsoft.com/office/drawing/2014/main" id="{49FE2FE9-2B14-4FA1-93FC-C7869511BE14}"/>
                </a:ext>
              </a:extLst>
            </p:cNvPr>
            <p:cNvSpPr/>
            <p:nvPr/>
          </p:nvSpPr>
          <p:spPr>
            <a:xfrm>
              <a:off x="11109344" y="2723526"/>
              <a:ext cx="89498" cy="34120"/>
            </a:xfrm>
            <a:custGeom>
              <a:avLst/>
              <a:gdLst>
                <a:gd name="connsiteX0" fmla="*/ 8159 w 89498"/>
                <a:gd name="connsiteY0" fmla="*/ 34121 h 34120"/>
                <a:gd name="connsiteX1" fmla="*/ 2225 w 89498"/>
                <a:gd name="connsiteY1" fmla="*/ 31154 h 34120"/>
                <a:gd name="connsiteX2" fmla="*/ 2225 w 89498"/>
                <a:gd name="connsiteY2" fmla="*/ 19286 h 34120"/>
                <a:gd name="connsiteX3" fmla="*/ 85302 w 89498"/>
                <a:gd name="connsiteY3" fmla="*/ 7418 h 34120"/>
                <a:gd name="connsiteX4" fmla="*/ 88269 w 89498"/>
                <a:gd name="connsiteY4" fmla="*/ 16319 h 34120"/>
                <a:gd name="connsiteX5" fmla="*/ 79368 w 89498"/>
                <a:gd name="connsiteY5" fmla="*/ 19286 h 34120"/>
                <a:gd name="connsiteX6" fmla="*/ 14093 w 89498"/>
                <a:gd name="connsiteY6" fmla="*/ 25220 h 34120"/>
                <a:gd name="connsiteX7" fmla="*/ 8159 w 89498"/>
                <a:gd name="connsiteY7" fmla="*/ 34121 h 34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4120">
                  <a:moveTo>
                    <a:pt x="8159" y="34121"/>
                  </a:moveTo>
                  <a:cubicBezTo>
                    <a:pt x="5192" y="34121"/>
                    <a:pt x="5192" y="34121"/>
                    <a:pt x="2225" y="31154"/>
                  </a:cubicBezTo>
                  <a:cubicBezTo>
                    <a:pt x="-742" y="28187"/>
                    <a:pt x="-742" y="22253"/>
                    <a:pt x="2225" y="19286"/>
                  </a:cubicBezTo>
                  <a:cubicBezTo>
                    <a:pt x="28929" y="-10385"/>
                    <a:pt x="67500" y="1484"/>
                    <a:pt x="85302" y="7418"/>
                  </a:cubicBezTo>
                  <a:cubicBezTo>
                    <a:pt x="88269" y="10385"/>
                    <a:pt x="91236" y="13352"/>
                    <a:pt x="88269" y="16319"/>
                  </a:cubicBezTo>
                  <a:cubicBezTo>
                    <a:pt x="85302" y="19286"/>
                    <a:pt x="82335" y="22253"/>
                    <a:pt x="79368" y="19286"/>
                  </a:cubicBezTo>
                  <a:cubicBezTo>
                    <a:pt x="76401" y="19286"/>
                    <a:pt x="37829" y="-1484"/>
                    <a:pt x="14093" y="25220"/>
                  </a:cubicBezTo>
                  <a:cubicBezTo>
                    <a:pt x="11126" y="34121"/>
                    <a:pt x="8159" y="34121"/>
                    <a:pt x="8159" y="34121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1" name="任意多边形: 形状 300">
              <a:extLst>
                <a:ext uri="{FF2B5EF4-FFF2-40B4-BE49-F238E27FC236}">
                  <a16:creationId xmlns:a16="http://schemas.microsoft.com/office/drawing/2014/main" id="{E5380511-42A3-4519-9C99-0A8D47EA7DB9}"/>
                </a:ext>
              </a:extLst>
            </p:cNvPr>
            <p:cNvSpPr/>
            <p:nvPr/>
          </p:nvSpPr>
          <p:spPr>
            <a:xfrm>
              <a:off x="11291329" y="2725312"/>
              <a:ext cx="89498" cy="35302"/>
            </a:xfrm>
            <a:custGeom>
              <a:avLst/>
              <a:gdLst>
                <a:gd name="connsiteX0" fmla="*/ 84306 w 89498"/>
                <a:gd name="connsiteY0" fmla="*/ 35303 h 35302"/>
                <a:gd name="connsiteX1" fmla="*/ 78372 w 89498"/>
                <a:gd name="connsiteY1" fmla="*/ 32335 h 35302"/>
                <a:gd name="connsiteX2" fmla="*/ 13098 w 89498"/>
                <a:gd name="connsiteY2" fmla="*/ 26401 h 35302"/>
                <a:gd name="connsiteX3" fmla="*/ 1229 w 89498"/>
                <a:gd name="connsiteY3" fmla="*/ 23434 h 35302"/>
                <a:gd name="connsiteX4" fmla="*/ 4196 w 89498"/>
                <a:gd name="connsiteY4" fmla="*/ 11566 h 35302"/>
                <a:gd name="connsiteX5" fmla="*/ 87273 w 89498"/>
                <a:gd name="connsiteY5" fmla="*/ 20467 h 35302"/>
                <a:gd name="connsiteX6" fmla="*/ 87273 w 89498"/>
                <a:gd name="connsiteY6" fmla="*/ 32335 h 35302"/>
                <a:gd name="connsiteX7" fmla="*/ 84306 w 89498"/>
                <a:gd name="connsiteY7" fmla="*/ 35303 h 35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302">
                  <a:moveTo>
                    <a:pt x="84306" y="35303"/>
                  </a:moveTo>
                  <a:cubicBezTo>
                    <a:pt x="81339" y="35303"/>
                    <a:pt x="81339" y="35303"/>
                    <a:pt x="78372" y="32335"/>
                  </a:cubicBezTo>
                  <a:cubicBezTo>
                    <a:pt x="78372" y="32335"/>
                    <a:pt x="48701" y="2665"/>
                    <a:pt x="13098" y="26401"/>
                  </a:cubicBezTo>
                  <a:cubicBezTo>
                    <a:pt x="10130" y="29368"/>
                    <a:pt x="4196" y="26401"/>
                    <a:pt x="1229" y="23434"/>
                  </a:cubicBezTo>
                  <a:cubicBezTo>
                    <a:pt x="-1738" y="20467"/>
                    <a:pt x="1229" y="14533"/>
                    <a:pt x="4196" y="11566"/>
                  </a:cubicBezTo>
                  <a:cubicBezTo>
                    <a:pt x="39801" y="-12170"/>
                    <a:pt x="75404" y="5632"/>
                    <a:pt x="87273" y="20467"/>
                  </a:cubicBezTo>
                  <a:cubicBezTo>
                    <a:pt x="90240" y="23434"/>
                    <a:pt x="90240" y="29368"/>
                    <a:pt x="87273" y="32335"/>
                  </a:cubicBezTo>
                  <a:cubicBezTo>
                    <a:pt x="87273" y="35303"/>
                    <a:pt x="87273" y="35303"/>
                    <a:pt x="84306" y="35303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2" name="任意多边形: 形状 301">
              <a:extLst>
                <a:ext uri="{FF2B5EF4-FFF2-40B4-BE49-F238E27FC236}">
                  <a16:creationId xmlns:a16="http://schemas.microsoft.com/office/drawing/2014/main" id="{4E43A7C8-87A4-425F-B275-03BF7E73C2FF}"/>
                </a:ext>
              </a:extLst>
            </p:cNvPr>
            <p:cNvSpPr/>
            <p:nvPr/>
          </p:nvSpPr>
          <p:spPr>
            <a:xfrm>
              <a:off x="11052005" y="2488529"/>
              <a:ext cx="267337" cy="269118"/>
            </a:xfrm>
            <a:custGeom>
              <a:avLst/>
              <a:gdLst>
                <a:gd name="connsiteX0" fmla="*/ 264290 w 267337"/>
                <a:gd name="connsiteY0" fmla="*/ 2086 h 269118"/>
                <a:gd name="connsiteX1" fmla="*/ 231652 w 267337"/>
                <a:gd name="connsiteY1" fmla="*/ 144503 h 269118"/>
                <a:gd name="connsiteX2" fmla="*/ 224 w 267337"/>
                <a:gd name="connsiteY2" fmla="*/ 269119 h 269118"/>
                <a:gd name="connsiteX3" fmla="*/ 264290 w 267337"/>
                <a:gd name="connsiteY3" fmla="*/ 2086 h 269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337" h="269118">
                  <a:moveTo>
                    <a:pt x="264290" y="2086"/>
                  </a:moveTo>
                  <a:cubicBezTo>
                    <a:pt x="264290" y="2086"/>
                    <a:pt x="282092" y="105932"/>
                    <a:pt x="231652" y="144503"/>
                  </a:cubicBezTo>
                  <a:cubicBezTo>
                    <a:pt x="231652" y="144503"/>
                    <a:pt x="26927" y="186042"/>
                    <a:pt x="224" y="269119"/>
                  </a:cubicBezTo>
                  <a:cubicBezTo>
                    <a:pt x="224" y="269119"/>
                    <a:pt x="-17578" y="-27585"/>
                    <a:pt x="264290" y="2086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3" name="任意多边形: 形状 302">
              <a:extLst>
                <a:ext uri="{FF2B5EF4-FFF2-40B4-BE49-F238E27FC236}">
                  <a16:creationId xmlns:a16="http://schemas.microsoft.com/office/drawing/2014/main" id="{877478C0-2D56-48AB-89AF-7995E2861824}"/>
                </a:ext>
              </a:extLst>
            </p:cNvPr>
            <p:cNvSpPr/>
            <p:nvPr/>
          </p:nvSpPr>
          <p:spPr>
            <a:xfrm>
              <a:off x="11283657" y="2490614"/>
              <a:ext cx="289156" cy="341656"/>
            </a:xfrm>
            <a:custGeom>
              <a:avLst/>
              <a:gdLst>
                <a:gd name="connsiteX0" fmla="*/ 0 w 289156"/>
                <a:gd name="connsiteY0" fmla="*/ 142418 h 341656"/>
                <a:gd name="connsiteX1" fmla="*/ 136484 w 289156"/>
                <a:gd name="connsiteY1" fmla="*/ 195824 h 341656"/>
                <a:gd name="connsiteX2" fmla="*/ 192857 w 289156"/>
                <a:gd name="connsiteY2" fmla="*/ 311538 h 341656"/>
                <a:gd name="connsiteX3" fmla="*/ 278901 w 289156"/>
                <a:gd name="connsiteY3" fmla="*/ 332308 h 341656"/>
                <a:gd name="connsiteX4" fmla="*/ 29670 w 289156"/>
                <a:gd name="connsiteY4" fmla="*/ 0 h 341656"/>
                <a:gd name="connsiteX5" fmla="*/ 0 w 289156"/>
                <a:gd name="connsiteY5" fmla="*/ 142418 h 341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156" h="341656">
                  <a:moveTo>
                    <a:pt x="0" y="142418"/>
                  </a:moveTo>
                  <a:cubicBezTo>
                    <a:pt x="0" y="142418"/>
                    <a:pt x="89011" y="189890"/>
                    <a:pt x="136484" y="195824"/>
                  </a:cubicBezTo>
                  <a:cubicBezTo>
                    <a:pt x="186923" y="201758"/>
                    <a:pt x="192857" y="311538"/>
                    <a:pt x="192857" y="311538"/>
                  </a:cubicBezTo>
                  <a:cubicBezTo>
                    <a:pt x="192857" y="311538"/>
                    <a:pt x="264066" y="361978"/>
                    <a:pt x="278901" y="332308"/>
                  </a:cubicBezTo>
                  <a:cubicBezTo>
                    <a:pt x="311538" y="267033"/>
                    <a:pt x="275934" y="0"/>
                    <a:pt x="29670" y="0"/>
                  </a:cubicBezTo>
                  <a:cubicBezTo>
                    <a:pt x="32638" y="0"/>
                    <a:pt x="23736" y="136484"/>
                    <a:pt x="0" y="142418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4" name="任意多边形: 形状 303">
              <a:extLst>
                <a:ext uri="{FF2B5EF4-FFF2-40B4-BE49-F238E27FC236}">
                  <a16:creationId xmlns:a16="http://schemas.microsoft.com/office/drawing/2014/main" id="{57E89543-40CD-488D-B1CF-081B7D2E93AC}"/>
                </a:ext>
              </a:extLst>
            </p:cNvPr>
            <p:cNvSpPr/>
            <p:nvPr/>
          </p:nvSpPr>
          <p:spPr>
            <a:xfrm>
              <a:off x="11280690" y="2490614"/>
              <a:ext cx="148351" cy="201758"/>
            </a:xfrm>
            <a:custGeom>
              <a:avLst/>
              <a:gdLst>
                <a:gd name="connsiteX0" fmla="*/ 142418 w 148351"/>
                <a:gd name="connsiteY0" fmla="*/ 201758 h 201758"/>
                <a:gd name="connsiteX1" fmla="*/ 142418 w 148351"/>
                <a:gd name="connsiteY1" fmla="*/ 201758 h 201758"/>
                <a:gd name="connsiteX2" fmla="*/ 47473 w 148351"/>
                <a:gd name="connsiteY2" fmla="*/ 169121 h 201758"/>
                <a:gd name="connsiteX3" fmla="*/ 2967 w 148351"/>
                <a:gd name="connsiteY3" fmla="*/ 145385 h 201758"/>
                <a:gd name="connsiteX4" fmla="*/ 0 w 148351"/>
                <a:gd name="connsiteY4" fmla="*/ 142418 h 201758"/>
                <a:gd name="connsiteX5" fmla="*/ 0 w 148351"/>
                <a:gd name="connsiteY5" fmla="*/ 139451 h 201758"/>
                <a:gd name="connsiteX6" fmla="*/ 17802 w 148351"/>
                <a:gd name="connsiteY6" fmla="*/ 115714 h 201758"/>
                <a:gd name="connsiteX7" fmla="*/ 26703 w 148351"/>
                <a:gd name="connsiteY7" fmla="*/ 77143 h 201758"/>
                <a:gd name="connsiteX8" fmla="*/ 29670 w 148351"/>
                <a:gd name="connsiteY8" fmla="*/ 41539 h 201758"/>
                <a:gd name="connsiteX9" fmla="*/ 32638 w 148351"/>
                <a:gd name="connsiteY9" fmla="*/ 5934 h 201758"/>
                <a:gd name="connsiteX10" fmla="*/ 38572 w 148351"/>
                <a:gd name="connsiteY10" fmla="*/ 0 h 201758"/>
                <a:gd name="connsiteX11" fmla="*/ 44505 w 148351"/>
                <a:gd name="connsiteY11" fmla="*/ 5934 h 201758"/>
                <a:gd name="connsiteX12" fmla="*/ 41538 w 148351"/>
                <a:gd name="connsiteY12" fmla="*/ 41539 h 201758"/>
                <a:gd name="connsiteX13" fmla="*/ 38572 w 148351"/>
                <a:gd name="connsiteY13" fmla="*/ 80110 h 201758"/>
                <a:gd name="connsiteX14" fmla="*/ 26703 w 148351"/>
                <a:gd name="connsiteY14" fmla="*/ 121648 h 201758"/>
                <a:gd name="connsiteX15" fmla="*/ 11868 w 148351"/>
                <a:gd name="connsiteY15" fmla="*/ 142418 h 201758"/>
                <a:gd name="connsiteX16" fmla="*/ 50440 w 148351"/>
                <a:gd name="connsiteY16" fmla="*/ 163187 h 201758"/>
                <a:gd name="connsiteX17" fmla="*/ 142418 w 148351"/>
                <a:gd name="connsiteY17" fmla="*/ 192857 h 201758"/>
                <a:gd name="connsiteX18" fmla="*/ 148352 w 148351"/>
                <a:gd name="connsiteY18" fmla="*/ 198791 h 201758"/>
                <a:gd name="connsiteX19" fmla="*/ 142418 w 148351"/>
                <a:gd name="connsiteY19" fmla="*/ 201758 h 20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8351" h="201758">
                  <a:moveTo>
                    <a:pt x="142418" y="201758"/>
                  </a:moveTo>
                  <a:cubicBezTo>
                    <a:pt x="142418" y="201758"/>
                    <a:pt x="142418" y="201758"/>
                    <a:pt x="142418" y="201758"/>
                  </a:cubicBezTo>
                  <a:cubicBezTo>
                    <a:pt x="112748" y="198791"/>
                    <a:pt x="80110" y="186923"/>
                    <a:pt x="47473" y="169121"/>
                  </a:cubicBezTo>
                  <a:cubicBezTo>
                    <a:pt x="20770" y="157253"/>
                    <a:pt x="2967" y="145385"/>
                    <a:pt x="2967" y="145385"/>
                  </a:cubicBezTo>
                  <a:cubicBezTo>
                    <a:pt x="2967" y="145385"/>
                    <a:pt x="0" y="142418"/>
                    <a:pt x="0" y="142418"/>
                  </a:cubicBezTo>
                  <a:cubicBezTo>
                    <a:pt x="0" y="139451"/>
                    <a:pt x="0" y="139451"/>
                    <a:pt x="0" y="139451"/>
                  </a:cubicBezTo>
                  <a:cubicBezTo>
                    <a:pt x="5934" y="133516"/>
                    <a:pt x="11868" y="124615"/>
                    <a:pt x="17802" y="115714"/>
                  </a:cubicBezTo>
                  <a:cubicBezTo>
                    <a:pt x="23737" y="103846"/>
                    <a:pt x="26703" y="89011"/>
                    <a:pt x="26703" y="77143"/>
                  </a:cubicBezTo>
                  <a:cubicBezTo>
                    <a:pt x="26703" y="71209"/>
                    <a:pt x="26703" y="56374"/>
                    <a:pt x="29670" y="41539"/>
                  </a:cubicBezTo>
                  <a:cubicBezTo>
                    <a:pt x="29670" y="26703"/>
                    <a:pt x="29670" y="11868"/>
                    <a:pt x="32638" y="5934"/>
                  </a:cubicBezTo>
                  <a:cubicBezTo>
                    <a:pt x="32638" y="2967"/>
                    <a:pt x="35605" y="0"/>
                    <a:pt x="38572" y="0"/>
                  </a:cubicBezTo>
                  <a:cubicBezTo>
                    <a:pt x="41538" y="0"/>
                    <a:pt x="44505" y="2967"/>
                    <a:pt x="44505" y="5934"/>
                  </a:cubicBezTo>
                  <a:cubicBezTo>
                    <a:pt x="44505" y="11868"/>
                    <a:pt x="44505" y="26703"/>
                    <a:pt x="41538" y="41539"/>
                  </a:cubicBezTo>
                  <a:cubicBezTo>
                    <a:pt x="41538" y="56374"/>
                    <a:pt x="41538" y="71209"/>
                    <a:pt x="38572" y="80110"/>
                  </a:cubicBezTo>
                  <a:cubicBezTo>
                    <a:pt x="35605" y="94945"/>
                    <a:pt x="35605" y="109780"/>
                    <a:pt x="26703" y="121648"/>
                  </a:cubicBezTo>
                  <a:cubicBezTo>
                    <a:pt x="23737" y="127582"/>
                    <a:pt x="17802" y="136484"/>
                    <a:pt x="11868" y="142418"/>
                  </a:cubicBezTo>
                  <a:cubicBezTo>
                    <a:pt x="17802" y="145385"/>
                    <a:pt x="32638" y="154286"/>
                    <a:pt x="50440" y="163187"/>
                  </a:cubicBezTo>
                  <a:cubicBezTo>
                    <a:pt x="83077" y="178022"/>
                    <a:pt x="115714" y="189890"/>
                    <a:pt x="142418" y="192857"/>
                  </a:cubicBezTo>
                  <a:cubicBezTo>
                    <a:pt x="145384" y="192857"/>
                    <a:pt x="148352" y="195824"/>
                    <a:pt x="148352" y="198791"/>
                  </a:cubicBezTo>
                  <a:cubicBezTo>
                    <a:pt x="148352" y="198791"/>
                    <a:pt x="145384" y="201758"/>
                    <a:pt x="142418" y="201758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5" name="任意多边形: 形状 304">
              <a:extLst>
                <a:ext uri="{FF2B5EF4-FFF2-40B4-BE49-F238E27FC236}">
                  <a16:creationId xmlns:a16="http://schemas.microsoft.com/office/drawing/2014/main" id="{23B599B5-984A-4BEA-B7B3-0AE6B5153AE3}"/>
                </a:ext>
              </a:extLst>
            </p:cNvPr>
            <p:cNvSpPr/>
            <p:nvPr/>
          </p:nvSpPr>
          <p:spPr>
            <a:xfrm>
              <a:off x="11123437" y="2983142"/>
              <a:ext cx="302636" cy="317472"/>
            </a:xfrm>
            <a:custGeom>
              <a:avLst/>
              <a:gdLst>
                <a:gd name="connsiteX0" fmla="*/ 53406 w 302636"/>
                <a:gd name="connsiteY0" fmla="*/ 59341 h 317472"/>
                <a:gd name="connsiteX1" fmla="*/ 0 w 302636"/>
                <a:gd name="connsiteY1" fmla="*/ 195824 h 317472"/>
                <a:gd name="connsiteX2" fmla="*/ 112747 w 302636"/>
                <a:gd name="connsiteY2" fmla="*/ 317472 h 317472"/>
                <a:gd name="connsiteX3" fmla="*/ 302637 w 302636"/>
                <a:gd name="connsiteY3" fmla="*/ 180989 h 317472"/>
                <a:gd name="connsiteX4" fmla="*/ 252198 w 302636"/>
                <a:gd name="connsiteY4" fmla="*/ 0 h 317472"/>
                <a:gd name="connsiteX5" fmla="*/ 53406 w 302636"/>
                <a:gd name="connsiteY5" fmla="*/ 59341 h 317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636" h="317472">
                  <a:moveTo>
                    <a:pt x="53406" y="59341"/>
                  </a:moveTo>
                  <a:cubicBezTo>
                    <a:pt x="53406" y="59341"/>
                    <a:pt x="59341" y="166154"/>
                    <a:pt x="0" y="195824"/>
                  </a:cubicBezTo>
                  <a:lnTo>
                    <a:pt x="112747" y="317472"/>
                  </a:lnTo>
                  <a:cubicBezTo>
                    <a:pt x="112747" y="317472"/>
                    <a:pt x="249231" y="210659"/>
                    <a:pt x="302637" y="180989"/>
                  </a:cubicBezTo>
                  <a:cubicBezTo>
                    <a:pt x="249231" y="139450"/>
                    <a:pt x="252198" y="59341"/>
                    <a:pt x="252198" y="0"/>
                  </a:cubicBezTo>
                  <a:cubicBezTo>
                    <a:pt x="252198" y="0"/>
                    <a:pt x="106813" y="68242"/>
                    <a:pt x="53406" y="59341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6" name="任意多边形: 形状 305">
              <a:extLst>
                <a:ext uri="{FF2B5EF4-FFF2-40B4-BE49-F238E27FC236}">
                  <a16:creationId xmlns:a16="http://schemas.microsoft.com/office/drawing/2014/main" id="{604AC029-9B71-45EC-97F4-CC372BDDA5B2}"/>
                </a:ext>
              </a:extLst>
            </p:cNvPr>
            <p:cNvSpPr/>
            <p:nvPr/>
          </p:nvSpPr>
          <p:spPr>
            <a:xfrm>
              <a:off x="11168685" y="3020484"/>
              <a:ext cx="217080" cy="78371"/>
            </a:xfrm>
            <a:custGeom>
              <a:avLst/>
              <a:gdLst>
                <a:gd name="connsiteX0" fmla="*/ 70467 w 217080"/>
                <a:gd name="connsiteY0" fmla="*/ 78372 h 78371"/>
                <a:gd name="connsiteX1" fmla="*/ 2225 w 217080"/>
                <a:gd name="connsiteY1" fmla="*/ 51669 h 78371"/>
                <a:gd name="connsiteX2" fmla="*/ 2225 w 217080"/>
                <a:gd name="connsiteY2" fmla="*/ 42767 h 78371"/>
                <a:gd name="connsiteX3" fmla="*/ 11126 w 217080"/>
                <a:gd name="connsiteY3" fmla="*/ 42767 h 78371"/>
                <a:gd name="connsiteX4" fmla="*/ 79368 w 217080"/>
                <a:gd name="connsiteY4" fmla="*/ 66504 h 78371"/>
                <a:gd name="connsiteX5" fmla="*/ 206951 w 217080"/>
                <a:gd name="connsiteY5" fmla="*/ 1229 h 78371"/>
                <a:gd name="connsiteX6" fmla="*/ 215851 w 217080"/>
                <a:gd name="connsiteY6" fmla="*/ 4196 h 78371"/>
                <a:gd name="connsiteX7" fmla="*/ 212884 w 217080"/>
                <a:gd name="connsiteY7" fmla="*/ 13097 h 78371"/>
                <a:gd name="connsiteX8" fmla="*/ 79368 w 217080"/>
                <a:gd name="connsiteY8" fmla="*/ 78372 h 78371"/>
                <a:gd name="connsiteX9" fmla="*/ 70467 w 217080"/>
                <a:gd name="connsiteY9" fmla="*/ 78372 h 78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080" h="78371">
                  <a:moveTo>
                    <a:pt x="70467" y="78372"/>
                  </a:moveTo>
                  <a:cubicBezTo>
                    <a:pt x="31896" y="78372"/>
                    <a:pt x="5192" y="51669"/>
                    <a:pt x="2225" y="51669"/>
                  </a:cubicBezTo>
                  <a:cubicBezTo>
                    <a:pt x="-742" y="48702"/>
                    <a:pt x="-742" y="45735"/>
                    <a:pt x="2225" y="42767"/>
                  </a:cubicBezTo>
                  <a:cubicBezTo>
                    <a:pt x="5192" y="39800"/>
                    <a:pt x="8159" y="39800"/>
                    <a:pt x="11126" y="42767"/>
                  </a:cubicBezTo>
                  <a:cubicBezTo>
                    <a:pt x="11126" y="42767"/>
                    <a:pt x="43764" y="72438"/>
                    <a:pt x="79368" y="66504"/>
                  </a:cubicBezTo>
                  <a:cubicBezTo>
                    <a:pt x="117940" y="60570"/>
                    <a:pt x="206951" y="1229"/>
                    <a:pt x="206951" y="1229"/>
                  </a:cubicBezTo>
                  <a:cubicBezTo>
                    <a:pt x="209918" y="-1738"/>
                    <a:pt x="212884" y="1229"/>
                    <a:pt x="215851" y="4196"/>
                  </a:cubicBezTo>
                  <a:cubicBezTo>
                    <a:pt x="218818" y="7163"/>
                    <a:pt x="215851" y="10130"/>
                    <a:pt x="212884" y="13097"/>
                  </a:cubicBezTo>
                  <a:cubicBezTo>
                    <a:pt x="209918" y="16064"/>
                    <a:pt x="120907" y="75405"/>
                    <a:pt x="79368" y="78372"/>
                  </a:cubicBezTo>
                  <a:cubicBezTo>
                    <a:pt x="76401" y="78372"/>
                    <a:pt x="73434" y="78372"/>
                    <a:pt x="70467" y="78372"/>
                  </a:cubicBezTo>
                  <a:close/>
                </a:path>
              </a:pathLst>
            </a:custGeom>
            <a:solidFill>
              <a:srgbClr val="E58777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7" name="任意多边形: 形状 306">
              <a:extLst>
                <a:ext uri="{FF2B5EF4-FFF2-40B4-BE49-F238E27FC236}">
                  <a16:creationId xmlns:a16="http://schemas.microsoft.com/office/drawing/2014/main" id="{E5FEC19B-092D-409E-970F-CC0B035248CB}"/>
                </a:ext>
              </a:extLst>
            </p:cNvPr>
            <p:cNvSpPr/>
            <p:nvPr/>
          </p:nvSpPr>
          <p:spPr>
            <a:xfrm>
              <a:off x="10849665" y="3256109"/>
              <a:ext cx="98717" cy="540000"/>
            </a:xfrm>
            <a:custGeom>
              <a:avLst/>
              <a:gdLst>
                <a:gd name="connsiteX0" fmla="*/ 54212 w 98717"/>
                <a:gd name="connsiteY0" fmla="*/ 540000 h 540000"/>
                <a:gd name="connsiteX1" fmla="*/ 48277 w 98717"/>
                <a:gd name="connsiteY1" fmla="*/ 537033 h 540000"/>
                <a:gd name="connsiteX2" fmla="*/ 33442 w 98717"/>
                <a:gd name="connsiteY2" fmla="*/ 483626 h 540000"/>
                <a:gd name="connsiteX3" fmla="*/ 805 w 98717"/>
                <a:gd name="connsiteY3" fmla="*/ 338242 h 540000"/>
                <a:gd name="connsiteX4" fmla="*/ 86848 w 98717"/>
                <a:gd name="connsiteY4" fmla="*/ 2967 h 540000"/>
                <a:gd name="connsiteX5" fmla="*/ 95750 w 98717"/>
                <a:gd name="connsiteY5" fmla="*/ 0 h 540000"/>
                <a:gd name="connsiteX6" fmla="*/ 98717 w 98717"/>
                <a:gd name="connsiteY6" fmla="*/ 8901 h 540000"/>
                <a:gd name="connsiteX7" fmla="*/ 12673 w 98717"/>
                <a:gd name="connsiteY7" fmla="*/ 338242 h 540000"/>
                <a:gd name="connsiteX8" fmla="*/ 45310 w 98717"/>
                <a:gd name="connsiteY8" fmla="*/ 483626 h 540000"/>
                <a:gd name="connsiteX9" fmla="*/ 60145 w 98717"/>
                <a:gd name="connsiteY9" fmla="*/ 537033 h 540000"/>
                <a:gd name="connsiteX10" fmla="*/ 54212 w 98717"/>
                <a:gd name="connsiteY10" fmla="*/ 540000 h 540000"/>
                <a:gd name="connsiteX11" fmla="*/ 54212 w 98717"/>
                <a:gd name="connsiteY11" fmla="*/ 540000 h 5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8717" h="540000">
                  <a:moveTo>
                    <a:pt x="54212" y="540000"/>
                  </a:moveTo>
                  <a:cubicBezTo>
                    <a:pt x="51245" y="540000"/>
                    <a:pt x="48277" y="537033"/>
                    <a:pt x="48277" y="537033"/>
                  </a:cubicBezTo>
                  <a:cubicBezTo>
                    <a:pt x="42343" y="519231"/>
                    <a:pt x="39377" y="501429"/>
                    <a:pt x="33442" y="483626"/>
                  </a:cubicBezTo>
                  <a:cubicBezTo>
                    <a:pt x="18607" y="433187"/>
                    <a:pt x="3772" y="382747"/>
                    <a:pt x="805" y="338242"/>
                  </a:cubicBezTo>
                  <a:cubicBezTo>
                    <a:pt x="-5129" y="216594"/>
                    <a:pt x="21574" y="103846"/>
                    <a:pt x="86848" y="2967"/>
                  </a:cubicBezTo>
                  <a:cubicBezTo>
                    <a:pt x="89816" y="0"/>
                    <a:pt x="92783" y="0"/>
                    <a:pt x="95750" y="0"/>
                  </a:cubicBezTo>
                  <a:cubicBezTo>
                    <a:pt x="98717" y="2967"/>
                    <a:pt x="98717" y="5934"/>
                    <a:pt x="98717" y="8901"/>
                  </a:cubicBezTo>
                  <a:cubicBezTo>
                    <a:pt x="36409" y="109780"/>
                    <a:pt x="6739" y="219560"/>
                    <a:pt x="12673" y="338242"/>
                  </a:cubicBezTo>
                  <a:cubicBezTo>
                    <a:pt x="15640" y="382747"/>
                    <a:pt x="30475" y="433187"/>
                    <a:pt x="45310" y="483626"/>
                  </a:cubicBezTo>
                  <a:cubicBezTo>
                    <a:pt x="51245" y="501429"/>
                    <a:pt x="57178" y="519231"/>
                    <a:pt x="60145" y="537033"/>
                  </a:cubicBezTo>
                  <a:cubicBezTo>
                    <a:pt x="60145" y="537033"/>
                    <a:pt x="57178" y="540000"/>
                    <a:pt x="54212" y="540000"/>
                  </a:cubicBezTo>
                  <a:cubicBezTo>
                    <a:pt x="54212" y="540000"/>
                    <a:pt x="54212" y="540000"/>
                    <a:pt x="54212" y="540000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8" name="任意多边形: 形状 307">
              <a:extLst>
                <a:ext uri="{FF2B5EF4-FFF2-40B4-BE49-F238E27FC236}">
                  <a16:creationId xmlns:a16="http://schemas.microsoft.com/office/drawing/2014/main" id="{172D04D5-C186-493D-959A-BB96B23E56C7}"/>
                </a:ext>
              </a:extLst>
            </p:cNvPr>
            <p:cNvSpPr/>
            <p:nvPr/>
          </p:nvSpPr>
          <p:spPr>
            <a:xfrm>
              <a:off x="10966184" y="3683550"/>
              <a:ext cx="389910" cy="35415"/>
            </a:xfrm>
            <a:custGeom>
              <a:avLst/>
              <a:gdLst>
                <a:gd name="connsiteX0" fmla="*/ 5934 w 389910"/>
                <a:gd name="connsiteY0" fmla="*/ 35416 h 35415"/>
                <a:gd name="connsiteX1" fmla="*/ 0 w 389910"/>
                <a:gd name="connsiteY1" fmla="*/ 32449 h 35415"/>
                <a:gd name="connsiteX2" fmla="*/ 2967 w 389910"/>
                <a:gd name="connsiteY2" fmla="*/ 26515 h 35415"/>
                <a:gd name="connsiteX3" fmla="*/ 385714 w 389910"/>
                <a:gd name="connsiteY3" fmla="*/ 14646 h 35415"/>
                <a:gd name="connsiteX4" fmla="*/ 388682 w 389910"/>
                <a:gd name="connsiteY4" fmla="*/ 20580 h 35415"/>
                <a:gd name="connsiteX5" fmla="*/ 382748 w 389910"/>
                <a:gd name="connsiteY5" fmla="*/ 23548 h 35415"/>
                <a:gd name="connsiteX6" fmla="*/ 5934 w 389910"/>
                <a:gd name="connsiteY6" fmla="*/ 35416 h 35415"/>
                <a:gd name="connsiteX7" fmla="*/ 5934 w 389910"/>
                <a:gd name="connsiteY7" fmla="*/ 35416 h 3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9910" h="35415">
                  <a:moveTo>
                    <a:pt x="5934" y="35416"/>
                  </a:moveTo>
                  <a:cubicBezTo>
                    <a:pt x="2967" y="35416"/>
                    <a:pt x="2967" y="35416"/>
                    <a:pt x="0" y="32449"/>
                  </a:cubicBezTo>
                  <a:cubicBezTo>
                    <a:pt x="0" y="29482"/>
                    <a:pt x="0" y="26515"/>
                    <a:pt x="2967" y="26515"/>
                  </a:cubicBezTo>
                  <a:cubicBezTo>
                    <a:pt x="86045" y="-3156"/>
                    <a:pt x="287803" y="-9090"/>
                    <a:pt x="385714" y="14646"/>
                  </a:cubicBezTo>
                  <a:cubicBezTo>
                    <a:pt x="388682" y="14646"/>
                    <a:pt x="391649" y="17613"/>
                    <a:pt x="388682" y="20580"/>
                  </a:cubicBezTo>
                  <a:cubicBezTo>
                    <a:pt x="388682" y="23548"/>
                    <a:pt x="385714" y="26515"/>
                    <a:pt x="382748" y="23548"/>
                  </a:cubicBezTo>
                  <a:cubicBezTo>
                    <a:pt x="290770" y="2778"/>
                    <a:pt x="89011" y="8712"/>
                    <a:pt x="5934" y="35416"/>
                  </a:cubicBezTo>
                  <a:cubicBezTo>
                    <a:pt x="8902" y="35416"/>
                    <a:pt x="5934" y="35416"/>
                    <a:pt x="5934" y="35416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9" name="任意多边形: 形状 308">
              <a:extLst>
                <a:ext uri="{FF2B5EF4-FFF2-40B4-BE49-F238E27FC236}">
                  <a16:creationId xmlns:a16="http://schemas.microsoft.com/office/drawing/2014/main" id="{7C8455B7-648F-429A-9B8F-E1178D218EC3}"/>
                </a:ext>
              </a:extLst>
            </p:cNvPr>
            <p:cNvSpPr/>
            <p:nvPr/>
          </p:nvSpPr>
          <p:spPr>
            <a:xfrm>
              <a:off x="11442558" y="2788840"/>
              <a:ext cx="76821" cy="110991"/>
            </a:xfrm>
            <a:custGeom>
              <a:avLst/>
              <a:gdLst>
                <a:gd name="connsiteX0" fmla="*/ 13187 w 76821"/>
                <a:gd name="connsiteY0" fmla="*/ 16280 h 110991"/>
                <a:gd name="connsiteX1" fmla="*/ 69561 w 76821"/>
                <a:gd name="connsiteY1" fmla="*/ 7379 h 110991"/>
                <a:gd name="connsiteX2" fmla="*/ 13187 w 76821"/>
                <a:gd name="connsiteY2" fmla="*/ 108258 h 110991"/>
                <a:gd name="connsiteX3" fmla="*/ 13187 w 76821"/>
                <a:gd name="connsiteY3" fmla="*/ 16280 h 11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821" h="110991">
                  <a:moveTo>
                    <a:pt x="13187" y="16280"/>
                  </a:moveTo>
                  <a:cubicBezTo>
                    <a:pt x="13187" y="16280"/>
                    <a:pt x="45824" y="-13390"/>
                    <a:pt x="69561" y="7379"/>
                  </a:cubicBezTo>
                  <a:cubicBezTo>
                    <a:pt x="93297" y="25181"/>
                    <a:pt x="54726" y="129027"/>
                    <a:pt x="13187" y="108258"/>
                  </a:cubicBezTo>
                  <a:cubicBezTo>
                    <a:pt x="-16484" y="87489"/>
                    <a:pt x="13187" y="16280"/>
                    <a:pt x="13187" y="16280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0" name="任意多边形: 形状 309">
              <a:extLst>
                <a:ext uri="{FF2B5EF4-FFF2-40B4-BE49-F238E27FC236}">
                  <a16:creationId xmlns:a16="http://schemas.microsoft.com/office/drawing/2014/main" id="{D37B0927-45CE-4B43-B1A2-EF1C4DC88091}"/>
                </a:ext>
              </a:extLst>
            </p:cNvPr>
            <p:cNvSpPr/>
            <p:nvPr/>
          </p:nvSpPr>
          <p:spPr>
            <a:xfrm>
              <a:off x="11019591" y="2668636"/>
              <a:ext cx="142417" cy="160219"/>
            </a:xfrm>
            <a:custGeom>
              <a:avLst/>
              <a:gdLst>
                <a:gd name="connsiteX0" fmla="*/ 5934 w 142417"/>
                <a:gd name="connsiteY0" fmla="*/ 160220 h 160219"/>
                <a:gd name="connsiteX1" fmla="*/ 5934 w 142417"/>
                <a:gd name="connsiteY1" fmla="*/ 160220 h 160219"/>
                <a:gd name="connsiteX2" fmla="*/ 0 w 142417"/>
                <a:gd name="connsiteY2" fmla="*/ 154286 h 160219"/>
                <a:gd name="connsiteX3" fmla="*/ 136484 w 142417"/>
                <a:gd name="connsiteY3" fmla="*/ 0 h 160219"/>
                <a:gd name="connsiteX4" fmla="*/ 142417 w 142417"/>
                <a:gd name="connsiteY4" fmla="*/ 2967 h 160219"/>
                <a:gd name="connsiteX5" fmla="*/ 139450 w 142417"/>
                <a:gd name="connsiteY5" fmla="*/ 8901 h 160219"/>
                <a:gd name="connsiteX6" fmla="*/ 11868 w 142417"/>
                <a:gd name="connsiteY6" fmla="*/ 154286 h 160219"/>
                <a:gd name="connsiteX7" fmla="*/ 5934 w 142417"/>
                <a:gd name="connsiteY7" fmla="*/ 160220 h 160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417" h="160219">
                  <a:moveTo>
                    <a:pt x="5934" y="160220"/>
                  </a:moveTo>
                  <a:cubicBezTo>
                    <a:pt x="5934" y="160220"/>
                    <a:pt x="5934" y="160220"/>
                    <a:pt x="5934" y="160220"/>
                  </a:cubicBezTo>
                  <a:cubicBezTo>
                    <a:pt x="2967" y="160220"/>
                    <a:pt x="0" y="157253"/>
                    <a:pt x="0" y="154286"/>
                  </a:cubicBezTo>
                  <a:cubicBezTo>
                    <a:pt x="23736" y="29670"/>
                    <a:pt x="136484" y="0"/>
                    <a:pt x="136484" y="0"/>
                  </a:cubicBezTo>
                  <a:cubicBezTo>
                    <a:pt x="139450" y="0"/>
                    <a:pt x="142417" y="0"/>
                    <a:pt x="142417" y="2967"/>
                  </a:cubicBezTo>
                  <a:cubicBezTo>
                    <a:pt x="142417" y="5934"/>
                    <a:pt x="142417" y="8901"/>
                    <a:pt x="139450" y="8901"/>
                  </a:cubicBezTo>
                  <a:cubicBezTo>
                    <a:pt x="139450" y="8901"/>
                    <a:pt x="35604" y="38571"/>
                    <a:pt x="11868" y="154286"/>
                  </a:cubicBezTo>
                  <a:cubicBezTo>
                    <a:pt x="11868" y="160220"/>
                    <a:pt x="8901" y="160220"/>
                    <a:pt x="5934" y="160220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1" name="任意多边形: 形状 310">
              <a:extLst>
                <a:ext uri="{FF2B5EF4-FFF2-40B4-BE49-F238E27FC236}">
                  <a16:creationId xmlns:a16="http://schemas.microsoft.com/office/drawing/2014/main" id="{93C677C5-3F59-4985-8CD8-05B6AD9C3FD5}"/>
                </a:ext>
              </a:extLst>
            </p:cNvPr>
            <p:cNvSpPr/>
            <p:nvPr/>
          </p:nvSpPr>
          <p:spPr>
            <a:xfrm>
              <a:off x="11375635" y="2618197"/>
              <a:ext cx="108042" cy="180989"/>
            </a:xfrm>
            <a:custGeom>
              <a:avLst/>
              <a:gdLst>
                <a:gd name="connsiteX0" fmla="*/ 103846 w 108042"/>
                <a:gd name="connsiteY0" fmla="*/ 180989 h 180989"/>
                <a:gd name="connsiteX1" fmla="*/ 97912 w 108042"/>
                <a:gd name="connsiteY1" fmla="*/ 175055 h 180989"/>
                <a:gd name="connsiteX2" fmla="*/ 53406 w 108042"/>
                <a:gd name="connsiteY2" fmla="*/ 71209 h 180989"/>
                <a:gd name="connsiteX3" fmla="*/ 0 w 108042"/>
                <a:gd name="connsiteY3" fmla="*/ 5934 h 180989"/>
                <a:gd name="connsiteX4" fmla="*/ 2967 w 108042"/>
                <a:gd name="connsiteY4" fmla="*/ 0 h 180989"/>
                <a:gd name="connsiteX5" fmla="*/ 8901 w 108042"/>
                <a:gd name="connsiteY5" fmla="*/ 2967 h 180989"/>
                <a:gd name="connsiteX6" fmla="*/ 56373 w 108042"/>
                <a:gd name="connsiteY6" fmla="*/ 65275 h 180989"/>
                <a:gd name="connsiteX7" fmla="*/ 106813 w 108042"/>
                <a:gd name="connsiteY7" fmla="*/ 175055 h 180989"/>
                <a:gd name="connsiteX8" fmla="*/ 103846 w 108042"/>
                <a:gd name="connsiteY8" fmla="*/ 180989 h 180989"/>
                <a:gd name="connsiteX9" fmla="*/ 103846 w 108042"/>
                <a:gd name="connsiteY9" fmla="*/ 180989 h 180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042" h="180989">
                  <a:moveTo>
                    <a:pt x="103846" y="180989"/>
                  </a:moveTo>
                  <a:cubicBezTo>
                    <a:pt x="100879" y="180989"/>
                    <a:pt x="97912" y="178022"/>
                    <a:pt x="97912" y="175055"/>
                  </a:cubicBezTo>
                  <a:cubicBezTo>
                    <a:pt x="94945" y="139451"/>
                    <a:pt x="80109" y="91978"/>
                    <a:pt x="53406" y="71209"/>
                  </a:cubicBezTo>
                  <a:cubicBezTo>
                    <a:pt x="20769" y="47473"/>
                    <a:pt x="2967" y="5934"/>
                    <a:pt x="0" y="5934"/>
                  </a:cubicBezTo>
                  <a:cubicBezTo>
                    <a:pt x="0" y="2967"/>
                    <a:pt x="0" y="0"/>
                    <a:pt x="2967" y="0"/>
                  </a:cubicBezTo>
                  <a:cubicBezTo>
                    <a:pt x="5934" y="0"/>
                    <a:pt x="8901" y="0"/>
                    <a:pt x="8901" y="2967"/>
                  </a:cubicBezTo>
                  <a:cubicBezTo>
                    <a:pt x="8901" y="2967"/>
                    <a:pt x="26703" y="41538"/>
                    <a:pt x="56373" y="65275"/>
                  </a:cubicBezTo>
                  <a:cubicBezTo>
                    <a:pt x="94945" y="91978"/>
                    <a:pt x="103846" y="163187"/>
                    <a:pt x="106813" y="175055"/>
                  </a:cubicBezTo>
                  <a:cubicBezTo>
                    <a:pt x="109780" y="178022"/>
                    <a:pt x="106813" y="178022"/>
                    <a:pt x="103846" y="180989"/>
                  </a:cubicBezTo>
                  <a:cubicBezTo>
                    <a:pt x="103846" y="180989"/>
                    <a:pt x="103846" y="180989"/>
                    <a:pt x="103846" y="180989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2" name="任意多边形: 形状 311">
              <a:extLst>
                <a:ext uri="{FF2B5EF4-FFF2-40B4-BE49-F238E27FC236}">
                  <a16:creationId xmlns:a16="http://schemas.microsoft.com/office/drawing/2014/main" id="{322F7C2E-82DD-4A59-B3D8-3FECA98E8409}"/>
                </a:ext>
              </a:extLst>
            </p:cNvPr>
            <p:cNvSpPr/>
            <p:nvPr/>
          </p:nvSpPr>
          <p:spPr>
            <a:xfrm>
              <a:off x="11099701" y="3167098"/>
              <a:ext cx="350110" cy="151318"/>
            </a:xfrm>
            <a:custGeom>
              <a:avLst/>
              <a:gdLst>
                <a:gd name="connsiteX0" fmla="*/ 35605 w 350110"/>
                <a:gd name="connsiteY0" fmla="*/ 5934 h 151318"/>
                <a:gd name="connsiteX1" fmla="*/ 136484 w 350110"/>
                <a:gd name="connsiteY1" fmla="*/ 118681 h 151318"/>
                <a:gd name="connsiteX2" fmla="*/ 326374 w 350110"/>
                <a:gd name="connsiteY2" fmla="*/ 0 h 151318"/>
                <a:gd name="connsiteX3" fmla="*/ 350110 w 350110"/>
                <a:gd name="connsiteY3" fmla="*/ 8901 h 151318"/>
                <a:gd name="connsiteX4" fmla="*/ 133516 w 350110"/>
                <a:gd name="connsiteY4" fmla="*/ 151319 h 151318"/>
                <a:gd name="connsiteX5" fmla="*/ 0 w 350110"/>
                <a:gd name="connsiteY5" fmla="*/ 14835 h 151318"/>
                <a:gd name="connsiteX6" fmla="*/ 35605 w 350110"/>
                <a:gd name="connsiteY6" fmla="*/ 5934 h 151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110" h="151318">
                  <a:moveTo>
                    <a:pt x="35605" y="5934"/>
                  </a:moveTo>
                  <a:lnTo>
                    <a:pt x="136484" y="118681"/>
                  </a:lnTo>
                  <a:cubicBezTo>
                    <a:pt x="136484" y="118681"/>
                    <a:pt x="264067" y="20769"/>
                    <a:pt x="326374" y="0"/>
                  </a:cubicBezTo>
                  <a:lnTo>
                    <a:pt x="350110" y="8901"/>
                  </a:lnTo>
                  <a:lnTo>
                    <a:pt x="133516" y="151319"/>
                  </a:lnTo>
                  <a:lnTo>
                    <a:pt x="0" y="14835"/>
                  </a:lnTo>
                  <a:cubicBezTo>
                    <a:pt x="0" y="11868"/>
                    <a:pt x="14835" y="8901"/>
                    <a:pt x="35605" y="5934"/>
                  </a:cubicBezTo>
                  <a:close/>
                </a:path>
              </a:pathLst>
            </a:custGeom>
            <a:solidFill>
              <a:srgbClr val="F6EBE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3" name="任意多边形: 形状 312">
              <a:extLst>
                <a:ext uri="{FF2B5EF4-FFF2-40B4-BE49-F238E27FC236}">
                  <a16:creationId xmlns:a16="http://schemas.microsoft.com/office/drawing/2014/main" id="{E999F0E7-7CCC-429D-9829-B753C7AEA51F}"/>
                </a:ext>
              </a:extLst>
            </p:cNvPr>
            <p:cNvSpPr/>
            <p:nvPr/>
          </p:nvSpPr>
          <p:spPr>
            <a:xfrm>
              <a:off x="10844537" y="4069076"/>
              <a:ext cx="869340" cy="263364"/>
            </a:xfrm>
            <a:custGeom>
              <a:avLst/>
              <a:gdLst>
                <a:gd name="connsiteX0" fmla="*/ 756593 w 869340"/>
                <a:gd name="connsiteY0" fmla="*/ 0 h 263364"/>
                <a:gd name="connsiteX1" fmla="*/ 869340 w 869340"/>
                <a:gd name="connsiteY1" fmla="*/ 178022 h 263364"/>
                <a:gd name="connsiteX2" fmla="*/ 0 w 869340"/>
                <a:gd name="connsiteY2" fmla="*/ 201758 h 263364"/>
                <a:gd name="connsiteX3" fmla="*/ 100879 w 869340"/>
                <a:gd name="connsiteY3" fmla="*/ 44505 h 263364"/>
                <a:gd name="connsiteX4" fmla="*/ 756593 w 869340"/>
                <a:gd name="connsiteY4" fmla="*/ 0 h 263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9340" h="263364">
                  <a:moveTo>
                    <a:pt x="756593" y="0"/>
                  </a:moveTo>
                  <a:lnTo>
                    <a:pt x="869340" y="178022"/>
                  </a:lnTo>
                  <a:cubicBezTo>
                    <a:pt x="869340" y="178022"/>
                    <a:pt x="391648" y="353077"/>
                    <a:pt x="0" y="201758"/>
                  </a:cubicBezTo>
                  <a:lnTo>
                    <a:pt x="100879" y="44505"/>
                  </a:lnTo>
                  <a:cubicBezTo>
                    <a:pt x="100879" y="38572"/>
                    <a:pt x="664615" y="20769"/>
                    <a:pt x="756593" y="0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4" name="任意多边形: 形状 313">
              <a:extLst>
                <a:ext uri="{FF2B5EF4-FFF2-40B4-BE49-F238E27FC236}">
                  <a16:creationId xmlns:a16="http://schemas.microsoft.com/office/drawing/2014/main" id="{FD70AA74-9A68-49E2-B957-46027E3C858C}"/>
                </a:ext>
              </a:extLst>
            </p:cNvPr>
            <p:cNvSpPr/>
            <p:nvPr/>
          </p:nvSpPr>
          <p:spPr>
            <a:xfrm>
              <a:off x="10939481" y="4083911"/>
              <a:ext cx="305604" cy="29670"/>
            </a:xfrm>
            <a:custGeom>
              <a:avLst/>
              <a:gdLst>
                <a:gd name="connsiteX0" fmla="*/ 5934 w 305604"/>
                <a:gd name="connsiteY0" fmla="*/ 29670 h 29670"/>
                <a:gd name="connsiteX1" fmla="*/ 0 w 305604"/>
                <a:gd name="connsiteY1" fmla="*/ 23736 h 29670"/>
                <a:gd name="connsiteX2" fmla="*/ 5934 w 305604"/>
                <a:gd name="connsiteY2" fmla="*/ 17802 h 29670"/>
                <a:gd name="connsiteX3" fmla="*/ 299671 w 305604"/>
                <a:gd name="connsiteY3" fmla="*/ 0 h 29670"/>
                <a:gd name="connsiteX4" fmla="*/ 305605 w 305604"/>
                <a:gd name="connsiteY4" fmla="*/ 2967 h 29670"/>
                <a:gd name="connsiteX5" fmla="*/ 302638 w 305604"/>
                <a:gd name="connsiteY5" fmla="*/ 8901 h 29670"/>
                <a:gd name="connsiteX6" fmla="*/ 5934 w 305604"/>
                <a:gd name="connsiteY6" fmla="*/ 29670 h 29670"/>
                <a:gd name="connsiteX7" fmla="*/ 5934 w 305604"/>
                <a:gd name="connsiteY7" fmla="*/ 29670 h 29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5604" h="29670">
                  <a:moveTo>
                    <a:pt x="5934" y="29670"/>
                  </a:moveTo>
                  <a:cubicBezTo>
                    <a:pt x="2967" y="29670"/>
                    <a:pt x="0" y="26703"/>
                    <a:pt x="0" y="23736"/>
                  </a:cubicBezTo>
                  <a:cubicBezTo>
                    <a:pt x="0" y="20769"/>
                    <a:pt x="2967" y="17802"/>
                    <a:pt x="5934" y="17802"/>
                  </a:cubicBezTo>
                  <a:cubicBezTo>
                    <a:pt x="8902" y="17802"/>
                    <a:pt x="210660" y="14835"/>
                    <a:pt x="299671" y="0"/>
                  </a:cubicBezTo>
                  <a:cubicBezTo>
                    <a:pt x="302638" y="0"/>
                    <a:pt x="305605" y="0"/>
                    <a:pt x="305605" y="2967"/>
                  </a:cubicBezTo>
                  <a:cubicBezTo>
                    <a:pt x="305605" y="5934"/>
                    <a:pt x="305605" y="8901"/>
                    <a:pt x="302638" y="8901"/>
                  </a:cubicBezTo>
                  <a:cubicBezTo>
                    <a:pt x="210660" y="26703"/>
                    <a:pt x="8902" y="29670"/>
                    <a:pt x="5934" y="29670"/>
                  </a:cubicBezTo>
                  <a:cubicBezTo>
                    <a:pt x="5934" y="29670"/>
                    <a:pt x="5934" y="29670"/>
                    <a:pt x="5934" y="29670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5" name="任意多边形: 形状 314">
              <a:extLst>
                <a:ext uri="{FF2B5EF4-FFF2-40B4-BE49-F238E27FC236}">
                  <a16:creationId xmlns:a16="http://schemas.microsoft.com/office/drawing/2014/main" id="{27B185AB-19A4-44ED-8552-1B4456B38EA0}"/>
                </a:ext>
              </a:extLst>
            </p:cNvPr>
            <p:cNvSpPr/>
            <p:nvPr/>
          </p:nvSpPr>
          <p:spPr>
            <a:xfrm>
              <a:off x="11222783" y="3081054"/>
              <a:ext cx="232961" cy="400549"/>
            </a:xfrm>
            <a:custGeom>
              <a:avLst/>
              <a:gdLst>
                <a:gd name="connsiteX0" fmla="*/ 200325 w 232961"/>
                <a:gd name="connsiteY0" fmla="*/ 0 h 400549"/>
                <a:gd name="connsiteX1" fmla="*/ 28236 w 232961"/>
                <a:gd name="connsiteY1" fmla="*/ 189890 h 400549"/>
                <a:gd name="connsiteX2" fmla="*/ 10434 w 232961"/>
                <a:gd name="connsiteY2" fmla="*/ 379780 h 400549"/>
                <a:gd name="connsiteX3" fmla="*/ 54939 w 232961"/>
                <a:gd name="connsiteY3" fmla="*/ 379780 h 400549"/>
                <a:gd name="connsiteX4" fmla="*/ 129115 w 232961"/>
                <a:gd name="connsiteY4" fmla="*/ 400549 h 400549"/>
                <a:gd name="connsiteX5" fmla="*/ 170654 w 232961"/>
                <a:gd name="connsiteY5" fmla="*/ 373846 h 400549"/>
                <a:gd name="connsiteX6" fmla="*/ 232961 w 232961"/>
                <a:gd name="connsiteY6" fmla="*/ 35604 h 400549"/>
                <a:gd name="connsiteX7" fmla="*/ 200325 w 232961"/>
                <a:gd name="connsiteY7" fmla="*/ 0 h 400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2961" h="400549">
                  <a:moveTo>
                    <a:pt x="200325" y="0"/>
                  </a:moveTo>
                  <a:cubicBezTo>
                    <a:pt x="200325" y="0"/>
                    <a:pt x="63841" y="89011"/>
                    <a:pt x="28236" y="189890"/>
                  </a:cubicBezTo>
                  <a:cubicBezTo>
                    <a:pt x="-7368" y="293736"/>
                    <a:pt x="-4401" y="370879"/>
                    <a:pt x="10434" y="379780"/>
                  </a:cubicBezTo>
                  <a:cubicBezTo>
                    <a:pt x="22303" y="388681"/>
                    <a:pt x="37138" y="370879"/>
                    <a:pt x="54939" y="379780"/>
                  </a:cubicBezTo>
                  <a:cubicBezTo>
                    <a:pt x="72742" y="388681"/>
                    <a:pt x="117247" y="400549"/>
                    <a:pt x="129115" y="400549"/>
                  </a:cubicBezTo>
                  <a:cubicBezTo>
                    <a:pt x="143950" y="400549"/>
                    <a:pt x="176588" y="385714"/>
                    <a:pt x="170654" y="373846"/>
                  </a:cubicBezTo>
                  <a:cubicBezTo>
                    <a:pt x="164720" y="361978"/>
                    <a:pt x="209225" y="62308"/>
                    <a:pt x="232961" y="35604"/>
                  </a:cubicBezTo>
                  <a:lnTo>
                    <a:pt x="200325" y="0"/>
                  </a:ln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6" name="任意多边形: 形状 315">
              <a:extLst>
                <a:ext uri="{FF2B5EF4-FFF2-40B4-BE49-F238E27FC236}">
                  <a16:creationId xmlns:a16="http://schemas.microsoft.com/office/drawing/2014/main" id="{8E3D1329-A99C-4184-975E-AAABAD78E836}"/>
                </a:ext>
              </a:extLst>
            </p:cNvPr>
            <p:cNvSpPr/>
            <p:nvPr/>
          </p:nvSpPr>
          <p:spPr>
            <a:xfrm>
              <a:off x="11268822" y="3120367"/>
              <a:ext cx="144642" cy="257390"/>
            </a:xfrm>
            <a:custGeom>
              <a:avLst/>
              <a:gdLst>
                <a:gd name="connsiteX0" fmla="*/ 5934 w 144642"/>
                <a:gd name="connsiteY0" fmla="*/ 257390 h 257390"/>
                <a:gd name="connsiteX1" fmla="*/ 5934 w 144642"/>
                <a:gd name="connsiteY1" fmla="*/ 257390 h 257390"/>
                <a:gd name="connsiteX2" fmla="*/ 0 w 144642"/>
                <a:gd name="connsiteY2" fmla="*/ 251456 h 257390"/>
                <a:gd name="connsiteX3" fmla="*/ 133516 w 144642"/>
                <a:gd name="connsiteY3" fmla="*/ 2225 h 257390"/>
                <a:gd name="connsiteX4" fmla="*/ 142417 w 144642"/>
                <a:gd name="connsiteY4" fmla="*/ 2225 h 257390"/>
                <a:gd name="connsiteX5" fmla="*/ 142417 w 144642"/>
                <a:gd name="connsiteY5" fmla="*/ 11126 h 257390"/>
                <a:gd name="connsiteX6" fmla="*/ 11868 w 144642"/>
                <a:gd name="connsiteY6" fmla="*/ 254423 h 257390"/>
                <a:gd name="connsiteX7" fmla="*/ 5934 w 144642"/>
                <a:gd name="connsiteY7" fmla="*/ 257390 h 257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642" h="257390">
                  <a:moveTo>
                    <a:pt x="5934" y="257390"/>
                  </a:moveTo>
                  <a:lnTo>
                    <a:pt x="5934" y="257390"/>
                  </a:lnTo>
                  <a:cubicBezTo>
                    <a:pt x="2967" y="257390"/>
                    <a:pt x="0" y="254423"/>
                    <a:pt x="0" y="251456"/>
                  </a:cubicBezTo>
                  <a:cubicBezTo>
                    <a:pt x="5934" y="135742"/>
                    <a:pt x="127582" y="8159"/>
                    <a:pt x="133516" y="2225"/>
                  </a:cubicBezTo>
                  <a:cubicBezTo>
                    <a:pt x="136484" y="-742"/>
                    <a:pt x="139451" y="-742"/>
                    <a:pt x="142417" y="2225"/>
                  </a:cubicBezTo>
                  <a:cubicBezTo>
                    <a:pt x="145384" y="5192"/>
                    <a:pt x="145384" y="8159"/>
                    <a:pt x="142417" y="11126"/>
                  </a:cubicBezTo>
                  <a:cubicBezTo>
                    <a:pt x="142417" y="11126"/>
                    <a:pt x="17802" y="141676"/>
                    <a:pt x="11868" y="254423"/>
                  </a:cubicBezTo>
                  <a:cubicBezTo>
                    <a:pt x="11868" y="254423"/>
                    <a:pt x="8901" y="257390"/>
                    <a:pt x="5934" y="257390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7" name="任意多边形: 形状 316">
              <a:extLst>
                <a:ext uri="{FF2B5EF4-FFF2-40B4-BE49-F238E27FC236}">
                  <a16:creationId xmlns:a16="http://schemas.microsoft.com/office/drawing/2014/main" id="{E16E9BCF-5266-49BE-BD34-1DCE43460095}"/>
                </a:ext>
              </a:extLst>
            </p:cNvPr>
            <p:cNvSpPr/>
            <p:nvPr/>
          </p:nvSpPr>
          <p:spPr>
            <a:xfrm>
              <a:off x="11368537" y="3068604"/>
              <a:ext cx="103389" cy="76721"/>
            </a:xfrm>
            <a:custGeom>
              <a:avLst/>
              <a:gdLst>
                <a:gd name="connsiteX0" fmla="*/ 1164 w 103389"/>
                <a:gd name="connsiteY0" fmla="*/ 15417 h 76721"/>
                <a:gd name="connsiteX1" fmla="*/ 18966 w 103389"/>
                <a:gd name="connsiteY1" fmla="*/ 582 h 76721"/>
                <a:gd name="connsiteX2" fmla="*/ 93142 w 103389"/>
                <a:gd name="connsiteY2" fmla="*/ 24318 h 76721"/>
                <a:gd name="connsiteX3" fmla="*/ 99077 w 103389"/>
                <a:gd name="connsiteY3" fmla="*/ 51022 h 76721"/>
                <a:gd name="connsiteX4" fmla="*/ 81274 w 103389"/>
                <a:gd name="connsiteY4" fmla="*/ 74758 h 76721"/>
                <a:gd name="connsiteX5" fmla="*/ 15999 w 103389"/>
                <a:gd name="connsiteY5" fmla="*/ 53989 h 76721"/>
                <a:gd name="connsiteX6" fmla="*/ 7098 w 103389"/>
                <a:gd name="connsiteY6" fmla="*/ 39153 h 76721"/>
                <a:gd name="connsiteX7" fmla="*/ 1164 w 103389"/>
                <a:gd name="connsiteY7" fmla="*/ 15417 h 7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389" h="76721">
                  <a:moveTo>
                    <a:pt x="1164" y="15417"/>
                  </a:moveTo>
                  <a:cubicBezTo>
                    <a:pt x="1164" y="6516"/>
                    <a:pt x="10066" y="-2385"/>
                    <a:pt x="18966" y="582"/>
                  </a:cubicBezTo>
                  <a:cubicBezTo>
                    <a:pt x="42702" y="9483"/>
                    <a:pt x="69406" y="15417"/>
                    <a:pt x="93142" y="24318"/>
                  </a:cubicBezTo>
                  <a:cubicBezTo>
                    <a:pt x="105010" y="27285"/>
                    <a:pt x="105010" y="45087"/>
                    <a:pt x="99077" y="51022"/>
                  </a:cubicBezTo>
                  <a:cubicBezTo>
                    <a:pt x="110945" y="59923"/>
                    <a:pt x="96109" y="83659"/>
                    <a:pt x="81274" y="74758"/>
                  </a:cubicBezTo>
                  <a:cubicBezTo>
                    <a:pt x="60505" y="62890"/>
                    <a:pt x="39736" y="56956"/>
                    <a:pt x="15999" y="53989"/>
                  </a:cubicBezTo>
                  <a:cubicBezTo>
                    <a:pt x="7098" y="53989"/>
                    <a:pt x="4131" y="45087"/>
                    <a:pt x="7098" y="39153"/>
                  </a:cubicBezTo>
                  <a:cubicBezTo>
                    <a:pt x="1164" y="30252"/>
                    <a:pt x="-1803" y="24318"/>
                    <a:pt x="1164" y="15417"/>
                  </a:cubicBezTo>
                  <a:close/>
                </a:path>
              </a:pathLst>
            </a:custGeom>
            <a:solidFill>
              <a:srgbClr val="7F95BC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8" name="任意多边形: 形状 317">
              <a:extLst>
                <a:ext uri="{FF2B5EF4-FFF2-40B4-BE49-F238E27FC236}">
                  <a16:creationId xmlns:a16="http://schemas.microsoft.com/office/drawing/2014/main" id="{A4BF4E3A-3BB0-4726-8893-B4BE6830F82A}"/>
                </a:ext>
              </a:extLst>
            </p:cNvPr>
            <p:cNvSpPr/>
            <p:nvPr/>
          </p:nvSpPr>
          <p:spPr>
            <a:xfrm>
              <a:off x="10911245" y="3081054"/>
              <a:ext cx="232961" cy="400549"/>
            </a:xfrm>
            <a:custGeom>
              <a:avLst/>
              <a:gdLst>
                <a:gd name="connsiteX0" fmla="*/ 200325 w 232961"/>
                <a:gd name="connsiteY0" fmla="*/ 0 h 400549"/>
                <a:gd name="connsiteX1" fmla="*/ 28236 w 232961"/>
                <a:gd name="connsiteY1" fmla="*/ 189890 h 400549"/>
                <a:gd name="connsiteX2" fmla="*/ 10434 w 232961"/>
                <a:gd name="connsiteY2" fmla="*/ 379780 h 400549"/>
                <a:gd name="connsiteX3" fmla="*/ 54939 w 232961"/>
                <a:gd name="connsiteY3" fmla="*/ 379780 h 400549"/>
                <a:gd name="connsiteX4" fmla="*/ 129115 w 232961"/>
                <a:gd name="connsiteY4" fmla="*/ 400549 h 400549"/>
                <a:gd name="connsiteX5" fmla="*/ 170654 w 232961"/>
                <a:gd name="connsiteY5" fmla="*/ 373846 h 400549"/>
                <a:gd name="connsiteX6" fmla="*/ 232961 w 232961"/>
                <a:gd name="connsiteY6" fmla="*/ 35604 h 400549"/>
                <a:gd name="connsiteX7" fmla="*/ 200325 w 232961"/>
                <a:gd name="connsiteY7" fmla="*/ 0 h 400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2961" h="400549">
                  <a:moveTo>
                    <a:pt x="200325" y="0"/>
                  </a:moveTo>
                  <a:cubicBezTo>
                    <a:pt x="200325" y="0"/>
                    <a:pt x="63841" y="89011"/>
                    <a:pt x="28236" y="189890"/>
                  </a:cubicBezTo>
                  <a:cubicBezTo>
                    <a:pt x="-7368" y="293736"/>
                    <a:pt x="-4401" y="370879"/>
                    <a:pt x="10434" y="379780"/>
                  </a:cubicBezTo>
                  <a:cubicBezTo>
                    <a:pt x="25269" y="388681"/>
                    <a:pt x="37138" y="370879"/>
                    <a:pt x="54939" y="379780"/>
                  </a:cubicBezTo>
                  <a:cubicBezTo>
                    <a:pt x="72742" y="388681"/>
                    <a:pt x="117247" y="400549"/>
                    <a:pt x="129115" y="400549"/>
                  </a:cubicBezTo>
                  <a:cubicBezTo>
                    <a:pt x="143950" y="400549"/>
                    <a:pt x="176588" y="385714"/>
                    <a:pt x="170654" y="373846"/>
                  </a:cubicBezTo>
                  <a:cubicBezTo>
                    <a:pt x="164720" y="361978"/>
                    <a:pt x="209225" y="62308"/>
                    <a:pt x="232961" y="35604"/>
                  </a:cubicBezTo>
                  <a:lnTo>
                    <a:pt x="200325" y="0"/>
                  </a:ln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9" name="任意多边形: 形状 318">
              <a:extLst>
                <a:ext uri="{FF2B5EF4-FFF2-40B4-BE49-F238E27FC236}">
                  <a16:creationId xmlns:a16="http://schemas.microsoft.com/office/drawing/2014/main" id="{F6E413DF-9FD5-4734-AD4B-AF81AB714B8E}"/>
                </a:ext>
              </a:extLst>
            </p:cNvPr>
            <p:cNvSpPr/>
            <p:nvPr/>
          </p:nvSpPr>
          <p:spPr>
            <a:xfrm>
              <a:off x="10957283" y="3120367"/>
              <a:ext cx="144642" cy="257390"/>
            </a:xfrm>
            <a:custGeom>
              <a:avLst/>
              <a:gdLst>
                <a:gd name="connsiteX0" fmla="*/ 5934 w 144642"/>
                <a:gd name="connsiteY0" fmla="*/ 257390 h 257390"/>
                <a:gd name="connsiteX1" fmla="*/ 5934 w 144642"/>
                <a:gd name="connsiteY1" fmla="*/ 257390 h 257390"/>
                <a:gd name="connsiteX2" fmla="*/ 0 w 144642"/>
                <a:gd name="connsiteY2" fmla="*/ 251456 h 257390"/>
                <a:gd name="connsiteX3" fmla="*/ 133516 w 144642"/>
                <a:gd name="connsiteY3" fmla="*/ 2225 h 257390"/>
                <a:gd name="connsiteX4" fmla="*/ 142417 w 144642"/>
                <a:gd name="connsiteY4" fmla="*/ 2225 h 257390"/>
                <a:gd name="connsiteX5" fmla="*/ 142417 w 144642"/>
                <a:gd name="connsiteY5" fmla="*/ 11126 h 257390"/>
                <a:gd name="connsiteX6" fmla="*/ 11868 w 144642"/>
                <a:gd name="connsiteY6" fmla="*/ 254423 h 257390"/>
                <a:gd name="connsiteX7" fmla="*/ 5934 w 144642"/>
                <a:gd name="connsiteY7" fmla="*/ 257390 h 257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642" h="257390">
                  <a:moveTo>
                    <a:pt x="5934" y="257390"/>
                  </a:moveTo>
                  <a:cubicBezTo>
                    <a:pt x="5934" y="257390"/>
                    <a:pt x="5934" y="257390"/>
                    <a:pt x="5934" y="257390"/>
                  </a:cubicBezTo>
                  <a:cubicBezTo>
                    <a:pt x="2967" y="257390"/>
                    <a:pt x="0" y="254423"/>
                    <a:pt x="0" y="251456"/>
                  </a:cubicBezTo>
                  <a:cubicBezTo>
                    <a:pt x="5934" y="135742"/>
                    <a:pt x="127582" y="8159"/>
                    <a:pt x="133516" y="2225"/>
                  </a:cubicBezTo>
                  <a:cubicBezTo>
                    <a:pt x="136484" y="-742"/>
                    <a:pt x="139451" y="-742"/>
                    <a:pt x="142417" y="2225"/>
                  </a:cubicBezTo>
                  <a:cubicBezTo>
                    <a:pt x="145384" y="5192"/>
                    <a:pt x="145384" y="8159"/>
                    <a:pt x="142417" y="11126"/>
                  </a:cubicBezTo>
                  <a:cubicBezTo>
                    <a:pt x="142417" y="11126"/>
                    <a:pt x="17802" y="141676"/>
                    <a:pt x="11868" y="254423"/>
                  </a:cubicBezTo>
                  <a:cubicBezTo>
                    <a:pt x="11868" y="254423"/>
                    <a:pt x="8901" y="257390"/>
                    <a:pt x="5934" y="257390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0" name="任意多边形: 形状 319">
              <a:extLst>
                <a:ext uri="{FF2B5EF4-FFF2-40B4-BE49-F238E27FC236}">
                  <a16:creationId xmlns:a16="http://schemas.microsoft.com/office/drawing/2014/main" id="{6026A9FD-400E-4DCF-8D8B-39427F95556A}"/>
                </a:ext>
              </a:extLst>
            </p:cNvPr>
            <p:cNvSpPr/>
            <p:nvPr/>
          </p:nvSpPr>
          <p:spPr>
            <a:xfrm>
              <a:off x="11056998" y="3068604"/>
              <a:ext cx="103389" cy="76721"/>
            </a:xfrm>
            <a:custGeom>
              <a:avLst/>
              <a:gdLst>
                <a:gd name="connsiteX0" fmla="*/ 1164 w 103389"/>
                <a:gd name="connsiteY0" fmla="*/ 15417 h 76721"/>
                <a:gd name="connsiteX1" fmla="*/ 18966 w 103389"/>
                <a:gd name="connsiteY1" fmla="*/ 582 h 76721"/>
                <a:gd name="connsiteX2" fmla="*/ 93142 w 103389"/>
                <a:gd name="connsiteY2" fmla="*/ 24318 h 76721"/>
                <a:gd name="connsiteX3" fmla="*/ 99077 w 103389"/>
                <a:gd name="connsiteY3" fmla="*/ 51022 h 76721"/>
                <a:gd name="connsiteX4" fmla="*/ 81274 w 103389"/>
                <a:gd name="connsiteY4" fmla="*/ 74758 h 76721"/>
                <a:gd name="connsiteX5" fmla="*/ 15999 w 103389"/>
                <a:gd name="connsiteY5" fmla="*/ 53989 h 76721"/>
                <a:gd name="connsiteX6" fmla="*/ 7098 w 103389"/>
                <a:gd name="connsiteY6" fmla="*/ 39153 h 76721"/>
                <a:gd name="connsiteX7" fmla="*/ 1164 w 103389"/>
                <a:gd name="connsiteY7" fmla="*/ 15417 h 7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389" h="76721">
                  <a:moveTo>
                    <a:pt x="1164" y="15417"/>
                  </a:moveTo>
                  <a:cubicBezTo>
                    <a:pt x="1164" y="6516"/>
                    <a:pt x="10066" y="-2385"/>
                    <a:pt x="18966" y="582"/>
                  </a:cubicBezTo>
                  <a:cubicBezTo>
                    <a:pt x="42702" y="9483"/>
                    <a:pt x="69406" y="15417"/>
                    <a:pt x="93142" y="24318"/>
                  </a:cubicBezTo>
                  <a:cubicBezTo>
                    <a:pt x="105010" y="27285"/>
                    <a:pt x="105010" y="45087"/>
                    <a:pt x="99077" y="51022"/>
                  </a:cubicBezTo>
                  <a:cubicBezTo>
                    <a:pt x="110945" y="59923"/>
                    <a:pt x="96109" y="83659"/>
                    <a:pt x="81274" y="74758"/>
                  </a:cubicBezTo>
                  <a:cubicBezTo>
                    <a:pt x="60505" y="62890"/>
                    <a:pt x="39736" y="56956"/>
                    <a:pt x="15999" y="53989"/>
                  </a:cubicBezTo>
                  <a:cubicBezTo>
                    <a:pt x="7098" y="53989"/>
                    <a:pt x="4131" y="45087"/>
                    <a:pt x="7098" y="39153"/>
                  </a:cubicBezTo>
                  <a:cubicBezTo>
                    <a:pt x="1164" y="30252"/>
                    <a:pt x="-1803" y="24318"/>
                    <a:pt x="1164" y="15417"/>
                  </a:cubicBezTo>
                  <a:close/>
                </a:path>
              </a:pathLst>
            </a:custGeom>
            <a:solidFill>
              <a:srgbClr val="7F95BC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21" name="图形 1">
              <a:extLst>
                <a:ext uri="{FF2B5EF4-FFF2-40B4-BE49-F238E27FC236}">
                  <a16:creationId xmlns:a16="http://schemas.microsoft.com/office/drawing/2014/main" id="{63DA345D-CFCA-408F-A558-D0D0637712DC}"/>
                </a:ext>
              </a:extLst>
            </p:cNvPr>
            <p:cNvGrpSpPr/>
            <p:nvPr/>
          </p:nvGrpSpPr>
          <p:grpSpPr>
            <a:xfrm>
              <a:off x="10924010" y="2360065"/>
              <a:ext cx="645861" cy="323406"/>
              <a:chOff x="10924010" y="2360065"/>
              <a:chExt cx="645861" cy="323406"/>
            </a:xfrm>
          </p:grpSpPr>
          <p:grpSp>
            <p:nvGrpSpPr>
              <p:cNvPr id="322" name="图形 1">
                <a:extLst>
                  <a:ext uri="{FF2B5EF4-FFF2-40B4-BE49-F238E27FC236}">
                    <a16:creationId xmlns:a16="http://schemas.microsoft.com/office/drawing/2014/main" id="{63DA345D-CFCA-408F-A558-D0D0637712DC}"/>
                  </a:ext>
                </a:extLst>
              </p:cNvPr>
              <p:cNvGrpSpPr/>
              <p:nvPr/>
            </p:nvGrpSpPr>
            <p:grpSpPr>
              <a:xfrm>
                <a:off x="10929873" y="2360065"/>
                <a:ext cx="639998" cy="323406"/>
                <a:chOff x="10929873" y="2360065"/>
                <a:chExt cx="639998" cy="323406"/>
              </a:xfrm>
            </p:grpSpPr>
            <p:sp>
              <p:nvSpPr>
                <p:cNvPr id="323" name="任意多边形: 形状 322">
                  <a:extLst>
                    <a:ext uri="{FF2B5EF4-FFF2-40B4-BE49-F238E27FC236}">
                      <a16:creationId xmlns:a16="http://schemas.microsoft.com/office/drawing/2014/main" id="{6E9D2F31-8717-4013-8BEC-D426360D5A04}"/>
                    </a:ext>
                  </a:extLst>
                </p:cNvPr>
                <p:cNvSpPr/>
                <p:nvPr/>
              </p:nvSpPr>
              <p:spPr>
                <a:xfrm>
                  <a:off x="11037394" y="2374798"/>
                  <a:ext cx="532477" cy="308673"/>
                </a:xfrm>
                <a:custGeom>
                  <a:avLst/>
                  <a:gdLst>
                    <a:gd name="connsiteX0" fmla="*/ 382747 w 532477"/>
                    <a:gd name="connsiteY0" fmla="*/ 204827 h 308673"/>
                    <a:gd name="connsiteX1" fmla="*/ 528132 w 532477"/>
                    <a:gd name="connsiteY1" fmla="*/ 308673 h 308673"/>
                    <a:gd name="connsiteX2" fmla="*/ 376813 w 532477"/>
                    <a:gd name="connsiteY2" fmla="*/ 20871 h 308673"/>
                    <a:gd name="connsiteX3" fmla="*/ 0 w 532477"/>
                    <a:gd name="connsiteY3" fmla="*/ 127685 h 308673"/>
                    <a:gd name="connsiteX4" fmla="*/ 382747 w 532477"/>
                    <a:gd name="connsiteY4" fmla="*/ 204827 h 308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2477" h="308673">
                      <a:moveTo>
                        <a:pt x="382747" y="204827"/>
                      </a:moveTo>
                      <a:cubicBezTo>
                        <a:pt x="418351" y="234498"/>
                        <a:pt x="489560" y="255267"/>
                        <a:pt x="528132" y="308673"/>
                      </a:cubicBezTo>
                      <a:cubicBezTo>
                        <a:pt x="528132" y="308673"/>
                        <a:pt x="572637" y="89113"/>
                        <a:pt x="376813" y="20871"/>
                      </a:cubicBezTo>
                      <a:cubicBezTo>
                        <a:pt x="216593" y="-35502"/>
                        <a:pt x="62307" y="29772"/>
                        <a:pt x="0" y="127685"/>
                      </a:cubicBezTo>
                      <a:cubicBezTo>
                        <a:pt x="0" y="127685"/>
                        <a:pt x="225494" y="71311"/>
                        <a:pt x="382747" y="204827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4" name="任意多边形: 形状 323">
                  <a:extLst>
                    <a:ext uri="{FF2B5EF4-FFF2-40B4-BE49-F238E27FC236}">
                      <a16:creationId xmlns:a16="http://schemas.microsoft.com/office/drawing/2014/main" id="{96AD482D-8A45-47D3-B13E-8464ACDDD285}"/>
                    </a:ext>
                  </a:extLst>
                </p:cNvPr>
                <p:cNvSpPr/>
                <p:nvPr/>
              </p:nvSpPr>
              <p:spPr>
                <a:xfrm>
                  <a:off x="10929873" y="2411328"/>
                  <a:ext cx="505103" cy="212802"/>
                </a:xfrm>
                <a:custGeom>
                  <a:avLst/>
                  <a:gdLst>
                    <a:gd name="connsiteX0" fmla="*/ 505103 w 505103"/>
                    <a:gd name="connsiteY0" fmla="*/ 183133 h 212802"/>
                    <a:gd name="connsiteX1" fmla="*/ 291477 w 505103"/>
                    <a:gd name="connsiteY1" fmla="*/ 46649 h 212802"/>
                    <a:gd name="connsiteX2" fmla="*/ 3675 w 505103"/>
                    <a:gd name="connsiteY2" fmla="*/ 58517 h 212802"/>
                    <a:gd name="connsiteX3" fmla="*/ 104554 w 505103"/>
                    <a:gd name="connsiteY3" fmla="*/ 212803 h 212802"/>
                    <a:gd name="connsiteX4" fmla="*/ 505103 w 505103"/>
                    <a:gd name="connsiteY4" fmla="*/ 183133 h 212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5103" h="212802">
                      <a:moveTo>
                        <a:pt x="505103" y="183133"/>
                      </a:moveTo>
                      <a:cubicBezTo>
                        <a:pt x="505103" y="183133"/>
                        <a:pt x="430928" y="108957"/>
                        <a:pt x="291477" y="46649"/>
                      </a:cubicBezTo>
                      <a:cubicBezTo>
                        <a:pt x="146092" y="-21593"/>
                        <a:pt x="30378" y="-12692"/>
                        <a:pt x="3675" y="58517"/>
                      </a:cubicBezTo>
                      <a:cubicBezTo>
                        <a:pt x="-23029" y="129726"/>
                        <a:pt x="104554" y="212803"/>
                        <a:pt x="104554" y="212803"/>
                      </a:cubicBezTo>
                      <a:cubicBezTo>
                        <a:pt x="104554" y="212803"/>
                        <a:pt x="246971" y="76319"/>
                        <a:pt x="505103" y="18313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5" name="任意多边形: 形状 324">
                  <a:extLst>
                    <a:ext uri="{FF2B5EF4-FFF2-40B4-BE49-F238E27FC236}">
                      <a16:creationId xmlns:a16="http://schemas.microsoft.com/office/drawing/2014/main" id="{7F18E923-7BF5-4F37-B56D-5A9764F8AA7D}"/>
                    </a:ext>
                  </a:extLst>
                </p:cNvPr>
                <p:cNvSpPr/>
                <p:nvPr/>
              </p:nvSpPr>
              <p:spPr>
                <a:xfrm>
                  <a:off x="11396404" y="2360065"/>
                  <a:ext cx="56374" cy="53406"/>
                </a:xfrm>
                <a:custGeom>
                  <a:avLst/>
                  <a:gdLst>
                    <a:gd name="connsiteX0" fmla="*/ 56374 w 56374"/>
                    <a:gd name="connsiteY0" fmla="*/ 26703 h 53406"/>
                    <a:gd name="connsiteX1" fmla="*/ 26704 w 56374"/>
                    <a:gd name="connsiteY1" fmla="*/ 0 h 53406"/>
                    <a:gd name="connsiteX2" fmla="*/ 0 w 56374"/>
                    <a:gd name="connsiteY2" fmla="*/ 26703 h 53406"/>
                    <a:gd name="connsiteX3" fmla="*/ 29670 w 56374"/>
                    <a:gd name="connsiteY3" fmla="*/ 53407 h 53406"/>
                    <a:gd name="connsiteX4" fmla="*/ 56374 w 56374"/>
                    <a:gd name="connsiteY4" fmla="*/ 26703 h 5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374" h="53406">
                      <a:moveTo>
                        <a:pt x="56374" y="26703"/>
                      </a:moveTo>
                      <a:cubicBezTo>
                        <a:pt x="56374" y="11868"/>
                        <a:pt x="44505" y="0"/>
                        <a:pt x="26704" y="0"/>
                      </a:cubicBezTo>
                      <a:cubicBezTo>
                        <a:pt x="11869" y="0"/>
                        <a:pt x="0" y="11868"/>
                        <a:pt x="0" y="26703"/>
                      </a:cubicBezTo>
                      <a:cubicBezTo>
                        <a:pt x="0" y="41538"/>
                        <a:pt x="11869" y="53407"/>
                        <a:pt x="29670" y="53407"/>
                      </a:cubicBezTo>
                      <a:cubicBezTo>
                        <a:pt x="44505" y="53407"/>
                        <a:pt x="56374" y="41538"/>
                        <a:pt x="56374" y="26703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326" name="任意多边形: 形状 325">
                <a:extLst>
                  <a:ext uri="{FF2B5EF4-FFF2-40B4-BE49-F238E27FC236}">
                    <a16:creationId xmlns:a16="http://schemas.microsoft.com/office/drawing/2014/main" id="{CFA52A42-B7A7-4597-9E4A-289D6BA8AB2E}"/>
                  </a:ext>
                </a:extLst>
              </p:cNvPr>
              <p:cNvSpPr/>
              <p:nvPr/>
            </p:nvSpPr>
            <p:spPr>
              <a:xfrm>
                <a:off x="10924010" y="2404436"/>
                <a:ext cx="519124" cy="228595"/>
              </a:xfrm>
              <a:custGeom>
                <a:avLst/>
                <a:gdLst>
                  <a:gd name="connsiteX0" fmla="*/ 110416 w 519124"/>
                  <a:gd name="connsiteY0" fmla="*/ 225629 h 228595"/>
                  <a:gd name="connsiteX1" fmla="*/ 107449 w 519124"/>
                  <a:gd name="connsiteY1" fmla="*/ 225629 h 228595"/>
                  <a:gd name="connsiteX2" fmla="*/ 636 w 519124"/>
                  <a:gd name="connsiteY2" fmla="*/ 80244 h 228595"/>
                  <a:gd name="connsiteX3" fmla="*/ 68878 w 519124"/>
                  <a:gd name="connsiteY3" fmla="*/ 9035 h 228595"/>
                  <a:gd name="connsiteX4" fmla="*/ 516899 w 519124"/>
                  <a:gd name="connsiteY4" fmla="*/ 187057 h 228595"/>
                  <a:gd name="connsiteX5" fmla="*/ 516899 w 519124"/>
                  <a:gd name="connsiteY5" fmla="*/ 195959 h 228595"/>
                  <a:gd name="connsiteX6" fmla="*/ 507999 w 519124"/>
                  <a:gd name="connsiteY6" fmla="*/ 195959 h 228595"/>
                  <a:gd name="connsiteX7" fmla="*/ 71844 w 519124"/>
                  <a:gd name="connsiteY7" fmla="*/ 20904 h 228595"/>
                  <a:gd name="connsiteX8" fmla="*/ 12504 w 519124"/>
                  <a:gd name="connsiteY8" fmla="*/ 83211 h 228595"/>
                  <a:gd name="connsiteX9" fmla="*/ 116350 w 519124"/>
                  <a:gd name="connsiteY9" fmla="*/ 219695 h 228595"/>
                  <a:gd name="connsiteX10" fmla="*/ 116350 w 519124"/>
                  <a:gd name="connsiteY10" fmla="*/ 228596 h 228595"/>
                  <a:gd name="connsiteX11" fmla="*/ 110416 w 519124"/>
                  <a:gd name="connsiteY11" fmla="*/ 225629 h 228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19124" h="228595">
                    <a:moveTo>
                      <a:pt x="110416" y="225629"/>
                    </a:moveTo>
                    <a:cubicBezTo>
                      <a:pt x="110416" y="225629"/>
                      <a:pt x="107449" y="225629"/>
                      <a:pt x="107449" y="225629"/>
                    </a:cubicBezTo>
                    <a:cubicBezTo>
                      <a:pt x="30306" y="172222"/>
                      <a:pt x="-5298" y="121783"/>
                      <a:pt x="636" y="80244"/>
                    </a:cubicBezTo>
                    <a:cubicBezTo>
                      <a:pt x="3603" y="50574"/>
                      <a:pt x="27339" y="26838"/>
                      <a:pt x="68878" y="9035"/>
                    </a:cubicBezTo>
                    <a:cubicBezTo>
                      <a:pt x="205361" y="-47338"/>
                      <a:pt x="502064" y="178156"/>
                      <a:pt x="516899" y="187057"/>
                    </a:cubicBezTo>
                    <a:cubicBezTo>
                      <a:pt x="519866" y="190024"/>
                      <a:pt x="519866" y="192991"/>
                      <a:pt x="516899" y="195959"/>
                    </a:cubicBezTo>
                    <a:cubicBezTo>
                      <a:pt x="513933" y="198926"/>
                      <a:pt x="510966" y="198926"/>
                      <a:pt x="507999" y="195959"/>
                    </a:cubicBezTo>
                    <a:cubicBezTo>
                      <a:pt x="505031" y="192991"/>
                      <a:pt x="202394" y="-35470"/>
                      <a:pt x="71844" y="20904"/>
                    </a:cubicBezTo>
                    <a:cubicBezTo>
                      <a:pt x="51076" y="29805"/>
                      <a:pt x="15471" y="50574"/>
                      <a:pt x="12504" y="83211"/>
                    </a:cubicBezTo>
                    <a:cubicBezTo>
                      <a:pt x="9537" y="121783"/>
                      <a:pt x="42174" y="166288"/>
                      <a:pt x="116350" y="219695"/>
                    </a:cubicBezTo>
                    <a:cubicBezTo>
                      <a:pt x="119317" y="222662"/>
                      <a:pt x="119317" y="225629"/>
                      <a:pt x="116350" y="228596"/>
                    </a:cubicBezTo>
                    <a:cubicBezTo>
                      <a:pt x="113383" y="225629"/>
                      <a:pt x="113383" y="225629"/>
                      <a:pt x="110416" y="2256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27" name="任意多边形: 形状 326">
              <a:extLst>
                <a:ext uri="{FF2B5EF4-FFF2-40B4-BE49-F238E27FC236}">
                  <a16:creationId xmlns:a16="http://schemas.microsoft.com/office/drawing/2014/main" id="{6FF4705D-9080-455F-AB15-EE3DBDD94CB1}"/>
                </a:ext>
              </a:extLst>
            </p:cNvPr>
            <p:cNvSpPr/>
            <p:nvPr/>
          </p:nvSpPr>
          <p:spPr>
            <a:xfrm>
              <a:off x="11007723" y="3369601"/>
              <a:ext cx="706239" cy="806287"/>
            </a:xfrm>
            <a:custGeom>
              <a:avLst/>
              <a:gdLst>
                <a:gd name="connsiteX0" fmla="*/ 655714 w 706239"/>
                <a:gd name="connsiteY0" fmla="*/ 61562 h 806287"/>
                <a:gd name="connsiteX1" fmla="*/ 430220 w 706239"/>
                <a:gd name="connsiteY1" fmla="*/ 162441 h 806287"/>
                <a:gd name="connsiteX2" fmla="*/ 424285 w 706239"/>
                <a:gd name="connsiteY2" fmla="*/ 577826 h 806287"/>
                <a:gd name="connsiteX3" fmla="*/ 0 w 706239"/>
                <a:gd name="connsiteY3" fmla="*/ 684639 h 806287"/>
                <a:gd name="connsiteX4" fmla="*/ 11868 w 706239"/>
                <a:gd name="connsiteY4" fmla="*/ 806288 h 806287"/>
                <a:gd name="connsiteX5" fmla="*/ 602307 w 706239"/>
                <a:gd name="connsiteY5" fmla="*/ 693540 h 806287"/>
                <a:gd name="connsiteX6" fmla="*/ 655714 w 706239"/>
                <a:gd name="connsiteY6" fmla="*/ 61562 h 80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6239" h="806287">
                  <a:moveTo>
                    <a:pt x="655714" y="61562"/>
                  </a:moveTo>
                  <a:cubicBezTo>
                    <a:pt x="537032" y="-71954"/>
                    <a:pt x="418351" y="34859"/>
                    <a:pt x="430220" y="162441"/>
                  </a:cubicBezTo>
                  <a:cubicBezTo>
                    <a:pt x="442088" y="287057"/>
                    <a:pt x="439121" y="551123"/>
                    <a:pt x="424285" y="577826"/>
                  </a:cubicBezTo>
                  <a:cubicBezTo>
                    <a:pt x="370879" y="601562"/>
                    <a:pt x="0" y="684639"/>
                    <a:pt x="0" y="684639"/>
                  </a:cubicBezTo>
                  <a:cubicBezTo>
                    <a:pt x="17801" y="711343"/>
                    <a:pt x="11868" y="806288"/>
                    <a:pt x="11868" y="806288"/>
                  </a:cubicBezTo>
                  <a:cubicBezTo>
                    <a:pt x="11868" y="806288"/>
                    <a:pt x="519231" y="791452"/>
                    <a:pt x="602307" y="693540"/>
                  </a:cubicBezTo>
                  <a:cubicBezTo>
                    <a:pt x="646813" y="640134"/>
                    <a:pt x="777362" y="195079"/>
                    <a:pt x="655714" y="61562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28" name="图形 1">
              <a:extLst>
                <a:ext uri="{FF2B5EF4-FFF2-40B4-BE49-F238E27FC236}">
                  <a16:creationId xmlns:a16="http://schemas.microsoft.com/office/drawing/2014/main" id="{63DA345D-CFCA-408F-A558-D0D0637712DC}"/>
                </a:ext>
              </a:extLst>
            </p:cNvPr>
            <p:cNvGrpSpPr/>
            <p:nvPr/>
          </p:nvGrpSpPr>
          <p:grpSpPr>
            <a:xfrm>
              <a:off x="10782229" y="4024096"/>
              <a:ext cx="285384" cy="172230"/>
              <a:chOff x="10782229" y="4024096"/>
              <a:chExt cx="285384" cy="172230"/>
            </a:xfrm>
          </p:grpSpPr>
          <p:sp>
            <p:nvSpPr>
              <p:cNvPr id="329" name="任意多边形: 形状 328">
                <a:extLst>
                  <a:ext uri="{FF2B5EF4-FFF2-40B4-BE49-F238E27FC236}">
                    <a16:creationId xmlns:a16="http://schemas.microsoft.com/office/drawing/2014/main" id="{DF9F43E8-0602-4D4F-811A-FBD29B6BCAA6}"/>
                  </a:ext>
                </a:extLst>
              </p:cNvPr>
              <p:cNvSpPr/>
              <p:nvPr/>
            </p:nvSpPr>
            <p:spPr>
              <a:xfrm>
                <a:off x="10785196" y="4024096"/>
                <a:ext cx="282417" cy="172230"/>
              </a:xfrm>
              <a:custGeom>
                <a:avLst/>
                <a:gdLst>
                  <a:gd name="connsiteX0" fmla="*/ 243296 w 282417"/>
                  <a:gd name="connsiteY0" fmla="*/ 33112 h 172230"/>
                  <a:gd name="connsiteX1" fmla="*/ 175055 w 282417"/>
                  <a:gd name="connsiteY1" fmla="*/ 6409 h 172230"/>
                  <a:gd name="connsiteX2" fmla="*/ 121648 w 282417"/>
                  <a:gd name="connsiteY2" fmla="*/ 475 h 172230"/>
                  <a:gd name="connsiteX3" fmla="*/ 94945 w 282417"/>
                  <a:gd name="connsiteY3" fmla="*/ 21244 h 172230"/>
                  <a:gd name="connsiteX4" fmla="*/ 139450 w 282417"/>
                  <a:gd name="connsiteY4" fmla="*/ 36079 h 172230"/>
                  <a:gd name="connsiteX5" fmla="*/ 166153 w 282417"/>
                  <a:gd name="connsiteY5" fmla="*/ 71684 h 172230"/>
                  <a:gd name="connsiteX6" fmla="*/ 23736 w 282417"/>
                  <a:gd name="connsiteY6" fmla="*/ 42013 h 172230"/>
                  <a:gd name="connsiteX7" fmla="*/ 8901 w 282417"/>
                  <a:gd name="connsiteY7" fmla="*/ 53881 h 172230"/>
                  <a:gd name="connsiteX8" fmla="*/ 11868 w 282417"/>
                  <a:gd name="connsiteY8" fmla="*/ 56848 h 172230"/>
                  <a:gd name="connsiteX9" fmla="*/ 0 w 282417"/>
                  <a:gd name="connsiteY9" fmla="*/ 65749 h 172230"/>
                  <a:gd name="connsiteX10" fmla="*/ 20769 w 282417"/>
                  <a:gd name="connsiteY10" fmla="*/ 89486 h 172230"/>
                  <a:gd name="connsiteX11" fmla="*/ 59341 w 282417"/>
                  <a:gd name="connsiteY11" fmla="*/ 110255 h 172230"/>
                  <a:gd name="connsiteX12" fmla="*/ 23736 w 282417"/>
                  <a:gd name="connsiteY12" fmla="*/ 101354 h 172230"/>
                  <a:gd name="connsiteX13" fmla="*/ 14835 w 282417"/>
                  <a:gd name="connsiteY13" fmla="*/ 113222 h 172230"/>
                  <a:gd name="connsiteX14" fmla="*/ 124615 w 282417"/>
                  <a:gd name="connsiteY14" fmla="*/ 169596 h 172230"/>
                  <a:gd name="connsiteX15" fmla="*/ 267033 w 282417"/>
                  <a:gd name="connsiteY15" fmla="*/ 142892 h 172230"/>
                  <a:gd name="connsiteX16" fmla="*/ 269999 w 282417"/>
                  <a:gd name="connsiteY16" fmla="*/ 133991 h 172230"/>
                  <a:gd name="connsiteX17" fmla="*/ 243296 w 282417"/>
                  <a:gd name="connsiteY17" fmla="*/ 33112 h 172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82417" h="172230">
                    <a:moveTo>
                      <a:pt x="243296" y="33112"/>
                    </a:moveTo>
                    <a:cubicBezTo>
                      <a:pt x="219560" y="24211"/>
                      <a:pt x="195823" y="15310"/>
                      <a:pt x="175055" y="6409"/>
                    </a:cubicBezTo>
                    <a:cubicBezTo>
                      <a:pt x="148352" y="-2492"/>
                      <a:pt x="154285" y="475"/>
                      <a:pt x="121648" y="475"/>
                    </a:cubicBezTo>
                    <a:cubicBezTo>
                      <a:pt x="118681" y="475"/>
                      <a:pt x="94945" y="15310"/>
                      <a:pt x="94945" y="21244"/>
                    </a:cubicBezTo>
                    <a:cubicBezTo>
                      <a:pt x="94945" y="27178"/>
                      <a:pt x="103846" y="39046"/>
                      <a:pt x="139450" y="36079"/>
                    </a:cubicBezTo>
                    <a:cubicBezTo>
                      <a:pt x="154285" y="44980"/>
                      <a:pt x="163187" y="65749"/>
                      <a:pt x="166153" y="71684"/>
                    </a:cubicBezTo>
                    <a:cubicBezTo>
                      <a:pt x="142417" y="101354"/>
                      <a:pt x="35604" y="24211"/>
                      <a:pt x="23736" y="42013"/>
                    </a:cubicBezTo>
                    <a:cubicBezTo>
                      <a:pt x="20769" y="44980"/>
                      <a:pt x="5934" y="47947"/>
                      <a:pt x="8901" y="53881"/>
                    </a:cubicBezTo>
                    <a:cubicBezTo>
                      <a:pt x="8901" y="53881"/>
                      <a:pt x="11868" y="56848"/>
                      <a:pt x="11868" y="56848"/>
                    </a:cubicBezTo>
                    <a:cubicBezTo>
                      <a:pt x="2966" y="56848"/>
                      <a:pt x="0" y="56848"/>
                      <a:pt x="0" y="65749"/>
                    </a:cubicBezTo>
                    <a:cubicBezTo>
                      <a:pt x="0" y="74651"/>
                      <a:pt x="11868" y="80585"/>
                      <a:pt x="20769" y="89486"/>
                    </a:cubicBezTo>
                    <a:cubicBezTo>
                      <a:pt x="32637" y="98387"/>
                      <a:pt x="47472" y="101354"/>
                      <a:pt x="59341" y="110255"/>
                    </a:cubicBezTo>
                    <a:cubicBezTo>
                      <a:pt x="53406" y="110255"/>
                      <a:pt x="29670" y="98387"/>
                      <a:pt x="23736" y="101354"/>
                    </a:cubicBezTo>
                    <a:cubicBezTo>
                      <a:pt x="20769" y="104321"/>
                      <a:pt x="14835" y="107288"/>
                      <a:pt x="14835" y="113222"/>
                    </a:cubicBezTo>
                    <a:cubicBezTo>
                      <a:pt x="14835" y="128057"/>
                      <a:pt x="94945" y="163662"/>
                      <a:pt x="124615" y="169596"/>
                    </a:cubicBezTo>
                    <a:cubicBezTo>
                      <a:pt x="169120" y="178497"/>
                      <a:pt x="228461" y="163662"/>
                      <a:pt x="267033" y="142892"/>
                    </a:cubicBezTo>
                    <a:cubicBezTo>
                      <a:pt x="269999" y="139925"/>
                      <a:pt x="272967" y="136958"/>
                      <a:pt x="269999" y="133991"/>
                    </a:cubicBezTo>
                    <a:cubicBezTo>
                      <a:pt x="290769" y="95420"/>
                      <a:pt x="287802" y="47947"/>
                      <a:pt x="243296" y="33112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0" name="任意多边形: 形状 329">
                <a:extLst>
                  <a:ext uri="{FF2B5EF4-FFF2-40B4-BE49-F238E27FC236}">
                    <a16:creationId xmlns:a16="http://schemas.microsoft.com/office/drawing/2014/main" id="{8FB20DB6-C2AF-42E3-A648-C34DED52C320}"/>
                  </a:ext>
                </a:extLst>
              </p:cNvPr>
              <p:cNvSpPr/>
              <p:nvPr/>
            </p:nvSpPr>
            <p:spPr>
              <a:xfrm>
                <a:off x="10782229" y="4069862"/>
                <a:ext cx="130549" cy="91191"/>
              </a:xfrm>
              <a:custGeom>
                <a:avLst/>
                <a:gdLst>
                  <a:gd name="connsiteX0" fmla="*/ 97912 w 130549"/>
                  <a:gd name="connsiteY0" fmla="*/ 91192 h 91191"/>
                  <a:gd name="connsiteX1" fmla="*/ 97912 w 130549"/>
                  <a:gd name="connsiteY1" fmla="*/ 91192 h 91191"/>
                  <a:gd name="connsiteX2" fmla="*/ 23736 w 130549"/>
                  <a:gd name="connsiteY2" fmla="*/ 49653 h 91191"/>
                  <a:gd name="connsiteX3" fmla="*/ 0 w 130549"/>
                  <a:gd name="connsiteY3" fmla="*/ 17016 h 91191"/>
                  <a:gd name="connsiteX4" fmla="*/ 8901 w 130549"/>
                  <a:gd name="connsiteY4" fmla="*/ 2181 h 91191"/>
                  <a:gd name="connsiteX5" fmla="*/ 50439 w 130549"/>
                  <a:gd name="connsiteY5" fmla="*/ 22950 h 91191"/>
                  <a:gd name="connsiteX6" fmla="*/ 124615 w 130549"/>
                  <a:gd name="connsiteY6" fmla="*/ 64489 h 91191"/>
                  <a:gd name="connsiteX7" fmla="*/ 130549 w 130549"/>
                  <a:gd name="connsiteY7" fmla="*/ 70423 h 91191"/>
                  <a:gd name="connsiteX8" fmla="*/ 124615 w 130549"/>
                  <a:gd name="connsiteY8" fmla="*/ 76357 h 91191"/>
                  <a:gd name="connsiteX9" fmla="*/ 47473 w 130549"/>
                  <a:gd name="connsiteY9" fmla="*/ 31851 h 91191"/>
                  <a:gd name="connsiteX10" fmla="*/ 20769 w 130549"/>
                  <a:gd name="connsiteY10" fmla="*/ 14049 h 91191"/>
                  <a:gd name="connsiteX11" fmla="*/ 17802 w 130549"/>
                  <a:gd name="connsiteY11" fmla="*/ 19983 h 91191"/>
                  <a:gd name="connsiteX12" fmla="*/ 38571 w 130549"/>
                  <a:gd name="connsiteY12" fmla="*/ 43719 h 91191"/>
                  <a:gd name="connsiteX13" fmla="*/ 106813 w 130549"/>
                  <a:gd name="connsiteY13" fmla="*/ 82291 h 91191"/>
                  <a:gd name="connsiteX14" fmla="*/ 109780 w 130549"/>
                  <a:gd name="connsiteY14" fmla="*/ 91192 h 91191"/>
                  <a:gd name="connsiteX15" fmla="*/ 97912 w 130549"/>
                  <a:gd name="connsiteY15" fmla="*/ 91192 h 91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0549" h="91191">
                    <a:moveTo>
                      <a:pt x="97912" y="91192"/>
                    </a:moveTo>
                    <a:cubicBezTo>
                      <a:pt x="97912" y="91192"/>
                      <a:pt x="94945" y="91192"/>
                      <a:pt x="97912" y="91192"/>
                    </a:cubicBezTo>
                    <a:cubicBezTo>
                      <a:pt x="91978" y="88225"/>
                      <a:pt x="44505" y="64489"/>
                      <a:pt x="23736" y="49653"/>
                    </a:cubicBezTo>
                    <a:cubicBezTo>
                      <a:pt x="8901" y="37785"/>
                      <a:pt x="0" y="28884"/>
                      <a:pt x="0" y="17016"/>
                    </a:cubicBezTo>
                    <a:cubicBezTo>
                      <a:pt x="0" y="11082"/>
                      <a:pt x="2967" y="5148"/>
                      <a:pt x="8901" y="2181"/>
                    </a:cubicBezTo>
                    <a:cubicBezTo>
                      <a:pt x="14835" y="-3753"/>
                      <a:pt x="23736" y="2181"/>
                      <a:pt x="50439" y="22950"/>
                    </a:cubicBezTo>
                    <a:cubicBezTo>
                      <a:pt x="74176" y="40752"/>
                      <a:pt x="103846" y="61522"/>
                      <a:pt x="124615" y="64489"/>
                    </a:cubicBezTo>
                    <a:cubicBezTo>
                      <a:pt x="127582" y="64489"/>
                      <a:pt x="130549" y="67456"/>
                      <a:pt x="130549" y="70423"/>
                    </a:cubicBezTo>
                    <a:cubicBezTo>
                      <a:pt x="130549" y="73390"/>
                      <a:pt x="127582" y="76357"/>
                      <a:pt x="124615" y="76357"/>
                    </a:cubicBezTo>
                    <a:cubicBezTo>
                      <a:pt x="100879" y="73390"/>
                      <a:pt x="71209" y="49653"/>
                      <a:pt x="47473" y="31851"/>
                    </a:cubicBezTo>
                    <a:cubicBezTo>
                      <a:pt x="38571" y="22950"/>
                      <a:pt x="26703" y="14049"/>
                      <a:pt x="20769" y="14049"/>
                    </a:cubicBezTo>
                    <a:cubicBezTo>
                      <a:pt x="17802" y="17016"/>
                      <a:pt x="17802" y="19983"/>
                      <a:pt x="17802" y="19983"/>
                    </a:cubicBezTo>
                    <a:cubicBezTo>
                      <a:pt x="17802" y="25917"/>
                      <a:pt x="32638" y="37785"/>
                      <a:pt x="38571" y="43719"/>
                    </a:cubicBezTo>
                    <a:cubicBezTo>
                      <a:pt x="56373" y="58555"/>
                      <a:pt x="106813" y="82291"/>
                      <a:pt x="106813" y="82291"/>
                    </a:cubicBezTo>
                    <a:cubicBezTo>
                      <a:pt x="109780" y="82291"/>
                      <a:pt x="109780" y="88225"/>
                      <a:pt x="109780" y="91192"/>
                    </a:cubicBezTo>
                    <a:cubicBezTo>
                      <a:pt x="100879" y="88225"/>
                      <a:pt x="100879" y="91192"/>
                      <a:pt x="97912" y="9119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1" name="任意多边形: 形状 330">
                <a:extLst>
                  <a:ext uri="{FF2B5EF4-FFF2-40B4-BE49-F238E27FC236}">
                    <a16:creationId xmlns:a16="http://schemas.microsoft.com/office/drawing/2014/main" id="{2447737C-BAA0-4712-8F83-ED8AAC350140}"/>
                  </a:ext>
                </a:extLst>
              </p:cNvPr>
              <p:cNvSpPr/>
              <p:nvPr/>
            </p:nvSpPr>
            <p:spPr>
              <a:xfrm>
                <a:off x="10799289" y="4057208"/>
                <a:ext cx="160961" cy="47472"/>
              </a:xfrm>
              <a:custGeom>
                <a:avLst/>
                <a:gdLst>
                  <a:gd name="connsiteX0" fmla="*/ 122390 w 160961"/>
                  <a:gd name="connsiteY0" fmla="*/ 47472 h 47472"/>
                  <a:gd name="connsiteX1" fmla="*/ 119423 w 160961"/>
                  <a:gd name="connsiteY1" fmla="*/ 47472 h 47472"/>
                  <a:gd name="connsiteX2" fmla="*/ 54148 w 160961"/>
                  <a:gd name="connsiteY2" fmla="*/ 20769 h 47472"/>
                  <a:gd name="connsiteX3" fmla="*/ 21511 w 160961"/>
                  <a:gd name="connsiteY3" fmla="*/ 8901 h 47472"/>
                  <a:gd name="connsiteX4" fmla="*/ 9643 w 160961"/>
                  <a:gd name="connsiteY4" fmla="*/ 14835 h 47472"/>
                  <a:gd name="connsiteX5" fmla="*/ 9643 w 160961"/>
                  <a:gd name="connsiteY5" fmla="*/ 20769 h 47472"/>
                  <a:gd name="connsiteX6" fmla="*/ 6675 w 160961"/>
                  <a:gd name="connsiteY6" fmla="*/ 26703 h 47472"/>
                  <a:gd name="connsiteX7" fmla="*/ 742 w 160961"/>
                  <a:gd name="connsiteY7" fmla="*/ 23736 h 47472"/>
                  <a:gd name="connsiteX8" fmla="*/ 3708 w 160961"/>
                  <a:gd name="connsiteY8" fmla="*/ 8901 h 47472"/>
                  <a:gd name="connsiteX9" fmla="*/ 24478 w 160961"/>
                  <a:gd name="connsiteY9" fmla="*/ 0 h 47472"/>
                  <a:gd name="connsiteX10" fmla="*/ 63049 w 160961"/>
                  <a:gd name="connsiteY10" fmla="*/ 14835 h 47472"/>
                  <a:gd name="connsiteX11" fmla="*/ 122390 w 160961"/>
                  <a:gd name="connsiteY11" fmla="*/ 38572 h 47472"/>
                  <a:gd name="connsiteX12" fmla="*/ 152060 w 160961"/>
                  <a:gd name="connsiteY12" fmla="*/ 32637 h 47472"/>
                  <a:gd name="connsiteX13" fmla="*/ 160962 w 160961"/>
                  <a:gd name="connsiteY13" fmla="*/ 35605 h 47472"/>
                  <a:gd name="connsiteX14" fmla="*/ 157994 w 160961"/>
                  <a:gd name="connsiteY14" fmla="*/ 44505 h 47472"/>
                  <a:gd name="connsiteX15" fmla="*/ 122390 w 160961"/>
                  <a:gd name="connsiteY15" fmla="*/ 47472 h 47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0961" h="47472">
                    <a:moveTo>
                      <a:pt x="122390" y="47472"/>
                    </a:moveTo>
                    <a:cubicBezTo>
                      <a:pt x="122390" y="47472"/>
                      <a:pt x="119423" y="47472"/>
                      <a:pt x="119423" y="47472"/>
                    </a:cubicBezTo>
                    <a:cubicBezTo>
                      <a:pt x="92719" y="44505"/>
                      <a:pt x="71951" y="32637"/>
                      <a:pt x="54148" y="20769"/>
                    </a:cubicBezTo>
                    <a:cubicBezTo>
                      <a:pt x="42280" y="11868"/>
                      <a:pt x="30412" y="5934"/>
                      <a:pt x="21511" y="8901"/>
                    </a:cubicBezTo>
                    <a:cubicBezTo>
                      <a:pt x="15577" y="8901"/>
                      <a:pt x="12610" y="11868"/>
                      <a:pt x="9643" y="14835"/>
                    </a:cubicBezTo>
                    <a:cubicBezTo>
                      <a:pt x="6675" y="17802"/>
                      <a:pt x="9643" y="20769"/>
                      <a:pt x="9643" y="20769"/>
                    </a:cubicBezTo>
                    <a:cubicBezTo>
                      <a:pt x="9643" y="23736"/>
                      <a:pt x="9643" y="26703"/>
                      <a:pt x="6675" y="26703"/>
                    </a:cubicBezTo>
                    <a:cubicBezTo>
                      <a:pt x="3708" y="26703"/>
                      <a:pt x="742" y="26703"/>
                      <a:pt x="742" y="23736"/>
                    </a:cubicBezTo>
                    <a:cubicBezTo>
                      <a:pt x="742" y="23736"/>
                      <a:pt x="-2225" y="14835"/>
                      <a:pt x="3708" y="8901"/>
                    </a:cubicBezTo>
                    <a:cubicBezTo>
                      <a:pt x="6675" y="2967"/>
                      <a:pt x="12610" y="0"/>
                      <a:pt x="24478" y="0"/>
                    </a:cubicBezTo>
                    <a:cubicBezTo>
                      <a:pt x="36346" y="0"/>
                      <a:pt x="48214" y="5934"/>
                      <a:pt x="63049" y="14835"/>
                    </a:cubicBezTo>
                    <a:cubicBezTo>
                      <a:pt x="80851" y="23736"/>
                      <a:pt x="98654" y="35605"/>
                      <a:pt x="122390" y="38572"/>
                    </a:cubicBezTo>
                    <a:cubicBezTo>
                      <a:pt x="131291" y="38572"/>
                      <a:pt x="146126" y="35605"/>
                      <a:pt x="152060" y="32637"/>
                    </a:cubicBezTo>
                    <a:cubicBezTo>
                      <a:pt x="155027" y="32637"/>
                      <a:pt x="157994" y="32637"/>
                      <a:pt x="160962" y="35605"/>
                    </a:cubicBezTo>
                    <a:cubicBezTo>
                      <a:pt x="160962" y="38572"/>
                      <a:pt x="160962" y="41539"/>
                      <a:pt x="157994" y="44505"/>
                    </a:cubicBezTo>
                    <a:cubicBezTo>
                      <a:pt x="155027" y="41539"/>
                      <a:pt x="137225" y="47472"/>
                      <a:pt x="122390" y="4747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32" name="任意多边形: 形状 331">
              <a:extLst>
                <a:ext uri="{FF2B5EF4-FFF2-40B4-BE49-F238E27FC236}">
                  <a16:creationId xmlns:a16="http://schemas.microsoft.com/office/drawing/2014/main" id="{FC894577-0419-41D4-AC8C-5CB49929D99C}"/>
                </a:ext>
              </a:extLst>
            </p:cNvPr>
            <p:cNvSpPr/>
            <p:nvPr/>
          </p:nvSpPr>
          <p:spPr>
            <a:xfrm>
              <a:off x="11417528" y="3225000"/>
              <a:ext cx="364654" cy="420985"/>
            </a:xfrm>
            <a:custGeom>
              <a:avLst/>
              <a:gdLst>
                <a:gd name="connsiteX0" fmla="*/ 364590 w 364654"/>
                <a:gd name="connsiteY0" fmla="*/ 401988 h 420985"/>
                <a:gd name="connsiteX1" fmla="*/ 189536 w 364654"/>
                <a:gd name="connsiteY1" fmla="*/ 1439 h 420985"/>
                <a:gd name="connsiteX2" fmla="*/ 2613 w 364654"/>
                <a:gd name="connsiteY2" fmla="*/ 390120 h 420985"/>
                <a:gd name="connsiteX3" fmla="*/ 364590 w 364654"/>
                <a:gd name="connsiteY3" fmla="*/ 401988 h 42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654" h="420985">
                  <a:moveTo>
                    <a:pt x="364590" y="401988"/>
                  </a:moveTo>
                  <a:cubicBezTo>
                    <a:pt x="367558" y="223966"/>
                    <a:pt x="266679" y="19241"/>
                    <a:pt x="189536" y="1439"/>
                  </a:cubicBezTo>
                  <a:cubicBezTo>
                    <a:pt x="88657" y="-19330"/>
                    <a:pt x="-18157" y="188362"/>
                    <a:pt x="2613" y="390120"/>
                  </a:cubicBezTo>
                  <a:cubicBezTo>
                    <a:pt x="64921" y="425725"/>
                    <a:pt x="269646" y="431659"/>
                    <a:pt x="364590" y="401988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3" name="任意多边形: 形状 332">
              <a:extLst>
                <a:ext uri="{FF2B5EF4-FFF2-40B4-BE49-F238E27FC236}">
                  <a16:creationId xmlns:a16="http://schemas.microsoft.com/office/drawing/2014/main" id="{8631C9BE-6760-4AD7-A6DD-15856EA2CC80}"/>
                </a:ext>
              </a:extLst>
            </p:cNvPr>
            <p:cNvSpPr/>
            <p:nvPr/>
          </p:nvSpPr>
          <p:spPr>
            <a:xfrm>
              <a:off x="11412353" y="3220504"/>
              <a:ext cx="185809" cy="430219"/>
            </a:xfrm>
            <a:custGeom>
              <a:avLst/>
              <a:gdLst>
                <a:gd name="connsiteX0" fmla="*/ 150205 w 185809"/>
                <a:gd name="connsiteY0" fmla="*/ 430220 h 430219"/>
                <a:gd name="connsiteX1" fmla="*/ 150205 w 185809"/>
                <a:gd name="connsiteY1" fmla="*/ 430220 h 430219"/>
                <a:gd name="connsiteX2" fmla="*/ 4821 w 185809"/>
                <a:gd name="connsiteY2" fmla="*/ 400549 h 430219"/>
                <a:gd name="connsiteX3" fmla="*/ 1853 w 185809"/>
                <a:gd name="connsiteY3" fmla="*/ 400549 h 430219"/>
                <a:gd name="connsiteX4" fmla="*/ 1853 w 185809"/>
                <a:gd name="connsiteY4" fmla="*/ 397582 h 430219"/>
                <a:gd name="connsiteX5" fmla="*/ 55261 w 185809"/>
                <a:gd name="connsiteY5" fmla="*/ 106813 h 430219"/>
                <a:gd name="connsiteX6" fmla="*/ 61194 w 185809"/>
                <a:gd name="connsiteY6" fmla="*/ 97912 h 430219"/>
                <a:gd name="connsiteX7" fmla="*/ 179875 w 185809"/>
                <a:gd name="connsiteY7" fmla="*/ 0 h 430219"/>
                <a:gd name="connsiteX8" fmla="*/ 185810 w 185809"/>
                <a:gd name="connsiteY8" fmla="*/ 5934 h 430219"/>
                <a:gd name="connsiteX9" fmla="*/ 179875 w 185809"/>
                <a:gd name="connsiteY9" fmla="*/ 11868 h 430219"/>
                <a:gd name="connsiteX10" fmla="*/ 70096 w 185809"/>
                <a:gd name="connsiteY10" fmla="*/ 106813 h 430219"/>
                <a:gd name="connsiteX11" fmla="*/ 64161 w 185809"/>
                <a:gd name="connsiteY11" fmla="*/ 115714 h 430219"/>
                <a:gd name="connsiteX12" fmla="*/ 10755 w 185809"/>
                <a:gd name="connsiteY12" fmla="*/ 394615 h 430219"/>
                <a:gd name="connsiteX13" fmla="*/ 150205 w 185809"/>
                <a:gd name="connsiteY13" fmla="*/ 421319 h 430219"/>
                <a:gd name="connsiteX14" fmla="*/ 156140 w 185809"/>
                <a:gd name="connsiteY14" fmla="*/ 427253 h 430219"/>
                <a:gd name="connsiteX15" fmla="*/ 150205 w 185809"/>
                <a:gd name="connsiteY15" fmla="*/ 430220 h 430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5809" h="430219">
                  <a:moveTo>
                    <a:pt x="150205" y="430220"/>
                  </a:moveTo>
                  <a:lnTo>
                    <a:pt x="150205" y="430220"/>
                  </a:lnTo>
                  <a:cubicBezTo>
                    <a:pt x="73062" y="430220"/>
                    <a:pt x="28557" y="412418"/>
                    <a:pt x="4821" y="400549"/>
                  </a:cubicBezTo>
                  <a:lnTo>
                    <a:pt x="1853" y="400549"/>
                  </a:lnTo>
                  <a:lnTo>
                    <a:pt x="1853" y="397582"/>
                  </a:lnTo>
                  <a:cubicBezTo>
                    <a:pt x="-4080" y="364945"/>
                    <a:pt x="1853" y="198791"/>
                    <a:pt x="55261" y="106813"/>
                  </a:cubicBezTo>
                  <a:cubicBezTo>
                    <a:pt x="55261" y="103846"/>
                    <a:pt x="58227" y="100879"/>
                    <a:pt x="61194" y="97912"/>
                  </a:cubicBezTo>
                  <a:cubicBezTo>
                    <a:pt x="78996" y="68242"/>
                    <a:pt x="114601" y="5934"/>
                    <a:pt x="179875" y="0"/>
                  </a:cubicBezTo>
                  <a:cubicBezTo>
                    <a:pt x="182843" y="0"/>
                    <a:pt x="185810" y="2967"/>
                    <a:pt x="185810" y="5934"/>
                  </a:cubicBezTo>
                  <a:cubicBezTo>
                    <a:pt x="185810" y="8901"/>
                    <a:pt x="182843" y="11868"/>
                    <a:pt x="179875" y="11868"/>
                  </a:cubicBezTo>
                  <a:cubicBezTo>
                    <a:pt x="120535" y="17802"/>
                    <a:pt x="87897" y="77143"/>
                    <a:pt x="70096" y="106813"/>
                  </a:cubicBezTo>
                  <a:cubicBezTo>
                    <a:pt x="67129" y="109780"/>
                    <a:pt x="67129" y="112747"/>
                    <a:pt x="64161" y="115714"/>
                  </a:cubicBezTo>
                  <a:cubicBezTo>
                    <a:pt x="13721" y="198791"/>
                    <a:pt x="4821" y="359011"/>
                    <a:pt x="10755" y="394615"/>
                  </a:cubicBezTo>
                  <a:cubicBezTo>
                    <a:pt x="34491" y="406483"/>
                    <a:pt x="78996" y="421319"/>
                    <a:pt x="150205" y="421319"/>
                  </a:cubicBezTo>
                  <a:cubicBezTo>
                    <a:pt x="153172" y="421319"/>
                    <a:pt x="156140" y="424286"/>
                    <a:pt x="156140" y="427253"/>
                  </a:cubicBezTo>
                  <a:cubicBezTo>
                    <a:pt x="156140" y="427253"/>
                    <a:pt x="153172" y="430220"/>
                    <a:pt x="150205" y="430220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34" name="图形 1">
              <a:extLst>
                <a:ext uri="{FF2B5EF4-FFF2-40B4-BE49-F238E27FC236}">
                  <a16:creationId xmlns:a16="http://schemas.microsoft.com/office/drawing/2014/main" id="{63DA345D-CFCA-408F-A558-D0D0637712DC}"/>
                </a:ext>
              </a:extLst>
            </p:cNvPr>
            <p:cNvGrpSpPr/>
            <p:nvPr/>
          </p:nvGrpSpPr>
          <p:grpSpPr>
            <a:xfrm>
              <a:off x="9126624" y="3742702"/>
              <a:ext cx="2020549" cy="700219"/>
              <a:chOff x="9126624" y="3742702"/>
              <a:chExt cx="2020549" cy="700219"/>
            </a:xfrm>
          </p:grpSpPr>
          <p:sp>
            <p:nvSpPr>
              <p:cNvPr id="335" name="任意多边形: 形状 334">
                <a:extLst>
                  <a:ext uri="{FF2B5EF4-FFF2-40B4-BE49-F238E27FC236}">
                    <a16:creationId xmlns:a16="http://schemas.microsoft.com/office/drawing/2014/main" id="{81FF8E55-E574-4006-9501-CEA206321B1A}"/>
                  </a:ext>
                </a:extLst>
              </p:cNvPr>
              <p:cNvSpPr/>
              <p:nvPr/>
            </p:nvSpPr>
            <p:spPr>
              <a:xfrm>
                <a:off x="9126624" y="3742702"/>
                <a:ext cx="2020549" cy="545934"/>
              </a:xfrm>
              <a:custGeom>
                <a:avLst/>
                <a:gdLst>
                  <a:gd name="connsiteX0" fmla="*/ 0 w 2020549"/>
                  <a:gd name="connsiteY0" fmla="*/ 545934 h 545934"/>
                  <a:gd name="connsiteX1" fmla="*/ 1409340 w 2020549"/>
                  <a:gd name="connsiteY1" fmla="*/ 545934 h 545934"/>
                  <a:gd name="connsiteX2" fmla="*/ 2020549 w 2020549"/>
                  <a:gd name="connsiteY2" fmla="*/ 0 h 545934"/>
                  <a:gd name="connsiteX3" fmla="*/ 611209 w 2020549"/>
                  <a:gd name="connsiteY3" fmla="*/ 0 h 545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20549" h="545934">
                    <a:moveTo>
                      <a:pt x="0" y="545934"/>
                    </a:moveTo>
                    <a:lnTo>
                      <a:pt x="1409340" y="545934"/>
                    </a:lnTo>
                    <a:lnTo>
                      <a:pt x="2020549" y="0"/>
                    </a:lnTo>
                    <a:lnTo>
                      <a:pt x="611209" y="0"/>
                    </a:lnTo>
                    <a:close/>
                  </a:path>
                </a:pathLst>
              </a:custGeom>
              <a:solidFill>
                <a:srgbClr val="F1DDBA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6" name="任意多边形: 形状 335">
                <a:extLst>
                  <a:ext uri="{FF2B5EF4-FFF2-40B4-BE49-F238E27FC236}">
                    <a16:creationId xmlns:a16="http://schemas.microsoft.com/office/drawing/2014/main" id="{812F40C7-A0F2-4BAB-9FEE-40B4D0174198}"/>
                  </a:ext>
                </a:extLst>
              </p:cNvPr>
              <p:cNvSpPr/>
              <p:nvPr/>
            </p:nvSpPr>
            <p:spPr>
              <a:xfrm>
                <a:off x="10530031" y="3742702"/>
                <a:ext cx="617142" cy="694285"/>
              </a:xfrm>
              <a:custGeom>
                <a:avLst/>
                <a:gdLst>
                  <a:gd name="connsiteX0" fmla="*/ 0 w 617142"/>
                  <a:gd name="connsiteY0" fmla="*/ 694286 h 694285"/>
                  <a:gd name="connsiteX1" fmla="*/ 617143 w 617142"/>
                  <a:gd name="connsiteY1" fmla="*/ 148352 h 694285"/>
                  <a:gd name="connsiteX2" fmla="*/ 617143 w 617142"/>
                  <a:gd name="connsiteY2" fmla="*/ 0 h 694285"/>
                  <a:gd name="connsiteX3" fmla="*/ 0 w 617142"/>
                  <a:gd name="connsiteY3" fmla="*/ 545934 h 694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7142" h="694285">
                    <a:moveTo>
                      <a:pt x="0" y="694286"/>
                    </a:moveTo>
                    <a:lnTo>
                      <a:pt x="617143" y="148352"/>
                    </a:lnTo>
                    <a:lnTo>
                      <a:pt x="617143" y="0"/>
                    </a:lnTo>
                    <a:lnTo>
                      <a:pt x="0" y="545934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7" name="任意多边形: 形状 336">
                <a:extLst>
                  <a:ext uri="{FF2B5EF4-FFF2-40B4-BE49-F238E27FC236}">
                    <a16:creationId xmlns:a16="http://schemas.microsoft.com/office/drawing/2014/main" id="{9C89AFA1-3F3D-4CCF-BBEF-58629FAF30AE}"/>
                  </a:ext>
                </a:extLst>
              </p:cNvPr>
              <p:cNvSpPr/>
              <p:nvPr/>
            </p:nvSpPr>
            <p:spPr>
              <a:xfrm rot="-10800000">
                <a:off x="9127514" y="4285432"/>
                <a:ext cx="1403406" cy="151318"/>
              </a:xfrm>
              <a:custGeom>
                <a:avLst/>
                <a:gdLst>
                  <a:gd name="connsiteX0" fmla="*/ 0 w 1403406"/>
                  <a:gd name="connsiteY0" fmla="*/ 0 h 151318"/>
                  <a:gd name="connsiteX1" fmla="*/ 1403407 w 1403406"/>
                  <a:gd name="connsiteY1" fmla="*/ 0 h 151318"/>
                  <a:gd name="connsiteX2" fmla="*/ 1403407 w 1403406"/>
                  <a:gd name="connsiteY2" fmla="*/ 151319 h 151318"/>
                  <a:gd name="connsiteX3" fmla="*/ 0 w 1403406"/>
                  <a:gd name="connsiteY3" fmla="*/ 151319 h 151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3406" h="151318">
                    <a:moveTo>
                      <a:pt x="0" y="0"/>
                    </a:moveTo>
                    <a:lnTo>
                      <a:pt x="1403407" y="0"/>
                    </a:lnTo>
                    <a:lnTo>
                      <a:pt x="1403407" y="151319"/>
                    </a:lnTo>
                    <a:lnTo>
                      <a:pt x="0" y="151319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8" name="任意多边形: 形状 337">
                <a:extLst>
                  <a:ext uri="{FF2B5EF4-FFF2-40B4-BE49-F238E27FC236}">
                    <a16:creationId xmlns:a16="http://schemas.microsoft.com/office/drawing/2014/main" id="{75809FF3-8A88-4D53-B704-F2798B1A0D4A}"/>
                  </a:ext>
                </a:extLst>
              </p:cNvPr>
              <p:cNvSpPr/>
              <p:nvPr/>
            </p:nvSpPr>
            <p:spPr>
              <a:xfrm>
                <a:off x="10524096" y="4279735"/>
                <a:ext cx="11867" cy="163186"/>
              </a:xfrm>
              <a:custGeom>
                <a:avLst/>
                <a:gdLst>
                  <a:gd name="connsiteX0" fmla="*/ 5934 w 11867"/>
                  <a:gd name="connsiteY0" fmla="*/ 163187 h 163186"/>
                  <a:gd name="connsiteX1" fmla="*/ 0 w 11867"/>
                  <a:gd name="connsiteY1" fmla="*/ 157253 h 163186"/>
                  <a:gd name="connsiteX2" fmla="*/ 0 w 11867"/>
                  <a:gd name="connsiteY2" fmla="*/ 5934 h 163186"/>
                  <a:gd name="connsiteX3" fmla="*/ 5934 w 11867"/>
                  <a:gd name="connsiteY3" fmla="*/ 0 h 163186"/>
                  <a:gd name="connsiteX4" fmla="*/ 11868 w 11867"/>
                  <a:gd name="connsiteY4" fmla="*/ 5934 h 163186"/>
                  <a:gd name="connsiteX5" fmla="*/ 11868 w 11867"/>
                  <a:gd name="connsiteY5" fmla="*/ 157253 h 163186"/>
                  <a:gd name="connsiteX6" fmla="*/ 5934 w 11867"/>
                  <a:gd name="connsiteY6" fmla="*/ 163187 h 163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867" h="163186">
                    <a:moveTo>
                      <a:pt x="5934" y="163187"/>
                    </a:moveTo>
                    <a:cubicBezTo>
                      <a:pt x="2967" y="163187"/>
                      <a:pt x="0" y="160220"/>
                      <a:pt x="0" y="157253"/>
                    </a:cubicBezTo>
                    <a:lnTo>
                      <a:pt x="0" y="5934"/>
                    </a:lnTo>
                    <a:cubicBezTo>
                      <a:pt x="0" y="2967"/>
                      <a:pt x="2967" y="0"/>
                      <a:pt x="5934" y="0"/>
                    </a:cubicBezTo>
                    <a:cubicBezTo>
                      <a:pt x="8902" y="0"/>
                      <a:pt x="11868" y="2967"/>
                      <a:pt x="11868" y="5934"/>
                    </a:cubicBezTo>
                    <a:lnTo>
                      <a:pt x="11868" y="157253"/>
                    </a:lnTo>
                    <a:cubicBezTo>
                      <a:pt x="11868" y="160220"/>
                      <a:pt x="8902" y="163187"/>
                      <a:pt x="5934" y="163187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339" name="图形 1">
                <a:extLst>
                  <a:ext uri="{FF2B5EF4-FFF2-40B4-BE49-F238E27FC236}">
                    <a16:creationId xmlns:a16="http://schemas.microsoft.com/office/drawing/2014/main" id="{63DA345D-CFCA-408F-A558-D0D0637712DC}"/>
                  </a:ext>
                </a:extLst>
              </p:cNvPr>
              <p:cNvGrpSpPr/>
              <p:nvPr/>
            </p:nvGrpSpPr>
            <p:grpSpPr>
              <a:xfrm>
                <a:off x="9645579" y="3832251"/>
                <a:ext cx="982834" cy="370341"/>
                <a:chOff x="9645579" y="3832251"/>
                <a:chExt cx="982834" cy="370341"/>
              </a:xfrm>
            </p:grpSpPr>
            <p:sp>
              <p:nvSpPr>
                <p:cNvPr id="340" name="任意多边形: 形状 339">
                  <a:extLst>
                    <a:ext uri="{FF2B5EF4-FFF2-40B4-BE49-F238E27FC236}">
                      <a16:creationId xmlns:a16="http://schemas.microsoft.com/office/drawing/2014/main" id="{806FCC3A-77E1-4DEF-A581-359319E4ECC9}"/>
                    </a:ext>
                  </a:extLst>
                </p:cNvPr>
                <p:cNvSpPr/>
                <p:nvPr/>
              </p:nvSpPr>
              <p:spPr>
                <a:xfrm>
                  <a:off x="9645579" y="3832251"/>
                  <a:ext cx="982834" cy="370341"/>
                </a:xfrm>
                <a:custGeom>
                  <a:avLst/>
                  <a:gdLst>
                    <a:gd name="connsiteX0" fmla="*/ 475001 w 982834"/>
                    <a:gd name="connsiteY0" fmla="*/ 5397 h 370341"/>
                    <a:gd name="connsiteX1" fmla="*/ 982363 w 982834"/>
                    <a:gd name="connsiteY1" fmla="*/ 138913 h 370341"/>
                    <a:gd name="connsiteX2" fmla="*/ 845880 w 982834"/>
                    <a:gd name="connsiteY2" fmla="*/ 281331 h 370341"/>
                    <a:gd name="connsiteX3" fmla="*/ 507638 w 982834"/>
                    <a:gd name="connsiteY3" fmla="*/ 364408 h 370341"/>
                    <a:gd name="connsiteX4" fmla="*/ 383023 w 982834"/>
                    <a:gd name="connsiteY4" fmla="*/ 370342 h 370341"/>
                    <a:gd name="connsiteX5" fmla="*/ 276 w 982834"/>
                    <a:gd name="connsiteY5" fmla="*/ 230891 h 370341"/>
                    <a:gd name="connsiteX6" fmla="*/ 475001 w 982834"/>
                    <a:gd name="connsiteY6" fmla="*/ 5397 h 3703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82834" h="370341">
                      <a:moveTo>
                        <a:pt x="475001" y="5397"/>
                      </a:moveTo>
                      <a:cubicBezTo>
                        <a:pt x="750935" y="-18340"/>
                        <a:pt x="973463" y="38034"/>
                        <a:pt x="982363" y="138913"/>
                      </a:cubicBezTo>
                      <a:cubicBezTo>
                        <a:pt x="988298" y="189353"/>
                        <a:pt x="937858" y="239792"/>
                        <a:pt x="845880" y="281331"/>
                      </a:cubicBezTo>
                      <a:cubicBezTo>
                        <a:pt x="756869" y="322869"/>
                        <a:pt x="635221" y="352540"/>
                        <a:pt x="507638" y="364408"/>
                      </a:cubicBezTo>
                      <a:cubicBezTo>
                        <a:pt x="466100" y="367375"/>
                        <a:pt x="421594" y="370342"/>
                        <a:pt x="383023" y="370342"/>
                      </a:cubicBezTo>
                      <a:cubicBezTo>
                        <a:pt x="166429" y="370342"/>
                        <a:pt x="6210" y="313968"/>
                        <a:pt x="276" y="230891"/>
                      </a:cubicBezTo>
                      <a:cubicBezTo>
                        <a:pt x="-8626" y="127045"/>
                        <a:pt x="199067" y="29133"/>
                        <a:pt x="475001" y="5397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41" name="任意多边形: 形状 340">
                  <a:extLst>
                    <a:ext uri="{FF2B5EF4-FFF2-40B4-BE49-F238E27FC236}">
                      <a16:creationId xmlns:a16="http://schemas.microsoft.com/office/drawing/2014/main" id="{968DBF94-EB64-470D-9FCE-172019C9466D}"/>
                    </a:ext>
                  </a:extLst>
                </p:cNvPr>
                <p:cNvSpPr/>
                <p:nvPr/>
              </p:nvSpPr>
              <p:spPr>
                <a:xfrm>
                  <a:off x="9717064" y="3871123"/>
                  <a:ext cx="836847" cy="289931"/>
                </a:xfrm>
                <a:custGeom>
                  <a:avLst/>
                  <a:gdLst>
                    <a:gd name="connsiteX0" fmla="*/ 118681 w 836847"/>
                    <a:gd name="connsiteY0" fmla="*/ 70371 h 289931"/>
                    <a:gd name="connsiteX1" fmla="*/ 406483 w 836847"/>
                    <a:gd name="connsiteY1" fmla="*/ 5096 h 289931"/>
                    <a:gd name="connsiteX2" fmla="*/ 836703 w 836847"/>
                    <a:gd name="connsiteY2" fmla="*/ 105975 h 289931"/>
                    <a:gd name="connsiteX3" fmla="*/ 433187 w 836847"/>
                    <a:gd name="connsiteY3" fmla="*/ 283997 h 289931"/>
                    <a:gd name="connsiteX4" fmla="*/ 317472 w 836847"/>
                    <a:gd name="connsiteY4" fmla="*/ 289931 h 289931"/>
                    <a:gd name="connsiteX5" fmla="*/ 136484 w 836847"/>
                    <a:gd name="connsiteY5" fmla="*/ 272129 h 289931"/>
                    <a:gd name="connsiteX6" fmla="*/ 0 w 836847"/>
                    <a:gd name="connsiteY6" fmla="*/ 183118 h 289931"/>
                    <a:gd name="connsiteX7" fmla="*/ 118681 w 836847"/>
                    <a:gd name="connsiteY7" fmla="*/ 70371 h 289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36847" h="289931">
                      <a:moveTo>
                        <a:pt x="118681" y="70371"/>
                      </a:moveTo>
                      <a:cubicBezTo>
                        <a:pt x="195824" y="37734"/>
                        <a:pt x="296703" y="13997"/>
                        <a:pt x="406483" y="5096"/>
                      </a:cubicBezTo>
                      <a:cubicBezTo>
                        <a:pt x="640879" y="-15673"/>
                        <a:pt x="830770" y="28833"/>
                        <a:pt x="836703" y="105975"/>
                      </a:cubicBezTo>
                      <a:cubicBezTo>
                        <a:pt x="842638" y="183118"/>
                        <a:pt x="664616" y="263228"/>
                        <a:pt x="433187" y="283997"/>
                      </a:cubicBezTo>
                      <a:cubicBezTo>
                        <a:pt x="394615" y="286964"/>
                        <a:pt x="356044" y="289931"/>
                        <a:pt x="317472" y="289931"/>
                      </a:cubicBezTo>
                      <a:cubicBezTo>
                        <a:pt x="249231" y="289931"/>
                        <a:pt x="189890" y="283997"/>
                        <a:pt x="136484" y="272129"/>
                      </a:cubicBezTo>
                      <a:cubicBezTo>
                        <a:pt x="53407" y="254327"/>
                        <a:pt x="5934" y="221690"/>
                        <a:pt x="0" y="183118"/>
                      </a:cubicBezTo>
                      <a:cubicBezTo>
                        <a:pt x="0" y="144547"/>
                        <a:pt x="41539" y="103008"/>
                        <a:pt x="118681" y="70371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42" name="图形 1">
                  <a:extLst>
                    <a:ext uri="{FF2B5EF4-FFF2-40B4-BE49-F238E27FC236}">
                      <a16:creationId xmlns:a16="http://schemas.microsoft.com/office/drawing/2014/main" id="{63DA345D-CFCA-408F-A558-D0D0637712DC}"/>
                    </a:ext>
                  </a:extLst>
                </p:cNvPr>
                <p:cNvGrpSpPr/>
                <p:nvPr/>
              </p:nvGrpSpPr>
              <p:grpSpPr>
                <a:xfrm>
                  <a:off x="10345793" y="3934395"/>
                  <a:ext cx="110342" cy="81273"/>
                  <a:chOff x="10345793" y="3934395"/>
                  <a:chExt cx="110342" cy="81273"/>
                </a:xfrm>
              </p:grpSpPr>
              <p:sp>
                <p:nvSpPr>
                  <p:cNvPr id="343" name="任意多边形: 形状 342">
                    <a:extLst>
                      <a:ext uri="{FF2B5EF4-FFF2-40B4-BE49-F238E27FC236}">
                        <a16:creationId xmlns:a16="http://schemas.microsoft.com/office/drawing/2014/main" id="{1EE4669A-38A6-4E34-8454-43ED48A6A534}"/>
                      </a:ext>
                    </a:extLst>
                  </p:cNvPr>
                  <p:cNvSpPr/>
                  <p:nvPr/>
                </p:nvSpPr>
                <p:spPr>
                  <a:xfrm>
                    <a:off x="10354654" y="3946865"/>
                    <a:ext cx="89616" cy="60465"/>
                  </a:xfrm>
                  <a:custGeom>
                    <a:avLst/>
                    <a:gdLst>
                      <a:gd name="connsiteX0" fmla="*/ 322 w 89616"/>
                      <a:gd name="connsiteY0" fmla="*/ 36167 h 60465"/>
                      <a:gd name="connsiteX1" fmla="*/ 47794 w 89616"/>
                      <a:gd name="connsiteY1" fmla="*/ 59903 h 60465"/>
                      <a:gd name="connsiteX2" fmla="*/ 89333 w 89616"/>
                      <a:gd name="connsiteY2" fmla="*/ 24298 h 60465"/>
                      <a:gd name="connsiteX3" fmla="*/ 41861 w 89616"/>
                      <a:gd name="connsiteY3" fmla="*/ 562 h 60465"/>
                      <a:gd name="connsiteX4" fmla="*/ 322 w 89616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616" h="60465">
                        <a:moveTo>
                          <a:pt x="322" y="36167"/>
                        </a:moveTo>
                        <a:cubicBezTo>
                          <a:pt x="3289" y="53969"/>
                          <a:pt x="24058" y="62870"/>
                          <a:pt x="47794" y="59903"/>
                        </a:cubicBezTo>
                        <a:cubicBezTo>
                          <a:pt x="71531" y="56936"/>
                          <a:pt x="92300" y="42101"/>
                          <a:pt x="89333" y="24298"/>
                        </a:cubicBezTo>
                        <a:cubicBezTo>
                          <a:pt x="86366" y="6496"/>
                          <a:pt x="65597" y="-2405"/>
                          <a:pt x="41861" y="562"/>
                        </a:cubicBezTo>
                        <a:cubicBezTo>
                          <a:pt x="15158" y="3529"/>
                          <a:pt x="-2645" y="18364"/>
                          <a:pt x="322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44" name="任意多边形: 形状 343">
                    <a:extLst>
                      <a:ext uri="{FF2B5EF4-FFF2-40B4-BE49-F238E27FC236}">
                        <a16:creationId xmlns:a16="http://schemas.microsoft.com/office/drawing/2014/main" id="{021F7A78-F18F-430F-B357-0001339FC81B}"/>
                      </a:ext>
                    </a:extLst>
                  </p:cNvPr>
                  <p:cNvSpPr/>
                  <p:nvPr/>
                </p:nvSpPr>
                <p:spPr>
                  <a:xfrm>
                    <a:off x="10345793" y="3934395"/>
                    <a:ext cx="110342" cy="81273"/>
                  </a:xfrm>
                  <a:custGeom>
                    <a:avLst/>
                    <a:gdLst>
                      <a:gd name="connsiteX0" fmla="*/ 21051 w 110342"/>
                      <a:gd name="connsiteY0" fmla="*/ 75340 h 81273"/>
                      <a:gd name="connsiteX1" fmla="*/ 281 w 110342"/>
                      <a:gd name="connsiteY1" fmla="*/ 48636 h 81273"/>
                      <a:gd name="connsiteX2" fmla="*/ 50721 w 110342"/>
                      <a:gd name="connsiteY2" fmla="*/ 1164 h 81273"/>
                      <a:gd name="connsiteX3" fmla="*/ 89292 w 110342"/>
                      <a:gd name="connsiteY3" fmla="*/ 7098 h 81273"/>
                      <a:gd name="connsiteX4" fmla="*/ 110062 w 110342"/>
                      <a:gd name="connsiteY4" fmla="*/ 33801 h 81273"/>
                      <a:gd name="connsiteX5" fmla="*/ 59622 w 110342"/>
                      <a:gd name="connsiteY5" fmla="*/ 81274 h 81273"/>
                      <a:gd name="connsiteX6" fmla="*/ 50721 w 110342"/>
                      <a:gd name="connsiteY6" fmla="*/ 81274 h 81273"/>
                      <a:gd name="connsiteX7" fmla="*/ 21051 w 110342"/>
                      <a:gd name="connsiteY7" fmla="*/ 75340 h 81273"/>
                      <a:gd name="connsiteX8" fmla="*/ 50721 w 110342"/>
                      <a:gd name="connsiteY8" fmla="*/ 21933 h 81273"/>
                      <a:gd name="connsiteX9" fmla="*/ 18084 w 110342"/>
                      <a:gd name="connsiteY9" fmla="*/ 45669 h 81273"/>
                      <a:gd name="connsiteX10" fmla="*/ 29951 w 110342"/>
                      <a:gd name="connsiteY10" fmla="*/ 57538 h 81273"/>
                      <a:gd name="connsiteX11" fmla="*/ 56655 w 110342"/>
                      <a:gd name="connsiteY11" fmla="*/ 60505 h 81273"/>
                      <a:gd name="connsiteX12" fmla="*/ 89292 w 110342"/>
                      <a:gd name="connsiteY12" fmla="*/ 36768 h 81273"/>
                      <a:gd name="connsiteX13" fmla="*/ 77424 w 110342"/>
                      <a:gd name="connsiteY13" fmla="*/ 24900 h 81273"/>
                      <a:gd name="connsiteX14" fmla="*/ 56655 w 110342"/>
                      <a:gd name="connsiteY14" fmla="*/ 21933 h 81273"/>
                      <a:gd name="connsiteX15" fmla="*/ 50721 w 110342"/>
                      <a:gd name="connsiteY15" fmla="*/ 21933 h 812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0342" h="81273">
                        <a:moveTo>
                          <a:pt x="21051" y="75340"/>
                        </a:moveTo>
                        <a:cubicBezTo>
                          <a:pt x="9183" y="69406"/>
                          <a:pt x="281" y="60505"/>
                          <a:pt x="281" y="48636"/>
                        </a:cubicBezTo>
                        <a:cubicBezTo>
                          <a:pt x="-2686" y="27867"/>
                          <a:pt x="18084" y="7098"/>
                          <a:pt x="50721" y="1164"/>
                        </a:cubicBezTo>
                        <a:cubicBezTo>
                          <a:pt x="65556" y="-1803"/>
                          <a:pt x="77424" y="1164"/>
                          <a:pt x="89292" y="7098"/>
                        </a:cubicBezTo>
                        <a:cubicBezTo>
                          <a:pt x="101160" y="13032"/>
                          <a:pt x="110062" y="21933"/>
                          <a:pt x="110062" y="33801"/>
                        </a:cubicBezTo>
                        <a:cubicBezTo>
                          <a:pt x="113029" y="54571"/>
                          <a:pt x="92259" y="75340"/>
                          <a:pt x="59622" y="81274"/>
                        </a:cubicBezTo>
                        <a:cubicBezTo>
                          <a:pt x="56655" y="81274"/>
                          <a:pt x="53688" y="81274"/>
                          <a:pt x="50721" y="81274"/>
                        </a:cubicBezTo>
                        <a:cubicBezTo>
                          <a:pt x="38853" y="81274"/>
                          <a:pt x="26984" y="81274"/>
                          <a:pt x="21051" y="75340"/>
                        </a:cubicBezTo>
                        <a:close/>
                        <a:moveTo>
                          <a:pt x="50721" y="21933"/>
                        </a:moveTo>
                        <a:cubicBezTo>
                          <a:pt x="29951" y="24900"/>
                          <a:pt x="15116" y="36768"/>
                          <a:pt x="18084" y="45669"/>
                        </a:cubicBezTo>
                        <a:cubicBezTo>
                          <a:pt x="18084" y="51603"/>
                          <a:pt x="24018" y="54571"/>
                          <a:pt x="29951" y="57538"/>
                        </a:cubicBezTo>
                        <a:cubicBezTo>
                          <a:pt x="38853" y="60505"/>
                          <a:pt x="47754" y="63472"/>
                          <a:pt x="56655" y="60505"/>
                        </a:cubicBezTo>
                        <a:cubicBezTo>
                          <a:pt x="77424" y="57538"/>
                          <a:pt x="92259" y="45669"/>
                          <a:pt x="89292" y="36768"/>
                        </a:cubicBezTo>
                        <a:cubicBezTo>
                          <a:pt x="89292" y="30834"/>
                          <a:pt x="83359" y="27867"/>
                          <a:pt x="77424" y="24900"/>
                        </a:cubicBezTo>
                        <a:cubicBezTo>
                          <a:pt x="71490" y="21933"/>
                          <a:pt x="65556" y="21933"/>
                          <a:pt x="56655" y="21933"/>
                        </a:cubicBezTo>
                        <a:cubicBezTo>
                          <a:pt x="56655" y="21933"/>
                          <a:pt x="53688" y="21933"/>
                          <a:pt x="50721" y="21933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345" name="图形 1">
                  <a:extLst>
                    <a:ext uri="{FF2B5EF4-FFF2-40B4-BE49-F238E27FC236}">
                      <a16:creationId xmlns:a16="http://schemas.microsoft.com/office/drawing/2014/main" id="{63DA345D-CFCA-408F-A558-D0D0637712DC}"/>
                    </a:ext>
                  </a:extLst>
                </p:cNvPr>
                <p:cNvGrpSpPr/>
                <p:nvPr/>
              </p:nvGrpSpPr>
              <p:grpSpPr>
                <a:xfrm>
                  <a:off x="9980849" y="4035275"/>
                  <a:ext cx="110342" cy="81273"/>
                  <a:chOff x="9980849" y="4035275"/>
                  <a:chExt cx="110342" cy="81273"/>
                </a:xfrm>
              </p:grpSpPr>
              <p:sp>
                <p:nvSpPr>
                  <p:cNvPr id="346" name="任意多边形: 形状 345">
                    <a:extLst>
                      <a:ext uri="{FF2B5EF4-FFF2-40B4-BE49-F238E27FC236}">
                        <a16:creationId xmlns:a16="http://schemas.microsoft.com/office/drawing/2014/main" id="{376825DE-1D75-4F4B-B38D-A28735E10844}"/>
                      </a:ext>
                    </a:extLst>
                  </p:cNvPr>
                  <p:cNvSpPr/>
                  <p:nvPr/>
                </p:nvSpPr>
                <p:spPr>
                  <a:xfrm>
                    <a:off x="9989747" y="4044777"/>
                    <a:ext cx="89577" cy="60465"/>
                  </a:xfrm>
                  <a:custGeom>
                    <a:avLst/>
                    <a:gdLst>
                      <a:gd name="connsiteX0" fmla="*/ 283 w 89577"/>
                      <a:gd name="connsiteY0" fmla="*/ 36167 h 60465"/>
                      <a:gd name="connsiteX1" fmla="*/ 47756 w 89577"/>
                      <a:gd name="connsiteY1" fmla="*/ 59903 h 60465"/>
                      <a:gd name="connsiteX2" fmla="*/ 89294 w 89577"/>
                      <a:gd name="connsiteY2" fmla="*/ 24299 h 60465"/>
                      <a:gd name="connsiteX3" fmla="*/ 41822 w 89577"/>
                      <a:gd name="connsiteY3" fmla="*/ 562 h 60465"/>
                      <a:gd name="connsiteX4" fmla="*/ 283 w 89577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577" h="60465">
                        <a:moveTo>
                          <a:pt x="283" y="36167"/>
                        </a:moveTo>
                        <a:cubicBezTo>
                          <a:pt x="3251" y="53969"/>
                          <a:pt x="24020" y="62870"/>
                          <a:pt x="47756" y="59903"/>
                        </a:cubicBezTo>
                        <a:cubicBezTo>
                          <a:pt x="71492" y="56936"/>
                          <a:pt x="92262" y="42101"/>
                          <a:pt x="89294" y="24299"/>
                        </a:cubicBezTo>
                        <a:cubicBezTo>
                          <a:pt x="86328" y="6496"/>
                          <a:pt x="65558" y="-2405"/>
                          <a:pt x="41822" y="562"/>
                        </a:cubicBezTo>
                        <a:cubicBezTo>
                          <a:pt x="18086" y="3529"/>
                          <a:pt x="-2683" y="21332"/>
                          <a:pt x="283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47" name="任意多边形: 形状 346">
                    <a:extLst>
                      <a:ext uri="{FF2B5EF4-FFF2-40B4-BE49-F238E27FC236}">
                        <a16:creationId xmlns:a16="http://schemas.microsoft.com/office/drawing/2014/main" id="{4D02EEB6-6C76-4168-9602-3DE0C3974017}"/>
                      </a:ext>
                    </a:extLst>
                  </p:cNvPr>
                  <p:cNvSpPr/>
                  <p:nvPr/>
                </p:nvSpPr>
                <p:spPr>
                  <a:xfrm>
                    <a:off x="9980849" y="4035275"/>
                    <a:ext cx="110342" cy="81273"/>
                  </a:xfrm>
                  <a:custGeom>
                    <a:avLst/>
                    <a:gdLst>
                      <a:gd name="connsiteX0" fmla="*/ 21050 w 110342"/>
                      <a:gd name="connsiteY0" fmla="*/ 75340 h 81273"/>
                      <a:gd name="connsiteX1" fmla="*/ 281 w 110342"/>
                      <a:gd name="connsiteY1" fmla="*/ 48636 h 81273"/>
                      <a:gd name="connsiteX2" fmla="*/ 50721 w 110342"/>
                      <a:gd name="connsiteY2" fmla="*/ 1164 h 81273"/>
                      <a:gd name="connsiteX3" fmla="*/ 89292 w 110342"/>
                      <a:gd name="connsiteY3" fmla="*/ 7098 h 81273"/>
                      <a:gd name="connsiteX4" fmla="*/ 110061 w 110342"/>
                      <a:gd name="connsiteY4" fmla="*/ 33801 h 81273"/>
                      <a:gd name="connsiteX5" fmla="*/ 59622 w 110342"/>
                      <a:gd name="connsiteY5" fmla="*/ 81274 h 81273"/>
                      <a:gd name="connsiteX6" fmla="*/ 50721 w 110342"/>
                      <a:gd name="connsiteY6" fmla="*/ 81274 h 81273"/>
                      <a:gd name="connsiteX7" fmla="*/ 21050 w 110342"/>
                      <a:gd name="connsiteY7" fmla="*/ 75340 h 81273"/>
                      <a:gd name="connsiteX8" fmla="*/ 50721 w 110342"/>
                      <a:gd name="connsiteY8" fmla="*/ 18966 h 81273"/>
                      <a:gd name="connsiteX9" fmla="*/ 18083 w 110342"/>
                      <a:gd name="connsiteY9" fmla="*/ 42702 h 81273"/>
                      <a:gd name="connsiteX10" fmla="*/ 29951 w 110342"/>
                      <a:gd name="connsiteY10" fmla="*/ 54570 h 81273"/>
                      <a:gd name="connsiteX11" fmla="*/ 56655 w 110342"/>
                      <a:gd name="connsiteY11" fmla="*/ 57538 h 81273"/>
                      <a:gd name="connsiteX12" fmla="*/ 89292 w 110342"/>
                      <a:gd name="connsiteY12" fmla="*/ 33801 h 81273"/>
                      <a:gd name="connsiteX13" fmla="*/ 77424 w 110342"/>
                      <a:gd name="connsiteY13" fmla="*/ 21933 h 81273"/>
                      <a:gd name="connsiteX14" fmla="*/ 56655 w 110342"/>
                      <a:gd name="connsiteY14" fmla="*/ 18966 h 81273"/>
                      <a:gd name="connsiteX15" fmla="*/ 50721 w 110342"/>
                      <a:gd name="connsiteY15" fmla="*/ 18966 h 812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0342" h="81273">
                        <a:moveTo>
                          <a:pt x="21050" y="75340"/>
                        </a:moveTo>
                        <a:cubicBezTo>
                          <a:pt x="9182" y="69406"/>
                          <a:pt x="281" y="60505"/>
                          <a:pt x="281" y="48636"/>
                        </a:cubicBezTo>
                        <a:cubicBezTo>
                          <a:pt x="-2686" y="27867"/>
                          <a:pt x="18083" y="7098"/>
                          <a:pt x="50721" y="1164"/>
                        </a:cubicBezTo>
                        <a:cubicBezTo>
                          <a:pt x="65556" y="-1803"/>
                          <a:pt x="77424" y="1164"/>
                          <a:pt x="89292" y="7098"/>
                        </a:cubicBezTo>
                        <a:cubicBezTo>
                          <a:pt x="101160" y="13032"/>
                          <a:pt x="110061" y="21933"/>
                          <a:pt x="110061" y="33801"/>
                        </a:cubicBezTo>
                        <a:cubicBezTo>
                          <a:pt x="113028" y="54570"/>
                          <a:pt x="92259" y="75340"/>
                          <a:pt x="59622" y="81274"/>
                        </a:cubicBezTo>
                        <a:cubicBezTo>
                          <a:pt x="56655" y="81274"/>
                          <a:pt x="53687" y="81274"/>
                          <a:pt x="50721" y="81274"/>
                        </a:cubicBezTo>
                        <a:cubicBezTo>
                          <a:pt x="38852" y="81274"/>
                          <a:pt x="29951" y="78307"/>
                          <a:pt x="21050" y="75340"/>
                        </a:cubicBezTo>
                        <a:close/>
                        <a:moveTo>
                          <a:pt x="50721" y="18966"/>
                        </a:moveTo>
                        <a:cubicBezTo>
                          <a:pt x="29951" y="21933"/>
                          <a:pt x="15116" y="33801"/>
                          <a:pt x="18083" y="42702"/>
                        </a:cubicBezTo>
                        <a:cubicBezTo>
                          <a:pt x="18083" y="48636"/>
                          <a:pt x="24017" y="51603"/>
                          <a:pt x="29951" y="54570"/>
                        </a:cubicBezTo>
                        <a:cubicBezTo>
                          <a:pt x="38852" y="57538"/>
                          <a:pt x="47753" y="60505"/>
                          <a:pt x="56655" y="57538"/>
                        </a:cubicBezTo>
                        <a:cubicBezTo>
                          <a:pt x="77424" y="54570"/>
                          <a:pt x="92259" y="42702"/>
                          <a:pt x="89292" y="33801"/>
                        </a:cubicBezTo>
                        <a:cubicBezTo>
                          <a:pt x="89292" y="27867"/>
                          <a:pt x="83358" y="24900"/>
                          <a:pt x="77424" y="21933"/>
                        </a:cubicBezTo>
                        <a:cubicBezTo>
                          <a:pt x="71490" y="18966"/>
                          <a:pt x="65556" y="18966"/>
                          <a:pt x="56655" y="18966"/>
                        </a:cubicBezTo>
                        <a:cubicBezTo>
                          <a:pt x="56655" y="18966"/>
                          <a:pt x="53687" y="18966"/>
                          <a:pt x="50721" y="18966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348" name="图形 1">
                  <a:extLst>
                    <a:ext uri="{FF2B5EF4-FFF2-40B4-BE49-F238E27FC236}">
                      <a16:creationId xmlns:a16="http://schemas.microsoft.com/office/drawing/2014/main" id="{63DA345D-CFCA-408F-A558-D0D0637712DC}"/>
                    </a:ext>
                  </a:extLst>
                </p:cNvPr>
                <p:cNvGrpSpPr/>
                <p:nvPr/>
              </p:nvGrpSpPr>
              <p:grpSpPr>
                <a:xfrm>
                  <a:off x="10158871" y="3898791"/>
                  <a:ext cx="110342" cy="81273"/>
                  <a:chOff x="10158871" y="3898791"/>
                  <a:chExt cx="110342" cy="81273"/>
                </a:xfrm>
              </p:grpSpPr>
              <p:sp>
                <p:nvSpPr>
                  <p:cNvPr id="349" name="任意多边形: 形状 348">
                    <a:extLst>
                      <a:ext uri="{FF2B5EF4-FFF2-40B4-BE49-F238E27FC236}">
                        <a16:creationId xmlns:a16="http://schemas.microsoft.com/office/drawing/2014/main" id="{5A8FB83F-22E0-48A0-ACDC-0D27E5571FE8}"/>
                      </a:ext>
                    </a:extLst>
                  </p:cNvPr>
                  <p:cNvSpPr/>
                  <p:nvPr/>
                </p:nvSpPr>
                <p:spPr>
                  <a:xfrm>
                    <a:off x="10167730" y="3911261"/>
                    <a:ext cx="89616" cy="60465"/>
                  </a:xfrm>
                  <a:custGeom>
                    <a:avLst/>
                    <a:gdLst>
                      <a:gd name="connsiteX0" fmla="*/ 322 w 89616"/>
                      <a:gd name="connsiteY0" fmla="*/ 36167 h 60465"/>
                      <a:gd name="connsiteX1" fmla="*/ 47795 w 89616"/>
                      <a:gd name="connsiteY1" fmla="*/ 59903 h 60465"/>
                      <a:gd name="connsiteX2" fmla="*/ 89333 w 89616"/>
                      <a:gd name="connsiteY2" fmla="*/ 24299 h 60465"/>
                      <a:gd name="connsiteX3" fmla="*/ 41861 w 89616"/>
                      <a:gd name="connsiteY3" fmla="*/ 562 h 60465"/>
                      <a:gd name="connsiteX4" fmla="*/ 322 w 89616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616" h="60465">
                        <a:moveTo>
                          <a:pt x="322" y="36167"/>
                        </a:moveTo>
                        <a:cubicBezTo>
                          <a:pt x="3290" y="53969"/>
                          <a:pt x="24059" y="62870"/>
                          <a:pt x="47795" y="59903"/>
                        </a:cubicBezTo>
                        <a:cubicBezTo>
                          <a:pt x="71531" y="56936"/>
                          <a:pt x="92301" y="42101"/>
                          <a:pt x="89333" y="24299"/>
                        </a:cubicBezTo>
                        <a:cubicBezTo>
                          <a:pt x="86366" y="6496"/>
                          <a:pt x="65597" y="-2405"/>
                          <a:pt x="41861" y="562"/>
                        </a:cubicBezTo>
                        <a:cubicBezTo>
                          <a:pt x="15157" y="3529"/>
                          <a:pt x="-2644" y="18365"/>
                          <a:pt x="322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50" name="任意多边形: 形状 349">
                    <a:extLst>
                      <a:ext uri="{FF2B5EF4-FFF2-40B4-BE49-F238E27FC236}">
                        <a16:creationId xmlns:a16="http://schemas.microsoft.com/office/drawing/2014/main" id="{3B952B47-1741-402B-9268-E933F154826D}"/>
                      </a:ext>
                    </a:extLst>
                  </p:cNvPr>
                  <p:cNvSpPr/>
                  <p:nvPr/>
                </p:nvSpPr>
                <p:spPr>
                  <a:xfrm>
                    <a:off x="10158871" y="3898791"/>
                    <a:ext cx="110342" cy="81273"/>
                  </a:xfrm>
                  <a:custGeom>
                    <a:avLst/>
                    <a:gdLst>
                      <a:gd name="connsiteX0" fmla="*/ 21050 w 110342"/>
                      <a:gd name="connsiteY0" fmla="*/ 75340 h 81273"/>
                      <a:gd name="connsiteX1" fmla="*/ 281 w 110342"/>
                      <a:gd name="connsiteY1" fmla="*/ 48637 h 81273"/>
                      <a:gd name="connsiteX2" fmla="*/ 50720 w 110342"/>
                      <a:gd name="connsiteY2" fmla="*/ 1164 h 81273"/>
                      <a:gd name="connsiteX3" fmla="*/ 89292 w 110342"/>
                      <a:gd name="connsiteY3" fmla="*/ 7098 h 81273"/>
                      <a:gd name="connsiteX4" fmla="*/ 110061 w 110342"/>
                      <a:gd name="connsiteY4" fmla="*/ 33801 h 81273"/>
                      <a:gd name="connsiteX5" fmla="*/ 59622 w 110342"/>
                      <a:gd name="connsiteY5" fmla="*/ 81274 h 81273"/>
                      <a:gd name="connsiteX6" fmla="*/ 50720 w 110342"/>
                      <a:gd name="connsiteY6" fmla="*/ 81274 h 81273"/>
                      <a:gd name="connsiteX7" fmla="*/ 21050 w 110342"/>
                      <a:gd name="connsiteY7" fmla="*/ 75340 h 81273"/>
                      <a:gd name="connsiteX8" fmla="*/ 50720 w 110342"/>
                      <a:gd name="connsiteY8" fmla="*/ 21933 h 81273"/>
                      <a:gd name="connsiteX9" fmla="*/ 18083 w 110342"/>
                      <a:gd name="connsiteY9" fmla="*/ 45670 h 81273"/>
                      <a:gd name="connsiteX10" fmla="*/ 29951 w 110342"/>
                      <a:gd name="connsiteY10" fmla="*/ 57538 h 81273"/>
                      <a:gd name="connsiteX11" fmla="*/ 56655 w 110342"/>
                      <a:gd name="connsiteY11" fmla="*/ 60505 h 81273"/>
                      <a:gd name="connsiteX12" fmla="*/ 89292 w 110342"/>
                      <a:gd name="connsiteY12" fmla="*/ 36768 h 81273"/>
                      <a:gd name="connsiteX13" fmla="*/ 77424 w 110342"/>
                      <a:gd name="connsiteY13" fmla="*/ 24900 h 81273"/>
                      <a:gd name="connsiteX14" fmla="*/ 56655 w 110342"/>
                      <a:gd name="connsiteY14" fmla="*/ 21933 h 81273"/>
                      <a:gd name="connsiteX15" fmla="*/ 50720 w 110342"/>
                      <a:gd name="connsiteY15" fmla="*/ 21933 h 812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0342" h="81273">
                        <a:moveTo>
                          <a:pt x="21050" y="75340"/>
                        </a:moveTo>
                        <a:cubicBezTo>
                          <a:pt x="9182" y="69406"/>
                          <a:pt x="281" y="60505"/>
                          <a:pt x="281" y="48637"/>
                        </a:cubicBezTo>
                        <a:cubicBezTo>
                          <a:pt x="-2686" y="27867"/>
                          <a:pt x="18083" y="7098"/>
                          <a:pt x="50720" y="1164"/>
                        </a:cubicBezTo>
                        <a:cubicBezTo>
                          <a:pt x="65555" y="-1803"/>
                          <a:pt x="77424" y="1164"/>
                          <a:pt x="89292" y="7098"/>
                        </a:cubicBezTo>
                        <a:cubicBezTo>
                          <a:pt x="101160" y="13032"/>
                          <a:pt x="110061" y="21933"/>
                          <a:pt x="110061" y="33801"/>
                        </a:cubicBezTo>
                        <a:cubicBezTo>
                          <a:pt x="113028" y="54571"/>
                          <a:pt x="92259" y="75340"/>
                          <a:pt x="59622" y="81274"/>
                        </a:cubicBezTo>
                        <a:cubicBezTo>
                          <a:pt x="56655" y="81274"/>
                          <a:pt x="53687" y="81274"/>
                          <a:pt x="50720" y="81274"/>
                        </a:cubicBezTo>
                        <a:cubicBezTo>
                          <a:pt x="38852" y="81274"/>
                          <a:pt x="29951" y="81274"/>
                          <a:pt x="21050" y="75340"/>
                        </a:cubicBezTo>
                        <a:close/>
                        <a:moveTo>
                          <a:pt x="50720" y="21933"/>
                        </a:moveTo>
                        <a:cubicBezTo>
                          <a:pt x="29951" y="24900"/>
                          <a:pt x="15116" y="36768"/>
                          <a:pt x="18083" y="45670"/>
                        </a:cubicBezTo>
                        <a:cubicBezTo>
                          <a:pt x="18083" y="51604"/>
                          <a:pt x="24017" y="54571"/>
                          <a:pt x="29951" y="57538"/>
                        </a:cubicBezTo>
                        <a:cubicBezTo>
                          <a:pt x="38852" y="60505"/>
                          <a:pt x="47754" y="63472"/>
                          <a:pt x="56655" y="60505"/>
                        </a:cubicBezTo>
                        <a:cubicBezTo>
                          <a:pt x="77424" y="57538"/>
                          <a:pt x="92259" y="45670"/>
                          <a:pt x="89292" y="36768"/>
                        </a:cubicBezTo>
                        <a:cubicBezTo>
                          <a:pt x="89292" y="30834"/>
                          <a:pt x="83358" y="27867"/>
                          <a:pt x="77424" y="24900"/>
                        </a:cubicBezTo>
                        <a:cubicBezTo>
                          <a:pt x="71490" y="21933"/>
                          <a:pt x="65555" y="21933"/>
                          <a:pt x="56655" y="21933"/>
                        </a:cubicBezTo>
                        <a:cubicBezTo>
                          <a:pt x="56655" y="21933"/>
                          <a:pt x="53687" y="21933"/>
                          <a:pt x="50720" y="21933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351" name="图形 1">
                  <a:extLst>
                    <a:ext uri="{FF2B5EF4-FFF2-40B4-BE49-F238E27FC236}">
                      <a16:creationId xmlns:a16="http://schemas.microsoft.com/office/drawing/2014/main" id="{63DA345D-CFCA-408F-A558-D0D0637712DC}"/>
                    </a:ext>
                  </a:extLst>
                </p:cNvPr>
                <p:cNvGrpSpPr/>
                <p:nvPr/>
              </p:nvGrpSpPr>
              <p:grpSpPr>
                <a:xfrm>
                  <a:off x="9814695" y="3994522"/>
                  <a:ext cx="110342" cy="80487"/>
                  <a:chOff x="9814695" y="3994522"/>
                  <a:chExt cx="110342" cy="80487"/>
                </a:xfrm>
              </p:grpSpPr>
              <p:sp>
                <p:nvSpPr>
                  <p:cNvPr id="352" name="任意多边形: 形状 351">
                    <a:extLst>
                      <a:ext uri="{FF2B5EF4-FFF2-40B4-BE49-F238E27FC236}">
                        <a16:creationId xmlns:a16="http://schemas.microsoft.com/office/drawing/2014/main" id="{E4AAE398-602D-4176-A8B4-500C780A4A13}"/>
                      </a:ext>
                    </a:extLst>
                  </p:cNvPr>
                  <p:cNvSpPr/>
                  <p:nvPr/>
                </p:nvSpPr>
                <p:spPr>
                  <a:xfrm>
                    <a:off x="9823593" y="4003239"/>
                    <a:ext cx="89577" cy="60465"/>
                  </a:xfrm>
                  <a:custGeom>
                    <a:avLst/>
                    <a:gdLst>
                      <a:gd name="connsiteX0" fmla="*/ 283 w 89577"/>
                      <a:gd name="connsiteY0" fmla="*/ 36167 h 60465"/>
                      <a:gd name="connsiteX1" fmla="*/ 47756 w 89577"/>
                      <a:gd name="connsiteY1" fmla="*/ 59903 h 60465"/>
                      <a:gd name="connsiteX2" fmla="*/ 89294 w 89577"/>
                      <a:gd name="connsiteY2" fmla="*/ 24298 h 60465"/>
                      <a:gd name="connsiteX3" fmla="*/ 41822 w 89577"/>
                      <a:gd name="connsiteY3" fmla="*/ 562 h 60465"/>
                      <a:gd name="connsiteX4" fmla="*/ 283 w 89577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577" h="60465">
                        <a:moveTo>
                          <a:pt x="283" y="36167"/>
                        </a:moveTo>
                        <a:cubicBezTo>
                          <a:pt x="3250" y="53969"/>
                          <a:pt x="24020" y="62870"/>
                          <a:pt x="47756" y="59903"/>
                        </a:cubicBezTo>
                        <a:cubicBezTo>
                          <a:pt x="71492" y="56936"/>
                          <a:pt x="92261" y="42101"/>
                          <a:pt x="89294" y="24298"/>
                        </a:cubicBezTo>
                        <a:cubicBezTo>
                          <a:pt x="86327" y="6496"/>
                          <a:pt x="65558" y="-2405"/>
                          <a:pt x="41822" y="562"/>
                        </a:cubicBezTo>
                        <a:cubicBezTo>
                          <a:pt x="18085" y="3529"/>
                          <a:pt x="-2684" y="21331"/>
                          <a:pt x="283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53" name="任意多边形: 形状 352">
                    <a:extLst>
                      <a:ext uri="{FF2B5EF4-FFF2-40B4-BE49-F238E27FC236}">
                        <a16:creationId xmlns:a16="http://schemas.microsoft.com/office/drawing/2014/main" id="{8DA244DF-FF5E-4F87-BA1F-2E76CF44DC5E}"/>
                      </a:ext>
                    </a:extLst>
                  </p:cNvPr>
                  <p:cNvSpPr/>
                  <p:nvPr/>
                </p:nvSpPr>
                <p:spPr>
                  <a:xfrm>
                    <a:off x="9814695" y="3994522"/>
                    <a:ext cx="110342" cy="80487"/>
                  </a:xfrm>
                  <a:custGeom>
                    <a:avLst/>
                    <a:gdLst>
                      <a:gd name="connsiteX0" fmla="*/ 21050 w 110342"/>
                      <a:gd name="connsiteY0" fmla="*/ 74554 h 80487"/>
                      <a:gd name="connsiteX1" fmla="*/ 281 w 110342"/>
                      <a:gd name="connsiteY1" fmla="*/ 47851 h 80487"/>
                      <a:gd name="connsiteX2" fmla="*/ 281 w 110342"/>
                      <a:gd name="connsiteY2" fmla="*/ 47851 h 80487"/>
                      <a:gd name="connsiteX3" fmla="*/ 50721 w 110342"/>
                      <a:gd name="connsiteY3" fmla="*/ 378 h 80487"/>
                      <a:gd name="connsiteX4" fmla="*/ 110061 w 110342"/>
                      <a:gd name="connsiteY4" fmla="*/ 33015 h 80487"/>
                      <a:gd name="connsiteX5" fmla="*/ 59622 w 110342"/>
                      <a:gd name="connsiteY5" fmla="*/ 80488 h 80487"/>
                      <a:gd name="connsiteX6" fmla="*/ 50721 w 110342"/>
                      <a:gd name="connsiteY6" fmla="*/ 80488 h 80487"/>
                      <a:gd name="connsiteX7" fmla="*/ 21050 w 110342"/>
                      <a:gd name="connsiteY7" fmla="*/ 74554 h 80487"/>
                      <a:gd name="connsiteX8" fmla="*/ 50721 w 110342"/>
                      <a:gd name="connsiteY8" fmla="*/ 18180 h 80487"/>
                      <a:gd name="connsiteX9" fmla="*/ 18084 w 110342"/>
                      <a:gd name="connsiteY9" fmla="*/ 41917 h 80487"/>
                      <a:gd name="connsiteX10" fmla="*/ 29951 w 110342"/>
                      <a:gd name="connsiteY10" fmla="*/ 53785 h 80487"/>
                      <a:gd name="connsiteX11" fmla="*/ 56655 w 110342"/>
                      <a:gd name="connsiteY11" fmla="*/ 56752 h 80487"/>
                      <a:gd name="connsiteX12" fmla="*/ 89292 w 110342"/>
                      <a:gd name="connsiteY12" fmla="*/ 33015 h 80487"/>
                      <a:gd name="connsiteX13" fmla="*/ 59622 w 110342"/>
                      <a:gd name="connsiteY13" fmla="*/ 15213 h 80487"/>
                      <a:gd name="connsiteX14" fmla="*/ 50721 w 110342"/>
                      <a:gd name="connsiteY14" fmla="*/ 18180 h 80487"/>
                      <a:gd name="connsiteX15" fmla="*/ 9182 w 110342"/>
                      <a:gd name="connsiteY15" fmla="*/ 44884 h 80487"/>
                      <a:gd name="connsiteX16" fmla="*/ 9182 w 110342"/>
                      <a:gd name="connsiteY16" fmla="*/ 44884 h 80487"/>
                      <a:gd name="connsiteX17" fmla="*/ 9182 w 110342"/>
                      <a:gd name="connsiteY17" fmla="*/ 44884 h 80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10342" h="80487">
                        <a:moveTo>
                          <a:pt x="21050" y="74554"/>
                        </a:moveTo>
                        <a:cubicBezTo>
                          <a:pt x="9182" y="68620"/>
                          <a:pt x="281" y="59719"/>
                          <a:pt x="281" y="47851"/>
                        </a:cubicBezTo>
                        <a:lnTo>
                          <a:pt x="281" y="47851"/>
                        </a:lnTo>
                        <a:cubicBezTo>
                          <a:pt x="-2686" y="27081"/>
                          <a:pt x="18084" y="6312"/>
                          <a:pt x="50721" y="378"/>
                        </a:cubicBezTo>
                        <a:cubicBezTo>
                          <a:pt x="80391" y="-2589"/>
                          <a:pt x="107095" y="12246"/>
                          <a:pt x="110061" y="33015"/>
                        </a:cubicBezTo>
                        <a:cubicBezTo>
                          <a:pt x="113029" y="53785"/>
                          <a:pt x="92259" y="74554"/>
                          <a:pt x="59622" y="80488"/>
                        </a:cubicBezTo>
                        <a:cubicBezTo>
                          <a:pt x="56655" y="80488"/>
                          <a:pt x="53688" y="80488"/>
                          <a:pt x="50721" y="80488"/>
                        </a:cubicBezTo>
                        <a:cubicBezTo>
                          <a:pt x="38853" y="80488"/>
                          <a:pt x="29951" y="77521"/>
                          <a:pt x="21050" y="74554"/>
                        </a:cubicBezTo>
                        <a:close/>
                        <a:moveTo>
                          <a:pt x="50721" y="18180"/>
                        </a:moveTo>
                        <a:cubicBezTo>
                          <a:pt x="29951" y="21147"/>
                          <a:pt x="15116" y="33015"/>
                          <a:pt x="18084" y="41917"/>
                        </a:cubicBezTo>
                        <a:cubicBezTo>
                          <a:pt x="18084" y="47851"/>
                          <a:pt x="24018" y="50818"/>
                          <a:pt x="29951" y="53785"/>
                        </a:cubicBezTo>
                        <a:cubicBezTo>
                          <a:pt x="38853" y="56752"/>
                          <a:pt x="47754" y="59719"/>
                          <a:pt x="56655" y="56752"/>
                        </a:cubicBezTo>
                        <a:cubicBezTo>
                          <a:pt x="77424" y="53785"/>
                          <a:pt x="92259" y="41917"/>
                          <a:pt x="89292" y="33015"/>
                        </a:cubicBezTo>
                        <a:cubicBezTo>
                          <a:pt x="89292" y="24114"/>
                          <a:pt x="74457" y="15213"/>
                          <a:pt x="59622" y="15213"/>
                        </a:cubicBezTo>
                        <a:cubicBezTo>
                          <a:pt x="56655" y="18180"/>
                          <a:pt x="53688" y="18180"/>
                          <a:pt x="50721" y="18180"/>
                        </a:cubicBezTo>
                        <a:close/>
                        <a:moveTo>
                          <a:pt x="9182" y="44884"/>
                        </a:moveTo>
                        <a:lnTo>
                          <a:pt x="9182" y="44884"/>
                        </a:lnTo>
                        <a:lnTo>
                          <a:pt x="9182" y="44884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354" name="图形 1">
                  <a:extLst>
                    <a:ext uri="{FF2B5EF4-FFF2-40B4-BE49-F238E27FC236}">
                      <a16:creationId xmlns:a16="http://schemas.microsoft.com/office/drawing/2014/main" id="{63DA345D-CFCA-408F-A558-D0D0637712DC}"/>
                    </a:ext>
                  </a:extLst>
                </p:cNvPr>
                <p:cNvGrpSpPr/>
                <p:nvPr/>
              </p:nvGrpSpPr>
              <p:grpSpPr>
                <a:xfrm>
                  <a:off x="9971947" y="3923313"/>
                  <a:ext cx="110342" cy="80488"/>
                  <a:chOff x="9971947" y="3923313"/>
                  <a:chExt cx="110342" cy="80488"/>
                </a:xfrm>
              </p:grpSpPr>
              <p:sp>
                <p:nvSpPr>
                  <p:cNvPr id="355" name="任意多边形: 形状 354">
                    <a:extLst>
                      <a:ext uri="{FF2B5EF4-FFF2-40B4-BE49-F238E27FC236}">
                        <a16:creationId xmlns:a16="http://schemas.microsoft.com/office/drawing/2014/main" id="{03833F4A-7C3C-4321-A000-5F6F15CC65D6}"/>
                      </a:ext>
                    </a:extLst>
                  </p:cNvPr>
                  <p:cNvSpPr/>
                  <p:nvPr/>
                </p:nvSpPr>
                <p:spPr>
                  <a:xfrm>
                    <a:off x="9981130" y="3934997"/>
                    <a:ext cx="89294" cy="60465"/>
                  </a:xfrm>
                  <a:custGeom>
                    <a:avLst/>
                    <a:gdLst>
                      <a:gd name="connsiteX0" fmla="*/ 0 w 89294"/>
                      <a:gd name="connsiteY0" fmla="*/ 36167 h 60465"/>
                      <a:gd name="connsiteX1" fmla="*/ 47472 w 89294"/>
                      <a:gd name="connsiteY1" fmla="*/ 59903 h 60465"/>
                      <a:gd name="connsiteX2" fmla="*/ 89011 w 89294"/>
                      <a:gd name="connsiteY2" fmla="*/ 24299 h 60465"/>
                      <a:gd name="connsiteX3" fmla="*/ 41538 w 89294"/>
                      <a:gd name="connsiteY3" fmla="*/ 562 h 60465"/>
                      <a:gd name="connsiteX4" fmla="*/ 0 w 89294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294" h="60465">
                        <a:moveTo>
                          <a:pt x="0" y="36167"/>
                        </a:moveTo>
                        <a:cubicBezTo>
                          <a:pt x="2967" y="53969"/>
                          <a:pt x="23736" y="62870"/>
                          <a:pt x="47472" y="59903"/>
                        </a:cubicBezTo>
                        <a:cubicBezTo>
                          <a:pt x="71209" y="56936"/>
                          <a:pt x="91978" y="42101"/>
                          <a:pt x="89011" y="24299"/>
                        </a:cubicBezTo>
                        <a:cubicBezTo>
                          <a:pt x="86044" y="6496"/>
                          <a:pt x="65275" y="-2405"/>
                          <a:pt x="41538" y="562"/>
                        </a:cubicBezTo>
                        <a:cubicBezTo>
                          <a:pt x="17802" y="3529"/>
                          <a:pt x="0" y="18364"/>
                          <a:pt x="0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56" name="任意多边形: 形状 355">
                    <a:extLst>
                      <a:ext uri="{FF2B5EF4-FFF2-40B4-BE49-F238E27FC236}">
                        <a16:creationId xmlns:a16="http://schemas.microsoft.com/office/drawing/2014/main" id="{151E883B-DB10-4896-8DBC-0F67EC1B676A}"/>
                      </a:ext>
                    </a:extLst>
                  </p:cNvPr>
                  <p:cNvSpPr/>
                  <p:nvPr/>
                </p:nvSpPr>
                <p:spPr>
                  <a:xfrm>
                    <a:off x="9971947" y="3923313"/>
                    <a:ext cx="110342" cy="80488"/>
                  </a:xfrm>
                  <a:custGeom>
                    <a:avLst/>
                    <a:gdLst>
                      <a:gd name="connsiteX0" fmla="*/ 21050 w 110342"/>
                      <a:gd name="connsiteY0" fmla="*/ 74554 h 80488"/>
                      <a:gd name="connsiteX1" fmla="*/ 281 w 110342"/>
                      <a:gd name="connsiteY1" fmla="*/ 47851 h 80488"/>
                      <a:gd name="connsiteX2" fmla="*/ 281 w 110342"/>
                      <a:gd name="connsiteY2" fmla="*/ 47851 h 80488"/>
                      <a:gd name="connsiteX3" fmla="*/ 50721 w 110342"/>
                      <a:gd name="connsiteY3" fmla="*/ 378 h 80488"/>
                      <a:gd name="connsiteX4" fmla="*/ 110061 w 110342"/>
                      <a:gd name="connsiteY4" fmla="*/ 33015 h 80488"/>
                      <a:gd name="connsiteX5" fmla="*/ 59622 w 110342"/>
                      <a:gd name="connsiteY5" fmla="*/ 80488 h 80488"/>
                      <a:gd name="connsiteX6" fmla="*/ 50721 w 110342"/>
                      <a:gd name="connsiteY6" fmla="*/ 80488 h 80488"/>
                      <a:gd name="connsiteX7" fmla="*/ 21050 w 110342"/>
                      <a:gd name="connsiteY7" fmla="*/ 74554 h 80488"/>
                      <a:gd name="connsiteX8" fmla="*/ 53688 w 110342"/>
                      <a:gd name="connsiteY8" fmla="*/ 21147 h 80488"/>
                      <a:gd name="connsiteX9" fmla="*/ 21050 w 110342"/>
                      <a:gd name="connsiteY9" fmla="*/ 44884 h 80488"/>
                      <a:gd name="connsiteX10" fmla="*/ 32918 w 110342"/>
                      <a:gd name="connsiteY10" fmla="*/ 56752 h 80488"/>
                      <a:gd name="connsiteX11" fmla="*/ 59622 w 110342"/>
                      <a:gd name="connsiteY11" fmla="*/ 59719 h 80488"/>
                      <a:gd name="connsiteX12" fmla="*/ 92259 w 110342"/>
                      <a:gd name="connsiteY12" fmla="*/ 35983 h 80488"/>
                      <a:gd name="connsiteX13" fmla="*/ 62589 w 110342"/>
                      <a:gd name="connsiteY13" fmla="*/ 18180 h 80488"/>
                      <a:gd name="connsiteX14" fmla="*/ 53688 w 110342"/>
                      <a:gd name="connsiteY14" fmla="*/ 21147 h 80488"/>
                      <a:gd name="connsiteX15" fmla="*/ 9182 w 110342"/>
                      <a:gd name="connsiteY15" fmla="*/ 47851 h 80488"/>
                      <a:gd name="connsiteX16" fmla="*/ 9182 w 110342"/>
                      <a:gd name="connsiteY16" fmla="*/ 47851 h 80488"/>
                      <a:gd name="connsiteX17" fmla="*/ 9182 w 110342"/>
                      <a:gd name="connsiteY17" fmla="*/ 47851 h 804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10342" h="80488">
                        <a:moveTo>
                          <a:pt x="21050" y="74554"/>
                        </a:moveTo>
                        <a:cubicBezTo>
                          <a:pt x="9182" y="68620"/>
                          <a:pt x="281" y="59719"/>
                          <a:pt x="281" y="47851"/>
                        </a:cubicBezTo>
                        <a:lnTo>
                          <a:pt x="281" y="47851"/>
                        </a:lnTo>
                        <a:cubicBezTo>
                          <a:pt x="-2686" y="27081"/>
                          <a:pt x="18083" y="6312"/>
                          <a:pt x="50721" y="378"/>
                        </a:cubicBezTo>
                        <a:cubicBezTo>
                          <a:pt x="80391" y="-2589"/>
                          <a:pt x="107094" y="12246"/>
                          <a:pt x="110061" y="33015"/>
                        </a:cubicBezTo>
                        <a:cubicBezTo>
                          <a:pt x="113029" y="53785"/>
                          <a:pt x="92259" y="74554"/>
                          <a:pt x="59622" y="80488"/>
                        </a:cubicBezTo>
                        <a:cubicBezTo>
                          <a:pt x="56655" y="80488"/>
                          <a:pt x="53688" y="80488"/>
                          <a:pt x="50721" y="80488"/>
                        </a:cubicBezTo>
                        <a:cubicBezTo>
                          <a:pt x="38853" y="80488"/>
                          <a:pt x="29951" y="80488"/>
                          <a:pt x="21050" y="74554"/>
                        </a:cubicBezTo>
                        <a:close/>
                        <a:moveTo>
                          <a:pt x="53688" y="21147"/>
                        </a:moveTo>
                        <a:cubicBezTo>
                          <a:pt x="32918" y="24114"/>
                          <a:pt x="18083" y="35983"/>
                          <a:pt x="21050" y="44884"/>
                        </a:cubicBezTo>
                        <a:cubicBezTo>
                          <a:pt x="21050" y="50818"/>
                          <a:pt x="26984" y="53785"/>
                          <a:pt x="32918" y="56752"/>
                        </a:cubicBezTo>
                        <a:cubicBezTo>
                          <a:pt x="41819" y="59719"/>
                          <a:pt x="50721" y="62686"/>
                          <a:pt x="59622" y="59719"/>
                        </a:cubicBezTo>
                        <a:cubicBezTo>
                          <a:pt x="80391" y="56752"/>
                          <a:pt x="95226" y="44884"/>
                          <a:pt x="92259" y="35983"/>
                        </a:cubicBezTo>
                        <a:cubicBezTo>
                          <a:pt x="92259" y="27081"/>
                          <a:pt x="77424" y="18180"/>
                          <a:pt x="62589" y="18180"/>
                        </a:cubicBezTo>
                        <a:cubicBezTo>
                          <a:pt x="56655" y="21147"/>
                          <a:pt x="56655" y="21147"/>
                          <a:pt x="53688" y="21147"/>
                        </a:cubicBezTo>
                        <a:close/>
                        <a:moveTo>
                          <a:pt x="9182" y="47851"/>
                        </a:moveTo>
                        <a:lnTo>
                          <a:pt x="9182" y="47851"/>
                        </a:lnTo>
                        <a:lnTo>
                          <a:pt x="9182" y="47851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357" name="图形 1">
                  <a:extLst>
                    <a:ext uri="{FF2B5EF4-FFF2-40B4-BE49-F238E27FC236}">
                      <a16:creationId xmlns:a16="http://schemas.microsoft.com/office/drawing/2014/main" id="{63DA345D-CFCA-408F-A558-D0D0637712DC}"/>
                    </a:ext>
                  </a:extLst>
                </p:cNvPr>
                <p:cNvGrpSpPr/>
                <p:nvPr/>
              </p:nvGrpSpPr>
              <p:grpSpPr>
                <a:xfrm>
                  <a:off x="10179640" y="4014505"/>
                  <a:ext cx="110342" cy="81273"/>
                  <a:chOff x="10179640" y="4014505"/>
                  <a:chExt cx="110342" cy="81273"/>
                </a:xfrm>
              </p:grpSpPr>
              <p:sp>
                <p:nvSpPr>
                  <p:cNvPr id="358" name="任意多边形: 形状 357">
                    <a:extLst>
                      <a:ext uri="{FF2B5EF4-FFF2-40B4-BE49-F238E27FC236}">
                        <a16:creationId xmlns:a16="http://schemas.microsoft.com/office/drawing/2014/main" id="{B3844D51-D088-4F6C-A16D-D90D46E62FD9}"/>
                      </a:ext>
                    </a:extLst>
                  </p:cNvPr>
                  <p:cNvSpPr/>
                  <p:nvPr/>
                </p:nvSpPr>
                <p:spPr>
                  <a:xfrm>
                    <a:off x="10188500" y="4024008"/>
                    <a:ext cx="89616" cy="60465"/>
                  </a:xfrm>
                  <a:custGeom>
                    <a:avLst/>
                    <a:gdLst>
                      <a:gd name="connsiteX0" fmla="*/ 322 w 89616"/>
                      <a:gd name="connsiteY0" fmla="*/ 36167 h 60465"/>
                      <a:gd name="connsiteX1" fmla="*/ 47795 w 89616"/>
                      <a:gd name="connsiteY1" fmla="*/ 59903 h 60465"/>
                      <a:gd name="connsiteX2" fmla="*/ 89333 w 89616"/>
                      <a:gd name="connsiteY2" fmla="*/ 24299 h 60465"/>
                      <a:gd name="connsiteX3" fmla="*/ 41861 w 89616"/>
                      <a:gd name="connsiteY3" fmla="*/ 562 h 60465"/>
                      <a:gd name="connsiteX4" fmla="*/ 322 w 89616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616" h="60465">
                        <a:moveTo>
                          <a:pt x="322" y="36167"/>
                        </a:moveTo>
                        <a:cubicBezTo>
                          <a:pt x="3289" y="53969"/>
                          <a:pt x="24058" y="62870"/>
                          <a:pt x="47795" y="59903"/>
                        </a:cubicBezTo>
                        <a:cubicBezTo>
                          <a:pt x="71531" y="56936"/>
                          <a:pt x="92301" y="42101"/>
                          <a:pt x="89333" y="24299"/>
                        </a:cubicBezTo>
                        <a:cubicBezTo>
                          <a:pt x="86366" y="6496"/>
                          <a:pt x="65597" y="-2405"/>
                          <a:pt x="41861" y="562"/>
                        </a:cubicBezTo>
                        <a:cubicBezTo>
                          <a:pt x="15158" y="3529"/>
                          <a:pt x="-2645" y="21331"/>
                          <a:pt x="322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59" name="任意多边形: 形状 358">
                    <a:extLst>
                      <a:ext uri="{FF2B5EF4-FFF2-40B4-BE49-F238E27FC236}">
                        <a16:creationId xmlns:a16="http://schemas.microsoft.com/office/drawing/2014/main" id="{6F2502A5-A0D9-4D13-B11B-C6ADF6B54AB0}"/>
                      </a:ext>
                    </a:extLst>
                  </p:cNvPr>
                  <p:cNvSpPr/>
                  <p:nvPr/>
                </p:nvSpPr>
                <p:spPr>
                  <a:xfrm>
                    <a:off x="10179640" y="4014505"/>
                    <a:ext cx="110342" cy="81273"/>
                  </a:xfrm>
                  <a:custGeom>
                    <a:avLst/>
                    <a:gdLst>
                      <a:gd name="connsiteX0" fmla="*/ 21050 w 110342"/>
                      <a:gd name="connsiteY0" fmla="*/ 75340 h 81273"/>
                      <a:gd name="connsiteX1" fmla="*/ 281 w 110342"/>
                      <a:gd name="connsiteY1" fmla="*/ 48637 h 81273"/>
                      <a:gd name="connsiteX2" fmla="*/ 281 w 110342"/>
                      <a:gd name="connsiteY2" fmla="*/ 48637 h 81273"/>
                      <a:gd name="connsiteX3" fmla="*/ 50721 w 110342"/>
                      <a:gd name="connsiteY3" fmla="*/ 1164 h 81273"/>
                      <a:gd name="connsiteX4" fmla="*/ 89292 w 110342"/>
                      <a:gd name="connsiteY4" fmla="*/ 7098 h 81273"/>
                      <a:gd name="connsiteX5" fmla="*/ 110061 w 110342"/>
                      <a:gd name="connsiteY5" fmla="*/ 33802 h 81273"/>
                      <a:gd name="connsiteX6" fmla="*/ 59621 w 110342"/>
                      <a:gd name="connsiteY6" fmla="*/ 81274 h 81273"/>
                      <a:gd name="connsiteX7" fmla="*/ 50721 w 110342"/>
                      <a:gd name="connsiteY7" fmla="*/ 81274 h 81273"/>
                      <a:gd name="connsiteX8" fmla="*/ 21050 w 110342"/>
                      <a:gd name="connsiteY8" fmla="*/ 75340 h 81273"/>
                      <a:gd name="connsiteX9" fmla="*/ 50721 w 110342"/>
                      <a:gd name="connsiteY9" fmla="*/ 21933 h 81273"/>
                      <a:gd name="connsiteX10" fmla="*/ 18083 w 110342"/>
                      <a:gd name="connsiteY10" fmla="*/ 45669 h 81273"/>
                      <a:gd name="connsiteX11" fmla="*/ 29951 w 110342"/>
                      <a:gd name="connsiteY11" fmla="*/ 57538 h 81273"/>
                      <a:gd name="connsiteX12" fmla="*/ 56655 w 110342"/>
                      <a:gd name="connsiteY12" fmla="*/ 60505 h 81273"/>
                      <a:gd name="connsiteX13" fmla="*/ 89292 w 110342"/>
                      <a:gd name="connsiteY13" fmla="*/ 36768 h 81273"/>
                      <a:gd name="connsiteX14" fmla="*/ 77424 w 110342"/>
                      <a:gd name="connsiteY14" fmla="*/ 24900 h 81273"/>
                      <a:gd name="connsiteX15" fmla="*/ 56655 w 110342"/>
                      <a:gd name="connsiteY15" fmla="*/ 21933 h 81273"/>
                      <a:gd name="connsiteX16" fmla="*/ 50721 w 110342"/>
                      <a:gd name="connsiteY16" fmla="*/ 21933 h 81273"/>
                      <a:gd name="connsiteX17" fmla="*/ 9182 w 110342"/>
                      <a:gd name="connsiteY17" fmla="*/ 45669 h 81273"/>
                      <a:gd name="connsiteX18" fmla="*/ 9182 w 110342"/>
                      <a:gd name="connsiteY18" fmla="*/ 45669 h 81273"/>
                      <a:gd name="connsiteX19" fmla="*/ 9182 w 110342"/>
                      <a:gd name="connsiteY19" fmla="*/ 45669 h 812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10342" h="81273">
                        <a:moveTo>
                          <a:pt x="21050" y="75340"/>
                        </a:moveTo>
                        <a:cubicBezTo>
                          <a:pt x="9182" y="69406"/>
                          <a:pt x="281" y="60505"/>
                          <a:pt x="281" y="48637"/>
                        </a:cubicBezTo>
                        <a:lnTo>
                          <a:pt x="281" y="48637"/>
                        </a:lnTo>
                        <a:cubicBezTo>
                          <a:pt x="-2686" y="27867"/>
                          <a:pt x="18083" y="7098"/>
                          <a:pt x="50721" y="1164"/>
                        </a:cubicBezTo>
                        <a:cubicBezTo>
                          <a:pt x="65556" y="-1803"/>
                          <a:pt x="77424" y="1164"/>
                          <a:pt x="89292" y="7098"/>
                        </a:cubicBezTo>
                        <a:cubicBezTo>
                          <a:pt x="101161" y="13032"/>
                          <a:pt x="110061" y="21933"/>
                          <a:pt x="110061" y="33802"/>
                        </a:cubicBezTo>
                        <a:cubicBezTo>
                          <a:pt x="113029" y="54571"/>
                          <a:pt x="92259" y="75340"/>
                          <a:pt x="59621" y="81274"/>
                        </a:cubicBezTo>
                        <a:cubicBezTo>
                          <a:pt x="56655" y="81274"/>
                          <a:pt x="53688" y="81274"/>
                          <a:pt x="50721" y="81274"/>
                        </a:cubicBezTo>
                        <a:cubicBezTo>
                          <a:pt x="38853" y="81274"/>
                          <a:pt x="29951" y="78307"/>
                          <a:pt x="21050" y="75340"/>
                        </a:cubicBezTo>
                        <a:close/>
                        <a:moveTo>
                          <a:pt x="50721" y="21933"/>
                        </a:moveTo>
                        <a:cubicBezTo>
                          <a:pt x="29951" y="24900"/>
                          <a:pt x="15116" y="36768"/>
                          <a:pt x="18083" y="45669"/>
                        </a:cubicBezTo>
                        <a:cubicBezTo>
                          <a:pt x="18083" y="51604"/>
                          <a:pt x="24018" y="54571"/>
                          <a:pt x="29951" y="57538"/>
                        </a:cubicBezTo>
                        <a:cubicBezTo>
                          <a:pt x="38853" y="60505"/>
                          <a:pt x="47753" y="63472"/>
                          <a:pt x="56655" y="60505"/>
                        </a:cubicBezTo>
                        <a:cubicBezTo>
                          <a:pt x="77424" y="57538"/>
                          <a:pt x="92259" y="45669"/>
                          <a:pt x="89292" y="36768"/>
                        </a:cubicBezTo>
                        <a:cubicBezTo>
                          <a:pt x="89292" y="30834"/>
                          <a:pt x="83358" y="27867"/>
                          <a:pt x="77424" y="24900"/>
                        </a:cubicBezTo>
                        <a:cubicBezTo>
                          <a:pt x="71490" y="21933"/>
                          <a:pt x="65556" y="21933"/>
                          <a:pt x="56655" y="21933"/>
                        </a:cubicBezTo>
                        <a:cubicBezTo>
                          <a:pt x="56655" y="18966"/>
                          <a:pt x="53688" y="18966"/>
                          <a:pt x="50721" y="21933"/>
                        </a:cubicBezTo>
                        <a:close/>
                        <a:moveTo>
                          <a:pt x="9182" y="45669"/>
                        </a:moveTo>
                        <a:lnTo>
                          <a:pt x="9182" y="45669"/>
                        </a:lnTo>
                        <a:lnTo>
                          <a:pt x="9182" y="45669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</p:grpSp>
        <p:sp>
          <p:nvSpPr>
            <p:cNvPr id="360" name="任意多边形: 形状 359">
              <a:extLst>
                <a:ext uri="{FF2B5EF4-FFF2-40B4-BE49-F238E27FC236}">
                  <a16:creationId xmlns:a16="http://schemas.microsoft.com/office/drawing/2014/main" id="{C8E2703D-4688-47AE-8F0B-0768188242A2}"/>
                </a:ext>
              </a:extLst>
            </p:cNvPr>
            <p:cNvSpPr/>
            <p:nvPr/>
          </p:nvSpPr>
          <p:spPr>
            <a:xfrm>
              <a:off x="10876560" y="4018636"/>
              <a:ext cx="143031" cy="74175"/>
            </a:xfrm>
            <a:custGeom>
              <a:avLst/>
              <a:gdLst>
                <a:gd name="connsiteX0" fmla="*/ 143031 w 143031"/>
                <a:gd name="connsiteY0" fmla="*/ 35604 h 74175"/>
                <a:gd name="connsiteX1" fmla="*/ 54020 w 143031"/>
                <a:gd name="connsiteY1" fmla="*/ 0 h 74175"/>
                <a:gd name="connsiteX2" fmla="*/ 613 w 143031"/>
                <a:gd name="connsiteY2" fmla="*/ 29670 h 74175"/>
                <a:gd name="connsiteX3" fmla="*/ 45119 w 143031"/>
                <a:gd name="connsiteY3" fmla="*/ 38571 h 74175"/>
                <a:gd name="connsiteX4" fmla="*/ 71823 w 143031"/>
                <a:gd name="connsiteY4" fmla="*/ 74176 h 74175"/>
                <a:gd name="connsiteX5" fmla="*/ 143031 w 143031"/>
                <a:gd name="connsiteY5" fmla="*/ 35604 h 7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031" h="74175">
                  <a:moveTo>
                    <a:pt x="143031" y="35604"/>
                  </a:moveTo>
                  <a:cubicBezTo>
                    <a:pt x="143031" y="35604"/>
                    <a:pt x="74789" y="0"/>
                    <a:pt x="54020" y="0"/>
                  </a:cubicBezTo>
                  <a:cubicBezTo>
                    <a:pt x="33251" y="0"/>
                    <a:pt x="-5320" y="8901"/>
                    <a:pt x="613" y="29670"/>
                  </a:cubicBezTo>
                  <a:cubicBezTo>
                    <a:pt x="3580" y="38571"/>
                    <a:pt x="33251" y="35604"/>
                    <a:pt x="45119" y="38571"/>
                  </a:cubicBezTo>
                  <a:cubicBezTo>
                    <a:pt x="56988" y="41538"/>
                    <a:pt x="62921" y="62308"/>
                    <a:pt x="71823" y="74176"/>
                  </a:cubicBezTo>
                  <a:lnTo>
                    <a:pt x="143031" y="35604"/>
                  </a:ln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1" name="任意多边形: 形状 360">
              <a:extLst>
                <a:ext uri="{FF2B5EF4-FFF2-40B4-BE49-F238E27FC236}">
                  <a16:creationId xmlns:a16="http://schemas.microsoft.com/office/drawing/2014/main" id="{71D78FA9-DF37-483E-97F7-0F0840AA60A8}"/>
                </a:ext>
              </a:extLst>
            </p:cNvPr>
            <p:cNvSpPr/>
            <p:nvPr/>
          </p:nvSpPr>
          <p:spPr>
            <a:xfrm>
              <a:off x="10875945" y="4012702"/>
              <a:ext cx="155514" cy="86044"/>
            </a:xfrm>
            <a:custGeom>
              <a:avLst/>
              <a:gdLst>
                <a:gd name="connsiteX0" fmla="*/ 75404 w 155514"/>
                <a:gd name="connsiteY0" fmla="*/ 86044 h 86044"/>
                <a:gd name="connsiteX1" fmla="*/ 72438 w 155514"/>
                <a:gd name="connsiteY1" fmla="*/ 83077 h 86044"/>
                <a:gd name="connsiteX2" fmla="*/ 63537 w 155514"/>
                <a:gd name="connsiteY2" fmla="*/ 68242 h 86044"/>
                <a:gd name="connsiteX3" fmla="*/ 48701 w 155514"/>
                <a:gd name="connsiteY3" fmla="*/ 50440 h 86044"/>
                <a:gd name="connsiteX4" fmla="*/ 30899 w 155514"/>
                <a:gd name="connsiteY4" fmla="*/ 47472 h 86044"/>
                <a:gd name="connsiteX5" fmla="*/ 1229 w 155514"/>
                <a:gd name="connsiteY5" fmla="*/ 35605 h 86044"/>
                <a:gd name="connsiteX6" fmla="*/ 4196 w 155514"/>
                <a:gd name="connsiteY6" fmla="*/ 17802 h 86044"/>
                <a:gd name="connsiteX7" fmla="*/ 60569 w 155514"/>
                <a:gd name="connsiteY7" fmla="*/ 0 h 86044"/>
                <a:gd name="connsiteX8" fmla="*/ 60569 w 155514"/>
                <a:gd name="connsiteY8" fmla="*/ 0 h 86044"/>
                <a:gd name="connsiteX9" fmla="*/ 152548 w 155514"/>
                <a:gd name="connsiteY9" fmla="*/ 35605 h 86044"/>
                <a:gd name="connsiteX10" fmla="*/ 155515 w 155514"/>
                <a:gd name="connsiteY10" fmla="*/ 44505 h 86044"/>
                <a:gd name="connsiteX11" fmla="*/ 146614 w 155514"/>
                <a:gd name="connsiteY11" fmla="*/ 47472 h 86044"/>
                <a:gd name="connsiteX12" fmla="*/ 60569 w 155514"/>
                <a:gd name="connsiteY12" fmla="*/ 11868 h 86044"/>
                <a:gd name="connsiteX13" fmla="*/ 60569 w 155514"/>
                <a:gd name="connsiteY13" fmla="*/ 11868 h 86044"/>
                <a:gd name="connsiteX14" fmla="*/ 16064 w 155514"/>
                <a:gd name="connsiteY14" fmla="*/ 26703 h 86044"/>
                <a:gd name="connsiteX15" fmla="*/ 16064 w 155514"/>
                <a:gd name="connsiteY15" fmla="*/ 32637 h 86044"/>
                <a:gd name="connsiteX16" fmla="*/ 36833 w 155514"/>
                <a:gd name="connsiteY16" fmla="*/ 35605 h 86044"/>
                <a:gd name="connsiteX17" fmla="*/ 57603 w 155514"/>
                <a:gd name="connsiteY17" fmla="*/ 38572 h 86044"/>
                <a:gd name="connsiteX18" fmla="*/ 81339 w 155514"/>
                <a:gd name="connsiteY18" fmla="*/ 62308 h 86044"/>
                <a:gd name="connsiteX19" fmla="*/ 90240 w 155514"/>
                <a:gd name="connsiteY19" fmla="*/ 74176 h 86044"/>
                <a:gd name="connsiteX20" fmla="*/ 90240 w 155514"/>
                <a:gd name="connsiteY20" fmla="*/ 83077 h 86044"/>
                <a:gd name="connsiteX21" fmla="*/ 75404 w 155514"/>
                <a:gd name="connsiteY21" fmla="*/ 86044 h 86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5514" h="86044">
                  <a:moveTo>
                    <a:pt x="75404" y="86044"/>
                  </a:moveTo>
                  <a:cubicBezTo>
                    <a:pt x="72438" y="86044"/>
                    <a:pt x="72438" y="86044"/>
                    <a:pt x="72438" y="83077"/>
                  </a:cubicBezTo>
                  <a:cubicBezTo>
                    <a:pt x="69471" y="80110"/>
                    <a:pt x="66504" y="74176"/>
                    <a:pt x="63537" y="68242"/>
                  </a:cubicBezTo>
                  <a:cubicBezTo>
                    <a:pt x="57603" y="59341"/>
                    <a:pt x="54636" y="50440"/>
                    <a:pt x="48701" y="50440"/>
                  </a:cubicBezTo>
                  <a:cubicBezTo>
                    <a:pt x="45734" y="50440"/>
                    <a:pt x="39801" y="47472"/>
                    <a:pt x="30899" y="47472"/>
                  </a:cubicBezTo>
                  <a:cubicBezTo>
                    <a:pt x="16064" y="47472"/>
                    <a:pt x="4196" y="47472"/>
                    <a:pt x="1229" y="35605"/>
                  </a:cubicBezTo>
                  <a:cubicBezTo>
                    <a:pt x="-1738" y="29670"/>
                    <a:pt x="1229" y="23736"/>
                    <a:pt x="4196" y="17802"/>
                  </a:cubicBezTo>
                  <a:cubicBezTo>
                    <a:pt x="13098" y="2967"/>
                    <a:pt x="42768" y="0"/>
                    <a:pt x="60569" y="0"/>
                  </a:cubicBezTo>
                  <a:cubicBezTo>
                    <a:pt x="60569" y="0"/>
                    <a:pt x="60569" y="0"/>
                    <a:pt x="60569" y="0"/>
                  </a:cubicBezTo>
                  <a:cubicBezTo>
                    <a:pt x="81339" y="0"/>
                    <a:pt x="143647" y="32637"/>
                    <a:pt x="152548" y="35605"/>
                  </a:cubicBezTo>
                  <a:cubicBezTo>
                    <a:pt x="155515" y="35605"/>
                    <a:pt x="155515" y="41539"/>
                    <a:pt x="155515" y="44505"/>
                  </a:cubicBezTo>
                  <a:cubicBezTo>
                    <a:pt x="155515" y="47472"/>
                    <a:pt x="149580" y="47472"/>
                    <a:pt x="146614" y="47472"/>
                  </a:cubicBezTo>
                  <a:cubicBezTo>
                    <a:pt x="128812" y="38572"/>
                    <a:pt x="75404" y="11868"/>
                    <a:pt x="60569" y="11868"/>
                  </a:cubicBezTo>
                  <a:cubicBezTo>
                    <a:pt x="60569" y="11868"/>
                    <a:pt x="60569" y="11868"/>
                    <a:pt x="60569" y="11868"/>
                  </a:cubicBezTo>
                  <a:cubicBezTo>
                    <a:pt x="42768" y="11868"/>
                    <a:pt x="21998" y="17802"/>
                    <a:pt x="16064" y="26703"/>
                  </a:cubicBezTo>
                  <a:cubicBezTo>
                    <a:pt x="16064" y="29670"/>
                    <a:pt x="13098" y="29670"/>
                    <a:pt x="16064" y="32637"/>
                  </a:cubicBezTo>
                  <a:cubicBezTo>
                    <a:pt x="16064" y="35605"/>
                    <a:pt x="30899" y="35605"/>
                    <a:pt x="36833" y="35605"/>
                  </a:cubicBezTo>
                  <a:cubicBezTo>
                    <a:pt x="42768" y="35605"/>
                    <a:pt x="51669" y="35605"/>
                    <a:pt x="57603" y="38572"/>
                  </a:cubicBezTo>
                  <a:cubicBezTo>
                    <a:pt x="69471" y="41539"/>
                    <a:pt x="75404" y="53407"/>
                    <a:pt x="81339" y="62308"/>
                  </a:cubicBezTo>
                  <a:cubicBezTo>
                    <a:pt x="84306" y="68242"/>
                    <a:pt x="87273" y="71209"/>
                    <a:pt x="90240" y="74176"/>
                  </a:cubicBezTo>
                  <a:cubicBezTo>
                    <a:pt x="93207" y="77143"/>
                    <a:pt x="93207" y="80110"/>
                    <a:pt x="90240" y="83077"/>
                  </a:cubicBezTo>
                  <a:cubicBezTo>
                    <a:pt x="78372" y="86044"/>
                    <a:pt x="78372" y="86044"/>
                    <a:pt x="75404" y="86044"/>
                  </a:cubicBezTo>
                  <a:close/>
                </a:path>
              </a:pathLst>
            </a:custGeom>
            <a:solidFill>
              <a:srgbClr val="E58777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62" name="图形 1">
              <a:extLst>
                <a:ext uri="{FF2B5EF4-FFF2-40B4-BE49-F238E27FC236}">
                  <a16:creationId xmlns:a16="http://schemas.microsoft.com/office/drawing/2014/main" id="{63DA345D-CFCA-408F-A558-D0D0637712DC}"/>
                </a:ext>
              </a:extLst>
            </p:cNvPr>
            <p:cNvGrpSpPr/>
            <p:nvPr/>
          </p:nvGrpSpPr>
          <p:grpSpPr>
            <a:xfrm>
              <a:off x="8872224" y="3671493"/>
              <a:ext cx="400949" cy="279461"/>
              <a:chOff x="8872224" y="3671493"/>
              <a:chExt cx="400949" cy="279461"/>
            </a:xfrm>
          </p:grpSpPr>
          <p:sp>
            <p:nvSpPr>
              <p:cNvPr id="363" name="任意多边形: 形状 362">
                <a:extLst>
                  <a:ext uri="{FF2B5EF4-FFF2-40B4-BE49-F238E27FC236}">
                    <a16:creationId xmlns:a16="http://schemas.microsoft.com/office/drawing/2014/main" id="{F2CBFEBE-8BA1-470F-9095-1BC6F06623FE}"/>
                  </a:ext>
                </a:extLst>
              </p:cNvPr>
              <p:cNvSpPr/>
              <p:nvPr/>
            </p:nvSpPr>
            <p:spPr>
              <a:xfrm>
                <a:off x="8872224" y="3671493"/>
                <a:ext cx="394592" cy="279461"/>
              </a:xfrm>
              <a:custGeom>
                <a:avLst/>
                <a:gdLst>
                  <a:gd name="connsiteX0" fmla="*/ 322642 w 394592"/>
                  <a:gd name="connsiteY0" fmla="*/ 225494 h 279461"/>
                  <a:gd name="connsiteX1" fmla="*/ 310774 w 394592"/>
                  <a:gd name="connsiteY1" fmla="*/ 204725 h 279461"/>
                  <a:gd name="connsiteX2" fmla="*/ 301873 w 394592"/>
                  <a:gd name="connsiteY2" fmla="*/ 201758 h 279461"/>
                  <a:gd name="connsiteX3" fmla="*/ 331543 w 394592"/>
                  <a:gd name="connsiteY3" fmla="*/ 198791 h 279461"/>
                  <a:gd name="connsiteX4" fmla="*/ 376049 w 394592"/>
                  <a:gd name="connsiteY4" fmla="*/ 169121 h 279461"/>
                  <a:gd name="connsiteX5" fmla="*/ 373082 w 394592"/>
                  <a:gd name="connsiteY5" fmla="*/ 163187 h 279461"/>
                  <a:gd name="connsiteX6" fmla="*/ 370115 w 394592"/>
                  <a:gd name="connsiteY6" fmla="*/ 160220 h 279461"/>
                  <a:gd name="connsiteX7" fmla="*/ 393851 w 394592"/>
                  <a:gd name="connsiteY7" fmla="*/ 130549 h 279461"/>
                  <a:gd name="connsiteX8" fmla="*/ 376049 w 394592"/>
                  <a:gd name="connsiteY8" fmla="*/ 103846 h 279461"/>
                  <a:gd name="connsiteX9" fmla="*/ 313741 w 394592"/>
                  <a:gd name="connsiteY9" fmla="*/ 106813 h 279461"/>
                  <a:gd name="connsiteX10" fmla="*/ 227697 w 394592"/>
                  <a:gd name="connsiteY10" fmla="*/ 115714 h 279461"/>
                  <a:gd name="connsiteX11" fmla="*/ 290005 w 394592"/>
                  <a:gd name="connsiteY11" fmla="*/ 89011 h 279461"/>
                  <a:gd name="connsiteX12" fmla="*/ 337478 w 394592"/>
                  <a:gd name="connsiteY12" fmla="*/ 65275 h 279461"/>
                  <a:gd name="connsiteX13" fmla="*/ 307807 w 394592"/>
                  <a:gd name="connsiteY13" fmla="*/ 41539 h 279461"/>
                  <a:gd name="connsiteX14" fmla="*/ 109016 w 394592"/>
                  <a:gd name="connsiteY14" fmla="*/ 106813 h 279461"/>
                  <a:gd name="connsiteX15" fmla="*/ 174291 w 394592"/>
                  <a:gd name="connsiteY15" fmla="*/ 17802 h 279461"/>
                  <a:gd name="connsiteX16" fmla="*/ 162422 w 394592"/>
                  <a:gd name="connsiteY16" fmla="*/ 0 h 279461"/>
                  <a:gd name="connsiteX17" fmla="*/ 5170 w 394592"/>
                  <a:gd name="connsiteY17" fmla="*/ 169121 h 279461"/>
                  <a:gd name="connsiteX18" fmla="*/ 5170 w 394592"/>
                  <a:gd name="connsiteY18" fmla="*/ 172088 h 279461"/>
                  <a:gd name="connsiteX19" fmla="*/ 2203 w 394592"/>
                  <a:gd name="connsiteY19" fmla="*/ 175055 h 279461"/>
                  <a:gd name="connsiteX20" fmla="*/ 58576 w 394592"/>
                  <a:gd name="connsiteY20" fmla="*/ 264066 h 279461"/>
                  <a:gd name="connsiteX21" fmla="*/ 198027 w 394592"/>
                  <a:gd name="connsiteY21" fmla="*/ 264066 h 279461"/>
                  <a:gd name="connsiteX22" fmla="*/ 284071 w 394592"/>
                  <a:gd name="connsiteY22" fmla="*/ 246264 h 279461"/>
                  <a:gd name="connsiteX23" fmla="*/ 322642 w 394592"/>
                  <a:gd name="connsiteY23" fmla="*/ 225494 h 279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94592" h="279461">
                    <a:moveTo>
                      <a:pt x="322642" y="225494"/>
                    </a:moveTo>
                    <a:cubicBezTo>
                      <a:pt x="325609" y="216594"/>
                      <a:pt x="316708" y="207692"/>
                      <a:pt x="310774" y="204725"/>
                    </a:cubicBezTo>
                    <a:cubicBezTo>
                      <a:pt x="307807" y="204725"/>
                      <a:pt x="304840" y="201758"/>
                      <a:pt x="301873" y="201758"/>
                    </a:cubicBezTo>
                    <a:cubicBezTo>
                      <a:pt x="310774" y="201758"/>
                      <a:pt x="322642" y="198791"/>
                      <a:pt x="331543" y="198791"/>
                    </a:cubicBezTo>
                    <a:cubicBezTo>
                      <a:pt x="352313" y="195824"/>
                      <a:pt x="367148" y="186923"/>
                      <a:pt x="376049" y="169121"/>
                    </a:cubicBezTo>
                    <a:cubicBezTo>
                      <a:pt x="376049" y="166154"/>
                      <a:pt x="376049" y="163187"/>
                      <a:pt x="373082" y="163187"/>
                    </a:cubicBezTo>
                    <a:cubicBezTo>
                      <a:pt x="373082" y="163187"/>
                      <a:pt x="370115" y="163187"/>
                      <a:pt x="370115" y="160220"/>
                    </a:cubicBezTo>
                    <a:cubicBezTo>
                      <a:pt x="381983" y="154286"/>
                      <a:pt x="390884" y="145385"/>
                      <a:pt x="393851" y="130549"/>
                    </a:cubicBezTo>
                    <a:cubicBezTo>
                      <a:pt x="396818" y="118681"/>
                      <a:pt x="390884" y="106813"/>
                      <a:pt x="376049" y="103846"/>
                    </a:cubicBezTo>
                    <a:cubicBezTo>
                      <a:pt x="358247" y="97912"/>
                      <a:pt x="334510" y="103846"/>
                      <a:pt x="313741" y="106813"/>
                    </a:cubicBezTo>
                    <a:cubicBezTo>
                      <a:pt x="284071" y="109780"/>
                      <a:pt x="257367" y="112747"/>
                      <a:pt x="227697" y="115714"/>
                    </a:cubicBezTo>
                    <a:cubicBezTo>
                      <a:pt x="248467" y="106813"/>
                      <a:pt x="269236" y="97912"/>
                      <a:pt x="290005" y="89011"/>
                    </a:cubicBezTo>
                    <a:cubicBezTo>
                      <a:pt x="301873" y="83077"/>
                      <a:pt x="328576" y="77143"/>
                      <a:pt x="337478" y="65275"/>
                    </a:cubicBezTo>
                    <a:cubicBezTo>
                      <a:pt x="352313" y="44505"/>
                      <a:pt x="319675" y="41539"/>
                      <a:pt x="307807" y="41539"/>
                    </a:cubicBezTo>
                    <a:cubicBezTo>
                      <a:pt x="236598" y="41539"/>
                      <a:pt x="177258" y="91978"/>
                      <a:pt x="109016" y="106813"/>
                    </a:cubicBezTo>
                    <a:cubicBezTo>
                      <a:pt x="106049" y="65275"/>
                      <a:pt x="153521" y="50440"/>
                      <a:pt x="174291" y="17802"/>
                    </a:cubicBezTo>
                    <a:cubicBezTo>
                      <a:pt x="177258" y="11868"/>
                      <a:pt x="168356" y="0"/>
                      <a:pt x="162422" y="0"/>
                    </a:cubicBezTo>
                    <a:cubicBezTo>
                      <a:pt x="94181" y="2967"/>
                      <a:pt x="22972" y="77143"/>
                      <a:pt x="5170" y="169121"/>
                    </a:cubicBezTo>
                    <a:cubicBezTo>
                      <a:pt x="5170" y="169121"/>
                      <a:pt x="5170" y="169121"/>
                      <a:pt x="5170" y="172088"/>
                    </a:cubicBezTo>
                    <a:cubicBezTo>
                      <a:pt x="2203" y="172088"/>
                      <a:pt x="2203" y="172088"/>
                      <a:pt x="2203" y="175055"/>
                    </a:cubicBezTo>
                    <a:cubicBezTo>
                      <a:pt x="-9666" y="213627"/>
                      <a:pt x="28906" y="246264"/>
                      <a:pt x="58576" y="264066"/>
                    </a:cubicBezTo>
                    <a:cubicBezTo>
                      <a:pt x="103082" y="293736"/>
                      <a:pt x="150554" y="272967"/>
                      <a:pt x="198027" y="264066"/>
                    </a:cubicBezTo>
                    <a:cubicBezTo>
                      <a:pt x="227697" y="258132"/>
                      <a:pt x="254401" y="252198"/>
                      <a:pt x="284071" y="246264"/>
                    </a:cubicBezTo>
                    <a:cubicBezTo>
                      <a:pt x="298906" y="246264"/>
                      <a:pt x="319675" y="243297"/>
                      <a:pt x="322642" y="225494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4" name="任意多边形: 形状 363">
                <a:extLst>
                  <a:ext uri="{FF2B5EF4-FFF2-40B4-BE49-F238E27FC236}">
                    <a16:creationId xmlns:a16="http://schemas.microsoft.com/office/drawing/2014/main" id="{66F098DF-56F1-4B06-9452-3D0A72C1B930}"/>
                  </a:ext>
                </a:extLst>
              </p:cNvPr>
              <p:cNvSpPr/>
              <p:nvPr/>
            </p:nvSpPr>
            <p:spPr>
              <a:xfrm>
                <a:off x="8951569" y="3805010"/>
                <a:ext cx="44551" cy="71208"/>
              </a:xfrm>
              <a:custGeom>
                <a:avLst/>
                <a:gdLst>
                  <a:gd name="connsiteX0" fmla="*/ 5934 w 44551"/>
                  <a:gd name="connsiteY0" fmla="*/ 71209 h 71208"/>
                  <a:gd name="connsiteX1" fmla="*/ 0 w 44551"/>
                  <a:gd name="connsiteY1" fmla="*/ 68242 h 71208"/>
                  <a:gd name="connsiteX2" fmla="*/ 2967 w 44551"/>
                  <a:gd name="connsiteY2" fmla="*/ 59341 h 71208"/>
                  <a:gd name="connsiteX3" fmla="*/ 32638 w 44551"/>
                  <a:gd name="connsiteY3" fmla="*/ 5934 h 71208"/>
                  <a:gd name="connsiteX4" fmla="*/ 38572 w 44551"/>
                  <a:gd name="connsiteY4" fmla="*/ 0 h 71208"/>
                  <a:gd name="connsiteX5" fmla="*/ 44505 w 44551"/>
                  <a:gd name="connsiteY5" fmla="*/ 5934 h 71208"/>
                  <a:gd name="connsiteX6" fmla="*/ 5934 w 44551"/>
                  <a:gd name="connsiteY6" fmla="*/ 71209 h 71208"/>
                  <a:gd name="connsiteX7" fmla="*/ 5934 w 44551"/>
                  <a:gd name="connsiteY7" fmla="*/ 71209 h 71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551" h="71208">
                    <a:moveTo>
                      <a:pt x="5934" y="71209"/>
                    </a:moveTo>
                    <a:cubicBezTo>
                      <a:pt x="2967" y="71209"/>
                      <a:pt x="2967" y="71209"/>
                      <a:pt x="0" y="68242"/>
                    </a:cubicBezTo>
                    <a:cubicBezTo>
                      <a:pt x="0" y="65275"/>
                      <a:pt x="0" y="62308"/>
                      <a:pt x="2967" y="59341"/>
                    </a:cubicBezTo>
                    <a:cubicBezTo>
                      <a:pt x="32638" y="44505"/>
                      <a:pt x="32638" y="8901"/>
                      <a:pt x="32638" y="5934"/>
                    </a:cubicBezTo>
                    <a:cubicBezTo>
                      <a:pt x="32638" y="2967"/>
                      <a:pt x="35605" y="0"/>
                      <a:pt x="38572" y="0"/>
                    </a:cubicBezTo>
                    <a:cubicBezTo>
                      <a:pt x="41539" y="0"/>
                      <a:pt x="44505" y="2967"/>
                      <a:pt x="44505" y="5934"/>
                    </a:cubicBezTo>
                    <a:cubicBezTo>
                      <a:pt x="44505" y="8901"/>
                      <a:pt x="47473" y="53407"/>
                      <a:pt x="5934" y="71209"/>
                    </a:cubicBezTo>
                    <a:cubicBezTo>
                      <a:pt x="8901" y="71209"/>
                      <a:pt x="5934" y="71209"/>
                      <a:pt x="5934" y="71209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5" name="任意多边形: 形状 364">
                <a:extLst>
                  <a:ext uri="{FF2B5EF4-FFF2-40B4-BE49-F238E27FC236}">
                    <a16:creationId xmlns:a16="http://schemas.microsoft.com/office/drawing/2014/main" id="{36F4411E-85CD-44D2-8D73-8015AC80931E}"/>
                  </a:ext>
                </a:extLst>
              </p:cNvPr>
              <p:cNvSpPr/>
              <p:nvPr/>
            </p:nvSpPr>
            <p:spPr>
              <a:xfrm>
                <a:off x="9099921" y="3733801"/>
                <a:ext cx="173252" cy="121648"/>
              </a:xfrm>
              <a:custGeom>
                <a:avLst/>
                <a:gdLst>
                  <a:gd name="connsiteX0" fmla="*/ 26704 w 173252"/>
                  <a:gd name="connsiteY0" fmla="*/ 121649 h 121648"/>
                  <a:gd name="connsiteX1" fmla="*/ 20770 w 173252"/>
                  <a:gd name="connsiteY1" fmla="*/ 115714 h 121648"/>
                  <a:gd name="connsiteX2" fmla="*/ 26704 w 173252"/>
                  <a:gd name="connsiteY2" fmla="*/ 109780 h 121648"/>
                  <a:gd name="connsiteX3" fmla="*/ 142418 w 173252"/>
                  <a:gd name="connsiteY3" fmla="*/ 86044 h 121648"/>
                  <a:gd name="connsiteX4" fmla="*/ 160220 w 173252"/>
                  <a:gd name="connsiteY4" fmla="*/ 68242 h 121648"/>
                  <a:gd name="connsiteX5" fmla="*/ 157253 w 173252"/>
                  <a:gd name="connsiteY5" fmla="*/ 50440 h 121648"/>
                  <a:gd name="connsiteX6" fmla="*/ 5934 w 173252"/>
                  <a:gd name="connsiteY6" fmla="*/ 59341 h 121648"/>
                  <a:gd name="connsiteX7" fmla="*/ 0 w 173252"/>
                  <a:gd name="connsiteY7" fmla="*/ 56374 h 121648"/>
                  <a:gd name="connsiteX8" fmla="*/ 2967 w 173252"/>
                  <a:gd name="connsiteY8" fmla="*/ 50440 h 121648"/>
                  <a:gd name="connsiteX9" fmla="*/ 109781 w 173252"/>
                  <a:gd name="connsiteY9" fmla="*/ 0 h 121648"/>
                  <a:gd name="connsiteX10" fmla="*/ 118681 w 173252"/>
                  <a:gd name="connsiteY10" fmla="*/ 2967 h 121648"/>
                  <a:gd name="connsiteX11" fmla="*/ 115715 w 173252"/>
                  <a:gd name="connsiteY11" fmla="*/ 11868 h 121648"/>
                  <a:gd name="connsiteX12" fmla="*/ 47473 w 173252"/>
                  <a:gd name="connsiteY12" fmla="*/ 44505 h 121648"/>
                  <a:gd name="connsiteX13" fmla="*/ 166154 w 173252"/>
                  <a:gd name="connsiteY13" fmla="*/ 47473 h 121648"/>
                  <a:gd name="connsiteX14" fmla="*/ 172088 w 173252"/>
                  <a:gd name="connsiteY14" fmla="*/ 77143 h 121648"/>
                  <a:gd name="connsiteX15" fmla="*/ 145385 w 173252"/>
                  <a:gd name="connsiteY15" fmla="*/ 100879 h 121648"/>
                  <a:gd name="connsiteX16" fmla="*/ 26704 w 173252"/>
                  <a:gd name="connsiteY16" fmla="*/ 121649 h 121648"/>
                  <a:gd name="connsiteX17" fmla="*/ 26704 w 173252"/>
                  <a:gd name="connsiteY17" fmla="*/ 121649 h 121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3252" h="121648">
                    <a:moveTo>
                      <a:pt x="26704" y="121649"/>
                    </a:moveTo>
                    <a:cubicBezTo>
                      <a:pt x="23736" y="121649"/>
                      <a:pt x="20770" y="118681"/>
                      <a:pt x="20770" y="115714"/>
                    </a:cubicBezTo>
                    <a:cubicBezTo>
                      <a:pt x="20770" y="112747"/>
                      <a:pt x="23736" y="109780"/>
                      <a:pt x="26704" y="109780"/>
                    </a:cubicBezTo>
                    <a:cubicBezTo>
                      <a:pt x="26704" y="109780"/>
                      <a:pt x="124616" y="91978"/>
                      <a:pt x="142418" y="86044"/>
                    </a:cubicBezTo>
                    <a:cubicBezTo>
                      <a:pt x="151319" y="83077"/>
                      <a:pt x="157253" y="77143"/>
                      <a:pt x="160220" y="68242"/>
                    </a:cubicBezTo>
                    <a:cubicBezTo>
                      <a:pt x="163187" y="62308"/>
                      <a:pt x="160220" y="56374"/>
                      <a:pt x="157253" y="50440"/>
                    </a:cubicBezTo>
                    <a:cubicBezTo>
                      <a:pt x="148352" y="41539"/>
                      <a:pt x="71209" y="47473"/>
                      <a:pt x="5934" y="59341"/>
                    </a:cubicBezTo>
                    <a:cubicBezTo>
                      <a:pt x="2967" y="59341"/>
                      <a:pt x="0" y="59341"/>
                      <a:pt x="0" y="56374"/>
                    </a:cubicBezTo>
                    <a:cubicBezTo>
                      <a:pt x="0" y="53407"/>
                      <a:pt x="0" y="50440"/>
                      <a:pt x="2967" y="50440"/>
                    </a:cubicBezTo>
                    <a:cubicBezTo>
                      <a:pt x="44505" y="35605"/>
                      <a:pt x="109781" y="0"/>
                      <a:pt x="109781" y="0"/>
                    </a:cubicBezTo>
                    <a:cubicBezTo>
                      <a:pt x="112747" y="0"/>
                      <a:pt x="115715" y="0"/>
                      <a:pt x="118681" y="2967"/>
                    </a:cubicBezTo>
                    <a:cubicBezTo>
                      <a:pt x="121649" y="5934"/>
                      <a:pt x="118681" y="8901"/>
                      <a:pt x="115715" y="11868"/>
                    </a:cubicBezTo>
                    <a:cubicBezTo>
                      <a:pt x="112747" y="11868"/>
                      <a:pt x="80110" y="29670"/>
                      <a:pt x="47473" y="44505"/>
                    </a:cubicBezTo>
                    <a:cubicBezTo>
                      <a:pt x="94945" y="38572"/>
                      <a:pt x="154286" y="35605"/>
                      <a:pt x="166154" y="47473"/>
                    </a:cubicBezTo>
                    <a:cubicBezTo>
                      <a:pt x="172088" y="56374"/>
                      <a:pt x="175055" y="65275"/>
                      <a:pt x="172088" y="77143"/>
                    </a:cubicBezTo>
                    <a:cubicBezTo>
                      <a:pt x="169121" y="89011"/>
                      <a:pt x="160220" y="97912"/>
                      <a:pt x="145385" y="100879"/>
                    </a:cubicBezTo>
                    <a:cubicBezTo>
                      <a:pt x="127583" y="103846"/>
                      <a:pt x="32638" y="121649"/>
                      <a:pt x="26704" y="121649"/>
                    </a:cubicBezTo>
                    <a:cubicBezTo>
                      <a:pt x="29670" y="121649"/>
                      <a:pt x="29670" y="121649"/>
                      <a:pt x="26704" y="121649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6" name="任意多边形: 形状 365">
                <a:extLst>
                  <a:ext uri="{FF2B5EF4-FFF2-40B4-BE49-F238E27FC236}">
                    <a16:creationId xmlns:a16="http://schemas.microsoft.com/office/drawing/2014/main" id="{9ECFA336-C68A-4528-A622-89EC04B91204}"/>
                  </a:ext>
                </a:extLst>
              </p:cNvPr>
              <p:cNvSpPr/>
              <p:nvPr/>
            </p:nvSpPr>
            <p:spPr>
              <a:xfrm>
                <a:off x="9093987" y="3818616"/>
                <a:ext cx="164104" cy="69470"/>
              </a:xfrm>
              <a:custGeom>
                <a:avLst/>
                <a:gdLst>
                  <a:gd name="connsiteX0" fmla="*/ 0 w 164104"/>
                  <a:gd name="connsiteY0" fmla="*/ 69471 h 69470"/>
                  <a:gd name="connsiteX1" fmla="*/ 0 w 164104"/>
                  <a:gd name="connsiteY1" fmla="*/ 57603 h 69470"/>
                  <a:gd name="connsiteX2" fmla="*/ 77143 w 164104"/>
                  <a:gd name="connsiteY2" fmla="*/ 48701 h 69470"/>
                  <a:gd name="connsiteX3" fmla="*/ 148352 w 164104"/>
                  <a:gd name="connsiteY3" fmla="*/ 30899 h 69470"/>
                  <a:gd name="connsiteX4" fmla="*/ 145385 w 164104"/>
                  <a:gd name="connsiteY4" fmla="*/ 10130 h 69470"/>
                  <a:gd name="connsiteX5" fmla="*/ 148352 w 164104"/>
                  <a:gd name="connsiteY5" fmla="*/ 1229 h 69470"/>
                  <a:gd name="connsiteX6" fmla="*/ 157253 w 164104"/>
                  <a:gd name="connsiteY6" fmla="*/ 4196 h 69470"/>
                  <a:gd name="connsiteX7" fmla="*/ 157253 w 164104"/>
                  <a:gd name="connsiteY7" fmla="*/ 39800 h 69470"/>
                  <a:gd name="connsiteX8" fmla="*/ 77143 w 164104"/>
                  <a:gd name="connsiteY8" fmla="*/ 60570 h 69470"/>
                  <a:gd name="connsiteX9" fmla="*/ 0 w 164104"/>
                  <a:gd name="connsiteY9" fmla="*/ 69471 h 69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104" h="69470">
                    <a:moveTo>
                      <a:pt x="0" y="69471"/>
                    </a:moveTo>
                    <a:lnTo>
                      <a:pt x="0" y="57603"/>
                    </a:lnTo>
                    <a:cubicBezTo>
                      <a:pt x="0" y="57603"/>
                      <a:pt x="65275" y="51669"/>
                      <a:pt x="77143" y="48701"/>
                    </a:cubicBezTo>
                    <a:cubicBezTo>
                      <a:pt x="89011" y="48701"/>
                      <a:pt x="139450" y="36833"/>
                      <a:pt x="148352" y="30899"/>
                    </a:cubicBezTo>
                    <a:cubicBezTo>
                      <a:pt x="154286" y="24965"/>
                      <a:pt x="145385" y="10130"/>
                      <a:pt x="145385" y="10130"/>
                    </a:cubicBezTo>
                    <a:cubicBezTo>
                      <a:pt x="142418" y="7163"/>
                      <a:pt x="145385" y="4196"/>
                      <a:pt x="148352" y="1229"/>
                    </a:cubicBezTo>
                    <a:cubicBezTo>
                      <a:pt x="151319" y="-1738"/>
                      <a:pt x="154286" y="1229"/>
                      <a:pt x="157253" y="4196"/>
                    </a:cubicBezTo>
                    <a:cubicBezTo>
                      <a:pt x="163187" y="13097"/>
                      <a:pt x="169121" y="30899"/>
                      <a:pt x="157253" y="39800"/>
                    </a:cubicBezTo>
                    <a:cubicBezTo>
                      <a:pt x="142418" y="51669"/>
                      <a:pt x="86044" y="60570"/>
                      <a:pt x="77143" y="60570"/>
                    </a:cubicBezTo>
                    <a:cubicBezTo>
                      <a:pt x="65275" y="63537"/>
                      <a:pt x="0" y="69471"/>
                      <a:pt x="0" y="69471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7770553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7B1598E1-5FEB-42FD-90B4-8AFE9DB0DD69}"/>
              </a:ext>
            </a:extLst>
          </p:cNvPr>
          <p:cNvGrpSpPr/>
          <p:nvPr/>
        </p:nvGrpSpPr>
        <p:grpSpPr>
          <a:xfrm>
            <a:off x="3623765" y="2084544"/>
            <a:ext cx="4801595" cy="4773456"/>
            <a:chOff x="19058767" y="2078696"/>
            <a:chExt cx="4801595" cy="4773456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0AC2C3D7-188E-470C-98F8-6AF47668F28D}"/>
                </a:ext>
              </a:extLst>
            </p:cNvPr>
            <p:cNvSpPr/>
            <p:nvPr/>
          </p:nvSpPr>
          <p:spPr>
            <a:xfrm>
              <a:off x="22074757" y="3018729"/>
              <a:ext cx="906798" cy="958377"/>
            </a:xfrm>
            <a:custGeom>
              <a:avLst/>
              <a:gdLst>
                <a:gd name="connsiteX0" fmla="*/ 845604 w 906798"/>
                <a:gd name="connsiteY0" fmla="*/ 5952 h 958377"/>
                <a:gd name="connsiteX1" fmla="*/ 545933 w 906798"/>
                <a:gd name="connsiteY1" fmla="*/ 302655 h 958377"/>
                <a:gd name="connsiteX2" fmla="*/ 379780 w 906798"/>
                <a:gd name="connsiteY2" fmla="*/ 682435 h 958377"/>
                <a:gd name="connsiteX3" fmla="*/ 44505 w 906798"/>
                <a:gd name="connsiteY3" fmla="*/ 367930 h 958377"/>
                <a:gd name="connsiteX4" fmla="*/ 0 w 906798"/>
                <a:gd name="connsiteY4" fmla="*/ 492545 h 958377"/>
                <a:gd name="connsiteX5" fmla="*/ 391649 w 906798"/>
                <a:gd name="connsiteY5" fmla="*/ 958369 h 958377"/>
                <a:gd name="connsiteX6" fmla="*/ 845604 w 906798"/>
                <a:gd name="connsiteY6" fmla="*/ 5952 h 958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6798" h="958377">
                  <a:moveTo>
                    <a:pt x="845604" y="5952"/>
                  </a:moveTo>
                  <a:cubicBezTo>
                    <a:pt x="741758" y="-41521"/>
                    <a:pt x="599341" y="207710"/>
                    <a:pt x="545933" y="302655"/>
                  </a:cubicBezTo>
                  <a:cubicBezTo>
                    <a:pt x="498461" y="388699"/>
                    <a:pt x="379780" y="682435"/>
                    <a:pt x="379780" y="682435"/>
                  </a:cubicBezTo>
                  <a:lnTo>
                    <a:pt x="44505" y="367930"/>
                  </a:lnTo>
                  <a:lnTo>
                    <a:pt x="0" y="492545"/>
                  </a:lnTo>
                  <a:cubicBezTo>
                    <a:pt x="0" y="492545"/>
                    <a:pt x="281868" y="955402"/>
                    <a:pt x="391649" y="958369"/>
                  </a:cubicBezTo>
                  <a:cubicBezTo>
                    <a:pt x="578571" y="961336"/>
                    <a:pt x="1079999" y="109798"/>
                    <a:pt x="845604" y="5952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3A5DB9B7-E703-4946-B2B4-0A8C01D14C6A}"/>
                </a:ext>
              </a:extLst>
            </p:cNvPr>
            <p:cNvGrpSpPr/>
            <p:nvPr/>
          </p:nvGrpSpPr>
          <p:grpSpPr>
            <a:xfrm>
              <a:off x="22727503" y="6368526"/>
              <a:ext cx="470769" cy="332307"/>
              <a:chOff x="22727503" y="6368526"/>
              <a:chExt cx="470769" cy="332307"/>
            </a:xfrm>
          </p:grpSpPr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1450B85F-D6F3-438D-9B66-22605FDE325F}"/>
                  </a:ext>
                </a:extLst>
              </p:cNvPr>
              <p:cNvSpPr/>
              <p:nvPr/>
            </p:nvSpPr>
            <p:spPr>
              <a:xfrm>
                <a:off x="22982668" y="6368526"/>
                <a:ext cx="207692" cy="216593"/>
              </a:xfrm>
              <a:custGeom>
                <a:avLst/>
                <a:gdLst>
                  <a:gd name="connsiteX0" fmla="*/ 207692 w 207692"/>
                  <a:gd name="connsiteY0" fmla="*/ 178022 h 216593"/>
                  <a:gd name="connsiteX1" fmla="*/ 195825 w 207692"/>
                  <a:gd name="connsiteY1" fmla="*/ 0 h 216593"/>
                  <a:gd name="connsiteX2" fmla="*/ 0 w 207692"/>
                  <a:gd name="connsiteY2" fmla="*/ 0 h 216593"/>
                  <a:gd name="connsiteX3" fmla="*/ 47474 w 207692"/>
                  <a:gd name="connsiteY3" fmla="*/ 189890 h 216593"/>
                  <a:gd name="connsiteX4" fmla="*/ 195825 w 207692"/>
                  <a:gd name="connsiteY4" fmla="*/ 216594 h 216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7692" h="216593">
                    <a:moveTo>
                      <a:pt x="207692" y="178022"/>
                    </a:moveTo>
                    <a:lnTo>
                      <a:pt x="195825" y="0"/>
                    </a:lnTo>
                    <a:lnTo>
                      <a:pt x="0" y="0"/>
                    </a:lnTo>
                    <a:lnTo>
                      <a:pt x="47474" y="189890"/>
                    </a:lnTo>
                    <a:lnTo>
                      <a:pt x="195825" y="216594"/>
                    </a:ln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709FC66E-1047-4B18-A880-834C4E02D1BA}"/>
                  </a:ext>
                </a:extLst>
              </p:cNvPr>
              <p:cNvSpPr/>
              <p:nvPr/>
            </p:nvSpPr>
            <p:spPr>
              <a:xfrm>
                <a:off x="22727504" y="6502043"/>
                <a:ext cx="470768" cy="154285"/>
              </a:xfrm>
              <a:custGeom>
                <a:avLst/>
                <a:gdLst>
                  <a:gd name="connsiteX0" fmla="*/ 462856 w 470768"/>
                  <a:gd name="connsiteY0" fmla="*/ 44505 h 154285"/>
                  <a:gd name="connsiteX1" fmla="*/ 293735 w 470768"/>
                  <a:gd name="connsiteY1" fmla="*/ 0 h 154285"/>
                  <a:gd name="connsiteX2" fmla="*/ 163187 w 470768"/>
                  <a:gd name="connsiteY2" fmla="*/ 77143 h 154285"/>
                  <a:gd name="connsiteX3" fmla="*/ 0 w 470768"/>
                  <a:gd name="connsiteY3" fmla="*/ 154286 h 154285"/>
                  <a:gd name="connsiteX4" fmla="*/ 462856 w 470768"/>
                  <a:gd name="connsiteY4" fmla="*/ 154286 h 154285"/>
                  <a:gd name="connsiteX5" fmla="*/ 462856 w 470768"/>
                  <a:gd name="connsiteY5" fmla="*/ 44505 h 154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0768" h="154285">
                    <a:moveTo>
                      <a:pt x="462856" y="44505"/>
                    </a:moveTo>
                    <a:cubicBezTo>
                      <a:pt x="462856" y="44505"/>
                      <a:pt x="356044" y="62308"/>
                      <a:pt x="293735" y="0"/>
                    </a:cubicBezTo>
                    <a:cubicBezTo>
                      <a:pt x="293735" y="0"/>
                      <a:pt x="207692" y="68242"/>
                      <a:pt x="163187" y="77143"/>
                    </a:cubicBezTo>
                    <a:cubicBezTo>
                      <a:pt x="118681" y="86044"/>
                      <a:pt x="11867" y="83077"/>
                      <a:pt x="0" y="154286"/>
                    </a:cubicBezTo>
                    <a:lnTo>
                      <a:pt x="462856" y="154286"/>
                    </a:lnTo>
                    <a:cubicBezTo>
                      <a:pt x="462856" y="154286"/>
                      <a:pt x="480660" y="94945"/>
                      <a:pt x="462856" y="44505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8539EC6C-5924-44A2-991A-C4D5CC9521DF}"/>
                  </a:ext>
                </a:extLst>
              </p:cNvPr>
              <p:cNvSpPr/>
              <p:nvPr/>
            </p:nvSpPr>
            <p:spPr>
              <a:xfrm>
                <a:off x="22727503" y="6656329"/>
                <a:ext cx="462857" cy="44505"/>
              </a:xfrm>
              <a:custGeom>
                <a:avLst/>
                <a:gdLst>
                  <a:gd name="connsiteX0" fmla="*/ 0 w 462857"/>
                  <a:gd name="connsiteY0" fmla="*/ 0 h 44505"/>
                  <a:gd name="connsiteX1" fmla="*/ 462857 w 462857"/>
                  <a:gd name="connsiteY1" fmla="*/ 0 h 44505"/>
                  <a:gd name="connsiteX2" fmla="*/ 462857 w 462857"/>
                  <a:gd name="connsiteY2" fmla="*/ 44505 h 44505"/>
                  <a:gd name="connsiteX3" fmla="*/ 0 w 462857"/>
                  <a:gd name="connsiteY3" fmla="*/ 44505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2857" h="44505">
                    <a:moveTo>
                      <a:pt x="0" y="0"/>
                    </a:moveTo>
                    <a:lnTo>
                      <a:pt x="462857" y="0"/>
                    </a:lnTo>
                    <a:lnTo>
                      <a:pt x="462857" y="44505"/>
                    </a:lnTo>
                    <a:lnTo>
                      <a:pt x="0" y="44505"/>
                    </a:lnTo>
                    <a:close/>
                  </a:path>
                </a:pathLst>
              </a:custGeom>
              <a:solidFill>
                <a:srgbClr val="38333D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C46C54A0-78DB-4160-871B-CDCC4B4268DE}"/>
                  </a:ext>
                </a:extLst>
              </p:cNvPr>
              <p:cNvSpPr/>
              <p:nvPr/>
            </p:nvSpPr>
            <p:spPr>
              <a:xfrm>
                <a:off x="23016048" y="6493884"/>
                <a:ext cx="180246" cy="61566"/>
              </a:xfrm>
              <a:custGeom>
                <a:avLst/>
                <a:gdLst>
                  <a:gd name="connsiteX0" fmla="*/ 141676 w 180246"/>
                  <a:gd name="connsiteY0" fmla="*/ 61566 h 61566"/>
                  <a:gd name="connsiteX1" fmla="*/ 2225 w 180246"/>
                  <a:gd name="connsiteY1" fmla="*/ 11127 h 61566"/>
                  <a:gd name="connsiteX2" fmla="*/ 2225 w 180246"/>
                  <a:gd name="connsiteY2" fmla="*/ 2225 h 61566"/>
                  <a:gd name="connsiteX3" fmla="*/ 11125 w 180246"/>
                  <a:gd name="connsiteY3" fmla="*/ 2225 h 61566"/>
                  <a:gd name="connsiteX4" fmla="*/ 174312 w 180246"/>
                  <a:gd name="connsiteY4" fmla="*/ 46731 h 61566"/>
                  <a:gd name="connsiteX5" fmla="*/ 180247 w 180246"/>
                  <a:gd name="connsiteY5" fmla="*/ 52665 h 61566"/>
                  <a:gd name="connsiteX6" fmla="*/ 174312 w 180246"/>
                  <a:gd name="connsiteY6" fmla="*/ 58599 h 61566"/>
                  <a:gd name="connsiteX7" fmla="*/ 141676 w 180246"/>
                  <a:gd name="connsiteY7" fmla="*/ 61566 h 61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0246" h="61566">
                    <a:moveTo>
                      <a:pt x="141676" y="61566"/>
                    </a:moveTo>
                    <a:cubicBezTo>
                      <a:pt x="106071" y="61566"/>
                      <a:pt x="46730" y="55632"/>
                      <a:pt x="2225" y="11127"/>
                    </a:cubicBezTo>
                    <a:cubicBezTo>
                      <a:pt x="-742" y="8159"/>
                      <a:pt x="-742" y="5192"/>
                      <a:pt x="2225" y="2225"/>
                    </a:cubicBezTo>
                    <a:cubicBezTo>
                      <a:pt x="5191" y="-742"/>
                      <a:pt x="8159" y="-742"/>
                      <a:pt x="11125" y="2225"/>
                    </a:cubicBezTo>
                    <a:cubicBezTo>
                      <a:pt x="76401" y="61566"/>
                      <a:pt x="174312" y="46731"/>
                      <a:pt x="174312" y="46731"/>
                    </a:cubicBezTo>
                    <a:cubicBezTo>
                      <a:pt x="177280" y="46731"/>
                      <a:pt x="180247" y="49698"/>
                      <a:pt x="180247" y="52665"/>
                    </a:cubicBezTo>
                    <a:cubicBezTo>
                      <a:pt x="180247" y="55632"/>
                      <a:pt x="177280" y="58599"/>
                      <a:pt x="174312" y="58599"/>
                    </a:cubicBezTo>
                    <a:cubicBezTo>
                      <a:pt x="171346" y="58599"/>
                      <a:pt x="159477" y="61566"/>
                      <a:pt x="141676" y="6156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367D62B0-F328-4D30-9A5B-F7FA631F17B4}"/>
                  </a:ext>
                </a:extLst>
              </p:cNvPr>
              <p:cNvSpPr/>
              <p:nvPr/>
            </p:nvSpPr>
            <p:spPr>
              <a:xfrm>
                <a:off x="22980443" y="6517620"/>
                <a:ext cx="40054" cy="40796"/>
              </a:xfrm>
              <a:custGeom>
                <a:avLst/>
                <a:gdLst>
                  <a:gd name="connsiteX0" fmla="*/ 31895 w 40054"/>
                  <a:gd name="connsiteY0" fmla="*/ 40796 h 40796"/>
                  <a:gd name="connsiteX1" fmla="*/ 28929 w 40054"/>
                  <a:gd name="connsiteY1" fmla="*/ 37830 h 40796"/>
                  <a:gd name="connsiteX2" fmla="*/ 2225 w 40054"/>
                  <a:gd name="connsiteY2" fmla="*/ 11126 h 40796"/>
                  <a:gd name="connsiteX3" fmla="*/ 2225 w 40054"/>
                  <a:gd name="connsiteY3" fmla="*/ 2225 h 40796"/>
                  <a:gd name="connsiteX4" fmla="*/ 11125 w 40054"/>
                  <a:gd name="connsiteY4" fmla="*/ 2225 h 40796"/>
                  <a:gd name="connsiteX5" fmla="*/ 37829 w 40054"/>
                  <a:gd name="connsiteY5" fmla="*/ 28929 h 40796"/>
                  <a:gd name="connsiteX6" fmla="*/ 37829 w 40054"/>
                  <a:gd name="connsiteY6" fmla="*/ 37830 h 40796"/>
                  <a:gd name="connsiteX7" fmla="*/ 31895 w 40054"/>
                  <a:gd name="connsiteY7" fmla="*/ 40796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4" h="40796">
                    <a:moveTo>
                      <a:pt x="31895" y="40796"/>
                    </a:moveTo>
                    <a:cubicBezTo>
                      <a:pt x="31895" y="40796"/>
                      <a:pt x="28929" y="40796"/>
                      <a:pt x="28929" y="37830"/>
                    </a:cubicBezTo>
                    <a:lnTo>
                      <a:pt x="2225" y="11126"/>
                    </a:lnTo>
                    <a:cubicBezTo>
                      <a:pt x="-742" y="8159"/>
                      <a:pt x="-742" y="5192"/>
                      <a:pt x="2225" y="2225"/>
                    </a:cubicBezTo>
                    <a:cubicBezTo>
                      <a:pt x="5193" y="-742"/>
                      <a:pt x="8159" y="-742"/>
                      <a:pt x="11125" y="2225"/>
                    </a:cubicBezTo>
                    <a:lnTo>
                      <a:pt x="37829" y="28929"/>
                    </a:lnTo>
                    <a:cubicBezTo>
                      <a:pt x="40796" y="31896"/>
                      <a:pt x="40796" y="34863"/>
                      <a:pt x="37829" y="37830"/>
                    </a:cubicBezTo>
                    <a:cubicBezTo>
                      <a:pt x="34863" y="40796"/>
                      <a:pt x="31895" y="40796"/>
                      <a:pt x="31895" y="407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F20D37F0-2EB0-41C5-912D-AF37273A4091}"/>
                  </a:ext>
                </a:extLst>
              </p:cNvPr>
              <p:cNvSpPr/>
              <p:nvPr/>
            </p:nvSpPr>
            <p:spPr>
              <a:xfrm>
                <a:off x="22941872" y="6544323"/>
                <a:ext cx="40054" cy="40796"/>
              </a:xfrm>
              <a:custGeom>
                <a:avLst/>
                <a:gdLst>
                  <a:gd name="connsiteX0" fmla="*/ 31895 w 40054"/>
                  <a:gd name="connsiteY0" fmla="*/ 40797 h 40796"/>
                  <a:gd name="connsiteX1" fmla="*/ 28929 w 40054"/>
                  <a:gd name="connsiteY1" fmla="*/ 37830 h 40796"/>
                  <a:gd name="connsiteX2" fmla="*/ 2225 w 40054"/>
                  <a:gd name="connsiteY2" fmla="*/ 11127 h 40796"/>
                  <a:gd name="connsiteX3" fmla="*/ 2225 w 40054"/>
                  <a:gd name="connsiteY3" fmla="*/ 2225 h 40796"/>
                  <a:gd name="connsiteX4" fmla="*/ 11125 w 40054"/>
                  <a:gd name="connsiteY4" fmla="*/ 2225 h 40796"/>
                  <a:gd name="connsiteX5" fmla="*/ 37829 w 40054"/>
                  <a:gd name="connsiteY5" fmla="*/ 28929 h 40796"/>
                  <a:gd name="connsiteX6" fmla="*/ 37829 w 40054"/>
                  <a:gd name="connsiteY6" fmla="*/ 37830 h 40796"/>
                  <a:gd name="connsiteX7" fmla="*/ 31895 w 40054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4" h="40796">
                    <a:moveTo>
                      <a:pt x="31895" y="40797"/>
                    </a:moveTo>
                    <a:cubicBezTo>
                      <a:pt x="31895" y="40797"/>
                      <a:pt x="28929" y="40797"/>
                      <a:pt x="28929" y="37830"/>
                    </a:cubicBezTo>
                    <a:lnTo>
                      <a:pt x="2225" y="11127"/>
                    </a:lnTo>
                    <a:cubicBezTo>
                      <a:pt x="-742" y="8159"/>
                      <a:pt x="-742" y="5193"/>
                      <a:pt x="2225" y="2225"/>
                    </a:cubicBezTo>
                    <a:cubicBezTo>
                      <a:pt x="5191" y="-742"/>
                      <a:pt x="8159" y="-742"/>
                      <a:pt x="11125" y="2225"/>
                    </a:cubicBezTo>
                    <a:lnTo>
                      <a:pt x="37829" y="28929"/>
                    </a:lnTo>
                    <a:cubicBezTo>
                      <a:pt x="40796" y="31896"/>
                      <a:pt x="40796" y="34863"/>
                      <a:pt x="37829" y="37830"/>
                    </a:cubicBezTo>
                    <a:cubicBezTo>
                      <a:pt x="34861" y="40797"/>
                      <a:pt x="34861" y="40797"/>
                      <a:pt x="31895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D1400AA9-1BC3-4FC7-BAB8-121286E8DD0E}"/>
                </a:ext>
              </a:extLst>
            </p:cNvPr>
            <p:cNvSpPr/>
            <p:nvPr/>
          </p:nvSpPr>
          <p:spPr>
            <a:xfrm>
              <a:off x="23181459" y="2609296"/>
              <a:ext cx="243297" cy="251317"/>
            </a:xfrm>
            <a:custGeom>
              <a:avLst/>
              <a:gdLst>
                <a:gd name="connsiteX0" fmla="*/ 0 w 243297"/>
                <a:gd name="connsiteY0" fmla="*/ 38571 h 251317"/>
                <a:gd name="connsiteX1" fmla="*/ 5934 w 243297"/>
                <a:gd name="connsiteY1" fmla="*/ 207692 h 251317"/>
                <a:gd name="connsiteX2" fmla="*/ 243297 w 243297"/>
                <a:gd name="connsiteY2" fmla="*/ 198791 h 251317"/>
                <a:gd name="connsiteX3" fmla="*/ 228462 w 243297"/>
                <a:gd name="connsiteY3" fmla="*/ 0 h 251317"/>
                <a:gd name="connsiteX4" fmla="*/ 0 w 243297"/>
                <a:gd name="connsiteY4" fmla="*/ 38571 h 251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297" h="251317">
                  <a:moveTo>
                    <a:pt x="0" y="38571"/>
                  </a:moveTo>
                  <a:cubicBezTo>
                    <a:pt x="0" y="38571"/>
                    <a:pt x="5934" y="136484"/>
                    <a:pt x="5934" y="207692"/>
                  </a:cubicBezTo>
                  <a:cubicBezTo>
                    <a:pt x="5934" y="207692"/>
                    <a:pt x="97912" y="311538"/>
                    <a:pt x="243297" y="198791"/>
                  </a:cubicBezTo>
                  <a:cubicBezTo>
                    <a:pt x="243297" y="139451"/>
                    <a:pt x="231428" y="62308"/>
                    <a:pt x="228462" y="0"/>
                  </a:cubicBezTo>
                  <a:cubicBezTo>
                    <a:pt x="228462" y="0"/>
                    <a:pt x="50440" y="50440"/>
                    <a:pt x="0" y="38571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A412516F-E65F-4BF1-A0EE-845CD65E36A4}"/>
                </a:ext>
              </a:extLst>
            </p:cNvPr>
            <p:cNvSpPr/>
            <p:nvPr/>
          </p:nvSpPr>
          <p:spPr>
            <a:xfrm>
              <a:off x="23433657" y="2490614"/>
              <a:ext cx="65275" cy="136483"/>
            </a:xfrm>
            <a:custGeom>
              <a:avLst/>
              <a:gdLst>
                <a:gd name="connsiteX0" fmla="*/ 65275 w 65275"/>
                <a:gd name="connsiteY0" fmla="*/ 0 h 136483"/>
                <a:gd name="connsiteX1" fmla="*/ 5934 w 65275"/>
                <a:gd name="connsiteY1" fmla="*/ 136484 h 136483"/>
                <a:gd name="connsiteX2" fmla="*/ 0 w 65275"/>
                <a:gd name="connsiteY2" fmla="*/ 53407 h 136483"/>
                <a:gd name="connsiteX3" fmla="*/ 65275 w 65275"/>
                <a:gd name="connsiteY3" fmla="*/ 0 h 13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75" h="136483">
                  <a:moveTo>
                    <a:pt x="65275" y="0"/>
                  </a:moveTo>
                  <a:cubicBezTo>
                    <a:pt x="65275" y="0"/>
                    <a:pt x="56374" y="115714"/>
                    <a:pt x="5934" y="136484"/>
                  </a:cubicBezTo>
                  <a:lnTo>
                    <a:pt x="0" y="53407"/>
                  </a:lnTo>
                  <a:lnTo>
                    <a:pt x="65275" y="0"/>
                  </a:lnTo>
                  <a:close/>
                </a:path>
              </a:pathLst>
            </a:custGeom>
            <a:solidFill>
              <a:srgbClr val="664241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CEB9FA02-DDBE-4D7B-BDE0-54098AC22A33}"/>
                </a:ext>
              </a:extLst>
            </p:cNvPr>
            <p:cNvSpPr/>
            <p:nvPr/>
          </p:nvSpPr>
          <p:spPr>
            <a:xfrm>
              <a:off x="23047295" y="2306658"/>
              <a:ext cx="100914" cy="231408"/>
            </a:xfrm>
            <a:custGeom>
              <a:avLst/>
              <a:gdLst>
                <a:gd name="connsiteX0" fmla="*/ 3615 w 100914"/>
                <a:gd name="connsiteY0" fmla="*/ 0 h 231408"/>
                <a:gd name="connsiteX1" fmla="*/ 54055 w 100914"/>
                <a:gd name="connsiteY1" fmla="*/ 228462 h 231408"/>
                <a:gd name="connsiteX2" fmla="*/ 98560 w 100914"/>
                <a:gd name="connsiteY2" fmla="*/ 11868 h 231408"/>
                <a:gd name="connsiteX3" fmla="*/ 3615 w 100914"/>
                <a:gd name="connsiteY3" fmla="*/ 0 h 231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914" h="231408">
                  <a:moveTo>
                    <a:pt x="3615" y="0"/>
                  </a:moveTo>
                  <a:cubicBezTo>
                    <a:pt x="3615" y="0"/>
                    <a:pt x="-20121" y="189890"/>
                    <a:pt x="54055" y="228462"/>
                  </a:cubicBezTo>
                  <a:cubicBezTo>
                    <a:pt x="116363" y="261099"/>
                    <a:pt x="98560" y="11868"/>
                    <a:pt x="98560" y="11868"/>
                  </a:cubicBezTo>
                  <a:lnTo>
                    <a:pt x="3615" y="0"/>
                  </a:lnTo>
                  <a:close/>
                </a:path>
              </a:pathLst>
            </a:custGeom>
            <a:solidFill>
              <a:srgbClr val="664241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469F5B34-3A05-41BC-8A9D-FD927703D63F}"/>
                </a:ext>
              </a:extLst>
            </p:cNvPr>
            <p:cNvSpPr/>
            <p:nvPr/>
          </p:nvSpPr>
          <p:spPr>
            <a:xfrm>
              <a:off x="23084903" y="2163756"/>
              <a:ext cx="408094" cy="555467"/>
            </a:xfrm>
            <a:custGeom>
              <a:avLst/>
              <a:gdLst>
                <a:gd name="connsiteX0" fmla="*/ 4579 w 408094"/>
                <a:gd name="connsiteY0" fmla="*/ 184441 h 555467"/>
                <a:gd name="connsiteX1" fmla="*/ 13480 w 408094"/>
                <a:gd name="connsiteY1" fmla="*/ 427737 h 555467"/>
                <a:gd name="connsiteX2" fmla="*/ 173698 w 408094"/>
                <a:gd name="connsiteY2" fmla="*/ 555320 h 555467"/>
                <a:gd name="connsiteX3" fmla="*/ 378424 w 408094"/>
                <a:gd name="connsiteY3" fmla="*/ 406968 h 555467"/>
                <a:gd name="connsiteX4" fmla="*/ 408095 w 408094"/>
                <a:gd name="connsiteY4" fmla="*/ 187408 h 555467"/>
                <a:gd name="connsiteX5" fmla="*/ 194468 w 408094"/>
                <a:gd name="connsiteY5" fmla="*/ 485 h 555467"/>
                <a:gd name="connsiteX6" fmla="*/ 4579 w 408094"/>
                <a:gd name="connsiteY6" fmla="*/ 184441 h 555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094" h="555467">
                  <a:moveTo>
                    <a:pt x="4579" y="184441"/>
                  </a:moveTo>
                  <a:cubicBezTo>
                    <a:pt x="4579" y="184441"/>
                    <a:pt x="-10256" y="356528"/>
                    <a:pt x="13480" y="427737"/>
                  </a:cubicBezTo>
                  <a:cubicBezTo>
                    <a:pt x="34249" y="490045"/>
                    <a:pt x="123260" y="552353"/>
                    <a:pt x="173698" y="555320"/>
                  </a:cubicBezTo>
                  <a:cubicBezTo>
                    <a:pt x="238973" y="558287"/>
                    <a:pt x="351720" y="516748"/>
                    <a:pt x="378424" y="406968"/>
                  </a:cubicBezTo>
                  <a:cubicBezTo>
                    <a:pt x="396226" y="335759"/>
                    <a:pt x="408095" y="237847"/>
                    <a:pt x="408095" y="187408"/>
                  </a:cubicBezTo>
                  <a:cubicBezTo>
                    <a:pt x="402160" y="95430"/>
                    <a:pt x="375458" y="18287"/>
                    <a:pt x="194468" y="485"/>
                  </a:cubicBezTo>
                  <a:cubicBezTo>
                    <a:pt x="111391" y="-8417"/>
                    <a:pt x="22380" y="107298"/>
                    <a:pt x="4579" y="184441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391FF46E-347E-405D-9E3E-394F609AAEA1}"/>
                </a:ext>
              </a:extLst>
            </p:cNvPr>
            <p:cNvSpPr/>
            <p:nvPr/>
          </p:nvSpPr>
          <p:spPr>
            <a:xfrm>
              <a:off x="23217064" y="2422373"/>
              <a:ext cx="56372" cy="133516"/>
            </a:xfrm>
            <a:custGeom>
              <a:avLst/>
              <a:gdLst>
                <a:gd name="connsiteX0" fmla="*/ 29670 w 56372"/>
                <a:gd name="connsiteY0" fmla="*/ 133516 h 133516"/>
                <a:gd name="connsiteX1" fmla="*/ 5934 w 56372"/>
                <a:gd name="connsiteY1" fmla="*/ 127582 h 133516"/>
                <a:gd name="connsiteX2" fmla="*/ 0 w 56372"/>
                <a:gd name="connsiteY2" fmla="*/ 115714 h 133516"/>
                <a:gd name="connsiteX3" fmla="*/ 11867 w 56372"/>
                <a:gd name="connsiteY3" fmla="*/ 5934 h 133516"/>
                <a:gd name="connsiteX4" fmla="*/ 17801 w 56372"/>
                <a:gd name="connsiteY4" fmla="*/ 0 h 133516"/>
                <a:gd name="connsiteX5" fmla="*/ 23736 w 56372"/>
                <a:gd name="connsiteY5" fmla="*/ 5934 h 133516"/>
                <a:gd name="connsiteX6" fmla="*/ 11867 w 56372"/>
                <a:gd name="connsiteY6" fmla="*/ 115714 h 133516"/>
                <a:gd name="connsiteX7" fmla="*/ 11867 w 56372"/>
                <a:gd name="connsiteY7" fmla="*/ 118681 h 133516"/>
                <a:gd name="connsiteX8" fmla="*/ 50440 w 56372"/>
                <a:gd name="connsiteY8" fmla="*/ 118681 h 133516"/>
                <a:gd name="connsiteX9" fmla="*/ 56373 w 56372"/>
                <a:gd name="connsiteY9" fmla="*/ 121648 h 133516"/>
                <a:gd name="connsiteX10" fmla="*/ 53406 w 56372"/>
                <a:gd name="connsiteY10" fmla="*/ 127582 h 133516"/>
                <a:gd name="connsiteX11" fmla="*/ 29670 w 56372"/>
                <a:gd name="connsiteY11" fmla="*/ 133516 h 13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372" h="133516">
                  <a:moveTo>
                    <a:pt x="29670" y="133516"/>
                  </a:moveTo>
                  <a:cubicBezTo>
                    <a:pt x="20770" y="133516"/>
                    <a:pt x="11867" y="133516"/>
                    <a:pt x="5934" y="127582"/>
                  </a:cubicBezTo>
                  <a:cubicBezTo>
                    <a:pt x="2966" y="124615"/>
                    <a:pt x="0" y="121648"/>
                    <a:pt x="0" y="115714"/>
                  </a:cubicBezTo>
                  <a:cubicBezTo>
                    <a:pt x="0" y="94945"/>
                    <a:pt x="11867" y="8901"/>
                    <a:pt x="11867" y="5934"/>
                  </a:cubicBezTo>
                  <a:cubicBezTo>
                    <a:pt x="11867" y="2967"/>
                    <a:pt x="14835" y="0"/>
                    <a:pt x="17801" y="0"/>
                  </a:cubicBezTo>
                  <a:cubicBezTo>
                    <a:pt x="20770" y="0"/>
                    <a:pt x="23736" y="2967"/>
                    <a:pt x="23736" y="5934"/>
                  </a:cubicBezTo>
                  <a:cubicBezTo>
                    <a:pt x="23736" y="5934"/>
                    <a:pt x="11867" y="94945"/>
                    <a:pt x="11867" y="115714"/>
                  </a:cubicBezTo>
                  <a:cubicBezTo>
                    <a:pt x="11867" y="115714"/>
                    <a:pt x="11867" y="118681"/>
                    <a:pt x="11867" y="118681"/>
                  </a:cubicBezTo>
                  <a:cubicBezTo>
                    <a:pt x="17801" y="124615"/>
                    <a:pt x="38571" y="121648"/>
                    <a:pt x="50440" y="118681"/>
                  </a:cubicBezTo>
                  <a:cubicBezTo>
                    <a:pt x="53406" y="118681"/>
                    <a:pt x="56373" y="118681"/>
                    <a:pt x="56373" y="121648"/>
                  </a:cubicBezTo>
                  <a:cubicBezTo>
                    <a:pt x="56373" y="124615"/>
                    <a:pt x="56373" y="127582"/>
                    <a:pt x="53406" y="127582"/>
                  </a:cubicBezTo>
                  <a:cubicBezTo>
                    <a:pt x="53406" y="130549"/>
                    <a:pt x="41537" y="133516"/>
                    <a:pt x="29670" y="133516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957F89DD-CC84-4E0C-AB2C-90BB956093D5}"/>
                </a:ext>
              </a:extLst>
            </p:cNvPr>
            <p:cNvSpPr/>
            <p:nvPr/>
          </p:nvSpPr>
          <p:spPr>
            <a:xfrm>
              <a:off x="23205195" y="2603362"/>
              <a:ext cx="103846" cy="53525"/>
            </a:xfrm>
            <a:custGeom>
              <a:avLst/>
              <a:gdLst>
                <a:gd name="connsiteX0" fmla="*/ 0 w 103846"/>
                <a:gd name="connsiteY0" fmla="*/ 2967 h 53525"/>
                <a:gd name="connsiteX1" fmla="*/ 103846 w 103846"/>
                <a:gd name="connsiteY1" fmla="*/ 0 h 53525"/>
                <a:gd name="connsiteX2" fmla="*/ 53406 w 103846"/>
                <a:gd name="connsiteY2" fmla="*/ 53407 h 53525"/>
                <a:gd name="connsiteX3" fmla="*/ 0 w 103846"/>
                <a:gd name="connsiteY3" fmla="*/ 2967 h 5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46" h="53525">
                  <a:moveTo>
                    <a:pt x="0" y="2967"/>
                  </a:moveTo>
                  <a:cubicBezTo>
                    <a:pt x="0" y="2967"/>
                    <a:pt x="53406" y="14835"/>
                    <a:pt x="103846" y="0"/>
                  </a:cubicBezTo>
                  <a:cubicBezTo>
                    <a:pt x="103846" y="0"/>
                    <a:pt x="103846" y="50440"/>
                    <a:pt x="53406" y="53407"/>
                  </a:cubicBezTo>
                  <a:cubicBezTo>
                    <a:pt x="14835" y="56374"/>
                    <a:pt x="0" y="2967"/>
                    <a:pt x="0" y="2967"/>
                  </a:cubicBezTo>
                  <a:close/>
                </a:path>
              </a:pathLst>
            </a:custGeom>
            <a:solidFill>
              <a:srgbClr val="FFFFFF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C38F303A-F196-46EE-AC8D-3DE95CC0784C}"/>
                </a:ext>
              </a:extLst>
            </p:cNvPr>
            <p:cNvSpPr/>
            <p:nvPr/>
          </p:nvSpPr>
          <p:spPr>
            <a:xfrm>
              <a:off x="23148066" y="2400847"/>
              <a:ext cx="39327" cy="40083"/>
            </a:xfrm>
            <a:custGeom>
              <a:avLst/>
              <a:gdLst>
                <a:gd name="connsiteX0" fmla="*/ 39328 w 39327"/>
                <a:gd name="connsiteY0" fmla="*/ 24492 h 40083"/>
                <a:gd name="connsiteX1" fmla="*/ 15592 w 39327"/>
                <a:gd name="connsiteY1" fmla="*/ 39328 h 40083"/>
                <a:gd name="connsiteX2" fmla="*/ 757 w 39327"/>
                <a:gd name="connsiteY2" fmla="*/ 15591 h 40083"/>
                <a:gd name="connsiteX3" fmla="*/ 24492 w 39327"/>
                <a:gd name="connsiteY3" fmla="*/ 756 h 40083"/>
                <a:gd name="connsiteX4" fmla="*/ 39328 w 39327"/>
                <a:gd name="connsiteY4" fmla="*/ 24492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7" h="40083">
                  <a:moveTo>
                    <a:pt x="39328" y="24492"/>
                  </a:moveTo>
                  <a:cubicBezTo>
                    <a:pt x="36359" y="36361"/>
                    <a:pt x="27459" y="42295"/>
                    <a:pt x="15592" y="39328"/>
                  </a:cubicBezTo>
                  <a:cubicBezTo>
                    <a:pt x="3723" y="36361"/>
                    <a:pt x="-2212" y="27459"/>
                    <a:pt x="757" y="15591"/>
                  </a:cubicBezTo>
                  <a:cubicBezTo>
                    <a:pt x="3723" y="3723"/>
                    <a:pt x="12624" y="-2211"/>
                    <a:pt x="24492" y="756"/>
                  </a:cubicBezTo>
                  <a:cubicBezTo>
                    <a:pt x="33393" y="3723"/>
                    <a:pt x="39328" y="15591"/>
                    <a:pt x="39328" y="24492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C3E3921E-209D-4477-8AB6-38420E6935D0}"/>
                </a:ext>
              </a:extLst>
            </p:cNvPr>
            <p:cNvSpPr/>
            <p:nvPr/>
          </p:nvSpPr>
          <p:spPr>
            <a:xfrm>
              <a:off x="23326088" y="2412715"/>
              <a:ext cx="39327" cy="40083"/>
            </a:xfrm>
            <a:custGeom>
              <a:avLst/>
              <a:gdLst>
                <a:gd name="connsiteX0" fmla="*/ 39328 w 39327"/>
                <a:gd name="connsiteY0" fmla="*/ 24492 h 40083"/>
                <a:gd name="connsiteX1" fmla="*/ 15592 w 39327"/>
                <a:gd name="connsiteY1" fmla="*/ 39328 h 40083"/>
                <a:gd name="connsiteX2" fmla="*/ 757 w 39327"/>
                <a:gd name="connsiteY2" fmla="*/ 15591 h 40083"/>
                <a:gd name="connsiteX3" fmla="*/ 24492 w 39327"/>
                <a:gd name="connsiteY3" fmla="*/ 756 h 40083"/>
                <a:gd name="connsiteX4" fmla="*/ 39328 w 39327"/>
                <a:gd name="connsiteY4" fmla="*/ 24492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7" h="40083">
                  <a:moveTo>
                    <a:pt x="39328" y="24492"/>
                  </a:moveTo>
                  <a:cubicBezTo>
                    <a:pt x="36359" y="36360"/>
                    <a:pt x="27459" y="42295"/>
                    <a:pt x="15592" y="39328"/>
                  </a:cubicBezTo>
                  <a:cubicBezTo>
                    <a:pt x="3723" y="36360"/>
                    <a:pt x="-2212" y="27459"/>
                    <a:pt x="757" y="15591"/>
                  </a:cubicBezTo>
                  <a:cubicBezTo>
                    <a:pt x="3723" y="3723"/>
                    <a:pt x="12624" y="-2211"/>
                    <a:pt x="24492" y="756"/>
                  </a:cubicBezTo>
                  <a:cubicBezTo>
                    <a:pt x="33393" y="3723"/>
                    <a:pt x="39328" y="15591"/>
                    <a:pt x="39328" y="24492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4473850D-07C0-4CD2-930E-72DDD17D1C76}"/>
                </a:ext>
              </a:extLst>
            </p:cNvPr>
            <p:cNvSpPr/>
            <p:nvPr/>
          </p:nvSpPr>
          <p:spPr>
            <a:xfrm>
              <a:off x="23119894" y="2354480"/>
              <a:ext cx="89498" cy="35255"/>
            </a:xfrm>
            <a:custGeom>
              <a:avLst/>
              <a:gdLst>
                <a:gd name="connsiteX0" fmla="*/ 8159 w 89498"/>
                <a:gd name="connsiteY0" fmla="*/ 35255 h 35255"/>
                <a:gd name="connsiteX1" fmla="*/ 2225 w 89498"/>
                <a:gd name="connsiteY1" fmla="*/ 32288 h 35255"/>
                <a:gd name="connsiteX2" fmla="*/ 2225 w 89498"/>
                <a:gd name="connsiteY2" fmla="*/ 20420 h 35255"/>
                <a:gd name="connsiteX3" fmla="*/ 85301 w 89498"/>
                <a:gd name="connsiteY3" fmla="*/ 8552 h 35255"/>
                <a:gd name="connsiteX4" fmla="*/ 88269 w 89498"/>
                <a:gd name="connsiteY4" fmla="*/ 17453 h 35255"/>
                <a:gd name="connsiteX5" fmla="*/ 79367 w 89498"/>
                <a:gd name="connsiteY5" fmla="*/ 20420 h 35255"/>
                <a:gd name="connsiteX6" fmla="*/ 14094 w 89498"/>
                <a:gd name="connsiteY6" fmla="*/ 29321 h 35255"/>
                <a:gd name="connsiteX7" fmla="*/ 8159 w 89498"/>
                <a:gd name="connsiteY7" fmla="*/ 35255 h 35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255">
                  <a:moveTo>
                    <a:pt x="8159" y="35255"/>
                  </a:moveTo>
                  <a:cubicBezTo>
                    <a:pt x="5191" y="35255"/>
                    <a:pt x="5191" y="35255"/>
                    <a:pt x="2225" y="32288"/>
                  </a:cubicBezTo>
                  <a:cubicBezTo>
                    <a:pt x="-742" y="29321"/>
                    <a:pt x="-742" y="23387"/>
                    <a:pt x="2225" y="20420"/>
                  </a:cubicBezTo>
                  <a:cubicBezTo>
                    <a:pt x="28929" y="-9250"/>
                    <a:pt x="67500" y="-349"/>
                    <a:pt x="85301" y="8552"/>
                  </a:cubicBezTo>
                  <a:cubicBezTo>
                    <a:pt x="88269" y="11519"/>
                    <a:pt x="91236" y="14486"/>
                    <a:pt x="88269" y="17453"/>
                  </a:cubicBezTo>
                  <a:cubicBezTo>
                    <a:pt x="85301" y="20420"/>
                    <a:pt x="82335" y="23387"/>
                    <a:pt x="79367" y="20420"/>
                  </a:cubicBezTo>
                  <a:cubicBezTo>
                    <a:pt x="76401" y="20420"/>
                    <a:pt x="37829" y="2618"/>
                    <a:pt x="14094" y="29321"/>
                  </a:cubicBezTo>
                  <a:cubicBezTo>
                    <a:pt x="14094" y="35255"/>
                    <a:pt x="11125" y="35255"/>
                    <a:pt x="8159" y="35255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494C1475-BEEF-446D-9C38-3E56A8CC512C}"/>
                </a:ext>
              </a:extLst>
            </p:cNvPr>
            <p:cNvSpPr/>
            <p:nvPr/>
          </p:nvSpPr>
          <p:spPr>
            <a:xfrm>
              <a:off x="23304125" y="2351332"/>
              <a:ext cx="90218" cy="32469"/>
            </a:xfrm>
            <a:custGeom>
              <a:avLst/>
              <a:gdLst>
                <a:gd name="connsiteX0" fmla="*/ 85026 w 90218"/>
                <a:gd name="connsiteY0" fmla="*/ 32469 h 32469"/>
                <a:gd name="connsiteX1" fmla="*/ 79092 w 90218"/>
                <a:gd name="connsiteY1" fmla="*/ 29502 h 32469"/>
                <a:gd name="connsiteX2" fmla="*/ 13817 w 90218"/>
                <a:gd name="connsiteY2" fmla="*/ 26535 h 32469"/>
                <a:gd name="connsiteX3" fmla="*/ 1950 w 90218"/>
                <a:gd name="connsiteY3" fmla="*/ 23568 h 32469"/>
                <a:gd name="connsiteX4" fmla="*/ 4916 w 90218"/>
                <a:gd name="connsiteY4" fmla="*/ 11700 h 32469"/>
                <a:gd name="connsiteX5" fmla="*/ 87993 w 90218"/>
                <a:gd name="connsiteY5" fmla="*/ 17634 h 32469"/>
                <a:gd name="connsiteX6" fmla="*/ 87993 w 90218"/>
                <a:gd name="connsiteY6" fmla="*/ 29502 h 32469"/>
                <a:gd name="connsiteX7" fmla="*/ 85026 w 90218"/>
                <a:gd name="connsiteY7" fmla="*/ 32469 h 32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218" h="32469">
                  <a:moveTo>
                    <a:pt x="85026" y="32469"/>
                  </a:moveTo>
                  <a:cubicBezTo>
                    <a:pt x="82060" y="32469"/>
                    <a:pt x="82060" y="32469"/>
                    <a:pt x="79092" y="29502"/>
                  </a:cubicBezTo>
                  <a:cubicBezTo>
                    <a:pt x="79092" y="29502"/>
                    <a:pt x="49422" y="-168"/>
                    <a:pt x="13817" y="26535"/>
                  </a:cubicBezTo>
                  <a:cubicBezTo>
                    <a:pt x="10850" y="29502"/>
                    <a:pt x="4916" y="29502"/>
                    <a:pt x="1950" y="23568"/>
                  </a:cubicBezTo>
                  <a:cubicBezTo>
                    <a:pt x="-1018" y="20601"/>
                    <a:pt x="-1018" y="14667"/>
                    <a:pt x="4916" y="11700"/>
                  </a:cubicBezTo>
                  <a:cubicBezTo>
                    <a:pt x="40521" y="-12036"/>
                    <a:pt x="76126" y="5766"/>
                    <a:pt x="87993" y="17634"/>
                  </a:cubicBezTo>
                  <a:cubicBezTo>
                    <a:pt x="90961" y="20601"/>
                    <a:pt x="90961" y="26535"/>
                    <a:pt x="87993" y="29502"/>
                  </a:cubicBezTo>
                  <a:cubicBezTo>
                    <a:pt x="87993" y="29502"/>
                    <a:pt x="85026" y="32469"/>
                    <a:pt x="85026" y="32469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591DE5DB-A31B-47D0-B837-54091F5B6E8A}"/>
                </a:ext>
              </a:extLst>
            </p:cNvPr>
            <p:cNvSpPr/>
            <p:nvPr/>
          </p:nvSpPr>
          <p:spPr>
            <a:xfrm>
              <a:off x="23191102" y="2658506"/>
              <a:ext cx="223014" cy="69470"/>
            </a:xfrm>
            <a:custGeom>
              <a:avLst/>
              <a:gdLst>
                <a:gd name="connsiteX0" fmla="*/ 76402 w 223014"/>
                <a:gd name="connsiteY0" fmla="*/ 66504 h 69470"/>
                <a:gd name="connsiteX1" fmla="*/ 2226 w 223014"/>
                <a:gd name="connsiteY1" fmla="*/ 42767 h 69470"/>
                <a:gd name="connsiteX2" fmla="*/ 2226 w 223014"/>
                <a:gd name="connsiteY2" fmla="*/ 33866 h 69470"/>
                <a:gd name="connsiteX3" fmla="*/ 11127 w 223014"/>
                <a:gd name="connsiteY3" fmla="*/ 33866 h 69470"/>
                <a:gd name="connsiteX4" fmla="*/ 79368 w 223014"/>
                <a:gd name="connsiteY4" fmla="*/ 54636 h 69470"/>
                <a:gd name="connsiteX5" fmla="*/ 212885 w 223014"/>
                <a:gd name="connsiteY5" fmla="*/ 1229 h 69470"/>
                <a:gd name="connsiteX6" fmla="*/ 221785 w 223014"/>
                <a:gd name="connsiteY6" fmla="*/ 4196 h 69470"/>
                <a:gd name="connsiteX7" fmla="*/ 218819 w 223014"/>
                <a:gd name="connsiteY7" fmla="*/ 13097 h 69470"/>
                <a:gd name="connsiteX8" fmla="*/ 79368 w 223014"/>
                <a:gd name="connsiteY8" fmla="*/ 69471 h 69470"/>
                <a:gd name="connsiteX9" fmla="*/ 76402 w 223014"/>
                <a:gd name="connsiteY9" fmla="*/ 66504 h 69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014" h="69470">
                  <a:moveTo>
                    <a:pt x="76402" y="66504"/>
                  </a:moveTo>
                  <a:cubicBezTo>
                    <a:pt x="34863" y="66504"/>
                    <a:pt x="5192" y="42767"/>
                    <a:pt x="2226" y="42767"/>
                  </a:cubicBezTo>
                  <a:cubicBezTo>
                    <a:pt x="-742" y="39800"/>
                    <a:pt x="-742" y="36833"/>
                    <a:pt x="2226" y="33866"/>
                  </a:cubicBezTo>
                  <a:cubicBezTo>
                    <a:pt x="5192" y="30899"/>
                    <a:pt x="8159" y="30899"/>
                    <a:pt x="11127" y="33866"/>
                  </a:cubicBezTo>
                  <a:cubicBezTo>
                    <a:pt x="11127" y="33866"/>
                    <a:pt x="43763" y="57603"/>
                    <a:pt x="79368" y="54636"/>
                  </a:cubicBezTo>
                  <a:cubicBezTo>
                    <a:pt x="126840" y="51669"/>
                    <a:pt x="212885" y="1229"/>
                    <a:pt x="212885" y="1229"/>
                  </a:cubicBezTo>
                  <a:cubicBezTo>
                    <a:pt x="215851" y="-1738"/>
                    <a:pt x="218819" y="1229"/>
                    <a:pt x="221785" y="4196"/>
                  </a:cubicBezTo>
                  <a:cubicBezTo>
                    <a:pt x="224754" y="7163"/>
                    <a:pt x="221785" y="10130"/>
                    <a:pt x="218819" y="13097"/>
                  </a:cubicBezTo>
                  <a:cubicBezTo>
                    <a:pt x="215851" y="16064"/>
                    <a:pt x="129808" y="66504"/>
                    <a:pt x="79368" y="69471"/>
                  </a:cubicBezTo>
                  <a:cubicBezTo>
                    <a:pt x="79368" y="66504"/>
                    <a:pt x="76402" y="66504"/>
                    <a:pt x="76402" y="66504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E2227D95-3DD0-4F2B-9FBB-5BA8DDD4A542}"/>
                </a:ext>
              </a:extLst>
            </p:cNvPr>
            <p:cNvSpPr/>
            <p:nvPr/>
          </p:nvSpPr>
          <p:spPr>
            <a:xfrm>
              <a:off x="23418822" y="2182043"/>
              <a:ext cx="107916" cy="261098"/>
            </a:xfrm>
            <a:custGeom>
              <a:avLst/>
              <a:gdLst>
                <a:gd name="connsiteX0" fmla="*/ 0 w 107916"/>
                <a:gd name="connsiteY0" fmla="*/ 124615 h 261098"/>
                <a:gd name="connsiteX1" fmla="*/ 53406 w 107916"/>
                <a:gd name="connsiteY1" fmla="*/ 261099 h 261098"/>
                <a:gd name="connsiteX2" fmla="*/ 103846 w 107916"/>
                <a:gd name="connsiteY2" fmla="*/ 160220 h 261098"/>
                <a:gd name="connsiteX3" fmla="*/ 38571 w 107916"/>
                <a:gd name="connsiteY3" fmla="*/ 0 h 261098"/>
                <a:gd name="connsiteX4" fmla="*/ 0 w 107916"/>
                <a:gd name="connsiteY4" fmla="*/ 124615 h 26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916" h="261098">
                  <a:moveTo>
                    <a:pt x="0" y="124615"/>
                  </a:moveTo>
                  <a:cubicBezTo>
                    <a:pt x="0" y="124615"/>
                    <a:pt x="59341" y="228462"/>
                    <a:pt x="53406" y="261099"/>
                  </a:cubicBezTo>
                  <a:cubicBezTo>
                    <a:pt x="53406" y="261099"/>
                    <a:pt x="91977" y="216593"/>
                    <a:pt x="103846" y="160220"/>
                  </a:cubicBezTo>
                  <a:cubicBezTo>
                    <a:pt x="115715" y="100879"/>
                    <a:pt x="103846" y="11868"/>
                    <a:pt x="38571" y="0"/>
                  </a:cubicBezTo>
                  <a:cubicBezTo>
                    <a:pt x="38571" y="0"/>
                    <a:pt x="35605" y="103846"/>
                    <a:pt x="0" y="124615"/>
                  </a:cubicBezTo>
                  <a:close/>
                </a:path>
              </a:pathLst>
            </a:custGeom>
            <a:solidFill>
              <a:srgbClr val="664241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7E0234C4-B88F-4474-8B91-D00DF0BA61E8}"/>
                </a:ext>
              </a:extLst>
            </p:cNvPr>
            <p:cNvSpPr/>
            <p:nvPr/>
          </p:nvSpPr>
          <p:spPr>
            <a:xfrm>
              <a:off x="23048685" y="2078696"/>
              <a:ext cx="422944" cy="349610"/>
            </a:xfrm>
            <a:custGeom>
              <a:avLst/>
              <a:gdLst>
                <a:gd name="connsiteX0" fmla="*/ 370137 w 422944"/>
                <a:gd name="connsiteY0" fmla="*/ 227962 h 349610"/>
                <a:gd name="connsiteX1" fmla="*/ 248490 w 422944"/>
                <a:gd name="connsiteY1" fmla="*/ 195324 h 349610"/>
                <a:gd name="connsiteX2" fmla="*/ 20028 w 422944"/>
                <a:gd name="connsiteY2" fmla="*/ 349610 h 349610"/>
                <a:gd name="connsiteX3" fmla="*/ 8159 w 422944"/>
                <a:gd name="connsiteY3" fmla="*/ 186423 h 349610"/>
                <a:gd name="connsiteX4" fmla="*/ 91236 w 422944"/>
                <a:gd name="connsiteY4" fmla="*/ 38072 h 349610"/>
                <a:gd name="connsiteX5" fmla="*/ 287061 w 422944"/>
                <a:gd name="connsiteY5" fmla="*/ 14335 h 349610"/>
                <a:gd name="connsiteX6" fmla="*/ 408709 w 422944"/>
                <a:gd name="connsiteY6" fmla="*/ 103346 h 349610"/>
                <a:gd name="connsiteX7" fmla="*/ 370137 w 422944"/>
                <a:gd name="connsiteY7" fmla="*/ 227962 h 34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2944" h="349610">
                  <a:moveTo>
                    <a:pt x="370137" y="227962"/>
                  </a:moveTo>
                  <a:cubicBezTo>
                    <a:pt x="370137" y="227962"/>
                    <a:pt x="275192" y="195324"/>
                    <a:pt x="248490" y="195324"/>
                  </a:cubicBezTo>
                  <a:cubicBezTo>
                    <a:pt x="150576" y="204226"/>
                    <a:pt x="2225" y="278401"/>
                    <a:pt x="20028" y="349610"/>
                  </a:cubicBezTo>
                  <a:cubicBezTo>
                    <a:pt x="20028" y="349610"/>
                    <a:pt x="-15577" y="251698"/>
                    <a:pt x="8159" y="186423"/>
                  </a:cubicBezTo>
                  <a:cubicBezTo>
                    <a:pt x="8159" y="186423"/>
                    <a:pt x="2225" y="64775"/>
                    <a:pt x="91236" y="38072"/>
                  </a:cubicBezTo>
                  <a:cubicBezTo>
                    <a:pt x="180247" y="11368"/>
                    <a:pt x="215851" y="-18302"/>
                    <a:pt x="287061" y="14335"/>
                  </a:cubicBezTo>
                  <a:cubicBezTo>
                    <a:pt x="358269" y="49940"/>
                    <a:pt x="402774" y="67742"/>
                    <a:pt x="408709" y="103346"/>
                  </a:cubicBezTo>
                  <a:cubicBezTo>
                    <a:pt x="408709" y="103346"/>
                    <a:pt x="459148" y="213127"/>
                    <a:pt x="370137" y="227962"/>
                  </a:cubicBezTo>
                  <a:close/>
                </a:path>
              </a:pathLst>
            </a:custGeom>
            <a:solidFill>
              <a:srgbClr val="664241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9880D301-AB83-4C15-BC98-1AF52F2A4E6B}"/>
                </a:ext>
              </a:extLst>
            </p:cNvPr>
            <p:cNvSpPr/>
            <p:nvPr/>
          </p:nvSpPr>
          <p:spPr>
            <a:xfrm>
              <a:off x="23458226" y="2407783"/>
              <a:ext cx="76233" cy="109991"/>
            </a:xfrm>
            <a:custGeom>
              <a:avLst/>
              <a:gdLst>
                <a:gd name="connsiteX0" fmla="*/ 11036 w 76233"/>
                <a:gd name="connsiteY0" fmla="*/ 17556 h 109991"/>
                <a:gd name="connsiteX1" fmla="*/ 67409 w 76233"/>
                <a:gd name="connsiteY1" fmla="*/ 5688 h 109991"/>
                <a:gd name="connsiteX2" fmla="*/ 14002 w 76233"/>
                <a:gd name="connsiteY2" fmla="*/ 106567 h 109991"/>
                <a:gd name="connsiteX3" fmla="*/ 11036 w 76233"/>
                <a:gd name="connsiteY3" fmla="*/ 17556 h 10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33" h="109991">
                  <a:moveTo>
                    <a:pt x="11036" y="17556"/>
                  </a:moveTo>
                  <a:cubicBezTo>
                    <a:pt x="11036" y="17556"/>
                    <a:pt x="43673" y="-12114"/>
                    <a:pt x="67409" y="5688"/>
                  </a:cubicBezTo>
                  <a:cubicBezTo>
                    <a:pt x="94113" y="23490"/>
                    <a:pt x="55542" y="130304"/>
                    <a:pt x="14002" y="106567"/>
                  </a:cubicBezTo>
                  <a:cubicBezTo>
                    <a:pt x="-15668" y="88765"/>
                    <a:pt x="11036" y="17556"/>
                    <a:pt x="11036" y="17556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7E1FC1BC-3E52-42D1-8B12-2CAC056E21B6}"/>
                </a:ext>
              </a:extLst>
            </p:cNvPr>
            <p:cNvSpPr/>
            <p:nvPr/>
          </p:nvSpPr>
          <p:spPr>
            <a:xfrm>
              <a:off x="23406953" y="2193911"/>
              <a:ext cx="71950" cy="237362"/>
            </a:xfrm>
            <a:custGeom>
              <a:avLst/>
              <a:gdLst>
                <a:gd name="connsiteX0" fmla="*/ 62309 w 71950"/>
                <a:gd name="connsiteY0" fmla="*/ 237363 h 237362"/>
                <a:gd name="connsiteX1" fmla="*/ 56374 w 71950"/>
                <a:gd name="connsiteY1" fmla="*/ 231429 h 237362"/>
                <a:gd name="connsiteX2" fmla="*/ 5934 w 71950"/>
                <a:gd name="connsiteY2" fmla="*/ 115714 h 237362"/>
                <a:gd name="connsiteX3" fmla="*/ 0 w 71950"/>
                <a:gd name="connsiteY3" fmla="*/ 109780 h 237362"/>
                <a:gd name="connsiteX4" fmla="*/ 8903 w 71950"/>
                <a:gd name="connsiteY4" fmla="*/ 106813 h 237362"/>
                <a:gd name="connsiteX5" fmla="*/ 53408 w 71950"/>
                <a:gd name="connsiteY5" fmla="*/ 65275 h 237362"/>
                <a:gd name="connsiteX6" fmla="*/ 53408 w 71950"/>
                <a:gd name="connsiteY6" fmla="*/ 8901 h 237362"/>
                <a:gd name="connsiteX7" fmla="*/ 56374 w 71950"/>
                <a:gd name="connsiteY7" fmla="*/ 0 h 237362"/>
                <a:gd name="connsiteX8" fmla="*/ 65275 w 71950"/>
                <a:gd name="connsiteY8" fmla="*/ 2967 h 237362"/>
                <a:gd name="connsiteX9" fmla="*/ 65275 w 71950"/>
                <a:gd name="connsiteY9" fmla="*/ 68242 h 237362"/>
                <a:gd name="connsiteX10" fmla="*/ 20770 w 71950"/>
                <a:gd name="connsiteY10" fmla="*/ 112747 h 237362"/>
                <a:gd name="connsiteX11" fmla="*/ 68243 w 71950"/>
                <a:gd name="connsiteY11" fmla="*/ 228462 h 237362"/>
                <a:gd name="connsiteX12" fmla="*/ 62309 w 71950"/>
                <a:gd name="connsiteY12" fmla="*/ 237363 h 237362"/>
                <a:gd name="connsiteX13" fmla="*/ 62309 w 71950"/>
                <a:gd name="connsiteY13" fmla="*/ 237363 h 237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1950" h="237362">
                  <a:moveTo>
                    <a:pt x="62309" y="237363"/>
                  </a:moveTo>
                  <a:cubicBezTo>
                    <a:pt x="59341" y="237363"/>
                    <a:pt x="56374" y="234396"/>
                    <a:pt x="56374" y="231429"/>
                  </a:cubicBezTo>
                  <a:cubicBezTo>
                    <a:pt x="50440" y="172088"/>
                    <a:pt x="5934" y="115714"/>
                    <a:pt x="5934" y="115714"/>
                  </a:cubicBezTo>
                  <a:lnTo>
                    <a:pt x="0" y="109780"/>
                  </a:lnTo>
                  <a:lnTo>
                    <a:pt x="8903" y="106813"/>
                  </a:lnTo>
                  <a:cubicBezTo>
                    <a:pt x="8903" y="106813"/>
                    <a:pt x="41539" y="94945"/>
                    <a:pt x="53408" y="65275"/>
                  </a:cubicBezTo>
                  <a:cubicBezTo>
                    <a:pt x="62309" y="50440"/>
                    <a:pt x="59341" y="29670"/>
                    <a:pt x="53408" y="8901"/>
                  </a:cubicBezTo>
                  <a:cubicBezTo>
                    <a:pt x="53408" y="5934"/>
                    <a:pt x="53408" y="2967"/>
                    <a:pt x="56374" y="0"/>
                  </a:cubicBezTo>
                  <a:cubicBezTo>
                    <a:pt x="59341" y="0"/>
                    <a:pt x="62309" y="0"/>
                    <a:pt x="65275" y="2967"/>
                  </a:cubicBezTo>
                  <a:cubicBezTo>
                    <a:pt x="74176" y="26703"/>
                    <a:pt x="74176" y="47473"/>
                    <a:pt x="65275" y="68242"/>
                  </a:cubicBezTo>
                  <a:cubicBezTo>
                    <a:pt x="53408" y="91978"/>
                    <a:pt x="32638" y="106813"/>
                    <a:pt x="20770" y="112747"/>
                  </a:cubicBezTo>
                  <a:cubicBezTo>
                    <a:pt x="32638" y="130549"/>
                    <a:pt x="62309" y="178022"/>
                    <a:pt x="68243" y="228462"/>
                  </a:cubicBezTo>
                  <a:cubicBezTo>
                    <a:pt x="68243" y="234396"/>
                    <a:pt x="65275" y="237363"/>
                    <a:pt x="62309" y="237363"/>
                  </a:cubicBezTo>
                  <a:cubicBezTo>
                    <a:pt x="62309" y="237363"/>
                    <a:pt x="62309" y="237363"/>
                    <a:pt x="62309" y="237363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DDB8D725-94D3-43AB-B7E5-2AE77192B896}"/>
                </a:ext>
              </a:extLst>
            </p:cNvPr>
            <p:cNvSpPr/>
            <p:nvPr/>
          </p:nvSpPr>
          <p:spPr>
            <a:xfrm>
              <a:off x="23528603" y="6335889"/>
              <a:ext cx="195823" cy="246263"/>
            </a:xfrm>
            <a:custGeom>
              <a:avLst/>
              <a:gdLst>
                <a:gd name="connsiteX0" fmla="*/ 195823 w 195823"/>
                <a:gd name="connsiteY0" fmla="*/ 210660 h 246263"/>
                <a:gd name="connsiteX1" fmla="*/ 195823 w 195823"/>
                <a:gd name="connsiteY1" fmla="*/ 0 h 246263"/>
                <a:gd name="connsiteX2" fmla="*/ 0 w 195823"/>
                <a:gd name="connsiteY2" fmla="*/ 0 h 246263"/>
                <a:gd name="connsiteX3" fmla="*/ 35605 w 195823"/>
                <a:gd name="connsiteY3" fmla="*/ 219561 h 246263"/>
                <a:gd name="connsiteX4" fmla="*/ 183956 w 195823"/>
                <a:gd name="connsiteY4" fmla="*/ 246264 h 246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823" h="246263">
                  <a:moveTo>
                    <a:pt x="195823" y="210660"/>
                  </a:moveTo>
                  <a:lnTo>
                    <a:pt x="195823" y="0"/>
                  </a:lnTo>
                  <a:lnTo>
                    <a:pt x="0" y="0"/>
                  </a:lnTo>
                  <a:lnTo>
                    <a:pt x="35605" y="219561"/>
                  </a:lnTo>
                  <a:lnTo>
                    <a:pt x="183956" y="246264"/>
                  </a:ln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15CDAC61-AE9C-4D89-A501-625CF6B19EF6}"/>
                </a:ext>
              </a:extLst>
            </p:cNvPr>
            <p:cNvSpPr/>
            <p:nvPr/>
          </p:nvSpPr>
          <p:spPr>
            <a:xfrm>
              <a:off x="22797326" y="4238197"/>
              <a:ext cx="1023807" cy="2195604"/>
            </a:xfrm>
            <a:custGeom>
              <a:avLst/>
              <a:gdLst>
                <a:gd name="connsiteX0" fmla="*/ 10288 w 1023807"/>
                <a:gd name="connsiteY0" fmla="*/ 17802 h 2195604"/>
                <a:gd name="connsiteX1" fmla="*/ 16221 w 1023807"/>
                <a:gd name="connsiteY1" fmla="*/ 1249121 h 2195604"/>
                <a:gd name="connsiteX2" fmla="*/ 185342 w 1023807"/>
                <a:gd name="connsiteY2" fmla="*/ 2195605 h 2195604"/>
                <a:gd name="connsiteX3" fmla="*/ 464244 w 1023807"/>
                <a:gd name="connsiteY3" fmla="*/ 2195605 h 2195604"/>
                <a:gd name="connsiteX4" fmla="*/ 425673 w 1023807"/>
                <a:gd name="connsiteY4" fmla="*/ 1204616 h 2195604"/>
                <a:gd name="connsiteX5" fmla="*/ 490946 w 1023807"/>
                <a:gd name="connsiteY5" fmla="*/ 486593 h 2195604"/>
                <a:gd name="connsiteX6" fmla="*/ 594792 w 1023807"/>
                <a:gd name="connsiteY6" fmla="*/ 1210550 h 2195604"/>
                <a:gd name="connsiteX7" fmla="*/ 680837 w 1023807"/>
                <a:gd name="connsiteY7" fmla="*/ 2189671 h 2195604"/>
                <a:gd name="connsiteX8" fmla="*/ 980507 w 1023807"/>
                <a:gd name="connsiteY8" fmla="*/ 2174835 h 2195604"/>
                <a:gd name="connsiteX9" fmla="*/ 998310 w 1023807"/>
                <a:gd name="connsiteY9" fmla="*/ 1130440 h 2195604"/>
                <a:gd name="connsiteX10" fmla="*/ 1001276 w 1023807"/>
                <a:gd name="connsiteY10" fmla="*/ 0 h 2195604"/>
                <a:gd name="connsiteX11" fmla="*/ 10288 w 1023807"/>
                <a:gd name="connsiteY11" fmla="*/ 17802 h 2195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3807" h="2195604">
                  <a:moveTo>
                    <a:pt x="10288" y="17802"/>
                  </a:moveTo>
                  <a:cubicBezTo>
                    <a:pt x="10288" y="17802"/>
                    <a:pt x="-16416" y="973187"/>
                    <a:pt x="16221" y="1249121"/>
                  </a:cubicBezTo>
                  <a:cubicBezTo>
                    <a:pt x="28090" y="1355934"/>
                    <a:pt x="185342" y="2195605"/>
                    <a:pt x="185342" y="2195605"/>
                  </a:cubicBezTo>
                  <a:lnTo>
                    <a:pt x="464244" y="2195605"/>
                  </a:lnTo>
                  <a:cubicBezTo>
                    <a:pt x="464244" y="2195605"/>
                    <a:pt x="431606" y="1299561"/>
                    <a:pt x="425673" y="1204616"/>
                  </a:cubicBezTo>
                  <a:cubicBezTo>
                    <a:pt x="419738" y="1109670"/>
                    <a:pt x="476111" y="516264"/>
                    <a:pt x="490946" y="486593"/>
                  </a:cubicBezTo>
                  <a:cubicBezTo>
                    <a:pt x="505781" y="456923"/>
                    <a:pt x="594792" y="1210550"/>
                    <a:pt x="594792" y="1210550"/>
                  </a:cubicBezTo>
                  <a:lnTo>
                    <a:pt x="680837" y="2189671"/>
                  </a:lnTo>
                  <a:lnTo>
                    <a:pt x="980507" y="2174835"/>
                  </a:lnTo>
                  <a:cubicBezTo>
                    <a:pt x="980507" y="2174835"/>
                    <a:pt x="983475" y="1225385"/>
                    <a:pt x="998310" y="1130440"/>
                  </a:cubicBezTo>
                  <a:cubicBezTo>
                    <a:pt x="1013145" y="1035495"/>
                    <a:pt x="1045782" y="94945"/>
                    <a:pt x="1001276" y="0"/>
                  </a:cubicBezTo>
                  <a:cubicBezTo>
                    <a:pt x="324793" y="29670"/>
                    <a:pt x="10288" y="17802"/>
                    <a:pt x="10288" y="17802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EB69FEAA-33A7-458D-A19C-0A98AA921B18}"/>
                </a:ext>
              </a:extLst>
            </p:cNvPr>
            <p:cNvSpPr/>
            <p:nvPr/>
          </p:nvSpPr>
          <p:spPr>
            <a:xfrm>
              <a:off x="23111899" y="2247125"/>
              <a:ext cx="188241" cy="35796"/>
            </a:xfrm>
            <a:custGeom>
              <a:avLst/>
              <a:gdLst>
                <a:gd name="connsiteX0" fmla="*/ 7254 w 188241"/>
                <a:gd name="connsiteY0" fmla="*/ 35797 h 35796"/>
                <a:gd name="connsiteX1" fmla="*/ 1319 w 188241"/>
                <a:gd name="connsiteY1" fmla="*/ 32830 h 35796"/>
                <a:gd name="connsiteX2" fmla="*/ 1319 w 188241"/>
                <a:gd name="connsiteY2" fmla="*/ 23929 h 35796"/>
                <a:gd name="connsiteX3" fmla="*/ 185276 w 188241"/>
                <a:gd name="connsiteY3" fmla="*/ 20962 h 35796"/>
                <a:gd name="connsiteX4" fmla="*/ 188242 w 188241"/>
                <a:gd name="connsiteY4" fmla="*/ 29863 h 35796"/>
                <a:gd name="connsiteX5" fmla="*/ 179341 w 188241"/>
                <a:gd name="connsiteY5" fmla="*/ 32830 h 35796"/>
                <a:gd name="connsiteX6" fmla="*/ 4285 w 188241"/>
                <a:gd name="connsiteY6" fmla="*/ 32830 h 35796"/>
                <a:gd name="connsiteX7" fmla="*/ 7254 w 188241"/>
                <a:gd name="connsiteY7" fmla="*/ 35797 h 35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8241" h="35796">
                  <a:moveTo>
                    <a:pt x="7254" y="35797"/>
                  </a:moveTo>
                  <a:cubicBezTo>
                    <a:pt x="4285" y="35797"/>
                    <a:pt x="4285" y="35797"/>
                    <a:pt x="1319" y="32830"/>
                  </a:cubicBezTo>
                  <a:cubicBezTo>
                    <a:pt x="-1649" y="29863"/>
                    <a:pt x="1319" y="26896"/>
                    <a:pt x="1319" y="23929"/>
                  </a:cubicBezTo>
                  <a:cubicBezTo>
                    <a:pt x="69561" y="-26511"/>
                    <a:pt x="182307" y="17995"/>
                    <a:pt x="185276" y="20962"/>
                  </a:cubicBezTo>
                  <a:cubicBezTo>
                    <a:pt x="188242" y="20962"/>
                    <a:pt x="188242" y="26896"/>
                    <a:pt x="188242" y="29863"/>
                  </a:cubicBezTo>
                  <a:cubicBezTo>
                    <a:pt x="188242" y="32830"/>
                    <a:pt x="182307" y="32830"/>
                    <a:pt x="179341" y="32830"/>
                  </a:cubicBezTo>
                  <a:cubicBezTo>
                    <a:pt x="179341" y="32830"/>
                    <a:pt x="66594" y="-11676"/>
                    <a:pt x="4285" y="32830"/>
                  </a:cubicBezTo>
                  <a:cubicBezTo>
                    <a:pt x="7254" y="35797"/>
                    <a:pt x="7254" y="35797"/>
                    <a:pt x="7254" y="35797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8BBD4627-F139-4C8C-9D52-BA7F3FD3CFC9}"/>
                </a:ext>
              </a:extLst>
            </p:cNvPr>
            <p:cNvSpPr/>
            <p:nvPr/>
          </p:nvSpPr>
          <p:spPr>
            <a:xfrm>
              <a:off x="22783081" y="2769515"/>
              <a:ext cx="1042225" cy="1524875"/>
            </a:xfrm>
            <a:custGeom>
              <a:avLst/>
              <a:gdLst>
                <a:gd name="connsiteX0" fmla="*/ 656511 w 1042225"/>
                <a:gd name="connsiteY0" fmla="*/ 0 h 1524875"/>
                <a:gd name="connsiteX1" fmla="*/ 374643 w 1042225"/>
                <a:gd name="connsiteY1" fmla="*/ 0 h 1524875"/>
                <a:gd name="connsiteX2" fmla="*/ 83874 w 1042225"/>
                <a:gd name="connsiteY2" fmla="*/ 127582 h 1524875"/>
                <a:gd name="connsiteX3" fmla="*/ 795 w 1042225"/>
                <a:gd name="connsiteY3" fmla="*/ 1495385 h 1524875"/>
                <a:gd name="connsiteX4" fmla="*/ 1042225 w 1042225"/>
                <a:gd name="connsiteY4" fmla="*/ 1471648 h 1524875"/>
                <a:gd name="connsiteX5" fmla="*/ 929478 w 1042225"/>
                <a:gd name="connsiteY5" fmla="*/ 100879 h 1524875"/>
                <a:gd name="connsiteX6" fmla="*/ 656511 w 1042225"/>
                <a:gd name="connsiteY6" fmla="*/ 0 h 152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2225" h="1524875">
                  <a:moveTo>
                    <a:pt x="656511" y="0"/>
                  </a:moveTo>
                  <a:cubicBezTo>
                    <a:pt x="656511" y="0"/>
                    <a:pt x="487389" y="53407"/>
                    <a:pt x="374643" y="0"/>
                  </a:cubicBezTo>
                  <a:cubicBezTo>
                    <a:pt x="374643" y="0"/>
                    <a:pt x="107610" y="94945"/>
                    <a:pt x="83874" y="127582"/>
                  </a:cubicBezTo>
                  <a:cubicBezTo>
                    <a:pt x="60136" y="157253"/>
                    <a:pt x="-8105" y="1430110"/>
                    <a:pt x="795" y="1495385"/>
                  </a:cubicBezTo>
                  <a:cubicBezTo>
                    <a:pt x="795" y="1495385"/>
                    <a:pt x="478489" y="1575495"/>
                    <a:pt x="1042225" y="1471648"/>
                  </a:cubicBezTo>
                  <a:cubicBezTo>
                    <a:pt x="1042225" y="1124505"/>
                    <a:pt x="971016" y="130549"/>
                    <a:pt x="929478" y="100879"/>
                  </a:cubicBezTo>
                  <a:cubicBezTo>
                    <a:pt x="887939" y="71209"/>
                    <a:pt x="656511" y="0"/>
                    <a:pt x="656511" y="0"/>
                  </a:cubicBezTo>
                  <a:close/>
                </a:path>
              </a:pathLst>
            </a:custGeom>
            <a:solidFill>
              <a:srgbClr val="F6EBE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F777A99F-D06E-4076-A2E9-20303BDE511C}"/>
                </a:ext>
              </a:extLst>
            </p:cNvPr>
            <p:cNvSpPr/>
            <p:nvPr/>
          </p:nvSpPr>
          <p:spPr>
            <a:xfrm>
              <a:off x="23267504" y="2769515"/>
              <a:ext cx="175053" cy="115714"/>
            </a:xfrm>
            <a:custGeom>
              <a:avLst/>
              <a:gdLst>
                <a:gd name="connsiteX0" fmla="*/ 0 w 175053"/>
                <a:gd name="connsiteY0" fmla="*/ 20769 h 115714"/>
                <a:gd name="connsiteX1" fmla="*/ 26702 w 175053"/>
                <a:gd name="connsiteY1" fmla="*/ 115714 h 115714"/>
                <a:gd name="connsiteX2" fmla="*/ 175054 w 175053"/>
                <a:gd name="connsiteY2" fmla="*/ 0 h 115714"/>
                <a:gd name="connsiteX3" fmla="*/ 0 w 175053"/>
                <a:gd name="connsiteY3" fmla="*/ 20769 h 11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053" h="115714">
                  <a:moveTo>
                    <a:pt x="0" y="20769"/>
                  </a:moveTo>
                  <a:lnTo>
                    <a:pt x="26702" y="115714"/>
                  </a:lnTo>
                  <a:lnTo>
                    <a:pt x="175054" y="0"/>
                  </a:lnTo>
                  <a:cubicBezTo>
                    <a:pt x="172088" y="0"/>
                    <a:pt x="41537" y="20769"/>
                    <a:pt x="0" y="20769"/>
                  </a:cubicBezTo>
                  <a:close/>
                </a:path>
              </a:pathLst>
            </a:custGeom>
            <a:solidFill>
              <a:srgbClr val="FFFFFF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D4280DCB-AB81-4A5B-95C3-EE1849D68AB2}"/>
                </a:ext>
              </a:extLst>
            </p:cNvPr>
            <p:cNvSpPr/>
            <p:nvPr/>
          </p:nvSpPr>
          <p:spPr>
            <a:xfrm>
              <a:off x="23160690" y="2769515"/>
              <a:ext cx="106814" cy="112747"/>
            </a:xfrm>
            <a:custGeom>
              <a:avLst/>
              <a:gdLst>
                <a:gd name="connsiteX0" fmla="*/ 106814 w 106814"/>
                <a:gd name="connsiteY0" fmla="*/ 20769 h 112747"/>
                <a:gd name="connsiteX1" fmla="*/ 71210 w 106814"/>
                <a:gd name="connsiteY1" fmla="*/ 112747 h 112747"/>
                <a:gd name="connsiteX2" fmla="*/ 0 w 106814"/>
                <a:gd name="connsiteY2" fmla="*/ 0 h 112747"/>
                <a:gd name="connsiteX3" fmla="*/ 106814 w 106814"/>
                <a:gd name="connsiteY3" fmla="*/ 20769 h 112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814" h="112747">
                  <a:moveTo>
                    <a:pt x="106814" y="20769"/>
                  </a:moveTo>
                  <a:lnTo>
                    <a:pt x="71210" y="112747"/>
                  </a:lnTo>
                  <a:lnTo>
                    <a:pt x="0" y="0"/>
                  </a:lnTo>
                  <a:cubicBezTo>
                    <a:pt x="0" y="0"/>
                    <a:pt x="68241" y="20769"/>
                    <a:pt x="106814" y="20769"/>
                  </a:cubicBezTo>
                  <a:close/>
                </a:path>
              </a:pathLst>
            </a:custGeom>
            <a:solidFill>
              <a:srgbClr val="FFFFFF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3F68C18A-AFB2-46B5-9DD5-CE01CFFDD84F}"/>
                </a:ext>
              </a:extLst>
            </p:cNvPr>
            <p:cNvSpPr/>
            <p:nvPr/>
          </p:nvSpPr>
          <p:spPr>
            <a:xfrm>
              <a:off x="22582118" y="2854037"/>
              <a:ext cx="438519" cy="594928"/>
            </a:xfrm>
            <a:custGeom>
              <a:avLst/>
              <a:gdLst>
                <a:gd name="connsiteX0" fmla="*/ 376814 w 438519"/>
                <a:gd name="connsiteY0" fmla="*/ 594929 h 594928"/>
                <a:gd name="connsiteX1" fmla="*/ 388682 w 438519"/>
                <a:gd name="connsiteY1" fmla="*/ 10424 h 594928"/>
                <a:gd name="connsiteX2" fmla="*/ 0 w 438519"/>
                <a:gd name="connsiteY2" fmla="*/ 431742 h 594928"/>
                <a:gd name="connsiteX3" fmla="*/ 376814 w 438519"/>
                <a:gd name="connsiteY3" fmla="*/ 594929 h 59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519" h="594928">
                  <a:moveTo>
                    <a:pt x="376814" y="594929"/>
                  </a:moveTo>
                  <a:cubicBezTo>
                    <a:pt x="376814" y="594929"/>
                    <a:pt x="507364" y="87566"/>
                    <a:pt x="388682" y="10424"/>
                  </a:cubicBezTo>
                  <a:cubicBezTo>
                    <a:pt x="249232" y="-78587"/>
                    <a:pt x="0" y="431742"/>
                    <a:pt x="0" y="431742"/>
                  </a:cubicBezTo>
                  <a:cubicBezTo>
                    <a:pt x="0" y="431742"/>
                    <a:pt x="172088" y="577127"/>
                    <a:pt x="376814" y="594929"/>
                  </a:cubicBezTo>
                  <a:close/>
                </a:path>
              </a:pathLst>
            </a:custGeom>
            <a:solidFill>
              <a:srgbClr val="F6EBE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FB99DBB-A5A8-4762-B4AC-71C5D37CAE60}"/>
                </a:ext>
              </a:extLst>
            </p:cNvPr>
            <p:cNvSpPr/>
            <p:nvPr/>
          </p:nvSpPr>
          <p:spPr>
            <a:xfrm>
              <a:off x="22822449" y="2889935"/>
              <a:ext cx="51667" cy="538261"/>
            </a:xfrm>
            <a:custGeom>
              <a:avLst/>
              <a:gdLst>
                <a:gd name="connsiteX0" fmla="*/ 5933 w 51667"/>
                <a:gd name="connsiteY0" fmla="*/ 538262 h 538261"/>
                <a:gd name="connsiteX1" fmla="*/ 5933 w 51667"/>
                <a:gd name="connsiteY1" fmla="*/ 538262 h 538261"/>
                <a:gd name="connsiteX2" fmla="*/ 0 w 51667"/>
                <a:gd name="connsiteY2" fmla="*/ 532328 h 538261"/>
                <a:gd name="connsiteX3" fmla="*/ 41537 w 51667"/>
                <a:gd name="connsiteY3" fmla="*/ 4196 h 538261"/>
                <a:gd name="connsiteX4" fmla="*/ 47472 w 51667"/>
                <a:gd name="connsiteY4" fmla="*/ 1229 h 538261"/>
                <a:gd name="connsiteX5" fmla="*/ 50438 w 51667"/>
                <a:gd name="connsiteY5" fmla="*/ 7163 h 538261"/>
                <a:gd name="connsiteX6" fmla="*/ 8901 w 51667"/>
                <a:gd name="connsiteY6" fmla="*/ 532328 h 538261"/>
                <a:gd name="connsiteX7" fmla="*/ 5933 w 51667"/>
                <a:gd name="connsiteY7" fmla="*/ 538262 h 53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67" h="538261">
                  <a:moveTo>
                    <a:pt x="5933" y="538262"/>
                  </a:moveTo>
                  <a:cubicBezTo>
                    <a:pt x="5933" y="538262"/>
                    <a:pt x="5933" y="538262"/>
                    <a:pt x="5933" y="538262"/>
                  </a:cubicBezTo>
                  <a:cubicBezTo>
                    <a:pt x="2966" y="538262"/>
                    <a:pt x="0" y="535295"/>
                    <a:pt x="0" y="532328"/>
                  </a:cubicBezTo>
                  <a:cubicBezTo>
                    <a:pt x="0" y="511559"/>
                    <a:pt x="35603" y="42767"/>
                    <a:pt x="41537" y="4196"/>
                  </a:cubicBezTo>
                  <a:cubicBezTo>
                    <a:pt x="41537" y="1229"/>
                    <a:pt x="44505" y="-1738"/>
                    <a:pt x="47472" y="1229"/>
                  </a:cubicBezTo>
                  <a:cubicBezTo>
                    <a:pt x="50438" y="1229"/>
                    <a:pt x="53406" y="4196"/>
                    <a:pt x="50438" y="7163"/>
                  </a:cubicBezTo>
                  <a:cubicBezTo>
                    <a:pt x="41537" y="45734"/>
                    <a:pt x="8901" y="529361"/>
                    <a:pt x="8901" y="532328"/>
                  </a:cubicBezTo>
                  <a:cubicBezTo>
                    <a:pt x="11867" y="535295"/>
                    <a:pt x="8901" y="538262"/>
                    <a:pt x="5933" y="538262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DCE8FF7C-199C-4147-8B68-9CD8EF50F00A}"/>
                </a:ext>
              </a:extLst>
            </p:cNvPr>
            <p:cNvSpPr/>
            <p:nvPr/>
          </p:nvSpPr>
          <p:spPr>
            <a:xfrm>
              <a:off x="23228931" y="4377647"/>
              <a:ext cx="68243" cy="353076"/>
            </a:xfrm>
            <a:custGeom>
              <a:avLst/>
              <a:gdLst>
                <a:gd name="connsiteX0" fmla="*/ 62309 w 68243"/>
                <a:gd name="connsiteY0" fmla="*/ 353077 h 353076"/>
                <a:gd name="connsiteX1" fmla="*/ 56374 w 68243"/>
                <a:gd name="connsiteY1" fmla="*/ 350110 h 353076"/>
                <a:gd name="connsiteX2" fmla="*/ 0 w 68243"/>
                <a:gd name="connsiteY2" fmla="*/ 5934 h 353076"/>
                <a:gd name="connsiteX3" fmla="*/ 5934 w 68243"/>
                <a:gd name="connsiteY3" fmla="*/ 0 h 353076"/>
                <a:gd name="connsiteX4" fmla="*/ 11869 w 68243"/>
                <a:gd name="connsiteY4" fmla="*/ 5934 h 353076"/>
                <a:gd name="connsiteX5" fmla="*/ 68243 w 68243"/>
                <a:gd name="connsiteY5" fmla="*/ 347143 h 353076"/>
                <a:gd name="connsiteX6" fmla="*/ 62309 w 68243"/>
                <a:gd name="connsiteY6" fmla="*/ 353077 h 353076"/>
                <a:gd name="connsiteX7" fmla="*/ 62309 w 68243"/>
                <a:gd name="connsiteY7" fmla="*/ 353077 h 35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243" h="353076">
                  <a:moveTo>
                    <a:pt x="62309" y="353077"/>
                  </a:moveTo>
                  <a:cubicBezTo>
                    <a:pt x="59341" y="353077"/>
                    <a:pt x="59341" y="353077"/>
                    <a:pt x="56374" y="350110"/>
                  </a:cubicBezTo>
                  <a:cubicBezTo>
                    <a:pt x="8903" y="237363"/>
                    <a:pt x="0" y="14835"/>
                    <a:pt x="0" y="5934"/>
                  </a:cubicBezTo>
                  <a:cubicBezTo>
                    <a:pt x="0" y="2967"/>
                    <a:pt x="2968" y="0"/>
                    <a:pt x="5934" y="0"/>
                  </a:cubicBezTo>
                  <a:cubicBezTo>
                    <a:pt x="8903" y="0"/>
                    <a:pt x="11869" y="2967"/>
                    <a:pt x="11869" y="5934"/>
                  </a:cubicBezTo>
                  <a:cubicBezTo>
                    <a:pt x="11869" y="8901"/>
                    <a:pt x="20770" y="237363"/>
                    <a:pt x="68243" y="347143"/>
                  </a:cubicBezTo>
                  <a:cubicBezTo>
                    <a:pt x="68243" y="350110"/>
                    <a:pt x="65275" y="353077"/>
                    <a:pt x="62309" y="353077"/>
                  </a:cubicBezTo>
                  <a:cubicBezTo>
                    <a:pt x="62309" y="353077"/>
                    <a:pt x="62309" y="353077"/>
                    <a:pt x="62309" y="353077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D8C9FE1C-ECEA-4EAA-883A-2DA8342280C4}"/>
                </a:ext>
              </a:extLst>
            </p:cNvPr>
            <p:cNvSpPr/>
            <p:nvPr/>
          </p:nvSpPr>
          <p:spPr>
            <a:xfrm>
              <a:off x="23119152" y="4312372"/>
              <a:ext cx="151317" cy="344176"/>
            </a:xfrm>
            <a:custGeom>
              <a:avLst/>
              <a:gdLst>
                <a:gd name="connsiteX0" fmla="*/ 142417 w 151317"/>
                <a:gd name="connsiteY0" fmla="*/ 344176 h 344176"/>
                <a:gd name="connsiteX1" fmla="*/ 139449 w 151317"/>
                <a:gd name="connsiteY1" fmla="*/ 344176 h 344176"/>
                <a:gd name="connsiteX2" fmla="*/ 32637 w 151317"/>
                <a:gd name="connsiteY2" fmla="*/ 267033 h 344176"/>
                <a:gd name="connsiteX3" fmla="*/ 0 w 151317"/>
                <a:gd name="connsiteY3" fmla="*/ 5934 h 344176"/>
                <a:gd name="connsiteX4" fmla="*/ 5933 w 151317"/>
                <a:gd name="connsiteY4" fmla="*/ 0 h 344176"/>
                <a:gd name="connsiteX5" fmla="*/ 11867 w 151317"/>
                <a:gd name="connsiteY5" fmla="*/ 5934 h 344176"/>
                <a:gd name="connsiteX6" fmla="*/ 44505 w 151317"/>
                <a:gd name="connsiteY6" fmla="*/ 261099 h 344176"/>
                <a:gd name="connsiteX7" fmla="*/ 148352 w 151317"/>
                <a:gd name="connsiteY7" fmla="*/ 335275 h 344176"/>
                <a:gd name="connsiteX8" fmla="*/ 151318 w 151317"/>
                <a:gd name="connsiteY8" fmla="*/ 344176 h 344176"/>
                <a:gd name="connsiteX9" fmla="*/ 142417 w 151317"/>
                <a:gd name="connsiteY9" fmla="*/ 344176 h 34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1317" h="344176">
                  <a:moveTo>
                    <a:pt x="142417" y="344176"/>
                  </a:moveTo>
                  <a:cubicBezTo>
                    <a:pt x="142417" y="344176"/>
                    <a:pt x="139449" y="344176"/>
                    <a:pt x="139449" y="344176"/>
                  </a:cubicBezTo>
                  <a:cubicBezTo>
                    <a:pt x="130548" y="338242"/>
                    <a:pt x="44505" y="281868"/>
                    <a:pt x="32637" y="267033"/>
                  </a:cubicBezTo>
                  <a:cubicBezTo>
                    <a:pt x="20768" y="252198"/>
                    <a:pt x="2966" y="47473"/>
                    <a:pt x="0" y="5934"/>
                  </a:cubicBezTo>
                  <a:cubicBezTo>
                    <a:pt x="0" y="2967"/>
                    <a:pt x="2966" y="0"/>
                    <a:pt x="5933" y="0"/>
                  </a:cubicBezTo>
                  <a:cubicBezTo>
                    <a:pt x="8901" y="0"/>
                    <a:pt x="11867" y="2967"/>
                    <a:pt x="11867" y="5934"/>
                  </a:cubicBezTo>
                  <a:cubicBezTo>
                    <a:pt x="20768" y="97912"/>
                    <a:pt x="35603" y="249231"/>
                    <a:pt x="44505" y="261099"/>
                  </a:cubicBezTo>
                  <a:cubicBezTo>
                    <a:pt x="53406" y="270000"/>
                    <a:pt x="109779" y="311538"/>
                    <a:pt x="148352" y="335275"/>
                  </a:cubicBezTo>
                  <a:cubicBezTo>
                    <a:pt x="151318" y="338242"/>
                    <a:pt x="151318" y="341209"/>
                    <a:pt x="151318" y="344176"/>
                  </a:cubicBezTo>
                  <a:cubicBezTo>
                    <a:pt x="145384" y="341209"/>
                    <a:pt x="142417" y="344176"/>
                    <a:pt x="142417" y="344176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25D9B292-C8F9-4D0D-8D00-B430CF8F98DF}"/>
                </a:ext>
              </a:extLst>
            </p:cNvPr>
            <p:cNvSpPr/>
            <p:nvPr/>
          </p:nvSpPr>
          <p:spPr>
            <a:xfrm>
              <a:off x="23525881" y="6525779"/>
              <a:ext cx="278325" cy="326373"/>
            </a:xfrm>
            <a:custGeom>
              <a:avLst/>
              <a:gdLst>
                <a:gd name="connsiteX0" fmla="*/ 275689 w 278325"/>
                <a:gd name="connsiteY0" fmla="*/ 219560 h 326373"/>
                <a:gd name="connsiteX1" fmla="*/ 275689 w 278325"/>
                <a:gd name="connsiteY1" fmla="*/ 272967 h 326373"/>
                <a:gd name="connsiteX2" fmla="*/ 145139 w 278325"/>
                <a:gd name="connsiteY2" fmla="*/ 326374 h 326373"/>
                <a:gd name="connsiteX3" fmla="*/ 5688 w 278325"/>
                <a:gd name="connsiteY3" fmla="*/ 272967 h 326373"/>
                <a:gd name="connsiteX4" fmla="*/ 17557 w 278325"/>
                <a:gd name="connsiteY4" fmla="*/ 38572 h 326373"/>
                <a:gd name="connsiteX5" fmla="*/ 32392 w 278325"/>
                <a:gd name="connsiteY5" fmla="*/ 0 h 326373"/>
                <a:gd name="connsiteX6" fmla="*/ 50193 w 278325"/>
                <a:gd name="connsiteY6" fmla="*/ 219560 h 326373"/>
                <a:gd name="connsiteX7" fmla="*/ 275689 w 278325"/>
                <a:gd name="connsiteY7" fmla="*/ 219560 h 326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8325" h="326373">
                  <a:moveTo>
                    <a:pt x="275689" y="219560"/>
                  </a:moveTo>
                  <a:cubicBezTo>
                    <a:pt x="275689" y="219560"/>
                    <a:pt x="281622" y="261099"/>
                    <a:pt x="275689" y="272967"/>
                  </a:cubicBezTo>
                  <a:cubicBezTo>
                    <a:pt x="266786" y="290769"/>
                    <a:pt x="207446" y="326374"/>
                    <a:pt x="145139" y="326374"/>
                  </a:cubicBezTo>
                  <a:cubicBezTo>
                    <a:pt x="70963" y="326374"/>
                    <a:pt x="20523" y="290769"/>
                    <a:pt x="5688" y="272967"/>
                  </a:cubicBezTo>
                  <a:cubicBezTo>
                    <a:pt x="-12114" y="255165"/>
                    <a:pt x="17557" y="38572"/>
                    <a:pt x="17557" y="38572"/>
                  </a:cubicBezTo>
                  <a:lnTo>
                    <a:pt x="32392" y="0"/>
                  </a:lnTo>
                  <a:lnTo>
                    <a:pt x="50193" y="219560"/>
                  </a:lnTo>
                  <a:lnTo>
                    <a:pt x="275689" y="219560"/>
                  </a:ln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B5AFB619-A936-408C-A610-6CD7C04E8F9E}"/>
                </a:ext>
              </a:extLst>
            </p:cNvPr>
            <p:cNvSpPr/>
            <p:nvPr/>
          </p:nvSpPr>
          <p:spPr>
            <a:xfrm>
              <a:off x="23538473" y="6510944"/>
              <a:ext cx="263926" cy="302842"/>
            </a:xfrm>
            <a:custGeom>
              <a:avLst/>
              <a:gdLst>
                <a:gd name="connsiteX0" fmla="*/ 188922 w 263926"/>
                <a:gd name="connsiteY0" fmla="*/ 0 h 302842"/>
                <a:gd name="connsiteX1" fmla="*/ 16832 w 263926"/>
                <a:gd name="connsiteY1" fmla="*/ 14835 h 302842"/>
                <a:gd name="connsiteX2" fmla="*/ 1997 w 263926"/>
                <a:gd name="connsiteY2" fmla="*/ 243297 h 302842"/>
                <a:gd name="connsiteX3" fmla="*/ 138482 w 263926"/>
                <a:gd name="connsiteY3" fmla="*/ 302637 h 302842"/>
                <a:gd name="connsiteX4" fmla="*/ 263097 w 263926"/>
                <a:gd name="connsiteY4" fmla="*/ 240329 h 302842"/>
                <a:gd name="connsiteX5" fmla="*/ 188922 w 263926"/>
                <a:gd name="connsiteY5" fmla="*/ 0 h 302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3926" h="302842">
                  <a:moveTo>
                    <a:pt x="188922" y="0"/>
                  </a:moveTo>
                  <a:cubicBezTo>
                    <a:pt x="188922" y="0"/>
                    <a:pt x="129581" y="68242"/>
                    <a:pt x="16832" y="14835"/>
                  </a:cubicBezTo>
                  <a:cubicBezTo>
                    <a:pt x="16832" y="14835"/>
                    <a:pt x="-6904" y="210659"/>
                    <a:pt x="1997" y="243297"/>
                  </a:cubicBezTo>
                  <a:cubicBezTo>
                    <a:pt x="13866" y="275934"/>
                    <a:pt x="99911" y="305605"/>
                    <a:pt x="138482" y="302637"/>
                  </a:cubicBezTo>
                  <a:cubicBezTo>
                    <a:pt x="177053" y="299670"/>
                    <a:pt x="251229" y="264066"/>
                    <a:pt x="263097" y="240329"/>
                  </a:cubicBezTo>
                  <a:cubicBezTo>
                    <a:pt x="271998" y="219560"/>
                    <a:pt x="206723" y="50439"/>
                    <a:pt x="188922" y="0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5BEDAD53-639B-434B-92DB-F2519AFED2DE}"/>
                </a:ext>
              </a:extLst>
            </p:cNvPr>
            <p:cNvSpPr/>
            <p:nvPr/>
          </p:nvSpPr>
          <p:spPr>
            <a:xfrm>
              <a:off x="23549372" y="6507977"/>
              <a:ext cx="183954" cy="44505"/>
            </a:xfrm>
            <a:custGeom>
              <a:avLst/>
              <a:gdLst>
                <a:gd name="connsiteX0" fmla="*/ 94944 w 183954"/>
                <a:gd name="connsiteY0" fmla="*/ 44505 h 44505"/>
                <a:gd name="connsiteX1" fmla="*/ 2966 w 183954"/>
                <a:gd name="connsiteY1" fmla="*/ 23736 h 44505"/>
                <a:gd name="connsiteX2" fmla="*/ 0 w 183954"/>
                <a:gd name="connsiteY2" fmla="*/ 17802 h 44505"/>
                <a:gd name="connsiteX3" fmla="*/ 5933 w 183954"/>
                <a:gd name="connsiteY3" fmla="*/ 14835 h 44505"/>
                <a:gd name="connsiteX4" fmla="*/ 172088 w 183954"/>
                <a:gd name="connsiteY4" fmla="*/ 2967 h 44505"/>
                <a:gd name="connsiteX5" fmla="*/ 180988 w 183954"/>
                <a:gd name="connsiteY5" fmla="*/ 0 h 44505"/>
                <a:gd name="connsiteX6" fmla="*/ 183955 w 183954"/>
                <a:gd name="connsiteY6" fmla="*/ 8901 h 44505"/>
                <a:gd name="connsiteX7" fmla="*/ 94944 w 183954"/>
                <a:gd name="connsiteY7" fmla="*/ 44505 h 44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954" h="44505">
                  <a:moveTo>
                    <a:pt x="94944" y="44505"/>
                  </a:moveTo>
                  <a:cubicBezTo>
                    <a:pt x="71208" y="44505"/>
                    <a:pt x="41537" y="38572"/>
                    <a:pt x="2966" y="23736"/>
                  </a:cubicBezTo>
                  <a:cubicBezTo>
                    <a:pt x="0" y="23736"/>
                    <a:pt x="0" y="20769"/>
                    <a:pt x="0" y="17802"/>
                  </a:cubicBezTo>
                  <a:cubicBezTo>
                    <a:pt x="0" y="14835"/>
                    <a:pt x="2966" y="14835"/>
                    <a:pt x="5933" y="14835"/>
                  </a:cubicBezTo>
                  <a:cubicBezTo>
                    <a:pt x="127582" y="65275"/>
                    <a:pt x="169119" y="5934"/>
                    <a:pt x="172088" y="2967"/>
                  </a:cubicBezTo>
                  <a:cubicBezTo>
                    <a:pt x="175054" y="0"/>
                    <a:pt x="178022" y="0"/>
                    <a:pt x="180988" y="0"/>
                  </a:cubicBezTo>
                  <a:cubicBezTo>
                    <a:pt x="183955" y="2967"/>
                    <a:pt x="183955" y="5934"/>
                    <a:pt x="183955" y="8901"/>
                  </a:cubicBezTo>
                  <a:cubicBezTo>
                    <a:pt x="180988" y="5934"/>
                    <a:pt x="157252" y="44505"/>
                    <a:pt x="94944" y="44505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9B2D3805-1875-4F9E-81AC-7565753D701C}"/>
                </a:ext>
              </a:extLst>
            </p:cNvPr>
            <p:cNvSpPr/>
            <p:nvPr/>
          </p:nvSpPr>
          <p:spPr>
            <a:xfrm>
              <a:off x="23595615" y="6582153"/>
              <a:ext cx="122876" cy="23736"/>
            </a:xfrm>
            <a:custGeom>
              <a:avLst/>
              <a:gdLst>
                <a:gd name="connsiteX0" fmla="*/ 42768 w 122876"/>
                <a:gd name="connsiteY0" fmla="*/ 23736 h 23736"/>
                <a:gd name="connsiteX1" fmla="*/ 4195 w 122876"/>
                <a:gd name="connsiteY1" fmla="*/ 20769 h 23736"/>
                <a:gd name="connsiteX2" fmla="*/ 1229 w 122876"/>
                <a:gd name="connsiteY2" fmla="*/ 14835 h 23736"/>
                <a:gd name="connsiteX3" fmla="*/ 7163 w 122876"/>
                <a:gd name="connsiteY3" fmla="*/ 11868 h 23736"/>
                <a:gd name="connsiteX4" fmla="*/ 113976 w 122876"/>
                <a:gd name="connsiteY4" fmla="*/ 0 h 23736"/>
                <a:gd name="connsiteX5" fmla="*/ 122876 w 122876"/>
                <a:gd name="connsiteY5" fmla="*/ 2967 h 23736"/>
                <a:gd name="connsiteX6" fmla="*/ 119910 w 122876"/>
                <a:gd name="connsiteY6" fmla="*/ 11868 h 23736"/>
                <a:gd name="connsiteX7" fmla="*/ 42768 w 122876"/>
                <a:gd name="connsiteY7" fmla="*/ 23736 h 23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876" h="23736">
                  <a:moveTo>
                    <a:pt x="42768" y="23736"/>
                  </a:moveTo>
                  <a:cubicBezTo>
                    <a:pt x="30899" y="23736"/>
                    <a:pt x="16064" y="23736"/>
                    <a:pt x="4195" y="20769"/>
                  </a:cubicBezTo>
                  <a:cubicBezTo>
                    <a:pt x="1229" y="20769"/>
                    <a:pt x="-1738" y="17802"/>
                    <a:pt x="1229" y="14835"/>
                  </a:cubicBezTo>
                  <a:cubicBezTo>
                    <a:pt x="1229" y="11868"/>
                    <a:pt x="4195" y="8901"/>
                    <a:pt x="7163" y="11868"/>
                  </a:cubicBezTo>
                  <a:cubicBezTo>
                    <a:pt x="69470" y="26704"/>
                    <a:pt x="113976" y="0"/>
                    <a:pt x="113976" y="0"/>
                  </a:cubicBezTo>
                  <a:cubicBezTo>
                    <a:pt x="116944" y="0"/>
                    <a:pt x="119910" y="0"/>
                    <a:pt x="122876" y="2967"/>
                  </a:cubicBezTo>
                  <a:cubicBezTo>
                    <a:pt x="122876" y="5934"/>
                    <a:pt x="122876" y="8901"/>
                    <a:pt x="119910" y="11868"/>
                  </a:cubicBezTo>
                  <a:cubicBezTo>
                    <a:pt x="116944" y="5934"/>
                    <a:pt x="87273" y="23736"/>
                    <a:pt x="42768" y="23736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FDEB7AA2-65F2-44F0-9173-1D9EC3FD72E4}"/>
                </a:ext>
              </a:extLst>
            </p:cNvPr>
            <p:cNvSpPr/>
            <p:nvPr/>
          </p:nvSpPr>
          <p:spPr>
            <a:xfrm>
              <a:off x="23610451" y="6634330"/>
              <a:ext cx="119910" cy="24965"/>
            </a:xfrm>
            <a:custGeom>
              <a:avLst/>
              <a:gdLst>
                <a:gd name="connsiteX0" fmla="*/ 42768 w 119910"/>
                <a:gd name="connsiteY0" fmla="*/ 24965 h 24965"/>
                <a:gd name="connsiteX1" fmla="*/ 4195 w 119910"/>
                <a:gd name="connsiteY1" fmla="*/ 21998 h 24965"/>
                <a:gd name="connsiteX2" fmla="*/ 1229 w 119910"/>
                <a:gd name="connsiteY2" fmla="*/ 16064 h 24965"/>
                <a:gd name="connsiteX3" fmla="*/ 7163 w 119910"/>
                <a:gd name="connsiteY3" fmla="*/ 13097 h 24965"/>
                <a:gd name="connsiteX4" fmla="*/ 113976 w 119910"/>
                <a:gd name="connsiteY4" fmla="*/ 1229 h 24965"/>
                <a:gd name="connsiteX5" fmla="*/ 119910 w 119910"/>
                <a:gd name="connsiteY5" fmla="*/ 4196 h 24965"/>
                <a:gd name="connsiteX6" fmla="*/ 116944 w 119910"/>
                <a:gd name="connsiteY6" fmla="*/ 10130 h 24965"/>
                <a:gd name="connsiteX7" fmla="*/ 42768 w 119910"/>
                <a:gd name="connsiteY7" fmla="*/ 24965 h 24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910" h="24965">
                  <a:moveTo>
                    <a:pt x="42768" y="24965"/>
                  </a:moveTo>
                  <a:cubicBezTo>
                    <a:pt x="30899" y="24965"/>
                    <a:pt x="16064" y="24965"/>
                    <a:pt x="4195" y="21998"/>
                  </a:cubicBezTo>
                  <a:cubicBezTo>
                    <a:pt x="1229" y="21998"/>
                    <a:pt x="-1738" y="19031"/>
                    <a:pt x="1229" y="16064"/>
                  </a:cubicBezTo>
                  <a:cubicBezTo>
                    <a:pt x="1229" y="13097"/>
                    <a:pt x="4195" y="10130"/>
                    <a:pt x="7163" y="13097"/>
                  </a:cubicBezTo>
                  <a:cubicBezTo>
                    <a:pt x="66504" y="27932"/>
                    <a:pt x="113976" y="1229"/>
                    <a:pt x="113976" y="1229"/>
                  </a:cubicBezTo>
                  <a:cubicBezTo>
                    <a:pt x="116944" y="-1738"/>
                    <a:pt x="119910" y="1229"/>
                    <a:pt x="119910" y="4196"/>
                  </a:cubicBezTo>
                  <a:cubicBezTo>
                    <a:pt x="119910" y="7163"/>
                    <a:pt x="119910" y="10130"/>
                    <a:pt x="116944" y="10130"/>
                  </a:cubicBezTo>
                  <a:cubicBezTo>
                    <a:pt x="116944" y="7163"/>
                    <a:pt x="87273" y="24965"/>
                    <a:pt x="42768" y="24965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6D9BF260-E15A-4A63-96F6-A7DCC8FAA51B}"/>
                </a:ext>
              </a:extLst>
            </p:cNvPr>
            <p:cNvSpPr/>
            <p:nvPr/>
          </p:nvSpPr>
          <p:spPr>
            <a:xfrm>
              <a:off x="22964866" y="3291713"/>
              <a:ext cx="854505" cy="786263"/>
            </a:xfrm>
            <a:custGeom>
              <a:avLst/>
              <a:gdLst>
                <a:gd name="connsiteX0" fmla="*/ 572637 w 854505"/>
                <a:gd name="connsiteY0" fmla="*/ 0 h 786263"/>
                <a:gd name="connsiteX1" fmla="*/ 516263 w 854505"/>
                <a:gd name="connsiteY1" fmla="*/ 572637 h 786263"/>
                <a:gd name="connsiteX2" fmla="*/ 0 w 854505"/>
                <a:gd name="connsiteY2" fmla="*/ 611209 h 786263"/>
                <a:gd name="connsiteX3" fmla="*/ 44505 w 854505"/>
                <a:gd name="connsiteY3" fmla="*/ 762528 h 786263"/>
                <a:gd name="connsiteX4" fmla="*/ 703187 w 854505"/>
                <a:gd name="connsiteY4" fmla="*/ 762528 h 786263"/>
                <a:gd name="connsiteX5" fmla="*/ 854505 w 854505"/>
                <a:gd name="connsiteY5" fmla="*/ 44505 h 786263"/>
                <a:gd name="connsiteX6" fmla="*/ 572637 w 854505"/>
                <a:gd name="connsiteY6" fmla="*/ 0 h 786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4505" h="786263">
                  <a:moveTo>
                    <a:pt x="572637" y="0"/>
                  </a:moveTo>
                  <a:lnTo>
                    <a:pt x="516263" y="572637"/>
                  </a:lnTo>
                  <a:lnTo>
                    <a:pt x="0" y="611209"/>
                  </a:lnTo>
                  <a:lnTo>
                    <a:pt x="44505" y="762528"/>
                  </a:lnTo>
                  <a:cubicBezTo>
                    <a:pt x="44505" y="762528"/>
                    <a:pt x="590439" y="815934"/>
                    <a:pt x="703187" y="762528"/>
                  </a:cubicBezTo>
                  <a:cubicBezTo>
                    <a:pt x="815934" y="712088"/>
                    <a:pt x="854505" y="44505"/>
                    <a:pt x="854505" y="44505"/>
                  </a:cubicBezTo>
                  <a:lnTo>
                    <a:pt x="572637" y="0"/>
                  </a:ln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98FCB12E-4689-4744-9029-AACC33ED44ED}"/>
                </a:ext>
              </a:extLst>
            </p:cNvPr>
            <p:cNvSpPr/>
            <p:nvPr/>
          </p:nvSpPr>
          <p:spPr>
            <a:xfrm>
              <a:off x="23475196" y="3262043"/>
              <a:ext cx="86042" cy="634944"/>
            </a:xfrm>
            <a:custGeom>
              <a:avLst/>
              <a:gdLst>
                <a:gd name="connsiteX0" fmla="*/ 50438 w 86042"/>
                <a:gd name="connsiteY0" fmla="*/ 634945 h 634944"/>
                <a:gd name="connsiteX1" fmla="*/ 50438 w 86042"/>
                <a:gd name="connsiteY1" fmla="*/ 634945 h 634944"/>
                <a:gd name="connsiteX2" fmla="*/ 2966 w 86042"/>
                <a:gd name="connsiteY2" fmla="*/ 605275 h 634944"/>
                <a:gd name="connsiteX3" fmla="*/ 0 w 86042"/>
                <a:gd name="connsiteY3" fmla="*/ 599341 h 634944"/>
                <a:gd name="connsiteX4" fmla="*/ 74176 w 86042"/>
                <a:gd name="connsiteY4" fmla="*/ 5934 h 634944"/>
                <a:gd name="connsiteX5" fmla="*/ 80108 w 86042"/>
                <a:gd name="connsiteY5" fmla="*/ 0 h 634944"/>
                <a:gd name="connsiteX6" fmla="*/ 86043 w 86042"/>
                <a:gd name="connsiteY6" fmla="*/ 5934 h 634944"/>
                <a:gd name="connsiteX7" fmla="*/ 11867 w 86042"/>
                <a:gd name="connsiteY7" fmla="*/ 596374 h 634944"/>
                <a:gd name="connsiteX8" fmla="*/ 50438 w 86042"/>
                <a:gd name="connsiteY8" fmla="*/ 620110 h 634944"/>
                <a:gd name="connsiteX9" fmla="*/ 53406 w 86042"/>
                <a:gd name="connsiteY9" fmla="*/ 626044 h 634944"/>
                <a:gd name="connsiteX10" fmla="*/ 50438 w 86042"/>
                <a:gd name="connsiteY10" fmla="*/ 634945 h 634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042" h="634944">
                  <a:moveTo>
                    <a:pt x="50438" y="634945"/>
                  </a:moveTo>
                  <a:cubicBezTo>
                    <a:pt x="47472" y="634945"/>
                    <a:pt x="47472" y="634945"/>
                    <a:pt x="50438" y="634945"/>
                  </a:cubicBezTo>
                  <a:cubicBezTo>
                    <a:pt x="29670" y="626044"/>
                    <a:pt x="5933" y="608242"/>
                    <a:pt x="2966" y="605275"/>
                  </a:cubicBezTo>
                  <a:cubicBezTo>
                    <a:pt x="2966" y="605275"/>
                    <a:pt x="0" y="602308"/>
                    <a:pt x="0" y="599341"/>
                  </a:cubicBezTo>
                  <a:cubicBezTo>
                    <a:pt x="8901" y="495495"/>
                    <a:pt x="71208" y="8901"/>
                    <a:pt x="74176" y="5934"/>
                  </a:cubicBezTo>
                  <a:cubicBezTo>
                    <a:pt x="74176" y="2967"/>
                    <a:pt x="77142" y="0"/>
                    <a:pt x="80108" y="0"/>
                  </a:cubicBezTo>
                  <a:cubicBezTo>
                    <a:pt x="83077" y="0"/>
                    <a:pt x="86043" y="2967"/>
                    <a:pt x="86043" y="5934"/>
                  </a:cubicBezTo>
                  <a:cubicBezTo>
                    <a:pt x="86043" y="11868"/>
                    <a:pt x="23736" y="486593"/>
                    <a:pt x="11867" y="596374"/>
                  </a:cubicBezTo>
                  <a:cubicBezTo>
                    <a:pt x="17801" y="602308"/>
                    <a:pt x="35603" y="617143"/>
                    <a:pt x="50438" y="620110"/>
                  </a:cubicBezTo>
                  <a:cubicBezTo>
                    <a:pt x="53406" y="620110"/>
                    <a:pt x="53406" y="623077"/>
                    <a:pt x="53406" y="626044"/>
                  </a:cubicBezTo>
                  <a:cubicBezTo>
                    <a:pt x="53406" y="634945"/>
                    <a:pt x="50438" y="634945"/>
                    <a:pt x="50438" y="634945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23EEEE35-5DF1-4907-9CE4-A34BB8420041}"/>
                </a:ext>
              </a:extLst>
            </p:cNvPr>
            <p:cNvSpPr/>
            <p:nvPr/>
          </p:nvSpPr>
          <p:spPr>
            <a:xfrm>
              <a:off x="23448492" y="2863841"/>
              <a:ext cx="411870" cy="578278"/>
            </a:xfrm>
            <a:custGeom>
              <a:avLst/>
              <a:gdLst>
                <a:gd name="connsiteX0" fmla="*/ 406484 w 411870"/>
                <a:gd name="connsiteY0" fmla="*/ 570289 h 578278"/>
                <a:gd name="connsiteX1" fmla="*/ 267033 w 411870"/>
                <a:gd name="connsiteY1" fmla="*/ 3586 h 578278"/>
                <a:gd name="connsiteX2" fmla="*/ 0 w 411870"/>
                <a:gd name="connsiteY2" fmla="*/ 510949 h 578278"/>
                <a:gd name="connsiteX3" fmla="*/ 406484 w 411870"/>
                <a:gd name="connsiteY3" fmla="*/ 570289 h 57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870" h="578278">
                  <a:moveTo>
                    <a:pt x="406484" y="570289"/>
                  </a:moveTo>
                  <a:cubicBezTo>
                    <a:pt x="406484" y="570289"/>
                    <a:pt x="453956" y="65894"/>
                    <a:pt x="267033" y="3586"/>
                  </a:cubicBezTo>
                  <a:cubicBezTo>
                    <a:pt x="109781" y="-49820"/>
                    <a:pt x="0" y="510949"/>
                    <a:pt x="0" y="510949"/>
                  </a:cubicBezTo>
                  <a:cubicBezTo>
                    <a:pt x="0" y="510949"/>
                    <a:pt x="201758" y="605894"/>
                    <a:pt x="406484" y="570289"/>
                  </a:cubicBezTo>
                  <a:close/>
                </a:path>
              </a:pathLst>
            </a:custGeom>
            <a:solidFill>
              <a:srgbClr val="F6EBE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68468159-C415-437C-872D-AE94FA4359D1}"/>
                </a:ext>
              </a:extLst>
            </p:cNvPr>
            <p:cNvSpPr/>
            <p:nvPr/>
          </p:nvSpPr>
          <p:spPr>
            <a:xfrm>
              <a:off x="23442558" y="2861493"/>
              <a:ext cx="275933" cy="563736"/>
            </a:xfrm>
            <a:custGeom>
              <a:avLst/>
              <a:gdLst>
                <a:gd name="connsiteX0" fmla="*/ 130550 w 275933"/>
                <a:gd name="connsiteY0" fmla="*/ 563736 h 563736"/>
                <a:gd name="connsiteX1" fmla="*/ 130550 w 275933"/>
                <a:gd name="connsiteY1" fmla="*/ 563736 h 563736"/>
                <a:gd name="connsiteX2" fmla="*/ 2968 w 275933"/>
                <a:gd name="connsiteY2" fmla="*/ 519231 h 563736"/>
                <a:gd name="connsiteX3" fmla="*/ 0 w 275933"/>
                <a:gd name="connsiteY3" fmla="*/ 516264 h 563736"/>
                <a:gd name="connsiteX4" fmla="*/ 0 w 275933"/>
                <a:gd name="connsiteY4" fmla="*/ 513297 h 563736"/>
                <a:gd name="connsiteX5" fmla="*/ 97912 w 275933"/>
                <a:gd name="connsiteY5" fmla="*/ 175055 h 563736"/>
                <a:gd name="connsiteX6" fmla="*/ 270001 w 275933"/>
                <a:gd name="connsiteY6" fmla="*/ 0 h 563736"/>
                <a:gd name="connsiteX7" fmla="*/ 270001 w 275933"/>
                <a:gd name="connsiteY7" fmla="*/ 0 h 563736"/>
                <a:gd name="connsiteX8" fmla="*/ 275934 w 275933"/>
                <a:gd name="connsiteY8" fmla="*/ 5934 h 563736"/>
                <a:gd name="connsiteX9" fmla="*/ 270001 w 275933"/>
                <a:gd name="connsiteY9" fmla="*/ 11868 h 563736"/>
                <a:gd name="connsiteX10" fmla="*/ 106814 w 275933"/>
                <a:gd name="connsiteY10" fmla="*/ 180989 h 563736"/>
                <a:gd name="connsiteX11" fmla="*/ 8901 w 275933"/>
                <a:gd name="connsiteY11" fmla="*/ 513297 h 563736"/>
                <a:gd name="connsiteX12" fmla="*/ 127582 w 275933"/>
                <a:gd name="connsiteY12" fmla="*/ 554835 h 563736"/>
                <a:gd name="connsiteX13" fmla="*/ 130550 w 275933"/>
                <a:gd name="connsiteY13" fmla="*/ 560769 h 563736"/>
                <a:gd name="connsiteX14" fmla="*/ 130550 w 275933"/>
                <a:gd name="connsiteY14" fmla="*/ 563736 h 563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5933" h="563736">
                  <a:moveTo>
                    <a:pt x="130550" y="563736"/>
                  </a:moveTo>
                  <a:cubicBezTo>
                    <a:pt x="127582" y="563736"/>
                    <a:pt x="127582" y="563736"/>
                    <a:pt x="130550" y="563736"/>
                  </a:cubicBezTo>
                  <a:cubicBezTo>
                    <a:pt x="65275" y="551868"/>
                    <a:pt x="2968" y="519231"/>
                    <a:pt x="2968" y="519231"/>
                  </a:cubicBezTo>
                  <a:lnTo>
                    <a:pt x="0" y="516264"/>
                  </a:lnTo>
                  <a:lnTo>
                    <a:pt x="0" y="513297"/>
                  </a:lnTo>
                  <a:cubicBezTo>
                    <a:pt x="0" y="510330"/>
                    <a:pt x="41539" y="344176"/>
                    <a:pt x="97912" y="175055"/>
                  </a:cubicBezTo>
                  <a:cubicBezTo>
                    <a:pt x="157252" y="2967"/>
                    <a:pt x="267033" y="0"/>
                    <a:pt x="270001" y="0"/>
                  </a:cubicBezTo>
                  <a:cubicBezTo>
                    <a:pt x="270001" y="0"/>
                    <a:pt x="270001" y="0"/>
                    <a:pt x="270001" y="0"/>
                  </a:cubicBezTo>
                  <a:cubicBezTo>
                    <a:pt x="272967" y="0"/>
                    <a:pt x="275934" y="2967"/>
                    <a:pt x="275934" y="5934"/>
                  </a:cubicBezTo>
                  <a:cubicBezTo>
                    <a:pt x="275934" y="8901"/>
                    <a:pt x="272967" y="11868"/>
                    <a:pt x="270001" y="11868"/>
                  </a:cubicBezTo>
                  <a:cubicBezTo>
                    <a:pt x="270001" y="11868"/>
                    <a:pt x="163187" y="14835"/>
                    <a:pt x="106814" y="180989"/>
                  </a:cubicBezTo>
                  <a:cubicBezTo>
                    <a:pt x="56374" y="332308"/>
                    <a:pt x="17803" y="486593"/>
                    <a:pt x="8901" y="513297"/>
                  </a:cubicBezTo>
                  <a:cubicBezTo>
                    <a:pt x="23736" y="519231"/>
                    <a:pt x="77144" y="545934"/>
                    <a:pt x="127582" y="554835"/>
                  </a:cubicBezTo>
                  <a:cubicBezTo>
                    <a:pt x="130550" y="554835"/>
                    <a:pt x="133516" y="557802"/>
                    <a:pt x="130550" y="560769"/>
                  </a:cubicBezTo>
                  <a:cubicBezTo>
                    <a:pt x="133516" y="560769"/>
                    <a:pt x="130550" y="563736"/>
                    <a:pt x="130550" y="563736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9" name="图形 1">
              <a:extLst>
                <a:ext uri="{FF2B5EF4-FFF2-40B4-BE49-F238E27FC236}">
                  <a16:creationId xmlns:a16="http://schemas.microsoft.com/office/drawing/2014/main" id="{8EDEB76F-80AF-4A12-9E96-B0BCB374B42C}"/>
                </a:ext>
              </a:extLst>
            </p:cNvPr>
            <p:cNvGrpSpPr/>
            <p:nvPr/>
          </p:nvGrpSpPr>
          <p:grpSpPr>
            <a:xfrm>
              <a:off x="21779907" y="3276878"/>
              <a:ext cx="379231" cy="248356"/>
              <a:chOff x="21779907" y="3276878"/>
              <a:chExt cx="379231" cy="248356"/>
            </a:xfrm>
          </p:grpSpPr>
          <p:grpSp>
            <p:nvGrpSpPr>
              <p:cNvPr id="133" name="图形 1">
                <a:extLst>
                  <a:ext uri="{FF2B5EF4-FFF2-40B4-BE49-F238E27FC236}">
                    <a16:creationId xmlns:a16="http://schemas.microsoft.com/office/drawing/2014/main" id="{16966E14-9577-42E5-86EE-36EBB13451A6}"/>
                  </a:ext>
                </a:extLst>
              </p:cNvPr>
              <p:cNvGrpSpPr/>
              <p:nvPr/>
            </p:nvGrpSpPr>
            <p:grpSpPr>
              <a:xfrm>
                <a:off x="21779907" y="3276878"/>
                <a:ext cx="379231" cy="248356"/>
                <a:chOff x="21779907" y="3276878"/>
                <a:chExt cx="379231" cy="248356"/>
              </a:xfrm>
            </p:grpSpPr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1CA6FBED-3707-4C18-A02B-32FFDF44BA4C}"/>
                    </a:ext>
                  </a:extLst>
                </p:cNvPr>
                <p:cNvSpPr/>
                <p:nvPr/>
              </p:nvSpPr>
              <p:spPr>
                <a:xfrm>
                  <a:off x="21783988" y="3276878"/>
                  <a:ext cx="375150" cy="248356"/>
                </a:xfrm>
                <a:custGeom>
                  <a:avLst/>
                  <a:gdLst>
                    <a:gd name="connsiteX0" fmla="*/ 178022 w 375150"/>
                    <a:gd name="connsiteY0" fmla="*/ 219560 h 248356"/>
                    <a:gd name="connsiteX1" fmla="*/ 317471 w 375150"/>
                    <a:gd name="connsiteY1" fmla="*/ 240330 h 248356"/>
                    <a:gd name="connsiteX2" fmla="*/ 373845 w 375150"/>
                    <a:gd name="connsiteY2" fmla="*/ 145385 h 248356"/>
                    <a:gd name="connsiteX3" fmla="*/ 370879 w 375150"/>
                    <a:gd name="connsiteY3" fmla="*/ 142418 h 248356"/>
                    <a:gd name="connsiteX4" fmla="*/ 370879 w 375150"/>
                    <a:gd name="connsiteY4" fmla="*/ 139451 h 248356"/>
                    <a:gd name="connsiteX5" fmla="*/ 219559 w 375150"/>
                    <a:gd name="connsiteY5" fmla="*/ 0 h 248356"/>
                    <a:gd name="connsiteX6" fmla="*/ 216593 w 375150"/>
                    <a:gd name="connsiteY6" fmla="*/ 32637 h 248356"/>
                    <a:gd name="connsiteX7" fmla="*/ 272966 w 375150"/>
                    <a:gd name="connsiteY7" fmla="*/ 83077 h 248356"/>
                    <a:gd name="connsiteX8" fmla="*/ 86043 w 375150"/>
                    <a:gd name="connsiteY8" fmla="*/ 17802 h 248356"/>
                    <a:gd name="connsiteX9" fmla="*/ 56373 w 375150"/>
                    <a:gd name="connsiteY9" fmla="*/ 35604 h 248356"/>
                    <a:gd name="connsiteX10" fmla="*/ 97912 w 375150"/>
                    <a:gd name="connsiteY10" fmla="*/ 56374 h 248356"/>
                    <a:gd name="connsiteX11" fmla="*/ 157252 w 375150"/>
                    <a:gd name="connsiteY11" fmla="*/ 83077 h 248356"/>
                    <a:gd name="connsiteX12" fmla="*/ 77142 w 375150"/>
                    <a:gd name="connsiteY12" fmla="*/ 71209 h 248356"/>
                    <a:gd name="connsiteX13" fmla="*/ 17801 w 375150"/>
                    <a:gd name="connsiteY13" fmla="*/ 65275 h 248356"/>
                    <a:gd name="connsiteX14" fmla="*/ 0 w 375150"/>
                    <a:gd name="connsiteY14" fmla="*/ 86044 h 248356"/>
                    <a:gd name="connsiteX15" fmla="*/ 20768 w 375150"/>
                    <a:gd name="connsiteY15" fmla="*/ 112747 h 248356"/>
                    <a:gd name="connsiteX16" fmla="*/ 17801 w 375150"/>
                    <a:gd name="connsiteY16" fmla="*/ 112747 h 248356"/>
                    <a:gd name="connsiteX17" fmla="*/ 11867 w 375150"/>
                    <a:gd name="connsiteY17" fmla="*/ 124615 h 248356"/>
                    <a:gd name="connsiteX18" fmla="*/ 59341 w 375150"/>
                    <a:gd name="connsiteY18" fmla="*/ 145385 h 248356"/>
                    <a:gd name="connsiteX19" fmla="*/ 86043 w 375150"/>
                    <a:gd name="connsiteY19" fmla="*/ 151319 h 248356"/>
                    <a:gd name="connsiteX20" fmla="*/ 80108 w 375150"/>
                    <a:gd name="connsiteY20" fmla="*/ 151319 h 248356"/>
                    <a:gd name="connsiteX21" fmla="*/ 68241 w 375150"/>
                    <a:gd name="connsiteY21" fmla="*/ 166154 h 248356"/>
                    <a:gd name="connsiteX22" fmla="*/ 178022 w 375150"/>
                    <a:gd name="connsiteY22" fmla="*/ 219560 h 248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375150" h="248356">
                      <a:moveTo>
                        <a:pt x="178022" y="219560"/>
                      </a:moveTo>
                      <a:cubicBezTo>
                        <a:pt x="222527" y="228462"/>
                        <a:pt x="275934" y="264066"/>
                        <a:pt x="317471" y="240330"/>
                      </a:cubicBezTo>
                      <a:cubicBezTo>
                        <a:pt x="344175" y="225495"/>
                        <a:pt x="382746" y="178022"/>
                        <a:pt x="373845" y="145385"/>
                      </a:cubicBezTo>
                      <a:cubicBezTo>
                        <a:pt x="373845" y="142418"/>
                        <a:pt x="370879" y="142418"/>
                        <a:pt x="370879" y="142418"/>
                      </a:cubicBezTo>
                      <a:cubicBezTo>
                        <a:pt x="370879" y="142418"/>
                        <a:pt x="370879" y="142418"/>
                        <a:pt x="370879" y="139451"/>
                      </a:cubicBezTo>
                      <a:cubicBezTo>
                        <a:pt x="359010" y="62308"/>
                        <a:pt x="284834" y="5934"/>
                        <a:pt x="219559" y="0"/>
                      </a:cubicBezTo>
                      <a:cubicBezTo>
                        <a:pt x="213625" y="0"/>
                        <a:pt x="201758" y="23736"/>
                        <a:pt x="216593" y="32637"/>
                      </a:cubicBezTo>
                      <a:cubicBezTo>
                        <a:pt x="243295" y="47473"/>
                        <a:pt x="261099" y="62308"/>
                        <a:pt x="272966" y="83077"/>
                      </a:cubicBezTo>
                      <a:cubicBezTo>
                        <a:pt x="207692" y="65275"/>
                        <a:pt x="154284" y="20769"/>
                        <a:pt x="86043" y="17802"/>
                      </a:cubicBezTo>
                      <a:cubicBezTo>
                        <a:pt x="74176" y="17802"/>
                        <a:pt x="44505" y="17802"/>
                        <a:pt x="56373" y="35604"/>
                      </a:cubicBezTo>
                      <a:cubicBezTo>
                        <a:pt x="65273" y="47473"/>
                        <a:pt x="86043" y="50440"/>
                        <a:pt x="97912" y="56374"/>
                      </a:cubicBezTo>
                      <a:cubicBezTo>
                        <a:pt x="118681" y="65275"/>
                        <a:pt x="136483" y="74176"/>
                        <a:pt x="157252" y="83077"/>
                      </a:cubicBezTo>
                      <a:cubicBezTo>
                        <a:pt x="130548" y="80110"/>
                        <a:pt x="103846" y="74176"/>
                        <a:pt x="77142" y="71209"/>
                      </a:cubicBezTo>
                      <a:cubicBezTo>
                        <a:pt x="59341" y="68242"/>
                        <a:pt x="35603" y="62308"/>
                        <a:pt x="17801" y="65275"/>
                      </a:cubicBezTo>
                      <a:cubicBezTo>
                        <a:pt x="5933" y="68242"/>
                        <a:pt x="0" y="77143"/>
                        <a:pt x="0" y="86044"/>
                      </a:cubicBezTo>
                      <a:cubicBezTo>
                        <a:pt x="0" y="97912"/>
                        <a:pt x="8901" y="103846"/>
                        <a:pt x="20768" y="112747"/>
                      </a:cubicBezTo>
                      <a:cubicBezTo>
                        <a:pt x="20768" y="112747"/>
                        <a:pt x="17801" y="112747"/>
                        <a:pt x="17801" y="112747"/>
                      </a:cubicBezTo>
                      <a:cubicBezTo>
                        <a:pt x="14835" y="112747"/>
                        <a:pt x="11867" y="121648"/>
                        <a:pt x="11867" y="124615"/>
                      </a:cubicBezTo>
                      <a:cubicBezTo>
                        <a:pt x="20768" y="142418"/>
                        <a:pt x="38571" y="142418"/>
                        <a:pt x="59341" y="145385"/>
                      </a:cubicBezTo>
                      <a:cubicBezTo>
                        <a:pt x="68241" y="148352"/>
                        <a:pt x="77142" y="148352"/>
                        <a:pt x="86043" y="151319"/>
                      </a:cubicBezTo>
                      <a:cubicBezTo>
                        <a:pt x="83077" y="151319"/>
                        <a:pt x="80108" y="151319"/>
                        <a:pt x="80108" y="151319"/>
                      </a:cubicBezTo>
                      <a:cubicBezTo>
                        <a:pt x="71208" y="154286"/>
                        <a:pt x="65273" y="160220"/>
                        <a:pt x="68241" y="166154"/>
                      </a:cubicBezTo>
                      <a:cubicBezTo>
                        <a:pt x="68241" y="192857"/>
                        <a:pt x="151318" y="213626"/>
                        <a:pt x="178022" y="219560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7" name="任意多边形: 形状 136">
                  <a:extLst>
                    <a:ext uri="{FF2B5EF4-FFF2-40B4-BE49-F238E27FC236}">
                      <a16:creationId xmlns:a16="http://schemas.microsoft.com/office/drawing/2014/main" id="{1F46D894-3E2C-4D59-AC98-C237D132501D}"/>
                    </a:ext>
                  </a:extLst>
                </p:cNvPr>
                <p:cNvSpPr/>
                <p:nvPr/>
              </p:nvSpPr>
              <p:spPr>
                <a:xfrm>
                  <a:off x="22044758" y="3380724"/>
                  <a:ext cx="38899" cy="62307"/>
                </a:xfrm>
                <a:custGeom>
                  <a:avLst/>
                  <a:gdLst>
                    <a:gd name="connsiteX0" fmla="*/ 32965 w 38899"/>
                    <a:gd name="connsiteY0" fmla="*/ 62308 h 62307"/>
                    <a:gd name="connsiteX1" fmla="*/ 32965 w 38899"/>
                    <a:gd name="connsiteY1" fmla="*/ 62308 h 62307"/>
                    <a:gd name="connsiteX2" fmla="*/ 329 w 38899"/>
                    <a:gd name="connsiteY2" fmla="*/ 5934 h 62307"/>
                    <a:gd name="connsiteX3" fmla="*/ 6263 w 38899"/>
                    <a:gd name="connsiteY3" fmla="*/ 0 h 62307"/>
                    <a:gd name="connsiteX4" fmla="*/ 12196 w 38899"/>
                    <a:gd name="connsiteY4" fmla="*/ 5934 h 62307"/>
                    <a:gd name="connsiteX5" fmla="*/ 35933 w 38899"/>
                    <a:gd name="connsiteY5" fmla="*/ 50440 h 62307"/>
                    <a:gd name="connsiteX6" fmla="*/ 38900 w 38899"/>
                    <a:gd name="connsiteY6" fmla="*/ 56374 h 62307"/>
                    <a:gd name="connsiteX7" fmla="*/ 32965 w 38899"/>
                    <a:gd name="connsiteY7" fmla="*/ 62308 h 62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8899" h="62307">
                      <a:moveTo>
                        <a:pt x="32965" y="62308"/>
                      </a:moveTo>
                      <a:cubicBezTo>
                        <a:pt x="32965" y="62308"/>
                        <a:pt x="32965" y="62308"/>
                        <a:pt x="32965" y="62308"/>
                      </a:cubicBezTo>
                      <a:cubicBezTo>
                        <a:pt x="-5606" y="44505"/>
                        <a:pt x="329" y="5934"/>
                        <a:pt x="329" y="5934"/>
                      </a:cubicBezTo>
                      <a:cubicBezTo>
                        <a:pt x="329" y="2967"/>
                        <a:pt x="3295" y="0"/>
                        <a:pt x="6263" y="0"/>
                      </a:cubicBezTo>
                      <a:cubicBezTo>
                        <a:pt x="9229" y="0"/>
                        <a:pt x="12196" y="2967"/>
                        <a:pt x="12196" y="5934"/>
                      </a:cubicBezTo>
                      <a:cubicBezTo>
                        <a:pt x="12196" y="5934"/>
                        <a:pt x="9229" y="38571"/>
                        <a:pt x="35933" y="50440"/>
                      </a:cubicBezTo>
                      <a:cubicBezTo>
                        <a:pt x="38900" y="50440"/>
                        <a:pt x="38900" y="56374"/>
                        <a:pt x="38900" y="56374"/>
                      </a:cubicBezTo>
                      <a:cubicBezTo>
                        <a:pt x="38900" y="62308"/>
                        <a:pt x="35933" y="62308"/>
                        <a:pt x="32965" y="62308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004CDF77-686A-4CFC-ACFF-A47F89E7D3E3}"/>
                    </a:ext>
                  </a:extLst>
                </p:cNvPr>
                <p:cNvSpPr/>
                <p:nvPr/>
              </p:nvSpPr>
              <p:spPr>
                <a:xfrm>
                  <a:off x="21779907" y="3303581"/>
                  <a:ext cx="167267" cy="86043"/>
                </a:xfrm>
                <a:custGeom>
                  <a:avLst/>
                  <a:gdLst>
                    <a:gd name="connsiteX0" fmla="*/ 24848 w 167267"/>
                    <a:gd name="connsiteY0" fmla="*/ 86044 h 86043"/>
                    <a:gd name="connsiteX1" fmla="*/ 24848 w 167267"/>
                    <a:gd name="connsiteY1" fmla="*/ 86044 h 86043"/>
                    <a:gd name="connsiteX2" fmla="*/ 1112 w 167267"/>
                    <a:gd name="connsiteY2" fmla="*/ 62308 h 86043"/>
                    <a:gd name="connsiteX3" fmla="*/ 10013 w 167267"/>
                    <a:gd name="connsiteY3" fmla="*/ 38571 h 86043"/>
                    <a:gd name="connsiteX4" fmla="*/ 116827 w 167267"/>
                    <a:gd name="connsiteY4" fmla="*/ 41538 h 86043"/>
                    <a:gd name="connsiteX5" fmla="*/ 57487 w 167267"/>
                    <a:gd name="connsiteY5" fmla="*/ 11868 h 86043"/>
                    <a:gd name="connsiteX6" fmla="*/ 54519 w 167267"/>
                    <a:gd name="connsiteY6" fmla="*/ 2967 h 86043"/>
                    <a:gd name="connsiteX7" fmla="*/ 63421 w 167267"/>
                    <a:gd name="connsiteY7" fmla="*/ 0 h 86043"/>
                    <a:gd name="connsiteX8" fmla="*/ 164299 w 167267"/>
                    <a:gd name="connsiteY8" fmla="*/ 47472 h 86043"/>
                    <a:gd name="connsiteX9" fmla="*/ 167267 w 167267"/>
                    <a:gd name="connsiteY9" fmla="*/ 53407 h 86043"/>
                    <a:gd name="connsiteX10" fmla="*/ 161333 w 167267"/>
                    <a:gd name="connsiteY10" fmla="*/ 56374 h 86043"/>
                    <a:gd name="connsiteX11" fmla="*/ 18916 w 167267"/>
                    <a:gd name="connsiteY11" fmla="*/ 41538 h 86043"/>
                    <a:gd name="connsiteX12" fmla="*/ 12981 w 167267"/>
                    <a:gd name="connsiteY12" fmla="*/ 56374 h 86043"/>
                    <a:gd name="connsiteX13" fmla="*/ 27816 w 167267"/>
                    <a:gd name="connsiteY13" fmla="*/ 71209 h 86043"/>
                    <a:gd name="connsiteX14" fmla="*/ 30783 w 167267"/>
                    <a:gd name="connsiteY14" fmla="*/ 77143 h 86043"/>
                    <a:gd name="connsiteX15" fmla="*/ 24848 w 167267"/>
                    <a:gd name="connsiteY15" fmla="*/ 86044 h 86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67267" h="86043">
                      <a:moveTo>
                        <a:pt x="24848" y="86044"/>
                      </a:moveTo>
                      <a:cubicBezTo>
                        <a:pt x="24848" y="86044"/>
                        <a:pt x="24848" y="86044"/>
                        <a:pt x="24848" y="86044"/>
                      </a:cubicBezTo>
                      <a:cubicBezTo>
                        <a:pt x="10013" y="80110"/>
                        <a:pt x="4080" y="74176"/>
                        <a:pt x="1112" y="62308"/>
                      </a:cubicBezTo>
                      <a:cubicBezTo>
                        <a:pt x="-1854" y="53407"/>
                        <a:pt x="1112" y="44505"/>
                        <a:pt x="10013" y="38571"/>
                      </a:cubicBezTo>
                      <a:cubicBezTo>
                        <a:pt x="18916" y="29670"/>
                        <a:pt x="72322" y="35604"/>
                        <a:pt x="116827" y="41538"/>
                      </a:cubicBezTo>
                      <a:cubicBezTo>
                        <a:pt x="87157" y="26703"/>
                        <a:pt x="60453" y="11868"/>
                        <a:pt x="57487" y="11868"/>
                      </a:cubicBezTo>
                      <a:cubicBezTo>
                        <a:pt x="54519" y="11868"/>
                        <a:pt x="54519" y="5934"/>
                        <a:pt x="54519" y="2967"/>
                      </a:cubicBezTo>
                      <a:cubicBezTo>
                        <a:pt x="54519" y="0"/>
                        <a:pt x="60453" y="0"/>
                        <a:pt x="63421" y="0"/>
                      </a:cubicBezTo>
                      <a:cubicBezTo>
                        <a:pt x="63421" y="0"/>
                        <a:pt x="125728" y="32637"/>
                        <a:pt x="164299" y="47472"/>
                      </a:cubicBezTo>
                      <a:cubicBezTo>
                        <a:pt x="167267" y="47472"/>
                        <a:pt x="167267" y="50440"/>
                        <a:pt x="167267" y="53407"/>
                      </a:cubicBezTo>
                      <a:cubicBezTo>
                        <a:pt x="167267" y="56374"/>
                        <a:pt x="164299" y="56374"/>
                        <a:pt x="161333" y="56374"/>
                      </a:cubicBezTo>
                      <a:cubicBezTo>
                        <a:pt x="99024" y="44505"/>
                        <a:pt x="24848" y="35604"/>
                        <a:pt x="18916" y="41538"/>
                      </a:cubicBezTo>
                      <a:cubicBezTo>
                        <a:pt x="12981" y="44505"/>
                        <a:pt x="12981" y="50440"/>
                        <a:pt x="12981" y="56374"/>
                      </a:cubicBezTo>
                      <a:cubicBezTo>
                        <a:pt x="12981" y="62308"/>
                        <a:pt x="18916" y="68242"/>
                        <a:pt x="27816" y="71209"/>
                      </a:cubicBezTo>
                      <a:cubicBezTo>
                        <a:pt x="30783" y="71209"/>
                        <a:pt x="30783" y="74176"/>
                        <a:pt x="30783" y="77143"/>
                      </a:cubicBezTo>
                      <a:cubicBezTo>
                        <a:pt x="27816" y="86044"/>
                        <a:pt x="27816" y="86044"/>
                        <a:pt x="24848" y="86044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0BEE982F-1E6A-4CFA-A665-E29432FF6421}"/>
                  </a:ext>
                </a:extLst>
              </p:cNvPr>
              <p:cNvSpPr/>
              <p:nvPr/>
            </p:nvSpPr>
            <p:spPr>
              <a:xfrm>
                <a:off x="21846295" y="3424066"/>
                <a:ext cx="127582" cy="75339"/>
              </a:xfrm>
              <a:custGeom>
                <a:avLst/>
                <a:gdLst>
                  <a:gd name="connsiteX0" fmla="*/ 103846 w 127582"/>
                  <a:gd name="connsiteY0" fmla="*/ 75340 h 75339"/>
                  <a:gd name="connsiteX1" fmla="*/ 103846 w 127582"/>
                  <a:gd name="connsiteY1" fmla="*/ 75340 h 75339"/>
                  <a:gd name="connsiteX2" fmla="*/ 0 w 127582"/>
                  <a:gd name="connsiteY2" fmla="*/ 24900 h 75339"/>
                  <a:gd name="connsiteX3" fmla="*/ 5934 w 127582"/>
                  <a:gd name="connsiteY3" fmla="*/ 7098 h 75339"/>
                  <a:gd name="connsiteX4" fmla="*/ 32637 w 127582"/>
                  <a:gd name="connsiteY4" fmla="*/ 1164 h 75339"/>
                  <a:gd name="connsiteX5" fmla="*/ 71210 w 127582"/>
                  <a:gd name="connsiteY5" fmla="*/ 10065 h 75339"/>
                  <a:gd name="connsiteX6" fmla="*/ 121648 w 127582"/>
                  <a:gd name="connsiteY6" fmla="*/ 21933 h 75339"/>
                  <a:gd name="connsiteX7" fmla="*/ 127582 w 127582"/>
                  <a:gd name="connsiteY7" fmla="*/ 27867 h 75339"/>
                  <a:gd name="connsiteX8" fmla="*/ 121648 w 127582"/>
                  <a:gd name="connsiteY8" fmla="*/ 33801 h 75339"/>
                  <a:gd name="connsiteX9" fmla="*/ 121648 w 127582"/>
                  <a:gd name="connsiteY9" fmla="*/ 33801 h 75339"/>
                  <a:gd name="connsiteX10" fmla="*/ 68241 w 127582"/>
                  <a:gd name="connsiteY10" fmla="*/ 21933 h 75339"/>
                  <a:gd name="connsiteX11" fmla="*/ 29670 w 127582"/>
                  <a:gd name="connsiteY11" fmla="*/ 13032 h 75339"/>
                  <a:gd name="connsiteX12" fmla="*/ 11869 w 127582"/>
                  <a:gd name="connsiteY12" fmla="*/ 15999 h 75339"/>
                  <a:gd name="connsiteX13" fmla="*/ 8901 w 127582"/>
                  <a:gd name="connsiteY13" fmla="*/ 24900 h 75339"/>
                  <a:gd name="connsiteX14" fmla="*/ 103846 w 127582"/>
                  <a:gd name="connsiteY14" fmla="*/ 66439 h 75339"/>
                  <a:gd name="connsiteX15" fmla="*/ 106812 w 127582"/>
                  <a:gd name="connsiteY15" fmla="*/ 72373 h 75339"/>
                  <a:gd name="connsiteX16" fmla="*/ 103846 w 127582"/>
                  <a:gd name="connsiteY16" fmla="*/ 75340 h 75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7582" h="75339">
                    <a:moveTo>
                      <a:pt x="103846" y="75340"/>
                    </a:moveTo>
                    <a:cubicBezTo>
                      <a:pt x="100880" y="75340"/>
                      <a:pt x="100880" y="75340"/>
                      <a:pt x="103846" y="75340"/>
                    </a:cubicBezTo>
                    <a:cubicBezTo>
                      <a:pt x="80110" y="69406"/>
                      <a:pt x="2966" y="48637"/>
                      <a:pt x="0" y="24900"/>
                    </a:cubicBezTo>
                    <a:cubicBezTo>
                      <a:pt x="0" y="15999"/>
                      <a:pt x="0" y="10065"/>
                      <a:pt x="5934" y="7098"/>
                    </a:cubicBezTo>
                    <a:cubicBezTo>
                      <a:pt x="11869" y="1164"/>
                      <a:pt x="20770" y="-1803"/>
                      <a:pt x="32637" y="1164"/>
                    </a:cubicBezTo>
                    <a:cubicBezTo>
                      <a:pt x="41539" y="1164"/>
                      <a:pt x="56374" y="7098"/>
                      <a:pt x="71210" y="10065"/>
                    </a:cubicBezTo>
                    <a:cubicBezTo>
                      <a:pt x="91977" y="15999"/>
                      <a:pt x="112747" y="21933"/>
                      <a:pt x="121648" y="21933"/>
                    </a:cubicBezTo>
                    <a:cubicBezTo>
                      <a:pt x="124616" y="21933"/>
                      <a:pt x="127582" y="24900"/>
                      <a:pt x="127582" y="27867"/>
                    </a:cubicBezTo>
                    <a:cubicBezTo>
                      <a:pt x="127582" y="30834"/>
                      <a:pt x="124616" y="33801"/>
                      <a:pt x="121648" y="33801"/>
                    </a:cubicBezTo>
                    <a:lnTo>
                      <a:pt x="121648" y="33801"/>
                    </a:lnTo>
                    <a:cubicBezTo>
                      <a:pt x="112747" y="33801"/>
                      <a:pt x="91977" y="27867"/>
                      <a:pt x="68241" y="21933"/>
                    </a:cubicBezTo>
                    <a:cubicBezTo>
                      <a:pt x="53406" y="18966"/>
                      <a:pt x="35605" y="13032"/>
                      <a:pt x="29670" y="13032"/>
                    </a:cubicBezTo>
                    <a:cubicBezTo>
                      <a:pt x="20770" y="13032"/>
                      <a:pt x="14835" y="13032"/>
                      <a:pt x="11869" y="15999"/>
                    </a:cubicBezTo>
                    <a:cubicBezTo>
                      <a:pt x="8901" y="18966"/>
                      <a:pt x="8901" y="21933"/>
                      <a:pt x="8901" y="24900"/>
                    </a:cubicBezTo>
                    <a:cubicBezTo>
                      <a:pt x="11869" y="36768"/>
                      <a:pt x="59341" y="54571"/>
                      <a:pt x="103846" y="66439"/>
                    </a:cubicBezTo>
                    <a:cubicBezTo>
                      <a:pt x="106812" y="66439"/>
                      <a:pt x="109781" y="69406"/>
                      <a:pt x="106812" y="72373"/>
                    </a:cubicBezTo>
                    <a:cubicBezTo>
                      <a:pt x="106812" y="72373"/>
                      <a:pt x="103846" y="75340"/>
                      <a:pt x="103846" y="7534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78A2F254-506E-40E4-AC51-75DA8275C76E}"/>
                  </a:ext>
                </a:extLst>
              </p:cNvPr>
              <p:cNvSpPr/>
              <p:nvPr/>
            </p:nvSpPr>
            <p:spPr>
              <a:xfrm>
                <a:off x="21787696" y="3374790"/>
                <a:ext cx="177280" cy="59340"/>
              </a:xfrm>
              <a:custGeom>
                <a:avLst/>
                <a:gdLst>
                  <a:gd name="connsiteX0" fmla="*/ 70468 w 177280"/>
                  <a:gd name="connsiteY0" fmla="*/ 59341 h 59340"/>
                  <a:gd name="connsiteX1" fmla="*/ 70468 w 177280"/>
                  <a:gd name="connsiteY1" fmla="*/ 59341 h 59340"/>
                  <a:gd name="connsiteX2" fmla="*/ 2225 w 177280"/>
                  <a:gd name="connsiteY2" fmla="*/ 32637 h 59340"/>
                  <a:gd name="connsiteX3" fmla="*/ 2225 w 177280"/>
                  <a:gd name="connsiteY3" fmla="*/ 14835 h 59340"/>
                  <a:gd name="connsiteX4" fmla="*/ 31895 w 177280"/>
                  <a:gd name="connsiteY4" fmla="*/ 0 h 59340"/>
                  <a:gd name="connsiteX5" fmla="*/ 31895 w 177280"/>
                  <a:gd name="connsiteY5" fmla="*/ 0 h 59340"/>
                  <a:gd name="connsiteX6" fmla="*/ 100138 w 177280"/>
                  <a:gd name="connsiteY6" fmla="*/ 14835 h 59340"/>
                  <a:gd name="connsiteX7" fmla="*/ 112005 w 177280"/>
                  <a:gd name="connsiteY7" fmla="*/ 17802 h 59340"/>
                  <a:gd name="connsiteX8" fmla="*/ 171346 w 177280"/>
                  <a:gd name="connsiteY8" fmla="*/ 26703 h 59340"/>
                  <a:gd name="connsiteX9" fmla="*/ 177280 w 177280"/>
                  <a:gd name="connsiteY9" fmla="*/ 32637 h 59340"/>
                  <a:gd name="connsiteX10" fmla="*/ 171346 w 177280"/>
                  <a:gd name="connsiteY10" fmla="*/ 38572 h 59340"/>
                  <a:gd name="connsiteX11" fmla="*/ 112005 w 177280"/>
                  <a:gd name="connsiteY11" fmla="*/ 29670 h 59340"/>
                  <a:gd name="connsiteX12" fmla="*/ 100138 w 177280"/>
                  <a:gd name="connsiteY12" fmla="*/ 26703 h 59340"/>
                  <a:gd name="connsiteX13" fmla="*/ 34863 w 177280"/>
                  <a:gd name="connsiteY13" fmla="*/ 11868 h 59340"/>
                  <a:gd name="connsiteX14" fmla="*/ 14094 w 177280"/>
                  <a:gd name="connsiteY14" fmla="*/ 20769 h 59340"/>
                  <a:gd name="connsiteX15" fmla="*/ 14094 w 177280"/>
                  <a:gd name="connsiteY15" fmla="*/ 26703 h 59340"/>
                  <a:gd name="connsiteX16" fmla="*/ 73434 w 177280"/>
                  <a:gd name="connsiteY16" fmla="*/ 47473 h 59340"/>
                  <a:gd name="connsiteX17" fmla="*/ 76401 w 177280"/>
                  <a:gd name="connsiteY17" fmla="*/ 53407 h 59340"/>
                  <a:gd name="connsiteX18" fmla="*/ 70468 w 177280"/>
                  <a:gd name="connsiteY18" fmla="*/ 59341 h 59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77280" h="59340">
                    <a:moveTo>
                      <a:pt x="70468" y="59341"/>
                    </a:moveTo>
                    <a:cubicBezTo>
                      <a:pt x="70468" y="59341"/>
                      <a:pt x="70468" y="59341"/>
                      <a:pt x="70468" y="59341"/>
                    </a:cubicBezTo>
                    <a:cubicBezTo>
                      <a:pt x="55633" y="56374"/>
                      <a:pt x="11127" y="44505"/>
                      <a:pt x="2225" y="32637"/>
                    </a:cubicBezTo>
                    <a:cubicBezTo>
                      <a:pt x="-742" y="26703"/>
                      <a:pt x="-742" y="20769"/>
                      <a:pt x="2225" y="14835"/>
                    </a:cubicBezTo>
                    <a:cubicBezTo>
                      <a:pt x="8159" y="5934"/>
                      <a:pt x="20028" y="0"/>
                      <a:pt x="31895" y="0"/>
                    </a:cubicBezTo>
                    <a:cubicBezTo>
                      <a:pt x="31895" y="0"/>
                      <a:pt x="31895" y="0"/>
                      <a:pt x="31895" y="0"/>
                    </a:cubicBezTo>
                    <a:cubicBezTo>
                      <a:pt x="43764" y="0"/>
                      <a:pt x="73434" y="8901"/>
                      <a:pt x="100138" y="14835"/>
                    </a:cubicBezTo>
                    <a:cubicBezTo>
                      <a:pt x="106071" y="14835"/>
                      <a:pt x="109039" y="17802"/>
                      <a:pt x="112005" y="17802"/>
                    </a:cubicBezTo>
                    <a:cubicBezTo>
                      <a:pt x="117940" y="20769"/>
                      <a:pt x="156511" y="23736"/>
                      <a:pt x="171346" y="26703"/>
                    </a:cubicBezTo>
                    <a:cubicBezTo>
                      <a:pt x="174314" y="26703"/>
                      <a:pt x="177280" y="29670"/>
                      <a:pt x="177280" y="32637"/>
                    </a:cubicBezTo>
                    <a:cubicBezTo>
                      <a:pt x="177280" y="35604"/>
                      <a:pt x="174314" y="38572"/>
                      <a:pt x="171346" y="38572"/>
                    </a:cubicBezTo>
                    <a:cubicBezTo>
                      <a:pt x="168380" y="38572"/>
                      <a:pt x="120906" y="32637"/>
                      <a:pt x="112005" y="29670"/>
                    </a:cubicBezTo>
                    <a:cubicBezTo>
                      <a:pt x="109039" y="29670"/>
                      <a:pt x="106071" y="26703"/>
                      <a:pt x="100138" y="26703"/>
                    </a:cubicBezTo>
                    <a:cubicBezTo>
                      <a:pt x="85303" y="20769"/>
                      <a:pt x="46730" y="8901"/>
                      <a:pt x="34863" y="11868"/>
                    </a:cubicBezTo>
                    <a:cubicBezTo>
                      <a:pt x="25962" y="11868"/>
                      <a:pt x="17060" y="17802"/>
                      <a:pt x="14094" y="20769"/>
                    </a:cubicBezTo>
                    <a:cubicBezTo>
                      <a:pt x="14094" y="23736"/>
                      <a:pt x="14094" y="23736"/>
                      <a:pt x="14094" y="26703"/>
                    </a:cubicBezTo>
                    <a:cubicBezTo>
                      <a:pt x="17060" y="32637"/>
                      <a:pt x="46730" y="41539"/>
                      <a:pt x="73434" y="47473"/>
                    </a:cubicBezTo>
                    <a:cubicBezTo>
                      <a:pt x="76401" y="47473"/>
                      <a:pt x="79369" y="50440"/>
                      <a:pt x="76401" y="53407"/>
                    </a:cubicBezTo>
                    <a:cubicBezTo>
                      <a:pt x="76401" y="56374"/>
                      <a:pt x="73434" y="59341"/>
                      <a:pt x="70468" y="59341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746C36CD-1890-4619-B4CC-B46EF5E682BA}"/>
                </a:ext>
              </a:extLst>
            </p:cNvPr>
            <p:cNvSpPr/>
            <p:nvPr/>
          </p:nvSpPr>
          <p:spPr>
            <a:xfrm>
              <a:off x="19848322" y="3143142"/>
              <a:ext cx="722148" cy="835048"/>
            </a:xfrm>
            <a:custGeom>
              <a:avLst/>
              <a:gdLst>
                <a:gd name="connsiteX0" fmla="*/ 238522 w 722148"/>
                <a:gd name="connsiteY0" fmla="*/ 77362 h 835048"/>
                <a:gd name="connsiteX1" fmla="*/ 428411 w 722148"/>
                <a:gd name="connsiteY1" fmla="*/ 480879 h 835048"/>
                <a:gd name="connsiteX2" fmla="*/ 722148 w 722148"/>
                <a:gd name="connsiteY2" fmla="*/ 727143 h 835048"/>
                <a:gd name="connsiteX3" fmla="*/ 707313 w 722148"/>
                <a:gd name="connsiteY3" fmla="*/ 833956 h 835048"/>
                <a:gd name="connsiteX4" fmla="*/ 283028 w 722148"/>
                <a:gd name="connsiteY4" fmla="*/ 664835 h 835048"/>
                <a:gd name="connsiteX5" fmla="*/ 4126 w 722148"/>
                <a:gd name="connsiteY5" fmla="*/ 115934 h 835048"/>
                <a:gd name="connsiteX6" fmla="*/ 238522 w 722148"/>
                <a:gd name="connsiteY6" fmla="*/ 77362 h 835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2148" h="835048">
                  <a:moveTo>
                    <a:pt x="238522" y="77362"/>
                  </a:moveTo>
                  <a:cubicBezTo>
                    <a:pt x="271159" y="157472"/>
                    <a:pt x="372039" y="409670"/>
                    <a:pt x="428411" y="480879"/>
                  </a:cubicBezTo>
                  <a:cubicBezTo>
                    <a:pt x="508521" y="581758"/>
                    <a:pt x="722148" y="721208"/>
                    <a:pt x="722148" y="727143"/>
                  </a:cubicBezTo>
                  <a:cubicBezTo>
                    <a:pt x="719182" y="795384"/>
                    <a:pt x="719182" y="810219"/>
                    <a:pt x="707313" y="833956"/>
                  </a:cubicBezTo>
                  <a:cubicBezTo>
                    <a:pt x="704347" y="842857"/>
                    <a:pt x="449181" y="798351"/>
                    <a:pt x="283028" y="664835"/>
                  </a:cubicBezTo>
                  <a:cubicBezTo>
                    <a:pt x="232588" y="623296"/>
                    <a:pt x="63467" y="246483"/>
                    <a:pt x="4126" y="115934"/>
                  </a:cubicBezTo>
                  <a:cubicBezTo>
                    <a:pt x="-31479" y="38791"/>
                    <a:pt x="173247" y="-79891"/>
                    <a:pt x="238522" y="77362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FF84F4FB-A4FF-421D-81B5-E29F961385F1}"/>
                </a:ext>
              </a:extLst>
            </p:cNvPr>
            <p:cNvSpPr/>
            <p:nvPr/>
          </p:nvSpPr>
          <p:spPr>
            <a:xfrm>
              <a:off x="19558177" y="2291619"/>
              <a:ext cx="462650" cy="779089"/>
            </a:xfrm>
            <a:custGeom>
              <a:avLst/>
              <a:gdLst>
                <a:gd name="connsiteX0" fmla="*/ 457458 w 462650"/>
                <a:gd name="connsiteY0" fmla="*/ 697456 h 779089"/>
                <a:gd name="connsiteX1" fmla="*/ 445591 w 462650"/>
                <a:gd name="connsiteY1" fmla="*/ 670753 h 779089"/>
                <a:gd name="connsiteX2" fmla="*/ 439656 w 462650"/>
                <a:gd name="connsiteY2" fmla="*/ 581742 h 779089"/>
                <a:gd name="connsiteX3" fmla="*/ 415920 w 462650"/>
                <a:gd name="connsiteY3" fmla="*/ 463061 h 779089"/>
                <a:gd name="connsiteX4" fmla="*/ 395151 w 462650"/>
                <a:gd name="connsiteY4" fmla="*/ 341413 h 779089"/>
                <a:gd name="connsiteX5" fmla="*/ 326909 w 462650"/>
                <a:gd name="connsiteY5" fmla="*/ 219764 h 779089"/>
                <a:gd name="connsiteX6" fmla="*/ 214161 w 462650"/>
                <a:gd name="connsiteY6" fmla="*/ 23940 h 779089"/>
                <a:gd name="connsiteX7" fmla="*/ 151854 w 462650"/>
                <a:gd name="connsiteY7" fmla="*/ 204 h 779089"/>
                <a:gd name="connsiteX8" fmla="*/ 12403 w 462650"/>
                <a:gd name="connsiteY8" fmla="*/ 74380 h 779089"/>
                <a:gd name="connsiteX9" fmla="*/ 6468 w 462650"/>
                <a:gd name="connsiteY9" fmla="*/ 101083 h 779089"/>
                <a:gd name="connsiteX10" fmla="*/ 42073 w 462650"/>
                <a:gd name="connsiteY10" fmla="*/ 118885 h 779089"/>
                <a:gd name="connsiteX11" fmla="*/ 68777 w 462650"/>
                <a:gd name="connsiteY11" fmla="*/ 196028 h 779089"/>
                <a:gd name="connsiteX12" fmla="*/ 116249 w 462650"/>
                <a:gd name="connsiteY12" fmla="*/ 335478 h 779089"/>
                <a:gd name="connsiteX13" fmla="*/ 68777 w 462650"/>
                <a:gd name="connsiteY13" fmla="*/ 593610 h 779089"/>
                <a:gd name="connsiteX14" fmla="*/ 151854 w 462650"/>
                <a:gd name="connsiteY14" fmla="*/ 552072 h 779089"/>
                <a:gd name="connsiteX15" fmla="*/ 234930 w 462650"/>
                <a:gd name="connsiteY15" fmla="*/ 753830 h 779089"/>
                <a:gd name="connsiteX16" fmla="*/ 454491 w 462650"/>
                <a:gd name="connsiteY16" fmla="*/ 741962 h 779089"/>
                <a:gd name="connsiteX17" fmla="*/ 457458 w 462650"/>
                <a:gd name="connsiteY17" fmla="*/ 697456 h 779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62650" h="779089">
                  <a:moveTo>
                    <a:pt x="457458" y="697456"/>
                  </a:moveTo>
                  <a:cubicBezTo>
                    <a:pt x="457458" y="688555"/>
                    <a:pt x="454491" y="676687"/>
                    <a:pt x="445591" y="670753"/>
                  </a:cubicBezTo>
                  <a:cubicBezTo>
                    <a:pt x="466358" y="641083"/>
                    <a:pt x="472293" y="602511"/>
                    <a:pt x="439656" y="581742"/>
                  </a:cubicBezTo>
                  <a:cubicBezTo>
                    <a:pt x="457458" y="537237"/>
                    <a:pt x="457458" y="489764"/>
                    <a:pt x="415920" y="463061"/>
                  </a:cubicBezTo>
                  <a:cubicBezTo>
                    <a:pt x="439656" y="424489"/>
                    <a:pt x="436688" y="359215"/>
                    <a:pt x="395151" y="341413"/>
                  </a:cubicBezTo>
                  <a:cubicBezTo>
                    <a:pt x="409986" y="308775"/>
                    <a:pt x="371415" y="219764"/>
                    <a:pt x="326909" y="219764"/>
                  </a:cubicBezTo>
                  <a:cubicBezTo>
                    <a:pt x="326909" y="216797"/>
                    <a:pt x="223063" y="29874"/>
                    <a:pt x="214161" y="23940"/>
                  </a:cubicBezTo>
                  <a:cubicBezTo>
                    <a:pt x="193393" y="9105"/>
                    <a:pt x="166689" y="204"/>
                    <a:pt x="151854" y="204"/>
                  </a:cubicBezTo>
                  <a:cubicBezTo>
                    <a:pt x="95479" y="-2763"/>
                    <a:pt x="33172" y="26907"/>
                    <a:pt x="12403" y="74380"/>
                  </a:cubicBezTo>
                  <a:cubicBezTo>
                    <a:pt x="536" y="77347"/>
                    <a:pt x="-5399" y="95149"/>
                    <a:pt x="6468" y="101083"/>
                  </a:cubicBezTo>
                  <a:cubicBezTo>
                    <a:pt x="18337" y="107017"/>
                    <a:pt x="30206" y="112951"/>
                    <a:pt x="42073" y="118885"/>
                  </a:cubicBezTo>
                  <a:cubicBezTo>
                    <a:pt x="48007" y="145588"/>
                    <a:pt x="56908" y="175259"/>
                    <a:pt x="68777" y="196028"/>
                  </a:cubicBezTo>
                  <a:cubicBezTo>
                    <a:pt x="89547" y="240533"/>
                    <a:pt x="107348" y="288006"/>
                    <a:pt x="116249" y="335478"/>
                  </a:cubicBezTo>
                  <a:cubicBezTo>
                    <a:pt x="125150" y="385918"/>
                    <a:pt x="62843" y="552072"/>
                    <a:pt x="68777" y="593610"/>
                  </a:cubicBezTo>
                  <a:cubicBezTo>
                    <a:pt x="77678" y="641083"/>
                    <a:pt x="68777" y="623281"/>
                    <a:pt x="151854" y="552072"/>
                  </a:cubicBezTo>
                  <a:cubicBezTo>
                    <a:pt x="131084" y="629215"/>
                    <a:pt x="145919" y="709325"/>
                    <a:pt x="234930" y="753830"/>
                  </a:cubicBezTo>
                  <a:cubicBezTo>
                    <a:pt x="285370" y="780533"/>
                    <a:pt x="418887" y="798336"/>
                    <a:pt x="454491" y="741962"/>
                  </a:cubicBezTo>
                  <a:cubicBezTo>
                    <a:pt x="466358" y="721193"/>
                    <a:pt x="463392" y="706358"/>
                    <a:pt x="457458" y="697456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28BB7E1F-F819-428D-81F2-E8D44DCC798B}"/>
                </a:ext>
              </a:extLst>
            </p:cNvPr>
            <p:cNvSpPr/>
            <p:nvPr/>
          </p:nvSpPr>
          <p:spPr>
            <a:xfrm>
              <a:off x="19081897" y="2293297"/>
              <a:ext cx="587014" cy="941254"/>
            </a:xfrm>
            <a:custGeom>
              <a:avLst/>
              <a:gdLst>
                <a:gd name="connsiteX0" fmla="*/ 542089 w 587014"/>
                <a:gd name="connsiteY0" fmla="*/ 256658 h 941254"/>
                <a:gd name="connsiteX1" fmla="*/ 521321 w 587014"/>
                <a:gd name="connsiteY1" fmla="*/ 87537 h 941254"/>
                <a:gd name="connsiteX2" fmla="*/ 524287 w 587014"/>
                <a:gd name="connsiteY2" fmla="*/ 72702 h 941254"/>
                <a:gd name="connsiteX3" fmla="*/ 364067 w 587014"/>
                <a:gd name="connsiteY3" fmla="*/ 51933 h 941254"/>
                <a:gd name="connsiteX4" fmla="*/ 328464 w 587014"/>
                <a:gd name="connsiteY4" fmla="*/ 96438 h 941254"/>
                <a:gd name="connsiteX5" fmla="*/ 352200 w 587014"/>
                <a:gd name="connsiteY5" fmla="*/ 152812 h 941254"/>
                <a:gd name="connsiteX6" fmla="*/ 328464 w 587014"/>
                <a:gd name="connsiteY6" fmla="*/ 176548 h 941254"/>
                <a:gd name="connsiteX7" fmla="*/ 272090 w 587014"/>
                <a:gd name="connsiteY7" fmla="*/ 274460 h 941254"/>
                <a:gd name="connsiteX8" fmla="*/ 197914 w 587014"/>
                <a:gd name="connsiteY8" fmla="*/ 283361 h 941254"/>
                <a:gd name="connsiteX9" fmla="*/ 171210 w 587014"/>
                <a:gd name="connsiteY9" fmla="*/ 330834 h 941254"/>
                <a:gd name="connsiteX10" fmla="*/ 129672 w 587014"/>
                <a:gd name="connsiteY10" fmla="*/ 396109 h 941254"/>
                <a:gd name="connsiteX11" fmla="*/ 135607 w 587014"/>
                <a:gd name="connsiteY11" fmla="*/ 437647 h 941254"/>
                <a:gd name="connsiteX12" fmla="*/ 55497 w 587014"/>
                <a:gd name="connsiteY12" fmla="*/ 511823 h 941254"/>
                <a:gd name="connsiteX13" fmla="*/ 82199 w 587014"/>
                <a:gd name="connsiteY13" fmla="*/ 580065 h 941254"/>
                <a:gd name="connsiteX14" fmla="*/ 40661 w 587014"/>
                <a:gd name="connsiteY14" fmla="*/ 746219 h 941254"/>
                <a:gd name="connsiteX15" fmla="*/ 16925 w 587014"/>
                <a:gd name="connsiteY15" fmla="*/ 867867 h 941254"/>
                <a:gd name="connsiteX16" fmla="*/ 88133 w 587014"/>
                <a:gd name="connsiteY16" fmla="*/ 870834 h 941254"/>
                <a:gd name="connsiteX17" fmla="*/ 191979 w 587014"/>
                <a:gd name="connsiteY17" fmla="*/ 939076 h 941254"/>
                <a:gd name="connsiteX18" fmla="*/ 257254 w 587014"/>
                <a:gd name="connsiteY18" fmla="*/ 811493 h 941254"/>
                <a:gd name="connsiteX19" fmla="*/ 292859 w 587014"/>
                <a:gd name="connsiteY19" fmla="*/ 778856 h 941254"/>
                <a:gd name="connsiteX20" fmla="*/ 328464 w 587014"/>
                <a:gd name="connsiteY20" fmla="*/ 764021 h 941254"/>
                <a:gd name="connsiteX21" fmla="*/ 488683 w 587014"/>
                <a:gd name="connsiteY21" fmla="*/ 701713 h 941254"/>
                <a:gd name="connsiteX22" fmla="*/ 556924 w 587014"/>
                <a:gd name="connsiteY22" fmla="*/ 648307 h 941254"/>
                <a:gd name="connsiteX23" fmla="*/ 539123 w 587014"/>
                <a:gd name="connsiteY23" fmla="*/ 479186 h 941254"/>
                <a:gd name="connsiteX24" fmla="*/ 542089 w 587014"/>
                <a:gd name="connsiteY24" fmla="*/ 256658 h 94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87014" h="941254">
                  <a:moveTo>
                    <a:pt x="542089" y="256658"/>
                  </a:moveTo>
                  <a:cubicBezTo>
                    <a:pt x="598463" y="212153"/>
                    <a:pt x="550991" y="137977"/>
                    <a:pt x="521321" y="87537"/>
                  </a:cubicBezTo>
                  <a:cubicBezTo>
                    <a:pt x="524287" y="84570"/>
                    <a:pt x="527254" y="78636"/>
                    <a:pt x="524287" y="72702"/>
                  </a:cubicBezTo>
                  <a:cubicBezTo>
                    <a:pt x="503518" y="-7408"/>
                    <a:pt x="361101" y="-31144"/>
                    <a:pt x="364067" y="51933"/>
                  </a:cubicBezTo>
                  <a:cubicBezTo>
                    <a:pt x="328464" y="54900"/>
                    <a:pt x="343299" y="63801"/>
                    <a:pt x="328464" y="96438"/>
                  </a:cubicBezTo>
                  <a:cubicBezTo>
                    <a:pt x="316595" y="117208"/>
                    <a:pt x="340331" y="135010"/>
                    <a:pt x="352200" y="152812"/>
                  </a:cubicBezTo>
                  <a:lnTo>
                    <a:pt x="328464" y="176548"/>
                  </a:lnTo>
                  <a:cubicBezTo>
                    <a:pt x="283958" y="188416"/>
                    <a:pt x="266155" y="224021"/>
                    <a:pt x="272090" y="274460"/>
                  </a:cubicBezTo>
                  <a:cubicBezTo>
                    <a:pt x="254288" y="277427"/>
                    <a:pt x="227584" y="262592"/>
                    <a:pt x="197914" y="283361"/>
                  </a:cubicBezTo>
                  <a:cubicBezTo>
                    <a:pt x="183079" y="295230"/>
                    <a:pt x="177144" y="318966"/>
                    <a:pt x="171210" y="330834"/>
                  </a:cubicBezTo>
                  <a:cubicBezTo>
                    <a:pt x="144508" y="339735"/>
                    <a:pt x="132639" y="366438"/>
                    <a:pt x="129672" y="396109"/>
                  </a:cubicBezTo>
                  <a:cubicBezTo>
                    <a:pt x="126704" y="413911"/>
                    <a:pt x="129672" y="425779"/>
                    <a:pt x="135607" y="437647"/>
                  </a:cubicBezTo>
                  <a:cubicBezTo>
                    <a:pt x="100002" y="449515"/>
                    <a:pt x="61431" y="470285"/>
                    <a:pt x="55497" y="511823"/>
                  </a:cubicBezTo>
                  <a:cubicBezTo>
                    <a:pt x="49562" y="541493"/>
                    <a:pt x="61431" y="565230"/>
                    <a:pt x="82199" y="580065"/>
                  </a:cubicBezTo>
                  <a:cubicBezTo>
                    <a:pt x="37693" y="624570"/>
                    <a:pt x="-21647" y="716548"/>
                    <a:pt x="40661" y="746219"/>
                  </a:cubicBezTo>
                  <a:cubicBezTo>
                    <a:pt x="8023" y="778856"/>
                    <a:pt x="-18679" y="829295"/>
                    <a:pt x="16925" y="867867"/>
                  </a:cubicBezTo>
                  <a:cubicBezTo>
                    <a:pt x="40661" y="891603"/>
                    <a:pt x="70332" y="888636"/>
                    <a:pt x="88133" y="870834"/>
                  </a:cubicBezTo>
                  <a:cubicBezTo>
                    <a:pt x="108903" y="912372"/>
                    <a:pt x="141539" y="950944"/>
                    <a:pt x="191979" y="939076"/>
                  </a:cubicBezTo>
                  <a:cubicBezTo>
                    <a:pt x="251320" y="924241"/>
                    <a:pt x="263189" y="864900"/>
                    <a:pt x="257254" y="811493"/>
                  </a:cubicBezTo>
                  <a:cubicBezTo>
                    <a:pt x="272090" y="805559"/>
                    <a:pt x="283958" y="793691"/>
                    <a:pt x="292859" y="778856"/>
                  </a:cubicBezTo>
                  <a:cubicBezTo>
                    <a:pt x="304726" y="775889"/>
                    <a:pt x="316595" y="769955"/>
                    <a:pt x="328464" y="764021"/>
                  </a:cubicBezTo>
                  <a:cubicBezTo>
                    <a:pt x="375936" y="847098"/>
                    <a:pt x="500551" y="799625"/>
                    <a:pt x="488683" y="701713"/>
                  </a:cubicBezTo>
                  <a:cubicBezTo>
                    <a:pt x="527254" y="698746"/>
                    <a:pt x="542089" y="698746"/>
                    <a:pt x="556924" y="648307"/>
                  </a:cubicBezTo>
                  <a:cubicBezTo>
                    <a:pt x="571759" y="591933"/>
                    <a:pt x="562858" y="532592"/>
                    <a:pt x="539123" y="479186"/>
                  </a:cubicBezTo>
                  <a:cubicBezTo>
                    <a:pt x="619233" y="422812"/>
                    <a:pt x="583628" y="336768"/>
                    <a:pt x="542089" y="256658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D35CD296-3411-4A70-80D9-83B2E1844D75}"/>
                </a:ext>
              </a:extLst>
            </p:cNvPr>
            <p:cNvGrpSpPr/>
            <p:nvPr/>
          </p:nvGrpSpPr>
          <p:grpSpPr>
            <a:xfrm>
              <a:off x="19779757" y="6359625"/>
              <a:ext cx="384672" cy="348877"/>
              <a:chOff x="19779757" y="6359625"/>
              <a:chExt cx="384672" cy="348877"/>
            </a:xfrm>
          </p:grpSpPr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68910AD7-31AF-4BBD-8C6B-E3FE85CCEE63}"/>
                  </a:ext>
                </a:extLst>
              </p:cNvPr>
              <p:cNvSpPr/>
              <p:nvPr/>
            </p:nvSpPr>
            <p:spPr>
              <a:xfrm>
                <a:off x="19779757" y="6478307"/>
                <a:ext cx="384672" cy="230195"/>
              </a:xfrm>
              <a:custGeom>
                <a:avLst/>
                <a:gdLst>
                  <a:gd name="connsiteX0" fmla="*/ 105330 w 384672"/>
                  <a:gd name="connsiteY0" fmla="*/ 0 h 230195"/>
                  <a:gd name="connsiteX1" fmla="*/ 259614 w 384672"/>
                  <a:gd name="connsiteY1" fmla="*/ 121649 h 230195"/>
                  <a:gd name="connsiteX2" fmla="*/ 69725 w 384672"/>
                  <a:gd name="connsiteY2" fmla="*/ 74176 h 230195"/>
                  <a:gd name="connsiteX3" fmla="*/ 1484 w 384672"/>
                  <a:gd name="connsiteY3" fmla="*/ 50439 h 230195"/>
                  <a:gd name="connsiteX4" fmla="*/ 7416 w 384672"/>
                  <a:gd name="connsiteY4" fmla="*/ 154286 h 230195"/>
                  <a:gd name="connsiteX5" fmla="*/ 232912 w 384672"/>
                  <a:gd name="connsiteY5" fmla="*/ 225495 h 230195"/>
                  <a:gd name="connsiteX6" fmla="*/ 366429 w 384672"/>
                  <a:gd name="connsiteY6" fmla="*/ 225495 h 230195"/>
                  <a:gd name="connsiteX7" fmla="*/ 372363 w 384672"/>
                  <a:gd name="connsiteY7" fmla="*/ 172088 h 230195"/>
                  <a:gd name="connsiteX8" fmla="*/ 105330 w 384672"/>
                  <a:gd name="connsiteY8" fmla="*/ 0 h 230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4672" h="230195">
                    <a:moveTo>
                      <a:pt x="105330" y="0"/>
                    </a:moveTo>
                    <a:cubicBezTo>
                      <a:pt x="105330" y="0"/>
                      <a:pt x="274449" y="109780"/>
                      <a:pt x="259614" y="121649"/>
                    </a:cubicBezTo>
                    <a:cubicBezTo>
                      <a:pt x="247747" y="136484"/>
                      <a:pt x="69725" y="74176"/>
                      <a:pt x="69725" y="74176"/>
                    </a:cubicBezTo>
                    <a:lnTo>
                      <a:pt x="1484" y="50439"/>
                    </a:lnTo>
                    <a:cubicBezTo>
                      <a:pt x="1484" y="50439"/>
                      <a:pt x="-4451" y="130550"/>
                      <a:pt x="7416" y="154286"/>
                    </a:cubicBezTo>
                    <a:cubicBezTo>
                      <a:pt x="78626" y="189890"/>
                      <a:pt x="161703" y="213626"/>
                      <a:pt x="232912" y="225495"/>
                    </a:cubicBezTo>
                    <a:cubicBezTo>
                      <a:pt x="277418" y="234396"/>
                      <a:pt x="357528" y="228461"/>
                      <a:pt x="366429" y="225495"/>
                    </a:cubicBezTo>
                    <a:cubicBezTo>
                      <a:pt x="375329" y="222527"/>
                      <a:pt x="399065" y="198791"/>
                      <a:pt x="372363" y="172088"/>
                    </a:cubicBezTo>
                    <a:cubicBezTo>
                      <a:pt x="310054" y="109780"/>
                      <a:pt x="105330" y="0"/>
                      <a:pt x="105330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044A6570-ACA1-4FC9-8802-540DE9C88BD7}"/>
                  </a:ext>
                </a:extLst>
              </p:cNvPr>
              <p:cNvSpPr/>
              <p:nvPr/>
            </p:nvSpPr>
            <p:spPr>
              <a:xfrm>
                <a:off x="19781240" y="6359625"/>
                <a:ext cx="259422" cy="247261"/>
              </a:xfrm>
              <a:custGeom>
                <a:avLst/>
                <a:gdLst>
                  <a:gd name="connsiteX0" fmla="*/ 118681 w 259422"/>
                  <a:gd name="connsiteY0" fmla="*/ 0 h 247261"/>
                  <a:gd name="connsiteX1" fmla="*/ 103846 w 259422"/>
                  <a:gd name="connsiteY1" fmla="*/ 121649 h 247261"/>
                  <a:gd name="connsiteX2" fmla="*/ 258130 w 259422"/>
                  <a:gd name="connsiteY2" fmla="*/ 243297 h 247261"/>
                  <a:gd name="connsiteX3" fmla="*/ 26702 w 259422"/>
                  <a:gd name="connsiteY3" fmla="*/ 201758 h 247261"/>
                  <a:gd name="connsiteX4" fmla="*/ 0 w 259422"/>
                  <a:gd name="connsiteY4" fmla="*/ 172088 h 247261"/>
                  <a:gd name="connsiteX5" fmla="*/ 0 w 259422"/>
                  <a:gd name="connsiteY5" fmla="*/ 41539 h 247261"/>
                  <a:gd name="connsiteX6" fmla="*/ 118681 w 259422"/>
                  <a:gd name="connsiteY6" fmla="*/ 0 h 247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9422" h="247261">
                    <a:moveTo>
                      <a:pt x="118681" y="0"/>
                    </a:moveTo>
                    <a:lnTo>
                      <a:pt x="103846" y="121649"/>
                    </a:lnTo>
                    <a:cubicBezTo>
                      <a:pt x="103846" y="121649"/>
                      <a:pt x="275934" y="222527"/>
                      <a:pt x="258130" y="243297"/>
                    </a:cubicBezTo>
                    <a:cubicBezTo>
                      <a:pt x="246263" y="258132"/>
                      <a:pt x="94944" y="228461"/>
                      <a:pt x="26702" y="201758"/>
                    </a:cubicBezTo>
                    <a:cubicBezTo>
                      <a:pt x="2966" y="192857"/>
                      <a:pt x="0" y="172088"/>
                      <a:pt x="0" y="172088"/>
                    </a:cubicBezTo>
                    <a:lnTo>
                      <a:pt x="0" y="41539"/>
                    </a:lnTo>
                    <a:lnTo>
                      <a:pt x="118681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4" name="图形 1">
              <a:extLst>
                <a:ext uri="{FF2B5EF4-FFF2-40B4-BE49-F238E27FC236}">
                  <a16:creationId xmlns:a16="http://schemas.microsoft.com/office/drawing/2014/main" id="{B8D73183-4C32-438F-AA30-005F0B7D3F37}"/>
                </a:ext>
              </a:extLst>
            </p:cNvPr>
            <p:cNvGrpSpPr/>
            <p:nvPr/>
          </p:nvGrpSpPr>
          <p:grpSpPr>
            <a:xfrm>
              <a:off x="19058767" y="6371494"/>
              <a:ext cx="384673" cy="337008"/>
              <a:chOff x="19058767" y="6371494"/>
              <a:chExt cx="384673" cy="337008"/>
            </a:xfrm>
          </p:grpSpPr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11CFB540-8FF0-44F8-85E0-03EC6449381F}"/>
                  </a:ext>
                </a:extLst>
              </p:cNvPr>
              <p:cNvSpPr/>
              <p:nvPr/>
            </p:nvSpPr>
            <p:spPr>
              <a:xfrm>
                <a:off x="19058767" y="6478307"/>
                <a:ext cx="384673" cy="230195"/>
              </a:xfrm>
              <a:custGeom>
                <a:avLst/>
                <a:gdLst>
                  <a:gd name="connsiteX0" fmla="*/ 120164 w 384673"/>
                  <a:gd name="connsiteY0" fmla="*/ 0 h 230195"/>
                  <a:gd name="connsiteX1" fmla="*/ 259615 w 384673"/>
                  <a:gd name="connsiteY1" fmla="*/ 121649 h 230195"/>
                  <a:gd name="connsiteX2" fmla="*/ 69726 w 384673"/>
                  <a:gd name="connsiteY2" fmla="*/ 74176 h 230195"/>
                  <a:gd name="connsiteX3" fmla="*/ 1483 w 384673"/>
                  <a:gd name="connsiteY3" fmla="*/ 50439 h 230195"/>
                  <a:gd name="connsiteX4" fmla="*/ 7417 w 384673"/>
                  <a:gd name="connsiteY4" fmla="*/ 154286 h 230195"/>
                  <a:gd name="connsiteX5" fmla="*/ 232913 w 384673"/>
                  <a:gd name="connsiteY5" fmla="*/ 225495 h 230195"/>
                  <a:gd name="connsiteX6" fmla="*/ 366429 w 384673"/>
                  <a:gd name="connsiteY6" fmla="*/ 225495 h 230195"/>
                  <a:gd name="connsiteX7" fmla="*/ 372362 w 384673"/>
                  <a:gd name="connsiteY7" fmla="*/ 172088 h 230195"/>
                  <a:gd name="connsiteX8" fmla="*/ 120164 w 384673"/>
                  <a:gd name="connsiteY8" fmla="*/ 0 h 230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4673" h="230195">
                    <a:moveTo>
                      <a:pt x="120164" y="0"/>
                    </a:moveTo>
                    <a:cubicBezTo>
                      <a:pt x="120164" y="0"/>
                      <a:pt x="274450" y="109780"/>
                      <a:pt x="259615" y="121649"/>
                    </a:cubicBezTo>
                    <a:cubicBezTo>
                      <a:pt x="247748" y="136484"/>
                      <a:pt x="69726" y="74176"/>
                      <a:pt x="69726" y="74176"/>
                    </a:cubicBezTo>
                    <a:lnTo>
                      <a:pt x="1483" y="50439"/>
                    </a:lnTo>
                    <a:cubicBezTo>
                      <a:pt x="1483" y="50439"/>
                      <a:pt x="-4450" y="130550"/>
                      <a:pt x="7417" y="154286"/>
                    </a:cubicBezTo>
                    <a:cubicBezTo>
                      <a:pt x="78627" y="189890"/>
                      <a:pt x="161703" y="213626"/>
                      <a:pt x="232913" y="225495"/>
                    </a:cubicBezTo>
                    <a:cubicBezTo>
                      <a:pt x="277418" y="234396"/>
                      <a:pt x="357527" y="228461"/>
                      <a:pt x="366429" y="225495"/>
                    </a:cubicBezTo>
                    <a:cubicBezTo>
                      <a:pt x="375330" y="222527"/>
                      <a:pt x="399066" y="198791"/>
                      <a:pt x="372362" y="172088"/>
                    </a:cubicBezTo>
                    <a:cubicBezTo>
                      <a:pt x="313021" y="109780"/>
                      <a:pt x="120164" y="0"/>
                      <a:pt x="120164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0E5EDEF5-56BE-4A83-A32E-A92B1D50F888}"/>
                  </a:ext>
                </a:extLst>
              </p:cNvPr>
              <p:cNvSpPr/>
              <p:nvPr/>
            </p:nvSpPr>
            <p:spPr>
              <a:xfrm>
                <a:off x="19060250" y="6371494"/>
                <a:ext cx="259537" cy="235392"/>
              </a:xfrm>
              <a:custGeom>
                <a:avLst/>
                <a:gdLst>
                  <a:gd name="connsiteX0" fmla="*/ 160221 w 259537"/>
                  <a:gd name="connsiteY0" fmla="*/ 0 h 235392"/>
                  <a:gd name="connsiteX1" fmla="*/ 118681 w 259537"/>
                  <a:gd name="connsiteY1" fmla="*/ 109780 h 235392"/>
                  <a:gd name="connsiteX2" fmla="*/ 258132 w 259537"/>
                  <a:gd name="connsiteY2" fmla="*/ 231428 h 235392"/>
                  <a:gd name="connsiteX3" fmla="*/ 26704 w 259537"/>
                  <a:gd name="connsiteY3" fmla="*/ 189890 h 235392"/>
                  <a:gd name="connsiteX4" fmla="*/ 0 w 259537"/>
                  <a:gd name="connsiteY4" fmla="*/ 160220 h 235392"/>
                  <a:gd name="connsiteX5" fmla="*/ 38573 w 259537"/>
                  <a:gd name="connsiteY5" fmla="*/ 41538 h 235392"/>
                  <a:gd name="connsiteX6" fmla="*/ 160221 w 259537"/>
                  <a:gd name="connsiteY6" fmla="*/ 0 h 235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9537" h="235392">
                    <a:moveTo>
                      <a:pt x="160221" y="0"/>
                    </a:moveTo>
                    <a:lnTo>
                      <a:pt x="118681" y="109780"/>
                    </a:lnTo>
                    <a:cubicBezTo>
                      <a:pt x="118681" y="109780"/>
                      <a:pt x="275936" y="210659"/>
                      <a:pt x="258132" y="231428"/>
                    </a:cubicBezTo>
                    <a:cubicBezTo>
                      <a:pt x="246265" y="246263"/>
                      <a:pt x="94945" y="216593"/>
                      <a:pt x="26704" y="189890"/>
                    </a:cubicBezTo>
                    <a:cubicBezTo>
                      <a:pt x="2968" y="180989"/>
                      <a:pt x="0" y="160220"/>
                      <a:pt x="0" y="160220"/>
                    </a:cubicBezTo>
                    <a:lnTo>
                      <a:pt x="38573" y="41538"/>
                    </a:lnTo>
                    <a:lnTo>
                      <a:pt x="160221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DC70AF53-D2DC-4588-B3C7-FC63D0FCAA44}"/>
                </a:ext>
              </a:extLst>
            </p:cNvPr>
            <p:cNvSpPr/>
            <p:nvPr/>
          </p:nvSpPr>
          <p:spPr>
            <a:xfrm>
              <a:off x="19060250" y="3983032"/>
              <a:ext cx="1042590" cy="2453736"/>
            </a:xfrm>
            <a:custGeom>
              <a:avLst/>
              <a:gdLst>
                <a:gd name="connsiteX0" fmla="*/ 275936 w 1042590"/>
                <a:gd name="connsiteY0" fmla="*/ 0 h 2453736"/>
                <a:gd name="connsiteX1" fmla="*/ 925715 w 1042590"/>
                <a:gd name="connsiteY1" fmla="*/ 0 h 2453736"/>
                <a:gd name="connsiteX2" fmla="*/ 1041430 w 1042590"/>
                <a:gd name="connsiteY2" fmla="*/ 448022 h 2453736"/>
                <a:gd name="connsiteX3" fmla="*/ 866374 w 1042590"/>
                <a:gd name="connsiteY3" fmla="*/ 2418132 h 2453736"/>
                <a:gd name="connsiteX4" fmla="*/ 697253 w 1042590"/>
                <a:gd name="connsiteY4" fmla="*/ 2453737 h 2453736"/>
                <a:gd name="connsiteX5" fmla="*/ 593407 w 1042590"/>
                <a:gd name="connsiteY5" fmla="*/ 789231 h 2453736"/>
                <a:gd name="connsiteX6" fmla="*/ 525165 w 1042590"/>
                <a:gd name="connsiteY6" fmla="*/ 1578462 h 2453736"/>
                <a:gd name="connsiteX7" fmla="*/ 513298 w 1042590"/>
                <a:gd name="connsiteY7" fmla="*/ 1628901 h 2453736"/>
                <a:gd name="connsiteX8" fmla="*/ 189891 w 1042590"/>
                <a:gd name="connsiteY8" fmla="*/ 2444835 h 2453736"/>
                <a:gd name="connsiteX9" fmla="*/ 0 w 1042590"/>
                <a:gd name="connsiteY9" fmla="*/ 2444835 h 2453736"/>
                <a:gd name="connsiteX10" fmla="*/ 178022 w 1042590"/>
                <a:gd name="connsiteY10" fmla="*/ 1614066 h 2453736"/>
                <a:gd name="connsiteX11" fmla="*/ 142419 w 1042590"/>
                <a:gd name="connsiteY11" fmla="*/ 406484 h 2453736"/>
                <a:gd name="connsiteX12" fmla="*/ 275936 w 1042590"/>
                <a:gd name="connsiteY12" fmla="*/ 0 h 2453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42590" h="2453736">
                  <a:moveTo>
                    <a:pt x="275936" y="0"/>
                  </a:moveTo>
                  <a:lnTo>
                    <a:pt x="925715" y="0"/>
                  </a:lnTo>
                  <a:cubicBezTo>
                    <a:pt x="925715" y="0"/>
                    <a:pt x="1020660" y="296703"/>
                    <a:pt x="1041430" y="448022"/>
                  </a:cubicBezTo>
                  <a:cubicBezTo>
                    <a:pt x="1059231" y="596374"/>
                    <a:pt x="866374" y="2418132"/>
                    <a:pt x="866374" y="2418132"/>
                  </a:cubicBezTo>
                  <a:lnTo>
                    <a:pt x="697253" y="2453737"/>
                  </a:lnTo>
                  <a:lnTo>
                    <a:pt x="593407" y="789231"/>
                  </a:lnTo>
                  <a:lnTo>
                    <a:pt x="525165" y="1578462"/>
                  </a:lnTo>
                  <a:cubicBezTo>
                    <a:pt x="522199" y="1596264"/>
                    <a:pt x="519231" y="1614066"/>
                    <a:pt x="513298" y="1628901"/>
                  </a:cubicBezTo>
                  <a:lnTo>
                    <a:pt x="189891" y="2444835"/>
                  </a:lnTo>
                  <a:lnTo>
                    <a:pt x="0" y="2444835"/>
                  </a:lnTo>
                  <a:lnTo>
                    <a:pt x="178022" y="1614066"/>
                  </a:lnTo>
                  <a:cubicBezTo>
                    <a:pt x="178022" y="1614066"/>
                    <a:pt x="148352" y="468791"/>
                    <a:pt x="142419" y="406484"/>
                  </a:cubicBezTo>
                  <a:cubicBezTo>
                    <a:pt x="133516" y="287802"/>
                    <a:pt x="275936" y="0"/>
                    <a:pt x="275936" y="0"/>
                  </a:cubicBezTo>
                  <a:close/>
                </a:path>
              </a:pathLst>
            </a:custGeom>
            <a:solidFill>
              <a:srgbClr val="F6EBE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C588C62F-BD3A-4FD3-95DE-83DA1B0F4594}"/>
                </a:ext>
              </a:extLst>
            </p:cNvPr>
            <p:cNvSpPr/>
            <p:nvPr/>
          </p:nvSpPr>
          <p:spPr>
            <a:xfrm>
              <a:off x="19244206" y="4359845"/>
              <a:ext cx="453955" cy="2073955"/>
            </a:xfrm>
            <a:custGeom>
              <a:avLst/>
              <a:gdLst>
                <a:gd name="connsiteX0" fmla="*/ 5934 w 453955"/>
                <a:gd name="connsiteY0" fmla="*/ 2073956 h 2073955"/>
                <a:gd name="connsiteX1" fmla="*/ 5934 w 453955"/>
                <a:gd name="connsiteY1" fmla="*/ 2073956 h 2073955"/>
                <a:gd name="connsiteX2" fmla="*/ 0 w 453955"/>
                <a:gd name="connsiteY2" fmla="*/ 2065055 h 2073955"/>
                <a:gd name="connsiteX3" fmla="*/ 320439 w 453955"/>
                <a:gd name="connsiteY3" fmla="*/ 1252088 h 2073955"/>
                <a:gd name="connsiteX4" fmla="*/ 332308 w 453955"/>
                <a:gd name="connsiteY4" fmla="*/ 1201648 h 2073955"/>
                <a:gd name="connsiteX5" fmla="*/ 400549 w 453955"/>
                <a:gd name="connsiteY5" fmla="*/ 412417 h 2073955"/>
                <a:gd name="connsiteX6" fmla="*/ 442089 w 453955"/>
                <a:gd name="connsiteY6" fmla="*/ 5934 h 2073955"/>
                <a:gd name="connsiteX7" fmla="*/ 448023 w 453955"/>
                <a:gd name="connsiteY7" fmla="*/ 0 h 2073955"/>
                <a:gd name="connsiteX8" fmla="*/ 453956 w 453955"/>
                <a:gd name="connsiteY8" fmla="*/ 5934 h 2073955"/>
                <a:gd name="connsiteX9" fmla="*/ 412418 w 453955"/>
                <a:gd name="connsiteY9" fmla="*/ 412417 h 2073955"/>
                <a:gd name="connsiteX10" fmla="*/ 344177 w 453955"/>
                <a:gd name="connsiteY10" fmla="*/ 1201648 h 2073955"/>
                <a:gd name="connsiteX11" fmla="*/ 332308 w 453955"/>
                <a:gd name="connsiteY11" fmla="*/ 1255055 h 2073955"/>
                <a:gd name="connsiteX12" fmla="*/ 11869 w 453955"/>
                <a:gd name="connsiteY12" fmla="*/ 2068022 h 2073955"/>
                <a:gd name="connsiteX13" fmla="*/ 5934 w 453955"/>
                <a:gd name="connsiteY13" fmla="*/ 2073956 h 2073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53955" h="2073955">
                  <a:moveTo>
                    <a:pt x="5934" y="2073956"/>
                  </a:moveTo>
                  <a:cubicBezTo>
                    <a:pt x="5934" y="2073956"/>
                    <a:pt x="5934" y="2073956"/>
                    <a:pt x="5934" y="2073956"/>
                  </a:cubicBezTo>
                  <a:cubicBezTo>
                    <a:pt x="0" y="2070989"/>
                    <a:pt x="0" y="2068022"/>
                    <a:pt x="0" y="2065055"/>
                  </a:cubicBezTo>
                  <a:lnTo>
                    <a:pt x="320439" y="1252088"/>
                  </a:lnTo>
                  <a:cubicBezTo>
                    <a:pt x="326374" y="1237253"/>
                    <a:pt x="329342" y="1219450"/>
                    <a:pt x="332308" y="1201648"/>
                  </a:cubicBezTo>
                  <a:lnTo>
                    <a:pt x="400549" y="412417"/>
                  </a:lnTo>
                  <a:lnTo>
                    <a:pt x="442089" y="5934"/>
                  </a:lnTo>
                  <a:cubicBezTo>
                    <a:pt x="442089" y="2967"/>
                    <a:pt x="445055" y="0"/>
                    <a:pt x="448023" y="0"/>
                  </a:cubicBezTo>
                  <a:cubicBezTo>
                    <a:pt x="450989" y="0"/>
                    <a:pt x="453956" y="2967"/>
                    <a:pt x="453956" y="5934"/>
                  </a:cubicBezTo>
                  <a:lnTo>
                    <a:pt x="412418" y="412417"/>
                  </a:lnTo>
                  <a:lnTo>
                    <a:pt x="344177" y="1201648"/>
                  </a:lnTo>
                  <a:cubicBezTo>
                    <a:pt x="341209" y="1219450"/>
                    <a:pt x="338243" y="1237253"/>
                    <a:pt x="332308" y="1255055"/>
                  </a:cubicBezTo>
                  <a:lnTo>
                    <a:pt x="11869" y="2068022"/>
                  </a:lnTo>
                  <a:cubicBezTo>
                    <a:pt x="11869" y="2073956"/>
                    <a:pt x="8901" y="2073956"/>
                    <a:pt x="5934" y="2073956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6DD6DC45-0B18-4B6E-B415-6768012CD0EF}"/>
                </a:ext>
              </a:extLst>
            </p:cNvPr>
            <p:cNvSpPr/>
            <p:nvPr/>
          </p:nvSpPr>
          <p:spPr>
            <a:xfrm>
              <a:off x="19205635" y="4134351"/>
              <a:ext cx="175055" cy="183956"/>
            </a:xfrm>
            <a:custGeom>
              <a:avLst/>
              <a:gdLst>
                <a:gd name="connsiteX0" fmla="*/ 5934 w 175055"/>
                <a:gd name="connsiteY0" fmla="*/ 183956 h 183956"/>
                <a:gd name="connsiteX1" fmla="*/ 0 w 175055"/>
                <a:gd name="connsiteY1" fmla="*/ 180989 h 183956"/>
                <a:gd name="connsiteX2" fmla="*/ 2966 w 175055"/>
                <a:gd name="connsiteY2" fmla="*/ 175055 h 183956"/>
                <a:gd name="connsiteX3" fmla="*/ 166153 w 175055"/>
                <a:gd name="connsiteY3" fmla="*/ 2967 h 183956"/>
                <a:gd name="connsiteX4" fmla="*/ 172088 w 175055"/>
                <a:gd name="connsiteY4" fmla="*/ 0 h 183956"/>
                <a:gd name="connsiteX5" fmla="*/ 175056 w 175055"/>
                <a:gd name="connsiteY5" fmla="*/ 5934 h 183956"/>
                <a:gd name="connsiteX6" fmla="*/ 5934 w 175055"/>
                <a:gd name="connsiteY6" fmla="*/ 183956 h 183956"/>
                <a:gd name="connsiteX7" fmla="*/ 5934 w 175055"/>
                <a:gd name="connsiteY7" fmla="*/ 183956 h 183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055" h="183956">
                  <a:moveTo>
                    <a:pt x="5934" y="183956"/>
                  </a:moveTo>
                  <a:cubicBezTo>
                    <a:pt x="2966" y="183956"/>
                    <a:pt x="0" y="180989"/>
                    <a:pt x="0" y="180989"/>
                  </a:cubicBezTo>
                  <a:cubicBezTo>
                    <a:pt x="0" y="178022"/>
                    <a:pt x="0" y="175055"/>
                    <a:pt x="2966" y="175055"/>
                  </a:cubicBezTo>
                  <a:cubicBezTo>
                    <a:pt x="112747" y="145385"/>
                    <a:pt x="163187" y="5934"/>
                    <a:pt x="166153" y="2967"/>
                  </a:cubicBezTo>
                  <a:cubicBezTo>
                    <a:pt x="166153" y="0"/>
                    <a:pt x="169121" y="0"/>
                    <a:pt x="172088" y="0"/>
                  </a:cubicBezTo>
                  <a:cubicBezTo>
                    <a:pt x="175056" y="0"/>
                    <a:pt x="175056" y="2967"/>
                    <a:pt x="175056" y="5934"/>
                  </a:cubicBezTo>
                  <a:cubicBezTo>
                    <a:pt x="175056" y="11868"/>
                    <a:pt x="121648" y="151319"/>
                    <a:pt x="5934" y="183956"/>
                  </a:cubicBezTo>
                  <a:cubicBezTo>
                    <a:pt x="8901" y="183956"/>
                    <a:pt x="5934" y="183956"/>
                    <a:pt x="5934" y="183956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33053CB9-23CE-4EFD-ABA1-E751451E54A7}"/>
                </a:ext>
              </a:extLst>
            </p:cNvPr>
            <p:cNvSpPr/>
            <p:nvPr/>
          </p:nvSpPr>
          <p:spPr>
            <a:xfrm>
              <a:off x="19914757" y="4131384"/>
              <a:ext cx="169119" cy="189890"/>
            </a:xfrm>
            <a:custGeom>
              <a:avLst/>
              <a:gdLst>
                <a:gd name="connsiteX0" fmla="*/ 163187 w 169119"/>
                <a:gd name="connsiteY0" fmla="*/ 189890 h 189890"/>
                <a:gd name="connsiteX1" fmla="*/ 163187 w 169119"/>
                <a:gd name="connsiteY1" fmla="*/ 189890 h 189890"/>
                <a:gd name="connsiteX2" fmla="*/ 0 w 169119"/>
                <a:gd name="connsiteY2" fmla="*/ 8901 h 189890"/>
                <a:gd name="connsiteX3" fmla="*/ 2966 w 169119"/>
                <a:gd name="connsiteY3" fmla="*/ 0 h 189890"/>
                <a:gd name="connsiteX4" fmla="*/ 11867 w 169119"/>
                <a:gd name="connsiteY4" fmla="*/ 2967 h 189890"/>
                <a:gd name="connsiteX5" fmla="*/ 166153 w 169119"/>
                <a:gd name="connsiteY5" fmla="*/ 178022 h 189890"/>
                <a:gd name="connsiteX6" fmla="*/ 169119 w 169119"/>
                <a:gd name="connsiteY6" fmla="*/ 183956 h 189890"/>
                <a:gd name="connsiteX7" fmla="*/ 163187 w 169119"/>
                <a:gd name="connsiteY7" fmla="*/ 189890 h 189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119" h="189890">
                  <a:moveTo>
                    <a:pt x="163187" y="189890"/>
                  </a:moveTo>
                  <a:cubicBezTo>
                    <a:pt x="163187" y="189890"/>
                    <a:pt x="163187" y="189890"/>
                    <a:pt x="163187" y="189890"/>
                  </a:cubicBezTo>
                  <a:cubicBezTo>
                    <a:pt x="83077" y="157253"/>
                    <a:pt x="2966" y="14835"/>
                    <a:pt x="0" y="8901"/>
                  </a:cubicBezTo>
                  <a:cubicBezTo>
                    <a:pt x="0" y="5934"/>
                    <a:pt x="0" y="2967"/>
                    <a:pt x="2966" y="0"/>
                  </a:cubicBezTo>
                  <a:cubicBezTo>
                    <a:pt x="5933" y="0"/>
                    <a:pt x="8901" y="0"/>
                    <a:pt x="11867" y="2967"/>
                  </a:cubicBezTo>
                  <a:cubicBezTo>
                    <a:pt x="11867" y="2967"/>
                    <a:pt x="91977" y="148352"/>
                    <a:pt x="166153" y="178022"/>
                  </a:cubicBezTo>
                  <a:cubicBezTo>
                    <a:pt x="169119" y="178022"/>
                    <a:pt x="169119" y="180989"/>
                    <a:pt x="169119" y="183956"/>
                  </a:cubicBezTo>
                  <a:cubicBezTo>
                    <a:pt x="169119" y="189890"/>
                    <a:pt x="166153" y="189890"/>
                    <a:pt x="163187" y="189890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39182542-4405-4DD9-835E-B0C9EE501C2E}"/>
                </a:ext>
              </a:extLst>
            </p:cNvPr>
            <p:cNvSpPr/>
            <p:nvPr/>
          </p:nvSpPr>
          <p:spPr>
            <a:xfrm>
              <a:off x="19422228" y="2371067"/>
              <a:ext cx="411267" cy="553045"/>
            </a:xfrm>
            <a:custGeom>
              <a:avLst/>
              <a:gdLst>
                <a:gd name="connsiteX0" fmla="*/ 403518 w 411267"/>
                <a:gd name="connsiteY0" fmla="*/ 178888 h 553045"/>
                <a:gd name="connsiteX1" fmla="*/ 391649 w 411267"/>
                <a:gd name="connsiteY1" fmla="*/ 428119 h 553045"/>
                <a:gd name="connsiteX2" fmla="*/ 246263 w 411267"/>
                <a:gd name="connsiteY2" fmla="*/ 552734 h 553045"/>
                <a:gd name="connsiteX3" fmla="*/ 35605 w 411267"/>
                <a:gd name="connsiteY3" fmla="*/ 413284 h 553045"/>
                <a:gd name="connsiteX4" fmla="*/ 0 w 411267"/>
                <a:gd name="connsiteY4" fmla="*/ 193723 h 553045"/>
                <a:gd name="connsiteX5" fmla="*/ 207692 w 411267"/>
                <a:gd name="connsiteY5" fmla="*/ 866 h 553045"/>
                <a:gd name="connsiteX6" fmla="*/ 403518 w 411267"/>
                <a:gd name="connsiteY6" fmla="*/ 178888 h 553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1267" h="553045">
                  <a:moveTo>
                    <a:pt x="403518" y="178888"/>
                  </a:moveTo>
                  <a:cubicBezTo>
                    <a:pt x="403518" y="178888"/>
                    <a:pt x="427253" y="362844"/>
                    <a:pt x="391649" y="428119"/>
                  </a:cubicBezTo>
                  <a:cubicBezTo>
                    <a:pt x="356044" y="493393"/>
                    <a:pt x="296703" y="549767"/>
                    <a:pt x="246263" y="552734"/>
                  </a:cubicBezTo>
                  <a:cubicBezTo>
                    <a:pt x="180990" y="558668"/>
                    <a:pt x="71210" y="478558"/>
                    <a:pt x="35605" y="413284"/>
                  </a:cubicBezTo>
                  <a:cubicBezTo>
                    <a:pt x="0" y="348009"/>
                    <a:pt x="0" y="244163"/>
                    <a:pt x="0" y="193723"/>
                  </a:cubicBezTo>
                  <a:cubicBezTo>
                    <a:pt x="2968" y="101745"/>
                    <a:pt x="29670" y="24602"/>
                    <a:pt x="207692" y="866"/>
                  </a:cubicBezTo>
                  <a:cubicBezTo>
                    <a:pt x="293737" y="-11002"/>
                    <a:pt x="385714" y="101745"/>
                    <a:pt x="403518" y="178888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5F50AB02-106C-402C-88FE-6C9D0562918B}"/>
                </a:ext>
              </a:extLst>
            </p:cNvPr>
            <p:cNvSpPr/>
            <p:nvPr/>
          </p:nvSpPr>
          <p:spPr>
            <a:xfrm>
              <a:off x="19644756" y="2633032"/>
              <a:ext cx="53406" cy="127582"/>
            </a:xfrm>
            <a:custGeom>
              <a:avLst/>
              <a:gdLst>
                <a:gd name="connsiteX0" fmla="*/ 29670 w 53406"/>
                <a:gd name="connsiteY0" fmla="*/ 127582 h 127582"/>
                <a:gd name="connsiteX1" fmla="*/ 5934 w 53406"/>
                <a:gd name="connsiteY1" fmla="*/ 124615 h 127582"/>
                <a:gd name="connsiteX2" fmla="*/ 0 w 53406"/>
                <a:gd name="connsiteY2" fmla="*/ 118681 h 127582"/>
                <a:gd name="connsiteX3" fmla="*/ 5934 w 53406"/>
                <a:gd name="connsiteY3" fmla="*/ 112747 h 127582"/>
                <a:gd name="connsiteX4" fmla="*/ 44505 w 53406"/>
                <a:gd name="connsiteY4" fmla="*/ 112747 h 127582"/>
                <a:gd name="connsiteX5" fmla="*/ 44505 w 53406"/>
                <a:gd name="connsiteY5" fmla="*/ 109780 h 127582"/>
                <a:gd name="connsiteX6" fmla="*/ 17803 w 53406"/>
                <a:gd name="connsiteY6" fmla="*/ 5934 h 127582"/>
                <a:gd name="connsiteX7" fmla="*/ 20770 w 53406"/>
                <a:gd name="connsiteY7" fmla="*/ 0 h 127582"/>
                <a:gd name="connsiteX8" fmla="*/ 26704 w 53406"/>
                <a:gd name="connsiteY8" fmla="*/ 2967 h 127582"/>
                <a:gd name="connsiteX9" fmla="*/ 53406 w 53406"/>
                <a:gd name="connsiteY9" fmla="*/ 109780 h 127582"/>
                <a:gd name="connsiteX10" fmla="*/ 47474 w 53406"/>
                <a:gd name="connsiteY10" fmla="*/ 121648 h 127582"/>
                <a:gd name="connsiteX11" fmla="*/ 29670 w 53406"/>
                <a:gd name="connsiteY11" fmla="*/ 127582 h 127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406" h="127582">
                  <a:moveTo>
                    <a:pt x="29670" y="127582"/>
                  </a:moveTo>
                  <a:cubicBezTo>
                    <a:pt x="17803" y="127582"/>
                    <a:pt x="8901" y="124615"/>
                    <a:pt x="5934" y="124615"/>
                  </a:cubicBezTo>
                  <a:cubicBezTo>
                    <a:pt x="2968" y="124615"/>
                    <a:pt x="0" y="121648"/>
                    <a:pt x="0" y="118681"/>
                  </a:cubicBezTo>
                  <a:cubicBezTo>
                    <a:pt x="0" y="115714"/>
                    <a:pt x="2968" y="112747"/>
                    <a:pt x="5934" y="112747"/>
                  </a:cubicBezTo>
                  <a:cubicBezTo>
                    <a:pt x="17803" y="115714"/>
                    <a:pt x="38571" y="115714"/>
                    <a:pt x="44505" y="112747"/>
                  </a:cubicBezTo>
                  <a:cubicBezTo>
                    <a:pt x="44505" y="112747"/>
                    <a:pt x="44505" y="109780"/>
                    <a:pt x="44505" y="109780"/>
                  </a:cubicBezTo>
                  <a:cubicBezTo>
                    <a:pt x="44505" y="94945"/>
                    <a:pt x="23736" y="29670"/>
                    <a:pt x="17803" y="5934"/>
                  </a:cubicBezTo>
                  <a:cubicBezTo>
                    <a:pt x="17803" y="2967"/>
                    <a:pt x="17803" y="0"/>
                    <a:pt x="20770" y="0"/>
                  </a:cubicBezTo>
                  <a:cubicBezTo>
                    <a:pt x="23736" y="0"/>
                    <a:pt x="26704" y="0"/>
                    <a:pt x="26704" y="2967"/>
                  </a:cubicBezTo>
                  <a:cubicBezTo>
                    <a:pt x="26704" y="5934"/>
                    <a:pt x="53406" y="89011"/>
                    <a:pt x="53406" y="109780"/>
                  </a:cubicBezTo>
                  <a:cubicBezTo>
                    <a:pt x="53406" y="115714"/>
                    <a:pt x="50440" y="118681"/>
                    <a:pt x="47474" y="121648"/>
                  </a:cubicBezTo>
                  <a:cubicBezTo>
                    <a:pt x="47474" y="124615"/>
                    <a:pt x="38571" y="127582"/>
                    <a:pt x="29670" y="127582"/>
                  </a:cubicBezTo>
                  <a:close/>
                </a:path>
              </a:pathLst>
            </a:custGeom>
            <a:solidFill>
              <a:srgbClr val="E58777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8EA2BE6E-EE42-4808-8595-4FA04F6C438C}"/>
                </a:ext>
              </a:extLst>
            </p:cNvPr>
            <p:cNvSpPr/>
            <p:nvPr/>
          </p:nvSpPr>
          <p:spPr>
            <a:xfrm>
              <a:off x="19615085" y="2808087"/>
              <a:ext cx="103846" cy="53406"/>
            </a:xfrm>
            <a:custGeom>
              <a:avLst/>
              <a:gdLst>
                <a:gd name="connsiteX0" fmla="*/ 0 w 103846"/>
                <a:gd name="connsiteY0" fmla="*/ 0 h 53406"/>
                <a:gd name="connsiteX1" fmla="*/ 103846 w 103846"/>
                <a:gd name="connsiteY1" fmla="*/ 0 h 53406"/>
                <a:gd name="connsiteX2" fmla="*/ 53406 w 103846"/>
                <a:gd name="connsiteY2" fmla="*/ 53407 h 53406"/>
                <a:gd name="connsiteX3" fmla="*/ 0 w 103846"/>
                <a:gd name="connsiteY3" fmla="*/ 0 h 53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46" h="53406">
                  <a:moveTo>
                    <a:pt x="0" y="0"/>
                  </a:moveTo>
                  <a:cubicBezTo>
                    <a:pt x="53406" y="23736"/>
                    <a:pt x="103846" y="0"/>
                    <a:pt x="103846" y="0"/>
                  </a:cubicBezTo>
                  <a:cubicBezTo>
                    <a:pt x="103846" y="0"/>
                    <a:pt x="89011" y="53407"/>
                    <a:pt x="53406" y="53407"/>
                  </a:cubicBezTo>
                  <a:cubicBezTo>
                    <a:pt x="14835" y="5340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4994382E-F83F-44BB-AA4D-75125615426D}"/>
                </a:ext>
              </a:extLst>
            </p:cNvPr>
            <p:cNvSpPr/>
            <p:nvPr/>
          </p:nvSpPr>
          <p:spPr>
            <a:xfrm>
              <a:off x="19733011" y="2605573"/>
              <a:ext cx="39909" cy="39909"/>
            </a:xfrm>
            <a:custGeom>
              <a:avLst/>
              <a:gdLst>
                <a:gd name="connsiteX0" fmla="*/ 756 w 39909"/>
                <a:gd name="connsiteY0" fmla="*/ 24492 h 39909"/>
                <a:gd name="connsiteX1" fmla="*/ 24492 w 39909"/>
                <a:gd name="connsiteY1" fmla="*/ 39328 h 39909"/>
                <a:gd name="connsiteX2" fmla="*/ 39327 w 39909"/>
                <a:gd name="connsiteY2" fmla="*/ 15591 h 39909"/>
                <a:gd name="connsiteX3" fmla="*/ 15591 w 39909"/>
                <a:gd name="connsiteY3" fmla="*/ 756 h 39909"/>
                <a:gd name="connsiteX4" fmla="*/ 756 w 39909"/>
                <a:gd name="connsiteY4" fmla="*/ 24492 h 3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39909">
                  <a:moveTo>
                    <a:pt x="756" y="24492"/>
                  </a:moveTo>
                  <a:cubicBezTo>
                    <a:pt x="3724" y="33393"/>
                    <a:pt x="12625" y="42295"/>
                    <a:pt x="24492" y="39328"/>
                  </a:cubicBezTo>
                  <a:cubicBezTo>
                    <a:pt x="33394" y="36360"/>
                    <a:pt x="42295" y="27459"/>
                    <a:pt x="39327" y="15591"/>
                  </a:cubicBezTo>
                  <a:cubicBezTo>
                    <a:pt x="36361" y="3723"/>
                    <a:pt x="27460" y="-2211"/>
                    <a:pt x="15591" y="756"/>
                  </a:cubicBezTo>
                  <a:cubicBezTo>
                    <a:pt x="3724" y="3723"/>
                    <a:pt x="-2211" y="12624"/>
                    <a:pt x="756" y="24492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7995A1BE-5C8E-4A1C-9010-C1C59F0E6BF9}"/>
                </a:ext>
              </a:extLst>
            </p:cNvPr>
            <p:cNvSpPr/>
            <p:nvPr/>
          </p:nvSpPr>
          <p:spPr>
            <a:xfrm>
              <a:off x="19546844" y="2611507"/>
              <a:ext cx="39327" cy="40083"/>
            </a:xfrm>
            <a:custGeom>
              <a:avLst/>
              <a:gdLst>
                <a:gd name="connsiteX0" fmla="*/ 0 w 39327"/>
                <a:gd name="connsiteY0" fmla="*/ 24492 h 40083"/>
                <a:gd name="connsiteX1" fmla="*/ 23736 w 39327"/>
                <a:gd name="connsiteY1" fmla="*/ 39328 h 40083"/>
                <a:gd name="connsiteX2" fmla="*/ 38571 w 39327"/>
                <a:gd name="connsiteY2" fmla="*/ 15591 h 40083"/>
                <a:gd name="connsiteX3" fmla="*/ 14835 w 39327"/>
                <a:gd name="connsiteY3" fmla="*/ 756 h 40083"/>
                <a:gd name="connsiteX4" fmla="*/ 0 w 39327"/>
                <a:gd name="connsiteY4" fmla="*/ 24492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7" h="40083">
                  <a:moveTo>
                    <a:pt x="0" y="24492"/>
                  </a:moveTo>
                  <a:cubicBezTo>
                    <a:pt x="2966" y="36360"/>
                    <a:pt x="11869" y="42295"/>
                    <a:pt x="23736" y="39328"/>
                  </a:cubicBezTo>
                  <a:cubicBezTo>
                    <a:pt x="35605" y="36360"/>
                    <a:pt x="41539" y="27459"/>
                    <a:pt x="38571" y="15591"/>
                  </a:cubicBezTo>
                  <a:cubicBezTo>
                    <a:pt x="35605" y="3723"/>
                    <a:pt x="26704" y="-2211"/>
                    <a:pt x="14835" y="756"/>
                  </a:cubicBezTo>
                  <a:cubicBezTo>
                    <a:pt x="5934" y="3723"/>
                    <a:pt x="0" y="12624"/>
                    <a:pt x="0" y="24492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8FE10BE1-9691-4946-8131-3DD860553EBB}"/>
                </a:ext>
              </a:extLst>
            </p:cNvPr>
            <p:cNvSpPr/>
            <p:nvPr/>
          </p:nvSpPr>
          <p:spPr>
            <a:xfrm>
              <a:off x="19708802" y="2561823"/>
              <a:ext cx="89498" cy="29670"/>
            </a:xfrm>
            <a:custGeom>
              <a:avLst/>
              <a:gdLst>
                <a:gd name="connsiteX0" fmla="*/ 81339 w 89498"/>
                <a:gd name="connsiteY0" fmla="*/ 29670 h 29670"/>
                <a:gd name="connsiteX1" fmla="*/ 75405 w 89498"/>
                <a:gd name="connsiteY1" fmla="*/ 26703 h 29670"/>
                <a:gd name="connsiteX2" fmla="*/ 10129 w 89498"/>
                <a:gd name="connsiteY2" fmla="*/ 20769 h 29670"/>
                <a:gd name="connsiteX3" fmla="*/ 1229 w 89498"/>
                <a:gd name="connsiteY3" fmla="*/ 17802 h 29670"/>
                <a:gd name="connsiteX4" fmla="*/ 4195 w 89498"/>
                <a:gd name="connsiteY4" fmla="*/ 8901 h 29670"/>
                <a:gd name="connsiteX5" fmla="*/ 87273 w 89498"/>
                <a:gd name="connsiteY5" fmla="*/ 17802 h 29670"/>
                <a:gd name="connsiteX6" fmla="*/ 87273 w 89498"/>
                <a:gd name="connsiteY6" fmla="*/ 29670 h 29670"/>
                <a:gd name="connsiteX7" fmla="*/ 81339 w 89498"/>
                <a:gd name="connsiteY7" fmla="*/ 29670 h 29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29670">
                  <a:moveTo>
                    <a:pt x="81339" y="29670"/>
                  </a:moveTo>
                  <a:cubicBezTo>
                    <a:pt x="78371" y="29670"/>
                    <a:pt x="78371" y="29670"/>
                    <a:pt x="75405" y="26703"/>
                  </a:cubicBezTo>
                  <a:cubicBezTo>
                    <a:pt x="51669" y="0"/>
                    <a:pt x="13098" y="17802"/>
                    <a:pt x="10129" y="20769"/>
                  </a:cubicBezTo>
                  <a:cubicBezTo>
                    <a:pt x="7163" y="23736"/>
                    <a:pt x="1229" y="20769"/>
                    <a:pt x="1229" y="17802"/>
                  </a:cubicBezTo>
                  <a:cubicBezTo>
                    <a:pt x="-1738" y="14835"/>
                    <a:pt x="1229" y="8901"/>
                    <a:pt x="4195" y="8901"/>
                  </a:cubicBezTo>
                  <a:cubicBezTo>
                    <a:pt x="21998" y="0"/>
                    <a:pt x="60569" y="-8901"/>
                    <a:pt x="87273" y="17802"/>
                  </a:cubicBezTo>
                  <a:cubicBezTo>
                    <a:pt x="90240" y="20769"/>
                    <a:pt x="90240" y="26703"/>
                    <a:pt x="87273" y="29670"/>
                  </a:cubicBezTo>
                  <a:cubicBezTo>
                    <a:pt x="84305" y="26703"/>
                    <a:pt x="81339" y="29670"/>
                    <a:pt x="81339" y="29670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674CA74D-E161-49D9-B2DE-FAF08C328B87}"/>
                </a:ext>
              </a:extLst>
            </p:cNvPr>
            <p:cNvSpPr/>
            <p:nvPr/>
          </p:nvSpPr>
          <p:spPr>
            <a:xfrm>
              <a:off x="19520882" y="2556878"/>
              <a:ext cx="89498" cy="34615"/>
            </a:xfrm>
            <a:custGeom>
              <a:avLst/>
              <a:gdLst>
                <a:gd name="connsiteX0" fmla="*/ 8161 w 89498"/>
                <a:gd name="connsiteY0" fmla="*/ 34615 h 34615"/>
                <a:gd name="connsiteX1" fmla="*/ 2226 w 89498"/>
                <a:gd name="connsiteY1" fmla="*/ 31648 h 34615"/>
                <a:gd name="connsiteX2" fmla="*/ 2226 w 89498"/>
                <a:gd name="connsiteY2" fmla="*/ 19780 h 34615"/>
                <a:gd name="connsiteX3" fmla="*/ 85303 w 89498"/>
                <a:gd name="connsiteY3" fmla="*/ 10879 h 34615"/>
                <a:gd name="connsiteX4" fmla="*/ 88269 w 89498"/>
                <a:gd name="connsiteY4" fmla="*/ 22747 h 34615"/>
                <a:gd name="connsiteX5" fmla="*/ 76402 w 89498"/>
                <a:gd name="connsiteY5" fmla="*/ 25714 h 34615"/>
                <a:gd name="connsiteX6" fmla="*/ 11127 w 89498"/>
                <a:gd name="connsiteY6" fmla="*/ 31648 h 34615"/>
                <a:gd name="connsiteX7" fmla="*/ 8161 w 89498"/>
                <a:gd name="connsiteY7" fmla="*/ 34615 h 3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4615">
                  <a:moveTo>
                    <a:pt x="8161" y="34615"/>
                  </a:moveTo>
                  <a:cubicBezTo>
                    <a:pt x="5192" y="34615"/>
                    <a:pt x="5192" y="34615"/>
                    <a:pt x="2226" y="31648"/>
                  </a:cubicBezTo>
                  <a:cubicBezTo>
                    <a:pt x="-742" y="28681"/>
                    <a:pt x="-742" y="22747"/>
                    <a:pt x="2226" y="19780"/>
                  </a:cubicBezTo>
                  <a:cubicBezTo>
                    <a:pt x="14093" y="7912"/>
                    <a:pt x="49698" y="-12857"/>
                    <a:pt x="85303" y="10879"/>
                  </a:cubicBezTo>
                  <a:cubicBezTo>
                    <a:pt x="88269" y="13846"/>
                    <a:pt x="91237" y="16813"/>
                    <a:pt x="88269" y="22747"/>
                  </a:cubicBezTo>
                  <a:cubicBezTo>
                    <a:pt x="85303" y="25714"/>
                    <a:pt x="82336" y="28681"/>
                    <a:pt x="76402" y="25714"/>
                  </a:cubicBezTo>
                  <a:cubicBezTo>
                    <a:pt x="40797" y="1978"/>
                    <a:pt x="14093" y="31648"/>
                    <a:pt x="11127" y="31648"/>
                  </a:cubicBezTo>
                  <a:cubicBezTo>
                    <a:pt x="14093" y="34615"/>
                    <a:pt x="11127" y="34615"/>
                    <a:pt x="8161" y="34615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5F23176B-8DD0-4FEF-8561-D6E2F5EF7C13}"/>
                </a:ext>
              </a:extLst>
            </p:cNvPr>
            <p:cNvSpPr/>
            <p:nvPr/>
          </p:nvSpPr>
          <p:spPr>
            <a:xfrm>
              <a:off x="19583380" y="2339607"/>
              <a:ext cx="269287" cy="251886"/>
            </a:xfrm>
            <a:custGeom>
              <a:avLst/>
              <a:gdLst>
                <a:gd name="connsiteX0" fmla="*/ 2035 w 269287"/>
                <a:gd name="connsiteY0" fmla="*/ 2656 h 251886"/>
                <a:gd name="connsiteX1" fmla="*/ 37640 w 269287"/>
                <a:gd name="connsiteY1" fmla="*/ 127271 h 251886"/>
                <a:gd name="connsiteX2" fmla="*/ 269068 w 269287"/>
                <a:gd name="connsiteY2" fmla="*/ 251887 h 251886"/>
                <a:gd name="connsiteX3" fmla="*/ 2035 w 269287"/>
                <a:gd name="connsiteY3" fmla="*/ 2656 h 251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287" h="251886">
                  <a:moveTo>
                    <a:pt x="2035" y="2656"/>
                  </a:moveTo>
                  <a:cubicBezTo>
                    <a:pt x="2035" y="2656"/>
                    <a:pt x="-12800" y="88700"/>
                    <a:pt x="37640" y="127271"/>
                  </a:cubicBezTo>
                  <a:cubicBezTo>
                    <a:pt x="37640" y="127271"/>
                    <a:pt x="242366" y="168810"/>
                    <a:pt x="269068" y="251887"/>
                  </a:cubicBezTo>
                  <a:cubicBezTo>
                    <a:pt x="269068" y="248920"/>
                    <a:pt x="286871" y="-29982"/>
                    <a:pt x="2035" y="2656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C5C19757-71DF-4A5D-9D12-04039FBA4974}"/>
                </a:ext>
              </a:extLst>
            </p:cNvPr>
            <p:cNvSpPr/>
            <p:nvPr/>
          </p:nvSpPr>
          <p:spPr>
            <a:xfrm>
              <a:off x="19402778" y="2339296"/>
              <a:ext cx="218242" cy="306085"/>
            </a:xfrm>
            <a:custGeom>
              <a:avLst/>
              <a:gdLst>
                <a:gd name="connsiteX0" fmla="*/ 218242 w 218242"/>
                <a:gd name="connsiteY0" fmla="*/ 124615 h 306085"/>
                <a:gd name="connsiteX1" fmla="*/ 81759 w 218242"/>
                <a:gd name="connsiteY1" fmla="*/ 178022 h 306085"/>
                <a:gd name="connsiteX2" fmla="*/ 25385 w 218242"/>
                <a:gd name="connsiteY2" fmla="*/ 293736 h 306085"/>
                <a:gd name="connsiteX3" fmla="*/ 1649 w 218242"/>
                <a:gd name="connsiteY3" fmla="*/ 290769 h 306085"/>
                <a:gd name="connsiteX4" fmla="*/ 185605 w 218242"/>
                <a:gd name="connsiteY4" fmla="*/ 0 h 306085"/>
                <a:gd name="connsiteX5" fmla="*/ 218242 w 218242"/>
                <a:gd name="connsiteY5" fmla="*/ 124615 h 306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8242" h="306085">
                  <a:moveTo>
                    <a:pt x="218242" y="124615"/>
                  </a:moveTo>
                  <a:cubicBezTo>
                    <a:pt x="218242" y="124615"/>
                    <a:pt x="129231" y="172088"/>
                    <a:pt x="81759" y="178022"/>
                  </a:cubicBezTo>
                  <a:cubicBezTo>
                    <a:pt x="31319" y="183956"/>
                    <a:pt x="25385" y="293736"/>
                    <a:pt x="25385" y="293736"/>
                  </a:cubicBezTo>
                  <a:cubicBezTo>
                    <a:pt x="25385" y="293736"/>
                    <a:pt x="4615" y="323407"/>
                    <a:pt x="1649" y="290769"/>
                  </a:cubicBezTo>
                  <a:cubicBezTo>
                    <a:pt x="-4285" y="213626"/>
                    <a:pt x="-4285" y="20769"/>
                    <a:pt x="185605" y="0"/>
                  </a:cubicBezTo>
                  <a:cubicBezTo>
                    <a:pt x="182637" y="2967"/>
                    <a:pt x="194506" y="121648"/>
                    <a:pt x="218242" y="124615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BD7AE519-DFAB-40FB-B0A1-B4C7F7CF8FAA}"/>
                </a:ext>
              </a:extLst>
            </p:cNvPr>
            <p:cNvSpPr/>
            <p:nvPr/>
          </p:nvSpPr>
          <p:spPr>
            <a:xfrm>
              <a:off x="19388265" y="2619719"/>
              <a:ext cx="75502" cy="110991"/>
            </a:xfrm>
            <a:custGeom>
              <a:avLst/>
              <a:gdLst>
                <a:gd name="connsiteX0" fmla="*/ 63634 w 75502"/>
                <a:gd name="connsiteY0" fmla="*/ 16280 h 110991"/>
                <a:gd name="connsiteX1" fmla="*/ 7261 w 75502"/>
                <a:gd name="connsiteY1" fmla="*/ 7379 h 110991"/>
                <a:gd name="connsiteX2" fmla="*/ 63634 w 75502"/>
                <a:gd name="connsiteY2" fmla="*/ 108258 h 110991"/>
                <a:gd name="connsiteX3" fmla="*/ 63634 w 75502"/>
                <a:gd name="connsiteY3" fmla="*/ 16280 h 11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502" h="110991">
                  <a:moveTo>
                    <a:pt x="63634" y="16280"/>
                  </a:moveTo>
                  <a:cubicBezTo>
                    <a:pt x="63634" y="16280"/>
                    <a:pt x="30997" y="-13390"/>
                    <a:pt x="7261" y="7379"/>
                  </a:cubicBezTo>
                  <a:cubicBezTo>
                    <a:pt x="-16477" y="25181"/>
                    <a:pt x="22096" y="129027"/>
                    <a:pt x="63634" y="108258"/>
                  </a:cubicBezTo>
                  <a:cubicBezTo>
                    <a:pt x="90338" y="87489"/>
                    <a:pt x="63634" y="16280"/>
                    <a:pt x="63634" y="16280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846CAF3E-5258-40EF-BA7F-BD366004C8C8}"/>
                </a:ext>
              </a:extLst>
            </p:cNvPr>
            <p:cNvSpPr/>
            <p:nvPr/>
          </p:nvSpPr>
          <p:spPr>
            <a:xfrm>
              <a:off x="19793518" y="3039519"/>
              <a:ext cx="391237" cy="409447"/>
            </a:xfrm>
            <a:custGeom>
              <a:avLst/>
              <a:gdLst>
                <a:gd name="connsiteX0" fmla="*/ 50029 w 391237"/>
                <a:gd name="connsiteY0" fmla="*/ 409447 h 409447"/>
                <a:gd name="connsiteX1" fmla="*/ 55963 w 391237"/>
                <a:gd name="connsiteY1" fmla="*/ 14832 h 409447"/>
                <a:gd name="connsiteX2" fmla="*/ 391238 w 391237"/>
                <a:gd name="connsiteY2" fmla="*/ 284832 h 409447"/>
                <a:gd name="connsiteX3" fmla="*/ 50029 w 391237"/>
                <a:gd name="connsiteY3" fmla="*/ 409447 h 409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1237" h="409447">
                  <a:moveTo>
                    <a:pt x="50029" y="409447"/>
                  </a:moveTo>
                  <a:cubicBezTo>
                    <a:pt x="-30081" y="249227"/>
                    <a:pt x="-3377" y="62304"/>
                    <a:pt x="55963" y="14832"/>
                  </a:cubicBezTo>
                  <a:cubicBezTo>
                    <a:pt x="136074" y="-47476"/>
                    <a:pt x="322996" y="94942"/>
                    <a:pt x="391238" y="284832"/>
                  </a:cubicBezTo>
                  <a:cubicBezTo>
                    <a:pt x="349698" y="344172"/>
                    <a:pt x="147941" y="397579"/>
                    <a:pt x="50029" y="409447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D02E08FC-FC5C-4A05-AA0B-17CC777FB1DB}"/>
                </a:ext>
              </a:extLst>
            </p:cNvPr>
            <p:cNvSpPr/>
            <p:nvPr/>
          </p:nvSpPr>
          <p:spPr>
            <a:xfrm>
              <a:off x="19251584" y="2987698"/>
              <a:ext cx="798578" cy="959817"/>
            </a:xfrm>
            <a:custGeom>
              <a:avLst/>
              <a:gdLst>
                <a:gd name="connsiteX0" fmla="*/ 43062 w 798578"/>
                <a:gd name="connsiteY0" fmla="*/ 381158 h 959817"/>
                <a:gd name="connsiteX1" fmla="*/ 57897 w 798578"/>
                <a:gd name="connsiteY1" fmla="*/ 66653 h 959817"/>
                <a:gd name="connsiteX2" fmla="*/ 416908 w 798578"/>
                <a:gd name="connsiteY2" fmla="*/ 4345 h 959817"/>
                <a:gd name="connsiteX3" fmla="*/ 710645 w 798578"/>
                <a:gd name="connsiteY3" fmla="*/ 102257 h 959817"/>
                <a:gd name="connsiteX4" fmla="*/ 749216 w 798578"/>
                <a:gd name="connsiteY4" fmla="*/ 636323 h 959817"/>
                <a:gd name="connsiteX5" fmla="*/ 707678 w 798578"/>
                <a:gd name="connsiteY5" fmla="*/ 953795 h 959817"/>
                <a:gd name="connsiteX6" fmla="*/ 48997 w 798578"/>
                <a:gd name="connsiteY6" fmla="*/ 938960 h 959817"/>
                <a:gd name="connsiteX7" fmla="*/ 43062 w 798578"/>
                <a:gd name="connsiteY7" fmla="*/ 381158 h 959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8578" h="959817">
                  <a:moveTo>
                    <a:pt x="43062" y="381158"/>
                  </a:moveTo>
                  <a:cubicBezTo>
                    <a:pt x="34162" y="351488"/>
                    <a:pt x="-57818" y="128960"/>
                    <a:pt x="57897" y="66653"/>
                  </a:cubicBezTo>
                  <a:cubicBezTo>
                    <a:pt x="158777" y="13246"/>
                    <a:pt x="301195" y="-10490"/>
                    <a:pt x="416908" y="4345"/>
                  </a:cubicBezTo>
                  <a:cubicBezTo>
                    <a:pt x="544492" y="19180"/>
                    <a:pt x="672074" y="39949"/>
                    <a:pt x="710645" y="102257"/>
                  </a:cubicBezTo>
                  <a:cubicBezTo>
                    <a:pt x="820425" y="283246"/>
                    <a:pt x="820425" y="443466"/>
                    <a:pt x="749216" y="636323"/>
                  </a:cubicBezTo>
                  <a:cubicBezTo>
                    <a:pt x="728446" y="692697"/>
                    <a:pt x="722514" y="823246"/>
                    <a:pt x="707678" y="953795"/>
                  </a:cubicBezTo>
                  <a:cubicBezTo>
                    <a:pt x="707678" y="953795"/>
                    <a:pt x="431743" y="974565"/>
                    <a:pt x="48997" y="938960"/>
                  </a:cubicBezTo>
                  <a:cubicBezTo>
                    <a:pt x="78667" y="725334"/>
                    <a:pt x="51963" y="404894"/>
                    <a:pt x="43062" y="381158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3CDBC946-0662-4AE0-A9C2-B8E81845F7C4}"/>
                </a:ext>
              </a:extLst>
            </p:cNvPr>
            <p:cNvSpPr/>
            <p:nvPr/>
          </p:nvSpPr>
          <p:spPr>
            <a:xfrm>
              <a:off x="19472668" y="2816894"/>
              <a:ext cx="302637" cy="317566"/>
            </a:xfrm>
            <a:custGeom>
              <a:avLst/>
              <a:gdLst>
                <a:gd name="connsiteX0" fmla="*/ 249232 w 302637"/>
                <a:gd name="connsiteY0" fmla="*/ 59435 h 317566"/>
                <a:gd name="connsiteX1" fmla="*/ 302638 w 302637"/>
                <a:gd name="connsiteY1" fmla="*/ 195918 h 317566"/>
                <a:gd name="connsiteX2" fmla="*/ 189891 w 302637"/>
                <a:gd name="connsiteY2" fmla="*/ 317567 h 317566"/>
                <a:gd name="connsiteX3" fmla="*/ 0 w 302637"/>
                <a:gd name="connsiteY3" fmla="*/ 181083 h 317566"/>
                <a:gd name="connsiteX4" fmla="*/ 50440 w 302637"/>
                <a:gd name="connsiteY4" fmla="*/ 94 h 317566"/>
                <a:gd name="connsiteX5" fmla="*/ 249232 w 302637"/>
                <a:gd name="connsiteY5" fmla="*/ 59435 h 317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637" h="317566">
                  <a:moveTo>
                    <a:pt x="249232" y="59435"/>
                  </a:moveTo>
                  <a:cubicBezTo>
                    <a:pt x="249232" y="59435"/>
                    <a:pt x="243297" y="166248"/>
                    <a:pt x="302638" y="195918"/>
                  </a:cubicBezTo>
                  <a:lnTo>
                    <a:pt x="189891" y="317567"/>
                  </a:lnTo>
                  <a:cubicBezTo>
                    <a:pt x="189891" y="317567"/>
                    <a:pt x="53406" y="210753"/>
                    <a:pt x="0" y="181083"/>
                  </a:cubicBezTo>
                  <a:cubicBezTo>
                    <a:pt x="53406" y="139545"/>
                    <a:pt x="50440" y="59435"/>
                    <a:pt x="50440" y="94"/>
                  </a:cubicBezTo>
                  <a:cubicBezTo>
                    <a:pt x="53406" y="-2873"/>
                    <a:pt x="198792" y="65369"/>
                    <a:pt x="249232" y="59435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E6883EDB-0485-4B0A-868A-5F7DF3FF8F6E}"/>
                </a:ext>
              </a:extLst>
            </p:cNvPr>
            <p:cNvSpPr/>
            <p:nvPr/>
          </p:nvSpPr>
          <p:spPr>
            <a:xfrm>
              <a:off x="19952098" y="3082792"/>
              <a:ext cx="100686" cy="544195"/>
            </a:xfrm>
            <a:custGeom>
              <a:avLst/>
              <a:gdLst>
                <a:gd name="connsiteX0" fmla="*/ 45735 w 100686"/>
                <a:gd name="connsiteY0" fmla="*/ 544196 h 544195"/>
                <a:gd name="connsiteX1" fmla="*/ 45735 w 100686"/>
                <a:gd name="connsiteY1" fmla="*/ 544196 h 544195"/>
                <a:gd name="connsiteX2" fmla="*/ 39801 w 100686"/>
                <a:gd name="connsiteY2" fmla="*/ 538262 h 544195"/>
                <a:gd name="connsiteX3" fmla="*/ 54636 w 100686"/>
                <a:gd name="connsiteY3" fmla="*/ 484855 h 544195"/>
                <a:gd name="connsiteX4" fmla="*/ 87272 w 100686"/>
                <a:gd name="connsiteY4" fmla="*/ 339471 h 544195"/>
                <a:gd name="connsiteX5" fmla="*/ 1229 w 100686"/>
                <a:gd name="connsiteY5" fmla="*/ 10130 h 544195"/>
                <a:gd name="connsiteX6" fmla="*/ 4196 w 100686"/>
                <a:gd name="connsiteY6" fmla="*/ 1229 h 544195"/>
                <a:gd name="connsiteX7" fmla="*/ 13097 w 100686"/>
                <a:gd name="connsiteY7" fmla="*/ 4196 h 544195"/>
                <a:gd name="connsiteX8" fmla="*/ 99141 w 100686"/>
                <a:gd name="connsiteY8" fmla="*/ 339471 h 544195"/>
                <a:gd name="connsiteX9" fmla="*/ 66505 w 100686"/>
                <a:gd name="connsiteY9" fmla="*/ 484855 h 544195"/>
                <a:gd name="connsiteX10" fmla="*/ 51669 w 100686"/>
                <a:gd name="connsiteY10" fmla="*/ 538262 h 544195"/>
                <a:gd name="connsiteX11" fmla="*/ 45735 w 100686"/>
                <a:gd name="connsiteY11" fmla="*/ 544196 h 544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686" h="544195">
                  <a:moveTo>
                    <a:pt x="45735" y="544196"/>
                  </a:moveTo>
                  <a:cubicBezTo>
                    <a:pt x="45735" y="544196"/>
                    <a:pt x="45735" y="544196"/>
                    <a:pt x="45735" y="544196"/>
                  </a:cubicBezTo>
                  <a:cubicBezTo>
                    <a:pt x="42767" y="544196"/>
                    <a:pt x="39801" y="541229"/>
                    <a:pt x="39801" y="538262"/>
                  </a:cubicBezTo>
                  <a:cubicBezTo>
                    <a:pt x="45735" y="520460"/>
                    <a:pt x="48701" y="502658"/>
                    <a:pt x="54636" y="484855"/>
                  </a:cubicBezTo>
                  <a:cubicBezTo>
                    <a:pt x="69471" y="434416"/>
                    <a:pt x="84306" y="383976"/>
                    <a:pt x="87272" y="339471"/>
                  </a:cubicBezTo>
                  <a:cubicBezTo>
                    <a:pt x="93207" y="220789"/>
                    <a:pt x="66505" y="111009"/>
                    <a:pt x="1229" y="10130"/>
                  </a:cubicBezTo>
                  <a:cubicBezTo>
                    <a:pt x="-1739" y="7163"/>
                    <a:pt x="1229" y="4196"/>
                    <a:pt x="4196" y="1229"/>
                  </a:cubicBezTo>
                  <a:cubicBezTo>
                    <a:pt x="7164" y="-1738"/>
                    <a:pt x="10130" y="1229"/>
                    <a:pt x="13097" y="4196"/>
                  </a:cubicBezTo>
                  <a:cubicBezTo>
                    <a:pt x="78372" y="108042"/>
                    <a:pt x="108042" y="220789"/>
                    <a:pt x="99141" y="339471"/>
                  </a:cubicBezTo>
                  <a:cubicBezTo>
                    <a:pt x="96175" y="383976"/>
                    <a:pt x="81340" y="437383"/>
                    <a:pt x="66505" y="484855"/>
                  </a:cubicBezTo>
                  <a:cubicBezTo>
                    <a:pt x="60570" y="502658"/>
                    <a:pt x="54636" y="520460"/>
                    <a:pt x="51669" y="538262"/>
                  </a:cubicBezTo>
                  <a:cubicBezTo>
                    <a:pt x="48701" y="544196"/>
                    <a:pt x="48701" y="544196"/>
                    <a:pt x="45735" y="544196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48ADDD48-3BC7-4B51-99E2-C369EA89EB9C}"/>
                </a:ext>
              </a:extLst>
            </p:cNvPr>
            <p:cNvSpPr/>
            <p:nvPr/>
          </p:nvSpPr>
          <p:spPr>
            <a:xfrm>
              <a:off x="19540910" y="3514430"/>
              <a:ext cx="389911" cy="35415"/>
            </a:xfrm>
            <a:custGeom>
              <a:avLst/>
              <a:gdLst>
                <a:gd name="connsiteX0" fmla="*/ 385714 w 389911"/>
                <a:gd name="connsiteY0" fmla="*/ 35416 h 35415"/>
                <a:gd name="connsiteX1" fmla="*/ 385714 w 389911"/>
                <a:gd name="connsiteY1" fmla="*/ 35416 h 35415"/>
                <a:gd name="connsiteX2" fmla="*/ 5934 w 389911"/>
                <a:gd name="connsiteY2" fmla="*/ 23547 h 35415"/>
                <a:gd name="connsiteX3" fmla="*/ 0 w 389911"/>
                <a:gd name="connsiteY3" fmla="*/ 20580 h 35415"/>
                <a:gd name="connsiteX4" fmla="*/ 2968 w 389911"/>
                <a:gd name="connsiteY4" fmla="*/ 14646 h 35415"/>
                <a:gd name="connsiteX5" fmla="*/ 385714 w 389911"/>
                <a:gd name="connsiteY5" fmla="*/ 26514 h 35415"/>
                <a:gd name="connsiteX6" fmla="*/ 388682 w 389911"/>
                <a:gd name="connsiteY6" fmla="*/ 32449 h 35415"/>
                <a:gd name="connsiteX7" fmla="*/ 385714 w 389911"/>
                <a:gd name="connsiteY7" fmla="*/ 35416 h 3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9911" h="35415">
                  <a:moveTo>
                    <a:pt x="385714" y="35416"/>
                  </a:moveTo>
                  <a:cubicBezTo>
                    <a:pt x="385714" y="35416"/>
                    <a:pt x="385714" y="35416"/>
                    <a:pt x="385714" y="35416"/>
                  </a:cubicBezTo>
                  <a:cubicBezTo>
                    <a:pt x="302638" y="5745"/>
                    <a:pt x="103846" y="-189"/>
                    <a:pt x="5934" y="23547"/>
                  </a:cubicBezTo>
                  <a:cubicBezTo>
                    <a:pt x="2968" y="23547"/>
                    <a:pt x="0" y="23547"/>
                    <a:pt x="0" y="20580"/>
                  </a:cubicBezTo>
                  <a:cubicBezTo>
                    <a:pt x="0" y="17613"/>
                    <a:pt x="0" y="14646"/>
                    <a:pt x="2968" y="14646"/>
                  </a:cubicBezTo>
                  <a:cubicBezTo>
                    <a:pt x="100880" y="-9090"/>
                    <a:pt x="302638" y="-3156"/>
                    <a:pt x="385714" y="26514"/>
                  </a:cubicBezTo>
                  <a:cubicBezTo>
                    <a:pt x="388682" y="26514"/>
                    <a:pt x="388682" y="29481"/>
                    <a:pt x="388682" y="32449"/>
                  </a:cubicBezTo>
                  <a:cubicBezTo>
                    <a:pt x="391649" y="35416"/>
                    <a:pt x="388682" y="35416"/>
                    <a:pt x="385714" y="35416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738CAD61-86F8-42D5-A6C3-AED7CE39F375}"/>
                </a:ext>
              </a:extLst>
            </p:cNvPr>
            <p:cNvSpPr/>
            <p:nvPr/>
          </p:nvSpPr>
          <p:spPr>
            <a:xfrm>
              <a:off x="19451899" y="2997977"/>
              <a:ext cx="350109" cy="151318"/>
            </a:xfrm>
            <a:custGeom>
              <a:avLst/>
              <a:gdLst>
                <a:gd name="connsiteX0" fmla="*/ 314507 w 350109"/>
                <a:gd name="connsiteY0" fmla="*/ 5934 h 151318"/>
                <a:gd name="connsiteX1" fmla="*/ 213627 w 350109"/>
                <a:gd name="connsiteY1" fmla="*/ 118681 h 151318"/>
                <a:gd name="connsiteX2" fmla="*/ 23736 w 350109"/>
                <a:gd name="connsiteY2" fmla="*/ 0 h 151318"/>
                <a:gd name="connsiteX3" fmla="*/ 0 w 350109"/>
                <a:gd name="connsiteY3" fmla="*/ 8901 h 151318"/>
                <a:gd name="connsiteX4" fmla="*/ 216593 w 350109"/>
                <a:gd name="connsiteY4" fmla="*/ 151319 h 151318"/>
                <a:gd name="connsiteX5" fmla="*/ 350110 w 350109"/>
                <a:gd name="connsiteY5" fmla="*/ 14835 h 151318"/>
                <a:gd name="connsiteX6" fmla="*/ 314507 w 350109"/>
                <a:gd name="connsiteY6" fmla="*/ 5934 h 151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109" h="151318">
                  <a:moveTo>
                    <a:pt x="314507" y="5934"/>
                  </a:moveTo>
                  <a:lnTo>
                    <a:pt x="213627" y="118681"/>
                  </a:lnTo>
                  <a:cubicBezTo>
                    <a:pt x="213627" y="118681"/>
                    <a:pt x="86045" y="20769"/>
                    <a:pt x="23736" y="0"/>
                  </a:cubicBezTo>
                  <a:lnTo>
                    <a:pt x="0" y="8901"/>
                  </a:lnTo>
                  <a:lnTo>
                    <a:pt x="216593" y="151319"/>
                  </a:lnTo>
                  <a:lnTo>
                    <a:pt x="350110" y="14835"/>
                  </a:lnTo>
                  <a:cubicBezTo>
                    <a:pt x="350110" y="11868"/>
                    <a:pt x="335274" y="8901"/>
                    <a:pt x="314507" y="5934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C3BA57E1-F4B3-40E2-9A5F-DAEAA5459A98}"/>
                </a:ext>
              </a:extLst>
            </p:cNvPr>
            <p:cNvSpPr/>
            <p:nvPr/>
          </p:nvSpPr>
          <p:spPr>
            <a:xfrm>
              <a:off x="19264976" y="3896755"/>
              <a:ext cx="771428" cy="234038"/>
            </a:xfrm>
            <a:custGeom>
              <a:avLst/>
              <a:gdLst>
                <a:gd name="connsiteX0" fmla="*/ 35605 w 771428"/>
                <a:gd name="connsiteY0" fmla="*/ 3200 h 234038"/>
                <a:gd name="connsiteX1" fmla="*/ 0 w 771428"/>
                <a:gd name="connsiteY1" fmla="*/ 190123 h 234038"/>
                <a:gd name="connsiteX2" fmla="*/ 771429 w 771428"/>
                <a:gd name="connsiteY2" fmla="*/ 172321 h 234038"/>
                <a:gd name="connsiteX3" fmla="*/ 676483 w 771428"/>
                <a:gd name="connsiteY3" fmla="*/ 233 h 234038"/>
                <a:gd name="connsiteX4" fmla="*/ 35605 w 771428"/>
                <a:gd name="connsiteY4" fmla="*/ 3200 h 23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428" h="234038">
                  <a:moveTo>
                    <a:pt x="35605" y="3200"/>
                  </a:moveTo>
                  <a:lnTo>
                    <a:pt x="0" y="190123"/>
                  </a:lnTo>
                  <a:cubicBezTo>
                    <a:pt x="0" y="190123"/>
                    <a:pt x="281868" y="299904"/>
                    <a:pt x="771429" y="172321"/>
                  </a:cubicBezTo>
                  <a:lnTo>
                    <a:pt x="676483" y="233"/>
                  </a:lnTo>
                  <a:cubicBezTo>
                    <a:pt x="676483" y="-2734"/>
                    <a:pt x="124616" y="23970"/>
                    <a:pt x="35605" y="3200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6" name="图形 1">
              <a:extLst>
                <a:ext uri="{FF2B5EF4-FFF2-40B4-BE49-F238E27FC236}">
                  <a16:creationId xmlns:a16="http://schemas.microsoft.com/office/drawing/2014/main" id="{F593BAD0-DC10-4796-817D-DC1705274DCE}"/>
                </a:ext>
              </a:extLst>
            </p:cNvPr>
            <p:cNvGrpSpPr/>
            <p:nvPr/>
          </p:nvGrpSpPr>
          <p:grpSpPr>
            <a:xfrm>
              <a:off x="19346674" y="2244351"/>
              <a:ext cx="648787" cy="323406"/>
              <a:chOff x="19346674" y="2244351"/>
              <a:chExt cx="648787" cy="323406"/>
            </a:xfrm>
          </p:grpSpPr>
          <p:grpSp>
            <p:nvGrpSpPr>
              <p:cNvPr id="124" name="图形 1">
                <a:extLst>
                  <a:ext uri="{FF2B5EF4-FFF2-40B4-BE49-F238E27FC236}">
                    <a16:creationId xmlns:a16="http://schemas.microsoft.com/office/drawing/2014/main" id="{9446BB37-74B9-40F1-A710-68E692E044A8}"/>
                  </a:ext>
                </a:extLst>
              </p:cNvPr>
              <p:cNvGrpSpPr/>
              <p:nvPr/>
            </p:nvGrpSpPr>
            <p:grpSpPr>
              <a:xfrm>
                <a:off x="19346674" y="2244351"/>
                <a:ext cx="642965" cy="323406"/>
                <a:chOff x="19346674" y="2244351"/>
                <a:chExt cx="642965" cy="323406"/>
              </a:xfrm>
            </p:grpSpPr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42591609-3CFE-4830-A9D1-51E2BD3B131D}"/>
                    </a:ext>
                  </a:extLst>
                </p:cNvPr>
                <p:cNvSpPr/>
                <p:nvPr/>
              </p:nvSpPr>
              <p:spPr>
                <a:xfrm>
                  <a:off x="19346674" y="2259084"/>
                  <a:ext cx="532506" cy="308673"/>
                </a:xfrm>
                <a:custGeom>
                  <a:avLst/>
                  <a:gdLst>
                    <a:gd name="connsiteX0" fmla="*/ 149730 w 532506"/>
                    <a:gd name="connsiteY0" fmla="*/ 204827 h 308673"/>
                    <a:gd name="connsiteX1" fmla="*/ 4346 w 532506"/>
                    <a:gd name="connsiteY1" fmla="*/ 308674 h 308673"/>
                    <a:gd name="connsiteX2" fmla="*/ 155664 w 532506"/>
                    <a:gd name="connsiteY2" fmla="*/ 20871 h 308673"/>
                    <a:gd name="connsiteX3" fmla="*/ 532478 w 532506"/>
                    <a:gd name="connsiteY3" fmla="*/ 127684 h 308673"/>
                    <a:gd name="connsiteX4" fmla="*/ 149730 w 532506"/>
                    <a:gd name="connsiteY4" fmla="*/ 204827 h 308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2506" h="308673">
                      <a:moveTo>
                        <a:pt x="149730" y="204827"/>
                      </a:moveTo>
                      <a:cubicBezTo>
                        <a:pt x="114125" y="234498"/>
                        <a:pt x="42917" y="255267"/>
                        <a:pt x="4346" y="308674"/>
                      </a:cubicBezTo>
                      <a:cubicBezTo>
                        <a:pt x="4346" y="308674"/>
                        <a:pt x="-40159" y="89113"/>
                        <a:pt x="155664" y="20871"/>
                      </a:cubicBezTo>
                      <a:cubicBezTo>
                        <a:pt x="315885" y="-35502"/>
                        <a:pt x="470169" y="29772"/>
                        <a:pt x="532478" y="127684"/>
                      </a:cubicBezTo>
                      <a:cubicBezTo>
                        <a:pt x="535444" y="124717"/>
                        <a:pt x="309950" y="71311"/>
                        <a:pt x="149730" y="204827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C0090504-92D2-45FE-BFD0-CECD046D5354}"/>
                    </a:ext>
                  </a:extLst>
                </p:cNvPr>
                <p:cNvSpPr/>
                <p:nvPr/>
              </p:nvSpPr>
              <p:spPr>
                <a:xfrm>
                  <a:off x="19484537" y="2292647"/>
                  <a:ext cx="505102" cy="212802"/>
                </a:xfrm>
                <a:custGeom>
                  <a:avLst/>
                  <a:gdLst>
                    <a:gd name="connsiteX0" fmla="*/ 0 w 505102"/>
                    <a:gd name="connsiteY0" fmla="*/ 183133 h 212802"/>
                    <a:gd name="connsiteX1" fmla="*/ 213625 w 505102"/>
                    <a:gd name="connsiteY1" fmla="*/ 46649 h 212802"/>
                    <a:gd name="connsiteX2" fmla="*/ 501428 w 505102"/>
                    <a:gd name="connsiteY2" fmla="*/ 58517 h 212802"/>
                    <a:gd name="connsiteX3" fmla="*/ 400549 w 505102"/>
                    <a:gd name="connsiteY3" fmla="*/ 212803 h 212802"/>
                    <a:gd name="connsiteX4" fmla="*/ 0 w 505102"/>
                    <a:gd name="connsiteY4" fmla="*/ 183133 h 212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5102" h="212802">
                      <a:moveTo>
                        <a:pt x="0" y="183133"/>
                      </a:moveTo>
                      <a:cubicBezTo>
                        <a:pt x="0" y="183133"/>
                        <a:pt x="74176" y="108957"/>
                        <a:pt x="213625" y="46649"/>
                      </a:cubicBezTo>
                      <a:cubicBezTo>
                        <a:pt x="359010" y="-21593"/>
                        <a:pt x="474725" y="-12692"/>
                        <a:pt x="501428" y="58517"/>
                      </a:cubicBezTo>
                      <a:cubicBezTo>
                        <a:pt x="528132" y="129726"/>
                        <a:pt x="400549" y="212803"/>
                        <a:pt x="400549" y="212803"/>
                      </a:cubicBezTo>
                      <a:cubicBezTo>
                        <a:pt x="400549" y="212803"/>
                        <a:pt x="258130" y="76319"/>
                        <a:pt x="0" y="18313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EB2F4288-CFA9-422B-A168-8CA7248CD265}"/>
                    </a:ext>
                  </a:extLst>
                </p:cNvPr>
                <p:cNvSpPr/>
                <p:nvPr/>
              </p:nvSpPr>
              <p:spPr>
                <a:xfrm>
                  <a:off x="19466734" y="2244351"/>
                  <a:ext cx="56374" cy="53406"/>
                </a:xfrm>
                <a:custGeom>
                  <a:avLst/>
                  <a:gdLst>
                    <a:gd name="connsiteX0" fmla="*/ 0 w 56374"/>
                    <a:gd name="connsiteY0" fmla="*/ 26703 h 53406"/>
                    <a:gd name="connsiteX1" fmla="*/ 29670 w 56374"/>
                    <a:gd name="connsiteY1" fmla="*/ 0 h 53406"/>
                    <a:gd name="connsiteX2" fmla="*/ 56374 w 56374"/>
                    <a:gd name="connsiteY2" fmla="*/ 26703 h 53406"/>
                    <a:gd name="connsiteX3" fmla="*/ 26704 w 56374"/>
                    <a:gd name="connsiteY3" fmla="*/ 53407 h 53406"/>
                    <a:gd name="connsiteX4" fmla="*/ 0 w 56374"/>
                    <a:gd name="connsiteY4" fmla="*/ 26703 h 5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374" h="53406">
                      <a:moveTo>
                        <a:pt x="0" y="26703"/>
                      </a:moveTo>
                      <a:cubicBezTo>
                        <a:pt x="0" y="11868"/>
                        <a:pt x="11869" y="0"/>
                        <a:pt x="29670" y="0"/>
                      </a:cubicBezTo>
                      <a:cubicBezTo>
                        <a:pt x="44505" y="0"/>
                        <a:pt x="56374" y="11868"/>
                        <a:pt x="56374" y="26703"/>
                      </a:cubicBezTo>
                      <a:cubicBezTo>
                        <a:pt x="56374" y="41538"/>
                        <a:pt x="44505" y="53407"/>
                        <a:pt x="26704" y="53407"/>
                      </a:cubicBezTo>
                      <a:cubicBezTo>
                        <a:pt x="11869" y="50440"/>
                        <a:pt x="0" y="38571"/>
                        <a:pt x="0" y="26703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D26DAB76-03BF-499C-BB78-89AFBAE845BA}"/>
                  </a:ext>
                </a:extLst>
              </p:cNvPr>
              <p:cNvSpPr/>
              <p:nvPr/>
            </p:nvSpPr>
            <p:spPr>
              <a:xfrm>
                <a:off x="19477283" y="2279821"/>
                <a:ext cx="518177" cy="231562"/>
              </a:xfrm>
              <a:custGeom>
                <a:avLst/>
                <a:gdLst>
                  <a:gd name="connsiteX0" fmla="*/ 407803 w 518177"/>
                  <a:gd name="connsiteY0" fmla="*/ 231563 h 231562"/>
                  <a:gd name="connsiteX1" fmla="*/ 401869 w 518177"/>
                  <a:gd name="connsiteY1" fmla="*/ 228596 h 231562"/>
                  <a:gd name="connsiteX2" fmla="*/ 401869 w 518177"/>
                  <a:gd name="connsiteY2" fmla="*/ 219695 h 231562"/>
                  <a:gd name="connsiteX3" fmla="*/ 505715 w 518177"/>
                  <a:gd name="connsiteY3" fmla="*/ 83211 h 231562"/>
                  <a:gd name="connsiteX4" fmla="*/ 446374 w 518177"/>
                  <a:gd name="connsiteY4" fmla="*/ 20904 h 231562"/>
                  <a:gd name="connsiteX5" fmla="*/ 10220 w 518177"/>
                  <a:gd name="connsiteY5" fmla="*/ 195959 h 231562"/>
                  <a:gd name="connsiteX6" fmla="*/ 1319 w 518177"/>
                  <a:gd name="connsiteY6" fmla="*/ 195959 h 231562"/>
                  <a:gd name="connsiteX7" fmla="*/ 1319 w 518177"/>
                  <a:gd name="connsiteY7" fmla="*/ 187057 h 231562"/>
                  <a:gd name="connsiteX8" fmla="*/ 449340 w 518177"/>
                  <a:gd name="connsiteY8" fmla="*/ 9035 h 231562"/>
                  <a:gd name="connsiteX9" fmla="*/ 517582 w 518177"/>
                  <a:gd name="connsiteY9" fmla="*/ 80244 h 231562"/>
                  <a:gd name="connsiteX10" fmla="*/ 410769 w 518177"/>
                  <a:gd name="connsiteY10" fmla="*/ 225629 h 231562"/>
                  <a:gd name="connsiteX11" fmla="*/ 407803 w 518177"/>
                  <a:gd name="connsiteY11" fmla="*/ 231563 h 231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18177" h="231562">
                    <a:moveTo>
                      <a:pt x="407803" y="231563"/>
                    </a:moveTo>
                    <a:cubicBezTo>
                      <a:pt x="404835" y="231563"/>
                      <a:pt x="404835" y="231563"/>
                      <a:pt x="401869" y="228596"/>
                    </a:cubicBezTo>
                    <a:cubicBezTo>
                      <a:pt x="398901" y="225629"/>
                      <a:pt x="401869" y="222662"/>
                      <a:pt x="401869" y="219695"/>
                    </a:cubicBezTo>
                    <a:cubicBezTo>
                      <a:pt x="476044" y="166288"/>
                      <a:pt x="508681" y="121783"/>
                      <a:pt x="505715" y="83211"/>
                    </a:cubicBezTo>
                    <a:cubicBezTo>
                      <a:pt x="502747" y="50574"/>
                      <a:pt x="467144" y="29805"/>
                      <a:pt x="446374" y="20904"/>
                    </a:cubicBezTo>
                    <a:cubicBezTo>
                      <a:pt x="315824" y="-32503"/>
                      <a:pt x="13186" y="195959"/>
                      <a:pt x="10220" y="195959"/>
                    </a:cubicBezTo>
                    <a:cubicBezTo>
                      <a:pt x="7254" y="198926"/>
                      <a:pt x="4285" y="195959"/>
                      <a:pt x="1319" y="195959"/>
                    </a:cubicBezTo>
                    <a:cubicBezTo>
                      <a:pt x="-1649" y="192992"/>
                      <a:pt x="1319" y="190024"/>
                      <a:pt x="1319" y="187057"/>
                    </a:cubicBezTo>
                    <a:cubicBezTo>
                      <a:pt x="13186" y="178156"/>
                      <a:pt x="312858" y="-47338"/>
                      <a:pt x="449340" y="9035"/>
                    </a:cubicBezTo>
                    <a:cubicBezTo>
                      <a:pt x="490880" y="26838"/>
                      <a:pt x="514616" y="50574"/>
                      <a:pt x="517582" y="80244"/>
                    </a:cubicBezTo>
                    <a:cubicBezTo>
                      <a:pt x="523516" y="121783"/>
                      <a:pt x="484945" y="172222"/>
                      <a:pt x="410769" y="225629"/>
                    </a:cubicBezTo>
                    <a:cubicBezTo>
                      <a:pt x="407803" y="231563"/>
                      <a:pt x="407803" y="231563"/>
                      <a:pt x="407803" y="23156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838F998C-2B71-4CDE-99AF-DEE6C15FFC02}"/>
                </a:ext>
              </a:extLst>
            </p:cNvPr>
            <p:cNvSpPr/>
            <p:nvPr/>
          </p:nvSpPr>
          <p:spPr>
            <a:xfrm>
              <a:off x="19526816" y="2853334"/>
              <a:ext cx="209176" cy="76401"/>
            </a:xfrm>
            <a:custGeom>
              <a:avLst/>
              <a:gdLst>
                <a:gd name="connsiteX0" fmla="*/ 135743 w 209176"/>
                <a:gd name="connsiteY0" fmla="*/ 76401 h 76401"/>
                <a:gd name="connsiteX1" fmla="*/ 120907 w 209176"/>
                <a:gd name="connsiteY1" fmla="*/ 76401 h 76401"/>
                <a:gd name="connsiteX2" fmla="*/ 2226 w 209176"/>
                <a:gd name="connsiteY2" fmla="*/ 11126 h 76401"/>
                <a:gd name="connsiteX3" fmla="*/ 2226 w 209176"/>
                <a:gd name="connsiteY3" fmla="*/ 2225 h 76401"/>
                <a:gd name="connsiteX4" fmla="*/ 11127 w 209176"/>
                <a:gd name="connsiteY4" fmla="*/ 2225 h 76401"/>
                <a:gd name="connsiteX5" fmla="*/ 126840 w 209176"/>
                <a:gd name="connsiteY5" fmla="*/ 64533 h 76401"/>
                <a:gd name="connsiteX6" fmla="*/ 198050 w 209176"/>
                <a:gd name="connsiteY6" fmla="*/ 43764 h 76401"/>
                <a:gd name="connsiteX7" fmla="*/ 206950 w 209176"/>
                <a:gd name="connsiteY7" fmla="*/ 43764 h 76401"/>
                <a:gd name="connsiteX8" fmla="*/ 206950 w 209176"/>
                <a:gd name="connsiteY8" fmla="*/ 52665 h 76401"/>
                <a:gd name="connsiteX9" fmla="*/ 135743 w 209176"/>
                <a:gd name="connsiteY9" fmla="*/ 76401 h 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176" h="76401">
                  <a:moveTo>
                    <a:pt x="135743" y="76401"/>
                  </a:moveTo>
                  <a:cubicBezTo>
                    <a:pt x="129808" y="76401"/>
                    <a:pt x="126840" y="76401"/>
                    <a:pt x="120907" y="76401"/>
                  </a:cubicBezTo>
                  <a:cubicBezTo>
                    <a:pt x="76402" y="67500"/>
                    <a:pt x="5192" y="14093"/>
                    <a:pt x="2226" y="11126"/>
                  </a:cubicBezTo>
                  <a:cubicBezTo>
                    <a:pt x="-742" y="8159"/>
                    <a:pt x="-742" y="5192"/>
                    <a:pt x="2226" y="2225"/>
                  </a:cubicBezTo>
                  <a:cubicBezTo>
                    <a:pt x="5192" y="-742"/>
                    <a:pt x="8159" y="-742"/>
                    <a:pt x="11127" y="2225"/>
                  </a:cubicBezTo>
                  <a:cubicBezTo>
                    <a:pt x="11127" y="2225"/>
                    <a:pt x="85303" y="58599"/>
                    <a:pt x="126840" y="64533"/>
                  </a:cubicBezTo>
                  <a:cubicBezTo>
                    <a:pt x="165413" y="70467"/>
                    <a:pt x="198050" y="43764"/>
                    <a:pt x="198050" y="43764"/>
                  </a:cubicBezTo>
                  <a:cubicBezTo>
                    <a:pt x="201016" y="40797"/>
                    <a:pt x="203984" y="40797"/>
                    <a:pt x="206950" y="43764"/>
                  </a:cubicBezTo>
                  <a:cubicBezTo>
                    <a:pt x="209918" y="46731"/>
                    <a:pt x="209918" y="49698"/>
                    <a:pt x="206950" y="52665"/>
                  </a:cubicBezTo>
                  <a:cubicBezTo>
                    <a:pt x="201016" y="55632"/>
                    <a:pt x="171346" y="76401"/>
                    <a:pt x="135743" y="76401"/>
                  </a:cubicBezTo>
                  <a:close/>
                </a:path>
              </a:pathLst>
            </a:custGeom>
            <a:solidFill>
              <a:srgbClr val="E58777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04F93136-6CF7-455F-8034-F124421A17A8}"/>
                </a:ext>
              </a:extLst>
            </p:cNvPr>
            <p:cNvSpPr/>
            <p:nvPr/>
          </p:nvSpPr>
          <p:spPr>
            <a:xfrm>
              <a:off x="19177189" y="3206415"/>
              <a:ext cx="704929" cy="806287"/>
            </a:xfrm>
            <a:custGeom>
              <a:avLst/>
              <a:gdLst>
                <a:gd name="connsiteX0" fmla="*/ 49216 w 704929"/>
                <a:gd name="connsiteY0" fmla="*/ 61562 h 806287"/>
                <a:gd name="connsiteX1" fmla="*/ 274710 w 704929"/>
                <a:gd name="connsiteY1" fmla="*/ 162441 h 806287"/>
                <a:gd name="connsiteX2" fmla="*/ 280644 w 704929"/>
                <a:gd name="connsiteY2" fmla="*/ 577826 h 806287"/>
                <a:gd name="connsiteX3" fmla="*/ 704929 w 704929"/>
                <a:gd name="connsiteY3" fmla="*/ 684639 h 806287"/>
                <a:gd name="connsiteX4" fmla="*/ 693062 w 704929"/>
                <a:gd name="connsiteY4" fmla="*/ 806288 h 806287"/>
                <a:gd name="connsiteX5" fmla="*/ 102622 w 704929"/>
                <a:gd name="connsiteY5" fmla="*/ 693540 h 806287"/>
                <a:gd name="connsiteX6" fmla="*/ 49216 w 704929"/>
                <a:gd name="connsiteY6" fmla="*/ 61562 h 80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4929" h="806287">
                  <a:moveTo>
                    <a:pt x="49216" y="61562"/>
                  </a:moveTo>
                  <a:cubicBezTo>
                    <a:pt x="167897" y="-71954"/>
                    <a:pt x="286579" y="34859"/>
                    <a:pt x="274710" y="162441"/>
                  </a:cubicBezTo>
                  <a:cubicBezTo>
                    <a:pt x="262843" y="287057"/>
                    <a:pt x="265809" y="551123"/>
                    <a:pt x="280644" y="577826"/>
                  </a:cubicBezTo>
                  <a:cubicBezTo>
                    <a:pt x="334050" y="601562"/>
                    <a:pt x="704929" y="684639"/>
                    <a:pt x="704929" y="684639"/>
                  </a:cubicBezTo>
                  <a:cubicBezTo>
                    <a:pt x="687128" y="711343"/>
                    <a:pt x="693062" y="806288"/>
                    <a:pt x="693062" y="806288"/>
                  </a:cubicBezTo>
                  <a:cubicBezTo>
                    <a:pt x="693062" y="806288"/>
                    <a:pt x="185699" y="791452"/>
                    <a:pt x="102622" y="693540"/>
                  </a:cubicBezTo>
                  <a:cubicBezTo>
                    <a:pt x="58117" y="640134"/>
                    <a:pt x="-69465" y="192112"/>
                    <a:pt x="49216" y="61562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9" name="图形 1">
              <a:extLst>
                <a:ext uri="{FF2B5EF4-FFF2-40B4-BE49-F238E27FC236}">
                  <a16:creationId xmlns:a16="http://schemas.microsoft.com/office/drawing/2014/main" id="{773475D3-3BEB-41F6-A884-AC94AB179149}"/>
                </a:ext>
              </a:extLst>
            </p:cNvPr>
            <p:cNvGrpSpPr/>
            <p:nvPr/>
          </p:nvGrpSpPr>
          <p:grpSpPr>
            <a:xfrm>
              <a:off x="19835392" y="3857942"/>
              <a:ext cx="292989" cy="172230"/>
              <a:chOff x="19835392" y="3857942"/>
              <a:chExt cx="292989" cy="172230"/>
            </a:xfrm>
          </p:grpSpPr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FB034E07-4AEE-42E6-9891-15B5C49C12E3}"/>
                  </a:ext>
                </a:extLst>
              </p:cNvPr>
              <p:cNvSpPr/>
              <p:nvPr/>
            </p:nvSpPr>
            <p:spPr>
              <a:xfrm>
                <a:off x="19835392" y="3857942"/>
                <a:ext cx="281122" cy="172230"/>
              </a:xfrm>
              <a:custGeom>
                <a:avLst/>
                <a:gdLst>
                  <a:gd name="connsiteX0" fmla="*/ 11121 w 281122"/>
                  <a:gd name="connsiteY0" fmla="*/ 133991 h 172230"/>
                  <a:gd name="connsiteX1" fmla="*/ 14090 w 281122"/>
                  <a:gd name="connsiteY1" fmla="*/ 142892 h 172230"/>
                  <a:gd name="connsiteX2" fmla="*/ 156507 w 281122"/>
                  <a:gd name="connsiteY2" fmla="*/ 169596 h 172230"/>
                  <a:gd name="connsiteX3" fmla="*/ 266287 w 281122"/>
                  <a:gd name="connsiteY3" fmla="*/ 113222 h 172230"/>
                  <a:gd name="connsiteX4" fmla="*/ 257387 w 281122"/>
                  <a:gd name="connsiteY4" fmla="*/ 101354 h 172230"/>
                  <a:gd name="connsiteX5" fmla="*/ 221782 w 281122"/>
                  <a:gd name="connsiteY5" fmla="*/ 110255 h 172230"/>
                  <a:gd name="connsiteX6" fmla="*/ 260353 w 281122"/>
                  <a:gd name="connsiteY6" fmla="*/ 89486 h 172230"/>
                  <a:gd name="connsiteX7" fmla="*/ 281123 w 281122"/>
                  <a:gd name="connsiteY7" fmla="*/ 65749 h 172230"/>
                  <a:gd name="connsiteX8" fmla="*/ 269254 w 281122"/>
                  <a:gd name="connsiteY8" fmla="*/ 56848 h 172230"/>
                  <a:gd name="connsiteX9" fmla="*/ 272222 w 281122"/>
                  <a:gd name="connsiteY9" fmla="*/ 53881 h 172230"/>
                  <a:gd name="connsiteX10" fmla="*/ 257387 w 281122"/>
                  <a:gd name="connsiteY10" fmla="*/ 42013 h 172230"/>
                  <a:gd name="connsiteX11" fmla="*/ 114968 w 281122"/>
                  <a:gd name="connsiteY11" fmla="*/ 71684 h 172230"/>
                  <a:gd name="connsiteX12" fmla="*/ 141672 w 281122"/>
                  <a:gd name="connsiteY12" fmla="*/ 36079 h 172230"/>
                  <a:gd name="connsiteX13" fmla="*/ 186177 w 281122"/>
                  <a:gd name="connsiteY13" fmla="*/ 21244 h 172230"/>
                  <a:gd name="connsiteX14" fmla="*/ 159473 w 281122"/>
                  <a:gd name="connsiteY14" fmla="*/ 475 h 172230"/>
                  <a:gd name="connsiteX15" fmla="*/ 106067 w 281122"/>
                  <a:gd name="connsiteY15" fmla="*/ 6409 h 172230"/>
                  <a:gd name="connsiteX16" fmla="*/ 37825 w 281122"/>
                  <a:gd name="connsiteY16" fmla="*/ 33112 h 172230"/>
                  <a:gd name="connsiteX17" fmla="*/ 11121 w 281122"/>
                  <a:gd name="connsiteY17" fmla="*/ 133991 h 172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81122" h="172230">
                    <a:moveTo>
                      <a:pt x="11121" y="133991"/>
                    </a:moveTo>
                    <a:cubicBezTo>
                      <a:pt x="11121" y="136958"/>
                      <a:pt x="11121" y="142892"/>
                      <a:pt x="14090" y="142892"/>
                    </a:cubicBezTo>
                    <a:cubicBezTo>
                      <a:pt x="49694" y="163662"/>
                      <a:pt x="112001" y="178497"/>
                      <a:pt x="156507" y="169596"/>
                    </a:cubicBezTo>
                    <a:cubicBezTo>
                      <a:pt x="186177" y="163662"/>
                      <a:pt x="266287" y="128057"/>
                      <a:pt x="266287" y="113222"/>
                    </a:cubicBezTo>
                    <a:cubicBezTo>
                      <a:pt x="266287" y="110255"/>
                      <a:pt x="260353" y="104321"/>
                      <a:pt x="257387" y="101354"/>
                    </a:cubicBezTo>
                    <a:cubicBezTo>
                      <a:pt x="251452" y="98387"/>
                      <a:pt x="227716" y="110255"/>
                      <a:pt x="221782" y="110255"/>
                    </a:cubicBezTo>
                    <a:cubicBezTo>
                      <a:pt x="233649" y="101354"/>
                      <a:pt x="248484" y="98387"/>
                      <a:pt x="260353" y="89486"/>
                    </a:cubicBezTo>
                    <a:cubicBezTo>
                      <a:pt x="269254" y="80585"/>
                      <a:pt x="281123" y="74651"/>
                      <a:pt x="281123" y="65749"/>
                    </a:cubicBezTo>
                    <a:cubicBezTo>
                      <a:pt x="281123" y="53881"/>
                      <a:pt x="275188" y="56848"/>
                      <a:pt x="269254" y="56848"/>
                    </a:cubicBezTo>
                    <a:cubicBezTo>
                      <a:pt x="269254" y="56848"/>
                      <a:pt x="272222" y="53881"/>
                      <a:pt x="272222" y="53881"/>
                    </a:cubicBezTo>
                    <a:cubicBezTo>
                      <a:pt x="275188" y="50914"/>
                      <a:pt x="257387" y="47947"/>
                      <a:pt x="257387" y="42013"/>
                    </a:cubicBezTo>
                    <a:cubicBezTo>
                      <a:pt x="245518" y="21244"/>
                      <a:pt x="138705" y="98387"/>
                      <a:pt x="114968" y="71684"/>
                    </a:cubicBezTo>
                    <a:cubicBezTo>
                      <a:pt x="117936" y="65749"/>
                      <a:pt x="129803" y="44980"/>
                      <a:pt x="141672" y="36079"/>
                    </a:cubicBezTo>
                    <a:cubicBezTo>
                      <a:pt x="177276" y="36079"/>
                      <a:pt x="186177" y="24211"/>
                      <a:pt x="186177" y="21244"/>
                    </a:cubicBezTo>
                    <a:cubicBezTo>
                      <a:pt x="186177" y="15310"/>
                      <a:pt x="162441" y="475"/>
                      <a:pt x="159473" y="475"/>
                    </a:cubicBezTo>
                    <a:cubicBezTo>
                      <a:pt x="126836" y="475"/>
                      <a:pt x="132771" y="-2492"/>
                      <a:pt x="106067" y="6409"/>
                    </a:cubicBezTo>
                    <a:cubicBezTo>
                      <a:pt x="82331" y="15310"/>
                      <a:pt x="61561" y="24211"/>
                      <a:pt x="37825" y="33112"/>
                    </a:cubicBezTo>
                    <a:cubicBezTo>
                      <a:pt x="-6680" y="47947"/>
                      <a:pt x="-6680" y="98387"/>
                      <a:pt x="11121" y="133991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C104E70E-D5B3-4923-BE21-574AE1A12F3E}"/>
                  </a:ext>
                </a:extLst>
              </p:cNvPr>
              <p:cNvSpPr/>
              <p:nvPr/>
            </p:nvSpPr>
            <p:spPr>
              <a:xfrm>
                <a:off x="19997833" y="3902194"/>
                <a:ext cx="130548" cy="92706"/>
              </a:xfrm>
              <a:custGeom>
                <a:avLst/>
                <a:gdLst>
                  <a:gd name="connsiteX0" fmla="*/ 26702 w 130548"/>
                  <a:gd name="connsiteY0" fmla="*/ 92707 h 92706"/>
                  <a:gd name="connsiteX1" fmla="*/ 20770 w 130548"/>
                  <a:gd name="connsiteY1" fmla="*/ 89740 h 92706"/>
                  <a:gd name="connsiteX2" fmla="*/ 23736 w 130548"/>
                  <a:gd name="connsiteY2" fmla="*/ 80838 h 92706"/>
                  <a:gd name="connsiteX3" fmla="*/ 91977 w 130548"/>
                  <a:gd name="connsiteY3" fmla="*/ 42267 h 92706"/>
                  <a:gd name="connsiteX4" fmla="*/ 112747 w 130548"/>
                  <a:gd name="connsiteY4" fmla="*/ 18531 h 92706"/>
                  <a:gd name="connsiteX5" fmla="*/ 109781 w 130548"/>
                  <a:gd name="connsiteY5" fmla="*/ 12597 h 92706"/>
                  <a:gd name="connsiteX6" fmla="*/ 83077 w 130548"/>
                  <a:gd name="connsiteY6" fmla="*/ 30399 h 92706"/>
                  <a:gd name="connsiteX7" fmla="*/ 5934 w 130548"/>
                  <a:gd name="connsiteY7" fmla="*/ 74904 h 92706"/>
                  <a:gd name="connsiteX8" fmla="*/ 0 w 130548"/>
                  <a:gd name="connsiteY8" fmla="*/ 68970 h 92706"/>
                  <a:gd name="connsiteX9" fmla="*/ 5934 w 130548"/>
                  <a:gd name="connsiteY9" fmla="*/ 63036 h 92706"/>
                  <a:gd name="connsiteX10" fmla="*/ 80110 w 130548"/>
                  <a:gd name="connsiteY10" fmla="*/ 21498 h 92706"/>
                  <a:gd name="connsiteX11" fmla="*/ 121648 w 130548"/>
                  <a:gd name="connsiteY11" fmla="*/ 729 h 92706"/>
                  <a:gd name="connsiteX12" fmla="*/ 130548 w 130548"/>
                  <a:gd name="connsiteY12" fmla="*/ 15564 h 92706"/>
                  <a:gd name="connsiteX13" fmla="*/ 106812 w 130548"/>
                  <a:gd name="connsiteY13" fmla="*/ 48201 h 92706"/>
                  <a:gd name="connsiteX14" fmla="*/ 26702 w 130548"/>
                  <a:gd name="connsiteY14" fmla="*/ 92707 h 92706"/>
                  <a:gd name="connsiteX15" fmla="*/ 26702 w 130548"/>
                  <a:gd name="connsiteY15" fmla="*/ 92707 h 92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0548" h="92706">
                    <a:moveTo>
                      <a:pt x="26702" y="92707"/>
                    </a:moveTo>
                    <a:cubicBezTo>
                      <a:pt x="23736" y="92707"/>
                      <a:pt x="23736" y="92707"/>
                      <a:pt x="20770" y="89740"/>
                    </a:cubicBezTo>
                    <a:cubicBezTo>
                      <a:pt x="20770" y="86773"/>
                      <a:pt x="20770" y="83805"/>
                      <a:pt x="23736" y="80838"/>
                    </a:cubicBezTo>
                    <a:cubicBezTo>
                      <a:pt x="23736" y="80838"/>
                      <a:pt x="74176" y="54135"/>
                      <a:pt x="91977" y="42267"/>
                    </a:cubicBezTo>
                    <a:cubicBezTo>
                      <a:pt x="97912" y="36333"/>
                      <a:pt x="112747" y="27432"/>
                      <a:pt x="112747" y="18531"/>
                    </a:cubicBezTo>
                    <a:cubicBezTo>
                      <a:pt x="112747" y="18531"/>
                      <a:pt x="112747" y="15564"/>
                      <a:pt x="109781" y="12597"/>
                    </a:cubicBezTo>
                    <a:cubicBezTo>
                      <a:pt x="103846" y="15564"/>
                      <a:pt x="91977" y="24465"/>
                      <a:pt x="83077" y="30399"/>
                    </a:cubicBezTo>
                    <a:cubicBezTo>
                      <a:pt x="59341" y="48201"/>
                      <a:pt x="26702" y="71937"/>
                      <a:pt x="5934" y="74904"/>
                    </a:cubicBezTo>
                    <a:cubicBezTo>
                      <a:pt x="2966" y="74904"/>
                      <a:pt x="0" y="71937"/>
                      <a:pt x="0" y="68970"/>
                    </a:cubicBezTo>
                    <a:cubicBezTo>
                      <a:pt x="0" y="66003"/>
                      <a:pt x="2966" y="63036"/>
                      <a:pt x="5934" y="63036"/>
                    </a:cubicBezTo>
                    <a:cubicBezTo>
                      <a:pt x="26702" y="60069"/>
                      <a:pt x="56373" y="36333"/>
                      <a:pt x="80110" y="21498"/>
                    </a:cubicBezTo>
                    <a:cubicBezTo>
                      <a:pt x="103846" y="3696"/>
                      <a:pt x="112747" y="-2238"/>
                      <a:pt x="121648" y="729"/>
                    </a:cubicBezTo>
                    <a:cubicBezTo>
                      <a:pt x="127582" y="6663"/>
                      <a:pt x="130548" y="9630"/>
                      <a:pt x="130548" y="15564"/>
                    </a:cubicBezTo>
                    <a:cubicBezTo>
                      <a:pt x="130548" y="24465"/>
                      <a:pt x="121648" y="36333"/>
                      <a:pt x="106812" y="48201"/>
                    </a:cubicBezTo>
                    <a:cubicBezTo>
                      <a:pt x="80110" y="66003"/>
                      <a:pt x="29670" y="92707"/>
                      <a:pt x="26702" y="92707"/>
                    </a:cubicBezTo>
                    <a:cubicBezTo>
                      <a:pt x="26702" y="92707"/>
                      <a:pt x="26702" y="92707"/>
                      <a:pt x="26702" y="9270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63CA83F1-F565-4272-878A-D4BD7A52E4B7}"/>
                  </a:ext>
                </a:extLst>
              </p:cNvPr>
              <p:cNvSpPr/>
              <p:nvPr/>
            </p:nvSpPr>
            <p:spPr>
              <a:xfrm>
                <a:off x="19946165" y="3890472"/>
                <a:ext cx="162190" cy="51021"/>
              </a:xfrm>
              <a:custGeom>
                <a:avLst/>
                <a:gdLst>
                  <a:gd name="connsiteX0" fmla="*/ 33865 w 162190"/>
                  <a:gd name="connsiteY0" fmla="*/ 51021 h 51021"/>
                  <a:gd name="connsiteX1" fmla="*/ 4195 w 162190"/>
                  <a:gd name="connsiteY1" fmla="*/ 45087 h 51021"/>
                  <a:gd name="connsiteX2" fmla="*/ 1229 w 162190"/>
                  <a:gd name="connsiteY2" fmla="*/ 36186 h 51021"/>
                  <a:gd name="connsiteX3" fmla="*/ 10129 w 162190"/>
                  <a:gd name="connsiteY3" fmla="*/ 33219 h 51021"/>
                  <a:gd name="connsiteX4" fmla="*/ 39800 w 162190"/>
                  <a:gd name="connsiteY4" fmla="*/ 39154 h 51021"/>
                  <a:gd name="connsiteX5" fmla="*/ 99140 w 162190"/>
                  <a:gd name="connsiteY5" fmla="*/ 15417 h 51021"/>
                  <a:gd name="connsiteX6" fmla="*/ 137711 w 162190"/>
                  <a:gd name="connsiteY6" fmla="*/ 582 h 51021"/>
                  <a:gd name="connsiteX7" fmla="*/ 158481 w 162190"/>
                  <a:gd name="connsiteY7" fmla="*/ 9483 h 51021"/>
                  <a:gd name="connsiteX8" fmla="*/ 161449 w 162190"/>
                  <a:gd name="connsiteY8" fmla="*/ 24318 h 51021"/>
                  <a:gd name="connsiteX9" fmla="*/ 155515 w 162190"/>
                  <a:gd name="connsiteY9" fmla="*/ 27285 h 51021"/>
                  <a:gd name="connsiteX10" fmla="*/ 152547 w 162190"/>
                  <a:gd name="connsiteY10" fmla="*/ 21351 h 51021"/>
                  <a:gd name="connsiteX11" fmla="*/ 152547 w 162190"/>
                  <a:gd name="connsiteY11" fmla="*/ 15417 h 51021"/>
                  <a:gd name="connsiteX12" fmla="*/ 140680 w 162190"/>
                  <a:gd name="connsiteY12" fmla="*/ 9483 h 51021"/>
                  <a:gd name="connsiteX13" fmla="*/ 108041 w 162190"/>
                  <a:gd name="connsiteY13" fmla="*/ 21351 h 51021"/>
                  <a:gd name="connsiteX14" fmla="*/ 42768 w 162190"/>
                  <a:gd name="connsiteY14" fmla="*/ 48054 h 51021"/>
                  <a:gd name="connsiteX15" fmla="*/ 33865 w 162190"/>
                  <a:gd name="connsiteY15" fmla="*/ 51021 h 51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2190" h="51021">
                    <a:moveTo>
                      <a:pt x="33865" y="51021"/>
                    </a:moveTo>
                    <a:cubicBezTo>
                      <a:pt x="21998" y="51021"/>
                      <a:pt x="4195" y="45087"/>
                      <a:pt x="4195" y="45087"/>
                    </a:cubicBezTo>
                    <a:cubicBezTo>
                      <a:pt x="1229" y="45087"/>
                      <a:pt x="-1738" y="39154"/>
                      <a:pt x="1229" y="36186"/>
                    </a:cubicBezTo>
                    <a:cubicBezTo>
                      <a:pt x="1229" y="33219"/>
                      <a:pt x="7163" y="33219"/>
                      <a:pt x="10129" y="33219"/>
                    </a:cubicBezTo>
                    <a:cubicBezTo>
                      <a:pt x="16064" y="36186"/>
                      <a:pt x="30899" y="39154"/>
                      <a:pt x="39800" y="39154"/>
                    </a:cubicBezTo>
                    <a:cubicBezTo>
                      <a:pt x="63536" y="36186"/>
                      <a:pt x="81339" y="24318"/>
                      <a:pt x="99140" y="15417"/>
                    </a:cubicBezTo>
                    <a:cubicBezTo>
                      <a:pt x="113976" y="6516"/>
                      <a:pt x="125844" y="-2385"/>
                      <a:pt x="137711" y="582"/>
                    </a:cubicBezTo>
                    <a:cubicBezTo>
                      <a:pt x="146614" y="582"/>
                      <a:pt x="152547" y="6516"/>
                      <a:pt x="158481" y="9483"/>
                    </a:cubicBezTo>
                    <a:cubicBezTo>
                      <a:pt x="164416" y="15417"/>
                      <a:pt x="161449" y="24318"/>
                      <a:pt x="161449" y="24318"/>
                    </a:cubicBezTo>
                    <a:cubicBezTo>
                      <a:pt x="161449" y="27285"/>
                      <a:pt x="158481" y="30252"/>
                      <a:pt x="155515" y="27285"/>
                    </a:cubicBezTo>
                    <a:cubicBezTo>
                      <a:pt x="152547" y="27285"/>
                      <a:pt x="149580" y="24318"/>
                      <a:pt x="152547" y="21351"/>
                    </a:cubicBezTo>
                    <a:cubicBezTo>
                      <a:pt x="152547" y="21351"/>
                      <a:pt x="152547" y="18384"/>
                      <a:pt x="152547" y="15417"/>
                    </a:cubicBezTo>
                    <a:cubicBezTo>
                      <a:pt x="149580" y="12450"/>
                      <a:pt x="146614" y="12450"/>
                      <a:pt x="140680" y="9483"/>
                    </a:cubicBezTo>
                    <a:cubicBezTo>
                      <a:pt x="131779" y="9483"/>
                      <a:pt x="122876" y="15417"/>
                      <a:pt x="108041" y="21351"/>
                    </a:cubicBezTo>
                    <a:cubicBezTo>
                      <a:pt x="90240" y="30252"/>
                      <a:pt x="69470" y="45087"/>
                      <a:pt x="42768" y="48054"/>
                    </a:cubicBezTo>
                    <a:cubicBezTo>
                      <a:pt x="36833" y="51021"/>
                      <a:pt x="36833" y="51021"/>
                      <a:pt x="33865" y="51021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68C4AF00-8DB6-4D3B-A510-B8996A5399B0}"/>
                </a:ext>
              </a:extLst>
            </p:cNvPr>
            <p:cNvSpPr/>
            <p:nvPr/>
          </p:nvSpPr>
          <p:spPr>
            <a:xfrm>
              <a:off x="19122495" y="3061813"/>
              <a:ext cx="364654" cy="420060"/>
            </a:xfrm>
            <a:custGeom>
              <a:avLst/>
              <a:gdLst>
                <a:gd name="connsiteX0" fmla="*/ 64 w 364654"/>
                <a:gd name="connsiteY0" fmla="*/ 401988 h 420060"/>
                <a:gd name="connsiteX1" fmla="*/ 175118 w 364654"/>
                <a:gd name="connsiteY1" fmla="*/ 1439 h 420060"/>
                <a:gd name="connsiteX2" fmla="*/ 362042 w 364654"/>
                <a:gd name="connsiteY2" fmla="*/ 390120 h 420060"/>
                <a:gd name="connsiteX3" fmla="*/ 64 w 364654"/>
                <a:gd name="connsiteY3" fmla="*/ 401988 h 420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654" h="420060">
                  <a:moveTo>
                    <a:pt x="64" y="401988"/>
                  </a:moveTo>
                  <a:cubicBezTo>
                    <a:pt x="-2904" y="223966"/>
                    <a:pt x="97976" y="19241"/>
                    <a:pt x="175118" y="1439"/>
                  </a:cubicBezTo>
                  <a:cubicBezTo>
                    <a:pt x="275998" y="-19330"/>
                    <a:pt x="382810" y="188362"/>
                    <a:pt x="362042" y="390120"/>
                  </a:cubicBezTo>
                  <a:cubicBezTo>
                    <a:pt x="296767" y="422758"/>
                    <a:pt x="95009" y="431659"/>
                    <a:pt x="64" y="401988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AFD9D3BE-9B91-4ABD-A706-E0E3B0C4B027}"/>
                </a:ext>
              </a:extLst>
            </p:cNvPr>
            <p:cNvSpPr/>
            <p:nvPr/>
          </p:nvSpPr>
          <p:spPr>
            <a:xfrm>
              <a:off x="19306515" y="3051384"/>
              <a:ext cx="186962" cy="433186"/>
            </a:xfrm>
            <a:custGeom>
              <a:avLst/>
              <a:gdLst>
                <a:gd name="connsiteX0" fmla="*/ 35603 w 186962"/>
                <a:gd name="connsiteY0" fmla="*/ 433187 h 433186"/>
                <a:gd name="connsiteX1" fmla="*/ 29670 w 186962"/>
                <a:gd name="connsiteY1" fmla="*/ 427253 h 433186"/>
                <a:gd name="connsiteX2" fmla="*/ 35603 w 186962"/>
                <a:gd name="connsiteY2" fmla="*/ 421319 h 433186"/>
                <a:gd name="connsiteX3" fmla="*/ 175054 w 186962"/>
                <a:gd name="connsiteY3" fmla="*/ 394615 h 433186"/>
                <a:gd name="connsiteX4" fmla="*/ 121648 w 186962"/>
                <a:gd name="connsiteY4" fmla="*/ 115714 h 433186"/>
                <a:gd name="connsiteX5" fmla="*/ 115713 w 186962"/>
                <a:gd name="connsiteY5" fmla="*/ 106813 h 433186"/>
                <a:gd name="connsiteX6" fmla="*/ 5933 w 186962"/>
                <a:gd name="connsiteY6" fmla="*/ 11868 h 433186"/>
                <a:gd name="connsiteX7" fmla="*/ 0 w 186962"/>
                <a:gd name="connsiteY7" fmla="*/ 5934 h 433186"/>
                <a:gd name="connsiteX8" fmla="*/ 5933 w 186962"/>
                <a:gd name="connsiteY8" fmla="*/ 0 h 433186"/>
                <a:gd name="connsiteX9" fmla="*/ 124614 w 186962"/>
                <a:gd name="connsiteY9" fmla="*/ 97912 h 433186"/>
                <a:gd name="connsiteX10" fmla="*/ 130548 w 186962"/>
                <a:gd name="connsiteY10" fmla="*/ 106813 h 433186"/>
                <a:gd name="connsiteX11" fmla="*/ 183955 w 186962"/>
                <a:gd name="connsiteY11" fmla="*/ 397582 h 433186"/>
                <a:gd name="connsiteX12" fmla="*/ 183955 w 186962"/>
                <a:gd name="connsiteY12" fmla="*/ 400549 h 433186"/>
                <a:gd name="connsiteX13" fmla="*/ 180988 w 186962"/>
                <a:gd name="connsiteY13" fmla="*/ 400549 h 433186"/>
                <a:gd name="connsiteX14" fmla="*/ 35603 w 186962"/>
                <a:gd name="connsiteY14" fmla="*/ 433187 h 433186"/>
                <a:gd name="connsiteX15" fmla="*/ 35603 w 186962"/>
                <a:gd name="connsiteY15" fmla="*/ 433187 h 433186"/>
                <a:gd name="connsiteX16" fmla="*/ 178022 w 186962"/>
                <a:gd name="connsiteY16" fmla="*/ 397582 h 433186"/>
                <a:gd name="connsiteX17" fmla="*/ 178022 w 186962"/>
                <a:gd name="connsiteY17" fmla="*/ 397582 h 433186"/>
                <a:gd name="connsiteX18" fmla="*/ 178022 w 186962"/>
                <a:gd name="connsiteY18" fmla="*/ 397582 h 433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6962" h="433186">
                  <a:moveTo>
                    <a:pt x="35603" y="433187"/>
                  </a:moveTo>
                  <a:cubicBezTo>
                    <a:pt x="32637" y="433187"/>
                    <a:pt x="29670" y="430220"/>
                    <a:pt x="29670" y="427253"/>
                  </a:cubicBezTo>
                  <a:cubicBezTo>
                    <a:pt x="29670" y="424286"/>
                    <a:pt x="32637" y="421319"/>
                    <a:pt x="35603" y="421319"/>
                  </a:cubicBezTo>
                  <a:cubicBezTo>
                    <a:pt x="106812" y="421319"/>
                    <a:pt x="151318" y="406484"/>
                    <a:pt x="175054" y="394615"/>
                  </a:cubicBezTo>
                  <a:cubicBezTo>
                    <a:pt x="180988" y="359011"/>
                    <a:pt x="172088" y="198791"/>
                    <a:pt x="121648" y="115714"/>
                  </a:cubicBezTo>
                  <a:cubicBezTo>
                    <a:pt x="121648" y="112747"/>
                    <a:pt x="118681" y="109780"/>
                    <a:pt x="115713" y="106813"/>
                  </a:cubicBezTo>
                  <a:cubicBezTo>
                    <a:pt x="100878" y="77143"/>
                    <a:pt x="65273" y="20769"/>
                    <a:pt x="5933" y="11868"/>
                  </a:cubicBezTo>
                  <a:cubicBezTo>
                    <a:pt x="2966" y="11868"/>
                    <a:pt x="0" y="8901"/>
                    <a:pt x="0" y="5934"/>
                  </a:cubicBezTo>
                  <a:cubicBezTo>
                    <a:pt x="0" y="2967"/>
                    <a:pt x="2966" y="0"/>
                    <a:pt x="5933" y="0"/>
                  </a:cubicBezTo>
                  <a:cubicBezTo>
                    <a:pt x="71208" y="5934"/>
                    <a:pt x="106812" y="68242"/>
                    <a:pt x="124614" y="97912"/>
                  </a:cubicBezTo>
                  <a:cubicBezTo>
                    <a:pt x="127582" y="100879"/>
                    <a:pt x="127582" y="103846"/>
                    <a:pt x="130548" y="106813"/>
                  </a:cubicBezTo>
                  <a:cubicBezTo>
                    <a:pt x="183955" y="195824"/>
                    <a:pt x="192857" y="364945"/>
                    <a:pt x="183955" y="397582"/>
                  </a:cubicBezTo>
                  <a:lnTo>
                    <a:pt x="183955" y="400549"/>
                  </a:lnTo>
                  <a:lnTo>
                    <a:pt x="180988" y="400549"/>
                  </a:lnTo>
                  <a:cubicBezTo>
                    <a:pt x="157252" y="418352"/>
                    <a:pt x="109779" y="433187"/>
                    <a:pt x="35603" y="433187"/>
                  </a:cubicBezTo>
                  <a:lnTo>
                    <a:pt x="35603" y="433187"/>
                  </a:lnTo>
                  <a:close/>
                  <a:moveTo>
                    <a:pt x="178022" y="397582"/>
                  </a:moveTo>
                  <a:lnTo>
                    <a:pt x="178022" y="397582"/>
                  </a:lnTo>
                  <a:lnTo>
                    <a:pt x="178022" y="397582"/>
                  </a:ln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D68700C0-3B9E-492C-A859-2FE946B8CEFB}"/>
                </a:ext>
              </a:extLst>
            </p:cNvPr>
            <p:cNvSpPr/>
            <p:nvPr/>
          </p:nvSpPr>
          <p:spPr>
            <a:xfrm>
              <a:off x="20471667" y="2986109"/>
              <a:ext cx="460782" cy="258131"/>
            </a:xfrm>
            <a:custGeom>
              <a:avLst/>
              <a:gdLst>
                <a:gd name="connsiteX0" fmla="*/ 395507 w 460782"/>
                <a:gd name="connsiteY0" fmla="*/ 0 h 258131"/>
                <a:gd name="connsiteX1" fmla="*/ 3858 w 460782"/>
                <a:gd name="connsiteY1" fmla="*/ 130549 h 258131"/>
                <a:gd name="connsiteX2" fmla="*/ 190781 w 460782"/>
                <a:gd name="connsiteY2" fmla="*/ 258132 h 258131"/>
                <a:gd name="connsiteX3" fmla="*/ 460782 w 460782"/>
                <a:gd name="connsiteY3" fmla="*/ 192857 h 258131"/>
                <a:gd name="connsiteX4" fmla="*/ 395507 w 460782"/>
                <a:gd name="connsiteY4" fmla="*/ 0 h 258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782" h="258131">
                  <a:moveTo>
                    <a:pt x="395507" y="0"/>
                  </a:moveTo>
                  <a:cubicBezTo>
                    <a:pt x="395507" y="0"/>
                    <a:pt x="39463" y="97912"/>
                    <a:pt x="3858" y="130549"/>
                  </a:cubicBezTo>
                  <a:cubicBezTo>
                    <a:pt x="-31746" y="166154"/>
                    <a:pt x="190781" y="258132"/>
                    <a:pt x="190781" y="258132"/>
                  </a:cubicBezTo>
                  <a:lnTo>
                    <a:pt x="460782" y="192857"/>
                  </a:lnTo>
                  <a:lnTo>
                    <a:pt x="395507" y="0"/>
                  </a:ln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428F07D7-B8AA-4BB8-8066-ACCC16EE6BE2}"/>
                </a:ext>
              </a:extLst>
            </p:cNvPr>
            <p:cNvGrpSpPr/>
            <p:nvPr/>
          </p:nvGrpSpPr>
          <p:grpSpPr>
            <a:xfrm>
              <a:off x="19733767" y="2922596"/>
              <a:ext cx="1932342" cy="1279996"/>
              <a:chOff x="19733767" y="2922596"/>
              <a:chExt cx="1932342" cy="1279996"/>
            </a:xfrm>
          </p:grpSpPr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DDF06252-2946-4404-ACD0-1A7A12B91CB0}"/>
                  </a:ext>
                </a:extLst>
              </p:cNvPr>
              <p:cNvSpPr/>
              <p:nvPr/>
            </p:nvSpPr>
            <p:spPr>
              <a:xfrm>
                <a:off x="21015525" y="2923801"/>
                <a:ext cx="519230" cy="676483"/>
              </a:xfrm>
              <a:custGeom>
                <a:avLst/>
                <a:gdLst>
                  <a:gd name="connsiteX0" fmla="*/ 519231 w 519230"/>
                  <a:gd name="connsiteY0" fmla="*/ 136483 h 676483"/>
                  <a:gd name="connsiteX1" fmla="*/ 20770 w 519230"/>
                  <a:gd name="connsiteY1" fmla="*/ 676483 h 676483"/>
                  <a:gd name="connsiteX2" fmla="*/ 0 w 519230"/>
                  <a:gd name="connsiteY2" fmla="*/ 540000 h 676483"/>
                  <a:gd name="connsiteX3" fmla="*/ 501429 w 519230"/>
                  <a:gd name="connsiteY3" fmla="*/ 0 h 676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9230" h="676483">
                    <a:moveTo>
                      <a:pt x="519231" y="136483"/>
                    </a:moveTo>
                    <a:lnTo>
                      <a:pt x="20770" y="676483"/>
                    </a:lnTo>
                    <a:lnTo>
                      <a:pt x="0" y="540000"/>
                    </a:lnTo>
                    <a:lnTo>
                      <a:pt x="501429" y="0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03A68683-E3A2-4AD8-A4BF-D413B6EBA9E2}"/>
                  </a:ext>
                </a:extLst>
              </p:cNvPr>
              <p:cNvSpPr/>
              <p:nvPr/>
            </p:nvSpPr>
            <p:spPr>
              <a:xfrm>
                <a:off x="19733767" y="3463801"/>
                <a:ext cx="1913736" cy="599340"/>
              </a:xfrm>
              <a:custGeom>
                <a:avLst/>
                <a:gdLst>
                  <a:gd name="connsiteX0" fmla="*/ 1913736 w 1913736"/>
                  <a:gd name="connsiteY0" fmla="*/ 421319 h 599340"/>
                  <a:gd name="connsiteX1" fmla="*/ 626045 w 1913736"/>
                  <a:gd name="connsiteY1" fmla="*/ 599341 h 599340"/>
                  <a:gd name="connsiteX2" fmla="*/ 0 w 1913736"/>
                  <a:gd name="connsiteY2" fmla="*/ 175055 h 599340"/>
                  <a:gd name="connsiteX3" fmla="*/ 1287693 w 1913736"/>
                  <a:gd name="connsiteY3" fmla="*/ 0 h 599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13736" h="599340">
                    <a:moveTo>
                      <a:pt x="1913736" y="421319"/>
                    </a:moveTo>
                    <a:lnTo>
                      <a:pt x="626045" y="599341"/>
                    </a:lnTo>
                    <a:lnTo>
                      <a:pt x="0" y="175055"/>
                    </a:lnTo>
                    <a:lnTo>
                      <a:pt x="1287693" y="0"/>
                    </a:lnTo>
                    <a:close/>
                  </a:path>
                </a:pathLst>
              </a:custGeom>
              <a:solidFill>
                <a:srgbClr val="F1DDBA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FE804323-E1E3-48E2-AC4D-F14DEB6F31BF}"/>
                  </a:ext>
                </a:extLst>
              </p:cNvPr>
              <p:cNvSpPr/>
              <p:nvPr/>
            </p:nvSpPr>
            <p:spPr>
              <a:xfrm>
                <a:off x="19733767" y="2923801"/>
                <a:ext cx="1783187" cy="715054"/>
              </a:xfrm>
              <a:custGeom>
                <a:avLst/>
                <a:gdLst>
                  <a:gd name="connsiteX0" fmla="*/ 1783188 w 1783187"/>
                  <a:gd name="connsiteY0" fmla="*/ 0 h 715054"/>
                  <a:gd name="connsiteX1" fmla="*/ 495495 w 1783187"/>
                  <a:gd name="connsiteY1" fmla="*/ 175055 h 715054"/>
                  <a:gd name="connsiteX2" fmla="*/ 0 w 1783187"/>
                  <a:gd name="connsiteY2" fmla="*/ 715055 h 715054"/>
                  <a:gd name="connsiteX3" fmla="*/ 1287693 w 1783187"/>
                  <a:gd name="connsiteY3" fmla="*/ 540000 h 715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83187" h="715054">
                    <a:moveTo>
                      <a:pt x="1783188" y="0"/>
                    </a:moveTo>
                    <a:lnTo>
                      <a:pt x="495495" y="175055"/>
                    </a:lnTo>
                    <a:lnTo>
                      <a:pt x="0" y="715055"/>
                    </a:lnTo>
                    <a:lnTo>
                      <a:pt x="1287693" y="540000"/>
                    </a:lnTo>
                    <a:close/>
                  </a:path>
                </a:pathLst>
              </a:custGeom>
              <a:solidFill>
                <a:srgbClr val="F1DDBA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BD4D6CD9-F992-4157-95D4-C6B64CC3BF5B}"/>
                  </a:ext>
                </a:extLst>
              </p:cNvPr>
              <p:cNvSpPr/>
              <p:nvPr/>
            </p:nvSpPr>
            <p:spPr>
              <a:xfrm>
                <a:off x="19733767" y="3638856"/>
                <a:ext cx="649780" cy="557802"/>
              </a:xfrm>
              <a:custGeom>
                <a:avLst/>
                <a:gdLst>
                  <a:gd name="connsiteX0" fmla="*/ 649781 w 649780"/>
                  <a:gd name="connsiteY0" fmla="*/ 557802 h 557802"/>
                  <a:gd name="connsiteX1" fmla="*/ 17803 w 649780"/>
                  <a:gd name="connsiteY1" fmla="*/ 136483 h 557802"/>
                  <a:gd name="connsiteX2" fmla="*/ 0 w 649780"/>
                  <a:gd name="connsiteY2" fmla="*/ 0 h 557802"/>
                  <a:gd name="connsiteX3" fmla="*/ 631978 w 649780"/>
                  <a:gd name="connsiteY3" fmla="*/ 421319 h 557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9780" h="557802">
                    <a:moveTo>
                      <a:pt x="649781" y="557802"/>
                    </a:moveTo>
                    <a:lnTo>
                      <a:pt x="17803" y="136483"/>
                    </a:lnTo>
                    <a:lnTo>
                      <a:pt x="0" y="0"/>
                    </a:lnTo>
                    <a:lnTo>
                      <a:pt x="631978" y="421319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209B3780-D4D6-4F6A-B2A4-C90FAFB7ADBA}"/>
                  </a:ext>
                </a:extLst>
              </p:cNvPr>
              <p:cNvSpPr/>
              <p:nvPr/>
            </p:nvSpPr>
            <p:spPr>
              <a:xfrm>
                <a:off x="21024426" y="3463801"/>
                <a:ext cx="640880" cy="557802"/>
              </a:xfrm>
              <a:custGeom>
                <a:avLst/>
                <a:gdLst>
                  <a:gd name="connsiteX0" fmla="*/ 640880 w 640880"/>
                  <a:gd name="connsiteY0" fmla="*/ 557802 h 557802"/>
                  <a:gd name="connsiteX1" fmla="*/ 17803 w 640880"/>
                  <a:gd name="connsiteY1" fmla="*/ 133516 h 557802"/>
                  <a:gd name="connsiteX2" fmla="*/ 0 w 640880"/>
                  <a:gd name="connsiteY2" fmla="*/ 0 h 557802"/>
                  <a:gd name="connsiteX3" fmla="*/ 623077 w 640880"/>
                  <a:gd name="connsiteY3" fmla="*/ 421319 h 557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0880" h="557802">
                    <a:moveTo>
                      <a:pt x="640880" y="557802"/>
                    </a:moveTo>
                    <a:lnTo>
                      <a:pt x="17803" y="133516"/>
                    </a:lnTo>
                    <a:lnTo>
                      <a:pt x="0" y="0"/>
                    </a:lnTo>
                    <a:lnTo>
                      <a:pt x="623077" y="421319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899E1594-E2D6-4F73-8D82-08E089D8EFA3}"/>
                  </a:ext>
                </a:extLst>
              </p:cNvPr>
              <p:cNvSpPr/>
              <p:nvPr/>
            </p:nvSpPr>
            <p:spPr>
              <a:xfrm>
                <a:off x="19733767" y="3098856"/>
                <a:ext cx="519230" cy="676483"/>
              </a:xfrm>
              <a:custGeom>
                <a:avLst/>
                <a:gdLst>
                  <a:gd name="connsiteX0" fmla="*/ 519231 w 519230"/>
                  <a:gd name="connsiteY0" fmla="*/ 136484 h 676483"/>
                  <a:gd name="connsiteX1" fmla="*/ 17803 w 519230"/>
                  <a:gd name="connsiteY1" fmla="*/ 676484 h 676483"/>
                  <a:gd name="connsiteX2" fmla="*/ 0 w 519230"/>
                  <a:gd name="connsiteY2" fmla="*/ 540000 h 676483"/>
                  <a:gd name="connsiteX3" fmla="*/ 501429 w 519230"/>
                  <a:gd name="connsiteY3" fmla="*/ 0 h 676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9230" h="676483">
                    <a:moveTo>
                      <a:pt x="519231" y="136484"/>
                    </a:moveTo>
                    <a:lnTo>
                      <a:pt x="17803" y="676484"/>
                    </a:lnTo>
                    <a:lnTo>
                      <a:pt x="0" y="540000"/>
                    </a:lnTo>
                    <a:lnTo>
                      <a:pt x="501429" y="0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96" name="图形 1">
                <a:extLst>
                  <a:ext uri="{FF2B5EF4-FFF2-40B4-BE49-F238E27FC236}">
                    <a16:creationId xmlns:a16="http://schemas.microsoft.com/office/drawing/2014/main" id="{F8011B2B-80FB-4604-AE9F-00067FBE6CE4}"/>
                  </a:ext>
                </a:extLst>
              </p:cNvPr>
              <p:cNvGrpSpPr/>
              <p:nvPr/>
            </p:nvGrpSpPr>
            <p:grpSpPr>
              <a:xfrm>
                <a:off x="20288569" y="3658181"/>
                <a:ext cx="910959" cy="335249"/>
                <a:chOff x="20288569" y="3658181"/>
                <a:chExt cx="910959" cy="335249"/>
              </a:xfrm>
            </p:grpSpPr>
            <p:sp>
              <p:nvSpPr>
                <p:cNvPr id="101" name="任意多边形: 形状 100">
                  <a:extLst>
                    <a:ext uri="{FF2B5EF4-FFF2-40B4-BE49-F238E27FC236}">
                      <a16:creationId xmlns:a16="http://schemas.microsoft.com/office/drawing/2014/main" id="{4A2F55AA-F1A8-472A-BC2A-5CEEC8C92A76}"/>
                    </a:ext>
                  </a:extLst>
                </p:cNvPr>
                <p:cNvSpPr/>
                <p:nvPr/>
              </p:nvSpPr>
              <p:spPr>
                <a:xfrm>
                  <a:off x="20288569" y="3658181"/>
                  <a:ext cx="910959" cy="335249"/>
                </a:xfrm>
                <a:custGeom>
                  <a:avLst/>
                  <a:gdLst>
                    <a:gd name="connsiteX0" fmla="*/ 448055 w 910959"/>
                    <a:gd name="connsiteY0" fmla="*/ 1445 h 335249"/>
                    <a:gd name="connsiteX1" fmla="*/ 33 w 910959"/>
                    <a:gd name="connsiteY1" fmla="*/ 188368 h 335249"/>
                    <a:gd name="connsiteX2" fmla="*/ 142450 w 910959"/>
                    <a:gd name="connsiteY2" fmla="*/ 301115 h 335249"/>
                    <a:gd name="connsiteX3" fmla="*/ 462890 w 910959"/>
                    <a:gd name="connsiteY3" fmla="*/ 333752 h 335249"/>
                    <a:gd name="connsiteX4" fmla="*/ 578605 w 910959"/>
                    <a:gd name="connsiteY4" fmla="*/ 324851 h 335249"/>
                    <a:gd name="connsiteX5" fmla="*/ 910913 w 910959"/>
                    <a:gd name="connsiteY5" fmla="*/ 149796 h 335249"/>
                    <a:gd name="connsiteX6" fmla="*/ 448055 w 910959"/>
                    <a:gd name="connsiteY6" fmla="*/ 1445 h 3352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10959" h="335249">
                      <a:moveTo>
                        <a:pt x="448055" y="1445"/>
                      </a:moveTo>
                      <a:cubicBezTo>
                        <a:pt x="192890" y="13313"/>
                        <a:pt x="-2933" y="93423"/>
                        <a:pt x="33" y="188368"/>
                      </a:cubicBezTo>
                      <a:cubicBezTo>
                        <a:pt x="3000" y="232873"/>
                        <a:pt x="53439" y="274412"/>
                        <a:pt x="142450" y="301115"/>
                      </a:cubicBezTo>
                      <a:cubicBezTo>
                        <a:pt x="228495" y="327818"/>
                        <a:pt x="341242" y="339686"/>
                        <a:pt x="462890" y="333752"/>
                      </a:cubicBezTo>
                      <a:cubicBezTo>
                        <a:pt x="501463" y="330785"/>
                        <a:pt x="540034" y="327818"/>
                        <a:pt x="578605" y="324851"/>
                      </a:cubicBezTo>
                      <a:cubicBezTo>
                        <a:pt x="774428" y="298148"/>
                        <a:pt x="913879" y="226939"/>
                        <a:pt x="910913" y="149796"/>
                      </a:cubicBezTo>
                      <a:cubicBezTo>
                        <a:pt x="907945" y="51884"/>
                        <a:pt x="703220" y="-10423"/>
                        <a:pt x="448055" y="1445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2" name="任意多边形: 形状 101">
                  <a:extLst>
                    <a:ext uri="{FF2B5EF4-FFF2-40B4-BE49-F238E27FC236}">
                      <a16:creationId xmlns:a16="http://schemas.microsoft.com/office/drawing/2014/main" id="{3077E65C-3A5D-47BB-878D-DF9E4FEAF5D6}"/>
                    </a:ext>
                  </a:extLst>
                </p:cNvPr>
                <p:cNvSpPr/>
                <p:nvPr/>
              </p:nvSpPr>
              <p:spPr>
                <a:xfrm>
                  <a:off x="20359773" y="3694513"/>
                  <a:ext cx="774434" cy="259866"/>
                </a:xfrm>
                <a:custGeom>
                  <a:avLst/>
                  <a:gdLst>
                    <a:gd name="connsiteX0" fmla="*/ 649818 w 774434"/>
                    <a:gd name="connsiteY0" fmla="*/ 24452 h 259866"/>
                    <a:gd name="connsiteX1" fmla="*/ 379819 w 774434"/>
                    <a:gd name="connsiteY1" fmla="*/ 716 h 259866"/>
                    <a:gd name="connsiteX2" fmla="*/ 39 w 774434"/>
                    <a:gd name="connsiteY2" fmla="*/ 146101 h 259866"/>
                    <a:gd name="connsiteX3" fmla="*/ 391686 w 774434"/>
                    <a:gd name="connsiteY3" fmla="*/ 258848 h 259866"/>
                    <a:gd name="connsiteX4" fmla="*/ 498500 w 774434"/>
                    <a:gd name="connsiteY4" fmla="*/ 249947 h 259866"/>
                    <a:gd name="connsiteX5" fmla="*/ 661687 w 774434"/>
                    <a:gd name="connsiteY5" fmla="*/ 211376 h 259866"/>
                    <a:gd name="connsiteX6" fmla="*/ 774434 w 774434"/>
                    <a:gd name="connsiteY6" fmla="*/ 113463 h 259866"/>
                    <a:gd name="connsiteX7" fmla="*/ 649818 w 774434"/>
                    <a:gd name="connsiteY7" fmla="*/ 24452 h 259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74434" h="259866">
                      <a:moveTo>
                        <a:pt x="649818" y="24452"/>
                      </a:moveTo>
                      <a:cubicBezTo>
                        <a:pt x="575642" y="3683"/>
                        <a:pt x="480697" y="-2251"/>
                        <a:pt x="379819" y="716"/>
                      </a:cubicBezTo>
                      <a:cubicBezTo>
                        <a:pt x="163226" y="9617"/>
                        <a:pt x="-2929" y="74892"/>
                        <a:pt x="39" y="146101"/>
                      </a:cubicBezTo>
                      <a:cubicBezTo>
                        <a:pt x="3005" y="217310"/>
                        <a:pt x="175093" y="267749"/>
                        <a:pt x="391686" y="258848"/>
                      </a:cubicBezTo>
                      <a:cubicBezTo>
                        <a:pt x="427291" y="255881"/>
                        <a:pt x="462896" y="252914"/>
                        <a:pt x="498500" y="249947"/>
                      </a:cubicBezTo>
                      <a:cubicBezTo>
                        <a:pt x="560807" y="241046"/>
                        <a:pt x="614214" y="229178"/>
                        <a:pt x="661687" y="211376"/>
                      </a:cubicBezTo>
                      <a:cubicBezTo>
                        <a:pt x="735863" y="184672"/>
                        <a:pt x="774434" y="149068"/>
                        <a:pt x="774434" y="113463"/>
                      </a:cubicBezTo>
                      <a:cubicBezTo>
                        <a:pt x="768500" y="74892"/>
                        <a:pt x="726962" y="45222"/>
                        <a:pt x="649818" y="24452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03" name="图形 1">
                  <a:extLst>
                    <a:ext uri="{FF2B5EF4-FFF2-40B4-BE49-F238E27FC236}">
                      <a16:creationId xmlns:a16="http://schemas.microsoft.com/office/drawing/2014/main" id="{B9330CB2-0883-4864-916B-28C08371A750}"/>
                    </a:ext>
                  </a:extLst>
                </p:cNvPr>
                <p:cNvGrpSpPr/>
                <p:nvPr/>
              </p:nvGrpSpPr>
              <p:grpSpPr>
                <a:xfrm>
                  <a:off x="20451789" y="3787208"/>
                  <a:ext cx="100879" cy="71208"/>
                  <a:chOff x="20451789" y="3787208"/>
                  <a:chExt cx="100879" cy="71208"/>
                </a:xfrm>
              </p:grpSpPr>
              <p:sp>
                <p:nvSpPr>
                  <p:cNvPr id="119" name="任意多边形: 形状 118">
                    <a:extLst>
                      <a:ext uri="{FF2B5EF4-FFF2-40B4-BE49-F238E27FC236}">
                        <a16:creationId xmlns:a16="http://schemas.microsoft.com/office/drawing/2014/main" id="{46D87F77-D05D-4900-A840-2E748D6C53AD}"/>
                      </a:ext>
                    </a:extLst>
                  </p:cNvPr>
                  <p:cNvSpPr/>
                  <p:nvPr/>
                </p:nvSpPr>
                <p:spPr>
                  <a:xfrm>
                    <a:off x="20460690" y="3793142"/>
                    <a:ext cx="83076" cy="56373"/>
                  </a:xfrm>
                  <a:custGeom>
                    <a:avLst/>
                    <a:gdLst>
                      <a:gd name="connsiteX0" fmla="*/ 83077 w 83076"/>
                      <a:gd name="connsiteY0" fmla="*/ 26703 h 56373"/>
                      <a:gd name="connsiteX1" fmla="*/ 41539 w 83076"/>
                      <a:gd name="connsiteY1" fmla="*/ 56374 h 56373"/>
                      <a:gd name="connsiteX2" fmla="*/ 0 w 83076"/>
                      <a:gd name="connsiteY2" fmla="*/ 29670 h 56373"/>
                      <a:gd name="connsiteX3" fmla="*/ 41539 w 83076"/>
                      <a:gd name="connsiteY3" fmla="*/ 0 h 56373"/>
                      <a:gd name="connsiteX4" fmla="*/ 83077 w 83076"/>
                      <a:gd name="connsiteY4" fmla="*/ 26703 h 56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076" h="56373">
                        <a:moveTo>
                          <a:pt x="83077" y="26703"/>
                        </a:moveTo>
                        <a:cubicBezTo>
                          <a:pt x="83077" y="41539"/>
                          <a:pt x="65275" y="53407"/>
                          <a:pt x="41539" y="56374"/>
                        </a:cubicBezTo>
                        <a:cubicBezTo>
                          <a:pt x="17803" y="56374"/>
                          <a:pt x="0" y="44505"/>
                          <a:pt x="0" y="29670"/>
                        </a:cubicBezTo>
                        <a:cubicBezTo>
                          <a:pt x="0" y="14835"/>
                          <a:pt x="17803" y="2967"/>
                          <a:pt x="41539" y="0"/>
                        </a:cubicBezTo>
                        <a:cubicBezTo>
                          <a:pt x="62309" y="0"/>
                          <a:pt x="83077" y="11868"/>
                          <a:pt x="83077" y="26703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" name="任意多边形: 形状 119">
                    <a:extLst>
                      <a:ext uri="{FF2B5EF4-FFF2-40B4-BE49-F238E27FC236}">
                        <a16:creationId xmlns:a16="http://schemas.microsoft.com/office/drawing/2014/main" id="{A2842639-05FB-4407-8F0B-CC4D7F466B2C}"/>
                      </a:ext>
                    </a:extLst>
                  </p:cNvPr>
                  <p:cNvSpPr/>
                  <p:nvPr/>
                </p:nvSpPr>
                <p:spPr>
                  <a:xfrm>
                    <a:off x="20451789" y="3787208"/>
                    <a:ext cx="100879" cy="71208"/>
                  </a:xfrm>
                  <a:custGeom>
                    <a:avLst/>
                    <a:gdLst>
                      <a:gd name="connsiteX0" fmla="*/ 59341 w 100879"/>
                      <a:gd name="connsiteY0" fmla="*/ 71209 h 71208"/>
                      <a:gd name="connsiteX1" fmla="*/ 50440 w 100879"/>
                      <a:gd name="connsiteY1" fmla="*/ 71209 h 71208"/>
                      <a:gd name="connsiteX2" fmla="*/ 0 w 100879"/>
                      <a:gd name="connsiteY2" fmla="*/ 35604 h 71208"/>
                      <a:gd name="connsiteX3" fmla="*/ 14835 w 100879"/>
                      <a:gd name="connsiteY3" fmla="*/ 8901 h 71208"/>
                      <a:gd name="connsiteX4" fmla="*/ 50440 w 100879"/>
                      <a:gd name="connsiteY4" fmla="*/ 0 h 71208"/>
                      <a:gd name="connsiteX5" fmla="*/ 100880 w 100879"/>
                      <a:gd name="connsiteY5" fmla="*/ 35604 h 71208"/>
                      <a:gd name="connsiteX6" fmla="*/ 86045 w 100879"/>
                      <a:gd name="connsiteY6" fmla="*/ 62308 h 71208"/>
                      <a:gd name="connsiteX7" fmla="*/ 59341 w 100879"/>
                      <a:gd name="connsiteY7" fmla="*/ 71209 h 71208"/>
                      <a:gd name="connsiteX8" fmla="*/ 41539 w 100879"/>
                      <a:gd name="connsiteY8" fmla="*/ 14835 h 71208"/>
                      <a:gd name="connsiteX9" fmla="*/ 23736 w 100879"/>
                      <a:gd name="connsiteY9" fmla="*/ 20769 h 71208"/>
                      <a:gd name="connsiteX10" fmla="*/ 14835 w 100879"/>
                      <a:gd name="connsiteY10" fmla="*/ 32637 h 71208"/>
                      <a:gd name="connsiteX11" fmla="*/ 47472 w 100879"/>
                      <a:gd name="connsiteY11" fmla="*/ 50439 h 71208"/>
                      <a:gd name="connsiteX12" fmla="*/ 71210 w 100879"/>
                      <a:gd name="connsiteY12" fmla="*/ 44505 h 71208"/>
                      <a:gd name="connsiteX13" fmla="*/ 80110 w 100879"/>
                      <a:gd name="connsiteY13" fmla="*/ 32637 h 71208"/>
                      <a:gd name="connsiteX14" fmla="*/ 47472 w 100879"/>
                      <a:gd name="connsiteY14" fmla="*/ 14835 h 71208"/>
                      <a:gd name="connsiteX15" fmla="*/ 41539 w 100879"/>
                      <a:gd name="connsiteY15" fmla="*/ 14835 h 712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00879" h="71208">
                        <a:moveTo>
                          <a:pt x="59341" y="71209"/>
                        </a:moveTo>
                        <a:cubicBezTo>
                          <a:pt x="56374" y="71209"/>
                          <a:pt x="53406" y="71209"/>
                          <a:pt x="50440" y="71209"/>
                        </a:cubicBezTo>
                        <a:cubicBezTo>
                          <a:pt x="20770" y="71209"/>
                          <a:pt x="0" y="56374"/>
                          <a:pt x="0" y="35604"/>
                        </a:cubicBezTo>
                        <a:cubicBezTo>
                          <a:pt x="0" y="26703"/>
                          <a:pt x="5934" y="14835"/>
                          <a:pt x="14835" y="8901"/>
                        </a:cubicBezTo>
                        <a:cubicBezTo>
                          <a:pt x="23736" y="2967"/>
                          <a:pt x="35605" y="0"/>
                          <a:pt x="50440" y="0"/>
                        </a:cubicBezTo>
                        <a:cubicBezTo>
                          <a:pt x="80110" y="0"/>
                          <a:pt x="100880" y="14835"/>
                          <a:pt x="100880" y="35604"/>
                        </a:cubicBezTo>
                        <a:cubicBezTo>
                          <a:pt x="100880" y="44505"/>
                          <a:pt x="94945" y="56374"/>
                          <a:pt x="86045" y="62308"/>
                        </a:cubicBezTo>
                        <a:cubicBezTo>
                          <a:pt x="77142" y="65275"/>
                          <a:pt x="68241" y="68242"/>
                          <a:pt x="59341" y="71209"/>
                        </a:cubicBezTo>
                        <a:close/>
                        <a:moveTo>
                          <a:pt x="41539" y="14835"/>
                        </a:moveTo>
                        <a:cubicBezTo>
                          <a:pt x="35605" y="14835"/>
                          <a:pt x="29670" y="17802"/>
                          <a:pt x="23736" y="20769"/>
                        </a:cubicBezTo>
                        <a:cubicBezTo>
                          <a:pt x="20770" y="23736"/>
                          <a:pt x="14835" y="26703"/>
                          <a:pt x="14835" y="32637"/>
                        </a:cubicBezTo>
                        <a:cubicBezTo>
                          <a:pt x="14835" y="41539"/>
                          <a:pt x="29670" y="50439"/>
                          <a:pt x="47472" y="50439"/>
                        </a:cubicBezTo>
                        <a:cubicBezTo>
                          <a:pt x="56374" y="50439"/>
                          <a:pt x="65275" y="47472"/>
                          <a:pt x="71210" y="44505"/>
                        </a:cubicBezTo>
                        <a:cubicBezTo>
                          <a:pt x="74176" y="41539"/>
                          <a:pt x="80110" y="38572"/>
                          <a:pt x="80110" y="32637"/>
                        </a:cubicBezTo>
                        <a:cubicBezTo>
                          <a:pt x="80110" y="23736"/>
                          <a:pt x="65275" y="14835"/>
                          <a:pt x="47472" y="14835"/>
                        </a:cubicBezTo>
                        <a:cubicBezTo>
                          <a:pt x="47472" y="14835"/>
                          <a:pt x="44505" y="14835"/>
                          <a:pt x="41539" y="14835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04" name="图形 1">
                  <a:extLst>
                    <a:ext uri="{FF2B5EF4-FFF2-40B4-BE49-F238E27FC236}">
                      <a16:creationId xmlns:a16="http://schemas.microsoft.com/office/drawing/2014/main" id="{04B2F009-EA81-4D3B-B191-90A530773EE0}"/>
                    </a:ext>
                  </a:extLst>
                </p:cNvPr>
                <p:cNvGrpSpPr/>
                <p:nvPr/>
              </p:nvGrpSpPr>
              <p:grpSpPr>
                <a:xfrm>
                  <a:off x="20795964" y="3831713"/>
                  <a:ext cx="100879" cy="71208"/>
                  <a:chOff x="20795964" y="3831713"/>
                  <a:chExt cx="100879" cy="71208"/>
                </a:xfrm>
              </p:grpSpPr>
              <p:sp>
                <p:nvSpPr>
                  <p:cNvPr id="117" name="任意多边形: 形状 116">
                    <a:extLst>
                      <a:ext uri="{FF2B5EF4-FFF2-40B4-BE49-F238E27FC236}">
                        <a16:creationId xmlns:a16="http://schemas.microsoft.com/office/drawing/2014/main" id="{52134EB9-78E1-48EA-82D2-0077C0524B44}"/>
                      </a:ext>
                    </a:extLst>
                  </p:cNvPr>
                  <p:cNvSpPr/>
                  <p:nvPr/>
                </p:nvSpPr>
                <p:spPr>
                  <a:xfrm>
                    <a:off x="20804867" y="3840232"/>
                    <a:ext cx="83076" cy="56755"/>
                  </a:xfrm>
                  <a:custGeom>
                    <a:avLst/>
                    <a:gdLst>
                      <a:gd name="connsiteX0" fmla="*/ 83077 w 83076"/>
                      <a:gd name="connsiteY0" fmla="*/ 27085 h 56755"/>
                      <a:gd name="connsiteX1" fmla="*/ 41537 w 83076"/>
                      <a:gd name="connsiteY1" fmla="*/ 56755 h 56755"/>
                      <a:gd name="connsiteX2" fmla="*/ 0 w 83076"/>
                      <a:gd name="connsiteY2" fmla="*/ 30052 h 56755"/>
                      <a:gd name="connsiteX3" fmla="*/ 41537 w 83076"/>
                      <a:gd name="connsiteY3" fmla="*/ 382 h 56755"/>
                      <a:gd name="connsiteX4" fmla="*/ 83077 w 83076"/>
                      <a:gd name="connsiteY4" fmla="*/ 27085 h 567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076" h="56755">
                        <a:moveTo>
                          <a:pt x="83077" y="27085"/>
                        </a:moveTo>
                        <a:cubicBezTo>
                          <a:pt x="83077" y="41920"/>
                          <a:pt x="65273" y="53788"/>
                          <a:pt x="41537" y="56755"/>
                        </a:cubicBezTo>
                        <a:cubicBezTo>
                          <a:pt x="17801" y="56755"/>
                          <a:pt x="0" y="44887"/>
                          <a:pt x="0" y="30052"/>
                        </a:cubicBezTo>
                        <a:cubicBezTo>
                          <a:pt x="0" y="15217"/>
                          <a:pt x="17801" y="3349"/>
                          <a:pt x="41537" y="382"/>
                        </a:cubicBezTo>
                        <a:cubicBezTo>
                          <a:pt x="62307" y="-2585"/>
                          <a:pt x="83077" y="12250"/>
                          <a:pt x="83077" y="27085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" name="任意多边形: 形状 117">
                    <a:extLst>
                      <a:ext uri="{FF2B5EF4-FFF2-40B4-BE49-F238E27FC236}">
                        <a16:creationId xmlns:a16="http://schemas.microsoft.com/office/drawing/2014/main" id="{B27364B3-FFD4-4CAC-86C2-94BF17527088}"/>
                      </a:ext>
                    </a:extLst>
                  </p:cNvPr>
                  <p:cNvSpPr/>
                  <p:nvPr/>
                </p:nvSpPr>
                <p:spPr>
                  <a:xfrm>
                    <a:off x="20795964" y="3831713"/>
                    <a:ext cx="100879" cy="71208"/>
                  </a:xfrm>
                  <a:custGeom>
                    <a:avLst/>
                    <a:gdLst>
                      <a:gd name="connsiteX0" fmla="*/ 59341 w 100879"/>
                      <a:gd name="connsiteY0" fmla="*/ 71209 h 71208"/>
                      <a:gd name="connsiteX1" fmla="*/ 50440 w 100879"/>
                      <a:gd name="connsiteY1" fmla="*/ 71209 h 71208"/>
                      <a:gd name="connsiteX2" fmla="*/ 0 w 100879"/>
                      <a:gd name="connsiteY2" fmla="*/ 35604 h 71208"/>
                      <a:gd name="connsiteX3" fmla="*/ 14835 w 100879"/>
                      <a:gd name="connsiteY3" fmla="*/ 8901 h 71208"/>
                      <a:gd name="connsiteX4" fmla="*/ 50440 w 100879"/>
                      <a:gd name="connsiteY4" fmla="*/ 0 h 71208"/>
                      <a:gd name="connsiteX5" fmla="*/ 100880 w 100879"/>
                      <a:gd name="connsiteY5" fmla="*/ 35604 h 71208"/>
                      <a:gd name="connsiteX6" fmla="*/ 86045 w 100879"/>
                      <a:gd name="connsiteY6" fmla="*/ 62308 h 71208"/>
                      <a:gd name="connsiteX7" fmla="*/ 59341 w 100879"/>
                      <a:gd name="connsiteY7" fmla="*/ 71209 h 71208"/>
                      <a:gd name="connsiteX8" fmla="*/ 41539 w 100879"/>
                      <a:gd name="connsiteY8" fmla="*/ 17802 h 71208"/>
                      <a:gd name="connsiteX9" fmla="*/ 23738 w 100879"/>
                      <a:gd name="connsiteY9" fmla="*/ 23736 h 71208"/>
                      <a:gd name="connsiteX10" fmla="*/ 14835 w 100879"/>
                      <a:gd name="connsiteY10" fmla="*/ 35604 h 71208"/>
                      <a:gd name="connsiteX11" fmla="*/ 47474 w 100879"/>
                      <a:gd name="connsiteY11" fmla="*/ 53407 h 71208"/>
                      <a:gd name="connsiteX12" fmla="*/ 71210 w 100879"/>
                      <a:gd name="connsiteY12" fmla="*/ 47472 h 71208"/>
                      <a:gd name="connsiteX13" fmla="*/ 80110 w 100879"/>
                      <a:gd name="connsiteY13" fmla="*/ 35604 h 71208"/>
                      <a:gd name="connsiteX14" fmla="*/ 47474 w 100879"/>
                      <a:gd name="connsiteY14" fmla="*/ 17802 h 71208"/>
                      <a:gd name="connsiteX15" fmla="*/ 41539 w 100879"/>
                      <a:gd name="connsiteY15" fmla="*/ 17802 h 712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00879" h="71208">
                        <a:moveTo>
                          <a:pt x="59341" y="71209"/>
                        </a:moveTo>
                        <a:cubicBezTo>
                          <a:pt x="56374" y="71209"/>
                          <a:pt x="53408" y="71209"/>
                          <a:pt x="50440" y="71209"/>
                        </a:cubicBezTo>
                        <a:cubicBezTo>
                          <a:pt x="20770" y="71209"/>
                          <a:pt x="0" y="56374"/>
                          <a:pt x="0" y="35604"/>
                        </a:cubicBezTo>
                        <a:cubicBezTo>
                          <a:pt x="0" y="26703"/>
                          <a:pt x="5934" y="14835"/>
                          <a:pt x="14835" y="8901"/>
                        </a:cubicBezTo>
                        <a:cubicBezTo>
                          <a:pt x="23738" y="2967"/>
                          <a:pt x="35605" y="0"/>
                          <a:pt x="50440" y="0"/>
                        </a:cubicBezTo>
                        <a:cubicBezTo>
                          <a:pt x="80110" y="0"/>
                          <a:pt x="100880" y="14835"/>
                          <a:pt x="100880" y="35604"/>
                        </a:cubicBezTo>
                        <a:cubicBezTo>
                          <a:pt x="100880" y="44505"/>
                          <a:pt x="94945" y="56374"/>
                          <a:pt x="86045" y="62308"/>
                        </a:cubicBezTo>
                        <a:cubicBezTo>
                          <a:pt x="77144" y="65275"/>
                          <a:pt x="68243" y="71209"/>
                          <a:pt x="59341" y="71209"/>
                        </a:cubicBezTo>
                        <a:close/>
                        <a:moveTo>
                          <a:pt x="41539" y="17802"/>
                        </a:moveTo>
                        <a:cubicBezTo>
                          <a:pt x="35605" y="17802"/>
                          <a:pt x="29670" y="20769"/>
                          <a:pt x="23738" y="23736"/>
                        </a:cubicBezTo>
                        <a:cubicBezTo>
                          <a:pt x="20770" y="26703"/>
                          <a:pt x="14835" y="29670"/>
                          <a:pt x="14835" y="35604"/>
                        </a:cubicBezTo>
                        <a:cubicBezTo>
                          <a:pt x="14835" y="44505"/>
                          <a:pt x="29670" y="53407"/>
                          <a:pt x="47474" y="53407"/>
                        </a:cubicBezTo>
                        <a:cubicBezTo>
                          <a:pt x="56374" y="53407"/>
                          <a:pt x="65275" y="50439"/>
                          <a:pt x="71210" y="47472"/>
                        </a:cubicBezTo>
                        <a:cubicBezTo>
                          <a:pt x="74176" y="44505"/>
                          <a:pt x="80110" y="41539"/>
                          <a:pt x="80110" y="35604"/>
                        </a:cubicBezTo>
                        <a:cubicBezTo>
                          <a:pt x="80110" y="26703"/>
                          <a:pt x="65275" y="17802"/>
                          <a:pt x="47474" y="17802"/>
                        </a:cubicBezTo>
                        <a:cubicBezTo>
                          <a:pt x="47474" y="14835"/>
                          <a:pt x="44505" y="17802"/>
                          <a:pt x="41539" y="17802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05" name="图形 1">
                  <a:extLst>
                    <a:ext uri="{FF2B5EF4-FFF2-40B4-BE49-F238E27FC236}">
                      <a16:creationId xmlns:a16="http://schemas.microsoft.com/office/drawing/2014/main" id="{9461DD5F-43DC-43E6-991D-1F56318BE305}"/>
                    </a:ext>
                  </a:extLst>
                </p:cNvPr>
                <p:cNvGrpSpPr/>
                <p:nvPr/>
              </p:nvGrpSpPr>
              <p:grpSpPr>
                <a:xfrm>
                  <a:off x="20614976" y="3730834"/>
                  <a:ext cx="100879" cy="71208"/>
                  <a:chOff x="20614976" y="3730834"/>
                  <a:chExt cx="100879" cy="71208"/>
                </a:xfrm>
              </p:grpSpPr>
              <p:sp>
                <p:nvSpPr>
                  <p:cNvPr id="115" name="任意多边形: 形状 114">
                    <a:extLst>
                      <a:ext uri="{FF2B5EF4-FFF2-40B4-BE49-F238E27FC236}">
                        <a16:creationId xmlns:a16="http://schemas.microsoft.com/office/drawing/2014/main" id="{52A9D93E-ED86-47D6-9155-5AD497267A32}"/>
                      </a:ext>
                    </a:extLst>
                  </p:cNvPr>
                  <p:cNvSpPr/>
                  <p:nvPr/>
                </p:nvSpPr>
                <p:spPr>
                  <a:xfrm>
                    <a:off x="20623877" y="3739353"/>
                    <a:ext cx="83076" cy="56755"/>
                  </a:xfrm>
                  <a:custGeom>
                    <a:avLst/>
                    <a:gdLst>
                      <a:gd name="connsiteX0" fmla="*/ 83077 w 83076"/>
                      <a:gd name="connsiteY0" fmla="*/ 27085 h 56755"/>
                      <a:gd name="connsiteX1" fmla="*/ 41539 w 83076"/>
                      <a:gd name="connsiteY1" fmla="*/ 56756 h 56755"/>
                      <a:gd name="connsiteX2" fmla="*/ 0 w 83076"/>
                      <a:gd name="connsiteY2" fmla="*/ 30052 h 56755"/>
                      <a:gd name="connsiteX3" fmla="*/ 41539 w 83076"/>
                      <a:gd name="connsiteY3" fmla="*/ 382 h 56755"/>
                      <a:gd name="connsiteX4" fmla="*/ 83077 w 83076"/>
                      <a:gd name="connsiteY4" fmla="*/ 27085 h 567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076" h="56755">
                        <a:moveTo>
                          <a:pt x="83077" y="27085"/>
                        </a:moveTo>
                        <a:cubicBezTo>
                          <a:pt x="83077" y="41920"/>
                          <a:pt x="65275" y="53788"/>
                          <a:pt x="41539" y="56756"/>
                        </a:cubicBezTo>
                        <a:cubicBezTo>
                          <a:pt x="17803" y="56756"/>
                          <a:pt x="0" y="44887"/>
                          <a:pt x="0" y="30052"/>
                        </a:cubicBezTo>
                        <a:cubicBezTo>
                          <a:pt x="0" y="15217"/>
                          <a:pt x="17803" y="3349"/>
                          <a:pt x="41539" y="382"/>
                        </a:cubicBezTo>
                        <a:cubicBezTo>
                          <a:pt x="65275" y="-2585"/>
                          <a:pt x="83077" y="12250"/>
                          <a:pt x="83077" y="27085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" name="任意多边形: 形状 115">
                    <a:extLst>
                      <a:ext uri="{FF2B5EF4-FFF2-40B4-BE49-F238E27FC236}">
                        <a16:creationId xmlns:a16="http://schemas.microsoft.com/office/drawing/2014/main" id="{89600490-D06E-4BA6-AF93-832076E09CA9}"/>
                      </a:ext>
                    </a:extLst>
                  </p:cNvPr>
                  <p:cNvSpPr/>
                  <p:nvPr/>
                </p:nvSpPr>
                <p:spPr>
                  <a:xfrm>
                    <a:off x="20614976" y="3730834"/>
                    <a:ext cx="100879" cy="71208"/>
                  </a:xfrm>
                  <a:custGeom>
                    <a:avLst/>
                    <a:gdLst>
                      <a:gd name="connsiteX0" fmla="*/ 59341 w 100879"/>
                      <a:gd name="connsiteY0" fmla="*/ 71209 h 71208"/>
                      <a:gd name="connsiteX1" fmla="*/ 50440 w 100879"/>
                      <a:gd name="connsiteY1" fmla="*/ 71209 h 71208"/>
                      <a:gd name="connsiteX2" fmla="*/ 0 w 100879"/>
                      <a:gd name="connsiteY2" fmla="*/ 35605 h 71208"/>
                      <a:gd name="connsiteX3" fmla="*/ 14835 w 100879"/>
                      <a:gd name="connsiteY3" fmla="*/ 8901 h 71208"/>
                      <a:gd name="connsiteX4" fmla="*/ 50440 w 100879"/>
                      <a:gd name="connsiteY4" fmla="*/ 0 h 71208"/>
                      <a:gd name="connsiteX5" fmla="*/ 100880 w 100879"/>
                      <a:gd name="connsiteY5" fmla="*/ 35605 h 71208"/>
                      <a:gd name="connsiteX6" fmla="*/ 86045 w 100879"/>
                      <a:gd name="connsiteY6" fmla="*/ 62308 h 71208"/>
                      <a:gd name="connsiteX7" fmla="*/ 59341 w 100879"/>
                      <a:gd name="connsiteY7" fmla="*/ 71209 h 71208"/>
                      <a:gd name="connsiteX8" fmla="*/ 44505 w 100879"/>
                      <a:gd name="connsiteY8" fmla="*/ 17802 h 71208"/>
                      <a:gd name="connsiteX9" fmla="*/ 26704 w 100879"/>
                      <a:gd name="connsiteY9" fmla="*/ 23736 h 71208"/>
                      <a:gd name="connsiteX10" fmla="*/ 17801 w 100879"/>
                      <a:gd name="connsiteY10" fmla="*/ 35605 h 71208"/>
                      <a:gd name="connsiteX11" fmla="*/ 50440 w 100879"/>
                      <a:gd name="connsiteY11" fmla="*/ 53407 h 71208"/>
                      <a:gd name="connsiteX12" fmla="*/ 74176 w 100879"/>
                      <a:gd name="connsiteY12" fmla="*/ 47472 h 71208"/>
                      <a:gd name="connsiteX13" fmla="*/ 83077 w 100879"/>
                      <a:gd name="connsiteY13" fmla="*/ 35605 h 71208"/>
                      <a:gd name="connsiteX14" fmla="*/ 50440 w 100879"/>
                      <a:gd name="connsiteY14" fmla="*/ 17802 h 71208"/>
                      <a:gd name="connsiteX15" fmla="*/ 44505 w 100879"/>
                      <a:gd name="connsiteY15" fmla="*/ 17802 h 712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00879" h="71208">
                        <a:moveTo>
                          <a:pt x="59341" y="71209"/>
                        </a:moveTo>
                        <a:cubicBezTo>
                          <a:pt x="56374" y="71209"/>
                          <a:pt x="53406" y="71209"/>
                          <a:pt x="50440" y="71209"/>
                        </a:cubicBezTo>
                        <a:cubicBezTo>
                          <a:pt x="20770" y="71209"/>
                          <a:pt x="0" y="56374"/>
                          <a:pt x="0" y="35605"/>
                        </a:cubicBezTo>
                        <a:cubicBezTo>
                          <a:pt x="0" y="26703"/>
                          <a:pt x="5934" y="14835"/>
                          <a:pt x="14835" y="8901"/>
                        </a:cubicBezTo>
                        <a:cubicBezTo>
                          <a:pt x="23736" y="2967"/>
                          <a:pt x="35605" y="0"/>
                          <a:pt x="50440" y="0"/>
                        </a:cubicBezTo>
                        <a:cubicBezTo>
                          <a:pt x="80110" y="0"/>
                          <a:pt x="100880" y="14835"/>
                          <a:pt x="100880" y="35605"/>
                        </a:cubicBezTo>
                        <a:cubicBezTo>
                          <a:pt x="100880" y="44505"/>
                          <a:pt x="94945" y="56374"/>
                          <a:pt x="86045" y="62308"/>
                        </a:cubicBezTo>
                        <a:cubicBezTo>
                          <a:pt x="80110" y="65275"/>
                          <a:pt x="71210" y="68242"/>
                          <a:pt x="59341" y="71209"/>
                        </a:cubicBezTo>
                        <a:close/>
                        <a:moveTo>
                          <a:pt x="44505" y="17802"/>
                        </a:moveTo>
                        <a:cubicBezTo>
                          <a:pt x="38571" y="17802"/>
                          <a:pt x="32637" y="20769"/>
                          <a:pt x="26704" y="23736"/>
                        </a:cubicBezTo>
                        <a:cubicBezTo>
                          <a:pt x="23736" y="26703"/>
                          <a:pt x="17801" y="29670"/>
                          <a:pt x="17801" y="35605"/>
                        </a:cubicBezTo>
                        <a:cubicBezTo>
                          <a:pt x="17801" y="44505"/>
                          <a:pt x="32637" y="53407"/>
                          <a:pt x="50440" y="53407"/>
                        </a:cubicBezTo>
                        <a:cubicBezTo>
                          <a:pt x="59341" y="53407"/>
                          <a:pt x="68241" y="50440"/>
                          <a:pt x="74176" y="47472"/>
                        </a:cubicBezTo>
                        <a:cubicBezTo>
                          <a:pt x="77142" y="44505"/>
                          <a:pt x="83077" y="41539"/>
                          <a:pt x="83077" y="35605"/>
                        </a:cubicBezTo>
                        <a:cubicBezTo>
                          <a:pt x="83077" y="26703"/>
                          <a:pt x="68241" y="17802"/>
                          <a:pt x="50440" y="17802"/>
                        </a:cubicBezTo>
                        <a:cubicBezTo>
                          <a:pt x="47472" y="14835"/>
                          <a:pt x="47472" y="14835"/>
                          <a:pt x="44505" y="17802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06" name="图形 1">
                  <a:extLst>
                    <a:ext uri="{FF2B5EF4-FFF2-40B4-BE49-F238E27FC236}">
                      <a16:creationId xmlns:a16="http://schemas.microsoft.com/office/drawing/2014/main" id="{66F73467-05F6-464F-91FD-BE1781FCD069}"/>
                    </a:ext>
                  </a:extLst>
                </p:cNvPr>
                <p:cNvGrpSpPr/>
                <p:nvPr/>
              </p:nvGrpSpPr>
              <p:grpSpPr>
                <a:xfrm>
                  <a:off x="20941350" y="3772373"/>
                  <a:ext cx="100879" cy="71208"/>
                  <a:chOff x="20941350" y="3772373"/>
                  <a:chExt cx="100879" cy="71208"/>
                </a:xfrm>
              </p:grpSpPr>
              <p:sp>
                <p:nvSpPr>
                  <p:cNvPr id="113" name="任意多边形: 形状 112">
                    <a:extLst>
                      <a:ext uri="{FF2B5EF4-FFF2-40B4-BE49-F238E27FC236}">
                        <a16:creationId xmlns:a16="http://schemas.microsoft.com/office/drawing/2014/main" id="{1607C642-9031-4727-A352-EE3DDD310B8D}"/>
                      </a:ext>
                    </a:extLst>
                  </p:cNvPr>
                  <p:cNvSpPr/>
                  <p:nvPr/>
                </p:nvSpPr>
                <p:spPr>
                  <a:xfrm>
                    <a:off x="20950250" y="3781274"/>
                    <a:ext cx="83076" cy="56373"/>
                  </a:xfrm>
                  <a:custGeom>
                    <a:avLst/>
                    <a:gdLst>
                      <a:gd name="connsiteX0" fmla="*/ 83077 w 83076"/>
                      <a:gd name="connsiteY0" fmla="*/ 26703 h 56373"/>
                      <a:gd name="connsiteX1" fmla="*/ 41539 w 83076"/>
                      <a:gd name="connsiteY1" fmla="*/ 56373 h 56373"/>
                      <a:gd name="connsiteX2" fmla="*/ 0 w 83076"/>
                      <a:gd name="connsiteY2" fmla="*/ 29670 h 56373"/>
                      <a:gd name="connsiteX3" fmla="*/ 41539 w 83076"/>
                      <a:gd name="connsiteY3" fmla="*/ 0 h 56373"/>
                      <a:gd name="connsiteX4" fmla="*/ 83077 w 83076"/>
                      <a:gd name="connsiteY4" fmla="*/ 26703 h 56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076" h="56373">
                        <a:moveTo>
                          <a:pt x="83077" y="26703"/>
                        </a:moveTo>
                        <a:cubicBezTo>
                          <a:pt x="83077" y="41538"/>
                          <a:pt x="65275" y="53406"/>
                          <a:pt x="41539" y="56373"/>
                        </a:cubicBezTo>
                        <a:cubicBezTo>
                          <a:pt x="17803" y="56373"/>
                          <a:pt x="0" y="44505"/>
                          <a:pt x="0" y="29670"/>
                        </a:cubicBezTo>
                        <a:cubicBezTo>
                          <a:pt x="0" y="14835"/>
                          <a:pt x="17803" y="2967"/>
                          <a:pt x="41539" y="0"/>
                        </a:cubicBezTo>
                        <a:cubicBezTo>
                          <a:pt x="65275" y="0"/>
                          <a:pt x="83077" y="11868"/>
                          <a:pt x="83077" y="26703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" name="任意多边形: 形状 113">
                    <a:extLst>
                      <a:ext uri="{FF2B5EF4-FFF2-40B4-BE49-F238E27FC236}">
                        <a16:creationId xmlns:a16="http://schemas.microsoft.com/office/drawing/2014/main" id="{8FC986FA-1A36-4C6F-A6A7-B8D19354DA77}"/>
                      </a:ext>
                    </a:extLst>
                  </p:cNvPr>
                  <p:cNvSpPr/>
                  <p:nvPr/>
                </p:nvSpPr>
                <p:spPr>
                  <a:xfrm>
                    <a:off x="20941350" y="3772373"/>
                    <a:ext cx="100879" cy="71208"/>
                  </a:xfrm>
                  <a:custGeom>
                    <a:avLst/>
                    <a:gdLst>
                      <a:gd name="connsiteX0" fmla="*/ 59341 w 100879"/>
                      <a:gd name="connsiteY0" fmla="*/ 71209 h 71208"/>
                      <a:gd name="connsiteX1" fmla="*/ 50440 w 100879"/>
                      <a:gd name="connsiteY1" fmla="*/ 71209 h 71208"/>
                      <a:gd name="connsiteX2" fmla="*/ 0 w 100879"/>
                      <a:gd name="connsiteY2" fmla="*/ 35604 h 71208"/>
                      <a:gd name="connsiteX3" fmla="*/ 50440 w 100879"/>
                      <a:gd name="connsiteY3" fmla="*/ 0 h 71208"/>
                      <a:gd name="connsiteX4" fmla="*/ 100880 w 100879"/>
                      <a:gd name="connsiteY4" fmla="*/ 35604 h 71208"/>
                      <a:gd name="connsiteX5" fmla="*/ 100880 w 100879"/>
                      <a:gd name="connsiteY5" fmla="*/ 35604 h 71208"/>
                      <a:gd name="connsiteX6" fmla="*/ 86045 w 100879"/>
                      <a:gd name="connsiteY6" fmla="*/ 62308 h 71208"/>
                      <a:gd name="connsiteX7" fmla="*/ 59341 w 100879"/>
                      <a:gd name="connsiteY7" fmla="*/ 71209 h 71208"/>
                      <a:gd name="connsiteX8" fmla="*/ 44505 w 100879"/>
                      <a:gd name="connsiteY8" fmla="*/ 17802 h 71208"/>
                      <a:gd name="connsiteX9" fmla="*/ 17801 w 100879"/>
                      <a:gd name="connsiteY9" fmla="*/ 35604 h 71208"/>
                      <a:gd name="connsiteX10" fmla="*/ 50440 w 100879"/>
                      <a:gd name="connsiteY10" fmla="*/ 53407 h 71208"/>
                      <a:gd name="connsiteX11" fmla="*/ 74176 w 100879"/>
                      <a:gd name="connsiteY11" fmla="*/ 47472 h 71208"/>
                      <a:gd name="connsiteX12" fmla="*/ 83077 w 100879"/>
                      <a:gd name="connsiteY12" fmla="*/ 35604 h 71208"/>
                      <a:gd name="connsiteX13" fmla="*/ 50440 w 100879"/>
                      <a:gd name="connsiteY13" fmla="*/ 17802 h 71208"/>
                      <a:gd name="connsiteX14" fmla="*/ 44505 w 100879"/>
                      <a:gd name="connsiteY14" fmla="*/ 17802 h 71208"/>
                      <a:gd name="connsiteX15" fmla="*/ 91977 w 100879"/>
                      <a:gd name="connsiteY15" fmla="*/ 35604 h 71208"/>
                      <a:gd name="connsiteX16" fmla="*/ 91977 w 100879"/>
                      <a:gd name="connsiteY16" fmla="*/ 35604 h 71208"/>
                      <a:gd name="connsiteX17" fmla="*/ 91977 w 100879"/>
                      <a:gd name="connsiteY17" fmla="*/ 35604 h 712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00879" h="71208">
                        <a:moveTo>
                          <a:pt x="59341" y="71209"/>
                        </a:moveTo>
                        <a:cubicBezTo>
                          <a:pt x="56374" y="71209"/>
                          <a:pt x="53406" y="71209"/>
                          <a:pt x="50440" y="71209"/>
                        </a:cubicBezTo>
                        <a:cubicBezTo>
                          <a:pt x="20770" y="71209"/>
                          <a:pt x="0" y="56374"/>
                          <a:pt x="0" y="35604"/>
                        </a:cubicBezTo>
                        <a:cubicBezTo>
                          <a:pt x="0" y="14835"/>
                          <a:pt x="20770" y="0"/>
                          <a:pt x="50440" y="0"/>
                        </a:cubicBezTo>
                        <a:cubicBezTo>
                          <a:pt x="80110" y="0"/>
                          <a:pt x="100880" y="14835"/>
                          <a:pt x="100880" y="35604"/>
                        </a:cubicBezTo>
                        <a:lnTo>
                          <a:pt x="100880" y="35604"/>
                        </a:lnTo>
                        <a:cubicBezTo>
                          <a:pt x="100880" y="44505"/>
                          <a:pt x="94945" y="56374"/>
                          <a:pt x="86045" y="62308"/>
                        </a:cubicBezTo>
                        <a:cubicBezTo>
                          <a:pt x="77142" y="68242"/>
                          <a:pt x="68241" y="71209"/>
                          <a:pt x="59341" y="71209"/>
                        </a:cubicBezTo>
                        <a:close/>
                        <a:moveTo>
                          <a:pt x="44505" y="17802"/>
                        </a:moveTo>
                        <a:cubicBezTo>
                          <a:pt x="29670" y="20769"/>
                          <a:pt x="17801" y="29670"/>
                          <a:pt x="17801" y="35604"/>
                        </a:cubicBezTo>
                        <a:cubicBezTo>
                          <a:pt x="17801" y="44505"/>
                          <a:pt x="32637" y="53407"/>
                          <a:pt x="50440" y="53407"/>
                        </a:cubicBezTo>
                        <a:cubicBezTo>
                          <a:pt x="59341" y="53407"/>
                          <a:pt x="68241" y="50439"/>
                          <a:pt x="74176" y="47472"/>
                        </a:cubicBezTo>
                        <a:cubicBezTo>
                          <a:pt x="77142" y="44505"/>
                          <a:pt x="83077" y="41539"/>
                          <a:pt x="83077" y="35604"/>
                        </a:cubicBezTo>
                        <a:cubicBezTo>
                          <a:pt x="83077" y="26703"/>
                          <a:pt x="68241" y="17802"/>
                          <a:pt x="50440" y="17802"/>
                        </a:cubicBezTo>
                        <a:cubicBezTo>
                          <a:pt x="47472" y="17802"/>
                          <a:pt x="47472" y="17802"/>
                          <a:pt x="44505" y="17802"/>
                        </a:cubicBezTo>
                        <a:close/>
                        <a:moveTo>
                          <a:pt x="91977" y="35604"/>
                        </a:moveTo>
                        <a:lnTo>
                          <a:pt x="91977" y="35604"/>
                        </a:lnTo>
                        <a:lnTo>
                          <a:pt x="91977" y="35604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07" name="图形 1">
                  <a:extLst>
                    <a:ext uri="{FF2B5EF4-FFF2-40B4-BE49-F238E27FC236}">
                      <a16:creationId xmlns:a16="http://schemas.microsoft.com/office/drawing/2014/main" id="{7895FC2C-7816-4722-8F52-6A6A1A3C4430}"/>
                    </a:ext>
                  </a:extLst>
                </p:cNvPr>
                <p:cNvGrpSpPr/>
                <p:nvPr/>
              </p:nvGrpSpPr>
              <p:grpSpPr>
                <a:xfrm>
                  <a:off x="20790032" y="3724900"/>
                  <a:ext cx="100878" cy="74175"/>
                  <a:chOff x="20790032" y="3724900"/>
                  <a:chExt cx="100878" cy="74175"/>
                </a:xfrm>
              </p:grpSpPr>
              <p:sp>
                <p:nvSpPr>
                  <p:cNvPr id="111" name="任意多边形: 形状 110">
                    <a:extLst>
                      <a:ext uri="{FF2B5EF4-FFF2-40B4-BE49-F238E27FC236}">
                        <a16:creationId xmlns:a16="http://schemas.microsoft.com/office/drawing/2014/main" id="{E8949363-4764-471B-9879-663A88B204CC}"/>
                      </a:ext>
                    </a:extLst>
                  </p:cNvPr>
                  <p:cNvSpPr/>
                  <p:nvPr/>
                </p:nvSpPr>
                <p:spPr>
                  <a:xfrm>
                    <a:off x="20798932" y="3736768"/>
                    <a:ext cx="83076" cy="56373"/>
                  </a:xfrm>
                  <a:custGeom>
                    <a:avLst/>
                    <a:gdLst>
                      <a:gd name="connsiteX0" fmla="*/ 83077 w 83076"/>
                      <a:gd name="connsiteY0" fmla="*/ 26703 h 56373"/>
                      <a:gd name="connsiteX1" fmla="*/ 41537 w 83076"/>
                      <a:gd name="connsiteY1" fmla="*/ 56373 h 56373"/>
                      <a:gd name="connsiteX2" fmla="*/ 0 w 83076"/>
                      <a:gd name="connsiteY2" fmla="*/ 29670 h 56373"/>
                      <a:gd name="connsiteX3" fmla="*/ 41537 w 83076"/>
                      <a:gd name="connsiteY3" fmla="*/ 0 h 56373"/>
                      <a:gd name="connsiteX4" fmla="*/ 83077 w 83076"/>
                      <a:gd name="connsiteY4" fmla="*/ 26703 h 56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076" h="56373">
                        <a:moveTo>
                          <a:pt x="83077" y="26703"/>
                        </a:moveTo>
                        <a:cubicBezTo>
                          <a:pt x="83077" y="41538"/>
                          <a:pt x="65275" y="53406"/>
                          <a:pt x="41537" y="56373"/>
                        </a:cubicBezTo>
                        <a:cubicBezTo>
                          <a:pt x="17801" y="56373"/>
                          <a:pt x="0" y="44505"/>
                          <a:pt x="0" y="29670"/>
                        </a:cubicBezTo>
                        <a:cubicBezTo>
                          <a:pt x="0" y="14835"/>
                          <a:pt x="17801" y="2967"/>
                          <a:pt x="41537" y="0"/>
                        </a:cubicBezTo>
                        <a:cubicBezTo>
                          <a:pt x="62307" y="0"/>
                          <a:pt x="83077" y="11868"/>
                          <a:pt x="83077" y="26703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" name="任意多边形: 形状 111">
                    <a:extLst>
                      <a:ext uri="{FF2B5EF4-FFF2-40B4-BE49-F238E27FC236}">
                        <a16:creationId xmlns:a16="http://schemas.microsoft.com/office/drawing/2014/main" id="{52317051-A72D-4A63-A9C3-BB0B6D2C881A}"/>
                      </a:ext>
                    </a:extLst>
                  </p:cNvPr>
                  <p:cNvSpPr/>
                  <p:nvPr/>
                </p:nvSpPr>
                <p:spPr>
                  <a:xfrm>
                    <a:off x="20790032" y="3724900"/>
                    <a:ext cx="100878" cy="74175"/>
                  </a:xfrm>
                  <a:custGeom>
                    <a:avLst/>
                    <a:gdLst>
                      <a:gd name="connsiteX0" fmla="*/ 59341 w 100878"/>
                      <a:gd name="connsiteY0" fmla="*/ 74176 h 74175"/>
                      <a:gd name="connsiteX1" fmla="*/ 50438 w 100878"/>
                      <a:gd name="connsiteY1" fmla="*/ 74176 h 74175"/>
                      <a:gd name="connsiteX2" fmla="*/ 0 w 100878"/>
                      <a:gd name="connsiteY2" fmla="*/ 38571 h 74175"/>
                      <a:gd name="connsiteX3" fmla="*/ 50438 w 100878"/>
                      <a:gd name="connsiteY3" fmla="*/ 0 h 74175"/>
                      <a:gd name="connsiteX4" fmla="*/ 100878 w 100878"/>
                      <a:gd name="connsiteY4" fmla="*/ 35604 h 74175"/>
                      <a:gd name="connsiteX5" fmla="*/ 100878 w 100878"/>
                      <a:gd name="connsiteY5" fmla="*/ 35604 h 74175"/>
                      <a:gd name="connsiteX6" fmla="*/ 86043 w 100878"/>
                      <a:gd name="connsiteY6" fmla="*/ 62308 h 74175"/>
                      <a:gd name="connsiteX7" fmla="*/ 59341 w 100878"/>
                      <a:gd name="connsiteY7" fmla="*/ 74176 h 74175"/>
                      <a:gd name="connsiteX8" fmla="*/ 41537 w 100878"/>
                      <a:gd name="connsiteY8" fmla="*/ 20769 h 74175"/>
                      <a:gd name="connsiteX9" fmla="*/ 14835 w 100878"/>
                      <a:gd name="connsiteY9" fmla="*/ 38571 h 74175"/>
                      <a:gd name="connsiteX10" fmla="*/ 47472 w 100878"/>
                      <a:gd name="connsiteY10" fmla="*/ 56374 h 74175"/>
                      <a:gd name="connsiteX11" fmla="*/ 71208 w 100878"/>
                      <a:gd name="connsiteY11" fmla="*/ 50439 h 74175"/>
                      <a:gd name="connsiteX12" fmla="*/ 80108 w 100878"/>
                      <a:gd name="connsiteY12" fmla="*/ 38571 h 74175"/>
                      <a:gd name="connsiteX13" fmla="*/ 47472 w 100878"/>
                      <a:gd name="connsiteY13" fmla="*/ 20769 h 74175"/>
                      <a:gd name="connsiteX14" fmla="*/ 41537 w 100878"/>
                      <a:gd name="connsiteY14" fmla="*/ 20769 h 74175"/>
                      <a:gd name="connsiteX15" fmla="*/ 91977 w 100878"/>
                      <a:gd name="connsiteY15" fmla="*/ 38571 h 74175"/>
                      <a:gd name="connsiteX16" fmla="*/ 91977 w 100878"/>
                      <a:gd name="connsiteY16" fmla="*/ 38571 h 74175"/>
                      <a:gd name="connsiteX17" fmla="*/ 91977 w 100878"/>
                      <a:gd name="connsiteY17" fmla="*/ 38571 h 74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00878" h="74175">
                        <a:moveTo>
                          <a:pt x="59341" y="74176"/>
                        </a:moveTo>
                        <a:cubicBezTo>
                          <a:pt x="56373" y="74176"/>
                          <a:pt x="53406" y="74176"/>
                          <a:pt x="50438" y="74176"/>
                        </a:cubicBezTo>
                        <a:cubicBezTo>
                          <a:pt x="20768" y="74176"/>
                          <a:pt x="0" y="59341"/>
                          <a:pt x="0" y="38571"/>
                        </a:cubicBezTo>
                        <a:cubicBezTo>
                          <a:pt x="0" y="17802"/>
                          <a:pt x="20768" y="2967"/>
                          <a:pt x="50438" y="0"/>
                        </a:cubicBezTo>
                        <a:cubicBezTo>
                          <a:pt x="80108" y="0"/>
                          <a:pt x="100878" y="14835"/>
                          <a:pt x="100878" y="35604"/>
                        </a:cubicBezTo>
                        <a:lnTo>
                          <a:pt x="100878" y="35604"/>
                        </a:lnTo>
                        <a:cubicBezTo>
                          <a:pt x="100878" y="44505"/>
                          <a:pt x="94944" y="56374"/>
                          <a:pt x="86043" y="62308"/>
                        </a:cubicBezTo>
                        <a:cubicBezTo>
                          <a:pt x="77142" y="71209"/>
                          <a:pt x="68241" y="74176"/>
                          <a:pt x="59341" y="74176"/>
                        </a:cubicBezTo>
                        <a:close/>
                        <a:moveTo>
                          <a:pt x="41537" y="20769"/>
                        </a:moveTo>
                        <a:cubicBezTo>
                          <a:pt x="26702" y="23736"/>
                          <a:pt x="14835" y="32637"/>
                          <a:pt x="14835" y="38571"/>
                        </a:cubicBezTo>
                        <a:cubicBezTo>
                          <a:pt x="14835" y="47472"/>
                          <a:pt x="29670" y="56374"/>
                          <a:pt x="47472" y="56374"/>
                        </a:cubicBezTo>
                        <a:cubicBezTo>
                          <a:pt x="56373" y="56374"/>
                          <a:pt x="65273" y="53406"/>
                          <a:pt x="71208" y="50439"/>
                        </a:cubicBezTo>
                        <a:cubicBezTo>
                          <a:pt x="74176" y="47472"/>
                          <a:pt x="80108" y="44505"/>
                          <a:pt x="80108" y="38571"/>
                        </a:cubicBezTo>
                        <a:cubicBezTo>
                          <a:pt x="80108" y="29670"/>
                          <a:pt x="65273" y="20769"/>
                          <a:pt x="47472" y="20769"/>
                        </a:cubicBezTo>
                        <a:cubicBezTo>
                          <a:pt x="47472" y="20769"/>
                          <a:pt x="44505" y="20769"/>
                          <a:pt x="41537" y="20769"/>
                        </a:cubicBezTo>
                        <a:close/>
                        <a:moveTo>
                          <a:pt x="91977" y="38571"/>
                        </a:moveTo>
                        <a:lnTo>
                          <a:pt x="91977" y="38571"/>
                        </a:lnTo>
                        <a:lnTo>
                          <a:pt x="91977" y="38571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08" name="图形 1">
                  <a:extLst>
                    <a:ext uri="{FF2B5EF4-FFF2-40B4-BE49-F238E27FC236}">
                      <a16:creationId xmlns:a16="http://schemas.microsoft.com/office/drawing/2014/main" id="{1391BA81-FD4D-46AD-8EE7-0B8B5C159B25}"/>
                    </a:ext>
                  </a:extLst>
                </p:cNvPr>
                <p:cNvGrpSpPr/>
                <p:nvPr/>
              </p:nvGrpSpPr>
              <p:grpSpPr>
                <a:xfrm>
                  <a:off x="20612010" y="3837647"/>
                  <a:ext cx="100878" cy="71208"/>
                  <a:chOff x="20612010" y="3837647"/>
                  <a:chExt cx="100878" cy="71208"/>
                </a:xfrm>
              </p:grpSpPr>
              <p:sp>
                <p:nvSpPr>
                  <p:cNvPr id="109" name="任意多边形: 形状 108">
                    <a:extLst>
                      <a:ext uri="{FF2B5EF4-FFF2-40B4-BE49-F238E27FC236}">
                        <a16:creationId xmlns:a16="http://schemas.microsoft.com/office/drawing/2014/main" id="{9039E3CF-70D2-44B1-87AD-6B3B90F56F19}"/>
                      </a:ext>
                    </a:extLst>
                  </p:cNvPr>
                  <p:cNvSpPr/>
                  <p:nvPr/>
                </p:nvSpPr>
                <p:spPr>
                  <a:xfrm>
                    <a:off x="20620910" y="3846548"/>
                    <a:ext cx="83076" cy="56373"/>
                  </a:xfrm>
                  <a:custGeom>
                    <a:avLst/>
                    <a:gdLst>
                      <a:gd name="connsiteX0" fmla="*/ 83077 w 83076"/>
                      <a:gd name="connsiteY0" fmla="*/ 26703 h 56373"/>
                      <a:gd name="connsiteX1" fmla="*/ 41537 w 83076"/>
                      <a:gd name="connsiteY1" fmla="*/ 56374 h 56373"/>
                      <a:gd name="connsiteX2" fmla="*/ 0 w 83076"/>
                      <a:gd name="connsiteY2" fmla="*/ 29670 h 56373"/>
                      <a:gd name="connsiteX3" fmla="*/ 41537 w 83076"/>
                      <a:gd name="connsiteY3" fmla="*/ 0 h 56373"/>
                      <a:gd name="connsiteX4" fmla="*/ 83077 w 83076"/>
                      <a:gd name="connsiteY4" fmla="*/ 26703 h 56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076" h="56373">
                        <a:moveTo>
                          <a:pt x="83077" y="26703"/>
                        </a:moveTo>
                        <a:cubicBezTo>
                          <a:pt x="83077" y="41539"/>
                          <a:pt x="65275" y="53407"/>
                          <a:pt x="41537" y="56374"/>
                        </a:cubicBezTo>
                        <a:cubicBezTo>
                          <a:pt x="17801" y="56374"/>
                          <a:pt x="0" y="44505"/>
                          <a:pt x="0" y="29670"/>
                        </a:cubicBezTo>
                        <a:cubicBezTo>
                          <a:pt x="0" y="14835"/>
                          <a:pt x="17801" y="2967"/>
                          <a:pt x="41537" y="0"/>
                        </a:cubicBezTo>
                        <a:cubicBezTo>
                          <a:pt x="62307" y="0"/>
                          <a:pt x="83077" y="11868"/>
                          <a:pt x="83077" y="26703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" name="任意多边形: 形状 109">
                    <a:extLst>
                      <a:ext uri="{FF2B5EF4-FFF2-40B4-BE49-F238E27FC236}">
                        <a16:creationId xmlns:a16="http://schemas.microsoft.com/office/drawing/2014/main" id="{39ABE1A5-415E-4793-A3F8-2A91A877AE50}"/>
                      </a:ext>
                    </a:extLst>
                  </p:cNvPr>
                  <p:cNvSpPr/>
                  <p:nvPr/>
                </p:nvSpPr>
                <p:spPr>
                  <a:xfrm>
                    <a:off x="20612010" y="3837647"/>
                    <a:ext cx="100878" cy="71208"/>
                  </a:xfrm>
                  <a:custGeom>
                    <a:avLst/>
                    <a:gdLst>
                      <a:gd name="connsiteX0" fmla="*/ 59341 w 100878"/>
                      <a:gd name="connsiteY0" fmla="*/ 71209 h 71208"/>
                      <a:gd name="connsiteX1" fmla="*/ 50438 w 100878"/>
                      <a:gd name="connsiteY1" fmla="*/ 71209 h 71208"/>
                      <a:gd name="connsiteX2" fmla="*/ 0 w 100878"/>
                      <a:gd name="connsiteY2" fmla="*/ 35605 h 71208"/>
                      <a:gd name="connsiteX3" fmla="*/ 14835 w 100878"/>
                      <a:gd name="connsiteY3" fmla="*/ 8901 h 71208"/>
                      <a:gd name="connsiteX4" fmla="*/ 50438 w 100878"/>
                      <a:gd name="connsiteY4" fmla="*/ 0 h 71208"/>
                      <a:gd name="connsiteX5" fmla="*/ 100878 w 100878"/>
                      <a:gd name="connsiteY5" fmla="*/ 35605 h 71208"/>
                      <a:gd name="connsiteX6" fmla="*/ 100878 w 100878"/>
                      <a:gd name="connsiteY6" fmla="*/ 35605 h 71208"/>
                      <a:gd name="connsiteX7" fmla="*/ 86043 w 100878"/>
                      <a:gd name="connsiteY7" fmla="*/ 62308 h 71208"/>
                      <a:gd name="connsiteX8" fmla="*/ 59341 w 100878"/>
                      <a:gd name="connsiteY8" fmla="*/ 71209 h 71208"/>
                      <a:gd name="connsiteX9" fmla="*/ 41537 w 100878"/>
                      <a:gd name="connsiteY9" fmla="*/ 17802 h 71208"/>
                      <a:gd name="connsiteX10" fmla="*/ 23736 w 100878"/>
                      <a:gd name="connsiteY10" fmla="*/ 23736 h 71208"/>
                      <a:gd name="connsiteX11" fmla="*/ 14835 w 100878"/>
                      <a:gd name="connsiteY11" fmla="*/ 35605 h 71208"/>
                      <a:gd name="connsiteX12" fmla="*/ 47472 w 100878"/>
                      <a:gd name="connsiteY12" fmla="*/ 53407 h 71208"/>
                      <a:gd name="connsiteX13" fmla="*/ 71208 w 100878"/>
                      <a:gd name="connsiteY13" fmla="*/ 47473 h 71208"/>
                      <a:gd name="connsiteX14" fmla="*/ 80108 w 100878"/>
                      <a:gd name="connsiteY14" fmla="*/ 35605 h 71208"/>
                      <a:gd name="connsiteX15" fmla="*/ 47472 w 100878"/>
                      <a:gd name="connsiteY15" fmla="*/ 17802 h 71208"/>
                      <a:gd name="connsiteX16" fmla="*/ 41537 w 100878"/>
                      <a:gd name="connsiteY16" fmla="*/ 17802 h 71208"/>
                      <a:gd name="connsiteX17" fmla="*/ 91977 w 100878"/>
                      <a:gd name="connsiteY17" fmla="*/ 35605 h 71208"/>
                      <a:gd name="connsiteX18" fmla="*/ 91977 w 100878"/>
                      <a:gd name="connsiteY18" fmla="*/ 35605 h 71208"/>
                      <a:gd name="connsiteX19" fmla="*/ 91977 w 100878"/>
                      <a:gd name="connsiteY19" fmla="*/ 35605 h 712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00878" h="71208">
                        <a:moveTo>
                          <a:pt x="59341" y="71209"/>
                        </a:moveTo>
                        <a:cubicBezTo>
                          <a:pt x="56373" y="71209"/>
                          <a:pt x="53406" y="71209"/>
                          <a:pt x="50438" y="71209"/>
                        </a:cubicBezTo>
                        <a:cubicBezTo>
                          <a:pt x="20768" y="71209"/>
                          <a:pt x="0" y="56374"/>
                          <a:pt x="0" y="35605"/>
                        </a:cubicBezTo>
                        <a:cubicBezTo>
                          <a:pt x="0" y="26703"/>
                          <a:pt x="5933" y="14835"/>
                          <a:pt x="14835" y="8901"/>
                        </a:cubicBezTo>
                        <a:cubicBezTo>
                          <a:pt x="23736" y="2967"/>
                          <a:pt x="35603" y="0"/>
                          <a:pt x="50438" y="0"/>
                        </a:cubicBezTo>
                        <a:cubicBezTo>
                          <a:pt x="80108" y="0"/>
                          <a:pt x="100878" y="14835"/>
                          <a:pt x="100878" y="35605"/>
                        </a:cubicBezTo>
                        <a:lnTo>
                          <a:pt x="100878" y="35605"/>
                        </a:lnTo>
                        <a:cubicBezTo>
                          <a:pt x="100878" y="44505"/>
                          <a:pt x="94944" y="56374"/>
                          <a:pt x="86043" y="62308"/>
                        </a:cubicBezTo>
                        <a:cubicBezTo>
                          <a:pt x="77142" y="68242"/>
                          <a:pt x="68241" y="71209"/>
                          <a:pt x="59341" y="71209"/>
                        </a:cubicBezTo>
                        <a:close/>
                        <a:moveTo>
                          <a:pt x="41537" y="17802"/>
                        </a:moveTo>
                        <a:cubicBezTo>
                          <a:pt x="35603" y="17802"/>
                          <a:pt x="29670" y="20769"/>
                          <a:pt x="23736" y="23736"/>
                        </a:cubicBezTo>
                        <a:cubicBezTo>
                          <a:pt x="20768" y="26703"/>
                          <a:pt x="14835" y="29670"/>
                          <a:pt x="14835" y="35605"/>
                        </a:cubicBezTo>
                        <a:cubicBezTo>
                          <a:pt x="14835" y="44505"/>
                          <a:pt x="29670" y="53407"/>
                          <a:pt x="47472" y="53407"/>
                        </a:cubicBezTo>
                        <a:cubicBezTo>
                          <a:pt x="56373" y="53407"/>
                          <a:pt x="65273" y="50440"/>
                          <a:pt x="71208" y="47473"/>
                        </a:cubicBezTo>
                        <a:cubicBezTo>
                          <a:pt x="74176" y="44505"/>
                          <a:pt x="80108" y="41539"/>
                          <a:pt x="80108" y="35605"/>
                        </a:cubicBezTo>
                        <a:cubicBezTo>
                          <a:pt x="80108" y="26703"/>
                          <a:pt x="65273" y="17802"/>
                          <a:pt x="47472" y="17802"/>
                        </a:cubicBezTo>
                        <a:cubicBezTo>
                          <a:pt x="47472" y="17802"/>
                          <a:pt x="44505" y="17802"/>
                          <a:pt x="41537" y="17802"/>
                        </a:cubicBezTo>
                        <a:close/>
                        <a:moveTo>
                          <a:pt x="91977" y="35605"/>
                        </a:moveTo>
                        <a:lnTo>
                          <a:pt x="91977" y="35605"/>
                        </a:lnTo>
                        <a:lnTo>
                          <a:pt x="91977" y="35605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035B4E94-CC78-4672-99F7-7E1576A121D4}"/>
                  </a:ext>
                </a:extLst>
              </p:cNvPr>
              <p:cNvSpPr/>
              <p:nvPr/>
            </p:nvSpPr>
            <p:spPr>
              <a:xfrm rot="-466901">
                <a:off x="20368987" y="3970986"/>
                <a:ext cx="1293637" cy="139451"/>
              </a:xfrm>
              <a:custGeom>
                <a:avLst/>
                <a:gdLst>
                  <a:gd name="connsiteX0" fmla="*/ 0 w 1293637"/>
                  <a:gd name="connsiteY0" fmla="*/ 0 h 139451"/>
                  <a:gd name="connsiteX1" fmla="*/ 1293638 w 1293637"/>
                  <a:gd name="connsiteY1" fmla="*/ 0 h 139451"/>
                  <a:gd name="connsiteX2" fmla="*/ 1293638 w 1293637"/>
                  <a:gd name="connsiteY2" fmla="*/ 139452 h 139451"/>
                  <a:gd name="connsiteX3" fmla="*/ 0 w 1293637"/>
                  <a:gd name="connsiteY3" fmla="*/ 139452 h 13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3637" h="139451">
                    <a:moveTo>
                      <a:pt x="0" y="0"/>
                    </a:moveTo>
                    <a:lnTo>
                      <a:pt x="1293638" y="0"/>
                    </a:lnTo>
                    <a:lnTo>
                      <a:pt x="1293638" y="139452"/>
                    </a:lnTo>
                    <a:lnTo>
                      <a:pt x="0" y="139452"/>
                    </a:lnTo>
                    <a:close/>
                  </a:path>
                </a:pathLst>
              </a:custGeom>
              <a:solidFill>
                <a:srgbClr val="DDC6A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FDEB4EAC-6648-497F-B982-85F86DF4699F}"/>
                  </a:ext>
                </a:extLst>
              </p:cNvPr>
              <p:cNvSpPr/>
              <p:nvPr/>
            </p:nvSpPr>
            <p:spPr>
              <a:xfrm rot="-466901">
                <a:off x="19801997" y="3541056"/>
                <a:ext cx="1293637" cy="139451"/>
              </a:xfrm>
              <a:custGeom>
                <a:avLst/>
                <a:gdLst>
                  <a:gd name="connsiteX0" fmla="*/ -1 w 1293637"/>
                  <a:gd name="connsiteY0" fmla="*/ 0 h 139451"/>
                  <a:gd name="connsiteX1" fmla="*/ 1293637 w 1293637"/>
                  <a:gd name="connsiteY1" fmla="*/ 0 h 139451"/>
                  <a:gd name="connsiteX2" fmla="*/ 1293637 w 1293637"/>
                  <a:gd name="connsiteY2" fmla="*/ 139452 h 139451"/>
                  <a:gd name="connsiteX3" fmla="*/ -1 w 1293637"/>
                  <a:gd name="connsiteY3" fmla="*/ 139452 h 13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3637" h="139451">
                    <a:moveTo>
                      <a:pt x="-1" y="0"/>
                    </a:moveTo>
                    <a:lnTo>
                      <a:pt x="1293637" y="0"/>
                    </a:lnTo>
                    <a:lnTo>
                      <a:pt x="1293637" y="139452"/>
                    </a:lnTo>
                    <a:lnTo>
                      <a:pt x="-1" y="139452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C420E04C-7B09-4EAB-9590-9BC1046223D2}"/>
                  </a:ext>
                </a:extLst>
              </p:cNvPr>
              <p:cNvSpPr/>
              <p:nvPr/>
            </p:nvSpPr>
            <p:spPr>
              <a:xfrm rot="-466901">
                <a:off x="20238243" y="3009532"/>
                <a:ext cx="1293637" cy="139451"/>
              </a:xfrm>
              <a:custGeom>
                <a:avLst/>
                <a:gdLst>
                  <a:gd name="connsiteX0" fmla="*/ 0 w 1293637"/>
                  <a:gd name="connsiteY0" fmla="*/ 0 h 139451"/>
                  <a:gd name="connsiteX1" fmla="*/ 1293637 w 1293637"/>
                  <a:gd name="connsiteY1" fmla="*/ 0 h 139451"/>
                  <a:gd name="connsiteX2" fmla="*/ 1293637 w 1293637"/>
                  <a:gd name="connsiteY2" fmla="*/ 139452 h 139451"/>
                  <a:gd name="connsiteX3" fmla="*/ 0 w 1293637"/>
                  <a:gd name="connsiteY3" fmla="*/ 139452 h 13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3637" h="139451">
                    <a:moveTo>
                      <a:pt x="0" y="0"/>
                    </a:moveTo>
                    <a:lnTo>
                      <a:pt x="1293637" y="0"/>
                    </a:lnTo>
                    <a:lnTo>
                      <a:pt x="1293637" y="139452"/>
                    </a:lnTo>
                    <a:lnTo>
                      <a:pt x="0" y="139452"/>
                    </a:lnTo>
                    <a:close/>
                  </a:path>
                </a:pathLst>
              </a:custGeom>
              <a:solidFill>
                <a:srgbClr val="DDC6A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2623E6D8-9B40-44BD-AF35-AEEDE1BB533F}"/>
                  </a:ext>
                </a:extLst>
              </p:cNvPr>
              <p:cNvSpPr/>
              <p:nvPr/>
            </p:nvSpPr>
            <p:spPr>
              <a:xfrm>
                <a:off x="20359812" y="4054241"/>
                <a:ext cx="29670" cy="148351"/>
              </a:xfrm>
              <a:custGeom>
                <a:avLst/>
                <a:gdLst>
                  <a:gd name="connsiteX0" fmla="*/ 23736 w 29670"/>
                  <a:gd name="connsiteY0" fmla="*/ 148352 h 148351"/>
                  <a:gd name="connsiteX1" fmla="*/ 17801 w 29670"/>
                  <a:gd name="connsiteY1" fmla="*/ 142418 h 148351"/>
                  <a:gd name="connsiteX2" fmla="*/ 0 w 29670"/>
                  <a:gd name="connsiteY2" fmla="*/ 5934 h 148351"/>
                  <a:gd name="connsiteX3" fmla="*/ 5933 w 29670"/>
                  <a:gd name="connsiteY3" fmla="*/ 0 h 148351"/>
                  <a:gd name="connsiteX4" fmla="*/ 11867 w 29670"/>
                  <a:gd name="connsiteY4" fmla="*/ 5934 h 148351"/>
                  <a:gd name="connsiteX5" fmla="*/ 29670 w 29670"/>
                  <a:gd name="connsiteY5" fmla="*/ 142418 h 148351"/>
                  <a:gd name="connsiteX6" fmla="*/ 23736 w 29670"/>
                  <a:gd name="connsiteY6" fmla="*/ 148352 h 148351"/>
                  <a:gd name="connsiteX7" fmla="*/ 23736 w 29670"/>
                  <a:gd name="connsiteY7" fmla="*/ 148352 h 148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670" h="148351">
                    <a:moveTo>
                      <a:pt x="23736" y="148352"/>
                    </a:moveTo>
                    <a:cubicBezTo>
                      <a:pt x="20768" y="148352"/>
                      <a:pt x="17801" y="145385"/>
                      <a:pt x="17801" y="142418"/>
                    </a:cubicBezTo>
                    <a:lnTo>
                      <a:pt x="0" y="5934"/>
                    </a:lnTo>
                    <a:cubicBezTo>
                      <a:pt x="0" y="2967"/>
                      <a:pt x="2966" y="0"/>
                      <a:pt x="5933" y="0"/>
                    </a:cubicBezTo>
                    <a:cubicBezTo>
                      <a:pt x="8901" y="0"/>
                      <a:pt x="11867" y="2967"/>
                      <a:pt x="11867" y="5934"/>
                    </a:cubicBezTo>
                    <a:lnTo>
                      <a:pt x="29670" y="142418"/>
                    </a:lnTo>
                    <a:cubicBezTo>
                      <a:pt x="29670" y="145385"/>
                      <a:pt x="26702" y="148352"/>
                      <a:pt x="23736" y="148352"/>
                    </a:cubicBezTo>
                    <a:cubicBezTo>
                      <a:pt x="23736" y="148352"/>
                      <a:pt x="23736" y="148352"/>
                      <a:pt x="23736" y="148352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4" name="图形 1">
              <a:extLst>
                <a:ext uri="{FF2B5EF4-FFF2-40B4-BE49-F238E27FC236}">
                  <a16:creationId xmlns:a16="http://schemas.microsoft.com/office/drawing/2014/main" id="{7D66C36D-291E-44D8-BEB1-6410E9C13A75}"/>
                </a:ext>
              </a:extLst>
            </p:cNvPr>
            <p:cNvGrpSpPr/>
            <p:nvPr/>
          </p:nvGrpSpPr>
          <p:grpSpPr>
            <a:xfrm>
              <a:off x="20838245" y="2959013"/>
              <a:ext cx="184533" cy="107473"/>
              <a:chOff x="20838245" y="2959013"/>
              <a:chExt cx="184533" cy="107473"/>
            </a:xfrm>
          </p:grpSpPr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098C605B-C054-4599-9D66-6624EA02E5A4}"/>
                  </a:ext>
                </a:extLst>
              </p:cNvPr>
              <p:cNvSpPr/>
              <p:nvPr/>
            </p:nvSpPr>
            <p:spPr>
              <a:xfrm>
                <a:off x="20843438" y="2979062"/>
                <a:ext cx="62492" cy="87424"/>
              </a:xfrm>
              <a:custGeom>
                <a:avLst/>
                <a:gdLst>
                  <a:gd name="connsiteX0" fmla="*/ 11867 w 62492"/>
                  <a:gd name="connsiteY0" fmla="*/ 81223 h 87424"/>
                  <a:gd name="connsiteX1" fmla="*/ 2966 w 62492"/>
                  <a:gd name="connsiteY1" fmla="*/ 27816 h 87424"/>
                  <a:gd name="connsiteX2" fmla="*/ 0 w 62492"/>
                  <a:gd name="connsiteY2" fmla="*/ 18915 h 87424"/>
                  <a:gd name="connsiteX3" fmla="*/ 5934 w 62492"/>
                  <a:gd name="connsiteY3" fmla="*/ 10014 h 87424"/>
                  <a:gd name="connsiteX4" fmla="*/ 47472 w 62492"/>
                  <a:gd name="connsiteY4" fmla="*/ 1113 h 87424"/>
                  <a:gd name="connsiteX5" fmla="*/ 62307 w 62492"/>
                  <a:gd name="connsiteY5" fmla="*/ 24849 h 87424"/>
                  <a:gd name="connsiteX6" fmla="*/ 62307 w 62492"/>
                  <a:gd name="connsiteY6" fmla="*/ 60453 h 87424"/>
                  <a:gd name="connsiteX7" fmla="*/ 47472 w 62492"/>
                  <a:gd name="connsiteY7" fmla="*/ 84190 h 87424"/>
                  <a:gd name="connsiteX8" fmla="*/ 11867 w 62492"/>
                  <a:gd name="connsiteY8" fmla="*/ 81223 h 87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2492" h="87424">
                    <a:moveTo>
                      <a:pt x="11867" y="81223"/>
                    </a:moveTo>
                    <a:cubicBezTo>
                      <a:pt x="-2968" y="66387"/>
                      <a:pt x="2966" y="45618"/>
                      <a:pt x="2966" y="27816"/>
                    </a:cubicBezTo>
                    <a:cubicBezTo>
                      <a:pt x="2966" y="24849"/>
                      <a:pt x="0" y="21882"/>
                      <a:pt x="0" y="18915"/>
                    </a:cubicBezTo>
                    <a:cubicBezTo>
                      <a:pt x="0" y="15948"/>
                      <a:pt x="2966" y="12981"/>
                      <a:pt x="5934" y="10014"/>
                    </a:cubicBezTo>
                    <a:cubicBezTo>
                      <a:pt x="14835" y="1113"/>
                      <a:pt x="32637" y="-1854"/>
                      <a:pt x="47472" y="1113"/>
                    </a:cubicBezTo>
                    <a:cubicBezTo>
                      <a:pt x="65275" y="4080"/>
                      <a:pt x="62307" y="18915"/>
                      <a:pt x="62307" y="24849"/>
                    </a:cubicBezTo>
                    <a:cubicBezTo>
                      <a:pt x="62307" y="36717"/>
                      <a:pt x="62307" y="48585"/>
                      <a:pt x="62307" y="60453"/>
                    </a:cubicBezTo>
                    <a:cubicBezTo>
                      <a:pt x="62307" y="69354"/>
                      <a:pt x="62307" y="78256"/>
                      <a:pt x="47472" y="84190"/>
                    </a:cubicBezTo>
                    <a:cubicBezTo>
                      <a:pt x="35605" y="90124"/>
                      <a:pt x="20770" y="87157"/>
                      <a:pt x="11867" y="81223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9BA82439-B243-4E82-9D5D-A9A9FC4F87D1}"/>
                  </a:ext>
                </a:extLst>
              </p:cNvPr>
              <p:cNvSpPr/>
              <p:nvPr/>
            </p:nvSpPr>
            <p:spPr>
              <a:xfrm>
                <a:off x="20886800" y="2964227"/>
                <a:ext cx="69569" cy="89807"/>
              </a:xfrm>
              <a:custGeom>
                <a:avLst/>
                <a:gdLst>
                  <a:gd name="connsiteX0" fmla="*/ 15978 w 69569"/>
                  <a:gd name="connsiteY0" fmla="*/ 84190 h 89807"/>
                  <a:gd name="connsiteX1" fmla="*/ 4109 w 69569"/>
                  <a:gd name="connsiteY1" fmla="*/ 24849 h 89807"/>
                  <a:gd name="connsiteX2" fmla="*/ 7077 w 69569"/>
                  <a:gd name="connsiteY2" fmla="*/ 18915 h 89807"/>
                  <a:gd name="connsiteX3" fmla="*/ 13010 w 69569"/>
                  <a:gd name="connsiteY3" fmla="*/ 10014 h 89807"/>
                  <a:gd name="connsiteX4" fmla="*/ 54549 w 69569"/>
                  <a:gd name="connsiteY4" fmla="*/ 1113 h 89807"/>
                  <a:gd name="connsiteX5" fmla="*/ 69384 w 69569"/>
                  <a:gd name="connsiteY5" fmla="*/ 24849 h 89807"/>
                  <a:gd name="connsiteX6" fmla="*/ 69384 w 69569"/>
                  <a:gd name="connsiteY6" fmla="*/ 60453 h 89807"/>
                  <a:gd name="connsiteX7" fmla="*/ 54549 w 69569"/>
                  <a:gd name="connsiteY7" fmla="*/ 84190 h 89807"/>
                  <a:gd name="connsiteX8" fmla="*/ 15978 w 69569"/>
                  <a:gd name="connsiteY8" fmla="*/ 84190 h 89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9569" h="89807">
                    <a:moveTo>
                      <a:pt x="15978" y="84190"/>
                    </a:moveTo>
                    <a:cubicBezTo>
                      <a:pt x="-10726" y="69354"/>
                      <a:pt x="4109" y="45618"/>
                      <a:pt x="4109" y="24849"/>
                    </a:cubicBezTo>
                    <a:cubicBezTo>
                      <a:pt x="4109" y="21882"/>
                      <a:pt x="4109" y="21882"/>
                      <a:pt x="7077" y="18915"/>
                    </a:cubicBezTo>
                    <a:cubicBezTo>
                      <a:pt x="7077" y="15948"/>
                      <a:pt x="10044" y="12981"/>
                      <a:pt x="13010" y="10014"/>
                    </a:cubicBezTo>
                    <a:cubicBezTo>
                      <a:pt x="21913" y="1113"/>
                      <a:pt x="39714" y="-1854"/>
                      <a:pt x="54549" y="1113"/>
                    </a:cubicBezTo>
                    <a:cubicBezTo>
                      <a:pt x="72351" y="4080"/>
                      <a:pt x="69384" y="18915"/>
                      <a:pt x="69384" y="24849"/>
                    </a:cubicBezTo>
                    <a:cubicBezTo>
                      <a:pt x="69384" y="36717"/>
                      <a:pt x="69384" y="48585"/>
                      <a:pt x="69384" y="60453"/>
                    </a:cubicBezTo>
                    <a:cubicBezTo>
                      <a:pt x="69384" y="69354"/>
                      <a:pt x="69384" y="78256"/>
                      <a:pt x="54549" y="84190"/>
                    </a:cubicBezTo>
                    <a:cubicBezTo>
                      <a:pt x="39714" y="93091"/>
                      <a:pt x="24879" y="90124"/>
                      <a:pt x="15978" y="84190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B98104A1-4CD6-4765-9CD6-9597A42E5054}"/>
                  </a:ext>
                </a:extLst>
              </p:cNvPr>
              <p:cNvSpPr/>
              <p:nvPr/>
            </p:nvSpPr>
            <p:spPr>
              <a:xfrm>
                <a:off x="20932035" y="2970484"/>
                <a:ext cx="56044" cy="77615"/>
              </a:xfrm>
              <a:custGeom>
                <a:avLst/>
                <a:gdLst>
                  <a:gd name="connsiteX0" fmla="*/ 15249 w 56044"/>
                  <a:gd name="connsiteY0" fmla="*/ 71998 h 77615"/>
                  <a:gd name="connsiteX1" fmla="*/ 413 w 56044"/>
                  <a:gd name="connsiteY1" fmla="*/ 21558 h 77615"/>
                  <a:gd name="connsiteX2" fmla="*/ 413 w 56044"/>
                  <a:gd name="connsiteY2" fmla="*/ 18591 h 77615"/>
                  <a:gd name="connsiteX3" fmla="*/ 3380 w 56044"/>
                  <a:gd name="connsiteY3" fmla="*/ 9690 h 77615"/>
                  <a:gd name="connsiteX4" fmla="*/ 38985 w 56044"/>
                  <a:gd name="connsiteY4" fmla="*/ 789 h 77615"/>
                  <a:gd name="connsiteX5" fmla="*/ 53820 w 56044"/>
                  <a:gd name="connsiteY5" fmla="*/ 21558 h 77615"/>
                  <a:gd name="connsiteX6" fmla="*/ 53820 w 56044"/>
                  <a:gd name="connsiteY6" fmla="*/ 51229 h 77615"/>
                  <a:gd name="connsiteX7" fmla="*/ 41951 w 56044"/>
                  <a:gd name="connsiteY7" fmla="*/ 71998 h 77615"/>
                  <a:gd name="connsiteX8" fmla="*/ 15249 w 56044"/>
                  <a:gd name="connsiteY8" fmla="*/ 71998 h 77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044" h="77615">
                    <a:moveTo>
                      <a:pt x="15249" y="71998"/>
                    </a:moveTo>
                    <a:cubicBezTo>
                      <a:pt x="-8487" y="57163"/>
                      <a:pt x="3380" y="39361"/>
                      <a:pt x="413" y="21558"/>
                    </a:cubicBezTo>
                    <a:cubicBezTo>
                      <a:pt x="413" y="18591"/>
                      <a:pt x="413" y="18591"/>
                      <a:pt x="413" y="18591"/>
                    </a:cubicBezTo>
                    <a:cubicBezTo>
                      <a:pt x="413" y="15624"/>
                      <a:pt x="413" y="12657"/>
                      <a:pt x="3380" y="9690"/>
                    </a:cubicBezTo>
                    <a:cubicBezTo>
                      <a:pt x="9314" y="3756"/>
                      <a:pt x="24149" y="-2178"/>
                      <a:pt x="38985" y="789"/>
                    </a:cubicBezTo>
                    <a:cubicBezTo>
                      <a:pt x="53820" y="3756"/>
                      <a:pt x="53820" y="15624"/>
                      <a:pt x="53820" y="21558"/>
                    </a:cubicBezTo>
                    <a:cubicBezTo>
                      <a:pt x="56786" y="30460"/>
                      <a:pt x="56786" y="42328"/>
                      <a:pt x="53820" y="51229"/>
                    </a:cubicBezTo>
                    <a:cubicBezTo>
                      <a:pt x="53820" y="57163"/>
                      <a:pt x="53820" y="66064"/>
                      <a:pt x="41951" y="71998"/>
                    </a:cubicBezTo>
                    <a:cubicBezTo>
                      <a:pt x="36018" y="80899"/>
                      <a:pt x="24149" y="77932"/>
                      <a:pt x="15249" y="71998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A50898B3-C8F5-4869-BBA2-19A22E19216B}"/>
                  </a:ext>
                </a:extLst>
              </p:cNvPr>
              <p:cNvSpPr/>
              <p:nvPr/>
            </p:nvSpPr>
            <p:spPr>
              <a:xfrm>
                <a:off x="20977695" y="2979011"/>
                <a:ext cx="45082" cy="57996"/>
              </a:xfrm>
              <a:custGeom>
                <a:avLst/>
                <a:gdLst>
                  <a:gd name="connsiteX0" fmla="*/ 11126 w 45082"/>
                  <a:gd name="connsiteY0" fmla="*/ 54571 h 57996"/>
                  <a:gd name="connsiteX1" fmla="*/ 2225 w 45082"/>
                  <a:gd name="connsiteY1" fmla="*/ 15999 h 57996"/>
                  <a:gd name="connsiteX2" fmla="*/ 2225 w 45082"/>
                  <a:gd name="connsiteY2" fmla="*/ 13032 h 57996"/>
                  <a:gd name="connsiteX3" fmla="*/ 5193 w 45082"/>
                  <a:gd name="connsiteY3" fmla="*/ 7098 h 57996"/>
                  <a:gd name="connsiteX4" fmla="*/ 31896 w 45082"/>
                  <a:gd name="connsiteY4" fmla="*/ 1164 h 57996"/>
                  <a:gd name="connsiteX5" fmla="*/ 43764 w 45082"/>
                  <a:gd name="connsiteY5" fmla="*/ 15999 h 57996"/>
                  <a:gd name="connsiteX6" fmla="*/ 43764 w 45082"/>
                  <a:gd name="connsiteY6" fmla="*/ 39735 h 57996"/>
                  <a:gd name="connsiteX7" fmla="*/ 34864 w 45082"/>
                  <a:gd name="connsiteY7" fmla="*/ 54571 h 57996"/>
                  <a:gd name="connsiteX8" fmla="*/ 11126 w 45082"/>
                  <a:gd name="connsiteY8" fmla="*/ 54571 h 57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082" h="57996">
                    <a:moveTo>
                      <a:pt x="11126" y="54571"/>
                    </a:moveTo>
                    <a:cubicBezTo>
                      <a:pt x="-6676" y="42702"/>
                      <a:pt x="2225" y="30834"/>
                      <a:pt x="2225" y="15999"/>
                    </a:cubicBezTo>
                    <a:cubicBezTo>
                      <a:pt x="2225" y="15999"/>
                      <a:pt x="2225" y="13032"/>
                      <a:pt x="2225" y="13032"/>
                    </a:cubicBezTo>
                    <a:cubicBezTo>
                      <a:pt x="2225" y="10065"/>
                      <a:pt x="2225" y="10065"/>
                      <a:pt x="5193" y="7098"/>
                    </a:cubicBezTo>
                    <a:cubicBezTo>
                      <a:pt x="11126" y="1164"/>
                      <a:pt x="20028" y="-1803"/>
                      <a:pt x="31896" y="1164"/>
                    </a:cubicBezTo>
                    <a:cubicBezTo>
                      <a:pt x="43764" y="4131"/>
                      <a:pt x="40796" y="13032"/>
                      <a:pt x="43764" y="15999"/>
                    </a:cubicBezTo>
                    <a:cubicBezTo>
                      <a:pt x="43764" y="24900"/>
                      <a:pt x="46731" y="30834"/>
                      <a:pt x="43764" y="39735"/>
                    </a:cubicBezTo>
                    <a:cubicBezTo>
                      <a:pt x="43764" y="45669"/>
                      <a:pt x="43764" y="51604"/>
                      <a:pt x="34864" y="54571"/>
                    </a:cubicBezTo>
                    <a:cubicBezTo>
                      <a:pt x="25961" y="60505"/>
                      <a:pt x="17060" y="57538"/>
                      <a:pt x="11126" y="54571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C7744063-49DC-4745-9403-750212949C3D}"/>
                  </a:ext>
                </a:extLst>
              </p:cNvPr>
              <p:cNvSpPr/>
              <p:nvPr/>
            </p:nvSpPr>
            <p:spPr>
              <a:xfrm>
                <a:off x="20838245" y="2959013"/>
                <a:ext cx="118194" cy="104238"/>
              </a:xfrm>
              <a:custGeom>
                <a:avLst/>
                <a:gdLst>
                  <a:gd name="connsiteX0" fmla="*/ 76401 w 118194"/>
                  <a:gd name="connsiteY0" fmla="*/ 104238 h 104238"/>
                  <a:gd name="connsiteX1" fmla="*/ 61566 w 118194"/>
                  <a:gd name="connsiteY1" fmla="*/ 98305 h 104238"/>
                  <a:gd name="connsiteX2" fmla="*/ 58599 w 118194"/>
                  <a:gd name="connsiteY2" fmla="*/ 89403 h 104238"/>
                  <a:gd name="connsiteX3" fmla="*/ 55633 w 118194"/>
                  <a:gd name="connsiteY3" fmla="*/ 30063 h 104238"/>
                  <a:gd name="connsiteX4" fmla="*/ 34863 w 118194"/>
                  <a:gd name="connsiteY4" fmla="*/ 24129 h 104238"/>
                  <a:gd name="connsiteX5" fmla="*/ 20028 w 118194"/>
                  <a:gd name="connsiteY5" fmla="*/ 30063 h 104238"/>
                  <a:gd name="connsiteX6" fmla="*/ 14094 w 118194"/>
                  <a:gd name="connsiteY6" fmla="*/ 77535 h 104238"/>
                  <a:gd name="connsiteX7" fmla="*/ 8159 w 118194"/>
                  <a:gd name="connsiteY7" fmla="*/ 83469 h 104238"/>
                  <a:gd name="connsiteX8" fmla="*/ 2225 w 118194"/>
                  <a:gd name="connsiteY8" fmla="*/ 77535 h 104238"/>
                  <a:gd name="connsiteX9" fmla="*/ 11128 w 118194"/>
                  <a:gd name="connsiteY9" fmla="*/ 18195 h 104238"/>
                  <a:gd name="connsiteX10" fmla="*/ 34863 w 118194"/>
                  <a:gd name="connsiteY10" fmla="*/ 9294 h 104238"/>
                  <a:gd name="connsiteX11" fmla="*/ 49699 w 118194"/>
                  <a:gd name="connsiteY11" fmla="*/ 12261 h 104238"/>
                  <a:gd name="connsiteX12" fmla="*/ 49699 w 118194"/>
                  <a:gd name="connsiteY12" fmla="*/ 12261 h 104238"/>
                  <a:gd name="connsiteX13" fmla="*/ 88270 w 118194"/>
                  <a:gd name="connsiteY13" fmla="*/ 392 h 104238"/>
                  <a:gd name="connsiteX14" fmla="*/ 117940 w 118194"/>
                  <a:gd name="connsiteY14" fmla="*/ 38964 h 104238"/>
                  <a:gd name="connsiteX15" fmla="*/ 85303 w 118194"/>
                  <a:gd name="connsiteY15" fmla="*/ 101271 h 104238"/>
                  <a:gd name="connsiteX16" fmla="*/ 76401 w 118194"/>
                  <a:gd name="connsiteY16" fmla="*/ 104238 h 104238"/>
                  <a:gd name="connsiteX17" fmla="*/ 70468 w 118194"/>
                  <a:gd name="connsiteY17" fmla="*/ 89403 h 104238"/>
                  <a:gd name="connsiteX18" fmla="*/ 85303 w 118194"/>
                  <a:gd name="connsiteY18" fmla="*/ 89403 h 104238"/>
                  <a:gd name="connsiteX19" fmla="*/ 109039 w 118194"/>
                  <a:gd name="connsiteY19" fmla="*/ 41931 h 104238"/>
                  <a:gd name="connsiteX20" fmla="*/ 91236 w 118194"/>
                  <a:gd name="connsiteY20" fmla="*/ 12261 h 104238"/>
                  <a:gd name="connsiteX21" fmla="*/ 91236 w 118194"/>
                  <a:gd name="connsiteY21" fmla="*/ 12261 h 104238"/>
                  <a:gd name="connsiteX22" fmla="*/ 64534 w 118194"/>
                  <a:gd name="connsiteY22" fmla="*/ 21162 h 104238"/>
                  <a:gd name="connsiteX23" fmla="*/ 67500 w 118194"/>
                  <a:gd name="connsiteY23" fmla="*/ 24129 h 104238"/>
                  <a:gd name="connsiteX24" fmla="*/ 70468 w 118194"/>
                  <a:gd name="connsiteY24" fmla="*/ 89403 h 104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18194" h="104238">
                    <a:moveTo>
                      <a:pt x="76401" y="104238"/>
                    </a:moveTo>
                    <a:cubicBezTo>
                      <a:pt x="67500" y="104238"/>
                      <a:pt x="64534" y="101271"/>
                      <a:pt x="61566" y="98305"/>
                    </a:cubicBezTo>
                    <a:cubicBezTo>
                      <a:pt x="58599" y="95337"/>
                      <a:pt x="58599" y="92370"/>
                      <a:pt x="58599" y="89403"/>
                    </a:cubicBezTo>
                    <a:cubicBezTo>
                      <a:pt x="64534" y="59733"/>
                      <a:pt x="64534" y="38964"/>
                      <a:pt x="55633" y="30063"/>
                    </a:cubicBezTo>
                    <a:cubicBezTo>
                      <a:pt x="49699" y="24129"/>
                      <a:pt x="43764" y="24129"/>
                      <a:pt x="34863" y="24129"/>
                    </a:cubicBezTo>
                    <a:cubicBezTo>
                      <a:pt x="28929" y="24129"/>
                      <a:pt x="22995" y="27096"/>
                      <a:pt x="20028" y="30063"/>
                    </a:cubicBezTo>
                    <a:cubicBezTo>
                      <a:pt x="11128" y="41931"/>
                      <a:pt x="14094" y="68634"/>
                      <a:pt x="14094" y="77535"/>
                    </a:cubicBezTo>
                    <a:cubicBezTo>
                      <a:pt x="14094" y="80502"/>
                      <a:pt x="14094" y="83469"/>
                      <a:pt x="8159" y="83469"/>
                    </a:cubicBezTo>
                    <a:cubicBezTo>
                      <a:pt x="5193" y="83469"/>
                      <a:pt x="2225" y="83469"/>
                      <a:pt x="2225" y="77535"/>
                    </a:cubicBezTo>
                    <a:cubicBezTo>
                      <a:pt x="2225" y="74568"/>
                      <a:pt x="-6676" y="35997"/>
                      <a:pt x="11128" y="18195"/>
                    </a:cubicBezTo>
                    <a:cubicBezTo>
                      <a:pt x="17060" y="12261"/>
                      <a:pt x="25963" y="9294"/>
                      <a:pt x="34863" y="9294"/>
                    </a:cubicBezTo>
                    <a:cubicBezTo>
                      <a:pt x="37830" y="9294"/>
                      <a:pt x="43764" y="9294"/>
                      <a:pt x="49699" y="12261"/>
                    </a:cubicBezTo>
                    <a:lnTo>
                      <a:pt x="49699" y="12261"/>
                    </a:lnTo>
                    <a:cubicBezTo>
                      <a:pt x="49699" y="12261"/>
                      <a:pt x="70468" y="-2575"/>
                      <a:pt x="88270" y="392"/>
                    </a:cubicBezTo>
                    <a:cubicBezTo>
                      <a:pt x="112006" y="392"/>
                      <a:pt x="114974" y="18195"/>
                      <a:pt x="117940" y="38964"/>
                    </a:cubicBezTo>
                    <a:cubicBezTo>
                      <a:pt x="120906" y="89403"/>
                      <a:pt x="97170" y="98305"/>
                      <a:pt x="85303" y="101271"/>
                    </a:cubicBezTo>
                    <a:cubicBezTo>
                      <a:pt x="82335" y="104238"/>
                      <a:pt x="79369" y="104238"/>
                      <a:pt x="76401" y="104238"/>
                    </a:cubicBezTo>
                    <a:close/>
                    <a:moveTo>
                      <a:pt x="70468" y="89403"/>
                    </a:moveTo>
                    <a:cubicBezTo>
                      <a:pt x="70468" y="89403"/>
                      <a:pt x="76401" y="92370"/>
                      <a:pt x="85303" y="89403"/>
                    </a:cubicBezTo>
                    <a:cubicBezTo>
                      <a:pt x="109039" y="86436"/>
                      <a:pt x="109039" y="62700"/>
                      <a:pt x="109039" y="41931"/>
                    </a:cubicBezTo>
                    <a:cubicBezTo>
                      <a:pt x="106071" y="18195"/>
                      <a:pt x="103105" y="12261"/>
                      <a:pt x="91236" y="12261"/>
                    </a:cubicBezTo>
                    <a:cubicBezTo>
                      <a:pt x="91236" y="12261"/>
                      <a:pt x="91236" y="12261"/>
                      <a:pt x="91236" y="12261"/>
                    </a:cubicBezTo>
                    <a:cubicBezTo>
                      <a:pt x="82335" y="12261"/>
                      <a:pt x="70468" y="18195"/>
                      <a:pt x="64534" y="21162"/>
                    </a:cubicBezTo>
                    <a:cubicBezTo>
                      <a:pt x="64534" y="21162"/>
                      <a:pt x="67500" y="24129"/>
                      <a:pt x="67500" y="24129"/>
                    </a:cubicBezTo>
                    <a:cubicBezTo>
                      <a:pt x="73434" y="35997"/>
                      <a:pt x="76401" y="56766"/>
                      <a:pt x="70468" y="89403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3D4063D1-0B09-47E1-9C09-2C4D8E8EDC7B}"/>
                  </a:ext>
                </a:extLst>
              </p:cNvPr>
              <p:cNvSpPr/>
              <p:nvPr/>
            </p:nvSpPr>
            <p:spPr>
              <a:xfrm>
                <a:off x="20942091" y="2965678"/>
                <a:ext cx="60171" cy="88672"/>
              </a:xfrm>
              <a:custGeom>
                <a:avLst/>
                <a:gdLst>
                  <a:gd name="connsiteX0" fmla="*/ 25962 w 60171"/>
                  <a:gd name="connsiteY0" fmla="*/ 88672 h 88672"/>
                  <a:gd name="connsiteX1" fmla="*/ 2225 w 60171"/>
                  <a:gd name="connsiteY1" fmla="*/ 82738 h 88672"/>
                  <a:gd name="connsiteX2" fmla="*/ 2225 w 60171"/>
                  <a:gd name="connsiteY2" fmla="*/ 73837 h 88672"/>
                  <a:gd name="connsiteX3" fmla="*/ 11127 w 60171"/>
                  <a:gd name="connsiteY3" fmla="*/ 73837 h 88672"/>
                  <a:gd name="connsiteX4" fmla="*/ 34863 w 60171"/>
                  <a:gd name="connsiteY4" fmla="*/ 76804 h 88672"/>
                  <a:gd name="connsiteX5" fmla="*/ 40798 w 60171"/>
                  <a:gd name="connsiteY5" fmla="*/ 73837 h 88672"/>
                  <a:gd name="connsiteX6" fmla="*/ 43764 w 60171"/>
                  <a:gd name="connsiteY6" fmla="*/ 20430 h 88672"/>
                  <a:gd name="connsiteX7" fmla="*/ 8159 w 60171"/>
                  <a:gd name="connsiteY7" fmla="*/ 11529 h 88672"/>
                  <a:gd name="connsiteX8" fmla="*/ 2225 w 60171"/>
                  <a:gd name="connsiteY8" fmla="*/ 8562 h 88672"/>
                  <a:gd name="connsiteX9" fmla="*/ 5193 w 60171"/>
                  <a:gd name="connsiteY9" fmla="*/ 2628 h 88672"/>
                  <a:gd name="connsiteX10" fmla="*/ 55633 w 60171"/>
                  <a:gd name="connsiteY10" fmla="*/ 17463 h 88672"/>
                  <a:gd name="connsiteX11" fmla="*/ 52665 w 60171"/>
                  <a:gd name="connsiteY11" fmla="*/ 79771 h 88672"/>
                  <a:gd name="connsiteX12" fmla="*/ 37829 w 60171"/>
                  <a:gd name="connsiteY12" fmla="*/ 85705 h 88672"/>
                  <a:gd name="connsiteX13" fmla="*/ 25962 w 60171"/>
                  <a:gd name="connsiteY13" fmla="*/ 88672 h 88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171" h="88672">
                    <a:moveTo>
                      <a:pt x="25962" y="88672"/>
                    </a:moveTo>
                    <a:cubicBezTo>
                      <a:pt x="17060" y="88672"/>
                      <a:pt x="5193" y="85705"/>
                      <a:pt x="2225" y="82738"/>
                    </a:cubicBezTo>
                    <a:cubicBezTo>
                      <a:pt x="-742" y="79771"/>
                      <a:pt x="-742" y="76804"/>
                      <a:pt x="2225" y="73837"/>
                    </a:cubicBezTo>
                    <a:cubicBezTo>
                      <a:pt x="5193" y="70870"/>
                      <a:pt x="8159" y="70870"/>
                      <a:pt x="11127" y="73837"/>
                    </a:cubicBezTo>
                    <a:cubicBezTo>
                      <a:pt x="14094" y="76804"/>
                      <a:pt x="25962" y="76804"/>
                      <a:pt x="34863" y="76804"/>
                    </a:cubicBezTo>
                    <a:cubicBezTo>
                      <a:pt x="37829" y="76804"/>
                      <a:pt x="40798" y="73837"/>
                      <a:pt x="40798" y="73837"/>
                    </a:cubicBezTo>
                    <a:cubicBezTo>
                      <a:pt x="43764" y="67903"/>
                      <a:pt x="49698" y="41200"/>
                      <a:pt x="43764" y="20430"/>
                    </a:cubicBezTo>
                    <a:cubicBezTo>
                      <a:pt x="37829" y="2628"/>
                      <a:pt x="8159" y="11529"/>
                      <a:pt x="8159" y="11529"/>
                    </a:cubicBezTo>
                    <a:cubicBezTo>
                      <a:pt x="5193" y="11529"/>
                      <a:pt x="2225" y="11529"/>
                      <a:pt x="2225" y="8562"/>
                    </a:cubicBezTo>
                    <a:cubicBezTo>
                      <a:pt x="2225" y="5595"/>
                      <a:pt x="2225" y="2628"/>
                      <a:pt x="5193" y="2628"/>
                    </a:cubicBezTo>
                    <a:cubicBezTo>
                      <a:pt x="8159" y="2628"/>
                      <a:pt x="46730" y="-9240"/>
                      <a:pt x="55633" y="17463"/>
                    </a:cubicBezTo>
                    <a:cubicBezTo>
                      <a:pt x="64534" y="41200"/>
                      <a:pt x="58599" y="70870"/>
                      <a:pt x="52665" y="79771"/>
                    </a:cubicBezTo>
                    <a:cubicBezTo>
                      <a:pt x="49698" y="82738"/>
                      <a:pt x="46730" y="85705"/>
                      <a:pt x="37829" y="85705"/>
                    </a:cubicBezTo>
                    <a:cubicBezTo>
                      <a:pt x="31895" y="88672"/>
                      <a:pt x="28929" y="88672"/>
                      <a:pt x="25962" y="8867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7A8B5BAD-197C-4D93-8242-FCF5C29C9C73}"/>
                </a:ext>
              </a:extLst>
            </p:cNvPr>
            <p:cNvSpPr/>
            <p:nvPr/>
          </p:nvSpPr>
          <p:spPr>
            <a:xfrm>
              <a:off x="19882118" y="3855450"/>
              <a:ext cx="143030" cy="74175"/>
            </a:xfrm>
            <a:custGeom>
              <a:avLst/>
              <a:gdLst>
                <a:gd name="connsiteX0" fmla="*/ 0 w 143030"/>
                <a:gd name="connsiteY0" fmla="*/ 35604 h 74175"/>
                <a:gd name="connsiteX1" fmla="*/ 89011 w 143030"/>
                <a:gd name="connsiteY1" fmla="*/ 0 h 74175"/>
                <a:gd name="connsiteX2" fmla="*/ 142417 w 143030"/>
                <a:gd name="connsiteY2" fmla="*/ 29670 h 74175"/>
                <a:gd name="connsiteX3" fmla="*/ 97912 w 143030"/>
                <a:gd name="connsiteY3" fmla="*/ 38571 h 74175"/>
                <a:gd name="connsiteX4" fmla="*/ 71210 w 143030"/>
                <a:gd name="connsiteY4" fmla="*/ 74176 h 74175"/>
                <a:gd name="connsiteX5" fmla="*/ 0 w 143030"/>
                <a:gd name="connsiteY5" fmla="*/ 35604 h 7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030" h="74175">
                  <a:moveTo>
                    <a:pt x="0" y="35604"/>
                  </a:moveTo>
                  <a:cubicBezTo>
                    <a:pt x="0" y="35604"/>
                    <a:pt x="68241" y="0"/>
                    <a:pt x="89011" y="0"/>
                  </a:cubicBezTo>
                  <a:cubicBezTo>
                    <a:pt x="109781" y="0"/>
                    <a:pt x="148352" y="8901"/>
                    <a:pt x="142417" y="29670"/>
                  </a:cubicBezTo>
                  <a:cubicBezTo>
                    <a:pt x="139451" y="38571"/>
                    <a:pt x="109781" y="35604"/>
                    <a:pt x="97912" y="38571"/>
                  </a:cubicBezTo>
                  <a:cubicBezTo>
                    <a:pt x="86045" y="41538"/>
                    <a:pt x="80110" y="62308"/>
                    <a:pt x="71210" y="74176"/>
                  </a:cubicBezTo>
                  <a:lnTo>
                    <a:pt x="0" y="35604"/>
                  </a:ln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83A1A46C-9584-4067-A3DB-A4CC760F3106}"/>
                </a:ext>
              </a:extLst>
            </p:cNvPr>
            <p:cNvSpPr/>
            <p:nvPr/>
          </p:nvSpPr>
          <p:spPr>
            <a:xfrm>
              <a:off x="19882118" y="3852482"/>
              <a:ext cx="155514" cy="83077"/>
            </a:xfrm>
            <a:custGeom>
              <a:avLst/>
              <a:gdLst>
                <a:gd name="connsiteX0" fmla="*/ 68241 w 155514"/>
                <a:gd name="connsiteY0" fmla="*/ 83077 h 83077"/>
                <a:gd name="connsiteX1" fmla="*/ 65275 w 155514"/>
                <a:gd name="connsiteY1" fmla="*/ 83077 h 83077"/>
                <a:gd name="connsiteX2" fmla="*/ 65275 w 155514"/>
                <a:gd name="connsiteY2" fmla="*/ 74176 h 83077"/>
                <a:gd name="connsiteX3" fmla="*/ 74176 w 155514"/>
                <a:gd name="connsiteY3" fmla="*/ 62308 h 83077"/>
                <a:gd name="connsiteX4" fmla="*/ 97912 w 155514"/>
                <a:gd name="connsiteY4" fmla="*/ 38572 h 83077"/>
                <a:gd name="connsiteX5" fmla="*/ 118681 w 155514"/>
                <a:gd name="connsiteY5" fmla="*/ 35605 h 83077"/>
                <a:gd name="connsiteX6" fmla="*/ 139451 w 155514"/>
                <a:gd name="connsiteY6" fmla="*/ 32638 h 83077"/>
                <a:gd name="connsiteX7" fmla="*/ 139451 w 155514"/>
                <a:gd name="connsiteY7" fmla="*/ 26703 h 83077"/>
                <a:gd name="connsiteX8" fmla="*/ 94945 w 155514"/>
                <a:gd name="connsiteY8" fmla="*/ 11868 h 83077"/>
                <a:gd name="connsiteX9" fmla="*/ 94945 w 155514"/>
                <a:gd name="connsiteY9" fmla="*/ 11868 h 83077"/>
                <a:gd name="connsiteX10" fmla="*/ 8901 w 155514"/>
                <a:gd name="connsiteY10" fmla="*/ 47473 h 83077"/>
                <a:gd name="connsiteX11" fmla="*/ 0 w 155514"/>
                <a:gd name="connsiteY11" fmla="*/ 44505 h 83077"/>
                <a:gd name="connsiteX12" fmla="*/ 2968 w 155514"/>
                <a:gd name="connsiteY12" fmla="*/ 35605 h 83077"/>
                <a:gd name="connsiteX13" fmla="*/ 94945 w 155514"/>
                <a:gd name="connsiteY13" fmla="*/ 0 h 83077"/>
                <a:gd name="connsiteX14" fmla="*/ 94945 w 155514"/>
                <a:gd name="connsiteY14" fmla="*/ 0 h 83077"/>
                <a:gd name="connsiteX15" fmla="*/ 151320 w 155514"/>
                <a:gd name="connsiteY15" fmla="*/ 17802 h 83077"/>
                <a:gd name="connsiteX16" fmla="*/ 154286 w 155514"/>
                <a:gd name="connsiteY16" fmla="*/ 35605 h 83077"/>
                <a:gd name="connsiteX17" fmla="*/ 124616 w 155514"/>
                <a:gd name="connsiteY17" fmla="*/ 47473 h 83077"/>
                <a:gd name="connsiteX18" fmla="*/ 106814 w 155514"/>
                <a:gd name="connsiteY18" fmla="*/ 50440 h 83077"/>
                <a:gd name="connsiteX19" fmla="*/ 91979 w 155514"/>
                <a:gd name="connsiteY19" fmla="*/ 68242 h 83077"/>
                <a:gd name="connsiteX20" fmla="*/ 83077 w 155514"/>
                <a:gd name="connsiteY20" fmla="*/ 83077 h 83077"/>
                <a:gd name="connsiteX21" fmla="*/ 68241 w 155514"/>
                <a:gd name="connsiteY21" fmla="*/ 83077 h 8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5514" h="83077">
                  <a:moveTo>
                    <a:pt x="68241" y="83077"/>
                  </a:moveTo>
                  <a:cubicBezTo>
                    <a:pt x="68241" y="83077"/>
                    <a:pt x="65275" y="83077"/>
                    <a:pt x="65275" y="83077"/>
                  </a:cubicBezTo>
                  <a:cubicBezTo>
                    <a:pt x="62309" y="80110"/>
                    <a:pt x="62309" y="77143"/>
                    <a:pt x="65275" y="74176"/>
                  </a:cubicBezTo>
                  <a:cubicBezTo>
                    <a:pt x="68241" y="71209"/>
                    <a:pt x="71210" y="65275"/>
                    <a:pt x="74176" y="62308"/>
                  </a:cubicBezTo>
                  <a:cubicBezTo>
                    <a:pt x="80110" y="53407"/>
                    <a:pt x="86045" y="41539"/>
                    <a:pt x="97912" y="38572"/>
                  </a:cubicBezTo>
                  <a:cubicBezTo>
                    <a:pt x="103846" y="35605"/>
                    <a:pt x="109781" y="35605"/>
                    <a:pt x="118681" y="35605"/>
                  </a:cubicBezTo>
                  <a:cubicBezTo>
                    <a:pt x="124616" y="35605"/>
                    <a:pt x="139451" y="35605"/>
                    <a:pt x="139451" y="32638"/>
                  </a:cubicBezTo>
                  <a:cubicBezTo>
                    <a:pt x="139451" y="29670"/>
                    <a:pt x="139451" y="29670"/>
                    <a:pt x="139451" y="26703"/>
                  </a:cubicBezTo>
                  <a:cubicBezTo>
                    <a:pt x="133516" y="17802"/>
                    <a:pt x="109781" y="11868"/>
                    <a:pt x="94945" y="11868"/>
                  </a:cubicBezTo>
                  <a:lnTo>
                    <a:pt x="94945" y="11868"/>
                  </a:lnTo>
                  <a:cubicBezTo>
                    <a:pt x="80110" y="11868"/>
                    <a:pt x="26704" y="35605"/>
                    <a:pt x="8901" y="47473"/>
                  </a:cubicBezTo>
                  <a:cubicBezTo>
                    <a:pt x="5934" y="47473"/>
                    <a:pt x="2968" y="47473"/>
                    <a:pt x="0" y="44505"/>
                  </a:cubicBezTo>
                  <a:cubicBezTo>
                    <a:pt x="0" y="41539"/>
                    <a:pt x="0" y="38572"/>
                    <a:pt x="2968" y="35605"/>
                  </a:cubicBezTo>
                  <a:cubicBezTo>
                    <a:pt x="8901" y="32638"/>
                    <a:pt x="71210" y="0"/>
                    <a:pt x="94945" y="0"/>
                  </a:cubicBezTo>
                  <a:cubicBezTo>
                    <a:pt x="94945" y="0"/>
                    <a:pt x="94945" y="0"/>
                    <a:pt x="94945" y="0"/>
                  </a:cubicBezTo>
                  <a:cubicBezTo>
                    <a:pt x="109781" y="0"/>
                    <a:pt x="139451" y="5934"/>
                    <a:pt x="151320" y="17802"/>
                  </a:cubicBezTo>
                  <a:cubicBezTo>
                    <a:pt x="154286" y="23736"/>
                    <a:pt x="157252" y="29670"/>
                    <a:pt x="154286" y="35605"/>
                  </a:cubicBezTo>
                  <a:cubicBezTo>
                    <a:pt x="151320" y="44505"/>
                    <a:pt x="136485" y="47473"/>
                    <a:pt x="124616" y="47473"/>
                  </a:cubicBezTo>
                  <a:cubicBezTo>
                    <a:pt x="118681" y="47473"/>
                    <a:pt x="112747" y="47473"/>
                    <a:pt x="106814" y="50440"/>
                  </a:cubicBezTo>
                  <a:cubicBezTo>
                    <a:pt x="100880" y="53407"/>
                    <a:pt x="94945" y="62308"/>
                    <a:pt x="91979" y="68242"/>
                  </a:cubicBezTo>
                  <a:cubicBezTo>
                    <a:pt x="89011" y="74176"/>
                    <a:pt x="86045" y="80110"/>
                    <a:pt x="83077" y="83077"/>
                  </a:cubicBezTo>
                  <a:cubicBezTo>
                    <a:pt x="74176" y="83077"/>
                    <a:pt x="71210" y="83077"/>
                    <a:pt x="68241" y="83077"/>
                  </a:cubicBezTo>
                  <a:close/>
                </a:path>
              </a:pathLst>
            </a:custGeom>
            <a:solidFill>
              <a:srgbClr val="E58777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742F0EA3-57EC-47DD-A27C-FF683E7D17D3}"/>
                </a:ext>
              </a:extLst>
            </p:cNvPr>
            <p:cNvGrpSpPr/>
            <p:nvPr/>
          </p:nvGrpSpPr>
          <p:grpSpPr>
            <a:xfrm>
              <a:off x="22668163" y="3855450"/>
              <a:ext cx="393916" cy="245604"/>
              <a:chOff x="22668163" y="3855450"/>
              <a:chExt cx="393916" cy="245604"/>
            </a:xfrm>
          </p:grpSpPr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89077115-1111-4AEA-A97A-C399C8832C03}"/>
                  </a:ext>
                </a:extLst>
              </p:cNvPr>
              <p:cNvSpPr/>
              <p:nvPr/>
            </p:nvSpPr>
            <p:spPr>
              <a:xfrm>
                <a:off x="22774742" y="3855450"/>
                <a:ext cx="231661" cy="69350"/>
              </a:xfrm>
              <a:custGeom>
                <a:avLst/>
                <a:gdLst>
                  <a:gd name="connsiteX0" fmla="*/ 231662 w 231661"/>
                  <a:gd name="connsiteY0" fmla="*/ 50439 h 69350"/>
                  <a:gd name="connsiteX1" fmla="*/ 130783 w 231661"/>
                  <a:gd name="connsiteY1" fmla="*/ 0 h 69350"/>
                  <a:gd name="connsiteX2" fmla="*/ 3201 w 231661"/>
                  <a:gd name="connsiteY2" fmla="*/ 44505 h 69350"/>
                  <a:gd name="connsiteX3" fmla="*/ 29904 w 231661"/>
                  <a:gd name="connsiteY3" fmla="*/ 68242 h 69350"/>
                  <a:gd name="connsiteX4" fmla="*/ 231662 w 231661"/>
                  <a:gd name="connsiteY4" fmla="*/ 50439 h 6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1661" h="69350">
                    <a:moveTo>
                      <a:pt x="231662" y="50439"/>
                    </a:moveTo>
                    <a:cubicBezTo>
                      <a:pt x="231662" y="50439"/>
                      <a:pt x="169355" y="0"/>
                      <a:pt x="130783" y="0"/>
                    </a:cubicBezTo>
                    <a:cubicBezTo>
                      <a:pt x="89244" y="0"/>
                      <a:pt x="18037" y="11868"/>
                      <a:pt x="3201" y="44505"/>
                    </a:cubicBezTo>
                    <a:cubicBezTo>
                      <a:pt x="-11634" y="77143"/>
                      <a:pt x="29904" y="68242"/>
                      <a:pt x="29904" y="68242"/>
                    </a:cubicBezTo>
                    <a:lnTo>
                      <a:pt x="231662" y="50439"/>
                    </a:ln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0FD0D160-CE44-44BA-91CB-AC780BED46A0}"/>
                  </a:ext>
                </a:extLst>
              </p:cNvPr>
              <p:cNvSpPr/>
              <p:nvPr/>
            </p:nvSpPr>
            <p:spPr>
              <a:xfrm>
                <a:off x="22668163" y="3896751"/>
                <a:ext cx="393916" cy="204303"/>
              </a:xfrm>
              <a:custGeom>
                <a:avLst/>
                <a:gdLst>
                  <a:gd name="connsiteX0" fmla="*/ 391649 w 393916"/>
                  <a:gd name="connsiteY0" fmla="*/ 124853 h 204303"/>
                  <a:gd name="connsiteX1" fmla="*/ 364945 w 393916"/>
                  <a:gd name="connsiteY1" fmla="*/ 3204 h 204303"/>
                  <a:gd name="connsiteX2" fmla="*/ 106812 w 393916"/>
                  <a:gd name="connsiteY2" fmla="*/ 6171 h 204303"/>
                  <a:gd name="connsiteX3" fmla="*/ 41537 w 393916"/>
                  <a:gd name="connsiteY3" fmla="*/ 41776 h 204303"/>
                  <a:gd name="connsiteX4" fmla="*/ 59341 w 393916"/>
                  <a:gd name="connsiteY4" fmla="*/ 53644 h 204303"/>
                  <a:gd name="connsiteX5" fmla="*/ 103846 w 393916"/>
                  <a:gd name="connsiteY5" fmla="*/ 56611 h 204303"/>
                  <a:gd name="connsiteX6" fmla="*/ 47472 w 393916"/>
                  <a:gd name="connsiteY6" fmla="*/ 77380 h 204303"/>
                  <a:gd name="connsiteX7" fmla="*/ 0 w 393916"/>
                  <a:gd name="connsiteY7" fmla="*/ 124853 h 204303"/>
                  <a:gd name="connsiteX8" fmla="*/ 29670 w 393916"/>
                  <a:gd name="connsiteY8" fmla="*/ 139688 h 204303"/>
                  <a:gd name="connsiteX9" fmla="*/ 29670 w 393916"/>
                  <a:gd name="connsiteY9" fmla="*/ 154523 h 204303"/>
                  <a:gd name="connsiteX10" fmla="*/ 103846 w 393916"/>
                  <a:gd name="connsiteY10" fmla="*/ 163424 h 204303"/>
                  <a:gd name="connsiteX11" fmla="*/ 157252 w 393916"/>
                  <a:gd name="connsiteY11" fmla="*/ 154523 h 204303"/>
                  <a:gd name="connsiteX12" fmla="*/ 109781 w 393916"/>
                  <a:gd name="connsiteY12" fmla="*/ 199029 h 204303"/>
                  <a:gd name="connsiteX13" fmla="*/ 163187 w 393916"/>
                  <a:gd name="connsiteY13" fmla="*/ 199029 h 204303"/>
                  <a:gd name="connsiteX14" fmla="*/ 258132 w 393916"/>
                  <a:gd name="connsiteY14" fmla="*/ 172325 h 204303"/>
                  <a:gd name="connsiteX15" fmla="*/ 353076 w 393916"/>
                  <a:gd name="connsiteY15" fmla="*/ 157490 h 204303"/>
                  <a:gd name="connsiteX16" fmla="*/ 391649 w 393916"/>
                  <a:gd name="connsiteY16" fmla="*/ 124853 h 204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93916" h="204303">
                    <a:moveTo>
                      <a:pt x="391649" y="124853"/>
                    </a:moveTo>
                    <a:cubicBezTo>
                      <a:pt x="403516" y="86281"/>
                      <a:pt x="364945" y="237"/>
                      <a:pt x="364945" y="3204"/>
                    </a:cubicBezTo>
                    <a:cubicBezTo>
                      <a:pt x="278900" y="3204"/>
                      <a:pt x="192857" y="-5697"/>
                      <a:pt x="106812" y="6171"/>
                    </a:cubicBezTo>
                    <a:cubicBezTo>
                      <a:pt x="91977" y="9138"/>
                      <a:pt x="32637" y="15072"/>
                      <a:pt x="41537" y="41776"/>
                    </a:cubicBezTo>
                    <a:cubicBezTo>
                      <a:pt x="44505" y="50677"/>
                      <a:pt x="53406" y="50677"/>
                      <a:pt x="59341" y="53644"/>
                    </a:cubicBezTo>
                    <a:cubicBezTo>
                      <a:pt x="74176" y="56611"/>
                      <a:pt x="89011" y="56611"/>
                      <a:pt x="103846" y="56611"/>
                    </a:cubicBezTo>
                    <a:cubicBezTo>
                      <a:pt x="83077" y="62545"/>
                      <a:pt x="65275" y="68479"/>
                      <a:pt x="47472" y="77380"/>
                    </a:cubicBezTo>
                    <a:cubicBezTo>
                      <a:pt x="32637" y="83314"/>
                      <a:pt x="0" y="104083"/>
                      <a:pt x="0" y="124853"/>
                    </a:cubicBezTo>
                    <a:cubicBezTo>
                      <a:pt x="0" y="136721"/>
                      <a:pt x="11867" y="139688"/>
                      <a:pt x="29670" y="139688"/>
                    </a:cubicBezTo>
                    <a:cubicBezTo>
                      <a:pt x="26702" y="145622"/>
                      <a:pt x="23736" y="148589"/>
                      <a:pt x="29670" y="154523"/>
                    </a:cubicBezTo>
                    <a:cubicBezTo>
                      <a:pt x="44505" y="169358"/>
                      <a:pt x="86043" y="166391"/>
                      <a:pt x="103846" y="163424"/>
                    </a:cubicBezTo>
                    <a:cubicBezTo>
                      <a:pt x="121648" y="160457"/>
                      <a:pt x="139451" y="157490"/>
                      <a:pt x="157252" y="154523"/>
                    </a:cubicBezTo>
                    <a:cubicBezTo>
                      <a:pt x="127582" y="166391"/>
                      <a:pt x="94945" y="181226"/>
                      <a:pt x="109781" y="199029"/>
                    </a:cubicBezTo>
                    <a:cubicBezTo>
                      <a:pt x="118681" y="210897"/>
                      <a:pt x="151318" y="199029"/>
                      <a:pt x="163187" y="199029"/>
                    </a:cubicBezTo>
                    <a:cubicBezTo>
                      <a:pt x="195823" y="193094"/>
                      <a:pt x="225494" y="181226"/>
                      <a:pt x="258132" y="172325"/>
                    </a:cubicBezTo>
                    <a:cubicBezTo>
                      <a:pt x="287803" y="166391"/>
                      <a:pt x="320439" y="163424"/>
                      <a:pt x="353076" y="157490"/>
                    </a:cubicBezTo>
                    <a:cubicBezTo>
                      <a:pt x="379780" y="151556"/>
                      <a:pt x="385714" y="148589"/>
                      <a:pt x="391649" y="12485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372932A7-B149-4230-A711-725F6D7E3D09}"/>
                  </a:ext>
                </a:extLst>
              </p:cNvPr>
              <p:cNvSpPr/>
              <p:nvPr/>
            </p:nvSpPr>
            <p:spPr>
              <a:xfrm>
                <a:off x="22694865" y="3985857"/>
                <a:ext cx="163186" cy="53548"/>
              </a:xfrm>
              <a:custGeom>
                <a:avLst/>
                <a:gdLst>
                  <a:gd name="connsiteX0" fmla="*/ 5934 w 163186"/>
                  <a:gd name="connsiteY0" fmla="*/ 53549 h 53548"/>
                  <a:gd name="connsiteX1" fmla="*/ 0 w 163186"/>
                  <a:gd name="connsiteY1" fmla="*/ 50582 h 53548"/>
                  <a:gd name="connsiteX2" fmla="*/ 2968 w 163186"/>
                  <a:gd name="connsiteY2" fmla="*/ 44647 h 53548"/>
                  <a:gd name="connsiteX3" fmla="*/ 157254 w 163186"/>
                  <a:gd name="connsiteY3" fmla="*/ 142 h 53548"/>
                  <a:gd name="connsiteX4" fmla="*/ 163187 w 163186"/>
                  <a:gd name="connsiteY4" fmla="*/ 6076 h 53548"/>
                  <a:gd name="connsiteX5" fmla="*/ 157254 w 163186"/>
                  <a:gd name="connsiteY5" fmla="*/ 12010 h 53548"/>
                  <a:gd name="connsiteX6" fmla="*/ 154286 w 163186"/>
                  <a:gd name="connsiteY6" fmla="*/ 12010 h 53548"/>
                  <a:gd name="connsiteX7" fmla="*/ 5934 w 163186"/>
                  <a:gd name="connsiteY7" fmla="*/ 53549 h 53548"/>
                  <a:gd name="connsiteX8" fmla="*/ 5934 w 163186"/>
                  <a:gd name="connsiteY8" fmla="*/ 53549 h 53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186" h="53548">
                    <a:moveTo>
                      <a:pt x="5934" y="53549"/>
                    </a:moveTo>
                    <a:cubicBezTo>
                      <a:pt x="2968" y="53549"/>
                      <a:pt x="2968" y="53549"/>
                      <a:pt x="0" y="50582"/>
                    </a:cubicBezTo>
                    <a:cubicBezTo>
                      <a:pt x="0" y="47615"/>
                      <a:pt x="0" y="44647"/>
                      <a:pt x="2968" y="44647"/>
                    </a:cubicBezTo>
                    <a:cubicBezTo>
                      <a:pt x="8903" y="41680"/>
                      <a:pt x="121649" y="-2825"/>
                      <a:pt x="157254" y="142"/>
                    </a:cubicBezTo>
                    <a:cubicBezTo>
                      <a:pt x="160221" y="142"/>
                      <a:pt x="163187" y="3109"/>
                      <a:pt x="163187" y="6076"/>
                    </a:cubicBezTo>
                    <a:cubicBezTo>
                      <a:pt x="163187" y="9043"/>
                      <a:pt x="160221" y="12010"/>
                      <a:pt x="157254" y="12010"/>
                    </a:cubicBezTo>
                    <a:cubicBezTo>
                      <a:pt x="157254" y="12010"/>
                      <a:pt x="154286" y="12010"/>
                      <a:pt x="154286" y="12010"/>
                    </a:cubicBezTo>
                    <a:cubicBezTo>
                      <a:pt x="118681" y="6076"/>
                      <a:pt x="8903" y="50582"/>
                      <a:pt x="5934" y="53549"/>
                    </a:cubicBezTo>
                    <a:cubicBezTo>
                      <a:pt x="5934" y="53549"/>
                      <a:pt x="5934" y="53549"/>
                      <a:pt x="5934" y="53549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552CB244-F082-4453-80DA-52332DC91174}"/>
                  </a:ext>
                </a:extLst>
              </p:cNvPr>
              <p:cNvSpPr/>
              <p:nvPr/>
            </p:nvSpPr>
            <p:spPr>
              <a:xfrm>
                <a:off x="22822449" y="4033472"/>
                <a:ext cx="65273" cy="20769"/>
              </a:xfrm>
              <a:custGeom>
                <a:avLst/>
                <a:gdLst>
                  <a:gd name="connsiteX0" fmla="*/ 5933 w 65273"/>
                  <a:gd name="connsiteY0" fmla="*/ 20769 h 20769"/>
                  <a:gd name="connsiteX1" fmla="*/ 0 w 65273"/>
                  <a:gd name="connsiteY1" fmla="*/ 14835 h 20769"/>
                  <a:gd name="connsiteX2" fmla="*/ 5933 w 65273"/>
                  <a:gd name="connsiteY2" fmla="*/ 8901 h 20769"/>
                  <a:gd name="connsiteX3" fmla="*/ 59341 w 65273"/>
                  <a:gd name="connsiteY3" fmla="*/ 0 h 20769"/>
                  <a:gd name="connsiteX4" fmla="*/ 65273 w 65273"/>
                  <a:gd name="connsiteY4" fmla="*/ 5934 h 20769"/>
                  <a:gd name="connsiteX5" fmla="*/ 59341 w 65273"/>
                  <a:gd name="connsiteY5" fmla="*/ 11868 h 20769"/>
                  <a:gd name="connsiteX6" fmla="*/ 5933 w 65273"/>
                  <a:gd name="connsiteY6" fmla="*/ 20769 h 20769"/>
                  <a:gd name="connsiteX7" fmla="*/ 5933 w 65273"/>
                  <a:gd name="connsiteY7" fmla="*/ 20769 h 20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5273" h="20769">
                    <a:moveTo>
                      <a:pt x="5933" y="20769"/>
                    </a:moveTo>
                    <a:cubicBezTo>
                      <a:pt x="2966" y="20769"/>
                      <a:pt x="0" y="17802"/>
                      <a:pt x="0" y="14835"/>
                    </a:cubicBezTo>
                    <a:cubicBezTo>
                      <a:pt x="0" y="11868"/>
                      <a:pt x="2966" y="8901"/>
                      <a:pt x="5933" y="8901"/>
                    </a:cubicBezTo>
                    <a:lnTo>
                      <a:pt x="59341" y="0"/>
                    </a:lnTo>
                    <a:cubicBezTo>
                      <a:pt x="62307" y="0"/>
                      <a:pt x="65273" y="2967"/>
                      <a:pt x="65273" y="5934"/>
                    </a:cubicBezTo>
                    <a:cubicBezTo>
                      <a:pt x="65273" y="8901"/>
                      <a:pt x="62307" y="11868"/>
                      <a:pt x="59341" y="11868"/>
                    </a:cubicBezTo>
                    <a:lnTo>
                      <a:pt x="5933" y="20769"/>
                    </a:lnTo>
                    <a:cubicBezTo>
                      <a:pt x="5933" y="20769"/>
                      <a:pt x="5933" y="20769"/>
                      <a:pt x="5933" y="20769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46F6026E-0673-419A-9CD1-1B813804F0EC}"/>
                  </a:ext>
                </a:extLst>
              </p:cNvPr>
              <p:cNvSpPr/>
              <p:nvPr/>
            </p:nvSpPr>
            <p:spPr>
              <a:xfrm>
                <a:off x="22903196" y="3931363"/>
                <a:ext cx="28014" cy="108042"/>
              </a:xfrm>
              <a:custGeom>
                <a:avLst/>
                <a:gdLst>
                  <a:gd name="connsiteX0" fmla="*/ 23099 w 28014"/>
                  <a:gd name="connsiteY0" fmla="*/ 108042 h 108042"/>
                  <a:gd name="connsiteX1" fmla="*/ 17165 w 28014"/>
                  <a:gd name="connsiteY1" fmla="*/ 105075 h 108042"/>
                  <a:gd name="connsiteX2" fmla="*/ 5296 w 28014"/>
                  <a:gd name="connsiteY2" fmla="*/ 4196 h 108042"/>
                  <a:gd name="connsiteX3" fmla="*/ 11231 w 28014"/>
                  <a:gd name="connsiteY3" fmla="*/ 1229 h 108042"/>
                  <a:gd name="connsiteX4" fmla="*/ 14197 w 28014"/>
                  <a:gd name="connsiteY4" fmla="*/ 7163 h 108042"/>
                  <a:gd name="connsiteX5" fmla="*/ 26066 w 28014"/>
                  <a:gd name="connsiteY5" fmla="*/ 99141 h 108042"/>
                  <a:gd name="connsiteX6" fmla="*/ 23099 w 28014"/>
                  <a:gd name="connsiteY6" fmla="*/ 108042 h 108042"/>
                  <a:gd name="connsiteX7" fmla="*/ 23099 w 28014"/>
                  <a:gd name="connsiteY7" fmla="*/ 108042 h 108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014" h="108042">
                    <a:moveTo>
                      <a:pt x="23099" y="108042"/>
                    </a:moveTo>
                    <a:cubicBezTo>
                      <a:pt x="20131" y="108042"/>
                      <a:pt x="20131" y="108042"/>
                      <a:pt x="17165" y="105075"/>
                    </a:cubicBezTo>
                    <a:cubicBezTo>
                      <a:pt x="-12505" y="57603"/>
                      <a:pt x="5296" y="7163"/>
                      <a:pt x="5296" y="4196"/>
                    </a:cubicBezTo>
                    <a:cubicBezTo>
                      <a:pt x="5296" y="1229"/>
                      <a:pt x="8264" y="-1738"/>
                      <a:pt x="11231" y="1229"/>
                    </a:cubicBezTo>
                    <a:cubicBezTo>
                      <a:pt x="14197" y="1229"/>
                      <a:pt x="14197" y="4196"/>
                      <a:pt x="14197" y="7163"/>
                    </a:cubicBezTo>
                    <a:cubicBezTo>
                      <a:pt x="14197" y="7163"/>
                      <a:pt x="-638" y="54635"/>
                      <a:pt x="26066" y="99141"/>
                    </a:cubicBezTo>
                    <a:cubicBezTo>
                      <a:pt x="29032" y="102108"/>
                      <a:pt x="29032" y="105075"/>
                      <a:pt x="23099" y="108042"/>
                    </a:cubicBezTo>
                    <a:cubicBezTo>
                      <a:pt x="26066" y="108042"/>
                      <a:pt x="23099" y="108042"/>
                      <a:pt x="23099" y="108042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30F21822-1066-469F-8FA4-9B2B276FEC5D}"/>
                  </a:ext>
                </a:extLst>
              </p:cNvPr>
              <p:cNvSpPr/>
              <p:nvPr/>
            </p:nvSpPr>
            <p:spPr>
              <a:xfrm>
                <a:off x="22701542" y="3885983"/>
                <a:ext cx="257390" cy="70345"/>
              </a:xfrm>
              <a:custGeom>
                <a:avLst/>
                <a:gdLst>
                  <a:gd name="connsiteX0" fmla="*/ 52664 w 257390"/>
                  <a:gd name="connsiteY0" fmla="*/ 70345 h 70345"/>
                  <a:gd name="connsiteX1" fmla="*/ 2226 w 257390"/>
                  <a:gd name="connsiteY1" fmla="*/ 52543 h 70345"/>
                  <a:gd name="connsiteX2" fmla="*/ 2226 w 257390"/>
                  <a:gd name="connsiteY2" fmla="*/ 37708 h 70345"/>
                  <a:gd name="connsiteX3" fmla="*/ 251456 w 257390"/>
                  <a:gd name="connsiteY3" fmla="*/ 2103 h 70345"/>
                  <a:gd name="connsiteX4" fmla="*/ 257390 w 257390"/>
                  <a:gd name="connsiteY4" fmla="*/ 8037 h 70345"/>
                  <a:gd name="connsiteX5" fmla="*/ 251456 w 257390"/>
                  <a:gd name="connsiteY5" fmla="*/ 13972 h 70345"/>
                  <a:gd name="connsiteX6" fmla="*/ 251456 w 257390"/>
                  <a:gd name="connsiteY6" fmla="*/ 13972 h 70345"/>
                  <a:gd name="connsiteX7" fmla="*/ 14093 w 257390"/>
                  <a:gd name="connsiteY7" fmla="*/ 43642 h 70345"/>
                  <a:gd name="connsiteX8" fmla="*/ 14093 w 257390"/>
                  <a:gd name="connsiteY8" fmla="*/ 46609 h 70345"/>
                  <a:gd name="connsiteX9" fmla="*/ 70467 w 257390"/>
                  <a:gd name="connsiteY9" fmla="*/ 58477 h 70345"/>
                  <a:gd name="connsiteX10" fmla="*/ 156510 w 257390"/>
                  <a:gd name="connsiteY10" fmla="*/ 43642 h 70345"/>
                  <a:gd name="connsiteX11" fmla="*/ 156510 w 257390"/>
                  <a:gd name="connsiteY11" fmla="*/ 43642 h 70345"/>
                  <a:gd name="connsiteX12" fmla="*/ 162445 w 257390"/>
                  <a:gd name="connsiteY12" fmla="*/ 49576 h 70345"/>
                  <a:gd name="connsiteX13" fmla="*/ 156510 w 257390"/>
                  <a:gd name="connsiteY13" fmla="*/ 55510 h 70345"/>
                  <a:gd name="connsiteX14" fmla="*/ 73434 w 257390"/>
                  <a:gd name="connsiteY14" fmla="*/ 67378 h 70345"/>
                  <a:gd name="connsiteX15" fmla="*/ 70467 w 257390"/>
                  <a:gd name="connsiteY15" fmla="*/ 70345 h 70345"/>
                  <a:gd name="connsiteX16" fmla="*/ 52664 w 257390"/>
                  <a:gd name="connsiteY16" fmla="*/ 70345 h 70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7390" h="70345">
                    <a:moveTo>
                      <a:pt x="52664" y="70345"/>
                    </a:moveTo>
                    <a:cubicBezTo>
                      <a:pt x="34863" y="70345"/>
                      <a:pt x="11127" y="67378"/>
                      <a:pt x="2226" y="52543"/>
                    </a:cubicBezTo>
                    <a:cubicBezTo>
                      <a:pt x="-742" y="49576"/>
                      <a:pt x="-742" y="43642"/>
                      <a:pt x="2226" y="37708"/>
                    </a:cubicBezTo>
                    <a:cubicBezTo>
                      <a:pt x="17061" y="13972"/>
                      <a:pt x="114973" y="-6798"/>
                      <a:pt x="251456" y="2103"/>
                    </a:cubicBezTo>
                    <a:cubicBezTo>
                      <a:pt x="254424" y="2103"/>
                      <a:pt x="257390" y="5070"/>
                      <a:pt x="257390" y="8037"/>
                    </a:cubicBezTo>
                    <a:cubicBezTo>
                      <a:pt x="257390" y="11004"/>
                      <a:pt x="254424" y="13972"/>
                      <a:pt x="251456" y="13972"/>
                    </a:cubicBezTo>
                    <a:cubicBezTo>
                      <a:pt x="251456" y="13972"/>
                      <a:pt x="251456" y="13972"/>
                      <a:pt x="251456" y="13972"/>
                    </a:cubicBezTo>
                    <a:cubicBezTo>
                      <a:pt x="103104" y="5070"/>
                      <a:pt x="22994" y="28807"/>
                      <a:pt x="14093" y="43642"/>
                    </a:cubicBezTo>
                    <a:cubicBezTo>
                      <a:pt x="14093" y="43642"/>
                      <a:pt x="14093" y="46609"/>
                      <a:pt x="14093" y="46609"/>
                    </a:cubicBezTo>
                    <a:cubicBezTo>
                      <a:pt x="22994" y="61444"/>
                      <a:pt x="58599" y="58477"/>
                      <a:pt x="70467" y="58477"/>
                    </a:cubicBezTo>
                    <a:cubicBezTo>
                      <a:pt x="88269" y="49576"/>
                      <a:pt x="144643" y="43642"/>
                      <a:pt x="156510" y="43642"/>
                    </a:cubicBezTo>
                    <a:cubicBezTo>
                      <a:pt x="156510" y="43642"/>
                      <a:pt x="156510" y="43642"/>
                      <a:pt x="156510" y="43642"/>
                    </a:cubicBezTo>
                    <a:cubicBezTo>
                      <a:pt x="159478" y="43642"/>
                      <a:pt x="162445" y="46609"/>
                      <a:pt x="162445" y="49576"/>
                    </a:cubicBezTo>
                    <a:cubicBezTo>
                      <a:pt x="162445" y="52543"/>
                      <a:pt x="159478" y="55510"/>
                      <a:pt x="156510" y="55510"/>
                    </a:cubicBezTo>
                    <a:cubicBezTo>
                      <a:pt x="126840" y="55510"/>
                      <a:pt x="82335" y="64411"/>
                      <a:pt x="73434" y="67378"/>
                    </a:cubicBezTo>
                    <a:cubicBezTo>
                      <a:pt x="73434" y="67378"/>
                      <a:pt x="70467" y="70345"/>
                      <a:pt x="70467" y="70345"/>
                    </a:cubicBezTo>
                    <a:cubicBezTo>
                      <a:pt x="70467" y="70345"/>
                      <a:pt x="64533" y="70345"/>
                      <a:pt x="52664" y="70345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1568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264DFF7C-4766-4498-8A3C-1ADB0875695E}"/>
              </a:ext>
            </a:extLst>
          </p:cNvPr>
          <p:cNvGrpSpPr/>
          <p:nvPr/>
        </p:nvGrpSpPr>
        <p:grpSpPr>
          <a:xfrm>
            <a:off x="2207205" y="2152317"/>
            <a:ext cx="7777590" cy="4705683"/>
            <a:chOff x="16564433" y="7760095"/>
            <a:chExt cx="7777590" cy="4705683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875FFC0D-A75F-47DD-8B9E-6CA8E18F515F}"/>
                </a:ext>
              </a:extLst>
            </p:cNvPr>
            <p:cNvGrpSpPr/>
            <p:nvPr/>
          </p:nvGrpSpPr>
          <p:grpSpPr>
            <a:xfrm>
              <a:off x="16894684" y="11907977"/>
              <a:ext cx="460513" cy="483394"/>
              <a:chOff x="16894684" y="11907977"/>
              <a:chExt cx="460513" cy="483394"/>
            </a:xfrm>
          </p:grpSpPr>
          <p:sp>
            <p:nvSpPr>
              <p:cNvPr id="202" name="任意多边形: 形状 201">
                <a:extLst>
                  <a:ext uri="{FF2B5EF4-FFF2-40B4-BE49-F238E27FC236}">
                    <a16:creationId xmlns:a16="http://schemas.microsoft.com/office/drawing/2014/main" id="{54FCAD6F-552A-434D-9B01-C278B900F717}"/>
                  </a:ext>
                </a:extLst>
              </p:cNvPr>
              <p:cNvSpPr/>
              <p:nvPr/>
            </p:nvSpPr>
            <p:spPr>
              <a:xfrm>
                <a:off x="16962558" y="11907977"/>
                <a:ext cx="231429" cy="237362"/>
              </a:xfrm>
              <a:custGeom>
                <a:avLst/>
                <a:gdLst>
                  <a:gd name="connsiteX0" fmla="*/ 2967 w 231429"/>
                  <a:gd name="connsiteY0" fmla="*/ 169120 h 237362"/>
                  <a:gd name="connsiteX1" fmla="*/ 65275 w 231429"/>
                  <a:gd name="connsiteY1" fmla="*/ 0 h 237362"/>
                  <a:gd name="connsiteX2" fmla="*/ 231429 w 231429"/>
                  <a:gd name="connsiteY2" fmla="*/ 65274 h 237362"/>
                  <a:gd name="connsiteX3" fmla="*/ 148352 w 231429"/>
                  <a:gd name="connsiteY3" fmla="*/ 237363 h 237362"/>
                  <a:gd name="connsiteX4" fmla="*/ 0 w 231429"/>
                  <a:gd name="connsiteY4" fmla="*/ 207692 h 237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1429" h="237362">
                    <a:moveTo>
                      <a:pt x="2967" y="169120"/>
                    </a:moveTo>
                    <a:lnTo>
                      <a:pt x="65275" y="0"/>
                    </a:lnTo>
                    <a:lnTo>
                      <a:pt x="231429" y="65274"/>
                    </a:lnTo>
                    <a:lnTo>
                      <a:pt x="148352" y="237363"/>
                    </a:lnTo>
                    <a:lnTo>
                      <a:pt x="0" y="207692"/>
                    </a:ln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3" name="任意多边形: 形状 202">
                <a:extLst>
                  <a:ext uri="{FF2B5EF4-FFF2-40B4-BE49-F238E27FC236}">
                    <a16:creationId xmlns:a16="http://schemas.microsoft.com/office/drawing/2014/main" id="{5E98A8C2-15B6-4DE1-925A-884CE832686F}"/>
                  </a:ext>
                </a:extLst>
              </p:cNvPr>
              <p:cNvSpPr/>
              <p:nvPr/>
            </p:nvSpPr>
            <p:spPr>
              <a:xfrm>
                <a:off x="16912119" y="12071164"/>
                <a:ext cx="443078" cy="278900"/>
              </a:xfrm>
              <a:custGeom>
                <a:avLst/>
                <a:gdLst>
                  <a:gd name="connsiteX0" fmla="*/ 41538 w 443078"/>
                  <a:gd name="connsiteY0" fmla="*/ 0 h 278900"/>
                  <a:gd name="connsiteX1" fmla="*/ 225494 w 443078"/>
                  <a:gd name="connsiteY1" fmla="*/ 23736 h 278900"/>
                  <a:gd name="connsiteX2" fmla="*/ 317472 w 443078"/>
                  <a:gd name="connsiteY2" fmla="*/ 145384 h 278900"/>
                  <a:gd name="connsiteX3" fmla="*/ 442088 w 443078"/>
                  <a:gd name="connsiteY3" fmla="*/ 278901 h 278900"/>
                  <a:gd name="connsiteX4" fmla="*/ 0 w 443078"/>
                  <a:gd name="connsiteY4" fmla="*/ 100879 h 278900"/>
                  <a:gd name="connsiteX5" fmla="*/ 41538 w 443078"/>
                  <a:gd name="connsiteY5" fmla="*/ 0 h 278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3078" h="278900">
                    <a:moveTo>
                      <a:pt x="41538" y="0"/>
                    </a:moveTo>
                    <a:cubicBezTo>
                      <a:pt x="41538" y="0"/>
                      <a:pt x="148352" y="62307"/>
                      <a:pt x="225494" y="23736"/>
                    </a:cubicBezTo>
                    <a:cubicBezTo>
                      <a:pt x="225494" y="23736"/>
                      <a:pt x="278901" y="118681"/>
                      <a:pt x="317472" y="145384"/>
                    </a:cubicBezTo>
                    <a:cubicBezTo>
                      <a:pt x="356044" y="169120"/>
                      <a:pt x="453956" y="207692"/>
                      <a:pt x="442088" y="278901"/>
                    </a:cubicBezTo>
                    <a:lnTo>
                      <a:pt x="0" y="100879"/>
                    </a:lnTo>
                    <a:cubicBezTo>
                      <a:pt x="0" y="103846"/>
                      <a:pt x="5934" y="38571"/>
                      <a:pt x="41538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4" name="任意多边形: 形状 203">
                <a:extLst>
                  <a:ext uri="{FF2B5EF4-FFF2-40B4-BE49-F238E27FC236}">
                    <a16:creationId xmlns:a16="http://schemas.microsoft.com/office/drawing/2014/main" id="{1F215AAC-81E5-45EE-9157-9F73E45647E1}"/>
                  </a:ext>
                </a:extLst>
              </p:cNvPr>
              <p:cNvSpPr/>
              <p:nvPr/>
            </p:nvSpPr>
            <p:spPr>
              <a:xfrm rot="-4087766">
                <a:off x="17100994" y="12044948"/>
                <a:ext cx="44504" cy="474711"/>
              </a:xfrm>
              <a:custGeom>
                <a:avLst/>
                <a:gdLst>
                  <a:gd name="connsiteX0" fmla="*/ 0 w 44504"/>
                  <a:gd name="connsiteY0" fmla="*/ 0 h 474711"/>
                  <a:gd name="connsiteX1" fmla="*/ 44504 w 44504"/>
                  <a:gd name="connsiteY1" fmla="*/ 0 h 474711"/>
                  <a:gd name="connsiteX2" fmla="*/ 44504 w 44504"/>
                  <a:gd name="connsiteY2" fmla="*/ 474711 h 474711"/>
                  <a:gd name="connsiteX3" fmla="*/ 0 w 44504"/>
                  <a:gd name="connsiteY3" fmla="*/ 474711 h 474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504" h="474711">
                    <a:moveTo>
                      <a:pt x="0" y="0"/>
                    </a:moveTo>
                    <a:lnTo>
                      <a:pt x="44504" y="0"/>
                    </a:lnTo>
                    <a:lnTo>
                      <a:pt x="44504" y="474711"/>
                    </a:lnTo>
                    <a:lnTo>
                      <a:pt x="0" y="474711"/>
                    </a:lnTo>
                    <a:close/>
                  </a:path>
                </a:pathLst>
              </a:custGeom>
              <a:solidFill>
                <a:srgbClr val="38333D"/>
              </a:solidFill>
              <a:ln w="296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5" name="任意多边形: 形状 204">
                <a:extLst>
                  <a:ext uri="{FF2B5EF4-FFF2-40B4-BE49-F238E27FC236}">
                    <a16:creationId xmlns:a16="http://schemas.microsoft.com/office/drawing/2014/main" id="{64E3F13F-954F-4829-86FC-E6F24C367564}"/>
                  </a:ext>
                </a:extLst>
              </p:cNvPr>
              <p:cNvSpPr/>
              <p:nvPr/>
            </p:nvSpPr>
            <p:spPr>
              <a:xfrm>
                <a:off x="16947723" y="12065230"/>
                <a:ext cx="195824" cy="47472"/>
              </a:xfrm>
              <a:custGeom>
                <a:avLst/>
                <a:gdLst>
                  <a:gd name="connsiteX0" fmla="*/ 133516 w 195824"/>
                  <a:gd name="connsiteY0" fmla="*/ 47473 h 47472"/>
                  <a:gd name="connsiteX1" fmla="*/ 2967 w 195824"/>
                  <a:gd name="connsiteY1" fmla="*/ 11868 h 47472"/>
                  <a:gd name="connsiteX2" fmla="*/ 0 w 195824"/>
                  <a:gd name="connsiteY2" fmla="*/ 2967 h 47472"/>
                  <a:gd name="connsiteX3" fmla="*/ 8902 w 195824"/>
                  <a:gd name="connsiteY3" fmla="*/ 0 h 47472"/>
                  <a:gd name="connsiteX4" fmla="*/ 189890 w 195824"/>
                  <a:gd name="connsiteY4" fmla="*/ 23736 h 47472"/>
                  <a:gd name="connsiteX5" fmla="*/ 195824 w 195824"/>
                  <a:gd name="connsiteY5" fmla="*/ 26703 h 47472"/>
                  <a:gd name="connsiteX6" fmla="*/ 192857 w 195824"/>
                  <a:gd name="connsiteY6" fmla="*/ 32638 h 47472"/>
                  <a:gd name="connsiteX7" fmla="*/ 133516 w 195824"/>
                  <a:gd name="connsiteY7" fmla="*/ 47473 h 47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824" h="47472">
                    <a:moveTo>
                      <a:pt x="133516" y="47473"/>
                    </a:moveTo>
                    <a:cubicBezTo>
                      <a:pt x="65275" y="47473"/>
                      <a:pt x="5934" y="14835"/>
                      <a:pt x="2967" y="11868"/>
                    </a:cubicBezTo>
                    <a:cubicBezTo>
                      <a:pt x="0" y="8901"/>
                      <a:pt x="0" y="5934"/>
                      <a:pt x="0" y="2967"/>
                    </a:cubicBezTo>
                    <a:cubicBezTo>
                      <a:pt x="2967" y="0"/>
                      <a:pt x="5934" y="0"/>
                      <a:pt x="8902" y="0"/>
                    </a:cubicBezTo>
                    <a:cubicBezTo>
                      <a:pt x="8902" y="0"/>
                      <a:pt x="106813" y="56373"/>
                      <a:pt x="189890" y="23736"/>
                    </a:cubicBezTo>
                    <a:cubicBezTo>
                      <a:pt x="192857" y="23736"/>
                      <a:pt x="195824" y="23736"/>
                      <a:pt x="195824" y="26703"/>
                    </a:cubicBezTo>
                    <a:cubicBezTo>
                      <a:pt x="195824" y="29670"/>
                      <a:pt x="195824" y="32638"/>
                      <a:pt x="192857" y="32638"/>
                    </a:cubicBezTo>
                    <a:cubicBezTo>
                      <a:pt x="172088" y="44505"/>
                      <a:pt x="151319" y="47473"/>
                      <a:pt x="133516" y="4747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6" name="任意多边形: 形状 205">
                <a:extLst>
                  <a:ext uri="{FF2B5EF4-FFF2-40B4-BE49-F238E27FC236}">
                    <a16:creationId xmlns:a16="http://schemas.microsoft.com/office/drawing/2014/main" id="{549504DD-C518-4B78-AB5C-59585499C6C5}"/>
                  </a:ext>
                </a:extLst>
              </p:cNvPr>
              <p:cNvSpPr/>
              <p:nvPr/>
            </p:nvSpPr>
            <p:spPr>
              <a:xfrm>
                <a:off x="17122778" y="12130505"/>
                <a:ext cx="41539" cy="23735"/>
              </a:xfrm>
              <a:custGeom>
                <a:avLst/>
                <a:gdLst>
                  <a:gd name="connsiteX0" fmla="*/ 5934 w 41539"/>
                  <a:gd name="connsiteY0" fmla="*/ 23736 h 23735"/>
                  <a:gd name="connsiteX1" fmla="*/ 0 w 41539"/>
                  <a:gd name="connsiteY1" fmla="*/ 20769 h 23735"/>
                  <a:gd name="connsiteX2" fmla="*/ 2967 w 41539"/>
                  <a:gd name="connsiteY2" fmla="*/ 14835 h 23735"/>
                  <a:gd name="connsiteX3" fmla="*/ 35605 w 41539"/>
                  <a:gd name="connsiteY3" fmla="*/ 0 h 23735"/>
                  <a:gd name="connsiteX4" fmla="*/ 41539 w 41539"/>
                  <a:gd name="connsiteY4" fmla="*/ 2966 h 23735"/>
                  <a:gd name="connsiteX5" fmla="*/ 38572 w 41539"/>
                  <a:gd name="connsiteY5" fmla="*/ 8901 h 23735"/>
                  <a:gd name="connsiteX6" fmla="*/ 5934 w 41539"/>
                  <a:gd name="connsiteY6" fmla="*/ 23736 h 23735"/>
                  <a:gd name="connsiteX7" fmla="*/ 5934 w 41539"/>
                  <a:gd name="connsiteY7" fmla="*/ 23736 h 23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9" h="23735">
                    <a:moveTo>
                      <a:pt x="5934" y="23736"/>
                    </a:moveTo>
                    <a:cubicBezTo>
                      <a:pt x="2967" y="23736"/>
                      <a:pt x="2967" y="23736"/>
                      <a:pt x="0" y="20769"/>
                    </a:cubicBezTo>
                    <a:cubicBezTo>
                      <a:pt x="0" y="17801"/>
                      <a:pt x="0" y="14835"/>
                      <a:pt x="2967" y="14835"/>
                    </a:cubicBezTo>
                    <a:lnTo>
                      <a:pt x="35605" y="0"/>
                    </a:lnTo>
                    <a:cubicBezTo>
                      <a:pt x="38572" y="0"/>
                      <a:pt x="41539" y="0"/>
                      <a:pt x="41539" y="2966"/>
                    </a:cubicBezTo>
                    <a:cubicBezTo>
                      <a:pt x="41539" y="5934"/>
                      <a:pt x="41539" y="8901"/>
                      <a:pt x="38572" y="8901"/>
                    </a:cubicBezTo>
                    <a:lnTo>
                      <a:pt x="5934" y="23736"/>
                    </a:lnTo>
                    <a:cubicBezTo>
                      <a:pt x="5934" y="23736"/>
                      <a:pt x="5934" y="23736"/>
                      <a:pt x="5934" y="2373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7" name="任意多边形: 形状 206">
                <a:extLst>
                  <a:ext uri="{FF2B5EF4-FFF2-40B4-BE49-F238E27FC236}">
                    <a16:creationId xmlns:a16="http://schemas.microsoft.com/office/drawing/2014/main" id="{CB49A7FC-C382-4B95-A9D3-16D3A6522736}"/>
                  </a:ext>
                </a:extLst>
              </p:cNvPr>
              <p:cNvSpPr/>
              <p:nvPr/>
            </p:nvSpPr>
            <p:spPr>
              <a:xfrm>
                <a:off x="17146514" y="12169076"/>
                <a:ext cx="41538" cy="23735"/>
              </a:xfrm>
              <a:custGeom>
                <a:avLst/>
                <a:gdLst>
                  <a:gd name="connsiteX0" fmla="*/ 5934 w 41538"/>
                  <a:gd name="connsiteY0" fmla="*/ 23736 h 23735"/>
                  <a:gd name="connsiteX1" fmla="*/ 0 w 41538"/>
                  <a:gd name="connsiteY1" fmla="*/ 20770 h 23735"/>
                  <a:gd name="connsiteX2" fmla="*/ 2967 w 41538"/>
                  <a:gd name="connsiteY2" fmla="*/ 14835 h 23735"/>
                  <a:gd name="connsiteX3" fmla="*/ 35604 w 41538"/>
                  <a:gd name="connsiteY3" fmla="*/ 0 h 23735"/>
                  <a:gd name="connsiteX4" fmla="*/ 41538 w 41538"/>
                  <a:gd name="connsiteY4" fmla="*/ 2967 h 23735"/>
                  <a:gd name="connsiteX5" fmla="*/ 38571 w 41538"/>
                  <a:gd name="connsiteY5" fmla="*/ 8901 h 23735"/>
                  <a:gd name="connsiteX6" fmla="*/ 5934 w 41538"/>
                  <a:gd name="connsiteY6" fmla="*/ 23736 h 23735"/>
                  <a:gd name="connsiteX7" fmla="*/ 5934 w 41538"/>
                  <a:gd name="connsiteY7" fmla="*/ 23736 h 23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38" h="23735">
                    <a:moveTo>
                      <a:pt x="5934" y="23736"/>
                    </a:moveTo>
                    <a:cubicBezTo>
                      <a:pt x="2967" y="23736"/>
                      <a:pt x="2967" y="23736"/>
                      <a:pt x="0" y="20770"/>
                    </a:cubicBezTo>
                    <a:cubicBezTo>
                      <a:pt x="0" y="17802"/>
                      <a:pt x="0" y="14835"/>
                      <a:pt x="2967" y="14835"/>
                    </a:cubicBezTo>
                    <a:lnTo>
                      <a:pt x="35604" y="0"/>
                    </a:lnTo>
                    <a:cubicBezTo>
                      <a:pt x="38571" y="0"/>
                      <a:pt x="41538" y="0"/>
                      <a:pt x="41538" y="2967"/>
                    </a:cubicBezTo>
                    <a:cubicBezTo>
                      <a:pt x="41538" y="5934"/>
                      <a:pt x="41538" y="8901"/>
                      <a:pt x="38571" y="8901"/>
                    </a:cubicBezTo>
                    <a:lnTo>
                      <a:pt x="5934" y="23736"/>
                    </a:lnTo>
                    <a:cubicBezTo>
                      <a:pt x="5934" y="23736"/>
                      <a:pt x="5934" y="23736"/>
                      <a:pt x="5934" y="2373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A1E20FE2-4BBB-4F6B-88FA-4BD38F7B72D7}"/>
                </a:ext>
              </a:extLst>
            </p:cNvPr>
            <p:cNvGrpSpPr/>
            <p:nvPr/>
          </p:nvGrpSpPr>
          <p:grpSpPr>
            <a:xfrm>
              <a:off x="17687503" y="12044460"/>
              <a:ext cx="482637" cy="335275"/>
              <a:chOff x="17687503" y="12044460"/>
              <a:chExt cx="482637" cy="335275"/>
            </a:xfrm>
          </p:grpSpPr>
          <p:sp>
            <p:nvSpPr>
              <p:cNvPr id="196" name="任意多边形: 形状 195">
                <a:extLst>
                  <a:ext uri="{FF2B5EF4-FFF2-40B4-BE49-F238E27FC236}">
                    <a16:creationId xmlns:a16="http://schemas.microsoft.com/office/drawing/2014/main" id="{BFF06295-AACE-47B9-B3F3-2C32E7CCFD19}"/>
                  </a:ext>
                </a:extLst>
              </p:cNvPr>
              <p:cNvSpPr/>
              <p:nvPr/>
            </p:nvSpPr>
            <p:spPr>
              <a:xfrm>
                <a:off x="17704316" y="12044460"/>
                <a:ext cx="178022" cy="216593"/>
              </a:xfrm>
              <a:custGeom>
                <a:avLst/>
                <a:gdLst>
                  <a:gd name="connsiteX0" fmla="*/ 5934 w 178022"/>
                  <a:gd name="connsiteY0" fmla="*/ 180989 h 216593"/>
                  <a:gd name="connsiteX1" fmla="*/ 0 w 178022"/>
                  <a:gd name="connsiteY1" fmla="*/ 0 h 216593"/>
                  <a:gd name="connsiteX2" fmla="*/ 178023 w 178022"/>
                  <a:gd name="connsiteY2" fmla="*/ 0 h 216593"/>
                  <a:gd name="connsiteX3" fmla="*/ 163188 w 178022"/>
                  <a:gd name="connsiteY3" fmla="*/ 189891 h 216593"/>
                  <a:gd name="connsiteX4" fmla="*/ 17802 w 178022"/>
                  <a:gd name="connsiteY4" fmla="*/ 216594 h 216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8022" h="216593">
                    <a:moveTo>
                      <a:pt x="5934" y="180989"/>
                    </a:moveTo>
                    <a:lnTo>
                      <a:pt x="0" y="0"/>
                    </a:lnTo>
                    <a:lnTo>
                      <a:pt x="178023" y="0"/>
                    </a:lnTo>
                    <a:lnTo>
                      <a:pt x="163188" y="189891"/>
                    </a:lnTo>
                    <a:lnTo>
                      <a:pt x="17802" y="216594"/>
                    </a:ln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7" name="任意多边形: 形状 196">
                <a:extLst>
                  <a:ext uri="{FF2B5EF4-FFF2-40B4-BE49-F238E27FC236}">
                    <a16:creationId xmlns:a16="http://schemas.microsoft.com/office/drawing/2014/main" id="{09DE21B3-E499-4B21-9DEB-16593F3D8654}"/>
                  </a:ext>
                </a:extLst>
              </p:cNvPr>
              <p:cNvSpPr/>
              <p:nvPr/>
            </p:nvSpPr>
            <p:spPr>
              <a:xfrm>
                <a:off x="17687503" y="12180944"/>
                <a:ext cx="482636" cy="154286"/>
              </a:xfrm>
              <a:custGeom>
                <a:avLst/>
                <a:gdLst>
                  <a:gd name="connsiteX0" fmla="*/ 7912 w 482636"/>
                  <a:gd name="connsiteY0" fmla="*/ 44505 h 154286"/>
                  <a:gd name="connsiteX1" fmla="*/ 188901 w 482636"/>
                  <a:gd name="connsiteY1" fmla="*/ 0 h 154286"/>
                  <a:gd name="connsiteX2" fmla="*/ 319450 w 482636"/>
                  <a:gd name="connsiteY2" fmla="*/ 77143 h 154286"/>
                  <a:gd name="connsiteX3" fmla="*/ 482637 w 482636"/>
                  <a:gd name="connsiteY3" fmla="*/ 154286 h 154286"/>
                  <a:gd name="connsiteX4" fmla="*/ 7912 w 482636"/>
                  <a:gd name="connsiteY4" fmla="*/ 154286 h 154286"/>
                  <a:gd name="connsiteX5" fmla="*/ 7912 w 482636"/>
                  <a:gd name="connsiteY5" fmla="*/ 44505 h 154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2636" h="154286">
                    <a:moveTo>
                      <a:pt x="7912" y="44505"/>
                    </a:moveTo>
                    <a:cubicBezTo>
                      <a:pt x="7912" y="44505"/>
                      <a:pt x="129561" y="62308"/>
                      <a:pt x="188901" y="0"/>
                    </a:cubicBezTo>
                    <a:cubicBezTo>
                      <a:pt x="188901" y="0"/>
                      <a:pt x="274944" y="68242"/>
                      <a:pt x="319450" y="77143"/>
                    </a:cubicBezTo>
                    <a:cubicBezTo>
                      <a:pt x="363955" y="86044"/>
                      <a:pt x="470770" y="83077"/>
                      <a:pt x="482637" y="154286"/>
                    </a:cubicBezTo>
                    <a:lnTo>
                      <a:pt x="7912" y="154286"/>
                    </a:lnTo>
                    <a:cubicBezTo>
                      <a:pt x="7912" y="154286"/>
                      <a:pt x="-9890" y="91978"/>
                      <a:pt x="7912" y="44505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8" name="任意多边形: 形状 197">
                <a:extLst>
                  <a:ext uri="{FF2B5EF4-FFF2-40B4-BE49-F238E27FC236}">
                    <a16:creationId xmlns:a16="http://schemas.microsoft.com/office/drawing/2014/main" id="{B2F1DD0E-8458-4653-ABF1-2CF186C89283}"/>
                  </a:ext>
                </a:extLst>
              </p:cNvPr>
              <p:cNvSpPr/>
              <p:nvPr/>
            </p:nvSpPr>
            <p:spPr>
              <a:xfrm>
                <a:off x="17695415" y="12335230"/>
                <a:ext cx="474725" cy="44505"/>
              </a:xfrm>
              <a:custGeom>
                <a:avLst/>
                <a:gdLst>
                  <a:gd name="connsiteX0" fmla="*/ 0 w 474725"/>
                  <a:gd name="connsiteY0" fmla="*/ 0 h 44505"/>
                  <a:gd name="connsiteX1" fmla="*/ 474725 w 474725"/>
                  <a:gd name="connsiteY1" fmla="*/ 0 h 44505"/>
                  <a:gd name="connsiteX2" fmla="*/ 474725 w 474725"/>
                  <a:gd name="connsiteY2" fmla="*/ 44506 h 44505"/>
                  <a:gd name="connsiteX3" fmla="*/ -1 w 474725"/>
                  <a:gd name="connsiteY3" fmla="*/ 44506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725" h="44505">
                    <a:moveTo>
                      <a:pt x="0" y="0"/>
                    </a:moveTo>
                    <a:lnTo>
                      <a:pt x="474725" y="0"/>
                    </a:lnTo>
                    <a:lnTo>
                      <a:pt x="474725" y="44506"/>
                    </a:lnTo>
                    <a:lnTo>
                      <a:pt x="-1" y="44506"/>
                    </a:lnTo>
                    <a:close/>
                  </a:path>
                </a:pathLst>
              </a:custGeom>
              <a:solidFill>
                <a:srgbClr val="38333D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9" name="任意多边形: 形状 198">
                <a:extLst>
                  <a:ext uri="{FF2B5EF4-FFF2-40B4-BE49-F238E27FC236}">
                    <a16:creationId xmlns:a16="http://schemas.microsoft.com/office/drawing/2014/main" id="{A8EC63B7-BF55-4CB2-8B4F-F3BB2746938A}"/>
                  </a:ext>
                </a:extLst>
              </p:cNvPr>
              <p:cNvSpPr/>
              <p:nvPr/>
            </p:nvSpPr>
            <p:spPr>
              <a:xfrm>
                <a:off x="17689481" y="12169818"/>
                <a:ext cx="195082" cy="61566"/>
              </a:xfrm>
              <a:custGeom>
                <a:avLst/>
                <a:gdLst>
                  <a:gd name="connsiteX0" fmla="*/ 41538 w 195082"/>
                  <a:gd name="connsiteY0" fmla="*/ 61566 h 61566"/>
                  <a:gd name="connsiteX1" fmla="*/ 5934 w 195082"/>
                  <a:gd name="connsiteY1" fmla="*/ 58599 h 61566"/>
                  <a:gd name="connsiteX2" fmla="*/ 0 w 195082"/>
                  <a:gd name="connsiteY2" fmla="*/ 52664 h 61566"/>
                  <a:gd name="connsiteX3" fmla="*/ 5934 w 195082"/>
                  <a:gd name="connsiteY3" fmla="*/ 46731 h 61566"/>
                  <a:gd name="connsiteX4" fmla="*/ 183956 w 195082"/>
                  <a:gd name="connsiteY4" fmla="*/ 2225 h 61566"/>
                  <a:gd name="connsiteX5" fmla="*/ 192858 w 195082"/>
                  <a:gd name="connsiteY5" fmla="*/ 2225 h 61566"/>
                  <a:gd name="connsiteX6" fmla="*/ 192858 w 195082"/>
                  <a:gd name="connsiteY6" fmla="*/ 11126 h 61566"/>
                  <a:gd name="connsiteX7" fmla="*/ 41538 w 195082"/>
                  <a:gd name="connsiteY7" fmla="*/ 61566 h 61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082" h="61566">
                    <a:moveTo>
                      <a:pt x="41538" y="61566"/>
                    </a:moveTo>
                    <a:cubicBezTo>
                      <a:pt x="20770" y="61566"/>
                      <a:pt x="8902" y="58599"/>
                      <a:pt x="5934" y="58599"/>
                    </a:cubicBezTo>
                    <a:cubicBezTo>
                      <a:pt x="2967" y="58599"/>
                      <a:pt x="0" y="55632"/>
                      <a:pt x="0" y="52664"/>
                    </a:cubicBezTo>
                    <a:cubicBezTo>
                      <a:pt x="0" y="49698"/>
                      <a:pt x="2967" y="46731"/>
                      <a:pt x="5934" y="46731"/>
                    </a:cubicBezTo>
                    <a:cubicBezTo>
                      <a:pt x="5934" y="46731"/>
                      <a:pt x="115714" y="61566"/>
                      <a:pt x="183956" y="2225"/>
                    </a:cubicBezTo>
                    <a:cubicBezTo>
                      <a:pt x="186924" y="-742"/>
                      <a:pt x="189890" y="-742"/>
                      <a:pt x="192858" y="2225"/>
                    </a:cubicBezTo>
                    <a:cubicBezTo>
                      <a:pt x="195824" y="5193"/>
                      <a:pt x="195824" y="8159"/>
                      <a:pt x="192858" y="11126"/>
                    </a:cubicBezTo>
                    <a:cubicBezTo>
                      <a:pt x="145384" y="55632"/>
                      <a:pt x="80110" y="61566"/>
                      <a:pt x="41538" y="6156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0" name="任意多边形: 形状 199">
                <a:extLst>
                  <a:ext uri="{FF2B5EF4-FFF2-40B4-BE49-F238E27FC236}">
                    <a16:creationId xmlns:a16="http://schemas.microsoft.com/office/drawing/2014/main" id="{4719CA63-7206-4D04-AC20-98F9B4EADBA0}"/>
                  </a:ext>
                </a:extLst>
              </p:cNvPr>
              <p:cNvSpPr/>
              <p:nvPr/>
            </p:nvSpPr>
            <p:spPr>
              <a:xfrm>
                <a:off x="17880113" y="12196521"/>
                <a:ext cx="37087" cy="40796"/>
              </a:xfrm>
              <a:custGeom>
                <a:avLst/>
                <a:gdLst>
                  <a:gd name="connsiteX0" fmla="*/ 5192 w 37087"/>
                  <a:gd name="connsiteY0" fmla="*/ 40796 h 40796"/>
                  <a:gd name="connsiteX1" fmla="*/ 2226 w 37087"/>
                  <a:gd name="connsiteY1" fmla="*/ 37830 h 40796"/>
                  <a:gd name="connsiteX2" fmla="*/ 2226 w 37087"/>
                  <a:gd name="connsiteY2" fmla="*/ 28929 h 40796"/>
                  <a:gd name="connsiteX3" fmla="*/ 25962 w 37087"/>
                  <a:gd name="connsiteY3" fmla="*/ 2225 h 40796"/>
                  <a:gd name="connsiteX4" fmla="*/ 34863 w 37087"/>
                  <a:gd name="connsiteY4" fmla="*/ 2225 h 40796"/>
                  <a:gd name="connsiteX5" fmla="*/ 34863 w 37087"/>
                  <a:gd name="connsiteY5" fmla="*/ 11126 h 40796"/>
                  <a:gd name="connsiteX6" fmla="*/ 11127 w 37087"/>
                  <a:gd name="connsiteY6" fmla="*/ 37830 h 40796"/>
                  <a:gd name="connsiteX7" fmla="*/ 5192 w 37087"/>
                  <a:gd name="connsiteY7" fmla="*/ 40796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87" h="40796">
                    <a:moveTo>
                      <a:pt x="5192" y="40796"/>
                    </a:moveTo>
                    <a:cubicBezTo>
                      <a:pt x="5192" y="40796"/>
                      <a:pt x="2226" y="40796"/>
                      <a:pt x="2226" y="37830"/>
                    </a:cubicBezTo>
                    <a:cubicBezTo>
                      <a:pt x="-742" y="34863"/>
                      <a:pt x="-742" y="31896"/>
                      <a:pt x="2226" y="28929"/>
                    </a:cubicBezTo>
                    <a:lnTo>
                      <a:pt x="25962" y="2225"/>
                    </a:lnTo>
                    <a:cubicBezTo>
                      <a:pt x="28928" y="-742"/>
                      <a:pt x="31896" y="-742"/>
                      <a:pt x="34863" y="2225"/>
                    </a:cubicBezTo>
                    <a:cubicBezTo>
                      <a:pt x="37829" y="5193"/>
                      <a:pt x="37829" y="8160"/>
                      <a:pt x="34863" y="11126"/>
                    </a:cubicBezTo>
                    <a:lnTo>
                      <a:pt x="11127" y="37830"/>
                    </a:lnTo>
                    <a:cubicBezTo>
                      <a:pt x="8159" y="37830"/>
                      <a:pt x="8159" y="40796"/>
                      <a:pt x="5192" y="407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1" name="任意多边形: 形状 200">
                <a:extLst>
                  <a:ext uri="{FF2B5EF4-FFF2-40B4-BE49-F238E27FC236}">
                    <a16:creationId xmlns:a16="http://schemas.microsoft.com/office/drawing/2014/main" id="{FBFDF82D-7BEE-473A-9759-61A7CD5339EE}"/>
                  </a:ext>
                </a:extLst>
              </p:cNvPr>
              <p:cNvSpPr/>
              <p:nvPr/>
            </p:nvSpPr>
            <p:spPr>
              <a:xfrm>
                <a:off x="17918684" y="12220257"/>
                <a:ext cx="40055" cy="40796"/>
              </a:xfrm>
              <a:custGeom>
                <a:avLst/>
                <a:gdLst>
                  <a:gd name="connsiteX0" fmla="*/ 5192 w 40055"/>
                  <a:gd name="connsiteY0" fmla="*/ 40797 h 40796"/>
                  <a:gd name="connsiteX1" fmla="*/ 2226 w 40055"/>
                  <a:gd name="connsiteY1" fmla="*/ 37829 h 40796"/>
                  <a:gd name="connsiteX2" fmla="*/ 2226 w 40055"/>
                  <a:gd name="connsiteY2" fmla="*/ 28929 h 40796"/>
                  <a:gd name="connsiteX3" fmla="*/ 28928 w 40055"/>
                  <a:gd name="connsiteY3" fmla="*/ 2225 h 40796"/>
                  <a:gd name="connsiteX4" fmla="*/ 37831 w 40055"/>
                  <a:gd name="connsiteY4" fmla="*/ 2225 h 40796"/>
                  <a:gd name="connsiteX5" fmla="*/ 37831 w 40055"/>
                  <a:gd name="connsiteY5" fmla="*/ 11126 h 40796"/>
                  <a:gd name="connsiteX6" fmla="*/ 11127 w 40055"/>
                  <a:gd name="connsiteY6" fmla="*/ 37829 h 40796"/>
                  <a:gd name="connsiteX7" fmla="*/ 5192 w 40055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5" h="40796">
                    <a:moveTo>
                      <a:pt x="5192" y="40797"/>
                    </a:moveTo>
                    <a:cubicBezTo>
                      <a:pt x="5192" y="40797"/>
                      <a:pt x="2226" y="40797"/>
                      <a:pt x="2226" y="37829"/>
                    </a:cubicBezTo>
                    <a:cubicBezTo>
                      <a:pt x="-742" y="34862"/>
                      <a:pt x="-742" y="31895"/>
                      <a:pt x="2226" y="28929"/>
                    </a:cubicBezTo>
                    <a:lnTo>
                      <a:pt x="28928" y="2225"/>
                    </a:lnTo>
                    <a:cubicBezTo>
                      <a:pt x="31896" y="-742"/>
                      <a:pt x="34863" y="-742"/>
                      <a:pt x="37831" y="2225"/>
                    </a:cubicBezTo>
                    <a:cubicBezTo>
                      <a:pt x="40797" y="5192"/>
                      <a:pt x="40797" y="8159"/>
                      <a:pt x="37831" y="11126"/>
                    </a:cubicBezTo>
                    <a:lnTo>
                      <a:pt x="11127" y="37829"/>
                    </a:lnTo>
                    <a:cubicBezTo>
                      <a:pt x="8161" y="40797"/>
                      <a:pt x="5192" y="40797"/>
                      <a:pt x="5192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9B2DE146-CDC3-4A98-934F-DE82EA591EF9}"/>
                </a:ext>
              </a:extLst>
            </p:cNvPr>
            <p:cNvSpPr/>
            <p:nvPr/>
          </p:nvSpPr>
          <p:spPr>
            <a:xfrm>
              <a:off x="16935855" y="9887428"/>
              <a:ext cx="1087751" cy="2234175"/>
            </a:xfrm>
            <a:custGeom>
              <a:avLst/>
              <a:gdLst>
                <a:gd name="connsiteX0" fmla="*/ 1080001 w 1087751"/>
                <a:gd name="connsiteY0" fmla="*/ 20769 h 2234175"/>
                <a:gd name="connsiteX1" fmla="*/ 1068132 w 1087751"/>
                <a:gd name="connsiteY1" fmla="*/ 1367802 h 2234175"/>
                <a:gd name="connsiteX2" fmla="*/ 999891 w 1087751"/>
                <a:gd name="connsiteY2" fmla="*/ 2234176 h 2234175"/>
                <a:gd name="connsiteX3" fmla="*/ 712088 w 1087751"/>
                <a:gd name="connsiteY3" fmla="*/ 2234176 h 2234175"/>
                <a:gd name="connsiteX4" fmla="*/ 673517 w 1087751"/>
                <a:gd name="connsiteY4" fmla="*/ 1391538 h 2234175"/>
                <a:gd name="connsiteX5" fmla="*/ 593407 w 1087751"/>
                <a:gd name="connsiteY5" fmla="*/ 489560 h 2234175"/>
                <a:gd name="connsiteX6" fmla="*/ 540000 w 1087751"/>
                <a:gd name="connsiteY6" fmla="*/ 1385604 h 2234175"/>
                <a:gd name="connsiteX7" fmla="*/ 293736 w 1087751"/>
                <a:gd name="connsiteY7" fmla="*/ 2183737 h 2234175"/>
                <a:gd name="connsiteX8" fmla="*/ 0 w 1087751"/>
                <a:gd name="connsiteY8" fmla="*/ 2085824 h 2234175"/>
                <a:gd name="connsiteX9" fmla="*/ 192857 w 1087751"/>
                <a:gd name="connsiteY9" fmla="*/ 1367802 h 2234175"/>
                <a:gd name="connsiteX10" fmla="*/ 83077 w 1087751"/>
                <a:gd name="connsiteY10" fmla="*/ 0 h 2234175"/>
                <a:gd name="connsiteX11" fmla="*/ 1080001 w 1087751"/>
                <a:gd name="connsiteY11" fmla="*/ 20769 h 223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87751" h="2234175">
                  <a:moveTo>
                    <a:pt x="1080001" y="20769"/>
                  </a:moveTo>
                  <a:cubicBezTo>
                    <a:pt x="1080001" y="20769"/>
                    <a:pt x="1103737" y="1065165"/>
                    <a:pt x="1068132" y="1367802"/>
                  </a:cubicBezTo>
                  <a:cubicBezTo>
                    <a:pt x="1038462" y="1631868"/>
                    <a:pt x="999891" y="2234176"/>
                    <a:pt x="999891" y="2234176"/>
                  </a:cubicBezTo>
                  <a:lnTo>
                    <a:pt x="712088" y="2234176"/>
                  </a:lnTo>
                  <a:cubicBezTo>
                    <a:pt x="712088" y="2234176"/>
                    <a:pt x="679450" y="1486484"/>
                    <a:pt x="673517" y="1391538"/>
                  </a:cubicBezTo>
                  <a:cubicBezTo>
                    <a:pt x="667582" y="1255055"/>
                    <a:pt x="608242" y="519231"/>
                    <a:pt x="593407" y="489560"/>
                  </a:cubicBezTo>
                  <a:cubicBezTo>
                    <a:pt x="578571" y="459890"/>
                    <a:pt x="540000" y="1385604"/>
                    <a:pt x="540000" y="1385604"/>
                  </a:cubicBezTo>
                  <a:lnTo>
                    <a:pt x="293736" y="2183737"/>
                  </a:lnTo>
                  <a:lnTo>
                    <a:pt x="0" y="2085824"/>
                  </a:lnTo>
                  <a:cubicBezTo>
                    <a:pt x="0" y="2085824"/>
                    <a:pt x="198792" y="1465714"/>
                    <a:pt x="192857" y="1367802"/>
                  </a:cubicBezTo>
                  <a:cubicBezTo>
                    <a:pt x="183956" y="1219451"/>
                    <a:pt x="38571" y="97912"/>
                    <a:pt x="83077" y="0"/>
                  </a:cubicBezTo>
                  <a:cubicBezTo>
                    <a:pt x="765494" y="32638"/>
                    <a:pt x="1080001" y="20769"/>
                    <a:pt x="1080001" y="20769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84DD44E9-1579-43E6-A8B2-2E3FF3662ECB}"/>
                </a:ext>
              </a:extLst>
            </p:cNvPr>
            <p:cNvSpPr/>
            <p:nvPr/>
          </p:nvSpPr>
          <p:spPr>
            <a:xfrm>
              <a:off x="17526294" y="10029845"/>
              <a:ext cx="68242" cy="356043"/>
            </a:xfrm>
            <a:custGeom>
              <a:avLst/>
              <a:gdLst>
                <a:gd name="connsiteX0" fmla="*/ 5934 w 68242"/>
                <a:gd name="connsiteY0" fmla="*/ 356044 h 356043"/>
                <a:gd name="connsiteX1" fmla="*/ 5934 w 68242"/>
                <a:gd name="connsiteY1" fmla="*/ 356044 h 356043"/>
                <a:gd name="connsiteX2" fmla="*/ 0 w 68242"/>
                <a:gd name="connsiteY2" fmla="*/ 347143 h 356043"/>
                <a:gd name="connsiteX3" fmla="*/ 56373 w 68242"/>
                <a:gd name="connsiteY3" fmla="*/ 5934 h 356043"/>
                <a:gd name="connsiteX4" fmla="*/ 62308 w 68242"/>
                <a:gd name="connsiteY4" fmla="*/ 0 h 356043"/>
                <a:gd name="connsiteX5" fmla="*/ 68242 w 68242"/>
                <a:gd name="connsiteY5" fmla="*/ 5934 h 356043"/>
                <a:gd name="connsiteX6" fmla="*/ 11868 w 68242"/>
                <a:gd name="connsiteY6" fmla="*/ 350110 h 356043"/>
                <a:gd name="connsiteX7" fmla="*/ 5934 w 68242"/>
                <a:gd name="connsiteY7" fmla="*/ 356044 h 356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242" h="356043">
                  <a:moveTo>
                    <a:pt x="5934" y="356044"/>
                  </a:moveTo>
                  <a:cubicBezTo>
                    <a:pt x="5934" y="356044"/>
                    <a:pt x="5934" y="356044"/>
                    <a:pt x="5934" y="356044"/>
                  </a:cubicBezTo>
                  <a:cubicBezTo>
                    <a:pt x="0" y="353077"/>
                    <a:pt x="0" y="350110"/>
                    <a:pt x="0" y="347143"/>
                  </a:cubicBezTo>
                  <a:cubicBezTo>
                    <a:pt x="47473" y="237363"/>
                    <a:pt x="56373" y="8902"/>
                    <a:pt x="56373" y="5934"/>
                  </a:cubicBezTo>
                  <a:cubicBezTo>
                    <a:pt x="56373" y="2967"/>
                    <a:pt x="59341" y="0"/>
                    <a:pt x="62308" y="0"/>
                  </a:cubicBezTo>
                  <a:cubicBezTo>
                    <a:pt x="65275" y="0"/>
                    <a:pt x="68242" y="2967"/>
                    <a:pt x="68242" y="5934"/>
                  </a:cubicBezTo>
                  <a:cubicBezTo>
                    <a:pt x="68242" y="14835"/>
                    <a:pt x="59341" y="237363"/>
                    <a:pt x="11868" y="350110"/>
                  </a:cubicBezTo>
                  <a:cubicBezTo>
                    <a:pt x="11868" y="353077"/>
                    <a:pt x="8902" y="356044"/>
                    <a:pt x="5934" y="356044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F6BA4575-F02D-4776-AD95-EC6983516468}"/>
                </a:ext>
              </a:extLst>
            </p:cNvPr>
            <p:cNvSpPr/>
            <p:nvPr/>
          </p:nvSpPr>
          <p:spPr>
            <a:xfrm>
              <a:off x="17554736" y="9961604"/>
              <a:ext cx="152547" cy="347142"/>
            </a:xfrm>
            <a:custGeom>
              <a:avLst/>
              <a:gdLst>
                <a:gd name="connsiteX0" fmla="*/ 7163 w 152547"/>
                <a:gd name="connsiteY0" fmla="*/ 347142 h 347142"/>
                <a:gd name="connsiteX1" fmla="*/ 1229 w 152547"/>
                <a:gd name="connsiteY1" fmla="*/ 344176 h 347142"/>
                <a:gd name="connsiteX2" fmla="*/ 4196 w 152547"/>
                <a:gd name="connsiteY2" fmla="*/ 335274 h 347142"/>
                <a:gd name="connsiteX3" fmla="*/ 108042 w 152547"/>
                <a:gd name="connsiteY3" fmla="*/ 261099 h 347142"/>
                <a:gd name="connsiteX4" fmla="*/ 140680 w 152547"/>
                <a:gd name="connsiteY4" fmla="*/ 5934 h 347142"/>
                <a:gd name="connsiteX5" fmla="*/ 146614 w 152547"/>
                <a:gd name="connsiteY5" fmla="*/ 0 h 347142"/>
                <a:gd name="connsiteX6" fmla="*/ 152548 w 152547"/>
                <a:gd name="connsiteY6" fmla="*/ 5934 h 347142"/>
                <a:gd name="connsiteX7" fmla="*/ 119910 w 152547"/>
                <a:gd name="connsiteY7" fmla="*/ 267033 h 347142"/>
                <a:gd name="connsiteX8" fmla="*/ 13097 w 152547"/>
                <a:gd name="connsiteY8" fmla="*/ 344176 h 347142"/>
                <a:gd name="connsiteX9" fmla="*/ 7163 w 152547"/>
                <a:gd name="connsiteY9" fmla="*/ 347142 h 34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547" h="347142">
                  <a:moveTo>
                    <a:pt x="7163" y="347142"/>
                  </a:moveTo>
                  <a:cubicBezTo>
                    <a:pt x="4196" y="347142"/>
                    <a:pt x="4196" y="347142"/>
                    <a:pt x="1229" y="344176"/>
                  </a:cubicBezTo>
                  <a:cubicBezTo>
                    <a:pt x="-1738" y="341209"/>
                    <a:pt x="1229" y="338242"/>
                    <a:pt x="4196" y="335274"/>
                  </a:cubicBezTo>
                  <a:cubicBezTo>
                    <a:pt x="42767" y="311538"/>
                    <a:pt x="99142" y="270000"/>
                    <a:pt x="108042" y="261099"/>
                  </a:cubicBezTo>
                  <a:cubicBezTo>
                    <a:pt x="116943" y="249231"/>
                    <a:pt x="131778" y="97912"/>
                    <a:pt x="140680" y="5934"/>
                  </a:cubicBezTo>
                  <a:cubicBezTo>
                    <a:pt x="140680" y="2967"/>
                    <a:pt x="143647" y="0"/>
                    <a:pt x="146614" y="0"/>
                  </a:cubicBezTo>
                  <a:cubicBezTo>
                    <a:pt x="149581" y="0"/>
                    <a:pt x="152548" y="2967"/>
                    <a:pt x="152548" y="5934"/>
                  </a:cubicBezTo>
                  <a:cubicBezTo>
                    <a:pt x="149581" y="47473"/>
                    <a:pt x="128812" y="252198"/>
                    <a:pt x="119910" y="267033"/>
                  </a:cubicBezTo>
                  <a:cubicBezTo>
                    <a:pt x="108042" y="281868"/>
                    <a:pt x="21999" y="338242"/>
                    <a:pt x="13097" y="344176"/>
                  </a:cubicBezTo>
                  <a:cubicBezTo>
                    <a:pt x="10131" y="347142"/>
                    <a:pt x="7163" y="347142"/>
                    <a:pt x="7163" y="347142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81CAF642-961F-4362-AF2F-562E97BC4FF6}"/>
                </a:ext>
              </a:extLst>
            </p:cNvPr>
            <p:cNvSpPr/>
            <p:nvPr/>
          </p:nvSpPr>
          <p:spPr>
            <a:xfrm>
              <a:off x="17001130" y="9899296"/>
              <a:ext cx="142417" cy="234395"/>
            </a:xfrm>
            <a:custGeom>
              <a:avLst/>
              <a:gdLst>
                <a:gd name="connsiteX0" fmla="*/ 5934 w 142417"/>
                <a:gd name="connsiteY0" fmla="*/ 234395 h 234395"/>
                <a:gd name="connsiteX1" fmla="*/ 0 w 142417"/>
                <a:gd name="connsiteY1" fmla="*/ 228462 h 234395"/>
                <a:gd name="connsiteX2" fmla="*/ 5934 w 142417"/>
                <a:gd name="connsiteY2" fmla="*/ 222527 h 234395"/>
                <a:gd name="connsiteX3" fmla="*/ 118681 w 142417"/>
                <a:gd name="connsiteY3" fmla="*/ 195824 h 234395"/>
                <a:gd name="connsiteX4" fmla="*/ 130549 w 142417"/>
                <a:gd name="connsiteY4" fmla="*/ 5934 h 234395"/>
                <a:gd name="connsiteX5" fmla="*/ 136483 w 142417"/>
                <a:gd name="connsiteY5" fmla="*/ 0 h 234395"/>
                <a:gd name="connsiteX6" fmla="*/ 136483 w 142417"/>
                <a:gd name="connsiteY6" fmla="*/ 0 h 234395"/>
                <a:gd name="connsiteX7" fmla="*/ 142417 w 142417"/>
                <a:gd name="connsiteY7" fmla="*/ 5934 h 234395"/>
                <a:gd name="connsiteX8" fmla="*/ 127582 w 142417"/>
                <a:gd name="connsiteY8" fmla="*/ 198792 h 234395"/>
                <a:gd name="connsiteX9" fmla="*/ 5934 w 142417"/>
                <a:gd name="connsiteY9" fmla="*/ 234395 h 234395"/>
                <a:gd name="connsiteX10" fmla="*/ 5934 w 142417"/>
                <a:gd name="connsiteY10" fmla="*/ 234395 h 23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2417" h="234395">
                  <a:moveTo>
                    <a:pt x="5934" y="234395"/>
                  </a:moveTo>
                  <a:cubicBezTo>
                    <a:pt x="2966" y="234395"/>
                    <a:pt x="0" y="231428"/>
                    <a:pt x="0" y="228462"/>
                  </a:cubicBezTo>
                  <a:cubicBezTo>
                    <a:pt x="0" y="225495"/>
                    <a:pt x="2966" y="222527"/>
                    <a:pt x="5934" y="222527"/>
                  </a:cubicBezTo>
                  <a:cubicBezTo>
                    <a:pt x="56373" y="216593"/>
                    <a:pt x="115714" y="204725"/>
                    <a:pt x="118681" y="195824"/>
                  </a:cubicBezTo>
                  <a:cubicBezTo>
                    <a:pt x="124615" y="183956"/>
                    <a:pt x="130549" y="74176"/>
                    <a:pt x="130549" y="5934"/>
                  </a:cubicBezTo>
                  <a:cubicBezTo>
                    <a:pt x="130549" y="2967"/>
                    <a:pt x="133516" y="0"/>
                    <a:pt x="136483" y="0"/>
                  </a:cubicBezTo>
                  <a:lnTo>
                    <a:pt x="136483" y="0"/>
                  </a:lnTo>
                  <a:cubicBezTo>
                    <a:pt x="139450" y="0"/>
                    <a:pt x="142417" y="2967"/>
                    <a:pt x="142417" y="5934"/>
                  </a:cubicBezTo>
                  <a:cubicBezTo>
                    <a:pt x="142417" y="23736"/>
                    <a:pt x="139450" y="180989"/>
                    <a:pt x="127582" y="198792"/>
                  </a:cubicBezTo>
                  <a:cubicBezTo>
                    <a:pt x="118681" y="219560"/>
                    <a:pt x="32637" y="231428"/>
                    <a:pt x="5934" y="234395"/>
                  </a:cubicBezTo>
                  <a:cubicBezTo>
                    <a:pt x="5934" y="234395"/>
                    <a:pt x="5934" y="234395"/>
                    <a:pt x="5934" y="234395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C1E99BDA-A521-45CB-9946-65EAC948095E}"/>
                </a:ext>
              </a:extLst>
            </p:cNvPr>
            <p:cNvSpPr/>
            <p:nvPr/>
          </p:nvSpPr>
          <p:spPr>
            <a:xfrm>
              <a:off x="17926845" y="9914131"/>
              <a:ext cx="89010" cy="201757"/>
            </a:xfrm>
            <a:custGeom>
              <a:avLst/>
              <a:gdLst>
                <a:gd name="connsiteX0" fmla="*/ 77142 w 89010"/>
                <a:gd name="connsiteY0" fmla="*/ 198792 h 201757"/>
                <a:gd name="connsiteX1" fmla="*/ 20768 w 89010"/>
                <a:gd name="connsiteY1" fmla="*/ 175055 h 201757"/>
                <a:gd name="connsiteX2" fmla="*/ 0 w 89010"/>
                <a:gd name="connsiteY2" fmla="*/ 5934 h 201757"/>
                <a:gd name="connsiteX3" fmla="*/ 5933 w 89010"/>
                <a:gd name="connsiteY3" fmla="*/ 0 h 201757"/>
                <a:gd name="connsiteX4" fmla="*/ 5933 w 89010"/>
                <a:gd name="connsiteY4" fmla="*/ 0 h 201757"/>
                <a:gd name="connsiteX5" fmla="*/ 11867 w 89010"/>
                <a:gd name="connsiteY5" fmla="*/ 5934 h 201757"/>
                <a:gd name="connsiteX6" fmla="*/ 29670 w 89010"/>
                <a:gd name="connsiteY6" fmla="*/ 172088 h 201757"/>
                <a:gd name="connsiteX7" fmla="*/ 83077 w 89010"/>
                <a:gd name="connsiteY7" fmla="*/ 189890 h 201757"/>
                <a:gd name="connsiteX8" fmla="*/ 89011 w 89010"/>
                <a:gd name="connsiteY8" fmla="*/ 195824 h 201757"/>
                <a:gd name="connsiteX9" fmla="*/ 83077 w 89010"/>
                <a:gd name="connsiteY9" fmla="*/ 201758 h 201757"/>
                <a:gd name="connsiteX10" fmla="*/ 77142 w 89010"/>
                <a:gd name="connsiteY10" fmla="*/ 198792 h 201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010" h="201757">
                  <a:moveTo>
                    <a:pt x="77142" y="198792"/>
                  </a:moveTo>
                  <a:cubicBezTo>
                    <a:pt x="62307" y="198792"/>
                    <a:pt x="32637" y="195824"/>
                    <a:pt x="20768" y="175055"/>
                  </a:cubicBezTo>
                  <a:cubicBezTo>
                    <a:pt x="5933" y="148352"/>
                    <a:pt x="0" y="20770"/>
                    <a:pt x="0" y="5934"/>
                  </a:cubicBezTo>
                  <a:cubicBezTo>
                    <a:pt x="0" y="2967"/>
                    <a:pt x="2966" y="0"/>
                    <a:pt x="5933" y="0"/>
                  </a:cubicBezTo>
                  <a:cubicBezTo>
                    <a:pt x="5933" y="0"/>
                    <a:pt x="5933" y="0"/>
                    <a:pt x="5933" y="0"/>
                  </a:cubicBezTo>
                  <a:cubicBezTo>
                    <a:pt x="8901" y="0"/>
                    <a:pt x="11867" y="2967"/>
                    <a:pt x="11867" y="5934"/>
                  </a:cubicBezTo>
                  <a:cubicBezTo>
                    <a:pt x="14835" y="44505"/>
                    <a:pt x="20768" y="151319"/>
                    <a:pt x="29670" y="172088"/>
                  </a:cubicBezTo>
                  <a:cubicBezTo>
                    <a:pt x="41537" y="192857"/>
                    <a:pt x="80108" y="189890"/>
                    <a:pt x="83077" y="189890"/>
                  </a:cubicBezTo>
                  <a:cubicBezTo>
                    <a:pt x="86043" y="189890"/>
                    <a:pt x="89011" y="192857"/>
                    <a:pt x="89011" y="195824"/>
                  </a:cubicBezTo>
                  <a:cubicBezTo>
                    <a:pt x="89011" y="198792"/>
                    <a:pt x="86043" y="201758"/>
                    <a:pt x="83077" y="201758"/>
                  </a:cubicBezTo>
                  <a:cubicBezTo>
                    <a:pt x="83077" y="198792"/>
                    <a:pt x="80108" y="198792"/>
                    <a:pt x="77142" y="198792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158F7B13-C45D-44FF-8B22-4DB2D3EE6548}"/>
                </a:ext>
              </a:extLst>
            </p:cNvPr>
            <p:cNvSpPr/>
            <p:nvPr/>
          </p:nvSpPr>
          <p:spPr>
            <a:xfrm>
              <a:off x="16935855" y="11105649"/>
              <a:ext cx="244525" cy="873536"/>
            </a:xfrm>
            <a:custGeom>
              <a:avLst/>
              <a:gdLst>
                <a:gd name="connsiteX0" fmla="*/ 5934 w 244525"/>
                <a:gd name="connsiteY0" fmla="*/ 873537 h 873536"/>
                <a:gd name="connsiteX1" fmla="*/ 5934 w 244525"/>
                <a:gd name="connsiteY1" fmla="*/ 873537 h 873536"/>
                <a:gd name="connsiteX2" fmla="*/ 0 w 244525"/>
                <a:gd name="connsiteY2" fmla="*/ 867602 h 873536"/>
                <a:gd name="connsiteX3" fmla="*/ 192857 w 244525"/>
                <a:gd name="connsiteY3" fmla="*/ 179251 h 873536"/>
                <a:gd name="connsiteX4" fmla="*/ 234395 w 244525"/>
                <a:gd name="connsiteY4" fmla="*/ 4195 h 873536"/>
                <a:gd name="connsiteX5" fmla="*/ 240330 w 244525"/>
                <a:gd name="connsiteY5" fmla="*/ 1229 h 873536"/>
                <a:gd name="connsiteX6" fmla="*/ 243297 w 244525"/>
                <a:gd name="connsiteY6" fmla="*/ 7163 h 873536"/>
                <a:gd name="connsiteX7" fmla="*/ 201758 w 244525"/>
                <a:gd name="connsiteY7" fmla="*/ 182217 h 873536"/>
                <a:gd name="connsiteX8" fmla="*/ 8901 w 244525"/>
                <a:gd name="connsiteY8" fmla="*/ 870569 h 873536"/>
                <a:gd name="connsiteX9" fmla="*/ 5934 w 244525"/>
                <a:gd name="connsiteY9" fmla="*/ 873537 h 87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4525" h="873536">
                  <a:moveTo>
                    <a:pt x="5934" y="873537"/>
                  </a:moveTo>
                  <a:cubicBezTo>
                    <a:pt x="5934" y="873537"/>
                    <a:pt x="5934" y="873537"/>
                    <a:pt x="5934" y="873537"/>
                  </a:cubicBezTo>
                  <a:cubicBezTo>
                    <a:pt x="2967" y="873537"/>
                    <a:pt x="0" y="870569"/>
                    <a:pt x="0" y="867602"/>
                  </a:cubicBezTo>
                  <a:lnTo>
                    <a:pt x="192857" y="179251"/>
                  </a:lnTo>
                  <a:lnTo>
                    <a:pt x="234395" y="4195"/>
                  </a:lnTo>
                  <a:cubicBezTo>
                    <a:pt x="234395" y="1229"/>
                    <a:pt x="237363" y="-1738"/>
                    <a:pt x="240330" y="1229"/>
                  </a:cubicBezTo>
                  <a:cubicBezTo>
                    <a:pt x="243297" y="1229"/>
                    <a:pt x="246263" y="4195"/>
                    <a:pt x="243297" y="7163"/>
                  </a:cubicBezTo>
                  <a:lnTo>
                    <a:pt x="201758" y="182217"/>
                  </a:lnTo>
                  <a:lnTo>
                    <a:pt x="8901" y="870569"/>
                  </a:lnTo>
                  <a:cubicBezTo>
                    <a:pt x="8901" y="870569"/>
                    <a:pt x="8901" y="873537"/>
                    <a:pt x="5934" y="873537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" name="图形 1">
              <a:extLst>
                <a:ext uri="{FF2B5EF4-FFF2-40B4-BE49-F238E27FC236}">
                  <a16:creationId xmlns:a16="http://schemas.microsoft.com/office/drawing/2014/main" id="{DEBA9C84-9B10-4291-99F3-165CD61168ED}"/>
                </a:ext>
              </a:extLst>
            </p:cNvPr>
            <p:cNvGrpSpPr/>
            <p:nvPr/>
          </p:nvGrpSpPr>
          <p:grpSpPr>
            <a:xfrm>
              <a:off x="22769041" y="9548296"/>
              <a:ext cx="1489450" cy="832163"/>
              <a:chOff x="22769041" y="9548296"/>
              <a:chExt cx="1489450" cy="832163"/>
            </a:xfrm>
          </p:grpSpPr>
          <p:grpSp>
            <p:nvGrpSpPr>
              <p:cNvPr id="173" name="图形 1">
                <a:extLst>
                  <a:ext uri="{FF2B5EF4-FFF2-40B4-BE49-F238E27FC236}">
                    <a16:creationId xmlns:a16="http://schemas.microsoft.com/office/drawing/2014/main" id="{06B36EB9-3976-4A42-BA8E-5331B4808F5C}"/>
                  </a:ext>
                </a:extLst>
              </p:cNvPr>
              <p:cNvGrpSpPr/>
              <p:nvPr/>
            </p:nvGrpSpPr>
            <p:grpSpPr>
              <a:xfrm>
                <a:off x="22776459" y="10241009"/>
                <a:ext cx="1476989" cy="139450"/>
                <a:chOff x="22776459" y="10241009"/>
                <a:chExt cx="1476989" cy="139450"/>
              </a:xfrm>
            </p:grpSpPr>
            <p:sp>
              <p:nvSpPr>
                <p:cNvPr id="194" name="任意多边形: 形状 193">
                  <a:extLst>
                    <a:ext uri="{FF2B5EF4-FFF2-40B4-BE49-F238E27FC236}">
                      <a16:creationId xmlns:a16="http://schemas.microsoft.com/office/drawing/2014/main" id="{58A97BD3-AAC1-48AE-BF55-2B35C3BDD189}"/>
                    </a:ext>
                  </a:extLst>
                </p:cNvPr>
                <p:cNvSpPr/>
                <p:nvPr/>
              </p:nvSpPr>
              <p:spPr>
                <a:xfrm rot="-10800000">
                  <a:off x="22776459" y="10241009"/>
                  <a:ext cx="1311428" cy="139450"/>
                </a:xfrm>
                <a:custGeom>
                  <a:avLst/>
                  <a:gdLst>
                    <a:gd name="connsiteX0" fmla="*/ 0 w 1311428"/>
                    <a:gd name="connsiteY0" fmla="*/ 0 h 139450"/>
                    <a:gd name="connsiteX1" fmla="*/ 1311429 w 1311428"/>
                    <a:gd name="connsiteY1" fmla="*/ 0 h 139450"/>
                    <a:gd name="connsiteX2" fmla="*/ 1311429 w 1311428"/>
                    <a:gd name="connsiteY2" fmla="*/ 139451 h 139450"/>
                    <a:gd name="connsiteX3" fmla="*/ 0 w 1311428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11428" h="139450">
                      <a:moveTo>
                        <a:pt x="0" y="0"/>
                      </a:moveTo>
                      <a:lnTo>
                        <a:pt x="1311429" y="0"/>
                      </a:lnTo>
                      <a:lnTo>
                        <a:pt x="1311429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5" name="任意多边形: 形状 194">
                  <a:extLst>
                    <a:ext uri="{FF2B5EF4-FFF2-40B4-BE49-F238E27FC236}">
                      <a16:creationId xmlns:a16="http://schemas.microsoft.com/office/drawing/2014/main" id="{E88734BF-ABB6-42E7-ADED-73FD6D144DEE}"/>
                    </a:ext>
                  </a:extLst>
                </p:cNvPr>
                <p:cNvSpPr/>
                <p:nvPr/>
              </p:nvSpPr>
              <p:spPr>
                <a:xfrm rot="-10800000">
                  <a:off x="23665976" y="10241009"/>
                  <a:ext cx="587472" cy="139450"/>
                </a:xfrm>
                <a:custGeom>
                  <a:avLst/>
                  <a:gdLst>
                    <a:gd name="connsiteX0" fmla="*/ 0 w 587472"/>
                    <a:gd name="connsiteY0" fmla="*/ 0 h 139450"/>
                    <a:gd name="connsiteX1" fmla="*/ 587472 w 587472"/>
                    <a:gd name="connsiteY1" fmla="*/ 0 h 139450"/>
                    <a:gd name="connsiteX2" fmla="*/ 587472 w 587472"/>
                    <a:gd name="connsiteY2" fmla="*/ 139451 h 139450"/>
                    <a:gd name="connsiteX3" fmla="*/ 0 w 587472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87472" h="139450">
                      <a:moveTo>
                        <a:pt x="0" y="0"/>
                      </a:moveTo>
                      <a:lnTo>
                        <a:pt x="587472" y="0"/>
                      </a:lnTo>
                      <a:lnTo>
                        <a:pt x="587472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74" name="图形 1">
                <a:extLst>
                  <a:ext uri="{FF2B5EF4-FFF2-40B4-BE49-F238E27FC236}">
                    <a16:creationId xmlns:a16="http://schemas.microsoft.com/office/drawing/2014/main" id="{0BED6AF9-A3C8-4249-94F0-C03CDFE6904C}"/>
                  </a:ext>
                </a:extLst>
              </p:cNvPr>
              <p:cNvGrpSpPr/>
              <p:nvPr/>
            </p:nvGrpSpPr>
            <p:grpSpPr>
              <a:xfrm>
                <a:off x="22776459" y="10104110"/>
                <a:ext cx="1476989" cy="139450"/>
                <a:chOff x="22776459" y="10104110"/>
                <a:chExt cx="1476989" cy="139450"/>
              </a:xfrm>
            </p:grpSpPr>
            <p:sp>
              <p:nvSpPr>
                <p:cNvPr id="192" name="任意多边形: 形状 191">
                  <a:extLst>
                    <a:ext uri="{FF2B5EF4-FFF2-40B4-BE49-F238E27FC236}">
                      <a16:creationId xmlns:a16="http://schemas.microsoft.com/office/drawing/2014/main" id="{CC8B7EE7-6D62-437C-9319-6B4163FE3E7D}"/>
                    </a:ext>
                  </a:extLst>
                </p:cNvPr>
                <p:cNvSpPr/>
                <p:nvPr/>
              </p:nvSpPr>
              <p:spPr>
                <a:xfrm rot="-10800000">
                  <a:off x="22776459" y="10104110"/>
                  <a:ext cx="1311428" cy="139450"/>
                </a:xfrm>
                <a:custGeom>
                  <a:avLst/>
                  <a:gdLst>
                    <a:gd name="connsiteX0" fmla="*/ 0 w 1311428"/>
                    <a:gd name="connsiteY0" fmla="*/ 0 h 139450"/>
                    <a:gd name="connsiteX1" fmla="*/ 1311429 w 1311428"/>
                    <a:gd name="connsiteY1" fmla="*/ 0 h 139450"/>
                    <a:gd name="connsiteX2" fmla="*/ 1311429 w 1311428"/>
                    <a:gd name="connsiteY2" fmla="*/ 139451 h 139450"/>
                    <a:gd name="connsiteX3" fmla="*/ 0 w 1311428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11428" h="139450">
                      <a:moveTo>
                        <a:pt x="0" y="0"/>
                      </a:moveTo>
                      <a:lnTo>
                        <a:pt x="1311429" y="0"/>
                      </a:lnTo>
                      <a:lnTo>
                        <a:pt x="1311429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3" name="任意多边形: 形状 192">
                  <a:extLst>
                    <a:ext uri="{FF2B5EF4-FFF2-40B4-BE49-F238E27FC236}">
                      <a16:creationId xmlns:a16="http://schemas.microsoft.com/office/drawing/2014/main" id="{7D95F7D5-0029-43CD-A19D-0802AF164D10}"/>
                    </a:ext>
                  </a:extLst>
                </p:cNvPr>
                <p:cNvSpPr/>
                <p:nvPr/>
              </p:nvSpPr>
              <p:spPr>
                <a:xfrm rot="-10800000">
                  <a:off x="23665976" y="10104110"/>
                  <a:ext cx="587472" cy="139450"/>
                </a:xfrm>
                <a:custGeom>
                  <a:avLst/>
                  <a:gdLst>
                    <a:gd name="connsiteX0" fmla="*/ 0 w 587472"/>
                    <a:gd name="connsiteY0" fmla="*/ 0 h 139450"/>
                    <a:gd name="connsiteX1" fmla="*/ 587472 w 587472"/>
                    <a:gd name="connsiteY1" fmla="*/ 0 h 139450"/>
                    <a:gd name="connsiteX2" fmla="*/ 587472 w 587472"/>
                    <a:gd name="connsiteY2" fmla="*/ 139451 h 139450"/>
                    <a:gd name="connsiteX3" fmla="*/ 0 w 587472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87472" h="139450">
                      <a:moveTo>
                        <a:pt x="0" y="0"/>
                      </a:moveTo>
                      <a:lnTo>
                        <a:pt x="587472" y="0"/>
                      </a:lnTo>
                      <a:lnTo>
                        <a:pt x="587472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75" name="图形 1">
                <a:extLst>
                  <a:ext uri="{FF2B5EF4-FFF2-40B4-BE49-F238E27FC236}">
                    <a16:creationId xmlns:a16="http://schemas.microsoft.com/office/drawing/2014/main" id="{8D801FD9-3F2F-4C94-AD30-749E5161CE80}"/>
                  </a:ext>
                </a:extLst>
              </p:cNvPr>
              <p:cNvGrpSpPr/>
              <p:nvPr/>
            </p:nvGrpSpPr>
            <p:grpSpPr>
              <a:xfrm>
                <a:off x="22776459" y="9964185"/>
                <a:ext cx="1476989" cy="139450"/>
                <a:chOff x="22776459" y="9964185"/>
                <a:chExt cx="1476989" cy="139450"/>
              </a:xfrm>
            </p:grpSpPr>
            <p:sp>
              <p:nvSpPr>
                <p:cNvPr id="190" name="任意多边形: 形状 189">
                  <a:extLst>
                    <a:ext uri="{FF2B5EF4-FFF2-40B4-BE49-F238E27FC236}">
                      <a16:creationId xmlns:a16="http://schemas.microsoft.com/office/drawing/2014/main" id="{80E40445-D748-4509-8AA8-E00442866395}"/>
                    </a:ext>
                  </a:extLst>
                </p:cNvPr>
                <p:cNvSpPr/>
                <p:nvPr/>
              </p:nvSpPr>
              <p:spPr>
                <a:xfrm rot="-10800000">
                  <a:off x="22776459" y="9964185"/>
                  <a:ext cx="1311428" cy="139450"/>
                </a:xfrm>
                <a:custGeom>
                  <a:avLst/>
                  <a:gdLst>
                    <a:gd name="connsiteX0" fmla="*/ 0 w 1311428"/>
                    <a:gd name="connsiteY0" fmla="*/ 0 h 139450"/>
                    <a:gd name="connsiteX1" fmla="*/ 1311429 w 1311428"/>
                    <a:gd name="connsiteY1" fmla="*/ 0 h 139450"/>
                    <a:gd name="connsiteX2" fmla="*/ 1311429 w 1311428"/>
                    <a:gd name="connsiteY2" fmla="*/ 139451 h 139450"/>
                    <a:gd name="connsiteX3" fmla="*/ 0 w 1311428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11428" h="139450">
                      <a:moveTo>
                        <a:pt x="0" y="0"/>
                      </a:moveTo>
                      <a:lnTo>
                        <a:pt x="1311429" y="0"/>
                      </a:lnTo>
                      <a:lnTo>
                        <a:pt x="1311429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1" name="任意多边形: 形状 190">
                  <a:extLst>
                    <a:ext uri="{FF2B5EF4-FFF2-40B4-BE49-F238E27FC236}">
                      <a16:creationId xmlns:a16="http://schemas.microsoft.com/office/drawing/2014/main" id="{6F40FAC1-1152-4522-8959-CDB9A4A45D90}"/>
                    </a:ext>
                  </a:extLst>
                </p:cNvPr>
                <p:cNvSpPr/>
                <p:nvPr/>
              </p:nvSpPr>
              <p:spPr>
                <a:xfrm rot="-10800000">
                  <a:off x="23665976" y="9964185"/>
                  <a:ext cx="587472" cy="139450"/>
                </a:xfrm>
                <a:custGeom>
                  <a:avLst/>
                  <a:gdLst>
                    <a:gd name="connsiteX0" fmla="*/ 0 w 587472"/>
                    <a:gd name="connsiteY0" fmla="*/ 0 h 139450"/>
                    <a:gd name="connsiteX1" fmla="*/ 587472 w 587472"/>
                    <a:gd name="connsiteY1" fmla="*/ 0 h 139450"/>
                    <a:gd name="connsiteX2" fmla="*/ 587472 w 587472"/>
                    <a:gd name="connsiteY2" fmla="*/ 139451 h 139450"/>
                    <a:gd name="connsiteX3" fmla="*/ 0 w 587472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87472" h="139450">
                      <a:moveTo>
                        <a:pt x="0" y="0"/>
                      </a:moveTo>
                      <a:lnTo>
                        <a:pt x="587472" y="0"/>
                      </a:lnTo>
                      <a:lnTo>
                        <a:pt x="587472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76" name="图形 1">
                <a:extLst>
                  <a:ext uri="{FF2B5EF4-FFF2-40B4-BE49-F238E27FC236}">
                    <a16:creationId xmlns:a16="http://schemas.microsoft.com/office/drawing/2014/main" id="{D24B69F4-C8E8-4765-8279-2FA7615797D7}"/>
                  </a:ext>
                </a:extLst>
              </p:cNvPr>
              <p:cNvGrpSpPr/>
              <p:nvPr/>
            </p:nvGrpSpPr>
            <p:grpSpPr>
              <a:xfrm>
                <a:off x="22776459" y="9824230"/>
                <a:ext cx="1476989" cy="139450"/>
                <a:chOff x="22776459" y="9824230"/>
                <a:chExt cx="1476989" cy="139450"/>
              </a:xfrm>
            </p:grpSpPr>
            <p:sp>
              <p:nvSpPr>
                <p:cNvPr id="188" name="任意多边形: 形状 187">
                  <a:extLst>
                    <a:ext uri="{FF2B5EF4-FFF2-40B4-BE49-F238E27FC236}">
                      <a16:creationId xmlns:a16="http://schemas.microsoft.com/office/drawing/2014/main" id="{4F5786DB-56A1-47DB-A4EF-13D3264071E6}"/>
                    </a:ext>
                  </a:extLst>
                </p:cNvPr>
                <p:cNvSpPr/>
                <p:nvPr/>
              </p:nvSpPr>
              <p:spPr>
                <a:xfrm rot="-10800000">
                  <a:off x="22776459" y="9824230"/>
                  <a:ext cx="1311428" cy="139450"/>
                </a:xfrm>
                <a:custGeom>
                  <a:avLst/>
                  <a:gdLst>
                    <a:gd name="connsiteX0" fmla="*/ 0 w 1311428"/>
                    <a:gd name="connsiteY0" fmla="*/ 0 h 139450"/>
                    <a:gd name="connsiteX1" fmla="*/ 1311429 w 1311428"/>
                    <a:gd name="connsiteY1" fmla="*/ 0 h 139450"/>
                    <a:gd name="connsiteX2" fmla="*/ 1311429 w 1311428"/>
                    <a:gd name="connsiteY2" fmla="*/ 139451 h 139450"/>
                    <a:gd name="connsiteX3" fmla="*/ 0 w 1311428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11428" h="139450">
                      <a:moveTo>
                        <a:pt x="0" y="0"/>
                      </a:moveTo>
                      <a:lnTo>
                        <a:pt x="1311429" y="0"/>
                      </a:lnTo>
                      <a:lnTo>
                        <a:pt x="1311429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9" name="任意多边形: 形状 188">
                  <a:extLst>
                    <a:ext uri="{FF2B5EF4-FFF2-40B4-BE49-F238E27FC236}">
                      <a16:creationId xmlns:a16="http://schemas.microsoft.com/office/drawing/2014/main" id="{11B22A97-71A8-4E72-B435-077978BA1430}"/>
                    </a:ext>
                  </a:extLst>
                </p:cNvPr>
                <p:cNvSpPr/>
                <p:nvPr/>
              </p:nvSpPr>
              <p:spPr>
                <a:xfrm rot="-10800000">
                  <a:off x="23665976" y="9824230"/>
                  <a:ext cx="587472" cy="139450"/>
                </a:xfrm>
                <a:custGeom>
                  <a:avLst/>
                  <a:gdLst>
                    <a:gd name="connsiteX0" fmla="*/ 0 w 587472"/>
                    <a:gd name="connsiteY0" fmla="*/ 0 h 139450"/>
                    <a:gd name="connsiteX1" fmla="*/ 587472 w 587472"/>
                    <a:gd name="connsiteY1" fmla="*/ 0 h 139450"/>
                    <a:gd name="connsiteX2" fmla="*/ 587472 w 587472"/>
                    <a:gd name="connsiteY2" fmla="*/ 139451 h 139450"/>
                    <a:gd name="connsiteX3" fmla="*/ 0 w 587472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87472" h="139450">
                      <a:moveTo>
                        <a:pt x="0" y="0"/>
                      </a:moveTo>
                      <a:lnTo>
                        <a:pt x="587472" y="0"/>
                      </a:lnTo>
                      <a:lnTo>
                        <a:pt x="587472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7" name="任意多边形: 形状 176">
                <a:extLst>
                  <a:ext uri="{FF2B5EF4-FFF2-40B4-BE49-F238E27FC236}">
                    <a16:creationId xmlns:a16="http://schemas.microsoft.com/office/drawing/2014/main" id="{8C4DF8F2-5258-4B4F-92CA-B13FCE287FE4}"/>
                  </a:ext>
                </a:extLst>
              </p:cNvPr>
              <p:cNvSpPr/>
              <p:nvPr/>
            </p:nvSpPr>
            <p:spPr>
              <a:xfrm>
                <a:off x="22769041" y="9958636"/>
                <a:ext cx="1489450" cy="11867"/>
              </a:xfrm>
              <a:custGeom>
                <a:avLst/>
                <a:gdLst>
                  <a:gd name="connsiteX0" fmla="*/ 1483517 w 1489450"/>
                  <a:gd name="connsiteY0" fmla="*/ 11868 h 11867"/>
                  <a:gd name="connsiteX1" fmla="*/ 5934 w 1489450"/>
                  <a:gd name="connsiteY1" fmla="*/ 11868 h 11867"/>
                  <a:gd name="connsiteX2" fmla="*/ 0 w 1489450"/>
                  <a:gd name="connsiteY2" fmla="*/ 5934 h 11867"/>
                  <a:gd name="connsiteX3" fmla="*/ 5934 w 1489450"/>
                  <a:gd name="connsiteY3" fmla="*/ 0 h 11867"/>
                  <a:gd name="connsiteX4" fmla="*/ 1483517 w 1489450"/>
                  <a:gd name="connsiteY4" fmla="*/ 0 h 11867"/>
                  <a:gd name="connsiteX5" fmla="*/ 1489451 w 1489450"/>
                  <a:gd name="connsiteY5" fmla="*/ 5934 h 11867"/>
                  <a:gd name="connsiteX6" fmla="*/ 1483517 w 1489450"/>
                  <a:gd name="connsiteY6" fmla="*/ 11868 h 11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9450" h="11867">
                    <a:moveTo>
                      <a:pt x="1483517" y="11868"/>
                    </a:moveTo>
                    <a:lnTo>
                      <a:pt x="5934" y="11868"/>
                    </a:lnTo>
                    <a:cubicBezTo>
                      <a:pt x="2968" y="11868"/>
                      <a:pt x="0" y="8901"/>
                      <a:pt x="0" y="5934"/>
                    </a:cubicBezTo>
                    <a:cubicBezTo>
                      <a:pt x="0" y="2967"/>
                      <a:pt x="2968" y="0"/>
                      <a:pt x="5934" y="0"/>
                    </a:cubicBezTo>
                    <a:lnTo>
                      <a:pt x="1483517" y="0"/>
                    </a:lnTo>
                    <a:cubicBezTo>
                      <a:pt x="1486485" y="0"/>
                      <a:pt x="1489451" y="2967"/>
                      <a:pt x="1489451" y="5934"/>
                    </a:cubicBezTo>
                    <a:cubicBezTo>
                      <a:pt x="1489451" y="8901"/>
                      <a:pt x="1486485" y="11868"/>
                      <a:pt x="1483517" y="11868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78" name="图形 1">
                <a:extLst>
                  <a:ext uri="{FF2B5EF4-FFF2-40B4-BE49-F238E27FC236}">
                    <a16:creationId xmlns:a16="http://schemas.microsoft.com/office/drawing/2014/main" id="{A9AAEFA2-9FCE-40E9-80FC-411165A2E5CA}"/>
                  </a:ext>
                </a:extLst>
              </p:cNvPr>
              <p:cNvGrpSpPr/>
              <p:nvPr/>
            </p:nvGrpSpPr>
            <p:grpSpPr>
              <a:xfrm>
                <a:off x="22776459" y="9686263"/>
                <a:ext cx="1476989" cy="139450"/>
                <a:chOff x="22776459" y="9686263"/>
                <a:chExt cx="1476989" cy="139450"/>
              </a:xfrm>
            </p:grpSpPr>
            <p:sp>
              <p:nvSpPr>
                <p:cNvPr id="186" name="任意多边形: 形状 185">
                  <a:extLst>
                    <a:ext uri="{FF2B5EF4-FFF2-40B4-BE49-F238E27FC236}">
                      <a16:creationId xmlns:a16="http://schemas.microsoft.com/office/drawing/2014/main" id="{A9C58D49-ED34-4DE7-B6CF-6C9C64093DEF}"/>
                    </a:ext>
                  </a:extLst>
                </p:cNvPr>
                <p:cNvSpPr/>
                <p:nvPr/>
              </p:nvSpPr>
              <p:spPr>
                <a:xfrm rot="-10800000">
                  <a:off x="22776459" y="9686263"/>
                  <a:ext cx="1311428" cy="139450"/>
                </a:xfrm>
                <a:custGeom>
                  <a:avLst/>
                  <a:gdLst>
                    <a:gd name="connsiteX0" fmla="*/ 0 w 1311428"/>
                    <a:gd name="connsiteY0" fmla="*/ 0 h 139450"/>
                    <a:gd name="connsiteX1" fmla="*/ 1311429 w 1311428"/>
                    <a:gd name="connsiteY1" fmla="*/ 0 h 139450"/>
                    <a:gd name="connsiteX2" fmla="*/ 1311429 w 1311428"/>
                    <a:gd name="connsiteY2" fmla="*/ 139451 h 139450"/>
                    <a:gd name="connsiteX3" fmla="*/ 0 w 1311428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11428" h="139450">
                      <a:moveTo>
                        <a:pt x="0" y="0"/>
                      </a:moveTo>
                      <a:lnTo>
                        <a:pt x="1311429" y="0"/>
                      </a:lnTo>
                      <a:lnTo>
                        <a:pt x="1311429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7" name="任意多边形: 形状 186">
                  <a:extLst>
                    <a:ext uri="{FF2B5EF4-FFF2-40B4-BE49-F238E27FC236}">
                      <a16:creationId xmlns:a16="http://schemas.microsoft.com/office/drawing/2014/main" id="{FCC2692E-8BCE-490A-B626-CFE20C3B616D}"/>
                    </a:ext>
                  </a:extLst>
                </p:cNvPr>
                <p:cNvSpPr/>
                <p:nvPr/>
              </p:nvSpPr>
              <p:spPr>
                <a:xfrm rot="-10800000">
                  <a:off x="23665976" y="9686263"/>
                  <a:ext cx="587472" cy="139450"/>
                </a:xfrm>
                <a:custGeom>
                  <a:avLst/>
                  <a:gdLst>
                    <a:gd name="connsiteX0" fmla="*/ 0 w 587472"/>
                    <a:gd name="connsiteY0" fmla="*/ 0 h 139450"/>
                    <a:gd name="connsiteX1" fmla="*/ 587472 w 587472"/>
                    <a:gd name="connsiteY1" fmla="*/ 0 h 139450"/>
                    <a:gd name="connsiteX2" fmla="*/ 587472 w 587472"/>
                    <a:gd name="connsiteY2" fmla="*/ 139451 h 139450"/>
                    <a:gd name="connsiteX3" fmla="*/ 0 w 587472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87472" h="139450">
                      <a:moveTo>
                        <a:pt x="0" y="0"/>
                      </a:moveTo>
                      <a:lnTo>
                        <a:pt x="587472" y="0"/>
                      </a:lnTo>
                      <a:lnTo>
                        <a:pt x="587472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9" name="任意多边形: 形状 178">
                <a:extLst>
                  <a:ext uri="{FF2B5EF4-FFF2-40B4-BE49-F238E27FC236}">
                    <a16:creationId xmlns:a16="http://schemas.microsoft.com/office/drawing/2014/main" id="{6CB5D554-E254-40C6-BDB1-08C0F8713FA6}"/>
                  </a:ext>
                </a:extLst>
              </p:cNvPr>
              <p:cNvSpPr/>
              <p:nvPr/>
            </p:nvSpPr>
            <p:spPr>
              <a:xfrm>
                <a:off x="22769041" y="9819185"/>
                <a:ext cx="1489450" cy="11868"/>
              </a:xfrm>
              <a:custGeom>
                <a:avLst/>
                <a:gdLst>
                  <a:gd name="connsiteX0" fmla="*/ 1483517 w 1489450"/>
                  <a:gd name="connsiteY0" fmla="*/ 11869 h 11868"/>
                  <a:gd name="connsiteX1" fmla="*/ 5934 w 1489450"/>
                  <a:gd name="connsiteY1" fmla="*/ 11869 h 11868"/>
                  <a:gd name="connsiteX2" fmla="*/ 0 w 1489450"/>
                  <a:gd name="connsiteY2" fmla="*/ 5934 h 11868"/>
                  <a:gd name="connsiteX3" fmla="*/ 5934 w 1489450"/>
                  <a:gd name="connsiteY3" fmla="*/ 0 h 11868"/>
                  <a:gd name="connsiteX4" fmla="*/ 1483517 w 1489450"/>
                  <a:gd name="connsiteY4" fmla="*/ 0 h 11868"/>
                  <a:gd name="connsiteX5" fmla="*/ 1489451 w 1489450"/>
                  <a:gd name="connsiteY5" fmla="*/ 5934 h 11868"/>
                  <a:gd name="connsiteX6" fmla="*/ 1483517 w 1489450"/>
                  <a:gd name="connsiteY6" fmla="*/ 11869 h 11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9450" h="11868">
                    <a:moveTo>
                      <a:pt x="1483517" y="11869"/>
                    </a:moveTo>
                    <a:lnTo>
                      <a:pt x="5934" y="11869"/>
                    </a:lnTo>
                    <a:cubicBezTo>
                      <a:pt x="2968" y="11869"/>
                      <a:pt x="0" y="8902"/>
                      <a:pt x="0" y="5934"/>
                    </a:cubicBezTo>
                    <a:cubicBezTo>
                      <a:pt x="0" y="2967"/>
                      <a:pt x="2968" y="0"/>
                      <a:pt x="5934" y="0"/>
                    </a:cubicBezTo>
                    <a:lnTo>
                      <a:pt x="1483517" y="0"/>
                    </a:lnTo>
                    <a:cubicBezTo>
                      <a:pt x="1486485" y="0"/>
                      <a:pt x="1489451" y="2967"/>
                      <a:pt x="1489451" y="5934"/>
                    </a:cubicBezTo>
                    <a:cubicBezTo>
                      <a:pt x="1489451" y="8902"/>
                      <a:pt x="1486485" y="11869"/>
                      <a:pt x="1483517" y="11869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80" name="图形 1">
                <a:extLst>
                  <a:ext uri="{FF2B5EF4-FFF2-40B4-BE49-F238E27FC236}">
                    <a16:creationId xmlns:a16="http://schemas.microsoft.com/office/drawing/2014/main" id="{2CC95BCD-939D-4C75-B81E-36E3E455DE5C}"/>
                  </a:ext>
                </a:extLst>
              </p:cNvPr>
              <p:cNvGrpSpPr/>
              <p:nvPr/>
            </p:nvGrpSpPr>
            <p:grpSpPr>
              <a:xfrm>
                <a:off x="22776459" y="9548296"/>
                <a:ext cx="1476989" cy="139450"/>
                <a:chOff x="22776459" y="9548296"/>
                <a:chExt cx="1476989" cy="139450"/>
              </a:xfrm>
            </p:grpSpPr>
            <p:sp>
              <p:nvSpPr>
                <p:cNvPr id="184" name="任意多边形: 形状 183">
                  <a:extLst>
                    <a:ext uri="{FF2B5EF4-FFF2-40B4-BE49-F238E27FC236}">
                      <a16:creationId xmlns:a16="http://schemas.microsoft.com/office/drawing/2014/main" id="{A1BF0916-FD96-414D-8637-A0DA3CB505DA}"/>
                    </a:ext>
                  </a:extLst>
                </p:cNvPr>
                <p:cNvSpPr/>
                <p:nvPr/>
              </p:nvSpPr>
              <p:spPr>
                <a:xfrm rot="-10800000">
                  <a:off x="22776459" y="9548296"/>
                  <a:ext cx="1311428" cy="139450"/>
                </a:xfrm>
                <a:custGeom>
                  <a:avLst/>
                  <a:gdLst>
                    <a:gd name="connsiteX0" fmla="*/ 0 w 1311428"/>
                    <a:gd name="connsiteY0" fmla="*/ 0 h 139450"/>
                    <a:gd name="connsiteX1" fmla="*/ 1311429 w 1311428"/>
                    <a:gd name="connsiteY1" fmla="*/ 0 h 139450"/>
                    <a:gd name="connsiteX2" fmla="*/ 1311429 w 1311428"/>
                    <a:gd name="connsiteY2" fmla="*/ 139450 h 139450"/>
                    <a:gd name="connsiteX3" fmla="*/ 0 w 1311428"/>
                    <a:gd name="connsiteY3" fmla="*/ 139450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11428" h="139450">
                      <a:moveTo>
                        <a:pt x="0" y="0"/>
                      </a:moveTo>
                      <a:lnTo>
                        <a:pt x="1311429" y="0"/>
                      </a:lnTo>
                      <a:lnTo>
                        <a:pt x="1311429" y="139450"/>
                      </a:lnTo>
                      <a:lnTo>
                        <a:pt x="0" y="139450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5" name="任意多边形: 形状 184">
                  <a:extLst>
                    <a:ext uri="{FF2B5EF4-FFF2-40B4-BE49-F238E27FC236}">
                      <a16:creationId xmlns:a16="http://schemas.microsoft.com/office/drawing/2014/main" id="{2A70B7B8-CF34-481C-A624-DD395FCA036B}"/>
                    </a:ext>
                  </a:extLst>
                </p:cNvPr>
                <p:cNvSpPr/>
                <p:nvPr/>
              </p:nvSpPr>
              <p:spPr>
                <a:xfrm rot="-10800000">
                  <a:off x="23665976" y="9548296"/>
                  <a:ext cx="587472" cy="139450"/>
                </a:xfrm>
                <a:custGeom>
                  <a:avLst/>
                  <a:gdLst>
                    <a:gd name="connsiteX0" fmla="*/ 0 w 587472"/>
                    <a:gd name="connsiteY0" fmla="*/ 0 h 139450"/>
                    <a:gd name="connsiteX1" fmla="*/ 587472 w 587472"/>
                    <a:gd name="connsiteY1" fmla="*/ 0 h 139450"/>
                    <a:gd name="connsiteX2" fmla="*/ 587472 w 587472"/>
                    <a:gd name="connsiteY2" fmla="*/ 139450 h 139450"/>
                    <a:gd name="connsiteX3" fmla="*/ 0 w 587472"/>
                    <a:gd name="connsiteY3" fmla="*/ 139450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87472" h="139450">
                      <a:moveTo>
                        <a:pt x="0" y="0"/>
                      </a:moveTo>
                      <a:lnTo>
                        <a:pt x="587472" y="0"/>
                      </a:lnTo>
                      <a:lnTo>
                        <a:pt x="587472" y="139450"/>
                      </a:lnTo>
                      <a:lnTo>
                        <a:pt x="0" y="139450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81" name="任意多边形: 形状 180">
                <a:extLst>
                  <a:ext uri="{FF2B5EF4-FFF2-40B4-BE49-F238E27FC236}">
                    <a16:creationId xmlns:a16="http://schemas.microsoft.com/office/drawing/2014/main" id="{4E9D72D7-5835-480D-884F-28E03F2CD005}"/>
                  </a:ext>
                </a:extLst>
              </p:cNvPr>
              <p:cNvSpPr/>
              <p:nvPr/>
            </p:nvSpPr>
            <p:spPr>
              <a:xfrm>
                <a:off x="22769041" y="9682703"/>
                <a:ext cx="1489450" cy="11867"/>
              </a:xfrm>
              <a:custGeom>
                <a:avLst/>
                <a:gdLst>
                  <a:gd name="connsiteX0" fmla="*/ 1483517 w 1489450"/>
                  <a:gd name="connsiteY0" fmla="*/ 11868 h 11867"/>
                  <a:gd name="connsiteX1" fmla="*/ 5934 w 1489450"/>
                  <a:gd name="connsiteY1" fmla="*/ 11868 h 11867"/>
                  <a:gd name="connsiteX2" fmla="*/ 0 w 1489450"/>
                  <a:gd name="connsiteY2" fmla="*/ 5934 h 11867"/>
                  <a:gd name="connsiteX3" fmla="*/ 5934 w 1489450"/>
                  <a:gd name="connsiteY3" fmla="*/ 0 h 11867"/>
                  <a:gd name="connsiteX4" fmla="*/ 1483517 w 1489450"/>
                  <a:gd name="connsiteY4" fmla="*/ 0 h 11867"/>
                  <a:gd name="connsiteX5" fmla="*/ 1489451 w 1489450"/>
                  <a:gd name="connsiteY5" fmla="*/ 5934 h 11867"/>
                  <a:gd name="connsiteX6" fmla="*/ 1483517 w 1489450"/>
                  <a:gd name="connsiteY6" fmla="*/ 11868 h 11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9450" h="11867">
                    <a:moveTo>
                      <a:pt x="1483517" y="11868"/>
                    </a:moveTo>
                    <a:lnTo>
                      <a:pt x="5934" y="11868"/>
                    </a:lnTo>
                    <a:cubicBezTo>
                      <a:pt x="2968" y="11868"/>
                      <a:pt x="0" y="8901"/>
                      <a:pt x="0" y="5934"/>
                    </a:cubicBezTo>
                    <a:cubicBezTo>
                      <a:pt x="0" y="2966"/>
                      <a:pt x="2968" y="0"/>
                      <a:pt x="5934" y="0"/>
                    </a:cubicBezTo>
                    <a:lnTo>
                      <a:pt x="1483517" y="0"/>
                    </a:lnTo>
                    <a:cubicBezTo>
                      <a:pt x="1486485" y="0"/>
                      <a:pt x="1489451" y="2966"/>
                      <a:pt x="1489451" y="5934"/>
                    </a:cubicBezTo>
                    <a:cubicBezTo>
                      <a:pt x="1489451" y="8901"/>
                      <a:pt x="1486485" y="11868"/>
                      <a:pt x="1483517" y="11868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2" name="任意多边形: 形状 181">
                <a:extLst>
                  <a:ext uri="{FF2B5EF4-FFF2-40B4-BE49-F238E27FC236}">
                    <a16:creationId xmlns:a16="http://schemas.microsoft.com/office/drawing/2014/main" id="{C8BB2570-B300-4555-A732-0B938C9981D7}"/>
                  </a:ext>
                </a:extLst>
              </p:cNvPr>
              <p:cNvSpPr/>
              <p:nvPr/>
            </p:nvSpPr>
            <p:spPr>
              <a:xfrm>
                <a:off x="22769041" y="10095120"/>
                <a:ext cx="1489450" cy="11867"/>
              </a:xfrm>
              <a:custGeom>
                <a:avLst/>
                <a:gdLst>
                  <a:gd name="connsiteX0" fmla="*/ 1483517 w 1489450"/>
                  <a:gd name="connsiteY0" fmla="*/ 11868 h 11867"/>
                  <a:gd name="connsiteX1" fmla="*/ 5934 w 1489450"/>
                  <a:gd name="connsiteY1" fmla="*/ 11868 h 11867"/>
                  <a:gd name="connsiteX2" fmla="*/ 0 w 1489450"/>
                  <a:gd name="connsiteY2" fmla="*/ 5934 h 11867"/>
                  <a:gd name="connsiteX3" fmla="*/ 5934 w 1489450"/>
                  <a:gd name="connsiteY3" fmla="*/ 0 h 11867"/>
                  <a:gd name="connsiteX4" fmla="*/ 1483517 w 1489450"/>
                  <a:gd name="connsiteY4" fmla="*/ 0 h 11867"/>
                  <a:gd name="connsiteX5" fmla="*/ 1489451 w 1489450"/>
                  <a:gd name="connsiteY5" fmla="*/ 5934 h 11867"/>
                  <a:gd name="connsiteX6" fmla="*/ 1483517 w 1489450"/>
                  <a:gd name="connsiteY6" fmla="*/ 11868 h 11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9450" h="11867">
                    <a:moveTo>
                      <a:pt x="1483517" y="11868"/>
                    </a:moveTo>
                    <a:lnTo>
                      <a:pt x="5934" y="11868"/>
                    </a:lnTo>
                    <a:cubicBezTo>
                      <a:pt x="2968" y="11868"/>
                      <a:pt x="0" y="8901"/>
                      <a:pt x="0" y="5934"/>
                    </a:cubicBezTo>
                    <a:cubicBezTo>
                      <a:pt x="0" y="2967"/>
                      <a:pt x="2968" y="0"/>
                      <a:pt x="5934" y="0"/>
                    </a:cubicBezTo>
                    <a:lnTo>
                      <a:pt x="1483517" y="0"/>
                    </a:lnTo>
                    <a:cubicBezTo>
                      <a:pt x="1486485" y="0"/>
                      <a:pt x="1489451" y="2967"/>
                      <a:pt x="1489451" y="5934"/>
                    </a:cubicBezTo>
                    <a:cubicBezTo>
                      <a:pt x="1489451" y="8901"/>
                      <a:pt x="1486485" y="11868"/>
                      <a:pt x="1483517" y="11868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3" name="任意多边形: 形状 182">
                <a:extLst>
                  <a:ext uri="{FF2B5EF4-FFF2-40B4-BE49-F238E27FC236}">
                    <a16:creationId xmlns:a16="http://schemas.microsoft.com/office/drawing/2014/main" id="{120EFEA3-6F81-4CE7-B9FB-6E23667644C8}"/>
                  </a:ext>
                </a:extLst>
              </p:cNvPr>
              <p:cNvSpPr/>
              <p:nvPr/>
            </p:nvSpPr>
            <p:spPr>
              <a:xfrm>
                <a:off x="22769041" y="10234570"/>
                <a:ext cx="1489450" cy="11868"/>
              </a:xfrm>
              <a:custGeom>
                <a:avLst/>
                <a:gdLst>
                  <a:gd name="connsiteX0" fmla="*/ 1483517 w 1489450"/>
                  <a:gd name="connsiteY0" fmla="*/ 11869 h 11868"/>
                  <a:gd name="connsiteX1" fmla="*/ 5934 w 1489450"/>
                  <a:gd name="connsiteY1" fmla="*/ 11869 h 11868"/>
                  <a:gd name="connsiteX2" fmla="*/ 0 w 1489450"/>
                  <a:gd name="connsiteY2" fmla="*/ 5934 h 11868"/>
                  <a:gd name="connsiteX3" fmla="*/ 5934 w 1489450"/>
                  <a:gd name="connsiteY3" fmla="*/ 0 h 11868"/>
                  <a:gd name="connsiteX4" fmla="*/ 1483517 w 1489450"/>
                  <a:gd name="connsiteY4" fmla="*/ 0 h 11868"/>
                  <a:gd name="connsiteX5" fmla="*/ 1489451 w 1489450"/>
                  <a:gd name="connsiteY5" fmla="*/ 5934 h 11868"/>
                  <a:gd name="connsiteX6" fmla="*/ 1483517 w 1489450"/>
                  <a:gd name="connsiteY6" fmla="*/ 11869 h 11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9450" h="11868">
                    <a:moveTo>
                      <a:pt x="1483517" y="11869"/>
                    </a:moveTo>
                    <a:lnTo>
                      <a:pt x="5934" y="11869"/>
                    </a:lnTo>
                    <a:cubicBezTo>
                      <a:pt x="2968" y="11869"/>
                      <a:pt x="0" y="8902"/>
                      <a:pt x="0" y="5934"/>
                    </a:cubicBezTo>
                    <a:cubicBezTo>
                      <a:pt x="0" y="2967"/>
                      <a:pt x="2968" y="0"/>
                      <a:pt x="5934" y="0"/>
                    </a:cubicBezTo>
                    <a:lnTo>
                      <a:pt x="1483517" y="0"/>
                    </a:lnTo>
                    <a:cubicBezTo>
                      <a:pt x="1486485" y="0"/>
                      <a:pt x="1489451" y="2967"/>
                      <a:pt x="1489451" y="5934"/>
                    </a:cubicBezTo>
                    <a:cubicBezTo>
                      <a:pt x="1489451" y="8902"/>
                      <a:pt x="1486485" y="11869"/>
                      <a:pt x="1483517" y="11869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图形 1">
              <a:extLst>
                <a:ext uri="{FF2B5EF4-FFF2-40B4-BE49-F238E27FC236}">
                  <a16:creationId xmlns:a16="http://schemas.microsoft.com/office/drawing/2014/main" id="{F57D48EE-252C-41A2-ADD7-EC3E1B204B86}"/>
                </a:ext>
              </a:extLst>
            </p:cNvPr>
            <p:cNvGrpSpPr/>
            <p:nvPr/>
          </p:nvGrpSpPr>
          <p:grpSpPr>
            <a:xfrm>
              <a:off x="21346227" y="11406548"/>
              <a:ext cx="405121" cy="315062"/>
              <a:chOff x="21346227" y="11406548"/>
              <a:chExt cx="405121" cy="315062"/>
            </a:xfrm>
          </p:grpSpPr>
          <p:sp>
            <p:nvSpPr>
              <p:cNvPr id="171" name="任意多边形: 形状 170">
                <a:extLst>
                  <a:ext uri="{FF2B5EF4-FFF2-40B4-BE49-F238E27FC236}">
                    <a16:creationId xmlns:a16="http://schemas.microsoft.com/office/drawing/2014/main" id="{8091F3DC-0F3F-448C-8D72-013B4286D8BF}"/>
                  </a:ext>
                </a:extLst>
              </p:cNvPr>
              <p:cNvSpPr/>
              <p:nvPr/>
            </p:nvSpPr>
            <p:spPr>
              <a:xfrm>
                <a:off x="21346227" y="11528197"/>
                <a:ext cx="405121" cy="193413"/>
              </a:xfrm>
              <a:custGeom>
                <a:avLst/>
                <a:gdLst>
                  <a:gd name="connsiteX0" fmla="*/ 268639 w 405121"/>
                  <a:gd name="connsiteY0" fmla="*/ 0 h 193413"/>
                  <a:gd name="connsiteX1" fmla="*/ 135123 w 405121"/>
                  <a:gd name="connsiteY1" fmla="*/ 86044 h 193413"/>
                  <a:gd name="connsiteX2" fmla="*/ 330946 w 405121"/>
                  <a:gd name="connsiteY2" fmla="*/ 77143 h 193413"/>
                  <a:gd name="connsiteX3" fmla="*/ 405122 w 405121"/>
                  <a:gd name="connsiteY3" fmla="*/ 65275 h 193413"/>
                  <a:gd name="connsiteX4" fmla="*/ 378420 w 405121"/>
                  <a:gd name="connsiteY4" fmla="*/ 166154 h 193413"/>
                  <a:gd name="connsiteX5" fmla="*/ 144023 w 405121"/>
                  <a:gd name="connsiteY5" fmla="*/ 192857 h 193413"/>
                  <a:gd name="connsiteX6" fmla="*/ 13473 w 405121"/>
                  <a:gd name="connsiteY6" fmla="*/ 166154 h 193413"/>
                  <a:gd name="connsiteX7" fmla="*/ 16441 w 405121"/>
                  <a:gd name="connsiteY7" fmla="*/ 109781 h 193413"/>
                  <a:gd name="connsiteX8" fmla="*/ 268639 w 405121"/>
                  <a:gd name="connsiteY8" fmla="*/ 0 h 193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5121" h="193413">
                    <a:moveTo>
                      <a:pt x="268639" y="0"/>
                    </a:moveTo>
                    <a:cubicBezTo>
                      <a:pt x="268639" y="0"/>
                      <a:pt x="123254" y="68242"/>
                      <a:pt x="135123" y="86044"/>
                    </a:cubicBezTo>
                    <a:cubicBezTo>
                      <a:pt x="146990" y="100879"/>
                      <a:pt x="330946" y="77143"/>
                      <a:pt x="330946" y="77143"/>
                    </a:cubicBezTo>
                    <a:lnTo>
                      <a:pt x="405122" y="65275"/>
                    </a:lnTo>
                    <a:cubicBezTo>
                      <a:pt x="405122" y="65275"/>
                      <a:pt x="396221" y="145384"/>
                      <a:pt x="378420" y="166154"/>
                    </a:cubicBezTo>
                    <a:cubicBezTo>
                      <a:pt x="304244" y="186924"/>
                      <a:pt x="215233" y="195824"/>
                      <a:pt x="144023" y="192857"/>
                    </a:cubicBezTo>
                    <a:cubicBezTo>
                      <a:pt x="99518" y="192857"/>
                      <a:pt x="19408" y="172088"/>
                      <a:pt x="13473" y="166154"/>
                    </a:cubicBezTo>
                    <a:cubicBezTo>
                      <a:pt x="4572" y="160220"/>
                      <a:pt x="-13229" y="133516"/>
                      <a:pt x="16441" y="109781"/>
                    </a:cubicBezTo>
                    <a:cubicBezTo>
                      <a:pt x="84683" y="59341"/>
                      <a:pt x="268639" y="0"/>
                      <a:pt x="268639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2" name="任意多边形: 形状 171">
                <a:extLst>
                  <a:ext uri="{FF2B5EF4-FFF2-40B4-BE49-F238E27FC236}">
                    <a16:creationId xmlns:a16="http://schemas.microsoft.com/office/drawing/2014/main" id="{9945084C-F940-403C-A9B6-00CC5FF6406B}"/>
                  </a:ext>
                </a:extLst>
              </p:cNvPr>
              <p:cNvSpPr/>
              <p:nvPr/>
            </p:nvSpPr>
            <p:spPr>
              <a:xfrm>
                <a:off x="21480661" y="11406548"/>
                <a:ext cx="270688" cy="217335"/>
              </a:xfrm>
              <a:custGeom>
                <a:avLst/>
                <a:gdLst>
                  <a:gd name="connsiteX0" fmla="*/ 116402 w 270688"/>
                  <a:gd name="connsiteY0" fmla="*/ 2967 h 217335"/>
                  <a:gd name="connsiteX1" fmla="*/ 134206 w 270688"/>
                  <a:gd name="connsiteY1" fmla="*/ 118681 h 217335"/>
                  <a:gd name="connsiteX2" fmla="*/ 689 w 270688"/>
                  <a:gd name="connsiteY2" fmla="*/ 204726 h 217335"/>
                  <a:gd name="connsiteX3" fmla="*/ 238052 w 270688"/>
                  <a:gd name="connsiteY3" fmla="*/ 207692 h 217335"/>
                  <a:gd name="connsiteX4" fmla="*/ 270688 w 270688"/>
                  <a:gd name="connsiteY4" fmla="*/ 180989 h 217335"/>
                  <a:gd name="connsiteX5" fmla="*/ 235084 w 270688"/>
                  <a:gd name="connsiteY5" fmla="*/ 0 h 217335"/>
                  <a:gd name="connsiteX6" fmla="*/ 116402 w 270688"/>
                  <a:gd name="connsiteY6" fmla="*/ 0 h 21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0688" h="217335">
                    <a:moveTo>
                      <a:pt x="116402" y="2967"/>
                    </a:moveTo>
                    <a:lnTo>
                      <a:pt x="134206" y="118681"/>
                    </a:lnTo>
                    <a:cubicBezTo>
                      <a:pt x="134206" y="118681"/>
                      <a:pt x="-11180" y="178022"/>
                      <a:pt x="689" y="204726"/>
                    </a:cubicBezTo>
                    <a:cubicBezTo>
                      <a:pt x="9590" y="222527"/>
                      <a:pt x="163876" y="219561"/>
                      <a:pt x="238052" y="207692"/>
                    </a:cubicBezTo>
                    <a:cubicBezTo>
                      <a:pt x="261788" y="204726"/>
                      <a:pt x="270688" y="180989"/>
                      <a:pt x="270688" y="180989"/>
                    </a:cubicBezTo>
                    <a:lnTo>
                      <a:pt x="235084" y="0"/>
                    </a:lnTo>
                    <a:lnTo>
                      <a:pt x="116402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A9D2A9B7-352E-4195-B4CC-716B53A169FE}"/>
                </a:ext>
              </a:extLst>
            </p:cNvPr>
            <p:cNvSpPr/>
            <p:nvPr/>
          </p:nvSpPr>
          <p:spPr>
            <a:xfrm>
              <a:off x="21408558" y="9068428"/>
              <a:ext cx="693349" cy="576389"/>
            </a:xfrm>
            <a:custGeom>
              <a:avLst/>
              <a:gdLst>
                <a:gd name="connsiteX0" fmla="*/ 508946 w 693349"/>
                <a:gd name="connsiteY0" fmla="*/ 44604 h 576389"/>
                <a:gd name="connsiteX1" fmla="*/ 366527 w 693349"/>
                <a:gd name="connsiteY1" fmla="*/ 415483 h 576389"/>
                <a:gd name="connsiteX2" fmla="*/ 10483 w 693349"/>
                <a:gd name="connsiteY2" fmla="*/ 445153 h 576389"/>
                <a:gd name="connsiteX3" fmla="*/ 34221 w 693349"/>
                <a:gd name="connsiteY3" fmla="*/ 563835 h 576389"/>
                <a:gd name="connsiteX4" fmla="*/ 458506 w 693349"/>
                <a:gd name="connsiteY4" fmla="*/ 563835 h 576389"/>
                <a:gd name="connsiteX5" fmla="*/ 689935 w 693349"/>
                <a:gd name="connsiteY5" fmla="*/ 246362 h 576389"/>
                <a:gd name="connsiteX6" fmla="*/ 508946 w 693349"/>
                <a:gd name="connsiteY6" fmla="*/ 44604 h 57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3349" h="576389">
                  <a:moveTo>
                    <a:pt x="508946" y="44604"/>
                  </a:moveTo>
                  <a:cubicBezTo>
                    <a:pt x="461473" y="145483"/>
                    <a:pt x="366527" y="415483"/>
                    <a:pt x="366527" y="415483"/>
                  </a:cubicBezTo>
                  <a:cubicBezTo>
                    <a:pt x="366527" y="415483"/>
                    <a:pt x="10483" y="439219"/>
                    <a:pt x="10483" y="445153"/>
                  </a:cubicBezTo>
                  <a:cubicBezTo>
                    <a:pt x="-7318" y="510428"/>
                    <a:pt x="-4352" y="551967"/>
                    <a:pt x="34221" y="563835"/>
                  </a:cubicBezTo>
                  <a:cubicBezTo>
                    <a:pt x="43122" y="566802"/>
                    <a:pt x="262681" y="590538"/>
                    <a:pt x="458506" y="563835"/>
                  </a:cubicBezTo>
                  <a:cubicBezTo>
                    <a:pt x="523781" y="554934"/>
                    <a:pt x="636528" y="385813"/>
                    <a:pt x="689935" y="246362"/>
                  </a:cubicBezTo>
                  <a:cubicBezTo>
                    <a:pt x="716639" y="169219"/>
                    <a:pt x="580154" y="-106715"/>
                    <a:pt x="508946" y="44604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F990712C-6146-4F4E-B569-EBAA9035A121}"/>
                </a:ext>
              </a:extLst>
            </p:cNvPr>
            <p:cNvSpPr/>
            <p:nvPr/>
          </p:nvSpPr>
          <p:spPr>
            <a:xfrm>
              <a:off x="17860895" y="8593801"/>
              <a:ext cx="991897" cy="700768"/>
            </a:xfrm>
            <a:custGeom>
              <a:avLst/>
              <a:gdLst>
                <a:gd name="connsiteX0" fmla="*/ 15510 w 991897"/>
                <a:gd name="connsiteY0" fmla="*/ 124615 h 700768"/>
                <a:gd name="connsiteX1" fmla="*/ 427927 w 991897"/>
                <a:gd name="connsiteY1" fmla="*/ 213626 h 700768"/>
                <a:gd name="connsiteX2" fmla="*/ 772104 w 991897"/>
                <a:gd name="connsiteY2" fmla="*/ 445055 h 700768"/>
                <a:gd name="connsiteX3" fmla="*/ 887817 w 991897"/>
                <a:gd name="connsiteY3" fmla="*/ 0 h 700768"/>
                <a:gd name="connsiteX4" fmla="*/ 991663 w 991897"/>
                <a:gd name="connsiteY4" fmla="*/ 83077 h 700768"/>
                <a:gd name="connsiteX5" fmla="*/ 908587 w 991897"/>
                <a:gd name="connsiteY5" fmla="*/ 685385 h 700768"/>
                <a:gd name="connsiteX6" fmla="*/ 15510 w 991897"/>
                <a:gd name="connsiteY6" fmla="*/ 124615 h 70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1897" h="700768">
                  <a:moveTo>
                    <a:pt x="15510" y="124615"/>
                  </a:moveTo>
                  <a:cubicBezTo>
                    <a:pt x="77817" y="29670"/>
                    <a:pt x="330015" y="163187"/>
                    <a:pt x="427927" y="213626"/>
                  </a:cubicBezTo>
                  <a:cubicBezTo>
                    <a:pt x="513971" y="258132"/>
                    <a:pt x="772104" y="445055"/>
                    <a:pt x="772104" y="445055"/>
                  </a:cubicBezTo>
                  <a:lnTo>
                    <a:pt x="887817" y="0"/>
                  </a:lnTo>
                  <a:lnTo>
                    <a:pt x="991663" y="83077"/>
                  </a:lnTo>
                  <a:cubicBezTo>
                    <a:pt x="991663" y="83077"/>
                    <a:pt x="1000566" y="626044"/>
                    <a:pt x="908587" y="685385"/>
                  </a:cubicBezTo>
                  <a:cubicBezTo>
                    <a:pt x="754300" y="789231"/>
                    <a:pt x="-126908" y="341209"/>
                    <a:pt x="15510" y="124615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7358FD80-589F-4B52-AB91-6AE47C53C0CE}"/>
                </a:ext>
              </a:extLst>
            </p:cNvPr>
            <p:cNvSpPr/>
            <p:nvPr/>
          </p:nvSpPr>
          <p:spPr>
            <a:xfrm>
              <a:off x="17425415" y="8317867"/>
              <a:ext cx="243297" cy="251317"/>
            </a:xfrm>
            <a:custGeom>
              <a:avLst/>
              <a:gdLst>
                <a:gd name="connsiteX0" fmla="*/ 243297 w 243297"/>
                <a:gd name="connsiteY0" fmla="*/ 38572 h 251317"/>
                <a:gd name="connsiteX1" fmla="*/ 237363 w 243297"/>
                <a:gd name="connsiteY1" fmla="*/ 207692 h 251317"/>
                <a:gd name="connsiteX2" fmla="*/ 0 w 243297"/>
                <a:gd name="connsiteY2" fmla="*/ 198791 h 251317"/>
                <a:gd name="connsiteX3" fmla="*/ 14835 w 243297"/>
                <a:gd name="connsiteY3" fmla="*/ 0 h 251317"/>
                <a:gd name="connsiteX4" fmla="*/ 243297 w 243297"/>
                <a:gd name="connsiteY4" fmla="*/ 38572 h 251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297" h="251317">
                  <a:moveTo>
                    <a:pt x="243297" y="38572"/>
                  </a:moveTo>
                  <a:cubicBezTo>
                    <a:pt x="243297" y="38572"/>
                    <a:pt x="237363" y="136484"/>
                    <a:pt x="237363" y="207692"/>
                  </a:cubicBezTo>
                  <a:cubicBezTo>
                    <a:pt x="237363" y="207692"/>
                    <a:pt x="145384" y="311538"/>
                    <a:pt x="0" y="198791"/>
                  </a:cubicBezTo>
                  <a:cubicBezTo>
                    <a:pt x="0" y="139450"/>
                    <a:pt x="11868" y="62308"/>
                    <a:pt x="14835" y="0"/>
                  </a:cubicBezTo>
                  <a:cubicBezTo>
                    <a:pt x="11868" y="0"/>
                    <a:pt x="189890" y="50439"/>
                    <a:pt x="243297" y="38572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74695527-E914-4B52-BE48-195951269555}"/>
                </a:ext>
              </a:extLst>
            </p:cNvPr>
            <p:cNvSpPr/>
            <p:nvPr/>
          </p:nvSpPr>
          <p:spPr>
            <a:xfrm>
              <a:off x="17021899" y="8478087"/>
              <a:ext cx="1042224" cy="1524875"/>
            </a:xfrm>
            <a:custGeom>
              <a:avLst/>
              <a:gdLst>
                <a:gd name="connsiteX0" fmla="*/ 385714 w 1042224"/>
                <a:gd name="connsiteY0" fmla="*/ 0 h 1524875"/>
                <a:gd name="connsiteX1" fmla="*/ 667582 w 1042224"/>
                <a:gd name="connsiteY1" fmla="*/ 0 h 1524875"/>
                <a:gd name="connsiteX2" fmla="*/ 958352 w 1042224"/>
                <a:gd name="connsiteY2" fmla="*/ 127582 h 1524875"/>
                <a:gd name="connsiteX3" fmla="*/ 1041429 w 1042224"/>
                <a:gd name="connsiteY3" fmla="*/ 1495384 h 1524875"/>
                <a:gd name="connsiteX4" fmla="*/ 0 w 1042224"/>
                <a:gd name="connsiteY4" fmla="*/ 1471649 h 1524875"/>
                <a:gd name="connsiteX5" fmla="*/ 112748 w 1042224"/>
                <a:gd name="connsiteY5" fmla="*/ 100879 h 1524875"/>
                <a:gd name="connsiteX6" fmla="*/ 385714 w 1042224"/>
                <a:gd name="connsiteY6" fmla="*/ 0 h 152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2224" h="1524875">
                  <a:moveTo>
                    <a:pt x="385714" y="0"/>
                  </a:moveTo>
                  <a:cubicBezTo>
                    <a:pt x="385714" y="0"/>
                    <a:pt x="554836" y="53406"/>
                    <a:pt x="667582" y="0"/>
                  </a:cubicBezTo>
                  <a:cubicBezTo>
                    <a:pt x="667582" y="0"/>
                    <a:pt x="934616" y="94945"/>
                    <a:pt x="958352" y="127582"/>
                  </a:cubicBezTo>
                  <a:cubicBezTo>
                    <a:pt x="982088" y="157252"/>
                    <a:pt x="1050330" y="1430109"/>
                    <a:pt x="1041429" y="1495384"/>
                  </a:cubicBezTo>
                  <a:cubicBezTo>
                    <a:pt x="1041429" y="1495384"/>
                    <a:pt x="563736" y="1575495"/>
                    <a:pt x="0" y="1471649"/>
                  </a:cubicBezTo>
                  <a:cubicBezTo>
                    <a:pt x="0" y="1124505"/>
                    <a:pt x="71209" y="130549"/>
                    <a:pt x="112748" y="100879"/>
                  </a:cubicBezTo>
                  <a:cubicBezTo>
                    <a:pt x="151319" y="68241"/>
                    <a:pt x="385714" y="0"/>
                    <a:pt x="385714" y="0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657AD0BB-DECB-4326-B2CD-CFBA116998FE}"/>
                </a:ext>
              </a:extLst>
            </p:cNvPr>
            <p:cNvSpPr/>
            <p:nvPr/>
          </p:nvSpPr>
          <p:spPr>
            <a:xfrm>
              <a:off x="17741964" y="8571890"/>
              <a:ext cx="561692" cy="529273"/>
            </a:xfrm>
            <a:custGeom>
              <a:avLst/>
              <a:gdLst>
                <a:gd name="connsiteX0" fmla="*/ 327298 w 561692"/>
                <a:gd name="connsiteY0" fmla="*/ 529274 h 529273"/>
                <a:gd name="connsiteX1" fmla="*/ 6858 w 561692"/>
                <a:gd name="connsiteY1" fmla="*/ 42680 h 529273"/>
                <a:gd name="connsiteX2" fmla="*/ 561693 w 561692"/>
                <a:gd name="connsiteY2" fmla="*/ 191032 h 529273"/>
                <a:gd name="connsiteX3" fmla="*/ 327298 w 561692"/>
                <a:gd name="connsiteY3" fmla="*/ 529274 h 529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1692" h="529273">
                  <a:moveTo>
                    <a:pt x="327298" y="529274"/>
                  </a:moveTo>
                  <a:cubicBezTo>
                    <a:pt x="327298" y="529274"/>
                    <a:pt x="-55450" y="170262"/>
                    <a:pt x="6858" y="42680"/>
                  </a:cubicBezTo>
                  <a:cubicBezTo>
                    <a:pt x="78067" y="-108638"/>
                    <a:pt x="561693" y="191032"/>
                    <a:pt x="561693" y="191032"/>
                  </a:cubicBezTo>
                  <a:cubicBezTo>
                    <a:pt x="561693" y="191032"/>
                    <a:pt x="493452" y="401691"/>
                    <a:pt x="327298" y="529274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BAAC7332-5335-4BB4-BA7E-7153F1CF701E}"/>
                </a:ext>
              </a:extLst>
            </p:cNvPr>
            <p:cNvSpPr/>
            <p:nvPr/>
          </p:nvSpPr>
          <p:spPr>
            <a:xfrm>
              <a:off x="17971350" y="8599735"/>
              <a:ext cx="52387" cy="537033"/>
            </a:xfrm>
            <a:custGeom>
              <a:avLst/>
              <a:gdLst>
                <a:gd name="connsiteX0" fmla="*/ 47472 w 52387"/>
                <a:gd name="connsiteY0" fmla="*/ 537033 h 537033"/>
                <a:gd name="connsiteX1" fmla="*/ 41537 w 52387"/>
                <a:gd name="connsiteY1" fmla="*/ 531099 h 537033"/>
                <a:gd name="connsiteX2" fmla="*/ 0 w 52387"/>
                <a:gd name="connsiteY2" fmla="*/ 5934 h 537033"/>
                <a:gd name="connsiteX3" fmla="*/ 2966 w 52387"/>
                <a:gd name="connsiteY3" fmla="*/ 0 h 537033"/>
                <a:gd name="connsiteX4" fmla="*/ 8901 w 52387"/>
                <a:gd name="connsiteY4" fmla="*/ 2967 h 537033"/>
                <a:gd name="connsiteX5" fmla="*/ 50438 w 52387"/>
                <a:gd name="connsiteY5" fmla="*/ 531099 h 537033"/>
                <a:gd name="connsiteX6" fmla="*/ 47472 w 52387"/>
                <a:gd name="connsiteY6" fmla="*/ 537033 h 537033"/>
                <a:gd name="connsiteX7" fmla="*/ 47472 w 52387"/>
                <a:gd name="connsiteY7" fmla="*/ 537033 h 537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387" h="537033">
                  <a:moveTo>
                    <a:pt x="47472" y="537033"/>
                  </a:moveTo>
                  <a:cubicBezTo>
                    <a:pt x="44505" y="537033"/>
                    <a:pt x="41537" y="534066"/>
                    <a:pt x="41537" y="531099"/>
                  </a:cubicBezTo>
                  <a:cubicBezTo>
                    <a:pt x="41537" y="525165"/>
                    <a:pt x="5933" y="44505"/>
                    <a:pt x="0" y="5934"/>
                  </a:cubicBezTo>
                  <a:cubicBezTo>
                    <a:pt x="0" y="2967"/>
                    <a:pt x="0" y="0"/>
                    <a:pt x="2966" y="0"/>
                  </a:cubicBezTo>
                  <a:cubicBezTo>
                    <a:pt x="5933" y="0"/>
                    <a:pt x="8901" y="0"/>
                    <a:pt x="8901" y="2967"/>
                  </a:cubicBezTo>
                  <a:cubicBezTo>
                    <a:pt x="17801" y="41539"/>
                    <a:pt x="50438" y="510330"/>
                    <a:pt x="50438" y="531099"/>
                  </a:cubicBezTo>
                  <a:cubicBezTo>
                    <a:pt x="53406" y="534066"/>
                    <a:pt x="53406" y="537033"/>
                    <a:pt x="47472" y="537033"/>
                  </a:cubicBezTo>
                  <a:lnTo>
                    <a:pt x="47472" y="537033"/>
                  </a:ln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9" name="图形 1">
              <a:extLst>
                <a:ext uri="{FF2B5EF4-FFF2-40B4-BE49-F238E27FC236}">
                  <a16:creationId xmlns:a16="http://schemas.microsoft.com/office/drawing/2014/main" id="{AB57E8FC-67B8-456B-B4AA-08E6F9BE0223}"/>
                </a:ext>
              </a:extLst>
            </p:cNvPr>
            <p:cNvGrpSpPr/>
            <p:nvPr/>
          </p:nvGrpSpPr>
          <p:grpSpPr>
            <a:xfrm>
              <a:off x="18738586" y="8469186"/>
              <a:ext cx="382117" cy="225601"/>
              <a:chOff x="18738586" y="8469186"/>
              <a:chExt cx="382117" cy="225601"/>
            </a:xfrm>
          </p:grpSpPr>
          <p:grpSp>
            <p:nvGrpSpPr>
              <p:cNvPr id="165" name="图形 1">
                <a:extLst>
                  <a:ext uri="{FF2B5EF4-FFF2-40B4-BE49-F238E27FC236}">
                    <a16:creationId xmlns:a16="http://schemas.microsoft.com/office/drawing/2014/main" id="{D17759BF-46F7-4A9F-A6C6-BA70CA3E0C9C}"/>
                  </a:ext>
                </a:extLst>
              </p:cNvPr>
              <p:cNvGrpSpPr/>
              <p:nvPr/>
            </p:nvGrpSpPr>
            <p:grpSpPr>
              <a:xfrm>
                <a:off x="18738586" y="8469186"/>
                <a:ext cx="382117" cy="225601"/>
                <a:chOff x="18738586" y="8469186"/>
                <a:chExt cx="382117" cy="225601"/>
              </a:xfrm>
            </p:grpSpPr>
            <p:sp>
              <p:nvSpPr>
                <p:cNvPr id="168" name="任意多边形: 形状 167">
                  <a:extLst>
                    <a:ext uri="{FF2B5EF4-FFF2-40B4-BE49-F238E27FC236}">
                      <a16:creationId xmlns:a16="http://schemas.microsoft.com/office/drawing/2014/main" id="{25C4B353-4DDE-48D0-ABE1-121DCDAD6CD7}"/>
                    </a:ext>
                  </a:extLst>
                </p:cNvPr>
                <p:cNvSpPr/>
                <p:nvPr/>
              </p:nvSpPr>
              <p:spPr>
                <a:xfrm>
                  <a:off x="18738586" y="8469186"/>
                  <a:ext cx="381004" cy="225601"/>
                </a:xfrm>
                <a:custGeom>
                  <a:avLst/>
                  <a:gdLst>
                    <a:gd name="connsiteX0" fmla="*/ 315731 w 381004"/>
                    <a:gd name="connsiteY0" fmla="*/ 163187 h 225601"/>
                    <a:gd name="connsiteX1" fmla="*/ 300896 w 381004"/>
                    <a:gd name="connsiteY1" fmla="*/ 148352 h 225601"/>
                    <a:gd name="connsiteX2" fmla="*/ 291994 w 381004"/>
                    <a:gd name="connsiteY2" fmla="*/ 145384 h 225601"/>
                    <a:gd name="connsiteX3" fmla="*/ 321664 w 381004"/>
                    <a:gd name="connsiteY3" fmla="*/ 142418 h 225601"/>
                    <a:gd name="connsiteX4" fmla="*/ 369138 w 381004"/>
                    <a:gd name="connsiteY4" fmla="*/ 124615 h 225601"/>
                    <a:gd name="connsiteX5" fmla="*/ 363203 w 381004"/>
                    <a:gd name="connsiteY5" fmla="*/ 112747 h 225601"/>
                    <a:gd name="connsiteX6" fmla="*/ 360237 w 381004"/>
                    <a:gd name="connsiteY6" fmla="*/ 112747 h 225601"/>
                    <a:gd name="connsiteX7" fmla="*/ 381005 w 381004"/>
                    <a:gd name="connsiteY7" fmla="*/ 89011 h 225601"/>
                    <a:gd name="connsiteX8" fmla="*/ 363203 w 381004"/>
                    <a:gd name="connsiteY8" fmla="*/ 68242 h 225601"/>
                    <a:gd name="connsiteX9" fmla="*/ 303862 w 381004"/>
                    <a:gd name="connsiteY9" fmla="*/ 71209 h 225601"/>
                    <a:gd name="connsiteX10" fmla="*/ 220786 w 381004"/>
                    <a:gd name="connsiteY10" fmla="*/ 77143 h 225601"/>
                    <a:gd name="connsiteX11" fmla="*/ 277158 w 381004"/>
                    <a:gd name="connsiteY11" fmla="*/ 56373 h 225601"/>
                    <a:gd name="connsiteX12" fmla="*/ 318698 w 381004"/>
                    <a:gd name="connsiteY12" fmla="*/ 38572 h 225601"/>
                    <a:gd name="connsiteX13" fmla="*/ 289027 w 381004"/>
                    <a:gd name="connsiteY13" fmla="*/ 20769 h 225601"/>
                    <a:gd name="connsiteX14" fmla="*/ 102105 w 381004"/>
                    <a:gd name="connsiteY14" fmla="*/ 74176 h 225601"/>
                    <a:gd name="connsiteX15" fmla="*/ 158477 w 381004"/>
                    <a:gd name="connsiteY15" fmla="*/ 29670 h 225601"/>
                    <a:gd name="connsiteX16" fmla="*/ 152544 w 381004"/>
                    <a:gd name="connsiteY16" fmla="*/ 0 h 225601"/>
                    <a:gd name="connsiteX17" fmla="*/ 4193 w 381004"/>
                    <a:gd name="connsiteY17" fmla="*/ 121648 h 225601"/>
                    <a:gd name="connsiteX18" fmla="*/ 4193 w 381004"/>
                    <a:gd name="connsiteY18" fmla="*/ 124615 h 225601"/>
                    <a:gd name="connsiteX19" fmla="*/ 1225 w 381004"/>
                    <a:gd name="connsiteY19" fmla="*/ 127583 h 225601"/>
                    <a:gd name="connsiteX20" fmla="*/ 63533 w 381004"/>
                    <a:gd name="connsiteY20" fmla="*/ 216594 h 225601"/>
                    <a:gd name="connsiteX21" fmla="*/ 202983 w 381004"/>
                    <a:gd name="connsiteY21" fmla="*/ 201758 h 225601"/>
                    <a:gd name="connsiteX22" fmla="*/ 315731 w 381004"/>
                    <a:gd name="connsiteY22" fmla="*/ 163187 h 225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381004" h="225601">
                      <a:moveTo>
                        <a:pt x="315731" y="163187"/>
                      </a:moveTo>
                      <a:cubicBezTo>
                        <a:pt x="315731" y="154286"/>
                        <a:pt x="309797" y="151318"/>
                        <a:pt x="300896" y="148352"/>
                      </a:cubicBezTo>
                      <a:cubicBezTo>
                        <a:pt x="297928" y="148352"/>
                        <a:pt x="294962" y="148352"/>
                        <a:pt x="291994" y="145384"/>
                      </a:cubicBezTo>
                      <a:cubicBezTo>
                        <a:pt x="300896" y="145384"/>
                        <a:pt x="309797" y="142418"/>
                        <a:pt x="321664" y="142418"/>
                      </a:cubicBezTo>
                      <a:cubicBezTo>
                        <a:pt x="339467" y="139450"/>
                        <a:pt x="360237" y="139450"/>
                        <a:pt x="369138" y="124615"/>
                      </a:cubicBezTo>
                      <a:cubicBezTo>
                        <a:pt x="369138" y="121648"/>
                        <a:pt x="363203" y="115714"/>
                        <a:pt x="363203" y="112747"/>
                      </a:cubicBezTo>
                      <a:cubicBezTo>
                        <a:pt x="363203" y="112747"/>
                        <a:pt x="360237" y="112747"/>
                        <a:pt x="360237" y="112747"/>
                      </a:cubicBezTo>
                      <a:cubicBezTo>
                        <a:pt x="369138" y="106813"/>
                        <a:pt x="378038" y="100879"/>
                        <a:pt x="381005" y="89011"/>
                      </a:cubicBezTo>
                      <a:cubicBezTo>
                        <a:pt x="381005" y="80110"/>
                        <a:pt x="375072" y="71209"/>
                        <a:pt x="363203" y="68242"/>
                      </a:cubicBezTo>
                      <a:cubicBezTo>
                        <a:pt x="345402" y="65275"/>
                        <a:pt x="321664" y="68242"/>
                        <a:pt x="303862" y="71209"/>
                      </a:cubicBezTo>
                      <a:cubicBezTo>
                        <a:pt x="277158" y="74176"/>
                        <a:pt x="250456" y="77143"/>
                        <a:pt x="220786" y="77143"/>
                      </a:cubicBezTo>
                      <a:cubicBezTo>
                        <a:pt x="238587" y="71209"/>
                        <a:pt x="259357" y="62307"/>
                        <a:pt x="277158" y="56373"/>
                      </a:cubicBezTo>
                      <a:cubicBezTo>
                        <a:pt x="289027" y="50439"/>
                        <a:pt x="312763" y="47472"/>
                        <a:pt x="318698" y="38572"/>
                      </a:cubicBezTo>
                      <a:cubicBezTo>
                        <a:pt x="330566" y="23736"/>
                        <a:pt x="297928" y="20769"/>
                        <a:pt x="289027" y="20769"/>
                      </a:cubicBezTo>
                      <a:cubicBezTo>
                        <a:pt x="220786" y="23736"/>
                        <a:pt x="167380" y="62307"/>
                        <a:pt x="102105" y="74176"/>
                      </a:cubicBezTo>
                      <a:cubicBezTo>
                        <a:pt x="113972" y="56373"/>
                        <a:pt x="131775" y="44505"/>
                        <a:pt x="158477" y="29670"/>
                      </a:cubicBezTo>
                      <a:cubicBezTo>
                        <a:pt x="170346" y="23736"/>
                        <a:pt x="158477" y="0"/>
                        <a:pt x="152544" y="0"/>
                      </a:cubicBezTo>
                      <a:cubicBezTo>
                        <a:pt x="87269" y="2967"/>
                        <a:pt x="13094" y="50439"/>
                        <a:pt x="4193" y="121648"/>
                      </a:cubicBezTo>
                      <a:cubicBezTo>
                        <a:pt x="4193" y="121648"/>
                        <a:pt x="4193" y="121648"/>
                        <a:pt x="4193" y="124615"/>
                      </a:cubicBezTo>
                      <a:cubicBezTo>
                        <a:pt x="1225" y="124615"/>
                        <a:pt x="1225" y="124615"/>
                        <a:pt x="1225" y="127583"/>
                      </a:cubicBezTo>
                      <a:cubicBezTo>
                        <a:pt x="-7676" y="157253"/>
                        <a:pt x="33863" y="201758"/>
                        <a:pt x="63533" y="216594"/>
                      </a:cubicBezTo>
                      <a:cubicBezTo>
                        <a:pt x="108039" y="240329"/>
                        <a:pt x="158477" y="210659"/>
                        <a:pt x="202983" y="201758"/>
                      </a:cubicBezTo>
                      <a:cubicBezTo>
                        <a:pt x="232653" y="198791"/>
                        <a:pt x="315731" y="183956"/>
                        <a:pt x="315731" y="163187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9" name="任意多边形: 形状 168">
                  <a:extLst>
                    <a:ext uri="{FF2B5EF4-FFF2-40B4-BE49-F238E27FC236}">
                      <a16:creationId xmlns:a16="http://schemas.microsoft.com/office/drawing/2014/main" id="{30E74487-431E-48ED-80B2-D8370C008935}"/>
                    </a:ext>
                  </a:extLst>
                </p:cNvPr>
                <p:cNvSpPr/>
                <p:nvPr/>
              </p:nvSpPr>
              <p:spPr>
                <a:xfrm>
                  <a:off x="18816955" y="8567098"/>
                  <a:ext cx="38062" cy="53406"/>
                </a:xfrm>
                <a:custGeom>
                  <a:avLst/>
                  <a:gdLst>
                    <a:gd name="connsiteX0" fmla="*/ 5933 w 38062"/>
                    <a:gd name="connsiteY0" fmla="*/ 53406 h 53406"/>
                    <a:gd name="connsiteX1" fmla="*/ 0 w 38062"/>
                    <a:gd name="connsiteY1" fmla="*/ 50439 h 53406"/>
                    <a:gd name="connsiteX2" fmla="*/ 2966 w 38062"/>
                    <a:gd name="connsiteY2" fmla="*/ 44505 h 53406"/>
                    <a:gd name="connsiteX3" fmla="*/ 26702 w 38062"/>
                    <a:gd name="connsiteY3" fmla="*/ 5934 h 53406"/>
                    <a:gd name="connsiteX4" fmla="*/ 29670 w 38062"/>
                    <a:gd name="connsiteY4" fmla="*/ 0 h 53406"/>
                    <a:gd name="connsiteX5" fmla="*/ 35603 w 38062"/>
                    <a:gd name="connsiteY5" fmla="*/ 2967 h 53406"/>
                    <a:gd name="connsiteX6" fmla="*/ 5933 w 38062"/>
                    <a:gd name="connsiteY6" fmla="*/ 53406 h 53406"/>
                    <a:gd name="connsiteX7" fmla="*/ 5933 w 38062"/>
                    <a:gd name="connsiteY7" fmla="*/ 53406 h 5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8062" h="53406">
                      <a:moveTo>
                        <a:pt x="5933" y="53406"/>
                      </a:moveTo>
                      <a:cubicBezTo>
                        <a:pt x="2966" y="53406"/>
                        <a:pt x="2966" y="53406"/>
                        <a:pt x="0" y="50439"/>
                      </a:cubicBezTo>
                      <a:cubicBezTo>
                        <a:pt x="0" y="47472"/>
                        <a:pt x="0" y="44505"/>
                        <a:pt x="2966" y="44505"/>
                      </a:cubicBezTo>
                      <a:cubicBezTo>
                        <a:pt x="29670" y="32637"/>
                        <a:pt x="26702" y="5934"/>
                        <a:pt x="26702" y="5934"/>
                      </a:cubicBezTo>
                      <a:cubicBezTo>
                        <a:pt x="26702" y="2967"/>
                        <a:pt x="26702" y="0"/>
                        <a:pt x="29670" y="0"/>
                      </a:cubicBezTo>
                      <a:cubicBezTo>
                        <a:pt x="32637" y="0"/>
                        <a:pt x="35603" y="0"/>
                        <a:pt x="35603" y="2967"/>
                      </a:cubicBezTo>
                      <a:cubicBezTo>
                        <a:pt x="41537" y="11868"/>
                        <a:pt x="38571" y="41538"/>
                        <a:pt x="5933" y="53406"/>
                      </a:cubicBezTo>
                      <a:cubicBezTo>
                        <a:pt x="8901" y="53406"/>
                        <a:pt x="5933" y="53406"/>
                        <a:pt x="5933" y="53406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0" name="任意多边形: 形状 169">
                  <a:extLst>
                    <a:ext uri="{FF2B5EF4-FFF2-40B4-BE49-F238E27FC236}">
                      <a16:creationId xmlns:a16="http://schemas.microsoft.com/office/drawing/2014/main" id="{4184A80A-A6D9-41B8-BBE3-05B80E0D8F9D}"/>
                    </a:ext>
                  </a:extLst>
                </p:cNvPr>
                <p:cNvSpPr/>
                <p:nvPr/>
              </p:nvSpPr>
              <p:spPr>
                <a:xfrm>
                  <a:off x="18953437" y="8507757"/>
                  <a:ext cx="167266" cy="74175"/>
                </a:xfrm>
                <a:custGeom>
                  <a:avLst/>
                  <a:gdLst>
                    <a:gd name="connsiteX0" fmla="*/ 145385 w 167266"/>
                    <a:gd name="connsiteY0" fmla="*/ 74176 h 74175"/>
                    <a:gd name="connsiteX1" fmla="*/ 139451 w 167266"/>
                    <a:gd name="connsiteY1" fmla="*/ 71209 h 74175"/>
                    <a:gd name="connsiteX2" fmla="*/ 142417 w 167266"/>
                    <a:gd name="connsiteY2" fmla="*/ 65275 h 74175"/>
                    <a:gd name="connsiteX3" fmla="*/ 157252 w 167266"/>
                    <a:gd name="connsiteY3" fmla="*/ 53406 h 74175"/>
                    <a:gd name="connsiteX4" fmla="*/ 151318 w 167266"/>
                    <a:gd name="connsiteY4" fmla="*/ 38571 h 74175"/>
                    <a:gd name="connsiteX5" fmla="*/ 5934 w 167266"/>
                    <a:gd name="connsiteY5" fmla="*/ 47472 h 74175"/>
                    <a:gd name="connsiteX6" fmla="*/ 0 w 167266"/>
                    <a:gd name="connsiteY6" fmla="*/ 44505 h 74175"/>
                    <a:gd name="connsiteX7" fmla="*/ 2966 w 167266"/>
                    <a:gd name="connsiteY7" fmla="*/ 38571 h 74175"/>
                    <a:gd name="connsiteX8" fmla="*/ 103846 w 167266"/>
                    <a:gd name="connsiteY8" fmla="*/ 0 h 74175"/>
                    <a:gd name="connsiteX9" fmla="*/ 109781 w 167266"/>
                    <a:gd name="connsiteY9" fmla="*/ 2967 h 74175"/>
                    <a:gd name="connsiteX10" fmla="*/ 106812 w 167266"/>
                    <a:gd name="connsiteY10" fmla="*/ 8901 h 74175"/>
                    <a:gd name="connsiteX11" fmla="*/ 50440 w 167266"/>
                    <a:gd name="connsiteY11" fmla="*/ 32637 h 74175"/>
                    <a:gd name="connsiteX12" fmla="*/ 157252 w 167266"/>
                    <a:gd name="connsiteY12" fmla="*/ 32637 h 74175"/>
                    <a:gd name="connsiteX13" fmla="*/ 166153 w 167266"/>
                    <a:gd name="connsiteY13" fmla="*/ 56373 h 74175"/>
                    <a:gd name="connsiteX14" fmla="*/ 145385 w 167266"/>
                    <a:gd name="connsiteY14" fmla="*/ 74176 h 74175"/>
                    <a:gd name="connsiteX15" fmla="*/ 145385 w 167266"/>
                    <a:gd name="connsiteY15" fmla="*/ 74176 h 741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67266" h="74175">
                      <a:moveTo>
                        <a:pt x="145385" y="74176"/>
                      </a:moveTo>
                      <a:cubicBezTo>
                        <a:pt x="142417" y="74176"/>
                        <a:pt x="139451" y="71209"/>
                        <a:pt x="139451" y="71209"/>
                      </a:cubicBezTo>
                      <a:cubicBezTo>
                        <a:pt x="139451" y="68241"/>
                        <a:pt x="139451" y="65275"/>
                        <a:pt x="142417" y="65275"/>
                      </a:cubicBezTo>
                      <a:cubicBezTo>
                        <a:pt x="151318" y="62307"/>
                        <a:pt x="154286" y="59341"/>
                        <a:pt x="157252" y="53406"/>
                      </a:cubicBezTo>
                      <a:cubicBezTo>
                        <a:pt x="157252" y="47472"/>
                        <a:pt x="154286" y="41538"/>
                        <a:pt x="151318" y="38571"/>
                      </a:cubicBezTo>
                      <a:cubicBezTo>
                        <a:pt x="142417" y="32637"/>
                        <a:pt x="68241" y="38571"/>
                        <a:pt x="5934" y="47472"/>
                      </a:cubicBezTo>
                      <a:cubicBezTo>
                        <a:pt x="2966" y="47472"/>
                        <a:pt x="0" y="44505"/>
                        <a:pt x="0" y="44505"/>
                      </a:cubicBezTo>
                      <a:cubicBezTo>
                        <a:pt x="0" y="41538"/>
                        <a:pt x="0" y="38571"/>
                        <a:pt x="2966" y="38571"/>
                      </a:cubicBezTo>
                      <a:cubicBezTo>
                        <a:pt x="41539" y="26703"/>
                        <a:pt x="100880" y="0"/>
                        <a:pt x="103846" y="0"/>
                      </a:cubicBezTo>
                      <a:cubicBezTo>
                        <a:pt x="106812" y="0"/>
                        <a:pt x="109781" y="0"/>
                        <a:pt x="109781" y="2967"/>
                      </a:cubicBezTo>
                      <a:cubicBezTo>
                        <a:pt x="109781" y="5934"/>
                        <a:pt x="109781" y="8901"/>
                        <a:pt x="106812" y="8901"/>
                      </a:cubicBezTo>
                      <a:cubicBezTo>
                        <a:pt x="103846" y="8901"/>
                        <a:pt x="80110" y="20769"/>
                        <a:pt x="50440" y="32637"/>
                      </a:cubicBezTo>
                      <a:cubicBezTo>
                        <a:pt x="94945" y="29670"/>
                        <a:pt x="148352" y="23736"/>
                        <a:pt x="157252" y="32637"/>
                      </a:cubicBezTo>
                      <a:cubicBezTo>
                        <a:pt x="166153" y="38571"/>
                        <a:pt x="169121" y="47472"/>
                        <a:pt x="166153" y="56373"/>
                      </a:cubicBezTo>
                      <a:cubicBezTo>
                        <a:pt x="166153" y="62307"/>
                        <a:pt x="160221" y="71209"/>
                        <a:pt x="145385" y="74176"/>
                      </a:cubicBezTo>
                      <a:cubicBezTo>
                        <a:pt x="148352" y="74176"/>
                        <a:pt x="145385" y="74176"/>
                        <a:pt x="145385" y="74176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675FA34B-7497-4143-AB57-1B2FA05F4360}"/>
                  </a:ext>
                </a:extLst>
              </p:cNvPr>
              <p:cNvSpPr/>
              <p:nvPr/>
            </p:nvSpPr>
            <p:spPr>
              <a:xfrm>
                <a:off x="18923767" y="8611604"/>
                <a:ext cx="130643" cy="65274"/>
              </a:xfrm>
              <a:custGeom>
                <a:avLst/>
                <a:gdLst>
                  <a:gd name="connsiteX0" fmla="*/ 32637 w 130643"/>
                  <a:gd name="connsiteY0" fmla="*/ 65275 h 65274"/>
                  <a:gd name="connsiteX1" fmla="*/ 26704 w 130643"/>
                  <a:gd name="connsiteY1" fmla="*/ 62307 h 65274"/>
                  <a:gd name="connsiteX2" fmla="*/ 29670 w 130643"/>
                  <a:gd name="connsiteY2" fmla="*/ 56373 h 65274"/>
                  <a:gd name="connsiteX3" fmla="*/ 121648 w 130643"/>
                  <a:gd name="connsiteY3" fmla="*/ 23736 h 65274"/>
                  <a:gd name="connsiteX4" fmla="*/ 118681 w 130643"/>
                  <a:gd name="connsiteY4" fmla="*/ 14835 h 65274"/>
                  <a:gd name="connsiteX5" fmla="*/ 97912 w 130643"/>
                  <a:gd name="connsiteY5" fmla="*/ 11868 h 65274"/>
                  <a:gd name="connsiteX6" fmla="*/ 59341 w 130643"/>
                  <a:gd name="connsiteY6" fmla="*/ 17802 h 65274"/>
                  <a:gd name="connsiteX7" fmla="*/ 5934 w 130643"/>
                  <a:gd name="connsiteY7" fmla="*/ 26703 h 65274"/>
                  <a:gd name="connsiteX8" fmla="*/ 0 w 130643"/>
                  <a:gd name="connsiteY8" fmla="*/ 20769 h 65274"/>
                  <a:gd name="connsiteX9" fmla="*/ 5934 w 130643"/>
                  <a:gd name="connsiteY9" fmla="*/ 14835 h 65274"/>
                  <a:gd name="connsiteX10" fmla="*/ 5934 w 130643"/>
                  <a:gd name="connsiteY10" fmla="*/ 14835 h 65274"/>
                  <a:gd name="connsiteX11" fmla="*/ 56374 w 130643"/>
                  <a:gd name="connsiteY11" fmla="*/ 5934 h 65274"/>
                  <a:gd name="connsiteX12" fmla="*/ 94945 w 130643"/>
                  <a:gd name="connsiteY12" fmla="*/ 0 h 65274"/>
                  <a:gd name="connsiteX13" fmla="*/ 124616 w 130643"/>
                  <a:gd name="connsiteY13" fmla="*/ 5934 h 65274"/>
                  <a:gd name="connsiteX14" fmla="*/ 130550 w 130643"/>
                  <a:gd name="connsiteY14" fmla="*/ 23736 h 65274"/>
                  <a:gd name="connsiteX15" fmla="*/ 32637 w 130643"/>
                  <a:gd name="connsiteY15" fmla="*/ 65275 h 65274"/>
                  <a:gd name="connsiteX16" fmla="*/ 32637 w 130643"/>
                  <a:gd name="connsiteY16" fmla="*/ 65275 h 65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0643" h="65274">
                    <a:moveTo>
                      <a:pt x="32637" y="65275"/>
                    </a:moveTo>
                    <a:cubicBezTo>
                      <a:pt x="29670" y="65275"/>
                      <a:pt x="26704" y="62307"/>
                      <a:pt x="26704" y="62307"/>
                    </a:cubicBezTo>
                    <a:cubicBezTo>
                      <a:pt x="26704" y="59341"/>
                      <a:pt x="26704" y="56373"/>
                      <a:pt x="29670" y="56373"/>
                    </a:cubicBezTo>
                    <a:cubicBezTo>
                      <a:pt x="77142" y="47472"/>
                      <a:pt x="121648" y="32637"/>
                      <a:pt x="121648" y="23736"/>
                    </a:cubicBezTo>
                    <a:cubicBezTo>
                      <a:pt x="121648" y="20769"/>
                      <a:pt x="121648" y="17802"/>
                      <a:pt x="118681" y="14835"/>
                    </a:cubicBezTo>
                    <a:cubicBezTo>
                      <a:pt x="115715" y="11868"/>
                      <a:pt x="109781" y="8901"/>
                      <a:pt x="97912" y="11868"/>
                    </a:cubicBezTo>
                    <a:cubicBezTo>
                      <a:pt x="91977" y="11868"/>
                      <a:pt x="77142" y="14835"/>
                      <a:pt x="59341" y="17802"/>
                    </a:cubicBezTo>
                    <a:cubicBezTo>
                      <a:pt x="38571" y="20769"/>
                      <a:pt x="17801" y="26703"/>
                      <a:pt x="5934" y="26703"/>
                    </a:cubicBezTo>
                    <a:cubicBezTo>
                      <a:pt x="2966" y="26703"/>
                      <a:pt x="0" y="23736"/>
                      <a:pt x="0" y="20769"/>
                    </a:cubicBezTo>
                    <a:cubicBezTo>
                      <a:pt x="0" y="17802"/>
                      <a:pt x="2966" y="14835"/>
                      <a:pt x="5934" y="14835"/>
                    </a:cubicBezTo>
                    <a:cubicBezTo>
                      <a:pt x="5934" y="14835"/>
                      <a:pt x="5934" y="14835"/>
                      <a:pt x="5934" y="14835"/>
                    </a:cubicBezTo>
                    <a:cubicBezTo>
                      <a:pt x="14835" y="14835"/>
                      <a:pt x="35605" y="8901"/>
                      <a:pt x="56374" y="5934"/>
                    </a:cubicBezTo>
                    <a:cubicBezTo>
                      <a:pt x="74176" y="2967"/>
                      <a:pt x="89011" y="0"/>
                      <a:pt x="94945" y="0"/>
                    </a:cubicBezTo>
                    <a:cubicBezTo>
                      <a:pt x="109781" y="0"/>
                      <a:pt x="118681" y="0"/>
                      <a:pt x="124616" y="5934"/>
                    </a:cubicBezTo>
                    <a:cubicBezTo>
                      <a:pt x="127582" y="8901"/>
                      <a:pt x="130550" y="14835"/>
                      <a:pt x="130550" y="23736"/>
                    </a:cubicBezTo>
                    <a:cubicBezTo>
                      <a:pt x="133516" y="41538"/>
                      <a:pt x="65275" y="59341"/>
                      <a:pt x="32637" y="65275"/>
                    </a:cubicBezTo>
                    <a:cubicBezTo>
                      <a:pt x="35605" y="65275"/>
                      <a:pt x="35605" y="65275"/>
                      <a:pt x="32637" y="65275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C5C1C62E-24D5-4FA8-BFDA-4EAE73AB2CF8}"/>
                  </a:ext>
                </a:extLst>
              </p:cNvPr>
              <p:cNvSpPr/>
              <p:nvPr/>
            </p:nvSpPr>
            <p:spPr>
              <a:xfrm>
                <a:off x="18941569" y="8561164"/>
                <a:ext cx="177280" cy="59340"/>
              </a:xfrm>
              <a:custGeom>
                <a:avLst/>
                <a:gdLst>
                  <a:gd name="connsiteX0" fmla="*/ 103846 w 177280"/>
                  <a:gd name="connsiteY0" fmla="*/ 59341 h 59340"/>
                  <a:gd name="connsiteX1" fmla="*/ 97914 w 177280"/>
                  <a:gd name="connsiteY1" fmla="*/ 53407 h 59340"/>
                  <a:gd name="connsiteX2" fmla="*/ 103846 w 177280"/>
                  <a:gd name="connsiteY2" fmla="*/ 47473 h 59340"/>
                  <a:gd name="connsiteX3" fmla="*/ 163187 w 177280"/>
                  <a:gd name="connsiteY3" fmla="*/ 29670 h 59340"/>
                  <a:gd name="connsiteX4" fmla="*/ 163187 w 177280"/>
                  <a:gd name="connsiteY4" fmla="*/ 23736 h 59340"/>
                  <a:gd name="connsiteX5" fmla="*/ 142419 w 177280"/>
                  <a:gd name="connsiteY5" fmla="*/ 11868 h 59340"/>
                  <a:gd name="connsiteX6" fmla="*/ 77144 w 177280"/>
                  <a:gd name="connsiteY6" fmla="*/ 23736 h 59340"/>
                  <a:gd name="connsiteX7" fmla="*/ 65275 w 177280"/>
                  <a:gd name="connsiteY7" fmla="*/ 26704 h 59340"/>
                  <a:gd name="connsiteX8" fmla="*/ 5934 w 177280"/>
                  <a:gd name="connsiteY8" fmla="*/ 32638 h 59340"/>
                  <a:gd name="connsiteX9" fmla="*/ 5934 w 177280"/>
                  <a:gd name="connsiteY9" fmla="*/ 32638 h 59340"/>
                  <a:gd name="connsiteX10" fmla="*/ 0 w 177280"/>
                  <a:gd name="connsiteY10" fmla="*/ 26704 h 59340"/>
                  <a:gd name="connsiteX11" fmla="*/ 5934 w 177280"/>
                  <a:gd name="connsiteY11" fmla="*/ 20770 h 59340"/>
                  <a:gd name="connsiteX12" fmla="*/ 65275 w 177280"/>
                  <a:gd name="connsiteY12" fmla="*/ 14835 h 59340"/>
                  <a:gd name="connsiteX13" fmla="*/ 77144 w 177280"/>
                  <a:gd name="connsiteY13" fmla="*/ 11868 h 59340"/>
                  <a:gd name="connsiteX14" fmla="*/ 145385 w 177280"/>
                  <a:gd name="connsiteY14" fmla="*/ 0 h 59340"/>
                  <a:gd name="connsiteX15" fmla="*/ 175056 w 177280"/>
                  <a:gd name="connsiteY15" fmla="*/ 14835 h 59340"/>
                  <a:gd name="connsiteX16" fmla="*/ 175056 w 177280"/>
                  <a:gd name="connsiteY16" fmla="*/ 29670 h 59340"/>
                  <a:gd name="connsiteX17" fmla="*/ 103846 w 177280"/>
                  <a:gd name="connsiteY17" fmla="*/ 59341 h 59340"/>
                  <a:gd name="connsiteX18" fmla="*/ 103846 w 177280"/>
                  <a:gd name="connsiteY18" fmla="*/ 59341 h 59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77280" h="59340">
                    <a:moveTo>
                      <a:pt x="103846" y="59341"/>
                    </a:moveTo>
                    <a:cubicBezTo>
                      <a:pt x="100880" y="59341"/>
                      <a:pt x="97914" y="56374"/>
                      <a:pt x="97914" y="53407"/>
                    </a:cubicBezTo>
                    <a:cubicBezTo>
                      <a:pt x="97914" y="50440"/>
                      <a:pt x="100880" y="47473"/>
                      <a:pt x="103846" y="47473"/>
                    </a:cubicBezTo>
                    <a:cubicBezTo>
                      <a:pt x="133516" y="44505"/>
                      <a:pt x="160221" y="35605"/>
                      <a:pt x="163187" y="29670"/>
                    </a:cubicBezTo>
                    <a:cubicBezTo>
                      <a:pt x="163187" y="26704"/>
                      <a:pt x="163187" y="26704"/>
                      <a:pt x="163187" y="23736"/>
                    </a:cubicBezTo>
                    <a:cubicBezTo>
                      <a:pt x="160221" y="17802"/>
                      <a:pt x="151320" y="14835"/>
                      <a:pt x="142419" y="11868"/>
                    </a:cubicBezTo>
                    <a:cubicBezTo>
                      <a:pt x="130550" y="11868"/>
                      <a:pt x="94945" y="20770"/>
                      <a:pt x="77144" y="23736"/>
                    </a:cubicBezTo>
                    <a:cubicBezTo>
                      <a:pt x="71210" y="23736"/>
                      <a:pt x="68243" y="26704"/>
                      <a:pt x="65275" y="26704"/>
                    </a:cubicBezTo>
                    <a:cubicBezTo>
                      <a:pt x="56374" y="29670"/>
                      <a:pt x="5934" y="32638"/>
                      <a:pt x="5934" y="32638"/>
                    </a:cubicBezTo>
                    <a:cubicBezTo>
                      <a:pt x="5934" y="32638"/>
                      <a:pt x="5934" y="32638"/>
                      <a:pt x="5934" y="32638"/>
                    </a:cubicBezTo>
                    <a:cubicBezTo>
                      <a:pt x="2968" y="32638"/>
                      <a:pt x="0" y="29670"/>
                      <a:pt x="0" y="26704"/>
                    </a:cubicBezTo>
                    <a:cubicBezTo>
                      <a:pt x="0" y="23736"/>
                      <a:pt x="2968" y="20770"/>
                      <a:pt x="5934" y="20770"/>
                    </a:cubicBezTo>
                    <a:cubicBezTo>
                      <a:pt x="20770" y="20770"/>
                      <a:pt x="59341" y="17802"/>
                      <a:pt x="65275" y="14835"/>
                    </a:cubicBezTo>
                    <a:cubicBezTo>
                      <a:pt x="68243" y="14835"/>
                      <a:pt x="71210" y="14835"/>
                      <a:pt x="77144" y="11868"/>
                    </a:cubicBezTo>
                    <a:cubicBezTo>
                      <a:pt x="103846" y="5934"/>
                      <a:pt x="133516" y="0"/>
                      <a:pt x="145385" y="0"/>
                    </a:cubicBezTo>
                    <a:cubicBezTo>
                      <a:pt x="157254" y="0"/>
                      <a:pt x="172089" y="5934"/>
                      <a:pt x="175056" y="14835"/>
                    </a:cubicBezTo>
                    <a:cubicBezTo>
                      <a:pt x="178022" y="20770"/>
                      <a:pt x="178022" y="23736"/>
                      <a:pt x="175056" y="29670"/>
                    </a:cubicBezTo>
                    <a:cubicBezTo>
                      <a:pt x="166155" y="47473"/>
                      <a:pt x="124616" y="56374"/>
                      <a:pt x="103846" y="59341"/>
                    </a:cubicBezTo>
                    <a:cubicBezTo>
                      <a:pt x="103846" y="59341"/>
                      <a:pt x="103846" y="59341"/>
                      <a:pt x="103846" y="59341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B42EDD9C-3C4F-4F7C-8A49-33F29377FAC9}"/>
                </a:ext>
              </a:extLst>
            </p:cNvPr>
            <p:cNvSpPr/>
            <p:nvPr/>
          </p:nvSpPr>
          <p:spPr>
            <a:xfrm>
              <a:off x="21234947" y="9518726"/>
              <a:ext cx="259223" cy="183358"/>
            </a:xfrm>
            <a:custGeom>
              <a:avLst/>
              <a:gdLst>
                <a:gd name="connsiteX0" fmla="*/ 237503 w 259223"/>
                <a:gd name="connsiteY0" fmla="*/ 30460 h 183358"/>
                <a:gd name="connsiteX1" fmla="*/ 231568 w 259223"/>
                <a:gd name="connsiteY1" fmla="*/ 30460 h 183358"/>
                <a:gd name="connsiteX2" fmla="*/ 207832 w 259223"/>
                <a:gd name="connsiteY2" fmla="*/ 9690 h 183358"/>
                <a:gd name="connsiteX3" fmla="*/ 184095 w 259223"/>
                <a:gd name="connsiteY3" fmla="*/ 789 h 183358"/>
                <a:gd name="connsiteX4" fmla="*/ 68381 w 259223"/>
                <a:gd name="connsiteY4" fmla="*/ 42328 h 183358"/>
                <a:gd name="connsiteX5" fmla="*/ 6073 w 259223"/>
                <a:gd name="connsiteY5" fmla="*/ 104635 h 183358"/>
                <a:gd name="connsiteX6" fmla="*/ 23876 w 259223"/>
                <a:gd name="connsiteY6" fmla="*/ 152107 h 183358"/>
                <a:gd name="connsiteX7" fmla="*/ 71348 w 259223"/>
                <a:gd name="connsiteY7" fmla="*/ 172877 h 183358"/>
                <a:gd name="connsiteX8" fmla="*/ 80248 w 259223"/>
                <a:gd name="connsiteY8" fmla="*/ 158042 h 183358"/>
                <a:gd name="connsiteX9" fmla="*/ 124754 w 259223"/>
                <a:gd name="connsiteY9" fmla="*/ 152107 h 183358"/>
                <a:gd name="connsiteX10" fmla="*/ 151458 w 259223"/>
                <a:gd name="connsiteY10" fmla="*/ 95734 h 183358"/>
                <a:gd name="connsiteX11" fmla="*/ 228600 w 259223"/>
                <a:gd name="connsiteY11" fmla="*/ 89800 h 183358"/>
                <a:gd name="connsiteX12" fmla="*/ 237503 w 259223"/>
                <a:gd name="connsiteY12" fmla="*/ 30460 h 183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9223" h="183358">
                  <a:moveTo>
                    <a:pt x="237503" y="30460"/>
                  </a:moveTo>
                  <a:cubicBezTo>
                    <a:pt x="234534" y="30460"/>
                    <a:pt x="231568" y="30460"/>
                    <a:pt x="231568" y="30460"/>
                  </a:cubicBezTo>
                  <a:cubicBezTo>
                    <a:pt x="228600" y="18591"/>
                    <a:pt x="219699" y="9690"/>
                    <a:pt x="207832" y="9690"/>
                  </a:cubicBezTo>
                  <a:cubicBezTo>
                    <a:pt x="201898" y="3756"/>
                    <a:pt x="195963" y="-2178"/>
                    <a:pt x="184095" y="789"/>
                  </a:cubicBezTo>
                  <a:cubicBezTo>
                    <a:pt x="148492" y="3756"/>
                    <a:pt x="98052" y="21558"/>
                    <a:pt x="68381" y="42328"/>
                  </a:cubicBezTo>
                  <a:cubicBezTo>
                    <a:pt x="38711" y="63096"/>
                    <a:pt x="26842" y="74965"/>
                    <a:pt x="6073" y="104635"/>
                  </a:cubicBezTo>
                  <a:cubicBezTo>
                    <a:pt x="-8763" y="125404"/>
                    <a:pt x="6073" y="149141"/>
                    <a:pt x="23876" y="152107"/>
                  </a:cubicBezTo>
                  <a:cubicBezTo>
                    <a:pt x="23876" y="175844"/>
                    <a:pt x="56512" y="196613"/>
                    <a:pt x="71348" y="172877"/>
                  </a:cubicBezTo>
                  <a:cubicBezTo>
                    <a:pt x="74316" y="166942"/>
                    <a:pt x="77282" y="163976"/>
                    <a:pt x="80248" y="158042"/>
                  </a:cubicBezTo>
                  <a:cubicBezTo>
                    <a:pt x="92117" y="169910"/>
                    <a:pt x="115853" y="169910"/>
                    <a:pt x="124754" y="152107"/>
                  </a:cubicBezTo>
                  <a:cubicBezTo>
                    <a:pt x="133656" y="137272"/>
                    <a:pt x="136623" y="110569"/>
                    <a:pt x="151458" y="95734"/>
                  </a:cubicBezTo>
                  <a:cubicBezTo>
                    <a:pt x="169259" y="80899"/>
                    <a:pt x="207832" y="86833"/>
                    <a:pt x="228600" y="89800"/>
                  </a:cubicBezTo>
                  <a:cubicBezTo>
                    <a:pt x="261239" y="89800"/>
                    <a:pt x="273106" y="36393"/>
                    <a:pt x="237503" y="30460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D10C153D-961E-48CE-8FA7-6E5938E43D48}"/>
                </a:ext>
              </a:extLst>
            </p:cNvPr>
            <p:cNvSpPr/>
            <p:nvPr/>
          </p:nvSpPr>
          <p:spPr>
            <a:xfrm>
              <a:off x="21298558" y="9816219"/>
              <a:ext cx="1019305" cy="1639776"/>
            </a:xfrm>
            <a:custGeom>
              <a:avLst/>
              <a:gdLst>
                <a:gd name="connsiteX0" fmla="*/ 1001692 w 1019305"/>
                <a:gd name="connsiteY0" fmla="*/ 0 h 1639776"/>
                <a:gd name="connsiteX1" fmla="*/ 998726 w 1019305"/>
                <a:gd name="connsiteY1" fmla="*/ 314505 h 1639776"/>
                <a:gd name="connsiteX2" fmla="*/ 387516 w 1019305"/>
                <a:gd name="connsiteY2" fmla="*/ 709121 h 1639776"/>
                <a:gd name="connsiteX3" fmla="*/ 443891 w 1019305"/>
                <a:gd name="connsiteY3" fmla="*/ 1625934 h 1639776"/>
                <a:gd name="connsiteX4" fmla="*/ 254000 w 1019305"/>
                <a:gd name="connsiteY4" fmla="*/ 1631868 h 1639776"/>
                <a:gd name="connsiteX5" fmla="*/ 1802 w 1019305"/>
                <a:gd name="connsiteY5" fmla="*/ 623077 h 1639776"/>
                <a:gd name="connsiteX6" fmla="*/ 767298 w 1019305"/>
                <a:gd name="connsiteY6" fmla="*/ 59341 h 1639776"/>
                <a:gd name="connsiteX7" fmla="*/ 1001692 w 1019305"/>
                <a:gd name="connsiteY7" fmla="*/ 0 h 1639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9305" h="1639776">
                  <a:moveTo>
                    <a:pt x="1001692" y="0"/>
                  </a:moveTo>
                  <a:cubicBezTo>
                    <a:pt x="1001692" y="0"/>
                    <a:pt x="1043232" y="210659"/>
                    <a:pt x="998726" y="314505"/>
                  </a:cubicBezTo>
                  <a:cubicBezTo>
                    <a:pt x="957187" y="418351"/>
                    <a:pt x="414220" y="658681"/>
                    <a:pt x="387516" y="709121"/>
                  </a:cubicBezTo>
                  <a:cubicBezTo>
                    <a:pt x="360814" y="759560"/>
                    <a:pt x="443891" y="1625934"/>
                    <a:pt x="443891" y="1625934"/>
                  </a:cubicBezTo>
                  <a:cubicBezTo>
                    <a:pt x="443891" y="1625934"/>
                    <a:pt x="322243" y="1652637"/>
                    <a:pt x="254000" y="1631868"/>
                  </a:cubicBezTo>
                  <a:cubicBezTo>
                    <a:pt x="254000" y="1631868"/>
                    <a:pt x="-24900" y="753626"/>
                    <a:pt x="1802" y="623077"/>
                  </a:cubicBezTo>
                  <a:cubicBezTo>
                    <a:pt x="28506" y="492527"/>
                    <a:pt x="707957" y="71209"/>
                    <a:pt x="767298" y="59341"/>
                  </a:cubicBezTo>
                  <a:cubicBezTo>
                    <a:pt x="826639" y="47472"/>
                    <a:pt x="1001692" y="0"/>
                    <a:pt x="1001692" y="0"/>
                  </a:cubicBezTo>
                  <a:close/>
                </a:path>
              </a:pathLst>
            </a:custGeom>
            <a:solidFill>
              <a:srgbClr val="F6EBE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2" name="图形 1">
              <a:extLst>
                <a:ext uri="{FF2B5EF4-FFF2-40B4-BE49-F238E27FC236}">
                  <a16:creationId xmlns:a16="http://schemas.microsoft.com/office/drawing/2014/main" id="{BA91D550-0C04-4FEB-A226-3D0A99E0A909}"/>
                </a:ext>
              </a:extLst>
            </p:cNvPr>
            <p:cNvGrpSpPr/>
            <p:nvPr/>
          </p:nvGrpSpPr>
          <p:grpSpPr>
            <a:xfrm>
              <a:off x="19534521" y="9559839"/>
              <a:ext cx="4807502" cy="2905940"/>
              <a:chOff x="19534521" y="9559839"/>
              <a:chExt cx="4807502" cy="2905940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90EB1F56-AA88-4B4B-BEE4-F243DC6F098B}"/>
                  </a:ext>
                </a:extLst>
              </p:cNvPr>
              <p:cNvSpPr/>
              <p:nvPr/>
            </p:nvSpPr>
            <p:spPr>
              <a:xfrm>
                <a:off x="22593987" y="10374021"/>
                <a:ext cx="1709010" cy="89010"/>
              </a:xfrm>
              <a:custGeom>
                <a:avLst/>
                <a:gdLst>
                  <a:gd name="connsiteX0" fmla="*/ 0 w 1709010"/>
                  <a:gd name="connsiteY0" fmla="*/ 89011 h 89010"/>
                  <a:gd name="connsiteX1" fmla="*/ 1664505 w 1709010"/>
                  <a:gd name="connsiteY1" fmla="*/ 89011 h 89010"/>
                  <a:gd name="connsiteX2" fmla="*/ 1709010 w 1709010"/>
                  <a:gd name="connsiteY2" fmla="*/ 44505 h 89010"/>
                  <a:gd name="connsiteX3" fmla="*/ 1709010 w 1709010"/>
                  <a:gd name="connsiteY3" fmla="*/ 44505 h 89010"/>
                  <a:gd name="connsiteX4" fmla="*/ 1664505 w 1709010"/>
                  <a:gd name="connsiteY4" fmla="*/ 0 h 89010"/>
                  <a:gd name="connsiteX5" fmla="*/ 0 w 1709010"/>
                  <a:gd name="connsiteY5" fmla="*/ 0 h 89010"/>
                  <a:gd name="connsiteX6" fmla="*/ 0 w 1709010"/>
                  <a:gd name="connsiteY6" fmla="*/ 89011 h 89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9010" h="89010">
                    <a:moveTo>
                      <a:pt x="0" y="89011"/>
                    </a:moveTo>
                    <a:lnTo>
                      <a:pt x="1664505" y="89011"/>
                    </a:lnTo>
                    <a:cubicBezTo>
                      <a:pt x="1688241" y="89011"/>
                      <a:pt x="1709010" y="68241"/>
                      <a:pt x="1709010" y="44505"/>
                    </a:cubicBezTo>
                    <a:lnTo>
                      <a:pt x="1709010" y="44505"/>
                    </a:lnTo>
                    <a:cubicBezTo>
                      <a:pt x="1709010" y="20770"/>
                      <a:pt x="1688241" y="0"/>
                      <a:pt x="1664505" y="0"/>
                    </a:cubicBezTo>
                    <a:lnTo>
                      <a:pt x="0" y="0"/>
                    </a:lnTo>
                    <a:lnTo>
                      <a:pt x="0" y="89011"/>
                    </a:lnTo>
                    <a:close/>
                  </a:path>
                </a:pathLst>
              </a:custGeom>
              <a:solidFill>
                <a:srgbClr val="6C5D6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425E0189-87DF-4EBF-94EA-6DD25103C6E3}"/>
                  </a:ext>
                </a:extLst>
              </p:cNvPr>
              <p:cNvSpPr/>
              <p:nvPr/>
            </p:nvSpPr>
            <p:spPr>
              <a:xfrm>
                <a:off x="20870140" y="10326548"/>
                <a:ext cx="1780219" cy="1290659"/>
              </a:xfrm>
              <a:custGeom>
                <a:avLst/>
                <a:gdLst>
                  <a:gd name="connsiteX0" fmla="*/ 1186813 w 1780219"/>
                  <a:gd name="connsiteY0" fmla="*/ 1290659 h 1290659"/>
                  <a:gd name="connsiteX1" fmla="*/ 0 w 1780219"/>
                  <a:gd name="connsiteY1" fmla="*/ 261099 h 1290659"/>
                  <a:gd name="connsiteX2" fmla="*/ 20770 w 1780219"/>
                  <a:gd name="connsiteY2" fmla="*/ 234395 h 1290659"/>
                  <a:gd name="connsiteX3" fmla="*/ 1174946 w 1780219"/>
                  <a:gd name="connsiteY3" fmla="*/ 1234286 h 1290659"/>
                  <a:gd name="connsiteX4" fmla="*/ 1750550 w 1780219"/>
                  <a:gd name="connsiteY4" fmla="*/ 0 h 1290659"/>
                  <a:gd name="connsiteX5" fmla="*/ 1780220 w 1780219"/>
                  <a:gd name="connsiteY5" fmla="*/ 14835 h 1290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80219" h="1290659">
                    <a:moveTo>
                      <a:pt x="1186813" y="1290659"/>
                    </a:moveTo>
                    <a:lnTo>
                      <a:pt x="0" y="261099"/>
                    </a:lnTo>
                    <a:lnTo>
                      <a:pt x="20770" y="234395"/>
                    </a:lnTo>
                    <a:lnTo>
                      <a:pt x="1174946" y="1234286"/>
                    </a:lnTo>
                    <a:lnTo>
                      <a:pt x="1750550" y="0"/>
                    </a:lnTo>
                    <a:lnTo>
                      <a:pt x="1780220" y="14835"/>
                    </a:lnTo>
                    <a:close/>
                  </a:path>
                </a:pathLst>
              </a:custGeom>
              <a:solidFill>
                <a:srgbClr val="7F95BC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966D202E-D7E5-4517-B239-2A7BD8A44CF4}"/>
                  </a:ext>
                </a:extLst>
              </p:cNvPr>
              <p:cNvSpPr/>
              <p:nvPr/>
            </p:nvSpPr>
            <p:spPr>
              <a:xfrm>
                <a:off x="20896844" y="10510505"/>
                <a:ext cx="1323296" cy="744725"/>
              </a:xfrm>
              <a:custGeom>
                <a:avLst/>
                <a:gdLst>
                  <a:gd name="connsiteX0" fmla="*/ 1308461 w 1323296"/>
                  <a:gd name="connsiteY0" fmla="*/ 744725 h 744725"/>
                  <a:gd name="connsiteX1" fmla="*/ 0 w 1323296"/>
                  <a:gd name="connsiteY1" fmla="*/ 29670 h 744725"/>
                  <a:gd name="connsiteX2" fmla="*/ 17801 w 1323296"/>
                  <a:gd name="connsiteY2" fmla="*/ 0 h 744725"/>
                  <a:gd name="connsiteX3" fmla="*/ 1323296 w 1323296"/>
                  <a:gd name="connsiteY3" fmla="*/ 715055 h 74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23296" h="744725">
                    <a:moveTo>
                      <a:pt x="1308461" y="744725"/>
                    </a:moveTo>
                    <a:lnTo>
                      <a:pt x="0" y="29670"/>
                    </a:lnTo>
                    <a:lnTo>
                      <a:pt x="17801" y="0"/>
                    </a:lnTo>
                    <a:lnTo>
                      <a:pt x="1323296" y="715055"/>
                    </a:lnTo>
                    <a:close/>
                  </a:path>
                </a:pathLst>
              </a:custGeom>
              <a:solidFill>
                <a:srgbClr val="7F95BC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F660F54E-31C3-48DB-AF07-370B5B69DCBE}"/>
                  </a:ext>
                </a:extLst>
              </p:cNvPr>
              <p:cNvSpPr/>
              <p:nvPr/>
            </p:nvSpPr>
            <p:spPr>
              <a:xfrm rot="-10800000">
                <a:off x="21673613" y="11709008"/>
                <a:ext cx="281868" cy="56373"/>
              </a:xfrm>
              <a:custGeom>
                <a:avLst/>
                <a:gdLst>
                  <a:gd name="connsiteX0" fmla="*/ -1 w 281868"/>
                  <a:gd name="connsiteY0" fmla="*/ 0 h 56373"/>
                  <a:gd name="connsiteX1" fmla="*/ 281868 w 281868"/>
                  <a:gd name="connsiteY1" fmla="*/ 0 h 56373"/>
                  <a:gd name="connsiteX2" fmla="*/ 281868 w 281868"/>
                  <a:gd name="connsiteY2" fmla="*/ 56373 h 56373"/>
                  <a:gd name="connsiteX3" fmla="*/ -1 w 281868"/>
                  <a:gd name="connsiteY3" fmla="*/ 56373 h 56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868" h="56373">
                    <a:moveTo>
                      <a:pt x="-1" y="0"/>
                    </a:moveTo>
                    <a:lnTo>
                      <a:pt x="281868" y="0"/>
                    </a:lnTo>
                    <a:lnTo>
                      <a:pt x="281868" y="56373"/>
                    </a:lnTo>
                    <a:lnTo>
                      <a:pt x="-1" y="56373"/>
                    </a:lnTo>
                    <a:close/>
                  </a:path>
                </a:pathLst>
              </a:custGeom>
              <a:solidFill>
                <a:srgbClr val="6C5D6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5C55F341-15C5-4C7E-BCF0-D4C47E3731EC}"/>
                  </a:ext>
                </a:extLst>
              </p:cNvPr>
              <p:cNvSpPr/>
              <p:nvPr/>
            </p:nvSpPr>
            <p:spPr>
              <a:xfrm rot="-3163260">
                <a:off x="22760148" y="10705615"/>
                <a:ext cx="32637" cy="1026599"/>
              </a:xfrm>
              <a:custGeom>
                <a:avLst/>
                <a:gdLst>
                  <a:gd name="connsiteX0" fmla="*/ 0 w 32637"/>
                  <a:gd name="connsiteY0" fmla="*/ 0 h 1026599"/>
                  <a:gd name="connsiteX1" fmla="*/ 32636 w 32637"/>
                  <a:gd name="connsiteY1" fmla="*/ 0 h 1026599"/>
                  <a:gd name="connsiteX2" fmla="*/ 32636 w 32637"/>
                  <a:gd name="connsiteY2" fmla="*/ 1026600 h 1026599"/>
                  <a:gd name="connsiteX3" fmla="*/ 0 w 32637"/>
                  <a:gd name="connsiteY3" fmla="*/ 1026600 h 1026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637" h="1026599">
                    <a:moveTo>
                      <a:pt x="0" y="0"/>
                    </a:moveTo>
                    <a:lnTo>
                      <a:pt x="32636" y="0"/>
                    </a:lnTo>
                    <a:lnTo>
                      <a:pt x="32636" y="1026600"/>
                    </a:lnTo>
                    <a:lnTo>
                      <a:pt x="0" y="1026600"/>
                    </a:lnTo>
                    <a:close/>
                  </a:path>
                </a:pathLst>
              </a:custGeom>
              <a:solidFill>
                <a:srgbClr val="7F95BC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35" name="图形 1">
                <a:extLst>
                  <a:ext uri="{FF2B5EF4-FFF2-40B4-BE49-F238E27FC236}">
                    <a16:creationId xmlns:a16="http://schemas.microsoft.com/office/drawing/2014/main" id="{4DE3D331-E0F3-47AA-BE12-A3C86F957468}"/>
                  </a:ext>
                </a:extLst>
              </p:cNvPr>
              <p:cNvGrpSpPr/>
              <p:nvPr/>
            </p:nvGrpSpPr>
            <p:grpSpPr>
              <a:xfrm>
                <a:off x="22430346" y="10626219"/>
                <a:ext cx="1911677" cy="1839560"/>
                <a:chOff x="22430346" y="10626219"/>
                <a:chExt cx="1911677" cy="1839560"/>
              </a:xfrm>
            </p:grpSpPr>
            <p:sp>
              <p:nvSpPr>
                <p:cNvPr id="155" name="任意多边形: 形状 154">
                  <a:extLst>
                    <a:ext uri="{FF2B5EF4-FFF2-40B4-BE49-F238E27FC236}">
                      <a16:creationId xmlns:a16="http://schemas.microsoft.com/office/drawing/2014/main" id="{F72BFA87-33D3-44B0-90CC-C45A5ED33E34}"/>
                    </a:ext>
                  </a:extLst>
                </p:cNvPr>
                <p:cNvSpPr/>
                <p:nvPr/>
              </p:nvSpPr>
              <p:spPr>
                <a:xfrm>
                  <a:off x="23359481" y="10801274"/>
                  <a:ext cx="32637" cy="801098"/>
                </a:xfrm>
                <a:custGeom>
                  <a:avLst/>
                  <a:gdLst>
                    <a:gd name="connsiteX0" fmla="*/ 0 w 32637"/>
                    <a:gd name="connsiteY0" fmla="*/ 0 h 801098"/>
                    <a:gd name="connsiteX1" fmla="*/ 32637 w 32637"/>
                    <a:gd name="connsiteY1" fmla="*/ 0 h 801098"/>
                    <a:gd name="connsiteX2" fmla="*/ 32637 w 32637"/>
                    <a:gd name="connsiteY2" fmla="*/ 801099 h 801098"/>
                    <a:gd name="connsiteX3" fmla="*/ 0 w 32637"/>
                    <a:gd name="connsiteY3" fmla="*/ 801099 h 801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637" h="801098">
                      <a:moveTo>
                        <a:pt x="0" y="0"/>
                      </a:moveTo>
                      <a:lnTo>
                        <a:pt x="32637" y="0"/>
                      </a:lnTo>
                      <a:lnTo>
                        <a:pt x="32637" y="801099"/>
                      </a:lnTo>
                      <a:lnTo>
                        <a:pt x="0" y="801099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6" name="任意多边形: 形状 155">
                  <a:extLst>
                    <a:ext uri="{FF2B5EF4-FFF2-40B4-BE49-F238E27FC236}">
                      <a16:creationId xmlns:a16="http://schemas.microsoft.com/office/drawing/2014/main" id="{B2C4EDA1-BDE3-44FF-A40B-6B3A66A3E6A6}"/>
                    </a:ext>
                  </a:extLst>
                </p:cNvPr>
                <p:cNvSpPr/>
                <p:nvPr/>
              </p:nvSpPr>
              <p:spPr>
                <a:xfrm rot="-2700000">
                  <a:off x="23257970" y="11303139"/>
                  <a:ext cx="801091" cy="32637"/>
                </a:xfrm>
                <a:custGeom>
                  <a:avLst/>
                  <a:gdLst>
                    <a:gd name="connsiteX0" fmla="*/ -1 w 801091"/>
                    <a:gd name="connsiteY0" fmla="*/ 0 h 32637"/>
                    <a:gd name="connsiteX1" fmla="*/ 801091 w 801091"/>
                    <a:gd name="connsiteY1" fmla="*/ 0 h 32637"/>
                    <a:gd name="connsiteX2" fmla="*/ 801091 w 801091"/>
                    <a:gd name="connsiteY2" fmla="*/ 32637 h 32637"/>
                    <a:gd name="connsiteX3" fmla="*/ -1 w 801091"/>
                    <a:gd name="connsiteY3" fmla="*/ 32637 h 326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1091" h="32637">
                      <a:moveTo>
                        <a:pt x="-1" y="0"/>
                      </a:moveTo>
                      <a:lnTo>
                        <a:pt x="801091" y="0"/>
                      </a:lnTo>
                      <a:lnTo>
                        <a:pt x="801091" y="32637"/>
                      </a:lnTo>
                      <a:lnTo>
                        <a:pt x="-1" y="32637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7" name="任意多边形: 形状 156">
                  <a:extLst>
                    <a:ext uri="{FF2B5EF4-FFF2-40B4-BE49-F238E27FC236}">
                      <a16:creationId xmlns:a16="http://schemas.microsoft.com/office/drawing/2014/main" id="{8EFE0F51-6843-4AAE-96CF-392CB99D74C9}"/>
                    </a:ext>
                  </a:extLst>
                </p:cNvPr>
                <p:cNvSpPr/>
                <p:nvPr/>
              </p:nvSpPr>
              <p:spPr>
                <a:xfrm>
                  <a:off x="23377284" y="11584570"/>
                  <a:ext cx="801098" cy="32637"/>
                </a:xfrm>
                <a:custGeom>
                  <a:avLst/>
                  <a:gdLst>
                    <a:gd name="connsiteX0" fmla="*/ -1 w 801098"/>
                    <a:gd name="connsiteY0" fmla="*/ 0 h 32637"/>
                    <a:gd name="connsiteX1" fmla="*/ 801098 w 801098"/>
                    <a:gd name="connsiteY1" fmla="*/ 0 h 32637"/>
                    <a:gd name="connsiteX2" fmla="*/ 801098 w 801098"/>
                    <a:gd name="connsiteY2" fmla="*/ 32637 h 32637"/>
                    <a:gd name="connsiteX3" fmla="*/ -1 w 801098"/>
                    <a:gd name="connsiteY3" fmla="*/ 32637 h 326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1098" h="32637">
                      <a:moveTo>
                        <a:pt x="-1" y="0"/>
                      </a:moveTo>
                      <a:lnTo>
                        <a:pt x="801098" y="0"/>
                      </a:lnTo>
                      <a:lnTo>
                        <a:pt x="801098" y="32637"/>
                      </a:lnTo>
                      <a:lnTo>
                        <a:pt x="-1" y="32637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8" name="任意多边形: 形状 157">
                  <a:extLst>
                    <a:ext uri="{FF2B5EF4-FFF2-40B4-BE49-F238E27FC236}">
                      <a16:creationId xmlns:a16="http://schemas.microsoft.com/office/drawing/2014/main" id="{FD15B64C-626C-4334-BA96-84763E289360}"/>
                    </a:ext>
                  </a:extLst>
                </p:cNvPr>
                <p:cNvSpPr/>
                <p:nvPr/>
              </p:nvSpPr>
              <p:spPr>
                <a:xfrm rot="-2700243">
                  <a:off x="23643826" y="11486815"/>
                  <a:ext cx="32639" cy="801147"/>
                </a:xfrm>
                <a:custGeom>
                  <a:avLst/>
                  <a:gdLst>
                    <a:gd name="connsiteX0" fmla="*/ 0 w 32639"/>
                    <a:gd name="connsiteY0" fmla="*/ 0 h 801147"/>
                    <a:gd name="connsiteX1" fmla="*/ 32639 w 32639"/>
                    <a:gd name="connsiteY1" fmla="*/ 0 h 801147"/>
                    <a:gd name="connsiteX2" fmla="*/ 32639 w 32639"/>
                    <a:gd name="connsiteY2" fmla="*/ 801148 h 801147"/>
                    <a:gd name="connsiteX3" fmla="*/ 0 w 32639"/>
                    <a:gd name="connsiteY3" fmla="*/ 801148 h 8011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639" h="801147">
                      <a:moveTo>
                        <a:pt x="0" y="0"/>
                      </a:moveTo>
                      <a:lnTo>
                        <a:pt x="32639" y="0"/>
                      </a:lnTo>
                      <a:lnTo>
                        <a:pt x="32639" y="801148"/>
                      </a:lnTo>
                      <a:lnTo>
                        <a:pt x="0" y="801148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6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9" name="任意多边形: 形状 158">
                  <a:extLst>
                    <a:ext uri="{FF2B5EF4-FFF2-40B4-BE49-F238E27FC236}">
                      <a16:creationId xmlns:a16="http://schemas.microsoft.com/office/drawing/2014/main" id="{EA2B944A-7A7B-48A9-A7C3-7A251D9F0C3A}"/>
                    </a:ext>
                  </a:extLst>
                </p:cNvPr>
                <p:cNvSpPr/>
                <p:nvPr/>
              </p:nvSpPr>
              <p:spPr>
                <a:xfrm>
                  <a:off x="23359481" y="11602373"/>
                  <a:ext cx="32637" cy="801098"/>
                </a:xfrm>
                <a:custGeom>
                  <a:avLst/>
                  <a:gdLst>
                    <a:gd name="connsiteX0" fmla="*/ 0 w 32637"/>
                    <a:gd name="connsiteY0" fmla="*/ 0 h 801098"/>
                    <a:gd name="connsiteX1" fmla="*/ 32637 w 32637"/>
                    <a:gd name="connsiteY1" fmla="*/ 0 h 801098"/>
                    <a:gd name="connsiteX2" fmla="*/ 32637 w 32637"/>
                    <a:gd name="connsiteY2" fmla="*/ 801099 h 801098"/>
                    <a:gd name="connsiteX3" fmla="*/ 0 w 32637"/>
                    <a:gd name="connsiteY3" fmla="*/ 801099 h 801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637" h="801098">
                      <a:moveTo>
                        <a:pt x="0" y="0"/>
                      </a:moveTo>
                      <a:lnTo>
                        <a:pt x="32637" y="0"/>
                      </a:lnTo>
                      <a:lnTo>
                        <a:pt x="32637" y="801099"/>
                      </a:lnTo>
                      <a:lnTo>
                        <a:pt x="0" y="801099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0" name="任意多边形: 形状 159">
                  <a:extLst>
                    <a:ext uri="{FF2B5EF4-FFF2-40B4-BE49-F238E27FC236}">
                      <a16:creationId xmlns:a16="http://schemas.microsoft.com/office/drawing/2014/main" id="{44120E8C-0525-46A3-BEAA-FA1A4F0F3A74}"/>
                    </a:ext>
                  </a:extLst>
                </p:cNvPr>
                <p:cNvSpPr/>
                <p:nvPr/>
              </p:nvSpPr>
              <p:spPr>
                <a:xfrm rot="-2700000">
                  <a:off x="22691085" y="11868722"/>
                  <a:ext cx="801091" cy="32637"/>
                </a:xfrm>
                <a:custGeom>
                  <a:avLst/>
                  <a:gdLst>
                    <a:gd name="connsiteX0" fmla="*/ 0 w 801091"/>
                    <a:gd name="connsiteY0" fmla="*/ 0 h 32637"/>
                    <a:gd name="connsiteX1" fmla="*/ 801091 w 801091"/>
                    <a:gd name="connsiteY1" fmla="*/ 0 h 32637"/>
                    <a:gd name="connsiteX2" fmla="*/ 801091 w 801091"/>
                    <a:gd name="connsiteY2" fmla="*/ 32637 h 32637"/>
                    <a:gd name="connsiteX3" fmla="*/ 0 w 801091"/>
                    <a:gd name="connsiteY3" fmla="*/ 32637 h 326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1091" h="32637">
                      <a:moveTo>
                        <a:pt x="0" y="0"/>
                      </a:moveTo>
                      <a:lnTo>
                        <a:pt x="801091" y="0"/>
                      </a:lnTo>
                      <a:lnTo>
                        <a:pt x="801091" y="32637"/>
                      </a:lnTo>
                      <a:lnTo>
                        <a:pt x="0" y="32637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1" name="任意多边形: 形状 160">
                  <a:extLst>
                    <a:ext uri="{FF2B5EF4-FFF2-40B4-BE49-F238E27FC236}">
                      <a16:creationId xmlns:a16="http://schemas.microsoft.com/office/drawing/2014/main" id="{3A4228BD-E0B2-476E-A851-33BF524BAE96}"/>
                    </a:ext>
                  </a:extLst>
                </p:cNvPr>
                <p:cNvSpPr/>
                <p:nvPr/>
              </p:nvSpPr>
              <p:spPr>
                <a:xfrm>
                  <a:off x="22576185" y="11584570"/>
                  <a:ext cx="801098" cy="32637"/>
                </a:xfrm>
                <a:custGeom>
                  <a:avLst/>
                  <a:gdLst>
                    <a:gd name="connsiteX0" fmla="*/ -1 w 801098"/>
                    <a:gd name="connsiteY0" fmla="*/ 0 h 32637"/>
                    <a:gd name="connsiteX1" fmla="*/ 801098 w 801098"/>
                    <a:gd name="connsiteY1" fmla="*/ 0 h 32637"/>
                    <a:gd name="connsiteX2" fmla="*/ 801098 w 801098"/>
                    <a:gd name="connsiteY2" fmla="*/ 32637 h 32637"/>
                    <a:gd name="connsiteX3" fmla="*/ -1 w 801098"/>
                    <a:gd name="connsiteY3" fmla="*/ 32637 h 326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1098" h="32637">
                      <a:moveTo>
                        <a:pt x="-1" y="0"/>
                      </a:moveTo>
                      <a:lnTo>
                        <a:pt x="801098" y="0"/>
                      </a:lnTo>
                      <a:lnTo>
                        <a:pt x="801098" y="32637"/>
                      </a:lnTo>
                      <a:lnTo>
                        <a:pt x="-1" y="32637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2" name="任意多边形: 形状 161">
                  <a:extLst>
                    <a:ext uri="{FF2B5EF4-FFF2-40B4-BE49-F238E27FC236}">
                      <a16:creationId xmlns:a16="http://schemas.microsoft.com/office/drawing/2014/main" id="{29E4C339-6E89-4EDF-87A1-4C888DA0C650}"/>
                    </a:ext>
                  </a:extLst>
                </p:cNvPr>
                <p:cNvSpPr/>
                <p:nvPr/>
              </p:nvSpPr>
              <p:spPr>
                <a:xfrm rot="-2700000">
                  <a:off x="23075538" y="10921117"/>
                  <a:ext cx="32637" cy="801091"/>
                </a:xfrm>
                <a:custGeom>
                  <a:avLst/>
                  <a:gdLst>
                    <a:gd name="connsiteX0" fmla="*/ 1 w 32637"/>
                    <a:gd name="connsiteY0" fmla="*/ 0 h 801091"/>
                    <a:gd name="connsiteX1" fmla="*/ 32637 w 32637"/>
                    <a:gd name="connsiteY1" fmla="*/ 0 h 801091"/>
                    <a:gd name="connsiteX2" fmla="*/ 32637 w 32637"/>
                    <a:gd name="connsiteY2" fmla="*/ 801091 h 801091"/>
                    <a:gd name="connsiteX3" fmla="*/ 1 w 32637"/>
                    <a:gd name="connsiteY3" fmla="*/ 801091 h 801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637" h="801091">
                      <a:moveTo>
                        <a:pt x="1" y="0"/>
                      </a:moveTo>
                      <a:lnTo>
                        <a:pt x="32637" y="0"/>
                      </a:lnTo>
                      <a:lnTo>
                        <a:pt x="32637" y="801091"/>
                      </a:lnTo>
                      <a:lnTo>
                        <a:pt x="1" y="801091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3" name="任意多边形: 形状 162">
                  <a:extLst>
                    <a:ext uri="{FF2B5EF4-FFF2-40B4-BE49-F238E27FC236}">
                      <a16:creationId xmlns:a16="http://schemas.microsoft.com/office/drawing/2014/main" id="{2F19FC8E-4BFD-4A24-8F8C-09BCC081314C}"/>
                    </a:ext>
                  </a:extLst>
                </p:cNvPr>
                <p:cNvSpPr/>
                <p:nvPr/>
              </p:nvSpPr>
              <p:spPr>
                <a:xfrm>
                  <a:off x="22522778" y="10756768"/>
                  <a:ext cx="1709012" cy="1709011"/>
                </a:xfrm>
                <a:custGeom>
                  <a:avLst/>
                  <a:gdLst>
                    <a:gd name="connsiteX0" fmla="*/ 0 w 1709012"/>
                    <a:gd name="connsiteY0" fmla="*/ 854506 h 1709011"/>
                    <a:gd name="connsiteX1" fmla="*/ 854505 w 1709012"/>
                    <a:gd name="connsiteY1" fmla="*/ 1709011 h 1709011"/>
                    <a:gd name="connsiteX2" fmla="*/ 1709012 w 1709012"/>
                    <a:gd name="connsiteY2" fmla="*/ 854506 h 1709011"/>
                    <a:gd name="connsiteX3" fmla="*/ 854505 w 1709012"/>
                    <a:gd name="connsiteY3" fmla="*/ 0 h 1709011"/>
                    <a:gd name="connsiteX4" fmla="*/ 0 w 1709012"/>
                    <a:gd name="connsiteY4" fmla="*/ 854506 h 1709011"/>
                    <a:gd name="connsiteX5" fmla="*/ 71210 w 1709012"/>
                    <a:gd name="connsiteY5" fmla="*/ 854506 h 1709011"/>
                    <a:gd name="connsiteX6" fmla="*/ 854505 w 1709012"/>
                    <a:gd name="connsiteY6" fmla="*/ 71209 h 1709011"/>
                    <a:gd name="connsiteX7" fmla="*/ 1637803 w 1709012"/>
                    <a:gd name="connsiteY7" fmla="*/ 854506 h 1709011"/>
                    <a:gd name="connsiteX8" fmla="*/ 854505 w 1709012"/>
                    <a:gd name="connsiteY8" fmla="*/ 1637803 h 1709011"/>
                    <a:gd name="connsiteX9" fmla="*/ 71210 w 1709012"/>
                    <a:gd name="connsiteY9" fmla="*/ 854506 h 17090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709012" h="1709011">
                      <a:moveTo>
                        <a:pt x="0" y="854506"/>
                      </a:moveTo>
                      <a:cubicBezTo>
                        <a:pt x="0" y="1326264"/>
                        <a:pt x="382748" y="1709011"/>
                        <a:pt x="854505" y="1709011"/>
                      </a:cubicBezTo>
                      <a:cubicBezTo>
                        <a:pt x="1326264" y="1709011"/>
                        <a:pt x="1709012" y="1326264"/>
                        <a:pt x="1709012" y="854506"/>
                      </a:cubicBezTo>
                      <a:cubicBezTo>
                        <a:pt x="1709012" y="382747"/>
                        <a:pt x="1326264" y="0"/>
                        <a:pt x="854505" y="0"/>
                      </a:cubicBezTo>
                      <a:cubicBezTo>
                        <a:pt x="382748" y="0"/>
                        <a:pt x="0" y="382747"/>
                        <a:pt x="0" y="854506"/>
                      </a:cubicBezTo>
                      <a:close/>
                      <a:moveTo>
                        <a:pt x="71210" y="854506"/>
                      </a:moveTo>
                      <a:cubicBezTo>
                        <a:pt x="71210" y="421319"/>
                        <a:pt x="421319" y="71209"/>
                        <a:pt x="854505" y="71209"/>
                      </a:cubicBezTo>
                      <a:cubicBezTo>
                        <a:pt x="1287693" y="71209"/>
                        <a:pt x="1637803" y="421319"/>
                        <a:pt x="1637803" y="854506"/>
                      </a:cubicBezTo>
                      <a:cubicBezTo>
                        <a:pt x="1637803" y="1287692"/>
                        <a:pt x="1287693" y="1637803"/>
                        <a:pt x="854505" y="1637803"/>
                      </a:cubicBezTo>
                      <a:cubicBezTo>
                        <a:pt x="421319" y="1637803"/>
                        <a:pt x="71210" y="1287692"/>
                        <a:pt x="71210" y="854506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4" name="任意多边形: 形状 163">
                  <a:extLst>
                    <a:ext uri="{FF2B5EF4-FFF2-40B4-BE49-F238E27FC236}">
                      <a16:creationId xmlns:a16="http://schemas.microsoft.com/office/drawing/2014/main" id="{4C57AE07-E96F-4AB7-9B4E-C64ABB0C67F9}"/>
                    </a:ext>
                  </a:extLst>
                </p:cNvPr>
                <p:cNvSpPr/>
                <p:nvPr/>
              </p:nvSpPr>
              <p:spPr>
                <a:xfrm>
                  <a:off x="22430346" y="10626219"/>
                  <a:ext cx="1911677" cy="795164"/>
                </a:xfrm>
                <a:custGeom>
                  <a:avLst/>
                  <a:gdLst>
                    <a:gd name="connsiteX0" fmla="*/ 30125 w 1911677"/>
                    <a:gd name="connsiteY0" fmla="*/ 795165 h 795164"/>
                    <a:gd name="connsiteX1" fmla="*/ 62762 w 1911677"/>
                    <a:gd name="connsiteY1" fmla="*/ 768461 h 795164"/>
                    <a:gd name="connsiteX2" fmla="*/ 952872 w 1911677"/>
                    <a:gd name="connsiteY2" fmla="*/ 68241 h 795164"/>
                    <a:gd name="connsiteX3" fmla="*/ 1842982 w 1911677"/>
                    <a:gd name="connsiteY3" fmla="*/ 756593 h 795164"/>
                    <a:gd name="connsiteX4" fmla="*/ 1884521 w 1911677"/>
                    <a:gd name="connsiteY4" fmla="*/ 783297 h 795164"/>
                    <a:gd name="connsiteX5" fmla="*/ 1911223 w 1911677"/>
                    <a:gd name="connsiteY5" fmla="*/ 741758 h 795164"/>
                    <a:gd name="connsiteX6" fmla="*/ 955840 w 1911677"/>
                    <a:gd name="connsiteY6" fmla="*/ 0 h 795164"/>
                    <a:gd name="connsiteX7" fmla="*/ 455 w 1911677"/>
                    <a:gd name="connsiteY7" fmla="*/ 753626 h 795164"/>
                    <a:gd name="connsiteX8" fmla="*/ 27157 w 1911677"/>
                    <a:gd name="connsiteY8" fmla="*/ 795165 h 795164"/>
                    <a:gd name="connsiteX9" fmla="*/ 30125 w 1911677"/>
                    <a:gd name="connsiteY9" fmla="*/ 795165 h 795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11677" h="795164">
                      <a:moveTo>
                        <a:pt x="30125" y="795165"/>
                      </a:moveTo>
                      <a:cubicBezTo>
                        <a:pt x="44960" y="795165"/>
                        <a:pt x="59795" y="783297"/>
                        <a:pt x="62762" y="768461"/>
                      </a:cubicBezTo>
                      <a:cubicBezTo>
                        <a:pt x="151773" y="361978"/>
                        <a:pt x="525620" y="68241"/>
                        <a:pt x="952872" y="68241"/>
                      </a:cubicBezTo>
                      <a:cubicBezTo>
                        <a:pt x="1374191" y="68241"/>
                        <a:pt x="1748036" y="359011"/>
                        <a:pt x="1842982" y="756593"/>
                      </a:cubicBezTo>
                      <a:cubicBezTo>
                        <a:pt x="1845950" y="774396"/>
                        <a:pt x="1866717" y="786264"/>
                        <a:pt x="1884521" y="783297"/>
                      </a:cubicBezTo>
                      <a:cubicBezTo>
                        <a:pt x="1902322" y="780329"/>
                        <a:pt x="1914191" y="759561"/>
                        <a:pt x="1911223" y="741758"/>
                      </a:cubicBezTo>
                      <a:cubicBezTo>
                        <a:pt x="1810345" y="311538"/>
                        <a:pt x="1409795" y="0"/>
                        <a:pt x="955840" y="0"/>
                      </a:cubicBezTo>
                      <a:cubicBezTo>
                        <a:pt x="495950" y="0"/>
                        <a:pt x="95400" y="317473"/>
                        <a:pt x="455" y="753626"/>
                      </a:cubicBezTo>
                      <a:cubicBezTo>
                        <a:pt x="-2513" y="771429"/>
                        <a:pt x="9355" y="789231"/>
                        <a:pt x="27157" y="795165"/>
                      </a:cubicBezTo>
                      <a:cubicBezTo>
                        <a:pt x="24191" y="795165"/>
                        <a:pt x="27157" y="795165"/>
                        <a:pt x="30125" y="795165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36" name="图形 1">
                <a:extLst>
                  <a:ext uri="{FF2B5EF4-FFF2-40B4-BE49-F238E27FC236}">
                    <a16:creationId xmlns:a16="http://schemas.microsoft.com/office/drawing/2014/main" id="{BDF934DB-BA7E-4AE1-AFF3-56C44CEE880F}"/>
                  </a:ext>
                </a:extLst>
              </p:cNvPr>
              <p:cNvGrpSpPr/>
              <p:nvPr/>
            </p:nvGrpSpPr>
            <p:grpSpPr>
              <a:xfrm>
                <a:off x="19534521" y="10626219"/>
                <a:ext cx="1911678" cy="1839560"/>
                <a:chOff x="19534521" y="10626219"/>
                <a:chExt cx="1911678" cy="1839560"/>
              </a:xfrm>
            </p:grpSpPr>
            <p:sp>
              <p:nvSpPr>
                <p:cNvPr id="145" name="任意多边形: 形状 144">
                  <a:extLst>
                    <a:ext uri="{FF2B5EF4-FFF2-40B4-BE49-F238E27FC236}">
                      <a16:creationId xmlns:a16="http://schemas.microsoft.com/office/drawing/2014/main" id="{3FBD515F-B9E7-4DE1-BD5B-9503F37BCA22}"/>
                    </a:ext>
                  </a:extLst>
                </p:cNvPr>
                <p:cNvSpPr/>
                <p:nvPr/>
              </p:nvSpPr>
              <p:spPr>
                <a:xfrm>
                  <a:off x="20463657" y="10801274"/>
                  <a:ext cx="32637" cy="801098"/>
                </a:xfrm>
                <a:custGeom>
                  <a:avLst/>
                  <a:gdLst>
                    <a:gd name="connsiteX0" fmla="*/ 1 w 32637"/>
                    <a:gd name="connsiteY0" fmla="*/ 0 h 801098"/>
                    <a:gd name="connsiteX1" fmla="*/ 32637 w 32637"/>
                    <a:gd name="connsiteY1" fmla="*/ 0 h 801098"/>
                    <a:gd name="connsiteX2" fmla="*/ 32637 w 32637"/>
                    <a:gd name="connsiteY2" fmla="*/ 801099 h 801098"/>
                    <a:gd name="connsiteX3" fmla="*/ 1 w 32637"/>
                    <a:gd name="connsiteY3" fmla="*/ 801099 h 801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637" h="801098">
                      <a:moveTo>
                        <a:pt x="1" y="0"/>
                      </a:moveTo>
                      <a:lnTo>
                        <a:pt x="32637" y="0"/>
                      </a:lnTo>
                      <a:lnTo>
                        <a:pt x="32637" y="801099"/>
                      </a:lnTo>
                      <a:lnTo>
                        <a:pt x="1" y="801099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6" name="任意多边形: 形状 145">
                  <a:extLst>
                    <a:ext uri="{FF2B5EF4-FFF2-40B4-BE49-F238E27FC236}">
                      <a16:creationId xmlns:a16="http://schemas.microsoft.com/office/drawing/2014/main" id="{DE809F8B-7128-4D25-BA31-EC1687FE0F0B}"/>
                    </a:ext>
                  </a:extLst>
                </p:cNvPr>
                <p:cNvSpPr/>
                <p:nvPr/>
              </p:nvSpPr>
              <p:spPr>
                <a:xfrm rot="-2700000">
                  <a:off x="20362497" y="11303910"/>
                  <a:ext cx="801091" cy="32637"/>
                </a:xfrm>
                <a:custGeom>
                  <a:avLst/>
                  <a:gdLst>
                    <a:gd name="connsiteX0" fmla="*/ 0 w 801091"/>
                    <a:gd name="connsiteY0" fmla="*/ 0 h 32637"/>
                    <a:gd name="connsiteX1" fmla="*/ 801091 w 801091"/>
                    <a:gd name="connsiteY1" fmla="*/ 0 h 32637"/>
                    <a:gd name="connsiteX2" fmla="*/ 801091 w 801091"/>
                    <a:gd name="connsiteY2" fmla="*/ 32637 h 32637"/>
                    <a:gd name="connsiteX3" fmla="*/ 0 w 801091"/>
                    <a:gd name="connsiteY3" fmla="*/ 32637 h 326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1091" h="32637">
                      <a:moveTo>
                        <a:pt x="0" y="0"/>
                      </a:moveTo>
                      <a:lnTo>
                        <a:pt x="801091" y="0"/>
                      </a:lnTo>
                      <a:lnTo>
                        <a:pt x="801091" y="32637"/>
                      </a:lnTo>
                      <a:lnTo>
                        <a:pt x="0" y="32637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7" name="任意多边形: 形状 146">
                  <a:extLst>
                    <a:ext uri="{FF2B5EF4-FFF2-40B4-BE49-F238E27FC236}">
                      <a16:creationId xmlns:a16="http://schemas.microsoft.com/office/drawing/2014/main" id="{8DD24131-E9B7-4A90-A7BE-76F2FDD80B7A}"/>
                    </a:ext>
                  </a:extLst>
                </p:cNvPr>
                <p:cNvSpPr/>
                <p:nvPr/>
              </p:nvSpPr>
              <p:spPr>
                <a:xfrm>
                  <a:off x="20481459" y="11584570"/>
                  <a:ext cx="801098" cy="32637"/>
                </a:xfrm>
                <a:custGeom>
                  <a:avLst/>
                  <a:gdLst>
                    <a:gd name="connsiteX0" fmla="*/ 0 w 801098"/>
                    <a:gd name="connsiteY0" fmla="*/ 0 h 32637"/>
                    <a:gd name="connsiteX1" fmla="*/ 801099 w 801098"/>
                    <a:gd name="connsiteY1" fmla="*/ 0 h 32637"/>
                    <a:gd name="connsiteX2" fmla="*/ 801099 w 801098"/>
                    <a:gd name="connsiteY2" fmla="*/ 32637 h 32637"/>
                    <a:gd name="connsiteX3" fmla="*/ 0 w 801098"/>
                    <a:gd name="connsiteY3" fmla="*/ 32637 h 326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1098" h="32637">
                      <a:moveTo>
                        <a:pt x="0" y="0"/>
                      </a:moveTo>
                      <a:lnTo>
                        <a:pt x="801099" y="0"/>
                      </a:lnTo>
                      <a:lnTo>
                        <a:pt x="801099" y="32637"/>
                      </a:lnTo>
                      <a:lnTo>
                        <a:pt x="0" y="32637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63C22222-6EFC-403B-992D-83E9EE3552A0}"/>
                    </a:ext>
                  </a:extLst>
                </p:cNvPr>
                <p:cNvSpPr/>
                <p:nvPr/>
              </p:nvSpPr>
              <p:spPr>
                <a:xfrm rot="-2700000">
                  <a:off x="20748979" y="11486315"/>
                  <a:ext cx="32637" cy="801091"/>
                </a:xfrm>
                <a:custGeom>
                  <a:avLst/>
                  <a:gdLst>
                    <a:gd name="connsiteX0" fmla="*/ 0 w 32637"/>
                    <a:gd name="connsiteY0" fmla="*/ 0 h 801091"/>
                    <a:gd name="connsiteX1" fmla="*/ 32636 w 32637"/>
                    <a:gd name="connsiteY1" fmla="*/ 0 h 801091"/>
                    <a:gd name="connsiteX2" fmla="*/ 32636 w 32637"/>
                    <a:gd name="connsiteY2" fmla="*/ 801091 h 801091"/>
                    <a:gd name="connsiteX3" fmla="*/ 0 w 32637"/>
                    <a:gd name="connsiteY3" fmla="*/ 801091 h 801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637" h="801091">
                      <a:moveTo>
                        <a:pt x="0" y="0"/>
                      </a:moveTo>
                      <a:lnTo>
                        <a:pt x="32636" y="0"/>
                      </a:lnTo>
                      <a:lnTo>
                        <a:pt x="32636" y="801091"/>
                      </a:lnTo>
                      <a:lnTo>
                        <a:pt x="0" y="801091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9" name="任意多边形: 形状 148">
                  <a:extLst>
                    <a:ext uri="{FF2B5EF4-FFF2-40B4-BE49-F238E27FC236}">
                      <a16:creationId xmlns:a16="http://schemas.microsoft.com/office/drawing/2014/main" id="{5E16CF3D-D511-496D-B25C-B7EDEB1FD44D}"/>
                    </a:ext>
                  </a:extLst>
                </p:cNvPr>
                <p:cNvSpPr/>
                <p:nvPr/>
              </p:nvSpPr>
              <p:spPr>
                <a:xfrm>
                  <a:off x="20463657" y="11602373"/>
                  <a:ext cx="32637" cy="801098"/>
                </a:xfrm>
                <a:custGeom>
                  <a:avLst/>
                  <a:gdLst>
                    <a:gd name="connsiteX0" fmla="*/ 1 w 32637"/>
                    <a:gd name="connsiteY0" fmla="*/ 0 h 801098"/>
                    <a:gd name="connsiteX1" fmla="*/ 32637 w 32637"/>
                    <a:gd name="connsiteY1" fmla="*/ 0 h 801098"/>
                    <a:gd name="connsiteX2" fmla="*/ 32637 w 32637"/>
                    <a:gd name="connsiteY2" fmla="*/ 801099 h 801098"/>
                    <a:gd name="connsiteX3" fmla="*/ 1 w 32637"/>
                    <a:gd name="connsiteY3" fmla="*/ 801099 h 801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637" h="801098">
                      <a:moveTo>
                        <a:pt x="1" y="0"/>
                      </a:moveTo>
                      <a:lnTo>
                        <a:pt x="32637" y="0"/>
                      </a:lnTo>
                      <a:lnTo>
                        <a:pt x="32637" y="801099"/>
                      </a:lnTo>
                      <a:lnTo>
                        <a:pt x="1" y="801099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0" name="任意多边形: 形状 149">
                  <a:extLst>
                    <a:ext uri="{FF2B5EF4-FFF2-40B4-BE49-F238E27FC236}">
                      <a16:creationId xmlns:a16="http://schemas.microsoft.com/office/drawing/2014/main" id="{FFC5DA1C-8CA9-45DB-B87C-99F4E8DB47F7}"/>
                    </a:ext>
                  </a:extLst>
                </p:cNvPr>
                <p:cNvSpPr/>
                <p:nvPr/>
              </p:nvSpPr>
              <p:spPr>
                <a:xfrm rot="-2700000">
                  <a:off x="19797980" y="11868106"/>
                  <a:ext cx="801091" cy="32637"/>
                </a:xfrm>
                <a:custGeom>
                  <a:avLst/>
                  <a:gdLst>
                    <a:gd name="connsiteX0" fmla="*/ 0 w 801091"/>
                    <a:gd name="connsiteY0" fmla="*/ 0 h 32637"/>
                    <a:gd name="connsiteX1" fmla="*/ 801091 w 801091"/>
                    <a:gd name="connsiteY1" fmla="*/ 0 h 32637"/>
                    <a:gd name="connsiteX2" fmla="*/ 801091 w 801091"/>
                    <a:gd name="connsiteY2" fmla="*/ 32637 h 32637"/>
                    <a:gd name="connsiteX3" fmla="*/ 0 w 801091"/>
                    <a:gd name="connsiteY3" fmla="*/ 32637 h 326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1091" h="32637">
                      <a:moveTo>
                        <a:pt x="0" y="0"/>
                      </a:moveTo>
                      <a:lnTo>
                        <a:pt x="801091" y="0"/>
                      </a:lnTo>
                      <a:lnTo>
                        <a:pt x="801091" y="32637"/>
                      </a:lnTo>
                      <a:lnTo>
                        <a:pt x="0" y="32637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1" name="任意多边形: 形状 150">
                  <a:extLst>
                    <a:ext uri="{FF2B5EF4-FFF2-40B4-BE49-F238E27FC236}">
                      <a16:creationId xmlns:a16="http://schemas.microsoft.com/office/drawing/2014/main" id="{6BA957CC-98AB-4ED6-84CA-E0A3BF4D63E9}"/>
                    </a:ext>
                  </a:extLst>
                </p:cNvPr>
                <p:cNvSpPr/>
                <p:nvPr/>
              </p:nvSpPr>
              <p:spPr>
                <a:xfrm>
                  <a:off x="19680361" y="11584570"/>
                  <a:ext cx="801098" cy="32637"/>
                </a:xfrm>
                <a:custGeom>
                  <a:avLst/>
                  <a:gdLst>
                    <a:gd name="connsiteX0" fmla="*/ 0 w 801098"/>
                    <a:gd name="connsiteY0" fmla="*/ 0 h 32637"/>
                    <a:gd name="connsiteX1" fmla="*/ 801099 w 801098"/>
                    <a:gd name="connsiteY1" fmla="*/ 0 h 32637"/>
                    <a:gd name="connsiteX2" fmla="*/ 801099 w 801098"/>
                    <a:gd name="connsiteY2" fmla="*/ 32637 h 32637"/>
                    <a:gd name="connsiteX3" fmla="*/ 0 w 801098"/>
                    <a:gd name="connsiteY3" fmla="*/ 32637 h 326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1098" h="32637">
                      <a:moveTo>
                        <a:pt x="0" y="0"/>
                      </a:moveTo>
                      <a:lnTo>
                        <a:pt x="801099" y="0"/>
                      </a:lnTo>
                      <a:lnTo>
                        <a:pt x="801099" y="32637"/>
                      </a:lnTo>
                      <a:lnTo>
                        <a:pt x="0" y="32637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2" name="任意多边形: 形状 151">
                  <a:extLst>
                    <a:ext uri="{FF2B5EF4-FFF2-40B4-BE49-F238E27FC236}">
                      <a16:creationId xmlns:a16="http://schemas.microsoft.com/office/drawing/2014/main" id="{2F406134-FF5D-4602-A7E5-47AC95E9A77F}"/>
                    </a:ext>
                  </a:extLst>
                </p:cNvPr>
                <p:cNvSpPr/>
                <p:nvPr/>
              </p:nvSpPr>
              <p:spPr>
                <a:xfrm rot="-2701945">
                  <a:off x="20182482" y="10920830"/>
                  <a:ext cx="32637" cy="801091"/>
                </a:xfrm>
                <a:custGeom>
                  <a:avLst/>
                  <a:gdLst>
                    <a:gd name="connsiteX0" fmla="*/ 1 w 32637"/>
                    <a:gd name="connsiteY0" fmla="*/ 0 h 801091"/>
                    <a:gd name="connsiteX1" fmla="*/ 32637 w 32637"/>
                    <a:gd name="connsiteY1" fmla="*/ 0 h 801091"/>
                    <a:gd name="connsiteX2" fmla="*/ 32637 w 32637"/>
                    <a:gd name="connsiteY2" fmla="*/ 801091 h 801091"/>
                    <a:gd name="connsiteX3" fmla="*/ 1 w 32637"/>
                    <a:gd name="connsiteY3" fmla="*/ 801091 h 801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637" h="801091">
                      <a:moveTo>
                        <a:pt x="1" y="0"/>
                      </a:moveTo>
                      <a:lnTo>
                        <a:pt x="32637" y="0"/>
                      </a:lnTo>
                      <a:lnTo>
                        <a:pt x="32637" y="801091"/>
                      </a:lnTo>
                      <a:lnTo>
                        <a:pt x="1" y="801091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3" name="任意多边形: 形状 152">
                  <a:extLst>
                    <a:ext uri="{FF2B5EF4-FFF2-40B4-BE49-F238E27FC236}">
                      <a16:creationId xmlns:a16="http://schemas.microsoft.com/office/drawing/2014/main" id="{114FA4B5-3A01-4F2B-A97A-EB960728C272}"/>
                    </a:ext>
                  </a:extLst>
                </p:cNvPr>
                <p:cNvSpPr/>
                <p:nvPr/>
              </p:nvSpPr>
              <p:spPr>
                <a:xfrm>
                  <a:off x="19626954" y="10756768"/>
                  <a:ext cx="1709010" cy="1709011"/>
                </a:xfrm>
                <a:custGeom>
                  <a:avLst/>
                  <a:gdLst>
                    <a:gd name="connsiteX0" fmla="*/ 0 w 1709010"/>
                    <a:gd name="connsiteY0" fmla="*/ 854506 h 1709011"/>
                    <a:gd name="connsiteX1" fmla="*/ 854505 w 1709010"/>
                    <a:gd name="connsiteY1" fmla="*/ 1709011 h 1709011"/>
                    <a:gd name="connsiteX2" fmla="*/ 1709010 w 1709010"/>
                    <a:gd name="connsiteY2" fmla="*/ 854506 h 1709011"/>
                    <a:gd name="connsiteX3" fmla="*/ 854505 w 1709010"/>
                    <a:gd name="connsiteY3" fmla="*/ 0 h 1709011"/>
                    <a:gd name="connsiteX4" fmla="*/ 0 w 1709010"/>
                    <a:gd name="connsiteY4" fmla="*/ 854506 h 1709011"/>
                    <a:gd name="connsiteX5" fmla="*/ 71208 w 1709010"/>
                    <a:gd name="connsiteY5" fmla="*/ 854506 h 1709011"/>
                    <a:gd name="connsiteX6" fmla="*/ 854505 w 1709010"/>
                    <a:gd name="connsiteY6" fmla="*/ 71209 h 1709011"/>
                    <a:gd name="connsiteX7" fmla="*/ 1637803 w 1709010"/>
                    <a:gd name="connsiteY7" fmla="*/ 854506 h 1709011"/>
                    <a:gd name="connsiteX8" fmla="*/ 854505 w 1709010"/>
                    <a:gd name="connsiteY8" fmla="*/ 1637803 h 1709011"/>
                    <a:gd name="connsiteX9" fmla="*/ 71208 w 1709010"/>
                    <a:gd name="connsiteY9" fmla="*/ 854506 h 17090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709010" h="1709011">
                      <a:moveTo>
                        <a:pt x="0" y="854506"/>
                      </a:moveTo>
                      <a:cubicBezTo>
                        <a:pt x="0" y="1326264"/>
                        <a:pt x="382746" y="1709011"/>
                        <a:pt x="854505" y="1709011"/>
                      </a:cubicBezTo>
                      <a:cubicBezTo>
                        <a:pt x="1326264" y="1709011"/>
                        <a:pt x="1709010" y="1326264"/>
                        <a:pt x="1709010" y="854506"/>
                      </a:cubicBezTo>
                      <a:cubicBezTo>
                        <a:pt x="1709010" y="382747"/>
                        <a:pt x="1326264" y="0"/>
                        <a:pt x="854505" y="0"/>
                      </a:cubicBezTo>
                      <a:cubicBezTo>
                        <a:pt x="382746" y="0"/>
                        <a:pt x="0" y="382747"/>
                        <a:pt x="0" y="854506"/>
                      </a:cubicBezTo>
                      <a:close/>
                      <a:moveTo>
                        <a:pt x="71208" y="854506"/>
                      </a:moveTo>
                      <a:cubicBezTo>
                        <a:pt x="71208" y="421319"/>
                        <a:pt x="421319" y="71209"/>
                        <a:pt x="854505" y="71209"/>
                      </a:cubicBezTo>
                      <a:cubicBezTo>
                        <a:pt x="1287691" y="71209"/>
                        <a:pt x="1637803" y="421319"/>
                        <a:pt x="1637803" y="854506"/>
                      </a:cubicBezTo>
                      <a:cubicBezTo>
                        <a:pt x="1637803" y="1287692"/>
                        <a:pt x="1287691" y="1637803"/>
                        <a:pt x="854505" y="1637803"/>
                      </a:cubicBezTo>
                      <a:cubicBezTo>
                        <a:pt x="421319" y="1637803"/>
                        <a:pt x="71208" y="1287692"/>
                        <a:pt x="71208" y="854506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4" name="任意多边形: 形状 153">
                  <a:extLst>
                    <a:ext uri="{FF2B5EF4-FFF2-40B4-BE49-F238E27FC236}">
                      <a16:creationId xmlns:a16="http://schemas.microsoft.com/office/drawing/2014/main" id="{15D3127B-2698-4F58-A8AB-0281DFC7A0B2}"/>
                    </a:ext>
                  </a:extLst>
                </p:cNvPr>
                <p:cNvSpPr/>
                <p:nvPr/>
              </p:nvSpPr>
              <p:spPr>
                <a:xfrm>
                  <a:off x="19534521" y="10626219"/>
                  <a:ext cx="1911678" cy="795164"/>
                </a:xfrm>
                <a:custGeom>
                  <a:avLst/>
                  <a:gdLst>
                    <a:gd name="connsiteX0" fmla="*/ 30124 w 1911678"/>
                    <a:gd name="connsiteY0" fmla="*/ 795165 h 795164"/>
                    <a:gd name="connsiteX1" fmla="*/ 62763 w 1911678"/>
                    <a:gd name="connsiteY1" fmla="*/ 768461 h 795164"/>
                    <a:gd name="connsiteX2" fmla="*/ 952873 w 1911678"/>
                    <a:gd name="connsiteY2" fmla="*/ 68241 h 795164"/>
                    <a:gd name="connsiteX3" fmla="*/ 1842983 w 1911678"/>
                    <a:gd name="connsiteY3" fmla="*/ 756593 h 795164"/>
                    <a:gd name="connsiteX4" fmla="*/ 1884520 w 1911678"/>
                    <a:gd name="connsiteY4" fmla="*/ 783297 h 795164"/>
                    <a:gd name="connsiteX5" fmla="*/ 1911224 w 1911678"/>
                    <a:gd name="connsiteY5" fmla="*/ 741758 h 795164"/>
                    <a:gd name="connsiteX6" fmla="*/ 955839 w 1911678"/>
                    <a:gd name="connsiteY6" fmla="*/ 0 h 795164"/>
                    <a:gd name="connsiteX7" fmla="*/ 454 w 1911678"/>
                    <a:gd name="connsiteY7" fmla="*/ 753626 h 795164"/>
                    <a:gd name="connsiteX8" fmla="*/ 27158 w 1911678"/>
                    <a:gd name="connsiteY8" fmla="*/ 795165 h 795164"/>
                    <a:gd name="connsiteX9" fmla="*/ 30124 w 1911678"/>
                    <a:gd name="connsiteY9" fmla="*/ 795165 h 795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11678" h="795164">
                      <a:moveTo>
                        <a:pt x="30124" y="795165"/>
                      </a:moveTo>
                      <a:cubicBezTo>
                        <a:pt x="44960" y="795165"/>
                        <a:pt x="59795" y="783297"/>
                        <a:pt x="62763" y="768461"/>
                      </a:cubicBezTo>
                      <a:cubicBezTo>
                        <a:pt x="151774" y="361978"/>
                        <a:pt x="525619" y="68241"/>
                        <a:pt x="952873" y="68241"/>
                      </a:cubicBezTo>
                      <a:cubicBezTo>
                        <a:pt x="1374192" y="68241"/>
                        <a:pt x="1748037" y="359011"/>
                        <a:pt x="1842983" y="756593"/>
                      </a:cubicBezTo>
                      <a:cubicBezTo>
                        <a:pt x="1845949" y="774396"/>
                        <a:pt x="1866719" y="786264"/>
                        <a:pt x="1884520" y="783297"/>
                      </a:cubicBezTo>
                      <a:cubicBezTo>
                        <a:pt x="1902323" y="780329"/>
                        <a:pt x="1914191" y="759561"/>
                        <a:pt x="1911224" y="741758"/>
                      </a:cubicBezTo>
                      <a:cubicBezTo>
                        <a:pt x="1810344" y="311538"/>
                        <a:pt x="1409795" y="0"/>
                        <a:pt x="955839" y="0"/>
                      </a:cubicBezTo>
                      <a:cubicBezTo>
                        <a:pt x="495949" y="0"/>
                        <a:pt x="95400" y="317473"/>
                        <a:pt x="454" y="753626"/>
                      </a:cubicBezTo>
                      <a:cubicBezTo>
                        <a:pt x="-2512" y="771429"/>
                        <a:pt x="9357" y="789231"/>
                        <a:pt x="27158" y="795165"/>
                      </a:cubicBezTo>
                      <a:cubicBezTo>
                        <a:pt x="27158" y="795165"/>
                        <a:pt x="30124" y="795165"/>
                        <a:pt x="30124" y="795165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F05C3F76-791D-4DB7-B99D-31802C2B4E49}"/>
                  </a:ext>
                </a:extLst>
              </p:cNvPr>
              <p:cNvSpPr/>
              <p:nvPr/>
            </p:nvSpPr>
            <p:spPr>
              <a:xfrm>
                <a:off x="21855137" y="11474790"/>
                <a:ext cx="1397692" cy="495552"/>
              </a:xfrm>
              <a:custGeom>
                <a:avLst/>
                <a:gdLst>
                  <a:gd name="connsiteX0" fmla="*/ 252257 w 1397692"/>
                  <a:gd name="connsiteY0" fmla="*/ 0 h 495552"/>
                  <a:gd name="connsiteX1" fmla="*/ 1317422 w 1397692"/>
                  <a:gd name="connsiteY1" fmla="*/ 17802 h 495552"/>
                  <a:gd name="connsiteX2" fmla="*/ 1397532 w 1397692"/>
                  <a:gd name="connsiteY2" fmla="*/ 100879 h 495552"/>
                  <a:gd name="connsiteX3" fmla="*/ 1320388 w 1397692"/>
                  <a:gd name="connsiteY3" fmla="*/ 180989 h 495552"/>
                  <a:gd name="connsiteX4" fmla="*/ 495554 w 1397692"/>
                  <a:gd name="connsiteY4" fmla="*/ 216593 h 495552"/>
                  <a:gd name="connsiteX5" fmla="*/ 498520 w 1397692"/>
                  <a:gd name="connsiteY5" fmla="*/ 252198 h 495552"/>
                  <a:gd name="connsiteX6" fmla="*/ 243356 w 1397692"/>
                  <a:gd name="connsiteY6" fmla="*/ 495494 h 495552"/>
                  <a:gd name="connsiteX7" fmla="*/ 59 w 1397692"/>
                  <a:gd name="connsiteY7" fmla="*/ 240330 h 495552"/>
                  <a:gd name="connsiteX8" fmla="*/ 252257 w 1397692"/>
                  <a:gd name="connsiteY8" fmla="*/ 0 h 495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7692" h="495552">
                    <a:moveTo>
                      <a:pt x="252257" y="0"/>
                    </a:moveTo>
                    <a:lnTo>
                      <a:pt x="1317422" y="17802"/>
                    </a:lnTo>
                    <a:cubicBezTo>
                      <a:pt x="1361928" y="17802"/>
                      <a:pt x="1400499" y="56373"/>
                      <a:pt x="1397532" y="100879"/>
                    </a:cubicBezTo>
                    <a:cubicBezTo>
                      <a:pt x="1397532" y="145384"/>
                      <a:pt x="1361928" y="180989"/>
                      <a:pt x="1320388" y="180989"/>
                    </a:cubicBezTo>
                    <a:lnTo>
                      <a:pt x="495554" y="216593"/>
                    </a:lnTo>
                    <a:cubicBezTo>
                      <a:pt x="495554" y="228461"/>
                      <a:pt x="498520" y="240330"/>
                      <a:pt x="498520" y="252198"/>
                    </a:cubicBezTo>
                    <a:cubicBezTo>
                      <a:pt x="495554" y="388682"/>
                      <a:pt x="382807" y="498461"/>
                      <a:pt x="243356" y="495494"/>
                    </a:cubicBezTo>
                    <a:cubicBezTo>
                      <a:pt x="106873" y="492528"/>
                      <a:pt x="-2908" y="379780"/>
                      <a:pt x="59" y="240330"/>
                    </a:cubicBezTo>
                    <a:cubicBezTo>
                      <a:pt x="59" y="109780"/>
                      <a:pt x="115774" y="0"/>
                      <a:pt x="252257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3F3A45D3-6839-48BC-823E-DDA58B28E725}"/>
                  </a:ext>
                </a:extLst>
              </p:cNvPr>
              <p:cNvSpPr/>
              <p:nvPr/>
            </p:nvSpPr>
            <p:spPr>
              <a:xfrm>
                <a:off x="21368603" y="11700285"/>
                <a:ext cx="370879" cy="89010"/>
              </a:xfrm>
              <a:custGeom>
                <a:avLst/>
                <a:gdLst>
                  <a:gd name="connsiteX0" fmla="*/ 44505 w 370879"/>
                  <a:gd name="connsiteY0" fmla="*/ 89011 h 89010"/>
                  <a:gd name="connsiteX1" fmla="*/ 326374 w 370879"/>
                  <a:gd name="connsiteY1" fmla="*/ 89011 h 89010"/>
                  <a:gd name="connsiteX2" fmla="*/ 370879 w 370879"/>
                  <a:gd name="connsiteY2" fmla="*/ 44505 h 89010"/>
                  <a:gd name="connsiteX3" fmla="*/ 370879 w 370879"/>
                  <a:gd name="connsiteY3" fmla="*/ 44505 h 89010"/>
                  <a:gd name="connsiteX4" fmla="*/ 326374 w 370879"/>
                  <a:gd name="connsiteY4" fmla="*/ 0 h 89010"/>
                  <a:gd name="connsiteX5" fmla="*/ 44505 w 370879"/>
                  <a:gd name="connsiteY5" fmla="*/ 0 h 89010"/>
                  <a:gd name="connsiteX6" fmla="*/ 0 w 370879"/>
                  <a:gd name="connsiteY6" fmla="*/ 44505 h 89010"/>
                  <a:gd name="connsiteX7" fmla="*/ 0 w 370879"/>
                  <a:gd name="connsiteY7" fmla="*/ 44505 h 89010"/>
                  <a:gd name="connsiteX8" fmla="*/ 44505 w 370879"/>
                  <a:gd name="connsiteY8" fmla="*/ 89011 h 89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0879" h="89010">
                    <a:moveTo>
                      <a:pt x="44505" y="89011"/>
                    </a:moveTo>
                    <a:lnTo>
                      <a:pt x="326374" y="89011"/>
                    </a:lnTo>
                    <a:cubicBezTo>
                      <a:pt x="350110" y="89011"/>
                      <a:pt x="370879" y="68241"/>
                      <a:pt x="370879" y="44505"/>
                    </a:cubicBezTo>
                    <a:lnTo>
                      <a:pt x="370879" y="44505"/>
                    </a:lnTo>
                    <a:cubicBezTo>
                      <a:pt x="370879" y="20769"/>
                      <a:pt x="350110" y="0"/>
                      <a:pt x="326374" y="0"/>
                    </a:cubicBezTo>
                    <a:lnTo>
                      <a:pt x="44505" y="0"/>
                    </a:lnTo>
                    <a:cubicBezTo>
                      <a:pt x="20768" y="0"/>
                      <a:pt x="0" y="20769"/>
                      <a:pt x="0" y="44505"/>
                    </a:cubicBezTo>
                    <a:lnTo>
                      <a:pt x="0" y="44505"/>
                    </a:lnTo>
                    <a:cubicBezTo>
                      <a:pt x="0" y="68241"/>
                      <a:pt x="20768" y="89011"/>
                      <a:pt x="44505" y="89011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ED20F9CF-B822-4E6B-A439-81F21E01E1DC}"/>
                  </a:ext>
                </a:extLst>
              </p:cNvPr>
              <p:cNvSpPr/>
              <p:nvPr/>
            </p:nvSpPr>
            <p:spPr>
              <a:xfrm>
                <a:off x="21953107" y="11575669"/>
                <a:ext cx="296703" cy="296703"/>
              </a:xfrm>
              <a:custGeom>
                <a:avLst/>
                <a:gdLst>
                  <a:gd name="connsiteX0" fmla="*/ 0 w 296703"/>
                  <a:gd name="connsiteY0" fmla="*/ 148352 h 296703"/>
                  <a:gd name="connsiteX1" fmla="*/ 148352 w 296703"/>
                  <a:gd name="connsiteY1" fmla="*/ 0 h 296703"/>
                  <a:gd name="connsiteX2" fmla="*/ 296703 w 296703"/>
                  <a:gd name="connsiteY2" fmla="*/ 148352 h 296703"/>
                  <a:gd name="connsiteX3" fmla="*/ 148352 w 296703"/>
                  <a:gd name="connsiteY3" fmla="*/ 296703 h 296703"/>
                  <a:gd name="connsiteX4" fmla="*/ 0 w 296703"/>
                  <a:gd name="connsiteY4" fmla="*/ 148352 h 296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6703" h="296703">
                    <a:moveTo>
                      <a:pt x="0" y="148352"/>
                    </a:moveTo>
                    <a:cubicBezTo>
                      <a:pt x="0" y="65275"/>
                      <a:pt x="68243" y="0"/>
                      <a:pt x="148352" y="0"/>
                    </a:cubicBezTo>
                    <a:cubicBezTo>
                      <a:pt x="228462" y="0"/>
                      <a:pt x="296703" y="68241"/>
                      <a:pt x="296703" y="148352"/>
                    </a:cubicBezTo>
                    <a:cubicBezTo>
                      <a:pt x="296703" y="231428"/>
                      <a:pt x="228462" y="296703"/>
                      <a:pt x="148352" y="296703"/>
                    </a:cubicBezTo>
                    <a:cubicBezTo>
                      <a:pt x="68243" y="296703"/>
                      <a:pt x="0" y="231428"/>
                      <a:pt x="0" y="148352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345BA7BA-24D5-44E5-9E6B-1A1597ACFCAF}"/>
                  </a:ext>
                </a:extLst>
              </p:cNvPr>
              <p:cNvSpPr/>
              <p:nvPr/>
            </p:nvSpPr>
            <p:spPr>
              <a:xfrm>
                <a:off x="20478493" y="9783582"/>
                <a:ext cx="691318" cy="1815823"/>
              </a:xfrm>
              <a:custGeom>
                <a:avLst/>
                <a:gdLst>
                  <a:gd name="connsiteX0" fmla="*/ 29670 w 691318"/>
                  <a:gd name="connsiteY0" fmla="*/ 1815824 h 1815823"/>
                  <a:gd name="connsiteX1" fmla="*/ 0 w 691318"/>
                  <a:gd name="connsiteY1" fmla="*/ 1800989 h 1815823"/>
                  <a:gd name="connsiteX2" fmla="*/ 661648 w 691318"/>
                  <a:gd name="connsiteY2" fmla="*/ 0 h 1815823"/>
                  <a:gd name="connsiteX3" fmla="*/ 691318 w 691318"/>
                  <a:gd name="connsiteY3" fmla="*/ 14835 h 1815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1318" h="1815823">
                    <a:moveTo>
                      <a:pt x="29670" y="1815824"/>
                    </a:moveTo>
                    <a:lnTo>
                      <a:pt x="0" y="1800989"/>
                    </a:lnTo>
                    <a:lnTo>
                      <a:pt x="661648" y="0"/>
                    </a:lnTo>
                    <a:lnTo>
                      <a:pt x="691318" y="14835"/>
                    </a:lnTo>
                    <a:close/>
                  </a:path>
                </a:pathLst>
              </a:custGeom>
              <a:solidFill>
                <a:srgbClr val="7F95BC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35750E08-D3F4-4C5E-8B47-94D7DB44ED1C}"/>
                  </a:ext>
                </a:extLst>
              </p:cNvPr>
              <p:cNvSpPr/>
              <p:nvPr/>
            </p:nvSpPr>
            <p:spPr>
              <a:xfrm>
                <a:off x="21112315" y="9654876"/>
                <a:ext cx="266311" cy="170243"/>
              </a:xfrm>
              <a:custGeom>
                <a:avLst/>
                <a:gdLst>
                  <a:gd name="connsiteX0" fmla="*/ 24858 w 266311"/>
                  <a:gd name="connsiteY0" fmla="*/ 170243 h 170243"/>
                  <a:gd name="connsiteX1" fmla="*/ 4090 w 266311"/>
                  <a:gd name="connsiteY1" fmla="*/ 152441 h 170243"/>
                  <a:gd name="connsiteX2" fmla="*/ 18925 w 266311"/>
                  <a:gd name="connsiteY2" fmla="*/ 107935 h 170243"/>
                  <a:gd name="connsiteX3" fmla="*/ 217715 w 266311"/>
                  <a:gd name="connsiteY3" fmla="*/ 4089 h 170243"/>
                  <a:gd name="connsiteX4" fmla="*/ 262221 w 266311"/>
                  <a:gd name="connsiteY4" fmla="*/ 18924 h 170243"/>
                  <a:gd name="connsiteX5" fmla="*/ 247386 w 266311"/>
                  <a:gd name="connsiteY5" fmla="*/ 63430 h 170243"/>
                  <a:gd name="connsiteX6" fmla="*/ 48596 w 266311"/>
                  <a:gd name="connsiteY6" fmla="*/ 167276 h 170243"/>
                  <a:gd name="connsiteX7" fmla="*/ 24858 w 266311"/>
                  <a:gd name="connsiteY7" fmla="*/ 170243 h 170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6311" h="170243">
                    <a:moveTo>
                      <a:pt x="24858" y="170243"/>
                    </a:moveTo>
                    <a:cubicBezTo>
                      <a:pt x="15957" y="167276"/>
                      <a:pt x="7057" y="161343"/>
                      <a:pt x="4090" y="152441"/>
                    </a:cubicBezTo>
                    <a:cubicBezTo>
                      <a:pt x="-4812" y="134639"/>
                      <a:pt x="1122" y="113870"/>
                      <a:pt x="18925" y="107935"/>
                    </a:cubicBezTo>
                    <a:lnTo>
                      <a:pt x="217715" y="4089"/>
                    </a:lnTo>
                    <a:cubicBezTo>
                      <a:pt x="235519" y="-4811"/>
                      <a:pt x="256288" y="1122"/>
                      <a:pt x="262221" y="18924"/>
                    </a:cubicBezTo>
                    <a:cubicBezTo>
                      <a:pt x="271123" y="36727"/>
                      <a:pt x="265189" y="57496"/>
                      <a:pt x="247386" y="63430"/>
                    </a:cubicBezTo>
                    <a:lnTo>
                      <a:pt x="48596" y="167276"/>
                    </a:lnTo>
                    <a:cubicBezTo>
                      <a:pt x="39693" y="170243"/>
                      <a:pt x="30793" y="170243"/>
                      <a:pt x="24858" y="170243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428459D4-9A6F-4552-8BD0-96E71FFD3444}"/>
                  </a:ext>
                </a:extLst>
              </p:cNvPr>
              <p:cNvSpPr/>
              <p:nvPr/>
            </p:nvSpPr>
            <p:spPr>
              <a:xfrm>
                <a:off x="22021706" y="11786685"/>
                <a:ext cx="361265" cy="174342"/>
              </a:xfrm>
              <a:custGeom>
                <a:avLst/>
                <a:gdLst>
                  <a:gd name="connsiteX0" fmla="*/ 58985 w 361265"/>
                  <a:gd name="connsiteY0" fmla="*/ 171732 h 174342"/>
                  <a:gd name="connsiteX1" fmla="*/ 328984 w 361265"/>
                  <a:gd name="connsiteY1" fmla="*/ 88655 h 174342"/>
                  <a:gd name="connsiteX2" fmla="*/ 358655 w 361265"/>
                  <a:gd name="connsiteY2" fmla="*/ 32282 h 174342"/>
                  <a:gd name="connsiteX3" fmla="*/ 358655 w 361265"/>
                  <a:gd name="connsiteY3" fmla="*/ 32282 h 174342"/>
                  <a:gd name="connsiteX4" fmla="*/ 302280 w 361265"/>
                  <a:gd name="connsiteY4" fmla="*/ 2611 h 174342"/>
                  <a:gd name="connsiteX5" fmla="*/ 32281 w 361265"/>
                  <a:gd name="connsiteY5" fmla="*/ 85688 h 174342"/>
                  <a:gd name="connsiteX6" fmla="*/ 2611 w 361265"/>
                  <a:gd name="connsiteY6" fmla="*/ 142061 h 174342"/>
                  <a:gd name="connsiteX7" fmla="*/ 2611 w 361265"/>
                  <a:gd name="connsiteY7" fmla="*/ 142061 h 174342"/>
                  <a:gd name="connsiteX8" fmla="*/ 58985 w 361265"/>
                  <a:gd name="connsiteY8" fmla="*/ 171732 h 174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1265" h="174342">
                    <a:moveTo>
                      <a:pt x="58985" y="171732"/>
                    </a:moveTo>
                    <a:lnTo>
                      <a:pt x="328984" y="88655"/>
                    </a:lnTo>
                    <a:cubicBezTo>
                      <a:pt x="352720" y="82721"/>
                      <a:pt x="367556" y="56017"/>
                      <a:pt x="358655" y="32282"/>
                    </a:cubicBezTo>
                    <a:lnTo>
                      <a:pt x="358655" y="32282"/>
                    </a:lnTo>
                    <a:cubicBezTo>
                      <a:pt x="352720" y="8545"/>
                      <a:pt x="326018" y="-6290"/>
                      <a:pt x="302280" y="2611"/>
                    </a:cubicBezTo>
                    <a:lnTo>
                      <a:pt x="32281" y="85688"/>
                    </a:lnTo>
                    <a:cubicBezTo>
                      <a:pt x="8545" y="91622"/>
                      <a:pt x="-6290" y="118325"/>
                      <a:pt x="2611" y="142061"/>
                    </a:cubicBezTo>
                    <a:lnTo>
                      <a:pt x="2611" y="142061"/>
                    </a:lnTo>
                    <a:cubicBezTo>
                      <a:pt x="11512" y="165798"/>
                      <a:pt x="35247" y="180633"/>
                      <a:pt x="58985" y="171732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E8F03E12-6C67-48AD-B020-AAE50A07F9BB}"/>
                  </a:ext>
                </a:extLst>
              </p:cNvPr>
              <p:cNvSpPr/>
              <p:nvPr/>
            </p:nvSpPr>
            <p:spPr>
              <a:xfrm>
                <a:off x="21248706" y="9559839"/>
                <a:ext cx="260561" cy="210122"/>
              </a:xfrm>
              <a:custGeom>
                <a:avLst/>
                <a:gdLst>
                  <a:gd name="connsiteX0" fmla="*/ 72423 w 260561"/>
                  <a:gd name="connsiteY0" fmla="*/ 205940 h 210122"/>
                  <a:gd name="connsiteX1" fmla="*/ 244511 w 260561"/>
                  <a:gd name="connsiteY1" fmla="*/ 102094 h 210122"/>
                  <a:gd name="connsiteX2" fmla="*/ 256380 w 260561"/>
                  <a:gd name="connsiteY2" fmla="*/ 57589 h 210122"/>
                  <a:gd name="connsiteX3" fmla="*/ 232644 w 260561"/>
                  <a:gd name="connsiteY3" fmla="*/ 16050 h 210122"/>
                  <a:gd name="connsiteX4" fmla="*/ 188138 w 260561"/>
                  <a:gd name="connsiteY4" fmla="*/ 4182 h 210122"/>
                  <a:gd name="connsiteX5" fmla="*/ 16051 w 260561"/>
                  <a:gd name="connsiteY5" fmla="*/ 108029 h 210122"/>
                  <a:gd name="connsiteX6" fmla="*/ 4182 w 260561"/>
                  <a:gd name="connsiteY6" fmla="*/ 152534 h 210122"/>
                  <a:gd name="connsiteX7" fmla="*/ 27918 w 260561"/>
                  <a:gd name="connsiteY7" fmla="*/ 194072 h 210122"/>
                  <a:gd name="connsiteX8" fmla="*/ 72423 w 260561"/>
                  <a:gd name="connsiteY8" fmla="*/ 205940 h 210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0561" h="210122">
                    <a:moveTo>
                      <a:pt x="72423" y="205940"/>
                    </a:moveTo>
                    <a:lnTo>
                      <a:pt x="244511" y="102094"/>
                    </a:lnTo>
                    <a:cubicBezTo>
                      <a:pt x="259346" y="93193"/>
                      <a:pt x="265280" y="72424"/>
                      <a:pt x="256380" y="57589"/>
                    </a:cubicBezTo>
                    <a:lnTo>
                      <a:pt x="232644" y="16050"/>
                    </a:lnTo>
                    <a:cubicBezTo>
                      <a:pt x="223743" y="1215"/>
                      <a:pt x="202973" y="-4719"/>
                      <a:pt x="188138" y="4182"/>
                    </a:cubicBezTo>
                    <a:lnTo>
                      <a:pt x="16051" y="108029"/>
                    </a:lnTo>
                    <a:cubicBezTo>
                      <a:pt x="1216" y="116929"/>
                      <a:pt x="-4719" y="137699"/>
                      <a:pt x="4182" y="152534"/>
                    </a:cubicBezTo>
                    <a:lnTo>
                      <a:pt x="27918" y="194072"/>
                    </a:lnTo>
                    <a:cubicBezTo>
                      <a:pt x="33852" y="208908"/>
                      <a:pt x="54622" y="214841"/>
                      <a:pt x="72423" y="205940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CFAE2FF5-34AE-43F8-9E20-8DF9E8DA3E45}"/>
                  </a:ext>
                </a:extLst>
              </p:cNvPr>
              <p:cNvSpPr/>
              <p:nvPr/>
            </p:nvSpPr>
            <p:spPr>
              <a:xfrm>
                <a:off x="24213987" y="10118856"/>
                <a:ext cx="89010" cy="344176"/>
              </a:xfrm>
              <a:custGeom>
                <a:avLst/>
                <a:gdLst>
                  <a:gd name="connsiteX0" fmla="*/ 2968 w 89010"/>
                  <a:gd name="connsiteY0" fmla="*/ 344176 h 344176"/>
                  <a:gd name="connsiteX1" fmla="*/ 89011 w 89010"/>
                  <a:gd name="connsiteY1" fmla="*/ 344176 h 344176"/>
                  <a:gd name="connsiteX2" fmla="*/ 89011 w 89010"/>
                  <a:gd name="connsiteY2" fmla="*/ 44505 h 344176"/>
                  <a:gd name="connsiteX3" fmla="*/ 44505 w 89010"/>
                  <a:gd name="connsiteY3" fmla="*/ 0 h 344176"/>
                  <a:gd name="connsiteX4" fmla="*/ 44505 w 89010"/>
                  <a:gd name="connsiteY4" fmla="*/ 0 h 344176"/>
                  <a:gd name="connsiteX5" fmla="*/ 0 w 89010"/>
                  <a:gd name="connsiteY5" fmla="*/ 44505 h 344176"/>
                  <a:gd name="connsiteX6" fmla="*/ 0 w 89010"/>
                  <a:gd name="connsiteY6" fmla="*/ 344176 h 344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9010" h="344176">
                    <a:moveTo>
                      <a:pt x="2968" y="344176"/>
                    </a:moveTo>
                    <a:lnTo>
                      <a:pt x="89011" y="344176"/>
                    </a:lnTo>
                    <a:lnTo>
                      <a:pt x="89011" y="44505"/>
                    </a:lnTo>
                    <a:cubicBezTo>
                      <a:pt x="89011" y="20770"/>
                      <a:pt x="68241" y="0"/>
                      <a:pt x="44505" y="0"/>
                    </a:cubicBezTo>
                    <a:lnTo>
                      <a:pt x="44505" y="0"/>
                    </a:lnTo>
                    <a:cubicBezTo>
                      <a:pt x="20770" y="0"/>
                      <a:pt x="0" y="20770"/>
                      <a:pt x="0" y="44505"/>
                    </a:cubicBezTo>
                    <a:lnTo>
                      <a:pt x="0" y="344176"/>
                    </a:lnTo>
                    <a:close/>
                  </a:path>
                </a:pathLst>
              </a:custGeom>
              <a:solidFill>
                <a:srgbClr val="6C5D6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5FCF1CEC-9A0A-4D96-95E7-D2F86373485A}"/>
                </a:ext>
              </a:extLst>
            </p:cNvPr>
            <p:cNvSpPr/>
            <p:nvPr/>
          </p:nvSpPr>
          <p:spPr>
            <a:xfrm>
              <a:off x="21237476" y="9536869"/>
              <a:ext cx="232480" cy="196554"/>
            </a:xfrm>
            <a:custGeom>
              <a:avLst/>
              <a:gdLst>
                <a:gd name="connsiteX0" fmla="*/ 3543 w 232480"/>
                <a:gd name="connsiteY0" fmla="*/ 104294 h 196554"/>
                <a:gd name="connsiteX1" fmla="*/ 45082 w 232480"/>
                <a:gd name="connsiteY1" fmla="*/ 80558 h 196554"/>
                <a:gd name="connsiteX2" fmla="*/ 196400 w 232480"/>
                <a:gd name="connsiteY2" fmla="*/ 6382 h 196554"/>
                <a:gd name="connsiteX3" fmla="*/ 217170 w 232480"/>
                <a:gd name="connsiteY3" fmla="*/ 142866 h 196554"/>
                <a:gd name="connsiteX4" fmla="*/ 140028 w 232480"/>
                <a:gd name="connsiteY4" fmla="*/ 190339 h 196554"/>
                <a:gd name="connsiteX5" fmla="*/ 166730 w 232480"/>
                <a:gd name="connsiteY5" fmla="*/ 139899 h 196554"/>
                <a:gd name="connsiteX6" fmla="*/ 160797 w 232480"/>
                <a:gd name="connsiteY6" fmla="*/ 80558 h 196554"/>
                <a:gd name="connsiteX7" fmla="*/ 110357 w 232480"/>
                <a:gd name="connsiteY7" fmla="*/ 80558 h 196554"/>
                <a:gd name="connsiteX8" fmla="*/ 24313 w 232480"/>
                <a:gd name="connsiteY8" fmla="*/ 125064 h 196554"/>
                <a:gd name="connsiteX9" fmla="*/ 3543 w 232480"/>
                <a:gd name="connsiteY9" fmla="*/ 104294 h 196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2480" h="196554">
                  <a:moveTo>
                    <a:pt x="3543" y="104294"/>
                  </a:moveTo>
                  <a:cubicBezTo>
                    <a:pt x="15412" y="92426"/>
                    <a:pt x="30247" y="86493"/>
                    <a:pt x="45082" y="80558"/>
                  </a:cubicBezTo>
                  <a:cubicBezTo>
                    <a:pt x="56951" y="6382"/>
                    <a:pt x="137060" y="-11420"/>
                    <a:pt x="196400" y="6382"/>
                  </a:cubicBezTo>
                  <a:cubicBezTo>
                    <a:pt x="255741" y="24185"/>
                    <a:pt x="226071" y="125064"/>
                    <a:pt x="217170" y="142866"/>
                  </a:cubicBezTo>
                  <a:cubicBezTo>
                    <a:pt x="205303" y="163635"/>
                    <a:pt x="175632" y="214075"/>
                    <a:pt x="140028" y="190339"/>
                  </a:cubicBezTo>
                  <a:cubicBezTo>
                    <a:pt x="148928" y="175504"/>
                    <a:pt x="163764" y="154734"/>
                    <a:pt x="166730" y="139899"/>
                  </a:cubicBezTo>
                  <a:cubicBezTo>
                    <a:pt x="166730" y="125064"/>
                    <a:pt x="175632" y="89459"/>
                    <a:pt x="160797" y="80558"/>
                  </a:cubicBezTo>
                  <a:cubicBezTo>
                    <a:pt x="151895" y="74624"/>
                    <a:pt x="125193" y="77591"/>
                    <a:pt x="110357" y="80558"/>
                  </a:cubicBezTo>
                  <a:cubicBezTo>
                    <a:pt x="80687" y="86493"/>
                    <a:pt x="48049" y="104294"/>
                    <a:pt x="24313" y="125064"/>
                  </a:cubicBezTo>
                  <a:cubicBezTo>
                    <a:pt x="12446" y="136932"/>
                    <a:pt x="-8324" y="119129"/>
                    <a:pt x="3543" y="104294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9036C3FF-9331-4729-9D77-12F5564213D6}"/>
                </a:ext>
              </a:extLst>
            </p:cNvPr>
            <p:cNvSpPr/>
            <p:nvPr/>
          </p:nvSpPr>
          <p:spPr>
            <a:xfrm>
              <a:off x="21372311" y="9596658"/>
              <a:ext cx="41611" cy="136483"/>
            </a:xfrm>
            <a:custGeom>
              <a:avLst/>
              <a:gdLst>
                <a:gd name="connsiteX0" fmla="*/ 5193 w 41611"/>
                <a:gd name="connsiteY0" fmla="*/ 136484 h 136483"/>
                <a:gd name="connsiteX1" fmla="*/ 2225 w 41611"/>
                <a:gd name="connsiteY1" fmla="*/ 136484 h 136483"/>
                <a:gd name="connsiteX2" fmla="*/ 2225 w 41611"/>
                <a:gd name="connsiteY2" fmla="*/ 127583 h 136483"/>
                <a:gd name="connsiteX3" fmla="*/ 22994 w 41611"/>
                <a:gd name="connsiteY3" fmla="*/ 23737 h 136483"/>
                <a:gd name="connsiteX4" fmla="*/ 5193 w 41611"/>
                <a:gd name="connsiteY4" fmla="*/ 8902 h 136483"/>
                <a:gd name="connsiteX5" fmla="*/ 2225 w 41611"/>
                <a:gd name="connsiteY5" fmla="*/ 2967 h 136483"/>
                <a:gd name="connsiteX6" fmla="*/ 8159 w 41611"/>
                <a:gd name="connsiteY6" fmla="*/ 0 h 136483"/>
                <a:gd name="connsiteX7" fmla="*/ 31895 w 41611"/>
                <a:gd name="connsiteY7" fmla="*/ 17802 h 136483"/>
                <a:gd name="connsiteX8" fmla="*/ 11127 w 41611"/>
                <a:gd name="connsiteY8" fmla="*/ 133516 h 136483"/>
                <a:gd name="connsiteX9" fmla="*/ 5193 w 41611"/>
                <a:gd name="connsiteY9" fmla="*/ 136484 h 13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611" h="136483">
                  <a:moveTo>
                    <a:pt x="5193" y="136484"/>
                  </a:moveTo>
                  <a:cubicBezTo>
                    <a:pt x="5193" y="136484"/>
                    <a:pt x="2225" y="136484"/>
                    <a:pt x="2225" y="136484"/>
                  </a:cubicBezTo>
                  <a:cubicBezTo>
                    <a:pt x="-742" y="133516"/>
                    <a:pt x="-742" y="130550"/>
                    <a:pt x="2225" y="127583"/>
                  </a:cubicBezTo>
                  <a:cubicBezTo>
                    <a:pt x="2225" y="127583"/>
                    <a:pt x="49698" y="59341"/>
                    <a:pt x="22994" y="23737"/>
                  </a:cubicBezTo>
                  <a:cubicBezTo>
                    <a:pt x="17060" y="17802"/>
                    <a:pt x="14094" y="11869"/>
                    <a:pt x="5193" y="8902"/>
                  </a:cubicBezTo>
                  <a:cubicBezTo>
                    <a:pt x="2225" y="8902"/>
                    <a:pt x="2225" y="2967"/>
                    <a:pt x="2225" y="2967"/>
                  </a:cubicBezTo>
                  <a:cubicBezTo>
                    <a:pt x="2225" y="0"/>
                    <a:pt x="5193" y="0"/>
                    <a:pt x="8159" y="0"/>
                  </a:cubicBezTo>
                  <a:cubicBezTo>
                    <a:pt x="20028" y="5934"/>
                    <a:pt x="25962" y="11869"/>
                    <a:pt x="31895" y="17802"/>
                  </a:cubicBezTo>
                  <a:cubicBezTo>
                    <a:pt x="61565" y="59341"/>
                    <a:pt x="14094" y="130550"/>
                    <a:pt x="11127" y="133516"/>
                  </a:cubicBezTo>
                  <a:cubicBezTo>
                    <a:pt x="8159" y="133516"/>
                    <a:pt x="8159" y="136484"/>
                    <a:pt x="5193" y="136484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5982C6BA-5445-4D45-B0AE-636E07D1F9DB}"/>
                </a:ext>
              </a:extLst>
            </p:cNvPr>
            <p:cNvSpPr/>
            <p:nvPr/>
          </p:nvSpPr>
          <p:spPr>
            <a:xfrm>
              <a:off x="21236940" y="9564021"/>
              <a:ext cx="78254" cy="103846"/>
            </a:xfrm>
            <a:custGeom>
              <a:avLst/>
              <a:gdLst>
                <a:gd name="connsiteX0" fmla="*/ 12981 w 78254"/>
                <a:gd name="connsiteY0" fmla="*/ 103846 h 103846"/>
                <a:gd name="connsiteX1" fmla="*/ 10013 w 78254"/>
                <a:gd name="connsiteY1" fmla="*/ 100879 h 103846"/>
                <a:gd name="connsiteX2" fmla="*/ 1112 w 78254"/>
                <a:gd name="connsiteY2" fmla="*/ 68241 h 103846"/>
                <a:gd name="connsiteX3" fmla="*/ 72322 w 78254"/>
                <a:gd name="connsiteY3" fmla="*/ 0 h 103846"/>
                <a:gd name="connsiteX4" fmla="*/ 78254 w 78254"/>
                <a:gd name="connsiteY4" fmla="*/ 2966 h 103846"/>
                <a:gd name="connsiteX5" fmla="*/ 75288 w 78254"/>
                <a:gd name="connsiteY5" fmla="*/ 8901 h 103846"/>
                <a:gd name="connsiteX6" fmla="*/ 10013 w 78254"/>
                <a:gd name="connsiteY6" fmla="*/ 68241 h 103846"/>
                <a:gd name="connsiteX7" fmla="*/ 15948 w 78254"/>
                <a:gd name="connsiteY7" fmla="*/ 91977 h 103846"/>
                <a:gd name="connsiteX8" fmla="*/ 15948 w 78254"/>
                <a:gd name="connsiteY8" fmla="*/ 100879 h 103846"/>
                <a:gd name="connsiteX9" fmla="*/ 12981 w 78254"/>
                <a:gd name="connsiteY9" fmla="*/ 103846 h 10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254" h="103846">
                  <a:moveTo>
                    <a:pt x="12981" y="103846"/>
                  </a:moveTo>
                  <a:cubicBezTo>
                    <a:pt x="10013" y="103846"/>
                    <a:pt x="10013" y="103846"/>
                    <a:pt x="10013" y="100879"/>
                  </a:cubicBezTo>
                  <a:cubicBezTo>
                    <a:pt x="1112" y="91977"/>
                    <a:pt x="-1854" y="80109"/>
                    <a:pt x="1112" y="68241"/>
                  </a:cubicBezTo>
                  <a:cubicBezTo>
                    <a:pt x="10013" y="32637"/>
                    <a:pt x="69354" y="2966"/>
                    <a:pt x="72322" y="0"/>
                  </a:cubicBezTo>
                  <a:cubicBezTo>
                    <a:pt x="75288" y="0"/>
                    <a:pt x="78254" y="0"/>
                    <a:pt x="78254" y="2966"/>
                  </a:cubicBezTo>
                  <a:cubicBezTo>
                    <a:pt x="78254" y="5934"/>
                    <a:pt x="78254" y="8901"/>
                    <a:pt x="75288" y="8901"/>
                  </a:cubicBezTo>
                  <a:cubicBezTo>
                    <a:pt x="75288" y="8901"/>
                    <a:pt x="15948" y="38571"/>
                    <a:pt x="10013" y="68241"/>
                  </a:cubicBezTo>
                  <a:cubicBezTo>
                    <a:pt x="7047" y="77142"/>
                    <a:pt x="10013" y="83077"/>
                    <a:pt x="15948" y="91977"/>
                  </a:cubicBezTo>
                  <a:cubicBezTo>
                    <a:pt x="18914" y="94945"/>
                    <a:pt x="18914" y="97912"/>
                    <a:pt x="15948" y="100879"/>
                  </a:cubicBezTo>
                  <a:cubicBezTo>
                    <a:pt x="15948" y="103846"/>
                    <a:pt x="15948" y="103846"/>
                    <a:pt x="12981" y="103846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8337AC7A-4F0B-4319-9CC8-2F934CF65E43}"/>
                </a:ext>
              </a:extLst>
            </p:cNvPr>
            <p:cNvSpPr/>
            <p:nvPr/>
          </p:nvSpPr>
          <p:spPr>
            <a:xfrm>
              <a:off x="22297284" y="8668067"/>
              <a:ext cx="411201" cy="560678"/>
            </a:xfrm>
            <a:custGeom>
              <a:avLst/>
              <a:gdLst>
                <a:gd name="connsiteX0" fmla="*/ 364945 w 411201"/>
                <a:gd name="connsiteY0" fmla="*/ 560679 h 560678"/>
                <a:gd name="connsiteX1" fmla="*/ 356044 w 411201"/>
                <a:gd name="connsiteY1" fmla="*/ 8811 h 560678"/>
                <a:gd name="connsiteX2" fmla="*/ 0 w 411201"/>
                <a:gd name="connsiteY2" fmla="*/ 421228 h 560678"/>
                <a:gd name="connsiteX3" fmla="*/ 364945 w 411201"/>
                <a:gd name="connsiteY3" fmla="*/ 560679 h 560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201" h="560678">
                  <a:moveTo>
                    <a:pt x="364945" y="560679"/>
                  </a:moveTo>
                  <a:cubicBezTo>
                    <a:pt x="364945" y="560679"/>
                    <a:pt x="474725" y="77053"/>
                    <a:pt x="356044" y="8811"/>
                  </a:cubicBezTo>
                  <a:cubicBezTo>
                    <a:pt x="219559" y="-71299"/>
                    <a:pt x="0" y="421228"/>
                    <a:pt x="0" y="421228"/>
                  </a:cubicBezTo>
                  <a:cubicBezTo>
                    <a:pt x="0" y="421228"/>
                    <a:pt x="151318" y="560679"/>
                    <a:pt x="364945" y="560679"/>
                  </a:cubicBezTo>
                  <a:close/>
                </a:path>
              </a:pathLst>
            </a:custGeom>
            <a:solidFill>
              <a:srgbClr val="7F95BC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92B487A8-6517-4FA2-84B8-4F002C1D5355}"/>
                </a:ext>
              </a:extLst>
            </p:cNvPr>
            <p:cNvSpPr/>
            <p:nvPr/>
          </p:nvSpPr>
          <p:spPr>
            <a:xfrm>
              <a:off x="22291350" y="8666951"/>
              <a:ext cx="412418" cy="564761"/>
            </a:xfrm>
            <a:custGeom>
              <a:avLst/>
              <a:gdLst>
                <a:gd name="connsiteX0" fmla="*/ 359010 w 412418"/>
                <a:gd name="connsiteY0" fmla="*/ 564762 h 564761"/>
                <a:gd name="connsiteX1" fmla="*/ 2966 w 412418"/>
                <a:gd name="connsiteY1" fmla="*/ 422344 h 564761"/>
                <a:gd name="connsiteX2" fmla="*/ 0 w 412418"/>
                <a:gd name="connsiteY2" fmla="*/ 419377 h 564761"/>
                <a:gd name="connsiteX3" fmla="*/ 2966 w 412418"/>
                <a:gd name="connsiteY3" fmla="*/ 416410 h 564761"/>
                <a:gd name="connsiteX4" fmla="*/ 166153 w 412418"/>
                <a:gd name="connsiteY4" fmla="*/ 125641 h 564761"/>
                <a:gd name="connsiteX5" fmla="*/ 364945 w 412418"/>
                <a:gd name="connsiteY5" fmla="*/ 1026 h 564761"/>
                <a:gd name="connsiteX6" fmla="*/ 367913 w 412418"/>
                <a:gd name="connsiteY6" fmla="*/ 6960 h 564761"/>
                <a:gd name="connsiteX7" fmla="*/ 361978 w 412418"/>
                <a:gd name="connsiteY7" fmla="*/ 9927 h 564761"/>
                <a:gd name="connsiteX8" fmla="*/ 175056 w 412418"/>
                <a:gd name="connsiteY8" fmla="*/ 128608 h 564761"/>
                <a:gd name="connsiteX9" fmla="*/ 14835 w 412418"/>
                <a:gd name="connsiteY9" fmla="*/ 413443 h 564761"/>
                <a:gd name="connsiteX10" fmla="*/ 359010 w 412418"/>
                <a:gd name="connsiteY10" fmla="*/ 549927 h 564761"/>
                <a:gd name="connsiteX11" fmla="*/ 364945 w 412418"/>
                <a:gd name="connsiteY11" fmla="*/ 549927 h 564761"/>
                <a:gd name="connsiteX12" fmla="*/ 400549 w 412418"/>
                <a:gd name="connsiteY12" fmla="*/ 333333 h 564761"/>
                <a:gd name="connsiteX13" fmla="*/ 406484 w 412418"/>
                <a:gd name="connsiteY13" fmla="*/ 327399 h 564761"/>
                <a:gd name="connsiteX14" fmla="*/ 412418 w 412418"/>
                <a:gd name="connsiteY14" fmla="*/ 333333 h 564761"/>
                <a:gd name="connsiteX15" fmla="*/ 376814 w 412418"/>
                <a:gd name="connsiteY15" fmla="*/ 555861 h 564761"/>
                <a:gd name="connsiteX16" fmla="*/ 376814 w 412418"/>
                <a:gd name="connsiteY16" fmla="*/ 558828 h 564761"/>
                <a:gd name="connsiteX17" fmla="*/ 373845 w 412418"/>
                <a:gd name="connsiteY17" fmla="*/ 558828 h 564761"/>
                <a:gd name="connsiteX18" fmla="*/ 359010 w 412418"/>
                <a:gd name="connsiteY18" fmla="*/ 564762 h 56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12418" h="564761">
                  <a:moveTo>
                    <a:pt x="359010" y="564762"/>
                  </a:moveTo>
                  <a:cubicBezTo>
                    <a:pt x="160221" y="564762"/>
                    <a:pt x="5934" y="422344"/>
                    <a:pt x="2966" y="422344"/>
                  </a:cubicBezTo>
                  <a:lnTo>
                    <a:pt x="0" y="419377"/>
                  </a:lnTo>
                  <a:lnTo>
                    <a:pt x="2966" y="416410"/>
                  </a:lnTo>
                  <a:cubicBezTo>
                    <a:pt x="2966" y="416410"/>
                    <a:pt x="77142" y="271026"/>
                    <a:pt x="166153" y="125641"/>
                  </a:cubicBezTo>
                  <a:cubicBezTo>
                    <a:pt x="258132" y="-19744"/>
                    <a:pt x="359010" y="1026"/>
                    <a:pt x="364945" y="1026"/>
                  </a:cubicBezTo>
                  <a:cubicBezTo>
                    <a:pt x="367913" y="1026"/>
                    <a:pt x="370879" y="3993"/>
                    <a:pt x="367913" y="6960"/>
                  </a:cubicBezTo>
                  <a:cubicBezTo>
                    <a:pt x="367913" y="9927"/>
                    <a:pt x="364945" y="12894"/>
                    <a:pt x="361978" y="9927"/>
                  </a:cubicBezTo>
                  <a:cubicBezTo>
                    <a:pt x="361978" y="9927"/>
                    <a:pt x="261099" y="-10842"/>
                    <a:pt x="175056" y="128608"/>
                  </a:cubicBezTo>
                  <a:cubicBezTo>
                    <a:pt x="94945" y="259157"/>
                    <a:pt x="26704" y="389707"/>
                    <a:pt x="14835" y="413443"/>
                  </a:cubicBezTo>
                  <a:cubicBezTo>
                    <a:pt x="38571" y="434213"/>
                    <a:pt x="180988" y="549927"/>
                    <a:pt x="359010" y="549927"/>
                  </a:cubicBezTo>
                  <a:cubicBezTo>
                    <a:pt x="361978" y="549927"/>
                    <a:pt x="364945" y="549927"/>
                    <a:pt x="364945" y="549927"/>
                  </a:cubicBezTo>
                  <a:cubicBezTo>
                    <a:pt x="370879" y="523224"/>
                    <a:pt x="397583" y="380806"/>
                    <a:pt x="400549" y="333333"/>
                  </a:cubicBezTo>
                  <a:cubicBezTo>
                    <a:pt x="400549" y="330366"/>
                    <a:pt x="403516" y="327399"/>
                    <a:pt x="406484" y="327399"/>
                  </a:cubicBezTo>
                  <a:cubicBezTo>
                    <a:pt x="409450" y="327399"/>
                    <a:pt x="412418" y="330366"/>
                    <a:pt x="412418" y="333333"/>
                  </a:cubicBezTo>
                  <a:cubicBezTo>
                    <a:pt x="406484" y="383773"/>
                    <a:pt x="376814" y="552894"/>
                    <a:pt x="376814" y="555861"/>
                  </a:cubicBezTo>
                  <a:lnTo>
                    <a:pt x="376814" y="558828"/>
                  </a:lnTo>
                  <a:lnTo>
                    <a:pt x="373845" y="558828"/>
                  </a:lnTo>
                  <a:cubicBezTo>
                    <a:pt x="367913" y="564762"/>
                    <a:pt x="361978" y="564762"/>
                    <a:pt x="359010" y="564762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DFAC9181-35C3-44C5-8DDC-47A630C0A823}"/>
                </a:ext>
              </a:extLst>
            </p:cNvPr>
            <p:cNvSpPr/>
            <p:nvPr/>
          </p:nvSpPr>
          <p:spPr>
            <a:xfrm>
              <a:off x="21410140" y="9534351"/>
              <a:ext cx="106814" cy="100878"/>
            </a:xfrm>
            <a:custGeom>
              <a:avLst/>
              <a:gdLst>
                <a:gd name="connsiteX0" fmla="*/ 35605 w 106814"/>
                <a:gd name="connsiteY0" fmla="*/ 83077 h 100878"/>
                <a:gd name="connsiteX1" fmla="*/ 106814 w 106814"/>
                <a:gd name="connsiteY1" fmla="*/ 100879 h 100878"/>
                <a:gd name="connsiteX2" fmla="*/ 91979 w 106814"/>
                <a:gd name="connsiteY2" fmla="*/ 8901 h 100878"/>
                <a:gd name="connsiteX3" fmla="*/ 35605 w 106814"/>
                <a:gd name="connsiteY3" fmla="*/ 0 h 100878"/>
                <a:gd name="connsiteX4" fmla="*/ 0 w 106814"/>
                <a:gd name="connsiteY4" fmla="*/ 20769 h 100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814" h="100878">
                  <a:moveTo>
                    <a:pt x="35605" y="83077"/>
                  </a:moveTo>
                  <a:lnTo>
                    <a:pt x="106814" y="100879"/>
                  </a:lnTo>
                  <a:lnTo>
                    <a:pt x="91979" y="8901"/>
                  </a:lnTo>
                  <a:lnTo>
                    <a:pt x="35605" y="0"/>
                  </a:lnTo>
                  <a:lnTo>
                    <a:pt x="0" y="20769"/>
                  </a:ln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76A08CA8-33A4-40BA-90D5-4FC0AD7E8474}"/>
                </a:ext>
              </a:extLst>
            </p:cNvPr>
            <p:cNvSpPr/>
            <p:nvPr/>
          </p:nvSpPr>
          <p:spPr>
            <a:xfrm>
              <a:off x="21110091" y="9756498"/>
              <a:ext cx="496254" cy="119061"/>
            </a:xfrm>
            <a:custGeom>
              <a:avLst/>
              <a:gdLst>
                <a:gd name="connsiteX0" fmla="*/ 460270 w 496254"/>
                <a:gd name="connsiteY0" fmla="*/ 119061 h 119061"/>
                <a:gd name="connsiteX1" fmla="*/ 457302 w 496254"/>
                <a:gd name="connsiteY1" fmla="*/ 119061 h 119061"/>
                <a:gd name="connsiteX2" fmla="*/ 30051 w 496254"/>
                <a:gd name="connsiteY2" fmla="*/ 68621 h 119061"/>
                <a:gd name="connsiteX3" fmla="*/ 380 w 496254"/>
                <a:gd name="connsiteY3" fmla="*/ 30050 h 119061"/>
                <a:gd name="connsiteX4" fmla="*/ 38951 w 496254"/>
                <a:gd name="connsiteY4" fmla="*/ 380 h 119061"/>
                <a:gd name="connsiteX5" fmla="*/ 466205 w 496254"/>
                <a:gd name="connsiteY5" fmla="*/ 50819 h 119061"/>
                <a:gd name="connsiteX6" fmla="*/ 495875 w 496254"/>
                <a:gd name="connsiteY6" fmla="*/ 89391 h 119061"/>
                <a:gd name="connsiteX7" fmla="*/ 460270 w 496254"/>
                <a:gd name="connsiteY7" fmla="*/ 119061 h 119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6254" h="119061">
                  <a:moveTo>
                    <a:pt x="460270" y="119061"/>
                  </a:moveTo>
                  <a:cubicBezTo>
                    <a:pt x="460270" y="119061"/>
                    <a:pt x="457302" y="119061"/>
                    <a:pt x="457302" y="119061"/>
                  </a:cubicBezTo>
                  <a:lnTo>
                    <a:pt x="30051" y="68621"/>
                  </a:lnTo>
                  <a:cubicBezTo>
                    <a:pt x="12247" y="65654"/>
                    <a:pt x="-2588" y="50819"/>
                    <a:pt x="380" y="30050"/>
                  </a:cubicBezTo>
                  <a:cubicBezTo>
                    <a:pt x="3347" y="12248"/>
                    <a:pt x="18182" y="-2587"/>
                    <a:pt x="38951" y="380"/>
                  </a:cubicBezTo>
                  <a:lnTo>
                    <a:pt x="466205" y="50819"/>
                  </a:lnTo>
                  <a:cubicBezTo>
                    <a:pt x="484006" y="53786"/>
                    <a:pt x="498841" y="68621"/>
                    <a:pt x="495875" y="89391"/>
                  </a:cubicBezTo>
                  <a:cubicBezTo>
                    <a:pt x="492907" y="107192"/>
                    <a:pt x="478072" y="119061"/>
                    <a:pt x="460270" y="119061"/>
                  </a:cubicBezTo>
                  <a:close/>
                </a:path>
              </a:pathLst>
            </a:custGeom>
            <a:solidFill>
              <a:srgbClr val="D3977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439C6389-1F20-4A70-BDFA-8293F6C1D7C9}"/>
                </a:ext>
              </a:extLst>
            </p:cNvPr>
            <p:cNvSpPr/>
            <p:nvPr/>
          </p:nvSpPr>
          <p:spPr>
            <a:xfrm>
              <a:off x="21469027" y="9777193"/>
              <a:ext cx="410359" cy="167062"/>
            </a:xfrm>
            <a:custGeom>
              <a:avLst/>
              <a:gdLst>
                <a:gd name="connsiteX0" fmla="*/ 27158 w 410359"/>
                <a:gd name="connsiteY0" fmla="*/ 113202 h 167062"/>
                <a:gd name="connsiteX1" fmla="*/ 362433 w 410359"/>
                <a:gd name="connsiteY1" fmla="*/ 166608 h 167062"/>
                <a:gd name="connsiteX2" fmla="*/ 401004 w 410359"/>
                <a:gd name="connsiteY2" fmla="*/ 139905 h 167062"/>
                <a:gd name="connsiteX3" fmla="*/ 409904 w 410359"/>
                <a:gd name="connsiteY3" fmla="*/ 92433 h 167062"/>
                <a:gd name="connsiteX4" fmla="*/ 383202 w 410359"/>
                <a:gd name="connsiteY4" fmla="*/ 53862 h 167062"/>
                <a:gd name="connsiteX5" fmla="*/ 47928 w 410359"/>
                <a:gd name="connsiteY5" fmla="*/ 454 h 167062"/>
                <a:gd name="connsiteX6" fmla="*/ 9355 w 410359"/>
                <a:gd name="connsiteY6" fmla="*/ 27158 h 167062"/>
                <a:gd name="connsiteX7" fmla="*/ 454 w 410359"/>
                <a:gd name="connsiteY7" fmla="*/ 74630 h 167062"/>
                <a:gd name="connsiteX8" fmla="*/ 27158 w 410359"/>
                <a:gd name="connsiteY8" fmla="*/ 113202 h 16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359" h="167062">
                  <a:moveTo>
                    <a:pt x="27158" y="113202"/>
                  </a:moveTo>
                  <a:lnTo>
                    <a:pt x="362433" y="166608"/>
                  </a:lnTo>
                  <a:cubicBezTo>
                    <a:pt x="380234" y="169576"/>
                    <a:pt x="398037" y="157708"/>
                    <a:pt x="401004" y="139905"/>
                  </a:cubicBezTo>
                  <a:lnTo>
                    <a:pt x="409904" y="92433"/>
                  </a:lnTo>
                  <a:cubicBezTo>
                    <a:pt x="412873" y="74630"/>
                    <a:pt x="401004" y="56828"/>
                    <a:pt x="383202" y="53862"/>
                  </a:cubicBezTo>
                  <a:lnTo>
                    <a:pt x="47928" y="454"/>
                  </a:lnTo>
                  <a:cubicBezTo>
                    <a:pt x="30125" y="-2513"/>
                    <a:pt x="12323" y="9356"/>
                    <a:pt x="9355" y="27158"/>
                  </a:cubicBezTo>
                  <a:lnTo>
                    <a:pt x="454" y="74630"/>
                  </a:lnTo>
                  <a:cubicBezTo>
                    <a:pt x="-2512" y="92433"/>
                    <a:pt x="9355" y="110235"/>
                    <a:pt x="27158" y="113202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BC7ADF88-DD51-4193-B6A8-EFF71B8EE848}"/>
                </a:ext>
              </a:extLst>
            </p:cNvPr>
            <p:cNvGrpSpPr/>
            <p:nvPr/>
          </p:nvGrpSpPr>
          <p:grpSpPr>
            <a:xfrm>
              <a:off x="21563263" y="9700254"/>
              <a:ext cx="298719" cy="276331"/>
              <a:chOff x="21563263" y="9700254"/>
              <a:chExt cx="298719" cy="276331"/>
            </a:xfrm>
          </p:grpSpPr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47316DA7-CCF2-4CEC-853B-6F9B0BC7B3B8}"/>
                  </a:ext>
                </a:extLst>
              </p:cNvPr>
              <p:cNvSpPr/>
              <p:nvPr/>
            </p:nvSpPr>
            <p:spPr>
              <a:xfrm>
                <a:off x="21567286" y="9700254"/>
                <a:ext cx="294695" cy="276331"/>
              </a:xfrm>
              <a:custGeom>
                <a:avLst/>
                <a:gdLst>
                  <a:gd name="connsiteX0" fmla="*/ 284943 w 294695"/>
                  <a:gd name="connsiteY0" fmla="*/ 56624 h 276331"/>
                  <a:gd name="connsiteX1" fmla="*/ 189998 w 294695"/>
                  <a:gd name="connsiteY1" fmla="*/ 250 h 276331"/>
                  <a:gd name="connsiteX2" fmla="*/ 23844 w 294695"/>
                  <a:gd name="connsiteY2" fmla="*/ 151569 h 276331"/>
                  <a:gd name="connsiteX3" fmla="*/ 9009 w 294695"/>
                  <a:gd name="connsiteY3" fmla="*/ 210909 h 276331"/>
                  <a:gd name="connsiteX4" fmla="*/ 44612 w 294695"/>
                  <a:gd name="connsiteY4" fmla="*/ 222777 h 276331"/>
                  <a:gd name="connsiteX5" fmla="*/ 89118 w 294695"/>
                  <a:gd name="connsiteY5" fmla="*/ 252448 h 276331"/>
                  <a:gd name="connsiteX6" fmla="*/ 112855 w 294695"/>
                  <a:gd name="connsiteY6" fmla="*/ 273217 h 276331"/>
                  <a:gd name="connsiteX7" fmla="*/ 151427 w 294695"/>
                  <a:gd name="connsiteY7" fmla="*/ 258382 h 276331"/>
                  <a:gd name="connsiteX8" fmla="*/ 201866 w 294695"/>
                  <a:gd name="connsiteY8" fmla="*/ 264316 h 276331"/>
                  <a:gd name="connsiteX9" fmla="*/ 231537 w 294695"/>
                  <a:gd name="connsiteY9" fmla="*/ 190141 h 276331"/>
                  <a:gd name="connsiteX10" fmla="*/ 281975 w 294695"/>
                  <a:gd name="connsiteY10" fmla="*/ 107063 h 276331"/>
                  <a:gd name="connsiteX11" fmla="*/ 284943 w 294695"/>
                  <a:gd name="connsiteY11" fmla="*/ 56624 h 276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94695" h="276331">
                    <a:moveTo>
                      <a:pt x="284943" y="56624"/>
                    </a:moveTo>
                    <a:cubicBezTo>
                      <a:pt x="261207" y="21019"/>
                      <a:pt x="189998" y="-2717"/>
                      <a:pt x="189998" y="250"/>
                    </a:cubicBezTo>
                    <a:cubicBezTo>
                      <a:pt x="130657" y="41789"/>
                      <a:pt x="71316" y="77393"/>
                      <a:pt x="23844" y="151569"/>
                    </a:cubicBezTo>
                    <a:cubicBezTo>
                      <a:pt x="14942" y="163437"/>
                      <a:pt x="-14728" y="184206"/>
                      <a:pt x="9009" y="210909"/>
                    </a:cubicBezTo>
                    <a:cubicBezTo>
                      <a:pt x="14942" y="216844"/>
                      <a:pt x="29777" y="231679"/>
                      <a:pt x="44612" y="222777"/>
                    </a:cubicBezTo>
                    <a:cubicBezTo>
                      <a:pt x="41646" y="246514"/>
                      <a:pt x="80217" y="264316"/>
                      <a:pt x="89118" y="252448"/>
                    </a:cubicBezTo>
                    <a:cubicBezTo>
                      <a:pt x="89118" y="258382"/>
                      <a:pt x="103953" y="273217"/>
                      <a:pt x="112855" y="273217"/>
                    </a:cubicBezTo>
                    <a:cubicBezTo>
                      <a:pt x="130657" y="279152"/>
                      <a:pt x="139558" y="276184"/>
                      <a:pt x="151427" y="258382"/>
                    </a:cubicBezTo>
                    <a:cubicBezTo>
                      <a:pt x="163294" y="276184"/>
                      <a:pt x="187031" y="285085"/>
                      <a:pt x="201866" y="264316"/>
                    </a:cubicBezTo>
                    <a:cubicBezTo>
                      <a:pt x="222634" y="237612"/>
                      <a:pt x="216702" y="219811"/>
                      <a:pt x="231537" y="190141"/>
                    </a:cubicBezTo>
                    <a:cubicBezTo>
                      <a:pt x="246372" y="160470"/>
                      <a:pt x="267140" y="133766"/>
                      <a:pt x="281975" y="107063"/>
                    </a:cubicBezTo>
                    <a:cubicBezTo>
                      <a:pt x="296810" y="86294"/>
                      <a:pt x="299778" y="77393"/>
                      <a:pt x="284943" y="56624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588D40A7-30B8-4423-82DD-60CFA9668D25}"/>
                  </a:ext>
                </a:extLst>
              </p:cNvPr>
              <p:cNvSpPr/>
              <p:nvPr/>
            </p:nvSpPr>
            <p:spPr>
              <a:xfrm>
                <a:off x="21563263" y="9784323"/>
                <a:ext cx="95367" cy="144642"/>
              </a:xfrm>
              <a:custGeom>
                <a:avLst/>
                <a:gdLst>
                  <a:gd name="connsiteX0" fmla="*/ 48635 w 95367"/>
                  <a:gd name="connsiteY0" fmla="*/ 144643 h 144642"/>
                  <a:gd name="connsiteX1" fmla="*/ 7098 w 95367"/>
                  <a:gd name="connsiteY1" fmla="*/ 129807 h 144642"/>
                  <a:gd name="connsiteX2" fmla="*/ 1164 w 95367"/>
                  <a:gd name="connsiteY2" fmla="*/ 103104 h 144642"/>
                  <a:gd name="connsiteX3" fmla="*/ 84240 w 95367"/>
                  <a:gd name="connsiteY3" fmla="*/ 2225 h 144642"/>
                  <a:gd name="connsiteX4" fmla="*/ 93141 w 95367"/>
                  <a:gd name="connsiteY4" fmla="*/ 2225 h 144642"/>
                  <a:gd name="connsiteX5" fmla="*/ 93141 w 95367"/>
                  <a:gd name="connsiteY5" fmla="*/ 11126 h 144642"/>
                  <a:gd name="connsiteX6" fmla="*/ 15999 w 95367"/>
                  <a:gd name="connsiteY6" fmla="*/ 106072 h 144642"/>
                  <a:gd name="connsiteX7" fmla="*/ 18965 w 95367"/>
                  <a:gd name="connsiteY7" fmla="*/ 123873 h 144642"/>
                  <a:gd name="connsiteX8" fmla="*/ 51604 w 95367"/>
                  <a:gd name="connsiteY8" fmla="*/ 135742 h 144642"/>
                  <a:gd name="connsiteX9" fmla="*/ 51604 w 95367"/>
                  <a:gd name="connsiteY9" fmla="*/ 135742 h 144642"/>
                  <a:gd name="connsiteX10" fmla="*/ 57538 w 95367"/>
                  <a:gd name="connsiteY10" fmla="*/ 141675 h 144642"/>
                  <a:gd name="connsiteX11" fmla="*/ 48635 w 95367"/>
                  <a:gd name="connsiteY11" fmla="*/ 144643 h 144642"/>
                  <a:gd name="connsiteX12" fmla="*/ 48635 w 95367"/>
                  <a:gd name="connsiteY12" fmla="*/ 144643 h 144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367" h="144642">
                    <a:moveTo>
                      <a:pt x="48635" y="144643"/>
                    </a:moveTo>
                    <a:cubicBezTo>
                      <a:pt x="42703" y="144643"/>
                      <a:pt x="18965" y="144643"/>
                      <a:pt x="7098" y="129807"/>
                    </a:cubicBezTo>
                    <a:cubicBezTo>
                      <a:pt x="1164" y="123873"/>
                      <a:pt x="-1803" y="114972"/>
                      <a:pt x="1164" y="103104"/>
                    </a:cubicBezTo>
                    <a:cubicBezTo>
                      <a:pt x="10064" y="58599"/>
                      <a:pt x="81274" y="5192"/>
                      <a:pt x="84240" y="2225"/>
                    </a:cubicBezTo>
                    <a:cubicBezTo>
                      <a:pt x="87208" y="-742"/>
                      <a:pt x="90175" y="-742"/>
                      <a:pt x="93141" y="2225"/>
                    </a:cubicBezTo>
                    <a:cubicBezTo>
                      <a:pt x="96109" y="5192"/>
                      <a:pt x="96109" y="8159"/>
                      <a:pt x="93141" y="11126"/>
                    </a:cubicBezTo>
                    <a:cubicBezTo>
                      <a:pt x="93141" y="11126"/>
                      <a:pt x="21933" y="67500"/>
                      <a:pt x="15999" y="106072"/>
                    </a:cubicBezTo>
                    <a:cubicBezTo>
                      <a:pt x="15999" y="112005"/>
                      <a:pt x="15999" y="117940"/>
                      <a:pt x="18965" y="123873"/>
                    </a:cubicBezTo>
                    <a:cubicBezTo>
                      <a:pt x="27868" y="132775"/>
                      <a:pt x="45669" y="135742"/>
                      <a:pt x="51604" y="135742"/>
                    </a:cubicBezTo>
                    <a:cubicBezTo>
                      <a:pt x="51604" y="135742"/>
                      <a:pt x="51604" y="135742"/>
                      <a:pt x="51604" y="135742"/>
                    </a:cubicBezTo>
                    <a:cubicBezTo>
                      <a:pt x="54570" y="135742"/>
                      <a:pt x="57538" y="138708"/>
                      <a:pt x="57538" y="141675"/>
                    </a:cubicBezTo>
                    <a:cubicBezTo>
                      <a:pt x="57538" y="141675"/>
                      <a:pt x="54570" y="144643"/>
                      <a:pt x="48635" y="144643"/>
                    </a:cubicBezTo>
                    <a:cubicBezTo>
                      <a:pt x="51604" y="144643"/>
                      <a:pt x="51604" y="144643"/>
                      <a:pt x="48635" y="144643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F4BCBFC7-1992-4358-A85B-5EA3CE8A82E7}"/>
                  </a:ext>
                </a:extLst>
              </p:cNvPr>
              <p:cNvSpPr/>
              <p:nvPr/>
            </p:nvSpPr>
            <p:spPr>
              <a:xfrm>
                <a:off x="21644537" y="9896328"/>
                <a:ext cx="91977" cy="35604"/>
              </a:xfrm>
              <a:custGeom>
                <a:avLst/>
                <a:gdLst>
                  <a:gd name="connsiteX0" fmla="*/ 83077 w 91977"/>
                  <a:gd name="connsiteY0" fmla="*/ 35605 h 35604"/>
                  <a:gd name="connsiteX1" fmla="*/ 83077 w 91977"/>
                  <a:gd name="connsiteY1" fmla="*/ 35605 h 35604"/>
                  <a:gd name="connsiteX2" fmla="*/ 2966 w 91977"/>
                  <a:gd name="connsiteY2" fmla="*/ 11868 h 35604"/>
                  <a:gd name="connsiteX3" fmla="*/ 0 w 91977"/>
                  <a:gd name="connsiteY3" fmla="*/ 2967 h 35604"/>
                  <a:gd name="connsiteX4" fmla="*/ 8901 w 91977"/>
                  <a:gd name="connsiteY4" fmla="*/ 0 h 35604"/>
                  <a:gd name="connsiteX5" fmla="*/ 86043 w 91977"/>
                  <a:gd name="connsiteY5" fmla="*/ 23737 h 35604"/>
                  <a:gd name="connsiteX6" fmla="*/ 91977 w 91977"/>
                  <a:gd name="connsiteY6" fmla="*/ 29670 h 35604"/>
                  <a:gd name="connsiteX7" fmla="*/ 83077 w 91977"/>
                  <a:gd name="connsiteY7" fmla="*/ 35605 h 35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977" h="35604">
                    <a:moveTo>
                      <a:pt x="83077" y="35605"/>
                    </a:moveTo>
                    <a:cubicBezTo>
                      <a:pt x="83077" y="35605"/>
                      <a:pt x="80110" y="35605"/>
                      <a:pt x="83077" y="35605"/>
                    </a:cubicBezTo>
                    <a:cubicBezTo>
                      <a:pt x="80110" y="35605"/>
                      <a:pt x="17801" y="23737"/>
                      <a:pt x="2966" y="11868"/>
                    </a:cubicBezTo>
                    <a:cubicBezTo>
                      <a:pt x="0" y="8902"/>
                      <a:pt x="0" y="5934"/>
                      <a:pt x="0" y="2967"/>
                    </a:cubicBezTo>
                    <a:cubicBezTo>
                      <a:pt x="2966" y="0"/>
                      <a:pt x="5934" y="0"/>
                      <a:pt x="8901" y="0"/>
                    </a:cubicBezTo>
                    <a:cubicBezTo>
                      <a:pt x="20770" y="8902"/>
                      <a:pt x="68241" y="20770"/>
                      <a:pt x="86043" y="23737"/>
                    </a:cubicBezTo>
                    <a:cubicBezTo>
                      <a:pt x="89011" y="23737"/>
                      <a:pt x="91977" y="26703"/>
                      <a:pt x="91977" y="29670"/>
                    </a:cubicBezTo>
                    <a:cubicBezTo>
                      <a:pt x="86043" y="32638"/>
                      <a:pt x="86043" y="35605"/>
                      <a:pt x="83077" y="35605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2" name="图形 1">
              <a:extLst>
                <a:ext uri="{FF2B5EF4-FFF2-40B4-BE49-F238E27FC236}">
                  <a16:creationId xmlns:a16="http://schemas.microsoft.com/office/drawing/2014/main" id="{B5B5AD1B-78F5-4F5C-9281-8E8D57ECE20B}"/>
                </a:ext>
              </a:extLst>
            </p:cNvPr>
            <p:cNvGrpSpPr/>
            <p:nvPr/>
          </p:nvGrpSpPr>
          <p:grpSpPr>
            <a:xfrm>
              <a:off x="17980251" y="7952922"/>
              <a:ext cx="2020549" cy="697252"/>
              <a:chOff x="17980251" y="7952922"/>
              <a:chExt cx="2020549" cy="697252"/>
            </a:xfrm>
          </p:grpSpPr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FE64E6DB-E709-4DD1-91B1-D41E2A837CB0}"/>
                  </a:ext>
                </a:extLst>
              </p:cNvPr>
              <p:cNvSpPr/>
              <p:nvPr/>
            </p:nvSpPr>
            <p:spPr>
              <a:xfrm>
                <a:off x="17980251" y="7952922"/>
                <a:ext cx="2020548" cy="545934"/>
              </a:xfrm>
              <a:custGeom>
                <a:avLst/>
                <a:gdLst>
                  <a:gd name="connsiteX0" fmla="*/ 2020549 w 2020548"/>
                  <a:gd name="connsiteY0" fmla="*/ 545934 h 545934"/>
                  <a:gd name="connsiteX1" fmla="*/ 611208 w 2020548"/>
                  <a:gd name="connsiteY1" fmla="*/ 545934 h 545934"/>
                  <a:gd name="connsiteX2" fmla="*/ 0 w 2020548"/>
                  <a:gd name="connsiteY2" fmla="*/ 0 h 545934"/>
                  <a:gd name="connsiteX3" fmla="*/ 1409341 w 2020548"/>
                  <a:gd name="connsiteY3" fmla="*/ 0 h 545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20548" h="545934">
                    <a:moveTo>
                      <a:pt x="2020549" y="545934"/>
                    </a:moveTo>
                    <a:lnTo>
                      <a:pt x="611208" y="545934"/>
                    </a:lnTo>
                    <a:lnTo>
                      <a:pt x="0" y="0"/>
                    </a:lnTo>
                    <a:lnTo>
                      <a:pt x="1409341" y="0"/>
                    </a:lnTo>
                    <a:close/>
                  </a:path>
                </a:pathLst>
              </a:custGeom>
              <a:solidFill>
                <a:srgbClr val="F1DDBA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B6DBE087-DD9A-4A97-B0C6-230D8EFB859D}"/>
                  </a:ext>
                </a:extLst>
              </p:cNvPr>
              <p:cNvSpPr/>
              <p:nvPr/>
            </p:nvSpPr>
            <p:spPr>
              <a:xfrm>
                <a:off x="17980251" y="7952922"/>
                <a:ext cx="617142" cy="691318"/>
              </a:xfrm>
              <a:custGeom>
                <a:avLst/>
                <a:gdLst>
                  <a:gd name="connsiteX0" fmla="*/ 617143 w 617142"/>
                  <a:gd name="connsiteY0" fmla="*/ 691319 h 691318"/>
                  <a:gd name="connsiteX1" fmla="*/ 0 w 617142"/>
                  <a:gd name="connsiteY1" fmla="*/ 148352 h 691318"/>
                  <a:gd name="connsiteX2" fmla="*/ 0 w 617142"/>
                  <a:gd name="connsiteY2" fmla="*/ 0 h 691318"/>
                  <a:gd name="connsiteX3" fmla="*/ 617143 w 617142"/>
                  <a:gd name="connsiteY3" fmla="*/ 545934 h 691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7142" h="691318">
                    <a:moveTo>
                      <a:pt x="617143" y="691319"/>
                    </a:moveTo>
                    <a:lnTo>
                      <a:pt x="0" y="148352"/>
                    </a:lnTo>
                    <a:lnTo>
                      <a:pt x="0" y="0"/>
                    </a:lnTo>
                    <a:lnTo>
                      <a:pt x="617143" y="545934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87106FDD-86FA-4D02-8DED-C463B1E82976}"/>
                  </a:ext>
                </a:extLst>
              </p:cNvPr>
              <p:cNvSpPr/>
              <p:nvPr/>
            </p:nvSpPr>
            <p:spPr>
              <a:xfrm>
                <a:off x="18597393" y="8495889"/>
                <a:ext cx="1403406" cy="151318"/>
              </a:xfrm>
              <a:custGeom>
                <a:avLst/>
                <a:gdLst>
                  <a:gd name="connsiteX0" fmla="*/ 0 w 1403406"/>
                  <a:gd name="connsiteY0" fmla="*/ 0 h 151318"/>
                  <a:gd name="connsiteX1" fmla="*/ 1403406 w 1403406"/>
                  <a:gd name="connsiteY1" fmla="*/ 0 h 151318"/>
                  <a:gd name="connsiteX2" fmla="*/ 1403406 w 1403406"/>
                  <a:gd name="connsiteY2" fmla="*/ 151319 h 151318"/>
                  <a:gd name="connsiteX3" fmla="*/ 0 w 1403406"/>
                  <a:gd name="connsiteY3" fmla="*/ 151319 h 151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3406" h="151318">
                    <a:moveTo>
                      <a:pt x="0" y="0"/>
                    </a:moveTo>
                    <a:lnTo>
                      <a:pt x="1403406" y="0"/>
                    </a:lnTo>
                    <a:lnTo>
                      <a:pt x="1403406" y="151319"/>
                    </a:lnTo>
                    <a:lnTo>
                      <a:pt x="0" y="151319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CCF3BAC6-574B-4337-86FF-E16BC1D2F256}"/>
                  </a:ext>
                </a:extLst>
              </p:cNvPr>
              <p:cNvSpPr/>
              <p:nvPr/>
            </p:nvSpPr>
            <p:spPr>
              <a:xfrm>
                <a:off x="18591459" y="8486988"/>
                <a:ext cx="11868" cy="163186"/>
              </a:xfrm>
              <a:custGeom>
                <a:avLst/>
                <a:gdLst>
                  <a:gd name="connsiteX0" fmla="*/ 5934 w 11868"/>
                  <a:gd name="connsiteY0" fmla="*/ 163187 h 163186"/>
                  <a:gd name="connsiteX1" fmla="*/ 0 w 11868"/>
                  <a:gd name="connsiteY1" fmla="*/ 157253 h 163186"/>
                  <a:gd name="connsiteX2" fmla="*/ 0 w 11868"/>
                  <a:gd name="connsiteY2" fmla="*/ 5934 h 163186"/>
                  <a:gd name="connsiteX3" fmla="*/ 5934 w 11868"/>
                  <a:gd name="connsiteY3" fmla="*/ 0 h 163186"/>
                  <a:gd name="connsiteX4" fmla="*/ 11869 w 11868"/>
                  <a:gd name="connsiteY4" fmla="*/ 5934 h 163186"/>
                  <a:gd name="connsiteX5" fmla="*/ 11869 w 11868"/>
                  <a:gd name="connsiteY5" fmla="*/ 157253 h 163186"/>
                  <a:gd name="connsiteX6" fmla="*/ 5934 w 11868"/>
                  <a:gd name="connsiteY6" fmla="*/ 163187 h 163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868" h="163186">
                    <a:moveTo>
                      <a:pt x="5934" y="163187"/>
                    </a:moveTo>
                    <a:cubicBezTo>
                      <a:pt x="2968" y="163187"/>
                      <a:pt x="0" y="160220"/>
                      <a:pt x="0" y="157253"/>
                    </a:cubicBezTo>
                    <a:lnTo>
                      <a:pt x="0" y="5934"/>
                    </a:lnTo>
                    <a:cubicBezTo>
                      <a:pt x="0" y="2967"/>
                      <a:pt x="2968" y="0"/>
                      <a:pt x="5934" y="0"/>
                    </a:cubicBezTo>
                    <a:cubicBezTo>
                      <a:pt x="8901" y="0"/>
                      <a:pt x="11869" y="2967"/>
                      <a:pt x="11869" y="5934"/>
                    </a:cubicBezTo>
                    <a:lnTo>
                      <a:pt x="11869" y="157253"/>
                    </a:lnTo>
                    <a:cubicBezTo>
                      <a:pt x="11869" y="160220"/>
                      <a:pt x="8901" y="163187"/>
                      <a:pt x="5934" y="163187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06" name="图形 1">
                <a:extLst>
                  <a:ext uri="{FF2B5EF4-FFF2-40B4-BE49-F238E27FC236}">
                    <a16:creationId xmlns:a16="http://schemas.microsoft.com/office/drawing/2014/main" id="{98D20508-C550-41E9-91C4-5F6BB697139F}"/>
                  </a:ext>
                </a:extLst>
              </p:cNvPr>
              <p:cNvGrpSpPr/>
              <p:nvPr/>
            </p:nvGrpSpPr>
            <p:grpSpPr>
              <a:xfrm>
                <a:off x="18499011" y="8039503"/>
                <a:ext cx="982833" cy="370341"/>
                <a:chOff x="18499011" y="8039503"/>
                <a:chExt cx="982833" cy="370341"/>
              </a:xfrm>
            </p:grpSpPr>
            <p:sp>
              <p:nvSpPr>
                <p:cNvPr id="107" name="任意多边形: 形状 106">
                  <a:extLst>
                    <a:ext uri="{FF2B5EF4-FFF2-40B4-BE49-F238E27FC236}">
                      <a16:creationId xmlns:a16="http://schemas.microsoft.com/office/drawing/2014/main" id="{9B7D009E-7620-4F52-9FE8-73D293F5B03B}"/>
                    </a:ext>
                  </a:extLst>
                </p:cNvPr>
                <p:cNvSpPr/>
                <p:nvPr/>
              </p:nvSpPr>
              <p:spPr>
                <a:xfrm>
                  <a:off x="18499011" y="8039503"/>
                  <a:ext cx="982833" cy="370341"/>
                </a:xfrm>
                <a:custGeom>
                  <a:avLst/>
                  <a:gdLst>
                    <a:gd name="connsiteX0" fmla="*/ 507833 w 982833"/>
                    <a:gd name="connsiteY0" fmla="*/ 5397 h 370341"/>
                    <a:gd name="connsiteX1" fmla="*/ 471 w 982833"/>
                    <a:gd name="connsiteY1" fmla="*/ 138913 h 370341"/>
                    <a:gd name="connsiteX2" fmla="*/ 136954 w 982833"/>
                    <a:gd name="connsiteY2" fmla="*/ 281331 h 370341"/>
                    <a:gd name="connsiteX3" fmla="*/ 475196 w 982833"/>
                    <a:gd name="connsiteY3" fmla="*/ 364408 h 370341"/>
                    <a:gd name="connsiteX4" fmla="*/ 599812 w 982833"/>
                    <a:gd name="connsiteY4" fmla="*/ 370342 h 370341"/>
                    <a:gd name="connsiteX5" fmla="*/ 982558 w 982833"/>
                    <a:gd name="connsiteY5" fmla="*/ 230891 h 370341"/>
                    <a:gd name="connsiteX6" fmla="*/ 507833 w 982833"/>
                    <a:gd name="connsiteY6" fmla="*/ 5397 h 3703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82833" h="370341">
                      <a:moveTo>
                        <a:pt x="507833" y="5397"/>
                      </a:moveTo>
                      <a:cubicBezTo>
                        <a:pt x="231899" y="-18340"/>
                        <a:pt x="9371" y="38034"/>
                        <a:pt x="471" y="138913"/>
                      </a:cubicBezTo>
                      <a:cubicBezTo>
                        <a:pt x="-5464" y="189353"/>
                        <a:pt x="44976" y="239792"/>
                        <a:pt x="136954" y="281331"/>
                      </a:cubicBezTo>
                      <a:cubicBezTo>
                        <a:pt x="225965" y="322869"/>
                        <a:pt x="347614" y="352539"/>
                        <a:pt x="475196" y="364408"/>
                      </a:cubicBezTo>
                      <a:cubicBezTo>
                        <a:pt x="516733" y="367375"/>
                        <a:pt x="561239" y="370342"/>
                        <a:pt x="599812" y="370342"/>
                      </a:cubicBezTo>
                      <a:cubicBezTo>
                        <a:pt x="816405" y="370342"/>
                        <a:pt x="976624" y="313968"/>
                        <a:pt x="982558" y="230891"/>
                      </a:cubicBezTo>
                      <a:cubicBezTo>
                        <a:pt x="991459" y="130012"/>
                        <a:pt x="783766" y="32100"/>
                        <a:pt x="507833" y="5397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8" name="任意多边形: 形状 107">
                  <a:extLst>
                    <a:ext uri="{FF2B5EF4-FFF2-40B4-BE49-F238E27FC236}">
                      <a16:creationId xmlns:a16="http://schemas.microsoft.com/office/drawing/2014/main" id="{EFB1172A-167F-4423-8894-FF1822725DCE}"/>
                    </a:ext>
                  </a:extLst>
                </p:cNvPr>
                <p:cNvSpPr/>
                <p:nvPr/>
              </p:nvSpPr>
              <p:spPr>
                <a:xfrm>
                  <a:off x="18573513" y="8081342"/>
                  <a:ext cx="836847" cy="289931"/>
                </a:xfrm>
                <a:custGeom>
                  <a:avLst/>
                  <a:gdLst>
                    <a:gd name="connsiteX0" fmla="*/ 718167 w 836847"/>
                    <a:gd name="connsiteY0" fmla="*/ 70371 h 289931"/>
                    <a:gd name="connsiteX1" fmla="*/ 430364 w 836847"/>
                    <a:gd name="connsiteY1" fmla="*/ 5096 h 289931"/>
                    <a:gd name="connsiteX2" fmla="*/ 144 w 836847"/>
                    <a:gd name="connsiteY2" fmla="*/ 105976 h 289931"/>
                    <a:gd name="connsiteX3" fmla="*/ 403660 w 836847"/>
                    <a:gd name="connsiteY3" fmla="*/ 283998 h 289931"/>
                    <a:gd name="connsiteX4" fmla="*/ 519375 w 836847"/>
                    <a:gd name="connsiteY4" fmla="*/ 289932 h 289931"/>
                    <a:gd name="connsiteX5" fmla="*/ 700363 w 836847"/>
                    <a:gd name="connsiteY5" fmla="*/ 272129 h 289931"/>
                    <a:gd name="connsiteX6" fmla="*/ 836848 w 836847"/>
                    <a:gd name="connsiteY6" fmla="*/ 183118 h 289931"/>
                    <a:gd name="connsiteX7" fmla="*/ 718167 w 836847"/>
                    <a:gd name="connsiteY7" fmla="*/ 70371 h 289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36847" h="289931">
                      <a:moveTo>
                        <a:pt x="718167" y="70371"/>
                      </a:moveTo>
                      <a:cubicBezTo>
                        <a:pt x="641023" y="37734"/>
                        <a:pt x="540145" y="13997"/>
                        <a:pt x="430364" y="5096"/>
                      </a:cubicBezTo>
                      <a:cubicBezTo>
                        <a:pt x="195968" y="-15673"/>
                        <a:pt x="6079" y="28833"/>
                        <a:pt x="144" y="105976"/>
                      </a:cubicBezTo>
                      <a:cubicBezTo>
                        <a:pt x="-5790" y="183118"/>
                        <a:pt x="172232" y="263228"/>
                        <a:pt x="403660" y="283998"/>
                      </a:cubicBezTo>
                      <a:cubicBezTo>
                        <a:pt x="442231" y="286964"/>
                        <a:pt x="480804" y="289932"/>
                        <a:pt x="519375" y="289932"/>
                      </a:cubicBezTo>
                      <a:cubicBezTo>
                        <a:pt x="587616" y="289932"/>
                        <a:pt x="646957" y="283998"/>
                        <a:pt x="700363" y="272129"/>
                      </a:cubicBezTo>
                      <a:cubicBezTo>
                        <a:pt x="783440" y="254327"/>
                        <a:pt x="830913" y="221690"/>
                        <a:pt x="836848" y="183118"/>
                      </a:cubicBezTo>
                      <a:cubicBezTo>
                        <a:pt x="836848" y="141580"/>
                        <a:pt x="795309" y="103008"/>
                        <a:pt x="718167" y="70371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09" name="图形 1">
                  <a:extLst>
                    <a:ext uri="{FF2B5EF4-FFF2-40B4-BE49-F238E27FC236}">
                      <a16:creationId xmlns:a16="http://schemas.microsoft.com/office/drawing/2014/main" id="{95404EB2-F87E-4797-B9AB-61F177EA9488}"/>
                    </a:ext>
                  </a:extLst>
                </p:cNvPr>
                <p:cNvGrpSpPr/>
                <p:nvPr/>
              </p:nvGrpSpPr>
              <p:grpSpPr>
                <a:xfrm>
                  <a:off x="18674285" y="8145779"/>
                  <a:ext cx="110282" cy="80110"/>
                  <a:chOff x="18674285" y="8145779"/>
                  <a:chExt cx="110282" cy="80110"/>
                </a:xfrm>
              </p:grpSpPr>
              <p:sp>
                <p:nvSpPr>
                  <p:cNvPr id="125" name="任意多边形: 形状 124">
                    <a:extLst>
                      <a:ext uri="{FF2B5EF4-FFF2-40B4-BE49-F238E27FC236}">
                        <a16:creationId xmlns:a16="http://schemas.microsoft.com/office/drawing/2014/main" id="{83A73561-BEFE-439C-A3C5-F0F266683CEE}"/>
                      </a:ext>
                    </a:extLst>
                  </p:cNvPr>
                  <p:cNvSpPr/>
                  <p:nvPr/>
                </p:nvSpPr>
                <p:spPr>
                  <a:xfrm>
                    <a:off x="18686121" y="8154118"/>
                    <a:ext cx="89294" cy="60465"/>
                  </a:xfrm>
                  <a:custGeom>
                    <a:avLst/>
                    <a:gdLst>
                      <a:gd name="connsiteX0" fmla="*/ 89294 w 89294"/>
                      <a:gd name="connsiteY0" fmla="*/ 36166 h 60465"/>
                      <a:gd name="connsiteX1" fmla="*/ 41823 w 89294"/>
                      <a:gd name="connsiteY1" fmla="*/ 59903 h 60465"/>
                      <a:gd name="connsiteX2" fmla="*/ 283 w 89294"/>
                      <a:gd name="connsiteY2" fmla="*/ 24299 h 60465"/>
                      <a:gd name="connsiteX3" fmla="*/ 47755 w 89294"/>
                      <a:gd name="connsiteY3" fmla="*/ 562 h 60465"/>
                      <a:gd name="connsiteX4" fmla="*/ 89294 w 89294"/>
                      <a:gd name="connsiteY4" fmla="*/ 36166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294" h="60465">
                        <a:moveTo>
                          <a:pt x="89294" y="36166"/>
                        </a:moveTo>
                        <a:cubicBezTo>
                          <a:pt x="86328" y="53969"/>
                          <a:pt x="65558" y="62870"/>
                          <a:pt x="41823" y="59903"/>
                        </a:cubicBezTo>
                        <a:cubicBezTo>
                          <a:pt x="18085" y="56936"/>
                          <a:pt x="-2683" y="42101"/>
                          <a:pt x="283" y="24299"/>
                        </a:cubicBezTo>
                        <a:cubicBezTo>
                          <a:pt x="3250" y="6496"/>
                          <a:pt x="24019" y="-2405"/>
                          <a:pt x="47755" y="562"/>
                        </a:cubicBezTo>
                        <a:cubicBezTo>
                          <a:pt x="71493" y="6496"/>
                          <a:pt x="89294" y="21331"/>
                          <a:pt x="89294" y="36166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" name="任意多边形: 形状 125">
                    <a:extLst>
                      <a:ext uri="{FF2B5EF4-FFF2-40B4-BE49-F238E27FC236}">
                        <a16:creationId xmlns:a16="http://schemas.microsoft.com/office/drawing/2014/main" id="{06D470DD-D2DD-4665-9319-3E28B8CA73D9}"/>
                      </a:ext>
                    </a:extLst>
                  </p:cNvPr>
                  <p:cNvSpPr/>
                  <p:nvPr/>
                </p:nvSpPr>
                <p:spPr>
                  <a:xfrm>
                    <a:off x="18674285" y="8145779"/>
                    <a:ext cx="110282" cy="80110"/>
                  </a:xfrm>
                  <a:custGeom>
                    <a:avLst/>
                    <a:gdLst>
                      <a:gd name="connsiteX0" fmla="*/ 59591 w 110282"/>
                      <a:gd name="connsiteY0" fmla="*/ 80110 h 80110"/>
                      <a:gd name="connsiteX1" fmla="*/ 50691 w 110282"/>
                      <a:gd name="connsiteY1" fmla="*/ 80110 h 80110"/>
                      <a:gd name="connsiteX2" fmla="*/ 251 w 110282"/>
                      <a:gd name="connsiteY2" fmla="*/ 32638 h 80110"/>
                      <a:gd name="connsiteX3" fmla="*/ 21020 w 110282"/>
                      <a:gd name="connsiteY3" fmla="*/ 5934 h 80110"/>
                      <a:gd name="connsiteX4" fmla="*/ 59591 w 110282"/>
                      <a:gd name="connsiteY4" fmla="*/ 0 h 80110"/>
                      <a:gd name="connsiteX5" fmla="*/ 110031 w 110282"/>
                      <a:gd name="connsiteY5" fmla="*/ 47473 h 80110"/>
                      <a:gd name="connsiteX6" fmla="*/ 89262 w 110282"/>
                      <a:gd name="connsiteY6" fmla="*/ 74176 h 80110"/>
                      <a:gd name="connsiteX7" fmla="*/ 59591 w 110282"/>
                      <a:gd name="connsiteY7" fmla="*/ 80110 h 80110"/>
                      <a:gd name="connsiteX8" fmla="*/ 50691 w 110282"/>
                      <a:gd name="connsiteY8" fmla="*/ 17802 h 80110"/>
                      <a:gd name="connsiteX9" fmla="*/ 29921 w 110282"/>
                      <a:gd name="connsiteY9" fmla="*/ 20770 h 80110"/>
                      <a:gd name="connsiteX10" fmla="*/ 18054 w 110282"/>
                      <a:gd name="connsiteY10" fmla="*/ 32638 h 80110"/>
                      <a:gd name="connsiteX11" fmla="*/ 50691 w 110282"/>
                      <a:gd name="connsiteY11" fmla="*/ 56374 h 80110"/>
                      <a:gd name="connsiteX12" fmla="*/ 77395 w 110282"/>
                      <a:gd name="connsiteY12" fmla="*/ 53407 h 80110"/>
                      <a:gd name="connsiteX13" fmla="*/ 89262 w 110282"/>
                      <a:gd name="connsiteY13" fmla="*/ 41539 h 80110"/>
                      <a:gd name="connsiteX14" fmla="*/ 56625 w 110282"/>
                      <a:gd name="connsiteY14" fmla="*/ 17802 h 80110"/>
                      <a:gd name="connsiteX15" fmla="*/ 50691 w 110282"/>
                      <a:gd name="connsiteY15" fmla="*/ 17802 h 801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0282" h="80110">
                        <a:moveTo>
                          <a:pt x="59591" y="80110"/>
                        </a:moveTo>
                        <a:cubicBezTo>
                          <a:pt x="56625" y="80110"/>
                          <a:pt x="53659" y="80110"/>
                          <a:pt x="50691" y="80110"/>
                        </a:cubicBezTo>
                        <a:cubicBezTo>
                          <a:pt x="21020" y="77143"/>
                          <a:pt x="-2715" y="56374"/>
                          <a:pt x="251" y="32638"/>
                        </a:cubicBezTo>
                        <a:cubicBezTo>
                          <a:pt x="251" y="20770"/>
                          <a:pt x="9153" y="11868"/>
                          <a:pt x="21020" y="5934"/>
                        </a:cubicBezTo>
                        <a:cubicBezTo>
                          <a:pt x="32889" y="0"/>
                          <a:pt x="44756" y="0"/>
                          <a:pt x="59591" y="0"/>
                        </a:cubicBezTo>
                        <a:cubicBezTo>
                          <a:pt x="89262" y="2967"/>
                          <a:pt x="113000" y="23736"/>
                          <a:pt x="110031" y="47473"/>
                        </a:cubicBezTo>
                        <a:cubicBezTo>
                          <a:pt x="110031" y="59341"/>
                          <a:pt x="101131" y="68242"/>
                          <a:pt x="89262" y="74176"/>
                        </a:cubicBezTo>
                        <a:cubicBezTo>
                          <a:pt x="80361" y="77143"/>
                          <a:pt x="68494" y="80110"/>
                          <a:pt x="59591" y="80110"/>
                        </a:cubicBezTo>
                        <a:close/>
                        <a:moveTo>
                          <a:pt x="50691" y="17802"/>
                        </a:moveTo>
                        <a:cubicBezTo>
                          <a:pt x="41790" y="17802"/>
                          <a:pt x="35856" y="17802"/>
                          <a:pt x="29921" y="20770"/>
                        </a:cubicBezTo>
                        <a:cubicBezTo>
                          <a:pt x="26955" y="23736"/>
                          <a:pt x="21020" y="26704"/>
                          <a:pt x="18054" y="32638"/>
                        </a:cubicBezTo>
                        <a:cubicBezTo>
                          <a:pt x="18054" y="41539"/>
                          <a:pt x="29921" y="56374"/>
                          <a:pt x="50691" y="56374"/>
                        </a:cubicBezTo>
                        <a:cubicBezTo>
                          <a:pt x="59591" y="56374"/>
                          <a:pt x="71460" y="56374"/>
                          <a:pt x="77395" y="53407"/>
                        </a:cubicBezTo>
                        <a:cubicBezTo>
                          <a:pt x="80361" y="50440"/>
                          <a:pt x="86296" y="47473"/>
                          <a:pt x="89262" y="41539"/>
                        </a:cubicBezTo>
                        <a:cubicBezTo>
                          <a:pt x="89262" y="32638"/>
                          <a:pt x="77395" y="17802"/>
                          <a:pt x="56625" y="17802"/>
                        </a:cubicBezTo>
                        <a:cubicBezTo>
                          <a:pt x="53659" y="20770"/>
                          <a:pt x="53659" y="17802"/>
                          <a:pt x="50691" y="17802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10" name="图形 1">
                  <a:extLst>
                    <a:ext uri="{FF2B5EF4-FFF2-40B4-BE49-F238E27FC236}">
                      <a16:creationId xmlns:a16="http://schemas.microsoft.com/office/drawing/2014/main" id="{CB1C70B7-CEDB-4778-BBE6-6CD6AB0BC49E}"/>
                    </a:ext>
                  </a:extLst>
                </p:cNvPr>
                <p:cNvGrpSpPr/>
                <p:nvPr/>
              </p:nvGrpSpPr>
              <p:grpSpPr>
                <a:xfrm>
                  <a:off x="19036263" y="8242527"/>
                  <a:ext cx="110282" cy="81273"/>
                  <a:chOff x="19036263" y="8242527"/>
                  <a:chExt cx="110282" cy="81273"/>
                </a:xfrm>
              </p:grpSpPr>
              <p:sp>
                <p:nvSpPr>
                  <p:cNvPr id="123" name="任意多边形: 形状 122">
                    <a:extLst>
                      <a:ext uri="{FF2B5EF4-FFF2-40B4-BE49-F238E27FC236}">
                        <a16:creationId xmlns:a16="http://schemas.microsoft.com/office/drawing/2014/main" id="{E4541719-AF95-4A56-95DB-0C9D5FC0BB7A}"/>
                      </a:ext>
                    </a:extLst>
                  </p:cNvPr>
                  <p:cNvSpPr/>
                  <p:nvPr/>
                </p:nvSpPr>
                <p:spPr>
                  <a:xfrm>
                    <a:off x="19048099" y="8254997"/>
                    <a:ext cx="89577" cy="60465"/>
                  </a:xfrm>
                  <a:custGeom>
                    <a:avLst/>
                    <a:gdLst>
                      <a:gd name="connsiteX0" fmla="*/ 89295 w 89577"/>
                      <a:gd name="connsiteY0" fmla="*/ 36167 h 60465"/>
                      <a:gd name="connsiteX1" fmla="*/ 41821 w 89577"/>
                      <a:gd name="connsiteY1" fmla="*/ 59903 h 60465"/>
                      <a:gd name="connsiteX2" fmla="*/ 284 w 89577"/>
                      <a:gd name="connsiteY2" fmla="*/ 24298 h 60465"/>
                      <a:gd name="connsiteX3" fmla="*/ 47755 w 89577"/>
                      <a:gd name="connsiteY3" fmla="*/ 562 h 60465"/>
                      <a:gd name="connsiteX4" fmla="*/ 89295 w 89577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577" h="60465">
                        <a:moveTo>
                          <a:pt x="89295" y="36167"/>
                        </a:moveTo>
                        <a:cubicBezTo>
                          <a:pt x="86327" y="53969"/>
                          <a:pt x="65559" y="62870"/>
                          <a:pt x="41821" y="59903"/>
                        </a:cubicBezTo>
                        <a:cubicBezTo>
                          <a:pt x="18085" y="56936"/>
                          <a:pt x="-2684" y="42101"/>
                          <a:pt x="284" y="24298"/>
                        </a:cubicBezTo>
                        <a:cubicBezTo>
                          <a:pt x="3250" y="6496"/>
                          <a:pt x="24020" y="-2405"/>
                          <a:pt x="47755" y="562"/>
                        </a:cubicBezTo>
                        <a:cubicBezTo>
                          <a:pt x="71491" y="3529"/>
                          <a:pt x="92261" y="18364"/>
                          <a:pt x="89295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" name="任意多边形: 形状 123">
                    <a:extLst>
                      <a:ext uri="{FF2B5EF4-FFF2-40B4-BE49-F238E27FC236}">
                        <a16:creationId xmlns:a16="http://schemas.microsoft.com/office/drawing/2014/main" id="{3A851C0D-8BB4-4878-A9A0-958ADFEC79B4}"/>
                      </a:ext>
                    </a:extLst>
                  </p:cNvPr>
                  <p:cNvSpPr/>
                  <p:nvPr/>
                </p:nvSpPr>
                <p:spPr>
                  <a:xfrm>
                    <a:off x="19036263" y="8242527"/>
                    <a:ext cx="110282" cy="81273"/>
                  </a:xfrm>
                  <a:custGeom>
                    <a:avLst/>
                    <a:gdLst>
                      <a:gd name="connsiteX0" fmla="*/ 59591 w 110282"/>
                      <a:gd name="connsiteY0" fmla="*/ 81274 h 81273"/>
                      <a:gd name="connsiteX1" fmla="*/ 50691 w 110282"/>
                      <a:gd name="connsiteY1" fmla="*/ 81274 h 81273"/>
                      <a:gd name="connsiteX2" fmla="*/ 251 w 110282"/>
                      <a:gd name="connsiteY2" fmla="*/ 33801 h 81273"/>
                      <a:gd name="connsiteX3" fmla="*/ 21020 w 110282"/>
                      <a:gd name="connsiteY3" fmla="*/ 7098 h 81273"/>
                      <a:gd name="connsiteX4" fmla="*/ 59591 w 110282"/>
                      <a:gd name="connsiteY4" fmla="*/ 1164 h 81273"/>
                      <a:gd name="connsiteX5" fmla="*/ 110031 w 110282"/>
                      <a:gd name="connsiteY5" fmla="*/ 48637 h 81273"/>
                      <a:gd name="connsiteX6" fmla="*/ 89262 w 110282"/>
                      <a:gd name="connsiteY6" fmla="*/ 75340 h 81273"/>
                      <a:gd name="connsiteX7" fmla="*/ 59591 w 110282"/>
                      <a:gd name="connsiteY7" fmla="*/ 81274 h 81273"/>
                      <a:gd name="connsiteX8" fmla="*/ 50691 w 110282"/>
                      <a:gd name="connsiteY8" fmla="*/ 21933 h 81273"/>
                      <a:gd name="connsiteX9" fmla="*/ 29921 w 110282"/>
                      <a:gd name="connsiteY9" fmla="*/ 24900 h 81273"/>
                      <a:gd name="connsiteX10" fmla="*/ 18054 w 110282"/>
                      <a:gd name="connsiteY10" fmla="*/ 36768 h 81273"/>
                      <a:gd name="connsiteX11" fmla="*/ 50691 w 110282"/>
                      <a:gd name="connsiteY11" fmla="*/ 60505 h 81273"/>
                      <a:gd name="connsiteX12" fmla="*/ 77395 w 110282"/>
                      <a:gd name="connsiteY12" fmla="*/ 57538 h 81273"/>
                      <a:gd name="connsiteX13" fmla="*/ 89262 w 110282"/>
                      <a:gd name="connsiteY13" fmla="*/ 45669 h 81273"/>
                      <a:gd name="connsiteX14" fmla="*/ 56625 w 110282"/>
                      <a:gd name="connsiteY14" fmla="*/ 21933 h 81273"/>
                      <a:gd name="connsiteX15" fmla="*/ 50691 w 110282"/>
                      <a:gd name="connsiteY15" fmla="*/ 21933 h 812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0282" h="81273">
                        <a:moveTo>
                          <a:pt x="59591" y="81274"/>
                        </a:moveTo>
                        <a:cubicBezTo>
                          <a:pt x="56625" y="81274"/>
                          <a:pt x="53657" y="81274"/>
                          <a:pt x="50691" y="81274"/>
                        </a:cubicBezTo>
                        <a:cubicBezTo>
                          <a:pt x="21020" y="78307"/>
                          <a:pt x="-2715" y="57538"/>
                          <a:pt x="251" y="33801"/>
                        </a:cubicBezTo>
                        <a:cubicBezTo>
                          <a:pt x="251" y="21933"/>
                          <a:pt x="9152" y="13032"/>
                          <a:pt x="21020" y="7098"/>
                        </a:cubicBezTo>
                        <a:cubicBezTo>
                          <a:pt x="32889" y="1164"/>
                          <a:pt x="44756" y="-1803"/>
                          <a:pt x="59591" y="1164"/>
                        </a:cubicBezTo>
                        <a:cubicBezTo>
                          <a:pt x="89262" y="4131"/>
                          <a:pt x="112998" y="24900"/>
                          <a:pt x="110031" y="48637"/>
                        </a:cubicBezTo>
                        <a:cubicBezTo>
                          <a:pt x="110031" y="60505"/>
                          <a:pt x="101131" y="69406"/>
                          <a:pt x="89262" y="75340"/>
                        </a:cubicBezTo>
                        <a:cubicBezTo>
                          <a:pt x="80361" y="81274"/>
                          <a:pt x="71460" y="81274"/>
                          <a:pt x="59591" y="81274"/>
                        </a:cubicBezTo>
                        <a:close/>
                        <a:moveTo>
                          <a:pt x="50691" y="21933"/>
                        </a:moveTo>
                        <a:cubicBezTo>
                          <a:pt x="41790" y="21933"/>
                          <a:pt x="35856" y="24900"/>
                          <a:pt x="29921" y="24900"/>
                        </a:cubicBezTo>
                        <a:cubicBezTo>
                          <a:pt x="26955" y="27867"/>
                          <a:pt x="21020" y="30834"/>
                          <a:pt x="18054" y="36768"/>
                        </a:cubicBezTo>
                        <a:cubicBezTo>
                          <a:pt x="18054" y="45669"/>
                          <a:pt x="29921" y="60505"/>
                          <a:pt x="50691" y="60505"/>
                        </a:cubicBezTo>
                        <a:cubicBezTo>
                          <a:pt x="59591" y="60505"/>
                          <a:pt x="71460" y="60505"/>
                          <a:pt x="77395" y="57538"/>
                        </a:cubicBezTo>
                        <a:cubicBezTo>
                          <a:pt x="80361" y="54571"/>
                          <a:pt x="86296" y="51603"/>
                          <a:pt x="89262" y="45669"/>
                        </a:cubicBezTo>
                        <a:cubicBezTo>
                          <a:pt x="89262" y="36768"/>
                          <a:pt x="77395" y="21933"/>
                          <a:pt x="56625" y="21933"/>
                        </a:cubicBezTo>
                        <a:cubicBezTo>
                          <a:pt x="56625" y="21933"/>
                          <a:pt x="53657" y="21933"/>
                          <a:pt x="50691" y="21933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11" name="图形 1">
                  <a:extLst>
                    <a:ext uri="{FF2B5EF4-FFF2-40B4-BE49-F238E27FC236}">
                      <a16:creationId xmlns:a16="http://schemas.microsoft.com/office/drawing/2014/main" id="{3B957223-6801-4917-887B-1AB35B81B8C2}"/>
                    </a:ext>
                  </a:extLst>
                </p:cNvPr>
                <p:cNvGrpSpPr/>
                <p:nvPr/>
              </p:nvGrpSpPr>
              <p:grpSpPr>
                <a:xfrm>
                  <a:off x="18861209" y="8110175"/>
                  <a:ext cx="110280" cy="80109"/>
                  <a:chOff x="18861209" y="8110175"/>
                  <a:chExt cx="110280" cy="80109"/>
                </a:xfrm>
              </p:grpSpPr>
              <p:sp>
                <p:nvSpPr>
                  <p:cNvPr id="121" name="任意多边形: 形状 120">
                    <a:extLst>
                      <a:ext uri="{FF2B5EF4-FFF2-40B4-BE49-F238E27FC236}">
                        <a16:creationId xmlns:a16="http://schemas.microsoft.com/office/drawing/2014/main" id="{BBF3F0B3-9E62-49B1-B6EA-9084C782DB58}"/>
                      </a:ext>
                    </a:extLst>
                  </p:cNvPr>
                  <p:cNvSpPr/>
                  <p:nvPr/>
                </p:nvSpPr>
                <p:spPr>
                  <a:xfrm>
                    <a:off x="18870077" y="8118514"/>
                    <a:ext cx="89616" cy="60465"/>
                  </a:xfrm>
                  <a:custGeom>
                    <a:avLst/>
                    <a:gdLst>
                      <a:gd name="connsiteX0" fmla="*/ 89295 w 89616"/>
                      <a:gd name="connsiteY0" fmla="*/ 36167 h 60465"/>
                      <a:gd name="connsiteX1" fmla="*/ 41821 w 89616"/>
                      <a:gd name="connsiteY1" fmla="*/ 59903 h 60465"/>
                      <a:gd name="connsiteX2" fmla="*/ 284 w 89616"/>
                      <a:gd name="connsiteY2" fmla="*/ 24299 h 60465"/>
                      <a:gd name="connsiteX3" fmla="*/ 47755 w 89616"/>
                      <a:gd name="connsiteY3" fmla="*/ 562 h 60465"/>
                      <a:gd name="connsiteX4" fmla="*/ 89295 w 89616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616" h="60465">
                        <a:moveTo>
                          <a:pt x="89295" y="36167"/>
                        </a:moveTo>
                        <a:cubicBezTo>
                          <a:pt x="86327" y="53969"/>
                          <a:pt x="65559" y="62870"/>
                          <a:pt x="41821" y="59903"/>
                        </a:cubicBezTo>
                        <a:cubicBezTo>
                          <a:pt x="18085" y="56936"/>
                          <a:pt x="-2684" y="42101"/>
                          <a:pt x="284" y="24299"/>
                        </a:cubicBezTo>
                        <a:cubicBezTo>
                          <a:pt x="3250" y="6496"/>
                          <a:pt x="24020" y="-2405"/>
                          <a:pt x="47755" y="562"/>
                        </a:cubicBezTo>
                        <a:cubicBezTo>
                          <a:pt x="74459" y="6496"/>
                          <a:pt x="92261" y="21331"/>
                          <a:pt x="89295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" name="任意多边形: 形状 121">
                    <a:extLst>
                      <a:ext uri="{FF2B5EF4-FFF2-40B4-BE49-F238E27FC236}">
                        <a16:creationId xmlns:a16="http://schemas.microsoft.com/office/drawing/2014/main" id="{4B4B60EA-A182-4151-8EBD-4AF7D4D9DF75}"/>
                      </a:ext>
                    </a:extLst>
                  </p:cNvPr>
                  <p:cNvSpPr/>
                  <p:nvPr/>
                </p:nvSpPr>
                <p:spPr>
                  <a:xfrm>
                    <a:off x="18861209" y="8110175"/>
                    <a:ext cx="110280" cy="80109"/>
                  </a:xfrm>
                  <a:custGeom>
                    <a:avLst/>
                    <a:gdLst>
                      <a:gd name="connsiteX0" fmla="*/ 59592 w 110280"/>
                      <a:gd name="connsiteY0" fmla="*/ 80110 h 80109"/>
                      <a:gd name="connsiteX1" fmla="*/ 50689 w 110280"/>
                      <a:gd name="connsiteY1" fmla="*/ 80110 h 80109"/>
                      <a:gd name="connsiteX2" fmla="*/ 251 w 110280"/>
                      <a:gd name="connsiteY2" fmla="*/ 32638 h 80109"/>
                      <a:gd name="connsiteX3" fmla="*/ 21019 w 110280"/>
                      <a:gd name="connsiteY3" fmla="*/ 5934 h 80109"/>
                      <a:gd name="connsiteX4" fmla="*/ 59592 w 110280"/>
                      <a:gd name="connsiteY4" fmla="*/ 0 h 80109"/>
                      <a:gd name="connsiteX5" fmla="*/ 110030 w 110280"/>
                      <a:gd name="connsiteY5" fmla="*/ 47473 h 80109"/>
                      <a:gd name="connsiteX6" fmla="*/ 89262 w 110280"/>
                      <a:gd name="connsiteY6" fmla="*/ 74176 h 80109"/>
                      <a:gd name="connsiteX7" fmla="*/ 59592 w 110280"/>
                      <a:gd name="connsiteY7" fmla="*/ 80110 h 80109"/>
                      <a:gd name="connsiteX8" fmla="*/ 47723 w 110280"/>
                      <a:gd name="connsiteY8" fmla="*/ 17802 h 80109"/>
                      <a:gd name="connsiteX9" fmla="*/ 26953 w 110280"/>
                      <a:gd name="connsiteY9" fmla="*/ 20769 h 80109"/>
                      <a:gd name="connsiteX10" fmla="*/ 15086 w 110280"/>
                      <a:gd name="connsiteY10" fmla="*/ 32638 h 80109"/>
                      <a:gd name="connsiteX11" fmla="*/ 47723 w 110280"/>
                      <a:gd name="connsiteY11" fmla="*/ 56374 h 80109"/>
                      <a:gd name="connsiteX12" fmla="*/ 74427 w 110280"/>
                      <a:gd name="connsiteY12" fmla="*/ 53407 h 80109"/>
                      <a:gd name="connsiteX13" fmla="*/ 86294 w 110280"/>
                      <a:gd name="connsiteY13" fmla="*/ 41539 h 80109"/>
                      <a:gd name="connsiteX14" fmla="*/ 53657 w 110280"/>
                      <a:gd name="connsiteY14" fmla="*/ 17802 h 80109"/>
                      <a:gd name="connsiteX15" fmla="*/ 47723 w 110280"/>
                      <a:gd name="connsiteY15" fmla="*/ 17802 h 80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0280" h="80109">
                        <a:moveTo>
                          <a:pt x="59592" y="80110"/>
                        </a:moveTo>
                        <a:cubicBezTo>
                          <a:pt x="56624" y="80110"/>
                          <a:pt x="53657" y="80110"/>
                          <a:pt x="50689" y="80110"/>
                        </a:cubicBezTo>
                        <a:cubicBezTo>
                          <a:pt x="21019" y="77143"/>
                          <a:pt x="-2717" y="56374"/>
                          <a:pt x="251" y="32638"/>
                        </a:cubicBezTo>
                        <a:cubicBezTo>
                          <a:pt x="251" y="20769"/>
                          <a:pt x="9152" y="11868"/>
                          <a:pt x="21019" y="5934"/>
                        </a:cubicBezTo>
                        <a:cubicBezTo>
                          <a:pt x="32888" y="0"/>
                          <a:pt x="44757" y="0"/>
                          <a:pt x="59592" y="0"/>
                        </a:cubicBezTo>
                        <a:cubicBezTo>
                          <a:pt x="89262" y="2967"/>
                          <a:pt x="112998" y="23736"/>
                          <a:pt x="110030" y="47473"/>
                        </a:cubicBezTo>
                        <a:cubicBezTo>
                          <a:pt x="110030" y="59341"/>
                          <a:pt x="101129" y="68242"/>
                          <a:pt x="89262" y="74176"/>
                        </a:cubicBezTo>
                        <a:cubicBezTo>
                          <a:pt x="77393" y="77143"/>
                          <a:pt x="68493" y="80110"/>
                          <a:pt x="59592" y="80110"/>
                        </a:cubicBezTo>
                        <a:close/>
                        <a:moveTo>
                          <a:pt x="47723" y="17802"/>
                        </a:moveTo>
                        <a:cubicBezTo>
                          <a:pt x="38822" y="17802"/>
                          <a:pt x="32888" y="17802"/>
                          <a:pt x="26953" y="20769"/>
                        </a:cubicBezTo>
                        <a:cubicBezTo>
                          <a:pt x="23987" y="23736"/>
                          <a:pt x="18053" y="26704"/>
                          <a:pt x="15086" y="32638"/>
                        </a:cubicBezTo>
                        <a:cubicBezTo>
                          <a:pt x="15086" y="41539"/>
                          <a:pt x="26953" y="56374"/>
                          <a:pt x="47723" y="56374"/>
                        </a:cubicBezTo>
                        <a:cubicBezTo>
                          <a:pt x="56624" y="56374"/>
                          <a:pt x="68493" y="56374"/>
                          <a:pt x="74427" y="53407"/>
                        </a:cubicBezTo>
                        <a:cubicBezTo>
                          <a:pt x="77393" y="50439"/>
                          <a:pt x="83328" y="47473"/>
                          <a:pt x="86294" y="41539"/>
                        </a:cubicBezTo>
                        <a:cubicBezTo>
                          <a:pt x="86294" y="32638"/>
                          <a:pt x="74427" y="17802"/>
                          <a:pt x="53657" y="17802"/>
                        </a:cubicBezTo>
                        <a:cubicBezTo>
                          <a:pt x="53657" y="20769"/>
                          <a:pt x="50689" y="17802"/>
                          <a:pt x="47723" y="17802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12" name="图形 1">
                  <a:extLst>
                    <a:ext uri="{FF2B5EF4-FFF2-40B4-BE49-F238E27FC236}">
                      <a16:creationId xmlns:a16="http://schemas.microsoft.com/office/drawing/2014/main" id="{68F0C568-A692-4136-A9B8-C7B06EB139B2}"/>
                    </a:ext>
                  </a:extLst>
                </p:cNvPr>
                <p:cNvGrpSpPr/>
                <p:nvPr/>
              </p:nvGrpSpPr>
              <p:grpSpPr>
                <a:xfrm>
                  <a:off x="19202418" y="8201775"/>
                  <a:ext cx="110280" cy="80487"/>
                  <a:chOff x="19202418" y="8201775"/>
                  <a:chExt cx="110280" cy="80487"/>
                </a:xfrm>
              </p:grpSpPr>
              <p:sp>
                <p:nvSpPr>
                  <p:cNvPr id="119" name="任意多边形: 形状 118">
                    <a:extLst>
                      <a:ext uri="{FF2B5EF4-FFF2-40B4-BE49-F238E27FC236}">
                        <a16:creationId xmlns:a16="http://schemas.microsoft.com/office/drawing/2014/main" id="{0FF73CC6-404F-4432-863F-EC19AFF553E0}"/>
                      </a:ext>
                    </a:extLst>
                  </p:cNvPr>
                  <p:cNvSpPr/>
                  <p:nvPr/>
                </p:nvSpPr>
                <p:spPr>
                  <a:xfrm>
                    <a:off x="19214253" y="8213459"/>
                    <a:ext cx="89616" cy="60465"/>
                  </a:xfrm>
                  <a:custGeom>
                    <a:avLst/>
                    <a:gdLst>
                      <a:gd name="connsiteX0" fmla="*/ 89294 w 89616"/>
                      <a:gd name="connsiteY0" fmla="*/ 36166 h 60465"/>
                      <a:gd name="connsiteX1" fmla="*/ 41823 w 89616"/>
                      <a:gd name="connsiteY1" fmla="*/ 59903 h 60465"/>
                      <a:gd name="connsiteX2" fmla="*/ 283 w 89616"/>
                      <a:gd name="connsiteY2" fmla="*/ 24299 h 60465"/>
                      <a:gd name="connsiteX3" fmla="*/ 47757 w 89616"/>
                      <a:gd name="connsiteY3" fmla="*/ 562 h 60465"/>
                      <a:gd name="connsiteX4" fmla="*/ 89294 w 89616"/>
                      <a:gd name="connsiteY4" fmla="*/ 36166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616" h="60465">
                        <a:moveTo>
                          <a:pt x="89294" y="36166"/>
                        </a:moveTo>
                        <a:cubicBezTo>
                          <a:pt x="86328" y="53969"/>
                          <a:pt x="65558" y="62870"/>
                          <a:pt x="41823" y="59903"/>
                        </a:cubicBezTo>
                        <a:cubicBezTo>
                          <a:pt x="18087" y="56936"/>
                          <a:pt x="-2683" y="42101"/>
                          <a:pt x="283" y="24299"/>
                        </a:cubicBezTo>
                        <a:cubicBezTo>
                          <a:pt x="3251" y="6496"/>
                          <a:pt x="24019" y="-2405"/>
                          <a:pt x="47757" y="562"/>
                        </a:cubicBezTo>
                        <a:cubicBezTo>
                          <a:pt x="74459" y="3529"/>
                          <a:pt x="92262" y="18365"/>
                          <a:pt x="89294" y="36166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" name="任意多边形: 形状 119">
                    <a:extLst>
                      <a:ext uri="{FF2B5EF4-FFF2-40B4-BE49-F238E27FC236}">
                        <a16:creationId xmlns:a16="http://schemas.microsoft.com/office/drawing/2014/main" id="{E93E992B-A707-436F-BE4E-5F0B52FC7B55}"/>
                      </a:ext>
                    </a:extLst>
                  </p:cNvPr>
                  <p:cNvSpPr/>
                  <p:nvPr/>
                </p:nvSpPr>
                <p:spPr>
                  <a:xfrm>
                    <a:off x="19202418" y="8201775"/>
                    <a:ext cx="110280" cy="80487"/>
                  </a:xfrm>
                  <a:custGeom>
                    <a:avLst/>
                    <a:gdLst>
                      <a:gd name="connsiteX0" fmla="*/ 59592 w 110280"/>
                      <a:gd name="connsiteY0" fmla="*/ 80488 h 80487"/>
                      <a:gd name="connsiteX1" fmla="*/ 50689 w 110280"/>
                      <a:gd name="connsiteY1" fmla="*/ 80488 h 80487"/>
                      <a:gd name="connsiteX2" fmla="*/ 251 w 110280"/>
                      <a:gd name="connsiteY2" fmla="*/ 33015 h 80487"/>
                      <a:gd name="connsiteX3" fmla="*/ 59592 w 110280"/>
                      <a:gd name="connsiteY3" fmla="*/ 378 h 80487"/>
                      <a:gd name="connsiteX4" fmla="*/ 110030 w 110280"/>
                      <a:gd name="connsiteY4" fmla="*/ 47850 h 80487"/>
                      <a:gd name="connsiteX5" fmla="*/ 110030 w 110280"/>
                      <a:gd name="connsiteY5" fmla="*/ 47850 h 80487"/>
                      <a:gd name="connsiteX6" fmla="*/ 89262 w 110280"/>
                      <a:gd name="connsiteY6" fmla="*/ 74554 h 80487"/>
                      <a:gd name="connsiteX7" fmla="*/ 59592 w 110280"/>
                      <a:gd name="connsiteY7" fmla="*/ 80488 h 80487"/>
                      <a:gd name="connsiteX8" fmla="*/ 50689 w 110280"/>
                      <a:gd name="connsiteY8" fmla="*/ 21147 h 80487"/>
                      <a:gd name="connsiteX9" fmla="*/ 21019 w 110280"/>
                      <a:gd name="connsiteY9" fmla="*/ 38950 h 80487"/>
                      <a:gd name="connsiteX10" fmla="*/ 53657 w 110280"/>
                      <a:gd name="connsiteY10" fmla="*/ 62686 h 80487"/>
                      <a:gd name="connsiteX11" fmla="*/ 80360 w 110280"/>
                      <a:gd name="connsiteY11" fmla="*/ 59719 h 80487"/>
                      <a:gd name="connsiteX12" fmla="*/ 92228 w 110280"/>
                      <a:gd name="connsiteY12" fmla="*/ 47850 h 80487"/>
                      <a:gd name="connsiteX13" fmla="*/ 59592 w 110280"/>
                      <a:gd name="connsiteY13" fmla="*/ 24114 h 80487"/>
                      <a:gd name="connsiteX14" fmla="*/ 50689 w 110280"/>
                      <a:gd name="connsiteY14" fmla="*/ 21147 h 80487"/>
                      <a:gd name="connsiteX15" fmla="*/ 101129 w 110280"/>
                      <a:gd name="connsiteY15" fmla="*/ 47850 h 80487"/>
                      <a:gd name="connsiteX16" fmla="*/ 101129 w 110280"/>
                      <a:gd name="connsiteY16" fmla="*/ 47850 h 80487"/>
                      <a:gd name="connsiteX17" fmla="*/ 101129 w 110280"/>
                      <a:gd name="connsiteY17" fmla="*/ 47850 h 80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10280" h="80487">
                        <a:moveTo>
                          <a:pt x="59592" y="80488"/>
                        </a:moveTo>
                        <a:cubicBezTo>
                          <a:pt x="56624" y="80488"/>
                          <a:pt x="53657" y="80488"/>
                          <a:pt x="50689" y="80488"/>
                        </a:cubicBezTo>
                        <a:cubicBezTo>
                          <a:pt x="21019" y="77521"/>
                          <a:pt x="-2717" y="56752"/>
                          <a:pt x="251" y="33015"/>
                        </a:cubicBezTo>
                        <a:cubicBezTo>
                          <a:pt x="3217" y="12246"/>
                          <a:pt x="29921" y="-2589"/>
                          <a:pt x="59592" y="378"/>
                        </a:cubicBezTo>
                        <a:cubicBezTo>
                          <a:pt x="89262" y="3345"/>
                          <a:pt x="112998" y="24114"/>
                          <a:pt x="110030" y="47850"/>
                        </a:cubicBezTo>
                        <a:lnTo>
                          <a:pt x="110030" y="47850"/>
                        </a:lnTo>
                        <a:cubicBezTo>
                          <a:pt x="110030" y="59719"/>
                          <a:pt x="101129" y="68620"/>
                          <a:pt x="89262" y="74554"/>
                        </a:cubicBezTo>
                        <a:cubicBezTo>
                          <a:pt x="80360" y="80488"/>
                          <a:pt x="71459" y="80488"/>
                          <a:pt x="59592" y="80488"/>
                        </a:cubicBezTo>
                        <a:close/>
                        <a:moveTo>
                          <a:pt x="50689" y="21147"/>
                        </a:moveTo>
                        <a:cubicBezTo>
                          <a:pt x="32888" y="21147"/>
                          <a:pt x="21019" y="30048"/>
                          <a:pt x="21019" y="38950"/>
                        </a:cubicBezTo>
                        <a:cubicBezTo>
                          <a:pt x="21019" y="47850"/>
                          <a:pt x="32888" y="62686"/>
                          <a:pt x="53657" y="62686"/>
                        </a:cubicBezTo>
                        <a:cubicBezTo>
                          <a:pt x="62558" y="62686"/>
                          <a:pt x="74427" y="62686"/>
                          <a:pt x="80360" y="59719"/>
                        </a:cubicBezTo>
                        <a:cubicBezTo>
                          <a:pt x="83328" y="56752"/>
                          <a:pt x="89262" y="53785"/>
                          <a:pt x="92228" y="47850"/>
                        </a:cubicBezTo>
                        <a:cubicBezTo>
                          <a:pt x="92228" y="38950"/>
                          <a:pt x="80360" y="24114"/>
                          <a:pt x="59592" y="24114"/>
                        </a:cubicBezTo>
                        <a:cubicBezTo>
                          <a:pt x="56624" y="21147"/>
                          <a:pt x="53657" y="21147"/>
                          <a:pt x="50689" y="21147"/>
                        </a:cubicBezTo>
                        <a:close/>
                        <a:moveTo>
                          <a:pt x="101129" y="47850"/>
                        </a:moveTo>
                        <a:lnTo>
                          <a:pt x="101129" y="47850"/>
                        </a:lnTo>
                        <a:lnTo>
                          <a:pt x="101129" y="47850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13" name="图形 1">
                  <a:extLst>
                    <a:ext uri="{FF2B5EF4-FFF2-40B4-BE49-F238E27FC236}">
                      <a16:creationId xmlns:a16="http://schemas.microsoft.com/office/drawing/2014/main" id="{D0762F23-0CD9-41A9-AFA3-C15FA6F079EE}"/>
                    </a:ext>
                  </a:extLst>
                </p:cNvPr>
                <p:cNvGrpSpPr/>
                <p:nvPr/>
              </p:nvGrpSpPr>
              <p:grpSpPr>
                <a:xfrm>
                  <a:off x="19045164" y="8133533"/>
                  <a:ext cx="110282" cy="80487"/>
                  <a:chOff x="19045164" y="8133533"/>
                  <a:chExt cx="110282" cy="80487"/>
                </a:xfrm>
              </p:grpSpPr>
              <p:sp>
                <p:nvSpPr>
                  <p:cNvPr id="117" name="任意多边形: 形状 116">
                    <a:extLst>
                      <a:ext uri="{FF2B5EF4-FFF2-40B4-BE49-F238E27FC236}">
                        <a16:creationId xmlns:a16="http://schemas.microsoft.com/office/drawing/2014/main" id="{6B1EBA49-3C84-401C-91D8-AFC5939222C2}"/>
                      </a:ext>
                    </a:extLst>
                  </p:cNvPr>
                  <p:cNvSpPr/>
                  <p:nvPr/>
                </p:nvSpPr>
                <p:spPr>
                  <a:xfrm>
                    <a:off x="19057000" y="8142250"/>
                    <a:ext cx="89294" cy="60465"/>
                  </a:xfrm>
                  <a:custGeom>
                    <a:avLst/>
                    <a:gdLst>
                      <a:gd name="connsiteX0" fmla="*/ 89294 w 89294"/>
                      <a:gd name="connsiteY0" fmla="*/ 36167 h 60465"/>
                      <a:gd name="connsiteX1" fmla="*/ 41823 w 89294"/>
                      <a:gd name="connsiteY1" fmla="*/ 59903 h 60465"/>
                      <a:gd name="connsiteX2" fmla="*/ 283 w 89294"/>
                      <a:gd name="connsiteY2" fmla="*/ 24299 h 60465"/>
                      <a:gd name="connsiteX3" fmla="*/ 47755 w 89294"/>
                      <a:gd name="connsiteY3" fmla="*/ 562 h 60465"/>
                      <a:gd name="connsiteX4" fmla="*/ 89294 w 89294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294" h="60465">
                        <a:moveTo>
                          <a:pt x="89294" y="36167"/>
                        </a:moveTo>
                        <a:cubicBezTo>
                          <a:pt x="86328" y="53969"/>
                          <a:pt x="65558" y="62870"/>
                          <a:pt x="41823" y="59903"/>
                        </a:cubicBezTo>
                        <a:cubicBezTo>
                          <a:pt x="18085" y="56936"/>
                          <a:pt x="-2683" y="42101"/>
                          <a:pt x="283" y="24299"/>
                        </a:cubicBezTo>
                        <a:cubicBezTo>
                          <a:pt x="3250" y="6496"/>
                          <a:pt x="24019" y="-2405"/>
                          <a:pt x="47755" y="562"/>
                        </a:cubicBezTo>
                        <a:cubicBezTo>
                          <a:pt x="71493" y="3529"/>
                          <a:pt x="89294" y="21331"/>
                          <a:pt x="89294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" name="任意多边形: 形状 117">
                    <a:extLst>
                      <a:ext uri="{FF2B5EF4-FFF2-40B4-BE49-F238E27FC236}">
                        <a16:creationId xmlns:a16="http://schemas.microsoft.com/office/drawing/2014/main" id="{BFD9945B-A53E-45DA-B860-A58E8B68409A}"/>
                      </a:ext>
                    </a:extLst>
                  </p:cNvPr>
                  <p:cNvSpPr/>
                  <p:nvPr/>
                </p:nvSpPr>
                <p:spPr>
                  <a:xfrm>
                    <a:off x="19045164" y="8133533"/>
                    <a:ext cx="110282" cy="80487"/>
                  </a:xfrm>
                  <a:custGeom>
                    <a:avLst/>
                    <a:gdLst>
                      <a:gd name="connsiteX0" fmla="*/ 59591 w 110282"/>
                      <a:gd name="connsiteY0" fmla="*/ 80488 h 80487"/>
                      <a:gd name="connsiteX1" fmla="*/ 50691 w 110282"/>
                      <a:gd name="connsiteY1" fmla="*/ 80488 h 80487"/>
                      <a:gd name="connsiteX2" fmla="*/ 251 w 110282"/>
                      <a:gd name="connsiteY2" fmla="*/ 33016 h 80487"/>
                      <a:gd name="connsiteX3" fmla="*/ 59591 w 110282"/>
                      <a:gd name="connsiteY3" fmla="*/ 378 h 80487"/>
                      <a:gd name="connsiteX4" fmla="*/ 110031 w 110282"/>
                      <a:gd name="connsiteY4" fmla="*/ 47851 h 80487"/>
                      <a:gd name="connsiteX5" fmla="*/ 110031 w 110282"/>
                      <a:gd name="connsiteY5" fmla="*/ 47851 h 80487"/>
                      <a:gd name="connsiteX6" fmla="*/ 89262 w 110282"/>
                      <a:gd name="connsiteY6" fmla="*/ 74554 h 80487"/>
                      <a:gd name="connsiteX7" fmla="*/ 59591 w 110282"/>
                      <a:gd name="connsiteY7" fmla="*/ 80488 h 80487"/>
                      <a:gd name="connsiteX8" fmla="*/ 50691 w 110282"/>
                      <a:gd name="connsiteY8" fmla="*/ 18180 h 80487"/>
                      <a:gd name="connsiteX9" fmla="*/ 21020 w 110282"/>
                      <a:gd name="connsiteY9" fmla="*/ 35982 h 80487"/>
                      <a:gd name="connsiteX10" fmla="*/ 53659 w 110282"/>
                      <a:gd name="connsiteY10" fmla="*/ 59719 h 80487"/>
                      <a:gd name="connsiteX11" fmla="*/ 80361 w 110282"/>
                      <a:gd name="connsiteY11" fmla="*/ 56752 h 80487"/>
                      <a:gd name="connsiteX12" fmla="*/ 92230 w 110282"/>
                      <a:gd name="connsiteY12" fmla="*/ 44884 h 80487"/>
                      <a:gd name="connsiteX13" fmla="*/ 59591 w 110282"/>
                      <a:gd name="connsiteY13" fmla="*/ 21147 h 80487"/>
                      <a:gd name="connsiteX14" fmla="*/ 50691 w 110282"/>
                      <a:gd name="connsiteY14" fmla="*/ 18180 h 80487"/>
                      <a:gd name="connsiteX15" fmla="*/ 101131 w 110282"/>
                      <a:gd name="connsiteY15" fmla="*/ 44884 h 80487"/>
                      <a:gd name="connsiteX16" fmla="*/ 101131 w 110282"/>
                      <a:gd name="connsiteY16" fmla="*/ 44884 h 80487"/>
                      <a:gd name="connsiteX17" fmla="*/ 101131 w 110282"/>
                      <a:gd name="connsiteY17" fmla="*/ 44884 h 80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10282" h="80487">
                        <a:moveTo>
                          <a:pt x="59591" y="80488"/>
                        </a:moveTo>
                        <a:cubicBezTo>
                          <a:pt x="56625" y="80488"/>
                          <a:pt x="53659" y="80488"/>
                          <a:pt x="50691" y="80488"/>
                        </a:cubicBezTo>
                        <a:cubicBezTo>
                          <a:pt x="21020" y="77521"/>
                          <a:pt x="-2715" y="56752"/>
                          <a:pt x="251" y="33016"/>
                        </a:cubicBezTo>
                        <a:cubicBezTo>
                          <a:pt x="3219" y="12246"/>
                          <a:pt x="29921" y="-2589"/>
                          <a:pt x="59591" y="378"/>
                        </a:cubicBezTo>
                        <a:cubicBezTo>
                          <a:pt x="89262" y="3345"/>
                          <a:pt x="113000" y="24114"/>
                          <a:pt x="110031" y="47851"/>
                        </a:cubicBezTo>
                        <a:lnTo>
                          <a:pt x="110031" y="47851"/>
                        </a:lnTo>
                        <a:cubicBezTo>
                          <a:pt x="110031" y="59719"/>
                          <a:pt x="101131" y="68620"/>
                          <a:pt x="89262" y="74554"/>
                        </a:cubicBezTo>
                        <a:cubicBezTo>
                          <a:pt x="80361" y="77521"/>
                          <a:pt x="71460" y="80488"/>
                          <a:pt x="59591" y="80488"/>
                        </a:cubicBezTo>
                        <a:close/>
                        <a:moveTo>
                          <a:pt x="50691" y="18180"/>
                        </a:moveTo>
                        <a:cubicBezTo>
                          <a:pt x="32889" y="18180"/>
                          <a:pt x="21020" y="27081"/>
                          <a:pt x="21020" y="35982"/>
                        </a:cubicBezTo>
                        <a:cubicBezTo>
                          <a:pt x="21020" y="44884"/>
                          <a:pt x="32889" y="59719"/>
                          <a:pt x="53659" y="59719"/>
                        </a:cubicBezTo>
                        <a:cubicBezTo>
                          <a:pt x="62560" y="59719"/>
                          <a:pt x="74427" y="59719"/>
                          <a:pt x="80361" y="56752"/>
                        </a:cubicBezTo>
                        <a:cubicBezTo>
                          <a:pt x="83329" y="53785"/>
                          <a:pt x="89262" y="50818"/>
                          <a:pt x="92230" y="44884"/>
                        </a:cubicBezTo>
                        <a:cubicBezTo>
                          <a:pt x="92230" y="35982"/>
                          <a:pt x="80361" y="21147"/>
                          <a:pt x="59591" y="21147"/>
                        </a:cubicBezTo>
                        <a:cubicBezTo>
                          <a:pt x="56625" y="18180"/>
                          <a:pt x="53659" y="18180"/>
                          <a:pt x="50691" y="18180"/>
                        </a:cubicBezTo>
                        <a:close/>
                        <a:moveTo>
                          <a:pt x="101131" y="44884"/>
                        </a:moveTo>
                        <a:lnTo>
                          <a:pt x="101131" y="44884"/>
                        </a:lnTo>
                        <a:lnTo>
                          <a:pt x="101131" y="44884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14" name="图形 1">
                  <a:extLst>
                    <a:ext uri="{FF2B5EF4-FFF2-40B4-BE49-F238E27FC236}">
                      <a16:creationId xmlns:a16="http://schemas.microsoft.com/office/drawing/2014/main" id="{59DCA43A-CACE-47D5-8726-3EFFF9F2752A}"/>
                    </a:ext>
                  </a:extLst>
                </p:cNvPr>
                <p:cNvGrpSpPr/>
                <p:nvPr/>
              </p:nvGrpSpPr>
              <p:grpSpPr>
                <a:xfrm>
                  <a:off x="18840439" y="8225889"/>
                  <a:ext cx="110282" cy="80109"/>
                  <a:chOff x="18840439" y="8225889"/>
                  <a:chExt cx="110282" cy="80109"/>
                </a:xfrm>
              </p:grpSpPr>
              <p:sp>
                <p:nvSpPr>
                  <p:cNvPr id="115" name="任意多边形: 形状 114">
                    <a:extLst>
                      <a:ext uri="{FF2B5EF4-FFF2-40B4-BE49-F238E27FC236}">
                        <a16:creationId xmlns:a16="http://schemas.microsoft.com/office/drawing/2014/main" id="{98CD87A0-3012-4968-9A07-71471C3588B2}"/>
                      </a:ext>
                    </a:extLst>
                  </p:cNvPr>
                  <p:cNvSpPr/>
                  <p:nvPr/>
                </p:nvSpPr>
                <p:spPr>
                  <a:xfrm>
                    <a:off x="18849308" y="8234228"/>
                    <a:ext cx="89616" cy="60465"/>
                  </a:xfrm>
                  <a:custGeom>
                    <a:avLst/>
                    <a:gdLst>
                      <a:gd name="connsiteX0" fmla="*/ 89294 w 89616"/>
                      <a:gd name="connsiteY0" fmla="*/ 36167 h 60465"/>
                      <a:gd name="connsiteX1" fmla="*/ 41823 w 89616"/>
                      <a:gd name="connsiteY1" fmla="*/ 59903 h 60465"/>
                      <a:gd name="connsiteX2" fmla="*/ 283 w 89616"/>
                      <a:gd name="connsiteY2" fmla="*/ 24299 h 60465"/>
                      <a:gd name="connsiteX3" fmla="*/ 47755 w 89616"/>
                      <a:gd name="connsiteY3" fmla="*/ 562 h 60465"/>
                      <a:gd name="connsiteX4" fmla="*/ 89294 w 89616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616" h="60465">
                        <a:moveTo>
                          <a:pt x="89294" y="36167"/>
                        </a:moveTo>
                        <a:cubicBezTo>
                          <a:pt x="86328" y="53969"/>
                          <a:pt x="65558" y="62870"/>
                          <a:pt x="41823" y="59903"/>
                        </a:cubicBezTo>
                        <a:cubicBezTo>
                          <a:pt x="18085" y="56936"/>
                          <a:pt x="-2683" y="42101"/>
                          <a:pt x="283" y="24299"/>
                        </a:cubicBezTo>
                        <a:cubicBezTo>
                          <a:pt x="3250" y="6497"/>
                          <a:pt x="24019" y="-2405"/>
                          <a:pt x="47755" y="562"/>
                        </a:cubicBezTo>
                        <a:cubicBezTo>
                          <a:pt x="74459" y="3529"/>
                          <a:pt x="92261" y="18365"/>
                          <a:pt x="89294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" name="任意多边形: 形状 115">
                    <a:extLst>
                      <a:ext uri="{FF2B5EF4-FFF2-40B4-BE49-F238E27FC236}">
                        <a16:creationId xmlns:a16="http://schemas.microsoft.com/office/drawing/2014/main" id="{D2B4E57C-B852-41D5-A171-B3020E540B51}"/>
                      </a:ext>
                    </a:extLst>
                  </p:cNvPr>
                  <p:cNvSpPr/>
                  <p:nvPr/>
                </p:nvSpPr>
                <p:spPr>
                  <a:xfrm>
                    <a:off x="18840439" y="8225889"/>
                    <a:ext cx="110282" cy="80109"/>
                  </a:xfrm>
                  <a:custGeom>
                    <a:avLst/>
                    <a:gdLst>
                      <a:gd name="connsiteX0" fmla="*/ 59592 w 110282"/>
                      <a:gd name="connsiteY0" fmla="*/ 80110 h 80109"/>
                      <a:gd name="connsiteX1" fmla="*/ 50691 w 110282"/>
                      <a:gd name="connsiteY1" fmla="*/ 80110 h 80109"/>
                      <a:gd name="connsiteX2" fmla="*/ 251 w 110282"/>
                      <a:gd name="connsiteY2" fmla="*/ 32637 h 80109"/>
                      <a:gd name="connsiteX3" fmla="*/ 21021 w 110282"/>
                      <a:gd name="connsiteY3" fmla="*/ 5934 h 80109"/>
                      <a:gd name="connsiteX4" fmla="*/ 59592 w 110282"/>
                      <a:gd name="connsiteY4" fmla="*/ 0 h 80109"/>
                      <a:gd name="connsiteX5" fmla="*/ 110032 w 110282"/>
                      <a:gd name="connsiteY5" fmla="*/ 47472 h 80109"/>
                      <a:gd name="connsiteX6" fmla="*/ 110032 w 110282"/>
                      <a:gd name="connsiteY6" fmla="*/ 47472 h 80109"/>
                      <a:gd name="connsiteX7" fmla="*/ 89262 w 110282"/>
                      <a:gd name="connsiteY7" fmla="*/ 74176 h 80109"/>
                      <a:gd name="connsiteX8" fmla="*/ 59592 w 110282"/>
                      <a:gd name="connsiteY8" fmla="*/ 80110 h 80109"/>
                      <a:gd name="connsiteX9" fmla="*/ 47723 w 110282"/>
                      <a:gd name="connsiteY9" fmla="*/ 17802 h 80109"/>
                      <a:gd name="connsiteX10" fmla="*/ 26953 w 110282"/>
                      <a:gd name="connsiteY10" fmla="*/ 20769 h 80109"/>
                      <a:gd name="connsiteX11" fmla="*/ 15086 w 110282"/>
                      <a:gd name="connsiteY11" fmla="*/ 32637 h 80109"/>
                      <a:gd name="connsiteX12" fmla="*/ 47723 w 110282"/>
                      <a:gd name="connsiteY12" fmla="*/ 56373 h 80109"/>
                      <a:gd name="connsiteX13" fmla="*/ 74427 w 110282"/>
                      <a:gd name="connsiteY13" fmla="*/ 53406 h 80109"/>
                      <a:gd name="connsiteX14" fmla="*/ 86294 w 110282"/>
                      <a:gd name="connsiteY14" fmla="*/ 41538 h 80109"/>
                      <a:gd name="connsiteX15" fmla="*/ 53657 w 110282"/>
                      <a:gd name="connsiteY15" fmla="*/ 17802 h 80109"/>
                      <a:gd name="connsiteX16" fmla="*/ 47723 w 110282"/>
                      <a:gd name="connsiteY16" fmla="*/ 17802 h 80109"/>
                      <a:gd name="connsiteX17" fmla="*/ 98163 w 110282"/>
                      <a:gd name="connsiteY17" fmla="*/ 44505 h 80109"/>
                      <a:gd name="connsiteX18" fmla="*/ 98163 w 110282"/>
                      <a:gd name="connsiteY18" fmla="*/ 44505 h 80109"/>
                      <a:gd name="connsiteX19" fmla="*/ 98163 w 110282"/>
                      <a:gd name="connsiteY19" fmla="*/ 44505 h 80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10282" h="80109">
                        <a:moveTo>
                          <a:pt x="59592" y="80110"/>
                        </a:moveTo>
                        <a:cubicBezTo>
                          <a:pt x="56624" y="80110"/>
                          <a:pt x="53657" y="80110"/>
                          <a:pt x="50691" y="80110"/>
                        </a:cubicBezTo>
                        <a:cubicBezTo>
                          <a:pt x="21021" y="77143"/>
                          <a:pt x="-2717" y="56373"/>
                          <a:pt x="251" y="32637"/>
                        </a:cubicBezTo>
                        <a:cubicBezTo>
                          <a:pt x="251" y="20769"/>
                          <a:pt x="9152" y="11868"/>
                          <a:pt x="21021" y="5934"/>
                        </a:cubicBezTo>
                        <a:cubicBezTo>
                          <a:pt x="32888" y="0"/>
                          <a:pt x="44757" y="0"/>
                          <a:pt x="59592" y="0"/>
                        </a:cubicBezTo>
                        <a:cubicBezTo>
                          <a:pt x="89262" y="2967"/>
                          <a:pt x="112998" y="23736"/>
                          <a:pt x="110032" y="47472"/>
                        </a:cubicBezTo>
                        <a:lnTo>
                          <a:pt x="110032" y="47472"/>
                        </a:lnTo>
                        <a:cubicBezTo>
                          <a:pt x="110032" y="59341"/>
                          <a:pt x="101129" y="68241"/>
                          <a:pt x="89262" y="74176"/>
                        </a:cubicBezTo>
                        <a:cubicBezTo>
                          <a:pt x="77393" y="77143"/>
                          <a:pt x="68492" y="80110"/>
                          <a:pt x="59592" y="80110"/>
                        </a:cubicBezTo>
                        <a:close/>
                        <a:moveTo>
                          <a:pt x="47723" y="17802"/>
                        </a:moveTo>
                        <a:cubicBezTo>
                          <a:pt x="38822" y="17802"/>
                          <a:pt x="32888" y="17802"/>
                          <a:pt x="26953" y="20769"/>
                        </a:cubicBezTo>
                        <a:cubicBezTo>
                          <a:pt x="23987" y="23736"/>
                          <a:pt x="18053" y="26703"/>
                          <a:pt x="15086" y="32637"/>
                        </a:cubicBezTo>
                        <a:cubicBezTo>
                          <a:pt x="15086" y="41538"/>
                          <a:pt x="26953" y="56373"/>
                          <a:pt x="47723" y="56373"/>
                        </a:cubicBezTo>
                        <a:cubicBezTo>
                          <a:pt x="56624" y="56373"/>
                          <a:pt x="68492" y="56373"/>
                          <a:pt x="74427" y="53406"/>
                        </a:cubicBezTo>
                        <a:cubicBezTo>
                          <a:pt x="77393" y="50439"/>
                          <a:pt x="83328" y="47472"/>
                          <a:pt x="86294" y="41538"/>
                        </a:cubicBezTo>
                        <a:cubicBezTo>
                          <a:pt x="86294" y="32637"/>
                          <a:pt x="74427" y="17802"/>
                          <a:pt x="53657" y="17802"/>
                        </a:cubicBezTo>
                        <a:cubicBezTo>
                          <a:pt x="53657" y="17802"/>
                          <a:pt x="50691" y="17802"/>
                          <a:pt x="47723" y="17802"/>
                        </a:cubicBezTo>
                        <a:close/>
                        <a:moveTo>
                          <a:pt x="98163" y="44505"/>
                        </a:moveTo>
                        <a:lnTo>
                          <a:pt x="98163" y="44505"/>
                        </a:lnTo>
                        <a:lnTo>
                          <a:pt x="98163" y="44505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</p:grpSp>
        <p:grpSp>
          <p:nvGrpSpPr>
            <p:cNvPr id="33" name="图形 1">
              <a:extLst>
                <a:ext uri="{FF2B5EF4-FFF2-40B4-BE49-F238E27FC236}">
                  <a16:creationId xmlns:a16="http://schemas.microsoft.com/office/drawing/2014/main" id="{D5AC3257-5B73-4AAF-8880-FCFADE59BB80}"/>
                </a:ext>
              </a:extLst>
            </p:cNvPr>
            <p:cNvGrpSpPr/>
            <p:nvPr/>
          </p:nvGrpSpPr>
          <p:grpSpPr>
            <a:xfrm>
              <a:off x="21957250" y="11510394"/>
              <a:ext cx="369229" cy="377555"/>
              <a:chOff x="21957250" y="11510394"/>
              <a:chExt cx="369229" cy="377555"/>
            </a:xfrm>
          </p:grpSpPr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4D7818F4-4C17-4CB9-95A5-7B01AC2E770A}"/>
                  </a:ext>
                </a:extLst>
              </p:cNvPr>
              <p:cNvSpPr/>
              <p:nvPr/>
            </p:nvSpPr>
            <p:spPr>
              <a:xfrm>
                <a:off x="21957250" y="11626109"/>
                <a:ext cx="369229" cy="261840"/>
              </a:xfrm>
              <a:custGeom>
                <a:avLst/>
                <a:gdLst>
                  <a:gd name="connsiteX0" fmla="*/ 245089 w 369229"/>
                  <a:gd name="connsiteY0" fmla="*/ 0 h 261840"/>
                  <a:gd name="connsiteX1" fmla="*/ 111572 w 369229"/>
                  <a:gd name="connsiteY1" fmla="*/ 145384 h 261840"/>
                  <a:gd name="connsiteX2" fmla="*/ 292560 w 369229"/>
                  <a:gd name="connsiteY2" fmla="*/ 71209 h 261840"/>
                  <a:gd name="connsiteX3" fmla="*/ 357836 w 369229"/>
                  <a:gd name="connsiteY3" fmla="*/ 35604 h 261840"/>
                  <a:gd name="connsiteX4" fmla="*/ 366736 w 369229"/>
                  <a:gd name="connsiteY4" fmla="*/ 139450 h 261840"/>
                  <a:gd name="connsiteX5" fmla="*/ 156078 w 369229"/>
                  <a:gd name="connsiteY5" fmla="*/ 243296 h 261840"/>
                  <a:gd name="connsiteX6" fmla="*/ 22561 w 369229"/>
                  <a:gd name="connsiteY6" fmla="*/ 261099 h 261840"/>
                  <a:gd name="connsiteX7" fmla="*/ 7726 w 369229"/>
                  <a:gd name="connsiteY7" fmla="*/ 207692 h 261840"/>
                  <a:gd name="connsiteX8" fmla="*/ 245089 w 369229"/>
                  <a:gd name="connsiteY8" fmla="*/ 0 h 261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9229" h="261840">
                    <a:moveTo>
                      <a:pt x="245089" y="0"/>
                    </a:moveTo>
                    <a:cubicBezTo>
                      <a:pt x="245089" y="0"/>
                      <a:pt x="96737" y="133516"/>
                      <a:pt x="111572" y="145384"/>
                    </a:cubicBezTo>
                    <a:cubicBezTo>
                      <a:pt x="126407" y="157252"/>
                      <a:pt x="292560" y="71209"/>
                      <a:pt x="292560" y="71209"/>
                    </a:cubicBezTo>
                    <a:lnTo>
                      <a:pt x="357836" y="35604"/>
                    </a:lnTo>
                    <a:cubicBezTo>
                      <a:pt x="357836" y="35604"/>
                      <a:pt x="375639" y="112747"/>
                      <a:pt x="366736" y="139450"/>
                    </a:cubicBezTo>
                    <a:cubicBezTo>
                      <a:pt x="301463" y="183956"/>
                      <a:pt x="224319" y="219560"/>
                      <a:pt x="156078" y="243296"/>
                    </a:cubicBezTo>
                    <a:cubicBezTo>
                      <a:pt x="111572" y="258131"/>
                      <a:pt x="31462" y="264066"/>
                      <a:pt x="22561" y="261099"/>
                    </a:cubicBezTo>
                    <a:cubicBezTo>
                      <a:pt x="13660" y="258131"/>
                      <a:pt x="-13044" y="237363"/>
                      <a:pt x="7726" y="207692"/>
                    </a:cubicBezTo>
                    <a:cubicBezTo>
                      <a:pt x="55198" y="139450"/>
                      <a:pt x="245089" y="0"/>
                      <a:pt x="245089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63FB9C36-1DC5-44C4-A4CD-857F3B3D7E21}"/>
                  </a:ext>
                </a:extLst>
              </p:cNvPr>
              <p:cNvSpPr/>
              <p:nvPr/>
            </p:nvSpPr>
            <p:spPr>
              <a:xfrm>
                <a:off x="22066899" y="11510394"/>
                <a:ext cx="245220" cy="263641"/>
              </a:xfrm>
              <a:custGeom>
                <a:avLst/>
                <a:gdLst>
                  <a:gd name="connsiteX0" fmla="*/ 102803 w 245220"/>
                  <a:gd name="connsiteY0" fmla="*/ 0 h 263641"/>
                  <a:gd name="connsiteX1" fmla="*/ 135440 w 245220"/>
                  <a:gd name="connsiteY1" fmla="*/ 115715 h 263641"/>
                  <a:gd name="connsiteX2" fmla="*/ 1923 w 245220"/>
                  <a:gd name="connsiteY2" fmla="*/ 261099 h 263641"/>
                  <a:gd name="connsiteX3" fmla="*/ 224451 w 245220"/>
                  <a:gd name="connsiteY3" fmla="*/ 186924 h 263641"/>
                  <a:gd name="connsiteX4" fmla="*/ 245220 w 245220"/>
                  <a:gd name="connsiteY4" fmla="*/ 151319 h 263641"/>
                  <a:gd name="connsiteX5" fmla="*/ 227417 w 245220"/>
                  <a:gd name="connsiteY5" fmla="*/ 20770 h 263641"/>
                  <a:gd name="connsiteX6" fmla="*/ 102803 w 245220"/>
                  <a:gd name="connsiteY6" fmla="*/ 0 h 263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220" h="263641">
                    <a:moveTo>
                      <a:pt x="102803" y="0"/>
                    </a:moveTo>
                    <a:lnTo>
                      <a:pt x="135440" y="115715"/>
                    </a:lnTo>
                    <a:cubicBezTo>
                      <a:pt x="135440" y="115715"/>
                      <a:pt x="-18846" y="240330"/>
                      <a:pt x="1923" y="261099"/>
                    </a:cubicBezTo>
                    <a:cubicBezTo>
                      <a:pt x="16759" y="275935"/>
                      <a:pt x="162144" y="222527"/>
                      <a:pt x="224451" y="186924"/>
                    </a:cubicBezTo>
                    <a:cubicBezTo>
                      <a:pt x="245220" y="175056"/>
                      <a:pt x="245220" y="151319"/>
                      <a:pt x="245220" y="151319"/>
                    </a:cubicBezTo>
                    <a:lnTo>
                      <a:pt x="227417" y="20770"/>
                    </a:lnTo>
                    <a:lnTo>
                      <a:pt x="102803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3BB3C40C-8AD7-466F-B937-871EE721B693}"/>
                </a:ext>
              </a:extLst>
            </p:cNvPr>
            <p:cNvSpPr/>
            <p:nvPr/>
          </p:nvSpPr>
          <p:spPr>
            <a:xfrm>
              <a:off x="21741419" y="9908196"/>
              <a:ext cx="1077207" cy="1703907"/>
            </a:xfrm>
            <a:custGeom>
              <a:avLst/>
              <a:gdLst>
                <a:gd name="connsiteX0" fmla="*/ 1054326 w 1077207"/>
                <a:gd name="connsiteY0" fmla="*/ 0 h 1703907"/>
                <a:gd name="connsiteX1" fmla="*/ 1051360 w 1077207"/>
                <a:gd name="connsiteY1" fmla="*/ 314506 h 1703907"/>
                <a:gd name="connsiteX2" fmla="*/ 410480 w 1077207"/>
                <a:gd name="connsiteY2" fmla="*/ 676484 h 1703907"/>
                <a:gd name="connsiteX3" fmla="*/ 585535 w 1077207"/>
                <a:gd name="connsiteY3" fmla="*/ 1649671 h 1703907"/>
                <a:gd name="connsiteX4" fmla="*/ 371909 w 1077207"/>
                <a:gd name="connsiteY4" fmla="*/ 1700110 h 1703907"/>
                <a:gd name="connsiteX5" fmla="*/ 1029 w 1077207"/>
                <a:gd name="connsiteY5" fmla="*/ 572638 h 1703907"/>
                <a:gd name="connsiteX6" fmla="*/ 484655 w 1077207"/>
                <a:gd name="connsiteY6" fmla="*/ 44505 h 1703907"/>
                <a:gd name="connsiteX7" fmla="*/ 1054326 w 1077207"/>
                <a:gd name="connsiteY7" fmla="*/ 0 h 1703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7207" h="1703907">
                  <a:moveTo>
                    <a:pt x="1054326" y="0"/>
                  </a:moveTo>
                  <a:cubicBezTo>
                    <a:pt x="1054326" y="0"/>
                    <a:pt x="1107732" y="183956"/>
                    <a:pt x="1051360" y="314506"/>
                  </a:cubicBezTo>
                  <a:cubicBezTo>
                    <a:pt x="980150" y="483627"/>
                    <a:pt x="434216" y="626044"/>
                    <a:pt x="410480" y="676484"/>
                  </a:cubicBezTo>
                  <a:cubicBezTo>
                    <a:pt x="383777" y="726923"/>
                    <a:pt x="585535" y="1649671"/>
                    <a:pt x="585535" y="1649671"/>
                  </a:cubicBezTo>
                  <a:cubicBezTo>
                    <a:pt x="585535" y="1649671"/>
                    <a:pt x="440150" y="1720879"/>
                    <a:pt x="371909" y="1700110"/>
                  </a:cubicBezTo>
                  <a:cubicBezTo>
                    <a:pt x="371909" y="1700110"/>
                    <a:pt x="-22707" y="706154"/>
                    <a:pt x="1029" y="572638"/>
                  </a:cubicBezTo>
                  <a:cubicBezTo>
                    <a:pt x="27733" y="442089"/>
                    <a:pt x="425315" y="56374"/>
                    <a:pt x="484655" y="44505"/>
                  </a:cubicBezTo>
                  <a:cubicBezTo>
                    <a:pt x="546964" y="32638"/>
                    <a:pt x="1054326" y="0"/>
                    <a:pt x="1054326" y="0"/>
                  </a:cubicBezTo>
                  <a:close/>
                </a:path>
              </a:pathLst>
            </a:custGeom>
            <a:solidFill>
              <a:srgbClr val="F6EBE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0B6A02F6-3F87-4031-A427-F30A05305772}"/>
                </a:ext>
              </a:extLst>
            </p:cNvPr>
            <p:cNvSpPr/>
            <p:nvPr/>
          </p:nvSpPr>
          <p:spPr>
            <a:xfrm>
              <a:off x="21739455" y="10131466"/>
              <a:ext cx="254450" cy="675742"/>
            </a:xfrm>
            <a:custGeom>
              <a:avLst/>
              <a:gdLst>
                <a:gd name="connsiteX0" fmla="*/ 80136 w 254450"/>
                <a:gd name="connsiteY0" fmla="*/ 675742 h 675742"/>
                <a:gd name="connsiteX1" fmla="*/ 74203 w 254450"/>
                <a:gd name="connsiteY1" fmla="*/ 672775 h 675742"/>
                <a:gd name="connsiteX2" fmla="*/ 28 w 254450"/>
                <a:gd name="connsiteY2" fmla="*/ 352336 h 675742"/>
                <a:gd name="connsiteX3" fmla="*/ 243323 w 254450"/>
                <a:gd name="connsiteY3" fmla="*/ 2225 h 675742"/>
                <a:gd name="connsiteX4" fmla="*/ 252225 w 254450"/>
                <a:gd name="connsiteY4" fmla="*/ 2225 h 675742"/>
                <a:gd name="connsiteX5" fmla="*/ 252225 w 254450"/>
                <a:gd name="connsiteY5" fmla="*/ 11127 h 675742"/>
                <a:gd name="connsiteX6" fmla="*/ 11895 w 254450"/>
                <a:gd name="connsiteY6" fmla="*/ 352336 h 675742"/>
                <a:gd name="connsiteX7" fmla="*/ 86070 w 254450"/>
                <a:gd name="connsiteY7" fmla="*/ 669808 h 675742"/>
                <a:gd name="connsiteX8" fmla="*/ 80136 w 254450"/>
                <a:gd name="connsiteY8" fmla="*/ 675742 h 675742"/>
                <a:gd name="connsiteX9" fmla="*/ 80136 w 254450"/>
                <a:gd name="connsiteY9" fmla="*/ 675742 h 675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450" h="675742">
                  <a:moveTo>
                    <a:pt x="80136" y="675742"/>
                  </a:moveTo>
                  <a:cubicBezTo>
                    <a:pt x="77170" y="675742"/>
                    <a:pt x="77170" y="672775"/>
                    <a:pt x="74203" y="672775"/>
                  </a:cubicBezTo>
                  <a:cubicBezTo>
                    <a:pt x="71235" y="663874"/>
                    <a:pt x="2994" y="426512"/>
                    <a:pt x="28" y="352336"/>
                  </a:cubicBezTo>
                  <a:cubicBezTo>
                    <a:pt x="-2941" y="278160"/>
                    <a:pt x="234422" y="14093"/>
                    <a:pt x="243323" y="2225"/>
                  </a:cubicBezTo>
                  <a:cubicBezTo>
                    <a:pt x="246291" y="-742"/>
                    <a:pt x="249257" y="-742"/>
                    <a:pt x="252225" y="2225"/>
                  </a:cubicBezTo>
                  <a:cubicBezTo>
                    <a:pt x="255192" y="5193"/>
                    <a:pt x="255192" y="8160"/>
                    <a:pt x="252225" y="11127"/>
                  </a:cubicBezTo>
                  <a:cubicBezTo>
                    <a:pt x="166181" y="106072"/>
                    <a:pt x="8928" y="298929"/>
                    <a:pt x="11895" y="352336"/>
                  </a:cubicBezTo>
                  <a:cubicBezTo>
                    <a:pt x="14863" y="423544"/>
                    <a:pt x="86070" y="666841"/>
                    <a:pt x="86070" y="669808"/>
                  </a:cubicBezTo>
                  <a:cubicBezTo>
                    <a:pt x="86070" y="672775"/>
                    <a:pt x="83104" y="675742"/>
                    <a:pt x="80136" y="675742"/>
                  </a:cubicBezTo>
                  <a:cubicBezTo>
                    <a:pt x="80136" y="675742"/>
                    <a:pt x="80136" y="675742"/>
                    <a:pt x="80136" y="675742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9C24A585-BCB9-4CEA-851B-A8F0633C8E38}"/>
                </a:ext>
              </a:extLst>
            </p:cNvPr>
            <p:cNvSpPr/>
            <p:nvPr/>
          </p:nvSpPr>
          <p:spPr>
            <a:xfrm>
              <a:off x="22424766" y="8182341"/>
              <a:ext cx="542003" cy="887656"/>
            </a:xfrm>
            <a:custGeom>
              <a:avLst/>
              <a:gdLst>
                <a:gd name="connsiteX0" fmla="*/ 26805 w 542003"/>
                <a:gd name="connsiteY0" fmla="*/ 639922 h 887656"/>
                <a:gd name="connsiteX1" fmla="*/ 148452 w 542003"/>
                <a:gd name="connsiteY1" fmla="*/ 871350 h 887656"/>
                <a:gd name="connsiteX2" fmla="*/ 308673 w 542003"/>
                <a:gd name="connsiteY2" fmla="*/ 886186 h 887656"/>
                <a:gd name="connsiteX3" fmla="*/ 465925 w 542003"/>
                <a:gd name="connsiteY3" fmla="*/ 862449 h 887656"/>
                <a:gd name="connsiteX4" fmla="*/ 537133 w 542003"/>
                <a:gd name="connsiteY4" fmla="*/ 725966 h 887656"/>
                <a:gd name="connsiteX5" fmla="*/ 421420 w 542003"/>
                <a:gd name="connsiteY5" fmla="*/ 562779 h 887656"/>
                <a:gd name="connsiteX6" fmla="*/ 406584 w 542003"/>
                <a:gd name="connsiteY6" fmla="*/ 426295 h 887656"/>
                <a:gd name="connsiteX7" fmla="*/ 326474 w 542003"/>
                <a:gd name="connsiteY7" fmla="*/ 349152 h 887656"/>
                <a:gd name="connsiteX8" fmla="*/ 287903 w 542003"/>
                <a:gd name="connsiteY8" fmla="*/ 180032 h 887656"/>
                <a:gd name="connsiteX9" fmla="*/ 6035 w 542003"/>
                <a:gd name="connsiteY9" fmla="*/ 2010 h 887656"/>
                <a:gd name="connsiteX10" fmla="*/ 56475 w 542003"/>
                <a:gd name="connsiteY10" fmla="*/ 43548 h 887656"/>
                <a:gd name="connsiteX11" fmla="*/ 109881 w 542003"/>
                <a:gd name="connsiteY11" fmla="*/ 67284 h 887656"/>
                <a:gd name="connsiteX12" fmla="*/ 26805 w 542003"/>
                <a:gd name="connsiteY12" fmla="*/ 639922 h 887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2003" h="887656">
                  <a:moveTo>
                    <a:pt x="26805" y="639922"/>
                  </a:moveTo>
                  <a:cubicBezTo>
                    <a:pt x="44606" y="731900"/>
                    <a:pt x="47572" y="835746"/>
                    <a:pt x="148452" y="871350"/>
                  </a:cubicBezTo>
                  <a:cubicBezTo>
                    <a:pt x="198892" y="889153"/>
                    <a:pt x="255265" y="889153"/>
                    <a:pt x="308673" y="886186"/>
                  </a:cubicBezTo>
                  <a:cubicBezTo>
                    <a:pt x="359111" y="883218"/>
                    <a:pt x="418451" y="883218"/>
                    <a:pt x="465925" y="862449"/>
                  </a:cubicBezTo>
                  <a:cubicBezTo>
                    <a:pt x="522298" y="838713"/>
                    <a:pt x="554936" y="788273"/>
                    <a:pt x="537133" y="725966"/>
                  </a:cubicBezTo>
                  <a:cubicBezTo>
                    <a:pt x="516365" y="660691"/>
                    <a:pt x="436255" y="628054"/>
                    <a:pt x="421420" y="562779"/>
                  </a:cubicBezTo>
                  <a:cubicBezTo>
                    <a:pt x="412519" y="515306"/>
                    <a:pt x="436255" y="470801"/>
                    <a:pt x="406584" y="426295"/>
                  </a:cubicBezTo>
                  <a:cubicBezTo>
                    <a:pt x="385815" y="393658"/>
                    <a:pt x="347244" y="378823"/>
                    <a:pt x="326474" y="349152"/>
                  </a:cubicBezTo>
                  <a:cubicBezTo>
                    <a:pt x="287903" y="298713"/>
                    <a:pt x="311639" y="233438"/>
                    <a:pt x="287903" y="180032"/>
                  </a:cubicBezTo>
                  <a:cubicBezTo>
                    <a:pt x="249332" y="88054"/>
                    <a:pt x="112847" y="-15792"/>
                    <a:pt x="6035" y="2010"/>
                  </a:cubicBezTo>
                  <a:cubicBezTo>
                    <a:pt x="-11768" y="4977"/>
                    <a:pt x="38672" y="34647"/>
                    <a:pt x="56475" y="43548"/>
                  </a:cubicBezTo>
                  <a:cubicBezTo>
                    <a:pt x="74276" y="49482"/>
                    <a:pt x="92078" y="58383"/>
                    <a:pt x="109881" y="67284"/>
                  </a:cubicBezTo>
                  <a:cubicBezTo>
                    <a:pt x="-35504" y="197834"/>
                    <a:pt x="-5834" y="467834"/>
                    <a:pt x="26805" y="639922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0C3E9E87-09A5-4541-A11F-3759EE275796}"/>
                </a:ext>
              </a:extLst>
            </p:cNvPr>
            <p:cNvSpPr/>
            <p:nvPr/>
          </p:nvSpPr>
          <p:spPr>
            <a:xfrm>
              <a:off x="21929439" y="8179037"/>
              <a:ext cx="504706" cy="822662"/>
            </a:xfrm>
            <a:custGeom>
              <a:avLst/>
              <a:gdLst>
                <a:gd name="connsiteX0" fmla="*/ 439053 w 504706"/>
                <a:gd name="connsiteY0" fmla="*/ 450369 h 822662"/>
                <a:gd name="connsiteX1" fmla="*/ 430152 w 504706"/>
                <a:gd name="connsiteY1" fmla="*/ 296083 h 822662"/>
                <a:gd name="connsiteX2" fmla="*/ 471691 w 504706"/>
                <a:gd name="connsiteY2" fmla="*/ 153665 h 822662"/>
                <a:gd name="connsiteX3" fmla="*/ 504328 w 504706"/>
                <a:gd name="connsiteY3" fmla="*/ 8281 h 822662"/>
                <a:gd name="connsiteX4" fmla="*/ 201690 w 504706"/>
                <a:gd name="connsiteY4" fmla="*/ 183336 h 822662"/>
                <a:gd name="connsiteX5" fmla="*/ 201690 w 504706"/>
                <a:gd name="connsiteY5" fmla="*/ 239709 h 822662"/>
                <a:gd name="connsiteX6" fmla="*/ 154218 w 504706"/>
                <a:gd name="connsiteY6" fmla="*/ 296083 h 822662"/>
                <a:gd name="connsiteX7" fmla="*/ 103778 w 504706"/>
                <a:gd name="connsiteY7" fmla="*/ 361358 h 822662"/>
                <a:gd name="connsiteX8" fmla="*/ 103778 w 504706"/>
                <a:gd name="connsiteY8" fmla="*/ 447402 h 822662"/>
                <a:gd name="connsiteX9" fmla="*/ 83009 w 504706"/>
                <a:gd name="connsiteY9" fmla="*/ 518610 h 822662"/>
                <a:gd name="connsiteX10" fmla="*/ 14767 w 504706"/>
                <a:gd name="connsiteY10" fmla="*/ 616523 h 822662"/>
                <a:gd name="connsiteX11" fmla="*/ 62241 w 504706"/>
                <a:gd name="connsiteY11" fmla="*/ 797511 h 822662"/>
                <a:gd name="connsiteX12" fmla="*/ 261031 w 504706"/>
                <a:gd name="connsiteY12" fmla="*/ 821248 h 822662"/>
                <a:gd name="connsiteX13" fmla="*/ 266965 w 504706"/>
                <a:gd name="connsiteY13" fmla="*/ 735204 h 822662"/>
                <a:gd name="connsiteX14" fmla="*/ 358944 w 504706"/>
                <a:gd name="connsiteY14" fmla="*/ 726303 h 822662"/>
                <a:gd name="connsiteX15" fmla="*/ 447955 w 504706"/>
                <a:gd name="connsiteY15" fmla="*/ 572017 h 822662"/>
                <a:gd name="connsiteX16" fmla="*/ 439053 w 504706"/>
                <a:gd name="connsiteY16" fmla="*/ 450369 h 822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04706" h="822662">
                  <a:moveTo>
                    <a:pt x="439053" y="450369"/>
                  </a:moveTo>
                  <a:cubicBezTo>
                    <a:pt x="430152" y="399929"/>
                    <a:pt x="424218" y="346522"/>
                    <a:pt x="430152" y="296083"/>
                  </a:cubicBezTo>
                  <a:cubicBezTo>
                    <a:pt x="436086" y="245643"/>
                    <a:pt x="450922" y="201138"/>
                    <a:pt x="471691" y="153665"/>
                  </a:cubicBezTo>
                  <a:cubicBezTo>
                    <a:pt x="492461" y="106193"/>
                    <a:pt x="507296" y="5314"/>
                    <a:pt x="504328" y="8281"/>
                  </a:cubicBezTo>
                  <a:cubicBezTo>
                    <a:pt x="391581" y="-27324"/>
                    <a:pt x="198724" y="55753"/>
                    <a:pt x="201690" y="183336"/>
                  </a:cubicBezTo>
                  <a:cubicBezTo>
                    <a:pt x="201690" y="201138"/>
                    <a:pt x="204658" y="221907"/>
                    <a:pt x="201690" y="239709"/>
                  </a:cubicBezTo>
                  <a:cubicBezTo>
                    <a:pt x="195757" y="269380"/>
                    <a:pt x="177954" y="281248"/>
                    <a:pt x="154218" y="296083"/>
                  </a:cubicBezTo>
                  <a:cubicBezTo>
                    <a:pt x="130482" y="313885"/>
                    <a:pt x="112679" y="334654"/>
                    <a:pt x="103778" y="361358"/>
                  </a:cubicBezTo>
                  <a:cubicBezTo>
                    <a:pt x="94878" y="391028"/>
                    <a:pt x="97844" y="417731"/>
                    <a:pt x="103778" y="447402"/>
                  </a:cubicBezTo>
                  <a:cubicBezTo>
                    <a:pt x="109713" y="477072"/>
                    <a:pt x="109713" y="497841"/>
                    <a:pt x="83009" y="518610"/>
                  </a:cubicBezTo>
                  <a:cubicBezTo>
                    <a:pt x="68174" y="533446"/>
                    <a:pt x="20702" y="595753"/>
                    <a:pt x="14767" y="616523"/>
                  </a:cubicBezTo>
                  <a:cubicBezTo>
                    <a:pt x="-23804" y="717402"/>
                    <a:pt x="20702" y="758940"/>
                    <a:pt x="62241" y="797511"/>
                  </a:cubicBezTo>
                  <a:cubicBezTo>
                    <a:pt x="118613" y="850918"/>
                    <a:pt x="201690" y="785643"/>
                    <a:pt x="261031" y="821248"/>
                  </a:cubicBezTo>
                  <a:cubicBezTo>
                    <a:pt x="284768" y="836083"/>
                    <a:pt x="237295" y="729270"/>
                    <a:pt x="266965" y="735204"/>
                  </a:cubicBezTo>
                  <a:cubicBezTo>
                    <a:pt x="293669" y="738171"/>
                    <a:pt x="332240" y="735204"/>
                    <a:pt x="358944" y="726303"/>
                  </a:cubicBezTo>
                  <a:cubicBezTo>
                    <a:pt x="409382" y="705534"/>
                    <a:pt x="439053" y="622457"/>
                    <a:pt x="447955" y="572017"/>
                  </a:cubicBezTo>
                  <a:cubicBezTo>
                    <a:pt x="456856" y="533446"/>
                    <a:pt x="444987" y="491907"/>
                    <a:pt x="439053" y="450369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267B2536-455E-49D6-B718-642BDE71EA61}"/>
                </a:ext>
              </a:extLst>
            </p:cNvPr>
            <p:cNvSpPr/>
            <p:nvPr/>
          </p:nvSpPr>
          <p:spPr>
            <a:xfrm>
              <a:off x="21855195" y="8875673"/>
              <a:ext cx="391237" cy="409447"/>
            </a:xfrm>
            <a:custGeom>
              <a:avLst/>
              <a:gdLst>
                <a:gd name="connsiteX0" fmla="*/ 341209 w 391237"/>
                <a:gd name="connsiteY0" fmla="*/ 409447 h 409447"/>
                <a:gd name="connsiteX1" fmla="*/ 335274 w 391237"/>
                <a:gd name="connsiteY1" fmla="*/ 14832 h 409447"/>
                <a:gd name="connsiteX2" fmla="*/ 0 w 391237"/>
                <a:gd name="connsiteY2" fmla="*/ 284832 h 409447"/>
                <a:gd name="connsiteX3" fmla="*/ 341209 w 391237"/>
                <a:gd name="connsiteY3" fmla="*/ 409447 h 409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1237" h="409447">
                  <a:moveTo>
                    <a:pt x="341209" y="409447"/>
                  </a:moveTo>
                  <a:cubicBezTo>
                    <a:pt x="421319" y="249227"/>
                    <a:pt x="394615" y="62304"/>
                    <a:pt x="335274" y="14832"/>
                  </a:cubicBezTo>
                  <a:cubicBezTo>
                    <a:pt x="255166" y="-47476"/>
                    <a:pt x="68241" y="94942"/>
                    <a:pt x="0" y="284832"/>
                  </a:cubicBezTo>
                  <a:cubicBezTo>
                    <a:pt x="41539" y="344173"/>
                    <a:pt x="240331" y="394612"/>
                    <a:pt x="341209" y="409447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FC403FB2-19B1-4B85-AC8A-BECD26CD03EE}"/>
                </a:ext>
              </a:extLst>
            </p:cNvPr>
            <p:cNvSpPr/>
            <p:nvPr/>
          </p:nvSpPr>
          <p:spPr>
            <a:xfrm>
              <a:off x="21989789" y="8823852"/>
              <a:ext cx="795610" cy="959817"/>
            </a:xfrm>
            <a:custGeom>
              <a:avLst/>
              <a:gdLst>
                <a:gd name="connsiteX0" fmla="*/ 752550 w 795610"/>
                <a:gd name="connsiteY0" fmla="*/ 381158 h 959817"/>
                <a:gd name="connsiteX1" fmla="*/ 737714 w 795610"/>
                <a:gd name="connsiteY1" fmla="*/ 66653 h 959817"/>
                <a:gd name="connsiteX2" fmla="*/ 378702 w 795610"/>
                <a:gd name="connsiteY2" fmla="*/ 4345 h 959817"/>
                <a:gd name="connsiteX3" fmla="*/ 87933 w 795610"/>
                <a:gd name="connsiteY3" fmla="*/ 102257 h 959817"/>
                <a:gd name="connsiteX4" fmla="*/ 49362 w 795610"/>
                <a:gd name="connsiteY4" fmla="*/ 636323 h 959817"/>
                <a:gd name="connsiteX5" fmla="*/ 90901 w 795610"/>
                <a:gd name="connsiteY5" fmla="*/ 953795 h 959817"/>
                <a:gd name="connsiteX6" fmla="*/ 749581 w 795610"/>
                <a:gd name="connsiteY6" fmla="*/ 938960 h 959817"/>
                <a:gd name="connsiteX7" fmla="*/ 752550 w 795610"/>
                <a:gd name="connsiteY7" fmla="*/ 381158 h 959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610" h="959817">
                  <a:moveTo>
                    <a:pt x="752550" y="381158"/>
                  </a:moveTo>
                  <a:cubicBezTo>
                    <a:pt x="761450" y="351488"/>
                    <a:pt x="853428" y="128961"/>
                    <a:pt x="737714" y="66653"/>
                  </a:cubicBezTo>
                  <a:cubicBezTo>
                    <a:pt x="636835" y="13246"/>
                    <a:pt x="494417" y="-10490"/>
                    <a:pt x="378702" y="4345"/>
                  </a:cubicBezTo>
                  <a:cubicBezTo>
                    <a:pt x="251120" y="19180"/>
                    <a:pt x="123538" y="39950"/>
                    <a:pt x="87933" y="102257"/>
                  </a:cubicBezTo>
                  <a:cubicBezTo>
                    <a:pt x="-21847" y="283246"/>
                    <a:pt x="-21847" y="443466"/>
                    <a:pt x="49362" y="636323"/>
                  </a:cubicBezTo>
                  <a:cubicBezTo>
                    <a:pt x="70132" y="692697"/>
                    <a:pt x="76066" y="823246"/>
                    <a:pt x="90901" y="953795"/>
                  </a:cubicBezTo>
                  <a:cubicBezTo>
                    <a:pt x="90901" y="953795"/>
                    <a:pt x="366835" y="974565"/>
                    <a:pt x="749581" y="938960"/>
                  </a:cubicBezTo>
                  <a:cubicBezTo>
                    <a:pt x="719911" y="725334"/>
                    <a:pt x="746615" y="401928"/>
                    <a:pt x="752550" y="381158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363F3FF5-5AF4-4A12-8424-3426A6A33D9A}"/>
                </a:ext>
              </a:extLst>
            </p:cNvPr>
            <p:cNvSpPr/>
            <p:nvPr/>
          </p:nvSpPr>
          <p:spPr>
            <a:xfrm>
              <a:off x="22261679" y="8650081"/>
              <a:ext cx="302637" cy="317566"/>
            </a:xfrm>
            <a:custGeom>
              <a:avLst/>
              <a:gdLst>
                <a:gd name="connsiteX0" fmla="*/ 53406 w 302637"/>
                <a:gd name="connsiteY0" fmla="*/ 59435 h 317566"/>
                <a:gd name="connsiteX1" fmla="*/ 0 w 302637"/>
                <a:gd name="connsiteY1" fmla="*/ 195918 h 317566"/>
                <a:gd name="connsiteX2" fmla="*/ 112747 w 302637"/>
                <a:gd name="connsiteY2" fmla="*/ 317567 h 317566"/>
                <a:gd name="connsiteX3" fmla="*/ 302638 w 302637"/>
                <a:gd name="connsiteY3" fmla="*/ 181083 h 317566"/>
                <a:gd name="connsiteX4" fmla="*/ 252198 w 302637"/>
                <a:gd name="connsiteY4" fmla="*/ 94 h 317566"/>
                <a:gd name="connsiteX5" fmla="*/ 53406 w 302637"/>
                <a:gd name="connsiteY5" fmla="*/ 59435 h 317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637" h="317566">
                  <a:moveTo>
                    <a:pt x="53406" y="59435"/>
                  </a:moveTo>
                  <a:cubicBezTo>
                    <a:pt x="53406" y="59435"/>
                    <a:pt x="59341" y="166248"/>
                    <a:pt x="0" y="195918"/>
                  </a:cubicBezTo>
                  <a:lnTo>
                    <a:pt x="112747" y="317567"/>
                  </a:lnTo>
                  <a:cubicBezTo>
                    <a:pt x="112747" y="317567"/>
                    <a:pt x="249232" y="210754"/>
                    <a:pt x="302638" y="181083"/>
                  </a:cubicBezTo>
                  <a:cubicBezTo>
                    <a:pt x="249232" y="139545"/>
                    <a:pt x="252198" y="59435"/>
                    <a:pt x="252198" y="94"/>
                  </a:cubicBezTo>
                  <a:cubicBezTo>
                    <a:pt x="252198" y="-2873"/>
                    <a:pt x="106812" y="65369"/>
                    <a:pt x="53406" y="59435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DCF21653-1B28-462D-9282-BF6A7BE82192}"/>
                </a:ext>
              </a:extLst>
            </p:cNvPr>
            <p:cNvSpPr/>
            <p:nvPr/>
          </p:nvSpPr>
          <p:spPr>
            <a:xfrm>
              <a:off x="21987907" y="8923142"/>
              <a:ext cx="98716" cy="539999"/>
            </a:xfrm>
            <a:custGeom>
              <a:avLst/>
              <a:gdLst>
                <a:gd name="connsiteX0" fmla="*/ 54211 w 98716"/>
                <a:gd name="connsiteY0" fmla="*/ 539999 h 539999"/>
                <a:gd name="connsiteX1" fmla="*/ 48278 w 98716"/>
                <a:gd name="connsiteY1" fmla="*/ 537033 h 539999"/>
                <a:gd name="connsiteX2" fmla="*/ 33443 w 98716"/>
                <a:gd name="connsiteY2" fmla="*/ 483626 h 539999"/>
                <a:gd name="connsiteX3" fmla="*/ 805 w 98716"/>
                <a:gd name="connsiteY3" fmla="*/ 338242 h 539999"/>
                <a:gd name="connsiteX4" fmla="*/ 86850 w 98716"/>
                <a:gd name="connsiteY4" fmla="*/ 2967 h 539999"/>
                <a:gd name="connsiteX5" fmla="*/ 95750 w 98716"/>
                <a:gd name="connsiteY5" fmla="*/ 0 h 539999"/>
                <a:gd name="connsiteX6" fmla="*/ 98717 w 98716"/>
                <a:gd name="connsiteY6" fmla="*/ 8901 h 539999"/>
                <a:gd name="connsiteX7" fmla="*/ 12674 w 98716"/>
                <a:gd name="connsiteY7" fmla="*/ 338242 h 539999"/>
                <a:gd name="connsiteX8" fmla="*/ 45310 w 98716"/>
                <a:gd name="connsiteY8" fmla="*/ 483626 h 539999"/>
                <a:gd name="connsiteX9" fmla="*/ 60146 w 98716"/>
                <a:gd name="connsiteY9" fmla="*/ 537033 h 539999"/>
                <a:gd name="connsiteX10" fmla="*/ 54211 w 98716"/>
                <a:gd name="connsiteY10" fmla="*/ 539999 h 539999"/>
                <a:gd name="connsiteX11" fmla="*/ 54211 w 98716"/>
                <a:gd name="connsiteY11" fmla="*/ 539999 h 53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8716" h="539999">
                  <a:moveTo>
                    <a:pt x="54211" y="539999"/>
                  </a:moveTo>
                  <a:cubicBezTo>
                    <a:pt x="51245" y="539999"/>
                    <a:pt x="48278" y="537033"/>
                    <a:pt x="48278" y="537033"/>
                  </a:cubicBezTo>
                  <a:cubicBezTo>
                    <a:pt x="42344" y="519231"/>
                    <a:pt x="39376" y="501428"/>
                    <a:pt x="33443" y="483626"/>
                  </a:cubicBezTo>
                  <a:cubicBezTo>
                    <a:pt x="18608" y="433187"/>
                    <a:pt x="3773" y="382747"/>
                    <a:pt x="805" y="338242"/>
                  </a:cubicBezTo>
                  <a:cubicBezTo>
                    <a:pt x="-5130" y="216593"/>
                    <a:pt x="21574" y="103846"/>
                    <a:pt x="86850" y="2967"/>
                  </a:cubicBezTo>
                  <a:cubicBezTo>
                    <a:pt x="89816" y="0"/>
                    <a:pt x="92784" y="0"/>
                    <a:pt x="95750" y="0"/>
                  </a:cubicBezTo>
                  <a:cubicBezTo>
                    <a:pt x="98717" y="2967"/>
                    <a:pt x="98717" y="5934"/>
                    <a:pt x="98717" y="8901"/>
                  </a:cubicBezTo>
                  <a:cubicBezTo>
                    <a:pt x="36410" y="109780"/>
                    <a:pt x="6739" y="219560"/>
                    <a:pt x="12674" y="338242"/>
                  </a:cubicBezTo>
                  <a:cubicBezTo>
                    <a:pt x="15640" y="382747"/>
                    <a:pt x="30475" y="433187"/>
                    <a:pt x="45310" y="483626"/>
                  </a:cubicBezTo>
                  <a:cubicBezTo>
                    <a:pt x="51245" y="501428"/>
                    <a:pt x="57179" y="519231"/>
                    <a:pt x="60146" y="537033"/>
                  </a:cubicBezTo>
                  <a:cubicBezTo>
                    <a:pt x="60146" y="534066"/>
                    <a:pt x="57179" y="537033"/>
                    <a:pt x="54211" y="539999"/>
                  </a:cubicBezTo>
                  <a:cubicBezTo>
                    <a:pt x="54211" y="539999"/>
                    <a:pt x="54211" y="539999"/>
                    <a:pt x="54211" y="539999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36B308E5-8C00-4608-AEAD-AAAD38821D88}"/>
                </a:ext>
              </a:extLst>
            </p:cNvPr>
            <p:cNvSpPr/>
            <p:nvPr/>
          </p:nvSpPr>
          <p:spPr>
            <a:xfrm>
              <a:off x="22104427" y="9350583"/>
              <a:ext cx="389910" cy="35415"/>
            </a:xfrm>
            <a:custGeom>
              <a:avLst/>
              <a:gdLst>
                <a:gd name="connsiteX0" fmla="*/ 5934 w 389910"/>
                <a:gd name="connsiteY0" fmla="*/ 35416 h 35415"/>
                <a:gd name="connsiteX1" fmla="*/ 0 w 389910"/>
                <a:gd name="connsiteY1" fmla="*/ 32449 h 35415"/>
                <a:gd name="connsiteX2" fmla="*/ 2966 w 389910"/>
                <a:gd name="connsiteY2" fmla="*/ 26514 h 35415"/>
                <a:gd name="connsiteX3" fmla="*/ 385714 w 389910"/>
                <a:gd name="connsiteY3" fmla="*/ 14646 h 35415"/>
                <a:gd name="connsiteX4" fmla="*/ 388681 w 389910"/>
                <a:gd name="connsiteY4" fmla="*/ 20581 h 35415"/>
                <a:gd name="connsiteX5" fmla="*/ 382746 w 389910"/>
                <a:gd name="connsiteY5" fmla="*/ 23547 h 35415"/>
                <a:gd name="connsiteX6" fmla="*/ 5934 w 389910"/>
                <a:gd name="connsiteY6" fmla="*/ 35416 h 35415"/>
                <a:gd name="connsiteX7" fmla="*/ 5934 w 389910"/>
                <a:gd name="connsiteY7" fmla="*/ 35416 h 3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9910" h="35415">
                  <a:moveTo>
                    <a:pt x="5934" y="35416"/>
                  </a:moveTo>
                  <a:cubicBezTo>
                    <a:pt x="2966" y="35416"/>
                    <a:pt x="2966" y="35416"/>
                    <a:pt x="0" y="32449"/>
                  </a:cubicBezTo>
                  <a:cubicBezTo>
                    <a:pt x="0" y="29481"/>
                    <a:pt x="0" y="26514"/>
                    <a:pt x="2966" y="26514"/>
                  </a:cubicBezTo>
                  <a:cubicBezTo>
                    <a:pt x="86043" y="-3156"/>
                    <a:pt x="287803" y="-9090"/>
                    <a:pt x="385714" y="14646"/>
                  </a:cubicBezTo>
                  <a:cubicBezTo>
                    <a:pt x="388681" y="14646"/>
                    <a:pt x="391649" y="17613"/>
                    <a:pt x="388681" y="20581"/>
                  </a:cubicBezTo>
                  <a:cubicBezTo>
                    <a:pt x="388681" y="23547"/>
                    <a:pt x="385714" y="26514"/>
                    <a:pt x="382746" y="23547"/>
                  </a:cubicBezTo>
                  <a:cubicBezTo>
                    <a:pt x="290769" y="-189"/>
                    <a:pt x="89011" y="5746"/>
                    <a:pt x="5934" y="35416"/>
                  </a:cubicBezTo>
                  <a:cubicBezTo>
                    <a:pt x="8901" y="35416"/>
                    <a:pt x="5934" y="35416"/>
                    <a:pt x="5934" y="35416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397C9FE1-9B16-48DC-AB95-DBDA2A373CE0}"/>
                </a:ext>
              </a:extLst>
            </p:cNvPr>
            <p:cNvSpPr/>
            <p:nvPr/>
          </p:nvSpPr>
          <p:spPr>
            <a:xfrm>
              <a:off x="22237943" y="8834131"/>
              <a:ext cx="350109" cy="151318"/>
            </a:xfrm>
            <a:custGeom>
              <a:avLst/>
              <a:gdLst>
                <a:gd name="connsiteX0" fmla="*/ 35605 w 350109"/>
                <a:gd name="connsiteY0" fmla="*/ 5934 h 151318"/>
                <a:gd name="connsiteX1" fmla="*/ 136483 w 350109"/>
                <a:gd name="connsiteY1" fmla="*/ 118681 h 151318"/>
                <a:gd name="connsiteX2" fmla="*/ 326374 w 350109"/>
                <a:gd name="connsiteY2" fmla="*/ 0 h 151318"/>
                <a:gd name="connsiteX3" fmla="*/ 350110 w 350109"/>
                <a:gd name="connsiteY3" fmla="*/ 8901 h 151318"/>
                <a:gd name="connsiteX4" fmla="*/ 133516 w 350109"/>
                <a:gd name="connsiteY4" fmla="*/ 151318 h 151318"/>
                <a:gd name="connsiteX5" fmla="*/ 0 w 350109"/>
                <a:gd name="connsiteY5" fmla="*/ 14835 h 151318"/>
                <a:gd name="connsiteX6" fmla="*/ 35605 w 350109"/>
                <a:gd name="connsiteY6" fmla="*/ 5934 h 151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109" h="151318">
                  <a:moveTo>
                    <a:pt x="35605" y="5934"/>
                  </a:moveTo>
                  <a:lnTo>
                    <a:pt x="136483" y="118681"/>
                  </a:lnTo>
                  <a:cubicBezTo>
                    <a:pt x="136483" y="118681"/>
                    <a:pt x="264065" y="20769"/>
                    <a:pt x="326374" y="0"/>
                  </a:cubicBezTo>
                  <a:lnTo>
                    <a:pt x="350110" y="8901"/>
                  </a:lnTo>
                  <a:lnTo>
                    <a:pt x="133516" y="151318"/>
                  </a:lnTo>
                  <a:lnTo>
                    <a:pt x="0" y="14835"/>
                  </a:lnTo>
                  <a:cubicBezTo>
                    <a:pt x="0" y="11868"/>
                    <a:pt x="14835" y="5934"/>
                    <a:pt x="35605" y="5934"/>
                  </a:cubicBezTo>
                  <a:close/>
                </a:path>
              </a:pathLst>
            </a:custGeom>
            <a:solidFill>
              <a:srgbClr val="F6EBE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2B9904BA-B0DA-4367-9FD2-B02B43CB9A62}"/>
                </a:ext>
              </a:extLst>
            </p:cNvPr>
            <p:cNvSpPr/>
            <p:nvPr/>
          </p:nvSpPr>
          <p:spPr>
            <a:xfrm>
              <a:off x="22000581" y="9733142"/>
              <a:ext cx="818900" cy="214587"/>
            </a:xfrm>
            <a:custGeom>
              <a:avLst/>
              <a:gdLst>
                <a:gd name="connsiteX0" fmla="*/ 738790 w 818900"/>
                <a:gd name="connsiteY0" fmla="*/ 0 h 214587"/>
                <a:gd name="connsiteX1" fmla="*/ 818900 w 818900"/>
                <a:gd name="connsiteY1" fmla="*/ 183956 h 214587"/>
                <a:gd name="connsiteX2" fmla="*/ 0 w 818900"/>
                <a:gd name="connsiteY2" fmla="*/ 127583 h 214587"/>
                <a:gd name="connsiteX3" fmla="*/ 83077 w 818900"/>
                <a:gd name="connsiteY3" fmla="*/ 41538 h 214587"/>
                <a:gd name="connsiteX4" fmla="*/ 738790 w 818900"/>
                <a:gd name="connsiteY4" fmla="*/ 0 h 21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8900" h="214587">
                  <a:moveTo>
                    <a:pt x="738790" y="0"/>
                  </a:moveTo>
                  <a:lnTo>
                    <a:pt x="818900" y="183956"/>
                  </a:lnTo>
                  <a:cubicBezTo>
                    <a:pt x="818900" y="183956"/>
                    <a:pt x="391649" y="281868"/>
                    <a:pt x="0" y="127583"/>
                  </a:cubicBezTo>
                  <a:lnTo>
                    <a:pt x="83077" y="41538"/>
                  </a:lnTo>
                  <a:cubicBezTo>
                    <a:pt x="83077" y="41538"/>
                    <a:pt x="646813" y="23737"/>
                    <a:pt x="738790" y="0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AC766748-9351-46B9-8276-A38B697EEF9D}"/>
                </a:ext>
              </a:extLst>
            </p:cNvPr>
            <p:cNvSpPr/>
            <p:nvPr/>
          </p:nvSpPr>
          <p:spPr>
            <a:xfrm>
              <a:off x="22199273" y="8215691"/>
              <a:ext cx="405327" cy="553239"/>
            </a:xfrm>
            <a:custGeom>
              <a:avLst/>
              <a:gdLst>
                <a:gd name="connsiteX0" fmla="*/ 3065 w 405327"/>
                <a:gd name="connsiteY0" fmla="*/ 182285 h 553239"/>
                <a:gd name="connsiteX1" fmla="*/ 23835 w 405327"/>
                <a:gd name="connsiteY1" fmla="*/ 431516 h 553239"/>
                <a:gd name="connsiteX2" fmla="*/ 172186 w 405327"/>
                <a:gd name="connsiteY2" fmla="*/ 553165 h 553239"/>
                <a:gd name="connsiteX3" fmla="*/ 376911 w 405327"/>
                <a:gd name="connsiteY3" fmla="*/ 404813 h 553239"/>
                <a:gd name="connsiteX4" fmla="*/ 403615 w 405327"/>
                <a:gd name="connsiteY4" fmla="*/ 185253 h 553239"/>
                <a:gd name="connsiteX5" fmla="*/ 187021 w 405327"/>
                <a:gd name="connsiteY5" fmla="*/ 1297 h 553239"/>
                <a:gd name="connsiteX6" fmla="*/ 3065 w 405327"/>
                <a:gd name="connsiteY6" fmla="*/ 182285 h 553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5327" h="553239">
                  <a:moveTo>
                    <a:pt x="3065" y="182285"/>
                  </a:moveTo>
                  <a:cubicBezTo>
                    <a:pt x="3065" y="182285"/>
                    <a:pt x="-11770" y="366242"/>
                    <a:pt x="23835" y="431516"/>
                  </a:cubicBezTo>
                  <a:cubicBezTo>
                    <a:pt x="62406" y="496791"/>
                    <a:pt x="124713" y="550198"/>
                    <a:pt x="172186" y="553165"/>
                  </a:cubicBezTo>
                  <a:cubicBezTo>
                    <a:pt x="237461" y="556132"/>
                    <a:pt x="344274" y="470088"/>
                    <a:pt x="376911" y="404813"/>
                  </a:cubicBezTo>
                  <a:cubicBezTo>
                    <a:pt x="409549" y="339538"/>
                    <a:pt x="406581" y="232725"/>
                    <a:pt x="403615" y="185253"/>
                  </a:cubicBezTo>
                  <a:cubicBezTo>
                    <a:pt x="397680" y="93274"/>
                    <a:pt x="368010" y="19099"/>
                    <a:pt x="187021" y="1297"/>
                  </a:cubicBezTo>
                  <a:cubicBezTo>
                    <a:pt x="106911" y="-13539"/>
                    <a:pt x="17900" y="102176"/>
                    <a:pt x="3065" y="182285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A1730161-B687-4629-8DFC-50E23C0ACCAD}"/>
                </a:ext>
              </a:extLst>
            </p:cNvPr>
            <p:cNvSpPr/>
            <p:nvPr/>
          </p:nvSpPr>
          <p:spPr>
            <a:xfrm>
              <a:off x="22332889" y="8473891"/>
              <a:ext cx="56372" cy="128811"/>
            </a:xfrm>
            <a:custGeom>
              <a:avLst/>
              <a:gdLst>
                <a:gd name="connsiteX0" fmla="*/ 26702 w 56372"/>
                <a:gd name="connsiteY0" fmla="*/ 128812 h 128811"/>
                <a:gd name="connsiteX1" fmla="*/ 5933 w 56372"/>
                <a:gd name="connsiteY1" fmla="*/ 122878 h 128811"/>
                <a:gd name="connsiteX2" fmla="*/ 0 w 56372"/>
                <a:gd name="connsiteY2" fmla="*/ 111009 h 128811"/>
                <a:gd name="connsiteX3" fmla="*/ 23736 w 56372"/>
                <a:gd name="connsiteY3" fmla="*/ 4196 h 128811"/>
                <a:gd name="connsiteX4" fmla="*/ 29670 w 56372"/>
                <a:gd name="connsiteY4" fmla="*/ 1229 h 128811"/>
                <a:gd name="connsiteX5" fmla="*/ 32637 w 56372"/>
                <a:gd name="connsiteY5" fmla="*/ 7163 h 128811"/>
                <a:gd name="connsiteX6" fmla="*/ 8901 w 56372"/>
                <a:gd name="connsiteY6" fmla="*/ 111009 h 128811"/>
                <a:gd name="connsiteX7" fmla="*/ 11867 w 56372"/>
                <a:gd name="connsiteY7" fmla="*/ 113976 h 128811"/>
                <a:gd name="connsiteX8" fmla="*/ 50438 w 56372"/>
                <a:gd name="connsiteY8" fmla="*/ 113976 h 128811"/>
                <a:gd name="connsiteX9" fmla="*/ 56373 w 56372"/>
                <a:gd name="connsiteY9" fmla="*/ 116943 h 128811"/>
                <a:gd name="connsiteX10" fmla="*/ 53406 w 56372"/>
                <a:gd name="connsiteY10" fmla="*/ 122878 h 128811"/>
                <a:gd name="connsiteX11" fmla="*/ 26702 w 56372"/>
                <a:gd name="connsiteY11" fmla="*/ 128812 h 128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372" h="128811">
                  <a:moveTo>
                    <a:pt x="26702" y="128812"/>
                  </a:moveTo>
                  <a:cubicBezTo>
                    <a:pt x="17801" y="128812"/>
                    <a:pt x="8901" y="128812"/>
                    <a:pt x="5933" y="122878"/>
                  </a:cubicBezTo>
                  <a:cubicBezTo>
                    <a:pt x="2966" y="119910"/>
                    <a:pt x="0" y="116943"/>
                    <a:pt x="0" y="111009"/>
                  </a:cubicBezTo>
                  <a:cubicBezTo>
                    <a:pt x="0" y="90240"/>
                    <a:pt x="20768" y="7163"/>
                    <a:pt x="23736" y="4196"/>
                  </a:cubicBezTo>
                  <a:cubicBezTo>
                    <a:pt x="23736" y="1229"/>
                    <a:pt x="26702" y="-1738"/>
                    <a:pt x="29670" y="1229"/>
                  </a:cubicBezTo>
                  <a:cubicBezTo>
                    <a:pt x="32637" y="1229"/>
                    <a:pt x="35603" y="4196"/>
                    <a:pt x="32637" y="7163"/>
                  </a:cubicBezTo>
                  <a:cubicBezTo>
                    <a:pt x="26702" y="30899"/>
                    <a:pt x="8901" y="96174"/>
                    <a:pt x="8901" y="111009"/>
                  </a:cubicBezTo>
                  <a:cubicBezTo>
                    <a:pt x="8901" y="111009"/>
                    <a:pt x="8901" y="113976"/>
                    <a:pt x="11867" y="113976"/>
                  </a:cubicBezTo>
                  <a:cubicBezTo>
                    <a:pt x="17801" y="119910"/>
                    <a:pt x="38571" y="116943"/>
                    <a:pt x="50438" y="113976"/>
                  </a:cubicBezTo>
                  <a:cubicBezTo>
                    <a:pt x="53406" y="113976"/>
                    <a:pt x="56373" y="113976"/>
                    <a:pt x="56373" y="116943"/>
                  </a:cubicBezTo>
                  <a:cubicBezTo>
                    <a:pt x="56373" y="119910"/>
                    <a:pt x="56373" y="122878"/>
                    <a:pt x="53406" y="122878"/>
                  </a:cubicBezTo>
                  <a:cubicBezTo>
                    <a:pt x="50438" y="125844"/>
                    <a:pt x="38571" y="128812"/>
                    <a:pt x="26702" y="128812"/>
                  </a:cubicBezTo>
                  <a:close/>
                </a:path>
              </a:pathLst>
            </a:custGeom>
            <a:solidFill>
              <a:srgbClr val="E58777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F29957E8-AC38-4C70-87D8-13B42585D4DC}"/>
                </a:ext>
              </a:extLst>
            </p:cNvPr>
            <p:cNvSpPr/>
            <p:nvPr/>
          </p:nvSpPr>
          <p:spPr>
            <a:xfrm>
              <a:off x="22318054" y="8650175"/>
              <a:ext cx="103846" cy="56481"/>
            </a:xfrm>
            <a:custGeom>
              <a:avLst/>
              <a:gdLst>
                <a:gd name="connsiteX0" fmla="*/ 103846 w 103846"/>
                <a:gd name="connsiteY0" fmla="*/ 0 h 56481"/>
                <a:gd name="connsiteX1" fmla="*/ 0 w 103846"/>
                <a:gd name="connsiteY1" fmla="*/ 2967 h 56481"/>
                <a:gd name="connsiteX2" fmla="*/ 41537 w 103846"/>
                <a:gd name="connsiteY2" fmla="*/ 56374 h 56481"/>
                <a:gd name="connsiteX3" fmla="*/ 103846 w 103846"/>
                <a:gd name="connsiteY3" fmla="*/ 0 h 56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46" h="56481">
                  <a:moveTo>
                    <a:pt x="103846" y="0"/>
                  </a:moveTo>
                  <a:cubicBezTo>
                    <a:pt x="53406" y="29670"/>
                    <a:pt x="0" y="2967"/>
                    <a:pt x="0" y="2967"/>
                  </a:cubicBezTo>
                  <a:cubicBezTo>
                    <a:pt x="0" y="2967"/>
                    <a:pt x="8901" y="50440"/>
                    <a:pt x="41537" y="56374"/>
                  </a:cubicBezTo>
                  <a:cubicBezTo>
                    <a:pt x="77142" y="59341"/>
                    <a:pt x="103846" y="0"/>
                    <a:pt x="103846" y="0"/>
                  </a:cubicBezTo>
                  <a:close/>
                </a:path>
              </a:pathLst>
            </a:custGeom>
            <a:solidFill>
              <a:srgbClr val="FFFFFF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561DC844-C92F-47CF-B77E-09EB10FB416C}"/>
                </a:ext>
              </a:extLst>
            </p:cNvPr>
            <p:cNvSpPr/>
            <p:nvPr/>
          </p:nvSpPr>
          <p:spPr>
            <a:xfrm>
              <a:off x="22260923" y="8447661"/>
              <a:ext cx="39326" cy="40083"/>
            </a:xfrm>
            <a:custGeom>
              <a:avLst/>
              <a:gdLst>
                <a:gd name="connsiteX0" fmla="*/ 39327 w 39326"/>
                <a:gd name="connsiteY0" fmla="*/ 24492 h 40083"/>
                <a:gd name="connsiteX1" fmla="*/ 15591 w 39326"/>
                <a:gd name="connsiteY1" fmla="*/ 39327 h 40083"/>
                <a:gd name="connsiteX2" fmla="*/ 756 w 39326"/>
                <a:gd name="connsiteY2" fmla="*/ 15591 h 40083"/>
                <a:gd name="connsiteX3" fmla="*/ 24492 w 39326"/>
                <a:gd name="connsiteY3" fmla="*/ 756 h 40083"/>
                <a:gd name="connsiteX4" fmla="*/ 39327 w 39326"/>
                <a:gd name="connsiteY4" fmla="*/ 24492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6" h="40083">
                  <a:moveTo>
                    <a:pt x="39327" y="24492"/>
                  </a:moveTo>
                  <a:cubicBezTo>
                    <a:pt x="36361" y="36360"/>
                    <a:pt x="27460" y="42294"/>
                    <a:pt x="15591" y="39327"/>
                  </a:cubicBezTo>
                  <a:cubicBezTo>
                    <a:pt x="3722" y="36360"/>
                    <a:pt x="-2210" y="27459"/>
                    <a:pt x="756" y="15591"/>
                  </a:cubicBezTo>
                  <a:cubicBezTo>
                    <a:pt x="3722" y="3723"/>
                    <a:pt x="12625" y="-2211"/>
                    <a:pt x="24492" y="756"/>
                  </a:cubicBezTo>
                  <a:cubicBezTo>
                    <a:pt x="33393" y="3723"/>
                    <a:pt x="39327" y="15591"/>
                    <a:pt x="39327" y="24492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8F5744DD-A21F-49A4-B199-41DECF050F13}"/>
                </a:ext>
              </a:extLst>
            </p:cNvPr>
            <p:cNvSpPr/>
            <p:nvPr/>
          </p:nvSpPr>
          <p:spPr>
            <a:xfrm>
              <a:off x="22444879" y="8447661"/>
              <a:ext cx="39909" cy="40083"/>
            </a:xfrm>
            <a:custGeom>
              <a:avLst/>
              <a:gdLst>
                <a:gd name="connsiteX0" fmla="*/ 39328 w 39909"/>
                <a:gd name="connsiteY0" fmla="*/ 24492 h 40083"/>
                <a:gd name="connsiteX1" fmla="*/ 15592 w 39909"/>
                <a:gd name="connsiteY1" fmla="*/ 39327 h 40083"/>
                <a:gd name="connsiteX2" fmla="*/ 757 w 39909"/>
                <a:gd name="connsiteY2" fmla="*/ 15591 h 40083"/>
                <a:gd name="connsiteX3" fmla="*/ 24492 w 39909"/>
                <a:gd name="connsiteY3" fmla="*/ 756 h 40083"/>
                <a:gd name="connsiteX4" fmla="*/ 39328 w 39909"/>
                <a:gd name="connsiteY4" fmla="*/ 24492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40083">
                  <a:moveTo>
                    <a:pt x="39328" y="24492"/>
                  </a:moveTo>
                  <a:cubicBezTo>
                    <a:pt x="36361" y="36360"/>
                    <a:pt x="27459" y="42294"/>
                    <a:pt x="15592" y="39327"/>
                  </a:cubicBezTo>
                  <a:cubicBezTo>
                    <a:pt x="3723" y="36360"/>
                    <a:pt x="-2212" y="27459"/>
                    <a:pt x="757" y="15591"/>
                  </a:cubicBezTo>
                  <a:cubicBezTo>
                    <a:pt x="3723" y="3723"/>
                    <a:pt x="12624" y="-2211"/>
                    <a:pt x="24492" y="756"/>
                  </a:cubicBezTo>
                  <a:cubicBezTo>
                    <a:pt x="33393" y="3723"/>
                    <a:pt x="42294" y="15591"/>
                    <a:pt x="39328" y="24492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40E57900-B1B7-4BC9-9283-6CA05DF93F3F}"/>
                </a:ext>
              </a:extLst>
            </p:cNvPr>
            <p:cNvSpPr/>
            <p:nvPr/>
          </p:nvSpPr>
          <p:spPr>
            <a:xfrm>
              <a:off x="22232750" y="8400848"/>
              <a:ext cx="89498" cy="35700"/>
            </a:xfrm>
            <a:custGeom>
              <a:avLst/>
              <a:gdLst>
                <a:gd name="connsiteX0" fmla="*/ 8159 w 89498"/>
                <a:gd name="connsiteY0" fmla="*/ 35700 h 35700"/>
                <a:gd name="connsiteX1" fmla="*/ 2225 w 89498"/>
                <a:gd name="connsiteY1" fmla="*/ 32734 h 35700"/>
                <a:gd name="connsiteX2" fmla="*/ 2225 w 89498"/>
                <a:gd name="connsiteY2" fmla="*/ 20865 h 35700"/>
                <a:gd name="connsiteX3" fmla="*/ 85303 w 89498"/>
                <a:gd name="connsiteY3" fmla="*/ 6030 h 35700"/>
                <a:gd name="connsiteX4" fmla="*/ 88269 w 89498"/>
                <a:gd name="connsiteY4" fmla="*/ 14931 h 35700"/>
                <a:gd name="connsiteX5" fmla="*/ 79369 w 89498"/>
                <a:gd name="connsiteY5" fmla="*/ 17898 h 35700"/>
                <a:gd name="connsiteX6" fmla="*/ 14094 w 89498"/>
                <a:gd name="connsiteY6" fmla="*/ 26799 h 35700"/>
                <a:gd name="connsiteX7" fmla="*/ 8159 w 89498"/>
                <a:gd name="connsiteY7" fmla="*/ 35700 h 35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700">
                  <a:moveTo>
                    <a:pt x="8159" y="35700"/>
                  </a:moveTo>
                  <a:cubicBezTo>
                    <a:pt x="5193" y="35700"/>
                    <a:pt x="5193" y="35700"/>
                    <a:pt x="2225" y="32734"/>
                  </a:cubicBezTo>
                  <a:cubicBezTo>
                    <a:pt x="-742" y="29766"/>
                    <a:pt x="-742" y="23832"/>
                    <a:pt x="2225" y="20865"/>
                  </a:cubicBezTo>
                  <a:cubicBezTo>
                    <a:pt x="25962" y="-8805"/>
                    <a:pt x="67500" y="96"/>
                    <a:pt x="85303" y="6030"/>
                  </a:cubicBezTo>
                  <a:cubicBezTo>
                    <a:pt x="88269" y="8997"/>
                    <a:pt x="91236" y="11964"/>
                    <a:pt x="88269" y="14931"/>
                  </a:cubicBezTo>
                  <a:cubicBezTo>
                    <a:pt x="85303" y="17898"/>
                    <a:pt x="82335" y="20865"/>
                    <a:pt x="79369" y="17898"/>
                  </a:cubicBezTo>
                  <a:cubicBezTo>
                    <a:pt x="76401" y="17898"/>
                    <a:pt x="37829" y="96"/>
                    <a:pt x="14094" y="26799"/>
                  </a:cubicBezTo>
                  <a:cubicBezTo>
                    <a:pt x="14094" y="35700"/>
                    <a:pt x="11127" y="35700"/>
                    <a:pt x="8159" y="35700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1AD41EE0-2ED5-4E7B-8511-876889FA0469}"/>
                </a:ext>
              </a:extLst>
            </p:cNvPr>
            <p:cNvSpPr/>
            <p:nvPr/>
          </p:nvSpPr>
          <p:spPr>
            <a:xfrm>
              <a:off x="22414016" y="8393109"/>
              <a:ext cx="90218" cy="34537"/>
            </a:xfrm>
            <a:custGeom>
              <a:avLst/>
              <a:gdLst>
                <a:gd name="connsiteX0" fmla="*/ 85026 w 90218"/>
                <a:gd name="connsiteY0" fmla="*/ 34538 h 34537"/>
                <a:gd name="connsiteX1" fmla="*/ 79092 w 90218"/>
                <a:gd name="connsiteY1" fmla="*/ 31571 h 34537"/>
                <a:gd name="connsiteX2" fmla="*/ 13817 w 90218"/>
                <a:gd name="connsiteY2" fmla="*/ 28604 h 34537"/>
                <a:gd name="connsiteX3" fmla="*/ 1950 w 90218"/>
                <a:gd name="connsiteY3" fmla="*/ 25637 h 34537"/>
                <a:gd name="connsiteX4" fmla="*/ 4916 w 90218"/>
                <a:gd name="connsiteY4" fmla="*/ 13769 h 34537"/>
                <a:gd name="connsiteX5" fmla="*/ 87993 w 90218"/>
                <a:gd name="connsiteY5" fmla="*/ 19703 h 34537"/>
                <a:gd name="connsiteX6" fmla="*/ 87993 w 90218"/>
                <a:gd name="connsiteY6" fmla="*/ 31571 h 34537"/>
                <a:gd name="connsiteX7" fmla="*/ 85026 w 90218"/>
                <a:gd name="connsiteY7" fmla="*/ 34538 h 3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218" h="34537">
                  <a:moveTo>
                    <a:pt x="85026" y="34538"/>
                  </a:moveTo>
                  <a:cubicBezTo>
                    <a:pt x="82060" y="34538"/>
                    <a:pt x="82060" y="34538"/>
                    <a:pt x="79092" y="31571"/>
                  </a:cubicBezTo>
                  <a:cubicBezTo>
                    <a:pt x="79092" y="31571"/>
                    <a:pt x="49422" y="4868"/>
                    <a:pt x="13817" y="28604"/>
                  </a:cubicBezTo>
                  <a:cubicBezTo>
                    <a:pt x="10850" y="31571"/>
                    <a:pt x="4916" y="31571"/>
                    <a:pt x="1950" y="25637"/>
                  </a:cubicBezTo>
                  <a:cubicBezTo>
                    <a:pt x="-1018" y="22670"/>
                    <a:pt x="-1018" y="16736"/>
                    <a:pt x="4916" y="13769"/>
                  </a:cubicBezTo>
                  <a:cubicBezTo>
                    <a:pt x="40521" y="-12934"/>
                    <a:pt x="76126" y="4868"/>
                    <a:pt x="87993" y="19703"/>
                  </a:cubicBezTo>
                  <a:cubicBezTo>
                    <a:pt x="90961" y="22670"/>
                    <a:pt x="90961" y="28604"/>
                    <a:pt x="87993" y="31571"/>
                  </a:cubicBezTo>
                  <a:cubicBezTo>
                    <a:pt x="90961" y="34538"/>
                    <a:pt x="87993" y="34538"/>
                    <a:pt x="85026" y="34538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2647B966-CE98-4C29-862C-D3457593C137}"/>
                </a:ext>
              </a:extLst>
            </p:cNvPr>
            <p:cNvSpPr/>
            <p:nvPr/>
          </p:nvSpPr>
          <p:spPr>
            <a:xfrm>
              <a:off x="22177937" y="8180268"/>
              <a:ext cx="262067" cy="259247"/>
            </a:xfrm>
            <a:custGeom>
              <a:avLst/>
              <a:gdLst>
                <a:gd name="connsiteX0" fmla="*/ 258798 w 262067"/>
                <a:gd name="connsiteY0" fmla="*/ 1116 h 259247"/>
                <a:gd name="connsiteX1" fmla="*/ 229128 w 262067"/>
                <a:gd name="connsiteY1" fmla="*/ 125731 h 259247"/>
                <a:gd name="connsiteX2" fmla="*/ 666 w 262067"/>
                <a:gd name="connsiteY2" fmla="*/ 259248 h 259247"/>
                <a:gd name="connsiteX3" fmla="*/ 258798 w 262067"/>
                <a:gd name="connsiteY3" fmla="*/ 1116 h 259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2067" h="259247">
                  <a:moveTo>
                    <a:pt x="258798" y="1116"/>
                  </a:moveTo>
                  <a:cubicBezTo>
                    <a:pt x="258798" y="1116"/>
                    <a:pt x="276600" y="87160"/>
                    <a:pt x="229128" y="125731"/>
                  </a:cubicBezTo>
                  <a:cubicBezTo>
                    <a:pt x="229128" y="125731"/>
                    <a:pt x="27368" y="176171"/>
                    <a:pt x="666" y="259248"/>
                  </a:cubicBezTo>
                  <a:cubicBezTo>
                    <a:pt x="666" y="256281"/>
                    <a:pt x="-26038" y="-19653"/>
                    <a:pt x="258798" y="1116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844CA4A0-84D9-4EB6-B1B0-19DF86F32480}"/>
                </a:ext>
              </a:extLst>
            </p:cNvPr>
            <p:cNvSpPr/>
            <p:nvPr/>
          </p:nvSpPr>
          <p:spPr>
            <a:xfrm>
              <a:off x="22404096" y="8181384"/>
              <a:ext cx="226698" cy="299392"/>
            </a:xfrm>
            <a:custGeom>
              <a:avLst/>
              <a:gdLst>
                <a:gd name="connsiteX0" fmla="*/ 0 w 226698"/>
                <a:gd name="connsiteY0" fmla="*/ 124615 h 299392"/>
                <a:gd name="connsiteX1" fmla="*/ 139451 w 226698"/>
                <a:gd name="connsiteY1" fmla="*/ 172088 h 299392"/>
                <a:gd name="connsiteX2" fmla="*/ 201758 w 226698"/>
                <a:gd name="connsiteY2" fmla="*/ 287802 h 299392"/>
                <a:gd name="connsiteX3" fmla="*/ 225496 w 226698"/>
                <a:gd name="connsiteY3" fmla="*/ 281868 h 299392"/>
                <a:gd name="connsiteX4" fmla="*/ 29670 w 226698"/>
                <a:gd name="connsiteY4" fmla="*/ 0 h 299392"/>
                <a:gd name="connsiteX5" fmla="*/ 0 w 226698"/>
                <a:gd name="connsiteY5" fmla="*/ 124615 h 299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6698" h="299392">
                  <a:moveTo>
                    <a:pt x="0" y="124615"/>
                  </a:moveTo>
                  <a:cubicBezTo>
                    <a:pt x="0" y="124615"/>
                    <a:pt x="89011" y="169121"/>
                    <a:pt x="139451" y="172088"/>
                  </a:cubicBezTo>
                  <a:cubicBezTo>
                    <a:pt x="189891" y="175055"/>
                    <a:pt x="201758" y="287802"/>
                    <a:pt x="201758" y="287802"/>
                  </a:cubicBezTo>
                  <a:cubicBezTo>
                    <a:pt x="201758" y="287802"/>
                    <a:pt x="222527" y="317472"/>
                    <a:pt x="225496" y="281868"/>
                  </a:cubicBezTo>
                  <a:cubicBezTo>
                    <a:pt x="231428" y="204725"/>
                    <a:pt x="222527" y="11868"/>
                    <a:pt x="29670" y="0"/>
                  </a:cubicBezTo>
                  <a:cubicBezTo>
                    <a:pt x="32638" y="0"/>
                    <a:pt x="23736" y="118681"/>
                    <a:pt x="0" y="124615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3B0840AD-0D19-4B53-A1CB-E9EF2737025A}"/>
                </a:ext>
              </a:extLst>
            </p:cNvPr>
            <p:cNvSpPr/>
            <p:nvPr/>
          </p:nvSpPr>
          <p:spPr>
            <a:xfrm>
              <a:off x="22571831" y="8451629"/>
              <a:ext cx="75521" cy="109991"/>
            </a:xfrm>
            <a:custGeom>
              <a:avLst/>
              <a:gdLst>
                <a:gd name="connsiteX0" fmla="*/ 10287 w 75521"/>
                <a:gd name="connsiteY0" fmla="*/ 17557 h 109991"/>
                <a:gd name="connsiteX1" fmla="*/ 66661 w 75521"/>
                <a:gd name="connsiteY1" fmla="*/ 5688 h 109991"/>
                <a:gd name="connsiteX2" fmla="*/ 16221 w 75521"/>
                <a:gd name="connsiteY2" fmla="*/ 106568 h 109991"/>
                <a:gd name="connsiteX3" fmla="*/ 10287 w 75521"/>
                <a:gd name="connsiteY3" fmla="*/ 17557 h 10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521" h="109991">
                  <a:moveTo>
                    <a:pt x="10287" y="17557"/>
                  </a:moveTo>
                  <a:cubicBezTo>
                    <a:pt x="10287" y="17557"/>
                    <a:pt x="42925" y="-12114"/>
                    <a:pt x="66661" y="5688"/>
                  </a:cubicBezTo>
                  <a:cubicBezTo>
                    <a:pt x="93364" y="23491"/>
                    <a:pt x="54793" y="130304"/>
                    <a:pt x="16221" y="106568"/>
                  </a:cubicBezTo>
                  <a:cubicBezTo>
                    <a:pt x="-16415" y="91732"/>
                    <a:pt x="10287" y="17557"/>
                    <a:pt x="10287" y="17557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55192836-B513-4F01-93C9-333B7D2B6F39}"/>
                </a:ext>
              </a:extLst>
            </p:cNvPr>
            <p:cNvSpPr/>
            <p:nvPr/>
          </p:nvSpPr>
          <p:spPr>
            <a:xfrm>
              <a:off x="22395196" y="8175449"/>
              <a:ext cx="211888" cy="284835"/>
            </a:xfrm>
            <a:custGeom>
              <a:avLst/>
              <a:gdLst>
                <a:gd name="connsiteX0" fmla="*/ 207692 w 211888"/>
                <a:gd name="connsiteY0" fmla="*/ 284835 h 284835"/>
                <a:gd name="connsiteX1" fmla="*/ 201758 w 211888"/>
                <a:gd name="connsiteY1" fmla="*/ 278901 h 284835"/>
                <a:gd name="connsiteX2" fmla="*/ 148352 w 211888"/>
                <a:gd name="connsiteY2" fmla="*/ 180989 h 284835"/>
                <a:gd name="connsiteX3" fmla="*/ 5934 w 211888"/>
                <a:gd name="connsiteY3" fmla="*/ 130550 h 284835"/>
                <a:gd name="connsiteX4" fmla="*/ 0 w 211888"/>
                <a:gd name="connsiteY4" fmla="*/ 127583 h 284835"/>
                <a:gd name="connsiteX5" fmla="*/ 2966 w 211888"/>
                <a:gd name="connsiteY5" fmla="*/ 121649 h 284835"/>
                <a:gd name="connsiteX6" fmla="*/ 20770 w 211888"/>
                <a:gd name="connsiteY6" fmla="*/ 97912 h 284835"/>
                <a:gd name="connsiteX7" fmla="*/ 29670 w 211888"/>
                <a:gd name="connsiteY7" fmla="*/ 59341 h 284835"/>
                <a:gd name="connsiteX8" fmla="*/ 32637 w 211888"/>
                <a:gd name="connsiteY8" fmla="*/ 32638 h 284835"/>
                <a:gd name="connsiteX9" fmla="*/ 35605 w 211888"/>
                <a:gd name="connsiteY9" fmla="*/ 5934 h 284835"/>
                <a:gd name="connsiteX10" fmla="*/ 41539 w 211888"/>
                <a:gd name="connsiteY10" fmla="*/ 0 h 284835"/>
                <a:gd name="connsiteX11" fmla="*/ 47472 w 211888"/>
                <a:gd name="connsiteY11" fmla="*/ 5934 h 284835"/>
                <a:gd name="connsiteX12" fmla="*/ 44505 w 211888"/>
                <a:gd name="connsiteY12" fmla="*/ 32638 h 284835"/>
                <a:gd name="connsiteX13" fmla="*/ 41539 w 211888"/>
                <a:gd name="connsiteY13" fmla="*/ 59341 h 284835"/>
                <a:gd name="connsiteX14" fmla="*/ 32637 w 211888"/>
                <a:gd name="connsiteY14" fmla="*/ 103846 h 284835"/>
                <a:gd name="connsiteX15" fmla="*/ 17801 w 211888"/>
                <a:gd name="connsiteY15" fmla="*/ 124616 h 284835"/>
                <a:gd name="connsiteX16" fmla="*/ 148352 w 211888"/>
                <a:gd name="connsiteY16" fmla="*/ 169121 h 284835"/>
                <a:gd name="connsiteX17" fmla="*/ 210659 w 211888"/>
                <a:gd name="connsiteY17" fmla="*/ 278901 h 284835"/>
                <a:gd name="connsiteX18" fmla="*/ 207692 w 211888"/>
                <a:gd name="connsiteY18" fmla="*/ 284835 h 284835"/>
                <a:gd name="connsiteX19" fmla="*/ 207692 w 211888"/>
                <a:gd name="connsiteY19" fmla="*/ 284835 h 284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1888" h="284835">
                  <a:moveTo>
                    <a:pt x="207692" y="284835"/>
                  </a:moveTo>
                  <a:cubicBezTo>
                    <a:pt x="204726" y="284835"/>
                    <a:pt x="201758" y="281868"/>
                    <a:pt x="201758" y="278901"/>
                  </a:cubicBezTo>
                  <a:cubicBezTo>
                    <a:pt x="201758" y="278901"/>
                    <a:pt x="195823" y="186923"/>
                    <a:pt x="148352" y="180989"/>
                  </a:cubicBezTo>
                  <a:cubicBezTo>
                    <a:pt x="80110" y="172088"/>
                    <a:pt x="8901" y="133516"/>
                    <a:pt x="5934" y="130550"/>
                  </a:cubicBezTo>
                  <a:lnTo>
                    <a:pt x="0" y="127583"/>
                  </a:lnTo>
                  <a:lnTo>
                    <a:pt x="2966" y="121649"/>
                  </a:lnTo>
                  <a:cubicBezTo>
                    <a:pt x="8901" y="115715"/>
                    <a:pt x="14835" y="106813"/>
                    <a:pt x="20770" y="97912"/>
                  </a:cubicBezTo>
                  <a:cubicBezTo>
                    <a:pt x="26704" y="86044"/>
                    <a:pt x="26704" y="71209"/>
                    <a:pt x="29670" y="59341"/>
                  </a:cubicBezTo>
                  <a:cubicBezTo>
                    <a:pt x="29670" y="53407"/>
                    <a:pt x="32637" y="41539"/>
                    <a:pt x="32637" y="32638"/>
                  </a:cubicBezTo>
                  <a:cubicBezTo>
                    <a:pt x="32637" y="20770"/>
                    <a:pt x="35605" y="11868"/>
                    <a:pt x="35605" y="5934"/>
                  </a:cubicBezTo>
                  <a:cubicBezTo>
                    <a:pt x="35605" y="2967"/>
                    <a:pt x="38571" y="0"/>
                    <a:pt x="41539" y="0"/>
                  </a:cubicBezTo>
                  <a:cubicBezTo>
                    <a:pt x="44505" y="0"/>
                    <a:pt x="47472" y="2967"/>
                    <a:pt x="47472" y="5934"/>
                  </a:cubicBezTo>
                  <a:cubicBezTo>
                    <a:pt x="47472" y="11868"/>
                    <a:pt x="44505" y="23736"/>
                    <a:pt x="44505" y="32638"/>
                  </a:cubicBezTo>
                  <a:cubicBezTo>
                    <a:pt x="44505" y="44505"/>
                    <a:pt x="41539" y="53407"/>
                    <a:pt x="41539" y="59341"/>
                  </a:cubicBezTo>
                  <a:cubicBezTo>
                    <a:pt x="41539" y="74176"/>
                    <a:pt x="38571" y="89011"/>
                    <a:pt x="32637" y="103846"/>
                  </a:cubicBezTo>
                  <a:cubicBezTo>
                    <a:pt x="29670" y="112747"/>
                    <a:pt x="23736" y="118681"/>
                    <a:pt x="17801" y="124616"/>
                  </a:cubicBezTo>
                  <a:cubicBezTo>
                    <a:pt x="35605" y="133516"/>
                    <a:pt x="94945" y="163187"/>
                    <a:pt x="148352" y="169121"/>
                  </a:cubicBezTo>
                  <a:cubicBezTo>
                    <a:pt x="204726" y="175055"/>
                    <a:pt x="210659" y="272967"/>
                    <a:pt x="210659" y="278901"/>
                  </a:cubicBezTo>
                  <a:cubicBezTo>
                    <a:pt x="213627" y="281868"/>
                    <a:pt x="210659" y="284835"/>
                    <a:pt x="207692" y="284835"/>
                  </a:cubicBezTo>
                  <a:cubicBezTo>
                    <a:pt x="207692" y="284835"/>
                    <a:pt x="207692" y="284835"/>
                    <a:pt x="207692" y="284835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EC81A9F5-E2BA-4825-8E2E-1DD2E6538371}"/>
                </a:ext>
              </a:extLst>
            </p:cNvPr>
            <p:cNvSpPr/>
            <p:nvPr/>
          </p:nvSpPr>
          <p:spPr>
            <a:xfrm>
              <a:off x="22306926" y="8690395"/>
              <a:ext cx="217170" cy="81428"/>
            </a:xfrm>
            <a:custGeom>
              <a:avLst/>
              <a:gdLst>
                <a:gd name="connsiteX0" fmla="*/ 67500 w 217170"/>
                <a:gd name="connsiteY0" fmla="*/ 81429 h 81428"/>
                <a:gd name="connsiteX1" fmla="*/ 2225 w 217170"/>
                <a:gd name="connsiteY1" fmla="*/ 57692 h 81428"/>
                <a:gd name="connsiteX2" fmla="*/ 2225 w 217170"/>
                <a:gd name="connsiteY2" fmla="*/ 48791 h 81428"/>
                <a:gd name="connsiteX3" fmla="*/ 11127 w 217170"/>
                <a:gd name="connsiteY3" fmla="*/ 48791 h 81428"/>
                <a:gd name="connsiteX4" fmla="*/ 79369 w 217170"/>
                <a:gd name="connsiteY4" fmla="*/ 69561 h 81428"/>
                <a:gd name="connsiteX5" fmla="*/ 206951 w 217170"/>
                <a:gd name="connsiteY5" fmla="*/ 1319 h 81428"/>
                <a:gd name="connsiteX6" fmla="*/ 215851 w 217170"/>
                <a:gd name="connsiteY6" fmla="*/ 1319 h 81428"/>
                <a:gd name="connsiteX7" fmla="*/ 215851 w 217170"/>
                <a:gd name="connsiteY7" fmla="*/ 10220 h 81428"/>
                <a:gd name="connsiteX8" fmla="*/ 85303 w 217170"/>
                <a:gd name="connsiteY8" fmla="*/ 81429 h 81428"/>
                <a:gd name="connsiteX9" fmla="*/ 67500 w 217170"/>
                <a:gd name="connsiteY9" fmla="*/ 81429 h 8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170" h="81428">
                  <a:moveTo>
                    <a:pt x="67500" y="81429"/>
                  </a:moveTo>
                  <a:cubicBezTo>
                    <a:pt x="31895" y="81429"/>
                    <a:pt x="5193" y="57692"/>
                    <a:pt x="2225" y="57692"/>
                  </a:cubicBezTo>
                  <a:cubicBezTo>
                    <a:pt x="-742" y="54725"/>
                    <a:pt x="-742" y="51758"/>
                    <a:pt x="2225" y="48791"/>
                  </a:cubicBezTo>
                  <a:cubicBezTo>
                    <a:pt x="5193" y="45824"/>
                    <a:pt x="8159" y="45824"/>
                    <a:pt x="11127" y="48791"/>
                  </a:cubicBezTo>
                  <a:cubicBezTo>
                    <a:pt x="11127" y="48791"/>
                    <a:pt x="43764" y="75495"/>
                    <a:pt x="79369" y="69561"/>
                  </a:cubicBezTo>
                  <a:cubicBezTo>
                    <a:pt x="117940" y="63626"/>
                    <a:pt x="203984" y="1319"/>
                    <a:pt x="206951" y="1319"/>
                  </a:cubicBezTo>
                  <a:cubicBezTo>
                    <a:pt x="209917" y="-1648"/>
                    <a:pt x="212885" y="1319"/>
                    <a:pt x="215851" y="1319"/>
                  </a:cubicBezTo>
                  <a:cubicBezTo>
                    <a:pt x="218820" y="4286"/>
                    <a:pt x="215851" y="7253"/>
                    <a:pt x="215851" y="10220"/>
                  </a:cubicBezTo>
                  <a:cubicBezTo>
                    <a:pt x="212885" y="13187"/>
                    <a:pt x="123874" y="75495"/>
                    <a:pt x="85303" y="81429"/>
                  </a:cubicBezTo>
                  <a:cubicBezTo>
                    <a:pt x="73434" y="81429"/>
                    <a:pt x="70468" y="81429"/>
                    <a:pt x="67500" y="81429"/>
                  </a:cubicBezTo>
                  <a:close/>
                </a:path>
              </a:pathLst>
            </a:custGeom>
            <a:solidFill>
              <a:srgbClr val="E58777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F1470895-62CF-48E7-8997-F490C3066D05}"/>
                </a:ext>
              </a:extLst>
            </p:cNvPr>
            <p:cNvSpPr/>
            <p:nvPr/>
          </p:nvSpPr>
          <p:spPr>
            <a:xfrm>
              <a:off x="22691899" y="8531493"/>
              <a:ext cx="117939" cy="287802"/>
            </a:xfrm>
            <a:custGeom>
              <a:avLst/>
              <a:gdLst>
                <a:gd name="connsiteX0" fmla="*/ 109781 w 117939"/>
                <a:gd name="connsiteY0" fmla="*/ 284835 h 287802"/>
                <a:gd name="connsiteX1" fmla="*/ 106812 w 117939"/>
                <a:gd name="connsiteY1" fmla="*/ 281868 h 287802"/>
                <a:gd name="connsiteX2" fmla="*/ 83077 w 117939"/>
                <a:gd name="connsiteY2" fmla="*/ 180989 h 287802"/>
                <a:gd name="connsiteX3" fmla="*/ 35605 w 117939"/>
                <a:gd name="connsiteY3" fmla="*/ 77143 h 287802"/>
                <a:gd name="connsiteX4" fmla="*/ 0 w 117939"/>
                <a:gd name="connsiteY4" fmla="*/ 5934 h 287802"/>
                <a:gd name="connsiteX5" fmla="*/ 5934 w 117939"/>
                <a:gd name="connsiteY5" fmla="*/ 0 h 287802"/>
                <a:gd name="connsiteX6" fmla="*/ 11869 w 117939"/>
                <a:gd name="connsiteY6" fmla="*/ 5934 h 287802"/>
                <a:gd name="connsiteX7" fmla="*/ 44505 w 117939"/>
                <a:gd name="connsiteY7" fmla="*/ 71209 h 287802"/>
                <a:gd name="connsiteX8" fmla="*/ 94945 w 117939"/>
                <a:gd name="connsiteY8" fmla="*/ 186923 h 287802"/>
                <a:gd name="connsiteX9" fmla="*/ 115715 w 117939"/>
                <a:gd name="connsiteY9" fmla="*/ 278901 h 287802"/>
                <a:gd name="connsiteX10" fmla="*/ 115715 w 117939"/>
                <a:gd name="connsiteY10" fmla="*/ 287803 h 287802"/>
                <a:gd name="connsiteX11" fmla="*/ 109781 w 117939"/>
                <a:gd name="connsiteY11" fmla="*/ 284835 h 28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7939" h="287802">
                  <a:moveTo>
                    <a:pt x="109781" y="284835"/>
                  </a:moveTo>
                  <a:cubicBezTo>
                    <a:pt x="106812" y="284835"/>
                    <a:pt x="106812" y="284835"/>
                    <a:pt x="106812" y="281868"/>
                  </a:cubicBezTo>
                  <a:cubicBezTo>
                    <a:pt x="89011" y="261099"/>
                    <a:pt x="74176" y="216594"/>
                    <a:pt x="83077" y="180989"/>
                  </a:cubicBezTo>
                  <a:cubicBezTo>
                    <a:pt x="91977" y="145385"/>
                    <a:pt x="65275" y="100879"/>
                    <a:pt x="35605" y="77143"/>
                  </a:cubicBezTo>
                  <a:cubicBezTo>
                    <a:pt x="2966" y="50440"/>
                    <a:pt x="0" y="5934"/>
                    <a:pt x="0" y="5934"/>
                  </a:cubicBezTo>
                  <a:cubicBezTo>
                    <a:pt x="0" y="2967"/>
                    <a:pt x="2966" y="0"/>
                    <a:pt x="5934" y="0"/>
                  </a:cubicBezTo>
                  <a:cubicBezTo>
                    <a:pt x="8901" y="0"/>
                    <a:pt x="11869" y="2967"/>
                    <a:pt x="11869" y="5934"/>
                  </a:cubicBezTo>
                  <a:cubicBezTo>
                    <a:pt x="11869" y="5934"/>
                    <a:pt x="14835" y="47473"/>
                    <a:pt x="44505" y="71209"/>
                  </a:cubicBezTo>
                  <a:cubicBezTo>
                    <a:pt x="77142" y="97912"/>
                    <a:pt x="103846" y="145385"/>
                    <a:pt x="94945" y="186923"/>
                  </a:cubicBezTo>
                  <a:cubicBezTo>
                    <a:pt x="86045" y="222527"/>
                    <a:pt x="100880" y="261099"/>
                    <a:pt x="115715" y="278901"/>
                  </a:cubicBezTo>
                  <a:cubicBezTo>
                    <a:pt x="118681" y="281868"/>
                    <a:pt x="118681" y="284835"/>
                    <a:pt x="115715" y="287803"/>
                  </a:cubicBezTo>
                  <a:cubicBezTo>
                    <a:pt x="112747" y="284835"/>
                    <a:pt x="112747" y="284835"/>
                    <a:pt x="109781" y="284835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68E9CBE7-8BCF-4AA9-B78C-AC16B0D67EF9}"/>
                </a:ext>
              </a:extLst>
            </p:cNvPr>
            <p:cNvSpPr/>
            <p:nvPr/>
          </p:nvSpPr>
          <p:spPr>
            <a:xfrm>
              <a:off x="22081433" y="8503471"/>
              <a:ext cx="65850" cy="235714"/>
            </a:xfrm>
            <a:custGeom>
              <a:avLst/>
              <a:gdLst>
                <a:gd name="connsiteX0" fmla="*/ 5191 w 65850"/>
                <a:gd name="connsiteY0" fmla="*/ 235714 h 235714"/>
                <a:gd name="connsiteX1" fmla="*/ 2225 w 65850"/>
                <a:gd name="connsiteY1" fmla="*/ 232747 h 235714"/>
                <a:gd name="connsiteX2" fmla="*/ 2225 w 65850"/>
                <a:gd name="connsiteY2" fmla="*/ 223846 h 235714"/>
                <a:gd name="connsiteX3" fmla="*/ 14094 w 65850"/>
                <a:gd name="connsiteY3" fmla="*/ 90330 h 235714"/>
                <a:gd name="connsiteX4" fmla="*/ 55631 w 65850"/>
                <a:gd name="connsiteY4" fmla="*/ 1319 h 235714"/>
                <a:gd name="connsiteX5" fmla="*/ 64532 w 65850"/>
                <a:gd name="connsiteY5" fmla="*/ 1319 h 235714"/>
                <a:gd name="connsiteX6" fmla="*/ 64532 w 65850"/>
                <a:gd name="connsiteY6" fmla="*/ 10220 h 235714"/>
                <a:gd name="connsiteX7" fmla="*/ 28929 w 65850"/>
                <a:gd name="connsiteY7" fmla="*/ 87363 h 235714"/>
                <a:gd name="connsiteX8" fmla="*/ 14094 w 65850"/>
                <a:gd name="connsiteY8" fmla="*/ 229780 h 235714"/>
                <a:gd name="connsiteX9" fmla="*/ 5191 w 65850"/>
                <a:gd name="connsiteY9" fmla="*/ 235714 h 23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5850" h="235714">
                  <a:moveTo>
                    <a:pt x="5191" y="235714"/>
                  </a:moveTo>
                  <a:cubicBezTo>
                    <a:pt x="2225" y="235714"/>
                    <a:pt x="2225" y="235714"/>
                    <a:pt x="2225" y="232747"/>
                  </a:cubicBezTo>
                  <a:cubicBezTo>
                    <a:pt x="-742" y="229780"/>
                    <a:pt x="-742" y="226813"/>
                    <a:pt x="2225" y="223846"/>
                  </a:cubicBezTo>
                  <a:cubicBezTo>
                    <a:pt x="31895" y="200110"/>
                    <a:pt x="25961" y="143736"/>
                    <a:pt x="14094" y="90330"/>
                  </a:cubicBezTo>
                  <a:cubicBezTo>
                    <a:pt x="2225" y="39890"/>
                    <a:pt x="52665" y="1319"/>
                    <a:pt x="55631" y="1319"/>
                  </a:cubicBezTo>
                  <a:cubicBezTo>
                    <a:pt x="58599" y="-1648"/>
                    <a:pt x="61565" y="1319"/>
                    <a:pt x="64532" y="1319"/>
                  </a:cubicBezTo>
                  <a:cubicBezTo>
                    <a:pt x="67500" y="4286"/>
                    <a:pt x="64532" y="7253"/>
                    <a:pt x="64532" y="10220"/>
                  </a:cubicBezTo>
                  <a:cubicBezTo>
                    <a:pt x="64532" y="10220"/>
                    <a:pt x="20026" y="45824"/>
                    <a:pt x="28929" y="87363"/>
                  </a:cubicBezTo>
                  <a:cubicBezTo>
                    <a:pt x="40796" y="143736"/>
                    <a:pt x="46730" y="203077"/>
                    <a:pt x="14094" y="229780"/>
                  </a:cubicBezTo>
                  <a:cubicBezTo>
                    <a:pt x="5191" y="235714"/>
                    <a:pt x="5191" y="235714"/>
                    <a:pt x="5191" y="235714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1F21A689-415F-4177-BFC9-34AC63D5A859}"/>
                </a:ext>
              </a:extLst>
            </p:cNvPr>
            <p:cNvSpPr/>
            <p:nvPr/>
          </p:nvSpPr>
          <p:spPr>
            <a:xfrm>
              <a:off x="22132778" y="8685779"/>
              <a:ext cx="58204" cy="115714"/>
            </a:xfrm>
            <a:custGeom>
              <a:avLst/>
              <a:gdLst>
                <a:gd name="connsiteX0" fmla="*/ 4285 w 58204"/>
                <a:gd name="connsiteY0" fmla="*/ 115714 h 115714"/>
                <a:gd name="connsiteX1" fmla="*/ 1319 w 58204"/>
                <a:gd name="connsiteY1" fmla="*/ 112747 h 115714"/>
                <a:gd name="connsiteX2" fmla="*/ 1319 w 58204"/>
                <a:gd name="connsiteY2" fmla="*/ 103846 h 115714"/>
                <a:gd name="connsiteX3" fmla="*/ 45825 w 58204"/>
                <a:gd name="connsiteY3" fmla="*/ 5934 h 115714"/>
                <a:gd name="connsiteX4" fmla="*/ 51759 w 58204"/>
                <a:gd name="connsiteY4" fmla="*/ 0 h 115714"/>
                <a:gd name="connsiteX5" fmla="*/ 57692 w 58204"/>
                <a:gd name="connsiteY5" fmla="*/ 5934 h 115714"/>
                <a:gd name="connsiteX6" fmla="*/ 10220 w 58204"/>
                <a:gd name="connsiteY6" fmla="*/ 112747 h 115714"/>
                <a:gd name="connsiteX7" fmla="*/ 4285 w 58204"/>
                <a:gd name="connsiteY7" fmla="*/ 115714 h 11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204" h="115714">
                  <a:moveTo>
                    <a:pt x="4285" y="115714"/>
                  </a:moveTo>
                  <a:cubicBezTo>
                    <a:pt x="1319" y="115714"/>
                    <a:pt x="1319" y="115714"/>
                    <a:pt x="1319" y="112747"/>
                  </a:cubicBezTo>
                  <a:cubicBezTo>
                    <a:pt x="-1649" y="109780"/>
                    <a:pt x="1319" y="106813"/>
                    <a:pt x="1319" y="103846"/>
                  </a:cubicBezTo>
                  <a:cubicBezTo>
                    <a:pt x="51759" y="68241"/>
                    <a:pt x="45825" y="8901"/>
                    <a:pt x="45825" y="5934"/>
                  </a:cubicBezTo>
                  <a:cubicBezTo>
                    <a:pt x="45825" y="2967"/>
                    <a:pt x="48791" y="0"/>
                    <a:pt x="51759" y="0"/>
                  </a:cubicBezTo>
                  <a:cubicBezTo>
                    <a:pt x="54725" y="0"/>
                    <a:pt x="57692" y="2967"/>
                    <a:pt x="57692" y="5934"/>
                  </a:cubicBezTo>
                  <a:cubicBezTo>
                    <a:pt x="57692" y="8901"/>
                    <a:pt x="66594" y="71209"/>
                    <a:pt x="10220" y="112747"/>
                  </a:cubicBezTo>
                  <a:cubicBezTo>
                    <a:pt x="7254" y="115714"/>
                    <a:pt x="4285" y="115714"/>
                    <a:pt x="4285" y="115714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93908B25-F512-4AAD-9FD0-571CC3CFE83A}"/>
                </a:ext>
              </a:extLst>
            </p:cNvPr>
            <p:cNvSpPr/>
            <p:nvPr/>
          </p:nvSpPr>
          <p:spPr>
            <a:xfrm>
              <a:off x="21746687" y="9207977"/>
              <a:ext cx="963013" cy="590439"/>
            </a:xfrm>
            <a:custGeom>
              <a:avLst/>
              <a:gdLst>
                <a:gd name="connsiteX0" fmla="*/ 740486 w 963013"/>
                <a:gd name="connsiteY0" fmla="*/ 0 h 590439"/>
                <a:gd name="connsiteX1" fmla="*/ 476421 w 963013"/>
                <a:gd name="connsiteY1" fmla="*/ 347143 h 590439"/>
                <a:gd name="connsiteX2" fmla="*/ 4662 w 963013"/>
                <a:gd name="connsiteY2" fmla="*/ 498462 h 590439"/>
                <a:gd name="connsiteX3" fmla="*/ 96641 w 963013"/>
                <a:gd name="connsiteY3" fmla="*/ 590440 h 590439"/>
                <a:gd name="connsiteX4" fmla="*/ 598069 w 963013"/>
                <a:gd name="connsiteY4" fmla="*/ 516264 h 590439"/>
                <a:gd name="connsiteX5" fmla="*/ 963014 w 963013"/>
                <a:gd name="connsiteY5" fmla="*/ 89011 h 590439"/>
                <a:gd name="connsiteX6" fmla="*/ 740486 w 963013"/>
                <a:gd name="connsiteY6" fmla="*/ 0 h 590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63013" h="590439">
                  <a:moveTo>
                    <a:pt x="740486" y="0"/>
                  </a:moveTo>
                  <a:lnTo>
                    <a:pt x="476421" y="347143"/>
                  </a:lnTo>
                  <a:cubicBezTo>
                    <a:pt x="476421" y="347143"/>
                    <a:pt x="150048" y="418351"/>
                    <a:pt x="4662" y="498462"/>
                  </a:cubicBezTo>
                  <a:cubicBezTo>
                    <a:pt x="-25008" y="513297"/>
                    <a:pt x="96641" y="590440"/>
                    <a:pt x="96641" y="590440"/>
                  </a:cubicBezTo>
                  <a:cubicBezTo>
                    <a:pt x="96641" y="590440"/>
                    <a:pt x="494223" y="569670"/>
                    <a:pt x="598069" y="516264"/>
                  </a:cubicBezTo>
                  <a:cubicBezTo>
                    <a:pt x="701915" y="459891"/>
                    <a:pt x="963014" y="89011"/>
                    <a:pt x="963014" y="89011"/>
                  </a:cubicBezTo>
                  <a:lnTo>
                    <a:pt x="740486" y="0"/>
                  </a:ln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31DA4592-7B36-4037-A940-8A0DF2F47F7F}"/>
                </a:ext>
              </a:extLst>
            </p:cNvPr>
            <p:cNvSpPr/>
            <p:nvPr/>
          </p:nvSpPr>
          <p:spPr>
            <a:xfrm>
              <a:off x="22410031" y="8882595"/>
              <a:ext cx="395083" cy="461865"/>
            </a:xfrm>
            <a:custGeom>
              <a:avLst/>
              <a:gdLst>
                <a:gd name="connsiteX0" fmla="*/ 364945 w 395083"/>
                <a:gd name="connsiteY0" fmla="*/ 461865 h 461865"/>
                <a:gd name="connsiteX1" fmla="*/ 332308 w 395083"/>
                <a:gd name="connsiteY1" fmla="*/ 10877 h 461865"/>
                <a:gd name="connsiteX2" fmla="*/ 0 w 395083"/>
                <a:gd name="connsiteY2" fmla="*/ 319448 h 461865"/>
                <a:gd name="connsiteX3" fmla="*/ 364945 w 395083"/>
                <a:gd name="connsiteY3" fmla="*/ 461865 h 461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083" h="461865">
                  <a:moveTo>
                    <a:pt x="364945" y="461865"/>
                  </a:moveTo>
                  <a:cubicBezTo>
                    <a:pt x="364945" y="461865"/>
                    <a:pt x="450989" y="82086"/>
                    <a:pt x="332308" y="10877"/>
                  </a:cubicBezTo>
                  <a:cubicBezTo>
                    <a:pt x="195823" y="-69233"/>
                    <a:pt x="0" y="319448"/>
                    <a:pt x="0" y="319448"/>
                  </a:cubicBezTo>
                  <a:cubicBezTo>
                    <a:pt x="0" y="319448"/>
                    <a:pt x="151318" y="461865"/>
                    <a:pt x="364945" y="461865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6D95B04B-5C74-411C-89DA-30F626FE41CC}"/>
                </a:ext>
              </a:extLst>
            </p:cNvPr>
            <p:cNvSpPr/>
            <p:nvPr/>
          </p:nvSpPr>
          <p:spPr>
            <a:xfrm>
              <a:off x="22404096" y="8887303"/>
              <a:ext cx="388682" cy="460123"/>
            </a:xfrm>
            <a:custGeom>
              <a:avLst/>
              <a:gdLst>
                <a:gd name="connsiteX0" fmla="*/ 359012 w 388682"/>
                <a:gd name="connsiteY0" fmla="*/ 460124 h 460123"/>
                <a:gd name="connsiteX1" fmla="*/ 2968 w 388682"/>
                <a:gd name="connsiteY1" fmla="*/ 317707 h 460123"/>
                <a:gd name="connsiteX2" fmla="*/ 0 w 388682"/>
                <a:gd name="connsiteY2" fmla="*/ 314739 h 460123"/>
                <a:gd name="connsiteX3" fmla="*/ 2968 w 388682"/>
                <a:gd name="connsiteY3" fmla="*/ 311772 h 460123"/>
                <a:gd name="connsiteX4" fmla="*/ 112747 w 388682"/>
                <a:gd name="connsiteY4" fmla="*/ 133750 h 460123"/>
                <a:gd name="connsiteX5" fmla="*/ 338243 w 388682"/>
                <a:gd name="connsiteY5" fmla="*/ 234 h 460123"/>
                <a:gd name="connsiteX6" fmla="*/ 344177 w 388682"/>
                <a:gd name="connsiteY6" fmla="*/ 6168 h 460123"/>
                <a:gd name="connsiteX7" fmla="*/ 338243 w 388682"/>
                <a:gd name="connsiteY7" fmla="*/ 12102 h 460123"/>
                <a:gd name="connsiteX8" fmla="*/ 121649 w 388682"/>
                <a:gd name="connsiteY8" fmla="*/ 139685 h 460123"/>
                <a:gd name="connsiteX9" fmla="*/ 14835 w 388682"/>
                <a:gd name="connsiteY9" fmla="*/ 314739 h 460123"/>
                <a:gd name="connsiteX10" fmla="*/ 359012 w 388682"/>
                <a:gd name="connsiteY10" fmla="*/ 451223 h 460123"/>
                <a:gd name="connsiteX11" fmla="*/ 364945 w 388682"/>
                <a:gd name="connsiteY11" fmla="*/ 451223 h 460123"/>
                <a:gd name="connsiteX12" fmla="*/ 376814 w 388682"/>
                <a:gd name="connsiteY12" fmla="*/ 335509 h 460123"/>
                <a:gd name="connsiteX13" fmla="*/ 382748 w 388682"/>
                <a:gd name="connsiteY13" fmla="*/ 329575 h 460123"/>
                <a:gd name="connsiteX14" fmla="*/ 388682 w 388682"/>
                <a:gd name="connsiteY14" fmla="*/ 335509 h 460123"/>
                <a:gd name="connsiteX15" fmla="*/ 373847 w 388682"/>
                <a:gd name="connsiteY15" fmla="*/ 454190 h 460123"/>
                <a:gd name="connsiteX16" fmla="*/ 373847 w 388682"/>
                <a:gd name="connsiteY16" fmla="*/ 460124 h 460123"/>
                <a:gd name="connsiteX17" fmla="*/ 367913 w 388682"/>
                <a:gd name="connsiteY17" fmla="*/ 460124 h 460123"/>
                <a:gd name="connsiteX18" fmla="*/ 359012 w 388682"/>
                <a:gd name="connsiteY18" fmla="*/ 460124 h 46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8682" h="460123">
                  <a:moveTo>
                    <a:pt x="359012" y="460124"/>
                  </a:moveTo>
                  <a:cubicBezTo>
                    <a:pt x="160221" y="460124"/>
                    <a:pt x="5934" y="317707"/>
                    <a:pt x="2968" y="317707"/>
                  </a:cubicBezTo>
                  <a:lnTo>
                    <a:pt x="0" y="314739"/>
                  </a:lnTo>
                  <a:lnTo>
                    <a:pt x="2968" y="311772"/>
                  </a:lnTo>
                  <a:cubicBezTo>
                    <a:pt x="2968" y="311772"/>
                    <a:pt x="23736" y="276168"/>
                    <a:pt x="112747" y="133750"/>
                  </a:cubicBezTo>
                  <a:cubicBezTo>
                    <a:pt x="201758" y="-11634"/>
                    <a:pt x="338243" y="234"/>
                    <a:pt x="338243" y="234"/>
                  </a:cubicBezTo>
                  <a:cubicBezTo>
                    <a:pt x="341209" y="234"/>
                    <a:pt x="344177" y="3201"/>
                    <a:pt x="344177" y="6168"/>
                  </a:cubicBezTo>
                  <a:cubicBezTo>
                    <a:pt x="344177" y="9135"/>
                    <a:pt x="341209" y="12102"/>
                    <a:pt x="338243" y="12102"/>
                  </a:cubicBezTo>
                  <a:cubicBezTo>
                    <a:pt x="338243" y="12102"/>
                    <a:pt x="207692" y="234"/>
                    <a:pt x="121649" y="139685"/>
                  </a:cubicBezTo>
                  <a:cubicBezTo>
                    <a:pt x="47474" y="255399"/>
                    <a:pt x="20770" y="299904"/>
                    <a:pt x="14835" y="314739"/>
                  </a:cubicBezTo>
                  <a:cubicBezTo>
                    <a:pt x="38571" y="335509"/>
                    <a:pt x="180990" y="451223"/>
                    <a:pt x="359012" y="451223"/>
                  </a:cubicBezTo>
                  <a:cubicBezTo>
                    <a:pt x="361978" y="451223"/>
                    <a:pt x="364945" y="451223"/>
                    <a:pt x="364945" y="451223"/>
                  </a:cubicBezTo>
                  <a:cubicBezTo>
                    <a:pt x="367913" y="436388"/>
                    <a:pt x="373847" y="380014"/>
                    <a:pt x="376814" y="335509"/>
                  </a:cubicBezTo>
                  <a:cubicBezTo>
                    <a:pt x="376814" y="332542"/>
                    <a:pt x="379780" y="329575"/>
                    <a:pt x="382748" y="329575"/>
                  </a:cubicBezTo>
                  <a:cubicBezTo>
                    <a:pt x="385714" y="329575"/>
                    <a:pt x="388682" y="332542"/>
                    <a:pt x="388682" y="335509"/>
                  </a:cubicBezTo>
                  <a:cubicBezTo>
                    <a:pt x="382748" y="385948"/>
                    <a:pt x="373847" y="454190"/>
                    <a:pt x="373847" y="454190"/>
                  </a:cubicBezTo>
                  <a:lnTo>
                    <a:pt x="373847" y="460124"/>
                  </a:lnTo>
                  <a:lnTo>
                    <a:pt x="367913" y="460124"/>
                  </a:lnTo>
                  <a:cubicBezTo>
                    <a:pt x="367913" y="460124"/>
                    <a:pt x="364945" y="460124"/>
                    <a:pt x="359012" y="460124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3" name="图形 1">
              <a:extLst>
                <a:ext uri="{FF2B5EF4-FFF2-40B4-BE49-F238E27FC236}">
                  <a16:creationId xmlns:a16="http://schemas.microsoft.com/office/drawing/2014/main" id="{EC018B70-7647-41A5-9593-5146FDB9B248}"/>
                </a:ext>
              </a:extLst>
            </p:cNvPr>
            <p:cNvGrpSpPr/>
            <p:nvPr/>
          </p:nvGrpSpPr>
          <p:grpSpPr>
            <a:xfrm>
              <a:off x="22015267" y="8062702"/>
              <a:ext cx="706302" cy="317472"/>
              <a:chOff x="22015267" y="8062702"/>
              <a:chExt cx="706302" cy="317472"/>
            </a:xfrm>
          </p:grpSpPr>
          <p:grpSp>
            <p:nvGrpSpPr>
              <p:cNvPr id="95" name="图形 1">
                <a:extLst>
                  <a:ext uri="{FF2B5EF4-FFF2-40B4-BE49-F238E27FC236}">
                    <a16:creationId xmlns:a16="http://schemas.microsoft.com/office/drawing/2014/main" id="{3CE57CFC-F553-4AD4-B3FC-8AAD359CA40B}"/>
                  </a:ext>
                </a:extLst>
              </p:cNvPr>
              <p:cNvGrpSpPr/>
              <p:nvPr/>
            </p:nvGrpSpPr>
            <p:grpSpPr>
              <a:xfrm>
                <a:off x="22022122" y="8062702"/>
                <a:ext cx="699446" cy="317472"/>
                <a:chOff x="22022122" y="8062702"/>
                <a:chExt cx="699446" cy="317472"/>
              </a:xfrm>
            </p:grpSpPr>
            <p:sp>
              <p:nvSpPr>
                <p:cNvPr id="97" name="任意多边形: 形状 96">
                  <a:extLst>
                    <a:ext uri="{FF2B5EF4-FFF2-40B4-BE49-F238E27FC236}">
                      <a16:creationId xmlns:a16="http://schemas.microsoft.com/office/drawing/2014/main" id="{1D4ADCB7-D858-4C62-85E0-A3D11C9BD909}"/>
                    </a:ext>
                  </a:extLst>
                </p:cNvPr>
                <p:cNvSpPr/>
                <p:nvPr/>
              </p:nvSpPr>
              <p:spPr>
                <a:xfrm>
                  <a:off x="22131097" y="8080790"/>
                  <a:ext cx="590472" cy="299385"/>
                </a:xfrm>
                <a:custGeom>
                  <a:avLst/>
                  <a:gdLst>
                    <a:gd name="connsiteX0" fmla="*/ 388715 w 590472"/>
                    <a:gd name="connsiteY0" fmla="*/ 198506 h 299385"/>
                    <a:gd name="connsiteX1" fmla="*/ 590473 w 590472"/>
                    <a:gd name="connsiteY1" fmla="*/ 299385 h 299385"/>
                    <a:gd name="connsiteX2" fmla="*/ 370911 w 590472"/>
                    <a:gd name="connsiteY2" fmla="*/ 5649 h 299385"/>
                    <a:gd name="connsiteX3" fmla="*/ 32 w 590472"/>
                    <a:gd name="connsiteY3" fmla="*/ 151034 h 299385"/>
                    <a:gd name="connsiteX4" fmla="*/ 388715 w 590472"/>
                    <a:gd name="connsiteY4" fmla="*/ 198506 h 299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472" h="299385">
                      <a:moveTo>
                        <a:pt x="388715" y="198506"/>
                      </a:moveTo>
                      <a:cubicBezTo>
                        <a:pt x="433220" y="216308"/>
                        <a:pt x="548933" y="248946"/>
                        <a:pt x="590473" y="299385"/>
                      </a:cubicBezTo>
                      <a:cubicBezTo>
                        <a:pt x="590473" y="299385"/>
                        <a:pt x="581572" y="41253"/>
                        <a:pt x="370911" y="5649"/>
                      </a:cubicBezTo>
                      <a:cubicBezTo>
                        <a:pt x="201792" y="-21054"/>
                        <a:pt x="56407" y="50154"/>
                        <a:pt x="32" y="151034"/>
                      </a:cubicBezTo>
                      <a:cubicBezTo>
                        <a:pt x="-2934" y="154000"/>
                        <a:pt x="198824" y="121363"/>
                        <a:pt x="388715" y="198506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" name="任意多边形: 形状 97">
                  <a:extLst>
                    <a:ext uri="{FF2B5EF4-FFF2-40B4-BE49-F238E27FC236}">
                      <a16:creationId xmlns:a16="http://schemas.microsoft.com/office/drawing/2014/main" id="{8C753609-1624-408E-A36E-1BFEEE693AB5}"/>
                    </a:ext>
                  </a:extLst>
                </p:cNvPr>
                <p:cNvSpPr/>
                <p:nvPr/>
              </p:nvSpPr>
              <p:spPr>
                <a:xfrm>
                  <a:off x="22022122" y="8140141"/>
                  <a:ext cx="512524" cy="213330"/>
                </a:xfrm>
                <a:custGeom>
                  <a:avLst/>
                  <a:gdLst>
                    <a:gd name="connsiteX0" fmla="*/ 512524 w 512524"/>
                    <a:gd name="connsiteY0" fmla="*/ 153990 h 213330"/>
                    <a:gd name="connsiteX1" fmla="*/ 289997 w 512524"/>
                    <a:gd name="connsiteY1" fmla="*/ 32342 h 213330"/>
                    <a:gd name="connsiteX2" fmla="*/ 2194 w 512524"/>
                    <a:gd name="connsiteY2" fmla="*/ 67946 h 213330"/>
                    <a:gd name="connsiteX3" fmla="*/ 114941 w 512524"/>
                    <a:gd name="connsiteY3" fmla="*/ 213330 h 213330"/>
                    <a:gd name="connsiteX4" fmla="*/ 512524 w 512524"/>
                    <a:gd name="connsiteY4" fmla="*/ 153990 h 213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2524" h="213330">
                      <a:moveTo>
                        <a:pt x="512524" y="153990"/>
                      </a:moveTo>
                      <a:cubicBezTo>
                        <a:pt x="512524" y="153990"/>
                        <a:pt x="432414" y="85748"/>
                        <a:pt x="289997" y="32342"/>
                      </a:cubicBezTo>
                      <a:cubicBezTo>
                        <a:pt x="138677" y="-24032"/>
                        <a:pt x="22964" y="-3263"/>
                        <a:pt x="2194" y="67946"/>
                      </a:cubicBezTo>
                      <a:cubicBezTo>
                        <a:pt x="-18575" y="142122"/>
                        <a:pt x="114941" y="213330"/>
                        <a:pt x="114941" y="213330"/>
                      </a:cubicBezTo>
                      <a:cubicBezTo>
                        <a:pt x="114941" y="213330"/>
                        <a:pt x="245491" y="67946"/>
                        <a:pt x="512524" y="15399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9" name="任意多边形: 形状 98">
                  <a:extLst>
                    <a:ext uri="{FF2B5EF4-FFF2-40B4-BE49-F238E27FC236}">
                      <a16:creationId xmlns:a16="http://schemas.microsoft.com/office/drawing/2014/main" id="{FA46D13F-DFE8-46C7-BC75-A185CBBCDFEE}"/>
                    </a:ext>
                  </a:extLst>
                </p:cNvPr>
                <p:cNvSpPr/>
                <p:nvPr/>
              </p:nvSpPr>
              <p:spPr>
                <a:xfrm>
                  <a:off x="22478272" y="8062702"/>
                  <a:ext cx="56374" cy="53406"/>
                </a:xfrm>
                <a:custGeom>
                  <a:avLst/>
                  <a:gdLst>
                    <a:gd name="connsiteX0" fmla="*/ 56374 w 56374"/>
                    <a:gd name="connsiteY0" fmla="*/ 23736 h 53406"/>
                    <a:gd name="connsiteX1" fmla="*/ 26704 w 56374"/>
                    <a:gd name="connsiteY1" fmla="*/ 0 h 53406"/>
                    <a:gd name="connsiteX2" fmla="*/ 0 w 56374"/>
                    <a:gd name="connsiteY2" fmla="*/ 29670 h 53406"/>
                    <a:gd name="connsiteX3" fmla="*/ 29670 w 56374"/>
                    <a:gd name="connsiteY3" fmla="*/ 53406 h 53406"/>
                    <a:gd name="connsiteX4" fmla="*/ 56374 w 56374"/>
                    <a:gd name="connsiteY4" fmla="*/ 23736 h 5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374" h="53406">
                      <a:moveTo>
                        <a:pt x="56374" y="23736"/>
                      </a:moveTo>
                      <a:cubicBezTo>
                        <a:pt x="56374" y="8901"/>
                        <a:pt x="41539" y="0"/>
                        <a:pt x="26704" y="0"/>
                      </a:cubicBezTo>
                      <a:cubicBezTo>
                        <a:pt x="11869" y="0"/>
                        <a:pt x="0" y="14835"/>
                        <a:pt x="0" y="29670"/>
                      </a:cubicBezTo>
                      <a:cubicBezTo>
                        <a:pt x="0" y="44505"/>
                        <a:pt x="14835" y="53406"/>
                        <a:pt x="29670" y="53406"/>
                      </a:cubicBezTo>
                      <a:cubicBezTo>
                        <a:pt x="47474" y="50439"/>
                        <a:pt x="56374" y="38571"/>
                        <a:pt x="56374" y="23736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DA957028-1876-4246-BE6A-155CBA523744}"/>
                  </a:ext>
                </a:extLst>
              </p:cNvPr>
              <p:cNvSpPr/>
              <p:nvPr/>
            </p:nvSpPr>
            <p:spPr>
              <a:xfrm>
                <a:off x="22015267" y="8134671"/>
                <a:ext cx="525313" cy="230668"/>
              </a:xfrm>
              <a:custGeom>
                <a:avLst/>
                <a:gdLst>
                  <a:gd name="connsiteX0" fmla="*/ 121796 w 525313"/>
                  <a:gd name="connsiteY0" fmla="*/ 227702 h 230668"/>
                  <a:gd name="connsiteX1" fmla="*/ 121796 w 525313"/>
                  <a:gd name="connsiteY1" fmla="*/ 227702 h 230668"/>
                  <a:gd name="connsiteX2" fmla="*/ 149 w 525313"/>
                  <a:gd name="connsiteY2" fmla="*/ 91218 h 230668"/>
                  <a:gd name="connsiteX3" fmla="*/ 62456 w 525313"/>
                  <a:gd name="connsiteY3" fmla="*/ 14075 h 230668"/>
                  <a:gd name="connsiteX4" fmla="*/ 522346 w 525313"/>
                  <a:gd name="connsiteY4" fmla="*/ 153526 h 230668"/>
                  <a:gd name="connsiteX5" fmla="*/ 525314 w 525313"/>
                  <a:gd name="connsiteY5" fmla="*/ 162427 h 230668"/>
                  <a:gd name="connsiteX6" fmla="*/ 516411 w 525313"/>
                  <a:gd name="connsiteY6" fmla="*/ 165394 h 230668"/>
                  <a:gd name="connsiteX7" fmla="*/ 68390 w 525313"/>
                  <a:gd name="connsiteY7" fmla="*/ 25943 h 230668"/>
                  <a:gd name="connsiteX8" fmla="*/ 12016 w 525313"/>
                  <a:gd name="connsiteY8" fmla="*/ 94185 h 230668"/>
                  <a:gd name="connsiteX9" fmla="*/ 124764 w 525313"/>
                  <a:gd name="connsiteY9" fmla="*/ 221768 h 230668"/>
                  <a:gd name="connsiteX10" fmla="*/ 127731 w 525313"/>
                  <a:gd name="connsiteY10" fmla="*/ 230669 h 230668"/>
                  <a:gd name="connsiteX11" fmla="*/ 121796 w 525313"/>
                  <a:gd name="connsiteY11" fmla="*/ 227702 h 23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5313" h="230668">
                    <a:moveTo>
                      <a:pt x="121796" y="227702"/>
                    </a:moveTo>
                    <a:cubicBezTo>
                      <a:pt x="121796" y="227702"/>
                      <a:pt x="121796" y="227702"/>
                      <a:pt x="121796" y="227702"/>
                    </a:cubicBezTo>
                    <a:cubicBezTo>
                      <a:pt x="38720" y="177262"/>
                      <a:pt x="-2820" y="132757"/>
                      <a:pt x="149" y="91218"/>
                    </a:cubicBezTo>
                    <a:cubicBezTo>
                      <a:pt x="149" y="61548"/>
                      <a:pt x="23884" y="34844"/>
                      <a:pt x="62456" y="14075"/>
                    </a:cubicBezTo>
                    <a:cubicBezTo>
                      <a:pt x="193006" y="-54167"/>
                      <a:pt x="507511" y="147592"/>
                      <a:pt x="522346" y="153526"/>
                    </a:cubicBezTo>
                    <a:cubicBezTo>
                      <a:pt x="525314" y="156493"/>
                      <a:pt x="525314" y="159460"/>
                      <a:pt x="525314" y="162427"/>
                    </a:cubicBezTo>
                    <a:cubicBezTo>
                      <a:pt x="522346" y="165394"/>
                      <a:pt x="519379" y="165394"/>
                      <a:pt x="516411" y="165394"/>
                    </a:cubicBezTo>
                    <a:cubicBezTo>
                      <a:pt x="513445" y="162427"/>
                      <a:pt x="193006" y="-39331"/>
                      <a:pt x="68390" y="25943"/>
                    </a:cubicBezTo>
                    <a:cubicBezTo>
                      <a:pt x="47620" y="37812"/>
                      <a:pt x="14984" y="58581"/>
                      <a:pt x="12016" y="94185"/>
                    </a:cubicBezTo>
                    <a:cubicBezTo>
                      <a:pt x="12016" y="132757"/>
                      <a:pt x="50588" y="174295"/>
                      <a:pt x="124764" y="221768"/>
                    </a:cubicBezTo>
                    <a:cubicBezTo>
                      <a:pt x="127731" y="224735"/>
                      <a:pt x="127731" y="227702"/>
                      <a:pt x="127731" y="230669"/>
                    </a:cubicBezTo>
                    <a:cubicBezTo>
                      <a:pt x="127731" y="224735"/>
                      <a:pt x="124764" y="227702"/>
                      <a:pt x="121796" y="22770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4" name="图形 1">
              <a:extLst>
                <a:ext uri="{FF2B5EF4-FFF2-40B4-BE49-F238E27FC236}">
                  <a16:creationId xmlns:a16="http://schemas.microsoft.com/office/drawing/2014/main" id="{2E413F9B-81A6-4455-B31A-99E48596B26C}"/>
                </a:ext>
              </a:extLst>
            </p:cNvPr>
            <p:cNvGrpSpPr/>
            <p:nvPr/>
          </p:nvGrpSpPr>
          <p:grpSpPr>
            <a:xfrm>
              <a:off x="17087960" y="9786447"/>
              <a:ext cx="358492" cy="285881"/>
              <a:chOff x="17087960" y="9786447"/>
              <a:chExt cx="358492" cy="285881"/>
            </a:xfrm>
          </p:grpSpPr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DD12259B-C156-48B8-A1F9-24BB6D71CB58}"/>
                  </a:ext>
                </a:extLst>
              </p:cNvPr>
              <p:cNvSpPr/>
              <p:nvPr/>
            </p:nvSpPr>
            <p:spPr>
              <a:xfrm>
                <a:off x="17185086" y="9797141"/>
                <a:ext cx="210659" cy="120669"/>
              </a:xfrm>
              <a:custGeom>
                <a:avLst/>
                <a:gdLst>
                  <a:gd name="connsiteX0" fmla="*/ 0 w 210659"/>
                  <a:gd name="connsiteY0" fmla="*/ 10177 h 120669"/>
                  <a:gd name="connsiteX1" fmla="*/ 112748 w 210659"/>
                  <a:gd name="connsiteY1" fmla="*/ 7210 h 120669"/>
                  <a:gd name="connsiteX2" fmla="*/ 210660 w 210659"/>
                  <a:gd name="connsiteY2" fmla="*/ 102155 h 120669"/>
                  <a:gd name="connsiteX3" fmla="*/ 175055 w 210659"/>
                  <a:gd name="connsiteY3" fmla="*/ 111056 h 120669"/>
                  <a:gd name="connsiteX4" fmla="*/ 0 w 210659"/>
                  <a:gd name="connsiteY4" fmla="*/ 10177 h 120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0659" h="120669">
                    <a:moveTo>
                      <a:pt x="0" y="10177"/>
                    </a:moveTo>
                    <a:cubicBezTo>
                      <a:pt x="0" y="10177"/>
                      <a:pt x="77143" y="-10592"/>
                      <a:pt x="112748" y="7210"/>
                    </a:cubicBezTo>
                    <a:cubicBezTo>
                      <a:pt x="151319" y="25012"/>
                      <a:pt x="210660" y="63584"/>
                      <a:pt x="210660" y="102155"/>
                    </a:cubicBezTo>
                    <a:cubicBezTo>
                      <a:pt x="210660" y="137760"/>
                      <a:pt x="175055" y="111056"/>
                      <a:pt x="175055" y="111056"/>
                    </a:cubicBezTo>
                    <a:lnTo>
                      <a:pt x="0" y="10177"/>
                    </a:ln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1659C5A5-9B1D-4BEB-B968-9A09C88A867B}"/>
                  </a:ext>
                </a:extLst>
              </p:cNvPr>
              <p:cNvSpPr/>
              <p:nvPr/>
            </p:nvSpPr>
            <p:spPr>
              <a:xfrm>
                <a:off x="17087960" y="9786447"/>
                <a:ext cx="358492" cy="285881"/>
              </a:xfrm>
              <a:custGeom>
                <a:avLst/>
                <a:gdLst>
                  <a:gd name="connsiteX0" fmla="*/ 22950 w 358492"/>
                  <a:gd name="connsiteY0" fmla="*/ 145487 h 285881"/>
                  <a:gd name="connsiteX1" fmla="*/ 103060 w 358492"/>
                  <a:gd name="connsiteY1" fmla="*/ 198893 h 285881"/>
                  <a:gd name="connsiteX2" fmla="*/ 177236 w 358492"/>
                  <a:gd name="connsiteY2" fmla="*/ 261201 h 285881"/>
                  <a:gd name="connsiteX3" fmla="*/ 227675 w 358492"/>
                  <a:gd name="connsiteY3" fmla="*/ 284937 h 285881"/>
                  <a:gd name="connsiteX4" fmla="*/ 200972 w 358492"/>
                  <a:gd name="connsiteY4" fmla="*/ 225596 h 285881"/>
                  <a:gd name="connsiteX5" fmla="*/ 245477 w 358492"/>
                  <a:gd name="connsiteY5" fmla="*/ 255266 h 285881"/>
                  <a:gd name="connsiteX6" fmla="*/ 316686 w 358492"/>
                  <a:gd name="connsiteY6" fmla="*/ 279003 h 285881"/>
                  <a:gd name="connsiteX7" fmla="*/ 322620 w 358492"/>
                  <a:gd name="connsiteY7" fmla="*/ 264168 h 285881"/>
                  <a:gd name="connsiteX8" fmla="*/ 355258 w 358492"/>
                  <a:gd name="connsiteY8" fmla="*/ 264168 h 285881"/>
                  <a:gd name="connsiteX9" fmla="*/ 331521 w 358492"/>
                  <a:gd name="connsiteY9" fmla="*/ 201860 h 285881"/>
                  <a:gd name="connsiteX10" fmla="*/ 289983 w 358492"/>
                  <a:gd name="connsiteY10" fmla="*/ 157355 h 285881"/>
                  <a:gd name="connsiteX11" fmla="*/ 331521 w 358492"/>
                  <a:gd name="connsiteY11" fmla="*/ 172190 h 285881"/>
                  <a:gd name="connsiteX12" fmla="*/ 352291 w 358492"/>
                  <a:gd name="connsiteY12" fmla="*/ 169223 h 285881"/>
                  <a:gd name="connsiteX13" fmla="*/ 307785 w 358492"/>
                  <a:gd name="connsiteY13" fmla="*/ 109882 h 285881"/>
                  <a:gd name="connsiteX14" fmla="*/ 76357 w 358492"/>
                  <a:gd name="connsiteY14" fmla="*/ 102 h 285881"/>
                  <a:gd name="connsiteX15" fmla="*/ 2181 w 358492"/>
                  <a:gd name="connsiteY15" fmla="*/ 100981 h 285881"/>
                  <a:gd name="connsiteX16" fmla="*/ 22950 w 358492"/>
                  <a:gd name="connsiteY16" fmla="*/ 145487 h 285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58492" h="285881">
                    <a:moveTo>
                      <a:pt x="22950" y="145487"/>
                    </a:moveTo>
                    <a:cubicBezTo>
                      <a:pt x="49653" y="163289"/>
                      <a:pt x="76357" y="178124"/>
                      <a:pt x="103060" y="198893"/>
                    </a:cubicBezTo>
                    <a:cubicBezTo>
                      <a:pt x="129763" y="219662"/>
                      <a:pt x="153499" y="240431"/>
                      <a:pt x="177236" y="261201"/>
                    </a:cubicBezTo>
                    <a:cubicBezTo>
                      <a:pt x="186137" y="267135"/>
                      <a:pt x="212840" y="290871"/>
                      <a:pt x="227675" y="284937"/>
                    </a:cubicBezTo>
                    <a:cubicBezTo>
                      <a:pt x="248445" y="276036"/>
                      <a:pt x="224709" y="249333"/>
                      <a:pt x="200972" y="225596"/>
                    </a:cubicBezTo>
                    <a:cubicBezTo>
                      <a:pt x="215807" y="234498"/>
                      <a:pt x="230642" y="246366"/>
                      <a:pt x="245477" y="255266"/>
                    </a:cubicBezTo>
                    <a:cubicBezTo>
                      <a:pt x="260312" y="264168"/>
                      <a:pt x="295917" y="287904"/>
                      <a:pt x="316686" y="279003"/>
                    </a:cubicBezTo>
                    <a:cubicBezTo>
                      <a:pt x="322620" y="276036"/>
                      <a:pt x="325588" y="270101"/>
                      <a:pt x="322620" y="264168"/>
                    </a:cubicBezTo>
                    <a:cubicBezTo>
                      <a:pt x="337456" y="270101"/>
                      <a:pt x="349323" y="273069"/>
                      <a:pt x="355258" y="264168"/>
                    </a:cubicBezTo>
                    <a:cubicBezTo>
                      <a:pt x="367126" y="246366"/>
                      <a:pt x="343390" y="216695"/>
                      <a:pt x="331521" y="201860"/>
                    </a:cubicBezTo>
                    <a:cubicBezTo>
                      <a:pt x="319653" y="187025"/>
                      <a:pt x="304818" y="172190"/>
                      <a:pt x="289983" y="157355"/>
                    </a:cubicBezTo>
                    <a:cubicBezTo>
                      <a:pt x="304818" y="163289"/>
                      <a:pt x="316686" y="169223"/>
                      <a:pt x="331521" y="172190"/>
                    </a:cubicBezTo>
                    <a:cubicBezTo>
                      <a:pt x="340423" y="175157"/>
                      <a:pt x="346356" y="178124"/>
                      <a:pt x="352291" y="169223"/>
                    </a:cubicBezTo>
                    <a:cubicBezTo>
                      <a:pt x="373060" y="148454"/>
                      <a:pt x="319653" y="115816"/>
                      <a:pt x="307785" y="109882"/>
                    </a:cubicBezTo>
                    <a:cubicBezTo>
                      <a:pt x="236577" y="62409"/>
                      <a:pt x="153499" y="35706"/>
                      <a:pt x="76357" y="102"/>
                    </a:cubicBezTo>
                    <a:cubicBezTo>
                      <a:pt x="76357" y="-2865"/>
                      <a:pt x="8115" y="59443"/>
                      <a:pt x="2181" y="100981"/>
                    </a:cubicBezTo>
                    <a:cubicBezTo>
                      <a:pt x="-3753" y="124717"/>
                      <a:pt x="2181" y="130651"/>
                      <a:pt x="22950" y="145487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07CD697B-A054-4A4E-9666-7494538C5B85}"/>
                  </a:ext>
                </a:extLst>
              </p:cNvPr>
              <p:cNvSpPr/>
              <p:nvPr/>
            </p:nvSpPr>
            <p:spPr>
              <a:xfrm>
                <a:off x="17285964" y="9937867"/>
                <a:ext cx="129808" cy="115715"/>
              </a:xfrm>
              <a:custGeom>
                <a:avLst/>
                <a:gdLst>
                  <a:gd name="connsiteX0" fmla="*/ 124616 w 129808"/>
                  <a:gd name="connsiteY0" fmla="*/ 115715 h 115715"/>
                  <a:gd name="connsiteX1" fmla="*/ 121649 w 129808"/>
                  <a:gd name="connsiteY1" fmla="*/ 112748 h 115715"/>
                  <a:gd name="connsiteX2" fmla="*/ 2967 w 129808"/>
                  <a:gd name="connsiteY2" fmla="*/ 8902 h 115715"/>
                  <a:gd name="connsiteX3" fmla="*/ 0 w 129808"/>
                  <a:gd name="connsiteY3" fmla="*/ 2967 h 115715"/>
                  <a:gd name="connsiteX4" fmla="*/ 5934 w 129808"/>
                  <a:gd name="connsiteY4" fmla="*/ 0 h 115715"/>
                  <a:gd name="connsiteX5" fmla="*/ 127583 w 129808"/>
                  <a:gd name="connsiteY5" fmla="*/ 106813 h 115715"/>
                  <a:gd name="connsiteX6" fmla="*/ 127583 w 129808"/>
                  <a:gd name="connsiteY6" fmla="*/ 115715 h 115715"/>
                  <a:gd name="connsiteX7" fmla="*/ 124616 w 129808"/>
                  <a:gd name="connsiteY7" fmla="*/ 115715 h 11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9808" h="115715">
                    <a:moveTo>
                      <a:pt x="124616" y="115715"/>
                    </a:moveTo>
                    <a:cubicBezTo>
                      <a:pt x="124616" y="115715"/>
                      <a:pt x="121649" y="115715"/>
                      <a:pt x="121649" y="112748"/>
                    </a:cubicBezTo>
                    <a:cubicBezTo>
                      <a:pt x="121649" y="112748"/>
                      <a:pt x="35605" y="20770"/>
                      <a:pt x="2967" y="8902"/>
                    </a:cubicBezTo>
                    <a:cubicBezTo>
                      <a:pt x="0" y="8902"/>
                      <a:pt x="0" y="5934"/>
                      <a:pt x="0" y="2967"/>
                    </a:cubicBezTo>
                    <a:cubicBezTo>
                      <a:pt x="0" y="0"/>
                      <a:pt x="2967" y="0"/>
                      <a:pt x="5934" y="0"/>
                    </a:cubicBezTo>
                    <a:cubicBezTo>
                      <a:pt x="38572" y="11869"/>
                      <a:pt x="124616" y="103846"/>
                      <a:pt x="127583" y="106813"/>
                    </a:cubicBezTo>
                    <a:cubicBezTo>
                      <a:pt x="130550" y="109781"/>
                      <a:pt x="130550" y="112748"/>
                      <a:pt x="127583" y="115715"/>
                    </a:cubicBezTo>
                    <a:cubicBezTo>
                      <a:pt x="127583" y="115715"/>
                      <a:pt x="127583" y="115715"/>
                      <a:pt x="124616" y="115715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570B63C5-7D7F-48E4-A6C4-A8A37FC57F9B}"/>
                  </a:ext>
                </a:extLst>
              </p:cNvPr>
              <p:cNvSpPr/>
              <p:nvPr/>
            </p:nvSpPr>
            <p:spPr>
              <a:xfrm>
                <a:off x="17238493" y="9973471"/>
                <a:ext cx="56373" cy="41538"/>
              </a:xfrm>
              <a:custGeom>
                <a:avLst/>
                <a:gdLst>
                  <a:gd name="connsiteX0" fmla="*/ 50439 w 56373"/>
                  <a:gd name="connsiteY0" fmla="*/ 41538 h 41538"/>
                  <a:gd name="connsiteX1" fmla="*/ 47472 w 56373"/>
                  <a:gd name="connsiteY1" fmla="*/ 41538 h 41538"/>
                  <a:gd name="connsiteX2" fmla="*/ 2966 w 56373"/>
                  <a:gd name="connsiteY2" fmla="*/ 11868 h 41538"/>
                  <a:gd name="connsiteX3" fmla="*/ 0 w 56373"/>
                  <a:gd name="connsiteY3" fmla="*/ 2967 h 41538"/>
                  <a:gd name="connsiteX4" fmla="*/ 8901 w 56373"/>
                  <a:gd name="connsiteY4" fmla="*/ 0 h 41538"/>
                  <a:gd name="connsiteX5" fmla="*/ 53406 w 56373"/>
                  <a:gd name="connsiteY5" fmla="*/ 29670 h 41538"/>
                  <a:gd name="connsiteX6" fmla="*/ 56373 w 56373"/>
                  <a:gd name="connsiteY6" fmla="*/ 38571 h 41538"/>
                  <a:gd name="connsiteX7" fmla="*/ 50439 w 56373"/>
                  <a:gd name="connsiteY7" fmla="*/ 41538 h 4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373" h="41538">
                    <a:moveTo>
                      <a:pt x="50439" y="41538"/>
                    </a:moveTo>
                    <a:cubicBezTo>
                      <a:pt x="50439" y="41538"/>
                      <a:pt x="47472" y="41538"/>
                      <a:pt x="47472" y="41538"/>
                    </a:cubicBezTo>
                    <a:lnTo>
                      <a:pt x="2966" y="11868"/>
                    </a:lnTo>
                    <a:cubicBezTo>
                      <a:pt x="0" y="8901"/>
                      <a:pt x="0" y="5934"/>
                      <a:pt x="0" y="2967"/>
                    </a:cubicBezTo>
                    <a:cubicBezTo>
                      <a:pt x="2966" y="0"/>
                      <a:pt x="5934" y="0"/>
                      <a:pt x="8901" y="0"/>
                    </a:cubicBezTo>
                    <a:lnTo>
                      <a:pt x="53406" y="29670"/>
                    </a:lnTo>
                    <a:cubicBezTo>
                      <a:pt x="56373" y="32638"/>
                      <a:pt x="56373" y="35605"/>
                      <a:pt x="56373" y="38571"/>
                    </a:cubicBezTo>
                    <a:cubicBezTo>
                      <a:pt x="53406" y="41538"/>
                      <a:pt x="50439" y="41538"/>
                      <a:pt x="50439" y="41538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2BD7B119-B51D-49CB-9BFC-2D7990A06DFD}"/>
                  </a:ext>
                </a:extLst>
              </p:cNvPr>
              <p:cNvSpPr/>
              <p:nvPr/>
            </p:nvSpPr>
            <p:spPr>
              <a:xfrm>
                <a:off x="17198602" y="9863691"/>
                <a:ext cx="60659" cy="97912"/>
              </a:xfrm>
              <a:custGeom>
                <a:avLst/>
                <a:gdLst>
                  <a:gd name="connsiteX0" fmla="*/ 7253 w 60659"/>
                  <a:gd name="connsiteY0" fmla="*/ 97913 h 97912"/>
                  <a:gd name="connsiteX1" fmla="*/ 1319 w 60659"/>
                  <a:gd name="connsiteY1" fmla="*/ 94945 h 97912"/>
                  <a:gd name="connsiteX2" fmla="*/ 1319 w 60659"/>
                  <a:gd name="connsiteY2" fmla="*/ 86045 h 97912"/>
                  <a:gd name="connsiteX3" fmla="*/ 48791 w 60659"/>
                  <a:gd name="connsiteY3" fmla="*/ 5934 h 97912"/>
                  <a:gd name="connsiteX4" fmla="*/ 54726 w 60659"/>
                  <a:gd name="connsiteY4" fmla="*/ 0 h 97912"/>
                  <a:gd name="connsiteX5" fmla="*/ 60659 w 60659"/>
                  <a:gd name="connsiteY5" fmla="*/ 5934 h 97912"/>
                  <a:gd name="connsiteX6" fmla="*/ 7253 w 60659"/>
                  <a:gd name="connsiteY6" fmla="*/ 91978 h 97912"/>
                  <a:gd name="connsiteX7" fmla="*/ 7253 w 60659"/>
                  <a:gd name="connsiteY7" fmla="*/ 97913 h 9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0659" h="97912">
                    <a:moveTo>
                      <a:pt x="7253" y="97913"/>
                    </a:moveTo>
                    <a:cubicBezTo>
                      <a:pt x="4286" y="97913"/>
                      <a:pt x="4286" y="97913"/>
                      <a:pt x="1319" y="94945"/>
                    </a:cubicBezTo>
                    <a:cubicBezTo>
                      <a:pt x="-1648" y="91978"/>
                      <a:pt x="1319" y="89011"/>
                      <a:pt x="1319" y="86045"/>
                    </a:cubicBezTo>
                    <a:cubicBezTo>
                      <a:pt x="42857" y="56374"/>
                      <a:pt x="48791" y="5934"/>
                      <a:pt x="48791" y="5934"/>
                    </a:cubicBezTo>
                    <a:cubicBezTo>
                      <a:pt x="48791" y="2967"/>
                      <a:pt x="51759" y="0"/>
                      <a:pt x="54726" y="0"/>
                    </a:cubicBezTo>
                    <a:cubicBezTo>
                      <a:pt x="57692" y="0"/>
                      <a:pt x="60659" y="2967"/>
                      <a:pt x="60659" y="5934"/>
                    </a:cubicBezTo>
                    <a:cubicBezTo>
                      <a:pt x="60659" y="8902"/>
                      <a:pt x="54726" y="59341"/>
                      <a:pt x="7253" y="91978"/>
                    </a:cubicBezTo>
                    <a:cubicBezTo>
                      <a:pt x="10220" y="94945"/>
                      <a:pt x="7253" y="97913"/>
                      <a:pt x="7253" y="97913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754E1BEB-4E32-43C6-ACE8-BEC845EF234D}"/>
                  </a:ext>
                </a:extLst>
              </p:cNvPr>
              <p:cNvSpPr/>
              <p:nvPr/>
            </p:nvSpPr>
            <p:spPr>
              <a:xfrm>
                <a:off x="17229591" y="9819185"/>
                <a:ext cx="216593" cy="148351"/>
              </a:xfrm>
              <a:custGeom>
                <a:avLst/>
                <a:gdLst>
                  <a:gd name="connsiteX0" fmla="*/ 198792 w 216593"/>
                  <a:gd name="connsiteY0" fmla="*/ 148352 h 148351"/>
                  <a:gd name="connsiteX1" fmla="*/ 148352 w 216593"/>
                  <a:gd name="connsiteY1" fmla="*/ 130550 h 148351"/>
                  <a:gd name="connsiteX2" fmla="*/ 145384 w 216593"/>
                  <a:gd name="connsiteY2" fmla="*/ 127583 h 148351"/>
                  <a:gd name="connsiteX3" fmla="*/ 74176 w 216593"/>
                  <a:gd name="connsiteY3" fmla="*/ 83077 h 148351"/>
                  <a:gd name="connsiteX4" fmla="*/ 71209 w 216593"/>
                  <a:gd name="connsiteY4" fmla="*/ 77143 h 148351"/>
                  <a:gd name="connsiteX5" fmla="*/ 77143 w 216593"/>
                  <a:gd name="connsiteY5" fmla="*/ 74176 h 148351"/>
                  <a:gd name="connsiteX6" fmla="*/ 151319 w 216593"/>
                  <a:gd name="connsiteY6" fmla="*/ 124616 h 148351"/>
                  <a:gd name="connsiteX7" fmla="*/ 207692 w 216593"/>
                  <a:gd name="connsiteY7" fmla="*/ 139451 h 148351"/>
                  <a:gd name="connsiteX8" fmla="*/ 207692 w 216593"/>
                  <a:gd name="connsiteY8" fmla="*/ 136484 h 148351"/>
                  <a:gd name="connsiteX9" fmla="*/ 2967 w 216593"/>
                  <a:gd name="connsiteY9" fmla="*/ 8902 h 148351"/>
                  <a:gd name="connsiteX10" fmla="*/ 0 w 216593"/>
                  <a:gd name="connsiteY10" fmla="*/ 2967 h 148351"/>
                  <a:gd name="connsiteX11" fmla="*/ 5934 w 216593"/>
                  <a:gd name="connsiteY11" fmla="*/ 0 h 148351"/>
                  <a:gd name="connsiteX12" fmla="*/ 216594 w 216593"/>
                  <a:gd name="connsiteY12" fmla="*/ 136484 h 148351"/>
                  <a:gd name="connsiteX13" fmla="*/ 210660 w 216593"/>
                  <a:gd name="connsiteY13" fmla="*/ 148352 h 148351"/>
                  <a:gd name="connsiteX14" fmla="*/ 198792 w 216593"/>
                  <a:gd name="connsiteY14" fmla="*/ 148352 h 148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16593" h="148351">
                    <a:moveTo>
                      <a:pt x="198792" y="148352"/>
                    </a:moveTo>
                    <a:cubicBezTo>
                      <a:pt x="178022" y="148352"/>
                      <a:pt x="151319" y="133516"/>
                      <a:pt x="148352" y="130550"/>
                    </a:cubicBezTo>
                    <a:cubicBezTo>
                      <a:pt x="148352" y="130550"/>
                      <a:pt x="145384" y="127583"/>
                      <a:pt x="145384" y="127583"/>
                    </a:cubicBezTo>
                    <a:cubicBezTo>
                      <a:pt x="139451" y="121649"/>
                      <a:pt x="100879" y="94945"/>
                      <a:pt x="74176" y="83077"/>
                    </a:cubicBezTo>
                    <a:cubicBezTo>
                      <a:pt x="71209" y="83077"/>
                      <a:pt x="71209" y="77143"/>
                      <a:pt x="71209" y="77143"/>
                    </a:cubicBezTo>
                    <a:cubicBezTo>
                      <a:pt x="71209" y="74176"/>
                      <a:pt x="77143" y="74176"/>
                      <a:pt x="77143" y="74176"/>
                    </a:cubicBezTo>
                    <a:cubicBezTo>
                      <a:pt x="89011" y="80110"/>
                      <a:pt x="139451" y="109781"/>
                      <a:pt x="151319" y="124616"/>
                    </a:cubicBezTo>
                    <a:cubicBezTo>
                      <a:pt x="163187" y="130550"/>
                      <a:pt x="195824" y="148352"/>
                      <a:pt x="207692" y="139451"/>
                    </a:cubicBezTo>
                    <a:cubicBezTo>
                      <a:pt x="207692" y="139451"/>
                      <a:pt x="207692" y="139451"/>
                      <a:pt x="207692" y="136484"/>
                    </a:cubicBezTo>
                    <a:cubicBezTo>
                      <a:pt x="204725" y="118681"/>
                      <a:pt x="142418" y="62308"/>
                      <a:pt x="2967" y="8902"/>
                    </a:cubicBezTo>
                    <a:cubicBezTo>
                      <a:pt x="0" y="8902"/>
                      <a:pt x="0" y="5934"/>
                      <a:pt x="0" y="2967"/>
                    </a:cubicBezTo>
                    <a:cubicBezTo>
                      <a:pt x="0" y="0"/>
                      <a:pt x="2967" y="0"/>
                      <a:pt x="5934" y="0"/>
                    </a:cubicBezTo>
                    <a:cubicBezTo>
                      <a:pt x="133516" y="47473"/>
                      <a:pt x="213627" y="106813"/>
                      <a:pt x="216594" y="136484"/>
                    </a:cubicBezTo>
                    <a:cubicBezTo>
                      <a:pt x="216594" y="142418"/>
                      <a:pt x="216594" y="145385"/>
                      <a:pt x="210660" y="148352"/>
                    </a:cubicBezTo>
                    <a:cubicBezTo>
                      <a:pt x="210660" y="145385"/>
                      <a:pt x="204725" y="148352"/>
                      <a:pt x="198792" y="148352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BB67B8E9-E016-451B-AAB4-2064EDCB0631}"/>
                </a:ext>
              </a:extLst>
            </p:cNvPr>
            <p:cNvSpPr/>
            <p:nvPr/>
          </p:nvSpPr>
          <p:spPr>
            <a:xfrm>
              <a:off x="17759055" y="8088335"/>
              <a:ext cx="70473" cy="141749"/>
            </a:xfrm>
            <a:custGeom>
              <a:avLst/>
              <a:gdLst>
                <a:gd name="connsiteX0" fmla="*/ 55041 w 70473"/>
                <a:gd name="connsiteY0" fmla="*/ 60411 h 141749"/>
                <a:gd name="connsiteX1" fmla="*/ 60975 w 70473"/>
                <a:gd name="connsiteY1" fmla="*/ 51510 h 141749"/>
                <a:gd name="connsiteX2" fmla="*/ 63944 w 70473"/>
                <a:gd name="connsiteY2" fmla="*/ 12938 h 141749"/>
                <a:gd name="connsiteX3" fmla="*/ 43174 w 70473"/>
                <a:gd name="connsiteY3" fmla="*/ 1070 h 141749"/>
                <a:gd name="connsiteX4" fmla="*/ 28339 w 70473"/>
                <a:gd name="connsiteY4" fmla="*/ 7004 h 141749"/>
                <a:gd name="connsiteX5" fmla="*/ 1635 w 70473"/>
                <a:gd name="connsiteY5" fmla="*/ 84147 h 141749"/>
                <a:gd name="connsiteX6" fmla="*/ 16470 w 70473"/>
                <a:gd name="connsiteY6" fmla="*/ 140521 h 141749"/>
                <a:gd name="connsiteX7" fmla="*/ 46140 w 70473"/>
                <a:gd name="connsiteY7" fmla="*/ 137554 h 141749"/>
                <a:gd name="connsiteX8" fmla="*/ 60975 w 70473"/>
                <a:gd name="connsiteY8" fmla="*/ 107884 h 141749"/>
                <a:gd name="connsiteX9" fmla="*/ 69876 w 70473"/>
                <a:gd name="connsiteY9" fmla="*/ 75246 h 141749"/>
                <a:gd name="connsiteX10" fmla="*/ 55041 w 70473"/>
                <a:gd name="connsiteY10" fmla="*/ 60411 h 141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473" h="141749">
                  <a:moveTo>
                    <a:pt x="55041" y="60411"/>
                  </a:moveTo>
                  <a:cubicBezTo>
                    <a:pt x="55041" y="54477"/>
                    <a:pt x="58009" y="54477"/>
                    <a:pt x="60975" y="51510"/>
                  </a:cubicBezTo>
                  <a:cubicBezTo>
                    <a:pt x="72844" y="36675"/>
                    <a:pt x="63944" y="27773"/>
                    <a:pt x="63944" y="12938"/>
                  </a:cubicBezTo>
                  <a:cubicBezTo>
                    <a:pt x="63944" y="1070"/>
                    <a:pt x="52075" y="-1897"/>
                    <a:pt x="43174" y="1070"/>
                  </a:cubicBezTo>
                  <a:cubicBezTo>
                    <a:pt x="37240" y="1070"/>
                    <a:pt x="31305" y="4037"/>
                    <a:pt x="28339" y="7004"/>
                  </a:cubicBezTo>
                  <a:cubicBezTo>
                    <a:pt x="13504" y="33708"/>
                    <a:pt x="1635" y="54477"/>
                    <a:pt x="1635" y="84147"/>
                  </a:cubicBezTo>
                  <a:cubicBezTo>
                    <a:pt x="1635" y="107884"/>
                    <a:pt x="-7266" y="131620"/>
                    <a:pt x="16470" y="140521"/>
                  </a:cubicBezTo>
                  <a:cubicBezTo>
                    <a:pt x="22404" y="143488"/>
                    <a:pt x="40206" y="140521"/>
                    <a:pt x="46140" y="137554"/>
                  </a:cubicBezTo>
                  <a:cubicBezTo>
                    <a:pt x="58009" y="131620"/>
                    <a:pt x="55041" y="110850"/>
                    <a:pt x="60975" y="107884"/>
                  </a:cubicBezTo>
                  <a:cubicBezTo>
                    <a:pt x="63944" y="96015"/>
                    <a:pt x="72844" y="87114"/>
                    <a:pt x="69876" y="75246"/>
                  </a:cubicBezTo>
                  <a:cubicBezTo>
                    <a:pt x="63944" y="72279"/>
                    <a:pt x="55041" y="66345"/>
                    <a:pt x="55041" y="60411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84F477EA-695D-43A6-80F7-E5C32ED169B5}"/>
                </a:ext>
              </a:extLst>
            </p:cNvPr>
            <p:cNvSpPr/>
            <p:nvPr/>
          </p:nvSpPr>
          <p:spPr>
            <a:xfrm>
              <a:off x="17363108" y="8199186"/>
              <a:ext cx="65275" cy="136483"/>
            </a:xfrm>
            <a:custGeom>
              <a:avLst/>
              <a:gdLst>
                <a:gd name="connsiteX0" fmla="*/ 0 w 65275"/>
                <a:gd name="connsiteY0" fmla="*/ 0 h 136483"/>
                <a:gd name="connsiteX1" fmla="*/ 62308 w 65275"/>
                <a:gd name="connsiteY1" fmla="*/ 136484 h 136483"/>
                <a:gd name="connsiteX2" fmla="*/ 65275 w 65275"/>
                <a:gd name="connsiteY2" fmla="*/ 53407 h 136483"/>
                <a:gd name="connsiteX3" fmla="*/ 0 w 65275"/>
                <a:gd name="connsiteY3" fmla="*/ 0 h 13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75" h="136483">
                  <a:moveTo>
                    <a:pt x="0" y="0"/>
                  </a:moveTo>
                  <a:cubicBezTo>
                    <a:pt x="0" y="0"/>
                    <a:pt x="11868" y="115715"/>
                    <a:pt x="62308" y="136484"/>
                  </a:cubicBezTo>
                  <a:lnTo>
                    <a:pt x="65275" y="534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8443A554-3281-424A-9F4D-A7A0CC003667}"/>
                </a:ext>
              </a:extLst>
            </p:cNvPr>
            <p:cNvSpPr/>
            <p:nvPr/>
          </p:nvSpPr>
          <p:spPr>
            <a:xfrm>
              <a:off x="17714641" y="8006329"/>
              <a:ext cx="98427" cy="231408"/>
            </a:xfrm>
            <a:custGeom>
              <a:avLst/>
              <a:gdLst>
                <a:gd name="connsiteX0" fmla="*/ 93523 w 98427"/>
                <a:gd name="connsiteY0" fmla="*/ 0 h 231408"/>
                <a:gd name="connsiteX1" fmla="*/ 49016 w 98427"/>
                <a:gd name="connsiteY1" fmla="*/ 228461 h 231408"/>
                <a:gd name="connsiteX2" fmla="*/ 1544 w 98427"/>
                <a:gd name="connsiteY2" fmla="*/ 11868 h 231408"/>
                <a:gd name="connsiteX3" fmla="*/ 93523 w 98427"/>
                <a:gd name="connsiteY3" fmla="*/ 0 h 231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427" h="231408">
                  <a:moveTo>
                    <a:pt x="93523" y="0"/>
                  </a:moveTo>
                  <a:cubicBezTo>
                    <a:pt x="93523" y="0"/>
                    <a:pt x="120225" y="189890"/>
                    <a:pt x="49016" y="228461"/>
                  </a:cubicBezTo>
                  <a:cubicBezTo>
                    <a:pt x="-13291" y="261099"/>
                    <a:pt x="1544" y="11868"/>
                    <a:pt x="1544" y="11868"/>
                  </a:cubicBezTo>
                  <a:lnTo>
                    <a:pt x="93523" y="0"/>
                  </a:ln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8B949F14-EAB6-438C-B922-E36330FD6DE8}"/>
                </a:ext>
              </a:extLst>
            </p:cNvPr>
            <p:cNvSpPr/>
            <p:nvPr/>
          </p:nvSpPr>
          <p:spPr>
            <a:xfrm>
              <a:off x="17369042" y="7871515"/>
              <a:ext cx="407650" cy="553323"/>
            </a:xfrm>
            <a:custGeom>
              <a:avLst/>
              <a:gdLst>
                <a:gd name="connsiteX0" fmla="*/ 400549 w 407650"/>
                <a:gd name="connsiteY0" fmla="*/ 179319 h 553323"/>
                <a:gd name="connsiteX1" fmla="*/ 397582 w 407650"/>
                <a:gd name="connsiteY1" fmla="*/ 422616 h 553323"/>
                <a:gd name="connsiteX2" fmla="*/ 240330 w 407650"/>
                <a:gd name="connsiteY2" fmla="*/ 553166 h 553323"/>
                <a:gd name="connsiteX3" fmla="*/ 32638 w 407650"/>
                <a:gd name="connsiteY3" fmla="*/ 410748 h 553323"/>
                <a:gd name="connsiteX4" fmla="*/ 0 w 407650"/>
                <a:gd name="connsiteY4" fmla="*/ 191188 h 553323"/>
                <a:gd name="connsiteX5" fmla="*/ 210660 w 407650"/>
                <a:gd name="connsiteY5" fmla="*/ 1297 h 553323"/>
                <a:gd name="connsiteX6" fmla="*/ 400549 w 407650"/>
                <a:gd name="connsiteY6" fmla="*/ 179319 h 553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7650" h="553323">
                  <a:moveTo>
                    <a:pt x="400549" y="179319"/>
                  </a:moveTo>
                  <a:cubicBezTo>
                    <a:pt x="400549" y="179319"/>
                    <a:pt x="418352" y="351407"/>
                    <a:pt x="397582" y="422616"/>
                  </a:cubicBezTo>
                  <a:cubicBezTo>
                    <a:pt x="376813" y="487891"/>
                    <a:pt x="287802" y="547232"/>
                    <a:pt x="240330" y="553166"/>
                  </a:cubicBezTo>
                  <a:cubicBezTo>
                    <a:pt x="175055" y="556132"/>
                    <a:pt x="59341" y="517561"/>
                    <a:pt x="32638" y="410748"/>
                  </a:cubicBezTo>
                  <a:cubicBezTo>
                    <a:pt x="14835" y="339539"/>
                    <a:pt x="0" y="241627"/>
                    <a:pt x="0" y="191188"/>
                  </a:cubicBezTo>
                  <a:cubicBezTo>
                    <a:pt x="2967" y="99209"/>
                    <a:pt x="29670" y="22066"/>
                    <a:pt x="210660" y="1297"/>
                  </a:cubicBezTo>
                  <a:cubicBezTo>
                    <a:pt x="290769" y="-13538"/>
                    <a:pt x="382747" y="102177"/>
                    <a:pt x="400549" y="179319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8EC026A1-CF1F-4D88-A73E-0DB2D5054472}"/>
                </a:ext>
              </a:extLst>
            </p:cNvPr>
            <p:cNvSpPr/>
            <p:nvPr/>
          </p:nvSpPr>
          <p:spPr>
            <a:xfrm>
              <a:off x="17582668" y="8125010"/>
              <a:ext cx="56374" cy="133516"/>
            </a:xfrm>
            <a:custGeom>
              <a:avLst/>
              <a:gdLst>
                <a:gd name="connsiteX0" fmla="*/ 29670 w 56374"/>
                <a:gd name="connsiteY0" fmla="*/ 133516 h 133516"/>
                <a:gd name="connsiteX1" fmla="*/ 5934 w 56374"/>
                <a:gd name="connsiteY1" fmla="*/ 130550 h 133516"/>
                <a:gd name="connsiteX2" fmla="*/ 0 w 56374"/>
                <a:gd name="connsiteY2" fmla="*/ 124615 h 133516"/>
                <a:gd name="connsiteX3" fmla="*/ 5934 w 56374"/>
                <a:gd name="connsiteY3" fmla="*/ 118681 h 133516"/>
                <a:gd name="connsiteX4" fmla="*/ 44505 w 56374"/>
                <a:gd name="connsiteY4" fmla="*/ 118681 h 133516"/>
                <a:gd name="connsiteX5" fmla="*/ 44505 w 56374"/>
                <a:gd name="connsiteY5" fmla="*/ 115715 h 133516"/>
                <a:gd name="connsiteX6" fmla="*/ 29670 w 56374"/>
                <a:gd name="connsiteY6" fmla="*/ 5934 h 133516"/>
                <a:gd name="connsiteX7" fmla="*/ 35605 w 56374"/>
                <a:gd name="connsiteY7" fmla="*/ 0 h 133516"/>
                <a:gd name="connsiteX8" fmla="*/ 41539 w 56374"/>
                <a:gd name="connsiteY8" fmla="*/ 5934 h 133516"/>
                <a:gd name="connsiteX9" fmla="*/ 56374 w 56374"/>
                <a:gd name="connsiteY9" fmla="*/ 115715 h 133516"/>
                <a:gd name="connsiteX10" fmla="*/ 50440 w 56374"/>
                <a:gd name="connsiteY10" fmla="*/ 127583 h 133516"/>
                <a:gd name="connsiteX11" fmla="*/ 29670 w 56374"/>
                <a:gd name="connsiteY11" fmla="*/ 133516 h 13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374" h="133516">
                  <a:moveTo>
                    <a:pt x="29670" y="133516"/>
                  </a:moveTo>
                  <a:cubicBezTo>
                    <a:pt x="17802" y="133516"/>
                    <a:pt x="8902" y="130550"/>
                    <a:pt x="5934" y="130550"/>
                  </a:cubicBezTo>
                  <a:cubicBezTo>
                    <a:pt x="2967" y="130550"/>
                    <a:pt x="0" y="127583"/>
                    <a:pt x="0" y="124615"/>
                  </a:cubicBezTo>
                  <a:cubicBezTo>
                    <a:pt x="0" y="121649"/>
                    <a:pt x="2967" y="118681"/>
                    <a:pt x="5934" y="118681"/>
                  </a:cubicBezTo>
                  <a:cubicBezTo>
                    <a:pt x="17802" y="121649"/>
                    <a:pt x="38572" y="121649"/>
                    <a:pt x="44505" y="118681"/>
                  </a:cubicBezTo>
                  <a:cubicBezTo>
                    <a:pt x="44505" y="118681"/>
                    <a:pt x="44505" y="115715"/>
                    <a:pt x="44505" y="115715"/>
                  </a:cubicBezTo>
                  <a:cubicBezTo>
                    <a:pt x="44505" y="97912"/>
                    <a:pt x="29670" y="5934"/>
                    <a:pt x="29670" y="5934"/>
                  </a:cubicBezTo>
                  <a:cubicBezTo>
                    <a:pt x="29670" y="2967"/>
                    <a:pt x="32638" y="0"/>
                    <a:pt x="35605" y="0"/>
                  </a:cubicBezTo>
                  <a:cubicBezTo>
                    <a:pt x="38572" y="0"/>
                    <a:pt x="41539" y="2967"/>
                    <a:pt x="41539" y="5934"/>
                  </a:cubicBezTo>
                  <a:cubicBezTo>
                    <a:pt x="41539" y="8901"/>
                    <a:pt x="56374" y="97912"/>
                    <a:pt x="56374" y="115715"/>
                  </a:cubicBezTo>
                  <a:cubicBezTo>
                    <a:pt x="56374" y="121649"/>
                    <a:pt x="53407" y="124615"/>
                    <a:pt x="50440" y="127583"/>
                  </a:cubicBezTo>
                  <a:cubicBezTo>
                    <a:pt x="47473" y="133516"/>
                    <a:pt x="38572" y="133516"/>
                    <a:pt x="29670" y="133516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9974BDB2-7697-45C8-A0F4-F9FCC2B9B986}"/>
                </a:ext>
              </a:extLst>
            </p:cNvPr>
            <p:cNvSpPr/>
            <p:nvPr/>
          </p:nvSpPr>
          <p:spPr>
            <a:xfrm>
              <a:off x="17673890" y="8103485"/>
              <a:ext cx="40083" cy="40083"/>
            </a:xfrm>
            <a:custGeom>
              <a:avLst/>
              <a:gdLst>
                <a:gd name="connsiteX0" fmla="*/ 756 w 40083"/>
                <a:gd name="connsiteY0" fmla="*/ 24493 h 40083"/>
                <a:gd name="connsiteX1" fmla="*/ 24493 w 40083"/>
                <a:gd name="connsiteY1" fmla="*/ 39328 h 40083"/>
                <a:gd name="connsiteX2" fmla="*/ 39328 w 40083"/>
                <a:gd name="connsiteY2" fmla="*/ 15591 h 40083"/>
                <a:gd name="connsiteX3" fmla="*/ 15591 w 40083"/>
                <a:gd name="connsiteY3" fmla="*/ 756 h 40083"/>
                <a:gd name="connsiteX4" fmla="*/ 756 w 40083"/>
                <a:gd name="connsiteY4" fmla="*/ 24493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83" h="40083">
                  <a:moveTo>
                    <a:pt x="756" y="24493"/>
                  </a:moveTo>
                  <a:cubicBezTo>
                    <a:pt x="3723" y="36360"/>
                    <a:pt x="12624" y="42294"/>
                    <a:pt x="24493" y="39328"/>
                  </a:cubicBezTo>
                  <a:cubicBezTo>
                    <a:pt x="36361" y="36360"/>
                    <a:pt x="42294" y="27459"/>
                    <a:pt x="39328" y="15591"/>
                  </a:cubicBezTo>
                  <a:cubicBezTo>
                    <a:pt x="36361" y="3723"/>
                    <a:pt x="27459" y="-2211"/>
                    <a:pt x="15591" y="756"/>
                  </a:cubicBezTo>
                  <a:cubicBezTo>
                    <a:pt x="3723" y="3723"/>
                    <a:pt x="-2211" y="15591"/>
                    <a:pt x="756" y="24493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89A256FC-1AE9-4784-A255-CED53CF58ABE}"/>
                </a:ext>
              </a:extLst>
            </p:cNvPr>
            <p:cNvSpPr/>
            <p:nvPr/>
          </p:nvSpPr>
          <p:spPr>
            <a:xfrm>
              <a:off x="17495868" y="8118320"/>
              <a:ext cx="40083" cy="40083"/>
            </a:xfrm>
            <a:custGeom>
              <a:avLst/>
              <a:gdLst>
                <a:gd name="connsiteX0" fmla="*/ 756 w 40083"/>
                <a:gd name="connsiteY0" fmla="*/ 24493 h 40083"/>
                <a:gd name="connsiteX1" fmla="*/ 24493 w 40083"/>
                <a:gd name="connsiteY1" fmla="*/ 39328 h 40083"/>
                <a:gd name="connsiteX2" fmla="*/ 39328 w 40083"/>
                <a:gd name="connsiteY2" fmla="*/ 15591 h 40083"/>
                <a:gd name="connsiteX3" fmla="*/ 15591 w 40083"/>
                <a:gd name="connsiteY3" fmla="*/ 756 h 40083"/>
                <a:gd name="connsiteX4" fmla="*/ 756 w 40083"/>
                <a:gd name="connsiteY4" fmla="*/ 24493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83" h="40083">
                  <a:moveTo>
                    <a:pt x="756" y="24493"/>
                  </a:moveTo>
                  <a:cubicBezTo>
                    <a:pt x="3723" y="36360"/>
                    <a:pt x="12624" y="42294"/>
                    <a:pt x="24493" y="39328"/>
                  </a:cubicBezTo>
                  <a:cubicBezTo>
                    <a:pt x="36361" y="36360"/>
                    <a:pt x="42294" y="27459"/>
                    <a:pt x="39328" y="15591"/>
                  </a:cubicBezTo>
                  <a:cubicBezTo>
                    <a:pt x="36361" y="3723"/>
                    <a:pt x="27459" y="-2211"/>
                    <a:pt x="15591" y="756"/>
                  </a:cubicBezTo>
                  <a:cubicBezTo>
                    <a:pt x="3723" y="3723"/>
                    <a:pt x="-2211" y="15591"/>
                    <a:pt x="756" y="24493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FB231B4E-C317-4991-9C9B-3B92116FF9BF}"/>
                </a:ext>
              </a:extLst>
            </p:cNvPr>
            <p:cNvSpPr/>
            <p:nvPr/>
          </p:nvSpPr>
          <p:spPr>
            <a:xfrm>
              <a:off x="17649681" y="8057117"/>
              <a:ext cx="89498" cy="32288"/>
            </a:xfrm>
            <a:custGeom>
              <a:avLst/>
              <a:gdLst>
                <a:gd name="connsiteX0" fmla="*/ 81338 w 89498"/>
                <a:gd name="connsiteY0" fmla="*/ 32288 h 32288"/>
                <a:gd name="connsiteX1" fmla="*/ 75405 w 89498"/>
                <a:gd name="connsiteY1" fmla="*/ 29321 h 32288"/>
                <a:gd name="connsiteX2" fmla="*/ 10130 w 89498"/>
                <a:gd name="connsiteY2" fmla="*/ 20420 h 32288"/>
                <a:gd name="connsiteX3" fmla="*/ 1229 w 89498"/>
                <a:gd name="connsiteY3" fmla="*/ 17453 h 32288"/>
                <a:gd name="connsiteX4" fmla="*/ 4196 w 89498"/>
                <a:gd name="connsiteY4" fmla="*/ 8552 h 32288"/>
                <a:gd name="connsiteX5" fmla="*/ 87273 w 89498"/>
                <a:gd name="connsiteY5" fmla="*/ 20420 h 32288"/>
                <a:gd name="connsiteX6" fmla="*/ 87273 w 89498"/>
                <a:gd name="connsiteY6" fmla="*/ 32288 h 32288"/>
                <a:gd name="connsiteX7" fmla="*/ 81338 w 89498"/>
                <a:gd name="connsiteY7" fmla="*/ 32288 h 32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2288">
                  <a:moveTo>
                    <a:pt x="81338" y="32288"/>
                  </a:moveTo>
                  <a:cubicBezTo>
                    <a:pt x="78372" y="32288"/>
                    <a:pt x="78372" y="32288"/>
                    <a:pt x="75405" y="29321"/>
                  </a:cubicBezTo>
                  <a:cubicBezTo>
                    <a:pt x="51668" y="2618"/>
                    <a:pt x="10130" y="20420"/>
                    <a:pt x="10130" y="20420"/>
                  </a:cubicBezTo>
                  <a:cubicBezTo>
                    <a:pt x="7163" y="23387"/>
                    <a:pt x="1229" y="20420"/>
                    <a:pt x="1229" y="17453"/>
                  </a:cubicBezTo>
                  <a:cubicBezTo>
                    <a:pt x="-1738" y="14486"/>
                    <a:pt x="1229" y="8552"/>
                    <a:pt x="4196" y="8552"/>
                  </a:cubicBezTo>
                  <a:cubicBezTo>
                    <a:pt x="21998" y="-349"/>
                    <a:pt x="60570" y="-9250"/>
                    <a:pt x="87273" y="20420"/>
                  </a:cubicBezTo>
                  <a:cubicBezTo>
                    <a:pt x="90240" y="23387"/>
                    <a:pt x="90240" y="29321"/>
                    <a:pt x="87273" y="32288"/>
                  </a:cubicBezTo>
                  <a:cubicBezTo>
                    <a:pt x="84306" y="32288"/>
                    <a:pt x="81338" y="32288"/>
                    <a:pt x="81338" y="32288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09331EB1-EA64-461E-BA7E-262B151E7E64}"/>
                </a:ext>
              </a:extLst>
            </p:cNvPr>
            <p:cNvSpPr/>
            <p:nvPr/>
          </p:nvSpPr>
          <p:spPr>
            <a:xfrm>
              <a:off x="17461762" y="8055623"/>
              <a:ext cx="89498" cy="33782"/>
            </a:xfrm>
            <a:custGeom>
              <a:avLst/>
              <a:gdLst>
                <a:gd name="connsiteX0" fmla="*/ 8159 w 89498"/>
                <a:gd name="connsiteY0" fmla="*/ 33782 h 33782"/>
                <a:gd name="connsiteX1" fmla="*/ 2225 w 89498"/>
                <a:gd name="connsiteY1" fmla="*/ 30815 h 33782"/>
                <a:gd name="connsiteX2" fmla="*/ 2225 w 89498"/>
                <a:gd name="connsiteY2" fmla="*/ 18947 h 33782"/>
                <a:gd name="connsiteX3" fmla="*/ 85302 w 89498"/>
                <a:gd name="connsiteY3" fmla="*/ 13013 h 33782"/>
                <a:gd name="connsiteX4" fmla="*/ 88269 w 89498"/>
                <a:gd name="connsiteY4" fmla="*/ 24881 h 33782"/>
                <a:gd name="connsiteX5" fmla="*/ 76401 w 89498"/>
                <a:gd name="connsiteY5" fmla="*/ 27848 h 33782"/>
                <a:gd name="connsiteX6" fmla="*/ 11126 w 89498"/>
                <a:gd name="connsiteY6" fmla="*/ 33782 h 33782"/>
                <a:gd name="connsiteX7" fmla="*/ 8159 w 89498"/>
                <a:gd name="connsiteY7" fmla="*/ 33782 h 33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3782">
                  <a:moveTo>
                    <a:pt x="8159" y="33782"/>
                  </a:moveTo>
                  <a:cubicBezTo>
                    <a:pt x="5192" y="33782"/>
                    <a:pt x="5192" y="33782"/>
                    <a:pt x="2225" y="30815"/>
                  </a:cubicBezTo>
                  <a:cubicBezTo>
                    <a:pt x="-742" y="27848"/>
                    <a:pt x="-742" y="21915"/>
                    <a:pt x="2225" y="18947"/>
                  </a:cubicBezTo>
                  <a:cubicBezTo>
                    <a:pt x="14094" y="7079"/>
                    <a:pt x="49697" y="-13690"/>
                    <a:pt x="85302" y="13013"/>
                  </a:cubicBezTo>
                  <a:cubicBezTo>
                    <a:pt x="88269" y="15980"/>
                    <a:pt x="91236" y="18947"/>
                    <a:pt x="88269" y="24881"/>
                  </a:cubicBezTo>
                  <a:cubicBezTo>
                    <a:pt x="85302" y="27848"/>
                    <a:pt x="82335" y="27848"/>
                    <a:pt x="76401" y="27848"/>
                  </a:cubicBezTo>
                  <a:cubicBezTo>
                    <a:pt x="40797" y="4112"/>
                    <a:pt x="14094" y="30815"/>
                    <a:pt x="11126" y="33782"/>
                  </a:cubicBezTo>
                  <a:cubicBezTo>
                    <a:pt x="14094" y="30815"/>
                    <a:pt x="11126" y="33782"/>
                    <a:pt x="8159" y="33782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473EF039-C125-4279-9C1C-CD4436EF7368}"/>
                </a:ext>
              </a:extLst>
            </p:cNvPr>
            <p:cNvSpPr/>
            <p:nvPr/>
          </p:nvSpPr>
          <p:spPr>
            <a:xfrm>
              <a:off x="17452119" y="8362372"/>
              <a:ext cx="220879" cy="65274"/>
            </a:xfrm>
            <a:custGeom>
              <a:avLst/>
              <a:gdLst>
                <a:gd name="connsiteX0" fmla="*/ 145384 w 220879"/>
                <a:gd name="connsiteY0" fmla="*/ 65275 h 65274"/>
                <a:gd name="connsiteX1" fmla="*/ 145384 w 220879"/>
                <a:gd name="connsiteY1" fmla="*/ 65275 h 65274"/>
                <a:gd name="connsiteX2" fmla="*/ 2967 w 220879"/>
                <a:gd name="connsiteY2" fmla="*/ 11868 h 65274"/>
                <a:gd name="connsiteX3" fmla="*/ 0 w 220879"/>
                <a:gd name="connsiteY3" fmla="*/ 2967 h 65274"/>
                <a:gd name="connsiteX4" fmla="*/ 8902 w 220879"/>
                <a:gd name="connsiteY4" fmla="*/ 0 h 65274"/>
                <a:gd name="connsiteX5" fmla="*/ 142418 w 220879"/>
                <a:gd name="connsiteY5" fmla="*/ 53407 h 65274"/>
                <a:gd name="connsiteX6" fmla="*/ 210660 w 220879"/>
                <a:gd name="connsiteY6" fmla="*/ 29670 h 65274"/>
                <a:gd name="connsiteX7" fmla="*/ 219560 w 220879"/>
                <a:gd name="connsiteY7" fmla="*/ 29670 h 65274"/>
                <a:gd name="connsiteX8" fmla="*/ 219560 w 220879"/>
                <a:gd name="connsiteY8" fmla="*/ 38572 h 65274"/>
                <a:gd name="connsiteX9" fmla="*/ 145384 w 220879"/>
                <a:gd name="connsiteY9" fmla="*/ 65275 h 65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879" h="65274">
                  <a:moveTo>
                    <a:pt x="145384" y="65275"/>
                  </a:moveTo>
                  <a:cubicBezTo>
                    <a:pt x="142418" y="65275"/>
                    <a:pt x="142418" y="65275"/>
                    <a:pt x="145384" y="65275"/>
                  </a:cubicBezTo>
                  <a:cubicBezTo>
                    <a:pt x="91978" y="65275"/>
                    <a:pt x="5934" y="14835"/>
                    <a:pt x="2967" y="11868"/>
                  </a:cubicBezTo>
                  <a:cubicBezTo>
                    <a:pt x="0" y="8901"/>
                    <a:pt x="0" y="5934"/>
                    <a:pt x="0" y="2967"/>
                  </a:cubicBezTo>
                  <a:cubicBezTo>
                    <a:pt x="2967" y="0"/>
                    <a:pt x="5934" y="0"/>
                    <a:pt x="8902" y="0"/>
                  </a:cubicBezTo>
                  <a:cubicBezTo>
                    <a:pt x="8902" y="0"/>
                    <a:pt x="97913" y="50439"/>
                    <a:pt x="142418" y="53407"/>
                  </a:cubicBezTo>
                  <a:cubicBezTo>
                    <a:pt x="180989" y="53407"/>
                    <a:pt x="210660" y="29670"/>
                    <a:pt x="210660" y="29670"/>
                  </a:cubicBezTo>
                  <a:cubicBezTo>
                    <a:pt x="213627" y="26704"/>
                    <a:pt x="216594" y="29670"/>
                    <a:pt x="219560" y="29670"/>
                  </a:cubicBezTo>
                  <a:cubicBezTo>
                    <a:pt x="222527" y="32638"/>
                    <a:pt x="219560" y="35604"/>
                    <a:pt x="219560" y="38572"/>
                  </a:cubicBezTo>
                  <a:cubicBezTo>
                    <a:pt x="216594" y="41539"/>
                    <a:pt x="183956" y="65275"/>
                    <a:pt x="145384" y="65275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901E5B70-E18C-4086-8952-79664AD58C59}"/>
                </a:ext>
              </a:extLst>
            </p:cNvPr>
            <p:cNvSpPr/>
            <p:nvPr/>
          </p:nvSpPr>
          <p:spPr>
            <a:xfrm>
              <a:off x="17326148" y="8114664"/>
              <a:ext cx="74698" cy="110991"/>
            </a:xfrm>
            <a:custGeom>
              <a:avLst/>
              <a:gdLst>
                <a:gd name="connsiteX0" fmla="*/ 63662 w 74698"/>
                <a:gd name="connsiteY0" fmla="*/ 16280 h 110991"/>
                <a:gd name="connsiteX1" fmla="*/ 7289 w 74698"/>
                <a:gd name="connsiteY1" fmla="*/ 7379 h 110991"/>
                <a:gd name="connsiteX2" fmla="*/ 60696 w 74698"/>
                <a:gd name="connsiteY2" fmla="*/ 108258 h 110991"/>
                <a:gd name="connsiteX3" fmla="*/ 63662 w 74698"/>
                <a:gd name="connsiteY3" fmla="*/ 16280 h 11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98" h="110991">
                  <a:moveTo>
                    <a:pt x="63662" y="16280"/>
                  </a:moveTo>
                  <a:cubicBezTo>
                    <a:pt x="63662" y="16280"/>
                    <a:pt x="31026" y="-13390"/>
                    <a:pt x="7289" y="7379"/>
                  </a:cubicBezTo>
                  <a:cubicBezTo>
                    <a:pt x="-16447" y="25181"/>
                    <a:pt x="22124" y="129027"/>
                    <a:pt x="60696" y="108258"/>
                  </a:cubicBezTo>
                  <a:cubicBezTo>
                    <a:pt x="90366" y="90456"/>
                    <a:pt x="63662" y="16280"/>
                    <a:pt x="63662" y="16280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86831C6B-1A9B-4101-B7ED-D8DF63DCC2B7}"/>
                </a:ext>
              </a:extLst>
            </p:cNvPr>
            <p:cNvSpPr/>
            <p:nvPr/>
          </p:nvSpPr>
          <p:spPr>
            <a:xfrm>
              <a:off x="17330218" y="7761224"/>
              <a:ext cx="502205" cy="372687"/>
            </a:xfrm>
            <a:custGeom>
              <a:avLst/>
              <a:gdLst>
                <a:gd name="connsiteX0" fmla="*/ 6186 w 502205"/>
                <a:gd name="connsiteY0" fmla="*/ 289610 h 372687"/>
                <a:gd name="connsiteX1" fmla="*/ 62559 w 502205"/>
                <a:gd name="connsiteY1" fmla="*/ 372687 h 372687"/>
                <a:gd name="connsiteX2" fmla="*/ 112999 w 502205"/>
                <a:gd name="connsiteY2" fmla="*/ 254006 h 372687"/>
                <a:gd name="connsiteX3" fmla="*/ 121900 w 502205"/>
                <a:gd name="connsiteY3" fmla="*/ 251039 h 372687"/>
                <a:gd name="connsiteX4" fmla="*/ 196076 w 502205"/>
                <a:gd name="connsiteY4" fmla="*/ 227303 h 372687"/>
                <a:gd name="connsiteX5" fmla="*/ 207944 w 502205"/>
                <a:gd name="connsiteY5" fmla="*/ 224336 h 372687"/>
                <a:gd name="connsiteX6" fmla="*/ 243549 w 502205"/>
                <a:gd name="connsiteY6" fmla="*/ 245105 h 372687"/>
                <a:gd name="connsiteX7" fmla="*/ 258384 w 502205"/>
                <a:gd name="connsiteY7" fmla="*/ 236204 h 372687"/>
                <a:gd name="connsiteX8" fmla="*/ 308824 w 502205"/>
                <a:gd name="connsiteY8" fmla="*/ 254006 h 372687"/>
                <a:gd name="connsiteX9" fmla="*/ 344428 w 502205"/>
                <a:gd name="connsiteY9" fmla="*/ 262907 h 372687"/>
                <a:gd name="connsiteX10" fmla="*/ 356296 w 502205"/>
                <a:gd name="connsiteY10" fmla="*/ 262907 h 372687"/>
                <a:gd name="connsiteX11" fmla="*/ 368164 w 502205"/>
                <a:gd name="connsiteY11" fmla="*/ 259940 h 372687"/>
                <a:gd name="connsiteX12" fmla="*/ 377065 w 502205"/>
                <a:gd name="connsiteY12" fmla="*/ 265874 h 372687"/>
                <a:gd name="connsiteX13" fmla="*/ 383000 w 502205"/>
                <a:gd name="connsiteY13" fmla="*/ 271808 h 372687"/>
                <a:gd name="connsiteX14" fmla="*/ 388933 w 502205"/>
                <a:gd name="connsiteY14" fmla="*/ 271808 h 372687"/>
                <a:gd name="connsiteX15" fmla="*/ 394868 w 502205"/>
                <a:gd name="connsiteY15" fmla="*/ 274775 h 372687"/>
                <a:gd name="connsiteX16" fmla="*/ 400801 w 502205"/>
                <a:gd name="connsiteY16" fmla="*/ 283676 h 372687"/>
                <a:gd name="connsiteX17" fmla="*/ 418603 w 502205"/>
                <a:gd name="connsiteY17" fmla="*/ 304445 h 372687"/>
                <a:gd name="connsiteX18" fmla="*/ 445307 w 502205"/>
                <a:gd name="connsiteY18" fmla="*/ 316314 h 372687"/>
                <a:gd name="connsiteX19" fmla="*/ 463109 w 502205"/>
                <a:gd name="connsiteY19" fmla="*/ 369720 h 372687"/>
                <a:gd name="connsiteX20" fmla="*/ 472011 w 502205"/>
                <a:gd name="connsiteY20" fmla="*/ 340050 h 372687"/>
                <a:gd name="connsiteX21" fmla="*/ 480911 w 502205"/>
                <a:gd name="connsiteY21" fmla="*/ 337083 h 372687"/>
                <a:gd name="connsiteX22" fmla="*/ 498713 w 502205"/>
                <a:gd name="connsiteY22" fmla="*/ 242138 h 372687"/>
                <a:gd name="connsiteX23" fmla="*/ 480911 w 502205"/>
                <a:gd name="connsiteY23" fmla="*/ 200599 h 372687"/>
                <a:gd name="connsiteX24" fmla="*/ 483878 w 502205"/>
                <a:gd name="connsiteY24" fmla="*/ 167962 h 372687"/>
                <a:gd name="connsiteX25" fmla="*/ 477945 w 502205"/>
                <a:gd name="connsiteY25" fmla="*/ 132357 h 372687"/>
                <a:gd name="connsiteX26" fmla="*/ 460142 w 502205"/>
                <a:gd name="connsiteY26" fmla="*/ 105654 h 372687"/>
                <a:gd name="connsiteX27" fmla="*/ 445307 w 502205"/>
                <a:gd name="connsiteY27" fmla="*/ 64116 h 372687"/>
                <a:gd name="connsiteX28" fmla="*/ 385966 w 502205"/>
                <a:gd name="connsiteY28" fmla="*/ 40380 h 372687"/>
                <a:gd name="connsiteX29" fmla="*/ 264318 w 502205"/>
                <a:gd name="connsiteY29" fmla="*/ 1808 h 372687"/>
                <a:gd name="connsiteX30" fmla="*/ 252449 w 502205"/>
                <a:gd name="connsiteY30" fmla="*/ 7742 h 372687"/>
                <a:gd name="connsiteX31" fmla="*/ 199043 w 502205"/>
                <a:gd name="connsiteY31" fmla="*/ 19610 h 372687"/>
                <a:gd name="connsiteX32" fmla="*/ 166406 w 502205"/>
                <a:gd name="connsiteY32" fmla="*/ 22577 h 372687"/>
                <a:gd name="connsiteX33" fmla="*/ 136735 w 502205"/>
                <a:gd name="connsiteY33" fmla="*/ 52248 h 372687"/>
                <a:gd name="connsiteX34" fmla="*/ 124867 w 502205"/>
                <a:gd name="connsiteY34" fmla="*/ 70050 h 372687"/>
                <a:gd name="connsiteX35" fmla="*/ 95197 w 502205"/>
                <a:gd name="connsiteY35" fmla="*/ 90819 h 372687"/>
                <a:gd name="connsiteX36" fmla="*/ 83329 w 502205"/>
                <a:gd name="connsiteY36" fmla="*/ 87852 h 372687"/>
                <a:gd name="connsiteX37" fmla="*/ 65527 w 502205"/>
                <a:gd name="connsiteY37" fmla="*/ 126423 h 372687"/>
                <a:gd name="connsiteX38" fmla="*/ 6186 w 502205"/>
                <a:gd name="connsiteY38" fmla="*/ 289610 h 372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02205" h="372687">
                  <a:moveTo>
                    <a:pt x="6186" y="289610"/>
                  </a:moveTo>
                  <a:cubicBezTo>
                    <a:pt x="18054" y="343017"/>
                    <a:pt x="62559" y="372687"/>
                    <a:pt x="62559" y="372687"/>
                  </a:cubicBezTo>
                  <a:cubicBezTo>
                    <a:pt x="56626" y="343017"/>
                    <a:pt x="112999" y="254006"/>
                    <a:pt x="112999" y="254006"/>
                  </a:cubicBezTo>
                  <a:cubicBezTo>
                    <a:pt x="112999" y="254006"/>
                    <a:pt x="115967" y="254006"/>
                    <a:pt x="121900" y="251039"/>
                  </a:cubicBezTo>
                  <a:cubicBezTo>
                    <a:pt x="148603" y="251039"/>
                    <a:pt x="175307" y="242138"/>
                    <a:pt x="196076" y="227303"/>
                  </a:cubicBezTo>
                  <a:cubicBezTo>
                    <a:pt x="199043" y="227303"/>
                    <a:pt x="204978" y="224336"/>
                    <a:pt x="207944" y="224336"/>
                  </a:cubicBezTo>
                  <a:cubicBezTo>
                    <a:pt x="216846" y="236204"/>
                    <a:pt x="225746" y="248072"/>
                    <a:pt x="243549" y="245105"/>
                  </a:cubicBezTo>
                  <a:cubicBezTo>
                    <a:pt x="252449" y="245105"/>
                    <a:pt x="255417" y="236204"/>
                    <a:pt x="258384" y="236204"/>
                  </a:cubicBezTo>
                  <a:cubicBezTo>
                    <a:pt x="279153" y="227303"/>
                    <a:pt x="291021" y="242138"/>
                    <a:pt x="308824" y="254006"/>
                  </a:cubicBezTo>
                  <a:cubicBezTo>
                    <a:pt x="320692" y="259940"/>
                    <a:pt x="332560" y="262907"/>
                    <a:pt x="344428" y="262907"/>
                  </a:cubicBezTo>
                  <a:cubicBezTo>
                    <a:pt x="347395" y="262907"/>
                    <a:pt x="353329" y="259940"/>
                    <a:pt x="356296" y="262907"/>
                  </a:cubicBezTo>
                  <a:cubicBezTo>
                    <a:pt x="362230" y="259940"/>
                    <a:pt x="365197" y="259940"/>
                    <a:pt x="368164" y="259940"/>
                  </a:cubicBezTo>
                  <a:cubicBezTo>
                    <a:pt x="371131" y="262907"/>
                    <a:pt x="374098" y="262907"/>
                    <a:pt x="377065" y="265874"/>
                  </a:cubicBezTo>
                  <a:cubicBezTo>
                    <a:pt x="380032" y="265874"/>
                    <a:pt x="380032" y="268841"/>
                    <a:pt x="383000" y="271808"/>
                  </a:cubicBezTo>
                  <a:cubicBezTo>
                    <a:pt x="385966" y="271808"/>
                    <a:pt x="385966" y="271808"/>
                    <a:pt x="388933" y="271808"/>
                  </a:cubicBezTo>
                  <a:cubicBezTo>
                    <a:pt x="391900" y="271808"/>
                    <a:pt x="394868" y="274775"/>
                    <a:pt x="394868" y="274775"/>
                  </a:cubicBezTo>
                  <a:cubicBezTo>
                    <a:pt x="397835" y="277742"/>
                    <a:pt x="400801" y="280709"/>
                    <a:pt x="400801" y="283676"/>
                  </a:cubicBezTo>
                  <a:cubicBezTo>
                    <a:pt x="406736" y="292577"/>
                    <a:pt x="409703" y="298511"/>
                    <a:pt x="418603" y="304445"/>
                  </a:cubicBezTo>
                  <a:cubicBezTo>
                    <a:pt x="424538" y="310379"/>
                    <a:pt x="436406" y="313347"/>
                    <a:pt x="445307" y="316314"/>
                  </a:cubicBezTo>
                  <a:cubicBezTo>
                    <a:pt x="460142" y="334116"/>
                    <a:pt x="466076" y="351918"/>
                    <a:pt x="463109" y="369720"/>
                  </a:cubicBezTo>
                  <a:cubicBezTo>
                    <a:pt x="463109" y="369720"/>
                    <a:pt x="466076" y="357852"/>
                    <a:pt x="472011" y="340050"/>
                  </a:cubicBezTo>
                  <a:cubicBezTo>
                    <a:pt x="474977" y="343017"/>
                    <a:pt x="477945" y="343017"/>
                    <a:pt x="480911" y="337083"/>
                  </a:cubicBezTo>
                  <a:cubicBezTo>
                    <a:pt x="498713" y="307413"/>
                    <a:pt x="507615" y="274775"/>
                    <a:pt x="498713" y="242138"/>
                  </a:cubicBezTo>
                  <a:cubicBezTo>
                    <a:pt x="495747" y="227303"/>
                    <a:pt x="486846" y="215434"/>
                    <a:pt x="480911" y="200599"/>
                  </a:cubicBezTo>
                  <a:cubicBezTo>
                    <a:pt x="472011" y="182797"/>
                    <a:pt x="480911" y="182797"/>
                    <a:pt x="483878" y="167962"/>
                  </a:cubicBezTo>
                  <a:cubicBezTo>
                    <a:pt x="486846" y="156094"/>
                    <a:pt x="480911" y="144226"/>
                    <a:pt x="477945" y="132357"/>
                  </a:cubicBezTo>
                  <a:cubicBezTo>
                    <a:pt x="472011" y="123457"/>
                    <a:pt x="466076" y="114555"/>
                    <a:pt x="460142" y="105654"/>
                  </a:cubicBezTo>
                  <a:cubicBezTo>
                    <a:pt x="448274" y="90819"/>
                    <a:pt x="451241" y="78951"/>
                    <a:pt x="445307" y="64116"/>
                  </a:cubicBezTo>
                  <a:cubicBezTo>
                    <a:pt x="433439" y="37412"/>
                    <a:pt x="409703" y="40380"/>
                    <a:pt x="385966" y="40380"/>
                  </a:cubicBezTo>
                  <a:cubicBezTo>
                    <a:pt x="344428" y="40380"/>
                    <a:pt x="308824" y="-10060"/>
                    <a:pt x="264318" y="1808"/>
                  </a:cubicBezTo>
                  <a:cubicBezTo>
                    <a:pt x="258384" y="1808"/>
                    <a:pt x="255417" y="4775"/>
                    <a:pt x="252449" y="7742"/>
                  </a:cubicBezTo>
                  <a:cubicBezTo>
                    <a:pt x="234648" y="16643"/>
                    <a:pt x="216846" y="22577"/>
                    <a:pt x="199043" y="19610"/>
                  </a:cubicBezTo>
                  <a:cubicBezTo>
                    <a:pt x="187175" y="19610"/>
                    <a:pt x="178274" y="16643"/>
                    <a:pt x="166406" y="22577"/>
                  </a:cubicBezTo>
                  <a:cubicBezTo>
                    <a:pt x="151570" y="28511"/>
                    <a:pt x="145637" y="40380"/>
                    <a:pt x="136735" y="52248"/>
                  </a:cubicBezTo>
                  <a:cubicBezTo>
                    <a:pt x="133768" y="58182"/>
                    <a:pt x="127835" y="64116"/>
                    <a:pt x="124867" y="70050"/>
                  </a:cubicBezTo>
                  <a:cubicBezTo>
                    <a:pt x="112999" y="75984"/>
                    <a:pt x="104098" y="84885"/>
                    <a:pt x="95197" y="90819"/>
                  </a:cubicBezTo>
                  <a:cubicBezTo>
                    <a:pt x="95197" y="87852"/>
                    <a:pt x="98164" y="75984"/>
                    <a:pt x="83329" y="87852"/>
                  </a:cubicBezTo>
                  <a:cubicBezTo>
                    <a:pt x="68494" y="96753"/>
                    <a:pt x="65527" y="111588"/>
                    <a:pt x="65527" y="126423"/>
                  </a:cubicBezTo>
                  <a:cubicBezTo>
                    <a:pt x="252" y="147193"/>
                    <a:pt x="-8649" y="233237"/>
                    <a:pt x="6186" y="289610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F8BFA1AC-EDE4-4ADF-8B26-9249DBE271A3}"/>
                </a:ext>
              </a:extLst>
            </p:cNvPr>
            <p:cNvSpPr/>
            <p:nvPr/>
          </p:nvSpPr>
          <p:spPr>
            <a:xfrm>
              <a:off x="17544097" y="8305999"/>
              <a:ext cx="100878" cy="56953"/>
            </a:xfrm>
            <a:custGeom>
              <a:avLst/>
              <a:gdLst>
                <a:gd name="connsiteX0" fmla="*/ 0 w 100878"/>
                <a:gd name="connsiteY0" fmla="*/ 0 h 56953"/>
                <a:gd name="connsiteX1" fmla="*/ 100879 w 100878"/>
                <a:gd name="connsiteY1" fmla="*/ 20769 h 56953"/>
                <a:gd name="connsiteX2" fmla="*/ 41538 w 100878"/>
                <a:gd name="connsiteY2" fmla="*/ 56373 h 56953"/>
                <a:gd name="connsiteX3" fmla="*/ 0 w 100878"/>
                <a:gd name="connsiteY3" fmla="*/ 0 h 56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878" h="56953">
                  <a:moveTo>
                    <a:pt x="0" y="0"/>
                  </a:moveTo>
                  <a:cubicBezTo>
                    <a:pt x="41538" y="23736"/>
                    <a:pt x="100879" y="20769"/>
                    <a:pt x="100879" y="20769"/>
                  </a:cubicBezTo>
                  <a:cubicBezTo>
                    <a:pt x="100879" y="20769"/>
                    <a:pt x="68241" y="62307"/>
                    <a:pt x="41538" y="56373"/>
                  </a:cubicBezTo>
                  <a:cubicBezTo>
                    <a:pt x="14835" y="5340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8" name="图形 1">
              <a:extLst>
                <a:ext uri="{FF2B5EF4-FFF2-40B4-BE49-F238E27FC236}">
                  <a16:creationId xmlns:a16="http://schemas.microsoft.com/office/drawing/2014/main" id="{7E73A092-4CAF-4A3F-8959-9015AD09D599}"/>
                </a:ext>
              </a:extLst>
            </p:cNvPr>
            <p:cNvGrpSpPr/>
            <p:nvPr/>
          </p:nvGrpSpPr>
          <p:grpSpPr>
            <a:xfrm>
              <a:off x="17329137" y="7760095"/>
              <a:ext cx="593086" cy="370848"/>
              <a:chOff x="17329137" y="7760095"/>
              <a:chExt cx="593086" cy="370848"/>
            </a:xfrm>
          </p:grpSpPr>
          <p:grpSp>
            <p:nvGrpSpPr>
              <p:cNvPr id="84" name="图形 1">
                <a:extLst>
                  <a:ext uri="{FF2B5EF4-FFF2-40B4-BE49-F238E27FC236}">
                    <a16:creationId xmlns:a16="http://schemas.microsoft.com/office/drawing/2014/main" id="{52689F93-69FF-4F1D-BED4-152EB4F78AB8}"/>
                  </a:ext>
                </a:extLst>
              </p:cNvPr>
              <p:cNvGrpSpPr/>
              <p:nvPr/>
            </p:nvGrpSpPr>
            <p:grpSpPr>
              <a:xfrm>
                <a:off x="17329137" y="7760095"/>
                <a:ext cx="587058" cy="370848"/>
                <a:chOff x="17329137" y="7760095"/>
                <a:chExt cx="587058" cy="370848"/>
              </a:xfrm>
            </p:grpSpPr>
            <p:sp>
              <p:nvSpPr>
                <p:cNvPr id="86" name="任意多边形: 形状 85">
                  <a:extLst>
                    <a:ext uri="{FF2B5EF4-FFF2-40B4-BE49-F238E27FC236}">
                      <a16:creationId xmlns:a16="http://schemas.microsoft.com/office/drawing/2014/main" id="{7A8B1D8D-6FDE-4E61-B8BA-AB5B290343C2}"/>
                    </a:ext>
                  </a:extLst>
                </p:cNvPr>
                <p:cNvSpPr/>
                <p:nvPr/>
              </p:nvSpPr>
              <p:spPr>
                <a:xfrm>
                  <a:off x="17329137" y="7760095"/>
                  <a:ext cx="479025" cy="370848"/>
                </a:xfrm>
                <a:custGeom>
                  <a:avLst/>
                  <a:gdLst>
                    <a:gd name="connsiteX0" fmla="*/ 96278 w 479025"/>
                    <a:gd name="connsiteY0" fmla="*/ 213596 h 370848"/>
                    <a:gd name="connsiteX1" fmla="*/ 63640 w 479025"/>
                    <a:gd name="connsiteY1" fmla="*/ 370849 h 370848"/>
                    <a:gd name="connsiteX2" fmla="*/ 36937 w 479025"/>
                    <a:gd name="connsiteY2" fmla="*/ 358981 h 370848"/>
                    <a:gd name="connsiteX3" fmla="*/ 120014 w 479025"/>
                    <a:gd name="connsiteY3" fmla="*/ 38541 h 370848"/>
                    <a:gd name="connsiteX4" fmla="*/ 479026 w 479025"/>
                    <a:gd name="connsiteY4" fmla="*/ 127552 h 370848"/>
                    <a:gd name="connsiteX5" fmla="*/ 96278 w 479025"/>
                    <a:gd name="connsiteY5" fmla="*/ 213596 h 370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9025" h="370848">
                      <a:moveTo>
                        <a:pt x="96278" y="213596"/>
                      </a:moveTo>
                      <a:cubicBezTo>
                        <a:pt x="81443" y="228431"/>
                        <a:pt x="63640" y="308541"/>
                        <a:pt x="63640" y="370849"/>
                      </a:cubicBezTo>
                      <a:cubicBezTo>
                        <a:pt x="63640" y="370849"/>
                        <a:pt x="48805" y="361948"/>
                        <a:pt x="36937" y="358981"/>
                      </a:cubicBezTo>
                      <a:cubicBezTo>
                        <a:pt x="-1634" y="296673"/>
                        <a:pt x="-49106" y="142387"/>
                        <a:pt x="120014" y="38541"/>
                      </a:cubicBezTo>
                      <a:cubicBezTo>
                        <a:pt x="265399" y="-50470"/>
                        <a:pt x="413751" y="29640"/>
                        <a:pt x="479026" y="127552"/>
                      </a:cubicBezTo>
                      <a:cubicBezTo>
                        <a:pt x="479026" y="130519"/>
                        <a:pt x="238695" y="65245"/>
                        <a:pt x="96278" y="213596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7" name="任意多边形: 形状 86">
                  <a:extLst>
                    <a:ext uri="{FF2B5EF4-FFF2-40B4-BE49-F238E27FC236}">
                      <a16:creationId xmlns:a16="http://schemas.microsoft.com/office/drawing/2014/main" id="{9919F43D-ED2C-4121-8B5D-BD104A969750}"/>
                    </a:ext>
                  </a:extLst>
                </p:cNvPr>
                <p:cNvSpPr/>
                <p:nvPr/>
              </p:nvSpPr>
              <p:spPr>
                <a:xfrm>
                  <a:off x="17410580" y="7794590"/>
                  <a:ext cx="505615" cy="244376"/>
                </a:xfrm>
                <a:custGeom>
                  <a:avLst/>
                  <a:gdLst>
                    <a:gd name="connsiteX0" fmla="*/ 0 w 505615"/>
                    <a:gd name="connsiteY0" fmla="*/ 193937 h 244376"/>
                    <a:gd name="connsiteX1" fmla="*/ 192857 w 505615"/>
                    <a:gd name="connsiteY1" fmla="*/ 45585 h 244376"/>
                    <a:gd name="connsiteX2" fmla="*/ 501429 w 505615"/>
                    <a:gd name="connsiteY2" fmla="*/ 60420 h 244376"/>
                    <a:gd name="connsiteX3" fmla="*/ 418351 w 505615"/>
                    <a:gd name="connsiteY3" fmla="*/ 244376 h 244376"/>
                    <a:gd name="connsiteX4" fmla="*/ 0 w 505615"/>
                    <a:gd name="connsiteY4" fmla="*/ 193937 h 2443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5615" h="244376">
                      <a:moveTo>
                        <a:pt x="0" y="193937"/>
                      </a:moveTo>
                      <a:cubicBezTo>
                        <a:pt x="0" y="193937"/>
                        <a:pt x="53406" y="110860"/>
                        <a:pt x="192857" y="45585"/>
                      </a:cubicBezTo>
                      <a:cubicBezTo>
                        <a:pt x="338242" y="-25624"/>
                        <a:pt x="471759" y="-7822"/>
                        <a:pt x="501429" y="60420"/>
                      </a:cubicBezTo>
                      <a:cubicBezTo>
                        <a:pt x="528132" y="131629"/>
                        <a:pt x="418351" y="244376"/>
                        <a:pt x="418351" y="244376"/>
                      </a:cubicBezTo>
                      <a:cubicBezTo>
                        <a:pt x="418351" y="244376"/>
                        <a:pt x="258132" y="81189"/>
                        <a:pt x="0" y="193937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8" name="任意多边形: 形状 87">
                  <a:extLst>
                    <a:ext uri="{FF2B5EF4-FFF2-40B4-BE49-F238E27FC236}">
                      <a16:creationId xmlns:a16="http://schemas.microsoft.com/office/drawing/2014/main" id="{604C2015-3DC3-48A3-965A-2F3762C696FC}"/>
                    </a:ext>
                  </a:extLst>
                </p:cNvPr>
                <p:cNvSpPr/>
                <p:nvPr/>
              </p:nvSpPr>
              <p:spPr>
                <a:xfrm>
                  <a:off x="17419481" y="7763032"/>
                  <a:ext cx="56374" cy="53406"/>
                </a:xfrm>
                <a:custGeom>
                  <a:avLst/>
                  <a:gdLst>
                    <a:gd name="connsiteX0" fmla="*/ 0 w 56374"/>
                    <a:gd name="connsiteY0" fmla="*/ 26703 h 53406"/>
                    <a:gd name="connsiteX1" fmla="*/ 26704 w 56374"/>
                    <a:gd name="connsiteY1" fmla="*/ 0 h 53406"/>
                    <a:gd name="connsiteX2" fmla="*/ 56374 w 56374"/>
                    <a:gd name="connsiteY2" fmla="*/ 26703 h 53406"/>
                    <a:gd name="connsiteX3" fmla="*/ 29670 w 56374"/>
                    <a:gd name="connsiteY3" fmla="*/ 53407 h 53406"/>
                    <a:gd name="connsiteX4" fmla="*/ 0 w 56374"/>
                    <a:gd name="connsiteY4" fmla="*/ 26703 h 5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374" h="53406">
                      <a:moveTo>
                        <a:pt x="0" y="26703"/>
                      </a:moveTo>
                      <a:cubicBezTo>
                        <a:pt x="0" y="11868"/>
                        <a:pt x="11869" y="0"/>
                        <a:pt x="26704" y="0"/>
                      </a:cubicBezTo>
                      <a:cubicBezTo>
                        <a:pt x="41539" y="0"/>
                        <a:pt x="56374" y="11868"/>
                        <a:pt x="56374" y="26703"/>
                      </a:cubicBezTo>
                      <a:cubicBezTo>
                        <a:pt x="56374" y="41538"/>
                        <a:pt x="44505" y="53407"/>
                        <a:pt x="29670" y="53407"/>
                      </a:cubicBezTo>
                      <a:cubicBezTo>
                        <a:pt x="11869" y="53407"/>
                        <a:pt x="0" y="41538"/>
                        <a:pt x="0" y="26703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D246C1F7-857D-4A38-98FB-D78E685427B4}"/>
                  </a:ext>
                </a:extLst>
              </p:cNvPr>
              <p:cNvSpPr/>
              <p:nvPr/>
            </p:nvSpPr>
            <p:spPr>
              <a:xfrm>
                <a:off x="17408355" y="7786207"/>
                <a:ext cx="513869" cy="258692"/>
              </a:xfrm>
              <a:custGeom>
                <a:avLst/>
                <a:gdLst>
                  <a:gd name="connsiteX0" fmla="*/ 420576 w 513869"/>
                  <a:gd name="connsiteY0" fmla="*/ 258693 h 258692"/>
                  <a:gd name="connsiteX1" fmla="*/ 417610 w 513869"/>
                  <a:gd name="connsiteY1" fmla="*/ 258693 h 258692"/>
                  <a:gd name="connsiteX2" fmla="*/ 417610 w 513869"/>
                  <a:gd name="connsiteY2" fmla="*/ 249792 h 258692"/>
                  <a:gd name="connsiteX3" fmla="*/ 500687 w 513869"/>
                  <a:gd name="connsiteY3" fmla="*/ 71770 h 258692"/>
                  <a:gd name="connsiteX4" fmla="*/ 328599 w 513869"/>
                  <a:gd name="connsiteY4" fmla="*/ 21330 h 258692"/>
                  <a:gd name="connsiteX5" fmla="*/ 11126 w 513869"/>
                  <a:gd name="connsiteY5" fmla="*/ 205286 h 258692"/>
                  <a:gd name="connsiteX6" fmla="*/ 2225 w 513869"/>
                  <a:gd name="connsiteY6" fmla="*/ 205286 h 258692"/>
                  <a:gd name="connsiteX7" fmla="*/ 2225 w 513869"/>
                  <a:gd name="connsiteY7" fmla="*/ 196385 h 258692"/>
                  <a:gd name="connsiteX8" fmla="*/ 325632 w 513869"/>
                  <a:gd name="connsiteY8" fmla="*/ 6495 h 258692"/>
                  <a:gd name="connsiteX9" fmla="*/ 509587 w 513869"/>
                  <a:gd name="connsiteY9" fmla="*/ 62869 h 258692"/>
                  <a:gd name="connsiteX10" fmla="*/ 426511 w 513869"/>
                  <a:gd name="connsiteY10" fmla="*/ 252759 h 258692"/>
                  <a:gd name="connsiteX11" fmla="*/ 420576 w 513869"/>
                  <a:gd name="connsiteY11" fmla="*/ 258693 h 258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13869" h="258692">
                    <a:moveTo>
                      <a:pt x="420576" y="258693"/>
                    </a:moveTo>
                    <a:cubicBezTo>
                      <a:pt x="420576" y="258693"/>
                      <a:pt x="417610" y="258693"/>
                      <a:pt x="417610" y="258693"/>
                    </a:cubicBezTo>
                    <a:cubicBezTo>
                      <a:pt x="414644" y="255726"/>
                      <a:pt x="414644" y="252759"/>
                      <a:pt x="417610" y="249792"/>
                    </a:cubicBezTo>
                    <a:cubicBezTo>
                      <a:pt x="417610" y="249792"/>
                      <a:pt x="521456" y="125176"/>
                      <a:pt x="500687" y="71770"/>
                    </a:cubicBezTo>
                    <a:cubicBezTo>
                      <a:pt x="471016" y="3528"/>
                      <a:pt x="370137" y="15396"/>
                      <a:pt x="328599" y="21330"/>
                    </a:cubicBezTo>
                    <a:cubicBezTo>
                      <a:pt x="242555" y="36165"/>
                      <a:pt x="112006" y="74737"/>
                      <a:pt x="11126" y="205286"/>
                    </a:cubicBezTo>
                    <a:cubicBezTo>
                      <a:pt x="8160" y="208254"/>
                      <a:pt x="5193" y="208254"/>
                      <a:pt x="2225" y="205286"/>
                    </a:cubicBezTo>
                    <a:cubicBezTo>
                      <a:pt x="-742" y="202320"/>
                      <a:pt x="-742" y="199352"/>
                      <a:pt x="2225" y="196385"/>
                    </a:cubicBezTo>
                    <a:cubicBezTo>
                      <a:pt x="106072" y="59902"/>
                      <a:pt x="236621" y="24298"/>
                      <a:pt x="325632" y="6495"/>
                    </a:cubicBezTo>
                    <a:cubicBezTo>
                      <a:pt x="370137" y="-2406"/>
                      <a:pt x="479917" y="-14274"/>
                      <a:pt x="509587" y="62869"/>
                    </a:cubicBezTo>
                    <a:cubicBezTo>
                      <a:pt x="536291" y="125176"/>
                      <a:pt x="429479" y="249792"/>
                      <a:pt x="426511" y="252759"/>
                    </a:cubicBezTo>
                    <a:cubicBezTo>
                      <a:pt x="423544" y="258693"/>
                      <a:pt x="423544" y="258693"/>
                      <a:pt x="420576" y="25869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FFE8569A-8468-4AB7-8453-D34486A11AD9}"/>
                </a:ext>
              </a:extLst>
            </p:cNvPr>
            <p:cNvSpPr/>
            <p:nvPr/>
          </p:nvSpPr>
          <p:spPr>
            <a:xfrm>
              <a:off x="17586466" y="7931578"/>
              <a:ext cx="245004" cy="124325"/>
            </a:xfrm>
            <a:custGeom>
              <a:avLst/>
              <a:gdLst>
                <a:gd name="connsiteX0" fmla="*/ 239499 w 245004"/>
                <a:gd name="connsiteY0" fmla="*/ 68817 h 124325"/>
                <a:gd name="connsiteX1" fmla="*/ 197961 w 245004"/>
                <a:gd name="connsiteY1" fmla="*/ 27279 h 124325"/>
                <a:gd name="connsiteX2" fmla="*/ 159389 w 245004"/>
                <a:gd name="connsiteY2" fmla="*/ 12443 h 124325"/>
                <a:gd name="connsiteX3" fmla="*/ 114883 w 245004"/>
                <a:gd name="connsiteY3" fmla="*/ 18377 h 124325"/>
                <a:gd name="connsiteX4" fmla="*/ 52576 w 245004"/>
                <a:gd name="connsiteY4" fmla="*/ 575 h 124325"/>
                <a:gd name="connsiteX5" fmla="*/ 5104 w 245004"/>
                <a:gd name="connsiteY5" fmla="*/ 18377 h 124325"/>
                <a:gd name="connsiteX6" fmla="*/ 25872 w 245004"/>
                <a:gd name="connsiteY6" fmla="*/ 39146 h 124325"/>
                <a:gd name="connsiteX7" fmla="*/ 111917 w 245004"/>
                <a:gd name="connsiteY7" fmla="*/ 53982 h 124325"/>
                <a:gd name="connsiteX8" fmla="*/ 120818 w 245004"/>
                <a:gd name="connsiteY8" fmla="*/ 51014 h 124325"/>
                <a:gd name="connsiteX9" fmla="*/ 126752 w 245004"/>
                <a:gd name="connsiteY9" fmla="*/ 59916 h 124325"/>
                <a:gd name="connsiteX10" fmla="*/ 206862 w 245004"/>
                <a:gd name="connsiteY10" fmla="*/ 95520 h 124325"/>
                <a:gd name="connsiteX11" fmla="*/ 209829 w 245004"/>
                <a:gd name="connsiteY11" fmla="*/ 98487 h 124325"/>
                <a:gd name="connsiteX12" fmla="*/ 209829 w 245004"/>
                <a:gd name="connsiteY12" fmla="*/ 101454 h 124325"/>
                <a:gd name="connsiteX13" fmla="*/ 236533 w 245004"/>
                <a:gd name="connsiteY13" fmla="*/ 116290 h 124325"/>
                <a:gd name="connsiteX14" fmla="*/ 242465 w 245004"/>
                <a:gd name="connsiteY14" fmla="*/ 86619 h 124325"/>
                <a:gd name="connsiteX15" fmla="*/ 239499 w 245004"/>
                <a:gd name="connsiteY15" fmla="*/ 68817 h 12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5004" h="124325">
                  <a:moveTo>
                    <a:pt x="239499" y="68817"/>
                  </a:moveTo>
                  <a:cubicBezTo>
                    <a:pt x="248400" y="39146"/>
                    <a:pt x="227630" y="21344"/>
                    <a:pt x="197961" y="27279"/>
                  </a:cubicBezTo>
                  <a:cubicBezTo>
                    <a:pt x="174224" y="33213"/>
                    <a:pt x="183126" y="21344"/>
                    <a:pt x="159389" y="12443"/>
                  </a:cubicBezTo>
                  <a:cubicBezTo>
                    <a:pt x="141587" y="6509"/>
                    <a:pt x="132686" y="15410"/>
                    <a:pt x="114883" y="18377"/>
                  </a:cubicBezTo>
                  <a:cubicBezTo>
                    <a:pt x="94115" y="21344"/>
                    <a:pt x="76312" y="3542"/>
                    <a:pt x="52576" y="575"/>
                  </a:cubicBezTo>
                  <a:cubicBezTo>
                    <a:pt x="34774" y="-2392"/>
                    <a:pt x="19939" y="6509"/>
                    <a:pt x="5104" y="18377"/>
                  </a:cubicBezTo>
                  <a:cubicBezTo>
                    <a:pt x="-9731" y="30245"/>
                    <a:pt x="11037" y="51014"/>
                    <a:pt x="25872" y="39146"/>
                  </a:cubicBezTo>
                  <a:cubicBezTo>
                    <a:pt x="55543" y="15410"/>
                    <a:pt x="82247" y="56949"/>
                    <a:pt x="111917" y="53982"/>
                  </a:cubicBezTo>
                  <a:cubicBezTo>
                    <a:pt x="114883" y="53982"/>
                    <a:pt x="117851" y="51014"/>
                    <a:pt x="120818" y="51014"/>
                  </a:cubicBezTo>
                  <a:cubicBezTo>
                    <a:pt x="120818" y="53982"/>
                    <a:pt x="123785" y="56949"/>
                    <a:pt x="126752" y="59916"/>
                  </a:cubicBezTo>
                  <a:cubicBezTo>
                    <a:pt x="147521" y="71784"/>
                    <a:pt x="183126" y="95520"/>
                    <a:pt x="206862" y="95520"/>
                  </a:cubicBezTo>
                  <a:cubicBezTo>
                    <a:pt x="206862" y="95520"/>
                    <a:pt x="209829" y="95520"/>
                    <a:pt x="209829" y="98487"/>
                  </a:cubicBezTo>
                  <a:cubicBezTo>
                    <a:pt x="209829" y="98487"/>
                    <a:pt x="209829" y="98487"/>
                    <a:pt x="209829" y="101454"/>
                  </a:cubicBezTo>
                  <a:cubicBezTo>
                    <a:pt x="200928" y="119256"/>
                    <a:pt x="227630" y="134091"/>
                    <a:pt x="236533" y="116290"/>
                  </a:cubicBezTo>
                  <a:cubicBezTo>
                    <a:pt x="242465" y="104421"/>
                    <a:pt x="242465" y="101454"/>
                    <a:pt x="242465" y="86619"/>
                  </a:cubicBezTo>
                  <a:cubicBezTo>
                    <a:pt x="248400" y="74751"/>
                    <a:pt x="242465" y="71784"/>
                    <a:pt x="239499" y="68817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4B2376B8-25CD-46C1-BE21-0BBB4D144E52}"/>
                </a:ext>
              </a:extLst>
            </p:cNvPr>
            <p:cNvSpPr/>
            <p:nvPr/>
          </p:nvSpPr>
          <p:spPr>
            <a:xfrm>
              <a:off x="16564433" y="8866768"/>
              <a:ext cx="662190" cy="1059230"/>
            </a:xfrm>
            <a:custGeom>
              <a:avLst/>
              <a:gdLst>
                <a:gd name="connsiteX0" fmla="*/ 570214 w 662190"/>
                <a:gd name="connsiteY0" fmla="*/ 130550 h 1059230"/>
                <a:gd name="connsiteX1" fmla="*/ 270543 w 662190"/>
                <a:gd name="connsiteY1" fmla="*/ 623077 h 1059230"/>
                <a:gd name="connsiteX2" fmla="*/ 662191 w 662190"/>
                <a:gd name="connsiteY2" fmla="*/ 964286 h 1059230"/>
                <a:gd name="connsiteX3" fmla="*/ 534609 w 662190"/>
                <a:gd name="connsiteY3" fmla="*/ 1059231 h 1059230"/>
                <a:gd name="connsiteX4" fmla="*/ 6477 w 662190"/>
                <a:gd name="connsiteY4" fmla="*/ 664616 h 1059230"/>
                <a:gd name="connsiteX5" fmla="*/ 315049 w 662190"/>
                <a:gd name="connsiteY5" fmla="*/ 0 h 1059230"/>
                <a:gd name="connsiteX6" fmla="*/ 570214 w 662190"/>
                <a:gd name="connsiteY6" fmla="*/ 130550 h 105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2190" h="1059230">
                  <a:moveTo>
                    <a:pt x="570214" y="130550"/>
                  </a:moveTo>
                  <a:lnTo>
                    <a:pt x="270543" y="623077"/>
                  </a:lnTo>
                  <a:lnTo>
                    <a:pt x="662191" y="964286"/>
                  </a:lnTo>
                  <a:lnTo>
                    <a:pt x="534609" y="1059231"/>
                  </a:lnTo>
                  <a:cubicBezTo>
                    <a:pt x="534609" y="1059231"/>
                    <a:pt x="65818" y="774395"/>
                    <a:pt x="6477" y="664616"/>
                  </a:cubicBezTo>
                  <a:cubicBezTo>
                    <a:pt x="-52863" y="554835"/>
                    <a:pt x="315049" y="0"/>
                    <a:pt x="315049" y="0"/>
                  </a:cubicBezTo>
                  <a:lnTo>
                    <a:pt x="570214" y="130550"/>
                  </a:ln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997C5986-0AA7-409C-ADDF-F44172BFD2C1}"/>
                </a:ext>
              </a:extLst>
            </p:cNvPr>
            <p:cNvSpPr/>
            <p:nvPr/>
          </p:nvSpPr>
          <p:spPr>
            <a:xfrm>
              <a:off x="16780340" y="8967647"/>
              <a:ext cx="363207" cy="531098"/>
            </a:xfrm>
            <a:custGeom>
              <a:avLst/>
              <a:gdLst>
                <a:gd name="connsiteX0" fmla="*/ 45734 w 363207"/>
                <a:gd name="connsiteY0" fmla="*/ 528132 h 531098"/>
                <a:gd name="connsiteX1" fmla="*/ 4196 w 363207"/>
                <a:gd name="connsiteY1" fmla="*/ 525164 h 531098"/>
                <a:gd name="connsiteX2" fmla="*/ 1229 w 363207"/>
                <a:gd name="connsiteY2" fmla="*/ 519231 h 531098"/>
                <a:gd name="connsiteX3" fmla="*/ 7163 w 363207"/>
                <a:gd name="connsiteY3" fmla="*/ 516264 h 531098"/>
                <a:gd name="connsiteX4" fmla="*/ 54636 w 363207"/>
                <a:gd name="connsiteY4" fmla="*/ 519231 h 531098"/>
                <a:gd name="connsiteX5" fmla="*/ 351339 w 363207"/>
                <a:gd name="connsiteY5" fmla="*/ 2967 h 531098"/>
                <a:gd name="connsiteX6" fmla="*/ 360240 w 363207"/>
                <a:gd name="connsiteY6" fmla="*/ 0 h 531098"/>
                <a:gd name="connsiteX7" fmla="*/ 363207 w 363207"/>
                <a:gd name="connsiteY7" fmla="*/ 8901 h 531098"/>
                <a:gd name="connsiteX8" fmla="*/ 66504 w 363207"/>
                <a:gd name="connsiteY8" fmla="*/ 528132 h 531098"/>
                <a:gd name="connsiteX9" fmla="*/ 63537 w 363207"/>
                <a:gd name="connsiteY9" fmla="*/ 531099 h 531098"/>
                <a:gd name="connsiteX10" fmla="*/ 45734 w 363207"/>
                <a:gd name="connsiteY10" fmla="*/ 528132 h 53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3207" h="531098">
                  <a:moveTo>
                    <a:pt x="45734" y="528132"/>
                  </a:moveTo>
                  <a:cubicBezTo>
                    <a:pt x="33866" y="528132"/>
                    <a:pt x="16064" y="528132"/>
                    <a:pt x="4196" y="525164"/>
                  </a:cubicBezTo>
                  <a:cubicBezTo>
                    <a:pt x="1229" y="525164"/>
                    <a:pt x="-1738" y="522198"/>
                    <a:pt x="1229" y="519231"/>
                  </a:cubicBezTo>
                  <a:cubicBezTo>
                    <a:pt x="1229" y="516264"/>
                    <a:pt x="4196" y="513296"/>
                    <a:pt x="7163" y="516264"/>
                  </a:cubicBezTo>
                  <a:cubicBezTo>
                    <a:pt x="21998" y="519231"/>
                    <a:pt x="45734" y="519231"/>
                    <a:pt x="54636" y="519231"/>
                  </a:cubicBezTo>
                  <a:cubicBezTo>
                    <a:pt x="113976" y="424285"/>
                    <a:pt x="348372" y="5934"/>
                    <a:pt x="351339" y="2967"/>
                  </a:cubicBezTo>
                  <a:cubicBezTo>
                    <a:pt x="354306" y="0"/>
                    <a:pt x="357273" y="0"/>
                    <a:pt x="360240" y="0"/>
                  </a:cubicBezTo>
                  <a:cubicBezTo>
                    <a:pt x="363207" y="0"/>
                    <a:pt x="363207" y="5934"/>
                    <a:pt x="363207" y="8901"/>
                  </a:cubicBezTo>
                  <a:cubicBezTo>
                    <a:pt x="360240" y="11868"/>
                    <a:pt x="122877" y="439121"/>
                    <a:pt x="66504" y="528132"/>
                  </a:cubicBezTo>
                  <a:cubicBezTo>
                    <a:pt x="66504" y="531099"/>
                    <a:pt x="63537" y="531099"/>
                    <a:pt x="63537" y="531099"/>
                  </a:cubicBezTo>
                  <a:cubicBezTo>
                    <a:pt x="54636" y="528132"/>
                    <a:pt x="51669" y="528132"/>
                    <a:pt x="45734" y="528132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E0B26DF6-06CF-439C-946C-E264BD43C001}"/>
                </a:ext>
              </a:extLst>
            </p:cNvPr>
            <p:cNvSpPr/>
            <p:nvPr/>
          </p:nvSpPr>
          <p:spPr>
            <a:xfrm>
              <a:off x="16796404" y="8546644"/>
              <a:ext cx="506002" cy="572322"/>
            </a:xfrm>
            <a:custGeom>
              <a:avLst/>
              <a:gdLst>
                <a:gd name="connsiteX0" fmla="*/ 0 w 506002"/>
                <a:gd name="connsiteY0" fmla="*/ 376498 h 572322"/>
                <a:gd name="connsiteX1" fmla="*/ 453957 w 506002"/>
                <a:gd name="connsiteY1" fmla="*/ 5619 h 572322"/>
                <a:gd name="connsiteX2" fmla="*/ 361978 w 506002"/>
                <a:gd name="connsiteY2" fmla="*/ 572322 h 572322"/>
                <a:gd name="connsiteX3" fmla="*/ 0 w 506002"/>
                <a:gd name="connsiteY3" fmla="*/ 376498 h 572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6002" h="572322">
                  <a:moveTo>
                    <a:pt x="0" y="376498"/>
                  </a:moveTo>
                  <a:cubicBezTo>
                    <a:pt x="0" y="376498"/>
                    <a:pt x="264067" y="-53722"/>
                    <a:pt x="453957" y="5619"/>
                  </a:cubicBezTo>
                  <a:cubicBezTo>
                    <a:pt x="611209" y="59025"/>
                    <a:pt x="361978" y="572322"/>
                    <a:pt x="361978" y="572322"/>
                  </a:cubicBezTo>
                  <a:cubicBezTo>
                    <a:pt x="361978" y="572322"/>
                    <a:pt x="142418" y="527817"/>
                    <a:pt x="0" y="376498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18A0A7FC-36DA-40B5-8C47-3860F843839C}"/>
                </a:ext>
              </a:extLst>
            </p:cNvPr>
            <p:cNvSpPr/>
            <p:nvPr/>
          </p:nvSpPr>
          <p:spPr>
            <a:xfrm>
              <a:off x="17027833" y="8547070"/>
              <a:ext cx="280203" cy="577829"/>
            </a:xfrm>
            <a:custGeom>
              <a:avLst/>
              <a:gdLst>
                <a:gd name="connsiteX0" fmla="*/ 133516 w 280203"/>
                <a:gd name="connsiteY0" fmla="*/ 577830 h 577829"/>
                <a:gd name="connsiteX1" fmla="*/ 130549 w 280203"/>
                <a:gd name="connsiteY1" fmla="*/ 577830 h 577829"/>
                <a:gd name="connsiteX2" fmla="*/ 2967 w 280203"/>
                <a:gd name="connsiteY2" fmla="*/ 536291 h 577829"/>
                <a:gd name="connsiteX3" fmla="*/ 0 w 280203"/>
                <a:gd name="connsiteY3" fmla="*/ 530357 h 577829"/>
                <a:gd name="connsiteX4" fmla="*/ 5934 w 280203"/>
                <a:gd name="connsiteY4" fmla="*/ 527390 h 577829"/>
                <a:gd name="connsiteX5" fmla="*/ 127582 w 280203"/>
                <a:gd name="connsiteY5" fmla="*/ 565962 h 577829"/>
                <a:gd name="connsiteX6" fmla="*/ 249231 w 280203"/>
                <a:gd name="connsiteY6" fmla="*/ 242555 h 577829"/>
                <a:gd name="connsiteX7" fmla="*/ 219560 w 280203"/>
                <a:gd name="connsiteY7" fmla="*/ 11127 h 577829"/>
                <a:gd name="connsiteX8" fmla="*/ 219560 w 280203"/>
                <a:gd name="connsiteY8" fmla="*/ 2225 h 577829"/>
                <a:gd name="connsiteX9" fmla="*/ 228461 w 280203"/>
                <a:gd name="connsiteY9" fmla="*/ 2225 h 577829"/>
                <a:gd name="connsiteX10" fmla="*/ 261099 w 280203"/>
                <a:gd name="connsiteY10" fmla="*/ 245522 h 577829"/>
                <a:gd name="connsiteX11" fmla="*/ 136484 w 280203"/>
                <a:gd name="connsiteY11" fmla="*/ 574863 h 577829"/>
                <a:gd name="connsiteX12" fmla="*/ 133516 w 280203"/>
                <a:gd name="connsiteY12" fmla="*/ 577830 h 577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0203" h="577829">
                  <a:moveTo>
                    <a:pt x="133516" y="577830"/>
                  </a:moveTo>
                  <a:lnTo>
                    <a:pt x="130549" y="577830"/>
                  </a:lnTo>
                  <a:cubicBezTo>
                    <a:pt x="130549" y="577830"/>
                    <a:pt x="59341" y="565962"/>
                    <a:pt x="2967" y="536291"/>
                  </a:cubicBezTo>
                  <a:cubicBezTo>
                    <a:pt x="0" y="536291"/>
                    <a:pt x="0" y="530357"/>
                    <a:pt x="0" y="530357"/>
                  </a:cubicBezTo>
                  <a:cubicBezTo>
                    <a:pt x="0" y="527390"/>
                    <a:pt x="5934" y="527390"/>
                    <a:pt x="5934" y="527390"/>
                  </a:cubicBezTo>
                  <a:cubicBezTo>
                    <a:pt x="53406" y="551127"/>
                    <a:pt x="109780" y="562994"/>
                    <a:pt x="127582" y="565962"/>
                  </a:cubicBezTo>
                  <a:cubicBezTo>
                    <a:pt x="139450" y="539259"/>
                    <a:pt x="198791" y="396841"/>
                    <a:pt x="249231" y="242555"/>
                  </a:cubicBezTo>
                  <a:cubicBezTo>
                    <a:pt x="302637" y="79368"/>
                    <a:pt x="219560" y="11127"/>
                    <a:pt x="219560" y="11127"/>
                  </a:cubicBezTo>
                  <a:cubicBezTo>
                    <a:pt x="216593" y="8159"/>
                    <a:pt x="216593" y="5193"/>
                    <a:pt x="219560" y="2225"/>
                  </a:cubicBezTo>
                  <a:cubicBezTo>
                    <a:pt x="222527" y="-742"/>
                    <a:pt x="225495" y="-742"/>
                    <a:pt x="228461" y="2225"/>
                  </a:cubicBezTo>
                  <a:cubicBezTo>
                    <a:pt x="231428" y="5193"/>
                    <a:pt x="317472" y="73434"/>
                    <a:pt x="261099" y="245522"/>
                  </a:cubicBezTo>
                  <a:cubicBezTo>
                    <a:pt x="204725" y="414643"/>
                    <a:pt x="139450" y="571896"/>
                    <a:pt x="136484" y="574863"/>
                  </a:cubicBezTo>
                  <a:lnTo>
                    <a:pt x="133516" y="577830"/>
                  </a:ln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74296623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B8BF08A5-8DCC-4BA9-98D9-D5C7F6866F00}"/>
              </a:ext>
            </a:extLst>
          </p:cNvPr>
          <p:cNvGrpSpPr/>
          <p:nvPr/>
        </p:nvGrpSpPr>
        <p:grpSpPr>
          <a:xfrm>
            <a:off x="3471431" y="2175447"/>
            <a:ext cx="5106263" cy="4682553"/>
            <a:chOff x="10001899" y="7823532"/>
            <a:chExt cx="5106263" cy="4682553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82E28FFD-432F-48A5-A425-FA6427AD07C0}"/>
                </a:ext>
              </a:extLst>
            </p:cNvPr>
            <p:cNvGrpSpPr/>
            <p:nvPr/>
          </p:nvGrpSpPr>
          <p:grpSpPr>
            <a:xfrm>
              <a:off x="10838272" y="12169076"/>
              <a:ext cx="483956" cy="332307"/>
              <a:chOff x="10838272" y="12169076"/>
              <a:chExt cx="483956" cy="332307"/>
            </a:xfrm>
          </p:grpSpPr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FF55B1CB-EF3B-4389-801A-77717FF9EF26}"/>
                  </a:ext>
                </a:extLst>
              </p:cNvPr>
              <p:cNvSpPr/>
              <p:nvPr/>
            </p:nvSpPr>
            <p:spPr>
              <a:xfrm>
                <a:off x="10856404" y="12169076"/>
                <a:ext cx="175054" cy="216593"/>
              </a:xfrm>
              <a:custGeom>
                <a:avLst/>
                <a:gdLst>
                  <a:gd name="connsiteX0" fmla="*/ 2967 w 175054"/>
                  <a:gd name="connsiteY0" fmla="*/ 178022 h 216593"/>
                  <a:gd name="connsiteX1" fmla="*/ 0 w 175054"/>
                  <a:gd name="connsiteY1" fmla="*/ 0 h 216593"/>
                  <a:gd name="connsiteX2" fmla="*/ 175055 w 175054"/>
                  <a:gd name="connsiteY2" fmla="*/ 0 h 216593"/>
                  <a:gd name="connsiteX3" fmla="*/ 163187 w 175054"/>
                  <a:gd name="connsiteY3" fmla="*/ 189890 h 216593"/>
                  <a:gd name="connsiteX4" fmla="*/ 14835 w 175054"/>
                  <a:gd name="connsiteY4" fmla="*/ 216593 h 216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054" h="216593">
                    <a:moveTo>
                      <a:pt x="2967" y="178022"/>
                    </a:moveTo>
                    <a:lnTo>
                      <a:pt x="0" y="0"/>
                    </a:lnTo>
                    <a:lnTo>
                      <a:pt x="175055" y="0"/>
                    </a:lnTo>
                    <a:lnTo>
                      <a:pt x="163187" y="189890"/>
                    </a:lnTo>
                    <a:lnTo>
                      <a:pt x="14835" y="216593"/>
                    </a:ln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24E465A9-4A70-456D-B9B0-0B9785D4889C}"/>
                  </a:ext>
                </a:extLst>
              </p:cNvPr>
              <p:cNvSpPr/>
              <p:nvPr/>
            </p:nvSpPr>
            <p:spPr>
              <a:xfrm>
                <a:off x="10838272" y="12302592"/>
                <a:ext cx="483955" cy="154286"/>
              </a:xfrm>
              <a:custGeom>
                <a:avLst/>
                <a:gdLst>
                  <a:gd name="connsiteX0" fmla="*/ 9231 w 483955"/>
                  <a:gd name="connsiteY0" fmla="*/ 44505 h 154286"/>
                  <a:gd name="connsiteX1" fmla="*/ 190220 w 483955"/>
                  <a:gd name="connsiteY1" fmla="*/ 0 h 154286"/>
                  <a:gd name="connsiteX2" fmla="*/ 320769 w 483955"/>
                  <a:gd name="connsiteY2" fmla="*/ 77143 h 154286"/>
                  <a:gd name="connsiteX3" fmla="*/ 483956 w 483955"/>
                  <a:gd name="connsiteY3" fmla="*/ 154286 h 154286"/>
                  <a:gd name="connsiteX4" fmla="*/ 9231 w 483955"/>
                  <a:gd name="connsiteY4" fmla="*/ 154286 h 154286"/>
                  <a:gd name="connsiteX5" fmla="*/ 9231 w 483955"/>
                  <a:gd name="connsiteY5" fmla="*/ 44505 h 154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3955" h="154286">
                    <a:moveTo>
                      <a:pt x="9231" y="44505"/>
                    </a:moveTo>
                    <a:cubicBezTo>
                      <a:pt x="9231" y="44505"/>
                      <a:pt x="130879" y="62308"/>
                      <a:pt x="190220" y="0"/>
                    </a:cubicBezTo>
                    <a:cubicBezTo>
                      <a:pt x="190220" y="0"/>
                      <a:pt x="276264" y="68241"/>
                      <a:pt x="320769" y="77143"/>
                    </a:cubicBezTo>
                    <a:cubicBezTo>
                      <a:pt x="365275" y="86044"/>
                      <a:pt x="472088" y="83077"/>
                      <a:pt x="483956" y="154286"/>
                    </a:cubicBezTo>
                    <a:lnTo>
                      <a:pt x="9231" y="154286"/>
                    </a:lnTo>
                    <a:cubicBezTo>
                      <a:pt x="9231" y="154286"/>
                      <a:pt x="-11538" y="94945"/>
                      <a:pt x="9231" y="44505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5691F287-CD67-47E3-ACB0-11631E2A3C9F}"/>
                  </a:ext>
                </a:extLst>
              </p:cNvPr>
              <p:cNvSpPr/>
              <p:nvPr/>
            </p:nvSpPr>
            <p:spPr>
              <a:xfrm>
                <a:off x="10847503" y="12456878"/>
                <a:ext cx="474725" cy="44505"/>
              </a:xfrm>
              <a:custGeom>
                <a:avLst/>
                <a:gdLst>
                  <a:gd name="connsiteX0" fmla="*/ 0 w 474725"/>
                  <a:gd name="connsiteY0" fmla="*/ 0 h 44505"/>
                  <a:gd name="connsiteX1" fmla="*/ 474725 w 474725"/>
                  <a:gd name="connsiteY1" fmla="*/ 0 h 44505"/>
                  <a:gd name="connsiteX2" fmla="*/ 474725 w 474725"/>
                  <a:gd name="connsiteY2" fmla="*/ 44506 h 44505"/>
                  <a:gd name="connsiteX3" fmla="*/ 0 w 474725"/>
                  <a:gd name="connsiteY3" fmla="*/ 44506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725" h="44505">
                    <a:moveTo>
                      <a:pt x="0" y="0"/>
                    </a:moveTo>
                    <a:lnTo>
                      <a:pt x="474725" y="0"/>
                    </a:lnTo>
                    <a:lnTo>
                      <a:pt x="474725" y="44506"/>
                    </a:lnTo>
                    <a:lnTo>
                      <a:pt x="0" y="44506"/>
                    </a:lnTo>
                    <a:close/>
                  </a:path>
                </a:pathLst>
              </a:custGeom>
              <a:solidFill>
                <a:srgbClr val="38333D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3F3DDC19-ACEF-4AF2-8E5E-9ADD02A63955}"/>
                  </a:ext>
                </a:extLst>
              </p:cNvPr>
              <p:cNvSpPr/>
              <p:nvPr/>
            </p:nvSpPr>
            <p:spPr>
              <a:xfrm>
                <a:off x="10838602" y="12294433"/>
                <a:ext cx="195082" cy="61565"/>
              </a:xfrm>
              <a:custGeom>
                <a:avLst/>
                <a:gdLst>
                  <a:gd name="connsiteX0" fmla="*/ 41538 w 195082"/>
                  <a:gd name="connsiteY0" fmla="*/ 61565 h 61565"/>
                  <a:gd name="connsiteX1" fmla="*/ 5934 w 195082"/>
                  <a:gd name="connsiteY1" fmla="*/ 58599 h 61565"/>
                  <a:gd name="connsiteX2" fmla="*/ 0 w 195082"/>
                  <a:gd name="connsiteY2" fmla="*/ 52665 h 61565"/>
                  <a:gd name="connsiteX3" fmla="*/ 5934 w 195082"/>
                  <a:gd name="connsiteY3" fmla="*/ 46730 h 61565"/>
                  <a:gd name="connsiteX4" fmla="*/ 183956 w 195082"/>
                  <a:gd name="connsiteY4" fmla="*/ 2225 h 61565"/>
                  <a:gd name="connsiteX5" fmla="*/ 192857 w 195082"/>
                  <a:gd name="connsiteY5" fmla="*/ 2225 h 61565"/>
                  <a:gd name="connsiteX6" fmla="*/ 192857 w 195082"/>
                  <a:gd name="connsiteY6" fmla="*/ 11126 h 61565"/>
                  <a:gd name="connsiteX7" fmla="*/ 41538 w 195082"/>
                  <a:gd name="connsiteY7" fmla="*/ 61565 h 61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082" h="61565">
                    <a:moveTo>
                      <a:pt x="41538" y="61565"/>
                    </a:moveTo>
                    <a:cubicBezTo>
                      <a:pt x="20770" y="61565"/>
                      <a:pt x="8901" y="58599"/>
                      <a:pt x="5934" y="58599"/>
                    </a:cubicBezTo>
                    <a:cubicBezTo>
                      <a:pt x="2967" y="58599"/>
                      <a:pt x="0" y="55632"/>
                      <a:pt x="0" y="52665"/>
                    </a:cubicBezTo>
                    <a:cubicBezTo>
                      <a:pt x="0" y="49697"/>
                      <a:pt x="2967" y="46730"/>
                      <a:pt x="5934" y="46730"/>
                    </a:cubicBezTo>
                    <a:cubicBezTo>
                      <a:pt x="5934" y="46730"/>
                      <a:pt x="115714" y="61565"/>
                      <a:pt x="183956" y="2225"/>
                    </a:cubicBezTo>
                    <a:cubicBezTo>
                      <a:pt x="186923" y="-742"/>
                      <a:pt x="189890" y="-742"/>
                      <a:pt x="192857" y="2225"/>
                    </a:cubicBezTo>
                    <a:cubicBezTo>
                      <a:pt x="195824" y="5192"/>
                      <a:pt x="195824" y="8159"/>
                      <a:pt x="192857" y="11126"/>
                    </a:cubicBezTo>
                    <a:cubicBezTo>
                      <a:pt x="145384" y="52665"/>
                      <a:pt x="80110" y="61565"/>
                      <a:pt x="41538" y="6156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6925B010-6FB7-489B-B161-CC3879ACA09B}"/>
                  </a:ext>
                </a:extLst>
              </p:cNvPr>
              <p:cNvSpPr/>
              <p:nvPr/>
            </p:nvSpPr>
            <p:spPr>
              <a:xfrm>
                <a:off x="11032201" y="12318169"/>
                <a:ext cx="40054" cy="40796"/>
              </a:xfrm>
              <a:custGeom>
                <a:avLst/>
                <a:gdLst>
                  <a:gd name="connsiteX0" fmla="*/ 5193 w 40054"/>
                  <a:gd name="connsiteY0" fmla="*/ 40796 h 40796"/>
                  <a:gd name="connsiteX1" fmla="*/ 2225 w 40054"/>
                  <a:gd name="connsiteY1" fmla="*/ 37829 h 40796"/>
                  <a:gd name="connsiteX2" fmla="*/ 2225 w 40054"/>
                  <a:gd name="connsiteY2" fmla="*/ 28929 h 40796"/>
                  <a:gd name="connsiteX3" fmla="*/ 28929 w 40054"/>
                  <a:gd name="connsiteY3" fmla="*/ 2225 h 40796"/>
                  <a:gd name="connsiteX4" fmla="*/ 37829 w 40054"/>
                  <a:gd name="connsiteY4" fmla="*/ 2225 h 40796"/>
                  <a:gd name="connsiteX5" fmla="*/ 37829 w 40054"/>
                  <a:gd name="connsiteY5" fmla="*/ 11126 h 40796"/>
                  <a:gd name="connsiteX6" fmla="*/ 11126 w 40054"/>
                  <a:gd name="connsiteY6" fmla="*/ 37829 h 40796"/>
                  <a:gd name="connsiteX7" fmla="*/ 5193 w 40054"/>
                  <a:gd name="connsiteY7" fmla="*/ 40796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4" h="40796">
                    <a:moveTo>
                      <a:pt x="5193" y="40796"/>
                    </a:moveTo>
                    <a:cubicBezTo>
                      <a:pt x="5193" y="40796"/>
                      <a:pt x="2225" y="40796"/>
                      <a:pt x="2225" y="37829"/>
                    </a:cubicBezTo>
                    <a:cubicBezTo>
                      <a:pt x="-742" y="34863"/>
                      <a:pt x="-742" y="31896"/>
                      <a:pt x="2225" y="28929"/>
                    </a:cubicBezTo>
                    <a:lnTo>
                      <a:pt x="28929" y="2225"/>
                    </a:lnTo>
                    <a:cubicBezTo>
                      <a:pt x="31896" y="-742"/>
                      <a:pt x="34863" y="-742"/>
                      <a:pt x="37829" y="2225"/>
                    </a:cubicBezTo>
                    <a:cubicBezTo>
                      <a:pt x="40796" y="5193"/>
                      <a:pt x="40796" y="8159"/>
                      <a:pt x="37829" y="11126"/>
                    </a:cubicBezTo>
                    <a:lnTo>
                      <a:pt x="11126" y="37829"/>
                    </a:lnTo>
                    <a:cubicBezTo>
                      <a:pt x="8159" y="40796"/>
                      <a:pt x="5193" y="40796"/>
                      <a:pt x="5193" y="407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4D47CFCD-BF71-47A5-887E-7E471BE589C1}"/>
                  </a:ext>
                </a:extLst>
              </p:cNvPr>
              <p:cNvSpPr/>
              <p:nvPr/>
            </p:nvSpPr>
            <p:spPr>
              <a:xfrm>
                <a:off x="11067806" y="12344872"/>
                <a:ext cx="37087" cy="40796"/>
              </a:xfrm>
              <a:custGeom>
                <a:avLst/>
                <a:gdLst>
                  <a:gd name="connsiteX0" fmla="*/ 5192 w 37087"/>
                  <a:gd name="connsiteY0" fmla="*/ 40796 h 40796"/>
                  <a:gd name="connsiteX1" fmla="*/ 2225 w 37087"/>
                  <a:gd name="connsiteY1" fmla="*/ 37830 h 40796"/>
                  <a:gd name="connsiteX2" fmla="*/ 2225 w 37087"/>
                  <a:gd name="connsiteY2" fmla="*/ 28929 h 40796"/>
                  <a:gd name="connsiteX3" fmla="*/ 25962 w 37087"/>
                  <a:gd name="connsiteY3" fmla="*/ 2225 h 40796"/>
                  <a:gd name="connsiteX4" fmla="*/ 34862 w 37087"/>
                  <a:gd name="connsiteY4" fmla="*/ 2225 h 40796"/>
                  <a:gd name="connsiteX5" fmla="*/ 34862 w 37087"/>
                  <a:gd name="connsiteY5" fmla="*/ 11126 h 40796"/>
                  <a:gd name="connsiteX6" fmla="*/ 11126 w 37087"/>
                  <a:gd name="connsiteY6" fmla="*/ 37830 h 40796"/>
                  <a:gd name="connsiteX7" fmla="*/ 5192 w 37087"/>
                  <a:gd name="connsiteY7" fmla="*/ 40796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87" h="40796">
                    <a:moveTo>
                      <a:pt x="5192" y="40796"/>
                    </a:moveTo>
                    <a:cubicBezTo>
                      <a:pt x="5192" y="40796"/>
                      <a:pt x="2225" y="40796"/>
                      <a:pt x="2225" y="37830"/>
                    </a:cubicBezTo>
                    <a:cubicBezTo>
                      <a:pt x="-742" y="34863"/>
                      <a:pt x="-742" y="31896"/>
                      <a:pt x="2225" y="28929"/>
                    </a:cubicBezTo>
                    <a:lnTo>
                      <a:pt x="25962" y="2225"/>
                    </a:lnTo>
                    <a:cubicBezTo>
                      <a:pt x="28929" y="-742"/>
                      <a:pt x="31895" y="-742"/>
                      <a:pt x="34862" y="2225"/>
                    </a:cubicBezTo>
                    <a:cubicBezTo>
                      <a:pt x="37829" y="5193"/>
                      <a:pt x="37829" y="8160"/>
                      <a:pt x="34862" y="11126"/>
                    </a:cubicBezTo>
                    <a:lnTo>
                      <a:pt x="11126" y="37830"/>
                    </a:lnTo>
                    <a:cubicBezTo>
                      <a:pt x="8159" y="40796"/>
                      <a:pt x="8159" y="40796"/>
                      <a:pt x="5192" y="407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041E2185-18AC-40C3-AE9C-548716FA1E4F}"/>
                </a:ext>
              </a:extLst>
            </p:cNvPr>
            <p:cNvGrpSpPr/>
            <p:nvPr/>
          </p:nvGrpSpPr>
          <p:grpSpPr>
            <a:xfrm>
              <a:off x="10100800" y="12169076"/>
              <a:ext cx="482637" cy="332307"/>
              <a:chOff x="10100800" y="12169076"/>
              <a:chExt cx="482637" cy="332307"/>
            </a:xfrm>
          </p:grpSpPr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0FD35545-C96C-4298-9AA1-74FCE3533760}"/>
                  </a:ext>
                </a:extLst>
              </p:cNvPr>
              <p:cNvSpPr/>
              <p:nvPr/>
            </p:nvSpPr>
            <p:spPr>
              <a:xfrm>
                <a:off x="10123547" y="12169076"/>
                <a:ext cx="201758" cy="216593"/>
              </a:xfrm>
              <a:custGeom>
                <a:avLst/>
                <a:gdLst>
                  <a:gd name="connsiteX0" fmla="*/ 0 w 201758"/>
                  <a:gd name="connsiteY0" fmla="*/ 178022 h 216593"/>
                  <a:gd name="connsiteX1" fmla="*/ 23736 w 201758"/>
                  <a:gd name="connsiteY1" fmla="*/ 0 h 216593"/>
                  <a:gd name="connsiteX2" fmla="*/ 201759 w 201758"/>
                  <a:gd name="connsiteY2" fmla="*/ 0 h 216593"/>
                  <a:gd name="connsiteX3" fmla="*/ 157253 w 201758"/>
                  <a:gd name="connsiteY3" fmla="*/ 189890 h 216593"/>
                  <a:gd name="connsiteX4" fmla="*/ 11868 w 201758"/>
                  <a:gd name="connsiteY4" fmla="*/ 216593 h 216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1758" h="216593">
                    <a:moveTo>
                      <a:pt x="0" y="178022"/>
                    </a:moveTo>
                    <a:lnTo>
                      <a:pt x="23736" y="0"/>
                    </a:lnTo>
                    <a:lnTo>
                      <a:pt x="201759" y="0"/>
                    </a:lnTo>
                    <a:lnTo>
                      <a:pt x="157253" y="189890"/>
                    </a:lnTo>
                    <a:lnTo>
                      <a:pt x="11868" y="216593"/>
                    </a:ln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1784ADFB-0174-42F0-9983-3D037957DFBC}"/>
                  </a:ext>
                </a:extLst>
              </p:cNvPr>
              <p:cNvSpPr/>
              <p:nvPr/>
            </p:nvSpPr>
            <p:spPr>
              <a:xfrm>
                <a:off x="10100800" y="12302592"/>
                <a:ext cx="482637" cy="154286"/>
              </a:xfrm>
              <a:custGeom>
                <a:avLst/>
                <a:gdLst>
                  <a:gd name="connsiteX0" fmla="*/ 7912 w 482637"/>
                  <a:gd name="connsiteY0" fmla="*/ 44505 h 154286"/>
                  <a:gd name="connsiteX1" fmla="*/ 188901 w 482637"/>
                  <a:gd name="connsiteY1" fmla="*/ 0 h 154286"/>
                  <a:gd name="connsiteX2" fmla="*/ 319450 w 482637"/>
                  <a:gd name="connsiteY2" fmla="*/ 77143 h 154286"/>
                  <a:gd name="connsiteX3" fmla="*/ 482637 w 482637"/>
                  <a:gd name="connsiteY3" fmla="*/ 154286 h 154286"/>
                  <a:gd name="connsiteX4" fmla="*/ 7912 w 482637"/>
                  <a:gd name="connsiteY4" fmla="*/ 154286 h 154286"/>
                  <a:gd name="connsiteX5" fmla="*/ 7912 w 482637"/>
                  <a:gd name="connsiteY5" fmla="*/ 44505 h 154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2637" h="154286">
                    <a:moveTo>
                      <a:pt x="7912" y="44505"/>
                    </a:moveTo>
                    <a:cubicBezTo>
                      <a:pt x="7912" y="44505"/>
                      <a:pt x="129561" y="62308"/>
                      <a:pt x="188901" y="0"/>
                    </a:cubicBezTo>
                    <a:cubicBezTo>
                      <a:pt x="188901" y="0"/>
                      <a:pt x="274945" y="68241"/>
                      <a:pt x="319450" y="77143"/>
                    </a:cubicBezTo>
                    <a:cubicBezTo>
                      <a:pt x="363956" y="86044"/>
                      <a:pt x="470769" y="83077"/>
                      <a:pt x="482637" y="154286"/>
                    </a:cubicBezTo>
                    <a:lnTo>
                      <a:pt x="7912" y="154286"/>
                    </a:lnTo>
                    <a:cubicBezTo>
                      <a:pt x="7912" y="154286"/>
                      <a:pt x="-9890" y="94945"/>
                      <a:pt x="7912" y="44505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AEA9B09E-6853-4DA9-9EFE-C350398564F2}"/>
                  </a:ext>
                </a:extLst>
              </p:cNvPr>
              <p:cNvSpPr/>
              <p:nvPr/>
            </p:nvSpPr>
            <p:spPr>
              <a:xfrm>
                <a:off x="10108712" y="12456878"/>
                <a:ext cx="474725" cy="44505"/>
              </a:xfrm>
              <a:custGeom>
                <a:avLst/>
                <a:gdLst>
                  <a:gd name="connsiteX0" fmla="*/ 0 w 474725"/>
                  <a:gd name="connsiteY0" fmla="*/ 0 h 44505"/>
                  <a:gd name="connsiteX1" fmla="*/ 474725 w 474725"/>
                  <a:gd name="connsiteY1" fmla="*/ 0 h 44505"/>
                  <a:gd name="connsiteX2" fmla="*/ 474725 w 474725"/>
                  <a:gd name="connsiteY2" fmla="*/ 44506 h 44505"/>
                  <a:gd name="connsiteX3" fmla="*/ 0 w 474725"/>
                  <a:gd name="connsiteY3" fmla="*/ 44506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725" h="44505">
                    <a:moveTo>
                      <a:pt x="0" y="0"/>
                    </a:moveTo>
                    <a:lnTo>
                      <a:pt x="474725" y="0"/>
                    </a:lnTo>
                    <a:lnTo>
                      <a:pt x="474725" y="44506"/>
                    </a:lnTo>
                    <a:lnTo>
                      <a:pt x="0" y="44506"/>
                    </a:lnTo>
                    <a:close/>
                  </a:path>
                </a:pathLst>
              </a:custGeom>
              <a:solidFill>
                <a:srgbClr val="38333D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BC3D86B0-019E-4B23-8584-D1628B90B8AC}"/>
                  </a:ext>
                </a:extLst>
              </p:cNvPr>
              <p:cNvSpPr/>
              <p:nvPr/>
            </p:nvSpPr>
            <p:spPr>
              <a:xfrm>
                <a:off x="10102778" y="12294433"/>
                <a:ext cx="195082" cy="61565"/>
              </a:xfrm>
              <a:custGeom>
                <a:avLst/>
                <a:gdLst>
                  <a:gd name="connsiteX0" fmla="*/ 41539 w 195082"/>
                  <a:gd name="connsiteY0" fmla="*/ 61565 h 61565"/>
                  <a:gd name="connsiteX1" fmla="*/ 5934 w 195082"/>
                  <a:gd name="connsiteY1" fmla="*/ 58599 h 61565"/>
                  <a:gd name="connsiteX2" fmla="*/ 0 w 195082"/>
                  <a:gd name="connsiteY2" fmla="*/ 52665 h 61565"/>
                  <a:gd name="connsiteX3" fmla="*/ 5934 w 195082"/>
                  <a:gd name="connsiteY3" fmla="*/ 46730 h 61565"/>
                  <a:gd name="connsiteX4" fmla="*/ 183956 w 195082"/>
                  <a:gd name="connsiteY4" fmla="*/ 2225 h 61565"/>
                  <a:gd name="connsiteX5" fmla="*/ 192858 w 195082"/>
                  <a:gd name="connsiteY5" fmla="*/ 2225 h 61565"/>
                  <a:gd name="connsiteX6" fmla="*/ 192858 w 195082"/>
                  <a:gd name="connsiteY6" fmla="*/ 11126 h 61565"/>
                  <a:gd name="connsiteX7" fmla="*/ 41539 w 195082"/>
                  <a:gd name="connsiteY7" fmla="*/ 61565 h 61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082" h="61565">
                    <a:moveTo>
                      <a:pt x="41539" y="61565"/>
                    </a:moveTo>
                    <a:cubicBezTo>
                      <a:pt x="20769" y="61565"/>
                      <a:pt x="8901" y="58599"/>
                      <a:pt x="5934" y="58599"/>
                    </a:cubicBezTo>
                    <a:cubicBezTo>
                      <a:pt x="2967" y="58599"/>
                      <a:pt x="0" y="55632"/>
                      <a:pt x="0" y="52665"/>
                    </a:cubicBezTo>
                    <a:cubicBezTo>
                      <a:pt x="0" y="49697"/>
                      <a:pt x="2967" y="46730"/>
                      <a:pt x="5934" y="46730"/>
                    </a:cubicBezTo>
                    <a:cubicBezTo>
                      <a:pt x="5934" y="46730"/>
                      <a:pt x="115715" y="61565"/>
                      <a:pt x="183956" y="2225"/>
                    </a:cubicBezTo>
                    <a:cubicBezTo>
                      <a:pt x="186923" y="-742"/>
                      <a:pt x="189890" y="-742"/>
                      <a:pt x="192858" y="2225"/>
                    </a:cubicBezTo>
                    <a:cubicBezTo>
                      <a:pt x="195824" y="5192"/>
                      <a:pt x="195824" y="8159"/>
                      <a:pt x="192858" y="11126"/>
                    </a:cubicBezTo>
                    <a:cubicBezTo>
                      <a:pt x="145385" y="52665"/>
                      <a:pt x="80110" y="61565"/>
                      <a:pt x="41539" y="6156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4FDA1D2D-5690-46A4-A10A-A60FF073E9B1}"/>
                  </a:ext>
                </a:extLst>
              </p:cNvPr>
              <p:cNvSpPr/>
              <p:nvPr/>
            </p:nvSpPr>
            <p:spPr>
              <a:xfrm>
                <a:off x="10293410" y="12318169"/>
                <a:ext cx="40054" cy="40796"/>
              </a:xfrm>
              <a:custGeom>
                <a:avLst/>
                <a:gdLst>
                  <a:gd name="connsiteX0" fmla="*/ 5192 w 40054"/>
                  <a:gd name="connsiteY0" fmla="*/ 40796 h 40796"/>
                  <a:gd name="connsiteX1" fmla="*/ 2225 w 40054"/>
                  <a:gd name="connsiteY1" fmla="*/ 37829 h 40796"/>
                  <a:gd name="connsiteX2" fmla="*/ 2225 w 40054"/>
                  <a:gd name="connsiteY2" fmla="*/ 28929 h 40796"/>
                  <a:gd name="connsiteX3" fmla="*/ 28929 w 40054"/>
                  <a:gd name="connsiteY3" fmla="*/ 2225 h 40796"/>
                  <a:gd name="connsiteX4" fmla="*/ 37829 w 40054"/>
                  <a:gd name="connsiteY4" fmla="*/ 2225 h 40796"/>
                  <a:gd name="connsiteX5" fmla="*/ 37829 w 40054"/>
                  <a:gd name="connsiteY5" fmla="*/ 11126 h 40796"/>
                  <a:gd name="connsiteX6" fmla="*/ 11126 w 40054"/>
                  <a:gd name="connsiteY6" fmla="*/ 37829 h 40796"/>
                  <a:gd name="connsiteX7" fmla="*/ 5192 w 40054"/>
                  <a:gd name="connsiteY7" fmla="*/ 40796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4" h="40796">
                    <a:moveTo>
                      <a:pt x="5192" y="40796"/>
                    </a:moveTo>
                    <a:cubicBezTo>
                      <a:pt x="5192" y="40796"/>
                      <a:pt x="2225" y="40796"/>
                      <a:pt x="2225" y="37829"/>
                    </a:cubicBezTo>
                    <a:cubicBezTo>
                      <a:pt x="-742" y="34863"/>
                      <a:pt x="-742" y="31896"/>
                      <a:pt x="2225" y="28929"/>
                    </a:cubicBezTo>
                    <a:lnTo>
                      <a:pt x="28929" y="2225"/>
                    </a:lnTo>
                    <a:cubicBezTo>
                      <a:pt x="31896" y="-742"/>
                      <a:pt x="34862" y="-742"/>
                      <a:pt x="37829" y="2225"/>
                    </a:cubicBezTo>
                    <a:cubicBezTo>
                      <a:pt x="40796" y="5193"/>
                      <a:pt x="40796" y="8159"/>
                      <a:pt x="37829" y="11126"/>
                    </a:cubicBezTo>
                    <a:lnTo>
                      <a:pt x="11126" y="37829"/>
                    </a:lnTo>
                    <a:cubicBezTo>
                      <a:pt x="8159" y="40796"/>
                      <a:pt x="8159" y="40796"/>
                      <a:pt x="5192" y="407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7336BB40-266E-46D6-91AC-FF5CD07232EF}"/>
                  </a:ext>
                </a:extLst>
              </p:cNvPr>
              <p:cNvSpPr/>
              <p:nvPr/>
            </p:nvSpPr>
            <p:spPr>
              <a:xfrm>
                <a:off x="10331981" y="12344872"/>
                <a:ext cx="40054" cy="40796"/>
              </a:xfrm>
              <a:custGeom>
                <a:avLst/>
                <a:gdLst>
                  <a:gd name="connsiteX0" fmla="*/ 5193 w 40054"/>
                  <a:gd name="connsiteY0" fmla="*/ 40796 h 40796"/>
                  <a:gd name="connsiteX1" fmla="*/ 2225 w 40054"/>
                  <a:gd name="connsiteY1" fmla="*/ 37830 h 40796"/>
                  <a:gd name="connsiteX2" fmla="*/ 2225 w 40054"/>
                  <a:gd name="connsiteY2" fmla="*/ 28929 h 40796"/>
                  <a:gd name="connsiteX3" fmla="*/ 28929 w 40054"/>
                  <a:gd name="connsiteY3" fmla="*/ 2225 h 40796"/>
                  <a:gd name="connsiteX4" fmla="*/ 37830 w 40054"/>
                  <a:gd name="connsiteY4" fmla="*/ 2225 h 40796"/>
                  <a:gd name="connsiteX5" fmla="*/ 37830 w 40054"/>
                  <a:gd name="connsiteY5" fmla="*/ 11126 h 40796"/>
                  <a:gd name="connsiteX6" fmla="*/ 11126 w 40054"/>
                  <a:gd name="connsiteY6" fmla="*/ 37830 h 40796"/>
                  <a:gd name="connsiteX7" fmla="*/ 5193 w 40054"/>
                  <a:gd name="connsiteY7" fmla="*/ 40796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4" h="40796">
                    <a:moveTo>
                      <a:pt x="5193" y="40796"/>
                    </a:moveTo>
                    <a:cubicBezTo>
                      <a:pt x="5193" y="40796"/>
                      <a:pt x="2225" y="40796"/>
                      <a:pt x="2225" y="37830"/>
                    </a:cubicBezTo>
                    <a:cubicBezTo>
                      <a:pt x="-742" y="34863"/>
                      <a:pt x="-742" y="31896"/>
                      <a:pt x="2225" y="28929"/>
                    </a:cubicBezTo>
                    <a:lnTo>
                      <a:pt x="28929" y="2225"/>
                    </a:lnTo>
                    <a:cubicBezTo>
                      <a:pt x="31896" y="-742"/>
                      <a:pt x="34863" y="-742"/>
                      <a:pt x="37830" y="2225"/>
                    </a:cubicBezTo>
                    <a:cubicBezTo>
                      <a:pt x="40796" y="5193"/>
                      <a:pt x="40796" y="8160"/>
                      <a:pt x="37830" y="11126"/>
                    </a:cubicBezTo>
                    <a:lnTo>
                      <a:pt x="11126" y="37830"/>
                    </a:lnTo>
                    <a:cubicBezTo>
                      <a:pt x="8160" y="40796"/>
                      <a:pt x="5193" y="40796"/>
                      <a:pt x="5193" y="407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6594291B-2F6E-4040-BAF7-367EDCF8C90A}"/>
                </a:ext>
              </a:extLst>
            </p:cNvPr>
            <p:cNvSpPr/>
            <p:nvPr/>
          </p:nvSpPr>
          <p:spPr>
            <a:xfrm>
              <a:off x="10099811" y="10012043"/>
              <a:ext cx="1065535" cy="2234176"/>
            </a:xfrm>
            <a:custGeom>
              <a:avLst/>
              <a:gdLst>
                <a:gd name="connsiteX0" fmla="*/ 1035494 w 1065535"/>
                <a:gd name="connsiteY0" fmla="*/ 20770 h 2234176"/>
                <a:gd name="connsiteX1" fmla="*/ 1053297 w 1065535"/>
                <a:gd name="connsiteY1" fmla="*/ 1367802 h 2234176"/>
                <a:gd name="connsiteX2" fmla="*/ 985054 w 1065535"/>
                <a:gd name="connsiteY2" fmla="*/ 2234176 h 2234176"/>
                <a:gd name="connsiteX3" fmla="*/ 697253 w 1065535"/>
                <a:gd name="connsiteY3" fmla="*/ 2234176 h 2234176"/>
                <a:gd name="connsiteX4" fmla="*/ 661648 w 1065535"/>
                <a:gd name="connsiteY4" fmla="*/ 1391539 h 2234176"/>
                <a:gd name="connsiteX5" fmla="*/ 551868 w 1065535"/>
                <a:gd name="connsiteY5" fmla="*/ 489560 h 2234176"/>
                <a:gd name="connsiteX6" fmla="*/ 448022 w 1065535"/>
                <a:gd name="connsiteY6" fmla="*/ 1382638 h 2234176"/>
                <a:gd name="connsiteX7" fmla="*/ 278901 w 1065535"/>
                <a:gd name="connsiteY7" fmla="*/ 2213407 h 2234176"/>
                <a:gd name="connsiteX8" fmla="*/ 0 w 1065535"/>
                <a:gd name="connsiteY8" fmla="*/ 2222309 h 2234176"/>
                <a:gd name="connsiteX9" fmla="*/ 59341 w 1065535"/>
                <a:gd name="connsiteY9" fmla="*/ 1364835 h 2234176"/>
                <a:gd name="connsiteX10" fmla="*/ 41538 w 1065535"/>
                <a:gd name="connsiteY10" fmla="*/ 0 h 2234176"/>
                <a:gd name="connsiteX11" fmla="*/ 1035494 w 1065535"/>
                <a:gd name="connsiteY11" fmla="*/ 20770 h 223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65535" h="2234176">
                  <a:moveTo>
                    <a:pt x="1035494" y="20770"/>
                  </a:moveTo>
                  <a:cubicBezTo>
                    <a:pt x="1035494" y="20770"/>
                    <a:pt x="1088901" y="1065166"/>
                    <a:pt x="1053297" y="1367802"/>
                  </a:cubicBezTo>
                  <a:cubicBezTo>
                    <a:pt x="1023626" y="1631868"/>
                    <a:pt x="985054" y="2234176"/>
                    <a:pt x="985054" y="2234176"/>
                  </a:cubicBezTo>
                  <a:lnTo>
                    <a:pt x="697253" y="2234176"/>
                  </a:lnTo>
                  <a:cubicBezTo>
                    <a:pt x="697253" y="2234176"/>
                    <a:pt x="664615" y="1486484"/>
                    <a:pt x="661648" y="1391539"/>
                  </a:cubicBezTo>
                  <a:cubicBezTo>
                    <a:pt x="655715" y="1255056"/>
                    <a:pt x="566704" y="519231"/>
                    <a:pt x="551868" y="489560"/>
                  </a:cubicBezTo>
                  <a:cubicBezTo>
                    <a:pt x="537033" y="459890"/>
                    <a:pt x="448022" y="1382638"/>
                    <a:pt x="448022" y="1382638"/>
                  </a:cubicBezTo>
                  <a:lnTo>
                    <a:pt x="278901" y="2213407"/>
                  </a:lnTo>
                  <a:lnTo>
                    <a:pt x="0" y="2222309"/>
                  </a:lnTo>
                  <a:cubicBezTo>
                    <a:pt x="0" y="2222309"/>
                    <a:pt x="62307" y="1459781"/>
                    <a:pt x="59341" y="1364835"/>
                  </a:cubicBezTo>
                  <a:cubicBezTo>
                    <a:pt x="50439" y="1216484"/>
                    <a:pt x="0" y="94945"/>
                    <a:pt x="41538" y="0"/>
                  </a:cubicBezTo>
                  <a:cubicBezTo>
                    <a:pt x="720989" y="32638"/>
                    <a:pt x="1035494" y="20770"/>
                    <a:pt x="1035494" y="20770"/>
                  </a:cubicBezTo>
                  <a:close/>
                </a:path>
              </a:pathLst>
            </a:custGeom>
            <a:solidFill>
              <a:srgbClr val="7F95BC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99039776-370C-4F9D-BE99-A9A6A6B7F74A}"/>
                </a:ext>
              </a:extLst>
            </p:cNvPr>
            <p:cNvSpPr/>
            <p:nvPr/>
          </p:nvSpPr>
          <p:spPr>
            <a:xfrm>
              <a:off x="10648712" y="10154461"/>
              <a:ext cx="68241" cy="356043"/>
            </a:xfrm>
            <a:custGeom>
              <a:avLst/>
              <a:gdLst>
                <a:gd name="connsiteX0" fmla="*/ 5934 w 68241"/>
                <a:gd name="connsiteY0" fmla="*/ 356044 h 356043"/>
                <a:gd name="connsiteX1" fmla="*/ 5934 w 68241"/>
                <a:gd name="connsiteY1" fmla="*/ 356044 h 356043"/>
                <a:gd name="connsiteX2" fmla="*/ 0 w 68241"/>
                <a:gd name="connsiteY2" fmla="*/ 347142 h 356043"/>
                <a:gd name="connsiteX3" fmla="*/ 56373 w 68241"/>
                <a:gd name="connsiteY3" fmla="*/ 5934 h 356043"/>
                <a:gd name="connsiteX4" fmla="*/ 62308 w 68241"/>
                <a:gd name="connsiteY4" fmla="*/ 0 h 356043"/>
                <a:gd name="connsiteX5" fmla="*/ 68241 w 68241"/>
                <a:gd name="connsiteY5" fmla="*/ 5934 h 356043"/>
                <a:gd name="connsiteX6" fmla="*/ 11868 w 68241"/>
                <a:gd name="connsiteY6" fmla="*/ 350110 h 356043"/>
                <a:gd name="connsiteX7" fmla="*/ 5934 w 68241"/>
                <a:gd name="connsiteY7" fmla="*/ 356044 h 356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241" h="356043">
                  <a:moveTo>
                    <a:pt x="5934" y="356044"/>
                  </a:moveTo>
                  <a:cubicBezTo>
                    <a:pt x="2967" y="356044"/>
                    <a:pt x="2967" y="356044"/>
                    <a:pt x="5934" y="356044"/>
                  </a:cubicBezTo>
                  <a:cubicBezTo>
                    <a:pt x="0" y="353077"/>
                    <a:pt x="0" y="350110"/>
                    <a:pt x="0" y="347142"/>
                  </a:cubicBezTo>
                  <a:cubicBezTo>
                    <a:pt x="47473" y="237363"/>
                    <a:pt x="56373" y="8901"/>
                    <a:pt x="56373" y="5934"/>
                  </a:cubicBezTo>
                  <a:cubicBezTo>
                    <a:pt x="56373" y="2967"/>
                    <a:pt x="59341" y="0"/>
                    <a:pt x="62308" y="0"/>
                  </a:cubicBezTo>
                  <a:cubicBezTo>
                    <a:pt x="65274" y="0"/>
                    <a:pt x="68241" y="2967"/>
                    <a:pt x="68241" y="5934"/>
                  </a:cubicBezTo>
                  <a:cubicBezTo>
                    <a:pt x="68241" y="14835"/>
                    <a:pt x="59341" y="237363"/>
                    <a:pt x="11868" y="350110"/>
                  </a:cubicBezTo>
                  <a:cubicBezTo>
                    <a:pt x="8901" y="353077"/>
                    <a:pt x="5934" y="356044"/>
                    <a:pt x="5934" y="356044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A6BA7B78-C6F1-40BA-87DF-1E6106D48C52}"/>
                </a:ext>
              </a:extLst>
            </p:cNvPr>
            <p:cNvSpPr/>
            <p:nvPr/>
          </p:nvSpPr>
          <p:spPr>
            <a:xfrm>
              <a:off x="10674186" y="10086218"/>
              <a:ext cx="152547" cy="347143"/>
            </a:xfrm>
            <a:custGeom>
              <a:avLst/>
              <a:gdLst>
                <a:gd name="connsiteX0" fmla="*/ 7163 w 152547"/>
                <a:gd name="connsiteY0" fmla="*/ 347143 h 347143"/>
                <a:gd name="connsiteX1" fmla="*/ 1229 w 152547"/>
                <a:gd name="connsiteY1" fmla="*/ 344176 h 347143"/>
                <a:gd name="connsiteX2" fmla="*/ 4196 w 152547"/>
                <a:gd name="connsiteY2" fmla="*/ 335275 h 347143"/>
                <a:gd name="connsiteX3" fmla="*/ 108042 w 152547"/>
                <a:gd name="connsiteY3" fmla="*/ 261099 h 347143"/>
                <a:gd name="connsiteX4" fmla="*/ 140680 w 152547"/>
                <a:gd name="connsiteY4" fmla="*/ 5934 h 347143"/>
                <a:gd name="connsiteX5" fmla="*/ 146614 w 152547"/>
                <a:gd name="connsiteY5" fmla="*/ 0 h 347143"/>
                <a:gd name="connsiteX6" fmla="*/ 152548 w 152547"/>
                <a:gd name="connsiteY6" fmla="*/ 5934 h 347143"/>
                <a:gd name="connsiteX7" fmla="*/ 119910 w 152547"/>
                <a:gd name="connsiteY7" fmla="*/ 267033 h 347143"/>
                <a:gd name="connsiteX8" fmla="*/ 13097 w 152547"/>
                <a:gd name="connsiteY8" fmla="*/ 344176 h 347143"/>
                <a:gd name="connsiteX9" fmla="*/ 7163 w 152547"/>
                <a:gd name="connsiteY9" fmla="*/ 347143 h 34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547" h="347143">
                  <a:moveTo>
                    <a:pt x="7163" y="347143"/>
                  </a:moveTo>
                  <a:cubicBezTo>
                    <a:pt x="4196" y="347143"/>
                    <a:pt x="4196" y="347143"/>
                    <a:pt x="1229" y="344176"/>
                  </a:cubicBezTo>
                  <a:cubicBezTo>
                    <a:pt x="-1738" y="341209"/>
                    <a:pt x="1229" y="338242"/>
                    <a:pt x="4196" y="335275"/>
                  </a:cubicBezTo>
                  <a:cubicBezTo>
                    <a:pt x="42767" y="311538"/>
                    <a:pt x="99141" y="270000"/>
                    <a:pt x="108042" y="261099"/>
                  </a:cubicBezTo>
                  <a:cubicBezTo>
                    <a:pt x="116943" y="249232"/>
                    <a:pt x="131778" y="97913"/>
                    <a:pt x="140680" y="5934"/>
                  </a:cubicBezTo>
                  <a:cubicBezTo>
                    <a:pt x="140680" y="2967"/>
                    <a:pt x="143646" y="0"/>
                    <a:pt x="146614" y="0"/>
                  </a:cubicBezTo>
                  <a:cubicBezTo>
                    <a:pt x="149581" y="0"/>
                    <a:pt x="152548" y="2967"/>
                    <a:pt x="152548" y="5934"/>
                  </a:cubicBezTo>
                  <a:cubicBezTo>
                    <a:pt x="149581" y="47473"/>
                    <a:pt x="128811" y="252198"/>
                    <a:pt x="119910" y="267033"/>
                  </a:cubicBezTo>
                  <a:cubicBezTo>
                    <a:pt x="108042" y="281868"/>
                    <a:pt x="21999" y="338242"/>
                    <a:pt x="13097" y="344176"/>
                  </a:cubicBezTo>
                  <a:cubicBezTo>
                    <a:pt x="10130" y="347143"/>
                    <a:pt x="10130" y="347143"/>
                    <a:pt x="7163" y="347143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FB2F3ED5-A797-40E3-AE5D-CB2A46786478}"/>
                </a:ext>
              </a:extLst>
            </p:cNvPr>
            <p:cNvSpPr/>
            <p:nvPr/>
          </p:nvSpPr>
          <p:spPr>
            <a:xfrm>
              <a:off x="11404633" y="8730285"/>
              <a:ext cx="499133" cy="278900"/>
            </a:xfrm>
            <a:custGeom>
              <a:avLst/>
              <a:gdLst>
                <a:gd name="connsiteX0" fmla="*/ 427925 w 499133"/>
                <a:gd name="connsiteY0" fmla="*/ 0 h 278900"/>
                <a:gd name="connsiteX1" fmla="*/ 3639 w 499133"/>
                <a:gd name="connsiteY1" fmla="*/ 142417 h 278900"/>
                <a:gd name="connsiteX2" fmla="*/ 205397 w 499133"/>
                <a:gd name="connsiteY2" fmla="*/ 278901 h 278900"/>
                <a:gd name="connsiteX3" fmla="*/ 499133 w 499133"/>
                <a:gd name="connsiteY3" fmla="*/ 207692 h 278900"/>
                <a:gd name="connsiteX4" fmla="*/ 427925 w 499133"/>
                <a:gd name="connsiteY4" fmla="*/ 0 h 27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9133" h="278900">
                  <a:moveTo>
                    <a:pt x="427925" y="0"/>
                  </a:moveTo>
                  <a:cubicBezTo>
                    <a:pt x="427925" y="0"/>
                    <a:pt x="39243" y="103846"/>
                    <a:pt x="3639" y="142417"/>
                  </a:cubicBezTo>
                  <a:cubicBezTo>
                    <a:pt x="-31965" y="180989"/>
                    <a:pt x="205397" y="278901"/>
                    <a:pt x="205397" y="278901"/>
                  </a:cubicBezTo>
                  <a:lnTo>
                    <a:pt x="499133" y="207692"/>
                  </a:lnTo>
                  <a:lnTo>
                    <a:pt x="427925" y="0"/>
                  </a:ln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473B977A-90D8-4BB6-AC3C-0E4F778998C7}"/>
                </a:ext>
              </a:extLst>
            </p:cNvPr>
            <p:cNvSpPr/>
            <p:nvPr/>
          </p:nvSpPr>
          <p:spPr>
            <a:xfrm>
              <a:off x="13666926" y="8163378"/>
              <a:ext cx="462650" cy="780247"/>
            </a:xfrm>
            <a:custGeom>
              <a:avLst/>
              <a:gdLst>
                <a:gd name="connsiteX0" fmla="*/ 8159 w 462650"/>
                <a:gd name="connsiteY0" fmla="*/ 741962 h 780247"/>
                <a:gd name="connsiteX1" fmla="*/ 227720 w 462650"/>
                <a:gd name="connsiteY1" fmla="*/ 753830 h 780247"/>
                <a:gd name="connsiteX2" fmla="*/ 310796 w 462650"/>
                <a:gd name="connsiteY2" fmla="*/ 552072 h 780247"/>
                <a:gd name="connsiteX3" fmla="*/ 393874 w 462650"/>
                <a:gd name="connsiteY3" fmla="*/ 593610 h 780247"/>
                <a:gd name="connsiteX4" fmla="*/ 346401 w 462650"/>
                <a:gd name="connsiteY4" fmla="*/ 335479 h 780247"/>
                <a:gd name="connsiteX5" fmla="*/ 393874 w 462650"/>
                <a:gd name="connsiteY5" fmla="*/ 196028 h 780247"/>
                <a:gd name="connsiteX6" fmla="*/ 420577 w 462650"/>
                <a:gd name="connsiteY6" fmla="*/ 118885 h 780247"/>
                <a:gd name="connsiteX7" fmla="*/ 456182 w 462650"/>
                <a:gd name="connsiteY7" fmla="*/ 101083 h 780247"/>
                <a:gd name="connsiteX8" fmla="*/ 450247 w 462650"/>
                <a:gd name="connsiteY8" fmla="*/ 74380 h 780247"/>
                <a:gd name="connsiteX9" fmla="*/ 310796 w 462650"/>
                <a:gd name="connsiteY9" fmla="*/ 204 h 780247"/>
                <a:gd name="connsiteX10" fmla="*/ 248489 w 462650"/>
                <a:gd name="connsiteY10" fmla="*/ 23940 h 780247"/>
                <a:gd name="connsiteX11" fmla="*/ 227720 w 462650"/>
                <a:gd name="connsiteY11" fmla="*/ 50643 h 780247"/>
                <a:gd name="connsiteX12" fmla="*/ 132774 w 462650"/>
                <a:gd name="connsiteY12" fmla="*/ 145588 h 780247"/>
                <a:gd name="connsiteX13" fmla="*/ 79368 w 462650"/>
                <a:gd name="connsiteY13" fmla="*/ 237566 h 780247"/>
                <a:gd name="connsiteX14" fmla="*/ 85303 w 462650"/>
                <a:gd name="connsiteY14" fmla="*/ 252402 h 780247"/>
                <a:gd name="connsiteX15" fmla="*/ 67500 w 462650"/>
                <a:gd name="connsiteY15" fmla="*/ 338445 h 780247"/>
                <a:gd name="connsiteX16" fmla="*/ 46731 w 462650"/>
                <a:gd name="connsiteY16" fmla="*/ 460094 h 780247"/>
                <a:gd name="connsiteX17" fmla="*/ 22995 w 462650"/>
                <a:gd name="connsiteY17" fmla="*/ 578775 h 780247"/>
                <a:gd name="connsiteX18" fmla="*/ 17060 w 462650"/>
                <a:gd name="connsiteY18" fmla="*/ 667786 h 780247"/>
                <a:gd name="connsiteX19" fmla="*/ 5192 w 462650"/>
                <a:gd name="connsiteY19" fmla="*/ 694489 h 780247"/>
                <a:gd name="connsiteX20" fmla="*/ 8159 w 462650"/>
                <a:gd name="connsiteY20" fmla="*/ 741962 h 780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62650" h="780247">
                  <a:moveTo>
                    <a:pt x="8159" y="741962"/>
                  </a:moveTo>
                  <a:cubicBezTo>
                    <a:pt x="43763" y="801303"/>
                    <a:pt x="177280" y="780534"/>
                    <a:pt x="227720" y="753830"/>
                  </a:cubicBezTo>
                  <a:cubicBezTo>
                    <a:pt x="316731" y="709324"/>
                    <a:pt x="331566" y="629215"/>
                    <a:pt x="310796" y="552072"/>
                  </a:cubicBezTo>
                  <a:cubicBezTo>
                    <a:pt x="396841" y="623281"/>
                    <a:pt x="384972" y="644050"/>
                    <a:pt x="393874" y="593610"/>
                  </a:cubicBezTo>
                  <a:cubicBezTo>
                    <a:pt x="402775" y="552072"/>
                    <a:pt x="340467" y="385918"/>
                    <a:pt x="346401" y="335479"/>
                  </a:cubicBezTo>
                  <a:cubicBezTo>
                    <a:pt x="355302" y="285039"/>
                    <a:pt x="370137" y="240534"/>
                    <a:pt x="393874" y="196028"/>
                  </a:cubicBezTo>
                  <a:cubicBezTo>
                    <a:pt x="402775" y="175259"/>
                    <a:pt x="411676" y="145588"/>
                    <a:pt x="420577" y="118885"/>
                  </a:cubicBezTo>
                  <a:cubicBezTo>
                    <a:pt x="432445" y="112951"/>
                    <a:pt x="444313" y="107017"/>
                    <a:pt x="456182" y="101083"/>
                  </a:cubicBezTo>
                  <a:cubicBezTo>
                    <a:pt x="468050" y="92182"/>
                    <a:pt x="462115" y="77347"/>
                    <a:pt x="450247" y="74380"/>
                  </a:cubicBezTo>
                  <a:cubicBezTo>
                    <a:pt x="432445" y="26907"/>
                    <a:pt x="367171" y="-2763"/>
                    <a:pt x="310796" y="204"/>
                  </a:cubicBezTo>
                  <a:cubicBezTo>
                    <a:pt x="295961" y="204"/>
                    <a:pt x="269258" y="9105"/>
                    <a:pt x="248489" y="23940"/>
                  </a:cubicBezTo>
                  <a:cubicBezTo>
                    <a:pt x="239588" y="29874"/>
                    <a:pt x="233654" y="38775"/>
                    <a:pt x="227720" y="50643"/>
                  </a:cubicBezTo>
                  <a:cubicBezTo>
                    <a:pt x="168379" y="44709"/>
                    <a:pt x="123874" y="86248"/>
                    <a:pt x="132774" y="145588"/>
                  </a:cubicBezTo>
                  <a:cubicBezTo>
                    <a:pt x="88269" y="145588"/>
                    <a:pt x="70467" y="193061"/>
                    <a:pt x="79368" y="237566"/>
                  </a:cubicBezTo>
                  <a:cubicBezTo>
                    <a:pt x="82335" y="246468"/>
                    <a:pt x="82335" y="249434"/>
                    <a:pt x="85303" y="252402"/>
                  </a:cubicBezTo>
                  <a:cubicBezTo>
                    <a:pt x="61566" y="276138"/>
                    <a:pt x="52665" y="308775"/>
                    <a:pt x="67500" y="338445"/>
                  </a:cubicBezTo>
                  <a:cubicBezTo>
                    <a:pt x="25962" y="359215"/>
                    <a:pt x="22995" y="421522"/>
                    <a:pt x="46731" y="460094"/>
                  </a:cubicBezTo>
                  <a:cubicBezTo>
                    <a:pt x="5192" y="486797"/>
                    <a:pt x="5192" y="534270"/>
                    <a:pt x="22995" y="578775"/>
                  </a:cubicBezTo>
                  <a:cubicBezTo>
                    <a:pt x="-9643" y="599544"/>
                    <a:pt x="-3708" y="638116"/>
                    <a:pt x="17060" y="667786"/>
                  </a:cubicBezTo>
                  <a:cubicBezTo>
                    <a:pt x="8159" y="676687"/>
                    <a:pt x="5192" y="685589"/>
                    <a:pt x="5192" y="694489"/>
                  </a:cubicBezTo>
                  <a:cubicBezTo>
                    <a:pt x="-742" y="706358"/>
                    <a:pt x="-3708" y="721193"/>
                    <a:pt x="8159" y="741962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5A56CFEA-B60F-4B95-AB8B-B9644B3EBB9F}"/>
                </a:ext>
              </a:extLst>
            </p:cNvPr>
            <p:cNvSpPr/>
            <p:nvPr/>
          </p:nvSpPr>
          <p:spPr>
            <a:xfrm>
              <a:off x="14018301" y="8165055"/>
              <a:ext cx="584588" cy="941254"/>
            </a:xfrm>
            <a:custGeom>
              <a:avLst/>
              <a:gdLst>
                <a:gd name="connsiteX0" fmla="*/ 45466 w 584588"/>
                <a:gd name="connsiteY0" fmla="*/ 256658 h 941254"/>
                <a:gd name="connsiteX1" fmla="*/ 66235 w 584588"/>
                <a:gd name="connsiteY1" fmla="*/ 87537 h 941254"/>
                <a:gd name="connsiteX2" fmla="*/ 63268 w 584588"/>
                <a:gd name="connsiteY2" fmla="*/ 72702 h 941254"/>
                <a:gd name="connsiteX3" fmla="*/ 223488 w 584588"/>
                <a:gd name="connsiteY3" fmla="*/ 51933 h 941254"/>
                <a:gd name="connsiteX4" fmla="*/ 312499 w 584588"/>
                <a:gd name="connsiteY4" fmla="*/ 96438 h 941254"/>
                <a:gd name="connsiteX5" fmla="*/ 309532 w 584588"/>
                <a:gd name="connsiteY5" fmla="*/ 158746 h 941254"/>
                <a:gd name="connsiteX6" fmla="*/ 309532 w 584588"/>
                <a:gd name="connsiteY6" fmla="*/ 158746 h 941254"/>
                <a:gd name="connsiteX7" fmla="*/ 386675 w 584588"/>
                <a:gd name="connsiteY7" fmla="*/ 247757 h 941254"/>
                <a:gd name="connsiteX8" fmla="*/ 422279 w 584588"/>
                <a:gd name="connsiteY8" fmla="*/ 280394 h 941254"/>
                <a:gd name="connsiteX9" fmla="*/ 413378 w 584588"/>
                <a:gd name="connsiteY9" fmla="*/ 330834 h 941254"/>
                <a:gd name="connsiteX10" fmla="*/ 454916 w 584588"/>
                <a:gd name="connsiteY10" fmla="*/ 396108 h 941254"/>
                <a:gd name="connsiteX11" fmla="*/ 448982 w 584588"/>
                <a:gd name="connsiteY11" fmla="*/ 437647 h 941254"/>
                <a:gd name="connsiteX12" fmla="*/ 529092 w 584588"/>
                <a:gd name="connsiteY12" fmla="*/ 511823 h 941254"/>
                <a:gd name="connsiteX13" fmla="*/ 502389 w 584588"/>
                <a:gd name="connsiteY13" fmla="*/ 580065 h 941254"/>
                <a:gd name="connsiteX14" fmla="*/ 543927 w 584588"/>
                <a:gd name="connsiteY14" fmla="*/ 746218 h 941254"/>
                <a:gd name="connsiteX15" fmla="*/ 567663 w 584588"/>
                <a:gd name="connsiteY15" fmla="*/ 867867 h 941254"/>
                <a:gd name="connsiteX16" fmla="*/ 496455 w 584588"/>
                <a:gd name="connsiteY16" fmla="*/ 870834 h 941254"/>
                <a:gd name="connsiteX17" fmla="*/ 392608 w 584588"/>
                <a:gd name="connsiteY17" fmla="*/ 939076 h 941254"/>
                <a:gd name="connsiteX18" fmla="*/ 327334 w 584588"/>
                <a:gd name="connsiteY18" fmla="*/ 811493 h 941254"/>
                <a:gd name="connsiteX19" fmla="*/ 291730 w 584588"/>
                <a:gd name="connsiteY19" fmla="*/ 778856 h 941254"/>
                <a:gd name="connsiteX20" fmla="*/ 256125 w 584588"/>
                <a:gd name="connsiteY20" fmla="*/ 764021 h 941254"/>
                <a:gd name="connsiteX21" fmla="*/ 95905 w 584588"/>
                <a:gd name="connsiteY21" fmla="*/ 701713 h 941254"/>
                <a:gd name="connsiteX22" fmla="*/ 27664 w 584588"/>
                <a:gd name="connsiteY22" fmla="*/ 648306 h 941254"/>
                <a:gd name="connsiteX23" fmla="*/ 45466 w 584588"/>
                <a:gd name="connsiteY23" fmla="*/ 479185 h 941254"/>
                <a:gd name="connsiteX24" fmla="*/ 45466 w 584588"/>
                <a:gd name="connsiteY24" fmla="*/ 256658 h 94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84588" h="941254">
                  <a:moveTo>
                    <a:pt x="45466" y="256658"/>
                  </a:moveTo>
                  <a:cubicBezTo>
                    <a:pt x="-10908" y="212153"/>
                    <a:pt x="36565" y="137977"/>
                    <a:pt x="66235" y="87537"/>
                  </a:cubicBezTo>
                  <a:cubicBezTo>
                    <a:pt x="63268" y="84570"/>
                    <a:pt x="60301" y="78636"/>
                    <a:pt x="63268" y="72702"/>
                  </a:cubicBezTo>
                  <a:cubicBezTo>
                    <a:pt x="84037" y="-7408"/>
                    <a:pt x="226454" y="-31144"/>
                    <a:pt x="223488" y="51933"/>
                  </a:cubicBezTo>
                  <a:cubicBezTo>
                    <a:pt x="259092" y="54900"/>
                    <a:pt x="294697" y="63801"/>
                    <a:pt x="312499" y="96438"/>
                  </a:cubicBezTo>
                  <a:cubicBezTo>
                    <a:pt x="324367" y="117208"/>
                    <a:pt x="321400" y="140944"/>
                    <a:pt x="309532" y="158746"/>
                  </a:cubicBezTo>
                  <a:lnTo>
                    <a:pt x="309532" y="158746"/>
                  </a:lnTo>
                  <a:cubicBezTo>
                    <a:pt x="354037" y="170614"/>
                    <a:pt x="392608" y="197317"/>
                    <a:pt x="386675" y="247757"/>
                  </a:cubicBezTo>
                  <a:cubicBezTo>
                    <a:pt x="404476" y="250724"/>
                    <a:pt x="416345" y="259625"/>
                    <a:pt x="422279" y="280394"/>
                  </a:cubicBezTo>
                  <a:cubicBezTo>
                    <a:pt x="428213" y="298197"/>
                    <a:pt x="410411" y="318966"/>
                    <a:pt x="413378" y="330834"/>
                  </a:cubicBezTo>
                  <a:cubicBezTo>
                    <a:pt x="440081" y="339735"/>
                    <a:pt x="451949" y="366438"/>
                    <a:pt x="454916" y="396108"/>
                  </a:cubicBezTo>
                  <a:cubicBezTo>
                    <a:pt x="457884" y="413911"/>
                    <a:pt x="454916" y="425779"/>
                    <a:pt x="448982" y="437647"/>
                  </a:cubicBezTo>
                  <a:cubicBezTo>
                    <a:pt x="484587" y="449515"/>
                    <a:pt x="523158" y="470284"/>
                    <a:pt x="529092" y="511823"/>
                  </a:cubicBezTo>
                  <a:cubicBezTo>
                    <a:pt x="535027" y="541493"/>
                    <a:pt x="523158" y="565230"/>
                    <a:pt x="502389" y="580065"/>
                  </a:cubicBezTo>
                  <a:cubicBezTo>
                    <a:pt x="546895" y="624570"/>
                    <a:pt x="606235" y="716548"/>
                    <a:pt x="543927" y="746218"/>
                  </a:cubicBezTo>
                  <a:cubicBezTo>
                    <a:pt x="576565" y="778856"/>
                    <a:pt x="603268" y="829295"/>
                    <a:pt x="567663" y="867867"/>
                  </a:cubicBezTo>
                  <a:cubicBezTo>
                    <a:pt x="543927" y="891603"/>
                    <a:pt x="514257" y="888636"/>
                    <a:pt x="496455" y="870834"/>
                  </a:cubicBezTo>
                  <a:cubicBezTo>
                    <a:pt x="475686" y="912372"/>
                    <a:pt x="443048" y="950944"/>
                    <a:pt x="392608" y="939076"/>
                  </a:cubicBezTo>
                  <a:cubicBezTo>
                    <a:pt x="333268" y="924240"/>
                    <a:pt x="321400" y="864900"/>
                    <a:pt x="327334" y="811493"/>
                  </a:cubicBezTo>
                  <a:cubicBezTo>
                    <a:pt x="312499" y="805559"/>
                    <a:pt x="300630" y="793691"/>
                    <a:pt x="291730" y="778856"/>
                  </a:cubicBezTo>
                  <a:cubicBezTo>
                    <a:pt x="279862" y="775889"/>
                    <a:pt x="267994" y="769955"/>
                    <a:pt x="256125" y="764021"/>
                  </a:cubicBezTo>
                  <a:cubicBezTo>
                    <a:pt x="208653" y="847098"/>
                    <a:pt x="84037" y="799625"/>
                    <a:pt x="95905" y="701713"/>
                  </a:cubicBezTo>
                  <a:cubicBezTo>
                    <a:pt x="57334" y="698746"/>
                    <a:pt x="42499" y="698746"/>
                    <a:pt x="27664" y="648306"/>
                  </a:cubicBezTo>
                  <a:cubicBezTo>
                    <a:pt x="12829" y="591933"/>
                    <a:pt x="21729" y="532592"/>
                    <a:pt x="45466" y="479185"/>
                  </a:cubicBezTo>
                  <a:cubicBezTo>
                    <a:pt x="-31677" y="422812"/>
                    <a:pt x="3927" y="336768"/>
                    <a:pt x="45466" y="256658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" name="图形 1">
              <a:extLst>
                <a:ext uri="{FF2B5EF4-FFF2-40B4-BE49-F238E27FC236}">
                  <a16:creationId xmlns:a16="http://schemas.microsoft.com/office/drawing/2014/main" id="{78D1BBDD-6B41-4400-9CC9-7F99F0944774}"/>
                </a:ext>
              </a:extLst>
            </p:cNvPr>
            <p:cNvGrpSpPr/>
            <p:nvPr/>
          </p:nvGrpSpPr>
          <p:grpSpPr>
            <a:xfrm>
              <a:off x="13567830" y="12154241"/>
              <a:ext cx="384673" cy="351844"/>
              <a:chOff x="13567830" y="12154241"/>
              <a:chExt cx="384673" cy="351844"/>
            </a:xfrm>
          </p:grpSpPr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2033DB9F-AAAE-4EF9-B915-CE455965FD12}"/>
                  </a:ext>
                </a:extLst>
              </p:cNvPr>
              <p:cNvSpPr/>
              <p:nvPr/>
            </p:nvSpPr>
            <p:spPr>
              <a:xfrm>
                <a:off x="13567830" y="12275889"/>
                <a:ext cx="384673" cy="230195"/>
              </a:xfrm>
              <a:custGeom>
                <a:avLst/>
                <a:gdLst>
                  <a:gd name="connsiteX0" fmla="*/ 279343 w 384673"/>
                  <a:gd name="connsiteY0" fmla="*/ 0 h 230195"/>
                  <a:gd name="connsiteX1" fmla="*/ 125058 w 384673"/>
                  <a:gd name="connsiteY1" fmla="*/ 121649 h 230195"/>
                  <a:gd name="connsiteX2" fmla="*/ 314948 w 384673"/>
                  <a:gd name="connsiteY2" fmla="*/ 74176 h 230195"/>
                  <a:gd name="connsiteX3" fmla="*/ 383190 w 384673"/>
                  <a:gd name="connsiteY3" fmla="*/ 50439 h 230195"/>
                  <a:gd name="connsiteX4" fmla="*/ 377256 w 384673"/>
                  <a:gd name="connsiteY4" fmla="*/ 154285 h 230195"/>
                  <a:gd name="connsiteX5" fmla="*/ 151761 w 384673"/>
                  <a:gd name="connsiteY5" fmla="*/ 225495 h 230195"/>
                  <a:gd name="connsiteX6" fmla="*/ 18245 w 384673"/>
                  <a:gd name="connsiteY6" fmla="*/ 225495 h 230195"/>
                  <a:gd name="connsiteX7" fmla="*/ 12310 w 384673"/>
                  <a:gd name="connsiteY7" fmla="*/ 172088 h 230195"/>
                  <a:gd name="connsiteX8" fmla="*/ 279343 w 384673"/>
                  <a:gd name="connsiteY8" fmla="*/ 0 h 230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4673" h="230195">
                    <a:moveTo>
                      <a:pt x="279343" y="0"/>
                    </a:moveTo>
                    <a:cubicBezTo>
                      <a:pt x="279343" y="0"/>
                      <a:pt x="110223" y="109780"/>
                      <a:pt x="125058" y="121649"/>
                    </a:cubicBezTo>
                    <a:cubicBezTo>
                      <a:pt x="136926" y="136484"/>
                      <a:pt x="314948" y="74176"/>
                      <a:pt x="314948" y="74176"/>
                    </a:cubicBezTo>
                    <a:lnTo>
                      <a:pt x="383190" y="50439"/>
                    </a:lnTo>
                    <a:cubicBezTo>
                      <a:pt x="383190" y="50439"/>
                      <a:pt x="389124" y="130549"/>
                      <a:pt x="377256" y="154285"/>
                    </a:cubicBezTo>
                    <a:cubicBezTo>
                      <a:pt x="306047" y="189890"/>
                      <a:pt x="222970" y="213626"/>
                      <a:pt x="151761" y="225495"/>
                    </a:cubicBezTo>
                    <a:cubicBezTo>
                      <a:pt x="107256" y="234395"/>
                      <a:pt x="27146" y="228461"/>
                      <a:pt x="18245" y="225495"/>
                    </a:cubicBezTo>
                    <a:cubicBezTo>
                      <a:pt x="9343" y="222527"/>
                      <a:pt x="-14393" y="198791"/>
                      <a:pt x="12310" y="172088"/>
                    </a:cubicBezTo>
                    <a:cubicBezTo>
                      <a:pt x="71651" y="106813"/>
                      <a:pt x="279343" y="0"/>
                      <a:pt x="279343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6831B203-281E-4607-A3BC-49C61DA4108B}"/>
                  </a:ext>
                </a:extLst>
              </p:cNvPr>
              <p:cNvSpPr/>
              <p:nvPr/>
            </p:nvSpPr>
            <p:spPr>
              <a:xfrm>
                <a:off x="13691596" y="12154241"/>
                <a:ext cx="259423" cy="247261"/>
              </a:xfrm>
              <a:custGeom>
                <a:avLst/>
                <a:gdLst>
                  <a:gd name="connsiteX0" fmla="*/ 140742 w 259423"/>
                  <a:gd name="connsiteY0" fmla="*/ 0 h 247261"/>
                  <a:gd name="connsiteX1" fmla="*/ 155577 w 259423"/>
                  <a:gd name="connsiteY1" fmla="*/ 121649 h 247261"/>
                  <a:gd name="connsiteX2" fmla="*/ 1292 w 259423"/>
                  <a:gd name="connsiteY2" fmla="*/ 243297 h 247261"/>
                  <a:gd name="connsiteX3" fmla="*/ 232720 w 259423"/>
                  <a:gd name="connsiteY3" fmla="*/ 201758 h 247261"/>
                  <a:gd name="connsiteX4" fmla="*/ 259423 w 259423"/>
                  <a:gd name="connsiteY4" fmla="*/ 172088 h 247261"/>
                  <a:gd name="connsiteX5" fmla="*/ 259423 w 259423"/>
                  <a:gd name="connsiteY5" fmla="*/ 41538 h 247261"/>
                  <a:gd name="connsiteX6" fmla="*/ 140742 w 259423"/>
                  <a:gd name="connsiteY6" fmla="*/ 0 h 247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9423" h="247261">
                    <a:moveTo>
                      <a:pt x="140742" y="0"/>
                    </a:moveTo>
                    <a:lnTo>
                      <a:pt x="155577" y="121649"/>
                    </a:lnTo>
                    <a:cubicBezTo>
                      <a:pt x="155577" y="121649"/>
                      <a:pt x="-16511" y="222527"/>
                      <a:pt x="1292" y="243297"/>
                    </a:cubicBezTo>
                    <a:cubicBezTo>
                      <a:pt x="13160" y="258132"/>
                      <a:pt x="164479" y="228462"/>
                      <a:pt x="232720" y="201758"/>
                    </a:cubicBezTo>
                    <a:cubicBezTo>
                      <a:pt x="256456" y="192857"/>
                      <a:pt x="259423" y="172088"/>
                      <a:pt x="259423" y="172088"/>
                    </a:cubicBezTo>
                    <a:lnTo>
                      <a:pt x="259423" y="41538"/>
                    </a:lnTo>
                    <a:lnTo>
                      <a:pt x="140742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图形 1">
              <a:extLst>
                <a:ext uri="{FF2B5EF4-FFF2-40B4-BE49-F238E27FC236}">
                  <a16:creationId xmlns:a16="http://schemas.microsoft.com/office/drawing/2014/main" id="{A1CCEDA4-FAF3-47C1-B8B9-5015C3E42316}"/>
                </a:ext>
              </a:extLst>
            </p:cNvPr>
            <p:cNvGrpSpPr/>
            <p:nvPr/>
          </p:nvGrpSpPr>
          <p:grpSpPr>
            <a:xfrm>
              <a:off x="14817394" y="11839735"/>
              <a:ext cx="290768" cy="473125"/>
              <a:chOff x="14817394" y="11839735"/>
              <a:chExt cx="290768" cy="473125"/>
            </a:xfrm>
          </p:grpSpPr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36AE563D-CA8C-418E-9D41-82DBC359108D}"/>
                  </a:ext>
                </a:extLst>
              </p:cNvPr>
              <p:cNvSpPr/>
              <p:nvPr/>
            </p:nvSpPr>
            <p:spPr>
              <a:xfrm>
                <a:off x="14907851" y="11910944"/>
                <a:ext cx="200311" cy="401916"/>
              </a:xfrm>
              <a:custGeom>
                <a:avLst/>
                <a:gdLst>
                  <a:gd name="connsiteX0" fmla="*/ 16356 w 200311"/>
                  <a:gd name="connsiteY0" fmla="*/ 59341 h 401916"/>
                  <a:gd name="connsiteX1" fmla="*/ 31191 w 200311"/>
                  <a:gd name="connsiteY1" fmla="*/ 255165 h 401916"/>
                  <a:gd name="connsiteX2" fmla="*/ 99432 w 200311"/>
                  <a:gd name="connsiteY2" fmla="*/ 71210 h 401916"/>
                  <a:gd name="connsiteX3" fmla="*/ 117235 w 200311"/>
                  <a:gd name="connsiteY3" fmla="*/ 0 h 401916"/>
                  <a:gd name="connsiteX4" fmla="*/ 200311 w 200311"/>
                  <a:gd name="connsiteY4" fmla="*/ 62308 h 401916"/>
                  <a:gd name="connsiteX5" fmla="*/ 132070 w 200311"/>
                  <a:gd name="connsiteY5" fmla="*/ 287803 h 401916"/>
                  <a:gd name="connsiteX6" fmla="*/ 54927 w 200311"/>
                  <a:gd name="connsiteY6" fmla="*/ 397583 h 401916"/>
                  <a:gd name="connsiteX7" fmla="*/ 4487 w 200311"/>
                  <a:gd name="connsiteY7" fmla="*/ 370879 h 401916"/>
                  <a:gd name="connsiteX8" fmla="*/ 16356 w 200311"/>
                  <a:gd name="connsiteY8" fmla="*/ 59341 h 401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0311" h="401916">
                    <a:moveTo>
                      <a:pt x="16356" y="59341"/>
                    </a:moveTo>
                    <a:cubicBezTo>
                      <a:pt x="16356" y="59341"/>
                      <a:pt x="13389" y="261099"/>
                      <a:pt x="31191" y="255165"/>
                    </a:cubicBezTo>
                    <a:cubicBezTo>
                      <a:pt x="48992" y="252198"/>
                      <a:pt x="99432" y="71210"/>
                      <a:pt x="99432" y="71210"/>
                    </a:cubicBezTo>
                    <a:lnTo>
                      <a:pt x="117235" y="0"/>
                    </a:lnTo>
                    <a:cubicBezTo>
                      <a:pt x="117235" y="0"/>
                      <a:pt x="185476" y="41539"/>
                      <a:pt x="200311" y="62308"/>
                    </a:cubicBezTo>
                    <a:cubicBezTo>
                      <a:pt x="191411" y="139451"/>
                      <a:pt x="161740" y="222527"/>
                      <a:pt x="132070" y="287803"/>
                    </a:cubicBezTo>
                    <a:cubicBezTo>
                      <a:pt x="114268" y="329341"/>
                      <a:pt x="63828" y="394616"/>
                      <a:pt x="54927" y="397583"/>
                    </a:cubicBezTo>
                    <a:cubicBezTo>
                      <a:pt x="46026" y="403517"/>
                      <a:pt x="13389" y="409451"/>
                      <a:pt x="4487" y="370879"/>
                    </a:cubicBezTo>
                    <a:cubicBezTo>
                      <a:pt x="-10348" y="290770"/>
                      <a:pt x="16356" y="59341"/>
                      <a:pt x="16356" y="59341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F95CDB07-FE1C-41D7-A279-305BB0A23405}"/>
                  </a:ext>
                </a:extLst>
              </p:cNvPr>
              <p:cNvSpPr/>
              <p:nvPr/>
            </p:nvSpPr>
            <p:spPr>
              <a:xfrm>
                <a:off x="14817394" y="11839735"/>
                <a:ext cx="220771" cy="326406"/>
              </a:xfrm>
              <a:custGeom>
                <a:avLst/>
                <a:gdLst>
                  <a:gd name="connsiteX0" fmla="*/ 0 w 220771"/>
                  <a:gd name="connsiteY0" fmla="*/ 74176 h 326406"/>
                  <a:gd name="connsiteX1" fmla="*/ 106813 w 220771"/>
                  <a:gd name="connsiteY1" fmla="*/ 130549 h 326406"/>
                  <a:gd name="connsiteX2" fmla="*/ 121649 w 220771"/>
                  <a:gd name="connsiteY2" fmla="*/ 326374 h 326406"/>
                  <a:gd name="connsiteX3" fmla="*/ 219560 w 220771"/>
                  <a:gd name="connsiteY3" fmla="*/ 112748 h 326406"/>
                  <a:gd name="connsiteX4" fmla="*/ 207692 w 220771"/>
                  <a:gd name="connsiteY4" fmla="*/ 74176 h 326406"/>
                  <a:gd name="connsiteX5" fmla="*/ 100879 w 220771"/>
                  <a:gd name="connsiteY5" fmla="*/ 0 h 326406"/>
                  <a:gd name="connsiteX6" fmla="*/ 0 w 220771"/>
                  <a:gd name="connsiteY6" fmla="*/ 74176 h 326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0771" h="326406">
                    <a:moveTo>
                      <a:pt x="0" y="74176"/>
                    </a:moveTo>
                    <a:lnTo>
                      <a:pt x="106813" y="130549"/>
                    </a:lnTo>
                    <a:cubicBezTo>
                      <a:pt x="106813" y="130549"/>
                      <a:pt x="94945" y="329341"/>
                      <a:pt x="121649" y="326374"/>
                    </a:cubicBezTo>
                    <a:cubicBezTo>
                      <a:pt x="142417" y="326374"/>
                      <a:pt x="201758" y="183956"/>
                      <a:pt x="219560" y="112748"/>
                    </a:cubicBezTo>
                    <a:cubicBezTo>
                      <a:pt x="225495" y="89011"/>
                      <a:pt x="207692" y="74176"/>
                      <a:pt x="207692" y="74176"/>
                    </a:cubicBezTo>
                    <a:lnTo>
                      <a:pt x="100879" y="0"/>
                    </a:lnTo>
                    <a:lnTo>
                      <a:pt x="0" y="74176"/>
                    </a:ln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图形 1">
              <a:extLst>
                <a:ext uri="{FF2B5EF4-FFF2-40B4-BE49-F238E27FC236}">
                  <a16:creationId xmlns:a16="http://schemas.microsoft.com/office/drawing/2014/main" id="{514F556B-7C72-438C-BD76-8A816D083316}"/>
                </a:ext>
              </a:extLst>
            </p:cNvPr>
            <p:cNvGrpSpPr/>
            <p:nvPr/>
          </p:nvGrpSpPr>
          <p:grpSpPr>
            <a:xfrm>
              <a:off x="12579087" y="9591542"/>
              <a:ext cx="362045" cy="261022"/>
              <a:chOff x="12579087" y="9591542"/>
              <a:chExt cx="362045" cy="261022"/>
            </a:xfrm>
          </p:grpSpPr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84A400C9-3A12-428D-A5DA-F05D84155CD5}"/>
                  </a:ext>
                </a:extLst>
              </p:cNvPr>
              <p:cNvSpPr/>
              <p:nvPr/>
            </p:nvSpPr>
            <p:spPr>
              <a:xfrm>
                <a:off x="12587983" y="9591542"/>
                <a:ext cx="353149" cy="261022"/>
              </a:xfrm>
              <a:custGeom>
                <a:avLst/>
                <a:gdLst>
                  <a:gd name="connsiteX0" fmla="*/ 137652 w 353149"/>
                  <a:gd name="connsiteY0" fmla="*/ 257313 h 261022"/>
                  <a:gd name="connsiteX1" fmla="*/ 214795 w 353149"/>
                  <a:gd name="connsiteY1" fmla="*/ 236545 h 261022"/>
                  <a:gd name="connsiteX2" fmla="*/ 330510 w 353149"/>
                  <a:gd name="connsiteY2" fmla="*/ 180171 h 261022"/>
                  <a:gd name="connsiteX3" fmla="*/ 342378 w 353149"/>
                  <a:gd name="connsiteY3" fmla="*/ 85226 h 261022"/>
                  <a:gd name="connsiteX4" fmla="*/ 336443 w 353149"/>
                  <a:gd name="connsiteY4" fmla="*/ 85226 h 261022"/>
                  <a:gd name="connsiteX5" fmla="*/ 336443 w 353149"/>
                  <a:gd name="connsiteY5" fmla="*/ 82259 h 261022"/>
                  <a:gd name="connsiteX6" fmla="*/ 140620 w 353149"/>
                  <a:gd name="connsiteY6" fmla="*/ 8083 h 261022"/>
                  <a:gd name="connsiteX7" fmla="*/ 137652 w 353149"/>
                  <a:gd name="connsiteY7" fmla="*/ 28852 h 261022"/>
                  <a:gd name="connsiteX8" fmla="*/ 226663 w 353149"/>
                  <a:gd name="connsiteY8" fmla="*/ 76325 h 261022"/>
                  <a:gd name="connsiteX9" fmla="*/ 36773 w 353149"/>
                  <a:gd name="connsiteY9" fmla="*/ 100061 h 261022"/>
                  <a:gd name="connsiteX10" fmla="*/ 21938 w 353149"/>
                  <a:gd name="connsiteY10" fmla="*/ 129731 h 261022"/>
                  <a:gd name="connsiteX11" fmla="*/ 69410 w 353149"/>
                  <a:gd name="connsiteY11" fmla="*/ 129731 h 261022"/>
                  <a:gd name="connsiteX12" fmla="*/ 131718 w 353149"/>
                  <a:gd name="connsiteY12" fmla="*/ 126764 h 261022"/>
                  <a:gd name="connsiteX13" fmla="*/ 57542 w 353149"/>
                  <a:gd name="connsiteY13" fmla="*/ 153467 h 261022"/>
                  <a:gd name="connsiteX14" fmla="*/ 7103 w 353149"/>
                  <a:gd name="connsiteY14" fmla="*/ 174237 h 261022"/>
                  <a:gd name="connsiteX15" fmla="*/ 4136 w 353149"/>
                  <a:gd name="connsiteY15" fmla="*/ 203907 h 261022"/>
                  <a:gd name="connsiteX16" fmla="*/ 33806 w 353149"/>
                  <a:gd name="connsiteY16" fmla="*/ 218742 h 261022"/>
                  <a:gd name="connsiteX17" fmla="*/ 33806 w 353149"/>
                  <a:gd name="connsiteY17" fmla="*/ 221709 h 261022"/>
                  <a:gd name="connsiteX18" fmla="*/ 33806 w 353149"/>
                  <a:gd name="connsiteY18" fmla="*/ 227643 h 261022"/>
                  <a:gd name="connsiteX19" fmla="*/ 84245 w 353149"/>
                  <a:gd name="connsiteY19" fmla="*/ 233577 h 261022"/>
                  <a:gd name="connsiteX20" fmla="*/ 110949 w 353149"/>
                  <a:gd name="connsiteY20" fmla="*/ 224677 h 261022"/>
                  <a:gd name="connsiteX21" fmla="*/ 105015 w 353149"/>
                  <a:gd name="connsiteY21" fmla="*/ 230610 h 261022"/>
                  <a:gd name="connsiteX22" fmla="*/ 102048 w 353149"/>
                  <a:gd name="connsiteY22" fmla="*/ 251380 h 261022"/>
                  <a:gd name="connsiteX23" fmla="*/ 137652 w 353149"/>
                  <a:gd name="connsiteY23" fmla="*/ 257313 h 261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53149" h="261022">
                    <a:moveTo>
                      <a:pt x="137652" y="257313"/>
                    </a:moveTo>
                    <a:cubicBezTo>
                      <a:pt x="164356" y="251380"/>
                      <a:pt x="188091" y="242478"/>
                      <a:pt x="214795" y="236545"/>
                    </a:cubicBezTo>
                    <a:cubicBezTo>
                      <a:pt x="256334" y="224677"/>
                      <a:pt x="306773" y="221709"/>
                      <a:pt x="330510" y="180171"/>
                    </a:cubicBezTo>
                    <a:cubicBezTo>
                      <a:pt x="345345" y="153467"/>
                      <a:pt x="366113" y="111929"/>
                      <a:pt x="342378" y="85226"/>
                    </a:cubicBezTo>
                    <a:cubicBezTo>
                      <a:pt x="339410" y="82259"/>
                      <a:pt x="339410" y="82259"/>
                      <a:pt x="336443" y="85226"/>
                    </a:cubicBezTo>
                    <a:cubicBezTo>
                      <a:pt x="336443" y="85226"/>
                      <a:pt x="336443" y="85226"/>
                      <a:pt x="336443" y="82259"/>
                    </a:cubicBezTo>
                    <a:cubicBezTo>
                      <a:pt x="286004" y="14017"/>
                      <a:pt x="196993" y="-15653"/>
                      <a:pt x="140620" y="8083"/>
                    </a:cubicBezTo>
                    <a:cubicBezTo>
                      <a:pt x="134685" y="11050"/>
                      <a:pt x="134685" y="25885"/>
                      <a:pt x="137652" y="28852"/>
                    </a:cubicBezTo>
                    <a:cubicBezTo>
                      <a:pt x="167323" y="46655"/>
                      <a:pt x="211828" y="40720"/>
                      <a:pt x="226663" y="76325"/>
                    </a:cubicBezTo>
                    <a:cubicBezTo>
                      <a:pt x="164356" y="91160"/>
                      <a:pt x="96114" y="73358"/>
                      <a:pt x="36773" y="100061"/>
                    </a:cubicBezTo>
                    <a:cubicBezTo>
                      <a:pt x="27872" y="103028"/>
                      <a:pt x="1169" y="120831"/>
                      <a:pt x="21938" y="129731"/>
                    </a:cubicBezTo>
                    <a:cubicBezTo>
                      <a:pt x="33806" y="135666"/>
                      <a:pt x="57542" y="129731"/>
                      <a:pt x="69410" y="129731"/>
                    </a:cubicBezTo>
                    <a:cubicBezTo>
                      <a:pt x="90180" y="129731"/>
                      <a:pt x="110949" y="129731"/>
                      <a:pt x="131718" y="126764"/>
                    </a:cubicBezTo>
                    <a:cubicBezTo>
                      <a:pt x="107982" y="135666"/>
                      <a:pt x="81279" y="144566"/>
                      <a:pt x="57542" y="153467"/>
                    </a:cubicBezTo>
                    <a:cubicBezTo>
                      <a:pt x="42707" y="159402"/>
                      <a:pt x="18971" y="162369"/>
                      <a:pt x="7103" y="174237"/>
                    </a:cubicBezTo>
                    <a:cubicBezTo>
                      <a:pt x="-1798" y="183138"/>
                      <a:pt x="-1798" y="192039"/>
                      <a:pt x="4136" y="203907"/>
                    </a:cubicBezTo>
                    <a:cubicBezTo>
                      <a:pt x="10069" y="212808"/>
                      <a:pt x="21938" y="215775"/>
                      <a:pt x="33806" y="218742"/>
                    </a:cubicBezTo>
                    <a:cubicBezTo>
                      <a:pt x="33806" y="218742"/>
                      <a:pt x="33806" y="218742"/>
                      <a:pt x="33806" y="221709"/>
                    </a:cubicBezTo>
                    <a:cubicBezTo>
                      <a:pt x="33806" y="224677"/>
                      <a:pt x="33806" y="227643"/>
                      <a:pt x="33806" y="227643"/>
                    </a:cubicBezTo>
                    <a:cubicBezTo>
                      <a:pt x="48641" y="239512"/>
                      <a:pt x="66444" y="239512"/>
                      <a:pt x="84245" y="233577"/>
                    </a:cubicBezTo>
                    <a:cubicBezTo>
                      <a:pt x="93147" y="230610"/>
                      <a:pt x="102048" y="227643"/>
                      <a:pt x="110949" y="224677"/>
                    </a:cubicBezTo>
                    <a:cubicBezTo>
                      <a:pt x="107982" y="224677"/>
                      <a:pt x="107982" y="227643"/>
                      <a:pt x="105015" y="230610"/>
                    </a:cubicBezTo>
                    <a:cubicBezTo>
                      <a:pt x="99080" y="236545"/>
                      <a:pt x="96114" y="245445"/>
                      <a:pt x="102048" y="251380"/>
                    </a:cubicBezTo>
                    <a:cubicBezTo>
                      <a:pt x="107982" y="266215"/>
                      <a:pt x="125784" y="260281"/>
                      <a:pt x="137652" y="257313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49711D6C-72DC-4147-8BAC-70894BF6A30B}"/>
                  </a:ext>
                </a:extLst>
              </p:cNvPr>
              <p:cNvSpPr/>
              <p:nvPr/>
            </p:nvSpPr>
            <p:spPr>
              <a:xfrm>
                <a:off x="12814646" y="9688636"/>
                <a:ext cx="60504" cy="47472"/>
              </a:xfrm>
              <a:custGeom>
                <a:avLst/>
                <a:gdLst>
                  <a:gd name="connsiteX0" fmla="*/ 53406 w 60504"/>
                  <a:gd name="connsiteY0" fmla="*/ 47473 h 47472"/>
                  <a:gd name="connsiteX1" fmla="*/ 0 w 60504"/>
                  <a:gd name="connsiteY1" fmla="*/ 8902 h 47472"/>
                  <a:gd name="connsiteX2" fmla="*/ 2967 w 60504"/>
                  <a:gd name="connsiteY2" fmla="*/ 0 h 47472"/>
                  <a:gd name="connsiteX3" fmla="*/ 11868 w 60504"/>
                  <a:gd name="connsiteY3" fmla="*/ 2967 h 47472"/>
                  <a:gd name="connsiteX4" fmla="*/ 53406 w 60504"/>
                  <a:gd name="connsiteY4" fmla="*/ 32638 h 47472"/>
                  <a:gd name="connsiteX5" fmla="*/ 53406 w 60504"/>
                  <a:gd name="connsiteY5" fmla="*/ 32638 h 47472"/>
                  <a:gd name="connsiteX6" fmla="*/ 59341 w 60504"/>
                  <a:gd name="connsiteY6" fmla="*/ 38572 h 47472"/>
                  <a:gd name="connsiteX7" fmla="*/ 53406 w 60504"/>
                  <a:gd name="connsiteY7" fmla="*/ 47473 h 47472"/>
                  <a:gd name="connsiteX8" fmla="*/ 53406 w 60504"/>
                  <a:gd name="connsiteY8" fmla="*/ 47473 h 47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504" h="47472">
                    <a:moveTo>
                      <a:pt x="53406" y="47473"/>
                    </a:moveTo>
                    <a:cubicBezTo>
                      <a:pt x="14835" y="47473"/>
                      <a:pt x="0" y="11868"/>
                      <a:pt x="0" y="8902"/>
                    </a:cubicBezTo>
                    <a:cubicBezTo>
                      <a:pt x="0" y="5934"/>
                      <a:pt x="0" y="2967"/>
                      <a:pt x="2967" y="0"/>
                    </a:cubicBezTo>
                    <a:cubicBezTo>
                      <a:pt x="5934" y="0"/>
                      <a:pt x="8901" y="0"/>
                      <a:pt x="11868" y="2967"/>
                    </a:cubicBezTo>
                    <a:cubicBezTo>
                      <a:pt x="11868" y="2967"/>
                      <a:pt x="23736" y="32638"/>
                      <a:pt x="53406" y="32638"/>
                    </a:cubicBezTo>
                    <a:cubicBezTo>
                      <a:pt x="53406" y="32638"/>
                      <a:pt x="53406" y="32638"/>
                      <a:pt x="53406" y="32638"/>
                    </a:cubicBezTo>
                    <a:cubicBezTo>
                      <a:pt x="56373" y="32638"/>
                      <a:pt x="59341" y="35605"/>
                      <a:pt x="59341" y="38572"/>
                    </a:cubicBezTo>
                    <a:cubicBezTo>
                      <a:pt x="62308" y="44505"/>
                      <a:pt x="59341" y="47473"/>
                      <a:pt x="53406" y="47473"/>
                    </a:cubicBezTo>
                    <a:cubicBezTo>
                      <a:pt x="56373" y="47473"/>
                      <a:pt x="53406" y="47473"/>
                      <a:pt x="53406" y="47473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E36249E5-07E9-4E06-9FA4-D12E103E1938}"/>
                  </a:ext>
                </a:extLst>
              </p:cNvPr>
              <p:cNvSpPr/>
              <p:nvPr/>
            </p:nvSpPr>
            <p:spPr>
              <a:xfrm>
                <a:off x="12579087" y="9712373"/>
                <a:ext cx="143581" cy="100878"/>
              </a:xfrm>
              <a:custGeom>
                <a:avLst/>
                <a:gdLst>
                  <a:gd name="connsiteX0" fmla="*/ 33801 w 143581"/>
                  <a:gd name="connsiteY0" fmla="*/ 100879 h 100878"/>
                  <a:gd name="connsiteX1" fmla="*/ 7098 w 143581"/>
                  <a:gd name="connsiteY1" fmla="*/ 89011 h 100878"/>
                  <a:gd name="connsiteX2" fmla="*/ 1164 w 143581"/>
                  <a:gd name="connsiteY2" fmla="*/ 62307 h 100878"/>
                  <a:gd name="connsiteX3" fmla="*/ 93141 w 143581"/>
                  <a:gd name="connsiteY3" fmla="*/ 14835 h 100878"/>
                  <a:gd name="connsiteX4" fmla="*/ 27867 w 143581"/>
                  <a:gd name="connsiteY4" fmla="*/ 14835 h 100878"/>
                  <a:gd name="connsiteX5" fmla="*/ 21933 w 143581"/>
                  <a:gd name="connsiteY5" fmla="*/ 8901 h 100878"/>
                  <a:gd name="connsiteX6" fmla="*/ 27867 w 143581"/>
                  <a:gd name="connsiteY6" fmla="*/ 2966 h 100878"/>
                  <a:gd name="connsiteX7" fmla="*/ 134681 w 143581"/>
                  <a:gd name="connsiteY7" fmla="*/ 0 h 100878"/>
                  <a:gd name="connsiteX8" fmla="*/ 140614 w 143581"/>
                  <a:gd name="connsiteY8" fmla="*/ 5934 h 100878"/>
                  <a:gd name="connsiteX9" fmla="*/ 137647 w 143581"/>
                  <a:gd name="connsiteY9" fmla="*/ 11868 h 100878"/>
                  <a:gd name="connsiteX10" fmla="*/ 10065 w 143581"/>
                  <a:gd name="connsiteY10" fmla="*/ 65274 h 100878"/>
                  <a:gd name="connsiteX11" fmla="*/ 13032 w 143581"/>
                  <a:gd name="connsiteY11" fmla="*/ 80109 h 100878"/>
                  <a:gd name="connsiteX12" fmla="*/ 33801 w 143581"/>
                  <a:gd name="connsiteY12" fmla="*/ 86044 h 100878"/>
                  <a:gd name="connsiteX13" fmla="*/ 137647 w 143581"/>
                  <a:gd name="connsiteY13" fmla="*/ 59341 h 100878"/>
                  <a:gd name="connsiteX14" fmla="*/ 143581 w 143581"/>
                  <a:gd name="connsiteY14" fmla="*/ 62307 h 100878"/>
                  <a:gd name="connsiteX15" fmla="*/ 140614 w 143581"/>
                  <a:gd name="connsiteY15" fmla="*/ 68241 h 100878"/>
                  <a:gd name="connsiteX16" fmla="*/ 33801 w 143581"/>
                  <a:gd name="connsiteY16" fmla="*/ 94945 h 100878"/>
                  <a:gd name="connsiteX17" fmla="*/ 33801 w 143581"/>
                  <a:gd name="connsiteY17" fmla="*/ 100879 h 100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3581" h="100878">
                    <a:moveTo>
                      <a:pt x="33801" y="100879"/>
                    </a:moveTo>
                    <a:cubicBezTo>
                      <a:pt x="21933" y="100879"/>
                      <a:pt x="13032" y="97912"/>
                      <a:pt x="7098" y="89011"/>
                    </a:cubicBezTo>
                    <a:cubicBezTo>
                      <a:pt x="1164" y="83077"/>
                      <a:pt x="-1803" y="74176"/>
                      <a:pt x="1164" y="62307"/>
                    </a:cubicBezTo>
                    <a:cubicBezTo>
                      <a:pt x="4130" y="50439"/>
                      <a:pt x="51603" y="29670"/>
                      <a:pt x="93141" y="14835"/>
                    </a:cubicBezTo>
                    <a:cubicBezTo>
                      <a:pt x="60505" y="14835"/>
                      <a:pt x="30834" y="14835"/>
                      <a:pt x="27867" y="14835"/>
                    </a:cubicBezTo>
                    <a:cubicBezTo>
                      <a:pt x="24900" y="14835"/>
                      <a:pt x="21933" y="11868"/>
                      <a:pt x="21933" y="8901"/>
                    </a:cubicBezTo>
                    <a:cubicBezTo>
                      <a:pt x="21933" y="5934"/>
                      <a:pt x="24900" y="2966"/>
                      <a:pt x="27867" y="2966"/>
                    </a:cubicBezTo>
                    <a:cubicBezTo>
                      <a:pt x="27867" y="2966"/>
                      <a:pt x="96109" y="5934"/>
                      <a:pt x="134681" y="0"/>
                    </a:cubicBezTo>
                    <a:cubicBezTo>
                      <a:pt x="137647" y="0"/>
                      <a:pt x="140614" y="2966"/>
                      <a:pt x="140614" y="5934"/>
                    </a:cubicBezTo>
                    <a:cubicBezTo>
                      <a:pt x="140614" y="8901"/>
                      <a:pt x="140614" y="11868"/>
                      <a:pt x="137647" y="11868"/>
                    </a:cubicBezTo>
                    <a:cubicBezTo>
                      <a:pt x="78306" y="29670"/>
                      <a:pt x="15999" y="56373"/>
                      <a:pt x="10065" y="65274"/>
                    </a:cubicBezTo>
                    <a:cubicBezTo>
                      <a:pt x="10065" y="71209"/>
                      <a:pt x="10065" y="77142"/>
                      <a:pt x="13032" y="80109"/>
                    </a:cubicBezTo>
                    <a:cubicBezTo>
                      <a:pt x="18966" y="86044"/>
                      <a:pt x="24900" y="89011"/>
                      <a:pt x="33801" y="86044"/>
                    </a:cubicBezTo>
                    <a:cubicBezTo>
                      <a:pt x="51603" y="83077"/>
                      <a:pt x="137647" y="59341"/>
                      <a:pt x="137647" y="59341"/>
                    </a:cubicBezTo>
                    <a:cubicBezTo>
                      <a:pt x="140614" y="59341"/>
                      <a:pt x="143581" y="59341"/>
                      <a:pt x="143581" y="62307"/>
                    </a:cubicBezTo>
                    <a:cubicBezTo>
                      <a:pt x="143581" y="65274"/>
                      <a:pt x="143581" y="68241"/>
                      <a:pt x="140614" y="68241"/>
                    </a:cubicBezTo>
                    <a:cubicBezTo>
                      <a:pt x="137647" y="68241"/>
                      <a:pt x="51603" y="91977"/>
                      <a:pt x="33801" y="94945"/>
                    </a:cubicBezTo>
                    <a:cubicBezTo>
                      <a:pt x="36768" y="100879"/>
                      <a:pt x="33801" y="100879"/>
                      <a:pt x="33801" y="100879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469FB9BA-0CF1-4479-A536-C07C1A09982E}"/>
                  </a:ext>
                </a:extLst>
              </p:cNvPr>
              <p:cNvSpPr/>
              <p:nvPr/>
            </p:nvSpPr>
            <p:spPr>
              <a:xfrm>
                <a:off x="12609921" y="9789515"/>
                <a:ext cx="151317" cy="47472"/>
              </a:xfrm>
              <a:custGeom>
                <a:avLst/>
                <a:gdLst>
                  <a:gd name="connsiteX0" fmla="*/ 23736 w 151317"/>
                  <a:gd name="connsiteY0" fmla="*/ 47473 h 47472"/>
                  <a:gd name="connsiteX1" fmla="*/ 14835 w 151317"/>
                  <a:gd name="connsiteY1" fmla="*/ 47473 h 47472"/>
                  <a:gd name="connsiteX2" fmla="*/ 0 w 151317"/>
                  <a:gd name="connsiteY2" fmla="*/ 17802 h 47472"/>
                  <a:gd name="connsiteX3" fmla="*/ 5934 w 151317"/>
                  <a:gd name="connsiteY3" fmla="*/ 11869 h 47472"/>
                  <a:gd name="connsiteX4" fmla="*/ 11868 w 151317"/>
                  <a:gd name="connsiteY4" fmla="*/ 17802 h 47472"/>
                  <a:gd name="connsiteX5" fmla="*/ 17801 w 151317"/>
                  <a:gd name="connsiteY5" fmla="*/ 35605 h 47472"/>
                  <a:gd name="connsiteX6" fmla="*/ 83077 w 151317"/>
                  <a:gd name="connsiteY6" fmla="*/ 23737 h 47472"/>
                  <a:gd name="connsiteX7" fmla="*/ 148352 w 151317"/>
                  <a:gd name="connsiteY7" fmla="*/ 0 h 47472"/>
                  <a:gd name="connsiteX8" fmla="*/ 151318 w 151317"/>
                  <a:gd name="connsiteY8" fmla="*/ 11869 h 47472"/>
                  <a:gd name="connsiteX9" fmla="*/ 86044 w 151317"/>
                  <a:gd name="connsiteY9" fmla="*/ 35605 h 47472"/>
                  <a:gd name="connsiteX10" fmla="*/ 23736 w 151317"/>
                  <a:gd name="connsiteY10" fmla="*/ 47473 h 47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1317" h="47472">
                    <a:moveTo>
                      <a:pt x="23736" y="47473"/>
                    </a:moveTo>
                    <a:cubicBezTo>
                      <a:pt x="20769" y="47473"/>
                      <a:pt x="17801" y="47473"/>
                      <a:pt x="14835" y="47473"/>
                    </a:cubicBezTo>
                    <a:cubicBezTo>
                      <a:pt x="0" y="44505"/>
                      <a:pt x="0" y="26704"/>
                      <a:pt x="0" y="17802"/>
                    </a:cubicBezTo>
                    <a:cubicBezTo>
                      <a:pt x="0" y="14835"/>
                      <a:pt x="2966" y="11869"/>
                      <a:pt x="5934" y="11869"/>
                    </a:cubicBezTo>
                    <a:cubicBezTo>
                      <a:pt x="8901" y="11869"/>
                      <a:pt x="11868" y="14835"/>
                      <a:pt x="11868" y="17802"/>
                    </a:cubicBezTo>
                    <a:cubicBezTo>
                      <a:pt x="11868" y="17802"/>
                      <a:pt x="8901" y="32638"/>
                      <a:pt x="17801" y="35605"/>
                    </a:cubicBezTo>
                    <a:cubicBezTo>
                      <a:pt x="26703" y="38572"/>
                      <a:pt x="71209" y="26704"/>
                      <a:pt x="83077" y="23737"/>
                    </a:cubicBezTo>
                    <a:cubicBezTo>
                      <a:pt x="94945" y="20770"/>
                      <a:pt x="148352" y="0"/>
                      <a:pt x="148352" y="0"/>
                    </a:cubicBezTo>
                    <a:lnTo>
                      <a:pt x="151318" y="11869"/>
                    </a:lnTo>
                    <a:cubicBezTo>
                      <a:pt x="151318" y="11869"/>
                      <a:pt x="94945" y="32638"/>
                      <a:pt x="86044" y="35605"/>
                    </a:cubicBezTo>
                    <a:cubicBezTo>
                      <a:pt x="83077" y="35605"/>
                      <a:pt x="44505" y="47473"/>
                      <a:pt x="23736" y="47473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A68F989C-2820-42B8-9185-D2F5D6AE1E98}"/>
                </a:ext>
              </a:extLst>
            </p:cNvPr>
            <p:cNvSpPr/>
            <p:nvPr/>
          </p:nvSpPr>
          <p:spPr>
            <a:xfrm>
              <a:off x="12892471" y="8883527"/>
              <a:ext cx="1027232" cy="926587"/>
            </a:xfrm>
            <a:custGeom>
              <a:avLst/>
              <a:gdLst>
                <a:gd name="connsiteX0" fmla="*/ 672835 w 1027232"/>
                <a:gd name="connsiteY0" fmla="*/ 265109 h 926587"/>
                <a:gd name="connsiteX1" fmla="*/ 477010 w 1027232"/>
                <a:gd name="connsiteY1" fmla="*/ 591483 h 926587"/>
                <a:gd name="connsiteX2" fmla="*/ 2285 w 1027232"/>
                <a:gd name="connsiteY2" fmla="*/ 725000 h 926587"/>
                <a:gd name="connsiteX3" fmla="*/ 43824 w 1027232"/>
                <a:gd name="connsiteY3" fmla="*/ 923790 h 926587"/>
                <a:gd name="connsiteX4" fmla="*/ 646132 w 1027232"/>
                <a:gd name="connsiteY4" fmla="*/ 808076 h 926587"/>
                <a:gd name="connsiteX5" fmla="*/ 990308 w 1027232"/>
                <a:gd name="connsiteY5" fmla="*/ 268076 h 926587"/>
                <a:gd name="connsiteX6" fmla="*/ 990308 w 1027232"/>
                <a:gd name="connsiteY6" fmla="*/ 6977 h 926587"/>
                <a:gd name="connsiteX7" fmla="*/ 672835 w 1027232"/>
                <a:gd name="connsiteY7" fmla="*/ 265109 h 926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7232" h="926587">
                  <a:moveTo>
                    <a:pt x="672835" y="265109"/>
                  </a:moveTo>
                  <a:cubicBezTo>
                    <a:pt x="631296" y="342252"/>
                    <a:pt x="539318" y="529175"/>
                    <a:pt x="477010" y="591483"/>
                  </a:cubicBezTo>
                  <a:cubicBezTo>
                    <a:pt x="387999" y="683460"/>
                    <a:pt x="2285" y="719065"/>
                    <a:pt x="2285" y="725000"/>
                  </a:cubicBezTo>
                  <a:cubicBezTo>
                    <a:pt x="-3648" y="793241"/>
                    <a:pt x="-681" y="873351"/>
                    <a:pt x="43824" y="923790"/>
                  </a:cubicBezTo>
                  <a:cubicBezTo>
                    <a:pt x="49758" y="932692"/>
                    <a:pt x="468110" y="926757"/>
                    <a:pt x="646132" y="808076"/>
                  </a:cubicBezTo>
                  <a:cubicBezTo>
                    <a:pt x="702505" y="772471"/>
                    <a:pt x="919099" y="392691"/>
                    <a:pt x="990308" y="268076"/>
                  </a:cubicBezTo>
                  <a:cubicBezTo>
                    <a:pt x="1031846" y="193900"/>
                    <a:pt x="1046681" y="36648"/>
                    <a:pt x="990308" y="6977"/>
                  </a:cubicBezTo>
                  <a:cubicBezTo>
                    <a:pt x="895362" y="-34561"/>
                    <a:pt x="752945" y="116757"/>
                    <a:pt x="672835" y="265109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15E8271E-5BAE-4677-9CB3-E66F40640DC9}"/>
                </a:ext>
              </a:extLst>
            </p:cNvPr>
            <p:cNvSpPr/>
            <p:nvPr/>
          </p:nvSpPr>
          <p:spPr>
            <a:xfrm>
              <a:off x="13620136" y="9789515"/>
              <a:ext cx="1339674" cy="2435934"/>
            </a:xfrm>
            <a:custGeom>
              <a:avLst/>
              <a:gdLst>
                <a:gd name="connsiteX0" fmla="*/ 767038 w 1339674"/>
                <a:gd name="connsiteY0" fmla="*/ 0 h 2435934"/>
                <a:gd name="connsiteX1" fmla="*/ 117257 w 1339674"/>
                <a:gd name="connsiteY1" fmla="*/ 0 h 2435934"/>
                <a:gd name="connsiteX2" fmla="*/ 1542 w 1339674"/>
                <a:gd name="connsiteY2" fmla="*/ 448022 h 2435934"/>
                <a:gd name="connsiteX3" fmla="*/ 176598 w 1339674"/>
                <a:gd name="connsiteY3" fmla="*/ 2418132 h 2435934"/>
                <a:gd name="connsiteX4" fmla="*/ 369455 w 1339674"/>
                <a:gd name="connsiteY4" fmla="*/ 2435934 h 2435934"/>
                <a:gd name="connsiteX5" fmla="*/ 449565 w 1339674"/>
                <a:gd name="connsiteY5" fmla="*/ 789231 h 2435934"/>
                <a:gd name="connsiteX6" fmla="*/ 529675 w 1339674"/>
                <a:gd name="connsiteY6" fmla="*/ 1652638 h 2435934"/>
                <a:gd name="connsiteX7" fmla="*/ 583081 w 1339674"/>
                <a:gd name="connsiteY7" fmla="*/ 1744616 h 2435934"/>
                <a:gd name="connsiteX8" fmla="*/ 1238796 w 1339674"/>
                <a:gd name="connsiteY8" fmla="*/ 2216374 h 2435934"/>
                <a:gd name="connsiteX9" fmla="*/ 1339675 w 1339674"/>
                <a:gd name="connsiteY9" fmla="*/ 2032418 h 2435934"/>
                <a:gd name="connsiteX10" fmla="*/ 859016 w 1339674"/>
                <a:gd name="connsiteY10" fmla="*/ 1614067 h 2435934"/>
                <a:gd name="connsiteX11" fmla="*/ 894620 w 1339674"/>
                <a:gd name="connsiteY11" fmla="*/ 406484 h 2435934"/>
                <a:gd name="connsiteX12" fmla="*/ 767038 w 1339674"/>
                <a:gd name="connsiteY12" fmla="*/ 0 h 2435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39674" h="2435934">
                  <a:moveTo>
                    <a:pt x="767038" y="0"/>
                  </a:moveTo>
                  <a:lnTo>
                    <a:pt x="117257" y="0"/>
                  </a:lnTo>
                  <a:cubicBezTo>
                    <a:pt x="117257" y="0"/>
                    <a:pt x="22312" y="296703"/>
                    <a:pt x="1542" y="448022"/>
                  </a:cubicBezTo>
                  <a:cubicBezTo>
                    <a:pt x="-19226" y="599341"/>
                    <a:pt x="176598" y="2418132"/>
                    <a:pt x="176598" y="2418132"/>
                  </a:cubicBezTo>
                  <a:lnTo>
                    <a:pt x="369455" y="2435934"/>
                  </a:lnTo>
                  <a:lnTo>
                    <a:pt x="449565" y="789231"/>
                  </a:lnTo>
                  <a:cubicBezTo>
                    <a:pt x="449565" y="789231"/>
                    <a:pt x="508905" y="1447913"/>
                    <a:pt x="529675" y="1652638"/>
                  </a:cubicBezTo>
                  <a:cubicBezTo>
                    <a:pt x="532642" y="1688243"/>
                    <a:pt x="553411" y="1723846"/>
                    <a:pt x="583081" y="1744616"/>
                  </a:cubicBezTo>
                  <a:lnTo>
                    <a:pt x="1238796" y="2216374"/>
                  </a:lnTo>
                  <a:lnTo>
                    <a:pt x="1339675" y="2032418"/>
                  </a:lnTo>
                  <a:lnTo>
                    <a:pt x="859016" y="1614067"/>
                  </a:lnTo>
                  <a:cubicBezTo>
                    <a:pt x="859016" y="1614067"/>
                    <a:pt x="888686" y="468792"/>
                    <a:pt x="894620" y="406484"/>
                  </a:cubicBezTo>
                  <a:cubicBezTo>
                    <a:pt x="906488" y="287803"/>
                    <a:pt x="767038" y="0"/>
                    <a:pt x="767038" y="0"/>
                  </a:cubicBezTo>
                  <a:close/>
                </a:path>
              </a:pathLst>
            </a:custGeom>
            <a:solidFill>
              <a:srgbClr val="7F95BC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63211B61-31BA-4435-81AF-6FA3FB6C06B3}"/>
                </a:ext>
              </a:extLst>
            </p:cNvPr>
            <p:cNvSpPr/>
            <p:nvPr/>
          </p:nvSpPr>
          <p:spPr>
            <a:xfrm>
              <a:off x="14025195" y="10169296"/>
              <a:ext cx="841895" cy="1845493"/>
            </a:xfrm>
            <a:custGeom>
              <a:avLst/>
              <a:gdLst>
                <a:gd name="connsiteX0" fmla="*/ 836704 w 841895"/>
                <a:gd name="connsiteY0" fmla="*/ 1842528 h 1845493"/>
                <a:gd name="connsiteX1" fmla="*/ 833736 w 841895"/>
                <a:gd name="connsiteY1" fmla="*/ 1842528 h 1845493"/>
                <a:gd name="connsiteX2" fmla="*/ 178022 w 841895"/>
                <a:gd name="connsiteY2" fmla="*/ 1370769 h 1845493"/>
                <a:gd name="connsiteX3" fmla="*/ 121649 w 841895"/>
                <a:gd name="connsiteY3" fmla="*/ 1275824 h 1845493"/>
                <a:gd name="connsiteX4" fmla="*/ 41538 w 841895"/>
                <a:gd name="connsiteY4" fmla="*/ 412417 h 1845493"/>
                <a:gd name="connsiteX5" fmla="*/ 0 w 841895"/>
                <a:gd name="connsiteY5" fmla="*/ 5934 h 1845493"/>
                <a:gd name="connsiteX6" fmla="*/ 5934 w 841895"/>
                <a:gd name="connsiteY6" fmla="*/ 0 h 1845493"/>
                <a:gd name="connsiteX7" fmla="*/ 11868 w 841895"/>
                <a:gd name="connsiteY7" fmla="*/ 5934 h 1845493"/>
                <a:gd name="connsiteX8" fmla="*/ 53407 w 841895"/>
                <a:gd name="connsiteY8" fmla="*/ 412417 h 1845493"/>
                <a:gd name="connsiteX9" fmla="*/ 133516 w 841895"/>
                <a:gd name="connsiteY9" fmla="*/ 1275824 h 1845493"/>
                <a:gd name="connsiteX10" fmla="*/ 183956 w 841895"/>
                <a:gd name="connsiteY10" fmla="*/ 1364835 h 1845493"/>
                <a:gd name="connsiteX11" fmla="*/ 839671 w 841895"/>
                <a:gd name="connsiteY11" fmla="*/ 1836593 h 1845493"/>
                <a:gd name="connsiteX12" fmla="*/ 839671 w 841895"/>
                <a:gd name="connsiteY12" fmla="*/ 1845494 h 1845493"/>
                <a:gd name="connsiteX13" fmla="*/ 836704 w 841895"/>
                <a:gd name="connsiteY13" fmla="*/ 1842528 h 1845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41895" h="1845493">
                  <a:moveTo>
                    <a:pt x="836704" y="1842528"/>
                  </a:moveTo>
                  <a:cubicBezTo>
                    <a:pt x="836704" y="1842528"/>
                    <a:pt x="833736" y="1842528"/>
                    <a:pt x="833736" y="1842528"/>
                  </a:cubicBezTo>
                  <a:lnTo>
                    <a:pt x="178022" y="1370769"/>
                  </a:lnTo>
                  <a:cubicBezTo>
                    <a:pt x="145384" y="1347033"/>
                    <a:pt x="127583" y="1314395"/>
                    <a:pt x="121649" y="1275824"/>
                  </a:cubicBezTo>
                  <a:cubicBezTo>
                    <a:pt x="100879" y="1074065"/>
                    <a:pt x="41538" y="421318"/>
                    <a:pt x="41538" y="412417"/>
                  </a:cubicBezTo>
                  <a:lnTo>
                    <a:pt x="0" y="5934"/>
                  </a:lnTo>
                  <a:cubicBezTo>
                    <a:pt x="0" y="2967"/>
                    <a:pt x="2967" y="0"/>
                    <a:pt x="5934" y="0"/>
                  </a:cubicBezTo>
                  <a:cubicBezTo>
                    <a:pt x="8902" y="0"/>
                    <a:pt x="11868" y="2967"/>
                    <a:pt x="11868" y="5934"/>
                  </a:cubicBezTo>
                  <a:lnTo>
                    <a:pt x="53407" y="412417"/>
                  </a:lnTo>
                  <a:cubicBezTo>
                    <a:pt x="53407" y="418352"/>
                    <a:pt x="112748" y="1074065"/>
                    <a:pt x="133516" y="1275824"/>
                  </a:cubicBezTo>
                  <a:cubicBezTo>
                    <a:pt x="136484" y="1311428"/>
                    <a:pt x="157253" y="1344066"/>
                    <a:pt x="183956" y="1364835"/>
                  </a:cubicBezTo>
                  <a:lnTo>
                    <a:pt x="839671" y="1836593"/>
                  </a:lnTo>
                  <a:cubicBezTo>
                    <a:pt x="842637" y="1839561"/>
                    <a:pt x="842637" y="1842528"/>
                    <a:pt x="839671" y="1845494"/>
                  </a:cubicBezTo>
                  <a:cubicBezTo>
                    <a:pt x="839671" y="1842528"/>
                    <a:pt x="836704" y="1842528"/>
                    <a:pt x="836704" y="1842528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5818332C-8432-48A7-8469-4F071E0FB3D2}"/>
                </a:ext>
              </a:extLst>
            </p:cNvPr>
            <p:cNvSpPr/>
            <p:nvPr/>
          </p:nvSpPr>
          <p:spPr>
            <a:xfrm>
              <a:off x="14336734" y="9940834"/>
              <a:ext cx="176283" cy="183956"/>
            </a:xfrm>
            <a:custGeom>
              <a:avLst/>
              <a:gdLst>
                <a:gd name="connsiteX0" fmla="*/ 172088 w 176283"/>
                <a:gd name="connsiteY0" fmla="*/ 183956 h 183956"/>
                <a:gd name="connsiteX1" fmla="*/ 172088 w 176283"/>
                <a:gd name="connsiteY1" fmla="*/ 183956 h 183956"/>
                <a:gd name="connsiteX2" fmla="*/ 0 w 176283"/>
                <a:gd name="connsiteY2" fmla="*/ 5934 h 183956"/>
                <a:gd name="connsiteX3" fmla="*/ 2967 w 176283"/>
                <a:gd name="connsiteY3" fmla="*/ 0 h 183956"/>
                <a:gd name="connsiteX4" fmla="*/ 8902 w 176283"/>
                <a:gd name="connsiteY4" fmla="*/ 2967 h 183956"/>
                <a:gd name="connsiteX5" fmla="*/ 172088 w 176283"/>
                <a:gd name="connsiteY5" fmla="*/ 175055 h 183956"/>
                <a:gd name="connsiteX6" fmla="*/ 175055 w 176283"/>
                <a:gd name="connsiteY6" fmla="*/ 180989 h 183956"/>
                <a:gd name="connsiteX7" fmla="*/ 172088 w 176283"/>
                <a:gd name="connsiteY7" fmla="*/ 183956 h 183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283" h="183956">
                  <a:moveTo>
                    <a:pt x="172088" y="183956"/>
                  </a:moveTo>
                  <a:cubicBezTo>
                    <a:pt x="172088" y="183956"/>
                    <a:pt x="172088" y="183956"/>
                    <a:pt x="172088" y="183956"/>
                  </a:cubicBezTo>
                  <a:cubicBezTo>
                    <a:pt x="56373" y="151319"/>
                    <a:pt x="2967" y="11868"/>
                    <a:pt x="0" y="5934"/>
                  </a:cubicBezTo>
                  <a:cubicBezTo>
                    <a:pt x="0" y="2967"/>
                    <a:pt x="0" y="0"/>
                    <a:pt x="2967" y="0"/>
                  </a:cubicBezTo>
                  <a:cubicBezTo>
                    <a:pt x="5934" y="0"/>
                    <a:pt x="8902" y="0"/>
                    <a:pt x="8902" y="2967"/>
                  </a:cubicBezTo>
                  <a:cubicBezTo>
                    <a:pt x="8902" y="2967"/>
                    <a:pt x="62308" y="145384"/>
                    <a:pt x="172088" y="175055"/>
                  </a:cubicBezTo>
                  <a:cubicBezTo>
                    <a:pt x="175055" y="175055"/>
                    <a:pt x="178022" y="178022"/>
                    <a:pt x="175055" y="180989"/>
                  </a:cubicBezTo>
                  <a:cubicBezTo>
                    <a:pt x="178022" y="180989"/>
                    <a:pt x="175055" y="183956"/>
                    <a:pt x="172088" y="183956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3EA817D0-22F2-4187-AB45-865886FB0B34}"/>
                </a:ext>
              </a:extLst>
            </p:cNvPr>
            <p:cNvSpPr/>
            <p:nvPr/>
          </p:nvSpPr>
          <p:spPr>
            <a:xfrm>
              <a:off x="13636514" y="9940834"/>
              <a:ext cx="169121" cy="186923"/>
            </a:xfrm>
            <a:custGeom>
              <a:avLst/>
              <a:gdLst>
                <a:gd name="connsiteX0" fmla="*/ 5934 w 169121"/>
                <a:gd name="connsiteY0" fmla="*/ 186924 h 186923"/>
                <a:gd name="connsiteX1" fmla="*/ 0 w 169121"/>
                <a:gd name="connsiteY1" fmla="*/ 183956 h 186923"/>
                <a:gd name="connsiteX2" fmla="*/ 2967 w 169121"/>
                <a:gd name="connsiteY2" fmla="*/ 178022 h 186923"/>
                <a:gd name="connsiteX3" fmla="*/ 157253 w 169121"/>
                <a:gd name="connsiteY3" fmla="*/ 2967 h 186923"/>
                <a:gd name="connsiteX4" fmla="*/ 166154 w 169121"/>
                <a:gd name="connsiteY4" fmla="*/ 0 h 186923"/>
                <a:gd name="connsiteX5" fmla="*/ 169121 w 169121"/>
                <a:gd name="connsiteY5" fmla="*/ 8902 h 186923"/>
                <a:gd name="connsiteX6" fmla="*/ 5934 w 169121"/>
                <a:gd name="connsiteY6" fmla="*/ 186924 h 186923"/>
                <a:gd name="connsiteX7" fmla="*/ 5934 w 169121"/>
                <a:gd name="connsiteY7" fmla="*/ 186924 h 18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121" h="186923">
                  <a:moveTo>
                    <a:pt x="5934" y="186924"/>
                  </a:moveTo>
                  <a:cubicBezTo>
                    <a:pt x="2967" y="186924"/>
                    <a:pt x="2967" y="186924"/>
                    <a:pt x="0" y="183956"/>
                  </a:cubicBezTo>
                  <a:cubicBezTo>
                    <a:pt x="0" y="180989"/>
                    <a:pt x="0" y="178022"/>
                    <a:pt x="2967" y="178022"/>
                  </a:cubicBezTo>
                  <a:cubicBezTo>
                    <a:pt x="80110" y="148352"/>
                    <a:pt x="157253" y="2967"/>
                    <a:pt x="157253" y="2967"/>
                  </a:cubicBezTo>
                  <a:cubicBezTo>
                    <a:pt x="157253" y="0"/>
                    <a:pt x="163187" y="0"/>
                    <a:pt x="166154" y="0"/>
                  </a:cubicBezTo>
                  <a:cubicBezTo>
                    <a:pt x="169121" y="0"/>
                    <a:pt x="169121" y="5934"/>
                    <a:pt x="169121" y="8902"/>
                  </a:cubicBezTo>
                  <a:cubicBezTo>
                    <a:pt x="166154" y="11868"/>
                    <a:pt x="89011" y="154286"/>
                    <a:pt x="5934" y="186924"/>
                  </a:cubicBezTo>
                  <a:cubicBezTo>
                    <a:pt x="8902" y="186924"/>
                    <a:pt x="5934" y="186924"/>
                    <a:pt x="5934" y="186924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7A184DED-E416-47C3-A4E4-273E4790D009}"/>
                </a:ext>
              </a:extLst>
            </p:cNvPr>
            <p:cNvSpPr/>
            <p:nvPr/>
          </p:nvSpPr>
          <p:spPr>
            <a:xfrm>
              <a:off x="13640559" y="8856489"/>
              <a:ext cx="795610" cy="959817"/>
            </a:xfrm>
            <a:custGeom>
              <a:avLst/>
              <a:gdLst>
                <a:gd name="connsiteX0" fmla="*/ 752548 w 795610"/>
                <a:gd name="connsiteY0" fmla="*/ 381158 h 959817"/>
                <a:gd name="connsiteX1" fmla="*/ 737713 w 795610"/>
                <a:gd name="connsiteY1" fmla="*/ 66653 h 959817"/>
                <a:gd name="connsiteX2" fmla="*/ 378702 w 795610"/>
                <a:gd name="connsiteY2" fmla="*/ 4345 h 959817"/>
                <a:gd name="connsiteX3" fmla="*/ 87933 w 795610"/>
                <a:gd name="connsiteY3" fmla="*/ 102257 h 959817"/>
                <a:gd name="connsiteX4" fmla="*/ 49362 w 795610"/>
                <a:gd name="connsiteY4" fmla="*/ 636323 h 959817"/>
                <a:gd name="connsiteX5" fmla="*/ 90900 w 795610"/>
                <a:gd name="connsiteY5" fmla="*/ 953795 h 959817"/>
                <a:gd name="connsiteX6" fmla="*/ 749582 w 795610"/>
                <a:gd name="connsiteY6" fmla="*/ 938960 h 959817"/>
                <a:gd name="connsiteX7" fmla="*/ 752548 w 795610"/>
                <a:gd name="connsiteY7" fmla="*/ 381158 h 959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610" h="959817">
                  <a:moveTo>
                    <a:pt x="752548" y="381158"/>
                  </a:moveTo>
                  <a:cubicBezTo>
                    <a:pt x="761450" y="351488"/>
                    <a:pt x="853428" y="128960"/>
                    <a:pt x="737713" y="66653"/>
                  </a:cubicBezTo>
                  <a:cubicBezTo>
                    <a:pt x="636834" y="13246"/>
                    <a:pt x="494417" y="-10490"/>
                    <a:pt x="378702" y="4345"/>
                  </a:cubicBezTo>
                  <a:cubicBezTo>
                    <a:pt x="251120" y="19180"/>
                    <a:pt x="123537" y="39949"/>
                    <a:pt x="87933" y="102257"/>
                  </a:cubicBezTo>
                  <a:cubicBezTo>
                    <a:pt x="-21847" y="283246"/>
                    <a:pt x="-21847" y="443465"/>
                    <a:pt x="49362" y="636323"/>
                  </a:cubicBezTo>
                  <a:cubicBezTo>
                    <a:pt x="70130" y="692697"/>
                    <a:pt x="76065" y="823246"/>
                    <a:pt x="90900" y="953795"/>
                  </a:cubicBezTo>
                  <a:cubicBezTo>
                    <a:pt x="90900" y="953795"/>
                    <a:pt x="366834" y="974565"/>
                    <a:pt x="749582" y="938960"/>
                  </a:cubicBezTo>
                  <a:cubicBezTo>
                    <a:pt x="716944" y="725334"/>
                    <a:pt x="746614" y="404894"/>
                    <a:pt x="752548" y="381158"/>
                  </a:cubicBezTo>
                  <a:close/>
                </a:path>
              </a:pathLst>
            </a:custGeom>
            <a:solidFill>
              <a:srgbClr val="F6EBE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724C5F15-E3CC-4901-AEBE-40BC0F81898B}"/>
                </a:ext>
              </a:extLst>
            </p:cNvPr>
            <p:cNvSpPr/>
            <p:nvPr/>
          </p:nvSpPr>
          <p:spPr>
            <a:xfrm>
              <a:off x="13912449" y="8685685"/>
              <a:ext cx="299670" cy="317566"/>
            </a:xfrm>
            <a:custGeom>
              <a:avLst/>
              <a:gdLst>
                <a:gd name="connsiteX0" fmla="*/ 53406 w 299670"/>
                <a:gd name="connsiteY0" fmla="*/ 59435 h 317566"/>
                <a:gd name="connsiteX1" fmla="*/ 0 w 299670"/>
                <a:gd name="connsiteY1" fmla="*/ 195918 h 317566"/>
                <a:gd name="connsiteX2" fmla="*/ 38571 w 299670"/>
                <a:gd name="connsiteY2" fmla="*/ 317567 h 317566"/>
                <a:gd name="connsiteX3" fmla="*/ 299671 w 299670"/>
                <a:gd name="connsiteY3" fmla="*/ 181083 h 317566"/>
                <a:gd name="connsiteX4" fmla="*/ 249231 w 299670"/>
                <a:gd name="connsiteY4" fmla="*/ 94 h 317566"/>
                <a:gd name="connsiteX5" fmla="*/ 53406 w 299670"/>
                <a:gd name="connsiteY5" fmla="*/ 59435 h 317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670" h="317566">
                  <a:moveTo>
                    <a:pt x="53406" y="59435"/>
                  </a:moveTo>
                  <a:cubicBezTo>
                    <a:pt x="53406" y="59435"/>
                    <a:pt x="59341" y="166248"/>
                    <a:pt x="0" y="195918"/>
                  </a:cubicBezTo>
                  <a:lnTo>
                    <a:pt x="38571" y="317567"/>
                  </a:lnTo>
                  <a:cubicBezTo>
                    <a:pt x="38571" y="317567"/>
                    <a:pt x="249231" y="210753"/>
                    <a:pt x="299671" y="181083"/>
                  </a:cubicBezTo>
                  <a:cubicBezTo>
                    <a:pt x="246263" y="139545"/>
                    <a:pt x="249231" y="59435"/>
                    <a:pt x="249231" y="94"/>
                  </a:cubicBezTo>
                  <a:cubicBezTo>
                    <a:pt x="249231" y="-2873"/>
                    <a:pt x="103846" y="65369"/>
                    <a:pt x="53406" y="59435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EEF4B1C7-6177-4C9C-BC4F-2DB10CAACCB3}"/>
                </a:ext>
              </a:extLst>
            </p:cNvPr>
            <p:cNvSpPr/>
            <p:nvPr/>
          </p:nvSpPr>
          <p:spPr>
            <a:xfrm>
              <a:off x="13635709" y="8958746"/>
              <a:ext cx="98717" cy="539999"/>
            </a:xfrm>
            <a:custGeom>
              <a:avLst/>
              <a:gdLst>
                <a:gd name="connsiteX0" fmla="*/ 54212 w 98717"/>
                <a:gd name="connsiteY0" fmla="*/ 540000 h 539999"/>
                <a:gd name="connsiteX1" fmla="*/ 48277 w 98717"/>
                <a:gd name="connsiteY1" fmla="*/ 537033 h 539999"/>
                <a:gd name="connsiteX2" fmla="*/ 33442 w 98717"/>
                <a:gd name="connsiteY2" fmla="*/ 483626 h 539999"/>
                <a:gd name="connsiteX3" fmla="*/ 805 w 98717"/>
                <a:gd name="connsiteY3" fmla="*/ 338242 h 539999"/>
                <a:gd name="connsiteX4" fmla="*/ 86849 w 98717"/>
                <a:gd name="connsiteY4" fmla="*/ 2967 h 539999"/>
                <a:gd name="connsiteX5" fmla="*/ 95750 w 98717"/>
                <a:gd name="connsiteY5" fmla="*/ 0 h 539999"/>
                <a:gd name="connsiteX6" fmla="*/ 98717 w 98717"/>
                <a:gd name="connsiteY6" fmla="*/ 8901 h 539999"/>
                <a:gd name="connsiteX7" fmla="*/ 12674 w 98717"/>
                <a:gd name="connsiteY7" fmla="*/ 338242 h 539999"/>
                <a:gd name="connsiteX8" fmla="*/ 45310 w 98717"/>
                <a:gd name="connsiteY8" fmla="*/ 483626 h 539999"/>
                <a:gd name="connsiteX9" fmla="*/ 60145 w 98717"/>
                <a:gd name="connsiteY9" fmla="*/ 537033 h 539999"/>
                <a:gd name="connsiteX10" fmla="*/ 54212 w 98717"/>
                <a:gd name="connsiteY10" fmla="*/ 540000 h 539999"/>
                <a:gd name="connsiteX11" fmla="*/ 54212 w 98717"/>
                <a:gd name="connsiteY11" fmla="*/ 540000 h 53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8717" h="539999">
                  <a:moveTo>
                    <a:pt x="54212" y="540000"/>
                  </a:moveTo>
                  <a:cubicBezTo>
                    <a:pt x="51245" y="540000"/>
                    <a:pt x="48277" y="537033"/>
                    <a:pt x="48277" y="537033"/>
                  </a:cubicBezTo>
                  <a:cubicBezTo>
                    <a:pt x="42344" y="519230"/>
                    <a:pt x="39377" y="501429"/>
                    <a:pt x="33442" y="483626"/>
                  </a:cubicBezTo>
                  <a:cubicBezTo>
                    <a:pt x="18607" y="433187"/>
                    <a:pt x="3772" y="382748"/>
                    <a:pt x="805" y="338242"/>
                  </a:cubicBezTo>
                  <a:cubicBezTo>
                    <a:pt x="-5129" y="216594"/>
                    <a:pt x="21574" y="103846"/>
                    <a:pt x="86849" y="2967"/>
                  </a:cubicBezTo>
                  <a:cubicBezTo>
                    <a:pt x="89816" y="0"/>
                    <a:pt x="92783" y="0"/>
                    <a:pt x="95750" y="0"/>
                  </a:cubicBezTo>
                  <a:cubicBezTo>
                    <a:pt x="98717" y="2967"/>
                    <a:pt x="98717" y="5934"/>
                    <a:pt x="98717" y="8901"/>
                  </a:cubicBezTo>
                  <a:cubicBezTo>
                    <a:pt x="36409" y="109780"/>
                    <a:pt x="6739" y="219560"/>
                    <a:pt x="12674" y="338242"/>
                  </a:cubicBezTo>
                  <a:cubicBezTo>
                    <a:pt x="15640" y="382748"/>
                    <a:pt x="30475" y="433187"/>
                    <a:pt x="45310" y="483626"/>
                  </a:cubicBezTo>
                  <a:cubicBezTo>
                    <a:pt x="51245" y="501429"/>
                    <a:pt x="57179" y="519230"/>
                    <a:pt x="60145" y="537033"/>
                  </a:cubicBezTo>
                  <a:cubicBezTo>
                    <a:pt x="60145" y="534066"/>
                    <a:pt x="60145" y="537033"/>
                    <a:pt x="54212" y="540000"/>
                  </a:cubicBezTo>
                  <a:cubicBezTo>
                    <a:pt x="57179" y="540000"/>
                    <a:pt x="54212" y="540000"/>
                    <a:pt x="54212" y="540000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645D6BDA-2715-4367-918C-1810DE2E0B07}"/>
                </a:ext>
              </a:extLst>
            </p:cNvPr>
            <p:cNvSpPr/>
            <p:nvPr/>
          </p:nvSpPr>
          <p:spPr>
            <a:xfrm>
              <a:off x="13755195" y="9386188"/>
              <a:ext cx="389910" cy="35415"/>
            </a:xfrm>
            <a:custGeom>
              <a:avLst/>
              <a:gdLst>
                <a:gd name="connsiteX0" fmla="*/ 5934 w 389910"/>
                <a:gd name="connsiteY0" fmla="*/ 35415 h 35415"/>
                <a:gd name="connsiteX1" fmla="*/ 0 w 389910"/>
                <a:gd name="connsiteY1" fmla="*/ 32448 h 35415"/>
                <a:gd name="connsiteX2" fmla="*/ 2967 w 389910"/>
                <a:gd name="connsiteY2" fmla="*/ 26515 h 35415"/>
                <a:gd name="connsiteX3" fmla="*/ 385714 w 389910"/>
                <a:gd name="connsiteY3" fmla="*/ 14647 h 35415"/>
                <a:gd name="connsiteX4" fmla="*/ 388682 w 389910"/>
                <a:gd name="connsiteY4" fmla="*/ 20580 h 35415"/>
                <a:gd name="connsiteX5" fmla="*/ 382748 w 389910"/>
                <a:gd name="connsiteY5" fmla="*/ 23547 h 35415"/>
                <a:gd name="connsiteX6" fmla="*/ 5934 w 389910"/>
                <a:gd name="connsiteY6" fmla="*/ 35415 h 35415"/>
                <a:gd name="connsiteX7" fmla="*/ 5934 w 389910"/>
                <a:gd name="connsiteY7" fmla="*/ 35415 h 3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9910" h="35415">
                  <a:moveTo>
                    <a:pt x="5934" y="35415"/>
                  </a:moveTo>
                  <a:cubicBezTo>
                    <a:pt x="2967" y="35415"/>
                    <a:pt x="2967" y="35415"/>
                    <a:pt x="0" y="32448"/>
                  </a:cubicBezTo>
                  <a:cubicBezTo>
                    <a:pt x="0" y="29482"/>
                    <a:pt x="0" y="26515"/>
                    <a:pt x="2967" y="26515"/>
                  </a:cubicBezTo>
                  <a:cubicBezTo>
                    <a:pt x="86045" y="-3156"/>
                    <a:pt x="287803" y="-9090"/>
                    <a:pt x="385714" y="14647"/>
                  </a:cubicBezTo>
                  <a:cubicBezTo>
                    <a:pt x="388682" y="14647"/>
                    <a:pt x="391649" y="17613"/>
                    <a:pt x="388682" y="20580"/>
                  </a:cubicBezTo>
                  <a:cubicBezTo>
                    <a:pt x="388682" y="23547"/>
                    <a:pt x="385714" y="26515"/>
                    <a:pt x="382748" y="23547"/>
                  </a:cubicBezTo>
                  <a:cubicBezTo>
                    <a:pt x="287803" y="-189"/>
                    <a:pt x="89011" y="5745"/>
                    <a:pt x="5934" y="35415"/>
                  </a:cubicBezTo>
                  <a:cubicBezTo>
                    <a:pt x="5934" y="35415"/>
                    <a:pt x="5934" y="35415"/>
                    <a:pt x="5934" y="35415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FDC7B71C-94B4-4B74-A8D5-B9C4467C6163}"/>
                </a:ext>
              </a:extLst>
            </p:cNvPr>
            <p:cNvSpPr/>
            <p:nvPr/>
          </p:nvSpPr>
          <p:spPr>
            <a:xfrm>
              <a:off x="13728492" y="9783582"/>
              <a:ext cx="305604" cy="29670"/>
            </a:xfrm>
            <a:custGeom>
              <a:avLst/>
              <a:gdLst>
                <a:gd name="connsiteX0" fmla="*/ 5934 w 305604"/>
                <a:gd name="connsiteY0" fmla="*/ 29670 h 29670"/>
                <a:gd name="connsiteX1" fmla="*/ 0 w 305604"/>
                <a:gd name="connsiteY1" fmla="*/ 23736 h 29670"/>
                <a:gd name="connsiteX2" fmla="*/ 5934 w 305604"/>
                <a:gd name="connsiteY2" fmla="*/ 17802 h 29670"/>
                <a:gd name="connsiteX3" fmla="*/ 299671 w 305604"/>
                <a:gd name="connsiteY3" fmla="*/ 0 h 29670"/>
                <a:gd name="connsiteX4" fmla="*/ 305605 w 305604"/>
                <a:gd name="connsiteY4" fmla="*/ 2967 h 29670"/>
                <a:gd name="connsiteX5" fmla="*/ 302638 w 305604"/>
                <a:gd name="connsiteY5" fmla="*/ 8901 h 29670"/>
                <a:gd name="connsiteX6" fmla="*/ 5934 w 305604"/>
                <a:gd name="connsiteY6" fmla="*/ 29670 h 29670"/>
                <a:gd name="connsiteX7" fmla="*/ 5934 w 305604"/>
                <a:gd name="connsiteY7" fmla="*/ 29670 h 29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5604" h="29670">
                  <a:moveTo>
                    <a:pt x="5934" y="29670"/>
                  </a:moveTo>
                  <a:cubicBezTo>
                    <a:pt x="2967" y="29670"/>
                    <a:pt x="0" y="26703"/>
                    <a:pt x="0" y="23736"/>
                  </a:cubicBezTo>
                  <a:cubicBezTo>
                    <a:pt x="0" y="20769"/>
                    <a:pt x="2967" y="17802"/>
                    <a:pt x="5934" y="17802"/>
                  </a:cubicBezTo>
                  <a:cubicBezTo>
                    <a:pt x="8902" y="17802"/>
                    <a:pt x="210660" y="14835"/>
                    <a:pt x="299671" y="0"/>
                  </a:cubicBezTo>
                  <a:cubicBezTo>
                    <a:pt x="302638" y="0"/>
                    <a:pt x="305605" y="0"/>
                    <a:pt x="305605" y="2967"/>
                  </a:cubicBezTo>
                  <a:cubicBezTo>
                    <a:pt x="305605" y="5934"/>
                    <a:pt x="305605" y="8901"/>
                    <a:pt x="302638" y="8901"/>
                  </a:cubicBezTo>
                  <a:cubicBezTo>
                    <a:pt x="210660" y="26703"/>
                    <a:pt x="5934" y="29670"/>
                    <a:pt x="5934" y="29670"/>
                  </a:cubicBezTo>
                  <a:lnTo>
                    <a:pt x="5934" y="29670"/>
                  </a:ln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716D324B-2DC7-42BE-A428-6D995BBB0A90}"/>
                </a:ext>
              </a:extLst>
            </p:cNvPr>
            <p:cNvSpPr/>
            <p:nvPr/>
          </p:nvSpPr>
          <p:spPr>
            <a:xfrm>
              <a:off x="14014332" y="8851933"/>
              <a:ext cx="645808" cy="1566593"/>
            </a:xfrm>
            <a:custGeom>
              <a:avLst/>
              <a:gdLst>
                <a:gd name="connsiteX0" fmla="*/ 22731 w 645808"/>
                <a:gd name="connsiteY0" fmla="*/ 299671 h 1566593"/>
                <a:gd name="connsiteX1" fmla="*/ 73171 w 645808"/>
                <a:gd name="connsiteY1" fmla="*/ 1008792 h 1566593"/>
                <a:gd name="connsiteX2" fmla="*/ 218556 w 645808"/>
                <a:gd name="connsiteY2" fmla="*/ 1566594 h 1566593"/>
                <a:gd name="connsiteX3" fmla="*/ 645808 w 645808"/>
                <a:gd name="connsiteY3" fmla="*/ 1347033 h 1566593"/>
                <a:gd name="connsiteX4" fmla="*/ 438116 w 645808"/>
                <a:gd name="connsiteY4" fmla="*/ 836703 h 1566593"/>
                <a:gd name="connsiteX5" fmla="*/ 438116 w 645808"/>
                <a:gd name="connsiteY5" fmla="*/ 379780 h 1566593"/>
                <a:gd name="connsiteX6" fmla="*/ 438116 w 645808"/>
                <a:gd name="connsiteY6" fmla="*/ 115715 h 1566593"/>
                <a:gd name="connsiteX7" fmla="*/ 182952 w 645808"/>
                <a:gd name="connsiteY7" fmla="*/ 0 h 1566593"/>
                <a:gd name="connsiteX8" fmla="*/ 22731 w 645808"/>
                <a:gd name="connsiteY8" fmla="*/ 299671 h 156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5808" h="1566593">
                  <a:moveTo>
                    <a:pt x="22731" y="299671"/>
                  </a:moveTo>
                  <a:cubicBezTo>
                    <a:pt x="-36609" y="528132"/>
                    <a:pt x="34600" y="771429"/>
                    <a:pt x="73171" y="1008792"/>
                  </a:cubicBezTo>
                  <a:cubicBezTo>
                    <a:pt x="105809" y="1198682"/>
                    <a:pt x="150314" y="1388572"/>
                    <a:pt x="218556" y="1566594"/>
                  </a:cubicBezTo>
                  <a:cubicBezTo>
                    <a:pt x="408446" y="1539890"/>
                    <a:pt x="550864" y="1462747"/>
                    <a:pt x="645808" y="1347033"/>
                  </a:cubicBezTo>
                  <a:cubicBezTo>
                    <a:pt x="586468" y="1222418"/>
                    <a:pt x="464820" y="973187"/>
                    <a:pt x="438116" y="836703"/>
                  </a:cubicBezTo>
                  <a:cubicBezTo>
                    <a:pt x="408446" y="685384"/>
                    <a:pt x="399545" y="531099"/>
                    <a:pt x="438116" y="379780"/>
                  </a:cubicBezTo>
                  <a:cubicBezTo>
                    <a:pt x="461853" y="290769"/>
                    <a:pt x="497457" y="198791"/>
                    <a:pt x="438116" y="115715"/>
                  </a:cubicBezTo>
                  <a:cubicBezTo>
                    <a:pt x="387677" y="47473"/>
                    <a:pt x="260094" y="11868"/>
                    <a:pt x="182952" y="0"/>
                  </a:cubicBezTo>
                  <a:cubicBezTo>
                    <a:pt x="179985" y="2967"/>
                    <a:pt x="49435" y="201758"/>
                    <a:pt x="22731" y="299671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00A1FA1E-CBE2-4759-A00F-5C64E1AFEA53}"/>
                </a:ext>
              </a:extLst>
            </p:cNvPr>
            <p:cNvSpPr/>
            <p:nvPr/>
          </p:nvSpPr>
          <p:spPr>
            <a:xfrm>
              <a:off x="13559282" y="8863801"/>
              <a:ext cx="379870" cy="1508128"/>
            </a:xfrm>
            <a:custGeom>
              <a:avLst/>
              <a:gdLst>
                <a:gd name="connsiteX0" fmla="*/ 90 w 379870"/>
                <a:gd name="connsiteY0" fmla="*/ 1480549 h 1508128"/>
                <a:gd name="connsiteX1" fmla="*/ 74266 w 379870"/>
                <a:gd name="connsiteY1" fmla="*/ 1504285 h 1508128"/>
                <a:gd name="connsiteX2" fmla="*/ 74266 w 379870"/>
                <a:gd name="connsiteY2" fmla="*/ 1403406 h 1508128"/>
                <a:gd name="connsiteX3" fmla="*/ 172178 w 379870"/>
                <a:gd name="connsiteY3" fmla="*/ 1050330 h 1508128"/>
                <a:gd name="connsiteX4" fmla="*/ 189980 w 379870"/>
                <a:gd name="connsiteY4" fmla="*/ 715055 h 1508128"/>
                <a:gd name="connsiteX5" fmla="*/ 356134 w 379870"/>
                <a:gd name="connsiteY5" fmla="*/ 17802 h 1508128"/>
                <a:gd name="connsiteX6" fmla="*/ 379870 w 379870"/>
                <a:gd name="connsiteY6" fmla="*/ 0 h 1508128"/>
                <a:gd name="connsiteX7" fmla="*/ 56464 w 379870"/>
                <a:gd name="connsiteY7" fmla="*/ 477693 h 1508128"/>
                <a:gd name="connsiteX8" fmla="*/ 86134 w 379870"/>
                <a:gd name="connsiteY8" fmla="*/ 703186 h 1508128"/>
                <a:gd name="connsiteX9" fmla="*/ 83167 w 379870"/>
                <a:gd name="connsiteY9" fmla="*/ 928681 h 1508128"/>
                <a:gd name="connsiteX10" fmla="*/ 90 w 379870"/>
                <a:gd name="connsiteY10" fmla="*/ 1480549 h 1508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9870" h="1508128">
                  <a:moveTo>
                    <a:pt x="90" y="1480549"/>
                  </a:moveTo>
                  <a:cubicBezTo>
                    <a:pt x="-2877" y="1498352"/>
                    <a:pt x="68332" y="1516154"/>
                    <a:pt x="74266" y="1504285"/>
                  </a:cubicBezTo>
                  <a:cubicBezTo>
                    <a:pt x="77232" y="1501319"/>
                    <a:pt x="74266" y="1409341"/>
                    <a:pt x="74266" y="1403406"/>
                  </a:cubicBezTo>
                  <a:cubicBezTo>
                    <a:pt x="92067" y="1275824"/>
                    <a:pt x="127672" y="1169011"/>
                    <a:pt x="172178" y="1050330"/>
                  </a:cubicBezTo>
                  <a:cubicBezTo>
                    <a:pt x="210749" y="940549"/>
                    <a:pt x="201848" y="830769"/>
                    <a:pt x="189980" y="715055"/>
                  </a:cubicBezTo>
                  <a:cubicBezTo>
                    <a:pt x="163277" y="465824"/>
                    <a:pt x="201848" y="222527"/>
                    <a:pt x="356134" y="17802"/>
                  </a:cubicBezTo>
                  <a:cubicBezTo>
                    <a:pt x="359100" y="14835"/>
                    <a:pt x="368002" y="14835"/>
                    <a:pt x="379870" y="0"/>
                  </a:cubicBezTo>
                  <a:cubicBezTo>
                    <a:pt x="130639" y="5934"/>
                    <a:pt x="32727" y="272967"/>
                    <a:pt x="56464" y="477693"/>
                  </a:cubicBezTo>
                  <a:cubicBezTo>
                    <a:pt x="65364" y="554835"/>
                    <a:pt x="83167" y="626044"/>
                    <a:pt x="86134" y="703186"/>
                  </a:cubicBezTo>
                  <a:cubicBezTo>
                    <a:pt x="89101" y="777362"/>
                    <a:pt x="86134" y="854505"/>
                    <a:pt x="83167" y="928681"/>
                  </a:cubicBezTo>
                  <a:cubicBezTo>
                    <a:pt x="74266" y="1088901"/>
                    <a:pt x="17892" y="1323297"/>
                    <a:pt x="90" y="1480549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AD37AE72-A4E2-4954-9A36-6CEC91E57B01}"/>
                </a:ext>
              </a:extLst>
            </p:cNvPr>
            <p:cNvSpPr/>
            <p:nvPr/>
          </p:nvSpPr>
          <p:spPr>
            <a:xfrm>
              <a:off x="13599409" y="9041823"/>
              <a:ext cx="63809" cy="732856"/>
            </a:xfrm>
            <a:custGeom>
              <a:avLst/>
              <a:gdLst>
                <a:gd name="connsiteX0" fmla="*/ 40072 w 63809"/>
                <a:gd name="connsiteY0" fmla="*/ 732857 h 732856"/>
                <a:gd name="connsiteX1" fmla="*/ 40072 w 63809"/>
                <a:gd name="connsiteY1" fmla="*/ 732857 h 732856"/>
                <a:gd name="connsiteX2" fmla="*/ 34139 w 63809"/>
                <a:gd name="connsiteY2" fmla="*/ 726923 h 732856"/>
                <a:gd name="connsiteX3" fmla="*/ 10402 w 63809"/>
                <a:gd name="connsiteY3" fmla="*/ 320439 h 732856"/>
                <a:gd name="connsiteX4" fmla="*/ 1501 w 63809"/>
                <a:gd name="connsiteY4" fmla="*/ 258131 h 732856"/>
                <a:gd name="connsiteX5" fmla="*/ 54907 w 63809"/>
                <a:gd name="connsiteY5" fmla="*/ 2967 h 732856"/>
                <a:gd name="connsiteX6" fmla="*/ 60842 w 63809"/>
                <a:gd name="connsiteY6" fmla="*/ 0 h 732856"/>
                <a:gd name="connsiteX7" fmla="*/ 63809 w 63809"/>
                <a:gd name="connsiteY7" fmla="*/ 5934 h 732856"/>
                <a:gd name="connsiteX8" fmla="*/ 10402 w 63809"/>
                <a:gd name="connsiteY8" fmla="*/ 255165 h 732856"/>
                <a:gd name="connsiteX9" fmla="*/ 19304 w 63809"/>
                <a:gd name="connsiteY9" fmla="*/ 317472 h 732856"/>
                <a:gd name="connsiteX10" fmla="*/ 43039 w 63809"/>
                <a:gd name="connsiteY10" fmla="*/ 726923 h 732856"/>
                <a:gd name="connsiteX11" fmla="*/ 40072 w 63809"/>
                <a:gd name="connsiteY11" fmla="*/ 732857 h 732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3809" h="732856">
                  <a:moveTo>
                    <a:pt x="40072" y="732857"/>
                  </a:moveTo>
                  <a:cubicBezTo>
                    <a:pt x="40072" y="732857"/>
                    <a:pt x="40072" y="732857"/>
                    <a:pt x="40072" y="732857"/>
                  </a:cubicBezTo>
                  <a:cubicBezTo>
                    <a:pt x="37105" y="732857"/>
                    <a:pt x="34139" y="729890"/>
                    <a:pt x="34139" y="726923"/>
                  </a:cubicBezTo>
                  <a:cubicBezTo>
                    <a:pt x="46007" y="611209"/>
                    <a:pt x="25237" y="436153"/>
                    <a:pt x="10402" y="320439"/>
                  </a:cubicBezTo>
                  <a:cubicBezTo>
                    <a:pt x="7435" y="296703"/>
                    <a:pt x="4468" y="275934"/>
                    <a:pt x="1501" y="258131"/>
                  </a:cubicBezTo>
                  <a:cubicBezTo>
                    <a:pt x="-10367" y="154286"/>
                    <a:pt x="51940" y="8901"/>
                    <a:pt x="54907" y="2967"/>
                  </a:cubicBezTo>
                  <a:cubicBezTo>
                    <a:pt x="54907" y="0"/>
                    <a:pt x="57875" y="0"/>
                    <a:pt x="60842" y="0"/>
                  </a:cubicBezTo>
                  <a:cubicBezTo>
                    <a:pt x="63809" y="0"/>
                    <a:pt x="63809" y="2967"/>
                    <a:pt x="63809" y="5934"/>
                  </a:cubicBezTo>
                  <a:cubicBezTo>
                    <a:pt x="63809" y="5934"/>
                    <a:pt x="-1466" y="154286"/>
                    <a:pt x="10402" y="255165"/>
                  </a:cubicBezTo>
                  <a:cubicBezTo>
                    <a:pt x="13369" y="272967"/>
                    <a:pt x="16336" y="293736"/>
                    <a:pt x="19304" y="317472"/>
                  </a:cubicBezTo>
                  <a:cubicBezTo>
                    <a:pt x="34139" y="433187"/>
                    <a:pt x="57875" y="608242"/>
                    <a:pt x="43039" y="726923"/>
                  </a:cubicBezTo>
                  <a:cubicBezTo>
                    <a:pt x="46007" y="729890"/>
                    <a:pt x="43039" y="732857"/>
                    <a:pt x="40072" y="732857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85B4EA9E-BBA9-45FC-83CA-0DA565F07131}"/>
                </a:ext>
              </a:extLst>
            </p:cNvPr>
            <p:cNvSpPr/>
            <p:nvPr/>
          </p:nvSpPr>
          <p:spPr>
            <a:xfrm>
              <a:off x="13854258" y="8240228"/>
              <a:ext cx="411267" cy="552675"/>
            </a:xfrm>
            <a:custGeom>
              <a:avLst/>
              <a:gdLst>
                <a:gd name="connsiteX0" fmla="*/ 7750 w 411267"/>
                <a:gd name="connsiteY0" fmla="*/ 178519 h 552675"/>
                <a:gd name="connsiteX1" fmla="*/ 19618 w 411267"/>
                <a:gd name="connsiteY1" fmla="*/ 427749 h 552675"/>
                <a:gd name="connsiteX2" fmla="*/ 165004 w 411267"/>
                <a:gd name="connsiteY2" fmla="*/ 552365 h 552675"/>
                <a:gd name="connsiteX3" fmla="*/ 375662 w 411267"/>
                <a:gd name="connsiteY3" fmla="*/ 412914 h 552675"/>
                <a:gd name="connsiteX4" fmla="*/ 411267 w 411267"/>
                <a:gd name="connsiteY4" fmla="*/ 193354 h 552675"/>
                <a:gd name="connsiteX5" fmla="*/ 203575 w 411267"/>
                <a:gd name="connsiteY5" fmla="*/ 497 h 552675"/>
                <a:gd name="connsiteX6" fmla="*/ 7750 w 411267"/>
                <a:gd name="connsiteY6" fmla="*/ 178519 h 5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1267" h="552675">
                  <a:moveTo>
                    <a:pt x="7750" y="178519"/>
                  </a:moveTo>
                  <a:cubicBezTo>
                    <a:pt x="7750" y="178519"/>
                    <a:pt x="-15985" y="362475"/>
                    <a:pt x="19618" y="427749"/>
                  </a:cubicBezTo>
                  <a:cubicBezTo>
                    <a:pt x="55223" y="493024"/>
                    <a:pt x="114564" y="549398"/>
                    <a:pt x="165004" y="552365"/>
                  </a:cubicBezTo>
                  <a:cubicBezTo>
                    <a:pt x="230278" y="558298"/>
                    <a:pt x="340059" y="478189"/>
                    <a:pt x="375662" y="412914"/>
                  </a:cubicBezTo>
                  <a:cubicBezTo>
                    <a:pt x="411267" y="347639"/>
                    <a:pt x="411267" y="243793"/>
                    <a:pt x="411267" y="193354"/>
                  </a:cubicBezTo>
                  <a:cubicBezTo>
                    <a:pt x="408300" y="101376"/>
                    <a:pt x="381597" y="24233"/>
                    <a:pt x="203575" y="497"/>
                  </a:cubicBezTo>
                  <a:cubicBezTo>
                    <a:pt x="117531" y="-8405"/>
                    <a:pt x="25553" y="104343"/>
                    <a:pt x="7750" y="178519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5BC4DAD7-7971-4DDD-A4FA-DE88FE28BE51}"/>
                </a:ext>
              </a:extLst>
            </p:cNvPr>
            <p:cNvSpPr/>
            <p:nvPr/>
          </p:nvSpPr>
          <p:spPr>
            <a:xfrm>
              <a:off x="13983657" y="8503561"/>
              <a:ext cx="53406" cy="128811"/>
            </a:xfrm>
            <a:custGeom>
              <a:avLst/>
              <a:gdLst>
                <a:gd name="connsiteX0" fmla="*/ 29670 w 53406"/>
                <a:gd name="connsiteY0" fmla="*/ 128812 h 128811"/>
                <a:gd name="connsiteX1" fmla="*/ 5934 w 53406"/>
                <a:gd name="connsiteY1" fmla="*/ 122878 h 128811"/>
                <a:gd name="connsiteX2" fmla="*/ 0 w 53406"/>
                <a:gd name="connsiteY2" fmla="*/ 111009 h 128811"/>
                <a:gd name="connsiteX3" fmla="*/ 26703 w 53406"/>
                <a:gd name="connsiteY3" fmla="*/ 4196 h 128811"/>
                <a:gd name="connsiteX4" fmla="*/ 32638 w 53406"/>
                <a:gd name="connsiteY4" fmla="*/ 1229 h 128811"/>
                <a:gd name="connsiteX5" fmla="*/ 35605 w 53406"/>
                <a:gd name="connsiteY5" fmla="*/ 7163 h 128811"/>
                <a:gd name="connsiteX6" fmla="*/ 8901 w 53406"/>
                <a:gd name="connsiteY6" fmla="*/ 111009 h 128811"/>
                <a:gd name="connsiteX7" fmla="*/ 8901 w 53406"/>
                <a:gd name="connsiteY7" fmla="*/ 113976 h 128811"/>
                <a:gd name="connsiteX8" fmla="*/ 47473 w 53406"/>
                <a:gd name="connsiteY8" fmla="*/ 113976 h 128811"/>
                <a:gd name="connsiteX9" fmla="*/ 53406 w 53406"/>
                <a:gd name="connsiteY9" fmla="*/ 119910 h 128811"/>
                <a:gd name="connsiteX10" fmla="*/ 47473 w 53406"/>
                <a:gd name="connsiteY10" fmla="*/ 125844 h 128811"/>
                <a:gd name="connsiteX11" fmla="*/ 29670 w 53406"/>
                <a:gd name="connsiteY11" fmla="*/ 128812 h 128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406" h="128811">
                  <a:moveTo>
                    <a:pt x="29670" y="128812"/>
                  </a:moveTo>
                  <a:cubicBezTo>
                    <a:pt x="20770" y="128812"/>
                    <a:pt x="11868" y="128812"/>
                    <a:pt x="5934" y="122878"/>
                  </a:cubicBezTo>
                  <a:cubicBezTo>
                    <a:pt x="2967" y="119910"/>
                    <a:pt x="0" y="116943"/>
                    <a:pt x="0" y="111009"/>
                  </a:cubicBezTo>
                  <a:cubicBezTo>
                    <a:pt x="0" y="90240"/>
                    <a:pt x="26703" y="7163"/>
                    <a:pt x="26703" y="4196"/>
                  </a:cubicBezTo>
                  <a:cubicBezTo>
                    <a:pt x="26703" y="1229"/>
                    <a:pt x="29670" y="-1738"/>
                    <a:pt x="32638" y="1229"/>
                  </a:cubicBezTo>
                  <a:cubicBezTo>
                    <a:pt x="35605" y="1229"/>
                    <a:pt x="38571" y="4196"/>
                    <a:pt x="35605" y="7163"/>
                  </a:cubicBezTo>
                  <a:cubicBezTo>
                    <a:pt x="29670" y="30899"/>
                    <a:pt x="8901" y="93207"/>
                    <a:pt x="8901" y="111009"/>
                  </a:cubicBezTo>
                  <a:cubicBezTo>
                    <a:pt x="8901" y="111009"/>
                    <a:pt x="8901" y="113976"/>
                    <a:pt x="8901" y="113976"/>
                  </a:cubicBezTo>
                  <a:cubicBezTo>
                    <a:pt x="14835" y="119910"/>
                    <a:pt x="35605" y="116943"/>
                    <a:pt x="47473" y="113976"/>
                  </a:cubicBezTo>
                  <a:cubicBezTo>
                    <a:pt x="50440" y="113976"/>
                    <a:pt x="53406" y="113976"/>
                    <a:pt x="53406" y="119910"/>
                  </a:cubicBezTo>
                  <a:cubicBezTo>
                    <a:pt x="53406" y="122878"/>
                    <a:pt x="53406" y="125844"/>
                    <a:pt x="47473" y="125844"/>
                  </a:cubicBezTo>
                  <a:cubicBezTo>
                    <a:pt x="50440" y="125844"/>
                    <a:pt x="41538" y="128812"/>
                    <a:pt x="29670" y="128812"/>
                  </a:cubicBezTo>
                  <a:close/>
                </a:path>
              </a:pathLst>
            </a:custGeom>
            <a:solidFill>
              <a:srgbClr val="E58777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8E84D7BC-660C-4945-A5EF-B17224C4727C}"/>
                </a:ext>
              </a:extLst>
            </p:cNvPr>
            <p:cNvSpPr/>
            <p:nvPr/>
          </p:nvSpPr>
          <p:spPr>
            <a:xfrm>
              <a:off x="13968822" y="8679845"/>
              <a:ext cx="103846" cy="53406"/>
            </a:xfrm>
            <a:custGeom>
              <a:avLst/>
              <a:gdLst>
                <a:gd name="connsiteX0" fmla="*/ 103846 w 103846"/>
                <a:gd name="connsiteY0" fmla="*/ 0 h 53406"/>
                <a:gd name="connsiteX1" fmla="*/ 0 w 103846"/>
                <a:gd name="connsiteY1" fmla="*/ 0 h 53406"/>
                <a:gd name="connsiteX2" fmla="*/ 50440 w 103846"/>
                <a:gd name="connsiteY2" fmla="*/ 53407 h 53406"/>
                <a:gd name="connsiteX3" fmla="*/ 103846 w 103846"/>
                <a:gd name="connsiteY3" fmla="*/ 0 h 53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46" h="53406">
                  <a:moveTo>
                    <a:pt x="103846" y="0"/>
                  </a:moveTo>
                  <a:cubicBezTo>
                    <a:pt x="50440" y="23736"/>
                    <a:pt x="0" y="0"/>
                    <a:pt x="0" y="0"/>
                  </a:cubicBezTo>
                  <a:cubicBezTo>
                    <a:pt x="0" y="0"/>
                    <a:pt x="14835" y="53407"/>
                    <a:pt x="50440" y="53407"/>
                  </a:cubicBezTo>
                  <a:cubicBezTo>
                    <a:pt x="89011" y="53407"/>
                    <a:pt x="103846" y="0"/>
                    <a:pt x="103846" y="0"/>
                  </a:cubicBezTo>
                  <a:close/>
                </a:path>
              </a:pathLst>
            </a:custGeom>
            <a:solidFill>
              <a:srgbClr val="FFFFFF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C90808BA-67A1-4D6A-AC60-C46A71CC76DC}"/>
                </a:ext>
              </a:extLst>
            </p:cNvPr>
            <p:cNvSpPr/>
            <p:nvPr/>
          </p:nvSpPr>
          <p:spPr>
            <a:xfrm>
              <a:off x="13914659" y="8477505"/>
              <a:ext cx="40083" cy="39909"/>
            </a:xfrm>
            <a:custGeom>
              <a:avLst/>
              <a:gdLst>
                <a:gd name="connsiteX0" fmla="*/ 39327 w 40083"/>
                <a:gd name="connsiteY0" fmla="*/ 24318 h 39909"/>
                <a:gd name="connsiteX1" fmla="*/ 15591 w 40083"/>
                <a:gd name="connsiteY1" fmla="*/ 39153 h 39909"/>
                <a:gd name="connsiteX2" fmla="*/ 756 w 40083"/>
                <a:gd name="connsiteY2" fmla="*/ 15417 h 39909"/>
                <a:gd name="connsiteX3" fmla="*/ 24492 w 40083"/>
                <a:gd name="connsiteY3" fmla="*/ 582 h 39909"/>
                <a:gd name="connsiteX4" fmla="*/ 39327 w 40083"/>
                <a:gd name="connsiteY4" fmla="*/ 24318 h 3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83" h="39909">
                  <a:moveTo>
                    <a:pt x="39327" y="24318"/>
                  </a:moveTo>
                  <a:cubicBezTo>
                    <a:pt x="36360" y="36186"/>
                    <a:pt x="27459" y="42120"/>
                    <a:pt x="15591" y="39153"/>
                  </a:cubicBezTo>
                  <a:cubicBezTo>
                    <a:pt x="3723" y="36186"/>
                    <a:pt x="-2211" y="27285"/>
                    <a:pt x="756" y="15417"/>
                  </a:cubicBezTo>
                  <a:cubicBezTo>
                    <a:pt x="3723" y="6516"/>
                    <a:pt x="12624" y="-2385"/>
                    <a:pt x="24492" y="582"/>
                  </a:cubicBezTo>
                  <a:cubicBezTo>
                    <a:pt x="36360" y="3549"/>
                    <a:pt x="42295" y="12450"/>
                    <a:pt x="39327" y="24318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EBC3D119-0457-4450-A18F-AE1611182320}"/>
                </a:ext>
              </a:extLst>
            </p:cNvPr>
            <p:cNvSpPr/>
            <p:nvPr/>
          </p:nvSpPr>
          <p:spPr>
            <a:xfrm>
              <a:off x="14101582" y="8483439"/>
              <a:ext cx="39327" cy="39909"/>
            </a:xfrm>
            <a:custGeom>
              <a:avLst/>
              <a:gdLst>
                <a:gd name="connsiteX0" fmla="*/ 39327 w 39327"/>
                <a:gd name="connsiteY0" fmla="*/ 24318 h 39909"/>
                <a:gd name="connsiteX1" fmla="*/ 15591 w 39327"/>
                <a:gd name="connsiteY1" fmla="*/ 39154 h 39909"/>
                <a:gd name="connsiteX2" fmla="*/ 756 w 39327"/>
                <a:gd name="connsiteY2" fmla="*/ 15417 h 39909"/>
                <a:gd name="connsiteX3" fmla="*/ 24492 w 39327"/>
                <a:gd name="connsiteY3" fmla="*/ 582 h 39909"/>
                <a:gd name="connsiteX4" fmla="*/ 39327 w 39327"/>
                <a:gd name="connsiteY4" fmla="*/ 24318 h 3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27" h="39909">
                  <a:moveTo>
                    <a:pt x="39327" y="24318"/>
                  </a:moveTo>
                  <a:cubicBezTo>
                    <a:pt x="36361" y="36186"/>
                    <a:pt x="27459" y="42120"/>
                    <a:pt x="15591" y="39154"/>
                  </a:cubicBezTo>
                  <a:cubicBezTo>
                    <a:pt x="3723" y="36186"/>
                    <a:pt x="-2211" y="27285"/>
                    <a:pt x="756" y="15417"/>
                  </a:cubicBezTo>
                  <a:cubicBezTo>
                    <a:pt x="3723" y="6516"/>
                    <a:pt x="12624" y="-2385"/>
                    <a:pt x="24492" y="582"/>
                  </a:cubicBezTo>
                  <a:cubicBezTo>
                    <a:pt x="33394" y="3549"/>
                    <a:pt x="39327" y="12450"/>
                    <a:pt x="39327" y="24318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3FF8193C-39E8-4CFC-A329-5B3D7591A71A}"/>
                </a:ext>
              </a:extLst>
            </p:cNvPr>
            <p:cNvSpPr/>
            <p:nvPr/>
          </p:nvSpPr>
          <p:spPr>
            <a:xfrm>
              <a:off x="13889453" y="8426164"/>
              <a:ext cx="89498" cy="34120"/>
            </a:xfrm>
            <a:custGeom>
              <a:avLst/>
              <a:gdLst>
                <a:gd name="connsiteX0" fmla="*/ 8160 w 89498"/>
                <a:gd name="connsiteY0" fmla="*/ 34121 h 34120"/>
                <a:gd name="connsiteX1" fmla="*/ 2225 w 89498"/>
                <a:gd name="connsiteY1" fmla="*/ 31154 h 34120"/>
                <a:gd name="connsiteX2" fmla="*/ 2225 w 89498"/>
                <a:gd name="connsiteY2" fmla="*/ 19286 h 34120"/>
                <a:gd name="connsiteX3" fmla="*/ 85303 w 89498"/>
                <a:gd name="connsiteY3" fmla="*/ 7418 h 34120"/>
                <a:gd name="connsiteX4" fmla="*/ 88269 w 89498"/>
                <a:gd name="connsiteY4" fmla="*/ 16319 h 34120"/>
                <a:gd name="connsiteX5" fmla="*/ 79368 w 89498"/>
                <a:gd name="connsiteY5" fmla="*/ 19286 h 34120"/>
                <a:gd name="connsiteX6" fmla="*/ 14093 w 89498"/>
                <a:gd name="connsiteY6" fmla="*/ 25220 h 34120"/>
                <a:gd name="connsiteX7" fmla="*/ 8160 w 89498"/>
                <a:gd name="connsiteY7" fmla="*/ 34121 h 34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4120">
                  <a:moveTo>
                    <a:pt x="8160" y="34121"/>
                  </a:moveTo>
                  <a:cubicBezTo>
                    <a:pt x="5193" y="34121"/>
                    <a:pt x="5193" y="34121"/>
                    <a:pt x="2225" y="31154"/>
                  </a:cubicBezTo>
                  <a:cubicBezTo>
                    <a:pt x="-742" y="28187"/>
                    <a:pt x="-742" y="22253"/>
                    <a:pt x="2225" y="19286"/>
                  </a:cubicBezTo>
                  <a:cubicBezTo>
                    <a:pt x="28929" y="-10385"/>
                    <a:pt x="67501" y="1483"/>
                    <a:pt x="85303" y="7418"/>
                  </a:cubicBezTo>
                  <a:cubicBezTo>
                    <a:pt x="88269" y="10385"/>
                    <a:pt x="91236" y="13352"/>
                    <a:pt x="88269" y="16319"/>
                  </a:cubicBezTo>
                  <a:cubicBezTo>
                    <a:pt x="85303" y="19286"/>
                    <a:pt x="82336" y="22253"/>
                    <a:pt x="79368" y="19286"/>
                  </a:cubicBezTo>
                  <a:cubicBezTo>
                    <a:pt x="76401" y="19286"/>
                    <a:pt x="37830" y="-1483"/>
                    <a:pt x="14093" y="25220"/>
                  </a:cubicBezTo>
                  <a:cubicBezTo>
                    <a:pt x="14093" y="34121"/>
                    <a:pt x="11127" y="34121"/>
                    <a:pt x="8160" y="34121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D552C19B-5529-470E-9BA9-3E2001EB8914}"/>
                </a:ext>
              </a:extLst>
            </p:cNvPr>
            <p:cNvSpPr/>
            <p:nvPr/>
          </p:nvSpPr>
          <p:spPr>
            <a:xfrm>
              <a:off x="14074406" y="8427949"/>
              <a:ext cx="89498" cy="35302"/>
            </a:xfrm>
            <a:custGeom>
              <a:avLst/>
              <a:gdLst>
                <a:gd name="connsiteX0" fmla="*/ 84306 w 89498"/>
                <a:gd name="connsiteY0" fmla="*/ 35303 h 35302"/>
                <a:gd name="connsiteX1" fmla="*/ 78372 w 89498"/>
                <a:gd name="connsiteY1" fmla="*/ 32335 h 35302"/>
                <a:gd name="connsiteX2" fmla="*/ 13097 w 89498"/>
                <a:gd name="connsiteY2" fmla="*/ 26401 h 35302"/>
                <a:gd name="connsiteX3" fmla="*/ 1229 w 89498"/>
                <a:gd name="connsiteY3" fmla="*/ 23434 h 35302"/>
                <a:gd name="connsiteX4" fmla="*/ 4196 w 89498"/>
                <a:gd name="connsiteY4" fmla="*/ 11566 h 35302"/>
                <a:gd name="connsiteX5" fmla="*/ 87273 w 89498"/>
                <a:gd name="connsiteY5" fmla="*/ 20467 h 35302"/>
                <a:gd name="connsiteX6" fmla="*/ 87273 w 89498"/>
                <a:gd name="connsiteY6" fmla="*/ 32335 h 35302"/>
                <a:gd name="connsiteX7" fmla="*/ 84306 w 89498"/>
                <a:gd name="connsiteY7" fmla="*/ 35303 h 35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302">
                  <a:moveTo>
                    <a:pt x="84306" y="35303"/>
                  </a:moveTo>
                  <a:cubicBezTo>
                    <a:pt x="81338" y="35303"/>
                    <a:pt x="81338" y="35303"/>
                    <a:pt x="78372" y="32335"/>
                  </a:cubicBezTo>
                  <a:cubicBezTo>
                    <a:pt x="78372" y="32335"/>
                    <a:pt x="48702" y="2665"/>
                    <a:pt x="13097" y="26401"/>
                  </a:cubicBezTo>
                  <a:cubicBezTo>
                    <a:pt x="10130" y="29368"/>
                    <a:pt x="4196" y="26401"/>
                    <a:pt x="1229" y="23434"/>
                  </a:cubicBezTo>
                  <a:cubicBezTo>
                    <a:pt x="-1738" y="20467"/>
                    <a:pt x="1229" y="14533"/>
                    <a:pt x="4196" y="11566"/>
                  </a:cubicBezTo>
                  <a:cubicBezTo>
                    <a:pt x="39800" y="-12170"/>
                    <a:pt x="75405" y="5632"/>
                    <a:pt x="87273" y="20467"/>
                  </a:cubicBezTo>
                  <a:cubicBezTo>
                    <a:pt x="90240" y="23434"/>
                    <a:pt x="90240" y="29368"/>
                    <a:pt x="87273" y="32335"/>
                  </a:cubicBezTo>
                  <a:cubicBezTo>
                    <a:pt x="87273" y="35303"/>
                    <a:pt x="84306" y="35303"/>
                    <a:pt x="84306" y="35303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85A902DD-4600-4A14-B67A-63A646A36CA0}"/>
                </a:ext>
              </a:extLst>
            </p:cNvPr>
            <p:cNvSpPr/>
            <p:nvPr/>
          </p:nvSpPr>
          <p:spPr>
            <a:xfrm>
              <a:off x="13835086" y="8208844"/>
              <a:ext cx="269287" cy="251440"/>
            </a:xfrm>
            <a:custGeom>
              <a:avLst/>
              <a:gdLst>
                <a:gd name="connsiteX0" fmla="*/ 267253 w 269287"/>
                <a:gd name="connsiteY0" fmla="*/ 2210 h 251440"/>
                <a:gd name="connsiteX1" fmla="*/ 231648 w 269287"/>
                <a:gd name="connsiteY1" fmla="*/ 126825 h 251440"/>
                <a:gd name="connsiteX2" fmla="*/ 220 w 269287"/>
                <a:gd name="connsiteY2" fmla="*/ 251441 h 251440"/>
                <a:gd name="connsiteX3" fmla="*/ 267253 w 269287"/>
                <a:gd name="connsiteY3" fmla="*/ 2210 h 25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287" h="251440">
                  <a:moveTo>
                    <a:pt x="267253" y="2210"/>
                  </a:moveTo>
                  <a:cubicBezTo>
                    <a:pt x="267253" y="2210"/>
                    <a:pt x="282088" y="88254"/>
                    <a:pt x="231648" y="126825"/>
                  </a:cubicBezTo>
                  <a:cubicBezTo>
                    <a:pt x="231648" y="126825"/>
                    <a:pt x="26923" y="168363"/>
                    <a:pt x="220" y="251441"/>
                  </a:cubicBezTo>
                  <a:cubicBezTo>
                    <a:pt x="220" y="251441"/>
                    <a:pt x="-17583" y="-27460"/>
                    <a:pt x="267253" y="2210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A418D96D-B5F8-4A09-A565-744D8D996626}"/>
                </a:ext>
              </a:extLst>
            </p:cNvPr>
            <p:cNvSpPr/>
            <p:nvPr/>
          </p:nvSpPr>
          <p:spPr>
            <a:xfrm>
              <a:off x="14066734" y="8211054"/>
              <a:ext cx="218242" cy="306085"/>
            </a:xfrm>
            <a:custGeom>
              <a:avLst/>
              <a:gdLst>
                <a:gd name="connsiteX0" fmla="*/ 0 w 218242"/>
                <a:gd name="connsiteY0" fmla="*/ 124615 h 306085"/>
                <a:gd name="connsiteX1" fmla="*/ 136484 w 218242"/>
                <a:gd name="connsiteY1" fmla="*/ 178022 h 306085"/>
                <a:gd name="connsiteX2" fmla="*/ 192857 w 218242"/>
                <a:gd name="connsiteY2" fmla="*/ 293736 h 306085"/>
                <a:gd name="connsiteX3" fmla="*/ 216594 w 218242"/>
                <a:gd name="connsiteY3" fmla="*/ 290769 h 306085"/>
                <a:gd name="connsiteX4" fmla="*/ 32638 w 218242"/>
                <a:gd name="connsiteY4" fmla="*/ 0 h 306085"/>
                <a:gd name="connsiteX5" fmla="*/ 0 w 218242"/>
                <a:gd name="connsiteY5" fmla="*/ 124615 h 306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8242" h="306085">
                  <a:moveTo>
                    <a:pt x="0" y="124615"/>
                  </a:moveTo>
                  <a:cubicBezTo>
                    <a:pt x="0" y="124615"/>
                    <a:pt x="89011" y="172088"/>
                    <a:pt x="136484" y="178022"/>
                  </a:cubicBezTo>
                  <a:cubicBezTo>
                    <a:pt x="186924" y="183956"/>
                    <a:pt x="192857" y="293736"/>
                    <a:pt x="192857" y="293736"/>
                  </a:cubicBezTo>
                  <a:cubicBezTo>
                    <a:pt x="192857" y="293736"/>
                    <a:pt x="213627" y="323406"/>
                    <a:pt x="216594" y="290769"/>
                  </a:cubicBezTo>
                  <a:cubicBezTo>
                    <a:pt x="222527" y="213626"/>
                    <a:pt x="222527" y="20769"/>
                    <a:pt x="32638" y="0"/>
                  </a:cubicBezTo>
                  <a:cubicBezTo>
                    <a:pt x="35605" y="0"/>
                    <a:pt x="23737" y="121648"/>
                    <a:pt x="0" y="124615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8619828F-FF3A-4BE9-89EA-42BA78113ECE}"/>
                </a:ext>
              </a:extLst>
            </p:cNvPr>
            <p:cNvSpPr/>
            <p:nvPr/>
          </p:nvSpPr>
          <p:spPr>
            <a:xfrm>
              <a:off x="14063767" y="8255560"/>
              <a:ext cx="151317" cy="139450"/>
            </a:xfrm>
            <a:custGeom>
              <a:avLst/>
              <a:gdLst>
                <a:gd name="connsiteX0" fmla="*/ 142417 w 151317"/>
                <a:gd name="connsiteY0" fmla="*/ 139450 h 139450"/>
                <a:gd name="connsiteX1" fmla="*/ 142417 w 151317"/>
                <a:gd name="connsiteY1" fmla="*/ 139450 h 139450"/>
                <a:gd name="connsiteX2" fmla="*/ 47472 w 151317"/>
                <a:gd name="connsiteY2" fmla="*/ 106813 h 139450"/>
                <a:gd name="connsiteX3" fmla="*/ 2966 w 151317"/>
                <a:gd name="connsiteY3" fmla="*/ 83077 h 139450"/>
                <a:gd name="connsiteX4" fmla="*/ 0 w 151317"/>
                <a:gd name="connsiteY4" fmla="*/ 80110 h 139450"/>
                <a:gd name="connsiteX5" fmla="*/ 0 w 151317"/>
                <a:gd name="connsiteY5" fmla="*/ 74176 h 139450"/>
                <a:gd name="connsiteX6" fmla="*/ 26703 w 151317"/>
                <a:gd name="connsiteY6" fmla="*/ 5934 h 139450"/>
                <a:gd name="connsiteX7" fmla="*/ 32637 w 151317"/>
                <a:gd name="connsiteY7" fmla="*/ 0 h 139450"/>
                <a:gd name="connsiteX8" fmla="*/ 38571 w 151317"/>
                <a:gd name="connsiteY8" fmla="*/ 5934 h 139450"/>
                <a:gd name="connsiteX9" fmla="*/ 14835 w 151317"/>
                <a:gd name="connsiteY9" fmla="*/ 74176 h 139450"/>
                <a:gd name="connsiteX10" fmla="*/ 53406 w 151317"/>
                <a:gd name="connsiteY10" fmla="*/ 94945 h 139450"/>
                <a:gd name="connsiteX11" fmla="*/ 145384 w 151317"/>
                <a:gd name="connsiteY11" fmla="*/ 124615 h 139450"/>
                <a:gd name="connsiteX12" fmla="*/ 151318 w 151317"/>
                <a:gd name="connsiteY12" fmla="*/ 130549 h 139450"/>
                <a:gd name="connsiteX13" fmla="*/ 142417 w 151317"/>
                <a:gd name="connsiteY13" fmla="*/ 139450 h 13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1317" h="139450">
                  <a:moveTo>
                    <a:pt x="142417" y="139450"/>
                  </a:moveTo>
                  <a:cubicBezTo>
                    <a:pt x="142417" y="139450"/>
                    <a:pt x="139450" y="139450"/>
                    <a:pt x="142417" y="139450"/>
                  </a:cubicBezTo>
                  <a:cubicBezTo>
                    <a:pt x="112747" y="136483"/>
                    <a:pt x="80109" y="124615"/>
                    <a:pt x="47472" y="106813"/>
                  </a:cubicBezTo>
                  <a:cubicBezTo>
                    <a:pt x="20769" y="94945"/>
                    <a:pt x="2966" y="83077"/>
                    <a:pt x="2966" y="83077"/>
                  </a:cubicBezTo>
                  <a:cubicBezTo>
                    <a:pt x="2966" y="83077"/>
                    <a:pt x="0" y="80110"/>
                    <a:pt x="0" y="80110"/>
                  </a:cubicBezTo>
                  <a:cubicBezTo>
                    <a:pt x="0" y="77143"/>
                    <a:pt x="0" y="77143"/>
                    <a:pt x="0" y="74176"/>
                  </a:cubicBezTo>
                  <a:cubicBezTo>
                    <a:pt x="5934" y="68241"/>
                    <a:pt x="23736" y="29670"/>
                    <a:pt x="26703" y="5934"/>
                  </a:cubicBezTo>
                  <a:cubicBezTo>
                    <a:pt x="26703" y="2967"/>
                    <a:pt x="29670" y="0"/>
                    <a:pt x="32637" y="0"/>
                  </a:cubicBezTo>
                  <a:cubicBezTo>
                    <a:pt x="35604" y="0"/>
                    <a:pt x="38571" y="2967"/>
                    <a:pt x="38571" y="5934"/>
                  </a:cubicBezTo>
                  <a:cubicBezTo>
                    <a:pt x="38571" y="29670"/>
                    <a:pt x="23736" y="62307"/>
                    <a:pt x="14835" y="74176"/>
                  </a:cubicBezTo>
                  <a:cubicBezTo>
                    <a:pt x="20769" y="77143"/>
                    <a:pt x="35604" y="86044"/>
                    <a:pt x="53406" y="94945"/>
                  </a:cubicBezTo>
                  <a:cubicBezTo>
                    <a:pt x="86044" y="109780"/>
                    <a:pt x="118681" y="121648"/>
                    <a:pt x="145384" y="124615"/>
                  </a:cubicBezTo>
                  <a:cubicBezTo>
                    <a:pt x="148352" y="124615"/>
                    <a:pt x="151318" y="127582"/>
                    <a:pt x="151318" y="130549"/>
                  </a:cubicBezTo>
                  <a:cubicBezTo>
                    <a:pt x="145384" y="136483"/>
                    <a:pt x="145384" y="139450"/>
                    <a:pt x="142417" y="139450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83B2D590-E517-4F97-AF6F-555976A4B2CB}"/>
                </a:ext>
              </a:extLst>
            </p:cNvPr>
            <p:cNvSpPr/>
            <p:nvPr/>
          </p:nvSpPr>
          <p:spPr>
            <a:xfrm>
              <a:off x="13948794" y="8723122"/>
              <a:ext cx="217081" cy="78371"/>
            </a:xfrm>
            <a:custGeom>
              <a:avLst/>
              <a:gdLst>
                <a:gd name="connsiteX0" fmla="*/ 70468 w 217081"/>
                <a:gd name="connsiteY0" fmla="*/ 78372 h 78371"/>
                <a:gd name="connsiteX1" fmla="*/ 2225 w 217081"/>
                <a:gd name="connsiteY1" fmla="*/ 51669 h 78371"/>
                <a:gd name="connsiteX2" fmla="*/ 2225 w 217081"/>
                <a:gd name="connsiteY2" fmla="*/ 42768 h 78371"/>
                <a:gd name="connsiteX3" fmla="*/ 11127 w 217081"/>
                <a:gd name="connsiteY3" fmla="*/ 42768 h 78371"/>
                <a:gd name="connsiteX4" fmla="*/ 79368 w 217081"/>
                <a:gd name="connsiteY4" fmla="*/ 66504 h 78371"/>
                <a:gd name="connsiteX5" fmla="*/ 206951 w 217081"/>
                <a:gd name="connsiteY5" fmla="*/ 1229 h 78371"/>
                <a:gd name="connsiteX6" fmla="*/ 215852 w 217081"/>
                <a:gd name="connsiteY6" fmla="*/ 4196 h 78371"/>
                <a:gd name="connsiteX7" fmla="*/ 212885 w 217081"/>
                <a:gd name="connsiteY7" fmla="*/ 13097 h 78371"/>
                <a:gd name="connsiteX8" fmla="*/ 79368 w 217081"/>
                <a:gd name="connsiteY8" fmla="*/ 78372 h 78371"/>
                <a:gd name="connsiteX9" fmla="*/ 70468 w 217081"/>
                <a:gd name="connsiteY9" fmla="*/ 78372 h 78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081" h="78371">
                  <a:moveTo>
                    <a:pt x="70468" y="78372"/>
                  </a:moveTo>
                  <a:cubicBezTo>
                    <a:pt x="31896" y="78372"/>
                    <a:pt x="5193" y="51669"/>
                    <a:pt x="2225" y="51669"/>
                  </a:cubicBezTo>
                  <a:cubicBezTo>
                    <a:pt x="-742" y="48702"/>
                    <a:pt x="-742" y="45734"/>
                    <a:pt x="2225" y="42768"/>
                  </a:cubicBezTo>
                  <a:cubicBezTo>
                    <a:pt x="5193" y="39800"/>
                    <a:pt x="8160" y="39800"/>
                    <a:pt x="11127" y="42768"/>
                  </a:cubicBezTo>
                  <a:cubicBezTo>
                    <a:pt x="11127" y="42768"/>
                    <a:pt x="43764" y="69471"/>
                    <a:pt x="79368" y="66504"/>
                  </a:cubicBezTo>
                  <a:cubicBezTo>
                    <a:pt x="117940" y="60570"/>
                    <a:pt x="206951" y="1229"/>
                    <a:pt x="206951" y="1229"/>
                  </a:cubicBezTo>
                  <a:cubicBezTo>
                    <a:pt x="209918" y="-1738"/>
                    <a:pt x="212885" y="1229"/>
                    <a:pt x="215852" y="4196"/>
                  </a:cubicBezTo>
                  <a:cubicBezTo>
                    <a:pt x="218819" y="7163"/>
                    <a:pt x="215852" y="10130"/>
                    <a:pt x="212885" y="13097"/>
                  </a:cubicBezTo>
                  <a:cubicBezTo>
                    <a:pt x="209918" y="16064"/>
                    <a:pt x="120907" y="75405"/>
                    <a:pt x="79368" y="78372"/>
                  </a:cubicBezTo>
                  <a:cubicBezTo>
                    <a:pt x="79368" y="78372"/>
                    <a:pt x="73434" y="78372"/>
                    <a:pt x="70468" y="78372"/>
                  </a:cubicBezTo>
                  <a:close/>
                </a:path>
              </a:pathLst>
            </a:custGeom>
            <a:solidFill>
              <a:srgbClr val="E58777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81B8F4E4-92A6-467E-95C9-916B5CE885F7}"/>
                </a:ext>
              </a:extLst>
            </p:cNvPr>
            <p:cNvSpPr/>
            <p:nvPr/>
          </p:nvSpPr>
          <p:spPr>
            <a:xfrm>
              <a:off x="14223987" y="8491477"/>
              <a:ext cx="75502" cy="110990"/>
            </a:xfrm>
            <a:custGeom>
              <a:avLst/>
              <a:gdLst>
                <a:gd name="connsiteX0" fmla="*/ 11868 w 75502"/>
                <a:gd name="connsiteY0" fmla="*/ 16280 h 110990"/>
                <a:gd name="connsiteX1" fmla="*/ 68242 w 75502"/>
                <a:gd name="connsiteY1" fmla="*/ 7379 h 110990"/>
                <a:gd name="connsiteX2" fmla="*/ 11868 w 75502"/>
                <a:gd name="connsiteY2" fmla="*/ 108258 h 110990"/>
                <a:gd name="connsiteX3" fmla="*/ 11868 w 75502"/>
                <a:gd name="connsiteY3" fmla="*/ 16280 h 110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502" h="110990">
                  <a:moveTo>
                    <a:pt x="11868" y="16280"/>
                  </a:moveTo>
                  <a:cubicBezTo>
                    <a:pt x="11868" y="16280"/>
                    <a:pt x="44506" y="-13390"/>
                    <a:pt x="68242" y="7379"/>
                  </a:cubicBezTo>
                  <a:cubicBezTo>
                    <a:pt x="91978" y="25181"/>
                    <a:pt x="53406" y="129027"/>
                    <a:pt x="11868" y="108258"/>
                  </a:cubicBezTo>
                  <a:cubicBezTo>
                    <a:pt x="-14835" y="87489"/>
                    <a:pt x="11868" y="16280"/>
                    <a:pt x="11868" y="16280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2D73F921-149D-4ABE-9185-86105C563012}"/>
                </a:ext>
              </a:extLst>
            </p:cNvPr>
            <p:cNvSpPr/>
            <p:nvPr/>
          </p:nvSpPr>
          <p:spPr>
            <a:xfrm>
              <a:off x="13829371" y="8329735"/>
              <a:ext cx="246264" cy="154285"/>
            </a:xfrm>
            <a:custGeom>
              <a:avLst/>
              <a:gdLst>
                <a:gd name="connsiteX0" fmla="*/ 5934 w 246264"/>
                <a:gd name="connsiteY0" fmla="*/ 154286 h 154285"/>
                <a:gd name="connsiteX1" fmla="*/ 5934 w 246264"/>
                <a:gd name="connsiteY1" fmla="*/ 154286 h 154285"/>
                <a:gd name="connsiteX2" fmla="*/ 0 w 246264"/>
                <a:gd name="connsiteY2" fmla="*/ 148352 h 154285"/>
                <a:gd name="connsiteX3" fmla="*/ 106813 w 246264"/>
                <a:gd name="connsiteY3" fmla="*/ 44505 h 154285"/>
                <a:gd name="connsiteX4" fmla="*/ 237363 w 246264"/>
                <a:gd name="connsiteY4" fmla="*/ 0 h 154285"/>
                <a:gd name="connsiteX5" fmla="*/ 246264 w 246264"/>
                <a:gd name="connsiteY5" fmla="*/ 2967 h 154285"/>
                <a:gd name="connsiteX6" fmla="*/ 243297 w 246264"/>
                <a:gd name="connsiteY6" fmla="*/ 11868 h 154285"/>
                <a:gd name="connsiteX7" fmla="*/ 112748 w 246264"/>
                <a:gd name="connsiteY7" fmla="*/ 56373 h 154285"/>
                <a:gd name="connsiteX8" fmla="*/ 14835 w 246264"/>
                <a:gd name="connsiteY8" fmla="*/ 151318 h 154285"/>
                <a:gd name="connsiteX9" fmla="*/ 5934 w 246264"/>
                <a:gd name="connsiteY9" fmla="*/ 154286 h 154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264" h="154285">
                  <a:moveTo>
                    <a:pt x="5934" y="154286"/>
                  </a:moveTo>
                  <a:cubicBezTo>
                    <a:pt x="5934" y="154286"/>
                    <a:pt x="5934" y="154286"/>
                    <a:pt x="5934" y="154286"/>
                  </a:cubicBezTo>
                  <a:cubicBezTo>
                    <a:pt x="2967" y="154286"/>
                    <a:pt x="0" y="151318"/>
                    <a:pt x="0" y="148352"/>
                  </a:cubicBezTo>
                  <a:cubicBezTo>
                    <a:pt x="11869" y="80110"/>
                    <a:pt x="59341" y="59341"/>
                    <a:pt x="106813" y="44505"/>
                  </a:cubicBezTo>
                  <a:cubicBezTo>
                    <a:pt x="172088" y="26703"/>
                    <a:pt x="234396" y="0"/>
                    <a:pt x="237363" y="0"/>
                  </a:cubicBezTo>
                  <a:cubicBezTo>
                    <a:pt x="240330" y="0"/>
                    <a:pt x="243297" y="0"/>
                    <a:pt x="246264" y="2967"/>
                  </a:cubicBezTo>
                  <a:cubicBezTo>
                    <a:pt x="246264" y="5934"/>
                    <a:pt x="246264" y="8901"/>
                    <a:pt x="243297" y="11868"/>
                  </a:cubicBezTo>
                  <a:cubicBezTo>
                    <a:pt x="243297" y="11868"/>
                    <a:pt x="178022" y="35604"/>
                    <a:pt x="112748" y="56373"/>
                  </a:cubicBezTo>
                  <a:cubicBezTo>
                    <a:pt x="59341" y="71209"/>
                    <a:pt x="23737" y="94945"/>
                    <a:pt x="14835" y="151318"/>
                  </a:cubicBezTo>
                  <a:cubicBezTo>
                    <a:pt x="11869" y="151318"/>
                    <a:pt x="8902" y="154286"/>
                    <a:pt x="5934" y="154286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72AAFC94-6A46-49CA-8E73-A22F8669EE39}"/>
                </a:ext>
              </a:extLst>
            </p:cNvPr>
            <p:cNvSpPr/>
            <p:nvPr/>
          </p:nvSpPr>
          <p:spPr>
            <a:xfrm>
              <a:off x="10940084" y="8654586"/>
              <a:ext cx="438518" cy="594929"/>
            </a:xfrm>
            <a:custGeom>
              <a:avLst/>
              <a:gdLst>
                <a:gd name="connsiteX0" fmla="*/ 61705 w 438518"/>
                <a:gd name="connsiteY0" fmla="*/ 594929 h 594929"/>
                <a:gd name="connsiteX1" fmla="*/ 49837 w 438518"/>
                <a:gd name="connsiteY1" fmla="*/ 10424 h 594929"/>
                <a:gd name="connsiteX2" fmla="*/ 438518 w 438518"/>
                <a:gd name="connsiteY2" fmla="*/ 431743 h 594929"/>
                <a:gd name="connsiteX3" fmla="*/ 61705 w 438518"/>
                <a:gd name="connsiteY3" fmla="*/ 594929 h 594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518" h="594929">
                  <a:moveTo>
                    <a:pt x="61705" y="594929"/>
                  </a:moveTo>
                  <a:cubicBezTo>
                    <a:pt x="61705" y="594929"/>
                    <a:pt x="-68844" y="87567"/>
                    <a:pt x="49837" y="10424"/>
                  </a:cubicBezTo>
                  <a:cubicBezTo>
                    <a:pt x="189287" y="-78587"/>
                    <a:pt x="438518" y="431743"/>
                    <a:pt x="438518" y="431743"/>
                  </a:cubicBezTo>
                  <a:cubicBezTo>
                    <a:pt x="438518" y="431743"/>
                    <a:pt x="269397" y="577127"/>
                    <a:pt x="61705" y="594929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E8A0D362-6397-489E-BD82-E1CA90649E8E}"/>
                </a:ext>
              </a:extLst>
            </p:cNvPr>
            <p:cNvSpPr/>
            <p:nvPr/>
          </p:nvSpPr>
          <p:spPr>
            <a:xfrm>
              <a:off x="10524096" y="8397977"/>
              <a:ext cx="243297" cy="251317"/>
            </a:xfrm>
            <a:custGeom>
              <a:avLst/>
              <a:gdLst>
                <a:gd name="connsiteX0" fmla="*/ 243297 w 243297"/>
                <a:gd name="connsiteY0" fmla="*/ 38572 h 251317"/>
                <a:gd name="connsiteX1" fmla="*/ 237363 w 243297"/>
                <a:gd name="connsiteY1" fmla="*/ 207692 h 251317"/>
                <a:gd name="connsiteX2" fmla="*/ 0 w 243297"/>
                <a:gd name="connsiteY2" fmla="*/ 198792 h 251317"/>
                <a:gd name="connsiteX3" fmla="*/ 14835 w 243297"/>
                <a:gd name="connsiteY3" fmla="*/ 0 h 251317"/>
                <a:gd name="connsiteX4" fmla="*/ 243297 w 243297"/>
                <a:gd name="connsiteY4" fmla="*/ 38572 h 251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297" h="251317">
                  <a:moveTo>
                    <a:pt x="243297" y="38572"/>
                  </a:moveTo>
                  <a:cubicBezTo>
                    <a:pt x="243297" y="38572"/>
                    <a:pt x="237363" y="136484"/>
                    <a:pt x="237363" y="207692"/>
                  </a:cubicBezTo>
                  <a:cubicBezTo>
                    <a:pt x="237363" y="207692"/>
                    <a:pt x="145384" y="311538"/>
                    <a:pt x="0" y="198792"/>
                  </a:cubicBezTo>
                  <a:cubicBezTo>
                    <a:pt x="0" y="139451"/>
                    <a:pt x="11868" y="62308"/>
                    <a:pt x="14835" y="0"/>
                  </a:cubicBezTo>
                  <a:cubicBezTo>
                    <a:pt x="14835" y="0"/>
                    <a:pt x="192857" y="50440"/>
                    <a:pt x="243297" y="38572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4BE24E8D-3F23-4E5F-86C0-439C57445DCD}"/>
                </a:ext>
              </a:extLst>
            </p:cNvPr>
            <p:cNvSpPr/>
            <p:nvPr/>
          </p:nvSpPr>
          <p:spPr>
            <a:xfrm>
              <a:off x="10120580" y="8558197"/>
              <a:ext cx="1042223" cy="1524875"/>
            </a:xfrm>
            <a:custGeom>
              <a:avLst/>
              <a:gdLst>
                <a:gd name="connsiteX0" fmla="*/ 385714 w 1042223"/>
                <a:gd name="connsiteY0" fmla="*/ 0 h 1524875"/>
                <a:gd name="connsiteX1" fmla="*/ 667582 w 1042223"/>
                <a:gd name="connsiteY1" fmla="*/ 0 h 1524875"/>
                <a:gd name="connsiteX2" fmla="*/ 958352 w 1042223"/>
                <a:gd name="connsiteY2" fmla="*/ 127583 h 1524875"/>
                <a:gd name="connsiteX3" fmla="*/ 1041428 w 1042223"/>
                <a:gd name="connsiteY3" fmla="*/ 1495385 h 1524875"/>
                <a:gd name="connsiteX4" fmla="*/ 0 w 1042223"/>
                <a:gd name="connsiteY4" fmla="*/ 1471648 h 1524875"/>
                <a:gd name="connsiteX5" fmla="*/ 112747 w 1042223"/>
                <a:gd name="connsiteY5" fmla="*/ 100879 h 1524875"/>
                <a:gd name="connsiteX6" fmla="*/ 385714 w 1042223"/>
                <a:gd name="connsiteY6" fmla="*/ 0 h 152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2223" h="1524875">
                  <a:moveTo>
                    <a:pt x="385714" y="0"/>
                  </a:moveTo>
                  <a:cubicBezTo>
                    <a:pt x="385714" y="0"/>
                    <a:pt x="554835" y="53407"/>
                    <a:pt x="667582" y="0"/>
                  </a:cubicBezTo>
                  <a:cubicBezTo>
                    <a:pt x="667582" y="0"/>
                    <a:pt x="934615" y="94945"/>
                    <a:pt x="958352" y="127583"/>
                  </a:cubicBezTo>
                  <a:cubicBezTo>
                    <a:pt x="982088" y="157253"/>
                    <a:pt x="1050330" y="1430110"/>
                    <a:pt x="1041428" y="1495385"/>
                  </a:cubicBezTo>
                  <a:cubicBezTo>
                    <a:pt x="1041428" y="1495385"/>
                    <a:pt x="563736" y="1575494"/>
                    <a:pt x="0" y="1471648"/>
                  </a:cubicBezTo>
                  <a:cubicBezTo>
                    <a:pt x="0" y="1124506"/>
                    <a:pt x="71209" y="130549"/>
                    <a:pt x="112747" y="100879"/>
                  </a:cubicBezTo>
                  <a:cubicBezTo>
                    <a:pt x="154286" y="68242"/>
                    <a:pt x="385714" y="0"/>
                    <a:pt x="385714" y="0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91B3DE2A-F53E-41BC-A114-3BFE0BBEB65B}"/>
                </a:ext>
              </a:extLst>
            </p:cNvPr>
            <p:cNvSpPr/>
            <p:nvPr/>
          </p:nvSpPr>
          <p:spPr>
            <a:xfrm>
              <a:off x="11072998" y="8679845"/>
              <a:ext cx="51668" cy="720989"/>
            </a:xfrm>
            <a:custGeom>
              <a:avLst/>
              <a:gdLst>
                <a:gd name="connsiteX0" fmla="*/ 47473 w 51668"/>
                <a:gd name="connsiteY0" fmla="*/ 720990 h 720989"/>
                <a:gd name="connsiteX1" fmla="*/ 41538 w 51668"/>
                <a:gd name="connsiteY1" fmla="*/ 715055 h 720989"/>
                <a:gd name="connsiteX2" fmla="*/ 0 w 51668"/>
                <a:gd name="connsiteY2" fmla="*/ 5934 h 720989"/>
                <a:gd name="connsiteX3" fmla="*/ 2967 w 51668"/>
                <a:gd name="connsiteY3" fmla="*/ 0 h 720989"/>
                <a:gd name="connsiteX4" fmla="*/ 8902 w 51668"/>
                <a:gd name="connsiteY4" fmla="*/ 2967 h 720989"/>
                <a:gd name="connsiteX5" fmla="*/ 50440 w 51668"/>
                <a:gd name="connsiteY5" fmla="*/ 715055 h 720989"/>
                <a:gd name="connsiteX6" fmla="*/ 47473 w 51668"/>
                <a:gd name="connsiteY6" fmla="*/ 720990 h 720989"/>
                <a:gd name="connsiteX7" fmla="*/ 47473 w 51668"/>
                <a:gd name="connsiteY7" fmla="*/ 720990 h 720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68" h="720989">
                  <a:moveTo>
                    <a:pt x="47473" y="720990"/>
                  </a:moveTo>
                  <a:cubicBezTo>
                    <a:pt x="44505" y="720990"/>
                    <a:pt x="41538" y="718022"/>
                    <a:pt x="41538" y="715055"/>
                  </a:cubicBezTo>
                  <a:cubicBezTo>
                    <a:pt x="41538" y="709121"/>
                    <a:pt x="5934" y="44505"/>
                    <a:pt x="0" y="5934"/>
                  </a:cubicBezTo>
                  <a:cubicBezTo>
                    <a:pt x="0" y="2967"/>
                    <a:pt x="0" y="0"/>
                    <a:pt x="2967" y="0"/>
                  </a:cubicBezTo>
                  <a:cubicBezTo>
                    <a:pt x="5934" y="0"/>
                    <a:pt x="8902" y="0"/>
                    <a:pt x="8902" y="2967"/>
                  </a:cubicBezTo>
                  <a:cubicBezTo>
                    <a:pt x="17802" y="41539"/>
                    <a:pt x="50440" y="688352"/>
                    <a:pt x="50440" y="715055"/>
                  </a:cubicBezTo>
                  <a:cubicBezTo>
                    <a:pt x="53407" y="718022"/>
                    <a:pt x="50440" y="720990"/>
                    <a:pt x="47473" y="720990"/>
                  </a:cubicBezTo>
                  <a:cubicBezTo>
                    <a:pt x="47473" y="720990"/>
                    <a:pt x="47473" y="720990"/>
                    <a:pt x="47473" y="720990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CC2F2DFC-13F9-4D01-B136-6537E8666062}"/>
                </a:ext>
              </a:extLst>
            </p:cNvPr>
            <p:cNvSpPr/>
            <p:nvPr/>
          </p:nvSpPr>
          <p:spPr>
            <a:xfrm>
              <a:off x="10005417" y="9107098"/>
              <a:ext cx="773844" cy="804065"/>
            </a:xfrm>
            <a:custGeom>
              <a:avLst/>
              <a:gdLst>
                <a:gd name="connsiteX0" fmla="*/ 313954 w 773844"/>
                <a:gd name="connsiteY0" fmla="*/ 2967 h 804065"/>
                <a:gd name="connsiteX1" fmla="*/ 257581 w 773844"/>
                <a:gd name="connsiteY1" fmla="*/ 528132 h 804065"/>
                <a:gd name="connsiteX2" fmla="*/ 773844 w 773844"/>
                <a:gd name="connsiteY2" fmla="*/ 673516 h 804065"/>
                <a:gd name="connsiteX3" fmla="*/ 767910 w 773844"/>
                <a:gd name="connsiteY3" fmla="*/ 804066 h 804065"/>
                <a:gd name="connsiteX4" fmla="*/ 43954 w 773844"/>
                <a:gd name="connsiteY4" fmla="*/ 685384 h 804065"/>
                <a:gd name="connsiteX5" fmla="*/ 52855 w 773844"/>
                <a:gd name="connsiteY5" fmla="*/ 0 h 804065"/>
                <a:gd name="connsiteX6" fmla="*/ 313954 w 773844"/>
                <a:gd name="connsiteY6" fmla="*/ 2967 h 804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3844" h="804065">
                  <a:moveTo>
                    <a:pt x="313954" y="2967"/>
                  </a:moveTo>
                  <a:lnTo>
                    <a:pt x="257581" y="528132"/>
                  </a:lnTo>
                  <a:lnTo>
                    <a:pt x="773844" y="673516"/>
                  </a:lnTo>
                  <a:lnTo>
                    <a:pt x="767910" y="804066"/>
                  </a:lnTo>
                  <a:cubicBezTo>
                    <a:pt x="767910" y="804066"/>
                    <a:pt x="147800" y="753627"/>
                    <a:pt x="43954" y="685384"/>
                  </a:cubicBezTo>
                  <a:cubicBezTo>
                    <a:pt x="-59892" y="617143"/>
                    <a:pt x="52855" y="0"/>
                    <a:pt x="52855" y="0"/>
                  </a:cubicBezTo>
                  <a:lnTo>
                    <a:pt x="313954" y="2967"/>
                  </a:ln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6746EA03-D0A5-475C-BE19-03A39E0B95E4}"/>
                </a:ext>
              </a:extLst>
            </p:cNvPr>
            <p:cNvSpPr/>
            <p:nvPr/>
          </p:nvSpPr>
          <p:spPr>
            <a:xfrm>
              <a:off x="10203657" y="9210944"/>
              <a:ext cx="109779" cy="468791"/>
            </a:xfrm>
            <a:custGeom>
              <a:avLst/>
              <a:gdLst>
                <a:gd name="connsiteX0" fmla="*/ 5934 w 109779"/>
                <a:gd name="connsiteY0" fmla="*/ 468791 h 468791"/>
                <a:gd name="connsiteX1" fmla="*/ 0 w 109779"/>
                <a:gd name="connsiteY1" fmla="*/ 465824 h 468791"/>
                <a:gd name="connsiteX2" fmla="*/ 2967 w 109779"/>
                <a:gd name="connsiteY2" fmla="*/ 459890 h 468791"/>
                <a:gd name="connsiteX3" fmla="*/ 53406 w 109779"/>
                <a:gd name="connsiteY3" fmla="*/ 424286 h 468791"/>
                <a:gd name="connsiteX4" fmla="*/ 97912 w 109779"/>
                <a:gd name="connsiteY4" fmla="*/ 0 h 468791"/>
                <a:gd name="connsiteX5" fmla="*/ 109780 w 109779"/>
                <a:gd name="connsiteY5" fmla="*/ 0 h 468791"/>
                <a:gd name="connsiteX6" fmla="*/ 65274 w 109779"/>
                <a:gd name="connsiteY6" fmla="*/ 427253 h 468791"/>
                <a:gd name="connsiteX7" fmla="*/ 62308 w 109779"/>
                <a:gd name="connsiteY7" fmla="*/ 430219 h 468791"/>
                <a:gd name="connsiteX8" fmla="*/ 5934 w 109779"/>
                <a:gd name="connsiteY8" fmla="*/ 468791 h 468791"/>
                <a:gd name="connsiteX9" fmla="*/ 5934 w 109779"/>
                <a:gd name="connsiteY9" fmla="*/ 468791 h 468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779" h="468791">
                  <a:moveTo>
                    <a:pt x="5934" y="468791"/>
                  </a:moveTo>
                  <a:cubicBezTo>
                    <a:pt x="2967" y="468791"/>
                    <a:pt x="2967" y="468791"/>
                    <a:pt x="0" y="465824"/>
                  </a:cubicBezTo>
                  <a:cubicBezTo>
                    <a:pt x="0" y="462857"/>
                    <a:pt x="0" y="459890"/>
                    <a:pt x="2967" y="459890"/>
                  </a:cubicBezTo>
                  <a:cubicBezTo>
                    <a:pt x="17802" y="450989"/>
                    <a:pt x="47473" y="430219"/>
                    <a:pt x="53406" y="424286"/>
                  </a:cubicBezTo>
                  <a:cubicBezTo>
                    <a:pt x="65274" y="308572"/>
                    <a:pt x="97912" y="0"/>
                    <a:pt x="97912" y="0"/>
                  </a:cubicBezTo>
                  <a:lnTo>
                    <a:pt x="109780" y="0"/>
                  </a:lnTo>
                  <a:cubicBezTo>
                    <a:pt x="109780" y="0"/>
                    <a:pt x="77143" y="311538"/>
                    <a:pt x="65274" y="427253"/>
                  </a:cubicBezTo>
                  <a:cubicBezTo>
                    <a:pt x="65274" y="430219"/>
                    <a:pt x="65274" y="430219"/>
                    <a:pt x="62308" y="430219"/>
                  </a:cubicBezTo>
                  <a:cubicBezTo>
                    <a:pt x="62308" y="430219"/>
                    <a:pt x="26703" y="456923"/>
                    <a:pt x="5934" y="468791"/>
                  </a:cubicBezTo>
                  <a:cubicBezTo>
                    <a:pt x="5934" y="468791"/>
                    <a:pt x="5934" y="468791"/>
                    <a:pt x="5934" y="468791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A29127EC-BC1F-4C25-AA49-0692EE7970D8}"/>
                </a:ext>
              </a:extLst>
            </p:cNvPr>
            <p:cNvSpPr/>
            <p:nvPr/>
          </p:nvSpPr>
          <p:spPr>
            <a:xfrm>
              <a:off x="10001899" y="8640988"/>
              <a:ext cx="409636" cy="568350"/>
            </a:xfrm>
            <a:custGeom>
              <a:avLst/>
              <a:gdLst>
                <a:gd name="connsiteX0" fmla="*/ 0 w 409636"/>
                <a:gd name="connsiteY0" fmla="*/ 525451 h 568350"/>
                <a:gd name="connsiteX1" fmla="*/ 255165 w 409636"/>
                <a:gd name="connsiteY1" fmla="*/ 286 h 568350"/>
                <a:gd name="connsiteX2" fmla="*/ 409451 w 409636"/>
                <a:gd name="connsiteY2" fmla="*/ 552154 h 568350"/>
                <a:gd name="connsiteX3" fmla="*/ 0 w 409636"/>
                <a:gd name="connsiteY3" fmla="*/ 525451 h 568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636" h="568350">
                  <a:moveTo>
                    <a:pt x="0" y="525451"/>
                  </a:moveTo>
                  <a:cubicBezTo>
                    <a:pt x="0" y="525451"/>
                    <a:pt x="112747" y="15121"/>
                    <a:pt x="255165" y="286"/>
                  </a:cubicBezTo>
                  <a:cubicBezTo>
                    <a:pt x="421319" y="-14549"/>
                    <a:pt x="409451" y="552154"/>
                    <a:pt x="409451" y="552154"/>
                  </a:cubicBezTo>
                  <a:cubicBezTo>
                    <a:pt x="409451" y="552154"/>
                    <a:pt x="192857" y="602594"/>
                    <a:pt x="0" y="525451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BBC682D7-FA0F-4BA9-9070-46BB3C3E94C7}"/>
                </a:ext>
              </a:extLst>
            </p:cNvPr>
            <p:cNvSpPr/>
            <p:nvPr/>
          </p:nvSpPr>
          <p:spPr>
            <a:xfrm>
              <a:off x="10252868" y="8637078"/>
              <a:ext cx="167382" cy="579800"/>
            </a:xfrm>
            <a:custGeom>
              <a:avLst/>
              <a:gdLst>
                <a:gd name="connsiteX0" fmla="*/ 33866 w 167382"/>
                <a:gd name="connsiteY0" fmla="*/ 579801 h 579800"/>
                <a:gd name="connsiteX1" fmla="*/ 27933 w 167382"/>
                <a:gd name="connsiteY1" fmla="*/ 579801 h 579800"/>
                <a:gd name="connsiteX2" fmla="*/ 21998 w 167382"/>
                <a:gd name="connsiteY2" fmla="*/ 573867 h 579800"/>
                <a:gd name="connsiteX3" fmla="*/ 27933 w 167382"/>
                <a:gd name="connsiteY3" fmla="*/ 567933 h 579800"/>
                <a:gd name="connsiteX4" fmla="*/ 152548 w 167382"/>
                <a:gd name="connsiteY4" fmla="*/ 553097 h 579800"/>
                <a:gd name="connsiteX5" fmla="*/ 128812 w 167382"/>
                <a:gd name="connsiteY5" fmla="*/ 208921 h 579800"/>
                <a:gd name="connsiteX6" fmla="*/ 4196 w 167382"/>
                <a:gd name="connsiteY6" fmla="*/ 10130 h 579800"/>
                <a:gd name="connsiteX7" fmla="*/ 1229 w 167382"/>
                <a:gd name="connsiteY7" fmla="*/ 4196 h 579800"/>
                <a:gd name="connsiteX8" fmla="*/ 7163 w 167382"/>
                <a:gd name="connsiteY8" fmla="*/ 1229 h 579800"/>
                <a:gd name="connsiteX9" fmla="*/ 140680 w 167382"/>
                <a:gd name="connsiteY9" fmla="*/ 208921 h 579800"/>
                <a:gd name="connsiteX10" fmla="*/ 167383 w 167382"/>
                <a:gd name="connsiteY10" fmla="*/ 559031 h 579800"/>
                <a:gd name="connsiteX11" fmla="*/ 167383 w 167382"/>
                <a:gd name="connsiteY11" fmla="*/ 561998 h 579800"/>
                <a:gd name="connsiteX12" fmla="*/ 164415 w 167382"/>
                <a:gd name="connsiteY12" fmla="*/ 561998 h 579800"/>
                <a:gd name="connsiteX13" fmla="*/ 33866 w 167382"/>
                <a:gd name="connsiteY13" fmla="*/ 579801 h 57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7382" h="579800">
                  <a:moveTo>
                    <a:pt x="33866" y="579801"/>
                  </a:moveTo>
                  <a:cubicBezTo>
                    <a:pt x="30899" y="579801"/>
                    <a:pt x="27933" y="579801"/>
                    <a:pt x="27933" y="579801"/>
                  </a:cubicBezTo>
                  <a:cubicBezTo>
                    <a:pt x="24965" y="579801"/>
                    <a:pt x="21998" y="576833"/>
                    <a:pt x="21998" y="573867"/>
                  </a:cubicBezTo>
                  <a:cubicBezTo>
                    <a:pt x="21998" y="570899"/>
                    <a:pt x="24965" y="567933"/>
                    <a:pt x="27933" y="567933"/>
                  </a:cubicBezTo>
                  <a:cubicBezTo>
                    <a:pt x="81339" y="567933"/>
                    <a:pt x="137712" y="556064"/>
                    <a:pt x="152548" y="553097"/>
                  </a:cubicBezTo>
                  <a:cubicBezTo>
                    <a:pt x="152548" y="526394"/>
                    <a:pt x="146614" y="369141"/>
                    <a:pt x="128812" y="208921"/>
                  </a:cubicBezTo>
                  <a:cubicBezTo>
                    <a:pt x="108042" y="36833"/>
                    <a:pt x="4196" y="10130"/>
                    <a:pt x="4196" y="10130"/>
                  </a:cubicBezTo>
                  <a:cubicBezTo>
                    <a:pt x="1229" y="10130"/>
                    <a:pt x="-1738" y="7163"/>
                    <a:pt x="1229" y="4196"/>
                  </a:cubicBezTo>
                  <a:cubicBezTo>
                    <a:pt x="1229" y="1229"/>
                    <a:pt x="4196" y="-1738"/>
                    <a:pt x="7163" y="1229"/>
                  </a:cubicBezTo>
                  <a:cubicBezTo>
                    <a:pt x="13098" y="1229"/>
                    <a:pt x="119910" y="27932"/>
                    <a:pt x="140680" y="208921"/>
                  </a:cubicBezTo>
                  <a:cubicBezTo>
                    <a:pt x="161449" y="383976"/>
                    <a:pt x="167383" y="556064"/>
                    <a:pt x="167383" y="559031"/>
                  </a:cubicBezTo>
                  <a:lnTo>
                    <a:pt x="167383" y="561998"/>
                  </a:lnTo>
                  <a:lnTo>
                    <a:pt x="164415" y="561998"/>
                  </a:lnTo>
                  <a:cubicBezTo>
                    <a:pt x="158482" y="561998"/>
                    <a:pt x="96174" y="579801"/>
                    <a:pt x="33866" y="579801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8" name="图形 1">
              <a:extLst>
                <a:ext uri="{FF2B5EF4-FFF2-40B4-BE49-F238E27FC236}">
                  <a16:creationId xmlns:a16="http://schemas.microsoft.com/office/drawing/2014/main" id="{1861D8E6-F638-4E45-9FBC-6FF1DBF030C0}"/>
                </a:ext>
              </a:extLst>
            </p:cNvPr>
            <p:cNvGrpSpPr/>
            <p:nvPr/>
          </p:nvGrpSpPr>
          <p:grpSpPr>
            <a:xfrm>
              <a:off x="10711194" y="9738746"/>
              <a:ext cx="349935" cy="208496"/>
              <a:chOff x="10711194" y="9738746"/>
              <a:chExt cx="349935" cy="208496"/>
            </a:xfrm>
          </p:grpSpPr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45976800-938A-4ED9-8F84-805D579A808B}"/>
                  </a:ext>
                </a:extLst>
              </p:cNvPr>
              <p:cNvSpPr/>
              <p:nvPr/>
            </p:nvSpPr>
            <p:spPr>
              <a:xfrm>
                <a:off x="10711194" y="9738746"/>
                <a:ext cx="349935" cy="208496"/>
              </a:xfrm>
              <a:custGeom>
                <a:avLst/>
                <a:gdLst>
                  <a:gd name="connsiteX0" fmla="*/ 14661 w 349935"/>
                  <a:gd name="connsiteY0" fmla="*/ 160549 h 208496"/>
                  <a:gd name="connsiteX1" fmla="*/ 20595 w 349935"/>
                  <a:gd name="connsiteY1" fmla="*/ 172417 h 208496"/>
                  <a:gd name="connsiteX2" fmla="*/ 195649 w 349935"/>
                  <a:gd name="connsiteY2" fmla="*/ 205055 h 208496"/>
                  <a:gd name="connsiteX3" fmla="*/ 332133 w 349935"/>
                  <a:gd name="connsiteY3" fmla="*/ 136813 h 208496"/>
                  <a:gd name="connsiteX4" fmla="*/ 320265 w 349935"/>
                  <a:gd name="connsiteY4" fmla="*/ 121978 h 208496"/>
                  <a:gd name="connsiteX5" fmla="*/ 278727 w 349935"/>
                  <a:gd name="connsiteY5" fmla="*/ 133846 h 208496"/>
                  <a:gd name="connsiteX6" fmla="*/ 326200 w 349935"/>
                  <a:gd name="connsiteY6" fmla="*/ 107143 h 208496"/>
                  <a:gd name="connsiteX7" fmla="*/ 349935 w 349935"/>
                  <a:gd name="connsiteY7" fmla="*/ 77473 h 208496"/>
                  <a:gd name="connsiteX8" fmla="*/ 335100 w 349935"/>
                  <a:gd name="connsiteY8" fmla="*/ 65604 h 208496"/>
                  <a:gd name="connsiteX9" fmla="*/ 341035 w 349935"/>
                  <a:gd name="connsiteY9" fmla="*/ 62638 h 208496"/>
                  <a:gd name="connsiteX10" fmla="*/ 320265 w 349935"/>
                  <a:gd name="connsiteY10" fmla="*/ 50769 h 208496"/>
                  <a:gd name="connsiteX11" fmla="*/ 145210 w 349935"/>
                  <a:gd name="connsiteY11" fmla="*/ 86374 h 208496"/>
                  <a:gd name="connsiteX12" fmla="*/ 180814 w 349935"/>
                  <a:gd name="connsiteY12" fmla="*/ 41868 h 208496"/>
                  <a:gd name="connsiteX13" fmla="*/ 234221 w 349935"/>
                  <a:gd name="connsiteY13" fmla="*/ 24066 h 208496"/>
                  <a:gd name="connsiteX14" fmla="*/ 201584 w 349935"/>
                  <a:gd name="connsiteY14" fmla="*/ 330 h 208496"/>
                  <a:gd name="connsiteX15" fmla="*/ 136309 w 349935"/>
                  <a:gd name="connsiteY15" fmla="*/ 9230 h 208496"/>
                  <a:gd name="connsiteX16" fmla="*/ 53232 w 349935"/>
                  <a:gd name="connsiteY16" fmla="*/ 41868 h 208496"/>
                  <a:gd name="connsiteX17" fmla="*/ 14661 w 349935"/>
                  <a:gd name="connsiteY17" fmla="*/ 160549 h 20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49935" h="208496">
                    <a:moveTo>
                      <a:pt x="14661" y="160549"/>
                    </a:moveTo>
                    <a:cubicBezTo>
                      <a:pt x="14661" y="163517"/>
                      <a:pt x="14661" y="169450"/>
                      <a:pt x="20595" y="172417"/>
                    </a:cubicBezTo>
                    <a:cubicBezTo>
                      <a:pt x="65100" y="196154"/>
                      <a:pt x="139276" y="216923"/>
                      <a:pt x="195649" y="205055"/>
                    </a:cubicBezTo>
                    <a:cubicBezTo>
                      <a:pt x="231254" y="196154"/>
                      <a:pt x="329166" y="154615"/>
                      <a:pt x="332133" y="136813"/>
                    </a:cubicBezTo>
                    <a:cubicBezTo>
                      <a:pt x="332133" y="133846"/>
                      <a:pt x="323232" y="124945"/>
                      <a:pt x="320265" y="121978"/>
                    </a:cubicBezTo>
                    <a:cubicBezTo>
                      <a:pt x="314331" y="119011"/>
                      <a:pt x="284660" y="133846"/>
                      <a:pt x="278727" y="133846"/>
                    </a:cubicBezTo>
                    <a:cubicBezTo>
                      <a:pt x="293562" y="124945"/>
                      <a:pt x="311364" y="119011"/>
                      <a:pt x="326200" y="107143"/>
                    </a:cubicBezTo>
                    <a:cubicBezTo>
                      <a:pt x="338067" y="98241"/>
                      <a:pt x="349935" y="89341"/>
                      <a:pt x="349935" y="77473"/>
                    </a:cubicBezTo>
                    <a:cubicBezTo>
                      <a:pt x="349935" y="62638"/>
                      <a:pt x="344001" y="65604"/>
                      <a:pt x="335100" y="65604"/>
                    </a:cubicBezTo>
                    <a:cubicBezTo>
                      <a:pt x="335100" y="65604"/>
                      <a:pt x="341035" y="62638"/>
                      <a:pt x="341035" y="62638"/>
                    </a:cubicBezTo>
                    <a:cubicBezTo>
                      <a:pt x="344001" y="59670"/>
                      <a:pt x="323232" y="53736"/>
                      <a:pt x="320265" y="50769"/>
                    </a:cubicBezTo>
                    <a:cubicBezTo>
                      <a:pt x="305430" y="27033"/>
                      <a:pt x="174881" y="121978"/>
                      <a:pt x="145210" y="86374"/>
                    </a:cubicBezTo>
                    <a:cubicBezTo>
                      <a:pt x="148178" y="77473"/>
                      <a:pt x="163013" y="53736"/>
                      <a:pt x="180814" y="41868"/>
                    </a:cubicBezTo>
                    <a:cubicBezTo>
                      <a:pt x="222353" y="41868"/>
                      <a:pt x="237189" y="35934"/>
                      <a:pt x="234221" y="24066"/>
                    </a:cubicBezTo>
                    <a:cubicBezTo>
                      <a:pt x="234221" y="18132"/>
                      <a:pt x="213452" y="330"/>
                      <a:pt x="201584" y="330"/>
                    </a:cubicBezTo>
                    <a:cubicBezTo>
                      <a:pt x="174881" y="330"/>
                      <a:pt x="168946" y="-2637"/>
                      <a:pt x="136309" y="9230"/>
                    </a:cubicBezTo>
                    <a:cubicBezTo>
                      <a:pt x="109606" y="18132"/>
                      <a:pt x="82902" y="32967"/>
                      <a:pt x="53232" y="41868"/>
                    </a:cubicBezTo>
                    <a:cubicBezTo>
                      <a:pt x="-9076" y="56703"/>
                      <a:pt x="-9076" y="116044"/>
                      <a:pt x="14661" y="16054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CC06E3F3-F6BF-4296-B3FD-125E0EECEF4B}"/>
                  </a:ext>
                </a:extLst>
              </p:cNvPr>
              <p:cNvSpPr/>
              <p:nvPr/>
            </p:nvSpPr>
            <p:spPr>
              <a:xfrm>
                <a:off x="10903877" y="9793309"/>
                <a:ext cx="151317" cy="108953"/>
              </a:xfrm>
              <a:custGeom>
                <a:avLst/>
                <a:gdLst>
                  <a:gd name="connsiteX0" fmla="*/ 35604 w 151317"/>
                  <a:gd name="connsiteY0" fmla="*/ 108954 h 108953"/>
                  <a:gd name="connsiteX1" fmla="*/ 29670 w 151317"/>
                  <a:gd name="connsiteY1" fmla="*/ 105987 h 108953"/>
                  <a:gd name="connsiteX2" fmla="*/ 32637 w 151317"/>
                  <a:gd name="connsiteY2" fmla="*/ 100052 h 108953"/>
                  <a:gd name="connsiteX3" fmla="*/ 115714 w 151317"/>
                  <a:gd name="connsiteY3" fmla="*/ 52580 h 108953"/>
                  <a:gd name="connsiteX4" fmla="*/ 139450 w 151317"/>
                  <a:gd name="connsiteY4" fmla="*/ 22910 h 108953"/>
                  <a:gd name="connsiteX5" fmla="*/ 136483 w 151317"/>
                  <a:gd name="connsiteY5" fmla="*/ 14008 h 108953"/>
                  <a:gd name="connsiteX6" fmla="*/ 100879 w 151317"/>
                  <a:gd name="connsiteY6" fmla="*/ 37745 h 108953"/>
                  <a:gd name="connsiteX7" fmla="*/ 5934 w 151317"/>
                  <a:gd name="connsiteY7" fmla="*/ 91151 h 108953"/>
                  <a:gd name="connsiteX8" fmla="*/ 0 w 151317"/>
                  <a:gd name="connsiteY8" fmla="*/ 85217 h 108953"/>
                  <a:gd name="connsiteX9" fmla="*/ 5934 w 151317"/>
                  <a:gd name="connsiteY9" fmla="*/ 79283 h 108953"/>
                  <a:gd name="connsiteX10" fmla="*/ 94945 w 151317"/>
                  <a:gd name="connsiteY10" fmla="*/ 25876 h 108953"/>
                  <a:gd name="connsiteX11" fmla="*/ 142417 w 151317"/>
                  <a:gd name="connsiteY11" fmla="*/ 2140 h 108953"/>
                  <a:gd name="connsiteX12" fmla="*/ 151318 w 151317"/>
                  <a:gd name="connsiteY12" fmla="*/ 19943 h 108953"/>
                  <a:gd name="connsiteX13" fmla="*/ 121648 w 151317"/>
                  <a:gd name="connsiteY13" fmla="*/ 58514 h 108953"/>
                  <a:gd name="connsiteX14" fmla="*/ 35604 w 151317"/>
                  <a:gd name="connsiteY14" fmla="*/ 108954 h 108953"/>
                  <a:gd name="connsiteX15" fmla="*/ 35604 w 151317"/>
                  <a:gd name="connsiteY15" fmla="*/ 108954 h 108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1317" h="108953">
                    <a:moveTo>
                      <a:pt x="35604" y="108954"/>
                    </a:moveTo>
                    <a:cubicBezTo>
                      <a:pt x="32637" y="108954"/>
                      <a:pt x="32637" y="108954"/>
                      <a:pt x="29670" y="105987"/>
                    </a:cubicBezTo>
                    <a:cubicBezTo>
                      <a:pt x="29670" y="103019"/>
                      <a:pt x="29670" y="100052"/>
                      <a:pt x="32637" y="100052"/>
                    </a:cubicBezTo>
                    <a:cubicBezTo>
                      <a:pt x="32637" y="100052"/>
                      <a:pt x="94945" y="70382"/>
                      <a:pt x="115714" y="52580"/>
                    </a:cubicBezTo>
                    <a:cubicBezTo>
                      <a:pt x="127582" y="40712"/>
                      <a:pt x="139450" y="31811"/>
                      <a:pt x="139450" y="22910"/>
                    </a:cubicBezTo>
                    <a:cubicBezTo>
                      <a:pt x="139450" y="19943"/>
                      <a:pt x="139450" y="16976"/>
                      <a:pt x="136483" y="14008"/>
                    </a:cubicBezTo>
                    <a:cubicBezTo>
                      <a:pt x="130549" y="16976"/>
                      <a:pt x="115714" y="28844"/>
                      <a:pt x="100879" y="37745"/>
                    </a:cubicBezTo>
                    <a:cubicBezTo>
                      <a:pt x="71209" y="61481"/>
                      <a:pt x="32637" y="88184"/>
                      <a:pt x="5934" y="91151"/>
                    </a:cubicBezTo>
                    <a:cubicBezTo>
                      <a:pt x="2966" y="91151"/>
                      <a:pt x="0" y="88184"/>
                      <a:pt x="0" y="85217"/>
                    </a:cubicBezTo>
                    <a:cubicBezTo>
                      <a:pt x="0" y="82251"/>
                      <a:pt x="2966" y="79283"/>
                      <a:pt x="5934" y="79283"/>
                    </a:cubicBezTo>
                    <a:cubicBezTo>
                      <a:pt x="29670" y="76316"/>
                      <a:pt x="68241" y="46646"/>
                      <a:pt x="94945" y="25876"/>
                    </a:cubicBezTo>
                    <a:cubicBezTo>
                      <a:pt x="124615" y="2140"/>
                      <a:pt x="136483" y="-3794"/>
                      <a:pt x="142417" y="2140"/>
                    </a:cubicBezTo>
                    <a:cubicBezTo>
                      <a:pt x="148352" y="8075"/>
                      <a:pt x="151318" y="14008"/>
                      <a:pt x="151318" y="19943"/>
                    </a:cubicBezTo>
                    <a:cubicBezTo>
                      <a:pt x="151318" y="31811"/>
                      <a:pt x="139450" y="43679"/>
                      <a:pt x="121648" y="58514"/>
                    </a:cubicBezTo>
                    <a:cubicBezTo>
                      <a:pt x="103846" y="76316"/>
                      <a:pt x="41538" y="105987"/>
                      <a:pt x="35604" y="108954"/>
                    </a:cubicBezTo>
                    <a:cubicBezTo>
                      <a:pt x="38571" y="108954"/>
                      <a:pt x="35604" y="108954"/>
                      <a:pt x="35604" y="108954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A64479DA-7FD0-43E0-B47A-F6B42DDF5415}"/>
                  </a:ext>
                </a:extLst>
              </p:cNvPr>
              <p:cNvSpPr/>
              <p:nvPr/>
            </p:nvSpPr>
            <p:spPr>
              <a:xfrm>
                <a:off x="10844537" y="9774105"/>
                <a:ext cx="190631" cy="62882"/>
              </a:xfrm>
              <a:custGeom>
                <a:avLst/>
                <a:gdLst>
                  <a:gd name="connsiteX0" fmla="*/ 41538 w 190631"/>
                  <a:gd name="connsiteY0" fmla="*/ 59915 h 62882"/>
                  <a:gd name="connsiteX1" fmla="*/ 2966 w 190631"/>
                  <a:gd name="connsiteY1" fmla="*/ 51015 h 62882"/>
                  <a:gd name="connsiteX2" fmla="*/ 0 w 190631"/>
                  <a:gd name="connsiteY2" fmla="*/ 45080 h 62882"/>
                  <a:gd name="connsiteX3" fmla="*/ 5934 w 190631"/>
                  <a:gd name="connsiteY3" fmla="*/ 42114 h 62882"/>
                  <a:gd name="connsiteX4" fmla="*/ 41538 w 190631"/>
                  <a:gd name="connsiteY4" fmla="*/ 48048 h 62882"/>
                  <a:gd name="connsiteX5" fmla="*/ 115714 w 190631"/>
                  <a:gd name="connsiteY5" fmla="*/ 18377 h 62882"/>
                  <a:gd name="connsiteX6" fmla="*/ 163187 w 190631"/>
                  <a:gd name="connsiteY6" fmla="*/ 575 h 62882"/>
                  <a:gd name="connsiteX7" fmla="*/ 186923 w 190631"/>
                  <a:gd name="connsiteY7" fmla="*/ 12444 h 62882"/>
                  <a:gd name="connsiteX8" fmla="*/ 189890 w 190631"/>
                  <a:gd name="connsiteY8" fmla="*/ 30245 h 62882"/>
                  <a:gd name="connsiteX9" fmla="*/ 183956 w 190631"/>
                  <a:gd name="connsiteY9" fmla="*/ 33212 h 62882"/>
                  <a:gd name="connsiteX10" fmla="*/ 180988 w 190631"/>
                  <a:gd name="connsiteY10" fmla="*/ 27279 h 62882"/>
                  <a:gd name="connsiteX11" fmla="*/ 180988 w 190631"/>
                  <a:gd name="connsiteY11" fmla="*/ 27279 h 62882"/>
                  <a:gd name="connsiteX12" fmla="*/ 180988 w 190631"/>
                  <a:gd name="connsiteY12" fmla="*/ 18377 h 62882"/>
                  <a:gd name="connsiteX13" fmla="*/ 166153 w 190631"/>
                  <a:gd name="connsiteY13" fmla="*/ 12444 h 62882"/>
                  <a:gd name="connsiteX14" fmla="*/ 124615 w 190631"/>
                  <a:gd name="connsiteY14" fmla="*/ 30245 h 62882"/>
                  <a:gd name="connsiteX15" fmla="*/ 47472 w 190631"/>
                  <a:gd name="connsiteY15" fmla="*/ 62883 h 62882"/>
                  <a:gd name="connsiteX16" fmla="*/ 41538 w 190631"/>
                  <a:gd name="connsiteY16" fmla="*/ 59915 h 62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90631" h="62882">
                    <a:moveTo>
                      <a:pt x="41538" y="59915"/>
                    </a:moveTo>
                    <a:cubicBezTo>
                      <a:pt x="26703" y="59915"/>
                      <a:pt x="5934" y="51015"/>
                      <a:pt x="2966" y="51015"/>
                    </a:cubicBezTo>
                    <a:cubicBezTo>
                      <a:pt x="0" y="51015"/>
                      <a:pt x="0" y="48048"/>
                      <a:pt x="0" y="45080"/>
                    </a:cubicBezTo>
                    <a:cubicBezTo>
                      <a:pt x="0" y="42114"/>
                      <a:pt x="2966" y="42114"/>
                      <a:pt x="5934" y="42114"/>
                    </a:cubicBezTo>
                    <a:cubicBezTo>
                      <a:pt x="5934" y="42114"/>
                      <a:pt x="29670" y="51015"/>
                      <a:pt x="41538" y="48048"/>
                    </a:cubicBezTo>
                    <a:cubicBezTo>
                      <a:pt x="71209" y="45080"/>
                      <a:pt x="94945" y="30245"/>
                      <a:pt x="115714" y="18377"/>
                    </a:cubicBezTo>
                    <a:cubicBezTo>
                      <a:pt x="133516" y="6509"/>
                      <a:pt x="148352" y="-2391"/>
                      <a:pt x="163187" y="575"/>
                    </a:cubicBezTo>
                    <a:cubicBezTo>
                      <a:pt x="175055" y="575"/>
                      <a:pt x="180988" y="6509"/>
                      <a:pt x="186923" y="12444"/>
                    </a:cubicBezTo>
                    <a:cubicBezTo>
                      <a:pt x="192857" y="21344"/>
                      <a:pt x="189890" y="27279"/>
                      <a:pt x="189890" y="30245"/>
                    </a:cubicBezTo>
                    <a:cubicBezTo>
                      <a:pt x="189890" y="33212"/>
                      <a:pt x="186923" y="36180"/>
                      <a:pt x="183956" y="33212"/>
                    </a:cubicBezTo>
                    <a:cubicBezTo>
                      <a:pt x="180988" y="33212"/>
                      <a:pt x="180988" y="30245"/>
                      <a:pt x="180988" y="27279"/>
                    </a:cubicBezTo>
                    <a:lnTo>
                      <a:pt x="180988" y="27279"/>
                    </a:lnTo>
                    <a:cubicBezTo>
                      <a:pt x="180988" y="27279"/>
                      <a:pt x="180988" y="24312"/>
                      <a:pt x="180988" y="18377"/>
                    </a:cubicBezTo>
                    <a:cubicBezTo>
                      <a:pt x="178022" y="15410"/>
                      <a:pt x="175055" y="12444"/>
                      <a:pt x="166153" y="12444"/>
                    </a:cubicBezTo>
                    <a:cubicBezTo>
                      <a:pt x="157252" y="12444"/>
                      <a:pt x="142417" y="18377"/>
                      <a:pt x="124615" y="30245"/>
                    </a:cubicBezTo>
                    <a:cubicBezTo>
                      <a:pt x="103846" y="42114"/>
                      <a:pt x="77142" y="56949"/>
                      <a:pt x="47472" y="62883"/>
                    </a:cubicBezTo>
                    <a:cubicBezTo>
                      <a:pt x="47472" y="59915"/>
                      <a:pt x="44505" y="59915"/>
                      <a:pt x="41538" y="59915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9" name="图形 1">
              <a:extLst>
                <a:ext uri="{FF2B5EF4-FFF2-40B4-BE49-F238E27FC236}">
                  <a16:creationId xmlns:a16="http://schemas.microsoft.com/office/drawing/2014/main" id="{6E3DBF23-34FE-47D7-A1B1-414D295CAA33}"/>
                </a:ext>
              </a:extLst>
            </p:cNvPr>
            <p:cNvGrpSpPr/>
            <p:nvPr/>
          </p:nvGrpSpPr>
          <p:grpSpPr>
            <a:xfrm>
              <a:off x="10607174" y="8662043"/>
              <a:ext cx="2095589" cy="1388571"/>
              <a:chOff x="10607174" y="8662043"/>
              <a:chExt cx="2095589" cy="1388571"/>
            </a:xfrm>
          </p:grpSpPr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6861C2E4-B505-423A-B631-185067D60D6C}"/>
                  </a:ext>
                </a:extLst>
              </p:cNvPr>
              <p:cNvSpPr/>
              <p:nvPr/>
            </p:nvSpPr>
            <p:spPr>
              <a:xfrm>
                <a:off x="11995745" y="8662043"/>
                <a:ext cx="563736" cy="735824"/>
              </a:xfrm>
              <a:custGeom>
                <a:avLst/>
                <a:gdLst>
                  <a:gd name="connsiteX0" fmla="*/ 563736 w 563736"/>
                  <a:gd name="connsiteY0" fmla="*/ 148352 h 735824"/>
                  <a:gd name="connsiteX1" fmla="*/ 20770 w 563736"/>
                  <a:gd name="connsiteY1" fmla="*/ 735824 h 735824"/>
                  <a:gd name="connsiteX2" fmla="*/ 0 w 563736"/>
                  <a:gd name="connsiteY2" fmla="*/ 587473 h 735824"/>
                  <a:gd name="connsiteX3" fmla="*/ 542967 w 563736"/>
                  <a:gd name="connsiteY3" fmla="*/ 0 h 735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3736" h="735824">
                    <a:moveTo>
                      <a:pt x="563736" y="148352"/>
                    </a:moveTo>
                    <a:lnTo>
                      <a:pt x="20770" y="735824"/>
                    </a:lnTo>
                    <a:lnTo>
                      <a:pt x="0" y="587473"/>
                    </a:lnTo>
                    <a:lnTo>
                      <a:pt x="542967" y="0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FC218DA2-F666-4036-92A1-DE052199C29B}"/>
                  </a:ext>
                </a:extLst>
              </p:cNvPr>
              <p:cNvSpPr/>
              <p:nvPr/>
            </p:nvSpPr>
            <p:spPr>
              <a:xfrm>
                <a:off x="10607174" y="9249516"/>
                <a:ext cx="2073955" cy="646812"/>
              </a:xfrm>
              <a:custGeom>
                <a:avLst/>
                <a:gdLst>
                  <a:gd name="connsiteX0" fmla="*/ 2073956 w 2073955"/>
                  <a:gd name="connsiteY0" fmla="*/ 456923 h 646812"/>
                  <a:gd name="connsiteX1" fmla="*/ 679450 w 2073955"/>
                  <a:gd name="connsiteY1" fmla="*/ 646813 h 646812"/>
                  <a:gd name="connsiteX2" fmla="*/ 0 w 2073955"/>
                  <a:gd name="connsiteY2" fmla="*/ 189890 h 646812"/>
                  <a:gd name="connsiteX3" fmla="*/ 1394506 w 2073955"/>
                  <a:gd name="connsiteY3" fmla="*/ 0 h 646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73955" h="646812">
                    <a:moveTo>
                      <a:pt x="2073956" y="456923"/>
                    </a:moveTo>
                    <a:lnTo>
                      <a:pt x="679450" y="646813"/>
                    </a:lnTo>
                    <a:lnTo>
                      <a:pt x="0" y="189890"/>
                    </a:lnTo>
                    <a:lnTo>
                      <a:pt x="1394506" y="0"/>
                    </a:lnTo>
                    <a:close/>
                  </a:path>
                </a:pathLst>
              </a:custGeom>
              <a:solidFill>
                <a:srgbClr val="F1DDBA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FE25DE54-A397-4FF4-B74B-D675B400F3AF}"/>
                  </a:ext>
                </a:extLst>
              </p:cNvPr>
              <p:cNvSpPr/>
              <p:nvPr/>
            </p:nvSpPr>
            <p:spPr>
              <a:xfrm>
                <a:off x="10607174" y="8662043"/>
                <a:ext cx="1931537" cy="777362"/>
              </a:xfrm>
              <a:custGeom>
                <a:avLst/>
                <a:gdLst>
                  <a:gd name="connsiteX0" fmla="*/ 1931538 w 1931537"/>
                  <a:gd name="connsiteY0" fmla="*/ 0 h 777362"/>
                  <a:gd name="connsiteX1" fmla="*/ 534066 w 1931537"/>
                  <a:gd name="connsiteY1" fmla="*/ 192857 h 777362"/>
                  <a:gd name="connsiteX2" fmla="*/ 0 w 1931537"/>
                  <a:gd name="connsiteY2" fmla="*/ 777363 h 777362"/>
                  <a:gd name="connsiteX3" fmla="*/ 1394506 w 1931537"/>
                  <a:gd name="connsiteY3" fmla="*/ 587473 h 777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1537" h="777362">
                    <a:moveTo>
                      <a:pt x="1931538" y="0"/>
                    </a:moveTo>
                    <a:lnTo>
                      <a:pt x="534066" y="192857"/>
                    </a:lnTo>
                    <a:lnTo>
                      <a:pt x="0" y="777363"/>
                    </a:lnTo>
                    <a:lnTo>
                      <a:pt x="1394506" y="587473"/>
                    </a:lnTo>
                    <a:close/>
                  </a:path>
                </a:pathLst>
              </a:custGeom>
              <a:solidFill>
                <a:srgbClr val="F1DDBA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62F7548D-2C9D-4DB0-A946-D6BB4B00CD5C}"/>
                  </a:ext>
                </a:extLst>
              </p:cNvPr>
              <p:cNvSpPr/>
              <p:nvPr/>
            </p:nvSpPr>
            <p:spPr>
              <a:xfrm>
                <a:off x="10607174" y="9439406"/>
                <a:ext cx="703186" cy="605274"/>
              </a:xfrm>
              <a:custGeom>
                <a:avLst/>
                <a:gdLst>
                  <a:gd name="connsiteX0" fmla="*/ 703186 w 703186"/>
                  <a:gd name="connsiteY0" fmla="*/ 605275 h 605274"/>
                  <a:gd name="connsiteX1" fmla="*/ 17801 w 703186"/>
                  <a:gd name="connsiteY1" fmla="*/ 148352 h 605274"/>
                  <a:gd name="connsiteX2" fmla="*/ 0 w 703186"/>
                  <a:gd name="connsiteY2" fmla="*/ 0 h 605274"/>
                  <a:gd name="connsiteX3" fmla="*/ 682418 w 703186"/>
                  <a:gd name="connsiteY3" fmla="*/ 456923 h 605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3186" h="605274">
                    <a:moveTo>
                      <a:pt x="703186" y="605275"/>
                    </a:moveTo>
                    <a:lnTo>
                      <a:pt x="17801" y="148352"/>
                    </a:lnTo>
                    <a:lnTo>
                      <a:pt x="0" y="0"/>
                    </a:lnTo>
                    <a:lnTo>
                      <a:pt x="682418" y="456923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4315FCA5-403C-4E42-8D72-38C7DC9279EA}"/>
                  </a:ext>
                </a:extLst>
              </p:cNvPr>
              <p:cNvSpPr/>
              <p:nvPr/>
            </p:nvSpPr>
            <p:spPr>
              <a:xfrm>
                <a:off x="12004646" y="9249516"/>
                <a:ext cx="697252" cy="605274"/>
              </a:xfrm>
              <a:custGeom>
                <a:avLst/>
                <a:gdLst>
                  <a:gd name="connsiteX0" fmla="*/ 697253 w 697252"/>
                  <a:gd name="connsiteY0" fmla="*/ 605275 h 605274"/>
                  <a:gd name="connsiteX1" fmla="*/ 17802 w 697252"/>
                  <a:gd name="connsiteY1" fmla="*/ 145384 h 605274"/>
                  <a:gd name="connsiteX2" fmla="*/ 0 w 697252"/>
                  <a:gd name="connsiteY2" fmla="*/ 0 h 605274"/>
                  <a:gd name="connsiteX3" fmla="*/ 676484 w 697252"/>
                  <a:gd name="connsiteY3" fmla="*/ 456923 h 605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7252" h="605274">
                    <a:moveTo>
                      <a:pt x="697253" y="605275"/>
                    </a:moveTo>
                    <a:lnTo>
                      <a:pt x="17802" y="145384"/>
                    </a:lnTo>
                    <a:lnTo>
                      <a:pt x="0" y="0"/>
                    </a:lnTo>
                    <a:lnTo>
                      <a:pt x="676484" y="456923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9FA57D61-A4A5-427C-9384-9C8AFCD2626C}"/>
                  </a:ext>
                </a:extLst>
              </p:cNvPr>
              <p:cNvSpPr/>
              <p:nvPr/>
            </p:nvSpPr>
            <p:spPr>
              <a:xfrm>
                <a:off x="10607174" y="8854900"/>
                <a:ext cx="560769" cy="732857"/>
              </a:xfrm>
              <a:custGeom>
                <a:avLst/>
                <a:gdLst>
                  <a:gd name="connsiteX0" fmla="*/ 560769 w 560769"/>
                  <a:gd name="connsiteY0" fmla="*/ 145384 h 732857"/>
                  <a:gd name="connsiteX1" fmla="*/ 17801 w 560769"/>
                  <a:gd name="connsiteY1" fmla="*/ 732857 h 732857"/>
                  <a:gd name="connsiteX2" fmla="*/ 0 w 560769"/>
                  <a:gd name="connsiteY2" fmla="*/ 584505 h 732857"/>
                  <a:gd name="connsiteX3" fmla="*/ 539999 w 560769"/>
                  <a:gd name="connsiteY3" fmla="*/ 0 h 73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0769" h="732857">
                    <a:moveTo>
                      <a:pt x="560769" y="145384"/>
                    </a:moveTo>
                    <a:lnTo>
                      <a:pt x="17801" y="732857"/>
                    </a:lnTo>
                    <a:lnTo>
                      <a:pt x="0" y="584505"/>
                    </a:lnTo>
                    <a:lnTo>
                      <a:pt x="539999" y="0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92" name="图形 1">
                <a:extLst>
                  <a:ext uri="{FF2B5EF4-FFF2-40B4-BE49-F238E27FC236}">
                    <a16:creationId xmlns:a16="http://schemas.microsoft.com/office/drawing/2014/main" id="{725DC691-4347-4BB9-ADC4-15081D6D9DD0}"/>
                  </a:ext>
                </a:extLst>
              </p:cNvPr>
              <p:cNvGrpSpPr/>
              <p:nvPr/>
            </p:nvGrpSpPr>
            <p:grpSpPr>
              <a:xfrm>
                <a:off x="11209361" y="9458836"/>
                <a:ext cx="988185" cy="361832"/>
                <a:chOff x="11209361" y="9458836"/>
                <a:chExt cx="988185" cy="361832"/>
              </a:xfrm>
            </p:grpSpPr>
            <p:sp>
              <p:nvSpPr>
                <p:cNvPr id="97" name="任意多边形: 形状 96">
                  <a:extLst>
                    <a:ext uri="{FF2B5EF4-FFF2-40B4-BE49-F238E27FC236}">
                      <a16:creationId xmlns:a16="http://schemas.microsoft.com/office/drawing/2014/main" id="{CEBB41B2-F109-4428-B00E-61281C0511EC}"/>
                    </a:ext>
                  </a:extLst>
                </p:cNvPr>
                <p:cNvSpPr/>
                <p:nvPr/>
              </p:nvSpPr>
              <p:spPr>
                <a:xfrm>
                  <a:off x="11209361" y="9458836"/>
                  <a:ext cx="988185" cy="361832"/>
                </a:xfrm>
                <a:custGeom>
                  <a:avLst/>
                  <a:gdLst>
                    <a:gd name="connsiteX0" fmla="*/ 483747 w 988185"/>
                    <a:gd name="connsiteY0" fmla="*/ 1339 h 361832"/>
                    <a:gd name="connsiteX1" fmla="*/ 121 w 988185"/>
                    <a:gd name="connsiteY1" fmla="*/ 203097 h 361832"/>
                    <a:gd name="connsiteX2" fmla="*/ 154407 w 988185"/>
                    <a:gd name="connsiteY2" fmla="*/ 324745 h 361832"/>
                    <a:gd name="connsiteX3" fmla="*/ 501549 w 988185"/>
                    <a:gd name="connsiteY3" fmla="*/ 360349 h 361832"/>
                    <a:gd name="connsiteX4" fmla="*/ 626165 w 988185"/>
                    <a:gd name="connsiteY4" fmla="*/ 348481 h 361832"/>
                    <a:gd name="connsiteX5" fmla="*/ 988142 w 988185"/>
                    <a:gd name="connsiteY5" fmla="*/ 158591 h 361832"/>
                    <a:gd name="connsiteX6" fmla="*/ 483747 w 988185"/>
                    <a:gd name="connsiteY6" fmla="*/ 1339 h 361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88185" h="361832">
                      <a:moveTo>
                        <a:pt x="483747" y="1339"/>
                      </a:moveTo>
                      <a:cubicBezTo>
                        <a:pt x="207813" y="13207"/>
                        <a:pt x="-5814" y="102218"/>
                        <a:pt x="121" y="203097"/>
                      </a:cubicBezTo>
                      <a:cubicBezTo>
                        <a:pt x="3088" y="253537"/>
                        <a:pt x="56494" y="295075"/>
                        <a:pt x="154407" y="324745"/>
                      </a:cubicBezTo>
                      <a:cubicBezTo>
                        <a:pt x="249351" y="354416"/>
                        <a:pt x="371000" y="366283"/>
                        <a:pt x="501549" y="360349"/>
                      </a:cubicBezTo>
                      <a:cubicBezTo>
                        <a:pt x="546055" y="357383"/>
                        <a:pt x="587593" y="354416"/>
                        <a:pt x="626165" y="348481"/>
                      </a:cubicBezTo>
                      <a:cubicBezTo>
                        <a:pt x="839791" y="318811"/>
                        <a:pt x="991110" y="241668"/>
                        <a:pt x="988142" y="158591"/>
                      </a:cubicBezTo>
                      <a:cubicBezTo>
                        <a:pt x="982209" y="57712"/>
                        <a:pt x="762649" y="-10530"/>
                        <a:pt x="483747" y="1339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" name="任意多边形: 形状 97">
                  <a:extLst>
                    <a:ext uri="{FF2B5EF4-FFF2-40B4-BE49-F238E27FC236}">
                      <a16:creationId xmlns:a16="http://schemas.microsoft.com/office/drawing/2014/main" id="{4B9AA054-A354-49D4-BAC9-931FA7DCF2C7}"/>
                    </a:ext>
                  </a:extLst>
                </p:cNvPr>
                <p:cNvSpPr/>
                <p:nvPr/>
              </p:nvSpPr>
              <p:spPr>
                <a:xfrm>
                  <a:off x="11283621" y="9498190"/>
                  <a:ext cx="836879" cy="280425"/>
                </a:xfrm>
                <a:custGeom>
                  <a:avLst/>
                  <a:gdLst>
                    <a:gd name="connsiteX0" fmla="*/ 706189 w 836879"/>
                    <a:gd name="connsiteY0" fmla="*/ 27259 h 280425"/>
                    <a:gd name="connsiteX1" fmla="*/ 412453 w 836879"/>
                    <a:gd name="connsiteY1" fmla="*/ 556 h 280425"/>
                    <a:gd name="connsiteX2" fmla="*/ 36 w 836879"/>
                    <a:gd name="connsiteY2" fmla="*/ 157809 h 280425"/>
                    <a:gd name="connsiteX3" fmla="*/ 424321 w 836879"/>
                    <a:gd name="connsiteY3" fmla="*/ 279457 h 280425"/>
                    <a:gd name="connsiteX4" fmla="*/ 540036 w 836879"/>
                    <a:gd name="connsiteY4" fmla="*/ 270557 h 280425"/>
                    <a:gd name="connsiteX5" fmla="*/ 715091 w 836879"/>
                    <a:gd name="connsiteY5" fmla="*/ 229018 h 280425"/>
                    <a:gd name="connsiteX6" fmla="*/ 836740 w 836879"/>
                    <a:gd name="connsiteY6" fmla="*/ 122205 h 280425"/>
                    <a:gd name="connsiteX7" fmla="*/ 706189 w 836879"/>
                    <a:gd name="connsiteY7" fmla="*/ 27259 h 2804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36879" h="280425">
                      <a:moveTo>
                        <a:pt x="706189" y="27259"/>
                      </a:moveTo>
                      <a:cubicBezTo>
                        <a:pt x="626080" y="6491"/>
                        <a:pt x="522234" y="-2411"/>
                        <a:pt x="412453" y="556"/>
                      </a:cubicBezTo>
                      <a:cubicBezTo>
                        <a:pt x="178058" y="12424"/>
                        <a:pt x="-2931" y="80667"/>
                        <a:pt x="36" y="157809"/>
                      </a:cubicBezTo>
                      <a:cubicBezTo>
                        <a:pt x="3003" y="234952"/>
                        <a:pt x="189926" y="288359"/>
                        <a:pt x="424321" y="279457"/>
                      </a:cubicBezTo>
                      <a:cubicBezTo>
                        <a:pt x="462893" y="276490"/>
                        <a:pt x="501464" y="273524"/>
                        <a:pt x="540036" y="270557"/>
                      </a:cubicBezTo>
                      <a:cubicBezTo>
                        <a:pt x="605311" y="261655"/>
                        <a:pt x="667618" y="246820"/>
                        <a:pt x="715091" y="229018"/>
                      </a:cubicBezTo>
                      <a:cubicBezTo>
                        <a:pt x="795200" y="199348"/>
                        <a:pt x="839706" y="160776"/>
                        <a:pt x="836740" y="122205"/>
                      </a:cubicBezTo>
                      <a:cubicBezTo>
                        <a:pt x="836740" y="83633"/>
                        <a:pt x="789267" y="50996"/>
                        <a:pt x="706189" y="27259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99" name="图形 1">
                  <a:extLst>
                    <a:ext uri="{FF2B5EF4-FFF2-40B4-BE49-F238E27FC236}">
                      <a16:creationId xmlns:a16="http://schemas.microsoft.com/office/drawing/2014/main" id="{4B059E29-7D14-4751-8379-3B3578C69B22}"/>
                    </a:ext>
                  </a:extLst>
                </p:cNvPr>
                <p:cNvGrpSpPr/>
                <p:nvPr/>
              </p:nvGrpSpPr>
              <p:grpSpPr>
                <a:xfrm>
                  <a:off x="11381569" y="9596658"/>
                  <a:ext cx="112747" cy="80110"/>
                  <a:chOff x="11381569" y="9596658"/>
                  <a:chExt cx="112747" cy="80110"/>
                </a:xfrm>
              </p:grpSpPr>
              <p:sp>
                <p:nvSpPr>
                  <p:cNvPr id="115" name="任意多边形: 形状 114">
                    <a:extLst>
                      <a:ext uri="{FF2B5EF4-FFF2-40B4-BE49-F238E27FC236}">
                        <a16:creationId xmlns:a16="http://schemas.microsoft.com/office/drawing/2014/main" id="{173E3DBF-35CF-4AC8-86DD-8EBB899F4F31}"/>
                      </a:ext>
                    </a:extLst>
                  </p:cNvPr>
                  <p:cNvSpPr/>
                  <p:nvPr/>
                </p:nvSpPr>
                <p:spPr>
                  <a:xfrm>
                    <a:off x="11393438" y="9608147"/>
                    <a:ext cx="89010" cy="59720"/>
                  </a:xfrm>
                  <a:custGeom>
                    <a:avLst/>
                    <a:gdLst>
                      <a:gd name="connsiteX0" fmla="*/ 89011 w 89010"/>
                      <a:gd name="connsiteY0" fmla="*/ 30050 h 59720"/>
                      <a:gd name="connsiteX1" fmla="*/ 44505 w 89010"/>
                      <a:gd name="connsiteY1" fmla="*/ 59721 h 59720"/>
                      <a:gd name="connsiteX2" fmla="*/ 0 w 89010"/>
                      <a:gd name="connsiteY2" fmla="*/ 30050 h 59720"/>
                      <a:gd name="connsiteX3" fmla="*/ 44505 w 89010"/>
                      <a:gd name="connsiteY3" fmla="*/ 380 h 59720"/>
                      <a:gd name="connsiteX4" fmla="*/ 89011 w 89010"/>
                      <a:gd name="connsiteY4" fmla="*/ 30050 h 597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010" h="59720">
                        <a:moveTo>
                          <a:pt x="89011" y="30050"/>
                        </a:moveTo>
                        <a:cubicBezTo>
                          <a:pt x="89011" y="47852"/>
                          <a:pt x="68241" y="59721"/>
                          <a:pt x="44505" y="59721"/>
                        </a:cubicBezTo>
                        <a:cubicBezTo>
                          <a:pt x="20769" y="59721"/>
                          <a:pt x="0" y="47852"/>
                          <a:pt x="0" y="30050"/>
                        </a:cubicBezTo>
                        <a:cubicBezTo>
                          <a:pt x="0" y="12248"/>
                          <a:pt x="20769" y="380"/>
                          <a:pt x="44505" y="380"/>
                        </a:cubicBezTo>
                        <a:cubicBezTo>
                          <a:pt x="68241" y="-2587"/>
                          <a:pt x="89011" y="12248"/>
                          <a:pt x="89011" y="30050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" name="任意多边形: 形状 115">
                    <a:extLst>
                      <a:ext uri="{FF2B5EF4-FFF2-40B4-BE49-F238E27FC236}">
                        <a16:creationId xmlns:a16="http://schemas.microsoft.com/office/drawing/2014/main" id="{E3CF8545-CC80-4B0B-9789-72AC86387D2A}"/>
                      </a:ext>
                    </a:extLst>
                  </p:cNvPr>
                  <p:cNvSpPr/>
                  <p:nvPr/>
                </p:nvSpPr>
                <p:spPr>
                  <a:xfrm>
                    <a:off x="11381569" y="9596658"/>
                    <a:ext cx="112747" cy="80110"/>
                  </a:xfrm>
                  <a:custGeom>
                    <a:avLst/>
                    <a:gdLst>
                      <a:gd name="connsiteX0" fmla="*/ 65275 w 112747"/>
                      <a:gd name="connsiteY0" fmla="*/ 80110 h 80110"/>
                      <a:gd name="connsiteX1" fmla="*/ 56374 w 112747"/>
                      <a:gd name="connsiteY1" fmla="*/ 80110 h 80110"/>
                      <a:gd name="connsiteX2" fmla="*/ 0 w 112747"/>
                      <a:gd name="connsiteY2" fmla="*/ 41539 h 80110"/>
                      <a:gd name="connsiteX3" fmla="*/ 17802 w 112747"/>
                      <a:gd name="connsiteY3" fmla="*/ 11869 h 80110"/>
                      <a:gd name="connsiteX4" fmla="*/ 56374 w 112747"/>
                      <a:gd name="connsiteY4" fmla="*/ 0 h 80110"/>
                      <a:gd name="connsiteX5" fmla="*/ 112748 w 112747"/>
                      <a:gd name="connsiteY5" fmla="*/ 38572 h 80110"/>
                      <a:gd name="connsiteX6" fmla="*/ 94945 w 112747"/>
                      <a:gd name="connsiteY6" fmla="*/ 68242 h 80110"/>
                      <a:gd name="connsiteX7" fmla="*/ 65275 w 112747"/>
                      <a:gd name="connsiteY7" fmla="*/ 80110 h 80110"/>
                      <a:gd name="connsiteX8" fmla="*/ 47473 w 112747"/>
                      <a:gd name="connsiteY8" fmla="*/ 20770 h 80110"/>
                      <a:gd name="connsiteX9" fmla="*/ 26704 w 112747"/>
                      <a:gd name="connsiteY9" fmla="*/ 26704 h 80110"/>
                      <a:gd name="connsiteX10" fmla="*/ 17802 w 112747"/>
                      <a:gd name="connsiteY10" fmla="*/ 41539 h 80110"/>
                      <a:gd name="connsiteX11" fmla="*/ 53407 w 112747"/>
                      <a:gd name="connsiteY11" fmla="*/ 62308 h 80110"/>
                      <a:gd name="connsiteX12" fmla="*/ 80110 w 112747"/>
                      <a:gd name="connsiteY12" fmla="*/ 53407 h 80110"/>
                      <a:gd name="connsiteX13" fmla="*/ 89011 w 112747"/>
                      <a:gd name="connsiteY13" fmla="*/ 38572 h 80110"/>
                      <a:gd name="connsiteX14" fmla="*/ 53407 w 112747"/>
                      <a:gd name="connsiteY14" fmla="*/ 17802 h 80110"/>
                      <a:gd name="connsiteX15" fmla="*/ 47473 w 112747"/>
                      <a:gd name="connsiteY15" fmla="*/ 20770 h 801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2747" h="80110">
                        <a:moveTo>
                          <a:pt x="65275" y="80110"/>
                        </a:moveTo>
                        <a:cubicBezTo>
                          <a:pt x="62308" y="80110"/>
                          <a:pt x="59341" y="80110"/>
                          <a:pt x="56374" y="80110"/>
                        </a:cubicBezTo>
                        <a:cubicBezTo>
                          <a:pt x="26704" y="80110"/>
                          <a:pt x="0" y="62308"/>
                          <a:pt x="0" y="41539"/>
                        </a:cubicBezTo>
                        <a:cubicBezTo>
                          <a:pt x="0" y="29670"/>
                          <a:pt x="5934" y="20770"/>
                          <a:pt x="17802" y="11869"/>
                        </a:cubicBezTo>
                        <a:cubicBezTo>
                          <a:pt x="26704" y="5934"/>
                          <a:pt x="41539" y="0"/>
                          <a:pt x="56374" y="0"/>
                        </a:cubicBezTo>
                        <a:cubicBezTo>
                          <a:pt x="86045" y="0"/>
                          <a:pt x="112748" y="17802"/>
                          <a:pt x="112748" y="38572"/>
                        </a:cubicBezTo>
                        <a:cubicBezTo>
                          <a:pt x="112748" y="50440"/>
                          <a:pt x="106813" y="59341"/>
                          <a:pt x="94945" y="68242"/>
                        </a:cubicBezTo>
                        <a:cubicBezTo>
                          <a:pt x="86045" y="74176"/>
                          <a:pt x="77143" y="77143"/>
                          <a:pt x="65275" y="80110"/>
                        </a:cubicBezTo>
                        <a:close/>
                        <a:moveTo>
                          <a:pt x="47473" y="20770"/>
                        </a:moveTo>
                        <a:cubicBezTo>
                          <a:pt x="38572" y="20770"/>
                          <a:pt x="32638" y="23737"/>
                          <a:pt x="26704" y="26704"/>
                        </a:cubicBezTo>
                        <a:cubicBezTo>
                          <a:pt x="23737" y="29670"/>
                          <a:pt x="17802" y="32638"/>
                          <a:pt x="17802" y="41539"/>
                        </a:cubicBezTo>
                        <a:cubicBezTo>
                          <a:pt x="17802" y="50440"/>
                          <a:pt x="32638" y="62308"/>
                          <a:pt x="53407" y="62308"/>
                        </a:cubicBezTo>
                        <a:cubicBezTo>
                          <a:pt x="62308" y="62308"/>
                          <a:pt x="74176" y="59341"/>
                          <a:pt x="80110" y="53407"/>
                        </a:cubicBezTo>
                        <a:cubicBezTo>
                          <a:pt x="83077" y="50440"/>
                          <a:pt x="89011" y="47473"/>
                          <a:pt x="89011" y="38572"/>
                        </a:cubicBezTo>
                        <a:cubicBezTo>
                          <a:pt x="89011" y="29670"/>
                          <a:pt x="74176" y="17802"/>
                          <a:pt x="53407" y="17802"/>
                        </a:cubicBezTo>
                        <a:cubicBezTo>
                          <a:pt x="53407" y="20770"/>
                          <a:pt x="50440" y="20770"/>
                          <a:pt x="47473" y="20770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00" name="图形 1">
                  <a:extLst>
                    <a:ext uri="{FF2B5EF4-FFF2-40B4-BE49-F238E27FC236}">
                      <a16:creationId xmlns:a16="http://schemas.microsoft.com/office/drawing/2014/main" id="{D22D4C5A-6DE8-42C7-A8A4-921827F785FD}"/>
                    </a:ext>
                  </a:extLst>
                </p:cNvPr>
                <p:cNvGrpSpPr/>
                <p:nvPr/>
              </p:nvGrpSpPr>
              <p:grpSpPr>
                <a:xfrm>
                  <a:off x="11755415" y="9644131"/>
                  <a:ext cx="112747" cy="80110"/>
                  <a:chOff x="11755415" y="9644131"/>
                  <a:chExt cx="112747" cy="80110"/>
                </a:xfrm>
              </p:grpSpPr>
              <p:sp>
                <p:nvSpPr>
                  <p:cNvPr id="113" name="任意多边形: 形状 112">
                    <a:extLst>
                      <a:ext uri="{FF2B5EF4-FFF2-40B4-BE49-F238E27FC236}">
                        <a16:creationId xmlns:a16="http://schemas.microsoft.com/office/drawing/2014/main" id="{F1036141-9712-4F03-B194-31AC610AB14A}"/>
                      </a:ext>
                    </a:extLst>
                  </p:cNvPr>
                  <p:cNvSpPr/>
                  <p:nvPr/>
                </p:nvSpPr>
                <p:spPr>
                  <a:xfrm>
                    <a:off x="11767283" y="9655999"/>
                    <a:ext cx="89010" cy="59340"/>
                  </a:xfrm>
                  <a:custGeom>
                    <a:avLst/>
                    <a:gdLst>
                      <a:gd name="connsiteX0" fmla="*/ 89011 w 89010"/>
                      <a:gd name="connsiteY0" fmla="*/ 29670 h 59340"/>
                      <a:gd name="connsiteX1" fmla="*/ 44505 w 89010"/>
                      <a:gd name="connsiteY1" fmla="*/ 59341 h 59340"/>
                      <a:gd name="connsiteX2" fmla="*/ 0 w 89010"/>
                      <a:gd name="connsiteY2" fmla="*/ 29670 h 59340"/>
                      <a:gd name="connsiteX3" fmla="*/ 44505 w 89010"/>
                      <a:gd name="connsiteY3" fmla="*/ 0 h 59340"/>
                      <a:gd name="connsiteX4" fmla="*/ 89011 w 89010"/>
                      <a:gd name="connsiteY4" fmla="*/ 29670 h 593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010" h="59340">
                        <a:moveTo>
                          <a:pt x="89011" y="29670"/>
                        </a:moveTo>
                        <a:cubicBezTo>
                          <a:pt x="89011" y="47473"/>
                          <a:pt x="68242" y="59341"/>
                          <a:pt x="44505" y="59341"/>
                        </a:cubicBezTo>
                        <a:cubicBezTo>
                          <a:pt x="20770" y="59341"/>
                          <a:pt x="0" y="47473"/>
                          <a:pt x="0" y="29670"/>
                        </a:cubicBezTo>
                        <a:cubicBezTo>
                          <a:pt x="0" y="11869"/>
                          <a:pt x="20770" y="0"/>
                          <a:pt x="44505" y="0"/>
                        </a:cubicBezTo>
                        <a:cubicBezTo>
                          <a:pt x="68242" y="0"/>
                          <a:pt x="89011" y="14835"/>
                          <a:pt x="89011" y="29670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" name="任意多边形: 形状 113">
                    <a:extLst>
                      <a:ext uri="{FF2B5EF4-FFF2-40B4-BE49-F238E27FC236}">
                        <a16:creationId xmlns:a16="http://schemas.microsoft.com/office/drawing/2014/main" id="{1E69B8DF-74B6-47DA-B4B3-F0FBD7902FD7}"/>
                      </a:ext>
                    </a:extLst>
                  </p:cNvPr>
                  <p:cNvSpPr/>
                  <p:nvPr/>
                </p:nvSpPr>
                <p:spPr>
                  <a:xfrm>
                    <a:off x="11755415" y="9644131"/>
                    <a:ext cx="112747" cy="80110"/>
                  </a:xfrm>
                  <a:custGeom>
                    <a:avLst/>
                    <a:gdLst>
                      <a:gd name="connsiteX0" fmla="*/ 65275 w 112747"/>
                      <a:gd name="connsiteY0" fmla="*/ 80110 h 80110"/>
                      <a:gd name="connsiteX1" fmla="*/ 56373 w 112747"/>
                      <a:gd name="connsiteY1" fmla="*/ 80110 h 80110"/>
                      <a:gd name="connsiteX2" fmla="*/ 0 w 112747"/>
                      <a:gd name="connsiteY2" fmla="*/ 41538 h 80110"/>
                      <a:gd name="connsiteX3" fmla="*/ 17802 w 112747"/>
                      <a:gd name="connsiteY3" fmla="*/ 11868 h 80110"/>
                      <a:gd name="connsiteX4" fmla="*/ 56373 w 112747"/>
                      <a:gd name="connsiteY4" fmla="*/ 0 h 80110"/>
                      <a:gd name="connsiteX5" fmla="*/ 112748 w 112747"/>
                      <a:gd name="connsiteY5" fmla="*/ 38572 h 80110"/>
                      <a:gd name="connsiteX6" fmla="*/ 94945 w 112747"/>
                      <a:gd name="connsiteY6" fmla="*/ 68242 h 80110"/>
                      <a:gd name="connsiteX7" fmla="*/ 65275 w 112747"/>
                      <a:gd name="connsiteY7" fmla="*/ 80110 h 80110"/>
                      <a:gd name="connsiteX8" fmla="*/ 47473 w 112747"/>
                      <a:gd name="connsiteY8" fmla="*/ 20770 h 80110"/>
                      <a:gd name="connsiteX9" fmla="*/ 26703 w 112747"/>
                      <a:gd name="connsiteY9" fmla="*/ 26703 h 80110"/>
                      <a:gd name="connsiteX10" fmla="*/ 17802 w 112747"/>
                      <a:gd name="connsiteY10" fmla="*/ 41538 h 80110"/>
                      <a:gd name="connsiteX11" fmla="*/ 53407 w 112747"/>
                      <a:gd name="connsiteY11" fmla="*/ 62308 h 80110"/>
                      <a:gd name="connsiteX12" fmla="*/ 80110 w 112747"/>
                      <a:gd name="connsiteY12" fmla="*/ 53407 h 80110"/>
                      <a:gd name="connsiteX13" fmla="*/ 89011 w 112747"/>
                      <a:gd name="connsiteY13" fmla="*/ 38572 h 80110"/>
                      <a:gd name="connsiteX14" fmla="*/ 53407 w 112747"/>
                      <a:gd name="connsiteY14" fmla="*/ 17802 h 80110"/>
                      <a:gd name="connsiteX15" fmla="*/ 47473 w 112747"/>
                      <a:gd name="connsiteY15" fmla="*/ 20770 h 801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2747" h="80110">
                        <a:moveTo>
                          <a:pt x="65275" y="80110"/>
                        </a:moveTo>
                        <a:cubicBezTo>
                          <a:pt x="62308" y="80110"/>
                          <a:pt x="59341" y="80110"/>
                          <a:pt x="56373" y="80110"/>
                        </a:cubicBezTo>
                        <a:cubicBezTo>
                          <a:pt x="26703" y="80110"/>
                          <a:pt x="0" y="62308"/>
                          <a:pt x="0" y="41538"/>
                        </a:cubicBezTo>
                        <a:cubicBezTo>
                          <a:pt x="0" y="29670"/>
                          <a:pt x="5934" y="20770"/>
                          <a:pt x="17802" y="11868"/>
                        </a:cubicBezTo>
                        <a:cubicBezTo>
                          <a:pt x="26703" y="5934"/>
                          <a:pt x="41538" y="0"/>
                          <a:pt x="56373" y="0"/>
                        </a:cubicBezTo>
                        <a:cubicBezTo>
                          <a:pt x="86044" y="0"/>
                          <a:pt x="112748" y="17802"/>
                          <a:pt x="112748" y="38572"/>
                        </a:cubicBezTo>
                        <a:cubicBezTo>
                          <a:pt x="112748" y="50440"/>
                          <a:pt x="106813" y="59341"/>
                          <a:pt x="94945" y="68242"/>
                        </a:cubicBezTo>
                        <a:cubicBezTo>
                          <a:pt x="86044" y="77143"/>
                          <a:pt x="77143" y="80110"/>
                          <a:pt x="65275" y="80110"/>
                        </a:cubicBezTo>
                        <a:close/>
                        <a:moveTo>
                          <a:pt x="47473" y="20770"/>
                        </a:moveTo>
                        <a:cubicBezTo>
                          <a:pt x="38572" y="20770"/>
                          <a:pt x="32638" y="23737"/>
                          <a:pt x="26703" y="26703"/>
                        </a:cubicBezTo>
                        <a:cubicBezTo>
                          <a:pt x="23737" y="29670"/>
                          <a:pt x="17802" y="32638"/>
                          <a:pt x="17802" y="41538"/>
                        </a:cubicBezTo>
                        <a:cubicBezTo>
                          <a:pt x="17802" y="50440"/>
                          <a:pt x="32638" y="62308"/>
                          <a:pt x="53407" y="62308"/>
                        </a:cubicBezTo>
                        <a:cubicBezTo>
                          <a:pt x="62308" y="62308"/>
                          <a:pt x="74176" y="59341"/>
                          <a:pt x="80110" y="53407"/>
                        </a:cubicBezTo>
                        <a:cubicBezTo>
                          <a:pt x="83077" y="50440"/>
                          <a:pt x="89011" y="47473"/>
                          <a:pt x="89011" y="38572"/>
                        </a:cubicBezTo>
                        <a:cubicBezTo>
                          <a:pt x="89011" y="29670"/>
                          <a:pt x="74176" y="17802"/>
                          <a:pt x="53407" y="17802"/>
                        </a:cubicBezTo>
                        <a:cubicBezTo>
                          <a:pt x="53407" y="20770"/>
                          <a:pt x="50440" y="20770"/>
                          <a:pt x="47473" y="20770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01" name="图形 1">
                  <a:extLst>
                    <a:ext uri="{FF2B5EF4-FFF2-40B4-BE49-F238E27FC236}">
                      <a16:creationId xmlns:a16="http://schemas.microsoft.com/office/drawing/2014/main" id="{3BEAEAA7-0EC3-46A0-A199-1F9CF25C4581}"/>
                    </a:ext>
                  </a:extLst>
                </p:cNvPr>
                <p:cNvGrpSpPr/>
                <p:nvPr/>
              </p:nvGrpSpPr>
              <p:grpSpPr>
                <a:xfrm>
                  <a:off x="11562558" y="9534351"/>
                  <a:ext cx="112747" cy="80109"/>
                  <a:chOff x="11562558" y="9534351"/>
                  <a:chExt cx="112747" cy="80109"/>
                </a:xfrm>
              </p:grpSpPr>
              <p:sp>
                <p:nvSpPr>
                  <p:cNvPr id="111" name="任意多边形: 形状 110">
                    <a:extLst>
                      <a:ext uri="{FF2B5EF4-FFF2-40B4-BE49-F238E27FC236}">
                        <a16:creationId xmlns:a16="http://schemas.microsoft.com/office/drawing/2014/main" id="{1095F552-9D9E-4B38-83C8-8B19B4D621F2}"/>
                      </a:ext>
                    </a:extLst>
                  </p:cNvPr>
                  <p:cNvSpPr/>
                  <p:nvPr/>
                </p:nvSpPr>
                <p:spPr>
                  <a:xfrm>
                    <a:off x="11574426" y="9546219"/>
                    <a:ext cx="89010" cy="59340"/>
                  </a:xfrm>
                  <a:custGeom>
                    <a:avLst/>
                    <a:gdLst>
                      <a:gd name="connsiteX0" fmla="*/ 89011 w 89010"/>
                      <a:gd name="connsiteY0" fmla="*/ 29670 h 59340"/>
                      <a:gd name="connsiteX1" fmla="*/ 44505 w 89010"/>
                      <a:gd name="connsiteY1" fmla="*/ 59341 h 59340"/>
                      <a:gd name="connsiteX2" fmla="*/ 0 w 89010"/>
                      <a:gd name="connsiteY2" fmla="*/ 29670 h 59340"/>
                      <a:gd name="connsiteX3" fmla="*/ 44505 w 89010"/>
                      <a:gd name="connsiteY3" fmla="*/ 0 h 59340"/>
                      <a:gd name="connsiteX4" fmla="*/ 89011 w 89010"/>
                      <a:gd name="connsiteY4" fmla="*/ 29670 h 593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010" h="59340">
                        <a:moveTo>
                          <a:pt x="89011" y="29670"/>
                        </a:moveTo>
                        <a:cubicBezTo>
                          <a:pt x="89011" y="47473"/>
                          <a:pt x="68242" y="59341"/>
                          <a:pt x="44505" y="59341"/>
                        </a:cubicBezTo>
                        <a:cubicBezTo>
                          <a:pt x="20770" y="59341"/>
                          <a:pt x="0" y="47473"/>
                          <a:pt x="0" y="29670"/>
                        </a:cubicBezTo>
                        <a:cubicBezTo>
                          <a:pt x="0" y="11868"/>
                          <a:pt x="20770" y="0"/>
                          <a:pt x="44505" y="0"/>
                        </a:cubicBezTo>
                        <a:cubicBezTo>
                          <a:pt x="68242" y="0"/>
                          <a:pt x="89011" y="14835"/>
                          <a:pt x="89011" y="29670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" name="任意多边形: 形状 111">
                    <a:extLst>
                      <a:ext uri="{FF2B5EF4-FFF2-40B4-BE49-F238E27FC236}">
                        <a16:creationId xmlns:a16="http://schemas.microsoft.com/office/drawing/2014/main" id="{91A2FA4F-1C37-48B7-A28E-D2E37CC5F4EE}"/>
                      </a:ext>
                    </a:extLst>
                  </p:cNvPr>
                  <p:cNvSpPr/>
                  <p:nvPr/>
                </p:nvSpPr>
                <p:spPr>
                  <a:xfrm>
                    <a:off x="11562558" y="9534351"/>
                    <a:ext cx="112747" cy="80109"/>
                  </a:xfrm>
                  <a:custGeom>
                    <a:avLst/>
                    <a:gdLst>
                      <a:gd name="connsiteX0" fmla="*/ 65275 w 112747"/>
                      <a:gd name="connsiteY0" fmla="*/ 80109 h 80109"/>
                      <a:gd name="connsiteX1" fmla="*/ 56373 w 112747"/>
                      <a:gd name="connsiteY1" fmla="*/ 80109 h 80109"/>
                      <a:gd name="connsiteX2" fmla="*/ 0 w 112747"/>
                      <a:gd name="connsiteY2" fmla="*/ 41538 h 80109"/>
                      <a:gd name="connsiteX3" fmla="*/ 17802 w 112747"/>
                      <a:gd name="connsiteY3" fmla="*/ 11868 h 80109"/>
                      <a:gd name="connsiteX4" fmla="*/ 56373 w 112747"/>
                      <a:gd name="connsiteY4" fmla="*/ 0 h 80109"/>
                      <a:gd name="connsiteX5" fmla="*/ 112748 w 112747"/>
                      <a:gd name="connsiteY5" fmla="*/ 38571 h 80109"/>
                      <a:gd name="connsiteX6" fmla="*/ 94945 w 112747"/>
                      <a:gd name="connsiteY6" fmla="*/ 68241 h 80109"/>
                      <a:gd name="connsiteX7" fmla="*/ 65275 w 112747"/>
                      <a:gd name="connsiteY7" fmla="*/ 80109 h 80109"/>
                      <a:gd name="connsiteX8" fmla="*/ 47473 w 112747"/>
                      <a:gd name="connsiteY8" fmla="*/ 23736 h 80109"/>
                      <a:gd name="connsiteX9" fmla="*/ 26703 w 112747"/>
                      <a:gd name="connsiteY9" fmla="*/ 29670 h 80109"/>
                      <a:gd name="connsiteX10" fmla="*/ 17802 w 112747"/>
                      <a:gd name="connsiteY10" fmla="*/ 44505 h 80109"/>
                      <a:gd name="connsiteX11" fmla="*/ 53407 w 112747"/>
                      <a:gd name="connsiteY11" fmla="*/ 65274 h 80109"/>
                      <a:gd name="connsiteX12" fmla="*/ 80110 w 112747"/>
                      <a:gd name="connsiteY12" fmla="*/ 56373 h 80109"/>
                      <a:gd name="connsiteX13" fmla="*/ 89011 w 112747"/>
                      <a:gd name="connsiteY13" fmla="*/ 41538 h 80109"/>
                      <a:gd name="connsiteX14" fmla="*/ 53407 w 112747"/>
                      <a:gd name="connsiteY14" fmla="*/ 20769 h 80109"/>
                      <a:gd name="connsiteX15" fmla="*/ 47473 w 112747"/>
                      <a:gd name="connsiteY15" fmla="*/ 23736 h 80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2747" h="80109">
                        <a:moveTo>
                          <a:pt x="65275" y="80109"/>
                        </a:moveTo>
                        <a:cubicBezTo>
                          <a:pt x="62308" y="80109"/>
                          <a:pt x="59341" y="80109"/>
                          <a:pt x="56373" y="80109"/>
                        </a:cubicBezTo>
                        <a:cubicBezTo>
                          <a:pt x="26703" y="80109"/>
                          <a:pt x="0" y="62307"/>
                          <a:pt x="0" y="41538"/>
                        </a:cubicBezTo>
                        <a:cubicBezTo>
                          <a:pt x="0" y="29670"/>
                          <a:pt x="5934" y="20769"/>
                          <a:pt x="17802" y="11868"/>
                        </a:cubicBezTo>
                        <a:cubicBezTo>
                          <a:pt x="26703" y="5934"/>
                          <a:pt x="41538" y="0"/>
                          <a:pt x="56373" y="0"/>
                        </a:cubicBezTo>
                        <a:cubicBezTo>
                          <a:pt x="86044" y="0"/>
                          <a:pt x="112748" y="17801"/>
                          <a:pt x="112748" y="38571"/>
                        </a:cubicBezTo>
                        <a:cubicBezTo>
                          <a:pt x="112748" y="50439"/>
                          <a:pt x="106813" y="59341"/>
                          <a:pt x="94945" y="68241"/>
                        </a:cubicBezTo>
                        <a:cubicBezTo>
                          <a:pt x="83077" y="77142"/>
                          <a:pt x="74176" y="80109"/>
                          <a:pt x="65275" y="80109"/>
                        </a:cubicBezTo>
                        <a:close/>
                        <a:moveTo>
                          <a:pt x="47473" y="23736"/>
                        </a:moveTo>
                        <a:cubicBezTo>
                          <a:pt x="38572" y="23736"/>
                          <a:pt x="32638" y="26703"/>
                          <a:pt x="26703" y="29670"/>
                        </a:cubicBezTo>
                        <a:cubicBezTo>
                          <a:pt x="23737" y="32637"/>
                          <a:pt x="17802" y="35604"/>
                          <a:pt x="17802" y="44505"/>
                        </a:cubicBezTo>
                        <a:cubicBezTo>
                          <a:pt x="17802" y="53406"/>
                          <a:pt x="32638" y="65274"/>
                          <a:pt x="53407" y="65274"/>
                        </a:cubicBezTo>
                        <a:cubicBezTo>
                          <a:pt x="62308" y="65274"/>
                          <a:pt x="74176" y="62307"/>
                          <a:pt x="80110" y="56373"/>
                        </a:cubicBezTo>
                        <a:cubicBezTo>
                          <a:pt x="83077" y="53406"/>
                          <a:pt x="89011" y="50439"/>
                          <a:pt x="89011" y="41538"/>
                        </a:cubicBezTo>
                        <a:cubicBezTo>
                          <a:pt x="89011" y="32637"/>
                          <a:pt x="74176" y="20769"/>
                          <a:pt x="53407" y="20769"/>
                        </a:cubicBezTo>
                        <a:cubicBezTo>
                          <a:pt x="50440" y="20769"/>
                          <a:pt x="50440" y="20769"/>
                          <a:pt x="47473" y="23736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02" name="图形 1">
                  <a:extLst>
                    <a:ext uri="{FF2B5EF4-FFF2-40B4-BE49-F238E27FC236}">
                      <a16:creationId xmlns:a16="http://schemas.microsoft.com/office/drawing/2014/main" id="{2D241429-8C17-4109-8556-DEEC51268AF1}"/>
                    </a:ext>
                  </a:extLst>
                </p:cNvPr>
                <p:cNvGrpSpPr/>
                <p:nvPr/>
              </p:nvGrpSpPr>
              <p:grpSpPr>
                <a:xfrm>
                  <a:off x="11915635" y="9581823"/>
                  <a:ext cx="109780" cy="80110"/>
                  <a:chOff x="11915635" y="9581823"/>
                  <a:chExt cx="109780" cy="80110"/>
                </a:xfrm>
              </p:grpSpPr>
              <p:sp>
                <p:nvSpPr>
                  <p:cNvPr id="109" name="任意多边形: 形状 108">
                    <a:extLst>
                      <a:ext uri="{FF2B5EF4-FFF2-40B4-BE49-F238E27FC236}">
                        <a16:creationId xmlns:a16="http://schemas.microsoft.com/office/drawing/2014/main" id="{C6F8F275-42C0-4766-95D9-CF84AA899A87}"/>
                      </a:ext>
                    </a:extLst>
                  </p:cNvPr>
                  <p:cNvSpPr/>
                  <p:nvPr/>
                </p:nvSpPr>
                <p:spPr>
                  <a:xfrm>
                    <a:off x="11927504" y="9593312"/>
                    <a:ext cx="89010" cy="59720"/>
                  </a:xfrm>
                  <a:custGeom>
                    <a:avLst/>
                    <a:gdLst>
                      <a:gd name="connsiteX0" fmla="*/ 89011 w 89010"/>
                      <a:gd name="connsiteY0" fmla="*/ 30050 h 59720"/>
                      <a:gd name="connsiteX1" fmla="*/ 44505 w 89010"/>
                      <a:gd name="connsiteY1" fmla="*/ 59721 h 59720"/>
                      <a:gd name="connsiteX2" fmla="*/ 0 w 89010"/>
                      <a:gd name="connsiteY2" fmla="*/ 30050 h 59720"/>
                      <a:gd name="connsiteX3" fmla="*/ 44505 w 89010"/>
                      <a:gd name="connsiteY3" fmla="*/ 380 h 59720"/>
                      <a:gd name="connsiteX4" fmla="*/ 89011 w 89010"/>
                      <a:gd name="connsiteY4" fmla="*/ 30050 h 597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010" h="59720">
                        <a:moveTo>
                          <a:pt x="89011" y="30050"/>
                        </a:moveTo>
                        <a:cubicBezTo>
                          <a:pt x="89011" y="47852"/>
                          <a:pt x="68241" y="59721"/>
                          <a:pt x="44505" y="59721"/>
                        </a:cubicBezTo>
                        <a:cubicBezTo>
                          <a:pt x="20769" y="59721"/>
                          <a:pt x="0" y="47852"/>
                          <a:pt x="0" y="30050"/>
                        </a:cubicBezTo>
                        <a:cubicBezTo>
                          <a:pt x="0" y="12248"/>
                          <a:pt x="20769" y="380"/>
                          <a:pt x="44505" y="380"/>
                        </a:cubicBezTo>
                        <a:cubicBezTo>
                          <a:pt x="68241" y="-2587"/>
                          <a:pt x="89011" y="12248"/>
                          <a:pt x="89011" y="30050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" name="任意多边形: 形状 109">
                    <a:extLst>
                      <a:ext uri="{FF2B5EF4-FFF2-40B4-BE49-F238E27FC236}">
                        <a16:creationId xmlns:a16="http://schemas.microsoft.com/office/drawing/2014/main" id="{8660888A-42A4-4E3C-BC7B-4861E11B55D9}"/>
                      </a:ext>
                    </a:extLst>
                  </p:cNvPr>
                  <p:cNvSpPr/>
                  <p:nvPr/>
                </p:nvSpPr>
                <p:spPr>
                  <a:xfrm>
                    <a:off x="11915635" y="9581823"/>
                    <a:ext cx="109780" cy="80110"/>
                  </a:xfrm>
                  <a:custGeom>
                    <a:avLst/>
                    <a:gdLst>
                      <a:gd name="connsiteX0" fmla="*/ 65275 w 109780"/>
                      <a:gd name="connsiteY0" fmla="*/ 80110 h 80110"/>
                      <a:gd name="connsiteX1" fmla="*/ 56374 w 109780"/>
                      <a:gd name="connsiteY1" fmla="*/ 80110 h 80110"/>
                      <a:gd name="connsiteX2" fmla="*/ 0 w 109780"/>
                      <a:gd name="connsiteY2" fmla="*/ 41539 h 80110"/>
                      <a:gd name="connsiteX3" fmla="*/ 53407 w 109780"/>
                      <a:gd name="connsiteY3" fmla="*/ 0 h 80110"/>
                      <a:gd name="connsiteX4" fmla="*/ 109781 w 109780"/>
                      <a:gd name="connsiteY4" fmla="*/ 38572 h 80110"/>
                      <a:gd name="connsiteX5" fmla="*/ 109781 w 109780"/>
                      <a:gd name="connsiteY5" fmla="*/ 38572 h 80110"/>
                      <a:gd name="connsiteX6" fmla="*/ 91978 w 109780"/>
                      <a:gd name="connsiteY6" fmla="*/ 68242 h 80110"/>
                      <a:gd name="connsiteX7" fmla="*/ 65275 w 109780"/>
                      <a:gd name="connsiteY7" fmla="*/ 80110 h 80110"/>
                      <a:gd name="connsiteX8" fmla="*/ 47473 w 109780"/>
                      <a:gd name="connsiteY8" fmla="*/ 20770 h 80110"/>
                      <a:gd name="connsiteX9" fmla="*/ 17802 w 109780"/>
                      <a:gd name="connsiteY9" fmla="*/ 41539 h 80110"/>
                      <a:gd name="connsiteX10" fmla="*/ 53407 w 109780"/>
                      <a:gd name="connsiteY10" fmla="*/ 62308 h 80110"/>
                      <a:gd name="connsiteX11" fmla="*/ 80110 w 109780"/>
                      <a:gd name="connsiteY11" fmla="*/ 53407 h 80110"/>
                      <a:gd name="connsiteX12" fmla="*/ 89011 w 109780"/>
                      <a:gd name="connsiteY12" fmla="*/ 38572 h 80110"/>
                      <a:gd name="connsiteX13" fmla="*/ 53407 w 109780"/>
                      <a:gd name="connsiteY13" fmla="*/ 17802 h 80110"/>
                      <a:gd name="connsiteX14" fmla="*/ 47473 w 109780"/>
                      <a:gd name="connsiteY14" fmla="*/ 20770 h 80110"/>
                      <a:gd name="connsiteX15" fmla="*/ 100880 w 109780"/>
                      <a:gd name="connsiteY15" fmla="*/ 41539 h 80110"/>
                      <a:gd name="connsiteX16" fmla="*/ 100880 w 109780"/>
                      <a:gd name="connsiteY16" fmla="*/ 41539 h 80110"/>
                      <a:gd name="connsiteX17" fmla="*/ 100880 w 109780"/>
                      <a:gd name="connsiteY17" fmla="*/ 41539 h 801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09780" h="80110">
                        <a:moveTo>
                          <a:pt x="65275" y="80110"/>
                        </a:moveTo>
                        <a:cubicBezTo>
                          <a:pt x="62308" y="80110"/>
                          <a:pt x="59341" y="80110"/>
                          <a:pt x="56374" y="80110"/>
                        </a:cubicBezTo>
                        <a:cubicBezTo>
                          <a:pt x="26704" y="80110"/>
                          <a:pt x="0" y="62308"/>
                          <a:pt x="0" y="41539"/>
                        </a:cubicBezTo>
                        <a:cubicBezTo>
                          <a:pt x="0" y="20770"/>
                          <a:pt x="23737" y="2967"/>
                          <a:pt x="53407" y="0"/>
                        </a:cubicBezTo>
                        <a:cubicBezTo>
                          <a:pt x="83077" y="0"/>
                          <a:pt x="109781" y="17802"/>
                          <a:pt x="109781" y="38572"/>
                        </a:cubicBezTo>
                        <a:lnTo>
                          <a:pt x="109781" y="38572"/>
                        </a:lnTo>
                        <a:cubicBezTo>
                          <a:pt x="109781" y="50440"/>
                          <a:pt x="103846" y="59341"/>
                          <a:pt x="91978" y="68242"/>
                        </a:cubicBezTo>
                        <a:cubicBezTo>
                          <a:pt x="86045" y="74176"/>
                          <a:pt x="74176" y="77143"/>
                          <a:pt x="65275" y="80110"/>
                        </a:cubicBezTo>
                        <a:close/>
                        <a:moveTo>
                          <a:pt x="47473" y="20770"/>
                        </a:moveTo>
                        <a:cubicBezTo>
                          <a:pt x="29670" y="23737"/>
                          <a:pt x="17802" y="32638"/>
                          <a:pt x="17802" y="41539"/>
                        </a:cubicBezTo>
                        <a:cubicBezTo>
                          <a:pt x="17802" y="50440"/>
                          <a:pt x="32638" y="62308"/>
                          <a:pt x="53407" y="62308"/>
                        </a:cubicBezTo>
                        <a:cubicBezTo>
                          <a:pt x="62308" y="62308"/>
                          <a:pt x="74176" y="59341"/>
                          <a:pt x="80110" y="53407"/>
                        </a:cubicBezTo>
                        <a:cubicBezTo>
                          <a:pt x="83077" y="50440"/>
                          <a:pt x="89011" y="47473"/>
                          <a:pt x="89011" y="38572"/>
                        </a:cubicBezTo>
                        <a:cubicBezTo>
                          <a:pt x="89011" y="29670"/>
                          <a:pt x="74176" y="17802"/>
                          <a:pt x="53407" y="17802"/>
                        </a:cubicBezTo>
                        <a:cubicBezTo>
                          <a:pt x="50440" y="20770"/>
                          <a:pt x="50440" y="20770"/>
                          <a:pt x="47473" y="20770"/>
                        </a:cubicBezTo>
                        <a:close/>
                        <a:moveTo>
                          <a:pt x="100880" y="41539"/>
                        </a:moveTo>
                        <a:lnTo>
                          <a:pt x="100880" y="41539"/>
                        </a:lnTo>
                        <a:lnTo>
                          <a:pt x="100880" y="41539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03" name="图形 1">
                  <a:extLst>
                    <a:ext uri="{FF2B5EF4-FFF2-40B4-BE49-F238E27FC236}">
                      <a16:creationId xmlns:a16="http://schemas.microsoft.com/office/drawing/2014/main" id="{0C9936F9-4BFE-42E6-B830-6F62456FCF44}"/>
                    </a:ext>
                  </a:extLst>
                </p:cNvPr>
                <p:cNvGrpSpPr/>
                <p:nvPr/>
              </p:nvGrpSpPr>
              <p:grpSpPr>
                <a:xfrm>
                  <a:off x="11749482" y="9534351"/>
                  <a:ext cx="109779" cy="80109"/>
                  <a:chOff x="11749482" y="9534351"/>
                  <a:chExt cx="109779" cy="80109"/>
                </a:xfrm>
              </p:grpSpPr>
              <p:sp>
                <p:nvSpPr>
                  <p:cNvPr id="107" name="任意多边形: 形状 106">
                    <a:extLst>
                      <a:ext uri="{FF2B5EF4-FFF2-40B4-BE49-F238E27FC236}">
                        <a16:creationId xmlns:a16="http://schemas.microsoft.com/office/drawing/2014/main" id="{973F8564-439B-4B8D-B5F3-07F2A22F4BD1}"/>
                      </a:ext>
                    </a:extLst>
                  </p:cNvPr>
                  <p:cNvSpPr/>
                  <p:nvPr/>
                </p:nvSpPr>
                <p:spPr>
                  <a:xfrm>
                    <a:off x="11761350" y="9545839"/>
                    <a:ext cx="89010" cy="59720"/>
                  </a:xfrm>
                  <a:custGeom>
                    <a:avLst/>
                    <a:gdLst>
                      <a:gd name="connsiteX0" fmla="*/ 89011 w 89010"/>
                      <a:gd name="connsiteY0" fmla="*/ 30050 h 59720"/>
                      <a:gd name="connsiteX1" fmla="*/ 44505 w 89010"/>
                      <a:gd name="connsiteY1" fmla="*/ 59721 h 59720"/>
                      <a:gd name="connsiteX2" fmla="*/ 0 w 89010"/>
                      <a:gd name="connsiteY2" fmla="*/ 30050 h 59720"/>
                      <a:gd name="connsiteX3" fmla="*/ 44505 w 89010"/>
                      <a:gd name="connsiteY3" fmla="*/ 380 h 59720"/>
                      <a:gd name="connsiteX4" fmla="*/ 89011 w 89010"/>
                      <a:gd name="connsiteY4" fmla="*/ 30050 h 597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010" h="59720">
                        <a:moveTo>
                          <a:pt x="89011" y="30050"/>
                        </a:moveTo>
                        <a:cubicBezTo>
                          <a:pt x="89011" y="47853"/>
                          <a:pt x="68241" y="59721"/>
                          <a:pt x="44505" y="59721"/>
                        </a:cubicBezTo>
                        <a:cubicBezTo>
                          <a:pt x="20769" y="59721"/>
                          <a:pt x="0" y="47853"/>
                          <a:pt x="0" y="30050"/>
                        </a:cubicBezTo>
                        <a:cubicBezTo>
                          <a:pt x="0" y="12248"/>
                          <a:pt x="20769" y="380"/>
                          <a:pt x="44505" y="380"/>
                        </a:cubicBezTo>
                        <a:cubicBezTo>
                          <a:pt x="68241" y="-2587"/>
                          <a:pt x="89011" y="12248"/>
                          <a:pt x="89011" y="30050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" name="任意多边形: 形状 107">
                    <a:extLst>
                      <a:ext uri="{FF2B5EF4-FFF2-40B4-BE49-F238E27FC236}">
                        <a16:creationId xmlns:a16="http://schemas.microsoft.com/office/drawing/2014/main" id="{AD789D83-E63A-431E-BB98-E4ACE24A8126}"/>
                      </a:ext>
                    </a:extLst>
                  </p:cNvPr>
                  <p:cNvSpPr/>
                  <p:nvPr/>
                </p:nvSpPr>
                <p:spPr>
                  <a:xfrm>
                    <a:off x="11749482" y="9534351"/>
                    <a:ext cx="109779" cy="80109"/>
                  </a:xfrm>
                  <a:custGeom>
                    <a:avLst/>
                    <a:gdLst>
                      <a:gd name="connsiteX0" fmla="*/ 65274 w 109779"/>
                      <a:gd name="connsiteY0" fmla="*/ 80109 h 80109"/>
                      <a:gd name="connsiteX1" fmla="*/ 56373 w 109779"/>
                      <a:gd name="connsiteY1" fmla="*/ 80109 h 80109"/>
                      <a:gd name="connsiteX2" fmla="*/ 0 w 109779"/>
                      <a:gd name="connsiteY2" fmla="*/ 41538 h 80109"/>
                      <a:gd name="connsiteX3" fmla="*/ 53406 w 109779"/>
                      <a:gd name="connsiteY3" fmla="*/ 0 h 80109"/>
                      <a:gd name="connsiteX4" fmla="*/ 109780 w 109779"/>
                      <a:gd name="connsiteY4" fmla="*/ 38571 h 80109"/>
                      <a:gd name="connsiteX5" fmla="*/ 109780 w 109779"/>
                      <a:gd name="connsiteY5" fmla="*/ 38571 h 80109"/>
                      <a:gd name="connsiteX6" fmla="*/ 91977 w 109779"/>
                      <a:gd name="connsiteY6" fmla="*/ 68241 h 80109"/>
                      <a:gd name="connsiteX7" fmla="*/ 65274 w 109779"/>
                      <a:gd name="connsiteY7" fmla="*/ 80109 h 80109"/>
                      <a:gd name="connsiteX8" fmla="*/ 47472 w 109779"/>
                      <a:gd name="connsiteY8" fmla="*/ 20769 h 80109"/>
                      <a:gd name="connsiteX9" fmla="*/ 17801 w 109779"/>
                      <a:gd name="connsiteY9" fmla="*/ 41538 h 80109"/>
                      <a:gd name="connsiteX10" fmla="*/ 53406 w 109779"/>
                      <a:gd name="connsiteY10" fmla="*/ 62307 h 80109"/>
                      <a:gd name="connsiteX11" fmla="*/ 80109 w 109779"/>
                      <a:gd name="connsiteY11" fmla="*/ 53406 h 80109"/>
                      <a:gd name="connsiteX12" fmla="*/ 89011 w 109779"/>
                      <a:gd name="connsiteY12" fmla="*/ 38571 h 80109"/>
                      <a:gd name="connsiteX13" fmla="*/ 53406 w 109779"/>
                      <a:gd name="connsiteY13" fmla="*/ 17801 h 80109"/>
                      <a:gd name="connsiteX14" fmla="*/ 47472 w 109779"/>
                      <a:gd name="connsiteY14" fmla="*/ 20769 h 80109"/>
                      <a:gd name="connsiteX15" fmla="*/ 100879 w 109779"/>
                      <a:gd name="connsiteY15" fmla="*/ 41538 h 80109"/>
                      <a:gd name="connsiteX16" fmla="*/ 100879 w 109779"/>
                      <a:gd name="connsiteY16" fmla="*/ 41538 h 80109"/>
                      <a:gd name="connsiteX17" fmla="*/ 100879 w 109779"/>
                      <a:gd name="connsiteY17" fmla="*/ 41538 h 80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09779" h="80109">
                        <a:moveTo>
                          <a:pt x="65274" y="80109"/>
                        </a:moveTo>
                        <a:cubicBezTo>
                          <a:pt x="62307" y="80109"/>
                          <a:pt x="59341" y="80109"/>
                          <a:pt x="56373" y="80109"/>
                        </a:cubicBezTo>
                        <a:cubicBezTo>
                          <a:pt x="26703" y="80109"/>
                          <a:pt x="0" y="62307"/>
                          <a:pt x="0" y="41538"/>
                        </a:cubicBezTo>
                        <a:cubicBezTo>
                          <a:pt x="0" y="20769"/>
                          <a:pt x="23736" y="2966"/>
                          <a:pt x="53406" y="0"/>
                        </a:cubicBezTo>
                        <a:cubicBezTo>
                          <a:pt x="83077" y="0"/>
                          <a:pt x="109780" y="17801"/>
                          <a:pt x="109780" y="38571"/>
                        </a:cubicBezTo>
                        <a:lnTo>
                          <a:pt x="109780" y="38571"/>
                        </a:lnTo>
                        <a:cubicBezTo>
                          <a:pt x="109780" y="50439"/>
                          <a:pt x="103846" y="59341"/>
                          <a:pt x="91977" y="68241"/>
                        </a:cubicBezTo>
                        <a:cubicBezTo>
                          <a:pt x="86044" y="74176"/>
                          <a:pt x="74176" y="77142"/>
                          <a:pt x="65274" y="80109"/>
                        </a:cubicBezTo>
                        <a:close/>
                        <a:moveTo>
                          <a:pt x="47472" y="20769"/>
                        </a:moveTo>
                        <a:cubicBezTo>
                          <a:pt x="29670" y="23736"/>
                          <a:pt x="17801" y="32637"/>
                          <a:pt x="17801" y="41538"/>
                        </a:cubicBezTo>
                        <a:cubicBezTo>
                          <a:pt x="17801" y="50439"/>
                          <a:pt x="32637" y="62307"/>
                          <a:pt x="53406" y="62307"/>
                        </a:cubicBezTo>
                        <a:cubicBezTo>
                          <a:pt x="62307" y="62307"/>
                          <a:pt x="74176" y="59341"/>
                          <a:pt x="80109" y="53406"/>
                        </a:cubicBezTo>
                        <a:cubicBezTo>
                          <a:pt x="83077" y="50439"/>
                          <a:pt x="89011" y="47472"/>
                          <a:pt x="89011" y="38571"/>
                        </a:cubicBezTo>
                        <a:cubicBezTo>
                          <a:pt x="89011" y="29670"/>
                          <a:pt x="74176" y="17801"/>
                          <a:pt x="53406" y="17801"/>
                        </a:cubicBezTo>
                        <a:cubicBezTo>
                          <a:pt x="53406" y="20769"/>
                          <a:pt x="50439" y="20769"/>
                          <a:pt x="47472" y="20769"/>
                        </a:cubicBezTo>
                        <a:close/>
                        <a:moveTo>
                          <a:pt x="100879" y="41538"/>
                        </a:moveTo>
                        <a:lnTo>
                          <a:pt x="100879" y="41538"/>
                        </a:lnTo>
                        <a:lnTo>
                          <a:pt x="100879" y="41538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04" name="图形 1">
                  <a:extLst>
                    <a:ext uri="{FF2B5EF4-FFF2-40B4-BE49-F238E27FC236}">
                      <a16:creationId xmlns:a16="http://schemas.microsoft.com/office/drawing/2014/main" id="{90918144-3D71-40BE-AF51-0B965E6DDB05}"/>
                    </a:ext>
                  </a:extLst>
                </p:cNvPr>
                <p:cNvGrpSpPr/>
                <p:nvPr/>
              </p:nvGrpSpPr>
              <p:grpSpPr>
                <a:xfrm>
                  <a:off x="11556624" y="9653032"/>
                  <a:ext cx="112746" cy="80109"/>
                  <a:chOff x="11556624" y="9653032"/>
                  <a:chExt cx="112746" cy="80109"/>
                </a:xfrm>
              </p:grpSpPr>
              <p:sp>
                <p:nvSpPr>
                  <p:cNvPr id="105" name="任意多边形: 形状 104">
                    <a:extLst>
                      <a:ext uri="{FF2B5EF4-FFF2-40B4-BE49-F238E27FC236}">
                        <a16:creationId xmlns:a16="http://schemas.microsoft.com/office/drawing/2014/main" id="{EA4FF1FD-E40B-4B81-BF1B-AAC18B6E80BC}"/>
                      </a:ext>
                    </a:extLst>
                  </p:cNvPr>
                  <p:cNvSpPr/>
                  <p:nvPr/>
                </p:nvSpPr>
                <p:spPr>
                  <a:xfrm>
                    <a:off x="11568492" y="9661933"/>
                    <a:ext cx="89010" cy="59340"/>
                  </a:xfrm>
                  <a:custGeom>
                    <a:avLst/>
                    <a:gdLst>
                      <a:gd name="connsiteX0" fmla="*/ 89011 w 89010"/>
                      <a:gd name="connsiteY0" fmla="*/ 29670 h 59340"/>
                      <a:gd name="connsiteX1" fmla="*/ 44505 w 89010"/>
                      <a:gd name="connsiteY1" fmla="*/ 59341 h 59340"/>
                      <a:gd name="connsiteX2" fmla="*/ 0 w 89010"/>
                      <a:gd name="connsiteY2" fmla="*/ 29670 h 59340"/>
                      <a:gd name="connsiteX3" fmla="*/ 44505 w 89010"/>
                      <a:gd name="connsiteY3" fmla="*/ 0 h 59340"/>
                      <a:gd name="connsiteX4" fmla="*/ 89011 w 89010"/>
                      <a:gd name="connsiteY4" fmla="*/ 29670 h 593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010" h="59340">
                        <a:moveTo>
                          <a:pt x="89011" y="29670"/>
                        </a:moveTo>
                        <a:cubicBezTo>
                          <a:pt x="89011" y="47473"/>
                          <a:pt x="68241" y="59341"/>
                          <a:pt x="44505" y="59341"/>
                        </a:cubicBezTo>
                        <a:cubicBezTo>
                          <a:pt x="20769" y="59341"/>
                          <a:pt x="0" y="47473"/>
                          <a:pt x="0" y="29670"/>
                        </a:cubicBezTo>
                        <a:cubicBezTo>
                          <a:pt x="0" y="11868"/>
                          <a:pt x="20769" y="0"/>
                          <a:pt x="44505" y="0"/>
                        </a:cubicBezTo>
                        <a:cubicBezTo>
                          <a:pt x="68241" y="0"/>
                          <a:pt x="89011" y="14835"/>
                          <a:pt x="89011" y="29670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" name="任意多边形: 形状 105">
                    <a:extLst>
                      <a:ext uri="{FF2B5EF4-FFF2-40B4-BE49-F238E27FC236}">
                        <a16:creationId xmlns:a16="http://schemas.microsoft.com/office/drawing/2014/main" id="{EC6637C7-EC5A-4F22-AB97-630A8E50C048}"/>
                      </a:ext>
                    </a:extLst>
                  </p:cNvPr>
                  <p:cNvSpPr/>
                  <p:nvPr/>
                </p:nvSpPr>
                <p:spPr>
                  <a:xfrm>
                    <a:off x="11556624" y="9653032"/>
                    <a:ext cx="112746" cy="80109"/>
                  </a:xfrm>
                  <a:custGeom>
                    <a:avLst/>
                    <a:gdLst>
                      <a:gd name="connsiteX0" fmla="*/ 65274 w 112746"/>
                      <a:gd name="connsiteY0" fmla="*/ 80109 h 80109"/>
                      <a:gd name="connsiteX1" fmla="*/ 56373 w 112746"/>
                      <a:gd name="connsiteY1" fmla="*/ 80109 h 80109"/>
                      <a:gd name="connsiteX2" fmla="*/ 0 w 112746"/>
                      <a:gd name="connsiteY2" fmla="*/ 41538 h 80109"/>
                      <a:gd name="connsiteX3" fmla="*/ 17801 w 112746"/>
                      <a:gd name="connsiteY3" fmla="*/ 11868 h 80109"/>
                      <a:gd name="connsiteX4" fmla="*/ 56373 w 112746"/>
                      <a:gd name="connsiteY4" fmla="*/ 0 h 80109"/>
                      <a:gd name="connsiteX5" fmla="*/ 112747 w 112746"/>
                      <a:gd name="connsiteY5" fmla="*/ 38571 h 80109"/>
                      <a:gd name="connsiteX6" fmla="*/ 112747 w 112746"/>
                      <a:gd name="connsiteY6" fmla="*/ 38571 h 80109"/>
                      <a:gd name="connsiteX7" fmla="*/ 94945 w 112746"/>
                      <a:gd name="connsiteY7" fmla="*/ 68241 h 80109"/>
                      <a:gd name="connsiteX8" fmla="*/ 65274 w 112746"/>
                      <a:gd name="connsiteY8" fmla="*/ 80109 h 80109"/>
                      <a:gd name="connsiteX9" fmla="*/ 47472 w 112746"/>
                      <a:gd name="connsiteY9" fmla="*/ 20769 h 80109"/>
                      <a:gd name="connsiteX10" fmla="*/ 26703 w 112746"/>
                      <a:gd name="connsiteY10" fmla="*/ 26703 h 80109"/>
                      <a:gd name="connsiteX11" fmla="*/ 17801 w 112746"/>
                      <a:gd name="connsiteY11" fmla="*/ 41538 h 80109"/>
                      <a:gd name="connsiteX12" fmla="*/ 53406 w 112746"/>
                      <a:gd name="connsiteY12" fmla="*/ 62307 h 80109"/>
                      <a:gd name="connsiteX13" fmla="*/ 80109 w 112746"/>
                      <a:gd name="connsiteY13" fmla="*/ 53406 h 80109"/>
                      <a:gd name="connsiteX14" fmla="*/ 89011 w 112746"/>
                      <a:gd name="connsiteY14" fmla="*/ 38571 h 80109"/>
                      <a:gd name="connsiteX15" fmla="*/ 53406 w 112746"/>
                      <a:gd name="connsiteY15" fmla="*/ 17801 h 80109"/>
                      <a:gd name="connsiteX16" fmla="*/ 47472 w 112746"/>
                      <a:gd name="connsiteY16" fmla="*/ 20769 h 80109"/>
                      <a:gd name="connsiteX17" fmla="*/ 100879 w 112746"/>
                      <a:gd name="connsiteY17" fmla="*/ 38571 h 80109"/>
                      <a:gd name="connsiteX18" fmla="*/ 100879 w 112746"/>
                      <a:gd name="connsiteY18" fmla="*/ 38571 h 80109"/>
                      <a:gd name="connsiteX19" fmla="*/ 100879 w 112746"/>
                      <a:gd name="connsiteY19" fmla="*/ 38571 h 80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12746" h="80109">
                        <a:moveTo>
                          <a:pt x="65274" y="80109"/>
                        </a:moveTo>
                        <a:cubicBezTo>
                          <a:pt x="62307" y="80109"/>
                          <a:pt x="59341" y="80109"/>
                          <a:pt x="56373" y="80109"/>
                        </a:cubicBezTo>
                        <a:cubicBezTo>
                          <a:pt x="26703" y="80109"/>
                          <a:pt x="0" y="62307"/>
                          <a:pt x="0" y="41538"/>
                        </a:cubicBezTo>
                        <a:cubicBezTo>
                          <a:pt x="0" y="29670"/>
                          <a:pt x="5934" y="20769"/>
                          <a:pt x="17801" y="11868"/>
                        </a:cubicBezTo>
                        <a:cubicBezTo>
                          <a:pt x="26703" y="5934"/>
                          <a:pt x="41538" y="0"/>
                          <a:pt x="56373" y="0"/>
                        </a:cubicBezTo>
                        <a:cubicBezTo>
                          <a:pt x="86044" y="0"/>
                          <a:pt x="112747" y="17801"/>
                          <a:pt x="112747" y="38571"/>
                        </a:cubicBezTo>
                        <a:lnTo>
                          <a:pt x="112747" y="38571"/>
                        </a:lnTo>
                        <a:cubicBezTo>
                          <a:pt x="112747" y="50439"/>
                          <a:pt x="106812" y="59341"/>
                          <a:pt x="94945" y="68241"/>
                        </a:cubicBezTo>
                        <a:cubicBezTo>
                          <a:pt x="86044" y="74176"/>
                          <a:pt x="77142" y="77142"/>
                          <a:pt x="65274" y="80109"/>
                        </a:cubicBezTo>
                        <a:close/>
                        <a:moveTo>
                          <a:pt x="47472" y="20769"/>
                        </a:moveTo>
                        <a:cubicBezTo>
                          <a:pt x="41538" y="20769"/>
                          <a:pt x="32637" y="23736"/>
                          <a:pt x="26703" y="26703"/>
                        </a:cubicBezTo>
                        <a:cubicBezTo>
                          <a:pt x="23736" y="29670"/>
                          <a:pt x="17801" y="32637"/>
                          <a:pt x="17801" y="41538"/>
                        </a:cubicBezTo>
                        <a:cubicBezTo>
                          <a:pt x="17801" y="50439"/>
                          <a:pt x="32637" y="62307"/>
                          <a:pt x="53406" y="62307"/>
                        </a:cubicBezTo>
                        <a:cubicBezTo>
                          <a:pt x="62307" y="62307"/>
                          <a:pt x="74176" y="59341"/>
                          <a:pt x="80109" y="53406"/>
                        </a:cubicBezTo>
                        <a:cubicBezTo>
                          <a:pt x="83077" y="50439"/>
                          <a:pt x="89011" y="47472"/>
                          <a:pt x="89011" y="38571"/>
                        </a:cubicBezTo>
                        <a:cubicBezTo>
                          <a:pt x="89011" y="29670"/>
                          <a:pt x="74176" y="17801"/>
                          <a:pt x="53406" y="17801"/>
                        </a:cubicBezTo>
                        <a:cubicBezTo>
                          <a:pt x="53406" y="20769"/>
                          <a:pt x="50439" y="20769"/>
                          <a:pt x="47472" y="20769"/>
                        </a:cubicBezTo>
                        <a:close/>
                        <a:moveTo>
                          <a:pt x="100879" y="38571"/>
                        </a:moveTo>
                        <a:lnTo>
                          <a:pt x="100879" y="38571"/>
                        </a:lnTo>
                        <a:lnTo>
                          <a:pt x="100879" y="38571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BF5ED1DF-47CA-4E45-B9C5-E7B3B4407736}"/>
                  </a:ext>
                </a:extLst>
              </p:cNvPr>
              <p:cNvSpPr/>
              <p:nvPr/>
            </p:nvSpPr>
            <p:spPr>
              <a:xfrm rot="-466901">
                <a:off x="11295562" y="9798388"/>
                <a:ext cx="1403419" cy="151320"/>
              </a:xfrm>
              <a:custGeom>
                <a:avLst/>
                <a:gdLst>
                  <a:gd name="connsiteX0" fmla="*/ 0 w 1403419"/>
                  <a:gd name="connsiteY0" fmla="*/ 0 h 151320"/>
                  <a:gd name="connsiteX1" fmla="*/ 1403419 w 1403419"/>
                  <a:gd name="connsiteY1" fmla="*/ 0 h 151320"/>
                  <a:gd name="connsiteX2" fmla="*/ 1403419 w 1403419"/>
                  <a:gd name="connsiteY2" fmla="*/ 151320 h 151320"/>
                  <a:gd name="connsiteX3" fmla="*/ 0 w 1403419"/>
                  <a:gd name="connsiteY3" fmla="*/ 151320 h 151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3419" h="151320">
                    <a:moveTo>
                      <a:pt x="0" y="0"/>
                    </a:moveTo>
                    <a:lnTo>
                      <a:pt x="1403419" y="0"/>
                    </a:lnTo>
                    <a:lnTo>
                      <a:pt x="1403419" y="151320"/>
                    </a:lnTo>
                    <a:lnTo>
                      <a:pt x="0" y="151320"/>
                    </a:lnTo>
                    <a:close/>
                  </a:path>
                </a:pathLst>
              </a:custGeom>
              <a:solidFill>
                <a:srgbClr val="DDC6A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7D5C6369-2790-42B6-9567-54232288A0B4}"/>
                  </a:ext>
                </a:extLst>
              </p:cNvPr>
              <p:cNvSpPr/>
              <p:nvPr/>
            </p:nvSpPr>
            <p:spPr>
              <a:xfrm rot="-466901">
                <a:off x="10678761" y="9335505"/>
                <a:ext cx="1403419" cy="151320"/>
              </a:xfrm>
              <a:custGeom>
                <a:avLst/>
                <a:gdLst>
                  <a:gd name="connsiteX0" fmla="*/ 0 w 1403419"/>
                  <a:gd name="connsiteY0" fmla="*/ 0 h 151320"/>
                  <a:gd name="connsiteX1" fmla="*/ 1403419 w 1403419"/>
                  <a:gd name="connsiteY1" fmla="*/ 0 h 151320"/>
                  <a:gd name="connsiteX2" fmla="*/ 1403419 w 1403419"/>
                  <a:gd name="connsiteY2" fmla="*/ 151320 h 151320"/>
                  <a:gd name="connsiteX3" fmla="*/ 0 w 1403419"/>
                  <a:gd name="connsiteY3" fmla="*/ 151320 h 151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3419" h="151320">
                    <a:moveTo>
                      <a:pt x="0" y="0"/>
                    </a:moveTo>
                    <a:lnTo>
                      <a:pt x="1403419" y="0"/>
                    </a:lnTo>
                    <a:lnTo>
                      <a:pt x="1403419" y="151320"/>
                    </a:lnTo>
                    <a:lnTo>
                      <a:pt x="0" y="151320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A11E9BF2-C709-44A1-A301-0F1F18A49AC1}"/>
                  </a:ext>
                </a:extLst>
              </p:cNvPr>
              <p:cNvSpPr/>
              <p:nvPr/>
            </p:nvSpPr>
            <p:spPr>
              <a:xfrm rot="-466901">
                <a:off x="11153068" y="8756978"/>
                <a:ext cx="1403419" cy="151320"/>
              </a:xfrm>
              <a:custGeom>
                <a:avLst/>
                <a:gdLst>
                  <a:gd name="connsiteX0" fmla="*/ 0 w 1403419"/>
                  <a:gd name="connsiteY0" fmla="*/ 0 h 151320"/>
                  <a:gd name="connsiteX1" fmla="*/ 1403419 w 1403419"/>
                  <a:gd name="connsiteY1" fmla="*/ 0 h 151320"/>
                  <a:gd name="connsiteX2" fmla="*/ 1403419 w 1403419"/>
                  <a:gd name="connsiteY2" fmla="*/ 151320 h 151320"/>
                  <a:gd name="connsiteX3" fmla="*/ 0 w 1403419"/>
                  <a:gd name="connsiteY3" fmla="*/ 151320 h 151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3419" h="151320">
                    <a:moveTo>
                      <a:pt x="0" y="0"/>
                    </a:moveTo>
                    <a:lnTo>
                      <a:pt x="1403419" y="0"/>
                    </a:lnTo>
                    <a:lnTo>
                      <a:pt x="1403419" y="151320"/>
                    </a:lnTo>
                    <a:lnTo>
                      <a:pt x="0" y="151320"/>
                    </a:lnTo>
                    <a:close/>
                  </a:path>
                </a:pathLst>
              </a:custGeom>
              <a:solidFill>
                <a:srgbClr val="DDC6A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6EAF0000-A876-470B-A8A7-013CFA9C94D4}"/>
                  </a:ext>
                </a:extLst>
              </p:cNvPr>
              <p:cNvSpPr/>
              <p:nvPr/>
            </p:nvSpPr>
            <p:spPr>
              <a:xfrm>
                <a:off x="11283657" y="9890395"/>
                <a:ext cx="32637" cy="160219"/>
              </a:xfrm>
              <a:custGeom>
                <a:avLst/>
                <a:gdLst>
                  <a:gd name="connsiteX0" fmla="*/ 26703 w 32637"/>
                  <a:gd name="connsiteY0" fmla="*/ 160220 h 160219"/>
                  <a:gd name="connsiteX1" fmla="*/ 20770 w 32637"/>
                  <a:gd name="connsiteY1" fmla="*/ 154285 h 160219"/>
                  <a:gd name="connsiteX2" fmla="*/ 0 w 32637"/>
                  <a:gd name="connsiteY2" fmla="*/ 5934 h 160219"/>
                  <a:gd name="connsiteX3" fmla="*/ 5934 w 32637"/>
                  <a:gd name="connsiteY3" fmla="*/ 0 h 160219"/>
                  <a:gd name="connsiteX4" fmla="*/ 11868 w 32637"/>
                  <a:gd name="connsiteY4" fmla="*/ 5934 h 160219"/>
                  <a:gd name="connsiteX5" fmla="*/ 32638 w 32637"/>
                  <a:gd name="connsiteY5" fmla="*/ 154285 h 160219"/>
                  <a:gd name="connsiteX6" fmla="*/ 26703 w 32637"/>
                  <a:gd name="connsiteY6" fmla="*/ 160220 h 160219"/>
                  <a:gd name="connsiteX7" fmla="*/ 26703 w 32637"/>
                  <a:gd name="connsiteY7" fmla="*/ 160220 h 16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637" h="160219">
                    <a:moveTo>
                      <a:pt x="26703" y="160220"/>
                    </a:moveTo>
                    <a:cubicBezTo>
                      <a:pt x="23736" y="160220"/>
                      <a:pt x="20770" y="157252"/>
                      <a:pt x="20770" y="154285"/>
                    </a:cubicBezTo>
                    <a:lnTo>
                      <a:pt x="0" y="5934"/>
                    </a:lnTo>
                    <a:cubicBezTo>
                      <a:pt x="0" y="2966"/>
                      <a:pt x="2967" y="0"/>
                      <a:pt x="5934" y="0"/>
                    </a:cubicBezTo>
                    <a:cubicBezTo>
                      <a:pt x="8901" y="0"/>
                      <a:pt x="11868" y="2966"/>
                      <a:pt x="11868" y="5934"/>
                    </a:cubicBezTo>
                    <a:lnTo>
                      <a:pt x="32638" y="154285"/>
                    </a:lnTo>
                    <a:cubicBezTo>
                      <a:pt x="32638" y="154285"/>
                      <a:pt x="29670" y="157252"/>
                      <a:pt x="26703" y="160220"/>
                    </a:cubicBezTo>
                    <a:cubicBezTo>
                      <a:pt x="26703" y="160220"/>
                      <a:pt x="26703" y="160220"/>
                      <a:pt x="26703" y="160220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5DB30DD8-CC44-400E-8A22-6753C58B40B3}"/>
                </a:ext>
              </a:extLst>
            </p:cNvPr>
            <p:cNvSpPr/>
            <p:nvPr/>
          </p:nvSpPr>
          <p:spPr>
            <a:xfrm>
              <a:off x="10758492" y="9732141"/>
              <a:ext cx="179170" cy="92978"/>
            </a:xfrm>
            <a:custGeom>
              <a:avLst/>
              <a:gdLst>
                <a:gd name="connsiteX0" fmla="*/ 0 w 179170"/>
                <a:gd name="connsiteY0" fmla="*/ 45506 h 92978"/>
                <a:gd name="connsiteX1" fmla="*/ 151319 w 179170"/>
                <a:gd name="connsiteY1" fmla="*/ 1001 h 92978"/>
                <a:gd name="connsiteX2" fmla="*/ 130550 w 179170"/>
                <a:gd name="connsiteY2" fmla="*/ 48473 h 92978"/>
                <a:gd name="connsiteX3" fmla="*/ 94945 w 179170"/>
                <a:gd name="connsiteY3" fmla="*/ 92979 h 92978"/>
                <a:gd name="connsiteX4" fmla="*/ 0 w 179170"/>
                <a:gd name="connsiteY4" fmla="*/ 45506 h 92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170" h="92978">
                  <a:moveTo>
                    <a:pt x="0" y="45506"/>
                  </a:moveTo>
                  <a:cubicBezTo>
                    <a:pt x="0" y="45506"/>
                    <a:pt x="94945" y="-7900"/>
                    <a:pt x="151319" y="1001"/>
                  </a:cubicBezTo>
                  <a:cubicBezTo>
                    <a:pt x="204726" y="9902"/>
                    <a:pt x="172088" y="39573"/>
                    <a:pt x="130550" y="48473"/>
                  </a:cubicBezTo>
                  <a:cubicBezTo>
                    <a:pt x="121649" y="51441"/>
                    <a:pt x="94945" y="92979"/>
                    <a:pt x="94945" y="92979"/>
                  </a:cubicBezTo>
                  <a:lnTo>
                    <a:pt x="0" y="45506"/>
                  </a:ln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8B18A0B3-7CDF-4FD2-935C-107EEF051B92}"/>
                </a:ext>
              </a:extLst>
            </p:cNvPr>
            <p:cNvSpPr/>
            <p:nvPr/>
          </p:nvSpPr>
          <p:spPr>
            <a:xfrm>
              <a:off x="10751329" y="9720274"/>
              <a:ext cx="191118" cy="107812"/>
            </a:xfrm>
            <a:custGeom>
              <a:avLst/>
              <a:gdLst>
                <a:gd name="connsiteX0" fmla="*/ 96174 w 191118"/>
                <a:gd name="connsiteY0" fmla="*/ 107813 h 107812"/>
                <a:gd name="connsiteX1" fmla="*/ 93207 w 191118"/>
                <a:gd name="connsiteY1" fmla="*/ 107813 h 107812"/>
                <a:gd name="connsiteX2" fmla="*/ 93207 w 191118"/>
                <a:gd name="connsiteY2" fmla="*/ 98911 h 107812"/>
                <a:gd name="connsiteX3" fmla="*/ 134746 w 191118"/>
                <a:gd name="connsiteY3" fmla="*/ 54406 h 107812"/>
                <a:gd name="connsiteX4" fmla="*/ 179251 w 191118"/>
                <a:gd name="connsiteY4" fmla="*/ 27702 h 107812"/>
                <a:gd name="connsiteX5" fmla="*/ 155514 w 191118"/>
                <a:gd name="connsiteY5" fmla="*/ 15834 h 107812"/>
                <a:gd name="connsiteX6" fmla="*/ 10130 w 191118"/>
                <a:gd name="connsiteY6" fmla="*/ 60340 h 107812"/>
                <a:gd name="connsiteX7" fmla="*/ 1229 w 191118"/>
                <a:gd name="connsiteY7" fmla="*/ 57373 h 107812"/>
                <a:gd name="connsiteX8" fmla="*/ 4196 w 191118"/>
                <a:gd name="connsiteY8" fmla="*/ 48472 h 107812"/>
                <a:gd name="connsiteX9" fmla="*/ 158481 w 191118"/>
                <a:gd name="connsiteY9" fmla="*/ 999 h 107812"/>
                <a:gd name="connsiteX10" fmla="*/ 191119 w 191118"/>
                <a:gd name="connsiteY10" fmla="*/ 21769 h 107812"/>
                <a:gd name="connsiteX11" fmla="*/ 137713 w 191118"/>
                <a:gd name="connsiteY11" fmla="*/ 60340 h 107812"/>
                <a:gd name="connsiteX12" fmla="*/ 102108 w 191118"/>
                <a:gd name="connsiteY12" fmla="*/ 101878 h 107812"/>
                <a:gd name="connsiteX13" fmla="*/ 96174 w 191118"/>
                <a:gd name="connsiteY13" fmla="*/ 107813 h 10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1118" h="107812">
                  <a:moveTo>
                    <a:pt x="96174" y="107813"/>
                  </a:moveTo>
                  <a:cubicBezTo>
                    <a:pt x="96174" y="107813"/>
                    <a:pt x="93207" y="107813"/>
                    <a:pt x="93207" y="107813"/>
                  </a:cubicBezTo>
                  <a:cubicBezTo>
                    <a:pt x="90240" y="104845"/>
                    <a:pt x="90240" y="101878"/>
                    <a:pt x="93207" y="98911"/>
                  </a:cubicBezTo>
                  <a:cubicBezTo>
                    <a:pt x="105075" y="84076"/>
                    <a:pt x="125844" y="54406"/>
                    <a:pt x="134746" y="54406"/>
                  </a:cubicBezTo>
                  <a:cubicBezTo>
                    <a:pt x="164416" y="48472"/>
                    <a:pt x="179251" y="33637"/>
                    <a:pt x="179251" y="27702"/>
                  </a:cubicBezTo>
                  <a:cubicBezTo>
                    <a:pt x="179251" y="24735"/>
                    <a:pt x="173317" y="18802"/>
                    <a:pt x="155514" y="15834"/>
                  </a:cubicBezTo>
                  <a:cubicBezTo>
                    <a:pt x="105075" y="6934"/>
                    <a:pt x="10130" y="60340"/>
                    <a:pt x="10130" y="60340"/>
                  </a:cubicBezTo>
                  <a:cubicBezTo>
                    <a:pt x="7163" y="63307"/>
                    <a:pt x="4196" y="60340"/>
                    <a:pt x="1229" y="57373"/>
                  </a:cubicBezTo>
                  <a:cubicBezTo>
                    <a:pt x="-1738" y="54406"/>
                    <a:pt x="1229" y="51439"/>
                    <a:pt x="4196" y="48472"/>
                  </a:cubicBezTo>
                  <a:cubicBezTo>
                    <a:pt x="7163" y="45505"/>
                    <a:pt x="102108" y="-7901"/>
                    <a:pt x="158481" y="999"/>
                  </a:cubicBezTo>
                  <a:cubicBezTo>
                    <a:pt x="179251" y="3967"/>
                    <a:pt x="191119" y="12867"/>
                    <a:pt x="191119" y="21769"/>
                  </a:cubicBezTo>
                  <a:cubicBezTo>
                    <a:pt x="191119" y="39570"/>
                    <a:pt x="164416" y="54406"/>
                    <a:pt x="137713" y="60340"/>
                  </a:cubicBezTo>
                  <a:cubicBezTo>
                    <a:pt x="131778" y="63307"/>
                    <a:pt x="113976" y="84076"/>
                    <a:pt x="102108" y="101878"/>
                  </a:cubicBezTo>
                  <a:cubicBezTo>
                    <a:pt x="99141" y="107813"/>
                    <a:pt x="96174" y="107813"/>
                    <a:pt x="96174" y="107813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2" name="图形 1">
              <a:extLst>
                <a:ext uri="{FF2B5EF4-FFF2-40B4-BE49-F238E27FC236}">
                  <a16:creationId xmlns:a16="http://schemas.microsoft.com/office/drawing/2014/main" id="{DA697010-CDC6-4DBE-91EF-EB937E9E0FD8}"/>
                </a:ext>
              </a:extLst>
            </p:cNvPr>
            <p:cNvGrpSpPr/>
            <p:nvPr/>
          </p:nvGrpSpPr>
          <p:grpSpPr>
            <a:xfrm>
              <a:off x="11806597" y="8703581"/>
              <a:ext cx="193434" cy="115981"/>
              <a:chOff x="11806597" y="8703581"/>
              <a:chExt cx="193434" cy="115981"/>
            </a:xfrm>
          </p:grpSpPr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ADFFA3FE-D0AF-48AA-BE15-BD8D4484BFE1}"/>
                  </a:ext>
                </a:extLst>
              </p:cNvPr>
              <p:cNvSpPr/>
              <p:nvPr/>
            </p:nvSpPr>
            <p:spPr>
              <a:xfrm>
                <a:off x="11811789" y="8723579"/>
                <a:ext cx="68242" cy="95984"/>
              </a:xfrm>
              <a:custGeom>
                <a:avLst/>
                <a:gdLst>
                  <a:gd name="connsiteX0" fmla="*/ 11869 w 68242"/>
                  <a:gd name="connsiteY0" fmla="*/ 89783 h 95984"/>
                  <a:gd name="connsiteX1" fmla="*/ 2967 w 68242"/>
                  <a:gd name="connsiteY1" fmla="*/ 30442 h 95984"/>
                  <a:gd name="connsiteX2" fmla="*/ 0 w 68242"/>
                  <a:gd name="connsiteY2" fmla="*/ 21541 h 95984"/>
                  <a:gd name="connsiteX3" fmla="*/ 5934 w 68242"/>
                  <a:gd name="connsiteY3" fmla="*/ 12640 h 95984"/>
                  <a:gd name="connsiteX4" fmla="*/ 50440 w 68242"/>
                  <a:gd name="connsiteY4" fmla="*/ 772 h 95984"/>
                  <a:gd name="connsiteX5" fmla="*/ 68242 w 68242"/>
                  <a:gd name="connsiteY5" fmla="*/ 27475 h 95984"/>
                  <a:gd name="connsiteX6" fmla="*/ 68242 w 68242"/>
                  <a:gd name="connsiteY6" fmla="*/ 66047 h 95984"/>
                  <a:gd name="connsiteX7" fmla="*/ 53407 w 68242"/>
                  <a:gd name="connsiteY7" fmla="*/ 92750 h 95984"/>
                  <a:gd name="connsiteX8" fmla="*/ 11869 w 68242"/>
                  <a:gd name="connsiteY8" fmla="*/ 89783 h 95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242" h="95984">
                    <a:moveTo>
                      <a:pt x="11869" y="89783"/>
                    </a:moveTo>
                    <a:cubicBezTo>
                      <a:pt x="-5934" y="74948"/>
                      <a:pt x="2967" y="51212"/>
                      <a:pt x="2967" y="30442"/>
                    </a:cubicBezTo>
                    <a:cubicBezTo>
                      <a:pt x="2967" y="27475"/>
                      <a:pt x="0" y="21541"/>
                      <a:pt x="0" y="21541"/>
                    </a:cubicBezTo>
                    <a:cubicBezTo>
                      <a:pt x="0" y="18574"/>
                      <a:pt x="2967" y="15607"/>
                      <a:pt x="5934" y="12640"/>
                    </a:cubicBezTo>
                    <a:cubicBezTo>
                      <a:pt x="14835" y="3739"/>
                      <a:pt x="32638" y="-2195"/>
                      <a:pt x="50440" y="772"/>
                    </a:cubicBezTo>
                    <a:cubicBezTo>
                      <a:pt x="68242" y="3739"/>
                      <a:pt x="65275" y="18574"/>
                      <a:pt x="68242" y="27475"/>
                    </a:cubicBezTo>
                    <a:cubicBezTo>
                      <a:pt x="68242" y="39343"/>
                      <a:pt x="68242" y="54178"/>
                      <a:pt x="68242" y="66047"/>
                    </a:cubicBezTo>
                    <a:cubicBezTo>
                      <a:pt x="68242" y="74948"/>
                      <a:pt x="68242" y="86816"/>
                      <a:pt x="53407" y="92750"/>
                    </a:cubicBezTo>
                    <a:cubicBezTo>
                      <a:pt x="35605" y="98684"/>
                      <a:pt x="17802" y="95717"/>
                      <a:pt x="11869" y="8978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D748DA0E-5B6C-4DCA-80F2-84809EC8E646}"/>
                  </a:ext>
                </a:extLst>
              </p:cNvPr>
              <p:cNvSpPr/>
              <p:nvPr/>
            </p:nvSpPr>
            <p:spPr>
              <a:xfrm>
                <a:off x="11858119" y="8711711"/>
                <a:ext cx="75318" cy="95984"/>
              </a:xfrm>
              <a:custGeom>
                <a:avLst/>
                <a:gdLst>
                  <a:gd name="connsiteX0" fmla="*/ 15977 w 75318"/>
                  <a:gd name="connsiteY0" fmla="*/ 89783 h 95984"/>
                  <a:gd name="connsiteX1" fmla="*/ 4109 w 75318"/>
                  <a:gd name="connsiteY1" fmla="*/ 27475 h 95984"/>
                  <a:gd name="connsiteX2" fmla="*/ 7077 w 75318"/>
                  <a:gd name="connsiteY2" fmla="*/ 21541 h 95984"/>
                  <a:gd name="connsiteX3" fmla="*/ 13010 w 75318"/>
                  <a:gd name="connsiteY3" fmla="*/ 12640 h 95984"/>
                  <a:gd name="connsiteX4" fmla="*/ 57516 w 75318"/>
                  <a:gd name="connsiteY4" fmla="*/ 772 h 95984"/>
                  <a:gd name="connsiteX5" fmla="*/ 75318 w 75318"/>
                  <a:gd name="connsiteY5" fmla="*/ 27475 h 95984"/>
                  <a:gd name="connsiteX6" fmla="*/ 75318 w 75318"/>
                  <a:gd name="connsiteY6" fmla="*/ 66047 h 95984"/>
                  <a:gd name="connsiteX7" fmla="*/ 60483 w 75318"/>
                  <a:gd name="connsiteY7" fmla="*/ 92750 h 95984"/>
                  <a:gd name="connsiteX8" fmla="*/ 15977 w 75318"/>
                  <a:gd name="connsiteY8" fmla="*/ 89783 h 95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5318" h="95984">
                    <a:moveTo>
                      <a:pt x="15977" y="89783"/>
                    </a:moveTo>
                    <a:cubicBezTo>
                      <a:pt x="-10726" y="71980"/>
                      <a:pt x="4109" y="48245"/>
                      <a:pt x="4109" y="27475"/>
                    </a:cubicBezTo>
                    <a:cubicBezTo>
                      <a:pt x="4109" y="24508"/>
                      <a:pt x="4109" y="24508"/>
                      <a:pt x="7077" y="21541"/>
                    </a:cubicBezTo>
                    <a:cubicBezTo>
                      <a:pt x="7077" y="18574"/>
                      <a:pt x="10044" y="15607"/>
                      <a:pt x="13010" y="12640"/>
                    </a:cubicBezTo>
                    <a:cubicBezTo>
                      <a:pt x="21912" y="3739"/>
                      <a:pt x="39714" y="-2195"/>
                      <a:pt x="57516" y="772"/>
                    </a:cubicBezTo>
                    <a:cubicBezTo>
                      <a:pt x="75318" y="3739"/>
                      <a:pt x="72351" y="18574"/>
                      <a:pt x="75318" y="27475"/>
                    </a:cubicBezTo>
                    <a:cubicBezTo>
                      <a:pt x="75318" y="39343"/>
                      <a:pt x="75318" y="54179"/>
                      <a:pt x="75318" y="66047"/>
                    </a:cubicBezTo>
                    <a:cubicBezTo>
                      <a:pt x="75318" y="74948"/>
                      <a:pt x="75318" y="86816"/>
                      <a:pt x="60483" y="92750"/>
                    </a:cubicBezTo>
                    <a:cubicBezTo>
                      <a:pt x="39714" y="98684"/>
                      <a:pt x="24879" y="95717"/>
                      <a:pt x="15977" y="8978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C3A2744A-7B5C-45F0-A3A3-2254F5026E27}"/>
                  </a:ext>
                </a:extLst>
              </p:cNvPr>
              <p:cNvSpPr/>
              <p:nvPr/>
            </p:nvSpPr>
            <p:spPr>
              <a:xfrm>
                <a:off x="11906321" y="8714660"/>
                <a:ext cx="59011" cy="84133"/>
              </a:xfrm>
              <a:custGeom>
                <a:avLst/>
                <a:gdLst>
                  <a:gd name="connsiteX0" fmla="*/ 15248 w 59011"/>
                  <a:gd name="connsiteY0" fmla="*/ 77932 h 84133"/>
                  <a:gd name="connsiteX1" fmla="*/ 413 w 59011"/>
                  <a:gd name="connsiteY1" fmla="*/ 21558 h 84133"/>
                  <a:gd name="connsiteX2" fmla="*/ 413 w 59011"/>
                  <a:gd name="connsiteY2" fmla="*/ 18591 h 84133"/>
                  <a:gd name="connsiteX3" fmla="*/ 3380 w 59011"/>
                  <a:gd name="connsiteY3" fmla="*/ 9690 h 84133"/>
                  <a:gd name="connsiteX4" fmla="*/ 41951 w 59011"/>
                  <a:gd name="connsiteY4" fmla="*/ 789 h 84133"/>
                  <a:gd name="connsiteX5" fmla="*/ 56787 w 59011"/>
                  <a:gd name="connsiteY5" fmla="*/ 24525 h 84133"/>
                  <a:gd name="connsiteX6" fmla="*/ 56787 w 59011"/>
                  <a:gd name="connsiteY6" fmla="*/ 57163 h 84133"/>
                  <a:gd name="connsiteX7" fmla="*/ 44919 w 59011"/>
                  <a:gd name="connsiteY7" fmla="*/ 80899 h 84133"/>
                  <a:gd name="connsiteX8" fmla="*/ 15248 w 59011"/>
                  <a:gd name="connsiteY8" fmla="*/ 77932 h 84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011" h="84133">
                    <a:moveTo>
                      <a:pt x="15248" y="77932"/>
                    </a:moveTo>
                    <a:cubicBezTo>
                      <a:pt x="-8488" y="63097"/>
                      <a:pt x="3380" y="42328"/>
                      <a:pt x="413" y="21558"/>
                    </a:cubicBezTo>
                    <a:cubicBezTo>
                      <a:pt x="413" y="18591"/>
                      <a:pt x="413" y="18591"/>
                      <a:pt x="413" y="18591"/>
                    </a:cubicBezTo>
                    <a:cubicBezTo>
                      <a:pt x="413" y="15624"/>
                      <a:pt x="3380" y="12657"/>
                      <a:pt x="3380" y="9690"/>
                    </a:cubicBezTo>
                    <a:cubicBezTo>
                      <a:pt x="9314" y="3756"/>
                      <a:pt x="27116" y="-2178"/>
                      <a:pt x="41951" y="789"/>
                    </a:cubicBezTo>
                    <a:cubicBezTo>
                      <a:pt x="56787" y="3756"/>
                      <a:pt x="56787" y="15624"/>
                      <a:pt x="56787" y="24525"/>
                    </a:cubicBezTo>
                    <a:cubicBezTo>
                      <a:pt x="59754" y="36394"/>
                      <a:pt x="59754" y="48262"/>
                      <a:pt x="56787" y="57163"/>
                    </a:cubicBezTo>
                    <a:cubicBezTo>
                      <a:pt x="56787" y="63097"/>
                      <a:pt x="56787" y="74965"/>
                      <a:pt x="44919" y="80899"/>
                    </a:cubicBezTo>
                    <a:cubicBezTo>
                      <a:pt x="38984" y="86833"/>
                      <a:pt x="24149" y="83866"/>
                      <a:pt x="15248" y="77932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44E9FF8C-4524-4844-B7C3-4F9C80C174BE}"/>
                  </a:ext>
                </a:extLst>
              </p:cNvPr>
              <p:cNvSpPr/>
              <p:nvPr/>
            </p:nvSpPr>
            <p:spPr>
              <a:xfrm>
                <a:off x="11957174" y="8726154"/>
                <a:ext cx="42857" cy="61733"/>
              </a:xfrm>
              <a:custGeom>
                <a:avLst/>
                <a:gdLst>
                  <a:gd name="connsiteX0" fmla="*/ 11868 w 42857"/>
                  <a:gd name="connsiteY0" fmla="*/ 57538 h 61733"/>
                  <a:gd name="connsiteX1" fmla="*/ 0 w 42857"/>
                  <a:gd name="connsiteY1" fmla="*/ 15999 h 61733"/>
                  <a:gd name="connsiteX2" fmla="*/ 0 w 42857"/>
                  <a:gd name="connsiteY2" fmla="*/ 13032 h 61733"/>
                  <a:gd name="connsiteX3" fmla="*/ 2966 w 42857"/>
                  <a:gd name="connsiteY3" fmla="*/ 7098 h 61733"/>
                  <a:gd name="connsiteX4" fmla="*/ 29670 w 42857"/>
                  <a:gd name="connsiteY4" fmla="*/ 1164 h 61733"/>
                  <a:gd name="connsiteX5" fmla="*/ 41538 w 42857"/>
                  <a:gd name="connsiteY5" fmla="*/ 18966 h 61733"/>
                  <a:gd name="connsiteX6" fmla="*/ 41538 w 42857"/>
                  <a:gd name="connsiteY6" fmla="*/ 42702 h 61733"/>
                  <a:gd name="connsiteX7" fmla="*/ 32637 w 42857"/>
                  <a:gd name="connsiteY7" fmla="*/ 60505 h 61733"/>
                  <a:gd name="connsiteX8" fmla="*/ 11868 w 42857"/>
                  <a:gd name="connsiteY8" fmla="*/ 57538 h 61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857" h="61733">
                    <a:moveTo>
                      <a:pt x="11868" y="57538"/>
                    </a:moveTo>
                    <a:cubicBezTo>
                      <a:pt x="-5934" y="45670"/>
                      <a:pt x="2966" y="30834"/>
                      <a:pt x="0" y="15999"/>
                    </a:cubicBezTo>
                    <a:cubicBezTo>
                      <a:pt x="0" y="15999"/>
                      <a:pt x="0" y="13032"/>
                      <a:pt x="0" y="13032"/>
                    </a:cubicBezTo>
                    <a:cubicBezTo>
                      <a:pt x="0" y="10065"/>
                      <a:pt x="0" y="10065"/>
                      <a:pt x="2966" y="7098"/>
                    </a:cubicBezTo>
                    <a:cubicBezTo>
                      <a:pt x="8901" y="1164"/>
                      <a:pt x="20769" y="-1803"/>
                      <a:pt x="29670" y="1164"/>
                    </a:cubicBezTo>
                    <a:cubicBezTo>
                      <a:pt x="41538" y="4131"/>
                      <a:pt x="41538" y="13032"/>
                      <a:pt x="41538" y="18966"/>
                    </a:cubicBezTo>
                    <a:cubicBezTo>
                      <a:pt x="41538" y="27867"/>
                      <a:pt x="44505" y="36768"/>
                      <a:pt x="41538" y="42702"/>
                    </a:cubicBezTo>
                    <a:cubicBezTo>
                      <a:pt x="41538" y="48637"/>
                      <a:pt x="41538" y="54571"/>
                      <a:pt x="32637" y="60505"/>
                    </a:cubicBezTo>
                    <a:cubicBezTo>
                      <a:pt x="26703" y="63472"/>
                      <a:pt x="17801" y="60505"/>
                      <a:pt x="11868" y="57538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DE71D3D2-9095-4062-946B-3C65FD909EAB}"/>
                  </a:ext>
                </a:extLst>
              </p:cNvPr>
              <p:cNvSpPr/>
              <p:nvPr/>
            </p:nvSpPr>
            <p:spPr>
              <a:xfrm>
                <a:off x="11806597" y="8703581"/>
                <a:ext cx="124318" cy="109780"/>
              </a:xfrm>
              <a:custGeom>
                <a:avLst/>
                <a:gdLst>
                  <a:gd name="connsiteX0" fmla="*/ 79368 w 124318"/>
                  <a:gd name="connsiteY0" fmla="*/ 109780 h 109780"/>
                  <a:gd name="connsiteX1" fmla="*/ 61566 w 124318"/>
                  <a:gd name="connsiteY1" fmla="*/ 103846 h 109780"/>
                  <a:gd name="connsiteX2" fmla="*/ 58599 w 124318"/>
                  <a:gd name="connsiteY2" fmla="*/ 94945 h 109780"/>
                  <a:gd name="connsiteX3" fmla="*/ 55632 w 124318"/>
                  <a:gd name="connsiteY3" fmla="*/ 32638 h 109780"/>
                  <a:gd name="connsiteX4" fmla="*/ 34862 w 124318"/>
                  <a:gd name="connsiteY4" fmla="*/ 23736 h 109780"/>
                  <a:gd name="connsiteX5" fmla="*/ 20027 w 124318"/>
                  <a:gd name="connsiteY5" fmla="*/ 29670 h 109780"/>
                  <a:gd name="connsiteX6" fmla="*/ 14093 w 124318"/>
                  <a:gd name="connsiteY6" fmla="*/ 83077 h 109780"/>
                  <a:gd name="connsiteX7" fmla="*/ 8159 w 124318"/>
                  <a:gd name="connsiteY7" fmla="*/ 89011 h 109780"/>
                  <a:gd name="connsiteX8" fmla="*/ 2226 w 124318"/>
                  <a:gd name="connsiteY8" fmla="*/ 83077 h 109780"/>
                  <a:gd name="connsiteX9" fmla="*/ 11126 w 124318"/>
                  <a:gd name="connsiteY9" fmla="*/ 20769 h 109780"/>
                  <a:gd name="connsiteX10" fmla="*/ 34862 w 124318"/>
                  <a:gd name="connsiteY10" fmla="*/ 11868 h 109780"/>
                  <a:gd name="connsiteX11" fmla="*/ 37829 w 124318"/>
                  <a:gd name="connsiteY11" fmla="*/ 11868 h 109780"/>
                  <a:gd name="connsiteX12" fmla="*/ 52665 w 124318"/>
                  <a:gd name="connsiteY12" fmla="*/ 14835 h 109780"/>
                  <a:gd name="connsiteX13" fmla="*/ 52665 w 124318"/>
                  <a:gd name="connsiteY13" fmla="*/ 14835 h 109780"/>
                  <a:gd name="connsiteX14" fmla="*/ 94203 w 124318"/>
                  <a:gd name="connsiteY14" fmla="*/ 0 h 109780"/>
                  <a:gd name="connsiteX15" fmla="*/ 123873 w 124318"/>
                  <a:gd name="connsiteY15" fmla="*/ 41539 h 109780"/>
                  <a:gd name="connsiteX16" fmla="*/ 88269 w 124318"/>
                  <a:gd name="connsiteY16" fmla="*/ 106813 h 109780"/>
                  <a:gd name="connsiteX17" fmla="*/ 79368 w 124318"/>
                  <a:gd name="connsiteY17" fmla="*/ 109780 h 109780"/>
                  <a:gd name="connsiteX18" fmla="*/ 73434 w 124318"/>
                  <a:gd name="connsiteY18" fmla="*/ 97912 h 109780"/>
                  <a:gd name="connsiteX19" fmla="*/ 88269 w 124318"/>
                  <a:gd name="connsiteY19" fmla="*/ 97912 h 109780"/>
                  <a:gd name="connsiteX20" fmla="*/ 114972 w 124318"/>
                  <a:gd name="connsiteY20" fmla="*/ 44505 h 109780"/>
                  <a:gd name="connsiteX21" fmla="*/ 94203 w 124318"/>
                  <a:gd name="connsiteY21" fmla="*/ 11868 h 109780"/>
                  <a:gd name="connsiteX22" fmla="*/ 94203 w 124318"/>
                  <a:gd name="connsiteY22" fmla="*/ 11868 h 109780"/>
                  <a:gd name="connsiteX23" fmla="*/ 64532 w 124318"/>
                  <a:gd name="connsiteY23" fmla="*/ 20769 h 109780"/>
                  <a:gd name="connsiteX24" fmla="*/ 67500 w 124318"/>
                  <a:gd name="connsiteY24" fmla="*/ 23736 h 109780"/>
                  <a:gd name="connsiteX25" fmla="*/ 73434 w 124318"/>
                  <a:gd name="connsiteY25" fmla="*/ 97912 h 109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24318" h="109780">
                    <a:moveTo>
                      <a:pt x="79368" y="109780"/>
                    </a:moveTo>
                    <a:cubicBezTo>
                      <a:pt x="70467" y="109780"/>
                      <a:pt x="64532" y="106813"/>
                      <a:pt x="61566" y="103846"/>
                    </a:cubicBezTo>
                    <a:cubicBezTo>
                      <a:pt x="58599" y="100879"/>
                      <a:pt x="58599" y="97912"/>
                      <a:pt x="58599" y="94945"/>
                    </a:cubicBezTo>
                    <a:cubicBezTo>
                      <a:pt x="64532" y="62308"/>
                      <a:pt x="64532" y="41539"/>
                      <a:pt x="55632" y="32638"/>
                    </a:cubicBezTo>
                    <a:cubicBezTo>
                      <a:pt x="49697" y="26704"/>
                      <a:pt x="43764" y="23736"/>
                      <a:pt x="34862" y="23736"/>
                    </a:cubicBezTo>
                    <a:cubicBezTo>
                      <a:pt x="28929" y="23736"/>
                      <a:pt x="22994" y="26704"/>
                      <a:pt x="20027" y="29670"/>
                    </a:cubicBezTo>
                    <a:cubicBezTo>
                      <a:pt x="8159" y="41539"/>
                      <a:pt x="11126" y="71209"/>
                      <a:pt x="14093" y="83077"/>
                    </a:cubicBezTo>
                    <a:cubicBezTo>
                      <a:pt x="14093" y="86044"/>
                      <a:pt x="14093" y="89011"/>
                      <a:pt x="8159" y="89011"/>
                    </a:cubicBezTo>
                    <a:cubicBezTo>
                      <a:pt x="5192" y="89011"/>
                      <a:pt x="2226" y="89011"/>
                      <a:pt x="2226" y="83077"/>
                    </a:cubicBezTo>
                    <a:cubicBezTo>
                      <a:pt x="2226" y="80110"/>
                      <a:pt x="-6676" y="38572"/>
                      <a:pt x="11126" y="20769"/>
                    </a:cubicBezTo>
                    <a:cubicBezTo>
                      <a:pt x="17061" y="14835"/>
                      <a:pt x="25961" y="11868"/>
                      <a:pt x="34862" y="11868"/>
                    </a:cubicBezTo>
                    <a:cubicBezTo>
                      <a:pt x="34862" y="11868"/>
                      <a:pt x="34862" y="11868"/>
                      <a:pt x="37829" y="11868"/>
                    </a:cubicBezTo>
                    <a:cubicBezTo>
                      <a:pt x="43764" y="11868"/>
                      <a:pt x="46731" y="11868"/>
                      <a:pt x="52665" y="14835"/>
                    </a:cubicBezTo>
                    <a:cubicBezTo>
                      <a:pt x="52665" y="14835"/>
                      <a:pt x="52665" y="14835"/>
                      <a:pt x="52665" y="14835"/>
                    </a:cubicBezTo>
                    <a:cubicBezTo>
                      <a:pt x="52665" y="14835"/>
                      <a:pt x="73434" y="0"/>
                      <a:pt x="94203" y="0"/>
                    </a:cubicBezTo>
                    <a:cubicBezTo>
                      <a:pt x="117940" y="0"/>
                      <a:pt x="123873" y="20769"/>
                      <a:pt x="123873" y="41539"/>
                    </a:cubicBezTo>
                    <a:cubicBezTo>
                      <a:pt x="126840" y="80110"/>
                      <a:pt x="114972" y="103846"/>
                      <a:pt x="88269" y="106813"/>
                    </a:cubicBezTo>
                    <a:cubicBezTo>
                      <a:pt x="85302" y="109780"/>
                      <a:pt x="82335" y="109780"/>
                      <a:pt x="79368" y="109780"/>
                    </a:cubicBezTo>
                    <a:close/>
                    <a:moveTo>
                      <a:pt x="73434" y="97912"/>
                    </a:moveTo>
                    <a:cubicBezTo>
                      <a:pt x="73434" y="97912"/>
                      <a:pt x="79368" y="100879"/>
                      <a:pt x="88269" y="97912"/>
                    </a:cubicBezTo>
                    <a:cubicBezTo>
                      <a:pt x="112005" y="94945"/>
                      <a:pt x="114972" y="68242"/>
                      <a:pt x="114972" y="44505"/>
                    </a:cubicBezTo>
                    <a:cubicBezTo>
                      <a:pt x="112005" y="20769"/>
                      <a:pt x="109038" y="14835"/>
                      <a:pt x="94203" y="11868"/>
                    </a:cubicBezTo>
                    <a:cubicBezTo>
                      <a:pt x="94203" y="11868"/>
                      <a:pt x="94203" y="11868"/>
                      <a:pt x="94203" y="11868"/>
                    </a:cubicBezTo>
                    <a:cubicBezTo>
                      <a:pt x="82335" y="11868"/>
                      <a:pt x="70467" y="17802"/>
                      <a:pt x="64532" y="20769"/>
                    </a:cubicBezTo>
                    <a:cubicBezTo>
                      <a:pt x="64532" y="20769"/>
                      <a:pt x="67500" y="23736"/>
                      <a:pt x="67500" y="23736"/>
                    </a:cubicBezTo>
                    <a:cubicBezTo>
                      <a:pt x="76401" y="38572"/>
                      <a:pt x="79368" y="62308"/>
                      <a:pt x="73434" y="97912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EF2A0793-2EBC-4833-A882-60B2F9022C90}"/>
                  </a:ext>
                </a:extLst>
              </p:cNvPr>
              <p:cNvSpPr/>
              <p:nvPr/>
            </p:nvSpPr>
            <p:spPr>
              <a:xfrm>
                <a:off x="11916377" y="8711741"/>
                <a:ext cx="63138" cy="92719"/>
              </a:xfrm>
              <a:custGeom>
                <a:avLst/>
                <a:gdLst>
                  <a:gd name="connsiteX0" fmla="*/ 28929 w 63138"/>
                  <a:gd name="connsiteY0" fmla="*/ 92720 h 92719"/>
                  <a:gd name="connsiteX1" fmla="*/ 2225 w 63138"/>
                  <a:gd name="connsiteY1" fmla="*/ 86785 h 92719"/>
                  <a:gd name="connsiteX2" fmla="*/ 2225 w 63138"/>
                  <a:gd name="connsiteY2" fmla="*/ 77885 h 92719"/>
                  <a:gd name="connsiteX3" fmla="*/ 11127 w 63138"/>
                  <a:gd name="connsiteY3" fmla="*/ 77885 h 92719"/>
                  <a:gd name="connsiteX4" fmla="*/ 37830 w 63138"/>
                  <a:gd name="connsiteY4" fmla="*/ 80851 h 92719"/>
                  <a:gd name="connsiteX5" fmla="*/ 43764 w 63138"/>
                  <a:gd name="connsiteY5" fmla="*/ 77885 h 92719"/>
                  <a:gd name="connsiteX6" fmla="*/ 46731 w 63138"/>
                  <a:gd name="connsiteY6" fmla="*/ 21511 h 92719"/>
                  <a:gd name="connsiteX7" fmla="*/ 8160 w 63138"/>
                  <a:gd name="connsiteY7" fmla="*/ 12610 h 92719"/>
                  <a:gd name="connsiteX8" fmla="*/ 2225 w 63138"/>
                  <a:gd name="connsiteY8" fmla="*/ 9643 h 92719"/>
                  <a:gd name="connsiteX9" fmla="*/ 5193 w 63138"/>
                  <a:gd name="connsiteY9" fmla="*/ 3709 h 92719"/>
                  <a:gd name="connsiteX10" fmla="*/ 58599 w 63138"/>
                  <a:gd name="connsiteY10" fmla="*/ 18544 h 92719"/>
                  <a:gd name="connsiteX11" fmla="*/ 55633 w 63138"/>
                  <a:gd name="connsiteY11" fmla="*/ 86785 h 92719"/>
                  <a:gd name="connsiteX12" fmla="*/ 40797 w 63138"/>
                  <a:gd name="connsiteY12" fmla="*/ 92720 h 92719"/>
                  <a:gd name="connsiteX13" fmla="*/ 28929 w 63138"/>
                  <a:gd name="connsiteY13" fmla="*/ 92720 h 92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3138" h="92719">
                    <a:moveTo>
                      <a:pt x="28929" y="92720"/>
                    </a:moveTo>
                    <a:cubicBezTo>
                      <a:pt x="20028" y="92720"/>
                      <a:pt x="8160" y="89753"/>
                      <a:pt x="2225" y="86785"/>
                    </a:cubicBezTo>
                    <a:cubicBezTo>
                      <a:pt x="-742" y="83819"/>
                      <a:pt x="-742" y="80851"/>
                      <a:pt x="2225" y="77885"/>
                    </a:cubicBezTo>
                    <a:cubicBezTo>
                      <a:pt x="5193" y="74917"/>
                      <a:pt x="8160" y="74917"/>
                      <a:pt x="11127" y="77885"/>
                    </a:cubicBezTo>
                    <a:cubicBezTo>
                      <a:pt x="14093" y="80851"/>
                      <a:pt x="25962" y="83819"/>
                      <a:pt x="37830" y="80851"/>
                    </a:cubicBezTo>
                    <a:cubicBezTo>
                      <a:pt x="40797" y="80851"/>
                      <a:pt x="43764" y="77885"/>
                      <a:pt x="43764" y="77885"/>
                    </a:cubicBezTo>
                    <a:cubicBezTo>
                      <a:pt x="49698" y="71950"/>
                      <a:pt x="55633" y="42280"/>
                      <a:pt x="46731" y="21511"/>
                    </a:cubicBezTo>
                    <a:cubicBezTo>
                      <a:pt x="40797" y="3709"/>
                      <a:pt x="8160" y="12610"/>
                      <a:pt x="8160" y="12610"/>
                    </a:cubicBezTo>
                    <a:cubicBezTo>
                      <a:pt x="5193" y="12610"/>
                      <a:pt x="2225" y="12610"/>
                      <a:pt x="2225" y="9643"/>
                    </a:cubicBezTo>
                    <a:cubicBezTo>
                      <a:pt x="2225" y="6676"/>
                      <a:pt x="2225" y="3709"/>
                      <a:pt x="5193" y="3709"/>
                    </a:cubicBezTo>
                    <a:cubicBezTo>
                      <a:pt x="8160" y="3709"/>
                      <a:pt x="49698" y="-11126"/>
                      <a:pt x="58599" y="18544"/>
                    </a:cubicBezTo>
                    <a:cubicBezTo>
                      <a:pt x="67501" y="45247"/>
                      <a:pt x="61566" y="77885"/>
                      <a:pt x="55633" y="86785"/>
                    </a:cubicBezTo>
                    <a:cubicBezTo>
                      <a:pt x="52665" y="89753"/>
                      <a:pt x="46731" y="92720"/>
                      <a:pt x="40797" y="92720"/>
                    </a:cubicBezTo>
                    <a:cubicBezTo>
                      <a:pt x="34863" y="92720"/>
                      <a:pt x="31896" y="92720"/>
                      <a:pt x="28929" y="9272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1B440993-7704-44B6-A98B-0C7812DB2489}"/>
                </a:ext>
              </a:extLst>
            </p:cNvPr>
            <p:cNvSpPr/>
            <p:nvPr/>
          </p:nvSpPr>
          <p:spPr>
            <a:xfrm>
              <a:off x="10866376" y="8157647"/>
              <a:ext cx="67767" cy="144366"/>
            </a:xfrm>
            <a:custGeom>
              <a:avLst/>
              <a:gdLst>
                <a:gd name="connsiteX0" fmla="*/ 55302 w 67767"/>
                <a:gd name="connsiteY0" fmla="*/ 62307 h 144366"/>
                <a:gd name="connsiteX1" fmla="*/ 61237 w 67767"/>
                <a:gd name="connsiteY1" fmla="*/ 53407 h 144366"/>
                <a:gd name="connsiteX2" fmla="*/ 64204 w 67767"/>
                <a:gd name="connsiteY2" fmla="*/ 14835 h 144366"/>
                <a:gd name="connsiteX3" fmla="*/ 43434 w 67767"/>
                <a:gd name="connsiteY3" fmla="*/ 0 h 144366"/>
                <a:gd name="connsiteX4" fmla="*/ 28599 w 67767"/>
                <a:gd name="connsiteY4" fmla="*/ 5934 h 144366"/>
                <a:gd name="connsiteX5" fmla="*/ 1896 w 67767"/>
                <a:gd name="connsiteY5" fmla="*/ 83077 h 144366"/>
                <a:gd name="connsiteX6" fmla="*/ 13764 w 67767"/>
                <a:gd name="connsiteY6" fmla="*/ 142418 h 144366"/>
                <a:gd name="connsiteX7" fmla="*/ 43434 w 67767"/>
                <a:gd name="connsiteY7" fmla="*/ 139450 h 144366"/>
                <a:gd name="connsiteX8" fmla="*/ 58269 w 67767"/>
                <a:gd name="connsiteY8" fmla="*/ 109780 h 144366"/>
                <a:gd name="connsiteX9" fmla="*/ 67171 w 67767"/>
                <a:gd name="connsiteY9" fmla="*/ 77143 h 144366"/>
                <a:gd name="connsiteX10" fmla="*/ 55302 w 67767"/>
                <a:gd name="connsiteY10" fmla="*/ 62307 h 144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767" h="144366">
                  <a:moveTo>
                    <a:pt x="55302" y="62307"/>
                  </a:moveTo>
                  <a:cubicBezTo>
                    <a:pt x="55302" y="56373"/>
                    <a:pt x="58269" y="56373"/>
                    <a:pt x="61237" y="53407"/>
                  </a:cubicBezTo>
                  <a:cubicBezTo>
                    <a:pt x="73105" y="38572"/>
                    <a:pt x="64204" y="29670"/>
                    <a:pt x="64204" y="14835"/>
                  </a:cubicBezTo>
                  <a:cubicBezTo>
                    <a:pt x="64204" y="2967"/>
                    <a:pt x="52336" y="0"/>
                    <a:pt x="43434" y="0"/>
                  </a:cubicBezTo>
                  <a:cubicBezTo>
                    <a:pt x="37501" y="0"/>
                    <a:pt x="31566" y="0"/>
                    <a:pt x="28599" y="5934"/>
                  </a:cubicBezTo>
                  <a:cubicBezTo>
                    <a:pt x="13764" y="32637"/>
                    <a:pt x="1896" y="53407"/>
                    <a:pt x="1896" y="83077"/>
                  </a:cubicBezTo>
                  <a:cubicBezTo>
                    <a:pt x="1896" y="106813"/>
                    <a:pt x="-7005" y="130549"/>
                    <a:pt x="13764" y="142418"/>
                  </a:cubicBezTo>
                  <a:cubicBezTo>
                    <a:pt x="19698" y="145384"/>
                    <a:pt x="37501" y="145384"/>
                    <a:pt x="43434" y="139450"/>
                  </a:cubicBezTo>
                  <a:cubicBezTo>
                    <a:pt x="55302" y="133516"/>
                    <a:pt x="52336" y="112747"/>
                    <a:pt x="58269" y="109780"/>
                  </a:cubicBezTo>
                  <a:cubicBezTo>
                    <a:pt x="61237" y="97912"/>
                    <a:pt x="70137" y="91978"/>
                    <a:pt x="67171" y="77143"/>
                  </a:cubicBezTo>
                  <a:cubicBezTo>
                    <a:pt x="64204" y="71209"/>
                    <a:pt x="55302" y="68242"/>
                    <a:pt x="55302" y="62307"/>
                  </a:cubicBezTo>
                  <a:close/>
                </a:path>
              </a:pathLst>
            </a:custGeom>
            <a:solidFill>
              <a:srgbClr val="664241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5FBD1E4C-248D-43C7-AD32-BDB77CE9889B}"/>
                </a:ext>
              </a:extLst>
            </p:cNvPr>
            <p:cNvSpPr/>
            <p:nvPr/>
          </p:nvSpPr>
          <p:spPr>
            <a:xfrm>
              <a:off x="10470690" y="8261494"/>
              <a:ext cx="65274" cy="136483"/>
            </a:xfrm>
            <a:custGeom>
              <a:avLst/>
              <a:gdLst>
                <a:gd name="connsiteX0" fmla="*/ 0 w 65274"/>
                <a:gd name="connsiteY0" fmla="*/ 0 h 136483"/>
                <a:gd name="connsiteX1" fmla="*/ 59341 w 65274"/>
                <a:gd name="connsiteY1" fmla="*/ 136483 h 136483"/>
                <a:gd name="connsiteX2" fmla="*/ 65274 w 65274"/>
                <a:gd name="connsiteY2" fmla="*/ 53407 h 136483"/>
                <a:gd name="connsiteX3" fmla="*/ 0 w 65274"/>
                <a:gd name="connsiteY3" fmla="*/ 0 h 13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274" h="136483">
                  <a:moveTo>
                    <a:pt x="0" y="0"/>
                  </a:moveTo>
                  <a:cubicBezTo>
                    <a:pt x="0" y="0"/>
                    <a:pt x="8901" y="115714"/>
                    <a:pt x="59341" y="136483"/>
                  </a:cubicBezTo>
                  <a:lnTo>
                    <a:pt x="65274" y="534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B47C57DD-2E12-484A-BB3D-18AAC33284B5}"/>
                </a:ext>
              </a:extLst>
            </p:cNvPr>
            <p:cNvSpPr/>
            <p:nvPr/>
          </p:nvSpPr>
          <p:spPr>
            <a:xfrm>
              <a:off x="10821413" y="8077538"/>
              <a:ext cx="100914" cy="231408"/>
            </a:xfrm>
            <a:custGeom>
              <a:avLst/>
              <a:gdLst>
                <a:gd name="connsiteX0" fmla="*/ 97299 w 100914"/>
                <a:gd name="connsiteY0" fmla="*/ 0 h 231408"/>
                <a:gd name="connsiteX1" fmla="*/ 46860 w 100914"/>
                <a:gd name="connsiteY1" fmla="*/ 228461 h 231408"/>
                <a:gd name="connsiteX2" fmla="*/ 2354 w 100914"/>
                <a:gd name="connsiteY2" fmla="*/ 11868 h 231408"/>
                <a:gd name="connsiteX3" fmla="*/ 97299 w 100914"/>
                <a:gd name="connsiteY3" fmla="*/ 0 h 231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914" h="231408">
                  <a:moveTo>
                    <a:pt x="97299" y="0"/>
                  </a:moveTo>
                  <a:cubicBezTo>
                    <a:pt x="97299" y="0"/>
                    <a:pt x="121035" y="189890"/>
                    <a:pt x="46860" y="228461"/>
                  </a:cubicBezTo>
                  <a:cubicBezTo>
                    <a:pt x="-15448" y="261099"/>
                    <a:pt x="2354" y="11868"/>
                    <a:pt x="2354" y="11868"/>
                  </a:cubicBezTo>
                  <a:lnTo>
                    <a:pt x="97299" y="0"/>
                  </a:lnTo>
                  <a:close/>
                </a:path>
              </a:pathLst>
            </a:custGeom>
            <a:solidFill>
              <a:srgbClr val="664241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A4EAD68A-185B-489A-AF3B-B1921D7608AE}"/>
                </a:ext>
              </a:extLst>
            </p:cNvPr>
            <p:cNvSpPr/>
            <p:nvPr/>
          </p:nvSpPr>
          <p:spPr>
            <a:xfrm>
              <a:off x="10476624" y="7937241"/>
              <a:ext cx="405682" cy="552861"/>
            </a:xfrm>
            <a:custGeom>
              <a:avLst/>
              <a:gdLst>
                <a:gd name="connsiteX0" fmla="*/ 400549 w 405682"/>
                <a:gd name="connsiteY0" fmla="*/ 181835 h 552861"/>
                <a:gd name="connsiteX1" fmla="*/ 394616 w 405682"/>
                <a:gd name="connsiteY1" fmla="*/ 425131 h 552861"/>
                <a:gd name="connsiteX2" fmla="*/ 234396 w 405682"/>
                <a:gd name="connsiteY2" fmla="*/ 552714 h 552861"/>
                <a:gd name="connsiteX3" fmla="*/ 29670 w 405682"/>
                <a:gd name="connsiteY3" fmla="*/ 407329 h 552861"/>
                <a:gd name="connsiteX4" fmla="*/ 0 w 405682"/>
                <a:gd name="connsiteY4" fmla="*/ 187769 h 552861"/>
                <a:gd name="connsiteX5" fmla="*/ 213627 w 405682"/>
                <a:gd name="connsiteY5" fmla="*/ 846 h 552861"/>
                <a:gd name="connsiteX6" fmla="*/ 400549 w 405682"/>
                <a:gd name="connsiteY6" fmla="*/ 181835 h 552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5682" h="552861">
                  <a:moveTo>
                    <a:pt x="400549" y="181835"/>
                  </a:moveTo>
                  <a:cubicBezTo>
                    <a:pt x="400549" y="181835"/>
                    <a:pt x="415385" y="353923"/>
                    <a:pt x="394616" y="425131"/>
                  </a:cubicBezTo>
                  <a:cubicBezTo>
                    <a:pt x="373846" y="487439"/>
                    <a:pt x="284835" y="549747"/>
                    <a:pt x="234396" y="552714"/>
                  </a:cubicBezTo>
                  <a:cubicBezTo>
                    <a:pt x="169121" y="555681"/>
                    <a:pt x="56374" y="514142"/>
                    <a:pt x="29670" y="407329"/>
                  </a:cubicBezTo>
                  <a:cubicBezTo>
                    <a:pt x="11869" y="336120"/>
                    <a:pt x="0" y="238208"/>
                    <a:pt x="0" y="187769"/>
                  </a:cubicBezTo>
                  <a:cubicBezTo>
                    <a:pt x="5934" y="95791"/>
                    <a:pt x="32638" y="18648"/>
                    <a:pt x="213627" y="846"/>
                  </a:cubicBezTo>
                  <a:cubicBezTo>
                    <a:pt x="296703" y="-11022"/>
                    <a:pt x="385714" y="104692"/>
                    <a:pt x="400549" y="181835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4AA5DA32-8904-4372-9FFD-86DE97DF0EAB}"/>
                </a:ext>
              </a:extLst>
            </p:cNvPr>
            <p:cNvSpPr/>
            <p:nvPr/>
          </p:nvSpPr>
          <p:spPr>
            <a:xfrm>
              <a:off x="10689021" y="8196219"/>
              <a:ext cx="57602" cy="130549"/>
            </a:xfrm>
            <a:custGeom>
              <a:avLst/>
              <a:gdLst>
                <a:gd name="connsiteX0" fmla="*/ 30899 w 57602"/>
                <a:gd name="connsiteY0" fmla="*/ 130549 h 130549"/>
                <a:gd name="connsiteX1" fmla="*/ 4196 w 57602"/>
                <a:gd name="connsiteY1" fmla="*/ 127582 h 130549"/>
                <a:gd name="connsiteX2" fmla="*/ 1229 w 57602"/>
                <a:gd name="connsiteY2" fmla="*/ 121648 h 130549"/>
                <a:gd name="connsiteX3" fmla="*/ 7163 w 57602"/>
                <a:gd name="connsiteY3" fmla="*/ 118681 h 130549"/>
                <a:gd name="connsiteX4" fmla="*/ 45735 w 57602"/>
                <a:gd name="connsiteY4" fmla="*/ 118681 h 130549"/>
                <a:gd name="connsiteX5" fmla="*/ 45735 w 57602"/>
                <a:gd name="connsiteY5" fmla="*/ 115714 h 130549"/>
                <a:gd name="connsiteX6" fmla="*/ 33867 w 57602"/>
                <a:gd name="connsiteY6" fmla="*/ 5934 h 130549"/>
                <a:gd name="connsiteX7" fmla="*/ 39800 w 57602"/>
                <a:gd name="connsiteY7" fmla="*/ 0 h 130549"/>
                <a:gd name="connsiteX8" fmla="*/ 45735 w 57602"/>
                <a:gd name="connsiteY8" fmla="*/ 5934 h 130549"/>
                <a:gd name="connsiteX9" fmla="*/ 57603 w 57602"/>
                <a:gd name="connsiteY9" fmla="*/ 115714 h 130549"/>
                <a:gd name="connsiteX10" fmla="*/ 51669 w 57602"/>
                <a:gd name="connsiteY10" fmla="*/ 127582 h 130549"/>
                <a:gd name="connsiteX11" fmla="*/ 30899 w 57602"/>
                <a:gd name="connsiteY11" fmla="*/ 130549 h 130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602" h="130549">
                  <a:moveTo>
                    <a:pt x="30899" y="130549"/>
                  </a:moveTo>
                  <a:cubicBezTo>
                    <a:pt x="19031" y="130549"/>
                    <a:pt x="7163" y="127582"/>
                    <a:pt x="4196" y="127582"/>
                  </a:cubicBezTo>
                  <a:cubicBezTo>
                    <a:pt x="1229" y="127582"/>
                    <a:pt x="-1738" y="124615"/>
                    <a:pt x="1229" y="121648"/>
                  </a:cubicBezTo>
                  <a:cubicBezTo>
                    <a:pt x="1229" y="118681"/>
                    <a:pt x="4196" y="115714"/>
                    <a:pt x="7163" y="118681"/>
                  </a:cubicBezTo>
                  <a:cubicBezTo>
                    <a:pt x="19031" y="121648"/>
                    <a:pt x="39800" y="124615"/>
                    <a:pt x="45735" y="118681"/>
                  </a:cubicBezTo>
                  <a:cubicBezTo>
                    <a:pt x="45735" y="118681"/>
                    <a:pt x="45735" y="115714"/>
                    <a:pt x="45735" y="115714"/>
                  </a:cubicBezTo>
                  <a:cubicBezTo>
                    <a:pt x="45735" y="97912"/>
                    <a:pt x="33867" y="5934"/>
                    <a:pt x="33867" y="5934"/>
                  </a:cubicBezTo>
                  <a:cubicBezTo>
                    <a:pt x="33867" y="2967"/>
                    <a:pt x="36834" y="0"/>
                    <a:pt x="39800" y="0"/>
                  </a:cubicBezTo>
                  <a:cubicBezTo>
                    <a:pt x="42767" y="0"/>
                    <a:pt x="45735" y="2967"/>
                    <a:pt x="45735" y="5934"/>
                  </a:cubicBezTo>
                  <a:cubicBezTo>
                    <a:pt x="45735" y="8901"/>
                    <a:pt x="57603" y="97912"/>
                    <a:pt x="57603" y="115714"/>
                  </a:cubicBezTo>
                  <a:cubicBezTo>
                    <a:pt x="57603" y="121648"/>
                    <a:pt x="54635" y="124615"/>
                    <a:pt x="51669" y="127582"/>
                  </a:cubicBezTo>
                  <a:cubicBezTo>
                    <a:pt x="48702" y="127582"/>
                    <a:pt x="39800" y="130549"/>
                    <a:pt x="30899" y="130549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2FAD0054-3A9A-40C0-AE70-C2E0FFFADC13}"/>
                </a:ext>
              </a:extLst>
            </p:cNvPr>
            <p:cNvSpPr/>
            <p:nvPr/>
          </p:nvSpPr>
          <p:spPr>
            <a:xfrm>
              <a:off x="10781473" y="8171726"/>
              <a:ext cx="40083" cy="40083"/>
            </a:xfrm>
            <a:custGeom>
              <a:avLst/>
              <a:gdLst>
                <a:gd name="connsiteX0" fmla="*/ 756 w 40083"/>
                <a:gd name="connsiteY0" fmla="*/ 24493 h 40083"/>
                <a:gd name="connsiteX1" fmla="*/ 24492 w 40083"/>
                <a:gd name="connsiteY1" fmla="*/ 39328 h 40083"/>
                <a:gd name="connsiteX2" fmla="*/ 39327 w 40083"/>
                <a:gd name="connsiteY2" fmla="*/ 15591 h 40083"/>
                <a:gd name="connsiteX3" fmla="*/ 15591 w 40083"/>
                <a:gd name="connsiteY3" fmla="*/ 756 h 40083"/>
                <a:gd name="connsiteX4" fmla="*/ 756 w 40083"/>
                <a:gd name="connsiteY4" fmla="*/ 24493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83" h="40083">
                  <a:moveTo>
                    <a:pt x="756" y="24493"/>
                  </a:moveTo>
                  <a:cubicBezTo>
                    <a:pt x="3723" y="36360"/>
                    <a:pt x="12624" y="42294"/>
                    <a:pt x="24492" y="39328"/>
                  </a:cubicBezTo>
                  <a:cubicBezTo>
                    <a:pt x="36360" y="36360"/>
                    <a:pt x="42294" y="27459"/>
                    <a:pt x="39327" y="15591"/>
                  </a:cubicBezTo>
                  <a:cubicBezTo>
                    <a:pt x="36360" y="3723"/>
                    <a:pt x="27459" y="-2211"/>
                    <a:pt x="15591" y="756"/>
                  </a:cubicBezTo>
                  <a:cubicBezTo>
                    <a:pt x="3723" y="3723"/>
                    <a:pt x="-2211" y="12624"/>
                    <a:pt x="756" y="24493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2921639B-D9E3-4680-A588-616AD0E682C2}"/>
                </a:ext>
              </a:extLst>
            </p:cNvPr>
            <p:cNvSpPr/>
            <p:nvPr/>
          </p:nvSpPr>
          <p:spPr>
            <a:xfrm>
              <a:off x="10603451" y="8183595"/>
              <a:ext cx="40083" cy="40083"/>
            </a:xfrm>
            <a:custGeom>
              <a:avLst/>
              <a:gdLst>
                <a:gd name="connsiteX0" fmla="*/ 756 w 40083"/>
                <a:gd name="connsiteY0" fmla="*/ 24492 h 40083"/>
                <a:gd name="connsiteX1" fmla="*/ 24492 w 40083"/>
                <a:gd name="connsiteY1" fmla="*/ 39328 h 40083"/>
                <a:gd name="connsiteX2" fmla="*/ 39327 w 40083"/>
                <a:gd name="connsiteY2" fmla="*/ 15591 h 40083"/>
                <a:gd name="connsiteX3" fmla="*/ 15591 w 40083"/>
                <a:gd name="connsiteY3" fmla="*/ 756 h 40083"/>
                <a:gd name="connsiteX4" fmla="*/ 756 w 40083"/>
                <a:gd name="connsiteY4" fmla="*/ 24492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83" h="40083">
                  <a:moveTo>
                    <a:pt x="756" y="24492"/>
                  </a:moveTo>
                  <a:cubicBezTo>
                    <a:pt x="3723" y="36360"/>
                    <a:pt x="12624" y="42295"/>
                    <a:pt x="24492" y="39328"/>
                  </a:cubicBezTo>
                  <a:cubicBezTo>
                    <a:pt x="36360" y="36360"/>
                    <a:pt x="42294" y="27460"/>
                    <a:pt x="39327" y="15591"/>
                  </a:cubicBezTo>
                  <a:cubicBezTo>
                    <a:pt x="36360" y="3723"/>
                    <a:pt x="27459" y="-2211"/>
                    <a:pt x="15591" y="756"/>
                  </a:cubicBezTo>
                  <a:cubicBezTo>
                    <a:pt x="3723" y="3723"/>
                    <a:pt x="-2211" y="12624"/>
                    <a:pt x="756" y="24492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AB22B8DB-2B13-49F7-A6B7-9693B0E432DA}"/>
                </a:ext>
              </a:extLst>
            </p:cNvPr>
            <p:cNvSpPr/>
            <p:nvPr/>
          </p:nvSpPr>
          <p:spPr>
            <a:xfrm>
              <a:off x="10757263" y="8128326"/>
              <a:ext cx="89498" cy="32287"/>
            </a:xfrm>
            <a:custGeom>
              <a:avLst/>
              <a:gdLst>
                <a:gd name="connsiteX0" fmla="*/ 81339 w 89498"/>
                <a:gd name="connsiteY0" fmla="*/ 32288 h 32287"/>
                <a:gd name="connsiteX1" fmla="*/ 75404 w 89498"/>
                <a:gd name="connsiteY1" fmla="*/ 29321 h 32287"/>
                <a:gd name="connsiteX2" fmla="*/ 10130 w 89498"/>
                <a:gd name="connsiteY2" fmla="*/ 20420 h 32287"/>
                <a:gd name="connsiteX3" fmla="*/ 1229 w 89498"/>
                <a:gd name="connsiteY3" fmla="*/ 17453 h 32287"/>
                <a:gd name="connsiteX4" fmla="*/ 4196 w 89498"/>
                <a:gd name="connsiteY4" fmla="*/ 8552 h 32287"/>
                <a:gd name="connsiteX5" fmla="*/ 87273 w 89498"/>
                <a:gd name="connsiteY5" fmla="*/ 20420 h 32287"/>
                <a:gd name="connsiteX6" fmla="*/ 87273 w 89498"/>
                <a:gd name="connsiteY6" fmla="*/ 32288 h 32287"/>
                <a:gd name="connsiteX7" fmla="*/ 81339 w 89498"/>
                <a:gd name="connsiteY7" fmla="*/ 32288 h 32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2287">
                  <a:moveTo>
                    <a:pt x="81339" y="32288"/>
                  </a:moveTo>
                  <a:cubicBezTo>
                    <a:pt x="78372" y="32288"/>
                    <a:pt x="78372" y="32288"/>
                    <a:pt x="75404" y="29321"/>
                  </a:cubicBezTo>
                  <a:cubicBezTo>
                    <a:pt x="51669" y="2618"/>
                    <a:pt x="10130" y="20420"/>
                    <a:pt x="10130" y="20420"/>
                  </a:cubicBezTo>
                  <a:cubicBezTo>
                    <a:pt x="7163" y="23387"/>
                    <a:pt x="1229" y="20420"/>
                    <a:pt x="1229" y="17453"/>
                  </a:cubicBezTo>
                  <a:cubicBezTo>
                    <a:pt x="-1738" y="14486"/>
                    <a:pt x="1229" y="8552"/>
                    <a:pt x="4196" y="8552"/>
                  </a:cubicBezTo>
                  <a:cubicBezTo>
                    <a:pt x="21998" y="-349"/>
                    <a:pt x="60569" y="-9250"/>
                    <a:pt x="87273" y="20420"/>
                  </a:cubicBezTo>
                  <a:cubicBezTo>
                    <a:pt x="90240" y="23387"/>
                    <a:pt x="90240" y="29321"/>
                    <a:pt x="87273" y="32288"/>
                  </a:cubicBezTo>
                  <a:cubicBezTo>
                    <a:pt x="84306" y="29321"/>
                    <a:pt x="84306" y="32288"/>
                    <a:pt x="81339" y="32288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9C5618E1-FC0C-4DCC-9888-3783C6D04551}"/>
                </a:ext>
              </a:extLst>
            </p:cNvPr>
            <p:cNvSpPr/>
            <p:nvPr/>
          </p:nvSpPr>
          <p:spPr>
            <a:xfrm>
              <a:off x="10572311" y="8119244"/>
              <a:ext cx="88269" cy="32469"/>
            </a:xfrm>
            <a:custGeom>
              <a:avLst/>
              <a:gdLst>
                <a:gd name="connsiteX0" fmla="*/ 8159 w 88269"/>
                <a:gd name="connsiteY0" fmla="*/ 32469 h 32469"/>
                <a:gd name="connsiteX1" fmla="*/ 2225 w 88269"/>
                <a:gd name="connsiteY1" fmla="*/ 29502 h 32469"/>
                <a:gd name="connsiteX2" fmla="*/ 2225 w 88269"/>
                <a:gd name="connsiteY2" fmla="*/ 17634 h 32469"/>
                <a:gd name="connsiteX3" fmla="*/ 85302 w 88269"/>
                <a:gd name="connsiteY3" fmla="*/ 11700 h 32469"/>
                <a:gd name="connsiteX4" fmla="*/ 88269 w 88269"/>
                <a:gd name="connsiteY4" fmla="*/ 23568 h 32469"/>
                <a:gd name="connsiteX5" fmla="*/ 76401 w 88269"/>
                <a:gd name="connsiteY5" fmla="*/ 26535 h 32469"/>
                <a:gd name="connsiteX6" fmla="*/ 11126 w 88269"/>
                <a:gd name="connsiteY6" fmla="*/ 29502 h 32469"/>
                <a:gd name="connsiteX7" fmla="*/ 8159 w 88269"/>
                <a:gd name="connsiteY7" fmla="*/ 32469 h 32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269" h="32469">
                  <a:moveTo>
                    <a:pt x="8159" y="32469"/>
                  </a:moveTo>
                  <a:cubicBezTo>
                    <a:pt x="5193" y="32469"/>
                    <a:pt x="5193" y="32469"/>
                    <a:pt x="2225" y="29502"/>
                  </a:cubicBezTo>
                  <a:cubicBezTo>
                    <a:pt x="-742" y="26535"/>
                    <a:pt x="-742" y="20601"/>
                    <a:pt x="2225" y="17634"/>
                  </a:cubicBezTo>
                  <a:cubicBezTo>
                    <a:pt x="17061" y="5766"/>
                    <a:pt x="49698" y="-12036"/>
                    <a:pt x="85302" y="11700"/>
                  </a:cubicBezTo>
                  <a:cubicBezTo>
                    <a:pt x="88269" y="14667"/>
                    <a:pt x="88269" y="17634"/>
                    <a:pt x="88269" y="23568"/>
                  </a:cubicBezTo>
                  <a:cubicBezTo>
                    <a:pt x="85302" y="26535"/>
                    <a:pt x="82335" y="26535"/>
                    <a:pt x="76401" y="26535"/>
                  </a:cubicBezTo>
                  <a:cubicBezTo>
                    <a:pt x="40796" y="2799"/>
                    <a:pt x="14093" y="29502"/>
                    <a:pt x="11126" y="29502"/>
                  </a:cubicBezTo>
                  <a:cubicBezTo>
                    <a:pt x="11126" y="32469"/>
                    <a:pt x="8159" y="32469"/>
                    <a:pt x="8159" y="32469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A077ECEC-5689-428E-988F-895671ADD022}"/>
                </a:ext>
              </a:extLst>
            </p:cNvPr>
            <p:cNvSpPr/>
            <p:nvPr/>
          </p:nvSpPr>
          <p:spPr>
            <a:xfrm>
              <a:off x="10556734" y="8424680"/>
              <a:ext cx="220879" cy="68241"/>
            </a:xfrm>
            <a:custGeom>
              <a:avLst/>
              <a:gdLst>
                <a:gd name="connsiteX0" fmla="*/ 145384 w 220879"/>
                <a:gd name="connsiteY0" fmla="*/ 68242 h 68241"/>
                <a:gd name="connsiteX1" fmla="*/ 142417 w 220879"/>
                <a:gd name="connsiteY1" fmla="*/ 68242 h 68241"/>
                <a:gd name="connsiteX2" fmla="*/ 2967 w 220879"/>
                <a:gd name="connsiteY2" fmla="*/ 11868 h 68241"/>
                <a:gd name="connsiteX3" fmla="*/ 0 w 220879"/>
                <a:gd name="connsiteY3" fmla="*/ 2967 h 68241"/>
                <a:gd name="connsiteX4" fmla="*/ 8901 w 220879"/>
                <a:gd name="connsiteY4" fmla="*/ 0 h 68241"/>
                <a:gd name="connsiteX5" fmla="*/ 142417 w 220879"/>
                <a:gd name="connsiteY5" fmla="*/ 53407 h 68241"/>
                <a:gd name="connsiteX6" fmla="*/ 210660 w 220879"/>
                <a:gd name="connsiteY6" fmla="*/ 32637 h 68241"/>
                <a:gd name="connsiteX7" fmla="*/ 219560 w 220879"/>
                <a:gd name="connsiteY7" fmla="*/ 32637 h 68241"/>
                <a:gd name="connsiteX8" fmla="*/ 219560 w 220879"/>
                <a:gd name="connsiteY8" fmla="*/ 41538 h 68241"/>
                <a:gd name="connsiteX9" fmla="*/ 145384 w 220879"/>
                <a:gd name="connsiteY9" fmla="*/ 68242 h 68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879" h="68241">
                  <a:moveTo>
                    <a:pt x="145384" y="68242"/>
                  </a:moveTo>
                  <a:cubicBezTo>
                    <a:pt x="145384" y="68242"/>
                    <a:pt x="142417" y="68242"/>
                    <a:pt x="142417" y="68242"/>
                  </a:cubicBezTo>
                  <a:cubicBezTo>
                    <a:pt x="91978" y="65275"/>
                    <a:pt x="5934" y="14835"/>
                    <a:pt x="2967" y="11868"/>
                  </a:cubicBezTo>
                  <a:cubicBezTo>
                    <a:pt x="0" y="8901"/>
                    <a:pt x="0" y="5934"/>
                    <a:pt x="0" y="2967"/>
                  </a:cubicBezTo>
                  <a:cubicBezTo>
                    <a:pt x="2967" y="0"/>
                    <a:pt x="5934" y="0"/>
                    <a:pt x="8901" y="0"/>
                  </a:cubicBezTo>
                  <a:cubicBezTo>
                    <a:pt x="8901" y="0"/>
                    <a:pt x="94945" y="53407"/>
                    <a:pt x="142417" y="53407"/>
                  </a:cubicBezTo>
                  <a:cubicBezTo>
                    <a:pt x="180989" y="53407"/>
                    <a:pt x="210660" y="32637"/>
                    <a:pt x="210660" y="32637"/>
                  </a:cubicBezTo>
                  <a:cubicBezTo>
                    <a:pt x="213627" y="29670"/>
                    <a:pt x="216593" y="32637"/>
                    <a:pt x="219560" y="32637"/>
                  </a:cubicBezTo>
                  <a:cubicBezTo>
                    <a:pt x="222527" y="35604"/>
                    <a:pt x="219560" y="38572"/>
                    <a:pt x="219560" y="41538"/>
                  </a:cubicBezTo>
                  <a:cubicBezTo>
                    <a:pt x="216593" y="47472"/>
                    <a:pt x="183956" y="68242"/>
                    <a:pt x="145384" y="68242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7DE31E08-E15D-45C2-8F38-13A121EBF16E}"/>
                </a:ext>
              </a:extLst>
            </p:cNvPr>
            <p:cNvSpPr/>
            <p:nvPr/>
          </p:nvSpPr>
          <p:spPr>
            <a:xfrm>
              <a:off x="10432196" y="8178662"/>
              <a:ext cx="76233" cy="109991"/>
            </a:xfrm>
            <a:custGeom>
              <a:avLst/>
              <a:gdLst>
                <a:gd name="connsiteX0" fmla="*/ 65198 w 76233"/>
                <a:gd name="connsiteY0" fmla="*/ 17557 h 109991"/>
                <a:gd name="connsiteX1" fmla="*/ 8824 w 76233"/>
                <a:gd name="connsiteY1" fmla="*/ 5688 h 109991"/>
                <a:gd name="connsiteX2" fmla="*/ 62230 w 76233"/>
                <a:gd name="connsiteY2" fmla="*/ 106568 h 109991"/>
                <a:gd name="connsiteX3" fmla="*/ 65198 w 76233"/>
                <a:gd name="connsiteY3" fmla="*/ 17557 h 10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33" h="109991">
                  <a:moveTo>
                    <a:pt x="65198" y="17557"/>
                  </a:moveTo>
                  <a:cubicBezTo>
                    <a:pt x="65198" y="17557"/>
                    <a:pt x="32560" y="-12114"/>
                    <a:pt x="8824" y="5688"/>
                  </a:cubicBezTo>
                  <a:cubicBezTo>
                    <a:pt x="-17879" y="23491"/>
                    <a:pt x="20692" y="130303"/>
                    <a:pt x="62230" y="106568"/>
                  </a:cubicBezTo>
                  <a:cubicBezTo>
                    <a:pt x="91901" y="88765"/>
                    <a:pt x="65198" y="17557"/>
                    <a:pt x="65198" y="17557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159CCBA7-1195-483C-9F85-6C15A3925124}"/>
                </a:ext>
              </a:extLst>
            </p:cNvPr>
            <p:cNvSpPr/>
            <p:nvPr/>
          </p:nvSpPr>
          <p:spPr>
            <a:xfrm>
              <a:off x="10439884" y="7823532"/>
              <a:ext cx="501427" cy="372687"/>
            </a:xfrm>
            <a:custGeom>
              <a:avLst/>
              <a:gdLst>
                <a:gd name="connsiteX0" fmla="*/ 4103 w 501427"/>
                <a:gd name="connsiteY0" fmla="*/ 289610 h 372687"/>
                <a:gd name="connsiteX1" fmla="*/ 57509 w 501427"/>
                <a:gd name="connsiteY1" fmla="*/ 372687 h 372687"/>
                <a:gd name="connsiteX2" fmla="*/ 107949 w 501427"/>
                <a:gd name="connsiteY2" fmla="*/ 254006 h 372687"/>
                <a:gd name="connsiteX3" fmla="*/ 116850 w 501427"/>
                <a:gd name="connsiteY3" fmla="*/ 251039 h 372687"/>
                <a:gd name="connsiteX4" fmla="*/ 193993 w 501427"/>
                <a:gd name="connsiteY4" fmla="*/ 227302 h 372687"/>
                <a:gd name="connsiteX5" fmla="*/ 205861 w 501427"/>
                <a:gd name="connsiteY5" fmla="*/ 224336 h 372687"/>
                <a:gd name="connsiteX6" fmla="*/ 241466 w 501427"/>
                <a:gd name="connsiteY6" fmla="*/ 245105 h 372687"/>
                <a:gd name="connsiteX7" fmla="*/ 259267 w 501427"/>
                <a:gd name="connsiteY7" fmla="*/ 236204 h 372687"/>
                <a:gd name="connsiteX8" fmla="*/ 309707 w 501427"/>
                <a:gd name="connsiteY8" fmla="*/ 254006 h 372687"/>
                <a:gd name="connsiteX9" fmla="*/ 345312 w 501427"/>
                <a:gd name="connsiteY9" fmla="*/ 262907 h 372687"/>
                <a:gd name="connsiteX10" fmla="*/ 357180 w 501427"/>
                <a:gd name="connsiteY10" fmla="*/ 262907 h 372687"/>
                <a:gd name="connsiteX11" fmla="*/ 369048 w 501427"/>
                <a:gd name="connsiteY11" fmla="*/ 259940 h 372687"/>
                <a:gd name="connsiteX12" fmla="*/ 377948 w 501427"/>
                <a:gd name="connsiteY12" fmla="*/ 265874 h 372687"/>
                <a:gd name="connsiteX13" fmla="*/ 383883 w 501427"/>
                <a:gd name="connsiteY13" fmla="*/ 271808 h 372687"/>
                <a:gd name="connsiteX14" fmla="*/ 389817 w 501427"/>
                <a:gd name="connsiteY14" fmla="*/ 274775 h 372687"/>
                <a:gd name="connsiteX15" fmla="*/ 395751 w 501427"/>
                <a:gd name="connsiteY15" fmla="*/ 277742 h 372687"/>
                <a:gd name="connsiteX16" fmla="*/ 401685 w 501427"/>
                <a:gd name="connsiteY16" fmla="*/ 286643 h 372687"/>
                <a:gd name="connsiteX17" fmla="*/ 419488 w 501427"/>
                <a:gd name="connsiteY17" fmla="*/ 307412 h 372687"/>
                <a:gd name="connsiteX18" fmla="*/ 446191 w 501427"/>
                <a:gd name="connsiteY18" fmla="*/ 319281 h 372687"/>
                <a:gd name="connsiteX19" fmla="*/ 461026 w 501427"/>
                <a:gd name="connsiteY19" fmla="*/ 372687 h 372687"/>
                <a:gd name="connsiteX20" fmla="*/ 469927 w 501427"/>
                <a:gd name="connsiteY20" fmla="*/ 343017 h 372687"/>
                <a:gd name="connsiteX21" fmla="*/ 478828 w 501427"/>
                <a:gd name="connsiteY21" fmla="*/ 340050 h 372687"/>
                <a:gd name="connsiteX22" fmla="*/ 499597 w 501427"/>
                <a:gd name="connsiteY22" fmla="*/ 245105 h 372687"/>
                <a:gd name="connsiteX23" fmla="*/ 481794 w 501427"/>
                <a:gd name="connsiteY23" fmla="*/ 203566 h 372687"/>
                <a:gd name="connsiteX24" fmla="*/ 487729 w 501427"/>
                <a:gd name="connsiteY24" fmla="*/ 170929 h 372687"/>
                <a:gd name="connsiteX25" fmla="*/ 481794 w 501427"/>
                <a:gd name="connsiteY25" fmla="*/ 135325 h 372687"/>
                <a:gd name="connsiteX26" fmla="*/ 463993 w 501427"/>
                <a:gd name="connsiteY26" fmla="*/ 105654 h 372687"/>
                <a:gd name="connsiteX27" fmla="*/ 449158 w 501427"/>
                <a:gd name="connsiteY27" fmla="*/ 64116 h 372687"/>
                <a:gd name="connsiteX28" fmla="*/ 389817 w 501427"/>
                <a:gd name="connsiteY28" fmla="*/ 40379 h 372687"/>
                <a:gd name="connsiteX29" fmla="*/ 271136 w 501427"/>
                <a:gd name="connsiteY29" fmla="*/ 1808 h 372687"/>
                <a:gd name="connsiteX30" fmla="*/ 259267 w 501427"/>
                <a:gd name="connsiteY30" fmla="*/ 7742 h 372687"/>
                <a:gd name="connsiteX31" fmla="*/ 202894 w 501427"/>
                <a:gd name="connsiteY31" fmla="*/ 19610 h 372687"/>
                <a:gd name="connsiteX32" fmla="*/ 170256 w 501427"/>
                <a:gd name="connsiteY32" fmla="*/ 22577 h 372687"/>
                <a:gd name="connsiteX33" fmla="*/ 140586 w 501427"/>
                <a:gd name="connsiteY33" fmla="*/ 52248 h 372687"/>
                <a:gd name="connsiteX34" fmla="*/ 125750 w 501427"/>
                <a:gd name="connsiteY34" fmla="*/ 70050 h 372687"/>
                <a:gd name="connsiteX35" fmla="*/ 96080 w 501427"/>
                <a:gd name="connsiteY35" fmla="*/ 90819 h 372687"/>
                <a:gd name="connsiteX36" fmla="*/ 84212 w 501427"/>
                <a:gd name="connsiteY36" fmla="*/ 87852 h 372687"/>
                <a:gd name="connsiteX37" fmla="*/ 66410 w 501427"/>
                <a:gd name="connsiteY37" fmla="*/ 126424 h 372687"/>
                <a:gd name="connsiteX38" fmla="*/ 4103 w 501427"/>
                <a:gd name="connsiteY38" fmla="*/ 289610 h 372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01427" h="372687">
                  <a:moveTo>
                    <a:pt x="4103" y="289610"/>
                  </a:moveTo>
                  <a:cubicBezTo>
                    <a:pt x="15971" y="343017"/>
                    <a:pt x="57509" y="372687"/>
                    <a:pt x="57509" y="372687"/>
                  </a:cubicBezTo>
                  <a:cubicBezTo>
                    <a:pt x="51575" y="343017"/>
                    <a:pt x="107949" y="254006"/>
                    <a:pt x="107949" y="254006"/>
                  </a:cubicBezTo>
                  <a:cubicBezTo>
                    <a:pt x="107949" y="254006"/>
                    <a:pt x="110915" y="254006"/>
                    <a:pt x="116850" y="251039"/>
                  </a:cubicBezTo>
                  <a:cubicBezTo>
                    <a:pt x="143553" y="251039"/>
                    <a:pt x="170256" y="242138"/>
                    <a:pt x="193993" y="227302"/>
                  </a:cubicBezTo>
                  <a:cubicBezTo>
                    <a:pt x="196960" y="227302"/>
                    <a:pt x="202894" y="224336"/>
                    <a:pt x="205861" y="224336"/>
                  </a:cubicBezTo>
                  <a:cubicBezTo>
                    <a:pt x="211795" y="236204"/>
                    <a:pt x="223663" y="248072"/>
                    <a:pt x="241466" y="245105"/>
                  </a:cubicBezTo>
                  <a:cubicBezTo>
                    <a:pt x="250366" y="245105"/>
                    <a:pt x="253333" y="236204"/>
                    <a:pt x="259267" y="236204"/>
                  </a:cubicBezTo>
                  <a:cubicBezTo>
                    <a:pt x="280037" y="230270"/>
                    <a:pt x="291905" y="245105"/>
                    <a:pt x="309707" y="254006"/>
                  </a:cubicBezTo>
                  <a:cubicBezTo>
                    <a:pt x="321575" y="259940"/>
                    <a:pt x="333443" y="262907"/>
                    <a:pt x="345312" y="262907"/>
                  </a:cubicBezTo>
                  <a:cubicBezTo>
                    <a:pt x="348278" y="262907"/>
                    <a:pt x="354212" y="259940"/>
                    <a:pt x="357180" y="262907"/>
                  </a:cubicBezTo>
                  <a:cubicBezTo>
                    <a:pt x="363113" y="259940"/>
                    <a:pt x="366080" y="259940"/>
                    <a:pt x="369048" y="259940"/>
                  </a:cubicBezTo>
                  <a:cubicBezTo>
                    <a:pt x="372015" y="262907"/>
                    <a:pt x="374982" y="262907"/>
                    <a:pt x="377948" y="265874"/>
                  </a:cubicBezTo>
                  <a:cubicBezTo>
                    <a:pt x="380916" y="265874"/>
                    <a:pt x="380916" y="268841"/>
                    <a:pt x="383883" y="271808"/>
                  </a:cubicBezTo>
                  <a:cubicBezTo>
                    <a:pt x="386850" y="271808"/>
                    <a:pt x="386850" y="271808"/>
                    <a:pt x="389817" y="274775"/>
                  </a:cubicBezTo>
                  <a:cubicBezTo>
                    <a:pt x="392783" y="274775"/>
                    <a:pt x="395751" y="277742"/>
                    <a:pt x="395751" y="277742"/>
                  </a:cubicBezTo>
                  <a:cubicBezTo>
                    <a:pt x="398718" y="280709"/>
                    <a:pt x="398718" y="283676"/>
                    <a:pt x="401685" y="286643"/>
                  </a:cubicBezTo>
                  <a:cubicBezTo>
                    <a:pt x="407619" y="295544"/>
                    <a:pt x="410586" y="301478"/>
                    <a:pt x="419488" y="307412"/>
                  </a:cubicBezTo>
                  <a:cubicBezTo>
                    <a:pt x="425421" y="313347"/>
                    <a:pt x="437289" y="316313"/>
                    <a:pt x="446191" y="319281"/>
                  </a:cubicBezTo>
                  <a:cubicBezTo>
                    <a:pt x="461026" y="337083"/>
                    <a:pt x="466959" y="354885"/>
                    <a:pt x="461026" y="372687"/>
                  </a:cubicBezTo>
                  <a:cubicBezTo>
                    <a:pt x="461026" y="372687"/>
                    <a:pt x="463993" y="360819"/>
                    <a:pt x="469927" y="343017"/>
                  </a:cubicBezTo>
                  <a:cubicBezTo>
                    <a:pt x="472894" y="345984"/>
                    <a:pt x="475861" y="345984"/>
                    <a:pt x="478828" y="340050"/>
                  </a:cubicBezTo>
                  <a:cubicBezTo>
                    <a:pt x="496630" y="313347"/>
                    <a:pt x="505531" y="280709"/>
                    <a:pt x="499597" y="245105"/>
                  </a:cubicBezTo>
                  <a:cubicBezTo>
                    <a:pt x="496630" y="230270"/>
                    <a:pt x="487729" y="218401"/>
                    <a:pt x="481794" y="203566"/>
                  </a:cubicBezTo>
                  <a:cubicBezTo>
                    <a:pt x="475861" y="185764"/>
                    <a:pt x="484762" y="185764"/>
                    <a:pt x="487729" y="170929"/>
                  </a:cubicBezTo>
                  <a:cubicBezTo>
                    <a:pt x="490696" y="159061"/>
                    <a:pt x="484762" y="147193"/>
                    <a:pt x="481794" y="135325"/>
                  </a:cubicBezTo>
                  <a:cubicBezTo>
                    <a:pt x="475861" y="126424"/>
                    <a:pt x="469927" y="117522"/>
                    <a:pt x="463993" y="105654"/>
                  </a:cubicBezTo>
                  <a:cubicBezTo>
                    <a:pt x="455091" y="87852"/>
                    <a:pt x="455091" y="78951"/>
                    <a:pt x="449158" y="64116"/>
                  </a:cubicBezTo>
                  <a:cubicBezTo>
                    <a:pt x="437289" y="37413"/>
                    <a:pt x="413553" y="40379"/>
                    <a:pt x="389817" y="40379"/>
                  </a:cubicBezTo>
                  <a:cubicBezTo>
                    <a:pt x="348278" y="40379"/>
                    <a:pt x="312674" y="-10060"/>
                    <a:pt x="271136" y="1808"/>
                  </a:cubicBezTo>
                  <a:cubicBezTo>
                    <a:pt x="265201" y="1808"/>
                    <a:pt x="262234" y="4775"/>
                    <a:pt x="259267" y="7742"/>
                  </a:cubicBezTo>
                  <a:cubicBezTo>
                    <a:pt x="241466" y="16643"/>
                    <a:pt x="223663" y="22577"/>
                    <a:pt x="202894" y="19610"/>
                  </a:cubicBezTo>
                  <a:cubicBezTo>
                    <a:pt x="191026" y="19610"/>
                    <a:pt x="182125" y="16643"/>
                    <a:pt x="170256" y="22577"/>
                  </a:cubicBezTo>
                  <a:cubicBezTo>
                    <a:pt x="155421" y="28511"/>
                    <a:pt x="149487" y="40379"/>
                    <a:pt x="140586" y="52248"/>
                  </a:cubicBezTo>
                  <a:cubicBezTo>
                    <a:pt x="137619" y="58182"/>
                    <a:pt x="131685" y="64116"/>
                    <a:pt x="125750" y="70050"/>
                  </a:cubicBezTo>
                  <a:cubicBezTo>
                    <a:pt x="113883" y="75984"/>
                    <a:pt x="104982" y="81918"/>
                    <a:pt x="96080" y="90819"/>
                  </a:cubicBezTo>
                  <a:cubicBezTo>
                    <a:pt x="96080" y="87852"/>
                    <a:pt x="102015" y="75984"/>
                    <a:pt x="84212" y="87852"/>
                  </a:cubicBezTo>
                  <a:cubicBezTo>
                    <a:pt x="69377" y="96753"/>
                    <a:pt x="63444" y="111588"/>
                    <a:pt x="66410" y="126424"/>
                  </a:cubicBezTo>
                  <a:cubicBezTo>
                    <a:pt x="4103" y="147193"/>
                    <a:pt x="-7766" y="233236"/>
                    <a:pt x="4103" y="289610"/>
                  </a:cubicBezTo>
                  <a:close/>
                </a:path>
              </a:pathLst>
            </a:custGeom>
            <a:solidFill>
              <a:srgbClr val="664241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B62F9672-0C68-4C21-BE86-559850D31F8F}"/>
                </a:ext>
              </a:extLst>
            </p:cNvPr>
            <p:cNvSpPr/>
            <p:nvPr/>
          </p:nvSpPr>
          <p:spPr>
            <a:xfrm>
              <a:off x="10637586" y="8377949"/>
              <a:ext cx="112005" cy="37829"/>
            </a:xfrm>
            <a:custGeom>
              <a:avLst/>
              <a:gdLst>
                <a:gd name="connsiteX0" fmla="*/ 79368 w 112005"/>
                <a:gd name="connsiteY0" fmla="*/ 37830 h 37829"/>
                <a:gd name="connsiteX1" fmla="*/ 2225 w 112005"/>
                <a:gd name="connsiteY1" fmla="*/ 11127 h 37829"/>
                <a:gd name="connsiteX2" fmla="*/ 2225 w 112005"/>
                <a:gd name="connsiteY2" fmla="*/ 2225 h 37829"/>
                <a:gd name="connsiteX3" fmla="*/ 11126 w 112005"/>
                <a:gd name="connsiteY3" fmla="*/ 2225 h 37829"/>
                <a:gd name="connsiteX4" fmla="*/ 106071 w 112005"/>
                <a:gd name="connsiteY4" fmla="*/ 22995 h 37829"/>
                <a:gd name="connsiteX5" fmla="*/ 112005 w 112005"/>
                <a:gd name="connsiteY5" fmla="*/ 28929 h 37829"/>
                <a:gd name="connsiteX6" fmla="*/ 106071 w 112005"/>
                <a:gd name="connsiteY6" fmla="*/ 34863 h 37829"/>
                <a:gd name="connsiteX7" fmla="*/ 79368 w 112005"/>
                <a:gd name="connsiteY7" fmla="*/ 37830 h 37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005" h="37829">
                  <a:moveTo>
                    <a:pt x="79368" y="37830"/>
                  </a:moveTo>
                  <a:cubicBezTo>
                    <a:pt x="55632" y="37830"/>
                    <a:pt x="22994" y="31896"/>
                    <a:pt x="2225" y="11127"/>
                  </a:cubicBezTo>
                  <a:cubicBezTo>
                    <a:pt x="-742" y="8159"/>
                    <a:pt x="-742" y="5192"/>
                    <a:pt x="2225" y="2225"/>
                  </a:cubicBezTo>
                  <a:cubicBezTo>
                    <a:pt x="5192" y="-742"/>
                    <a:pt x="8159" y="-742"/>
                    <a:pt x="11126" y="2225"/>
                  </a:cubicBezTo>
                  <a:cubicBezTo>
                    <a:pt x="43764" y="34863"/>
                    <a:pt x="106071" y="22995"/>
                    <a:pt x="106071" y="22995"/>
                  </a:cubicBezTo>
                  <a:cubicBezTo>
                    <a:pt x="109038" y="22995"/>
                    <a:pt x="112005" y="22995"/>
                    <a:pt x="112005" y="28929"/>
                  </a:cubicBezTo>
                  <a:cubicBezTo>
                    <a:pt x="112005" y="31896"/>
                    <a:pt x="112005" y="34863"/>
                    <a:pt x="106071" y="34863"/>
                  </a:cubicBezTo>
                  <a:cubicBezTo>
                    <a:pt x="106071" y="34863"/>
                    <a:pt x="94203" y="37830"/>
                    <a:pt x="79368" y="37830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6" name="图形 1">
              <a:extLst>
                <a:ext uri="{FF2B5EF4-FFF2-40B4-BE49-F238E27FC236}">
                  <a16:creationId xmlns:a16="http://schemas.microsoft.com/office/drawing/2014/main" id="{A3D9BD7D-2E08-437C-8964-222086664784}"/>
                </a:ext>
              </a:extLst>
            </p:cNvPr>
            <p:cNvGrpSpPr/>
            <p:nvPr/>
          </p:nvGrpSpPr>
          <p:grpSpPr>
            <a:xfrm>
              <a:off x="10439467" y="7825340"/>
              <a:ext cx="595430" cy="370879"/>
              <a:chOff x="10439467" y="7825340"/>
              <a:chExt cx="595430" cy="370879"/>
            </a:xfrm>
          </p:grpSpPr>
          <p:grpSp>
            <p:nvGrpSpPr>
              <p:cNvPr id="75" name="图形 1">
                <a:extLst>
                  <a:ext uri="{FF2B5EF4-FFF2-40B4-BE49-F238E27FC236}">
                    <a16:creationId xmlns:a16="http://schemas.microsoft.com/office/drawing/2014/main" id="{7FA463CE-105B-4CF1-B3CC-4EEAD2E23178}"/>
                  </a:ext>
                </a:extLst>
              </p:cNvPr>
              <p:cNvGrpSpPr/>
              <p:nvPr/>
            </p:nvGrpSpPr>
            <p:grpSpPr>
              <a:xfrm>
                <a:off x="10439467" y="7825340"/>
                <a:ext cx="590148" cy="370879"/>
                <a:chOff x="10439467" y="7825340"/>
                <a:chExt cx="590148" cy="370879"/>
              </a:xfrm>
            </p:grpSpPr>
            <p:sp>
              <p:nvSpPr>
                <p:cNvPr id="77" name="任意多边形: 形状 76">
                  <a:extLst>
                    <a:ext uri="{FF2B5EF4-FFF2-40B4-BE49-F238E27FC236}">
                      <a16:creationId xmlns:a16="http://schemas.microsoft.com/office/drawing/2014/main" id="{70B5FDE7-7211-43F6-9FB7-1335353BFCB2}"/>
                    </a:ext>
                  </a:extLst>
                </p:cNvPr>
                <p:cNvSpPr/>
                <p:nvPr/>
              </p:nvSpPr>
              <p:spPr>
                <a:xfrm>
                  <a:off x="10439467" y="7827954"/>
                  <a:ext cx="479272" cy="368265"/>
                </a:xfrm>
                <a:custGeom>
                  <a:avLst/>
                  <a:gdLst>
                    <a:gd name="connsiteX0" fmla="*/ 96497 w 479272"/>
                    <a:gd name="connsiteY0" fmla="*/ 211012 h 368265"/>
                    <a:gd name="connsiteX1" fmla="*/ 60893 w 479272"/>
                    <a:gd name="connsiteY1" fmla="*/ 368265 h 368265"/>
                    <a:gd name="connsiteX2" fmla="*/ 34190 w 479272"/>
                    <a:gd name="connsiteY2" fmla="*/ 353430 h 368265"/>
                    <a:gd name="connsiteX3" fmla="*/ 123201 w 479272"/>
                    <a:gd name="connsiteY3" fmla="*/ 35957 h 368265"/>
                    <a:gd name="connsiteX4" fmla="*/ 479245 w 479272"/>
                    <a:gd name="connsiteY4" fmla="*/ 130902 h 368265"/>
                    <a:gd name="connsiteX5" fmla="*/ 96497 w 479272"/>
                    <a:gd name="connsiteY5" fmla="*/ 211012 h 368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9272" h="368265">
                      <a:moveTo>
                        <a:pt x="96497" y="211012"/>
                      </a:moveTo>
                      <a:cubicBezTo>
                        <a:pt x="81662" y="225847"/>
                        <a:pt x="63860" y="302990"/>
                        <a:pt x="60893" y="368265"/>
                      </a:cubicBezTo>
                      <a:cubicBezTo>
                        <a:pt x="60893" y="368265"/>
                        <a:pt x="49025" y="359364"/>
                        <a:pt x="34190" y="353430"/>
                      </a:cubicBezTo>
                      <a:cubicBezTo>
                        <a:pt x="-1415" y="291122"/>
                        <a:pt x="-48888" y="136836"/>
                        <a:pt x="123201" y="35957"/>
                      </a:cubicBezTo>
                      <a:cubicBezTo>
                        <a:pt x="271553" y="-50087"/>
                        <a:pt x="416937" y="32990"/>
                        <a:pt x="479245" y="130902"/>
                      </a:cubicBezTo>
                      <a:cubicBezTo>
                        <a:pt x="482211" y="130902"/>
                        <a:pt x="241882" y="62661"/>
                        <a:pt x="96497" y="21101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: 形状 77">
                  <a:extLst>
                    <a:ext uri="{FF2B5EF4-FFF2-40B4-BE49-F238E27FC236}">
                      <a16:creationId xmlns:a16="http://schemas.microsoft.com/office/drawing/2014/main" id="{886F53B6-ABDC-4DEC-B6C4-BF5B3FD1CBF4}"/>
                    </a:ext>
                  </a:extLst>
                </p:cNvPr>
                <p:cNvSpPr/>
                <p:nvPr/>
              </p:nvSpPr>
              <p:spPr>
                <a:xfrm>
                  <a:off x="10521129" y="7862551"/>
                  <a:ext cx="508487" cy="247624"/>
                </a:xfrm>
                <a:custGeom>
                  <a:avLst/>
                  <a:gdLst>
                    <a:gd name="connsiteX0" fmla="*/ 0 w 508487"/>
                    <a:gd name="connsiteY0" fmla="*/ 188283 h 247624"/>
                    <a:gd name="connsiteX1" fmla="*/ 195824 w 508487"/>
                    <a:gd name="connsiteY1" fmla="*/ 42899 h 247624"/>
                    <a:gd name="connsiteX2" fmla="*/ 504396 w 508487"/>
                    <a:gd name="connsiteY2" fmla="*/ 63668 h 247624"/>
                    <a:gd name="connsiteX3" fmla="*/ 418352 w 508487"/>
                    <a:gd name="connsiteY3" fmla="*/ 247624 h 247624"/>
                    <a:gd name="connsiteX4" fmla="*/ 0 w 508487"/>
                    <a:gd name="connsiteY4" fmla="*/ 188283 h 2476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8487" h="247624">
                      <a:moveTo>
                        <a:pt x="0" y="188283"/>
                      </a:moveTo>
                      <a:cubicBezTo>
                        <a:pt x="0" y="188283"/>
                        <a:pt x="56374" y="108174"/>
                        <a:pt x="195824" y="42899"/>
                      </a:cubicBezTo>
                      <a:cubicBezTo>
                        <a:pt x="341209" y="-25343"/>
                        <a:pt x="477693" y="-7540"/>
                        <a:pt x="504396" y="63668"/>
                      </a:cubicBezTo>
                      <a:cubicBezTo>
                        <a:pt x="531100" y="134877"/>
                        <a:pt x="418352" y="247624"/>
                        <a:pt x="418352" y="247624"/>
                      </a:cubicBezTo>
                      <a:cubicBezTo>
                        <a:pt x="418352" y="247624"/>
                        <a:pt x="258132" y="81471"/>
                        <a:pt x="0" y="18828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9" name="任意多边形: 形状 78">
                  <a:extLst>
                    <a:ext uri="{FF2B5EF4-FFF2-40B4-BE49-F238E27FC236}">
                      <a16:creationId xmlns:a16="http://schemas.microsoft.com/office/drawing/2014/main" id="{B6F70B94-2345-4ACE-B1DA-262D04A1F297}"/>
                    </a:ext>
                  </a:extLst>
                </p:cNvPr>
                <p:cNvSpPr/>
                <p:nvPr/>
              </p:nvSpPr>
              <p:spPr>
                <a:xfrm>
                  <a:off x="10532998" y="7825340"/>
                  <a:ext cx="56373" cy="53406"/>
                </a:xfrm>
                <a:custGeom>
                  <a:avLst/>
                  <a:gdLst>
                    <a:gd name="connsiteX0" fmla="*/ 0 w 56373"/>
                    <a:gd name="connsiteY0" fmla="*/ 26703 h 53406"/>
                    <a:gd name="connsiteX1" fmla="*/ 29670 w 56373"/>
                    <a:gd name="connsiteY1" fmla="*/ 0 h 53406"/>
                    <a:gd name="connsiteX2" fmla="*/ 56373 w 56373"/>
                    <a:gd name="connsiteY2" fmla="*/ 26703 h 53406"/>
                    <a:gd name="connsiteX3" fmla="*/ 26703 w 56373"/>
                    <a:gd name="connsiteY3" fmla="*/ 53406 h 53406"/>
                    <a:gd name="connsiteX4" fmla="*/ 0 w 56373"/>
                    <a:gd name="connsiteY4" fmla="*/ 26703 h 5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373" h="53406">
                      <a:moveTo>
                        <a:pt x="0" y="26703"/>
                      </a:moveTo>
                      <a:cubicBezTo>
                        <a:pt x="0" y="11868"/>
                        <a:pt x="11868" y="0"/>
                        <a:pt x="29670" y="0"/>
                      </a:cubicBezTo>
                      <a:cubicBezTo>
                        <a:pt x="44505" y="0"/>
                        <a:pt x="56373" y="11868"/>
                        <a:pt x="56373" y="26703"/>
                      </a:cubicBezTo>
                      <a:cubicBezTo>
                        <a:pt x="56373" y="41538"/>
                        <a:pt x="44505" y="53406"/>
                        <a:pt x="26703" y="53406"/>
                      </a:cubicBezTo>
                      <a:cubicBezTo>
                        <a:pt x="11868" y="53406"/>
                        <a:pt x="0" y="41538"/>
                        <a:pt x="0" y="26703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AE8E6D6A-0763-4337-8D36-99908C83173A}"/>
                  </a:ext>
                </a:extLst>
              </p:cNvPr>
              <p:cNvSpPr/>
              <p:nvPr/>
            </p:nvSpPr>
            <p:spPr>
              <a:xfrm>
                <a:off x="10518904" y="7855218"/>
                <a:ext cx="515993" cy="260890"/>
              </a:xfrm>
              <a:custGeom>
                <a:avLst/>
                <a:gdLst>
                  <a:gd name="connsiteX0" fmla="*/ 420577 w 515993"/>
                  <a:gd name="connsiteY0" fmla="*/ 260890 h 260890"/>
                  <a:gd name="connsiteX1" fmla="*/ 417609 w 515993"/>
                  <a:gd name="connsiteY1" fmla="*/ 260890 h 260890"/>
                  <a:gd name="connsiteX2" fmla="*/ 417609 w 515993"/>
                  <a:gd name="connsiteY2" fmla="*/ 251990 h 260890"/>
                  <a:gd name="connsiteX3" fmla="*/ 503654 w 515993"/>
                  <a:gd name="connsiteY3" fmla="*/ 73968 h 260890"/>
                  <a:gd name="connsiteX4" fmla="*/ 331566 w 515993"/>
                  <a:gd name="connsiteY4" fmla="*/ 20561 h 260890"/>
                  <a:gd name="connsiteX5" fmla="*/ 11126 w 515993"/>
                  <a:gd name="connsiteY5" fmla="*/ 198583 h 260890"/>
                  <a:gd name="connsiteX6" fmla="*/ 2225 w 515993"/>
                  <a:gd name="connsiteY6" fmla="*/ 198583 h 260890"/>
                  <a:gd name="connsiteX7" fmla="*/ 2225 w 515993"/>
                  <a:gd name="connsiteY7" fmla="*/ 189682 h 260890"/>
                  <a:gd name="connsiteX8" fmla="*/ 328598 w 515993"/>
                  <a:gd name="connsiteY8" fmla="*/ 5726 h 260890"/>
                  <a:gd name="connsiteX9" fmla="*/ 512555 w 515993"/>
                  <a:gd name="connsiteY9" fmla="*/ 65067 h 260890"/>
                  <a:gd name="connsiteX10" fmla="*/ 426511 w 515993"/>
                  <a:gd name="connsiteY10" fmla="*/ 254956 h 260890"/>
                  <a:gd name="connsiteX11" fmla="*/ 420577 w 515993"/>
                  <a:gd name="connsiteY11" fmla="*/ 260890 h 260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15993" h="260890">
                    <a:moveTo>
                      <a:pt x="420577" y="260890"/>
                    </a:moveTo>
                    <a:cubicBezTo>
                      <a:pt x="420577" y="260890"/>
                      <a:pt x="417609" y="260890"/>
                      <a:pt x="417609" y="260890"/>
                    </a:cubicBezTo>
                    <a:cubicBezTo>
                      <a:pt x="414643" y="257924"/>
                      <a:pt x="414643" y="254956"/>
                      <a:pt x="417609" y="251990"/>
                    </a:cubicBezTo>
                    <a:cubicBezTo>
                      <a:pt x="417609" y="251990"/>
                      <a:pt x="524423" y="130341"/>
                      <a:pt x="503654" y="73968"/>
                    </a:cubicBezTo>
                    <a:cubicBezTo>
                      <a:pt x="476950" y="5726"/>
                      <a:pt x="376071" y="14627"/>
                      <a:pt x="331566" y="20561"/>
                    </a:cubicBezTo>
                    <a:cubicBezTo>
                      <a:pt x="242555" y="35396"/>
                      <a:pt x="114973" y="68033"/>
                      <a:pt x="11126" y="198583"/>
                    </a:cubicBezTo>
                    <a:cubicBezTo>
                      <a:pt x="8159" y="201550"/>
                      <a:pt x="5192" y="201550"/>
                      <a:pt x="2225" y="198583"/>
                    </a:cubicBezTo>
                    <a:cubicBezTo>
                      <a:pt x="-742" y="195616"/>
                      <a:pt x="-742" y="192649"/>
                      <a:pt x="2225" y="189682"/>
                    </a:cubicBezTo>
                    <a:cubicBezTo>
                      <a:pt x="109038" y="56165"/>
                      <a:pt x="239587" y="20561"/>
                      <a:pt x="328598" y="5726"/>
                    </a:cubicBezTo>
                    <a:cubicBezTo>
                      <a:pt x="373104" y="-3175"/>
                      <a:pt x="482884" y="-12077"/>
                      <a:pt x="512555" y="65067"/>
                    </a:cubicBezTo>
                    <a:cubicBezTo>
                      <a:pt x="536291" y="127374"/>
                      <a:pt x="429478" y="249022"/>
                      <a:pt x="426511" y="254956"/>
                    </a:cubicBezTo>
                    <a:cubicBezTo>
                      <a:pt x="423544" y="260890"/>
                      <a:pt x="420577" y="260890"/>
                      <a:pt x="420577" y="260890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69A1488A-051D-4F2D-B237-C38FBE3213EB}"/>
                </a:ext>
              </a:extLst>
            </p:cNvPr>
            <p:cNvSpPr/>
            <p:nvPr/>
          </p:nvSpPr>
          <p:spPr>
            <a:xfrm>
              <a:off x="10699982" y="8002606"/>
              <a:ext cx="245433" cy="124506"/>
            </a:xfrm>
            <a:custGeom>
              <a:avLst/>
              <a:gdLst>
                <a:gd name="connsiteX0" fmla="*/ 236532 w 245433"/>
                <a:gd name="connsiteY0" fmla="*/ 68998 h 124506"/>
                <a:gd name="connsiteX1" fmla="*/ 197961 w 245433"/>
                <a:gd name="connsiteY1" fmla="*/ 27459 h 124506"/>
                <a:gd name="connsiteX2" fmla="*/ 159390 w 245433"/>
                <a:gd name="connsiteY2" fmla="*/ 12624 h 124506"/>
                <a:gd name="connsiteX3" fmla="*/ 114884 w 245433"/>
                <a:gd name="connsiteY3" fmla="*/ 18558 h 124506"/>
                <a:gd name="connsiteX4" fmla="*/ 52576 w 245433"/>
                <a:gd name="connsiteY4" fmla="*/ 756 h 124506"/>
                <a:gd name="connsiteX5" fmla="*/ 5104 w 245433"/>
                <a:gd name="connsiteY5" fmla="*/ 15591 h 124506"/>
                <a:gd name="connsiteX6" fmla="*/ 25873 w 245433"/>
                <a:gd name="connsiteY6" fmla="*/ 36360 h 124506"/>
                <a:gd name="connsiteX7" fmla="*/ 111917 w 245433"/>
                <a:gd name="connsiteY7" fmla="*/ 54162 h 124506"/>
                <a:gd name="connsiteX8" fmla="*/ 120818 w 245433"/>
                <a:gd name="connsiteY8" fmla="*/ 51196 h 124506"/>
                <a:gd name="connsiteX9" fmla="*/ 126752 w 245433"/>
                <a:gd name="connsiteY9" fmla="*/ 60097 h 124506"/>
                <a:gd name="connsiteX10" fmla="*/ 206861 w 245433"/>
                <a:gd name="connsiteY10" fmla="*/ 95701 h 124506"/>
                <a:gd name="connsiteX11" fmla="*/ 209829 w 245433"/>
                <a:gd name="connsiteY11" fmla="*/ 98668 h 124506"/>
                <a:gd name="connsiteX12" fmla="*/ 209829 w 245433"/>
                <a:gd name="connsiteY12" fmla="*/ 101635 h 124506"/>
                <a:gd name="connsiteX13" fmla="*/ 236532 w 245433"/>
                <a:gd name="connsiteY13" fmla="*/ 116470 h 124506"/>
                <a:gd name="connsiteX14" fmla="*/ 245433 w 245433"/>
                <a:gd name="connsiteY14" fmla="*/ 86800 h 124506"/>
                <a:gd name="connsiteX15" fmla="*/ 236532 w 245433"/>
                <a:gd name="connsiteY15" fmla="*/ 68998 h 124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5433" h="124506">
                  <a:moveTo>
                    <a:pt x="236532" y="68998"/>
                  </a:moveTo>
                  <a:cubicBezTo>
                    <a:pt x="248401" y="39327"/>
                    <a:pt x="224664" y="21525"/>
                    <a:pt x="197961" y="27459"/>
                  </a:cubicBezTo>
                  <a:cubicBezTo>
                    <a:pt x="174225" y="33393"/>
                    <a:pt x="183126" y="21525"/>
                    <a:pt x="159390" y="12624"/>
                  </a:cubicBezTo>
                  <a:cubicBezTo>
                    <a:pt x="141587" y="6690"/>
                    <a:pt x="132686" y="15591"/>
                    <a:pt x="114884" y="18558"/>
                  </a:cubicBezTo>
                  <a:cubicBezTo>
                    <a:pt x="94115" y="21525"/>
                    <a:pt x="76312" y="756"/>
                    <a:pt x="52576" y="756"/>
                  </a:cubicBezTo>
                  <a:cubicBezTo>
                    <a:pt x="34774" y="-2211"/>
                    <a:pt x="19939" y="3723"/>
                    <a:pt x="5104" y="15591"/>
                  </a:cubicBezTo>
                  <a:cubicBezTo>
                    <a:pt x="-9732" y="27459"/>
                    <a:pt x="11038" y="48228"/>
                    <a:pt x="25873" y="36360"/>
                  </a:cubicBezTo>
                  <a:cubicBezTo>
                    <a:pt x="55544" y="12624"/>
                    <a:pt x="82247" y="54162"/>
                    <a:pt x="111917" y="54162"/>
                  </a:cubicBezTo>
                  <a:cubicBezTo>
                    <a:pt x="114884" y="54162"/>
                    <a:pt x="117851" y="51196"/>
                    <a:pt x="120818" y="51196"/>
                  </a:cubicBezTo>
                  <a:cubicBezTo>
                    <a:pt x="120818" y="54162"/>
                    <a:pt x="123785" y="57130"/>
                    <a:pt x="126752" y="60097"/>
                  </a:cubicBezTo>
                  <a:cubicBezTo>
                    <a:pt x="147521" y="71965"/>
                    <a:pt x="180158" y="98668"/>
                    <a:pt x="206861" y="95701"/>
                  </a:cubicBezTo>
                  <a:cubicBezTo>
                    <a:pt x="206861" y="95701"/>
                    <a:pt x="209829" y="95701"/>
                    <a:pt x="209829" y="98668"/>
                  </a:cubicBezTo>
                  <a:cubicBezTo>
                    <a:pt x="209829" y="98668"/>
                    <a:pt x="209829" y="98668"/>
                    <a:pt x="209829" y="101635"/>
                  </a:cubicBezTo>
                  <a:cubicBezTo>
                    <a:pt x="200928" y="119438"/>
                    <a:pt x="227631" y="134273"/>
                    <a:pt x="236532" y="116470"/>
                  </a:cubicBezTo>
                  <a:cubicBezTo>
                    <a:pt x="242466" y="104602"/>
                    <a:pt x="245433" y="101635"/>
                    <a:pt x="245433" y="86800"/>
                  </a:cubicBezTo>
                  <a:cubicBezTo>
                    <a:pt x="242466" y="74932"/>
                    <a:pt x="239499" y="68998"/>
                    <a:pt x="236532" y="68998"/>
                  </a:cubicBezTo>
                  <a:close/>
                </a:path>
              </a:pathLst>
            </a:custGeom>
            <a:solidFill>
              <a:srgbClr val="664241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8" name="图形 1">
              <a:extLst>
                <a:ext uri="{FF2B5EF4-FFF2-40B4-BE49-F238E27FC236}">
                  <a16:creationId xmlns:a16="http://schemas.microsoft.com/office/drawing/2014/main" id="{D6A008D4-6429-478B-AE23-BE12E698204B}"/>
                </a:ext>
              </a:extLst>
            </p:cNvPr>
            <p:cNvGrpSpPr/>
            <p:nvPr/>
          </p:nvGrpSpPr>
          <p:grpSpPr>
            <a:xfrm>
              <a:off x="13405595" y="9920065"/>
              <a:ext cx="286551" cy="191784"/>
              <a:chOff x="13405595" y="9920065"/>
              <a:chExt cx="286551" cy="191784"/>
            </a:xfrm>
          </p:grpSpPr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15D71091-6F3A-41B6-ADB9-CCB4C486E0E2}"/>
                  </a:ext>
                </a:extLst>
              </p:cNvPr>
              <p:cNvSpPr/>
              <p:nvPr/>
            </p:nvSpPr>
            <p:spPr>
              <a:xfrm>
                <a:off x="13405595" y="9925494"/>
                <a:ext cx="286551" cy="186356"/>
              </a:xfrm>
              <a:custGeom>
                <a:avLst/>
                <a:gdLst>
                  <a:gd name="connsiteX0" fmla="*/ 219051 w 286551"/>
                  <a:gd name="connsiteY0" fmla="*/ 505 h 186356"/>
                  <a:gd name="connsiteX1" fmla="*/ 141908 w 286551"/>
                  <a:gd name="connsiteY1" fmla="*/ 6440 h 186356"/>
                  <a:gd name="connsiteX2" fmla="*/ 88502 w 286551"/>
                  <a:gd name="connsiteY2" fmla="*/ 24242 h 186356"/>
                  <a:gd name="connsiteX3" fmla="*/ 70700 w 286551"/>
                  <a:gd name="connsiteY3" fmla="*/ 53912 h 186356"/>
                  <a:gd name="connsiteX4" fmla="*/ 118172 w 286551"/>
                  <a:gd name="connsiteY4" fmla="*/ 47978 h 186356"/>
                  <a:gd name="connsiteX5" fmla="*/ 159711 w 286551"/>
                  <a:gd name="connsiteY5" fmla="*/ 68747 h 186356"/>
                  <a:gd name="connsiteX6" fmla="*/ 14326 w 286551"/>
                  <a:gd name="connsiteY6" fmla="*/ 104351 h 186356"/>
                  <a:gd name="connsiteX7" fmla="*/ 2458 w 286551"/>
                  <a:gd name="connsiteY7" fmla="*/ 122154 h 186356"/>
                  <a:gd name="connsiteX8" fmla="*/ 8392 w 286551"/>
                  <a:gd name="connsiteY8" fmla="*/ 122154 h 186356"/>
                  <a:gd name="connsiteX9" fmla="*/ 2458 w 286551"/>
                  <a:gd name="connsiteY9" fmla="*/ 136989 h 186356"/>
                  <a:gd name="connsiteX10" fmla="*/ 32128 w 286551"/>
                  <a:gd name="connsiteY10" fmla="*/ 151824 h 186356"/>
                  <a:gd name="connsiteX11" fmla="*/ 76634 w 286551"/>
                  <a:gd name="connsiteY11" fmla="*/ 154791 h 186356"/>
                  <a:gd name="connsiteX12" fmla="*/ 41029 w 286551"/>
                  <a:gd name="connsiteY12" fmla="*/ 160725 h 186356"/>
                  <a:gd name="connsiteX13" fmla="*/ 35096 w 286551"/>
                  <a:gd name="connsiteY13" fmla="*/ 175560 h 186356"/>
                  <a:gd name="connsiteX14" fmla="*/ 162678 w 286551"/>
                  <a:gd name="connsiteY14" fmla="*/ 181494 h 186356"/>
                  <a:gd name="connsiteX15" fmla="*/ 284326 w 286551"/>
                  <a:gd name="connsiteY15" fmla="*/ 95451 h 186356"/>
                  <a:gd name="connsiteX16" fmla="*/ 284326 w 286551"/>
                  <a:gd name="connsiteY16" fmla="*/ 83583 h 186356"/>
                  <a:gd name="connsiteX17" fmla="*/ 219051 w 286551"/>
                  <a:gd name="connsiteY17" fmla="*/ 505 h 186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86551" h="186356">
                    <a:moveTo>
                      <a:pt x="219051" y="505"/>
                    </a:moveTo>
                    <a:cubicBezTo>
                      <a:pt x="192348" y="3472"/>
                      <a:pt x="168612" y="3472"/>
                      <a:pt x="141908" y="6440"/>
                    </a:cubicBezTo>
                    <a:cubicBezTo>
                      <a:pt x="112238" y="9407"/>
                      <a:pt x="121139" y="9407"/>
                      <a:pt x="88502" y="24242"/>
                    </a:cubicBezTo>
                    <a:cubicBezTo>
                      <a:pt x="85535" y="27208"/>
                      <a:pt x="70700" y="50945"/>
                      <a:pt x="70700" y="53912"/>
                    </a:cubicBezTo>
                    <a:cubicBezTo>
                      <a:pt x="73667" y="59846"/>
                      <a:pt x="88502" y="65780"/>
                      <a:pt x="118172" y="47978"/>
                    </a:cubicBezTo>
                    <a:cubicBezTo>
                      <a:pt x="135975" y="50945"/>
                      <a:pt x="153777" y="65780"/>
                      <a:pt x="159711" y="68747"/>
                    </a:cubicBezTo>
                    <a:cubicBezTo>
                      <a:pt x="147843" y="107318"/>
                      <a:pt x="17293" y="80615"/>
                      <a:pt x="14326" y="104351"/>
                    </a:cubicBezTo>
                    <a:cubicBezTo>
                      <a:pt x="14326" y="107318"/>
                      <a:pt x="-509" y="119186"/>
                      <a:pt x="2458" y="122154"/>
                    </a:cubicBezTo>
                    <a:cubicBezTo>
                      <a:pt x="2458" y="122154"/>
                      <a:pt x="8392" y="122154"/>
                      <a:pt x="8392" y="122154"/>
                    </a:cubicBezTo>
                    <a:cubicBezTo>
                      <a:pt x="2458" y="125121"/>
                      <a:pt x="-3476" y="125121"/>
                      <a:pt x="2458" y="136989"/>
                    </a:cubicBezTo>
                    <a:cubicBezTo>
                      <a:pt x="5425" y="145890"/>
                      <a:pt x="20261" y="145890"/>
                      <a:pt x="32128" y="151824"/>
                    </a:cubicBezTo>
                    <a:cubicBezTo>
                      <a:pt x="46964" y="154791"/>
                      <a:pt x="61799" y="151824"/>
                      <a:pt x="76634" y="154791"/>
                    </a:cubicBezTo>
                    <a:cubicBezTo>
                      <a:pt x="70700" y="157758"/>
                      <a:pt x="43996" y="157758"/>
                      <a:pt x="41029" y="160725"/>
                    </a:cubicBezTo>
                    <a:cubicBezTo>
                      <a:pt x="38062" y="163692"/>
                      <a:pt x="35096" y="172594"/>
                      <a:pt x="35096" y="175560"/>
                    </a:cubicBezTo>
                    <a:cubicBezTo>
                      <a:pt x="43996" y="190395"/>
                      <a:pt x="133007" y="187429"/>
                      <a:pt x="162678" y="181494"/>
                    </a:cubicBezTo>
                    <a:cubicBezTo>
                      <a:pt x="210150" y="172594"/>
                      <a:pt x="257623" y="131054"/>
                      <a:pt x="284326" y="95451"/>
                    </a:cubicBezTo>
                    <a:cubicBezTo>
                      <a:pt x="287294" y="92483"/>
                      <a:pt x="287294" y="86549"/>
                      <a:pt x="284326" y="83583"/>
                    </a:cubicBezTo>
                    <a:cubicBezTo>
                      <a:pt x="290260" y="42043"/>
                      <a:pt x="269491" y="-5428"/>
                      <a:pt x="219051" y="505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21D80D12-A780-480C-AE5B-BB324B0308B9}"/>
                  </a:ext>
                </a:extLst>
              </p:cNvPr>
              <p:cNvSpPr/>
              <p:nvPr/>
            </p:nvSpPr>
            <p:spPr>
              <a:xfrm>
                <a:off x="13405827" y="10036095"/>
                <a:ext cx="141675" cy="53090"/>
              </a:xfrm>
              <a:custGeom>
                <a:avLst/>
                <a:gdLst>
                  <a:gd name="connsiteX0" fmla="*/ 120907 w 141675"/>
                  <a:gd name="connsiteY0" fmla="*/ 53090 h 53090"/>
                  <a:gd name="connsiteX1" fmla="*/ 120907 w 141675"/>
                  <a:gd name="connsiteY1" fmla="*/ 53090 h 53090"/>
                  <a:gd name="connsiteX2" fmla="*/ 37829 w 141675"/>
                  <a:gd name="connsiteY2" fmla="*/ 44189 h 53090"/>
                  <a:gd name="connsiteX3" fmla="*/ 2225 w 141675"/>
                  <a:gd name="connsiteY3" fmla="*/ 23420 h 53090"/>
                  <a:gd name="connsiteX4" fmla="*/ 2225 w 141675"/>
                  <a:gd name="connsiteY4" fmla="*/ 5617 h 53090"/>
                  <a:gd name="connsiteX5" fmla="*/ 49698 w 141675"/>
                  <a:gd name="connsiteY5" fmla="*/ 5617 h 53090"/>
                  <a:gd name="connsiteX6" fmla="*/ 135742 w 141675"/>
                  <a:gd name="connsiteY6" fmla="*/ 14519 h 53090"/>
                  <a:gd name="connsiteX7" fmla="*/ 141675 w 141675"/>
                  <a:gd name="connsiteY7" fmla="*/ 17486 h 53090"/>
                  <a:gd name="connsiteX8" fmla="*/ 138709 w 141675"/>
                  <a:gd name="connsiteY8" fmla="*/ 23420 h 53090"/>
                  <a:gd name="connsiteX9" fmla="*/ 46731 w 141675"/>
                  <a:gd name="connsiteY9" fmla="*/ 14519 h 53090"/>
                  <a:gd name="connsiteX10" fmla="*/ 14093 w 141675"/>
                  <a:gd name="connsiteY10" fmla="*/ 8585 h 53090"/>
                  <a:gd name="connsiteX11" fmla="*/ 14093 w 141675"/>
                  <a:gd name="connsiteY11" fmla="*/ 8585 h 53090"/>
                  <a:gd name="connsiteX12" fmla="*/ 14093 w 141675"/>
                  <a:gd name="connsiteY12" fmla="*/ 14519 h 53090"/>
                  <a:gd name="connsiteX13" fmla="*/ 43764 w 141675"/>
                  <a:gd name="connsiteY13" fmla="*/ 26387 h 53090"/>
                  <a:gd name="connsiteX14" fmla="*/ 126840 w 141675"/>
                  <a:gd name="connsiteY14" fmla="*/ 35288 h 53090"/>
                  <a:gd name="connsiteX15" fmla="*/ 132775 w 141675"/>
                  <a:gd name="connsiteY15" fmla="*/ 41222 h 53090"/>
                  <a:gd name="connsiteX16" fmla="*/ 120907 w 141675"/>
                  <a:gd name="connsiteY16" fmla="*/ 53090 h 53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1675" h="53090">
                    <a:moveTo>
                      <a:pt x="120907" y="53090"/>
                    </a:moveTo>
                    <a:cubicBezTo>
                      <a:pt x="120907" y="53090"/>
                      <a:pt x="120907" y="53090"/>
                      <a:pt x="120907" y="53090"/>
                    </a:cubicBezTo>
                    <a:cubicBezTo>
                      <a:pt x="117940" y="53090"/>
                      <a:pt x="61566" y="50123"/>
                      <a:pt x="37829" y="44189"/>
                    </a:cubicBezTo>
                    <a:cubicBezTo>
                      <a:pt x="17061" y="38255"/>
                      <a:pt x="5193" y="35288"/>
                      <a:pt x="2225" y="23420"/>
                    </a:cubicBezTo>
                    <a:cubicBezTo>
                      <a:pt x="-742" y="17486"/>
                      <a:pt x="-742" y="11552"/>
                      <a:pt x="2225" y="5617"/>
                    </a:cubicBezTo>
                    <a:cubicBezTo>
                      <a:pt x="5193" y="-3283"/>
                      <a:pt x="17061" y="-316"/>
                      <a:pt x="49698" y="5617"/>
                    </a:cubicBezTo>
                    <a:cubicBezTo>
                      <a:pt x="79368" y="11552"/>
                      <a:pt x="117940" y="20453"/>
                      <a:pt x="135742" y="14519"/>
                    </a:cubicBezTo>
                    <a:cubicBezTo>
                      <a:pt x="138709" y="14519"/>
                      <a:pt x="141675" y="14519"/>
                      <a:pt x="141675" y="17486"/>
                    </a:cubicBezTo>
                    <a:cubicBezTo>
                      <a:pt x="141675" y="20453"/>
                      <a:pt x="141675" y="23420"/>
                      <a:pt x="138709" y="23420"/>
                    </a:cubicBezTo>
                    <a:cubicBezTo>
                      <a:pt x="114972" y="29354"/>
                      <a:pt x="76401" y="20453"/>
                      <a:pt x="46731" y="14519"/>
                    </a:cubicBezTo>
                    <a:cubicBezTo>
                      <a:pt x="34863" y="11552"/>
                      <a:pt x="20028" y="8585"/>
                      <a:pt x="14093" y="8585"/>
                    </a:cubicBezTo>
                    <a:cubicBezTo>
                      <a:pt x="14093" y="8585"/>
                      <a:pt x="14093" y="8585"/>
                      <a:pt x="14093" y="8585"/>
                    </a:cubicBezTo>
                    <a:cubicBezTo>
                      <a:pt x="14093" y="11552"/>
                      <a:pt x="14093" y="14519"/>
                      <a:pt x="14093" y="14519"/>
                    </a:cubicBezTo>
                    <a:cubicBezTo>
                      <a:pt x="17061" y="20453"/>
                      <a:pt x="34863" y="26387"/>
                      <a:pt x="43764" y="26387"/>
                    </a:cubicBezTo>
                    <a:cubicBezTo>
                      <a:pt x="67500" y="32321"/>
                      <a:pt x="123874" y="35288"/>
                      <a:pt x="126840" y="35288"/>
                    </a:cubicBezTo>
                    <a:cubicBezTo>
                      <a:pt x="129807" y="35288"/>
                      <a:pt x="132775" y="38255"/>
                      <a:pt x="132775" y="41222"/>
                    </a:cubicBezTo>
                    <a:cubicBezTo>
                      <a:pt x="126840" y="50123"/>
                      <a:pt x="123874" y="53090"/>
                      <a:pt x="120907" y="53090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A2A3BFB1-1E68-4D34-9C2E-7636932F5454}"/>
                  </a:ext>
                </a:extLst>
              </p:cNvPr>
              <p:cNvSpPr/>
              <p:nvPr/>
            </p:nvSpPr>
            <p:spPr>
              <a:xfrm>
                <a:off x="13416954" y="9920065"/>
                <a:ext cx="166154" cy="127582"/>
              </a:xfrm>
              <a:custGeom>
                <a:avLst/>
                <a:gdLst>
                  <a:gd name="connsiteX0" fmla="*/ 8902 w 166154"/>
                  <a:gd name="connsiteY0" fmla="*/ 127582 h 127582"/>
                  <a:gd name="connsiteX1" fmla="*/ 5934 w 166154"/>
                  <a:gd name="connsiteY1" fmla="*/ 124615 h 127582"/>
                  <a:gd name="connsiteX2" fmla="*/ 0 w 166154"/>
                  <a:gd name="connsiteY2" fmla="*/ 109780 h 127582"/>
                  <a:gd name="connsiteX3" fmla="*/ 14835 w 166154"/>
                  <a:gd name="connsiteY3" fmla="*/ 91977 h 127582"/>
                  <a:gd name="connsiteX4" fmla="*/ 59341 w 166154"/>
                  <a:gd name="connsiteY4" fmla="*/ 89011 h 127582"/>
                  <a:gd name="connsiteX5" fmla="*/ 124616 w 166154"/>
                  <a:gd name="connsiteY5" fmla="*/ 86044 h 127582"/>
                  <a:gd name="connsiteX6" fmla="*/ 145384 w 166154"/>
                  <a:gd name="connsiteY6" fmla="*/ 71209 h 127582"/>
                  <a:gd name="connsiteX7" fmla="*/ 112748 w 166154"/>
                  <a:gd name="connsiteY7" fmla="*/ 56373 h 127582"/>
                  <a:gd name="connsiteX8" fmla="*/ 62308 w 166154"/>
                  <a:gd name="connsiteY8" fmla="*/ 59341 h 127582"/>
                  <a:gd name="connsiteX9" fmla="*/ 68242 w 166154"/>
                  <a:gd name="connsiteY9" fmla="*/ 32637 h 127582"/>
                  <a:gd name="connsiteX10" fmla="*/ 160220 w 166154"/>
                  <a:gd name="connsiteY10" fmla="*/ 0 h 127582"/>
                  <a:gd name="connsiteX11" fmla="*/ 166154 w 166154"/>
                  <a:gd name="connsiteY11" fmla="*/ 5934 h 127582"/>
                  <a:gd name="connsiteX12" fmla="*/ 160220 w 166154"/>
                  <a:gd name="connsiteY12" fmla="*/ 11868 h 127582"/>
                  <a:gd name="connsiteX13" fmla="*/ 157253 w 166154"/>
                  <a:gd name="connsiteY13" fmla="*/ 11868 h 127582"/>
                  <a:gd name="connsiteX14" fmla="*/ 77143 w 166154"/>
                  <a:gd name="connsiteY14" fmla="*/ 38571 h 127582"/>
                  <a:gd name="connsiteX15" fmla="*/ 71209 w 166154"/>
                  <a:gd name="connsiteY15" fmla="*/ 53406 h 127582"/>
                  <a:gd name="connsiteX16" fmla="*/ 109781 w 166154"/>
                  <a:gd name="connsiteY16" fmla="*/ 44505 h 127582"/>
                  <a:gd name="connsiteX17" fmla="*/ 112748 w 166154"/>
                  <a:gd name="connsiteY17" fmla="*/ 44505 h 127582"/>
                  <a:gd name="connsiteX18" fmla="*/ 157253 w 166154"/>
                  <a:gd name="connsiteY18" fmla="*/ 68241 h 127582"/>
                  <a:gd name="connsiteX19" fmla="*/ 157253 w 166154"/>
                  <a:gd name="connsiteY19" fmla="*/ 74176 h 127582"/>
                  <a:gd name="connsiteX20" fmla="*/ 127583 w 166154"/>
                  <a:gd name="connsiteY20" fmla="*/ 94945 h 127582"/>
                  <a:gd name="connsiteX21" fmla="*/ 56373 w 166154"/>
                  <a:gd name="connsiteY21" fmla="*/ 97912 h 127582"/>
                  <a:gd name="connsiteX22" fmla="*/ 20770 w 166154"/>
                  <a:gd name="connsiteY22" fmla="*/ 97912 h 127582"/>
                  <a:gd name="connsiteX23" fmla="*/ 11868 w 166154"/>
                  <a:gd name="connsiteY23" fmla="*/ 106812 h 127582"/>
                  <a:gd name="connsiteX24" fmla="*/ 14835 w 166154"/>
                  <a:gd name="connsiteY24" fmla="*/ 112747 h 127582"/>
                  <a:gd name="connsiteX25" fmla="*/ 14835 w 166154"/>
                  <a:gd name="connsiteY25" fmla="*/ 121648 h 127582"/>
                  <a:gd name="connsiteX26" fmla="*/ 8902 w 166154"/>
                  <a:gd name="connsiteY26" fmla="*/ 127582 h 127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6154" h="127582">
                    <a:moveTo>
                      <a:pt x="8902" y="127582"/>
                    </a:moveTo>
                    <a:cubicBezTo>
                      <a:pt x="5934" y="127582"/>
                      <a:pt x="5934" y="127582"/>
                      <a:pt x="5934" y="124615"/>
                    </a:cubicBezTo>
                    <a:cubicBezTo>
                      <a:pt x="5934" y="124615"/>
                      <a:pt x="0" y="118681"/>
                      <a:pt x="0" y="109780"/>
                    </a:cubicBezTo>
                    <a:cubicBezTo>
                      <a:pt x="0" y="103846"/>
                      <a:pt x="5934" y="97912"/>
                      <a:pt x="14835" y="91977"/>
                    </a:cubicBezTo>
                    <a:cubicBezTo>
                      <a:pt x="26703" y="86044"/>
                      <a:pt x="41538" y="86044"/>
                      <a:pt x="59341" y="89011"/>
                    </a:cubicBezTo>
                    <a:cubicBezTo>
                      <a:pt x="80110" y="91977"/>
                      <a:pt x="100879" y="94945"/>
                      <a:pt x="124616" y="86044"/>
                    </a:cubicBezTo>
                    <a:cubicBezTo>
                      <a:pt x="130549" y="83077"/>
                      <a:pt x="142418" y="77142"/>
                      <a:pt x="145384" y="71209"/>
                    </a:cubicBezTo>
                    <a:cubicBezTo>
                      <a:pt x="139451" y="65274"/>
                      <a:pt x="124616" y="59341"/>
                      <a:pt x="112748" y="56373"/>
                    </a:cubicBezTo>
                    <a:cubicBezTo>
                      <a:pt x="83077" y="65274"/>
                      <a:pt x="68242" y="68241"/>
                      <a:pt x="62308" y="59341"/>
                    </a:cubicBezTo>
                    <a:cubicBezTo>
                      <a:pt x="56373" y="53406"/>
                      <a:pt x="62308" y="41538"/>
                      <a:pt x="68242" y="32637"/>
                    </a:cubicBezTo>
                    <a:cubicBezTo>
                      <a:pt x="89011" y="0"/>
                      <a:pt x="157253" y="0"/>
                      <a:pt x="160220" y="0"/>
                    </a:cubicBezTo>
                    <a:cubicBezTo>
                      <a:pt x="163187" y="0"/>
                      <a:pt x="166154" y="2966"/>
                      <a:pt x="166154" y="5934"/>
                    </a:cubicBezTo>
                    <a:cubicBezTo>
                      <a:pt x="166154" y="8901"/>
                      <a:pt x="163187" y="11868"/>
                      <a:pt x="160220" y="11868"/>
                    </a:cubicBezTo>
                    <a:cubicBezTo>
                      <a:pt x="160220" y="11868"/>
                      <a:pt x="160220" y="11868"/>
                      <a:pt x="157253" y="11868"/>
                    </a:cubicBezTo>
                    <a:cubicBezTo>
                      <a:pt x="136484" y="11868"/>
                      <a:pt x="89011" y="17801"/>
                      <a:pt x="77143" y="38571"/>
                    </a:cubicBezTo>
                    <a:cubicBezTo>
                      <a:pt x="71209" y="50439"/>
                      <a:pt x="71209" y="53406"/>
                      <a:pt x="71209" y="53406"/>
                    </a:cubicBezTo>
                    <a:cubicBezTo>
                      <a:pt x="74176" y="53406"/>
                      <a:pt x="80110" y="53406"/>
                      <a:pt x="109781" y="44505"/>
                    </a:cubicBezTo>
                    <a:cubicBezTo>
                      <a:pt x="109781" y="44505"/>
                      <a:pt x="112748" y="44505"/>
                      <a:pt x="112748" y="44505"/>
                    </a:cubicBezTo>
                    <a:cubicBezTo>
                      <a:pt x="121649" y="47472"/>
                      <a:pt x="154286" y="56373"/>
                      <a:pt x="157253" y="68241"/>
                    </a:cubicBezTo>
                    <a:cubicBezTo>
                      <a:pt x="157253" y="71209"/>
                      <a:pt x="157253" y="74176"/>
                      <a:pt x="157253" y="74176"/>
                    </a:cubicBezTo>
                    <a:cubicBezTo>
                      <a:pt x="157253" y="74176"/>
                      <a:pt x="139451" y="91977"/>
                      <a:pt x="127583" y="94945"/>
                    </a:cubicBezTo>
                    <a:cubicBezTo>
                      <a:pt x="100879" y="103846"/>
                      <a:pt x="77143" y="100879"/>
                      <a:pt x="56373" y="97912"/>
                    </a:cubicBezTo>
                    <a:cubicBezTo>
                      <a:pt x="41538" y="94945"/>
                      <a:pt x="26703" y="94945"/>
                      <a:pt x="20770" y="97912"/>
                    </a:cubicBezTo>
                    <a:cubicBezTo>
                      <a:pt x="14835" y="100879"/>
                      <a:pt x="11868" y="103846"/>
                      <a:pt x="11868" y="106812"/>
                    </a:cubicBezTo>
                    <a:cubicBezTo>
                      <a:pt x="11868" y="109780"/>
                      <a:pt x="14835" y="112747"/>
                      <a:pt x="14835" y="112747"/>
                    </a:cubicBezTo>
                    <a:cubicBezTo>
                      <a:pt x="17802" y="115714"/>
                      <a:pt x="17802" y="118681"/>
                      <a:pt x="14835" y="121648"/>
                    </a:cubicBezTo>
                    <a:cubicBezTo>
                      <a:pt x="11868" y="127582"/>
                      <a:pt x="8902" y="127582"/>
                      <a:pt x="8902" y="12758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58C3D1F9-A107-4D03-B9C8-62553C133772}"/>
                </a:ext>
              </a:extLst>
            </p:cNvPr>
            <p:cNvSpPr/>
            <p:nvPr/>
          </p:nvSpPr>
          <p:spPr>
            <a:xfrm>
              <a:off x="13624646" y="8933081"/>
              <a:ext cx="871686" cy="1132477"/>
            </a:xfrm>
            <a:custGeom>
              <a:avLst/>
              <a:gdLst>
                <a:gd name="connsiteX0" fmla="*/ 545934 w 871686"/>
                <a:gd name="connsiteY0" fmla="*/ 245226 h 1132477"/>
                <a:gd name="connsiteX1" fmla="*/ 427253 w 871686"/>
                <a:gd name="connsiteY1" fmla="*/ 571600 h 1132477"/>
                <a:gd name="connsiteX2" fmla="*/ 0 w 871686"/>
                <a:gd name="connsiteY2" fmla="*/ 975116 h 1132477"/>
                <a:gd name="connsiteX3" fmla="*/ 97913 w 871686"/>
                <a:gd name="connsiteY3" fmla="*/ 1132369 h 1132477"/>
                <a:gd name="connsiteX4" fmla="*/ 637912 w 871686"/>
                <a:gd name="connsiteY4" fmla="*/ 740720 h 1132477"/>
                <a:gd name="connsiteX5" fmla="*/ 866374 w 871686"/>
                <a:gd name="connsiteY5" fmla="*/ 254127 h 1132477"/>
                <a:gd name="connsiteX6" fmla="*/ 804066 w 871686"/>
                <a:gd name="connsiteY6" fmla="*/ 1929 h 1132477"/>
                <a:gd name="connsiteX7" fmla="*/ 545934 w 871686"/>
                <a:gd name="connsiteY7" fmla="*/ 245226 h 1132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1686" h="1132477">
                  <a:moveTo>
                    <a:pt x="545934" y="245226"/>
                  </a:moveTo>
                  <a:cubicBezTo>
                    <a:pt x="516264" y="328303"/>
                    <a:pt x="471758" y="494457"/>
                    <a:pt x="427253" y="571600"/>
                  </a:cubicBezTo>
                  <a:cubicBezTo>
                    <a:pt x="361978" y="684347"/>
                    <a:pt x="0" y="969182"/>
                    <a:pt x="0" y="975116"/>
                  </a:cubicBezTo>
                  <a:cubicBezTo>
                    <a:pt x="11868" y="1043358"/>
                    <a:pt x="44505" y="1090831"/>
                    <a:pt x="97913" y="1132369"/>
                  </a:cubicBezTo>
                  <a:cubicBezTo>
                    <a:pt x="106813" y="1138302"/>
                    <a:pt x="495495" y="900940"/>
                    <a:pt x="637912" y="740720"/>
                  </a:cubicBezTo>
                  <a:cubicBezTo>
                    <a:pt x="682418" y="693247"/>
                    <a:pt x="836704" y="423248"/>
                    <a:pt x="866374" y="254127"/>
                  </a:cubicBezTo>
                  <a:cubicBezTo>
                    <a:pt x="881209" y="171050"/>
                    <a:pt x="866374" y="13797"/>
                    <a:pt x="804066" y="1929"/>
                  </a:cubicBezTo>
                  <a:cubicBezTo>
                    <a:pt x="709121" y="-18840"/>
                    <a:pt x="584506" y="132478"/>
                    <a:pt x="545934" y="245226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A39600E3-3610-42A4-86E4-143483DAF0B6}"/>
                </a:ext>
              </a:extLst>
            </p:cNvPr>
            <p:cNvSpPr/>
            <p:nvPr/>
          </p:nvSpPr>
          <p:spPr>
            <a:xfrm>
              <a:off x="14117174" y="8931751"/>
              <a:ext cx="320439" cy="394907"/>
            </a:xfrm>
            <a:custGeom>
              <a:avLst/>
              <a:gdLst>
                <a:gd name="connsiteX0" fmla="*/ 5934 w 320439"/>
                <a:gd name="connsiteY0" fmla="*/ 394908 h 394907"/>
                <a:gd name="connsiteX1" fmla="*/ 5934 w 320439"/>
                <a:gd name="connsiteY1" fmla="*/ 394908 h 394907"/>
                <a:gd name="connsiteX2" fmla="*/ 0 w 320439"/>
                <a:gd name="connsiteY2" fmla="*/ 388974 h 394907"/>
                <a:gd name="connsiteX3" fmla="*/ 118681 w 320439"/>
                <a:gd name="connsiteY3" fmla="*/ 116007 h 394907"/>
                <a:gd name="connsiteX4" fmla="*/ 314506 w 320439"/>
                <a:gd name="connsiteY4" fmla="*/ 292 h 394907"/>
                <a:gd name="connsiteX5" fmla="*/ 320439 w 320439"/>
                <a:gd name="connsiteY5" fmla="*/ 6226 h 394907"/>
                <a:gd name="connsiteX6" fmla="*/ 314506 w 320439"/>
                <a:gd name="connsiteY6" fmla="*/ 12160 h 394907"/>
                <a:gd name="connsiteX7" fmla="*/ 127582 w 320439"/>
                <a:gd name="connsiteY7" fmla="*/ 124908 h 394907"/>
                <a:gd name="connsiteX8" fmla="*/ 11868 w 320439"/>
                <a:gd name="connsiteY8" fmla="*/ 391941 h 394907"/>
                <a:gd name="connsiteX9" fmla="*/ 5934 w 320439"/>
                <a:gd name="connsiteY9" fmla="*/ 394908 h 39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0439" h="394907">
                  <a:moveTo>
                    <a:pt x="5934" y="394908"/>
                  </a:moveTo>
                  <a:cubicBezTo>
                    <a:pt x="5934" y="394908"/>
                    <a:pt x="5934" y="394908"/>
                    <a:pt x="5934" y="394908"/>
                  </a:cubicBezTo>
                  <a:cubicBezTo>
                    <a:pt x="2967" y="394908"/>
                    <a:pt x="0" y="391941"/>
                    <a:pt x="0" y="388974"/>
                  </a:cubicBezTo>
                  <a:cubicBezTo>
                    <a:pt x="0" y="388974"/>
                    <a:pt x="20770" y="243589"/>
                    <a:pt x="118681" y="116007"/>
                  </a:cubicBezTo>
                  <a:cubicBezTo>
                    <a:pt x="216593" y="-11576"/>
                    <a:pt x="311538" y="292"/>
                    <a:pt x="314506" y="292"/>
                  </a:cubicBezTo>
                  <a:cubicBezTo>
                    <a:pt x="317473" y="292"/>
                    <a:pt x="320439" y="3259"/>
                    <a:pt x="320439" y="6226"/>
                  </a:cubicBezTo>
                  <a:cubicBezTo>
                    <a:pt x="320439" y="9193"/>
                    <a:pt x="317473" y="12160"/>
                    <a:pt x="314506" y="12160"/>
                  </a:cubicBezTo>
                  <a:cubicBezTo>
                    <a:pt x="314506" y="12160"/>
                    <a:pt x="225495" y="292"/>
                    <a:pt x="127582" y="124908"/>
                  </a:cubicBezTo>
                  <a:cubicBezTo>
                    <a:pt x="32638" y="249523"/>
                    <a:pt x="11868" y="391941"/>
                    <a:pt x="11868" y="391941"/>
                  </a:cubicBezTo>
                  <a:cubicBezTo>
                    <a:pt x="11868" y="391941"/>
                    <a:pt x="8901" y="394908"/>
                    <a:pt x="5934" y="394908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A70185B0-79F8-4AE5-8E35-8A552F60B40A}"/>
                </a:ext>
              </a:extLst>
            </p:cNvPr>
            <p:cNvSpPr/>
            <p:nvPr/>
          </p:nvSpPr>
          <p:spPr>
            <a:xfrm>
              <a:off x="14058575" y="9362263"/>
              <a:ext cx="382005" cy="489560"/>
            </a:xfrm>
            <a:custGeom>
              <a:avLst/>
              <a:gdLst>
                <a:gd name="connsiteX0" fmla="*/ 5193 w 382005"/>
                <a:gd name="connsiteY0" fmla="*/ 489560 h 489560"/>
                <a:gd name="connsiteX1" fmla="*/ 2225 w 382005"/>
                <a:gd name="connsiteY1" fmla="*/ 486593 h 489560"/>
                <a:gd name="connsiteX2" fmla="*/ 2225 w 382005"/>
                <a:gd name="connsiteY2" fmla="*/ 477693 h 489560"/>
                <a:gd name="connsiteX3" fmla="*/ 203983 w 382005"/>
                <a:gd name="connsiteY3" fmla="*/ 305605 h 489560"/>
                <a:gd name="connsiteX4" fmla="*/ 373105 w 382005"/>
                <a:gd name="connsiteY4" fmla="*/ 2967 h 489560"/>
                <a:gd name="connsiteX5" fmla="*/ 379038 w 382005"/>
                <a:gd name="connsiteY5" fmla="*/ 0 h 489560"/>
                <a:gd name="connsiteX6" fmla="*/ 382005 w 382005"/>
                <a:gd name="connsiteY6" fmla="*/ 5934 h 489560"/>
                <a:gd name="connsiteX7" fmla="*/ 209918 w 382005"/>
                <a:gd name="connsiteY7" fmla="*/ 311538 h 489560"/>
                <a:gd name="connsiteX8" fmla="*/ 8159 w 382005"/>
                <a:gd name="connsiteY8" fmla="*/ 483627 h 489560"/>
                <a:gd name="connsiteX9" fmla="*/ 5193 w 382005"/>
                <a:gd name="connsiteY9" fmla="*/ 489560 h 489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2005" h="489560">
                  <a:moveTo>
                    <a:pt x="5193" y="489560"/>
                  </a:moveTo>
                  <a:cubicBezTo>
                    <a:pt x="2225" y="489560"/>
                    <a:pt x="2225" y="489560"/>
                    <a:pt x="2225" y="486593"/>
                  </a:cubicBezTo>
                  <a:cubicBezTo>
                    <a:pt x="-742" y="483627"/>
                    <a:pt x="-742" y="480660"/>
                    <a:pt x="2225" y="477693"/>
                  </a:cubicBezTo>
                  <a:cubicBezTo>
                    <a:pt x="5193" y="477693"/>
                    <a:pt x="159478" y="350110"/>
                    <a:pt x="203983" y="305605"/>
                  </a:cubicBezTo>
                  <a:cubicBezTo>
                    <a:pt x="248489" y="261099"/>
                    <a:pt x="373105" y="5934"/>
                    <a:pt x="373105" y="2967"/>
                  </a:cubicBezTo>
                  <a:cubicBezTo>
                    <a:pt x="373105" y="0"/>
                    <a:pt x="379038" y="0"/>
                    <a:pt x="379038" y="0"/>
                  </a:cubicBezTo>
                  <a:cubicBezTo>
                    <a:pt x="382005" y="0"/>
                    <a:pt x="382005" y="5934"/>
                    <a:pt x="382005" y="5934"/>
                  </a:cubicBezTo>
                  <a:cubicBezTo>
                    <a:pt x="376072" y="17802"/>
                    <a:pt x="257390" y="267033"/>
                    <a:pt x="209918" y="311538"/>
                  </a:cubicBezTo>
                  <a:cubicBezTo>
                    <a:pt x="165412" y="356044"/>
                    <a:pt x="8159" y="483627"/>
                    <a:pt x="8159" y="483627"/>
                  </a:cubicBezTo>
                  <a:cubicBezTo>
                    <a:pt x="8159" y="489560"/>
                    <a:pt x="5193" y="489560"/>
                    <a:pt x="5193" y="489560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03754901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F21F946E-7EAF-484D-BAE1-9C1317FF9BA4}"/>
              </a:ext>
            </a:extLst>
          </p:cNvPr>
          <p:cNvGrpSpPr/>
          <p:nvPr/>
        </p:nvGrpSpPr>
        <p:grpSpPr>
          <a:xfrm>
            <a:off x="3209856" y="2132397"/>
            <a:ext cx="4865274" cy="4725603"/>
            <a:chOff x="2619921" y="7733009"/>
            <a:chExt cx="4865274" cy="4725603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13888146-E44D-4AB0-B9E6-38AC083EAD76}"/>
                </a:ext>
              </a:extLst>
            </p:cNvPr>
            <p:cNvSpPr/>
            <p:nvPr/>
          </p:nvSpPr>
          <p:spPr>
            <a:xfrm>
              <a:off x="3640580" y="8884570"/>
              <a:ext cx="990989" cy="804065"/>
            </a:xfrm>
            <a:custGeom>
              <a:avLst/>
              <a:gdLst>
                <a:gd name="connsiteX0" fmla="*/ 261099 w 990989"/>
                <a:gd name="connsiteY0" fmla="*/ 0 h 804065"/>
                <a:gd name="connsiteX1" fmla="*/ 474725 w 990989"/>
                <a:gd name="connsiteY1" fmla="*/ 528132 h 804065"/>
                <a:gd name="connsiteX2" fmla="*/ 990989 w 990989"/>
                <a:gd name="connsiteY2" fmla="*/ 673516 h 804065"/>
                <a:gd name="connsiteX3" fmla="*/ 985055 w 990989"/>
                <a:gd name="connsiteY3" fmla="*/ 804066 h 804065"/>
                <a:gd name="connsiteX4" fmla="*/ 261099 w 990989"/>
                <a:gd name="connsiteY4" fmla="*/ 685384 h 804065"/>
                <a:gd name="connsiteX5" fmla="*/ 0 w 990989"/>
                <a:gd name="connsiteY5" fmla="*/ 0 h 804065"/>
                <a:gd name="connsiteX6" fmla="*/ 261099 w 990989"/>
                <a:gd name="connsiteY6" fmla="*/ 0 h 804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0989" h="804065">
                  <a:moveTo>
                    <a:pt x="261099" y="0"/>
                  </a:moveTo>
                  <a:lnTo>
                    <a:pt x="474725" y="528132"/>
                  </a:lnTo>
                  <a:lnTo>
                    <a:pt x="990989" y="673516"/>
                  </a:lnTo>
                  <a:lnTo>
                    <a:pt x="985055" y="804066"/>
                  </a:lnTo>
                  <a:cubicBezTo>
                    <a:pt x="985055" y="804066"/>
                    <a:pt x="364945" y="753627"/>
                    <a:pt x="261099" y="685384"/>
                  </a:cubicBezTo>
                  <a:cubicBezTo>
                    <a:pt x="157253" y="617143"/>
                    <a:pt x="0" y="0"/>
                    <a:pt x="0" y="0"/>
                  </a:cubicBezTo>
                  <a:lnTo>
                    <a:pt x="261099" y="0"/>
                  </a:ln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DD47536E-575F-40EC-B8B2-AE1B80A492DB}"/>
                </a:ext>
              </a:extLst>
            </p:cNvPr>
            <p:cNvGrpSpPr/>
            <p:nvPr/>
          </p:nvGrpSpPr>
          <p:grpSpPr>
            <a:xfrm>
              <a:off x="3990690" y="11967318"/>
              <a:ext cx="551825" cy="377780"/>
              <a:chOff x="3990690" y="11967318"/>
              <a:chExt cx="551825" cy="377780"/>
            </a:xfrm>
          </p:grpSpPr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51CFB295-C2F3-43EC-A94A-8389EEBC9773}"/>
                  </a:ext>
                </a:extLst>
              </p:cNvPr>
              <p:cNvSpPr/>
              <p:nvPr/>
            </p:nvSpPr>
            <p:spPr>
              <a:xfrm>
                <a:off x="3990690" y="11967318"/>
                <a:ext cx="216593" cy="261098"/>
              </a:xfrm>
              <a:custGeom>
                <a:avLst/>
                <a:gdLst>
                  <a:gd name="connsiteX0" fmla="*/ 65275 w 216593"/>
                  <a:gd name="connsiteY0" fmla="*/ 228461 h 261098"/>
                  <a:gd name="connsiteX1" fmla="*/ 0 w 216593"/>
                  <a:gd name="connsiteY1" fmla="*/ 62307 h 261098"/>
                  <a:gd name="connsiteX2" fmla="*/ 166154 w 216593"/>
                  <a:gd name="connsiteY2" fmla="*/ 0 h 261098"/>
                  <a:gd name="connsiteX3" fmla="*/ 216593 w 216593"/>
                  <a:gd name="connsiteY3" fmla="*/ 183956 h 261098"/>
                  <a:gd name="connsiteX4" fmla="*/ 89011 w 216593"/>
                  <a:gd name="connsiteY4" fmla="*/ 261099 h 261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6593" h="261098">
                    <a:moveTo>
                      <a:pt x="65275" y="228461"/>
                    </a:moveTo>
                    <a:lnTo>
                      <a:pt x="0" y="62307"/>
                    </a:lnTo>
                    <a:lnTo>
                      <a:pt x="166154" y="0"/>
                    </a:lnTo>
                    <a:lnTo>
                      <a:pt x="216593" y="183956"/>
                    </a:lnTo>
                    <a:lnTo>
                      <a:pt x="89011" y="261099"/>
                    </a:ln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653B816B-9140-4594-9B01-C2BAFAFBFB64}"/>
                  </a:ext>
                </a:extLst>
              </p:cNvPr>
              <p:cNvSpPr/>
              <p:nvPr/>
            </p:nvSpPr>
            <p:spPr>
              <a:xfrm>
                <a:off x="4041130" y="12097867"/>
                <a:ext cx="483626" cy="207692"/>
              </a:xfrm>
              <a:custGeom>
                <a:avLst/>
                <a:gdLst>
                  <a:gd name="connsiteX0" fmla="*/ 0 w 483626"/>
                  <a:gd name="connsiteY0" fmla="*/ 103846 h 207692"/>
                  <a:gd name="connsiteX1" fmla="*/ 154286 w 483626"/>
                  <a:gd name="connsiteY1" fmla="*/ 0 h 207692"/>
                  <a:gd name="connsiteX2" fmla="*/ 302637 w 483626"/>
                  <a:gd name="connsiteY2" fmla="*/ 29670 h 207692"/>
                  <a:gd name="connsiteX3" fmla="*/ 483626 w 483626"/>
                  <a:gd name="connsiteY3" fmla="*/ 47473 h 207692"/>
                  <a:gd name="connsiteX4" fmla="*/ 35604 w 483626"/>
                  <a:gd name="connsiteY4" fmla="*/ 207692 h 207692"/>
                  <a:gd name="connsiteX5" fmla="*/ 0 w 483626"/>
                  <a:gd name="connsiteY5" fmla="*/ 103846 h 207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3626" h="207692">
                    <a:moveTo>
                      <a:pt x="0" y="103846"/>
                    </a:moveTo>
                    <a:cubicBezTo>
                      <a:pt x="0" y="103846"/>
                      <a:pt x="118681" y="80109"/>
                      <a:pt x="154286" y="0"/>
                    </a:cubicBezTo>
                    <a:cubicBezTo>
                      <a:pt x="154286" y="0"/>
                      <a:pt x="258132" y="35604"/>
                      <a:pt x="302637" y="29670"/>
                    </a:cubicBezTo>
                    <a:cubicBezTo>
                      <a:pt x="347143" y="23736"/>
                      <a:pt x="448022" y="-14835"/>
                      <a:pt x="483626" y="47473"/>
                    </a:cubicBezTo>
                    <a:lnTo>
                      <a:pt x="35604" y="207692"/>
                    </a:lnTo>
                    <a:cubicBezTo>
                      <a:pt x="38571" y="204725"/>
                      <a:pt x="0" y="154285"/>
                      <a:pt x="0" y="103846"/>
                    </a:cubicBezTo>
                    <a:close/>
                  </a:path>
                </a:pathLst>
              </a:custGeom>
              <a:solidFill>
                <a:srgbClr val="7E94B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948D860A-1F6C-468D-AAF1-CE050CE678A0}"/>
                  </a:ext>
                </a:extLst>
              </p:cNvPr>
              <p:cNvSpPr/>
              <p:nvPr/>
            </p:nvSpPr>
            <p:spPr>
              <a:xfrm rot="-1175784">
                <a:off x="4074065" y="12222270"/>
                <a:ext cx="474736" cy="44506"/>
              </a:xfrm>
              <a:custGeom>
                <a:avLst/>
                <a:gdLst>
                  <a:gd name="connsiteX0" fmla="*/ 0 w 474736"/>
                  <a:gd name="connsiteY0" fmla="*/ 0 h 44506"/>
                  <a:gd name="connsiteX1" fmla="*/ 474736 w 474736"/>
                  <a:gd name="connsiteY1" fmla="*/ 0 h 44506"/>
                  <a:gd name="connsiteX2" fmla="*/ 474736 w 474736"/>
                  <a:gd name="connsiteY2" fmla="*/ 44506 h 44506"/>
                  <a:gd name="connsiteX3" fmla="*/ 0 w 474736"/>
                  <a:gd name="connsiteY3" fmla="*/ 44506 h 44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736" h="44506">
                    <a:moveTo>
                      <a:pt x="0" y="0"/>
                    </a:moveTo>
                    <a:lnTo>
                      <a:pt x="474736" y="0"/>
                    </a:lnTo>
                    <a:lnTo>
                      <a:pt x="474736" y="44506"/>
                    </a:lnTo>
                    <a:lnTo>
                      <a:pt x="0" y="44506"/>
                    </a:lnTo>
                    <a:close/>
                  </a:path>
                </a:pathLst>
              </a:custGeom>
              <a:solidFill>
                <a:srgbClr val="38333D"/>
              </a:solidFill>
              <a:ln w="296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867BBD6F-A4A3-4AB9-A788-2AB74299938A}"/>
                  </a:ext>
                </a:extLst>
              </p:cNvPr>
              <p:cNvSpPr/>
              <p:nvPr/>
            </p:nvSpPr>
            <p:spPr>
              <a:xfrm>
                <a:off x="4035195" y="12094900"/>
                <a:ext cx="166153" cy="112746"/>
              </a:xfrm>
              <a:custGeom>
                <a:avLst/>
                <a:gdLst>
                  <a:gd name="connsiteX0" fmla="*/ 5934 w 166153"/>
                  <a:gd name="connsiteY0" fmla="*/ 112747 h 112746"/>
                  <a:gd name="connsiteX1" fmla="*/ 0 w 166153"/>
                  <a:gd name="connsiteY1" fmla="*/ 109781 h 112746"/>
                  <a:gd name="connsiteX2" fmla="*/ 2967 w 166153"/>
                  <a:gd name="connsiteY2" fmla="*/ 103846 h 112746"/>
                  <a:gd name="connsiteX3" fmla="*/ 154286 w 166153"/>
                  <a:gd name="connsiteY3" fmla="*/ 2967 h 112746"/>
                  <a:gd name="connsiteX4" fmla="*/ 163187 w 166153"/>
                  <a:gd name="connsiteY4" fmla="*/ 0 h 112746"/>
                  <a:gd name="connsiteX5" fmla="*/ 166154 w 166153"/>
                  <a:gd name="connsiteY5" fmla="*/ 8901 h 112746"/>
                  <a:gd name="connsiteX6" fmla="*/ 5934 w 166153"/>
                  <a:gd name="connsiteY6" fmla="*/ 112747 h 112746"/>
                  <a:gd name="connsiteX7" fmla="*/ 5934 w 166153"/>
                  <a:gd name="connsiteY7" fmla="*/ 112747 h 112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6153" h="112746">
                    <a:moveTo>
                      <a:pt x="5934" y="112747"/>
                    </a:moveTo>
                    <a:cubicBezTo>
                      <a:pt x="2967" y="112747"/>
                      <a:pt x="0" y="109781"/>
                      <a:pt x="0" y="109781"/>
                    </a:cubicBezTo>
                    <a:cubicBezTo>
                      <a:pt x="0" y="106813"/>
                      <a:pt x="0" y="103846"/>
                      <a:pt x="2967" y="103846"/>
                    </a:cubicBezTo>
                    <a:cubicBezTo>
                      <a:pt x="2967" y="103846"/>
                      <a:pt x="112747" y="80110"/>
                      <a:pt x="154286" y="2967"/>
                    </a:cubicBezTo>
                    <a:cubicBezTo>
                      <a:pt x="157253" y="0"/>
                      <a:pt x="160220" y="0"/>
                      <a:pt x="163187" y="0"/>
                    </a:cubicBezTo>
                    <a:cubicBezTo>
                      <a:pt x="166154" y="0"/>
                      <a:pt x="166154" y="5934"/>
                      <a:pt x="166154" y="8901"/>
                    </a:cubicBezTo>
                    <a:cubicBezTo>
                      <a:pt x="121648" y="89011"/>
                      <a:pt x="11868" y="109781"/>
                      <a:pt x="5934" y="112747"/>
                    </a:cubicBezTo>
                    <a:cubicBezTo>
                      <a:pt x="8901" y="112747"/>
                      <a:pt x="8901" y="112747"/>
                      <a:pt x="5934" y="11274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547C7ADA-A078-45B5-A71D-1E89D7AA9D25}"/>
                  </a:ext>
                </a:extLst>
              </p:cNvPr>
              <p:cNvSpPr/>
              <p:nvPr/>
            </p:nvSpPr>
            <p:spPr>
              <a:xfrm>
                <a:off x="4219152" y="12103801"/>
                <a:ext cx="23736" cy="44505"/>
              </a:xfrm>
              <a:custGeom>
                <a:avLst/>
                <a:gdLst>
                  <a:gd name="connsiteX0" fmla="*/ 5934 w 23736"/>
                  <a:gd name="connsiteY0" fmla="*/ 44505 h 44505"/>
                  <a:gd name="connsiteX1" fmla="*/ 5934 w 23736"/>
                  <a:gd name="connsiteY1" fmla="*/ 44505 h 44505"/>
                  <a:gd name="connsiteX2" fmla="*/ 0 w 23736"/>
                  <a:gd name="connsiteY2" fmla="*/ 35605 h 44505"/>
                  <a:gd name="connsiteX3" fmla="*/ 14835 w 23736"/>
                  <a:gd name="connsiteY3" fmla="*/ 2967 h 44505"/>
                  <a:gd name="connsiteX4" fmla="*/ 20769 w 23736"/>
                  <a:gd name="connsiteY4" fmla="*/ 0 h 44505"/>
                  <a:gd name="connsiteX5" fmla="*/ 23736 w 23736"/>
                  <a:gd name="connsiteY5" fmla="*/ 5934 h 44505"/>
                  <a:gd name="connsiteX6" fmla="*/ 8901 w 23736"/>
                  <a:gd name="connsiteY6" fmla="*/ 38572 h 44505"/>
                  <a:gd name="connsiteX7" fmla="*/ 5934 w 23736"/>
                  <a:gd name="connsiteY7" fmla="*/ 44505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736" h="44505">
                    <a:moveTo>
                      <a:pt x="5934" y="44505"/>
                    </a:moveTo>
                    <a:cubicBezTo>
                      <a:pt x="2967" y="44505"/>
                      <a:pt x="2967" y="44505"/>
                      <a:pt x="5934" y="44505"/>
                    </a:cubicBezTo>
                    <a:cubicBezTo>
                      <a:pt x="0" y="41539"/>
                      <a:pt x="0" y="38572"/>
                      <a:pt x="0" y="35605"/>
                    </a:cubicBezTo>
                    <a:lnTo>
                      <a:pt x="14835" y="2967"/>
                    </a:lnTo>
                    <a:cubicBezTo>
                      <a:pt x="14835" y="0"/>
                      <a:pt x="20769" y="0"/>
                      <a:pt x="20769" y="0"/>
                    </a:cubicBezTo>
                    <a:cubicBezTo>
                      <a:pt x="23736" y="0"/>
                      <a:pt x="23736" y="5934"/>
                      <a:pt x="23736" y="5934"/>
                    </a:cubicBezTo>
                    <a:lnTo>
                      <a:pt x="8901" y="38572"/>
                    </a:lnTo>
                    <a:cubicBezTo>
                      <a:pt x="8901" y="44505"/>
                      <a:pt x="5934" y="44505"/>
                      <a:pt x="5934" y="4450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AE9D610C-71A5-4F30-B55C-8C09411B46A4}"/>
                  </a:ext>
                </a:extLst>
              </p:cNvPr>
              <p:cNvSpPr/>
              <p:nvPr/>
            </p:nvSpPr>
            <p:spPr>
              <a:xfrm>
                <a:off x="4260690" y="12115670"/>
                <a:ext cx="23736" cy="44505"/>
              </a:xfrm>
              <a:custGeom>
                <a:avLst/>
                <a:gdLst>
                  <a:gd name="connsiteX0" fmla="*/ 5934 w 23736"/>
                  <a:gd name="connsiteY0" fmla="*/ 44505 h 44505"/>
                  <a:gd name="connsiteX1" fmla="*/ 5934 w 23736"/>
                  <a:gd name="connsiteY1" fmla="*/ 44505 h 44505"/>
                  <a:gd name="connsiteX2" fmla="*/ 0 w 23736"/>
                  <a:gd name="connsiteY2" fmla="*/ 35604 h 44505"/>
                  <a:gd name="connsiteX3" fmla="*/ 14835 w 23736"/>
                  <a:gd name="connsiteY3" fmla="*/ 2966 h 44505"/>
                  <a:gd name="connsiteX4" fmla="*/ 20769 w 23736"/>
                  <a:gd name="connsiteY4" fmla="*/ 0 h 44505"/>
                  <a:gd name="connsiteX5" fmla="*/ 23736 w 23736"/>
                  <a:gd name="connsiteY5" fmla="*/ 5934 h 44505"/>
                  <a:gd name="connsiteX6" fmla="*/ 8901 w 23736"/>
                  <a:gd name="connsiteY6" fmla="*/ 38571 h 44505"/>
                  <a:gd name="connsiteX7" fmla="*/ 5934 w 23736"/>
                  <a:gd name="connsiteY7" fmla="*/ 44505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736" h="44505">
                    <a:moveTo>
                      <a:pt x="5934" y="44505"/>
                    </a:moveTo>
                    <a:cubicBezTo>
                      <a:pt x="5934" y="44505"/>
                      <a:pt x="5934" y="44505"/>
                      <a:pt x="5934" y="44505"/>
                    </a:cubicBezTo>
                    <a:cubicBezTo>
                      <a:pt x="0" y="41538"/>
                      <a:pt x="0" y="38571"/>
                      <a:pt x="0" y="35604"/>
                    </a:cubicBezTo>
                    <a:lnTo>
                      <a:pt x="14835" y="2966"/>
                    </a:lnTo>
                    <a:cubicBezTo>
                      <a:pt x="14835" y="0"/>
                      <a:pt x="20769" y="0"/>
                      <a:pt x="20769" y="0"/>
                    </a:cubicBezTo>
                    <a:cubicBezTo>
                      <a:pt x="23736" y="0"/>
                      <a:pt x="23736" y="5934"/>
                      <a:pt x="23736" y="5934"/>
                    </a:cubicBezTo>
                    <a:lnTo>
                      <a:pt x="8901" y="38571"/>
                    </a:lnTo>
                    <a:cubicBezTo>
                      <a:pt x="11868" y="44505"/>
                      <a:pt x="8901" y="44505"/>
                      <a:pt x="5934" y="4450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A7C29C05-BD7B-40E0-9D12-5152F6365112}"/>
                </a:ext>
              </a:extLst>
            </p:cNvPr>
            <p:cNvGrpSpPr/>
            <p:nvPr/>
          </p:nvGrpSpPr>
          <p:grpSpPr>
            <a:xfrm>
              <a:off x="2822668" y="12068197"/>
              <a:ext cx="482637" cy="335274"/>
              <a:chOff x="2822668" y="12068197"/>
              <a:chExt cx="482637" cy="335274"/>
            </a:xfrm>
          </p:grpSpPr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FCA5E344-3376-475B-B4C6-F09D176E23AE}"/>
                  </a:ext>
                </a:extLst>
              </p:cNvPr>
              <p:cNvSpPr/>
              <p:nvPr/>
            </p:nvSpPr>
            <p:spPr>
              <a:xfrm>
                <a:off x="2845415" y="12068197"/>
                <a:ext cx="178021" cy="219560"/>
              </a:xfrm>
              <a:custGeom>
                <a:avLst/>
                <a:gdLst>
                  <a:gd name="connsiteX0" fmla="*/ 0 w 178021"/>
                  <a:gd name="connsiteY0" fmla="*/ 180989 h 219560"/>
                  <a:gd name="connsiteX1" fmla="*/ 0 w 178021"/>
                  <a:gd name="connsiteY1" fmla="*/ 0 h 219560"/>
                  <a:gd name="connsiteX2" fmla="*/ 178022 w 178021"/>
                  <a:gd name="connsiteY2" fmla="*/ 0 h 219560"/>
                  <a:gd name="connsiteX3" fmla="*/ 160220 w 178021"/>
                  <a:gd name="connsiteY3" fmla="*/ 189890 h 219560"/>
                  <a:gd name="connsiteX4" fmla="*/ 11868 w 178021"/>
                  <a:gd name="connsiteY4" fmla="*/ 219560 h 21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8021" h="219560">
                    <a:moveTo>
                      <a:pt x="0" y="180989"/>
                    </a:moveTo>
                    <a:lnTo>
                      <a:pt x="0" y="0"/>
                    </a:lnTo>
                    <a:lnTo>
                      <a:pt x="178022" y="0"/>
                    </a:lnTo>
                    <a:lnTo>
                      <a:pt x="160220" y="189890"/>
                    </a:lnTo>
                    <a:lnTo>
                      <a:pt x="11868" y="219560"/>
                    </a:ln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5DB816EA-C216-4BDA-9CAE-6452628E1AD6}"/>
                  </a:ext>
                </a:extLst>
              </p:cNvPr>
              <p:cNvSpPr/>
              <p:nvPr/>
            </p:nvSpPr>
            <p:spPr>
              <a:xfrm>
                <a:off x="2822668" y="12204681"/>
                <a:ext cx="482637" cy="154285"/>
              </a:xfrm>
              <a:custGeom>
                <a:avLst/>
                <a:gdLst>
                  <a:gd name="connsiteX0" fmla="*/ 7912 w 482637"/>
                  <a:gd name="connsiteY0" fmla="*/ 44505 h 154285"/>
                  <a:gd name="connsiteX1" fmla="*/ 188901 w 482637"/>
                  <a:gd name="connsiteY1" fmla="*/ 0 h 154285"/>
                  <a:gd name="connsiteX2" fmla="*/ 319451 w 482637"/>
                  <a:gd name="connsiteY2" fmla="*/ 77142 h 154285"/>
                  <a:gd name="connsiteX3" fmla="*/ 482637 w 482637"/>
                  <a:gd name="connsiteY3" fmla="*/ 154285 h 154285"/>
                  <a:gd name="connsiteX4" fmla="*/ 7912 w 482637"/>
                  <a:gd name="connsiteY4" fmla="*/ 154285 h 154285"/>
                  <a:gd name="connsiteX5" fmla="*/ 7912 w 482637"/>
                  <a:gd name="connsiteY5" fmla="*/ 44505 h 154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2637" h="154285">
                    <a:moveTo>
                      <a:pt x="7912" y="44505"/>
                    </a:moveTo>
                    <a:cubicBezTo>
                      <a:pt x="7912" y="44505"/>
                      <a:pt x="129560" y="62307"/>
                      <a:pt x="188901" y="0"/>
                    </a:cubicBezTo>
                    <a:cubicBezTo>
                      <a:pt x="188901" y="0"/>
                      <a:pt x="274945" y="68241"/>
                      <a:pt x="319451" y="77142"/>
                    </a:cubicBezTo>
                    <a:cubicBezTo>
                      <a:pt x="363956" y="86044"/>
                      <a:pt x="470769" y="83077"/>
                      <a:pt x="482637" y="154285"/>
                    </a:cubicBezTo>
                    <a:lnTo>
                      <a:pt x="7912" y="154285"/>
                    </a:lnTo>
                    <a:cubicBezTo>
                      <a:pt x="7912" y="154285"/>
                      <a:pt x="-9890" y="91977"/>
                      <a:pt x="7912" y="44505"/>
                    </a:cubicBezTo>
                    <a:close/>
                  </a:path>
                </a:pathLst>
              </a:custGeom>
              <a:solidFill>
                <a:srgbClr val="7E94B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AF8CE55B-A6F0-4567-88DD-6BFA45C65819}"/>
                  </a:ext>
                </a:extLst>
              </p:cNvPr>
              <p:cNvSpPr/>
              <p:nvPr/>
            </p:nvSpPr>
            <p:spPr>
              <a:xfrm>
                <a:off x="2830580" y="12358966"/>
                <a:ext cx="474725" cy="44505"/>
              </a:xfrm>
              <a:custGeom>
                <a:avLst/>
                <a:gdLst>
                  <a:gd name="connsiteX0" fmla="*/ 0 w 474725"/>
                  <a:gd name="connsiteY0" fmla="*/ 0 h 44505"/>
                  <a:gd name="connsiteX1" fmla="*/ 474725 w 474725"/>
                  <a:gd name="connsiteY1" fmla="*/ 0 h 44505"/>
                  <a:gd name="connsiteX2" fmla="*/ 474725 w 474725"/>
                  <a:gd name="connsiteY2" fmla="*/ 44505 h 44505"/>
                  <a:gd name="connsiteX3" fmla="*/ 0 w 474725"/>
                  <a:gd name="connsiteY3" fmla="*/ 44505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725" h="44505">
                    <a:moveTo>
                      <a:pt x="0" y="0"/>
                    </a:moveTo>
                    <a:lnTo>
                      <a:pt x="474725" y="0"/>
                    </a:lnTo>
                    <a:lnTo>
                      <a:pt x="474725" y="44505"/>
                    </a:lnTo>
                    <a:lnTo>
                      <a:pt x="0" y="44505"/>
                    </a:lnTo>
                    <a:close/>
                  </a:path>
                </a:pathLst>
              </a:custGeom>
              <a:solidFill>
                <a:srgbClr val="38333D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17426421-E11D-4EA1-A39A-B4727BAD92B1}"/>
                  </a:ext>
                </a:extLst>
              </p:cNvPr>
              <p:cNvSpPr/>
              <p:nvPr/>
            </p:nvSpPr>
            <p:spPr>
              <a:xfrm>
                <a:off x="2824646" y="12193554"/>
                <a:ext cx="195082" cy="61566"/>
              </a:xfrm>
              <a:custGeom>
                <a:avLst/>
                <a:gdLst>
                  <a:gd name="connsiteX0" fmla="*/ 41538 w 195082"/>
                  <a:gd name="connsiteY0" fmla="*/ 61566 h 61566"/>
                  <a:gd name="connsiteX1" fmla="*/ 5934 w 195082"/>
                  <a:gd name="connsiteY1" fmla="*/ 58599 h 61566"/>
                  <a:gd name="connsiteX2" fmla="*/ 0 w 195082"/>
                  <a:gd name="connsiteY2" fmla="*/ 52665 h 61566"/>
                  <a:gd name="connsiteX3" fmla="*/ 5934 w 195082"/>
                  <a:gd name="connsiteY3" fmla="*/ 46731 h 61566"/>
                  <a:gd name="connsiteX4" fmla="*/ 183956 w 195082"/>
                  <a:gd name="connsiteY4" fmla="*/ 2225 h 61566"/>
                  <a:gd name="connsiteX5" fmla="*/ 192857 w 195082"/>
                  <a:gd name="connsiteY5" fmla="*/ 2225 h 61566"/>
                  <a:gd name="connsiteX6" fmla="*/ 192857 w 195082"/>
                  <a:gd name="connsiteY6" fmla="*/ 11127 h 61566"/>
                  <a:gd name="connsiteX7" fmla="*/ 41538 w 195082"/>
                  <a:gd name="connsiteY7" fmla="*/ 61566 h 61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082" h="61566">
                    <a:moveTo>
                      <a:pt x="41538" y="61566"/>
                    </a:moveTo>
                    <a:cubicBezTo>
                      <a:pt x="20769" y="61566"/>
                      <a:pt x="8901" y="58599"/>
                      <a:pt x="5934" y="58599"/>
                    </a:cubicBezTo>
                    <a:cubicBezTo>
                      <a:pt x="2967" y="58599"/>
                      <a:pt x="0" y="55633"/>
                      <a:pt x="0" y="52665"/>
                    </a:cubicBezTo>
                    <a:cubicBezTo>
                      <a:pt x="0" y="49698"/>
                      <a:pt x="2967" y="46731"/>
                      <a:pt x="5934" y="46731"/>
                    </a:cubicBezTo>
                    <a:cubicBezTo>
                      <a:pt x="5934" y="46731"/>
                      <a:pt x="115714" y="61566"/>
                      <a:pt x="183956" y="2225"/>
                    </a:cubicBezTo>
                    <a:cubicBezTo>
                      <a:pt x="186923" y="-742"/>
                      <a:pt x="189890" y="-742"/>
                      <a:pt x="192857" y="2225"/>
                    </a:cubicBezTo>
                    <a:cubicBezTo>
                      <a:pt x="195824" y="5193"/>
                      <a:pt x="195824" y="8160"/>
                      <a:pt x="192857" y="11127"/>
                    </a:cubicBezTo>
                    <a:cubicBezTo>
                      <a:pt x="145385" y="55633"/>
                      <a:pt x="80110" y="61566"/>
                      <a:pt x="41538" y="6156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D3013DBA-782A-464B-B7F8-1FE97E27772D}"/>
                  </a:ext>
                </a:extLst>
              </p:cNvPr>
              <p:cNvSpPr/>
              <p:nvPr/>
            </p:nvSpPr>
            <p:spPr>
              <a:xfrm>
                <a:off x="3018245" y="12220257"/>
                <a:ext cx="40054" cy="40796"/>
              </a:xfrm>
              <a:custGeom>
                <a:avLst/>
                <a:gdLst>
                  <a:gd name="connsiteX0" fmla="*/ 5192 w 40054"/>
                  <a:gd name="connsiteY0" fmla="*/ 40797 h 40796"/>
                  <a:gd name="connsiteX1" fmla="*/ 2225 w 40054"/>
                  <a:gd name="connsiteY1" fmla="*/ 37829 h 40796"/>
                  <a:gd name="connsiteX2" fmla="*/ 2225 w 40054"/>
                  <a:gd name="connsiteY2" fmla="*/ 28929 h 40796"/>
                  <a:gd name="connsiteX3" fmla="*/ 28929 w 40054"/>
                  <a:gd name="connsiteY3" fmla="*/ 2225 h 40796"/>
                  <a:gd name="connsiteX4" fmla="*/ 37830 w 40054"/>
                  <a:gd name="connsiteY4" fmla="*/ 2225 h 40796"/>
                  <a:gd name="connsiteX5" fmla="*/ 37830 w 40054"/>
                  <a:gd name="connsiteY5" fmla="*/ 11126 h 40796"/>
                  <a:gd name="connsiteX6" fmla="*/ 11126 w 40054"/>
                  <a:gd name="connsiteY6" fmla="*/ 37829 h 40796"/>
                  <a:gd name="connsiteX7" fmla="*/ 5192 w 40054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4" h="40796">
                    <a:moveTo>
                      <a:pt x="5192" y="40797"/>
                    </a:moveTo>
                    <a:cubicBezTo>
                      <a:pt x="5192" y="40797"/>
                      <a:pt x="2225" y="40797"/>
                      <a:pt x="2225" y="37829"/>
                    </a:cubicBezTo>
                    <a:cubicBezTo>
                      <a:pt x="-742" y="34862"/>
                      <a:pt x="-742" y="31895"/>
                      <a:pt x="2225" y="28929"/>
                    </a:cubicBezTo>
                    <a:lnTo>
                      <a:pt x="28929" y="2225"/>
                    </a:lnTo>
                    <a:cubicBezTo>
                      <a:pt x="31896" y="-742"/>
                      <a:pt x="34863" y="-742"/>
                      <a:pt x="37830" y="2225"/>
                    </a:cubicBezTo>
                    <a:cubicBezTo>
                      <a:pt x="40797" y="5192"/>
                      <a:pt x="40797" y="8159"/>
                      <a:pt x="37830" y="11126"/>
                    </a:cubicBezTo>
                    <a:lnTo>
                      <a:pt x="11126" y="37829"/>
                    </a:lnTo>
                    <a:cubicBezTo>
                      <a:pt x="8159" y="40797"/>
                      <a:pt x="5192" y="40797"/>
                      <a:pt x="5192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2EEDA647-425C-4B38-A7DC-0EFE2122E9A1}"/>
                  </a:ext>
                </a:extLst>
              </p:cNvPr>
              <p:cNvSpPr/>
              <p:nvPr/>
            </p:nvSpPr>
            <p:spPr>
              <a:xfrm>
                <a:off x="3053849" y="12246961"/>
                <a:ext cx="37087" cy="40796"/>
              </a:xfrm>
              <a:custGeom>
                <a:avLst/>
                <a:gdLst>
                  <a:gd name="connsiteX0" fmla="*/ 5192 w 37087"/>
                  <a:gd name="connsiteY0" fmla="*/ 40796 h 40796"/>
                  <a:gd name="connsiteX1" fmla="*/ 2225 w 37087"/>
                  <a:gd name="connsiteY1" fmla="*/ 37829 h 40796"/>
                  <a:gd name="connsiteX2" fmla="*/ 2225 w 37087"/>
                  <a:gd name="connsiteY2" fmla="*/ 28929 h 40796"/>
                  <a:gd name="connsiteX3" fmla="*/ 25962 w 37087"/>
                  <a:gd name="connsiteY3" fmla="*/ 2225 h 40796"/>
                  <a:gd name="connsiteX4" fmla="*/ 34863 w 37087"/>
                  <a:gd name="connsiteY4" fmla="*/ 2225 h 40796"/>
                  <a:gd name="connsiteX5" fmla="*/ 34863 w 37087"/>
                  <a:gd name="connsiteY5" fmla="*/ 11126 h 40796"/>
                  <a:gd name="connsiteX6" fmla="*/ 11126 w 37087"/>
                  <a:gd name="connsiteY6" fmla="*/ 37829 h 40796"/>
                  <a:gd name="connsiteX7" fmla="*/ 5192 w 37087"/>
                  <a:gd name="connsiteY7" fmla="*/ 40796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87" h="40796">
                    <a:moveTo>
                      <a:pt x="5192" y="40796"/>
                    </a:moveTo>
                    <a:cubicBezTo>
                      <a:pt x="5192" y="40796"/>
                      <a:pt x="2225" y="40796"/>
                      <a:pt x="2225" y="37829"/>
                    </a:cubicBezTo>
                    <a:cubicBezTo>
                      <a:pt x="-742" y="34862"/>
                      <a:pt x="-742" y="31896"/>
                      <a:pt x="2225" y="28929"/>
                    </a:cubicBezTo>
                    <a:lnTo>
                      <a:pt x="25962" y="2225"/>
                    </a:lnTo>
                    <a:cubicBezTo>
                      <a:pt x="28929" y="-742"/>
                      <a:pt x="31896" y="-742"/>
                      <a:pt x="34863" y="2225"/>
                    </a:cubicBezTo>
                    <a:cubicBezTo>
                      <a:pt x="37830" y="5192"/>
                      <a:pt x="37830" y="8159"/>
                      <a:pt x="34863" y="11126"/>
                    </a:cubicBezTo>
                    <a:lnTo>
                      <a:pt x="11126" y="37829"/>
                    </a:lnTo>
                    <a:cubicBezTo>
                      <a:pt x="8159" y="37829"/>
                      <a:pt x="8159" y="40796"/>
                      <a:pt x="5192" y="407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168CEC1D-56E7-41B0-92EE-CADB9EF3A57F}"/>
                </a:ext>
              </a:extLst>
            </p:cNvPr>
            <p:cNvSpPr/>
            <p:nvPr/>
          </p:nvSpPr>
          <p:spPr>
            <a:xfrm>
              <a:off x="2731209" y="9914131"/>
              <a:ext cx="1484975" cy="2222307"/>
            </a:xfrm>
            <a:custGeom>
              <a:avLst/>
              <a:gdLst>
                <a:gd name="connsiteX0" fmla="*/ 1007283 w 1484975"/>
                <a:gd name="connsiteY0" fmla="*/ 20770 h 2222307"/>
                <a:gd name="connsiteX1" fmla="*/ 1318822 w 1484975"/>
                <a:gd name="connsiteY1" fmla="*/ 1097802 h 2222307"/>
                <a:gd name="connsiteX2" fmla="*/ 1484975 w 1484975"/>
                <a:gd name="connsiteY2" fmla="*/ 2070989 h 2222307"/>
                <a:gd name="connsiteX3" fmla="*/ 1203107 w 1484975"/>
                <a:gd name="connsiteY3" fmla="*/ 2183737 h 2222307"/>
                <a:gd name="connsiteX4" fmla="*/ 912338 w 1484975"/>
                <a:gd name="connsiteY4" fmla="*/ 1299560 h 2222307"/>
                <a:gd name="connsiteX5" fmla="*/ 523657 w 1484975"/>
                <a:gd name="connsiteY5" fmla="*/ 489560 h 2222307"/>
                <a:gd name="connsiteX6" fmla="*/ 479151 w 1484975"/>
                <a:gd name="connsiteY6" fmla="*/ 1436044 h 2222307"/>
                <a:gd name="connsiteX7" fmla="*/ 336734 w 1484975"/>
                <a:gd name="connsiteY7" fmla="*/ 2213407 h 2222307"/>
                <a:gd name="connsiteX8" fmla="*/ 57833 w 1484975"/>
                <a:gd name="connsiteY8" fmla="*/ 2222308 h 2222307"/>
                <a:gd name="connsiteX9" fmla="*/ 87503 w 1484975"/>
                <a:gd name="connsiteY9" fmla="*/ 1418241 h 2222307"/>
                <a:gd name="connsiteX10" fmla="*/ 10360 w 1484975"/>
                <a:gd name="connsiteY10" fmla="*/ 0 h 2222307"/>
                <a:gd name="connsiteX11" fmla="*/ 1007283 w 1484975"/>
                <a:gd name="connsiteY11" fmla="*/ 20770 h 222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84975" h="2222307">
                  <a:moveTo>
                    <a:pt x="1007283" y="20770"/>
                  </a:moveTo>
                  <a:lnTo>
                    <a:pt x="1318822" y="1097802"/>
                  </a:lnTo>
                  <a:lnTo>
                    <a:pt x="1484975" y="2070989"/>
                  </a:lnTo>
                  <a:lnTo>
                    <a:pt x="1203107" y="2183737"/>
                  </a:lnTo>
                  <a:lnTo>
                    <a:pt x="912338" y="1299560"/>
                  </a:lnTo>
                  <a:cubicBezTo>
                    <a:pt x="912338" y="1299560"/>
                    <a:pt x="532558" y="504396"/>
                    <a:pt x="523657" y="489560"/>
                  </a:cubicBezTo>
                  <a:cubicBezTo>
                    <a:pt x="508822" y="459890"/>
                    <a:pt x="479151" y="1436044"/>
                    <a:pt x="479151" y="1436044"/>
                  </a:cubicBezTo>
                  <a:lnTo>
                    <a:pt x="336734" y="2213407"/>
                  </a:lnTo>
                  <a:lnTo>
                    <a:pt x="57833" y="2222308"/>
                  </a:lnTo>
                  <a:cubicBezTo>
                    <a:pt x="57833" y="2222308"/>
                    <a:pt x="93437" y="1516154"/>
                    <a:pt x="87503" y="1418241"/>
                  </a:cubicBezTo>
                  <a:cubicBezTo>
                    <a:pt x="78602" y="1269890"/>
                    <a:pt x="-34145" y="94945"/>
                    <a:pt x="10360" y="0"/>
                  </a:cubicBezTo>
                  <a:cubicBezTo>
                    <a:pt x="692778" y="32638"/>
                    <a:pt x="1007283" y="20770"/>
                    <a:pt x="1007283" y="20770"/>
                  </a:cubicBezTo>
                  <a:close/>
                </a:path>
              </a:pathLst>
            </a:custGeom>
            <a:solidFill>
              <a:srgbClr val="F6EBE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906BE4E1-58E0-43CB-96C1-DC551CD265C9}"/>
                </a:ext>
              </a:extLst>
            </p:cNvPr>
            <p:cNvSpPr/>
            <p:nvPr/>
          </p:nvSpPr>
          <p:spPr>
            <a:xfrm>
              <a:off x="3248932" y="10053582"/>
              <a:ext cx="68241" cy="356043"/>
            </a:xfrm>
            <a:custGeom>
              <a:avLst/>
              <a:gdLst>
                <a:gd name="connsiteX0" fmla="*/ 5934 w 68241"/>
                <a:gd name="connsiteY0" fmla="*/ 356044 h 356043"/>
                <a:gd name="connsiteX1" fmla="*/ 5934 w 68241"/>
                <a:gd name="connsiteY1" fmla="*/ 356044 h 356043"/>
                <a:gd name="connsiteX2" fmla="*/ 0 w 68241"/>
                <a:gd name="connsiteY2" fmla="*/ 347142 h 356043"/>
                <a:gd name="connsiteX3" fmla="*/ 56374 w 68241"/>
                <a:gd name="connsiteY3" fmla="*/ 5934 h 356043"/>
                <a:gd name="connsiteX4" fmla="*/ 62308 w 68241"/>
                <a:gd name="connsiteY4" fmla="*/ 0 h 356043"/>
                <a:gd name="connsiteX5" fmla="*/ 68242 w 68241"/>
                <a:gd name="connsiteY5" fmla="*/ 5934 h 356043"/>
                <a:gd name="connsiteX6" fmla="*/ 11868 w 68241"/>
                <a:gd name="connsiteY6" fmla="*/ 350110 h 356043"/>
                <a:gd name="connsiteX7" fmla="*/ 5934 w 68241"/>
                <a:gd name="connsiteY7" fmla="*/ 356044 h 356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241" h="356043">
                  <a:moveTo>
                    <a:pt x="5934" y="356044"/>
                  </a:moveTo>
                  <a:cubicBezTo>
                    <a:pt x="5934" y="356044"/>
                    <a:pt x="5934" y="356044"/>
                    <a:pt x="5934" y="356044"/>
                  </a:cubicBezTo>
                  <a:cubicBezTo>
                    <a:pt x="0" y="353077"/>
                    <a:pt x="0" y="350110"/>
                    <a:pt x="0" y="347142"/>
                  </a:cubicBezTo>
                  <a:cubicBezTo>
                    <a:pt x="47472" y="237363"/>
                    <a:pt x="56374" y="8901"/>
                    <a:pt x="56374" y="5934"/>
                  </a:cubicBezTo>
                  <a:cubicBezTo>
                    <a:pt x="56374" y="2966"/>
                    <a:pt x="59341" y="0"/>
                    <a:pt x="62308" y="0"/>
                  </a:cubicBezTo>
                  <a:cubicBezTo>
                    <a:pt x="65275" y="0"/>
                    <a:pt x="68242" y="2966"/>
                    <a:pt x="68242" y="5934"/>
                  </a:cubicBezTo>
                  <a:cubicBezTo>
                    <a:pt x="68242" y="14835"/>
                    <a:pt x="59341" y="237363"/>
                    <a:pt x="11868" y="350110"/>
                  </a:cubicBezTo>
                  <a:cubicBezTo>
                    <a:pt x="11868" y="356044"/>
                    <a:pt x="8901" y="356044"/>
                    <a:pt x="5934" y="356044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11BA8698-5BCA-4FD1-B86F-D18FE30139A0}"/>
                </a:ext>
              </a:extLst>
            </p:cNvPr>
            <p:cNvSpPr/>
            <p:nvPr/>
          </p:nvSpPr>
          <p:spPr>
            <a:xfrm>
              <a:off x="3277373" y="9985339"/>
              <a:ext cx="152547" cy="347143"/>
            </a:xfrm>
            <a:custGeom>
              <a:avLst/>
              <a:gdLst>
                <a:gd name="connsiteX0" fmla="*/ 7163 w 152547"/>
                <a:gd name="connsiteY0" fmla="*/ 347143 h 347143"/>
                <a:gd name="connsiteX1" fmla="*/ 1229 w 152547"/>
                <a:gd name="connsiteY1" fmla="*/ 344176 h 347143"/>
                <a:gd name="connsiteX2" fmla="*/ 4196 w 152547"/>
                <a:gd name="connsiteY2" fmla="*/ 335275 h 347143"/>
                <a:gd name="connsiteX3" fmla="*/ 108042 w 152547"/>
                <a:gd name="connsiteY3" fmla="*/ 261099 h 347143"/>
                <a:gd name="connsiteX4" fmla="*/ 140680 w 152547"/>
                <a:gd name="connsiteY4" fmla="*/ 5934 h 347143"/>
                <a:gd name="connsiteX5" fmla="*/ 146614 w 152547"/>
                <a:gd name="connsiteY5" fmla="*/ 0 h 347143"/>
                <a:gd name="connsiteX6" fmla="*/ 152548 w 152547"/>
                <a:gd name="connsiteY6" fmla="*/ 5934 h 347143"/>
                <a:gd name="connsiteX7" fmla="*/ 119910 w 152547"/>
                <a:gd name="connsiteY7" fmla="*/ 267033 h 347143"/>
                <a:gd name="connsiteX8" fmla="*/ 13097 w 152547"/>
                <a:gd name="connsiteY8" fmla="*/ 344176 h 347143"/>
                <a:gd name="connsiteX9" fmla="*/ 7163 w 152547"/>
                <a:gd name="connsiteY9" fmla="*/ 347143 h 34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547" h="347143">
                  <a:moveTo>
                    <a:pt x="7163" y="347143"/>
                  </a:moveTo>
                  <a:cubicBezTo>
                    <a:pt x="4196" y="347143"/>
                    <a:pt x="4196" y="347143"/>
                    <a:pt x="1229" y="344176"/>
                  </a:cubicBezTo>
                  <a:cubicBezTo>
                    <a:pt x="-1738" y="341209"/>
                    <a:pt x="1229" y="338242"/>
                    <a:pt x="4196" y="335275"/>
                  </a:cubicBezTo>
                  <a:cubicBezTo>
                    <a:pt x="42767" y="311538"/>
                    <a:pt x="99141" y="270000"/>
                    <a:pt x="108042" y="261099"/>
                  </a:cubicBezTo>
                  <a:cubicBezTo>
                    <a:pt x="116943" y="249231"/>
                    <a:pt x="131778" y="97913"/>
                    <a:pt x="140680" y="5934"/>
                  </a:cubicBezTo>
                  <a:cubicBezTo>
                    <a:pt x="140680" y="2967"/>
                    <a:pt x="143647" y="0"/>
                    <a:pt x="146614" y="0"/>
                  </a:cubicBezTo>
                  <a:cubicBezTo>
                    <a:pt x="149581" y="0"/>
                    <a:pt x="152548" y="2967"/>
                    <a:pt x="152548" y="5934"/>
                  </a:cubicBezTo>
                  <a:cubicBezTo>
                    <a:pt x="149581" y="47473"/>
                    <a:pt x="128811" y="252198"/>
                    <a:pt x="119910" y="267033"/>
                  </a:cubicBezTo>
                  <a:cubicBezTo>
                    <a:pt x="108042" y="281868"/>
                    <a:pt x="21998" y="338242"/>
                    <a:pt x="13097" y="344176"/>
                  </a:cubicBezTo>
                  <a:cubicBezTo>
                    <a:pt x="10130" y="347143"/>
                    <a:pt x="7163" y="347143"/>
                    <a:pt x="7163" y="347143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5799073F-08AC-4BE6-A4BE-2371193AA156}"/>
                </a:ext>
              </a:extLst>
            </p:cNvPr>
            <p:cNvSpPr/>
            <p:nvPr/>
          </p:nvSpPr>
          <p:spPr>
            <a:xfrm>
              <a:off x="3558106" y="8541839"/>
              <a:ext cx="438518" cy="594928"/>
            </a:xfrm>
            <a:custGeom>
              <a:avLst/>
              <a:gdLst>
                <a:gd name="connsiteX0" fmla="*/ 61705 w 438518"/>
                <a:gd name="connsiteY0" fmla="*/ 594929 h 594928"/>
                <a:gd name="connsiteX1" fmla="*/ 49837 w 438518"/>
                <a:gd name="connsiteY1" fmla="*/ 10424 h 594928"/>
                <a:gd name="connsiteX2" fmla="*/ 438518 w 438518"/>
                <a:gd name="connsiteY2" fmla="*/ 431742 h 594928"/>
                <a:gd name="connsiteX3" fmla="*/ 61705 w 438518"/>
                <a:gd name="connsiteY3" fmla="*/ 594929 h 59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518" h="594928">
                  <a:moveTo>
                    <a:pt x="61705" y="594929"/>
                  </a:moveTo>
                  <a:cubicBezTo>
                    <a:pt x="61705" y="594929"/>
                    <a:pt x="-68844" y="87566"/>
                    <a:pt x="49837" y="10424"/>
                  </a:cubicBezTo>
                  <a:cubicBezTo>
                    <a:pt x="189287" y="-78587"/>
                    <a:pt x="438518" y="431742"/>
                    <a:pt x="438518" y="431742"/>
                  </a:cubicBezTo>
                  <a:cubicBezTo>
                    <a:pt x="438518" y="431742"/>
                    <a:pt x="269397" y="577127"/>
                    <a:pt x="61705" y="594929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560F9E55-E551-4F98-B8A1-6A6B1877997B}"/>
                </a:ext>
              </a:extLst>
            </p:cNvPr>
            <p:cNvSpPr/>
            <p:nvPr/>
          </p:nvSpPr>
          <p:spPr>
            <a:xfrm>
              <a:off x="3145086" y="8288197"/>
              <a:ext cx="243296" cy="251317"/>
            </a:xfrm>
            <a:custGeom>
              <a:avLst/>
              <a:gdLst>
                <a:gd name="connsiteX0" fmla="*/ 243297 w 243296"/>
                <a:gd name="connsiteY0" fmla="*/ 38572 h 251317"/>
                <a:gd name="connsiteX1" fmla="*/ 237363 w 243296"/>
                <a:gd name="connsiteY1" fmla="*/ 207692 h 251317"/>
                <a:gd name="connsiteX2" fmla="*/ 0 w 243296"/>
                <a:gd name="connsiteY2" fmla="*/ 198791 h 251317"/>
                <a:gd name="connsiteX3" fmla="*/ 14835 w 243296"/>
                <a:gd name="connsiteY3" fmla="*/ 0 h 251317"/>
                <a:gd name="connsiteX4" fmla="*/ 243297 w 243296"/>
                <a:gd name="connsiteY4" fmla="*/ 38572 h 251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296" h="251317">
                  <a:moveTo>
                    <a:pt x="243297" y="38572"/>
                  </a:moveTo>
                  <a:cubicBezTo>
                    <a:pt x="243297" y="38572"/>
                    <a:pt x="237363" y="136484"/>
                    <a:pt x="237363" y="207692"/>
                  </a:cubicBezTo>
                  <a:cubicBezTo>
                    <a:pt x="237363" y="207692"/>
                    <a:pt x="145385" y="311538"/>
                    <a:pt x="0" y="198791"/>
                  </a:cubicBezTo>
                  <a:cubicBezTo>
                    <a:pt x="0" y="139450"/>
                    <a:pt x="11868" y="62308"/>
                    <a:pt x="14835" y="0"/>
                  </a:cubicBezTo>
                  <a:cubicBezTo>
                    <a:pt x="11868" y="0"/>
                    <a:pt x="189890" y="50439"/>
                    <a:pt x="243297" y="38572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3FC8133A-90A5-47B4-8AAB-FD14A6433CBE}"/>
                </a:ext>
              </a:extLst>
            </p:cNvPr>
            <p:cNvSpPr/>
            <p:nvPr/>
          </p:nvSpPr>
          <p:spPr>
            <a:xfrm>
              <a:off x="3053107" y="8172483"/>
              <a:ext cx="68241" cy="133516"/>
            </a:xfrm>
            <a:custGeom>
              <a:avLst/>
              <a:gdLst>
                <a:gd name="connsiteX0" fmla="*/ 0 w 68241"/>
                <a:gd name="connsiteY0" fmla="*/ 0 h 133516"/>
                <a:gd name="connsiteX1" fmla="*/ 65275 w 68241"/>
                <a:gd name="connsiteY1" fmla="*/ 133516 h 133516"/>
                <a:gd name="connsiteX2" fmla="*/ 68242 w 68241"/>
                <a:gd name="connsiteY2" fmla="*/ 50439 h 133516"/>
                <a:gd name="connsiteX3" fmla="*/ 0 w 68241"/>
                <a:gd name="connsiteY3" fmla="*/ 0 h 13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241" h="133516">
                  <a:moveTo>
                    <a:pt x="0" y="0"/>
                  </a:moveTo>
                  <a:cubicBezTo>
                    <a:pt x="0" y="0"/>
                    <a:pt x="14835" y="115714"/>
                    <a:pt x="65275" y="133516"/>
                  </a:cubicBezTo>
                  <a:lnTo>
                    <a:pt x="68242" y="504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3FB7C92D-ADFF-4D70-B283-B037E6CF291D}"/>
                </a:ext>
              </a:extLst>
            </p:cNvPr>
            <p:cNvSpPr/>
            <p:nvPr/>
          </p:nvSpPr>
          <p:spPr>
            <a:xfrm>
              <a:off x="3402778" y="7967757"/>
              <a:ext cx="99882" cy="231441"/>
            </a:xfrm>
            <a:custGeom>
              <a:avLst/>
              <a:gdLst>
                <a:gd name="connsiteX0" fmla="*/ 92418 w 99882"/>
                <a:gd name="connsiteY0" fmla="*/ 0 h 231441"/>
                <a:gd name="connsiteX1" fmla="*/ 53846 w 99882"/>
                <a:gd name="connsiteY1" fmla="*/ 228462 h 231441"/>
                <a:gd name="connsiteX2" fmla="*/ 440 w 99882"/>
                <a:gd name="connsiteY2" fmla="*/ 14835 h 231441"/>
                <a:gd name="connsiteX3" fmla="*/ 92418 w 99882"/>
                <a:gd name="connsiteY3" fmla="*/ 0 h 231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882" h="231441">
                  <a:moveTo>
                    <a:pt x="92418" y="0"/>
                  </a:moveTo>
                  <a:cubicBezTo>
                    <a:pt x="92418" y="0"/>
                    <a:pt x="125055" y="189890"/>
                    <a:pt x="53846" y="228462"/>
                  </a:cubicBezTo>
                  <a:cubicBezTo>
                    <a:pt x="-8462" y="261099"/>
                    <a:pt x="440" y="14835"/>
                    <a:pt x="440" y="14835"/>
                  </a:cubicBezTo>
                  <a:lnTo>
                    <a:pt x="92418" y="0"/>
                  </a:ln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321F80CE-E1BC-402B-A92C-EA4B773AA489}"/>
                </a:ext>
              </a:extLst>
            </p:cNvPr>
            <p:cNvSpPr/>
            <p:nvPr/>
          </p:nvSpPr>
          <p:spPr>
            <a:xfrm>
              <a:off x="3056075" y="7835880"/>
              <a:ext cx="412036" cy="553783"/>
            </a:xfrm>
            <a:custGeom>
              <a:avLst/>
              <a:gdLst>
                <a:gd name="connsiteX0" fmla="*/ 400550 w 412036"/>
                <a:gd name="connsiteY0" fmla="*/ 176383 h 553783"/>
                <a:gd name="connsiteX1" fmla="*/ 403516 w 412036"/>
                <a:gd name="connsiteY1" fmla="*/ 419680 h 553783"/>
                <a:gd name="connsiteX2" fmla="*/ 249231 w 412036"/>
                <a:gd name="connsiteY2" fmla="*/ 553196 h 553783"/>
                <a:gd name="connsiteX3" fmla="*/ 38571 w 412036"/>
                <a:gd name="connsiteY3" fmla="*/ 416712 h 553783"/>
                <a:gd name="connsiteX4" fmla="*/ 0 w 412036"/>
                <a:gd name="connsiteY4" fmla="*/ 197152 h 553783"/>
                <a:gd name="connsiteX5" fmla="*/ 204725 w 412036"/>
                <a:gd name="connsiteY5" fmla="*/ 1328 h 553783"/>
                <a:gd name="connsiteX6" fmla="*/ 400550 w 412036"/>
                <a:gd name="connsiteY6" fmla="*/ 176383 h 553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036" h="553783">
                  <a:moveTo>
                    <a:pt x="400550" y="176383"/>
                  </a:moveTo>
                  <a:cubicBezTo>
                    <a:pt x="400550" y="176383"/>
                    <a:pt x="424286" y="348471"/>
                    <a:pt x="403516" y="419680"/>
                  </a:cubicBezTo>
                  <a:cubicBezTo>
                    <a:pt x="385714" y="484954"/>
                    <a:pt x="299670" y="547262"/>
                    <a:pt x="249231" y="553196"/>
                  </a:cubicBezTo>
                  <a:cubicBezTo>
                    <a:pt x="183956" y="559130"/>
                    <a:pt x="68242" y="520559"/>
                    <a:pt x="38571" y="416712"/>
                  </a:cubicBezTo>
                  <a:cubicBezTo>
                    <a:pt x="17802" y="345504"/>
                    <a:pt x="0" y="247592"/>
                    <a:pt x="0" y="197152"/>
                  </a:cubicBezTo>
                  <a:cubicBezTo>
                    <a:pt x="0" y="105174"/>
                    <a:pt x="26703" y="28031"/>
                    <a:pt x="204725" y="1328"/>
                  </a:cubicBezTo>
                  <a:cubicBezTo>
                    <a:pt x="284835" y="-13507"/>
                    <a:pt x="379780" y="99240"/>
                    <a:pt x="400550" y="176383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86469887-0D90-41F6-B7C6-4C42B1C1EB99}"/>
                </a:ext>
              </a:extLst>
            </p:cNvPr>
            <p:cNvSpPr/>
            <p:nvPr/>
          </p:nvSpPr>
          <p:spPr>
            <a:xfrm>
              <a:off x="3275635" y="8089406"/>
              <a:ext cx="56373" cy="136483"/>
            </a:xfrm>
            <a:custGeom>
              <a:avLst/>
              <a:gdLst>
                <a:gd name="connsiteX0" fmla="*/ 26703 w 56373"/>
                <a:gd name="connsiteY0" fmla="*/ 136484 h 136483"/>
                <a:gd name="connsiteX1" fmla="*/ 5934 w 56373"/>
                <a:gd name="connsiteY1" fmla="*/ 133516 h 136483"/>
                <a:gd name="connsiteX2" fmla="*/ 0 w 56373"/>
                <a:gd name="connsiteY2" fmla="*/ 127583 h 136483"/>
                <a:gd name="connsiteX3" fmla="*/ 5934 w 56373"/>
                <a:gd name="connsiteY3" fmla="*/ 121649 h 136483"/>
                <a:gd name="connsiteX4" fmla="*/ 44505 w 56373"/>
                <a:gd name="connsiteY4" fmla="*/ 118681 h 136483"/>
                <a:gd name="connsiteX5" fmla="*/ 44505 w 56373"/>
                <a:gd name="connsiteY5" fmla="*/ 115714 h 136483"/>
                <a:gd name="connsiteX6" fmla="*/ 26703 w 56373"/>
                <a:gd name="connsiteY6" fmla="*/ 5934 h 136483"/>
                <a:gd name="connsiteX7" fmla="*/ 32637 w 56373"/>
                <a:gd name="connsiteY7" fmla="*/ 0 h 136483"/>
                <a:gd name="connsiteX8" fmla="*/ 38571 w 56373"/>
                <a:gd name="connsiteY8" fmla="*/ 5934 h 136483"/>
                <a:gd name="connsiteX9" fmla="*/ 56374 w 56373"/>
                <a:gd name="connsiteY9" fmla="*/ 115714 h 136483"/>
                <a:gd name="connsiteX10" fmla="*/ 50440 w 56373"/>
                <a:gd name="connsiteY10" fmla="*/ 127583 h 136483"/>
                <a:gd name="connsiteX11" fmla="*/ 26703 w 56373"/>
                <a:gd name="connsiteY11" fmla="*/ 136484 h 13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373" h="136483">
                  <a:moveTo>
                    <a:pt x="26703" y="136484"/>
                  </a:moveTo>
                  <a:cubicBezTo>
                    <a:pt x="17802" y="136484"/>
                    <a:pt x="8901" y="133516"/>
                    <a:pt x="5934" y="133516"/>
                  </a:cubicBezTo>
                  <a:cubicBezTo>
                    <a:pt x="2967" y="133516"/>
                    <a:pt x="0" y="130549"/>
                    <a:pt x="0" y="127583"/>
                  </a:cubicBezTo>
                  <a:cubicBezTo>
                    <a:pt x="0" y="124615"/>
                    <a:pt x="2967" y="121649"/>
                    <a:pt x="5934" y="121649"/>
                  </a:cubicBezTo>
                  <a:cubicBezTo>
                    <a:pt x="17802" y="124615"/>
                    <a:pt x="38571" y="124615"/>
                    <a:pt x="44505" y="118681"/>
                  </a:cubicBezTo>
                  <a:cubicBezTo>
                    <a:pt x="44505" y="118681"/>
                    <a:pt x="44505" y="115714"/>
                    <a:pt x="44505" y="115714"/>
                  </a:cubicBezTo>
                  <a:cubicBezTo>
                    <a:pt x="44505" y="97912"/>
                    <a:pt x="26703" y="8901"/>
                    <a:pt x="26703" y="5934"/>
                  </a:cubicBezTo>
                  <a:cubicBezTo>
                    <a:pt x="26703" y="2967"/>
                    <a:pt x="26703" y="0"/>
                    <a:pt x="32637" y="0"/>
                  </a:cubicBezTo>
                  <a:cubicBezTo>
                    <a:pt x="35604" y="0"/>
                    <a:pt x="38571" y="0"/>
                    <a:pt x="38571" y="5934"/>
                  </a:cubicBezTo>
                  <a:cubicBezTo>
                    <a:pt x="38571" y="8901"/>
                    <a:pt x="56374" y="97912"/>
                    <a:pt x="56374" y="115714"/>
                  </a:cubicBezTo>
                  <a:cubicBezTo>
                    <a:pt x="56374" y="121649"/>
                    <a:pt x="53407" y="124615"/>
                    <a:pt x="50440" y="127583"/>
                  </a:cubicBezTo>
                  <a:cubicBezTo>
                    <a:pt x="47473" y="133516"/>
                    <a:pt x="38571" y="136484"/>
                    <a:pt x="26703" y="136484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092B6A22-41E8-4CC1-AC91-AA48CEFEA14B}"/>
                </a:ext>
              </a:extLst>
            </p:cNvPr>
            <p:cNvSpPr/>
            <p:nvPr/>
          </p:nvSpPr>
          <p:spPr>
            <a:xfrm>
              <a:off x="3361679" y="8068054"/>
              <a:ext cx="39153" cy="39735"/>
            </a:xfrm>
            <a:custGeom>
              <a:avLst/>
              <a:gdLst>
                <a:gd name="connsiteX0" fmla="*/ 0 w 39153"/>
                <a:gd name="connsiteY0" fmla="*/ 24318 h 39735"/>
                <a:gd name="connsiteX1" fmla="*/ 23736 w 39153"/>
                <a:gd name="connsiteY1" fmla="*/ 39154 h 39735"/>
                <a:gd name="connsiteX2" fmla="*/ 38571 w 39153"/>
                <a:gd name="connsiteY2" fmla="*/ 15417 h 39735"/>
                <a:gd name="connsiteX3" fmla="*/ 14835 w 39153"/>
                <a:gd name="connsiteY3" fmla="*/ 582 h 39735"/>
                <a:gd name="connsiteX4" fmla="*/ 0 w 39153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53" h="39735">
                  <a:moveTo>
                    <a:pt x="0" y="24318"/>
                  </a:moveTo>
                  <a:cubicBezTo>
                    <a:pt x="2967" y="33219"/>
                    <a:pt x="11868" y="42120"/>
                    <a:pt x="23736" y="39154"/>
                  </a:cubicBezTo>
                  <a:cubicBezTo>
                    <a:pt x="32637" y="36186"/>
                    <a:pt x="41538" y="27285"/>
                    <a:pt x="38571" y="15417"/>
                  </a:cubicBezTo>
                  <a:cubicBezTo>
                    <a:pt x="35604" y="6516"/>
                    <a:pt x="26703" y="-2385"/>
                    <a:pt x="14835" y="582"/>
                  </a:cubicBezTo>
                  <a:cubicBezTo>
                    <a:pt x="5934" y="3549"/>
                    <a:pt x="0" y="15417"/>
                    <a:pt x="0" y="24318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F02C2DBA-58D1-4A02-9866-E44A15B58B48}"/>
                </a:ext>
              </a:extLst>
            </p:cNvPr>
            <p:cNvSpPr/>
            <p:nvPr/>
          </p:nvSpPr>
          <p:spPr>
            <a:xfrm>
              <a:off x="3183657" y="8085856"/>
              <a:ext cx="39153" cy="39735"/>
            </a:xfrm>
            <a:custGeom>
              <a:avLst/>
              <a:gdLst>
                <a:gd name="connsiteX0" fmla="*/ 0 w 39153"/>
                <a:gd name="connsiteY0" fmla="*/ 24318 h 39735"/>
                <a:gd name="connsiteX1" fmla="*/ 23736 w 39153"/>
                <a:gd name="connsiteY1" fmla="*/ 39153 h 39735"/>
                <a:gd name="connsiteX2" fmla="*/ 38571 w 39153"/>
                <a:gd name="connsiteY2" fmla="*/ 15417 h 39735"/>
                <a:gd name="connsiteX3" fmla="*/ 14835 w 39153"/>
                <a:gd name="connsiteY3" fmla="*/ 582 h 39735"/>
                <a:gd name="connsiteX4" fmla="*/ 0 w 39153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53" h="39735">
                  <a:moveTo>
                    <a:pt x="0" y="24318"/>
                  </a:moveTo>
                  <a:cubicBezTo>
                    <a:pt x="2967" y="33219"/>
                    <a:pt x="11868" y="42121"/>
                    <a:pt x="23736" y="39153"/>
                  </a:cubicBezTo>
                  <a:cubicBezTo>
                    <a:pt x="32637" y="36187"/>
                    <a:pt x="41538" y="27285"/>
                    <a:pt x="38571" y="15417"/>
                  </a:cubicBezTo>
                  <a:cubicBezTo>
                    <a:pt x="35604" y="6516"/>
                    <a:pt x="26703" y="-2385"/>
                    <a:pt x="14835" y="582"/>
                  </a:cubicBezTo>
                  <a:cubicBezTo>
                    <a:pt x="5934" y="3549"/>
                    <a:pt x="0" y="15417"/>
                    <a:pt x="0" y="24318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05AC76AC-ADDF-40A5-BCCF-33299C819AAC}"/>
                </a:ext>
              </a:extLst>
            </p:cNvPr>
            <p:cNvSpPr/>
            <p:nvPr/>
          </p:nvSpPr>
          <p:spPr>
            <a:xfrm>
              <a:off x="3333747" y="8021164"/>
              <a:ext cx="89498" cy="32637"/>
            </a:xfrm>
            <a:custGeom>
              <a:avLst/>
              <a:gdLst>
                <a:gd name="connsiteX0" fmla="*/ 84306 w 89498"/>
                <a:gd name="connsiteY0" fmla="*/ 32638 h 32637"/>
                <a:gd name="connsiteX1" fmla="*/ 78372 w 89498"/>
                <a:gd name="connsiteY1" fmla="*/ 29670 h 32637"/>
                <a:gd name="connsiteX2" fmla="*/ 13097 w 89498"/>
                <a:gd name="connsiteY2" fmla="*/ 23736 h 32637"/>
                <a:gd name="connsiteX3" fmla="*/ 1229 w 89498"/>
                <a:gd name="connsiteY3" fmla="*/ 20769 h 32637"/>
                <a:gd name="connsiteX4" fmla="*/ 4196 w 89498"/>
                <a:gd name="connsiteY4" fmla="*/ 8901 h 32637"/>
                <a:gd name="connsiteX5" fmla="*/ 87273 w 89498"/>
                <a:gd name="connsiteY5" fmla="*/ 17802 h 32637"/>
                <a:gd name="connsiteX6" fmla="*/ 87273 w 89498"/>
                <a:gd name="connsiteY6" fmla="*/ 29670 h 32637"/>
                <a:gd name="connsiteX7" fmla="*/ 84306 w 89498"/>
                <a:gd name="connsiteY7" fmla="*/ 32638 h 32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2637">
                  <a:moveTo>
                    <a:pt x="84306" y="32638"/>
                  </a:moveTo>
                  <a:cubicBezTo>
                    <a:pt x="81339" y="32638"/>
                    <a:pt x="81339" y="32638"/>
                    <a:pt x="78372" y="29670"/>
                  </a:cubicBezTo>
                  <a:cubicBezTo>
                    <a:pt x="51669" y="2967"/>
                    <a:pt x="13097" y="23736"/>
                    <a:pt x="13097" y="23736"/>
                  </a:cubicBezTo>
                  <a:cubicBezTo>
                    <a:pt x="10130" y="26704"/>
                    <a:pt x="4196" y="23736"/>
                    <a:pt x="1229" y="20769"/>
                  </a:cubicBezTo>
                  <a:cubicBezTo>
                    <a:pt x="-1738" y="17802"/>
                    <a:pt x="1229" y="11868"/>
                    <a:pt x="4196" y="8901"/>
                  </a:cubicBezTo>
                  <a:cubicBezTo>
                    <a:pt x="21998" y="0"/>
                    <a:pt x="60570" y="-8901"/>
                    <a:pt x="87273" y="17802"/>
                  </a:cubicBezTo>
                  <a:cubicBezTo>
                    <a:pt x="90240" y="20769"/>
                    <a:pt x="90240" y="26704"/>
                    <a:pt x="87273" y="29670"/>
                  </a:cubicBezTo>
                  <a:cubicBezTo>
                    <a:pt x="87273" y="29670"/>
                    <a:pt x="87273" y="32638"/>
                    <a:pt x="84306" y="32638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140B79D5-F7C0-43A3-B3BB-953A3E3FC3C7}"/>
                </a:ext>
              </a:extLst>
            </p:cNvPr>
            <p:cNvSpPr/>
            <p:nvPr/>
          </p:nvSpPr>
          <p:spPr>
            <a:xfrm>
              <a:off x="3151761" y="8021466"/>
              <a:ext cx="89498" cy="35302"/>
            </a:xfrm>
            <a:custGeom>
              <a:avLst/>
              <a:gdLst>
                <a:gd name="connsiteX0" fmla="*/ 8159 w 89498"/>
                <a:gd name="connsiteY0" fmla="*/ 35302 h 35302"/>
                <a:gd name="connsiteX1" fmla="*/ 2225 w 89498"/>
                <a:gd name="connsiteY1" fmla="*/ 32336 h 35302"/>
                <a:gd name="connsiteX2" fmla="*/ 2225 w 89498"/>
                <a:gd name="connsiteY2" fmla="*/ 20467 h 35302"/>
                <a:gd name="connsiteX3" fmla="*/ 85302 w 89498"/>
                <a:gd name="connsiteY3" fmla="*/ 11566 h 35302"/>
                <a:gd name="connsiteX4" fmla="*/ 88269 w 89498"/>
                <a:gd name="connsiteY4" fmla="*/ 23434 h 35302"/>
                <a:gd name="connsiteX5" fmla="*/ 76401 w 89498"/>
                <a:gd name="connsiteY5" fmla="*/ 26402 h 35302"/>
                <a:gd name="connsiteX6" fmla="*/ 11126 w 89498"/>
                <a:gd name="connsiteY6" fmla="*/ 32336 h 35302"/>
                <a:gd name="connsiteX7" fmla="*/ 8159 w 89498"/>
                <a:gd name="connsiteY7" fmla="*/ 35302 h 35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302">
                  <a:moveTo>
                    <a:pt x="8159" y="35302"/>
                  </a:moveTo>
                  <a:cubicBezTo>
                    <a:pt x="5192" y="35302"/>
                    <a:pt x="5192" y="35302"/>
                    <a:pt x="2225" y="32336"/>
                  </a:cubicBezTo>
                  <a:cubicBezTo>
                    <a:pt x="-742" y="29368"/>
                    <a:pt x="-742" y="23434"/>
                    <a:pt x="2225" y="20467"/>
                  </a:cubicBezTo>
                  <a:cubicBezTo>
                    <a:pt x="14093" y="5632"/>
                    <a:pt x="49698" y="-12170"/>
                    <a:pt x="85302" y="11566"/>
                  </a:cubicBezTo>
                  <a:cubicBezTo>
                    <a:pt x="88269" y="14533"/>
                    <a:pt x="91236" y="17500"/>
                    <a:pt x="88269" y="23434"/>
                  </a:cubicBezTo>
                  <a:cubicBezTo>
                    <a:pt x="85302" y="26402"/>
                    <a:pt x="82335" y="29368"/>
                    <a:pt x="76401" y="26402"/>
                  </a:cubicBezTo>
                  <a:cubicBezTo>
                    <a:pt x="40797" y="2665"/>
                    <a:pt x="14093" y="32336"/>
                    <a:pt x="11126" y="32336"/>
                  </a:cubicBezTo>
                  <a:cubicBezTo>
                    <a:pt x="11126" y="35302"/>
                    <a:pt x="8159" y="35302"/>
                    <a:pt x="8159" y="35302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A9A4844E-F124-44B2-8618-311788809DFE}"/>
                </a:ext>
              </a:extLst>
            </p:cNvPr>
            <p:cNvSpPr/>
            <p:nvPr/>
          </p:nvSpPr>
          <p:spPr>
            <a:xfrm>
              <a:off x="3145086" y="8332702"/>
              <a:ext cx="224752" cy="62307"/>
            </a:xfrm>
            <a:custGeom>
              <a:avLst/>
              <a:gdLst>
                <a:gd name="connsiteX0" fmla="*/ 145385 w 224752"/>
                <a:gd name="connsiteY0" fmla="*/ 62308 h 62307"/>
                <a:gd name="connsiteX1" fmla="*/ 2967 w 224752"/>
                <a:gd name="connsiteY1" fmla="*/ 11868 h 62307"/>
                <a:gd name="connsiteX2" fmla="*/ 0 w 224752"/>
                <a:gd name="connsiteY2" fmla="*/ 2967 h 62307"/>
                <a:gd name="connsiteX3" fmla="*/ 8901 w 224752"/>
                <a:gd name="connsiteY3" fmla="*/ 0 h 62307"/>
                <a:gd name="connsiteX4" fmla="*/ 145385 w 224752"/>
                <a:gd name="connsiteY4" fmla="*/ 47473 h 62307"/>
                <a:gd name="connsiteX5" fmla="*/ 145385 w 224752"/>
                <a:gd name="connsiteY5" fmla="*/ 47473 h 62307"/>
                <a:gd name="connsiteX6" fmla="*/ 213626 w 224752"/>
                <a:gd name="connsiteY6" fmla="*/ 23736 h 62307"/>
                <a:gd name="connsiteX7" fmla="*/ 222527 w 224752"/>
                <a:gd name="connsiteY7" fmla="*/ 23736 h 62307"/>
                <a:gd name="connsiteX8" fmla="*/ 222527 w 224752"/>
                <a:gd name="connsiteY8" fmla="*/ 32638 h 62307"/>
                <a:gd name="connsiteX9" fmla="*/ 145385 w 224752"/>
                <a:gd name="connsiteY9" fmla="*/ 62308 h 62307"/>
                <a:gd name="connsiteX10" fmla="*/ 145385 w 224752"/>
                <a:gd name="connsiteY10" fmla="*/ 62308 h 6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752" h="62307">
                  <a:moveTo>
                    <a:pt x="145385" y="62308"/>
                  </a:moveTo>
                  <a:cubicBezTo>
                    <a:pt x="94945" y="62308"/>
                    <a:pt x="8901" y="14835"/>
                    <a:pt x="2967" y="11868"/>
                  </a:cubicBezTo>
                  <a:cubicBezTo>
                    <a:pt x="0" y="8901"/>
                    <a:pt x="0" y="5934"/>
                    <a:pt x="0" y="2967"/>
                  </a:cubicBezTo>
                  <a:cubicBezTo>
                    <a:pt x="2967" y="0"/>
                    <a:pt x="5934" y="0"/>
                    <a:pt x="8901" y="0"/>
                  </a:cubicBezTo>
                  <a:cubicBezTo>
                    <a:pt x="8901" y="0"/>
                    <a:pt x="97912" y="47473"/>
                    <a:pt x="145385" y="47473"/>
                  </a:cubicBezTo>
                  <a:cubicBezTo>
                    <a:pt x="145385" y="47473"/>
                    <a:pt x="145385" y="47473"/>
                    <a:pt x="145385" y="47473"/>
                  </a:cubicBezTo>
                  <a:cubicBezTo>
                    <a:pt x="183956" y="47473"/>
                    <a:pt x="213626" y="23736"/>
                    <a:pt x="213626" y="23736"/>
                  </a:cubicBezTo>
                  <a:cubicBezTo>
                    <a:pt x="216593" y="20769"/>
                    <a:pt x="219560" y="20769"/>
                    <a:pt x="222527" y="23736"/>
                  </a:cubicBezTo>
                  <a:cubicBezTo>
                    <a:pt x="225494" y="26704"/>
                    <a:pt x="225494" y="29670"/>
                    <a:pt x="222527" y="32638"/>
                  </a:cubicBezTo>
                  <a:cubicBezTo>
                    <a:pt x="219560" y="35604"/>
                    <a:pt x="186923" y="59341"/>
                    <a:pt x="145385" y="62308"/>
                  </a:cubicBezTo>
                  <a:cubicBezTo>
                    <a:pt x="145385" y="59341"/>
                    <a:pt x="145385" y="62308"/>
                    <a:pt x="145385" y="62308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1908B588-0585-4BA8-8B30-4DD8ECD61AE9}"/>
                </a:ext>
              </a:extLst>
            </p:cNvPr>
            <p:cNvSpPr/>
            <p:nvPr/>
          </p:nvSpPr>
          <p:spPr>
            <a:xfrm>
              <a:off x="3029011" y="7857977"/>
              <a:ext cx="98272" cy="261098"/>
            </a:xfrm>
            <a:custGeom>
              <a:avLst/>
              <a:gdLst>
                <a:gd name="connsiteX0" fmla="*/ 98272 w 98272"/>
                <a:gd name="connsiteY0" fmla="*/ 124615 h 261098"/>
                <a:gd name="connsiteX1" fmla="*/ 50800 w 98272"/>
                <a:gd name="connsiteY1" fmla="*/ 261099 h 261098"/>
                <a:gd name="connsiteX2" fmla="*/ 6294 w 98272"/>
                <a:gd name="connsiteY2" fmla="*/ 157253 h 261098"/>
                <a:gd name="connsiteX3" fmla="*/ 50800 w 98272"/>
                <a:gd name="connsiteY3" fmla="*/ 0 h 261098"/>
                <a:gd name="connsiteX4" fmla="*/ 98272 w 98272"/>
                <a:gd name="connsiteY4" fmla="*/ 124615 h 26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272" h="261098">
                  <a:moveTo>
                    <a:pt x="98272" y="124615"/>
                  </a:moveTo>
                  <a:cubicBezTo>
                    <a:pt x="98272" y="124615"/>
                    <a:pt x="44865" y="231429"/>
                    <a:pt x="50800" y="261099"/>
                  </a:cubicBezTo>
                  <a:cubicBezTo>
                    <a:pt x="50800" y="261099"/>
                    <a:pt x="21129" y="243297"/>
                    <a:pt x="6294" y="157253"/>
                  </a:cubicBezTo>
                  <a:cubicBezTo>
                    <a:pt x="-2607" y="97912"/>
                    <a:pt x="-11508" y="14835"/>
                    <a:pt x="50800" y="0"/>
                  </a:cubicBezTo>
                  <a:cubicBezTo>
                    <a:pt x="50800" y="0"/>
                    <a:pt x="59701" y="106813"/>
                    <a:pt x="98272" y="124615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68D6EF0B-0DC5-4F87-89A5-77A060FC6C87}"/>
                </a:ext>
              </a:extLst>
            </p:cNvPr>
            <p:cNvSpPr/>
            <p:nvPr/>
          </p:nvSpPr>
          <p:spPr>
            <a:xfrm>
              <a:off x="3069046" y="7743892"/>
              <a:ext cx="488456" cy="247631"/>
            </a:xfrm>
            <a:custGeom>
              <a:avLst/>
              <a:gdLst>
                <a:gd name="connsiteX0" fmla="*/ 58237 w 488456"/>
                <a:gd name="connsiteY0" fmla="*/ 238700 h 247631"/>
                <a:gd name="connsiteX1" fmla="*/ 176918 w 488456"/>
                <a:gd name="connsiteY1" fmla="*/ 200129 h 247631"/>
                <a:gd name="connsiteX2" fmla="*/ 488457 w 488456"/>
                <a:gd name="connsiteY2" fmla="*/ 188260 h 247631"/>
                <a:gd name="connsiteX3" fmla="*/ 126479 w 488456"/>
                <a:gd name="connsiteY3" fmla="*/ 10238 h 247631"/>
                <a:gd name="connsiteX4" fmla="*/ 10765 w 488456"/>
                <a:gd name="connsiteY4" fmla="*/ 114084 h 247631"/>
                <a:gd name="connsiteX5" fmla="*/ 58237 w 488456"/>
                <a:gd name="connsiteY5" fmla="*/ 238700 h 247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8456" h="247631">
                  <a:moveTo>
                    <a:pt x="58237" y="238700"/>
                  </a:moveTo>
                  <a:cubicBezTo>
                    <a:pt x="58237" y="238700"/>
                    <a:pt x="150215" y="200129"/>
                    <a:pt x="176918" y="200129"/>
                  </a:cubicBezTo>
                  <a:cubicBezTo>
                    <a:pt x="274831" y="203095"/>
                    <a:pt x="399446" y="312876"/>
                    <a:pt x="488457" y="188260"/>
                  </a:cubicBezTo>
                  <a:cubicBezTo>
                    <a:pt x="443951" y="90348"/>
                    <a:pt x="286699" y="-37234"/>
                    <a:pt x="126479" y="10238"/>
                  </a:cubicBezTo>
                  <a:cubicBezTo>
                    <a:pt x="49336" y="31007"/>
                    <a:pt x="16699" y="78480"/>
                    <a:pt x="10765" y="114084"/>
                  </a:cubicBezTo>
                  <a:cubicBezTo>
                    <a:pt x="10765" y="114084"/>
                    <a:pt x="-33741" y="226832"/>
                    <a:pt x="58237" y="238700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AA418CF1-1533-4992-BA04-063EF623F300}"/>
                </a:ext>
              </a:extLst>
            </p:cNvPr>
            <p:cNvSpPr/>
            <p:nvPr/>
          </p:nvSpPr>
          <p:spPr>
            <a:xfrm>
              <a:off x="3016481" y="8089220"/>
              <a:ext cx="76517" cy="107539"/>
            </a:xfrm>
            <a:custGeom>
              <a:avLst/>
              <a:gdLst>
                <a:gd name="connsiteX0" fmla="*/ 63330 w 76517"/>
                <a:gd name="connsiteY0" fmla="*/ 15021 h 107539"/>
                <a:gd name="connsiteX1" fmla="*/ 6957 w 76517"/>
                <a:gd name="connsiteY1" fmla="*/ 6119 h 107539"/>
                <a:gd name="connsiteX2" fmla="*/ 63330 w 76517"/>
                <a:gd name="connsiteY2" fmla="*/ 104032 h 107539"/>
                <a:gd name="connsiteX3" fmla="*/ 63330 w 76517"/>
                <a:gd name="connsiteY3" fmla="*/ 15021 h 10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517" h="107539">
                  <a:moveTo>
                    <a:pt x="63330" y="15021"/>
                  </a:moveTo>
                  <a:cubicBezTo>
                    <a:pt x="63330" y="15021"/>
                    <a:pt x="30693" y="-11683"/>
                    <a:pt x="6957" y="6119"/>
                  </a:cubicBezTo>
                  <a:cubicBezTo>
                    <a:pt x="-16780" y="23922"/>
                    <a:pt x="24759" y="127768"/>
                    <a:pt x="63330" y="104032"/>
                  </a:cubicBezTo>
                  <a:cubicBezTo>
                    <a:pt x="93001" y="86229"/>
                    <a:pt x="63330" y="15021"/>
                    <a:pt x="63330" y="15021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8695D2D7-CAA8-493F-A669-856BB352AD9B}"/>
                </a:ext>
              </a:extLst>
            </p:cNvPr>
            <p:cNvSpPr/>
            <p:nvPr/>
          </p:nvSpPr>
          <p:spPr>
            <a:xfrm>
              <a:off x="2741569" y="8445450"/>
              <a:ext cx="1042224" cy="1524875"/>
            </a:xfrm>
            <a:custGeom>
              <a:avLst/>
              <a:gdLst>
                <a:gd name="connsiteX0" fmla="*/ 385714 w 1042224"/>
                <a:gd name="connsiteY0" fmla="*/ 0 h 1524875"/>
                <a:gd name="connsiteX1" fmla="*/ 667582 w 1042224"/>
                <a:gd name="connsiteY1" fmla="*/ 0 h 1524875"/>
                <a:gd name="connsiteX2" fmla="*/ 958352 w 1042224"/>
                <a:gd name="connsiteY2" fmla="*/ 127583 h 1524875"/>
                <a:gd name="connsiteX3" fmla="*/ 1041429 w 1042224"/>
                <a:gd name="connsiteY3" fmla="*/ 1495384 h 1524875"/>
                <a:gd name="connsiteX4" fmla="*/ 0 w 1042224"/>
                <a:gd name="connsiteY4" fmla="*/ 1471649 h 1524875"/>
                <a:gd name="connsiteX5" fmla="*/ 112747 w 1042224"/>
                <a:gd name="connsiteY5" fmla="*/ 100879 h 1524875"/>
                <a:gd name="connsiteX6" fmla="*/ 385714 w 1042224"/>
                <a:gd name="connsiteY6" fmla="*/ 0 h 152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2224" h="1524875">
                  <a:moveTo>
                    <a:pt x="385714" y="0"/>
                  </a:moveTo>
                  <a:cubicBezTo>
                    <a:pt x="385714" y="0"/>
                    <a:pt x="554835" y="53407"/>
                    <a:pt x="667582" y="0"/>
                  </a:cubicBezTo>
                  <a:cubicBezTo>
                    <a:pt x="667582" y="0"/>
                    <a:pt x="934615" y="94945"/>
                    <a:pt x="958352" y="127583"/>
                  </a:cubicBezTo>
                  <a:cubicBezTo>
                    <a:pt x="982088" y="157253"/>
                    <a:pt x="1050330" y="1430110"/>
                    <a:pt x="1041429" y="1495384"/>
                  </a:cubicBezTo>
                  <a:cubicBezTo>
                    <a:pt x="1041429" y="1495384"/>
                    <a:pt x="563736" y="1575495"/>
                    <a:pt x="0" y="1471649"/>
                  </a:cubicBezTo>
                  <a:cubicBezTo>
                    <a:pt x="0" y="1124505"/>
                    <a:pt x="71209" y="130549"/>
                    <a:pt x="112747" y="100879"/>
                  </a:cubicBezTo>
                  <a:cubicBezTo>
                    <a:pt x="151319" y="68242"/>
                    <a:pt x="385714" y="0"/>
                    <a:pt x="385714" y="0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70BCCBCD-E4BD-4194-B3B6-BC1362DD6109}"/>
                </a:ext>
              </a:extLst>
            </p:cNvPr>
            <p:cNvSpPr/>
            <p:nvPr/>
          </p:nvSpPr>
          <p:spPr>
            <a:xfrm>
              <a:off x="3691020" y="8570065"/>
              <a:ext cx="69470" cy="786264"/>
            </a:xfrm>
            <a:custGeom>
              <a:avLst/>
              <a:gdLst>
                <a:gd name="connsiteX0" fmla="*/ 65275 w 69470"/>
                <a:gd name="connsiteY0" fmla="*/ 786264 h 786264"/>
                <a:gd name="connsiteX1" fmla="*/ 59341 w 69470"/>
                <a:gd name="connsiteY1" fmla="*/ 780330 h 786264"/>
                <a:gd name="connsiteX2" fmla="*/ 0 w 69470"/>
                <a:gd name="connsiteY2" fmla="*/ 5934 h 786264"/>
                <a:gd name="connsiteX3" fmla="*/ 2967 w 69470"/>
                <a:gd name="connsiteY3" fmla="*/ 0 h 786264"/>
                <a:gd name="connsiteX4" fmla="*/ 8901 w 69470"/>
                <a:gd name="connsiteY4" fmla="*/ 2967 h 786264"/>
                <a:gd name="connsiteX5" fmla="*/ 68242 w 69470"/>
                <a:gd name="connsiteY5" fmla="*/ 780330 h 786264"/>
                <a:gd name="connsiteX6" fmla="*/ 65275 w 69470"/>
                <a:gd name="connsiteY6" fmla="*/ 786264 h 786264"/>
                <a:gd name="connsiteX7" fmla="*/ 65275 w 69470"/>
                <a:gd name="connsiteY7" fmla="*/ 786264 h 786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470" h="786264">
                  <a:moveTo>
                    <a:pt x="65275" y="786264"/>
                  </a:moveTo>
                  <a:cubicBezTo>
                    <a:pt x="62308" y="786264"/>
                    <a:pt x="59341" y="783297"/>
                    <a:pt x="59341" y="780330"/>
                  </a:cubicBezTo>
                  <a:cubicBezTo>
                    <a:pt x="59341" y="774395"/>
                    <a:pt x="8901" y="41539"/>
                    <a:pt x="0" y="5934"/>
                  </a:cubicBezTo>
                  <a:cubicBezTo>
                    <a:pt x="0" y="2967"/>
                    <a:pt x="0" y="0"/>
                    <a:pt x="2967" y="0"/>
                  </a:cubicBezTo>
                  <a:cubicBezTo>
                    <a:pt x="5934" y="0"/>
                    <a:pt x="8901" y="0"/>
                    <a:pt x="8901" y="2967"/>
                  </a:cubicBezTo>
                  <a:cubicBezTo>
                    <a:pt x="17802" y="41539"/>
                    <a:pt x="65275" y="750659"/>
                    <a:pt x="68242" y="780330"/>
                  </a:cubicBezTo>
                  <a:cubicBezTo>
                    <a:pt x="71209" y="783297"/>
                    <a:pt x="68242" y="786264"/>
                    <a:pt x="65275" y="786264"/>
                  </a:cubicBezTo>
                  <a:cubicBezTo>
                    <a:pt x="65275" y="786264"/>
                    <a:pt x="65275" y="786264"/>
                    <a:pt x="65275" y="786264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67EA56F9-20C7-42F1-8AF1-A6282E30A63E}"/>
                </a:ext>
              </a:extLst>
            </p:cNvPr>
            <p:cNvSpPr/>
            <p:nvPr/>
          </p:nvSpPr>
          <p:spPr>
            <a:xfrm>
              <a:off x="3251899" y="8277070"/>
              <a:ext cx="117032" cy="28928"/>
            </a:xfrm>
            <a:custGeom>
              <a:avLst/>
              <a:gdLst>
                <a:gd name="connsiteX0" fmla="*/ 65275 w 117032"/>
                <a:gd name="connsiteY0" fmla="*/ 28929 h 28928"/>
                <a:gd name="connsiteX1" fmla="*/ 2967 w 117032"/>
                <a:gd name="connsiteY1" fmla="*/ 14093 h 28928"/>
                <a:gd name="connsiteX2" fmla="*/ 0 w 117032"/>
                <a:gd name="connsiteY2" fmla="*/ 5192 h 28928"/>
                <a:gd name="connsiteX3" fmla="*/ 8901 w 117032"/>
                <a:gd name="connsiteY3" fmla="*/ 2225 h 28928"/>
                <a:gd name="connsiteX4" fmla="*/ 106813 w 117032"/>
                <a:gd name="connsiteY4" fmla="*/ 2225 h 28928"/>
                <a:gd name="connsiteX5" fmla="*/ 115714 w 117032"/>
                <a:gd name="connsiteY5" fmla="*/ 2225 h 28928"/>
                <a:gd name="connsiteX6" fmla="*/ 115714 w 117032"/>
                <a:gd name="connsiteY6" fmla="*/ 11126 h 28928"/>
                <a:gd name="connsiteX7" fmla="*/ 65275 w 117032"/>
                <a:gd name="connsiteY7" fmla="*/ 28929 h 28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032" h="28928">
                  <a:moveTo>
                    <a:pt x="65275" y="28929"/>
                  </a:moveTo>
                  <a:cubicBezTo>
                    <a:pt x="32637" y="28929"/>
                    <a:pt x="5934" y="14093"/>
                    <a:pt x="2967" y="14093"/>
                  </a:cubicBezTo>
                  <a:cubicBezTo>
                    <a:pt x="0" y="14093"/>
                    <a:pt x="0" y="8159"/>
                    <a:pt x="0" y="5192"/>
                  </a:cubicBezTo>
                  <a:cubicBezTo>
                    <a:pt x="0" y="2225"/>
                    <a:pt x="5934" y="2225"/>
                    <a:pt x="8901" y="2225"/>
                  </a:cubicBezTo>
                  <a:cubicBezTo>
                    <a:pt x="8901" y="2225"/>
                    <a:pt x="71209" y="31895"/>
                    <a:pt x="106813" y="2225"/>
                  </a:cubicBezTo>
                  <a:cubicBezTo>
                    <a:pt x="109780" y="-742"/>
                    <a:pt x="112747" y="-742"/>
                    <a:pt x="115714" y="2225"/>
                  </a:cubicBezTo>
                  <a:cubicBezTo>
                    <a:pt x="118681" y="5192"/>
                    <a:pt x="115714" y="8159"/>
                    <a:pt x="115714" y="11126"/>
                  </a:cubicBezTo>
                  <a:cubicBezTo>
                    <a:pt x="97912" y="25961"/>
                    <a:pt x="83077" y="28929"/>
                    <a:pt x="65275" y="28929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64A54D89-9E26-47A1-A4FC-3F54E612E58A}"/>
                </a:ext>
              </a:extLst>
            </p:cNvPr>
            <p:cNvSpPr/>
            <p:nvPr/>
          </p:nvSpPr>
          <p:spPr>
            <a:xfrm>
              <a:off x="2623439" y="8997318"/>
              <a:ext cx="773844" cy="804066"/>
            </a:xfrm>
            <a:custGeom>
              <a:avLst/>
              <a:gdLst>
                <a:gd name="connsiteX0" fmla="*/ 313954 w 773844"/>
                <a:gd name="connsiteY0" fmla="*/ 2967 h 804066"/>
                <a:gd name="connsiteX1" fmla="*/ 257580 w 773844"/>
                <a:gd name="connsiteY1" fmla="*/ 528132 h 804066"/>
                <a:gd name="connsiteX2" fmla="*/ 773844 w 773844"/>
                <a:gd name="connsiteY2" fmla="*/ 673516 h 804066"/>
                <a:gd name="connsiteX3" fmla="*/ 767910 w 773844"/>
                <a:gd name="connsiteY3" fmla="*/ 804066 h 804066"/>
                <a:gd name="connsiteX4" fmla="*/ 43954 w 773844"/>
                <a:gd name="connsiteY4" fmla="*/ 685385 h 804066"/>
                <a:gd name="connsiteX5" fmla="*/ 52855 w 773844"/>
                <a:gd name="connsiteY5" fmla="*/ 0 h 804066"/>
                <a:gd name="connsiteX6" fmla="*/ 313954 w 773844"/>
                <a:gd name="connsiteY6" fmla="*/ 2967 h 804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3844" h="804066">
                  <a:moveTo>
                    <a:pt x="313954" y="2967"/>
                  </a:moveTo>
                  <a:lnTo>
                    <a:pt x="257580" y="528132"/>
                  </a:lnTo>
                  <a:lnTo>
                    <a:pt x="773844" y="673516"/>
                  </a:lnTo>
                  <a:lnTo>
                    <a:pt x="767910" y="804066"/>
                  </a:lnTo>
                  <a:cubicBezTo>
                    <a:pt x="767910" y="804066"/>
                    <a:pt x="147800" y="753626"/>
                    <a:pt x="43954" y="685385"/>
                  </a:cubicBezTo>
                  <a:cubicBezTo>
                    <a:pt x="-59892" y="617143"/>
                    <a:pt x="52855" y="0"/>
                    <a:pt x="52855" y="0"/>
                  </a:cubicBezTo>
                  <a:lnTo>
                    <a:pt x="313954" y="2967"/>
                  </a:ln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A0F46B8D-754D-47AD-95B8-D847F10A6A68}"/>
                </a:ext>
              </a:extLst>
            </p:cNvPr>
            <p:cNvSpPr/>
            <p:nvPr/>
          </p:nvSpPr>
          <p:spPr>
            <a:xfrm>
              <a:off x="2821679" y="9098197"/>
              <a:ext cx="109780" cy="468790"/>
            </a:xfrm>
            <a:custGeom>
              <a:avLst/>
              <a:gdLst>
                <a:gd name="connsiteX0" fmla="*/ 5934 w 109780"/>
                <a:gd name="connsiteY0" fmla="*/ 468791 h 468790"/>
                <a:gd name="connsiteX1" fmla="*/ 0 w 109780"/>
                <a:gd name="connsiteY1" fmla="*/ 465825 h 468790"/>
                <a:gd name="connsiteX2" fmla="*/ 2967 w 109780"/>
                <a:gd name="connsiteY2" fmla="*/ 459890 h 468790"/>
                <a:gd name="connsiteX3" fmla="*/ 53407 w 109780"/>
                <a:gd name="connsiteY3" fmla="*/ 424285 h 468790"/>
                <a:gd name="connsiteX4" fmla="*/ 97912 w 109780"/>
                <a:gd name="connsiteY4" fmla="*/ 0 h 468790"/>
                <a:gd name="connsiteX5" fmla="*/ 109780 w 109780"/>
                <a:gd name="connsiteY5" fmla="*/ 0 h 468790"/>
                <a:gd name="connsiteX6" fmla="*/ 65275 w 109780"/>
                <a:gd name="connsiteY6" fmla="*/ 427253 h 468790"/>
                <a:gd name="connsiteX7" fmla="*/ 62308 w 109780"/>
                <a:gd name="connsiteY7" fmla="*/ 430220 h 468790"/>
                <a:gd name="connsiteX8" fmla="*/ 5934 w 109780"/>
                <a:gd name="connsiteY8" fmla="*/ 468791 h 468790"/>
                <a:gd name="connsiteX9" fmla="*/ 5934 w 109780"/>
                <a:gd name="connsiteY9" fmla="*/ 468791 h 468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780" h="468790">
                  <a:moveTo>
                    <a:pt x="5934" y="468791"/>
                  </a:moveTo>
                  <a:cubicBezTo>
                    <a:pt x="2967" y="468791"/>
                    <a:pt x="2967" y="468791"/>
                    <a:pt x="0" y="465825"/>
                  </a:cubicBezTo>
                  <a:cubicBezTo>
                    <a:pt x="0" y="462857"/>
                    <a:pt x="0" y="459890"/>
                    <a:pt x="2967" y="459890"/>
                  </a:cubicBezTo>
                  <a:cubicBezTo>
                    <a:pt x="17802" y="450989"/>
                    <a:pt x="47473" y="430220"/>
                    <a:pt x="53407" y="424285"/>
                  </a:cubicBezTo>
                  <a:cubicBezTo>
                    <a:pt x="65275" y="308571"/>
                    <a:pt x="97912" y="0"/>
                    <a:pt x="97912" y="0"/>
                  </a:cubicBezTo>
                  <a:lnTo>
                    <a:pt x="109780" y="0"/>
                  </a:lnTo>
                  <a:cubicBezTo>
                    <a:pt x="109780" y="0"/>
                    <a:pt x="77143" y="311538"/>
                    <a:pt x="65275" y="427253"/>
                  </a:cubicBezTo>
                  <a:cubicBezTo>
                    <a:pt x="65275" y="430220"/>
                    <a:pt x="65275" y="430220"/>
                    <a:pt x="62308" y="430220"/>
                  </a:cubicBezTo>
                  <a:cubicBezTo>
                    <a:pt x="62308" y="433187"/>
                    <a:pt x="26703" y="459890"/>
                    <a:pt x="5934" y="468791"/>
                  </a:cubicBezTo>
                  <a:cubicBezTo>
                    <a:pt x="8901" y="468791"/>
                    <a:pt x="5934" y="468791"/>
                    <a:pt x="5934" y="468791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F2263186-1CE4-4C92-BA02-AFD585E8C965}"/>
                </a:ext>
              </a:extLst>
            </p:cNvPr>
            <p:cNvSpPr/>
            <p:nvPr/>
          </p:nvSpPr>
          <p:spPr>
            <a:xfrm>
              <a:off x="2619921" y="8528240"/>
              <a:ext cx="409636" cy="569593"/>
            </a:xfrm>
            <a:custGeom>
              <a:avLst/>
              <a:gdLst>
                <a:gd name="connsiteX0" fmla="*/ 0 w 409636"/>
                <a:gd name="connsiteY0" fmla="*/ 525451 h 569593"/>
                <a:gd name="connsiteX1" fmla="*/ 255165 w 409636"/>
                <a:gd name="connsiteY1" fmla="*/ 286 h 569593"/>
                <a:gd name="connsiteX2" fmla="*/ 409451 w 409636"/>
                <a:gd name="connsiteY2" fmla="*/ 552154 h 569593"/>
                <a:gd name="connsiteX3" fmla="*/ 0 w 409636"/>
                <a:gd name="connsiteY3" fmla="*/ 525451 h 569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636" h="569593">
                  <a:moveTo>
                    <a:pt x="0" y="525451"/>
                  </a:moveTo>
                  <a:cubicBezTo>
                    <a:pt x="0" y="525451"/>
                    <a:pt x="112747" y="15121"/>
                    <a:pt x="255165" y="286"/>
                  </a:cubicBezTo>
                  <a:cubicBezTo>
                    <a:pt x="421319" y="-14549"/>
                    <a:pt x="409451" y="552154"/>
                    <a:pt x="409451" y="552154"/>
                  </a:cubicBezTo>
                  <a:cubicBezTo>
                    <a:pt x="409451" y="552154"/>
                    <a:pt x="192857" y="605561"/>
                    <a:pt x="0" y="525451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F1F6768E-CC6E-44AE-8441-0346E94E70D9}"/>
                </a:ext>
              </a:extLst>
            </p:cNvPr>
            <p:cNvSpPr/>
            <p:nvPr/>
          </p:nvSpPr>
          <p:spPr>
            <a:xfrm>
              <a:off x="2870889" y="8524330"/>
              <a:ext cx="167382" cy="579800"/>
            </a:xfrm>
            <a:custGeom>
              <a:avLst/>
              <a:gdLst>
                <a:gd name="connsiteX0" fmla="*/ 33866 w 167382"/>
                <a:gd name="connsiteY0" fmla="*/ 579800 h 579800"/>
                <a:gd name="connsiteX1" fmla="*/ 27932 w 167382"/>
                <a:gd name="connsiteY1" fmla="*/ 579800 h 579800"/>
                <a:gd name="connsiteX2" fmla="*/ 21998 w 167382"/>
                <a:gd name="connsiteY2" fmla="*/ 573866 h 579800"/>
                <a:gd name="connsiteX3" fmla="*/ 27932 w 167382"/>
                <a:gd name="connsiteY3" fmla="*/ 567932 h 579800"/>
                <a:gd name="connsiteX4" fmla="*/ 27932 w 167382"/>
                <a:gd name="connsiteY4" fmla="*/ 567932 h 579800"/>
                <a:gd name="connsiteX5" fmla="*/ 152548 w 167382"/>
                <a:gd name="connsiteY5" fmla="*/ 553097 h 579800"/>
                <a:gd name="connsiteX6" fmla="*/ 128811 w 167382"/>
                <a:gd name="connsiteY6" fmla="*/ 208921 h 579800"/>
                <a:gd name="connsiteX7" fmla="*/ 4196 w 167382"/>
                <a:gd name="connsiteY7" fmla="*/ 10130 h 579800"/>
                <a:gd name="connsiteX8" fmla="*/ 1229 w 167382"/>
                <a:gd name="connsiteY8" fmla="*/ 4196 h 579800"/>
                <a:gd name="connsiteX9" fmla="*/ 7163 w 167382"/>
                <a:gd name="connsiteY9" fmla="*/ 1229 h 579800"/>
                <a:gd name="connsiteX10" fmla="*/ 140680 w 167382"/>
                <a:gd name="connsiteY10" fmla="*/ 208921 h 579800"/>
                <a:gd name="connsiteX11" fmla="*/ 167383 w 167382"/>
                <a:gd name="connsiteY11" fmla="*/ 559031 h 579800"/>
                <a:gd name="connsiteX12" fmla="*/ 167383 w 167382"/>
                <a:gd name="connsiteY12" fmla="*/ 561998 h 579800"/>
                <a:gd name="connsiteX13" fmla="*/ 164416 w 167382"/>
                <a:gd name="connsiteY13" fmla="*/ 561998 h 579800"/>
                <a:gd name="connsiteX14" fmla="*/ 33866 w 167382"/>
                <a:gd name="connsiteY14" fmla="*/ 579800 h 57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7382" h="579800">
                  <a:moveTo>
                    <a:pt x="33866" y="579800"/>
                  </a:moveTo>
                  <a:cubicBezTo>
                    <a:pt x="30899" y="579800"/>
                    <a:pt x="27932" y="579800"/>
                    <a:pt x="27932" y="579800"/>
                  </a:cubicBezTo>
                  <a:cubicBezTo>
                    <a:pt x="24965" y="579800"/>
                    <a:pt x="21998" y="576834"/>
                    <a:pt x="21998" y="573866"/>
                  </a:cubicBezTo>
                  <a:cubicBezTo>
                    <a:pt x="21998" y="570899"/>
                    <a:pt x="24965" y="567932"/>
                    <a:pt x="27932" y="567932"/>
                  </a:cubicBezTo>
                  <a:cubicBezTo>
                    <a:pt x="27932" y="567932"/>
                    <a:pt x="27932" y="567932"/>
                    <a:pt x="27932" y="567932"/>
                  </a:cubicBezTo>
                  <a:cubicBezTo>
                    <a:pt x="81339" y="570899"/>
                    <a:pt x="137713" y="556064"/>
                    <a:pt x="152548" y="553097"/>
                  </a:cubicBezTo>
                  <a:cubicBezTo>
                    <a:pt x="152548" y="526394"/>
                    <a:pt x="146614" y="369141"/>
                    <a:pt x="128811" y="208921"/>
                  </a:cubicBezTo>
                  <a:cubicBezTo>
                    <a:pt x="108042" y="36833"/>
                    <a:pt x="4196" y="10130"/>
                    <a:pt x="4196" y="10130"/>
                  </a:cubicBezTo>
                  <a:cubicBezTo>
                    <a:pt x="1229" y="10130"/>
                    <a:pt x="-1738" y="7163"/>
                    <a:pt x="1229" y="4196"/>
                  </a:cubicBezTo>
                  <a:cubicBezTo>
                    <a:pt x="1229" y="1229"/>
                    <a:pt x="4196" y="-1738"/>
                    <a:pt x="7163" y="1229"/>
                  </a:cubicBezTo>
                  <a:cubicBezTo>
                    <a:pt x="13097" y="1229"/>
                    <a:pt x="119910" y="27932"/>
                    <a:pt x="140680" y="208921"/>
                  </a:cubicBezTo>
                  <a:cubicBezTo>
                    <a:pt x="161449" y="383976"/>
                    <a:pt x="167383" y="556064"/>
                    <a:pt x="167383" y="559031"/>
                  </a:cubicBezTo>
                  <a:lnTo>
                    <a:pt x="167383" y="561998"/>
                  </a:lnTo>
                  <a:lnTo>
                    <a:pt x="164416" y="561998"/>
                  </a:lnTo>
                  <a:cubicBezTo>
                    <a:pt x="161449" y="561998"/>
                    <a:pt x="96174" y="579800"/>
                    <a:pt x="33866" y="579800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0" name="图形 1">
              <a:extLst>
                <a:ext uri="{FF2B5EF4-FFF2-40B4-BE49-F238E27FC236}">
                  <a16:creationId xmlns:a16="http://schemas.microsoft.com/office/drawing/2014/main" id="{049B8638-E487-4BA6-9424-2EF470C058BA}"/>
                </a:ext>
              </a:extLst>
            </p:cNvPr>
            <p:cNvGrpSpPr/>
            <p:nvPr/>
          </p:nvGrpSpPr>
          <p:grpSpPr>
            <a:xfrm>
              <a:off x="3018918" y="7733009"/>
              <a:ext cx="593554" cy="368264"/>
              <a:chOff x="3018918" y="7733009"/>
              <a:chExt cx="593554" cy="368264"/>
            </a:xfrm>
          </p:grpSpPr>
          <p:grpSp>
            <p:nvGrpSpPr>
              <p:cNvPr id="136" name="图形 1">
                <a:extLst>
                  <a:ext uri="{FF2B5EF4-FFF2-40B4-BE49-F238E27FC236}">
                    <a16:creationId xmlns:a16="http://schemas.microsoft.com/office/drawing/2014/main" id="{41575D92-46D5-4603-8898-39DF172E05C5}"/>
                  </a:ext>
                </a:extLst>
              </p:cNvPr>
              <p:cNvGrpSpPr/>
              <p:nvPr/>
            </p:nvGrpSpPr>
            <p:grpSpPr>
              <a:xfrm>
                <a:off x="3018918" y="7733009"/>
                <a:ext cx="589659" cy="368264"/>
                <a:chOff x="3018918" y="7733009"/>
                <a:chExt cx="589659" cy="368264"/>
              </a:xfrm>
            </p:grpSpPr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2A1F306F-2F75-42BF-9B3E-FC48DB7046DA}"/>
                    </a:ext>
                  </a:extLst>
                </p:cNvPr>
                <p:cNvSpPr/>
                <p:nvPr/>
              </p:nvSpPr>
              <p:spPr>
                <a:xfrm>
                  <a:off x="3018918" y="7733009"/>
                  <a:ext cx="479244" cy="368264"/>
                </a:xfrm>
                <a:custGeom>
                  <a:avLst/>
                  <a:gdLst>
                    <a:gd name="connsiteX0" fmla="*/ 96497 w 479244"/>
                    <a:gd name="connsiteY0" fmla="*/ 211012 h 368264"/>
                    <a:gd name="connsiteX1" fmla="*/ 60893 w 479244"/>
                    <a:gd name="connsiteY1" fmla="*/ 368265 h 368264"/>
                    <a:gd name="connsiteX2" fmla="*/ 34190 w 479244"/>
                    <a:gd name="connsiteY2" fmla="*/ 353429 h 368264"/>
                    <a:gd name="connsiteX3" fmla="*/ 123201 w 479244"/>
                    <a:gd name="connsiteY3" fmla="*/ 35957 h 368264"/>
                    <a:gd name="connsiteX4" fmla="*/ 479245 w 479244"/>
                    <a:gd name="connsiteY4" fmla="*/ 130902 h 368264"/>
                    <a:gd name="connsiteX5" fmla="*/ 96497 w 479244"/>
                    <a:gd name="connsiteY5" fmla="*/ 211012 h 368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9244" h="368264">
                      <a:moveTo>
                        <a:pt x="96497" y="211012"/>
                      </a:moveTo>
                      <a:cubicBezTo>
                        <a:pt x="81662" y="225847"/>
                        <a:pt x="63860" y="302990"/>
                        <a:pt x="60893" y="368265"/>
                      </a:cubicBezTo>
                      <a:cubicBezTo>
                        <a:pt x="60893" y="368265"/>
                        <a:pt x="49025" y="359364"/>
                        <a:pt x="34190" y="353429"/>
                      </a:cubicBezTo>
                      <a:cubicBezTo>
                        <a:pt x="-1415" y="291122"/>
                        <a:pt x="-48887" y="136836"/>
                        <a:pt x="123201" y="35957"/>
                      </a:cubicBezTo>
                      <a:cubicBezTo>
                        <a:pt x="271552" y="-50087"/>
                        <a:pt x="416937" y="32990"/>
                        <a:pt x="479245" y="130902"/>
                      </a:cubicBezTo>
                      <a:cubicBezTo>
                        <a:pt x="479245" y="133869"/>
                        <a:pt x="241882" y="65627"/>
                        <a:pt x="96497" y="21101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E8A37BEA-F138-4DB5-901B-D8987733EF7E}"/>
                    </a:ext>
                  </a:extLst>
                </p:cNvPr>
                <p:cNvSpPr/>
                <p:nvPr/>
              </p:nvSpPr>
              <p:spPr>
                <a:xfrm>
                  <a:off x="3100580" y="7770572"/>
                  <a:ext cx="507997" cy="220920"/>
                </a:xfrm>
                <a:custGeom>
                  <a:avLst/>
                  <a:gdLst>
                    <a:gd name="connsiteX0" fmla="*/ 0 w 507997"/>
                    <a:gd name="connsiteY0" fmla="*/ 188284 h 220920"/>
                    <a:gd name="connsiteX1" fmla="*/ 195824 w 507997"/>
                    <a:gd name="connsiteY1" fmla="*/ 42899 h 220920"/>
                    <a:gd name="connsiteX2" fmla="*/ 504396 w 507997"/>
                    <a:gd name="connsiteY2" fmla="*/ 63668 h 220920"/>
                    <a:gd name="connsiteX3" fmla="*/ 400549 w 507997"/>
                    <a:gd name="connsiteY3" fmla="*/ 220921 h 220920"/>
                    <a:gd name="connsiteX4" fmla="*/ 0 w 507997"/>
                    <a:gd name="connsiteY4" fmla="*/ 188284 h 220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7997" h="220920">
                      <a:moveTo>
                        <a:pt x="0" y="188284"/>
                      </a:moveTo>
                      <a:cubicBezTo>
                        <a:pt x="0" y="188284"/>
                        <a:pt x="56374" y="108174"/>
                        <a:pt x="195824" y="42899"/>
                      </a:cubicBezTo>
                      <a:cubicBezTo>
                        <a:pt x="341209" y="-25343"/>
                        <a:pt x="477692" y="-7540"/>
                        <a:pt x="504396" y="63668"/>
                      </a:cubicBezTo>
                      <a:cubicBezTo>
                        <a:pt x="531099" y="134877"/>
                        <a:pt x="400549" y="220921"/>
                        <a:pt x="400549" y="220921"/>
                      </a:cubicBezTo>
                      <a:cubicBezTo>
                        <a:pt x="400549" y="220921"/>
                        <a:pt x="258132" y="81471"/>
                        <a:pt x="0" y="188284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0" name="任意多边形: 形状 139">
                  <a:extLst>
                    <a:ext uri="{FF2B5EF4-FFF2-40B4-BE49-F238E27FC236}">
                      <a16:creationId xmlns:a16="http://schemas.microsoft.com/office/drawing/2014/main" id="{3922A600-3F6B-46BF-8615-01E8D9CA7100}"/>
                    </a:ext>
                  </a:extLst>
                </p:cNvPr>
                <p:cNvSpPr/>
                <p:nvPr/>
              </p:nvSpPr>
              <p:spPr>
                <a:xfrm>
                  <a:off x="3112448" y="7733362"/>
                  <a:ext cx="56373" cy="53406"/>
                </a:xfrm>
                <a:custGeom>
                  <a:avLst/>
                  <a:gdLst>
                    <a:gd name="connsiteX0" fmla="*/ 0 w 56373"/>
                    <a:gd name="connsiteY0" fmla="*/ 26703 h 53406"/>
                    <a:gd name="connsiteX1" fmla="*/ 29670 w 56373"/>
                    <a:gd name="connsiteY1" fmla="*/ 0 h 53406"/>
                    <a:gd name="connsiteX2" fmla="*/ 56374 w 56373"/>
                    <a:gd name="connsiteY2" fmla="*/ 26703 h 53406"/>
                    <a:gd name="connsiteX3" fmla="*/ 26703 w 56373"/>
                    <a:gd name="connsiteY3" fmla="*/ 53407 h 53406"/>
                    <a:gd name="connsiteX4" fmla="*/ 0 w 56373"/>
                    <a:gd name="connsiteY4" fmla="*/ 26703 h 5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373" h="53406">
                      <a:moveTo>
                        <a:pt x="0" y="26703"/>
                      </a:moveTo>
                      <a:cubicBezTo>
                        <a:pt x="0" y="11868"/>
                        <a:pt x="11868" y="0"/>
                        <a:pt x="29670" y="0"/>
                      </a:cubicBezTo>
                      <a:cubicBezTo>
                        <a:pt x="44505" y="0"/>
                        <a:pt x="56374" y="11868"/>
                        <a:pt x="56374" y="26703"/>
                      </a:cubicBezTo>
                      <a:cubicBezTo>
                        <a:pt x="56374" y="41538"/>
                        <a:pt x="44505" y="53407"/>
                        <a:pt x="26703" y="53407"/>
                      </a:cubicBezTo>
                      <a:cubicBezTo>
                        <a:pt x="11868" y="53407"/>
                        <a:pt x="0" y="41538"/>
                        <a:pt x="0" y="26703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C80B6723-4854-4417-B4AA-C0B9A57BA3DF}"/>
                  </a:ext>
                </a:extLst>
              </p:cNvPr>
              <p:cNvSpPr/>
              <p:nvPr/>
            </p:nvSpPr>
            <p:spPr>
              <a:xfrm>
                <a:off x="3095388" y="7766207"/>
                <a:ext cx="517084" cy="198583"/>
              </a:xfrm>
              <a:custGeom>
                <a:avLst/>
                <a:gdLst>
                  <a:gd name="connsiteX0" fmla="*/ 5192 w 517084"/>
                  <a:gd name="connsiteY0" fmla="*/ 198583 h 198583"/>
                  <a:gd name="connsiteX1" fmla="*/ 2225 w 517084"/>
                  <a:gd name="connsiteY1" fmla="*/ 198583 h 198583"/>
                  <a:gd name="connsiteX2" fmla="*/ 2225 w 517084"/>
                  <a:gd name="connsiteY2" fmla="*/ 189682 h 198583"/>
                  <a:gd name="connsiteX3" fmla="*/ 328599 w 517084"/>
                  <a:gd name="connsiteY3" fmla="*/ 5726 h 198583"/>
                  <a:gd name="connsiteX4" fmla="*/ 512555 w 517084"/>
                  <a:gd name="connsiteY4" fmla="*/ 65067 h 198583"/>
                  <a:gd name="connsiteX5" fmla="*/ 456181 w 517084"/>
                  <a:gd name="connsiteY5" fmla="*/ 189682 h 198583"/>
                  <a:gd name="connsiteX6" fmla="*/ 447280 w 517084"/>
                  <a:gd name="connsiteY6" fmla="*/ 189682 h 198583"/>
                  <a:gd name="connsiteX7" fmla="*/ 447280 w 517084"/>
                  <a:gd name="connsiteY7" fmla="*/ 180781 h 198583"/>
                  <a:gd name="connsiteX8" fmla="*/ 500687 w 517084"/>
                  <a:gd name="connsiteY8" fmla="*/ 71001 h 198583"/>
                  <a:gd name="connsiteX9" fmla="*/ 328599 w 517084"/>
                  <a:gd name="connsiteY9" fmla="*/ 17594 h 198583"/>
                  <a:gd name="connsiteX10" fmla="*/ 8159 w 517084"/>
                  <a:gd name="connsiteY10" fmla="*/ 195616 h 198583"/>
                  <a:gd name="connsiteX11" fmla="*/ 5192 w 517084"/>
                  <a:gd name="connsiteY11" fmla="*/ 198583 h 198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17084" h="198583">
                    <a:moveTo>
                      <a:pt x="5192" y="198583"/>
                    </a:moveTo>
                    <a:cubicBezTo>
                      <a:pt x="5192" y="198583"/>
                      <a:pt x="2225" y="198583"/>
                      <a:pt x="2225" y="198583"/>
                    </a:cubicBezTo>
                    <a:cubicBezTo>
                      <a:pt x="-742" y="195616"/>
                      <a:pt x="-742" y="192649"/>
                      <a:pt x="2225" y="189682"/>
                    </a:cubicBezTo>
                    <a:cubicBezTo>
                      <a:pt x="109038" y="56165"/>
                      <a:pt x="239588" y="20561"/>
                      <a:pt x="328599" y="5726"/>
                    </a:cubicBezTo>
                    <a:cubicBezTo>
                      <a:pt x="373104" y="-3175"/>
                      <a:pt x="482885" y="-12077"/>
                      <a:pt x="512555" y="65067"/>
                    </a:cubicBezTo>
                    <a:cubicBezTo>
                      <a:pt x="536291" y="127374"/>
                      <a:pt x="459148" y="186715"/>
                      <a:pt x="456181" y="189682"/>
                    </a:cubicBezTo>
                    <a:cubicBezTo>
                      <a:pt x="453214" y="192649"/>
                      <a:pt x="450247" y="189682"/>
                      <a:pt x="447280" y="189682"/>
                    </a:cubicBezTo>
                    <a:cubicBezTo>
                      <a:pt x="444313" y="186715"/>
                      <a:pt x="447280" y="183748"/>
                      <a:pt x="447280" y="180781"/>
                    </a:cubicBezTo>
                    <a:cubicBezTo>
                      <a:pt x="447280" y="180781"/>
                      <a:pt x="521456" y="124407"/>
                      <a:pt x="500687" y="71001"/>
                    </a:cubicBezTo>
                    <a:cubicBezTo>
                      <a:pt x="473984" y="2759"/>
                      <a:pt x="370137" y="11660"/>
                      <a:pt x="328599" y="17594"/>
                    </a:cubicBezTo>
                    <a:cubicBezTo>
                      <a:pt x="239588" y="32429"/>
                      <a:pt x="112005" y="65067"/>
                      <a:pt x="8159" y="195616"/>
                    </a:cubicBezTo>
                    <a:cubicBezTo>
                      <a:pt x="8159" y="198583"/>
                      <a:pt x="8159" y="198583"/>
                      <a:pt x="5192" y="19858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35EFE83D-2005-4451-BF45-8520456480EA}"/>
                </a:ext>
              </a:extLst>
            </p:cNvPr>
            <p:cNvGrpSpPr/>
            <p:nvPr/>
          </p:nvGrpSpPr>
          <p:grpSpPr>
            <a:xfrm>
              <a:off x="3329216" y="9625999"/>
              <a:ext cx="349935" cy="208497"/>
              <a:chOff x="3329216" y="9625999"/>
              <a:chExt cx="349935" cy="208497"/>
            </a:xfrm>
          </p:grpSpPr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8B07B11A-AE9E-4C1D-9B4B-B1959EAED3C0}"/>
                  </a:ext>
                </a:extLst>
              </p:cNvPr>
              <p:cNvSpPr/>
              <p:nvPr/>
            </p:nvSpPr>
            <p:spPr>
              <a:xfrm>
                <a:off x="3329216" y="9625999"/>
                <a:ext cx="349935" cy="208497"/>
              </a:xfrm>
              <a:custGeom>
                <a:avLst/>
                <a:gdLst>
                  <a:gd name="connsiteX0" fmla="*/ 14661 w 349935"/>
                  <a:gd name="connsiteY0" fmla="*/ 160550 h 208497"/>
                  <a:gd name="connsiteX1" fmla="*/ 20595 w 349935"/>
                  <a:gd name="connsiteY1" fmla="*/ 172418 h 208497"/>
                  <a:gd name="connsiteX2" fmla="*/ 195650 w 349935"/>
                  <a:gd name="connsiteY2" fmla="*/ 205055 h 208497"/>
                  <a:gd name="connsiteX3" fmla="*/ 332133 w 349935"/>
                  <a:gd name="connsiteY3" fmla="*/ 136813 h 208497"/>
                  <a:gd name="connsiteX4" fmla="*/ 320265 w 349935"/>
                  <a:gd name="connsiteY4" fmla="*/ 121978 h 208497"/>
                  <a:gd name="connsiteX5" fmla="*/ 278727 w 349935"/>
                  <a:gd name="connsiteY5" fmla="*/ 133846 h 208497"/>
                  <a:gd name="connsiteX6" fmla="*/ 326199 w 349935"/>
                  <a:gd name="connsiteY6" fmla="*/ 107143 h 208497"/>
                  <a:gd name="connsiteX7" fmla="*/ 349935 w 349935"/>
                  <a:gd name="connsiteY7" fmla="*/ 77473 h 208497"/>
                  <a:gd name="connsiteX8" fmla="*/ 335100 w 349935"/>
                  <a:gd name="connsiteY8" fmla="*/ 65605 h 208497"/>
                  <a:gd name="connsiteX9" fmla="*/ 341034 w 349935"/>
                  <a:gd name="connsiteY9" fmla="*/ 62637 h 208497"/>
                  <a:gd name="connsiteX10" fmla="*/ 320265 w 349935"/>
                  <a:gd name="connsiteY10" fmla="*/ 50769 h 208497"/>
                  <a:gd name="connsiteX11" fmla="*/ 145210 w 349935"/>
                  <a:gd name="connsiteY11" fmla="*/ 86374 h 208497"/>
                  <a:gd name="connsiteX12" fmla="*/ 180814 w 349935"/>
                  <a:gd name="connsiteY12" fmla="*/ 41869 h 208497"/>
                  <a:gd name="connsiteX13" fmla="*/ 234221 w 349935"/>
                  <a:gd name="connsiteY13" fmla="*/ 24066 h 208497"/>
                  <a:gd name="connsiteX14" fmla="*/ 201584 w 349935"/>
                  <a:gd name="connsiteY14" fmla="*/ 329 h 208497"/>
                  <a:gd name="connsiteX15" fmla="*/ 136309 w 349935"/>
                  <a:gd name="connsiteY15" fmla="*/ 9231 h 208497"/>
                  <a:gd name="connsiteX16" fmla="*/ 53232 w 349935"/>
                  <a:gd name="connsiteY16" fmla="*/ 41869 h 208497"/>
                  <a:gd name="connsiteX17" fmla="*/ 14661 w 349935"/>
                  <a:gd name="connsiteY17" fmla="*/ 160550 h 208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49935" h="208497">
                    <a:moveTo>
                      <a:pt x="14661" y="160550"/>
                    </a:moveTo>
                    <a:cubicBezTo>
                      <a:pt x="14661" y="163516"/>
                      <a:pt x="14661" y="169451"/>
                      <a:pt x="20595" y="172418"/>
                    </a:cubicBezTo>
                    <a:cubicBezTo>
                      <a:pt x="65100" y="196154"/>
                      <a:pt x="139276" y="216923"/>
                      <a:pt x="195650" y="205055"/>
                    </a:cubicBezTo>
                    <a:cubicBezTo>
                      <a:pt x="231254" y="196154"/>
                      <a:pt x="329166" y="154616"/>
                      <a:pt x="332133" y="136813"/>
                    </a:cubicBezTo>
                    <a:cubicBezTo>
                      <a:pt x="332133" y="133846"/>
                      <a:pt x="323232" y="124945"/>
                      <a:pt x="320265" y="121978"/>
                    </a:cubicBezTo>
                    <a:cubicBezTo>
                      <a:pt x="314331" y="119011"/>
                      <a:pt x="284661" y="133846"/>
                      <a:pt x="278727" y="133846"/>
                    </a:cubicBezTo>
                    <a:cubicBezTo>
                      <a:pt x="293562" y="124945"/>
                      <a:pt x="311364" y="119011"/>
                      <a:pt x="326199" y="107143"/>
                    </a:cubicBezTo>
                    <a:cubicBezTo>
                      <a:pt x="338067" y="98242"/>
                      <a:pt x="349935" y="89340"/>
                      <a:pt x="349935" y="77473"/>
                    </a:cubicBezTo>
                    <a:cubicBezTo>
                      <a:pt x="349935" y="62637"/>
                      <a:pt x="344001" y="65605"/>
                      <a:pt x="335100" y="65605"/>
                    </a:cubicBezTo>
                    <a:cubicBezTo>
                      <a:pt x="335100" y="65605"/>
                      <a:pt x="341034" y="62637"/>
                      <a:pt x="341034" y="62637"/>
                    </a:cubicBezTo>
                    <a:cubicBezTo>
                      <a:pt x="344001" y="59670"/>
                      <a:pt x="323232" y="53737"/>
                      <a:pt x="320265" y="50769"/>
                    </a:cubicBezTo>
                    <a:cubicBezTo>
                      <a:pt x="305430" y="27034"/>
                      <a:pt x="174880" y="121978"/>
                      <a:pt x="145210" y="86374"/>
                    </a:cubicBezTo>
                    <a:cubicBezTo>
                      <a:pt x="148177" y="77473"/>
                      <a:pt x="163012" y="53737"/>
                      <a:pt x="180814" y="41869"/>
                    </a:cubicBezTo>
                    <a:cubicBezTo>
                      <a:pt x="222353" y="41869"/>
                      <a:pt x="237188" y="35934"/>
                      <a:pt x="234221" y="24066"/>
                    </a:cubicBezTo>
                    <a:cubicBezTo>
                      <a:pt x="234221" y="18132"/>
                      <a:pt x="213452" y="329"/>
                      <a:pt x="201584" y="329"/>
                    </a:cubicBezTo>
                    <a:cubicBezTo>
                      <a:pt x="174880" y="329"/>
                      <a:pt x="168946" y="-2637"/>
                      <a:pt x="136309" y="9231"/>
                    </a:cubicBezTo>
                    <a:cubicBezTo>
                      <a:pt x="109606" y="18132"/>
                      <a:pt x="82902" y="32967"/>
                      <a:pt x="53232" y="41869"/>
                    </a:cubicBezTo>
                    <a:cubicBezTo>
                      <a:pt x="-9076" y="56704"/>
                      <a:pt x="-9076" y="119011"/>
                      <a:pt x="14661" y="160550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00BEB9A0-B2D4-4295-8DE6-9117FD3695A4}"/>
                  </a:ext>
                </a:extLst>
              </p:cNvPr>
              <p:cNvSpPr/>
              <p:nvPr/>
            </p:nvSpPr>
            <p:spPr>
              <a:xfrm>
                <a:off x="3521899" y="9680562"/>
                <a:ext cx="151318" cy="108952"/>
              </a:xfrm>
              <a:custGeom>
                <a:avLst/>
                <a:gdLst>
                  <a:gd name="connsiteX0" fmla="*/ 35604 w 151318"/>
                  <a:gd name="connsiteY0" fmla="*/ 108953 h 108952"/>
                  <a:gd name="connsiteX1" fmla="*/ 29670 w 151318"/>
                  <a:gd name="connsiteY1" fmla="*/ 105987 h 108952"/>
                  <a:gd name="connsiteX2" fmla="*/ 32637 w 151318"/>
                  <a:gd name="connsiteY2" fmla="*/ 100052 h 108952"/>
                  <a:gd name="connsiteX3" fmla="*/ 115714 w 151318"/>
                  <a:gd name="connsiteY3" fmla="*/ 52579 h 108952"/>
                  <a:gd name="connsiteX4" fmla="*/ 139451 w 151318"/>
                  <a:gd name="connsiteY4" fmla="*/ 22909 h 108952"/>
                  <a:gd name="connsiteX5" fmla="*/ 136484 w 151318"/>
                  <a:gd name="connsiteY5" fmla="*/ 14008 h 108952"/>
                  <a:gd name="connsiteX6" fmla="*/ 100879 w 151318"/>
                  <a:gd name="connsiteY6" fmla="*/ 37744 h 108952"/>
                  <a:gd name="connsiteX7" fmla="*/ 5934 w 151318"/>
                  <a:gd name="connsiteY7" fmla="*/ 91151 h 108952"/>
                  <a:gd name="connsiteX8" fmla="*/ 0 w 151318"/>
                  <a:gd name="connsiteY8" fmla="*/ 85217 h 108952"/>
                  <a:gd name="connsiteX9" fmla="*/ 5934 w 151318"/>
                  <a:gd name="connsiteY9" fmla="*/ 79283 h 108952"/>
                  <a:gd name="connsiteX10" fmla="*/ 94945 w 151318"/>
                  <a:gd name="connsiteY10" fmla="*/ 25876 h 108952"/>
                  <a:gd name="connsiteX11" fmla="*/ 142418 w 151318"/>
                  <a:gd name="connsiteY11" fmla="*/ 2140 h 108952"/>
                  <a:gd name="connsiteX12" fmla="*/ 151319 w 151318"/>
                  <a:gd name="connsiteY12" fmla="*/ 19942 h 108952"/>
                  <a:gd name="connsiteX13" fmla="*/ 121648 w 151318"/>
                  <a:gd name="connsiteY13" fmla="*/ 58514 h 108952"/>
                  <a:gd name="connsiteX14" fmla="*/ 35604 w 151318"/>
                  <a:gd name="connsiteY14" fmla="*/ 108953 h 108952"/>
                  <a:gd name="connsiteX15" fmla="*/ 35604 w 151318"/>
                  <a:gd name="connsiteY15" fmla="*/ 108953 h 108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1318" h="108952">
                    <a:moveTo>
                      <a:pt x="35604" y="108953"/>
                    </a:moveTo>
                    <a:cubicBezTo>
                      <a:pt x="32637" y="108953"/>
                      <a:pt x="32637" y="108953"/>
                      <a:pt x="29670" y="105987"/>
                    </a:cubicBezTo>
                    <a:cubicBezTo>
                      <a:pt x="29670" y="103019"/>
                      <a:pt x="29670" y="100052"/>
                      <a:pt x="32637" y="100052"/>
                    </a:cubicBezTo>
                    <a:cubicBezTo>
                      <a:pt x="32637" y="100052"/>
                      <a:pt x="94945" y="70382"/>
                      <a:pt x="115714" y="52579"/>
                    </a:cubicBezTo>
                    <a:cubicBezTo>
                      <a:pt x="127582" y="40712"/>
                      <a:pt x="139451" y="31811"/>
                      <a:pt x="139451" y="22909"/>
                    </a:cubicBezTo>
                    <a:cubicBezTo>
                      <a:pt x="139451" y="19942"/>
                      <a:pt x="139451" y="16976"/>
                      <a:pt x="136484" y="14008"/>
                    </a:cubicBezTo>
                    <a:cubicBezTo>
                      <a:pt x="130549" y="16976"/>
                      <a:pt x="115714" y="28844"/>
                      <a:pt x="100879" y="37744"/>
                    </a:cubicBezTo>
                    <a:cubicBezTo>
                      <a:pt x="71209" y="61481"/>
                      <a:pt x="32637" y="88184"/>
                      <a:pt x="5934" y="91151"/>
                    </a:cubicBezTo>
                    <a:cubicBezTo>
                      <a:pt x="2967" y="91151"/>
                      <a:pt x="0" y="88184"/>
                      <a:pt x="0" y="85217"/>
                    </a:cubicBezTo>
                    <a:cubicBezTo>
                      <a:pt x="0" y="82250"/>
                      <a:pt x="2967" y="79283"/>
                      <a:pt x="5934" y="79283"/>
                    </a:cubicBezTo>
                    <a:cubicBezTo>
                      <a:pt x="29670" y="76316"/>
                      <a:pt x="68242" y="46646"/>
                      <a:pt x="94945" y="25876"/>
                    </a:cubicBezTo>
                    <a:cubicBezTo>
                      <a:pt x="124615" y="2140"/>
                      <a:pt x="136484" y="-3794"/>
                      <a:pt x="142418" y="2140"/>
                    </a:cubicBezTo>
                    <a:cubicBezTo>
                      <a:pt x="148352" y="8074"/>
                      <a:pt x="151319" y="14008"/>
                      <a:pt x="151319" y="19942"/>
                    </a:cubicBezTo>
                    <a:cubicBezTo>
                      <a:pt x="151319" y="31811"/>
                      <a:pt x="139451" y="43679"/>
                      <a:pt x="121648" y="58514"/>
                    </a:cubicBezTo>
                    <a:cubicBezTo>
                      <a:pt x="103846" y="79283"/>
                      <a:pt x="41538" y="108953"/>
                      <a:pt x="35604" y="108953"/>
                    </a:cubicBezTo>
                    <a:cubicBezTo>
                      <a:pt x="38571" y="108953"/>
                      <a:pt x="38571" y="108953"/>
                      <a:pt x="35604" y="108953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F314484D-A65A-40FA-B22B-23014654DE07}"/>
                  </a:ext>
                </a:extLst>
              </p:cNvPr>
              <p:cNvSpPr/>
              <p:nvPr/>
            </p:nvSpPr>
            <p:spPr>
              <a:xfrm>
                <a:off x="3465525" y="9664325"/>
                <a:ext cx="190631" cy="62883"/>
              </a:xfrm>
              <a:custGeom>
                <a:avLst/>
                <a:gdLst>
                  <a:gd name="connsiteX0" fmla="*/ 41538 w 190631"/>
                  <a:gd name="connsiteY0" fmla="*/ 59916 h 62883"/>
                  <a:gd name="connsiteX1" fmla="*/ 2967 w 190631"/>
                  <a:gd name="connsiteY1" fmla="*/ 51014 h 62883"/>
                  <a:gd name="connsiteX2" fmla="*/ 0 w 190631"/>
                  <a:gd name="connsiteY2" fmla="*/ 45081 h 62883"/>
                  <a:gd name="connsiteX3" fmla="*/ 5934 w 190631"/>
                  <a:gd name="connsiteY3" fmla="*/ 42113 h 62883"/>
                  <a:gd name="connsiteX4" fmla="*/ 41538 w 190631"/>
                  <a:gd name="connsiteY4" fmla="*/ 48048 h 62883"/>
                  <a:gd name="connsiteX5" fmla="*/ 115714 w 190631"/>
                  <a:gd name="connsiteY5" fmla="*/ 18378 h 62883"/>
                  <a:gd name="connsiteX6" fmla="*/ 163187 w 190631"/>
                  <a:gd name="connsiteY6" fmla="*/ 575 h 62883"/>
                  <a:gd name="connsiteX7" fmla="*/ 186923 w 190631"/>
                  <a:gd name="connsiteY7" fmla="*/ 12443 h 62883"/>
                  <a:gd name="connsiteX8" fmla="*/ 189890 w 190631"/>
                  <a:gd name="connsiteY8" fmla="*/ 30245 h 62883"/>
                  <a:gd name="connsiteX9" fmla="*/ 183956 w 190631"/>
                  <a:gd name="connsiteY9" fmla="*/ 33213 h 62883"/>
                  <a:gd name="connsiteX10" fmla="*/ 180989 w 190631"/>
                  <a:gd name="connsiteY10" fmla="*/ 27278 h 62883"/>
                  <a:gd name="connsiteX11" fmla="*/ 180989 w 190631"/>
                  <a:gd name="connsiteY11" fmla="*/ 18378 h 62883"/>
                  <a:gd name="connsiteX12" fmla="*/ 166154 w 190631"/>
                  <a:gd name="connsiteY12" fmla="*/ 12443 h 62883"/>
                  <a:gd name="connsiteX13" fmla="*/ 124615 w 190631"/>
                  <a:gd name="connsiteY13" fmla="*/ 30245 h 62883"/>
                  <a:gd name="connsiteX14" fmla="*/ 47473 w 190631"/>
                  <a:gd name="connsiteY14" fmla="*/ 62883 h 62883"/>
                  <a:gd name="connsiteX15" fmla="*/ 41538 w 190631"/>
                  <a:gd name="connsiteY15" fmla="*/ 59916 h 62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0631" h="62883">
                    <a:moveTo>
                      <a:pt x="41538" y="59916"/>
                    </a:moveTo>
                    <a:cubicBezTo>
                      <a:pt x="26703" y="59916"/>
                      <a:pt x="5934" y="51014"/>
                      <a:pt x="2967" y="51014"/>
                    </a:cubicBezTo>
                    <a:cubicBezTo>
                      <a:pt x="0" y="51014"/>
                      <a:pt x="0" y="48048"/>
                      <a:pt x="0" y="45081"/>
                    </a:cubicBezTo>
                    <a:cubicBezTo>
                      <a:pt x="0" y="42113"/>
                      <a:pt x="2967" y="42113"/>
                      <a:pt x="5934" y="42113"/>
                    </a:cubicBezTo>
                    <a:cubicBezTo>
                      <a:pt x="5934" y="42113"/>
                      <a:pt x="29670" y="51014"/>
                      <a:pt x="41538" y="48048"/>
                    </a:cubicBezTo>
                    <a:cubicBezTo>
                      <a:pt x="71209" y="45081"/>
                      <a:pt x="94945" y="30245"/>
                      <a:pt x="115714" y="18378"/>
                    </a:cubicBezTo>
                    <a:cubicBezTo>
                      <a:pt x="133516" y="6509"/>
                      <a:pt x="148352" y="-2392"/>
                      <a:pt x="163187" y="575"/>
                    </a:cubicBezTo>
                    <a:cubicBezTo>
                      <a:pt x="175055" y="575"/>
                      <a:pt x="180989" y="6509"/>
                      <a:pt x="186923" y="12443"/>
                    </a:cubicBezTo>
                    <a:cubicBezTo>
                      <a:pt x="192857" y="21344"/>
                      <a:pt x="189890" y="27278"/>
                      <a:pt x="189890" y="30245"/>
                    </a:cubicBezTo>
                    <a:cubicBezTo>
                      <a:pt x="189890" y="33213"/>
                      <a:pt x="186923" y="36179"/>
                      <a:pt x="183956" y="33213"/>
                    </a:cubicBezTo>
                    <a:cubicBezTo>
                      <a:pt x="180989" y="33213"/>
                      <a:pt x="180989" y="30245"/>
                      <a:pt x="180989" y="27278"/>
                    </a:cubicBezTo>
                    <a:cubicBezTo>
                      <a:pt x="180989" y="27278"/>
                      <a:pt x="180989" y="24311"/>
                      <a:pt x="180989" y="18378"/>
                    </a:cubicBezTo>
                    <a:cubicBezTo>
                      <a:pt x="178022" y="15410"/>
                      <a:pt x="175055" y="12443"/>
                      <a:pt x="166154" y="12443"/>
                    </a:cubicBezTo>
                    <a:cubicBezTo>
                      <a:pt x="157253" y="12443"/>
                      <a:pt x="142418" y="18378"/>
                      <a:pt x="124615" y="30245"/>
                    </a:cubicBezTo>
                    <a:cubicBezTo>
                      <a:pt x="103846" y="42113"/>
                      <a:pt x="77143" y="56949"/>
                      <a:pt x="47473" y="62883"/>
                    </a:cubicBezTo>
                    <a:cubicBezTo>
                      <a:pt x="44505" y="59916"/>
                      <a:pt x="41538" y="59916"/>
                      <a:pt x="41538" y="5991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C7193220-03C3-4FF4-8BD0-03469AC6AA1E}"/>
                </a:ext>
              </a:extLst>
            </p:cNvPr>
            <p:cNvSpPr/>
            <p:nvPr/>
          </p:nvSpPr>
          <p:spPr>
            <a:xfrm>
              <a:off x="2784756" y="9988307"/>
              <a:ext cx="200109" cy="219560"/>
            </a:xfrm>
            <a:custGeom>
              <a:avLst/>
              <a:gdLst>
                <a:gd name="connsiteX0" fmla="*/ 33956 w 200109"/>
                <a:gd name="connsiteY0" fmla="*/ 219560 h 219560"/>
                <a:gd name="connsiteX1" fmla="*/ 30989 w 200109"/>
                <a:gd name="connsiteY1" fmla="*/ 216593 h 219560"/>
                <a:gd name="connsiteX2" fmla="*/ 1319 w 200109"/>
                <a:gd name="connsiteY2" fmla="*/ 183956 h 219560"/>
                <a:gd name="connsiteX3" fmla="*/ 1319 w 200109"/>
                <a:gd name="connsiteY3" fmla="*/ 180989 h 219560"/>
                <a:gd name="connsiteX4" fmla="*/ 4286 w 200109"/>
                <a:gd name="connsiteY4" fmla="*/ 178022 h 219560"/>
                <a:gd name="connsiteX5" fmla="*/ 146703 w 200109"/>
                <a:gd name="connsiteY5" fmla="*/ 2967 h 219560"/>
                <a:gd name="connsiteX6" fmla="*/ 152637 w 200109"/>
                <a:gd name="connsiteY6" fmla="*/ 0 h 219560"/>
                <a:gd name="connsiteX7" fmla="*/ 197143 w 200109"/>
                <a:gd name="connsiteY7" fmla="*/ 14835 h 219560"/>
                <a:gd name="connsiteX8" fmla="*/ 200110 w 200109"/>
                <a:gd name="connsiteY8" fmla="*/ 17802 h 219560"/>
                <a:gd name="connsiteX9" fmla="*/ 200110 w 200109"/>
                <a:gd name="connsiteY9" fmla="*/ 20770 h 219560"/>
                <a:gd name="connsiteX10" fmla="*/ 39890 w 200109"/>
                <a:gd name="connsiteY10" fmla="*/ 216593 h 219560"/>
                <a:gd name="connsiteX11" fmla="*/ 33956 w 200109"/>
                <a:gd name="connsiteY11" fmla="*/ 219560 h 219560"/>
                <a:gd name="connsiteX12" fmla="*/ 10220 w 200109"/>
                <a:gd name="connsiteY12" fmla="*/ 180989 h 219560"/>
                <a:gd name="connsiteX13" fmla="*/ 33956 w 200109"/>
                <a:gd name="connsiteY13" fmla="*/ 204725 h 219560"/>
                <a:gd name="connsiteX14" fmla="*/ 185275 w 200109"/>
                <a:gd name="connsiteY14" fmla="*/ 20770 h 219560"/>
                <a:gd name="connsiteX15" fmla="*/ 149670 w 200109"/>
                <a:gd name="connsiteY15" fmla="*/ 8901 h 219560"/>
                <a:gd name="connsiteX16" fmla="*/ 10220 w 200109"/>
                <a:gd name="connsiteY16" fmla="*/ 180989 h 219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0109" h="219560">
                  <a:moveTo>
                    <a:pt x="33956" y="219560"/>
                  </a:moveTo>
                  <a:cubicBezTo>
                    <a:pt x="30989" y="219560"/>
                    <a:pt x="30989" y="219560"/>
                    <a:pt x="30989" y="216593"/>
                  </a:cubicBezTo>
                  <a:lnTo>
                    <a:pt x="1319" y="183956"/>
                  </a:lnTo>
                  <a:cubicBezTo>
                    <a:pt x="1319" y="183956"/>
                    <a:pt x="-1648" y="180989"/>
                    <a:pt x="1319" y="180989"/>
                  </a:cubicBezTo>
                  <a:cubicBezTo>
                    <a:pt x="1319" y="178022"/>
                    <a:pt x="1319" y="178022"/>
                    <a:pt x="4286" y="178022"/>
                  </a:cubicBezTo>
                  <a:cubicBezTo>
                    <a:pt x="90330" y="109781"/>
                    <a:pt x="146703" y="2967"/>
                    <a:pt x="146703" y="2967"/>
                  </a:cubicBezTo>
                  <a:cubicBezTo>
                    <a:pt x="146703" y="0"/>
                    <a:pt x="149670" y="0"/>
                    <a:pt x="152637" y="0"/>
                  </a:cubicBezTo>
                  <a:lnTo>
                    <a:pt x="197143" y="14835"/>
                  </a:lnTo>
                  <a:cubicBezTo>
                    <a:pt x="197143" y="14835"/>
                    <a:pt x="200110" y="17802"/>
                    <a:pt x="200110" y="17802"/>
                  </a:cubicBezTo>
                  <a:cubicBezTo>
                    <a:pt x="200110" y="17802"/>
                    <a:pt x="200110" y="20770"/>
                    <a:pt x="200110" y="20770"/>
                  </a:cubicBezTo>
                  <a:cubicBezTo>
                    <a:pt x="167473" y="109781"/>
                    <a:pt x="42857" y="213627"/>
                    <a:pt x="39890" y="216593"/>
                  </a:cubicBezTo>
                  <a:cubicBezTo>
                    <a:pt x="33956" y="219560"/>
                    <a:pt x="33956" y="219560"/>
                    <a:pt x="33956" y="219560"/>
                  </a:cubicBezTo>
                  <a:close/>
                  <a:moveTo>
                    <a:pt x="10220" y="180989"/>
                  </a:moveTo>
                  <a:lnTo>
                    <a:pt x="33956" y="204725"/>
                  </a:lnTo>
                  <a:cubicBezTo>
                    <a:pt x="54725" y="186923"/>
                    <a:pt x="152637" y="97912"/>
                    <a:pt x="185275" y="20770"/>
                  </a:cubicBezTo>
                  <a:lnTo>
                    <a:pt x="149670" y="8901"/>
                  </a:lnTo>
                  <a:cubicBezTo>
                    <a:pt x="137802" y="29670"/>
                    <a:pt x="87363" y="118681"/>
                    <a:pt x="10220" y="180989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4FC7077B-2CF5-45E5-BAD4-4577DBC84B95}"/>
                </a:ext>
              </a:extLst>
            </p:cNvPr>
            <p:cNvSpPr/>
            <p:nvPr/>
          </p:nvSpPr>
          <p:spPr>
            <a:xfrm>
              <a:off x="3691020" y="9994241"/>
              <a:ext cx="94945" cy="100878"/>
            </a:xfrm>
            <a:custGeom>
              <a:avLst/>
              <a:gdLst>
                <a:gd name="connsiteX0" fmla="*/ 89011 w 94945"/>
                <a:gd name="connsiteY0" fmla="*/ 100879 h 100878"/>
                <a:gd name="connsiteX1" fmla="*/ 89011 w 94945"/>
                <a:gd name="connsiteY1" fmla="*/ 100879 h 100878"/>
                <a:gd name="connsiteX2" fmla="*/ 2967 w 94945"/>
                <a:gd name="connsiteY2" fmla="*/ 53406 h 100878"/>
                <a:gd name="connsiteX3" fmla="*/ 0 w 94945"/>
                <a:gd name="connsiteY3" fmla="*/ 47472 h 100878"/>
                <a:gd name="connsiteX4" fmla="*/ 0 w 94945"/>
                <a:gd name="connsiteY4" fmla="*/ 5934 h 100878"/>
                <a:gd name="connsiteX5" fmla="*/ 2967 w 94945"/>
                <a:gd name="connsiteY5" fmla="*/ 0 h 100878"/>
                <a:gd name="connsiteX6" fmla="*/ 8901 w 94945"/>
                <a:gd name="connsiteY6" fmla="*/ 0 h 100878"/>
                <a:gd name="connsiteX7" fmla="*/ 77143 w 94945"/>
                <a:gd name="connsiteY7" fmla="*/ 32637 h 100878"/>
                <a:gd name="connsiteX8" fmla="*/ 80110 w 94945"/>
                <a:gd name="connsiteY8" fmla="*/ 38571 h 100878"/>
                <a:gd name="connsiteX9" fmla="*/ 74176 w 94945"/>
                <a:gd name="connsiteY9" fmla="*/ 41538 h 100878"/>
                <a:gd name="connsiteX10" fmla="*/ 11868 w 94945"/>
                <a:gd name="connsiteY10" fmla="*/ 14835 h 100878"/>
                <a:gd name="connsiteX11" fmla="*/ 11868 w 94945"/>
                <a:gd name="connsiteY11" fmla="*/ 44505 h 100878"/>
                <a:gd name="connsiteX12" fmla="*/ 91978 w 94945"/>
                <a:gd name="connsiteY12" fmla="*/ 89011 h 100878"/>
                <a:gd name="connsiteX13" fmla="*/ 94945 w 94945"/>
                <a:gd name="connsiteY13" fmla="*/ 97912 h 100878"/>
                <a:gd name="connsiteX14" fmla="*/ 89011 w 94945"/>
                <a:gd name="connsiteY14" fmla="*/ 100879 h 100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4945" h="100878">
                  <a:moveTo>
                    <a:pt x="89011" y="100879"/>
                  </a:moveTo>
                  <a:cubicBezTo>
                    <a:pt x="89011" y="100879"/>
                    <a:pt x="89011" y="100879"/>
                    <a:pt x="89011" y="100879"/>
                  </a:cubicBezTo>
                  <a:lnTo>
                    <a:pt x="2967" y="53406"/>
                  </a:lnTo>
                  <a:cubicBezTo>
                    <a:pt x="0" y="53406"/>
                    <a:pt x="0" y="50439"/>
                    <a:pt x="0" y="47472"/>
                  </a:cubicBezTo>
                  <a:lnTo>
                    <a:pt x="0" y="5934"/>
                  </a:lnTo>
                  <a:cubicBezTo>
                    <a:pt x="0" y="2966"/>
                    <a:pt x="0" y="2966"/>
                    <a:pt x="2967" y="0"/>
                  </a:cubicBezTo>
                  <a:cubicBezTo>
                    <a:pt x="5934" y="0"/>
                    <a:pt x="5934" y="0"/>
                    <a:pt x="8901" y="0"/>
                  </a:cubicBezTo>
                  <a:cubicBezTo>
                    <a:pt x="23736" y="8901"/>
                    <a:pt x="77143" y="32637"/>
                    <a:pt x="77143" y="32637"/>
                  </a:cubicBezTo>
                  <a:cubicBezTo>
                    <a:pt x="80110" y="32637"/>
                    <a:pt x="80110" y="35604"/>
                    <a:pt x="80110" y="38571"/>
                  </a:cubicBezTo>
                  <a:cubicBezTo>
                    <a:pt x="80110" y="41538"/>
                    <a:pt x="77143" y="41538"/>
                    <a:pt x="74176" y="41538"/>
                  </a:cubicBezTo>
                  <a:cubicBezTo>
                    <a:pt x="71209" y="41538"/>
                    <a:pt x="32637" y="23736"/>
                    <a:pt x="11868" y="14835"/>
                  </a:cubicBezTo>
                  <a:lnTo>
                    <a:pt x="11868" y="44505"/>
                  </a:lnTo>
                  <a:lnTo>
                    <a:pt x="91978" y="89011"/>
                  </a:lnTo>
                  <a:cubicBezTo>
                    <a:pt x="94945" y="89011"/>
                    <a:pt x="94945" y="94945"/>
                    <a:pt x="94945" y="97912"/>
                  </a:cubicBezTo>
                  <a:cubicBezTo>
                    <a:pt x="94945" y="97912"/>
                    <a:pt x="91978" y="100879"/>
                    <a:pt x="89011" y="100879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0995BDEB-4665-4DF3-8FF9-2D86E841C357}"/>
                </a:ext>
              </a:extLst>
            </p:cNvPr>
            <p:cNvGrpSpPr/>
            <p:nvPr/>
          </p:nvGrpSpPr>
          <p:grpSpPr>
            <a:xfrm>
              <a:off x="7040357" y="12109735"/>
              <a:ext cx="384673" cy="348877"/>
              <a:chOff x="7040357" y="12109735"/>
              <a:chExt cx="384673" cy="348877"/>
            </a:xfrm>
          </p:grpSpPr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8A077F98-E2BF-4876-B541-731D11222C19}"/>
                  </a:ext>
                </a:extLst>
              </p:cNvPr>
              <p:cNvSpPr/>
              <p:nvPr/>
            </p:nvSpPr>
            <p:spPr>
              <a:xfrm>
                <a:off x="7040357" y="12228417"/>
                <a:ext cx="384673" cy="230195"/>
              </a:xfrm>
              <a:custGeom>
                <a:avLst/>
                <a:gdLst>
                  <a:gd name="connsiteX0" fmla="*/ 279343 w 384673"/>
                  <a:gd name="connsiteY0" fmla="*/ 0 h 230195"/>
                  <a:gd name="connsiteX1" fmla="*/ 125058 w 384673"/>
                  <a:gd name="connsiteY1" fmla="*/ 121649 h 230195"/>
                  <a:gd name="connsiteX2" fmla="*/ 314948 w 384673"/>
                  <a:gd name="connsiteY2" fmla="*/ 74176 h 230195"/>
                  <a:gd name="connsiteX3" fmla="*/ 383190 w 384673"/>
                  <a:gd name="connsiteY3" fmla="*/ 50440 h 230195"/>
                  <a:gd name="connsiteX4" fmla="*/ 377256 w 384673"/>
                  <a:gd name="connsiteY4" fmla="*/ 154286 h 230195"/>
                  <a:gd name="connsiteX5" fmla="*/ 151761 w 384673"/>
                  <a:gd name="connsiteY5" fmla="*/ 225495 h 230195"/>
                  <a:gd name="connsiteX6" fmla="*/ 18245 w 384673"/>
                  <a:gd name="connsiteY6" fmla="*/ 225495 h 230195"/>
                  <a:gd name="connsiteX7" fmla="*/ 12310 w 384673"/>
                  <a:gd name="connsiteY7" fmla="*/ 172088 h 230195"/>
                  <a:gd name="connsiteX8" fmla="*/ 279343 w 384673"/>
                  <a:gd name="connsiteY8" fmla="*/ 0 h 230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4673" h="230195">
                    <a:moveTo>
                      <a:pt x="279343" y="0"/>
                    </a:moveTo>
                    <a:cubicBezTo>
                      <a:pt x="279343" y="0"/>
                      <a:pt x="110223" y="109781"/>
                      <a:pt x="125058" y="121649"/>
                    </a:cubicBezTo>
                    <a:cubicBezTo>
                      <a:pt x="136926" y="136484"/>
                      <a:pt x="314948" y="74176"/>
                      <a:pt x="314948" y="74176"/>
                    </a:cubicBezTo>
                    <a:lnTo>
                      <a:pt x="383190" y="50440"/>
                    </a:lnTo>
                    <a:cubicBezTo>
                      <a:pt x="383190" y="50440"/>
                      <a:pt x="389124" y="130549"/>
                      <a:pt x="377256" y="154286"/>
                    </a:cubicBezTo>
                    <a:cubicBezTo>
                      <a:pt x="306047" y="189890"/>
                      <a:pt x="222970" y="213627"/>
                      <a:pt x="151761" y="225495"/>
                    </a:cubicBezTo>
                    <a:cubicBezTo>
                      <a:pt x="107256" y="234395"/>
                      <a:pt x="27146" y="228462"/>
                      <a:pt x="18245" y="225495"/>
                    </a:cubicBezTo>
                    <a:cubicBezTo>
                      <a:pt x="9344" y="222527"/>
                      <a:pt x="-14393" y="198792"/>
                      <a:pt x="12310" y="172088"/>
                    </a:cubicBezTo>
                    <a:cubicBezTo>
                      <a:pt x="74618" y="109781"/>
                      <a:pt x="279343" y="0"/>
                      <a:pt x="279343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9373FBF0-EAB9-434A-85A4-035813028949}"/>
                  </a:ext>
                </a:extLst>
              </p:cNvPr>
              <p:cNvSpPr/>
              <p:nvPr/>
            </p:nvSpPr>
            <p:spPr>
              <a:xfrm>
                <a:off x="7164123" y="12109735"/>
                <a:ext cx="259423" cy="247261"/>
              </a:xfrm>
              <a:custGeom>
                <a:avLst/>
                <a:gdLst>
                  <a:gd name="connsiteX0" fmla="*/ 140742 w 259423"/>
                  <a:gd name="connsiteY0" fmla="*/ 0 h 247261"/>
                  <a:gd name="connsiteX1" fmla="*/ 155577 w 259423"/>
                  <a:gd name="connsiteY1" fmla="*/ 121649 h 247261"/>
                  <a:gd name="connsiteX2" fmla="*/ 1292 w 259423"/>
                  <a:gd name="connsiteY2" fmla="*/ 243297 h 247261"/>
                  <a:gd name="connsiteX3" fmla="*/ 232720 w 259423"/>
                  <a:gd name="connsiteY3" fmla="*/ 201758 h 247261"/>
                  <a:gd name="connsiteX4" fmla="*/ 259424 w 259423"/>
                  <a:gd name="connsiteY4" fmla="*/ 172088 h 247261"/>
                  <a:gd name="connsiteX5" fmla="*/ 259424 w 259423"/>
                  <a:gd name="connsiteY5" fmla="*/ 41538 h 247261"/>
                  <a:gd name="connsiteX6" fmla="*/ 140742 w 259423"/>
                  <a:gd name="connsiteY6" fmla="*/ 0 h 247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9423" h="247261">
                    <a:moveTo>
                      <a:pt x="140742" y="0"/>
                    </a:moveTo>
                    <a:lnTo>
                      <a:pt x="155577" y="121649"/>
                    </a:lnTo>
                    <a:cubicBezTo>
                      <a:pt x="155577" y="121649"/>
                      <a:pt x="-16510" y="222527"/>
                      <a:pt x="1292" y="243297"/>
                    </a:cubicBezTo>
                    <a:cubicBezTo>
                      <a:pt x="13160" y="258132"/>
                      <a:pt x="164479" y="228462"/>
                      <a:pt x="232720" y="201758"/>
                    </a:cubicBezTo>
                    <a:cubicBezTo>
                      <a:pt x="256457" y="192857"/>
                      <a:pt x="259424" y="172088"/>
                      <a:pt x="259424" y="172088"/>
                    </a:cubicBezTo>
                    <a:lnTo>
                      <a:pt x="259424" y="41538"/>
                    </a:lnTo>
                    <a:lnTo>
                      <a:pt x="140742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5" name="图形 1">
              <a:extLst>
                <a:ext uri="{FF2B5EF4-FFF2-40B4-BE49-F238E27FC236}">
                  <a16:creationId xmlns:a16="http://schemas.microsoft.com/office/drawing/2014/main" id="{AB988B9A-C714-4481-8AEC-CC38F88F6ABB}"/>
                </a:ext>
              </a:extLst>
            </p:cNvPr>
            <p:cNvGrpSpPr/>
            <p:nvPr/>
          </p:nvGrpSpPr>
          <p:grpSpPr>
            <a:xfrm>
              <a:off x="6349039" y="12109735"/>
              <a:ext cx="384673" cy="348877"/>
              <a:chOff x="6349039" y="12109735"/>
              <a:chExt cx="384673" cy="348877"/>
            </a:xfrm>
          </p:grpSpPr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D0D139D6-0C14-480A-A3A6-D5F18E8587C2}"/>
                  </a:ext>
                </a:extLst>
              </p:cNvPr>
              <p:cNvSpPr/>
              <p:nvPr/>
            </p:nvSpPr>
            <p:spPr>
              <a:xfrm>
                <a:off x="6349039" y="12228417"/>
                <a:ext cx="384673" cy="230195"/>
              </a:xfrm>
              <a:custGeom>
                <a:avLst/>
                <a:gdLst>
                  <a:gd name="connsiteX0" fmla="*/ 279344 w 384673"/>
                  <a:gd name="connsiteY0" fmla="*/ 0 h 230195"/>
                  <a:gd name="connsiteX1" fmla="*/ 125058 w 384673"/>
                  <a:gd name="connsiteY1" fmla="*/ 121649 h 230195"/>
                  <a:gd name="connsiteX2" fmla="*/ 314948 w 384673"/>
                  <a:gd name="connsiteY2" fmla="*/ 74176 h 230195"/>
                  <a:gd name="connsiteX3" fmla="*/ 383190 w 384673"/>
                  <a:gd name="connsiteY3" fmla="*/ 50440 h 230195"/>
                  <a:gd name="connsiteX4" fmla="*/ 377255 w 384673"/>
                  <a:gd name="connsiteY4" fmla="*/ 154286 h 230195"/>
                  <a:gd name="connsiteX5" fmla="*/ 151761 w 384673"/>
                  <a:gd name="connsiteY5" fmla="*/ 225495 h 230195"/>
                  <a:gd name="connsiteX6" fmla="*/ 18245 w 384673"/>
                  <a:gd name="connsiteY6" fmla="*/ 225495 h 230195"/>
                  <a:gd name="connsiteX7" fmla="*/ 12311 w 384673"/>
                  <a:gd name="connsiteY7" fmla="*/ 172088 h 230195"/>
                  <a:gd name="connsiteX8" fmla="*/ 279344 w 384673"/>
                  <a:gd name="connsiteY8" fmla="*/ 0 h 230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4673" h="230195">
                    <a:moveTo>
                      <a:pt x="279344" y="0"/>
                    </a:moveTo>
                    <a:cubicBezTo>
                      <a:pt x="279344" y="0"/>
                      <a:pt x="110223" y="109781"/>
                      <a:pt x="125058" y="121649"/>
                    </a:cubicBezTo>
                    <a:cubicBezTo>
                      <a:pt x="136926" y="136484"/>
                      <a:pt x="314948" y="74176"/>
                      <a:pt x="314948" y="74176"/>
                    </a:cubicBezTo>
                    <a:lnTo>
                      <a:pt x="383190" y="50440"/>
                    </a:lnTo>
                    <a:cubicBezTo>
                      <a:pt x="383190" y="50440"/>
                      <a:pt x="389124" y="130549"/>
                      <a:pt x="377255" y="154286"/>
                    </a:cubicBezTo>
                    <a:cubicBezTo>
                      <a:pt x="306047" y="189890"/>
                      <a:pt x="222970" y="213627"/>
                      <a:pt x="151761" y="225495"/>
                    </a:cubicBezTo>
                    <a:cubicBezTo>
                      <a:pt x="107256" y="234395"/>
                      <a:pt x="27146" y="228462"/>
                      <a:pt x="18245" y="225495"/>
                    </a:cubicBezTo>
                    <a:cubicBezTo>
                      <a:pt x="9344" y="222527"/>
                      <a:pt x="-14393" y="198792"/>
                      <a:pt x="12311" y="172088"/>
                    </a:cubicBezTo>
                    <a:cubicBezTo>
                      <a:pt x="74618" y="109781"/>
                      <a:pt x="279344" y="0"/>
                      <a:pt x="279344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A7387EE0-D54D-423C-9603-0F5F0A0D97DA}"/>
                  </a:ext>
                </a:extLst>
              </p:cNvPr>
              <p:cNvSpPr/>
              <p:nvPr/>
            </p:nvSpPr>
            <p:spPr>
              <a:xfrm>
                <a:off x="6472805" y="12109735"/>
                <a:ext cx="259423" cy="247261"/>
              </a:xfrm>
              <a:custGeom>
                <a:avLst/>
                <a:gdLst>
                  <a:gd name="connsiteX0" fmla="*/ 140743 w 259423"/>
                  <a:gd name="connsiteY0" fmla="*/ 0 h 247261"/>
                  <a:gd name="connsiteX1" fmla="*/ 155578 w 259423"/>
                  <a:gd name="connsiteY1" fmla="*/ 121649 h 247261"/>
                  <a:gd name="connsiteX2" fmla="*/ 1292 w 259423"/>
                  <a:gd name="connsiteY2" fmla="*/ 243297 h 247261"/>
                  <a:gd name="connsiteX3" fmla="*/ 232720 w 259423"/>
                  <a:gd name="connsiteY3" fmla="*/ 201758 h 247261"/>
                  <a:gd name="connsiteX4" fmla="*/ 259424 w 259423"/>
                  <a:gd name="connsiteY4" fmla="*/ 172088 h 247261"/>
                  <a:gd name="connsiteX5" fmla="*/ 259424 w 259423"/>
                  <a:gd name="connsiteY5" fmla="*/ 41538 h 247261"/>
                  <a:gd name="connsiteX6" fmla="*/ 140743 w 259423"/>
                  <a:gd name="connsiteY6" fmla="*/ 0 h 247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9423" h="247261">
                    <a:moveTo>
                      <a:pt x="140743" y="0"/>
                    </a:moveTo>
                    <a:lnTo>
                      <a:pt x="155578" y="121649"/>
                    </a:lnTo>
                    <a:cubicBezTo>
                      <a:pt x="155578" y="121649"/>
                      <a:pt x="-16510" y="222527"/>
                      <a:pt x="1292" y="243297"/>
                    </a:cubicBezTo>
                    <a:cubicBezTo>
                      <a:pt x="13160" y="258132"/>
                      <a:pt x="164479" y="228462"/>
                      <a:pt x="232720" y="201758"/>
                    </a:cubicBezTo>
                    <a:cubicBezTo>
                      <a:pt x="256457" y="192857"/>
                      <a:pt x="259424" y="172088"/>
                      <a:pt x="259424" y="172088"/>
                    </a:cubicBezTo>
                    <a:lnTo>
                      <a:pt x="259424" y="41538"/>
                    </a:lnTo>
                    <a:lnTo>
                      <a:pt x="140743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CE475B02-6285-4ED1-96EB-47B3BB3A759A}"/>
                </a:ext>
              </a:extLst>
            </p:cNvPr>
            <p:cNvSpPr/>
            <p:nvPr/>
          </p:nvSpPr>
          <p:spPr>
            <a:xfrm>
              <a:off x="6564348" y="9718306"/>
              <a:ext cx="898487" cy="2456703"/>
            </a:xfrm>
            <a:custGeom>
              <a:avLst/>
              <a:gdLst>
                <a:gd name="connsiteX0" fmla="*/ 770188 w 898487"/>
                <a:gd name="connsiteY0" fmla="*/ 0 h 2456703"/>
                <a:gd name="connsiteX1" fmla="*/ 120408 w 898487"/>
                <a:gd name="connsiteY1" fmla="*/ 0 h 2456703"/>
                <a:gd name="connsiteX2" fmla="*/ 4694 w 898487"/>
                <a:gd name="connsiteY2" fmla="*/ 448022 h 2456703"/>
                <a:gd name="connsiteX3" fmla="*/ 25463 w 898487"/>
                <a:gd name="connsiteY3" fmla="*/ 2456704 h 2456703"/>
                <a:gd name="connsiteX4" fmla="*/ 200518 w 898487"/>
                <a:gd name="connsiteY4" fmla="*/ 2456704 h 2456703"/>
                <a:gd name="connsiteX5" fmla="*/ 411177 w 898487"/>
                <a:gd name="connsiteY5" fmla="*/ 842637 h 2456703"/>
                <a:gd name="connsiteX6" fmla="*/ 704914 w 898487"/>
                <a:gd name="connsiteY6" fmla="*/ 2447802 h 2456703"/>
                <a:gd name="connsiteX7" fmla="*/ 894804 w 898487"/>
                <a:gd name="connsiteY7" fmla="*/ 2447802 h 2456703"/>
                <a:gd name="connsiteX8" fmla="*/ 897771 w 898487"/>
                <a:gd name="connsiteY8" fmla="*/ 409451 h 2456703"/>
                <a:gd name="connsiteX9" fmla="*/ 770188 w 898487"/>
                <a:gd name="connsiteY9" fmla="*/ 0 h 2456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8487" h="2456703">
                  <a:moveTo>
                    <a:pt x="770188" y="0"/>
                  </a:moveTo>
                  <a:lnTo>
                    <a:pt x="120408" y="0"/>
                  </a:lnTo>
                  <a:cubicBezTo>
                    <a:pt x="120408" y="0"/>
                    <a:pt x="25463" y="296703"/>
                    <a:pt x="4694" y="448022"/>
                  </a:cubicBezTo>
                  <a:cubicBezTo>
                    <a:pt x="-13108" y="596374"/>
                    <a:pt x="25463" y="2456704"/>
                    <a:pt x="25463" y="2456704"/>
                  </a:cubicBezTo>
                  <a:lnTo>
                    <a:pt x="200518" y="2456704"/>
                  </a:lnTo>
                  <a:lnTo>
                    <a:pt x="411177" y="842637"/>
                  </a:lnTo>
                  <a:lnTo>
                    <a:pt x="704914" y="2447802"/>
                  </a:lnTo>
                  <a:lnTo>
                    <a:pt x="894804" y="2447802"/>
                  </a:lnTo>
                  <a:cubicBezTo>
                    <a:pt x="894804" y="2447802"/>
                    <a:pt x="888870" y="525165"/>
                    <a:pt x="897771" y="409451"/>
                  </a:cubicBezTo>
                  <a:cubicBezTo>
                    <a:pt x="909639" y="287803"/>
                    <a:pt x="770188" y="0"/>
                    <a:pt x="770188" y="0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387FF240-6EBB-4580-9C47-6803CBA1F50C}"/>
                </a:ext>
              </a:extLst>
            </p:cNvPr>
            <p:cNvSpPr/>
            <p:nvPr/>
          </p:nvSpPr>
          <p:spPr>
            <a:xfrm>
              <a:off x="6969591" y="10095120"/>
              <a:ext cx="305604" cy="2073955"/>
            </a:xfrm>
            <a:custGeom>
              <a:avLst/>
              <a:gdLst>
                <a:gd name="connsiteX0" fmla="*/ 299670 w 305604"/>
                <a:gd name="connsiteY0" fmla="*/ 2073956 h 2073955"/>
                <a:gd name="connsiteX1" fmla="*/ 293736 w 305604"/>
                <a:gd name="connsiteY1" fmla="*/ 2068021 h 2073955"/>
                <a:gd name="connsiteX2" fmla="*/ 0 w 305604"/>
                <a:gd name="connsiteY2" fmla="*/ 462857 h 2073955"/>
                <a:gd name="connsiteX3" fmla="*/ 0 w 305604"/>
                <a:gd name="connsiteY3" fmla="*/ 5934 h 2073955"/>
                <a:gd name="connsiteX4" fmla="*/ 5934 w 305604"/>
                <a:gd name="connsiteY4" fmla="*/ 0 h 2073955"/>
                <a:gd name="connsiteX5" fmla="*/ 11868 w 305604"/>
                <a:gd name="connsiteY5" fmla="*/ 5934 h 2073955"/>
                <a:gd name="connsiteX6" fmla="*/ 11868 w 305604"/>
                <a:gd name="connsiteY6" fmla="*/ 462857 h 2073955"/>
                <a:gd name="connsiteX7" fmla="*/ 305604 w 305604"/>
                <a:gd name="connsiteY7" fmla="*/ 2068021 h 2073955"/>
                <a:gd name="connsiteX8" fmla="*/ 299670 w 305604"/>
                <a:gd name="connsiteY8" fmla="*/ 2073956 h 2073955"/>
                <a:gd name="connsiteX9" fmla="*/ 299670 w 305604"/>
                <a:gd name="connsiteY9" fmla="*/ 2073956 h 2073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604" h="2073955">
                  <a:moveTo>
                    <a:pt x="299670" y="2073956"/>
                  </a:moveTo>
                  <a:cubicBezTo>
                    <a:pt x="296703" y="2073956"/>
                    <a:pt x="293736" y="2070989"/>
                    <a:pt x="293736" y="2068021"/>
                  </a:cubicBezTo>
                  <a:lnTo>
                    <a:pt x="0" y="462857"/>
                  </a:lnTo>
                  <a:lnTo>
                    <a:pt x="0" y="5934"/>
                  </a:lnTo>
                  <a:cubicBezTo>
                    <a:pt x="0" y="2967"/>
                    <a:pt x="2967" y="0"/>
                    <a:pt x="5934" y="0"/>
                  </a:cubicBezTo>
                  <a:cubicBezTo>
                    <a:pt x="8901" y="0"/>
                    <a:pt x="11868" y="2967"/>
                    <a:pt x="11868" y="5934"/>
                  </a:cubicBezTo>
                  <a:lnTo>
                    <a:pt x="11868" y="462857"/>
                  </a:lnTo>
                  <a:lnTo>
                    <a:pt x="305604" y="2068021"/>
                  </a:lnTo>
                  <a:cubicBezTo>
                    <a:pt x="305604" y="2070989"/>
                    <a:pt x="302637" y="2073956"/>
                    <a:pt x="299670" y="2073956"/>
                  </a:cubicBezTo>
                  <a:cubicBezTo>
                    <a:pt x="299670" y="2073956"/>
                    <a:pt x="299670" y="2073956"/>
                    <a:pt x="299670" y="2073956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D5726313-919F-40FC-8282-78C5478A3183}"/>
                </a:ext>
              </a:extLst>
            </p:cNvPr>
            <p:cNvSpPr/>
            <p:nvPr/>
          </p:nvSpPr>
          <p:spPr>
            <a:xfrm>
              <a:off x="5963767" y="8873840"/>
              <a:ext cx="893936" cy="900927"/>
            </a:xfrm>
            <a:custGeom>
              <a:avLst/>
              <a:gdLst>
                <a:gd name="connsiteX0" fmla="*/ 872308 w 893936"/>
                <a:gd name="connsiteY0" fmla="*/ 274796 h 900927"/>
                <a:gd name="connsiteX1" fmla="*/ 798132 w 893936"/>
                <a:gd name="connsiteY1" fmla="*/ 1829 h 900927"/>
                <a:gd name="connsiteX2" fmla="*/ 554835 w 893936"/>
                <a:gd name="connsiteY2" fmla="*/ 280730 h 900927"/>
                <a:gd name="connsiteX3" fmla="*/ 409451 w 893936"/>
                <a:gd name="connsiteY3" fmla="*/ 571500 h 900927"/>
                <a:gd name="connsiteX4" fmla="*/ 0 w 893936"/>
                <a:gd name="connsiteY4" fmla="*/ 559631 h 900927"/>
                <a:gd name="connsiteX5" fmla="*/ 97912 w 893936"/>
                <a:gd name="connsiteY5" fmla="*/ 891939 h 900927"/>
                <a:gd name="connsiteX6" fmla="*/ 551868 w 893936"/>
                <a:gd name="connsiteY6" fmla="*/ 886004 h 900927"/>
                <a:gd name="connsiteX7" fmla="*/ 872308 w 893936"/>
                <a:gd name="connsiteY7" fmla="*/ 274796 h 900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3936" h="900927">
                  <a:moveTo>
                    <a:pt x="872308" y="274796"/>
                  </a:moveTo>
                  <a:cubicBezTo>
                    <a:pt x="925714" y="141279"/>
                    <a:pt x="872308" y="-18940"/>
                    <a:pt x="798132" y="1829"/>
                  </a:cubicBezTo>
                  <a:cubicBezTo>
                    <a:pt x="712088" y="25565"/>
                    <a:pt x="611209" y="117543"/>
                    <a:pt x="554835" y="280730"/>
                  </a:cubicBezTo>
                  <a:cubicBezTo>
                    <a:pt x="522198" y="375675"/>
                    <a:pt x="427253" y="574466"/>
                    <a:pt x="409451" y="571500"/>
                  </a:cubicBezTo>
                  <a:cubicBezTo>
                    <a:pt x="400549" y="571500"/>
                    <a:pt x="0" y="559631"/>
                    <a:pt x="0" y="559631"/>
                  </a:cubicBezTo>
                  <a:cubicBezTo>
                    <a:pt x="0" y="618971"/>
                    <a:pt x="97912" y="891939"/>
                    <a:pt x="97912" y="891939"/>
                  </a:cubicBezTo>
                  <a:cubicBezTo>
                    <a:pt x="97912" y="891939"/>
                    <a:pt x="477693" y="915675"/>
                    <a:pt x="551868" y="886004"/>
                  </a:cubicBezTo>
                  <a:cubicBezTo>
                    <a:pt x="646813" y="844466"/>
                    <a:pt x="807033" y="440949"/>
                    <a:pt x="872308" y="274796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CC81613A-614A-4454-9F96-834AC7EBDA3C}"/>
                </a:ext>
              </a:extLst>
            </p:cNvPr>
            <p:cNvSpPr/>
            <p:nvPr/>
          </p:nvSpPr>
          <p:spPr>
            <a:xfrm>
              <a:off x="6593856" y="8811984"/>
              <a:ext cx="798577" cy="962794"/>
            </a:xfrm>
            <a:custGeom>
              <a:avLst/>
              <a:gdLst>
                <a:gd name="connsiteX0" fmla="*/ 755515 w 798577"/>
                <a:gd name="connsiteY0" fmla="*/ 381158 h 962794"/>
                <a:gd name="connsiteX1" fmla="*/ 740680 w 798577"/>
                <a:gd name="connsiteY1" fmla="*/ 66653 h 962794"/>
                <a:gd name="connsiteX2" fmla="*/ 381670 w 798577"/>
                <a:gd name="connsiteY2" fmla="*/ 4345 h 962794"/>
                <a:gd name="connsiteX3" fmla="*/ 87933 w 798577"/>
                <a:gd name="connsiteY3" fmla="*/ 102257 h 962794"/>
                <a:gd name="connsiteX4" fmla="*/ 49362 w 798577"/>
                <a:gd name="connsiteY4" fmla="*/ 636323 h 962794"/>
                <a:gd name="connsiteX5" fmla="*/ 70131 w 798577"/>
                <a:gd name="connsiteY5" fmla="*/ 959730 h 962794"/>
                <a:gd name="connsiteX6" fmla="*/ 749582 w 798577"/>
                <a:gd name="connsiteY6" fmla="*/ 938960 h 962794"/>
                <a:gd name="connsiteX7" fmla="*/ 755515 w 798577"/>
                <a:gd name="connsiteY7" fmla="*/ 381158 h 962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8577" h="962794">
                  <a:moveTo>
                    <a:pt x="755515" y="381158"/>
                  </a:moveTo>
                  <a:cubicBezTo>
                    <a:pt x="764417" y="351488"/>
                    <a:pt x="856395" y="128960"/>
                    <a:pt x="740680" y="66653"/>
                  </a:cubicBezTo>
                  <a:cubicBezTo>
                    <a:pt x="639801" y="13246"/>
                    <a:pt x="497384" y="-10490"/>
                    <a:pt x="381670" y="4345"/>
                  </a:cubicBezTo>
                  <a:cubicBezTo>
                    <a:pt x="254087" y="19180"/>
                    <a:pt x="126505" y="39949"/>
                    <a:pt x="87933" y="102257"/>
                  </a:cubicBezTo>
                  <a:cubicBezTo>
                    <a:pt x="-21847" y="283246"/>
                    <a:pt x="-21847" y="443466"/>
                    <a:pt x="49362" y="636323"/>
                  </a:cubicBezTo>
                  <a:cubicBezTo>
                    <a:pt x="70131" y="692697"/>
                    <a:pt x="93867" y="826213"/>
                    <a:pt x="70131" y="959730"/>
                  </a:cubicBezTo>
                  <a:cubicBezTo>
                    <a:pt x="70131" y="959730"/>
                    <a:pt x="366834" y="974565"/>
                    <a:pt x="749582" y="938960"/>
                  </a:cubicBezTo>
                  <a:cubicBezTo>
                    <a:pt x="719911" y="725334"/>
                    <a:pt x="746615" y="404894"/>
                    <a:pt x="755515" y="381158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F3AD5787-23F1-4B0F-9BB2-B40CB8F87C7D}"/>
                </a:ext>
              </a:extLst>
            </p:cNvPr>
            <p:cNvSpPr/>
            <p:nvPr/>
          </p:nvSpPr>
          <p:spPr>
            <a:xfrm>
              <a:off x="6931020" y="8510724"/>
              <a:ext cx="287802" cy="267032"/>
            </a:xfrm>
            <a:custGeom>
              <a:avLst/>
              <a:gdLst>
                <a:gd name="connsiteX0" fmla="*/ 0 w 287802"/>
                <a:gd name="connsiteY0" fmla="*/ 261099 h 267032"/>
                <a:gd name="connsiteX1" fmla="*/ 270000 w 287802"/>
                <a:gd name="connsiteY1" fmla="*/ 267033 h 267032"/>
                <a:gd name="connsiteX2" fmla="*/ 287802 w 287802"/>
                <a:gd name="connsiteY2" fmla="*/ 130550 h 267032"/>
                <a:gd name="connsiteX3" fmla="*/ 281868 w 287802"/>
                <a:gd name="connsiteY3" fmla="*/ 20769 h 267032"/>
                <a:gd name="connsiteX4" fmla="*/ 213626 w 287802"/>
                <a:gd name="connsiteY4" fmla="*/ 0 h 267032"/>
                <a:gd name="connsiteX5" fmla="*/ 56373 w 287802"/>
                <a:gd name="connsiteY5" fmla="*/ 83077 h 267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7802" h="267032">
                  <a:moveTo>
                    <a:pt x="0" y="261099"/>
                  </a:moveTo>
                  <a:lnTo>
                    <a:pt x="270000" y="267033"/>
                  </a:lnTo>
                  <a:lnTo>
                    <a:pt x="287802" y="130550"/>
                  </a:lnTo>
                  <a:lnTo>
                    <a:pt x="281868" y="20769"/>
                  </a:lnTo>
                  <a:lnTo>
                    <a:pt x="213626" y="0"/>
                  </a:lnTo>
                  <a:lnTo>
                    <a:pt x="56373" y="83077"/>
                  </a:ln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B07B35FF-62DD-4FAF-9FB6-2650EE17B162}"/>
                </a:ext>
              </a:extLst>
            </p:cNvPr>
            <p:cNvSpPr/>
            <p:nvPr/>
          </p:nvSpPr>
          <p:spPr>
            <a:xfrm>
              <a:off x="6583877" y="8155500"/>
              <a:ext cx="478015" cy="644260"/>
            </a:xfrm>
            <a:custGeom>
              <a:avLst/>
              <a:gdLst>
                <a:gd name="connsiteX0" fmla="*/ 394615 w 478015"/>
                <a:gd name="connsiteY0" fmla="*/ 453136 h 644260"/>
                <a:gd name="connsiteX1" fmla="*/ 391648 w 478015"/>
                <a:gd name="connsiteY1" fmla="*/ 295883 h 644260"/>
                <a:gd name="connsiteX2" fmla="*/ 439121 w 478015"/>
                <a:gd name="connsiteY2" fmla="*/ 156433 h 644260"/>
                <a:gd name="connsiteX3" fmla="*/ 477692 w 478015"/>
                <a:gd name="connsiteY3" fmla="*/ 11049 h 644260"/>
                <a:gd name="connsiteX4" fmla="*/ 154286 w 478015"/>
                <a:gd name="connsiteY4" fmla="*/ 162367 h 644260"/>
                <a:gd name="connsiteX5" fmla="*/ 0 w 478015"/>
                <a:gd name="connsiteY5" fmla="*/ 551048 h 644260"/>
                <a:gd name="connsiteX6" fmla="*/ 409450 w 478015"/>
                <a:gd name="connsiteY6" fmla="*/ 622257 h 644260"/>
                <a:gd name="connsiteX7" fmla="*/ 394615 w 478015"/>
                <a:gd name="connsiteY7" fmla="*/ 453136 h 644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8015" h="644260">
                  <a:moveTo>
                    <a:pt x="394615" y="453136"/>
                  </a:moveTo>
                  <a:cubicBezTo>
                    <a:pt x="388681" y="402697"/>
                    <a:pt x="385714" y="349290"/>
                    <a:pt x="391648" y="295883"/>
                  </a:cubicBezTo>
                  <a:cubicBezTo>
                    <a:pt x="400549" y="245444"/>
                    <a:pt x="415385" y="200938"/>
                    <a:pt x="439121" y="156433"/>
                  </a:cubicBezTo>
                  <a:cubicBezTo>
                    <a:pt x="462857" y="108960"/>
                    <a:pt x="480659" y="11049"/>
                    <a:pt x="477692" y="11049"/>
                  </a:cubicBezTo>
                  <a:cubicBezTo>
                    <a:pt x="367912" y="-27523"/>
                    <a:pt x="183956" y="37752"/>
                    <a:pt x="154286" y="162367"/>
                  </a:cubicBezTo>
                  <a:cubicBezTo>
                    <a:pt x="139450" y="224675"/>
                    <a:pt x="121648" y="393796"/>
                    <a:pt x="0" y="551048"/>
                  </a:cubicBezTo>
                  <a:cubicBezTo>
                    <a:pt x="94945" y="631158"/>
                    <a:pt x="397582" y="672697"/>
                    <a:pt x="409450" y="622257"/>
                  </a:cubicBezTo>
                  <a:cubicBezTo>
                    <a:pt x="418351" y="574785"/>
                    <a:pt x="400549" y="494675"/>
                    <a:pt x="394615" y="453136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A2EF9DA7-AF6C-40AA-B64E-D6D67A7CAA78}"/>
                </a:ext>
              </a:extLst>
            </p:cNvPr>
            <p:cNvSpPr/>
            <p:nvPr/>
          </p:nvSpPr>
          <p:spPr>
            <a:xfrm>
              <a:off x="6813489" y="8192406"/>
              <a:ext cx="411266" cy="553025"/>
            </a:xfrm>
            <a:custGeom>
              <a:avLst/>
              <a:gdLst>
                <a:gd name="connsiteX0" fmla="*/ 7751 w 411266"/>
                <a:gd name="connsiteY0" fmla="*/ 178868 h 553025"/>
                <a:gd name="connsiteX1" fmla="*/ 19619 w 411266"/>
                <a:gd name="connsiteY1" fmla="*/ 428098 h 553025"/>
                <a:gd name="connsiteX2" fmla="*/ 165003 w 411266"/>
                <a:gd name="connsiteY2" fmla="*/ 552714 h 553025"/>
                <a:gd name="connsiteX3" fmla="*/ 375663 w 411266"/>
                <a:gd name="connsiteY3" fmla="*/ 413263 h 553025"/>
                <a:gd name="connsiteX4" fmla="*/ 411267 w 411266"/>
                <a:gd name="connsiteY4" fmla="*/ 193703 h 553025"/>
                <a:gd name="connsiteX5" fmla="*/ 203575 w 411266"/>
                <a:gd name="connsiteY5" fmla="*/ 846 h 553025"/>
                <a:gd name="connsiteX6" fmla="*/ 7751 w 411266"/>
                <a:gd name="connsiteY6" fmla="*/ 178868 h 553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1266" h="553025">
                  <a:moveTo>
                    <a:pt x="7751" y="178868"/>
                  </a:moveTo>
                  <a:cubicBezTo>
                    <a:pt x="7751" y="178868"/>
                    <a:pt x="-15986" y="362824"/>
                    <a:pt x="19619" y="428098"/>
                  </a:cubicBezTo>
                  <a:cubicBezTo>
                    <a:pt x="55223" y="493374"/>
                    <a:pt x="114564" y="549747"/>
                    <a:pt x="165003" y="552714"/>
                  </a:cubicBezTo>
                  <a:cubicBezTo>
                    <a:pt x="230278" y="558648"/>
                    <a:pt x="340058" y="478538"/>
                    <a:pt x="375663" y="413263"/>
                  </a:cubicBezTo>
                  <a:cubicBezTo>
                    <a:pt x="411267" y="347989"/>
                    <a:pt x="411267" y="244142"/>
                    <a:pt x="411267" y="193703"/>
                  </a:cubicBezTo>
                  <a:cubicBezTo>
                    <a:pt x="408300" y="101725"/>
                    <a:pt x="381597" y="24582"/>
                    <a:pt x="203575" y="846"/>
                  </a:cubicBezTo>
                  <a:cubicBezTo>
                    <a:pt x="120498" y="-11022"/>
                    <a:pt x="28520" y="104692"/>
                    <a:pt x="7751" y="178868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F3A6C56B-A612-46F2-B7AA-65A0FE314EA3}"/>
                </a:ext>
              </a:extLst>
            </p:cNvPr>
            <p:cNvSpPr/>
            <p:nvPr/>
          </p:nvSpPr>
          <p:spPr>
            <a:xfrm>
              <a:off x="6945855" y="8456089"/>
              <a:ext cx="53406" cy="128811"/>
            </a:xfrm>
            <a:custGeom>
              <a:avLst/>
              <a:gdLst>
                <a:gd name="connsiteX0" fmla="*/ 29670 w 53406"/>
                <a:gd name="connsiteY0" fmla="*/ 128811 h 128811"/>
                <a:gd name="connsiteX1" fmla="*/ 5934 w 53406"/>
                <a:gd name="connsiteY1" fmla="*/ 122877 h 128811"/>
                <a:gd name="connsiteX2" fmla="*/ 0 w 53406"/>
                <a:gd name="connsiteY2" fmla="*/ 111009 h 128811"/>
                <a:gd name="connsiteX3" fmla="*/ 26703 w 53406"/>
                <a:gd name="connsiteY3" fmla="*/ 4196 h 128811"/>
                <a:gd name="connsiteX4" fmla="*/ 32637 w 53406"/>
                <a:gd name="connsiteY4" fmla="*/ 1229 h 128811"/>
                <a:gd name="connsiteX5" fmla="*/ 35604 w 53406"/>
                <a:gd name="connsiteY5" fmla="*/ 7163 h 128811"/>
                <a:gd name="connsiteX6" fmla="*/ 8901 w 53406"/>
                <a:gd name="connsiteY6" fmla="*/ 111009 h 128811"/>
                <a:gd name="connsiteX7" fmla="*/ 8901 w 53406"/>
                <a:gd name="connsiteY7" fmla="*/ 113976 h 128811"/>
                <a:gd name="connsiteX8" fmla="*/ 47472 w 53406"/>
                <a:gd name="connsiteY8" fmla="*/ 113976 h 128811"/>
                <a:gd name="connsiteX9" fmla="*/ 53407 w 53406"/>
                <a:gd name="connsiteY9" fmla="*/ 119910 h 128811"/>
                <a:gd name="connsiteX10" fmla="*/ 47472 w 53406"/>
                <a:gd name="connsiteY10" fmla="*/ 125845 h 128811"/>
                <a:gd name="connsiteX11" fmla="*/ 29670 w 53406"/>
                <a:gd name="connsiteY11" fmla="*/ 128811 h 128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406" h="128811">
                  <a:moveTo>
                    <a:pt x="29670" y="128811"/>
                  </a:moveTo>
                  <a:cubicBezTo>
                    <a:pt x="20769" y="128811"/>
                    <a:pt x="11868" y="128811"/>
                    <a:pt x="5934" y="122877"/>
                  </a:cubicBezTo>
                  <a:cubicBezTo>
                    <a:pt x="2967" y="119910"/>
                    <a:pt x="0" y="116943"/>
                    <a:pt x="0" y="111009"/>
                  </a:cubicBezTo>
                  <a:cubicBezTo>
                    <a:pt x="0" y="90240"/>
                    <a:pt x="26703" y="7163"/>
                    <a:pt x="26703" y="4196"/>
                  </a:cubicBezTo>
                  <a:cubicBezTo>
                    <a:pt x="26703" y="1229"/>
                    <a:pt x="29670" y="-1738"/>
                    <a:pt x="32637" y="1229"/>
                  </a:cubicBezTo>
                  <a:cubicBezTo>
                    <a:pt x="35604" y="1229"/>
                    <a:pt x="38572" y="4196"/>
                    <a:pt x="35604" y="7163"/>
                  </a:cubicBezTo>
                  <a:cubicBezTo>
                    <a:pt x="29670" y="30899"/>
                    <a:pt x="8901" y="93207"/>
                    <a:pt x="8901" y="111009"/>
                  </a:cubicBezTo>
                  <a:cubicBezTo>
                    <a:pt x="8901" y="111009"/>
                    <a:pt x="8901" y="113976"/>
                    <a:pt x="8901" y="113976"/>
                  </a:cubicBezTo>
                  <a:cubicBezTo>
                    <a:pt x="14835" y="119910"/>
                    <a:pt x="35604" y="116943"/>
                    <a:pt x="47472" y="113976"/>
                  </a:cubicBezTo>
                  <a:cubicBezTo>
                    <a:pt x="50439" y="113976"/>
                    <a:pt x="53407" y="113976"/>
                    <a:pt x="53407" y="119910"/>
                  </a:cubicBezTo>
                  <a:cubicBezTo>
                    <a:pt x="53407" y="122877"/>
                    <a:pt x="53407" y="125845"/>
                    <a:pt x="47472" y="125845"/>
                  </a:cubicBezTo>
                  <a:cubicBezTo>
                    <a:pt x="50439" y="125845"/>
                    <a:pt x="41538" y="128811"/>
                    <a:pt x="29670" y="128811"/>
                  </a:cubicBezTo>
                  <a:close/>
                </a:path>
              </a:pathLst>
            </a:custGeom>
            <a:solidFill>
              <a:srgbClr val="E58777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9E945D5C-6AC5-4461-97E0-E4E32254306C}"/>
                </a:ext>
              </a:extLst>
            </p:cNvPr>
            <p:cNvSpPr/>
            <p:nvPr/>
          </p:nvSpPr>
          <p:spPr>
            <a:xfrm>
              <a:off x="6928053" y="8632373"/>
              <a:ext cx="103846" cy="53406"/>
            </a:xfrm>
            <a:custGeom>
              <a:avLst/>
              <a:gdLst>
                <a:gd name="connsiteX0" fmla="*/ 103846 w 103846"/>
                <a:gd name="connsiteY0" fmla="*/ 0 h 53406"/>
                <a:gd name="connsiteX1" fmla="*/ 0 w 103846"/>
                <a:gd name="connsiteY1" fmla="*/ 0 h 53406"/>
                <a:gd name="connsiteX2" fmla="*/ 50439 w 103846"/>
                <a:gd name="connsiteY2" fmla="*/ 53407 h 53406"/>
                <a:gd name="connsiteX3" fmla="*/ 103846 w 103846"/>
                <a:gd name="connsiteY3" fmla="*/ 0 h 53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46" h="53406">
                  <a:moveTo>
                    <a:pt x="103846" y="0"/>
                  </a:moveTo>
                  <a:cubicBezTo>
                    <a:pt x="50439" y="23736"/>
                    <a:pt x="0" y="0"/>
                    <a:pt x="0" y="0"/>
                  </a:cubicBezTo>
                  <a:cubicBezTo>
                    <a:pt x="0" y="0"/>
                    <a:pt x="14835" y="53407"/>
                    <a:pt x="50439" y="53407"/>
                  </a:cubicBezTo>
                  <a:cubicBezTo>
                    <a:pt x="91978" y="53407"/>
                    <a:pt x="103846" y="0"/>
                    <a:pt x="103846" y="0"/>
                  </a:cubicBezTo>
                  <a:close/>
                </a:path>
              </a:pathLst>
            </a:custGeom>
            <a:solidFill>
              <a:srgbClr val="FFFFFF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CF3377F2-C27E-42B2-9814-3F716C9A3710}"/>
                </a:ext>
              </a:extLst>
            </p:cNvPr>
            <p:cNvSpPr/>
            <p:nvPr/>
          </p:nvSpPr>
          <p:spPr>
            <a:xfrm>
              <a:off x="6876857" y="8426891"/>
              <a:ext cx="39909" cy="40083"/>
            </a:xfrm>
            <a:custGeom>
              <a:avLst/>
              <a:gdLst>
                <a:gd name="connsiteX0" fmla="*/ 39328 w 39909"/>
                <a:gd name="connsiteY0" fmla="*/ 24492 h 40083"/>
                <a:gd name="connsiteX1" fmla="*/ 15591 w 39909"/>
                <a:gd name="connsiteY1" fmla="*/ 39328 h 40083"/>
                <a:gd name="connsiteX2" fmla="*/ 756 w 39909"/>
                <a:gd name="connsiteY2" fmla="*/ 15591 h 40083"/>
                <a:gd name="connsiteX3" fmla="*/ 24493 w 39909"/>
                <a:gd name="connsiteY3" fmla="*/ 756 h 40083"/>
                <a:gd name="connsiteX4" fmla="*/ 39328 w 39909"/>
                <a:gd name="connsiteY4" fmla="*/ 24492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40083">
                  <a:moveTo>
                    <a:pt x="39328" y="24492"/>
                  </a:moveTo>
                  <a:cubicBezTo>
                    <a:pt x="36360" y="36361"/>
                    <a:pt x="27459" y="42295"/>
                    <a:pt x="15591" y="39328"/>
                  </a:cubicBezTo>
                  <a:cubicBezTo>
                    <a:pt x="3723" y="36361"/>
                    <a:pt x="-2211" y="27460"/>
                    <a:pt x="756" y="15591"/>
                  </a:cubicBezTo>
                  <a:cubicBezTo>
                    <a:pt x="3723" y="3723"/>
                    <a:pt x="12624" y="-2211"/>
                    <a:pt x="24493" y="756"/>
                  </a:cubicBezTo>
                  <a:cubicBezTo>
                    <a:pt x="33394" y="3723"/>
                    <a:pt x="42294" y="15591"/>
                    <a:pt x="39328" y="24492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2F41663B-A951-4129-BF06-0F4A9F1B9E26}"/>
                </a:ext>
              </a:extLst>
            </p:cNvPr>
            <p:cNvSpPr/>
            <p:nvPr/>
          </p:nvSpPr>
          <p:spPr>
            <a:xfrm>
              <a:off x="7060813" y="8435792"/>
              <a:ext cx="40083" cy="40083"/>
            </a:xfrm>
            <a:custGeom>
              <a:avLst/>
              <a:gdLst>
                <a:gd name="connsiteX0" fmla="*/ 39328 w 40083"/>
                <a:gd name="connsiteY0" fmla="*/ 24492 h 40083"/>
                <a:gd name="connsiteX1" fmla="*/ 15591 w 40083"/>
                <a:gd name="connsiteY1" fmla="*/ 39328 h 40083"/>
                <a:gd name="connsiteX2" fmla="*/ 756 w 40083"/>
                <a:gd name="connsiteY2" fmla="*/ 15591 h 40083"/>
                <a:gd name="connsiteX3" fmla="*/ 24492 w 40083"/>
                <a:gd name="connsiteY3" fmla="*/ 756 h 40083"/>
                <a:gd name="connsiteX4" fmla="*/ 39328 w 40083"/>
                <a:gd name="connsiteY4" fmla="*/ 24492 h 4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83" h="40083">
                  <a:moveTo>
                    <a:pt x="39328" y="24492"/>
                  </a:moveTo>
                  <a:cubicBezTo>
                    <a:pt x="36360" y="36360"/>
                    <a:pt x="27460" y="42295"/>
                    <a:pt x="15591" y="39328"/>
                  </a:cubicBezTo>
                  <a:cubicBezTo>
                    <a:pt x="3723" y="36360"/>
                    <a:pt x="-2211" y="27460"/>
                    <a:pt x="756" y="15591"/>
                  </a:cubicBezTo>
                  <a:cubicBezTo>
                    <a:pt x="3723" y="3723"/>
                    <a:pt x="12624" y="-2211"/>
                    <a:pt x="24492" y="756"/>
                  </a:cubicBezTo>
                  <a:cubicBezTo>
                    <a:pt x="36360" y="3723"/>
                    <a:pt x="42295" y="12624"/>
                    <a:pt x="39328" y="24492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9AF0C98F-6571-4707-8421-7E3B7274F153}"/>
                </a:ext>
              </a:extLst>
            </p:cNvPr>
            <p:cNvSpPr/>
            <p:nvPr/>
          </p:nvSpPr>
          <p:spPr>
            <a:xfrm>
              <a:off x="6851652" y="8379041"/>
              <a:ext cx="89498" cy="33770"/>
            </a:xfrm>
            <a:custGeom>
              <a:avLst/>
              <a:gdLst>
                <a:gd name="connsiteX0" fmla="*/ 8159 w 89498"/>
                <a:gd name="connsiteY0" fmla="*/ 33771 h 33770"/>
                <a:gd name="connsiteX1" fmla="*/ 2225 w 89498"/>
                <a:gd name="connsiteY1" fmla="*/ 30804 h 33770"/>
                <a:gd name="connsiteX2" fmla="*/ 2225 w 89498"/>
                <a:gd name="connsiteY2" fmla="*/ 18936 h 33770"/>
                <a:gd name="connsiteX3" fmla="*/ 85302 w 89498"/>
                <a:gd name="connsiteY3" fmla="*/ 10035 h 33770"/>
                <a:gd name="connsiteX4" fmla="*/ 88269 w 89498"/>
                <a:gd name="connsiteY4" fmla="*/ 18936 h 33770"/>
                <a:gd name="connsiteX5" fmla="*/ 79368 w 89498"/>
                <a:gd name="connsiteY5" fmla="*/ 21903 h 33770"/>
                <a:gd name="connsiteX6" fmla="*/ 14093 w 89498"/>
                <a:gd name="connsiteY6" fmla="*/ 27837 h 33770"/>
                <a:gd name="connsiteX7" fmla="*/ 8159 w 89498"/>
                <a:gd name="connsiteY7" fmla="*/ 33771 h 33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3770">
                  <a:moveTo>
                    <a:pt x="8159" y="33771"/>
                  </a:moveTo>
                  <a:cubicBezTo>
                    <a:pt x="5192" y="33771"/>
                    <a:pt x="5192" y="33771"/>
                    <a:pt x="2225" y="30804"/>
                  </a:cubicBezTo>
                  <a:cubicBezTo>
                    <a:pt x="-742" y="27837"/>
                    <a:pt x="-742" y="21903"/>
                    <a:pt x="2225" y="18936"/>
                  </a:cubicBezTo>
                  <a:cubicBezTo>
                    <a:pt x="28929" y="-10735"/>
                    <a:pt x="67500" y="1134"/>
                    <a:pt x="85302" y="10035"/>
                  </a:cubicBezTo>
                  <a:cubicBezTo>
                    <a:pt x="88269" y="13002"/>
                    <a:pt x="91236" y="15969"/>
                    <a:pt x="88269" y="18936"/>
                  </a:cubicBezTo>
                  <a:cubicBezTo>
                    <a:pt x="85302" y="21903"/>
                    <a:pt x="82335" y="24870"/>
                    <a:pt x="79368" y="21903"/>
                  </a:cubicBezTo>
                  <a:cubicBezTo>
                    <a:pt x="76401" y="21903"/>
                    <a:pt x="37829" y="1134"/>
                    <a:pt x="14093" y="27837"/>
                  </a:cubicBezTo>
                  <a:cubicBezTo>
                    <a:pt x="11126" y="33771"/>
                    <a:pt x="11126" y="33771"/>
                    <a:pt x="8159" y="33771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0D8E5B6C-C7E8-4DD4-849F-3B7F10B381B0}"/>
                </a:ext>
              </a:extLst>
            </p:cNvPr>
            <p:cNvSpPr/>
            <p:nvPr/>
          </p:nvSpPr>
          <p:spPr>
            <a:xfrm>
              <a:off x="7033637" y="8380477"/>
              <a:ext cx="89498" cy="35302"/>
            </a:xfrm>
            <a:custGeom>
              <a:avLst/>
              <a:gdLst>
                <a:gd name="connsiteX0" fmla="*/ 84306 w 89498"/>
                <a:gd name="connsiteY0" fmla="*/ 35303 h 35302"/>
                <a:gd name="connsiteX1" fmla="*/ 78372 w 89498"/>
                <a:gd name="connsiteY1" fmla="*/ 32335 h 35302"/>
                <a:gd name="connsiteX2" fmla="*/ 13097 w 89498"/>
                <a:gd name="connsiteY2" fmla="*/ 26401 h 35302"/>
                <a:gd name="connsiteX3" fmla="*/ 1229 w 89498"/>
                <a:gd name="connsiteY3" fmla="*/ 23435 h 35302"/>
                <a:gd name="connsiteX4" fmla="*/ 4196 w 89498"/>
                <a:gd name="connsiteY4" fmla="*/ 11566 h 35302"/>
                <a:gd name="connsiteX5" fmla="*/ 87273 w 89498"/>
                <a:gd name="connsiteY5" fmla="*/ 20467 h 35302"/>
                <a:gd name="connsiteX6" fmla="*/ 87273 w 89498"/>
                <a:gd name="connsiteY6" fmla="*/ 32335 h 35302"/>
                <a:gd name="connsiteX7" fmla="*/ 84306 w 89498"/>
                <a:gd name="connsiteY7" fmla="*/ 35303 h 35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302">
                  <a:moveTo>
                    <a:pt x="84306" y="35303"/>
                  </a:moveTo>
                  <a:cubicBezTo>
                    <a:pt x="81339" y="35303"/>
                    <a:pt x="81339" y="35303"/>
                    <a:pt x="78372" y="32335"/>
                  </a:cubicBezTo>
                  <a:cubicBezTo>
                    <a:pt x="78372" y="32335"/>
                    <a:pt x="48701" y="2665"/>
                    <a:pt x="13097" y="26401"/>
                  </a:cubicBezTo>
                  <a:cubicBezTo>
                    <a:pt x="10130" y="29369"/>
                    <a:pt x="4196" y="26401"/>
                    <a:pt x="1229" y="23435"/>
                  </a:cubicBezTo>
                  <a:cubicBezTo>
                    <a:pt x="-1738" y="20467"/>
                    <a:pt x="1229" y="14533"/>
                    <a:pt x="4196" y="11566"/>
                  </a:cubicBezTo>
                  <a:cubicBezTo>
                    <a:pt x="39801" y="-12170"/>
                    <a:pt x="75405" y="5632"/>
                    <a:pt x="87273" y="20467"/>
                  </a:cubicBezTo>
                  <a:cubicBezTo>
                    <a:pt x="90240" y="23435"/>
                    <a:pt x="90240" y="29369"/>
                    <a:pt x="87273" y="32335"/>
                  </a:cubicBezTo>
                  <a:cubicBezTo>
                    <a:pt x="90240" y="35303"/>
                    <a:pt x="87273" y="35303"/>
                    <a:pt x="84306" y="35303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BB485F89-D20A-4D65-BB27-8BB860033A36}"/>
                </a:ext>
              </a:extLst>
            </p:cNvPr>
            <p:cNvSpPr/>
            <p:nvPr/>
          </p:nvSpPr>
          <p:spPr>
            <a:xfrm>
              <a:off x="6797283" y="8161371"/>
              <a:ext cx="269287" cy="251440"/>
            </a:xfrm>
            <a:custGeom>
              <a:avLst/>
              <a:gdLst>
                <a:gd name="connsiteX0" fmla="*/ 267253 w 269287"/>
                <a:gd name="connsiteY0" fmla="*/ 2210 h 251440"/>
                <a:gd name="connsiteX1" fmla="*/ 231648 w 269287"/>
                <a:gd name="connsiteY1" fmla="*/ 126825 h 251440"/>
                <a:gd name="connsiteX2" fmla="*/ 220 w 269287"/>
                <a:gd name="connsiteY2" fmla="*/ 251441 h 251440"/>
                <a:gd name="connsiteX3" fmla="*/ 267253 w 269287"/>
                <a:gd name="connsiteY3" fmla="*/ 2210 h 25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287" h="251440">
                  <a:moveTo>
                    <a:pt x="267253" y="2210"/>
                  </a:moveTo>
                  <a:cubicBezTo>
                    <a:pt x="267253" y="2210"/>
                    <a:pt x="282088" y="88254"/>
                    <a:pt x="231648" y="126825"/>
                  </a:cubicBezTo>
                  <a:cubicBezTo>
                    <a:pt x="231648" y="126825"/>
                    <a:pt x="26923" y="168364"/>
                    <a:pt x="220" y="251441"/>
                  </a:cubicBezTo>
                  <a:cubicBezTo>
                    <a:pt x="220" y="251441"/>
                    <a:pt x="-17583" y="-27460"/>
                    <a:pt x="267253" y="2210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F337663F-2137-47B2-9EAF-62EA1A9BF7FE}"/>
                </a:ext>
              </a:extLst>
            </p:cNvPr>
            <p:cNvSpPr/>
            <p:nvPr/>
          </p:nvSpPr>
          <p:spPr>
            <a:xfrm>
              <a:off x="7028932" y="8163581"/>
              <a:ext cx="218242" cy="306085"/>
            </a:xfrm>
            <a:custGeom>
              <a:avLst/>
              <a:gdLst>
                <a:gd name="connsiteX0" fmla="*/ 0 w 218242"/>
                <a:gd name="connsiteY0" fmla="*/ 124615 h 306085"/>
                <a:gd name="connsiteX1" fmla="*/ 136483 w 218242"/>
                <a:gd name="connsiteY1" fmla="*/ 178022 h 306085"/>
                <a:gd name="connsiteX2" fmla="*/ 192857 w 218242"/>
                <a:gd name="connsiteY2" fmla="*/ 293736 h 306085"/>
                <a:gd name="connsiteX3" fmla="*/ 216593 w 218242"/>
                <a:gd name="connsiteY3" fmla="*/ 290769 h 306085"/>
                <a:gd name="connsiteX4" fmla="*/ 32637 w 218242"/>
                <a:gd name="connsiteY4" fmla="*/ 0 h 306085"/>
                <a:gd name="connsiteX5" fmla="*/ 0 w 218242"/>
                <a:gd name="connsiteY5" fmla="*/ 124615 h 306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8242" h="306085">
                  <a:moveTo>
                    <a:pt x="0" y="124615"/>
                  </a:moveTo>
                  <a:cubicBezTo>
                    <a:pt x="0" y="124615"/>
                    <a:pt x="89011" y="172088"/>
                    <a:pt x="136483" y="178022"/>
                  </a:cubicBezTo>
                  <a:cubicBezTo>
                    <a:pt x="186923" y="183956"/>
                    <a:pt x="192857" y="293736"/>
                    <a:pt x="192857" y="293736"/>
                  </a:cubicBezTo>
                  <a:cubicBezTo>
                    <a:pt x="192857" y="293736"/>
                    <a:pt x="213626" y="323406"/>
                    <a:pt x="216593" y="290769"/>
                  </a:cubicBezTo>
                  <a:cubicBezTo>
                    <a:pt x="222527" y="213626"/>
                    <a:pt x="222527" y="20769"/>
                    <a:pt x="32637" y="0"/>
                  </a:cubicBezTo>
                  <a:cubicBezTo>
                    <a:pt x="35604" y="0"/>
                    <a:pt x="23736" y="118681"/>
                    <a:pt x="0" y="124615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A0BC29D5-1723-4681-8B9B-FCDD7EB44C0A}"/>
                </a:ext>
              </a:extLst>
            </p:cNvPr>
            <p:cNvSpPr/>
            <p:nvPr/>
          </p:nvSpPr>
          <p:spPr>
            <a:xfrm>
              <a:off x="7022997" y="8160614"/>
              <a:ext cx="148351" cy="186923"/>
            </a:xfrm>
            <a:custGeom>
              <a:avLst/>
              <a:gdLst>
                <a:gd name="connsiteX0" fmla="*/ 142418 w 148351"/>
                <a:gd name="connsiteY0" fmla="*/ 186923 h 186923"/>
                <a:gd name="connsiteX1" fmla="*/ 142418 w 148351"/>
                <a:gd name="connsiteY1" fmla="*/ 186923 h 186923"/>
                <a:gd name="connsiteX2" fmla="*/ 47473 w 148351"/>
                <a:gd name="connsiteY2" fmla="*/ 154286 h 186923"/>
                <a:gd name="connsiteX3" fmla="*/ 2967 w 148351"/>
                <a:gd name="connsiteY3" fmla="*/ 130550 h 186923"/>
                <a:gd name="connsiteX4" fmla="*/ 0 w 148351"/>
                <a:gd name="connsiteY4" fmla="*/ 127583 h 186923"/>
                <a:gd name="connsiteX5" fmla="*/ 0 w 148351"/>
                <a:gd name="connsiteY5" fmla="*/ 121649 h 186923"/>
                <a:gd name="connsiteX6" fmla="*/ 17802 w 148351"/>
                <a:gd name="connsiteY6" fmla="*/ 97912 h 186923"/>
                <a:gd name="connsiteX7" fmla="*/ 26704 w 148351"/>
                <a:gd name="connsiteY7" fmla="*/ 59341 h 186923"/>
                <a:gd name="connsiteX8" fmla="*/ 29670 w 148351"/>
                <a:gd name="connsiteY8" fmla="*/ 32638 h 186923"/>
                <a:gd name="connsiteX9" fmla="*/ 32638 w 148351"/>
                <a:gd name="connsiteY9" fmla="*/ 5934 h 186923"/>
                <a:gd name="connsiteX10" fmla="*/ 38572 w 148351"/>
                <a:gd name="connsiteY10" fmla="*/ 0 h 186923"/>
                <a:gd name="connsiteX11" fmla="*/ 44505 w 148351"/>
                <a:gd name="connsiteY11" fmla="*/ 5934 h 186923"/>
                <a:gd name="connsiteX12" fmla="*/ 41539 w 148351"/>
                <a:gd name="connsiteY12" fmla="*/ 32638 h 186923"/>
                <a:gd name="connsiteX13" fmla="*/ 38572 w 148351"/>
                <a:gd name="connsiteY13" fmla="*/ 59341 h 186923"/>
                <a:gd name="connsiteX14" fmla="*/ 26704 w 148351"/>
                <a:gd name="connsiteY14" fmla="*/ 100879 h 186923"/>
                <a:gd name="connsiteX15" fmla="*/ 11868 w 148351"/>
                <a:gd name="connsiteY15" fmla="*/ 121649 h 186923"/>
                <a:gd name="connsiteX16" fmla="*/ 50440 w 148351"/>
                <a:gd name="connsiteY16" fmla="*/ 142418 h 186923"/>
                <a:gd name="connsiteX17" fmla="*/ 142418 w 148351"/>
                <a:gd name="connsiteY17" fmla="*/ 172088 h 186923"/>
                <a:gd name="connsiteX18" fmla="*/ 148352 w 148351"/>
                <a:gd name="connsiteY18" fmla="*/ 178022 h 186923"/>
                <a:gd name="connsiteX19" fmla="*/ 142418 w 148351"/>
                <a:gd name="connsiteY19" fmla="*/ 186923 h 18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8351" h="186923">
                  <a:moveTo>
                    <a:pt x="142418" y="186923"/>
                  </a:moveTo>
                  <a:cubicBezTo>
                    <a:pt x="142418" y="186923"/>
                    <a:pt x="142418" y="186923"/>
                    <a:pt x="142418" y="186923"/>
                  </a:cubicBezTo>
                  <a:cubicBezTo>
                    <a:pt x="106813" y="180989"/>
                    <a:pt x="71209" y="166154"/>
                    <a:pt x="47473" y="154286"/>
                  </a:cubicBezTo>
                  <a:cubicBezTo>
                    <a:pt x="20770" y="142418"/>
                    <a:pt x="2967" y="130550"/>
                    <a:pt x="2967" y="130550"/>
                  </a:cubicBezTo>
                  <a:cubicBezTo>
                    <a:pt x="2967" y="130550"/>
                    <a:pt x="0" y="127583"/>
                    <a:pt x="0" y="127583"/>
                  </a:cubicBezTo>
                  <a:cubicBezTo>
                    <a:pt x="0" y="124616"/>
                    <a:pt x="0" y="124616"/>
                    <a:pt x="0" y="121649"/>
                  </a:cubicBezTo>
                  <a:cubicBezTo>
                    <a:pt x="5934" y="115715"/>
                    <a:pt x="11868" y="106813"/>
                    <a:pt x="17802" y="97912"/>
                  </a:cubicBezTo>
                  <a:cubicBezTo>
                    <a:pt x="23736" y="86044"/>
                    <a:pt x="26704" y="71209"/>
                    <a:pt x="26704" y="59341"/>
                  </a:cubicBezTo>
                  <a:cubicBezTo>
                    <a:pt x="26704" y="53407"/>
                    <a:pt x="29670" y="41539"/>
                    <a:pt x="29670" y="32638"/>
                  </a:cubicBezTo>
                  <a:cubicBezTo>
                    <a:pt x="29670" y="20770"/>
                    <a:pt x="32638" y="11868"/>
                    <a:pt x="32638" y="5934"/>
                  </a:cubicBezTo>
                  <a:cubicBezTo>
                    <a:pt x="32638" y="2967"/>
                    <a:pt x="35605" y="0"/>
                    <a:pt x="38572" y="0"/>
                  </a:cubicBezTo>
                  <a:cubicBezTo>
                    <a:pt x="41539" y="0"/>
                    <a:pt x="44505" y="2967"/>
                    <a:pt x="44505" y="5934"/>
                  </a:cubicBezTo>
                  <a:cubicBezTo>
                    <a:pt x="44505" y="11868"/>
                    <a:pt x="41539" y="23736"/>
                    <a:pt x="41539" y="32638"/>
                  </a:cubicBezTo>
                  <a:cubicBezTo>
                    <a:pt x="41539" y="44505"/>
                    <a:pt x="38572" y="53407"/>
                    <a:pt x="38572" y="59341"/>
                  </a:cubicBezTo>
                  <a:cubicBezTo>
                    <a:pt x="35605" y="74176"/>
                    <a:pt x="35605" y="89011"/>
                    <a:pt x="26704" y="100879"/>
                  </a:cubicBezTo>
                  <a:cubicBezTo>
                    <a:pt x="23736" y="106813"/>
                    <a:pt x="17802" y="115715"/>
                    <a:pt x="11868" y="121649"/>
                  </a:cubicBezTo>
                  <a:cubicBezTo>
                    <a:pt x="17802" y="124616"/>
                    <a:pt x="32638" y="133516"/>
                    <a:pt x="50440" y="142418"/>
                  </a:cubicBezTo>
                  <a:cubicBezTo>
                    <a:pt x="74176" y="154286"/>
                    <a:pt x="109781" y="169121"/>
                    <a:pt x="142418" y="172088"/>
                  </a:cubicBezTo>
                  <a:cubicBezTo>
                    <a:pt x="145385" y="172088"/>
                    <a:pt x="148352" y="175055"/>
                    <a:pt x="148352" y="178022"/>
                  </a:cubicBezTo>
                  <a:cubicBezTo>
                    <a:pt x="148352" y="183956"/>
                    <a:pt x="145385" y="186923"/>
                    <a:pt x="142418" y="186923"/>
                  </a:cubicBezTo>
                  <a:close/>
                </a:path>
              </a:pathLst>
            </a:custGeom>
            <a:solidFill>
              <a:srgbClr val="D3977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DD68C103-5882-404A-BBC5-D41D60FE92D9}"/>
                </a:ext>
              </a:extLst>
            </p:cNvPr>
            <p:cNvSpPr/>
            <p:nvPr/>
          </p:nvSpPr>
          <p:spPr>
            <a:xfrm>
              <a:off x="6865745" y="8641180"/>
              <a:ext cx="299670" cy="218390"/>
            </a:xfrm>
            <a:custGeom>
              <a:avLst/>
              <a:gdLst>
                <a:gd name="connsiteX0" fmla="*/ 53406 w 299670"/>
                <a:gd name="connsiteY0" fmla="*/ 59435 h 218390"/>
                <a:gd name="connsiteX1" fmla="*/ 0 w 299670"/>
                <a:gd name="connsiteY1" fmla="*/ 195918 h 218390"/>
                <a:gd name="connsiteX2" fmla="*/ 299670 w 299670"/>
                <a:gd name="connsiteY2" fmla="*/ 181083 h 218390"/>
                <a:gd name="connsiteX3" fmla="*/ 249231 w 299670"/>
                <a:gd name="connsiteY3" fmla="*/ 94 h 218390"/>
                <a:gd name="connsiteX4" fmla="*/ 53406 w 299670"/>
                <a:gd name="connsiteY4" fmla="*/ 59435 h 218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670" h="218390">
                  <a:moveTo>
                    <a:pt x="53406" y="59435"/>
                  </a:moveTo>
                  <a:cubicBezTo>
                    <a:pt x="53406" y="59435"/>
                    <a:pt x="59341" y="166248"/>
                    <a:pt x="0" y="195918"/>
                  </a:cubicBezTo>
                  <a:cubicBezTo>
                    <a:pt x="0" y="195918"/>
                    <a:pt x="175055" y="255259"/>
                    <a:pt x="299670" y="181083"/>
                  </a:cubicBezTo>
                  <a:cubicBezTo>
                    <a:pt x="246263" y="139545"/>
                    <a:pt x="249231" y="59435"/>
                    <a:pt x="249231" y="94"/>
                  </a:cubicBezTo>
                  <a:cubicBezTo>
                    <a:pt x="252198" y="-2873"/>
                    <a:pt x="106813" y="65369"/>
                    <a:pt x="53406" y="59435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8B3F66AB-84BC-4E64-B64D-3F39B2D4A3C0}"/>
                </a:ext>
              </a:extLst>
            </p:cNvPr>
            <p:cNvSpPr/>
            <p:nvPr/>
          </p:nvSpPr>
          <p:spPr>
            <a:xfrm>
              <a:off x="6910992" y="8675649"/>
              <a:ext cx="217080" cy="78371"/>
            </a:xfrm>
            <a:custGeom>
              <a:avLst/>
              <a:gdLst>
                <a:gd name="connsiteX0" fmla="*/ 70467 w 217080"/>
                <a:gd name="connsiteY0" fmla="*/ 78372 h 78371"/>
                <a:gd name="connsiteX1" fmla="*/ 2225 w 217080"/>
                <a:gd name="connsiteY1" fmla="*/ 51669 h 78371"/>
                <a:gd name="connsiteX2" fmla="*/ 2225 w 217080"/>
                <a:gd name="connsiteY2" fmla="*/ 42767 h 78371"/>
                <a:gd name="connsiteX3" fmla="*/ 11126 w 217080"/>
                <a:gd name="connsiteY3" fmla="*/ 42767 h 78371"/>
                <a:gd name="connsiteX4" fmla="*/ 79368 w 217080"/>
                <a:gd name="connsiteY4" fmla="*/ 66504 h 78371"/>
                <a:gd name="connsiteX5" fmla="*/ 206951 w 217080"/>
                <a:gd name="connsiteY5" fmla="*/ 1229 h 78371"/>
                <a:gd name="connsiteX6" fmla="*/ 215851 w 217080"/>
                <a:gd name="connsiteY6" fmla="*/ 4196 h 78371"/>
                <a:gd name="connsiteX7" fmla="*/ 212885 w 217080"/>
                <a:gd name="connsiteY7" fmla="*/ 13097 h 78371"/>
                <a:gd name="connsiteX8" fmla="*/ 79368 w 217080"/>
                <a:gd name="connsiteY8" fmla="*/ 78372 h 78371"/>
                <a:gd name="connsiteX9" fmla="*/ 70467 w 217080"/>
                <a:gd name="connsiteY9" fmla="*/ 78372 h 78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080" h="78371">
                  <a:moveTo>
                    <a:pt x="70467" y="78372"/>
                  </a:moveTo>
                  <a:cubicBezTo>
                    <a:pt x="31895" y="78372"/>
                    <a:pt x="5192" y="51669"/>
                    <a:pt x="2225" y="51669"/>
                  </a:cubicBezTo>
                  <a:cubicBezTo>
                    <a:pt x="-742" y="48701"/>
                    <a:pt x="-742" y="45735"/>
                    <a:pt x="2225" y="42767"/>
                  </a:cubicBezTo>
                  <a:cubicBezTo>
                    <a:pt x="5192" y="39801"/>
                    <a:pt x="8159" y="39801"/>
                    <a:pt x="11126" y="42767"/>
                  </a:cubicBezTo>
                  <a:cubicBezTo>
                    <a:pt x="11126" y="42767"/>
                    <a:pt x="43764" y="69471"/>
                    <a:pt x="79368" y="66504"/>
                  </a:cubicBezTo>
                  <a:cubicBezTo>
                    <a:pt x="117940" y="60570"/>
                    <a:pt x="206951" y="1229"/>
                    <a:pt x="206951" y="1229"/>
                  </a:cubicBezTo>
                  <a:cubicBezTo>
                    <a:pt x="209917" y="-1738"/>
                    <a:pt x="212885" y="1229"/>
                    <a:pt x="215851" y="4196"/>
                  </a:cubicBezTo>
                  <a:cubicBezTo>
                    <a:pt x="218819" y="7163"/>
                    <a:pt x="215851" y="10130"/>
                    <a:pt x="212885" y="13097"/>
                  </a:cubicBezTo>
                  <a:cubicBezTo>
                    <a:pt x="209917" y="16064"/>
                    <a:pt x="120906" y="75405"/>
                    <a:pt x="79368" y="78372"/>
                  </a:cubicBezTo>
                  <a:cubicBezTo>
                    <a:pt x="76401" y="78372"/>
                    <a:pt x="73434" y="78372"/>
                    <a:pt x="70467" y="78372"/>
                  </a:cubicBezTo>
                  <a:close/>
                </a:path>
              </a:pathLst>
            </a:custGeom>
            <a:solidFill>
              <a:srgbClr val="E58777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3DC3B66A-0F54-40DD-B699-AB086AE31F1C}"/>
                </a:ext>
              </a:extLst>
            </p:cNvPr>
            <p:cNvSpPr/>
            <p:nvPr/>
          </p:nvSpPr>
          <p:spPr>
            <a:xfrm>
              <a:off x="6591973" y="8911274"/>
              <a:ext cx="98716" cy="539999"/>
            </a:xfrm>
            <a:custGeom>
              <a:avLst/>
              <a:gdLst>
                <a:gd name="connsiteX0" fmla="*/ 54211 w 98716"/>
                <a:gd name="connsiteY0" fmla="*/ 540000 h 539999"/>
                <a:gd name="connsiteX1" fmla="*/ 48277 w 98716"/>
                <a:gd name="connsiteY1" fmla="*/ 537033 h 539999"/>
                <a:gd name="connsiteX2" fmla="*/ 33442 w 98716"/>
                <a:gd name="connsiteY2" fmla="*/ 483626 h 539999"/>
                <a:gd name="connsiteX3" fmla="*/ 805 w 98716"/>
                <a:gd name="connsiteY3" fmla="*/ 338242 h 539999"/>
                <a:gd name="connsiteX4" fmla="*/ 86849 w 98716"/>
                <a:gd name="connsiteY4" fmla="*/ 2967 h 539999"/>
                <a:gd name="connsiteX5" fmla="*/ 95750 w 98716"/>
                <a:gd name="connsiteY5" fmla="*/ 0 h 539999"/>
                <a:gd name="connsiteX6" fmla="*/ 98717 w 98716"/>
                <a:gd name="connsiteY6" fmla="*/ 8901 h 539999"/>
                <a:gd name="connsiteX7" fmla="*/ 12673 w 98716"/>
                <a:gd name="connsiteY7" fmla="*/ 338242 h 539999"/>
                <a:gd name="connsiteX8" fmla="*/ 45310 w 98716"/>
                <a:gd name="connsiteY8" fmla="*/ 483626 h 539999"/>
                <a:gd name="connsiteX9" fmla="*/ 60145 w 98716"/>
                <a:gd name="connsiteY9" fmla="*/ 537033 h 539999"/>
                <a:gd name="connsiteX10" fmla="*/ 54211 w 98716"/>
                <a:gd name="connsiteY10" fmla="*/ 540000 h 539999"/>
                <a:gd name="connsiteX11" fmla="*/ 54211 w 98716"/>
                <a:gd name="connsiteY11" fmla="*/ 540000 h 539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8716" h="539999">
                  <a:moveTo>
                    <a:pt x="54211" y="540000"/>
                  </a:moveTo>
                  <a:cubicBezTo>
                    <a:pt x="51245" y="540000"/>
                    <a:pt x="48277" y="537033"/>
                    <a:pt x="48277" y="537033"/>
                  </a:cubicBezTo>
                  <a:cubicBezTo>
                    <a:pt x="42343" y="519231"/>
                    <a:pt x="39376" y="501429"/>
                    <a:pt x="33442" y="483626"/>
                  </a:cubicBezTo>
                  <a:cubicBezTo>
                    <a:pt x="18607" y="433187"/>
                    <a:pt x="3772" y="382748"/>
                    <a:pt x="805" y="338242"/>
                  </a:cubicBezTo>
                  <a:cubicBezTo>
                    <a:pt x="-5129" y="216594"/>
                    <a:pt x="21574" y="103846"/>
                    <a:pt x="86849" y="2967"/>
                  </a:cubicBezTo>
                  <a:cubicBezTo>
                    <a:pt x="89816" y="0"/>
                    <a:pt x="92783" y="0"/>
                    <a:pt x="95750" y="0"/>
                  </a:cubicBezTo>
                  <a:cubicBezTo>
                    <a:pt x="98717" y="2967"/>
                    <a:pt x="98717" y="5934"/>
                    <a:pt x="98717" y="8901"/>
                  </a:cubicBezTo>
                  <a:cubicBezTo>
                    <a:pt x="36410" y="109780"/>
                    <a:pt x="6739" y="219561"/>
                    <a:pt x="12673" y="338242"/>
                  </a:cubicBezTo>
                  <a:cubicBezTo>
                    <a:pt x="15640" y="382748"/>
                    <a:pt x="30475" y="433187"/>
                    <a:pt x="45310" y="483626"/>
                  </a:cubicBezTo>
                  <a:cubicBezTo>
                    <a:pt x="51245" y="501429"/>
                    <a:pt x="57179" y="519231"/>
                    <a:pt x="60145" y="537033"/>
                  </a:cubicBezTo>
                  <a:cubicBezTo>
                    <a:pt x="60145" y="537033"/>
                    <a:pt x="57179" y="540000"/>
                    <a:pt x="54211" y="540000"/>
                  </a:cubicBezTo>
                  <a:cubicBezTo>
                    <a:pt x="54211" y="540000"/>
                    <a:pt x="54211" y="540000"/>
                    <a:pt x="54211" y="540000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EF722DEB-CEF9-4DFF-A315-A0F2F39E5948}"/>
                </a:ext>
              </a:extLst>
            </p:cNvPr>
            <p:cNvSpPr/>
            <p:nvPr/>
          </p:nvSpPr>
          <p:spPr>
            <a:xfrm>
              <a:off x="6708492" y="9338715"/>
              <a:ext cx="389910" cy="35415"/>
            </a:xfrm>
            <a:custGeom>
              <a:avLst/>
              <a:gdLst>
                <a:gd name="connsiteX0" fmla="*/ 5934 w 389910"/>
                <a:gd name="connsiteY0" fmla="*/ 35415 h 35415"/>
                <a:gd name="connsiteX1" fmla="*/ 0 w 389910"/>
                <a:gd name="connsiteY1" fmla="*/ 32449 h 35415"/>
                <a:gd name="connsiteX2" fmla="*/ 2967 w 389910"/>
                <a:gd name="connsiteY2" fmla="*/ 26515 h 35415"/>
                <a:gd name="connsiteX3" fmla="*/ 385714 w 389910"/>
                <a:gd name="connsiteY3" fmla="*/ 14647 h 35415"/>
                <a:gd name="connsiteX4" fmla="*/ 388681 w 389910"/>
                <a:gd name="connsiteY4" fmla="*/ 20580 h 35415"/>
                <a:gd name="connsiteX5" fmla="*/ 382747 w 389910"/>
                <a:gd name="connsiteY5" fmla="*/ 23547 h 35415"/>
                <a:gd name="connsiteX6" fmla="*/ 5934 w 389910"/>
                <a:gd name="connsiteY6" fmla="*/ 35415 h 35415"/>
                <a:gd name="connsiteX7" fmla="*/ 5934 w 389910"/>
                <a:gd name="connsiteY7" fmla="*/ 35415 h 3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9910" h="35415">
                  <a:moveTo>
                    <a:pt x="5934" y="35415"/>
                  </a:moveTo>
                  <a:cubicBezTo>
                    <a:pt x="2967" y="35415"/>
                    <a:pt x="2967" y="35415"/>
                    <a:pt x="0" y="32449"/>
                  </a:cubicBezTo>
                  <a:cubicBezTo>
                    <a:pt x="0" y="29482"/>
                    <a:pt x="0" y="26515"/>
                    <a:pt x="2967" y="26515"/>
                  </a:cubicBezTo>
                  <a:cubicBezTo>
                    <a:pt x="86044" y="-3156"/>
                    <a:pt x="287802" y="-9090"/>
                    <a:pt x="385714" y="14647"/>
                  </a:cubicBezTo>
                  <a:cubicBezTo>
                    <a:pt x="388681" y="14647"/>
                    <a:pt x="391648" y="17614"/>
                    <a:pt x="388681" y="20580"/>
                  </a:cubicBezTo>
                  <a:cubicBezTo>
                    <a:pt x="388681" y="23547"/>
                    <a:pt x="385714" y="26515"/>
                    <a:pt x="382747" y="23547"/>
                  </a:cubicBezTo>
                  <a:cubicBezTo>
                    <a:pt x="290769" y="2779"/>
                    <a:pt x="89011" y="8712"/>
                    <a:pt x="5934" y="35415"/>
                  </a:cubicBezTo>
                  <a:cubicBezTo>
                    <a:pt x="8901" y="35415"/>
                    <a:pt x="8901" y="35415"/>
                    <a:pt x="5934" y="35415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3258F6C1-08EE-4BB9-951A-B81E9E67202A}"/>
                </a:ext>
              </a:extLst>
            </p:cNvPr>
            <p:cNvSpPr/>
            <p:nvPr/>
          </p:nvSpPr>
          <p:spPr>
            <a:xfrm>
              <a:off x="7094207" y="8522593"/>
              <a:ext cx="160219" cy="272166"/>
            </a:xfrm>
            <a:custGeom>
              <a:avLst/>
              <a:gdLst>
                <a:gd name="connsiteX0" fmla="*/ 112747 w 160219"/>
                <a:gd name="connsiteY0" fmla="*/ 29670 h 272166"/>
                <a:gd name="connsiteX1" fmla="*/ 0 w 160219"/>
                <a:gd name="connsiteY1" fmla="*/ 267033 h 272166"/>
                <a:gd name="connsiteX2" fmla="*/ 160220 w 160219"/>
                <a:gd name="connsiteY2" fmla="*/ 261099 h 272166"/>
                <a:gd name="connsiteX3" fmla="*/ 154286 w 160219"/>
                <a:gd name="connsiteY3" fmla="*/ 0 h 272166"/>
                <a:gd name="connsiteX4" fmla="*/ 112747 w 160219"/>
                <a:gd name="connsiteY4" fmla="*/ 29670 h 272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219" h="272166">
                  <a:moveTo>
                    <a:pt x="112747" y="29670"/>
                  </a:moveTo>
                  <a:cubicBezTo>
                    <a:pt x="112747" y="29670"/>
                    <a:pt x="80110" y="216593"/>
                    <a:pt x="0" y="267033"/>
                  </a:cubicBezTo>
                  <a:cubicBezTo>
                    <a:pt x="0" y="267033"/>
                    <a:pt x="103846" y="281868"/>
                    <a:pt x="160220" y="261099"/>
                  </a:cubicBezTo>
                  <a:lnTo>
                    <a:pt x="154286" y="0"/>
                  </a:lnTo>
                  <a:lnTo>
                    <a:pt x="112747" y="29670"/>
                  </a:ln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24B97223-06DB-46FE-ABB3-BBE034C3127F}"/>
                </a:ext>
              </a:extLst>
            </p:cNvPr>
            <p:cNvSpPr/>
            <p:nvPr/>
          </p:nvSpPr>
          <p:spPr>
            <a:xfrm>
              <a:off x="7186184" y="8444005"/>
              <a:ext cx="75502" cy="110991"/>
            </a:xfrm>
            <a:custGeom>
              <a:avLst/>
              <a:gdLst>
                <a:gd name="connsiteX0" fmla="*/ 11868 w 75502"/>
                <a:gd name="connsiteY0" fmla="*/ 16280 h 110991"/>
                <a:gd name="connsiteX1" fmla="*/ 68242 w 75502"/>
                <a:gd name="connsiteY1" fmla="*/ 7379 h 110991"/>
                <a:gd name="connsiteX2" fmla="*/ 11868 w 75502"/>
                <a:gd name="connsiteY2" fmla="*/ 108258 h 110991"/>
                <a:gd name="connsiteX3" fmla="*/ 11868 w 75502"/>
                <a:gd name="connsiteY3" fmla="*/ 16280 h 11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502" h="110991">
                  <a:moveTo>
                    <a:pt x="11868" y="16280"/>
                  </a:moveTo>
                  <a:cubicBezTo>
                    <a:pt x="11868" y="16280"/>
                    <a:pt x="44505" y="-13390"/>
                    <a:pt x="68242" y="7379"/>
                  </a:cubicBezTo>
                  <a:cubicBezTo>
                    <a:pt x="91978" y="25181"/>
                    <a:pt x="53407" y="129027"/>
                    <a:pt x="11868" y="108258"/>
                  </a:cubicBezTo>
                  <a:cubicBezTo>
                    <a:pt x="-14835" y="87489"/>
                    <a:pt x="11868" y="16280"/>
                    <a:pt x="11868" y="16280"/>
                  </a:cubicBezTo>
                  <a:close/>
                </a:path>
              </a:pathLst>
            </a:custGeom>
            <a:solidFill>
              <a:srgbClr val="F5A39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0AD49F7C-3204-474F-AD21-5345B95DD349}"/>
                </a:ext>
              </a:extLst>
            </p:cNvPr>
            <p:cNvSpPr/>
            <p:nvPr/>
          </p:nvSpPr>
          <p:spPr>
            <a:xfrm>
              <a:off x="6764866" y="8323801"/>
              <a:ext cx="142417" cy="160220"/>
            </a:xfrm>
            <a:custGeom>
              <a:avLst/>
              <a:gdLst>
                <a:gd name="connsiteX0" fmla="*/ 5934 w 142417"/>
                <a:gd name="connsiteY0" fmla="*/ 160220 h 160220"/>
                <a:gd name="connsiteX1" fmla="*/ 5934 w 142417"/>
                <a:gd name="connsiteY1" fmla="*/ 160220 h 160220"/>
                <a:gd name="connsiteX2" fmla="*/ 0 w 142417"/>
                <a:gd name="connsiteY2" fmla="*/ 154286 h 160220"/>
                <a:gd name="connsiteX3" fmla="*/ 136484 w 142417"/>
                <a:gd name="connsiteY3" fmla="*/ 0 h 160220"/>
                <a:gd name="connsiteX4" fmla="*/ 142418 w 142417"/>
                <a:gd name="connsiteY4" fmla="*/ 2967 h 160220"/>
                <a:gd name="connsiteX5" fmla="*/ 139450 w 142417"/>
                <a:gd name="connsiteY5" fmla="*/ 8901 h 160220"/>
                <a:gd name="connsiteX6" fmla="*/ 11868 w 142417"/>
                <a:gd name="connsiteY6" fmla="*/ 154286 h 160220"/>
                <a:gd name="connsiteX7" fmla="*/ 5934 w 142417"/>
                <a:gd name="connsiteY7" fmla="*/ 160220 h 160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417" h="160220">
                  <a:moveTo>
                    <a:pt x="5934" y="160220"/>
                  </a:moveTo>
                  <a:cubicBezTo>
                    <a:pt x="2967" y="160220"/>
                    <a:pt x="2967" y="160220"/>
                    <a:pt x="5934" y="160220"/>
                  </a:cubicBezTo>
                  <a:cubicBezTo>
                    <a:pt x="2967" y="160220"/>
                    <a:pt x="0" y="157253"/>
                    <a:pt x="0" y="154286"/>
                  </a:cubicBezTo>
                  <a:cubicBezTo>
                    <a:pt x="23736" y="29670"/>
                    <a:pt x="136484" y="0"/>
                    <a:pt x="136484" y="0"/>
                  </a:cubicBezTo>
                  <a:cubicBezTo>
                    <a:pt x="139450" y="0"/>
                    <a:pt x="142418" y="0"/>
                    <a:pt x="142418" y="2967"/>
                  </a:cubicBezTo>
                  <a:cubicBezTo>
                    <a:pt x="142418" y="5934"/>
                    <a:pt x="142418" y="8901"/>
                    <a:pt x="139450" y="8901"/>
                  </a:cubicBezTo>
                  <a:cubicBezTo>
                    <a:pt x="139450" y="8901"/>
                    <a:pt x="35604" y="38572"/>
                    <a:pt x="11868" y="154286"/>
                  </a:cubicBezTo>
                  <a:cubicBezTo>
                    <a:pt x="8901" y="160220"/>
                    <a:pt x="5934" y="160220"/>
                    <a:pt x="5934" y="160220"/>
                  </a:cubicBezTo>
                  <a:close/>
                </a:path>
              </a:pathLst>
            </a:custGeom>
            <a:solidFill>
              <a:srgbClr val="D3977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48E160D6-0494-47A1-B864-E019B267EB48}"/>
                </a:ext>
              </a:extLst>
            </p:cNvPr>
            <p:cNvSpPr/>
            <p:nvPr/>
          </p:nvSpPr>
          <p:spPr>
            <a:xfrm>
              <a:off x="6649893" y="8527297"/>
              <a:ext cx="89498" cy="176283"/>
            </a:xfrm>
            <a:custGeom>
              <a:avLst/>
              <a:gdLst>
                <a:gd name="connsiteX0" fmla="*/ 5192 w 89498"/>
                <a:gd name="connsiteY0" fmla="*/ 176284 h 176283"/>
                <a:gd name="connsiteX1" fmla="*/ 2225 w 89498"/>
                <a:gd name="connsiteY1" fmla="*/ 173317 h 176283"/>
                <a:gd name="connsiteX2" fmla="*/ 2225 w 89498"/>
                <a:gd name="connsiteY2" fmla="*/ 164416 h 176283"/>
                <a:gd name="connsiteX3" fmla="*/ 79368 w 89498"/>
                <a:gd name="connsiteY3" fmla="*/ 4196 h 176283"/>
                <a:gd name="connsiteX4" fmla="*/ 85302 w 89498"/>
                <a:gd name="connsiteY4" fmla="*/ 1229 h 176283"/>
                <a:gd name="connsiteX5" fmla="*/ 88269 w 89498"/>
                <a:gd name="connsiteY5" fmla="*/ 7163 h 176283"/>
                <a:gd name="connsiteX6" fmla="*/ 8159 w 89498"/>
                <a:gd name="connsiteY6" fmla="*/ 173317 h 176283"/>
                <a:gd name="connsiteX7" fmla="*/ 5192 w 89498"/>
                <a:gd name="connsiteY7" fmla="*/ 176284 h 176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176283">
                  <a:moveTo>
                    <a:pt x="5192" y="176284"/>
                  </a:moveTo>
                  <a:cubicBezTo>
                    <a:pt x="2225" y="176284"/>
                    <a:pt x="2225" y="176284"/>
                    <a:pt x="2225" y="173317"/>
                  </a:cubicBezTo>
                  <a:cubicBezTo>
                    <a:pt x="-742" y="170350"/>
                    <a:pt x="-742" y="167383"/>
                    <a:pt x="2225" y="164416"/>
                  </a:cubicBezTo>
                  <a:cubicBezTo>
                    <a:pt x="55632" y="113976"/>
                    <a:pt x="79368" y="4196"/>
                    <a:pt x="79368" y="4196"/>
                  </a:cubicBezTo>
                  <a:cubicBezTo>
                    <a:pt x="79368" y="1229"/>
                    <a:pt x="82335" y="-1738"/>
                    <a:pt x="85302" y="1229"/>
                  </a:cubicBezTo>
                  <a:cubicBezTo>
                    <a:pt x="88269" y="1229"/>
                    <a:pt x="91236" y="4196"/>
                    <a:pt x="88269" y="7163"/>
                  </a:cubicBezTo>
                  <a:cubicBezTo>
                    <a:pt x="88269" y="13097"/>
                    <a:pt x="64533" y="119910"/>
                    <a:pt x="8159" y="173317"/>
                  </a:cubicBezTo>
                  <a:cubicBezTo>
                    <a:pt x="8159" y="176284"/>
                    <a:pt x="8159" y="176284"/>
                    <a:pt x="5192" y="176284"/>
                  </a:cubicBezTo>
                  <a:close/>
                </a:path>
              </a:pathLst>
            </a:custGeom>
            <a:solidFill>
              <a:srgbClr val="D3977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029C07F8-9406-4FE0-9651-BF4227AE2868}"/>
                </a:ext>
              </a:extLst>
            </p:cNvPr>
            <p:cNvSpPr/>
            <p:nvPr/>
          </p:nvSpPr>
          <p:spPr>
            <a:xfrm>
              <a:off x="6692338" y="8601473"/>
              <a:ext cx="73756" cy="125844"/>
            </a:xfrm>
            <a:custGeom>
              <a:avLst/>
              <a:gdLst>
                <a:gd name="connsiteX0" fmla="*/ 7253 w 73756"/>
                <a:gd name="connsiteY0" fmla="*/ 125844 h 125844"/>
                <a:gd name="connsiteX1" fmla="*/ 1319 w 73756"/>
                <a:gd name="connsiteY1" fmla="*/ 122877 h 125844"/>
                <a:gd name="connsiteX2" fmla="*/ 1319 w 73756"/>
                <a:gd name="connsiteY2" fmla="*/ 113976 h 125844"/>
                <a:gd name="connsiteX3" fmla="*/ 63626 w 73756"/>
                <a:gd name="connsiteY3" fmla="*/ 4196 h 125844"/>
                <a:gd name="connsiteX4" fmla="*/ 69561 w 73756"/>
                <a:gd name="connsiteY4" fmla="*/ 1229 h 125844"/>
                <a:gd name="connsiteX5" fmla="*/ 72527 w 73756"/>
                <a:gd name="connsiteY5" fmla="*/ 7163 h 125844"/>
                <a:gd name="connsiteX6" fmla="*/ 7253 w 73756"/>
                <a:gd name="connsiteY6" fmla="*/ 119910 h 125844"/>
                <a:gd name="connsiteX7" fmla="*/ 7253 w 73756"/>
                <a:gd name="connsiteY7" fmla="*/ 125844 h 125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756" h="125844">
                  <a:moveTo>
                    <a:pt x="7253" y="125844"/>
                  </a:moveTo>
                  <a:cubicBezTo>
                    <a:pt x="4286" y="125844"/>
                    <a:pt x="4286" y="125844"/>
                    <a:pt x="1319" y="122877"/>
                  </a:cubicBezTo>
                  <a:cubicBezTo>
                    <a:pt x="-1648" y="119910"/>
                    <a:pt x="1319" y="116943"/>
                    <a:pt x="1319" y="113976"/>
                  </a:cubicBezTo>
                  <a:cubicBezTo>
                    <a:pt x="33956" y="90240"/>
                    <a:pt x="63626" y="7163"/>
                    <a:pt x="63626" y="4196"/>
                  </a:cubicBezTo>
                  <a:cubicBezTo>
                    <a:pt x="63626" y="1229"/>
                    <a:pt x="66593" y="-1738"/>
                    <a:pt x="69561" y="1229"/>
                  </a:cubicBezTo>
                  <a:cubicBezTo>
                    <a:pt x="72527" y="1229"/>
                    <a:pt x="75495" y="4196"/>
                    <a:pt x="72527" y="7163"/>
                  </a:cubicBezTo>
                  <a:cubicBezTo>
                    <a:pt x="72527" y="10130"/>
                    <a:pt x="39890" y="96174"/>
                    <a:pt x="7253" y="119910"/>
                  </a:cubicBezTo>
                  <a:cubicBezTo>
                    <a:pt x="10220" y="122877"/>
                    <a:pt x="10220" y="125844"/>
                    <a:pt x="7253" y="125844"/>
                  </a:cubicBezTo>
                  <a:close/>
                </a:path>
              </a:pathLst>
            </a:custGeom>
            <a:solidFill>
              <a:srgbClr val="D3977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F92BB914-DD5E-4230-896A-A64F43D35D0A}"/>
                </a:ext>
              </a:extLst>
            </p:cNvPr>
            <p:cNvSpPr/>
            <p:nvPr/>
          </p:nvSpPr>
          <p:spPr>
            <a:xfrm>
              <a:off x="7091981" y="8540394"/>
              <a:ext cx="117939" cy="255165"/>
            </a:xfrm>
            <a:custGeom>
              <a:avLst/>
              <a:gdLst>
                <a:gd name="connsiteX0" fmla="*/ 5192 w 117939"/>
                <a:gd name="connsiteY0" fmla="*/ 255165 h 255165"/>
                <a:gd name="connsiteX1" fmla="*/ 2225 w 117939"/>
                <a:gd name="connsiteY1" fmla="*/ 252198 h 255165"/>
                <a:gd name="connsiteX2" fmla="*/ 2225 w 117939"/>
                <a:gd name="connsiteY2" fmla="*/ 243297 h 255165"/>
                <a:gd name="connsiteX3" fmla="*/ 106072 w 117939"/>
                <a:gd name="connsiteY3" fmla="*/ 5934 h 255165"/>
                <a:gd name="connsiteX4" fmla="*/ 112006 w 117939"/>
                <a:gd name="connsiteY4" fmla="*/ 0 h 255165"/>
                <a:gd name="connsiteX5" fmla="*/ 117940 w 117939"/>
                <a:gd name="connsiteY5" fmla="*/ 5934 h 255165"/>
                <a:gd name="connsiteX6" fmla="*/ 11127 w 117939"/>
                <a:gd name="connsiteY6" fmla="*/ 249231 h 255165"/>
                <a:gd name="connsiteX7" fmla="*/ 5192 w 117939"/>
                <a:gd name="connsiteY7" fmla="*/ 255165 h 255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939" h="255165">
                  <a:moveTo>
                    <a:pt x="5192" y="255165"/>
                  </a:moveTo>
                  <a:cubicBezTo>
                    <a:pt x="5192" y="255165"/>
                    <a:pt x="2225" y="255165"/>
                    <a:pt x="2225" y="252198"/>
                  </a:cubicBezTo>
                  <a:cubicBezTo>
                    <a:pt x="-742" y="249231"/>
                    <a:pt x="-742" y="246264"/>
                    <a:pt x="2225" y="243297"/>
                  </a:cubicBezTo>
                  <a:cubicBezTo>
                    <a:pt x="85302" y="154286"/>
                    <a:pt x="106072" y="5934"/>
                    <a:pt x="106072" y="5934"/>
                  </a:cubicBezTo>
                  <a:cubicBezTo>
                    <a:pt x="106072" y="2967"/>
                    <a:pt x="109038" y="0"/>
                    <a:pt x="112006" y="0"/>
                  </a:cubicBezTo>
                  <a:cubicBezTo>
                    <a:pt x="114973" y="0"/>
                    <a:pt x="117940" y="2967"/>
                    <a:pt x="117940" y="5934"/>
                  </a:cubicBezTo>
                  <a:cubicBezTo>
                    <a:pt x="117940" y="11868"/>
                    <a:pt x="97170" y="157253"/>
                    <a:pt x="11127" y="249231"/>
                  </a:cubicBezTo>
                  <a:cubicBezTo>
                    <a:pt x="8159" y="255165"/>
                    <a:pt x="5192" y="255165"/>
                    <a:pt x="5192" y="255165"/>
                  </a:cubicBezTo>
                  <a:close/>
                </a:path>
              </a:pathLst>
            </a:custGeom>
            <a:solidFill>
              <a:srgbClr val="D3977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CB7F4F9D-F812-4279-8602-CBCB3B717D17}"/>
                </a:ext>
              </a:extLst>
            </p:cNvPr>
            <p:cNvSpPr/>
            <p:nvPr/>
          </p:nvSpPr>
          <p:spPr>
            <a:xfrm>
              <a:off x="7117943" y="8270395"/>
              <a:ext cx="109780" cy="183955"/>
            </a:xfrm>
            <a:custGeom>
              <a:avLst/>
              <a:gdLst>
                <a:gd name="connsiteX0" fmla="*/ 103846 w 109780"/>
                <a:gd name="connsiteY0" fmla="*/ 183956 h 183955"/>
                <a:gd name="connsiteX1" fmla="*/ 97912 w 109780"/>
                <a:gd name="connsiteY1" fmla="*/ 178022 h 183955"/>
                <a:gd name="connsiteX2" fmla="*/ 53406 w 109780"/>
                <a:gd name="connsiteY2" fmla="*/ 74176 h 183955"/>
                <a:gd name="connsiteX3" fmla="*/ 0 w 109780"/>
                <a:gd name="connsiteY3" fmla="*/ 8901 h 183955"/>
                <a:gd name="connsiteX4" fmla="*/ 2967 w 109780"/>
                <a:gd name="connsiteY4" fmla="*/ 0 h 183955"/>
                <a:gd name="connsiteX5" fmla="*/ 11868 w 109780"/>
                <a:gd name="connsiteY5" fmla="*/ 2967 h 183955"/>
                <a:gd name="connsiteX6" fmla="*/ 59341 w 109780"/>
                <a:gd name="connsiteY6" fmla="*/ 65275 h 183955"/>
                <a:gd name="connsiteX7" fmla="*/ 109780 w 109780"/>
                <a:gd name="connsiteY7" fmla="*/ 175055 h 183955"/>
                <a:gd name="connsiteX8" fmla="*/ 103846 w 109780"/>
                <a:gd name="connsiteY8" fmla="*/ 183956 h 183955"/>
                <a:gd name="connsiteX9" fmla="*/ 103846 w 109780"/>
                <a:gd name="connsiteY9" fmla="*/ 183956 h 183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780" h="183955">
                  <a:moveTo>
                    <a:pt x="103846" y="183956"/>
                  </a:moveTo>
                  <a:cubicBezTo>
                    <a:pt x="100879" y="183956"/>
                    <a:pt x="97912" y="180989"/>
                    <a:pt x="97912" y="178022"/>
                  </a:cubicBezTo>
                  <a:cubicBezTo>
                    <a:pt x="94945" y="142417"/>
                    <a:pt x="80110" y="94945"/>
                    <a:pt x="53406" y="74176"/>
                  </a:cubicBezTo>
                  <a:cubicBezTo>
                    <a:pt x="20769" y="50439"/>
                    <a:pt x="2967" y="8901"/>
                    <a:pt x="0" y="8901"/>
                  </a:cubicBezTo>
                  <a:cubicBezTo>
                    <a:pt x="0" y="5934"/>
                    <a:pt x="0" y="2967"/>
                    <a:pt x="2967" y="0"/>
                  </a:cubicBezTo>
                  <a:cubicBezTo>
                    <a:pt x="5934" y="0"/>
                    <a:pt x="8901" y="0"/>
                    <a:pt x="11868" y="2967"/>
                  </a:cubicBezTo>
                  <a:cubicBezTo>
                    <a:pt x="11868" y="2967"/>
                    <a:pt x="29670" y="41538"/>
                    <a:pt x="59341" y="65275"/>
                  </a:cubicBezTo>
                  <a:cubicBezTo>
                    <a:pt x="97912" y="91978"/>
                    <a:pt x="106813" y="163187"/>
                    <a:pt x="109780" y="175055"/>
                  </a:cubicBezTo>
                  <a:cubicBezTo>
                    <a:pt x="109780" y="180989"/>
                    <a:pt x="106813" y="183956"/>
                    <a:pt x="103846" y="183956"/>
                  </a:cubicBezTo>
                  <a:cubicBezTo>
                    <a:pt x="103846" y="183956"/>
                    <a:pt x="103846" y="183956"/>
                    <a:pt x="103846" y="183956"/>
                  </a:cubicBezTo>
                  <a:close/>
                </a:path>
              </a:pathLst>
            </a:custGeom>
            <a:solidFill>
              <a:srgbClr val="D3977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85643B0B-6D3C-45DF-90B4-6581ACC66820}"/>
                </a:ext>
              </a:extLst>
            </p:cNvPr>
            <p:cNvSpPr/>
            <p:nvPr/>
          </p:nvSpPr>
          <p:spPr>
            <a:xfrm>
              <a:off x="6945855" y="8177141"/>
              <a:ext cx="117939" cy="25012"/>
            </a:xfrm>
            <a:custGeom>
              <a:avLst/>
              <a:gdLst>
                <a:gd name="connsiteX0" fmla="*/ 115714 w 117939"/>
                <a:gd name="connsiteY0" fmla="*/ 25012 h 25012"/>
                <a:gd name="connsiteX1" fmla="*/ 115714 w 117939"/>
                <a:gd name="connsiteY1" fmla="*/ 25012 h 25012"/>
                <a:gd name="connsiteX2" fmla="*/ 8901 w 117939"/>
                <a:gd name="connsiteY2" fmla="*/ 19078 h 25012"/>
                <a:gd name="connsiteX3" fmla="*/ 0 w 117939"/>
                <a:gd name="connsiteY3" fmla="*/ 16111 h 25012"/>
                <a:gd name="connsiteX4" fmla="*/ 2967 w 117939"/>
                <a:gd name="connsiteY4" fmla="*/ 7210 h 25012"/>
                <a:gd name="connsiteX5" fmla="*/ 112747 w 117939"/>
                <a:gd name="connsiteY5" fmla="*/ 10177 h 25012"/>
                <a:gd name="connsiteX6" fmla="*/ 115714 w 117939"/>
                <a:gd name="connsiteY6" fmla="*/ 16111 h 25012"/>
                <a:gd name="connsiteX7" fmla="*/ 115714 w 117939"/>
                <a:gd name="connsiteY7" fmla="*/ 25012 h 25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939" h="25012">
                  <a:moveTo>
                    <a:pt x="115714" y="25012"/>
                  </a:moveTo>
                  <a:cubicBezTo>
                    <a:pt x="115714" y="25012"/>
                    <a:pt x="112747" y="25012"/>
                    <a:pt x="115714" y="25012"/>
                  </a:cubicBezTo>
                  <a:cubicBezTo>
                    <a:pt x="112747" y="25012"/>
                    <a:pt x="53407" y="4243"/>
                    <a:pt x="8901" y="19078"/>
                  </a:cubicBezTo>
                  <a:cubicBezTo>
                    <a:pt x="5934" y="19078"/>
                    <a:pt x="2967" y="19078"/>
                    <a:pt x="0" y="16111"/>
                  </a:cubicBezTo>
                  <a:cubicBezTo>
                    <a:pt x="0" y="13144"/>
                    <a:pt x="0" y="10177"/>
                    <a:pt x="2967" y="7210"/>
                  </a:cubicBezTo>
                  <a:cubicBezTo>
                    <a:pt x="50439" y="-10592"/>
                    <a:pt x="112747" y="10177"/>
                    <a:pt x="112747" y="10177"/>
                  </a:cubicBezTo>
                  <a:cubicBezTo>
                    <a:pt x="115714" y="10177"/>
                    <a:pt x="118681" y="13144"/>
                    <a:pt x="115714" y="16111"/>
                  </a:cubicBezTo>
                  <a:cubicBezTo>
                    <a:pt x="118681" y="22045"/>
                    <a:pt x="118681" y="25012"/>
                    <a:pt x="115714" y="25012"/>
                  </a:cubicBezTo>
                  <a:close/>
                </a:path>
              </a:pathLst>
            </a:custGeom>
            <a:solidFill>
              <a:srgbClr val="D3977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4963A775-96DF-4756-B07F-695A0D9AB8A3}"/>
                </a:ext>
              </a:extLst>
            </p:cNvPr>
            <p:cNvSpPr/>
            <p:nvPr/>
          </p:nvSpPr>
          <p:spPr>
            <a:xfrm>
              <a:off x="6842009" y="8819296"/>
              <a:ext cx="350109" cy="62307"/>
            </a:xfrm>
            <a:custGeom>
              <a:avLst/>
              <a:gdLst>
                <a:gd name="connsiteX0" fmla="*/ 35604 w 350109"/>
                <a:gd name="connsiteY0" fmla="*/ 8901 h 62307"/>
                <a:gd name="connsiteX1" fmla="*/ 326374 w 350109"/>
                <a:gd name="connsiteY1" fmla="*/ 0 h 62307"/>
                <a:gd name="connsiteX2" fmla="*/ 350110 w 350109"/>
                <a:gd name="connsiteY2" fmla="*/ 8901 h 62307"/>
                <a:gd name="connsiteX3" fmla="*/ 166154 w 350109"/>
                <a:gd name="connsiteY3" fmla="*/ 62307 h 62307"/>
                <a:gd name="connsiteX4" fmla="*/ 0 w 350109"/>
                <a:gd name="connsiteY4" fmla="*/ 14835 h 62307"/>
                <a:gd name="connsiteX5" fmla="*/ 35604 w 350109"/>
                <a:gd name="connsiteY5" fmla="*/ 8901 h 6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109" h="62307">
                  <a:moveTo>
                    <a:pt x="35604" y="8901"/>
                  </a:moveTo>
                  <a:cubicBezTo>
                    <a:pt x="35604" y="8901"/>
                    <a:pt x="145384" y="65275"/>
                    <a:pt x="326374" y="0"/>
                  </a:cubicBezTo>
                  <a:lnTo>
                    <a:pt x="350110" y="8901"/>
                  </a:lnTo>
                  <a:cubicBezTo>
                    <a:pt x="350110" y="8901"/>
                    <a:pt x="272967" y="62307"/>
                    <a:pt x="166154" y="62307"/>
                  </a:cubicBezTo>
                  <a:cubicBezTo>
                    <a:pt x="65275" y="62307"/>
                    <a:pt x="0" y="14835"/>
                    <a:pt x="0" y="14835"/>
                  </a:cubicBezTo>
                  <a:cubicBezTo>
                    <a:pt x="0" y="14835"/>
                    <a:pt x="14835" y="11868"/>
                    <a:pt x="35604" y="8901"/>
                  </a:cubicBezTo>
                  <a:close/>
                </a:path>
              </a:pathLst>
            </a:custGeom>
            <a:solidFill>
              <a:srgbClr val="F6EBE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5" name="图形 1">
              <a:extLst>
                <a:ext uri="{FF2B5EF4-FFF2-40B4-BE49-F238E27FC236}">
                  <a16:creationId xmlns:a16="http://schemas.microsoft.com/office/drawing/2014/main" id="{50667EA8-C330-44CF-9E65-7053F42CFE8D}"/>
                </a:ext>
              </a:extLst>
            </p:cNvPr>
            <p:cNvGrpSpPr/>
            <p:nvPr/>
          </p:nvGrpSpPr>
          <p:grpSpPr>
            <a:xfrm>
              <a:off x="6609944" y="8092373"/>
              <a:ext cx="645861" cy="323406"/>
              <a:chOff x="6609944" y="8092373"/>
              <a:chExt cx="645861" cy="323406"/>
            </a:xfrm>
          </p:grpSpPr>
          <p:grpSp>
            <p:nvGrpSpPr>
              <p:cNvPr id="124" name="图形 1">
                <a:extLst>
                  <a:ext uri="{FF2B5EF4-FFF2-40B4-BE49-F238E27FC236}">
                    <a16:creationId xmlns:a16="http://schemas.microsoft.com/office/drawing/2014/main" id="{1C30C471-FA0C-4BAC-9A1D-44FAFFB58BC8}"/>
                  </a:ext>
                </a:extLst>
              </p:cNvPr>
              <p:cNvGrpSpPr/>
              <p:nvPr/>
            </p:nvGrpSpPr>
            <p:grpSpPr>
              <a:xfrm>
                <a:off x="6615806" y="8092373"/>
                <a:ext cx="639999" cy="323406"/>
                <a:chOff x="6615806" y="8092373"/>
                <a:chExt cx="639999" cy="323406"/>
              </a:xfrm>
            </p:grpSpPr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1D36AF3F-4316-4A29-8851-8B2BE1772D57}"/>
                    </a:ext>
                  </a:extLst>
                </p:cNvPr>
                <p:cNvSpPr/>
                <p:nvPr/>
              </p:nvSpPr>
              <p:spPr>
                <a:xfrm>
                  <a:off x="6723299" y="8107106"/>
                  <a:ext cx="532506" cy="308673"/>
                </a:xfrm>
                <a:custGeom>
                  <a:avLst/>
                  <a:gdLst>
                    <a:gd name="connsiteX0" fmla="*/ 382776 w 532506"/>
                    <a:gd name="connsiteY0" fmla="*/ 204827 h 308673"/>
                    <a:gd name="connsiteX1" fmla="*/ 528161 w 532506"/>
                    <a:gd name="connsiteY1" fmla="*/ 308674 h 308673"/>
                    <a:gd name="connsiteX2" fmla="*/ 376842 w 532506"/>
                    <a:gd name="connsiteY2" fmla="*/ 20871 h 308673"/>
                    <a:gd name="connsiteX3" fmla="*/ 29 w 532506"/>
                    <a:gd name="connsiteY3" fmla="*/ 127684 h 308673"/>
                    <a:gd name="connsiteX4" fmla="*/ 382776 w 532506"/>
                    <a:gd name="connsiteY4" fmla="*/ 204827 h 308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2506" h="308673">
                      <a:moveTo>
                        <a:pt x="382776" y="204827"/>
                      </a:moveTo>
                      <a:cubicBezTo>
                        <a:pt x="418380" y="234498"/>
                        <a:pt x="489589" y="255267"/>
                        <a:pt x="528161" y="308674"/>
                      </a:cubicBezTo>
                      <a:cubicBezTo>
                        <a:pt x="528161" y="308674"/>
                        <a:pt x="572666" y="89113"/>
                        <a:pt x="376842" y="20871"/>
                      </a:cubicBezTo>
                      <a:cubicBezTo>
                        <a:pt x="216622" y="-35502"/>
                        <a:pt x="62336" y="29773"/>
                        <a:pt x="29" y="127684"/>
                      </a:cubicBezTo>
                      <a:cubicBezTo>
                        <a:pt x="-2939" y="127684"/>
                        <a:pt x="225523" y="71311"/>
                        <a:pt x="382776" y="204827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9FCBC96E-3420-470D-99BA-B9CB1CA51133}"/>
                    </a:ext>
                  </a:extLst>
                </p:cNvPr>
                <p:cNvSpPr/>
                <p:nvPr/>
              </p:nvSpPr>
              <p:spPr>
                <a:xfrm>
                  <a:off x="6615806" y="8143636"/>
                  <a:ext cx="505103" cy="212802"/>
                </a:xfrm>
                <a:custGeom>
                  <a:avLst/>
                  <a:gdLst>
                    <a:gd name="connsiteX0" fmla="*/ 505103 w 505103"/>
                    <a:gd name="connsiteY0" fmla="*/ 183133 h 212802"/>
                    <a:gd name="connsiteX1" fmla="*/ 291477 w 505103"/>
                    <a:gd name="connsiteY1" fmla="*/ 46649 h 212802"/>
                    <a:gd name="connsiteX2" fmla="*/ 3675 w 505103"/>
                    <a:gd name="connsiteY2" fmla="*/ 58517 h 212802"/>
                    <a:gd name="connsiteX3" fmla="*/ 104554 w 505103"/>
                    <a:gd name="connsiteY3" fmla="*/ 212803 h 212802"/>
                    <a:gd name="connsiteX4" fmla="*/ 505103 w 505103"/>
                    <a:gd name="connsiteY4" fmla="*/ 183133 h 212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5103" h="212802">
                      <a:moveTo>
                        <a:pt x="505103" y="183133"/>
                      </a:moveTo>
                      <a:cubicBezTo>
                        <a:pt x="505103" y="183133"/>
                        <a:pt x="430928" y="108957"/>
                        <a:pt x="291477" y="46649"/>
                      </a:cubicBezTo>
                      <a:cubicBezTo>
                        <a:pt x="146093" y="-21592"/>
                        <a:pt x="30378" y="-12692"/>
                        <a:pt x="3675" y="58517"/>
                      </a:cubicBezTo>
                      <a:cubicBezTo>
                        <a:pt x="-23029" y="129726"/>
                        <a:pt x="104554" y="212803"/>
                        <a:pt x="104554" y="212803"/>
                      </a:cubicBezTo>
                      <a:cubicBezTo>
                        <a:pt x="104554" y="212803"/>
                        <a:pt x="246972" y="73353"/>
                        <a:pt x="505103" y="18313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041748C1-EB80-4294-B02A-2321A85F32A5}"/>
                    </a:ext>
                  </a:extLst>
                </p:cNvPr>
                <p:cNvSpPr/>
                <p:nvPr/>
              </p:nvSpPr>
              <p:spPr>
                <a:xfrm>
                  <a:off x="7079371" y="8092373"/>
                  <a:ext cx="56373" cy="53406"/>
                </a:xfrm>
                <a:custGeom>
                  <a:avLst/>
                  <a:gdLst>
                    <a:gd name="connsiteX0" fmla="*/ 56373 w 56373"/>
                    <a:gd name="connsiteY0" fmla="*/ 26703 h 53406"/>
                    <a:gd name="connsiteX1" fmla="*/ 26703 w 56373"/>
                    <a:gd name="connsiteY1" fmla="*/ 0 h 53406"/>
                    <a:gd name="connsiteX2" fmla="*/ 0 w 56373"/>
                    <a:gd name="connsiteY2" fmla="*/ 26703 h 53406"/>
                    <a:gd name="connsiteX3" fmla="*/ 29670 w 56373"/>
                    <a:gd name="connsiteY3" fmla="*/ 53406 h 53406"/>
                    <a:gd name="connsiteX4" fmla="*/ 56373 w 56373"/>
                    <a:gd name="connsiteY4" fmla="*/ 26703 h 5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373" h="53406">
                      <a:moveTo>
                        <a:pt x="56373" y="26703"/>
                      </a:moveTo>
                      <a:cubicBezTo>
                        <a:pt x="56373" y="11868"/>
                        <a:pt x="44505" y="0"/>
                        <a:pt x="26703" y="0"/>
                      </a:cubicBezTo>
                      <a:cubicBezTo>
                        <a:pt x="11868" y="0"/>
                        <a:pt x="0" y="11868"/>
                        <a:pt x="0" y="26703"/>
                      </a:cubicBezTo>
                      <a:cubicBezTo>
                        <a:pt x="0" y="41538"/>
                        <a:pt x="11868" y="53406"/>
                        <a:pt x="29670" y="53406"/>
                      </a:cubicBezTo>
                      <a:cubicBezTo>
                        <a:pt x="44505" y="53406"/>
                        <a:pt x="56373" y="41538"/>
                        <a:pt x="56373" y="26703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883C49E7-12AD-476F-BBF1-4CC058590BF8}"/>
                  </a:ext>
                </a:extLst>
              </p:cNvPr>
              <p:cNvSpPr/>
              <p:nvPr/>
            </p:nvSpPr>
            <p:spPr>
              <a:xfrm>
                <a:off x="6609944" y="8136744"/>
                <a:ext cx="519124" cy="228596"/>
              </a:xfrm>
              <a:custGeom>
                <a:avLst/>
                <a:gdLst>
                  <a:gd name="connsiteX0" fmla="*/ 110416 w 519124"/>
                  <a:gd name="connsiteY0" fmla="*/ 225629 h 228596"/>
                  <a:gd name="connsiteX1" fmla="*/ 107449 w 519124"/>
                  <a:gd name="connsiteY1" fmla="*/ 225629 h 228596"/>
                  <a:gd name="connsiteX2" fmla="*/ 636 w 519124"/>
                  <a:gd name="connsiteY2" fmla="*/ 80244 h 228596"/>
                  <a:gd name="connsiteX3" fmla="*/ 68878 w 519124"/>
                  <a:gd name="connsiteY3" fmla="*/ 9035 h 228596"/>
                  <a:gd name="connsiteX4" fmla="*/ 516899 w 519124"/>
                  <a:gd name="connsiteY4" fmla="*/ 187057 h 228596"/>
                  <a:gd name="connsiteX5" fmla="*/ 516899 w 519124"/>
                  <a:gd name="connsiteY5" fmla="*/ 195959 h 228596"/>
                  <a:gd name="connsiteX6" fmla="*/ 507999 w 519124"/>
                  <a:gd name="connsiteY6" fmla="*/ 195959 h 228596"/>
                  <a:gd name="connsiteX7" fmla="*/ 71844 w 519124"/>
                  <a:gd name="connsiteY7" fmla="*/ 20904 h 228596"/>
                  <a:gd name="connsiteX8" fmla="*/ 12504 w 519124"/>
                  <a:gd name="connsiteY8" fmla="*/ 83211 h 228596"/>
                  <a:gd name="connsiteX9" fmla="*/ 116350 w 519124"/>
                  <a:gd name="connsiteY9" fmla="*/ 219695 h 228596"/>
                  <a:gd name="connsiteX10" fmla="*/ 116350 w 519124"/>
                  <a:gd name="connsiteY10" fmla="*/ 228596 h 228596"/>
                  <a:gd name="connsiteX11" fmla="*/ 110416 w 519124"/>
                  <a:gd name="connsiteY11" fmla="*/ 225629 h 228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19124" h="228596">
                    <a:moveTo>
                      <a:pt x="110416" y="225629"/>
                    </a:moveTo>
                    <a:cubicBezTo>
                      <a:pt x="110416" y="225629"/>
                      <a:pt x="107449" y="225629"/>
                      <a:pt x="107449" y="225629"/>
                    </a:cubicBezTo>
                    <a:cubicBezTo>
                      <a:pt x="30306" y="172222"/>
                      <a:pt x="-5298" y="121783"/>
                      <a:pt x="636" y="80244"/>
                    </a:cubicBezTo>
                    <a:cubicBezTo>
                      <a:pt x="3603" y="50574"/>
                      <a:pt x="27339" y="26838"/>
                      <a:pt x="68878" y="9035"/>
                    </a:cubicBezTo>
                    <a:cubicBezTo>
                      <a:pt x="205361" y="-47338"/>
                      <a:pt x="502064" y="178157"/>
                      <a:pt x="516899" y="187057"/>
                    </a:cubicBezTo>
                    <a:cubicBezTo>
                      <a:pt x="519867" y="190025"/>
                      <a:pt x="519867" y="192992"/>
                      <a:pt x="516899" y="195959"/>
                    </a:cubicBezTo>
                    <a:cubicBezTo>
                      <a:pt x="513933" y="198926"/>
                      <a:pt x="510965" y="198926"/>
                      <a:pt x="507999" y="195959"/>
                    </a:cubicBezTo>
                    <a:cubicBezTo>
                      <a:pt x="505031" y="192992"/>
                      <a:pt x="202394" y="-35470"/>
                      <a:pt x="71844" y="20904"/>
                    </a:cubicBezTo>
                    <a:cubicBezTo>
                      <a:pt x="51075" y="29805"/>
                      <a:pt x="15471" y="50574"/>
                      <a:pt x="12504" y="83211"/>
                    </a:cubicBezTo>
                    <a:cubicBezTo>
                      <a:pt x="9537" y="121783"/>
                      <a:pt x="42174" y="166288"/>
                      <a:pt x="116350" y="219695"/>
                    </a:cubicBezTo>
                    <a:cubicBezTo>
                      <a:pt x="119317" y="222662"/>
                      <a:pt x="119317" y="225629"/>
                      <a:pt x="116350" y="228596"/>
                    </a:cubicBezTo>
                    <a:cubicBezTo>
                      <a:pt x="113383" y="222662"/>
                      <a:pt x="110416" y="225629"/>
                      <a:pt x="110416" y="2256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6" name="图形 1">
              <a:extLst>
                <a:ext uri="{FF2B5EF4-FFF2-40B4-BE49-F238E27FC236}">
                  <a16:creationId xmlns:a16="http://schemas.microsoft.com/office/drawing/2014/main" id="{E3B0E876-AD30-452A-A84D-82C4541F3FC6}"/>
                </a:ext>
              </a:extLst>
            </p:cNvPr>
            <p:cNvGrpSpPr/>
            <p:nvPr/>
          </p:nvGrpSpPr>
          <p:grpSpPr>
            <a:xfrm>
              <a:off x="5586954" y="9199432"/>
              <a:ext cx="1542857" cy="556229"/>
              <a:chOff x="5586954" y="9199432"/>
              <a:chExt cx="1542857" cy="556229"/>
            </a:xfrm>
          </p:grpSpPr>
          <p:grpSp>
            <p:nvGrpSpPr>
              <p:cNvPr id="109" name="图形 1">
                <a:extLst>
                  <a:ext uri="{FF2B5EF4-FFF2-40B4-BE49-F238E27FC236}">
                    <a16:creationId xmlns:a16="http://schemas.microsoft.com/office/drawing/2014/main" id="{25E9C269-5141-44EB-AA43-1C6FE59B7477}"/>
                  </a:ext>
                </a:extLst>
              </p:cNvPr>
              <p:cNvGrpSpPr/>
              <p:nvPr/>
            </p:nvGrpSpPr>
            <p:grpSpPr>
              <a:xfrm>
                <a:off x="5592027" y="9616211"/>
                <a:ext cx="1532086" cy="139450"/>
                <a:chOff x="5592027" y="9616211"/>
                <a:chExt cx="1532086" cy="139450"/>
              </a:xfrm>
            </p:grpSpPr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3A1325E9-6E42-4539-B7C7-78EA45ECDCD7}"/>
                    </a:ext>
                  </a:extLst>
                </p:cNvPr>
                <p:cNvSpPr/>
                <p:nvPr/>
              </p:nvSpPr>
              <p:spPr>
                <a:xfrm rot="-10800000">
                  <a:off x="5592027" y="9616211"/>
                  <a:ext cx="1358901" cy="139450"/>
                </a:xfrm>
                <a:custGeom>
                  <a:avLst/>
                  <a:gdLst>
                    <a:gd name="connsiteX0" fmla="*/ 0 w 1358901"/>
                    <a:gd name="connsiteY0" fmla="*/ 0 h 139450"/>
                    <a:gd name="connsiteX1" fmla="*/ 1358901 w 1358901"/>
                    <a:gd name="connsiteY1" fmla="*/ 0 h 139450"/>
                    <a:gd name="connsiteX2" fmla="*/ 1358901 w 1358901"/>
                    <a:gd name="connsiteY2" fmla="*/ 139451 h 139450"/>
                    <a:gd name="connsiteX3" fmla="*/ 0 w 1358901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58901" h="139450">
                      <a:moveTo>
                        <a:pt x="0" y="0"/>
                      </a:moveTo>
                      <a:lnTo>
                        <a:pt x="1358901" y="0"/>
                      </a:lnTo>
                      <a:lnTo>
                        <a:pt x="1358901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7A4BF3D6-E954-445D-BB8B-BAF217541F23}"/>
                    </a:ext>
                  </a:extLst>
                </p:cNvPr>
                <p:cNvSpPr/>
                <p:nvPr/>
              </p:nvSpPr>
              <p:spPr>
                <a:xfrm rot="-10800000">
                  <a:off x="6515872" y="9616211"/>
                  <a:ext cx="608241" cy="139450"/>
                </a:xfrm>
                <a:custGeom>
                  <a:avLst/>
                  <a:gdLst>
                    <a:gd name="connsiteX0" fmla="*/ 0 w 608241"/>
                    <a:gd name="connsiteY0" fmla="*/ 0 h 139450"/>
                    <a:gd name="connsiteX1" fmla="*/ 608242 w 608241"/>
                    <a:gd name="connsiteY1" fmla="*/ 0 h 139450"/>
                    <a:gd name="connsiteX2" fmla="*/ 608242 w 608241"/>
                    <a:gd name="connsiteY2" fmla="*/ 139451 h 139450"/>
                    <a:gd name="connsiteX3" fmla="*/ 0 w 608241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8241" h="139450">
                      <a:moveTo>
                        <a:pt x="0" y="0"/>
                      </a:moveTo>
                      <a:lnTo>
                        <a:pt x="608242" y="0"/>
                      </a:lnTo>
                      <a:lnTo>
                        <a:pt x="608242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10" name="图形 1">
                <a:extLst>
                  <a:ext uri="{FF2B5EF4-FFF2-40B4-BE49-F238E27FC236}">
                    <a16:creationId xmlns:a16="http://schemas.microsoft.com/office/drawing/2014/main" id="{DE8F68CF-BA85-4D08-88EC-E6200E19CED1}"/>
                  </a:ext>
                </a:extLst>
              </p:cNvPr>
              <p:cNvGrpSpPr/>
              <p:nvPr/>
            </p:nvGrpSpPr>
            <p:grpSpPr>
              <a:xfrm>
                <a:off x="5592027" y="9479312"/>
                <a:ext cx="1532086" cy="139450"/>
                <a:chOff x="5592027" y="9479312"/>
                <a:chExt cx="1532086" cy="139450"/>
              </a:xfrm>
            </p:grpSpPr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016DDF9A-C4DA-4A68-B1D5-BBC22FF53020}"/>
                    </a:ext>
                  </a:extLst>
                </p:cNvPr>
                <p:cNvSpPr/>
                <p:nvPr/>
              </p:nvSpPr>
              <p:spPr>
                <a:xfrm rot="-10800000">
                  <a:off x="5592027" y="9479312"/>
                  <a:ext cx="1358901" cy="139450"/>
                </a:xfrm>
                <a:custGeom>
                  <a:avLst/>
                  <a:gdLst>
                    <a:gd name="connsiteX0" fmla="*/ 0 w 1358901"/>
                    <a:gd name="connsiteY0" fmla="*/ 0 h 139450"/>
                    <a:gd name="connsiteX1" fmla="*/ 1358901 w 1358901"/>
                    <a:gd name="connsiteY1" fmla="*/ 0 h 139450"/>
                    <a:gd name="connsiteX2" fmla="*/ 1358901 w 1358901"/>
                    <a:gd name="connsiteY2" fmla="*/ 139451 h 139450"/>
                    <a:gd name="connsiteX3" fmla="*/ 0 w 1358901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58901" h="139450">
                      <a:moveTo>
                        <a:pt x="0" y="0"/>
                      </a:moveTo>
                      <a:lnTo>
                        <a:pt x="1358901" y="0"/>
                      </a:lnTo>
                      <a:lnTo>
                        <a:pt x="1358901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5611B4CC-4BF3-4CA7-88D8-AF7CA0A2D9C0}"/>
                    </a:ext>
                  </a:extLst>
                </p:cNvPr>
                <p:cNvSpPr/>
                <p:nvPr/>
              </p:nvSpPr>
              <p:spPr>
                <a:xfrm rot="-10800000">
                  <a:off x="6515872" y="9479312"/>
                  <a:ext cx="608241" cy="139450"/>
                </a:xfrm>
                <a:custGeom>
                  <a:avLst/>
                  <a:gdLst>
                    <a:gd name="connsiteX0" fmla="*/ 0 w 608241"/>
                    <a:gd name="connsiteY0" fmla="*/ 0 h 139450"/>
                    <a:gd name="connsiteX1" fmla="*/ 608242 w 608241"/>
                    <a:gd name="connsiteY1" fmla="*/ 0 h 139450"/>
                    <a:gd name="connsiteX2" fmla="*/ 608242 w 608241"/>
                    <a:gd name="connsiteY2" fmla="*/ 139451 h 139450"/>
                    <a:gd name="connsiteX3" fmla="*/ 0 w 608241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8241" h="139450">
                      <a:moveTo>
                        <a:pt x="0" y="0"/>
                      </a:moveTo>
                      <a:lnTo>
                        <a:pt x="608242" y="0"/>
                      </a:lnTo>
                      <a:lnTo>
                        <a:pt x="608242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11" name="图形 1">
                <a:extLst>
                  <a:ext uri="{FF2B5EF4-FFF2-40B4-BE49-F238E27FC236}">
                    <a16:creationId xmlns:a16="http://schemas.microsoft.com/office/drawing/2014/main" id="{0E674A5D-EC66-4B11-8D14-C84138BAB9F8}"/>
                  </a:ext>
                </a:extLst>
              </p:cNvPr>
              <p:cNvGrpSpPr/>
              <p:nvPr/>
            </p:nvGrpSpPr>
            <p:grpSpPr>
              <a:xfrm>
                <a:off x="5592027" y="9339357"/>
                <a:ext cx="1532086" cy="139450"/>
                <a:chOff x="5592027" y="9339357"/>
                <a:chExt cx="1532086" cy="139450"/>
              </a:xfrm>
            </p:grpSpPr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78ACA55F-AC33-44DA-9B2A-5F3E43FD2F8D}"/>
                    </a:ext>
                  </a:extLst>
                </p:cNvPr>
                <p:cNvSpPr/>
                <p:nvPr/>
              </p:nvSpPr>
              <p:spPr>
                <a:xfrm rot="-10800000">
                  <a:off x="5592027" y="9339357"/>
                  <a:ext cx="1358901" cy="139450"/>
                </a:xfrm>
                <a:custGeom>
                  <a:avLst/>
                  <a:gdLst>
                    <a:gd name="connsiteX0" fmla="*/ 0 w 1358901"/>
                    <a:gd name="connsiteY0" fmla="*/ 0 h 139450"/>
                    <a:gd name="connsiteX1" fmla="*/ 1358901 w 1358901"/>
                    <a:gd name="connsiteY1" fmla="*/ 0 h 139450"/>
                    <a:gd name="connsiteX2" fmla="*/ 1358901 w 1358901"/>
                    <a:gd name="connsiteY2" fmla="*/ 139451 h 139450"/>
                    <a:gd name="connsiteX3" fmla="*/ 0 w 1358901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58901" h="139450">
                      <a:moveTo>
                        <a:pt x="0" y="0"/>
                      </a:moveTo>
                      <a:lnTo>
                        <a:pt x="1358901" y="0"/>
                      </a:lnTo>
                      <a:lnTo>
                        <a:pt x="1358901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2448B771-B67C-4B4F-980B-F00D9B129F08}"/>
                    </a:ext>
                  </a:extLst>
                </p:cNvPr>
                <p:cNvSpPr/>
                <p:nvPr/>
              </p:nvSpPr>
              <p:spPr>
                <a:xfrm rot="-10800000">
                  <a:off x="6515872" y="9339357"/>
                  <a:ext cx="608241" cy="139450"/>
                </a:xfrm>
                <a:custGeom>
                  <a:avLst/>
                  <a:gdLst>
                    <a:gd name="connsiteX0" fmla="*/ 0 w 608241"/>
                    <a:gd name="connsiteY0" fmla="*/ 0 h 139450"/>
                    <a:gd name="connsiteX1" fmla="*/ 608242 w 608241"/>
                    <a:gd name="connsiteY1" fmla="*/ 0 h 139450"/>
                    <a:gd name="connsiteX2" fmla="*/ 608242 w 608241"/>
                    <a:gd name="connsiteY2" fmla="*/ 139451 h 139450"/>
                    <a:gd name="connsiteX3" fmla="*/ 0 w 608241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8241" h="139450">
                      <a:moveTo>
                        <a:pt x="0" y="0"/>
                      </a:moveTo>
                      <a:lnTo>
                        <a:pt x="608242" y="0"/>
                      </a:lnTo>
                      <a:lnTo>
                        <a:pt x="608242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12" name="图形 1">
                <a:extLst>
                  <a:ext uri="{FF2B5EF4-FFF2-40B4-BE49-F238E27FC236}">
                    <a16:creationId xmlns:a16="http://schemas.microsoft.com/office/drawing/2014/main" id="{7343324A-66C8-40AF-8726-738CDDA3F3FA}"/>
                  </a:ext>
                </a:extLst>
              </p:cNvPr>
              <p:cNvGrpSpPr/>
              <p:nvPr/>
            </p:nvGrpSpPr>
            <p:grpSpPr>
              <a:xfrm>
                <a:off x="5592027" y="9199432"/>
                <a:ext cx="1532086" cy="139450"/>
                <a:chOff x="5592027" y="9199432"/>
                <a:chExt cx="1532086" cy="139450"/>
              </a:xfrm>
            </p:grpSpPr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2E01C8DC-AB54-4166-ACD2-6BBEF44F5EFF}"/>
                    </a:ext>
                  </a:extLst>
                </p:cNvPr>
                <p:cNvSpPr/>
                <p:nvPr/>
              </p:nvSpPr>
              <p:spPr>
                <a:xfrm rot="-10800000">
                  <a:off x="5592027" y="9199432"/>
                  <a:ext cx="1358901" cy="139450"/>
                </a:xfrm>
                <a:custGeom>
                  <a:avLst/>
                  <a:gdLst>
                    <a:gd name="connsiteX0" fmla="*/ 0 w 1358901"/>
                    <a:gd name="connsiteY0" fmla="*/ 0 h 139450"/>
                    <a:gd name="connsiteX1" fmla="*/ 1358901 w 1358901"/>
                    <a:gd name="connsiteY1" fmla="*/ 0 h 139450"/>
                    <a:gd name="connsiteX2" fmla="*/ 1358901 w 1358901"/>
                    <a:gd name="connsiteY2" fmla="*/ 139451 h 139450"/>
                    <a:gd name="connsiteX3" fmla="*/ 0 w 1358901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58901" h="139450">
                      <a:moveTo>
                        <a:pt x="0" y="0"/>
                      </a:moveTo>
                      <a:lnTo>
                        <a:pt x="1358901" y="0"/>
                      </a:lnTo>
                      <a:lnTo>
                        <a:pt x="1358901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6CD5A050-A7BE-4FE6-8732-8CCDACC531C5}"/>
                    </a:ext>
                  </a:extLst>
                </p:cNvPr>
                <p:cNvSpPr/>
                <p:nvPr/>
              </p:nvSpPr>
              <p:spPr>
                <a:xfrm rot="-10800000">
                  <a:off x="6515872" y="9199432"/>
                  <a:ext cx="608241" cy="139450"/>
                </a:xfrm>
                <a:custGeom>
                  <a:avLst/>
                  <a:gdLst>
                    <a:gd name="connsiteX0" fmla="*/ 0 w 608241"/>
                    <a:gd name="connsiteY0" fmla="*/ 0 h 139450"/>
                    <a:gd name="connsiteX1" fmla="*/ 608242 w 608241"/>
                    <a:gd name="connsiteY1" fmla="*/ 0 h 139450"/>
                    <a:gd name="connsiteX2" fmla="*/ 608242 w 608241"/>
                    <a:gd name="connsiteY2" fmla="*/ 139451 h 139450"/>
                    <a:gd name="connsiteX3" fmla="*/ 0 w 608241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8241" h="139450">
                      <a:moveTo>
                        <a:pt x="0" y="0"/>
                      </a:moveTo>
                      <a:lnTo>
                        <a:pt x="608242" y="0"/>
                      </a:lnTo>
                      <a:lnTo>
                        <a:pt x="608242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C4884083-89D6-48D3-A763-07DD163E7EFC}"/>
                  </a:ext>
                </a:extLst>
              </p:cNvPr>
              <p:cNvSpPr/>
              <p:nvPr/>
            </p:nvSpPr>
            <p:spPr>
              <a:xfrm>
                <a:off x="5586954" y="9332592"/>
                <a:ext cx="1542857" cy="11867"/>
              </a:xfrm>
              <a:custGeom>
                <a:avLst/>
                <a:gdLst>
                  <a:gd name="connsiteX0" fmla="*/ 1536923 w 1542857"/>
                  <a:gd name="connsiteY0" fmla="*/ 11868 h 11867"/>
                  <a:gd name="connsiteX1" fmla="*/ 5934 w 1542857"/>
                  <a:gd name="connsiteY1" fmla="*/ 11868 h 11867"/>
                  <a:gd name="connsiteX2" fmla="*/ 0 w 1542857"/>
                  <a:gd name="connsiteY2" fmla="*/ 5934 h 11867"/>
                  <a:gd name="connsiteX3" fmla="*/ 5934 w 1542857"/>
                  <a:gd name="connsiteY3" fmla="*/ 0 h 11867"/>
                  <a:gd name="connsiteX4" fmla="*/ 1536923 w 1542857"/>
                  <a:gd name="connsiteY4" fmla="*/ 0 h 11867"/>
                  <a:gd name="connsiteX5" fmla="*/ 1542857 w 1542857"/>
                  <a:gd name="connsiteY5" fmla="*/ 5934 h 11867"/>
                  <a:gd name="connsiteX6" fmla="*/ 1536923 w 1542857"/>
                  <a:gd name="connsiteY6" fmla="*/ 11868 h 11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2857" h="11867">
                    <a:moveTo>
                      <a:pt x="1536923" y="11868"/>
                    </a:moveTo>
                    <a:lnTo>
                      <a:pt x="5934" y="11868"/>
                    </a:lnTo>
                    <a:cubicBezTo>
                      <a:pt x="2967" y="11868"/>
                      <a:pt x="0" y="8902"/>
                      <a:pt x="0" y="5934"/>
                    </a:cubicBezTo>
                    <a:cubicBezTo>
                      <a:pt x="0" y="2967"/>
                      <a:pt x="2967" y="0"/>
                      <a:pt x="5934" y="0"/>
                    </a:cubicBezTo>
                    <a:lnTo>
                      <a:pt x="1536923" y="0"/>
                    </a:lnTo>
                    <a:cubicBezTo>
                      <a:pt x="1539890" y="0"/>
                      <a:pt x="1542857" y="2967"/>
                      <a:pt x="1542857" y="5934"/>
                    </a:cubicBezTo>
                    <a:cubicBezTo>
                      <a:pt x="1542857" y="8902"/>
                      <a:pt x="1539890" y="11868"/>
                      <a:pt x="1536923" y="11868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66DB5C2F-1AD0-4A8C-99CD-47C15B5FE7BD}"/>
                  </a:ext>
                </a:extLst>
              </p:cNvPr>
              <p:cNvSpPr/>
              <p:nvPr/>
            </p:nvSpPr>
            <p:spPr>
              <a:xfrm>
                <a:off x="5586954" y="9472043"/>
                <a:ext cx="1542857" cy="11867"/>
              </a:xfrm>
              <a:custGeom>
                <a:avLst/>
                <a:gdLst>
                  <a:gd name="connsiteX0" fmla="*/ 1536923 w 1542857"/>
                  <a:gd name="connsiteY0" fmla="*/ 11868 h 11867"/>
                  <a:gd name="connsiteX1" fmla="*/ 5934 w 1542857"/>
                  <a:gd name="connsiteY1" fmla="*/ 11868 h 11867"/>
                  <a:gd name="connsiteX2" fmla="*/ 0 w 1542857"/>
                  <a:gd name="connsiteY2" fmla="*/ 5934 h 11867"/>
                  <a:gd name="connsiteX3" fmla="*/ 5934 w 1542857"/>
                  <a:gd name="connsiteY3" fmla="*/ 0 h 11867"/>
                  <a:gd name="connsiteX4" fmla="*/ 1536923 w 1542857"/>
                  <a:gd name="connsiteY4" fmla="*/ 0 h 11867"/>
                  <a:gd name="connsiteX5" fmla="*/ 1542857 w 1542857"/>
                  <a:gd name="connsiteY5" fmla="*/ 5934 h 11867"/>
                  <a:gd name="connsiteX6" fmla="*/ 1536923 w 1542857"/>
                  <a:gd name="connsiteY6" fmla="*/ 11868 h 11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2857" h="11867">
                    <a:moveTo>
                      <a:pt x="1536923" y="11868"/>
                    </a:moveTo>
                    <a:lnTo>
                      <a:pt x="5934" y="11868"/>
                    </a:lnTo>
                    <a:cubicBezTo>
                      <a:pt x="2967" y="11868"/>
                      <a:pt x="0" y="8901"/>
                      <a:pt x="0" y="5934"/>
                    </a:cubicBezTo>
                    <a:cubicBezTo>
                      <a:pt x="0" y="2967"/>
                      <a:pt x="2967" y="0"/>
                      <a:pt x="5934" y="0"/>
                    </a:cubicBezTo>
                    <a:lnTo>
                      <a:pt x="1536923" y="0"/>
                    </a:lnTo>
                    <a:cubicBezTo>
                      <a:pt x="1539890" y="0"/>
                      <a:pt x="1542857" y="2967"/>
                      <a:pt x="1542857" y="5934"/>
                    </a:cubicBezTo>
                    <a:cubicBezTo>
                      <a:pt x="1542857" y="8901"/>
                      <a:pt x="1539890" y="11868"/>
                      <a:pt x="1536923" y="11868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AC82ED57-2D77-4A2A-B4D8-EA7768F67C8E}"/>
                  </a:ext>
                </a:extLst>
              </p:cNvPr>
              <p:cNvSpPr/>
              <p:nvPr/>
            </p:nvSpPr>
            <p:spPr>
              <a:xfrm>
                <a:off x="5586954" y="9611493"/>
                <a:ext cx="1542857" cy="11868"/>
              </a:xfrm>
              <a:custGeom>
                <a:avLst/>
                <a:gdLst>
                  <a:gd name="connsiteX0" fmla="*/ 1536923 w 1542857"/>
                  <a:gd name="connsiteY0" fmla="*/ 11869 h 11868"/>
                  <a:gd name="connsiteX1" fmla="*/ 5934 w 1542857"/>
                  <a:gd name="connsiteY1" fmla="*/ 11869 h 11868"/>
                  <a:gd name="connsiteX2" fmla="*/ 0 w 1542857"/>
                  <a:gd name="connsiteY2" fmla="*/ 5934 h 11868"/>
                  <a:gd name="connsiteX3" fmla="*/ 5934 w 1542857"/>
                  <a:gd name="connsiteY3" fmla="*/ 0 h 11868"/>
                  <a:gd name="connsiteX4" fmla="*/ 1536923 w 1542857"/>
                  <a:gd name="connsiteY4" fmla="*/ 0 h 11868"/>
                  <a:gd name="connsiteX5" fmla="*/ 1542857 w 1542857"/>
                  <a:gd name="connsiteY5" fmla="*/ 5934 h 11868"/>
                  <a:gd name="connsiteX6" fmla="*/ 1536923 w 1542857"/>
                  <a:gd name="connsiteY6" fmla="*/ 11869 h 11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2857" h="11868">
                    <a:moveTo>
                      <a:pt x="1536923" y="11869"/>
                    </a:moveTo>
                    <a:lnTo>
                      <a:pt x="5934" y="11869"/>
                    </a:lnTo>
                    <a:cubicBezTo>
                      <a:pt x="2967" y="11869"/>
                      <a:pt x="0" y="8902"/>
                      <a:pt x="0" y="5934"/>
                    </a:cubicBezTo>
                    <a:cubicBezTo>
                      <a:pt x="0" y="2967"/>
                      <a:pt x="2967" y="0"/>
                      <a:pt x="5934" y="0"/>
                    </a:cubicBezTo>
                    <a:lnTo>
                      <a:pt x="1536923" y="0"/>
                    </a:lnTo>
                    <a:cubicBezTo>
                      <a:pt x="1539890" y="0"/>
                      <a:pt x="1542857" y="2967"/>
                      <a:pt x="1542857" y="5934"/>
                    </a:cubicBezTo>
                    <a:cubicBezTo>
                      <a:pt x="1542857" y="8902"/>
                      <a:pt x="1539890" y="11869"/>
                      <a:pt x="1536923" y="11869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7" name="图形 1">
              <a:extLst>
                <a:ext uri="{FF2B5EF4-FFF2-40B4-BE49-F238E27FC236}">
                  <a16:creationId xmlns:a16="http://schemas.microsoft.com/office/drawing/2014/main" id="{6650E473-9EB5-4A31-8D47-B3F6393F0650}"/>
                </a:ext>
              </a:extLst>
            </p:cNvPr>
            <p:cNvGrpSpPr/>
            <p:nvPr/>
          </p:nvGrpSpPr>
          <p:grpSpPr>
            <a:xfrm>
              <a:off x="5966500" y="9677085"/>
              <a:ext cx="160453" cy="121332"/>
              <a:chOff x="5966500" y="9677085"/>
              <a:chExt cx="160453" cy="121332"/>
            </a:xfrm>
          </p:grpSpPr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5D507A7B-9C33-4908-8A88-A487FB7F8BFA}"/>
                  </a:ext>
                </a:extLst>
              </p:cNvPr>
              <p:cNvSpPr/>
              <p:nvPr/>
            </p:nvSpPr>
            <p:spPr>
              <a:xfrm>
                <a:off x="5966500" y="9677085"/>
                <a:ext cx="61057" cy="108824"/>
              </a:xfrm>
              <a:custGeom>
                <a:avLst/>
                <a:gdLst>
                  <a:gd name="connsiteX0" fmla="*/ 3201 w 61057"/>
                  <a:gd name="connsiteY0" fmla="*/ 94629 h 108824"/>
                  <a:gd name="connsiteX1" fmla="*/ 12102 w 61057"/>
                  <a:gd name="connsiteY1" fmla="*/ 26387 h 108824"/>
                  <a:gd name="connsiteX2" fmla="*/ 12102 w 61057"/>
                  <a:gd name="connsiteY2" fmla="*/ 14519 h 108824"/>
                  <a:gd name="connsiteX3" fmla="*/ 18036 w 61057"/>
                  <a:gd name="connsiteY3" fmla="*/ 5618 h 108824"/>
                  <a:gd name="connsiteX4" fmla="*/ 53640 w 61057"/>
                  <a:gd name="connsiteY4" fmla="*/ 5618 h 108824"/>
                  <a:gd name="connsiteX5" fmla="*/ 59574 w 61057"/>
                  <a:gd name="connsiteY5" fmla="*/ 41222 h 108824"/>
                  <a:gd name="connsiteX6" fmla="*/ 47706 w 61057"/>
                  <a:gd name="connsiteY6" fmla="*/ 82760 h 108824"/>
                  <a:gd name="connsiteX7" fmla="*/ 26937 w 61057"/>
                  <a:gd name="connsiteY7" fmla="*/ 106497 h 108824"/>
                  <a:gd name="connsiteX8" fmla="*/ 3201 w 61057"/>
                  <a:gd name="connsiteY8" fmla="*/ 94629 h 108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1057" h="108824">
                    <a:moveTo>
                      <a:pt x="3201" y="94629"/>
                    </a:moveTo>
                    <a:cubicBezTo>
                      <a:pt x="-5700" y="73859"/>
                      <a:pt x="6168" y="50124"/>
                      <a:pt x="12102" y="26387"/>
                    </a:cubicBezTo>
                    <a:cubicBezTo>
                      <a:pt x="12102" y="23420"/>
                      <a:pt x="12102" y="17486"/>
                      <a:pt x="12102" y="14519"/>
                    </a:cubicBezTo>
                    <a:cubicBezTo>
                      <a:pt x="15069" y="11552"/>
                      <a:pt x="15069" y="8584"/>
                      <a:pt x="18036" y="5618"/>
                    </a:cubicBezTo>
                    <a:cubicBezTo>
                      <a:pt x="26937" y="-316"/>
                      <a:pt x="44739" y="-3284"/>
                      <a:pt x="53640" y="5618"/>
                    </a:cubicBezTo>
                    <a:cubicBezTo>
                      <a:pt x="65508" y="14519"/>
                      <a:pt x="59574" y="29354"/>
                      <a:pt x="59574" y="41222"/>
                    </a:cubicBezTo>
                    <a:cubicBezTo>
                      <a:pt x="56607" y="56057"/>
                      <a:pt x="53640" y="70892"/>
                      <a:pt x="47706" y="82760"/>
                    </a:cubicBezTo>
                    <a:cubicBezTo>
                      <a:pt x="44739" y="91662"/>
                      <a:pt x="41772" y="106497"/>
                      <a:pt x="26937" y="106497"/>
                    </a:cubicBezTo>
                    <a:cubicBezTo>
                      <a:pt x="21003" y="112431"/>
                      <a:pt x="6168" y="106497"/>
                      <a:pt x="3201" y="94629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9905740A-A5A9-4DD2-99FE-9744DEEB1693}"/>
                  </a:ext>
                </a:extLst>
              </p:cNvPr>
              <p:cNvSpPr/>
              <p:nvPr/>
            </p:nvSpPr>
            <p:spPr>
              <a:xfrm>
                <a:off x="6005477" y="9680051"/>
                <a:ext cx="66586" cy="107268"/>
              </a:xfrm>
              <a:custGeom>
                <a:avLst/>
                <a:gdLst>
                  <a:gd name="connsiteX0" fmla="*/ 5762 w 66586"/>
                  <a:gd name="connsiteY0" fmla="*/ 94628 h 107268"/>
                  <a:gd name="connsiteX1" fmla="*/ 14663 w 66586"/>
                  <a:gd name="connsiteY1" fmla="*/ 20453 h 107268"/>
                  <a:gd name="connsiteX2" fmla="*/ 17630 w 66586"/>
                  <a:gd name="connsiteY2" fmla="*/ 14519 h 107268"/>
                  <a:gd name="connsiteX3" fmla="*/ 23564 w 66586"/>
                  <a:gd name="connsiteY3" fmla="*/ 5617 h 107268"/>
                  <a:gd name="connsiteX4" fmla="*/ 59169 w 66586"/>
                  <a:gd name="connsiteY4" fmla="*/ 5617 h 107268"/>
                  <a:gd name="connsiteX5" fmla="*/ 65103 w 66586"/>
                  <a:gd name="connsiteY5" fmla="*/ 41222 h 107268"/>
                  <a:gd name="connsiteX6" fmla="*/ 53235 w 66586"/>
                  <a:gd name="connsiteY6" fmla="*/ 82760 h 107268"/>
                  <a:gd name="connsiteX7" fmla="*/ 32465 w 66586"/>
                  <a:gd name="connsiteY7" fmla="*/ 106497 h 107268"/>
                  <a:gd name="connsiteX8" fmla="*/ 5762 w 66586"/>
                  <a:gd name="connsiteY8" fmla="*/ 94628 h 10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586" h="107268">
                    <a:moveTo>
                      <a:pt x="5762" y="94628"/>
                    </a:moveTo>
                    <a:cubicBezTo>
                      <a:pt x="-9073" y="67925"/>
                      <a:pt x="8729" y="44189"/>
                      <a:pt x="14663" y="20453"/>
                    </a:cubicBezTo>
                    <a:cubicBezTo>
                      <a:pt x="14663" y="17486"/>
                      <a:pt x="17630" y="17486"/>
                      <a:pt x="17630" y="14519"/>
                    </a:cubicBezTo>
                    <a:cubicBezTo>
                      <a:pt x="20597" y="11552"/>
                      <a:pt x="20597" y="8585"/>
                      <a:pt x="23564" y="5617"/>
                    </a:cubicBezTo>
                    <a:cubicBezTo>
                      <a:pt x="32465" y="-316"/>
                      <a:pt x="50268" y="-3283"/>
                      <a:pt x="59169" y="5617"/>
                    </a:cubicBezTo>
                    <a:cubicBezTo>
                      <a:pt x="71037" y="14519"/>
                      <a:pt x="65103" y="29354"/>
                      <a:pt x="65103" y="41222"/>
                    </a:cubicBezTo>
                    <a:cubicBezTo>
                      <a:pt x="62136" y="56057"/>
                      <a:pt x="59169" y="70893"/>
                      <a:pt x="53235" y="82760"/>
                    </a:cubicBezTo>
                    <a:cubicBezTo>
                      <a:pt x="50268" y="91662"/>
                      <a:pt x="47301" y="106497"/>
                      <a:pt x="32465" y="106497"/>
                    </a:cubicBezTo>
                    <a:cubicBezTo>
                      <a:pt x="23564" y="109464"/>
                      <a:pt x="11696" y="103530"/>
                      <a:pt x="5762" y="94628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80B17C0E-E297-4500-868E-F3F729E93EF4}"/>
                  </a:ext>
                </a:extLst>
              </p:cNvPr>
              <p:cNvSpPr/>
              <p:nvPr/>
            </p:nvSpPr>
            <p:spPr>
              <a:xfrm>
                <a:off x="6043418" y="9699021"/>
                <a:ext cx="61282" cy="94232"/>
              </a:xfrm>
              <a:custGeom>
                <a:avLst/>
                <a:gdLst>
                  <a:gd name="connsiteX0" fmla="*/ 6393 w 61282"/>
                  <a:gd name="connsiteY0" fmla="*/ 81593 h 94232"/>
                  <a:gd name="connsiteX1" fmla="*/ 12327 w 61282"/>
                  <a:gd name="connsiteY1" fmla="*/ 16318 h 94232"/>
                  <a:gd name="connsiteX2" fmla="*/ 15294 w 61282"/>
                  <a:gd name="connsiteY2" fmla="*/ 13352 h 94232"/>
                  <a:gd name="connsiteX3" fmla="*/ 21228 w 61282"/>
                  <a:gd name="connsiteY3" fmla="*/ 4450 h 94232"/>
                  <a:gd name="connsiteX4" fmla="*/ 53865 w 61282"/>
                  <a:gd name="connsiteY4" fmla="*/ 4450 h 94232"/>
                  <a:gd name="connsiteX5" fmla="*/ 59799 w 61282"/>
                  <a:gd name="connsiteY5" fmla="*/ 34120 h 94232"/>
                  <a:gd name="connsiteX6" fmla="*/ 50898 w 61282"/>
                  <a:gd name="connsiteY6" fmla="*/ 72692 h 94232"/>
                  <a:gd name="connsiteX7" fmla="*/ 36063 w 61282"/>
                  <a:gd name="connsiteY7" fmla="*/ 93461 h 94232"/>
                  <a:gd name="connsiteX8" fmla="*/ 6393 w 61282"/>
                  <a:gd name="connsiteY8" fmla="*/ 81593 h 94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1282" h="94232">
                    <a:moveTo>
                      <a:pt x="6393" y="81593"/>
                    </a:moveTo>
                    <a:cubicBezTo>
                      <a:pt x="-8442" y="57857"/>
                      <a:pt x="6393" y="37088"/>
                      <a:pt x="12327" y="16318"/>
                    </a:cubicBezTo>
                    <a:cubicBezTo>
                      <a:pt x="12327" y="13352"/>
                      <a:pt x="12327" y="13352"/>
                      <a:pt x="15294" y="13352"/>
                    </a:cubicBezTo>
                    <a:cubicBezTo>
                      <a:pt x="15294" y="10385"/>
                      <a:pt x="18261" y="7417"/>
                      <a:pt x="21228" y="4450"/>
                    </a:cubicBezTo>
                    <a:cubicBezTo>
                      <a:pt x="27162" y="-1483"/>
                      <a:pt x="41997" y="-1483"/>
                      <a:pt x="53865" y="4450"/>
                    </a:cubicBezTo>
                    <a:cubicBezTo>
                      <a:pt x="65733" y="13352"/>
                      <a:pt x="59799" y="25220"/>
                      <a:pt x="59799" y="34120"/>
                    </a:cubicBezTo>
                    <a:cubicBezTo>
                      <a:pt x="56832" y="45988"/>
                      <a:pt x="53865" y="60824"/>
                      <a:pt x="50898" y="72692"/>
                    </a:cubicBezTo>
                    <a:cubicBezTo>
                      <a:pt x="47931" y="81593"/>
                      <a:pt x="47931" y="93461"/>
                      <a:pt x="36063" y="93461"/>
                    </a:cubicBezTo>
                    <a:cubicBezTo>
                      <a:pt x="21228" y="96428"/>
                      <a:pt x="12327" y="90494"/>
                      <a:pt x="6393" y="81593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2BDAE92F-E63C-419B-9152-1E58F7A54BF3}"/>
                  </a:ext>
                </a:extLst>
              </p:cNvPr>
              <p:cNvSpPr/>
              <p:nvPr/>
            </p:nvSpPr>
            <p:spPr>
              <a:xfrm>
                <a:off x="6083211" y="9719790"/>
                <a:ext cx="43742" cy="70514"/>
              </a:xfrm>
              <a:custGeom>
                <a:avLst/>
                <a:gdLst>
                  <a:gd name="connsiteX0" fmla="*/ 5171 w 43742"/>
                  <a:gd name="connsiteY0" fmla="*/ 60824 h 70514"/>
                  <a:gd name="connsiteX1" fmla="*/ 8138 w 43742"/>
                  <a:gd name="connsiteY1" fmla="*/ 13352 h 70514"/>
                  <a:gd name="connsiteX2" fmla="*/ 11105 w 43742"/>
                  <a:gd name="connsiteY2" fmla="*/ 10384 h 70514"/>
                  <a:gd name="connsiteX3" fmla="*/ 14072 w 43742"/>
                  <a:gd name="connsiteY3" fmla="*/ 4451 h 70514"/>
                  <a:gd name="connsiteX4" fmla="*/ 37808 w 43742"/>
                  <a:gd name="connsiteY4" fmla="*/ 4451 h 70514"/>
                  <a:gd name="connsiteX5" fmla="*/ 40775 w 43742"/>
                  <a:gd name="connsiteY5" fmla="*/ 28187 h 70514"/>
                  <a:gd name="connsiteX6" fmla="*/ 34841 w 43742"/>
                  <a:gd name="connsiteY6" fmla="*/ 54890 h 70514"/>
                  <a:gd name="connsiteX7" fmla="*/ 22973 w 43742"/>
                  <a:gd name="connsiteY7" fmla="*/ 69725 h 70514"/>
                  <a:gd name="connsiteX8" fmla="*/ 5171 w 43742"/>
                  <a:gd name="connsiteY8" fmla="*/ 60824 h 70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742" h="70514">
                    <a:moveTo>
                      <a:pt x="5171" y="60824"/>
                    </a:moveTo>
                    <a:cubicBezTo>
                      <a:pt x="-6697" y="43022"/>
                      <a:pt x="5171" y="28187"/>
                      <a:pt x="8138" y="13352"/>
                    </a:cubicBezTo>
                    <a:cubicBezTo>
                      <a:pt x="8138" y="13352"/>
                      <a:pt x="8138" y="10384"/>
                      <a:pt x="11105" y="10384"/>
                    </a:cubicBezTo>
                    <a:cubicBezTo>
                      <a:pt x="11105" y="7418"/>
                      <a:pt x="14072" y="7418"/>
                      <a:pt x="14072" y="4451"/>
                    </a:cubicBezTo>
                    <a:cubicBezTo>
                      <a:pt x="20006" y="-1484"/>
                      <a:pt x="28907" y="-1484"/>
                      <a:pt x="37808" y="4451"/>
                    </a:cubicBezTo>
                    <a:cubicBezTo>
                      <a:pt x="46710" y="10384"/>
                      <a:pt x="43742" y="19286"/>
                      <a:pt x="40775" y="28187"/>
                    </a:cubicBezTo>
                    <a:cubicBezTo>
                      <a:pt x="40775" y="37088"/>
                      <a:pt x="37808" y="45989"/>
                      <a:pt x="34841" y="54890"/>
                    </a:cubicBezTo>
                    <a:cubicBezTo>
                      <a:pt x="31874" y="60824"/>
                      <a:pt x="31874" y="69725"/>
                      <a:pt x="22973" y="69725"/>
                    </a:cubicBezTo>
                    <a:cubicBezTo>
                      <a:pt x="17039" y="72692"/>
                      <a:pt x="8138" y="66759"/>
                      <a:pt x="5171" y="60824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91204C01-874B-4276-A164-901A28B75494}"/>
                  </a:ext>
                </a:extLst>
              </p:cNvPr>
              <p:cNvSpPr/>
              <p:nvPr/>
            </p:nvSpPr>
            <p:spPr>
              <a:xfrm>
                <a:off x="5966734" y="9677510"/>
                <a:ext cx="114151" cy="114972"/>
              </a:xfrm>
              <a:custGeom>
                <a:avLst/>
                <a:gdLst>
                  <a:gd name="connsiteX0" fmla="*/ 65275 w 114151"/>
                  <a:gd name="connsiteY0" fmla="*/ 114972 h 114972"/>
                  <a:gd name="connsiteX1" fmla="*/ 59341 w 114151"/>
                  <a:gd name="connsiteY1" fmla="*/ 114972 h 114972"/>
                  <a:gd name="connsiteX2" fmla="*/ 41538 w 114151"/>
                  <a:gd name="connsiteY2" fmla="*/ 106072 h 114972"/>
                  <a:gd name="connsiteX3" fmla="*/ 41538 w 114151"/>
                  <a:gd name="connsiteY3" fmla="*/ 94204 h 114972"/>
                  <a:gd name="connsiteX4" fmla="*/ 44505 w 114151"/>
                  <a:gd name="connsiteY4" fmla="*/ 8159 h 114972"/>
                  <a:gd name="connsiteX5" fmla="*/ 35604 w 114151"/>
                  <a:gd name="connsiteY5" fmla="*/ 8159 h 114972"/>
                  <a:gd name="connsiteX6" fmla="*/ 11868 w 114151"/>
                  <a:gd name="connsiteY6" fmla="*/ 70467 h 114972"/>
                  <a:gd name="connsiteX7" fmla="*/ 5934 w 114151"/>
                  <a:gd name="connsiteY7" fmla="*/ 76401 h 114972"/>
                  <a:gd name="connsiteX8" fmla="*/ 0 w 114151"/>
                  <a:gd name="connsiteY8" fmla="*/ 70467 h 114972"/>
                  <a:gd name="connsiteX9" fmla="*/ 29670 w 114151"/>
                  <a:gd name="connsiteY9" fmla="*/ 2225 h 114972"/>
                  <a:gd name="connsiteX10" fmla="*/ 50439 w 114151"/>
                  <a:gd name="connsiteY10" fmla="*/ 2225 h 114972"/>
                  <a:gd name="connsiteX11" fmla="*/ 59341 w 114151"/>
                  <a:gd name="connsiteY11" fmla="*/ 8159 h 114972"/>
                  <a:gd name="connsiteX12" fmla="*/ 97912 w 114151"/>
                  <a:gd name="connsiteY12" fmla="*/ 5193 h 114972"/>
                  <a:gd name="connsiteX13" fmla="*/ 109780 w 114151"/>
                  <a:gd name="connsiteY13" fmla="*/ 58599 h 114972"/>
                  <a:gd name="connsiteX14" fmla="*/ 65275 w 114151"/>
                  <a:gd name="connsiteY14" fmla="*/ 114972 h 114972"/>
                  <a:gd name="connsiteX15" fmla="*/ 50439 w 114151"/>
                  <a:gd name="connsiteY15" fmla="*/ 97170 h 114972"/>
                  <a:gd name="connsiteX16" fmla="*/ 50439 w 114151"/>
                  <a:gd name="connsiteY16" fmla="*/ 97170 h 114972"/>
                  <a:gd name="connsiteX17" fmla="*/ 62308 w 114151"/>
                  <a:gd name="connsiteY17" fmla="*/ 103104 h 114972"/>
                  <a:gd name="connsiteX18" fmla="*/ 94945 w 114151"/>
                  <a:gd name="connsiteY18" fmla="*/ 49698 h 114972"/>
                  <a:gd name="connsiteX19" fmla="*/ 89011 w 114151"/>
                  <a:gd name="connsiteY19" fmla="*/ 8159 h 114972"/>
                  <a:gd name="connsiteX20" fmla="*/ 62308 w 114151"/>
                  <a:gd name="connsiteY20" fmla="*/ 11126 h 114972"/>
                  <a:gd name="connsiteX21" fmla="*/ 50439 w 114151"/>
                  <a:gd name="connsiteY21" fmla="*/ 97170 h 114972"/>
                  <a:gd name="connsiteX22" fmla="*/ 50439 w 114151"/>
                  <a:gd name="connsiteY22" fmla="*/ 97170 h 114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14151" h="114972">
                    <a:moveTo>
                      <a:pt x="65275" y="114972"/>
                    </a:moveTo>
                    <a:cubicBezTo>
                      <a:pt x="62308" y="114972"/>
                      <a:pt x="62308" y="114972"/>
                      <a:pt x="59341" y="114972"/>
                    </a:cubicBezTo>
                    <a:cubicBezTo>
                      <a:pt x="50439" y="112005"/>
                      <a:pt x="44505" y="109039"/>
                      <a:pt x="41538" y="106072"/>
                    </a:cubicBezTo>
                    <a:cubicBezTo>
                      <a:pt x="38571" y="100137"/>
                      <a:pt x="38571" y="97170"/>
                      <a:pt x="41538" y="94204"/>
                    </a:cubicBezTo>
                    <a:cubicBezTo>
                      <a:pt x="71209" y="20028"/>
                      <a:pt x="53406" y="11126"/>
                      <a:pt x="44505" y="8159"/>
                    </a:cubicBezTo>
                    <a:cubicBezTo>
                      <a:pt x="41538" y="8159"/>
                      <a:pt x="38571" y="8159"/>
                      <a:pt x="35604" y="8159"/>
                    </a:cubicBezTo>
                    <a:cubicBezTo>
                      <a:pt x="23736" y="14093"/>
                      <a:pt x="14835" y="49698"/>
                      <a:pt x="11868" y="70467"/>
                    </a:cubicBezTo>
                    <a:cubicBezTo>
                      <a:pt x="11868" y="73434"/>
                      <a:pt x="8901" y="76401"/>
                      <a:pt x="5934" y="76401"/>
                    </a:cubicBezTo>
                    <a:cubicBezTo>
                      <a:pt x="2967" y="76401"/>
                      <a:pt x="0" y="73434"/>
                      <a:pt x="0" y="70467"/>
                    </a:cubicBezTo>
                    <a:cubicBezTo>
                      <a:pt x="0" y="64533"/>
                      <a:pt x="5934" y="14093"/>
                      <a:pt x="29670" y="2225"/>
                    </a:cubicBezTo>
                    <a:cubicBezTo>
                      <a:pt x="35604" y="-742"/>
                      <a:pt x="41538" y="-742"/>
                      <a:pt x="50439" y="2225"/>
                    </a:cubicBezTo>
                    <a:cubicBezTo>
                      <a:pt x="53406" y="5193"/>
                      <a:pt x="56373" y="5193"/>
                      <a:pt x="59341" y="8159"/>
                    </a:cubicBezTo>
                    <a:cubicBezTo>
                      <a:pt x="62308" y="5193"/>
                      <a:pt x="80110" y="-742"/>
                      <a:pt x="97912" y="5193"/>
                    </a:cubicBezTo>
                    <a:cubicBezTo>
                      <a:pt x="118681" y="14093"/>
                      <a:pt x="115714" y="34863"/>
                      <a:pt x="109780" y="58599"/>
                    </a:cubicBezTo>
                    <a:cubicBezTo>
                      <a:pt x="94945" y="103104"/>
                      <a:pt x="77143" y="114972"/>
                      <a:pt x="65275" y="114972"/>
                    </a:cubicBezTo>
                    <a:close/>
                    <a:moveTo>
                      <a:pt x="50439" y="97170"/>
                    </a:moveTo>
                    <a:cubicBezTo>
                      <a:pt x="50439" y="97170"/>
                      <a:pt x="50439" y="100137"/>
                      <a:pt x="50439" y="97170"/>
                    </a:cubicBezTo>
                    <a:cubicBezTo>
                      <a:pt x="50439" y="100137"/>
                      <a:pt x="53406" y="100137"/>
                      <a:pt x="62308" y="103104"/>
                    </a:cubicBezTo>
                    <a:cubicBezTo>
                      <a:pt x="77143" y="106072"/>
                      <a:pt x="89011" y="85302"/>
                      <a:pt x="94945" y="49698"/>
                    </a:cubicBezTo>
                    <a:cubicBezTo>
                      <a:pt x="100879" y="20028"/>
                      <a:pt x="100879" y="11126"/>
                      <a:pt x="89011" y="8159"/>
                    </a:cubicBezTo>
                    <a:cubicBezTo>
                      <a:pt x="80110" y="5193"/>
                      <a:pt x="68242" y="8159"/>
                      <a:pt x="62308" y="11126"/>
                    </a:cubicBezTo>
                    <a:cubicBezTo>
                      <a:pt x="71209" y="25961"/>
                      <a:pt x="68242" y="52664"/>
                      <a:pt x="50439" y="97170"/>
                    </a:cubicBezTo>
                    <a:cubicBezTo>
                      <a:pt x="50439" y="97170"/>
                      <a:pt x="50439" y="97170"/>
                      <a:pt x="50439" y="97170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96911CC8-BC57-4E41-B349-AF91C86D44A2}"/>
                  </a:ext>
                </a:extLst>
              </p:cNvPr>
              <p:cNvSpPr/>
              <p:nvPr/>
            </p:nvSpPr>
            <p:spPr>
              <a:xfrm>
                <a:off x="6046844" y="9685339"/>
                <a:ext cx="62307" cy="113077"/>
              </a:xfrm>
              <a:custGeom>
                <a:avLst/>
                <a:gdLst>
                  <a:gd name="connsiteX0" fmla="*/ 29670 w 62307"/>
                  <a:gd name="connsiteY0" fmla="*/ 113077 h 113077"/>
                  <a:gd name="connsiteX1" fmla="*/ 26703 w 62307"/>
                  <a:gd name="connsiteY1" fmla="*/ 113077 h 113077"/>
                  <a:gd name="connsiteX2" fmla="*/ 0 w 62307"/>
                  <a:gd name="connsiteY2" fmla="*/ 95275 h 113077"/>
                  <a:gd name="connsiteX3" fmla="*/ 2967 w 62307"/>
                  <a:gd name="connsiteY3" fmla="*/ 86374 h 113077"/>
                  <a:gd name="connsiteX4" fmla="*/ 11868 w 62307"/>
                  <a:gd name="connsiteY4" fmla="*/ 89340 h 113077"/>
                  <a:gd name="connsiteX5" fmla="*/ 29670 w 62307"/>
                  <a:gd name="connsiteY5" fmla="*/ 98242 h 113077"/>
                  <a:gd name="connsiteX6" fmla="*/ 32637 w 62307"/>
                  <a:gd name="connsiteY6" fmla="*/ 98242 h 113077"/>
                  <a:gd name="connsiteX7" fmla="*/ 50439 w 62307"/>
                  <a:gd name="connsiteY7" fmla="*/ 32967 h 113077"/>
                  <a:gd name="connsiteX8" fmla="*/ 44505 w 62307"/>
                  <a:gd name="connsiteY8" fmla="*/ 18132 h 113077"/>
                  <a:gd name="connsiteX9" fmla="*/ 23736 w 62307"/>
                  <a:gd name="connsiteY9" fmla="*/ 12198 h 113077"/>
                  <a:gd name="connsiteX10" fmla="*/ 17802 w 62307"/>
                  <a:gd name="connsiteY10" fmla="*/ 6264 h 113077"/>
                  <a:gd name="connsiteX11" fmla="*/ 23736 w 62307"/>
                  <a:gd name="connsiteY11" fmla="*/ 329 h 113077"/>
                  <a:gd name="connsiteX12" fmla="*/ 53407 w 62307"/>
                  <a:gd name="connsiteY12" fmla="*/ 9231 h 113077"/>
                  <a:gd name="connsiteX13" fmla="*/ 62308 w 62307"/>
                  <a:gd name="connsiteY13" fmla="*/ 32967 h 113077"/>
                  <a:gd name="connsiteX14" fmla="*/ 41539 w 62307"/>
                  <a:gd name="connsiteY14" fmla="*/ 107143 h 113077"/>
                  <a:gd name="connsiteX15" fmla="*/ 29670 w 62307"/>
                  <a:gd name="connsiteY15" fmla="*/ 113077 h 11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2307" h="113077">
                    <a:moveTo>
                      <a:pt x="29670" y="113077"/>
                    </a:moveTo>
                    <a:cubicBezTo>
                      <a:pt x="29670" y="113077"/>
                      <a:pt x="26703" y="113077"/>
                      <a:pt x="26703" y="113077"/>
                    </a:cubicBezTo>
                    <a:cubicBezTo>
                      <a:pt x="17802" y="113077"/>
                      <a:pt x="2967" y="104176"/>
                      <a:pt x="0" y="95275"/>
                    </a:cubicBezTo>
                    <a:cubicBezTo>
                      <a:pt x="0" y="92308"/>
                      <a:pt x="0" y="89340"/>
                      <a:pt x="2967" y="86374"/>
                    </a:cubicBezTo>
                    <a:cubicBezTo>
                      <a:pt x="5934" y="86374"/>
                      <a:pt x="8901" y="86374"/>
                      <a:pt x="11868" y="89340"/>
                    </a:cubicBezTo>
                    <a:cubicBezTo>
                      <a:pt x="11868" y="92308"/>
                      <a:pt x="20769" y="98242"/>
                      <a:pt x="29670" y="98242"/>
                    </a:cubicBezTo>
                    <a:cubicBezTo>
                      <a:pt x="29670" y="98242"/>
                      <a:pt x="32637" y="98242"/>
                      <a:pt x="32637" y="98242"/>
                    </a:cubicBezTo>
                    <a:cubicBezTo>
                      <a:pt x="38572" y="92308"/>
                      <a:pt x="50439" y="62637"/>
                      <a:pt x="50439" y="32967"/>
                    </a:cubicBezTo>
                    <a:cubicBezTo>
                      <a:pt x="50439" y="27034"/>
                      <a:pt x="47472" y="21099"/>
                      <a:pt x="44505" y="18132"/>
                    </a:cubicBezTo>
                    <a:cubicBezTo>
                      <a:pt x="35604" y="12198"/>
                      <a:pt x="23736" y="12198"/>
                      <a:pt x="23736" y="12198"/>
                    </a:cubicBezTo>
                    <a:cubicBezTo>
                      <a:pt x="20769" y="12198"/>
                      <a:pt x="17802" y="9231"/>
                      <a:pt x="17802" y="6264"/>
                    </a:cubicBezTo>
                    <a:cubicBezTo>
                      <a:pt x="17802" y="3297"/>
                      <a:pt x="20769" y="329"/>
                      <a:pt x="23736" y="329"/>
                    </a:cubicBezTo>
                    <a:cubicBezTo>
                      <a:pt x="23736" y="329"/>
                      <a:pt x="41539" y="-2637"/>
                      <a:pt x="53407" y="9231"/>
                    </a:cubicBezTo>
                    <a:cubicBezTo>
                      <a:pt x="59341" y="15165"/>
                      <a:pt x="62308" y="24066"/>
                      <a:pt x="62308" y="32967"/>
                    </a:cubicBezTo>
                    <a:cubicBezTo>
                      <a:pt x="62308" y="62637"/>
                      <a:pt x="50439" y="95275"/>
                      <a:pt x="41539" y="107143"/>
                    </a:cubicBezTo>
                    <a:cubicBezTo>
                      <a:pt x="38572" y="110110"/>
                      <a:pt x="35604" y="113077"/>
                      <a:pt x="29670" y="11307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8" name="图形 1">
              <a:extLst>
                <a:ext uri="{FF2B5EF4-FFF2-40B4-BE49-F238E27FC236}">
                  <a16:creationId xmlns:a16="http://schemas.microsoft.com/office/drawing/2014/main" id="{83085A50-3AA7-4F8C-9C55-E378C8113ABC}"/>
                </a:ext>
              </a:extLst>
            </p:cNvPr>
            <p:cNvGrpSpPr/>
            <p:nvPr/>
          </p:nvGrpSpPr>
          <p:grpSpPr>
            <a:xfrm>
              <a:off x="6708492" y="9634755"/>
              <a:ext cx="285385" cy="172230"/>
              <a:chOff x="6708492" y="9634755"/>
              <a:chExt cx="285385" cy="172230"/>
            </a:xfrm>
          </p:grpSpPr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9FB13E0B-2285-4DA7-AD39-2B3DF4384D12}"/>
                  </a:ext>
                </a:extLst>
              </p:cNvPr>
              <p:cNvSpPr/>
              <p:nvPr/>
            </p:nvSpPr>
            <p:spPr>
              <a:xfrm>
                <a:off x="6711459" y="9634755"/>
                <a:ext cx="282418" cy="172230"/>
              </a:xfrm>
              <a:custGeom>
                <a:avLst/>
                <a:gdLst>
                  <a:gd name="connsiteX0" fmla="*/ 243297 w 282418"/>
                  <a:gd name="connsiteY0" fmla="*/ 33112 h 172230"/>
                  <a:gd name="connsiteX1" fmla="*/ 175055 w 282418"/>
                  <a:gd name="connsiteY1" fmla="*/ 6408 h 172230"/>
                  <a:gd name="connsiteX2" fmla="*/ 121649 w 282418"/>
                  <a:gd name="connsiteY2" fmla="*/ 475 h 172230"/>
                  <a:gd name="connsiteX3" fmla="*/ 94945 w 282418"/>
                  <a:gd name="connsiteY3" fmla="*/ 21244 h 172230"/>
                  <a:gd name="connsiteX4" fmla="*/ 139451 w 282418"/>
                  <a:gd name="connsiteY4" fmla="*/ 36079 h 172230"/>
                  <a:gd name="connsiteX5" fmla="*/ 166154 w 282418"/>
                  <a:gd name="connsiteY5" fmla="*/ 71683 h 172230"/>
                  <a:gd name="connsiteX6" fmla="*/ 23736 w 282418"/>
                  <a:gd name="connsiteY6" fmla="*/ 42013 h 172230"/>
                  <a:gd name="connsiteX7" fmla="*/ 8901 w 282418"/>
                  <a:gd name="connsiteY7" fmla="*/ 53881 h 172230"/>
                  <a:gd name="connsiteX8" fmla="*/ 11868 w 282418"/>
                  <a:gd name="connsiteY8" fmla="*/ 56848 h 172230"/>
                  <a:gd name="connsiteX9" fmla="*/ 0 w 282418"/>
                  <a:gd name="connsiteY9" fmla="*/ 65749 h 172230"/>
                  <a:gd name="connsiteX10" fmla="*/ 20770 w 282418"/>
                  <a:gd name="connsiteY10" fmla="*/ 89486 h 172230"/>
                  <a:gd name="connsiteX11" fmla="*/ 59341 w 282418"/>
                  <a:gd name="connsiteY11" fmla="*/ 110254 h 172230"/>
                  <a:gd name="connsiteX12" fmla="*/ 23736 w 282418"/>
                  <a:gd name="connsiteY12" fmla="*/ 101354 h 172230"/>
                  <a:gd name="connsiteX13" fmla="*/ 14835 w 282418"/>
                  <a:gd name="connsiteY13" fmla="*/ 113222 h 172230"/>
                  <a:gd name="connsiteX14" fmla="*/ 124616 w 282418"/>
                  <a:gd name="connsiteY14" fmla="*/ 169595 h 172230"/>
                  <a:gd name="connsiteX15" fmla="*/ 267033 w 282418"/>
                  <a:gd name="connsiteY15" fmla="*/ 142892 h 172230"/>
                  <a:gd name="connsiteX16" fmla="*/ 270000 w 282418"/>
                  <a:gd name="connsiteY16" fmla="*/ 133991 h 172230"/>
                  <a:gd name="connsiteX17" fmla="*/ 243297 w 282418"/>
                  <a:gd name="connsiteY17" fmla="*/ 33112 h 172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82418" h="172230">
                    <a:moveTo>
                      <a:pt x="243297" y="33112"/>
                    </a:moveTo>
                    <a:cubicBezTo>
                      <a:pt x="219561" y="24211"/>
                      <a:pt x="195824" y="15310"/>
                      <a:pt x="175055" y="6408"/>
                    </a:cubicBezTo>
                    <a:cubicBezTo>
                      <a:pt x="148352" y="-2492"/>
                      <a:pt x="154286" y="475"/>
                      <a:pt x="121649" y="475"/>
                    </a:cubicBezTo>
                    <a:cubicBezTo>
                      <a:pt x="115715" y="475"/>
                      <a:pt x="94945" y="15310"/>
                      <a:pt x="94945" y="21244"/>
                    </a:cubicBezTo>
                    <a:cubicBezTo>
                      <a:pt x="94945" y="27178"/>
                      <a:pt x="103846" y="39046"/>
                      <a:pt x="139451" y="36079"/>
                    </a:cubicBezTo>
                    <a:cubicBezTo>
                      <a:pt x="154286" y="44980"/>
                      <a:pt x="163187" y="65749"/>
                      <a:pt x="166154" y="71683"/>
                    </a:cubicBezTo>
                    <a:cubicBezTo>
                      <a:pt x="142418" y="101354"/>
                      <a:pt x="35605" y="24211"/>
                      <a:pt x="23736" y="42013"/>
                    </a:cubicBezTo>
                    <a:cubicBezTo>
                      <a:pt x="20770" y="44980"/>
                      <a:pt x="5934" y="47948"/>
                      <a:pt x="8901" y="53881"/>
                    </a:cubicBezTo>
                    <a:cubicBezTo>
                      <a:pt x="8901" y="53881"/>
                      <a:pt x="11868" y="56848"/>
                      <a:pt x="11868" y="56848"/>
                    </a:cubicBezTo>
                    <a:cubicBezTo>
                      <a:pt x="2967" y="56848"/>
                      <a:pt x="0" y="56848"/>
                      <a:pt x="0" y="65749"/>
                    </a:cubicBezTo>
                    <a:cubicBezTo>
                      <a:pt x="0" y="74651"/>
                      <a:pt x="11868" y="80584"/>
                      <a:pt x="20770" y="89486"/>
                    </a:cubicBezTo>
                    <a:cubicBezTo>
                      <a:pt x="32638" y="98387"/>
                      <a:pt x="47473" y="101354"/>
                      <a:pt x="59341" y="110254"/>
                    </a:cubicBezTo>
                    <a:cubicBezTo>
                      <a:pt x="53407" y="110254"/>
                      <a:pt x="29670" y="98387"/>
                      <a:pt x="23736" y="101354"/>
                    </a:cubicBezTo>
                    <a:cubicBezTo>
                      <a:pt x="20770" y="104321"/>
                      <a:pt x="14835" y="107288"/>
                      <a:pt x="14835" y="113222"/>
                    </a:cubicBezTo>
                    <a:cubicBezTo>
                      <a:pt x="14835" y="128057"/>
                      <a:pt x="94945" y="163662"/>
                      <a:pt x="124616" y="169595"/>
                    </a:cubicBezTo>
                    <a:cubicBezTo>
                      <a:pt x="169121" y="178497"/>
                      <a:pt x="228462" y="163662"/>
                      <a:pt x="267033" y="142892"/>
                    </a:cubicBezTo>
                    <a:cubicBezTo>
                      <a:pt x="270000" y="139925"/>
                      <a:pt x="272967" y="136959"/>
                      <a:pt x="270000" y="133991"/>
                    </a:cubicBezTo>
                    <a:cubicBezTo>
                      <a:pt x="290769" y="98387"/>
                      <a:pt x="287803" y="47948"/>
                      <a:pt x="243297" y="33112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132D1683-F76E-43E5-A6FF-497FA77237FC}"/>
                  </a:ext>
                </a:extLst>
              </p:cNvPr>
              <p:cNvSpPr/>
              <p:nvPr/>
            </p:nvSpPr>
            <p:spPr>
              <a:xfrm>
                <a:off x="6708492" y="9680521"/>
                <a:ext cx="130549" cy="91192"/>
              </a:xfrm>
              <a:custGeom>
                <a:avLst/>
                <a:gdLst>
                  <a:gd name="connsiteX0" fmla="*/ 97912 w 130549"/>
                  <a:gd name="connsiteY0" fmla="*/ 91192 h 91192"/>
                  <a:gd name="connsiteX1" fmla="*/ 97912 w 130549"/>
                  <a:gd name="connsiteY1" fmla="*/ 91192 h 91192"/>
                  <a:gd name="connsiteX2" fmla="*/ 23736 w 130549"/>
                  <a:gd name="connsiteY2" fmla="*/ 49653 h 91192"/>
                  <a:gd name="connsiteX3" fmla="*/ 0 w 130549"/>
                  <a:gd name="connsiteY3" fmla="*/ 17016 h 91192"/>
                  <a:gd name="connsiteX4" fmla="*/ 8901 w 130549"/>
                  <a:gd name="connsiteY4" fmla="*/ 2181 h 91192"/>
                  <a:gd name="connsiteX5" fmla="*/ 50439 w 130549"/>
                  <a:gd name="connsiteY5" fmla="*/ 22950 h 91192"/>
                  <a:gd name="connsiteX6" fmla="*/ 124615 w 130549"/>
                  <a:gd name="connsiteY6" fmla="*/ 64488 h 91192"/>
                  <a:gd name="connsiteX7" fmla="*/ 130549 w 130549"/>
                  <a:gd name="connsiteY7" fmla="*/ 70423 h 91192"/>
                  <a:gd name="connsiteX8" fmla="*/ 124615 w 130549"/>
                  <a:gd name="connsiteY8" fmla="*/ 76357 h 91192"/>
                  <a:gd name="connsiteX9" fmla="*/ 47472 w 130549"/>
                  <a:gd name="connsiteY9" fmla="*/ 31851 h 91192"/>
                  <a:gd name="connsiteX10" fmla="*/ 20769 w 130549"/>
                  <a:gd name="connsiteY10" fmla="*/ 14049 h 91192"/>
                  <a:gd name="connsiteX11" fmla="*/ 17802 w 130549"/>
                  <a:gd name="connsiteY11" fmla="*/ 19983 h 91192"/>
                  <a:gd name="connsiteX12" fmla="*/ 38572 w 130549"/>
                  <a:gd name="connsiteY12" fmla="*/ 43719 h 91192"/>
                  <a:gd name="connsiteX13" fmla="*/ 106813 w 130549"/>
                  <a:gd name="connsiteY13" fmla="*/ 82290 h 91192"/>
                  <a:gd name="connsiteX14" fmla="*/ 109780 w 130549"/>
                  <a:gd name="connsiteY14" fmla="*/ 91192 h 91192"/>
                  <a:gd name="connsiteX15" fmla="*/ 97912 w 130549"/>
                  <a:gd name="connsiteY15" fmla="*/ 91192 h 9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0549" h="91192">
                    <a:moveTo>
                      <a:pt x="97912" y="91192"/>
                    </a:moveTo>
                    <a:cubicBezTo>
                      <a:pt x="97912" y="91192"/>
                      <a:pt x="94945" y="91192"/>
                      <a:pt x="97912" y="91192"/>
                    </a:cubicBezTo>
                    <a:cubicBezTo>
                      <a:pt x="91978" y="88225"/>
                      <a:pt x="44505" y="64488"/>
                      <a:pt x="23736" y="49653"/>
                    </a:cubicBezTo>
                    <a:cubicBezTo>
                      <a:pt x="8901" y="37785"/>
                      <a:pt x="0" y="28884"/>
                      <a:pt x="0" y="17016"/>
                    </a:cubicBezTo>
                    <a:cubicBezTo>
                      <a:pt x="0" y="11082"/>
                      <a:pt x="2967" y="5147"/>
                      <a:pt x="8901" y="2181"/>
                    </a:cubicBezTo>
                    <a:cubicBezTo>
                      <a:pt x="14835" y="-3753"/>
                      <a:pt x="23736" y="2181"/>
                      <a:pt x="50439" y="22950"/>
                    </a:cubicBezTo>
                    <a:cubicBezTo>
                      <a:pt x="74176" y="40752"/>
                      <a:pt x="103846" y="61522"/>
                      <a:pt x="124615" y="64488"/>
                    </a:cubicBezTo>
                    <a:cubicBezTo>
                      <a:pt x="127583" y="64488"/>
                      <a:pt x="130549" y="67455"/>
                      <a:pt x="130549" y="70423"/>
                    </a:cubicBezTo>
                    <a:cubicBezTo>
                      <a:pt x="130549" y="73390"/>
                      <a:pt x="127583" y="76357"/>
                      <a:pt x="124615" y="76357"/>
                    </a:cubicBezTo>
                    <a:cubicBezTo>
                      <a:pt x="100879" y="73390"/>
                      <a:pt x="71209" y="49653"/>
                      <a:pt x="47472" y="31851"/>
                    </a:cubicBezTo>
                    <a:cubicBezTo>
                      <a:pt x="38572" y="22950"/>
                      <a:pt x="26703" y="14049"/>
                      <a:pt x="20769" y="14049"/>
                    </a:cubicBezTo>
                    <a:cubicBezTo>
                      <a:pt x="17802" y="17016"/>
                      <a:pt x="17802" y="19983"/>
                      <a:pt x="17802" y="19983"/>
                    </a:cubicBezTo>
                    <a:cubicBezTo>
                      <a:pt x="17802" y="25917"/>
                      <a:pt x="32637" y="37785"/>
                      <a:pt x="38572" y="43719"/>
                    </a:cubicBezTo>
                    <a:cubicBezTo>
                      <a:pt x="56373" y="58555"/>
                      <a:pt x="106813" y="82290"/>
                      <a:pt x="106813" y="82290"/>
                    </a:cubicBezTo>
                    <a:cubicBezTo>
                      <a:pt x="109780" y="82290"/>
                      <a:pt x="109780" y="88225"/>
                      <a:pt x="109780" y="91192"/>
                    </a:cubicBezTo>
                    <a:cubicBezTo>
                      <a:pt x="100879" y="91192"/>
                      <a:pt x="100879" y="91192"/>
                      <a:pt x="97912" y="9119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66E469FE-8F9D-4E5E-BDEE-2D7FB7773911}"/>
                  </a:ext>
                </a:extLst>
              </p:cNvPr>
              <p:cNvSpPr/>
              <p:nvPr/>
            </p:nvSpPr>
            <p:spPr>
              <a:xfrm>
                <a:off x="6725553" y="9670834"/>
                <a:ext cx="160961" cy="47472"/>
              </a:xfrm>
              <a:custGeom>
                <a:avLst/>
                <a:gdLst>
                  <a:gd name="connsiteX0" fmla="*/ 122390 w 160961"/>
                  <a:gd name="connsiteY0" fmla="*/ 47473 h 47472"/>
                  <a:gd name="connsiteX1" fmla="*/ 119423 w 160961"/>
                  <a:gd name="connsiteY1" fmla="*/ 47473 h 47472"/>
                  <a:gd name="connsiteX2" fmla="*/ 54148 w 160961"/>
                  <a:gd name="connsiteY2" fmla="*/ 20770 h 47472"/>
                  <a:gd name="connsiteX3" fmla="*/ 21511 w 160961"/>
                  <a:gd name="connsiteY3" fmla="*/ 8902 h 47472"/>
                  <a:gd name="connsiteX4" fmla="*/ 9643 w 160961"/>
                  <a:gd name="connsiteY4" fmla="*/ 14835 h 47472"/>
                  <a:gd name="connsiteX5" fmla="*/ 9643 w 160961"/>
                  <a:gd name="connsiteY5" fmla="*/ 20770 h 47472"/>
                  <a:gd name="connsiteX6" fmla="*/ 6676 w 160961"/>
                  <a:gd name="connsiteY6" fmla="*/ 26704 h 47472"/>
                  <a:gd name="connsiteX7" fmla="*/ 742 w 160961"/>
                  <a:gd name="connsiteY7" fmla="*/ 23737 h 47472"/>
                  <a:gd name="connsiteX8" fmla="*/ 3709 w 160961"/>
                  <a:gd name="connsiteY8" fmla="*/ 8902 h 47472"/>
                  <a:gd name="connsiteX9" fmla="*/ 24478 w 160961"/>
                  <a:gd name="connsiteY9" fmla="*/ 0 h 47472"/>
                  <a:gd name="connsiteX10" fmla="*/ 63050 w 160961"/>
                  <a:gd name="connsiteY10" fmla="*/ 14835 h 47472"/>
                  <a:gd name="connsiteX11" fmla="*/ 122390 w 160961"/>
                  <a:gd name="connsiteY11" fmla="*/ 38572 h 47472"/>
                  <a:gd name="connsiteX12" fmla="*/ 152061 w 160961"/>
                  <a:gd name="connsiteY12" fmla="*/ 32638 h 47472"/>
                  <a:gd name="connsiteX13" fmla="*/ 160962 w 160961"/>
                  <a:gd name="connsiteY13" fmla="*/ 35605 h 47472"/>
                  <a:gd name="connsiteX14" fmla="*/ 157994 w 160961"/>
                  <a:gd name="connsiteY14" fmla="*/ 44505 h 47472"/>
                  <a:gd name="connsiteX15" fmla="*/ 122390 w 160961"/>
                  <a:gd name="connsiteY15" fmla="*/ 47473 h 47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0961" h="47472">
                    <a:moveTo>
                      <a:pt x="122390" y="47473"/>
                    </a:moveTo>
                    <a:cubicBezTo>
                      <a:pt x="122390" y="47473"/>
                      <a:pt x="119423" y="47473"/>
                      <a:pt x="119423" y="47473"/>
                    </a:cubicBezTo>
                    <a:cubicBezTo>
                      <a:pt x="92720" y="44505"/>
                      <a:pt x="71951" y="32638"/>
                      <a:pt x="54148" y="20770"/>
                    </a:cubicBezTo>
                    <a:cubicBezTo>
                      <a:pt x="42280" y="11869"/>
                      <a:pt x="30412" y="5934"/>
                      <a:pt x="21511" y="8902"/>
                    </a:cubicBezTo>
                    <a:cubicBezTo>
                      <a:pt x="15577" y="8902"/>
                      <a:pt x="12610" y="11869"/>
                      <a:pt x="9643" y="14835"/>
                    </a:cubicBezTo>
                    <a:cubicBezTo>
                      <a:pt x="6676" y="17802"/>
                      <a:pt x="9643" y="20770"/>
                      <a:pt x="9643" y="20770"/>
                    </a:cubicBezTo>
                    <a:cubicBezTo>
                      <a:pt x="9643" y="23737"/>
                      <a:pt x="9643" y="26704"/>
                      <a:pt x="6676" y="26704"/>
                    </a:cubicBezTo>
                    <a:cubicBezTo>
                      <a:pt x="3709" y="26704"/>
                      <a:pt x="742" y="26704"/>
                      <a:pt x="742" y="23737"/>
                    </a:cubicBezTo>
                    <a:cubicBezTo>
                      <a:pt x="742" y="23737"/>
                      <a:pt x="-2225" y="14835"/>
                      <a:pt x="3709" y="8902"/>
                    </a:cubicBezTo>
                    <a:cubicBezTo>
                      <a:pt x="6676" y="2967"/>
                      <a:pt x="12610" y="0"/>
                      <a:pt x="24478" y="0"/>
                    </a:cubicBezTo>
                    <a:cubicBezTo>
                      <a:pt x="36346" y="0"/>
                      <a:pt x="48214" y="5934"/>
                      <a:pt x="63050" y="14835"/>
                    </a:cubicBezTo>
                    <a:cubicBezTo>
                      <a:pt x="80852" y="23737"/>
                      <a:pt x="98654" y="35605"/>
                      <a:pt x="122390" y="38572"/>
                    </a:cubicBezTo>
                    <a:cubicBezTo>
                      <a:pt x="131291" y="38572"/>
                      <a:pt x="146127" y="35605"/>
                      <a:pt x="152061" y="32638"/>
                    </a:cubicBezTo>
                    <a:cubicBezTo>
                      <a:pt x="155028" y="32638"/>
                      <a:pt x="157994" y="32638"/>
                      <a:pt x="160962" y="35605"/>
                    </a:cubicBezTo>
                    <a:cubicBezTo>
                      <a:pt x="160962" y="38572"/>
                      <a:pt x="160962" y="41539"/>
                      <a:pt x="157994" y="44505"/>
                    </a:cubicBezTo>
                    <a:cubicBezTo>
                      <a:pt x="152061" y="41539"/>
                      <a:pt x="137225" y="47473"/>
                      <a:pt x="122390" y="47473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17AC0BE6-C85E-44A3-8C27-C8D6A88746C8}"/>
                </a:ext>
              </a:extLst>
            </p:cNvPr>
            <p:cNvSpPr/>
            <p:nvPr/>
          </p:nvSpPr>
          <p:spPr>
            <a:xfrm>
              <a:off x="6969591" y="8888835"/>
              <a:ext cx="515603" cy="912549"/>
            </a:xfrm>
            <a:custGeom>
              <a:avLst/>
              <a:gdLst>
                <a:gd name="connsiteX0" fmla="*/ 513296 w 515603"/>
                <a:gd name="connsiteY0" fmla="*/ 242000 h 912549"/>
                <a:gd name="connsiteX1" fmla="*/ 391648 w 515603"/>
                <a:gd name="connsiteY1" fmla="*/ 1670 h 912549"/>
                <a:gd name="connsiteX2" fmla="*/ 267033 w 515603"/>
                <a:gd name="connsiteY2" fmla="*/ 239033 h 912549"/>
                <a:gd name="connsiteX3" fmla="*/ 258132 w 515603"/>
                <a:gd name="connsiteY3" fmla="*/ 642549 h 912549"/>
                <a:gd name="connsiteX4" fmla="*/ 0 w 515603"/>
                <a:gd name="connsiteY4" fmla="*/ 773099 h 912549"/>
                <a:gd name="connsiteX5" fmla="*/ 17802 w 515603"/>
                <a:gd name="connsiteY5" fmla="*/ 912549 h 912549"/>
                <a:gd name="connsiteX6" fmla="*/ 445055 w 515603"/>
                <a:gd name="connsiteY6" fmla="*/ 776066 h 912549"/>
                <a:gd name="connsiteX7" fmla="*/ 513296 w 515603"/>
                <a:gd name="connsiteY7" fmla="*/ 242000 h 912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5603" h="912549">
                  <a:moveTo>
                    <a:pt x="513296" y="242000"/>
                  </a:moveTo>
                  <a:cubicBezTo>
                    <a:pt x="501428" y="93648"/>
                    <a:pt x="468791" y="13538"/>
                    <a:pt x="391648" y="1670"/>
                  </a:cubicBezTo>
                  <a:cubicBezTo>
                    <a:pt x="302637" y="-16132"/>
                    <a:pt x="264066" y="111450"/>
                    <a:pt x="267033" y="239033"/>
                  </a:cubicBezTo>
                  <a:cubicBezTo>
                    <a:pt x="270000" y="339912"/>
                    <a:pt x="287802" y="627714"/>
                    <a:pt x="258132" y="642549"/>
                  </a:cubicBezTo>
                  <a:cubicBezTo>
                    <a:pt x="216593" y="690022"/>
                    <a:pt x="0" y="773099"/>
                    <a:pt x="0" y="773099"/>
                  </a:cubicBezTo>
                  <a:cubicBezTo>
                    <a:pt x="2967" y="805736"/>
                    <a:pt x="17802" y="912549"/>
                    <a:pt x="17802" y="912549"/>
                  </a:cubicBezTo>
                  <a:cubicBezTo>
                    <a:pt x="17802" y="912549"/>
                    <a:pt x="394615" y="835406"/>
                    <a:pt x="445055" y="776066"/>
                  </a:cubicBezTo>
                  <a:cubicBezTo>
                    <a:pt x="489560" y="722659"/>
                    <a:pt x="525165" y="420022"/>
                    <a:pt x="513296" y="242000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D1C07B39-31C1-49EC-8C5A-AA827E590BD6}"/>
                </a:ext>
              </a:extLst>
            </p:cNvPr>
            <p:cNvSpPr/>
            <p:nvPr/>
          </p:nvSpPr>
          <p:spPr>
            <a:xfrm>
              <a:off x="6960690" y="8887268"/>
              <a:ext cx="430219" cy="777632"/>
            </a:xfrm>
            <a:custGeom>
              <a:avLst/>
              <a:gdLst>
                <a:gd name="connsiteX0" fmla="*/ 5934 w 430219"/>
                <a:gd name="connsiteY0" fmla="*/ 777633 h 777632"/>
                <a:gd name="connsiteX1" fmla="*/ 0 w 430219"/>
                <a:gd name="connsiteY1" fmla="*/ 774665 h 777632"/>
                <a:gd name="connsiteX2" fmla="*/ 2967 w 430219"/>
                <a:gd name="connsiteY2" fmla="*/ 768731 h 777632"/>
                <a:gd name="connsiteX3" fmla="*/ 261099 w 430219"/>
                <a:gd name="connsiteY3" fmla="*/ 638182 h 777632"/>
                <a:gd name="connsiteX4" fmla="*/ 272967 w 430219"/>
                <a:gd name="connsiteY4" fmla="*/ 424556 h 777632"/>
                <a:gd name="connsiteX5" fmla="*/ 270000 w 430219"/>
                <a:gd name="connsiteY5" fmla="*/ 380050 h 777632"/>
                <a:gd name="connsiteX6" fmla="*/ 261099 w 430219"/>
                <a:gd name="connsiteY6" fmla="*/ 288072 h 777632"/>
                <a:gd name="connsiteX7" fmla="*/ 258132 w 430219"/>
                <a:gd name="connsiteY7" fmla="*/ 130819 h 777632"/>
                <a:gd name="connsiteX8" fmla="*/ 290769 w 430219"/>
                <a:gd name="connsiteY8" fmla="*/ 50709 h 777632"/>
                <a:gd name="connsiteX9" fmla="*/ 427253 w 430219"/>
                <a:gd name="connsiteY9" fmla="*/ 6204 h 777632"/>
                <a:gd name="connsiteX10" fmla="*/ 430220 w 430219"/>
                <a:gd name="connsiteY10" fmla="*/ 12138 h 777632"/>
                <a:gd name="connsiteX11" fmla="*/ 424286 w 430219"/>
                <a:gd name="connsiteY11" fmla="*/ 15105 h 777632"/>
                <a:gd name="connsiteX12" fmla="*/ 299670 w 430219"/>
                <a:gd name="connsiteY12" fmla="*/ 56643 h 777632"/>
                <a:gd name="connsiteX13" fmla="*/ 270000 w 430219"/>
                <a:gd name="connsiteY13" fmla="*/ 133786 h 777632"/>
                <a:gd name="connsiteX14" fmla="*/ 272967 w 430219"/>
                <a:gd name="connsiteY14" fmla="*/ 288072 h 777632"/>
                <a:gd name="connsiteX15" fmla="*/ 281868 w 430219"/>
                <a:gd name="connsiteY15" fmla="*/ 383017 h 777632"/>
                <a:gd name="connsiteX16" fmla="*/ 284835 w 430219"/>
                <a:gd name="connsiteY16" fmla="*/ 427522 h 777632"/>
                <a:gd name="connsiteX17" fmla="*/ 267033 w 430219"/>
                <a:gd name="connsiteY17" fmla="*/ 650050 h 777632"/>
                <a:gd name="connsiteX18" fmla="*/ 5934 w 430219"/>
                <a:gd name="connsiteY18" fmla="*/ 777633 h 777632"/>
                <a:gd name="connsiteX19" fmla="*/ 5934 w 430219"/>
                <a:gd name="connsiteY19" fmla="*/ 777633 h 777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30219" h="777632">
                  <a:moveTo>
                    <a:pt x="5934" y="777633"/>
                  </a:moveTo>
                  <a:cubicBezTo>
                    <a:pt x="2967" y="777633"/>
                    <a:pt x="2967" y="777633"/>
                    <a:pt x="0" y="774665"/>
                  </a:cubicBezTo>
                  <a:cubicBezTo>
                    <a:pt x="0" y="771698"/>
                    <a:pt x="0" y="768731"/>
                    <a:pt x="2967" y="768731"/>
                  </a:cubicBezTo>
                  <a:cubicBezTo>
                    <a:pt x="5934" y="768731"/>
                    <a:pt x="234395" y="661918"/>
                    <a:pt x="261099" y="638182"/>
                  </a:cubicBezTo>
                  <a:cubicBezTo>
                    <a:pt x="281868" y="620379"/>
                    <a:pt x="275934" y="498732"/>
                    <a:pt x="272967" y="424556"/>
                  </a:cubicBezTo>
                  <a:cubicBezTo>
                    <a:pt x="272967" y="406753"/>
                    <a:pt x="272967" y="391918"/>
                    <a:pt x="270000" y="380050"/>
                  </a:cubicBezTo>
                  <a:cubicBezTo>
                    <a:pt x="270000" y="350380"/>
                    <a:pt x="264066" y="317742"/>
                    <a:pt x="261099" y="288072"/>
                  </a:cubicBezTo>
                  <a:cubicBezTo>
                    <a:pt x="252198" y="234665"/>
                    <a:pt x="246264" y="181259"/>
                    <a:pt x="258132" y="130819"/>
                  </a:cubicBezTo>
                  <a:cubicBezTo>
                    <a:pt x="264066" y="104116"/>
                    <a:pt x="272967" y="74445"/>
                    <a:pt x="290769" y="50709"/>
                  </a:cubicBezTo>
                  <a:cubicBezTo>
                    <a:pt x="311538" y="21039"/>
                    <a:pt x="364945" y="-14566"/>
                    <a:pt x="427253" y="6204"/>
                  </a:cubicBezTo>
                  <a:cubicBezTo>
                    <a:pt x="430220" y="6204"/>
                    <a:pt x="430220" y="9171"/>
                    <a:pt x="430220" y="12138"/>
                  </a:cubicBezTo>
                  <a:cubicBezTo>
                    <a:pt x="430220" y="15105"/>
                    <a:pt x="427253" y="18072"/>
                    <a:pt x="424286" y="15105"/>
                  </a:cubicBezTo>
                  <a:cubicBezTo>
                    <a:pt x="359011" y="-5664"/>
                    <a:pt x="311538" y="35874"/>
                    <a:pt x="299670" y="56643"/>
                  </a:cubicBezTo>
                  <a:cubicBezTo>
                    <a:pt x="281868" y="80380"/>
                    <a:pt x="275934" y="110050"/>
                    <a:pt x="270000" y="133786"/>
                  </a:cubicBezTo>
                  <a:cubicBezTo>
                    <a:pt x="258132" y="184226"/>
                    <a:pt x="267033" y="234665"/>
                    <a:pt x="272967" y="288072"/>
                  </a:cubicBezTo>
                  <a:cubicBezTo>
                    <a:pt x="278901" y="317742"/>
                    <a:pt x="281868" y="350380"/>
                    <a:pt x="281868" y="383017"/>
                  </a:cubicBezTo>
                  <a:cubicBezTo>
                    <a:pt x="281868" y="394885"/>
                    <a:pt x="281868" y="409721"/>
                    <a:pt x="284835" y="427522"/>
                  </a:cubicBezTo>
                  <a:cubicBezTo>
                    <a:pt x="290769" y="537303"/>
                    <a:pt x="290769" y="632248"/>
                    <a:pt x="267033" y="650050"/>
                  </a:cubicBezTo>
                  <a:cubicBezTo>
                    <a:pt x="240329" y="670819"/>
                    <a:pt x="17802" y="774665"/>
                    <a:pt x="5934" y="777633"/>
                  </a:cubicBezTo>
                  <a:cubicBezTo>
                    <a:pt x="5934" y="777633"/>
                    <a:pt x="5934" y="777633"/>
                    <a:pt x="5934" y="777633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EBAE57D7-6EAC-46D6-A4B5-5BE539566491}"/>
                </a:ext>
              </a:extLst>
            </p:cNvPr>
            <p:cNvSpPr/>
            <p:nvPr/>
          </p:nvSpPr>
          <p:spPr>
            <a:xfrm>
              <a:off x="6978492" y="9693341"/>
              <a:ext cx="378042" cy="111008"/>
            </a:xfrm>
            <a:custGeom>
              <a:avLst/>
              <a:gdLst>
                <a:gd name="connsiteX0" fmla="*/ 5934 w 378042"/>
                <a:gd name="connsiteY0" fmla="*/ 111009 h 111008"/>
                <a:gd name="connsiteX1" fmla="*/ 0 w 378042"/>
                <a:gd name="connsiteY1" fmla="*/ 108042 h 111008"/>
                <a:gd name="connsiteX2" fmla="*/ 2967 w 378042"/>
                <a:gd name="connsiteY2" fmla="*/ 102108 h 111008"/>
                <a:gd name="connsiteX3" fmla="*/ 367912 w 378042"/>
                <a:gd name="connsiteY3" fmla="*/ 1229 h 111008"/>
                <a:gd name="connsiteX4" fmla="*/ 376814 w 378042"/>
                <a:gd name="connsiteY4" fmla="*/ 4196 h 111008"/>
                <a:gd name="connsiteX5" fmla="*/ 373846 w 378042"/>
                <a:gd name="connsiteY5" fmla="*/ 13097 h 111008"/>
                <a:gd name="connsiteX6" fmla="*/ 5934 w 378042"/>
                <a:gd name="connsiteY6" fmla="*/ 111009 h 111008"/>
                <a:gd name="connsiteX7" fmla="*/ 5934 w 378042"/>
                <a:gd name="connsiteY7" fmla="*/ 111009 h 111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8042" h="111008">
                  <a:moveTo>
                    <a:pt x="5934" y="111009"/>
                  </a:moveTo>
                  <a:cubicBezTo>
                    <a:pt x="2967" y="111009"/>
                    <a:pt x="0" y="108042"/>
                    <a:pt x="0" y="108042"/>
                  </a:cubicBezTo>
                  <a:cubicBezTo>
                    <a:pt x="0" y="105075"/>
                    <a:pt x="0" y="102108"/>
                    <a:pt x="2967" y="102108"/>
                  </a:cubicBezTo>
                  <a:cubicBezTo>
                    <a:pt x="5934" y="102108"/>
                    <a:pt x="308572" y="36833"/>
                    <a:pt x="367912" y="1229"/>
                  </a:cubicBezTo>
                  <a:cubicBezTo>
                    <a:pt x="370879" y="-1738"/>
                    <a:pt x="373846" y="1229"/>
                    <a:pt x="376814" y="4196"/>
                  </a:cubicBezTo>
                  <a:cubicBezTo>
                    <a:pt x="379780" y="7163"/>
                    <a:pt x="376814" y="10130"/>
                    <a:pt x="373846" y="13097"/>
                  </a:cubicBezTo>
                  <a:cubicBezTo>
                    <a:pt x="314506" y="45735"/>
                    <a:pt x="20770" y="111009"/>
                    <a:pt x="5934" y="111009"/>
                  </a:cubicBezTo>
                  <a:cubicBezTo>
                    <a:pt x="5934" y="111009"/>
                    <a:pt x="5934" y="111009"/>
                    <a:pt x="5934" y="111009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2" name="图形 1">
              <a:extLst>
                <a:ext uri="{FF2B5EF4-FFF2-40B4-BE49-F238E27FC236}">
                  <a16:creationId xmlns:a16="http://schemas.microsoft.com/office/drawing/2014/main" id="{B1B3DF68-67D2-477C-932F-E569373FF538}"/>
                </a:ext>
              </a:extLst>
            </p:cNvPr>
            <p:cNvGrpSpPr/>
            <p:nvPr/>
          </p:nvGrpSpPr>
          <p:grpSpPr>
            <a:xfrm>
              <a:off x="3088712" y="9273252"/>
              <a:ext cx="2020549" cy="700219"/>
              <a:chOff x="3088712" y="9273252"/>
              <a:chExt cx="2020549" cy="700219"/>
            </a:xfrm>
          </p:grpSpPr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F47AEA4D-79B7-4C8E-BA6C-BFEA94016E8D}"/>
                  </a:ext>
                </a:extLst>
              </p:cNvPr>
              <p:cNvSpPr/>
              <p:nvPr/>
            </p:nvSpPr>
            <p:spPr>
              <a:xfrm>
                <a:off x="3088712" y="9273252"/>
                <a:ext cx="2020549" cy="545933"/>
              </a:xfrm>
              <a:custGeom>
                <a:avLst/>
                <a:gdLst>
                  <a:gd name="connsiteX0" fmla="*/ 2020550 w 2020549"/>
                  <a:gd name="connsiteY0" fmla="*/ 545934 h 545933"/>
                  <a:gd name="connsiteX1" fmla="*/ 611209 w 2020549"/>
                  <a:gd name="connsiteY1" fmla="*/ 545934 h 545933"/>
                  <a:gd name="connsiteX2" fmla="*/ 0 w 2020549"/>
                  <a:gd name="connsiteY2" fmla="*/ 0 h 545933"/>
                  <a:gd name="connsiteX3" fmla="*/ 1409341 w 2020549"/>
                  <a:gd name="connsiteY3" fmla="*/ 0 h 545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20549" h="545933">
                    <a:moveTo>
                      <a:pt x="2020550" y="545934"/>
                    </a:moveTo>
                    <a:lnTo>
                      <a:pt x="611209" y="545934"/>
                    </a:lnTo>
                    <a:lnTo>
                      <a:pt x="0" y="0"/>
                    </a:lnTo>
                    <a:lnTo>
                      <a:pt x="1409341" y="0"/>
                    </a:lnTo>
                    <a:close/>
                  </a:path>
                </a:pathLst>
              </a:custGeom>
              <a:solidFill>
                <a:srgbClr val="F1DDBA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8440990D-4B1A-4550-8517-091C40C7748F}"/>
                  </a:ext>
                </a:extLst>
              </p:cNvPr>
              <p:cNvSpPr/>
              <p:nvPr/>
            </p:nvSpPr>
            <p:spPr>
              <a:xfrm>
                <a:off x="3088712" y="9273252"/>
                <a:ext cx="617142" cy="694285"/>
              </a:xfrm>
              <a:custGeom>
                <a:avLst/>
                <a:gdLst>
                  <a:gd name="connsiteX0" fmla="*/ 617143 w 617142"/>
                  <a:gd name="connsiteY0" fmla="*/ 694286 h 694285"/>
                  <a:gd name="connsiteX1" fmla="*/ 0 w 617142"/>
                  <a:gd name="connsiteY1" fmla="*/ 148352 h 694285"/>
                  <a:gd name="connsiteX2" fmla="*/ 0 w 617142"/>
                  <a:gd name="connsiteY2" fmla="*/ 0 h 694285"/>
                  <a:gd name="connsiteX3" fmla="*/ 617143 w 617142"/>
                  <a:gd name="connsiteY3" fmla="*/ 545934 h 694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7142" h="694285">
                    <a:moveTo>
                      <a:pt x="617143" y="694286"/>
                    </a:moveTo>
                    <a:lnTo>
                      <a:pt x="0" y="148352"/>
                    </a:lnTo>
                    <a:lnTo>
                      <a:pt x="0" y="0"/>
                    </a:lnTo>
                    <a:lnTo>
                      <a:pt x="617143" y="545934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0815A755-DF0C-4F9D-B2E8-3781B73C64D6}"/>
                  </a:ext>
                </a:extLst>
              </p:cNvPr>
              <p:cNvSpPr/>
              <p:nvPr/>
            </p:nvSpPr>
            <p:spPr>
              <a:xfrm>
                <a:off x="3705855" y="9816219"/>
                <a:ext cx="1403406" cy="151318"/>
              </a:xfrm>
              <a:custGeom>
                <a:avLst/>
                <a:gdLst>
                  <a:gd name="connsiteX0" fmla="*/ 0 w 1403406"/>
                  <a:gd name="connsiteY0" fmla="*/ 0 h 151318"/>
                  <a:gd name="connsiteX1" fmla="*/ 1403407 w 1403406"/>
                  <a:gd name="connsiteY1" fmla="*/ 0 h 151318"/>
                  <a:gd name="connsiteX2" fmla="*/ 1403407 w 1403406"/>
                  <a:gd name="connsiteY2" fmla="*/ 151319 h 151318"/>
                  <a:gd name="connsiteX3" fmla="*/ 0 w 1403406"/>
                  <a:gd name="connsiteY3" fmla="*/ 151319 h 151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3406" h="151318">
                    <a:moveTo>
                      <a:pt x="0" y="0"/>
                    </a:moveTo>
                    <a:lnTo>
                      <a:pt x="1403407" y="0"/>
                    </a:lnTo>
                    <a:lnTo>
                      <a:pt x="1403407" y="151319"/>
                    </a:lnTo>
                    <a:lnTo>
                      <a:pt x="0" y="151319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2493D67D-EE18-4F6F-AF64-6858875345B5}"/>
                  </a:ext>
                </a:extLst>
              </p:cNvPr>
              <p:cNvSpPr/>
              <p:nvPr/>
            </p:nvSpPr>
            <p:spPr>
              <a:xfrm>
                <a:off x="3699921" y="9810285"/>
                <a:ext cx="11868" cy="163186"/>
              </a:xfrm>
              <a:custGeom>
                <a:avLst/>
                <a:gdLst>
                  <a:gd name="connsiteX0" fmla="*/ 5934 w 11868"/>
                  <a:gd name="connsiteY0" fmla="*/ 163187 h 163186"/>
                  <a:gd name="connsiteX1" fmla="*/ 0 w 11868"/>
                  <a:gd name="connsiteY1" fmla="*/ 157252 h 163186"/>
                  <a:gd name="connsiteX2" fmla="*/ 0 w 11868"/>
                  <a:gd name="connsiteY2" fmla="*/ 5934 h 163186"/>
                  <a:gd name="connsiteX3" fmla="*/ 5934 w 11868"/>
                  <a:gd name="connsiteY3" fmla="*/ 0 h 163186"/>
                  <a:gd name="connsiteX4" fmla="*/ 11868 w 11868"/>
                  <a:gd name="connsiteY4" fmla="*/ 5934 h 163186"/>
                  <a:gd name="connsiteX5" fmla="*/ 11868 w 11868"/>
                  <a:gd name="connsiteY5" fmla="*/ 157252 h 163186"/>
                  <a:gd name="connsiteX6" fmla="*/ 5934 w 11868"/>
                  <a:gd name="connsiteY6" fmla="*/ 163187 h 163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868" h="163186">
                    <a:moveTo>
                      <a:pt x="5934" y="163187"/>
                    </a:moveTo>
                    <a:cubicBezTo>
                      <a:pt x="2967" y="163187"/>
                      <a:pt x="0" y="160220"/>
                      <a:pt x="0" y="157252"/>
                    </a:cubicBezTo>
                    <a:lnTo>
                      <a:pt x="0" y="5934"/>
                    </a:lnTo>
                    <a:cubicBezTo>
                      <a:pt x="0" y="2967"/>
                      <a:pt x="2967" y="0"/>
                      <a:pt x="5934" y="0"/>
                    </a:cubicBezTo>
                    <a:cubicBezTo>
                      <a:pt x="8901" y="0"/>
                      <a:pt x="11868" y="2967"/>
                      <a:pt x="11868" y="5934"/>
                    </a:cubicBezTo>
                    <a:lnTo>
                      <a:pt x="11868" y="157252"/>
                    </a:lnTo>
                    <a:cubicBezTo>
                      <a:pt x="11868" y="160220"/>
                      <a:pt x="8901" y="163187"/>
                      <a:pt x="5934" y="163187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79" name="图形 1">
                <a:extLst>
                  <a:ext uri="{FF2B5EF4-FFF2-40B4-BE49-F238E27FC236}">
                    <a16:creationId xmlns:a16="http://schemas.microsoft.com/office/drawing/2014/main" id="{F1100F5C-861B-4A0E-8EC1-B0FA267D060A}"/>
                  </a:ext>
                </a:extLst>
              </p:cNvPr>
              <p:cNvGrpSpPr/>
              <p:nvPr/>
            </p:nvGrpSpPr>
            <p:grpSpPr>
              <a:xfrm>
                <a:off x="3607472" y="9362800"/>
                <a:ext cx="982834" cy="370341"/>
                <a:chOff x="3607472" y="9362800"/>
                <a:chExt cx="982834" cy="370341"/>
              </a:xfrm>
            </p:grpSpPr>
            <p:sp>
              <p:nvSpPr>
                <p:cNvPr id="80" name="任意多边形: 形状 79">
                  <a:extLst>
                    <a:ext uri="{FF2B5EF4-FFF2-40B4-BE49-F238E27FC236}">
                      <a16:creationId xmlns:a16="http://schemas.microsoft.com/office/drawing/2014/main" id="{93AB6E98-F6BB-43FC-98FB-855728AA4AD4}"/>
                    </a:ext>
                  </a:extLst>
                </p:cNvPr>
                <p:cNvSpPr/>
                <p:nvPr/>
              </p:nvSpPr>
              <p:spPr>
                <a:xfrm>
                  <a:off x="3607472" y="9362800"/>
                  <a:ext cx="982834" cy="370341"/>
                </a:xfrm>
                <a:custGeom>
                  <a:avLst/>
                  <a:gdLst>
                    <a:gd name="connsiteX0" fmla="*/ 507833 w 982834"/>
                    <a:gd name="connsiteY0" fmla="*/ 5397 h 370341"/>
                    <a:gd name="connsiteX1" fmla="*/ 471 w 982834"/>
                    <a:gd name="connsiteY1" fmla="*/ 138913 h 370341"/>
                    <a:gd name="connsiteX2" fmla="*/ 136954 w 982834"/>
                    <a:gd name="connsiteY2" fmla="*/ 281331 h 370341"/>
                    <a:gd name="connsiteX3" fmla="*/ 475196 w 982834"/>
                    <a:gd name="connsiteY3" fmla="*/ 364408 h 370341"/>
                    <a:gd name="connsiteX4" fmla="*/ 599811 w 982834"/>
                    <a:gd name="connsiteY4" fmla="*/ 370341 h 370341"/>
                    <a:gd name="connsiteX5" fmla="*/ 982559 w 982834"/>
                    <a:gd name="connsiteY5" fmla="*/ 230891 h 370341"/>
                    <a:gd name="connsiteX6" fmla="*/ 507833 w 982834"/>
                    <a:gd name="connsiteY6" fmla="*/ 5397 h 3703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82834" h="370341">
                      <a:moveTo>
                        <a:pt x="507833" y="5397"/>
                      </a:moveTo>
                      <a:cubicBezTo>
                        <a:pt x="231899" y="-18340"/>
                        <a:pt x="9372" y="38034"/>
                        <a:pt x="471" y="138913"/>
                      </a:cubicBezTo>
                      <a:cubicBezTo>
                        <a:pt x="-5463" y="189352"/>
                        <a:pt x="44976" y="239792"/>
                        <a:pt x="136954" y="281331"/>
                      </a:cubicBezTo>
                      <a:cubicBezTo>
                        <a:pt x="225965" y="322869"/>
                        <a:pt x="347614" y="352539"/>
                        <a:pt x="475196" y="364408"/>
                      </a:cubicBezTo>
                      <a:cubicBezTo>
                        <a:pt x="516734" y="367374"/>
                        <a:pt x="561240" y="370341"/>
                        <a:pt x="599811" y="370341"/>
                      </a:cubicBezTo>
                      <a:cubicBezTo>
                        <a:pt x="816405" y="370341"/>
                        <a:pt x="976624" y="313968"/>
                        <a:pt x="982559" y="230891"/>
                      </a:cubicBezTo>
                      <a:cubicBezTo>
                        <a:pt x="991460" y="127045"/>
                        <a:pt x="783767" y="29133"/>
                        <a:pt x="507833" y="5397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1" name="任意多边形: 形状 80">
                  <a:extLst>
                    <a:ext uri="{FF2B5EF4-FFF2-40B4-BE49-F238E27FC236}">
                      <a16:creationId xmlns:a16="http://schemas.microsoft.com/office/drawing/2014/main" id="{5890C62F-03B1-45B0-86D8-880A3AFF9154}"/>
                    </a:ext>
                  </a:extLst>
                </p:cNvPr>
                <p:cNvSpPr/>
                <p:nvPr/>
              </p:nvSpPr>
              <p:spPr>
                <a:xfrm>
                  <a:off x="3681974" y="9401672"/>
                  <a:ext cx="836996" cy="289931"/>
                </a:xfrm>
                <a:custGeom>
                  <a:avLst/>
                  <a:gdLst>
                    <a:gd name="connsiteX0" fmla="*/ 718166 w 836996"/>
                    <a:gd name="connsiteY0" fmla="*/ 70371 h 289931"/>
                    <a:gd name="connsiteX1" fmla="*/ 430364 w 836996"/>
                    <a:gd name="connsiteY1" fmla="*/ 5096 h 289931"/>
                    <a:gd name="connsiteX2" fmla="*/ 144 w 836996"/>
                    <a:gd name="connsiteY2" fmla="*/ 105975 h 289931"/>
                    <a:gd name="connsiteX3" fmla="*/ 403661 w 836996"/>
                    <a:gd name="connsiteY3" fmla="*/ 283997 h 289931"/>
                    <a:gd name="connsiteX4" fmla="*/ 519375 w 836996"/>
                    <a:gd name="connsiteY4" fmla="*/ 289931 h 289931"/>
                    <a:gd name="connsiteX5" fmla="*/ 700364 w 836996"/>
                    <a:gd name="connsiteY5" fmla="*/ 272129 h 289931"/>
                    <a:gd name="connsiteX6" fmla="*/ 836847 w 836996"/>
                    <a:gd name="connsiteY6" fmla="*/ 183118 h 289931"/>
                    <a:gd name="connsiteX7" fmla="*/ 718166 w 836996"/>
                    <a:gd name="connsiteY7" fmla="*/ 70371 h 289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36996" h="289931">
                      <a:moveTo>
                        <a:pt x="718166" y="70371"/>
                      </a:moveTo>
                      <a:cubicBezTo>
                        <a:pt x="641023" y="37734"/>
                        <a:pt x="540144" y="13998"/>
                        <a:pt x="430364" y="5096"/>
                      </a:cubicBezTo>
                      <a:cubicBezTo>
                        <a:pt x="195968" y="-15673"/>
                        <a:pt x="6078" y="28833"/>
                        <a:pt x="144" y="105975"/>
                      </a:cubicBezTo>
                      <a:cubicBezTo>
                        <a:pt x="-5790" y="183118"/>
                        <a:pt x="172232" y="263228"/>
                        <a:pt x="403661" y="283997"/>
                      </a:cubicBezTo>
                      <a:cubicBezTo>
                        <a:pt x="442232" y="286964"/>
                        <a:pt x="480804" y="289931"/>
                        <a:pt x="519375" y="289931"/>
                      </a:cubicBezTo>
                      <a:cubicBezTo>
                        <a:pt x="587617" y="289931"/>
                        <a:pt x="646957" y="283997"/>
                        <a:pt x="700364" y="272129"/>
                      </a:cubicBezTo>
                      <a:cubicBezTo>
                        <a:pt x="783441" y="254327"/>
                        <a:pt x="830914" y="221690"/>
                        <a:pt x="836847" y="183118"/>
                      </a:cubicBezTo>
                      <a:cubicBezTo>
                        <a:pt x="839814" y="144547"/>
                        <a:pt x="798276" y="103009"/>
                        <a:pt x="718166" y="70371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82" name="图形 1">
                  <a:extLst>
                    <a:ext uri="{FF2B5EF4-FFF2-40B4-BE49-F238E27FC236}">
                      <a16:creationId xmlns:a16="http://schemas.microsoft.com/office/drawing/2014/main" id="{966C45C7-618E-45BB-A20A-C24E0E045B77}"/>
                    </a:ext>
                  </a:extLst>
                </p:cNvPr>
                <p:cNvGrpSpPr/>
                <p:nvPr/>
              </p:nvGrpSpPr>
              <p:grpSpPr>
                <a:xfrm>
                  <a:off x="3782747" y="9469076"/>
                  <a:ext cx="110282" cy="80110"/>
                  <a:chOff x="3782747" y="9469076"/>
                  <a:chExt cx="110282" cy="80110"/>
                </a:xfrm>
              </p:grpSpPr>
              <p:sp>
                <p:nvSpPr>
                  <p:cNvPr id="98" name="任意多边形: 形状 97">
                    <a:extLst>
                      <a:ext uri="{FF2B5EF4-FFF2-40B4-BE49-F238E27FC236}">
                        <a16:creationId xmlns:a16="http://schemas.microsoft.com/office/drawing/2014/main" id="{8C269F55-7629-42B0-93B3-F9A5D09AC437}"/>
                      </a:ext>
                    </a:extLst>
                  </p:cNvPr>
                  <p:cNvSpPr/>
                  <p:nvPr/>
                </p:nvSpPr>
                <p:spPr>
                  <a:xfrm>
                    <a:off x="3794582" y="9477415"/>
                    <a:ext cx="89294" cy="60465"/>
                  </a:xfrm>
                  <a:custGeom>
                    <a:avLst/>
                    <a:gdLst>
                      <a:gd name="connsiteX0" fmla="*/ 89294 w 89294"/>
                      <a:gd name="connsiteY0" fmla="*/ 36167 h 60465"/>
                      <a:gd name="connsiteX1" fmla="*/ 41822 w 89294"/>
                      <a:gd name="connsiteY1" fmla="*/ 59903 h 60465"/>
                      <a:gd name="connsiteX2" fmla="*/ 283 w 89294"/>
                      <a:gd name="connsiteY2" fmla="*/ 24299 h 60465"/>
                      <a:gd name="connsiteX3" fmla="*/ 47756 w 89294"/>
                      <a:gd name="connsiteY3" fmla="*/ 562 h 60465"/>
                      <a:gd name="connsiteX4" fmla="*/ 89294 w 89294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294" h="60465">
                        <a:moveTo>
                          <a:pt x="89294" y="36167"/>
                        </a:moveTo>
                        <a:cubicBezTo>
                          <a:pt x="86327" y="53969"/>
                          <a:pt x="65558" y="62870"/>
                          <a:pt x="41822" y="59903"/>
                        </a:cubicBezTo>
                        <a:cubicBezTo>
                          <a:pt x="18086" y="56936"/>
                          <a:pt x="-2684" y="42101"/>
                          <a:pt x="283" y="24299"/>
                        </a:cubicBezTo>
                        <a:cubicBezTo>
                          <a:pt x="3251" y="6496"/>
                          <a:pt x="24020" y="-2404"/>
                          <a:pt x="47756" y="562"/>
                        </a:cubicBezTo>
                        <a:cubicBezTo>
                          <a:pt x="71492" y="3529"/>
                          <a:pt x="89294" y="18364"/>
                          <a:pt x="89294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9" name="任意多边形: 形状 98">
                    <a:extLst>
                      <a:ext uri="{FF2B5EF4-FFF2-40B4-BE49-F238E27FC236}">
                        <a16:creationId xmlns:a16="http://schemas.microsoft.com/office/drawing/2014/main" id="{CADF44C2-F794-4644-B073-2FA051F6F895}"/>
                      </a:ext>
                    </a:extLst>
                  </p:cNvPr>
                  <p:cNvSpPr/>
                  <p:nvPr/>
                </p:nvSpPr>
                <p:spPr>
                  <a:xfrm>
                    <a:off x="3782747" y="9469076"/>
                    <a:ext cx="110282" cy="80110"/>
                  </a:xfrm>
                  <a:custGeom>
                    <a:avLst/>
                    <a:gdLst>
                      <a:gd name="connsiteX0" fmla="*/ 59592 w 110282"/>
                      <a:gd name="connsiteY0" fmla="*/ 80110 h 80110"/>
                      <a:gd name="connsiteX1" fmla="*/ 50691 w 110282"/>
                      <a:gd name="connsiteY1" fmla="*/ 80110 h 80110"/>
                      <a:gd name="connsiteX2" fmla="*/ 251 w 110282"/>
                      <a:gd name="connsiteY2" fmla="*/ 32638 h 80110"/>
                      <a:gd name="connsiteX3" fmla="*/ 21020 w 110282"/>
                      <a:gd name="connsiteY3" fmla="*/ 5934 h 80110"/>
                      <a:gd name="connsiteX4" fmla="*/ 59592 w 110282"/>
                      <a:gd name="connsiteY4" fmla="*/ 0 h 80110"/>
                      <a:gd name="connsiteX5" fmla="*/ 110031 w 110282"/>
                      <a:gd name="connsiteY5" fmla="*/ 47473 h 80110"/>
                      <a:gd name="connsiteX6" fmla="*/ 89262 w 110282"/>
                      <a:gd name="connsiteY6" fmla="*/ 74176 h 80110"/>
                      <a:gd name="connsiteX7" fmla="*/ 59592 w 110282"/>
                      <a:gd name="connsiteY7" fmla="*/ 80110 h 80110"/>
                      <a:gd name="connsiteX8" fmla="*/ 50691 w 110282"/>
                      <a:gd name="connsiteY8" fmla="*/ 17802 h 80110"/>
                      <a:gd name="connsiteX9" fmla="*/ 29921 w 110282"/>
                      <a:gd name="connsiteY9" fmla="*/ 20770 h 80110"/>
                      <a:gd name="connsiteX10" fmla="*/ 18053 w 110282"/>
                      <a:gd name="connsiteY10" fmla="*/ 32638 h 80110"/>
                      <a:gd name="connsiteX11" fmla="*/ 50691 w 110282"/>
                      <a:gd name="connsiteY11" fmla="*/ 56373 h 80110"/>
                      <a:gd name="connsiteX12" fmla="*/ 77394 w 110282"/>
                      <a:gd name="connsiteY12" fmla="*/ 53406 h 80110"/>
                      <a:gd name="connsiteX13" fmla="*/ 89262 w 110282"/>
                      <a:gd name="connsiteY13" fmla="*/ 41538 h 80110"/>
                      <a:gd name="connsiteX14" fmla="*/ 56625 w 110282"/>
                      <a:gd name="connsiteY14" fmla="*/ 17802 h 80110"/>
                      <a:gd name="connsiteX15" fmla="*/ 50691 w 110282"/>
                      <a:gd name="connsiteY15" fmla="*/ 17802 h 801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0282" h="80110">
                        <a:moveTo>
                          <a:pt x="59592" y="80110"/>
                        </a:moveTo>
                        <a:cubicBezTo>
                          <a:pt x="56625" y="80110"/>
                          <a:pt x="53658" y="80110"/>
                          <a:pt x="50691" y="80110"/>
                        </a:cubicBezTo>
                        <a:cubicBezTo>
                          <a:pt x="21020" y="77143"/>
                          <a:pt x="-2716" y="56373"/>
                          <a:pt x="251" y="32638"/>
                        </a:cubicBezTo>
                        <a:cubicBezTo>
                          <a:pt x="251" y="20770"/>
                          <a:pt x="9152" y="11868"/>
                          <a:pt x="21020" y="5934"/>
                        </a:cubicBezTo>
                        <a:cubicBezTo>
                          <a:pt x="32888" y="0"/>
                          <a:pt x="44756" y="0"/>
                          <a:pt x="59592" y="0"/>
                        </a:cubicBezTo>
                        <a:cubicBezTo>
                          <a:pt x="89262" y="2967"/>
                          <a:pt x="112998" y="23736"/>
                          <a:pt x="110031" y="47473"/>
                        </a:cubicBezTo>
                        <a:cubicBezTo>
                          <a:pt x="110031" y="59341"/>
                          <a:pt x="101130" y="68241"/>
                          <a:pt x="89262" y="74176"/>
                        </a:cubicBezTo>
                        <a:cubicBezTo>
                          <a:pt x="80361" y="77143"/>
                          <a:pt x="71460" y="80110"/>
                          <a:pt x="59592" y="80110"/>
                        </a:cubicBezTo>
                        <a:close/>
                        <a:moveTo>
                          <a:pt x="50691" y="17802"/>
                        </a:moveTo>
                        <a:cubicBezTo>
                          <a:pt x="41789" y="17802"/>
                          <a:pt x="35855" y="17802"/>
                          <a:pt x="29921" y="20770"/>
                        </a:cubicBezTo>
                        <a:cubicBezTo>
                          <a:pt x="26954" y="23736"/>
                          <a:pt x="21020" y="26703"/>
                          <a:pt x="18053" y="32638"/>
                        </a:cubicBezTo>
                        <a:cubicBezTo>
                          <a:pt x="18053" y="41538"/>
                          <a:pt x="29921" y="56373"/>
                          <a:pt x="50691" y="56373"/>
                        </a:cubicBezTo>
                        <a:cubicBezTo>
                          <a:pt x="59592" y="56373"/>
                          <a:pt x="71460" y="56373"/>
                          <a:pt x="77394" y="53406"/>
                        </a:cubicBezTo>
                        <a:cubicBezTo>
                          <a:pt x="80361" y="50440"/>
                          <a:pt x="86295" y="47473"/>
                          <a:pt x="89262" y="41538"/>
                        </a:cubicBezTo>
                        <a:cubicBezTo>
                          <a:pt x="89262" y="32638"/>
                          <a:pt x="77394" y="17802"/>
                          <a:pt x="56625" y="17802"/>
                        </a:cubicBezTo>
                        <a:cubicBezTo>
                          <a:pt x="53658" y="17802"/>
                          <a:pt x="53658" y="17802"/>
                          <a:pt x="50691" y="17802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83" name="图形 1">
                  <a:extLst>
                    <a:ext uri="{FF2B5EF4-FFF2-40B4-BE49-F238E27FC236}">
                      <a16:creationId xmlns:a16="http://schemas.microsoft.com/office/drawing/2014/main" id="{C7CDF196-257F-40CD-957E-C6FB476B7890}"/>
                    </a:ext>
                  </a:extLst>
                </p:cNvPr>
                <p:cNvGrpSpPr/>
                <p:nvPr/>
              </p:nvGrpSpPr>
              <p:grpSpPr>
                <a:xfrm>
                  <a:off x="4147692" y="9566988"/>
                  <a:ext cx="110282" cy="80110"/>
                  <a:chOff x="4147692" y="9566988"/>
                  <a:chExt cx="110282" cy="80110"/>
                </a:xfrm>
              </p:grpSpPr>
              <p:sp>
                <p:nvSpPr>
                  <p:cNvPr id="96" name="任意多边形: 形状 95">
                    <a:extLst>
                      <a:ext uri="{FF2B5EF4-FFF2-40B4-BE49-F238E27FC236}">
                        <a16:creationId xmlns:a16="http://schemas.microsoft.com/office/drawing/2014/main" id="{187EA135-A6E1-4AF7-B6A5-213E2C263D00}"/>
                      </a:ext>
                    </a:extLst>
                  </p:cNvPr>
                  <p:cNvSpPr/>
                  <p:nvPr/>
                </p:nvSpPr>
                <p:spPr>
                  <a:xfrm>
                    <a:off x="4156560" y="9575327"/>
                    <a:ext cx="89616" cy="60465"/>
                  </a:xfrm>
                  <a:custGeom>
                    <a:avLst/>
                    <a:gdLst>
                      <a:gd name="connsiteX0" fmla="*/ 89294 w 89616"/>
                      <a:gd name="connsiteY0" fmla="*/ 36166 h 60465"/>
                      <a:gd name="connsiteX1" fmla="*/ 41822 w 89616"/>
                      <a:gd name="connsiteY1" fmla="*/ 59903 h 60465"/>
                      <a:gd name="connsiteX2" fmla="*/ 283 w 89616"/>
                      <a:gd name="connsiteY2" fmla="*/ 24298 h 60465"/>
                      <a:gd name="connsiteX3" fmla="*/ 47756 w 89616"/>
                      <a:gd name="connsiteY3" fmla="*/ 562 h 60465"/>
                      <a:gd name="connsiteX4" fmla="*/ 89294 w 89616"/>
                      <a:gd name="connsiteY4" fmla="*/ 36166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616" h="60465">
                        <a:moveTo>
                          <a:pt x="89294" y="36166"/>
                        </a:moveTo>
                        <a:cubicBezTo>
                          <a:pt x="86327" y="53969"/>
                          <a:pt x="65558" y="62870"/>
                          <a:pt x="41822" y="59903"/>
                        </a:cubicBezTo>
                        <a:cubicBezTo>
                          <a:pt x="18086" y="56936"/>
                          <a:pt x="-2684" y="42101"/>
                          <a:pt x="283" y="24298"/>
                        </a:cubicBezTo>
                        <a:cubicBezTo>
                          <a:pt x="3251" y="6496"/>
                          <a:pt x="24020" y="-2405"/>
                          <a:pt x="47756" y="562"/>
                        </a:cubicBezTo>
                        <a:cubicBezTo>
                          <a:pt x="74459" y="6496"/>
                          <a:pt x="92262" y="21331"/>
                          <a:pt x="89294" y="36166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7" name="任意多边形: 形状 96">
                    <a:extLst>
                      <a:ext uri="{FF2B5EF4-FFF2-40B4-BE49-F238E27FC236}">
                        <a16:creationId xmlns:a16="http://schemas.microsoft.com/office/drawing/2014/main" id="{78526850-7878-4808-AA6A-C349C1E25A9D}"/>
                      </a:ext>
                    </a:extLst>
                  </p:cNvPr>
                  <p:cNvSpPr/>
                  <p:nvPr/>
                </p:nvSpPr>
                <p:spPr>
                  <a:xfrm>
                    <a:off x="4147692" y="9566988"/>
                    <a:ext cx="110282" cy="80110"/>
                  </a:xfrm>
                  <a:custGeom>
                    <a:avLst/>
                    <a:gdLst>
                      <a:gd name="connsiteX0" fmla="*/ 59592 w 110282"/>
                      <a:gd name="connsiteY0" fmla="*/ 80110 h 80110"/>
                      <a:gd name="connsiteX1" fmla="*/ 50691 w 110282"/>
                      <a:gd name="connsiteY1" fmla="*/ 80110 h 80110"/>
                      <a:gd name="connsiteX2" fmla="*/ 251 w 110282"/>
                      <a:gd name="connsiteY2" fmla="*/ 32638 h 80110"/>
                      <a:gd name="connsiteX3" fmla="*/ 21020 w 110282"/>
                      <a:gd name="connsiteY3" fmla="*/ 5934 h 80110"/>
                      <a:gd name="connsiteX4" fmla="*/ 59592 w 110282"/>
                      <a:gd name="connsiteY4" fmla="*/ 0 h 80110"/>
                      <a:gd name="connsiteX5" fmla="*/ 110031 w 110282"/>
                      <a:gd name="connsiteY5" fmla="*/ 47473 h 80110"/>
                      <a:gd name="connsiteX6" fmla="*/ 89262 w 110282"/>
                      <a:gd name="connsiteY6" fmla="*/ 74176 h 80110"/>
                      <a:gd name="connsiteX7" fmla="*/ 59592 w 110282"/>
                      <a:gd name="connsiteY7" fmla="*/ 80110 h 80110"/>
                      <a:gd name="connsiteX8" fmla="*/ 47723 w 110282"/>
                      <a:gd name="connsiteY8" fmla="*/ 17802 h 80110"/>
                      <a:gd name="connsiteX9" fmla="*/ 26954 w 110282"/>
                      <a:gd name="connsiteY9" fmla="*/ 20770 h 80110"/>
                      <a:gd name="connsiteX10" fmla="*/ 15086 w 110282"/>
                      <a:gd name="connsiteY10" fmla="*/ 32638 h 80110"/>
                      <a:gd name="connsiteX11" fmla="*/ 47723 w 110282"/>
                      <a:gd name="connsiteY11" fmla="*/ 56374 h 80110"/>
                      <a:gd name="connsiteX12" fmla="*/ 74427 w 110282"/>
                      <a:gd name="connsiteY12" fmla="*/ 53407 h 80110"/>
                      <a:gd name="connsiteX13" fmla="*/ 86295 w 110282"/>
                      <a:gd name="connsiteY13" fmla="*/ 41539 h 80110"/>
                      <a:gd name="connsiteX14" fmla="*/ 53658 w 110282"/>
                      <a:gd name="connsiteY14" fmla="*/ 17802 h 80110"/>
                      <a:gd name="connsiteX15" fmla="*/ 47723 w 110282"/>
                      <a:gd name="connsiteY15" fmla="*/ 17802 h 801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0282" h="80110">
                        <a:moveTo>
                          <a:pt x="59592" y="80110"/>
                        </a:moveTo>
                        <a:cubicBezTo>
                          <a:pt x="56625" y="80110"/>
                          <a:pt x="53658" y="80110"/>
                          <a:pt x="50691" y="80110"/>
                        </a:cubicBezTo>
                        <a:cubicBezTo>
                          <a:pt x="21020" y="77143"/>
                          <a:pt x="-2716" y="56374"/>
                          <a:pt x="251" y="32638"/>
                        </a:cubicBezTo>
                        <a:cubicBezTo>
                          <a:pt x="251" y="20770"/>
                          <a:pt x="9152" y="11869"/>
                          <a:pt x="21020" y="5934"/>
                        </a:cubicBezTo>
                        <a:cubicBezTo>
                          <a:pt x="32888" y="0"/>
                          <a:pt x="44756" y="0"/>
                          <a:pt x="59592" y="0"/>
                        </a:cubicBezTo>
                        <a:cubicBezTo>
                          <a:pt x="89262" y="2967"/>
                          <a:pt x="112998" y="23737"/>
                          <a:pt x="110031" y="47473"/>
                        </a:cubicBezTo>
                        <a:cubicBezTo>
                          <a:pt x="110031" y="59341"/>
                          <a:pt x="101130" y="68242"/>
                          <a:pt x="89262" y="74176"/>
                        </a:cubicBezTo>
                        <a:cubicBezTo>
                          <a:pt x="77394" y="77143"/>
                          <a:pt x="68493" y="80110"/>
                          <a:pt x="59592" y="80110"/>
                        </a:cubicBezTo>
                        <a:close/>
                        <a:moveTo>
                          <a:pt x="47723" y="17802"/>
                        </a:moveTo>
                        <a:cubicBezTo>
                          <a:pt x="38822" y="17802"/>
                          <a:pt x="32888" y="17802"/>
                          <a:pt x="26954" y="20770"/>
                        </a:cubicBezTo>
                        <a:cubicBezTo>
                          <a:pt x="23987" y="23737"/>
                          <a:pt x="18053" y="26704"/>
                          <a:pt x="15086" y="32638"/>
                        </a:cubicBezTo>
                        <a:cubicBezTo>
                          <a:pt x="15086" y="41539"/>
                          <a:pt x="26954" y="56374"/>
                          <a:pt x="47723" y="56374"/>
                        </a:cubicBezTo>
                        <a:cubicBezTo>
                          <a:pt x="56625" y="56374"/>
                          <a:pt x="68493" y="56374"/>
                          <a:pt x="74427" y="53407"/>
                        </a:cubicBezTo>
                        <a:cubicBezTo>
                          <a:pt x="77394" y="50440"/>
                          <a:pt x="83328" y="47473"/>
                          <a:pt x="86295" y="41539"/>
                        </a:cubicBezTo>
                        <a:cubicBezTo>
                          <a:pt x="86295" y="32638"/>
                          <a:pt x="74427" y="17802"/>
                          <a:pt x="53658" y="17802"/>
                        </a:cubicBezTo>
                        <a:cubicBezTo>
                          <a:pt x="53658" y="20770"/>
                          <a:pt x="50691" y="17802"/>
                          <a:pt x="47723" y="17802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84" name="图形 1">
                  <a:extLst>
                    <a:ext uri="{FF2B5EF4-FFF2-40B4-BE49-F238E27FC236}">
                      <a16:creationId xmlns:a16="http://schemas.microsoft.com/office/drawing/2014/main" id="{0CF6C07A-4900-4A11-915E-84B71B4DCCFE}"/>
                    </a:ext>
                  </a:extLst>
                </p:cNvPr>
                <p:cNvGrpSpPr/>
                <p:nvPr/>
              </p:nvGrpSpPr>
              <p:grpSpPr>
                <a:xfrm>
                  <a:off x="3969670" y="9433471"/>
                  <a:ext cx="110282" cy="80110"/>
                  <a:chOff x="3969670" y="9433471"/>
                  <a:chExt cx="110282" cy="80110"/>
                </a:xfrm>
              </p:grpSpPr>
              <p:sp>
                <p:nvSpPr>
                  <p:cNvPr id="94" name="任意多边形: 形状 93">
                    <a:extLst>
                      <a:ext uri="{FF2B5EF4-FFF2-40B4-BE49-F238E27FC236}">
                        <a16:creationId xmlns:a16="http://schemas.microsoft.com/office/drawing/2014/main" id="{89A44B3B-2A31-49F2-8CFD-188896502F31}"/>
                      </a:ext>
                    </a:extLst>
                  </p:cNvPr>
                  <p:cNvSpPr/>
                  <p:nvPr/>
                </p:nvSpPr>
                <p:spPr>
                  <a:xfrm>
                    <a:off x="3978538" y="9441810"/>
                    <a:ext cx="89616" cy="60465"/>
                  </a:xfrm>
                  <a:custGeom>
                    <a:avLst/>
                    <a:gdLst>
                      <a:gd name="connsiteX0" fmla="*/ 89294 w 89616"/>
                      <a:gd name="connsiteY0" fmla="*/ 36166 h 60465"/>
                      <a:gd name="connsiteX1" fmla="*/ 41822 w 89616"/>
                      <a:gd name="connsiteY1" fmla="*/ 59903 h 60465"/>
                      <a:gd name="connsiteX2" fmla="*/ 283 w 89616"/>
                      <a:gd name="connsiteY2" fmla="*/ 24298 h 60465"/>
                      <a:gd name="connsiteX3" fmla="*/ 47756 w 89616"/>
                      <a:gd name="connsiteY3" fmla="*/ 562 h 60465"/>
                      <a:gd name="connsiteX4" fmla="*/ 89294 w 89616"/>
                      <a:gd name="connsiteY4" fmla="*/ 36166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616" h="60465">
                        <a:moveTo>
                          <a:pt x="89294" y="36166"/>
                        </a:moveTo>
                        <a:cubicBezTo>
                          <a:pt x="86327" y="53969"/>
                          <a:pt x="65558" y="62870"/>
                          <a:pt x="41822" y="59903"/>
                        </a:cubicBezTo>
                        <a:cubicBezTo>
                          <a:pt x="18086" y="56936"/>
                          <a:pt x="-2684" y="42101"/>
                          <a:pt x="283" y="24298"/>
                        </a:cubicBezTo>
                        <a:cubicBezTo>
                          <a:pt x="3251" y="6496"/>
                          <a:pt x="24020" y="-2405"/>
                          <a:pt x="47756" y="562"/>
                        </a:cubicBezTo>
                        <a:cubicBezTo>
                          <a:pt x="74459" y="3530"/>
                          <a:pt x="92262" y="18365"/>
                          <a:pt x="89294" y="36166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5" name="任意多边形: 形状 94">
                    <a:extLst>
                      <a:ext uri="{FF2B5EF4-FFF2-40B4-BE49-F238E27FC236}">
                        <a16:creationId xmlns:a16="http://schemas.microsoft.com/office/drawing/2014/main" id="{CAE949A5-2C94-4F95-912B-8B6DE3B69C67}"/>
                      </a:ext>
                    </a:extLst>
                  </p:cNvPr>
                  <p:cNvSpPr/>
                  <p:nvPr/>
                </p:nvSpPr>
                <p:spPr>
                  <a:xfrm>
                    <a:off x="3969670" y="9433471"/>
                    <a:ext cx="110282" cy="80110"/>
                  </a:xfrm>
                  <a:custGeom>
                    <a:avLst/>
                    <a:gdLst>
                      <a:gd name="connsiteX0" fmla="*/ 59592 w 110282"/>
                      <a:gd name="connsiteY0" fmla="*/ 80110 h 80110"/>
                      <a:gd name="connsiteX1" fmla="*/ 50691 w 110282"/>
                      <a:gd name="connsiteY1" fmla="*/ 80110 h 80110"/>
                      <a:gd name="connsiteX2" fmla="*/ 251 w 110282"/>
                      <a:gd name="connsiteY2" fmla="*/ 32638 h 80110"/>
                      <a:gd name="connsiteX3" fmla="*/ 21020 w 110282"/>
                      <a:gd name="connsiteY3" fmla="*/ 5934 h 80110"/>
                      <a:gd name="connsiteX4" fmla="*/ 59592 w 110282"/>
                      <a:gd name="connsiteY4" fmla="*/ 0 h 80110"/>
                      <a:gd name="connsiteX5" fmla="*/ 110031 w 110282"/>
                      <a:gd name="connsiteY5" fmla="*/ 47473 h 80110"/>
                      <a:gd name="connsiteX6" fmla="*/ 89262 w 110282"/>
                      <a:gd name="connsiteY6" fmla="*/ 74176 h 80110"/>
                      <a:gd name="connsiteX7" fmla="*/ 59592 w 110282"/>
                      <a:gd name="connsiteY7" fmla="*/ 80110 h 80110"/>
                      <a:gd name="connsiteX8" fmla="*/ 47723 w 110282"/>
                      <a:gd name="connsiteY8" fmla="*/ 17802 h 80110"/>
                      <a:gd name="connsiteX9" fmla="*/ 26954 w 110282"/>
                      <a:gd name="connsiteY9" fmla="*/ 20770 h 80110"/>
                      <a:gd name="connsiteX10" fmla="*/ 15086 w 110282"/>
                      <a:gd name="connsiteY10" fmla="*/ 32638 h 80110"/>
                      <a:gd name="connsiteX11" fmla="*/ 47723 w 110282"/>
                      <a:gd name="connsiteY11" fmla="*/ 56374 h 80110"/>
                      <a:gd name="connsiteX12" fmla="*/ 74427 w 110282"/>
                      <a:gd name="connsiteY12" fmla="*/ 53407 h 80110"/>
                      <a:gd name="connsiteX13" fmla="*/ 86295 w 110282"/>
                      <a:gd name="connsiteY13" fmla="*/ 41539 h 80110"/>
                      <a:gd name="connsiteX14" fmla="*/ 53658 w 110282"/>
                      <a:gd name="connsiteY14" fmla="*/ 17802 h 80110"/>
                      <a:gd name="connsiteX15" fmla="*/ 47723 w 110282"/>
                      <a:gd name="connsiteY15" fmla="*/ 17802 h 801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0282" h="80110">
                        <a:moveTo>
                          <a:pt x="59592" y="80110"/>
                        </a:moveTo>
                        <a:cubicBezTo>
                          <a:pt x="56625" y="80110"/>
                          <a:pt x="53658" y="80110"/>
                          <a:pt x="50691" y="80110"/>
                        </a:cubicBezTo>
                        <a:cubicBezTo>
                          <a:pt x="21020" y="77143"/>
                          <a:pt x="-2716" y="56374"/>
                          <a:pt x="251" y="32638"/>
                        </a:cubicBezTo>
                        <a:cubicBezTo>
                          <a:pt x="251" y="20770"/>
                          <a:pt x="9152" y="11869"/>
                          <a:pt x="21020" y="5934"/>
                        </a:cubicBezTo>
                        <a:cubicBezTo>
                          <a:pt x="32888" y="0"/>
                          <a:pt x="44756" y="0"/>
                          <a:pt x="59592" y="0"/>
                        </a:cubicBezTo>
                        <a:cubicBezTo>
                          <a:pt x="89262" y="2967"/>
                          <a:pt x="112998" y="23737"/>
                          <a:pt x="110031" y="47473"/>
                        </a:cubicBezTo>
                        <a:cubicBezTo>
                          <a:pt x="110031" y="59341"/>
                          <a:pt x="101130" y="68242"/>
                          <a:pt x="89262" y="74176"/>
                        </a:cubicBezTo>
                        <a:cubicBezTo>
                          <a:pt x="80361" y="77143"/>
                          <a:pt x="68493" y="80110"/>
                          <a:pt x="59592" y="80110"/>
                        </a:cubicBezTo>
                        <a:close/>
                        <a:moveTo>
                          <a:pt x="47723" y="17802"/>
                        </a:moveTo>
                        <a:cubicBezTo>
                          <a:pt x="38822" y="17802"/>
                          <a:pt x="32888" y="17802"/>
                          <a:pt x="26954" y="20770"/>
                        </a:cubicBezTo>
                        <a:cubicBezTo>
                          <a:pt x="23987" y="23737"/>
                          <a:pt x="18053" y="26704"/>
                          <a:pt x="15086" y="32638"/>
                        </a:cubicBezTo>
                        <a:cubicBezTo>
                          <a:pt x="15086" y="41539"/>
                          <a:pt x="26954" y="56374"/>
                          <a:pt x="47723" y="56374"/>
                        </a:cubicBezTo>
                        <a:cubicBezTo>
                          <a:pt x="56625" y="56374"/>
                          <a:pt x="68493" y="56374"/>
                          <a:pt x="74427" y="53407"/>
                        </a:cubicBezTo>
                        <a:cubicBezTo>
                          <a:pt x="77394" y="50440"/>
                          <a:pt x="83328" y="47473"/>
                          <a:pt x="86295" y="41539"/>
                        </a:cubicBezTo>
                        <a:cubicBezTo>
                          <a:pt x="86295" y="32638"/>
                          <a:pt x="74427" y="17802"/>
                          <a:pt x="53658" y="17802"/>
                        </a:cubicBezTo>
                        <a:cubicBezTo>
                          <a:pt x="53658" y="17802"/>
                          <a:pt x="50691" y="17802"/>
                          <a:pt x="47723" y="17802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85" name="图形 1">
                  <a:extLst>
                    <a:ext uri="{FF2B5EF4-FFF2-40B4-BE49-F238E27FC236}">
                      <a16:creationId xmlns:a16="http://schemas.microsoft.com/office/drawing/2014/main" id="{0FAA7FE5-A455-48EA-8B00-E674E1B59B1C}"/>
                    </a:ext>
                  </a:extLst>
                </p:cNvPr>
                <p:cNvGrpSpPr/>
                <p:nvPr/>
              </p:nvGrpSpPr>
              <p:grpSpPr>
                <a:xfrm>
                  <a:off x="4313846" y="9525071"/>
                  <a:ext cx="110282" cy="80488"/>
                  <a:chOff x="4313846" y="9525071"/>
                  <a:chExt cx="110282" cy="80488"/>
                </a:xfrm>
              </p:grpSpPr>
              <p:sp>
                <p:nvSpPr>
                  <p:cNvPr id="92" name="任意多边形: 形状 91">
                    <a:extLst>
                      <a:ext uri="{FF2B5EF4-FFF2-40B4-BE49-F238E27FC236}">
                        <a16:creationId xmlns:a16="http://schemas.microsoft.com/office/drawing/2014/main" id="{625FC9F3-C988-430E-A24E-9D29491D43F5}"/>
                      </a:ext>
                    </a:extLst>
                  </p:cNvPr>
                  <p:cNvSpPr/>
                  <p:nvPr/>
                </p:nvSpPr>
                <p:spPr>
                  <a:xfrm>
                    <a:off x="4322714" y="9533789"/>
                    <a:ext cx="89616" cy="60465"/>
                  </a:xfrm>
                  <a:custGeom>
                    <a:avLst/>
                    <a:gdLst>
                      <a:gd name="connsiteX0" fmla="*/ 89294 w 89616"/>
                      <a:gd name="connsiteY0" fmla="*/ 36166 h 60465"/>
                      <a:gd name="connsiteX1" fmla="*/ 41822 w 89616"/>
                      <a:gd name="connsiteY1" fmla="*/ 59903 h 60465"/>
                      <a:gd name="connsiteX2" fmla="*/ 283 w 89616"/>
                      <a:gd name="connsiteY2" fmla="*/ 24298 h 60465"/>
                      <a:gd name="connsiteX3" fmla="*/ 47756 w 89616"/>
                      <a:gd name="connsiteY3" fmla="*/ 562 h 60465"/>
                      <a:gd name="connsiteX4" fmla="*/ 89294 w 89616"/>
                      <a:gd name="connsiteY4" fmla="*/ 36166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616" h="60465">
                        <a:moveTo>
                          <a:pt x="89294" y="36166"/>
                        </a:moveTo>
                        <a:cubicBezTo>
                          <a:pt x="86327" y="53969"/>
                          <a:pt x="65558" y="62869"/>
                          <a:pt x="41822" y="59903"/>
                        </a:cubicBezTo>
                        <a:cubicBezTo>
                          <a:pt x="18086" y="56936"/>
                          <a:pt x="-2684" y="42101"/>
                          <a:pt x="283" y="24298"/>
                        </a:cubicBezTo>
                        <a:cubicBezTo>
                          <a:pt x="3250" y="6496"/>
                          <a:pt x="24020" y="-2405"/>
                          <a:pt x="47756" y="562"/>
                        </a:cubicBezTo>
                        <a:cubicBezTo>
                          <a:pt x="74459" y="3529"/>
                          <a:pt x="92261" y="21331"/>
                          <a:pt x="89294" y="36166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3" name="任意多边形: 形状 92">
                    <a:extLst>
                      <a:ext uri="{FF2B5EF4-FFF2-40B4-BE49-F238E27FC236}">
                        <a16:creationId xmlns:a16="http://schemas.microsoft.com/office/drawing/2014/main" id="{34449F68-A4F9-479C-9DBE-C6C1EAC8658A}"/>
                      </a:ext>
                    </a:extLst>
                  </p:cNvPr>
                  <p:cNvSpPr/>
                  <p:nvPr/>
                </p:nvSpPr>
                <p:spPr>
                  <a:xfrm>
                    <a:off x="4313846" y="9525071"/>
                    <a:ext cx="110282" cy="80488"/>
                  </a:xfrm>
                  <a:custGeom>
                    <a:avLst/>
                    <a:gdLst>
                      <a:gd name="connsiteX0" fmla="*/ 59592 w 110282"/>
                      <a:gd name="connsiteY0" fmla="*/ 80488 h 80488"/>
                      <a:gd name="connsiteX1" fmla="*/ 50691 w 110282"/>
                      <a:gd name="connsiteY1" fmla="*/ 80488 h 80488"/>
                      <a:gd name="connsiteX2" fmla="*/ 251 w 110282"/>
                      <a:gd name="connsiteY2" fmla="*/ 33016 h 80488"/>
                      <a:gd name="connsiteX3" fmla="*/ 59592 w 110282"/>
                      <a:gd name="connsiteY3" fmla="*/ 378 h 80488"/>
                      <a:gd name="connsiteX4" fmla="*/ 110031 w 110282"/>
                      <a:gd name="connsiteY4" fmla="*/ 47851 h 80488"/>
                      <a:gd name="connsiteX5" fmla="*/ 110031 w 110282"/>
                      <a:gd name="connsiteY5" fmla="*/ 47851 h 80488"/>
                      <a:gd name="connsiteX6" fmla="*/ 89262 w 110282"/>
                      <a:gd name="connsiteY6" fmla="*/ 74554 h 80488"/>
                      <a:gd name="connsiteX7" fmla="*/ 59592 w 110282"/>
                      <a:gd name="connsiteY7" fmla="*/ 80488 h 80488"/>
                      <a:gd name="connsiteX8" fmla="*/ 47724 w 110282"/>
                      <a:gd name="connsiteY8" fmla="*/ 18180 h 80488"/>
                      <a:gd name="connsiteX9" fmla="*/ 18053 w 110282"/>
                      <a:gd name="connsiteY9" fmla="*/ 35983 h 80488"/>
                      <a:gd name="connsiteX10" fmla="*/ 50691 w 110282"/>
                      <a:gd name="connsiteY10" fmla="*/ 59719 h 80488"/>
                      <a:gd name="connsiteX11" fmla="*/ 77394 w 110282"/>
                      <a:gd name="connsiteY11" fmla="*/ 56752 h 80488"/>
                      <a:gd name="connsiteX12" fmla="*/ 89262 w 110282"/>
                      <a:gd name="connsiteY12" fmla="*/ 44884 h 80488"/>
                      <a:gd name="connsiteX13" fmla="*/ 56625 w 110282"/>
                      <a:gd name="connsiteY13" fmla="*/ 21148 h 80488"/>
                      <a:gd name="connsiteX14" fmla="*/ 47724 w 110282"/>
                      <a:gd name="connsiteY14" fmla="*/ 18180 h 80488"/>
                      <a:gd name="connsiteX15" fmla="*/ 98163 w 110282"/>
                      <a:gd name="connsiteY15" fmla="*/ 44884 h 80488"/>
                      <a:gd name="connsiteX16" fmla="*/ 98163 w 110282"/>
                      <a:gd name="connsiteY16" fmla="*/ 44884 h 80488"/>
                      <a:gd name="connsiteX17" fmla="*/ 98163 w 110282"/>
                      <a:gd name="connsiteY17" fmla="*/ 44884 h 804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10282" h="80488">
                        <a:moveTo>
                          <a:pt x="59592" y="80488"/>
                        </a:moveTo>
                        <a:cubicBezTo>
                          <a:pt x="56625" y="80488"/>
                          <a:pt x="53658" y="80488"/>
                          <a:pt x="50691" y="80488"/>
                        </a:cubicBezTo>
                        <a:cubicBezTo>
                          <a:pt x="21020" y="77521"/>
                          <a:pt x="-2716" y="56752"/>
                          <a:pt x="251" y="33016"/>
                        </a:cubicBezTo>
                        <a:cubicBezTo>
                          <a:pt x="3218" y="12246"/>
                          <a:pt x="29921" y="-2589"/>
                          <a:pt x="59592" y="378"/>
                        </a:cubicBezTo>
                        <a:cubicBezTo>
                          <a:pt x="89262" y="3345"/>
                          <a:pt x="112998" y="24115"/>
                          <a:pt x="110031" y="47851"/>
                        </a:cubicBezTo>
                        <a:lnTo>
                          <a:pt x="110031" y="47851"/>
                        </a:lnTo>
                        <a:cubicBezTo>
                          <a:pt x="110031" y="59719"/>
                          <a:pt x="101130" y="68620"/>
                          <a:pt x="89262" y="74554"/>
                        </a:cubicBezTo>
                        <a:cubicBezTo>
                          <a:pt x="77394" y="77521"/>
                          <a:pt x="68493" y="80488"/>
                          <a:pt x="59592" y="80488"/>
                        </a:cubicBezTo>
                        <a:close/>
                        <a:moveTo>
                          <a:pt x="47724" y="18180"/>
                        </a:moveTo>
                        <a:cubicBezTo>
                          <a:pt x="29921" y="18180"/>
                          <a:pt x="18053" y="27081"/>
                          <a:pt x="18053" y="35983"/>
                        </a:cubicBezTo>
                        <a:cubicBezTo>
                          <a:pt x="18053" y="44884"/>
                          <a:pt x="29921" y="59719"/>
                          <a:pt x="50691" y="59719"/>
                        </a:cubicBezTo>
                        <a:cubicBezTo>
                          <a:pt x="59592" y="59719"/>
                          <a:pt x="71460" y="59719"/>
                          <a:pt x="77394" y="56752"/>
                        </a:cubicBezTo>
                        <a:cubicBezTo>
                          <a:pt x="80361" y="53785"/>
                          <a:pt x="86295" y="50818"/>
                          <a:pt x="89262" y="44884"/>
                        </a:cubicBezTo>
                        <a:cubicBezTo>
                          <a:pt x="89262" y="35983"/>
                          <a:pt x="77394" y="21148"/>
                          <a:pt x="56625" y="21148"/>
                        </a:cubicBezTo>
                        <a:cubicBezTo>
                          <a:pt x="53658" y="18180"/>
                          <a:pt x="50691" y="18180"/>
                          <a:pt x="47724" y="18180"/>
                        </a:cubicBezTo>
                        <a:close/>
                        <a:moveTo>
                          <a:pt x="98163" y="44884"/>
                        </a:moveTo>
                        <a:lnTo>
                          <a:pt x="98163" y="44884"/>
                        </a:lnTo>
                        <a:lnTo>
                          <a:pt x="98163" y="44884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86" name="图形 1">
                  <a:extLst>
                    <a:ext uri="{FF2B5EF4-FFF2-40B4-BE49-F238E27FC236}">
                      <a16:creationId xmlns:a16="http://schemas.microsoft.com/office/drawing/2014/main" id="{D3BB02B6-E708-4FEA-A566-5E63607C0E5B}"/>
                    </a:ext>
                  </a:extLst>
                </p:cNvPr>
                <p:cNvGrpSpPr/>
                <p:nvPr/>
              </p:nvGrpSpPr>
              <p:grpSpPr>
                <a:xfrm>
                  <a:off x="4153626" y="9453863"/>
                  <a:ext cx="110282" cy="80488"/>
                  <a:chOff x="4153626" y="9453863"/>
                  <a:chExt cx="110282" cy="80488"/>
                </a:xfrm>
              </p:grpSpPr>
              <p:sp>
                <p:nvSpPr>
                  <p:cNvPr id="90" name="任意多边形: 形状 89">
                    <a:extLst>
                      <a:ext uri="{FF2B5EF4-FFF2-40B4-BE49-F238E27FC236}">
                        <a16:creationId xmlns:a16="http://schemas.microsoft.com/office/drawing/2014/main" id="{3290224B-4783-45EB-8DC5-3AF8085E5ACD}"/>
                      </a:ext>
                    </a:extLst>
                  </p:cNvPr>
                  <p:cNvSpPr/>
                  <p:nvPr/>
                </p:nvSpPr>
                <p:spPr>
                  <a:xfrm>
                    <a:off x="4165461" y="9465546"/>
                    <a:ext cx="89577" cy="60465"/>
                  </a:xfrm>
                  <a:custGeom>
                    <a:avLst/>
                    <a:gdLst>
                      <a:gd name="connsiteX0" fmla="*/ 89294 w 89577"/>
                      <a:gd name="connsiteY0" fmla="*/ 36167 h 60465"/>
                      <a:gd name="connsiteX1" fmla="*/ 41822 w 89577"/>
                      <a:gd name="connsiteY1" fmla="*/ 59903 h 60465"/>
                      <a:gd name="connsiteX2" fmla="*/ 283 w 89577"/>
                      <a:gd name="connsiteY2" fmla="*/ 24299 h 60465"/>
                      <a:gd name="connsiteX3" fmla="*/ 47756 w 89577"/>
                      <a:gd name="connsiteY3" fmla="*/ 562 h 60465"/>
                      <a:gd name="connsiteX4" fmla="*/ 89294 w 89577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577" h="60465">
                        <a:moveTo>
                          <a:pt x="89294" y="36167"/>
                        </a:moveTo>
                        <a:cubicBezTo>
                          <a:pt x="86327" y="53969"/>
                          <a:pt x="65558" y="62870"/>
                          <a:pt x="41822" y="59903"/>
                        </a:cubicBezTo>
                        <a:cubicBezTo>
                          <a:pt x="18086" y="56936"/>
                          <a:pt x="-2684" y="42101"/>
                          <a:pt x="283" y="24299"/>
                        </a:cubicBezTo>
                        <a:cubicBezTo>
                          <a:pt x="3251" y="6497"/>
                          <a:pt x="24020" y="-2405"/>
                          <a:pt x="47756" y="562"/>
                        </a:cubicBezTo>
                        <a:cubicBezTo>
                          <a:pt x="71492" y="3530"/>
                          <a:pt x="92262" y="18365"/>
                          <a:pt x="89294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1" name="任意多边形: 形状 90">
                    <a:extLst>
                      <a:ext uri="{FF2B5EF4-FFF2-40B4-BE49-F238E27FC236}">
                        <a16:creationId xmlns:a16="http://schemas.microsoft.com/office/drawing/2014/main" id="{DB06CACB-4A1C-4301-A7C2-9BAB94F39E90}"/>
                      </a:ext>
                    </a:extLst>
                  </p:cNvPr>
                  <p:cNvSpPr/>
                  <p:nvPr/>
                </p:nvSpPr>
                <p:spPr>
                  <a:xfrm>
                    <a:off x="4153626" y="9453863"/>
                    <a:ext cx="110282" cy="80488"/>
                  </a:xfrm>
                  <a:custGeom>
                    <a:avLst/>
                    <a:gdLst>
                      <a:gd name="connsiteX0" fmla="*/ 59592 w 110282"/>
                      <a:gd name="connsiteY0" fmla="*/ 80488 h 80488"/>
                      <a:gd name="connsiteX1" fmla="*/ 50691 w 110282"/>
                      <a:gd name="connsiteY1" fmla="*/ 80488 h 80488"/>
                      <a:gd name="connsiteX2" fmla="*/ 251 w 110282"/>
                      <a:gd name="connsiteY2" fmla="*/ 33016 h 80488"/>
                      <a:gd name="connsiteX3" fmla="*/ 59592 w 110282"/>
                      <a:gd name="connsiteY3" fmla="*/ 378 h 80488"/>
                      <a:gd name="connsiteX4" fmla="*/ 110031 w 110282"/>
                      <a:gd name="connsiteY4" fmla="*/ 47851 h 80488"/>
                      <a:gd name="connsiteX5" fmla="*/ 110031 w 110282"/>
                      <a:gd name="connsiteY5" fmla="*/ 47851 h 80488"/>
                      <a:gd name="connsiteX6" fmla="*/ 89262 w 110282"/>
                      <a:gd name="connsiteY6" fmla="*/ 74554 h 80488"/>
                      <a:gd name="connsiteX7" fmla="*/ 59592 w 110282"/>
                      <a:gd name="connsiteY7" fmla="*/ 80488 h 80488"/>
                      <a:gd name="connsiteX8" fmla="*/ 50691 w 110282"/>
                      <a:gd name="connsiteY8" fmla="*/ 21148 h 80488"/>
                      <a:gd name="connsiteX9" fmla="*/ 21020 w 110282"/>
                      <a:gd name="connsiteY9" fmla="*/ 38949 h 80488"/>
                      <a:gd name="connsiteX10" fmla="*/ 53658 w 110282"/>
                      <a:gd name="connsiteY10" fmla="*/ 62686 h 80488"/>
                      <a:gd name="connsiteX11" fmla="*/ 80361 w 110282"/>
                      <a:gd name="connsiteY11" fmla="*/ 59719 h 80488"/>
                      <a:gd name="connsiteX12" fmla="*/ 92229 w 110282"/>
                      <a:gd name="connsiteY12" fmla="*/ 47851 h 80488"/>
                      <a:gd name="connsiteX13" fmla="*/ 59592 w 110282"/>
                      <a:gd name="connsiteY13" fmla="*/ 24114 h 80488"/>
                      <a:gd name="connsiteX14" fmla="*/ 50691 w 110282"/>
                      <a:gd name="connsiteY14" fmla="*/ 21148 h 80488"/>
                      <a:gd name="connsiteX15" fmla="*/ 101130 w 110282"/>
                      <a:gd name="connsiteY15" fmla="*/ 47851 h 80488"/>
                      <a:gd name="connsiteX16" fmla="*/ 101130 w 110282"/>
                      <a:gd name="connsiteY16" fmla="*/ 47851 h 80488"/>
                      <a:gd name="connsiteX17" fmla="*/ 101130 w 110282"/>
                      <a:gd name="connsiteY17" fmla="*/ 47851 h 804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10282" h="80488">
                        <a:moveTo>
                          <a:pt x="59592" y="80488"/>
                        </a:moveTo>
                        <a:cubicBezTo>
                          <a:pt x="56625" y="80488"/>
                          <a:pt x="53658" y="80488"/>
                          <a:pt x="50691" y="80488"/>
                        </a:cubicBezTo>
                        <a:cubicBezTo>
                          <a:pt x="21020" y="77521"/>
                          <a:pt x="-2716" y="56752"/>
                          <a:pt x="251" y="33016"/>
                        </a:cubicBezTo>
                        <a:cubicBezTo>
                          <a:pt x="3218" y="12246"/>
                          <a:pt x="29921" y="-2589"/>
                          <a:pt x="59592" y="378"/>
                        </a:cubicBezTo>
                        <a:cubicBezTo>
                          <a:pt x="89262" y="3345"/>
                          <a:pt x="112998" y="24114"/>
                          <a:pt x="110031" y="47851"/>
                        </a:cubicBezTo>
                        <a:lnTo>
                          <a:pt x="110031" y="47851"/>
                        </a:lnTo>
                        <a:cubicBezTo>
                          <a:pt x="110031" y="59719"/>
                          <a:pt x="101130" y="68619"/>
                          <a:pt x="89262" y="74554"/>
                        </a:cubicBezTo>
                        <a:cubicBezTo>
                          <a:pt x="80361" y="80488"/>
                          <a:pt x="71460" y="80488"/>
                          <a:pt x="59592" y="80488"/>
                        </a:cubicBezTo>
                        <a:close/>
                        <a:moveTo>
                          <a:pt x="50691" y="21148"/>
                        </a:moveTo>
                        <a:cubicBezTo>
                          <a:pt x="32888" y="21148"/>
                          <a:pt x="21020" y="30048"/>
                          <a:pt x="21020" y="38949"/>
                        </a:cubicBezTo>
                        <a:cubicBezTo>
                          <a:pt x="21020" y="47851"/>
                          <a:pt x="32888" y="62686"/>
                          <a:pt x="53658" y="62686"/>
                        </a:cubicBezTo>
                        <a:cubicBezTo>
                          <a:pt x="62559" y="62686"/>
                          <a:pt x="74427" y="62686"/>
                          <a:pt x="80361" y="59719"/>
                        </a:cubicBezTo>
                        <a:cubicBezTo>
                          <a:pt x="83328" y="56752"/>
                          <a:pt x="89262" y="53784"/>
                          <a:pt x="92229" y="47851"/>
                        </a:cubicBezTo>
                        <a:cubicBezTo>
                          <a:pt x="92229" y="38949"/>
                          <a:pt x="80361" y="24114"/>
                          <a:pt x="59592" y="24114"/>
                        </a:cubicBezTo>
                        <a:cubicBezTo>
                          <a:pt x="56625" y="21148"/>
                          <a:pt x="53658" y="21148"/>
                          <a:pt x="50691" y="21148"/>
                        </a:cubicBezTo>
                        <a:close/>
                        <a:moveTo>
                          <a:pt x="101130" y="47851"/>
                        </a:moveTo>
                        <a:lnTo>
                          <a:pt x="101130" y="47851"/>
                        </a:lnTo>
                        <a:lnTo>
                          <a:pt x="101130" y="47851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87" name="图形 1">
                  <a:extLst>
                    <a:ext uri="{FF2B5EF4-FFF2-40B4-BE49-F238E27FC236}">
                      <a16:creationId xmlns:a16="http://schemas.microsoft.com/office/drawing/2014/main" id="{7E66BE24-FD53-453D-A8E5-B79CBCB50F9A}"/>
                    </a:ext>
                  </a:extLst>
                </p:cNvPr>
                <p:cNvGrpSpPr/>
                <p:nvPr/>
              </p:nvGrpSpPr>
              <p:grpSpPr>
                <a:xfrm>
                  <a:off x="3948901" y="9546219"/>
                  <a:ext cx="110282" cy="80109"/>
                  <a:chOff x="3948901" y="9546219"/>
                  <a:chExt cx="110282" cy="80109"/>
                </a:xfrm>
              </p:grpSpPr>
              <p:sp>
                <p:nvSpPr>
                  <p:cNvPr id="88" name="任意多边形: 形状 87">
                    <a:extLst>
                      <a:ext uri="{FF2B5EF4-FFF2-40B4-BE49-F238E27FC236}">
                        <a16:creationId xmlns:a16="http://schemas.microsoft.com/office/drawing/2014/main" id="{1588D444-04A3-4871-AA69-B22EFAD617B2}"/>
                      </a:ext>
                    </a:extLst>
                  </p:cNvPr>
                  <p:cNvSpPr/>
                  <p:nvPr/>
                </p:nvSpPr>
                <p:spPr>
                  <a:xfrm>
                    <a:off x="3957769" y="9557525"/>
                    <a:ext cx="89616" cy="60465"/>
                  </a:xfrm>
                  <a:custGeom>
                    <a:avLst/>
                    <a:gdLst>
                      <a:gd name="connsiteX0" fmla="*/ 89294 w 89616"/>
                      <a:gd name="connsiteY0" fmla="*/ 36167 h 60465"/>
                      <a:gd name="connsiteX1" fmla="*/ 41822 w 89616"/>
                      <a:gd name="connsiteY1" fmla="*/ 59903 h 60465"/>
                      <a:gd name="connsiteX2" fmla="*/ 283 w 89616"/>
                      <a:gd name="connsiteY2" fmla="*/ 24298 h 60465"/>
                      <a:gd name="connsiteX3" fmla="*/ 47756 w 89616"/>
                      <a:gd name="connsiteY3" fmla="*/ 562 h 60465"/>
                      <a:gd name="connsiteX4" fmla="*/ 89294 w 89616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616" h="60465">
                        <a:moveTo>
                          <a:pt x="89294" y="36167"/>
                        </a:moveTo>
                        <a:cubicBezTo>
                          <a:pt x="86327" y="53969"/>
                          <a:pt x="65558" y="62870"/>
                          <a:pt x="41822" y="59903"/>
                        </a:cubicBezTo>
                        <a:cubicBezTo>
                          <a:pt x="18086" y="56936"/>
                          <a:pt x="-2684" y="42101"/>
                          <a:pt x="283" y="24298"/>
                        </a:cubicBezTo>
                        <a:cubicBezTo>
                          <a:pt x="3251" y="6497"/>
                          <a:pt x="24020" y="-2405"/>
                          <a:pt x="47756" y="562"/>
                        </a:cubicBezTo>
                        <a:cubicBezTo>
                          <a:pt x="74459" y="3530"/>
                          <a:pt x="92262" y="18365"/>
                          <a:pt x="89294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9" name="任意多边形: 形状 88">
                    <a:extLst>
                      <a:ext uri="{FF2B5EF4-FFF2-40B4-BE49-F238E27FC236}">
                        <a16:creationId xmlns:a16="http://schemas.microsoft.com/office/drawing/2014/main" id="{F9B85EB2-F501-49C8-9268-60DFEA22D992}"/>
                      </a:ext>
                    </a:extLst>
                  </p:cNvPr>
                  <p:cNvSpPr/>
                  <p:nvPr/>
                </p:nvSpPr>
                <p:spPr>
                  <a:xfrm>
                    <a:off x="3948901" y="9546219"/>
                    <a:ext cx="110282" cy="80109"/>
                  </a:xfrm>
                  <a:custGeom>
                    <a:avLst/>
                    <a:gdLst>
                      <a:gd name="connsiteX0" fmla="*/ 59592 w 110282"/>
                      <a:gd name="connsiteY0" fmla="*/ 80109 h 80109"/>
                      <a:gd name="connsiteX1" fmla="*/ 50691 w 110282"/>
                      <a:gd name="connsiteY1" fmla="*/ 80109 h 80109"/>
                      <a:gd name="connsiteX2" fmla="*/ 251 w 110282"/>
                      <a:gd name="connsiteY2" fmla="*/ 32638 h 80109"/>
                      <a:gd name="connsiteX3" fmla="*/ 21020 w 110282"/>
                      <a:gd name="connsiteY3" fmla="*/ 5934 h 80109"/>
                      <a:gd name="connsiteX4" fmla="*/ 59592 w 110282"/>
                      <a:gd name="connsiteY4" fmla="*/ 0 h 80109"/>
                      <a:gd name="connsiteX5" fmla="*/ 110031 w 110282"/>
                      <a:gd name="connsiteY5" fmla="*/ 47473 h 80109"/>
                      <a:gd name="connsiteX6" fmla="*/ 110031 w 110282"/>
                      <a:gd name="connsiteY6" fmla="*/ 47473 h 80109"/>
                      <a:gd name="connsiteX7" fmla="*/ 89262 w 110282"/>
                      <a:gd name="connsiteY7" fmla="*/ 74176 h 80109"/>
                      <a:gd name="connsiteX8" fmla="*/ 59592 w 110282"/>
                      <a:gd name="connsiteY8" fmla="*/ 80109 h 80109"/>
                      <a:gd name="connsiteX9" fmla="*/ 47724 w 110282"/>
                      <a:gd name="connsiteY9" fmla="*/ 20769 h 80109"/>
                      <a:gd name="connsiteX10" fmla="*/ 26954 w 110282"/>
                      <a:gd name="connsiteY10" fmla="*/ 23736 h 80109"/>
                      <a:gd name="connsiteX11" fmla="*/ 15086 w 110282"/>
                      <a:gd name="connsiteY11" fmla="*/ 35604 h 80109"/>
                      <a:gd name="connsiteX12" fmla="*/ 47724 w 110282"/>
                      <a:gd name="connsiteY12" fmla="*/ 59341 h 80109"/>
                      <a:gd name="connsiteX13" fmla="*/ 74427 w 110282"/>
                      <a:gd name="connsiteY13" fmla="*/ 56373 h 80109"/>
                      <a:gd name="connsiteX14" fmla="*/ 86295 w 110282"/>
                      <a:gd name="connsiteY14" fmla="*/ 44505 h 80109"/>
                      <a:gd name="connsiteX15" fmla="*/ 53658 w 110282"/>
                      <a:gd name="connsiteY15" fmla="*/ 20769 h 80109"/>
                      <a:gd name="connsiteX16" fmla="*/ 47724 w 110282"/>
                      <a:gd name="connsiteY16" fmla="*/ 20769 h 80109"/>
                      <a:gd name="connsiteX17" fmla="*/ 98163 w 110282"/>
                      <a:gd name="connsiteY17" fmla="*/ 47473 h 80109"/>
                      <a:gd name="connsiteX18" fmla="*/ 98163 w 110282"/>
                      <a:gd name="connsiteY18" fmla="*/ 47473 h 80109"/>
                      <a:gd name="connsiteX19" fmla="*/ 98163 w 110282"/>
                      <a:gd name="connsiteY19" fmla="*/ 47473 h 80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10282" h="80109">
                        <a:moveTo>
                          <a:pt x="59592" y="80109"/>
                        </a:moveTo>
                        <a:cubicBezTo>
                          <a:pt x="56625" y="80109"/>
                          <a:pt x="53658" y="80109"/>
                          <a:pt x="50691" y="80109"/>
                        </a:cubicBezTo>
                        <a:cubicBezTo>
                          <a:pt x="21020" y="77143"/>
                          <a:pt x="-2716" y="56373"/>
                          <a:pt x="251" y="32638"/>
                        </a:cubicBezTo>
                        <a:cubicBezTo>
                          <a:pt x="251" y="20769"/>
                          <a:pt x="9152" y="11868"/>
                          <a:pt x="21020" y="5934"/>
                        </a:cubicBezTo>
                        <a:cubicBezTo>
                          <a:pt x="32888" y="0"/>
                          <a:pt x="44756" y="0"/>
                          <a:pt x="59592" y="0"/>
                        </a:cubicBezTo>
                        <a:cubicBezTo>
                          <a:pt x="89262" y="2967"/>
                          <a:pt x="112998" y="23736"/>
                          <a:pt x="110031" y="47473"/>
                        </a:cubicBezTo>
                        <a:lnTo>
                          <a:pt x="110031" y="47473"/>
                        </a:lnTo>
                        <a:cubicBezTo>
                          <a:pt x="110031" y="59341"/>
                          <a:pt x="101130" y="68241"/>
                          <a:pt x="89262" y="74176"/>
                        </a:cubicBezTo>
                        <a:cubicBezTo>
                          <a:pt x="80361" y="77143"/>
                          <a:pt x="68493" y="80109"/>
                          <a:pt x="59592" y="80109"/>
                        </a:cubicBezTo>
                        <a:close/>
                        <a:moveTo>
                          <a:pt x="47724" y="20769"/>
                        </a:moveTo>
                        <a:cubicBezTo>
                          <a:pt x="38822" y="20769"/>
                          <a:pt x="32888" y="20769"/>
                          <a:pt x="26954" y="23736"/>
                        </a:cubicBezTo>
                        <a:cubicBezTo>
                          <a:pt x="23987" y="26703"/>
                          <a:pt x="18053" y="29670"/>
                          <a:pt x="15086" y="35604"/>
                        </a:cubicBezTo>
                        <a:cubicBezTo>
                          <a:pt x="15086" y="44505"/>
                          <a:pt x="26954" y="59341"/>
                          <a:pt x="47724" y="59341"/>
                        </a:cubicBezTo>
                        <a:cubicBezTo>
                          <a:pt x="56625" y="59341"/>
                          <a:pt x="68493" y="59341"/>
                          <a:pt x="74427" y="56373"/>
                        </a:cubicBezTo>
                        <a:cubicBezTo>
                          <a:pt x="77394" y="53406"/>
                          <a:pt x="83328" y="50439"/>
                          <a:pt x="86295" y="44505"/>
                        </a:cubicBezTo>
                        <a:cubicBezTo>
                          <a:pt x="86295" y="35604"/>
                          <a:pt x="74427" y="20769"/>
                          <a:pt x="53658" y="20769"/>
                        </a:cubicBezTo>
                        <a:cubicBezTo>
                          <a:pt x="53658" y="20769"/>
                          <a:pt x="50691" y="20769"/>
                          <a:pt x="47724" y="20769"/>
                        </a:cubicBezTo>
                        <a:close/>
                        <a:moveTo>
                          <a:pt x="98163" y="47473"/>
                        </a:moveTo>
                        <a:lnTo>
                          <a:pt x="98163" y="47473"/>
                        </a:lnTo>
                        <a:lnTo>
                          <a:pt x="98163" y="47473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</p:grp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17F1769F-AE88-40E8-8331-9F05AB4ED379}"/>
                </a:ext>
              </a:extLst>
            </p:cNvPr>
            <p:cNvSpPr/>
            <p:nvPr/>
          </p:nvSpPr>
          <p:spPr>
            <a:xfrm>
              <a:off x="3315595" y="9632263"/>
              <a:ext cx="194435" cy="116748"/>
            </a:xfrm>
            <a:custGeom>
              <a:avLst/>
              <a:gdLst>
                <a:gd name="connsiteX0" fmla="*/ 102458 w 194435"/>
                <a:gd name="connsiteY0" fmla="*/ 0 h 116748"/>
                <a:gd name="connsiteX1" fmla="*/ 1578 w 194435"/>
                <a:gd name="connsiteY1" fmla="*/ 47473 h 116748"/>
                <a:gd name="connsiteX2" fmla="*/ 19381 w 194435"/>
                <a:gd name="connsiteY2" fmla="*/ 68241 h 116748"/>
                <a:gd name="connsiteX3" fmla="*/ 19381 w 194435"/>
                <a:gd name="connsiteY3" fmla="*/ 80110 h 116748"/>
                <a:gd name="connsiteX4" fmla="*/ 43117 w 194435"/>
                <a:gd name="connsiteY4" fmla="*/ 91978 h 116748"/>
                <a:gd name="connsiteX5" fmla="*/ 57952 w 194435"/>
                <a:gd name="connsiteY5" fmla="*/ 83077 h 116748"/>
                <a:gd name="connsiteX6" fmla="*/ 81688 w 194435"/>
                <a:gd name="connsiteY6" fmla="*/ 115714 h 116748"/>
                <a:gd name="connsiteX7" fmla="*/ 108392 w 194435"/>
                <a:gd name="connsiteY7" fmla="*/ 91978 h 116748"/>
                <a:gd name="connsiteX8" fmla="*/ 108392 w 194435"/>
                <a:gd name="connsiteY8" fmla="*/ 62308 h 116748"/>
                <a:gd name="connsiteX9" fmla="*/ 173666 w 194435"/>
                <a:gd name="connsiteY9" fmla="*/ 71209 h 116748"/>
                <a:gd name="connsiteX10" fmla="*/ 194436 w 194435"/>
                <a:gd name="connsiteY10" fmla="*/ 56373 h 116748"/>
                <a:gd name="connsiteX11" fmla="*/ 102458 w 194435"/>
                <a:gd name="connsiteY11" fmla="*/ 0 h 116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4435" h="116748">
                  <a:moveTo>
                    <a:pt x="102458" y="0"/>
                  </a:moveTo>
                  <a:cubicBezTo>
                    <a:pt x="63886" y="0"/>
                    <a:pt x="13447" y="20770"/>
                    <a:pt x="1578" y="47473"/>
                  </a:cubicBezTo>
                  <a:cubicBezTo>
                    <a:pt x="-4356" y="59341"/>
                    <a:pt x="7512" y="71209"/>
                    <a:pt x="19381" y="68241"/>
                  </a:cubicBezTo>
                  <a:cubicBezTo>
                    <a:pt x="19381" y="71209"/>
                    <a:pt x="19381" y="77143"/>
                    <a:pt x="19381" y="80110"/>
                  </a:cubicBezTo>
                  <a:cubicBezTo>
                    <a:pt x="19381" y="91978"/>
                    <a:pt x="31249" y="97912"/>
                    <a:pt x="43117" y="91978"/>
                  </a:cubicBezTo>
                  <a:cubicBezTo>
                    <a:pt x="49051" y="89011"/>
                    <a:pt x="54985" y="86044"/>
                    <a:pt x="57952" y="83077"/>
                  </a:cubicBezTo>
                  <a:cubicBezTo>
                    <a:pt x="57952" y="100879"/>
                    <a:pt x="60919" y="121649"/>
                    <a:pt x="81688" y="115714"/>
                  </a:cubicBezTo>
                  <a:cubicBezTo>
                    <a:pt x="93556" y="112747"/>
                    <a:pt x="102458" y="103846"/>
                    <a:pt x="108392" y="91978"/>
                  </a:cubicBezTo>
                  <a:cubicBezTo>
                    <a:pt x="111359" y="83077"/>
                    <a:pt x="111359" y="71209"/>
                    <a:pt x="108392" y="62308"/>
                  </a:cubicBezTo>
                  <a:cubicBezTo>
                    <a:pt x="129161" y="62308"/>
                    <a:pt x="155864" y="65275"/>
                    <a:pt x="173666" y="71209"/>
                  </a:cubicBezTo>
                  <a:cubicBezTo>
                    <a:pt x="179600" y="74176"/>
                    <a:pt x="194436" y="65275"/>
                    <a:pt x="194436" y="56373"/>
                  </a:cubicBezTo>
                  <a:cubicBezTo>
                    <a:pt x="194436" y="23736"/>
                    <a:pt x="138062" y="0"/>
                    <a:pt x="102458" y="0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7FCD8643-80DE-48C7-9170-59A4D7138027}"/>
                </a:ext>
              </a:extLst>
            </p:cNvPr>
            <p:cNvSpPr/>
            <p:nvPr/>
          </p:nvSpPr>
          <p:spPr>
            <a:xfrm>
              <a:off x="3409893" y="9664900"/>
              <a:ext cx="105948" cy="80109"/>
            </a:xfrm>
            <a:custGeom>
              <a:avLst/>
              <a:gdLst>
                <a:gd name="connsiteX0" fmla="*/ 5192 w 105948"/>
                <a:gd name="connsiteY0" fmla="*/ 80109 h 80109"/>
                <a:gd name="connsiteX1" fmla="*/ 2225 w 105948"/>
                <a:gd name="connsiteY1" fmla="*/ 80109 h 80109"/>
                <a:gd name="connsiteX2" fmla="*/ 2225 w 105948"/>
                <a:gd name="connsiteY2" fmla="*/ 71209 h 80109"/>
                <a:gd name="connsiteX3" fmla="*/ 8159 w 105948"/>
                <a:gd name="connsiteY3" fmla="*/ 35604 h 80109"/>
                <a:gd name="connsiteX4" fmla="*/ 8159 w 105948"/>
                <a:gd name="connsiteY4" fmla="*/ 32638 h 80109"/>
                <a:gd name="connsiteX5" fmla="*/ 11126 w 105948"/>
                <a:gd name="connsiteY5" fmla="*/ 29670 h 80109"/>
                <a:gd name="connsiteX6" fmla="*/ 49698 w 105948"/>
                <a:gd name="connsiteY6" fmla="*/ 32638 h 80109"/>
                <a:gd name="connsiteX7" fmla="*/ 91236 w 105948"/>
                <a:gd name="connsiteY7" fmla="*/ 38571 h 80109"/>
                <a:gd name="connsiteX8" fmla="*/ 94203 w 105948"/>
                <a:gd name="connsiteY8" fmla="*/ 35604 h 80109"/>
                <a:gd name="connsiteX9" fmla="*/ 88269 w 105948"/>
                <a:gd name="connsiteY9" fmla="*/ 5934 h 80109"/>
                <a:gd name="connsiteX10" fmla="*/ 91236 w 105948"/>
                <a:gd name="connsiteY10" fmla="*/ 0 h 80109"/>
                <a:gd name="connsiteX11" fmla="*/ 97170 w 105948"/>
                <a:gd name="connsiteY11" fmla="*/ 2967 h 80109"/>
                <a:gd name="connsiteX12" fmla="*/ 103104 w 105948"/>
                <a:gd name="connsiteY12" fmla="*/ 41538 h 80109"/>
                <a:gd name="connsiteX13" fmla="*/ 91236 w 105948"/>
                <a:gd name="connsiteY13" fmla="*/ 50439 h 80109"/>
                <a:gd name="connsiteX14" fmla="*/ 46731 w 105948"/>
                <a:gd name="connsiteY14" fmla="*/ 44505 h 80109"/>
                <a:gd name="connsiteX15" fmla="*/ 20027 w 105948"/>
                <a:gd name="connsiteY15" fmla="*/ 41538 h 80109"/>
                <a:gd name="connsiteX16" fmla="*/ 11126 w 105948"/>
                <a:gd name="connsiteY16" fmla="*/ 80109 h 80109"/>
                <a:gd name="connsiteX17" fmla="*/ 5192 w 105948"/>
                <a:gd name="connsiteY17" fmla="*/ 80109 h 80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948" h="80109">
                  <a:moveTo>
                    <a:pt x="5192" y="80109"/>
                  </a:moveTo>
                  <a:cubicBezTo>
                    <a:pt x="5192" y="80109"/>
                    <a:pt x="2225" y="80109"/>
                    <a:pt x="2225" y="80109"/>
                  </a:cubicBezTo>
                  <a:cubicBezTo>
                    <a:pt x="-742" y="77143"/>
                    <a:pt x="-742" y="74176"/>
                    <a:pt x="2225" y="71209"/>
                  </a:cubicBezTo>
                  <a:cubicBezTo>
                    <a:pt x="17060" y="53406"/>
                    <a:pt x="8159" y="35604"/>
                    <a:pt x="8159" y="35604"/>
                  </a:cubicBezTo>
                  <a:cubicBezTo>
                    <a:pt x="8159" y="35604"/>
                    <a:pt x="8159" y="32638"/>
                    <a:pt x="8159" y="32638"/>
                  </a:cubicBezTo>
                  <a:cubicBezTo>
                    <a:pt x="8159" y="32638"/>
                    <a:pt x="11126" y="29670"/>
                    <a:pt x="11126" y="29670"/>
                  </a:cubicBezTo>
                  <a:cubicBezTo>
                    <a:pt x="17060" y="26703"/>
                    <a:pt x="28929" y="29670"/>
                    <a:pt x="49698" y="32638"/>
                  </a:cubicBezTo>
                  <a:cubicBezTo>
                    <a:pt x="64533" y="35604"/>
                    <a:pt x="82335" y="38571"/>
                    <a:pt x="91236" y="38571"/>
                  </a:cubicBezTo>
                  <a:cubicBezTo>
                    <a:pt x="94203" y="38571"/>
                    <a:pt x="94203" y="35604"/>
                    <a:pt x="94203" y="35604"/>
                  </a:cubicBezTo>
                  <a:cubicBezTo>
                    <a:pt x="97170" y="29670"/>
                    <a:pt x="91236" y="14835"/>
                    <a:pt x="88269" y="5934"/>
                  </a:cubicBezTo>
                  <a:cubicBezTo>
                    <a:pt x="88269" y="2967"/>
                    <a:pt x="88269" y="0"/>
                    <a:pt x="91236" y="0"/>
                  </a:cubicBezTo>
                  <a:cubicBezTo>
                    <a:pt x="94203" y="0"/>
                    <a:pt x="97170" y="0"/>
                    <a:pt x="97170" y="2967"/>
                  </a:cubicBezTo>
                  <a:cubicBezTo>
                    <a:pt x="97170" y="5934"/>
                    <a:pt x="112005" y="29670"/>
                    <a:pt x="103104" y="41538"/>
                  </a:cubicBezTo>
                  <a:cubicBezTo>
                    <a:pt x="100137" y="47473"/>
                    <a:pt x="97170" y="50439"/>
                    <a:pt x="91236" y="50439"/>
                  </a:cubicBezTo>
                  <a:cubicBezTo>
                    <a:pt x="79368" y="53406"/>
                    <a:pt x="61566" y="50439"/>
                    <a:pt x="46731" y="44505"/>
                  </a:cubicBezTo>
                  <a:cubicBezTo>
                    <a:pt x="37830" y="41538"/>
                    <a:pt x="25962" y="41538"/>
                    <a:pt x="20027" y="41538"/>
                  </a:cubicBezTo>
                  <a:cubicBezTo>
                    <a:pt x="22994" y="50439"/>
                    <a:pt x="22994" y="65274"/>
                    <a:pt x="11126" y="80109"/>
                  </a:cubicBezTo>
                  <a:cubicBezTo>
                    <a:pt x="8159" y="77143"/>
                    <a:pt x="5192" y="80109"/>
                    <a:pt x="5192" y="80109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57832147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6F33ACC2-21A6-4F5E-A9B1-87EAC981356D}"/>
              </a:ext>
            </a:extLst>
          </p:cNvPr>
          <p:cNvGrpSpPr/>
          <p:nvPr/>
        </p:nvGrpSpPr>
        <p:grpSpPr>
          <a:xfrm>
            <a:off x="3135335" y="1999040"/>
            <a:ext cx="2532327" cy="4681978"/>
            <a:chOff x="2606604" y="2125669"/>
            <a:chExt cx="2532327" cy="4681978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64FC4A4C-F153-42AC-98B7-23A0E74317F9}"/>
                </a:ext>
              </a:extLst>
            </p:cNvPr>
            <p:cNvGrpSpPr/>
            <p:nvPr/>
          </p:nvGrpSpPr>
          <p:grpSpPr>
            <a:xfrm>
              <a:off x="2606604" y="6208307"/>
              <a:ext cx="382924" cy="561639"/>
              <a:chOff x="2606604" y="6208307"/>
              <a:chExt cx="382924" cy="561639"/>
            </a:xfrm>
          </p:grpSpPr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A8F04C26-C840-4C2C-8A7A-FE0A59F384F8}"/>
                  </a:ext>
                </a:extLst>
              </p:cNvPr>
              <p:cNvSpPr/>
              <p:nvPr/>
            </p:nvSpPr>
            <p:spPr>
              <a:xfrm>
                <a:off x="2702998" y="6208307"/>
                <a:ext cx="267032" cy="249230"/>
              </a:xfrm>
              <a:custGeom>
                <a:avLst/>
                <a:gdLst>
                  <a:gd name="connsiteX0" fmla="*/ 17802 w 267032"/>
                  <a:gd name="connsiteY0" fmla="*/ 133516 h 249230"/>
                  <a:gd name="connsiteX1" fmla="*/ 139451 w 267032"/>
                  <a:gd name="connsiteY1" fmla="*/ 0 h 249230"/>
                  <a:gd name="connsiteX2" fmla="*/ 267033 w 267032"/>
                  <a:gd name="connsiteY2" fmla="*/ 121648 h 249230"/>
                  <a:gd name="connsiteX3" fmla="*/ 124615 w 267032"/>
                  <a:gd name="connsiteY3" fmla="*/ 249231 h 249230"/>
                  <a:gd name="connsiteX4" fmla="*/ 0 w 267032"/>
                  <a:gd name="connsiteY4" fmla="*/ 169121 h 24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7032" h="249230">
                    <a:moveTo>
                      <a:pt x="17802" y="133516"/>
                    </a:moveTo>
                    <a:lnTo>
                      <a:pt x="139451" y="0"/>
                    </a:lnTo>
                    <a:lnTo>
                      <a:pt x="267033" y="121648"/>
                    </a:lnTo>
                    <a:lnTo>
                      <a:pt x="124615" y="249231"/>
                    </a:lnTo>
                    <a:lnTo>
                      <a:pt x="0" y="169121"/>
                    </a:ln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124BB879-CF56-43CE-AFEB-D0F4E9F389EB}"/>
                  </a:ext>
                </a:extLst>
              </p:cNvPr>
              <p:cNvSpPr/>
              <p:nvPr/>
            </p:nvSpPr>
            <p:spPr>
              <a:xfrm>
                <a:off x="2634756" y="6329955"/>
                <a:ext cx="354772" cy="406483"/>
              </a:xfrm>
              <a:custGeom>
                <a:avLst/>
                <a:gdLst>
                  <a:gd name="connsiteX0" fmla="*/ 77143 w 354772"/>
                  <a:gd name="connsiteY0" fmla="*/ 0 h 406483"/>
                  <a:gd name="connsiteX1" fmla="*/ 240330 w 354772"/>
                  <a:gd name="connsiteY1" fmla="*/ 91978 h 406483"/>
                  <a:gd name="connsiteX2" fmla="*/ 278901 w 354772"/>
                  <a:gd name="connsiteY2" fmla="*/ 237363 h 406483"/>
                  <a:gd name="connsiteX3" fmla="*/ 344176 w 354772"/>
                  <a:gd name="connsiteY3" fmla="*/ 406483 h 406483"/>
                  <a:gd name="connsiteX4" fmla="*/ 0 w 354772"/>
                  <a:gd name="connsiteY4" fmla="*/ 80110 h 406483"/>
                  <a:gd name="connsiteX5" fmla="*/ 77143 w 354772"/>
                  <a:gd name="connsiteY5" fmla="*/ 0 h 406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4772" h="406483">
                    <a:moveTo>
                      <a:pt x="77143" y="0"/>
                    </a:moveTo>
                    <a:cubicBezTo>
                      <a:pt x="77143" y="0"/>
                      <a:pt x="151319" y="97912"/>
                      <a:pt x="240330" y="91978"/>
                    </a:cubicBezTo>
                    <a:cubicBezTo>
                      <a:pt x="240330" y="91978"/>
                      <a:pt x="255165" y="201758"/>
                      <a:pt x="278901" y="237363"/>
                    </a:cubicBezTo>
                    <a:cubicBezTo>
                      <a:pt x="305604" y="272967"/>
                      <a:pt x="382747" y="347143"/>
                      <a:pt x="344176" y="406483"/>
                    </a:cubicBezTo>
                    <a:lnTo>
                      <a:pt x="0" y="80110"/>
                    </a:lnTo>
                    <a:cubicBezTo>
                      <a:pt x="0" y="80110"/>
                      <a:pt x="29670" y="23736"/>
                      <a:pt x="77143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E296AAAE-A9D3-47AC-AB45-55EF10DC9EFE}"/>
                  </a:ext>
                </a:extLst>
              </p:cNvPr>
              <p:cNvSpPr/>
              <p:nvPr/>
            </p:nvSpPr>
            <p:spPr>
              <a:xfrm rot="-2778520">
                <a:off x="2771360" y="6352513"/>
                <a:ext cx="44507" cy="474743"/>
              </a:xfrm>
              <a:custGeom>
                <a:avLst/>
                <a:gdLst>
                  <a:gd name="connsiteX0" fmla="*/ 0 w 44507"/>
                  <a:gd name="connsiteY0" fmla="*/ 0 h 474743"/>
                  <a:gd name="connsiteX1" fmla="*/ 44507 w 44507"/>
                  <a:gd name="connsiteY1" fmla="*/ 0 h 474743"/>
                  <a:gd name="connsiteX2" fmla="*/ 44507 w 44507"/>
                  <a:gd name="connsiteY2" fmla="*/ 474744 h 474743"/>
                  <a:gd name="connsiteX3" fmla="*/ 0 w 44507"/>
                  <a:gd name="connsiteY3" fmla="*/ 474744 h 47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507" h="474743">
                    <a:moveTo>
                      <a:pt x="0" y="0"/>
                    </a:moveTo>
                    <a:lnTo>
                      <a:pt x="44507" y="0"/>
                    </a:lnTo>
                    <a:lnTo>
                      <a:pt x="44507" y="474744"/>
                    </a:lnTo>
                    <a:lnTo>
                      <a:pt x="0" y="474744"/>
                    </a:lnTo>
                    <a:close/>
                  </a:path>
                </a:pathLst>
              </a:custGeom>
              <a:solidFill>
                <a:srgbClr val="38333D"/>
              </a:solidFill>
              <a:ln w="2966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5D25C2C2-173C-4CCC-AAEC-8086A08BD5FA}"/>
                  </a:ext>
                </a:extLst>
              </p:cNvPr>
              <p:cNvSpPr/>
              <p:nvPr/>
            </p:nvSpPr>
            <p:spPr>
              <a:xfrm>
                <a:off x="2704646" y="6322702"/>
                <a:ext cx="173406" cy="105164"/>
              </a:xfrm>
              <a:custGeom>
                <a:avLst/>
                <a:gdLst>
                  <a:gd name="connsiteX0" fmla="*/ 167473 w 173406"/>
                  <a:gd name="connsiteY0" fmla="*/ 105165 h 105164"/>
                  <a:gd name="connsiteX1" fmla="*/ 167473 w 173406"/>
                  <a:gd name="connsiteY1" fmla="*/ 105165 h 105164"/>
                  <a:gd name="connsiteX2" fmla="*/ 1319 w 173406"/>
                  <a:gd name="connsiteY2" fmla="*/ 10220 h 105164"/>
                  <a:gd name="connsiteX3" fmla="*/ 1319 w 173406"/>
                  <a:gd name="connsiteY3" fmla="*/ 1319 h 105164"/>
                  <a:gd name="connsiteX4" fmla="*/ 10220 w 173406"/>
                  <a:gd name="connsiteY4" fmla="*/ 1319 h 105164"/>
                  <a:gd name="connsiteX5" fmla="*/ 167473 w 173406"/>
                  <a:gd name="connsiteY5" fmla="*/ 90330 h 105164"/>
                  <a:gd name="connsiteX6" fmla="*/ 173407 w 173406"/>
                  <a:gd name="connsiteY6" fmla="*/ 96264 h 105164"/>
                  <a:gd name="connsiteX7" fmla="*/ 167473 w 173406"/>
                  <a:gd name="connsiteY7" fmla="*/ 105165 h 105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3406" h="105164">
                    <a:moveTo>
                      <a:pt x="167473" y="105165"/>
                    </a:moveTo>
                    <a:cubicBezTo>
                      <a:pt x="167473" y="105165"/>
                      <a:pt x="167473" y="105165"/>
                      <a:pt x="167473" y="105165"/>
                    </a:cubicBezTo>
                    <a:cubicBezTo>
                      <a:pt x="72527" y="102198"/>
                      <a:pt x="4286" y="13187"/>
                      <a:pt x="1319" y="10220"/>
                    </a:cubicBezTo>
                    <a:cubicBezTo>
                      <a:pt x="-1648" y="7253"/>
                      <a:pt x="1319" y="4286"/>
                      <a:pt x="1319" y="1319"/>
                    </a:cubicBezTo>
                    <a:cubicBezTo>
                      <a:pt x="4286" y="-1648"/>
                      <a:pt x="7253" y="1319"/>
                      <a:pt x="10220" y="1319"/>
                    </a:cubicBezTo>
                    <a:cubicBezTo>
                      <a:pt x="10220" y="1319"/>
                      <a:pt x="78462" y="87363"/>
                      <a:pt x="167473" y="90330"/>
                    </a:cubicBezTo>
                    <a:cubicBezTo>
                      <a:pt x="170440" y="90330"/>
                      <a:pt x="173407" y="93297"/>
                      <a:pt x="173407" y="96264"/>
                    </a:cubicBezTo>
                    <a:cubicBezTo>
                      <a:pt x="173407" y="105165"/>
                      <a:pt x="170440" y="105165"/>
                      <a:pt x="167473" y="10516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3E47379F-0124-4AA3-B122-B07B829878D8}"/>
                  </a:ext>
                </a:extLst>
              </p:cNvPr>
              <p:cNvSpPr/>
              <p:nvPr/>
            </p:nvSpPr>
            <p:spPr>
              <a:xfrm>
                <a:off x="2839481" y="6460505"/>
                <a:ext cx="47472" cy="11867"/>
              </a:xfrm>
              <a:custGeom>
                <a:avLst/>
                <a:gdLst>
                  <a:gd name="connsiteX0" fmla="*/ 5934 w 47472"/>
                  <a:gd name="connsiteY0" fmla="*/ 11868 h 11867"/>
                  <a:gd name="connsiteX1" fmla="*/ 0 w 47472"/>
                  <a:gd name="connsiteY1" fmla="*/ 5934 h 11867"/>
                  <a:gd name="connsiteX2" fmla="*/ 5934 w 47472"/>
                  <a:gd name="connsiteY2" fmla="*/ 0 h 11867"/>
                  <a:gd name="connsiteX3" fmla="*/ 41538 w 47472"/>
                  <a:gd name="connsiteY3" fmla="*/ 0 h 11867"/>
                  <a:gd name="connsiteX4" fmla="*/ 47473 w 47472"/>
                  <a:gd name="connsiteY4" fmla="*/ 5934 h 11867"/>
                  <a:gd name="connsiteX5" fmla="*/ 41538 w 47472"/>
                  <a:gd name="connsiteY5" fmla="*/ 11868 h 11867"/>
                  <a:gd name="connsiteX6" fmla="*/ 5934 w 47472"/>
                  <a:gd name="connsiteY6" fmla="*/ 11868 h 11867"/>
                  <a:gd name="connsiteX7" fmla="*/ 5934 w 47472"/>
                  <a:gd name="connsiteY7" fmla="*/ 11868 h 11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472" h="11867">
                    <a:moveTo>
                      <a:pt x="5934" y="11868"/>
                    </a:moveTo>
                    <a:cubicBezTo>
                      <a:pt x="2967" y="11868"/>
                      <a:pt x="0" y="8901"/>
                      <a:pt x="0" y="5934"/>
                    </a:cubicBezTo>
                    <a:cubicBezTo>
                      <a:pt x="0" y="2967"/>
                      <a:pt x="2967" y="0"/>
                      <a:pt x="5934" y="0"/>
                    </a:cubicBezTo>
                    <a:lnTo>
                      <a:pt x="41538" y="0"/>
                    </a:lnTo>
                    <a:cubicBezTo>
                      <a:pt x="44505" y="0"/>
                      <a:pt x="47473" y="2967"/>
                      <a:pt x="47473" y="5934"/>
                    </a:cubicBezTo>
                    <a:cubicBezTo>
                      <a:pt x="47473" y="8901"/>
                      <a:pt x="44505" y="11868"/>
                      <a:pt x="41538" y="11868"/>
                    </a:cubicBezTo>
                    <a:lnTo>
                      <a:pt x="5934" y="11868"/>
                    </a:lnTo>
                    <a:cubicBezTo>
                      <a:pt x="5934" y="11868"/>
                      <a:pt x="5934" y="11868"/>
                      <a:pt x="5934" y="118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AA46474B-2853-4E43-9382-E45AA97B7787}"/>
                  </a:ext>
                </a:extLst>
              </p:cNvPr>
              <p:cNvSpPr/>
              <p:nvPr/>
            </p:nvSpPr>
            <p:spPr>
              <a:xfrm>
                <a:off x="2848382" y="6505010"/>
                <a:ext cx="47472" cy="11867"/>
              </a:xfrm>
              <a:custGeom>
                <a:avLst/>
                <a:gdLst>
                  <a:gd name="connsiteX0" fmla="*/ 5934 w 47472"/>
                  <a:gd name="connsiteY0" fmla="*/ 11868 h 11867"/>
                  <a:gd name="connsiteX1" fmla="*/ 0 w 47472"/>
                  <a:gd name="connsiteY1" fmla="*/ 5934 h 11867"/>
                  <a:gd name="connsiteX2" fmla="*/ 5934 w 47472"/>
                  <a:gd name="connsiteY2" fmla="*/ 0 h 11867"/>
                  <a:gd name="connsiteX3" fmla="*/ 41538 w 47472"/>
                  <a:gd name="connsiteY3" fmla="*/ 0 h 11867"/>
                  <a:gd name="connsiteX4" fmla="*/ 47473 w 47472"/>
                  <a:gd name="connsiteY4" fmla="*/ 5934 h 11867"/>
                  <a:gd name="connsiteX5" fmla="*/ 41538 w 47472"/>
                  <a:gd name="connsiteY5" fmla="*/ 11868 h 11867"/>
                  <a:gd name="connsiteX6" fmla="*/ 5934 w 47472"/>
                  <a:gd name="connsiteY6" fmla="*/ 11868 h 11867"/>
                  <a:gd name="connsiteX7" fmla="*/ 5934 w 47472"/>
                  <a:gd name="connsiteY7" fmla="*/ 11868 h 11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472" h="11867">
                    <a:moveTo>
                      <a:pt x="5934" y="11868"/>
                    </a:moveTo>
                    <a:cubicBezTo>
                      <a:pt x="2967" y="11868"/>
                      <a:pt x="0" y="8901"/>
                      <a:pt x="0" y="5934"/>
                    </a:cubicBezTo>
                    <a:cubicBezTo>
                      <a:pt x="0" y="2967"/>
                      <a:pt x="2967" y="0"/>
                      <a:pt x="5934" y="0"/>
                    </a:cubicBezTo>
                    <a:lnTo>
                      <a:pt x="41538" y="0"/>
                    </a:lnTo>
                    <a:cubicBezTo>
                      <a:pt x="44505" y="0"/>
                      <a:pt x="47473" y="2967"/>
                      <a:pt x="47473" y="5934"/>
                    </a:cubicBezTo>
                    <a:cubicBezTo>
                      <a:pt x="47473" y="8901"/>
                      <a:pt x="44505" y="11868"/>
                      <a:pt x="41538" y="11868"/>
                    </a:cubicBezTo>
                    <a:lnTo>
                      <a:pt x="5934" y="11868"/>
                    </a:lnTo>
                    <a:cubicBezTo>
                      <a:pt x="5934" y="11868"/>
                      <a:pt x="5934" y="11868"/>
                      <a:pt x="5934" y="118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ABF1F6CB-D7E4-4B91-A5EF-20A600C9C5A7}"/>
                </a:ext>
              </a:extLst>
            </p:cNvPr>
            <p:cNvGrpSpPr/>
            <p:nvPr/>
          </p:nvGrpSpPr>
          <p:grpSpPr>
            <a:xfrm>
              <a:off x="3721679" y="6472373"/>
              <a:ext cx="482637" cy="335274"/>
              <a:chOff x="3721679" y="6472373"/>
              <a:chExt cx="482637" cy="335274"/>
            </a:xfrm>
          </p:grpSpPr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62FD04DA-C016-4EB7-99F0-B2B727ED2533}"/>
                  </a:ext>
                </a:extLst>
              </p:cNvPr>
              <p:cNvSpPr/>
              <p:nvPr/>
            </p:nvSpPr>
            <p:spPr>
              <a:xfrm>
                <a:off x="3738492" y="6472373"/>
                <a:ext cx="178021" cy="219560"/>
              </a:xfrm>
              <a:custGeom>
                <a:avLst/>
                <a:gdLst>
                  <a:gd name="connsiteX0" fmla="*/ 5934 w 178021"/>
                  <a:gd name="connsiteY0" fmla="*/ 180989 h 219560"/>
                  <a:gd name="connsiteX1" fmla="*/ 0 w 178021"/>
                  <a:gd name="connsiteY1" fmla="*/ 0 h 219560"/>
                  <a:gd name="connsiteX2" fmla="*/ 178022 w 178021"/>
                  <a:gd name="connsiteY2" fmla="*/ 0 h 219560"/>
                  <a:gd name="connsiteX3" fmla="*/ 163187 w 178021"/>
                  <a:gd name="connsiteY3" fmla="*/ 189890 h 219560"/>
                  <a:gd name="connsiteX4" fmla="*/ 17802 w 178021"/>
                  <a:gd name="connsiteY4" fmla="*/ 219560 h 21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8021" h="219560">
                    <a:moveTo>
                      <a:pt x="5934" y="180989"/>
                    </a:moveTo>
                    <a:lnTo>
                      <a:pt x="0" y="0"/>
                    </a:lnTo>
                    <a:lnTo>
                      <a:pt x="178022" y="0"/>
                    </a:lnTo>
                    <a:lnTo>
                      <a:pt x="163187" y="189890"/>
                    </a:lnTo>
                    <a:lnTo>
                      <a:pt x="17802" y="219560"/>
                    </a:ln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3D1BF4FF-F698-4721-ACBD-288CC48DB543}"/>
                  </a:ext>
                </a:extLst>
              </p:cNvPr>
              <p:cNvSpPr/>
              <p:nvPr/>
            </p:nvSpPr>
            <p:spPr>
              <a:xfrm>
                <a:off x="3721679" y="6608856"/>
                <a:ext cx="482637" cy="154285"/>
              </a:xfrm>
              <a:custGeom>
                <a:avLst/>
                <a:gdLst>
                  <a:gd name="connsiteX0" fmla="*/ 7912 w 482637"/>
                  <a:gd name="connsiteY0" fmla="*/ 44505 h 154285"/>
                  <a:gd name="connsiteX1" fmla="*/ 188901 w 482637"/>
                  <a:gd name="connsiteY1" fmla="*/ 0 h 154285"/>
                  <a:gd name="connsiteX2" fmla="*/ 319451 w 482637"/>
                  <a:gd name="connsiteY2" fmla="*/ 77143 h 154285"/>
                  <a:gd name="connsiteX3" fmla="*/ 482637 w 482637"/>
                  <a:gd name="connsiteY3" fmla="*/ 154286 h 154285"/>
                  <a:gd name="connsiteX4" fmla="*/ 7912 w 482637"/>
                  <a:gd name="connsiteY4" fmla="*/ 154286 h 154285"/>
                  <a:gd name="connsiteX5" fmla="*/ 7912 w 482637"/>
                  <a:gd name="connsiteY5" fmla="*/ 44505 h 154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2637" h="154285">
                    <a:moveTo>
                      <a:pt x="7912" y="44505"/>
                    </a:moveTo>
                    <a:cubicBezTo>
                      <a:pt x="7912" y="44505"/>
                      <a:pt x="129560" y="62307"/>
                      <a:pt x="188901" y="0"/>
                    </a:cubicBezTo>
                    <a:cubicBezTo>
                      <a:pt x="188901" y="0"/>
                      <a:pt x="274945" y="68241"/>
                      <a:pt x="319451" y="77143"/>
                    </a:cubicBezTo>
                    <a:cubicBezTo>
                      <a:pt x="363956" y="86044"/>
                      <a:pt x="470769" y="83077"/>
                      <a:pt x="482637" y="154286"/>
                    </a:cubicBezTo>
                    <a:lnTo>
                      <a:pt x="7912" y="154286"/>
                    </a:lnTo>
                    <a:cubicBezTo>
                      <a:pt x="7912" y="154286"/>
                      <a:pt x="-9890" y="94945"/>
                      <a:pt x="7912" y="44505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4077D64D-3193-4FB5-965C-71F04468AD20}"/>
                  </a:ext>
                </a:extLst>
              </p:cNvPr>
              <p:cNvSpPr/>
              <p:nvPr/>
            </p:nvSpPr>
            <p:spPr>
              <a:xfrm>
                <a:off x="3729591" y="6763142"/>
                <a:ext cx="474725" cy="44505"/>
              </a:xfrm>
              <a:custGeom>
                <a:avLst/>
                <a:gdLst>
                  <a:gd name="connsiteX0" fmla="*/ 0 w 474725"/>
                  <a:gd name="connsiteY0" fmla="*/ 0 h 44505"/>
                  <a:gd name="connsiteX1" fmla="*/ 474725 w 474725"/>
                  <a:gd name="connsiteY1" fmla="*/ 0 h 44505"/>
                  <a:gd name="connsiteX2" fmla="*/ 474725 w 474725"/>
                  <a:gd name="connsiteY2" fmla="*/ 44506 h 44505"/>
                  <a:gd name="connsiteX3" fmla="*/ 0 w 474725"/>
                  <a:gd name="connsiteY3" fmla="*/ 44506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725" h="44505">
                    <a:moveTo>
                      <a:pt x="0" y="0"/>
                    </a:moveTo>
                    <a:lnTo>
                      <a:pt x="474725" y="0"/>
                    </a:lnTo>
                    <a:lnTo>
                      <a:pt x="474725" y="44506"/>
                    </a:lnTo>
                    <a:lnTo>
                      <a:pt x="0" y="44506"/>
                    </a:lnTo>
                    <a:close/>
                  </a:path>
                </a:pathLst>
              </a:custGeom>
              <a:solidFill>
                <a:srgbClr val="38333D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674253F3-EA3C-47B8-B3E1-C93DA1EBA3A9}"/>
                  </a:ext>
                </a:extLst>
              </p:cNvPr>
              <p:cNvSpPr/>
              <p:nvPr/>
            </p:nvSpPr>
            <p:spPr>
              <a:xfrm>
                <a:off x="3723657" y="6600697"/>
                <a:ext cx="195082" cy="61565"/>
              </a:xfrm>
              <a:custGeom>
                <a:avLst/>
                <a:gdLst>
                  <a:gd name="connsiteX0" fmla="*/ 41538 w 195082"/>
                  <a:gd name="connsiteY0" fmla="*/ 61566 h 61565"/>
                  <a:gd name="connsiteX1" fmla="*/ 5934 w 195082"/>
                  <a:gd name="connsiteY1" fmla="*/ 58599 h 61565"/>
                  <a:gd name="connsiteX2" fmla="*/ 0 w 195082"/>
                  <a:gd name="connsiteY2" fmla="*/ 52665 h 61565"/>
                  <a:gd name="connsiteX3" fmla="*/ 5934 w 195082"/>
                  <a:gd name="connsiteY3" fmla="*/ 46731 h 61565"/>
                  <a:gd name="connsiteX4" fmla="*/ 183956 w 195082"/>
                  <a:gd name="connsiteY4" fmla="*/ 2225 h 61565"/>
                  <a:gd name="connsiteX5" fmla="*/ 192857 w 195082"/>
                  <a:gd name="connsiteY5" fmla="*/ 2225 h 61565"/>
                  <a:gd name="connsiteX6" fmla="*/ 192857 w 195082"/>
                  <a:gd name="connsiteY6" fmla="*/ 11126 h 61565"/>
                  <a:gd name="connsiteX7" fmla="*/ 41538 w 195082"/>
                  <a:gd name="connsiteY7" fmla="*/ 61566 h 61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082" h="61565">
                    <a:moveTo>
                      <a:pt x="41538" y="61566"/>
                    </a:moveTo>
                    <a:cubicBezTo>
                      <a:pt x="20769" y="61566"/>
                      <a:pt x="8901" y="58599"/>
                      <a:pt x="5934" y="58599"/>
                    </a:cubicBezTo>
                    <a:cubicBezTo>
                      <a:pt x="2967" y="58599"/>
                      <a:pt x="0" y="55632"/>
                      <a:pt x="0" y="52665"/>
                    </a:cubicBezTo>
                    <a:cubicBezTo>
                      <a:pt x="0" y="49698"/>
                      <a:pt x="2967" y="46731"/>
                      <a:pt x="5934" y="46731"/>
                    </a:cubicBezTo>
                    <a:cubicBezTo>
                      <a:pt x="5934" y="46731"/>
                      <a:pt x="115714" y="61566"/>
                      <a:pt x="183956" y="2225"/>
                    </a:cubicBezTo>
                    <a:cubicBezTo>
                      <a:pt x="186923" y="-742"/>
                      <a:pt x="189890" y="-742"/>
                      <a:pt x="192857" y="2225"/>
                    </a:cubicBezTo>
                    <a:cubicBezTo>
                      <a:pt x="195824" y="5192"/>
                      <a:pt x="195824" y="8159"/>
                      <a:pt x="192857" y="11126"/>
                    </a:cubicBezTo>
                    <a:cubicBezTo>
                      <a:pt x="145385" y="52665"/>
                      <a:pt x="80110" y="61566"/>
                      <a:pt x="41538" y="6156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53D7D60A-250B-440E-A64D-55AE84176515}"/>
                  </a:ext>
                </a:extLst>
              </p:cNvPr>
              <p:cNvSpPr/>
              <p:nvPr/>
            </p:nvSpPr>
            <p:spPr>
              <a:xfrm>
                <a:off x="3914289" y="6624433"/>
                <a:ext cx="40054" cy="40796"/>
              </a:xfrm>
              <a:custGeom>
                <a:avLst/>
                <a:gdLst>
                  <a:gd name="connsiteX0" fmla="*/ 5192 w 40054"/>
                  <a:gd name="connsiteY0" fmla="*/ 40797 h 40796"/>
                  <a:gd name="connsiteX1" fmla="*/ 2225 w 40054"/>
                  <a:gd name="connsiteY1" fmla="*/ 37829 h 40796"/>
                  <a:gd name="connsiteX2" fmla="*/ 2225 w 40054"/>
                  <a:gd name="connsiteY2" fmla="*/ 28929 h 40796"/>
                  <a:gd name="connsiteX3" fmla="*/ 28929 w 40054"/>
                  <a:gd name="connsiteY3" fmla="*/ 2225 h 40796"/>
                  <a:gd name="connsiteX4" fmla="*/ 37830 w 40054"/>
                  <a:gd name="connsiteY4" fmla="*/ 2225 h 40796"/>
                  <a:gd name="connsiteX5" fmla="*/ 37830 w 40054"/>
                  <a:gd name="connsiteY5" fmla="*/ 11126 h 40796"/>
                  <a:gd name="connsiteX6" fmla="*/ 11126 w 40054"/>
                  <a:gd name="connsiteY6" fmla="*/ 37829 h 40796"/>
                  <a:gd name="connsiteX7" fmla="*/ 5192 w 40054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4" h="40796">
                    <a:moveTo>
                      <a:pt x="5192" y="40797"/>
                    </a:moveTo>
                    <a:cubicBezTo>
                      <a:pt x="5192" y="40797"/>
                      <a:pt x="2225" y="40797"/>
                      <a:pt x="2225" y="37829"/>
                    </a:cubicBezTo>
                    <a:cubicBezTo>
                      <a:pt x="-742" y="34863"/>
                      <a:pt x="-742" y="31895"/>
                      <a:pt x="2225" y="28929"/>
                    </a:cubicBezTo>
                    <a:lnTo>
                      <a:pt x="28929" y="2225"/>
                    </a:lnTo>
                    <a:cubicBezTo>
                      <a:pt x="31896" y="-742"/>
                      <a:pt x="34863" y="-742"/>
                      <a:pt x="37830" y="2225"/>
                    </a:cubicBezTo>
                    <a:cubicBezTo>
                      <a:pt x="40797" y="5192"/>
                      <a:pt x="40797" y="8159"/>
                      <a:pt x="37830" y="11126"/>
                    </a:cubicBezTo>
                    <a:lnTo>
                      <a:pt x="11126" y="37829"/>
                    </a:lnTo>
                    <a:cubicBezTo>
                      <a:pt x="8159" y="40797"/>
                      <a:pt x="8159" y="40797"/>
                      <a:pt x="5192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457A51F5-68C0-46B4-91EF-3FAE3B20838A}"/>
                  </a:ext>
                </a:extLst>
              </p:cNvPr>
              <p:cNvSpPr/>
              <p:nvPr/>
            </p:nvSpPr>
            <p:spPr>
              <a:xfrm>
                <a:off x="3952860" y="6651136"/>
                <a:ext cx="37087" cy="40796"/>
              </a:xfrm>
              <a:custGeom>
                <a:avLst/>
                <a:gdLst>
                  <a:gd name="connsiteX0" fmla="*/ 5192 w 37087"/>
                  <a:gd name="connsiteY0" fmla="*/ 40796 h 40796"/>
                  <a:gd name="connsiteX1" fmla="*/ 2225 w 37087"/>
                  <a:gd name="connsiteY1" fmla="*/ 37830 h 40796"/>
                  <a:gd name="connsiteX2" fmla="*/ 2225 w 37087"/>
                  <a:gd name="connsiteY2" fmla="*/ 28929 h 40796"/>
                  <a:gd name="connsiteX3" fmla="*/ 25961 w 37087"/>
                  <a:gd name="connsiteY3" fmla="*/ 2225 h 40796"/>
                  <a:gd name="connsiteX4" fmla="*/ 34863 w 37087"/>
                  <a:gd name="connsiteY4" fmla="*/ 2225 h 40796"/>
                  <a:gd name="connsiteX5" fmla="*/ 34863 w 37087"/>
                  <a:gd name="connsiteY5" fmla="*/ 11126 h 40796"/>
                  <a:gd name="connsiteX6" fmla="*/ 11126 w 37087"/>
                  <a:gd name="connsiteY6" fmla="*/ 37830 h 40796"/>
                  <a:gd name="connsiteX7" fmla="*/ 5192 w 37087"/>
                  <a:gd name="connsiteY7" fmla="*/ 40796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87" h="40796">
                    <a:moveTo>
                      <a:pt x="5192" y="40796"/>
                    </a:moveTo>
                    <a:cubicBezTo>
                      <a:pt x="5192" y="40796"/>
                      <a:pt x="2225" y="40796"/>
                      <a:pt x="2225" y="37830"/>
                    </a:cubicBezTo>
                    <a:cubicBezTo>
                      <a:pt x="-742" y="34863"/>
                      <a:pt x="-742" y="31896"/>
                      <a:pt x="2225" y="28929"/>
                    </a:cubicBezTo>
                    <a:lnTo>
                      <a:pt x="25961" y="2225"/>
                    </a:lnTo>
                    <a:cubicBezTo>
                      <a:pt x="28929" y="-742"/>
                      <a:pt x="31896" y="-742"/>
                      <a:pt x="34863" y="2225"/>
                    </a:cubicBezTo>
                    <a:cubicBezTo>
                      <a:pt x="37830" y="5192"/>
                      <a:pt x="37830" y="8159"/>
                      <a:pt x="34863" y="11126"/>
                    </a:cubicBezTo>
                    <a:lnTo>
                      <a:pt x="11126" y="37830"/>
                    </a:lnTo>
                    <a:cubicBezTo>
                      <a:pt x="8159" y="40796"/>
                      <a:pt x="5192" y="40796"/>
                      <a:pt x="5192" y="407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C8B55653-88BC-4FF0-96DA-3545FEBC11F5}"/>
                </a:ext>
              </a:extLst>
            </p:cNvPr>
            <p:cNvSpPr/>
            <p:nvPr/>
          </p:nvSpPr>
          <p:spPr>
            <a:xfrm>
              <a:off x="2708932" y="4318307"/>
              <a:ext cx="1348849" cy="2234175"/>
            </a:xfrm>
            <a:custGeom>
              <a:avLst/>
              <a:gdLst>
                <a:gd name="connsiteX0" fmla="*/ 1341099 w 1348849"/>
                <a:gd name="connsiteY0" fmla="*/ 20769 h 2234175"/>
                <a:gd name="connsiteX1" fmla="*/ 1329231 w 1348849"/>
                <a:gd name="connsiteY1" fmla="*/ 1367802 h 2234175"/>
                <a:gd name="connsiteX2" fmla="*/ 1260989 w 1348849"/>
                <a:gd name="connsiteY2" fmla="*/ 2234176 h 2234175"/>
                <a:gd name="connsiteX3" fmla="*/ 973187 w 1348849"/>
                <a:gd name="connsiteY3" fmla="*/ 2234176 h 2234175"/>
                <a:gd name="connsiteX4" fmla="*/ 937582 w 1348849"/>
                <a:gd name="connsiteY4" fmla="*/ 1391539 h 2234175"/>
                <a:gd name="connsiteX5" fmla="*/ 857473 w 1348849"/>
                <a:gd name="connsiteY5" fmla="*/ 489560 h 2234175"/>
                <a:gd name="connsiteX6" fmla="*/ 818901 w 1348849"/>
                <a:gd name="connsiteY6" fmla="*/ 1373736 h 2234175"/>
                <a:gd name="connsiteX7" fmla="*/ 783297 w 1348849"/>
                <a:gd name="connsiteY7" fmla="*/ 1468681 h 2234175"/>
                <a:gd name="connsiteX8" fmla="*/ 278901 w 1348849"/>
                <a:gd name="connsiteY8" fmla="*/ 2121428 h 2234175"/>
                <a:gd name="connsiteX9" fmla="*/ 0 w 1348849"/>
                <a:gd name="connsiteY9" fmla="*/ 1887033 h 2234175"/>
                <a:gd name="connsiteX10" fmla="*/ 421319 w 1348849"/>
                <a:gd name="connsiteY10" fmla="*/ 1305494 h 2234175"/>
                <a:gd name="connsiteX11" fmla="*/ 344176 w 1348849"/>
                <a:gd name="connsiteY11" fmla="*/ 0 h 2234175"/>
                <a:gd name="connsiteX12" fmla="*/ 1341099 w 1348849"/>
                <a:gd name="connsiteY12" fmla="*/ 20769 h 223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8849" h="2234175">
                  <a:moveTo>
                    <a:pt x="1341099" y="20769"/>
                  </a:moveTo>
                  <a:cubicBezTo>
                    <a:pt x="1341099" y="20769"/>
                    <a:pt x="1364835" y="1065165"/>
                    <a:pt x="1329231" y="1367802"/>
                  </a:cubicBezTo>
                  <a:cubicBezTo>
                    <a:pt x="1299561" y="1631868"/>
                    <a:pt x="1260989" y="2234176"/>
                    <a:pt x="1260989" y="2234176"/>
                  </a:cubicBezTo>
                  <a:lnTo>
                    <a:pt x="973187" y="2234176"/>
                  </a:lnTo>
                  <a:cubicBezTo>
                    <a:pt x="973187" y="2234176"/>
                    <a:pt x="940550" y="1486484"/>
                    <a:pt x="937582" y="1391539"/>
                  </a:cubicBezTo>
                  <a:cubicBezTo>
                    <a:pt x="931648" y="1255055"/>
                    <a:pt x="872308" y="519231"/>
                    <a:pt x="857473" y="489560"/>
                  </a:cubicBezTo>
                  <a:cubicBezTo>
                    <a:pt x="845604" y="465824"/>
                    <a:pt x="824835" y="1171978"/>
                    <a:pt x="818901" y="1373736"/>
                  </a:cubicBezTo>
                  <a:cubicBezTo>
                    <a:pt x="818901" y="1409340"/>
                    <a:pt x="807033" y="1441978"/>
                    <a:pt x="783297" y="1468681"/>
                  </a:cubicBezTo>
                  <a:lnTo>
                    <a:pt x="278901" y="2121428"/>
                  </a:lnTo>
                  <a:lnTo>
                    <a:pt x="0" y="1887033"/>
                  </a:lnTo>
                  <a:lnTo>
                    <a:pt x="421319" y="1305494"/>
                  </a:lnTo>
                  <a:cubicBezTo>
                    <a:pt x="421319" y="1305494"/>
                    <a:pt x="302637" y="94945"/>
                    <a:pt x="344176" y="0"/>
                  </a:cubicBezTo>
                  <a:cubicBezTo>
                    <a:pt x="1026593" y="32637"/>
                    <a:pt x="1341099" y="20769"/>
                    <a:pt x="1341099" y="20769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2B2C1BF2-9C63-4789-9557-02BC4A7398F0}"/>
                </a:ext>
              </a:extLst>
            </p:cNvPr>
            <p:cNvSpPr/>
            <p:nvPr/>
          </p:nvSpPr>
          <p:spPr>
            <a:xfrm>
              <a:off x="3560470" y="4457757"/>
              <a:ext cx="68241" cy="356043"/>
            </a:xfrm>
            <a:custGeom>
              <a:avLst/>
              <a:gdLst>
                <a:gd name="connsiteX0" fmla="*/ 5934 w 68241"/>
                <a:gd name="connsiteY0" fmla="*/ 356044 h 356043"/>
                <a:gd name="connsiteX1" fmla="*/ 5934 w 68241"/>
                <a:gd name="connsiteY1" fmla="*/ 356044 h 356043"/>
                <a:gd name="connsiteX2" fmla="*/ 0 w 68241"/>
                <a:gd name="connsiteY2" fmla="*/ 347143 h 356043"/>
                <a:gd name="connsiteX3" fmla="*/ 56374 w 68241"/>
                <a:gd name="connsiteY3" fmla="*/ 5934 h 356043"/>
                <a:gd name="connsiteX4" fmla="*/ 62308 w 68241"/>
                <a:gd name="connsiteY4" fmla="*/ 0 h 356043"/>
                <a:gd name="connsiteX5" fmla="*/ 62308 w 68241"/>
                <a:gd name="connsiteY5" fmla="*/ 0 h 356043"/>
                <a:gd name="connsiteX6" fmla="*/ 68242 w 68241"/>
                <a:gd name="connsiteY6" fmla="*/ 5934 h 356043"/>
                <a:gd name="connsiteX7" fmla="*/ 11868 w 68241"/>
                <a:gd name="connsiteY7" fmla="*/ 350110 h 356043"/>
                <a:gd name="connsiteX8" fmla="*/ 5934 w 68241"/>
                <a:gd name="connsiteY8" fmla="*/ 356044 h 356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241" h="356043">
                  <a:moveTo>
                    <a:pt x="5934" y="356044"/>
                  </a:moveTo>
                  <a:cubicBezTo>
                    <a:pt x="5934" y="356044"/>
                    <a:pt x="5934" y="356044"/>
                    <a:pt x="5934" y="356044"/>
                  </a:cubicBezTo>
                  <a:cubicBezTo>
                    <a:pt x="0" y="353077"/>
                    <a:pt x="0" y="350110"/>
                    <a:pt x="0" y="347143"/>
                  </a:cubicBezTo>
                  <a:cubicBezTo>
                    <a:pt x="47472" y="237363"/>
                    <a:pt x="56374" y="8901"/>
                    <a:pt x="56374" y="5934"/>
                  </a:cubicBezTo>
                  <a:cubicBezTo>
                    <a:pt x="56374" y="2967"/>
                    <a:pt x="59341" y="0"/>
                    <a:pt x="62308" y="0"/>
                  </a:cubicBezTo>
                  <a:cubicBezTo>
                    <a:pt x="62308" y="0"/>
                    <a:pt x="62308" y="0"/>
                    <a:pt x="62308" y="0"/>
                  </a:cubicBezTo>
                  <a:cubicBezTo>
                    <a:pt x="65275" y="0"/>
                    <a:pt x="68242" y="2967"/>
                    <a:pt x="68242" y="5934"/>
                  </a:cubicBezTo>
                  <a:cubicBezTo>
                    <a:pt x="68242" y="14835"/>
                    <a:pt x="59341" y="237363"/>
                    <a:pt x="11868" y="350110"/>
                  </a:cubicBezTo>
                  <a:cubicBezTo>
                    <a:pt x="8901" y="356044"/>
                    <a:pt x="8901" y="356044"/>
                    <a:pt x="5934" y="356044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363FE8AE-1266-4D34-9847-3B686C259D3C}"/>
                </a:ext>
              </a:extLst>
            </p:cNvPr>
            <p:cNvSpPr/>
            <p:nvPr/>
          </p:nvSpPr>
          <p:spPr>
            <a:xfrm>
              <a:off x="3588911" y="4389516"/>
              <a:ext cx="152547" cy="347142"/>
            </a:xfrm>
            <a:custGeom>
              <a:avLst/>
              <a:gdLst>
                <a:gd name="connsiteX0" fmla="*/ 7163 w 152547"/>
                <a:gd name="connsiteY0" fmla="*/ 347143 h 347142"/>
                <a:gd name="connsiteX1" fmla="*/ 1229 w 152547"/>
                <a:gd name="connsiteY1" fmla="*/ 344176 h 347142"/>
                <a:gd name="connsiteX2" fmla="*/ 4196 w 152547"/>
                <a:gd name="connsiteY2" fmla="*/ 335275 h 347142"/>
                <a:gd name="connsiteX3" fmla="*/ 108042 w 152547"/>
                <a:gd name="connsiteY3" fmla="*/ 261099 h 347142"/>
                <a:gd name="connsiteX4" fmla="*/ 140680 w 152547"/>
                <a:gd name="connsiteY4" fmla="*/ 5934 h 347142"/>
                <a:gd name="connsiteX5" fmla="*/ 146614 w 152547"/>
                <a:gd name="connsiteY5" fmla="*/ 0 h 347142"/>
                <a:gd name="connsiteX6" fmla="*/ 152548 w 152547"/>
                <a:gd name="connsiteY6" fmla="*/ 5934 h 347142"/>
                <a:gd name="connsiteX7" fmla="*/ 119910 w 152547"/>
                <a:gd name="connsiteY7" fmla="*/ 267033 h 347142"/>
                <a:gd name="connsiteX8" fmla="*/ 13097 w 152547"/>
                <a:gd name="connsiteY8" fmla="*/ 344176 h 347142"/>
                <a:gd name="connsiteX9" fmla="*/ 7163 w 152547"/>
                <a:gd name="connsiteY9" fmla="*/ 347143 h 34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547" h="347142">
                  <a:moveTo>
                    <a:pt x="7163" y="347143"/>
                  </a:moveTo>
                  <a:cubicBezTo>
                    <a:pt x="4196" y="347143"/>
                    <a:pt x="4196" y="347143"/>
                    <a:pt x="1229" y="344176"/>
                  </a:cubicBezTo>
                  <a:cubicBezTo>
                    <a:pt x="-1738" y="341209"/>
                    <a:pt x="1229" y="338242"/>
                    <a:pt x="4196" y="335275"/>
                  </a:cubicBezTo>
                  <a:cubicBezTo>
                    <a:pt x="42767" y="311538"/>
                    <a:pt x="99141" y="270000"/>
                    <a:pt x="108042" y="261099"/>
                  </a:cubicBezTo>
                  <a:cubicBezTo>
                    <a:pt x="116943" y="249231"/>
                    <a:pt x="131778" y="97912"/>
                    <a:pt x="140680" y="5934"/>
                  </a:cubicBezTo>
                  <a:cubicBezTo>
                    <a:pt x="140680" y="2967"/>
                    <a:pt x="143647" y="0"/>
                    <a:pt x="146614" y="0"/>
                  </a:cubicBezTo>
                  <a:cubicBezTo>
                    <a:pt x="149581" y="0"/>
                    <a:pt x="152548" y="2967"/>
                    <a:pt x="152548" y="5934"/>
                  </a:cubicBezTo>
                  <a:cubicBezTo>
                    <a:pt x="149581" y="47472"/>
                    <a:pt x="128811" y="252198"/>
                    <a:pt x="119910" y="267033"/>
                  </a:cubicBezTo>
                  <a:cubicBezTo>
                    <a:pt x="108042" y="281868"/>
                    <a:pt x="21998" y="338242"/>
                    <a:pt x="13097" y="344176"/>
                  </a:cubicBezTo>
                  <a:cubicBezTo>
                    <a:pt x="7163" y="347143"/>
                    <a:pt x="7163" y="347143"/>
                    <a:pt x="7163" y="347143"/>
                  </a:cubicBezTo>
                  <a:close/>
                </a:path>
              </a:pathLst>
            </a:custGeom>
            <a:solidFill>
              <a:srgbClr val="6C5D6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3421506C-7323-4A21-9DD5-1E94A01BF6F9}"/>
                </a:ext>
              </a:extLst>
            </p:cNvPr>
            <p:cNvSpPr/>
            <p:nvPr/>
          </p:nvSpPr>
          <p:spPr>
            <a:xfrm>
              <a:off x="3927522" y="3206807"/>
              <a:ext cx="810859" cy="755296"/>
            </a:xfrm>
            <a:custGeom>
              <a:avLst/>
              <a:gdLst>
                <a:gd name="connsiteX0" fmla="*/ 21629 w 810859"/>
                <a:gd name="connsiteY0" fmla="*/ 274796 h 755296"/>
                <a:gd name="connsiteX1" fmla="*/ 95805 w 810859"/>
                <a:gd name="connsiteY1" fmla="*/ 1829 h 755296"/>
                <a:gd name="connsiteX2" fmla="*/ 339102 w 810859"/>
                <a:gd name="connsiteY2" fmla="*/ 280730 h 755296"/>
                <a:gd name="connsiteX3" fmla="*/ 484486 w 810859"/>
                <a:gd name="connsiteY3" fmla="*/ 571499 h 755296"/>
                <a:gd name="connsiteX4" fmla="*/ 810860 w 810859"/>
                <a:gd name="connsiteY4" fmla="*/ 503257 h 755296"/>
                <a:gd name="connsiteX5" fmla="*/ 787123 w 810859"/>
                <a:gd name="connsiteY5" fmla="*/ 713917 h 755296"/>
                <a:gd name="connsiteX6" fmla="*/ 247124 w 810859"/>
                <a:gd name="connsiteY6" fmla="*/ 734686 h 755296"/>
                <a:gd name="connsiteX7" fmla="*/ 21629 w 810859"/>
                <a:gd name="connsiteY7" fmla="*/ 274796 h 755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0859" h="755296">
                  <a:moveTo>
                    <a:pt x="21629" y="274796"/>
                  </a:moveTo>
                  <a:cubicBezTo>
                    <a:pt x="-31778" y="141279"/>
                    <a:pt x="21629" y="-18940"/>
                    <a:pt x="95805" y="1829"/>
                  </a:cubicBezTo>
                  <a:cubicBezTo>
                    <a:pt x="181849" y="25565"/>
                    <a:pt x="282728" y="117543"/>
                    <a:pt x="339102" y="280730"/>
                  </a:cubicBezTo>
                  <a:cubicBezTo>
                    <a:pt x="371739" y="375675"/>
                    <a:pt x="466684" y="574466"/>
                    <a:pt x="484486" y="571499"/>
                  </a:cubicBezTo>
                  <a:cubicBezTo>
                    <a:pt x="490420" y="571499"/>
                    <a:pt x="810860" y="503257"/>
                    <a:pt x="810860" y="503257"/>
                  </a:cubicBezTo>
                  <a:cubicBezTo>
                    <a:pt x="810860" y="562598"/>
                    <a:pt x="787123" y="713917"/>
                    <a:pt x="787123" y="713917"/>
                  </a:cubicBezTo>
                  <a:cubicBezTo>
                    <a:pt x="787123" y="713917"/>
                    <a:pt x="437014" y="791060"/>
                    <a:pt x="247124" y="734686"/>
                  </a:cubicBezTo>
                  <a:cubicBezTo>
                    <a:pt x="146244" y="707983"/>
                    <a:pt x="86904" y="440950"/>
                    <a:pt x="21629" y="274796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1777E644-8483-4FCD-9625-37A3A0CDD370}"/>
                </a:ext>
              </a:extLst>
            </p:cNvPr>
            <p:cNvSpPr/>
            <p:nvPr/>
          </p:nvSpPr>
          <p:spPr>
            <a:xfrm>
              <a:off x="3035305" y="4327208"/>
              <a:ext cx="142417" cy="234395"/>
            </a:xfrm>
            <a:custGeom>
              <a:avLst/>
              <a:gdLst>
                <a:gd name="connsiteX0" fmla="*/ 5934 w 142417"/>
                <a:gd name="connsiteY0" fmla="*/ 234396 h 234395"/>
                <a:gd name="connsiteX1" fmla="*/ 0 w 142417"/>
                <a:gd name="connsiteY1" fmla="*/ 228462 h 234395"/>
                <a:gd name="connsiteX2" fmla="*/ 5934 w 142417"/>
                <a:gd name="connsiteY2" fmla="*/ 222527 h 234395"/>
                <a:gd name="connsiteX3" fmla="*/ 118681 w 142417"/>
                <a:gd name="connsiteY3" fmla="*/ 195824 h 234395"/>
                <a:gd name="connsiteX4" fmla="*/ 130549 w 142417"/>
                <a:gd name="connsiteY4" fmla="*/ 5934 h 234395"/>
                <a:gd name="connsiteX5" fmla="*/ 136484 w 142417"/>
                <a:gd name="connsiteY5" fmla="*/ 0 h 234395"/>
                <a:gd name="connsiteX6" fmla="*/ 142418 w 142417"/>
                <a:gd name="connsiteY6" fmla="*/ 5934 h 234395"/>
                <a:gd name="connsiteX7" fmla="*/ 127582 w 142417"/>
                <a:gd name="connsiteY7" fmla="*/ 198791 h 234395"/>
                <a:gd name="connsiteX8" fmla="*/ 5934 w 142417"/>
                <a:gd name="connsiteY8" fmla="*/ 234396 h 234395"/>
                <a:gd name="connsiteX9" fmla="*/ 5934 w 142417"/>
                <a:gd name="connsiteY9" fmla="*/ 234396 h 23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2417" h="234395">
                  <a:moveTo>
                    <a:pt x="5934" y="234396"/>
                  </a:moveTo>
                  <a:cubicBezTo>
                    <a:pt x="2967" y="234396"/>
                    <a:pt x="0" y="231429"/>
                    <a:pt x="0" y="228462"/>
                  </a:cubicBezTo>
                  <a:cubicBezTo>
                    <a:pt x="0" y="225495"/>
                    <a:pt x="2967" y="222527"/>
                    <a:pt x="5934" y="222527"/>
                  </a:cubicBezTo>
                  <a:cubicBezTo>
                    <a:pt x="56374" y="216594"/>
                    <a:pt x="115714" y="204725"/>
                    <a:pt x="118681" y="195824"/>
                  </a:cubicBezTo>
                  <a:cubicBezTo>
                    <a:pt x="124615" y="183956"/>
                    <a:pt x="130549" y="74176"/>
                    <a:pt x="130549" y="5934"/>
                  </a:cubicBezTo>
                  <a:cubicBezTo>
                    <a:pt x="130549" y="2967"/>
                    <a:pt x="133516" y="0"/>
                    <a:pt x="136484" y="0"/>
                  </a:cubicBezTo>
                  <a:cubicBezTo>
                    <a:pt x="139451" y="0"/>
                    <a:pt x="142418" y="2967"/>
                    <a:pt x="142418" y="5934"/>
                  </a:cubicBezTo>
                  <a:cubicBezTo>
                    <a:pt x="142418" y="23736"/>
                    <a:pt x="139451" y="180989"/>
                    <a:pt x="127582" y="198791"/>
                  </a:cubicBezTo>
                  <a:cubicBezTo>
                    <a:pt x="118681" y="219560"/>
                    <a:pt x="32637" y="231429"/>
                    <a:pt x="5934" y="234396"/>
                  </a:cubicBezTo>
                  <a:cubicBezTo>
                    <a:pt x="5934" y="234396"/>
                    <a:pt x="5934" y="234396"/>
                    <a:pt x="5934" y="234396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55DF37C0-77AE-4C86-BE0A-4395E555EB38}"/>
                </a:ext>
              </a:extLst>
            </p:cNvPr>
            <p:cNvSpPr/>
            <p:nvPr/>
          </p:nvSpPr>
          <p:spPr>
            <a:xfrm>
              <a:off x="3961020" y="4342043"/>
              <a:ext cx="89010" cy="201758"/>
            </a:xfrm>
            <a:custGeom>
              <a:avLst/>
              <a:gdLst>
                <a:gd name="connsiteX0" fmla="*/ 77143 w 89010"/>
                <a:gd name="connsiteY0" fmla="*/ 198791 h 201758"/>
                <a:gd name="connsiteX1" fmla="*/ 20769 w 89010"/>
                <a:gd name="connsiteY1" fmla="*/ 175055 h 201758"/>
                <a:gd name="connsiteX2" fmla="*/ 0 w 89010"/>
                <a:gd name="connsiteY2" fmla="*/ 5934 h 201758"/>
                <a:gd name="connsiteX3" fmla="*/ 5934 w 89010"/>
                <a:gd name="connsiteY3" fmla="*/ 0 h 201758"/>
                <a:gd name="connsiteX4" fmla="*/ 5934 w 89010"/>
                <a:gd name="connsiteY4" fmla="*/ 0 h 201758"/>
                <a:gd name="connsiteX5" fmla="*/ 11868 w 89010"/>
                <a:gd name="connsiteY5" fmla="*/ 5934 h 201758"/>
                <a:gd name="connsiteX6" fmla="*/ 29670 w 89010"/>
                <a:gd name="connsiteY6" fmla="*/ 172088 h 201758"/>
                <a:gd name="connsiteX7" fmla="*/ 83077 w 89010"/>
                <a:gd name="connsiteY7" fmla="*/ 189890 h 201758"/>
                <a:gd name="connsiteX8" fmla="*/ 89011 w 89010"/>
                <a:gd name="connsiteY8" fmla="*/ 195824 h 201758"/>
                <a:gd name="connsiteX9" fmla="*/ 83077 w 89010"/>
                <a:gd name="connsiteY9" fmla="*/ 201758 h 201758"/>
                <a:gd name="connsiteX10" fmla="*/ 77143 w 89010"/>
                <a:gd name="connsiteY10" fmla="*/ 198791 h 20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010" h="201758">
                  <a:moveTo>
                    <a:pt x="77143" y="198791"/>
                  </a:moveTo>
                  <a:cubicBezTo>
                    <a:pt x="62308" y="198791"/>
                    <a:pt x="32637" y="195824"/>
                    <a:pt x="20769" y="175055"/>
                  </a:cubicBezTo>
                  <a:cubicBezTo>
                    <a:pt x="5934" y="148352"/>
                    <a:pt x="0" y="20769"/>
                    <a:pt x="0" y="5934"/>
                  </a:cubicBezTo>
                  <a:cubicBezTo>
                    <a:pt x="0" y="2967"/>
                    <a:pt x="2967" y="0"/>
                    <a:pt x="5934" y="0"/>
                  </a:cubicBezTo>
                  <a:cubicBezTo>
                    <a:pt x="5934" y="0"/>
                    <a:pt x="5934" y="0"/>
                    <a:pt x="5934" y="0"/>
                  </a:cubicBezTo>
                  <a:cubicBezTo>
                    <a:pt x="8901" y="0"/>
                    <a:pt x="11868" y="2967"/>
                    <a:pt x="11868" y="5934"/>
                  </a:cubicBezTo>
                  <a:cubicBezTo>
                    <a:pt x="14835" y="44505"/>
                    <a:pt x="20769" y="151319"/>
                    <a:pt x="29670" y="172088"/>
                  </a:cubicBezTo>
                  <a:cubicBezTo>
                    <a:pt x="41538" y="192857"/>
                    <a:pt x="80110" y="189890"/>
                    <a:pt x="83077" y="189890"/>
                  </a:cubicBezTo>
                  <a:cubicBezTo>
                    <a:pt x="86044" y="189890"/>
                    <a:pt x="89011" y="192857"/>
                    <a:pt x="89011" y="195824"/>
                  </a:cubicBezTo>
                  <a:cubicBezTo>
                    <a:pt x="89011" y="198791"/>
                    <a:pt x="86044" y="201758"/>
                    <a:pt x="83077" y="201758"/>
                  </a:cubicBezTo>
                  <a:cubicBezTo>
                    <a:pt x="83077" y="198791"/>
                    <a:pt x="80110" y="198791"/>
                    <a:pt x="77143" y="198791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A755011-C555-4BB0-90D6-35E7D64DFECF}"/>
                </a:ext>
              </a:extLst>
            </p:cNvPr>
            <p:cNvSpPr/>
            <p:nvPr/>
          </p:nvSpPr>
          <p:spPr>
            <a:xfrm>
              <a:off x="3432888" y="2692373"/>
              <a:ext cx="243296" cy="251317"/>
            </a:xfrm>
            <a:custGeom>
              <a:avLst/>
              <a:gdLst>
                <a:gd name="connsiteX0" fmla="*/ 243297 w 243296"/>
                <a:gd name="connsiteY0" fmla="*/ 38572 h 251317"/>
                <a:gd name="connsiteX1" fmla="*/ 237363 w 243296"/>
                <a:gd name="connsiteY1" fmla="*/ 207692 h 251317"/>
                <a:gd name="connsiteX2" fmla="*/ 0 w 243296"/>
                <a:gd name="connsiteY2" fmla="*/ 198791 h 251317"/>
                <a:gd name="connsiteX3" fmla="*/ 14835 w 243296"/>
                <a:gd name="connsiteY3" fmla="*/ 0 h 251317"/>
                <a:gd name="connsiteX4" fmla="*/ 243297 w 243296"/>
                <a:gd name="connsiteY4" fmla="*/ 38572 h 251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296" h="251317">
                  <a:moveTo>
                    <a:pt x="243297" y="38572"/>
                  </a:moveTo>
                  <a:cubicBezTo>
                    <a:pt x="243297" y="38572"/>
                    <a:pt x="237363" y="136484"/>
                    <a:pt x="237363" y="207692"/>
                  </a:cubicBezTo>
                  <a:cubicBezTo>
                    <a:pt x="237363" y="207692"/>
                    <a:pt x="145385" y="311538"/>
                    <a:pt x="0" y="198791"/>
                  </a:cubicBezTo>
                  <a:cubicBezTo>
                    <a:pt x="0" y="139451"/>
                    <a:pt x="11868" y="62308"/>
                    <a:pt x="14835" y="0"/>
                  </a:cubicBezTo>
                  <a:cubicBezTo>
                    <a:pt x="11868" y="0"/>
                    <a:pt x="192857" y="50440"/>
                    <a:pt x="243297" y="38572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98E433DE-1C7C-4CC9-AC0B-2723311134D4}"/>
                </a:ext>
              </a:extLst>
            </p:cNvPr>
            <p:cNvSpPr/>
            <p:nvPr/>
          </p:nvSpPr>
          <p:spPr>
            <a:xfrm>
              <a:off x="3029371" y="2849625"/>
              <a:ext cx="1042224" cy="1524875"/>
            </a:xfrm>
            <a:custGeom>
              <a:avLst/>
              <a:gdLst>
                <a:gd name="connsiteX0" fmla="*/ 385714 w 1042224"/>
                <a:gd name="connsiteY0" fmla="*/ 0 h 1524875"/>
                <a:gd name="connsiteX1" fmla="*/ 667582 w 1042224"/>
                <a:gd name="connsiteY1" fmla="*/ 0 h 1524875"/>
                <a:gd name="connsiteX2" fmla="*/ 958352 w 1042224"/>
                <a:gd name="connsiteY2" fmla="*/ 127582 h 1524875"/>
                <a:gd name="connsiteX3" fmla="*/ 1041429 w 1042224"/>
                <a:gd name="connsiteY3" fmla="*/ 1495385 h 1524875"/>
                <a:gd name="connsiteX4" fmla="*/ 0 w 1042224"/>
                <a:gd name="connsiteY4" fmla="*/ 1471648 h 1524875"/>
                <a:gd name="connsiteX5" fmla="*/ 112747 w 1042224"/>
                <a:gd name="connsiteY5" fmla="*/ 100879 h 1524875"/>
                <a:gd name="connsiteX6" fmla="*/ 385714 w 1042224"/>
                <a:gd name="connsiteY6" fmla="*/ 0 h 152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2224" h="1524875">
                  <a:moveTo>
                    <a:pt x="385714" y="0"/>
                  </a:moveTo>
                  <a:cubicBezTo>
                    <a:pt x="385714" y="0"/>
                    <a:pt x="554835" y="53407"/>
                    <a:pt x="667582" y="0"/>
                  </a:cubicBezTo>
                  <a:cubicBezTo>
                    <a:pt x="667582" y="0"/>
                    <a:pt x="934615" y="94945"/>
                    <a:pt x="958352" y="127582"/>
                  </a:cubicBezTo>
                  <a:cubicBezTo>
                    <a:pt x="982088" y="157253"/>
                    <a:pt x="1050330" y="1430110"/>
                    <a:pt x="1041429" y="1495385"/>
                  </a:cubicBezTo>
                  <a:cubicBezTo>
                    <a:pt x="1041429" y="1495385"/>
                    <a:pt x="563736" y="1575495"/>
                    <a:pt x="0" y="1471648"/>
                  </a:cubicBezTo>
                  <a:cubicBezTo>
                    <a:pt x="0" y="1124506"/>
                    <a:pt x="71209" y="130549"/>
                    <a:pt x="112747" y="100879"/>
                  </a:cubicBezTo>
                  <a:cubicBezTo>
                    <a:pt x="154286" y="71209"/>
                    <a:pt x="385714" y="0"/>
                    <a:pt x="385714" y="0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9105751D-1E74-426A-9D4D-F391CEEED5A0}"/>
                </a:ext>
              </a:extLst>
            </p:cNvPr>
            <p:cNvSpPr/>
            <p:nvPr/>
          </p:nvSpPr>
          <p:spPr>
            <a:xfrm>
              <a:off x="3834040" y="2937114"/>
              <a:ext cx="438518" cy="594929"/>
            </a:xfrm>
            <a:custGeom>
              <a:avLst/>
              <a:gdLst>
                <a:gd name="connsiteX0" fmla="*/ 61705 w 438518"/>
                <a:gd name="connsiteY0" fmla="*/ 594929 h 594929"/>
                <a:gd name="connsiteX1" fmla="*/ 49837 w 438518"/>
                <a:gd name="connsiteY1" fmla="*/ 10424 h 594929"/>
                <a:gd name="connsiteX2" fmla="*/ 438518 w 438518"/>
                <a:gd name="connsiteY2" fmla="*/ 431742 h 594929"/>
                <a:gd name="connsiteX3" fmla="*/ 61705 w 438518"/>
                <a:gd name="connsiteY3" fmla="*/ 594929 h 594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518" h="594929">
                  <a:moveTo>
                    <a:pt x="61705" y="594929"/>
                  </a:moveTo>
                  <a:cubicBezTo>
                    <a:pt x="61705" y="594929"/>
                    <a:pt x="-68844" y="87566"/>
                    <a:pt x="49837" y="10424"/>
                  </a:cubicBezTo>
                  <a:cubicBezTo>
                    <a:pt x="189287" y="-78587"/>
                    <a:pt x="438518" y="431742"/>
                    <a:pt x="438518" y="431742"/>
                  </a:cubicBezTo>
                  <a:cubicBezTo>
                    <a:pt x="438518" y="431742"/>
                    <a:pt x="269397" y="577127"/>
                    <a:pt x="61705" y="594929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0DA2879-2567-495B-AFF9-38EC9E4E3DFF}"/>
                </a:ext>
              </a:extLst>
            </p:cNvPr>
            <p:cNvSpPr/>
            <p:nvPr/>
          </p:nvSpPr>
          <p:spPr>
            <a:xfrm>
              <a:off x="3981789" y="2971274"/>
              <a:ext cx="51668" cy="537032"/>
            </a:xfrm>
            <a:custGeom>
              <a:avLst/>
              <a:gdLst>
                <a:gd name="connsiteX0" fmla="*/ 47472 w 51668"/>
                <a:gd name="connsiteY0" fmla="*/ 537033 h 537032"/>
                <a:gd name="connsiteX1" fmla="*/ 41538 w 51668"/>
                <a:gd name="connsiteY1" fmla="*/ 531099 h 537032"/>
                <a:gd name="connsiteX2" fmla="*/ 0 w 51668"/>
                <a:gd name="connsiteY2" fmla="*/ 5934 h 537032"/>
                <a:gd name="connsiteX3" fmla="*/ 2967 w 51668"/>
                <a:gd name="connsiteY3" fmla="*/ 0 h 537032"/>
                <a:gd name="connsiteX4" fmla="*/ 8901 w 51668"/>
                <a:gd name="connsiteY4" fmla="*/ 2967 h 537032"/>
                <a:gd name="connsiteX5" fmla="*/ 50439 w 51668"/>
                <a:gd name="connsiteY5" fmla="*/ 531099 h 537032"/>
                <a:gd name="connsiteX6" fmla="*/ 47472 w 51668"/>
                <a:gd name="connsiteY6" fmla="*/ 537033 h 537032"/>
                <a:gd name="connsiteX7" fmla="*/ 47472 w 51668"/>
                <a:gd name="connsiteY7" fmla="*/ 537033 h 537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68" h="537032">
                  <a:moveTo>
                    <a:pt x="47472" y="537033"/>
                  </a:moveTo>
                  <a:cubicBezTo>
                    <a:pt x="44505" y="537033"/>
                    <a:pt x="41538" y="534066"/>
                    <a:pt x="41538" y="531099"/>
                  </a:cubicBezTo>
                  <a:cubicBezTo>
                    <a:pt x="41538" y="525165"/>
                    <a:pt x="5934" y="44505"/>
                    <a:pt x="0" y="5934"/>
                  </a:cubicBezTo>
                  <a:cubicBezTo>
                    <a:pt x="0" y="2967"/>
                    <a:pt x="0" y="0"/>
                    <a:pt x="2967" y="0"/>
                  </a:cubicBezTo>
                  <a:cubicBezTo>
                    <a:pt x="5934" y="0"/>
                    <a:pt x="8901" y="0"/>
                    <a:pt x="8901" y="2967"/>
                  </a:cubicBezTo>
                  <a:cubicBezTo>
                    <a:pt x="17802" y="41539"/>
                    <a:pt x="50439" y="510330"/>
                    <a:pt x="50439" y="531099"/>
                  </a:cubicBezTo>
                  <a:cubicBezTo>
                    <a:pt x="53407" y="534066"/>
                    <a:pt x="50439" y="537033"/>
                    <a:pt x="47472" y="537033"/>
                  </a:cubicBezTo>
                  <a:cubicBezTo>
                    <a:pt x="47472" y="537033"/>
                    <a:pt x="47472" y="537033"/>
                    <a:pt x="47472" y="537033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DC72563E-77F1-4272-AC3C-F0C9D52EEB6C}"/>
                </a:ext>
              </a:extLst>
            </p:cNvPr>
            <p:cNvSpPr/>
            <p:nvPr/>
          </p:nvSpPr>
          <p:spPr>
            <a:xfrm>
              <a:off x="3126054" y="5619605"/>
              <a:ext cx="130040" cy="33866"/>
            </a:xfrm>
            <a:custGeom>
              <a:avLst/>
              <a:gdLst>
                <a:gd name="connsiteX0" fmla="*/ 125844 w 130040"/>
                <a:gd name="connsiteY0" fmla="*/ 33866 h 33866"/>
                <a:gd name="connsiteX1" fmla="*/ 125844 w 130040"/>
                <a:gd name="connsiteY1" fmla="*/ 33866 h 33866"/>
                <a:gd name="connsiteX2" fmla="*/ 4196 w 130040"/>
                <a:gd name="connsiteY2" fmla="*/ 10130 h 33866"/>
                <a:gd name="connsiteX3" fmla="*/ 1229 w 130040"/>
                <a:gd name="connsiteY3" fmla="*/ 4196 h 33866"/>
                <a:gd name="connsiteX4" fmla="*/ 7163 w 130040"/>
                <a:gd name="connsiteY4" fmla="*/ 1229 h 33866"/>
                <a:gd name="connsiteX5" fmla="*/ 125844 w 130040"/>
                <a:gd name="connsiteY5" fmla="*/ 24965 h 33866"/>
                <a:gd name="connsiteX6" fmla="*/ 128811 w 130040"/>
                <a:gd name="connsiteY6" fmla="*/ 30899 h 33866"/>
                <a:gd name="connsiteX7" fmla="*/ 125844 w 130040"/>
                <a:gd name="connsiteY7" fmla="*/ 33866 h 33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0040" h="33866">
                  <a:moveTo>
                    <a:pt x="125844" y="33866"/>
                  </a:moveTo>
                  <a:cubicBezTo>
                    <a:pt x="125844" y="33866"/>
                    <a:pt x="125844" y="33866"/>
                    <a:pt x="125844" y="33866"/>
                  </a:cubicBezTo>
                  <a:lnTo>
                    <a:pt x="4196" y="10130"/>
                  </a:lnTo>
                  <a:cubicBezTo>
                    <a:pt x="1229" y="10130"/>
                    <a:pt x="-1738" y="7163"/>
                    <a:pt x="1229" y="4196"/>
                  </a:cubicBezTo>
                  <a:cubicBezTo>
                    <a:pt x="1229" y="1229"/>
                    <a:pt x="4196" y="-1738"/>
                    <a:pt x="7163" y="1229"/>
                  </a:cubicBezTo>
                  <a:lnTo>
                    <a:pt x="125844" y="24965"/>
                  </a:lnTo>
                  <a:cubicBezTo>
                    <a:pt x="128811" y="24965"/>
                    <a:pt x="131778" y="27932"/>
                    <a:pt x="128811" y="30899"/>
                  </a:cubicBezTo>
                  <a:cubicBezTo>
                    <a:pt x="131778" y="33866"/>
                    <a:pt x="128811" y="33866"/>
                    <a:pt x="125844" y="33866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9A187675-760E-4F20-9FF7-6017815AF018}"/>
                </a:ext>
              </a:extLst>
            </p:cNvPr>
            <p:cNvSpPr/>
            <p:nvPr/>
          </p:nvSpPr>
          <p:spPr>
            <a:xfrm>
              <a:off x="3373547" y="2564790"/>
              <a:ext cx="68241" cy="133516"/>
            </a:xfrm>
            <a:custGeom>
              <a:avLst/>
              <a:gdLst>
                <a:gd name="connsiteX0" fmla="*/ 0 w 68241"/>
                <a:gd name="connsiteY0" fmla="*/ 0 h 133516"/>
                <a:gd name="connsiteX1" fmla="*/ 65275 w 68241"/>
                <a:gd name="connsiteY1" fmla="*/ 133516 h 133516"/>
                <a:gd name="connsiteX2" fmla="*/ 68242 w 68241"/>
                <a:gd name="connsiteY2" fmla="*/ 50440 h 133516"/>
                <a:gd name="connsiteX3" fmla="*/ 0 w 68241"/>
                <a:gd name="connsiteY3" fmla="*/ 0 h 13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241" h="133516">
                  <a:moveTo>
                    <a:pt x="0" y="0"/>
                  </a:moveTo>
                  <a:cubicBezTo>
                    <a:pt x="0" y="0"/>
                    <a:pt x="14835" y="115714"/>
                    <a:pt x="65275" y="133516"/>
                  </a:cubicBezTo>
                  <a:lnTo>
                    <a:pt x="68242" y="504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93DFCA25-C03C-40B2-B5B2-2A3B163EEE4A}"/>
                </a:ext>
              </a:extLst>
            </p:cNvPr>
            <p:cNvSpPr/>
            <p:nvPr/>
          </p:nvSpPr>
          <p:spPr>
            <a:xfrm>
              <a:off x="3720250" y="2360065"/>
              <a:ext cx="99882" cy="231441"/>
            </a:xfrm>
            <a:custGeom>
              <a:avLst/>
              <a:gdLst>
                <a:gd name="connsiteX0" fmla="*/ 92418 w 99882"/>
                <a:gd name="connsiteY0" fmla="*/ 0 h 231441"/>
                <a:gd name="connsiteX1" fmla="*/ 53846 w 99882"/>
                <a:gd name="connsiteY1" fmla="*/ 228462 h 231441"/>
                <a:gd name="connsiteX2" fmla="*/ 440 w 99882"/>
                <a:gd name="connsiteY2" fmla="*/ 14835 h 231441"/>
                <a:gd name="connsiteX3" fmla="*/ 92418 w 99882"/>
                <a:gd name="connsiteY3" fmla="*/ 0 h 231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882" h="231441">
                  <a:moveTo>
                    <a:pt x="92418" y="0"/>
                  </a:moveTo>
                  <a:cubicBezTo>
                    <a:pt x="92418" y="0"/>
                    <a:pt x="125055" y="189890"/>
                    <a:pt x="53846" y="228462"/>
                  </a:cubicBezTo>
                  <a:cubicBezTo>
                    <a:pt x="-8462" y="261099"/>
                    <a:pt x="440" y="14835"/>
                    <a:pt x="440" y="14835"/>
                  </a:cubicBezTo>
                  <a:lnTo>
                    <a:pt x="92418" y="0"/>
                  </a:lnTo>
                  <a:close/>
                </a:path>
              </a:pathLst>
            </a:custGeom>
            <a:solidFill>
              <a:srgbClr val="D3977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C23E7002-D59F-4BFF-94C3-B0401E0041AD}"/>
                </a:ext>
              </a:extLst>
            </p:cNvPr>
            <p:cNvSpPr/>
            <p:nvPr/>
          </p:nvSpPr>
          <p:spPr>
            <a:xfrm>
              <a:off x="3373547" y="2228188"/>
              <a:ext cx="412036" cy="553783"/>
            </a:xfrm>
            <a:custGeom>
              <a:avLst/>
              <a:gdLst>
                <a:gd name="connsiteX0" fmla="*/ 400550 w 412036"/>
                <a:gd name="connsiteY0" fmla="*/ 176383 h 553783"/>
                <a:gd name="connsiteX1" fmla="*/ 403517 w 412036"/>
                <a:gd name="connsiteY1" fmla="*/ 419679 h 553783"/>
                <a:gd name="connsiteX2" fmla="*/ 249231 w 412036"/>
                <a:gd name="connsiteY2" fmla="*/ 553196 h 553783"/>
                <a:gd name="connsiteX3" fmla="*/ 38571 w 412036"/>
                <a:gd name="connsiteY3" fmla="*/ 416712 h 553783"/>
                <a:gd name="connsiteX4" fmla="*/ 0 w 412036"/>
                <a:gd name="connsiteY4" fmla="*/ 197152 h 553783"/>
                <a:gd name="connsiteX5" fmla="*/ 204725 w 412036"/>
                <a:gd name="connsiteY5" fmla="*/ 1328 h 553783"/>
                <a:gd name="connsiteX6" fmla="*/ 400550 w 412036"/>
                <a:gd name="connsiteY6" fmla="*/ 176383 h 553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036" h="553783">
                  <a:moveTo>
                    <a:pt x="400550" y="176383"/>
                  </a:moveTo>
                  <a:cubicBezTo>
                    <a:pt x="400550" y="176383"/>
                    <a:pt x="424286" y="348471"/>
                    <a:pt x="403517" y="419679"/>
                  </a:cubicBezTo>
                  <a:cubicBezTo>
                    <a:pt x="385714" y="484954"/>
                    <a:pt x="299670" y="547262"/>
                    <a:pt x="249231" y="553196"/>
                  </a:cubicBezTo>
                  <a:cubicBezTo>
                    <a:pt x="183956" y="559130"/>
                    <a:pt x="68242" y="520559"/>
                    <a:pt x="38571" y="416712"/>
                  </a:cubicBezTo>
                  <a:cubicBezTo>
                    <a:pt x="17802" y="345504"/>
                    <a:pt x="0" y="247591"/>
                    <a:pt x="0" y="197152"/>
                  </a:cubicBezTo>
                  <a:cubicBezTo>
                    <a:pt x="0" y="105174"/>
                    <a:pt x="26703" y="28031"/>
                    <a:pt x="204725" y="1328"/>
                  </a:cubicBezTo>
                  <a:cubicBezTo>
                    <a:pt x="287802" y="-13507"/>
                    <a:pt x="379780" y="99240"/>
                    <a:pt x="400550" y="176383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65C19E33-D620-4502-B633-F5CD928A073F}"/>
                </a:ext>
              </a:extLst>
            </p:cNvPr>
            <p:cNvSpPr/>
            <p:nvPr/>
          </p:nvSpPr>
          <p:spPr>
            <a:xfrm>
              <a:off x="3596075" y="2481713"/>
              <a:ext cx="56373" cy="136483"/>
            </a:xfrm>
            <a:custGeom>
              <a:avLst/>
              <a:gdLst>
                <a:gd name="connsiteX0" fmla="*/ 26703 w 56373"/>
                <a:gd name="connsiteY0" fmla="*/ 136484 h 136483"/>
                <a:gd name="connsiteX1" fmla="*/ 5934 w 56373"/>
                <a:gd name="connsiteY1" fmla="*/ 133516 h 136483"/>
                <a:gd name="connsiteX2" fmla="*/ 0 w 56373"/>
                <a:gd name="connsiteY2" fmla="*/ 127582 h 136483"/>
                <a:gd name="connsiteX3" fmla="*/ 5934 w 56373"/>
                <a:gd name="connsiteY3" fmla="*/ 121648 h 136483"/>
                <a:gd name="connsiteX4" fmla="*/ 44505 w 56373"/>
                <a:gd name="connsiteY4" fmla="*/ 118681 h 136483"/>
                <a:gd name="connsiteX5" fmla="*/ 44505 w 56373"/>
                <a:gd name="connsiteY5" fmla="*/ 115714 h 136483"/>
                <a:gd name="connsiteX6" fmla="*/ 26703 w 56373"/>
                <a:gd name="connsiteY6" fmla="*/ 5934 h 136483"/>
                <a:gd name="connsiteX7" fmla="*/ 32637 w 56373"/>
                <a:gd name="connsiteY7" fmla="*/ 0 h 136483"/>
                <a:gd name="connsiteX8" fmla="*/ 38571 w 56373"/>
                <a:gd name="connsiteY8" fmla="*/ 5934 h 136483"/>
                <a:gd name="connsiteX9" fmla="*/ 56374 w 56373"/>
                <a:gd name="connsiteY9" fmla="*/ 115714 h 136483"/>
                <a:gd name="connsiteX10" fmla="*/ 50439 w 56373"/>
                <a:gd name="connsiteY10" fmla="*/ 127582 h 136483"/>
                <a:gd name="connsiteX11" fmla="*/ 26703 w 56373"/>
                <a:gd name="connsiteY11" fmla="*/ 136484 h 13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373" h="136483">
                  <a:moveTo>
                    <a:pt x="26703" y="136484"/>
                  </a:moveTo>
                  <a:cubicBezTo>
                    <a:pt x="17802" y="136484"/>
                    <a:pt x="8901" y="133516"/>
                    <a:pt x="5934" y="133516"/>
                  </a:cubicBezTo>
                  <a:cubicBezTo>
                    <a:pt x="2967" y="133516"/>
                    <a:pt x="0" y="130549"/>
                    <a:pt x="0" y="127582"/>
                  </a:cubicBezTo>
                  <a:cubicBezTo>
                    <a:pt x="0" y="124615"/>
                    <a:pt x="2967" y="121648"/>
                    <a:pt x="5934" y="121648"/>
                  </a:cubicBezTo>
                  <a:cubicBezTo>
                    <a:pt x="17802" y="124615"/>
                    <a:pt x="38571" y="124615"/>
                    <a:pt x="44505" y="118681"/>
                  </a:cubicBezTo>
                  <a:cubicBezTo>
                    <a:pt x="44505" y="118681"/>
                    <a:pt x="44505" y="115714"/>
                    <a:pt x="44505" y="115714"/>
                  </a:cubicBezTo>
                  <a:cubicBezTo>
                    <a:pt x="44505" y="97912"/>
                    <a:pt x="26703" y="8901"/>
                    <a:pt x="26703" y="5934"/>
                  </a:cubicBezTo>
                  <a:cubicBezTo>
                    <a:pt x="26703" y="2967"/>
                    <a:pt x="26703" y="0"/>
                    <a:pt x="32637" y="0"/>
                  </a:cubicBezTo>
                  <a:cubicBezTo>
                    <a:pt x="35604" y="0"/>
                    <a:pt x="38571" y="0"/>
                    <a:pt x="38571" y="5934"/>
                  </a:cubicBezTo>
                  <a:cubicBezTo>
                    <a:pt x="38571" y="8901"/>
                    <a:pt x="56374" y="97912"/>
                    <a:pt x="56374" y="115714"/>
                  </a:cubicBezTo>
                  <a:cubicBezTo>
                    <a:pt x="56374" y="121648"/>
                    <a:pt x="53407" y="124615"/>
                    <a:pt x="50439" y="127582"/>
                  </a:cubicBezTo>
                  <a:cubicBezTo>
                    <a:pt x="44505" y="133516"/>
                    <a:pt x="35604" y="136484"/>
                    <a:pt x="26703" y="136484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658000B3-CE62-4ED1-9EAA-B86C395EDFE1}"/>
                </a:ext>
              </a:extLst>
            </p:cNvPr>
            <p:cNvSpPr/>
            <p:nvPr/>
          </p:nvSpPr>
          <p:spPr>
            <a:xfrm>
              <a:off x="3681362" y="2460362"/>
              <a:ext cx="39909" cy="39735"/>
            </a:xfrm>
            <a:custGeom>
              <a:avLst/>
              <a:gdLst>
                <a:gd name="connsiteX0" fmla="*/ 756 w 39909"/>
                <a:gd name="connsiteY0" fmla="*/ 24318 h 39735"/>
                <a:gd name="connsiteX1" fmla="*/ 24492 w 39909"/>
                <a:gd name="connsiteY1" fmla="*/ 39153 h 39735"/>
                <a:gd name="connsiteX2" fmla="*/ 39327 w 39909"/>
                <a:gd name="connsiteY2" fmla="*/ 15417 h 39735"/>
                <a:gd name="connsiteX3" fmla="*/ 15591 w 39909"/>
                <a:gd name="connsiteY3" fmla="*/ 582 h 39735"/>
                <a:gd name="connsiteX4" fmla="*/ 756 w 39909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39735">
                  <a:moveTo>
                    <a:pt x="756" y="24318"/>
                  </a:moveTo>
                  <a:cubicBezTo>
                    <a:pt x="3723" y="33219"/>
                    <a:pt x="12624" y="42120"/>
                    <a:pt x="24492" y="39153"/>
                  </a:cubicBezTo>
                  <a:cubicBezTo>
                    <a:pt x="33394" y="36186"/>
                    <a:pt x="42295" y="27285"/>
                    <a:pt x="39327" y="15417"/>
                  </a:cubicBezTo>
                  <a:cubicBezTo>
                    <a:pt x="36361" y="6516"/>
                    <a:pt x="27459" y="-2385"/>
                    <a:pt x="15591" y="582"/>
                  </a:cubicBezTo>
                  <a:cubicBezTo>
                    <a:pt x="3723" y="3549"/>
                    <a:pt x="-2211" y="15417"/>
                    <a:pt x="756" y="24318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045F97F2-C04A-407E-A847-8D324919A495}"/>
                </a:ext>
              </a:extLst>
            </p:cNvPr>
            <p:cNvSpPr/>
            <p:nvPr/>
          </p:nvSpPr>
          <p:spPr>
            <a:xfrm>
              <a:off x="3503340" y="2481131"/>
              <a:ext cx="39909" cy="39735"/>
            </a:xfrm>
            <a:custGeom>
              <a:avLst/>
              <a:gdLst>
                <a:gd name="connsiteX0" fmla="*/ 756 w 39909"/>
                <a:gd name="connsiteY0" fmla="*/ 24318 h 39735"/>
                <a:gd name="connsiteX1" fmla="*/ 24492 w 39909"/>
                <a:gd name="connsiteY1" fmla="*/ 39153 h 39735"/>
                <a:gd name="connsiteX2" fmla="*/ 39328 w 39909"/>
                <a:gd name="connsiteY2" fmla="*/ 15417 h 39735"/>
                <a:gd name="connsiteX3" fmla="*/ 15591 w 39909"/>
                <a:gd name="connsiteY3" fmla="*/ 582 h 39735"/>
                <a:gd name="connsiteX4" fmla="*/ 756 w 39909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09" h="39735">
                  <a:moveTo>
                    <a:pt x="756" y="24318"/>
                  </a:moveTo>
                  <a:cubicBezTo>
                    <a:pt x="3723" y="33219"/>
                    <a:pt x="12624" y="42120"/>
                    <a:pt x="24492" y="39153"/>
                  </a:cubicBezTo>
                  <a:cubicBezTo>
                    <a:pt x="33393" y="36186"/>
                    <a:pt x="42295" y="27285"/>
                    <a:pt x="39328" y="15417"/>
                  </a:cubicBezTo>
                  <a:cubicBezTo>
                    <a:pt x="36361" y="6516"/>
                    <a:pt x="27459" y="-2385"/>
                    <a:pt x="15591" y="582"/>
                  </a:cubicBezTo>
                  <a:cubicBezTo>
                    <a:pt x="3723" y="3549"/>
                    <a:pt x="-2211" y="12450"/>
                    <a:pt x="756" y="24318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311D86CC-25D0-40AB-8E0A-AD97C5D81BB8}"/>
                </a:ext>
              </a:extLst>
            </p:cNvPr>
            <p:cNvSpPr/>
            <p:nvPr/>
          </p:nvSpPr>
          <p:spPr>
            <a:xfrm>
              <a:off x="3651219" y="2413471"/>
              <a:ext cx="89498" cy="32637"/>
            </a:xfrm>
            <a:custGeom>
              <a:avLst/>
              <a:gdLst>
                <a:gd name="connsiteX0" fmla="*/ 84306 w 89498"/>
                <a:gd name="connsiteY0" fmla="*/ 32637 h 32637"/>
                <a:gd name="connsiteX1" fmla="*/ 78372 w 89498"/>
                <a:gd name="connsiteY1" fmla="*/ 29670 h 32637"/>
                <a:gd name="connsiteX2" fmla="*/ 13097 w 89498"/>
                <a:gd name="connsiteY2" fmla="*/ 23736 h 32637"/>
                <a:gd name="connsiteX3" fmla="*/ 1229 w 89498"/>
                <a:gd name="connsiteY3" fmla="*/ 20769 h 32637"/>
                <a:gd name="connsiteX4" fmla="*/ 4196 w 89498"/>
                <a:gd name="connsiteY4" fmla="*/ 8901 h 32637"/>
                <a:gd name="connsiteX5" fmla="*/ 87273 w 89498"/>
                <a:gd name="connsiteY5" fmla="*/ 17802 h 32637"/>
                <a:gd name="connsiteX6" fmla="*/ 87273 w 89498"/>
                <a:gd name="connsiteY6" fmla="*/ 29670 h 32637"/>
                <a:gd name="connsiteX7" fmla="*/ 84306 w 89498"/>
                <a:gd name="connsiteY7" fmla="*/ 32637 h 32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2637">
                  <a:moveTo>
                    <a:pt x="84306" y="32637"/>
                  </a:moveTo>
                  <a:cubicBezTo>
                    <a:pt x="81339" y="32637"/>
                    <a:pt x="81339" y="32637"/>
                    <a:pt x="78372" y="29670"/>
                  </a:cubicBezTo>
                  <a:cubicBezTo>
                    <a:pt x="51669" y="2967"/>
                    <a:pt x="13097" y="23736"/>
                    <a:pt x="13097" y="23736"/>
                  </a:cubicBezTo>
                  <a:cubicBezTo>
                    <a:pt x="10130" y="26703"/>
                    <a:pt x="4196" y="23736"/>
                    <a:pt x="1229" y="20769"/>
                  </a:cubicBezTo>
                  <a:cubicBezTo>
                    <a:pt x="-1738" y="17802"/>
                    <a:pt x="1229" y="11868"/>
                    <a:pt x="4196" y="8901"/>
                  </a:cubicBezTo>
                  <a:cubicBezTo>
                    <a:pt x="21998" y="0"/>
                    <a:pt x="60570" y="-8901"/>
                    <a:pt x="87273" y="17802"/>
                  </a:cubicBezTo>
                  <a:cubicBezTo>
                    <a:pt x="90240" y="20769"/>
                    <a:pt x="90240" y="26703"/>
                    <a:pt x="87273" y="29670"/>
                  </a:cubicBezTo>
                  <a:cubicBezTo>
                    <a:pt x="90240" y="32637"/>
                    <a:pt x="87273" y="32637"/>
                    <a:pt x="84306" y="32637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4C1E300B-88E8-4366-A663-46559500D5A2}"/>
                </a:ext>
              </a:extLst>
            </p:cNvPr>
            <p:cNvSpPr/>
            <p:nvPr/>
          </p:nvSpPr>
          <p:spPr>
            <a:xfrm>
              <a:off x="3469234" y="2416740"/>
              <a:ext cx="89498" cy="35302"/>
            </a:xfrm>
            <a:custGeom>
              <a:avLst/>
              <a:gdLst>
                <a:gd name="connsiteX0" fmla="*/ 8159 w 89498"/>
                <a:gd name="connsiteY0" fmla="*/ 35302 h 35302"/>
                <a:gd name="connsiteX1" fmla="*/ 2225 w 89498"/>
                <a:gd name="connsiteY1" fmla="*/ 32335 h 35302"/>
                <a:gd name="connsiteX2" fmla="*/ 2225 w 89498"/>
                <a:gd name="connsiteY2" fmla="*/ 20467 h 35302"/>
                <a:gd name="connsiteX3" fmla="*/ 85302 w 89498"/>
                <a:gd name="connsiteY3" fmla="*/ 11566 h 35302"/>
                <a:gd name="connsiteX4" fmla="*/ 88269 w 89498"/>
                <a:gd name="connsiteY4" fmla="*/ 23434 h 35302"/>
                <a:gd name="connsiteX5" fmla="*/ 76401 w 89498"/>
                <a:gd name="connsiteY5" fmla="*/ 26401 h 35302"/>
                <a:gd name="connsiteX6" fmla="*/ 11126 w 89498"/>
                <a:gd name="connsiteY6" fmla="*/ 32335 h 35302"/>
                <a:gd name="connsiteX7" fmla="*/ 8159 w 89498"/>
                <a:gd name="connsiteY7" fmla="*/ 35302 h 35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302">
                  <a:moveTo>
                    <a:pt x="8159" y="35302"/>
                  </a:moveTo>
                  <a:cubicBezTo>
                    <a:pt x="5192" y="35302"/>
                    <a:pt x="5192" y="35302"/>
                    <a:pt x="2225" y="32335"/>
                  </a:cubicBezTo>
                  <a:cubicBezTo>
                    <a:pt x="-742" y="29368"/>
                    <a:pt x="-742" y="23434"/>
                    <a:pt x="2225" y="20467"/>
                  </a:cubicBezTo>
                  <a:cubicBezTo>
                    <a:pt x="14093" y="5632"/>
                    <a:pt x="49698" y="-12170"/>
                    <a:pt x="85302" y="11566"/>
                  </a:cubicBezTo>
                  <a:cubicBezTo>
                    <a:pt x="88269" y="14533"/>
                    <a:pt x="91236" y="17500"/>
                    <a:pt x="88269" y="23434"/>
                  </a:cubicBezTo>
                  <a:cubicBezTo>
                    <a:pt x="85302" y="26401"/>
                    <a:pt x="82335" y="29368"/>
                    <a:pt x="76401" y="26401"/>
                  </a:cubicBezTo>
                  <a:cubicBezTo>
                    <a:pt x="40797" y="2665"/>
                    <a:pt x="14093" y="32335"/>
                    <a:pt x="11126" y="32335"/>
                  </a:cubicBezTo>
                  <a:cubicBezTo>
                    <a:pt x="11126" y="32335"/>
                    <a:pt x="11126" y="35302"/>
                    <a:pt x="8159" y="35302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E797CF31-C2E8-4B13-B03B-B39E8E95BA7C}"/>
                </a:ext>
              </a:extLst>
            </p:cNvPr>
            <p:cNvSpPr/>
            <p:nvPr/>
          </p:nvSpPr>
          <p:spPr>
            <a:xfrm>
              <a:off x="3465525" y="2725010"/>
              <a:ext cx="224752" cy="62307"/>
            </a:xfrm>
            <a:custGeom>
              <a:avLst/>
              <a:gdLst>
                <a:gd name="connsiteX0" fmla="*/ 142418 w 224752"/>
                <a:gd name="connsiteY0" fmla="*/ 62308 h 62307"/>
                <a:gd name="connsiteX1" fmla="*/ 0 w 224752"/>
                <a:gd name="connsiteY1" fmla="*/ 11868 h 62307"/>
                <a:gd name="connsiteX2" fmla="*/ 0 w 224752"/>
                <a:gd name="connsiteY2" fmla="*/ 2967 h 62307"/>
                <a:gd name="connsiteX3" fmla="*/ 8901 w 224752"/>
                <a:gd name="connsiteY3" fmla="*/ 0 h 62307"/>
                <a:gd name="connsiteX4" fmla="*/ 145385 w 224752"/>
                <a:gd name="connsiteY4" fmla="*/ 47472 h 62307"/>
                <a:gd name="connsiteX5" fmla="*/ 145385 w 224752"/>
                <a:gd name="connsiteY5" fmla="*/ 47472 h 62307"/>
                <a:gd name="connsiteX6" fmla="*/ 213626 w 224752"/>
                <a:gd name="connsiteY6" fmla="*/ 23736 h 62307"/>
                <a:gd name="connsiteX7" fmla="*/ 222527 w 224752"/>
                <a:gd name="connsiteY7" fmla="*/ 23736 h 62307"/>
                <a:gd name="connsiteX8" fmla="*/ 222527 w 224752"/>
                <a:gd name="connsiteY8" fmla="*/ 32637 h 62307"/>
                <a:gd name="connsiteX9" fmla="*/ 142418 w 224752"/>
                <a:gd name="connsiteY9" fmla="*/ 62308 h 62307"/>
                <a:gd name="connsiteX10" fmla="*/ 142418 w 224752"/>
                <a:gd name="connsiteY10" fmla="*/ 62308 h 6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752" h="62307">
                  <a:moveTo>
                    <a:pt x="142418" y="62308"/>
                  </a:moveTo>
                  <a:cubicBezTo>
                    <a:pt x="91978" y="62308"/>
                    <a:pt x="5934" y="14835"/>
                    <a:pt x="0" y="11868"/>
                  </a:cubicBezTo>
                  <a:cubicBezTo>
                    <a:pt x="0" y="8901"/>
                    <a:pt x="0" y="5934"/>
                    <a:pt x="0" y="2967"/>
                  </a:cubicBezTo>
                  <a:cubicBezTo>
                    <a:pt x="2967" y="0"/>
                    <a:pt x="5934" y="0"/>
                    <a:pt x="8901" y="0"/>
                  </a:cubicBezTo>
                  <a:cubicBezTo>
                    <a:pt x="8901" y="0"/>
                    <a:pt x="97912" y="47472"/>
                    <a:pt x="145385" y="47472"/>
                  </a:cubicBezTo>
                  <a:cubicBezTo>
                    <a:pt x="145385" y="47472"/>
                    <a:pt x="145385" y="47472"/>
                    <a:pt x="145385" y="47472"/>
                  </a:cubicBezTo>
                  <a:cubicBezTo>
                    <a:pt x="183956" y="47472"/>
                    <a:pt x="213626" y="23736"/>
                    <a:pt x="213626" y="23736"/>
                  </a:cubicBezTo>
                  <a:cubicBezTo>
                    <a:pt x="216593" y="20769"/>
                    <a:pt x="219560" y="20769"/>
                    <a:pt x="222527" y="23736"/>
                  </a:cubicBezTo>
                  <a:cubicBezTo>
                    <a:pt x="225494" y="26703"/>
                    <a:pt x="225494" y="29670"/>
                    <a:pt x="222527" y="32637"/>
                  </a:cubicBezTo>
                  <a:cubicBezTo>
                    <a:pt x="219560" y="35604"/>
                    <a:pt x="186923" y="62308"/>
                    <a:pt x="142418" y="62308"/>
                  </a:cubicBezTo>
                  <a:cubicBezTo>
                    <a:pt x="145385" y="62308"/>
                    <a:pt x="145385" y="62308"/>
                    <a:pt x="142418" y="62308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E71A6B8D-658E-4FB8-8197-97BC317662DC}"/>
                </a:ext>
              </a:extLst>
            </p:cNvPr>
            <p:cNvSpPr/>
            <p:nvPr/>
          </p:nvSpPr>
          <p:spPr>
            <a:xfrm>
              <a:off x="3346484" y="2250285"/>
              <a:ext cx="98272" cy="261098"/>
            </a:xfrm>
            <a:custGeom>
              <a:avLst/>
              <a:gdLst>
                <a:gd name="connsiteX0" fmla="*/ 98272 w 98272"/>
                <a:gd name="connsiteY0" fmla="*/ 124615 h 261098"/>
                <a:gd name="connsiteX1" fmla="*/ 50800 w 98272"/>
                <a:gd name="connsiteY1" fmla="*/ 261099 h 261098"/>
                <a:gd name="connsiteX2" fmla="*/ 6294 w 98272"/>
                <a:gd name="connsiteY2" fmla="*/ 157253 h 261098"/>
                <a:gd name="connsiteX3" fmla="*/ 50800 w 98272"/>
                <a:gd name="connsiteY3" fmla="*/ 0 h 261098"/>
                <a:gd name="connsiteX4" fmla="*/ 98272 w 98272"/>
                <a:gd name="connsiteY4" fmla="*/ 124615 h 26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272" h="261098">
                  <a:moveTo>
                    <a:pt x="98272" y="124615"/>
                  </a:moveTo>
                  <a:cubicBezTo>
                    <a:pt x="98272" y="124615"/>
                    <a:pt x="44865" y="231429"/>
                    <a:pt x="50800" y="261099"/>
                  </a:cubicBezTo>
                  <a:cubicBezTo>
                    <a:pt x="50800" y="261099"/>
                    <a:pt x="21129" y="243297"/>
                    <a:pt x="6294" y="157253"/>
                  </a:cubicBezTo>
                  <a:cubicBezTo>
                    <a:pt x="-2607" y="97912"/>
                    <a:pt x="-11508" y="14835"/>
                    <a:pt x="50800" y="0"/>
                  </a:cubicBezTo>
                  <a:cubicBezTo>
                    <a:pt x="50800" y="2967"/>
                    <a:pt x="59701" y="106813"/>
                    <a:pt x="98272" y="124615"/>
                  </a:cubicBezTo>
                  <a:close/>
                </a:path>
              </a:pathLst>
            </a:custGeom>
            <a:solidFill>
              <a:srgbClr val="D3977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026D7C58-20C0-4CB8-A893-25A12744B30A}"/>
                </a:ext>
              </a:extLst>
            </p:cNvPr>
            <p:cNvSpPr/>
            <p:nvPr/>
          </p:nvSpPr>
          <p:spPr>
            <a:xfrm>
              <a:off x="3387603" y="2136200"/>
              <a:ext cx="487373" cy="247631"/>
            </a:xfrm>
            <a:custGeom>
              <a:avLst/>
              <a:gdLst>
                <a:gd name="connsiteX0" fmla="*/ 57153 w 487373"/>
                <a:gd name="connsiteY0" fmla="*/ 238700 h 247631"/>
                <a:gd name="connsiteX1" fmla="*/ 175835 w 487373"/>
                <a:gd name="connsiteY1" fmla="*/ 200129 h 247631"/>
                <a:gd name="connsiteX2" fmla="*/ 487373 w 487373"/>
                <a:gd name="connsiteY2" fmla="*/ 188260 h 247631"/>
                <a:gd name="connsiteX3" fmla="*/ 125395 w 487373"/>
                <a:gd name="connsiteY3" fmla="*/ 10238 h 247631"/>
                <a:gd name="connsiteX4" fmla="*/ 9681 w 487373"/>
                <a:gd name="connsiteY4" fmla="*/ 114085 h 247631"/>
                <a:gd name="connsiteX5" fmla="*/ 57153 w 487373"/>
                <a:gd name="connsiteY5" fmla="*/ 238700 h 247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373" h="247631">
                  <a:moveTo>
                    <a:pt x="57153" y="238700"/>
                  </a:moveTo>
                  <a:cubicBezTo>
                    <a:pt x="57153" y="238700"/>
                    <a:pt x="149131" y="200129"/>
                    <a:pt x="175835" y="200129"/>
                  </a:cubicBezTo>
                  <a:cubicBezTo>
                    <a:pt x="273747" y="203096"/>
                    <a:pt x="398362" y="312876"/>
                    <a:pt x="487373" y="188260"/>
                  </a:cubicBezTo>
                  <a:cubicBezTo>
                    <a:pt x="442868" y="90348"/>
                    <a:pt x="285615" y="-37234"/>
                    <a:pt x="125395" y="10238"/>
                  </a:cubicBezTo>
                  <a:cubicBezTo>
                    <a:pt x="48252" y="31008"/>
                    <a:pt x="15615" y="78480"/>
                    <a:pt x="9681" y="114085"/>
                  </a:cubicBezTo>
                  <a:cubicBezTo>
                    <a:pt x="9681" y="117052"/>
                    <a:pt x="-31858" y="226832"/>
                    <a:pt x="57153" y="238700"/>
                  </a:cubicBezTo>
                  <a:close/>
                </a:path>
              </a:pathLst>
            </a:custGeom>
            <a:solidFill>
              <a:srgbClr val="D39778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F5273073-7149-4228-994D-F44F9477E338}"/>
                </a:ext>
              </a:extLst>
            </p:cNvPr>
            <p:cNvSpPr/>
            <p:nvPr/>
          </p:nvSpPr>
          <p:spPr>
            <a:xfrm>
              <a:off x="3333953" y="2481528"/>
              <a:ext cx="76517" cy="107539"/>
            </a:xfrm>
            <a:custGeom>
              <a:avLst/>
              <a:gdLst>
                <a:gd name="connsiteX0" fmla="*/ 63330 w 76517"/>
                <a:gd name="connsiteY0" fmla="*/ 15021 h 107539"/>
                <a:gd name="connsiteX1" fmla="*/ 6957 w 76517"/>
                <a:gd name="connsiteY1" fmla="*/ 6120 h 107539"/>
                <a:gd name="connsiteX2" fmla="*/ 63330 w 76517"/>
                <a:gd name="connsiteY2" fmla="*/ 104032 h 107539"/>
                <a:gd name="connsiteX3" fmla="*/ 63330 w 76517"/>
                <a:gd name="connsiteY3" fmla="*/ 15021 h 10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517" h="107539">
                  <a:moveTo>
                    <a:pt x="63330" y="15021"/>
                  </a:moveTo>
                  <a:cubicBezTo>
                    <a:pt x="63330" y="15021"/>
                    <a:pt x="30693" y="-11683"/>
                    <a:pt x="6957" y="6120"/>
                  </a:cubicBezTo>
                  <a:cubicBezTo>
                    <a:pt x="-16780" y="23922"/>
                    <a:pt x="24759" y="127768"/>
                    <a:pt x="63330" y="104032"/>
                  </a:cubicBezTo>
                  <a:cubicBezTo>
                    <a:pt x="93001" y="86229"/>
                    <a:pt x="63330" y="15021"/>
                    <a:pt x="63330" y="15021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92FA4C17-367A-4E2C-A5E8-BE86C95CDD14}"/>
                </a:ext>
              </a:extLst>
            </p:cNvPr>
            <p:cNvSpPr/>
            <p:nvPr/>
          </p:nvSpPr>
          <p:spPr>
            <a:xfrm>
              <a:off x="3578272" y="2665669"/>
              <a:ext cx="103846" cy="50439"/>
            </a:xfrm>
            <a:custGeom>
              <a:avLst/>
              <a:gdLst>
                <a:gd name="connsiteX0" fmla="*/ 103846 w 103846"/>
                <a:gd name="connsiteY0" fmla="*/ 0 h 50439"/>
                <a:gd name="connsiteX1" fmla="*/ 0 w 103846"/>
                <a:gd name="connsiteY1" fmla="*/ 0 h 50439"/>
                <a:gd name="connsiteX2" fmla="*/ 59341 w 103846"/>
                <a:gd name="connsiteY2" fmla="*/ 50440 h 50439"/>
                <a:gd name="connsiteX3" fmla="*/ 103846 w 103846"/>
                <a:gd name="connsiteY3" fmla="*/ 0 h 50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46" h="50439">
                  <a:moveTo>
                    <a:pt x="103846" y="0"/>
                  </a:moveTo>
                  <a:cubicBezTo>
                    <a:pt x="59341" y="14835"/>
                    <a:pt x="0" y="0"/>
                    <a:pt x="0" y="0"/>
                  </a:cubicBezTo>
                  <a:cubicBezTo>
                    <a:pt x="0" y="0"/>
                    <a:pt x="20769" y="50440"/>
                    <a:pt x="59341" y="50440"/>
                  </a:cubicBezTo>
                  <a:cubicBezTo>
                    <a:pt x="86044" y="47472"/>
                    <a:pt x="103846" y="0"/>
                    <a:pt x="103846" y="0"/>
                  </a:cubicBezTo>
                  <a:close/>
                </a:path>
              </a:pathLst>
            </a:custGeom>
            <a:solidFill>
              <a:srgbClr val="FFFFFF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9" name="图形 1">
              <a:extLst>
                <a:ext uri="{FF2B5EF4-FFF2-40B4-BE49-F238E27FC236}">
                  <a16:creationId xmlns:a16="http://schemas.microsoft.com/office/drawing/2014/main" id="{2D427765-B027-432B-B6EB-CE1079CC2B0A}"/>
                </a:ext>
              </a:extLst>
            </p:cNvPr>
            <p:cNvGrpSpPr/>
            <p:nvPr/>
          </p:nvGrpSpPr>
          <p:grpSpPr>
            <a:xfrm>
              <a:off x="3336390" y="2125669"/>
              <a:ext cx="593554" cy="370879"/>
              <a:chOff x="3336390" y="2125669"/>
              <a:chExt cx="593554" cy="370879"/>
            </a:xfrm>
          </p:grpSpPr>
          <p:grpSp>
            <p:nvGrpSpPr>
              <p:cNvPr id="61" name="图形 1">
                <a:extLst>
                  <a:ext uri="{FF2B5EF4-FFF2-40B4-BE49-F238E27FC236}">
                    <a16:creationId xmlns:a16="http://schemas.microsoft.com/office/drawing/2014/main" id="{CA891620-6B37-4223-8C4D-CF8F19AEAE6C}"/>
                  </a:ext>
                </a:extLst>
              </p:cNvPr>
              <p:cNvGrpSpPr/>
              <p:nvPr/>
            </p:nvGrpSpPr>
            <p:grpSpPr>
              <a:xfrm>
                <a:off x="3336390" y="2125669"/>
                <a:ext cx="589659" cy="370879"/>
                <a:chOff x="3336390" y="2125669"/>
                <a:chExt cx="589659" cy="370879"/>
              </a:xfrm>
            </p:grpSpPr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4C231D1D-E685-44A6-82A0-5470DE510FBF}"/>
                    </a:ext>
                  </a:extLst>
                </p:cNvPr>
                <p:cNvSpPr/>
                <p:nvPr/>
              </p:nvSpPr>
              <p:spPr>
                <a:xfrm>
                  <a:off x="3336390" y="2128284"/>
                  <a:ext cx="479271" cy="368264"/>
                </a:xfrm>
                <a:custGeom>
                  <a:avLst/>
                  <a:gdLst>
                    <a:gd name="connsiteX0" fmla="*/ 96497 w 479271"/>
                    <a:gd name="connsiteY0" fmla="*/ 211012 h 368264"/>
                    <a:gd name="connsiteX1" fmla="*/ 60893 w 479271"/>
                    <a:gd name="connsiteY1" fmla="*/ 368265 h 368264"/>
                    <a:gd name="connsiteX2" fmla="*/ 34190 w 479271"/>
                    <a:gd name="connsiteY2" fmla="*/ 353430 h 368264"/>
                    <a:gd name="connsiteX3" fmla="*/ 123201 w 479271"/>
                    <a:gd name="connsiteY3" fmla="*/ 35957 h 368264"/>
                    <a:gd name="connsiteX4" fmla="*/ 479245 w 479271"/>
                    <a:gd name="connsiteY4" fmla="*/ 130902 h 368264"/>
                    <a:gd name="connsiteX5" fmla="*/ 96497 w 479271"/>
                    <a:gd name="connsiteY5" fmla="*/ 211012 h 368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9271" h="368264">
                      <a:moveTo>
                        <a:pt x="96497" y="211012"/>
                      </a:moveTo>
                      <a:cubicBezTo>
                        <a:pt x="81662" y="225847"/>
                        <a:pt x="63860" y="302990"/>
                        <a:pt x="60893" y="368265"/>
                      </a:cubicBezTo>
                      <a:cubicBezTo>
                        <a:pt x="60893" y="368265"/>
                        <a:pt x="46058" y="359364"/>
                        <a:pt x="34190" y="353430"/>
                      </a:cubicBezTo>
                      <a:cubicBezTo>
                        <a:pt x="-1415" y="291122"/>
                        <a:pt x="-48887" y="136836"/>
                        <a:pt x="123201" y="35957"/>
                      </a:cubicBezTo>
                      <a:cubicBezTo>
                        <a:pt x="271552" y="-50087"/>
                        <a:pt x="416937" y="32990"/>
                        <a:pt x="479245" y="130902"/>
                      </a:cubicBezTo>
                      <a:cubicBezTo>
                        <a:pt x="482212" y="133869"/>
                        <a:pt x="241882" y="62660"/>
                        <a:pt x="96497" y="21101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6BEBA16A-F25A-4F8D-86E1-02B630B800C8}"/>
                    </a:ext>
                  </a:extLst>
                </p:cNvPr>
                <p:cNvSpPr/>
                <p:nvPr/>
              </p:nvSpPr>
              <p:spPr>
                <a:xfrm>
                  <a:off x="3418053" y="2162880"/>
                  <a:ext cx="507997" cy="220920"/>
                </a:xfrm>
                <a:custGeom>
                  <a:avLst/>
                  <a:gdLst>
                    <a:gd name="connsiteX0" fmla="*/ 0 w 507997"/>
                    <a:gd name="connsiteY0" fmla="*/ 188284 h 220920"/>
                    <a:gd name="connsiteX1" fmla="*/ 195824 w 507997"/>
                    <a:gd name="connsiteY1" fmla="*/ 42899 h 220920"/>
                    <a:gd name="connsiteX2" fmla="*/ 504396 w 507997"/>
                    <a:gd name="connsiteY2" fmla="*/ 63668 h 220920"/>
                    <a:gd name="connsiteX3" fmla="*/ 400550 w 507997"/>
                    <a:gd name="connsiteY3" fmla="*/ 220921 h 220920"/>
                    <a:gd name="connsiteX4" fmla="*/ 0 w 507997"/>
                    <a:gd name="connsiteY4" fmla="*/ 188284 h 220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7997" h="220920">
                      <a:moveTo>
                        <a:pt x="0" y="188284"/>
                      </a:moveTo>
                      <a:cubicBezTo>
                        <a:pt x="0" y="188284"/>
                        <a:pt x="56374" y="108174"/>
                        <a:pt x="195824" y="42899"/>
                      </a:cubicBezTo>
                      <a:cubicBezTo>
                        <a:pt x="341209" y="-25343"/>
                        <a:pt x="477692" y="-7541"/>
                        <a:pt x="504396" y="63668"/>
                      </a:cubicBezTo>
                      <a:cubicBezTo>
                        <a:pt x="531099" y="134877"/>
                        <a:pt x="400550" y="220921"/>
                        <a:pt x="400550" y="220921"/>
                      </a:cubicBezTo>
                      <a:cubicBezTo>
                        <a:pt x="400550" y="220921"/>
                        <a:pt x="258132" y="81470"/>
                        <a:pt x="0" y="188284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1C479FDB-27B5-4F7C-89D0-42AA92C790EA}"/>
                    </a:ext>
                  </a:extLst>
                </p:cNvPr>
                <p:cNvSpPr/>
                <p:nvPr/>
              </p:nvSpPr>
              <p:spPr>
                <a:xfrm>
                  <a:off x="3429921" y="2125669"/>
                  <a:ext cx="56373" cy="53406"/>
                </a:xfrm>
                <a:custGeom>
                  <a:avLst/>
                  <a:gdLst>
                    <a:gd name="connsiteX0" fmla="*/ 0 w 56373"/>
                    <a:gd name="connsiteY0" fmla="*/ 26703 h 53406"/>
                    <a:gd name="connsiteX1" fmla="*/ 29670 w 56373"/>
                    <a:gd name="connsiteY1" fmla="*/ 0 h 53406"/>
                    <a:gd name="connsiteX2" fmla="*/ 56374 w 56373"/>
                    <a:gd name="connsiteY2" fmla="*/ 26703 h 53406"/>
                    <a:gd name="connsiteX3" fmla="*/ 26703 w 56373"/>
                    <a:gd name="connsiteY3" fmla="*/ 53407 h 53406"/>
                    <a:gd name="connsiteX4" fmla="*/ 0 w 56373"/>
                    <a:gd name="connsiteY4" fmla="*/ 26703 h 5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373" h="53406">
                      <a:moveTo>
                        <a:pt x="0" y="26703"/>
                      </a:moveTo>
                      <a:cubicBezTo>
                        <a:pt x="0" y="11868"/>
                        <a:pt x="11868" y="0"/>
                        <a:pt x="29670" y="0"/>
                      </a:cubicBezTo>
                      <a:cubicBezTo>
                        <a:pt x="44505" y="0"/>
                        <a:pt x="56374" y="11868"/>
                        <a:pt x="56374" y="26703"/>
                      </a:cubicBezTo>
                      <a:cubicBezTo>
                        <a:pt x="56374" y="41538"/>
                        <a:pt x="44505" y="53407"/>
                        <a:pt x="26703" y="53407"/>
                      </a:cubicBezTo>
                      <a:cubicBezTo>
                        <a:pt x="11868" y="53407"/>
                        <a:pt x="0" y="41538"/>
                        <a:pt x="0" y="26703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C5EDD2C1-7090-4136-952D-2CB3B1CE3FE6}"/>
                  </a:ext>
                </a:extLst>
              </p:cNvPr>
              <p:cNvSpPr/>
              <p:nvPr/>
            </p:nvSpPr>
            <p:spPr>
              <a:xfrm>
                <a:off x="3412860" y="2158515"/>
                <a:ext cx="517084" cy="198582"/>
              </a:xfrm>
              <a:custGeom>
                <a:avLst/>
                <a:gdLst>
                  <a:gd name="connsiteX0" fmla="*/ 5192 w 517084"/>
                  <a:gd name="connsiteY0" fmla="*/ 198583 h 198582"/>
                  <a:gd name="connsiteX1" fmla="*/ 2225 w 517084"/>
                  <a:gd name="connsiteY1" fmla="*/ 198583 h 198582"/>
                  <a:gd name="connsiteX2" fmla="*/ 2225 w 517084"/>
                  <a:gd name="connsiteY2" fmla="*/ 189682 h 198582"/>
                  <a:gd name="connsiteX3" fmla="*/ 328599 w 517084"/>
                  <a:gd name="connsiteY3" fmla="*/ 5726 h 198582"/>
                  <a:gd name="connsiteX4" fmla="*/ 512555 w 517084"/>
                  <a:gd name="connsiteY4" fmla="*/ 65066 h 198582"/>
                  <a:gd name="connsiteX5" fmla="*/ 456181 w 517084"/>
                  <a:gd name="connsiteY5" fmla="*/ 189682 h 198582"/>
                  <a:gd name="connsiteX6" fmla="*/ 447280 w 517084"/>
                  <a:gd name="connsiteY6" fmla="*/ 189682 h 198582"/>
                  <a:gd name="connsiteX7" fmla="*/ 447280 w 517084"/>
                  <a:gd name="connsiteY7" fmla="*/ 180781 h 198582"/>
                  <a:gd name="connsiteX8" fmla="*/ 500687 w 517084"/>
                  <a:gd name="connsiteY8" fmla="*/ 71001 h 198582"/>
                  <a:gd name="connsiteX9" fmla="*/ 328599 w 517084"/>
                  <a:gd name="connsiteY9" fmla="*/ 17594 h 198582"/>
                  <a:gd name="connsiteX10" fmla="*/ 8159 w 517084"/>
                  <a:gd name="connsiteY10" fmla="*/ 195616 h 198582"/>
                  <a:gd name="connsiteX11" fmla="*/ 5192 w 517084"/>
                  <a:gd name="connsiteY11" fmla="*/ 198583 h 198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17084" h="198582">
                    <a:moveTo>
                      <a:pt x="5192" y="198583"/>
                    </a:moveTo>
                    <a:cubicBezTo>
                      <a:pt x="5192" y="198583"/>
                      <a:pt x="2225" y="198583"/>
                      <a:pt x="2225" y="198583"/>
                    </a:cubicBezTo>
                    <a:cubicBezTo>
                      <a:pt x="-742" y="195616"/>
                      <a:pt x="-742" y="192649"/>
                      <a:pt x="2225" y="189682"/>
                    </a:cubicBezTo>
                    <a:cubicBezTo>
                      <a:pt x="109038" y="56165"/>
                      <a:pt x="239588" y="20561"/>
                      <a:pt x="328599" y="5726"/>
                    </a:cubicBezTo>
                    <a:cubicBezTo>
                      <a:pt x="373104" y="-3175"/>
                      <a:pt x="482885" y="-12076"/>
                      <a:pt x="512555" y="65066"/>
                    </a:cubicBezTo>
                    <a:cubicBezTo>
                      <a:pt x="536291" y="127374"/>
                      <a:pt x="459148" y="186715"/>
                      <a:pt x="456181" y="189682"/>
                    </a:cubicBezTo>
                    <a:cubicBezTo>
                      <a:pt x="453214" y="192649"/>
                      <a:pt x="450247" y="189682"/>
                      <a:pt x="447280" y="189682"/>
                    </a:cubicBezTo>
                    <a:cubicBezTo>
                      <a:pt x="444313" y="186715"/>
                      <a:pt x="447280" y="183748"/>
                      <a:pt x="447280" y="180781"/>
                    </a:cubicBezTo>
                    <a:cubicBezTo>
                      <a:pt x="447280" y="180781"/>
                      <a:pt x="521456" y="124407"/>
                      <a:pt x="500687" y="71001"/>
                    </a:cubicBezTo>
                    <a:cubicBezTo>
                      <a:pt x="473984" y="2759"/>
                      <a:pt x="370137" y="11660"/>
                      <a:pt x="328599" y="17594"/>
                    </a:cubicBezTo>
                    <a:cubicBezTo>
                      <a:pt x="239588" y="32429"/>
                      <a:pt x="112005" y="65066"/>
                      <a:pt x="8159" y="195616"/>
                    </a:cubicBezTo>
                    <a:cubicBezTo>
                      <a:pt x="11126" y="198583"/>
                      <a:pt x="8159" y="198583"/>
                      <a:pt x="5192" y="19858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0" name="图形 1">
              <a:extLst>
                <a:ext uri="{FF2B5EF4-FFF2-40B4-BE49-F238E27FC236}">
                  <a16:creationId xmlns:a16="http://schemas.microsoft.com/office/drawing/2014/main" id="{513394AD-0AB4-474B-8CB0-8A983AD3CA59}"/>
                </a:ext>
              </a:extLst>
            </p:cNvPr>
            <p:cNvGrpSpPr/>
            <p:nvPr/>
          </p:nvGrpSpPr>
          <p:grpSpPr>
            <a:xfrm>
              <a:off x="3596075" y="3362922"/>
              <a:ext cx="1542857" cy="554835"/>
              <a:chOff x="3596075" y="3362922"/>
              <a:chExt cx="1542857" cy="554835"/>
            </a:xfrm>
          </p:grpSpPr>
          <p:grpSp>
            <p:nvGrpSpPr>
              <p:cNvPr id="46" name="图形 1">
                <a:extLst>
                  <a:ext uri="{FF2B5EF4-FFF2-40B4-BE49-F238E27FC236}">
                    <a16:creationId xmlns:a16="http://schemas.microsoft.com/office/drawing/2014/main" id="{A28C1C7F-0157-4895-A820-F0618DADAB3C}"/>
                  </a:ext>
                </a:extLst>
              </p:cNvPr>
              <p:cNvGrpSpPr/>
              <p:nvPr/>
            </p:nvGrpSpPr>
            <p:grpSpPr>
              <a:xfrm>
                <a:off x="3602009" y="3778307"/>
                <a:ext cx="1530989" cy="139450"/>
                <a:chOff x="3602009" y="3778307"/>
                <a:chExt cx="1530989" cy="139450"/>
              </a:xfrm>
            </p:grpSpPr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28ACF003-621E-413A-B172-12FD910D0CCD}"/>
                    </a:ext>
                  </a:extLst>
                </p:cNvPr>
                <p:cNvSpPr/>
                <p:nvPr/>
              </p:nvSpPr>
              <p:spPr>
                <a:xfrm>
                  <a:off x="3774097" y="3778307"/>
                  <a:ext cx="1358901" cy="139450"/>
                </a:xfrm>
                <a:custGeom>
                  <a:avLst/>
                  <a:gdLst>
                    <a:gd name="connsiteX0" fmla="*/ 0 w 1358901"/>
                    <a:gd name="connsiteY0" fmla="*/ 0 h 139450"/>
                    <a:gd name="connsiteX1" fmla="*/ 1358901 w 1358901"/>
                    <a:gd name="connsiteY1" fmla="*/ 0 h 139450"/>
                    <a:gd name="connsiteX2" fmla="*/ 1358901 w 1358901"/>
                    <a:gd name="connsiteY2" fmla="*/ 139450 h 139450"/>
                    <a:gd name="connsiteX3" fmla="*/ 0 w 1358901"/>
                    <a:gd name="connsiteY3" fmla="*/ 139450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58901" h="139450">
                      <a:moveTo>
                        <a:pt x="0" y="0"/>
                      </a:moveTo>
                      <a:lnTo>
                        <a:pt x="1358901" y="0"/>
                      </a:lnTo>
                      <a:lnTo>
                        <a:pt x="1358901" y="139450"/>
                      </a:lnTo>
                      <a:lnTo>
                        <a:pt x="0" y="139450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3A538763-91E1-4817-8662-8434F9F74432}"/>
                    </a:ext>
                  </a:extLst>
                </p:cNvPr>
                <p:cNvSpPr/>
                <p:nvPr/>
              </p:nvSpPr>
              <p:spPr>
                <a:xfrm>
                  <a:off x="3602009" y="3778307"/>
                  <a:ext cx="608241" cy="139450"/>
                </a:xfrm>
                <a:custGeom>
                  <a:avLst/>
                  <a:gdLst>
                    <a:gd name="connsiteX0" fmla="*/ 0 w 608241"/>
                    <a:gd name="connsiteY0" fmla="*/ 0 h 139450"/>
                    <a:gd name="connsiteX1" fmla="*/ 608242 w 608241"/>
                    <a:gd name="connsiteY1" fmla="*/ 0 h 139450"/>
                    <a:gd name="connsiteX2" fmla="*/ 608242 w 608241"/>
                    <a:gd name="connsiteY2" fmla="*/ 139450 h 139450"/>
                    <a:gd name="connsiteX3" fmla="*/ 0 w 608241"/>
                    <a:gd name="connsiteY3" fmla="*/ 139450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8241" h="139450">
                      <a:moveTo>
                        <a:pt x="0" y="0"/>
                      </a:moveTo>
                      <a:lnTo>
                        <a:pt x="608242" y="0"/>
                      </a:lnTo>
                      <a:lnTo>
                        <a:pt x="608242" y="139450"/>
                      </a:lnTo>
                      <a:lnTo>
                        <a:pt x="0" y="139450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47" name="图形 1">
                <a:extLst>
                  <a:ext uri="{FF2B5EF4-FFF2-40B4-BE49-F238E27FC236}">
                    <a16:creationId xmlns:a16="http://schemas.microsoft.com/office/drawing/2014/main" id="{75BC965B-AC20-4101-9D03-F71F92858759}"/>
                  </a:ext>
                </a:extLst>
              </p:cNvPr>
              <p:cNvGrpSpPr/>
              <p:nvPr/>
            </p:nvGrpSpPr>
            <p:grpSpPr>
              <a:xfrm>
                <a:off x="3602009" y="3641823"/>
                <a:ext cx="1530989" cy="139450"/>
                <a:chOff x="3602009" y="3641823"/>
                <a:chExt cx="1530989" cy="139450"/>
              </a:xfrm>
            </p:grpSpPr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6F49E3C7-1D25-4EFC-AE2A-CB0DA646F79F}"/>
                    </a:ext>
                  </a:extLst>
                </p:cNvPr>
                <p:cNvSpPr/>
                <p:nvPr/>
              </p:nvSpPr>
              <p:spPr>
                <a:xfrm>
                  <a:off x="3774097" y="3641823"/>
                  <a:ext cx="1358901" cy="139450"/>
                </a:xfrm>
                <a:custGeom>
                  <a:avLst/>
                  <a:gdLst>
                    <a:gd name="connsiteX0" fmla="*/ 0 w 1358901"/>
                    <a:gd name="connsiteY0" fmla="*/ 0 h 139450"/>
                    <a:gd name="connsiteX1" fmla="*/ 1358901 w 1358901"/>
                    <a:gd name="connsiteY1" fmla="*/ 0 h 139450"/>
                    <a:gd name="connsiteX2" fmla="*/ 1358901 w 1358901"/>
                    <a:gd name="connsiteY2" fmla="*/ 139450 h 139450"/>
                    <a:gd name="connsiteX3" fmla="*/ 0 w 1358901"/>
                    <a:gd name="connsiteY3" fmla="*/ 139450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58901" h="139450">
                      <a:moveTo>
                        <a:pt x="0" y="0"/>
                      </a:moveTo>
                      <a:lnTo>
                        <a:pt x="1358901" y="0"/>
                      </a:lnTo>
                      <a:lnTo>
                        <a:pt x="1358901" y="139450"/>
                      </a:lnTo>
                      <a:lnTo>
                        <a:pt x="0" y="139450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56FAED31-CC8B-40DA-ADFB-E3F43A26F1DA}"/>
                    </a:ext>
                  </a:extLst>
                </p:cNvPr>
                <p:cNvSpPr/>
                <p:nvPr/>
              </p:nvSpPr>
              <p:spPr>
                <a:xfrm>
                  <a:off x="3602009" y="3641823"/>
                  <a:ext cx="608241" cy="139450"/>
                </a:xfrm>
                <a:custGeom>
                  <a:avLst/>
                  <a:gdLst>
                    <a:gd name="connsiteX0" fmla="*/ 0 w 608241"/>
                    <a:gd name="connsiteY0" fmla="*/ 0 h 139450"/>
                    <a:gd name="connsiteX1" fmla="*/ 608242 w 608241"/>
                    <a:gd name="connsiteY1" fmla="*/ 0 h 139450"/>
                    <a:gd name="connsiteX2" fmla="*/ 608242 w 608241"/>
                    <a:gd name="connsiteY2" fmla="*/ 139450 h 139450"/>
                    <a:gd name="connsiteX3" fmla="*/ 0 w 608241"/>
                    <a:gd name="connsiteY3" fmla="*/ 139450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8241" h="139450">
                      <a:moveTo>
                        <a:pt x="0" y="0"/>
                      </a:moveTo>
                      <a:lnTo>
                        <a:pt x="608242" y="0"/>
                      </a:lnTo>
                      <a:lnTo>
                        <a:pt x="608242" y="139450"/>
                      </a:lnTo>
                      <a:lnTo>
                        <a:pt x="0" y="139450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48" name="图形 1">
                <a:extLst>
                  <a:ext uri="{FF2B5EF4-FFF2-40B4-BE49-F238E27FC236}">
                    <a16:creationId xmlns:a16="http://schemas.microsoft.com/office/drawing/2014/main" id="{2D0B03B4-B1FD-4357-9DF7-ACA631038EE1}"/>
                  </a:ext>
                </a:extLst>
              </p:cNvPr>
              <p:cNvGrpSpPr/>
              <p:nvPr/>
            </p:nvGrpSpPr>
            <p:grpSpPr>
              <a:xfrm>
                <a:off x="3602009" y="3502373"/>
                <a:ext cx="1530989" cy="139450"/>
                <a:chOff x="3602009" y="3502373"/>
                <a:chExt cx="1530989" cy="139450"/>
              </a:xfrm>
            </p:grpSpPr>
            <p:sp>
              <p:nvSpPr>
                <p:cNvPr id="55" name="任意多边形: 形状 54">
                  <a:extLst>
                    <a:ext uri="{FF2B5EF4-FFF2-40B4-BE49-F238E27FC236}">
                      <a16:creationId xmlns:a16="http://schemas.microsoft.com/office/drawing/2014/main" id="{F93A7029-9C9B-4E3F-B2B3-609D209C9BF6}"/>
                    </a:ext>
                  </a:extLst>
                </p:cNvPr>
                <p:cNvSpPr/>
                <p:nvPr/>
              </p:nvSpPr>
              <p:spPr>
                <a:xfrm>
                  <a:off x="3774097" y="3502373"/>
                  <a:ext cx="1358901" cy="139450"/>
                </a:xfrm>
                <a:custGeom>
                  <a:avLst/>
                  <a:gdLst>
                    <a:gd name="connsiteX0" fmla="*/ 0 w 1358901"/>
                    <a:gd name="connsiteY0" fmla="*/ 0 h 139450"/>
                    <a:gd name="connsiteX1" fmla="*/ 1358901 w 1358901"/>
                    <a:gd name="connsiteY1" fmla="*/ 0 h 139450"/>
                    <a:gd name="connsiteX2" fmla="*/ 1358901 w 1358901"/>
                    <a:gd name="connsiteY2" fmla="*/ 139451 h 139450"/>
                    <a:gd name="connsiteX3" fmla="*/ 0 w 1358901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58901" h="139450">
                      <a:moveTo>
                        <a:pt x="0" y="0"/>
                      </a:moveTo>
                      <a:lnTo>
                        <a:pt x="1358901" y="0"/>
                      </a:lnTo>
                      <a:lnTo>
                        <a:pt x="1358901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6" name="任意多边形: 形状 55">
                  <a:extLst>
                    <a:ext uri="{FF2B5EF4-FFF2-40B4-BE49-F238E27FC236}">
                      <a16:creationId xmlns:a16="http://schemas.microsoft.com/office/drawing/2014/main" id="{8FFE9E29-2B86-441C-974E-7F786961BA4F}"/>
                    </a:ext>
                  </a:extLst>
                </p:cNvPr>
                <p:cNvSpPr/>
                <p:nvPr/>
              </p:nvSpPr>
              <p:spPr>
                <a:xfrm>
                  <a:off x="3602009" y="3502373"/>
                  <a:ext cx="608241" cy="139450"/>
                </a:xfrm>
                <a:custGeom>
                  <a:avLst/>
                  <a:gdLst>
                    <a:gd name="connsiteX0" fmla="*/ 0 w 608241"/>
                    <a:gd name="connsiteY0" fmla="*/ 0 h 139450"/>
                    <a:gd name="connsiteX1" fmla="*/ 608242 w 608241"/>
                    <a:gd name="connsiteY1" fmla="*/ 0 h 139450"/>
                    <a:gd name="connsiteX2" fmla="*/ 608242 w 608241"/>
                    <a:gd name="connsiteY2" fmla="*/ 139451 h 139450"/>
                    <a:gd name="connsiteX3" fmla="*/ 0 w 608241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8241" h="139450">
                      <a:moveTo>
                        <a:pt x="0" y="0"/>
                      </a:moveTo>
                      <a:lnTo>
                        <a:pt x="608242" y="0"/>
                      </a:lnTo>
                      <a:lnTo>
                        <a:pt x="608242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49" name="图形 1">
                <a:extLst>
                  <a:ext uri="{FF2B5EF4-FFF2-40B4-BE49-F238E27FC236}">
                    <a16:creationId xmlns:a16="http://schemas.microsoft.com/office/drawing/2014/main" id="{EB0C15F0-F22F-425E-BEB3-CD2C0AC23970}"/>
                  </a:ext>
                </a:extLst>
              </p:cNvPr>
              <p:cNvGrpSpPr/>
              <p:nvPr/>
            </p:nvGrpSpPr>
            <p:grpSpPr>
              <a:xfrm>
                <a:off x="3602009" y="3362922"/>
                <a:ext cx="1530989" cy="139450"/>
                <a:chOff x="3602009" y="3362922"/>
                <a:chExt cx="1530989" cy="139450"/>
              </a:xfrm>
            </p:grpSpPr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77E07E7F-2AC1-4308-BE33-3FBE99013D35}"/>
                    </a:ext>
                  </a:extLst>
                </p:cNvPr>
                <p:cNvSpPr/>
                <p:nvPr/>
              </p:nvSpPr>
              <p:spPr>
                <a:xfrm>
                  <a:off x="3774097" y="3362922"/>
                  <a:ext cx="1358901" cy="139450"/>
                </a:xfrm>
                <a:custGeom>
                  <a:avLst/>
                  <a:gdLst>
                    <a:gd name="connsiteX0" fmla="*/ 0 w 1358901"/>
                    <a:gd name="connsiteY0" fmla="*/ 0 h 139450"/>
                    <a:gd name="connsiteX1" fmla="*/ 1358901 w 1358901"/>
                    <a:gd name="connsiteY1" fmla="*/ 0 h 139450"/>
                    <a:gd name="connsiteX2" fmla="*/ 1358901 w 1358901"/>
                    <a:gd name="connsiteY2" fmla="*/ 139451 h 139450"/>
                    <a:gd name="connsiteX3" fmla="*/ 0 w 1358901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58901" h="139450">
                      <a:moveTo>
                        <a:pt x="0" y="0"/>
                      </a:moveTo>
                      <a:lnTo>
                        <a:pt x="1358901" y="0"/>
                      </a:lnTo>
                      <a:lnTo>
                        <a:pt x="1358901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4" name="任意多边形: 形状 53">
                  <a:extLst>
                    <a:ext uri="{FF2B5EF4-FFF2-40B4-BE49-F238E27FC236}">
                      <a16:creationId xmlns:a16="http://schemas.microsoft.com/office/drawing/2014/main" id="{6C81C9B3-4F31-4450-BE7C-D6569DACAE28}"/>
                    </a:ext>
                  </a:extLst>
                </p:cNvPr>
                <p:cNvSpPr/>
                <p:nvPr/>
              </p:nvSpPr>
              <p:spPr>
                <a:xfrm>
                  <a:off x="3602009" y="3362922"/>
                  <a:ext cx="608241" cy="139450"/>
                </a:xfrm>
                <a:custGeom>
                  <a:avLst/>
                  <a:gdLst>
                    <a:gd name="connsiteX0" fmla="*/ 0 w 608241"/>
                    <a:gd name="connsiteY0" fmla="*/ 0 h 139450"/>
                    <a:gd name="connsiteX1" fmla="*/ 608242 w 608241"/>
                    <a:gd name="connsiteY1" fmla="*/ 0 h 139450"/>
                    <a:gd name="connsiteX2" fmla="*/ 608242 w 608241"/>
                    <a:gd name="connsiteY2" fmla="*/ 139451 h 139450"/>
                    <a:gd name="connsiteX3" fmla="*/ 0 w 608241"/>
                    <a:gd name="connsiteY3" fmla="*/ 139451 h 139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8241" h="139450">
                      <a:moveTo>
                        <a:pt x="0" y="0"/>
                      </a:moveTo>
                      <a:lnTo>
                        <a:pt x="608242" y="0"/>
                      </a:lnTo>
                      <a:lnTo>
                        <a:pt x="608242" y="139451"/>
                      </a:lnTo>
                      <a:lnTo>
                        <a:pt x="0" y="139451"/>
                      </a:lnTo>
                      <a:close/>
                    </a:path>
                  </a:pathLst>
                </a:custGeom>
                <a:solidFill>
                  <a:srgbClr val="E8D2AF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A9A240AB-6E23-41D0-8BF4-5C816B1EA19A}"/>
                  </a:ext>
                </a:extLst>
              </p:cNvPr>
              <p:cNvSpPr/>
              <p:nvPr/>
            </p:nvSpPr>
            <p:spPr>
              <a:xfrm>
                <a:off x="3596075" y="3493471"/>
                <a:ext cx="1542857" cy="11868"/>
              </a:xfrm>
              <a:custGeom>
                <a:avLst/>
                <a:gdLst>
                  <a:gd name="connsiteX0" fmla="*/ 1536923 w 1542857"/>
                  <a:gd name="connsiteY0" fmla="*/ 11868 h 11868"/>
                  <a:gd name="connsiteX1" fmla="*/ 5934 w 1542857"/>
                  <a:gd name="connsiteY1" fmla="*/ 11868 h 11868"/>
                  <a:gd name="connsiteX2" fmla="*/ 0 w 1542857"/>
                  <a:gd name="connsiteY2" fmla="*/ 5934 h 11868"/>
                  <a:gd name="connsiteX3" fmla="*/ 5934 w 1542857"/>
                  <a:gd name="connsiteY3" fmla="*/ 0 h 11868"/>
                  <a:gd name="connsiteX4" fmla="*/ 1536923 w 1542857"/>
                  <a:gd name="connsiteY4" fmla="*/ 0 h 11868"/>
                  <a:gd name="connsiteX5" fmla="*/ 1542857 w 1542857"/>
                  <a:gd name="connsiteY5" fmla="*/ 5934 h 11868"/>
                  <a:gd name="connsiteX6" fmla="*/ 1536923 w 1542857"/>
                  <a:gd name="connsiteY6" fmla="*/ 11868 h 11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2857" h="11868">
                    <a:moveTo>
                      <a:pt x="1536923" y="11868"/>
                    </a:moveTo>
                    <a:lnTo>
                      <a:pt x="5934" y="11868"/>
                    </a:lnTo>
                    <a:cubicBezTo>
                      <a:pt x="2967" y="11868"/>
                      <a:pt x="0" y="8901"/>
                      <a:pt x="0" y="5934"/>
                    </a:cubicBezTo>
                    <a:cubicBezTo>
                      <a:pt x="0" y="2967"/>
                      <a:pt x="2967" y="0"/>
                      <a:pt x="5934" y="0"/>
                    </a:cubicBezTo>
                    <a:lnTo>
                      <a:pt x="1536923" y="0"/>
                    </a:lnTo>
                    <a:cubicBezTo>
                      <a:pt x="1539890" y="0"/>
                      <a:pt x="1542857" y="2967"/>
                      <a:pt x="1542857" y="5934"/>
                    </a:cubicBezTo>
                    <a:cubicBezTo>
                      <a:pt x="1542857" y="11868"/>
                      <a:pt x="1539890" y="11868"/>
                      <a:pt x="1536923" y="11868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EFC7378B-9A3A-4DBD-BA59-D17EF003F17E}"/>
                  </a:ext>
                </a:extLst>
              </p:cNvPr>
              <p:cNvSpPr/>
              <p:nvPr/>
            </p:nvSpPr>
            <p:spPr>
              <a:xfrm>
                <a:off x="3596075" y="3632922"/>
                <a:ext cx="1542857" cy="11867"/>
              </a:xfrm>
              <a:custGeom>
                <a:avLst/>
                <a:gdLst>
                  <a:gd name="connsiteX0" fmla="*/ 1536923 w 1542857"/>
                  <a:gd name="connsiteY0" fmla="*/ 11868 h 11867"/>
                  <a:gd name="connsiteX1" fmla="*/ 5934 w 1542857"/>
                  <a:gd name="connsiteY1" fmla="*/ 11868 h 11867"/>
                  <a:gd name="connsiteX2" fmla="*/ 0 w 1542857"/>
                  <a:gd name="connsiteY2" fmla="*/ 5934 h 11867"/>
                  <a:gd name="connsiteX3" fmla="*/ 5934 w 1542857"/>
                  <a:gd name="connsiteY3" fmla="*/ 0 h 11867"/>
                  <a:gd name="connsiteX4" fmla="*/ 1536923 w 1542857"/>
                  <a:gd name="connsiteY4" fmla="*/ 0 h 11867"/>
                  <a:gd name="connsiteX5" fmla="*/ 1542857 w 1542857"/>
                  <a:gd name="connsiteY5" fmla="*/ 5934 h 11867"/>
                  <a:gd name="connsiteX6" fmla="*/ 1536923 w 1542857"/>
                  <a:gd name="connsiteY6" fmla="*/ 11868 h 11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2857" h="11867">
                    <a:moveTo>
                      <a:pt x="1536923" y="11868"/>
                    </a:moveTo>
                    <a:lnTo>
                      <a:pt x="5934" y="11868"/>
                    </a:lnTo>
                    <a:cubicBezTo>
                      <a:pt x="2967" y="11868"/>
                      <a:pt x="0" y="8901"/>
                      <a:pt x="0" y="5934"/>
                    </a:cubicBezTo>
                    <a:cubicBezTo>
                      <a:pt x="0" y="2967"/>
                      <a:pt x="2967" y="0"/>
                      <a:pt x="5934" y="0"/>
                    </a:cubicBezTo>
                    <a:lnTo>
                      <a:pt x="1536923" y="0"/>
                    </a:lnTo>
                    <a:cubicBezTo>
                      <a:pt x="1539890" y="0"/>
                      <a:pt x="1542857" y="2967"/>
                      <a:pt x="1542857" y="5934"/>
                    </a:cubicBezTo>
                    <a:cubicBezTo>
                      <a:pt x="1542857" y="8901"/>
                      <a:pt x="1539890" y="11868"/>
                      <a:pt x="1536923" y="11868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C459E249-3AF4-4F79-8E44-E53098F7E6B7}"/>
                  </a:ext>
                </a:extLst>
              </p:cNvPr>
              <p:cNvSpPr/>
              <p:nvPr/>
            </p:nvSpPr>
            <p:spPr>
              <a:xfrm>
                <a:off x="3596075" y="3772373"/>
                <a:ext cx="1542857" cy="11868"/>
              </a:xfrm>
              <a:custGeom>
                <a:avLst/>
                <a:gdLst>
                  <a:gd name="connsiteX0" fmla="*/ 1536923 w 1542857"/>
                  <a:gd name="connsiteY0" fmla="*/ 11868 h 11868"/>
                  <a:gd name="connsiteX1" fmla="*/ 5934 w 1542857"/>
                  <a:gd name="connsiteY1" fmla="*/ 11868 h 11868"/>
                  <a:gd name="connsiteX2" fmla="*/ 0 w 1542857"/>
                  <a:gd name="connsiteY2" fmla="*/ 5934 h 11868"/>
                  <a:gd name="connsiteX3" fmla="*/ 5934 w 1542857"/>
                  <a:gd name="connsiteY3" fmla="*/ 0 h 11868"/>
                  <a:gd name="connsiteX4" fmla="*/ 1536923 w 1542857"/>
                  <a:gd name="connsiteY4" fmla="*/ 0 h 11868"/>
                  <a:gd name="connsiteX5" fmla="*/ 1542857 w 1542857"/>
                  <a:gd name="connsiteY5" fmla="*/ 5934 h 11868"/>
                  <a:gd name="connsiteX6" fmla="*/ 1536923 w 1542857"/>
                  <a:gd name="connsiteY6" fmla="*/ 11868 h 11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42857" h="11868">
                    <a:moveTo>
                      <a:pt x="1536923" y="11868"/>
                    </a:moveTo>
                    <a:lnTo>
                      <a:pt x="5934" y="11868"/>
                    </a:lnTo>
                    <a:cubicBezTo>
                      <a:pt x="2967" y="11868"/>
                      <a:pt x="0" y="8901"/>
                      <a:pt x="0" y="5934"/>
                    </a:cubicBezTo>
                    <a:cubicBezTo>
                      <a:pt x="0" y="2967"/>
                      <a:pt x="2967" y="0"/>
                      <a:pt x="5934" y="0"/>
                    </a:cubicBezTo>
                    <a:lnTo>
                      <a:pt x="1536923" y="0"/>
                    </a:lnTo>
                    <a:cubicBezTo>
                      <a:pt x="1539890" y="0"/>
                      <a:pt x="1542857" y="2967"/>
                      <a:pt x="1542857" y="5934"/>
                    </a:cubicBezTo>
                    <a:cubicBezTo>
                      <a:pt x="1542857" y="8901"/>
                      <a:pt x="1539890" y="11868"/>
                      <a:pt x="1536923" y="11868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D74ED158-790F-4BE8-84F5-BA69C17CA80E}"/>
                </a:ext>
              </a:extLst>
            </p:cNvPr>
            <p:cNvSpPr/>
            <p:nvPr/>
          </p:nvSpPr>
          <p:spPr>
            <a:xfrm>
              <a:off x="2859646" y="3398526"/>
              <a:ext cx="300274" cy="690443"/>
            </a:xfrm>
            <a:custGeom>
              <a:avLst/>
              <a:gdLst>
                <a:gd name="connsiteX0" fmla="*/ 300275 w 300274"/>
                <a:gd name="connsiteY0" fmla="*/ 26703 h 690443"/>
                <a:gd name="connsiteX1" fmla="*/ 196429 w 300274"/>
                <a:gd name="connsiteY1" fmla="*/ 575604 h 690443"/>
                <a:gd name="connsiteX2" fmla="*/ 45110 w 300274"/>
                <a:gd name="connsiteY2" fmla="*/ 670549 h 690443"/>
                <a:gd name="connsiteX3" fmla="*/ 39176 w 300274"/>
                <a:gd name="connsiteY3" fmla="*/ 0 h 690443"/>
                <a:gd name="connsiteX4" fmla="*/ 300275 w 300274"/>
                <a:gd name="connsiteY4" fmla="*/ 26703 h 690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274" h="690443">
                  <a:moveTo>
                    <a:pt x="300275" y="26703"/>
                  </a:moveTo>
                  <a:lnTo>
                    <a:pt x="196429" y="575604"/>
                  </a:lnTo>
                  <a:cubicBezTo>
                    <a:pt x="196429" y="575604"/>
                    <a:pt x="143022" y="747692"/>
                    <a:pt x="45110" y="670549"/>
                  </a:cubicBezTo>
                  <a:cubicBezTo>
                    <a:pt x="-52802" y="593407"/>
                    <a:pt x="39176" y="0"/>
                    <a:pt x="39176" y="0"/>
                  </a:cubicBezTo>
                  <a:lnTo>
                    <a:pt x="300275" y="26703"/>
                  </a:ln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EBCF41E1-DEF0-4166-AB23-93F824E9B0C0}"/>
                </a:ext>
              </a:extLst>
            </p:cNvPr>
            <p:cNvSpPr/>
            <p:nvPr/>
          </p:nvSpPr>
          <p:spPr>
            <a:xfrm>
              <a:off x="2836514" y="2950504"/>
              <a:ext cx="417927" cy="568125"/>
            </a:xfrm>
            <a:custGeom>
              <a:avLst/>
              <a:gdLst>
                <a:gd name="connsiteX0" fmla="*/ 0 w 417927"/>
                <a:gd name="connsiteY0" fmla="*/ 498462 h 568125"/>
                <a:gd name="connsiteX1" fmla="*/ 302637 w 417927"/>
                <a:gd name="connsiteY1" fmla="*/ 0 h 568125"/>
                <a:gd name="connsiteX2" fmla="*/ 406484 w 417927"/>
                <a:gd name="connsiteY2" fmla="*/ 563736 h 568125"/>
                <a:gd name="connsiteX3" fmla="*/ 0 w 417927"/>
                <a:gd name="connsiteY3" fmla="*/ 498462 h 56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7927" h="568125">
                  <a:moveTo>
                    <a:pt x="0" y="498462"/>
                  </a:moveTo>
                  <a:cubicBezTo>
                    <a:pt x="0" y="498462"/>
                    <a:pt x="160220" y="0"/>
                    <a:pt x="302637" y="0"/>
                  </a:cubicBezTo>
                  <a:cubicBezTo>
                    <a:pt x="468791" y="0"/>
                    <a:pt x="406484" y="563736"/>
                    <a:pt x="406484" y="563736"/>
                  </a:cubicBezTo>
                  <a:cubicBezTo>
                    <a:pt x="406484" y="563736"/>
                    <a:pt x="186923" y="593407"/>
                    <a:pt x="0" y="498462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75E571B8-5694-47F9-B56D-D6D9182191E7}"/>
                </a:ext>
              </a:extLst>
            </p:cNvPr>
            <p:cNvSpPr/>
            <p:nvPr/>
          </p:nvSpPr>
          <p:spPr>
            <a:xfrm>
              <a:off x="2945065" y="2946308"/>
              <a:ext cx="310405" cy="579800"/>
            </a:xfrm>
            <a:custGeom>
              <a:avLst/>
              <a:gdLst>
                <a:gd name="connsiteX0" fmla="*/ 214855 w 310405"/>
                <a:gd name="connsiteY0" fmla="*/ 579800 h 579800"/>
                <a:gd name="connsiteX1" fmla="*/ 4196 w 310405"/>
                <a:gd name="connsiteY1" fmla="*/ 550130 h 579800"/>
                <a:gd name="connsiteX2" fmla="*/ 1229 w 310405"/>
                <a:gd name="connsiteY2" fmla="*/ 544196 h 579800"/>
                <a:gd name="connsiteX3" fmla="*/ 7163 w 310405"/>
                <a:gd name="connsiteY3" fmla="*/ 541229 h 579800"/>
                <a:gd name="connsiteX4" fmla="*/ 294965 w 310405"/>
                <a:gd name="connsiteY4" fmla="*/ 564965 h 579800"/>
                <a:gd name="connsiteX5" fmla="*/ 300899 w 310405"/>
                <a:gd name="connsiteY5" fmla="*/ 217822 h 579800"/>
                <a:gd name="connsiteX6" fmla="*/ 194086 w 310405"/>
                <a:gd name="connsiteY6" fmla="*/ 10130 h 579800"/>
                <a:gd name="connsiteX7" fmla="*/ 191119 w 310405"/>
                <a:gd name="connsiteY7" fmla="*/ 4196 h 579800"/>
                <a:gd name="connsiteX8" fmla="*/ 197053 w 310405"/>
                <a:gd name="connsiteY8" fmla="*/ 1229 h 579800"/>
                <a:gd name="connsiteX9" fmla="*/ 309800 w 310405"/>
                <a:gd name="connsiteY9" fmla="*/ 220789 h 579800"/>
                <a:gd name="connsiteX10" fmla="*/ 303866 w 310405"/>
                <a:gd name="connsiteY10" fmla="*/ 570899 h 579800"/>
                <a:gd name="connsiteX11" fmla="*/ 303866 w 310405"/>
                <a:gd name="connsiteY11" fmla="*/ 573866 h 579800"/>
                <a:gd name="connsiteX12" fmla="*/ 300899 w 310405"/>
                <a:gd name="connsiteY12" fmla="*/ 573866 h 579800"/>
                <a:gd name="connsiteX13" fmla="*/ 214855 w 310405"/>
                <a:gd name="connsiteY13" fmla="*/ 579800 h 579800"/>
                <a:gd name="connsiteX14" fmla="*/ 297932 w 310405"/>
                <a:gd name="connsiteY14" fmla="*/ 567932 h 579800"/>
                <a:gd name="connsiteX15" fmla="*/ 297932 w 310405"/>
                <a:gd name="connsiteY15" fmla="*/ 567932 h 579800"/>
                <a:gd name="connsiteX16" fmla="*/ 297932 w 310405"/>
                <a:gd name="connsiteY16" fmla="*/ 567932 h 57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0405" h="579800">
                  <a:moveTo>
                    <a:pt x="214855" y="579800"/>
                  </a:moveTo>
                  <a:cubicBezTo>
                    <a:pt x="164416" y="579800"/>
                    <a:pt x="93207" y="573866"/>
                    <a:pt x="4196" y="550130"/>
                  </a:cubicBezTo>
                  <a:cubicBezTo>
                    <a:pt x="1229" y="550130"/>
                    <a:pt x="-1738" y="547163"/>
                    <a:pt x="1229" y="544196"/>
                  </a:cubicBezTo>
                  <a:cubicBezTo>
                    <a:pt x="4196" y="541229"/>
                    <a:pt x="4196" y="538262"/>
                    <a:pt x="7163" y="541229"/>
                  </a:cubicBezTo>
                  <a:cubicBezTo>
                    <a:pt x="167383" y="582767"/>
                    <a:pt x="271229" y="567932"/>
                    <a:pt x="294965" y="564965"/>
                  </a:cubicBezTo>
                  <a:cubicBezTo>
                    <a:pt x="297932" y="538262"/>
                    <a:pt x="306833" y="381009"/>
                    <a:pt x="300899" y="217822"/>
                  </a:cubicBezTo>
                  <a:cubicBezTo>
                    <a:pt x="297932" y="45735"/>
                    <a:pt x="197053" y="10130"/>
                    <a:pt x="194086" y="10130"/>
                  </a:cubicBezTo>
                  <a:cubicBezTo>
                    <a:pt x="191119" y="10130"/>
                    <a:pt x="191119" y="7163"/>
                    <a:pt x="191119" y="4196"/>
                  </a:cubicBezTo>
                  <a:cubicBezTo>
                    <a:pt x="191119" y="1229"/>
                    <a:pt x="194086" y="-1738"/>
                    <a:pt x="197053" y="1229"/>
                  </a:cubicBezTo>
                  <a:cubicBezTo>
                    <a:pt x="202987" y="1229"/>
                    <a:pt x="306833" y="39800"/>
                    <a:pt x="309800" y="220789"/>
                  </a:cubicBezTo>
                  <a:cubicBezTo>
                    <a:pt x="312767" y="398811"/>
                    <a:pt x="303866" y="570899"/>
                    <a:pt x="303866" y="570899"/>
                  </a:cubicBezTo>
                  <a:lnTo>
                    <a:pt x="303866" y="573866"/>
                  </a:lnTo>
                  <a:lnTo>
                    <a:pt x="300899" y="573866"/>
                  </a:lnTo>
                  <a:cubicBezTo>
                    <a:pt x="297932" y="573866"/>
                    <a:pt x="268262" y="579800"/>
                    <a:pt x="214855" y="579800"/>
                  </a:cubicBezTo>
                  <a:close/>
                  <a:moveTo>
                    <a:pt x="297932" y="567932"/>
                  </a:moveTo>
                  <a:lnTo>
                    <a:pt x="297932" y="567932"/>
                  </a:lnTo>
                  <a:lnTo>
                    <a:pt x="297932" y="567932"/>
                  </a:ln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77BE1CDD-1F00-4F5B-AF80-A1A008DD6EAA}"/>
                </a:ext>
              </a:extLst>
            </p:cNvPr>
            <p:cNvSpPr/>
            <p:nvPr/>
          </p:nvSpPr>
          <p:spPr>
            <a:xfrm>
              <a:off x="2879682" y="3838307"/>
              <a:ext cx="871323" cy="254073"/>
            </a:xfrm>
            <a:custGeom>
              <a:avLst/>
              <a:gdLst>
                <a:gd name="connsiteX0" fmla="*/ 793535 w 871323"/>
                <a:gd name="connsiteY0" fmla="*/ 144725 h 254073"/>
                <a:gd name="connsiteX1" fmla="*/ 54744 w 871323"/>
                <a:gd name="connsiteY1" fmla="*/ 245604 h 254073"/>
                <a:gd name="connsiteX2" fmla="*/ 81447 w 871323"/>
                <a:gd name="connsiteY2" fmla="*/ 17143 h 254073"/>
                <a:gd name="connsiteX3" fmla="*/ 870678 w 871323"/>
                <a:gd name="connsiteY3" fmla="*/ 17143 h 254073"/>
                <a:gd name="connsiteX4" fmla="*/ 793535 w 871323"/>
                <a:gd name="connsiteY4" fmla="*/ 144725 h 254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1323" h="254073">
                  <a:moveTo>
                    <a:pt x="793535" y="144725"/>
                  </a:moveTo>
                  <a:cubicBezTo>
                    <a:pt x="793535" y="144725"/>
                    <a:pt x="128920" y="290110"/>
                    <a:pt x="54744" y="245604"/>
                  </a:cubicBezTo>
                  <a:cubicBezTo>
                    <a:pt x="-19432" y="204066"/>
                    <a:pt x="-25366" y="55714"/>
                    <a:pt x="81447" y="17143"/>
                  </a:cubicBezTo>
                  <a:cubicBezTo>
                    <a:pt x="191227" y="-21429"/>
                    <a:pt x="861777" y="17143"/>
                    <a:pt x="870678" y="17143"/>
                  </a:cubicBezTo>
                  <a:cubicBezTo>
                    <a:pt x="879579" y="17143"/>
                    <a:pt x="793535" y="144725"/>
                    <a:pt x="793535" y="144725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5" name="图形 1">
              <a:extLst>
                <a:ext uri="{FF2B5EF4-FFF2-40B4-BE49-F238E27FC236}">
                  <a16:creationId xmlns:a16="http://schemas.microsoft.com/office/drawing/2014/main" id="{1CF62ED2-184E-4BA3-AE27-004ED159CC95}"/>
                </a:ext>
              </a:extLst>
            </p:cNvPr>
            <p:cNvGrpSpPr/>
            <p:nvPr/>
          </p:nvGrpSpPr>
          <p:grpSpPr>
            <a:xfrm>
              <a:off x="3644505" y="3798746"/>
              <a:ext cx="349152" cy="208496"/>
              <a:chOff x="3644505" y="3798746"/>
              <a:chExt cx="349152" cy="208496"/>
            </a:xfrm>
          </p:grpSpPr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017B6541-5FAB-4CD0-B036-C71DB7D231EE}"/>
                  </a:ext>
                </a:extLst>
              </p:cNvPr>
              <p:cNvSpPr/>
              <p:nvPr/>
            </p:nvSpPr>
            <p:spPr>
              <a:xfrm>
                <a:off x="3644505" y="3798746"/>
                <a:ext cx="349152" cy="208496"/>
              </a:xfrm>
              <a:custGeom>
                <a:avLst/>
                <a:gdLst>
                  <a:gd name="connsiteX0" fmla="*/ 13877 w 349152"/>
                  <a:gd name="connsiteY0" fmla="*/ 160549 h 208496"/>
                  <a:gd name="connsiteX1" fmla="*/ 19812 w 349152"/>
                  <a:gd name="connsiteY1" fmla="*/ 172417 h 208496"/>
                  <a:gd name="connsiteX2" fmla="*/ 194866 w 349152"/>
                  <a:gd name="connsiteY2" fmla="*/ 205055 h 208496"/>
                  <a:gd name="connsiteX3" fmla="*/ 331350 w 349152"/>
                  <a:gd name="connsiteY3" fmla="*/ 136813 h 208496"/>
                  <a:gd name="connsiteX4" fmla="*/ 319482 w 349152"/>
                  <a:gd name="connsiteY4" fmla="*/ 121978 h 208496"/>
                  <a:gd name="connsiteX5" fmla="*/ 277943 w 349152"/>
                  <a:gd name="connsiteY5" fmla="*/ 133846 h 208496"/>
                  <a:gd name="connsiteX6" fmla="*/ 325416 w 349152"/>
                  <a:gd name="connsiteY6" fmla="*/ 107143 h 208496"/>
                  <a:gd name="connsiteX7" fmla="*/ 349152 w 349152"/>
                  <a:gd name="connsiteY7" fmla="*/ 77472 h 208496"/>
                  <a:gd name="connsiteX8" fmla="*/ 334317 w 349152"/>
                  <a:gd name="connsiteY8" fmla="*/ 65604 h 208496"/>
                  <a:gd name="connsiteX9" fmla="*/ 340251 w 349152"/>
                  <a:gd name="connsiteY9" fmla="*/ 62637 h 208496"/>
                  <a:gd name="connsiteX10" fmla="*/ 319482 w 349152"/>
                  <a:gd name="connsiteY10" fmla="*/ 50769 h 208496"/>
                  <a:gd name="connsiteX11" fmla="*/ 144427 w 349152"/>
                  <a:gd name="connsiteY11" fmla="*/ 86374 h 208496"/>
                  <a:gd name="connsiteX12" fmla="*/ 180031 w 349152"/>
                  <a:gd name="connsiteY12" fmla="*/ 41868 h 208496"/>
                  <a:gd name="connsiteX13" fmla="*/ 233438 w 349152"/>
                  <a:gd name="connsiteY13" fmla="*/ 24066 h 208496"/>
                  <a:gd name="connsiteX14" fmla="*/ 200801 w 349152"/>
                  <a:gd name="connsiteY14" fmla="*/ 330 h 208496"/>
                  <a:gd name="connsiteX15" fmla="*/ 135526 w 349152"/>
                  <a:gd name="connsiteY15" fmla="*/ 9231 h 208496"/>
                  <a:gd name="connsiteX16" fmla="*/ 52449 w 349152"/>
                  <a:gd name="connsiteY16" fmla="*/ 41868 h 208496"/>
                  <a:gd name="connsiteX17" fmla="*/ 13877 w 349152"/>
                  <a:gd name="connsiteY17" fmla="*/ 160549 h 20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49152" h="208496">
                    <a:moveTo>
                      <a:pt x="13877" y="160549"/>
                    </a:moveTo>
                    <a:cubicBezTo>
                      <a:pt x="13877" y="163516"/>
                      <a:pt x="13877" y="169450"/>
                      <a:pt x="19812" y="172417"/>
                    </a:cubicBezTo>
                    <a:cubicBezTo>
                      <a:pt x="64317" y="196154"/>
                      <a:pt x="138493" y="216923"/>
                      <a:pt x="194866" y="205055"/>
                    </a:cubicBezTo>
                    <a:cubicBezTo>
                      <a:pt x="230471" y="196154"/>
                      <a:pt x="328383" y="154615"/>
                      <a:pt x="331350" y="136813"/>
                    </a:cubicBezTo>
                    <a:cubicBezTo>
                      <a:pt x="331350" y="133846"/>
                      <a:pt x="322449" y="124945"/>
                      <a:pt x="319482" y="121978"/>
                    </a:cubicBezTo>
                    <a:cubicBezTo>
                      <a:pt x="313548" y="119011"/>
                      <a:pt x="283877" y="133846"/>
                      <a:pt x="277943" y="133846"/>
                    </a:cubicBezTo>
                    <a:cubicBezTo>
                      <a:pt x="292779" y="124945"/>
                      <a:pt x="310581" y="119011"/>
                      <a:pt x="325416" y="107143"/>
                    </a:cubicBezTo>
                    <a:cubicBezTo>
                      <a:pt x="337284" y="98242"/>
                      <a:pt x="349152" y="89341"/>
                      <a:pt x="349152" y="77472"/>
                    </a:cubicBezTo>
                    <a:cubicBezTo>
                      <a:pt x="349152" y="62637"/>
                      <a:pt x="343218" y="65604"/>
                      <a:pt x="334317" y="65604"/>
                    </a:cubicBezTo>
                    <a:cubicBezTo>
                      <a:pt x="334317" y="65604"/>
                      <a:pt x="340251" y="62637"/>
                      <a:pt x="340251" y="62637"/>
                    </a:cubicBezTo>
                    <a:cubicBezTo>
                      <a:pt x="343218" y="59670"/>
                      <a:pt x="322449" y="53736"/>
                      <a:pt x="319482" y="50769"/>
                    </a:cubicBezTo>
                    <a:cubicBezTo>
                      <a:pt x="304647" y="27033"/>
                      <a:pt x="174097" y="121978"/>
                      <a:pt x="144427" y="86374"/>
                    </a:cubicBezTo>
                    <a:cubicBezTo>
                      <a:pt x="147394" y="77472"/>
                      <a:pt x="162229" y="53736"/>
                      <a:pt x="180031" y="41868"/>
                    </a:cubicBezTo>
                    <a:cubicBezTo>
                      <a:pt x="221570" y="41868"/>
                      <a:pt x="236405" y="35934"/>
                      <a:pt x="233438" y="24066"/>
                    </a:cubicBezTo>
                    <a:cubicBezTo>
                      <a:pt x="233438" y="18132"/>
                      <a:pt x="212669" y="330"/>
                      <a:pt x="200801" y="330"/>
                    </a:cubicBezTo>
                    <a:cubicBezTo>
                      <a:pt x="174097" y="330"/>
                      <a:pt x="168163" y="-2637"/>
                      <a:pt x="135526" y="9231"/>
                    </a:cubicBezTo>
                    <a:cubicBezTo>
                      <a:pt x="108823" y="18132"/>
                      <a:pt x="82119" y="32967"/>
                      <a:pt x="52449" y="41868"/>
                    </a:cubicBezTo>
                    <a:cubicBezTo>
                      <a:pt x="-6892" y="56703"/>
                      <a:pt x="-9859" y="119011"/>
                      <a:pt x="13877" y="16054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2D254899-1631-42EA-A985-39FD554AA199}"/>
                  </a:ext>
                </a:extLst>
              </p:cNvPr>
              <p:cNvSpPr/>
              <p:nvPr/>
            </p:nvSpPr>
            <p:spPr>
              <a:xfrm>
                <a:off x="3839371" y="3856276"/>
                <a:ext cx="151318" cy="108953"/>
              </a:xfrm>
              <a:custGeom>
                <a:avLst/>
                <a:gdLst>
                  <a:gd name="connsiteX0" fmla="*/ 35604 w 151318"/>
                  <a:gd name="connsiteY0" fmla="*/ 108954 h 108953"/>
                  <a:gd name="connsiteX1" fmla="*/ 29670 w 151318"/>
                  <a:gd name="connsiteY1" fmla="*/ 105987 h 108953"/>
                  <a:gd name="connsiteX2" fmla="*/ 32637 w 151318"/>
                  <a:gd name="connsiteY2" fmla="*/ 100052 h 108953"/>
                  <a:gd name="connsiteX3" fmla="*/ 115714 w 151318"/>
                  <a:gd name="connsiteY3" fmla="*/ 52580 h 108953"/>
                  <a:gd name="connsiteX4" fmla="*/ 139451 w 151318"/>
                  <a:gd name="connsiteY4" fmla="*/ 22909 h 108953"/>
                  <a:gd name="connsiteX5" fmla="*/ 136484 w 151318"/>
                  <a:gd name="connsiteY5" fmla="*/ 14009 h 108953"/>
                  <a:gd name="connsiteX6" fmla="*/ 100879 w 151318"/>
                  <a:gd name="connsiteY6" fmla="*/ 37745 h 108953"/>
                  <a:gd name="connsiteX7" fmla="*/ 5934 w 151318"/>
                  <a:gd name="connsiteY7" fmla="*/ 91151 h 108953"/>
                  <a:gd name="connsiteX8" fmla="*/ 0 w 151318"/>
                  <a:gd name="connsiteY8" fmla="*/ 85217 h 108953"/>
                  <a:gd name="connsiteX9" fmla="*/ 5934 w 151318"/>
                  <a:gd name="connsiteY9" fmla="*/ 79283 h 108953"/>
                  <a:gd name="connsiteX10" fmla="*/ 94945 w 151318"/>
                  <a:gd name="connsiteY10" fmla="*/ 25876 h 108953"/>
                  <a:gd name="connsiteX11" fmla="*/ 142418 w 151318"/>
                  <a:gd name="connsiteY11" fmla="*/ 2140 h 108953"/>
                  <a:gd name="connsiteX12" fmla="*/ 151319 w 151318"/>
                  <a:gd name="connsiteY12" fmla="*/ 19943 h 108953"/>
                  <a:gd name="connsiteX13" fmla="*/ 121648 w 151318"/>
                  <a:gd name="connsiteY13" fmla="*/ 58514 h 108953"/>
                  <a:gd name="connsiteX14" fmla="*/ 35604 w 151318"/>
                  <a:gd name="connsiteY14" fmla="*/ 108954 h 108953"/>
                  <a:gd name="connsiteX15" fmla="*/ 35604 w 151318"/>
                  <a:gd name="connsiteY15" fmla="*/ 108954 h 108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1318" h="108953">
                    <a:moveTo>
                      <a:pt x="35604" y="108954"/>
                    </a:moveTo>
                    <a:cubicBezTo>
                      <a:pt x="32637" y="108954"/>
                      <a:pt x="32637" y="108954"/>
                      <a:pt x="29670" y="105987"/>
                    </a:cubicBezTo>
                    <a:cubicBezTo>
                      <a:pt x="29670" y="103020"/>
                      <a:pt x="29670" y="100052"/>
                      <a:pt x="32637" y="100052"/>
                    </a:cubicBezTo>
                    <a:cubicBezTo>
                      <a:pt x="32637" y="100052"/>
                      <a:pt x="94945" y="70382"/>
                      <a:pt x="115714" y="52580"/>
                    </a:cubicBezTo>
                    <a:cubicBezTo>
                      <a:pt x="127583" y="40712"/>
                      <a:pt x="139451" y="31811"/>
                      <a:pt x="139451" y="22909"/>
                    </a:cubicBezTo>
                    <a:cubicBezTo>
                      <a:pt x="139451" y="19943"/>
                      <a:pt x="139451" y="16976"/>
                      <a:pt x="136484" y="14009"/>
                    </a:cubicBezTo>
                    <a:cubicBezTo>
                      <a:pt x="130550" y="16976"/>
                      <a:pt x="115714" y="28844"/>
                      <a:pt x="100879" y="37745"/>
                    </a:cubicBezTo>
                    <a:cubicBezTo>
                      <a:pt x="71209" y="61481"/>
                      <a:pt x="32637" y="88184"/>
                      <a:pt x="5934" y="91151"/>
                    </a:cubicBezTo>
                    <a:cubicBezTo>
                      <a:pt x="2967" y="91151"/>
                      <a:pt x="0" y="88184"/>
                      <a:pt x="0" y="85217"/>
                    </a:cubicBezTo>
                    <a:cubicBezTo>
                      <a:pt x="0" y="82250"/>
                      <a:pt x="2967" y="79283"/>
                      <a:pt x="5934" y="79283"/>
                    </a:cubicBezTo>
                    <a:cubicBezTo>
                      <a:pt x="29670" y="76316"/>
                      <a:pt x="68242" y="46646"/>
                      <a:pt x="94945" y="25876"/>
                    </a:cubicBezTo>
                    <a:cubicBezTo>
                      <a:pt x="124615" y="2140"/>
                      <a:pt x="136484" y="-3794"/>
                      <a:pt x="142418" y="2140"/>
                    </a:cubicBezTo>
                    <a:cubicBezTo>
                      <a:pt x="148352" y="8074"/>
                      <a:pt x="151319" y="14009"/>
                      <a:pt x="151319" y="19943"/>
                    </a:cubicBezTo>
                    <a:cubicBezTo>
                      <a:pt x="151319" y="31811"/>
                      <a:pt x="139451" y="43679"/>
                      <a:pt x="121648" y="58514"/>
                    </a:cubicBezTo>
                    <a:cubicBezTo>
                      <a:pt x="100879" y="76316"/>
                      <a:pt x="41539" y="105987"/>
                      <a:pt x="35604" y="108954"/>
                    </a:cubicBezTo>
                    <a:cubicBezTo>
                      <a:pt x="38572" y="108954"/>
                      <a:pt x="35604" y="108954"/>
                      <a:pt x="35604" y="108954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69EBFAD4-3B01-4E69-9A5A-7F02A2F34A3D}"/>
                  </a:ext>
                </a:extLst>
              </p:cNvPr>
              <p:cNvSpPr/>
              <p:nvPr/>
            </p:nvSpPr>
            <p:spPr>
              <a:xfrm>
                <a:off x="3780031" y="3837072"/>
                <a:ext cx="190631" cy="62882"/>
              </a:xfrm>
              <a:custGeom>
                <a:avLst/>
                <a:gdLst>
                  <a:gd name="connsiteX0" fmla="*/ 41539 w 190631"/>
                  <a:gd name="connsiteY0" fmla="*/ 59916 h 62882"/>
                  <a:gd name="connsiteX1" fmla="*/ 2967 w 190631"/>
                  <a:gd name="connsiteY1" fmla="*/ 51015 h 62882"/>
                  <a:gd name="connsiteX2" fmla="*/ 0 w 190631"/>
                  <a:gd name="connsiteY2" fmla="*/ 45081 h 62882"/>
                  <a:gd name="connsiteX3" fmla="*/ 5934 w 190631"/>
                  <a:gd name="connsiteY3" fmla="*/ 42114 h 62882"/>
                  <a:gd name="connsiteX4" fmla="*/ 41539 w 190631"/>
                  <a:gd name="connsiteY4" fmla="*/ 48048 h 62882"/>
                  <a:gd name="connsiteX5" fmla="*/ 115714 w 190631"/>
                  <a:gd name="connsiteY5" fmla="*/ 18377 h 62882"/>
                  <a:gd name="connsiteX6" fmla="*/ 163187 w 190631"/>
                  <a:gd name="connsiteY6" fmla="*/ 575 h 62882"/>
                  <a:gd name="connsiteX7" fmla="*/ 186923 w 190631"/>
                  <a:gd name="connsiteY7" fmla="*/ 12443 h 62882"/>
                  <a:gd name="connsiteX8" fmla="*/ 189890 w 190631"/>
                  <a:gd name="connsiteY8" fmla="*/ 30245 h 62882"/>
                  <a:gd name="connsiteX9" fmla="*/ 183956 w 190631"/>
                  <a:gd name="connsiteY9" fmla="*/ 33213 h 62882"/>
                  <a:gd name="connsiteX10" fmla="*/ 180989 w 190631"/>
                  <a:gd name="connsiteY10" fmla="*/ 27278 h 62882"/>
                  <a:gd name="connsiteX11" fmla="*/ 180989 w 190631"/>
                  <a:gd name="connsiteY11" fmla="*/ 18377 h 62882"/>
                  <a:gd name="connsiteX12" fmla="*/ 166154 w 190631"/>
                  <a:gd name="connsiteY12" fmla="*/ 12443 h 62882"/>
                  <a:gd name="connsiteX13" fmla="*/ 124615 w 190631"/>
                  <a:gd name="connsiteY13" fmla="*/ 30245 h 62882"/>
                  <a:gd name="connsiteX14" fmla="*/ 47473 w 190631"/>
                  <a:gd name="connsiteY14" fmla="*/ 62883 h 62882"/>
                  <a:gd name="connsiteX15" fmla="*/ 41539 w 190631"/>
                  <a:gd name="connsiteY15" fmla="*/ 59916 h 62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0631" h="62882">
                    <a:moveTo>
                      <a:pt x="41539" y="59916"/>
                    </a:moveTo>
                    <a:cubicBezTo>
                      <a:pt x="26703" y="59916"/>
                      <a:pt x="5934" y="51015"/>
                      <a:pt x="2967" y="51015"/>
                    </a:cubicBezTo>
                    <a:cubicBezTo>
                      <a:pt x="0" y="51015"/>
                      <a:pt x="0" y="48048"/>
                      <a:pt x="0" y="45081"/>
                    </a:cubicBezTo>
                    <a:cubicBezTo>
                      <a:pt x="0" y="42114"/>
                      <a:pt x="2967" y="42114"/>
                      <a:pt x="5934" y="42114"/>
                    </a:cubicBezTo>
                    <a:cubicBezTo>
                      <a:pt x="5934" y="42114"/>
                      <a:pt x="29670" y="51015"/>
                      <a:pt x="41539" y="48048"/>
                    </a:cubicBezTo>
                    <a:cubicBezTo>
                      <a:pt x="71209" y="45081"/>
                      <a:pt x="94945" y="30245"/>
                      <a:pt x="115714" y="18377"/>
                    </a:cubicBezTo>
                    <a:cubicBezTo>
                      <a:pt x="133516" y="6509"/>
                      <a:pt x="148352" y="-2392"/>
                      <a:pt x="163187" y="575"/>
                    </a:cubicBezTo>
                    <a:cubicBezTo>
                      <a:pt x="175055" y="575"/>
                      <a:pt x="180989" y="6509"/>
                      <a:pt x="186923" y="12443"/>
                    </a:cubicBezTo>
                    <a:cubicBezTo>
                      <a:pt x="192857" y="21344"/>
                      <a:pt x="189890" y="27278"/>
                      <a:pt x="189890" y="30245"/>
                    </a:cubicBezTo>
                    <a:cubicBezTo>
                      <a:pt x="189890" y="33213"/>
                      <a:pt x="186923" y="36180"/>
                      <a:pt x="183956" y="33213"/>
                    </a:cubicBezTo>
                    <a:cubicBezTo>
                      <a:pt x="180989" y="33213"/>
                      <a:pt x="180989" y="30245"/>
                      <a:pt x="180989" y="27278"/>
                    </a:cubicBezTo>
                    <a:cubicBezTo>
                      <a:pt x="180989" y="27278"/>
                      <a:pt x="180989" y="24311"/>
                      <a:pt x="180989" y="18377"/>
                    </a:cubicBezTo>
                    <a:cubicBezTo>
                      <a:pt x="178022" y="15410"/>
                      <a:pt x="175055" y="12443"/>
                      <a:pt x="166154" y="12443"/>
                    </a:cubicBezTo>
                    <a:cubicBezTo>
                      <a:pt x="157253" y="12443"/>
                      <a:pt x="142418" y="18377"/>
                      <a:pt x="124615" y="30245"/>
                    </a:cubicBezTo>
                    <a:cubicBezTo>
                      <a:pt x="103846" y="42114"/>
                      <a:pt x="77143" y="56949"/>
                      <a:pt x="47473" y="62883"/>
                    </a:cubicBezTo>
                    <a:cubicBezTo>
                      <a:pt x="44505" y="59916"/>
                      <a:pt x="44505" y="59916"/>
                      <a:pt x="41539" y="5991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8BC41AF7-70CE-4340-98FE-D6A77E6D901A}"/>
                </a:ext>
              </a:extLst>
            </p:cNvPr>
            <p:cNvGrpSpPr/>
            <p:nvPr/>
          </p:nvGrpSpPr>
          <p:grpSpPr>
            <a:xfrm>
              <a:off x="4651864" y="3844552"/>
              <a:ext cx="154760" cy="108809"/>
              <a:chOff x="4651864" y="3844552"/>
              <a:chExt cx="154760" cy="108809"/>
            </a:xfrm>
          </p:grpSpPr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A4D5A619-BA48-4AB0-BA17-7E814BE1D476}"/>
                  </a:ext>
                </a:extLst>
              </p:cNvPr>
              <p:cNvSpPr/>
              <p:nvPr/>
            </p:nvSpPr>
            <p:spPr>
              <a:xfrm>
                <a:off x="4746111" y="3852215"/>
                <a:ext cx="59749" cy="95212"/>
              </a:xfrm>
              <a:custGeom>
                <a:avLst/>
                <a:gdLst>
                  <a:gd name="connsiteX0" fmla="*/ 54579 w 59749"/>
                  <a:gd name="connsiteY0" fmla="*/ 83344 h 95212"/>
                  <a:gd name="connsiteX1" fmla="*/ 51612 w 59749"/>
                  <a:gd name="connsiteY1" fmla="*/ 24004 h 95212"/>
                  <a:gd name="connsiteX2" fmla="*/ 51612 w 59749"/>
                  <a:gd name="connsiteY2" fmla="*/ 15103 h 95212"/>
                  <a:gd name="connsiteX3" fmla="*/ 45678 w 59749"/>
                  <a:gd name="connsiteY3" fmla="*/ 6202 h 95212"/>
                  <a:gd name="connsiteX4" fmla="*/ 10073 w 59749"/>
                  <a:gd name="connsiteY4" fmla="*/ 3235 h 95212"/>
                  <a:gd name="connsiteX5" fmla="*/ 1172 w 59749"/>
                  <a:gd name="connsiteY5" fmla="*/ 32905 h 95212"/>
                  <a:gd name="connsiteX6" fmla="*/ 7106 w 59749"/>
                  <a:gd name="connsiteY6" fmla="*/ 71476 h 95212"/>
                  <a:gd name="connsiteX7" fmla="*/ 24908 w 59749"/>
                  <a:gd name="connsiteY7" fmla="*/ 95213 h 95212"/>
                  <a:gd name="connsiteX8" fmla="*/ 54579 w 59749"/>
                  <a:gd name="connsiteY8" fmla="*/ 83344 h 95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749" h="95212">
                    <a:moveTo>
                      <a:pt x="54579" y="83344"/>
                    </a:moveTo>
                    <a:cubicBezTo>
                      <a:pt x="66447" y="65542"/>
                      <a:pt x="54579" y="44773"/>
                      <a:pt x="51612" y="24004"/>
                    </a:cubicBezTo>
                    <a:cubicBezTo>
                      <a:pt x="51612" y="21037"/>
                      <a:pt x="51612" y="15103"/>
                      <a:pt x="51612" y="15103"/>
                    </a:cubicBezTo>
                    <a:cubicBezTo>
                      <a:pt x="51612" y="12136"/>
                      <a:pt x="48645" y="9169"/>
                      <a:pt x="45678" y="6202"/>
                    </a:cubicBezTo>
                    <a:cubicBezTo>
                      <a:pt x="36777" y="267"/>
                      <a:pt x="21941" y="-2700"/>
                      <a:pt x="10073" y="3235"/>
                    </a:cubicBezTo>
                    <a:cubicBezTo>
                      <a:pt x="-4762" y="9169"/>
                      <a:pt x="1172" y="24004"/>
                      <a:pt x="1172" y="32905"/>
                    </a:cubicBezTo>
                    <a:cubicBezTo>
                      <a:pt x="1172" y="44773"/>
                      <a:pt x="4139" y="56641"/>
                      <a:pt x="7106" y="71476"/>
                    </a:cubicBezTo>
                    <a:cubicBezTo>
                      <a:pt x="10073" y="80377"/>
                      <a:pt x="10073" y="92246"/>
                      <a:pt x="24908" y="95213"/>
                    </a:cubicBezTo>
                    <a:cubicBezTo>
                      <a:pt x="36777" y="95213"/>
                      <a:pt x="51612" y="89278"/>
                      <a:pt x="54579" y="83344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1AB864DB-E68A-43CA-9D1A-6FC69EBF325F}"/>
                  </a:ext>
                </a:extLst>
              </p:cNvPr>
              <p:cNvSpPr/>
              <p:nvPr/>
            </p:nvSpPr>
            <p:spPr>
              <a:xfrm>
                <a:off x="4707540" y="3846281"/>
                <a:ext cx="63192" cy="97601"/>
              </a:xfrm>
              <a:custGeom>
                <a:avLst/>
                <a:gdLst>
                  <a:gd name="connsiteX0" fmla="*/ 54579 w 63192"/>
                  <a:gd name="connsiteY0" fmla="*/ 86312 h 97601"/>
                  <a:gd name="connsiteX1" fmla="*/ 54579 w 63192"/>
                  <a:gd name="connsiteY1" fmla="*/ 21037 h 97601"/>
                  <a:gd name="connsiteX2" fmla="*/ 51612 w 63192"/>
                  <a:gd name="connsiteY2" fmla="*/ 15103 h 97601"/>
                  <a:gd name="connsiteX3" fmla="*/ 45678 w 63192"/>
                  <a:gd name="connsiteY3" fmla="*/ 6202 h 97601"/>
                  <a:gd name="connsiteX4" fmla="*/ 10073 w 63192"/>
                  <a:gd name="connsiteY4" fmla="*/ 3235 h 97601"/>
                  <a:gd name="connsiteX5" fmla="*/ 1172 w 63192"/>
                  <a:gd name="connsiteY5" fmla="*/ 32905 h 97601"/>
                  <a:gd name="connsiteX6" fmla="*/ 7106 w 63192"/>
                  <a:gd name="connsiteY6" fmla="*/ 71476 h 97601"/>
                  <a:gd name="connsiteX7" fmla="*/ 24908 w 63192"/>
                  <a:gd name="connsiteY7" fmla="*/ 95213 h 97601"/>
                  <a:gd name="connsiteX8" fmla="*/ 54579 w 63192"/>
                  <a:gd name="connsiteY8" fmla="*/ 86312 h 97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3192" h="97601">
                    <a:moveTo>
                      <a:pt x="54579" y="86312"/>
                    </a:moveTo>
                    <a:cubicBezTo>
                      <a:pt x="72381" y="62575"/>
                      <a:pt x="57546" y="41806"/>
                      <a:pt x="54579" y="21037"/>
                    </a:cubicBezTo>
                    <a:cubicBezTo>
                      <a:pt x="54579" y="18070"/>
                      <a:pt x="54579" y="18070"/>
                      <a:pt x="51612" y="15103"/>
                    </a:cubicBezTo>
                    <a:cubicBezTo>
                      <a:pt x="51612" y="12136"/>
                      <a:pt x="48645" y="9169"/>
                      <a:pt x="45678" y="6202"/>
                    </a:cubicBezTo>
                    <a:cubicBezTo>
                      <a:pt x="36777" y="268"/>
                      <a:pt x="21941" y="-2699"/>
                      <a:pt x="10073" y="3235"/>
                    </a:cubicBezTo>
                    <a:cubicBezTo>
                      <a:pt x="-4762" y="9169"/>
                      <a:pt x="1172" y="24004"/>
                      <a:pt x="1172" y="32905"/>
                    </a:cubicBezTo>
                    <a:cubicBezTo>
                      <a:pt x="1172" y="44773"/>
                      <a:pt x="4139" y="56641"/>
                      <a:pt x="7106" y="71476"/>
                    </a:cubicBezTo>
                    <a:cubicBezTo>
                      <a:pt x="10073" y="80377"/>
                      <a:pt x="10073" y="92246"/>
                      <a:pt x="24908" y="95213"/>
                    </a:cubicBezTo>
                    <a:cubicBezTo>
                      <a:pt x="33810" y="101147"/>
                      <a:pt x="45678" y="95213"/>
                      <a:pt x="54579" y="86312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D02CF023-AABA-4C00-B5E9-D47E06F29B94}"/>
                  </a:ext>
                </a:extLst>
              </p:cNvPr>
              <p:cNvSpPr/>
              <p:nvPr/>
            </p:nvSpPr>
            <p:spPr>
              <a:xfrm>
                <a:off x="4678712" y="3865834"/>
                <a:ext cx="51460" cy="84560"/>
              </a:xfrm>
              <a:custGeom>
                <a:avLst/>
                <a:gdLst>
                  <a:gd name="connsiteX0" fmla="*/ 41868 w 51460"/>
                  <a:gd name="connsiteY0" fmla="*/ 69725 h 84560"/>
                  <a:gd name="connsiteX1" fmla="*/ 44835 w 51460"/>
                  <a:gd name="connsiteY1" fmla="*/ 13352 h 84560"/>
                  <a:gd name="connsiteX2" fmla="*/ 41868 w 51460"/>
                  <a:gd name="connsiteY2" fmla="*/ 10385 h 84560"/>
                  <a:gd name="connsiteX3" fmla="*/ 38901 w 51460"/>
                  <a:gd name="connsiteY3" fmla="*/ 4451 h 84560"/>
                  <a:gd name="connsiteX4" fmla="*/ 9231 w 51460"/>
                  <a:gd name="connsiteY4" fmla="*/ 4451 h 84560"/>
                  <a:gd name="connsiteX5" fmla="*/ 330 w 51460"/>
                  <a:gd name="connsiteY5" fmla="*/ 31154 h 84560"/>
                  <a:gd name="connsiteX6" fmla="*/ 3297 w 51460"/>
                  <a:gd name="connsiteY6" fmla="*/ 63791 h 84560"/>
                  <a:gd name="connsiteX7" fmla="*/ 15165 w 51460"/>
                  <a:gd name="connsiteY7" fmla="*/ 84560 h 84560"/>
                  <a:gd name="connsiteX8" fmla="*/ 41868 w 51460"/>
                  <a:gd name="connsiteY8" fmla="*/ 69725 h 84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1460" h="84560">
                    <a:moveTo>
                      <a:pt x="41868" y="69725"/>
                    </a:moveTo>
                    <a:cubicBezTo>
                      <a:pt x="59670" y="48956"/>
                      <a:pt x="47802" y="31154"/>
                      <a:pt x="44835" y="13352"/>
                    </a:cubicBezTo>
                    <a:cubicBezTo>
                      <a:pt x="44835" y="10385"/>
                      <a:pt x="44835" y="10385"/>
                      <a:pt x="41868" y="10385"/>
                    </a:cubicBezTo>
                    <a:cubicBezTo>
                      <a:pt x="41868" y="7418"/>
                      <a:pt x="38901" y="4451"/>
                      <a:pt x="38901" y="4451"/>
                    </a:cubicBezTo>
                    <a:cubicBezTo>
                      <a:pt x="32967" y="-1484"/>
                      <a:pt x="18132" y="-1484"/>
                      <a:pt x="9231" y="4451"/>
                    </a:cubicBezTo>
                    <a:cubicBezTo>
                      <a:pt x="-2637" y="10385"/>
                      <a:pt x="330" y="22253"/>
                      <a:pt x="330" y="31154"/>
                    </a:cubicBezTo>
                    <a:cubicBezTo>
                      <a:pt x="330" y="43022"/>
                      <a:pt x="3297" y="54890"/>
                      <a:pt x="3297" y="63791"/>
                    </a:cubicBezTo>
                    <a:cubicBezTo>
                      <a:pt x="6264" y="69725"/>
                      <a:pt x="6264" y="81593"/>
                      <a:pt x="15165" y="84560"/>
                    </a:cubicBezTo>
                    <a:cubicBezTo>
                      <a:pt x="27033" y="81593"/>
                      <a:pt x="35934" y="75659"/>
                      <a:pt x="41868" y="69725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DFEEFBA2-1746-476E-9883-FD75BA3BD780}"/>
                  </a:ext>
                </a:extLst>
              </p:cNvPr>
              <p:cNvSpPr/>
              <p:nvPr/>
            </p:nvSpPr>
            <p:spPr>
              <a:xfrm>
                <a:off x="4651864" y="3881694"/>
                <a:ext cx="36316" cy="62766"/>
              </a:xfrm>
              <a:custGeom>
                <a:avLst/>
                <a:gdLst>
                  <a:gd name="connsiteX0" fmla="*/ 30145 w 36316"/>
                  <a:gd name="connsiteY0" fmla="*/ 53866 h 62766"/>
                  <a:gd name="connsiteX1" fmla="*/ 33112 w 36316"/>
                  <a:gd name="connsiteY1" fmla="*/ 12327 h 62766"/>
                  <a:gd name="connsiteX2" fmla="*/ 33112 w 36316"/>
                  <a:gd name="connsiteY2" fmla="*/ 9360 h 62766"/>
                  <a:gd name="connsiteX3" fmla="*/ 30145 w 36316"/>
                  <a:gd name="connsiteY3" fmla="*/ 3426 h 62766"/>
                  <a:gd name="connsiteX4" fmla="*/ 6409 w 36316"/>
                  <a:gd name="connsiteY4" fmla="*/ 3426 h 62766"/>
                  <a:gd name="connsiteX5" fmla="*/ 475 w 36316"/>
                  <a:gd name="connsiteY5" fmla="*/ 24195 h 62766"/>
                  <a:gd name="connsiteX6" fmla="*/ 3442 w 36316"/>
                  <a:gd name="connsiteY6" fmla="*/ 47932 h 62766"/>
                  <a:gd name="connsiteX7" fmla="*/ 12343 w 36316"/>
                  <a:gd name="connsiteY7" fmla="*/ 62767 h 62766"/>
                  <a:gd name="connsiteX8" fmla="*/ 30145 w 36316"/>
                  <a:gd name="connsiteY8" fmla="*/ 53866 h 62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316" h="62766">
                    <a:moveTo>
                      <a:pt x="30145" y="53866"/>
                    </a:moveTo>
                    <a:cubicBezTo>
                      <a:pt x="42013" y="39030"/>
                      <a:pt x="33112" y="24195"/>
                      <a:pt x="33112" y="12327"/>
                    </a:cubicBezTo>
                    <a:cubicBezTo>
                      <a:pt x="33112" y="12327"/>
                      <a:pt x="33112" y="9360"/>
                      <a:pt x="33112" y="9360"/>
                    </a:cubicBezTo>
                    <a:cubicBezTo>
                      <a:pt x="33112" y="6393"/>
                      <a:pt x="30145" y="6393"/>
                      <a:pt x="30145" y="3426"/>
                    </a:cubicBezTo>
                    <a:cubicBezTo>
                      <a:pt x="24211" y="459"/>
                      <a:pt x="15310" y="-2508"/>
                      <a:pt x="6409" y="3426"/>
                    </a:cubicBezTo>
                    <a:cubicBezTo>
                      <a:pt x="-2492" y="9360"/>
                      <a:pt x="475" y="18261"/>
                      <a:pt x="475" y="24195"/>
                    </a:cubicBezTo>
                    <a:cubicBezTo>
                      <a:pt x="475" y="33096"/>
                      <a:pt x="475" y="41997"/>
                      <a:pt x="3442" y="47932"/>
                    </a:cubicBezTo>
                    <a:cubicBezTo>
                      <a:pt x="3442" y="53866"/>
                      <a:pt x="3442" y="59800"/>
                      <a:pt x="12343" y="62767"/>
                    </a:cubicBezTo>
                    <a:cubicBezTo>
                      <a:pt x="18277" y="62767"/>
                      <a:pt x="27178" y="56833"/>
                      <a:pt x="30145" y="53866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82B64D64-15EA-459E-ABAA-297BE0A94E28}"/>
                  </a:ext>
                </a:extLst>
              </p:cNvPr>
              <p:cNvSpPr/>
              <p:nvPr/>
            </p:nvSpPr>
            <p:spPr>
              <a:xfrm>
                <a:off x="4701373" y="3844552"/>
                <a:ext cx="105250" cy="108809"/>
              </a:xfrm>
              <a:custGeom>
                <a:avLst/>
                <a:gdLst>
                  <a:gd name="connsiteX0" fmla="*/ 39976 w 105250"/>
                  <a:gd name="connsiteY0" fmla="*/ 105842 h 108809"/>
                  <a:gd name="connsiteX1" fmla="*/ 22174 w 105250"/>
                  <a:gd name="connsiteY1" fmla="*/ 99908 h 108809"/>
                  <a:gd name="connsiteX2" fmla="*/ 1404 w 105250"/>
                  <a:gd name="connsiteY2" fmla="*/ 49469 h 108809"/>
                  <a:gd name="connsiteX3" fmla="*/ 19207 w 105250"/>
                  <a:gd name="connsiteY3" fmla="*/ 1996 h 108809"/>
                  <a:gd name="connsiteX4" fmla="*/ 54811 w 105250"/>
                  <a:gd name="connsiteY4" fmla="*/ 7930 h 108809"/>
                  <a:gd name="connsiteX5" fmla="*/ 66679 w 105250"/>
                  <a:gd name="connsiteY5" fmla="*/ 4963 h 108809"/>
                  <a:gd name="connsiteX6" fmla="*/ 87448 w 105250"/>
                  <a:gd name="connsiteY6" fmla="*/ 7930 h 108809"/>
                  <a:gd name="connsiteX7" fmla="*/ 105251 w 105250"/>
                  <a:gd name="connsiteY7" fmla="*/ 70238 h 108809"/>
                  <a:gd name="connsiteX8" fmla="*/ 99317 w 105250"/>
                  <a:gd name="connsiteY8" fmla="*/ 76172 h 108809"/>
                  <a:gd name="connsiteX9" fmla="*/ 99317 w 105250"/>
                  <a:gd name="connsiteY9" fmla="*/ 76172 h 108809"/>
                  <a:gd name="connsiteX10" fmla="*/ 93383 w 105250"/>
                  <a:gd name="connsiteY10" fmla="*/ 70238 h 108809"/>
                  <a:gd name="connsiteX11" fmla="*/ 78547 w 105250"/>
                  <a:gd name="connsiteY11" fmla="*/ 16831 h 108809"/>
                  <a:gd name="connsiteX12" fmla="*/ 69646 w 105250"/>
                  <a:gd name="connsiteY12" fmla="*/ 16831 h 108809"/>
                  <a:gd name="connsiteX13" fmla="*/ 54811 w 105250"/>
                  <a:gd name="connsiteY13" fmla="*/ 25732 h 108809"/>
                  <a:gd name="connsiteX14" fmla="*/ 60745 w 105250"/>
                  <a:gd name="connsiteY14" fmla="*/ 91007 h 108809"/>
                  <a:gd name="connsiteX15" fmla="*/ 57778 w 105250"/>
                  <a:gd name="connsiteY15" fmla="*/ 99908 h 108809"/>
                  <a:gd name="connsiteX16" fmla="*/ 37009 w 105250"/>
                  <a:gd name="connsiteY16" fmla="*/ 108809 h 108809"/>
                  <a:gd name="connsiteX17" fmla="*/ 39976 w 105250"/>
                  <a:gd name="connsiteY17" fmla="*/ 105842 h 108809"/>
                  <a:gd name="connsiteX18" fmla="*/ 31075 w 105250"/>
                  <a:gd name="connsiteY18" fmla="*/ 10897 h 108809"/>
                  <a:gd name="connsiteX19" fmla="*/ 25141 w 105250"/>
                  <a:gd name="connsiteY19" fmla="*/ 10897 h 108809"/>
                  <a:gd name="connsiteX20" fmla="*/ 16240 w 105250"/>
                  <a:gd name="connsiteY20" fmla="*/ 46502 h 108809"/>
                  <a:gd name="connsiteX21" fmla="*/ 31075 w 105250"/>
                  <a:gd name="connsiteY21" fmla="*/ 91007 h 108809"/>
                  <a:gd name="connsiteX22" fmla="*/ 42943 w 105250"/>
                  <a:gd name="connsiteY22" fmla="*/ 93974 h 108809"/>
                  <a:gd name="connsiteX23" fmla="*/ 54811 w 105250"/>
                  <a:gd name="connsiteY23" fmla="*/ 91007 h 108809"/>
                  <a:gd name="connsiteX24" fmla="*/ 48877 w 105250"/>
                  <a:gd name="connsiteY24" fmla="*/ 19798 h 108809"/>
                  <a:gd name="connsiteX25" fmla="*/ 48877 w 105250"/>
                  <a:gd name="connsiteY25" fmla="*/ 16831 h 108809"/>
                  <a:gd name="connsiteX26" fmla="*/ 31075 w 105250"/>
                  <a:gd name="connsiteY26" fmla="*/ 10897 h 108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05250" h="108809">
                    <a:moveTo>
                      <a:pt x="39976" y="105842"/>
                    </a:moveTo>
                    <a:cubicBezTo>
                      <a:pt x="34042" y="105842"/>
                      <a:pt x="28108" y="102875"/>
                      <a:pt x="22174" y="99908"/>
                    </a:cubicBezTo>
                    <a:cubicBezTo>
                      <a:pt x="10306" y="91007"/>
                      <a:pt x="4372" y="73205"/>
                      <a:pt x="1404" y="49469"/>
                    </a:cubicBezTo>
                    <a:cubicBezTo>
                      <a:pt x="-1563" y="25732"/>
                      <a:pt x="-1563" y="7930"/>
                      <a:pt x="19207" y="1996"/>
                    </a:cubicBezTo>
                    <a:cubicBezTo>
                      <a:pt x="34042" y="-3938"/>
                      <a:pt x="51844" y="4963"/>
                      <a:pt x="54811" y="7930"/>
                    </a:cubicBezTo>
                    <a:cubicBezTo>
                      <a:pt x="57778" y="4963"/>
                      <a:pt x="63712" y="4963"/>
                      <a:pt x="66679" y="4963"/>
                    </a:cubicBezTo>
                    <a:cubicBezTo>
                      <a:pt x="75580" y="1996"/>
                      <a:pt x="81514" y="4963"/>
                      <a:pt x="87448" y="7930"/>
                    </a:cubicBezTo>
                    <a:cubicBezTo>
                      <a:pt x="105251" y="22765"/>
                      <a:pt x="105251" y="64304"/>
                      <a:pt x="105251" y="70238"/>
                    </a:cubicBezTo>
                    <a:cubicBezTo>
                      <a:pt x="105251" y="73205"/>
                      <a:pt x="102284" y="76172"/>
                      <a:pt x="99317" y="76172"/>
                    </a:cubicBezTo>
                    <a:lnTo>
                      <a:pt x="99317" y="76172"/>
                    </a:lnTo>
                    <a:cubicBezTo>
                      <a:pt x="96350" y="76172"/>
                      <a:pt x="93383" y="73205"/>
                      <a:pt x="93383" y="70238"/>
                    </a:cubicBezTo>
                    <a:cubicBezTo>
                      <a:pt x="93383" y="58370"/>
                      <a:pt x="90415" y="25732"/>
                      <a:pt x="78547" y="16831"/>
                    </a:cubicBezTo>
                    <a:cubicBezTo>
                      <a:pt x="75580" y="13864"/>
                      <a:pt x="72613" y="13864"/>
                      <a:pt x="69646" y="16831"/>
                    </a:cubicBezTo>
                    <a:cubicBezTo>
                      <a:pt x="63712" y="19798"/>
                      <a:pt x="57778" y="19798"/>
                      <a:pt x="54811" y="25732"/>
                    </a:cubicBezTo>
                    <a:cubicBezTo>
                      <a:pt x="48877" y="37600"/>
                      <a:pt x="51844" y="58370"/>
                      <a:pt x="60745" y="91007"/>
                    </a:cubicBezTo>
                    <a:cubicBezTo>
                      <a:pt x="60745" y="91007"/>
                      <a:pt x="60745" y="96941"/>
                      <a:pt x="57778" y="99908"/>
                    </a:cubicBezTo>
                    <a:cubicBezTo>
                      <a:pt x="54811" y="105842"/>
                      <a:pt x="48877" y="108809"/>
                      <a:pt x="37009" y="108809"/>
                    </a:cubicBezTo>
                    <a:cubicBezTo>
                      <a:pt x="42943" y="105842"/>
                      <a:pt x="42943" y="105842"/>
                      <a:pt x="39976" y="105842"/>
                    </a:cubicBezTo>
                    <a:close/>
                    <a:moveTo>
                      <a:pt x="31075" y="10897"/>
                    </a:moveTo>
                    <a:cubicBezTo>
                      <a:pt x="28108" y="10897"/>
                      <a:pt x="25141" y="10897"/>
                      <a:pt x="25141" y="10897"/>
                    </a:cubicBezTo>
                    <a:cubicBezTo>
                      <a:pt x="16240" y="13864"/>
                      <a:pt x="13273" y="19798"/>
                      <a:pt x="16240" y="46502"/>
                    </a:cubicBezTo>
                    <a:cubicBezTo>
                      <a:pt x="19207" y="73205"/>
                      <a:pt x="25141" y="85073"/>
                      <a:pt x="31075" y="91007"/>
                    </a:cubicBezTo>
                    <a:cubicBezTo>
                      <a:pt x="34042" y="93974"/>
                      <a:pt x="37009" y="93974"/>
                      <a:pt x="42943" y="93974"/>
                    </a:cubicBezTo>
                    <a:cubicBezTo>
                      <a:pt x="51844" y="93974"/>
                      <a:pt x="54811" y="91007"/>
                      <a:pt x="54811" y="91007"/>
                    </a:cubicBezTo>
                    <a:cubicBezTo>
                      <a:pt x="42943" y="55403"/>
                      <a:pt x="42943" y="31666"/>
                      <a:pt x="48877" y="19798"/>
                    </a:cubicBezTo>
                    <a:cubicBezTo>
                      <a:pt x="48877" y="19798"/>
                      <a:pt x="48877" y="16831"/>
                      <a:pt x="48877" y="16831"/>
                    </a:cubicBezTo>
                    <a:cubicBezTo>
                      <a:pt x="45910" y="13864"/>
                      <a:pt x="39976" y="10897"/>
                      <a:pt x="31075" y="10897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F45AFC26-E781-434A-A93E-B199EE38C9EA}"/>
                  </a:ext>
                </a:extLst>
              </p:cNvPr>
              <p:cNvSpPr/>
              <p:nvPr/>
            </p:nvSpPr>
            <p:spPr>
              <a:xfrm>
                <a:off x="4669558" y="3854975"/>
                <a:ext cx="59180" cy="98386"/>
              </a:xfrm>
              <a:custGeom>
                <a:avLst/>
                <a:gdLst>
                  <a:gd name="connsiteX0" fmla="*/ 27285 w 59180"/>
                  <a:gd name="connsiteY0" fmla="*/ 98387 h 98386"/>
                  <a:gd name="connsiteX1" fmla="*/ 15417 w 59180"/>
                  <a:gd name="connsiteY1" fmla="*/ 92453 h 98386"/>
                  <a:gd name="connsiteX2" fmla="*/ 582 w 59180"/>
                  <a:gd name="connsiteY2" fmla="*/ 27178 h 98386"/>
                  <a:gd name="connsiteX3" fmla="*/ 12450 w 59180"/>
                  <a:gd name="connsiteY3" fmla="*/ 6409 h 98386"/>
                  <a:gd name="connsiteX4" fmla="*/ 42120 w 59180"/>
                  <a:gd name="connsiteY4" fmla="*/ 475 h 98386"/>
                  <a:gd name="connsiteX5" fmla="*/ 48054 w 59180"/>
                  <a:gd name="connsiteY5" fmla="*/ 6409 h 98386"/>
                  <a:gd name="connsiteX6" fmla="*/ 42120 w 59180"/>
                  <a:gd name="connsiteY6" fmla="*/ 12343 h 98386"/>
                  <a:gd name="connsiteX7" fmla="*/ 21351 w 59180"/>
                  <a:gd name="connsiteY7" fmla="*/ 15310 h 98386"/>
                  <a:gd name="connsiteX8" fmla="*/ 15417 w 59180"/>
                  <a:gd name="connsiteY8" fmla="*/ 27178 h 98386"/>
                  <a:gd name="connsiteX9" fmla="*/ 27285 w 59180"/>
                  <a:gd name="connsiteY9" fmla="*/ 83552 h 98386"/>
                  <a:gd name="connsiteX10" fmla="*/ 30252 w 59180"/>
                  <a:gd name="connsiteY10" fmla="*/ 83552 h 98386"/>
                  <a:gd name="connsiteX11" fmla="*/ 48054 w 59180"/>
                  <a:gd name="connsiteY11" fmla="*/ 74651 h 98386"/>
                  <a:gd name="connsiteX12" fmla="*/ 56956 w 59180"/>
                  <a:gd name="connsiteY12" fmla="*/ 74651 h 98386"/>
                  <a:gd name="connsiteX13" fmla="*/ 56956 w 59180"/>
                  <a:gd name="connsiteY13" fmla="*/ 83552 h 98386"/>
                  <a:gd name="connsiteX14" fmla="*/ 27285 w 59180"/>
                  <a:gd name="connsiteY14" fmla="*/ 98387 h 98386"/>
                  <a:gd name="connsiteX15" fmla="*/ 27285 w 59180"/>
                  <a:gd name="connsiteY15" fmla="*/ 98387 h 98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9180" h="98386">
                    <a:moveTo>
                      <a:pt x="27285" y="98387"/>
                    </a:moveTo>
                    <a:cubicBezTo>
                      <a:pt x="21351" y="98387"/>
                      <a:pt x="15417" y="95420"/>
                      <a:pt x="15417" y="92453"/>
                    </a:cubicBezTo>
                    <a:cubicBezTo>
                      <a:pt x="6516" y="83552"/>
                      <a:pt x="-2385" y="53881"/>
                      <a:pt x="582" y="27178"/>
                    </a:cubicBezTo>
                    <a:cubicBezTo>
                      <a:pt x="582" y="18277"/>
                      <a:pt x="6516" y="12343"/>
                      <a:pt x="12450" y="6409"/>
                    </a:cubicBezTo>
                    <a:cubicBezTo>
                      <a:pt x="24318" y="-2492"/>
                      <a:pt x="42120" y="475"/>
                      <a:pt x="42120" y="475"/>
                    </a:cubicBezTo>
                    <a:cubicBezTo>
                      <a:pt x="45087" y="475"/>
                      <a:pt x="48054" y="3442"/>
                      <a:pt x="48054" y="6409"/>
                    </a:cubicBezTo>
                    <a:cubicBezTo>
                      <a:pt x="48054" y="9376"/>
                      <a:pt x="45087" y="12343"/>
                      <a:pt x="42120" y="12343"/>
                    </a:cubicBezTo>
                    <a:cubicBezTo>
                      <a:pt x="42120" y="12343"/>
                      <a:pt x="27285" y="9376"/>
                      <a:pt x="21351" y="15310"/>
                    </a:cubicBezTo>
                    <a:cubicBezTo>
                      <a:pt x="18384" y="18277"/>
                      <a:pt x="15417" y="21244"/>
                      <a:pt x="15417" y="27178"/>
                    </a:cubicBezTo>
                    <a:cubicBezTo>
                      <a:pt x="12450" y="50914"/>
                      <a:pt x="21351" y="77618"/>
                      <a:pt x="27285" y="83552"/>
                    </a:cubicBezTo>
                    <a:cubicBezTo>
                      <a:pt x="27285" y="83552"/>
                      <a:pt x="30252" y="83552"/>
                      <a:pt x="30252" y="83552"/>
                    </a:cubicBezTo>
                    <a:cubicBezTo>
                      <a:pt x="39153" y="83552"/>
                      <a:pt x="48054" y="77618"/>
                      <a:pt x="48054" y="74651"/>
                    </a:cubicBezTo>
                    <a:cubicBezTo>
                      <a:pt x="51022" y="71683"/>
                      <a:pt x="53989" y="71683"/>
                      <a:pt x="56956" y="74651"/>
                    </a:cubicBezTo>
                    <a:cubicBezTo>
                      <a:pt x="59923" y="77618"/>
                      <a:pt x="59923" y="80585"/>
                      <a:pt x="56956" y="83552"/>
                    </a:cubicBezTo>
                    <a:cubicBezTo>
                      <a:pt x="51022" y="89486"/>
                      <a:pt x="39153" y="95420"/>
                      <a:pt x="27285" y="98387"/>
                    </a:cubicBezTo>
                    <a:cubicBezTo>
                      <a:pt x="27285" y="98387"/>
                      <a:pt x="27285" y="98387"/>
                      <a:pt x="27285" y="98387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78" name="图形 1">
            <a:extLst>
              <a:ext uri="{FF2B5EF4-FFF2-40B4-BE49-F238E27FC236}">
                <a16:creationId xmlns:a16="http://schemas.microsoft.com/office/drawing/2014/main" id="{E97FCA65-E68C-4BCC-A542-D7643D749F95}"/>
              </a:ext>
            </a:extLst>
          </p:cNvPr>
          <p:cNvGrpSpPr/>
          <p:nvPr/>
        </p:nvGrpSpPr>
        <p:grpSpPr>
          <a:xfrm>
            <a:off x="5871773" y="1568821"/>
            <a:ext cx="3816541" cy="5195274"/>
            <a:chOff x="12844317" y="1695450"/>
            <a:chExt cx="3816541" cy="5195274"/>
          </a:xfrm>
        </p:grpSpPr>
        <p:grpSp>
          <p:nvGrpSpPr>
            <p:cNvPr id="79" name="图形 1">
              <a:extLst>
                <a:ext uri="{FF2B5EF4-FFF2-40B4-BE49-F238E27FC236}">
                  <a16:creationId xmlns:a16="http://schemas.microsoft.com/office/drawing/2014/main" id="{833ABBD0-AFA6-4AD4-844A-3D3C51CE1652}"/>
                </a:ext>
              </a:extLst>
            </p:cNvPr>
            <p:cNvGrpSpPr/>
            <p:nvPr/>
          </p:nvGrpSpPr>
          <p:grpSpPr>
            <a:xfrm>
              <a:off x="14222505" y="6291383"/>
              <a:ext cx="382957" cy="562699"/>
              <a:chOff x="14222505" y="6291383"/>
              <a:chExt cx="382957" cy="562699"/>
            </a:xfrm>
          </p:grpSpPr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36893646-E96D-4576-95D7-2D04B31A6F77}"/>
                  </a:ext>
                </a:extLst>
              </p:cNvPr>
              <p:cNvSpPr/>
              <p:nvPr/>
            </p:nvSpPr>
            <p:spPr>
              <a:xfrm>
                <a:off x="14321899" y="6291383"/>
                <a:ext cx="267032" cy="249231"/>
              </a:xfrm>
              <a:custGeom>
                <a:avLst/>
                <a:gdLst>
                  <a:gd name="connsiteX0" fmla="*/ 17802 w 267032"/>
                  <a:gd name="connsiteY0" fmla="*/ 133516 h 249231"/>
                  <a:gd name="connsiteX1" fmla="*/ 136484 w 267032"/>
                  <a:gd name="connsiteY1" fmla="*/ 0 h 249231"/>
                  <a:gd name="connsiteX2" fmla="*/ 267033 w 267032"/>
                  <a:gd name="connsiteY2" fmla="*/ 121649 h 249231"/>
                  <a:gd name="connsiteX3" fmla="*/ 124616 w 267032"/>
                  <a:gd name="connsiteY3" fmla="*/ 249231 h 249231"/>
                  <a:gd name="connsiteX4" fmla="*/ 0 w 267032"/>
                  <a:gd name="connsiteY4" fmla="*/ 169121 h 249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7032" h="249231">
                    <a:moveTo>
                      <a:pt x="17802" y="133516"/>
                    </a:moveTo>
                    <a:lnTo>
                      <a:pt x="136484" y="0"/>
                    </a:lnTo>
                    <a:lnTo>
                      <a:pt x="267033" y="121649"/>
                    </a:lnTo>
                    <a:lnTo>
                      <a:pt x="124616" y="249231"/>
                    </a:lnTo>
                    <a:lnTo>
                      <a:pt x="0" y="169121"/>
                    </a:ln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281E0B22-FA0F-4C1D-B684-7248E287EF3C}"/>
                  </a:ext>
                </a:extLst>
              </p:cNvPr>
              <p:cNvSpPr/>
              <p:nvPr/>
            </p:nvSpPr>
            <p:spPr>
              <a:xfrm>
                <a:off x="14250690" y="6415999"/>
                <a:ext cx="354772" cy="406483"/>
              </a:xfrm>
              <a:custGeom>
                <a:avLst/>
                <a:gdLst>
                  <a:gd name="connsiteX0" fmla="*/ 77143 w 354772"/>
                  <a:gd name="connsiteY0" fmla="*/ 0 h 406483"/>
                  <a:gd name="connsiteX1" fmla="*/ 240330 w 354772"/>
                  <a:gd name="connsiteY1" fmla="*/ 91978 h 406483"/>
                  <a:gd name="connsiteX2" fmla="*/ 278901 w 354772"/>
                  <a:gd name="connsiteY2" fmla="*/ 237363 h 406483"/>
                  <a:gd name="connsiteX3" fmla="*/ 344176 w 354772"/>
                  <a:gd name="connsiteY3" fmla="*/ 406483 h 406483"/>
                  <a:gd name="connsiteX4" fmla="*/ 0 w 354772"/>
                  <a:gd name="connsiteY4" fmla="*/ 77143 h 406483"/>
                  <a:gd name="connsiteX5" fmla="*/ 77143 w 354772"/>
                  <a:gd name="connsiteY5" fmla="*/ 0 h 406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4772" h="406483">
                    <a:moveTo>
                      <a:pt x="77143" y="0"/>
                    </a:moveTo>
                    <a:cubicBezTo>
                      <a:pt x="77143" y="0"/>
                      <a:pt x="151319" y="97912"/>
                      <a:pt x="240330" y="91978"/>
                    </a:cubicBezTo>
                    <a:cubicBezTo>
                      <a:pt x="240330" y="91978"/>
                      <a:pt x="255165" y="201758"/>
                      <a:pt x="278901" y="237363"/>
                    </a:cubicBezTo>
                    <a:cubicBezTo>
                      <a:pt x="305604" y="272967"/>
                      <a:pt x="382747" y="347143"/>
                      <a:pt x="344176" y="406483"/>
                    </a:cubicBezTo>
                    <a:lnTo>
                      <a:pt x="0" y="77143"/>
                    </a:lnTo>
                    <a:cubicBezTo>
                      <a:pt x="2967" y="77143"/>
                      <a:pt x="29670" y="20769"/>
                      <a:pt x="77143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F1D07177-977D-4356-B982-ADFA98836F2F}"/>
                  </a:ext>
                </a:extLst>
              </p:cNvPr>
              <p:cNvSpPr/>
              <p:nvPr/>
            </p:nvSpPr>
            <p:spPr>
              <a:xfrm rot="-2778769">
                <a:off x="14387260" y="6436690"/>
                <a:ext cx="44504" cy="474711"/>
              </a:xfrm>
              <a:custGeom>
                <a:avLst/>
                <a:gdLst>
                  <a:gd name="connsiteX0" fmla="*/ 0 w 44504"/>
                  <a:gd name="connsiteY0" fmla="*/ 0 h 474711"/>
                  <a:gd name="connsiteX1" fmla="*/ 44504 w 44504"/>
                  <a:gd name="connsiteY1" fmla="*/ 0 h 474711"/>
                  <a:gd name="connsiteX2" fmla="*/ 44504 w 44504"/>
                  <a:gd name="connsiteY2" fmla="*/ 474711 h 474711"/>
                  <a:gd name="connsiteX3" fmla="*/ 0 w 44504"/>
                  <a:gd name="connsiteY3" fmla="*/ 474711 h 474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504" h="474711">
                    <a:moveTo>
                      <a:pt x="0" y="0"/>
                    </a:moveTo>
                    <a:lnTo>
                      <a:pt x="44504" y="0"/>
                    </a:lnTo>
                    <a:lnTo>
                      <a:pt x="44504" y="474711"/>
                    </a:lnTo>
                    <a:lnTo>
                      <a:pt x="0" y="474711"/>
                    </a:lnTo>
                    <a:close/>
                  </a:path>
                </a:pathLst>
              </a:custGeom>
              <a:solidFill>
                <a:srgbClr val="38333D"/>
              </a:solidFill>
              <a:ln w="296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4" name="任意多边形: 形状 163">
                <a:extLst>
                  <a:ext uri="{FF2B5EF4-FFF2-40B4-BE49-F238E27FC236}">
                    <a16:creationId xmlns:a16="http://schemas.microsoft.com/office/drawing/2014/main" id="{C8F80BCD-7576-442A-833A-BEDED90867F7}"/>
                  </a:ext>
                </a:extLst>
              </p:cNvPr>
              <p:cNvSpPr/>
              <p:nvPr/>
            </p:nvSpPr>
            <p:spPr>
              <a:xfrm>
                <a:off x="14323547" y="6405779"/>
                <a:ext cx="173406" cy="105164"/>
              </a:xfrm>
              <a:custGeom>
                <a:avLst/>
                <a:gdLst>
                  <a:gd name="connsiteX0" fmla="*/ 167473 w 173406"/>
                  <a:gd name="connsiteY0" fmla="*/ 105165 h 105164"/>
                  <a:gd name="connsiteX1" fmla="*/ 167473 w 173406"/>
                  <a:gd name="connsiteY1" fmla="*/ 105165 h 105164"/>
                  <a:gd name="connsiteX2" fmla="*/ 1319 w 173406"/>
                  <a:gd name="connsiteY2" fmla="*/ 10220 h 105164"/>
                  <a:gd name="connsiteX3" fmla="*/ 1319 w 173406"/>
                  <a:gd name="connsiteY3" fmla="*/ 1319 h 105164"/>
                  <a:gd name="connsiteX4" fmla="*/ 10219 w 173406"/>
                  <a:gd name="connsiteY4" fmla="*/ 1319 h 105164"/>
                  <a:gd name="connsiteX5" fmla="*/ 167473 w 173406"/>
                  <a:gd name="connsiteY5" fmla="*/ 90330 h 105164"/>
                  <a:gd name="connsiteX6" fmla="*/ 173406 w 173406"/>
                  <a:gd name="connsiteY6" fmla="*/ 96264 h 105164"/>
                  <a:gd name="connsiteX7" fmla="*/ 167473 w 173406"/>
                  <a:gd name="connsiteY7" fmla="*/ 105165 h 105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3406" h="105164">
                    <a:moveTo>
                      <a:pt x="167473" y="105165"/>
                    </a:moveTo>
                    <a:cubicBezTo>
                      <a:pt x="167473" y="105165"/>
                      <a:pt x="167473" y="105165"/>
                      <a:pt x="167473" y="105165"/>
                    </a:cubicBezTo>
                    <a:cubicBezTo>
                      <a:pt x="72527" y="102198"/>
                      <a:pt x="4286" y="13187"/>
                      <a:pt x="1319" y="10220"/>
                    </a:cubicBezTo>
                    <a:cubicBezTo>
                      <a:pt x="-1648" y="7253"/>
                      <a:pt x="1319" y="4286"/>
                      <a:pt x="1319" y="1319"/>
                    </a:cubicBezTo>
                    <a:cubicBezTo>
                      <a:pt x="4286" y="-1648"/>
                      <a:pt x="7253" y="1319"/>
                      <a:pt x="10219" y="1319"/>
                    </a:cubicBezTo>
                    <a:cubicBezTo>
                      <a:pt x="10219" y="1319"/>
                      <a:pt x="78462" y="87363"/>
                      <a:pt x="167473" y="90330"/>
                    </a:cubicBezTo>
                    <a:cubicBezTo>
                      <a:pt x="170440" y="90330"/>
                      <a:pt x="173406" y="93297"/>
                      <a:pt x="173406" y="96264"/>
                    </a:cubicBezTo>
                    <a:cubicBezTo>
                      <a:pt x="173406" y="105165"/>
                      <a:pt x="170440" y="105165"/>
                      <a:pt x="167473" y="10516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AF48CBEC-2FF2-4686-B14F-925436133286}"/>
                  </a:ext>
                </a:extLst>
              </p:cNvPr>
              <p:cNvSpPr/>
              <p:nvPr/>
            </p:nvSpPr>
            <p:spPr>
              <a:xfrm>
                <a:off x="14455415" y="6543581"/>
                <a:ext cx="47472" cy="11868"/>
              </a:xfrm>
              <a:custGeom>
                <a:avLst/>
                <a:gdLst>
                  <a:gd name="connsiteX0" fmla="*/ 5934 w 47472"/>
                  <a:gd name="connsiteY0" fmla="*/ 11868 h 11868"/>
                  <a:gd name="connsiteX1" fmla="*/ 0 w 47472"/>
                  <a:gd name="connsiteY1" fmla="*/ 5934 h 11868"/>
                  <a:gd name="connsiteX2" fmla="*/ 5934 w 47472"/>
                  <a:gd name="connsiteY2" fmla="*/ 0 h 11868"/>
                  <a:gd name="connsiteX3" fmla="*/ 41538 w 47472"/>
                  <a:gd name="connsiteY3" fmla="*/ 0 h 11868"/>
                  <a:gd name="connsiteX4" fmla="*/ 47473 w 47472"/>
                  <a:gd name="connsiteY4" fmla="*/ 5934 h 11868"/>
                  <a:gd name="connsiteX5" fmla="*/ 41538 w 47472"/>
                  <a:gd name="connsiteY5" fmla="*/ 11868 h 11868"/>
                  <a:gd name="connsiteX6" fmla="*/ 5934 w 47472"/>
                  <a:gd name="connsiteY6" fmla="*/ 11868 h 11868"/>
                  <a:gd name="connsiteX7" fmla="*/ 5934 w 47472"/>
                  <a:gd name="connsiteY7" fmla="*/ 11868 h 11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472" h="11868">
                    <a:moveTo>
                      <a:pt x="5934" y="11868"/>
                    </a:moveTo>
                    <a:cubicBezTo>
                      <a:pt x="2967" y="11868"/>
                      <a:pt x="0" y="8901"/>
                      <a:pt x="0" y="5934"/>
                    </a:cubicBezTo>
                    <a:cubicBezTo>
                      <a:pt x="0" y="2967"/>
                      <a:pt x="2967" y="0"/>
                      <a:pt x="5934" y="0"/>
                    </a:cubicBezTo>
                    <a:lnTo>
                      <a:pt x="41538" y="0"/>
                    </a:lnTo>
                    <a:cubicBezTo>
                      <a:pt x="44505" y="0"/>
                      <a:pt x="47473" y="2967"/>
                      <a:pt x="47473" y="5934"/>
                    </a:cubicBezTo>
                    <a:cubicBezTo>
                      <a:pt x="47473" y="8901"/>
                      <a:pt x="44505" y="11868"/>
                      <a:pt x="41538" y="11868"/>
                    </a:cubicBezTo>
                    <a:lnTo>
                      <a:pt x="5934" y="11868"/>
                    </a:lnTo>
                    <a:cubicBezTo>
                      <a:pt x="5934" y="11868"/>
                      <a:pt x="5934" y="11868"/>
                      <a:pt x="5934" y="118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859921BD-C84C-4E88-B01D-B0D88F116360}"/>
                  </a:ext>
                </a:extLst>
              </p:cNvPr>
              <p:cNvSpPr/>
              <p:nvPr/>
            </p:nvSpPr>
            <p:spPr>
              <a:xfrm>
                <a:off x="14464317" y="6588087"/>
                <a:ext cx="47471" cy="11868"/>
              </a:xfrm>
              <a:custGeom>
                <a:avLst/>
                <a:gdLst>
                  <a:gd name="connsiteX0" fmla="*/ 5934 w 47471"/>
                  <a:gd name="connsiteY0" fmla="*/ 11868 h 11868"/>
                  <a:gd name="connsiteX1" fmla="*/ 0 w 47471"/>
                  <a:gd name="connsiteY1" fmla="*/ 5934 h 11868"/>
                  <a:gd name="connsiteX2" fmla="*/ 5934 w 47471"/>
                  <a:gd name="connsiteY2" fmla="*/ 0 h 11868"/>
                  <a:gd name="connsiteX3" fmla="*/ 41538 w 47471"/>
                  <a:gd name="connsiteY3" fmla="*/ 0 h 11868"/>
                  <a:gd name="connsiteX4" fmla="*/ 47472 w 47471"/>
                  <a:gd name="connsiteY4" fmla="*/ 5934 h 11868"/>
                  <a:gd name="connsiteX5" fmla="*/ 41538 w 47471"/>
                  <a:gd name="connsiteY5" fmla="*/ 11868 h 11868"/>
                  <a:gd name="connsiteX6" fmla="*/ 5934 w 47471"/>
                  <a:gd name="connsiteY6" fmla="*/ 11868 h 11868"/>
                  <a:gd name="connsiteX7" fmla="*/ 5934 w 47471"/>
                  <a:gd name="connsiteY7" fmla="*/ 11868 h 11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471" h="11868">
                    <a:moveTo>
                      <a:pt x="5934" y="11868"/>
                    </a:moveTo>
                    <a:cubicBezTo>
                      <a:pt x="2966" y="11868"/>
                      <a:pt x="0" y="8901"/>
                      <a:pt x="0" y="5934"/>
                    </a:cubicBezTo>
                    <a:cubicBezTo>
                      <a:pt x="0" y="2967"/>
                      <a:pt x="2966" y="0"/>
                      <a:pt x="5934" y="0"/>
                    </a:cubicBezTo>
                    <a:lnTo>
                      <a:pt x="41538" y="0"/>
                    </a:lnTo>
                    <a:cubicBezTo>
                      <a:pt x="44505" y="0"/>
                      <a:pt x="47472" y="2967"/>
                      <a:pt x="47472" y="5934"/>
                    </a:cubicBezTo>
                    <a:cubicBezTo>
                      <a:pt x="47472" y="8901"/>
                      <a:pt x="44505" y="11868"/>
                      <a:pt x="41538" y="11868"/>
                    </a:cubicBezTo>
                    <a:lnTo>
                      <a:pt x="5934" y="11868"/>
                    </a:lnTo>
                    <a:lnTo>
                      <a:pt x="5934" y="11868"/>
                    </a:ln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0" name="图形 1">
              <a:extLst>
                <a:ext uri="{FF2B5EF4-FFF2-40B4-BE49-F238E27FC236}">
                  <a16:creationId xmlns:a16="http://schemas.microsoft.com/office/drawing/2014/main" id="{6F175650-6C73-4F0B-8F76-93FE0ABC808A}"/>
                </a:ext>
              </a:extLst>
            </p:cNvPr>
            <p:cNvGrpSpPr/>
            <p:nvPr/>
          </p:nvGrpSpPr>
          <p:grpSpPr>
            <a:xfrm>
              <a:off x="15339592" y="6555450"/>
              <a:ext cx="483626" cy="335274"/>
              <a:chOff x="15339592" y="6555450"/>
              <a:chExt cx="483626" cy="335274"/>
            </a:xfrm>
          </p:grpSpPr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2B244168-7C39-4672-B2EF-5555E6961C03}"/>
                  </a:ext>
                </a:extLst>
              </p:cNvPr>
              <p:cNvSpPr/>
              <p:nvPr/>
            </p:nvSpPr>
            <p:spPr>
              <a:xfrm>
                <a:off x="15357393" y="6555450"/>
                <a:ext cx="178021" cy="219560"/>
              </a:xfrm>
              <a:custGeom>
                <a:avLst/>
                <a:gdLst>
                  <a:gd name="connsiteX0" fmla="*/ 2967 w 178021"/>
                  <a:gd name="connsiteY0" fmla="*/ 180989 h 219560"/>
                  <a:gd name="connsiteX1" fmla="*/ 0 w 178021"/>
                  <a:gd name="connsiteY1" fmla="*/ 0 h 219560"/>
                  <a:gd name="connsiteX2" fmla="*/ 178022 w 178021"/>
                  <a:gd name="connsiteY2" fmla="*/ 0 h 219560"/>
                  <a:gd name="connsiteX3" fmla="*/ 163187 w 178021"/>
                  <a:gd name="connsiteY3" fmla="*/ 189890 h 219560"/>
                  <a:gd name="connsiteX4" fmla="*/ 14835 w 178021"/>
                  <a:gd name="connsiteY4" fmla="*/ 219560 h 21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8021" h="219560">
                    <a:moveTo>
                      <a:pt x="2967" y="180989"/>
                    </a:moveTo>
                    <a:lnTo>
                      <a:pt x="0" y="0"/>
                    </a:lnTo>
                    <a:lnTo>
                      <a:pt x="178022" y="0"/>
                    </a:lnTo>
                    <a:lnTo>
                      <a:pt x="163187" y="189890"/>
                    </a:lnTo>
                    <a:lnTo>
                      <a:pt x="14835" y="219560"/>
                    </a:lnTo>
                    <a:close/>
                  </a:path>
                </a:pathLst>
              </a:custGeom>
              <a:solidFill>
                <a:srgbClr val="F49F84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36E6DA9E-6B6B-4C06-9DF9-71EC92C5FE20}"/>
                  </a:ext>
                </a:extLst>
              </p:cNvPr>
              <p:cNvSpPr/>
              <p:nvPr/>
            </p:nvSpPr>
            <p:spPr>
              <a:xfrm>
                <a:off x="15340580" y="6691933"/>
                <a:ext cx="482637" cy="154286"/>
              </a:xfrm>
              <a:custGeom>
                <a:avLst/>
                <a:gdLst>
                  <a:gd name="connsiteX0" fmla="*/ 7912 w 482637"/>
                  <a:gd name="connsiteY0" fmla="*/ 44505 h 154286"/>
                  <a:gd name="connsiteX1" fmla="*/ 188901 w 482637"/>
                  <a:gd name="connsiteY1" fmla="*/ 0 h 154286"/>
                  <a:gd name="connsiteX2" fmla="*/ 319451 w 482637"/>
                  <a:gd name="connsiteY2" fmla="*/ 77143 h 154286"/>
                  <a:gd name="connsiteX3" fmla="*/ 482637 w 482637"/>
                  <a:gd name="connsiteY3" fmla="*/ 154286 h 154286"/>
                  <a:gd name="connsiteX4" fmla="*/ 7912 w 482637"/>
                  <a:gd name="connsiteY4" fmla="*/ 154286 h 154286"/>
                  <a:gd name="connsiteX5" fmla="*/ 7912 w 482637"/>
                  <a:gd name="connsiteY5" fmla="*/ 44505 h 154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2637" h="154286">
                    <a:moveTo>
                      <a:pt x="7912" y="44505"/>
                    </a:moveTo>
                    <a:cubicBezTo>
                      <a:pt x="7912" y="44505"/>
                      <a:pt x="129561" y="62308"/>
                      <a:pt x="188901" y="0"/>
                    </a:cubicBezTo>
                    <a:cubicBezTo>
                      <a:pt x="188901" y="0"/>
                      <a:pt x="274945" y="68242"/>
                      <a:pt x="319451" y="77143"/>
                    </a:cubicBezTo>
                    <a:cubicBezTo>
                      <a:pt x="363956" y="86044"/>
                      <a:pt x="470770" y="83077"/>
                      <a:pt x="482637" y="154286"/>
                    </a:cubicBezTo>
                    <a:lnTo>
                      <a:pt x="7912" y="154286"/>
                    </a:lnTo>
                    <a:cubicBezTo>
                      <a:pt x="7912" y="154286"/>
                      <a:pt x="-9890" y="94945"/>
                      <a:pt x="7912" y="44505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9D623546-74A5-4BF7-84F2-7152B1D163EB}"/>
                  </a:ext>
                </a:extLst>
              </p:cNvPr>
              <p:cNvSpPr/>
              <p:nvPr/>
            </p:nvSpPr>
            <p:spPr>
              <a:xfrm>
                <a:off x="15348492" y="6846219"/>
                <a:ext cx="474725" cy="44505"/>
              </a:xfrm>
              <a:custGeom>
                <a:avLst/>
                <a:gdLst>
                  <a:gd name="connsiteX0" fmla="*/ 0 w 474725"/>
                  <a:gd name="connsiteY0" fmla="*/ 0 h 44505"/>
                  <a:gd name="connsiteX1" fmla="*/ 474725 w 474725"/>
                  <a:gd name="connsiteY1" fmla="*/ 0 h 44505"/>
                  <a:gd name="connsiteX2" fmla="*/ 474725 w 474725"/>
                  <a:gd name="connsiteY2" fmla="*/ 44506 h 44505"/>
                  <a:gd name="connsiteX3" fmla="*/ 0 w 474725"/>
                  <a:gd name="connsiteY3" fmla="*/ 44506 h 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725" h="44505">
                    <a:moveTo>
                      <a:pt x="0" y="0"/>
                    </a:moveTo>
                    <a:lnTo>
                      <a:pt x="474725" y="0"/>
                    </a:lnTo>
                    <a:lnTo>
                      <a:pt x="474725" y="44506"/>
                    </a:lnTo>
                    <a:lnTo>
                      <a:pt x="0" y="44506"/>
                    </a:lnTo>
                    <a:close/>
                  </a:path>
                </a:pathLst>
              </a:custGeom>
              <a:solidFill>
                <a:srgbClr val="38333D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8D9557B3-D390-4BE6-B1F1-CA3D6428DB32}"/>
                  </a:ext>
                </a:extLst>
              </p:cNvPr>
              <p:cNvSpPr/>
              <p:nvPr/>
            </p:nvSpPr>
            <p:spPr>
              <a:xfrm>
                <a:off x="15339592" y="6683774"/>
                <a:ext cx="195081" cy="61565"/>
              </a:xfrm>
              <a:custGeom>
                <a:avLst/>
                <a:gdLst>
                  <a:gd name="connsiteX0" fmla="*/ 41538 w 195081"/>
                  <a:gd name="connsiteY0" fmla="*/ 61566 h 61565"/>
                  <a:gd name="connsiteX1" fmla="*/ 5934 w 195081"/>
                  <a:gd name="connsiteY1" fmla="*/ 58599 h 61565"/>
                  <a:gd name="connsiteX2" fmla="*/ 0 w 195081"/>
                  <a:gd name="connsiteY2" fmla="*/ 52665 h 61565"/>
                  <a:gd name="connsiteX3" fmla="*/ 5934 w 195081"/>
                  <a:gd name="connsiteY3" fmla="*/ 46731 h 61565"/>
                  <a:gd name="connsiteX4" fmla="*/ 183956 w 195081"/>
                  <a:gd name="connsiteY4" fmla="*/ 2225 h 61565"/>
                  <a:gd name="connsiteX5" fmla="*/ 192857 w 195081"/>
                  <a:gd name="connsiteY5" fmla="*/ 2225 h 61565"/>
                  <a:gd name="connsiteX6" fmla="*/ 192857 w 195081"/>
                  <a:gd name="connsiteY6" fmla="*/ 11126 h 61565"/>
                  <a:gd name="connsiteX7" fmla="*/ 41538 w 195081"/>
                  <a:gd name="connsiteY7" fmla="*/ 61566 h 61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081" h="61565">
                    <a:moveTo>
                      <a:pt x="41538" y="61566"/>
                    </a:moveTo>
                    <a:cubicBezTo>
                      <a:pt x="20769" y="61566"/>
                      <a:pt x="8901" y="58599"/>
                      <a:pt x="5934" y="58599"/>
                    </a:cubicBezTo>
                    <a:cubicBezTo>
                      <a:pt x="2966" y="58599"/>
                      <a:pt x="0" y="55632"/>
                      <a:pt x="0" y="52665"/>
                    </a:cubicBezTo>
                    <a:cubicBezTo>
                      <a:pt x="0" y="49698"/>
                      <a:pt x="2966" y="46731"/>
                      <a:pt x="5934" y="46731"/>
                    </a:cubicBezTo>
                    <a:cubicBezTo>
                      <a:pt x="5934" y="46731"/>
                      <a:pt x="115714" y="61566"/>
                      <a:pt x="183956" y="2225"/>
                    </a:cubicBezTo>
                    <a:cubicBezTo>
                      <a:pt x="186923" y="-742"/>
                      <a:pt x="189890" y="-742"/>
                      <a:pt x="192857" y="2225"/>
                    </a:cubicBezTo>
                    <a:cubicBezTo>
                      <a:pt x="195823" y="5192"/>
                      <a:pt x="195823" y="8159"/>
                      <a:pt x="192857" y="11126"/>
                    </a:cubicBezTo>
                    <a:cubicBezTo>
                      <a:pt x="145384" y="52665"/>
                      <a:pt x="83077" y="61566"/>
                      <a:pt x="41538" y="6156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58B8E1FE-C6A1-4D57-9128-4817F5446924}"/>
                  </a:ext>
                </a:extLst>
              </p:cNvPr>
              <p:cNvSpPr/>
              <p:nvPr/>
            </p:nvSpPr>
            <p:spPr>
              <a:xfrm>
                <a:off x="15533190" y="6707510"/>
                <a:ext cx="37087" cy="40796"/>
              </a:xfrm>
              <a:custGeom>
                <a:avLst/>
                <a:gdLst>
                  <a:gd name="connsiteX0" fmla="*/ 5192 w 37087"/>
                  <a:gd name="connsiteY0" fmla="*/ 40797 h 40796"/>
                  <a:gd name="connsiteX1" fmla="*/ 2225 w 37087"/>
                  <a:gd name="connsiteY1" fmla="*/ 37830 h 40796"/>
                  <a:gd name="connsiteX2" fmla="*/ 2225 w 37087"/>
                  <a:gd name="connsiteY2" fmla="*/ 28929 h 40796"/>
                  <a:gd name="connsiteX3" fmla="*/ 25962 w 37087"/>
                  <a:gd name="connsiteY3" fmla="*/ 2225 h 40796"/>
                  <a:gd name="connsiteX4" fmla="*/ 34862 w 37087"/>
                  <a:gd name="connsiteY4" fmla="*/ 2225 h 40796"/>
                  <a:gd name="connsiteX5" fmla="*/ 34862 w 37087"/>
                  <a:gd name="connsiteY5" fmla="*/ 11127 h 40796"/>
                  <a:gd name="connsiteX6" fmla="*/ 11126 w 37087"/>
                  <a:gd name="connsiteY6" fmla="*/ 37830 h 40796"/>
                  <a:gd name="connsiteX7" fmla="*/ 5192 w 37087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87" h="40796">
                    <a:moveTo>
                      <a:pt x="5192" y="40797"/>
                    </a:moveTo>
                    <a:cubicBezTo>
                      <a:pt x="5192" y="40797"/>
                      <a:pt x="2225" y="40797"/>
                      <a:pt x="2225" y="37830"/>
                    </a:cubicBezTo>
                    <a:cubicBezTo>
                      <a:pt x="-742" y="34863"/>
                      <a:pt x="-742" y="31896"/>
                      <a:pt x="2225" y="28929"/>
                    </a:cubicBezTo>
                    <a:lnTo>
                      <a:pt x="25962" y="2225"/>
                    </a:lnTo>
                    <a:cubicBezTo>
                      <a:pt x="28929" y="-742"/>
                      <a:pt x="31895" y="-742"/>
                      <a:pt x="34862" y="2225"/>
                    </a:cubicBezTo>
                    <a:cubicBezTo>
                      <a:pt x="37829" y="5193"/>
                      <a:pt x="37829" y="8159"/>
                      <a:pt x="34862" y="11127"/>
                    </a:cubicBezTo>
                    <a:lnTo>
                      <a:pt x="11126" y="37830"/>
                    </a:lnTo>
                    <a:cubicBezTo>
                      <a:pt x="8159" y="40797"/>
                      <a:pt x="5192" y="40797"/>
                      <a:pt x="5192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5880ED40-C174-4075-B696-5723B3021876}"/>
                  </a:ext>
                </a:extLst>
              </p:cNvPr>
              <p:cNvSpPr/>
              <p:nvPr/>
            </p:nvSpPr>
            <p:spPr>
              <a:xfrm>
                <a:off x="15568794" y="6734213"/>
                <a:ext cx="40054" cy="40796"/>
              </a:xfrm>
              <a:custGeom>
                <a:avLst/>
                <a:gdLst>
                  <a:gd name="connsiteX0" fmla="*/ 5193 w 40054"/>
                  <a:gd name="connsiteY0" fmla="*/ 40797 h 40796"/>
                  <a:gd name="connsiteX1" fmla="*/ 2225 w 40054"/>
                  <a:gd name="connsiteY1" fmla="*/ 37830 h 40796"/>
                  <a:gd name="connsiteX2" fmla="*/ 2225 w 40054"/>
                  <a:gd name="connsiteY2" fmla="*/ 28929 h 40796"/>
                  <a:gd name="connsiteX3" fmla="*/ 28929 w 40054"/>
                  <a:gd name="connsiteY3" fmla="*/ 2225 h 40796"/>
                  <a:gd name="connsiteX4" fmla="*/ 37830 w 40054"/>
                  <a:gd name="connsiteY4" fmla="*/ 2225 h 40796"/>
                  <a:gd name="connsiteX5" fmla="*/ 37830 w 40054"/>
                  <a:gd name="connsiteY5" fmla="*/ 11126 h 40796"/>
                  <a:gd name="connsiteX6" fmla="*/ 11126 w 40054"/>
                  <a:gd name="connsiteY6" fmla="*/ 37830 h 40796"/>
                  <a:gd name="connsiteX7" fmla="*/ 5193 w 40054"/>
                  <a:gd name="connsiteY7" fmla="*/ 40797 h 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54" h="40796">
                    <a:moveTo>
                      <a:pt x="5193" y="40797"/>
                    </a:moveTo>
                    <a:cubicBezTo>
                      <a:pt x="5193" y="40797"/>
                      <a:pt x="2225" y="40797"/>
                      <a:pt x="2225" y="37830"/>
                    </a:cubicBezTo>
                    <a:cubicBezTo>
                      <a:pt x="-742" y="34863"/>
                      <a:pt x="-742" y="31895"/>
                      <a:pt x="2225" y="28929"/>
                    </a:cubicBezTo>
                    <a:lnTo>
                      <a:pt x="28929" y="2225"/>
                    </a:lnTo>
                    <a:cubicBezTo>
                      <a:pt x="31896" y="-742"/>
                      <a:pt x="34863" y="-742"/>
                      <a:pt x="37830" y="2225"/>
                    </a:cubicBezTo>
                    <a:cubicBezTo>
                      <a:pt x="40796" y="5192"/>
                      <a:pt x="40796" y="8159"/>
                      <a:pt x="37830" y="11126"/>
                    </a:cubicBezTo>
                    <a:lnTo>
                      <a:pt x="11126" y="37830"/>
                    </a:lnTo>
                    <a:cubicBezTo>
                      <a:pt x="8160" y="40797"/>
                      <a:pt x="8160" y="40797"/>
                      <a:pt x="5193" y="407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5C596114-2B46-45A4-BC89-F7DBC0B12A65}"/>
                </a:ext>
              </a:extLst>
            </p:cNvPr>
            <p:cNvSpPr/>
            <p:nvPr/>
          </p:nvSpPr>
          <p:spPr>
            <a:xfrm>
              <a:off x="14324866" y="4401383"/>
              <a:ext cx="1351816" cy="2234175"/>
            </a:xfrm>
            <a:custGeom>
              <a:avLst/>
              <a:gdLst>
                <a:gd name="connsiteX0" fmla="*/ 1344066 w 1351816"/>
                <a:gd name="connsiteY0" fmla="*/ 20769 h 2234175"/>
                <a:gd name="connsiteX1" fmla="*/ 1332198 w 1351816"/>
                <a:gd name="connsiteY1" fmla="*/ 1367802 h 2234175"/>
                <a:gd name="connsiteX2" fmla="*/ 1263956 w 1351816"/>
                <a:gd name="connsiteY2" fmla="*/ 2234176 h 2234175"/>
                <a:gd name="connsiteX3" fmla="*/ 976154 w 1351816"/>
                <a:gd name="connsiteY3" fmla="*/ 2234176 h 2234175"/>
                <a:gd name="connsiteX4" fmla="*/ 937583 w 1351816"/>
                <a:gd name="connsiteY4" fmla="*/ 1391539 h 2234175"/>
                <a:gd name="connsiteX5" fmla="*/ 857472 w 1351816"/>
                <a:gd name="connsiteY5" fmla="*/ 489560 h 2234175"/>
                <a:gd name="connsiteX6" fmla="*/ 818901 w 1351816"/>
                <a:gd name="connsiteY6" fmla="*/ 1373736 h 2234175"/>
                <a:gd name="connsiteX7" fmla="*/ 783297 w 1351816"/>
                <a:gd name="connsiteY7" fmla="*/ 1468681 h 2234175"/>
                <a:gd name="connsiteX8" fmla="*/ 278901 w 1351816"/>
                <a:gd name="connsiteY8" fmla="*/ 2121429 h 2234175"/>
                <a:gd name="connsiteX9" fmla="*/ 0 w 1351816"/>
                <a:gd name="connsiteY9" fmla="*/ 1887033 h 2234175"/>
                <a:gd name="connsiteX10" fmla="*/ 421319 w 1351816"/>
                <a:gd name="connsiteY10" fmla="*/ 1305495 h 2234175"/>
                <a:gd name="connsiteX11" fmla="*/ 344176 w 1351816"/>
                <a:gd name="connsiteY11" fmla="*/ 0 h 2234175"/>
                <a:gd name="connsiteX12" fmla="*/ 1344066 w 1351816"/>
                <a:gd name="connsiteY12" fmla="*/ 20769 h 223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51816" h="2234175">
                  <a:moveTo>
                    <a:pt x="1344066" y="20769"/>
                  </a:moveTo>
                  <a:cubicBezTo>
                    <a:pt x="1344066" y="20769"/>
                    <a:pt x="1367802" y="1065165"/>
                    <a:pt x="1332198" y="1367802"/>
                  </a:cubicBezTo>
                  <a:cubicBezTo>
                    <a:pt x="1302527" y="1631868"/>
                    <a:pt x="1263956" y="2234176"/>
                    <a:pt x="1263956" y="2234176"/>
                  </a:cubicBezTo>
                  <a:lnTo>
                    <a:pt x="976154" y="2234176"/>
                  </a:lnTo>
                  <a:cubicBezTo>
                    <a:pt x="976154" y="2234176"/>
                    <a:pt x="943516" y="1486484"/>
                    <a:pt x="937583" y="1391539"/>
                  </a:cubicBezTo>
                  <a:cubicBezTo>
                    <a:pt x="931648" y="1255055"/>
                    <a:pt x="872308" y="519231"/>
                    <a:pt x="857472" y="489560"/>
                  </a:cubicBezTo>
                  <a:cubicBezTo>
                    <a:pt x="845604" y="465824"/>
                    <a:pt x="824835" y="1171978"/>
                    <a:pt x="818901" y="1373736"/>
                  </a:cubicBezTo>
                  <a:cubicBezTo>
                    <a:pt x="818901" y="1409341"/>
                    <a:pt x="807033" y="1441978"/>
                    <a:pt x="783297" y="1468681"/>
                  </a:cubicBezTo>
                  <a:lnTo>
                    <a:pt x="278901" y="2121429"/>
                  </a:lnTo>
                  <a:lnTo>
                    <a:pt x="0" y="1887033"/>
                  </a:lnTo>
                  <a:lnTo>
                    <a:pt x="421319" y="1305495"/>
                  </a:lnTo>
                  <a:cubicBezTo>
                    <a:pt x="421319" y="1305495"/>
                    <a:pt x="302638" y="94945"/>
                    <a:pt x="344176" y="0"/>
                  </a:cubicBezTo>
                  <a:cubicBezTo>
                    <a:pt x="1026594" y="32638"/>
                    <a:pt x="1344066" y="20769"/>
                    <a:pt x="1344066" y="20769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1FCD14E7-A11C-4FC6-9D35-130A4231D235}"/>
                </a:ext>
              </a:extLst>
            </p:cNvPr>
            <p:cNvSpPr/>
            <p:nvPr/>
          </p:nvSpPr>
          <p:spPr>
            <a:xfrm>
              <a:off x="15179371" y="4540834"/>
              <a:ext cx="68242" cy="356043"/>
            </a:xfrm>
            <a:custGeom>
              <a:avLst/>
              <a:gdLst>
                <a:gd name="connsiteX0" fmla="*/ 5934 w 68242"/>
                <a:gd name="connsiteY0" fmla="*/ 356044 h 356043"/>
                <a:gd name="connsiteX1" fmla="*/ 5934 w 68242"/>
                <a:gd name="connsiteY1" fmla="*/ 356044 h 356043"/>
                <a:gd name="connsiteX2" fmla="*/ 0 w 68242"/>
                <a:gd name="connsiteY2" fmla="*/ 347143 h 356043"/>
                <a:gd name="connsiteX3" fmla="*/ 56374 w 68242"/>
                <a:gd name="connsiteY3" fmla="*/ 5934 h 356043"/>
                <a:gd name="connsiteX4" fmla="*/ 62308 w 68242"/>
                <a:gd name="connsiteY4" fmla="*/ 0 h 356043"/>
                <a:gd name="connsiteX5" fmla="*/ 62308 w 68242"/>
                <a:gd name="connsiteY5" fmla="*/ 0 h 356043"/>
                <a:gd name="connsiteX6" fmla="*/ 68242 w 68242"/>
                <a:gd name="connsiteY6" fmla="*/ 5934 h 356043"/>
                <a:gd name="connsiteX7" fmla="*/ 11869 w 68242"/>
                <a:gd name="connsiteY7" fmla="*/ 350110 h 356043"/>
                <a:gd name="connsiteX8" fmla="*/ 5934 w 68242"/>
                <a:gd name="connsiteY8" fmla="*/ 356044 h 356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242" h="356043">
                  <a:moveTo>
                    <a:pt x="5934" y="356044"/>
                  </a:moveTo>
                  <a:cubicBezTo>
                    <a:pt x="5934" y="356044"/>
                    <a:pt x="2967" y="356044"/>
                    <a:pt x="5934" y="356044"/>
                  </a:cubicBezTo>
                  <a:cubicBezTo>
                    <a:pt x="0" y="353077"/>
                    <a:pt x="0" y="350110"/>
                    <a:pt x="0" y="347143"/>
                  </a:cubicBezTo>
                  <a:cubicBezTo>
                    <a:pt x="47473" y="237363"/>
                    <a:pt x="56374" y="8901"/>
                    <a:pt x="56374" y="5934"/>
                  </a:cubicBezTo>
                  <a:cubicBezTo>
                    <a:pt x="56374" y="2967"/>
                    <a:pt x="59341" y="0"/>
                    <a:pt x="62308" y="0"/>
                  </a:cubicBezTo>
                  <a:cubicBezTo>
                    <a:pt x="62308" y="0"/>
                    <a:pt x="62308" y="0"/>
                    <a:pt x="62308" y="0"/>
                  </a:cubicBezTo>
                  <a:cubicBezTo>
                    <a:pt x="65275" y="0"/>
                    <a:pt x="68242" y="2967"/>
                    <a:pt x="68242" y="5934"/>
                  </a:cubicBezTo>
                  <a:cubicBezTo>
                    <a:pt x="68242" y="14835"/>
                    <a:pt x="59341" y="237363"/>
                    <a:pt x="11869" y="350110"/>
                  </a:cubicBezTo>
                  <a:cubicBezTo>
                    <a:pt x="8902" y="356044"/>
                    <a:pt x="8902" y="356044"/>
                    <a:pt x="5934" y="356044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AA09428E-7D3C-4835-863D-7F0F2189853B}"/>
                </a:ext>
              </a:extLst>
            </p:cNvPr>
            <p:cNvSpPr/>
            <p:nvPr/>
          </p:nvSpPr>
          <p:spPr>
            <a:xfrm>
              <a:off x="15204846" y="4472592"/>
              <a:ext cx="152547" cy="347142"/>
            </a:xfrm>
            <a:custGeom>
              <a:avLst/>
              <a:gdLst>
                <a:gd name="connsiteX0" fmla="*/ 7163 w 152547"/>
                <a:gd name="connsiteY0" fmla="*/ 347143 h 347142"/>
                <a:gd name="connsiteX1" fmla="*/ 1229 w 152547"/>
                <a:gd name="connsiteY1" fmla="*/ 344176 h 347142"/>
                <a:gd name="connsiteX2" fmla="*/ 4195 w 152547"/>
                <a:gd name="connsiteY2" fmla="*/ 335275 h 347142"/>
                <a:gd name="connsiteX3" fmla="*/ 108042 w 152547"/>
                <a:gd name="connsiteY3" fmla="*/ 261099 h 347142"/>
                <a:gd name="connsiteX4" fmla="*/ 140679 w 152547"/>
                <a:gd name="connsiteY4" fmla="*/ 5934 h 347142"/>
                <a:gd name="connsiteX5" fmla="*/ 146614 w 152547"/>
                <a:gd name="connsiteY5" fmla="*/ 0 h 347142"/>
                <a:gd name="connsiteX6" fmla="*/ 152547 w 152547"/>
                <a:gd name="connsiteY6" fmla="*/ 5934 h 347142"/>
                <a:gd name="connsiteX7" fmla="*/ 119910 w 152547"/>
                <a:gd name="connsiteY7" fmla="*/ 267033 h 347142"/>
                <a:gd name="connsiteX8" fmla="*/ 13097 w 152547"/>
                <a:gd name="connsiteY8" fmla="*/ 344176 h 347142"/>
                <a:gd name="connsiteX9" fmla="*/ 7163 w 152547"/>
                <a:gd name="connsiteY9" fmla="*/ 347143 h 34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547" h="347142">
                  <a:moveTo>
                    <a:pt x="7163" y="347143"/>
                  </a:moveTo>
                  <a:cubicBezTo>
                    <a:pt x="4195" y="347143"/>
                    <a:pt x="4195" y="347143"/>
                    <a:pt x="1229" y="344176"/>
                  </a:cubicBezTo>
                  <a:cubicBezTo>
                    <a:pt x="-1738" y="341209"/>
                    <a:pt x="1229" y="338242"/>
                    <a:pt x="4195" y="335275"/>
                  </a:cubicBezTo>
                  <a:cubicBezTo>
                    <a:pt x="42767" y="311538"/>
                    <a:pt x="99141" y="270000"/>
                    <a:pt x="108042" y="261099"/>
                  </a:cubicBezTo>
                  <a:cubicBezTo>
                    <a:pt x="116943" y="249231"/>
                    <a:pt x="131778" y="97912"/>
                    <a:pt x="140679" y="5934"/>
                  </a:cubicBezTo>
                  <a:cubicBezTo>
                    <a:pt x="140679" y="2967"/>
                    <a:pt x="143646" y="0"/>
                    <a:pt x="146614" y="0"/>
                  </a:cubicBezTo>
                  <a:cubicBezTo>
                    <a:pt x="149581" y="0"/>
                    <a:pt x="152547" y="2967"/>
                    <a:pt x="152547" y="5934"/>
                  </a:cubicBezTo>
                  <a:cubicBezTo>
                    <a:pt x="149581" y="47472"/>
                    <a:pt x="128811" y="252198"/>
                    <a:pt x="119910" y="267033"/>
                  </a:cubicBezTo>
                  <a:cubicBezTo>
                    <a:pt x="108042" y="281868"/>
                    <a:pt x="21998" y="338242"/>
                    <a:pt x="13097" y="344176"/>
                  </a:cubicBezTo>
                  <a:cubicBezTo>
                    <a:pt x="10130" y="347143"/>
                    <a:pt x="10130" y="347143"/>
                    <a:pt x="7163" y="347143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30608C31-A4D5-4F34-8962-F37A30C48507}"/>
                </a:ext>
              </a:extLst>
            </p:cNvPr>
            <p:cNvSpPr/>
            <p:nvPr/>
          </p:nvSpPr>
          <p:spPr>
            <a:xfrm>
              <a:off x="14654207" y="4410285"/>
              <a:ext cx="142417" cy="234395"/>
            </a:xfrm>
            <a:custGeom>
              <a:avLst/>
              <a:gdLst>
                <a:gd name="connsiteX0" fmla="*/ 5934 w 142417"/>
                <a:gd name="connsiteY0" fmla="*/ 234396 h 234395"/>
                <a:gd name="connsiteX1" fmla="*/ 0 w 142417"/>
                <a:gd name="connsiteY1" fmla="*/ 228461 h 234395"/>
                <a:gd name="connsiteX2" fmla="*/ 5934 w 142417"/>
                <a:gd name="connsiteY2" fmla="*/ 222527 h 234395"/>
                <a:gd name="connsiteX3" fmla="*/ 118681 w 142417"/>
                <a:gd name="connsiteY3" fmla="*/ 195824 h 234395"/>
                <a:gd name="connsiteX4" fmla="*/ 130549 w 142417"/>
                <a:gd name="connsiteY4" fmla="*/ 5934 h 234395"/>
                <a:gd name="connsiteX5" fmla="*/ 136484 w 142417"/>
                <a:gd name="connsiteY5" fmla="*/ 0 h 234395"/>
                <a:gd name="connsiteX6" fmla="*/ 142417 w 142417"/>
                <a:gd name="connsiteY6" fmla="*/ 5934 h 234395"/>
                <a:gd name="connsiteX7" fmla="*/ 127582 w 142417"/>
                <a:gd name="connsiteY7" fmla="*/ 198791 h 234395"/>
                <a:gd name="connsiteX8" fmla="*/ 5934 w 142417"/>
                <a:gd name="connsiteY8" fmla="*/ 234396 h 234395"/>
                <a:gd name="connsiteX9" fmla="*/ 5934 w 142417"/>
                <a:gd name="connsiteY9" fmla="*/ 234396 h 23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2417" h="234395">
                  <a:moveTo>
                    <a:pt x="5934" y="234396"/>
                  </a:moveTo>
                  <a:cubicBezTo>
                    <a:pt x="2967" y="234396"/>
                    <a:pt x="0" y="231429"/>
                    <a:pt x="0" y="228461"/>
                  </a:cubicBezTo>
                  <a:cubicBezTo>
                    <a:pt x="0" y="225494"/>
                    <a:pt x="2967" y="222527"/>
                    <a:pt x="5934" y="222527"/>
                  </a:cubicBezTo>
                  <a:cubicBezTo>
                    <a:pt x="56373" y="216594"/>
                    <a:pt x="115714" y="204725"/>
                    <a:pt x="118681" y="195824"/>
                  </a:cubicBezTo>
                  <a:cubicBezTo>
                    <a:pt x="124615" y="183956"/>
                    <a:pt x="130549" y="74176"/>
                    <a:pt x="130549" y="5934"/>
                  </a:cubicBezTo>
                  <a:cubicBezTo>
                    <a:pt x="130549" y="2967"/>
                    <a:pt x="133516" y="0"/>
                    <a:pt x="136484" y="0"/>
                  </a:cubicBezTo>
                  <a:cubicBezTo>
                    <a:pt x="139450" y="0"/>
                    <a:pt x="142417" y="2967"/>
                    <a:pt x="142417" y="5934"/>
                  </a:cubicBezTo>
                  <a:cubicBezTo>
                    <a:pt x="142417" y="23736"/>
                    <a:pt x="139450" y="180989"/>
                    <a:pt x="127582" y="198791"/>
                  </a:cubicBezTo>
                  <a:cubicBezTo>
                    <a:pt x="115714" y="219560"/>
                    <a:pt x="32638" y="231429"/>
                    <a:pt x="5934" y="234396"/>
                  </a:cubicBezTo>
                  <a:cubicBezTo>
                    <a:pt x="5934" y="234396"/>
                    <a:pt x="5934" y="234396"/>
                    <a:pt x="5934" y="234396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53930D56-EE05-468E-AF3E-7EF9BA80D782}"/>
                </a:ext>
              </a:extLst>
            </p:cNvPr>
            <p:cNvSpPr/>
            <p:nvPr/>
          </p:nvSpPr>
          <p:spPr>
            <a:xfrm>
              <a:off x="15579921" y="4425120"/>
              <a:ext cx="89010" cy="201758"/>
            </a:xfrm>
            <a:custGeom>
              <a:avLst/>
              <a:gdLst>
                <a:gd name="connsiteX0" fmla="*/ 77143 w 89010"/>
                <a:gd name="connsiteY0" fmla="*/ 198791 h 201758"/>
                <a:gd name="connsiteX1" fmla="*/ 20770 w 89010"/>
                <a:gd name="connsiteY1" fmla="*/ 175055 h 201758"/>
                <a:gd name="connsiteX2" fmla="*/ 0 w 89010"/>
                <a:gd name="connsiteY2" fmla="*/ 5934 h 201758"/>
                <a:gd name="connsiteX3" fmla="*/ 5934 w 89010"/>
                <a:gd name="connsiteY3" fmla="*/ 0 h 201758"/>
                <a:gd name="connsiteX4" fmla="*/ 5934 w 89010"/>
                <a:gd name="connsiteY4" fmla="*/ 0 h 201758"/>
                <a:gd name="connsiteX5" fmla="*/ 11869 w 89010"/>
                <a:gd name="connsiteY5" fmla="*/ 5934 h 201758"/>
                <a:gd name="connsiteX6" fmla="*/ 29670 w 89010"/>
                <a:gd name="connsiteY6" fmla="*/ 172088 h 201758"/>
                <a:gd name="connsiteX7" fmla="*/ 83077 w 89010"/>
                <a:gd name="connsiteY7" fmla="*/ 189890 h 201758"/>
                <a:gd name="connsiteX8" fmla="*/ 89011 w 89010"/>
                <a:gd name="connsiteY8" fmla="*/ 195824 h 201758"/>
                <a:gd name="connsiteX9" fmla="*/ 83077 w 89010"/>
                <a:gd name="connsiteY9" fmla="*/ 201758 h 201758"/>
                <a:gd name="connsiteX10" fmla="*/ 77143 w 89010"/>
                <a:gd name="connsiteY10" fmla="*/ 198791 h 20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010" h="201758">
                  <a:moveTo>
                    <a:pt x="77143" y="198791"/>
                  </a:moveTo>
                  <a:cubicBezTo>
                    <a:pt x="62308" y="198791"/>
                    <a:pt x="32638" y="195824"/>
                    <a:pt x="20770" y="175055"/>
                  </a:cubicBezTo>
                  <a:cubicBezTo>
                    <a:pt x="5934" y="148352"/>
                    <a:pt x="0" y="20769"/>
                    <a:pt x="0" y="5934"/>
                  </a:cubicBezTo>
                  <a:cubicBezTo>
                    <a:pt x="0" y="2967"/>
                    <a:pt x="2967" y="0"/>
                    <a:pt x="5934" y="0"/>
                  </a:cubicBezTo>
                  <a:cubicBezTo>
                    <a:pt x="5934" y="0"/>
                    <a:pt x="5934" y="0"/>
                    <a:pt x="5934" y="0"/>
                  </a:cubicBezTo>
                  <a:cubicBezTo>
                    <a:pt x="8902" y="0"/>
                    <a:pt x="11869" y="2967"/>
                    <a:pt x="11869" y="5934"/>
                  </a:cubicBezTo>
                  <a:cubicBezTo>
                    <a:pt x="14835" y="44505"/>
                    <a:pt x="20770" y="151319"/>
                    <a:pt x="29670" y="172088"/>
                  </a:cubicBezTo>
                  <a:cubicBezTo>
                    <a:pt x="41539" y="192857"/>
                    <a:pt x="80110" y="189890"/>
                    <a:pt x="83077" y="189890"/>
                  </a:cubicBezTo>
                  <a:cubicBezTo>
                    <a:pt x="86045" y="189890"/>
                    <a:pt x="89011" y="192857"/>
                    <a:pt x="89011" y="195824"/>
                  </a:cubicBezTo>
                  <a:cubicBezTo>
                    <a:pt x="89011" y="198791"/>
                    <a:pt x="86045" y="201758"/>
                    <a:pt x="83077" y="201758"/>
                  </a:cubicBezTo>
                  <a:cubicBezTo>
                    <a:pt x="83077" y="198791"/>
                    <a:pt x="80110" y="198791"/>
                    <a:pt x="77143" y="198791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77AEC391-19A9-4D36-8BB6-6E48CA14E009}"/>
                </a:ext>
              </a:extLst>
            </p:cNvPr>
            <p:cNvSpPr/>
            <p:nvPr/>
          </p:nvSpPr>
          <p:spPr>
            <a:xfrm>
              <a:off x="14744956" y="5705649"/>
              <a:ext cx="130040" cy="33866"/>
            </a:xfrm>
            <a:custGeom>
              <a:avLst/>
              <a:gdLst>
                <a:gd name="connsiteX0" fmla="*/ 125844 w 130040"/>
                <a:gd name="connsiteY0" fmla="*/ 33866 h 33866"/>
                <a:gd name="connsiteX1" fmla="*/ 125844 w 130040"/>
                <a:gd name="connsiteY1" fmla="*/ 33866 h 33866"/>
                <a:gd name="connsiteX2" fmla="*/ 4195 w 130040"/>
                <a:gd name="connsiteY2" fmla="*/ 10130 h 33866"/>
                <a:gd name="connsiteX3" fmla="*/ 1229 w 130040"/>
                <a:gd name="connsiteY3" fmla="*/ 4196 h 33866"/>
                <a:gd name="connsiteX4" fmla="*/ 7163 w 130040"/>
                <a:gd name="connsiteY4" fmla="*/ 1229 h 33866"/>
                <a:gd name="connsiteX5" fmla="*/ 125844 w 130040"/>
                <a:gd name="connsiteY5" fmla="*/ 24965 h 33866"/>
                <a:gd name="connsiteX6" fmla="*/ 128811 w 130040"/>
                <a:gd name="connsiteY6" fmla="*/ 30899 h 33866"/>
                <a:gd name="connsiteX7" fmla="*/ 125844 w 130040"/>
                <a:gd name="connsiteY7" fmla="*/ 33866 h 33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0040" h="33866">
                  <a:moveTo>
                    <a:pt x="125844" y="33866"/>
                  </a:moveTo>
                  <a:cubicBezTo>
                    <a:pt x="125844" y="33866"/>
                    <a:pt x="125844" y="33866"/>
                    <a:pt x="125844" y="33866"/>
                  </a:cubicBezTo>
                  <a:lnTo>
                    <a:pt x="4195" y="10130"/>
                  </a:lnTo>
                  <a:cubicBezTo>
                    <a:pt x="1229" y="10130"/>
                    <a:pt x="-1738" y="7163"/>
                    <a:pt x="1229" y="4196"/>
                  </a:cubicBezTo>
                  <a:cubicBezTo>
                    <a:pt x="1229" y="1229"/>
                    <a:pt x="4195" y="-1738"/>
                    <a:pt x="7163" y="1229"/>
                  </a:cubicBezTo>
                  <a:lnTo>
                    <a:pt x="125844" y="24965"/>
                  </a:lnTo>
                  <a:cubicBezTo>
                    <a:pt x="128811" y="24965"/>
                    <a:pt x="131778" y="27932"/>
                    <a:pt x="128811" y="30899"/>
                  </a:cubicBezTo>
                  <a:cubicBezTo>
                    <a:pt x="128811" y="30899"/>
                    <a:pt x="128811" y="33866"/>
                    <a:pt x="125844" y="33866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37D123E5-A279-4D5F-A550-40F2A76E3215}"/>
                </a:ext>
              </a:extLst>
            </p:cNvPr>
            <p:cNvSpPr/>
            <p:nvPr/>
          </p:nvSpPr>
          <p:spPr>
            <a:xfrm>
              <a:off x="15510959" y="3048416"/>
              <a:ext cx="991943" cy="700686"/>
            </a:xfrm>
            <a:custGeom>
              <a:avLst/>
              <a:gdLst>
                <a:gd name="connsiteX0" fmla="*/ 15556 w 991943"/>
                <a:gd name="connsiteY0" fmla="*/ 124615 h 700686"/>
                <a:gd name="connsiteX1" fmla="*/ 427973 w 991943"/>
                <a:gd name="connsiteY1" fmla="*/ 213626 h 700686"/>
                <a:gd name="connsiteX2" fmla="*/ 772149 w 991943"/>
                <a:gd name="connsiteY2" fmla="*/ 445055 h 700686"/>
                <a:gd name="connsiteX3" fmla="*/ 887863 w 991943"/>
                <a:gd name="connsiteY3" fmla="*/ 0 h 700686"/>
                <a:gd name="connsiteX4" fmla="*/ 991709 w 991943"/>
                <a:gd name="connsiteY4" fmla="*/ 83077 h 700686"/>
                <a:gd name="connsiteX5" fmla="*/ 908633 w 991943"/>
                <a:gd name="connsiteY5" fmla="*/ 685385 h 700686"/>
                <a:gd name="connsiteX6" fmla="*/ 15556 w 991943"/>
                <a:gd name="connsiteY6" fmla="*/ 124615 h 70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1943" h="700686">
                  <a:moveTo>
                    <a:pt x="15556" y="124615"/>
                  </a:moveTo>
                  <a:cubicBezTo>
                    <a:pt x="77864" y="29670"/>
                    <a:pt x="330061" y="163187"/>
                    <a:pt x="427973" y="213626"/>
                  </a:cubicBezTo>
                  <a:cubicBezTo>
                    <a:pt x="514017" y="258132"/>
                    <a:pt x="772149" y="445055"/>
                    <a:pt x="772149" y="445055"/>
                  </a:cubicBezTo>
                  <a:lnTo>
                    <a:pt x="887863" y="0"/>
                  </a:lnTo>
                  <a:lnTo>
                    <a:pt x="991709" y="83077"/>
                  </a:lnTo>
                  <a:cubicBezTo>
                    <a:pt x="991709" y="83077"/>
                    <a:pt x="1000611" y="626044"/>
                    <a:pt x="908633" y="685385"/>
                  </a:cubicBezTo>
                  <a:cubicBezTo>
                    <a:pt x="751380" y="789231"/>
                    <a:pt x="-126862" y="338242"/>
                    <a:pt x="15556" y="124615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31312692-097A-49F6-8818-5775EF4F2354}"/>
                </a:ext>
              </a:extLst>
            </p:cNvPr>
            <p:cNvSpPr/>
            <p:nvPr/>
          </p:nvSpPr>
          <p:spPr>
            <a:xfrm>
              <a:off x="15392074" y="3023539"/>
              <a:ext cx="561692" cy="529273"/>
            </a:xfrm>
            <a:custGeom>
              <a:avLst/>
              <a:gdLst>
                <a:gd name="connsiteX0" fmla="*/ 327298 w 561692"/>
                <a:gd name="connsiteY0" fmla="*/ 529273 h 529273"/>
                <a:gd name="connsiteX1" fmla="*/ 6858 w 561692"/>
                <a:gd name="connsiteY1" fmla="*/ 42680 h 529273"/>
                <a:gd name="connsiteX2" fmla="*/ 561693 w 561692"/>
                <a:gd name="connsiteY2" fmla="*/ 191032 h 529273"/>
                <a:gd name="connsiteX3" fmla="*/ 327298 w 561692"/>
                <a:gd name="connsiteY3" fmla="*/ 529273 h 529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1692" h="529273">
                  <a:moveTo>
                    <a:pt x="327298" y="529273"/>
                  </a:moveTo>
                  <a:cubicBezTo>
                    <a:pt x="327298" y="529273"/>
                    <a:pt x="-55450" y="170262"/>
                    <a:pt x="6858" y="42680"/>
                  </a:cubicBezTo>
                  <a:cubicBezTo>
                    <a:pt x="78067" y="-108639"/>
                    <a:pt x="561693" y="191032"/>
                    <a:pt x="561693" y="191032"/>
                  </a:cubicBezTo>
                  <a:cubicBezTo>
                    <a:pt x="561693" y="191032"/>
                    <a:pt x="493452" y="404658"/>
                    <a:pt x="327298" y="529273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9" name="图形 1">
              <a:extLst>
                <a:ext uri="{FF2B5EF4-FFF2-40B4-BE49-F238E27FC236}">
                  <a16:creationId xmlns:a16="http://schemas.microsoft.com/office/drawing/2014/main" id="{2FCFD140-4BE0-4B38-87E4-AB075467EE18}"/>
                </a:ext>
              </a:extLst>
            </p:cNvPr>
            <p:cNvGrpSpPr/>
            <p:nvPr/>
          </p:nvGrpSpPr>
          <p:grpSpPr>
            <a:xfrm>
              <a:off x="16376407" y="2802153"/>
              <a:ext cx="284451" cy="330041"/>
              <a:chOff x="16376407" y="2802153"/>
              <a:chExt cx="284451" cy="330041"/>
            </a:xfrm>
          </p:grpSpPr>
          <p:grpSp>
            <p:nvGrpSpPr>
              <p:cNvPr id="149" name="图形 1">
                <a:extLst>
                  <a:ext uri="{FF2B5EF4-FFF2-40B4-BE49-F238E27FC236}">
                    <a16:creationId xmlns:a16="http://schemas.microsoft.com/office/drawing/2014/main" id="{45643182-60EC-4C00-9B85-D6A56CAF26E0}"/>
                  </a:ext>
                </a:extLst>
              </p:cNvPr>
              <p:cNvGrpSpPr/>
              <p:nvPr/>
            </p:nvGrpSpPr>
            <p:grpSpPr>
              <a:xfrm>
                <a:off x="16376407" y="2802153"/>
                <a:ext cx="279158" cy="330041"/>
                <a:chOff x="16376407" y="2802153"/>
                <a:chExt cx="279158" cy="330041"/>
              </a:xfrm>
            </p:grpSpPr>
            <p:sp>
              <p:nvSpPr>
                <p:cNvPr id="152" name="任意多边形: 形状 151">
                  <a:extLst>
                    <a:ext uri="{FF2B5EF4-FFF2-40B4-BE49-F238E27FC236}">
                      <a16:creationId xmlns:a16="http://schemas.microsoft.com/office/drawing/2014/main" id="{7F1D4A37-C607-4A0E-972E-85F5FEF8B27D}"/>
                    </a:ext>
                  </a:extLst>
                </p:cNvPr>
                <p:cNvSpPr/>
                <p:nvPr/>
              </p:nvSpPr>
              <p:spPr>
                <a:xfrm>
                  <a:off x="16376407" y="2804378"/>
                  <a:ext cx="279158" cy="327815"/>
                </a:xfrm>
                <a:custGeom>
                  <a:avLst/>
                  <a:gdLst>
                    <a:gd name="connsiteX0" fmla="*/ 268679 w 279158"/>
                    <a:gd name="connsiteY0" fmla="*/ 107555 h 327815"/>
                    <a:gd name="connsiteX1" fmla="*/ 247910 w 279158"/>
                    <a:gd name="connsiteY1" fmla="*/ 107555 h 327815"/>
                    <a:gd name="connsiteX2" fmla="*/ 241975 w 279158"/>
                    <a:gd name="connsiteY2" fmla="*/ 110522 h 327815"/>
                    <a:gd name="connsiteX3" fmla="*/ 259778 w 279158"/>
                    <a:gd name="connsiteY3" fmla="*/ 86786 h 327815"/>
                    <a:gd name="connsiteX4" fmla="*/ 277580 w 279158"/>
                    <a:gd name="connsiteY4" fmla="*/ 39313 h 327815"/>
                    <a:gd name="connsiteX5" fmla="*/ 265712 w 279158"/>
                    <a:gd name="connsiteY5" fmla="*/ 36346 h 327815"/>
                    <a:gd name="connsiteX6" fmla="*/ 262745 w 279158"/>
                    <a:gd name="connsiteY6" fmla="*/ 36346 h 327815"/>
                    <a:gd name="connsiteX7" fmla="*/ 259778 w 279158"/>
                    <a:gd name="connsiteY7" fmla="*/ 6676 h 327815"/>
                    <a:gd name="connsiteX8" fmla="*/ 230107 w 279158"/>
                    <a:gd name="connsiteY8" fmla="*/ 6676 h 327815"/>
                    <a:gd name="connsiteX9" fmla="*/ 191536 w 279158"/>
                    <a:gd name="connsiteY9" fmla="*/ 51181 h 327815"/>
                    <a:gd name="connsiteX10" fmla="*/ 141097 w 279158"/>
                    <a:gd name="connsiteY10" fmla="*/ 116456 h 327815"/>
                    <a:gd name="connsiteX11" fmla="*/ 164833 w 279158"/>
                    <a:gd name="connsiteY11" fmla="*/ 60082 h 327815"/>
                    <a:gd name="connsiteX12" fmla="*/ 179668 w 279158"/>
                    <a:gd name="connsiteY12" fmla="*/ 15577 h 327815"/>
                    <a:gd name="connsiteX13" fmla="*/ 147031 w 279158"/>
                    <a:gd name="connsiteY13" fmla="*/ 24478 h 327815"/>
                    <a:gd name="connsiteX14" fmla="*/ 58020 w 279158"/>
                    <a:gd name="connsiteY14" fmla="*/ 196566 h 327815"/>
                    <a:gd name="connsiteX15" fmla="*/ 66921 w 279158"/>
                    <a:gd name="connsiteY15" fmla="*/ 125357 h 327815"/>
                    <a:gd name="connsiteX16" fmla="*/ 40218 w 279158"/>
                    <a:gd name="connsiteY16" fmla="*/ 107555 h 327815"/>
                    <a:gd name="connsiteX17" fmla="*/ 28350 w 279158"/>
                    <a:gd name="connsiteY17" fmla="*/ 297445 h 327815"/>
                    <a:gd name="connsiteX18" fmla="*/ 28350 w 279158"/>
                    <a:gd name="connsiteY18" fmla="*/ 297445 h 327815"/>
                    <a:gd name="connsiteX19" fmla="*/ 28350 w 279158"/>
                    <a:gd name="connsiteY19" fmla="*/ 303379 h 327815"/>
                    <a:gd name="connsiteX20" fmla="*/ 135163 w 279158"/>
                    <a:gd name="connsiteY20" fmla="*/ 321181 h 327815"/>
                    <a:gd name="connsiteX21" fmla="*/ 221207 w 279158"/>
                    <a:gd name="connsiteY21" fmla="*/ 208434 h 327815"/>
                    <a:gd name="connsiteX22" fmla="*/ 268679 w 279158"/>
                    <a:gd name="connsiteY22" fmla="*/ 107555 h 327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79158" h="327815">
                      <a:moveTo>
                        <a:pt x="268679" y="107555"/>
                      </a:moveTo>
                      <a:cubicBezTo>
                        <a:pt x="262745" y="101621"/>
                        <a:pt x="256811" y="101621"/>
                        <a:pt x="247910" y="107555"/>
                      </a:cubicBezTo>
                      <a:cubicBezTo>
                        <a:pt x="244943" y="107555"/>
                        <a:pt x="244943" y="110522"/>
                        <a:pt x="241975" y="110522"/>
                      </a:cubicBezTo>
                      <a:cubicBezTo>
                        <a:pt x="247910" y="101621"/>
                        <a:pt x="253844" y="95687"/>
                        <a:pt x="259778" y="86786"/>
                      </a:cubicBezTo>
                      <a:cubicBezTo>
                        <a:pt x="271646" y="71951"/>
                        <a:pt x="283515" y="57115"/>
                        <a:pt x="277580" y="39313"/>
                      </a:cubicBezTo>
                      <a:cubicBezTo>
                        <a:pt x="277580" y="36346"/>
                        <a:pt x="265712" y="36346"/>
                        <a:pt x="265712" y="36346"/>
                      </a:cubicBezTo>
                      <a:cubicBezTo>
                        <a:pt x="265712" y="36346"/>
                        <a:pt x="262745" y="36346"/>
                        <a:pt x="262745" y="36346"/>
                      </a:cubicBezTo>
                      <a:cubicBezTo>
                        <a:pt x="265712" y="24478"/>
                        <a:pt x="265712" y="15577"/>
                        <a:pt x="259778" y="6676"/>
                      </a:cubicBezTo>
                      <a:cubicBezTo>
                        <a:pt x="253844" y="-2225"/>
                        <a:pt x="241975" y="-2225"/>
                        <a:pt x="230107" y="6676"/>
                      </a:cubicBezTo>
                      <a:cubicBezTo>
                        <a:pt x="215272" y="18544"/>
                        <a:pt x="203404" y="36346"/>
                        <a:pt x="191536" y="51181"/>
                      </a:cubicBezTo>
                      <a:cubicBezTo>
                        <a:pt x="173734" y="71951"/>
                        <a:pt x="155932" y="92720"/>
                        <a:pt x="141097" y="116456"/>
                      </a:cubicBezTo>
                      <a:cubicBezTo>
                        <a:pt x="149998" y="98654"/>
                        <a:pt x="155932" y="77885"/>
                        <a:pt x="164833" y="60082"/>
                      </a:cubicBezTo>
                      <a:cubicBezTo>
                        <a:pt x="170767" y="48214"/>
                        <a:pt x="182635" y="27445"/>
                        <a:pt x="179668" y="15577"/>
                      </a:cubicBezTo>
                      <a:cubicBezTo>
                        <a:pt x="176701" y="-2225"/>
                        <a:pt x="152964" y="18544"/>
                        <a:pt x="147031" y="24478"/>
                      </a:cubicBezTo>
                      <a:cubicBezTo>
                        <a:pt x="99558" y="74918"/>
                        <a:pt x="90657" y="140192"/>
                        <a:pt x="58020" y="196566"/>
                      </a:cubicBezTo>
                      <a:cubicBezTo>
                        <a:pt x="52086" y="175797"/>
                        <a:pt x="58020" y="152060"/>
                        <a:pt x="66921" y="125357"/>
                      </a:cubicBezTo>
                      <a:cubicBezTo>
                        <a:pt x="69888" y="110522"/>
                        <a:pt x="46152" y="104588"/>
                        <a:pt x="40218" y="107555"/>
                      </a:cubicBezTo>
                      <a:cubicBezTo>
                        <a:pt x="-1321" y="155027"/>
                        <a:pt x="-19123" y="244038"/>
                        <a:pt x="28350" y="297445"/>
                      </a:cubicBezTo>
                      <a:cubicBezTo>
                        <a:pt x="28350" y="297445"/>
                        <a:pt x="28350" y="297445"/>
                        <a:pt x="28350" y="297445"/>
                      </a:cubicBezTo>
                      <a:cubicBezTo>
                        <a:pt x="28350" y="297445"/>
                        <a:pt x="25382" y="300412"/>
                        <a:pt x="28350" y="303379"/>
                      </a:cubicBezTo>
                      <a:cubicBezTo>
                        <a:pt x="43185" y="330082"/>
                        <a:pt x="105493" y="333049"/>
                        <a:pt x="135163" y="321181"/>
                      </a:cubicBezTo>
                      <a:cubicBezTo>
                        <a:pt x="182635" y="303379"/>
                        <a:pt x="197470" y="247006"/>
                        <a:pt x="221207" y="208434"/>
                      </a:cubicBezTo>
                      <a:cubicBezTo>
                        <a:pt x="236042" y="193599"/>
                        <a:pt x="283515" y="122390"/>
                        <a:pt x="268679" y="107555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3" name="任意多边形: 形状 152">
                  <a:extLst>
                    <a:ext uri="{FF2B5EF4-FFF2-40B4-BE49-F238E27FC236}">
                      <a16:creationId xmlns:a16="http://schemas.microsoft.com/office/drawing/2014/main" id="{CA4742C7-2A86-4950-84CC-B769A937DD8C}"/>
                    </a:ext>
                  </a:extLst>
                </p:cNvPr>
                <p:cNvSpPr/>
                <p:nvPr/>
              </p:nvSpPr>
              <p:spPr>
                <a:xfrm>
                  <a:off x="16452229" y="3009845"/>
                  <a:ext cx="30616" cy="65274"/>
                </a:xfrm>
                <a:custGeom>
                  <a:avLst/>
                  <a:gdLst>
                    <a:gd name="connsiteX0" fmla="*/ 20769 w 30616"/>
                    <a:gd name="connsiteY0" fmla="*/ 65275 h 65274"/>
                    <a:gd name="connsiteX1" fmla="*/ 20769 w 30616"/>
                    <a:gd name="connsiteY1" fmla="*/ 65275 h 65274"/>
                    <a:gd name="connsiteX2" fmla="*/ 14835 w 30616"/>
                    <a:gd name="connsiteY2" fmla="*/ 56374 h 65274"/>
                    <a:gd name="connsiteX3" fmla="*/ 2966 w 30616"/>
                    <a:gd name="connsiteY3" fmla="*/ 11868 h 65274"/>
                    <a:gd name="connsiteX4" fmla="*/ 0 w 30616"/>
                    <a:gd name="connsiteY4" fmla="*/ 2967 h 65274"/>
                    <a:gd name="connsiteX5" fmla="*/ 8901 w 30616"/>
                    <a:gd name="connsiteY5" fmla="*/ 0 h 65274"/>
                    <a:gd name="connsiteX6" fmla="*/ 26703 w 30616"/>
                    <a:gd name="connsiteY6" fmla="*/ 56374 h 65274"/>
                    <a:gd name="connsiteX7" fmla="*/ 20769 w 30616"/>
                    <a:gd name="connsiteY7" fmla="*/ 65275 h 65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616" h="65274">
                      <a:moveTo>
                        <a:pt x="20769" y="65275"/>
                      </a:moveTo>
                      <a:cubicBezTo>
                        <a:pt x="20769" y="65275"/>
                        <a:pt x="17801" y="65275"/>
                        <a:pt x="20769" y="65275"/>
                      </a:cubicBezTo>
                      <a:cubicBezTo>
                        <a:pt x="14835" y="62308"/>
                        <a:pt x="14835" y="59341"/>
                        <a:pt x="14835" y="56374"/>
                      </a:cubicBezTo>
                      <a:cubicBezTo>
                        <a:pt x="26703" y="29670"/>
                        <a:pt x="2966" y="11868"/>
                        <a:pt x="2966" y="11868"/>
                      </a:cubicBezTo>
                      <a:cubicBezTo>
                        <a:pt x="0" y="8901"/>
                        <a:pt x="0" y="5934"/>
                        <a:pt x="0" y="2967"/>
                      </a:cubicBezTo>
                      <a:cubicBezTo>
                        <a:pt x="2966" y="0"/>
                        <a:pt x="5934" y="0"/>
                        <a:pt x="8901" y="0"/>
                      </a:cubicBezTo>
                      <a:cubicBezTo>
                        <a:pt x="20769" y="5934"/>
                        <a:pt x="38571" y="26703"/>
                        <a:pt x="26703" y="56374"/>
                      </a:cubicBezTo>
                      <a:cubicBezTo>
                        <a:pt x="23736" y="62308"/>
                        <a:pt x="23736" y="65275"/>
                        <a:pt x="20769" y="65275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4" name="任意多边形: 形状 153">
                  <a:extLst>
                    <a:ext uri="{FF2B5EF4-FFF2-40B4-BE49-F238E27FC236}">
                      <a16:creationId xmlns:a16="http://schemas.microsoft.com/office/drawing/2014/main" id="{1962D3B0-A7AD-437D-87BB-B8AA5C9F38CE}"/>
                    </a:ext>
                  </a:extLst>
                </p:cNvPr>
                <p:cNvSpPr/>
                <p:nvPr/>
              </p:nvSpPr>
              <p:spPr>
                <a:xfrm>
                  <a:off x="16511570" y="2802153"/>
                  <a:ext cx="129065" cy="127582"/>
                </a:xfrm>
                <a:custGeom>
                  <a:avLst/>
                  <a:gdLst>
                    <a:gd name="connsiteX0" fmla="*/ 5934 w 129065"/>
                    <a:gd name="connsiteY0" fmla="*/ 127582 h 127582"/>
                    <a:gd name="connsiteX1" fmla="*/ 5934 w 129065"/>
                    <a:gd name="connsiteY1" fmla="*/ 127582 h 127582"/>
                    <a:gd name="connsiteX2" fmla="*/ 0 w 129065"/>
                    <a:gd name="connsiteY2" fmla="*/ 118681 h 127582"/>
                    <a:gd name="connsiteX3" fmla="*/ 38571 w 129065"/>
                    <a:gd name="connsiteY3" fmla="*/ 17802 h 127582"/>
                    <a:gd name="connsiteX4" fmla="*/ 44505 w 129065"/>
                    <a:gd name="connsiteY4" fmla="*/ 14835 h 127582"/>
                    <a:gd name="connsiteX5" fmla="*/ 47472 w 129065"/>
                    <a:gd name="connsiteY5" fmla="*/ 20769 h 127582"/>
                    <a:gd name="connsiteX6" fmla="*/ 26703 w 129065"/>
                    <a:gd name="connsiteY6" fmla="*/ 77143 h 127582"/>
                    <a:gd name="connsiteX7" fmla="*/ 100879 w 129065"/>
                    <a:gd name="connsiteY7" fmla="*/ 0 h 127582"/>
                    <a:gd name="connsiteX8" fmla="*/ 124615 w 129065"/>
                    <a:gd name="connsiteY8" fmla="*/ 8901 h 127582"/>
                    <a:gd name="connsiteX9" fmla="*/ 124615 w 129065"/>
                    <a:gd name="connsiteY9" fmla="*/ 38571 h 127582"/>
                    <a:gd name="connsiteX10" fmla="*/ 118681 w 129065"/>
                    <a:gd name="connsiteY10" fmla="*/ 41539 h 127582"/>
                    <a:gd name="connsiteX11" fmla="*/ 115714 w 129065"/>
                    <a:gd name="connsiteY11" fmla="*/ 35604 h 127582"/>
                    <a:gd name="connsiteX12" fmla="*/ 115714 w 129065"/>
                    <a:gd name="connsiteY12" fmla="*/ 17802 h 127582"/>
                    <a:gd name="connsiteX13" fmla="*/ 100879 w 129065"/>
                    <a:gd name="connsiteY13" fmla="*/ 11868 h 127582"/>
                    <a:gd name="connsiteX14" fmla="*/ 5934 w 129065"/>
                    <a:gd name="connsiteY14" fmla="*/ 121648 h 127582"/>
                    <a:gd name="connsiteX15" fmla="*/ 5934 w 129065"/>
                    <a:gd name="connsiteY15" fmla="*/ 127582 h 127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29065" h="127582">
                      <a:moveTo>
                        <a:pt x="5934" y="127582"/>
                      </a:moveTo>
                      <a:cubicBezTo>
                        <a:pt x="5934" y="127582"/>
                        <a:pt x="2966" y="127582"/>
                        <a:pt x="5934" y="127582"/>
                      </a:cubicBezTo>
                      <a:cubicBezTo>
                        <a:pt x="0" y="124615"/>
                        <a:pt x="0" y="121648"/>
                        <a:pt x="0" y="118681"/>
                      </a:cubicBezTo>
                      <a:cubicBezTo>
                        <a:pt x="17801" y="83077"/>
                        <a:pt x="38571" y="20769"/>
                        <a:pt x="38571" y="17802"/>
                      </a:cubicBezTo>
                      <a:cubicBezTo>
                        <a:pt x="38571" y="14835"/>
                        <a:pt x="41538" y="14835"/>
                        <a:pt x="44505" y="14835"/>
                      </a:cubicBezTo>
                      <a:cubicBezTo>
                        <a:pt x="47472" y="14835"/>
                        <a:pt x="47472" y="17802"/>
                        <a:pt x="47472" y="20769"/>
                      </a:cubicBezTo>
                      <a:cubicBezTo>
                        <a:pt x="47472" y="23736"/>
                        <a:pt x="38571" y="50440"/>
                        <a:pt x="26703" y="77143"/>
                      </a:cubicBezTo>
                      <a:cubicBezTo>
                        <a:pt x="53406" y="41539"/>
                        <a:pt x="89011" y="0"/>
                        <a:pt x="100879" y="0"/>
                      </a:cubicBezTo>
                      <a:cubicBezTo>
                        <a:pt x="112747" y="0"/>
                        <a:pt x="121648" y="2967"/>
                        <a:pt x="124615" y="8901"/>
                      </a:cubicBezTo>
                      <a:cubicBezTo>
                        <a:pt x="130549" y="17802"/>
                        <a:pt x="130549" y="26703"/>
                        <a:pt x="124615" y="38571"/>
                      </a:cubicBezTo>
                      <a:cubicBezTo>
                        <a:pt x="124615" y="41539"/>
                        <a:pt x="118681" y="41539"/>
                        <a:pt x="118681" y="41539"/>
                      </a:cubicBezTo>
                      <a:cubicBezTo>
                        <a:pt x="115714" y="41539"/>
                        <a:pt x="115714" y="35604"/>
                        <a:pt x="115714" y="35604"/>
                      </a:cubicBezTo>
                      <a:cubicBezTo>
                        <a:pt x="118681" y="29670"/>
                        <a:pt x="118681" y="20769"/>
                        <a:pt x="115714" y="17802"/>
                      </a:cubicBezTo>
                      <a:cubicBezTo>
                        <a:pt x="112747" y="11868"/>
                        <a:pt x="106812" y="11868"/>
                        <a:pt x="100879" y="11868"/>
                      </a:cubicBezTo>
                      <a:cubicBezTo>
                        <a:pt x="91977" y="14835"/>
                        <a:pt x="44505" y="71209"/>
                        <a:pt x="5934" y="121648"/>
                      </a:cubicBezTo>
                      <a:cubicBezTo>
                        <a:pt x="8901" y="127582"/>
                        <a:pt x="8901" y="127582"/>
                        <a:pt x="5934" y="127582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61FADE7D-7201-4E30-9D44-F7B6F2FB8BA7}"/>
                  </a:ext>
                </a:extLst>
              </p:cNvPr>
              <p:cNvSpPr/>
              <p:nvPr/>
            </p:nvSpPr>
            <p:spPr>
              <a:xfrm>
                <a:off x="16553850" y="2905999"/>
                <a:ext cx="94573" cy="112747"/>
              </a:xfrm>
              <a:custGeom>
                <a:avLst/>
                <a:gdLst>
                  <a:gd name="connsiteX0" fmla="*/ 52664 w 94573"/>
                  <a:gd name="connsiteY0" fmla="*/ 109780 h 112747"/>
                  <a:gd name="connsiteX1" fmla="*/ 52664 w 94573"/>
                  <a:gd name="connsiteY1" fmla="*/ 109780 h 112747"/>
                  <a:gd name="connsiteX2" fmla="*/ 46731 w 94573"/>
                  <a:gd name="connsiteY2" fmla="*/ 100879 h 112747"/>
                  <a:gd name="connsiteX3" fmla="*/ 85302 w 94573"/>
                  <a:gd name="connsiteY3" fmla="*/ 11868 h 112747"/>
                  <a:gd name="connsiteX4" fmla="*/ 79368 w 94573"/>
                  <a:gd name="connsiteY4" fmla="*/ 8901 h 112747"/>
                  <a:gd name="connsiteX5" fmla="*/ 61566 w 94573"/>
                  <a:gd name="connsiteY5" fmla="*/ 20769 h 112747"/>
                  <a:gd name="connsiteX6" fmla="*/ 40796 w 94573"/>
                  <a:gd name="connsiteY6" fmla="*/ 53407 h 112747"/>
                  <a:gd name="connsiteX7" fmla="*/ 11126 w 94573"/>
                  <a:gd name="connsiteY7" fmla="*/ 97912 h 112747"/>
                  <a:gd name="connsiteX8" fmla="*/ 2225 w 94573"/>
                  <a:gd name="connsiteY8" fmla="*/ 97912 h 112747"/>
                  <a:gd name="connsiteX9" fmla="*/ 2225 w 94573"/>
                  <a:gd name="connsiteY9" fmla="*/ 89011 h 112747"/>
                  <a:gd name="connsiteX10" fmla="*/ 31896 w 94573"/>
                  <a:gd name="connsiteY10" fmla="*/ 47473 h 112747"/>
                  <a:gd name="connsiteX11" fmla="*/ 52664 w 94573"/>
                  <a:gd name="connsiteY11" fmla="*/ 14835 h 112747"/>
                  <a:gd name="connsiteX12" fmla="*/ 76401 w 94573"/>
                  <a:gd name="connsiteY12" fmla="*/ 0 h 112747"/>
                  <a:gd name="connsiteX13" fmla="*/ 76401 w 94573"/>
                  <a:gd name="connsiteY13" fmla="*/ 0 h 112747"/>
                  <a:gd name="connsiteX14" fmla="*/ 91236 w 94573"/>
                  <a:gd name="connsiteY14" fmla="*/ 8901 h 112747"/>
                  <a:gd name="connsiteX15" fmla="*/ 52664 w 94573"/>
                  <a:gd name="connsiteY15" fmla="*/ 112747 h 112747"/>
                  <a:gd name="connsiteX16" fmla="*/ 52664 w 94573"/>
                  <a:gd name="connsiteY16" fmla="*/ 109780 h 112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4573" h="112747">
                    <a:moveTo>
                      <a:pt x="52664" y="109780"/>
                    </a:moveTo>
                    <a:cubicBezTo>
                      <a:pt x="52664" y="109780"/>
                      <a:pt x="49697" y="109780"/>
                      <a:pt x="52664" y="109780"/>
                    </a:cubicBezTo>
                    <a:cubicBezTo>
                      <a:pt x="46731" y="106813"/>
                      <a:pt x="46731" y="103846"/>
                      <a:pt x="46731" y="100879"/>
                    </a:cubicBezTo>
                    <a:cubicBezTo>
                      <a:pt x="73434" y="59341"/>
                      <a:pt x="91236" y="17802"/>
                      <a:pt x="85302" y="11868"/>
                    </a:cubicBezTo>
                    <a:cubicBezTo>
                      <a:pt x="82335" y="8901"/>
                      <a:pt x="79368" y="8901"/>
                      <a:pt x="79368" y="8901"/>
                    </a:cubicBezTo>
                    <a:cubicBezTo>
                      <a:pt x="73434" y="8901"/>
                      <a:pt x="67500" y="11868"/>
                      <a:pt x="61566" y="20769"/>
                    </a:cubicBezTo>
                    <a:cubicBezTo>
                      <a:pt x="55632" y="26703"/>
                      <a:pt x="49697" y="38571"/>
                      <a:pt x="40796" y="53407"/>
                    </a:cubicBezTo>
                    <a:cubicBezTo>
                      <a:pt x="28929" y="71209"/>
                      <a:pt x="17061" y="91978"/>
                      <a:pt x="11126" y="97912"/>
                    </a:cubicBezTo>
                    <a:cubicBezTo>
                      <a:pt x="8159" y="100879"/>
                      <a:pt x="5192" y="100879"/>
                      <a:pt x="2225" y="97912"/>
                    </a:cubicBezTo>
                    <a:cubicBezTo>
                      <a:pt x="-742" y="94945"/>
                      <a:pt x="-742" y="91978"/>
                      <a:pt x="2225" y="89011"/>
                    </a:cubicBezTo>
                    <a:cubicBezTo>
                      <a:pt x="8159" y="83077"/>
                      <a:pt x="20027" y="62308"/>
                      <a:pt x="31896" y="47473"/>
                    </a:cubicBezTo>
                    <a:cubicBezTo>
                      <a:pt x="40796" y="32637"/>
                      <a:pt x="49697" y="20769"/>
                      <a:pt x="52664" y="14835"/>
                    </a:cubicBezTo>
                    <a:cubicBezTo>
                      <a:pt x="61566" y="2967"/>
                      <a:pt x="70467" y="0"/>
                      <a:pt x="76401" y="0"/>
                    </a:cubicBezTo>
                    <a:cubicBezTo>
                      <a:pt x="76401" y="0"/>
                      <a:pt x="76401" y="0"/>
                      <a:pt x="76401" y="0"/>
                    </a:cubicBezTo>
                    <a:cubicBezTo>
                      <a:pt x="79368" y="0"/>
                      <a:pt x="85302" y="0"/>
                      <a:pt x="91236" y="8901"/>
                    </a:cubicBezTo>
                    <a:cubicBezTo>
                      <a:pt x="106072" y="26703"/>
                      <a:pt x="67500" y="86044"/>
                      <a:pt x="52664" y="112747"/>
                    </a:cubicBezTo>
                    <a:cubicBezTo>
                      <a:pt x="55632" y="106813"/>
                      <a:pt x="52664" y="109780"/>
                      <a:pt x="52664" y="10978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7A4491B6-A73F-4196-BA9F-2D27977482AB}"/>
                  </a:ext>
                </a:extLst>
              </p:cNvPr>
              <p:cNvSpPr/>
              <p:nvPr/>
            </p:nvSpPr>
            <p:spPr>
              <a:xfrm>
                <a:off x="16533080" y="2834018"/>
                <a:ext cx="127777" cy="134288"/>
              </a:xfrm>
              <a:custGeom>
                <a:avLst/>
                <a:gdLst>
                  <a:gd name="connsiteX0" fmla="*/ 5193 w 127777"/>
                  <a:gd name="connsiteY0" fmla="*/ 134288 h 134288"/>
                  <a:gd name="connsiteX1" fmla="*/ 2225 w 127777"/>
                  <a:gd name="connsiteY1" fmla="*/ 134288 h 134288"/>
                  <a:gd name="connsiteX2" fmla="*/ 2225 w 127777"/>
                  <a:gd name="connsiteY2" fmla="*/ 125387 h 134288"/>
                  <a:gd name="connsiteX3" fmla="*/ 37830 w 127777"/>
                  <a:gd name="connsiteY3" fmla="*/ 77915 h 134288"/>
                  <a:gd name="connsiteX4" fmla="*/ 43764 w 127777"/>
                  <a:gd name="connsiteY4" fmla="*/ 69014 h 134288"/>
                  <a:gd name="connsiteX5" fmla="*/ 82336 w 127777"/>
                  <a:gd name="connsiteY5" fmla="*/ 12640 h 134288"/>
                  <a:gd name="connsiteX6" fmla="*/ 114972 w 127777"/>
                  <a:gd name="connsiteY6" fmla="*/ 772 h 134288"/>
                  <a:gd name="connsiteX7" fmla="*/ 126841 w 127777"/>
                  <a:gd name="connsiteY7" fmla="*/ 9673 h 134288"/>
                  <a:gd name="connsiteX8" fmla="*/ 97171 w 127777"/>
                  <a:gd name="connsiteY8" fmla="*/ 74948 h 134288"/>
                  <a:gd name="connsiteX9" fmla="*/ 88269 w 127777"/>
                  <a:gd name="connsiteY9" fmla="*/ 74948 h 134288"/>
                  <a:gd name="connsiteX10" fmla="*/ 88269 w 127777"/>
                  <a:gd name="connsiteY10" fmla="*/ 66046 h 134288"/>
                  <a:gd name="connsiteX11" fmla="*/ 114972 w 127777"/>
                  <a:gd name="connsiteY11" fmla="*/ 12640 h 134288"/>
                  <a:gd name="connsiteX12" fmla="*/ 112006 w 127777"/>
                  <a:gd name="connsiteY12" fmla="*/ 9673 h 134288"/>
                  <a:gd name="connsiteX13" fmla="*/ 88269 w 127777"/>
                  <a:gd name="connsiteY13" fmla="*/ 18574 h 134288"/>
                  <a:gd name="connsiteX14" fmla="*/ 52665 w 127777"/>
                  <a:gd name="connsiteY14" fmla="*/ 71981 h 134288"/>
                  <a:gd name="connsiteX15" fmla="*/ 46731 w 127777"/>
                  <a:gd name="connsiteY15" fmla="*/ 80882 h 134288"/>
                  <a:gd name="connsiteX16" fmla="*/ 8160 w 127777"/>
                  <a:gd name="connsiteY16" fmla="*/ 128354 h 134288"/>
                  <a:gd name="connsiteX17" fmla="*/ 5193 w 127777"/>
                  <a:gd name="connsiteY17" fmla="*/ 134288 h 134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7777" h="134288">
                    <a:moveTo>
                      <a:pt x="5193" y="134288"/>
                    </a:moveTo>
                    <a:cubicBezTo>
                      <a:pt x="5193" y="134288"/>
                      <a:pt x="2225" y="134288"/>
                      <a:pt x="2225" y="134288"/>
                    </a:cubicBezTo>
                    <a:cubicBezTo>
                      <a:pt x="-742" y="131321"/>
                      <a:pt x="-742" y="128354"/>
                      <a:pt x="2225" y="125387"/>
                    </a:cubicBezTo>
                    <a:cubicBezTo>
                      <a:pt x="11126" y="113519"/>
                      <a:pt x="34863" y="83849"/>
                      <a:pt x="37830" y="77915"/>
                    </a:cubicBezTo>
                    <a:cubicBezTo>
                      <a:pt x="37830" y="74948"/>
                      <a:pt x="40796" y="71981"/>
                      <a:pt x="43764" y="69014"/>
                    </a:cubicBezTo>
                    <a:cubicBezTo>
                      <a:pt x="58599" y="45277"/>
                      <a:pt x="73434" y="18574"/>
                      <a:pt x="82336" y="12640"/>
                    </a:cubicBezTo>
                    <a:cubicBezTo>
                      <a:pt x="91236" y="3739"/>
                      <a:pt x="103104" y="-2195"/>
                      <a:pt x="114972" y="772"/>
                    </a:cubicBezTo>
                    <a:cubicBezTo>
                      <a:pt x="120907" y="772"/>
                      <a:pt x="123874" y="6706"/>
                      <a:pt x="126841" y="9673"/>
                    </a:cubicBezTo>
                    <a:cubicBezTo>
                      <a:pt x="132775" y="24508"/>
                      <a:pt x="109039" y="60113"/>
                      <a:pt x="97171" y="74948"/>
                    </a:cubicBezTo>
                    <a:cubicBezTo>
                      <a:pt x="94204" y="77915"/>
                      <a:pt x="91236" y="77915"/>
                      <a:pt x="88269" y="74948"/>
                    </a:cubicBezTo>
                    <a:cubicBezTo>
                      <a:pt x="85302" y="71981"/>
                      <a:pt x="85302" y="69014"/>
                      <a:pt x="88269" y="66046"/>
                    </a:cubicBezTo>
                    <a:cubicBezTo>
                      <a:pt x="106072" y="42310"/>
                      <a:pt x="117940" y="18574"/>
                      <a:pt x="114972" y="12640"/>
                    </a:cubicBezTo>
                    <a:cubicBezTo>
                      <a:pt x="114972" y="9673"/>
                      <a:pt x="112006" y="9673"/>
                      <a:pt x="112006" y="9673"/>
                    </a:cubicBezTo>
                    <a:cubicBezTo>
                      <a:pt x="106072" y="9673"/>
                      <a:pt x="94204" y="12640"/>
                      <a:pt x="88269" y="18574"/>
                    </a:cubicBezTo>
                    <a:cubicBezTo>
                      <a:pt x="79368" y="24508"/>
                      <a:pt x="61566" y="57145"/>
                      <a:pt x="52665" y="71981"/>
                    </a:cubicBezTo>
                    <a:cubicBezTo>
                      <a:pt x="49698" y="77915"/>
                      <a:pt x="46731" y="80882"/>
                      <a:pt x="46731" y="80882"/>
                    </a:cubicBezTo>
                    <a:cubicBezTo>
                      <a:pt x="40796" y="89783"/>
                      <a:pt x="11126" y="128354"/>
                      <a:pt x="8160" y="128354"/>
                    </a:cubicBezTo>
                    <a:cubicBezTo>
                      <a:pt x="8160" y="134288"/>
                      <a:pt x="8160" y="134288"/>
                      <a:pt x="5193" y="1342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CF88BBB3-EB5C-4ACC-AEC1-2B49FC4068E9}"/>
                </a:ext>
              </a:extLst>
            </p:cNvPr>
            <p:cNvSpPr/>
            <p:nvPr/>
          </p:nvSpPr>
          <p:spPr>
            <a:xfrm>
              <a:off x="15066624" y="2772482"/>
              <a:ext cx="243297" cy="251317"/>
            </a:xfrm>
            <a:custGeom>
              <a:avLst/>
              <a:gdLst>
                <a:gd name="connsiteX0" fmla="*/ 243297 w 243297"/>
                <a:gd name="connsiteY0" fmla="*/ 38571 h 251317"/>
                <a:gd name="connsiteX1" fmla="*/ 237363 w 243297"/>
                <a:gd name="connsiteY1" fmla="*/ 207692 h 251317"/>
                <a:gd name="connsiteX2" fmla="*/ 0 w 243297"/>
                <a:gd name="connsiteY2" fmla="*/ 198791 h 251317"/>
                <a:gd name="connsiteX3" fmla="*/ 14835 w 243297"/>
                <a:gd name="connsiteY3" fmla="*/ 0 h 251317"/>
                <a:gd name="connsiteX4" fmla="*/ 243297 w 243297"/>
                <a:gd name="connsiteY4" fmla="*/ 38571 h 251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297" h="251317">
                  <a:moveTo>
                    <a:pt x="243297" y="38571"/>
                  </a:moveTo>
                  <a:cubicBezTo>
                    <a:pt x="243297" y="38571"/>
                    <a:pt x="237363" y="136484"/>
                    <a:pt x="237363" y="207692"/>
                  </a:cubicBezTo>
                  <a:cubicBezTo>
                    <a:pt x="237363" y="207692"/>
                    <a:pt x="145384" y="311538"/>
                    <a:pt x="0" y="198791"/>
                  </a:cubicBezTo>
                  <a:cubicBezTo>
                    <a:pt x="0" y="139451"/>
                    <a:pt x="11868" y="62308"/>
                    <a:pt x="14835" y="0"/>
                  </a:cubicBezTo>
                  <a:cubicBezTo>
                    <a:pt x="14835" y="0"/>
                    <a:pt x="192857" y="50440"/>
                    <a:pt x="243297" y="38571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F0FDB36D-B67C-4848-B562-B25755B939ED}"/>
                </a:ext>
              </a:extLst>
            </p:cNvPr>
            <p:cNvSpPr/>
            <p:nvPr/>
          </p:nvSpPr>
          <p:spPr>
            <a:xfrm>
              <a:off x="14977613" y="2656768"/>
              <a:ext cx="68241" cy="133516"/>
            </a:xfrm>
            <a:custGeom>
              <a:avLst/>
              <a:gdLst>
                <a:gd name="connsiteX0" fmla="*/ 0 w 68241"/>
                <a:gd name="connsiteY0" fmla="*/ 0 h 133516"/>
                <a:gd name="connsiteX1" fmla="*/ 65275 w 68241"/>
                <a:gd name="connsiteY1" fmla="*/ 133516 h 133516"/>
                <a:gd name="connsiteX2" fmla="*/ 68241 w 68241"/>
                <a:gd name="connsiteY2" fmla="*/ 50439 h 133516"/>
                <a:gd name="connsiteX3" fmla="*/ 0 w 68241"/>
                <a:gd name="connsiteY3" fmla="*/ 0 h 13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241" h="133516">
                  <a:moveTo>
                    <a:pt x="0" y="0"/>
                  </a:moveTo>
                  <a:cubicBezTo>
                    <a:pt x="0" y="0"/>
                    <a:pt x="14835" y="115714"/>
                    <a:pt x="65275" y="133516"/>
                  </a:cubicBezTo>
                  <a:lnTo>
                    <a:pt x="68241" y="504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4654509D-1D21-4FA5-A0BF-9F5E05F1CAC1}"/>
                </a:ext>
              </a:extLst>
            </p:cNvPr>
            <p:cNvSpPr/>
            <p:nvPr/>
          </p:nvSpPr>
          <p:spPr>
            <a:xfrm>
              <a:off x="15327283" y="2452043"/>
              <a:ext cx="99883" cy="231440"/>
            </a:xfrm>
            <a:custGeom>
              <a:avLst/>
              <a:gdLst>
                <a:gd name="connsiteX0" fmla="*/ 92418 w 99883"/>
                <a:gd name="connsiteY0" fmla="*/ 0 h 231440"/>
                <a:gd name="connsiteX1" fmla="*/ 53847 w 99883"/>
                <a:gd name="connsiteY1" fmla="*/ 228462 h 231440"/>
                <a:gd name="connsiteX2" fmla="*/ 440 w 99883"/>
                <a:gd name="connsiteY2" fmla="*/ 14835 h 231440"/>
                <a:gd name="connsiteX3" fmla="*/ 92418 w 99883"/>
                <a:gd name="connsiteY3" fmla="*/ 0 h 23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883" h="231440">
                  <a:moveTo>
                    <a:pt x="92418" y="0"/>
                  </a:moveTo>
                  <a:cubicBezTo>
                    <a:pt x="92418" y="0"/>
                    <a:pt x="125055" y="189890"/>
                    <a:pt x="53847" y="228462"/>
                  </a:cubicBezTo>
                  <a:cubicBezTo>
                    <a:pt x="-8461" y="261099"/>
                    <a:pt x="440" y="14835"/>
                    <a:pt x="440" y="14835"/>
                  </a:cubicBezTo>
                  <a:lnTo>
                    <a:pt x="92418" y="0"/>
                  </a:ln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B08EABAD-FAD9-4892-90A6-AAA5A072D1B8}"/>
                </a:ext>
              </a:extLst>
            </p:cNvPr>
            <p:cNvSpPr/>
            <p:nvPr/>
          </p:nvSpPr>
          <p:spPr>
            <a:xfrm>
              <a:off x="14980580" y="2320166"/>
              <a:ext cx="412036" cy="553783"/>
            </a:xfrm>
            <a:custGeom>
              <a:avLst/>
              <a:gdLst>
                <a:gd name="connsiteX0" fmla="*/ 400549 w 412036"/>
                <a:gd name="connsiteY0" fmla="*/ 176383 h 553783"/>
                <a:gd name="connsiteX1" fmla="*/ 403517 w 412036"/>
                <a:gd name="connsiteY1" fmla="*/ 419679 h 553783"/>
                <a:gd name="connsiteX2" fmla="*/ 249231 w 412036"/>
                <a:gd name="connsiteY2" fmla="*/ 553196 h 553783"/>
                <a:gd name="connsiteX3" fmla="*/ 38571 w 412036"/>
                <a:gd name="connsiteY3" fmla="*/ 416712 h 553783"/>
                <a:gd name="connsiteX4" fmla="*/ 0 w 412036"/>
                <a:gd name="connsiteY4" fmla="*/ 197152 h 553783"/>
                <a:gd name="connsiteX5" fmla="*/ 204725 w 412036"/>
                <a:gd name="connsiteY5" fmla="*/ 1328 h 553783"/>
                <a:gd name="connsiteX6" fmla="*/ 400549 w 412036"/>
                <a:gd name="connsiteY6" fmla="*/ 176383 h 553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036" h="553783">
                  <a:moveTo>
                    <a:pt x="400549" y="176383"/>
                  </a:moveTo>
                  <a:cubicBezTo>
                    <a:pt x="400549" y="176383"/>
                    <a:pt x="424285" y="348471"/>
                    <a:pt x="403517" y="419679"/>
                  </a:cubicBezTo>
                  <a:cubicBezTo>
                    <a:pt x="385714" y="484954"/>
                    <a:pt x="299671" y="547262"/>
                    <a:pt x="249231" y="553196"/>
                  </a:cubicBezTo>
                  <a:cubicBezTo>
                    <a:pt x="183956" y="559130"/>
                    <a:pt x="68241" y="520558"/>
                    <a:pt x="38571" y="416712"/>
                  </a:cubicBezTo>
                  <a:cubicBezTo>
                    <a:pt x="17802" y="345504"/>
                    <a:pt x="0" y="247591"/>
                    <a:pt x="0" y="197152"/>
                  </a:cubicBezTo>
                  <a:cubicBezTo>
                    <a:pt x="0" y="105174"/>
                    <a:pt x="26703" y="28031"/>
                    <a:pt x="204725" y="1328"/>
                  </a:cubicBezTo>
                  <a:cubicBezTo>
                    <a:pt x="284835" y="-13507"/>
                    <a:pt x="379780" y="99240"/>
                    <a:pt x="400549" y="176383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39B533B9-216E-4EA7-92BE-F8BA9102E102}"/>
                </a:ext>
              </a:extLst>
            </p:cNvPr>
            <p:cNvSpPr/>
            <p:nvPr/>
          </p:nvSpPr>
          <p:spPr>
            <a:xfrm>
              <a:off x="15200141" y="2573691"/>
              <a:ext cx="56373" cy="136483"/>
            </a:xfrm>
            <a:custGeom>
              <a:avLst/>
              <a:gdLst>
                <a:gd name="connsiteX0" fmla="*/ 26703 w 56373"/>
                <a:gd name="connsiteY0" fmla="*/ 136484 h 136483"/>
                <a:gd name="connsiteX1" fmla="*/ 5934 w 56373"/>
                <a:gd name="connsiteY1" fmla="*/ 133516 h 136483"/>
                <a:gd name="connsiteX2" fmla="*/ 0 w 56373"/>
                <a:gd name="connsiteY2" fmla="*/ 127582 h 136483"/>
                <a:gd name="connsiteX3" fmla="*/ 5934 w 56373"/>
                <a:gd name="connsiteY3" fmla="*/ 121648 h 136483"/>
                <a:gd name="connsiteX4" fmla="*/ 44505 w 56373"/>
                <a:gd name="connsiteY4" fmla="*/ 118681 h 136483"/>
                <a:gd name="connsiteX5" fmla="*/ 44505 w 56373"/>
                <a:gd name="connsiteY5" fmla="*/ 115714 h 136483"/>
                <a:gd name="connsiteX6" fmla="*/ 26703 w 56373"/>
                <a:gd name="connsiteY6" fmla="*/ 5934 h 136483"/>
                <a:gd name="connsiteX7" fmla="*/ 32638 w 56373"/>
                <a:gd name="connsiteY7" fmla="*/ 0 h 136483"/>
                <a:gd name="connsiteX8" fmla="*/ 38571 w 56373"/>
                <a:gd name="connsiteY8" fmla="*/ 5934 h 136483"/>
                <a:gd name="connsiteX9" fmla="*/ 56373 w 56373"/>
                <a:gd name="connsiteY9" fmla="*/ 115714 h 136483"/>
                <a:gd name="connsiteX10" fmla="*/ 50440 w 56373"/>
                <a:gd name="connsiteY10" fmla="*/ 127582 h 136483"/>
                <a:gd name="connsiteX11" fmla="*/ 26703 w 56373"/>
                <a:gd name="connsiteY11" fmla="*/ 136484 h 13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373" h="136483">
                  <a:moveTo>
                    <a:pt x="26703" y="136484"/>
                  </a:moveTo>
                  <a:cubicBezTo>
                    <a:pt x="17802" y="136484"/>
                    <a:pt x="8901" y="133516"/>
                    <a:pt x="5934" y="133516"/>
                  </a:cubicBezTo>
                  <a:cubicBezTo>
                    <a:pt x="2967" y="133516"/>
                    <a:pt x="0" y="130549"/>
                    <a:pt x="0" y="127582"/>
                  </a:cubicBezTo>
                  <a:cubicBezTo>
                    <a:pt x="0" y="124615"/>
                    <a:pt x="2967" y="121648"/>
                    <a:pt x="5934" y="121648"/>
                  </a:cubicBezTo>
                  <a:cubicBezTo>
                    <a:pt x="17802" y="124615"/>
                    <a:pt x="38571" y="124615"/>
                    <a:pt x="44505" y="118681"/>
                  </a:cubicBezTo>
                  <a:cubicBezTo>
                    <a:pt x="44505" y="118681"/>
                    <a:pt x="44505" y="115714"/>
                    <a:pt x="44505" y="115714"/>
                  </a:cubicBezTo>
                  <a:cubicBezTo>
                    <a:pt x="44505" y="97912"/>
                    <a:pt x="26703" y="8901"/>
                    <a:pt x="26703" y="5934"/>
                  </a:cubicBezTo>
                  <a:cubicBezTo>
                    <a:pt x="26703" y="2967"/>
                    <a:pt x="26703" y="0"/>
                    <a:pt x="32638" y="0"/>
                  </a:cubicBezTo>
                  <a:cubicBezTo>
                    <a:pt x="35605" y="0"/>
                    <a:pt x="38571" y="0"/>
                    <a:pt x="38571" y="5934"/>
                  </a:cubicBezTo>
                  <a:cubicBezTo>
                    <a:pt x="38571" y="8901"/>
                    <a:pt x="56373" y="97912"/>
                    <a:pt x="56373" y="115714"/>
                  </a:cubicBezTo>
                  <a:cubicBezTo>
                    <a:pt x="56373" y="121648"/>
                    <a:pt x="53406" y="124615"/>
                    <a:pt x="50440" y="127582"/>
                  </a:cubicBezTo>
                  <a:cubicBezTo>
                    <a:pt x="47473" y="133516"/>
                    <a:pt x="38571" y="136484"/>
                    <a:pt x="26703" y="136484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7C960291-298D-4BC2-A6F8-2CAD07285709}"/>
                </a:ext>
              </a:extLst>
            </p:cNvPr>
            <p:cNvSpPr/>
            <p:nvPr/>
          </p:nvSpPr>
          <p:spPr>
            <a:xfrm>
              <a:off x="15170470" y="2757647"/>
              <a:ext cx="103846" cy="50558"/>
            </a:xfrm>
            <a:custGeom>
              <a:avLst/>
              <a:gdLst>
                <a:gd name="connsiteX0" fmla="*/ 103846 w 103846"/>
                <a:gd name="connsiteY0" fmla="*/ 0 h 50558"/>
                <a:gd name="connsiteX1" fmla="*/ 0 w 103846"/>
                <a:gd name="connsiteY1" fmla="*/ 0 h 50558"/>
                <a:gd name="connsiteX2" fmla="*/ 50440 w 103846"/>
                <a:gd name="connsiteY2" fmla="*/ 50440 h 50558"/>
                <a:gd name="connsiteX3" fmla="*/ 103846 w 103846"/>
                <a:gd name="connsiteY3" fmla="*/ 0 h 50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46" h="50558">
                  <a:moveTo>
                    <a:pt x="103846" y="0"/>
                  </a:moveTo>
                  <a:cubicBezTo>
                    <a:pt x="103846" y="0"/>
                    <a:pt x="50440" y="14835"/>
                    <a:pt x="0" y="0"/>
                  </a:cubicBezTo>
                  <a:cubicBezTo>
                    <a:pt x="0" y="0"/>
                    <a:pt x="2967" y="50440"/>
                    <a:pt x="50440" y="50440"/>
                  </a:cubicBezTo>
                  <a:cubicBezTo>
                    <a:pt x="94945" y="53407"/>
                    <a:pt x="103846" y="0"/>
                    <a:pt x="103846" y="0"/>
                  </a:cubicBezTo>
                  <a:close/>
                </a:path>
              </a:pathLst>
            </a:custGeom>
            <a:solidFill>
              <a:srgbClr val="FFFFFF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07AC2215-1EF3-464D-ADB0-70CD3C7CFD2E}"/>
                </a:ext>
              </a:extLst>
            </p:cNvPr>
            <p:cNvSpPr/>
            <p:nvPr/>
          </p:nvSpPr>
          <p:spPr>
            <a:xfrm>
              <a:off x="15286184" y="2552340"/>
              <a:ext cx="39153" cy="39735"/>
            </a:xfrm>
            <a:custGeom>
              <a:avLst/>
              <a:gdLst>
                <a:gd name="connsiteX0" fmla="*/ 0 w 39153"/>
                <a:gd name="connsiteY0" fmla="*/ 24318 h 39735"/>
                <a:gd name="connsiteX1" fmla="*/ 23737 w 39153"/>
                <a:gd name="connsiteY1" fmla="*/ 39153 h 39735"/>
                <a:gd name="connsiteX2" fmla="*/ 38572 w 39153"/>
                <a:gd name="connsiteY2" fmla="*/ 15417 h 39735"/>
                <a:gd name="connsiteX3" fmla="*/ 14835 w 39153"/>
                <a:gd name="connsiteY3" fmla="*/ 582 h 39735"/>
                <a:gd name="connsiteX4" fmla="*/ 0 w 39153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53" h="39735">
                  <a:moveTo>
                    <a:pt x="0" y="24318"/>
                  </a:moveTo>
                  <a:cubicBezTo>
                    <a:pt x="2967" y="33219"/>
                    <a:pt x="11868" y="42120"/>
                    <a:pt x="23737" y="39153"/>
                  </a:cubicBezTo>
                  <a:cubicBezTo>
                    <a:pt x="32638" y="36186"/>
                    <a:pt x="41538" y="27285"/>
                    <a:pt x="38572" y="15417"/>
                  </a:cubicBezTo>
                  <a:cubicBezTo>
                    <a:pt x="35605" y="6516"/>
                    <a:pt x="26703" y="-2385"/>
                    <a:pt x="14835" y="582"/>
                  </a:cubicBezTo>
                  <a:cubicBezTo>
                    <a:pt x="5934" y="3549"/>
                    <a:pt x="0" y="15417"/>
                    <a:pt x="0" y="24318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EE6CDCA1-3B10-4274-AFA4-91B7E44E4E9D}"/>
                </a:ext>
              </a:extLst>
            </p:cNvPr>
            <p:cNvSpPr/>
            <p:nvPr/>
          </p:nvSpPr>
          <p:spPr>
            <a:xfrm>
              <a:off x="15108162" y="2573109"/>
              <a:ext cx="39153" cy="39735"/>
            </a:xfrm>
            <a:custGeom>
              <a:avLst/>
              <a:gdLst>
                <a:gd name="connsiteX0" fmla="*/ 0 w 39153"/>
                <a:gd name="connsiteY0" fmla="*/ 24318 h 39735"/>
                <a:gd name="connsiteX1" fmla="*/ 23737 w 39153"/>
                <a:gd name="connsiteY1" fmla="*/ 39153 h 39735"/>
                <a:gd name="connsiteX2" fmla="*/ 38572 w 39153"/>
                <a:gd name="connsiteY2" fmla="*/ 15417 h 39735"/>
                <a:gd name="connsiteX3" fmla="*/ 14835 w 39153"/>
                <a:gd name="connsiteY3" fmla="*/ 582 h 39735"/>
                <a:gd name="connsiteX4" fmla="*/ 0 w 39153"/>
                <a:gd name="connsiteY4" fmla="*/ 24318 h 3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53" h="39735">
                  <a:moveTo>
                    <a:pt x="0" y="24318"/>
                  </a:moveTo>
                  <a:cubicBezTo>
                    <a:pt x="2967" y="33219"/>
                    <a:pt x="11868" y="42120"/>
                    <a:pt x="23737" y="39153"/>
                  </a:cubicBezTo>
                  <a:cubicBezTo>
                    <a:pt x="32638" y="36186"/>
                    <a:pt x="41538" y="27285"/>
                    <a:pt x="38572" y="15417"/>
                  </a:cubicBezTo>
                  <a:cubicBezTo>
                    <a:pt x="35605" y="6516"/>
                    <a:pt x="26703" y="-2385"/>
                    <a:pt x="14835" y="582"/>
                  </a:cubicBezTo>
                  <a:cubicBezTo>
                    <a:pt x="5934" y="3549"/>
                    <a:pt x="0" y="12450"/>
                    <a:pt x="0" y="24318"/>
                  </a:cubicBezTo>
                  <a:close/>
                </a:path>
              </a:pathLst>
            </a:custGeom>
            <a:solidFill>
              <a:srgbClr val="38333D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F0AA28C0-AA36-4039-9595-F4D33FF27A7A}"/>
                </a:ext>
              </a:extLst>
            </p:cNvPr>
            <p:cNvSpPr/>
            <p:nvPr/>
          </p:nvSpPr>
          <p:spPr>
            <a:xfrm>
              <a:off x="15258252" y="2505449"/>
              <a:ext cx="89498" cy="32637"/>
            </a:xfrm>
            <a:custGeom>
              <a:avLst/>
              <a:gdLst>
                <a:gd name="connsiteX0" fmla="*/ 84306 w 89498"/>
                <a:gd name="connsiteY0" fmla="*/ 32637 h 32637"/>
                <a:gd name="connsiteX1" fmla="*/ 78372 w 89498"/>
                <a:gd name="connsiteY1" fmla="*/ 29670 h 32637"/>
                <a:gd name="connsiteX2" fmla="*/ 13097 w 89498"/>
                <a:gd name="connsiteY2" fmla="*/ 23736 h 32637"/>
                <a:gd name="connsiteX3" fmla="*/ 1229 w 89498"/>
                <a:gd name="connsiteY3" fmla="*/ 20769 h 32637"/>
                <a:gd name="connsiteX4" fmla="*/ 4196 w 89498"/>
                <a:gd name="connsiteY4" fmla="*/ 8901 h 32637"/>
                <a:gd name="connsiteX5" fmla="*/ 87273 w 89498"/>
                <a:gd name="connsiteY5" fmla="*/ 17802 h 32637"/>
                <a:gd name="connsiteX6" fmla="*/ 87273 w 89498"/>
                <a:gd name="connsiteY6" fmla="*/ 29670 h 32637"/>
                <a:gd name="connsiteX7" fmla="*/ 84306 w 89498"/>
                <a:gd name="connsiteY7" fmla="*/ 32637 h 32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2637">
                  <a:moveTo>
                    <a:pt x="84306" y="32637"/>
                  </a:moveTo>
                  <a:cubicBezTo>
                    <a:pt x="81339" y="32637"/>
                    <a:pt x="81339" y="32637"/>
                    <a:pt x="78372" y="29670"/>
                  </a:cubicBezTo>
                  <a:cubicBezTo>
                    <a:pt x="51669" y="2967"/>
                    <a:pt x="13097" y="23736"/>
                    <a:pt x="13097" y="23736"/>
                  </a:cubicBezTo>
                  <a:cubicBezTo>
                    <a:pt x="10130" y="26703"/>
                    <a:pt x="4196" y="23736"/>
                    <a:pt x="1229" y="20769"/>
                  </a:cubicBezTo>
                  <a:cubicBezTo>
                    <a:pt x="-1738" y="17802"/>
                    <a:pt x="1229" y="11868"/>
                    <a:pt x="4196" y="8901"/>
                  </a:cubicBezTo>
                  <a:cubicBezTo>
                    <a:pt x="21999" y="0"/>
                    <a:pt x="60570" y="-8901"/>
                    <a:pt x="87273" y="17802"/>
                  </a:cubicBezTo>
                  <a:cubicBezTo>
                    <a:pt x="90240" y="20769"/>
                    <a:pt x="90240" y="26703"/>
                    <a:pt x="87273" y="29670"/>
                  </a:cubicBezTo>
                  <a:cubicBezTo>
                    <a:pt x="87273" y="32637"/>
                    <a:pt x="87273" y="32637"/>
                    <a:pt x="84306" y="32637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E8A05AC5-4676-4E41-9D65-18A2695A5477}"/>
                </a:ext>
              </a:extLst>
            </p:cNvPr>
            <p:cNvSpPr/>
            <p:nvPr/>
          </p:nvSpPr>
          <p:spPr>
            <a:xfrm>
              <a:off x="15076267" y="2505751"/>
              <a:ext cx="89498" cy="35302"/>
            </a:xfrm>
            <a:custGeom>
              <a:avLst/>
              <a:gdLst>
                <a:gd name="connsiteX0" fmla="*/ 8160 w 89498"/>
                <a:gd name="connsiteY0" fmla="*/ 35302 h 35302"/>
                <a:gd name="connsiteX1" fmla="*/ 2225 w 89498"/>
                <a:gd name="connsiteY1" fmla="*/ 32335 h 35302"/>
                <a:gd name="connsiteX2" fmla="*/ 2225 w 89498"/>
                <a:gd name="connsiteY2" fmla="*/ 20467 h 35302"/>
                <a:gd name="connsiteX3" fmla="*/ 85303 w 89498"/>
                <a:gd name="connsiteY3" fmla="*/ 11566 h 35302"/>
                <a:gd name="connsiteX4" fmla="*/ 88269 w 89498"/>
                <a:gd name="connsiteY4" fmla="*/ 23434 h 35302"/>
                <a:gd name="connsiteX5" fmla="*/ 76401 w 89498"/>
                <a:gd name="connsiteY5" fmla="*/ 26401 h 35302"/>
                <a:gd name="connsiteX6" fmla="*/ 11127 w 89498"/>
                <a:gd name="connsiteY6" fmla="*/ 32335 h 35302"/>
                <a:gd name="connsiteX7" fmla="*/ 8160 w 89498"/>
                <a:gd name="connsiteY7" fmla="*/ 35302 h 35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98" h="35302">
                  <a:moveTo>
                    <a:pt x="8160" y="35302"/>
                  </a:moveTo>
                  <a:cubicBezTo>
                    <a:pt x="5193" y="35302"/>
                    <a:pt x="5193" y="35302"/>
                    <a:pt x="2225" y="32335"/>
                  </a:cubicBezTo>
                  <a:cubicBezTo>
                    <a:pt x="-742" y="29368"/>
                    <a:pt x="-742" y="23434"/>
                    <a:pt x="2225" y="20467"/>
                  </a:cubicBezTo>
                  <a:cubicBezTo>
                    <a:pt x="14093" y="5632"/>
                    <a:pt x="49698" y="-12170"/>
                    <a:pt x="85303" y="11566"/>
                  </a:cubicBezTo>
                  <a:cubicBezTo>
                    <a:pt x="88269" y="14533"/>
                    <a:pt x="91236" y="17500"/>
                    <a:pt x="88269" y="23434"/>
                  </a:cubicBezTo>
                  <a:cubicBezTo>
                    <a:pt x="85303" y="26401"/>
                    <a:pt x="82336" y="29368"/>
                    <a:pt x="76401" y="26401"/>
                  </a:cubicBezTo>
                  <a:cubicBezTo>
                    <a:pt x="40797" y="2665"/>
                    <a:pt x="14093" y="32335"/>
                    <a:pt x="11127" y="32335"/>
                  </a:cubicBezTo>
                  <a:cubicBezTo>
                    <a:pt x="11127" y="35302"/>
                    <a:pt x="8160" y="35302"/>
                    <a:pt x="8160" y="35302"/>
                  </a:cubicBezTo>
                  <a:close/>
                </a:path>
              </a:pathLst>
            </a:custGeom>
            <a:solidFill>
              <a:srgbClr val="664540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8621DE86-9FEC-44F9-9456-5CD56009229C}"/>
                </a:ext>
              </a:extLst>
            </p:cNvPr>
            <p:cNvSpPr/>
            <p:nvPr/>
          </p:nvSpPr>
          <p:spPr>
            <a:xfrm>
              <a:off x="15069591" y="2816988"/>
              <a:ext cx="224752" cy="62307"/>
            </a:xfrm>
            <a:custGeom>
              <a:avLst/>
              <a:gdLst>
                <a:gd name="connsiteX0" fmla="*/ 145384 w 224752"/>
                <a:gd name="connsiteY0" fmla="*/ 62308 h 62307"/>
                <a:gd name="connsiteX1" fmla="*/ 2967 w 224752"/>
                <a:gd name="connsiteY1" fmla="*/ 11868 h 62307"/>
                <a:gd name="connsiteX2" fmla="*/ 0 w 224752"/>
                <a:gd name="connsiteY2" fmla="*/ 2967 h 62307"/>
                <a:gd name="connsiteX3" fmla="*/ 8901 w 224752"/>
                <a:gd name="connsiteY3" fmla="*/ 0 h 62307"/>
                <a:gd name="connsiteX4" fmla="*/ 145384 w 224752"/>
                <a:gd name="connsiteY4" fmla="*/ 47473 h 62307"/>
                <a:gd name="connsiteX5" fmla="*/ 145384 w 224752"/>
                <a:gd name="connsiteY5" fmla="*/ 47473 h 62307"/>
                <a:gd name="connsiteX6" fmla="*/ 213626 w 224752"/>
                <a:gd name="connsiteY6" fmla="*/ 23736 h 62307"/>
                <a:gd name="connsiteX7" fmla="*/ 222527 w 224752"/>
                <a:gd name="connsiteY7" fmla="*/ 23736 h 62307"/>
                <a:gd name="connsiteX8" fmla="*/ 222527 w 224752"/>
                <a:gd name="connsiteY8" fmla="*/ 32637 h 62307"/>
                <a:gd name="connsiteX9" fmla="*/ 145384 w 224752"/>
                <a:gd name="connsiteY9" fmla="*/ 62308 h 62307"/>
                <a:gd name="connsiteX10" fmla="*/ 145384 w 224752"/>
                <a:gd name="connsiteY10" fmla="*/ 62308 h 6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752" h="62307">
                  <a:moveTo>
                    <a:pt x="145384" y="62308"/>
                  </a:moveTo>
                  <a:cubicBezTo>
                    <a:pt x="94945" y="62308"/>
                    <a:pt x="8901" y="14835"/>
                    <a:pt x="2967" y="11868"/>
                  </a:cubicBezTo>
                  <a:cubicBezTo>
                    <a:pt x="0" y="8901"/>
                    <a:pt x="0" y="5934"/>
                    <a:pt x="0" y="2967"/>
                  </a:cubicBezTo>
                  <a:cubicBezTo>
                    <a:pt x="2967" y="0"/>
                    <a:pt x="5934" y="0"/>
                    <a:pt x="8901" y="0"/>
                  </a:cubicBezTo>
                  <a:cubicBezTo>
                    <a:pt x="8901" y="0"/>
                    <a:pt x="97912" y="47473"/>
                    <a:pt x="145384" y="47473"/>
                  </a:cubicBezTo>
                  <a:cubicBezTo>
                    <a:pt x="145384" y="47473"/>
                    <a:pt x="145384" y="47473"/>
                    <a:pt x="145384" y="47473"/>
                  </a:cubicBezTo>
                  <a:cubicBezTo>
                    <a:pt x="183956" y="47473"/>
                    <a:pt x="213626" y="23736"/>
                    <a:pt x="213626" y="23736"/>
                  </a:cubicBezTo>
                  <a:cubicBezTo>
                    <a:pt x="216593" y="20769"/>
                    <a:pt x="219560" y="20769"/>
                    <a:pt x="222527" y="23736"/>
                  </a:cubicBezTo>
                  <a:cubicBezTo>
                    <a:pt x="225495" y="26703"/>
                    <a:pt x="225495" y="29670"/>
                    <a:pt x="222527" y="32637"/>
                  </a:cubicBezTo>
                  <a:cubicBezTo>
                    <a:pt x="219560" y="35604"/>
                    <a:pt x="186923" y="59341"/>
                    <a:pt x="145384" y="62308"/>
                  </a:cubicBezTo>
                  <a:cubicBezTo>
                    <a:pt x="145384" y="62308"/>
                    <a:pt x="145384" y="62308"/>
                    <a:pt x="145384" y="62308"/>
                  </a:cubicBezTo>
                  <a:close/>
                </a:path>
              </a:pathLst>
            </a:custGeom>
            <a:solidFill>
              <a:srgbClr val="E87952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0C4D480A-FE0C-4284-9241-864D5278FDDC}"/>
                </a:ext>
              </a:extLst>
            </p:cNvPr>
            <p:cNvSpPr/>
            <p:nvPr/>
          </p:nvSpPr>
          <p:spPr>
            <a:xfrm>
              <a:off x="14941212" y="2342263"/>
              <a:ext cx="110576" cy="261098"/>
            </a:xfrm>
            <a:custGeom>
              <a:avLst/>
              <a:gdLst>
                <a:gd name="connsiteX0" fmla="*/ 110577 w 110576"/>
                <a:gd name="connsiteY0" fmla="*/ 124615 h 261098"/>
                <a:gd name="connsiteX1" fmla="*/ 63104 w 110576"/>
                <a:gd name="connsiteY1" fmla="*/ 261099 h 261098"/>
                <a:gd name="connsiteX2" fmla="*/ 6731 w 110576"/>
                <a:gd name="connsiteY2" fmla="*/ 163187 h 261098"/>
                <a:gd name="connsiteX3" fmla="*/ 63104 w 110576"/>
                <a:gd name="connsiteY3" fmla="*/ 0 h 261098"/>
                <a:gd name="connsiteX4" fmla="*/ 110577 w 110576"/>
                <a:gd name="connsiteY4" fmla="*/ 124615 h 26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576" h="261098">
                  <a:moveTo>
                    <a:pt x="110577" y="124615"/>
                  </a:moveTo>
                  <a:cubicBezTo>
                    <a:pt x="110577" y="124615"/>
                    <a:pt x="57171" y="231429"/>
                    <a:pt x="63104" y="261099"/>
                  </a:cubicBezTo>
                  <a:cubicBezTo>
                    <a:pt x="63104" y="261099"/>
                    <a:pt x="21566" y="216593"/>
                    <a:pt x="6731" y="163187"/>
                  </a:cubicBezTo>
                  <a:cubicBezTo>
                    <a:pt x="-8105" y="106813"/>
                    <a:pt x="-2170" y="14835"/>
                    <a:pt x="63104" y="0"/>
                  </a:cubicBezTo>
                  <a:cubicBezTo>
                    <a:pt x="63104" y="0"/>
                    <a:pt x="69038" y="106813"/>
                    <a:pt x="110577" y="124615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1B189EE1-C8D6-4833-B986-35407AC912A2}"/>
                </a:ext>
              </a:extLst>
            </p:cNvPr>
            <p:cNvSpPr/>
            <p:nvPr/>
          </p:nvSpPr>
          <p:spPr>
            <a:xfrm>
              <a:off x="14993552" y="2230032"/>
              <a:ext cx="426740" cy="340691"/>
            </a:xfrm>
            <a:custGeom>
              <a:avLst/>
              <a:gdLst>
                <a:gd name="connsiteX0" fmla="*/ 58237 w 426740"/>
                <a:gd name="connsiteY0" fmla="*/ 236846 h 340691"/>
                <a:gd name="connsiteX1" fmla="*/ 176919 w 426740"/>
                <a:gd name="connsiteY1" fmla="*/ 198274 h 340691"/>
                <a:gd name="connsiteX2" fmla="*/ 411314 w 426740"/>
                <a:gd name="connsiteY2" fmla="*/ 340692 h 340691"/>
                <a:gd name="connsiteX3" fmla="*/ 414281 w 426740"/>
                <a:gd name="connsiteY3" fmla="*/ 177505 h 340691"/>
                <a:gd name="connsiteX4" fmla="*/ 325270 w 426740"/>
                <a:gd name="connsiteY4" fmla="*/ 32120 h 340691"/>
                <a:gd name="connsiteX5" fmla="*/ 129446 w 426740"/>
                <a:gd name="connsiteY5" fmla="*/ 17285 h 340691"/>
                <a:gd name="connsiteX6" fmla="*/ 10765 w 426740"/>
                <a:gd name="connsiteY6" fmla="*/ 109263 h 340691"/>
                <a:gd name="connsiteX7" fmla="*/ 58237 w 426740"/>
                <a:gd name="connsiteY7" fmla="*/ 236846 h 340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6740" h="340691">
                  <a:moveTo>
                    <a:pt x="58237" y="236846"/>
                  </a:moveTo>
                  <a:cubicBezTo>
                    <a:pt x="58237" y="236846"/>
                    <a:pt x="150215" y="198274"/>
                    <a:pt x="176919" y="198274"/>
                  </a:cubicBezTo>
                  <a:cubicBezTo>
                    <a:pt x="274830" y="201241"/>
                    <a:pt x="426149" y="269483"/>
                    <a:pt x="411314" y="340692"/>
                  </a:cubicBezTo>
                  <a:cubicBezTo>
                    <a:pt x="411314" y="340692"/>
                    <a:pt x="443952" y="239813"/>
                    <a:pt x="414281" y="177505"/>
                  </a:cubicBezTo>
                  <a:cubicBezTo>
                    <a:pt x="414281" y="177505"/>
                    <a:pt x="414281" y="55857"/>
                    <a:pt x="325270" y="32120"/>
                  </a:cubicBezTo>
                  <a:cubicBezTo>
                    <a:pt x="236259" y="8384"/>
                    <a:pt x="197688" y="-18319"/>
                    <a:pt x="129446" y="17285"/>
                  </a:cubicBezTo>
                  <a:cubicBezTo>
                    <a:pt x="61204" y="55857"/>
                    <a:pt x="16699" y="73659"/>
                    <a:pt x="10765" y="109263"/>
                  </a:cubicBezTo>
                  <a:cubicBezTo>
                    <a:pt x="10765" y="112230"/>
                    <a:pt x="-33741" y="224978"/>
                    <a:pt x="58237" y="236846"/>
                  </a:cubicBezTo>
                  <a:close/>
                </a:path>
              </a:pathLst>
            </a:custGeom>
            <a:solidFill>
              <a:srgbClr val="F1DDBA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3B709336-E630-49D6-B6F2-01C67F19BD80}"/>
                </a:ext>
              </a:extLst>
            </p:cNvPr>
            <p:cNvSpPr/>
            <p:nvPr/>
          </p:nvSpPr>
          <p:spPr>
            <a:xfrm>
              <a:off x="14666075" y="2929735"/>
              <a:ext cx="1042224" cy="1524875"/>
            </a:xfrm>
            <a:custGeom>
              <a:avLst/>
              <a:gdLst>
                <a:gd name="connsiteX0" fmla="*/ 385714 w 1042224"/>
                <a:gd name="connsiteY0" fmla="*/ 0 h 1524875"/>
                <a:gd name="connsiteX1" fmla="*/ 667582 w 1042224"/>
                <a:gd name="connsiteY1" fmla="*/ 0 h 1524875"/>
                <a:gd name="connsiteX2" fmla="*/ 958351 w 1042224"/>
                <a:gd name="connsiteY2" fmla="*/ 127583 h 1524875"/>
                <a:gd name="connsiteX3" fmla="*/ 1041429 w 1042224"/>
                <a:gd name="connsiteY3" fmla="*/ 1495385 h 1524875"/>
                <a:gd name="connsiteX4" fmla="*/ 0 w 1042224"/>
                <a:gd name="connsiteY4" fmla="*/ 1471648 h 1524875"/>
                <a:gd name="connsiteX5" fmla="*/ 112747 w 1042224"/>
                <a:gd name="connsiteY5" fmla="*/ 100879 h 1524875"/>
                <a:gd name="connsiteX6" fmla="*/ 385714 w 1042224"/>
                <a:gd name="connsiteY6" fmla="*/ 0 h 152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2224" h="1524875">
                  <a:moveTo>
                    <a:pt x="385714" y="0"/>
                  </a:moveTo>
                  <a:cubicBezTo>
                    <a:pt x="385714" y="0"/>
                    <a:pt x="554836" y="53407"/>
                    <a:pt x="667582" y="0"/>
                  </a:cubicBezTo>
                  <a:cubicBezTo>
                    <a:pt x="667582" y="0"/>
                    <a:pt x="934615" y="94945"/>
                    <a:pt x="958351" y="127583"/>
                  </a:cubicBezTo>
                  <a:cubicBezTo>
                    <a:pt x="982088" y="157253"/>
                    <a:pt x="1050330" y="1430110"/>
                    <a:pt x="1041429" y="1495385"/>
                  </a:cubicBezTo>
                  <a:cubicBezTo>
                    <a:pt x="1041429" y="1495385"/>
                    <a:pt x="563736" y="1575495"/>
                    <a:pt x="0" y="1471648"/>
                  </a:cubicBezTo>
                  <a:cubicBezTo>
                    <a:pt x="0" y="1124506"/>
                    <a:pt x="71209" y="130549"/>
                    <a:pt x="112747" y="100879"/>
                  </a:cubicBezTo>
                  <a:cubicBezTo>
                    <a:pt x="151319" y="71209"/>
                    <a:pt x="385714" y="0"/>
                    <a:pt x="385714" y="0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16B277E2-D047-4A30-8F66-66D04AF8CB03}"/>
                </a:ext>
              </a:extLst>
            </p:cNvPr>
            <p:cNvSpPr/>
            <p:nvPr/>
          </p:nvSpPr>
          <p:spPr>
            <a:xfrm>
              <a:off x="15615525" y="3051384"/>
              <a:ext cx="51668" cy="537032"/>
            </a:xfrm>
            <a:custGeom>
              <a:avLst/>
              <a:gdLst>
                <a:gd name="connsiteX0" fmla="*/ 47473 w 51668"/>
                <a:gd name="connsiteY0" fmla="*/ 537033 h 537032"/>
                <a:gd name="connsiteX1" fmla="*/ 41538 w 51668"/>
                <a:gd name="connsiteY1" fmla="*/ 531099 h 537032"/>
                <a:gd name="connsiteX2" fmla="*/ 0 w 51668"/>
                <a:gd name="connsiteY2" fmla="*/ 5934 h 537032"/>
                <a:gd name="connsiteX3" fmla="*/ 2967 w 51668"/>
                <a:gd name="connsiteY3" fmla="*/ 0 h 537032"/>
                <a:gd name="connsiteX4" fmla="*/ 8901 w 51668"/>
                <a:gd name="connsiteY4" fmla="*/ 2967 h 537032"/>
                <a:gd name="connsiteX5" fmla="*/ 50440 w 51668"/>
                <a:gd name="connsiteY5" fmla="*/ 531099 h 537032"/>
                <a:gd name="connsiteX6" fmla="*/ 47473 w 51668"/>
                <a:gd name="connsiteY6" fmla="*/ 537033 h 537032"/>
                <a:gd name="connsiteX7" fmla="*/ 47473 w 51668"/>
                <a:gd name="connsiteY7" fmla="*/ 537033 h 537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68" h="537032">
                  <a:moveTo>
                    <a:pt x="47473" y="537033"/>
                  </a:moveTo>
                  <a:cubicBezTo>
                    <a:pt x="44505" y="537033"/>
                    <a:pt x="41538" y="534066"/>
                    <a:pt x="41538" y="531099"/>
                  </a:cubicBezTo>
                  <a:cubicBezTo>
                    <a:pt x="41538" y="525165"/>
                    <a:pt x="5934" y="44505"/>
                    <a:pt x="0" y="5934"/>
                  </a:cubicBezTo>
                  <a:cubicBezTo>
                    <a:pt x="0" y="2967"/>
                    <a:pt x="0" y="0"/>
                    <a:pt x="2967" y="0"/>
                  </a:cubicBezTo>
                  <a:cubicBezTo>
                    <a:pt x="5934" y="0"/>
                    <a:pt x="8901" y="0"/>
                    <a:pt x="8901" y="2967"/>
                  </a:cubicBezTo>
                  <a:cubicBezTo>
                    <a:pt x="17802" y="41538"/>
                    <a:pt x="50440" y="510330"/>
                    <a:pt x="50440" y="531099"/>
                  </a:cubicBezTo>
                  <a:cubicBezTo>
                    <a:pt x="53406" y="534066"/>
                    <a:pt x="50440" y="537033"/>
                    <a:pt x="47473" y="537033"/>
                  </a:cubicBezTo>
                  <a:cubicBezTo>
                    <a:pt x="47473" y="537033"/>
                    <a:pt x="47473" y="537033"/>
                    <a:pt x="47473" y="537033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5" name="图形 1">
              <a:extLst>
                <a:ext uri="{FF2B5EF4-FFF2-40B4-BE49-F238E27FC236}">
                  <a16:creationId xmlns:a16="http://schemas.microsoft.com/office/drawing/2014/main" id="{D6D36687-38BD-4BDA-9990-94A09C3F605F}"/>
                </a:ext>
              </a:extLst>
            </p:cNvPr>
            <p:cNvGrpSpPr/>
            <p:nvPr/>
          </p:nvGrpSpPr>
          <p:grpSpPr>
            <a:xfrm>
              <a:off x="13704756" y="2208741"/>
              <a:ext cx="376902" cy="251821"/>
              <a:chOff x="13704756" y="2208741"/>
              <a:chExt cx="376902" cy="251821"/>
            </a:xfrm>
          </p:grpSpPr>
          <p:grpSp>
            <p:nvGrpSpPr>
              <p:cNvPr id="143" name="图形 1">
                <a:extLst>
                  <a:ext uri="{FF2B5EF4-FFF2-40B4-BE49-F238E27FC236}">
                    <a16:creationId xmlns:a16="http://schemas.microsoft.com/office/drawing/2014/main" id="{A9F039FC-EB9D-467B-8D6A-77AD582BF3B1}"/>
                  </a:ext>
                </a:extLst>
              </p:cNvPr>
              <p:cNvGrpSpPr/>
              <p:nvPr/>
            </p:nvGrpSpPr>
            <p:grpSpPr>
              <a:xfrm>
                <a:off x="13704756" y="2208741"/>
                <a:ext cx="376902" cy="251821"/>
                <a:chOff x="13704756" y="2208741"/>
                <a:chExt cx="376902" cy="251821"/>
              </a:xfrm>
            </p:grpSpPr>
            <p:sp>
              <p:nvSpPr>
                <p:cNvPr id="146" name="任意多边形: 形状 145">
                  <a:extLst>
                    <a:ext uri="{FF2B5EF4-FFF2-40B4-BE49-F238E27FC236}">
                      <a16:creationId xmlns:a16="http://schemas.microsoft.com/office/drawing/2014/main" id="{1C2957F4-A6DB-4002-8F0F-1C04F1195DB0}"/>
                    </a:ext>
                  </a:extLst>
                </p:cNvPr>
                <p:cNvSpPr/>
                <p:nvPr/>
              </p:nvSpPr>
              <p:spPr>
                <a:xfrm>
                  <a:off x="13704756" y="2208741"/>
                  <a:ext cx="376902" cy="251821"/>
                </a:xfrm>
                <a:custGeom>
                  <a:avLst/>
                  <a:gdLst>
                    <a:gd name="connsiteX0" fmla="*/ 172088 w 376902"/>
                    <a:gd name="connsiteY0" fmla="*/ 222533 h 251821"/>
                    <a:gd name="connsiteX1" fmla="*/ 311538 w 376902"/>
                    <a:gd name="connsiteY1" fmla="*/ 246269 h 251821"/>
                    <a:gd name="connsiteX2" fmla="*/ 376813 w 376902"/>
                    <a:gd name="connsiteY2" fmla="*/ 163192 h 251821"/>
                    <a:gd name="connsiteX3" fmla="*/ 290769 w 376902"/>
                    <a:gd name="connsiteY3" fmla="*/ 5940 h 251821"/>
                    <a:gd name="connsiteX4" fmla="*/ 258131 w 376902"/>
                    <a:gd name="connsiteY4" fmla="*/ 29676 h 251821"/>
                    <a:gd name="connsiteX5" fmla="*/ 278901 w 376902"/>
                    <a:gd name="connsiteY5" fmla="*/ 103852 h 251821"/>
                    <a:gd name="connsiteX6" fmla="*/ 94945 w 376902"/>
                    <a:gd name="connsiteY6" fmla="*/ 38577 h 251821"/>
                    <a:gd name="connsiteX7" fmla="*/ 62308 w 376902"/>
                    <a:gd name="connsiteY7" fmla="*/ 53412 h 251821"/>
                    <a:gd name="connsiteX8" fmla="*/ 103846 w 376902"/>
                    <a:gd name="connsiteY8" fmla="*/ 74181 h 251821"/>
                    <a:gd name="connsiteX9" fmla="*/ 160220 w 376902"/>
                    <a:gd name="connsiteY9" fmla="*/ 100885 h 251821"/>
                    <a:gd name="connsiteX10" fmla="*/ 80109 w 376902"/>
                    <a:gd name="connsiteY10" fmla="*/ 89017 h 251821"/>
                    <a:gd name="connsiteX11" fmla="*/ 20769 w 376902"/>
                    <a:gd name="connsiteY11" fmla="*/ 83083 h 251821"/>
                    <a:gd name="connsiteX12" fmla="*/ 0 w 376902"/>
                    <a:gd name="connsiteY12" fmla="*/ 103852 h 251821"/>
                    <a:gd name="connsiteX13" fmla="*/ 17802 w 376902"/>
                    <a:gd name="connsiteY13" fmla="*/ 127588 h 251821"/>
                    <a:gd name="connsiteX14" fmla="*/ 14835 w 376902"/>
                    <a:gd name="connsiteY14" fmla="*/ 127588 h 251821"/>
                    <a:gd name="connsiteX15" fmla="*/ 5934 w 376902"/>
                    <a:gd name="connsiteY15" fmla="*/ 136489 h 251821"/>
                    <a:gd name="connsiteX16" fmla="*/ 50439 w 376902"/>
                    <a:gd name="connsiteY16" fmla="*/ 157258 h 251821"/>
                    <a:gd name="connsiteX17" fmla="*/ 77143 w 376902"/>
                    <a:gd name="connsiteY17" fmla="*/ 163192 h 251821"/>
                    <a:gd name="connsiteX18" fmla="*/ 68241 w 376902"/>
                    <a:gd name="connsiteY18" fmla="*/ 163192 h 251821"/>
                    <a:gd name="connsiteX19" fmla="*/ 53406 w 376902"/>
                    <a:gd name="connsiteY19" fmla="*/ 178028 h 251821"/>
                    <a:gd name="connsiteX20" fmla="*/ 172088 w 376902"/>
                    <a:gd name="connsiteY20" fmla="*/ 222533 h 251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76902" h="251821">
                      <a:moveTo>
                        <a:pt x="172088" y="222533"/>
                      </a:moveTo>
                      <a:cubicBezTo>
                        <a:pt x="216593" y="234401"/>
                        <a:pt x="267033" y="264072"/>
                        <a:pt x="311538" y="246269"/>
                      </a:cubicBezTo>
                      <a:cubicBezTo>
                        <a:pt x="341209" y="234401"/>
                        <a:pt x="376813" y="195830"/>
                        <a:pt x="376813" y="163192"/>
                      </a:cubicBezTo>
                      <a:cubicBezTo>
                        <a:pt x="379780" y="115720"/>
                        <a:pt x="308571" y="74181"/>
                        <a:pt x="290769" y="5940"/>
                      </a:cubicBezTo>
                      <a:cubicBezTo>
                        <a:pt x="287802" y="-8895"/>
                        <a:pt x="255165" y="5940"/>
                        <a:pt x="258131" y="29676"/>
                      </a:cubicBezTo>
                      <a:cubicBezTo>
                        <a:pt x="261099" y="59346"/>
                        <a:pt x="270000" y="86050"/>
                        <a:pt x="278901" y="103852"/>
                      </a:cubicBezTo>
                      <a:cubicBezTo>
                        <a:pt x="216593" y="86050"/>
                        <a:pt x="163187" y="44511"/>
                        <a:pt x="94945" y="38577"/>
                      </a:cubicBezTo>
                      <a:cubicBezTo>
                        <a:pt x="83077" y="38577"/>
                        <a:pt x="53406" y="38577"/>
                        <a:pt x="62308" y="53412"/>
                      </a:cubicBezTo>
                      <a:cubicBezTo>
                        <a:pt x="68241" y="62313"/>
                        <a:pt x="91978" y="68247"/>
                        <a:pt x="103846" y="74181"/>
                      </a:cubicBezTo>
                      <a:cubicBezTo>
                        <a:pt x="121649" y="83083"/>
                        <a:pt x="142417" y="91984"/>
                        <a:pt x="160220" y="100885"/>
                      </a:cubicBezTo>
                      <a:cubicBezTo>
                        <a:pt x="133516" y="97918"/>
                        <a:pt x="106813" y="91984"/>
                        <a:pt x="80109" y="89017"/>
                      </a:cubicBezTo>
                      <a:cubicBezTo>
                        <a:pt x="62308" y="86050"/>
                        <a:pt x="41538" y="80116"/>
                        <a:pt x="20769" y="83083"/>
                      </a:cubicBezTo>
                      <a:cubicBezTo>
                        <a:pt x="8901" y="86050"/>
                        <a:pt x="0" y="91984"/>
                        <a:pt x="0" y="103852"/>
                      </a:cubicBezTo>
                      <a:cubicBezTo>
                        <a:pt x="0" y="115720"/>
                        <a:pt x="8901" y="121654"/>
                        <a:pt x="17802" y="127588"/>
                      </a:cubicBezTo>
                      <a:cubicBezTo>
                        <a:pt x="17802" y="127588"/>
                        <a:pt x="14835" y="127588"/>
                        <a:pt x="14835" y="127588"/>
                      </a:cubicBezTo>
                      <a:cubicBezTo>
                        <a:pt x="11868" y="127588"/>
                        <a:pt x="5934" y="136489"/>
                        <a:pt x="5934" y="136489"/>
                      </a:cubicBezTo>
                      <a:cubicBezTo>
                        <a:pt x="11868" y="151324"/>
                        <a:pt x="32638" y="154291"/>
                        <a:pt x="50439" y="157258"/>
                      </a:cubicBezTo>
                      <a:cubicBezTo>
                        <a:pt x="59341" y="160225"/>
                        <a:pt x="68241" y="160225"/>
                        <a:pt x="77143" y="163192"/>
                      </a:cubicBezTo>
                      <a:cubicBezTo>
                        <a:pt x="74176" y="163192"/>
                        <a:pt x="71209" y="163192"/>
                        <a:pt x="68241" y="163192"/>
                      </a:cubicBezTo>
                      <a:cubicBezTo>
                        <a:pt x="59341" y="166160"/>
                        <a:pt x="53406" y="169127"/>
                        <a:pt x="53406" y="178028"/>
                      </a:cubicBezTo>
                      <a:cubicBezTo>
                        <a:pt x="59341" y="195830"/>
                        <a:pt x="142417" y="216599"/>
                        <a:pt x="172088" y="222533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7" name="任意多边形: 形状 146">
                  <a:extLst>
                    <a:ext uri="{FF2B5EF4-FFF2-40B4-BE49-F238E27FC236}">
                      <a16:creationId xmlns:a16="http://schemas.microsoft.com/office/drawing/2014/main" id="{866CAC0A-0944-40C4-B9C7-FBE955F455B4}"/>
                    </a:ext>
                  </a:extLst>
                </p:cNvPr>
                <p:cNvSpPr/>
                <p:nvPr/>
              </p:nvSpPr>
              <p:spPr>
                <a:xfrm>
                  <a:off x="13967916" y="2332133"/>
                  <a:ext cx="33543" cy="57602"/>
                </a:xfrm>
                <a:custGeom>
                  <a:avLst/>
                  <a:gdLst>
                    <a:gd name="connsiteX0" fmla="*/ 30577 w 33543"/>
                    <a:gd name="connsiteY0" fmla="*/ 57603 h 57602"/>
                    <a:gd name="connsiteX1" fmla="*/ 30577 w 33543"/>
                    <a:gd name="connsiteY1" fmla="*/ 57603 h 57602"/>
                    <a:gd name="connsiteX2" fmla="*/ 906 w 33543"/>
                    <a:gd name="connsiteY2" fmla="*/ 4196 h 57602"/>
                    <a:gd name="connsiteX3" fmla="*/ 6841 w 33543"/>
                    <a:gd name="connsiteY3" fmla="*/ 1229 h 57602"/>
                    <a:gd name="connsiteX4" fmla="*/ 9807 w 33543"/>
                    <a:gd name="connsiteY4" fmla="*/ 7163 h 57602"/>
                    <a:gd name="connsiteX5" fmla="*/ 30577 w 33543"/>
                    <a:gd name="connsiteY5" fmla="*/ 48702 h 57602"/>
                    <a:gd name="connsiteX6" fmla="*/ 33544 w 33543"/>
                    <a:gd name="connsiteY6" fmla="*/ 54636 h 57602"/>
                    <a:gd name="connsiteX7" fmla="*/ 30577 w 33543"/>
                    <a:gd name="connsiteY7" fmla="*/ 57603 h 57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543" h="57602">
                      <a:moveTo>
                        <a:pt x="30577" y="57603"/>
                      </a:moveTo>
                      <a:cubicBezTo>
                        <a:pt x="27609" y="57603"/>
                        <a:pt x="27609" y="57603"/>
                        <a:pt x="30577" y="57603"/>
                      </a:cubicBezTo>
                      <a:cubicBezTo>
                        <a:pt x="906" y="42767"/>
                        <a:pt x="-2061" y="16064"/>
                        <a:pt x="906" y="4196"/>
                      </a:cubicBezTo>
                      <a:cubicBezTo>
                        <a:pt x="906" y="1229"/>
                        <a:pt x="3873" y="-1738"/>
                        <a:pt x="6841" y="1229"/>
                      </a:cubicBezTo>
                      <a:cubicBezTo>
                        <a:pt x="9807" y="1229"/>
                        <a:pt x="12774" y="4196"/>
                        <a:pt x="9807" y="7163"/>
                      </a:cubicBezTo>
                      <a:cubicBezTo>
                        <a:pt x="9807" y="7163"/>
                        <a:pt x="3873" y="33866"/>
                        <a:pt x="30577" y="48702"/>
                      </a:cubicBezTo>
                      <a:cubicBezTo>
                        <a:pt x="33544" y="48702"/>
                        <a:pt x="33544" y="54636"/>
                        <a:pt x="33544" y="54636"/>
                      </a:cubicBezTo>
                      <a:cubicBezTo>
                        <a:pt x="33544" y="54636"/>
                        <a:pt x="30577" y="57603"/>
                        <a:pt x="30577" y="5760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C35025F5-EA24-4047-A210-D5DE8F788117}"/>
                    </a:ext>
                  </a:extLst>
                </p:cNvPr>
                <p:cNvSpPr/>
                <p:nvPr/>
              </p:nvSpPr>
              <p:spPr>
                <a:xfrm>
                  <a:off x="13704756" y="2256219"/>
                  <a:ext cx="172087" cy="77142"/>
                </a:xfrm>
                <a:custGeom>
                  <a:avLst/>
                  <a:gdLst>
                    <a:gd name="connsiteX0" fmla="*/ 20769 w 172087"/>
                    <a:gd name="connsiteY0" fmla="*/ 77143 h 77142"/>
                    <a:gd name="connsiteX1" fmla="*/ 20769 w 172087"/>
                    <a:gd name="connsiteY1" fmla="*/ 77143 h 77142"/>
                    <a:gd name="connsiteX2" fmla="*/ 0 w 172087"/>
                    <a:gd name="connsiteY2" fmla="*/ 56374 h 77142"/>
                    <a:gd name="connsiteX3" fmla="*/ 11868 w 172087"/>
                    <a:gd name="connsiteY3" fmla="*/ 32637 h 77142"/>
                    <a:gd name="connsiteX4" fmla="*/ 118681 w 172087"/>
                    <a:gd name="connsiteY4" fmla="*/ 38571 h 77142"/>
                    <a:gd name="connsiteX5" fmla="*/ 65274 w 172087"/>
                    <a:gd name="connsiteY5" fmla="*/ 11868 h 77142"/>
                    <a:gd name="connsiteX6" fmla="*/ 62308 w 172087"/>
                    <a:gd name="connsiteY6" fmla="*/ 2967 h 77142"/>
                    <a:gd name="connsiteX7" fmla="*/ 71209 w 172087"/>
                    <a:gd name="connsiteY7" fmla="*/ 0 h 77142"/>
                    <a:gd name="connsiteX8" fmla="*/ 169120 w 172087"/>
                    <a:gd name="connsiteY8" fmla="*/ 47473 h 77142"/>
                    <a:gd name="connsiteX9" fmla="*/ 172088 w 172087"/>
                    <a:gd name="connsiteY9" fmla="*/ 53407 h 77142"/>
                    <a:gd name="connsiteX10" fmla="*/ 166154 w 172087"/>
                    <a:gd name="connsiteY10" fmla="*/ 56374 h 77142"/>
                    <a:gd name="connsiteX11" fmla="*/ 20769 w 172087"/>
                    <a:gd name="connsiteY11" fmla="*/ 38571 h 77142"/>
                    <a:gd name="connsiteX12" fmla="*/ 14835 w 172087"/>
                    <a:gd name="connsiteY12" fmla="*/ 50440 h 77142"/>
                    <a:gd name="connsiteX13" fmla="*/ 26703 w 172087"/>
                    <a:gd name="connsiteY13" fmla="*/ 62308 h 77142"/>
                    <a:gd name="connsiteX14" fmla="*/ 29670 w 172087"/>
                    <a:gd name="connsiteY14" fmla="*/ 68242 h 77142"/>
                    <a:gd name="connsiteX15" fmla="*/ 20769 w 172087"/>
                    <a:gd name="connsiteY15" fmla="*/ 77143 h 771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72087" h="77142">
                      <a:moveTo>
                        <a:pt x="20769" y="77143"/>
                      </a:moveTo>
                      <a:cubicBezTo>
                        <a:pt x="20769" y="77143"/>
                        <a:pt x="17802" y="77143"/>
                        <a:pt x="20769" y="77143"/>
                      </a:cubicBezTo>
                      <a:cubicBezTo>
                        <a:pt x="8901" y="71209"/>
                        <a:pt x="0" y="65275"/>
                        <a:pt x="0" y="56374"/>
                      </a:cubicBezTo>
                      <a:cubicBezTo>
                        <a:pt x="0" y="47473"/>
                        <a:pt x="2967" y="38571"/>
                        <a:pt x="11868" y="32637"/>
                      </a:cubicBezTo>
                      <a:cubicBezTo>
                        <a:pt x="20769" y="23736"/>
                        <a:pt x="74176" y="32637"/>
                        <a:pt x="118681" y="38571"/>
                      </a:cubicBezTo>
                      <a:cubicBezTo>
                        <a:pt x="91978" y="26703"/>
                        <a:pt x="65274" y="11868"/>
                        <a:pt x="65274" y="11868"/>
                      </a:cubicBezTo>
                      <a:cubicBezTo>
                        <a:pt x="62308" y="11868"/>
                        <a:pt x="62308" y="5934"/>
                        <a:pt x="62308" y="2967"/>
                      </a:cubicBezTo>
                      <a:cubicBezTo>
                        <a:pt x="62308" y="0"/>
                        <a:pt x="68241" y="0"/>
                        <a:pt x="71209" y="0"/>
                      </a:cubicBezTo>
                      <a:cubicBezTo>
                        <a:pt x="71209" y="0"/>
                        <a:pt x="130549" y="32637"/>
                        <a:pt x="169120" y="47473"/>
                      </a:cubicBezTo>
                      <a:cubicBezTo>
                        <a:pt x="172088" y="47473"/>
                        <a:pt x="172088" y="50440"/>
                        <a:pt x="172088" y="53407"/>
                      </a:cubicBezTo>
                      <a:cubicBezTo>
                        <a:pt x="172088" y="56374"/>
                        <a:pt x="169120" y="59341"/>
                        <a:pt x="166154" y="56374"/>
                      </a:cubicBezTo>
                      <a:cubicBezTo>
                        <a:pt x="100879" y="44505"/>
                        <a:pt x="29670" y="32637"/>
                        <a:pt x="20769" y="38571"/>
                      </a:cubicBezTo>
                      <a:cubicBezTo>
                        <a:pt x="17802" y="41538"/>
                        <a:pt x="11868" y="44505"/>
                        <a:pt x="14835" y="50440"/>
                      </a:cubicBezTo>
                      <a:cubicBezTo>
                        <a:pt x="14835" y="56374"/>
                        <a:pt x="20769" y="59341"/>
                        <a:pt x="26703" y="62308"/>
                      </a:cubicBezTo>
                      <a:cubicBezTo>
                        <a:pt x="29670" y="62308"/>
                        <a:pt x="29670" y="65275"/>
                        <a:pt x="29670" y="68242"/>
                      </a:cubicBezTo>
                      <a:cubicBezTo>
                        <a:pt x="23736" y="74176"/>
                        <a:pt x="23736" y="77143"/>
                        <a:pt x="20769" y="7714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F6532049-1879-4331-B02D-2C9B8C7CCE39}"/>
                  </a:ext>
                </a:extLst>
              </p:cNvPr>
              <p:cNvSpPr/>
              <p:nvPr/>
            </p:nvSpPr>
            <p:spPr>
              <a:xfrm>
                <a:off x="13761130" y="2363032"/>
                <a:ext cx="130549" cy="71208"/>
              </a:xfrm>
              <a:custGeom>
                <a:avLst/>
                <a:gdLst>
                  <a:gd name="connsiteX0" fmla="*/ 100879 w 130549"/>
                  <a:gd name="connsiteY0" fmla="*/ 71209 h 71208"/>
                  <a:gd name="connsiteX1" fmla="*/ 100879 w 130549"/>
                  <a:gd name="connsiteY1" fmla="*/ 71209 h 71208"/>
                  <a:gd name="connsiteX2" fmla="*/ 0 w 130549"/>
                  <a:gd name="connsiteY2" fmla="*/ 20769 h 71208"/>
                  <a:gd name="connsiteX3" fmla="*/ 5934 w 130549"/>
                  <a:gd name="connsiteY3" fmla="*/ 5934 h 71208"/>
                  <a:gd name="connsiteX4" fmla="*/ 35605 w 130549"/>
                  <a:gd name="connsiteY4" fmla="*/ 0 h 71208"/>
                  <a:gd name="connsiteX5" fmla="*/ 74176 w 130549"/>
                  <a:gd name="connsiteY5" fmla="*/ 8901 h 71208"/>
                  <a:gd name="connsiteX6" fmla="*/ 124616 w 130549"/>
                  <a:gd name="connsiteY6" fmla="*/ 20769 h 71208"/>
                  <a:gd name="connsiteX7" fmla="*/ 130549 w 130549"/>
                  <a:gd name="connsiteY7" fmla="*/ 26703 h 71208"/>
                  <a:gd name="connsiteX8" fmla="*/ 124616 w 130549"/>
                  <a:gd name="connsiteY8" fmla="*/ 32637 h 71208"/>
                  <a:gd name="connsiteX9" fmla="*/ 71209 w 130549"/>
                  <a:gd name="connsiteY9" fmla="*/ 20769 h 71208"/>
                  <a:gd name="connsiteX10" fmla="*/ 32638 w 130549"/>
                  <a:gd name="connsiteY10" fmla="*/ 11868 h 71208"/>
                  <a:gd name="connsiteX11" fmla="*/ 11868 w 130549"/>
                  <a:gd name="connsiteY11" fmla="*/ 14835 h 71208"/>
                  <a:gd name="connsiteX12" fmla="*/ 8901 w 130549"/>
                  <a:gd name="connsiteY12" fmla="*/ 23736 h 71208"/>
                  <a:gd name="connsiteX13" fmla="*/ 100879 w 130549"/>
                  <a:gd name="connsiteY13" fmla="*/ 62308 h 71208"/>
                  <a:gd name="connsiteX14" fmla="*/ 103846 w 130549"/>
                  <a:gd name="connsiteY14" fmla="*/ 68242 h 71208"/>
                  <a:gd name="connsiteX15" fmla="*/ 100879 w 130549"/>
                  <a:gd name="connsiteY15" fmla="*/ 71209 h 71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0549" h="71208">
                    <a:moveTo>
                      <a:pt x="100879" y="71209"/>
                    </a:moveTo>
                    <a:cubicBezTo>
                      <a:pt x="100879" y="71209"/>
                      <a:pt x="97912" y="71209"/>
                      <a:pt x="100879" y="71209"/>
                    </a:cubicBezTo>
                    <a:cubicBezTo>
                      <a:pt x="71209" y="62308"/>
                      <a:pt x="2967" y="41538"/>
                      <a:pt x="0" y="20769"/>
                    </a:cubicBezTo>
                    <a:cubicBezTo>
                      <a:pt x="0" y="11868"/>
                      <a:pt x="2967" y="5934"/>
                      <a:pt x="5934" y="5934"/>
                    </a:cubicBezTo>
                    <a:cubicBezTo>
                      <a:pt x="11868" y="0"/>
                      <a:pt x="20770" y="0"/>
                      <a:pt x="35605" y="0"/>
                    </a:cubicBezTo>
                    <a:cubicBezTo>
                      <a:pt x="44505" y="0"/>
                      <a:pt x="59341" y="5934"/>
                      <a:pt x="74176" y="8901"/>
                    </a:cubicBezTo>
                    <a:cubicBezTo>
                      <a:pt x="94945" y="14835"/>
                      <a:pt x="115714" y="20769"/>
                      <a:pt x="124616" y="20769"/>
                    </a:cubicBezTo>
                    <a:cubicBezTo>
                      <a:pt x="127582" y="20769"/>
                      <a:pt x="130549" y="23736"/>
                      <a:pt x="130549" y="26703"/>
                    </a:cubicBezTo>
                    <a:cubicBezTo>
                      <a:pt x="130549" y="29670"/>
                      <a:pt x="127582" y="32637"/>
                      <a:pt x="124616" y="32637"/>
                    </a:cubicBezTo>
                    <a:cubicBezTo>
                      <a:pt x="115714" y="32637"/>
                      <a:pt x="94945" y="26703"/>
                      <a:pt x="71209" y="20769"/>
                    </a:cubicBezTo>
                    <a:cubicBezTo>
                      <a:pt x="56373" y="17802"/>
                      <a:pt x="41538" y="11868"/>
                      <a:pt x="32638" y="11868"/>
                    </a:cubicBezTo>
                    <a:cubicBezTo>
                      <a:pt x="23736" y="8901"/>
                      <a:pt x="14835" y="11868"/>
                      <a:pt x="11868" y="14835"/>
                    </a:cubicBezTo>
                    <a:cubicBezTo>
                      <a:pt x="11868" y="14835"/>
                      <a:pt x="8901" y="17802"/>
                      <a:pt x="8901" y="23736"/>
                    </a:cubicBezTo>
                    <a:cubicBezTo>
                      <a:pt x="8901" y="32637"/>
                      <a:pt x="50440" y="50440"/>
                      <a:pt x="100879" y="62308"/>
                    </a:cubicBezTo>
                    <a:cubicBezTo>
                      <a:pt x="103846" y="62308"/>
                      <a:pt x="106813" y="65275"/>
                      <a:pt x="103846" y="68242"/>
                    </a:cubicBezTo>
                    <a:cubicBezTo>
                      <a:pt x="103846" y="71209"/>
                      <a:pt x="103846" y="71209"/>
                      <a:pt x="100879" y="71209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00F7A7A3-2817-4604-ACCE-2FB248F7749F}"/>
                  </a:ext>
                </a:extLst>
              </p:cNvPr>
              <p:cNvSpPr/>
              <p:nvPr/>
            </p:nvSpPr>
            <p:spPr>
              <a:xfrm>
                <a:off x="13709371" y="2315559"/>
                <a:ext cx="176374" cy="56373"/>
              </a:xfrm>
              <a:custGeom>
                <a:avLst/>
                <a:gdLst>
                  <a:gd name="connsiteX0" fmla="*/ 66593 w 176374"/>
                  <a:gd name="connsiteY0" fmla="*/ 56374 h 56373"/>
                  <a:gd name="connsiteX1" fmla="*/ 66593 w 176374"/>
                  <a:gd name="connsiteY1" fmla="*/ 56374 h 56373"/>
                  <a:gd name="connsiteX2" fmla="*/ 1318 w 176374"/>
                  <a:gd name="connsiteY2" fmla="*/ 29670 h 56373"/>
                  <a:gd name="connsiteX3" fmla="*/ 1318 w 176374"/>
                  <a:gd name="connsiteY3" fmla="*/ 14835 h 56373"/>
                  <a:gd name="connsiteX4" fmla="*/ 33956 w 176374"/>
                  <a:gd name="connsiteY4" fmla="*/ 0 h 56373"/>
                  <a:gd name="connsiteX5" fmla="*/ 33956 w 176374"/>
                  <a:gd name="connsiteY5" fmla="*/ 0 h 56373"/>
                  <a:gd name="connsiteX6" fmla="*/ 99231 w 176374"/>
                  <a:gd name="connsiteY6" fmla="*/ 17802 h 56373"/>
                  <a:gd name="connsiteX7" fmla="*/ 111099 w 176374"/>
                  <a:gd name="connsiteY7" fmla="*/ 20769 h 56373"/>
                  <a:gd name="connsiteX8" fmla="*/ 170440 w 176374"/>
                  <a:gd name="connsiteY8" fmla="*/ 29670 h 56373"/>
                  <a:gd name="connsiteX9" fmla="*/ 176374 w 176374"/>
                  <a:gd name="connsiteY9" fmla="*/ 35604 h 56373"/>
                  <a:gd name="connsiteX10" fmla="*/ 170440 w 176374"/>
                  <a:gd name="connsiteY10" fmla="*/ 41538 h 56373"/>
                  <a:gd name="connsiteX11" fmla="*/ 111099 w 176374"/>
                  <a:gd name="connsiteY11" fmla="*/ 32637 h 56373"/>
                  <a:gd name="connsiteX12" fmla="*/ 99231 w 176374"/>
                  <a:gd name="connsiteY12" fmla="*/ 29670 h 56373"/>
                  <a:gd name="connsiteX13" fmla="*/ 36923 w 176374"/>
                  <a:gd name="connsiteY13" fmla="*/ 14835 h 56373"/>
                  <a:gd name="connsiteX14" fmla="*/ 36923 w 176374"/>
                  <a:gd name="connsiteY14" fmla="*/ 14835 h 56373"/>
                  <a:gd name="connsiteX15" fmla="*/ 13187 w 176374"/>
                  <a:gd name="connsiteY15" fmla="*/ 23736 h 56373"/>
                  <a:gd name="connsiteX16" fmla="*/ 13187 w 176374"/>
                  <a:gd name="connsiteY16" fmla="*/ 26703 h 56373"/>
                  <a:gd name="connsiteX17" fmla="*/ 69561 w 176374"/>
                  <a:gd name="connsiteY17" fmla="*/ 47473 h 56373"/>
                  <a:gd name="connsiteX18" fmla="*/ 72528 w 176374"/>
                  <a:gd name="connsiteY18" fmla="*/ 53407 h 56373"/>
                  <a:gd name="connsiteX19" fmla="*/ 66593 w 176374"/>
                  <a:gd name="connsiteY19" fmla="*/ 56374 h 56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76374" h="56373">
                    <a:moveTo>
                      <a:pt x="66593" y="56374"/>
                    </a:moveTo>
                    <a:cubicBezTo>
                      <a:pt x="66593" y="56374"/>
                      <a:pt x="66593" y="56374"/>
                      <a:pt x="66593" y="56374"/>
                    </a:cubicBezTo>
                    <a:cubicBezTo>
                      <a:pt x="48791" y="53407"/>
                      <a:pt x="7253" y="41538"/>
                      <a:pt x="1318" y="29670"/>
                    </a:cubicBezTo>
                    <a:cubicBezTo>
                      <a:pt x="-1648" y="23736"/>
                      <a:pt x="1318" y="20769"/>
                      <a:pt x="1318" y="14835"/>
                    </a:cubicBezTo>
                    <a:cubicBezTo>
                      <a:pt x="7253" y="5934"/>
                      <a:pt x="22088" y="0"/>
                      <a:pt x="33956" y="0"/>
                    </a:cubicBezTo>
                    <a:cubicBezTo>
                      <a:pt x="33956" y="0"/>
                      <a:pt x="33956" y="0"/>
                      <a:pt x="33956" y="0"/>
                    </a:cubicBezTo>
                    <a:cubicBezTo>
                      <a:pt x="45824" y="0"/>
                      <a:pt x="75494" y="8901"/>
                      <a:pt x="99231" y="17802"/>
                    </a:cubicBezTo>
                    <a:cubicBezTo>
                      <a:pt x="105165" y="17802"/>
                      <a:pt x="108132" y="20769"/>
                      <a:pt x="111099" y="20769"/>
                    </a:cubicBezTo>
                    <a:cubicBezTo>
                      <a:pt x="117033" y="23736"/>
                      <a:pt x="152637" y="26703"/>
                      <a:pt x="170440" y="29670"/>
                    </a:cubicBezTo>
                    <a:cubicBezTo>
                      <a:pt x="173407" y="29670"/>
                      <a:pt x="176374" y="32637"/>
                      <a:pt x="176374" y="35604"/>
                    </a:cubicBezTo>
                    <a:cubicBezTo>
                      <a:pt x="176374" y="38571"/>
                      <a:pt x="173407" y="41538"/>
                      <a:pt x="170440" y="41538"/>
                    </a:cubicBezTo>
                    <a:cubicBezTo>
                      <a:pt x="167472" y="41538"/>
                      <a:pt x="120000" y="32637"/>
                      <a:pt x="111099" y="32637"/>
                    </a:cubicBezTo>
                    <a:cubicBezTo>
                      <a:pt x="108132" y="32637"/>
                      <a:pt x="105165" y="29670"/>
                      <a:pt x="99231" y="29670"/>
                    </a:cubicBezTo>
                    <a:cubicBezTo>
                      <a:pt x="81429" y="23736"/>
                      <a:pt x="45824" y="14835"/>
                      <a:pt x="36923" y="14835"/>
                    </a:cubicBezTo>
                    <a:lnTo>
                      <a:pt x="36923" y="14835"/>
                    </a:lnTo>
                    <a:cubicBezTo>
                      <a:pt x="28022" y="14835"/>
                      <a:pt x="16154" y="17802"/>
                      <a:pt x="13187" y="23736"/>
                    </a:cubicBezTo>
                    <a:cubicBezTo>
                      <a:pt x="13187" y="23736"/>
                      <a:pt x="13187" y="26703"/>
                      <a:pt x="13187" y="26703"/>
                    </a:cubicBezTo>
                    <a:cubicBezTo>
                      <a:pt x="16154" y="32637"/>
                      <a:pt x="42858" y="41538"/>
                      <a:pt x="69561" y="47473"/>
                    </a:cubicBezTo>
                    <a:cubicBezTo>
                      <a:pt x="72528" y="47473"/>
                      <a:pt x="75494" y="50440"/>
                      <a:pt x="72528" y="53407"/>
                    </a:cubicBezTo>
                    <a:cubicBezTo>
                      <a:pt x="72528" y="56374"/>
                      <a:pt x="69561" y="56374"/>
                      <a:pt x="66593" y="56374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2DBCCD4B-6FA8-43C8-B386-1E115E47ED42}"/>
                </a:ext>
              </a:extLst>
            </p:cNvPr>
            <p:cNvSpPr/>
            <p:nvPr/>
          </p:nvSpPr>
          <p:spPr>
            <a:xfrm>
              <a:off x="13864494" y="2386768"/>
              <a:ext cx="1013949" cy="869127"/>
            </a:xfrm>
            <a:custGeom>
              <a:avLst/>
              <a:gdLst>
                <a:gd name="connsiteX0" fmla="*/ 997405 w 1013949"/>
                <a:gd name="connsiteY0" fmla="*/ 768462 h 869127"/>
                <a:gd name="connsiteX1" fmla="*/ 786746 w 1013949"/>
                <a:gd name="connsiteY1" fmla="*/ 548901 h 869127"/>
                <a:gd name="connsiteX2" fmla="*/ 243779 w 1013949"/>
                <a:gd name="connsiteY2" fmla="*/ 605275 h 869127"/>
                <a:gd name="connsiteX3" fmla="*/ 214109 w 1013949"/>
                <a:gd name="connsiteY3" fmla="*/ 0 h 869127"/>
                <a:gd name="connsiteX4" fmla="*/ 53888 w 1013949"/>
                <a:gd name="connsiteY4" fmla="*/ 50440 h 869127"/>
                <a:gd name="connsiteX5" fmla="*/ 18284 w 1013949"/>
                <a:gd name="connsiteY5" fmla="*/ 795165 h 869127"/>
                <a:gd name="connsiteX6" fmla="*/ 792680 w 1013949"/>
                <a:gd name="connsiteY6" fmla="*/ 866374 h 869127"/>
                <a:gd name="connsiteX7" fmla="*/ 997405 w 1013949"/>
                <a:gd name="connsiteY7" fmla="*/ 768462 h 869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3949" h="869127">
                  <a:moveTo>
                    <a:pt x="997405" y="768462"/>
                  </a:moveTo>
                  <a:cubicBezTo>
                    <a:pt x="1053779" y="715055"/>
                    <a:pt x="961800" y="534066"/>
                    <a:pt x="786746" y="548901"/>
                  </a:cubicBezTo>
                  <a:cubicBezTo>
                    <a:pt x="534548" y="569670"/>
                    <a:pt x="243779" y="605275"/>
                    <a:pt x="243779" y="605275"/>
                  </a:cubicBezTo>
                  <a:lnTo>
                    <a:pt x="214109" y="0"/>
                  </a:lnTo>
                  <a:lnTo>
                    <a:pt x="53888" y="50440"/>
                  </a:lnTo>
                  <a:cubicBezTo>
                    <a:pt x="53888" y="50440"/>
                    <a:pt x="-38089" y="694286"/>
                    <a:pt x="18284" y="795165"/>
                  </a:cubicBezTo>
                  <a:cubicBezTo>
                    <a:pt x="68723" y="884176"/>
                    <a:pt x="436636" y="869341"/>
                    <a:pt x="792680" y="866374"/>
                  </a:cubicBezTo>
                  <a:cubicBezTo>
                    <a:pt x="884657" y="863407"/>
                    <a:pt x="926197" y="833736"/>
                    <a:pt x="997405" y="768462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78347D63-CC02-402D-A8F6-EAB65A28B3B8}"/>
                </a:ext>
              </a:extLst>
            </p:cNvPr>
            <p:cNvSpPr/>
            <p:nvPr/>
          </p:nvSpPr>
          <p:spPr>
            <a:xfrm>
              <a:off x="14436719" y="2879291"/>
              <a:ext cx="558696" cy="415313"/>
            </a:xfrm>
            <a:custGeom>
              <a:avLst/>
              <a:gdLst>
                <a:gd name="connsiteX0" fmla="*/ 15729 w 558696"/>
                <a:gd name="connsiteY0" fmla="*/ 5 h 415313"/>
                <a:gd name="connsiteX1" fmla="*/ 558696 w 558696"/>
                <a:gd name="connsiteY1" fmla="*/ 142422 h 415313"/>
                <a:gd name="connsiteX2" fmla="*/ 21663 w 558696"/>
                <a:gd name="connsiteY2" fmla="*/ 412422 h 415313"/>
                <a:gd name="connsiteX3" fmla="*/ 15729 w 558696"/>
                <a:gd name="connsiteY3" fmla="*/ 5 h 415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696" h="415313">
                  <a:moveTo>
                    <a:pt x="15729" y="5"/>
                  </a:moveTo>
                  <a:cubicBezTo>
                    <a:pt x="15729" y="5"/>
                    <a:pt x="558696" y="-2963"/>
                    <a:pt x="558696" y="142422"/>
                  </a:cubicBezTo>
                  <a:cubicBezTo>
                    <a:pt x="558696" y="462862"/>
                    <a:pt x="21663" y="412422"/>
                    <a:pt x="21663" y="412422"/>
                  </a:cubicBezTo>
                  <a:cubicBezTo>
                    <a:pt x="21663" y="412422"/>
                    <a:pt x="-22842" y="210664"/>
                    <a:pt x="15729" y="5"/>
                  </a:cubicBezTo>
                  <a:close/>
                </a:path>
              </a:pathLst>
            </a:custGeom>
            <a:solidFill>
              <a:srgbClr val="D16156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2CC04EE9-6F07-4DA1-89CB-210FD45AAA1D}"/>
                </a:ext>
              </a:extLst>
            </p:cNvPr>
            <p:cNvSpPr/>
            <p:nvPr/>
          </p:nvSpPr>
          <p:spPr>
            <a:xfrm>
              <a:off x="14710580" y="3208636"/>
              <a:ext cx="44505" cy="335274"/>
            </a:xfrm>
            <a:custGeom>
              <a:avLst/>
              <a:gdLst>
                <a:gd name="connsiteX0" fmla="*/ 5934 w 44505"/>
                <a:gd name="connsiteY0" fmla="*/ 335275 h 335274"/>
                <a:gd name="connsiteX1" fmla="*/ 5934 w 44505"/>
                <a:gd name="connsiteY1" fmla="*/ 335275 h 335274"/>
                <a:gd name="connsiteX2" fmla="*/ 0 w 44505"/>
                <a:gd name="connsiteY2" fmla="*/ 329341 h 335274"/>
                <a:gd name="connsiteX3" fmla="*/ 32638 w 44505"/>
                <a:gd name="connsiteY3" fmla="*/ 5934 h 335274"/>
                <a:gd name="connsiteX4" fmla="*/ 38571 w 44505"/>
                <a:gd name="connsiteY4" fmla="*/ 0 h 335274"/>
                <a:gd name="connsiteX5" fmla="*/ 44505 w 44505"/>
                <a:gd name="connsiteY5" fmla="*/ 5934 h 335274"/>
                <a:gd name="connsiteX6" fmla="*/ 11868 w 44505"/>
                <a:gd name="connsiteY6" fmla="*/ 329341 h 335274"/>
                <a:gd name="connsiteX7" fmla="*/ 5934 w 44505"/>
                <a:gd name="connsiteY7" fmla="*/ 335275 h 335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505" h="335274">
                  <a:moveTo>
                    <a:pt x="5934" y="335275"/>
                  </a:moveTo>
                  <a:cubicBezTo>
                    <a:pt x="5934" y="335275"/>
                    <a:pt x="5934" y="335275"/>
                    <a:pt x="5934" y="335275"/>
                  </a:cubicBezTo>
                  <a:cubicBezTo>
                    <a:pt x="2967" y="335275"/>
                    <a:pt x="0" y="332308"/>
                    <a:pt x="0" y="329341"/>
                  </a:cubicBezTo>
                  <a:cubicBezTo>
                    <a:pt x="5934" y="234396"/>
                    <a:pt x="32638" y="8901"/>
                    <a:pt x="32638" y="5934"/>
                  </a:cubicBezTo>
                  <a:cubicBezTo>
                    <a:pt x="32638" y="2967"/>
                    <a:pt x="35605" y="0"/>
                    <a:pt x="38571" y="0"/>
                  </a:cubicBezTo>
                  <a:cubicBezTo>
                    <a:pt x="41538" y="0"/>
                    <a:pt x="44505" y="2967"/>
                    <a:pt x="44505" y="5934"/>
                  </a:cubicBezTo>
                  <a:cubicBezTo>
                    <a:pt x="44505" y="8901"/>
                    <a:pt x="17802" y="231429"/>
                    <a:pt x="11868" y="329341"/>
                  </a:cubicBezTo>
                  <a:cubicBezTo>
                    <a:pt x="11868" y="332308"/>
                    <a:pt x="8901" y="335275"/>
                    <a:pt x="5934" y="335275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56ABEBDB-B14F-41FD-9486-95EB400725ED}"/>
                </a:ext>
              </a:extLst>
            </p:cNvPr>
            <p:cNvSpPr/>
            <p:nvPr/>
          </p:nvSpPr>
          <p:spPr>
            <a:xfrm>
              <a:off x="14446514" y="2870395"/>
              <a:ext cx="459890" cy="68241"/>
            </a:xfrm>
            <a:custGeom>
              <a:avLst/>
              <a:gdLst>
                <a:gd name="connsiteX0" fmla="*/ 453956 w 459890"/>
                <a:gd name="connsiteY0" fmla="*/ 68242 h 68241"/>
                <a:gd name="connsiteX1" fmla="*/ 453956 w 459890"/>
                <a:gd name="connsiteY1" fmla="*/ 68242 h 68241"/>
                <a:gd name="connsiteX2" fmla="*/ 5934 w 459890"/>
                <a:gd name="connsiteY2" fmla="*/ 11868 h 68241"/>
                <a:gd name="connsiteX3" fmla="*/ 0 w 459890"/>
                <a:gd name="connsiteY3" fmla="*/ 5934 h 68241"/>
                <a:gd name="connsiteX4" fmla="*/ 5934 w 459890"/>
                <a:gd name="connsiteY4" fmla="*/ 0 h 68241"/>
                <a:gd name="connsiteX5" fmla="*/ 5934 w 459890"/>
                <a:gd name="connsiteY5" fmla="*/ 0 h 68241"/>
                <a:gd name="connsiteX6" fmla="*/ 456923 w 459890"/>
                <a:gd name="connsiteY6" fmla="*/ 56374 h 68241"/>
                <a:gd name="connsiteX7" fmla="*/ 459890 w 459890"/>
                <a:gd name="connsiteY7" fmla="*/ 62308 h 68241"/>
                <a:gd name="connsiteX8" fmla="*/ 453956 w 459890"/>
                <a:gd name="connsiteY8" fmla="*/ 68242 h 68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9890" h="68241">
                  <a:moveTo>
                    <a:pt x="453956" y="68242"/>
                  </a:moveTo>
                  <a:cubicBezTo>
                    <a:pt x="453956" y="68242"/>
                    <a:pt x="453956" y="68242"/>
                    <a:pt x="453956" y="68242"/>
                  </a:cubicBezTo>
                  <a:cubicBezTo>
                    <a:pt x="335274" y="17802"/>
                    <a:pt x="8901" y="11868"/>
                    <a:pt x="5934" y="11868"/>
                  </a:cubicBezTo>
                  <a:cubicBezTo>
                    <a:pt x="2967" y="11868"/>
                    <a:pt x="0" y="8901"/>
                    <a:pt x="0" y="5934"/>
                  </a:cubicBezTo>
                  <a:cubicBezTo>
                    <a:pt x="0" y="2967"/>
                    <a:pt x="2967" y="0"/>
                    <a:pt x="5934" y="0"/>
                  </a:cubicBezTo>
                  <a:lnTo>
                    <a:pt x="5934" y="0"/>
                  </a:lnTo>
                  <a:cubicBezTo>
                    <a:pt x="20769" y="0"/>
                    <a:pt x="338242" y="5934"/>
                    <a:pt x="456923" y="56374"/>
                  </a:cubicBezTo>
                  <a:cubicBezTo>
                    <a:pt x="459890" y="56374"/>
                    <a:pt x="459890" y="59341"/>
                    <a:pt x="459890" y="62308"/>
                  </a:cubicBezTo>
                  <a:cubicBezTo>
                    <a:pt x="459890" y="68242"/>
                    <a:pt x="456923" y="68242"/>
                    <a:pt x="453956" y="68242"/>
                  </a:cubicBezTo>
                  <a:close/>
                </a:path>
              </a:pathLst>
            </a:custGeom>
            <a:solidFill>
              <a:srgbClr val="38343B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0" name="图形 1">
              <a:extLst>
                <a:ext uri="{FF2B5EF4-FFF2-40B4-BE49-F238E27FC236}">
                  <a16:creationId xmlns:a16="http://schemas.microsoft.com/office/drawing/2014/main" id="{6A73FBEE-E14E-4492-86B0-6D71636F787F}"/>
                </a:ext>
              </a:extLst>
            </p:cNvPr>
            <p:cNvGrpSpPr/>
            <p:nvPr/>
          </p:nvGrpSpPr>
          <p:grpSpPr>
            <a:xfrm>
              <a:off x="12844317" y="1695450"/>
              <a:ext cx="2020549" cy="700219"/>
              <a:chOff x="12844317" y="1695450"/>
              <a:chExt cx="2020549" cy="700219"/>
            </a:xfrm>
          </p:grpSpPr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2C81DFF7-E398-4281-9CCB-80A5B6A129A4}"/>
                  </a:ext>
                </a:extLst>
              </p:cNvPr>
              <p:cNvSpPr/>
              <p:nvPr/>
            </p:nvSpPr>
            <p:spPr>
              <a:xfrm>
                <a:off x="12844317" y="1695450"/>
                <a:ext cx="2020549" cy="545934"/>
              </a:xfrm>
              <a:custGeom>
                <a:avLst/>
                <a:gdLst>
                  <a:gd name="connsiteX0" fmla="*/ 0 w 2020549"/>
                  <a:gd name="connsiteY0" fmla="*/ 545934 h 545934"/>
                  <a:gd name="connsiteX1" fmla="*/ 1409341 w 2020549"/>
                  <a:gd name="connsiteY1" fmla="*/ 545934 h 545934"/>
                  <a:gd name="connsiteX2" fmla="*/ 2020550 w 2020549"/>
                  <a:gd name="connsiteY2" fmla="*/ 0 h 545934"/>
                  <a:gd name="connsiteX3" fmla="*/ 611209 w 2020549"/>
                  <a:gd name="connsiteY3" fmla="*/ 0 h 545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20549" h="545934">
                    <a:moveTo>
                      <a:pt x="0" y="545934"/>
                    </a:moveTo>
                    <a:lnTo>
                      <a:pt x="1409341" y="545934"/>
                    </a:lnTo>
                    <a:lnTo>
                      <a:pt x="2020550" y="0"/>
                    </a:lnTo>
                    <a:lnTo>
                      <a:pt x="611209" y="0"/>
                    </a:lnTo>
                    <a:close/>
                  </a:path>
                </a:pathLst>
              </a:custGeom>
              <a:solidFill>
                <a:srgbClr val="F1DDBA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CC632079-91F1-4841-8308-77714FF700C3}"/>
                  </a:ext>
                </a:extLst>
              </p:cNvPr>
              <p:cNvSpPr/>
              <p:nvPr/>
            </p:nvSpPr>
            <p:spPr>
              <a:xfrm>
                <a:off x="14247723" y="1695450"/>
                <a:ext cx="617143" cy="694285"/>
              </a:xfrm>
              <a:custGeom>
                <a:avLst/>
                <a:gdLst>
                  <a:gd name="connsiteX0" fmla="*/ 0 w 617143"/>
                  <a:gd name="connsiteY0" fmla="*/ 694286 h 694285"/>
                  <a:gd name="connsiteX1" fmla="*/ 617143 w 617143"/>
                  <a:gd name="connsiteY1" fmla="*/ 148352 h 694285"/>
                  <a:gd name="connsiteX2" fmla="*/ 617143 w 617143"/>
                  <a:gd name="connsiteY2" fmla="*/ 0 h 694285"/>
                  <a:gd name="connsiteX3" fmla="*/ 0 w 617143"/>
                  <a:gd name="connsiteY3" fmla="*/ 545934 h 694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7143" h="694285">
                    <a:moveTo>
                      <a:pt x="0" y="694286"/>
                    </a:moveTo>
                    <a:lnTo>
                      <a:pt x="617143" y="148352"/>
                    </a:lnTo>
                    <a:lnTo>
                      <a:pt x="617143" y="0"/>
                    </a:lnTo>
                    <a:lnTo>
                      <a:pt x="0" y="545934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1BF23939-3621-40AF-83D8-75FF07085CF6}"/>
                  </a:ext>
                </a:extLst>
              </p:cNvPr>
              <p:cNvSpPr/>
              <p:nvPr/>
            </p:nvSpPr>
            <p:spPr>
              <a:xfrm rot="-10800000">
                <a:off x="12846453" y="2238452"/>
                <a:ext cx="1403406" cy="151318"/>
              </a:xfrm>
              <a:custGeom>
                <a:avLst/>
                <a:gdLst>
                  <a:gd name="connsiteX0" fmla="*/ 0 w 1403406"/>
                  <a:gd name="connsiteY0" fmla="*/ 0 h 151318"/>
                  <a:gd name="connsiteX1" fmla="*/ 1403407 w 1403406"/>
                  <a:gd name="connsiteY1" fmla="*/ 0 h 151318"/>
                  <a:gd name="connsiteX2" fmla="*/ 1403407 w 1403406"/>
                  <a:gd name="connsiteY2" fmla="*/ 151319 h 151318"/>
                  <a:gd name="connsiteX3" fmla="*/ 0 w 1403406"/>
                  <a:gd name="connsiteY3" fmla="*/ 151319 h 151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3406" h="151318">
                    <a:moveTo>
                      <a:pt x="0" y="0"/>
                    </a:moveTo>
                    <a:lnTo>
                      <a:pt x="1403407" y="0"/>
                    </a:lnTo>
                    <a:lnTo>
                      <a:pt x="1403407" y="151319"/>
                    </a:lnTo>
                    <a:lnTo>
                      <a:pt x="0" y="151319"/>
                    </a:lnTo>
                    <a:close/>
                  </a:path>
                </a:pathLst>
              </a:custGeom>
              <a:solidFill>
                <a:srgbClr val="E8D2AF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057466B4-DE3C-4240-B7A5-163D1B0D4C95}"/>
                  </a:ext>
                </a:extLst>
              </p:cNvPr>
              <p:cNvSpPr/>
              <p:nvPr/>
            </p:nvSpPr>
            <p:spPr>
              <a:xfrm>
                <a:off x="14241789" y="2232482"/>
                <a:ext cx="11867" cy="163186"/>
              </a:xfrm>
              <a:custGeom>
                <a:avLst/>
                <a:gdLst>
                  <a:gd name="connsiteX0" fmla="*/ 5934 w 11867"/>
                  <a:gd name="connsiteY0" fmla="*/ 163187 h 163186"/>
                  <a:gd name="connsiteX1" fmla="*/ 0 w 11867"/>
                  <a:gd name="connsiteY1" fmla="*/ 157253 h 163186"/>
                  <a:gd name="connsiteX2" fmla="*/ 0 w 11867"/>
                  <a:gd name="connsiteY2" fmla="*/ 5934 h 163186"/>
                  <a:gd name="connsiteX3" fmla="*/ 5934 w 11867"/>
                  <a:gd name="connsiteY3" fmla="*/ 0 h 163186"/>
                  <a:gd name="connsiteX4" fmla="*/ 11868 w 11867"/>
                  <a:gd name="connsiteY4" fmla="*/ 5934 h 163186"/>
                  <a:gd name="connsiteX5" fmla="*/ 11868 w 11867"/>
                  <a:gd name="connsiteY5" fmla="*/ 157253 h 163186"/>
                  <a:gd name="connsiteX6" fmla="*/ 5934 w 11867"/>
                  <a:gd name="connsiteY6" fmla="*/ 163187 h 163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867" h="163186">
                    <a:moveTo>
                      <a:pt x="5934" y="163187"/>
                    </a:moveTo>
                    <a:cubicBezTo>
                      <a:pt x="2966" y="163187"/>
                      <a:pt x="0" y="160220"/>
                      <a:pt x="0" y="157253"/>
                    </a:cubicBezTo>
                    <a:lnTo>
                      <a:pt x="0" y="5934"/>
                    </a:lnTo>
                    <a:cubicBezTo>
                      <a:pt x="0" y="2967"/>
                      <a:pt x="2966" y="0"/>
                      <a:pt x="5934" y="0"/>
                    </a:cubicBezTo>
                    <a:cubicBezTo>
                      <a:pt x="8901" y="0"/>
                      <a:pt x="11868" y="2967"/>
                      <a:pt x="11868" y="5934"/>
                    </a:cubicBezTo>
                    <a:lnTo>
                      <a:pt x="11868" y="157253"/>
                    </a:lnTo>
                    <a:cubicBezTo>
                      <a:pt x="11868" y="160220"/>
                      <a:pt x="8901" y="163187"/>
                      <a:pt x="5934" y="163187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22" name="图形 1">
                <a:extLst>
                  <a:ext uri="{FF2B5EF4-FFF2-40B4-BE49-F238E27FC236}">
                    <a16:creationId xmlns:a16="http://schemas.microsoft.com/office/drawing/2014/main" id="{9A62A4F9-111F-4563-8A9D-FEA192F2065F}"/>
                  </a:ext>
                </a:extLst>
              </p:cNvPr>
              <p:cNvGrpSpPr/>
              <p:nvPr/>
            </p:nvGrpSpPr>
            <p:grpSpPr>
              <a:xfrm>
                <a:off x="13363272" y="1784998"/>
                <a:ext cx="982834" cy="370341"/>
                <a:chOff x="13363272" y="1784998"/>
                <a:chExt cx="982834" cy="370341"/>
              </a:xfrm>
            </p:grpSpPr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34554707-ADA5-4D73-AB7F-0173B935779D}"/>
                    </a:ext>
                  </a:extLst>
                </p:cNvPr>
                <p:cNvSpPr/>
                <p:nvPr/>
              </p:nvSpPr>
              <p:spPr>
                <a:xfrm>
                  <a:off x="13363272" y="1784998"/>
                  <a:ext cx="982834" cy="370341"/>
                </a:xfrm>
                <a:custGeom>
                  <a:avLst/>
                  <a:gdLst>
                    <a:gd name="connsiteX0" fmla="*/ 475001 w 982834"/>
                    <a:gd name="connsiteY0" fmla="*/ 5397 h 370341"/>
                    <a:gd name="connsiteX1" fmla="*/ 982364 w 982834"/>
                    <a:gd name="connsiteY1" fmla="*/ 138913 h 370341"/>
                    <a:gd name="connsiteX2" fmla="*/ 845880 w 982834"/>
                    <a:gd name="connsiteY2" fmla="*/ 281331 h 370341"/>
                    <a:gd name="connsiteX3" fmla="*/ 507639 w 982834"/>
                    <a:gd name="connsiteY3" fmla="*/ 364408 h 370341"/>
                    <a:gd name="connsiteX4" fmla="*/ 383023 w 982834"/>
                    <a:gd name="connsiteY4" fmla="*/ 370342 h 370341"/>
                    <a:gd name="connsiteX5" fmla="*/ 276 w 982834"/>
                    <a:gd name="connsiteY5" fmla="*/ 230891 h 370341"/>
                    <a:gd name="connsiteX6" fmla="*/ 475001 w 982834"/>
                    <a:gd name="connsiteY6" fmla="*/ 5397 h 3703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82834" h="370341">
                      <a:moveTo>
                        <a:pt x="475001" y="5397"/>
                      </a:moveTo>
                      <a:cubicBezTo>
                        <a:pt x="750935" y="-18340"/>
                        <a:pt x="973462" y="38034"/>
                        <a:pt x="982364" y="138913"/>
                      </a:cubicBezTo>
                      <a:cubicBezTo>
                        <a:pt x="988297" y="189353"/>
                        <a:pt x="937858" y="239792"/>
                        <a:pt x="845880" y="281331"/>
                      </a:cubicBezTo>
                      <a:cubicBezTo>
                        <a:pt x="756869" y="322869"/>
                        <a:pt x="635221" y="352539"/>
                        <a:pt x="507639" y="364408"/>
                      </a:cubicBezTo>
                      <a:cubicBezTo>
                        <a:pt x="466099" y="367375"/>
                        <a:pt x="421594" y="370342"/>
                        <a:pt x="383023" y="370342"/>
                      </a:cubicBezTo>
                      <a:cubicBezTo>
                        <a:pt x="166430" y="370342"/>
                        <a:pt x="6209" y="313968"/>
                        <a:pt x="276" y="230891"/>
                      </a:cubicBezTo>
                      <a:cubicBezTo>
                        <a:pt x="-8626" y="127045"/>
                        <a:pt x="199066" y="29133"/>
                        <a:pt x="475001" y="5397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72A0924D-B3FC-4717-A268-9923E470EA33}"/>
                    </a:ext>
                  </a:extLst>
                </p:cNvPr>
                <p:cNvSpPr/>
                <p:nvPr/>
              </p:nvSpPr>
              <p:spPr>
                <a:xfrm>
                  <a:off x="13434756" y="1823870"/>
                  <a:ext cx="836847" cy="289931"/>
                </a:xfrm>
                <a:custGeom>
                  <a:avLst/>
                  <a:gdLst>
                    <a:gd name="connsiteX0" fmla="*/ 118681 w 836847"/>
                    <a:gd name="connsiteY0" fmla="*/ 70371 h 289931"/>
                    <a:gd name="connsiteX1" fmla="*/ 406484 w 836847"/>
                    <a:gd name="connsiteY1" fmla="*/ 5096 h 289931"/>
                    <a:gd name="connsiteX2" fmla="*/ 836704 w 836847"/>
                    <a:gd name="connsiteY2" fmla="*/ 105975 h 289931"/>
                    <a:gd name="connsiteX3" fmla="*/ 433187 w 836847"/>
                    <a:gd name="connsiteY3" fmla="*/ 283997 h 289931"/>
                    <a:gd name="connsiteX4" fmla="*/ 317473 w 836847"/>
                    <a:gd name="connsiteY4" fmla="*/ 289931 h 289931"/>
                    <a:gd name="connsiteX5" fmla="*/ 136484 w 836847"/>
                    <a:gd name="connsiteY5" fmla="*/ 272129 h 289931"/>
                    <a:gd name="connsiteX6" fmla="*/ 0 w 836847"/>
                    <a:gd name="connsiteY6" fmla="*/ 183118 h 289931"/>
                    <a:gd name="connsiteX7" fmla="*/ 118681 w 836847"/>
                    <a:gd name="connsiteY7" fmla="*/ 70371 h 289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36847" h="289931">
                      <a:moveTo>
                        <a:pt x="118681" y="70371"/>
                      </a:moveTo>
                      <a:cubicBezTo>
                        <a:pt x="195824" y="37734"/>
                        <a:pt x="296703" y="13997"/>
                        <a:pt x="406484" y="5096"/>
                      </a:cubicBezTo>
                      <a:cubicBezTo>
                        <a:pt x="640879" y="-15673"/>
                        <a:pt x="830769" y="28833"/>
                        <a:pt x="836704" y="105975"/>
                      </a:cubicBezTo>
                      <a:cubicBezTo>
                        <a:pt x="842637" y="183118"/>
                        <a:pt x="664615" y="263228"/>
                        <a:pt x="433187" y="283997"/>
                      </a:cubicBezTo>
                      <a:cubicBezTo>
                        <a:pt x="394615" y="286964"/>
                        <a:pt x="356044" y="289931"/>
                        <a:pt x="317473" y="289931"/>
                      </a:cubicBezTo>
                      <a:cubicBezTo>
                        <a:pt x="249231" y="289931"/>
                        <a:pt x="189890" y="283997"/>
                        <a:pt x="136484" y="272129"/>
                      </a:cubicBezTo>
                      <a:cubicBezTo>
                        <a:pt x="53406" y="254327"/>
                        <a:pt x="5934" y="221690"/>
                        <a:pt x="0" y="183118"/>
                      </a:cubicBezTo>
                      <a:cubicBezTo>
                        <a:pt x="0" y="144547"/>
                        <a:pt x="41538" y="103008"/>
                        <a:pt x="118681" y="70371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25" name="图形 1">
                  <a:extLst>
                    <a:ext uri="{FF2B5EF4-FFF2-40B4-BE49-F238E27FC236}">
                      <a16:creationId xmlns:a16="http://schemas.microsoft.com/office/drawing/2014/main" id="{CB14B5D0-B4BC-4938-95FA-BE5CBAC1A063}"/>
                    </a:ext>
                  </a:extLst>
                </p:cNvPr>
                <p:cNvGrpSpPr/>
                <p:nvPr/>
              </p:nvGrpSpPr>
              <p:grpSpPr>
                <a:xfrm>
                  <a:off x="14063486" y="1887143"/>
                  <a:ext cx="110341" cy="81273"/>
                  <a:chOff x="14063486" y="1887143"/>
                  <a:chExt cx="110341" cy="81273"/>
                </a:xfrm>
              </p:grpSpPr>
              <p:sp>
                <p:nvSpPr>
                  <p:cNvPr id="141" name="任意多边形: 形状 140">
                    <a:extLst>
                      <a:ext uri="{FF2B5EF4-FFF2-40B4-BE49-F238E27FC236}">
                        <a16:creationId xmlns:a16="http://schemas.microsoft.com/office/drawing/2014/main" id="{45D23982-F12B-4816-8795-589D648D618D}"/>
                      </a:ext>
                    </a:extLst>
                  </p:cNvPr>
                  <p:cNvSpPr/>
                  <p:nvPr/>
                </p:nvSpPr>
                <p:spPr>
                  <a:xfrm>
                    <a:off x="14072346" y="1899613"/>
                    <a:ext cx="89616" cy="60465"/>
                  </a:xfrm>
                  <a:custGeom>
                    <a:avLst/>
                    <a:gdLst>
                      <a:gd name="connsiteX0" fmla="*/ 322 w 89616"/>
                      <a:gd name="connsiteY0" fmla="*/ 36167 h 60465"/>
                      <a:gd name="connsiteX1" fmla="*/ 47795 w 89616"/>
                      <a:gd name="connsiteY1" fmla="*/ 59903 h 60465"/>
                      <a:gd name="connsiteX2" fmla="*/ 89333 w 89616"/>
                      <a:gd name="connsiteY2" fmla="*/ 24299 h 60465"/>
                      <a:gd name="connsiteX3" fmla="*/ 41861 w 89616"/>
                      <a:gd name="connsiteY3" fmla="*/ 562 h 60465"/>
                      <a:gd name="connsiteX4" fmla="*/ 322 w 89616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616" h="60465">
                        <a:moveTo>
                          <a:pt x="322" y="36167"/>
                        </a:moveTo>
                        <a:cubicBezTo>
                          <a:pt x="3290" y="53969"/>
                          <a:pt x="24058" y="62870"/>
                          <a:pt x="47795" y="59903"/>
                        </a:cubicBezTo>
                        <a:cubicBezTo>
                          <a:pt x="71531" y="56936"/>
                          <a:pt x="92301" y="42101"/>
                          <a:pt x="89333" y="24299"/>
                        </a:cubicBezTo>
                        <a:cubicBezTo>
                          <a:pt x="86366" y="6496"/>
                          <a:pt x="65597" y="-2405"/>
                          <a:pt x="41861" y="562"/>
                        </a:cubicBezTo>
                        <a:cubicBezTo>
                          <a:pt x="15158" y="3529"/>
                          <a:pt x="-2645" y="18364"/>
                          <a:pt x="322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" name="任意多边形: 形状 141">
                    <a:extLst>
                      <a:ext uri="{FF2B5EF4-FFF2-40B4-BE49-F238E27FC236}">
                        <a16:creationId xmlns:a16="http://schemas.microsoft.com/office/drawing/2014/main" id="{2097BF56-CA63-4193-8BBC-1BB92C0D16E5}"/>
                      </a:ext>
                    </a:extLst>
                  </p:cNvPr>
                  <p:cNvSpPr/>
                  <p:nvPr/>
                </p:nvSpPr>
                <p:spPr>
                  <a:xfrm>
                    <a:off x="14063486" y="1887143"/>
                    <a:ext cx="110341" cy="81273"/>
                  </a:xfrm>
                  <a:custGeom>
                    <a:avLst/>
                    <a:gdLst>
                      <a:gd name="connsiteX0" fmla="*/ 21050 w 110341"/>
                      <a:gd name="connsiteY0" fmla="*/ 75340 h 81273"/>
                      <a:gd name="connsiteX1" fmla="*/ 281 w 110341"/>
                      <a:gd name="connsiteY1" fmla="*/ 48637 h 81273"/>
                      <a:gd name="connsiteX2" fmla="*/ 50720 w 110341"/>
                      <a:gd name="connsiteY2" fmla="*/ 1164 h 81273"/>
                      <a:gd name="connsiteX3" fmla="*/ 89292 w 110341"/>
                      <a:gd name="connsiteY3" fmla="*/ 7098 h 81273"/>
                      <a:gd name="connsiteX4" fmla="*/ 110061 w 110341"/>
                      <a:gd name="connsiteY4" fmla="*/ 33801 h 81273"/>
                      <a:gd name="connsiteX5" fmla="*/ 59622 w 110341"/>
                      <a:gd name="connsiteY5" fmla="*/ 81274 h 81273"/>
                      <a:gd name="connsiteX6" fmla="*/ 50720 w 110341"/>
                      <a:gd name="connsiteY6" fmla="*/ 81274 h 81273"/>
                      <a:gd name="connsiteX7" fmla="*/ 21050 w 110341"/>
                      <a:gd name="connsiteY7" fmla="*/ 75340 h 81273"/>
                      <a:gd name="connsiteX8" fmla="*/ 50720 w 110341"/>
                      <a:gd name="connsiteY8" fmla="*/ 21933 h 81273"/>
                      <a:gd name="connsiteX9" fmla="*/ 18083 w 110341"/>
                      <a:gd name="connsiteY9" fmla="*/ 45669 h 81273"/>
                      <a:gd name="connsiteX10" fmla="*/ 29951 w 110341"/>
                      <a:gd name="connsiteY10" fmla="*/ 57538 h 81273"/>
                      <a:gd name="connsiteX11" fmla="*/ 56655 w 110341"/>
                      <a:gd name="connsiteY11" fmla="*/ 60505 h 81273"/>
                      <a:gd name="connsiteX12" fmla="*/ 89292 w 110341"/>
                      <a:gd name="connsiteY12" fmla="*/ 36768 h 81273"/>
                      <a:gd name="connsiteX13" fmla="*/ 77423 w 110341"/>
                      <a:gd name="connsiteY13" fmla="*/ 24900 h 81273"/>
                      <a:gd name="connsiteX14" fmla="*/ 56655 w 110341"/>
                      <a:gd name="connsiteY14" fmla="*/ 21933 h 81273"/>
                      <a:gd name="connsiteX15" fmla="*/ 50720 w 110341"/>
                      <a:gd name="connsiteY15" fmla="*/ 21933 h 812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0341" h="81273">
                        <a:moveTo>
                          <a:pt x="21050" y="75340"/>
                        </a:moveTo>
                        <a:cubicBezTo>
                          <a:pt x="9182" y="69406"/>
                          <a:pt x="281" y="60505"/>
                          <a:pt x="281" y="48637"/>
                        </a:cubicBezTo>
                        <a:cubicBezTo>
                          <a:pt x="-2686" y="27867"/>
                          <a:pt x="18083" y="7098"/>
                          <a:pt x="50720" y="1164"/>
                        </a:cubicBezTo>
                        <a:cubicBezTo>
                          <a:pt x="65555" y="-1803"/>
                          <a:pt x="77423" y="1164"/>
                          <a:pt x="89292" y="7098"/>
                        </a:cubicBezTo>
                        <a:cubicBezTo>
                          <a:pt x="101160" y="13032"/>
                          <a:pt x="110061" y="21933"/>
                          <a:pt x="110061" y="33801"/>
                        </a:cubicBezTo>
                        <a:cubicBezTo>
                          <a:pt x="113028" y="54571"/>
                          <a:pt x="92258" y="75340"/>
                          <a:pt x="59622" y="81274"/>
                        </a:cubicBezTo>
                        <a:cubicBezTo>
                          <a:pt x="56655" y="81274"/>
                          <a:pt x="53687" y="81274"/>
                          <a:pt x="50720" y="81274"/>
                        </a:cubicBezTo>
                        <a:cubicBezTo>
                          <a:pt x="38852" y="81274"/>
                          <a:pt x="29951" y="81274"/>
                          <a:pt x="21050" y="75340"/>
                        </a:cubicBezTo>
                        <a:close/>
                        <a:moveTo>
                          <a:pt x="50720" y="21933"/>
                        </a:moveTo>
                        <a:cubicBezTo>
                          <a:pt x="29951" y="24900"/>
                          <a:pt x="15116" y="36768"/>
                          <a:pt x="18083" y="45669"/>
                        </a:cubicBezTo>
                        <a:cubicBezTo>
                          <a:pt x="18083" y="51604"/>
                          <a:pt x="24017" y="54571"/>
                          <a:pt x="29951" y="57538"/>
                        </a:cubicBezTo>
                        <a:cubicBezTo>
                          <a:pt x="38852" y="60505"/>
                          <a:pt x="47753" y="63472"/>
                          <a:pt x="56655" y="60505"/>
                        </a:cubicBezTo>
                        <a:cubicBezTo>
                          <a:pt x="77423" y="57538"/>
                          <a:pt x="92258" y="45669"/>
                          <a:pt x="89292" y="36768"/>
                        </a:cubicBezTo>
                        <a:cubicBezTo>
                          <a:pt x="89292" y="30834"/>
                          <a:pt x="83358" y="27867"/>
                          <a:pt x="77423" y="24900"/>
                        </a:cubicBezTo>
                        <a:cubicBezTo>
                          <a:pt x="71490" y="21933"/>
                          <a:pt x="65555" y="21933"/>
                          <a:pt x="56655" y="21933"/>
                        </a:cubicBezTo>
                        <a:cubicBezTo>
                          <a:pt x="56655" y="21933"/>
                          <a:pt x="53687" y="21933"/>
                          <a:pt x="50720" y="21933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26" name="图形 1">
                  <a:extLst>
                    <a:ext uri="{FF2B5EF4-FFF2-40B4-BE49-F238E27FC236}">
                      <a16:creationId xmlns:a16="http://schemas.microsoft.com/office/drawing/2014/main" id="{155F5FF4-7985-474D-AD59-E70CD2CFDFB8}"/>
                    </a:ext>
                  </a:extLst>
                </p:cNvPr>
                <p:cNvGrpSpPr/>
                <p:nvPr/>
              </p:nvGrpSpPr>
              <p:grpSpPr>
                <a:xfrm>
                  <a:off x="13698541" y="1988022"/>
                  <a:ext cx="110342" cy="81273"/>
                  <a:chOff x="13698541" y="1988022"/>
                  <a:chExt cx="110342" cy="81273"/>
                </a:xfrm>
              </p:grpSpPr>
              <p:sp>
                <p:nvSpPr>
                  <p:cNvPr id="139" name="任意多边形: 形状 138">
                    <a:extLst>
                      <a:ext uri="{FF2B5EF4-FFF2-40B4-BE49-F238E27FC236}">
                        <a16:creationId xmlns:a16="http://schemas.microsoft.com/office/drawing/2014/main" id="{5775698B-C221-4020-A42F-5B67A2349306}"/>
                      </a:ext>
                    </a:extLst>
                  </p:cNvPr>
                  <p:cNvSpPr/>
                  <p:nvPr/>
                </p:nvSpPr>
                <p:spPr>
                  <a:xfrm>
                    <a:off x="13707723" y="1997525"/>
                    <a:ext cx="89294" cy="60465"/>
                  </a:xfrm>
                  <a:custGeom>
                    <a:avLst/>
                    <a:gdLst>
                      <a:gd name="connsiteX0" fmla="*/ 0 w 89294"/>
                      <a:gd name="connsiteY0" fmla="*/ 36167 h 60465"/>
                      <a:gd name="connsiteX1" fmla="*/ 47472 w 89294"/>
                      <a:gd name="connsiteY1" fmla="*/ 59903 h 60465"/>
                      <a:gd name="connsiteX2" fmla="*/ 89011 w 89294"/>
                      <a:gd name="connsiteY2" fmla="*/ 24299 h 60465"/>
                      <a:gd name="connsiteX3" fmla="*/ 41538 w 89294"/>
                      <a:gd name="connsiteY3" fmla="*/ 562 h 60465"/>
                      <a:gd name="connsiteX4" fmla="*/ 0 w 89294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294" h="60465">
                        <a:moveTo>
                          <a:pt x="0" y="36167"/>
                        </a:moveTo>
                        <a:cubicBezTo>
                          <a:pt x="2966" y="53969"/>
                          <a:pt x="23736" y="62870"/>
                          <a:pt x="47472" y="59903"/>
                        </a:cubicBezTo>
                        <a:cubicBezTo>
                          <a:pt x="71209" y="56936"/>
                          <a:pt x="91977" y="42101"/>
                          <a:pt x="89011" y="24299"/>
                        </a:cubicBezTo>
                        <a:cubicBezTo>
                          <a:pt x="86044" y="6496"/>
                          <a:pt x="65274" y="-2405"/>
                          <a:pt x="41538" y="562"/>
                        </a:cubicBezTo>
                        <a:cubicBezTo>
                          <a:pt x="17801" y="3529"/>
                          <a:pt x="0" y="21331"/>
                          <a:pt x="0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" name="任意多边形: 形状 139">
                    <a:extLst>
                      <a:ext uri="{FF2B5EF4-FFF2-40B4-BE49-F238E27FC236}">
                        <a16:creationId xmlns:a16="http://schemas.microsoft.com/office/drawing/2014/main" id="{945D334F-4761-4C9D-BE26-74388EAA2204}"/>
                      </a:ext>
                    </a:extLst>
                  </p:cNvPr>
                  <p:cNvSpPr/>
                  <p:nvPr/>
                </p:nvSpPr>
                <p:spPr>
                  <a:xfrm>
                    <a:off x="13698541" y="1988022"/>
                    <a:ext cx="110342" cy="81273"/>
                  </a:xfrm>
                  <a:custGeom>
                    <a:avLst/>
                    <a:gdLst>
                      <a:gd name="connsiteX0" fmla="*/ 21051 w 110342"/>
                      <a:gd name="connsiteY0" fmla="*/ 75340 h 81273"/>
                      <a:gd name="connsiteX1" fmla="*/ 281 w 110342"/>
                      <a:gd name="connsiteY1" fmla="*/ 48637 h 81273"/>
                      <a:gd name="connsiteX2" fmla="*/ 50721 w 110342"/>
                      <a:gd name="connsiteY2" fmla="*/ 1164 h 81273"/>
                      <a:gd name="connsiteX3" fmla="*/ 89292 w 110342"/>
                      <a:gd name="connsiteY3" fmla="*/ 7098 h 81273"/>
                      <a:gd name="connsiteX4" fmla="*/ 110062 w 110342"/>
                      <a:gd name="connsiteY4" fmla="*/ 33801 h 81273"/>
                      <a:gd name="connsiteX5" fmla="*/ 59622 w 110342"/>
                      <a:gd name="connsiteY5" fmla="*/ 81274 h 81273"/>
                      <a:gd name="connsiteX6" fmla="*/ 50721 w 110342"/>
                      <a:gd name="connsiteY6" fmla="*/ 81274 h 81273"/>
                      <a:gd name="connsiteX7" fmla="*/ 21051 w 110342"/>
                      <a:gd name="connsiteY7" fmla="*/ 75340 h 81273"/>
                      <a:gd name="connsiteX8" fmla="*/ 53688 w 110342"/>
                      <a:gd name="connsiteY8" fmla="*/ 21933 h 81273"/>
                      <a:gd name="connsiteX9" fmla="*/ 21051 w 110342"/>
                      <a:gd name="connsiteY9" fmla="*/ 45669 h 81273"/>
                      <a:gd name="connsiteX10" fmla="*/ 32919 w 110342"/>
                      <a:gd name="connsiteY10" fmla="*/ 57538 h 81273"/>
                      <a:gd name="connsiteX11" fmla="*/ 59622 w 110342"/>
                      <a:gd name="connsiteY11" fmla="*/ 60505 h 81273"/>
                      <a:gd name="connsiteX12" fmla="*/ 92259 w 110342"/>
                      <a:gd name="connsiteY12" fmla="*/ 36768 h 81273"/>
                      <a:gd name="connsiteX13" fmla="*/ 80391 w 110342"/>
                      <a:gd name="connsiteY13" fmla="*/ 24900 h 81273"/>
                      <a:gd name="connsiteX14" fmla="*/ 59622 w 110342"/>
                      <a:gd name="connsiteY14" fmla="*/ 21933 h 81273"/>
                      <a:gd name="connsiteX15" fmla="*/ 53688 w 110342"/>
                      <a:gd name="connsiteY15" fmla="*/ 21933 h 812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0342" h="81273">
                        <a:moveTo>
                          <a:pt x="21051" y="75340"/>
                        </a:moveTo>
                        <a:cubicBezTo>
                          <a:pt x="9183" y="69406"/>
                          <a:pt x="281" y="60505"/>
                          <a:pt x="281" y="48637"/>
                        </a:cubicBezTo>
                        <a:cubicBezTo>
                          <a:pt x="-2686" y="27867"/>
                          <a:pt x="18084" y="7098"/>
                          <a:pt x="50721" y="1164"/>
                        </a:cubicBezTo>
                        <a:cubicBezTo>
                          <a:pt x="65556" y="-1803"/>
                          <a:pt x="77424" y="1164"/>
                          <a:pt x="89292" y="7098"/>
                        </a:cubicBezTo>
                        <a:cubicBezTo>
                          <a:pt x="101160" y="13032"/>
                          <a:pt x="110062" y="21933"/>
                          <a:pt x="110062" y="33801"/>
                        </a:cubicBezTo>
                        <a:cubicBezTo>
                          <a:pt x="113029" y="54571"/>
                          <a:pt x="92259" y="75340"/>
                          <a:pt x="59622" y="81274"/>
                        </a:cubicBezTo>
                        <a:cubicBezTo>
                          <a:pt x="56655" y="81274"/>
                          <a:pt x="53688" y="81274"/>
                          <a:pt x="50721" y="81274"/>
                        </a:cubicBezTo>
                        <a:cubicBezTo>
                          <a:pt x="38853" y="81274"/>
                          <a:pt x="29951" y="78307"/>
                          <a:pt x="21051" y="75340"/>
                        </a:cubicBezTo>
                        <a:close/>
                        <a:moveTo>
                          <a:pt x="53688" y="21933"/>
                        </a:moveTo>
                        <a:cubicBezTo>
                          <a:pt x="32919" y="24900"/>
                          <a:pt x="18084" y="36768"/>
                          <a:pt x="21051" y="45669"/>
                        </a:cubicBezTo>
                        <a:cubicBezTo>
                          <a:pt x="21051" y="51604"/>
                          <a:pt x="26984" y="54571"/>
                          <a:pt x="32919" y="57538"/>
                        </a:cubicBezTo>
                        <a:cubicBezTo>
                          <a:pt x="41819" y="60505"/>
                          <a:pt x="50721" y="63472"/>
                          <a:pt x="59622" y="60505"/>
                        </a:cubicBezTo>
                        <a:cubicBezTo>
                          <a:pt x="80391" y="57538"/>
                          <a:pt x="95227" y="45669"/>
                          <a:pt x="92259" y="36768"/>
                        </a:cubicBezTo>
                        <a:cubicBezTo>
                          <a:pt x="92259" y="30834"/>
                          <a:pt x="86325" y="27867"/>
                          <a:pt x="80391" y="24900"/>
                        </a:cubicBezTo>
                        <a:cubicBezTo>
                          <a:pt x="74457" y="21933"/>
                          <a:pt x="68523" y="21933"/>
                          <a:pt x="59622" y="21933"/>
                        </a:cubicBezTo>
                        <a:cubicBezTo>
                          <a:pt x="56655" y="18966"/>
                          <a:pt x="53688" y="18966"/>
                          <a:pt x="53688" y="21933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27" name="图形 1">
                  <a:extLst>
                    <a:ext uri="{FF2B5EF4-FFF2-40B4-BE49-F238E27FC236}">
                      <a16:creationId xmlns:a16="http://schemas.microsoft.com/office/drawing/2014/main" id="{896A72DB-1A5B-4C19-924A-E6C9232AAB43}"/>
                    </a:ext>
                  </a:extLst>
                </p:cNvPr>
                <p:cNvGrpSpPr/>
                <p:nvPr/>
              </p:nvGrpSpPr>
              <p:grpSpPr>
                <a:xfrm>
                  <a:off x="13876563" y="1851538"/>
                  <a:ext cx="110342" cy="81273"/>
                  <a:chOff x="13876563" y="1851538"/>
                  <a:chExt cx="110342" cy="81273"/>
                </a:xfrm>
              </p:grpSpPr>
              <p:sp>
                <p:nvSpPr>
                  <p:cNvPr id="137" name="任意多边形: 形状 136">
                    <a:extLst>
                      <a:ext uri="{FF2B5EF4-FFF2-40B4-BE49-F238E27FC236}">
                        <a16:creationId xmlns:a16="http://schemas.microsoft.com/office/drawing/2014/main" id="{FD6D8181-A130-49E2-911B-B01C00331F07}"/>
                      </a:ext>
                    </a:extLst>
                  </p:cNvPr>
                  <p:cNvSpPr/>
                  <p:nvPr/>
                </p:nvSpPr>
                <p:spPr>
                  <a:xfrm>
                    <a:off x="13885462" y="1864008"/>
                    <a:ext cx="89577" cy="60465"/>
                  </a:xfrm>
                  <a:custGeom>
                    <a:avLst/>
                    <a:gdLst>
                      <a:gd name="connsiteX0" fmla="*/ 283 w 89577"/>
                      <a:gd name="connsiteY0" fmla="*/ 36167 h 60465"/>
                      <a:gd name="connsiteX1" fmla="*/ 47755 w 89577"/>
                      <a:gd name="connsiteY1" fmla="*/ 59903 h 60465"/>
                      <a:gd name="connsiteX2" fmla="*/ 89294 w 89577"/>
                      <a:gd name="connsiteY2" fmla="*/ 24299 h 60465"/>
                      <a:gd name="connsiteX3" fmla="*/ 41822 w 89577"/>
                      <a:gd name="connsiteY3" fmla="*/ 562 h 60465"/>
                      <a:gd name="connsiteX4" fmla="*/ 283 w 89577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577" h="60465">
                        <a:moveTo>
                          <a:pt x="283" y="36167"/>
                        </a:moveTo>
                        <a:cubicBezTo>
                          <a:pt x="3250" y="53969"/>
                          <a:pt x="24019" y="62870"/>
                          <a:pt x="47755" y="59903"/>
                        </a:cubicBezTo>
                        <a:cubicBezTo>
                          <a:pt x="71492" y="56936"/>
                          <a:pt x="92261" y="42101"/>
                          <a:pt x="89294" y="24299"/>
                        </a:cubicBezTo>
                        <a:cubicBezTo>
                          <a:pt x="86327" y="6496"/>
                          <a:pt x="65558" y="-2405"/>
                          <a:pt x="41822" y="562"/>
                        </a:cubicBezTo>
                        <a:cubicBezTo>
                          <a:pt x="18085" y="3529"/>
                          <a:pt x="-2684" y="18364"/>
                          <a:pt x="283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" name="任意多边形: 形状 137">
                    <a:extLst>
                      <a:ext uri="{FF2B5EF4-FFF2-40B4-BE49-F238E27FC236}">
                        <a16:creationId xmlns:a16="http://schemas.microsoft.com/office/drawing/2014/main" id="{B85C7DFE-0058-47AF-9279-399A36508FD1}"/>
                      </a:ext>
                    </a:extLst>
                  </p:cNvPr>
                  <p:cNvSpPr/>
                  <p:nvPr/>
                </p:nvSpPr>
                <p:spPr>
                  <a:xfrm>
                    <a:off x="13876563" y="1851538"/>
                    <a:ext cx="110342" cy="81273"/>
                  </a:xfrm>
                  <a:custGeom>
                    <a:avLst/>
                    <a:gdLst>
                      <a:gd name="connsiteX0" fmla="*/ 21051 w 110342"/>
                      <a:gd name="connsiteY0" fmla="*/ 75340 h 81273"/>
                      <a:gd name="connsiteX1" fmla="*/ 281 w 110342"/>
                      <a:gd name="connsiteY1" fmla="*/ 48637 h 81273"/>
                      <a:gd name="connsiteX2" fmla="*/ 50721 w 110342"/>
                      <a:gd name="connsiteY2" fmla="*/ 1164 h 81273"/>
                      <a:gd name="connsiteX3" fmla="*/ 89292 w 110342"/>
                      <a:gd name="connsiteY3" fmla="*/ 7098 h 81273"/>
                      <a:gd name="connsiteX4" fmla="*/ 110062 w 110342"/>
                      <a:gd name="connsiteY4" fmla="*/ 33801 h 81273"/>
                      <a:gd name="connsiteX5" fmla="*/ 59622 w 110342"/>
                      <a:gd name="connsiteY5" fmla="*/ 81274 h 81273"/>
                      <a:gd name="connsiteX6" fmla="*/ 50721 w 110342"/>
                      <a:gd name="connsiteY6" fmla="*/ 81274 h 81273"/>
                      <a:gd name="connsiteX7" fmla="*/ 21051 w 110342"/>
                      <a:gd name="connsiteY7" fmla="*/ 75340 h 81273"/>
                      <a:gd name="connsiteX8" fmla="*/ 50721 w 110342"/>
                      <a:gd name="connsiteY8" fmla="*/ 21933 h 81273"/>
                      <a:gd name="connsiteX9" fmla="*/ 18084 w 110342"/>
                      <a:gd name="connsiteY9" fmla="*/ 45669 h 81273"/>
                      <a:gd name="connsiteX10" fmla="*/ 29951 w 110342"/>
                      <a:gd name="connsiteY10" fmla="*/ 57538 h 81273"/>
                      <a:gd name="connsiteX11" fmla="*/ 56655 w 110342"/>
                      <a:gd name="connsiteY11" fmla="*/ 60505 h 81273"/>
                      <a:gd name="connsiteX12" fmla="*/ 89292 w 110342"/>
                      <a:gd name="connsiteY12" fmla="*/ 36768 h 81273"/>
                      <a:gd name="connsiteX13" fmla="*/ 77424 w 110342"/>
                      <a:gd name="connsiteY13" fmla="*/ 24900 h 81273"/>
                      <a:gd name="connsiteX14" fmla="*/ 59622 w 110342"/>
                      <a:gd name="connsiteY14" fmla="*/ 21933 h 81273"/>
                      <a:gd name="connsiteX15" fmla="*/ 50721 w 110342"/>
                      <a:gd name="connsiteY15" fmla="*/ 21933 h 812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0342" h="81273">
                        <a:moveTo>
                          <a:pt x="21051" y="75340"/>
                        </a:moveTo>
                        <a:cubicBezTo>
                          <a:pt x="9183" y="69406"/>
                          <a:pt x="281" y="60505"/>
                          <a:pt x="281" y="48637"/>
                        </a:cubicBezTo>
                        <a:cubicBezTo>
                          <a:pt x="-2686" y="27867"/>
                          <a:pt x="18084" y="7098"/>
                          <a:pt x="50721" y="1164"/>
                        </a:cubicBezTo>
                        <a:cubicBezTo>
                          <a:pt x="65556" y="-1803"/>
                          <a:pt x="77424" y="1164"/>
                          <a:pt x="89292" y="7098"/>
                        </a:cubicBezTo>
                        <a:cubicBezTo>
                          <a:pt x="101160" y="13032"/>
                          <a:pt x="110062" y="21933"/>
                          <a:pt x="110062" y="33801"/>
                        </a:cubicBezTo>
                        <a:cubicBezTo>
                          <a:pt x="113029" y="54571"/>
                          <a:pt x="92259" y="75340"/>
                          <a:pt x="59622" y="81274"/>
                        </a:cubicBezTo>
                        <a:cubicBezTo>
                          <a:pt x="56655" y="81274"/>
                          <a:pt x="53688" y="81274"/>
                          <a:pt x="50721" y="81274"/>
                        </a:cubicBezTo>
                        <a:cubicBezTo>
                          <a:pt x="38853" y="81274"/>
                          <a:pt x="29951" y="81274"/>
                          <a:pt x="21051" y="75340"/>
                        </a:cubicBezTo>
                        <a:close/>
                        <a:moveTo>
                          <a:pt x="50721" y="21933"/>
                        </a:moveTo>
                        <a:cubicBezTo>
                          <a:pt x="29951" y="24900"/>
                          <a:pt x="15116" y="36768"/>
                          <a:pt x="18084" y="45669"/>
                        </a:cubicBezTo>
                        <a:cubicBezTo>
                          <a:pt x="18084" y="51604"/>
                          <a:pt x="24018" y="54571"/>
                          <a:pt x="29951" y="57538"/>
                        </a:cubicBezTo>
                        <a:cubicBezTo>
                          <a:pt x="38853" y="60505"/>
                          <a:pt x="47754" y="63472"/>
                          <a:pt x="56655" y="60505"/>
                        </a:cubicBezTo>
                        <a:cubicBezTo>
                          <a:pt x="77424" y="57538"/>
                          <a:pt x="92259" y="45669"/>
                          <a:pt x="89292" y="36768"/>
                        </a:cubicBezTo>
                        <a:cubicBezTo>
                          <a:pt x="89292" y="30834"/>
                          <a:pt x="83359" y="27867"/>
                          <a:pt x="77424" y="24900"/>
                        </a:cubicBezTo>
                        <a:cubicBezTo>
                          <a:pt x="74457" y="21933"/>
                          <a:pt x="65556" y="21933"/>
                          <a:pt x="59622" y="21933"/>
                        </a:cubicBezTo>
                        <a:cubicBezTo>
                          <a:pt x="56655" y="21933"/>
                          <a:pt x="53688" y="21933"/>
                          <a:pt x="50721" y="21933"/>
                        </a:cubicBez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28" name="图形 1">
                  <a:extLst>
                    <a:ext uri="{FF2B5EF4-FFF2-40B4-BE49-F238E27FC236}">
                      <a16:creationId xmlns:a16="http://schemas.microsoft.com/office/drawing/2014/main" id="{79DF674C-957D-4220-8AA0-0090FFC90990}"/>
                    </a:ext>
                  </a:extLst>
                </p:cNvPr>
                <p:cNvGrpSpPr/>
                <p:nvPr/>
              </p:nvGrpSpPr>
              <p:grpSpPr>
                <a:xfrm>
                  <a:off x="13532387" y="1947269"/>
                  <a:ext cx="110342" cy="80487"/>
                  <a:chOff x="13532387" y="1947269"/>
                  <a:chExt cx="110342" cy="80487"/>
                </a:xfrm>
              </p:grpSpPr>
              <p:sp>
                <p:nvSpPr>
                  <p:cNvPr id="135" name="任意多边形: 形状 134">
                    <a:extLst>
                      <a:ext uri="{FF2B5EF4-FFF2-40B4-BE49-F238E27FC236}">
                        <a16:creationId xmlns:a16="http://schemas.microsoft.com/office/drawing/2014/main" id="{2AC3ED59-12F8-4164-9B07-EB14ABB5DD8F}"/>
                      </a:ext>
                    </a:extLst>
                  </p:cNvPr>
                  <p:cNvSpPr/>
                  <p:nvPr/>
                </p:nvSpPr>
                <p:spPr>
                  <a:xfrm>
                    <a:off x="13541569" y="1955986"/>
                    <a:ext cx="89294" cy="60465"/>
                  </a:xfrm>
                  <a:custGeom>
                    <a:avLst/>
                    <a:gdLst>
                      <a:gd name="connsiteX0" fmla="*/ 0 w 89294"/>
                      <a:gd name="connsiteY0" fmla="*/ 36167 h 60465"/>
                      <a:gd name="connsiteX1" fmla="*/ 47473 w 89294"/>
                      <a:gd name="connsiteY1" fmla="*/ 59903 h 60465"/>
                      <a:gd name="connsiteX2" fmla="*/ 89011 w 89294"/>
                      <a:gd name="connsiteY2" fmla="*/ 24299 h 60465"/>
                      <a:gd name="connsiteX3" fmla="*/ 41538 w 89294"/>
                      <a:gd name="connsiteY3" fmla="*/ 562 h 60465"/>
                      <a:gd name="connsiteX4" fmla="*/ 0 w 89294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294" h="60465">
                        <a:moveTo>
                          <a:pt x="0" y="36167"/>
                        </a:moveTo>
                        <a:cubicBezTo>
                          <a:pt x="2967" y="53969"/>
                          <a:pt x="23736" y="62870"/>
                          <a:pt x="47473" y="59903"/>
                        </a:cubicBezTo>
                        <a:cubicBezTo>
                          <a:pt x="71209" y="56936"/>
                          <a:pt x="91978" y="42101"/>
                          <a:pt x="89011" y="24299"/>
                        </a:cubicBezTo>
                        <a:cubicBezTo>
                          <a:pt x="86044" y="6496"/>
                          <a:pt x="65274" y="-2405"/>
                          <a:pt x="41538" y="562"/>
                        </a:cubicBezTo>
                        <a:cubicBezTo>
                          <a:pt x="17802" y="3529"/>
                          <a:pt x="0" y="21331"/>
                          <a:pt x="0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" name="任意多边形: 形状 135">
                    <a:extLst>
                      <a:ext uri="{FF2B5EF4-FFF2-40B4-BE49-F238E27FC236}">
                        <a16:creationId xmlns:a16="http://schemas.microsoft.com/office/drawing/2014/main" id="{170A4838-095B-4FF6-97E0-E0E2503BBBB8}"/>
                      </a:ext>
                    </a:extLst>
                  </p:cNvPr>
                  <p:cNvSpPr/>
                  <p:nvPr/>
                </p:nvSpPr>
                <p:spPr>
                  <a:xfrm>
                    <a:off x="13532387" y="1947269"/>
                    <a:ext cx="110342" cy="80487"/>
                  </a:xfrm>
                  <a:custGeom>
                    <a:avLst/>
                    <a:gdLst>
                      <a:gd name="connsiteX0" fmla="*/ 21051 w 110342"/>
                      <a:gd name="connsiteY0" fmla="*/ 74554 h 80487"/>
                      <a:gd name="connsiteX1" fmla="*/ 281 w 110342"/>
                      <a:gd name="connsiteY1" fmla="*/ 47851 h 80487"/>
                      <a:gd name="connsiteX2" fmla="*/ 281 w 110342"/>
                      <a:gd name="connsiteY2" fmla="*/ 47851 h 80487"/>
                      <a:gd name="connsiteX3" fmla="*/ 50721 w 110342"/>
                      <a:gd name="connsiteY3" fmla="*/ 378 h 80487"/>
                      <a:gd name="connsiteX4" fmla="*/ 110062 w 110342"/>
                      <a:gd name="connsiteY4" fmla="*/ 33015 h 80487"/>
                      <a:gd name="connsiteX5" fmla="*/ 59622 w 110342"/>
                      <a:gd name="connsiteY5" fmla="*/ 80488 h 80487"/>
                      <a:gd name="connsiteX6" fmla="*/ 50721 w 110342"/>
                      <a:gd name="connsiteY6" fmla="*/ 80488 h 80487"/>
                      <a:gd name="connsiteX7" fmla="*/ 21051 w 110342"/>
                      <a:gd name="connsiteY7" fmla="*/ 74554 h 80487"/>
                      <a:gd name="connsiteX8" fmla="*/ 53688 w 110342"/>
                      <a:gd name="connsiteY8" fmla="*/ 18180 h 80487"/>
                      <a:gd name="connsiteX9" fmla="*/ 21051 w 110342"/>
                      <a:gd name="connsiteY9" fmla="*/ 41917 h 80487"/>
                      <a:gd name="connsiteX10" fmla="*/ 32919 w 110342"/>
                      <a:gd name="connsiteY10" fmla="*/ 53785 h 80487"/>
                      <a:gd name="connsiteX11" fmla="*/ 59622 w 110342"/>
                      <a:gd name="connsiteY11" fmla="*/ 56752 h 80487"/>
                      <a:gd name="connsiteX12" fmla="*/ 92259 w 110342"/>
                      <a:gd name="connsiteY12" fmla="*/ 33015 h 80487"/>
                      <a:gd name="connsiteX13" fmla="*/ 62589 w 110342"/>
                      <a:gd name="connsiteY13" fmla="*/ 15213 h 80487"/>
                      <a:gd name="connsiteX14" fmla="*/ 53688 w 110342"/>
                      <a:gd name="connsiteY14" fmla="*/ 18180 h 80487"/>
                      <a:gd name="connsiteX15" fmla="*/ 9183 w 110342"/>
                      <a:gd name="connsiteY15" fmla="*/ 44884 h 80487"/>
                      <a:gd name="connsiteX16" fmla="*/ 9183 w 110342"/>
                      <a:gd name="connsiteY16" fmla="*/ 44884 h 80487"/>
                      <a:gd name="connsiteX17" fmla="*/ 9183 w 110342"/>
                      <a:gd name="connsiteY17" fmla="*/ 44884 h 80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10342" h="80487">
                        <a:moveTo>
                          <a:pt x="21051" y="74554"/>
                        </a:moveTo>
                        <a:cubicBezTo>
                          <a:pt x="9183" y="68620"/>
                          <a:pt x="281" y="59719"/>
                          <a:pt x="281" y="47851"/>
                        </a:cubicBezTo>
                        <a:lnTo>
                          <a:pt x="281" y="47851"/>
                        </a:lnTo>
                        <a:cubicBezTo>
                          <a:pt x="-2685" y="27081"/>
                          <a:pt x="18083" y="6312"/>
                          <a:pt x="50721" y="378"/>
                        </a:cubicBezTo>
                        <a:cubicBezTo>
                          <a:pt x="80391" y="-2589"/>
                          <a:pt x="107094" y="12246"/>
                          <a:pt x="110062" y="33015"/>
                        </a:cubicBezTo>
                        <a:cubicBezTo>
                          <a:pt x="113029" y="53785"/>
                          <a:pt x="92259" y="74554"/>
                          <a:pt x="59622" y="80488"/>
                        </a:cubicBezTo>
                        <a:cubicBezTo>
                          <a:pt x="56655" y="80488"/>
                          <a:pt x="53688" y="80488"/>
                          <a:pt x="50721" y="80488"/>
                        </a:cubicBezTo>
                        <a:cubicBezTo>
                          <a:pt x="38853" y="80488"/>
                          <a:pt x="29951" y="77521"/>
                          <a:pt x="21051" y="74554"/>
                        </a:cubicBezTo>
                        <a:close/>
                        <a:moveTo>
                          <a:pt x="53688" y="18180"/>
                        </a:moveTo>
                        <a:cubicBezTo>
                          <a:pt x="32919" y="21147"/>
                          <a:pt x="18083" y="33015"/>
                          <a:pt x="21051" y="41917"/>
                        </a:cubicBezTo>
                        <a:cubicBezTo>
                          <a:pt x="21051" y="47851"/>
                          <a:pt x="26985" y="50818"/>
                          <a:pt x="32919" y="53785"/>
                        </a:cubicBezTo>
                        <a:cubicBezTo>
                          <a:pt x="41820" y="56752"/>
                          <a:pt x="50721" y="59719"/>
                          <a:pt x="59622" y="56752"/>
                        </a:cubicBezTo>
                        <a:cubicBezTo>
                          <a:pt x="80391" y="53785"/>
                          <a:pt x="95226" y="41917"/>
                          <a:pt x="92259" y="33015"/>
                        </a:cubicBezTo>
                        <a:cubicBezTo>
                          <a:pt x="92259" y="24114"/>
                          <a:pt x="77424" y="15213"/>
                          <a:pt x="62589" y="15213"/>
                        </a:cubicBezTo>
                        <a:cubicBezTo>
                          <a:pt x="56655" y="18180"/>
                          <a:pt x="53688" y="18180"/>
                          <a:pt x="53688" y="18180"/>
                        </a:cubicBezTo>
                        <a:close/>
                        <a:moveTo>
                          <a:pt x="9183" y="44884"/>
                        </a:moveTo>
                        <a:lnTo>
                          <a:pt x="9183" y="44884"/>
                        </a:lnTo>
                        <a:lnTo>
                          <a:pt x="9183" y="44884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29" name="图形 1">
                  <a:extLst>
                    <a:ext uri="{FF2B5EF4-FFF2-40B4-BE49-F238E27FC236}">
                      <a16:creationId xmlns:a16="http://schemas.microsoft.com/office/drawing/2014/main" id="{4B00ED25-7CD1-4E9A-AFA2-852B45994A7A}"/>
                    </a:ext>
                  </a:extLst>
                </p:cNvPr>
                <p:cNvGrpSpPr/>
                <p:nvPr/>
              </p:nvGrpSpPr>
              <p:grpSpPr>
                <a:xfrm>
                  <a:off x="13689640" y="1876060"/>
                  <a:ext cx="110341" cy="80487"/>
                  <a:chOff x="13689640" y="1876060"/>
                  <a:chExt cx="110341" cy="80487"/>
                </a:xfrm>
              </p:grpSpPr>
              <p:sp>
                <p:nvSpPr>
                  <p:cNvPr id="133" name="任意多边形: 形状 132">
                    <a:extLst>
                      <a:ext uri="{FF2B5EF4-FFF2-40B4-BE49-F238E27FC236}">
                        <a16:creationId xmlns:a16="http://schemas.microsoft.com/office/drawing/2014/main" id="{D528AD67-2AEB-462E-A2F2-7176CFE37510}"/>
                      </a:ext>
                    </a:extLst>
                  </p:cNvPr>
                  <p:cNvSpPr/>
                  <p:nvPr/>
                </p:nvSpPr>
                <p:spPr>
                  <a:xfrm>
                    <a:off x="13701467" y="1887744"/>
                    <a:ext cx="89616" cy="60465"/>
                  </a:xfrm>
                  <a:custGeom>
                    <a:avLst/>
                    <a:gdLst>
                      <a:gd name="connsiteX0" fmla="*/ 322 w 89616"/>
                      <a:gd name="connsiteY0" fmla="*/ 36167 h 60465"/>
                      <a:gd name="connsiteX1" fmla="*/ 47795 w 89616"/>
                      <a:gd name="connsiteY1" fmla="*/ 59903 h 60465"/>
                      <a:gd name="connsiteX2" fmla="*/ 89333 w 89616"/>
                      <a:gd name="connsiteY2" fmla="*/ 24299 h 60465"/>
                      <a:gd name="connsiteX3" fmla="*/ 41861 w 89616"/>
                      <a:gd name="connsiteY3" fmla="*/ 562 h 60465"/>
                      <a:gd name="connsiteX4" fmla="*/ 322 w 89616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616" h="60465">
                        <a:moveTo>
                          <a:pt x="322" y="36167"/>
                        </a:moveTo>
                        <a:cubicBezTo>
                          <a:pt x="3290" y="53969"/>
                          <a:pt x="24058" y="62870"/>
                          <a:pt x="47795" y="59903"/>
                        </a:cubicBezTo>
                        <a:cubicBezTo>
                          <a:pt x="71531" y="56936"/>
                          <a:pt x="92301" y="42101"/>
                          <a:pt x="89333" y="24299"/>
                        </a:cubicBezTo>
                        <a:cubicBezTo>
                          <a:pt x="86366" y="6496"/>
                          <a:pt x="65597" y="-2405"/>
                          <a:pt x="41861" y="562"/>
                        </a:cubicBezTo>
                        <a:cubicBezTo>
                          <a:pt x="15158" y="3529"/>
                          <a:pt x="-2645" y="18364"/>
                          <a:pt x="322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" name="任意多边形: 形状 133">
                    <a:extLst>
                      <a:ext uri="{FF2B5EF4-FFF2-40B4-BE49-F238E27FC236}">
                        <a16:creationId xmlns:a16="http://schemas.microsoft.com/office/drawing/2014/main" id="{D860AE83-8061-4350-BECE-B3E803A053C6}"/>
                      </a:ext>
                    </a:extLst>
                  </p:cNvPr>
                  <p:cNvSpPr/>
                  <p:nvPr/>
                </p:nvSpPr>
                <p:spPr>
                  <a:xfrm>
                    <a:off x="13689640" y="1876060"/>
                    <a:ext cx="110341" cy="80487"/>
                  </a:xfrm>
                  <a:custGeom>
                    <a:avLst/>
                    <a:gdLst>
                      <a:gd name="connsiteX0" fmla="*/ 21050 w 110341"/>
                      <a:gd name="connsiteY0" fmla="*/ 74554 h 80487"/>
                      <a:gd name="connsiteX1" fmla="*/ 281 w 110341"/>
                      <a:gd name="connsiteY1" fmla="*/ 47851 h 80487"/>
                      <a:gd name="connsiteX2" fmla="*/ 281 w 110341"/>
                      <a:gd name="connsiteY2" fmla="*/ 47851 h 80487"/>
                      <a:gd name="connsiteX3" fmla="*/ 50720 w 110341"/>
                      <a:gd name="connsiteY3" fmla="*/ 378 h 80487"/>
                      <a:gd name="connsiteX4" fmla="*/ 110061 w 110341"/>
                      <a:gd name="connsiteY4" fmla="*/ 33015 h 80487"/>
                      <a:gd name="connsiteX5" fmla="*/ 59622 w 110341"/>
                      <a:gd name="connsiteY5" fmla="*/ 80488 h 80487"/>
                      <a:gd name="connsiteX6" fmla="*/ 50720 w 110341"/>
                      <a:gd name="connsiteY6" fmla="*/ 80488 h 80487"/>
                      <a:gd name="connsiteX7" fmla="*/ 21050 w 110341"/>
                      <a:gd name="connsiteY7" fmla="*/ 74554 h 80487"/>
                      <a:gd name="connsiteX8" fmla="*/ 53687 w 110341"/>
                      <a:gd name="connsiteY8" fmla="*/ 21147 h 80487"/>
                      <a:gd name="connsiteX9" fmla="*/ 21050 w 110341"/>
                      <a:gd name="connsiteY9" fmla="*/ 44884 h 80487"/>
                      <a:gd name="connsiteX10" fmla="*/ 32919 w 110341"/>
                      <a:gd name="connsiteY10" fmla="*/ 56752 h 80487"/>
                      <a:gd name="connsiteX11" fmla="*/ 59622 w 110341"/>
                      <a:gd name="connsiteY11" fmla="*/ 59719 h 80487"/>
                      <a:gd name="connsiteX12" fmla="*/ 92259 w 110341"/>
                      <a:gd name="connsiteY12" fmla="*/ 35982 h 80487"/>
                      <a:gd name="connsiteX13" fmla="*/ 62589 w 110341"/>
                      <a:gd name="connsiteY13" fmla="*/ 18180 h 80487"/>
                      <a:gd name="connsiteX14" fmla="*/ 53687 w 110341"/>
                      <a:gd name="connsiteY14" fmla="*/ 21147 h 80487"/>
                      <a:gd name="connsiteX15" fmla="*/ 9182 w 110341"/>
                      <a:gd name="connsiteY15" fmla="*/ 47851 h 80487"/>
                      <a:gd name="connsiteX16" fmla="*/ 9182 w 110341"/>
                      <a:gd name="connsiteY16" fmla="*/ 47851 h 80487"/>
                      <a:gd name="connsiteX17" fmla="*/ 9182 w 110341"/>
                      <a:gd name="connsiteY17" fmla="*/ 47851 h 80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10341" h="80487">
                        <a:moveTo>
                          <a:pt x="21050" y="74554"/>
                        </a:moveTo>
                        <a:cubicBezTo>
                          <a:pt x="9182" y="68620"/>
                          <a:pt x="281" y="59719"/>
                          <a:pt x="281" y="47851"/>
                        </a:cubicBezTo>
                        <a:lnTo>
                          <a:pt x="281" y="47851"/>
                        </a:lnTo>
                        <a:cubicBezTo>
                          <a:pt x="-2686" y="27081"/>
                          <a:pt x="18084" y="6312"/>
                          <a:pt x="50720" y="378"/>
                        </a:cubicBezTo>
                        <a:cubicBezTo>
                          <a:pt x="80391" y="-2589"/>
                          <a:pt x="107095" y="12246"/>
                          <a:pt x="110061" y="33015"/>
                        </a:cubicBezTo>
                        <a:cubicBezTo>
                          <a:pt x="113028" y="53785"/>
                          <a:pt x="92259" y="74554"/>
                          <a:pt x="59622" y="80488"/>
                        </a:cubicBezTo>
                        <a:cubicBezTo>
                          <a:pt x="56655" y="80488"/>
                          <a:pt x="53687" y="80488"/>
                          <a:pt x="50720" y="80488"/>
                        </a:cubicBezTo>
                        <a:cubicBezTo>
                          <a:pt x="41819" y="80488"/>
                          <a:pt x="29951" y="80488"/>
                          <a:pt x="21050" y="74554"/>
                        </a:cubicBezTo>
                        <a:close/>
                        <a:moveTo>
                          <a:pt x="53687" y="21147"/>
                        </a:moveTo>
                        <a:cubicBezTo>
                          <a:pt x="32919" y="24114"/>
                          <a:pt x="18084" y="35982"/>
                          <a:pt x="21050" y="44884"/>
                        </a:cubicBezTo>
                        <a:cubicBezTo>
                          <a:pt x="21050" y="50818"/>
                          <a:pt x="26984" y="53785"/>
                          <a:pt x="32919" y="56752"/>
                        </a:cubicBezTo>
                        <a:cubicBezTo>
                          <a:pt x="41819" y="59719"/>
                          <a:pt x="50720" y="62686"/>
                          <a:pt x="59622" y="59719"/>
                        </a:cubicBezTo>
                        <a:cubicBezTo>
                          <a:pt x="80391" y="56752"/>
                          <a:pt x="95226" y="44884"/>
                          <a:pt x="92259" y="35982"/>
                        </a:cubicBezTo>
                        <a:cubicBezTo>
                          <a:pt x="92259" y="27081"/>
                          <a:pt x="77424" y="18180"/>
                          <a:pt x="62589" y="18180"/>
                        </a:cubicBezTo>
                        <a:cubicBezTo>
                          <a:pt x="59622" y="21147"/>
                          <a:pt x="56655" y="21147"/>
                          <a:pt x="53687" y="21147"/>
                        </a:cubicBezTo>
                        <a:close/>
                        <a:moveTo>
                          <a:pt x="9182" y="47851"/>
                        </a:moveTo>
                        <a:lnTo>
                          <a:pt x="9182" y="47851"/>
                        </a:lnTo>
                        <a:lnTo>
                          <a:pt x="9182" y="47851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30" name="图形 1">
                  <a:extLst>
                    <a:ext uri="{FF2B5EF4-FFF2-40B4-BE49-F238E27FC236}">
                      <a16:creationId xmlns:a16="http://schemas.microsoft.com/office/drawing/2014/main" id="{0291BB6B-2219-4031-80AE-BFE15D2C9494}"/>
                    </a:ext>
                  </a:extLst>
                </p:cNvPr>
                <p:cNvGrpSpPr/>
                <p:nvPr/>
              </p:nvGrpSpPr>
              <p:grpSpPr>
                <a:xfrm>
                  <a:off x="13897332" y="1967253"/>
                  <a:ext cx="110341" cy="81273"/>
                  <a:chOff x="13897332" y="1967253"/>
                  <a:chExt cx="110341" cy="81273"/>
                </a:xfrm>
              </p:grpSpPr>
              <p:sp>
                <p:nvSpPr>
                  <p:cNvPr id="131" name="任意多边形: 形状 130">
                    <a:extLst>
                      <a:ext uri="{FF2B5EF4-FFF2-40B4-BE49-F238E27FC236}">
                        <a16:creationId xmlns:a16="http://schemas.microsoft.com/office/drawing/2014/main" id="{0BBE6A6B-FD65-4EA4-AACB-AADA5E216A5D}"/>
                      </a:ext>
                    </a:extLst>
                  </p:cNvPr>
                  <p:cNvSpPr/>
                  <p:nvPr/>
                </p:nvSpPr>
                <p:spPr>
                  <a:xfrm>
                    <a:off x="13906231" y="1976755"/>
                    <a:ext cx="89577" cy="60465"/>
                  </a:xfrm>
                  <a:custGeom>
                    <a:avLst/>
                    <a:gdLst>
                      <a:gd name="connsiteX0" fmla="*/ 283 w 89577"/>
                      <a:gd name="connsiteY0" fmla="*/ 36167 h 60465"/>
                      <a:gd name="connsiteX1" fmla="*/ 47756 w 89577"/>
                      <a:gd name="connsiteY1" fmla="*/ 59903 h 60465"/>
                      <a:gd name="connsiteX2" fmla="*/ 89294 w 89577"/>
                      <a:gd name="connsiteY2" fmla="*/ 24299 h 60465"/>
                      <a:gd name="connsiteX3" fmla="*/ 41822 w 89577"/>
                      <a:gd name="connsiteY3" fmla="*/ 562 h 60465"/>
                      <a:gd name="connsiteX4" fmla="*/ 283 w 89577"/>
                      <a:gd name="connsiteY4" fmla="*/ 36167 h 604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577" h="60465">
                        <a:moveTo>
                          <a:pt x="283" y="36167"/>
                        </a:moveTo>
                        <a:cubicBezTo>
                          <a:pt x="3251" y="53969"/>
                          <a:pt x="24020" y="62870"/>
                          <a:pt x="47756" y="59903"/>
                        </a:cubicBezTo>
                        <a:cubicBezTo>
                          <a:pt x="71492" y="56936"/>
                          <a:pt x="92262" y="42101"/>
                          <a:pt x="89294" y="24299"/>
                        </a:cubicBezTo>
                        <a:cubicBezTo>
                          <a:pt x="86327" y="6496"/>
                          <a:pt x="65559" y="-2405"/>
                          <a:pt x="41822" y="562"/>
                        </a:cubicBezTo>
                        <a:cubicBezTo>
                          <a:pt x="18086" y="6496"/>
                          <a:pt x="-2684" y="21331"/>
                          <a:pt x="283" y="36167"/>
                        </a:cubicBezTo>
                        <a:close/>
                      </a:path>
                    </a:pathLst>
                  </a:custGeom>
                  <a:solidFill>
                    <a:srgbClr val="D1615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" name="任意多边形: 形状 131">
                    <a:extLst>
                      <a:ext uri="{FF2B5EF4-FFF2-40B4-BE49-F238E27FC236}">
                        <a16:creationId xmlns:a16="http://schemas.microsoft.com/office/drawing/2014/main" id="{B109A482-6112-417F-8E40-E081D4EAF1AE}"/>
                      </a:ext>
                    </a:extLst>
                  </p:cNvPr>
                  <p:cNvSpPr/>
                  <p:nvPr/>
                </p:nvSpPr>
                <p:spPr>
                  <a:xfrm>
                    <a:off x="13897332" y="1967253"/>
                    <a:ext cx="110341" cy="81273"/>
                  </a:xfrm>
                  <a:custGeom>
                    <a:avLst/>
                    <a:gdLst>
                      <a:gd name="connsiteX0" fmla="*/ 21050 w 110341"/>
                      <a:gd name="connsiteY0" fmla="*/ 75340 h 81273"/>
                      <a:gd name="connsiteX1" fmla="*/ 281 w 110341"/>
                      <a:gd name="connsiteY1" fmla="*/ 48637 h 81273"/>
                      <a:gd name="connsiteX2" fmla="*/ 281 w 110341"/>
                      <a:gd name="connsiteY2" fmla="*/ 48637 h 81273"/>
                      <a:gd name="connsiteX3" fmla="*/ 50720 w 110341"/>
                      <a:gd name="connsiteY3" fmla="*/ 1164 h 81273"/>
                      <a:gd name="connsiteX4" fmla="*/ 89292 w 110341"/>
                      <a:gd name="connsiteY4" fmla="*/ 7098 h 81273"/>
                      <a:gd name="connsiteX5" fmla="*/ 110061 w 110341"/>
                      <a:gd name="connsiteY5" fmla="*/ 33801 h 81273"/>
                      <a:gd name="connsiteX6" fmla="*/ 59622 w 110341"/>
                      <a:gd name="connsiteY6" fmla="*/ 81274 h 81273"/>
                      <a:gd name="connsiteX7" fmla="*/ 50720 w 110341"/>
                      <a:gd name="connsiteY7" fmla="*/ 81274 h 81273"/>
                      <a:gd name="connsiteX8" fmla="*/ 21050 w 110341"/>
                      <a:gd name="connsiteY8" fmla="*/ 75340 h 81273"/>
                      <a:gd name="connsiteX9" fmla="*/ 50720 w 110341"/>
                      <a:gd name="connsiteY9" fmla="*/ 21933 h 81273"/>
                      <a:gd name="connsiteX10" fmla="*/ 18084 w 110341"/>
                      <a:gd name="connsiteY10" fmla="*/ 45669 h 81273"/>
                      <a:gd name="connsiteX11" fmla="*/ 29951 w 110341"/>
                      <a:gd name="connsiteY11" fmla="*/ 57538 h 81273"/>
                      <a:gd name="connsiteX12" fmla="*/ 56655 w 110341"/>
                      <a:gd name="connsiteY12" fmla="*/ 60505 h 81273"/>
                      <a:gd name="connsiteX13" fmla="*/ 89292 w 110341"/>
                      <a:gd name="connsiteY13" fmla="*/ 36768 h 81273"/>
                      <a:gd name="connsiteX14" fmla="*/ 77424 w 110341"/>
                      <a:gd name="connsiteY14" fmla="*/ 24900 h 81273"/>
                      <a:gd name="connsiteX15" fmla="*/ 56655 w 110341"/>
                      <a:gd name="connsiteY15" fmla="*/ 21933 h 81273"/>
                      <a:gd name="connsiteX16" fmla="*/ 50720 w 110341"/>
                      <a:gd name="connsiteY16" fmla="*/ 21933 h 81273"/>
                      <a:gd name="connsiteX17" fmla="*/ 9182 w 110341"/>
                      <a:gd name="connsiteY17" fmla="*/ 45669 h 81273"/>
                      <a:gd name="connsiteX18" fmla="*/ 9182 w 110341"/>
                      <a:gd name="connsiteY18" fmla="*/ 45669 h 81273"/>
                      <a:gd name="connsiteX19" fmla="*/ 9182 w 110341"/>
                      <a:gd name="connsiteY19" fmla="*/ 45669 h 812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10341" h="81273">
                        <a:moveTo>
                          <a:pt x="21050" y="75340"/>
                        </a:moveTo>
                        <a:cubicBezTo>
                          <a:pt x="9182" y="69406"/>
                          <a:pt x="281" y="60505"/>
                          <a:pt x="281" y="48637"/>
                        </a:cubicBezTo>
                        <a:lnTo>
                          <a:pt x="281" y="48637"/>
                        </a:lnTo>
                        <a:cubicBezTo>
                          <a:pt x="-2686" y="27867"/>
                          <a:pt x="18084" y="7098"/>
                          <a:pt x="50720" y="1164"/>
                        </a:cubicBezTo>
                        <a:cubicBezTo>
                          <a:pt x="65555" y="-1803"/>
                          <a:pt x="77424" y="1164"/>
                          <a:pt x="89292" y="7098"/>
                        </a:cubicBezTo>
                        <a:cubicBezTo>
                          <a:pt x="101160" y="13032"/>
                          <a:pt x="110061" y="21933"/>
                          <a:pt x="110061" y="33801"/>
                        </a:cubicBezTo>
                        <a:cubicBezTo>
                          <a:pt x="113028" y="54571"/>
                          <a:pt x="92259" y="75340"/>
                          <a:pt x="59622" y="81274"/>
                        </a:cubicBezTo>
                        <a:cubicBezTo>
                          <a:pt x="56655" y="81274"/>
                          <a:pt x="53687" y="81274"/>
                          <a:pt x="50720" y="81274"/>
                        </a:cubicBezTo>
                        <a:cubicBezTo>
                          <a:pt x="38852" y="81274"/>
                          <a:pt x="29951" y="78307"/>
                          <a:pt x="21050" y="75340"/>
                        </a:cubicBezTo>
                        <a:close/>
                        <a:moveTo>
                          <a:pt x="50720" y="21933"/>
                        </a:moveTo>
                        <a:cubicBezTo>
                          <a:pt x="29951" y="24900"/>
                          <a:pt x="15116" y="36768"/>
                          <a:pt x="18084" y="45669"/>
                        </a:cubicBezTo>
                        <a:cubicBezTo>
                          <a:pt x="18084" y="51604"/>
                          <a:pt x="24017" y="54571"/>
                          <a:pt x="29951" y="57538"/>
                        </a:cubicBezTo>
                        <a:cubicBezTo>
                          <a:pt x="38852" y="60505"/>
                          <a:pt x="47754" y="63472"/>
                          <a:pt x="56655" y="60505"/>
                        </a:cubicBezTo>
                        <a:cubicBezTo>
                          <a:pt x="77424" y="57538"/>
                          <a:pt x="92259" y="45669"/>
                          <a:pt x="89292" y="36768"/>
                        </a:cubicBezTo>
                        <a:cubicBezTo>
                          <a:pt x="89292" y="30834"/>
                          <a:pt x="83358" y="27867"/>
                          <a:pt x="77424" y="24900"/>
                        </a:cubicBezTo>
                        <a:cubicBezTo>
                          <a:pt x="71490" y="21933"/>
                          <a:pt x="65555" y="21933"/>
                          <a:pt x="56655" y="21933"/>
                        </a:cubicBezTo>
                        <a:cubicBezTo>
                          <a:pt x="56655" y="18966"/>
                          <a:pt x="53687" y="21933"/>
                          <a:pt x="50720" y="21933"/>
                        </a:cubicBezTo>
                        <a:close/>
                        <a:moveTo>
                          <a:pt x="9182" y="45669"/>
                        </a:moveTo>
                        <a:lnTo>
                          <a:pt x="9182" y="45669"/>
                        </a:lnTo>
                        <a:lnTo>
                          <a:pt x="9182" y="45669"/>
                        </a:lnTo>
                        <a:close/>
                      </a:path>
                    </a:pathLst>
                  </a:custGeom>
                  <a:solidFill>
                    <a:srgbClr val="708686"/>
                  </a:solidFill>
                  <a:ln w="2966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</p:grpSp>
        <p:grpSp>
          <p:nvGrpSpPr>
            <p:cNvPr id="111" name="图形 1">
              <a:extLst>
                <a:ext uri="{FF2B5EF4-FFF2-40B4-BE49-F238E27FC236}">
                  <a16:creationId xmlns:a16="http://schemas.microsoft.com/office/drawing/2014/main" id="{9C0A367B-AEC9-4E8B-A328-42673C568EEE}"/>
                </a:ext>
              </a:extLst>
            </p:cNvPr>
            <p:cNvGrpSpPr/>
            <p:nvPr/>
          </p:nvGrpSpPr>
          <p:grpSpPr>
            <a:xfrm>
              <a:off x="14928588" y="2211360"/>
              <a:ext cx="595430" cy="368264"/>
              <a:chOff x="14928588" y="2211360"/>
              <a:chExt cx="595430" cy="368264"/>
            </a:xfrm>
          </p:grpSpPr>
          <p:grpSp>
            <p:nvGrpSpPr>
              <p:cNvPr id="113" name="图形 1">
                <a:extLst>
                  <a:ext uri="{FF2B5EF4-FFF2-40B4-BE49-F238E27FC236}">
                    <a16:creationId xmlns:a16="http://schemas.microsoft.com/office/drawing/2014/main" id="{BB83EE5F-D71A-4E3F-A2C9-0C5892DA2C33}"/>
                  </a:ext>
                </a:extLst>
              </p:cNvPr>
              <p:cNvGrpSpPr/>
              <p:nvPr/>
            </p:nvGrpSpPr>
            <p:grpSpPr>
              <a:xfrm>
                <a:off x="14928588" y="2211360"/>
                <a:ext cx="590149" cy="368264"/>
                <a:chOff x="14928588" y="2211360"/>
                <a:chExt cx="590149" cy="368264"/>
              </a:xfrm>
            </p:grpSpPr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C7B5A474-B220-4DC0-82D3-1A86F0223F62}"/>
                    </a:ext>
                  </a:extLst>
                </p:cNvPr>
                <p:cNvSpPr/>
                <p:nvPr/>
              </p:nvSpPr>
              <p:spPr>
                <a:xfrm>
                  <a:off x="14928588" y="2211360"/>
                  <a:ext cx="479271" cy="368264"/>
                </a:xfrm>
                <a:custGeom>
                  <a:avLst/>
                  <a:gdLst>
                    <a:gd name="connsiteX0" fmla="*/ 96498 w 479271"/>
                    <a:gd name="connsiteY0" fmla="*/ 211012 h 368264"/>
                    <a:gd name="connsiteX1" fmla="*/ 60893 w 479271"/>
                    <a:gd name="connsiteY1" fmla="*/ 368265 h 368264"/>
                    <a:gd name="connsiteX2" fmla="*/ 34190 w 479271"/>
                    <a:gd name="connsiteY2" fmla="*/ 359364 h 368264"/>
                    <a:gd name="connsiteX3" fmla="*/ 123201 w 479271"/>
                    <a:gd name="connsiteY3" fmla="*/ 35957 h 368264"/>
                    <a:gd name="connsiteX4" fmla="*/ 479245 w 479271"/>
                    <a:gd name="connsiteY4" fmla="*/ 130902 h 368264"/>
                    <a:gd name="connsiteX5" fmla="*/ 96498 w 479271"/>
                    <a:gd name="connsiteY5" fmla="*/ 211012 h 368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9271" h="368264">
                      <a:moveTo>
                        <a:pt x="96498" y="211012"/>
                      </a:moveTo>
                      <a:cubicBezTo>
                        <a:pt x="81662" y="225847"/>
                        <a:pt x="63860" y="302990"/>
                        <a:pt x="60893" y="368265"/>
                      </a:cubicBezTo>
                      <a:cubicBezTo>
                        <a:pt x="60893" y="368265"/>
                        <a:pt x="46058" y="365298"/>
                        <a:pt x="34190" y="359364"/>
                      </a:cubicBezTo>
                      <a:cubicBezTo>
                        <a:pt x="-1415" y="297056"/>
                        <a:pt x="-48887" y="136836"/>
                        <a:pt x="123201" y="35957"/>
                      </a:cubicBezTo>
                      <a:cubicBezTo>
                        <a:pt x="271552" y="-50087"/>
                        <a:pt x="416937" y="32990"/>
                        <a:pt x="479245" y="130902"/>
                      </a:cubicBezTo>
                      <a:cubicBezTo>
                        <a:pt x="482212" y="133869"/>
                        <a:pt x="241882" y="65627"/>
                        <a:pt x="96498" y="21101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E34EE791-7E69-49BA-A422-C718BB2086EB}"/>
                    </a:ext>
                  </a:extLst>
                </p:cNvPr>
                <p:cNvSpPr/>
                <p:nvPr/>
              </p:nvSpPr>
              <p:spPr>
                <a:xfrm>
                  <a:off x="15010251" y="2248924"/>
                  <a:ext cx="508486" cy="247624"/>
                </a:xfrm>
                <a:custGeom>
                  <a:avLst/>
                  <a:gdLst>
                    <a:gd name="connsiteX0" fmla="*/ 0 w 508486"/>
                    <a:gd name="connsiteY0" fmla="*/ 188284 h 247624"/>
                    <a:gd name="connsiteX1" fmla="*/ 195824 w 508486"/>
                    <a:gd name="connsiteY1" fmla="*/ 42899 h 247624"/>
                    <a:gd name="connsiteX2" fmla="*/ 504396 w 508486"/>
                    <a:gd name="connsiteY2" fmla="*/ 63668 h 247624"/>
                    <a:gd name="connsiteX3" fmla="*/ 418352 w 508486"/>
                    <a:gd name="connsiteY3" fmla="*/ 247624 h 247624"/>
                    <a:gd name="connsiteX4" fmla="*/ 0 w 508486"/>
                    <a:gd name="connsiteY4" fmla="*/ 188284 h 2476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8486" h="247624">
                      <a:moveTo>
                        <a:pt x="0" y="188284"/>
                      </a:moveTo>
                      <a:cubicBezTo>
                        <a:pt x="0" y="188284"/>
                        <a:pt x="56373" y="108174"/>
                        <a:pt x="195824" y="42899"/>
                      </a:cubicBezTo>
                      <a:cubicBezTo>
                        <a:pt x="341209" y="-25343"/>
                        <a:pt x="477693" y="-7541"/>
                        <a:pt x="504396" y="63668"/>
                      </a:cubicBezTo>
                      <a:cubicBezTo>
                        <a:pt x="531099" y="134877"/>
                        <a:pt x="418352" y="247624"/>
                        <a:pt x="418352" y="247624"/>
                      </a:cubicBezTo>
                      <a:cubicBezTo>
                        <a:pt x="418352" y="247624"/>
                        <a:pt x="258131" y="81470"/>
                        <a:pt x="0" y="188284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99CCEE32-2129-4DCA-BC7F-2CC4D52DF1BE}"/>
                    </a:ext>
                  </a:extLst>
                </p:cNvPr>
                <p:cNvSpPr/>
                <p:nvPr/>
              </p:nvSpPr>
              <p:spPr>
                <a:xfrm>
                  <a:off x="15022119" y="2211713"/>
                  <a:ext cx="56373" cy="53406"/>
                </a:xfrm>
                <a:custGeom>
                  <a:avLst/>
                  <a:gdLst>
                    <a:gd name="connsiteX0" fmla="*/ 0 w 56373"/>
                    <a:gd name="connsiteY0" fmla="*/ 26703 h 53406"/>
                    <a:gd name="connsiteX1" fmla="*/ 29670 w 56373"/>
                    <a:gd name="connsiteY1" fmla="*/ 0 h 53406"/>
                    <a:gd name="connsiteX2" fmla="*/ 56373 w 56373"/>
                    <a:gd name="connsiteY2" fmla="*/ 26703 h 53406"/>
                    <a:gd name="connsiteX3" fmla="*/ 26703 w 56373"/>
                    <a:gd name="connsiteY3" fmla="*/ 53407 h 53406"/>
                    <a:gd name="connsiteX4" fmla="*/ 0 w 56373"/>
                    <a:gd name="connsiteY4" fmla="*/ 26703 h 5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373" h="53406">
                      <a:moveTo>
                        <a:pt x="0" y="26703"/>
                      </a:moveTo>
                      <a:cubicBezTo>
                        <a:pt x="0" y="11868"/>
                        <a:pt x="11868" y="0"/>
                        <a:pt x="29670" y="0"/>
                      </a:cubicBezTo>
                      <a:cubicBezTo>
                        <a:pt x="44505" y="0"/>
                        <a:pt x="56373" y="11868"/>
                        <a:pt x="56373" y="26703"/>
                      </a:cubicBezTo>
                      <a:cubicBezTo>
                        <a:pt x="56373" y="41538"/>
                        <a:pt x="44505" y="53407"/>
                        <a:pt x="26703" y="53407"/>
                      </a:cubicBezTo>
                      <a:cubicBezTo>
                        <a:pt x="11868" y="53407"/>
                        <a:pt x="0" y="41538"/>
                        <a:pt x="0" y="26703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6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0F916FB2-08F6-4287-8296-24819987A1C1}"/>
                  </a:ext>
                </a:extLst>
              </p:cNvPr>
              <p:cNvSpPr/>
              <p:nvPr/>
            </p:nvSpPr>
            <p:spPr>
              <a:xfrm>
                <a:off x="15008025" y="2238625"/>
                <a:ext cx="515993" cy="260890"/>
              </a:xfrm>
              <a:custGeom>
                <a:avLst/>
                <a:gdLst>
                  <a:gd name="connsiteX0" fmla="*/ 420577 w 515993"/>
                  <a:gd name="connsiteY0" fmla="*/ 260891 h 260890"/>
                  <a:gd name="connsiteX1" fmla="*/ 417610 w 515993"/>
                  <a:gd name="connsiteY1" fmla="*/ 260891 h 260890"/>
                  <a:gd name="connsiteX2" fmla="*/ 417610 w 515993"/>
                  <a:gd name="connsiteY2" fmla="*/ 251990 h 260890"/>
                  <a:gd name="connsiteX3" fmla="*/ 503654 w 515993"/>
                  <a:gd name="connsiteY3" fmla="*/ 73968 h 260890"/>
                  <a:gd name="connsiteX4" fmla="*/ 331566 w 515993"/>
                  <a:gd name="connsiteY4" fmla="*/ 20561 h 260890"/>
                  <a:gd name="connsiteX5" fmla="*/ 11126 w 515993"/>
                  <a:gd name="connsiteY5" fmla="*/ 198583 h 260890"/>
                  <a:gd name="connsiteX6" fmla="*/ 2225 w 515993"/>
                  <a:gd name="connsiteY6" fmla="*/ 198583 h 260890"/>
                  <a:gd name="connsiteX7" fmla="*/ 2225 w 515993"/>
                  <a:gd name="connsiteY7" fmla="*/ 189682 h 260890"/>
                  <a:gd name="connsiteX8" fmla="*/ 328599 w 515993"/>
                  <a:gd name="connsiteY8" fmla="*/ 5726 h 260890"/>
                  <a:gd name="connsiteX9" fmla="*/ 512555 w 515993"/>
                  <a:gd name="connsiteY9" fmla="*/ 65066 h 260890"/>
                  <a:gd name="connsiteX10" fmla="*/ 426511 w 515993"/>
                  <a:gd name="connsiteY10" fmla="*/ 254957 h 260890"/>
                  <a:gd name="connsiteX11" fmla="*/ 420577 w 515993"/>
                  <a:gd name="connsiteY11" fmla="*/ 260891 h 260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15993" h="260890">
                    <a:moveTo>
                      <a:pt x="420577" y="260891"/>
                    </a:moveTo>
                    <a:cubicBezTo>
                      <a:pt x="420577" y="260891"/>
                      <a:pt x="417610" y="260891"/>
                      <a:pt x="417610" y="260891"/>
                    </a:cubicBezTo>
                    <a:cubicBezTo>
                      <a:pt x="414643" y="257924"/>
                      <a:pt x="414643" y="254957"/>
                      <a:pt x="417610" y="251990"/>
                    </a:cubicBezTo>
                    <a:cubicBezTo>
                      <a:pt x="417610" y="251990"/>
                      <a:pt x="524423" y="130341"/>
                      <a:pt x="503654" y="73968"/>
                    </a:cubicBezTo>
                    <a:cubicBezTo>
                      <a:pt x="476951" y="5726"/>
                      <a:pt x="376072" y="14627"/>
                      <a:pt x="331566" y="20561"/>
                    </a:cubicBezTo>
                    <a:cubicBezTo>
                      <a:pt x="242555" y="35396"/>
                      <a:pt x="114972" y="68033"/>
                      <a:pt x="11126" y="198583"/>
                    </a:cubicBezTo>
                    <a:cubicBezTo>
                      <a:pt x="8159" y="201550"/>
                      <a:pt x="5193" y="201550"/>
                      <a:pt x="2225" y="198583"/>
                    </a:cubicBezTo>
                    <a:cubicBezTo>
                      <a:pt x="-742" y="195616"/>
                      <a:pt x="-742" y="192649"/>
                      <a:pt x="2225" y="189682"/>
                    </a:cubicBezTo>
                    <a:cubicBezTo>
                      <a:pt x="109039" y="56165"/>
                      <a:pt x="239588" y="20561"/>
                      <a:pt x="328599" y="5726"/>
                    </a:cubicBezTo>
                    <a:cubicBezTo>
                      <a:pt x="373105" y="-3175"/>
                      <a:pt x="482884" y="-12076"/>
                      <a:pt x="512555" y="65066"/>
                    </a:cubicBezTo>
                    <a:cubicBezTo>
                      <a:pt x="536291" y="127374"/>
                      <a:pt x="429478" y="249023"/>
                      <a:pt x="426511" y="254957"/>
                    </a:cubicBezTo>
                    <a:cubicBezTo>
                      <a:pt x="423544" y="260891"/>
                      <a:pt x="420577" y="260891"/>
                      <a:pt x="420577" y="260891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6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306A6C02-25DA-4613-8312-E479D692C95C}"/>
                </a:ext>
              </a:extLst>
            </p:cNvPr>
            <p:cNvSpPr/>
            <p:nvPr/>
          </p:nvSpPr>
          <p:spPr>
            <a:xfrm>
              <a:off x="14940986" y="2573506"/>
              <a:ext cx="76516" cy="107539"/>
            </a:xfrm>
            <a:custGeom>
              <a:avLst/>
              <a:gdLst>
                <a:gd name="connsiteX0" fmla="*/ 63330 w 76516"/>
                <a:gd name="connsiteY0" fmla="*/ 15021 h 107539"/>
                <a:gd name="connsiteX1" fmla="*/ 6956 w 76516"/>
                <a:gd name="connsiteY1" fmla="*/ 6119 h 107539"/>
                <a:gd name="connsiteX2" fmla="*/ 63330 w 76516"/>
                <a:gd name="connsiteY2" fmla="*/ 104032 h 107539"/>
                <a:gd name="connsiteX3" fmla="*/ 63330 w 76516"/>
                <a:gd name="connsiteY3" fmla="*/ 15021 h 10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516" h="107539">
                  <a:moveTo>
                    <a:pt x="63330" y="15021"/>
                  </a:moveTo>
                  <a:cubicBezTo>
                    <a:pt x="63330" y="15021"/>
                    <a:pt x="30692" y="-11683"/>
                    <a:pt x="6956" y="6119"/>
                  </a:cubicBezTo>
                  <a:cubicBezTo>
                    <a:pt x="-16779" y="23922"/>
                    <a:pt x="24759" y="127768"/>
                    <a:pt x="63330" y="104032"/>
                  </a:cubicBezTo>
                  <a:cubicBezTo>
                    <a:pt x="93000" y="86229"/>
                    <a:pt x="63330" y="15021"/>
                    <a:pt x="63330" y="15021"/>
                  </a:cubicBezTo>
                  <a:close/>
                </a:path>
              </a:pathLst>
            </a:custGeom>
            <a:solidFill>
              <a:srgbClr val="F49F84"/>
            </a:solidFill>
            <a:ln w="296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4660978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892">
            <a:extLst>
              <a:ext uri="{FF2B5EF4-FFF2-40B4-BE49-F238E27FC236}">
                <a16:creationId xmlns:a16="http://schemas.microsoft.com/office/drawing/2014/main" id="{7F8D5E6C-FB52-453A-9E11-0A8D8EC50620}"/>
              </a:ext>
            </a:extLst>
          </p:cNvPr>
          <p:cNvGrpSpPr/>
          <p:nvPr/>
        </p:nvGrpSpPr>
        <p:grpSpPr>
          <a:xfrm>
            <a:off x="1655150" y="2177460"/>
            <a:ext cx="8881699" cy="4680540"/>
            <a:chOff x="2447925" y="7848938"/>
            <a:chExt cx="8881699" cy="4680540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23B4AD1E-C0D8-4E52-A18B-CC08F2E68024}"/>
                </a:ext>
              </a:extLst>
            </p:cNvPr>
            <p:cNvSpPr/>
            <p:nvPr/>
          </p:nvSpPr>
          <p:spPr>
            <a:xfrm>
              <a:off x="6186621" y="7848938"/>
              <a:ext cx="685326" cy="803947"/>
            </a:xfrm>
            <a:custGeom>
              <a:avLst/>
              <a:gdLst>
                <a:gd name="connsiteX0" fmla="*/ 685326 w 685326"/>
                <a:gd name="connsiteY0" fmla="*/ 176971 h 803947"/>
                <a:gd name="connsiteX1" fmla="*/ 348782 w 685326"/>
                <a:gd name="connsiteY1" fmla="*/ 2580 h 803947"/>
                <a:gd name="connsiteX2" fmla="*/ 100963 w 685326"/>
                <a:gd name="connsiteY2" fmla="*/ 427849 h 803947"/>
                <a:gd name="connsiteX3" fmla="*/ 0 w 685326"/>
                <a:gd name="connsiteY3" fmla="*/ 724620 h 803947"/>
                <a:gd name="connsiteX4" fmla="*/ 330425 w 685326"/>
                <a:gd name="connsiteY4" fmla="*/ 721560 h 803947"/>
                <a:gd name="connsiteX5" fmla="*/ 532352 w 685326"/>
                <a:gd name="connsiteY5" fmla="*/ 235102 h 803947"/>
                <a:gd name="connsiteX6" fmla="*/ 685326 w 685326"/>
                <a:gd name="connsiteY6" fmla="*/ 176971 h 803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5326" h="803947">
                  <a:moveTo>
                    <a:pt x="685326" y="176971"/>
                  </a:moveTo>
                  <a:cubicBezTo>
                    <a:pt x="685326" y="176971"/>
                    <a:pt x="651672" y="-24955"/>
                    <a:pt x="348782" y="2580"/>
                  </a:cubicBezTo>
                  <a:cubicBezTo>
                    <a:pt x="162153" y="17878"/>
                    <a:pt x="70368" y="296291"/>
                    <a:pt x="100963" y="427849"/>
                  </a:cubicBezTo>
                  <a:cubicBezTo>
                    <a:pt x="131558" y="559407"/>
                    <a:pt x="110142" y="672608"/>
                    <a:pt x="0" y="724620"/>
                  </a:cubicBezTo>
                  <a:cubicBezTo>
                    <a:pt x="0" y="724620"/>
                    <a:pt x="217224" y="905130"/>
                    <a:pt x="330425" y="721560"/>
                  </a:cubicBezTo>
                  <a:cubicBezTo>
                    <a:pt x="376317" y="645073"/>
                    <a:pt x="391615" y="274875"/>
                    <a:pt x="532352" y="235102"/>
                  </a:cubicBezTo>
                  <a:cubicBezTo>
                    <a:pt x="596601" y="216745"/>
                    <a:pt x="685326" y="176971"/>
                    <a:pt x="685326" y="176971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6837F68E-8B50-4C0A-B0AE-8E2F6C3FB4E2}"/>
                </a:ext>
              </a:extLst>
            </p:cNvPr>
            <p:cNvSpPr/>
            <p:nvPr/>
          </p:nvSpPr>
          <p:spPr>
            <a:xfrm>
              <a:off x="6180502" y="8410138"/>
              <a:ext cx="200134" cy="169539"/>
            </a:xfrm>
            <a:custGeom>
              <a:avLst/>
              <a:gdLst>
                <a:gd name="connsiteX0" fmla="*/ 15297 w 200134"/>
                <a:gd name="connsiteY0" fmla="*/ 169539 h 169539"/>
                <a:gd name="connsiteX1" fmla="*/ 6119 w 200134"/>
                <a:gd name="connsiteY1" fmla="*/ 169539 h 169539"/>
                <a:gd name="connsiteX2" fmla="*/ 0 w 200134"/>
                <a:gd name="connsiteY2" fmla="*/ 163420 h 169539"/>
                <a:gd name="connsiteX3" fmla="*/ 6119 w 200134"/>
                <a:gd name="connsiteY3" fmla="*/ 157301 h 169539"/>
                <a:gd name="connsiteX4" fmla="*/ 189688 w 200134"/>
                <a:gd name="connsiteY4" fmla="*/ 4327 h 169539"/>
                <a:gd name="connsiteX5" fmla="*/ 195807 w 200134"/>
                <a:gd name="connsiteY5" fmla="*/ 1267 h 169539"/>
                <a:gd name="connsiteX6" fmla="*/ 198867 w 200134"/>
                <a:gd name="connsiteY6" fmla="*/ 7386 h 169539"/>
                <a:gd name="connsiteX7" fmla="*/ 15297 w 200134"/>
                <a:gd name="connsiteY7" fmla="*/ 169539 h 169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134" h="169539">
                  <a:moveTo>
                    <a:pt x="15297" y="169539"/>
                  </a:moveTo>
                  <a:cubicBezTo>
                    <a:pt x="9179" y="169539"/>
                    <a:pt x="6119" y="169539"/>
                    <a:pt x="6119" y="169539"/>
                  </a:cubicBezTo>
                  <a:cubicBezTo>
                    <a:pt x="3059" y="169539"/>
                    <a:pt x="0" y="166480"/>
                    <a:pt x="0" y="163420"/>
                  </a:cubicBezTo>
                  <a:cubicBezTo>
                    <a:pt x="0" y="160361"/>
                    <a:pt x="3059" y="157301"/>
                    <a:pt x="6119" y="157301"/>
                  </a:cubicBezTo>
                  <a:cubicBezTo>
                    <a:pt x="12238" y="157301"/>
                    <a:pt x="140737" y="169539"/>
                    <a:pt x="189688" y="4327"/>
                  </a:cubicBezTo>
                  <a:cubicBezTo>
                    <a:pt x="189688" y="1267"/>
                    <a:pt x="192748" y="-1792"/>
                    <a:pt x="195807" y="1267"/>
                  </a:cubicBezTo>
                  <a:cubicBezTo>
                    <a:pt x="198867" y="1267"/>
                    <a:pt x="201927" y="4327"/>
                    <a:pt x="198867" y="7386"/>
                  </a:cubicBezTo>
                  <a:cubicBezTo>
                    <a:pt x="159093" y="157301"/>
                    <a:pt x="45892" y="169539"/>
                    <a:pt x="15297" y="169539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2B49E0E2-1E64-45BE-8C62-20DE532C26E0}"/>
                </a:ext>
              </a:extLst>
            </p:cNvPr>
            <p:cNvSpPr/>
            <p:nvPr/>
          </p:nvSpPr>
          <p:spPr>
            <a:xfrm>
              <a:off x="6716074" y="8009332"/>
              <a:ext cx="232394" cy="149690"/>
            </a:xfrm>
            <a:custGeom>
              <a:avLst/>
              <a:gdLst>
                <a:gd name="connsiteX0" fmla="*/ 232361 w 232394"/>
                <a:gd name="connsiteY0" fmla="*/ 68589 h 149690"/>
                <a:gd name="connsiteX1" fmla="*/ 113040 w 232394"/>
                <a:gd name="connsiteY1" fmla="*/ 1280 h 149690"/>
                <a:gd name="connsiteX2" fmla="*/ 5958 w 232394"/>
                <a:gd name="connsiteY2" fmla="*/ 123660 h 149690"/>
                <a:gd name="connsiteX3" fmla="*/ 232361 w 232394"/>
                <a:gd name="connsiteY3" fmla="*/ 68589 h 149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394" h="149690">
                  <a:moveTo>
                    <a:pt x="232361" y="68589"/>
                  </a:moveTo>
                  <a:cubicBezTo>
                    <a:pt x="232361" y="68589"/>
                    <a:pt x="207885" y="-10958"/>
                    <a:pt x="113040" y="1280"/>
                  </a:cubicBezTo>
                  <a:cubicBezTo>
                    <a:pt x="51851" y="10459"/>
                    <a:pt x="-21577" y="56351"/>
                    <a:pt x="5958" y="123660"/>
                  </a:cubicBezTo>
                  <a:cubicBezTo>
                    <a:pt x="30434" y="190968"/>
                    <a:pt x="235420" y="111422"/>
                    <a:pt x="232361" y="68589"/>
                  </a:cubicBezTo>
                  <a:close/>
                </a:path>
              </a:pathLst>
            </a:custGeom>
            <a:solidFill>
              <a:srgbClr val="F1DDBA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8A4ACE09-6F59-4002-A9AF-979DF8A7393A}"/>
                </a:ext>
              </a:extLst>
            </p:cNvPr>
            <p:cNvSpPr/>
            <p:nvPr/>
          </p:nvSpPr>
          <p:spPr>
            <a:xfrm>
              <a:off x="7151440" y="8917009"/>
              <a:ext cx="240700" cy="739294"/>
            </a:xfrm>
            <a:custGeom>
              <a:avLst/>
              <a:gdLst>
                <a:gd name="connsiteX0" fmla="*/ 35634 w 240700"/>
                <a:gd name="connsiteY0" fmla="*/ 299042 h 739294"/>
                <a:gd name="connsiteX1" fmla="*/ 32575 w 240700"/>
                <a:gd name="connsiteY1" fmla="*/ 5331 h 739294"/>
                <a:gd name="connsiteX2" fmla="*/ 222264 w 240700"/>
                <a:gd name="connsiteY2" fmla="*/ 234793 h 739294"/>
                <a:gd name="connsiteX3" fmla="*/ 240621 w 240700"/>
                <a:gd name="connsiteY3" fmla="*/ 614170 h 739294"/>
                <a:gd name="connsiteX4" fmla="*/ 75408 w 240700"/>
                <a:gd name="connsiteY4" fmla="*/ 696776 h 739294"/>
                <a:gd name="connsiteX5" fmla="*/ 35634 w 240700"/>
                <a:gd name="connsiteY5" fmla="*/ 299042 h 73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0700" h="739294">
                  <a:moveTo>
                    <a:pt x="35634" y="299042"/>
                  </a:moveTo>
                  <a:cubicBezTo>
                    <a:pt x="38694" y="115473"/>
                    <a:pt x="-43912" y="32866"/>
                    <a:pt x="32575" y="5331"/>
                  </a:cubicBezTo>
                  <a:cubicBezTo>
                    <a:pt x="118241" y="-28323"/>
                    <a:pt x="200847" y="103235"/>
                    <a:pt x="222264" y="234793"/>
                  </a:cubicBezTo>
                  <a:cubicBezTo>
                    <a:pt x="237561" y="335756"/>
                    <a:pt x="240621" y="614170"/>
                    <a:pt x="240621" y="614170"/>
                  </a:cubicBezTo>
                  <a:cubicBezTo>
                    <a:pt x="243680" y="718192"/>
                    <a:pt x="158014" y="788561"/>
                    <a:pt x="75408" y="696776"/>
                  </a:cubicBezTo>
                  <a:cubicBezTo>
                    <a:pt x="-4139" y="608051"/>
                    <a:pt x="35634" y="485671"/>
                    <a:pt x="35634" y="299042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4754941B-406C-4F87-AF4F-024ABC802700}"/>
                </a:ext>
              </a:extLst>
            </p:cNvPr>
            <p:cNvSpPr/>
            <p:nvPr/>
          </p:nvSpPr>
          <p:spPr>
            <a:xfrm>
              <a:off x="7063403" y="8802122"/>
              <a:ext cx="386788" cy="435510"/>
            </a:xfrm>
            <a:custGeom>
              <a:avLst/>
              <a:gdLst>
                <a:gd name="connsiteX0" fmla="*/ 28828 w 386788"/>
                <a:gd name="connsiteY0" fmla="*/ 435345 h 435510"/>
                <a:gd name="connsiteX1" fmla="*/ 68601 w 386788"/>
                <a:gd name="connsiteY1" fmla="*/ 7017 h 435510"/>
                <a:gd name="connsiteX2" fmla="*/ 386788 w 386788"/>
                <a:gd name="connsiteY2" fmla="*/ 346620 h 435510"/>
                <a:gd name="connsiteX3" fmla="*/ 28828 w 386788"/>
                <a:gd name="connsiteY3" fmla="*/ 435345 h 43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6788" h="435510">
                  <a:moveTo>
                    <a:pt x="28828" y="435345"/>
                  </a:moveTo>
                  <a:cubicBezTo>
                    <a:pt x="-23183" y="257895"/>
                    <a:pt x="-1767" y="43730"/>
                    <a:pt x="68601" y="7017"/>
                  </a:cubicBezTo>
                  <a:cubicBezTo>
                    <a:pt x="160386" y="-41935"/>
                    <a:pt x="340896" y="175289"/>
                    <a:pt x="386788" y="346620"/>
                  </a:cubicBezTo>
                  <a:cubicBezTo>
                    <a:pt x="328658" y="398632"/>
                    <a:pt x="129791" y="438405"/>
                    <a:pt x="28828" y="435345"/>
                  </a:cubicBezTo>
                  <a:close/>
                </a:path>
              </a:pathLst>
            </a:custGeom>
            <a:solidFill>
              <a:srgbClr val="F6EBE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" name="图形 892">
              <a:extLst>
                <a:ext uri="{FF2B5EF4-FFF2-40B4-BE49-F238E27FC236}">
                  <a16:creationId xmlns:a16="http://schemas.microsoft.com/office/drawing/2014/main" id="{6278B59C-4FEA-4219-828A-466A71DF8383}"/>
                </a:ext>
              </a:extLst>
            </p:cNvPr>
            <p:cNvGrpSpPr/>
            <p:nvPr/>
          </p:nvGrpSpPr>
          <p:grpSpPr>
            <a:xfrm>
              <a:off x="7333930" y="12137864"/>
              <a:ext cx="380141" cy="390564"/>
              <a:chOff x="7333930" y="12137864"/>
              <a:chExt cx="380141" cy="390564"/>
            </a:xfrm>
          </p:grpSpPr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B6B25F75-30CE-4BED-88C0-D8B810461962}"/>
                  </a:ext>
                </a:extLst>
              </p:cNvPr>
              <p:cNvSpPr/>
              <p:nvPr/>
            </p:nvSpPr>
            <p:spPr>
              <a:xfrm>
                <a:off x="7348245" y="12266362"/>
                <a:ext cx="365826" cy="262066"/>
              </a:xfrm>
              <a:custGeom>
                <a:avLst/>
                <a:gdLst>
                  <a:gd name="connsiteX0" fmla="*/ 138659 w 365826"/>
                  <a:gd name="connsiteY0" fmla="*/ 0 h 262066"/>
                  <a:gd name="connsiteX1" fmla="*/ 257979 w 365826"/>
                  <a:gd name="connsiteY1" fmla="*/ 165213 h 262066"/>
                  <a:gd name="connsiteX2" fmla="*/ 40755 w 365826"/>
                  <a:gd name="connsiteY2" fmla="*/ 36714 h 262066"/>
                  <a:gd name="connsiteX3" fmla="*/ 19339 w 365826"/>
                  <a:gd name="connsiteY3" fmla="*/ 21417 h 262066"/>
                  <a:gd name="connsiteX4" fmla="*/ 982 w 365826"/>
                  <a:gd name="connsiteY4" fmla="*/ 97904 h 262066"/>
                  <a:gd name="connsiteX5" fmla="*/ 13220 w 365826"/>
                  <a:gd name="connsiteY5" fmla="*/ 235581 h 262066"/>
                  <a:gd name="connsiteX6" fmla="*/ 40755 w 365826"/>
                  <a:gd name="connsiteY6" fmla="*/ 235581 h 262066"/>
                  <a:gd name="connsiteX7" fmla="*/ 56053 w 365826"/>
                  <a:gd name="connsiteY7" fmla="*/ 125439 h 262066"/>
                  <a:gd name="connsiteX8" fmla="*/ 199849 w 365826"/>
                  <a:gd name="connsiteY8" fmla="*/ 256998 h 262066"/>
                  <a:gd name="connsiteX9" fmla="*/ 358942 w 365826"/>
                  <a:gd name="connsiteY9" fmla="*/ 260057 h 262066"/>
                  <a:gd name="connsiteX10" fmla="*/ 358942 w 365826"/>
                  <a:gd name="connsiteY10" fmla="*/ 214164 h 262066"/>
                  <a:gd name="connsiteX11" fmla="*/ 138659 w 365826"/>
                  <a:gd name="connsiteY11" fmla="*/ 0 h 262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5826" h="262066">
                    <a:moveTo>
                      <a:pt x="138659" y="0"/>
                    </a:moveTo>
                    <a:cubicBezTo>
                      <a:pt x="138659" y="0"/>
                      <a:pt x="273277" y="156034"/>
                      <a:pt x="257979" y="165213"/>
                    </a:cubicBezTo>
                    <a:cubicBezTo>
                      <a:pt x="239622" y="174391"/>
                      <a:pt x="40755" y="36714"/>
                      <a:pt x="40755" y="36714"/>
                    </a:cubicBezTo>
                    <a:lnTo>
                      <a:pt x="19339" y="21417"/>
                    </a:lnTo>
                    <a:cubicBezTo>
                      <a:pt x="19339" y="21417"/>
                      <a:pt x="-5137" y="70369"/>
                      <a:pt x="982" y="97904"/>
                    </a:cubicBezTo>
                    <a:cubicBezTo>
                      <a:pt x="7101" y="125439"/>
                      <a:pt x="13220" y="235581"/>
                      <a:pt x="13220" y="235581"/>
                    </a:cubicBezTo>
                    <a:lnTo>
                      <a:pt x="40755" y="235581"/>
                    </a:lnTo>
                    <a:lnTo>
                      <a:pt x="56053" y="125439"/>
                    </a:lnTo>
                    <a:cubicBezTo>
                      <a:pt x="56053" y="125439"/>
                      <a:pt x="178433" y="253938"/>
                      <a:pt x="199849" y="256998"/>
                    </a:cubicBezTo>
                    <a:cubicBezTo>
                      <a:pt x="221265" y="263116"/>
                      <a:pt x="346705" y="263116"/>
                      <a:pt x="358942" y="260057"/>
                    </a:cubicBezTo>
                    <a:cubicBezTo>
                      <a:pt x="368121" y="260057"/>
                      <a:pt x="368121" y="220284"/>
                      <a:pt x="358942" y="214164"/>
                    </a:cubicBezTo>
                    <a:cubicBezTo>
                      <a:pt x="279396" y="171332"/>
                      <a:pt x="138659" y="0"/>
                      <a:pt x="138659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20E4CC99-DB87-4580-899C-71B7EC770DF5}"/>
                  </a:ext>
                </a:extLst>
              </p:cNvPr>
              <p:cNvSpPr/>
              <p:nvPr/>
            </p:nvSpPr>
            <p:spPr>
              <a:xfrm>
                <a:off x="7333930" y="12137864"/>
                <a:ext cx="274512" cy="295459"/>
              </a:xfrm>
              <a:custGeom>
                <a:avLst/>
                <a:gdLst>
                  <a:gd name="connsiteX0" fmla="*/ 104023 w 274512"/>
                  <a:gd name="connsiteY0" fmla="*/ 0 h 295459"/>
                  <a:gd name="connsiteX1" fmla="*/ 152975 w 274512"/>
                  <a:gd name="connsiteY1" fmla="*/ 128498 h 295459"/>
                  <a:gd name="connsiteX2" fmla="*/ 272295 w 274512"/>
                  <a:gd name="connsiteY2" fmla="*/ 293711 h 295459"/>
                  <a:gd name="connsiteX3" fmla="*/ 36714 w 274512"/>
                  <a:gd name="connsiteY3" fmla="*/ 149915 h 295459"/>
                  <a:gd name="connsiteX4" fmla="*/ 0 w 274512"/>
                  <a:gd name="connsiteY4" fmla="*/ 0 h 295459"/>
                  <a:gd name="connsiteX5" fmla="*/ 104023 w 274512"/>
                  <a:gd name="connsiteY5" fmla="*/ 0 h 295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4512" h="295459">
                    <a:moveTo>
                      <a:pt x="104023" y="0"/>
                    </a:moveTo>
                    <a:lnTo>
                      <a:pt x="152975" y="128498"/>
                    </a:lnTo>
                    <a:cubicBezTo>
                      <a:pt x="152975" y="128498"/>
                      <a:pt x="293711" y="278414"/>
                      <a:pt x="272295" y="293711"/>
                    </a:cubicBezTo>
                    <a:cubicBezTo>
                      <a:pt x="250878" y="312067"/>
                      <a:pt x="33655" y="180510"/>
                      <a:pt x="36714" y="149915"/>
                    </a:cubicBezTo>
                    <a:cubicBezTo>
                      <a:pt x="36714" y="100963"/>
                      <a:pt x="0" y="0"/>
                      <a:pt x="0" y="0"/>
                    </a:cubicBezTo>
                    <a:lnTo>
                      <a:pt x="104023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图形 892">
              <a:extLst>
                <a:ext uri="{FF2B5EF4-FFF2-40B4-BE49-F238E27FC236}">
                  <a16:creationId xmlns:a16="http://schemas.microsoft.com/office/drawing/2014/main" id="{9878DD43-9B43-4884-832F-686DF65748C7}"/>
                </a:ext>
              </a:extLst>
            </p:cNvPr>
            <p:cNvGrpSpPr/>
            <p:nvPr/>
          </p:nvGrpSpPr>
          <p:grpSpPr>
            <a:xfrm>
              <a:off x="6574194" y="12137864"/>
              <a:ext cx="365826" cy="390564"/>
              <a:chOff x="6574194" y="12137864"/>
              <a:chExt cx="365826" cy="390564"/>
            </a:xfrm>
          </p:grpSpPr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C64AC41B-3528-4851-BE29-A63FF17ED767}"/>
                  </a:ext>
                </a:extLst>
              </p:cNvPr>
              <p:cNvSpPr/>
              <p:nvPr/>
            </p:nvSpPr>
            <p:spPr>
              <a:xfrm>
                <a:off x="6574194" y="12266362"/>
                <a:ext cx="365826" cy="262066"/>
              </a:xfrm>
              <a:custGeom>
                <a:avLst/>
                <a:gdLst>
                  <a:gd name="connsiteX0" fmla="*/ 138659 w 365826"/>
                  <a:gd name="connsiteY0" fmla="*/ 0 h 262066"/>
                  <a:gd name="connsiteX1" fmla="*/ 257979 w 365826"/>
                  <a:gd name="connsiteY1" fmla="*/ 165213 h 262066"/>
                  <a:gd name="connsiteX2" fmla="*/ 40755 w 365826"/>
                  <a:gd name="connsiteY2" fmla="*/ 36714 h 262066"/>
                  <a:gd name="connsiteX3" fmla="*/ 19339 w 365826"/>
                  <a:gd name="connsiteY3" fmla="*/ 21417 h 262066"/>
                  <a:gd name="connsiteX4" fmla="*/ 982 w 365826"/>
                  <a:gd name="connsiteY4" fmla="*/ 97904 h 262066"/>
                  <a:gd name="connsiteX5" fmla="*/ 13220 w 365826"/>
                  <a:gd name="connsiteY5" fmla="*/ 235581 h 262066"/>
                  <a:gd name="connsiteX6" fmla="*/ 40755 w 365826"/>
                  <a:gd name="connsiteY6" fmla="*/ 235581 h 262066"/>
                  <a:gd name="connsiteX7" fmla="*/ 56053 w 365826"/>
                  <a:gd name="connsiteY7" fmla="*/ 125439 h 262066"/>
                  <a:gd name="connsiteX8" fmla="*/ 199849 w 365826"/>
                  <a:gd name="connsiteY8" fmla="*/ 256998 h 262066"/>
                  <a:gd name="connsiteX9" fmla="*/ 358943 w 365826"/>
                  <a:gd name="connsiteY9" fmla="*/ 260057 h 262066"/>
                  <a:gd name="connsiteX10" fmla="*/ 358943 w 365826"/>
                  <a:gd name="connsiteY10" fmla="*/ 214164 h 262066"/>
                  <a:gd name="connsiteX11" fmla="*/ 138659 w 365826"/>
                  <a:gd name="connsiteY11" fmla="*/ 0 h 262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5826" h="262066">
                    <a:moveTo>
                      <a:pt x="138659" y="0"/>
                    </a:moveTo>
                    <a:cubicBezTo>
                      <a:pt x="138659" y="0"/>
                      <a:pt x="273277" y="156034"/>
                      <a:pt x="257979" y="165213"/>
                    </a:cubicBezTo>
                    <a:cubicBezTo>
                      <a:pt x="239622" y="174391"/>
                      <a:pt x="40755" y="36714"/>
                      <a:pt x="40755" y="36714"/>
                    </a:cubicBezTo>
                    <a:lnTo>
                      <a:pt x="19339" y="21417"/>
                    </a:lnTo>
                    <a:cubicBezTo>
                      <a:pt x="19339" y="21417"/>
                      <a:pt x="-5137" y="70369"/>
                      <a:pt x="982" y="97904"/>
                    </a:cubicBezTo>
                    <a:cubicBezTo>
                      <a:pt x="7101" y="125439"/>
                      <a:pt x="13220" y="235581"/>
                      <a:pt x="13220" y="235581"/>
                    </a:cubicBezTo>
                    <a:lnTo>
                      <a:pt x="40755" y="235581"/>
                    </a:lnTo>
                    <a:lnTo>
                      <a:pt x="56053" y="125439"/>
                    </a:lnTo>
                    <a:cubicBezTo>
                      <a:pt x="56053" y="125439"/>
                      <a:pt x="178433" y="253938"/>
                      <a:pt x="199849" y="256998"/>
                    </a:cubicBezTo>
                    <a:cubicBezTo>
                      <a:pt x="221266" y="263116"/>
                      <a:pt x="346705" y="263116"/>
                      <a:pt x="358943" y="260057"/>
                    </a:cubicBezTo>
                    <a:cubicBezTo>
                      <a:pt x="368121" y="260057"/>
                      <a:pt x="368121" y="220284"/>
                      <a:pt x="358943" y="214164"/>
                    </a:cubicBezTo>
                    <a:cubicBezTo>
                      <a:pt x="279396" y="171332"/>
                      <a:pt x="138659" y="0"/>
                      <a:pt x="138659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E7D4E9B9-C134-4E6B-9544-588B42875E6D}"/>
                  </a:ext>
                </a:extLst>
              </p:cNvPr>
              <p:cNvSpPr/>
              <p:nvPr/>
            </p:nvSpPr>
            <p:spPr>
              <a:xfrm>
                <a:off x="6596561" y="12137864"/>
                <a:ext cx="237830" cy="295459"/>
              </a:xfrm>
              <a:custGeom>
                <a:avLst/>
                <a:gdLst>
                  <a:gd name="connsiteX0" fmla="*/ 113233 w 237830"/>
                  <a:gd name="connsiteY0" fmla="*/ 0 h 295459"/>
                  <a:gd name="connsiteX1" fmla="*/ 116292 w 237830"/>
                  <a:gd name="connsiteY1" fmla="*/ 128498 h 295459"/>
                  <a:gd name="connsiteX2" fmla="*/ 235613 w 237830"/>
                  <a:gd name="connsiteY2" fmla="*/ 293711 h 295459"/>
                  <a:gd name="connsiteX3" fmla="*/ 32 w 237830"/>
                  <a:gd name="connsiteY3" fmla="*/ 149915 h 295459"/>
                  <a:gd name="connsiteX4" fmla="*/ 32 w 237830"/>
                  <a:gd name="connsiteY4" fmla="*/ 0 h 295459"/>
                  <a:gd name="connsiteX5" fmla="*/ 113233 w 237830"/>
                  <a:gd name="connsiteY5" fmla="*/ 0 h 295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830" h="295459">
                    <a:moveTo>
                      <a:pt x="113233" y="0"/>
                    </a:moveTo>
                    <a:lnTo>
                      <a:pt x="116292" y="128498"/>
                    </a:lnTo>
                    <a:cubicBezTo>
                      <a:pt x="116292" y="128498"/>
                      <a:pt x="257029" y="278414"/>
                      <a:pt x="235613" y="293711"/>
                    </a:cubicBezTo>
                    <a:cubicBezTo>
                      <a:pt x="214196" y="312067"/>
                      <a:pt x="-3028" y="180510"/>
                      <a:pt x="32" y="149915"/>
                    </a:cubicBezTo>
                    <a:cubicBezTo>
                      <a:pt x="32" y="100963"/>
                      <a:pt x="32" y="0"/>
                      <a:pt x="32" y="0"/>
                    </a:cubicBezTo>
                    <a:lnTo>
                      <a:pt x="113233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F614A0DC-FD78-4901-BAF8-0DE7EF5D8E68}"/>
                </a:ext>
              </a:extLst>
            </p:cNvPr>
            <p:cNvSpPr/>
            <p:nvPr/>
          </p:nvSpPr>
          <p:spPr>
            <a:xfrm>
              <a:off x="2888491" y="9714747"/>
              <a:ext cx="1083059" cy="725764"/>
            </a:xfrm>
            <a:custGeom>
              <a:avLst/>
              <a:gdLst>
                <a:gd name="connsiteX0" fmla="*/ 795468 w 1083059"/>
                <a:gd name="connsiteY0" fmla="*/ 0 h 725764"/>
                <a:gd name="connsiteX1" fmla="*/ 465043 w 1083059"/>
                <a:gd name="connsiteY1" fmla="*/ 532351 h 725764"/>
                <a:gd name="connsiteX2" fmla="*/ 12238 w 1083059"/>
                <a:gd name="connsiteY2" fmla="*/ 572125 h 725764"/>
                <a:gd name="connsiteX3" fmla="*/ 0 w 1083059"/>
                <a:gd name="connsiteY3" fmla="*/ 718980 h 725764"/>
                <a:gd name="connsiteX4" fmla="*/ 700623 w 1083059"/>
                <a:gd name="connsiteY4" fmla="*/ 670028 h 725764"/>
                <a:gd name="connsiteX5" fmla="*/ 1083060 w 1083059"/>
                <a:gd name="connsiteY5" fmla="*/ 94844 h 725764"/>
                <a:gd name="connsiteX6" fmla="*/ 795468 w 1083059"/>
                <a:gd name="connsiteY6" fmla="*/ 0 h 725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3059" h="725764">
                  <a:moveTo>
                    <a:pt x="795468" y="0"/>
                  </a:moveTo>
                  <a:lnTo>
                    <a:pt x="465043" y="532351"/>
                  </a:lnTo>
                  <a:lnTo>
                    <a:pt x="12238" y="572125"/>
                  </a:lnTo>
                  <a:lnTo>
                    <a:pt x="0" y="718980"/>
                  </a:lnTo>
                  <a:cubicBezTo>
                    <a:pt x="0" y="718980"/>
                    <a:pt x="602720" y="752635"/>
                    <a:pt x="700623" y="670028"/>
                  </a:cubicBezTo>
                  <a:cubicBezTo>
                    <a:pt x="801586" y="590482"/>
                    <a:pt x="1083060" y="94844"/>
                    <a:pt x="1083060" y="94844"/>
                  </a:cubicBezTo>
                  <a:lnTo>
                    <a:pt x="795468" y="0"/>
                  </a:ln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" name="图形 892">
              <a:extLst>
                <a:ext uri="{FF2B5EF4-FFF2-40B4-BE49-F238E27FC236}">
                  <a16:creationId xmlns:a16="http://schemas.microsoft.com/office/drawing/2014/main" id="{5B91F9BD-7861-4C79-802A-8F8EE8084398}"/>
                </a:ext>
              </a:extLst>
            </p:cNvPr>
            <p:cNvGrpSpPr/>
            <p:nvPr/>
          </p:nvGrpSpPr>
          <p:grpSpPr>
            <a:xfrm>
              <a:off x="2974157" y="12143982"/>
              <a:ext cx="553767" cy="379377"/>
              <a:chOff x="2974157" y="12143982"/>
              <a:chExt cx="553767" cy="379377"/>
            </a:xfrm>
          </p:grpSpPr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B21B0A02-459C-4283-84AA-FF8CF45AD076}"/>
                  </a:ext>
                </a:extLst>
              </p:cNvPr>
              <p:cNvSpPr/>
              <p:nvPr/>
            </p:nvSpPr>
            <p:spPr>
              <a:xfrm>
                <a:off x="3319879" y="12143982"/>
                <a:ext cx="208045" cy="247818"/>
              </a:xfrm>
              <a:custGeom>
                <a:avLst/>
                <a:gdLst>
                  <a:gd name="connsiteX0" fmla="*/ 180510 w 208045"/>
                  <a:gd name="connsiteY0" fmla="*/ 204986 h 247818"/>
                  <a:gd name="connsiteX1" fmla="*/ 208045 w 208045"/>
                  <a:gd name="connsiteY1" fmla="*/ 0 h 247818"/>
                  <a:gd name="connsiteX2" fmla="*/ 27535 w 208045"/>
                  <a:gd name="connsiteY2" fmla="*/ 0 h 247818"/>
                  <a:gd name="connsiteX3" fmla="*/ 0 w 208045"/>
                  <a:gd name="connsiteY3" fmla="*/ 217224 h 247818"/>
                  <a:gd name="connsiteX4" fmla="*/ 168272 w 208045"/>
                  <a:gd name="connsiteY4" fmla="*/ 247819 h 247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8045" h="247818">
                    <a:moveTo>
                      <a:pt x="180510" y="204986"/>
                    </a:moveTo>
                    <a:lnTo>
                      <a:pt x="208045" y="0"/>
                    </a:lnTo>
                    <a:lnTo>
                      <a:pt x="27535" y="0"/>
                    </a:lnTo>
                    <a:lnTo>
                      <a:pt x="0" y="217224"/>
                    </a:lnTo>
                    <a:lnTo>
                      <a:pt x="168272" y="247819"/>
                    </a:ln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53F6CF3B-A421-4C92-B415-8DDF52B1C15C}"/>
                  </a:ext>
                </a:extLst>
              </p:cNvPr>
              <p:cNvSpPr/>
              <p:nvPr/>
            </p:nvSpPr>
            <p:spPr>
              <a:xfrm>
                <a:off x="2974157" y="12296957"/>
                <a:ext cx="535750" cy="177450"/>
              </a:xfrm>
              <a:custGeom>
                <a:avLst/>
                <a:gdLst>
                  <a:gd name="connsiteX0" fmla="*/ 526232 w 535750"/>
                  <a:gd name="connsiteY0" fmla="*/ 52012 h 177450"/>
                  <a:gd name="connsiteX1" fmla="*/ 333484 w 535750"/>
                  <a:gd name="connsiteY1" fmla="*/ 0 h 177450"/>
                  <a:gd name="connsiteX2" fmla="*/ 186629 w 535750"/>
                  <a:gd name="connsiteY2" fmla="*/ 88726 h 177450"/>
                  <a:gd name="connsiteX3" fmla="*/ 0 w 535750"/>
                  <a:gd name="connsiteY3" fmla="*/ 177451 h 177450"/>
                  <a:gd name="connsiteX4" fmla="*/ 526232 w 535750"/>
                  <a:gd name="connsiteY4" fmla="*/ 177451 h 177450"/>
                  <a:gd name="connsiteX5" fmla="*/ 526232 w 535750"/>
                  <a:gd name="connsiteY5" fmla="*/ 52012 h 177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5750" h="177450">
                    <a:moveTo>
                      <a:pt x="526232" y="52012"/>
                    </a:moveTo>
                    <a:cubicBezTo>
                      <a:pt x="526232" y="52012"/>
                      <a:pt x="403853" y="73429"/>
                      <a:pt x="333484" y="0"/>
                    </a:cubicBezTo>
                    <a:cubicBezTo>
                      <a:pt x="333484" y="0"/>
                      <a:pt x="235581" y="79547"/>
                      <a:pt x="186629" y="88726"/>
                    </a:cubicBezTo>
                    <a:cubicBezTo>
                      <a:pt x="137677" y="97904"/>
                      <a:pt x="15297" y="97904"/>
                      <a:pt x="0" y="177451"/>
                    </a:cubicBezTo>
                    <a:lnTo>
                      <a:pt x="526232" y="177451"/>
                    </a:lnTo>
                    <a:cubicBezTo>
                      <a:pt x="526232" y="177451"/>
                      <a:pt x="547649" y="107082"/>
                      <a:pt x="526232" y="52012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64E5B6B7-90A8-4386-883E-81E14C9224FE}"/>
                  </a:ext>
                </a:extLst>
              </p:cNvPr>
              <p:cNvSpPr/>
              <p:nvPr/>
            </p:nvSpPr>
            <p:spPr>
              <a:xfrm>
                <a:off x="2974157" y="12474408"/>
                <a:ext cx="526232" cy="48951"/>
              </a:xfrm>
              <a:custGeom>
                <a:avLst/>
                <a:gdLst>
                  <a:gd name="connsiteX0" fmla="*/ 0 w 526232"/>
                  <a:gd name="connsiteY0" fmla="*/ 0 h 48951"/>
                  <a:gd name="connsiteX1" fmla="*/ 526232 w 526232"/>
                  <a:gd name="connsiteY1" fmla="*/ 0 h 48951"/>
                  <a:gd name="connsiteX2" fmla="*/ 526232 w 526232"/>
                  <a:gd name="connsiteY2" fmla="*/ 48952 h 48951"/>
                  <a:gd name="connsiteX3" fmla="*/ 0 w 526232"/>
                  <a:gd name="connsiteY3" fmla="*/ 48952 h 48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6232" h="48951">
                    <a:moveTo>
                      <a:pt x="0" y="0"/>
                    </a:moveTo>
                    <a:lnTo>
                      <a:pt x="526232" y="0"/>
                    </a:lnTo>
                    <a:lnTo>
                      <a:pt x="526232" y="48952"/>
                    </a:lnTo>
                    <a:lnTo>
                      <a:pt x="0" y="48952"/>
                    </a:ln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035D1759-FB7B-475C-9FC1-0011F194F0B0}"/>
                  </a:ext>
                </a:extLst>
              </p:cNvPr>
              <p:cNvSpPr/>
              <p:nvPr/>
            </p:nvSpPr>
            <p:spPr>
              <a:xfrm>
                <a:off x="3305347" y="12291603"/>
                <a:ext cx="204220" cy="66543"/>
              </a:xfrm>
              <a:custGeom>
                <a:avLst/>
                <a:gdLst>
                  <a:gd name="connsiteX0" fmla="*/ 161388 w 204220"/>
                  <a:gd name="connsiteY0" fmla="*/ 66543 h 66543"/>
                  <a:gd name="connsiteX1" fmla="*/ 2295 w 204220"/>
                  <a:gd name="connsiteY1" fmla="*/ 11473 h 66543"/>
                  <a:gd name="connsiteX2" fmla="*/ 2295 w 204220"/>
                  <a:gd name="connsiteY2" fmla="*/ 2295 h 66543"/>
                  <a:gd name="connsiteX3" fmla="*/ 11473 w 204220"/>
                  <a:gd name="connsiteY3" fmla="*/ 2295 h 66543"/>
                  <a:gd name="connsiteX4" fmla="*/ 198102 w 204220"/>
                  <a:gd name="connsiteY4" fmla="*/ 54306 h 66543"/>
                  <a:gd name="connsiteX5" fmla="*/ 204221 w 204220"/>
                  <a:gd name="connsiteY5" fmla="*/ 60425 h 66543"/>
                  <a:gd name="connsiteX6" fmla="*/ 198102 w 204220"/>
                  <a:gd name="connsiteY6" fmla="*/ 66543 h 66543"/>
                  <a:gd name="connsiteX7" fmla="*/ 161388 w 204220"/>
                  <a:gd name="connsiteY7" fmla="*/ 66543 h 66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4220" h="66543">
                    <a:moveTo>
                      <a:pt x="161388" y="66543"/>
                    </a:moveTo>
                    <a:cubicBezTo>
                      <a:pt x="121615" y="66543"/>
                      <a:pt x="54306" y="57365"/>
                      <a:pt x="2295" y="11473"/>
                    </a:cubicBezTo>
                    <a:cubicBezTo>
                      <a:pt x="-765" y="8413"/>
                      <a:pt x="-765" y="5354"/>
                      <a:pt x="2295" y="2295"/>
                    </a:cubicBezTo>
                    <a:cubicBezTo>
                      <a:pt x="5354" y="-765"/>
                      <a:pt x="8414" y="-765"/>
                      <a:pt x="11473" y="2295"/>
                    </a:cubicBezTo>
                    <a:cubicBezTo>
                      <a:pt x="87960" y="69603"/>
                      <a:pt x="195043" y="54306"/>
                      <a:pt x="198102" y="54306"/>
                    </a:cubicBezTo>
                    <a:cubicBezTo>
                      <a:pt x="201161" y="54306"/>
                      <a:pt x="204221" y="57365"/>
                      <a:pt x="204221" y="60425"/>
                    </a:cubicBezTo>
                    <a:cubicBezTo>
                      <a:pt x="204221" y="63485"/>
                      <a:pt x="201161" y="66543"/>
                      <a:pt x="198102" y="66543"/>
                    </a:cubicBezTo>
                    <a:cubicBezTo>
                      <a:pt x="195043" y="63485"/>
                      <a:pt x="179745" y="66543"/>
                      <a:pt x="161388" y="6654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0D957C16-246B-44FE-B211-1528F64E737F}"/>
                  </a:ext>
                </a:extLst>
              </p:cNvPr>
              <p:cNvSpPr/>
              <p:nvPr/>
            </p:nvSpPr>
            <p:spPr>
              <a:xfrm>
                <a:off x="3265573" y="12319139"/>
                <a:ext cx="41303" cy="45127"/>
              </a:xfrm>
              <a:custGeom>
                <a:avLst/>
                <a:gdLst>
                  <a:gd name="connsiteX0" fmla="*/ 32889 w 41303"/>
                  <a:gd name="connsiteY0" fmla="*/ 45127 h 45127"/>
                  <a:gd name="connsiteX1" fmla="*/ 29830 w 41303"/>
                  <a:gd name="connsiteY1" fmla="*/ 42068 h 45127"/>
                  <a:gd name="connsiteX2" fmla="*/ 2295 w 41303"/>
                  <a:gd name="connsiteY2" fmla="*/ 11473 h 45127"/>
                  <a:gd name="connsiteX3" fmla="*/ 2295 w 41303"/>
                  <a:gd name="connsiteY3" fmla="*/ 2295 h 45127"/>
                  <a:gd name="connsiteX4" fmla="*/ 11473 w 41303"/>
                  <a:gd name="connsiteY4" fmla="*/ 2295 h 45127"/>
                  <a:gd name="connsiteX5" fmla="*/ 39008 w 41303"/>
                  <a:gd name="connsiteY5" fmla="*/ 32890 h 45127"/>
                  <a:gd name="connsiteX6" fmla="*/ 39008 w 41303"/>
                  <a:gd name="connsiteY6" fmla="*/ 42068 h 45127"/>
                  <a:gd name="connsiteX7" fmla="*/ 32889 w 41303"/>
                  <a:gd name="connsiteY7" fmla="*/ 45127 h 45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303" h="45127">
                    <a:moveTo>
                      <a:pt x="32889" y="45127"/>
                    </a:moveTo>
                    <a:cubicBezTo>
                      <a:pt x="29830" y="45127"/>
                      <a:pt x="29830" y="45127"/>
                      <a:pt x="29830" y="42068"/>
                    </a:cubicBezTo>
                    <a:lnTo>
                      <a:pt x="2295" y="11473"/>
                    </a:lnTo>
                    <a:cubicBezTo>
                      <a:pt x="-765" y="8413"/>
                      <a:pt x="-765" y="5354"/>
                      <a:pt x="2295" y="2295"/>
                    </a:cubicBezTo>
                    <a:cubicBezTo>
                      <a:pt x="5354" y="-765"/>
                      <a:pt x="8414" y="-765"/>
                      <a:pt x="11473" y="2295"/>
                    </a:cubicBezTo>
                    <a:lnTo>
                      <a:pt x="39008" y="32890"/>
                    </a:lnTo>
                    <a:cubicBezTo>
                      <a:pt x="42068" y="35949"/>
                      <a:pt x="42068" y="39008"/>
                      <a:pt x="39008" y="42068"/>
                    </a:cubicBezTo>
                    <a:cubicBezTo>
                      <a:pt x="35949" y="42068"/>
                      <a:pt x="35949" y="45127"/>
                      <a:pt x="32889" y="4512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46D47755-6D49-436B-90EB-8BE6DE1292FA}"/>
                  </a:ext>
                </a:extLst>
              </p:cNvPr>
              <p:cNvSpPr/>
              <p:nvPr/>
            </p:nvSpPr>
            <p:spPr>
              <a:xfrm>
                <a:off x="3222740" y="12346674"/>
                <a:ext cx="41303" cy="45127"/>
              </a:xfrm>
              <a:custGeom>
                <a:avLst/>
                <a:gdLst>
                  <a:gd name="connsiteX0" fmla="*/ 32890 w 41303"/>
                  <a:gd name="connsiteY0" fmla="*/ 45127 h 45127"/>
                  <a:gd name="connsiteX1" fmla="*/ 29830 w 41303"/>
                  <a:gd name="connsiteY1" fmla="*/ 42068 h 45127"/>
                  <a:gd name="connsiteX2" fmla="*/ 2295 w 41303"/>
                  <a:gd name="connsiteY2" fmla="*/ 11473 h 45127"/>
                  <a:gd name="connsiteX3" fmla="*/ 2295 w 41303"/>
                  <a:gd name="connsiteY3" fmla="*/ 2295 h 45127"/>
                  <a:gd name="connsiteX4" fmla="*/ 11473 w 41303"/>
                  <a:gd name="connsiteY4" fmla="*/ 2295 h 45127"/>
                  <a:gd name="connsiteX5" fmla="*/ 39009 w 41303"/>
                  <a:gd name="connsiteY5" fmla="*/ 32890 h 45127"/>
                  <a:gd name="connsiteX6" fmla="*/ 39009 w 41303"/>
                  <a:gd name="connsiteY6" fmla="*/ 42068 h 45127"/>
                  <a:gd name="connsiteX7" fmla="*/ 32890 w 41303"/>
                  <a:gd name="connsiteY7" fmla="*/ 45127 h 45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303" h="45127">
                    <a:moveTo>
                      <a:pt x="32890" y="45127"/>
                    </a:moveTo>
                    <a:cubicBezTo>
                      <a:pt x="29830" y="45127"/>
                      <a:pt x="29830" y="45127"/>
                      <a:pt x="29830" y="42068"/>
                    </a:cubicBezTo>
                    <a:lnTo>
                      <a:pt x="2295" y="11473"/>
                    </a:lnTo>
                    <a:cubicBezTo>
                      <a:pt x="-765" y="8414"/>
                      <a:pt x="-765" y="5354"/>
                      <a:pt x="2295" y="2295"/>
                    </a:cubicBezTo>
                    <a:cubicBezTo>
                      <a:pt x="5354" y="-765"/>
                      <a:pt x="8414" y="-765"/>
                      <a:pt x="11473" y="2295"/>
                    </a:cubicBezTo>
                    <a:lnTo>
                      <a:pt x="39009" y="32890"/>
                    </a:lnTo>
                    <a:cubicBezTo>
                      <a:pt x="42068" y="35949"/>
                      <a:pt x="42068" y="39009"/>
                      <a:pt x="39009" y="42068"/>
                    </a:cubicBezTo>
                    <a:cubicBezTo>
                      <a:pt x="35949" y="45127"/>
                      <a:pt x="35949" y="45127"/>
                      <a:pt x="32890" y="4512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图形 892">
              <a:extLst>
                <a:ext uri="{FF2B5EF4-FFF2-40B4-BE49-F238E27FC236}">
                  <a16:creationId xmlns:a16="http://schemas.microsoft.com/office/drawing/2014/main" id="{BC91044B-EF34-4409-99D8-637C577C2711}"/>
                </a:ext>
              </a:extLst>
            </p:cNvPr>
            <p:cNvGrpSpPr/>
            <p:nvPr/>
          </p:nvGrpSpPr>
          <p:grpSpPr>
            <a:xfrm>
              <a:off x="3647245" y="12143982"/>
              <a:ext cx="553767" cy="379377"/>
              <a:chOff x="3647245" y="12143982"/>
              <a:chExt cx="553767" cy="379377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B0AECC71-C382-484F-8FB3-4DF775866EFD}"/>
                  </a:ext>
                </a:extLst>
              </p:cNvPr>
              <p:cNvSpPr/>
              <p:nvPr/>
            </p:nvSpPr>
            <p:spPr>
              <a:xfrm>
                <a:off x="3992967" y="12143982"/>
                <a:ext cx="208045" cy="247818"/>
              </a:xfrm>
              <a:custGeom>
                <a:avLst/>
                <a:gdLst>
                  <a:gd name="connsiteX0" fmla="*/ 180510 w 208045"/>
                  <a:gd name="connsiteY0" fmla="*/ 204986 h 247818"/>
                  <a:gd name="connsiteX1" fmla="*/ 208045 w 208045"/>
                  <a:gd name="connsiteY1" fmla="*/ 0 h 247818"/>
                  <a:gd name="connsiteX2" fmla="*/ 27535 w 208045"/>
                  <a:gd name="connsiteY2" fmla="*/ 0 h 247818"/>
                  <a:gd name="connsiteX3" fmla="*/ 0 w 208045"/>
                  <a:gd name="connsiteY3" fmla="*/ 217224 h 247818"/>
                  <a:gd name="connsiteX4" fmla="*/ 168272 w 208045"/>
                  <a:gd name="connsiteY4" fmla="*/ 247819 h 247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8045" h="247818">
                    <a:moveTo>
                      <a:pt x="180510" y="204986"/>
                    </a:moveTo>
                    <a:lnTo>
                      <a:pt x="208045" y="0"/>
                    </a:lnTo>
                    <a:lnTo>
                      <a:pt x="27535" y="0"/>
                    </a:lnTo>
                    <a:lnTo>
                      <a:pt x="0" y="217224"/>
                    </a:lnTo>
                    <a:lnTo>
                      <a:pt x="168272" y="247819"/>
                    </a:ln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4141A446-A203-4186-8394-90FD5D1C5F4F}"/>
                  </a:ext>
                </a:extLst>
              </p:cNvPr>
              <p:cNvSpPr/>
              <p:nvPr/>
            </p:nvSpPr>
            <p:spPr>
              <a:xfrm>
                <a:off x="3647245" y="12296957"/>
                <a:ext cx="535750" cy="177450"/>
              </a:xfrm>
              <a:custGeom>
                <a:avLst/>
                <a:gdLst>
                  <a:gd name="connsiteX0" fmla="*/ 526232 w 535750"/>
                  <a:gd name="connsiteY0" fmla="*/ 52012 h 177450"/>
                  <a:gd name="connsiteX1" fmla="*/ 333484 w 535750"/>
                  <a:gd name="connsiteY1" fmla="*/ 0 h 177450"/>
                  <a:gd name="connsiteX2" fmla="*/ 186629 w 535750"/>
                  <a:gd name="connsiteY2" fmla="*/ 88726 h 177450"/>
                  <a:gd name="connsiteX3" fmla="*/ 0 w 535750"/>
                  <a:gd name="connsiteY3" fmla="*/ 177451 h 177450"/>
                  <a:gd name="connsiteX4" fmla="*/ 526232 w 535750"/>
                  <a:gd name="connsiteY4" fmla="*/ 177451 h 177450"/>
                  <a:gd name="connsiteX5" fmla="*/ 526232 w 535750"/>
                  <a:gd name="connsiteY5" fmla="*/ 52012 h 177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5750" h="177450">
                    <a:moveTo>
                      <a:pt x="526232" y="52012"/>
                    </a:moveTo>
                    <a:cubicBezTo>
                      <a:pt x="526232" y="52012"/>
                      <a:pt x="403853" y="73429"/>
                      <a:pt x="333484" y="0"/>
                    </a:cubicBezTo>
                    <a:cubicBezTo>
                      <a:pt x="333484" y="0"/>
                      <a:pt x="235581" y="79547"/>
                      <a:pt x="186629" y="88726"/>
                    </a:cubicBezTo>
                    <a:cubicBezTo>
                      <a:pt x="137677" y="97904"/>
                      <a:pt x="15297" y="97904"/>
                      <a:pt x="0" y="177451"/>
                    </a:cubicBezTo>
                    <a:lnTo>
                      <a:pt x="526232" y="177451"/>
                    </a:lnTo>
                    <a:cubicBezTo>
                      <a:pt x="526232" y="177451"/>
                      <a:pt x="547649" y="107082"/>
                      <a:pt x="526232" y="52012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53C900AC-39FD-4322-B42D-C45824CBEA67}"/>
                  </a:ext>
                </a:extLst>
              </p:cNvPr>
              <p:cNvSpPr/>
              <p:nvPr/>
            </p:nvSpPr>
            <p:spPr>
              <a:xfrm>
                <a:off x="3647245" y="12474408"/>
                <a:ext cx="526232" cy="48951"/>
              </a:xfrm>
              <a:custGeom>
                <a:avLst/>
                <a:gdLst>
                  <a:gd name="connsiteX0" fmla="*/ 0 w 526232"/>
                  <a:gd name="connsiteY0" fmla="*/ 0 h 48951"/>
                  <a:gd name="connsiteX1" fmla="*/ 526232 w 526232"/>
                  <a:gd name="connsiteY1" fmla="*/ 0 h 48951"/>
                  <a:gd name="connsiteX2" fmla="*/ 526232 w 526232"/>
                  <a:gd name="connsiteY2" fmla="*/ 48952 h 48951"/>
                  <a:gd name="connsiteX3" fmla="*/ 0 w 526232"/>
                  <a:gd name="connsiteY3" fmla="*/ 48952 h 48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6232" h="48951">
                    <a:moveTo>
                      <a:pt x="0" y="0"/>
                    </a:moveTo>
                    <a:lnTo>
                      <a:pt x="526232" y="0"/>
                    </a:lnTo>
                    <a:lnTo>
                      <a:pt x="526232" y="48952"/>
                    </a:lnTo>
                    <a:lnTo>
                      <a:pt x="0" y="48952"/>
                    </a:ln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AB417F1C-9D75-4BEB-8E18-500108F3E183}"/>
                  </a:ext>
                </a:extLst>
              </p:cNvPr>
              <p:cNvSpPr/>
              <p:nvPr/>
            </p:nvSpPr>
            <p:spPr>
              <a:xfrm>
                <a:off x="3978434" y="12291603"/>
                <a:ext cx="204220" cy="66543"/>
              </a:xfrm>
              <a:custGeom>
                <a:avLst/>
                <a:gdLst>
                  <a:gd name="connsiteX0" fmla="*/ 161388 w 204220"/>
                  <a:gd name="connsiteY0" fmla="*/ 66543 h 66543"/>
                  <a:gd name="connsiteX1" fmla="*/ 2295 w 204220"/>
                  <a:gd name="connsiteY1" fmla="*/ 11473 h 66543"/>
                  <a:gd name="connsiteX2" fmla="*/ 2295 w 204220"/>
                  <a:gd name="connsiteY2" fmla="*/ 2295 h 66543"/>
                  <a:gd name="connsiteX3" fmla="*/ 11473 w 204220"/>
                  <a:gd name="connsiteY3" fmla="*/ 2295 h 66543"/>
                  <a:gd name="connsiteX4" fmla="*/ 198102 w 204220"/>
                  <a:gd name="connsiteY4" fmla="*/ 54306 h 66543"/>
                  <a:gd name="connsiteX5" fmla="*/ 204221 w 204220"/>
                  <a:gd name="connsiteY5" fmla="*/ 60425 h 66543"/>
                  <a:gd name="connsiteX6" fmla="*/ 198102 w 204220"/>
                  <a:gd name="connsiteY6" fmla="*/ 66543 h 66543"/>
                  <a:gd name="connsiteX7" fmla="*/ 161388 w 204220"/>
                  <a:gd name="connsiteY7" fmla="*/ 66543 h 66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4220" h="66543">
                    <a:moveTo>
                      <a:pt x="161388" y="66543"/>
                    </a:moveTo>
                    <a:cubicBezTo>
                      <a:pt x="121615" y="66543"/>
                      <a:pt x="54306" y="57365"/>
                      <a:pt x="2295" y="11473"/>
                    </a:cubicBezTo>
                    <a:cubicBezTo>
                      <a:pt x="-765" y="8413"/>
                      <a:pt x="-765" y="5354"/>
                      <a:pt x="2295" y="2295"/>
                    </a:cubicBezTo>
                    <a:cubicBezTo>
                      <a:pt x="5354" y="-765"/>
                      <a:pt x="8414" y="-765"/>
                      <a:pt x="11473" y="2295"/>
                    </a:cubicBezTo>
                    <a:cubicBezTo>
                      <a:pt x="87960" y="69603"/>
                      <a:pt x="195043" y="54306"/>
                      <a:pt x="198102" y="54306"/>
                    </a:cubicBezTo>
                    <a:cubicBezTo>
                      <a:pt x="201161" y="54306"/>
                      <a:pt x="204221" y="57365"/>
                      <a:pt x="204221" y="60425"/>
                    </a:cubicBezTo>
                    <a:cubicBezTo>
                      <a:pt x="204221" y="63485"/>
                      <a:pt x="201161" y="66543"/>
                      <a:pt x="198102" y="66543"/>
                    </a:cubicBezTo>
                    <a:cubicBezTo>
                      <a:pt x="195043" y="63485"/>
                      <a:pt x="182805" y="66543"/>
                      <a:pt x="161388" y="6654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605FB300-7BAF-4B1D-8534-403751F814DA}"/>
                  </a:ext>
                </a:extLst>
              </p:cNvPr>
              <p:cNvSpPr/>
              <p:nvPr/>
            </p:nvSpPr>
            <p:spPr>
              <a:xfrm>
                <a:off x="3938661" y="12319139"/>
                <a:ext cx="41303" cy="45127"/>
              </a:xfrm>
              <a:custGeom>
                <a:avLst/>
                <a:gdLst>
                  <a:gd name="connsiteX0" fmla="*/ 32889 w 41303"/>
                  <a:gd name="connsiteY0" fmla="*/ 45127 h 45127"/>
                  <a:gd name="connsiteX1" fmla="*/ 29830 w 41303"/>
                  <a:gd name="connsiteY1" fmla="*/ 42068 h 45127"/>
                  <a:gd name="connsiteX2" fmla="*/ 2295 w 41303"/>
                  <a:gd name="connsiteY2" fmla="*/ 11473 h 45127"/>
                  <a:gd name="connsiteX3" fmla="*/ 2295 w 41303"/>
                  <a:gd name="connsiteY3" fmla="*/ 2295 h 45127"/>
                  <a:gd name="connsiteX4" fmla="*/ 11473 w 41303"/>
                  <a:gd name="connsiteY4" fmla="*/ 2295 h 45127"/>
                  <a:gd name="connsiteX5" fmla="*/ 39008 w 41303"/>
                  <a:gd name="connsiteY5" fmla="*/ 32890 h 45127"/>
                  <a:gd name="connsiteX6" fmla="*/ 39008 w 41303"/>
                  <a:gd name="connsiteY6" fmla="*/ 42068 h 45127"/>
                  <a:gd name="connsiteX7" fmla="*/ 32889 w 41303"/>
                  <a:gd name="connsiteY7" fmla="*/ 45127 h 45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303" h="45127">
                    <a:moveTo>
                      <a:pt x="32889" y="45127"/>
                    </a:moveTo>
                    <a:cubicBezTo>
                      <a:pt x="29830" y="45127"/>
                      <a:pt x="29830" y="45127"/>
                      <a:pt x="29830" y="42068"/>
                    </a:cubicBezTo>
                    <a:lnTo>
                      <a:pt x="2295" y="11473"/>
                    </a:lnTo>
                    <a:cubicBezTo>
                      <a:pt x="-765" y="8413"/>
                      <a:pt x="-765" y="5354"/>
                      <a:pt x="2295" y="2295"/>
                    </a:cubicBezTo>
                    <a:cubicBezTo>
                      <a:pt x="5354" y="-765"/>
                      <a:pt x="8414" y="-765"/>
                      <a:pt x="11473" y="2295"/>
                    </a:cubicBezTo>
                    <a:lnTo>
                      <a:pt x="39008" y="32890"/>
                    </a:lnTo>
                    <a:cubicBezTo>
                      <a:pt x="42068" y="35949"/>
                      <a:pt x="42068" y="39008"/>
                      <a:pt x="39008" y="42068"/>
                    </a:cubicBezTo>
                    <a:cubicBezTo>
                      <a:pt x="35949" y="42068"/>
                      <a:pt x="35949" y="45127"/>
                      <a:pt x="32889" y="4512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0001AD7D-0AB8-46CD-A302-7A570253086F}"/>
                  </a:ext>
                </a:extLst>
              </p:cNvPr>
              <p:cNvSpPr/>
              <p:nvPr/>
            </p:nvSpPr>
            <p:spPr>
              <a:xfrm>
                <a:off x="3895828" y="12346674"/>
                <a:ext cx="41303" cy="45127"/>
              </a:xfrm>
              <a:custGeom>
                <a:avLst/>
                <a:gdLst>
                  <a:gd name="connsiteX0" fmla="*/ 32890 w 41303"/>
                  <a:gd name="connsiteY0" fmla="*/ 45127 h 45127"/>
                  <a:gd name="connsiteX1" fmla="*/ 29830 w 41303"/>
                  <a:gd name="connsiteY1" fmla="*/ 42068 h 45127"/>
                  <a:gd name="connsiteX2" fmla="*/ 2295 w 41303"/>
                  <a:gd name="connsiteY2" fmla="*/ 11473 h 45127"/>
                  <a:gd name="connsiteX3" fmla="*/ 2295 w 41303"/>
                  <a:gd name="connsiteY3" fmla="*/ 2295 h 45127"/>
                  <a:gd name="connsiteX4" fmla="*/ 11473 w 41303"/>
                  <a:gd name="connsiteY4" fmla="*/ 2295 h 45127"/>
                  <a:gd name="connsiteX5" fmla="*/ 39008 w 41303"/>
                  <a:gd name="connsiteY5" fmla="*/ 32890 h 45127"/>
                  <a:gd name="connsiteX6" fmla="*/ 39008 w 41303"/>
                  <a:gd name="connsiteY6" fmla="*/ 42068 h 45127"/>
                  <a:gd name="connsiteX7" fmla="*/ 32890 w 41303"/>
                  <a:gd name="connsiteY7" fmla="*/ 45127 h 45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303" h="45127">
                    <a:moveTo>
                      <a:pt x="32890" y="45127"/>
                    </a:moveTo>
                    <a:cubicBezTo>
                      <a:pt x="29830" y="45127"/>
                      <a:pt x="29830" y="45127"/>
                      <a:pt x="29830" y="42068"/>
                    </a:cubicBezTo>
                    <a:lnTo>
                      <a:pt x="2295" y="11473"/>
                    </a:lnTo>
                    <a:cubicBezTo>
                      <a:pt x="-765" y="8414"/>
                      <a:pt x="-765" y="5354"/>
                      <a:pt x="2295" y="2295"/>
                    </a:cubicBezTo>
                    <a:cubicBezTo>
                      <a:pt x="5354" y="-765"/>
                      <a:pt x="8414" y="-765"/>
                      <a:pt x="11473" y="2295"/>
                    </a:cubicBezTo>
                    <a:lnTo>
                      <a:pt x="39008" y="32890"/>
                    </a:lnTo>
                    <a:cubicBezTo>
                      <a:pt x="42068" y="35949"/>
                      <a:pt x="42068" y="39009"/>
                      <a:pt x="39008" y="42068"/>
                    </a:cubicBezTo>
                    <a:cubicBezTo>
                      <a:pt x="35949" y="45127"/>
                      <a:pt x="35949" y="45127"/>
                      <a:pt x="32890" y="4512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图形 892">
              <a:extLst>
                <a:ext uri="{FF2B5EF4-FFF2-40B4-BE49-F238E27FC236}">
                  <a16:creationId xmlns:a16="http://schemas.microsoft.com/office/drawing/2014/main" id="{413ABA95-6043-4E5D-B2B8-DFDA9119726D}"/>
                </a:ext>
              </a:extLst>
            </p:cNvPr>
            <p:cNvGrpSpPr/>
            <p:nvPr/>
          </p:nvGrpSpPr>
          <p:grpSpPr>
            <a:xfrm>
              <a:off x="3971551" y="9702510"/>
              <a:ext cx="1267582" cy="2716827"/>
              <a:chOff x="3971551" y="9702510"/>
              <a:chExt cx="1267582" cy="2716827"/>
            </a:xfrm>
          </p:grpSpPr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9617AACB-B3A7-453A-A78C-B529639A0AEF}"/>
                  </a:ext>
                </a:extLst>
              </p:cNvPr>
              <p:cNvSpPr/>
              <p:nvPr/>
            </p:nvSpPr>
            <p:spPr>
              <a:xfrm>
                <a:off x="4470247" y="11109875"/>
                <a:ext cx="122379" cy="1281926"/>
              </a:xfrm>
              <a:custGeom>
                <a:avLst/>
                <a:gdLst>
                  <a:gd name="connsiteX0" fmla="*/ 0 w 122379"/>
                  <a:gd name="connsiteY0" fmla="*/ 0 h 1281926"/>
                  <a:gd name="connsiteX1" fmla="*/ 122380 w 122379"/>
                  <a:gd name="connsiteY1" fmla="*/ 0 h 1281926"/>
                  <a:gd name="connsiteX2" fmla="*/ 122380 w 122379"/>
                  <a:gd name="connsiteY2" fmla="*/ 1281926 h 1281926"/>
                  <a:gd name="connsiteX3" fmla="*/ 0 w 122379"/>
                  <a:gd name="connsiteY3" fmla="*/ 1281926 h 1281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2379" h="1281926">
                    <a:moveTo>
                      <a:pt x="0" y="0"/>
                    </a:moveTo>
                    <a:lnTo>
                      <a:pt x="122380" y="0"/>
                    </a:lnTo>
                    <a:lnTo>
                      <a:pt x="122380" y="1281926"/>
                    </a:lnTo>
                    <a:lnTo>
                      <a:pt x="0" y="1281926"/>
                    </a:lnTo>
                    <a:close/>
                  </a:path>
                </a:pathLst>
              </a:custGeom>
              <a:solidFill>
                <a:srgbClr val="6C5D6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85B2DF86-6776-438F-9F9F-4F120756212D}"/>
                  </a:ext>
                </a:extLst>
              </p:cNvPr>
              <p:cNvSpPr/>
              <p:nvPr/>
            </p:nvSpPr>
            <p:spPr>
              <a:xfrm>
                <a:off x="4204072" y="12364266"/>
                <a:ext cx="657790" cy="55070"/>
              </a:xfrm>
              <a:custGeom>
                <a:avLst/>
                <a:gdLst>
                  <a:gd name="connsiteX0" fmla="*/ 0 w 657790"/>
                  <a:gd name="connsiteY0" fmla="*/ 0 h 55070"/>
                  <a:gd name="connsiteX1" fmla="*/ 657790 w 657790"/>
                  <a:gd name="connsiteY1" fmla="*/ 0 h 55070"/>
                  <a:gd name="connsiteX2" fmla="*/ 657790 w 657790"/>
                  <a:gd name="connsiteY2" fmla="*/ 55070 h 55070"/>
                  <a:gd name="connsiteX3" fmla="*/ 0 w 657790"/>
                  <a:gd name="connsiteY3" fmla="*/ 55070 h 55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790" h="55070">
                    <a:moveTo>
                      <a:pt x="0" y="0"/>
                    </a:moveTo>
                    <a:lnTo>
                      <a:pt x="657790" y="0"/>
                    </a:lnTo>
                    <a:lnTo>
                      <a:pt x="657790" y="55070"/>
                    </a:lnTo>
                    <a:lnTo>
                      <a:pt x="0" y="55070"/>
                    </a:lnTo>
                    <a:close/>
                  </a:path>
                </a:pathLst>
              </a:custGeom>
              <a:solidFill>
                <a:srgbClr val="6C5D6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48458440-85BC-4310-98BA-C0DDED4839A0}"/>
                  </a:ext>
                </a:extLst>
              </p:cNvPr>
              <p:cNvSpPr/>
              <p:nvPr/>
            </p:nvSpPr>
            <p:spPr>
              <a:xfrm>
                <a:off x="4274440" y="9702510"/>
                <a:ext cx="964693" cy="1398187"/>
              </a:xfrm>
              <a:custGeom>
                <a:avLst/>
                <a:gdLst>
                  <a:gd name="connsiteX0" fmla="*/ 777110 w 964693"/>
                  <a:gd name="connsiteY0" fmla="*/ 1398187 h 1398187"/>
                  <a:gd name="connsiteX1" fmla="*/ 0 w 964693"/>
                  <a:gd name="connsiteY1" fmla="*/ 1398187 h 1398187"/>
                  <a:gd name="connsiteX2" fmla="*/ 189688 w 964693"/>
                  <a:gd name="connsiteY2" fmla="*/ 110142 h 1398187"/>
                  <a:gd name="connsiteX3" fmla="*/ 318187 w 964693"/>
                  <a:gd name="connsiteY3" fmla="*/ 0 h 1398187"/>
                  <a:gd name="connsiteX4" fmla="*/ 835241 w 964693"/>
                  <a:gd name="connsiteY4" fmla="*/ 0 h 1398187"/>
                  <a:gd name="connsiteX5" fmla="*/ 963739 w 964693"/>
                  <a:gd name="connsiteY5" fmla="*/ 146855 h 1398187"/>
                  <a:gd name="connsiteX6" fmla="*/ 777110 w 964693"/>
                  <a:gd name="connsiteY6" fmla="*/ 1398187 h 1398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64693" h="1398187">
                    <a:moveTo>
                      <a:pt x="777110" y="1398187"/>
                    </a:moveTo>
                    <a:lnTo>
                      <a:pt x="0" y="1398187"/>
                    </a:lnTo>
                    <a:lnTo>
                      <a:pt x="189688" y="110142"/>
                    </a:lnTo>
                    <a:cubicBezTo>
                      <a:pt x="198867" y="45892"/>
                      <a:pt x="253938" y="0"/>
                      <a:pt x="318187" y="0"/>
                    </a:cubicBezTo>
                    <a:lnTo>
                      <a:pt x="835241" y="0"/>
                    </a:lnTo>
                    <a:cubicBezTo>
                      <a:pt x="914787" y="0"/>
                      <a:pt x="972918" y="70368"/>
                      <a:pt x="963739" y="146855"/>
                    </a:cubicBezTo>
                    <a:lnTo>
                      <a:pt x="777110" y="1398187"/>
                    </a:lnTo>
                    <a:close/>
                  </a:path>
                </a:pathLst>
              </a:custGeom>
              <a:solidFill>
                <a:srgbClr val="F1DDB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1E43280C-0E57-4CF3-99D3-89D4DEB8B85B}"/>
                  </a:ext>
                </a:extLst>
              </p:cNvPr>
              <p:cNvSpPr/>
              <p:nvPr/>
            </p:nvSpPr>
            <p:spPr>
              <a:xfrm>
                <a:off x="4201012" y="9702510"/>
                <a:ext cx="964693" cy="1398187"/>
              </a:xfrm>
              <a:custGeom>
                <a:avLst/>
                <a:gdLst>
                  <a:gd name="connsiteX0" fmla="*/ 780170 w 964693"/>
                  <a:gd name="connsiteY0" fmla="*/ 1398187 h 1398187"/>
                  <a:gd name="connsiteX1" fmla="*/ 0 w 964693"/>
                  <a:gd name="connsiteY1" fmla="*/ 1398187 h 1398187"/>
                  <a:gd name="connsiteX2" fmla="*/ 189688 w 964693"/>
                  <a:gd name="connsiteY2" fmla="*/ 110142 h 1398187"/>
                  <a:gd name="connsiteX3" fmla="*/ 318187 w 964693"/>
                  <a:gd name="connsiteY3" fmla="*/ 0 h 1398187"/>
                  <a:gd name="connsiteX4" fmla="*/ 835241 w 964693"/>
                  <a:gd name="connsiteY4" fmla="*/ 0 h 1398187"/>
                  <a:gd name="connsiteX5" fmla="*/ 963740 w 964693"/>
                  <a:gd name="connsiteY5" fmla="*/ 146855 h 1398187"/>
                  <a:gd name="connsiteX6" fmla="*/ 780170 w 964693"/>
                  <a:gd name="connsiteY6" fmla="*/ 1398187 h 1398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64693" h="1398187">
                    <a:moveTo>
                      <a:pt x="780170" y="1398187"/>
                    </a:moveTo>
                    <a:lnTo>
                      <a:pt x="0" y="1398187"/>
                    </a:lnTo>
                    <a:lnTo>
                      <a:pt x="189688" y="110142"/>
                    </a:lnTo>
                    <a:cubicBezTo>
                      <a:pt x="198867" y="45892"/>
                      <a:pt x="253938" y="0"/>
                      <a:pt x="318187" y="0"/>
                    </a:cubicBezTo>
                    <a:lnTo>
                      <a:pt x="835241" y="0"/>
                    </a:lnTo>
                    <a:cubicBezTo>
                      <a:pt x="914787" y="0"/>
                      <a:pt x="972918" y="70368"/>
                      <a:pt x="963740" y="146855"/>
                    </a:cubicBezTo>
                    <a:lnTo>
                      <a:pt x="780170" y="1398187"/>
                    </a:lnTo>
                    <a:close/>
                  </a:path>
                </a:pathLst>
              </a:custGeom>
              <a:solidFill>
                <a:srgbClr val="D3977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3F52914B-96FC-466D-9DC0-606E20F63CFD}"/>
                  </a:ext>
                </a:extLst>
              </p:cNvPr>
              <p:cNvSpPr/>
              <p:nvPr/>
            </p:nvSpPr>
            <p:spPr>
              <a:xfrm>
                <a:off x="4032740" y="10975258"/>
                <a:ext cx="1122832" cy="214164"/>
              </a:xfrm>
              <a:custGeom>
                <a:avLst/>
                <a:gdLst>
                  <a:gd name="connsiteX0" fmla="*/ 1015751 w 1122832"/>
                  <a:gd name="connsiteY0" fmla="*/ 214164 h 214164"/>
                  <a:gd name="connsiteX1" fmla="*/ 107082 w 1122832"/>
                  <a:gd name="connsiteY1" fmla="*/ 214164 h 214164"/>
                  <a:gd name="connsiteX2" fmla="*/ 0 w 1122832"/>
                  <a:gd name="connsiteY2" fmla="*/ 107082 h 214164"/>
                  <a:gd name="connsiteX3" fmla="*/ 0 w 1122832"/>
                  <a:gd name="connsiteY3" fmla="*/ 107082 h 214164"/>
                  <a:gd name="connsiteX4" fmla="*/ 107082 w 1122832"/>
                  <a:gd name="connsiteY4" fmla="*/ 0 h 214164"/>
                  <a:gd name="connsiteX5" fmla="*/ 1015751 w 1122832"/>
                  <a:gd name="connsiteY5" fmla="*/ 0 h 214164"/>
                  <a:gd name="connsiteX6" fmla="*/ 1122833 w 1122832"/>
                  <a:gd name="connsiteY6" fmla="*/ 107082 h 214164"/>
                  <a:gd name="connsiteX7" fmla="*/ 1122833 w 1122832"/>
                  <a:gd name="connsiteY7" fmla="*/ 107082 h 214164"/>
                  <a:gd name="connsiteX8" fmla="*/ 1015751 w 1122832"/>
                  <a:gd name="connsiteY8" fmla="*/ 214164 h 214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2832" h="214164">
                    <a:moveTo>
                      <a:pt x="1015751" y="214164"/>
                    </a:moveTo>
                    <a:lnTo>
                      <a:pt x="107082" y="214164"/>
                    </a:lnTo>
                    <a:cubicBezTo>
                      <a:pt x="48952" y="214164"/>
                      <a:pt x="0" y="165212"/>
                      <a:pt x="0" y="107082"/>
                    </a:cubicBezTo>
                    <a:lnTo>
                      <a:pt x="0" y="107082"/>
                    </a:lnTo>
                    <a:cubicBezTo>
                      <a:pt x="0" y="48952"/>
                      <a:pt x="48952" y="0"/>
                      <a:pt x="107082" y="0"/>
                    </a:cubicBezTo>
                    <a:lnTo>
                      <a:pt x="1015751" y="0"/>
                    </a:lnTo>
                    <a:cubicBezTo>
                      <a:pt x="1073881" y="0"/>
                      <a:pt x="1122833" y="48952"/>
                      <a:pt x="1122833" y="107082"/>
                    </a:cubicBezTo>
                    <a:lnTo>
                      <a:pt x="1122833" y="107082"/>
                    </a:lnTo>
                    <a:cubicBezTo>
                      <a:pt x="1122833" y="165212"/>
                      <a:pt x="1073881" y="214164"/>
                      <a:pt x="1015751" y="214164"/>
                    </a:cubicBezTo>
                    <a:close/>
                  </a:path>
                </a:pathLst>
              </a:custGeom>
              <a:solidFill>
                <a:srgbClr val="F1DDB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77707A16-AB6F-447F-B0C5-687A40434BD3}"/>
                  </a:ext>
                </a:extLst>
              </p:cNvPr>
              <p:cNvSpPr/>
              <p:nvPr/>
            </p:nvSpPr>
            <p:spPr>
              <a:xfrm>
                <a:off x="3971551" y="10975258"/>
                <a:ext cx="1122832" cy="214164"/>
              </a:xfrm>
              <a:custGeom>
                <a:avLst/>
                <a:gdLst>
                  <a:gd name="connsiteX0" fmla="*/ 1015751 w 1122832"/>
                  <a:gd name="connsiteY0" fmla="*/ 214164 h 214164"/>
                  <a:gd name="connsiteX1" fmla="*/ 107082 w 1122832"/>
                  <a:gd name="connsiteY1" fmla="*/ 214164 h 214164"/>
                  <a:gd name="connsiteX2" fmla="*/ 0 w 1122832"/>
                  <a:gd name="connsiteY2" fmla="*/ 107082 h 214164"/>
                  <a:gd name="connsiteX3" fmla="*/ 0 w 1122832"/>
                  <a:gd name="connsiteY3" fmla="*/ 107082 h 214164"/>
                  <a:gd name="connsiteX4" fmla="*/ 107082 w 1122832"/>
                  <a:gd name="connsiteY4" fmla="*/ 0 h 214164"/>
                  <a:gd name="connsiteX5" fmla="*/ 1015751 w 1122832"/>
                  <a:gd name="connsiteY5" fmla="*/ 0 h 214164"/>
                  <a:gd name="connsiteX6" fmla="*/ 1122833 w 1122832"/>
                  <a:gd name="connsiteY6" fmla="*/ 107082 h 214164"/>
                  <a:gd name="connsiteX7" fmla="*/ 1122833 w 1122832"/>
                  <a:gd name="connsiteY7" fmla="*/ 107082 h 214164"/>
                  <a:gd name="connsiteX8" fmla="*/ 1015751 w 1122832"/>
                  <a:gd name="connsiteY8" fmla="*/ 214164 h 214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2832" h="214164">
                    <a:moveTo>
                      <a:pt x="1015751" y="214164"/>
                    </a:moveTo>
                    <a:lnTo>
                      <a:pt x="107082" y="214164"/>
                    </a:lnTo>
                    <a:cubicBezTo>
                      <a:pt x="48952" y="214164"/>
                      <a:pt x="0" y="165212"/>
                      <a:pt x="0" y="107082"/>
                    </a:cubicBezTo>
                    <a:lnTo>
                      <a:pt x="0" y="107082"/>
                    </a:lnTo>
                    <a:cubicBezTo>
                      <a:pt x="0" y="48952"/>
                      <a:pt x="48952" y="0"/>
                      <a:pt x="107082" y="0"/>
                    </a:cubicBezTo>
                    <a:lnTo>
                      <a:pt x="1015751" y="0"/>
                    </a:lnTo>
                    <a:cubicBezTo>
                      <a:pt x="1073881" y="0"/>
                      <a:pt x="1122833" y="48952"/>
                      <a:pt x="1122833" y="107082"/>
                    </a:cubicBezTo>
                    <a:lnTo>
                      <a:pt x="1122833" y="107082"/>
                    </a:lnTo>
                    <a:cubicBezTo>
                      <a:pt x="1122833" y="165212"/>
                      <a:pt x="1073881" y="214164"/>
                      <a:pt x="1015751" y="214164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6DD1D1CD-030C-4331-AD28-CF7B1CB26F5B}"/>
                </a:ext>
              </a:extLst>
            </p:cNvPr>
            <p:cNvSpPr/>
            <p:nvPr/>
          </p:nvSpPr>
          <p:spPr>
            <a:xfrm>
              <a:off x="3831564" y="10626476"/>
              <a:ext cx="1031460" cy="1654358"/>
            </a:xfrm>
            <a:custGeom>
              <a:avLst/>
              <a:gdLst>
                <a:gd name="connsiteX0" fmla="*/ 1011941 w 1031460"/>
                <a:gd name="connsiteY0" fmla="*/ 0 h 1654358"/>
                <a:gd name="connsiteX1" fmla="*/ 1008882 w 1031460"/>
                <a:gd name="connsiteY1" fmla="*/ 342662 h 1654358"/>
                <a:gd name="connsiteX2" fmla="*/ 421460 w 1031460"/>
                <a:gd name="connsiteY2" fmla="*/ 611898 h 1654358"/>
                <a:gd name="connsiteX3" fmla="*/ 384746 w 1031460"/>
                <a:gd name="connsiteY3" fmla="*/ 1649065 h 1654358"/>
                <a:gd name="connsiteX4" fmla="*/ 84916 w 1031460"/>
                <a:gd name="connsiteY4" fmla="*/ 1642946 h 1654358"/>
                <a:gd name="connsiteX5" fmla="*/ 5369 w 1031460"/>
                <a:gd name="connsiteY5" fmla="*/ 562946 h 1654358"/>
                <a:gd name="connsiteX6" fmla="*/ 513244 w 1031460"/>
                <a:gd name="connsiteY6" fmla="*/ 64249 h 1654358"/>
                <a:gd name="connsiteX7" fmla="*/ 1011941 w 1031460"/>
                <a:gd name="connsiteY7" fmla="*/ 0 h 1654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1460" h="1654358">
                  <a:moveTo>
                    <a:pt x="1011941" y="0"/>
                  </a:moveTo>
                  <a:cubicBezTo>
                    <a:pt x="1011941" y="0"/>
                    <a:pt x="1057834" y="229462"/>
                    <a:pt x="1008882" y="342662"/>
                  </a:cubicBezTo>
                  <a:cubicBezTo>
                    <a:pt x="962989" y="455864"/>
                    <a:pt x="448995" y="556827"/>
                    <a:pt x="421460" y="611898"/>
                  </a:cubicBezTo>
                  <a:cubicBezTo>
                    <a:pt x="393924" y="666968"/>
                    <a:pt x="384746" y="1649065"/>
                    <a:pt x="384746" y="1649065"/>
                  </a:cubicBezTo>
                  <a:cubicBezTo>
                    <a:pt x="384746" y="1649065"/>
                    <a:pt x="158344" y="1664362"/>
                    <a:pt x="84916" y="1642946"/>
                  </a:cubicBezTo>
                  <a:cubicBezTo>
                    <a:pt x="84916" y="1642946"/>
                    <a:pt x="-25226" y="706741"/>
                    <a:pt x="5369" y="562946"/>
                  </a:cubicBezTo>
                  <a:cubicBezTo>
                    <a:pt x="32904" y="419150"/>
                    <a:pt x="448995" y="79546"/>
                    <a:pt x="513244" y="64249"/>
                  </a:cubicBezTo>
                  <a:cubicBezTo>
                    <a:pt x="577494" y="48951"/>
                    <a:pt x="1011941" y="0"/>
                    <a:pt x="1011941" y="0"/>
                  </a:cubicBezTo>
                  <a:close/>
                </a:path>
              </a:pathLst>
            </a:custGeom>
            <a:solidFill>
              <a:srgbClr val="D16156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10001053-17DD-415C-BD2C-6EDA8A7B74FF}"/>
                </a:ext>
              </a:extLst>
            </p:cNvPr>
            <p:cNvSpPr/>
            <p:nvPr/>
          </p:nvSpPr>
          <p:spPr>
            <a:xfrm>
              <a:off x="3280106" y="10660740"/>
              <a:ext cx="1193201" cy="1623978"/>
            </a:xfrm>
            <a:custGeom>
              <a:avLst/>
              <a:gdLst>
                <a:gd name="connsiteX0" fmla="*/ 1193201 w 1193201"/>
                <a:gd name="connsiteY0" fmla="*/ 11628 h 1623978"/>
                <a:gd name="connsiteX1" fmla="*/ 1040227 w 1193201"/>
                <a:gd name="connsiteY1" fmla="*/ 308398 h 1623978"/>
                <a:gd name="connsiteX2" fmla="*/ 477280 w 1193201"/>
                <a:gd name="connsiteY2" fmla="*/ 495027 h 1623978"/>
                <a:gd name="connsiteX3" fmla="*/ 290652 w 1193201"/>
                <a:gd name="connsiteY3" fmla="*/ 1623979 h 1623978"/>
                <a:gd name="connsiteX4" fmla="*/ 0 w 1193201"/>
                <a:gd name="connsiteY4" fmla="*/ 1593384 h 1623978"/>
                <a:gd name="connsiteX5" fmla="*/ 64249 w 1193201"/>
                <a:gd name="connsiteY5" fmla="*/ 387945 h 1623978"/>
                <a:gd name="connsiteX6" fmla="*/ 572125 w 1193201"/>
                <a:gd name="connsiteY6" fmla="*/ 5509 h 1623978"/>
                <a:gd name="connsiteX7" fmla="*/ 1193201 w 1193201"/>
                <a:gd name="connsiteY7" fmla="*/ 11628 h 1623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3201" h="1623978">
                  <a:moveTo>
                    <a:pt x="1193201" y="11628"/>
                  </a:moveTo>
                  <a:cubicBezTo>
                    <a:pt x="1193201" y="11628"/>
                    <a:pt x="1086119" y="195197"/>
                    <a:pt x="1040227" y="308398"/>
                  </a:cubicBezTo>
                  <a:cubicBezTo>
                    <a:pt x="994334" y="421600"/>
                    <a:pt x="507875" y="439957"/>
                    <a:pt x="477280" y="495027"/>
                  </a:cubicBezTo>
                  <a:cubicBezTo>
                    <a:pt x="449745" y="550098"/>
                    <a:pt x="290652" y="1623979"/>
                    <a:pt x="290652" y="1623979"/>
                  </a:cubicBezTo>
                  <a:cubicBezTo>
                    <a:pt x="290652" y="1623979"/>
                    <a:pt x="79547" y="1620919"/>
                    <a:pt x="0" y="1593384"/>
                  </a:cubicBezTo>
                  <a:cubicBezTo>
                    <a:pt x="0" y="1593384"/>
                    <a:pt x="12238" y="638824"/>
                    <a:pt x="64249" y="387945"/>
                  </a:cubicBezTo>
                  <a:cubicBezTo>
                    <a:pt x="91785" y="244149"/>
                    <a:pt x="507875" y="20806"/>
                    <a:pt x="572125" y="5509"/>
                  </a:cubicBezTo>
                  <a:cubicBezTo>
                    <a:pt x="639433" y="-9789"/>
                    <a:pt x="1193201" y="11628"/>
                    <a:pt x="1193201" y="11628"/>
                  </a:cubicBezTo>
                  <a:close/>
                </a:path>
              </a:pathLst>
            </a:custGeom>
            <a:solidFill>
              <a:srgbClr val="D16156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45FE6577-D5DB-4517-9D36-C56AEB8B40CA}"/>
                </a:ext>
              </a:extLst>
            </p:cNvPr>
            <p:cNvSpPr/>
            <p:nvPr/>
          </p:nvSpPr>
          <p:spPr>
            <a:xfrm>
              <a:off x="3827754" y="10811837"/>
              <a:ext cx="334751" cy="383703"/>
            </a:xfrm>
            <a:custGeom>
              <a:avLst/>
              <a:gdLst>
                <a:gd name="connsiteX0" fmla="*/ 6119 w 334751"/>
                <a:gd name="connsiteY0" fmla="*/ 383703 h 383703"/>
                <a:gd name="connsiteX1" fmla="*/ 6119 w 334751"/>
                <a:gd name="connsiteY1" fmla="*/ 383703 h 383703"/>
                <a:gd name="connsiteX2" fmla="*/ 0 w 334751"/>
                <a:gd name="connsiteY2" fmla="*/ 374525 h 383703"/>
                <a:gd name="connsiteX3" fmla="*/ 324306 w 334751"/>
                <a:gd name="connsiteY3" fmla="*/ 1267 h 383703"/>
                <a:gd name="connsiteX4" fmla="*/ 333484 w 334751"/>
                <a:gd name="connsiteY4" fmla="*/ 4327 h 383703"/>
                <a:gd name="connsiteX5" fmla="*/ 330425 w 334751"/>
                <a:gd name="connsiteY5" fmla="*/ 13506 h 383703"/>
                <a:gd name="connsiteX6" fmla="*/ 12238 w 334751"/>
                <a:gd name="connsiteY6" fmla="*/ 380644 h 383703"/>
                <a:gd name="connsiteX7" fmla="*/ 6119 w 334751"/>
                <a:gd name="connsiteY7" fmla="*/ 383703 h 383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4751" h="383703">
                  <a:moveTo>
                    <a:pt x="6119" y="383703"/>
                  </a:moveTo>
                  <a:cubicBezTo>
                    <a:pt x="6119" y="383703"/>
                    <a:pt x="6119" y="383703"/>
                    <a:pt x="6119" y="383703"/>
                  </a:cubicBezTo>
                  <a:cubicBezTo>
                    <a:pt x="0" y="380644"/>
                    <a:pt x="0" y="377585"/>
                    <a:pt x="0" y="374525"/>
                  </a:cubicBezTo>
                  <a:cubicBezTo>
                    <a:pt x="0" y="371465"/>
                    <a:pt x="116261" y="117528"/>
                    <a:pt x="324306" y="1267"/>
                  </a:cubicBezTo>
                  <a:cubicBezTo>
                    <a:pt x="327365" y="-1792"/>
                    <a:pt x="330425" y="1267"/>
                    <a:pt x="333484" y="4327"/>
                  </a:cubicBezTo>
                  <a:cubicBezTo>
                    <a:pt x="336544" y="7386"/>
                    <a:pt x="333484" y="10446"/>
                    <a:pt x="330425" y="13506"/>
                  </a:cubicBezTo>
                  <a:cubicBezTo>
                    <a:pt x="125439" y="129766"/>
                    <a:pt x="12238" y="377585"/>
                    <a:pt x="12238" y="380644"/>
                  </a:cubicBezTo>
                  <a:cubicBezTo>
                    <a:pt x="12238" y="380644"/>
                    <a:pt x="9179" y="383703"/>
                    <a:pt x="6119" y="383703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5848D695-D713-4C03-AF18-4B43B6880DEC}"/>
                </a:ext>
              </a:extLst>
            </p:cNvPr>
            <p:cNvSpPr/>
            <p:nvPr/>
          </p:nvSpPr>
          <p:spPr>
            <a:xfrm>
              <a:off x="4222429" y="9121207"/>
              <a:ext cx="250878" cy="259149"/>
            </a:xfrm>
            <a:custGeom>
              <a:avLst/>
              <a:gdLst>
                <a:gd name="connsiteX0" fmla="*/ 0 w 250878"/>
                <a:gd name="connsiteY0" fmla="*/ 39773 h 259149"/>
                <a:gd name="connsiteX1" fmla="*/ 6119 w 250878"/>
                <a:gd name="connsiteY1" fmla="*/ 214164 h 259149"/>
                <a:gd name="connsiteX2" fmla="*/ 250878 w 250878"/>
                <a:gd name="connsiteY2" fmla="*/ 204986 h 259149"/>
                <a:gd name="connsiteX3" fmla="*/ 235581 w 250878"/>
                <a:gd name="connsiteY3" fmla="*/ 0 h 259149"/>
                <a:gd name="connsiteX4" fmla="*/ 0 w 250878"/>
                <a:gd name="connsiteY4" fmla="*/ 39773 h 25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878" h="259149">
                  <a:moveTo>
                    <a:pt x="0" y="39773"/>
                  </a:moveTo>
                  <a:cubicBezTo>
                    <a:pt x="0" y="39773"/>
                    <a:pt x="6119" y="140737"/>
                    <a:pt x="6119" y="214164"/>
                  </a:cubicBezTo>
                  <a:cubicBezTo>
                    <a:pt x="6119" y="214164"/>
                    <a:pt x="100963" y="321246"/>
                    <a:pt x="250878" y="204986"/>
                  </a:cubicBezTo>
                  <a:cubicBezTo>
                    <a:pt x="250878" y="143796"/>
                    <a:pt x="238640" y="64249"/>
                    <a:pt x="235581" y="0"/>
                  </a:cubicBezTo>
                  <a:cubicBezTo>
                    <a:pt x="238640" y="0"/>
                    <a:pt x="55071" y="52011"/>
                    <a:pt x="0" y="39773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EFB8267B-9C43-42E0-898E-E8B77B527321}"/>
                </a:ext>
              </a:extLst>
            </p:cNvPr>
            <p:cNvSpPr/>
            <p:nvPr/>
          </p:nvSpPr>
          <p:spPr>
            <a:xfrm>
              <a:off x="3852693" y="9286419"/>
              <a:ext cx="1061180" cy="1511761"/>
            </a:xfrm>
            <a:custGeom>
              <a:avLst/>
              <a:gdLst>
                <a:gd name="connsiteX0" fmla="*/ 638971 w 1061180"/>
                <a:gd name="connsiteY0" fmla="*/ 0 h 1511761"/>
                <a:gd name="connsiteX1" fmla="*/ 348319 w 1061180"/>
                <a:gd name="connsiteY1" fmla="*/ 0 h 1511761"/>
                <a:gd name="connsiteX2" fmla="*/ 48489 w 1061180"/>
                <a:gd name="connsiteY2" fmla="*/ 131558 h 1511761"/>
                <a:gd name="connsiteX3" fmla="*/ 2597 w 1061180"/>
                <a:gd name="connsiteY3" fmla="*/ 1382890 h 1511761"/>
                <a:gd name="connsiteX4" fmla="*/ 1061180 w 1061180"/>
                <a:gd name="connsiteY4" fmla="*/ 1480793 h 1511761"/>
                <a:gd name="connsiteX5" fmla="*/ 923503 w 1061180"/>
                <a:gd name="connsiteY5" fmla="*/ 107082 h 1511761"/>
                <a:gd name="connsiteX6" fmla="*/ 638971 w 1061180"/>
                <a:gd name="connsiteY6" fmla="*/ 0 h 1511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1180" h="1511761">
                  <a:moveTo>
                    <a:pt x="638971" y="0"/>
                  </a:moveTo>
                  <a:cubicBezTo>
                    <a:pt x="638971" y="0"/>
                    <a:pt x="464580" y="55071"/>
                    <a:pt x="348319" y="0"/>
                  </a:cubicBezTo>
                  <a:cubicBezTo>
                    <a:pt x="348319" y="0"/>
                    <a:pt x="72965" y="97904"/>
                    <a:pt x="48489" y="131558"/>
                  </a:cubicBezTo>
                  <a:cubicBezTo>
                    <a:pt x="24013" y="162153"/>
                    <a:pt x="-9641" y="1315581"/>
                    <a:pt x="2597" y="1382890"/>
                  </a:cubicBezTo>
                  <a:cubicBezTo>
                    <a:pt x="2597" y="1382890"/>
                    <a:pt x="479877" y="1587875"/>
                    <a:pt x="1061180" y="1480793"/>
                  </a:cubicBezTo>
                  <a:cubicBezTo>
                    <a:pt x="1061180" y="1122833"/>
                    <a:pt x="963277" y="137677"/>
                    <a:pt x="923503" y="107082"/>
                  </a:cubicBezTo>
                  <a:cubicBezTo>
                    <a:pt x="880670" y="70368"/>
                    <a:pt x="638971" y="0"/>
                    <a:pt x="638971" y="0"/>
                  </a:cubicBezTo>
                  <a:close/>
                </a:path>
              </a:pathLst>
            </a:custGeom>
            <a:solidFill>
              <a:srgbClr val="F1DDB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F5FD2EF1-89F9-43E4-BE1B-4C0686F6BC17}"/>
                </a:ext>
              </a:extLst>
            </p:cNvPr>
            <p:cNvSpPr/>
            <p:nvPr/>
          </p:nvSpPr>
          <p:spPr>
            <a:xfrm>
              <a:off x="4314213" y="9286419"/>
              <a:ext cx="180509" cy="119320"/>
            </a:xfrm>
            <a:custGeom>
              <a:avLst/>
              <a:gdLst>
                <a:gd name="connsiteX0" fmla="*/ 0 w 180509"/>
                <a:gd name="connsiteY0" fmla="*/ 21417 h 119320"/>
                <a:gd name="connsiteX1" fmla="*/ 27535 w 180509"/>
                <a:gd name="connsiteY1" fmla="*/ 119320 h 119320"/>
                <a:gd name="connsiteX2" fmla="*/ 180510 w 180509"/>
                <a:gd name="connsiteY2" fmla="*/ 0 h 119320"/>
                <a:gd name="connsiteX3" fmla="*/ 0 w 180509"/>
                <a:gd name="connsiteY3" fmla="*/ 21417 h 119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509" h="119320">
                  <a:moveTo>
                    <a:pt x="0" y="21417"/>
                  </a:moveTo>
                  <a:lnTo>
                    <a:pt x="27535" y="119320"/>
                  </a:lnTo>
                  <a:lnTo>
                    <a:pt x="180510" y="0"/>
                  </a:lnTo>
                  <a:cubicBezTo>
                    <a:pt x="177451" y="0"/>
                    <a:pt x="42833" y="21417"/>
                    <a:pt x="0" y="21417"/>
                  </a:cubicBezTo>
                  <a:close/>
                </a:path>
              </a:pathLst>
            </a:custGeom>
            <a:solidFill>
              <a:srgbClr val="FFFFFF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38981F55-9A96-4999-BCD1-2F117F9A2055}"/>
                </a:ext>
              </a:extLst>
            </p:cNvPr>
            <p:cNvSpPr/>
            <p:nvPr/>
          </p:nvSpPr>
          <p:spPr>
            <a:xfrm>
              <a:off x="4204072" y="9286419"/>
              <a:ext cx="110141" cy="116260"/>
            </a:xfrm>
            <a:custGeom>
              <a:avLst/>
              <a:gdLst>
                <a:gd name="connsiteX0" fmla="*/ 110142 w 110141"/>
                <a:gd name="connsiteY0" fmla="*/ 21417 h 116260"/>
                <a:gd name="connsiteX1" fmla="*/ 73428 w 110141"/>
                <a:gd name="connsiteY1" fmla="*/ 116261 h 116260"/>
                <a:gd name="connsiteX2" fmla="*/ 0 w 110141"/>
                <a:gd name="connsiteY2" fmla="*/ 0 h 116260"/>
                <a:gd name="connsiteX3" fmla="*/ 110142 w 110141"/>
                <a:gd name="connsiteY3" fmla="*/ 21417 h 11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41" h="116260">
                  <a:moveTo>
                    <a:pt x="110142" y="21417"/>
                  </a:moveTo>
                  <a:lnTo>
                    <a:pt x="73428" y="116261"/>
                  </a:lnTo>
                  <a:lnTo>
                    <a:pt x="0" y="0"/>
                  </a:lnTo>
                  <a:cubicBezTo>
                    <a:pt x="0" y="0"/>
                    <a:pt x="70368" y="21417"/>
                    <a:pt x="110142" y="21417"/>
                  </a:cubicBezTo>
                  <a:close/>
                </a:path>
              </a:pathLst>
            </a:custGeom>
            <a:solidFill>
              <a:srgbClr val="FFFFFF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14F9BFB0-475A-4009-A3B9-72D61C6D4ABE}"/>
                </a:ext>
              </a:extLst>
            </p:cNvPr>
            <p:cNvSpPr/>
            <p:nvPr/>
          </p:nvSpPr>
          <p:spPr>
            <a:xfrm>
              <a:off x="3607471" y="9373575"/>
              <a:ext cx="452183" cy="613467"/>
            </a:xfrm>
            <a:custGeom>
              <a:avLst/>
              <a:gdLst>
                <a:gd name="connsiteX0" fmla="*/ 388555 w 452183"/>
                <a:gd name="connsiteY0" fmla="*/ 613467 h 613467"/>
                <a:gd name="connsiteX1" fmla="*/ 400793 w 452183"/>
                <a:gd name="connsiteY1" fmla="*/ 10748 h 613467"/>
                <a:gd name="connsiteX2" fmla="*/ 0 w 452183"/>
                <a:gd name="connsiteY2" fmla="*/ 445195 h 613467"/>
                <a:gd name="connsiteX3" fmla="*/ 388555 w 452183"/>
                <a:gd name="connsiteY3" fmla="*/ 613467 h 61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2183" h="613467">
                  <a:moveTo>
                    <a:pt x="388555" y="613467"/>
                  </a:moveTo>
                  <a:cubicBezTo>
                    <a:pt x="388555" y="613467"/>
                    <a:pt x="523173" y="90295"/>
                    <a:pt x="400793" y="10748"/>
                  </a:cubicBezTo>
                  <a:cubicBezTo>
                    <a:pt x="256997" y="-81036"/>
                    <a:pt x="0" y="445195"/>
                    <a:pt x="0" y="445195"/>
                  </a:cubicBezTo>
                  <a:cubicBezTo>
                    <a:pt x="0" y="445195"/>
                    <a:pt x="174391" y="595111"/>
                    <a:pt x="388555" y="613467"/>
                  </a:cubicBezTo>
                  <a:close/>
                </a:path>
              </a:pathLst>
            </a:custGeom>
            <a:solidFill>
              <a:srgbClr val="F1DDB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72FEF409-0315-4A14-85E3-650B5ACEA770}"/>
                </a:ext>
              </a:extLst>
            </p:cNvPr>
            <p:cNvSpPr/>
            <p:nvPr/>
          </p:nvSpPr>
          <p:spPr>
            <a:xfrm>
              <a:off x="3855290" y="9410591"/>
              <a:ext cx="53278" cy="555035"/>
            </a:xfrm>
            <a:custGeom>
              <a:avLst/>
              <a:gdLst>
                <a:gd name="connsiteX0" fmla="*/ 6119 w 53278"/>
                <a:gd name="connsiteY0" fmla="*/ 555035 h 555035"/>
                <a:gd name="connsiteX1" fmla="*/ 6119 w 53278"/>
                <a:gd name="connsiteY1" fmla="*/ 555035 h 555035"/>
                <a:gd name="connsiteX2" fmla="*/ 0 w 53278"/>
                <a:gd name="connsiteY2" fmla="*/ 548916 h 555035"/>
                <a:gd name="connsiteX3" fmla="*/ 42833 w 53278"/>
                <a:gd name="connsiteY3" fmla="*/ 4327 h 555035"/>
                <a:gd name="connsiteX4" fmla="*/ 48952 w 53278"/>
                <a:gd name="connsiteY4" fmla="*/ 1267 h 555035"/>
                <a:gd name="connsiteX5" fmla="*/ 52011 w 53278"/>
                <a:gd name="connsiteY5" fmla="*/ 7386 h 555035"/>
                <a:gd name="connsiteX6" fmla="*/ 9178 w 53278"/>
                <a:gd name="connsiteY6" fmla="*/ 548916 h 555035"/>
                <a:gd name="connsiteX7" fmla="*/ 6119 w 53278"/>
                <a:gd name="connsiteY7" fmla="*/ 555035 h 55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278" h="555035">
                  <a:moveTo>
                    <a:pt x="6119" y="555035"/>
                  </a:moveTo>
                  <a:cubicBezTo>
                    <a:pt x="3059" y="555035"/>
                    <a:pt x="3059" y="555035"/>
                    <a:pt x="6119" y="555035"/>
                  </a:cubicBezTo>
                  <a:cubicBezTo>
                    <a:pt x="3059" y="555035"/>
                    <a:pt x="0" y="551976"/>
                    <a:pt x="0" y="548916"/>
                  </a:cubicBezTo>
                  <a:cubicBezTo>
                    <a:pt x="0" y="527500"/>
                    <a:pt x="36714" y="44100"/>
                    <a:pt x="42833" y="4327"/>
                  </a:cubicBezTo>
                  <a:cubicBezTo>
                    <a:pt x="42833" y="1267"/>
                    <a:pt x="45892" y="-1792"/>
                    <a:pt x="48952" y="1267"/>
                  </a:cubicBezTo>
                  <a:cubicBezTo>
                    <a:pt x="52011" y="1267"/>
                    <a:pt x="55071" y="4327"/>
                    <a:pt x="52011" y="7386"/>
                  </a:cubicBezTo>
                  <a:cubicBezTo>
                    <a:pt x="42833" y="47160"/>
                    <a:pt x="9178" y="545856"/>
                    <a:pt x="9178" y="548916"/>
                  </a:cubicBezTo>
                  <a:cubicBezTo>
                    <a:pt x="9178" y="551976"/>
                    <a:pt x="6119" y="555035"/>
                    <a:pt x="6119" y="555035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3" name="图形 892">
              <a:extLst>
                <a:ext uri="{FF2B5EF4-FFF2-40B4-BE49-F238E27FC236}">
                  <a16:creationId xmlns:a16="http://schemas.microsoft.com/office/drawing/2014/main" id="{E182B9D6-0CEC-4DFB-91B5-00F8647D3BC7}"/>
                </a:ext>
              </a:extLst>
            </p:cNvPr>
            <p:cNvGrpSpPr/>
            <p:nvPr/>
          </p:nvGrpSpPr>
          <p:grpSpPr>
            <a:xfrm>
              <a:off x="2447925" y="9867722"/>
              <a:ext cx="3132917" cy="2661756"/>
              <a:chOff x="2447925" y="9867722"/>
              <a:chExt cx="3132917" cy="2661756"/>
            </a:xfrm>
          </p:grpSpPr>
          <p:grpSp>
            <p:nvGrpSpPr>
              <p:cNvPr id="115" name="图形 892">
                <a:extLst>
                  <a:ext uri="{FF2B5EF4-FFF2-40B4-BE49-F238E27FC236}">
                    <a16:creationId xmlns:a16="http://schemas.microsoft.com/office/drawing/2014/main" id="{FD39C5FE-6994-41C2-8D2E-B615C576EB85}"/>
                  </a:ext>
                </a:extLst>
              </p:cNvPr>
              <p:cNvGrpSpPr/>
              <p:nvPr/>
            </p:nvGrpSpPr>
            <p:grpSpPr>
              <a:xfrm>
                <a:off x="2447925" y="10433728"/>
                <a:ext cx="3132917" cy="2095750"/>
                <a:chOff x="2447925" y="10433728"/>
                <a:chExt cx="3132917" cy="2095750"/>
              </a:xfrm>
            </p:grpSpPr>
            <p:grpSp>
              <p:nvGrpSpPr>
                <p:cNvPr id="120" name="图形 892">
                  <a:extLst>
                    <a:ext uri="{FF2B5EF4-FFF2-40B4-BE49-F238E27FC236}">
                      <a16:creationId xmlns:a16="http://schemas.microsoft.com/office/drawing/2014/main" id="{912F92B8-9D4B-472D-A028-37B062039AF8}"/>
                    </a:ext>
                  </a:extLst>
                </p:cNvPr>
                <p:cNvGrpSpPr/>
                <p:nvPr/>
              </p:nvGrpSpPr>
              <p:grpSpPr>
                <a:xfrm>
                  <a:off x="2447925" y="10534691"/>
                  <a:ext cx="3132917" cy="1994786"/>
                  <a:chOff x="2447925" y="10534691"/>
                  <a:chExt cx="3132917" cy="1994786"/>
                </a:xfrm>
                <a:solidFill>
                  <a:srgbClr val="38343B"/>
                </a:solidFill>
              </p:grpSpPr>
              <p:sp>
                <p:nvSpPr>
                  <p:cNvPr id="122" name="任意多边形: 形状 121">
                    <a:extLst>
                      <a:ext uri="{FF2B5EF4-FFF2-40B4-BE49-F238E27FC236}">
                        <a16:creationId xmlns:a16="http://schemas.microsoft.com/office/drawing/2014/main" id="{1196BED5-DB51-4BCE-91E9-0D6C6EC65BCE}"/>
                      </a:ext>
                    </a:extLst>
                  </p:cNvPr>
                  <p:cNvSpPr/>
                  <p:nvPr/>
                </p:nvSpPr>
                <p:spPr>
                  <a:xfrm>
                    <a:off x="2447925" y="10534691"/>
                    <a:ext cx="434447" cy="1994786"/>
                  </a:xfrm>
                  <a:custGeom>
                    <a:avLst/>
                    <a:gdLst>
                      <a:gd name="connsiteX0" fmla="*/ 61190 w 434447"/>
                      <a:gd name="connsiteY0" fmla="*/ 1994787 h 1994786"/>
                      <a:gd name="connsiteX1" fmla="*/ 0 w 434447"/>
                      <a:gd name="connsiteY1" fmla="*/ 1994787 h 1994786"/>
                      <a:gd name="connsiteX2" fmla="*/ 373258 w 434447"/>
                      <a:gd name="connsiteY2" fmla="*/ 0 h 1994786"/>
                      <a:gd name="connsiteX3" fmla="*/ 434448 w 434447"/>
                      <a:gd name="connsiteY3" fmla="*/ 0 h 19947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4447" h="1994786">
                        <a:moveTo>
                          <a:pt x="61190" y="1994787"/>
                        </a:moveTo>
                        <a:lnTo>
                          <a:pt x="0" y="1994787"/>
                        </a:lnTo>
                        <a:lnTo>
                          <a:pt x="373258" y="0"/>
                        </a:lnTo>
                        <a:lnTo>
                          <a:pt x="434448" y="0"/>
                        </a:lnTo>
                        <a:close/>
                      </a:path>
                    </a:pathLst>
                  </a:custGeom>
                  <a:solidFill>
                    <a:srgbClr val="38343B"/>
                  </a:solidFill>
                  <a:ln w="305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" name="任意多边形: 形状 122">
                    <a:extLst>
                      <a:ext uri="{FF2B5EF4-FFF2-40B4-BE49-F238E27FC236}">
                        <a16:creationId xmlns:a16="http://schemas.microsoft.com/office/drawing/2014/main" id="{BAD30357-5375-4C65-8457-D29887CF4A76}"/>
                      </a:ext>
                    </a:extLst>
                  </p:cNvPr>
                  <p:cNvSpPr/>
                  <p:nvPr/>
                </p:nvSpPr>
                <p:spPr>
                  <a:xfrm>
                    <a:off x="5146395" y="10534691"/>
                    <a:ext cx="434447" cy="1994786"/>
                  </a:xfrm>
                  <a:custGeom>
                    <a:avLst/>
                    <a:gdLst>
                      <a:gd name="connsiteX0" fmla="*/ 373258 w 434447"/>
                      <a:gd name="connsiteY0" fmla="*/ 1994787 h 1994786"/>
                      <a:gd name="connsiteX1" fmla="*/ 434448 w 434447"/>
                      <a:gd name="connsiteY1" fmla="*/ 1994787 h 1994786"/>
                      <a:gd name="connsiteX2" fmla="*/ 61190 w 434447"/>
                      <a:gd name="connsiteY2" fmla="*/ 0 h 1994786"/>
                      <a:gd name="connsiteX3" fmla="*/ 0 w 434447"/>
                      <a:gd name="connsiteY3" fmla="*/ 0 h 19947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4447" h="1994786">
                        <a:moveTo>
                          <a:pt x="373258" y="1994787"/>
                        </a:moveTo>
                        <a:lnTo>
                          <a:pt x="434448" y="1994787"/>
                        </a:lnTo>
                        <a:lnTo>
                          <a:pt x="6119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38343B"/>
                  </a:solidFill>
                  <a:ln w="305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696C9A74-806E-42BF-BC15-4A7153D0BAAE}"/>
                    </a:ext>
                  </a:extLst>
                </p:cNvPr>
                <p:cNvSpPr/>
                <p:nvPr/>
              </p:nvSpPr>
              <p:spPr>
                <a:xfrm>
                  <a:off x="2447925" y="10433728"/>
                  <a:ext cx="3129858" cy="128498"/>
                </a:xfrm>
                <a:custGeom>
                  <a:avLst/>
                  <a:gdLst>
                    <a:gd name="connsiteX0" fmla="*/ 3004419 w 3129858"/>
                    <a:gd name="connsiteY0" fmla="*/ 128499 h 128498"/>
                    <a:gd name="connsiteX1" fmla="*/ 128499 w 3129858"/>
                    <a:gd name="connsiteY1" fmla="*/ 128499 h 128498"/>
                    <a:gd name="connsiteX2" fmla="*/ 0 w 3129858"/>
                    <a:gd name="connsiteY2" fmla="*/ 0 h 128498"/>
                    <a:gd name="connsiteX3" fmla="*/ 0 w 3129858"/>
                    <a:gd name="connsiteY3" fmla="*/ 0 h 128498"/>
                    <a:gd name="connsiteX4" fmla="*/ 3129859 w 3129858"/>
                    <a:gd name="connsiteY4" fmla="*/ 0 h 128498"/>
                    <a:gd name="connsiteX5" fmla="*/ 3129859 w 3129858"/>
                    <a:gd name="connsiteY5" fmla="*/ 0 h 128498"/>
                    <a:gd name="connsiteX6" fmla="*/ 3004419 w 3129858"/>
                    <a:gd name="connsiteY6" fmla="*/ 128499 h 128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29858" h="128498">
                      <a:moveTo>
                        <a:pt x="3004419" y="128499"/>
                      </a:moveTo>
                      <a:lnTo>
                        <a:pt x="128499" y="128499"/>
                      </a:lnTo>
                      <a:cubicBezTo>
                        <a:pt x="58130" y="128499"/>
                        <a:pt x="0" y="70369"/>
                        <a:pt x="0" y="0"/>
                      </a:cubicBezTo>
                      <a:lnTo>
                        <a:pt x="0" y="0"/>
                      </a:lnTo>
                      <a:lnTo>
                        <a:pt x="3129859" y="0"/>
                      </a:lnTo>
                      <a:lnTo>
                        <a:pt x="3129859" y="0"/>
                      </a:lnTo>
                      <a:cubicBezTo>
                        <a:pt x="3129859" y="70369"/>
                        <a:pt x="3074788" y="128499"/>
                        <a:pt x="3004419" y="128499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16" name="图形 892">
                <a:extLst>
                  <a:ext uri="{FF2B5EF4-FFF2-40B4-BE49-F238E27FC236}">
                    <a16:creationId xmlns:a16="http://schemas.microsoft.com/office/drawing/2014/main" id="{3F29CECF-48C6-4DB2-A7EC-B65959710300}"/>
                  </a:ext>
                </a:extLst>
              </p:cNvPr>
              <p:cNvGrpSpPr/>
              <p:nvPr/>
            </p:nvGrpSpPr>
            <p:grpSpPr>
              <a:xfrm>
                <a:off x="2729524" y="9867722"/>
                <a:ext cx="1428655" cy="569065"/>
                <a:chOff x="2729524" y="9867722"/>
                <a:chExt cx="1428655" cy="569065"/>
              </a:xfrm>
            </p:grpSpPr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A4F0CDDE-941E-4CC1-84F9-051ADC5DC9A1}"/>
                    </a:ext>
                  </a:extLst>
                </p:cNvPr>
                <p:cNvSpPr/>
                <p:nvPr/>
              </p:nvSpPr>
              <p:spPr>
                <a:xfrm>
                  <a:off x="2729524" y="9867722"/>
                  <a:ext cx="1125766" cy="529292"/>
                </a:xfrm>
                <a:custGeom>
                  <a:avLst/>
                  <a:gdLst>
                    <a:gd name="connsiteX0" fmla="*/ 1125766 w 1125766"/>
                    <a:gd name="connsiteY0" fmla="*/ 529292 h 529292"/>
                    <a:gd name="connsiteX1" fmla="*/ 152848 w 1125766"/>
                    <a:gd name="connsiteY1" fmla="*/ 529292 h 529292"/>
                    <a:gd name="connsiteX2" fmla="*/ 2933 w 1125766"/>
                    <a:gd name="connsiteY2" fmla="*/ 76487 h 529292"/>
                    <a:gd name="connsiteX3" fmla="*/ 58004 w 1125766"/>
                    <a:gd name="connsiteY3" fmla="*/ 0 h 529292"/>
                    <a:gd name="connsiteX4" fmla="*/ 911602 w 1125766"/>
                    <a:gd name="connsiteY4" fmla="*/ 0 h 529292"/>
                    <a:gd name="connsiteX5" fmla="*/ 966673 w 1125766"/>
                    <a:gd name="connsiteY5" fmla="*/ 39774 h 529292"/>
                    <a:gd name="connsiteX6" fmla="*/ 1125766 w 1125766"/>
                    <a:gd name="connsiteY6" fmla="*/ 529292 h 529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25766" h="529292">
                      <a:moveTo>
                        <a:pt x="1125766" y="529292"/>
                      </a:moveTo>
                      <a:lnTo>
                        <a:pt x="152848" y="529292"/>
                      </a:lnTo>
                      <a:lnTo>
                        <a:pt x="2933" y="76487"/>
                      </a:lnTo>
                      <a:cubicBezTo>
                        <a:pt x="-9305" y="39774"/>
                        <a:pt x="18231" y="0"/>
                        <a:pt x="58004" y="0"/>
                      </a:cubicBezTo>
                      <a:lnTo>
                        <a:pt x="911602" y="0"/>
                      </a:lnTo>
                      <a:cubicBezTo>
                        <a:pt x="936078" y="0"/>
                        <a:pt x="957494" y="15297"/>
                        <a:pt x="966673" y="39774"/>
                      </a:cubicBezTo>
                      <a:lnTo>
                        <a:pt x="1125766" y="529292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62234DA6-2962-48A7-A7FC-A8F73028513C}"/>
                    </a:ext>
                  </a:extLst>
                </p:cNvPr>
                <p:cNvSpPr/>
                <p:nvPr/>
              </p:nvSpPr>
              <p:spPr>
                <a:xfrm>
                  <a:off x="2882372" y="10397014"/>
                  <a:ext cx="972917" cy="39773"/>
                </a:xfrm>
                <a:custGeom>
                  <a:avLst/>
                  <a:gdLst>
                    <a:gd name="connsiteX0" fmla="*/ 0 w 972917"/>
                    <a:gd name="connsiteY0" fmla="*/ 0 h 39773"/>
                    <a:gd name="connsiteX1" fmla="*/ 972918 w 972917"/>
                    <a:gd name="connsiteY1" fmla="*/ 0 h 39773"/>
                    <a:gd name="connsiteX2" fmla="*/ 972918 w 972917"/>
                    <a:gd name="connsiteY2" fmla="*/ 39773 h 39773"/>
                    <a:gd name="connsiteX3" fmla="*/ 0 w 972917"/>
                    <a:gd name="connsiteY3" fmla="*/ 39773 h 397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2917" h="39773">
                      <a:moveTo>
                        <a:pt x="0" y="0"/>
                      </a:moveTo>
                      <a:lnTo>
                        <a:pt x="972918" y="0"/>
                      </a:lnTo>
                      <a:lnTo>
                        <a:pt x="972918" y="39773"/>
                      </a:lnTo>
                      <a:lnTo>
                        <a:pt x="0" y="39773"/>
                      </a:lnTo>
                      <a:close/>
                    </a:path>
                  </a:pathLst>
                </a:custGeom>
                <a:solidFill>
                  <a:srgbClr val="E5D1D1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32795066-7FF5-40BA-8498-232A9C252902}"/>
                    </a:ext>
                  </a:extLst>
                </p:cNvPr>
                <p:cNvSpPr/>
                <p:nvPr/>
              </p:nvSpPr>
              <p:spPr>
                <a:xfrm>
                  <a:off x="3855290" y="10397014"/>
                  <a:ext cx="302889" cy="39773"/>
                </a:xfrm>
                <a:custGeom>
                  <a:avLst/>
                  <a:gdLst>
                    <a:gd name="connsiteX0" fmla="*/ 0 w 302889"/>
                    <a:gd name="connsiteY0" fmla="*/ 0 h 39773"/>
                    <a:gd name="connsiteX1" fmla="*/ 302890 w 302889"/>
                    <a:gd name="connsiteY1" fmla="*/ 0 h 39773"/>
                    <a:gd name="connsiteX2" fmla="*/ 302890 w 302889"/>
                    <a:gd name="connsiteY2" fmla="*/ 39773 h 39773"/>
                    <a:gd name="connsiteX3" fmla="*/ 0 w 302889"/>
                    <a:gd name="connsiteY3" fmla="*/ 39773 h 397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2889" h="39773">
                      <a:moveTo>
                        <a:pt x="0" y="0"/>
                      </a:moveTo>
                      <a:lnTo>
                        <a:pt x="302890" y="0"/>
                      </a:lnTo>
                      <a:lnTo>
                        <a:pt x="302890" y="39773"/>
                      </a:lnTo>
                      <a:lnTo>
                        <a:pt x="0" y="39773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4424548E-6EE7-4DF6-A146-6AD8A7FF5862}"/>
                </a:ext>
              </a:extLst>
            </p:cNvPr>
            <p:cNvSpPr/>
            <p:nvPr/>
          </p:nvSpPr>
          <p:spPr>
            <a:xfrm>
              <a:off x="4317273" y="9687212"/>
              <a:ext cx="799459" cy="742736"/>
            </a:xfrm>
            <a:custGeom>
              <a:avLst/>
              <a:gdLst>
                <a:gd name="connsiteX0" fmla="*/ 373258 w 799459"/>
                <a:gd name="connsiteY0" fmla="*/ 24476 h 742736"/>
                <a:gd name="connsiteX1" fmla="*/ 538470 w 799459"/>
                <a:gd name="connsiteY1" fmla="*/ 547649 h 742736"/>
                <a:gd name="connsiteX2" fmla="*/ 12238 w 799459"/>
                <a:gd name="connsiteY2" fmla="*/ 624136 h 742736"/>
                <a:gd name="connsiteX3" fmla="*/ 0 w 799459"/>
                <a:gd name="connsiteY3" fmla="*/ 734278 h 742736"/>
                <a:gd name="connsiteX4" fmla="*/ 774051 w 799459"/>
                <a:gd name="connsiteY4" fmla="*/ 691445 h 742736"/>
                <a:gd name="connsiteX5" fmla="*/ 642493 w 799459"/>
                <a:gd name="connsiteY5" fmla="*/ 0 h 742736"/>
                <a:gd name="connsiteX6" fmla="*/ 373258 w 799459"/>
                <a:gd name="connsiteY6" fmla="*/ 24476 h 742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9459" h="742736">
                  <a:moveTo>
                    <a:pt x="373258" y="24476"/>
                  </a:moveTo>
                  <a:lnTo>
                    <a:pt x="538470" y="547649"/>
                  </a:lnTo>
                  <a:lnTo>
                    <a:pt x="12238" y="624136"/>
                  </a:lnTo>
                  <a:lnTo>
                    <a:pt x="0" y="734278"/>
                  </a:lnTo>
                  <a:cubicBezTo>
                    <a:pt x="0" y="734278"/>
                    <a:pt x="673088" y="770992"/>
                    <a:pt x="774051" y="691445"/>
                  </a:cubicBezTo>
                  <a:cubicBezTo>
                    <a:pt x="875014" y="611898"/>
                    <a:pt x="642493" y="0"/>
                    <a:pt x="642493" y="0"/>
                  </a:cubicBezTo>
                  <a:lnTo>
                    <a:pt x="373258" y="24476"/>
                  </a:ln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36B40217-321D-4B7B-A066-5B386F299A6B}"/>
                </a:ext>
              </a:extLst>
            </p:cNvPr>
            <p:cNvSpPr/>
            <p:nvPr/>
          </p:nvSpPr>
          <p:spPr>
            <a:xfrm>
              <a:off x="4705828" y="9812652"/>
              <a:ext cx="226402" cy="452804"/>
            </a:xfrm>
            <a:custGeom>
              <a:avLst/>
              <a:gdLst>
                <a:gd name="connsiteX0" fmla="*/ 223343 w 226402"/>
                <a:gd name="connsiteY0" fmla="*/ 452804 h 452804"/>
                <a:gd name="connsiteX1" fmla="*/ 223343 w 226402"/>
                <a:gd name="connsiteY1" fmla="*/ 452804 h 452804"/>
                <a:gd name="connsiteX2" fmla="*/ 149915 w 226402"/>
                <a:gd name="connsiteY2" fmla="*/ 431388 h 452804"/>
                <a:gd name="connsiteX3" fmla="*/ 146855 w 226402"/>
                <a:gd name="connsiteY3" fmla="*/ 428329 h 452804"/>
                <a:gd name="connsiteX4" fmla="*/ 0 w 226402"/>
                <a:gd name="connsiteY4" fmla="*/ 6118 h 452804"/>
                <a:gd name="connsiteX5" fmla="*/ 3059 w 226402"/>
                <a:gd name="connsiteY5" fmla="*/ 0 h 452804"/>
                <a:gd name="connsiteX6" fmla="*/ 9178 w 226402"/>
                <a:gd name="connsiteY6" fmla="*/ 3060 h 452804"/>
                <a:gd name="connsiteX7" fmla="*/ 156034 w 226402"/>
                <a:gd name="connsiteY7" fmla="*/ 425269 h 452804"/>
                <a:gd name="connsiteX8" fmla="*/ 223343 w 226402"/>
                <a:gd name="connsiteY8" fmla="*/ 446686 h 452804"/>
                <a:gd name="connsiteX9" fmla="*/ 226402 w 226402"/>
                <a:gd name="connsiteY9" fmla="*/ 452804 h 452804"/>
                <a:gd name="connsiteX10" fmla="*/ 223343 w 226402"/>
                <a:gd name="connsiteY10" fmla="*/ 452804 h 452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6402" h="452804">
                  <a:moveTo>
                    <a:pt x="223343" y="452804"/>
                  </a:moveTo>
                  <a:cubicBezTo>
                    <a:pt x="220283" y="452804"/>
                    <a:pt x="220283" y="452804"/>
                    <a:pt x="223343" y="452804"/>
                  </a:cubicBezTo>
                  <a:cubicBezTo>
                    <a:pt x="201926" y="443626"/>
                    <a:pt x="152975" y="431388"/>
                    <a:pt x="149915" y="431388"/>
                  </a:cubicBezTo>
                  <a:cubicBezTo>
                    <a:pt x="146855" y="431388"/>
                    <a:pt x="146855" y="428329"/>
                    <a:pt x="146855" y="428329"/>
                  </a:cubicBezTo>
                  <a:cubicBezTo>
                    <a:pt x="122380" y="312067"/>
                    <a:pt x="3059" y="9178"/>
                    <a:pt x="0" y="6118"/>
                  </a:cubicBezTo>
                  <a:cubicBezTo>
                    <a:pt x="0" y="3060"/>
                    <a:pt x="0" y="0"/>
                    <a:pt x="3059" y="0"/>
                  </a:cubicBezTo>
                  <a:cubicBezTo>
                    <a:pt x="6119" y="0"/>
                    <a:pt x="9178" y="0"/>
                    <a:pt x="9178" y="3060"/>
                  </a:cubicBezTo>
                  <a:cubicBezTo>
                    <a:pt x="9178" y="6118"/>
                    <a:pt x="128498" y="305949"/>
                    <a:pt x="156034" y="425269"/>
                  </a:cubicBezTo>
                  <a:cubicBezTo>
                    <a:pt x="168272" y="428329"/>
                    <a:pt x="208045" y="440566"/>
                    <a:pt x="223343" y="446686"/>
                  </a:cubicBezTo>
                  <a:cubicBezTo>
                    <a:pt x="226402" y="446686"/>
                    <a:pt x="226402" y="449744"/>
                    <a:pt x="226402" y="452804"/>
                  </a:cubicBezTo>
                  <a:cubicBezTo>
                    <a:pt x="226402" y="449744"/>
                    <a:pt x="223343" y="452804"/>
                    <a:pt x="223343" y="452804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C18178AD-5A08-4881-9E2B-3B6608D28C87}"/>
                </a:ext>
              </a:extLst>
            </p:cNvPr>
            <p:cNvSpPr/>
            <p:nvPr/>
          </p:nvSpPr>
          <p:spPr>
            <a:xfrm>
              <a:off x="4657313" y="9387382"/>
              <a:ext cx="430951" cy="586688"/>
            </a:xfrm>
            <a:custGeom>
              <a:avLst/>
              <a:gdLst>
                <a:gd name="connsiteX0" fmla="*/ 430951 w 430951"/>
                <a:gd name="connsiteY0" fmla="*/ 513994 h 586688"/>
                <a:gd name="connsiteX1" fmla="*/ 118883 w 430951"/>
                <a:gd name="connsiteY1" fmla="*/ 0 h 586688"/>
                <a:gd name="connsiteX2" fmla="*/ 11801 w 430951"/>
                <a:gd name="connsiteY2" fmla="*/ 581304 h 586688"/>
                <a:gd name="connsiteX3" fmla="*/ 430951 w 430951"/>
                <a:gd name="connsiteY3" fmla="*/ 513994 h 586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951" h="586688">
                  <a:moveTo>
                    <a:pt x="430951" y="513994"/>
                  </a:moveTo>
                  <a:cubicBezTo>
                    <a:pt x="430951" y="513994"/>
                    <a:pt x="265739" y="0"/>
                    <a:pt x="118883" y="0"/>
                  </a:cubicBezTo>
                  <a:cubicBezTo>
                    <a:pt x="-52448" y="0"/>
                    <a:pt x="11801" y="581304"/>
                    <a:pt x="11801" y="581304"/>
                  </a:cubicBezTo>
                  <a:cubicBezTo>
                    <a:pt x="11801" y="581304"/>
                    <a:pt x="241263" y="614957"/>
                    <a:pt x="430951" y="513994"/>
                  </a:cubicBezTo>
                  <a:close/>
                </a:path>
              </a:pathLst>
            </a:custGeom>
            <a:solidFill>
              <a:srgbClr val="F1DDB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748A2D30-0A87-43E1-82D5-CBF53E7D30D1}"/>
                </a:ext>
              </a:extLst>
            </p:cNvPr>
            <p:cNvSpPr/>
            <p:nvPr/>
          </p:nvSpPr>
          <p:spPr>
            <a:xfrm>
              <a:off x="4655163" y="9387382"/>
              <a:ext cx="154687" cy="596601"/>
            </a:xfrm>
            <a:custGeom>
              <a:avLst/>
              <a:gdLst>
                <a:gd name="connsiteX0" fmla="*/ 102677 w 154687"/>
                <a:gd name="connsiteY0" fmla="*/ 596601 h 596601"/>
                <a:gd name="connsiteX1" fmla="*/ 10892 w 154687"/>
                <a:gd name="connsiteY1" fmla="*/ 590482 h 596601"/>
                <a:gd name="connsiteX2" fmla="*/ 7832 w 154687"/>
                <a:gd name="connsiteY2" fmla="*/ 590482 h 596601"/>
                <a:gd name="connsiteX3" fmla="*/ 7832 w 154687"/>
                <a:gd name="connsiteY3" fmla="*/ 587422 h 596601"/>
                <a:gd name="connsiteX4" fmla="*/ 1713 w 154687"/>
                <a:gd name="connsiteY4" fmla="*/ 226403 h 596601"/>
                <a:gd name="connsiteX5" fmla="*/ 117974 w 154687"/>
                <a:gd name="connsiteY5" fmla="*/ 0 h 596601"/>
                <a:gd name="connsiteX6" fmla="*/ 124093 w 154687"/>
                <a:gd name="connsiteY6" fmla="*/ 3060 h 596601"/>
                <a:gd name="connsiteX7" fmla="*/ 121033 w 154687"/>
                <a:gd name="connsiteY7" fmla="*/ 9179 h 596601"/>
                <a:gd name="connsiteX8" fmla="*/ 10892 w 154687"/>
                <a:gd name="connsiteY8" fmla="*/ 223343 h 596601"/>
                <a:gd name="connsiteX9" fmla="*/ 17011 w 154687"/>
                <a:gd name="connsiteY9" fmla="*/ 578244 h 596601"/>
                <a:gd name="connsiteX10" fmla="*/ 148569 w 154687"/>
                <a:gd name="connsiteY10" fmla="*/ 581304 h 596601"/>
                <a:gd name="connsiteX11" fmla="*/ 154688 w 154687"/>
                <a:gd name="connsiteY11" fmla="*/ 587422 h 596601"/>
                <a:gd name="connsiteX12" fmla="*/ 148569 w 154687"/>
                <a:gd name="connsiteY12" fmla="*/ 593541 h 596601"/>
                <a:gd name="connsiteX13" fmla="*/ 102677 w 154687"/>
                <a:gd name="connsiteY13" fmla="*/ 596601 h 596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4687" h="596601">
                  <a:moveTo>
                    <a:pt x="102677" y="596601"/>
                  </a:moveTo>
                  <a:cubicBezTo>
                    <a:pt x="53725" y="596601"/>
                    <a:pt x="10892" y="590482"/>
                    <a:pt x="10892" y="590482"/>
                  </a:cubicBezTo>
                  <a:lnTo>
                    <a:pt x="7832" y="590482"/>
                  </a:lnTo>
                  <a:lnTo>
                    <a:pt x="7832" y="587422"/>
                  </a:lnTo>
                  <a:cubicBezTo>
                    <a:pt x="7832" y="584362"/>
                    <a:pt x="-4406" y="409972"/>
                    <a:pt x="1713" y="226403"/>
                  </a:cubicBezTo>
                  <a:cubicBezTo>
                    <a:pt x="4773" y="39773"/>
                    <a:pt x="114915" y="3060"/>
                    <a:pt x="117974" y="0"/>
                  </a:cubicBezTo>
                  <a:cubicBezTo>
                    <a:pt x="121033" y="0"/>
                    <a:pt x="124093" y="0"/>
                    <a:pt x="124093" y="3060"/>
                  </a:cubicBezTo>
                  <a:cubicBezTo>
                    <a:pt x="124093" y="6119"/>
                    <a:pt x="124093" y="9179"/>
                    <a:pt x="121033" y="9179"/>
                  </a:cubicBezTo>
                  <a:cubicBezTo>
                    <a:pt x="121033" y="9179"/>
                    <a:pt x="17011" y="45892"/>
                    <a:pt x="10892" y="223343"/>
                  </a:cubicBezTo>
                  <a:cubicBezTo>
                    <a:pt x="7832" y="388555"/>
                    <a:pt x="17011" y="550709"/>
                    <a:pt x="17011" y="578244"/>
                  </a:cubicBezTo>
                  <a:cubicBezTo>
                    <a:pt x="32308" y="581304"/>
                    <a:pt x="93498" y="587422"/>
                    <a:pt x="148569" y="581304"/>
                  </a:cubicBezTo>
                  <a:cubicBezTo>
                    <a:pt x="151628" y="581304"/>
                    <a:pt x="154688" y="584362"/>
                    <a:pt x="154688" y="587422"/>
                  </a:cubicBezTo>
                  <a:cubicBezTo>
                    <a:pt x="154688" y="590482"/>
                    <a:pt x="151628" y="593541"/>
                    <a:pt x="148569" y="593541"/>
                  </a:cubicBezTo>
                  <a:cubicBezTo>
                    <a:pt x="136331" y="596601"/>
                    <a:pt x="117974" y="596601"/>
                    <a:pt x="102677" y="596601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F3FF24D5-2DFA-41D2-8D26-9931D03DCE38}"/>
                </a:ext>
              </a:extLst>
            </p:cNvPr>
            <p:cNvSpPr/>
            <p:nvPr/>
          </p:nvSpPr>
          <p:spPr>
            <a:xfrm>
              <a:off x="4754780" y="10779451"/>
              <a:ext cx="108349" cy="143795"/>
            </a:xfrm>
            <a:custGeom>
              <a:avLst/>
              <a:gdLst>
                <a:gd name="connsiteX0" fmla="*/ 100963 w 108349"/>
                <a:gd name="connsiteY0" fmla="*/ 143795 h 143795"/>
                <a:gd name="connsiteX1" fmla="*/ 100963 w 108349"/>
                <a:gd name="connsiteY1" fmla="*/ 143795 h 143795"/>
                <a:gd name="connsiteX2" fmla="*/ 21416 w 108349"/>
                <a:gd name="connsiteY2" fmla="*/ 107082 h 143795"/>
                <a:gd name="connsiteX3" fmla="*/ 0 w 108349"/>
                <a:gd name="connsiteY3" fmla="*/ 6118 h 143795"/>
                <a:gd name="connsiteX4" fmla="*/ 6119 w 108349"/>
                <a:gd name="connsiteY4" fmla="*/ 0 h 143795"/>
                <a:gd name="connsiteX5" fmla="*/ 12238 w 108349"/>
                <a:gd name="connsiteY5" fmla="*/ 6118 h 143795"/>
                <a:gd name="connsiteX6" fmla="*/ 30595 w 108349"/>
                <a:gd name="connsiteY6" fmla="*/ 100963 h 143795"/>
                <a:gd name="connsiteX7" fmla="*/ 104023 w 108349"/>
                <a:gd name="connsiteY7" fmla="*/ 131558 h 143795"/>
                <a:gd name="connsiteX8" fmla="*/ 107082 w 108349"/>
                <a:gd name="connsiteY8" fmla="*/ 137677 h 143795"/>
                <a:gd name="connsiteX9" fmla="*/ 100963 w 108349"/>
                <a:gd name="connsiteY9" fmla="*/ 143795 h 143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349" h="143795">
                  <a:moveTo>
                    <a:pt x="100963" y="143795"/>
                  </a:moveTo>
                  <a:cubicBezTo>
                    <a:pt x="100963" y="143795"/>
                    <a:pt x="100963" y="143795"/>
                    <a:pt x="100963" y="143795"/>
                  </a:cubicBezTo>
                  <a:cubicBezTo>
                    <a:pt x="91785" y="140736"/>
                    <a:pt x="33654" y="125438"/>
                    <a:pt x="21416" y="107082"/>
                  </a:cubicBezTo>
                  <a:cubicBezTo>
                    <a:pt x="9178" y="91785"/>
                    <a:pt x="0" y="15297"/>
                    <a:pt x="0" y="6118"/>
                  </a:cubicBezTo>
                  <a:cubicBezTo>
                    <a:pt x="0" y="3059"/>
                    <a:pt x="3059" y="0"/>
                    <a:pt x="6119" y="0"/>
                  </a:cubicBezTo>
                  <a:cubicBezTo>
                    <a:pt x="9178" y="0"/>
                    <a:pt x="12238" y="3059"/>
                    <a:pt x="12238" y="6118"/>
                  </a:cubicBezTo>
                  <a:cubicBezTo>
                    <a:pt x="15297" y="36713"/>
                    <a:pt x="24476" y="91785"/>
                    <a:pt x="30595" y="100963"/>
                  </a:cubicBezTo>
                  <a:cubicBezTo>
                    <a:pt x="39773" y="110141"/>
                    <a:pt x="79547" y="125438"/>
                    <a:pt x="104023" y="131558"/>
                  </a:cubicBezTo>
                  <a:cubicBezTo>
                    <a:pt x="107082" y="131558"/>
                    <a:pt x="110142" y="134617"/>
                    <a:pt x="107082" y="137677"/>
                  </a:cubicBezTo>
                  <a:cubicBezTo>
                    <a:pt x="107082" y="140736"/>
                    <a:pt x="104023" y="143795"/>
                    <a:pt x="100963" y="143795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62447794-D541-4319-8A43-ED8167723430}"/>
                </a:ext>
              </a:extLst>
            </p:cNvPr>
            <p:cNvSpPr/>
            <p:nvPr/>
          </p:nvSpPr>
          <p:spPr>
            <a:xfrm>
              <a:off x="4013867" y="10306869"/>
              <a:ext cx="350538" cy="132043"/>
            </a:xfrm>
            <a:custGeom>
              <a:avLst/>
              <a:gdLst>
                <a:gd name="connsiteX0" fmla="*/ 330942 w 350538"/>
                <a:gd name="connsiteY0" fmla="*/ 71788 h 132043"/>
                <a:gd name="connsiteX1" fmla="*/ 334001 w 350538"/>
                <a:gd name="connsiteY1" fmla="*/ 38134 h 132043"/>
                <a:gd name="connsiteX2" fmla="*/ 349299 w 350538"/>
                <a:gd name="connsiteY2" fmla="*/ 10599 h 132043"/>
                <a:gd name="connsiteX3" fmla="*/ 171848 w 350538"/>
                <a:gd name="connsiteY3" fmla="*/ 10599 h 132043"/>
                <a:gd name="connsiteX4" fmla="*/ 86183 w 350538"/>
                <a:gd name="connsiteY4" fmla="*/ 59551 h 132043"/>
                <a:gd name="connsiteX5" fmla="*/ 9695 w 350538"/>
                <a:gd name="connsiteY5" fmla="*/ 96264 h 132043"/>
                <a:gd name="connsiteX6" fmla="*/ 9695 w 350538"/>
                <a:gd name="connsiteY6" fmla="*/ 129919 h 132043"/>
                <a:gd name="connsiteX7" fmla="*/ 229979 w 350538"/>
                <a:gd name="connsiteY7" fmla="*/ 129919 h 132043"/>
                <a:gd name="connsiteX8" fmla="*/ 330942 w 350538"/>
                <a:gd name="connsiteY8" fmla="*/ 93204 h 132043"/>
                <a:gd name="connsiteX9" fmla="*/ 330942 w 350538"/>
                <a:gd name="connsiteY9" fmla="*/ 80967 h 132043"/>
                <a:gd name="connsiteX10" fmla="*/ 330942 w 350538"/>
                <a:gd name="connsiteY10" fmla="*/ 71788 h 132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0538" h="132043">
                  <a:moveTo>
                    <a:pt x="330942" y="71788"/>
                  </a:moveTo>
                  <a:cubicBezTo>
                    <a:pt x="337061" y="62609"/>
                    <a:pt x="337061" y="50372"/>
                    <a:pt x="334001" y="38134"/>
                  </a:cubicBezTo>
                  <a:cubicBezTo>
                    <a:pt x="337061" y="32015"/>
                    <a:pt x="355418" y="10599"/>
                    <a:pt x="349299" y="10599"/>
                  </a:cubicBezTo>
                  <a:cubicBezTo>
                    <a:pt x="297287" y="1420"/>
                    <a:pt x="223860" y="-7758"/>
                    <a:pt x="171848" y="10599"/>
                  </a:cubicBezTo>
                  <a:cubicBezTo>
                    <a:pt x="144313" y="19777"/>
                    <a:pt x="113718" y="38134"/>
                    <a:pt x="86183" y="59551"/>
                  </a:cubicBezTo>
                  <a:cubicBezTo>
                    <a:pt x="64766" y="68729"/>
                    <a:pt x="15814" y="96264"/>
                    <a:pt x="9695" y="96264"/>
                  </a:cubicBezTo>
                  <a:cubicBezTo>
                    <a:pt x="-8662" y="105443"/>
                    <a:pt x="3576" y="129919"/>
                    <a:pt x="9695" y="129919"/>
                  </a:cubicBezTo>
                  <a:cubicBezTo>
                    <a:pt x="15814" y="139097"/>
                    <a:pt x="132075" y="114621"/>
                    <a:pt x="229979" y="129919"/>
                  </a:cubicBezTo>
                  <a:cubicBezTo>
                    <a:pt x="257514" y="132978"/>
                    <a:pt x="324823" y="136038"/>
                    <a:pt x="330942" y="93204"/>
                  </a:cubicBezTo>
                  <a:cubicBezTo>
                    <a:pt x="330942" y="90146"/>
                    <a:pt x="330942" y="84026"/>
                    <a:pt x="330942" y="80967"/>
                  </a:cubicBezTo>
                  <a:cubicBezTo>
                    <a:pt x="330942" y="77907"/>
                    <a:pt x="330942" y="74848"/>
                    <a:pt x="330942" y="71788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6E502C6A-F8DF-4CA5-AA9F-A02DE32E95C6}"/>
                </a:ext>
              </a:extLst>
            </p:cNvPr>
            <p:cNvSpPr/>
            <p:nvPr/>
          </p:nvSpPr>
          <p:spPr>
            <a:xfrm>
              <a:off x="4092730" y="10366419"/>
              <a:ext cx="154174" cy="76487"/>
            </a:xfrm>
            <a:custGeom>
              <a:avLst/>
              <a:gdLst>
                <a:gd name="connsiteX0" fmla="*/ 31795 w 154174"/>
                <a:gd name="connsiteY0" fmla="*/ 76487 h 76487"/>
                <a:gd name="connsiteX1" fmla="*/ 7319 w 154174"/>
                <a:gd name="connsiteY1" fmla="*/ 70368 h 76487"/>
                <a:gd name="connsiteX2" fmla="*/ 1200 w 154174"/>
                <a:gd name="connsiteY2" fmla="*/ 52011 h 76487"/>
                <a:gd name="connsiteX3" fmla="*/ 148056 w 154174"/>
                <a:gd name="connsiteY3" fmla="*/ 0 h 76487"/>
                <a:gd name="connsiteX4" fmla="*/ 154175 w 154174"/>
                <a:gd name="connsiteY4" fmla="*/ 6118 h 76487"/>
                <a:gd name="connsiteX5" fmla="*/ 148056 w 154174"/>
                <a:gd name="connsiteY5" fmla="*/ 12238 h 76487"/>
                <a:gd name="connsiteX6" fmla="*/ 10379 w 154174"/>
                <a:gd name="connsiteY6" fmla="*/ 55070 h 76487"/>
                <a:gd name="connsiteX7" fmla="*/ 13438 w 154174"/>
                <a:gd name="connsiteY7" fmla="*/ 64249 h 76487"/>
                <a:gd name="connsiteX8" fmla="*/ 53212 w 154174"/>
                <a:gd name="connsiteY8" fmla="*/ 64249 h 76487"/>
                <a:gd name="connsiteX9" fmla="*/ 59331 w 154174"/>
                <a:gd name="connsiteY9" fmla="*/ 67308 h 76487"/>
                <a:gd name="connsiteX10" fmla="*/ 56271 w 154174"/>
                <a:gd name="connsiteY10" fmla="*/ 73428 h 76487"/>
                <a:gd name="connsiteX11" fmla="*/ 31795 w 154174"/>
                <a:gd name="connsiteY11" fmla="*/ 76487 h 7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4174" h="76487">
                  <a:moveTo>
                    <a:pt x="31795" y="76487"/>
                  </a:moveTo>
                  <a:cubicBezTo>
                    <a:pt x="22617" y="76487"/>
                    <a:pt x="13438" y="76487"/>
                    <a:pt x="7319" y="70368"/>
                  </a:cubicBezTo>
                  <a:cubicBezTo>
                    <a:pt x="1200" y="67308"/>
                    <a:pt x="-1859" y="61190"/>
                    <a:pt x="1200" y="52011"/>
                  </a:cubicBezTo>
                  <a:cubicBezTo>
                    <a:pt x="1200" y="21416"/>
                    <a:pt x="114401" y="3059"/>
                    <a:pt x="148056" y="0"/>
                  </a:cubicBezTo>
                  <a:cubicBezTo>
                    <a:pt x="151115" y="0"/>
                    <a:pt x="154175" y="3059"/>
                    <a:pt x="154175" y="6118"/>
                  </a:cubicBezTo>
                  <a:cubicBezTo>
                    <a:pt x="154175" y="9178"/>
                    <a:pt x="151115" y="12238"/>
                    <a:pt x="148056" y="12238"/>
                  </a:cubicBezTo>
                  <a:cubicBezTo>
                    <a:pt x="80747" y="21416"/>
                    <a:pt x="10379" y="39773"/>
                    <a:pt x="10379" y="55070"/>
                  </a:cubicBezTo>
                  <a:cubicBezTo>
                    <a:pt x="10379" y="61190"/>
                    <a:pt x="13438" y="61190"/>
                    <a:pt x="13438" y="64249"/>
                  </a:cubicBezTo>
                  <a:cubicBezTo>
                    <a:pt x="22617" y="70368"/>
                    <a:pt x="40974" y="67308"/>
                    <a:pt x="53212" y="64249"/>
                  </a:cubicBezTo>
                  <a:cubicBezTo>
                    <a:pt x="56271" y="64249"/>
                    <a:pt x="59331" y="64249"/>
                    <a:pt x="59331" y="67308"/>
                  </a:cubicBezTo>
                  <a:cubicBezTo>
                    <a:pt x="59331" y="70368"/>
                    <a:pt x="59331" y="73428"/>
                    <a:pt x="56271" y="73428"/>
                  </a:cubicBezTo>
                  <a:cubicBezTo>
                    <a:pt x="56271" y="73428"/>
                    <a:pt x="44033" y="76487"/>
                    <a:pt x="31795" y="76487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4CBCBFAE-8964-4829-85E0-CB66A42D1F5D}"/>
                </a:ext>
              </a:extLst>
            </p:cNvPr>
            <p:cNvSpPr/>
            <p:nvPr/>
          </p:nvSpPr>
          <p:spPr>
            <a:xfrm>
              <a:off x="4032740" y="10341943"/>
              <a:ext cx="116260" cy="104022"/>
            </a:xfrm>
            <a:custGeom>
              <a:avLst/>
              <a:gdLst>
                <a:gd name="connsiteX0" fmla="*/ 36714 w 116260"/>
                <a:gd name="connsiteY0" fmla="*/ 104022 h 104022"/>
                <a:gd name="connsiteX1" fmla="*/ 3060 w 116260"/>
                <a:gd name="connsiteY1" fmla="*/ 88725 h 104022"/>
                <a:gd name="connsiteX2" fmla="*/ 0 w 116260"/>
                <a:gd name="connsiteY2" fmla="*/ 76487 h 104022"/>
                <a:gd name="connsiteX3" fmla="*/ 110142 w 116260"/>
                <a:gd name="connsiteY3" fmla="*/ 0 h 104022"/>
                <a:gd name="connsiteX4" fmla="*/ 116261 w 116260"/>
                <a:gd name="connsiteY4" fmla="*/ 3060 h 104022"/>
                <a:gd name="connsiteX5" fmla="*/ 113201 w 116260"/>
                <a:gd name="connsiteY5" fmla="*/ 9179 h 104022"/>
                <a:gd name="connsiteX6" fmla="*/ 9178 w 116260"/>
                <a:gd name="connsiteY6" fmla="*/ 76487 h 104022"/>
                <a:gd name="connsiteX7" fmla="*/ 9178 w 116260"/>
                <a:gd name="connsiteY7" fmla="*/ 79547 h 104022"/>
                <a:gd name="connsiteX8" fmla="*/ 48952 w 116260"/>
                <a:gd name="connsiteY8" fmla="*/ 88725 h 104022"/>
                <a:gd name="connsiteX9" fmla="*/ 55071 w 116260"/>
                <a:gd name="connsiteY9" fmla="*/ 91785 h 104022"/>
                <a:gd name="connsiteX10" fmla="*/ 52011 w 116260"/>
                <a:gd name="connsiteY10" fmla="*/ 97904 h 104022"/>
                <a:gd name="connsiteX11" fmla="*/ 36714 w 116260"/>
                <a:gd name="connsiteY11" fmla="*/ 104022 h 104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260" h="104022">
                  <a:moveTo>
                    <a:pt x="36714" y="104022"/>
                  </a:moveTo>
                  <a:cubicBezTo>
                    <a:pt x="24476" y="104022"/>
                    <a:pt x="12238" y="100964"/>
                    <a:pt x="3060" y="88725"/>
                  </a:cubicBezTo>
                  <a:cubicBezTo>
                    <a:pt x="0" y="85666"/>
                    <a:pt x="0" y="82607"/>
                    <a:pt x="0" y="76487"/>
                  </a:cubicBezTo>
                  <a:cubicBezTo>
                    <a:pt x="6119" y="52012"/>
                    <a:pt x="91785" y="9179"/>
                    <a:pt x="110142" y="0"/>
                  </a:cubicBezTo>
                  <a:cubicBezTo>
                    <a:pt x="113201" y="0"/>
                    <a:pt x="116261" y="0"/>
                    <a:pt x="116261" y="3060"/>
                  </a:cubicBezTo>
                  <a:cubicBezTo>
                    <a:pt x="116261" y="6119"/>
                    <a:pt x="116261" y="9179"/>
                    <a:pt x="113201" y="9179"/>
                  </a:cubicBezTo>
                  <a:cubicBezTo>
                    <a:pt x="76487" y="27535"/>
                    <a:pt x="15297" y="61190"/>
                    <a:pt x="9178" y="76487"/>
                  </a:cubicBezTo>
                  <a:cubicBezTo>
                    <a:pt x="9178" y="76487"/>
                    <a:pt x="9178" y="76487"/>
                    <a:pt x="9178" y="79547"/>
                  </a:cubicBezTo>
                  <a:cubicBezTo>
                    <a:pt x="21416" y="97904"/>
                    <a:pt x="48952" y="88725"/>
                    <a:pt x="48952" y="88725"/>
                  </a:cubicBezTo>
                  <a:cubicBezTo>
                    <a:pt x="52011" y="88725"/>
                    <a:pt x="55071" y="88725"/>
                    <a:pt x="55071" y="91785"/>
                  </a:cubicBezTo>
                  <a:cubicBezTo>
                    <a:pt x="55071" y="94844"/>
                    <a:pt x="55071" y="97904"/>
                    <a:pt x="52011" y="97904"/>
                  </a:cubicBezTo>
                  <a:cubicBezTo>
                    <a:pt x="58130" y="100964"/>
                    <a:pt x="48952" y="104022"/>
                    <a:pt x="36714" y="104022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14B33B58-85F6-43EE-98E6-0890B0E38D53}"/>
                </a:ext>
              </a:extLst>
            </p:cNvPr>
            <p:cNvSpPr/>
            <p:nvPr/>
          </p:nvSpPr>
          <p:spPr>
            <a:xfrm>
              <a:off x="4485545" y="8986589"/>
              <a:ext cx="61189" cy="146855"/>
            </a:xfrm>
            <a:custGeom>
              <a:avLst/>
              <a:gdLst>
                <a:gd name="connsiteX0" fmla="*/ 61190 w 61189"/>
                <a:gd name="connsiteY0" fmla="*/ 0 h 146855"/>
                <a:gd name="connsiteX1" fmla="*/ 12238 w 61189"/>
                <a:gd name="connsiteY1" fmla="*/ 146855 h 146855"/>
                <a:gd name="connsiteX2" fmla="*/ 0 w 61189"/>
                <a:gd name="connsiteY2" fmla="*/ 61190 h 146855"/>
                <a:gd name="connsiteX3" fmla="*/ 61190 w 61189"/>
                <a:gd name="connsiteY3" fmla="*/ 0 h 146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89" h="146855">
                  <a:moveTo>
                    <a:pt x="61190" y="0"/>
                  </a:moveTo>
                  <a:cubicBezTo>
                    <a:pt x="61190" y="0"/>
                    <a:pt x="61190" y="122380"/>
                    <a:pt x="12238" y="146855"/>
                  </a:cubicBezTo>
                  <a:lnTo>
                    <a:pt x="0" y="61190"/>
                  </a:lnTo>
                  <a:lnTo>
                    <a:pt x="61190" y="0"/>
                  </a:ln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192B0B15-855F-408E-B701-25380A34120F}"/>
                </a:ext>
              </a:extLst>
            </p:cNvPr>
            <p:cNvSpPr/>
            <p:nvPr/>
          </p:nvSpPr>
          <p:spPr>
            <a:xfrm>
              <a:off x="4069132" y="8833615"/>
              <a:ext cx="111279" cy="231549"/>
            </a:xfrm>
            <a:custGeom>
              <a:avLst/>
              <a:gdLst>
                <a:gd name="connsiteX0" fmla="*/ 323 w 111279"/>
                <a:gd name="connsiteY0" fmla="*/ 0 h 231549"/>
                <a:gd name="connsiteX1" fmla="*/ 70691 w 111279"/>
                <a:gd name="connsiteY1" fmla="*/ 229462 h 231549"/>
                <a:gd name="connsiteX2" fmla="*/ 101286 w 111279"/>
                <a:gd name="connsiteY2" fmla="*/ 3059 h 231549"/>
                <a:gd name="connsiteX3" fmla="*/ 323 w 111279"/>
                <a:gd name="connsiteY3" fmla="*/ 0 h 231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279" h="231549">
                  <a:moveTo>
                    <a:pt x="323" y="0"/>
                  </a:moveTo>
                  <a:cubicBezTo>
                    <a:pt x="323" y="0"/>
                    <a:pt x="-8856" y="198867"/>
                    <a:pt x="70691" y="229462"/>
                  </a:cubicBezTo>
                  <a:cubicBezTo>
                    <a:pt x="138000" y="256997"/>
                    <a:pt x="101286" y="3059"/>
                    <a:pt x="101286" y="3059"/>
                  </a:cubicBezTo>
                  <a:lnTo>
                    <a:pt x="323" y="0"/>
                  </a:ln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D1B554CF-4621-4D1A-8A82-6A49C4DCB11A}"/>
                </a:ext>
              </a:extLst>
            </p:cNvPr>
            <p:cNvSpPr/>
            <p:nvPr/>
          </p:nvSpPr>
          <p:spPr>
            <a:xfrm>
              <a:off x="4115262" y="8668347"/>
              <a:ext cx="415516" cy="572301"/>
            </a:xfrm>
            <a:custGeom>
              <a:avLst/>
              <a:gdLst>
                <a:gd name="connsiteX0" fmla="*/ 85 w 415516"/>
                <a:gd name="connsiteY0" fmla="*/ 205041 h 572301"/>
                <a:gd name="connsiteX1" fmla="*/ 27620 w 415516"/>
                <a:gd name="connsiteY1" fmla="*/ 455919 h 572301"/>
                <a:gd name="connsiteX2" fmla="*/ 202011 w 415516"/>
                <a:gd name="connsiteY2" fmla="*/ 572180 h 572301"/>
                <a:gd name="connsiteX3" fmla="*/ 400878 w 415516"/>
                <a:gd name="connsiteY3" fmla="*/ 403908 h 572301"/>
                <a:gd name="connsiteX4" fmla="*/ 413116 w 415516"/>
                <a:gd name="connsiteY4" fmla="*/ 174446 h 572301"/>
                <a:gd name="connsiteX5" fmla="*/ 177535 w 415516"/>
                <a:gd name="connsiteY5" fmla="*/ 55 h 572301"/>
                <a:gd name="connsiteX6" fmla="*/ 85 w 415516"/>
                <a:gd name="connsiteY6" fmla="*/ 205041 h 572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5516" h="572301">
                  <a:moveTo>
                    <a:pt x="85" y="205041"/>
                  </a:moveTo>
                  <a:cubicBezTo>
                    <a:pt x="85" y="205041"/>
                    <a:pt x="-2974" y="382491"/>
                    <a:pt x="27620" y="455919"/>
                  </a:cubicBezTo>
                  <a:cubicBezTo>
                    <a:pt x="55156" y="520168"/>
                    <a:pt x="150000" y="575239"/>
                    <a:pt x="202011" y="572180"/>
                  </a:cubicBezTo>
                  <a:cubicBezTo>
                    <a:pt x="269320" y="569120"/>
                    <a:pt x="382521" y="517109"/>
                    <a:pt x="400878" y="403908"/>
                  </a:cubicBezTo>
                  <a:cubicBezTo>
                    <a:pt x="413116" y="327420"/>
                    <a:pt x="419235" y="226457"/>
                    <a:pt x="413116" y="174446"/>
                  </a:cubicBezTo>
                  <a:cubicBezTo>
                    <a:pt x="400878" y="79602"/>
                    <a:pt x="367224" y="3115"/>
                    <a:pt x="177535" y="55"/>
                  </a:cubicBezTo>
                  <a:cubicBezTo>
                    <a:pt x="91870" y="-3004"/>
                    <a:pt x="12323" y="122435"/>
                    <a:pt x="85" y="205041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6EE0A803-8A8C-49E1-ABBB-7A8F56EBF585}"/>
                </a:ext>
              </a:extLst>
            </p:cNvPr>
            <p:cNvSpPr/>
            <p:nvPr/>
          </p:nvSpPr>
          <p:spPr>
            <a:xfrm>
              <a:off x="4264405" y="8934578"/>
              <a:ext cx="62046" cy="137677"/>
            </a:xfrm>
            <a:custGeom>
              <a:avLst/>
              <a:gdLst>
                <a:gd name="connsiteX0" fmla="*/ 25333 w 62046"/>
                <a:gd name="connsiteY0" fmla="*/ 137677 h 137677"/>
                <a:gd name="connsiteX1" fmla="*/ 6976 w 62046"/>
                <a:gd name="connsiteY1" fmla="*/ 134618 h 137677"/>
                <a:gd name="connsiteX2" fmla="*/ 857 w 62046"/>
                <a:gd name="connsiteY2" fmla="*/ 122380 h 137677"/>
                <a:gd name="connsiteX3" fmla="*/ 3916 w 62046"/>
                <a:gd name="connsiteY3" fmla="*/ 6119 h 137677"/>
                <a:gd name="connsiteX4" fmla="*/ 10035 w 62046"/>
                <a:gd name="connsiteY4" fmla="*/ 0 h 137677"/>
                <a:gd name="connsiteX5" fmla="*/ 16154 w 62046"/>
                <a:gd name="connsiteY5" fmla="*/ 6119 h 137677"/>
                <a:gd name="connsiteX6" fmla="*/ 13095 w 62046"/>
                <a:gd name="connsiteY6" fmla="*/ 119320 h 137677"/>
                <a:gd name="connsiteX7" fmla="*/ 16154 w 62046"/>
                <a:gd name="connsiteY7" fmla="*/ 122380 h 137677"/>
                <a:gd name="connsiteX8" fmla="*/ 55927 w 62046"/>
                <a:gd name="connsiteY8" fmla="*/ 119320 h 137677"/>
                <a:gd name="connsiteX9" fmla="*/ 62046 w 62046"/>
                <a:gd name="connsiteY9" fmla="*/ 122380 h 137677"/>
                <a:gd name="connsiteX10" fmla="*/ 58987 w 62046"/>
                <a:gd name="connsiteY10" fmla="*/ 128499 h 137677"/>
                <a:gd name="connsiteX11" fmla="*/ 25333 w 62046"/>
                <a:gd name="connsiteY11" fmla="*/ 137677 h 137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046" h="137677">
                  <a:moveTo>
                    <a:pt x="25333" y="137677"/>
                  </a:moveTo>
                  <a:cubicBezTo>
                    <a:pt x="19214" y="137677"/>
                    <a:pt x="13095" y="137677"/>
                    <a:pt x="6976" y="134618"/>
                  </a:cubicBezTo>
                  <a:cubicBezTo>
                    <a:pt x="3916" y="131558"/>
                    <a:pt x="857" y="128499"/>
                    <a:pt x="857" y="122380"/>
                  </a:cubicBezTo>
                  <a:cubicBezTo>
                    <a:pt x="-2203" y="100963"/>
                    <a:pt x="3916" y="12238"/>
                    <a:pt x="3916" y="6119"/>
                  </a:cubicBezTo>
                  <a:cubicBezTo>
                    <a:pt x="3916" y="3060"/>
                    <a:pt x="6976" y="0"/>
                    <a:pt x="10035" y="0"/>
                  </a:cubicBezTo>
                  <a:cubicBezTo>
                    <a:pt x="13095" y="0"/>
                    <a:pt x="16154" y="3060"/>
                    <a:pt x="16154" y="6119"/>
                  </a:cubicBezTo>
                  <a:cubicBezTo>
                    <a:pt x="16154" y="6119"/>
                    <a:pt x="10035" y="100963"/>
                    <a:pt x="13095" y="119320"/>
                  </a:cubicBezTo>
                  <a:cubicBezTo>
                    <a:pt x="13095" y="119320"/>
                    <a:pt x="13095" y="122380"/>
                    <a:pt x="16154" y="122380"/>
                  </a:cubicBezTo>
                  <a:cubicBezTo>
                    <a:pt x="22273" y="128499"/>
                    <a:pt x="43689" y="122380"/>
                    <a:pt x="55927" y="119320"/>
                  </a:cubicBezTo>
                  <a:cubicBezTo>
                    <a:pt x="58987" y="119320"/>
                    <a:pt x="62046" y="119320"/>
                    <a:pt x="62046" y="122380"/>
                  </a:cubicBezTo>
                  <a:cubicBezTo>
                    <a:pt x="62046" y="125439"/>
                    <a:pt x="62046" y="128499"/>
                    <a:pt x="58987" y="128499"/>
                  </a:cubicBezTo>
                  <a:cubicBezTo>
                    <a:pt x="52868" y="134618"/>
                    <a:pt x="37570" y="137677"/>
                    <a:pt x="25333" y="137677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E32D2769-5DE6-41A2-8E5D-6AAD7EC2C32B}"/>
                </a:ext>
              </a:extLst>
            </p:cNvPr>
            <p:cNvSpPr/>
            <p:nvPr/>
          </p:nvSpPr>
          <p:spPr>
            <a:xfrm>
              <a:off x="4179596" y="8922340"/>
              <a:ext cx="40366" cy="39773"/>
            </a:xfrm>
            <a:custGeom>
              <a:avLst/>
              <a:gdLst>
                <a:gd name="connsiteX0" fmla="*/ 39773 w 40366"/>
                <a:gd name="connsiteY0" fmla="*/ 21416 h 39773"/>
                <a:gd name="connsiteX1" fmla="*/ 18357 w 40366"/>
                <a:gd name="connsiteY1" fmla="*/ 39773 h 39773"/>
                <a:gd name="connsiteX2" fmla="*/ 0 w 40366"/>
                <a:gd name="connsiteY2" fmla="*/ 18357 h 39773"/>
                <a:gd name="connsiteX3" fmla="*/ 21416 w 40366"/>
                <a:gd name="connsiteY3" fmla="*/ 0 h 39773"/>
                <a:gd name="connsiteX4" fmla="*/ 39773 w 40366"/>
                <a:gd name="connsiteY4" fmla="*/ 21416 h 39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66" h="39773">
                  <a:moveTo>
                    <a:pt x="39773" y="21416"/>
                  </a:moveTo>
                  <a:cubicBezTo>
                    <a:pt x="39773" y="33655"/>
                    <a:pt x="27535" y="39773"/>
                    <a:pt x="18357" y="39773"/>
                  </a:cubicBezTo>
                  <a:cubicBezTo>
                    <a:pt x="6119" y="39773"/>
                    <a:pt x="0" y="27535"/>
                    <a:pt x="0" y="18357"/>
                  </a:cubicBezTo>
                  <a:cubicBezTo>
                    <a:pt x="0" y="6119"/>
                    <a:pt x="12238" y="0"/>
                    <a:pt x="21416" y="0"/>
                  </a:cubicBezTo>
                  <a:cubicBezTo>
                    <a:pt x="33654" y="0"/>
                    <a:pt x="42833" y="12238"/>
                    <a:pt x="39773" y="2141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FFA80168-678E-4AF9-8441-D520BE394F5C}"/>
                </a:ext>
              </a:extLst>
            </p:cNvPr>
            <p:cNvSpPr/>
            <p:nvPr/>
          </p:nvSpPr>
          <p:spPr>
            <a:xfrm>
              <a:off x="4366225" y="8919280"/>
              <a:ext cx="39773" cy="39773"/>
            </a:xfrm>
            <a:custGeom>
              <a:avLst/>
              <a:gdLst>
                <a:gd name="connsiteX0" fmla="*/ 39773 w 39773"/>
                <a:gd name="connsiteY0" fmla="*/ 21417 h 39773"/>
                <a:gd name="connsiteX1" fmla="*/ 18357 w 39773"/>
                <a:gd name="connsiteY1" fmla="*/ 39773 h 39773"/>
                <a:gd name="connsiteX2" fmla="*/ 0 w 39773"/>
                <a:gd name="connsiteY2" fmla="*/ 18357 h 39773"/>
                <a:gd name="connsiteX3" fmla="*/ 21416 w 39773"/>
                <a:gd name="connsiteY3" fmla="*/ 0 h 39773"/>
                <a:gd name="connsiteX4" fmla="*/ 39773 w 39773"/>
                <a:gd name="connsiteY4" fmla="*/ 21417 h 39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773" h="39773">
                  <a:moveTo>
                    <a:pt x="39773" y="21417"/>
                  </a:moveTo>
                  <a:cubicBezTo>
                    <a:pt x="39773" y="33655"/>
                    <a:pt x="27535" y="39773"/>
                    <a:pt x="18357" y="39773"/>
                  </a:cubicBezTo>
                  <a:cubicBezTo>
                    <a:pt x="6119" y="39773"/>
                    <a:pt x="0" y="27536"/>
                    <a:pt x="0" y="18357"/>
                  </a:cubicBezTo>
                  <a:cubicBezTo>
                    <a:pt x="0" y="6119"/>
                    <a:pt x="12238" y="0"/>
                    <a:pt x="21416" y="0"/>
                  </a:cubicBezTo>
                  <a:cubicBezTo>
                    <a:pt x="33654" y="3060"/>
                    <a:pt x="39773" y="12238"/>
                    <a:pt x="39773" y="21417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6BA182DC-D367-4449-8642-8392251B26B2}"/>
                </a:ext>
              </a:extLst>
            </p:cNvPr>
            <p:cNvSpPr/>
            <p:nvPr/>
          </p:nvSpPr>
          <p:spPr>
            <a:xfrm>
              <a:off x="4149001" y="8870132"/>
              <a:ext cx="89992" cy="39969"/>
            </a:xfrm>
            <a:custGeom>
              <a:avLst/>
              <a:gdLst>
                <a:gd name="connsiteX0" fmla="*/ 9179 w 89992"/>
                <a:gd name="connsiteY0" fmla="*/ 39970 h 39969"/>
                <a:gd name="connsiteX1" fmla="*/ 3060 w 89992"/>
                <a:gd name="connsiteY1" fmla="*/ 36910 h 39969"/>
                <a:gd name="connsiteX2" fmla="*/ 0 w 89992"/>
                <a:gd name="connsiteY2" fmla="*/ 24673 h 39969"/>
                <a:gd name="connsiteX3" fmla="*/ 85666 w 89992"/>
                <a:gd name="connsiteY3" fmla="*/ 6315 h 39969"/>
                <a:gd name="connsiteX4" fmla="*/ 88725 w 89992"/>
                <a:gd name="connsiteY4" fmla="*/ 15494 h 39969"/>
                <a:gd name="connsiteX5" fmla="*/ 79547 w 89992"/>
                <a:gd name="connsiteY5" fmla="*/ 18553 h 39969"/>
                <a:gd name="connsiteX6" fmla="*/ 12238 w 89992"/>
                <a:gd name="connsiteY6" fmla="*/ 33851 h 39969"/>
                <a:gd name="connsiteX7" fmla="*/ 9179 w 89992"/>
                <a:gd name="connsiteY7" fmla="*/ 39970 h 39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992" h="39969">
                  <a:moveTo>
                    <a:pt x="9179" y="39970"/>
                  </a:moveTo>
                  <a:cubicBezTo>
                    <a:pt x="6119" y="39970"/>
                    <a:pt x="6119" y="39970"/>
                    <a:pt x="3060" y="36910"/>
                  </a:cubicBezTo>
                  <a:cubicBezTo>
                    <a:pt x="0" y="33851"/>
                    <a:pt x="0" y="30791"/>
                    <a:pt x="0" y="24673"/>
                  </a:cubicBezTo>
                  <a:cubicBezTo>
                    <a:pt x="24476" y="-5922"/>
                    <a:pt x="64249" y="-2863"/>
                    <a:pt x="85666" y="6315"/>
                  </a:cubicBezTo>
                  <a:cubicBezTo>
                    <a:pt x="88725" y="9375"/>
                    <a:pt x="91785" y="12434"/>
                    <a:pt x="88725" y="15494"/>
                  </a:cubicBezTo>
                  <a:cubicBezTo>
                    <a:pt x="88725" y="18553"/>
                    <a:pt x="82606" y="21613"/>
                    <a:pt x="79547" y="18553"/>
                  </a:cubicBezTo>
                  <a:cubicBezTo>
                    <a:pt x="76487" y="18553"/>
                    <a:pt x="36714" y="3256"/>
                    <a:pt x="12238" y="33851"/>
                  </a:cubicBezTo>
                  <a:cubicBezTo>
                    <a:pt x="15297" y="39970"/>
                    <a:pt x="12238" y="39970"/>
                    <a:pt x="9179" y="39970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68FA1DF1-2F65-4494-A513-73F372961CE9}"/>
                </a:ext>
              </a:extLst>
            </p:cNvPr>
            <p:cNvSpPr/>
            <p:nvPr/>
          </p:nvSpPr>
          <p:spPr>
            <a:xfrm>
              <a:off x="4339454" y="8854897"/>
              <a:ext cx="90255" cy="30729"/>
            </a:xfrm>
            <a:custGeom>
              <a:avLst/>
              <a:gdLst>
                <a:gd name="connsiteX0" fmla="*/ 8414 w 90255"/>
                <a:gd name="connsiteY0" fmla="*/ 30729 h 30729"/>
                <a:gd name="connsiteX1" fmla="*/ 2295 w 90255"/>
                <a:gd name="connsiteY1" fmla="*/ 27669 h 30729"/>
                <a:gd name="connsiteX2" fmla="*/ 2295 w 90255"/>
                <a:gd name="connsiteY2" fmla="*/ 15432 h 30729"/>
                <a:gd name="connsiteX3" fmla="*/ 87960 w 90255"/>
                <a:gd name="connsiteY3" fmla="*/ 15432 h 30729"/>
                <a:gd name="connsiteX4" fmla="*/ 87960 w 90255"/>
                <a:gd name="connsiteY4" fmla="*/ 27669 h 30729"/>
                <a:gd name="connsiteX5" fmla="*/ 75722 w 90255"/>
                <a:gd name="connsiteY5" fmla="*/ 27669 h 30729"/>
                <a:gd name="connsiteX6" fmla="*/ 8414 w 90255"/>
                <a:gd name="connsiteY6" fmla="*/ 27669 h 30729"/>
                <a:gd name="connsiteX7" fmla="*/ 8414 w 90255"/>
                <a:gd name="connsiteY7" fmla="*/ 30729 h 30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255" h="30729">
                  <a:moveTo>
                    <a:pt x="8414" y="30729"/>
                  </a:moveTo>
                  <a:cubicBezTo>
                    <a:pt x="5354" y="30729"/>
                    <a:pt x="5354" y="30729"/>
                    <a:pt x="2295" y="27669"/>
                  </a:cubicBezTo>
                  <a:cubicBezTo>
                    <a:pt x="-765" y="24610"/>
                    <a:pt x="-765" y="18491"/>
                    <a:pt x="2295" y="15432"/>
                  </a:cubicBezTo>
                  <a:cubicBezTo>
                    <a:pt x="35949" y="-12104"/>
                    <a:pt x="75722" y="3193"/>
                    <a:pt x="87960" y="15432"/>
                  </a:cubicBezTo>
                  <a:cubicBezTo>
                    <a:pt x="91020" y="18491"/>
                    <a:pt x="91020" y="24610"/>
                    <a:pt x="87960" y="27669"/>
                  </a:cubicBezTo>
                  <a:cubicBezTo>
                    <a:pt x="84901" y="30729"/>
                    <a:pt x="78782" y="30729"/>
                    <a:pt x="75722" y="27669"/>
                  </a:cubicBezTo>
                  <a:cubicBezTo>
                    <a:pt x="75722" y="27669"/>
                    <a:pt x="42068" y="134"/>
                    <a:pt x="8414" y="27669"/>
                  </a:cubicBezTo>
                  <a:cubicBezTo>
                    <a:pt x="11473" y="27669"/>
                    <a:pt x="8414" y="30729"/>
                    <a:pt x="8414" y="30729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FBCA8C6C-3F1A-4B3C-9B5D-162B311CA29F}"/>
                </a:ext>
              </a:extLst>
            </p:cNvPr>
            <p:cNvSpPr/>
            <p:nvPr/>
          </p:nvSpPr>
          <p:spPr>
            <a:xfrm>
              <a:off x="4246905" y="9162680"/>
              <a:ext cx="227762" cy="80906"/>
            </a:xfrm>
            <a:custGeom>
              <a:avLst/>
              <a:gdLst>
                <a:gd name="connsiteX0" fmla="*/ 70368 w 227762"/>
                <a:gd name="connsiteY0" fmla="*/ 80907 h 80906"/>
                <a:gd name="connsiteX1" fmla="*/ 3060 w 227762"/>
                <a:gd name="connsiteY1" fmla="*/ 62549 h 80906"/>
                <a:gd name="connsiteX2" fmla="*/ 0 w 227762"/>
                <a:gd name="connsiteY2" fmla="*/ 53371 h 80906"/>
                <a:gd name="connsiteX3" fmla="*/ 9178 w 227762"/>
                <a:gd name="connsiteY3" fmla="*/ 50312 h 80906"/>
                <a:gd name="connsiteX4" fmla="*/ 82606 w 227762"/>
                <a:gd name="connsiteY4" fmla="*/ 68669 h 80906"/>
                <a:gd name="connsiteX5" fmla="*/ 217224 w 227762"/>
                <a:gd name="connsiteY5" fmla="*/ 1360 h 80906"/>
                <a:gd name="connsiteX6" fmla="*/ 226402 w 227762"/>
                <a:gd name="connsiteY6" fmla="*/ 1360 h 80906"/>
                <a:gd name="connsiteX7" fmla="*/ 226402 w 227762"/>
                <a:gd name="connsiteY7" fmla="*/ 10538 h 80906"/>
                <a:gd name="connsiteX8" fmla="*/ 88725 w 227762"/>
                <a:gd name="connsiteY8" fmla="*/ 77847 h 80906"/>
                <a:gd name="connsiteX9" fmla="*/ 70368 w 227762"/>
                <a:gd name="connsiteY9" fmla="*/ 80907 h 80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7762" h="80906">
                  <a:moveTo>
                    <a:pt x="70368" y="80907"/>
                  </a:moveTo>
                  <a:cubicBezTo>
                    <a:pt x="33654" y="80907"/>
                    <a:pt x="3060" y="62549"/>
                    <a:pt x="3060" y="62549"/>
                  </a:cubicBezTo>
                  <a:cubicBezTo>
                    <a:pt x="0" y="59490"/>
                    <a:pt x="0" y="56431"/>
                    <a:pt x="0" y="53371"/>
                  </a:cubicBezTo>
                  <a:cubicBezTo>
                    <a:pt x="3060" y="50312"/>
                    <a:pt x="6119" y="50312"/>
                    <a:pt x="9178" y="50312"/>
                  </a:cubicBezTo>
                  <a:cubicBezTo>
                    <a:pt x="9178" y="50312"/>
                    <a:pt x="42833" y="71728"/>
                    <a:pt x="82606" y="68669"/>
                  </a:cubicBezTo>
                  <a:cubicBezTo>
                    <a:pt x="131558" y="62549"/>
                    <a:pt x="214164" y="1360"/>
                    <a:pt x="217224" y="1360"/>
                  </a:cubicBezTo>
                  <a:cubicBezTo>
                    <a:pt x="220283" y="-1700"/>
                    <a:pt x="223343" y="1360"/>
                    <a:pt x="226402" y="1360"/>
                  </a:cubicBezTo>
                  <a:cubicBezTo>
                    <a:pt x="229462" y="1360"/>
                    <a:pt x="226402" y="7479"/>
                    <a:pt x="226402" y="10538"/>
                  </a:cubicBezTo>
                  <a:cubicBezTo>
                    <a:pt x="223343" y="13598"/>
                    <a:pt x="137677" y="74788"/>
                    <a:pt x="88725" y="77847"/>
                  </a:cubicBezTo>
                  <a:cubicBezTo>
                    <a:pt x="79547" y="80907"/>
                    <a:pt x="76487" y="80907"/>
                    <a:pt x="70368" y="80907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18932EE1-396D-4335-9BFA-344DDA42918D}"/>
                </a:ext>
              </a:extLst>
            </p:cNvPr>
            <p:cNvSpPr/>
            <p:nvPr/>
          </p:nvSpPr>
          <p:spPr>
            <a:xfrm>
              <a:off x="4504559" y="8901563"/>
              <a:ext cx="74089" cy="115247"/>
            </a:xfrm>
            <a:custGeom>
              <a:avLst/>
              <a:gdLst>
                <a:gd name="connsiteX0" fmla="*/ 5462 w 74089"/>
                <a:gd name="connsiteY0" fmla="*/ 20777 h 115247"/>
                <a:gd name="connsiteX1" fmla="*/ 63592 w 74089"/>
                <a:gd name="connsiteY1" fmla="*/ 5479 h 115247"/>
                <a:gd name="connsiteX2" fmla="*/ 17700 w 74089"/>
                <a:gd name="connsiteY2" fmla="*/ 112561 h 115247"/>
                <a:gd name="connsiteX3" fmla="*/ 5462 w 74089"/>
                <a:gd name="connsiteY3" fmla="*/ 20777 h 115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089" h="115247">
                  <a:moveTo>
                    <a:pt x="5462" y="20777"/>
                  </a:moveTo>
                  <a:cubicBezTo>
                    <a:pt x="5462" y="20777"/>
                    <a:pt x="36056" y="-12878"/>
                    <a:pt x="63592" y="5479"/>
                  </a:cubicBezTo>
                  <a:cubicBezTo>
                    <a:pt x="91127" y="20777"/>
                    <a:pt x="60532" y="133978"/>
                    <a:pt x="17700" y="112561"/>
                  </a:cubicBezTo>
                  <a:cubicBezTo>
                    <a:pt x="-12895" y="97264"/>
                    <a:pt x="5462" y="20777"/>
                    <a:pt x="5462" y="20777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5254B106-B9EC-49D4-97A9-0DD3015D875E}"/>
                </a:ext>
              </a:extLst>
            </p:cNvPr>
            <p:cNvSpPr/>
            <p:nvPr/>
          </p:nvSpPr>
          <p:spPr>
            <a:xfrm>
              <a:off x="4050524" y="8554170"/>
              <a:ext cx="508990" cy="392645"/>
            </a:xfrm>
            <a:custGeom>
              <a:avLst/>
              <a:gdLst>
                <a:gd name="connsiteX0" fmla="*/ 441140 w 508990"/>
                <a:gd name="connsiteY0" fmla="*/ 117291 h 392645"/>
                <a:gd name="connsiteX1" fmla="*/ 419724 w 508990"/>
                <a:gd name="connsiteY1" fmla="*/ 77518 h 392645"/>
                <a:gd name="connsiteX2" fmla="*/ 407486 w 508990"/>
                <a:gd name="connsiteY2" fmla="*/ 80577 h 392645"/>
                <a:gd name="connsiteX3" fmla="*/ 373831 w 508990"/>
                <a:gd name="connsiteY3" fmla="*/ 62220 h 392645"/>
                <a:gd name="connsiteX4" fmla="*/ 358534 w 508990"/>
                <a:gd name="connsiteY4" fmla="*/ 43863 h 392645"/>
                <a:gd name="connsiteX5" fmla="*/ 324880 w 508990"/>
                <a:gd name="connsiteY5" fmla="*/ 16328 h 392645"/>
                <a:gd name="connsiteX6" fmla="*/ 291225 w 508990"/>
                <a:gd name="connsiteY6" fmla="*/ 16328 h 392645"/>
                <a:gd name="connsiteX7" fmla="*/ 233095 w 508990"/>
                <a:gd name="connsiteY7" fmla="*/ 7149 h 392645"/>
                <a:gd name="connsiteX8" fmla="*/ 217797 w 508990"/>
                <a:gd name="connsiteY8" fmla="*/ 1031 h 392645"/>
                <a:gd name="connsiteX9" fmla="*/ 98477 w 508990"/>
                <a:gd name="connsiteY9" fmla="*/ 49983 h 392645"/>
                <a:gd name="connsiteX10" fmla="*/ 40347 w 508990"/>
                <a:gd name="connsiteY10" fmla="*/ 80577 h 392645"/>
                <a:gd name="connsiteX11" fmla="*/ 28109 w 508990"/>
                <a:gd name="connsiteY11" fmla="*/ 126470 h 392645"/>
                <a:gd name="connsiteX12" fmla="*/ 12812 w 508990"/>
                <a:gd name="connsiteY12" fmla="*/ 157065 h 392645"/>
                <a:gd name="connsiteX13" fmla="*/ 9752 w 508990"/>
                <a:gd name="connsiteY13" fmla="*/ 193779 h 392645"/>
                <a:gd name="connsiteX14" fmla="*/ 15871 w 508990"/>
                <a:gd name="connsiteY14" fmla="*/ 227433 h 392645"/>
                <a:gd name="connsiteX15" fmla="*/ 574 w 508990"/>
                <a:gd name="connsiteY15" fmla="*/ 270266 h 392645"/>
                <a:gd name="connsiteX16" fmla="*/ 28109 w 508990"/>
                <a:gd name="connsiteY16" fmla="*/ 365110 h 392645"/>
                <a:gd name="connsiteX17" fmla="*/ 37287 w 508990"/>
                <a:gd name="connsiteY17" fmla="*/ 365110 h 392645"/>
                <a:gd name="connsiteX18" fmla="*/ 49525 w 508990"/>
                <a:gd name="connsiteY18" fmla="*/ 392645 h 392645"/>
                <a:gd name="connsiteX19" fmla="*/ 61763 w 508990"/>
                <a:gd name="connsiteY19" fmla="*/ 334515 h 392645"/>
                <a:gd name="connsiteX20" fmla="*/ 89299 w 508990"/>
                <a:gd name="connsiteY20" fmla="*/ 319217 h 392645"/>
                <a:gd name="connsiteX21" fmla="*/ 104596 w 508990"/>
                <a:gd name="connsiteY21" fmla="*/ 294742 h 392645"/>
                <a:gd name="connsiteX22" fmla="*/ 110715 w 508990"/>
                <a:gd name="connsiteY22" fmla="*/ 285563 h 392645"/>
                <a:gd name="connsiteX23" fmla="*/ 116834 w 508990"/>
                <a:gd name="connsiteY23" fmla="*/ 279444 h 392645"/>
                <a:gd name="connsiteX24" fmla="*/ 122953 w 508990"/>
                <a:gd name="connsiteY24" fmla="*/ 276385 h 392645"/>
                <a:gd name="connsiteX25" fmla="*/ 126013 w 508990"/>
                <a:gd name="connsiteY25" fmla="*/ 270266 h 392645"/>
                <a:gd name="connsiteX26" fmla="*/ 135191 w 508990"/>
                <a:gd name="connsiteY26" fmla="*/ 264147 h 392645"/>
                <a:gd name="connsiteX27" fmla="*/ 147429 w 508990"/>
                <a:gd name="connsiteY27" fmla="*/ 264147 h 392645"/>
                <a:gd name="connsiteX28" fmla="*/ 159667 w 508990"/>
                <a:gd name="connsiteY28" fmla="*/ 264147 h 392645"/>
                <a:gd name="connsiteX29" fmla="*/ 193322 w 508990"/>
                <a:gd name="connsiteY29" fmla="*/ 251909 h 392645"/>
                <a:gd name="connsiteX30" fmla="*/ 242273 w 508990"/>
                <a:gd name="connsiteY30" fmla="*/ 230492 h 392645"/>
                <a:gd name="connsiteX31" fmla="*/ 260630 w 508990"/>
                <a:gd name="connsiteY31" fmla="*/ 239671 h 392645"/>
                <a:gd name="connsiteX32" fmla="*/ 294285 w 508990"/>
                <a:gd name="connsiteY32" fmla="*/ 215195 h 392645"/>
                <a:gd name="connsiteX33" fmla="*/ 306523 w 508990"/>
                <a:gd name="connsiteY33" fmla="*/ 218255 h 392645"/>
                <a:gd name="connsiteX34" fmla="*/ 386069 w 508990"/>
                <a:gd name="connsiteY34" fmla="*/ 236611 h 392645"/>
                <a:gd name="connsiteX35" fmla="*/ 395248 w 508990"/>
                <a:gd name="connsiteY35" fmla="*/ 239671 h 392645"/>
                <a:gd name="connsiteX36" fmla="*/ 459497 w 508990"/>
                <a:gd name="connsiteY36" fmla="*/ 374288 h 392645"/>
                <a:gd name="connsiteX37" fmla="*/ 505390 w 508990"/>
                <a:gd name="connsiteY37" fmla="*/ 267206 h 392645"/>
                <a:gd name="connsiteX38" fmla="*/ 441140 w 508990"/>
                <a:gd name="connsiteY38" fmla="*/ 117291 h 39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08990" h="392645">
                  <a:moveTo>
                    <a:pt x="441140" y="117291"/>
                  </a:moveTo>
                  <a:cubicBezTo>
                    <a:pt x="441140" y="101994"/>
                    <a:pt x="435021" y="86696"/>
                    <a:pt x="419724" y="77518"/>
                  </a:cubicBezTo>
                  <a:cubicBezTo>
                    <a:pt x="401367" y="68339"/>
                    <a:pt x="407486" y="77518"/>
                    <a:pt x="407486" y="80577"/>
                  </a:cubicBezTo>
                  <a:cubicBezTo>
                    <a:pt x="398307" y="74458"/>
                    <a:pt x="389129" y="68339"/>
                    <a:pt x="373831" y="62220"/>
                  </a:cubicBezTo>
                  <a:cubicBezTo>
                    <a:pt x="367713" y="56101"/>
                    <a:pt x="361593" y="49983"/>
                    <a:pt x="358534" y="43863"/>
                  </a:cubicBezTo>
                  <a:cubicBezTo>
                    <a:pt x="349355" y="31625"/>
                    <a:pt x="340177" y="19388"/>
                    <a:pt x="324880" y="16328"/>
                  </a:cubicBezTo>
                  <a:cubicBezTo>
                    <a:pt x="312642" y="10209"/>
                    <a:pt x="303463" y="16328"/>
                    <a:pt x="291225" y="16328"/>
                  </a:cubicBezTo>
                  <a:cubicBezTo>
                    <a:pt x="269809" y="19388"/>
                    <a:pt x="254511" y="16328"/>
                    <a:pt x="233095" y="7149"/>
                  </a:cubicBezTo>
                  <a:cubicBezTo>
                    <a:pt x="226976" y="4090"/>
                    <a:pt x="223916" y="4090"/>
                    <a:pt x="217797" y="1031"/>
                  </a:cubicBezTo>
                  <a:cubicBezTo>
                    <a:pt x="171905" y="-8148"/>
                    <a:pt x="141310" y="46923"/>
                    <a:pt x="98477" y="49983"/>
                  </a:cubicBezTo>
                  <a:cubicBezTo>
                    <a:pt x="74001" y="53042"/>
                    <a:pt x="49525" y="49983"/>
                    <a:pt x="40347" y="80577"/>
                  </a:cubicBezTo>
                  <a:cubicBezTo>
                    <a:pt x="34228" y="98934"/>
                    <a:pt x="37287" y="108113"/>
                    <a:pt x="28109" y="126470"/>
                  </a:cubicBezTo>
                  <a:cubicBezTo>
                    <a:pt x="21990" y="135648"/>
                    <a:pt x="15871" y="144826"/>
                    <a:pt x="12812" y="157065"/>
                  </a:cubicBezTo>
                  <a:cubicBezTo>
                    <a:pt x="9752" y="169302"/>
                    <a:pt x="6693" y="181540"/>
                    <a:pt x="9752" y="193779"/>
                  </a:cubicBezTo>
                  <a:cubicBezTo>
                    <a:pt x="15871" y="212135"/>
                    <a:pt x="25050" y="209076"/>
                    <a:pt x="15871" y="227433"/>
                  </a:cubicBezTo>
                  <a:cubicBezTo>
                    <a:pt x="9752" y="242730"/>
                    <a:pt x="3633" y="254968"/>
                    <a:pt x="574" y="270266"/>
                  </a:cubicBezTo>
                  <a:cubicBezTo>
                    <a:pt x="-2486" y="306980"/>
                    <a:pt x="6693" y="337574"/>
                    <a:pt x="28109" y="365110"/>
                  </a:cubicBezTo>
                  <a:cubicBezTo>
                    <a:pt x="31169" y="368169"/>
                    <a:pt x="34228" y="368169"/>
                    <a:pt x="37287" y="365110"/>
                  </a:cubicBezTo>
                  <a:cubicBezTo>
                    <a:pt x="43406" y="383467"/>
                    <a:pt x="49525" y="392645"/>
                    <a:pt x="49525" y="392645"/>
                  </a:cubicBezTo>
                  <a:cubicBezTo>
                    <a:pt x="43406" y="374288"/>
                    <a:pt x="49525" y="355932"/>
                    <a:pt x="61763" y="334515"/>
                  </a:cubicBezTo>
                  <a:cubicBezTo>
                    <a:pt x="70942" y="328396"/>
                    <a:pt x="83180" y="325337"/>
                    <a:pt x="89299" y="319217"/>
                  </a:cubicBezTo>
                  <a:cubicBezTo>
                    <a:pt x="98477" y="313098"/>
                    <a:pt x="98477" y="303920"/>
                    <a:pt x="104596" y="294742"/>
                  </a:cubicBezTo>
                  <a:cubicBezTo>
                    <a:pt x="104596" y="291682"/>
                    <a:pt x="107656" y="288622"/>
                    <a:pt x="110715" y="285563"/>
                  </a:cubicBezTo>
                  <a:cubicBezTo>
                    <a:pt x="113775" y="282504"/>
                    <a:pt x="116834" y="282504"/>
                    <a:pt x="116834" y="279444"/>
                  </a:cubicBezTo>
                  <a:cubicBezTo>
                    <a:pt x="119894" y="279444"/>
                    <a:pt x="119894" y="276385"/>
                    <a:pt x="122953" y="276385"/>
                  </a:cubicBezTo>
                  <a:cubicBezTo>
                    <a:pt x="122953" y="273325"/>
                    <a:pt x="126013" y="273325"/>
                    <a:pt x="126013" y="270266"/>
                  </a:cubicBezTo>
                  <a:cubicBezTo>
                    <a:pt x="129072" y="267206"/>
                    <a:pt x="132132" y="267206"/>
                    <a:pt x="135191" y="264147"/>
                  </a:cubicBezTo>
                  <a:cubicBezTo>
                    <a:pt x="138251" y="264147"/>
                    <a:pt x="144370" y="264147"/>
                    <a:pt x="147429" y="264147"/>
                  </a:cubicBezTo>
                  <a:cubicBezTo>
                    <a:pt x="150489" y="264147"/>
                    <a:pt x="156608" y="264147"/>
                    <a:pt x="159667" y="264147"/>
                  </a:cubicBezTo>
                  <a:cubicBezTo>
                    <a:pt x="171905" y="264147"/>
                    <a:pt x="184143" y="258028"/>
                    <a:pt x="193322" y="251909"/>
                  </a:cubicBezTo>
                  <a:cubicBezTo>
                    <a:pt x="211678" y="239671"/>
                    <a:pt x="220857" y="224373"/>
                    <a:pt x="242273" y="230492"/>
                  </a:cubicBezTo>
                  <a:cubicBezTo>
                    <a:pt x="248392" y="230492"/>
                    <a:pt x="251452" y="239671"/>
                    <a:pt x="260630" y="239671"/>
                  </a:cubicBezTo>
                  <a:cubicBezTo>
                    <a:pt x="278987" y="239671"/>
                    <a:pt x="288166" y="227433"/>
                    <a:pt x="294285" y="215195"/>
                  </a:cubicBezTo>
                  <a:cubicBezTo>
                    <a:pt x="297344" y="215195"/>
                    <a:pt x="303463" y="215195"/>
                    <a:pt x="306523" y="218255"/>
                  </a:cubicBezTo>
                  <a:cubicBezTo>
                    <a:pt x="330999" y="233552"/>
                    <a:pt x="358534" y="239671"/>
                    <a:pt x="386069" y="236611"/>
                  </a:cubicBezTo>
                  <a:cubicBezTo>
                    <a:pt x="392188" y="236611"/>
                    <a:pt x="395248" y="239671"/>
                    <a:pt x="395248" y="239671"/>
                  </a:cubicBezTo>
                  <a:cubicBezTo>
                    <a:pt x="395248" y="239671"/>
                    <a:pt x="462557" y="343693"/>
                    <a:pt x="459497" y="374288"/>
                  </a:cubicBezTo>
                  <a:cubicBezTo>
                    <a:pt x="459497" y="374288"/>
                    <a:pt x="496211" y="325337"/>
                    <a:pt x="505390" y="267206"/>
                  </a:cubicBezTo>
                  <a:cubicBezTo>
                    <a:pt x="517628" y="218255"/>
                    <a:pt x="499270" y="132589"/>
                    <a:pt x="441140" y="117291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096A2944-56FE-4918-A2CE-4C53C283C846}"/>
                </a:ext>
              </a:extLst>
            </p:cNvPr>
            <p:cNvSpPr/>
            <p:nvPr/>
          </p:nvSpPr>
          <p:spPr>
            <a:xfrm>
              <a:off x="4441352" y="8686759"/>
              <a:ext cx="73737" cy="238640"/>
            </a:xfrm>
            <a:custGeom>
              <a:avLst/>
              <a:gdLst>
                <a:gd name="connsiteX0" fmla="*/ 68669 w 73737"/>
                <a:gd name="connsiteY0" fmla="*/ 238640 h 238640"/>
                <a:gd name="connsiteX1" fmla="*/ 62550 w 73737"/>
                <a:gd name="connsiteY1" fmla="*/ 235581 h 238640"/>
                <a:gd name="connsiteX2" fmla="*/ 1360 w 73737"/>
                <a:gd name="connsiteY2" fmla="*/ 119320 h 238640"/>
                <a:gd name="connsiteX3" fmla="*/ 1360 w 73737"/>
                <a:gd name="connsiteY3" fmla="*/ 113201 h 238640"/>
                <a:gd name="connsiteX4" fmla="*/ 4419 w 73737"/>
                <a:gd name="connsiteY4" fmla="*/ 110141 h 238640"/>
                <a:gd name="connsiteX5" fmla="*/ 47252 w 73737"/>
                <a:gd name="connsiteY5" fmla="*/ 64249 h 238640"/>
                <a:gd name="connsiteX6" fmla="*/ 41133 w 73737"/>
                <a:gd name="connsiteY6" fmla="*/ 6119 h 238640"/>
                <a:gd name="connsiteX7" fmla="*/ 44193 w 73737"/>
                <a:gd name="connsiteY7" fmla="*/ 0 h 238640"/>
                <a:gd name="connsiteX8" fmla="*/ 50312 w 73737"/>
                <a:gd name="connsiteY8" fmla="*/ 3059 h 238640"/>
                <a:gd name="connsiteX9" fmla="*/ 56431 w 73737"/>
                <a:gd name="connsiteY9" fmla="*/ 70368 h 238640"/>
                <a:gd name="connsiteX10" fmla="*/ 13598 w 73737"/>
                <a:gd name="connsiteY10" fmla="*/ 119320 h 238640"/>
                <a:gd name="connsiteX11" fmla="*/ 71728 w 73737"/>
                <a:gd name="connsiteY11" fmla="*/ 235581 h 238640"/>
                <a:gd name="connsiteX12" fmla="*/ 68669 w 73737"/>
                <a:gd name="connsiteY12" fmla="*/ 238640 h 238640"/>
                <a:gd name="connsiteX13" fmla="*/ 68669 w 73737"/>
                <a:gd name="connsiteY13" fmla="*/ 238640 h 238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737" h="238640">
                  <a:moveTo>
                    <a:pt x="68669" y="238640"/>
                  </a:moveTo>
                  <a:cubicBezTo>
                    <a:pt x="65609" y="238640"/>
                    <a:pt x="62550" y="235581"/>
                    <a:pt x="62550" y="235581"/>
                  </a:cubicBezTo>
                  <a:cubicBezTo>
                    <a:pt x="50312" y="174391"/>
                    <a:pt x="1360" y="122380"/>
                    <a:pt x="1360" y="119320"/>
                  </a:cubicBezTo>
                  <a:cubicBezTo>
                    <a:pt x="1360" y="119320"/>
                    <a:pt x="-1700" y="116261"/>
                    <a:pt x="1360" y="113201"/>
                  </a:cubicBezTo>
                  <a:cubicBezTo>
                    <a:pt x="1360" y="110141"/>
                    <a:pt x="4419" y="110141"/>
                    <a:pt x="4419" y="110141"/>
                  </a:cubicBezTo>
                  <a:cubicBezTo>
                    <a:pt x="4419" y="110141"/>
                    <a:pt x="38074" y="94844"/>
                    <a:pt x="47252" y="64249"/>
                  </a:cubicBezTo>
                  <a:cubicBezTo>
                    <a:pt x="53371" y="45892"/>
                    <a:pt x="50312" y="27535"/>
                    <a:pt x="41133" y="6119"/>
                  </a:cubicBezTo>
                  <a:cubicBezTo>
                    <a:pt x="41133" y="3059"/>
                    <a:pt x="41133" y="0"/>
                    <a:pt x="44193" y="0"/>
                  </a:cubicBezTo>
                  <a:cubicBezTo>
                    <a:pt x="47252" y="0"/>
                    <a:pt x="50312" y="0"/>
                    <a:pt x="50312" y="3059"/>
                  </a:cubicBezTo>
                  <a:cubicBezTo>
                    <a:pt x="62550" y="27535"/>
                    <a:pt x="62550" y="48952"/>
                    <a:pt x="56431" y="70368"/>
                  </a:cubicBezTo>
                  <a:cubicBezTo>
                    <a:pt x="47252" y="97904"/>
                    <a:pt x="22776" y="113201"/>
                    <a:pt x="13598" y="119320"/>
                  </a:cubicBezTo>
                  <a:cubicBezTo>
                    <a:pt x="25836" y="134617"/>
                    <a:pt x="62550" y="180510"/>
                    <a:pt x="71728" y="235581"/>
                  </a:cubicBezTo>
                  <a:cubicBezTo>
                    <a:pt x="74788" y="235581"/>
                    <a:pt x="74788" y="238640"/>
                    <a:pt x="68669" y="238640"/>
                  </a:cubicBezTo>
                  <a:cubicBezTo>
                    <a:pt x="71728" y="238640"/>
                    <a:pt x="71728" y="238640"/>
                    <a:pt x="68669" y="238640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625BFFD5-4381-4A08-95EE-50A0A9D33A48}"/>
                </a:ext>
              </a:extLst>
            </p:cNvPr>
            <p:cNvSpPr/>
            <p:nvPr/>
          </p:nvSpPr>
          <p:spPr>
            <a:xfrm>
              <a:off x="4268321" y="9121972"/>
              <a:ext cx="115495" cy="45127"/>
            </a:xfrm>
            <a:custGeom>
              <a:avLst/>
              <a:gdLst>
                <a:gd name="connsiteX0" fmla="*/ 21416 w 115495"/>
                <a:gd name="connsiteY0" fmla="*/ 45127 h 45127"/>
                <a:gd name="connsiteX1" fmla="*/ 6119 w 115495"/>
                <a:gd name="connsiteY1" fmla="*/ 45127 h 45127"/>
                <a:gd name="connsiteX2" fmla="*/ 0 w 115495"/>
                <a:gd name="connsiteY2" fmla="*/ 39009 h 45127"/>
                <a:gd name="connsiteX3" fmla="*/ 6119 w 115495"/>
                <a:gd name="connsiteY3" fmla="*/ 32890 h 45127"/>
                <a:gd name="connsiteX4" fmla="*/ 104023 w 115495"/>
                <a:gd name="connsiteY4" fmla="*/ 2295 h 45127"/>
                <a:gd name="connsiteX5" fmla="*/ 113201 w 115495"/>
                <a:gd name="connsiteY5" fmla="*/ 2295 h 45127"/>
                <a:gd name="connsiteX6" fmla="*/ 113201 w 115495"/>
                <a:gd name="connsiteY6" fmla="*/ 11473 h 45127"/>
                <a:gd name="connsiteX7" fmla="*/ 21416 w 115495"/>
                <a:gd name="connsiteY7" fmla="*/ 45127 h 45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495" h="45127">
                  <a:moveTo>
                    <a:pt x="21416" y="45127"/>
                  </a:moveTo>
                  <a:cubicBezTo>
                    <a:pt x="12238" y="45127"/>
                    <a:pt x="6119" y="45127"/>
                    <a:pt x="6119" y="45127"/>
                  </a:cubicBezTo>
                  <a:cubicBezTo>
                    <a:pt x="3059" y="45127"/>
                    <a:pt x="0" y="42068"/>
                    <a:pt x="0" y="39009"/>
                  </a:cubicBezTo>
                  <a:cubicBezTo>
                    <a:pt x="0" y="35949"/>
                    <a:pt x="3059" y="32890"/>
                    <a:pt x="6119" y="32890"/>
                  </a:cubicBezTo>
                  <a:cubicBezTo>
                    <a:pt x="6119" y="32890"/>
                    <a:pt x="73428" y="39009"/>
                    <a:pt x="104023" y="2295"/>
                  </a:cubicBezTo>
                  <a:cubicBezTo>
                    <a:pt x="107082" y="-765"/>
                    <a:pt x="110142" y="-765"/>
                    <a:pt x="113201" y="2295"/>
                  </a:cubicBezTo>
                  <a:cubicBezTo>
                    <a:pt x="116261" y="5354"/>
                    <a:pt x="116261" y="8414"/>
                    <a:pt x="113201" y="11473"/>
                  </a:cubicBezTo>
                  <a:cubicBezTo>
                    <a:pt x="88725" y="39009"/>
                    <a:pt x="45892" y="45127"/>
                    <a:pt x="21416" y="45127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F17BEA6C-BB04-462D-BF40-952F3C53AC18}"/>
                </a:ext>
              </a:extLst>
            </p:cNvPr>
            <p:cNvSpPr/>
            <p:nvPr/>
          </p:nvSpPr>
          <p:spPr>
            <a:xfrm>
              <a:off x="4142882" y="8688289"/>
              <a:ext cx="247818" cy="99433"/>
            </a:xfrm>
            <a:custGeom>
              <a:avLst/>
              <a:gdLst>
                <a:gd name="connsiteX0" fmla="*/ 6119 w 247818"/>
                <a:gd name="connsiteY0" fmla="*/ 99434 h 99433"/>
                <a:gd name="connsiteX1" fmla="*/ 0 w 247818"/>
                <a:gd name="connsiteY1" fmla="*/ 96374 h 99433"/>
                <a:gd name="connsiteX2" fmla="*/ 3059 w 247818"/>
                <a:gd name="connsiteY2" fmla="*/ 90255 h 99433"/>
                <a:gd name="connsiteX3" fmla="*/ 48952 w 247818"/>
                <a:gd name="connsiteY3" fmla="*/ 65779 h 99433"/>
                <a:gd name="connsiteX4" fmla="*/ 55071 w 247818"/>
                <a:gd name="connsiteY4" fmla="*/ 56600 h 99433"/>
                <a:gd name="connsiteX5" fmla="*/ 88725 w 247818"/>
                <a:gd name="connsiteY5" fmla="*/ 32124 h 99433"/>
                <a:gd name="connsiteX6" fmla="*/ 119320 w 247818"/>
                <a:gd name="connsiteY6" fmla="*/ 38244 h 99433"/>
                <a:gd name="connsiteX7" fmla="*/ 146856 w 247818"/>
                <a:gd name="connsiteY7" fmla="*/ 41303 h 99433"/>
                <a:gd name="connsiteX8" fmla="*/ 165212 w 247818"/>
                <a:gd name="connsiteY8" fmla="*/ 22946 h 99433"/>
                <a:gd name="connsiteX9" fmla="*/ 183569 w 247818"/>
                <a:gd name="connsiteY9" fmla="*/ 4589 h 99433"/>
                <a:gd name="connsiteX10" fmla="*/ 223343 w 247818"/>
                <a:gd name="connsiteY10" fmla="*/ 4589 h 99433"/>
                <a:gd name="connsiteX11" fmla="*/ 247819 w 247818"/>
                <a:gd name="connsiteY11" fmla="*/ 35184 h 99433"/>
                <a:gd name="connsiteX12" fmla="*/ 244759 w 247818"/>
                <a:gd name="connsiteY12" fmla="*/ 41303 h 99433"/>
                <a:gd name="connsiteX13" fmla="*/ 238640 w 247818"/>
                <a:gd name="connsiteY13" fmla="*/ 38244 h 99433"/>
                <a:gd name="connsiteX14" fmla="*/ 220283 w 247818"/>
                <a:gd name="connsiteY14" fmla="*/ 13768 h 99433"/>
                <a:gd name="connsiteX15" fmla="*/ 192748 w 247818"/>
                <a:gd name="connsiteY15" fmla="*/ 13768 h 99433"/>
                <a:gd name="connsiteX16" fmla="*/ 177450 w 247818"/>
                <a:gd name="connsiteY16" fmla="*/ 29065 h 99433"/>
                <a:gd name="connsiteX17" fmla="*/ 152975 w 247818"/>
                <a:gd name="connsiteY17" fmla="*/ 50482 h 99433"/>
                <a:gd name="connsiteX18" fmla="*/ 119320 w 247818"/>
                <a:gd name="connsiteY18" fmla="*/ 47422 h 99433"/>
                <a:gd name="connsiteX19" fmla="*/ 94844 w 247818"/>
                <a:gd name="connsiteY19" fmla="*/ 41303 h 99433"/>
                <a:gd name="connsiteX20" fmla="*/ 67309 w 247818"/>
                <a:gd name="connsiteY20" fmla="*/ 62719 h 99433"/>
                <a:gd name="connsiteX21" fmla="*/ 58130 w 247818"/>
                <a:gd name="connsiteY21" fmla="*/ 71898 h 99433"/>
                <a:gd name="connsiteX22" fmla="*/ 6119 w 247818"/>
                <a:gd name="connsiteY22" fmla="*/ 99434 h 99433"/>
                <a:gd name="connsiteX23" fmla="*/ 6119 w 247818"/>
                <a:gd name="connsiteY23" fmla="*/ 99434 h 99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47818" h="99433">
                  <a:moveTo>
                    <a:pt x="6119" y="99434"/>
                  </a:moveTo>
                  <a:cubicBezTo>
                    <a:pt x="3059" y="99434"/>
                    <a:pt x="0" y="96374"/>
                    <a:pt x="0" y="96374"/>
                  </a:cubicBezTo>
                  <a:cubicBezTo>
                    <a:pt x="0" y="93314"/>
                    <a:pt x="0" y="90255"/>
                    <a:pt x="3059" y="90255"/>
                  </a:cubicBezTo>
                  <a:cubicBezTo>
                    <a:pt x="21416" y="87195"/>
                    <a:pt x="36714" y="78017"/>
                    <a:pt x="48952" y="65779"/>
                  </a:cubicBezTo>
                  <a:cubicBezTo>
                    <a:pt x="52011" y="62719"/>
                    <a:pt x="55071" y="59660"/>
                    <a:pt x="55071" y="56600"/>
                  </a:cubicBezTo>
                  <a:cubicBezTo>
                    <a:pt x="64249" y="44363"/>
                    <a:pt x="73428" y="32124"/>
                    <a:pt x="88725" y="32124"/>
                  </a:cubicBezTo>
                  <a:cubicBezTo>
                    <a:pt x="100963" y="29065"/>
                    <a:pt x="110142" y="35184"/>
                    <a:pt x="119320" y="38244"/>
                  </a:cubicBezTo>
                  <a:cubicBezTo>
                    <a:pt x="128498" y="41303"/>
                    <a:pt x="137677" y="44363"/>
                    <a:pt x="146856" y="41303"/>
                  </a:cubicBezTo>
                  <a:cubicBezTo>
                    <a:pt x="156034" y="38244"/>
                    <a:pt x="159093" y="32124"/>
                    <a:pt x="165212" y="22946"/>
                  </a:cubicBezTo>
                  <a:cubicBezTo>
                    <a:pt x="171331" y="16827"/>
                    <a:pt x="177450" y="7649"/>
                    <a:pt x="183569" y="4589"/>
                  </a:cubicBezTo>
                  <a:cubicBezTo>
                    <a:pt x="195807" y="-1530"/>
                    <a:pt x="211105" y="-1530"/>
                    <a:pt x="223343" y="4589"/>
                  </a:cubicBezTo>
                  <a:cubicBezTo>
                    <a:pt x="232521" y="10708"/>
                    <a:pt x="241700" y="22946"/>
                    <a:pt x="247819" y="35184"/>
                  </a:cubicBezTo>
                  <a:cubicBezTo>
                    <a:pt x="247819" y="38244"/>
                    <a:pt x="247819" y="41303"/>
                    <a:pt x="244759" y="41303"/>
                  </a:cubicBezTo>
                  <a:cubicBezTo>
                    <a:pt x="241700" y="41303"/>
                    <a:pt x="238640" y="41303"/>
                    <a:pt x="238640" y="38244"/>
                  </a:cubicBezTo>
                  <a:cubicBezTo>
                    <a:pt x="235581" y="26006"/>
                    <a:pt x="229462" y="19887"/>
                    <a:pt x="220283" y="13768"/>
                  </a:cubicBezTo>
                  <a:cubicBezTo>
                    <a:pt x="211105" y="7649"/>
                    <a:pt x="198867" y="7649"/>
                    <a:pt x="192748" y="13768"/>
                  </a:cubicBezTo>
                  <a:cubicBezTo>
                    <a:pt x="186629" y="16827"/>
                    <a:pt x="180510" y="22946"/>
                    <a:pt x="177450" y="29065"/>
                  </a:cubicBezTo>
                  <a:cubicBezTo>
                    <a:pt x="171331" y="38244"/>
                    <a:pt x="165212" y="47422"/>
                    <a:pt x="152975" y="50482"/>
                  </a:cubicBezTo>
                  <a:cubicBezTo>
                    <a:pt x="140737" y="53541"/>
                    <a:pt x="128498" y="50482"/>
                    <a:pt x="119320" y="47422"/>
                  </a:cubicBezTo>
                  <a:cubicBezTo>
                    <a:pt x="110142" y="44363"/>
                    <a:pt x="100963" y="41303"/>
                    <a:pt x="94844" y="41303"/>
                  </a:cubicBezTo>
                  <a:cubicBezTo>
                    <a:pt x="82606" y="44363"/>
                    <a:pt x="76487" y="53541"/>
                    <a:pt x="67309" y="62719"/>
                  </a:cubicBezTo>
                  <a:cubicBezTo>
                    <a:pt x="64249" y="65779"/>
                    <a:pt x="61190" y="68839"/>
                    <a:pt x="58130" y="71898"/>
                  </a:cubicBezTo>
                  <a:cubicBezTo>
                    <a:pt x="45892" y="84136"/>
                    <a:pt x="27535" y="93314"/>
                    <a:pt x="6119" y="99434"/>
                  </a:cubicBezTo>
                  <a:cubicBezTo>
                    <a:pt x="6119" y="99434"/>
                    <a:pt x="6119" y="99434"/>
                    <a:pt x="6119" y="99434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6B28B41E-5882-4449-8757-4DDE267CD339}"/>
                </a:ext>
              </a:extLst>
            </p:cNvPr>
            <p:cNvSpPr/>
            <p:nvPr/>
          </p:nvSpPr>
          <p:spPr>
            <a:xfrm>
              <a:off x="4109228" y="8601618"/>
              <a:ext cx="280708" cy="103497"/>
            </a:xfrm>
            <a:custGeom>
              <a:avLst/>
              <a:gdLst>
                <a:gd name="connsiteX0" fmla="*/ 6119 w 280708"/>
                <a:gd name="connsiteY0" fmla="*/ 103498 h 103497"/>
                <a:gd name="connsiteX1" fmla="*/ 0 w 280708"/>
                <a:gd name="connsiteY1" fmla="*/ 97379 h 103497"/>
                <a:gd name="connsiteX2" fmla="*/ 12238 w 280708"/>
                <a:gd name="connsiteY2" fmla="*/ 66784 h 103497"/>
                <a:gd name="connsiteX3" fmla="*/ 70368 w 280708"/>
                <a:gd name="connsiteY3" fmla="*/ 45367 h 103497"/>
                <a:gd name="connsiteX4" fmla="*/ 70368 w 280708"/>
                <a:gd name="connsiteY4" fmla="*/ 45367 h 103497"/>
                <a:gd name="connsiteX5" fmla="*/ 107082 w 280708"/>
                <a:gd name="connsiteY5" fmla="*/ 20891 h 103497"/>
                <a:gd name="connsiteX6" fmla="*/ 134618 w 280708"/>
                <a:gd name="connsiteY6" fmla="*/ 2535 h 103497"/>
                <a:gd name="connsiteX7" fmla="*/ 189688 w 280708"/>
                <a:gd name="connsiteY7" fmla="*/ 8654 h 103497"/>
                <a:gd name="connsiteX8" fmla="*/ 217224 w 280708"/>
                <a:gd name="connsiteY8" fmla="*/ 11713 h 103497"/>
                <a:gd name="connsiteX9" fmla="*/ 278414 w 280708"/>
                <a:gd name="connsiteY9" fmla="*/ 27010 h 103497"/>
                <a:gd name="connsiteX10" fmla="*/ 278414 w 280708"/>
                <a:gd name="connsiteY10" fmla="*/ 36189 h 103497"/>
                <a:gd name="connsiteX11" fmla="*/ 269235 w 280708"/>
                <a:gd name="connsiteY11" fmla="*/ 36189 h 103497"/>
                <a:gd name="connsiteX12" fmla="*/ 220283 w 280708"/>
                <a:gd name="connsiteY12" fmla="*/ 23951 h 103497"/>
                <a:gd name="connsiteX13" fmla="*/ 180510 w 280708"/>
                <a:gd name="connsiteY13" fmla="*/ 20891 h 103497"/>
                <a:gd name="connsiteX14" fmla="*/ 134618 w 280708"/>
                <a:gd name="connsiteY14" fmla="*/ 14773 h 103497"/>
                <a:gd name="connsiteX15" fmla="*/ 113201 w 280708"/>
                <a:gd name="connsiteY15" fmla="*/ 30070 h 103497"/>
                <a:gd name="connsiteX16" fmla="*/ 67309 w 280708"/>
                <a:gd name="connsiteY16" fmla="*/ 57605 h 103497"/>
                <a:gd name="connsiteX17" fmla="*/ 64249 w 280708"/>
                <a:gd name="connsiteY17" fmla="*/ 57605 h 103497"/>
                <a:gd name="connsiteX18" fmla="*/ 15297 w 280708"/>
                <a:gd name="connsiteY18" fmla="*/ 75962 h 103497"/>
                <a:gd name="connsiteX19" fmla="*/ 6119 w 280708"/>
                <a:gd name="connsiteY19" fmla="*/ 97379 h 103497"/>
                <a:gd name="connsiteX20" fmla="*/ 6119 w 280708"/>
                <a:gd name="connsiteY20" fmla="*/ 103498 h 103497"/>
                <a:gd name="connsiteX21" fmla="*/ 6119 w 280708"/>
                <a:gd name="connsiteY21" fmla="*/ 103498 h 10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80708" h="103497">
                  <a:moveTo>
                    <a:pt x="6119" y="103498"/>
                  </a:moveTo>
                  <a:cubicBezTo>
                    <a:pt x="3060" y="103498"/>
                    <a:pt x="0" y="100438"/>
                    <a:pt x="0" y="97379"/>
                  </a:cubicBezTo>
                  <a:cubicBezTo>
                    <a:pt x="0" y="85141"/>
                    <a:pt x="3060" y="75962"/>
                    <a:pt x="12238" y="66784"/>
                  </a:cubicBezTo>
                  <a:cubicBezTo>
                    <a:pt x="27535" y="51486"/>
                    <a:pt x="55071" y="45367"/>
                    <a:pt x="70368" y="45367"/>
                  </a:cubicBezTo>
                  <a:cubicBezTo>
                    <a:pt x="70368" y="45367"/>
                    <a:pt x="70368" y="45367"/>
                    <a:pt x="70368" y="45367"/>
                  </a:cubicBezTo>
                  <a:cubicBezTo>
                    <a:pt x="79547" y="45367"/>
                    <a:pt x="94844" y="33130"/>
                    <a:pt x="107082" y="20891"/>
                  </a:cubicBezTo>
                  <a:cubicBezTo>
                    <a:pt x="116261" y="11713"/>
                    <a:pt x="125439" y="2535"/>
                    <a:pt x="134618" y="2535"/>
                  </a:cubicBezTo>
                  <a:cubicBezTo>
                    <a:pt x="159094" y="-3585"/>
                    <a:pt x="177450" y="2535"/>
                    <a:pt x="189688" y="8654"/>
                  </a:cubicBezTo>
                  <a:cubicBezTo>
                    <a:pt x="201926" y="14773"/>
                    <a:pt x="208045" y="17832"/>
                    <a:pt x="217224" y="11713"/>
                  </a:cubicBezTo>
                  <a:cubicBezTo>
                    <a:pt x="244759" y="-6644"/>
                    <a:pt x="278414" y="23951"/>
                    <a:pt x="278414" y="27010"/>
                  </a:cubicBezTo>
                  <a:cubicBezTo>
                    <a:pt x="281473" y="30070"/>
                    <a:pt x="281473" y="33130"/>
                    <a:pt x="278414" y="36189"/>
                  </a:cubicBezTo>
                  <a:cubicBezTo>
                    <a:pt x="275354" y="39249"/>
                    <a:pt x="272295" y="39249"/>
                    <a:pt x="269235" y="36189"/>
                  </a:cubicBezTo>
                  <a:cubicBezTo>
                    <a:pt x="269235" y="36189"/>
                    <a:pt x="241700" y="11713"/>
                    <a:pt x="220283" y="23951"/>
                  </a:cubicBezTo>
                  <a:cubicBezTo>
                    <a:pt x="204986" y="33130"/>
                    <a:pt x="192748" y="27010"/>
                    <a:pt x="180510" y="20891"/>
                  </a:cubicBezTo>
                  <a:cubicBezTo>
                    <a:pt x="168272" y="14773"/>
                    <a:pt x="152975" y="8654"/>
                    <a:pt x="134618" y="14773"/>
                  </a:cubicBezTo>
                  <a:cubicBezTo>
                    <a:pt x="128499" y="14773"/>
                    <a:pt x="119320" y="23951"/>
                    <a:pt x="113201" y="30070"/>
                  </a:cubicBezTo>
                  <a:cubicBezTo>
                    <a:pt x="97904" y="42308"/>
                    <a:pt x="82606" y="57605"/>
                    <a:pt x="67309" y="57605"/>
                  </a:cubicBezTo>
                  <a:cubicBezTo>
                    <a:pt x="67309" y="57605"/>
                    <a:pt x="64249" y="57605"/>
                    <a:pt x="64249" y="57605"/>
                  </a:cubicBezTo>
                  <a:cubicBezTo>
                    <a:pt x="52011" y="57605"/>
                    <a:pt x="27535" y="63725"/>
                    <a:pt x="15297" y="75962"/>
                  </a:cubicBezTo>
                  <a:cubicBezTo>
                    <a:pt x="9178" y="82081"/>
                    <a:pt x="6119" y="88200"/>
                    <a:pt x="6119" y="97379"/>
                  </a:cubicBezTo>
                  <a:cubicBezTo>
                    <a:pt x="12238" y="100438"/>
                    <a:pt x="9178" y="103498"/>
                    <a:pt x="6119" y="103498"/>
                  </a:cubicBezTo>
                  <a:cubicBezTo>
                    <a:pt x="6119" y="103498"/>
                    <a:pt x="6119" y="103498"/>
                    <a:pt x="6119" y="103498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C028382B-2E40-403A-8434-0B916900A843}"/>
                </a:ext>
              </a:extLst>
            </p:cNvPr>
            <p:cNvSpPr/>
            <p:nvPr/>
          </p:nvSpPr>
          <p:spPr>
            <a:xfrm>
              <a:off x="8101862" y="10256278"/>
              <a:ext cx="275354" cy="2273200"/>
            </a:xfrm>
            <a:custGeom>
              <a:avLst/>
              <a:gdLst>
                <a:gd name="connsiteX0" fmla="*/ 214164 w 275354"/>
                <a:gd name="connsiteY0" fmla="*/ 2273201 h 2273200"/>
                <a:gd name="connsiteX1" fmla="*/ 275354 w 275354"/>
                <a:gd name="connsiteY1" fmla="*/ 2273201 h 2273200"/>
                <a:gd name="connsiteX2" fmla="*/ 58130 w 275354"/>
                <a:gd name="connsiteY2" fmla="*/ 0 h 2273200"/>
                <a:gd name="connsiteX3" fmla="*/ 0 w 275354"/>
                <a:gd name="connsiteY3" fmla="*/ 0 h 227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354" h="2273200">
                  <a:moveTo>
                    <a:pt x="214164" y="2273201"/>
                  </a:moveTo>
                  <a:lnTo>
                    <a:pt x="275354" y="2273201"/>
                  </a:lnTo>
                  <a:lnTo>
                    <a:pt x="5813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28A2B8AE-F818-49C9-942F-ACE557D9A829}"/>
                </a:ext>
              </a:extLst>
            </p:cNvPr>
            <p:cNvSpPr/>
            <p:nvPr/>
          </p:nvSpPr>
          <p:spPr>
            <a:xfrm>
              <a:off x="7933590" y="10256278"/>
              <a:ext cx="220283" cy="2273200"/>
            </a:xfrm>
            <a:custGeom>
              <a:avLst/>
              <a:gdLst>
                <a:gd name="connsiteX0" fmla="*/ 0 w 220283"/>
                <a:gd name="connsiteY0" fmla="*/ 2273201 h 2273200"/>
                <a:gd name="connsiteX1" fmla="*/ 61190 w 220283"/>
                <a:gd name="connsiteY1" fmla="*/ 2273201 h 2273200"/>
                <a:gd name="connsiteX2" fmla="*/ 220283 w 220283"/>
                <a:gd name="connsiteY2" fmla="*/ 0 h 2273200"/>
                <a:gd name="connsiteX3" fmla="*/ 159093 w 220283"/>
                <a:gd name="connsiteY3" fmla="*/ 0 h 227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0283" h="2273200">
                  <a:moveTo>
                    <a:pt x="0" y="2273201"/>
                  </a:moveTo>
                  <a:lnTo>
                    <a:pt x="61190" y="2273201"/>
                  </a:lnTo>
                  <a:lnTo>
                    <a:pt x="220283" y="0"/>
                  </a:lnTo>
                  <a:lnTo>
                    <a:pt x="159093" y="0"/>
                  </a:ln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D27ED9F0-B11B-46BB-93BA-DCA3AADF6669}"/>
                </a:ext>
              </a:extLst>
            </p:cNvPr>
            <p:cNvSpPr/>
            <p:nvPr/>
          </p:nvSpPr>
          <p:spPr>
            <a:xfrm>
              <a:off x="11054270" y="10256278"/>
              <a:ext cx="275354" cy="2273200"/>
            </a:xfrm>
            <a:custGeom>
              <a:avLst/>
              <a:gdLst>
                <a:gd name="connsiteX0" fmla="*/ 214164 w 275354"/>
                <a:gd name="connsiteY0" fmla="*/ 2273201 h 2273200"/>
                <a:gd name="connsiteX1" fmla="*/ 275354 w 275354"/>
                <a:gd name="connsiteY1" fmla="*/ 2273201 h 2273200"/>
                <a:gd name="connsiteX2" fmla="*/ 61190 w 275354"/>
                <a:gd name="connsiteY2" fmla="*/ 0 h 2273200"/>
                <a:gd name="connsiteX3" fmla="*/ 0 w 275354"/>
                <a:gd name="connsiteY3" fmla="*/ 0 h 227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354" h="2273200">
                  <a:moveTo>
                    <a:pt x="214164" y="2273201"/>
                  </a:moveTo>
                  <a:lnTo>
                    <a:pt x="275354" y="2273201"/>
                  </a:lnTo>
                  <a:lnTo>
                    <a:pt x="6119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AE5CE6D6-18BE-4FC0-8197-1CB6E5254C26}"/>
                </a:ext>
              </a:extLst>
            </p:cNvPr>
            <p:cNvSpPr/>
            <p:nvPr/>
          </p:nvSpPr>
          <p:spPr>
            <a:xfrm>
              <a:off x="10885998" y="10256278"/>
              <a:ext cx="220283" cy="2273200"/>
            </a:xfrm>
            <a:custGeom>
              <a:avLst/>
              <a:gdLst>
                <a:gd name="connsiteX0" fmla="*/ 0 w 220283"/>
                <a:gd name="connsiteY0" fmla="*/ 2273201 h 2273200"/>
                <a:gd name="connsiteX1" fmla="*/ 61190 w 220283"/>
                <a:gd name="connsiteY1" fmla="*/ 2273201 h 2273200"/>
                <a:gd name="connsiteX2" fmla="*/ 220284 w 220283"/>
                <a:gd name="connsiteY2" fmla="*/ 0 h 2273200"/>
                <a:gd name="connsiteX3" fmla="*/ 159094 w 220283"/>
                <a:gd name="connsiteY3" fmla="*/ 0 h 227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0283" h="2273200">
                  <a:moveTo>
                    <a:pt x="0" y="2273201"/>
                  </a:moveTo>
                  <a:lnTo>
                    <a:pt x="61190" y="2273201"/>
                  </a:lnTo>
                  <a:lnTo>
                    <a:pt x="220284" y="0"/>
                  </a:lnTo>
                  <a:lnTo>
                    <a:pt x="159094" y="0"/>
                  </a:ln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A399E115-40EB-45BE-9173-A8D3882715B2}"/>
                </a:ext>
              </a:extLst>
            </p:cNvPr>
            <p:cNvSpPr/>
            <p:nvPr/>
          </p:nvSpPr>
          <p:spPr>
            <a:xfrm>
              <a:off x="8092684" y="8414464"/>
              <a:ext cx="3041133" cy="1942776"/>
            </a:xfrm>
            <a:custGeom>
              <a:avLst/>
              <a:gdLst>
                <a:gd name="connsiteX0" fmla="*/ 0 w 3041133"/>
                <a:gd name="connsiteY0" fmla="*/ 0 h 1942776"/>
                <a:gd name="connsiteX1" fmla="*/ 3041133 w 3041133"/>
                <a:gd name="connsiteY1" fmla="*/ 0 h 1942776"/>
                <a:gd name="connsiteX2" fmla="*/ 3041133 w 3041133"/>
                <a:gd name="connsiteY2" fmla="*/ 1942776 h 1942776"/>
                <a:gd name="connsiteX3" fmla="*/ 0 w 3041133"/>
                <a:gd name="connsiteY3" fmla="*/ 1942776 h 194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1133" h="1942776">
                  <a:moveTo>
                    <a:pt x="0" y="0"/>
                  </a:moveTo>
                  <a:lnTo>
                    <a:pt x="3041133" y="0"/>
                  </a:lnTo>
                  <a:lnTo>
                    <a:pt x="3041133" y="1942776"/>
                  </a:lnTo>
                  <a:lnTo>
                    <a:pt x="0" y="1942776"/>
                  </a:lnTo>
                  <a:close/>
                </a:path>
              </a:pathLst>
            </a:custGeom>
            <a:solidFill>
              <a:srgbClr val="F6EBE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8F27C67B-D434-463B-8A3B-1550F6FA7DCF}"/>
                </a:ext>
              </a:extLst>
            </p:cNvPr>
            <p:cNvSpPr/>
            <p:nvPr/>
          </p:nvSpPr>
          <p:spPr>
            <a:xfrm>
              <a:off x="8092684" y="10283813"/>
              <a:ext cx="3041133" cy="73427"/>
            </a:xfrm>
            <a:custGeom>
              <a:avLst/>
              <a:gdLst>
                <a:gd name="connsiteX0" fmla="*/ 0 w 3041133"/>
                <a:gd name="connsiteY0" fmla="*/ 0 h 73427"/>
                <a:gd name="connsiteX1" fmla="*/ 3041133 w 3041133"/>
                <a:gd name="connsiteY1" fmla="*/ 0 h 73427"/>
                <a:gd name="connsiteX2" fmla="*/ 3041133 w 3041133"/>
                <a:gd name="connsiteY2" fmla="*/ 73428 h 73427"/>
                <a:gd name="connsiteX3" fmla="*/ 0 w 3041133"/>
                <a:gd name="connsiteY3" fmla="*/ 73428 h 73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1133" h="73427">
                  <a:moveTo>
                    <a:pt x="0" y="0"/>
                  </a:moveTo>
                  <a:lnTo>
                    <a:pt x="3041133" y="0"/>
                  </a:lnTo>
                  <a:lnTo>
                    <a:pt x="3041133" y="73428"/>
                  </a:lnTo>
                  <a:lnTo>
                    <a:pt x="0" y="73428"/>
                  </a:ln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80B9DA50-B966-42E5-B6C1-B4DEF6F5D9B1}"/>
                </a:ext>
              </a:extLst>
            </p:cNvPr>
            <p:cNvSpPr/>
            <p:nvPr/>
          </p:nvSpPr>
          <p:spPr>
            <a:xfrm>
              <a:off x="8092684" y="8414464"/>
              <a:ext cx="3041133" cy="73427"/>
            </a:xfrm>
            <a:custGeom>
              <a:avLst/>
              <a:gdLst>
                <a:gd name="connsiteX0" fmla="*/ 0 w 3041133"/>
                <a:gd name="connsiteY0" fmla="*/ 0 h 73427"/>
                <a:gd name="connsiteX1" fmla="*/ 3041133 w 3041133"/>
                <a:gd name="connsiteY1" fmla="*/ 0 h 73427"/>
                <a:gd name="connsiteX2" fmla="*/ 3041133 w 3041133"/>
                <a:gd name="connsiteY2" fmla="*/ 73427 h 73427"/>
                <a:gd name="connsiteX3" fmla="*/ 0 w 3041133"/>
                <a:gd name="connsiteY3" fmla="*/ 73427 h 73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1133" h="73427">
                  <a:moveTo>
                    <a:pt x="0" y="0"/>
                  </a:moveTo>
                  <a:lnTo>
                    <a:pt x="3041133" y="0"/>
                  </a:lnTo>
                  <a:lnTo>
                    <a:pt x="3041133" y="73427"/>
                  </a:lnTo>
                  <a:lnTo>
                    <a:pt x="0" y="73427"/>
                  </a:ln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4" name="图形 892">
              <a:extLst>
                <a:ext uri="{FF2B5EF4-FFF2-40B4-BE49-F238E27FC236}">
                  <a16:creationId xmlns:a16="http://schemas.microsoft.com/office/drawing/2014/main" id="{1AA73DF4-774D-4B81-B1E2-9ED0E1C77743}"/>
                </a:ext>
              </a:extLst>
            </p:cNvPr>
            <p:cNvGrpSpPr/>
            <p:nvPr/>
          </p:nvGrpSpPr>
          <p:grpSpPr>
            <a:xfrm>
              <a:off x="8282372" y="8591915"/>
              <a:ext cx="2582209" cy="1236034"/>
              <a:chOff x="8282372" y="8591915"/>
              <a:chExt cx="2582209" cy="1236034"/>
            </a:xfrm>
            <a:solidFill>
              <a:srgbClr val="E5D1D1"/>
            </a:solidFill>
          </p:grpSpPr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8FB3C4C0-BE5C-4FD4-8F70-BC44B47E4344}"/>
                  </a:ext>
                </a:extLst>
              </p:cNvPr>
              <p:cNvSpPr/>
              <p:nvPr/>
            </p:nvSpPr>
            <p:spPr>
              <a:xfrm>
                <a:off x="10282078" y="8591915"/>
                <a:ext cx="13438" cy="1236034"/>
              </a:xfrm>
              <a:custGeom>
                <a:avLst/>
                <a:gdLst>
                  <a:gd name="connsiteX0" fmla="*/ 7319 w 13438"/>
                  <a:gd name="connsiteY0" fmla="*/ 1236034 h 1236034"/>
                  <a:gd name="connsiteX1" fmla="*/ 13438 w 13438"/>
                  <a:gd name="connsiteY1" fmla="*/ 1229915 h 1236034"/>
                  <a:gd name="connsiteX2" fmla="*/ 13438 w 13438"/>
                  <a:gd name="connsiteY2" fmla="*/ 6119 h 1236034"/>
                  <a:gd name="connsiteX3" fmla="*/ 7319 w 13438"/>
                  <a:gd name="connsiteY3" fmla="*/ 0 h 1236034"/>
                  <a:gd name="connsiteX4" fmla="*/ 1200 w 13438"/>
                  <a:gd name="connsiteY4" fmla="*/ 6119 h 1236034"/>
                  <a:gd name="connsiteX5" fmla="*/ 1200 w 13438"/>
                  <a:gd name="connsiteY5" fmla="*/ 1229915 h 1236034"/>
                  <a:gd name="connsiteX6" fmla="*/ 7319 w 13438"/>
                  <a:gd name="connsiteY6" fmla="*/ 1236034 h 1236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438" h="1236034">
                    <a:moveTo>
                      <a:pt x="7319" y="1236034"/>
                    </a:moveTo>
                    <a:cubicBezTo>
                      <a:pt x="10378" y="1236034"/>
                      <a:pt x="13438" y="1232975"/>
                      <a:pt x="13438" y="1229915"/>
                    </a:cubicBezTo>
                    <a:lnTo>
                      <a:pt x="13438" y="6119"/>
                    </a:lnTo>
                    <a:cubicBezTo>
                      <a:pt x="13438" y="3060"/>
                      <a:pt x="10378" y="0"/>
                      <a:pt x="7319" y="0"/>
                    </a:cubicBezTo>
                    <a:cubicBezTo>
                      <a:pt x="4260" y="0"/>
                      <a:pt x="1200" y="3060"/>
                      <a:pt x="1200" y="6119"/>
                    </a:cubicBezTo>
                    <a:lnTo>
                      <a:pt x="1200" y="1229915"/>
                    </a:lnTo>
                    <a:cubicBezTo>
                      <a:pt x="-1859" y="1232975"/>
                      <a:pt x="1200" y="1236034"/>
                      <a:pt x="7319" y="1236034"/>
                    </a:cubicBezTo>
                    <a:close/>
                  </a:path>
                </a:pathLst>
              </a:custGeom>
              <a:solidFill>
                <a:srgbClr val="E5D1D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00" name="图形 892">
                <a:extLst>
                  <a:ext uri="{FF2B5EF4-FFF2-40B4-BE49-F238E27FC236}">
                    <a16:creationId xmlns:a16="http://schemas.microsoft.com/office/drawing/2014/main" id="{EC8B60B9-9320-4B08-8993-38E50927A512}"/>
                  </a:ext>
                </a:extLst>
              </p:cNvPr>
              <p:cNvGrpSpPr/>
              <p:nvPr/>
            </p:nvGrpSpPr>
            <p:grpSpPr>
              <a:xfrm>
                <a:off x="8282372" y="8833615"/>
                <a:ext cx="2582209" cy="807705"/>
                <a:chOff x="8282372" y="8833615"/>
                <a:chExt cx="2582209" cy="807705"/>
              </a:xfrm>
              <a:solidFill>
                <a:srgbClr val="E5D1D1"/>
              </a:solidFill>
            </p:grpSpPr>
            <p:sp>
              <p:nvSpPr>
                <p:cNvPr id="111" name="任意多边形: 形状 110">
                  <a:extLst>
                    <a:ext uri="{FF2B5EF4-FFF2-40B4-BE49-F238E27FC236}">
                      <a16:creationId xmlns:a16="http://schemas.microsoft.com/office/drawing/2014/main" id="{406D1ECD-331D-459E-8C5D-D4D8ABEBE294}"/>
                    </a:ext>
                  </a:extLst>
                </p:cNvPr>
                <p:cNvSpPr/>
                <p:nvPr/>
              </p:nvSpPr>
              <p:spPr>
                <a:xfrm>
                  <a:off x="8282372" y="8833615"/>
                  <a:ext cx="2582209" cy="12237"/>
                </a:xfrm>
                <a:custGeom>
                  <a:avLst/>
                  <a:gdLst>
                    <a:gd name="connsiteX0" fmla="*/ 6119 w 2582209"/>
                    <a:gd name="connsiteY0" fmla="*/ 12238 h 12237"/>
                    <a:gd name="connsiteX1" fmla="*/ 2576091 w 2582209"/>
                    <a:gd name="connsiteY1" fmla="*/ 12238 h 12237"/>
                    <a:gd name="connsiteX2" fmla="*/ 2582210 w 2582209"/>
                    <a:gd name="connsiteY2" fmla="*/ 6119 h 12237"/>
                    <a:gd name="connsiteX3" fmla="*/ 2576091 w 2582209"/>
                    <a:gd name="connsiteY3" fmla="*/ 0 h 12237"/>
                    <a:gd name="connsiteX4" fmla="*/ 6119 w 2582209"/>
                    <a:gd name="connsiteY4" fmla="*/ 0 h 12237"/>
                    <a:gd name="connsiteX5" fmla="*/ 0 w 2582209"/>
                    <a:gd name="connsiteY5" fmla="*/ 6119 h 12237"/>
                    <a:gd name="connsiteX6" fmla="*/ 6119 w 2582209"/>
                    <a:gd name="connsiteY6" fmla="*/ 12238 h 122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82209" h="12237">
                      <a:moveTo>
                        <a:pt x="6119" y="12238"/>
                      </a:moveTo>
                      <a:lnTo>
                        <a:pt x="2576091" y="12238"/>
                      </a:lnTo>
                      <a:cubicBezTo>
                        <a:pt x="2579150" y="12238"/>
                        <a:pt x="2582210" y="9178"/>
                        <a:pt x="2582210" y="6119"/>
                      </a:cubicBezTo>
                      <a:cubicBezTo>
                        <a:pt x="2582210" y="3059"/>
                        <a:pt x="2579150" y="0"/>
                        <a:pt x="2576091" y="0"/>
                      </a:cubicBezTo>
                      <a:lnTo>
                        <a:pt x="6119" y="0"/>
                      </a:lnTo>
                      <a:cubicBezTo>
                        <a:pt x="3060" y="0"/>
                        <a:pt x="0" y="3059"/>
                        <a:pt x="0" y="6119"/>
                      </a:cubicBezTo>
                      <a:cubicBezTo>
                        <a:pt x="0" y="9178"/>
                        <a:pt x="3060" y="12238"/>
                        <a:pt x="6119" y="12238"/>
                      </a:cubicBezTo>
                      <a:close/>
                    </a:path>
                  </a:pathLst>
                </a:custGeom>
                <a:solidFill>
                  <a:srgbClr val="E5D1D1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26DA5A72-8E25-4418-BC43-1882230A2E9D}"/>
                    </a:ext>
                  </a:extLst>
                </p:cNvPr>
                <p:cNvSpPr/>
                <p:nvPr/>
              </p:nvSpPr>
              <p:spPr>
                <a:xfrm>
                  <a:off x="8282372" y="9099790"/>
                  <a:ext cx="2582209" cy="12237"/>
                </a:xfrm>
                <a:custGeom>
                  <a:avLst/>
                  <a:gdLst>
                    <a:gd name="connsiteX0" fmla="*/ 6119 w 2582209"/>
                    <a:gd name="connsiteY0" fmla="*/ 12238 h 12237"/>
                    <a:gd name="connsiteX1" fmla="*/ 2576091 w 2582209"/>
                    <a:gd name="connsiteY1" fmla="*/ 12238 h 12237"/>
                    <a:gd name="connsiteX2" fmla="*/ 2582210 w 2582209"/>
                    <a:gd name="connsiteY2" fmla="*/ 6119 h 12237"/>
                    <a:gd name="connsiteX3" fmla="*/ 2576091 w 2582209"/>
                    <a:gd name="connsiteY3" fmla="*/ 0 h 12237"/>
                    <a:gd name="connsiteX4" fmla="*/ 6119 w 2582209"/>
                    <a:gd name="connsiteY4" fmla="*/ 0 h 12237"/>
                    <a:gd name="connsiteX5" fmla="*/ 0 w 2582209"/>
                    <a:gd name="connsiteY5" fmla="*/ 6119 h 12237"/>
                    <a:gd name="connsiteX6" fmla="*/ 6119 w 2582209"/>
                    <a:gd name="connsiteY6" fmla="*/ 12238 h 122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82209" h="12237">
                      <a:moveTo>
                        <a:pt x="6119" y="12238"/>
                      </a:moveTo>
                      <a:lnTo>
                        <a:pt x="2576091" y="12238"/>
                      </a:lnTo>
                      <a:cubicBezTo>
                        <a:pt x="2579150" y="12238"/>
                        <a:pt x="2582210" y="9179"/>
                        <a:pt x="2582210" y="6119"/>
                      </a:cubicBezTo>
                      <a:cubicBezTo>
                        <a:pt x="2582210" y="3059"/>
                        <a:pt x="2579150" y="0"/>
                        <a:pt x="2576091" y="0"/>
                      </a:cubicBezTo>
                      <a:lnTo>
                        <a:pt x="6119" y="0"/>
                      </a:lnTo>
                      <a:cubicBezTo>
                        <a:pt x="3060" y="0"/>
                        <a:pt x="0" y="3059"/>
                        <a:pt x="0" y="6119"/>
                      </a:cubicBezTo>
                      <a:cubicBezTo>
                        <a:pt x="0" y="9179"/>
                        <a:pt x="3060" y="12238"/>
                        <a:pt x="6119" y="12238"/>
                      </a:cubicBezTo>
                      <a:close/>
                    </a:path>
                  </a:pathLst>
                </a:custGeom>
                <a:solidFill>
                  <a:srgbClr val="E5D1D1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" name="任意多边形: 形状 112">
                  <a:extLst>
                    <a:ext uri="{FF2B5EF4-FFF2-40B4-BE49-F238E27FC236}">
                      <a16:creationId xmlns:a16="http://schemas.microsoft.com/office/drawing/2014/main" id="{F670856C-0D83-47AB-86DE-C595C05E531F}"/>
                    </a:ext>
                  </a:extLst>
                </p:cNvPr>
                <p:cNvSpPr/>
                <p:nvPr/>
              </p:nvSpPr>
              <p:spPr>
                <a:xfrm>
                  <a:off x="8282372" y="9362906"/>
                  <a:ext cx="2582209" cy="12238"/>
                </a:xfrm>
                <a:custGeom>
                  <a:avLst/>
                  <a:gdLst>
                    <a:gd name="connsiteX0" fmla="*/ 6119 w 2582209"/>
                    <a:gd name="connsiteY0" fmla="*/ 12238 h 12238"/>
                    <a:gd name="connsiteX1" fmla="*/ 2576091 w 2582209"/>
                    <a:gd name="connsiteY1" fmla="*/ 12238 h 12238"/>
                    <a:gd name="connsiteX2" fmla="*/ 2582210 w 2582209"/>
                    <a:gd name="connsiteY2" fmla="*/ 6119 h 12238"/>
                    <a:gd name="connsiteX3" fmla="*/ 2576091 w 2582209"/>
                    <a:gd name="connsiteY3" fmla="*/ 0 h 12238"/>
                    <a:gd name="connsiteX4" fmla="*/ 6119 w 2582209"/>
                    <a:gd name="connsiteY4" fmla="*/ 0 h 12238"/>
                    <a:gd name="connsiteX5" fmla="*/ 0 w 2582209"/>
                    <a:gd name="connsiteY5" fmla="*/ 6119 h 12238"/>
                    <a:gd name="connsiteX6" fmla="*/ 6119 w 2582209"/>
                    <a:gd name="connsiteY6" fmla="*/ 12238 h 12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82209" h="12238">
                      <a:moveTo>
                        <a:pt x="6119" y="12238"/>
                      </a:moveTo>
                      <a:lnTo>
                        <a:pt x="2576091" y="12238"/>
                      </a:lnTo>
                      <a:cubicBezTo>
                        <a:pt x="2579150" y="12238"/>
                        <a:pt x="2582210" y="9179"/>
                        <a:pt x="2582210" y="6119"/>
                      </a:cubicBezTo>
                      <a:cubicBezTo>
                        <a:pt x="2582210" y="3060"/>
                        <a:pt x="2579150" y="0"/>
                        <a:pt x="2576091" y="0"/>
                      </a:cubicBezTo>
                      <a:lnTo>
                        <a:pt x="6119" y="0"/>
                      </a:lnTo>
                      <a:cubicBezTo>
                        <a:pt x="3060" y="0"/>
                        <a:pt x="0" y="3060"/>
                        <a:pt x="0" y="6119"/>
                      </a:cubicBezTo>
                      <a:cubicBezTo>
                        <a:pt x="0" y="9179"/>
                        <a:pt x="3060" y="12238"/>
                        <a:pt x="6119" y="12238"/>
                      </a:cubicBezTo>
                      <a:close/>
                    </a:path>
                  </a:pathLst>
                </a:custGeom>
                <a:solidFill>
                  <a:srgbClr val="E5D1D1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B6D480A2-8E49-4380-8C52-3884B4B841FA}"/>
                    </a:ext>
                  </a:extLst>
                </p:cNvPr>
                <p:cNvSpPr/>
                <p:nvPr/>
              </p:nvSpPr>
              <p:spPr>
                <a:xfrm>
                  <a:off x="8282372" y="9629082"/>
                  <a:ext cx="2582209" cy="12237"/>
                </a:xfrm>
                <a:custGeom>
                  <a:avLst/>
                  <a:gdLst>
                    <a:gd name="connsiteX0" fmla="*/ 6119 w 2582209"/>
                    <a:gd name="connsiteY0" fmla="*/ 12238 h 12237"/>
                    <a:gd name="connsiteX1" fmla="*/ 2576091 w 2582209"/>
                    <a:gd name="connsiteY1" fmla="*/ 12238 h 12237"/>
                    <a:gd name="connsiteX2" fmla="*/ 2582210 w 2582209"/>
                    <a:gd name="connsiteY2" fmla="*/ 6118 h 12237"/>
                    <a:gd name="connsiteX3" fmla="*/ 2576091 w 2582209"/>
                    <a:gd name="connsiteY3" fmla="*/ 0 h 12237"/>
                    <a:gd name="connsiteX4" fmla="*/ 6119 w 2582209"/>
                    <a:gd name="connsiteY4" fmla="*/ 0 h 12237"/>
                    <a:gd name="connsiteX5" fmla="*/ 0 w 2582209"/>
                    <a:gd name="connsiteY5" fmla="*/ 6118 h 12237"/>
                    <a:gd name="connsiteX6" fmla="*/ 6119 w 2582209"/>
                    <a:gd name="connsiteY6" fmla="*/ 12238 h 122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82209" h="12237">
                      <a:moveTo>
                        <a:pt x="6119" y="12238"/>
                      </a:moveTo>
                      <a:lnTo>
                        <a:pt x="2576091" y="12238"/>
                      </a:lnTo>
                      <a:cubicBezTo>
                        <a:pt x="2579150" y="12238"/>
                        <a:pt x="2582210" y="9178"/>
                        <a:pt x="2582210" y="6118"/>
                      </a:cubicBezTo>
                      <a:cubicBezTo>
                        <a:pt x="2582210" y="3060"/>
                        <a:pt x="2579150" y="0"/>
                        <a:pt x="2576091" y="0"/>
                      </a:cubicBezTo>
                      <a:lnTo>
                        <a:pt x="6119" y="0"/>
                      </a:lnTo>
                      <a:cubicBezTo>
                        <a:pt x="3060" y="0"/>
                        <a:pt x="0" y="3060"/>
                        <a:pt x="0" y="6118"/>
                      </a:cubicBezTo>
                      <a:cubicBezTo>
                        <a:pt x="0" y="9178"/>
                        <a:pt x="3060" y="12238"/>
                        <a:pt x="6119" y="12238"/>
                      </a:cubicBezTo>
                      <a:close/>
                    </a:path>
                  </a:pathLst>
                </a:custGeom>
                <a:solidFill>
                  <a:srgbClr val="E5D1D1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5012BCF1-BC17-474A-9060-CC238769D81A}"/>
                  </a:ext>
                </a:extLst>
              </p:cNvPr>
              <p:cNvSpPr/>
              <p:nvPr/>
            </p:nvSpPr>
            <p:spPr>
              <a:xfrm>
                <a:off x="10043438" y="8591915"/>
                <a:ext cx="13438" cy="1236034"/>
              </a:xfrm>
              <a:custGeom>
                <a:avLst/>
                <a:gdLst>
                  <a:gd name="connsiteX0" fmla="*/ 7319 w 13438"/>
                  <a:gd name="connsiteY0" fmla="*/ 1236034 h 1236034"/>
                  <a:gd name="connsiteX1" fmla="*/ 13438 w 13438"/>
                  <a:gd name="connsiteY1" fmla="*/ 1229915 h 1236034"/>
                  <a:gd name="connsiteX2" fmla="*/ 13438 w 13438"/>
                  <a:gd name="connsiteY2" fmla="*/ 6119 h 1236034"/>
                  <a:gd name="connsiteX3" fmla="*/ 7319 w 13438"/>
                  <a:gd name="connsiteY3" fmla="*/ 0 h 1236034"/>
                  <a:gd name="connsiteX4" fmla="*/ 1200 w 13438"/>
                  <a:gd name="connsiteY4" fmla="*/ 6119 h 1236034"/>
                  <a:gd name="connsiteX5" fmla="*/ 1200 w 13438"/>
                  <a:gd name="connsiteY5" fmla="*/ 1229915 h 1236034"/>
                  <a:gd name="connsiteX6" fmla="*/ 7319 w 13438"/>
                  <a:gd name="connsiteY6" fmla="*/ 1236034 h 1236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438" h="1236034">
                    <a:moveTo>
                      <a:pt x="7319" y="1236034"/>
                    </a:moveTo>
                    <a:cubicBezTo>
                      <a:pt x="10379" y="1236034"/>
                      <a:pt x="13438" y="1232975"/>
                      <a:pt x="13438" y="1229915"/>
                    </a:cubicBezTo>
                    <a:lnTo>
                      <a:pt x="13438" y="6119"/>
                    </a:lnTo>
                    <a:cubicBezTo>
                      <a:pt x="13438" y="3060"/>
                      <a:pt x="10379" y="0"/>
                      <a:pt x="7319" y="0"/>
                    </a:cubicBezTo>
                    <a:cubicBezTo>
                      <a:pt x="4260" y="0"/>
                      <a:pt x="1200" y="3060"/>
                      <a:pt x="1200" y="6119"/>
                    </a:cubicBezTo>
                    <a:lnTo>
                      <a:pt x="1200" y="1229915"/>
                    </a:lnTo>
                    <a:cubicBezTo>
                      <a:pt x="-1859" y="1232975"/>
                      <a:pt x="1200" y="1236034"/>
                      <a:pt x="7319" y="1236034"/>
                    </a:cubicBezTo>
                    <a:close/>
                  </a:path>
                </a:pathLst>
              </a:custGeom>
              <a:solidFill>
                <a:srgbClr val="E5D1D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99BE78E2-68A6-4A25-92D3-E9F6BE875181}"/>
                  </a:ext>
                </a:extLst>
              </p:cNvPr>
              <p:cNvSpPr/>
              <p:nvPr/>
            </p:nvSpPr>
            <p:spPr>
              <a:xfrm>
                <a:off x="10763618" y="8591915"/>
                <a:ext cx="12238" cy="1236034"/>
              </a:xfrm>
              <a:custGeom>
                <a:avLst/>
                <a:gdLst>
                  <a:gd name="connsiteX0" fmla="*/ 6119 w 12238"/>
                  <a:gd name="connsiteY0" fmla="*/ 1236034 h 1236034"/>
                  <a:gd name="connsiteX1" fmla="*/ 12239 w 12238"/>
                  <a:gd name="connsiteY1" fmla="*/ 1229915 h 1236034"/>
                  <a:gd name="connsiteX2" fmla="*/ 12239 w 12238"/>
                  <a:gd name="connsiteY2" fmla="*/ 6119 h 1236034"/>
                  <a:gd name="connsiteX3" fmla="*/ 6119 w 12238"/>
                  <a:gd name="connsiteY3" fmla="*/ 0 h 1236034"/>
                  <a:gd name="connsiteX4" fmla="*/ 0 w 12238"/>
                  <a:gd name="connsiteY4" fmla="*/ 6119 h 1236034"/>
                  <a:gd name="connsiteX5" fmla="*/ 0 w 12238"/>
                  <a:gd name="connsiteY5" fmla="*/ 1229915 h 1236034"/>
                  <a:gd name="connsiteX6" fmla="*/ 6119 w 12238"/>
                  <a:gd name="connsiteY6" fmla="*/ 1236034 h 1236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38" h="1236034">
                    <a:moveTo>
                      <a:pt x="6119" y="1236034"/>
                    </a:moveTo>
                    <a:cubicBezTo>
                      <a:pt x="9179" y="1236034"/>
                      <a:pt x="12239" y="1232975"/>
                      <a:pt x="12239" y="1229915"/>
                    </a:cubicBezTo>
                    <a:lnTo>
                      <a:pt x="12239" y="6119"/>
                    </a:lnTo>
                    <a:cubicBezTo>
                      <a:pt x="12239" y="3060"/>
                      <a:pt x="9179" y="0"/>
                      <a:pt x="6119" y="0"/>
                    </a:cubicBezTo>
                    <a:cubicBezTo>
                      <a:pt x="3060" y="0"/>
                      <a:pt x="0" y="3060"/>
                      <a:pt x="0" y="6119"/>
                    </a:cubicBezTo>
                    <a:lnTo>
                      <a:pt x="0" y="1229915"/>
                    </a:lnTo>
                    <a:cubicBezTo>
                      <a:pt x="0" y="1232975"/>
                      <a:pt x="3060" y="1236034"/>
                      <a:pt x="6119" y="1236034"/>
                    </a:cubicBezTo>
                    <a:close/>
                  </a:path>
                </a:pathLst>
              </a:custGeom>
              <a:solidFill>
                <a:srgbClr val="E5D1D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563AA762-D328-4A71-8C29-B3CF4CBC6E7C}"/>
                  </a:ext>
                </a:extLst>
              </p:cNvPr>
              <p:cNvSpPr/>
              <p:nvPr/>
            </p:nvSpPr>
            <p:spPr>
              <a:xfrm>
                <a:off x="10524978" y="8591915"/>
                <a:ext cx="12237" cy="1236034"/>
              </a:xfrm>
              <a:custGeom>
                <a:avLst/>
                <a:gdLst>
                  <a:gd name="connsiteX0" fmla="*/ 6119 w 12237"/>
                  <a:gd name="connsiteY0" fmla="*/ 1236034 h 1236034"/>
                  <a:gd name="connsiteX1" fmla="*/ 12238 w 12237"/>
                  <a:gd name="connsiteY1" fmla="*/ 1229915 h 1236034"/>
                  <a:gd name="connsiteX2" fmla="*/ 12238 w 12237"/>
                  <a:gd name="connsiteY2" fmla="*/ 6119 h 1236034"/>
                  <a:gd name="connsiteX3" fmla="*/ 6119 w 12237"/>
                  <a:gd name="connsiteY3" fmla="*/ 0 h 1236034"/>
                  <a:gd name="connsiteX4" fmla="*/ 0 w 12237"/>
                  <a:gd name="connsiteY4" fmla="*/ 6119 h 1236034"/>
                  <a:gd name="connsiteX5" fmla="*/ 0 w 12237"/>
                  <a:gd name="connsiteY5" fmla="*/ 1229915 h 1236034"/>
                  <a:gd name="connsiteX6" fmla="*/ 6119 w 12237"/>
                  <a:gd name="connsiteY6" fmla="*/ 1236034 h 1236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37" h="1236034">
                    <a:moveTo>
                      <a:pt x="6119" y="1236034"/>
                    </a:moveTo>
                    <a:cubicBezTo>
                      <a:pt x="9178" y="1236034"/>
                      <a:pt x="12238" y="1232975"/>
                      <a:pt x="12238" y="1229915"/>
                    </a:cubicBezTo>
                    <a:lnTo>
                      <a:pt x="12238" y="6119"/>
                    </a:lnTo>
                    <a:cubicBezTo>
                      <a:pt x="12238" y="3060"/>
                      <a:pt x="9178" y="0"/>
                      <a:pt x="6119" y="0"/>
                    </a:cubicBezTo>
                    <a:cubicBezTo>
                      <a:pt x="3060" y="0"/>
                      <a:pt x="0" y="3060"/>
                      <a:pt x="0" y="6119"/>
                    </a:cubicBezTo>
                    <a:lnTo>
                      <a:pt x="0" y="1229915"/>
                    </a:lnTo>
                    <a:cubicBezTo>
                      <a:pt x="0" y="1232975"/>
                      <a:pt x="3060" y="1236034"/>
                      <a:pt x="6119" y="1236034"/>
                    </a:cubicBezTo>
                    <a:close/>
                  </a:path>
                </a:pathLst>
              </a:custGeom>
              <a:solidFill>
                <a:srgbClr val="E5D1D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B43524E3-437B-4F5E-B10B-1DBA3E4234B4}"/>
                  </a:ext>
                </a:extLst>
              </p:cNvPr>
              <p:cNvSpPr/>
              <p:nvPr/>
            </p:nvSpPr>
            <p:spPr>
              <a:xfrm>
                <a:off x="9804798" y="8591915"/>
                <a:ext cx="13438" cy="1236034"/>
              </a:xfrm>
              <a:custGeom>
                <a:avLst/>
                <a:gdLst>
                  <a:gd name="connsiteX0" fmla="*/ 7319 w 13438"/>
                  <a:gd name="connsiteY0" fmla="*/ 1236034 h 1236034"/>
                  <a:gd name="connsiteX1" fmla="*/ 13438 w 13438"/>
                  <a:gd name="connsiteY1" fmla="*/ 1229915 h 1236034"/>
                  <a:gd name="connsiteX2" fmla="*/ 13438 w 13438"/>
                  <a:gd name="connsiteY2" fmla="*/ 6119 h 1236034"/>
                  <a:gd name="connsiteX3" fmla="*/ 7319 w 13438"/>
                  <a:gd name="connsiteY3" fmla="*/ 0 h 1236034"/>
                  <a:gd name="connsiteX4" fmla="*/ 1200 w 13438"/>
                  <a:gd name="connsiteY4" fmla="*/ 6119 h 1236034"/>
                  <a:gd name="connsiteX5" fmla="*/ 1200 w 13438"/>
                  <a:gd name="connsiteY5" fmla="*/ 1229915 h 1236034"/>
                  <a:gd name="connsiteX6" fmla="*/ 7319 w 13438"/>
                  <a:gd name="connsiteY6" fmla="*/ 1236034 h 1236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438" h="1236034">
                    <a:moveTo>
                      <a:pt x="7319" y="1236034"/>
                    </a:moveTo>
                    <a:cubicBezTo>
                      <a:pt x="10379" y="1236034"/>
                      <a:pt x="13438" y="1232975"/>
                      <a:pt x="13438" y="1229915"/>
                    </a:cubicBezTo>
                    <a:lnTo>
                      <a:pt x="13438" y="6119"/>
                    </a:lnTo>
                    <a:cubicBezTo>
                      <a:pt x="13438" y="3060"/>
                      <a:pt x="10379" y="0"/>
                      <a:pt x="7319" y="0"/>
                    </a:cubicBezTo>
                    <a:cubicBezTo>
                      <a:pt x="4260" y="0"/>
                      <a:pt x="1200" y="3060"/>
                      <a:pt x="1200" y="6119"/>
                    </a:cubicBezTo>
                    <a:lnTo>
                      <a:pt x="1200" y="1229915"/>
                    </a:lnTo>
                    <a:cubicBezTo>
                      <a:pt x="-1859" y="1232975"/>
                      <a:pt x="1200" y="1236034"/>
                      <a:pt x="7319" y="1236034"/>
                    </a:cubicBezTo>
                    <a:close/>
                  </a:path>
                </a:pathLst>
              </a:custGeom>
              <a:solidFill>
                <a:srgbClr val="E5D1D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A3392293-D6E4-4E55-ABD2-D72DBB323BC2}"/>
                  </a:ext>
                </a:extLst>
              </p:cNvPr>
              <p:cNvSpPr/>
              <p:nvPr/>
            </p:nvSpPr>
            <p:spPr>
              <a:xfrm>
                <a:off x="9566524" y="8591915"/>
                <a:ext cx="13071" cy="1236034"/>
              </a:xfrm>
              <a:custGeom>
                <a:avLst/>
                <a:gdLst>
                  <a:gd name="connsiteX0" fmla="*/ 6953 w 13071"/>
                  <a:gd name="connsiteY0" fmla="*/ 1236034 h 1236034"/>
                  <a:gd name="connsiteX1" fmla="*/ 13072 w 13071"/>
                  <a:gd name="connsiteY1" fmla="*/ 1229915 h 1236034"/>
                  <a:gd name="connsiteX2" fmla="*/ 13072 w 13071"/>
                  <a:gd name="connsiteY2" fmla="*/ 6119 h 1236034"/>
                  <a:gd name="connsiteX3" fmla="*/ 6953 w 13071"/>
                  <a:gd name="connsiteY3" fmla="*/ 0 h 1236034"/>
                  <a:gd name="connsiteX4" fmla="*/ 834 w 13071"/>
                  <a:gd name="connsiteY4" fmla="*/ 6119 h 1236034"/>
                  <a:gd name="connsiteX5" fmla="*/ 834 w 13071"/>
                  <a:gd name="connsiteY5" fmla="*/ 1229915 h 1236034"/>
                  <a:gd name="connsiteX6" fmla="*/ 6953 w 13071"/>
                  <a:gd name="connsiteY6" fmla="*/ 1236034 h 1236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71" h="1236034">
                    <a:moveTo>
                      <a:pt x="6953" y="1236034"/>
                    </a:moveTo>
                    <a:cubicBezTo>
                      <a:pt x="10012" y="1236034"/>
                      <a:pt x="13072" y="1232975"/>
                      <a:pt x="13072" y="1229915"/>
                    </a:cubicBezTo>
                    <a:lnTo>
                      <a:pt x="13072" y="6119"/>
                    </a:lnTo>
                    <a:cubicBezTo>
                      <a:pt x="13072" y="3060"/>
                      <a:pt x="10012" y="0"/>
                      <a:pt x="6953" y="0"/>
                    </a:cubicBezTo>
                    <a:cubicBezTo>
                      <a:pt x="3893" y="0"/>
                      <a:pt x="834" y="3060"/>
                      <a:pt x="834" y="6119"/>
                    </a:cubicBezTo>
                    <a:lnTo>
                      <a:pt x="834" y="1229915"/>
                    </a:lnTo>
                    <a:cubicBezTo>
                      <a:pt x="-2225" y="1232975"/>
                      <a:pt x="3893" y="1236034"/>
                      <a:pt x="6953" y="1236034"/>
                    </a:cubicBezTo>
                    <a:close/>
                  </a:path>
                </a:pathLst>
              </a:custGeom>
              <a:solidFill>
                <a:srgbClr val="E5D1D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A69FF2B5-B98B-42D4-BA5B-4297E2D6A2D3}"/>
                  </a:ext>
                </a:extLst>
              </p:cNvPr>
              <p:cNvSpPr/>
              <p:nvPr/>
            </p:nvSpPr>
            <p:spPr>
              <a:xfrm>
                <a:off x="9327884" y="8591915"/>
                <a:ext cx="13071" cy="1236034"/>
              </a:xfrm>
              <a:custGeom>
                <a:avLst/>
                <a:gdLst>
                  <a:gd name="connsiteX0" fmla="*/ 6953 w 13071"/>
                  <a:gd name="connsiteY0" fmla="*/ 1236034 h 1236034"/>
                  <a:gd name="connsiteX1" fmla="*/ 13072 w 13071"/>
                  <a:gd name="connsiteY1" fmla="*/ 1229915 h 1236034"/>
                  <a:gd name="connsiteX2" fmla="*/ 13072 w 13071"/>
                  <a:gd name="connsiteY2" fmla="*/ 6119 h 1236034"/>
                  <a:gd name="connsiteX3" fmla="*/ 6953 w 13071"/>
                  <a:gd name="connsiteY3" fmla="*/ 0 h 1236034"/>
                  <a:gd name="connsiteX4" fmla="*/ 834 w 13071"/>
                  <a:gd name="connsiteY4" fmla="*/ 6119 h 1236034"/>
                  <a:gd name="connsiteX5" fmla="*/ 834 w 13071"/>
                  <a:gd name="connsiteY5" fmla="*/ 1229915 h 1236034"/>
                  <a:gd name="connsiteX6" fmla="*/ 6953 w 13071"/>
                  <a:gd name="connsiteY6" fmla="*/ 1236034 h 1236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71" h="1236034">
                    <a:moveTo>
                      <a:pt x="6953" y="1236034"/>
                    </a:moveTo>
                    <a:cubicBezTo>
                      <a:pt x="10012" y="1236034"/>
                      <a:pt x="13072" y="1232975"/>
                      <a:pt x="13072" y="1229915"/>
                    </a:cubicBezTo>
                    <a:lnTo>
                      <a:pt x="13072" y="6119"/>
                    </a:lnTo>
                    <a:cubicBezTo>
                      <a:pt x="13072" y="3060"/>
                      <a:pt x="10012" y="0"/>
                      <a:pt x="6953" y="0"/>
                    </a:cubicBezTo>
                    <a:cubicBezTo>
                      <a:pt x="3893" y="0"/>
                      <a:pt x="834" y="3060"/>
                      <a:pt x="834" y="6119"/>
                    </a:cubicBezTo>
                    <a:lnTo>
                      <a:pt x="834" y="1229915"/>
                    </a:lnTo>
                    <a:cubicBezTo>
                      <a:pt x="-2225" y="1232975"/>
                      <a:pt x="3893" y="1236034"/>
                      <a:pt x="6953" y="1236034"/>
                    </a:cubicBezTo>
                    <a:close/>
                  </a:path>
                </a:pathLst>
              </a:custGeom>
              <a:solidFill>
                <a:srgbClr val="E5D1D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4ADFC847-78C0-4743-B1FC-4E662AC66CAF}"/>
                  </a:ext>
                </a:extLst>
              </p:cNvPr>
              <p:cNvSpPr/>
              <p:nvPr/>
            </p:nvSpPr>
            <p:spPr>
              <a:xfrm>
                <a:off x="9089244" y="8591915"/>
                <a:ext cx="13071" cy="1236034"/>
              </a:xfrm>
              <a:custGeom>
                <a:avLst/>
                <a:gdLst>
                  <a:gd name="connsiteX0" fmla="*/ 6953 w 13071"/>
                  <a:gd name="connsiteY0" fmla="*/ 1236034 h 1236034"/>
                  <a:gd name="connsiteX1" fmla="*/ 13072 w 13071"/>
                  <a:gd name="connsiteY1" fmla="*/ 1229915 h 1236034"/>
                  <a:gd name="connsiteX2" fmla="*/ 13072 w 13071"/>
                  <a:gd name="connsiteY2" fmla="*/ 6119 h 1236034"/>
                  <a:gd name="connsiteX3" fmla="*/ 6953 w 13071"/>
                  <a:gd name="connsiteY3" fmla="*/ 0 h 1236034"/>
                  <a:gd name="connsiteX4" fmla="*/ 834 w 13071"/>
                  <a:gd name="connsiteY4" fmla="*/ 6119 h 1236034"/>
                  <a:gd name="connsiteX5" fmla="*/ 834 w 13071"/>
                  <a:gd name="connsiteY5" fmla="*/ 1229915 h 1236034"/>
                  <a:gd name="connsiteX6" fmla="*/ 6953 w 13071"/>
                  <a:gd name="connsiteY6" fmla="*/ 1236034 h 1236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71" h="1236034">
                    <a:moveTo>
                      <a:pt x="6953" y="1236034"/>
                    </a:moveTo>
                    <a:cubicBezTo>
                      <a:pt x="10012" y="1236034"/>
                      <a:pt x="13072" y="1232975"/>
                      <a:pt x="13072" y="1229915"/>
                    </a:cubicBezTo>
                    <a:lnTo>
                      <a:pt x="13072" y="6119"/>
                    </a:lnTo>
                    <a:cubicBezTo>
                      <a:pt x="13072" y="3060"/>
                      <a:pt x="10012" y="0"/>
                      <a:pt x="6953" y="0"/>
                    </a:cubicBezTo>
                    <a:cubicBezTo>
                      <a:pt x="3893" y="0"/>
                      <a:pt x="834" y="3060"/>
                      <a:pt x="834" y="6119"/>
                    </a:cubicBezTo>
                    <a:lnTo>
                      <a:pt x="834" y="1229915"/>
                    </a:lnTo>
                    <a:cubicBezTo>
                      <a:pt x="-2226" y="1232975"/>
                      <a:pt x="3893" y="1236034"/>
                      <a:pt x="6953" y="1236034"/>
                    </a:cubicBezTo>
                    <a:close/>
                  </a:path>
                </a:pathLst>
              </a:custGeom>
              <a:solidFill>
                <a:srgbClr val="E5D1D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3B16C3D1-9D24-4CFC-87BE-469366876701}"/>
                  </a:ext>
                </a:extLst>
              </p:cNvPr>
              <p:cNvSpPr/>
              <p:nvPr/>
            </p:nvSpPr>
            <p:spPr>
              <a:xfrm>
                <a:off x="8850603" y="8591915"/>
                <a:ext cx="13071" cy="1236034"/>
              </a:xfrm>
              <a:custGeom>
                <a:avLst/>
                <a:gdLst>
                  <a:gd name="connsiteX0" fmla="*/ 6953 w 13071"/>
                  <a:gd name="connsiteY0" fmla="*/ 1236034 h 1236034"/>
                  <a:gd name="connsiteX1" fmla="*/ 13072 w 13071"/>
                  <a:gd name="connsiteY1" fmla="*/ 1229915 h 1236034"/>
                  <a:gd name="connsiteX2" fmla="*/ 13072 w 13071"/>
                  <a:gd name="connsiteY2" fmla="*/ 6119 h 1236034"/>
                  <a:gd name="connsiteX3" fmla="*/ 6953 w 13071"/>
                  <a:gd name="connsiteY3" fmla="*/ 0 h 1236034"/>
                  <a:gd name="connsiteX4" fmla="*/ 834 w 13071"/>
                  <a:gd name="connsiteY4" fmla="*/ 6119 h 1236034"/>
                  <a:gd name="connsiteX5" fmla="*/ 834 w 13071"/>
                  <a:gd name="connsiteY5" fmla="*/ 1229915 h 1236034"/>
                  <a:gd name="connsiteX6" fmla="*/ 6953 w 13071"/>
                  <a:gd name="connsiteY6" fmla="*/ 1236034 h 1236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71" h="1236034">
                    <a:moveTo>
                      <a:pt x="6953" y="1236034"/>
                    </a:moveTo>
                    <a:cubicBezTo>
                      <a:pt x="10013" y="1236034"/>
                      <a:pt x="13072" y="1232975"/>
                      <a:pt x="13072" y="1229915"/>
                    </a:cubicBezTo>
                    <a:lnTo>
                      <a:pt x="13072" y="6119"/>
                    </a:lnTo>
                    <a:cubicBezTo>
                      <a:pt x="13072" y="3060"/>
                      <a:pt x="10013" y="0"/>
                      <a:pt x="6953" y="0"/>
                    </a:cubicBezTo>
                    <a:cubicBezTo>
                      <a:pt x="3893" y="0"/>
                      <a:pt x="834" y="3060"/>
                      <a:pt x="834" y="6119"/>
                    </a:cubicBezTo>
                    <a:lnTo>
                      <a:pt x="834" y="1229915"/>
                    </a:lnTo>
                    <a:cubicBezTo>
                      <a:pt x="-2226" y="1232975"/>
                      <a:pt x="3893" y="1236034"/>
                      <a:pt x="6953" y="1236034"/>
                    </a:cubicBezTo>
                    <a:close/>
                  </a:path>
                </a:pathLst>
              </a:custGeom>
              <a:solidFill>
                <a:srgbClr val="E5D1D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26733357-5EE8-4245-A33D-9D7255759B13}"/>
                  </a:ext>
                </a:extLst>
              </p:cNvPr>
              <p:cNvSpPr/>
              <p:nvPr/>
            </p:nvSpPr>
            <p:spPr>
              <a:xfrm>
                <a:off x="8612797" y="8591915"/>
                <a:ext cx="12237" cy="1236034"/>
              </a:xfrm>
              <a:custGeom>
                <a:avLst/>
                <a:gdLst>
                  <a:gd name="connsiteX0" fmla="*/ 6119 w 12237"/>
                  <a:gd name="connsiteY0" fmla="*/ 1236034 h 1236034"/>
                  <a:gd name="connsiteX1" fmla="*/ 12238 w 12237"/>
                  <a:gd name="connsiteY1" fmla="*/ 1229915 h 1236034"/>
                  <a:gd name="connsiteX2" fmla="*/ 12238 w 12237"/>
                  <a:gd name="connsiteY2" fmla="*/ 6119 h 1236034"/>
                  <a:gd name="connsiteX3" fmla="*/ 6119 w 12237"/>
                  <a:gd name="connsiteY3" fmla="*/ 0 h 1236034"/>
                  <a:gd name="connsiteX4" fmla="*/ 0 w 12237"/>
                  <a:gd name="connsiteY4" fmla="*/ 6119 h 1236034"/>
                  <a:gd name="connsiteX5" fmla="*/ 0 w 12237"/>
                  <a:gd name="connsiteY5" fmla="*/ 1229915 h 1236034"/>
                  <a:gd name="connsiteX6" fmla="*/ 6119 w 12237"/>
                  <a:gd name="connsiteY6" fmla="*/ 1236034 h 1236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37" h="1236034">
                    <a:moveTo>
                      <a:pt x="6119" y="1236034"/>
                    </a:moveTo>
                    <a:cubicBezTo>
                      <a:pt x="9179" y="1236034"/>
                      <a:pt x="12238" y="1232975"/>
                      <a:pt x="12238" y="1229915"/>
                    </a:cubicBezTo>
                    <a:lnTo>
                      <a:pt x="12238" y="6119"/>
                    </a:lnTo>
                    <a:cubicBezTo>
                      <a:pt x="12238" y="3060"/>
                      <a:pt x="9179" y="0"/>
                      <a:pt x="6119" y="0"/>
                    </a:cubicBezTo>
                    <a:cubicBezTo>
                      <a:pt x="3060" y="0"/>
                      <a:pt x="0" y="3060"/>
                      <a:pt x="0" y="6119"/>
                    </a:cubicBezTo>
                    <a:lnTo>
                      <a:pt x="0" y="1229915"/>
                    </a:lnTo>
                    <a:cubicBezTo>
                      <a:pt x="0" y="1232975"/>
                      <a:pt x="3060" y="1236034"/>
                      <a:pt x="6119" y="1236034"/>
                    </a:cubicBezTo>
                    <a:close/>
                  </a:path>
                </a:pathLst>
              </a:custGeom>
              <a:solidFill>
                <a:srgbClr val="E5D1D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79B50F2D-6375-47F2-B9E4-E8CEA6632268}"/>
                  </a:ext>
                </a:extLst>
              </p:cNvPr>
              <p:cNvSpPr/>
              <p:nvPr/>
            </p:nvSpPr>
            <p:spPr>
              <a:xfrm>
                <a:off x="8374157" y="8591915"/>
                <a:ext cx="12238" cy="1236034"/>
              </a:xfrm>
              <a:custGeom>
                <a:avLst/>
                <a:gdLst>
                  <a:gd name="connsiteX0" fmla="*/ 6119 w 12238"/>
                  <a:gd name="connsiteY0" fmla="*/ 1236034 h 1236034"/>
                  <a:gd name="connsiteX1" fmla="*/ 12238 w 12238"/>
                  <a:gd name="connsiteY1" fmla="*/ 1229915 h 1236034"/>
                  <a:gd name="connsiteX2" fmla="*/ 12238 w 12238"/>
                  <a:gd name="connsiteY2" fmla="*/ 6119 h 1236034"/>
                  <a:gd name="connsiteX3" fmla="*/ 6119 w 12238"/>
                  <a:gd name="connsiteY3" fmla="*/ 0 h 1236034"/>
                  <a:gd name="connsiteX4" fmla="*/ 0 w 12238"/>
                  <a:gd name="connsiteY4" fmla="*/ 6119 h 1236034"/>
                  <a:gd name="connsiteX5" fmla="*/ 0 w 12238"/>
                  <a:gd name="connsiteY5" fmla="*/ 1229915 h 1236034"/>
                  <a:gd name="connsiteX6" fmla="*/ 6119 w 12238"/>
                  <a:gd name="connsiteY6" fmla="*/ 1236034 h 1236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38" h="1236034">
                    <a:moveTo>
                      <a:pt x="6119" y="1236034"/>
                    </a:moveTo>
                    <a:cubicBezTo>
                      <a:pt x="9179" y="1236034"/>
                      <a:pt x="12238" y="1232975"/>
                      <a:pt x="12238" y="1229915"/>
                    </a:cubicBezTo>
                    <a:lnTo>
                      <a:pt x="12238" y="6119"/>
                    </a:lnTo>
                    <a:cubicBezTo>
                      <a:pt x="12238" y="3060"/>
                      <a:pt x="9179" y="0"/>
                      <a:pt x="6119" y="0"/>
                    </a:cubicBezTo>
                    <a:cubicBezTo>
                      <a:pt x="3060" y="0"/>
                      <a:pt x="0" y="3060"/>
                      <a:pt x="0" y="6119"/>
                    </a:cubicBezTo>
                    <a:lnTo>
                      <a:pt x="0" y="1229915"/>
                    </a:lnTo>
                    <a:cubicBezTo>
                      <a:pt x="0" y="1232975"/>
                      <a:pt x="3060" y="1236034"/>
                      <a:pt x="6119" y="1236034"/>
                    </a:cubicBezTo>
                    <a:close/>
                  </a:path>
                </a:pathLst>
              </a:custGeom>
              <a:solidFill>
                <a:srgbClr val="E5D1D1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E486714A-EF71-4BD2-9285-00E29661EB43}"/>
                </a:ext>
              </a:extLst>
            </p:cNvPr>
            <p:cNvSpPr/>
            <p:nvPr/>
          </p:nvSpPr>
          <p:spPr>
            <a:xfrm>
              <a:off x="8282372" y="9968686"/>
              <a:ext cx="1156487" cy="12237"/>
            </a:xfrm>
            <a:custGeom>
              <a:avLst/>
              <a:gdLst>
                <a:gd name="connsiteX0" fmla="*/ 1150369 w 1156487"/>
                <a:gd name="connsiteY0" fmla="*/ 12238 h 12237"/>
                <a:gd name="connsiteX1" fmla="*/ 6119 w 1156487"/>
                <a:gd name="connsiteY1" fmla="*/ 12238 h 12237"/>
                <a:gd name="connsiteX2" fmla="*/ 0 w 1156487"/>
                <a:gd name="connsiteY2" fmla="*/ 6118 h 12237"/>
                <a:gd name="connsiteX3" fmla="*/ 6119 w 1156487"/>
                <a:gd name="connsiteY3" fmla="*/ 0 h 12237"/>
                <a:gd name="connsiteX4" fmla="*/ 1150369 w 1156487"/>
                <a:gd name="connsiteY4" fmla="*/ 0 h 12237"/>
                <a:gd name="connsiteX5" fmla="*/ 1156487 w 1156487"/>
                <a:gd name="connsiteY5" fmla="*/ 6118 h 12237"/>
                <a:gd name="connsiteX6" fmla="*/ 1150369 w 1156487"/>
                <a:gd name="connsiteY6" fmla="*/ 12238 h 12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6487" h="12237">
                  <a:moveTo>
                    <a:pt x="1150369" y="12238"/>
                  </a:moveTo>
                  <a:lnTo>
                    <a:pt x="6119" y="12238"/>
                  </a:lnTo>
                  <a:cubicBezTo>
                    <a:pt x="3060" y="12238"/>
                    <a:pt x="0" y="9178"/>
                    <a:pt x="0" y="6118"/>
                  </a:cubicBezTo>
                  <a:cubicBezTo>
                    <a:pt x="0" y="3059"/>
                    <a:pt x="3060" y="0"/>
                    <a:pt x="6119" y="0"/>
                  </a:cubicBezTo>
                  <a:lnTo>
                    <a:pt x="1150369" y="0"/>
                  </a:lnTo>
                  <a:cubicBezTo>
                    <a:pt x="1153428" y="0"/>
                    <a:pt x="1156487" y="3059"/>
                    <a:pt x="1156487" y="6118"/>
                  </a:cubicBezTo>
                  <a:cubicBezTo>
                    <a:pt x="1156487" y="9178"/>
                    <a:pt x="1153428" y="12238"/>
                    <a:pt x="1150369" y="12238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16886DA9-9DA5-416C-9EA1-859F99AA306F}"/>
                </a:ext>
              </a:extLst>
            </p:cNvPr>
            <p:cNvSpPr/>
            <p:nvPr/>
          </p:nvSpPr>
          <p:spPr>
            <a:xfrm>
              <a:off x="8282372" y="10066589"/>
              <a:ext cx="1156487" cy="12237"/>
            </a:xfrm>
            <a:custGeom>
              <a:avLst/>
              <a:gdLst>
                <a:gd name="connsiteX0" fmla="*/ 1150369 w 1156487"/>
                <a:gd name="connsiteY0" fmla="*/ 12238 h 12237"/>
                <a:gd name="connsiteX1" fmla="*/ 6119 w 1156487"/>
                <a:gd name="connsiteY1" fmla="*/ 12238 h 12237"/>
                <a:gd name="connsiteX2" fmla="*/ 0 w 1156487"/>
                <a:gd name="connsiteY2" fmla="*/ 6119 h 12237"/>
                <a:gd name="connsiteX3" fmla="*/ 6119 w 1156487"/>
                <a:gd name="connsiteY3" fmla="*/ 0 h 12237"/>
                <a:gd name="connsiteX4" fmla="*/ 1150369 w 1156487"/>
                <a:gd name="connsiteY4" fmla="*/ 0 h 12237"/>
                <a:gd name="connsiteX5" fmla="*/ 1156487 w 1156487"/>
                <a:gd name="connsiteY5" fmla="*/ 6119 h 12237"/>
                <a:gd name="connsiteX6" fmla="*/ 1150369 w 1156487"/>
                <a:gd name="connsiteY6" fmla="*/ 12238 h 12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6487" h="12237">
                  <a:moveTo>
                    <a:pt x="1150369" y="12238"/>
                  </a:moveTo>
                  <a:lnTo>
                    <a:pt x="6119" y="12238"/>
                  </a:lnTo>
                  <a:cubicBezTo>
                    <a:pt x="3060" y="12238"/>
                    <a:pt x="0" y="9179"/>
                    <a:pt x="0" y="6119"/>
                  </a:cubicBezTo>
                  <a:cubicBezTo>
                    <a:pt x="0" y="3060"/>
                    <a:pt x="3060" y="0"/>
                    <a:pt x="6119" y="0"/>
                  </a:cubicBezTo>
                  <a:lnTo>
                    <a:pt x="1150369" y="0"/>
                  </a:lnTo>
                  <a:cubicBezTo>
                    <a:pt x="1153428" y="0"/>
                    <a:pt x="1156487" y="3060"/>
                    <a:pt x="1156487" y="6119"/>
                  </a:cubicBezTo>
                  <a:cubicBezTo>
                    <a:pt x="1156487" y="9179"/>
                    <a:pt x="1153428" y="12238"/>
                    <a:pt x="1150369" y="12238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47878B6A-3DDC-4253-A617-BF0B556E48AF}"/>
                </a:ext>
              </a:extLst>
            </p:cNvPr>
            <p:cNvSpPr/>
            <p:nvPr/>
          </p:nvSpPr>
          <p:spPr>
            <a:xfrm>
              <a:off x="8282372" y="10167553"/>
              <a:ext cx="1156487" cy="12237"/>
            </a:xfrm>
            <a:custGeom>
              <a:avLst/>
              <a:gdLst>
                <a:gd name="connsiteX0" fmla="*/ 1150369 w 1156487"/>
                <a:gd name="connsiteY0" fmla="*/ 12238 h 12237"/>
                <a:gd name="connsiteX1" fmla="*/ 6119 w 1156487"/>
                <a:gd name="connsiteY1" fmla="*/ 12238 h 12237"/>
                <a:gd name="connsiteX2" fmla="*/ 0 w 1156487"/>
                <a:gd name="connsiteY2" fmla="*/ 6118 h 12237"/>
                <a:gd name="connsiteX3" fmla="*/ 6119 w 1156487"/>
                <a:gd name="connsiteY3" fmla="*/ 0 h 12237"/>
                <a:gd name="connsiteX4" fmla="*/ 1150369 w 1156487"/>
                <a:gd name="connsiteY4" fmla="*/ 0 h 12237"/>
                <a:gd name="connsiteX5" fmla="*/ 1156487 w 1156487"/>
                <a:gd name="connsiteY5" fmla="*/ 6118 h 12237"/>
                <a:gd name="connsiteX6" fmla="*/ 1150369 w 1156487"/>
                <a:gd name="connsiteY6" fmla="*/ 12238 h 12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6487" h="12237">
                  <a:moveTo>
                    <a:pt x="1150369" y="12238"/>
                  </a:moveTo>
                  <a:lnTo>
                    <a:pt x="6119" y="12238"/>
                  </a:lnTo>
                  <a:cubicBezTo>
                    <a:pt x="3060" y="12238"/>
                    <a:pt x="0" y="9178"/>
                    <a:pt x="0" y="6118"/>
                  </a:cubicBezTo>
                  <a:cubicBezTo>
                    <a:pt x="0" y="3059"/>
                    <a:pt x="3060" y="0"/>
                    <a:pt x="6119" y="0"/>
                  </a:cubicBezTo>
                  <a:lnTo>
                    <a:pt x="1150369" y="0"/>
                  </a:lnTo>
                  <a:cubicBezTo>
                    <a:pt x="1153428" y="0"/>
                    <a:pt x="1156487" y="3059"/>
                    <a:pt x="1156487" y="6118"/>
                  </a:cubicBezTo>
                  <a:cubicBezTo>
                    <a:pt x="1156487" y="9178"/>
                    <a:pt x="1153428" y="12238"/>
                    <a:pt x="1150369" y="12238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261A695A-426B-4660-AB67-D8DBD3A37467}"/>
                </a:ext>
              </a:extLst>
            </p:cNvPr>
            <p:cNvSpPr/>
            <p:nvPr/>
          </p:nvSpPr>
          <p:spPr>
            <a:xfrm>
              <a:off x="9708095" y="9968686"/>
              <a:ext cx="1156487" cy="12237"/>
            </a:xfrm>
            <a:custGeom>
              <a:avLst/>
              <a:gdLst>
                <a:gd name="connsiteX0" fmla="*/ 1150368 w 1156487"/>
                <a:gd name="connsiteY0" fmla="*/ 12238 h 12237"/>
                <a:gd name="connsiteX1" fmla="*/ 6119 w 1156487"/>
                <a:gd name="connsiteY1" fmla="*/ 12238 h 12237"/>
                <a:gd name="connsiteX2" fmla="*/ 0 w 1156487"/>
                <a:gd name="connsiteY2" fmla="*/ 6118 h 12237"/>
                <a:gd name="connsiteX3" fmla="*/ 6119 w 1156487"/>
                <a:gd name="connsiteY3" fmla="*/ 0 h 12237"/>
                <a:gd name="connsiteX4" fmla="*/ 1150368 w 1156487"/>
                <a:gd name="connsiteY4" fmla="*/ 0 h 12237"/>
                <a:gd name="connsiteX5" fmla="*/ 1156487 w 1156487"/>
                <a:gd name="connsiteY5" fmla="*/ 6118 h 12237"/>
                <a:gd name="connsiteX6" fmla="*/ 1150368 w 1156487"/>
                <a:gd name="connsiteY6" fmla="*/ 12238 h 12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6487" h="12237">
                  <a:moveTo>
                    <a:pt x="1150368" y="12238"/>
                  </a:moveTo>
                  <a:lnTo>
                    <a:pt x="6119" y="12238"/>
                  </a:lnTo>
                  <a:cubicBezTo>
                    <a:pt x="3059" y="12238"/>
                    <a:pt x="0" y="9178"/>
                    <a:pt x="0" y="6118"/>
                  </a:cubicBezTo>
                  <a:cubicBezTo>
                    <a:pt x="0" y="3059"/>
                    <a:pt x="3059" y="0"/>
                    <a:pt x="6119" y="0"/>
                  </a:cubicBezTo>
                  <a:lnTo>
                    <a:pt x="1150368" y="0"/>
                  </a:lnTo>
                  <a:cubicBezTo>
                    <a:pt x="1153428" y="0"/>
                    <a:pt x="1156487" y="3059"/>
                    <a:pt x="1156487" y="6118"/>
                  </a:cubicBezTo>
                  <a:cubicBezTo>
                    <a:pt x="1156487" y="9178"/>
                    <a:pt x="1153428" y="12238"/>
                    <a:pt x="1150368" y="12238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03F81CBD-5636-4DF3-848F-C95A7FBBB954}"/>
                </a:ext>
              </a:extLst>
            </p:cNvPr>
            <p:cNvSpPr/>
            <p:nvPr/>
          </p:nvSpPr>
          <p:spPr>
            <a:xfrm>
              <a:off x="9708095" y="10066589"/>
              <a:ext cx="1156487" cy="12237"/>
            </a:xfrm>
            <a:custGeom>
              <a:avLst/>
              <a:gdLst>
                <a:gd name="connsiteX0" fmla="*/ 1150368 w 1156487"/>
                <a:gd name="connsiteY0" fmla="*/ 12238 h 12237"/>
                <a:gd name="connsiteX1" fmla="*/ 6119 w 1156487"/>
                <a:gd name="connsiteY1" fmla="*/ 12238 h 12237"/>
                <a:gd name="connsiteX2" fmla="*/ 0 w 1156487"/>
                <a:gd name="connsiteY2" fmla="*/ 6119 h 12237"/>
                <a:gd name="connsiteX3" fmla="*/ 6119 w 1156487"/>
                <a:gd name="connsiteY3" fmla="*/ 0 h 12237"/>
                <a:gd name="connsiteX4" fmla="*/ 1150368 w 1156487"/>
                <a:gd name="connsiteY4" fmla="*/ 0 h 12237"/>
                <a:gd name="connsiteX5" fmla="*/ 1156487 w 1156487"/>
                <a:gd name="connsiteY5" fmla="*/ 6119 h 12237"/>
                <a:gd name="connsiteX6" fmla="*/ 1150368 w 1156487"/>
                <a:gd name="connsiteY6" fmla="*/ 12238 h 12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6487" h="12237">
                  <a:moveTo>
                    <a:pt x="1150368" y="12238"/>
                  </a:moveTo>
                  <a:lnTo>
                    <a:pt x="6119" y="12238"/>
                  </a:lnTo>
                  <a:cubicBezTo>
                    <a:pt x="3059" y="12238"/>
                    <a:pt x="0" y="9179"/>
                    <a:pt x="0" y="6119"/>
                  </a:cubicBezTo>
                  <a:cubicBezTo>
                    <a:pt x="0" y="3060"/>
                    <a:pt x="3059" y="0"/>
                    <a:pt x="6119" y="0"/>
                  </a:cubicBezTo>
                  <a:lnTo>
                    <a:pt x="1150368" y="0"/>
                  </a:lnTo>
                  <a:cubicBezTo>
                    <a:pt x="1153428" y="0"/>
                    <a:pt x="1156487" y="3060"/>
                    <a:pt x="1156487" y="6119"/>
                  </a:cubicBezTo>
                  <a:cubicBezTo>
                    <a:pt x="1156487" y="9179"/>
                    <a:pt x="1153428" y="12238"/>
                    <a:pt x="1150368" y="12238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9A6AC83E-B51A-4410-963B-B98CFDD8C806}"/>
                </a:ext>
              </a:extLst>
            </p:cNvPr>
            <p:cNvSpPr/>
            <p:nvPr/>
          </p:nvSpPr>
          <p:spPr>
            <a:xfrm>
              <a:off x="9708095" y="10167553"/>
              <a:ext cx="1156487" cy="12237"/>
            </a:xfrm>
            <a:custGeom>
              <a:avLst/>
              <a:gdLst>
                <a:gd name="connsiteX0" fmla="*/ 1150368 w 1156487"/>
                <a:gd name="connsiteY0" fmla="*/ 12238 h 12237"/>
                <a:gd name="connsiteX1" fmla="*/ 6119 w 1156487"/>
                <a:gd name="connsiteY1" fmla="*/ 12238 h 12237"/>
                <a:gd name="connsiteX2" fmla="*/ 0 w 1156487"/>
                <a:gd name="connsiteY2" fmla="*/ 6118 h 12237"/>
                <a:gd name="connsiteX3" fmla="*/ 6119 w 1156487"/>
                <a:gd name="connsiteY3" fmla="*/ 0 h 12237"/>
                <a:gd name="connsiteX4" fmla="*/ 1150368 w 1156487"/>
                <a:gd name="connsiteY4" fmla="*/ 0 h 12237"/>
                <a:gd name="connsiteX5" fmla="*/ 1156487 w 1156487"/>
                <a:gd name="connsiteY5" fmla="*/ 6118 h 12237"/>
                <a:gd name="connsiteX6" fmla="*/ 1150368 w 1156487"/>
                <a:gd name="connsiteY6" fmla="*/ 12238 h 12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6487" h="12237">
                  <a:moveTo>
                    <a:pt x="1150368" y="12238"/>
                  </a:moveTo>
                  <a:lnTo>
                    <a:pt x="6119" y="12238"/>
                  </a:lnTo>
                  <a:cubicBezTo>
                    <a:pt x="3059" y="12238"/>
                    <a:pt x="0" y="9178"/>
                    <a:pt x="0" y="6118"/>
                  </a:cubicBezTo>
                  <a:cubicBezTo>
                    <a:pt x="0" y="3059"/>
                    <a:pt x="3059" y="0"/>
                    <a:pt x="6119" y="0"/>
                  </a:cubicBezTo>
                  <a:lnTo>
                    <a:pt x="1150368" y="0"/>
                  </a:lnTo>
                  <a:cubicBezTo>
                    <a:pt x="1153428" y="0"/>
                    <a:pt x="1156487" y="3059"/>
                    <a:pt x="1156487" y="6118"/>
                  </a:cubicBezTo>
                  <a:cubicBezTo>
                    <a:pt x="1156487" y="9178"/>
                    <a:pt x="1153428" y="12238"/>
                    <a:pt x="1150368" y="12238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5537FF4A-489A-46B0-B649-09A0FD7632E2}"/>
                </a:ext>
              </a:extLst>
            </p:cNvPr>
            <p:cNvSpPr/>
            <p:nvPr/>
          </p:nvSpPr>
          <p:spPr>
            <a:xfrm>
              <a:off x="8370821" y="8692878"/>
              <a:ext cx="2449073" cy="963739"/>
            </a:xfrm>
            <a:custGeom>
              <a:avLst/>
              <a:gdLst>
                <a:gd name="connsiteX0" fmla="*/ 15573 w 2449073"/>
                <a:gd name="connsiteY0" fmla="*/ 963739 h 963739"/>
                <a:gd name="connsiteX1" fmla="*/ 6395 w 2449073"/>
                <a:gd name="connsiteY1" fmla="*/ 960680 h 963739"/>
                <a:gd name="connsiteX2" fmla="*/ 3335 w 2449073"/>
                <a:gd name="connsiteY2" fmla="*/ 939264 h 963739"/>
                <a:gd name="connsiteX3" fmla="*/ 355177 w 2449073"/>
                <a:gd name="connsiteY3" fmla="*/ 507876 h 963739"/>
                <a:gd name="connsiteX4" fmla="*/ 367415 w 2449073"/>
                <a:gd name="connsiteY4" fmla="*/ 501756 h 963739"/>
                <a:gd name="connsiteX5" fmla="*/ 379653 w 2449073"/>
                <a:gd name="connsiteY5" fmla="*/ 507876 h 963739"/>
                <a:gd name="connsiteX6" fmla="*/ 554043 w 2449073"/>
                <a:gd name="connsiteY6" fmla="*/ 789349 h 963739"/>
                <a:gd name="connsiteX7" fmla="*/ 1116990 w 2449073"/>
                <a:gd name="connsiteY7" fmla="*/ 9179 h 963739"/>
                <a:gd name="connsiteX8" fmla="*/ 1132287 w 2449073"/>
                <a:gd name="connsiteY8" fmla="*/ 3060 h 963739"/>
                <a:gd name="connsiteX9" fmla="*/ 1144525 w 2449073"/>
                <a:gd name="connsiteY9" fmla="*/ 12238 h 963739"/>
                <a:gd name="connsiteX10" fmla="*/ 1407642 w 2449073"/>
                <a:gd name="connsiteY10" fmla="*/ 758754 h 963739"/>
                <a:gd name="connsiteX11" fmla="*/ 1603449 w 2449073"/>
                <a:gd name="connsiteY11" fmla="*/ 348782 h 963739"/>
                <a:gd name="connsiteX12" fmla="*/ 1618746 w 2449073"/>
                <a:gd name="connsiteY12" fmla="*/ 339604 h 963739"/>
                <a:gd name="connsiteX13" fmla="*/ 1618746 w 2449073"/>
                <a:gd name="connsiteY13" fmla="*/ 339604 h 963739"/>
                <a:gd name="connsiteX14" fmla="*/ 1634044 w 2449073"/>
                <a:gd name="connsiteY14" fmla="*/ 348782 h 963739"/>
                <a:gd name="connsiteX15" fmla="*/ 1744185 w 2449073"/>
                <a:gd name="connsiteY15" fmla="*/ 596601 h 963739"/>
                <a:gd name="connsiteX16" fmla="*/ 2245942 w 2449073"/>
                <a:gd name="connsiteY16" fmla="*/ 6119 h 963739"/>
                <a:gd name="connsiteX17" fmla="*/ 2258179 w 2449073"/>
                <a:gd name="connsiteY17" fmla="*/ 0 h 963739"/>
                <a:gd name="connsiteX18" fmla="*/ 2258179 w 2449073"/>
                <a:gd name="connsiteY18" fmla="*/ 0 h 963739"/>
                <a:gd name="connsiteX19" fmla="*/ 2270417 w 2449073"/>
                <a:gd name="connsiteY19" fmla="*/ 6119 h 963739"/>
                <a:gd name="connsiteX20" fmla="*/ 2444809 w 2449073"/>
                <a:gd name="connsiteY20" fmla="*/ 214164 h 963739"/>
                <a:gd name="connsiteX21" fmla="*/ 2441749 w 2449073"/>
                <a:gd name="connsiteY21" fmla="*/ 235581 h 963739"/>
                <a:gd name="connsiteX22" fmla="*/ 2420333 w 2449073"/>
                <a:gd name="connsiteY22" fmla="*/ 232521 h 963739"/>
                <a:gd name="connsiteX23" fmla="*/ 2258179 w 2449073"/>
                <a:gd name="connsiteY23" fmla="*/ 39773 h 963739"/>
                <a:gd name="connsiteX24" fmla="*/ 1750304 w 2449073"/>
                <a:gd name="connsiteY24" fmla="*/ 633314 h 963739"/>
                <a:gd name="connsiteX25" fmla="*/ 1735007 w 2449073"/>
                <a:gd name="connsiteY25" fmla="*/ 639433 h 963739"/>
                <a:gd name="connsiteX26" fmla="*/ 1722769 w 2449073"/>
                <a:gd name="connsiteY26" fmla="*/ 630255 h 963739"/>
                <a:gd name="connsiteX27" fmla="*/ 1615686 w 2449073"/>
                <a:gd name="connsiteY27" fmla="*/ 391615 h 963739"/>
                <a:gd name="connsiteX28" fmla="*/ 1419879 w 2449073"/>
                <a:gd name="connsiteY28" fmla="*/ 804646 h 963739"/>
                <a:gd name="connsiteX29" fmla="*/ 1404582 w 2449073"/>
                <a:gd name="connsiteY29" fmla="*/ 813825 h 963739"/>
                <a:gd name="connsiteX30" fmla="*/ 1389284 w 2449073"/>
                <a:gd name="connsiteY30" fmla="*/ 804646 h 963739"/>
                <a:gd name="connsiteX31" fmla="*/ 1123109 w 2449073"/>
                <a:gd name="connsiteY31" fmla="*/ 48952 h 963739"/>
                <a:gd name="connsiteX32" fmla="*/ 563222 w 2449073"/>
                <a:gd name="connsiteY32" fmla="*/ 823003 h 963739"/>
                <a:gd name="connsiteX33" fmla="*/ 550984 w 2449073"/>
                <a:gd name="connsiteY33" fmla="*/ 829122 h 963739"/>
                <a:gd name="connsiteX34" fmla="*/ 538746 w 2449073"/>
                <a:gd name="connsiteY34" fmla="*/ 823003 h 963739"/>
                <a:gd name="connsiteX35" fmla="*/ 364355 w 2449073"/>
                <a:gd name="connsiteY35" fmla="*/ 538470 h 963739"/>
                <a:gd name="connsiteX36" fmla="*/ 24752 w 2449073"/>
                <a:gd name="connsiteY36" fmla="*/ 951502 h 963739"/>
                <a:gd name="connsiteX37" fmla="*/ 15573 w 2449073"/>
                <a:gd name="connsiteY37" fmla="*/ 963739 h 963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49073" h="963739">
                  <a:moveTo>
                    <a:pt x="15573" y="963739"/>
                  </a:moveTo>
                  <a:cubicBezTo>
                    <a:pt x="12514" y="963739"/>
                    <a:pt x="9454" y="963739"/>
                    <a:pt x="6395" y="960680"/>
                  </a:cubicBezTo>
                  <a:cubicBezTo>
                    <a:pt x="276" y="954561"/>
                    <a:pt x="-2784" y="945382"/>
                    <a:pt x="3335" y="939264"/>
                  </a:cubicBezTo>
                  <a:lnTo>
                    <a:pt x="355177" y="507876"/>
                  </a:lnTo>
                  <a:cubicBezTo>
                    <a:pt x="358236" y="504816"/>
                    <a:pt x="364355" y="501756"/>
                    <a:pt x="367415" y="501756"/>
                  </a:cubicBezTo>
                  <a:cubicBezTo>
                    <a:pt x="373534" y="501756"/>
                    <a:pt x="376593" y="504816"/>
                    <a:pt x="379653" y="507876"/>
                  </a:cubicBezTo>
                  <a:lnTo>
                    <a:pt x="554043" y="789349"/>
                  </a:lnTo>
                  <a:lnTo>
                    <a:pt x="1116990" y="9179"/>
                  </a:lnTo>
                  <a:cubicBezTo>
                    <a:pt x="1120049" y="3060"/>
                    <a:pt x="1126168" y="3060"/>
                    <a:pt x="1132287" y="3060"/>
                  </a:cubicBezTo>
                  <a:cubicBezTo>
                    <a:pt x="1138406" y="3060"/>
                    <a:pt x="1144525" y="9179"/>
                    <a:pt x="1144525" y="12238"/>
                  </a:cubicBezTo>
                  <a:lnTo>
                    <a:pt x="1407642" y="758754"/>
                  </a:lnTo>
                  <a:lnTo>
                    <a:pt x="1603449" y="348782"/>
                  </a:lnTo>
                  <a:cubicBezTo>
                    <a:pt x="1606508" y="342663"/>
                    <a:pt x="1612627" y="339604"/>
                    <a:pt x="1618746" y="339604"/>
                  </a:cubicBezTo>
                  <a:cubicBezTo>
                    <a:pt x="1618746" y="339604"/>
                    <a:pt x="1618746" y="339604"/>
                    <a:pt x="1618746" y="339604"/>
                  </a:cubicBezTo>
                  <a:cubicBezTo>
                    <a:pt x="1624865" y="339604"/>
                    <a:pt x="1630984" y="342663"/>
                    <a:pt x="1634044" y="348782"/>
                  </a:cubicBezTo>
                  <a:lnTo>
                    <a:pt x="1744185" y="596601"/>
                  </a:lnTo>
                  <a:lnTo>
                    <a:pt x="2245942" y="6119"/>
                  </a:lnTo>
                  <a:cubicBezTo>
                    <a:pt x="2249001" y="3060"/>
                    <a:pt x="2252061" y="0"/>
                    <a:pt x="2258179" y="0"/>
                  </a:cubicBezTo>
                  <a:lnTo>
                    <a:pt x="2258179" y="0"/>
                  </a:lnTo>
                  <a:cubicBezTo>
                    <a:pt x="2264299" y="0"/>
                    <a:pt x="2267358" y="3060"/>
                    <a:pt x="2270417" y="6119"/>
                  </a:cubicBezTo>
                  <a:lnTo>
                    <a:pt x="2444809" y="214164"/>
                  </a:lnTo>
                  <a:cubicBezTo>
                    <a:pt x="2450928" y="220283"/>
                    <a:pt x="2450928" y="229462"/>
                    <a:pt x="2441749" y="235581"/>
                  </a:cubicBezTo>
                  <a:cubicBezTo>
                    <a:pt x="2435630" y="241700"/>
                    <a:pt x="2426451" y="241700"/>
                    <a:pt x="2420333" y="232521"/>
                  </a:cubicBezTo>
                  <a:lnTo>
                    <a:pt x="2258179" y="39773"/>
                  </a:lnTo>
                  <a:lnTo>
                    <a:pt x="1750304" y="633314"/>
                  </a:lnTo>
                  <a:cubicBezTo>
                    <a:pt x="1747245" y="636374"/>
                    <a:pt x="1741126" y="639433"/>
                    <a:pt x="1735007" y="639433"/>
                  </a:cubicBezTo>
                  <a:cubicBezTo>
                    <a:pt x="1728888" y="639433"/>
                    <a:pt x="1725828" y="636374"/>
                    <a:pt x="1722769" y="630255"/>
                  </a:cubicBezTo>
                  <a:lnTo>
                    <a:pt x="1615686" y="391615"/>
                  </a:lnTo>
                  <a:lnTo>
                    <a:pt x="1419879" y="804646"/>
                  </a:lnTo>
                  <a:cubicBezTo>
                    <a:pt x="1416820" y="810765"/>
                    <a:pt x="1410701" y="813825"/>
                    <a:pt x="1404582" y="813825"/>
                  </a:cubicBezTo>
                  <a:cubicBezTo>
                    <a:pt x="1398463" y="813825"/>
                    <a:pt x="1392344" y="810765"/>
                    <a:pt x="1389284" y="804646"/>
                  </a:cubicBezTo>
                  <a:lnTo>
                    <a:pt x="1123109" y="48952"/>
                  </a:lnTo>
                  <a:lnTo>
                    <a:pt x="563222" y="823003"/>
                  </a:lnTo>
                  <a:cubicBezTo>
                    <a:pt x="560162" y="826062"/>
                    <a:pt x="554043" y="829122"/>
                    <a:pt x="550984" y="829122"/>
                  </a:cubicBezTo>
                  <a:cubicBezTo>
                    <a:pt x="544865" y="829122"/>
                    <a:pt x="541806" y="826062"/>
                    <a:pt x="538746" y="823003"/>
                  </a:cubicBezTo>
                  <a:lnTo>
                    <a:pt x="364355" y="538470"/>
                  </a:lnTo>
                  <a:lnTo>
                    <a:pt x="24752" y="951502"/>
                  </a:lnTo>
                  <a:cubicBezTo>
                    <a:pt x="24752" y="960680"/>
                    <a:pt x="21692" y="963739"/>
                    <a:pt x="15573" y="963739"/>
                  </a:cubicBezTo>
                  <a:close/>
                </a:path>
              </a:pathLst>
            </a:custGeom>
            <a:solidFill>
              <a:srgbClr val="D16156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4E7EE0D4-641D-4652-8DF8-9C84FC3F32AD}"/>
                </a:ext>
              </a:extLst>
            </p:cNvPr>
            <p:cNvSpPr/>
            <p:nvPr/>
          </p:nvSpPr>
          <p:spPr>
            <a:xfrm>
              <a:off x="8525602" y="8821376"/>
              <a:ext cx="2349688" cy="826062"/>
            </a:xfrm>
            <a:custGeom>
              <a:avLst/>
              <a:gdLst>
                <a:gd name="connsiteX0" fmla="*/ 13768 w 2349688"/>
                <a:gd name="connsiteY0" fmla="*/ 823003 h 826062"/>
                <a:gd name="connsiteX1" fmla="*/ 4589 w 2349688"/>
                <a:gd name="connsiteY1" fmla="*/ 819943 h 826062"/>
                <a:gd name="connsiteX2" fmla="*/ 4589 w 2349688"/>
                <a:gd name="connsiteY2" fmla="*/ 798527 h 826062"/>
                <a:gd name="connsiteX3" fmla="*/ 650141 w 2349688"/>
                <a:gd name="connsiteY3" fmla="*/ 70368 h 826062"/>
                <a:gd name="connsiteX4" fmla="*/ 665439 w 2349688"/>
                <a:gd name="connsiteY4" fmla="*/ 64249 h 826062"/>
                <a:gd name="connsiteX5" fmla="*/ 677677 w 2349688"/>
                <a:gd name="connsiteY5" fmla="*/ 73428 h 826062"/>
                <a:gd name="connsiteX6" fmla="*/ 934674 w 2349688"/>
                <a:gd name="connsiteY6" fmla="*/ 599660 h 826062"/>
                <a:gd name="connsiteX7" fmla="*/ 1044816 w 2349688"/>
                <a:gd name="connsiteY7" fmla="*/ 437507 h 826062"/>
                <a:gd name="connsiteX8" fmla="*/ 1057054 w 2349688"/>
                <a:gd name="connsiteY8" fmla="*/ 431388 h 826062"/>
                <a:gd name="connsiteX9" fmla="*/ 1069292 w 2349688"/>
                <a:gd name="connsiteY9" fmla="*/ 440567 h 826062"/>
                <a:gd name="connsiteX10" fmla="*/ 1142719 w 2349688"/>
                <a:gd name="connsiteY10" fmla="*/ 566006 h 826062"/>
                <a:gd name="connsiteX11" fmla="*/ 1457847 w 2349688"/>
                <a:gd name="connsiteY11" fmla="*/ 9179 h 826062"/>
                <a:gd name="connsiteX12" fmla="*/ 1470085 w 2349688"/>
                <a:gd name="connsiteY12" fmla="*/ 0 h 826062"/>
                <a:gd name="connsiteX13" fmla="*/ 1482323 w 2349688"/>
                <a:gd name="connsiteY13" fmla="*/ 6119 h 826062"/>
                <a:gd name="connsiteX14" fmla="*/ 2054447 w 2349688"/>
                <a:gd name="connsiteY14" fmla="*/ 786289 h 826062"/>
                <a:gd name="connsiteX15" fmla="*/ 2173768 w 2349688"/>
                <a:gd name="connsiteY15" fmla="*/ 663909 h 826062"/>
                <a:gd name="connsiteX16" fmla="*/ 2195184 w 2349688"/>
                <a:gd name="connsiteY16" fmla="*/ 663909 h 826062"/>
                <a:gd name="connsiteX17" fmla="*/ 2345099 w 2349688"/>
                <a:gd name="connsiteY17" fmla="*/ 798527 h 826062"/>
                <a:gd name="connsiteX18" fmla="*/ 2345099 w 2349688"/>
                <a:gd name="connsiteY18" fmla="*/ 819943 h 826062"/>
                <a:gd name="connsiteX19" fmla="*/ 2323683 w 2349688"/>
                <a:gd name="connsiteY19" fmla="*/ 819943 h 826062"/>
                <a:gd name="connsiteX20" fmla="*/ 2186006 w 2349688"/>
                <a:gd name="connsiteY20" fmla="*/ 694504 h 826062"/>
                <a:gd name="connsiteX21" fmla="*/ 2063626 w 2349688"/>
                <a:gd name="connsiteY21" fmla="*/ 819943 h 826062"/>
                <a:gd name="connsiteX22" fmla="*/ 2051388 w 2349688"/>
                <a:gd name="connsiteY22" fmla="*/ 826063 h 826062"/>
                <a:gd name="connsiteX23" fmla="*/ 2039150 w 2349688"/>
                <a:gd name="connsiteY23" fmla="*/ 819943 h 826062"/>
                <a:gd name="connsiteX24" fmla="*/ 1470085 w 2349688"/>
                <a:gd name="connsiteY24" fmla="*/ 42833 h 826062"/>
                <a:gd name="connsiteX25" fmla="*/ 1154957 w 2349688"/>
                <a:gd name="connsiteY25" fmla="*/ 602719 h 826062"/>
                <a:gd name="connsiteX26" fmla="*/ 1139660 w 2349688"/>
                <a:gd name="connsiteY26" fmla="*/ 611898 h 826062"/>
                <a:gd name="connsiteX27" fmla="*/ 1139660 w 2349688"/>
                <a:gd name="connsiteY27" fmla="*/ 611898 h 826062"/>
                <a:gd name="connsiteX28" fmla="*/ 1124362 w 2349688"/>
                <a:gd name="connsiteY28" fmla="*/ 602719 h 826062"/>
                <a:gd name="connsiteX29" fmla="*/ 1050935 w 2349688"/>
                <a:gd name="connsiteY29" fmla="*/ 474221 h 826062"/>
                <a:gd name="connsiteX30" fmla="*/ 940793 w 2349688"/>
                <a:gd name="connsiteY30" fmla="*/ 639434 h 826062"/>
                <a:gd name="connsiteX31" fmla="*/ 925495 w 2349688"/>
                <a:gd name="connsiteY31" fmla="*/ 645553 h 826062"/>
                <a:gd name="connsiteX32" fmla="*/ 913258 w 2349688"/>
                <a:gd name="connsiteY32" fmla="*/ 636374 h 826062"/>
                <a:gd name="connsiteX33" fmla="*/ 653201 w 2349688"/>
                <a:gd name="connsiteY33" fmla="*/ 107082 h 826062"/>
                <a:gd name="connsiteX34" fmla="*/ 22946 w 2349688"/>
                <a:gd name="connsiteY34" fmla="*/ 816884 h 826062"/>
                <a:gd name="connsiteX35" fmla="*/ 13768 w 2349688"/>
                <a:gd name="connsiteY35" fmla="*/ 823003 h 826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349688" h="826062">
                  <a:moveTo>
                    <a:pt x="13768" y="823003"/>
                  </a:moveTo>
                  <a:cubicBezTo>
                    <a:pt x="10708" y="823003"/>
                    <a:pt x="7648" y="823003"/>
                    <a:pt x="4589" y="819943"/>
                  </a:cubicBezTo>
                  <a:cubicBezTo>
                    <a:pt x="-1530" y="813824"/>
                    <a:pt x="-1530" y="804646"/>
                    <a:pt x="4589" y="798527"/>
                  </a:cubicBezTo>
                  <a:lnTo>
                    <a:pt x="650141" y="70368"/>
                  </a:lnTo>
                  <a:cubicBezTo>
                    <a:pt x="653201" y="67309"/>
                    <a:pt x="659320" y="64249"/>
                    <a:pt x="665439" y="64249"/>
                  </a:cubicBezTo>
                  <a:cubicBezTo>
                    <a:pt x="671558" y="64249"/>
                    <a:pt x="674617" y="67309"/>
                    <a:pt x="677677" y="73428"/>
                  </a:cubicBezTo>
                  <a:lnTo>
                    <a:pt x="934674" y="599660"/>
                  </a:lnTo>
                  <a:lnTo>
                    <a:pt x="1044816" y="437507"/>
                  </a:lnTo>
                  <a:cubicBezTo>
                    <a:pt x="1047875" y="434448"/>
                    <a:pt x="1053994" y="428329"/>
                    <a:pt x="1057054" y="431388"/>
                  </a:cubicBezTo>
                  <a:cubicBezTo>
                    <a:pt x="1063173" y="431388"/>
                    <a:pt x="1066232" y="434448"/>
                    <a:pt x="1069292" y="440567"/>
                  </a:cubicBezTo>
                  <a:lnTo>
                    <a:pt x="1142719" y="566006"/>
                  </a:lnTo>
                  <a:lnTo>
                    <a:pt x="1457847" y="9179"/>
                  </a:lnTo>
                  <a:cubicBezTo>
                    <a:pt x="1460906" y="3060"/>
                    <a:pt x="1463966" y="0"/>
                    <a:pt x="1470085" y="0"/>
                  </a:cubicBezTo>
                  <a:cubicBezTo>
                    <a:pt x="1476204" y="0"/>
                    <a:pt x="1479263" y="3060"/>
                    <a:pt x="1482323" y="6119"/>
                  </a:cubicBezTo>
                  <a:lnTo>
                    <a:pt x="2054447" y="786289"/>
                  </a:lnTo>
                  <a:lnTo>
                    <a:pt x="2173768" y="663909"/>
                  </a:lnTo>
                  <a:cubicBezTo>
                    <a:pt x="2179886" y="657790"/>
                    <a:pt x="2189065" y="657790"/>
                    <a:pt x="2195184" y="663909"/>
                  </a:cubicBezTo>
                  <a:lnTo>
                    <a:pt x="2345099" y="798527"/>
                  </a:lnTo>
                  <a:cubicBezTo>
                    <a:pt x="2351218" y="804646"/>
                    <a:pt x="2351218" y="813824"/>
                    <a:pt x="2345099" y="819943"/>
                  </a:cubicBezTo>
                  <a:cubicBezTo>
                    <a:pt x="2338980" y="826063"/>
                    <a:pt x="2329801" y="826063"/>
                    <a:pt x="2323683" y="819943"/>
                  </a:cubicBezTo>
                  <a:lnTo>
                    <a:pt x="2186006" y="694504"/>
                  </a:lnTo>
                  <a:lnTo>
                    <a:pt x="2063626" y="819943"/>
                  </a:lnTo>
                  <a:cubicBezTo>
                    <a:pt x="2060566" y="823003"/>
                    <a:pt x="2054447" y="826063"/>
                    <a:pt x="2051388" y="826063"/>
                  </a:cubicBezTo>
                  <a:cubicBezTo>
                    <a:pt x="2045269" y="826063"/>
                    <a:pt x="2042209" y="823003"/>
                    <a:pt x="2039150" y="819943"/>
                  </a:cubicBezTo>
                  <a:lnTo>
                    <a:pt x="1470085" y="42833"/>
                  </a:lnTo>
                  <a:lnTo>
                    <a:pt x="1154957" y="602719"/>
                  </a:lnTo>
                  <a:cubicBezTo>
                    <a:pt x="1151898" y="608839"/>
                    <a:pt x="1145779" y="611898"/>
                    <a:pt x="1139660" y="611898"/>
                  </a:cubicBezTo>
                  <a:cubicBezTo>
                    <a:pt x="1139660" y="611898"/>
                    <a:pt x="1139660" y="611898"/>
                    <a:pt x="1139660" y="611898"/>
                  </a:cubicBezTo>
                  <a:cubicBezTo>
                    <a:pt x="1133541" y="611898"/>
                    <a:pt x="1127422" y="608839"/>
                    <a:pt x="1124362" y="602719"/>
                  </a:cubicBezTo>
                  <a:lnTo>
                    <a:pt x="1050935" y="474221"/>
                  </a:lnTo>
                  <a:lnTo>
                    <a:pt x="940793" y="639434"/>
                  </a:lnTo>
                  <a:cubicBezTo>
                    <a:pt x="937734" y="645553"/>
                    <a:pt x="931615" y="645553"/>
                    <a:pt x="925495" y="645553"/>
                  </a:cubicBezTo>
                  <a:cubicBezTo>
                    <a:pt x="919377" y="645553"/>
                    <a:pt x="916317" y="642493"/>
                    <a:pt x="913258" y="636374"/>
                  </a:cubicBezTo>
                  <a:lnTo>
                    <a:pt x="653201" y="107082"/>
                  </a:lnTo>
                  <a:lnTo>
                    <a:pt x="22946" y="816884"/>
                  </a:lnTo>
                  <a:cubicBezTo>
                    <a:pt x="19887" y="819943"/>
                    <a:pt x="16827" y="823003"/>
                    <a:pt x="13768" y="823003"/>
                  </a:cubicBezTo>
                  <a:close/>
                </a:path>
              </a:pathLst>
            </a:custGeom>
            <a:solidFill>
              <a:srgbClr val="7E94B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1CBD0DD0-9316-4455-9B53-720B691191B5}"/>
                </a:ext>
              </a:extLst>
            </p:cNvPr>
            <p:cNvSpPr/>
            <p:nvPr/>
          </p:nvSpPr>
          <p:spPr>
            <a:xfrm>
              <a:off x="6415344" y="9696390"/>
              <a:ext cx="1047084" cy="2530198"/>
            </a:xfrm>
            <a:custGeom>
              <a:avLst/>
              <a:gdLst>
                <a:gd name="connsiteX0" fmla="*/ 132297 w 1047084"/>
                <a:gd name="connsiteY0" fmla="*/ 0 h 2530198"/>
                <a:gd name="connsiteX1" fmla="*/ 802325 w 1047084"/>
                <a:gd name="connsiteY1" fmla="*/ 0 h 2530198"/>
                <a:gd name="connsiteX2" fmla="*/ 921646 w 1047084"/>
                <a:gd name="connsiteY2" fmla="*/ 461983 h 2530198"/>
                <a:gd name="connsiteX3" fmla="*/ 1047085 w 1047084"/>
                <a:gd name="connsiteY3" fmla="*/ 2493485 h 2530198"/>
                <a:gd name="connsiteX4" fmla="*/ 872694 w 1047084"/>
                <a:gd name="connsiteY4" fmla="*/ 2530199 h 2530198"/>
                <a:gd name="connsiteX5" fmla="*/ 502496 w 1047084"/>
                <a:gd name="connsiteY5" fmla="*/ 865836 h 2530198"/>
                <a:gd name="connsiteX6" fmla="*/ 352580 w 1047084"/>
                <a:gd name="connsiteY6" fmla="*/ 2521021 h 2530198"/>
                <a:gd name="connsiteX7" fmla="*/ 156773 w 1047084"/>
                <a:gd name="connsiteY7" fmla="*/ 2521021 h 2530198"/>
                <a:gd name="connsiteX8" fmla="*/ 739 w 1047084"/>
                <a:gd name="connsiteY8" fmla="*/ 419151 h 2530198"/>
                <a:gd name="connsiteX9" fmla="*/ 132297 w 1047084"/>
                <a:gd name="connsiteY9" fmla="*/ 0 h 253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084" h="2530198">
                  <a:moveTo>
                    <a:pt x="132297" y="0"/>
                  </a:moveTo>
                  <a:lnTo>
                    <a:pt x="802325" y="0"/>
                  </a:lnTo>
                  <a:cubicBezTo>
                    <a:pt x="802325" y="0"/>
                    <a:pt x="900229" y="305949"/>
                    <a:pt x="921646" y="461983"/>
                  </a:cubicBezTo>
                  <a:cubicBezTo>
                    <a:pt x="940002" y="614958"/>
                    <a:pt x="1047085" y="2493485"/>
                    <a:pt x="1047085" y="2493485"/>
                  </a:cubicBezTo>
                  <a:lnTo>
                    <a:pt x="872694" y="2530199"/>
                  </a:lnTo>
                  <a:lnTo>
                    <a:pt x="502496" y="865836"/>
                  </a:lnTo>
                  <a:lnTo>
                    <a:pt x="352580" y="2521021"/>
                  </a:lnTo>
                  <a:lnTo>
                    <a:pt x="156773" y="2521021"/>
                  </a:lnTo>
                  <a:cubicBezTo>
                    <a:pt x="156773" y="2521021"/>
                    <a:pt x="9918" y="538470"/>
                    <a:pt x="739" y="419151"/>
                  </a:cubicBezTo>
                  <a:cubicBezTo>
                    <a:pt x="-11499" y="296771"/>
                    <a:pt x="132297" y="0"/>
                    <a:pt x="132297" y="0"/>
                  </a:cubicBezTo>
                  <a:close/>
                </a:path>
              </a:pathLst>
            </a:custGeom>
            <a:solidFill>
              <a:srgbClr val="7F95BC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8CBA4CB0-4EC2-40A0-A347-0353661751BB}"/>
                </a:ext>
              </a:extLst>
            </p:cNvPr>
            <p:cNvSpPr/>
            <p:nvPr/>
          </p:nvSpPr>
          <p:spPr>
            <a:xfrm>
              <a:off x="6517046" y="9739224"/>
              <a:ext cx="722039" cy="12237"/>
            </a:xfrm>
            <a:custGeom>
              <a:avLst/>
              <a:gdLst>
                <a:gd name="connsiteX0" fmla="*/ 715921 w 722039"/>
                <a:gd name="connsiteY0" fmla="*/ 12238 h 12237"/>
                <a:gd name="connsiteX1" fmla="*/ 6119 w 722039"/>
                <a:gd name="connsiteY1" fmla="*/ 12238 h 12237"/>
                <a:gd name="connsiteX2" fmla="*/ 0 w 722039"/>
                <a:gd name="connsiteY2" fmla="*/ 6118 h 12237"/>
                <a:gd name="connsiteX3" fmla="*/ 6119 w 722039"/>
                <a:gd name="connsiteY3" fmla="*/ 0 h 12237"/>
                <a:gd name="connsiteX4" fmla="*/ 715921 w 722039"/>
                <a:gd name="connsiteY4" fmla="*/ 0 h 12237"/>
                <a:gd name="connsiteX5" fmla="*/ 722040 w 722039"/>
                <a:gd name="connsiteY5" fmla="*/ 6118 h 12237"/>
                <a:gd name="connsiteX6" fmla="*/ 715921 w 722039"/>
                <a:gd name="connsiteY6" fmla="*/ 12238 h 12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2039" h="12237">
                  <a:moveTo>
                    <a:pt x="715921" y="12238"/>
                  </a:moveTo>
                  <a:lnTo>
                    <a:pt x="6119" y="12238"/>
                  </a:lnTo>
                  <a:cubicBezTo>
                    <a:pt x="3060" y="12238"/>
                    <a:pt x="0" y="9178"/>
                    <a:pt x="0" y="6118"/>
                  </a:cubicBezTo>
                  <a:cubicBezTo>
                    <a:pt x="0" y="3059"/>
                    <a:pt x="3060" y="0"/>
                    <a:pt x="6119" y="0"/>
                  </a:cubicBezTo>
                  <a:lnTo>
                    <a:pt x="715921" y="0"/>
                  </a:lnTo>
                  <a:cubicBezTo>
                    <a:pt x="718980" y="0"/>
                    <a:pt x="722040" y="3059"/>
                    <a:pt x="722040" y="6118"/>
                  </a:cubicBezTo>
                  <a:cubicBezTo>
                    <a:pt x="722040" y="12238"/>
                    <a:pt x="718980" y="12238"/>
                    <a:pt x="715921" y="12238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393A0558-1BD3-48CE-9C18-AEFB66FFBBA7}"/>
                </a:ext>
              </a:extLst>
            </p:cNvPr>
            <p:cNvSpPr/>
            <p:nvPr/>
          </p:nvSpPr>
          <p:spPr>
            <a:xfrm>
              <a:off x="6761806" y="10084946"/>
              <a:ext cx="162153" cy="2138583"/>
            </a:xfrm>
            <a:custGeom>
              <a:avLst/>
              <a:gdLst>
                <a:gd name="connsiteX0" fmla="*/ 6119 w 162153"/>
                <a:gd name="connsiteY0" fmla="*/ 2138584 h 2138583"/>
                <a:gd name="connsiteX1" fmla="*/ 6119 w 162153"/>
                <a:gd name="connsiteY1" fmla="*/ 2138584 h 2138583"/>
                <a:gd name="connsiteX2" fmla="*/ 0 w 162153"/>
                <a:gd name="connsiteY2" fmla="*/ 2132465 h 2138583"/>
                <a:gd name="connsiteX3" fmla="*/ 149915 w 162153"/>
                <a:gd name="connsiteY3" fmla="*/ 477281 h 2138583"/>
                <a:gd name="connsiteX4" fmla="*/ 149915 w 162153"/>
                <a:gd name="connsiteY4" fmla="*/ 6119 h 2138583"/>
                <a:gd name="connsiteX5" fmla="*/ 156034 w 162153"/>
                <a:gd name="connsiteY5" fmla="*/ 0 h 2138583"/>
                <a:gd name="connsiteX6" fmla="*/ 162153 w 162153"/>
                <a:gd name="connsiteY6" fmla="*/ 6119 h 2138583"/>
                <a:gd name="connsiteX7" fmla="*/ 162153 w 162153"/>
                <a:gd name="connsiteY7" fmla="*/ 477281 h 2138583"/>
                <a:gd name="connsiteX8" fmla="*/ 12238 w 162153"/>
                <a:gd name="connsiteY8" fmla="*/ 2132465 h 2138583"/>
                <a:gd name="connsiteX9" fmla="*/ 6119 w 162153"/>
                <a:gd name="connsiteY9" fmla="*/ 2138584 h 2138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153" h="2138583">
                  <a:moveTo>
                    <a:pt x="6119" y="2138584"/>
                  </a:moveTo>
                  <a:cubicBezTo>
                    <a:pt x="6119" y="2138584"/>
                    <a:pt x="6119" y="2138584"/>
                    <a:pt x="6119" y="2138584"/>
                  </a:cubicBezTo>
                  <a:cubicBezTo>
                    <a:pt x="3060" y="2138584"/>
                    <a:pt x="0" y="2135524"/>
                    <a:pt x="0" y="2132465"/>
                  </a:cubicBezTo>
                  <a:lnTo>
                    <a:pt x="149915" y="477281"/>
                  </a:lnTo>
                  <a:lnTo>
                    <a:pt x="149915" y="6119"/>
                  </a:lnTo>
                  <a:cubicBezTo>
                    <a:pt x="149915" y="3060"/>
                    <a:pt x="152975" y="0"/>
                    <a:pt x="156034" y="0"/>
                  </a:cubicBezTo>
                  <a:cubicBezTo>
                    <a:pt x="159093" y="0"/>
                    <a:pt x="162153" y="3060"/>
                    <a:pt x="162153" y="6119"/>
                  </a:cubicBezTo>
                  <a:lnTo>
                    <a:pt x="162153" y="477281"/>
                  </a:lnTo>
                  <a:lnTo>
                    <a:pt x="12238" y="2132465"/>
                  </a:lnTo>
                  <a:cubicBezTo>
                    <a:pt x="12238" y="2135524"/>
                    <a:pt x="9179" y="2138584"/>
                    <a:pt x="6119" y="2138584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EAEA6BD4-A6B9-4726-B947-1E3D2AB595F1}"/>
                </a:ext>
              </a:extLst>
            </p:cNvPr>
            <p:cNvSpPr/>
            <p:nvPr/>
          </p:nvSpPr>
          <p:spPr>
            <a:xfrm>
              <a:off x="6487940" y="8737350"/>
              <a:ext cx="823462" cy="989726"/>
            </a:xfrm>
            <a:custGeom>
              <a:avLst/>
              <a:gdLst>
                <a:gd name="connsiteX0" fmla="*/ 44404 w 823462"/>
                <a:gd name="connsiteY0" fmla="*/ 393035 h 989726"/>
                <a:gd name="connsiteX1" fmla="*/ 59701 w 823462"/>
                <a:gd name="connsiteY1" fmla="*/ 68729 h 989726"/>
                <a:gd name="connsiteX2" fmla="*/ 429900 w 823462"/>
                <a:gd name="connsiteY2" fmla="*/ 4480 h 989726"/>
                <a:gd name="connsiteX3" fmla="*/ 732789 w 823462"/>
                <a:gd name="connsiteY3" fmla="*/ 105443 h 989726"/>
                <a:gd name="connsiteX4" fmla="*/ 772563 w 823462"/>
                <a:gd name="connsiteY4" fmla="*/ 656151 h 989726"/>
                <a:gd name="connsiteX5" fmla="*/ 729730 w 823462"/>
                <a:gd name="connsiteY5" fmla="*/ 983517 h 989726"/>
                <a:gd name="connsiteX6" fmla="*/ 50523 w 823462"/>
                <a:gd name="connsiteY6" fmla="*/ 968220 h 989726"/>
                <a:gd name="connsiteX7" fmla="*/ 44404 w 823462"/>
                <a:gd name="connsiteY7" fmla="*/ 393035 h 989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3462" h="989726">
                  <a:moveTo>
                    <a:pt x="44404" y="393035"/>
                  </a:moveTo>
                  <a:cubicBezTo>
                    <a:pt x="35225" y="362441"/>
                    <a:pt x="-59619" y="132979"/>
                    <a:pt x="59701" y="68729"/>
                  </a:cubicBezTo>
                  <a:cubicBezTo>
                    <a:pt x="163724" y="13658"/>
                    <a:pt x="310579" y="-10817"/>
                    <a:pt x="429900" y="4480"/>
                  </a:cubicBezTo>
                  <a:cubicBezTo>
                    <a:pt x="561458" y="19778"/>
                    <a:pt x="693016" y="41194"/>
                    <a:pt x="732789" y="105443"/>
                  </a:cubicBezTo>
                  <a:cubicBezTo>
                    <a:pt x="845990" y="292072"/>
                    <a:pt x="845990" y="457284"/>
                    <a:pt x="772563" y="656151"/>
                  </a:cubicBezTo>
                  <a:cubicBezTo>
                    <a:pt x="751146" y="714282"/>
                    <a:pt x="745027" y="848900"/>
                    <a:pt x="729730" y="983517"/>
                  </a:cubicBezTo>
                  <a:cubicBezTo>
                    <a:pt x="729730" y="983517"/>
                    <a:pt x="445197" y="1004933"/>
                    <a:pt x="50523" y="968220"/>
                  </a:cubicBezTo>
                  <a:cubicBezTo>
                    <a:pt x="81118" y="747936"/>
                    <a:pt x="50523" y="417511"/>
                    <a:pt x="44404" y="393035"/>
                  </a:cubicBezTo>
                  <a:close/>
                </a:path>
              </a:pathLst>
            </a:custGeom>
            <a:solidFill>
              <a:srgbClr val="F6EBE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F533648B-70F9-463C-AE75-252665C9BEE0}"/>
                </a:ext>
              </a:extLst>
            </p:cNvPr>
            <p:cNvSpPr/>
            <p:nvPr/>
          </p:nvSpPr>
          <p:spPr>
            <a:xfrm>
              <a:off x="6825721" y="8058926"/>
              <a:ext cx="326090" cy="600196"/>
            </a:xfrm>
            <a:custGeom>
              <a:avLst/>
              <a:gdLst>
                <a:gd name="connsiteX0" fmla="*/ 40107 w 326090"/>
                <a:gd name="connsiteY0" fmla="*/ 572762 h 600196"/>
                <a:gd name="connsiteX1" fmla="*/ 138011 w 326090"/>
                <a:gd name="connsiteY1" fmla="*/ 520751 h 600196"/>
                <a:gd name="connsiteX2" fmla="*/ 315461 w 326090"/>
                <a:gd name="connsiteY2" fmla="*/ 184207 h 600196"/>
                <a:gd name="connsiteX3" fmla="*/ 334 w 326090"/>
                <a:gd name="connsiteY3" fmla="*/ 9816 h 600196"/>
                <a:gd name="connsiteX4" fmla="*/ 40107 w 326090"/>
                <a:gd name="connsiteY4" fmla="*/ 159731 h 600196"/>
                <a:gd name="connsiteX5" fmla="*/ 89059 w 326090"/>
                <a:gd name="connsiteY5" fmla="*/ 303527 h 600196"/>
                <a:gd name="connsiteX6" fmla="*/ 40107 w 326090"/>
                <a:gd name="connsiteY6" fmla="*/ 572762 h 600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6090" h="600196">
                  <a:moveTo>
                    <a:pt x="40107" y="572762"/>
                  </a:moveTo>
                  <a:cubicBezTo>
                    <a:pt x="49285" y="624774"/>
                    <a:pt x="37047" y="600298"/>
                    <a:pt x="138011" y="520751"/>
                  </a:cubicBezTo>
                  <a:cubicBezTo>
                    <a:pt x="361353" y="438145"/>
                    <a:pt x="330758" y="248456"/>
                    <a:pt x="315461" y="184207"/>
                  </a:cubicBezTo>
                  <a:cubicBezTo>
                    <a:pt x="284866" y="55709"/>
                    <a:pt x="116594" y="-29957"/>
                    <a:pt x="334" y="9816"/>
                  </a:cubicBezTo>
                  <a:cubicBezTo>
                    <a:pt x="-2726" y="9816"/>
                    <a:pt x="15631" y="110779"/>
                    <a:pt x="40107" y="159731"/>
                  </a:cubicBezTo>
                  <a:cubicBezTo>
                    <a:pt x="61523" y="205624"/>
                    <a:pt x="79880" y="254576"/>
                    <a:pt x="89059" y="303527"/>
                  </a:cubicBezTo>
                  <a:cubicBezTo>
                    <a:pt x="98237" y="358598"/>
                    <a:pt x="30929" y="529930"/>
                    <a:pt x="40107" y="572762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80494813-590B-48E5-9C27-6B1323767F3D}"/>
                </a:ext>
              </a:extLst>
            </p:cNvPr>
            <p:cNvSpPr/>
            <p:nvPr/>
          </p:nvSpPr>
          <p:spPr>
            <a:xfrm>
              <a:off x="6657783" y="8098444"/>
              <a:ext cx="424082" cy="570278"/>
            </a:xfrm>
            <a:custGeom>
              <a:avLst/>
              <a:gdLst>
                <a:gd name="connsiteX0" fmla="*/ 416090 w 424082"/>
                <a:gd name="connsiteY0" fmla="*/ 184462 h 570278"/>
                <a:gd name="connsiteX1" fmla="*/ 403853 w 424082"/>
                <a:gd name="connsiteY1" fmla="*/ 441459 h 570278"/>
                <a:gd name="connsiteX2" fmla="*/ 253937 w 424082"/>
                <a:gd name="connsiteY2" fmla="*/ 569958 h 570278"/>
                <a:gd name="connsiteX3" fmla="*/ 36714 w 424082"/>
                <a:gd name="connsiteY3" fmla="*/ 426162 h 570278"/>
                <a:gd name="connsiteX4" fmla="*/ 0 w 424082"/>
                <a:gd name="connsiteY4" fmla="*/ 199760 h 570278"/>
                <a:gd name="connsiteX5" fmla="*/ 214164 w 424082"/>
                <a:gd name="connsiteY5" fmla="*/ 893 h 570278"/>
                <a:gd name="connsiteX6" fmla="*/ 416090 w 424082"/>
                <a:gd name="connsiteY6" fmla="*/ 184462 h 570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082" h="570278">
                  <a:moveTo>
                    <a:pt x="416090" y="184462"/>
                  </a:moveTo>
                  <a:cubicBezTo>
                    <a:pt x="416090" y="184462"/>
                    <a:pt x="440566" y="374151"/>
                    <a:pt x="403853" y="441459"/>
                  </a:cubicBezTo>
                  <a:cubicBezTo>
                    <a:pt x="367139" y="508768"/>
                    <a:pt x="305949" y="566899"/>
                    <a:pt x="253937" y="569958"/>
                  </a:cubicBezTo>
                  <a:cubicBezTo>
                    <a:pt x="186629" y="576077"/>
                    <a:pt x="73428" y="493471"/>
                    <a:pt x="36714" y="426162"/>
                  </a:cubicBezTo>
                  <a:cubicBezTo>
                    <a:pt x="0" y="358853"/>
                    <a:pt x="0" y="251771"/>
                    <a:pt x="0" y="199760"/>
                  </a:cubicBezTo>
                  <a:cubicBezTo>
                    <a:pt x="3059" y="104915"/>
                    <a:pt x="30595" y="25368"/>
                    <a:pt x="214164" y="893"/>
                  </a:cubicBezTo>
                  <a:cubicBezTo>
                    <a:pt x="302889" y="-11345"/>
                    <a:pt x="397734" y="104915"/>
                    <a:pt x="416090" y="184462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98530C36-7B93-49CF-B962-D70A9B1A912A}"/>
                </a:ext>
              </a:extLst>
            </p:cNvPr>
            <p:cNvSpPr/>
            <p:nvPr/>
          </p:nvSpPr>
          <p:spPr>
            <a:xfrm>
              <a:off x="6887245" y="8371632"/>
              <a:ext cx="55070" cy="131558"/>
            </a:xfrm>
            <a:custGeom>
              <a:avLst/>
              <a:gdLst>
                <a:gd name="connsiteX0" fmla="*/ 30595 w 55070"/>
                <a:gd name="connsiteY0" fmla="*/ 131558 h 131558"/>
                <a:gd name="connsiteX1" fmla="*/ 6119 w 55070"/>
                <a:gd name="connsiteY1" fmla="*/ 128498 h 131558"/>
                <a:gd name="connsiteX2" fmla="*/ 0 w 55070"/>
                <a:gd name="connsiteY2" fmla="*/ 122380 h 131558"/>
                <a:gd name="connsiteX3" fmla="*/ 6119 w 55070"/>
                <a:gd name="connsiteY3" fmla="*/ 116261 h 131558"/>
                <a:gd name="connsiteX4" fmla="*/ 45892 w 55070"/>
                <a:gd name="connsiteY4" fmla="*/ 116261 h 131558"/>
                <a:gd name="connsiteX5" fmla="*/ 45892 w 55070"/>
                <a:gd name="connsiteY5" fmla="*/ 113201 h 131558"/>
                <a:gd name="connsiteX6" fmla="*/ 18357 w 55070"/>
                <a:gd name="connsiteY6" fmla="*/ 6119 h 131558"/>
                <a:gd name="connsiteX7" fmla="*/ 21416 w 55070"/>
                <a:gd name="connsiteY7" fmla="*/ 0 h 131558"/>
                <a:gd name="connsiteX8" fmla="*/ 27535 w 55070"/>
                <a:gd name="connsiteY8" fmla="*/ 3060 h 131558"/>
                <a:gd name="connsiteX9" fmla="*/ 55070 w 55070"/>
                <a:gd name="connsiteY9" fmla="*/ 113201 h 131558"/>
                <a:gd name="connsiteX10" fmla="*/ 48952 w 55070"/>
                <a:gd name="connsiteY10" fmla="*/ 125439 h 131558"/>
                <a:gd name="connsiteX11" fmla="*/ 30595 w 55070"/>
                <a:gd name="connsiteY11" fmla="*/ 131558 h 131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070" h="131558">
                  <a:moveTo>
                    <a:pt x="30595" y="131558"/>
                  </a:moveTo>
                  <a:cubicBezTo>
                    <a:pt x="18357" y="131558"/>
                    <a:pt x="9178" y="128498"/>
                    <a:pt x="6119" y="128498"/>
                  </a:cubicBezTo>
                  <a:cubicBezTo>
                    <a:pt x="3059" y="128498"/>
                    <a:pt x="0" y="125439"/>
                    <a:pt x="0" y="122380"/>
                  </a:cubicBezTo>
                  <a:cubicBezTo>
                    <a:pt x="0" y="119320"/>
                    <a:pt x="3059" y="116261"/>
                    <a:pt x="6119" y="116261"/>
                  </a:cubicBezTo>
                  <a:cubicBezTo>
                    <a:pt x="18357" y="119320"/>
                    <a:pt x="39773" y="119320"/>
                    <a:pt x="45892" y="116261"/>
                  </a:cubicBezTo>
                  <a:cubicBezTo>
                    <a:pt x="45892" y="116261"/>
                    <a:pt x="45892" y="113201"/>
                    <a:pt x="45892" y="113201"/>
                  </a:cubicBezTo>
                  <a:cubicBezTo>
                    <a:pt x="45892" y="97904"/>
                    <a:pt x="24476" y="30595"/>
                    <a:pt x="18357" y="6119"/>
                  </a:cubicBezTo>
                  <a:cubicBezTo>
                    <a:pt x="18357" y="3060"/>
                    <a:pt x="18357" y="0"/>
                    <a:pt x="21416" y="0"/>
                  </a:cubicBezTo>
                  <a:cubicBezTo>
                    <a:pt x="24476" y="0"/>
                    <a:pt x="27535" y="0"/>
                    <a:pt x="27535" y="3060"/>
                  </a:cubicBezTo>
                  <a:cubicBezTo>
                    <a:pt x="27535" y="6119"/>
                    <a:pt x="55070" y="91785"/>
                    <a:pt x="55070" y="113201"/>
                  </a:cubicBezTo>
                  <a:cubicBezTo>
                    <a:pt x="55070" y="119320"/>
                    <a:pt x="52011" y="122380"/>
                    <a:pt x="48952" y="125439"/>
                  </a:cubicBezTo>
                  <a:cubicBezTo>
                    <a:pt x="48952" y="128498"/>
                    <a:pt x="39773" y="131558"/>
                    <a:pt x="30595" y="131558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CA0713F6-C6AB-4295-A0F6-CB4BC5363E06}"/>
                </a:ext>
              </a:extLst>
            </p:cNvPr>
            <p:cNvSpPr/>
            <p:nvPr/>
          </p:nvSpPr>
          <p:spPr>
            <a:xfrm>
              <a:off x="6856650" y="8552141"/>
              <a:ext cx="107082" cy="55070"/>
            </a:xfrm>
            <a:custGeom>
              <a:avLst/>
              <a:gdLst>
                <a:gd name="connsiteX0" fmla="*/ 0 w 107082"/>
                <a:gd name="connsiteY0" fmla="*/ 0 h 55070"/>
                <a:gd name="connsiteX1" fmla="*/ 107082 w 107082"/>
                <a:gd name="connsiteY1" fmla="*/ 0 h 55070"/>
                <a:gd name="connsiteX2" fmla="*/ 55070 w 107082"/>
                <a:gd name="connsiteY2" fmla="*/ 55071 h 55070"/>
                <a:gd name="connsiteX3" fmla="*/ 0 w 107082"/>
                <a:gd name="connsiteY3" fmla="*/ 0 h 5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82" h="55070">
                  <a:moveTo>
                    <a:pt x="0" y="0"/>
                  </a:moveTo>
                  <a:cubicBezTo>
                    <a:pt x="55070" y="24476"/>
                    <a:pt x="107082" y="0"/>
                    <a:pt x="107082" y="0"/>
                  </a:cubicBezTo>
                  <a:cubicBezTo>
                    <a:pt x="107082" y="0"/>
                    <a:pt x="91785" y="55071"/>
                    <a:pt x="55070" y="55071"/>
                  </a:cubicBezTo>
                  <a:cubicBezTo>
                    <a:pt x="15297" y="5507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DCCB9E6F-045B-4D62-9DF1-9DEDB6528297}"/>
                </a:ext>
              </a:extLst>
            </p:cNvPr>
            <p:cNvSpPr/>
            <p:nvPr/>
          </p:nvSpPr>
          <p:spPr>
            <a:xfrm>
              <a:off x="6978250" y="8340257"/>
              <a:ext cx="41152" cy="41332"/>
            </a:xfrm>
            <a:custGeom>
              <a:avLst/>
              <a:gdLst>
                <a:gd name="connsiteX0" fmla="*/ 780 w 41152"/>
                <a:gd name="connsiteY0" fmla="*/ 25256 h 41332"/>
                <a:gd name="connsiteX1" fmla="*/ 25255 w 41152"/>
                <a:gd name="connsiteY1" fmla="*/ 40553 h 41332"/>
                <a:gd name="connsiteX2" fmla="*/ 40553 w 41152"/>
                <a:gd name="connsiteY2" fmla="*/ 16077 h 41332"/>
                <a:gd name="connsiteX3" fmla="*/ 16077 w 41152"/>
                <a:gd name="connsiteY3" fmla="*/ 780 h 41332"/>
                <a:gd name="connsiteX4" fmla="*/ 780 w 41152"/>
                <a:gd name="connsiteY4" fmla="*/ 25256 h 41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52" h="41332">
                  <a:moveTo>
                    <a:pt x="780" y="25256"/>
                  </a:moveTo>
                  <a:cubicBezTo>
                    <a:pt x="3839" y="37494"/>
                    <a:pt x="13018" y="43612"/>
                    <a:pt x="25255" y="40553"/>
                  </a:cubicBezTo>
                  <a:cubicBezTo>
                    <a:pt x="34434" y="37494"/>
                    <a:pt x="43612" y="28315"/>
                    <a:pt x="40553" y="16077"/>
                  </a:cubicBezTo>
                  <a:cubicBezTo>
                    <a:pt x="37494" y="3839"/>
                    <a:pt x="28315" y="-2280"/>
                    <a:pt x="16077" y="780"/>
                  </a:cubicBezTo>
                  <a:cubicBezTo>
                    <a:pt x="3839" y="3839"/>
                    <a:pt x="-2280" y="16077"/>
                    <a:pt x="780" y="2525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CB7570C0-4F31-48E6-821C-D540A29C8F01}"/>
                </a:ext>
              </a:extLst>
            </p:cNvPr>
            <p:cNvSpPr/>
            <p:nvPr/>
          </p:nvSpPr>
          <p:spPr>
            <a:xfrm>
              <a:off x="6786282" y="8349435"/>
              <a:ext cx="40373" cy="41153"/>
            </a:xfrm>
            <a:custGeom>
              <a:avLst/>
              <a:gdLst>
                <a:gd name="connsiteX0" fmla="*/ 0 w 40373"/>
                <a:gd name="connsiteY0" fmla="*/ 25256 h 41153"/>
                <a:gd name="connsiteX1" fmla="*/ 24476 w 40373"/>
                <a:gd name="connsiteY1" fmla="*/ 40553 h 41153"/>
                <a:gd name="connsiteX2" fmla="*/ 39773 w 40373"/>
                <a:gd name="connsiteY2" fmla="*/ 16077 h 41153"/>
                <a:gd name="connsiteX3" fmla="*/ 15297 w 40373"/>
                <a:gd name="connsiteY3" fmla="*/ 780 h 41153"/>
                <a:gd name="connsiteX4" fmla="*/ 0 w 40373"/>
                <a:gd name="connsiteY4" fmla="*/ 25256 h 4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73" h="41153">
                  <a:moveTo>
                    <a:pt x="0" y="25256"/>
                  </a:moveTo>
                  <a:cubicBezTo>
                    <a:pt x="3059" y="34434"/>
                    <a:pt x="12238" y="43612"/>
                    <a:pt x="24476" y="40553"/>
                  </a:cubicBezTo>
                  <a:cubicBezTo>
                    <a:pt x="33654" y="37494"/>
                    <a:pt x="42833" y="28315"/>
                    <a:pt x="39773" y="16077"/>
                  </a:cubicBezTo>
                  <a:cubicBezTo>
                    <a:pt x="36714" y="3839"/>
                    <a:pt x="27535" y="-2280"/>
                    <a:pt x="15297" y="780"/>
                  </a:cubicBezTo>
                  <a:cubicBezTo>
                    <a:pt x="6119" y="3839"/>
                    <a:pt x="0" y="13018"/>
                    <a:pt x="0" y="2525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F0322092-277B-45FB-98DA-570CE78BA3D5}"/>
                </a:ext>
              </a:extLst>
            </p:cNvPr>
            <p:cNvSpPr/>
            <p:nvPr/>
          </p:nvSpPr>
          <p:spPr>
            <a:xfrm>
              <a:off x="6953286" y="8295504"/>
              <a:ext cx="92287" cy="33294"/>
            </a:xfrm>
            <a:custGeom>
              <a:avLst/>
              <a:gdLst>
                <a:gd name="connsiteX0" fmla="*/ 83874 w 92287"/>
                <a:gd name="connsiteY0" fmla="*/ 30235 h 33294"/>
                <a:gd name="connsiteX1" fmla="*/ 77755 w 92287"/>
                <a:gd name="connsiteY1" fmla="*/ 27175 h 33294"/>
                <a:gd name="connsiteX2" fmla="*/ 10446 w 92287"/>
                <a:gd name="connsiteY2" fmla="*/ 21056 h 33294"/>
                <a:gd name="connsiteX3" fmla="*/ 1267 w 92287"/>
                <a:gd name="connsiteY3" fmla="*/ 17997 h 33294"/>
                <a:gd name="connsiteX4" fmla="*/ 4327 w 92287"/>
                <a:gd name="connsiteY4" fmla="*/ 8819 h 33294"/>
                <a:gd name="connsiteX5" fmla="*/ 89992 w 92287"/>
                <a:gd name="connsiteY5" fmla="*/ 21056 h 33294"/>
                <a:gd name="connsiteX6" fmla="*/ 89992 w 92287"/>
                <a:gd name="connsiteY6" fmla="*/ 33295 h 33294"/>
                <a:gd name="connsiteX7" fmla="*/ 83874 w 92287"/>
                <a:gd name="connsiteY7" fmla="*/ 30235 h 33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87" h="33294">
                  <a:moveTo>
                    <a:pt x="83874" y="30235"/>
                  </a:moveTo>
                  <a:cubicBezTo>
                    <a:pt x="80814" y="30235"/>
                    <a:pt x="80814" y="30235"/>
                    <a:pt x="77755" y="27175"/>
                  </a:cubicBezTo>
                  <a:cubicBezTo>
                    <a:pt x="53279" y="-360"/>
                    <a:pt x="13505" y="17997"/>
                    <a:pt x="10446" y="21056"/>
                  </a:cubicBezTo>
                  <a:cubicBezTo>
                    <a:pt x="7386" y="24116"/>
                    <a:pt x="1267" y="21056"/>
                    <a:pt x="1267" y="17997"/>
                  </a:cubicBezTo>
                  <a:cubicBezTo>
                    <a:pt x="-1792" y="14937"/>
                    <a:pt x="1267" y="8819"/>
                    <a:pt x="4327" y="8819"/>
                  </a:cubicBezTo>
                  <a:cubicBezTo>
                    <a:pt x="22684" y="-360"/>
                    <a:pt x="62457" y="-9539"/>
                    <a:pt x="89992" y="21056"/>
                  </a:cubicBezTo>
                  <a:cubicBezTo>
                    <a:pt x="93052" y="24116"/>
                    <a:pt x="93052" y="30235"/>
                    <a:pt x="89992" y="33295"/>
                  </a:cubicBezTo>
                  <a:cubicBezTo>
                    <a:pt x="86933" y="30235"/>
                    <a:pt x="83874" y="30235"/>
                    <a:pt x="83874" y="30235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1C443C8F-96A9-4645-BA6B-83778CAEEB50}"/>
                </a:ext>
              </a:extLst>
            </p:cNvPr>
            <p:cNvSpPr/>
            <p:nvPr/>
          </p:nvSpPr>
          <p:spPr>
            <a:xfrm>
              <a:off x="6759511" y="8293105"/>
              <a:ext cx="92287" cy="35694"/>
            </a:xfrm>
            <a:custGeom>
              <a:avLst/>
              <a:gdLst>
                <a:gd name="connsiteX0" fmla="*/ 8414 w 92287"/>
                <a:gd name="connsiteY0" fmla="*/ 35694 h 35694"/>
                <a:gd name="connsiteX1" fmla="*/ 2295 w 92287"/>
                <a:gd name="connsiteY1" fmla="*/ 32635 h 35694"/>
                <a:gd name="connsiteX2" fmla="*/ 2295 w 92287"/>
                <a:gd name="connsiteY2" fmla="*/ 20397 h 35694"/>
                <a:gd name="connsiteX3" fmla="*/ 87961 w 92287"/>
                <a:gd name="connsiteY3" fmla="*/ 11218 h 35694"/>
                <a:gd name="connsiteX4" fmla="*/ 91020 w 92287"/>
                <a:gd name="connsiteY4" fmla="*/ 23456 h 35694"/>
                <a:gd name="connsiteX5" fmla="*/ 78782 w 92287"/>
                <a:gd name="connsiteY5" fmla="*/ 26516 h 35694"/>
                <a:gd name="connsiteX6" fmla="*/ 11473 w 92287"/>
                <a:gd name="connsiteY6" fmla="*/ 32635 h 35694"/>
                <a:gd name="connsiteX7" fmla="*/ 8414 w 92287"/>
                <a:gd name="connsiteY7" fmla="*/ 35694 h 35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87" h="35694">
                  <a:moveTo>
                    <a:pt x="8414" y="35694"/>
                  </a:moveTo>
                  <a:cubicBezTo>
                    <a:pt x="5354" y="35694"/>
                    <a:pt x="5354" y="35694"/>
                    <a:pt x="2295" y="32635"/>
                  </a:cubicBezTo>
                  <a:cubicBezTo>
                    <a:pt x="-765" y="29575"/>
                    <a:pt x="-765" y="23456"/>
                    <a:pt x="2295" y="20397"/>
                  </a:cubicBezTo>
                  <a:cubicBezTo>
                    <a:pt x="14533" y="8159"/>
                    <a:pt x="51247" y="-13258"/>
                    <a:pt x="87961" y="11218"/>
                  </a:cubicBezTo>
                  <a:cubicBezTo>
                    <a:pt x="91020" y="14277"/>
                    <a:pt x="94079" y="17337"/>
                    <a:pt x="91020" y="23456"/>
                  </a:cubicBezTo>
                  <a:cubicBezTo>
                    <a:pt x="87961" y="26516"/>
                    <a:pt x="84901" y="29575"/>
                    <a:pt x="78782" y="26516"/>
                  </a:cubicBezTo>
                  <a:cubicBezTo>
                    <a:pt x="42068" y="2040"/>
                    <a:pt x="14533" y="32635"/>
                    <a:pt x="11473" y="32635"/>
                  </a:cubicBezTo>
                  <a:cubicBezTo>
                    <a:pt x="11473" y="35694"/>
                    <a:pt x="11473" y="35694"/>
                    <a:pt x="8414" y="35694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3A8AAA28-7B74-489A-8DA0-3D28DFFF7EB1}"/>
                </a:ext>
              </a:extLst>
            </p:cNvPr>
            <p:cNvSpPr/>
            <p:nvPr/>
          </p:nvSpPr>
          <p:spPr>
            <a:xfrm>
              <a:off x="6823957" y="8066463"/>
              <a:ext cx="277679" cy="259275"/>
            </a:xfrm>
            <a:custGeom>
              <a:avLst/>
              <a:gdLst>
                <a:gd name="connsiteX0" fmla="*/ 2098 w 277679"/>
                <a:gd name="connsiteY0" fmla="*/ 2279 h 259275"/>
                <a:gd name="connsiteX1" fmla="*/ 38812 w 277679"/>
                <a:gd name="connsiteY1" fmla="*/ 130777 h 259275"/>
                <a:gd name="connsiteX2" fmla="*/ 277453 w 277679"/>
                <a:gd name="connsiteY2" fmla="*/ 259276 h 259275"/>
                <a:gd name="connsiteX3" fmla="*/ 2098 w 277679"/>
                <a:gd name="connsiteY3" fmla="*/ 2279 h 2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7679" h="259275">
                  <a:moveTo>
                    <a:pt x="2098" y="2279"/>
                  </a:moveTo>
                  <a:cubicBezTo>
                    <a:pt x="2098" y="2279"/>
                    <a:pt x="-13199" y="91004"/>
                    <a:pt x="38812" y="130777"/>
                  </a:cubicBezTo>
                  <a:cubicBezTo>
                    <a:pt x="38812" y="130777"/>
                    <a:pt x="249917" y="173610"/>
                    <a:pt x="277453" y="259276"/>
                  </a:cubicBezTo>
                  <a:cubicBezTo>
                    <a:pt x="277453" y="259276"/>
                    <a:pt x="295809" y="-28316"/>
                    <a:pt x="2098" y="2279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5DC8A1F6-7351-4198-B443-E80A3BCB1E2A}"/>
                </a:ext>
              </a:extLst>
            </p:cNvPr>
            <p:cNvSpPr/>
            <p:nvPr/>
          </p:nvSpPr>
          <p:spPr>
            <a:xfrm>
              <a:off x="6637726" y="8068742"/>
              <a:ext cx="225043" cy="315623"/>
            </a:xfrm>
            <a:custGeom>
              <a:avLst/>
              <a:gdLst>
                <a:gd name="connsiteX0" fmla="*/ 225043 w 225043"/>
                <a:gd name="connsiteY0" fmla="*/ 128498 h 315623"/>
                <a:gd name="connsiteX1" fmla="*/ 84306 w 225043"/>
                <a:gd name="connsiteY1" fmla="*/ 183569 h 315623"/>
                <a:gd name="connsiteX2" fmla="*/ 26176 w 225043"/>
                <a:gd name="connsiteY2" fmla="*/ 302889 h 315623"/>
                <a:gd name="connsiteX3" fmla="*/ 1700 w 225043"/>
                <a:gd name="connsiteY3" fmla="*/ 299830 h 315623"/>
                <a:gd name="connsiteX4" fmla="*/ 191389 w 225043"/>
                <a:gd name="connsiteY4" fmla="*/ 0 h 315623"/>
                <a:gd name="connsiteX5" fmla="*/ 225043 w 225043"/>
                <a:gd name="connsiteY5" fmla="*/ 128498 h 315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5043" h="315623">
                  <a:moveTo>
                    <a:pt x="225043" y="128498"/>
                  </a:moveTo>
                  <a:cubicBezTo>
                    <a:pt x="225043" y="128498"/>
                    <a:pt x="133258" y="177450"/>
                    <a:pt x="84306" y="183569"/>
                  </a:cubicBezTo>
                  <a:cubicBezTo>
                    <a:pt x="32295" y="189688"/>
                    <a:pt x="26176" y="302889"/>
                    <a:pt x="26176" y="302889"/>
                  </a:cubicBezTo>
                  <a:cubicBezTo>
                    <a:pt x="26176" y="302889"/>
                    <a:pt x="4760" y="333484"/>
                    <a:pt x="1700" y="299830"/>
                  </a:cubicBezTo>
                  <a:cubicBezTo>
                    <a:pt x="-4419" y="220283"/>
                    <a:pt x="-4419" y="21416"/>
                    <a:pt x="191389" y="0"/>
                  </a:cubicBezTo>
                  <a:cubicBezTo>
                    <a:pt x="188329" y="0"/>
                    <a:pt x="200567" y="122380"/>
                    <a:pt x="225043" y="128498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68537F64-8E67-472C-B289-D4F2D27E814F}"/>
                </a:ext>
              </a:extLst>
            </p:cNvPr>
            <p:cNvSpPr/>
            <p:nvPr/>
          </p:nvSpPr>
          <p:spPr>
            <a:xfrm>
              <a:off x="6712853" y="8117694"/>
              <a:ext cx="157394" cy="140736"/>
            </a:xfrm>
            <a:custGeom>
              <a:avLst/>
              <a:gdLst>
                <a:gd name="connsiteX0" fmla="*/ 6119 w 157394"/>
                <a:gd name="connsiteY0" fmla="*/ 140737 h 140736"/>
                <a:gd name="connsiteX1" fmla="*/ 0 w 157394"/>
                <a:gd name="connsiteY1" fmla="*/ 134618 h 140736"/>
                <a:gd name="connsiteX2" fmla="*/ 6119 w 157394"/>
                <a:gd name="connsiteY2" fmla="*/ 128498 h 140736"/>
                <a:gd name="connsiteX3" fmla="*/ 100963 w 157394"/>
                <a:gd name="connsiteY3" fmla="*/ 97904 h 140736"/>
                <a:gd name="connsiteX4" fmla="*/ 140737 w 157394"/>
                <a:gd name="connsiteY4" fmla="*/ 76487 h 140736"/>
                <a:gd name="connsiteX5" fmla="*/ 116261 w 157394"/>
                <a:gd name="connsiteY5" fmla="*/ 6119 h 140736"/>
                <a:gd name="connsiteX6" fmla="*/ 122380 w 157394"/>
                <a:gd name="connsiteY6" fmla="*/ 0 h 140736"/>
                <a:gd name="connsiteX7" fmla="*/ 128499 w 157394"/>
                <a:gd name="connsiteY7" fmla="*/ 6119 h 140736"/>
                <a:gd name="connsiteX8" fmla="*/ 156034 w 157394"/>
                <a:gd name="connsiteY8" fmla="*/ 76487 h 140736"/>
                <a:gd name="connsiteX9" fmla="*/ 156034 w 157394"/>
                <a:gd name="connsiteY9" fmla="*/ 82606 h 140736"/>
                <a:gd name="connsiteX10" fmla="*/ 152975 w 157394"/>
                <a:gd name="connsiteY10" fmla="*/ 85666 h 140736"/>
                <a:gd name="connsiteX11" fmla="*/ 107082 w 157394"/>
                <a:gd name="connsiteY11" fmla="*/ 110142 h 140736"/>
                <a:gd name="connsiteX12" fmla="*/ 6119 w 157394"/>
                <a:gd name="connsiteY12" fmla="*/ 140737 h 140736"/>
                <a:gd name="connsiteX13" fmla="*/ 6119 w 157394"/>
                <a:gd name="connsiteY13" fmla="*/ 140737 h 14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394" h="140736">
                  <a:moveTo>
                    <a:pt x="6119" y="140737"/>
                  </a:moveTo>
                  <a:cubicBezTo>
                    <a:pt x="3060" y="140737"/>
                    <a:pt x="0" y="137677"/>
                    <a:pt x="0" y="134618"/>
                  </a:cubicBezTo>
                  <a:cubicBezTo>
                    <a:pt x="0" y="131558"/>
                    <a:pt x="3060" y="128498"/>
                    <a:pt x="6119" y="128498"/>
                  </a:cubicBezTo>
                  <a:cubicBezTo>
                    <a:pt x="33655" y="125439"/>
                    <a:pt x="67309" y="113201"/>
                    <a:pt x="100963" y="97904"/>
                  </a:cubicBezTo>
                  <a:cubicBezTo>
                    <a:pt x="119320" y="88725"/>
                    <a:pt x="131558" y="82606"/>
                    <a:pt x="140737" y="76487"/>
                  </a:cubicBezTo>
                  <a:cubicBezTo>
                    <a:pt x="131558" y="61190"/>
                    <a:pt x="116261" y="27536"/>
                    <a:pt x="116261" y="6119"/>
                  </a:cubicBezTo>
                  <a:cubicBezTo>
                    <a:pt x="116261" y="3060"/>
                    <a:pt x="119320" y="0"/>
                    <a:pt x="122380" y="0"/>
                  </a:cubicBezTo>
                  <a:cubicBezTo>
                    <a:pt x="125439" y="0"/>
                    <a:pt x="128499" y="3060"/>
                    <a:pt x="128499" y="6119"/>
                  </a:cubicBezTo>
                  <a:cubicBezTo>
                    <a:pt x="131558" y="30595"/>
                    <a:pt x="149915" y="70368"/>
                    <a:pt x="156034" y="76487"/>
                  </a:cubicBezTo>
                  <a:cubicBezTo>
                    <a:pt x="156034" y="76487"/>
                    <a:pt x="159094" y="79547"/>
                    <a:pt x="156034" y="82606"/>
                  </a:cubicBezTo>
                  <a:cubicBezTo>
                    <a:pt x="156034" y="85666"/>
                    <a:pt x="156034" y="85666"/>
                    <a:pt x="152975" y="85666"/>
                  </a:cubicBezTo>
                  <a:cubicBezTo>
                    <a:pt x="152975" y="85666"/>
                    <a:pt x="134618" y="97904"/>
                    <a:pt x="107082" y="110142"/>
                  </a:cubicBezTo>
                  <a:cubicBezTo>
                    <a:pt x="70368" y="125439"/>
                    <a:pt x="36714" y="134618"/>
                    <a:pt x="6119" y="140737"/>
                  </a:cubicBezTo>
                  <a:cubicBezTo>
                    <a:pt x="6119" y="140737"/>
                    <a:pt x="6119" y="140737"/>
                    <a:pt x="6119" y="140737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3132B3C1-4BD6-46AC-A02C-F379D46BE986}"/>
                </a:ext>
              </a:extLst>
            </p:cNvPr>
            <p:cNvSpPr/>
            <p:nvPr/>
          </p:nvSpPr>
          <p:spPr>
            <a:xfrm>
              <a:off x="6718973" y="8561223"/>
              <a:ext cx="309008" cy="225195"/>
            </a:xfrm>
            <a:custGeom>
              <a:avLst/>
              <a:gdLst>
                <a:gd name="connsiteX0" fmla="*/ 253937 w 309008"/>
                <a:gd name="connsiteY0" fmla="*/ 61287 h 225195"/>
                <a:gd name="connsiteX1" fmla="*/ 309008 w 309008"/>
                <a:gd name="connsiteY1" fmla="*/ 202024 h 225195"/>
                <a:gd name="connsiteX2" fmla="*/ 0 w 309008"/>
                <a:gd name="connsiteY2" fmla="*/ 186726 h 225195"/>
                <a:gd name="connsiteX3" fmla="*/ 52011 w 309008"/>
                <a:gd name="connsiteY3" fmla="*/ 97 h 225195"/>
                <a:gd name="connsiteX4" fmla="*/ 253937 w 309008"/>
                <a:gd name="connsiteY4" fmla="*/ 61287 h 22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008" h="225195">
                  <a:moveTo>
                    <a:pt x="253937" y="61287"/>
                  </a:moveTo>
                  <a:cubicBezTo>
                    <a:pt x="253937" y="61287"/>
                    <a:pt x="247818" y="171429"/>
                    <a:pt x="309008" y="202024"/>
                  </a:cubicBezTo>
                  <a:cubicBezTo>
                    <a:pt x="309008" y="202024"/>
                    <a:pt x="128498" y="263213"/>
                    <a:pt x="0" y="186726"/>
                  </a:cubicBezTo>
                  <a:cubicBezTo>
                    <a:pt x="55070" y="143893"/>
                    <a:pt x="52011" y="61287"/>
                    <a:pt x="52011" y="97"/>
                  </a:cubicBezTo>
                  <a:cubicBezTo>
                    <a:pt x="52011" y="-2962"/>
                    <a:pt x="201926" y="67406"/>
                    <a:pt x="253937" y="61287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B1EA0F9D-C30D-4D94-B148-6D66C6AE1FAC}"/>
                </a:ext>
              </a:extLst>
            </p:cNvPr>
            <p:cNvSpPr/>
            <p:nvPr/>
          </p:nvSpPr>
          <p:spPr>
            <a:xfrm>
              <a:off x="6758746" y="8598034"/>
              <a:ext cx="222578" cy="79546"/>
            </a:xfrm>
            <a:custGeom>
              <a:avLst/>
              <a:gdLst>
                <a:gd name="connsiteX0" fmla="*/ 149915 w 222578"/>
                <a:gd name="connsiteY0" fmla="*/ 79547 h 79546"/>
                <a:gd name="connsiteX1" fmla="*/ 140737 w 222578"/>
                <a:gd name="connsiteY1" fmla="*/ 79547 h 79546"/>
                <a:gd name="connsiteX2" fmla="*/ 3060 w 222578"/>
                <a:gd name="connsiteY2" fmla="*/ 12238 h 79546"/>
                <a:gd name="connsiteX3" fmla="*/ 0 w 222578"/>
                <a:gd name="connsiteY3" fmla="*/ 3060 h 79546"/>
                <a:gd name="connsiteX4" fmla="*/ 9179 w 222578"/>
                <a:gd name="connsiteY4" fmla="*/ 0 h 79546"/>
                <a:gd name="connsiteX5" fmla="*/ 140737 w 222578"/>
                <a:gd name="connsiteY5" fmla="*/ 67309 h 79546"/>
                <a:gd name="connsiteX6" fmla="*/ 211105 w 222578"/>
                <a:gd name="connsiteY6" fmla="*/ 42833 h 79546"/>
                <a:gd name="connsiteX7" fmla="*/ 220284 w 222578"/>
                <a:gd name="connsiteY7" fmla="*/ 42833 h 79546"/>
                <a:gd name="connsiteX8" fmla="*/ 220284 w 222578"/>
                <a:gd name="connsiteY8" fmla="*/ 52012 h 79546"/>
                <a:gd name="connsiteX9" fmla="*/ 149915 w 222578"/>
                <a:gd name="connsiteY9" fmla="*/ 79547 h 79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578" h="79546">
                  <a:moveTo>
                    <a:pt x="149915" y="79547"/>
                  </a:moveTo>
                  <a:cubicBezTo>
                    <a:pt x="146856" y="79547"/>
                    <a:pt x="143796" y="79547"/>
                    <a:pt x="140737" y="79547"/>
                  </a:cubicBezTo>
                  <a:cubicBezTo>
                    <a:pt x="97904" y="73428"/>
                    <a:pt x="6119" y="12238"/>
                    <a:pt x="3060" y="12238"/>
                  </a:cubicBezTo>
                  <a:cubicBezTo>
                    <a:pt x="0" y="9179"/>
                    <a:pt x="0" y="6119"/>
                    <a:pt x="0" y="3060"/>
                  </a:cubicBezTo>
                  <a:cubicBezTo>
                    <a:pt x="3060" y="0"/>
                    <a:pt x="6119" y="0"/>
                    <a:pt x="9179" y="0"/>
                  </a:cubicBezTo>
                  <a:cubicBezTo>
                    <a:pt x="9179" y="0"/>
                    <a:pt x="104023" y="61190"/>
                    <a:pt x="140737" y="67309"/>
                  </a:cubicBezTo>
                  <a:cubicBezTo>
                    <a:pt x="177451" y="73428"/>
                    <a:pt x="211105" y="42833"/>
                    <a:pt x="211105" y="42833"/>
                  </a:cubicBezTo>
                  <a:cubicBezTo>
                    <a:pt x="214164" y="39773"/>
                    <a:pt x="217224" y="39773"/>
                    <a:pt x="220284" y="42833"/>
                  </a:cubicBezTo>
                  <a:cubicBezTo>
                    <a:pt x="223343" y="45892"/>
                    <a:pt x="223343" y="48952"/>
                    <a:pt x="220284" y="52012"/>
                  </a:cubicBezTo>
                  <a:cubicBezTo>
                    <a:pt x="220284" y="52012"/>
                    <a:pt x="189689" y="79547"/>
                    <a:pt x="149915" y="79547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4021BC7B-CE10-45CA-B1E1-0DE795571F69}"/>
                </a:ext>
              </a:extLst>
            </p:cNvPr>
            <p:cNvSpPr/>
            <p:nvPr/>
          </p:nvSpPr>
          <p:spPr>
            <a:xfrm>
              <a:off x="7210283" y="8835407"/>
              <a:ext cx="103823" cy="561153"/>
            </a:xfrm>
            <a:custGeom>
              <a:avLst/>
              <a:gdLst>
                <a:gd name="connsiteX0" fmla="*/ 47160 w 103823"/>
                <a:gd name="connsiteY0" fmla="*/ 561154 h 561153"/>
                <a:gd name="connsiteX1" fmla="*/ 47160 w 103823"/>
                <a:gd name="connsiteY1" fmla="*/ 561154 h 561153"/>
                <a:gd name="connsiteX2" fmla="*/ 41041 w 103823"/>
                <a:gd name="connsiteY2" fmla="*/ 555035 h 561153"/>
                <a:gd name="connsiteX3" fmla="*/ 56338 w 103823"/>
                <a:gd name="connsiteY3" fmla="*/ 499964 h 561153"/>
                <a:gd name="connsiteX4" fmla="*/ 89993 w 103823"/>
                <a:gd name="connsiteY4" fmla="*/ 350049 h 561153"/>
                <a:gd name="connsiteX5" fmla="*/ 1267 w 103823"/>
                <a:gd name="connsiteY5" fmla="*/ 10446 h 561153"/>
                <a:gd name="connsiteX6" fmla="*/ 4327 w 103823"/>
                <a:gd name="connsiteY6" fmla="*/ 1267 h 561153"/>
                <a:gd name="connsiteX7" fmla="*/ 13505 w 103823"/>
                <a:gd name="connsiteY7" fmla="*/ 4327 h 561153"/>
                <a:gd name="connsiteX8" fmla="*/ 102230 w 103823"/>
                <a:gd name="connsiteY8" fmla="*/ 350049 h 561153"/>
                <a:gd name="connsiteX9" fmla="*/ 68576 w 103823"/>
                <a:gd name="connsiteY9" fmla="*/ 503024 h 561153"/>
                <a:gd name="connsiteX10" fmla="*/ 53278 w 103823"/>
                <a:gd name="connsiteY10" fmla="*/ 558094 h 561153"/>
                <a:gd name="connsiteX11" fmla="*/ 47160 w 103823"/>
                <a:gd name="connsiteY11" fmla="*/ 561154 h 56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3823" h="561153">
                  <a:moveTo>
                    <a:pt x="47160" y="561154"/>
                  </a:moveTo>
                  <a:cubicBezTo>
                    <a:pt x="47160" y="561154"/>
                    <a:pt x="44100" y="561154"/>
                    <a:pt x="47160" y="561154"/>
                  </a:cubicBezTo>
                  <a:cubicBezTo>
                    <a:pt x="44100" y="561154"/>
                    <a:pt x="41041" y="558094"/>
                    <a:pt x="41041" y="555035"/>
                  </a:cubicBezTo>
                  <a:cubicBezTo>
                    <a:pt x="47160" y="536678"/>
                    <a:pt x="50219" y="518321"/>
                    <a:pt x="56338" y="499964"/>
                  </a:cubicBezTo>
                  <a:cubicBezTo>
                    <a:pt x="71636" y="447953"/>
                    <a:pt x="86933" y="395942"/>
                    <a:pt x="89993" y="350049"/>
                  </a:cubicBezTo>
                  <a:cubicBezTo>
                    <a:pt x="96112" y="227670"/>
                    <a:pt x="68576" y="114468"/>
                    <a:pt x="1267" y="10446"/>
                  </a:cubicBezTo>
                  <a:cubicBezTo>
                    <a:pt x="-1792" y="7386"/>
                    <a:pt x="1267" y="4327"/>
                    <a:pt x="4327" y="1267"/>
                  </a:cubicBezTo>
                  <a:cubicBezTo>
                    <a:pt x="7386" y="-1792"/>
                    <a:pt x="10446" y="1267"/>
                    <a:pt x="13505" y="4327"/>
                  </a:cubicBezTo>
                  <a:cubicBezTo>
                    <a:pt x="80814" y="111409"/>
                    <a:pt x="111409" y="227670"/>
                    <a:pt x="102230" y="350049"/>
                  </a:cubicBezTo>
                  <a:cubicBezTo>
                    <a:pt x="99171" y="395942"/>
                    <a:pt x="83873" y="451012"/>
                    <a:pt x="68576" y="503024"/>
                  </a:cubicBezTo>
                  <a:cubicBezTo>
                    <a:pt x="62457" y="521380"/>
                    <a:pt x="56338" y="539738"/>
                    <a:pt x="53278" y="558094"/>
                  </a:cubicBezTo>
                  <a:cubicBezTo>
                    <a:pt x="50219" y="561154"/>
                    <a:pt x="50219" y="561154"/>
                    <a:pt x="47160" y="561154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BA437D97-D91B-47D9-B965-30E0897A45E7}"/>
                </a:ext>
              </a:extLst>
            </p:cNvPr>
            <p:cNvSpPr/>
            <p:nvPr/>
          </p:nvSpPr>
          <p:spPr>
            <a:xfrm>
              <a:off x="6786282" y="9280495"/>
              <a:ext cx="402060" cy="36519"/>
            </a:xfrm>
            <a:custGeom>
              <a:avLst/>
              <a:gdLst>
                <a:gd name="connsiteX0" fmla="*/ 397734 w 402060"/>
                <a:gd name="connsiteY0" fmla="*/ 36519 h 36519"/>
                <a:gd name="connsiteX1" fmla="*/ 397734 w 402060"/>
                <a:gd name="connsiteY1" fmla="*/ 36519 h 36519"/>
                <a:gd name="connsiteX2" fmla="*/ 6119 w 402060"/>
                <a:gd name="connsiteY2" fmla="*/ 24281 h 36519"/>
                <a:gd name="connsiteX3" fmla="*/ 0 w 402060"/>
                <a:gd name="connsiteY3" fmla="*/ 21222 h 36519"/>
                <a:gd name="connsiteX4" fmla="*/ 3059 w 402060"/>
                <a:gd name="connsiteY4" fmla="*/ 15103 h 36519"/>
                <a:gd name="connsiteX5" fmla="*/ 397734 w 402060"/>
                <a:gd name="connsiteY5" fmla="*/ 27341 h 36519"/>
                <a:gd name="connsiteX6" fmla="*/ 400793 w 402060"/>
                <a:gd name="connsiteY6" fmla="*/ 33460 h 36519"/>
                <a:gd name="connsiteX7" fmla="*/ 397734 w 402060"/>
                <a:gd name="connsiteY7" fmla="*/ 36519 h 36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2060" h="36519">
                  <a:moveTo>
                    <a:pt x="397734" y="36519"/>
                  </a:moveTo>
                  <a:cubicBezTo>
                    <a:pt x="397734" y="36519"/>
                    <a:pt x="397734" y="36519"/>
                    <a:pt x="397734" y="36519"/>
                  </a:cubicBezTo>
                  <a:cubicBezTo>
                    <a:pt x="312068" y="5924"/>
                    <a:pt x="107082" y="-195"/>
                    <a:pt x="6119" y="24281"/>
                  </a:cubicBezTo>
                  <a:cubicBezTo>
                    <a:pt x="3059" y="24281"/>
                    <a:pt x="0" y="24281"/>
                    <a:pt x="0" y="21222"/>
                  </a:cubicBezTo>
                  <a:cubicBezTo>
                    <a:pt x="0" y="18162"/>
                    <a:pt x="0" y="15103"/>
                    <a:pt x="3059" y="15103"/>
                  </a:cubicBezTo>
                  <a:cubicBezTo>
                    <a:pt x="104022" y="-9373"/>
                    <a:pt x="312068" y="-3254"/>
                    <a:pt x="397734" y="27341"/>
                  </a:cubicBezTo>
                  <a:cubicBezTo>
                    <a:pt x="400793" y="27341"/>
                    <a:pt x="400793" y="30400"/>
                    <a:pt x="400793" y="33460"/>
                  </a:cubicBezTo>
                  <a:cubicBezTo>
                    <a:pt x="403853" y="36519"/>
                    <a:pt x="400793" y="36519"/>
                    <a:pt x="397734" y="36519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1AA533E4-AE64-4608-BA8E-9E6BF920A325}"/>
                </a:ext>
              </a:extLst>
            </p:cNvPr>
            <p:cNvSpPr/>
            <p:nvPr/>
          </p:nvSpPr>
          <p:spPr>
            <a:xfrm>
              <a:off x="6694497" y="8744889"/>
              <a:ext cx="361019" cy="64249"/>
            </a:xfrm>
            <a:custGeom>
              <a:avLst/>
              <a:gdLst>
                <a:gd name="connsiteX0" fmla="*/ 324306 w 361019"/>
                <a:gd name="connsiteY0" fmla="*/ 9179 h 64249"/>
                <a:gd name="connsiteX1" fmla="*/ 24476 w 361019"/>
                <a:gd name="connsiteY1" fmla="*/ 0 h 64249"/>
                <a:gd name="connsiteX2" fmla="*/ 0 w 361019"/>
                <a:gd name="connsiteY2" fmla="*/ 9179 h 64249"/>
                <a:gd name="connsiteX3" fmla="*/ 189688 w 361019"/>
                <a:gd name="connsiteY3" fmla="*/ 64249 h 64249"/>
                <a:gd name="connsiteX4" fmla="*/ 361020 w 361019"/>
                <a:gd name="connsiteY4" fmla="*/ 15297 h 64249"/>
                <a:gd name="connsiteX5" fmla="*/ 324306 w 361019"/>
                <a:gd name="connsiteY5" fmla="*/ 9179 h 6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1019" h="64249">
                  <a:moveTo>
                    <a:pt x="324306" y="9179"/>
                  </a:moveTo>
                  <a:cubicBezTo>
                    <a:pt x="324306" y="9179"/>
                    <a:pt x="211105" y="67309"/>
                    <a:pt x="24476" y="0"/>
                  </a:cubicBezTo>
                  <a:lnTo>
                    <a:pt x="0" y="9179"/>
                  </a:lnTo>
                  <a:cubicBezTo>
                    <a:pt x="0" y="9179"/>
                    <a:pt x="79546" y="64249"/>
                    <a:pt x="189688" y="64249"/>
                  </a:cubicBezTo>
                  <a:cubicBezTo>
                    <a:pt x="293711" y="64249"/>
                    <a:pt x="361020" y="15297"/>
                    <a:pt x="361020" y="15297"/>
                  </a:cubicBezTo>
                  <a:cubicBezTo>
                    <a:pt x="361020" y="15297"/>
                    <a:pt x="342663" y="12238"/>
                    <a:pt x="324306" y="9179"/>
                  </a:cubicBezTo>
                  <a:close/>
                </a:path>
              </a:pathLst>
            </a:custGeom>
            <a:solidFill>
              <a:srgbClr val="F6EBE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73B20926-E42F-4A8B-AD47-10D4BBD1B2B1}"/>
                </a:ext>
              </a:extLst>
            </p:cNvPr>
            <p:cNvSpPr/>
            <p:nvPr/>
          </p:nvSpPr>
          <p:spPr>
            <a:xfrm>
              <a:off x="6415743" y="8913280"/>
              <a:ext cx="771331" cy="781886"/>
            </a:xfrm>
            <a:custGeom>
              <a:avLst/>
              <a:gdLst>
                <a:gd name="connsiteX0" fmla="*/ 37054 w 771331"/>
                <a:gd name="connsiteY0" fmla="*/ 73309 h 781886"/>
                <a:gd name="connsiteX1" fmla="*/ 278754 w 771331"/>
                <a:gd name="connsiteY1" fmla="*/ 155915 h 781886"/>
                <a:gd name="connsiteX2" fmla="*/ 324646 w 771331"/>
                <a:gd name="connsiteY2" fmla="*/ 581184 h 781886"/>
                <a:gd name="connsiteX3" fmla="*/ 771331 w 771331"/>
                <a:gd name="connsiteY3" fmla="*/ 651552 h 781886"/>
                <a:gd name="connsiteX4" fmla="*/ 771331 w 771331"/>
                <a:gd name="connsiteY4" fmla="*/ 776992 h 781886"/>
                <a:gd name="connsiteX5" fmla="*/ 153314 w 771331"/>
                <a:gd name="connsiteY5" fmla="*/ 715802 h 781886"/>
                <a:gd name="connsiteX6" fmla="*/ 37054 w 771331"/>
                <a:gd name="connsiteY6" fmla="*/ 73309 h 781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1331" h="781886">
                  <a:moveTo>
                    <a:pt x="37054" y="73309"/>
                  </a:moveTo>
                  <a:cubicBezTo>
                    <a:pt x="147196" y="-73547"/>
                    <a:pt x="278754" y="24357"/>
                    <a:pt x="278754" y="155915"/>
                  </a:cubicBezTo>
                  <a:cubicBezTo>
                    <a:pt x="275694" y="284414"/>
                    <a:pt x="303230" y="553649"/>
                    <a:pt x="324646" y="581184"/>
                  </a:cubicBezTo>
                  <a:cubicBezTo>
                    <a:pt x="382776" y="599541"/>
                    <a:pt x="771331" y="651552"/>
                    <a:pt x="771331" y="651552"/>
                  </a:cubicBezTo>
                  <a:cubicBezTo>
                    <a:pt x="756034" y="679088"/>
                    <a:pt x="771331" y="776992"/>
                    <a:pt x="771331" y="776992"/>
                  </a:cubicBezTo>
                  <a:cubicBezTo>
                    <a:pt x="771331" y="776992"/>
                    <a:pt x="248159" y="807587"/>
                    <a:pt x="153314" y="715802"/>
                  </a:cubicBezTo>
                  <a:cubicBezTo>
                    <a:pt x="101303" y="666850"/>
                    <a:pt x="-76147" y="223224"/>
                    <a:pt x="37054" y="73309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850BF1EB-9566-458A-9D38-C4E6BF3E579B}"/>
                </a:ext>
              </a:extLst>
            </p:cNvPr>
            <p:cNvSpPr/>
            <p:nvPr/>
          </p:nvSpPr>
          <p:spPr>
            <a:xfrm>
              <a:off x="6380141" y="8803889"/>
              <a:ext cx="384724" cy="401604"/>
            </a:xfrm>
            <a:custGeom>
              <a:avLst/>
              <a:gdLst>
                <a:gd name="connsiteX0" fmla="*/ 8407 w 384724"/>
                <a:gd name="connsiteY0" fmla="*/ 393805 h 401604"/>
                <a:gd name="connsiteX1" fmla="*/ 121608 w 384724"/>
                <a:gd name="connsiteY1" fmla="*/ 5249 h 401604"/>
                <a:gd name="connsiteX2" fmla="*/ 384724 w 384724"/>
                <a:gd name="connsiteY2" fmla="*/ 363210 h 401604"/>
                <a:gd name="connsiteX3" fmla="*/ 8407 w 384724"/>
                <a:gd name="connsiteY3" fmla="*/ 393805 h 401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724" h="401604">
                  <a:moveTo>
                    <a:pt x="8407" y="393805"/>
                  </a:moveTo>
                  <a:cubicBezTo>
                    <a:pt x="-25248" y="213295"/>
                    <a:pt x="48180" y="35844"/>
                    <a:pt x="121608" y="5249"/>
                  </a:cubicBezTo>
                  <a:cubicBezTo>
                    <a:pt x="219511" y="-34524"/>
                    <a:pt x="366367" y="158224"/>
                    <a:pt x="384724" y="363210"/>
                  </a:cubicBezTo>
                  <a:cubicBezTo>
                    <a:pt x="323534" y="409102"/>
                    <a:pt x="109370" y="406042"/>
                    <a:pt x="8407" y="393805"/>
                  </a:cubicBezTo>
                  <a:close/>
                </a:path>
              </a:pathLst>
            </a:custGeom>
            <a:solidFill>
              <a:srgbClr val="F6EBE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815DBB35-8F7E-489E-B511-009539ED37E4}"/>
                </a:ext>
              </a:extLst>
            </p:cNvPr>
            <p:cNvSpPr/>
            <p:nvPr/>
          </p:nvSpPr>
          <p:spPr>
            <a:xfrm>
              <a:off x="6526225" y="8793261"/>
              <a:ext cx="241699" cy="410551"/>
            </a:xfrm>
            <a:custGeom>
              <a:avLst/>
              <a:gdLst>
                <a:gd name="connsiteX0" fmla="*/ 94844 w 241699"/>
                <a:gd name="connsiteY0" fmla="*/ 410551 h 410551"/>
                <a:gd name="connsiteX1" fmla="*/ 88725 w 241699"/>
                <a:gd name="connsiteY1" fmla="*/ 404432 h 410551"/>
                <a:gd name="connsiteX2" fmla="*/ 94844 w 241699"/>
                <a:gd name="connsiteY2" fmla="*/ 398314 h 410551"/>
                <a:gd name="connsiteX3" fmla="*/ 232521 w 241699"/>
                <a:gd name="connsiteY3" fmla="*/ 370778 h 410551"/>
                <a:gd name="connsiteX4" fmla="*/ 67309 w 241699"/>
                <a:gd name="connsiteY4" fmla="*/ 34234 h 410551"/>
                <a:gd name="connsiteX5" fmla="*/ 6119 w 241699"/>
                <a:gd name="connsiteY5" fmla="*/ 12818 h 410551"/>
                <a:gd name="connsiteX6" fmla="*/ 0 w 241699"/>
                <a:gd name="connsiteY6" fmla="*/ 6699 h 410551"/>
                <a:gd name="connsiteX7" fmla="*/ 6119 w 241699"/>
                <a:gd name="connsiteY7" fmla="*/ 580 h 410551"/>
                <a:gd name="connsiteX8" fmla="*/ 73428 w 241699"/>
                <a:gd name="connsiteY8" fmla="*/ 25056 h 410551"/>
                <a:gd name="connsiteX9" fmla="*/ 241700 w 241699"/>
                <a:gd name="connsiteY9" fmla="*/ 373838 h 410551"/>
                <a:gd name="connsiteX10" fmla="*/ 241700 w 241699"/>
                <a:gd name="connsiteY10" fmla="*/ 376897 h 410551"/>
                <a:gd name="connsiteX11" fmla="*/ 241700 w 241699"/>
                <a:gd name="connsiteY11" fmla="*/ 376897 h 410551"/>
                <a:gd name="connsiteX12" fmla="*/ 94844 w 241699"/>
                <a:gd name="connsiteY12" fmla="*/ 410551 h 410551"/>
                <a:gd name="connsiteX13" fmla="*/ 94844 w 241699"/>
                <a:gd name="connsiteY13" fmla="*/ 410551 h 410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699" h="410551">
                  <a:moveTo>
                    <a:pt x="94844" y="410551"/>
                  </a:moveTo>
                  <a:cubicBezTo>
                    <a:pt x="91785" y="410551"/>
                    <a:pt x="88725" y="407492"/>
                    <a:pt x="88725" y="404432"/>
                  </a:cubicBezTo>
                  <a:cubicBezTo>
                    <a:pt x="88725" y="401373"/>
                    <a:pt x="91785" y="398314"/>
                    <a:pt x="94844" y="398314"/>
                  </a:cubicBezTo>
                  <a:cubicBezTo>
                    <a:pt x="201926" y="392195"/>
                    <a:pt x="226402" y="376897"/>
                    <a:pt x="232521" y="370778"/>
                  </a:cubicBezTo>
                  <a:cubicBezTo>
                    <a:pt x="223343" y="269815"/>
                    <a:pt x="146856" y="95424"/>
                    <a:pt x="67309" y="34234"/>
                  </a:cubicBezTo>
                  <a:cubicBezTo>
                    <a:pt x="45892" y="15877"/>
                    <a:pt x="24476" y="9758"/>
                    <a:pt x="6119" y="12818"/>
                  </a:cubicBezTo>
                  <a:cubicBezTo>
                    <a:pt x="3059" y="12818"/>
                    <a:pt x="0" y="9758"/>
                    <a:pt x="0" y="6699"/>
                  </a:cubicBezTo>
                  <a:cubicBezTo>
                    <a:pt x="0" y="3639"/>
                    <a:pt x="3059" y="580"/>
                    <a:pt x="6119" y="580"/>
                  </a:cubicBezTo>
                  <a:cubicBezTo>
                    <a:pt x="27535" y="-2480"/>
                    <a:pt x="48952" y="6699"/>
                    <a:pt x="73428" y="25056"/>
                  </a:cubicBezTo>
                  <a:cubicBezTo>
                    <a:pt x="156034" y="89305"/>
                    <a:pt x="235581" y="269815"/>
                    <a:pt x="241700" y="373838"/>
                  </a:cubicBezTo>
                  <a:lnTo>
                    <a:pt x="241700" y="376897"/>
                  </a:lnTo>
                  <a:lnTo>
                    <a:pt x="241700" y="376897"/>
                  </a:lnTo>
                  <a:cubicBezTo>
                    <a:pt x="238640" y="379956"/>
                    <a:pt x="220283" y="404432"/>
                    <a:pt x="94844" y="410551"/>
                  </a:cubicBezTo>
                  <a:cubicBezTo>
                    <a:pt x="94844" y="410551"/>
                    <a:pt x="94844" y="410551"/>
                    <a:pt x="94844" y="410551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6" name="图形 892">
              <a:extLst>
                <a:ext uri="{FF2B5EF4-FFF2-40B4-BE49-F238E27FC236}">
                  <a16:creationId xmlns:a16="http://schemas.microsoft.com/office/drawing/2014/main" id="{91CFEA18-C590-409F-B8CE-97F92FB66403}"/>
                </a:ext>
              </a:extLst>
            </p:cNvPr>
            <p:cNvGrpSpPr/>
            <p:nvPr/>
          </p:nvGrpSpPr>
          <p:grpSpPr>
            <a:xfrm>
              <a:off x="6832174" y="8589979"/>
              <a:ext cx="250878" cy="228338"/>
              <a:chOff x="6832174" y="8589979"/>
              <a:chExt cx="250878" cy="228338"/>
            </a:xfrm>
          </p:grpSpPr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4C7B10FE-E614-41F9-A816-BDA215A48921}"/>
                  </a:ext>
                </a:extLst>
              </p:cNvPr>
              <p:cNvSpPr/>
              <p:nvPr/>
            </p:nvSpPr>
            <p:spPr>
              <a:xfrm>
                <a:off x="6837693" y="8596594"/>
                <a:ext cx="240419" cy="210031"/>
              </a:xfrm>
              <a:custGeom>
                <a:avLst/>
                <a:gdLst>
                  <a:gd name="connsiteX0" fmla="*/ 15898 w 240419"/>
                  <a:gd name="connsiteY0" fmla="*/ 166652 h 210031"/>
                  <a:gd name="connsiteX1" fmla="*/ 15898 w 240419"/>
                  <a:gd name="connsiteY1" fmla="*/ 166652 h 210031"/>
                  <a:gd name="connsiteX2" fmla="*/ 101563 w 240419"/>
                  <a:gd name="connsiteY2" fmla="*/ 209485 h 210031"/>
                  <a:gd name="connsiteX3" fmla="*/ 168872 w 240419"/>
                  <a:gd name="connsiteY3" fmla="*/ 178890 h 210031"/>
                  <a:gd name="connsiteX4" fmla="*/ 178051 w 240419"/>
                  <a:gd name="connsiteY4" fmla="*/ 114641 h 210031"/>
                  <a:gd name="connsiteX5" fmla="*/ 178051 w 240419"/>
                  <a:gd name="connsiteY5" fmla="*/ 111581 h 210031"/>
                  <a:gd name="connsiteX6" fmla="*/ 193348 w 240419"/>
                  <a:gd name="connsiteY6" fmla="*/ 65689 h 210031"/>
                  <a:gd name="connsiteX7" fmla="*/ 230062 w 240419"/>
                  <a:gd name="connsiteY7" fmla="*/ 38154 h 210031"/>
                  <a:gd name="connsiteX8" fmla="*/ 230062 w 240419"/>
                  <a:gd name="connsiteY8" fmla="*/ 4499 h 210031"/>
                  <a:gd name="connsiteX9" fmla="*/ 168872 w 240419"/>
                  <a:gd name="connsiteY9" fmla="*/ 19797 h 210031"/>
                  <a:gd name="connsiteX10" fmla="*/ 116861 w 240419"/>
                  <a:gd name="connsiteY10" fmla="*/ 80986 h 210031"/>
                  <a:gd name="connsiteX11" fmla="*/ 34255 w 240419"/>
                  <a:gd name="connsiteY11" fmla="*/ 53451 h 210031"/>
                  <a:gd name="connsiteX12" fmla="*/ 15898 w 240419"/>
                  <a:gd name="connsiteY12" fmla="*/ 77927 h 210031"/>
                  <a:gd name="connsiteX13" fmla="*/ 600 w 240419"/>
                  <a:gd name="connsiteY13" fmla="*/ 105462 h 210031"/>
                  <a:gd name="connsiteX14" fmla="*/ 9779 w 240419"/>
                  <a:gd name="connsiteY14" fmla="*/ 129938 h 210031"/>
                  <a:gd name="connsiteX15" fmla="*/ 15898 w 240419"/>
                  <a:gd name="connsiteY15" fmla="*/ 166652 h 210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0419" h="210031">
                    <a:moveTo>
                      <a:pt x="15898" y="166652"/>
                    </a:moveTo>
                    <a:cubicBezTo>
                      <a:pt x="15898" y="166652"/>
                      <a:pt x="18957" y="169711"/>
                      <a:pt x="15898" y="166652"/>
                    </a:cubicBezTo>
                    <a:cubicBezTo>
                      <a:pt x="6719" y="203366"/>
                      <a:pt x="77087" y="212544"/>
                      <a:pt x="101563" y="209485"/>
                    </a:cubicBezTo>
                    <a:cubicBezTo>
                      <a:pt x="126039" y="206426"/>
                      <a:pt x="153575" y="197247"/>
                      <a:pt x="168872" y="178890"/>
                    </a:cubicBezTo>
                    <a:cubicBezTo>
                      <a:pt x="184170" y="160533"/>
                      <a:pt x="181110" y="136057"/>
                      <a:pt x="178051" y="114641"/>
                    </a:cubicBezTo>
                    <a:cubicBezTo>
                      <a:pt x="178051" y="114641"/>
                      <a:pt x="178051" y="111581"/>
                      <a:pt x="178051" y="111581"/>
                    </a:cubicBezTo>
                    <a:cubicBezTo>
                      <a:pt x="178051" y="93224"/>
                      <a:pt x="184170" y="77927"/>
                      <a:pt x="193348" y="65689"/>
                    </a:cubicBezTo>
                    <a:cubicBezTo>
                      <a:pt x="205586" y="50391"/>
                      <a:pt x="217824" y="47332"/>
                      <a:pt x="230062" y="38154"/>
                    </a:cubicBezTo>
                    <a:cubicBezTo>
                      <a:pt x="242300" y="28975"/>
                      <a:pt x="245359" y="13678"/>
                      <a:pt x="230062" y="4499"/>
                    </a:cubicBezTo>
                    <a:cubicBezTo>
                      <a:pt x="211705" y="-7739"/>
                      <a:pt x="184170" y="7559"/>
                      <a:pt x="168872" y="19797"/>
                    </a:cubicBezTo>
                    <a:cubicBezTo>
                      <a:pt x="147456" y="35094"/>
                      <a:pt x="129099" y="56510"/>
                      <a:pt x="116861" y="80986"/>
                    </a:cubicBezTo>
                    <a:cubicBezTo>
                      <a:pt x="92385" y="65689"/>
                      <a:pt x="61790" y="47332"/>
                      <a:pt x="34255" y="53451"/>
                    </a:cubicBezTo>
                    <a:cubicBezTo>
                      <a:pt x="18957" y="56510"/>
                      <a:pt x="15898" y="68749"/>
                      <a:pt x="15898" y="77927"/>
                    </a:cubicBezTo>
                    <a:cubicBezTo>
                      <a:pt x="6719" y="80986"/>
                      <a:pt x="-2459" y="93224"/>
                      <a:pt x="600" y="105462"/>
                    </a:cubicBezTo>
                    <a:cubicBezTo>
                      <a:pt x="600" y="114641"/>
                      <a:pt x="3660" y="120760"/>
                      <a:pt x="9779" y="129938"/>
                    </a:cubicBezTo>
                    <a:cubicBezTo>
                      <a:pt x="600" y="139116"/>
                      <a:pt x="3660" y="157474"/>
                      <a:pt x="15898" y="16665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E7C7CE73-AA1F-4BF1-9423-5ABBB6AC1201}"/>
                  </a:ext>
                </a:extLst>
              </p:cNvPr>
              <p:cNvSpPr/>
              <p:nvPr/>
            </p:nvSpPr>
            <p:spPr>
              <a:xfrm>
                <a:off x="6832174" y="8589979"/>
                <a:ext cx="250878" cy="228338"/>
              </a:xfrm>
              <a:custGeom>
                <a:avLst/>
                <a:gdLst>
                  <a:gd name="connsiteX0" fmla="*/ 94844 w 250878"/>
                  <a:gd name="connsiteY0" fmla="*/ 222219 h 228338"/>
                  <a:gd name="connsiteX1" fmla="*/ 21416 w 250878"/>
                  <a:gd name="connsiteY1" fmla="*/ 200802 h 228338"/>
                  <a:gd name="connsiteX2" fmla="*/ 15297 w 250878"/>
                  <a:gd name="connsiteY2" fmla="*/ 179386 h 228338"/>
                  <a:gd name="connsiteX3" fmla="*/ 3059 w 250878"/>
                  <a:gd name="connsiteY3" fmla="*/ 157970 h 228338"/>
                  <a:gd name="connsiteX4" fmla="*/ 6119 w 250878"/>
                  <a:gd name="connsiteY4" fmla="*/ 136553 h 228338"/>
                  <a:gd name="connsiteX5" fmla="*/ 0 w 250878"/>
                  <a:gd name="connsiteY5" fmla="*/ 112077 h 228338"/>
                  <a:gd name="connsiteX6" fmla="*/ 15297 w 250878"/>
                  <a:gd name="connsiteY6" fmla="*/ 81482 h 228338"/>
                  <a:gd name="connsiteX7" fmla="*/ 36714 w 250878"/>
                  <a:gd name="connsiteY7" fmla="*/ 53947 h 228338"/>
                  <a:gd name="connsiteX8" fmla="*/ 119320 w 250878"/>
                  <a:gd name="connsiteY8" fmla="*/ 78423 h 228338"/>
                  <a:gd name="connsiteX9" fmla="*/ 171331 w 250878"/>
                  <a:gd name="connsiteY9" fmla="*/ 20293 h 228338"/>
                  <a:gd name="connsiteX10" fmla="*/ 238640 w 250878"/>
                  <a:gd name="connsiteY10" fmla="*/ 4995 h 228338"/>
                  <a:gd name="connsiteX11" fmla="*/ 250878 w 250878"/>
                  <a:gd name="connsiteY11" fmla="*/ 23352 h 228338"/>
                  <a:gd name="connsiteX12" fmla="*/ 238640 w 250878"/>
                  <a:gd name="connsiteY12" fmla="*/ 47828 h 228338"/>
                  <a:gd name="connsiteX13" fmla="*/ 223343 w 250878"/>
                  <a:gd name="connsiteY13" fmla="*/ 60066 h 228338"/>
                  <a:gd name="connsiteX14" fmla="*/ 201926 w 250878"/>
                  <a:gd name="connsiteY14" fmla="*/ 75364 h 228338"/>
                  <a:gd name="connsiteX15" fmla="*/ 186629 w 250878"/>
                  <a:gd name="connsiteY15" fmla="*/ 118196 h 228338"/>
                  <a:gd name="connsiteX16" fmla="*/ 186629 w 250878"/>
                  <a:gd name="connsiteY16" fmla="*/ 124315 h 228338"/>
                  <a:gd name="connsiteX17" fmla="*/ 186629 w 250878"/>
                  <a:gd name="connsiteY17" fmla="*/ 136553 h 228338"/>
                  <a:gd name="connsiteX18" fmla="*/ 174391 w 250878"/>
                  <a:gd name="connsiteY18" fmla="*/ 194684 h 228338"/>
                  <a:gd name="connsiteX19" fmla="*/ 104022 w 250878"/>
                  <a:gd name="connsiteY19" fmla="*/ 228338 h 228338"/>
                  <a:gd name="connsiteX20" fmla="*/ 94844 w 250878"/>
                  <a:gd name="connsiteY20" fmla="*/ 222219 h 228338"/>
                  <a:gd name="connsiteX21" fmla="*/ 55071 w 250878"/>
                  <a:gd name="connsiteY21" fmla="*/ 60066 h 228338"/>
                  <a:gd name="connsiteX22" fmla="*/ 42833 w 250878"/>
                  <a:gd name="connsiteY22" fmla="*/ 63125 h 228338"/>
                  <a:gd name="connsiteX23" fmla="*/ 30595 w 250878"/>
                  <a:gd name="connsiteY23" fmla="*/ 81482 h 228338"/>
                  <a:gd name="connsiteX24" fmla="*/ 30595 w 250878"/>
                  <a:gd name="connsiteY24" fmla="*/ 87601 h 228338"/>
                  <a:gd name="connsiteX25" fmla="*/ 27535 w 250878"/>
                  <a:gd name="connsiteY25" fmla="*/ 90661 h 228338"/>
                  <a:gd name="connsiteX26" fmla="*/ 15297 w 250878"/>
                  <a:gd name="connsiteY26" fmla="*/ 112077 h 228338"/>
                  <a:gd name="connsiteX27" fmla="*/ 21416 w 250878"/>
                  <a:gd name="connsiteY27" fmla="*/ 130434 h 228338"/>
                  <a:gd name="connsiteX28" fmla="*/ 24476 w 250878"/>
                  <a:gd name="connsiteY28" fmla="*/ 133494 h 228338"/>
                  <a:gd name="connsiteX29" fmla="*/ 21416 w 250878"/>
                  <a:gd name="connsiteY29" fmla="*/ 136553 h 228338"/>
                  <a:gd name="connsiteX30" fmla="*/ 18357 w 250878"/>
                  <a:gd name="connsiteY30" fmla="*/ 154910 h 228338"/>
                  <a:gd name="connsiteX31" fmla="*/ 27535 w 250878"/>
                  <a:gd name="connsiteY31" fmla="*/ 170207 h 228338"/>
                  <a:gd name="connsiteX32" fmla="*/ 33654 w 250878"/>
                  <a:gd name="connsiteY32" fmla="*/ 173267 h 228338"/>
                  <a:gd name="connsiteX33" fmla="*/ 33654 w 250878"/>
                  <a:gd name="connsiteY33" fmla="*/ 176326 h 228338"/>
                  <a:gd name="connsiteX34" fmla="*/ 36714 w 250878"/>
                  <a:gd name="connsiteY34" fmla="*/ 191624 h 228338"/>
                  <a:gd name="connsiteX35" fmla="*/ 110141 w 250878"/>
                  <a:gd name="connsiteY35" fmla="*/ 209981 h 228338"/>
                  <a:gd name="connsiteX36" fmla="*/ 174391 w 250878"/>
                  <a:gd name="connsiteY36" fmla="*/ 182446 h 228338"/>
                  <a:gd name="connsiteX37" fmla="*/ 183569 w 250878"/>
                  <a:gd name="connsiteY37" fmla="*/ 133494 h 228338"/>
                  <a:gd name="connsiteX38" fmla="*/ 183569 w 250878"/>
                  <a:gd name="connsiteY38" fmla="*/ 121256 h 228338"/>
                  <a:gd name="connsiteX39" fmla="*/ 183569 w 250878"/>
                  <a:gd name="connsiteY39" fmla="*/ 118196 h 228338"/>
                  <a:gd name="connsiteX40" fmla="*/ 183569 w 250878"/>
                  <a:gd name="connsiteY40" fmla="*/ 115137 h 228338"/>
                  <a:gd name="connsiteX41" fmla="*/ 201926 w 250878"/>
                  <a:gd name="connsiteY41" fmla="*/ 66185 h 228338"/>
                  <a:gd name="connsiteX42" fmla="*/ 226402 w 250878"/>
                  <a:gd name="connsiteY42" fmla="*/ 47828 h 228338"/>
                  <a:gd name="connsiteX43" fmla="*/ 241700 w 250878"/>
                  <a:gd name="connsiteY43" fmla="*/ 38649 h 228338"/>
                  <a:gd name="connsiteX44" fmla="*/ 250878 w 250878"/>
                  <a:gd name="connsiteY44" fmla="*/ 23352 h 228338"/>
                  <a:gd name="connsiteX45" fmla="*/ 244759 w 250878"/>
                  <a:gd name="connsiteY45" fmla="*/ 14174 h 228338"/>
                  <a:gd name="connsiteX46" fmla="*/ 189688 w 250878"/>
                  <a:gd name="connsiteY46" fmla="*/ 29471 h 228338"/>
                  <a:gd name="connsiteX47" fmla="*/ 137677 w 250878"/>
                  <a:gd name="connsiteY47" fmla="*/ 87601 h 228338"/>
                  <a:gd name="connsiteX48" fmla="*/ 134617 w 250878"/>
                  <a:gd name="connsiteY48" fmla="*/ 93720 h 228338"/>
                  <a:gd name="connsiteX49" fmla="*/ 128498 w 250878"/>
                  <a:gd name="connsiteY49" fmla="*/ 90661 h 228338"/>
                  <a:gd name="connsiteX50" fmla="*/ 55071 w 250878"/>
                  <a:gd name="connsiteY50" fmla="*/ 60066 h 228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250878" h="228338">
                    <a:moveTo>
                      <a:pt x="94844" y="222219"/>
                    </a:moveTo>
                    <a:cubicBezTo>
                      <a:pt x="73428" y="222219"/>
                      <a:pt x="36714" y="216100"/>
                      <a:pt x="21416" y="200802"/>
                    </a:cubicBezTo>
                    <a:cubicBezTo>
                      <a:pt x="15297" y="194684"/>
                      <a:pt x="15297" y="185505"/>
                      <a:pt x="15297" y="179386"/>
                    </a:cubicBezTo>
                    <a:cubicBezTo>
                      <a:pt x="9179" y="173267"/>
                      <a:pt x="3059" y="167148"/>
                      <a:pt x="3059" y="157970"/>
                    </a:cubicBezTo>
                    <a:cubicBezTo>
                      <a:pt x="3059" y="148791"/>
                      <a:pt x="3059" y="142672"/>
                      <a:pt x="6119" y="136553"/>
                    </a:cubicBezTo>
                    <a:cubicBezTo>
                      <a:pt x="3059" y="130434"/>
                      <a:pt x="0" y="121256"/>
                      <a:pt x="0" y="112077"/>
                    </a:cubicBezTo>
                    <a:cubicBezTo>
                      <a:pt x="0" y="99839"/>
                      <a:pt x="6119" y="87601"/>
                      <a:pt x="15297" y="81482"/>
                    </a:cubicBezTo>
                    <a:cubicBezTo>
                      <a:pt x="15297" y="66185"/>
                      <a:pt x="21416" y="57006"/>
                      <a:pt x="36714" y="53947"/>
                    </a:cubicBezTo>
                    <a:cubicBezTo>
                      <a:pt x="64249" y="44769"/>
                      <a:pt x="94844" y="60066"/>
                      <a:pt x="119320" y="78423"/>
                    </a:cubicBezTo>
                    <a:cubicBezTo>
                      <a:pt x="131558" y="60066"/>
                      <a:pt x="146856" y="38649"/>
                      <a:pt x="171331" y="20293"/>
                    </a:cubicBezTo>
                    <a:cubicBezTo>
                      <a:pt x="189688" y="4995"/>
                      <a:pt x="217224" y="-7243"/>
                      <a:pt x="238640" y="4995"/>
                    </a:cubicBezTo>
                    <a:cubicBezTo>
                      <a:pt x="247818" y="11114"/>
                      <a:pt x="250878" y="17233"/>
                      <a:pt x="250878" y="23352"/>
                    </a:cubicBezTo>
                    <a:cubicBezTo>
                      <a:pt x="250878" y="32530"/>
                      <a:pt x="247818" y="41709"/>
                      <a:pt x="238640" y="47828"/>
                    </a:cubicBezTo>
                    <a:cubicBezTo>
                      <a:pt x="232521" y="50888"/>
                      <a:pt x="229462" y="57006"/>
                      <a:pt x="223343" y="60066"/>
                    </a:cubicBezTo>
                    <a:cubicBezTo>
                      <a:pt x="217224" y="66185"/>
                      <a:pt x="208045" y="69244"/>
                      <a:pt x="201926" y="75364"/>
                    </a:cubicBezTo>
                    <a:cubicBezTo>
                      <a:pt x="192748" y="87601"/>
                      <a:pt x="186629" y="99839"/>
                      <a:pt x="186629" y="118196"/>
                    </a:cubicBezTo>
                    <a:cubicBezTo>
                      <a:pt x="186629" y="118196"/>
                      <a:pt x="186629" y="121256"/>
                      <a:pt x="186629" y="124315"/>
                    </a:cubicBezTo>
                    <a:cubicBezTo>
                      <a:pt x="186629" y="127375"/>
                      <a:pt x="186629" y="130434"/>
                      <a:pt x="186629" y="136553"/>
                    </a:cubicBezTo>
                    <a:cubicBezTo>
                      <a:pt x="186629" y="154910"/>
                      <a:pt x="189688" y="179386"/>
                      <a:pt x="174391" y="194684"/>
                    </a:cubicBezTo>
                    <a:cubicBezTo>
                      <a:pt x="152975" y="219160"/>
                      <a:pt x="113201" y="225278"/>
                      <a:pt x="104022" y="228338"/>
                    </a:cubicBezTo>
                    <a:cubicBezTo>
                      <a:pt x="104022" y="222219"/>
                      <a:pt x="100963" y="222219"/>
                      <a:pt x="94844" y="222219"/>
                    </a:cubicBezTo>
                    <a:close/>
                    <a:moveTo>
                      <a:pt x="55071" y="60066"/>
                    </a:moveTo>
                    <a:cubicBezTo>
                      <a:pt x="48952" y="60066"/>
                      <a:pt x="45892" y="60066"/>
                      <a:pt x="42833" y="63125"/>
                    </a:cubicBezTo>
                    <a:cubicBezTo>
                      <a:pt x="33654" y="66185"/>
                      <a:pt x="27535" y="72304"/>
                      <a:pt x="30595" y="81482"/>
                    </a:cubicBezTo>
                    <a:lnTo>
                      <a:pt x="30595" y="87601"/>
                    </a:lnTo>
                    <a:lnTo>
                      <a:pt x="27535" y="90661"/>
                    </a:lnTo>
                    <a:cubicBezTo>
                      <a:pt x="21416" y="93720"/>
                      <a:pt x="15297" y="102899"/>
                      <a:pt x="15297" y="112077"/>
                    </a:cubicBezTo>
                    <a:cubicBezTo>
                      <a:pt x="15297" y="118196"/>
                      <a:pt x="18357" y="127375"/>
                      <a:pt x="21416" y="130434"/>
                    </a:cubicBezTo>
                    <a:lnTo>
                      <a:pt x="24476" y="133494"/>
                    </a:lnTo>
                    <a:lnTo>
                      <a:pt x="21416" y="136553"/>
                    </a:lnTo>
                    <a:cubicBezTo>
                      <a:pt x="18357" y="142672"/>
                      <a:pt x="15297" y="148791"/>
                      <a:pt x="18357" y="154910"/>
                    </a:cubicBezTo>
                    <a:cubicBezTo>
                      <a:pt x="18357" y="161029"/>
                      <a:pt x="21416" y="167148"/>
                      <a:pt x="27535" y="170207"/>
                    </a:cubicBezTo>
                    <a:lnTo>
                      <a:pt x="33654" y="173267"/>
                    </a:lnTo>
                    <a:lnTo>
                      <a:pt x="33654" y="176326"/>
                    </a:lnTo>
                    <a:cubicBezTo>
                      <a:pt x="30595" y="182446"/>
                      <a:pt x="33654" y="188565"/>
                      <a:pt x="36714" y="191624"/>
                    </a:cubicBezTo>
                    <a:cubicBezTo>
                      <a:pt x="48952" y="206921"/>
                      <a:pt x="91785" y="213041"/>
                      <a:pt x="110141" y="209981"/>
                    </a:cubicBezTo>
                    <a:cubicBezTo>
                      <a:pt x="137677" y="206921"/>
                      <a:pt x="162153" y="194684"/>
                      <a:pt x="174391" y="182446"/>
                    </a:cubicBezTo>
                    <a:cubicBezTo>
                      <a:pt x="186629" y="170207"/>
                      <a:pt x="183569" y="151851"/>
                      <a:pt x="183569" y="133494"/>
                    </a:cubicBezTo>
                    <a:cubicBezTo>
                      <a:pt x="183569" y="130434"/>
                      <a:pt x="183569" y="124315"/>
                      <a:pt x="183569" y="121256"/>
                    </a:cubicBezTo>
                    <a:lnTo>
                      <a:pt x="183569" y="118196"/>
                    </a:lnTo>
                    <a:lnTo>
                      <a:pt x="183569" y="115137"/>
                    </a:lnTo>
                    <a:cubicBezTo>
                      <a:pt x="183569" y="96780"/>
                      <a:pt x="189688" y="78423"/>
                      <a:pt x="201926" y="66185"/>
                    </a:cubicBezTo>
                    <a:cubicBezTo>
                      <a:pt x="208045" y="57006"/>
                      <a:pt x="217224" y="50888"/>
                      <a:pt x="226402" y="47828"/>
                    </a:cubicBezTo>
                    <a:cubicBezTo>
                      <a:pt x="229462" y="44769"/>
                      <a:pt x="235581" y="41709"/>
                      <a:pt x="241700" y="38649"/>
                    </a:cubicBezTo>
                    <a:cubicBezTo>
                      <a:pt x="247818" y="32530"/>
                      <a:pt x="250878" y="29471"/>
                      <a:pt x="250878" y="23352"/>
                    </a:cubicBezTo>
                    <a:cubicBezTo>
                      <a:pt x="250878" y="20293"/>
                      <a:pt x="247818" y="17233"/>
                      <a:pt x="244759" y="14174"/>
                    </a:cubicBezTo>
                    <a:cubicBezTo>
                      <a:pt x="226402" y="4995"/>
                      <a:pt x="201926" y="20293"/>
                      <a:pt x="189688" y="29471"/>
                    </a:cubicBezTo>
                    <a:cubicBezTo>
                      <a:pt x="165212" y="47828"/>
                      <a:pt x="149915" y="69244"/>
                      <a:pt x="137677" y="87601"/>
                    </a:cubicBezTo>
                    <a:lnTo>
                      <a:pt x="134617" y="93720"/>
                    </a:lnTo>
                    <a:lnTo>
                      <a:pt x="128498" y="90661"/>
                    </a:lnTo>
                    <a:cubicBezTo>
                      <a:pt x="100963" y="72304"/>
                      <a:pt x="76487" y="60066"/>
                      <a:pt x="55071" y="6006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717A56E0-6806-4525-9F52-494A2E3F0E19}"/>
                </a:ext>
              </a:extLst>
            </p:cNvPr>
            <p:cNvSpPr/>
            <p:nvPr/>
          </p:nvSpPr>
          <p:spPr>
            <a:xfrm>
              <a:off x="6911720" y="8744315"/>
              <a:ext cx="434136" cy="906504"/>
            </a:xfrm>
            <a:custGeom>
              <a:avLst/>
              <a:gdLst>
                <a:gd name="connsiteX0" fmla="*/ 107082 w 434136"/>
                <a:gd name="connsiteY0" fmla="*/ 9753 h 906504"/>
                <a:gd name="connsiteX1" fmla="*/ 422210 w 434136"/>
                <a:gd name="connsiteY1" fmla="*/ 618591 h 906504"/>
                <a:gd name="connsiteX2" fmla="*/ 361020 w 434136"/>
                <a:gd name="connsiteY2" fmla="*/ 903124 h 906504"/>
                <a:gd name="connsiteX3" fmla="*/ 0 w 434136"/>
                <a:gd name="connsiteY3" fmla="*/ 40347 h 906504"/>
                <a:gd name="connsiteX4" fmla="*/ 107082 w 434136"/>
                <a:gd name="connsiteY4" fmla="*/ 9753 h 906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4136" h="906504">
                  <a:moveTo>
                    <a:pt x="107082" y="9753"/>
                  </a:moveTo>
                  <a:cubicBezTo>
                    <a:pt x="107082" y="9753"/>
                    <a:pt x="351841" y="505390"/>
                    <a:pt x="422210" y="618591"/>
                  </a:cubicBezTo>
                  <a:cubicBezTo>
                    <a:pt x="422210" y="618591"/>
                    <a:pt x="474221" y="942897"/>
                    <a:pt x="361020" y="903124"/>
                  </a:cubicBezTo>
                  <a:cubicBezTo>
                    <a:pt x="247819" y="863350"/>
                    <a:pt x="0" y="40347"/>
                    <a:pt x="0" y="40347"/>
                  </a:cubicBezTo>
                  <a:cubicBezTo>
                    <a:pt x="0" y="40347"/>
                    <a:pt x="61190" y="-23902"/>
                    <a:pt x="107082" y="9753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8" name="图形 892">
              <a:extLst>
                <a:ext uri="{FF2B5EF4-FFF2-40B4-BE49-F238E27FC236}">
                  <a16:creationId xmlns:a16="http://schemas.microsoft.com/office/drawing/2014/main" id="{AF4CF89B-99C6-4941-96F7-49CEC0976839}"/>
                </a:ext>
              </a:extLst>
            </p:cNvPr>
            <p:cNvGrpSpPr/>
            <p:nvPr/>
          </p:nvGrpSpPr>
          <p:grpSpPr>
            <a:xfrm>
              <a:off x="7127673" y="9522000"/>
              <a:ext cx="288863" cy="178361"/>
              <a:chOff x="7127673" y="9522000"/>
              <a:chExt cx="288863" cy="178361"/>
            </a:xfrm>
          </p:grpSpPr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6C98E2F3-E0AD-42EE-8488-76BE029616E1}"/>
                  </a:ext>
                </a:extLst>
              </p:cNvPr>
              <p:cNvSpPr/>
              <p:nvPr/>
            </p:nvSpPr>
            <p:spPr>
              <a:xfrm>
                <a:off x="7127673" y="9522000"/>
                <a:ext cx="285804" cy="178361"/>
              </a:xfrm>
              <a:custGeom>
                <a:avLst/>
                <a:gdLst>
                  <a:gd name="connsiteX0" fmla="*/ 16569 w 285804"/>
                  <a:gd name="connsiteY0" fmla="*/ 149915 h 178361"/>
                  <a:gd name="connsiteX1" fmla="*/ 22688 w 285804"/>
                  <a:gd name="connsiteY1" fmla="*/ 159093 h 178361"/>
                  <a:gd name="connsiteX2" fmla="*/ 169544 w 285804"/>
                  <a:gd name="connsiteY2" fmla="*/ 171332 h 178361"/>
                  <a:gd name="connsiteX3" fmla="*/ 276626 w 285804"/>
                  <a:gd name="connsiteY3" fmla="*/ 104022 h 178361"/>
                  <a:gd name="connsiteX4" fmla="*/ 264388 w 285804"/>
                  <a:gd name="connsiteY4" fmla="*/ 94844 h 178361"/>
                  <a:gd name="connsiteX5" fmla="*/ 230733 w 285804"/>
                  <a:gd name="connsiteY5" fmla="*/ 107082 h 178361"/>
                  <a:gd name="connsiteX6" fmla="*/ 267447 w 285804"/>
                  <a:gd name="connsiteY6" fmla="*/ 82606 h 178361"/>
                  <a:gd name="connsiteX7" fmla="*/ 285804 w 285804"/>
                  <a:gd name="connsiteY7" fmla="*/ 58130 h 178361"/>
                  <a:gd name="connsiteX8" fmla="*/ 273566 w 285804"/>
                  <a:gd name="connsiteY8" fmla="*/ 48952 h 178361"/>
                  <a:gd name="connsiteX9" fmla="*/ 276626 w 285804"/>
                  <a:gd name="connsiteY9" fmla="*/ 45892 h 178361"/>
                  <a:gd name="connsiteX10" fmla="*/ 258269 w 285804"/>
                  <a:gd name="connsiteY10" fmla="*/ 36714 h 178361"/>
                  <a:gd name="connsiteX11" fmla="*/ 135889 w 285804"/>
                  <a:gd name="connsiteY11" fmla="*/ 39773 h 178361"/>
                  <a:gd name="connsiteX12" fmla="*/ 184841 w 285804"/>
                  <a:gd name="connsiteY12" fmla="*/ 18357 h 178361"/>
                  <a:gd name="connsiteX13" fmla="*/ 154246 w 285804"/>
                  <a:gd name="connsiteY13" fmla="*/ 0 h 178361"/>
                  <a:gd name="connsiteX14" fmla="*/ 99175 w 285804"/>
                  <a:gd name="connsiteY14" fmla="*/ 12238 h 178361"/>
                  <a:gd name="connsiteX15" fmla="*/ 31867 w 285804"/>
                  <a:gd name="connsiteY15" fmla="*/ 45892 h 178361"/>
                  <a:gd name="connsiteX16" fmla="*/ 16569 w 285804"/>
                  <a:gd name="connsiteY16" fmla="*/ 149915 h 178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5804" h="178361">
                    <a:moveTo>
                      <a:pt x="16569" y="149915"/>
                    </a:moveTo>
                    <a:cubicBezTo>
                      <a:pt x="16569" y="152975"/>
                      <a:pt x="16569" y="159093"/>
                      <a:pt x="22688" y="159093"/>
                    </a:cubicBezTo>
                    <a:cubicBezTo>
                      <a:pt x="62462" y="174390"/>
                      <a:pt x="126711" y="186629"/>
                      <a:pt x="169544" y="171332"/>
                    </a:cubicBezTo>
                    <a:cubicBezTo>
                      <a:pt x="200139" y="162153"/>
                      <a:pt x="279686" y="119320"/>
                      <a:pt x="276626" y="104022"/>
                    </a:cubicBezTo>
                    <a:cubicBezTo>
                      <a:pt x="276626" y="100963"/>
                      <a:pt x="270507" y="94844"/>
                      <a:pt x="264388" y="94844"/>
                    </a:cubicBezTo>
                    <a:cubicBezTo>
                      <a:pt x="258269" y="91785"/>
                      <a:pt x="236852" y="107082"/>
                      <a:pt x="230733" y="107082"/>
                    </a:cubicBezTo>
                    <a:cubicBezTo>
                      <a:pt x="242971" y="97903"/>
                      <a:pt x="258269" y="91785"/>
                      <a:pt x="267447" y="82606"/>
                    </a:cubicBezTo>
                    <a:cubicBezTo>
                      <a:pt x="276626" y="73428"/>
                      <a:pt x="285804" y="64249"/>
                      <a:pt x="285804" y="58130"/>
                    </a:cubicBezTo>
                    <a:cubicBezTo>
                      <a:pt x="285804" y="45892"/>
                      <a:pt x="279686" y="48952"/>
                      <a:pt x="273566" y="48952"/>
                    </a:cubicBezTo>
                    <a:cubicBezTo>
                      <a:pt x="273566" y="48952"/>
                      <a:pt x="276626" y="45892"/>
                      <a:pt x="276626" y="45892"/>
                    </a:cubicBezTo>
                    <a:cubicBezTo>
                      <a:pt x="279686" y="42833"/>
                      <a:pt x="261328" y="39773"/>
                      <a:pt x="258269" y="36714"/>
                    </a:cubicBezTo>
                    <a:cubicBezTo>
                      <a:pt x="242971" y="18357"/>
                      <a:pt x="163425" y="67308"/>
                      <a:pt x="135889" y="39773"/>
                    </a:cubicBezTo>
                    <a:cubicBezTo>
                      <a:pt x="138949" y="33654"/>
                      <a:pt x="187901" y="27535"/>
                      <a:pt x="184841" y="18357"/>
                    </a:cubicBezTo>
                    <a:cubicBezTo>
                      <a:pt x="184841" y="12238"/>
                      <a:pt x="160365" y="0"/>
                      <a:pt x="154246" y="0"/>
                    </a:cubicBezTo>
                    <a:cubicBezTo>
                      <a:pt x="120592" y="3059"/>
                      <a:pt x="126711" y="0"/>
                      <a:pt x="99175" y="12238"/>
                    </a:cubicBezTo>
                    <a:cubicBezTo>
                      <a:pt x="77759" y="24476"/>
                      <a:pt x="56343" y="36714"/>
                      <a:pt x="31867" y="45892"/>
                    </a:cubicBezTo>
                    <a:cubicBezTo>
                      <a:pt x="-10966" y="64249"/>
                      <a:pt x="-4847" y="116260"/>
                      <a:pt x="16569" y="149915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CECDCFBF-CC9E-40C2-8D50-E13F9BFF9DB8}"/>
                  </a:ext>
                </a:extLst>
              </p:cNvPr>
              <p:cNvSpPr/>
              <p:nvPr/>
            </p:nvSpPr>
            <p:spPr>
              <a:xfrm>
                <a:off x="7294157" y="9557975"/>
                <a:ext cx="122379" cy="101702"/>
              </a:xfrm>
              <a:custGeom>
                <a:avLst/>
                <a:gdLst>
                  <a:gd name="connsiteX0" fmla="*/ 30595 w 122379"/>
                  <a:gd name="connsiteY0" fmla="*/ 101702 h 101702"/>
                  <a:gd name="connsiteX1" fmla="*/ 24476 w 122379"/>
                  <a:gd name="connsiteY1" fmla="*/ 98642 h 101702"/>
                  <a:gd name="connsiteX2" fmla="*/ 27536 w 122379"/>
                  <a:gd name="connsiteY2" fmla="*/ 89464 h 101702"/>
                  <a:gd name="connsiteX3" fmla="*/ 94844 w 122379"/>
                  <a:gd name="connsiteY3" fmla="*/ 43572 h 101702"/>
                  <a:gd name="connsiteX4" fmla="*/ 113202 w 122379"/>
                  <a:gd name="connsiteY4" fmla="*/ 19095 h 101702"/>
                  <a:gd name="connsiteX5" fmla="*/ 110142 w 122379"/>
                  <a:gd name="connsiteY5" fmla="*/ 12977 h 101702"/>
                  <a:gd name="connsiteX6" fmla="*/ 82607 w 122379"/>
                  <a:gd name="connsiteY6" fmla="*/ 34393 h 101702"/>
                  <a:gd name="connsiteX7" fmla="*/ 6119 w 122379"/>
                  <a:gd name="connsiteY7" fmla="*/ 86405 h 101702"/>
                  <a:gd name="connsiteX8" fmla="*/ 0 w 122379"/>
                  <a:gd name="connsiteY8" fmla="*/ 83345 h 101702"/>
                  <a:gd name="connsiteX9" fmla="*/ 3060 w 122379"/>
                  <a:gd name="connsiteY9" fmla="*/ 77226 h 101702"/>
                  <a:gd name="connsiteX10" fmla="*/ 73428 w 122379"/>
                  <a:gd name="connsiteY10" fmla="*/ 25215 h 101702"/>
                  <a:gd name="connsiteX11" fmla="*/ 113202 w 122379"/>
                  <a:gd name="connsiteY11" fmla="*/ 739 h 101702"/>
                  <a:gd name="connsiteX12" fmla="*/ 122380 w 122379"/>
                  <a:gd name="connsiteY12" fmla="*/ 16036 h 101702"/>
                  <a:gd name="connsiteX13" fmla="*/ 100963 w 122379"/>
                  <a:gd name="connsiteY13" fmla="*/ 49690 h 101702"/>
                  <a:gd name="connsiteX14" fmla="*/ 33655 w 122379"/>
                  <a:gd name="connsiteY14" fmla="*/ 98642 h 101702"/>
                  <a:gd name="connsiteX15" fmla="*/ 30595 w 122379"/>
                  <a:gd name="connsiteY15" fmla="*/ 101702 h 101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79" h="101702">
                    <a:moveTo>
                      <a:pt x="30595" y="101702"/>
                    </a:moveTo>
                    <a:cubicBezTo>
                      <a:pt x="27536" y="101702"/>
                      <a:pt x="27536" y="101702"/>
                      <a:pt x="24476" y="98642"/>
                    </a:cubicBezTo>
                    <a:cubicBezTo>
                      <a:pt x="21417" y="95583"/>
                      <a:pt x="24476" y="92523"/>
                      <a:pt x="27536" y="89464"/>
                    </a:cubicBezTo>
                    <a:cubicBezTo>
                      <a:pt x="27536" y="89464"/>
                      <a:pt x="76487" y="58869"/>
                      <a:pt x="94844" y="43572"/>
                    </a:cubicBezTo>
                    <a:cubicBezTo>
                      <a:pt x="100963" y="37453"/>
                      <a:pt x="113202" y="25215"/>
                      <a:pt x="113202" y="19095"/>
                    </a:cubicBezTo>
                    <a:cubicBezTo>
                      <a:pt x="113202" y="19095"/>
                      <a:pt x="113202" y="16036"/>
                      <a:pt x="110142" y="12977"/>
                    </a:cubicBezTo>
                    <a:cubicBezTo>
                      <a:pt x="104023" y="16036"/>
                      <a:pt x="94844" y="25215"/>
                      <a:pt x="82607" y="34393"/>
                    </a:cubicBezTo>
                    <a:cubicBezTo>
                      <a:pt x="58131" y="55810"/>
                      <a:pt x="30595" y="83345"/>
                      <a:pt x="6119" y="86405"/>
                    </a:cubicBezTo>
                    <a:cubicBezTo>
                      <a:pt x="3060" y="86405"/>
                      <a:pt x="0" y="86405"/>
                      <a:pt x="0" y="83345"/>
                    </a:cubicBezTo>
                    <a:cubicBezTo>
                      <a:pt x="0" y="80285"/>
                      <a:pt x="0" y="77226"/>
                      <a:pt x="3060" y="77226"/>
                    </a:cubicBezTo>
                    <a:cubicBezTo>
                      <a:pt x="21417" y="71107"/>
                      <a:pt x="52012" y="46631"/>
                      <a:pt x="73428" y="25215"/>
                    </a:cubicBezTo>
                    <a:cubicBezTo>
                      <a:pt x="97904" y="3798"/>
                      <a:pt x="107082" y="-2321"/>
                      <a:pt x="113202" y="739"/>
                    </a:cubicBezTo>
                    <a:cubicBezTo>
                      <a:pt x="119320" y="3798"/>
                      <a:pt x="122380" y="9917"/>
                      <a:pt x="122380" y="16036"/>
                    </a:cubicBezTo>
                    <a:cubicBezTo>
                      <a:pt x="122380" y="28274"/>
                      <a:pt x="113202" y="40512"/>
                      <a:pt x="100963" y="49690"/>
                    </a:cubicBezTo>
                    <a:cubicBezTo>
                      <a:pt x="82607" y="68047"/>
                      <a:pt x="33655" y="95583"/>
                      <a:pt x="33655" y="98642"/>
                    </a:cubicBezTo>
                    <a:cubicBezTo>
                      <a:pt x="33655" y="101702"/>
                      <a:pt x="30595" y="101702"/>
                      <a:pt x="30595" y="10170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F6EBCDCE-7393-4C16-8405-5E93C133698B}"/>
                  </a:ext>
                </a:extLst>
              </p:cNvPr>
              <p:cNvSpPr/>
              <p:nvPr/>
            </p:nvSpPr>
            <p:spPr>
              <a:xfrm>
                <a:off x="7240878" y="9549535"/>
                <a:ext cx="161125" cy="61189"/>
              </a:xfrm>
              <a:custGeom>
                <a:avLst/>
                <a:gdLst>
                  <a:gd name="connsiteX0" fmla="*/ 31862 w 161125"/>
                  <a:gd name="connsiteY0" fmla="*/ 58130 h 61189"/>
                  <a:gd name="connsiteX1" fmla="*/ 4327 w 161125"/>
                  <a:gd name="connsiteY1" fmla="*/ 55070 h 61189"/>
                  <a:gd name="connsiteX2" fmla="*/ 1267 w 161125"/>
                  <a:gd name="connsiteY2" fmla="*/ 48952 h 61189"/>
                  <a:gd name="connsiteX3" fmla="*/ 7386 w 161125"/>
                  <a:gd name="connsiteY3" fmla="*/ 45892 h 61189"/>
                  <a:gd name="connsiteX4" fmla="*/ 37981 w 161125"/>
                  <a:gd name="connsiteY4" fmla="*/ 48952 h 61189"/>
                  <a:gd name="connsiteX5" fmla="*/ 96112 w 161125"/>
                  <a:gd name="connsiteY5" fmla="*/ 18357 h 61189"/>
                  <a:gd name="connsiteX6" fmla="*/ 135885 w 161125"/>
                  <a:gd name="connsiteY6" fmla="*/ 0 h 61189"/>
                  <a:gd name="connsiteX7" fmla="*/ 135885 w 161125"/>
                  <a:gd name="connsiteY7" fmla="*/ 0 h 61189"/>
                  <a:gd name="connsiteX8" fmla="*/ 157301 w 161125"/>
                  <a:gd name="connsiteY8" fmla="*/ 9179 h 61189"/>
                  <a:gd name="connsiteX9" fmla="*/ 160361 w 161125"/>
                  <a:gd name="connsiteY9" fmla="*/ 24476 h 61189"/>
                  <a:gd name="connsiteX10" fmla="*/ 154242 w 161125"/>
                  <a:gd name="connsiteY10" fmla="*/ 27535 h 61189"/>
                  <a:gd name="connsiteX11" fmla="*/ 151182 w 161125"/>
                  <a:gd name="connsiteY11" fmla="*/ 21416 h 61189"/>
                  <a:gd name="connsiteX12" fmla="*/ 151182 w 161125"/>
                  <a:gd name="connsiteY12" fmla="*/ 15297 h 61189"/>
                  <a:gd name="connsiteX13" fmla="*/ 138944 w 161125"/>
                  <a:gd name="connsiteY13" fmla="*/ 12238 h 61189"/>
                  <a:gd name="connsiteX14" fmla="*/ 138944 w 161125"/>
                  <a:gd name="connsiteY14" fmla="*/ 12238 h 61189"/>
                  <a:gd name="connsiteX15" fmla="*/ 108349 w 161125"/>
                  <a:gd name="connsiteY15" fmla="*/ 27535 h 61189"/>
                  <a:gd name="connsiteX16" fmla="*/ 44100 w 161125"/>
                  <a:gd name="connsiteY16" fmla="*/ 61190 h 61189"/>
                  <a:gd name="connsiteX17" fmla="*/ 31862 w 161125"/>
                  <a:gd name="connsiteY17" fmla="*/ 58130 h 6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1125" h="61189">
                    <a:moveTo>
                      <a:pt x="31862" y="58130"/>
                    </a:moveTo>
                    <a:cubicBezTo>
                      <a:pt x="19624" y="58130"/>
                      <a:pt x="4327" y="55070"/>
                      <a:pt x="4327" y="55070"/>
                    </a:cubicBezTo>
                    <a:cubicBezTo>
                      <a:pt x="1267" y="55070"/>
                      <a:pt x="-1792" y="52012"/>
                      <a:pt x="1267" y="48952"/>
                    </a:cubicBezTo>
                    <a:cubicBezTo>
                      <a:pt x="1267" y="45892"/>
                      <a:pt x="4327" y="42833"/>
                      <a:pt x="7386" y="45892"/>
                    </a:cubicBezTo>
                    <a:cubicBezTo>
                      <a:pt x="13505" y="48952"/>
                      <a:pt x="28803" y="52012"/>
                      <a:pt x="37981" y="48952"/>
                    </a:cubicBezTo>
                    <a:cubicBezTo>
                      <a:pt x="62457" y="42833"/>
                      <a:pt x="80814" y="30595"/>
                      <a:pt x="96112" y="18357"/>
                    </a:cubicBezTo>
                    <a:cubicBezTo>
                      <a:pt x="111409" y="9179"/>
                      <a:pt x="123647" y="0"/>
                      <a:pt x="135885" y="0"/>
                    </a:cubicBezTo>
                    <a:cubicBezTo>
                      <a:pt x="135885" y="0"/>
                      <a:pt x="135885" y="0"/>
                      <a:pt x="135885" y="0"/>
                    </a:cubicBezTo>
                    <a:cubicBezTo>
                      <a:pt x="145063" y="0"/>
                      <a:pt x="151182" y="3060"/>
                      <a:pt x="157301" y="9179"/>
                    </a:cubicBezTo>
                    <a:cubicBezTo>
                      <a:pt x="163420" y="15297"/>
                      <a:pt x="160361" y="24476"/>
                      <a:pt x="160361" y="24476"/>
                    </a:cubicBezTo>
                    <a:cubicBezTo>
                      <a:pt x="160361" y="27535"/>
                      <a:pt x="157301" y="30595"/>
                      <a:pt x="154242" y="27535"/>
                    </a:cubicBezTo>
                    <a:cubicBezTo>
                      <a:pt x="151182" y="27535"/>
                      <a:pt x="148123" y="24476"/>
                      <a:pt x="151182" y="21416"/>
                    </a:cubicBezTo>
                    <a:cubicBezTo>
                      <a:pt x="151182" y="21416"/>
                      <a:pt x="151182" y="18357"/>
                      <a:pt x="151182" y="15297"/>
                    </a:cubicBezTo>
                    <a:cubicBezTo>
                      <a:pt x="148123" y="12238"/>
                      <a:pt x="145063" y="12238"/>
                      <a:pt x="138944" y="12238"/>
                    </a:cubicBezTo>
                    <a:cubicBezTo>
                      <a:pt x="138944" y="12238"/>
                      <a:pt x="138944" y="12238"/>
                      <a:pt x="138944" y="12238"/>
                    </a:cubicBezTo>
                    <a:cubicBezTo>
                      <a:pt x="129766" y="12238"/>
                      <a:pt x="120588" y="21416"/>
                      <a:pt x="108349" y="27535"/>
                    </a:cubicBezTo>
                    <a:cubicBezTo>
                      <a:pt x="93052" y="39773"/>
                      <a:pt x="71636" y="55070"/>
                      <a:pt x="44100" y="61190"/>
                    </a:cubicBezTo>
                    <a:cubicBezTo>
                      <a:pt x="37981" y="58130"/>
                      <a:pt x="34922" y="58130"/>
                      <a:pt x="31862" y="5813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E7C1F251-96A4-4EA0-967D-26F4856E76C8}"/>
                </a:ext>
              </a:extLst>
            </p:cNvPr>
            <p:cNvSpPr/>
            <p:nvPr/>
          </p:nvSpPr>
          <p:spPr>
            <a:xfrm>
              <a:off x="7161332" y="9512821"/>
              <a:ext cx="155509" cy="91784"/>
            </a:xfrm>
            <a:custGeom>
              <a:avLst/>
              <a:gdLst>
                <a:gd name="connsiteX0" fmla="*/ 83874 w 155509"/>
                <a:gd name="connsiteY0" fmla="*/ 91784 h 91784"/>
                <a:gd name="connsiteX1" fmla="*/ 80814 w 155509"/>
                <a:gd name="connsiteY1" fmla="*/ 91784 h 91784"/>
                <a:gd name="connsiteX2" fmla="*/ 80814 w 155509"/>
                <a:gd name="connsiteY2" fmla="*/ 82606 h 91784"/>
                <a:gd name="connsiteX3" fmla="*/ 86933 w 155509"/>
                <a:gd name="connsiteY3" fmla="*/ 67309 h 91784"/>
                <a:gd name="connsiteX4" fmla="*/ 108350 w 155509"/>
                <a:gd name="connsiteY4" fmla="*/ 39773 h 91784"/>
                <a:gd name="connsiteX5" fmla="*/ 126706 w 155509"/>
                <a:gd name="connsiteY5" fmla="*/ 36714 h 91784"/>
                <a:gd name="connsiteX6" fmla="*/ 148123 w 155509"/>
                <a:gd name="connsiteY6" fmla="*/ 30595 h 91784"/>
                <a:gd name="connsiteX7" fmla="*/ 145063 w 155509"/>
                <a:gd name="connsiteY7" fmla="*/ 24476 h 91784"/>
                <a:gd name="connsiteX8" fmla="*/ 96111 w 155509"/>
                <a:gd name="connsiteY8" fmla="*/ 15297 h 91784"/>
                <a:gd name="connsiteX9" fmla="*/ 10445 w 155509"/>
                <a:gd name="connsiteY9" fmla="*/ 58130 h 91784"/>
                <a:gd name="connsiteX10" fmla="*/ 1267 w 155509"/>
                <a:gd name="connsiteY10" fmla="*/ 55071 h 91784"/>
                <a:gd name="connsiteX11" fmla="*/ 4327 w 155509"/>
                <a:gd name="connsiteY11" fmla="*/ 45892 h 91784"/>
                <a:gd name="connsiteX12" fmla="*/ 93052 w 155509"/>
                <a:gd name="connsiteY12" fmla="*/ 0 h 91784"/>
                <a:gd name="connsiteX13" fmla="*/ 151182 w 155509"/>
                <a:gd name="connsiteY13" fmla="*/ 15297 h 91784"/>
                <a:gd name="connsiteX14" fmla="*/ 154242 w 155509"/>
                <a:gd name="connsiteY14" fmla="*/ 33654 h 91784"/>
                <a:gd name="connsiteX15" fmla="*/ 123647 w 155509"/>
                <a:gd name="connsiteY15" fmla="*/ 48952 h 91784"/>
                <a:gd name="connsiteX16" fmla="*/ 108350 w 155509"/>
                <a:gd name="connsiteY16" fmla="*/ 52011 h 91784"/>
                <a:gd name="connsiteX17" fmla="*/ 93052 w 155509"/>
                <a:gd name="connsiteY17" fmla="*/ 73428 h 91784"/>
                <a:gd name="connsiteX18" fmla="*/ 83874 w 155509"/>
                <a:gd name="connsiteY18" fmla="*/ 88725 h 91784"/>
                <a:gd name="connsiteX19" fmla="*/ 83874 w 155509"/>
                <a:gd name="connsiteY19" fmla="*/ 91784 h 9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5509" h="91784">
                  <a:moveTo>
                    <a:pt x="83874" y="91784"/>
                  </a:moveTo>
                  <a:cubicBezTo>
                    <a:pt x="83874" y="91784"/>
                    <a:pt x="80814" y="91784"/>
                    <a:pt x="80814" y="91784"/>
                  </a:cubicBezTo>
                  <a:cubicBezTo>
                    <a:pt x="77755" y="88725"/>
                    <a:pt x="77755" y="85666"/>
                    <a:pt x="80814" y="82606"/>
                  </a:cubicBezTo>
                  <a:cubicBezTo>
                    <a:pt x="83874" y="79546"/>
                    <a:pt x="86933" y="73428"/>
                    <a:pt x="86933" y="67309"/>
                  </a:cubicBezTo>
                  <a:cubicBezTo>
                    <a:pt x="93052" y="55071"/>
                    <a:pt x="96111" y="45892"/>
                    <a:pt x="108350" y="39773"/>
                  </a:cubicBezTo>
                  <a:cubicBezTo>
                    <a:pt x="114468" y="36714"/>
                    <a:pt x="120587" y="36714"/>
                    <a:pt x="126706" y="36714"/>
                  </a:cubicBezTo>
                  <a:cubicBezTo>
                    <a:pt x="132825" y="36714"/>
                    <a:pt x="148123" y="33654"/>
                    <a:pt x="148123" y="30595"/>
                  </a:cubicBezTo>
                  <a:cubicBezTo>
                    <a:pt x="148123" y="27535"/>
                    <a:pt x="148123" y="27535"/>
                    <a:pt x="145063" y="24476"/>
                  </a:cubicBezTo>
                  <a:cubicBezTo>
                    <a:pt x="138944" y="15297"/>
                    <a:pt x="114468" y="12238"/>
                    <a:pt x="96111" y="15297"/>
                  </a:cubicBezTo>
                  <a:cubicBezTo>
                    <a:pt x="80814" y="15297"/>
                    <a:pt x="28803" y="45892"/>
                    <a:pt x="10445" y="58130"/>
                  </a:cubicBezTo>
                  <a:cubicBezTo>
                    <a:pt x="7386" y="61190"/>
                    <a:pt x="4327" y="58130"/>
                    <a:pt x="1267" y="55071"/>
                  </a:cubicBezTo>
                  <a:cubicBezTo>
                    <a:pt x="-1792" y="52011"/>
                    <a:pt x="1267" y="48952"/>
                    <a:pt x="4327" y="45892"/>
                  </a:cubicBezTo>
                  <a:cubicBezTo>
                    <a:pt x="10445" y="42833"/>
                    <a:pt x="71635" y="3059"/>
                    <a:pt x="93052" y="0"/>
                  </a:cubicBezTo>
                  <a:cubicBezTo>
                    <a:pt x="108350" y="0"/>
                    <a:pt x="138944" y="0"/>
                    <a:pt x="151182" y="15297"/>
                  </a:cubicBezTo>
                  <a:cubicBezTo>
                    <a:pt x="154242" y="21416"/>
                    <a:pt x="157301" y="27535"/>
                    <a:pt x="154242" y="33654"/>
                  </a:cubicBezTo>
                  <a:cubicBezTo>
                    <a:pt x="151182" y="45892"/>
                    <a:pt x="135885" y="45892"/>
                    <a:pt x="123647" y="48952"/>
                  </a:cubicBezTo>
                  <a:cubicBezTo>
                    <a:pt x="117528" y="48952"/>
                    <a:pt x="111409" y="52011"/>
                    <a:pt x="108350" y="52011"/>
                  </a:cubicBezTo>
                  <a:cubicBezTo>
                    <a:pt x="102230" y="55071"/>
                    <a:pt x="99171" y="64249"/>
                    <a:pt x="93052" y="73428"/>
                  </a:cubicBezTo>
                  <a:cubicBezTo>
                    <a:pt x="89992" y="79546"/>
                    <a:pt x="86933" y="85666"/>
                    <a:pt x="83874" y="88725"/>
                  </a:cubicBezTo>
                  <a:cubicBezTo>
                    <a:pt x="86933" y="91784"/>
                    <a:pt x="86933" y="91784"/>
                    <a:pt x="83874" y="91784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310F8C9E-27AC-4744-AE7C-0BF46BEA9EFA}"/>
                </a:ext>
              </a:extLst>
            </p:cNvPr>
            <p:cNvSpPr/>
            <p:nvPr/>
          </p:nvSpPr>
          <p:spPr>
            <a:xfrm>
              <a:off x="6416083" y="9852425"/>
              <a:ext cx="180510" cy="189688"/>
            </a:xfrm>
            <a:custGeom>
              <a:avLst/>
              <a:gdLst>
                <a:gd name="connsiteX0" fmla="*/ 6119 w 180510"/>
                <a:gd name="connsiteY0" fmla="*/ 189689 h 189688"/>
                <a:gd name="connsiteX1" fmla="*/ 0 w 180510"/>
                <a:gd name="connsiteY1" fmla="*/ 186629 h 189688"/>
                <a:gd name="connsiteX2" fmla="*/ 3060 w 180510"/>
                <a:gd name="connsiteY2" fmla="*/ 180510 h 189688"/>
                <a:gd name="connsiteX3" fmla="*/ 171332 w 180510"/>
                <a:gd name="connsiteY3" fmla="*/ 3060 h 189688"/>
                <a:gd name="connsiteX4" fmla="*/ 177451 w 180510"/>
                <a:gd name="connsiteY4" fmla="*/ 0 h 189688"/>
                <a:gd name="connsiteX5" fmla="*/ 180510 w 180510"/>
                <a:gd name="connsiteY5" fmla="*/ 6119 h 189688"/>
                <a:gd name="connsiteX6" fmla="*/ 6119 w 180510"/>
                <a:gd name="connsiteY6" fmla="*/ 189689 h 189688"/>
                <a:gd name="connsiteX7" fmla="*/ 6119 w 180510"/>
                <a:gd name="connsiteY7" fmla="*/ 189689 h 189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510" h="189688">
                  <a:moveTo>
                    <a:pt x="6119" y="189689"/>
                  </a:moveTo>
                  <a:cubicBezTo>
                    <a:pt x="3060" y="189689"/>
                    <a:pt x="0" y="186629"/>
                    <a:pt x="0" y="186629"/>
                  </a:cubicBezTo>
                  <a:cubicBezTo>
                    <a:pt x="0" y="183569"/>
                    <a:pt x="0" y="180510"/>
                    <a:pt x="3060" y="180510"/>
                  </a:cubicBezTo>
                  <a:cubicBezTo>
                    <a:pt x="116261" y="149915"/>
                    <a:pt x="168272" y="6119"/>
                    <a:pt x="171332" y="3060"/>
                  </a:cubicBezTo>
                  <a:cubicBezTo>
                    <a:pt x="171332" y="0"/>
                    <a:pt x="174391" y="0"/>
                    <a:pt x="177451" y="0"/>
                  </a:cubicBezTo>
                  <a:cubicBezTo>
                    <a:pt x="180510" y="0"/>
                    <a:pt x="180510" y="3060"/>
                    <a:pt x="180510" y="6119"/>
                  </a:cubicBezTo>
                  <a:cubicBezTo>
                    <a:pt x="180510" y="12238"/>
                    <a:pt x="125439" y="156034"/>
                    <a:pt x="6119" y="189689"/>
                  </a:cubicBezTo>
                  <a:cubicBezTo>
                    <a:pt x="6119" y="189689"/>
                    <a:pt x="6119" y="189689"/>
                    <a:pt x="6119" y="189689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6CE1052C-95DA-4B0F-AD01-68466FFA3FF2}"/>
                </a:ext>
              </a:extLst>
            </p:cNvPr>
            <p:cNvSpPr/>
            <p:nvPr/>
          </p:nvSpPr>
          <p:spPr>
            <a:xfrm>
              <a:off x="7147301" y="9852425"/>
              <a:ext cx="171331" cy="192748"/>
            </a:xfrm>
            <a:custGeom>
              <a:avLst/>
              <a:gdLst>
                <a:gd name="connsiteX0" fmla="*/ 168272 w 171331"/>
                <a:gd name="connsiteY0" fmla="*/ 192748 h 192748"/>
                <a:gd name="connsiteX1" fmla="*/ 168272 w 171331"/>
                <a:gd name="connsiteY1" fmla="*/ 192748 h 192748"/>
                <a:gd name="connsiteX2" fmla="*/ 0 w 171331"/>
                <a:gd name="connsiteY2" fmla="*/ 6119 h 192748"/>
                <a:gd name="connsiteX3" fmla="*/ 3059 w 171331"/>
                <a:gd name="connsiteY3" fmla="*/ 0 h 192748"/>
                <a:gd name="connsiteX4" fmla="*/ 9178 w 171331"/>
                <a:gd name="connsiteY4" fmla="*/ 3060 h 192748"/>
                <a:gd name="connsiteX5" fmla="*/ 168272 w 171331"/>
                <a:gd name="connsiteY5" fmla="*/ 183569 h 192748"/>
                <a:gd name="connsiteX6" fmla="*/ 171331 w 171331"/>
                <a:gd name="connsiteY6" fmla="*/ 189689 h 192748"/>
                <a:gd name="connsiteX7" fmla="*/ 168272 w 171331"/>
                <a:gd name="connsiteY7" fmla="*/ 192748 h 192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331" h="192748">
                  <a:moveTo>
                    <a:pt x="168272" y="192748"/>
                  </a:moveTo>
                  <a:cubicBezTo>
                    <a:pt x="168272" y="192748"/>
                    <a:pt x="165212" y="192748"/>
                    <a:pt x="168272" y="192748"/>
                  </a:cubicBezTo>
                  <a:cubicBezTo>
                    <a:pt x="85665" y="159094"/>
                    <a:pt x="3059" y="12238"/>
                    <a:pt x="0" y="6119"/>
                  </a:cubicBezTo>
                  <a:cubicBezTo>
                    <a:pt x="0" y="3060"/>
                    <a:pt x="0" y="0"/>
                    <a:pt x="3059" y="0"/>
                  </a:cubicBezTo>
                  <a:cubicBezTo>
                    <a:pt x="6119" y="0"/>
                    <a:pt x="9178" y="0"/>
                    <a:pt x="9178" y="3060"/>
                  </a:cubicBezTo>
                  <a:cubicBezTo>
                    <a:pt x="9178" y="3060"/>
                    <a:pt x="91785" y="152975"/>
                    <a:pt x="168272" y="183569"/>
                  </a:cubicBezTo>
                  <a:cubicBezTo>
                    <a:pt x="171331" y="183569"/>
                    <a:pt x="171331" y="186629"/>
                    <a:pt x="171331" y="189689"/>
                  </a:cubicBezTo>
                  <a:cubicBezTo>
                    <a:pt x="171331" y="189689"/>
                    <a:pt x="171331" y="192748"/>
                    <a:pt x="168272" y="192748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5A95CA08-A7FE-4646-8F00-CA1948E62E39}"/>
                </a:ext>
              </a:extLst>
            </p:cNvPr>
            <p:cNvSpPr/>
            <p:nvPr/>
          </p:nvSpPr>
          <p:spPr>
            <a:xfrm>
              <a:off x="6619701" y="8357904"/>
              <a:ext cx="79214" cy="114449"/>
            </a:xfrm>
            <a:custGeom>
              <a:avLst/>
              <a:gdLst>
                <a:gd name="connsiteX0" fmla="*/ 65617 w 79214"/>
                <a:gd name="connsiteY0" fmla="*/ 16787 h 114449"/>
                <a:gd name="connsiteX1" fmla="*/ 7487 w 79214"/>
                <a:gd name="connsiteY1" fmla="*/ 7609 h 114449"/>
                <a:gd name="connsiteX2" fmla="*/ 65617 w 79214"/>
                <a:gd name="connsiteY2" fmla="*/ 111631 h 114449"/>
                <a:gd name="connsiteX3" fmla="*/ 65617 w 79214"/>
                <a:gd name="connsiteY3" fmla="*/ 16787 h 11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214" h="114449">
                  <a:moveTo>
                    <a:pt x="65617" y="16787"/>
                  </a:moveTo>
                  <a:cubicBezTo>
                    <a:pt x="65617" y="16787"/>
                    <a:pt x="31962" y="-13808"/>
                    <a:pt x="7487" y="7609"/>
                  </a:cubicBezTo>
                  <a:cubicBezTo>
                    <a:pt x="-16989" y="25965"/>
                    <a:pt x="22784" y="133048"/>
                    <a:pt x="65617" y="111631"/>
                  </a:cubicBezTo>
                  <a:cubicBezTo>
                    <a:pt x="96212" y="90215"/>
                    <a:pt x="65617" y="16787"/>
                    <a:pt x="65617" y="16787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7843B9EF-639A-4E8C-94B3-33887D59D431}"/>
                </a:ext>
              </a:extLst>
            </p:cNvPr>
            <p:cNvSpPr/>
            <p:nvPr/>
          </p:nvSpPr>
          <p:spPr>
            <a:xfrm>
              <a:off x="6855383" y="8185002"/>
              <a:ext cx="255204" cy="162153"/>
            </a:xfrm>
            <a:custGeom>
              <a:avLst/>
              <a:gdLst>
                <a:gd name="connsiteX0" fmla="*/ 246027 w 255204"/>
                <a:gd name="connsiteY0" fmla="*/ 162153 h 162153"/>
                <a:gd name="connsiteX1" fmla="*/ 239907 w 255204"/>
                <a:gd name="connsiteY1" fmla="*/ 156034 h 162153"/>
                <a:gd name="connsiteX2" fmla="*/ 138944 w 255204"/>
                <a:gd name="connsiteY2" fmla="*/ 58131 h 162153"/>
                <a:gd name="connsiteX3" fmla="*/ 4327 w 255204"/>
                <a:gd name="connsiteY3" fmla="*/ 12238 h 162153"/>
                <a:gd name="connsiteX4" fmla="*/ 1267 w 255204"/>
                <a:gd name="connsiteY4" fmla="*/ 3060 h 162153"/>
                <a:gd name="connsiteX5" fmla="*/ 10445 w 255204"/>
                <a:gd name="connsiteY5" fmla="*/ 0 h 162153"/>
                <a:gd name="connsiteX6" fmla="*/ 145063 w 255204"/>
                <a:gd name="connsiteY6" fmla="*/ 45892 h 162153"/>
                <a:gd name="connsiteX7" fmla="*/ 255205 w 255204"/>
                <a:gd name="connsiteY7" fmla="*/ 152975 h 162153"/>
                <a:gd name="connsiteX8" fmla="*/ 246027 w 255204"/>
                <a:gd name="connsiteY8" fmla="*/ 162153 h 162153"/>
                <a:gd name="connsiteX9" fmla="*/ 246027 w 255204"/>
                <a:gd name="connsiteY9" fmla="*/ 162153 h 162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5204" h="162153">
                  <a:moveTo>
                    <a:pt x="246027" y="162153"/>
                  </a:moveTo>
                  <a:cubicBezTo>
                    <a:pt x="242967" y="162153"/>
                    <a:pt x="239907" y="159094"/>
                    <a:pt x="239907" y="156034"/>
                  </a:cubicBezTo>
                  <a:cubicBezTo>
                    <a:pt x="230729" y="97904"/>
                    <a:pt x="190956" y="73428"/>
                    <a:pt x="138944" y="58131"/>
                  </a:cubicBezTo>
                  <a:cubicBezTo>
                    <a:pt x="71635" y="36714"/>
                    <a:pt x="4327" y="12238"/>
                    <a:pt x="4327" y="12238"/>
                  </a:cubicBezTo>
                  <a:cubicBezTo>
                    <a:pt x="1267" y="12238"/>
                    <a:pt x="-1792" y="6119"/>
                    <a:pt x="1267" y="3060"/>
                  </a:cubicBezTo>
                  <a:cubicBezTo>
                    <a:pt x="1267" y="0"/>
                    <a:pt x="7386" y="0"/>
                    <a:pt x="10445" y="0"/>
                  </a:cubicBezTo>
                  <a:cubicBezTo>
                    <a:pt x="10445" y="0"/>
                    <a:pt x="77755" y="24476"/>
                    <a:pt x="145063" y="45892"/>
                  </a:cubicBezTo>
                  <a:cubicBezTo>
                    <a:pt x="197075" y="61190"/>
                    <a:pt x="242967" y="85666"/>
                    <a:pt x="255205" y="152975"/>
                  </a:cubicBezTo>
                  <a:cubicBezTo>
                    <a:pt x="252145" y="159094"/>
                    <a:pt x="249086" y="162153"/>
                    <a:pt x="246027" y="162153"/>
                  </a:cubicBezTo>
                  <a:cubicBezTo>
                    <a:pt x="246027" y="162153"/>
                    <a:pt x="246027" y="162153"/>
                    <a:pt x="246027" y="162153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354601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图形 1">
            <a:extLst>
              <a:ext uri="{FF2B5EF4-FFF2-40B4-BE49-F238E27FC236}">
                <a16:creationId xmlns:a16="http://schemas.microsoft.com/office/drawing/2014/main" id="{3B9EBF0A-0FEB-47A6-959B-C2964FB75F7C}"/>
              </a:ext>
            </a:extLst>
          </p:cNvPr>
          <p:cNvGrpSpPr/>
          <p:nvPr/>
        </p:nvGrpSpPr>
        <p:grpSpPr>
          <a:xfrm>
            <a:off x="2850702" y="2052425"/>
            <a:ext cx="2204231" cy="4805575"/>
            <a:chOff x="2614728" y="1930376"/>
            <a:chExt cx="2204231" cy="4805575"/>
          </a:xfrm>
        </p:grpSpPr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3B9EBF0A-0FEB-47A6-959B-C2964FB75F7C}"/>
                </a:ext>
              </a:extLst>
            </p:cNvPr>
            <p:cNvGrpSpPr/>
            <p:nvPr/>
          </p:nvGrpSpPr>
          <p:grpSpPr>
            <a:xfrm>
              <a:off x="2614728" y="6241640"/>
              <a:ext cx="470931" cy="494312"/>
              <a:chOff x="2614728" y="6241640"/>
              <a:chExt cx="470931" cy="494312"/>
            </a:xfrm>
          </p:grpSpPr>
          <p:sp>
            <p:nvSpPr>
              <p:cNvPr id="6" name="任意多边形: 形状 5">
                <a:extLst>
                  <a:ext uri="{FF2B5EF4-FFF2-40B4-BE49-F238E27FC236}">
                    <a16:creationId xmlns:a16="http://schemas.microsoft.com/office/drawing/2014/main" id="{3717A3A4-2E63-4537-801C-0D4C5F903DEF}"/>
                  </a:ext>
                </a:extLst>
              </p:cNvPr>
              <p:cNvSpPr/>
              <p:nvPr/>
            </p:nvSpPr>
            <p:spPr>
              <a:xfrm>
                <a:off x="2684196" y="6241640"/>
                <a:ext cx="236629" cy="242696"/>
              </a:xfrm>
              <a:custGeom>
                <a:avLst/>
                <a:gdLst>
                  <a:gd name="connsiteX0" fmla="*/ 3034 w 236629"/>
                  <a:gd name="connsiteY0" fmla="*/ 172921 h 242696"/>
                  <a:gd name="connsiteX1" fmla="*/ 66742 w 236629"/>
                  <a:gd name="connsiteY1" fmla="*/ 0 h 242696"/>
                  <a:gd name="connsiteX2" fmla="*/ 236629 w 236629"/>
                  <a:gd name="connsiteY2" fmla="*/ 69775 h 242696"/>
                  <a:gd name="connsiteX3" fmla="*/ 148652 w 236629"/>
                  <a:gd name="connsiteY3" fmla="*/ 242697 h 242696"/>
                  <a:gd name="connsiteX4" fmla="*/ 0 w 236629"/>
                  <a:gd name="connsiteY4" fmla="*/ 215393 h 242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6629" h="242696">
                    <a:moveTo>
                      <a:pt x="3034" y="172921"/>
                    </a:moveTo>
                    <a:lnTo>
                      <a:pt x="66742" y="0"/>
                    </a:lnTo>
                    <a:lnTo>
                      <a:pt x="236629" y="69775"/>
                    </a:lnTo>
                    <a:lnTo>
                      <a:pt x="148652" y="242697"/>
                    </a:lnTo>
                    <a:lnTo>
                      <a:pt x="0" y="215393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" name="任意多边形: 形状 6">
                <a:extLst>
                  <a:ext uri="{FF2B5EF4-FFF2-40B4-BE49-F238E27FC236}">
                    <a16:creationId xmlns:a16="http://schemas.microsoft.com/office/drawing/2014/main" id="{DFD17F61-8572-4DB7-BC9A-21ECD7D8C03A}"/>
                  </a:ext>
                </a:extLst>
              </p:cNvPr>
              <p:cNvSpPr/>
              <p:nvPr/>
            </p:nvSpPr>
            <p:spPr>
              <a:xfrm>
                <a:off x="2632623" y="6408494"/>
                <a:ext cx="453035" cy="285168"/>
              </a:xfrm>
              <a:custGeom>
                <a:avLst/>
                <a:gdLst>
                  <a:gd name="connsiteX0" fmla="*/ 42472 w 453035"/>
                  <a:gd name="connsiteY0" fmla="*/ 0 h 285168"/>
                  <a:gd name="connsiteX1" fmla="*/ 230562 w 453035"/>
                  <a:gd name="connsiteY1" fmla="*/ 24269 h 285168"/>
                  <a:gd name="connsiteX2" fmla="*/ 324607 w 453035"/>
                  <a:gd name="connsiteY2" fmla="*/ 148652 h 285168"/>
                  <a:gd name="connsiteX3" fmla="*/ 452022 w 453035"/>
                  <a:gd name="connsiteY3" fmla="*/ 285168 h 285168"/>
                  <a:gd name="connsiteX4" fmla="*/ 0 w 453035"/>
                  <a:gd name="connsiteY4" fmla="*/ 103146 h 285168"/>
                  <a:gd name="connsiteX5" fmla="*/ 42472 w 453035"/>
                  <a:gd name="connsiteY5" fmla="*/ 0 h 285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3035" h="285168">
                    <a:moveTo>
                      <a:pt x="42472" y="0"/>
                    </a:moveTo>
                    <a:cubicBezTo>
                      <a:pt x="42472" y="0"/>
                      <a:pt x="151685" y="63708"/>
                      <a:pt x="230562" y="24269"/>
                    </a:cubicBezTo>
                    <a:cubicBezTo>
                      <a:pt x="230562" y="24269"/>
                      <a:pt x="285169" y="121348"/>
                      <a:pt x="324607" y="148652"/>
                    </a:cubicBezTo>
                    <a:cubicBezTo>
                      <a:pt x="364045" y="172921"/>
                      <a:pt x="464157" y="212360"/>
                      <a:pt x="452022" y="285168"/>
                    </a:cubicBezTo>
                    <a:lnTo>
                      <a:pt x="0" y="103146"/>
                    </a:lnTo>
                    <a:cubicBezTo>
                      <a:pt x="0" y="106180"/>
                      <a:pt x="6067" y="42472"/>
                      <a:pt x="42472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" name="任意多边形: 形状 7">
                <a:extLst>
                  <a:ext uri="{FF2B5EF4-FFF2-40B4-BE49-F238E27FC236}">
                    <a16:creationId xmlns:a16="http://schemas.microsoft.com/office/drawing/2014/main" id="{A5FC2F27-D168-49AE-B069-C250AFAB197F}"/>
                  </a:ext>
                </a:extLst>
              </p:cNvPr>
              <p:cNvSpPr/>
              <p:nvPr/>
            </p:nvSpPr>
            <p:spPr>
              <a:xfrm rot="-4087766">
                <a:off x="2825673" y="6381743"/>
                <a:ext cx="45504" cy="485378"/>
              </a:xfrm>
              <a:custGeom>
                <a:avLst/>
                <a:gdLst>
                  <a:gd name="connsiteX0" fmla="*/ 0 w 45504"/>
                  <a:gd name="connsiteY0" fmla="*/ 0 h 485378"/>
                  <a:gd name="connsiteX1" fmla="*/ 45504 w 45504"/>
                  <a:gd name="connsiteY1" fmla="*/ 0 h 485378"/>
                  <a:gd name="connsiteX2" fmla="*/ 45504 w 45504"/>
                  <a:gd name="connsiteY2" fmla="*/ 485379 h 485378"/>
                  <a:gd name="connsiteX3" fmla="*/ 0 w 45504"/>
                  <a:gd name="connsiteY3" fmla="*/ 485379 h 485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04" h="485378">
                    <a:moveTo>
                      <a:pt x="0" y="0"/>
                    </a:moveTo>
                    <a:lnTo>
                      <a:pt x="45504" y="0"/>
                    </a:lnTo>
                    <a:lnTo>
                      <a:pt x="45504" y="485379"/>
                    </a:lnTo>
                    <a:lnTo>
                      <a:pt x="0" y="485379"/>
                    </a:lnTo>
                    <a:close/>
                  </a:path>
                </a:pathLst>
              </a:custGeom>
              <a:solidFill>
                <a:srgbClr val="38333D"/>
              </a:solidFill>
              <a:ln w="303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" name="任意多边形: 形状 8">
                <a:extLst>
                  <a:ext uri="{FF2B5EF4-FFF2-40B4-BE49-F238E27FC236}">
                    <a16:creationId xmlns:a16="http://schemas.microsoft.com/office/drawing/2014/main" id="{E7DA0A95-97C7-43A9-8989-00358C1FE425}"/>
                  </a:ext>
                </a:extLst>
              </p:cNvPr>
              <p:cNvSpPr/>
              <p:nvPr/>
            </p:nvSpPr>
            <p:spPr>
              <a:xfrm>
                <a:off x="2669028" y="6402426"/>
                <a:ext cx="200224" cy="48539"/>
              </a:xfrm>
              <a:custGeom>
                <a:avLst/>
                <a:gdLst>
                  <a:gd name="connsiteX0" fmla="*/ 136517 w 200224"/>
                  <a:gd name="connsiteY0" fmla="*/ 48540 h 48539"/>
                  <a:gd name="connsiteX1" fmla="*/ 3034 w 200224"/>
                  <a:gd name="connsiteY1" fmla="*/ 12135 h 48539"/>
                  <a:gd name="connsiteX2" fmla="*/ 0 w 200224"/>
                  <a:gd name="connsiteY2" fmla="*/ 3034 h 48539"/>
                  <a:gd name="connsiteX3" fmla="*/ 9101 w 200224"/>
                  <a:gd name="connsiteY3" fmla="*/ 0 h 48539"/>
                  <a:gd name="connsiteX4" fmla="*/ 194157 w 200224"/>
                  <a:gd name="connsiteY4" fmla="*/ 24270 h 48539"/>
                  <a:gd name="connsiteX5" fmla="*/ 200225 w 200224"/>
                  <a:gd name="connsiteY5" fmla="*/ 27304 h 48539"/>
                  <a:gd name="connsiteX6" fmla="*/ 197191 w 200224"/>
                  <a:gd name="connsiteY6" fmla="*/ 33371 h 48539"/>
                  <a:gd name="connsiteX7" fmla="*/ 136517 w 200224"/>
                  <a:gd name="connsiteY7" fmla="*/ 48540 h 4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0224" h="48539">
                    <a:moveTo>
                      <a:pt x="136517" y="48540"/>
                    </a:moveTo>
                    <a:cubicBezTo>
                      <a:pt x="66742" y="48540"/>
                      <a:pt x="6067" y="15169"/>
                      <a:pt x="3034" y="12135"/>
                    </a:cubicBezTo>
                    <a:cubicBezTo>
                      <a:pt x="0" y="9101"/>
                      <a:pt x="0" y="6068"/>
                      <a:pt x="0" y="3034"/>
                    </a:cubicBezTo>
                    <a:cubicBezTo>
                      <a:pt x="3034" y="0"/>
                      <a:pt x="6067" y="0"/>
                      <a:pt x="9101" y="0"/>
                    </a:cubicBezTo>
                    <a:cubicBezTo>
                      <a:pt x="9101" y="0"/>
                      <a:pt x="106180" y="57641"/>
                      <a:pt x="194157" y="24270"/>
                    </a:cubicBezTo>
                    <a:cubicBezTo>
                      <a:pt x="197191" y="24270"/>
                      <a:pt x="200225" y="24270"/>
                      <a:pt x="200225" y="27304"/>
                    </a:cubicBezTo>
                    <a:cubicBezTo>
                      <a:pt x="200225" y="30337"/>
                      <a:pt x="200225" y="33371"/>
                      <a:pt x="197191" y="33371"/>
                    </a:cubicBezTo>
                    <a:cubicBezTo>
                      <a:pt x="175955" y="45506"/>
                      <a:pt x="154719" y="48540"/>
                      <a:pt x="136517" y="4854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图形 1">
              <a:extLst>
                <a:ext uri="{FF2B5EF4-FFF2-40B4-BE49-F238E27FC236}">
                  <a16:creationId xmlns:a16="http://schemas.microsoft.com/office/drawing/2014/main" id="{3B9EBF0A-0FEB-47A6-959B-C2964FB75F7C}"/>
                </a:ext>
              </a:extLst>
            </p:cNvPr>
            <p:cNvGrpSpPr/>
            <p:nvPr/>
          </p:nvGrpSpPr>
          <p:grpSpPr>
            <a:xfrm>
              <a:off x="3425432" y="6381190"/>
              <a:ext cx="493483" cy="342809"/>
              <a:chOff x="3425432" y="6381190"/>
              <a:chExt cx="493483" cy="342809"/>
            </a:xfrm>
          </p:grpSpPr>
          <p:sp>
            <p:nvSpPr>
              <p:cNvPr id="11" name="任意多边形: 形状 10">
                <a:extLst>
                  <a:ext uri="{FF2B5EF4-FFF2-40B4-BE49-F238E27FC236}">
                    <a16:creationId xmlns:a16="http://schemas.microsoft.com/office/drawing/2014/main" id="{03898BC1-257B-4394-B8F9-E4201D796DBE}"/>
                  </a:ext>
                </a:extLst>
              </p:cNvPr>
              <p:cNvSpPr/>
              <p:nvPr/>
            </p:nvSpPr>
            <p:spPr>
              <a:xfrm>
                <a:off x="3442623" y="6381190"/>
                <a:ext cx="182022" cy="224494"/>
              </a:xfrm>
              <a:custGeom>
                <a:avLst/>
                <a:gdLst>
                  <a:gd name="connsiteX0" fmla="*/ 6067 w 182022"/>
                  <a:gd name="connsiteY0" fmla="*/ 185056 h 224494"/>
                  <a:gd name="connsiteX1" fmla="*/ 0 w 182022"/>
                  <a:gd name="connsiteY1" fmla="*/ 0 h 224494"/>
                  <a:gd name="connsiteX2" fmla="*/ 182022 w 182022"/>
                  <a:gd name="connsiteY2" fmla="*/ 0 h 224494"/>
                  <a:gd name="connsiteX3" fmla="*/ 166854 w 182022"/>
                  <a:gd name="connsiteY3" fmla="*/ 194158 h 224494"/>
                  <a:gd name="connsiteX4" fmla="*/ 18202 w 182022"/>
                  <a:gd name="connsiteY4" fmla="*/ 224495 h 2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022" h="224494">
                    <a:moveTo>
                      <a:pt x="6067" y="185056"/>
                    </a:moveTo>
                    <a:lnTo>
                      <a:pt x="0" y="0"/>
                    </a:lnTo>
                    <a:lnTo>
                      <a:pt x="182022" y="0"/>
                    </a:lnTo>
                    <a:lnTo>
                      <a:pt x="166854" y="194158"/>
                    </a:lnTo>
                    <a:lnTo>
                      <a:pt x="18202" y="224495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" name="任意多边形: 形状 11">
                <a:extLst>
                  <a:ext uri="{FF2B5EF4-FFF2-40B4-BE49-F238E27FC236}">
                    <a16:creationId xmlns:a16="http://schemas.microsoft.com/office/drawing/2014/main" id="{E9FA2346-48D6-4530-BA67-7962B9C05E83}"/>
                  </a:ext>
                </a:extLst>
              </p:cNvPr>
              <p:cNvSpPr/>
              <p:nvPr/>
            </p:nvSpPr>
            <p:spPr>
              <a:xfrm>
                <a:off x="3425432" y="6520741"/>
                <a:ext cx="493483" cy="157752"/>
              </a:xfrm>
              <a:custGeom>
                <a:avLst/>
                <a:gdLst>
                  <a:gd name="connsiteX0" fmla="*/ 8090 w 493483"/>
                  <a:gd name="connsiteY0" fmla="*/ 45506 h 157752"/>
                  <a:gd name="connsiteX1" fmla="*/ 193146 w 493483"/>
                  <a:gd name="connsiteY1" fmla="*/ 0 h 157752"/>
                  <a:gd name="connsiteX2" fmla="*/ 326629 w 493483"/>
                  <a:gd name="connsiteY2" fmla="*/ 78876 h 157752"/>
                  <a:gd name="connsiteX3" fmla="*/ 493483 w 493483"/>
                  <a:gd name="connsiteY3" fmla="*/ 157753 h 157752"/>
                  <a:gd name="connsiteX4" fmla="*/ 8090 w 493483"/>
                  <a:gd name="connsiteY4" fmla="*/ 157753 h 157752"/>
                  <a:gd name="connsiteX5" fmla="*/ 8090 w 493483"/>
                  <a:gd name="connsiteY5" fmla="*/ 45506 h 157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3483" h="157752">
                    <a:moveTo>
                      <a:pt x="8090" y="45506"/>
                    </a:moveTo>
                    <a:cubicBezTo>
                      <a:pt x="8090" y="45506"/>
                      <a:pt x="132472" y="63708"/>
                      <a:pt x="193146" y="0"/>
                    </a:cubicBezTo>
                    <a:cubicBezTo>
                      <a:pt x="193146" y="0"/>
                      <a:pt x="281124" y="69775"/>
                      <a:pt x="326629" y="78876"/>
                    </a:cubicBezTo>
                    <a:cubicBezTo>
                      <a:pt x="372135" y="87977"/>
                      <a:pt x="481348" y="84944"/>
                      <a:pt x="493483" y="157753"/>
                    </a:cubicBezTo>
                    <a:lnTo>
                      <a:pt x="8090" y="157753"/>
                    </a:lnTo>
                    <a:cubicBezTo>
                      <a:pt x="8090" y="157753"/>
                      <a:pt x="-10112" y="94045"/>
                      <a:pt x="8090" y="4550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" name="任意多边形: 形状 12">
                <a:extLst>
                  <a:ext uri="{FF2B5EF4-FFF2-40B4-BE49-F238E27FC236}">
                    <a16:creationId xmlns:a16="http://schemas.microsoft.com/office/drawing/2014/main" id="{EB7A26FF-892A-44C8-8DBD-5FD9ED8DC07C}"/>
                  </a:ext>
                </a:extLst>
              </p:cNvPr>
              <p:cNvSpPr/>
              <p:nvPr/>
            </p:nvSpPr>
            <p:spPr>
              <a:xfrm>
                <a:off x="3433522" y="6678493"/>
                <a:ext cx="485393" cy="45505"/>
              </a:xfrm>
              <a:custGeom>
                <a:avLst/>
                <a:gdLst>
                  <a:gd name="connsiteX0" fmla="*/ 0 w 485393"/>
                  <a:gd name="connsiteY0" fmla="*/ 0 h 45505"/>
                  <a:gd name="connsiteX1" fmla="*/ 485393 w 485393"/>
                  <a:gd name="connsiteY1" fmla="*/ 0 h 45505"/>
                  <a:gd name="connsiteX2" fmla="*/ 485393 w 485393"/>
                  <a:gd name="connsiteY2" fmla="*/ 45506 h 45505"/>
                  <a:gd name="connsiteX3" fmla="*/ 0 w 485393"/>
                  <a:gd name="connsiteY3" fmla="*/ 45506 h 4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393" h="45505">
                    <a:moveTo>
                      <a:pt x="0" y="0"/>
                    </a:moveTo>
                    <a:lnTo>
                      <a:pt x="485393" y="0"/>
                    </a:lnTo>
                    <a:lnTo>
                      <a:pt x="485393" y="45506"/>
                    </a:lnTo>
                    <a:lnTo>
                      <a:pt x="0" y="45506"/>
                    </a:ln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" name="任意多边形: 形状 13">
                <a:extLst>
                  <a:ext uri="{FF2B5EF4-FFF2-40B4-BE49-F238E27FC236}">
                    <a16:creationId xmlns:a16="http://schemas.microsoft.com/office/drawing/2014/main" id="{F893E06F-1EC1-418C-90AF-C76BA15215C4}"/>
                  </a:ext>
                </a:extLst>
              </p:cNvPr>
              <p:cNvSpPr/>
              <p:nvPr/>
            </p:nvSpPr>
            <p:spPr>
              <a:xfrm>
                <a:off x="3427455" y="6509364"/>
                <a:ext cx="199466" cy="62949"/>
              </a:xfrm>
              <a:custGeom>
                <a:avLst/>
                <a:gdLst>
                  <a:gd name="connsiteX0" fmla="*/ 42472 w 199466"/>
                  <a:gd name="connsiteY0" fmla="*/ 62950 h 62949"/>
                  <a:gd name="connsiteX1" fmla="*/ 6067 w 199466"/>
                  <a:gd name="connsiteY1" fmla="*/ 59916 h 62949"/>
                  <a:gd name="connsiteX2" fmla="*/ 0 w 199466"/>
                  <a:gd name="connsiteY2" fmla="*/ 53848 h 62949"/>
                  <a:gd name="connsiteX3" fmla="*/ 6067 w 199466"/>
                  <a:gd name="connsiteY3" fmla="*/ 47781 h 62949"/>
                  <a:gd name="connsiteX4" fmla="*/ 188090 w 199466"/>
                  <a:gd name="connsiteY4" fmla="*/ 2275 h 62949"/>
                  <a:gd name="connsiteX5" fmla="*/ 197191 w 199466"/>
                  <a:gd name="connsiteY5" fmla="*/ 2275 h 62949"/>
                  <a:gd name="connsiteX6" fmla="*/ 197191 w 199466"/>
                  <a:gd name="connsiteY6" fmla="*/ 11377 h 62949"/>
                  <a:gd name="connsiteX7" fmla="*/ 42472 w 199466"/>
                  <a:gd name="connsiteY7" fmla="*/ 62950 h 62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9466" h="62949">
                    <a:moveTo>
                      <a:pt x="42472" y="62950"/>
                    </a:moveTo>
                    <a:cubicBezTo>
                      <a:pt x="21236" y="62950"/>
                      <a:pt x="9101" y="59916"/>
                      <a:pt x="6067" y="59916"/>
                    </a:cubicBezTo>
                    <a:cubicBezTo>
                      <a:pt x="3034" y="59916"/>
                      <a:pt x="0" y="56882"/>
                      <a:pt x="0" y="53848"/>
                    </a:cubicBezTo>
                    <a:cubicBezTo>
                      <a:pt x="0" y="50815"/>
                      <a:pt x="3034" y="47781"/>
                      <a:pt x="6067" y="47781"/>
                    </a:cubicBezTo>
                    <a:cubicBezTo>
                      <a:pt x="6067" y="47781"/>
                      <a:pt x="118315" y="62950"/>
                      <a:pt x="188090" y="2275"/>
                    </a:cubicBezTo>
                    <a:cubicBezTo>
                      <a:pt x="191124" y="-758"/>
                      <a:pt x="194157" y="-758"/>
                      <a:pt x="197191" y="2275"/>
                    </a:cubicBezTo>
                    <a:cubicBezTo>
                      <a:pt x="200225" y="5309"/>
                      <a:pt x="200225" y="8343"/>
                      <a:pt x="197191" y="11377"/>
                    </a:cubicBezTo>
                    <a:cubicBezTo>
                      <a:pt x="148652" y="56882"/>
                      <a:pt x="81910" y="62950"/>
                      <a:pt x="42472" y="6295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0CB3A1EE-32BD-4521-881F-89AA674B8E93}"/>
                </a:ext>
              </a:extLst>
            </p:cNvPr>
            <p:cNvSpPr/>
            <p:nvPr/>
          </p:nvSpPr>
          <p:spPr>
            <a:xfrm>
              <a:off x="2656893" y="4178718"/>
              <a:ext cx="1112194" cy="2284381"/>
            </a:xfrm>
            <a:custGeom>
              <a:avLst/>
              <a:gdLst>
                <a:gd name="connsiteX0" fmla="*/ 1104270 w 1112194"/>
                <a:gd name="connsiteY0" fmla="*/ 21236 h 2284381"/>
                <a:gd name="connsiteX1" fmla="*/ 1092135 w 1112194"/>
                <a:gd name="connsiteY1" fmla="*/ 1398539 h 2284381"/>
                <a:gd name="connsiteX2" fmla="*/ 1022360 w 1112194"/>
                <a:gd name="connsiteY2" fmla="*/ 2284382 h 2284381"/>
                <a:gd name="connsiteX3" fmla="*/ 728090 w 1112194"/>
                <a:gd name="connsiteY3" fmla="*/ 2284382 h 2284381"/>
                <a:gd name="connsiteX4" fmla="*/ 688652 w 1112194"/>
                <a:gd name="connsiteY4" fmla="*/ 1422809 h 2284381"/>
                <a:gd name="connsiteX5" fmla="*/ 606742 w 1112194"/>
                <a:gd name="connsiteY5" fmla="*/ 500562 h 2284381"/>
                <a:gd name="connsiteX6" fmla="*/ 552135 w 1112194"/>
                <a:gd name="connsiteY6" fmla="*/ 1416742 h 2284381"/>
                <a:gd name="connsiteX7" fmla="*/ 300337 w 1112194"/>
                <a:gd name="connsiteY7" fmla="*/ 2232809 h 2284381"/>
                <a:gd name="connsiteX8" fmla="*/ 0 w 1112194"/>
                <a:gd name="connsiteY8" fmla="*/ 2132697 h 2284381"/>
                <a:gd name="connsiteX9" fmla="*/ 197191 w 1112194"/>
                <a:gd name="connsiteY9" fmla="*/ 1398539 h 2284381"/>
                <a:gd name="connsiteX10" fmla="*/ 84944 w 1112194"/>
                <a:gd name="connsiteY10" fmla="*/ 0 h 2284381"/>
                <a:gd name="connsiteX11" fmla="*/ 1104270 w 1112194"/>
                <a:gd name="connsiteY11" fmla="*/ 21236 h 228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12194" h="2284381">
                  <a:moveTo>
                    <a:pt x="1104270" y="21236"/>
                  </a:moveTo>
                  <a:cubicBezTo>
                    <a:pt x="1104270" y="21236"/>
                    <a:pt x="1128539" y="1089101"/>
                    <a:pt x="1092135" y="1398539"/>
                  </a:cubicBezTo>
                  <a:cubicBezTo>
                    <a:pt x="1061798" y="1668540"/>
                    <a:pt x="1022360" y="2284382"/>
                    <a:pt x="1022360" y="2284382"/>
                  </a:cubicBezTo>
                  <a:lnTo>
                    <a:pt x="728090" y="2284382"/>
                  </a:lnTo>
                  <a:cubicBezTo>
                    <a:pt x="728090" y="2284382"/>
                    <a:pt x="694719" y="1519888"/>
                    <a:pt x="688652" y="1422809"/>
                  </a:cubicBezTo>
                  <a:cubicBezTo>
                    <a:pt x="682584" y="1283259"/>
                    <a:pt x="621910" y="530899"/>
                    <a:pt x="606742" y="500562"/>
                  </a:cubicBezTo>
                  <a:cubicBezTo>
                    <a:pt x="591573" y="470225"/>
                    <a:pt x="552135" y="1416742"/>
                    <a:pt x="552135" y="1416742"/>
                  </a:cubicBezTo>
                  <a:lnTo>
                    <a:pt x="300337" y="2232809"/>
                  </a:lnTo>
                  <a:lnTo>
                    <a:pt x="0" y="2132697"/>
                  </a:lnTo>
                  <a:cubicBezTo>
                    <a:pt x="0" y="2132697"/>
                    <a:pt x="203258" y="1498652"/>
                    <a:pt x="197191" y="1398539"/>
                  </a:cubicBezTo>
                  <a:cubicBezTo>
                    <a:pt x="188090" y="1246854"/>
                    <a:pt x="39438" y="100112"/>
                    <a:pt x="84944" y="0"/>
                  </a:cubicBezTo>
                  <a:cubicBezTo>
                    <a:pt x="782697" y="33371"/>
                    <a:pt x="1104270" y="21236"/>
                    <a:pt x="1104270" y="21236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959EEE85-1A91-4273-B337-6A09C513D393}"/>
                </a:ext>
              </a:extLst>
            </p:cNvPr>
            <p:cNvSpPr/>
            <p:nvPr/>
          </p:nvSpPr>
          <p:spPr>
            <a:xfrm>
              <a:off x="3260601" y="4321302"/>
              <a:ext cx="69775" cy="364044"/>
            </a:xfrm>
            <a:custGeom>
              <a:avLst/>
              <a:gdLst>
                <a:gd name="connsiteX0" fmla="*/ 6067 w 69775"/>
                <a:gd name="connsiteY0" fmla="*/ 364045 h 364044"/>
                <a:gd name="connsiteX1" fmla="*/ 6067 w 69775"/>
                <a:gd name="connsiteY1" fmla="*/ 364045 h 364044"/>
                <a:gd name="connsiteX2" fmla="*/ 0 w 69775"/>
                <a:gd name="connsiteY2" fmla="*/ 354944 h 364044"/>
                <a:gd name="connsiteX3" fmla="*/ 57640 w 69775"/>
                <a:gd name="connsiteY3" fmla="*/ 6067 h 364044"/>
                <a:gd name="connsiteX4" fmla="*/ 63708 w 69775"/>
                <a:gd name="connsiteY4" fmla="*/ 0 h 364044"/>
                <a:gd name="connsiteX5" fmla="*/ 69775 w 69775"/>
                <a:gd name="connsiteY5" fmla="*/ 6067 h 364044"/>
                <a:gd name="connsiteX6" fmla="*/ 12135 w 69775"/>
                <a:gd name="connsiteY6" fmla="*/ 357977 h 364044"/>
                <a:gd name="connsiteX7" fmla="*/ 6067 w 69775"/>
                <a:gd name="connsiteY7" fmla="*/ 364045 h 36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775" h="364044">
                  <a:moveTo>
                    <a:pt x="6067" y="364045"/>
                  </a:moveTo>
                  <a:cubicBezTo>
                    <a:pt x="6067" y="364045"/>
                    <a:pt x="6067" y="364045"/>
                    <a:pt x="6067" y="364045"/>
                  </a:cubicBezTo>
                  <a:cubicBezTo>
                    <a:pt x="0" y="361011"/>
                    <a:pt x="0" y="357977"/>
                    <a:pt x="0" y="354944"/>
                  </a:cubicBezTo>
                  <a:cubicBezTo>
                    <a:pt x="48539" y="242697"/>
                    <a:pt x="57640" y="9101"/>
                    <a:pt x="57640" y="6067"/>
                  </a:cubicBezTo>
                  <a:cubicBezTo>
                    <a:pt x="57640" y="3034"/>
                    <a:pt x="60674" y="0"/>
                    <a:pt x="63708" y="0"/>
                  </a:cubicBezTo>
                  <a:cubicBezTo>
                    <a:pt x="66742" y="0"/>
                    <a:pt x="69775" y="3034"/>
                    <a:pt x="69775" y="6067"/>
                  </a:cubicBezTo>
                  <a:cubicBezTo>
                    <a:pt x="69775" y="15169"/>
                    <a:pt x="60674" y="242697"/>
                    <a:pt x="12135" y="357977"/>
                  </a:cubicBezTo>
                  <a:cubicBezTo>
                    <a:pt x="12135" y="364045"/>
                    <a:pt x="9101" y="364045"/>
                    <a:pt x="6067" y="364045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91477F51-D63D-4963-9B2C-6CEF936EA66D}"/>
                </a:ext>
              </a:extLst>
            </p:cNvPr>
            <p:cNvSpPr/>
            <p:nvPr/>
          </p:nvSpPr>
          <p:spPr>
            <a:xfrm>
              <a:off x="3289681" y="4251527"/>
              <a:ext cx="155975" cy="354943"/>
            </a:xfrm>
            <a:custGeom>
              <a:avLst/>
              <a:gdLst>
                <a:gd name="connsiteX0" fmla="*/ 7324 w 155975"/>
                <a:gd name="connsiteY0" fmla="*/ 354944 h 354943"/>
                <a:gd name="connsiteX1" fmla="*/ 1257 w 155975"/>
                <a:gd name="connsiteY1" fmla="*/ 351910 h 354943"/>
                <a:gd name="connsiteX2" fmla="*/ 4290 w 155975"/>
                <a:gd name="connsiteY2" fmla="*/ 342809 h 354943"/>
                <a:gd name="connsiteX3" fmla="*/ 110470 w 155975"/>
                <a:gd name="connsiteY3" fmla="*/ 266966 h 354943"/>
                <a:gd name="connsiteX4" fmla="*/ 143841 w 155975"/>
                <a:gd name="connsiteY4" fmla="*/ 6067 h 354943"/>
                <a:gd name="connsiteX5" fmla="*/ 149908 w 155975"/>
                <a:gd name="connsiteY5" fmla="*/ 0 h 354943"/>
                <a:gd name="connsiteX6" fmla="*/ 155976 w 155975"/>
                <a:gd name="connsiteY6" fmla="*/ 6067 h 354943"/>
                <a:gd name="connsiteX7" fmla="*/ 122605 w 155975"/>
                <a:gd name="connsiteY7" fmla="*/ 273034 h 354943"/>
                <a:gd name="connsiteX8" fmla="*/ 13391 w 155975"/>
                <a:gd name="connsiteY8" fmla="*/ 351910 h 354943"/>
                <a:gd name="connsiteX9" fmla="*/ 7324 w 155975"/>
                <a:gd name="connsiteY9" fmla="*/ 354944 h 354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5975" h="354943">
                  <a:moveTo>
                    <a:pt x="7324" y="354944"/>
                  </a:moveTo>
                  <a:cubicBezTo>
                    <a:pt x="4290" y="354944"/>
                    <a:pt x="4290" y="354944"/>
                    <a:pt x="1257" y="351910"/>
                  </a:cubicBezTo>
                  <a:cubicBezTo>
                    <a:pt x="-1777" y="348876"/>
                    <a:pt x="1257" y="345843"/>
                    <a:pt x="4290" y="342809"/>
                  </a:cubicBezTo>
                  <a:cubicBezTo>
                    <a:pt x="43729" y="318539"/>
                    <a:pt x="101369" y="276067"/>
                    <a:pt x="110470" y="266966"/>
                  </a:cubicBezTo>
                  <a:cubicBezTo>
                    <a:pt x="119571" y="254832"/>
                    <a:pt x="134740" y="100112"/>
                    <a:pt x="143841" y="6067"/>
                  </a:cubicBezTo>
                  <a:cubicBezTo>
                    <a:pt x="143841" y="3034"/>
                    <a:pt x="146875" y="0"/>
                    <a:pt x="149908" y="0"/>
                  </a:cubicBezTo>
                  <a:cubicBezTo>
                    <a:pt x="152942" y="0"/>
                    <a:pt x="155976" y="3034"/>
                    <a:pt x="155976" y="6067"/>
                  </a:cubicBezTo>
                  <a:cubicBezTo>
                    <a:pt x="152942" y="48539"/>
                    <a:pt x="131706" y="257865"/>
                    <a:pt x="122605" y="273034"/>
                  </a:cubicBezTo>
                  <a:cubicBezTo>
                    <a:pt x="110470" y="288202"/>
                    <a:pt x="22493" y="345843"/>
                    <a:pt x="13391" y="351910"/>
                  </a:cubicBezTo>
                  <a:cubicBezTo>
                    <a:pt x="10358" y="354944"/>
                    <a:pt x="7324" y="354944"/>
                    <a:pt x="7324" y="354944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ED11B9ED-6485-4E80-ACD9-EA82215C2E79}"/>
                </a:ext>
              </a:extLst>
            </p:cNvPr>
            <p:cNvSpPr/>
            <p:nvPr/>
          </p:nvSpPr>
          <p:spPr>
            <a:xfrm>
              <a:off x="2738803" y="4187819"/>
              <a:ext cx="133483" cy="239662"/>
            </a:xfrm>
            <a:custGeom>
              <a:avLst/>
              <a:gdLst>
                <a:gd name="connsiteX0" fmla="*/ 6067 w 133483"/>
                <a:gd name="connsiteY0" fmla="*/ 239663 h 239662"/>
                <a:gd name="connsiteX1" fmla="*/ 0 w 133483"/>
                <a:gd name="connsiteY1" fmla="*/ 233595 h 239662"/>
                <a:gd name="connsiteX2" fmla="*/ 6067 w 133483"/>
                <a:gd name="connsiteY2" fmla="*/ 227528 h 239662"/>
                <a:gd name="connsiteX3" fmla="*/ 109213 w 133483"/>
                <a:gd name="connsiteY3" fmla="*/ 200225 h 239662"/>
                <a:gd name="connsiteX4" fmla="*/ 121348 w 133483"/>
                <a:gd name="connsiteY4" fmla="*/ 6067 h 239662"/>
                <a:gd name="connsiteX5" fmla="*/ 127416 w 133483"/>
                <a:gd name="connsiteY5" fmla="*/ 0 h 239662"/>
                <a:gd name="connsiteX6" fmla="*/ 133483 w 133483"/>
                <a:gd name="connsiteY6" fmla="*/ 6067 h 239662"/>
                <a:gd name="connsiteX7" fmla="*/ 118315 w 133483"/>
                <a:gd name="connsiteY7" fmla="*/ 203258 h 239662"/>
                <a:gd name="connsiteX8" fmla="*/ 6067 w 133483"/>
                <a:gd name="connsiteY8" fmla="*/ 239663 h 239662"/>
                <a:gd name="connsiteX9" fmla="*/ 6067 w 133483"/>
                <a:gd name="connsiteY9" fmla="*/ 239663 h 239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3483" h="239662">
                  <a:moveTo>
                    <a:pt x="6067" y="239663"/>
                  </a:moveTo>
                  <a:cubicBezTo>
                    <a:pt x="3034" y="239663"/>
                    <a:pt x="0" y="236629"/>
                    <a:pt x="0" y="233595"/>
                  </a:cubicBezTo>
                  <a:cubicBezTo>
                    <a:pt x="0" y="230562"/>
                    <a:pt x="3034" y="227528"/>
                    <a:pt x="6067" y="227528"/>
                  </a:cubicBezTo>
                  <a:cubicBezTo>
                    <a:pt x="51573" y="221461"/>
                    <a:pt x="103146" y="209326"/>
                    <a:pt x="109213" y="200225"/>
                  </a:cubicBezTo>
                  <a:cubicBezTo>
                    <a:pt x="115281" y="188090"/>
                    <a:pt x="121348" y="75843"/>
                    <a:pt x="121348" y="6067"/>
                  </a:cubicBezTo>
                  <a:cubicBezTo>
                    <a:pt x="121348" y="3034"/>
                    <a:pt x="124382" y="0"/>
                    <a:pt x="127416" y="0"/>
                  </a:cubicBezTo>
                  <a:cubicBezTo>
                    <a:pt x="130449" y="0"/>
                    <a:pt x="133483" y="3034"/>
                    <a:pt x="133483" y="6067"/>
                  </a:cubicBezTo>
                  <a:cubicBezTo>
                    <a:pt x="133483" y="24270"/>
                    <a:pt x="130449" y="185056"/>
                    <a:pt x="118315" y="203258"/>
                  </a:cubicBezTo>
                  <a:cubicBezTo>
                    <a:pt x="106180" y="224494"/>
                    <a:pt x="21236" y="236629"/>
                    <a:pt x="6067" y="239663"/>
                  </a:cubicBezTo>
                  <a:cubicBezTo>
                    <a:pt x="6067" y="239663"/>
                    <a:pt x="6067" y="239663"/>
                    <a:pt x="6067" y="239663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0EF968B6-FAC0-411E-94C4-7840FC5FEDC5}"/>
                </a:ext>
              </a:extLst>
            </p:cNvPr>
            <p:cNvSpPr/>
            <p:nvPr/>
          </p:nvSpPr>
          <p:spPr>
            <a:xfrm>
              <a:off x="3670151" y="4202988"/>
              <a:ext cx="91011" cy="206291"/>
            </a:xfrm>
            <a:custGeom>
              <a:avLst/>
              <a:gdLst>
                <a:gd name="connsiteX0" fmla="*/ 78876 w 91011"/>
                <a:gd name="connsiteY0" fmla="*/ 203258 h 206291"/>
                <a:gd name="connsiteX1" fmla="*/ 21236 w 91011"/>
                <a:gd name="connsiteY1" fmla="*/ 178989 h 206291"/>
                <a:gd name="connsiteX2" fmla="*/ 0 w 91011"/>
                <a:gd name="connsiteY2" fmla="*/ 6067 h 206291"/>
                <a:gd name="connsiteX3" fmla="*/ 6067 w 91011"/>
                <a:gd name="connsiteY3" fmla="*/ 0 h 206291"/>
                <a:gd name="connsiteX4" fmla="*/ 12135 w 91011"/>
                <a:gd name="connsiteY4" fmla="*/ 6067 h 206291"/>
                <a:gd name="connsiteX5" fmla="*/ 30337 w 91011"/>
                <a:gd name="connsiteY5" fmla="*/ 175955 h 206291"/>
                <a:gd name="connsiteX6" fmla="*/ 84944 w 91011"/>
                <a:gd name="connsiteY6" fmla="*/ 194157 h 206291"/>
                <a:gd name="connsiteX7" fmla="*/ 91011 w 91011"/>
                <a:gd name="connsiteY7" fmla="*/ 200225 h 206291"/>
                <a:gd name="connsiteX8" fmla="*/ 84944 w 91011"/>
                <a:gd name="connsiteY8" fmla="*/ 206292 h 206291"/>
                <a:gd name="connsiteX9" fmla="*/ 78876 w 91011"/>
                <a:gd name="connsiteY9" fmla="*/ 203258 h 206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011" h="206291">
                  <a:moveTo>
                    <a:pt x="78876" y="203258"/>
                  </a:moveTo>
                  <a:cubicBezTo>
                    <a:pt x="63708" y="203258"/>
                    <a:pt x="33371" y="200225"/>
                    <a:pt x="21236" y="178989"/>
                  </a:cubicBezTo>
                  <a:cubicBezTo>
                    <a:pt x="6067" y="151685"/>
                    <a:pt x="0" y="21236"/>
                    <a:pt x="0" y="6067"/>
                  </a:cubicBezTo>
                  <a:cubicBezTo>
                    <a:pt x="0" y="3034"/>
                    <a:pt x="3034" y="0"/>
                    <a:pt x="6067" y="0"/>
                  </a:cubicBezTo>
                  <a:cubicBezTo>
                    <a:pt x="9101" y="0"/>
                    <a:pt x="12135" y="3034"/>
                    <a:pt x="12135" y="6067"/>
                  </a:cubicBezTo>
                  <a:cubicBezTo>
                    <a:pt x="15169" y="45506"/>
                    <a:pt x="21236" y="154719"/>
                    <a:pt x="30337" y="175955"/>
                  </a:cubicBezTo>
                  <a:cubicBezTo>
                    <a:pt x="42472" y="197191"/>
                    <a:pt x="81910" y="194157"/>
                    <a:pt x="84944" y="194157"/>
                  </a:cubicBezTo>
                  <a:cubicBezTo>
                    <a:pt x="87978" y="194157"/>
                    <a:pt x="91011" y="197191"/>
                    <a:pt x="91011" y="200225"/>
                  </a:cubicBezTo>
                  <a:cubicBezTo>
                    <a:pt x="91011" y="203258"/>
                    <a:pt x="87978" y="206292"/>
                    <a:pt x="84944" y="206292"/>
                  </a:cubicBezTo>
                  <a:cubicBezTo>
                    <a:pt x="84944" y="203258"/>
                    <a:pt x="81910" y="203258"/>
                    <a:pt x="78876" y="203258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43F993D5-9505-41F3-B5B5-FCF238AC4026}"/>
                </a:ext>
              </a:extLst>
            </p:cNvPr>
            <p:cNvSpPr/>
            <p:nvPr/>
          </p:nvSpPr>
          <p:spPr>
            <a:xfrm>
              <a:off x="3594491" y="2988682"/>
              <a:ext cx="970604" cy="968647"/>
            </a:xfrm>
            <a:custGeom>
              <a:avLst/>
              <a:gdLst>
                <a:gd name="connsiteX0" fmla="*/ 60492 w 970604"/>
                <a:gd name="connsiteY0" fmla="*/ 6890 h 968647"/>
                <a:gd name="connsiteX1" fmla="*/ 375998 w 970604"/>
                <a:gd name="connsiteY1" fmla="*/ 301160 h 968647"/>
                <a:gd name="connsiteX2" fmla="*/ 554987 w 970604"/>
                <a:gd name="connsiteY2" fmla="*/ 686441 h 968647"/>
                <a:gd name="connsiteX3" fmla="*/ 888695 w 970604"/>
                <a:gd name="connsiteY3" fmla="*/ 355767 h 968647"/>
                <a:gd name="connsiteX4" fmla="*/ 970605 w 970604"/>
                <a:gd name="connsiteY4" fmla="*/ 440711 h 968647"/>
                <a:gd name="connsiteX5" fmla="*/ 548919 w 970604"/>
                <a:gd name="connsiteY5" fmla="*/ 968576 h 968647"/>
                <a:gd name="connsiteX6" fmla="*/ 60492 w 970604"/>
                <a:gd name="connsiteY6" fmla="*/ 6890 h 968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0604" h="968647">
                  <a:moveTo>
                    <a:pt x="60492" y="6890"/>
                  </a:moveTo>
                  <a:cubicBezTo>
                    <a:pt x="166672" y="-44683"/>
                    <a:pt x="315324" y="207115"/>
                    <a:pt x="375998" y="301160"/>
                  </a:cubicBezTo>
                  <a:cubicBezTo>
                    <a:pt x="427571" y="386104"/>
                    <a:pt x="554987" y="686441"/>
                    <a:pt x="554987" y="686441"/>
                  </a:cubicBezTo>
                  <a:lnTo>
                    <a:pt x="888695" y="355767"/>
                  </a:lnTo>
                  <a:lnTo>
                    <a:pt x="970605" y="440711"/>
                  </a:lnTo>
                  <a:cubicBezTo>
                    <a:pt x="970605" y="440711"/>
                    <a:pt x="658133" y="962508"/>
                    <a:pt x="548919" y="968576"/>
                  </a:cubicBezTo>
                  <a:cubicBezTo>
                    <a:pt x="357796" y="977677"/>
                    <a:pt x="-179171" y="122171"/>
                    <a:pt x="60492" y="6890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3AD3C27D-2A82-42CB-959B-58E929A505C1}"/>
                </a:ext>
              </a:extLst>
            </p:cNvPr>
            <p:cNvSpPr/>
            <p:nvPr/>
          </p:nvSpPr>
          <p:spPr>
            <a:xfrm>
              <a:off x="3154421" y="2570853"/>
              <a:ext cx="248764" cy="256965"/>
            </a:xfrm>
            <a:custGeom>
              <a:avLst/>
              <a:gdLst>
                <a:gd name="connsiteX0" fmla="*/ 248764 w 248764"/>
                <a:gd name="connsiteY0" fmla="*/ 39438 h 256965"/>
                <a:gd name="connsiteX1" fmla="*/ 242697 w 248764"/>
                <a:gd name="connsiteY1" fmla="*/ 212360 h 256965"/>
                <a:gd name="connsiteX2" fmla="*/ 0 w 248764"/>
                <a:gd name="connsiteY2" fmla="*/ 203258 h 256965"/>
                <a:gd name="connsiteX3" fmla="*/ 15169 w 248764"/>
                <a:gd name="connsiteY3" fmla="*/ 0 h 256965"/>
                <a:gd name="connsiteX4" fmla="*/ 248764 w 248764"/>
                <a:gd name="connsiteY4" fmla="*/ 39438 h 25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764" h="256965">
                  <a:moveTo>
                    <a:pt x="248764" y="39438"/>
                  </a:moveTo>
                  <a:cubicBezTo>
                    <a:pt x="248764" y="39438"/>
                    <a:pt x="242697" y="139551"/>
                    <a:pt x="242697" y="212360"/>
                  </a:cubicBezTo>
                  <a:cubicBezTo>
                    <a:pt x="242697" y="212360"/>
                    <a:pt x="148652" y="318539"/>
                    <a:pt x="0" y="203258"/>
                  </a:cubicBezTo>
                  <a:cubicBezTo>
                    <a:pt x="0" y="142584"/>
                    <a:pt x="12135" y="63708"/>
                    <a:pt x="15169" y="0"/>
                  </a:cubicBezTo>
                  <a:cubicBezTo>
                    <a:pt x="15169" y="0"/>
                    <a:pt x="197191" y="51573"/>
                    <a:pt x="248764" y="39438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D030866-A28E-4B85-9FEB-67BD1151831A}"/>
                </a:ext>
              </a:extLst>
            </p:cNvPr>
            <p:cNvSpPr/>
            <p:nvPr/>
          </p:nvSpPr>
          <p:spPr>
            <a:xfrm>
              <a:off x="2744871" y="2734673"/>
              <a:ext cx="1023398" cy="1557139"/>
            </a:xfrm>
            <a:custGeom>
              <a:avLst/>
              <a:gdLst>
                <a:gd name="connsiteX0" fmla="*/ 394382 w 1023398"/>
                <a:gd name="connsiteY0" fmla="*/ 0 h 1557139"/>
                <a:gd name="connsiteX1" fmla="*/ 682584 w 1023398"/>
                <a:gd name="connsiteY1" fmla="*/ 0 h 1557139"/>
                <a:gd name="connsiteX2" fmla="*/ 979888 w 1023398"/>
                <a:gd name="connsiteY2" fmla="*/ 130449 h 1557139"/>
                <a:gd name="connsiteX3" fmla="*/ 1019326 w 1023398"/>
                <a:gd name="connsiteY3" fmla="*/ 1522921 h 1557139"/>
                <a:gd name="connsiteX4" fmla="*/ 0 w 1023398"/>
                <a:gd name="connsiteY4" fmla="*/ 1504719 h 1557139"/>
                <a:gd name="connsiteX5" fmla="*/ 115281 w 1023398"/>
                <a:gd name="connsiteY5" fmla="*/ 103146 h 1557139"/>
                <a:gd name="connsiteX6" fmla="*/ 394382 w 1023398"/>
                <a:gd name="connsiteY6" fmla="*/ 0 h 1557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3398" h="1557139">
                  <a:moveTo>
                    <a:pt x="394382" y="0"/>
                  </a:moveTo>
                  <a:cubicBezTo>
                    <a:pt x="394382" y="0"/>
                    <a:pt x="567303" y="54607"/>
                    <a:pt x="682584" y="0"/>
                  </a:cubicBezTo>
                  <a:cubicBezTo>
                    <a:pt x="682584" y="0"/>
                    <a:pt x="955618" y="97079"/>
                    <a:pt x="979888" y="130449"/>
                  </a:cubicBezTo>
                  <a:cubicBezTo>
                    <a:pt x="1004157" y="160787"/>
                    <a:pt x="1034494" y="897978"/>
                    <a:pt x="1019326" y="1522921"/>
                  </a:cubicBezTo>
                  <a:cubicBezTo>
                    <a:pt x="1019326" y="1522921"/>
                    <a:pt x="573371" y="1610899"/>
                    <a:pt x="0" y="1504719"/>
                  </a:cubicBezTo>
                  <a:cubicBezTo>
                    <a:pt x="0" y="1149775"/>
                    <a:pt x="72809" y="133483"/>
                    <a:pt x="115281" y="103146"/>
                  </a:cubicBezTo>
                  <a:cubicBezTo>
                    <a:pt x="154719" y="69775"/>
                    <a:pt x="394382" y="0"/>
                    <a:pt x="394382" y="0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BAEE3C6B-20BB-4F29-B944-59B96D2F8C87}"/>
                </a:ext>
              </a:extLst>
            </p:cNvPr>
            <p:cNvSpPr/>
            <p:nvPr/>
          </p:nvSpPr>
          <p:spPr>
            <a:xfrm>
              <a:off x="3550755" y="2823326"/>
              <a:ext cx="456138" cy="609099"/>
            </a:xfrm>
            <a:custGeom>
              <a:avLst/>
              <a:gdLst>
                <a:gd name="connsiteX0" fmla="*/ 73891 w 456138"/>
                <a:gd name="connsiteY0" fmla="*/ 609099 h 609099"/>
                <a:gd name="connsiteX1" fmla="*/ 49621 w 456138"/>
                <a:gd name="connsiteY1" fmla="*/ 11459 h 609099"/>
                <a:gd name="connsiteX2" fmla="*/ 456138 w 456138"/>
                <a:gd name="connsiteY2" fmla="*/ 433144 h 609099"/>
                <a:gd name="connsiteX3" fmla="*/ 73891 w 456138"/>
                <a:gd name="connsiteY3" fmla="*/ 609099 h 609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138" h="609099">
                  <a:moveTo>
                    <a:pt x="73891" y="609099"/>
                  </a:moveTo>
                  <a:cubicBezTo>
                    <a:pt x="73891" y="609099"/>
                    <a:pt x="-74761" y="93369"/>
                    <a:pt x="49621" y="11459"/>
                  </a:cubicBezTo>
                  <a:cubicBezTo>
                    <a:pt x="192206" y="-82586"/>
                    <a:pt x="456138" y="433144"/>
                    <a:pt x="456138" y="433144"/>
                  </a:cubicBezTo>
                  <a:cubicBezTo>
                    <a:pt x="456138" y="433144"/>
                    <a:pt x="283217" y="584830"/>
                    <a:pt x="73891" y="609099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DEC66F87-523B-454E-AFD4-7674478FF3F8}"/>
                </a:ext>
              </a:extLst>
            </p:cNvPr>
            <p:cNvSpPr/>
            <p:nvPr/>
          </p:nvSpPr>
          <p:spPr>
            <a:xfrm>
              <a:off x="3715657" y="2859055"/>
              <a:ext cx="46762" cy="536966"/>
            </a:xfrm>
            <a:custGeom>
              <a:avLst/>
              <a:gdLst>
                <a:gd name="connsiteX0" fmla="*/ 42472 w 46762"/>
                <a:gd name="connsiteY0" fmla="*/ 536966 h 536966"/>
                <a:gd name="connsiteX1" fmla="*/ 36405 w 46762"/>
                <a:gd name="connsiteY1" fmla="*/ 530899 h 536966"/>
                <a:gd name="connsiteX2" fmla="*/ 0 w 46762"/>
                <a:gd name="connsiteY2" fmla="*/ 6067 h 536966"/>
                <a:gd name="connsiteX3" fmla="*/ 3034 w 46762"/>
                <a:gd name="connsiteY3" fmla="*/ 0 h 536966"/>
                <a:gd name="connsiteX4" fmla="*/ 9101 w 46762"/>
                <a:gd name="connsiteY4" fmla="*/ 3034 h 536966"/>
                <a:gd name="connsiteX5" fmla="*/ 45506 w 46762"/>
                <a:gd name="connsiteY5" fmla="*/ 530899 h 536966"/>
                <a:gd name="connsiteX6" fmla="*/ 42472 w 46762"/>
                <a:gd name="connsiteY6" fmla="*/ 536966 h 536966"/>
                <a:gd name="connsiteX7" fmla="*/ 42472 w 46762"/>
                <a:gd name="connsiteY7" fmla="*/ 536966 h 536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62" h="536966">
                  <a:moveTo>
                    <a:pt x="42472" y="536966"/>
                  </a:moveTo>
                  <a:cubicBezTo>
                    <a:pt x="39438" y="536966"/>
                    <a:pt x="36405" y="533933"/>
                    <a:pt x="36405" y="530899"/>
                  </a:cubicBezTo>
                  <a:cubicBezTo>
                    <a:pt x="36405" y="524832"/>
                    <a:pt x="9101" y="45506"/>
                    <a:pt x="0" y="6067"/>
                  </a:cubicBezTo>
                  <a:cubicBezTo>
                    <a:pt x="0" y="3034"/>
                    <a:pt x="0" y="0"/>
                    <a:pt x="3034" y="0"/>
                  </a:cubicBezTo>
                  <a:cubicBezTo>
                    <a:pt x="6067" y="0"/>
                    <a:pt x="9101" y="0"/>
                    <a:pt x="9101" y="3034"/>
                  </a:cubicBezTo>
                  <a:cubicBezTo>
                    <a:pt x="18202" y="42472"/>
                    <a:pt x="45506" y="509663"/>
                    <a:pt x="45506" y="530899"/>
                  </a:cubicBezTo>
                  <a:cubicBezTo>
                    <a:pt x="48539" y="533933"/>
                    <a:pt x="45506" y="536966"/>
                    <a:pt x="42472" y="536966"/>
                  </a:cubicBezTo>
                  <a:cubicBezTo>
                    <a:pt x="42472" y="536966"/>
                    <a:pt x="42472" y="536966"/>
                    <a:pt x="42472" y="536966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72A48ED2-B8C3-4984-8B68-8FD645FE9177}"/>
                </a:ext>
              </a:extLst>
            </p:cNvPr>
            <p:cNvSpPr/>
            <p:nvPr/>
          </p:nvSpPr>
          <p:spPr>
            <a:xfrm>
              <a:off x="3498592" y="2336163"/>
              <a:ext cx="72057" cy="144935"/>
            </a:xfrm>
            <a:custGeom>
              <a:avLst/>
              <a:gdLst>
                <a:gd name="connsiteX0" fmla="*/ 56278 w 72057"/>
                <a:gd name="connsiteY0" fmla="*/ 61768 h 144935"/>
                <a:gd name="connsiteX1" fmla="*/ 62346 w 72057"/>
                <a:gd name="connsiteY1" fmla="*/ 52667 h 144935"/>
                <a:gd name="connsiteX2" fmla="*/ 65379 w 72057"/>
                <a:gd name="connsiteY2" fmla="*/ 13229 h 144935"/>
                <a:gd name="connsiteX3" fmla="*/ 44143 w 72057"/>
                <a:gd name="connsiteY3" fmla="*/ 1094 h 144935"/>
                <a:gd name="connsiteX4" fmla="*/ 28975 w 72057"/>
                <a:gd name="connsiteY4" fmla="*/ 7162 h 144935"/>
                <a:gd name="connsiteX5" fmla="*/ 1672 w 72057"/>
                <a:gd name="connsiteY5" fmla="*/ 86038 h 144935"/>
                <a:gd name="connsiteX6" fmla="*/ 16840 w 72057"/>
                <a:gd name="connsiteY6" fmla="*/ 143679 h 144935"/>
                <a:gd name="connsiteX7" fmla="*/ 47177 w 72057"/>
                <a:gd name="connsiteY7" fmla="*/ 140645 h 144935"/>
                <a:gd name="connsiteX8" fmla="*/ 62346 w 72057"/>
                <a:gd name="connsiteY8" fmla="*/ 110308 h 144935"/>
                <a:gd name="connsiteX9" fmla="*/ 71447 w 72057"/>
                <a:gd name="connsiteY9" fmla="*/ 76937 h 144935"/>
                <a:gd name="connsiteX10" fmla="*/ 56278 w 72057"/>
                <a:gd name="connsiteY10" fmla="*/ 61768 h 144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057" h="144935">
                  <a:moveTo>
                    <a:pt x="56278" y="61768"/>
                  </a:moveTo>
                  <a:cubicBezTo>
                    <a:pt x="56278" y="55701"/>
                    <a:pt x="59312" y="55701"/>
                    <a:pt x="62346" y="52667"/>
                  </a:cubicBezTo>
                  <a:cubicBezTo>
                    <a:pt x="74481" y="37499"/>
                    <a:pt x="65379" y="28398"/>
                    <a:pt x="65379" y="13229"/>
                  </a:cubicBezTo>
                  <a:cubicBezTo>
                    <a:pt x="65379" y="1094"/>
                    <a:pt x="53245" y="-1940"/>
                    <a:pt x="44143" y="1094"/>
                  </a:cubicBezTo>
                  <a:cubicBezTo>
                    <a:pt x="38076" y="1094"/>
                    <a:pt x="32009" y="4128"/>
                    <a:pt x="28975" y="7162"/>
                  </a:cubicBezTo>
                  <a:cubicBezTo>
                    <a:pt x="13806" y="34465"/>
                    <a:pt x="1672" y="55701"/>
                    <a:pt x="1672" y="86038"/>
                  </a:cubicBezTo>
                  <a:cubicBezTo>
                    <a:pt x="1672" y="110308"/>
                    <a:pt x="-7429" y="134577"/>
                    <a:pt x="16840" y="143679"/>
                  </a:cubicBezTo>
                  <a:cubicBezTo>
                    <a:pt x="22908" y="146712"/>
                    <a:pt x="41110" y="143679"/>
                    <a:pt x="47177" y="140645"/>
                  </a:cubicBezTo>
                  <a:cubicBezTo>
                    <a:pt x="59312" y="134577"/>
                    <a:pt x="56278" y="113341"/>
                    <a:pt x="62346" y="110308"/>
                  </a:cubicBezTo>
                  <a:cubicBezTo>
                    <a:pt x="65379" y="98173"/>
                    <a:pt x="74481" y="89072"/>
                    <a:pt x="71447" y="76937"/>
                  </a:cubicBezTo>
                  <a:cubicBezTo>
                    <a:pt x="65379" y="73903"/>
                    <a:pt x="56278" y="67836"/>
                    <a:pt x="56278" y="61768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FBBB3E6F-9FFC-4559-9999-E13383C2A229}"/>
                </a:ext>
              </a:extLst>
            </p:cNvPr>
            <p:cNvSpPr/>
            <p:nvPr/>
          </p:nvSpPr>
          <p:spPr>
            <a:xfrm>
              <a:off x="3093747" y="2449505"/>
              <a:ext cx="66741" cy="139550"/>
            </a:xfrm>
            <a:custGeom>
              <a:avLst/>
              <a:gdLst>
                <a:gd name="connsiteX0" fmla="*/ 0 w 66741"/>
                <a:gd name="connsiteY0" fmla="*/ 0 h 139550"/>
                <a:gd name="connsiteX1" fmla="*/ 63708 w 66741"/>
                <a:gd name="connsiteY1" fmla="*/ 139551 h 139550"/>
                <a:gd name="connsiteX2" fmla="*/ 66742 w 66741"/>
                <a:gd name="connsiteY2" fmla="*/ 54607 h 139550"/>
                <a:gd name="connsiteX3" fmla="*/ 0 w 66741"/>
                <a:gd name="connsiteY3" fmla="*/ 0 h 13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741" h="139550">
                  <a:moveTo>
                    <a:pt x="0" y="0"/>
                  </a:moveTo>
                  <a:cubicBezTo>
                    <a:pt x="0" y="0"/>
                    <a:pt x="12135" y="118315"/>
                    <a:pt x="63708" y="139551"/>
                  </a:cubicBezTo>
                  <a:lnTo>
                    <a:pt x="66742" y="546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E7844940-179C-4229-A871-7648EBA5DDC3}"/>
                </a:ext>
              </a:extLst>
            </p:cNvPr>
            <p:cNvSpPr/>
            <p:nvPr/>
          </p:nvSpPr>
          <p:spPr>
            <a:xfrm>
              <a:off x="3453180" y="2252314"/>
              <a:ext cx="100638" cy="236608"/>
            </a:xfrm>
            <a:custGeom>
              <a:avLst/>
              <a:gdLst>
                <a:gd name="connsiteX0" fmla="*/ 95623 w 100638"/>
                <a:gd name="connsiteY0" fmla="*/ 0 h 236608"/>
                <a:gd name="connsiteX1" fmla="*/ 50118 w 100638"/>
                <a:gd name="connsiteY1" fmla="*/ 233595 h 236608"/>
                <a:gd name="connsiteX2" fmla="*/ 1578 w 100638"/>
                <a:gd name="connsiteY2" fmla="*/ 12135 h 236608"/>
                <a:gd name="connsiteX3" fmla="*/ 95623 w 100638"/>
                <a:gd name="connsiteY3" fmla="*/ 0 h 236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638" h="236608">
                  <a:moveTo>
                    <a:pt x="95623" y="0"/>
                  </a:moveTo>
                  <a:cubicBezTo>
                    <a:pt x="95623" y="0"/>
                    <a:pt x="122927" y="194157"/>
                    <a:pt x="50118" y="233595"/>
                  </a:cubicBezTo>
                  <a:cubicBezTo>
                    <a:pt x="-13590" y="266966"/>
                    <a:pt x="1578" y="12135"/>
                    <a:pt x="1578" y="12135"/>
                  </a:cubicBezTo>
                  <a:lnTo>
                    <a:pt x="95623" y="0"/>
                  </a:ln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615C83C4-AD99-4970-870A-434419E2A2F7}"/>
                </a:ext>
              </a:extLst>
            </p:cNvPr>
            <p:cNvSpPr/>
            <p:nvPr/>
          </p:nvSpPr>
          <p:spPr>
            <a:xfrm>
              <a:off x="3099814" y="2114470"/>
              <a:ext cx="416811" cy="565757"/>
            </a:xfrm>
            <a:custGeom>
              <a:avLst/>
              <a:gdLst>
                <a:gd name="connsiteX0" fmla="*/ 409551 w 416811"/>
                <a:gd name="connsiteY0" fmla="*/ 183349 h 565757"/>
                <a:gd name="connsiteX1" fmla="*/ 406517 w 416811"/>
                <a:gd name="connsiteY1" fmla="*/ 432113 h 565757"/>
                <a:gd name="connsiteX2" fmla="*/ 245730 w 416811"/>
                <a:gd name="connsiteY2" fmla="*/ 565596 h 565757"/>
                <a:gd name="connsiteX3" fmla="*/ 33371 w 416811"/>
                <a:gd name="connsiteY3" fmla="*/ 419978 h 565757"/>
                <a:gd name="connsiteX4" fmla="*/ 0 w 416811"/>
                <a:gd name="connsiteY4" fmla="*/ 195484 h 565757"/>
                <a:gd name="connsiteX5" fmla="*/ 215393 w 416811"/>
                <a:gd name="connsiteY5" fmla="*/ 1326 h 565757"/>
                <a:gd name="connsiteX6" fmla="*/ 409551 w 416811"/>
                <a:gd name="connsiteY6" fmla="*/ 183349 h 565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6811" h="565757">
                  <a:moveTo>
                    <a:pt x="409551" y="183349"/>
                  </a:moveTo>
                  <a:cubicBezTo>
                    <a:pt x="409551" y="183349"/>
                    <a:pt x="427753" y="359304"/>
                    <a:pt x="406517" y="432113"/>
                  </a:cubicBezTo>
                  <a:cubicBezTo>
                    <a:pt x="385281" y="498854"/>
                    <a:pt x="294270" y="559529"/>
                    <a:pt x="245730" y="565596"/>
                  </a:cubicBezTo>
                  <a:cubicBezTo>
                    <a:pt x="178989" y="568630"/>
                    <a:pt x="60674" y="529192"/>
                    <a:pt x="33371" y="419978"/>
                  </a:cubicBezTo>
                  <a:cubicBezTo>
                    <a:pt x="15169" y="347169"/>
                    <a:pt x="0" y="247057"/>
                    <a:pt x="0" y="195484"/>
                  </a:cubicBezTo>
                  <a:cubicBezTo>
                    <a:pt x="3034" y="101439"/>
                    <a:pt x="30337" y="22562"/>
                    <a:pt x="215393" y="1326"/>
                  </a:cubicBezTo>
                  <a:cubicBezTo>
                    <a:pt x="297303" y="-13842"/>
                    <a:pt x="391348" y="104472"/>
                    <a:pt x="409551" y="183349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CB361F5C-B09B-422E-A603-405BCA049C37}"/>
                </a:ext>
              </a:extLst>
            </p:cNvPr>
            <p:cNvSpPr/>
            <p:nvPr/>
          </p:nvSpPr>
          <p:spPr>
            <a:xfrm>
              <a:off x="3318241" y="2373662"/>
              <a:ext cx="57640" cy="136516"/>
            </a:xfrm>
            <a:custGeom>
              <a:avLst/>
              <a:gdLst>
                <a:gd name="connsiteX0" fmla="*/ 30337 w 57640"/>
                <a:gd name="connsiteY0" fmla="*/ 136517 h 136516"/>
                <a:gd name="connsiteX1" fmla="*/ 6067 w 57640"/>
                <a:gd name="connsiteY1" fmla="*/ 133483 h 136516"/>
                <a:gd name="connsiteX2" fmla="*/ 0 w 57640"/>
                <a:gd name="connsiteY2" fmla="*/ 127416 h 136516"/>
                <a:gd name="connsiteX3" fmla="*/ 6067 w 57640"/>
                <a:gd name="connsiteY3" fmla="*/ 121348 h 136516"/>
                <a:gd name="connsiteX4" fmla="*/ 45506 w 57640"/>
                <a:gd name="connsiteY4" fmla="*/ 121348 h 136516"/>
                <a:gd name="connsiteX5" fmla="*/ 45506 w 57640"/>
                <a:gd name="connsiteY5" fmla="*/ 118315 h 136516"/>
                <a:gd name="connsiteX6" fmla="*/ 30337 w 57640"/>
                <a:gd name="connsiteY6" fmla="*/ 6067 h 136516"/>
                <a:gd name="connsiteX7" fmla="*/ 36405 w 57640"/>
                <a:gd name="connsiteY7" fmla="*/ 0 h 136516"/>
                <a:gd name="connsiteX8" fmla="*/ 42472 w 57640"/>
                <a:gd name="connsiteY8" fmla="*/ 6067 h 136516"/>
                <a:gd name="connsiteX9" fmla="*/ 57640 w 57640"/>
                <a:gd name="connsiteY9" fmla="*/ 118315 h 136516"/>
                <a:gd name="connsiteX10" fmla="*/ 51573 w 57640"/>
                <a:gd name="connsiteY10" fmla="*/ 130449 h 136516"/>
                <a:gd name="connsiteX11" fmla="*/ 30337 w 57640"/>
                <a:gd name="connsiteY11" fmla="*/ 136517 h 13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640" h="136516">
                  <a:moveTo>
                    <a:pt x="30337" y="136517"/>
                  </a:moveTo>
                  <a:cubicBezTo>
                    <a:pt x="18202" y="136517"/>
                    <a:pt x="9101" y="133483"/>
                    <a:pt x="6067" y="133483"/>
                  </a:cubicBezTo>
                  <a:cubicBezTo>
                    <a:pt x="3034" y="133483"/>
                    <a:pt x="0" y="130449"/>
                    <a:pt x="0" y="127416"/>
                  </a:cubicBezTo>
                  <a:cubicBezTo>
                    <a:pt x="0" y="124382"/>
                    <a:pt x="3034" y="121348"/>
                    <a:pt x="6067" y="121348"/>
                  </a:cubicBezTo>
                  <a:cubicBezTo>
                    <a:pt x="18202" y="124382"/>
                    <a:pt x="39438" y="124382"/>
                    <a:pt x="45506" y="121348"/>
                  </a:cubicBezTo>
                  <a:cubicBezTo>
                    <a:pt x="45506" y="121348"/>
                    <a:pt x="45506" y="118315"/>
                    <a:pt x="45506" y="118315"/>
                  </a:cubicBezTo>
                  <a:cubicBezTo>
                    <a:pt x="45506" y="100112"/>
                    <a:pt x="30337" y="9101"/>
                    <a:pt x="30337" y="6067"/>
                  </a:cubicBezTo>
                  <a:cubicBezTo>
                    <a:pt x="30337" y="3034"/>
                    <a:pt x="33371" y="0"/>
                    <a:pt x="36405" y="0"/>
                  </a:cubicBezTo>
                  <a:cubicBezTo>
                    <a:pt x="39438" y="0"/>
                    <a:pt x="42472" y="3034"/>
                    <a:pt x="42472" y="6067"/>
                  </a:cubicBezTo>
                  <a:cubicBezTo>
                    <a:pt x="42472" y="9101"/>
                    <a:pt x="57640" y="100112"/>
                    <a:pt x="57640" y="118315"/>
                  </a:cubicBezTo>
                  <a:cubicBezTo>
                    <a:pt x="57640" y="124382"/>
                    <a:pt x="54607" y="127416"/>
                    <a:pt x="51573" y="130449"/>
                  </a:cubicBezTo>
                  <a:cubicBezTo>
                    <a:pt x="48539" y="136517"/>
                    <a:pt x="39438" y="136517"/>
                    <a:pt x="30337" y="136517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91956EEE-5CF9-454A-AA33-75F0A512CBF4}"/>
                </a:ext>
              </a:extLst>
            </p:cNvPr>
            <p:cNvSpPr/>
            <p:nvPr/>
          </p:nvSpPr>
          <p:spPr>
            <a:xfrm>
              <a:off x="3411513" y="2351653"/>
              <a:ext cx="40984" cy="40984"/>
            </a:xfrm>
            <a:custGeom>
              <a:avLst/>
              <a:gdLst>
                <a:gd name="connsiteX0" fmla="*/ 773 w 40984"/>
                <a:gd name="connsiteY0" fmla="*/ 25043 h 40984"/>
                <a:gd name="connsiteX1" fmla="*/ 25043 w 40984"/>
                <a:gd name="connsiteY1" fmla="*/ 40211 h 40984"/>
                <a:gd name="connsiteX2" fmla="*/ 40211 w 40984"/>
                <a:gd name="connsiteY2" fmla="*/ 15942 h 40984"/>
                <a:gd name="connsiteX3" fmla="*/ 15942 w 40984"/>
                <a:gd name="connsiteY3" fmla="*/ 773 h 40984"/>
                <a:gd name="connsiteX4" fmla="*/ 773 w 40984"/>
                <a:gd name="connsiteY4" fmla="*/ 25043 h 40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84" h="40984">
                  <a:moveTo>
                    <a:pt x="773" y="25043"/>
                  </a:moveTo>
                  <a:cubicBezTo>
                    <a:pt x="3807" y="37178"/>
                    <a:pt x="12908" y="43245"/>
                    <a:pt x="25043" y="40211"/>
                  </a:cubicBezTo>
                  <a:cubicBezTo>
                    <a:pt x="37178" y="37178"/>
                    <a:pt x="43245" y="28076"/>
                    <a:pt x="40211" y="15942"/>
                  </a:cubicBezTo>
                  <a:cubicBezTo>
                    <a:pt x="37178" y="3807"/>
                    <a:pt x="28076" y="-2261"/>
                    <a:pt x="15942" y="773"/>
                  </a:cubicBezTo>
                  <a:cubicBezTo>
                    <a:pt x="3807" y="3807"/>
                    <a:pt x="-2261" y="15942"/>
                    <a:pt x="773" y="25043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C2D9ACA1-0D12-4F48-B01F-88C19DE997D1}"/>
                </a:ext>
              </a:extLst>
            </p:cNvPr>
            <p:cNvSpPr/>
            <p:nvPr/>
          </p:nvSpPr>
          <p:spPr>
            <a:xfrm>
              <a:off x="3229491" y="2366821"/>
              <a:ext cx="40984" cy="40984"/>
            </a:xfrm>
            <a:custGeom>
              <a:avLst/>
              <a:gdLst>
                <a:gd name="connsiteX0" fmla="*/ 773 w 40984"/>
                <a:gd name="connsiteY0" fmla="*/ 25043 h 40984"/>
                <a:gd name="connsiteX1" fmla="*/ 25043 w 40984"/>
                <a:gd name="connsiteY1" fmla="*/ 40211 h 40984"/>
                <a:gd name="connsiteX2" fmla="*/ 40211 w 40984"/>
                <a:gd name="connsiteY2" fmla="*/ 15942 h 40984"/>
                <a:gd name="connsiteX3" fmla="*/ 15942 w 40984"/>
                <a:gd name="connsiteY3" fmla="*/ 773 h 40984"/>
                <a:gd name="connsiteX4" fmla="*/ 773 w 40984"/>
                <a:gd name="connsiteY4" fmla="*/ 25043 h 40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84" h="40984">
                  <a:moveTo>
                    <a:pt x="773" y="25043"/>
                  </a:moveTo>
                  <a:cubicBezTo>
                    <a:pt x="3807" y="37178"/>
                    <a:pt x="12908" y="43245"/>
                    <a:pt x="25043" y="40211"/>
                  </a:cubicBezTo>
                  <a:cubicBezTo>
                    <a:pt x="37178" y="37178"/>
                    <a:pt x="43245" y="28076"/>
                    <a:pt x="40211" y="15942"/>
                  </a:cubicBezTo>
                  <a:cubicBezTo>
                    <a:pt x="37178" y="3807"/>
                    <a:pt x="28076" y="-2261"/>
                    <a:pt x="15942" y="773"/>
                  </a:cubicBezTo>
                  <a:cubicBezTo>
                    <a:pt x="3807" y="3807"/>
                    <a:pt x="-2261" y="15942"/>
                    <a:pt x="773" y="25043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AF3B7D0B-FB00-4DA6-BD93-74C909C1E4BA}"/>
                </a:ext>
              </a:extLst>
            </p:cNvPr>
            <p:cNvSpPr/>
            <p:nvPr/>
          </p:nvSpPr>
          <p:spPr>
            <a:xfrm>
              <a:off x="3386760" y="2307277"/>
              <a:ext cx="91509" cy="33013"/>
            </a:xfrm>
            <a:custGeom>
              <a:avLst/>
              <a:gdLst>
                <a:gd name="connsiteX0" fmla="*/ 83167 w 91509"/>
                <a:gd name="connsiteY0" fmla="*/ 33014 h 33013"/>
                <a:gd name="connsiteX1" fmla="*/ 77099 w 91509"/>
                <a:gd name="connsiteY1" fmla="*/ 29980 h 33013"/>
                <a:gd name="connsiteX2" fmla="*/ 10358 w 91509"/>
                <a:gd name="connsiteY2" fmla="*/ 20879 h 33013"/>
                <a:gd name="connsiteX3" fmla="*/ 1257 w 91509"/>
                <a:gd name="connsiteY3" fmla="*/ 17845 h 33013"/>
                <a:gd name="connsiteX4" fmla="*/ 4290 w 91509"/>
                <a:gd name="connsiteY4" fmla="*/ 8744 h 33013"/>
                <a:gd name="connsiteX5" fmla="*/ 89234 w 91509"/>
                <a:gd name="connsiteY5" fmla="*/ 20879 h 33013"/>
                <a:gd name="connsiteX6" fmla="*/ 89234 w 91509"/>
                <a:gd name="connsiteY6" fmla="*/ 33014 h 33013"/>
                <a:gd name="connsiteX7" fmla="*/ 83167 w 91509"/>
                <a:gd name="connsiteY7" fmla="*/ 33014 h 33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3013">
                  <a:moveTo>
                    <a:pt x="83167" y="33014"/>
                  </a:moveTo>
                  <a:cubicBezTo>
                    <a:pt x="80133" y="33014"/>
                    <a:pt x="80133" y="33014"/>
                    <a:pt x="77099" y="29980"/>
                  </a:cubicBezTo>
                  <a:cubicBezTo>
                    <a:pt x="52830" y="2677"/>
                    <a:pt x="10358" y="20879"/>
                    <a:pt x="10358" y="20879"/>
                  </a:cubicBezTo>
                  <a:cubicBezTo>
                    <a:pt x="7324" y="23913"/>
                    <a:pt x="1257" y="20879"/>
                    <a:pt x="1257" y="17845"/>
                  </a:cubicBezTo>
                  <a:cubicBezTo>
                    <a:pt x="-1777" y="14811"/>
                    <a:pt x="1257" y="8744"/>
                    <a:pt x="4290" y="8744"/>
                  </a:cubicBezTo>
                  <a:cubicBezTo>
                    <a:pt x="22493" y="-357"/>
                    <a:pt x="61931" y="-9458"/>
                    <a:pt x="89234" y="20879"/>
                  </a:cubicBezTo>
                  <a:cubicBezTo>
                    <a:pt x="92268" y="23913"/>
                    <a:pt x="92268" y="29980"/>
                    <a:pt x="89234" y="33014"/>
                  </a:cubicBezTo>
                  <a:cubicBezTo>
                    <a:pt x="86200" y="29980"/>
                    <a:pt x="83167" y="33014"/>
                    <a:pt x="83167" y="33014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24A7272F-F076-4703-AFC7-B29BA445B49B}"/>
                </a:ext>
              </a:extLst>
            </p:cNvPr>
            <p:cNvSpPr/>
            <p:nvPr/>
          </p:nvSpPr>
          <p:spPr>
            <a:xfrm>
              <a:off x="3194618" y="2302716"/>
              <a:ext cx="91509" cy="34541"/>
            </a:xfrm>
            <a:custGeom>
              <a:avLst/>
              <a:gdLst>
                <a:gd name="connsiteX0" fmla="*/ 8343 w 91509"/>
                <a:gd name="connsiteY0" fmla="*/ 34542 h 34541"/>
                <a:gd name="connsiteX1" fmla="*/ 2275 w 91509"/>
                <a:gd name="connsiteY1" fmla="*/ 31508 h 34541"/>
                <a:gd name="connsiteX2" fmla="*/ 2275 w 91509"/>
                <a:gd name="connsiteY2" fmla="*/ 19373 h 34541"/>
                <a:gd name="connsiteX3" fmla="*/ 87219 w 91509"/>
                <a:gd name="connsiteY3" fmla="*/ 13306 h 34541"/>
                <a:gd name="connsiteX4" fmla="*/ 90253 w 91509"/>
                <a:gd name="connsiteY4" fmla="*/ 25440 h 34541"/>
                <a:gd name="connsiteX5" fmla="*/ 78118 w 91509"/>
                <a:gd name="connsiteY5" fmla="*/ 28474 h 34541"/>
                <a:gd name="connsiteX6" fmla="*/ 11376 w 91509"/>
                <a:gd name="connsiteY6" fmla="*/ 34542 h 34541"/>
                <a:gd name="connsiteX7" fmla="*/ 8343 w 91509"/>
                <a:gd name="connsiteY7" fmla="*/ 34542 h 34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4541">
                  <a:moveTo>
                    <a:pt x="8343" y="34542"/>
                  </a:moveTo>
                  <a:cubicBezTo>
                    <a:pt x="5309" y="34542"/>
                    <a:pt x="5309" y="34542"/>
                    <a:pt x="2275" y="31508"/>
                  </a:cubicBezTo>
                  <a:cubicBezTo>
                    <a:pt x="-758" y="28474"/>
                    <a:pt x="-758" y="22407"/>
                    <a:pt x="2275" y="19373"/>
                  </a:cubicBezTo>
                  <a:cubicBezTo>
                    <a:pt x="14410" y="7238"/>
                    <a:pt x="50815" y="-13998"/>
                    <a:pt x="87219" y="13306"/>
                  </a:cubicBezTo>
                  <a:cubicBezTo>
                    <a:pt x="90253" y="16339"/>
                    <a:pt x="93287" y="19373"/>
                    <a:pt x="90253" y="25440"/>
                  </a:cubicBezTo>
                  <a:cubicBezTo>
                    <a:pt x="87219" y="28474"/>
                    <a:pt x="84185" y="28474"/>
                    <a:pt x="78118" y="28474"/>
                  </a:cubicBezTo>
                  <a:cubicBezTo>
                    <a:pt x="41713" y="4205"/>
                    <a:pt x="14410" y="31508"/>
                    <a:pt x="11376" y="34542"/>
                  </a:cubicBezTo>
                  <a:cubicBezTo>
                    <a:pt x="14410" y="34542"/>
                    <a:pt x="11376" y="34542"/>
                    <a:pt x="8343" y="34542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CD36FC0D-B003-46D5-B055-077A6EF3BCC2}"/>
                </a:ext>
              </a:extLst>
            </p:cNvPr>
            <p:cNvSpPr/>
            <p:nvPr/>
          </p:nvSpPr>
          <p:spPr>
            <a:xfrm>
              <a:off x="3184758" y="2616359"/>
              <a:ext cx="228876" cy="66741"/>
            </a:xfrm>
            <a:custGeom>
              <a:avLst/>
              <a:gdLst>
                <a:gd name="connsiteX0" fmla="*/ 148652 w 228876"/>
                <a:gd name="connsiteY0" fmla="*/ 66742 h 66741"/>
                <a:gd name="connsiteX1" fmla="*/ 148652 w 228876"/>
                <a:gd name="connsiteY1" fmla="*/ 66742 h 66741"/>
                <a:gd name="connsiteX2" fmla="*/ 3034 w 228876"/>
                <a:gd name="connsiteY2" fmla="*/ 12135 h 66741"/>
                <a:gd name="connsiteX3" fmla="*/ 0 w 228876"/>
                <a:gd name="connsiteY3" fmla="*/ 3034 h 66741"/>
                <a:gd name="connsiteX4" fmla="*/ 9101 w 228876"/>
                <a:gd name="connsiteY4" fmla="*/ 0 h 66741"/>
                <a:gd name="connsiteX5" fmla="*/ 145618 w 228876"/>
                <a:gd name="connsiteY5" fmla="*/ 54607 h 66741"/>
                <a:gd name="connsiteX6" fmla="*/ 148652 w 228876"/>
                <a:gd name="connsiteY6" fmla="*/ 54607 h 66741"/>
                <a:gd name="connsiteX7" fmla="*/ 218427 w 228876"/>
                <a:gd name="connsiteY7" fmla="*/ 30337 h 66741"/>
                <a:gd name="connsiteX8" fmla="*/ 227528 w 228876"/>
                <a:gd name="connsiteY8" fmla="*/ 30337 h 66741"/>
                <a:gd name="connsiteX9" fmla="*/ 227528 w 228876"/>
                <a:gd name="connsiteY9" fmla="*/ 39438 h 66741"/>
                <a:gd name="connsiteX10" fmla="*/ 148652 w 228876"/>
                <a:gd name="connsiteY10" fmla="*/ 66742 h 66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8876" h="66741">
                  <a:moveTo>
                    <a:pt x="148652" y="66742"/>
                  </a:moveTo>
                  <a:cubicBezTo>
                    <a:pt x="145618" y="66742"/>
                    <a:pt x="145618" y="66742"/>
                    <a:pt x="148652" y="66742"/>
                  </a:cubicBezTo>
                  <a:cubicBezTo>
                    <a:pt x="94045" y="66742"/>
                    <a:pt x="6067" y="15169"/>
                    <a:pt x="3034" y="12135"/>
                  </a:cubicBezTo>
                  <a:cubicBezTo>
                    <a:pt x="0" y="9101"/>
                    <a:pt x="0" y="6067"/>
                    <a:pt x="0" y="3034"/>
                  </a:cubicBezTo>
                  <a:cubicBezTo>
                    <a:pt x="3034" y="0"/>
                    <a:pt x="6067" y="0"/>
                    <a:pt x="9101" y="0"/>
                  </a:cubicBezTo>
                  <a:cubicBezTo>
                    <a:pt x="9101" y="0"/>
                    <a:pt x="100112" y="51573"/>
                    <a:pt x="145618" y="54607"/>
                  </a:cubicBezTo>
                  <a:cubicBezTo>
                    <a:pt x="145618" y="54607"/>
                    <a:pt x="145618" y="54607"/>
                    <a:pt x="148652" y="54607"/>
                  </a:cubicBezTo>
                  <a:cubicBezTo>
                    <a:pt x="188090" y="54607"/>
                    <a:pt x="218427" y="30337"/>
                    <a:pt x="218427" y="30337"/>
                  </a:cubicBezTo>
                  <a:cubicBezTo>
                    <a:pt x="221461" y="27303"/>
                    <a:pt x="224494" y="30337"/>
                    <a:pt x="227528" y="30337"/>
                  </a:cubicBezTo>
                  <a:cubicBezTo>
                    <a:pt x="230562" y="33371"/>
                    <a:pt x="227528" y="36404"/>
                    <a:pt x="227528" y="39438"/>
                  </a:cubicBezTo>
                  <a:cubicBezTo>
                    <a:pt x="221461" y="42472"/>
                    <a:pt x="188090" y="66742"/>
                    <a:pt x="148652" y="66742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10AAB8C1-31FD-4990-82F7-900CC561D61B}"/>
                </a:ext>
              </a:extLst>
            </p:cNvPr>
            <p:cNvSpPr/>
            <p:nvPr/>
          </p:nvSpPr>
          <p:spPr>
            <a:xfrm>
              <a:off x="3055957" y="2366117"/>
              <a:ext cx="76376" cy="113485"/>
            </a:xfrm>
            <a:custGeom>
              <a:avLst/>
              <a:gdLst>
                <a:gd name="connsiteX0" fmla="*/ 65093 w 76376"/>
                <a:gd name="connsiteY0" fmla="*/ 16646 h 113485"/>
                <a:gd name="connsiteX1" fmla="*/ 7453 w 76376"/>
                <a:gd name="connsiteY1" fmla="*/ 7545 h 113485"/>
                <a:gd name="connsiteX2" fmla="*/ 62060 w 76376"/>
                <a:gd name="connsiteY2" fmla="*/ 110691 h 113485"/>
                <a:gd name="connsiteX3" fmla="*/ 65093 w 76376"/>
                <a:gd name="connsiteY3" fmla="*/ 16646 h 11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376" h="113485">
                  <a:moveTo>
                    <a:pt x="65093" y="16646"/>
                  </a:moveTo>
                  <a:cubicBezTo>
                    <a:pt x="65093" y="16646"/>
                    <a:pt x="31723" y="-13691"/>
                    <a:pt x="7453" y="7545"/>
                  </a:cubicBezTo>
                  <a:cubicBezTo>
                    <a:pt x="-16817" y="25747"/>
                    <a:pt x="22621" y="131927"/>
                    <a:pt x="62060" y="110691"/>
                  </a:cubicBezTo>
                  <a:cubicBezTo>
                    <a:pt x="92397" y="89455"/>
                    <a:pt x="65093" y="16646"/>
                    <a:pt x="65093" y="16646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B500CCAC-3AEA-4C03-84C9-85D83A2BDEBD}"/>
                </a:ext>
              </a:extLst>
            </p:cNvPr>
            <p:cNvSpPr/>
            <p:nvPr/>
          </p:nvSpPr>
          <p:spPr>
            <a:xfrm>
              <a:off x="3049133" y="2001701"/>
              <a:ext cx="521443" cy="390986"/>
            </a:xfrm>
            <a:custGeom>
              <a:avLst/>
              <a:gdLst>
                <a:gd name="connsiteX0" fmla="*/ 517873 w 521443"/>
                <a:gd name="connsiteY0" fmla="*/ 247579 h 390986"/>
                <a:gd name="connsiteX1" fmla="*/ 499671 w 521443"/>
                <a:gd name="connsiteY1" fmla="*/ 205107 h 390986"/>
                <a:gd name="connsiteX2" fmla="*/ 502704 w 521443"/>
                <a:gd name="connsiteY2" fmla="*/ 171736 h 390986"/>
                <a:gd name="connsiteX3" fmla="*/ 496637 w 521443"/>
                <a:gd name="connsiteY3" fmla="*/ 135332 h 390986"/>
                <a:gd name="connsiteX4" fmla="*/ 478435 w 521443"/>
                <a:gd name="connsiteY4" fmla="*/ 108029 h 390986"/>
                <a:gd name="connsiteX5" fmla="*/ 463266 w 521443"/>
                <a:gd name="connsiteY5" fmla="*/ 65557 h 390986"/>
                <a:gd name="connsiteX6" fmla="*/ 402592 w 521443"/>
                <a:gd name="connsiteY6" fmla="*/ 41287 h 390986"/>
                <a:gd name="connsiteX7" fmla="*/ 278210 w 521443"/>
                <a:gd name="connsiteY7" fmla="*/ 1849 h 390986"/>
                <a:gd name="connsiteX8" fmla="*/ 266075 w 521443"/>
                <a:gd name="connsiteY8" fmla="*/ 7916 h 390986"/>
                <a:gd name="connsiteX9" fmla="*/ 211468 w 521443"/>
                <a:gd name="connsiteY9" fmla="*/ 20051 h 390986"/>
                <a:gd name="connsiteX10" fmla="*/ 178098 w 521443"/>
                <a:gd name="connsiteY10" fmla="*/ 23085 h 390986"/>
                <a:gd name="connsiteX11" fmla="*/ 147761 w 521443"/>
                <a:gd name="connsiteY11" fmla="*/ 53422 h 390986"/>
                <a:gd name="connsiteX12" fmla="*/ 135626 w 521443"/>
                <a:gd name="connsiteY12" fmla="*/ 71624 h 390986"/>
                <a:gd name="connsiteX13" fmla="*/ 105289 w 521443"/>
                <a:gd name="connsiteY13" fmla="*/ 92860 h 390986"/>
                <a:gd name="connsiteX14" fmla="*/ 93154 w 521443"/>
                <a:gd name="connsiteY14" fmla="*/ 89826 h 390986"/>
                <a:gd name="connsiteX15" fmla="*/ 74951 w 521443"/>
                <a:gd name="connsiteY15" fmla="*/ 129265 h 390986"/>
                <a:gd name="connsiteX16" fmla="*/ 23378 w 521443"/>
                <a:gd name="connsiteY16" fmla="*/ 189939 h 390986"/>
                <a:gd name="connsiteX17" fmla="*/ 14277 w 521443"/>
                <a:gd name="connsiteY17" fmla="*/ 290051 h 390986"/>
                <a:gd name="connsiteX18" fmla="*/ 87086 w 521443"/>
                <a:gd name="connsiteY18" fmla="*/ 384096 h 390986"/>
                <a:gd name="connsiteX19" fmla="*/ 93154 w 521443"/>
                <a:gd name="connsiteY19" fmla="*/ 368927 h 390986"/>
                <a:gd name="connsiteX20" fmla="*/ 120457 w 521443"/>
                <a:gd name="connsiteY20" fmla="*/ 277916 h 390986"/>
                <a:gd name="connsiteX21" fmla="*/ 129558 w 521443"/>
                <a:gd name="connsiteY21" fmla="*/ 268815 h 390986"/>
                <a:gd name="connsiteX22" fmla="*/ 132592 w 521443"/>
                <a:gd name="connsiteY22" fmla="*/ 253647 h 390986"/>
                <a:gd name="connsiteX23" fmla="*/ 132592 w 521443"/>
                <a:gd name="connsiteY23" fmla="*/ 253647 h 390986"/>
                <a:gd name="connsiteX24" fmla="*/ 208435 w 521443"/>
                <a:gd name="connsiteY24" fmla="*/ 229377 h 390986"/>
                <a:gd name="connsiteX25" fmla="*/ 220570 w 521443"/>
                <a:gd name="connsiteY25" fmla="*/ 226343 h 390986"/>
                <a:gd name="connsiteX26" fmla="*/ 256974 w 521443"/>
                <a:gd name="connsiteY26" fmla="*/ 247579 h 390986"/>
                <a:gd name="connsiteX27" fmla="*/ 272143 w 521443"/>
                <a:gd name="connsiteY27" fmla="*/ 238478 h 390986"/>
                <a:gd name="connsiteX28" fmla="*/ 323716 w 521443"/>
                <a:gd name="connsiteY28" fmla="*/ 256680 h 390986"/>
                <a:gd name="connsiteX29" fmla="*/ 360120 w 521443"/>
                <a:gd name="connsiteY29" fmla="*/ 265781 h 390986"/>
                <a:gd name="connsiteX30" fmla="*/ 372255 w 521443"/>
                <a:gd name="connsiteY30" fmla="*/ 265781 h 390986"/>
                <a:gd name="connsiteX31" fmla="*/ 384390 w 521443"/>
                <a:gd name="connsiteY31" fmla="*/ 262748 h 390986"/>
                <a:gd name="connsiteX32" fmla="*/ 393491 w 521443"/>
                <a:gd name="connsiteY32" fmla="*/ 268815 h 390986"/>
                <a:gd name="connsiteX33" fmla="*/ 399558 w 521443"/>
                <a:gd name="connsiteY33" fmla="*/ 274883 h 390986"/>
                <a:gd name="connsiteX34" fmla="*/ 405626 w 521443"/>
                <a:gd name="connsiteY34" fmla="*/ 277916 h 390986"/>
                <a:gd name="connsiteX35" fmla="*/ 411693 w 521443"/>
                <a:gd name="connsiteY35" fmla="*/ 280950 h 390986"/>
                <a:gd name="connsiteX36" fmla="*/ 417760 w 521443"/>
                <a:gd name="connsiteY36" fmla="*/ 290051 h 390986"/>
                <a:gd name="connsiteX37" fmla="*/ 435963 w 521443"/>
                <a:gd name="connsiteY37" fmla="*/ 311287 h 390986"/>
                <a:gd name="connsiteX38" fmla="*/ 463266 w 521443"/>
                <a:gd name="connsiteY38" fmla="*/ 323422 h 390986"/>
                <a:gd name="connsiteX39" fmla="*/ 481468 w 521443"/>
                <a:gd name="connsiteY39" fmla="*/ 378029 h 390986"/>
                <a:gd name="connsiteX40" fmla="*/ 490570 w 521443"/>
                <a:gd name="connsiteY40" fmla="*/ 347691 h 390986"/>
                <a:gd name="connsiteX41" fmla="*/ 499671 w 521443"/>
                <a:gd name="connsiteY41" fmla="*/ 344658 h 390986"/>
                <a:gd name="connsiteX42" fmla="*/ 517873 w 521443"/>
                <a:gd name="connsiteY42" fmla="*/ 247579 h 390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21443" h="390986">
                  <a:moveTo>
                    <a:pt x="517873" y="247579"/>
                  </a:moveTo>
                  <a:cubicBezTo>
                    <a:pt x="514839" y="232411"/>
                    <a:pt x="505738" y="220276"/>
                    <a:pt x="499671" y="205107"/>
                  </a:cubicBezTo>
                  <a:cubicBezTo>
                    <a:pt x="490570" y="186905"/>
                    <a:pt x="499671" y="186905"/>
                    <a:pt x="502704" y="171736"/>
                  </a:cubicBezTo>
                  <a:cubicBezTo>
                    <a:pt x="505738" y="159602"/>
                    <a:pt x="499671" y="147467"/>
                    <a:pt x="496637" y="135332"/>
                  </a:cubicBezTo>
                  <a:cubicBezTo>
                    <a:pt x="490570" y="126231"/>
                    <a:pt x="484502" y="117130"/>
                    <a:pt x="478435" y="108029"/>
                  </a:cubicBezTo>
                  <a:cubicBezTo>
                    <a:pt x="469334" y="92860"/>
                    <a:pt x="469334" y="80725"/>
                    <a:pt x="463266" y="65557"/>
                  </a:cubicBezTo>
                  <a:cubicBezTo>
                    <a:pt x="451131" y="38253"/>
                    <a:pt x="426862" y="41287"/>
                    <a:pt x="402592" y="41287"/>
                  </a:cubicBezTo>
                  <a:cubicBezTo>
                    <a:pt x="360120" y="41287"/>
                    <a:pt x="323716" y="-10286"/>
                    <a:pt x="278210" y="1849"/>
                  </a:cubicBezTo>
                  <a:cubicBezTo>
                    <a:pt x="272143" y="1849"/>
                    <a:pt x="269109" y="4883"/>
                    <a:pt x="266075" y="7916"/>
                  </a:cubicBezTo>
                  <a:cubicBezTo>
                    <a:pt x="247873" y="17017"/>
                    <a:pt x="229671" y="23085"/>
                    <a:pt x="211468" y="20051"/>
                  </a:cubicBezTo>
                  <a:cubicBezTo>
                    <a:pt x="199334" y="20051"/>
                    <a:pt x="190232" y="17017"/>
                    <a:pt x="178098" y="23085"/>
                  </a:cubicBezTo>
                  <a:cubicBezTo>
                    <a:pt x="162929" y="29152"/>
                    <a:pt x="156862" y="41287"/>
                    <a:pt x="147761" y="53422"/>
                  </a:cubicBezTo>
                  <a:cubicBezTo>
                    <a:pt x="144727" y="59489"/>
                    <a:pt x="138659" y="65557"/>
                    <a:pt x="135626" y="71624"/>
                  </a:cubicBezTo>
                  <a:cubicBezTo>
                    <a:pt x="123491" y="77691"/>
                    <a:pt x="114390" y="86793"/>
                    <a:pt x="105289" y="92860"/>
                  </a:cubicBezTo>
                  <a:cubicBezTo>
                    <a:pt x="105289" y="89826"/>
                    <a:pt x="108322" y="77691"/>
                    <a:pt x="93154" y="89826"/>
                  </a:cubicBezTo>
                  <a:cubicBezTo>
                    <a:pt x="77985" y="98927"/>
                    <a:pt x="74951" y="114096"/>
                    <a:pt x="74951" y="129265"/>
                  </a:cubicBezTo>
                  <a:cubicBezTo>
                    <a:pt x="47648" y="138366"/>
                    <a:pt x="32480" y="162635"/>
                    <a:pt x="23378" y="189939"/>
                  </a:cubicBezTo>
                  <a:cubicBezTo>
                    <a:pt x="-891" y="223310"/>
                    <a:pt x="-9992" y="256680"/>
                    <a:pt x="14277" y="290051"/>
                  </a:cubicBezTo>
                  <a:cubicBezTo>
                    <a:pt x="-13026" y="320388"/>
                    <a:pt x="32480" y="417467"/>
                    <a:pt x="87086" y="384096"/>
                  </a:cubicBezTo>
                  <a:cubicBezTo>
                    <a:pt x="93154" y="381062"/>
                    <a:pt x="93154" y="374995"/>
                    <a:pt x="93154" y="368927"/>
                  </a:cubicBezTo>
                  <a:cubicBezTo>
                    <a:pt x="108322" y="341624"/>
                    <a:pt x="114390" y="308253"/>
                    <a:pt x="120457" y="277916"/>
                  </a:cubicBezTo>
                  <a:cubicBezTo>
                    <a:pt x="123491" y="277916"/>
                    <a:pt x="129558" y="274883"/>
                    <a:pt x="129558" y="268815"/>
                  </a:cubicBezTo>
                  <a:cubicBezTo>
                    <a:pt x="132592" y="262748"/>
                    <a:pt x="132592" y="259714"/>
                    <a:pt x="132592" y="253647"/>
                  </a:cubicBezTo>
                  <a:cubicBezTo>
                    <a:pt x="132592" y="253647"/>
                    <a:pt x="132592" y="253647"/>
                    <a:pt x="132592" y="253647"/>
                  </a:cubicBezTo>
                  <a:cubicBezTo>
                    <a:pt x="159895" y="253647"/>
                    <a:pt x="187199" y="244545"/>
                    <a:pt x="208435" y="229377"/>
                  </a:cubicBezTo>
                  <a:cubicBezTo>
                    <a:pt x="211468" y="229377"/>
                    <a:pt x="217536" y="226343"/>
                    <a:pt x="220570" y="226343"/>
                  </a:cubicBezTo>
                  <a:cubicBezTo>
                    <a:pt x="229671" y="238478"/>
                    <a:pt x="238772" y="250613"/>
                    <a:pt x="256974" y="247579"/>
                  </a:cubicBezTo>
                  <a:cubicBezTo>
                    <a:pt x="266075" y="247579"/>
                    <a:pt x="269109" y="238478"/>
                    <a:pt x="272143" y="238478"/>
                  </a:cubicBezTo>
                  <a:cubicBezTo>
                    <a:pt x="293379" y="229377"/>
                    <a:pt x="305513" y="244545"/>
                    <a:pt x="323716" y="256680"/>
                  </a:cubicBezTo>
                  <a:cubicBezTo>
                    <a:pt x="335850" y="262748"/>
                    <a:pt x="347985" y="265781"/>
                    <a:pt x="360120" y="265781"/>
                  </a:cubicBezTo>
                  <a:cubicBezTo>
                    <a:pt x="363154" y="265781"/>
                    <a:pt x="369221" y="262748"/>
                    <a:pt x="372255" y="265781"/>
                  </a:cubicBezTo>
                  <a:cubicBezTo>
                    <a:pt x="378322" y="262748"/>
                    <a:pt x="381356" y="262748"/>
                    <a:pt x="384390" y="262748"/>
                  </a:cubicBezTo>
                  <a:cubicBezTo>
                    <a:pt x="387423" y="265781"/>
                    <a:pt x="390457" y="265781"/>
                    <a:pt x="393491" y="268815"/>
                  </a:cubicBezTo>
                  <a:cubicBezTo>
                    <a:pt x="396525" y="268815"/>
                    <a:pt x="396525" y="271849"/>
                    <a:pt x="399558" y="274883"/>
                  </a:cubicBezTo>
                  <a:cubicBezTo>
                    <a:pt x="402592" y="274883"/>
                    <a:pt x="402592" y="274883"/>
                    <a:pt x="405626" y="277916"/>
                  </a:cubicBezTo>
                  <a:cubicBezTo>
                    <a:pt x="408659" y="277916"/>
                    <a:pt x="411693" y="280950"/>
                    <a:pt x="411693" y="280950"/>
                  </a:cubicBezTo>
                  <a:cubicBezTo>
                    <a:pt x="414727" y="283984"/>
                    <a:pt x="417760" y="287017"/>
                    <a:pt x="417760" y="290051"/>
                  </a:cubicBezTo>
                  <a:cubicBezTo>
                    <a:pt x="423828" y="299152"/>
                    <a:pt x="426862" y="305220"/>
                    <a:pt x="435963" y="311287"/>
                  </a:cubicBezTo>
                  <a:cubicBezTo>
                    <a:pt x="442030" y="317354"/>
                    <a:pt x="454165" y="320388"/>
                    <a:pt x="463266" y="323422"/>
                  </a:cubicBezTo>
                  <a:cubicBezTo>
                    <a:pt x="478435" y="341624"/>
                    <a:pt x="484502" y="359826"/>
                    <a:pt x="481468" y="378029"/>
                  </a:cubicBezTo>
                  <a:cubicBezTo>
                    <a:pt x="481468" y="378029"/>
                    <a:pt x="484502" y="365894"/>
                    <a:pt x="490570" y="347691"/>
                  </a:cubicBezTo>
                  <a:cubicBezTo>
                    <a:pt x="493603" y="350725"/>
                    <a:pt x="496637" y="350725"/>
                    <a:pt x="499671" y="344658"/>
                  </a:cubicBezTo>
                  <a:cubicBezTo>
                    <a:pt x="517873" y="314321"/>
                    <a:pt x="526974" y="280950"/>
                    <a:pt x="517873" y="247579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ADE5E0F9-07B0-4893-8D00-CB00C7323426}"/>
                </a:ext>
              </a:extLst>
            </p:cNvPr>
            <p:cNvSpPr/>
            <p:nvPr/>
          </p:nvSpPr>
          <p:spPr>
            <a:xfrm>
              <a:off x="3278803" y="2558718"/>
              <a:ext cx="103146" cy="58233"/>
            </a:xfrm>
            <a:custGeom>
              <a:avLst/>
              <a:gdLst>
                <a:gd name="connsiteX0" fmla="*/ 0 w 103146"/>
                <a:gd name="connsiteY0" fmla="*/ 0 h 58233"/>
                <a:gd name="connsiteX1" fmla="*/ 103146 w 103146"/>
                <a:gd name="connsiteY1" fmla="*/ 21236 h 58233"/>
                <a:gd name="connsiteX2" fmla="*/ 42472 w 103146"/>
                <a:gd name="connsiteY2" fmla="*/ 57640 h 58233"/>
                <a:gd name="connsiteX3" fmla="*/ 0 w 103146"/>
                <a:gd name="connsiteY3" fmla="*/ 0 h 58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146" h="58233">
                  <a:moveTo>
                    <a:pt x="0" y="0"/>
                  </a:moveTo>
                  <a:cubicBezTo>
                    <a:pt x="42472" y="24270"/>
                    <a:pt x="103146" y="21236"/>
                    <a:pt x="103146" y="21236"/>
                  </a:cubicBezTo>
                  <a:cubicBezTo>
                    <a:pt x="103146" y="21236"/>
                    <a:pt x="69775" y="63708"/>
                    <a:pt x="42472" y="57640"/>
                  </a:cubicBezTo>
                  <a:cubicBezTo>
                    <a:pt x="15169" y="5460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8" name="图形 1">
              <a:extLst>
                <a:ext uri="{FF2B5EF4-FFF2-40B4-BE49-F238E27FC236}">
                  <a16:creationId xmlns:a16="http://schemas.microsoft.com/office/drawing/2014/main" id="{3B9EBF0A-0FEB-47A6-959B-C2964FB75F7C}"/>
                </a:ext>
              </a:extLst>
            </p:cNvPr>
            <p:cNvGrpSpPr/>
            <p:nvPr/>
          </p:nvGrpSpPr>
          <p:grpSpPr>
            <a:xfrm>
              <a:off x="3051275" y="1930376"/>
              <a:ext cx="591573" cy="336930"/>
              <a:chOff x="3051275" y="1930376"/>
              <a:chExt cx="591573" cy="336930"/>
            </a:xfrm>
          </p:grpSpPr>
          <p:grpSp>
            <p:nvGrpSpPr>
              <p:cNvPr id="39" name="图形 1">
                <a:extLst>
                  <a:ext uri="{FF2B5EF4-FFF2-40B4-BE49-F238E27FC236}">
                    <a16:creationId xmlns:a16="http://schemas.microsoft.com/office/drawing/2014/main" id="{3B9EBF0A-0FEB-47A6-959B-C2964FB75F7C}"/>
                  </a:ext>
                </a:extLst>
              </p:cNvPr>
              <p:cNvGrpSpPr/>
              <p:nvPr/>
            </p:nvGrpSpPr>
            <p:grpSpPr>
              <a:xfrm>
                <a:off x="3057340" y="1938977"/>
                <a:ext cx="585507" cy="328330"/>
                <a:chOff x="3057340" y="1938977"/>
                <a:chExt cx="585507" cy="328330"/>
              </a:xfrm>
              <a:solidFill>
                <a:srgbClr val="D16156"/>
              </a:solidFill>
            </p:grpSpPr>
            <p:sp>
              <p:nvSpPr>
                <p:cNvPr id="40" name="任意多边形: 形状 39">
                  <a:extLst>
                    <a:ext uri="{FF2B5EF4-FFF2-40B4-BE49-F238E27FC236}">
                      <a16:creationId xmlns:a16="http://schemas.microsoft.com/office/drawing/2014/main" id="{0F8279E1-78A6-4E0E-8B5E-2D8078AC8FA7}"/>
                    </a:ext>
                  </a:extLst>
                </p:cNvPr>
                <p:cNvSpPr/>
                <p:nvPr/>
              </p:nvSpPr>
              <p:spPr>
                <a:xfrm>
                  <a:off x="3057340" y="1938977"/>
                  <a:ext cx="497530" cy="275549"/>
                </a:xfrm>
                <a:custGeom>
                  <a:avLst/>
                  <a:gdLst>
                    <a:gd name="connsiteX0" fmla="*/ 497530 w 497530"/>
                    <a:gd name="connsiteY0" fmla="*/ 198055 h 275549"/>
                    <a:gd name="connsiteX1" fmla="*/ 212362 w 497530"/>
                    <a:gd name="connsiteY1" fmla="*/ 3898 h 275549"/>
                    <a:gd name="connsiteX2" fmla="*/ 2 w 497530"/>
                    <a:gd name="connsiteY2" fmla="*/ 261763 h 275549"/>
                    <a:gd name="connsiteX3" fmla="*/ 400452 w 497530"/>
                    <a:gd name="connsiteY3" fmla="*/ 252662 h 275549"/>
                    <a:gd name="connsiteX4" fmla="*/ 497530 w 497530"/>
                    <a:gd name="connsiteY4" fmla="*/ 198055 h 2755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7530" h="275549">
                      <a:moveTo>
                        <a:pt x="497530" y="198055"/>
                      </a:moveTo>
                      <a:cubicBezTo>
                        <a:pt x="497530" y="198055"/>
                        <a:pt x="455058" y="-32506"/>
                        <a:pt x="212362" y="3898"/>
                      </a:cubicBezTo>
                      <a:cubicBezTo>
                        <a:pt x="-3031" y="37269"/>
                        <a:pt x="2" y="261763"/>
                        <a:pt x="2" y="261763"/>
                      </a:cubicBezTo>
                      <a:cubicBezTo>
                        <a:pt x="2" y="261763"/>
                        <a:pt x="245733" y="298168"/>
                        <a:pt x="400452" y="252662"/>
                      </a:cubicBezTo>
                      <a:cubicBezTo>
                        <a:pt x="442924" y="240527"/>
                        <a:pt x="476294" y="222325"/>
                        <a:pt x="497530" y="198055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21410AF6-674D-4B41-AF07-A163FB2FB3C7}"/>
                    </a:ext>
                  </a:extLst>
                </p:cNvPr>
                <p:cNvSpPr/>
                <p:nvPr/>
              </p:nvSpPr>
              <p:spPr>
                <a:xfrm>
                  <a:off x="3057343" y="2137033"/>
                  <a:ext cx="585505" cy="130274"/>
                </a:xfrm>
                <a:custGeom>
                  <a:avLst/>
                  <a:gdLst>
                    <a:gd name="connsiteX0" fmla="*/ 0 w 585505"/>
                    <a:gd name="connsiteY0" fmla="*/ 66742 h 130274"/>
                    <a:gd name="connsiteX1" fmla="*/ 18202 w 585505"/>
                    <a:gd name="connsiteY1" fmla="*/ 84944 h 130274"/>
                    <a:gd name="connsiteX2" fmla="*/ 254831 w 585505"/>
                    <a:gd name="connsiteY2" fmla="*/ 127416 h 130274"/>
                    <a:gd name="connsiteX3" fmla="*/ 585506 w 585505"/>
                    <a:gd name="connsiteY3" fmla="*/ 60674 h 130274"/>
                    <a:gd name="connsiteX4" fmla="*/ 497528 w 585505"/>
                    <a:gd name="connsiteY4" fmla="*/ 0 h 130274"/>
                    <a:gd name="connsiteX5" fmla="*/ 0 w 585505"/>
                    <a:gd name="connsiteY5" fmla="*/ 63708 h 130274"/>
                    <a:gd name="connsiteX6" fmla="*/ 0 w 585505"/>
                    <a:gd name="connsiteY6" fmla="*/ 66742 h 130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85505" h="130274">
                      <a:moveTo>
                        <a:pt x="0" y="66742"/>
                      </a:moveTo>
                      <a:cubicBezTo>
                        <a:pt x="0" y="75843"/>
                        <a:pt x="9101" y="81910"/>
                        <a:pt x="18202" y="84944"/>
                      </a:cubicBezTo>
                      <a:cubicBezTo>
                        <a:pt x="78876" y="112247"/>
                        <a:pt x="191124" y="121348"/>
                        <a:pt x="254831" y="127416"/>
                      </a:cubicBezTo>
                      <a:cubicBezTo>
                        <a:pt x="452022" y="142584"/>
                        <a:pt x="585506" y="94045"/>
                        <a:pt x="585506" y="60674"/>
                      </a:cubicBezTo>
                      <a:cubicBezTo>
                        <a:pt x="585506" y="27303"/>
                        <a:pt x="497528" y="0"/>
                        <a:pt x="497528" y="0"/>
                      </a:cubicBezTo>
                      <a:cubicBezTo>
                        <a:pt x="497528" y="0"/>
                        <a:pt x="442921" y="57640"/>
                        <a:pt x="0" y="63708"/>
                      </a:cubicBezTo>
                      <a:lnTo>
                        <a:pt x="0" y="66742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B4FAFF47-9A65-4216-8FC2-144E18B57644}"/>
                  </a:ext>
                </a:extLst>
              </p:cNvPr>
              <p:cNvSpPr/>
              <p:nvPr/>
            </p:nvSpPr>
            <p:spPr>
              <a:xfrm>
                <a:off x="3051275" y="2130965"/>
                <a:ext cx="509662" cy="75842"/>
              </a:xfrm>
              <a:custGeom>
                <a:avLst/>
                <a:gdLst>
                  <a:gd name="connsiteX0" fmla="*/ 6067 w 509662"/>
                  <a:gd name="connsiteY0" fmla="*/ 75843 h 75842"/>
                  <a:gd name="connsiteX1" fmla="*/ 0 w 509662"/>
                  <a:gd name="connsiteY1" fmla="*/ 69775 h 75842"/>
                  <a:gd name="connsiteX2" fmla="*/ 6067 w 509662"/>
                  <a:gd name="connsiteY2" fmla="*/ 63708 h 75842"/>
                  <a:gd name="connsiteX3" fmla="*/ 500562 w 509662"/>
                  <a:gd name="connsiteY3" fmla="*/ 3034 h 75842"/>
                  <a:gd name="connsiteX4" fmla="*/ 506629 w 509662"/>
                  <a:gd name="connsiteY4" fmla="*/ 0 h 75842"/>
                  <a:gd name="connsiteX5" fmla="*/ 509663 w 509662"/>
                  <a:gd name="connsiteY5" fmla="*/ 9101 h 75842"/>
                  <a:gd name="connsiteX6" fmla="*/ 6067 w 509662"/>
                  <a:gd name="connsiteY6" fmla="*/ 75843 h 75842"/>
                  <a:gd name="connsiteX7" fmla="*/ 6067 w 509662"/>
                  <a:gd name="connsiteY7" fmla="*/ 75843 h 75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9662" h="75842">
                    <a:moveTo>
                      <a:pt x="6067" y="75843"/>
                    </a:moveTo>
                    <a:cubicBezTo>
                      <a:pt x="3034" y="75843"/>
                      <a:pt x="0" y="72809"/>
                      <a:pt x="0" y="69775"/>
                    </a:cubicBezTo>
                    <a:cubicBezTo>
                      <a:pt x="0" y="66742"/>
                      <a:pt x="3034" y="63708"/>
                      <a:pt x="6067" y="63708"/>
                    </a:cubicBezTo>
                    <a:cubicBezTo>
                      <a:pt x="458090" y="45506"/>
                      <a:pt x="497528" y="3034"/>
                      <a:pt x="500562" y="3034"/>
                    </a:cubicBezTo>
                    <a:cubicBezTo>
                      <a:pt x="500562" y="0"/>
                      <a:pt x="506629" y="0"/>
                      <a:pt x="506629" y="0"/>
                    </a:cubicBezTo>
                    <a:cubicBezTo>
                      <a:pt x="509663" y="0"/>
                      <a:pt x="509663" y="6067"/>
                      <a:pt x="509663" y="9101"/>
                    </a:cubicBezTo>
                    <a:cubicBezTo>
                      <a:pt x="506629" y="12135"/>
                      <a:pt x="470225" y="54607"/>
                      <a:pt x="6067" y="75843"/>
                    </a:cubicBezTo>
                    <a:cubicBezTo>
                      <a:pt x="6067" y="75843"/>
                      <a:pt x="6067" y="75843"/>
                      <a:pt x="6067" y="7584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CD809154-2634-4084-9197-E776A8EA64EF}"/>
                  </a:ext>
                </a:extLst>
              </p:cNvPr>
              <p:cNvSpPr/>
              <p:nvPr/>
            </p:nvSpPr>
            <p:spPr>
              <a:xfrm>
                <a:off x="3160489" y="1930376"/>
                <a:ext cx="306404" cy="258229"/>
              </a:xfrm>
              <a:custGeom>
                <a:avLst/>
                <a:gdLst>
                  <a:gd name="connsiteX0" fmla="*/ 151685 w 306404"/>
                  <a:gd name="connsiteY0" fmla="*/ 258229 h 258229"/>
                  <a:gd name="connsiteX1" fmla="*/ 145618 w 306404"/>
                  <a:gd name="connsiteY1" fmla="*/ 252162 h 258229"/>
                  <a:gd name="connsiteX2" fmla="*/ 3034 w 306404"/>
                  <a:gd name="connsiteY2" fmla="*/ 54971 h 258229"/>
                  <a:gd name="connsiteX3" fmla="*/ 0 w 306404"/>
                  <a:gd name="connsiteY3" fmla="*/ 51937 h 258229"/>
                  <a:gd name="connsiteX4" fmla="*/ 3034 w 306404"/>
                  <a:gd name="connsiteY4" fmla="*/ 45870 h 258229"/>
                  <a:gd name="connsiteX5" fmla="*/ 203258 w 306404"/>
                  <a:gd name="connsiteY5" fmla="*/ 3398 h 258229"/>
                  <a:gd name="connsiteX6" fmla="*/ 206292 w 306404"/>
                  <a:gd name="connsiteY6" fmla="*/ 3398 h 258229"/>
                  <a:gd name="connsiteX7" fmla="*/ 306404 w 306404"/>
                  <a:gd name="connsiteY7" fmla="*/ 227892 h 258229"/>
                  <a:gd name="connsiteX8" fmla="*/ 300337 w 306404"/>
                  <a:gd name="connsiteY8" fmla="*/ 233960 h 258229"/>
                  <a:gd name="connsiteX9" fmla="*/ 300337 w 306404"/>
                  <a:gd name="connsiteY9" fmla="*/ 233960 h 258229"/>
                  <a:gd name="connsiteX10" fmla="*/ 294270 w 306404"/>
                  <a:gd name="connsiteY10" fmla="*/ 227892 h 258229"/>
                  <a:gd name="connsiteX11" fmla="*/ 200225 w 306404"/>
                  <a:gd name="connsiteY11" fmla="*/ 12499 h 258229"/>
                  <a:gd name="connsiteX12" fmla="*/ 18202 w 306404"/>
                  <a:gd name="connsiteY12" fmla="*/ 48903 h 258229"/>
                  <a:gd name="connsiteX13" fmla="*/ 160787 w 306404"/>
                  <a:gd name="connsiteY13" fmla="*/ 249128 h 258229"/>
                  <a:gd name="connsiteX14" fmla="*/ 151685 w 306404"/>
                  <a:gd name="connsiteY14" fmla="*/ 258229 h 258229"/>
                  <a:gd name="connsiteX15" fmla="*/ 151685 w 306404"/>
                  <a:gd name="connsiteY15" fmla="*/ 258229 h 258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06404" h="258229">
                    <a:moveTo>
                      <a:pt x="151685" y="258229"/>
                    </a:moveTo>
                    <a:cubicBezTo>
                      <a:pt x="148652" y="258229"/>
                      <a:pt x="145618" y="255196"/>
                      <a:pt x="145618" y="252162"/>
                    </a:cubicBezTo>
                    <a:cubicBezTo>
                      <a:pt x="139551" y="127780"/>
                      <a:pt x="3034" y="58004"/>
                      <a:pt x="3034" y="54971"/>
                    </a:cubicBezTo>
                    <a:cubicBezTo>
                      <a:pt x="0" y="58004"/>
                      <a:pt x="0" y="54971"/>
                      <a:pt x="0" y="51937"/>
                    </a:cubicBezTo>
                    <a:cubicBezTo>
                      <a:pt x="0" y="48903"/>
                      <a:pt x="0" y="48903"/>
                      <a:pt x="3034" y="45870"/>
                    </a:cubicBezTo>
                    <a:cubicBezTo>
                      <a:pt x="87978" y="-17838"/>
                      <a:pt x="200225" y="3398"/>
                      <a:pt x="203258" y="3398"/>
                    </a:cubicBezTo>
                    <a:cubicBezTo>
                      <a:pt x="203258" y="3398"/>
                      <a:pt x="206292" y="3398"/>
                      <a:pt x="206292" y="3398"/>
                    </a:cubicBezTo>
                    <a:cubicBezTo>
                      <a:pt x="206292" y="3398"/>
                      <a:pt x="306404" y="79240"/>
                      <a:pt x="306404" y="227892"/>
                    </a:cubicBezTo>
                    <a:cubicBezTo>
                      <a:pt x="306404" y="230926"/>
                      <a:pt x="303371" y="233960"/>
                      <a:pt x="300337" y="233960"/>
                    </a:cubicBezTo>
                    <a:cubicBezTo>
                      <a:pt x="300337" y="233960"/>
                      <a:pt x="300337" y="233960"/>
                      <a:pt x="300337" y="233960"/>
                    </a:cubicBezTo>
                    <a:cubicBezTo>
                      <a:pt x="297303" y="233960"/>
                      <a:pt x="294270" y="230926"/>
                      <a:pt x="294270" y="227892"/>
                    </a:cubicBezTo>
                    <a:cubicBezTo>
                      <a:pt x="294270" y="94409"/>
                      <a:pt x="209326" y="21600"/>
                      <a:pt x="200225" y="12499"/>
                    </a:cubicBezTo>
                    <a:cubicBezTo>
                      <a:pt x="188090" y="9465"/>
                      <a:pt x="91011" y="-2670"/>
                      <a:pt x="18202" y="48903"/>
                    </a:cubicBezTo>
                    <a:cubicBezTo>
                      <a:pt x="48539" y="67106"/>
                      <a:pt x="154719" y="136881"/>
                      <a:pt x="160787" y="249128"/>
                    </a:cubicBezTo>
                    <a:cubicBezTo>
                      <a:pt x="157753" y="255196"/>
                      <a:pt x="154719" y="258229"/>
                      <a:pt x="151685" y="258229"/>
                    </a:cubicBezTo>
                    <a:cubicBezTo>
                      <a:pt x="151685" y="258229"/>
                      <a:pt x="151685" y="258229"/>
                      <a:pt x="151685" y="2582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709BBFC7-E268-412A-888D-512834021168}"/>
                </a:ext>
              </a:extLst>
            </p:cNvPr>
            <p:cNvSpPr/>
            <p:nvPr/>
          </p:nvSpPr>
          <p:spPr>
            <a:xfrm>
              <a:off x="2741775" y="2738168"/>
              <a:ext cx="1022421" cy="1560698"/>
            </a:xfrm>
            <a:custGeom>
              <a:avLst/>
              <a:gdLst>
                <a:gd name="connsiteX0" fmla="*/ 370174 w 1022421"/>
                <a:gd name="connsiteY0" fmla="*/ 5606 h 1560698"/>
                <a:gd name="connsiteX1" fmla="*/ 488489 w 1022421"/>
                <a:gd name="connsiteY1" fmla="*/ 560775 h 1560698"/>
                <a:gd name="connsiteX2" fmla="*/ 740287 w 1022421"/>
                <a:gd name="connsiteY2" fmla="*/ 560775 h 1560698"/>
                <a:gd name="connsiteX3" fmla="*/ 755455 w 1022421"/>
                <a:gd name="connsiteY3" fmla="*/ 29876 h 1560698"/>
                <a:gd name="connsiteX4" fmla="*/ 852534 w 1022421"/>
                <a:gd name="connsiteY4" fmla="*/ 66280 h 1560698"/>
                <a:gd name="connsiteX5" fmla="*/ 861635 w 1022421"/>
                <a:gd name="connsiteY5" fmla="*/ 572909 h 1560698"/>
                <a:gd name="connsiteX6" fmla="*/ 1022422 w 1022421"/>
                <a:gd name="connsiteY6" fmla="*/ 806505 h 1560698"/>
                <a:gd name="connsiteX7" fmla="*/ 1022422 w 1022421"/>
                <a:gd name="connsiteY7" fmla="*/ 1537629 h 1560698"/>
                <a:gd name="connsiteX8" fmla="*/ 62 w 1022421"/>
                <a:gd name="connsiteY8" fmla="*/ 1504258 h 1560698"/>
                <a:gd name="connsiteX9" fmla="*/ 33433 w 1022421"/>
                <a:gd name="connsiteY9" fmla="*/ 785269 h 1560698"/>
                <a:gd name="connsiteX10" fmla="*/ 339837 w 1022421"/>
                <a:gd name="connsiteY10" fmla="*/ 563808 h 1560698"/>
                <a:gd name="connsiteX11" fmla="*/ 288264 w 1022421"/>
                <a:gd name="connsiteY11" fmla="*/ 35943 h 1560698"/>
                <a:gd name="connsiteX12" fmla="*/ 370174 w 1022421"/>
                <a:gd name="connsiteY12" fmla="*/ 5606 h 156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22421" h="1560698">
                  <a:moveTo>
                    <a:pt x="370174" y="5606"/>
                  </a:moveTo>
                  <a:cubicBezTo>
                    <a:pt x="370174" y="5606"/>
                    <a:pt x="485455" y="257404"/>
                    <a:pt x="488489" y="560775"/>
                  </a:cubicBezTo>
                  <a:cubicBezTo>
                    <a:pt x="488489" y="560775"/>
                    <a:pt x="688714" y="585044"/>
                    <a:pt x="740287" y="560775"/>
                  </a:cubicBezTo>
                  <a:cubicBezTo>
                    <a:pt x="740287" y="560775"/>
                    <a:pt x="776691" y="126954"/>
                    <a:pt x="755455" y="29876"/>
                  </a:cubicBezTo>
                  <a:cubicBezTo>
                    <a:pt x="755455" y="29876"/>
                    <a:pt x="834332" y="32909"/>
                    <a:pt x="852534" y="66280"/>
                  </a:cubicBezTo>
                  <a:cubicBezTo>
                    <a:pt x="852534" y="66280"/>
                    <a:pt x="855568" y="506168"/>
                    <a:pt x="861635" y="572909"/>
                  </a:cubicBezTo>
                  <a:cubicBezTo>
                    <a:pt x="867702" y="639651"/>
                    <a:pt x="1022422" y="806505"/>
                    <a:pt x="1022422" y="806505"/>
                  </a:cubicBezTo>
                  <a:lnTo>
                    <a:pt x="1022422" y="1537629"/>
                  </a:lnTo>
                  <a:cubicBezTo>
                    <a:pt x="1022422" y="1537629"/>
                    <a:pt x="327702" y="1607404"/>
                    <a:pt x="62" y="1504258"/>
                  </a:cubicBezTo>
                  <a:cubicBezTo>
                    <a:pt x="62" y="1504258"/>
                    <a:pt x="-2972" y="1082573"/>
                    <a:pt x="33433" y="785269"/>
                  </a:cubicBezTo>
                  <a:cubicBezTo>
                    <a:pt x="109275" y="782235"/>
                    <a:pt x="315568" y="691224"/>
                    <a:pt x="339837" y="563808"/>
                  </a:cubicBezTo>
                  <a:cubicBezTo>
                    <a:pt x="364107" y="436393"/>
                    <a:pt x="351972" y="163359"/>
                    <a:pt x="288264" y="35943"/>
                  </a:cubicBezTo>
                  <a:cubicBezTo>
                    <a:pt x="288264" y="29876"/>
                    <a:pt x="333770" y="-15630"/>
                    <a:pt x="370174" y="5606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257F3C57-5291-44E2-94CC-D022E59E4470}"/>
                </a:ext>
              </a:extLst>
            </p:cNvPr>
            <p:cNvSpPr/>
            <p:nvPr/>
          </p:nvSpPr>
          <p:spPr>
            <a:xfrm>
              <a:off x="2732736" y="4130179"/>
              <a:ext cx="1034494" cy="157448"/>
            </a:xfrm>
            <a:custGeom>
              <a:avLst/>
              <a:gdLst>
                <a:gd name="connsiteX0" fmla="*/ 1031461 w 1034494"/>
                <a:gd name="connsiteY0" fmla="*/ 142584 h 157448"/>
                <a:gd name="connsiteX1" fmla="*/ 0 w 1034494"/>
                <a:gd name="connsiteY1" fmla="*/ 97079 h 157448"/>
                <a:gd name="connsiteX2" fmla="*/ 9101 w 1034494"/>
                <a:gd name="connsiteY2" fmla="*/ 0 h 157448"/>
                <a:gd name="connsiteX3" fmla="*/ 1034494 w 1034494"/>
                <a:gd name="connsiteY3" fmla="*/ 33371 h 157448"/>
                <a:gd name="connsiteX4" fmla="*/ 1031461 w 1034494"/>
                <a:gd name="connsiteY4" fmla="*/ 142584 h 157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4494" h="157448">
                  <a:moveTo>
                    <a:pt x="1031461" y="142584"/>
                  </a:moveTo>
                  <a:cubicBezTo>
                    <a:pt x="1031461" y="142584"/>
                    <a:pt x="321573" y="197191"/>
                    <a:pt x="0" y="97079"/>
                  </a:cubicBezTo>
                  <a:lnTo>
                    <a:pt x="9101" y="0"/>
                  </a:lnTo>
                  <a:cubicBezTo>
                    <a:pt x="9101" y="0"/>
                    <a:pt x="655281" y="57640"/>
                    <a:pt x="1034494" y="33371"/>
                  </a:cubicBezTo>
                  <a:lnTo>
                    <a:pt x="1031461" y="142584"/>
                  </a:ln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6" name="图形 1">
              <a:extLst>
                <a:ext uri="{FF2B5EF4-FFF2-40B4-BE49-F238E27FC236}">
                  <a16:creationId xmlns:a16="http://schemas.microsoft.com/office/drawing/2014/main" id="{3B9EBF0A-0FEB-47A6-959B-C2964FB75F7C}"/>
                </a:ext>
              </a:extLst>
            </p:cNvPr>
            <p:cNvGrpSpPr/>
            <p:nvPr/>
          </p:nvGrpSpPr>
          <p:grpSpPr>
            <a:xfrm>
              <a:off x="3248466" y="4142314"/>
              <a:ext cx="215864" cy="163820"/>
              <a:chOff x="3248466" y="4142314"/>
              <a:chExt cx="215864" cy="163820"/>
            </a:xfrm>
          </p:grpSpPr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B6C66C93-F450-47B5-8E8D-F942C3B9A868}"/>
                  </a:ext>
                </a:extLst>
              </p:cNvPr>
              <p:cNvSpPr/>
              <p:nvPr/>
            </p:nvSpPr>
            <p:spPr>
              <a:xfrm>
                <a:off x="3248466" y="4142314"/>
                <a:ext cx="215864" cy="163820"/>
              </a:xfrm>
              <a:custGeom>
                <a:avLst/>
                <a:gdLst>
                  <a:gd name="connsiteX0" fmla="*/ 194157 w 215864"/>
                  <a:gd name="connsiteY0" fmla="*/ 163820 h 163820"/>
                  <a:gd name="connsiteX1" fmla="*/ 21236 w 215864"/>
                  <a:gd name="connsiteY1" fmla="*/ 163820 h 163820"/>
                  <a:gd name="connsiteX2" fmla="*/ 0 w 215864"/>
                  <a:gd name="connsiteY2" fmla="*/ 142584 h 163820"/>
                  <a:gd name="connsiteX3" fmla="*/ 0 w 215864"/>
                  <a:gd name="connsiteY3" fmla="*/ 21236 h 163820"/>
                  <a:gd name="connsiteX4" fmla="*/ 21236 w 215864"/>
                  <a:gd name="connsiteY4" fmla="*/ 0 h 163820"/>
                  <a:gd name="connsiteX5" fmla="*/ 194157 w 215864"/>
                  <a:gd name="connsiteY5" fmla="*/ 0 h 163820"/>
                  <a:gd name="connsiteX6" fmla="*/ 215393 w 215864"/>
                  <a:gd name="connsiteY6" fmla="*/ 21236 h 163820"/>
                  <a:gd name="connsiteX7" fmla="*/ 215393 w 215864"/>
                  <a:gd name="connsiteY7" fmla="*/ 142584 h 163820"/>
                  <a:gd name="connsiteX8" fmla="*/ 194157 w 215864"/>
                  <a:gd name="connsiteY8" fmla="*/ 163820 h 163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5864" h="163820">
                    <a:moveTo>
                      <a:pt x="194157" y="163820"/>
                    </a:moveTo>
                    <a:lnTo>
                      <a:pt x="21236" y="163820"/>
                    </a:lnTo>
                    <a:cubicBezTo>
                      <a:pt x="9101" y="163820"/>
                      <a:pt x="0" y="154719"/>
                      <a:pt x="0" y="142584"/>
                    </a:cubicBezTo>
                    <a:lnTo>
                      <a:pt x="0" y="21236"/>
                    </a:lnTo>
                    <a:cubicBezTo>
                      <a:pt x="0" y="9101"/>
                      <a:pt x="9101" y="0"/>
                      <a:pt x="21236" y="0"/>
                    </a:cubicBezTo>
                    <a:lnTo>
                      <a:pt x="194157" y="0"/>
                    </a:lnTo>
                    <a:cubicBezTo>
                      <a:pt x="206292" y="0"/>
                      <a:pt x="215393" y="9101"/>
                      <a:pt x="215393" y="21236"/>
                    </a:cubicBezTo>
                    <a:lnTo>
                      <a:pt x="215393" y="142584"/>
                    </a:lnTo>
                    <a:cubicBezTo>
                      <a:pt x="218427" y="154719"/>
                      <a:pt x="206292" y="163820"/>
                      <a:pt x="194157" y="16382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B0BF6CCA-6BF9-4B96-8774-E95932E2D0D6}"/>
                  </a:ext>
                </a:extLst>
              </p:cNvPr>
              <p:cNvSpPr/>
              <p:nvPr/>
            </p:nvSpPr>
            <p:spPr>
              <a:xfrm>
                <a:off x="3278803" y="4169617"/>
                <a:ext cx="158347" cy="118314"/>
              </a:xfrm>
              <a:custGeom>
                <a:avLst/>
                <a:gdLst>
                  <a:gd name="connsiteX0" fmla="*/ 142584 w 158347"/>
                  <a:gd name="connsiteY0" fmla="*/ 118314 h 118314"/>
                  <a:gd name="connsiteX1" fmla="*/ 15169 w 158347"/>
                  <a:gd name="connsiteY1" fmla="*/ 118314 h 118314"/>
                  <a:gd name="connsiteX2" fmla="*/ 0 w 158347"/>
                  <a:gd name="connsiteY2" fmla="*/ 103146 h 118314"/>
                  <a:gd name="connsiteX3" fmla="*/ 0 w 158347"/>
                  <a:gd name="connsiteY3" fmla="*/ 15169 h 118314"/>
                  <a:gd name="connsiteX4" fmla="*/ 15169 w 158347"/>
                  <a:gd name="connsiteY4" fmla="*/ 0 h 118314"/>
                  <a:gd name="connsiteX5" fmla="*/ 142584 w 158347"/>
                  <a:gd name="connsiteY5" fmla="*/ 0 h 118314"/>
                  <a:gd name="connsiteX6" fmla="*/ 157753 w 158347"/>
                  <a:gd name="connsiteY6" fmla="*/ 15169 h 118314"/>
                  <a:gd name="connsiteX7" fmla="*/ 157753 w 158347"/>
                  <a:gd name="connsiteY7" fmla="*/ 103146 h 118314"/>
                  <a:gd name="connsiteX8" fmla="*/ 142584 w 158347"/>
                  <a:gd name="connsiteY8" fmla="*/ 118314 h 11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8347" h="118314">
                    <a:moveTo>
                      <a:pt x="142584" y="118314"/>
                    </a:moveTo>
                    <a:lnTo>
                      <a:pt x="15169" y="118314"/>
                    </a:lnTo>
                    <a:cubicBezTo>
                      <a:pt x="6067" y="118314"/>
                      <a:pt x="0" y="112247"/>
                      <a:pt x="0" y="103146"/>
                    </a:cubicBezTo>
                    <a:lnTo>
                      <a:pt x="0" y="15169"/>
                    </a:lnTo>
                    <a:cubicBezTo>
                      <a:pt x="0" y="6067"/>
                      <a:pt x="6067" y="0"/>
                      <a:pt x="15169" y="0"/>
                    </a:cubicBezTo>
                    <a:lnTo>
                      <a:pt x="142584" y="0"/>
                    </a:lnTo>
                    <a:cubicBezTo>
                      <a:pt x="151685" y="0"/>
                      <a:pt x="157753" y="6067"/>
                      <a:pt x="157753" y="15169"/>
                    </a:cubicBezTo>
                    <a:lnTo>
                      <a:pt x="157753" y="103146"/>
                    </a:lnTo>
                    <a:cubicBezTo>
                      <a:pt x="160787" y="109213"/>
                      <a:pt x="151685" y="118314"/>
                      <a:pt x="142584" y="118314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2FF7B5CC-2869-493C-B607-A9D948882826}"/>
                </a:ext>
              </a:extLst>
            </p:cNvPr>
            <p:cNvSpPr/>
            <p:nvPr/>
          </p:nvSpPr>
          <p:spPr>
            <a:xfrm>
              <a:off x="3178290" y="3453662"/>
              <a:ext cx="376580" cy="288202"/>
            </a:xfrm>
            <a:custGeom>
              <a:avLst/>
              <a:gdLst>
                <a:gd name="connsiteX0" fmla="*/ 206693 w 376580"/>
                <a:gd name="connsiteY0" fmla="*/ 288202 h 288202"/>
                <a:gd name="connsiteX1" fmla="*/ 206693 w 376580"/>
                <a:gd name="connsiteY1" fmla="*/ 288202 h 288202"/>
                <a:gd name="connsiteX2" fmla="*/ 15570 w 376580"/>
                <a:gd name="connsiteY2" fmla="*/ 209326 h 288202"/>
                <a:gd name="connsiteX3" fmla="*/ 12536 w 376580"/>
                <a:gd name="connsiteY3" fmla="*/ 209326 h 288202"/>
                <a:gd name="connsiteX4" fmla="*/ 12536 w 376580"/>
                <a:gd name="connsiteY4" fmla="*/ 206292 h 288202"/>
                <a:gd name="connsiteX5" fmla="*/ 401 w 376580"/>
                <a:gd name="connsiteY5" fmla="*/ 6067 h 288202"/>
                <a:gd name="connsiteX6" fmla="*/ 401 w 376580"/>
                <a:gd name="connsiteY6" fmla="*/ 0 h 288202"/>
                <a:gd name="connsiteX7" fmla="*/ 6469 w 376580"/>
                <a:gd name="connsiteY7" fmla="*/ 0 h 288202"/>
                <a:gd name="connsiteX8" fmla="*/ 370514 w 376580"/>
                <a:gd name="connsiteY8" fmla="*/ 0 h 288202"/>
                <a:gd name="connsiteX9" fmla="*/ 376581 w 376580"/>
                <a:gd name="connsiteY9" fmla="*/ 0 h 288202"/>
                <a:gd name="connsiteX10" fmla="*/ 361412 w 376580"/>
                <a:gd name="connsiteY10" fmla="*/ 175955 h 288202"/>
                <a:gd name="connsiteX11" fmla="*/ 358379 w 376580"/>
                <a:gd name="connsiteY11" fmla="*/ 175955 h 288202"/>
                <a:gd name="connsiteX12" fmla="*/ 206693 w 376580"/>
                <a:gd name="connsiteY12" fmla="*/ 288202 h 288202"/>
                <a:gd name="connsiteX13" fmla="*/ 206693 w 376580"/>
                <a:gd name="connsiteY13" fmla="*/ 288202 h 288202"/>
                <a:gd name="connsiteX14" fmla="*/ 24671 w 376580"/>
                <a:gd name="connsiteY14" fmla="*/ 200225 h 288202"/>
                <a:gd name="connsiteX15" fmla="*/ 206693 w 376580"/>
                <a:gd name="connsiteY15" fmla="*/ 276068 h 288202"/>
                <a:gd name="connsiteX16" fmla="*/ 349278 w 376580"/>
                <a:gd name="connsiteY16" fmla="*/ 169888 h 288202"/>
                <a:gd name="connsiteX17" fmla="*/ 361412 w 376580"/>
                <a:gd name="connsiteY17" fmla="*/ 12135 h 288202"/>
                <a:gd name="connsiteX18" fmla="*/ 12536 w 376580"/>
                <a:gd name="connsiteY18" fmla="*/ 12135 h 288202"/>
                <a:gd name="connsiteX19" fmla="*/ 24671 w 376580"/>
                <a:gd name="connsiteY19" fmla="*/ 200225 h 28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76580" h="288202">
                  <a:moveTo>
                    <a:pt x="206693" y="288202"/>
                  </a:moveTo>
                  <a:lnTo>
                    <a:pt x="206693" y="288202"/>
                  </a:lnTo>
                  <a:cubicBezTo>
                    <a:pt x="197592" y="285168"/>
                    <a:pt x="45907" y="224494"/>
                    <a:pt x="15570" y="209326"/>
                  </a:cubicBezTo>
                  <a:lnTo>
                    <a:pt x="12536" y="209326"/>
                  </a:lnTo>
                  <a:lnTo>
                    <a:pt x="12536" y="206292"/>
                  </a:lnTo>
                  <a:cubicBezTo>
                    <a:pt x="12536" y="206292"/>
                    <a:pt x="-2633" y="78876"/>
                    <a:pt x="401" y="6067"/>
                  </a:cubicBezTo>
                  <a:lnTo>
                    <a:pt x="401" y="0"/>
                  </a:lnTo>
                  <a:lnTo>
                    <a:pt x="6469" y="0"/>
                  </a:lnTo>
                  <a:cubicBezTo>
                    <a:pt x="9502" y="0"/>
                    <a:pt x="176356" y="15169"/>
                    <a:pt x="370514" y="0"/>
                  </a:cubicBezTo>
                  <a:lnTo>
                    <a:pt x="376581" y="0"/>
                  </a:lnTo>
                  <a:lnTo>
                    <a:pt x="361412" y="175955"/>
                  </a:lnTo>
                  <a:lnTo>
                    <a:pt x="358379" y="175955"/>
                  </a:lnTo>
                  <a:cubicBezTo>
                    <a:pt x="349278" y="185056"/>
                    <a:pt x="237030" y="279101"/>
                    <a:pt x="206693" y="288202"/>
                  </a:cubicBezTo>
                  <a:lnTo>
                    <a:pt x="206693" y="288202"/>
                  </a:lnTo>
                  <a:close/>
                  <a:moveTo>
                    <a:pt x="24671" y="200225"/>
                  </a:moveTo>
                  <a:cubicBezTo>
                    <a:pt x="58042" y="215393"/>
                    <a:pt x="191525" y="266966"/>
                    <a:pt x="206693" y="276068"/>
                  </a:cubicBezTo>
                  <a:cubicBezTo>
                    <a:pt x="230963" y="266966"/>
                    <a:pt x="315907" y="197191"/>
                    <a:pt x="349278" y="169888"/>
                  </a:cubicBezTo>
                  <a:lnTo>
                    <a:pt x="361412" y="12135"/>
                  </a:lnTo>
                  <a:cubicBezTo>
                    <a:pt x="194558" y="24270"/>
                    <a:pt x="42873" y="12135"/>
                    <a:pt x="12536" y="12135"/>
                  </a:cubicBezTo>
                  <a:cubicBezTo>
                    <a:pt x="9502" y="75843"/>
                    <a:pt x="21637" y="182022"/>
                    <a:pt x="24671" y="200225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7F2853E2-7CF2-4CF9-B409-5DF8B84FD5C9}"/>
                </a:ext>
              </a:extLst>
            </p:cNvPr>
            <p:cNvSpPr/>
            <p:nvPr/>
          </p:nvSpPr>
          <p:spPr>
            <a:xfrm>
              <a:off x="2854084" y="5568156"/>
              <a:ext cx="72808" cy="12134"/>
            </a:xfrm>
            <a:custGeom>
              <a:avLst/>
              <a:gdLst>
                <a:gd name="connsiteX0" fmla="*/ 66742 w 72808"/>
                <a:gd name="connsiteY0" fmla="*/ 12135 h 12134"/>
                <a:gd name="connsiteX1" fmla="*/ 6067 w 72808"/>
                <a:gd name="connsiteY1" fmla="*/ 12135 h 12134"/>
                <a:gd name="connsiteX2" fmla="*/ 0 w 72808"/>
                <a:gd name="connsiteY2" fmla="*/ 6067 h 12134"/>
                <a:gd name="connsiteX3" fmla="*/ 6067 w 72808"/>
                <a:gd name="connsiteY3" fmla="*/ 0 h 12134"/>
                <a:gd name="connsiteX4" fmla="*/ 66742 w 72808"/>
                <a:gd name="connsiteY4" fmla="*/ 0 h 12134"/>
                <a:gd name="connsiteX5" fmla="*/ 72809 w 72808"/>
                <a:gd name="connsiteY5" fmla="*/ 6067 h 12134"/>
                <a:gd name="connsiteX6" fmla="*/ 66742 w 72808"/>
                <a:gd name="connsiteY6" fmla="*/ 12135 h 12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808" h="12134">
                  <a:moveTo>
                    <a:pt x="66742" y="12135"/>
                  </a:moveTo>
                  <a:lnTo>
                    <a:pt x="6067" y="12135"/>
                  </a:lnTo>
                  <a:cubicBezTo>
                    <a:pt x="3034" y="12135"/>
                    <a:pt x="0" y="9101"/>
                    <a:pt x="0" y="6067"/>
                  </a:cubicBezTo>
                  <a:cubicBezTo>
                    <a:pt x="0" y="3034"/>
                    <a:pt x="3034" y="0"/>
                    <a:pt x="6067" y="0"/>
                  </a:cubicBezTo>
                  <a:lnTo>
                    <a:pt x="66742" y="0"/>
                  </a:lnTo>
                  <a:cubicBezTo>
                    <a:pt x="69775" y="0"/>
                    <a:pt x="72809" y="3034"/>
                    <a:pt x="72809" y="6067"/>
                  </a:cubicBezTo>
                  <a:cubicBezTo>
                    <a:pt x="72809" y="9101"/>
                    <a:pt x="69775" y="12135"/>
                    <a:pt x="66742" y="12135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1" name="图形 1">
              <a:extLst>
                <a:ext uri="{FF2B5EF4-FFF2-40B4-BE49-F238E27FC236}">
                  <a16:creationId xmlns:a16="http://schemas.microsoft.com/office/drawing/2014/main" id="{3B9EBF0A-0FEB-47A6-959B-C2964FB75F7C}"/>
                </a:ext>
              </a:extLst>
            </p:cNvPr>
            <p:cNvGrpSpPr/>
            <p:nvPr/>
          </p:nvGrpSpPr>
          <p:grpSpPr>
            <a:xfrm>
              <a:off x="3185726" y="2938899"/>
              <a:ext cx="1633233" cy="1466379"/>
              <a:chOff x="3185726" y="2938899"/>
              <a:chExt cx="1633233" cy="1466379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7E7E9C6B-B66F-4700-9AF9-9BF2023FAF56}"/>
                  </a:ext>
                </a:extLst>
              </p:cNvPr>
              <p:cNvSpPr/>
              <p:nvPr/>
            </p:nvSpPr>
            <p:spPr>
              <a:xfrm>
                <a:off x="3185726" y="2938899"/>
                <a:ext cx="1633233" cy="1466379"/>
              </a:xfrm>
              <a:custGeom>
                <a:avLst/>
                <a:gdLst>
                  <a:gd name="connsiteX0" fmla="*/ 159819 w 1633233"/>
                  <a:gd name="connsiteY0" fmla="*/ 1452179 h 1466379"/>
                  <a:gd name="connsiteX1" fmla="*/ 1612965 w 1633233"/>
                  <a:gd name="connsiteY1" fmla="*/ 174988 h 1466379"/>
                  <a:gd name="connsiteX2" fmla="*/ 1619033 w 1633233"/>
                  <a:gd name="connsiteY2" fmla="*/ 93078 h 1466379"/>
                  <a:gd name="connsiteX3" fmla="*/ 1555325 w 1633233"/>
                  <a:gd name="connsiteY3" fmla="*/ 20269 h 1466379"/>
                  <a:gd name="connsiteX4" fmla="*/ 1473415 w 1633233"/>
                  <a:gd name="connsiteY4" fmla="*/ 14201 h 1466379"/>
                  <a:gd name="connsiteX5" fmla="*/ 20269 w 1633233"/>
                  <a:gd name="connsiteY5" fmla="*/ 1291392 h 1466379"/>
                  <a:gd name="connsiteX6" fmla="*/ 14201 w 1633233"/>
                  <a:gd name="connsiteY6" fmla="*/ 1373302 h 1466379"/>
                  <a:gd name="connsiteX7" fmla="*/ 77909 w 1633233"/>
                  <a:gd name="connsiteY7" fmla="*/ 1446111 h 1466379"/>
                  <a:gd name="connsiteX8" fmla="*/ 159819 w 1633233"/>
                  <a:gd name="connsiteY8" fmla="*/ 1452179 h 1466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3233" h="1466379">
                    <a:moveTo>
                      <a:pt x="159819" y="1452179"/>
                    </a:moveTo>
                    <a:lnTo>
                      <a:pt x="1612965" y="174988"/>
                    </a:lnTo>
                    <a:cubicBezTo>
                      <a:pt x="1637235" y="153752"/>
                      <a:pt x="1640269" y="117347"/>
                      <a:pt x="1619033" y="93078"/>
                    </a:cubicBezTo>
                    <a:lnTo>
                      <a:pt x="1555325" y="20269"/>
                    </a:lnTo>
                    <a:cubicBezTo>
                      <a:pt x="1534089" y="-4001"/>
                      <a:pt x="1497684" y="-7035"/>
                      <a:pt x="1473415" y="14201"/>
                    </a:cubicBezTo>
                    <a:lnTo>
                      <a:pt x="20269" y="1291392"/>
                    </a:lnTo>
                    <a:cubicBezTo>
                      <a:pt x="-4001" y="1312628"/>
                      <a:pt x="-7035" y="1349033"/>
                      <a:pt x="14201" y="1373302"/>
                    </a:cubicBezTo>
                    <a:lnTo>
                      <a:pt x="77909" y="1446111"/>
                    </a:lnTo>
                    <a:cubicBezTo>
                      <a:pt x="99145" y="1470381"/>
                      <a:pt x="135549" y="1473415"/>
                      <a:pt x="159819" y="1452179"/>
                    </a:cubicBezTo>
                    <a:close/>
                  </a:path>
                </a:pathLst>
              </a:custGeom>
              <a:solidFill>
                <a:srgbClr val="F1DDB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B49E97B6-C0A3-43FF-8856-55ABECFF48B6}"/>
                  </a:ext>
                </a:extLst>
              </p:cNvPr>
              <p:cNvSpPr/>
              <p:nvPr/>
            </p:nvSpPr>
            <p:spPr>
              <a:xfrm>
                <a:off x="4646911" y="2962107"/>
                <a:ext cx="148840" cy="155218"/>
              </a:xfrm>
              <a:custGeom>
                <a:avLst/>
                <a:gdLst>
                  <a:gd name="connsiteX0" fmla="*/ 133578 w 148840"/>
                  <a:gd name="connsiteY0" fmla="*/ 142679 h 155218"/>
                  <a:gd name="connsiteX1" fmla="*/ 133578 w 148840"/>
                  <a:gd name="connsiteY1" fmla="*/ 142679 h 155218"/>
                  <a:gd name="connsiteX2" fmla="*/ 136611 w 148840"/>
                  <a:gd name="connsiteY2" fmla="*/ 75937 h 155218"/>
                  <a:gd name="connsiteX3" fmla="*/ 82004 w 148840"/>
                  <a:gd name="connsiteY3" fmla="*/ 15263 h 155218"/>
                  <a:gd name="connsiteX4" fmla="*/ 15263 w 148840"/>
                  <a:gd name="connsiteY4" fmla="*/ 12229 h 155218"/>
                  <a:gd name="connsiteX5" fmla="*/ 15263 w 148840"/>
                  <a:gd name="connsiteY5" fmla="*/ 12229 h 155218"/>
                  <a:gd name="connsiteX6" fmla="*/ 12229 w 148840"/>
                  <a:gd name="connsiteY6" fmla="*/ 78971 h 155218"/>
                  <a:gd name="connsiteX7" fmla="*/ 66836 w 148840"/>
                  <a:gd name="connsiteY7" fmla="*/ 142679 h 155218"/>
                  <a:gd name="connsiteX8" fmla="*/ 133578 w 148840"/>
                  <a:gd name="connsiteY8" fmla="*/ 142679 h 155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840" h="155218">
                    <a:moveTo>
                      <a:pt x="133578" y="142679"/>
                    </a:moveTo>
                    <a:lnTo>
                      <a:pt x="133578" y="142679"/>
                    </a:lnTo>
                    <a:cubicBezTo>
                      <a:pt x="151780" y="124476"/>
                      <a:pt x="154813" y="94139"/>
                      <a:pt x="136611" y="75937"/>
                    </a:cubicBezTo>
                    <a:lnTo>
                      <a:pt x="82004" y="15263"/>
                    </a:lnTo>
                    <a:cubicBezTo>
                      <a:pt x="63802" y="-2939"/>
                      <a:pt x="33465" y="-5973"/>
                      <a:pt x="15263" y="12229"/>
                    </a:cubicBezTo>
                    <a:lnTo>
                      <a:pt x="15263" y="12229"/>
                    </a:lnTo>
                    <a:cubicBezTo>
                      <a:pt x="-2939" y="30431"/>
                      <a:pt x="-5973" y="60769"/>
                      <a:pt x="12229" y="78971"/>
                    </a:cubicBezTo>
                    <a:lnTo>
                      <a:pt x="66836" y="142679"/>
                    </a:lnTo>
                    <a:cubicBezTo>
                      <a:pt x="85038" y="157847"/>
                      <a:pt x="112341" y="160881"/>
                      <a:pt x="133578" y="142679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CAACB94A-4FCF-4663-B4BE-5E0348CB563A}"/>
                  </a:ext>
                </a:extLst>
              </p:cNvPr>
              <p:cNvSpPr/>
              <p:nvPr/>
            </p:nvSpPr>
            <p:spPr>
              <a:xfrm>
                <a:off x="3208934" y="4224129"/>
                <a:ext cx="148840" cy="157941"/>
              </a:xfrm>
              <a:custGeom>
                <a:avLst/>
                <a:gdLst>
                  <a:gd name="connsiteX0" fmla="*/ 133578 w 148840"/>
                  <a:gd name="connsiteY0" fmla="*/ 145712 h 157941"/>
                  <a:gd name="connsiteX1" fmla="*/ 133578 w 148840"/>
                  <a:gd name="connsiteY1" fmla="*/ 145712 h 157941"/>
                  <a:gd name="connsiteX2" fmla="*/ 136611 w 148840"/>
                  <a:gd name="connsiteY2" fmla="*/ 78971 h 157941"/>
                  <a:gd name="connsiteX3" fmla="*/ 82004 w 148840"/>
                  <a:gd name="connsiteY3" fmla="*/ 15263 h 157941"/>
                  <a:gd name="connsiteX4" fmla="*/ 15263 w 148840"/>
                  <a:gd name="connsiteY4" fmla="*/ 12229 h 157941"/>
                  <a:gd name="connsiteX5" fmla="*/ 15263 w 148840"/>
                  <a:gd name="connsiteY5" fmla="*/ 12229 h 157941"/>
                  <a:gd name="connsiteX6" fmla="*/ 12229 w 148840"/>
                  <a:gd name="connsiteY6" fmla="*/ 78971 h 157941"/>
                  <a:gd name="connsiteX7" fmla="*/ 66836 w 148840"/>
                  <a:gd name="connsiteY7" fmla="*/ 142679 h 157941"/>
                  <a:gd name="connsiteX8" fmla="*/ 133578 w 148840"/>
                  <a:gd name="connsiteY8" fmla="*/ 145712 h 157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840" h="157941">
                    <a:moveTo>
                      <a:pt x="133578" y="145712"/>
                    </a:moveTo>
                    <a:lnTo>
                      <a:pt x="133578" y="145712"/>
                    </a:lnTo>
                    <a:cubicBezTo>
                      <a:pt x="151780" y="127510"/>
                      <a:pt x="154814" y="97173"/>
                      <a:pt x="136611" y="78971"/>
                    </a:cubicBezTo>
                    <a:lnTo>
                      <a:pt x="82004" y="15263"/>
                    </a:lnTo>
                    <a:cubicBezTo>
                      <a:pt x="63802" y="-2939"/>
                      <a:pt x="33465" y="-5973"/>
                      <a:pt x="15263" y="12229"/>
                    </a:cubicBezTo>
                    <a:lnTo>
                      <a:pt x="15263" y="12229"/>
                    </a:lnTo>
                    <a:cubicBezTo>
                      <a:pt x="-2939" y="30431"/>
                      <a:pt x="-5973" y="60768"/>
                      <a:pt x="12229" y="78971"/>
                    </a:cubicBezTo>
                    <a:lnTo>
                      <a:pt x="66836" y="142679"/>
                    </a:lnTo>
                    <a:cubicBezTo>
                      <a:pt x="85038" y="160881"/>
                      <a:pt x="112342" y="163915"/>
                      <a:pt x="133578" y="145712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A3554956-2343-4DB9-B758-D327227E5E37}"/>
                  </a:ext>
                </a:extLst>
              </p:cNvPr>
              <p:cNvSpPr/>
              <p:nvPr/>
            </p:nvSpPr>
            <p:spPr>
              <a:xfrm>
                <a:off x="3706556" y="3402089"/>
                <a:ext cx="504755" cy="463974"/>
              </a:xfrm>
              <a:custGeom>
                <a:avLst/>
                <a:gdLst>
                  <a:gd name="connsiteX0" fmla="*/ 121348 w 504755"/>
                  <a:gd name="connsiteY0" fmla="*/ 452023 h 463974"/>
                  <a:gd name="connsiteX1" fmla="*/ 488427 w 504755"/>
                  <a:gd name="connsiteY1" fmla="*/ 127416 h 463974"/>
                  <a:gd name="connsiteX2" fmla="*/ 491461 w 504755"/>
                  <a:gd name="connsiteY2" fmla="*/ 57640 h 463974"/>
                  <a:gd name="connsiteX3" fmla="*/ 439888 w 504755"/>
                  <a:gd name="connsiteY3" fmla="*/ 0 h 463974"/>
                  <a:gd name="connsiteX4" fmla="*/ 0 w 504755"/>
                  <a:gd name="connsiteY4" fmla="*/ 388315 h 463974"/>
                  <a:gd name="connsiteX5" fmla="*/ 51573 w 504755"/>
                  <a:gd name="connsiteY5" fmla="*/ 445955 h 463974"/>
                  <a:gd name="connsiteX6" fmla="*/ 121348 w 504755"/>
                  <a:gd name="connsiteY6" fmla="*/ 452023 h 463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04755" h="463974">
                    <a:moveTo>
                      <a:pt x="121348" y="452023"/>
                    </a:moveTo>
                    <a:lnTo>
                      <a:pt x="488427" y="127416"/>
                    </a:lnTo>
                    <a:cubicBezTo>
                      <a:pt x="509663" y="109213"/>
                      <a:pt x="509663" y="78876"/>
                      <a:pt x="491461" y="57640"/>
                    </a:cubicBezTo>
                    <a:lnTo>
                      <a:pt x="439888" y="0"/>
                    </a:lnTo>
                    <a:lnTo>
                      <a:pt x="0" y="388315"/>
                    </a:lnTo>
                    <a:lnTo>
                      <a:pt x="51573" y="445955"/>
                    </a:lnTo>
                    <a:cubicBezTo>
                      <a:pt x="69775" y="467191"/>
                      <a:pt x="100112" y="470225"/>
                      <a:pt x="121348" y="452023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56" name="图形 1">
                <a:extLst>
                  <a:ext uri="{FF2B5EF4-FFF2-40B4-BE49-F238E27FC236}">
                    <a16:creationId xmlns:a16="http://schemas.microsoft.com/office/drawing/2014/main" id="{3B9EBF0A-0FEB-47A6-959B-C2964FB75F7C}"/>
                  </a:ext>
                </a:extLst>
              </p:cNvPr>
              <p:cNvGrpSpPr/>
              <p:nvPr/>
            </p:nvGrpSpPr>
            <p:grpSpPr>
              <a:xfrm>
                <a:off x="4479465" y="3086002"/>
                <a:ext cx="177223" cy="178053"/>
                <a:chOff x="4479465" y="3086002"/>
                <a:chExt cx="177223" cy="178053"/>
              </a:xfrm>
            </p:grpSpPr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5F9F8C86-429D-4350-A3C9-02441D6F0030}"/>
                    </a:ext>
                  </a:extLst>
                </p:cNvPr>
                <p:cNvSpPr/>
                <p:nvPr/>
              </p:nvSpPr>
              <p:spPr>
                <a:xfrm>
                  <a:off x="4499049" y="3102447"/>
                  <a:ext cx="141194" cy="142402"/>
                </a:xfrm>
                <a:custGeom>
                  <a:avLst/>
                  <a:gdLst>
                    <a:gd name="connsiteX0" fmla="*/ 17507 w 141194"/>
                    <a:gd name="connsiteY0" fmla="*/ 117619 h 142402"/>
                    <a:gd name="connsiteX1" fmla="*/ 23575 w 141194"/>
                    <a:gd name="connsiteY1" fmla="*/ 17507 h 142402"/>
                    <a:gd name="connsiteX2" fmla="*/ 123687 w 141194"/>
                    <a:gd name="connsiteY2" fmla="*/ 23575 h 142402"/>
                    <a:gd name="connsiteX3" fmla="*/ 117619 w 141194"/>
                    <a:gd name="connsiteY3" fmla="*/ 123687 h 142402"/>
                    <a:gd name="connsiteX4" fmla="*/ 17507 w 141194"/>
                    <a:gd name="connsiteY4" fmla="*/ 117619 h 1424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194" h="142402">
                      <a:moveTo>
                        <a:pt x="17507" y="117619"/>
                      </a:moveTo>
                      <a:cubicBezTo>
                        <a:pt x="-6762" y="87282"/>
                        <a:pt x="-6762" y="44810"/>
                        <a:pt x="23575" y="17507"/>
                      </a:cubicBezTo>
                      <a:cubicBezTo>
                        <a:pt x="53912" y="-6763"/>
                        <a:pt x="96384" y="-6763"/>
                        <a:pt x="123687" y="23575"/>
                      </a:cubicBezTo>
                      <a:cubicBezTo>
                        <a:pt x="147957" y="53912"/>
                        <a:pt x="147957" y="96383"/>
                        <a:pt x="117619" y="123687"/>
                      </a:cubicBezTo>
                      <a:cubicBezTo>
                        <a:pt x="87282" y="150990"/>
                        <a:pt x="41777" y="147957"/>
                        <a:pt x="17507" y="117619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EF1AF81D-CEA3-45F8-848A-A50091C675CD}"/>
                    </a:ext>
                  </a:extLst>
                </p:cNvPr>
                <p:cNvSpPr/>
                <p:nvPr/>
              </p:nvSpPr>
              <p:spPr>
                <a:xfrm>
                  <a:off x="4479465" y="3086002"/>
                  <a:ext cx="177223" cy="178053"/>
                </a:xfrm>
                <a:custGeom>
                  <a:avLst/>
                  <a:gdLst>
                    <a:gd name="connsiteX0" fmla="*/ 21923 w 177223"/>
                    <a:gd name="connsiteY0" fmla="*/ 146199 h 178053"/>
                    <a:gd name="connsiteX1" fmla="*/ 21923 w 177223"/>
                    <a:gd name="connsiteY1" fmla="*/ 146199 h 178053"/>
                    <a:gd name="connsiteX2" fmla="*/ 31024 w 177223"/>
                    <a:gd name="connsiteY2" fmla="*/ 21817 h 178053"/>
                    <a:gd name="connsiteX3" fmla="*/ 94732 w 177223"/>
                    <a:gd name="connsiteY3" fmla="*/ 581 h 178053"/>
                    <a:gd name="connsiteX4" fmla="*/ 155406 w 177223"/>
                    <a:gd name="connsiteY4" fmla="*/ 30918 h 178053"/>
                    <a:gd name="connsiteX5" fmla="*/ 176642 w 177223"/>
                    <a:gd name="connsiteY5" fmla="*/ 94626 h 178053"/>
                    <a:gd name="connsiteX6" fmla="*/ 146305 w 177223"/>
                    <a:gd name="connsiteY6" fmla="*/ 155300 h 178053"/>
                    <a:gd name="connsiteX7" fmla="*/ 31024 w 177223"/>
                    <a:gd name="connsiteY7" fmla="*/ 155300 h 178053"/>
                    <a:gd name="connsiteX8" fmla="*/ 21923 w 177223"/>
                    <a:gd name="connsiteY8" fmla="*/ 146199 h 178053"/>
                    <a:gd name="connsiteX9" fmla="*/ 91698 w 177223"/>
                    <a:gd name="connsiteY9" fmla="*/ 36986 h 178053"/>
                    <a:gd name="connsiteX10" fmla="*/ 52260 w 177223"/>
                    <a:gd name="connsiteY10" fmla="*/ 49121 h 178053"/>
                    <a:gd name="connsiteX11" fmla="*/ 46193 w 177223"/>
                    <a:gd name="connsiteY11" fmla="*/ 124963 h 178053"/>
                    <a:gd name="connsiteX12" fmla="*/ 46193 w 177223"/>
                    <a:gd name="connsiteY12" fmla="*/ 124963 h 178053"/>
                    <a:gd name="connsiteX13" fmla="*/ 122035 w 177223"/>
                    <a:gd name="connsiteY13" fmla="*/ 131031 h 178053"/>
                    <a:gd name="connsiteX14" fmla="*/ 140237 w 177223"/>
                    <a:gd name="connsiteY14" fmla="*/ 94626 h 178053"/>
                    <a:gd name="connsiteX15" fmla="*/ 128103 w 177223"/>
                    <a:gd name="connsiteY15" fmla="*/ 55188 h 178053"/>
                    <a:gd name="connsiteX16" fmla="*/ 122035 w 177223"/>
                    <a:gd name="connsiteY16" fmla="*/ 49121 h 178053"/>
                    <a:gd name="connsiteX17" fmla="*/ 91698 w 177223"/>
                    <a:gd name="connsiteY17" fmla="*/ 36986 h 178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77223" h="178053">
                      <a:moveTo>
                        <a:pt x="21923" y="146199"/>
                      </a:moveTo>
                      <a:lnTo>
                        <a:pt x="21923" y="146199"/>
                      </a:lnTo>
                      <a:cubicBezTo>
                        <a:pt x="-11448" y="109795"/>
                        <a:pt x="-5380" y="55188"/>
                        <a:pt x="31024" y="21817"/>
                      </a:cubicBezTo>
                      <a:cubicBezTo>
                        <a:pt x="49226" y="6649"/>
                        <a:pt x="70462" y="-2452"/>
                        <a:pt x="94732" y="581"/>
                      </a:cubicBezTo>
                      <a:cubicBezTo>
                        <a:pt x="119002" y="581"/>
                        <a:pt x="140237" y="12716"/>
                        <a:pt x="155406" y="30918"/>
                      </a:cubicBezTo>
                      <a:cubicBezTo>
                        <a:pt x="170575" y="49121"/>
                        <a:pt x="179676" y="70357"/>
                        <a:pt x="176642" y="94626"/>
                      </a:cubicBezTo>
                      <a:cubicBezTo>
                        <a:pt x="176642" y="118896"/>
                        <a:pt x="164507" y="140132"/>
                        <a:pt x="146305" y="155300"/>
                      </a:cubicBezTo>
                      <a:cubicBezTo>
                        <a:pt x="112934" y="185638"/>
                        <a:pt x="64395" y="185638"/>
                        <a:pt x="31024" y="155300"/>
                      </a:cubicBezTo>
                      <a:cubicBezTo>
                        <a:pt x="27990" y="152267"/>
                        <a:pt x="24957" y="149233"/>
                        <a:pt x="21923" y="146199"/>
                      </a:cubicBezTo>
                      <a:close/>
                      <a:moveTo>
                        <a:pt x="91698" y="36986"/>
                      </a:moveTo>
                      <a:cubicBezTo>
                        <a:pt x="76530" y="36986"/>
                        <a:pt x="64395" y="40020"/>
                        <a:pt x="52260" y="49121"/>
                      </a:cubicBezTo>
                      <a:cubicBezTo>
                        <a:pt x="31024" y="67323"/>
                        <a:pt x="27990" y="100694"/>
                        <a:pt x="46193" y="124963"/>
                      </a:cubicBezTo>
                      <a:lnTo>
                        <a:pt x="46193" y="124963"/>
                      </a:lnTo>
                      <a:cubicBezTo>
                        <a:pt x="64395" y="146199"/>
                        <a:pt x="97765" y="149233"/>
                        <a:pt x="122035" y="131031"/>
                      </a:cubicBezTo>
                      <a:cubicBezTo>
                        <a:pt x="131136" y="121930"/>
                        <a:pt x="140237" y="109795"/>
                        <a:pt x="140237" y="94626"/>
                      </a:cubicBezTo>
                      <a:cubicBezTo>
                        <a:pt x="140237" y="79458"/>
                        <a:pt x="137204" y="67323"/>
                        <a:pt x="128103" y="55188"/>
                      </a:cubicBezTo>
                      <a:cubicBezTo>
                        <a:pt x="125069" y="52154"/>
                        <a:pt x="125069" y="52154"/>
                        <a:pt x="122035" y="49121"/>
                      </a:cubicBezTo>
                      <a:cubicBezTo>
                        <a:pt x="112934" y="40020"/>
                        <a:pt x="103833" y="36986"/>
                        <a:pt x="91698" y="36986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59" name="图形 1">
                <a:extLst>
                  <a:ext uri="{FF2B5EF4-FFF2-40B4-BE49-F238E27FC236}">
                    <a16:creationId xmlns:a16="http://schemas.microsoft.com/office/drawing/2014/main" id="{3B9EBF0A-0FEB-47A6-959B-C2964FB75F7C}"/>
                  </a:ext>
                </a:extLst>
              </p:cNvPr>
              <p:cNvGrpSpPr/>
              <p:nvPr/>
            </p:nvGrpSpPr>
            <p:grpSpPr>
              <a:xfrm>
                <a:off x="3369301" y="4080881"/>
                <a:ext cx="155746" cy="159269"/>
                <a:chOff x="3369301" y="4080881"/>
                <a:chExt cx="155746" cy="159269"/>
              </a:xfrm>
            </p:grpSpPr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F3BBBCAD-860E-410D-843E-B79A925E5823}"/>
                    </a:ext>
                  </a:extLst>
                </p:cNvPr>
                <p:cNvSpPr/>
                <p:nvPr/>
              </p:nvSpPr>
              <p:spPr>
                <a:xfrm>
                  <a:off x="3383695" y="4095520"/>
                  <a:ext cx="126957" cy="126957"/>
                </a:xfrm>
                <a:custGeom>
                  <a:avLst/>
                  <a:gdLst>
                    <a:gd name="connsiteX0" fmla="*/ 16457 w 126957"/>
                    <a:gd name="connsiteY0" fmla="*/ 104434 h 126957"/>
                    <a:gd name="connsiteX1" fmla="*/ 22524 w 126957"/>
                    <a:gd name="connsiteY1" fmla="*/ 16457 h 126957"/>
                    <a:gd name="connsiteX2" fmla="*/ 110501 w 126957"/>
                    <a:gd name="connsiteY2" fmla="*/ 22524 h 126957"/>
                    <a:gd name="connsiteX3" fmla="*/ 104434 w 126957"/>
                    <a:gd name="connsiteY3" fmla="*/ 110501 h 126957"/>
                    <a:gd name="connsiteX4" fmla="*/ 16457 w 126957"/>
                    <a:gd name="connsiteY4" fmla="*/ 104434 h 126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957" h="126957">
                      <a:moveTo>
                        <a:pt x="16457" y="104434"/>
                      </a:moveTo>
                      <a:cubicBezTo>
                        <a:pt x="-7813" y="77131"/>
                        <a:pt x="-4779" y="37692"/>
                        <a:pt x="22524" y="16457"/>
                      </a:cubicBezTo>
                      <a:cubicBezTo>
                        <a:pt x="49827" y="-7813"/>
                        <a:pt x="89265" y="-4780"/>
                        <a:pt x="110501" y="22524"/>
                      </a:cubicBezTo>
                      <a:cubicBezTo>
                        <a:pt x="134771" y="49827"/>
                        <a:pt x="131737" y="89266"/>
                        <a:pt x="104434" y="110501"/>
                      </a:cubicBezTo>
                      <a:cubicBezTo>
                        <a:pt x="80164" y="134771"/>
                        <a:pt x="37692" y="131737"/>
                        <a:pt x="16457" y="104434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2AC3F142-E0A5-40B6-9B38-D67B98CE2A50}"/>
                    </a:ext>
                  </a:extLst>
                </p:cNvPr>
                <p:cNvSpPr/>
                <p:nvPr/>
              </p:nvSpPr>
              <p:spPr>
                <a:xfrm>
                  <a:off x="3369301" y="4080881"/>
                  <a:ext cx="155746" cy="159269"/>
                </a:xfrm>
                <a:custGeom>
                  <a:avLst/>
                  <a:gdLst>
                    <a:gd name="connsiteX0" fmla="*/ 18716 w 155746"/>
                    <a:gd name="connsiteY0" fmla="*/ 131208 h 159269"/>
                    <a:gd name="connsiteX1" fmla="*/ 18716 w 155746"/>
                    <a:gd name="connsiteY1" fmla="*/ 131208 h 159269"/>
                    <a:gd name="connsiteX2" fmla="*/ 24783 w 155746"/>
                    <a:gd name="connsiteY2" fmla="*/ 18961 h 159269"/>
                    <a:gd name="connsiteX3" fmla="*/ 82424 w 155746"/>
                    <a:gd name="connsiteY3" fmla="*/ 758 h 159269"/>
                    <a:gd name="connsiteX4" fmla="*/ 137031 w 155746"/>
                    <a:gd name="connsiteY4" fmla="*/ 28062 h 159269"/>
                    <a:gd name="connsiteX5" fmla="*/ 130963 w 155746"/>
                    <a:gd name="connsiteY5" fmla="*/ 140309 h 159269"/>
                    <a:gd name="connsiteX6" fmla="*/ 73323 w 155746"/>
                    <a:gd name="connsiteY6" fmla="*/ 158511 h 159269"/>
                    <a:gd name="connsiteX7" fmla="*/ 27817 w 155746"/>
                    <a:gd name="connsiteY7" fmla="*/ 140309 h 159269"/>
                    <a:gd name="connsiteX8" fmla="*/ 18716 w 155746"/>
                    <a:gd name="connsiteY8" fmla="*/ 131208 h 159269"/>
                    <a:gd name="connsiteX9" fmla="*/ 79390 w 155746"/>
                    <a:gd name="connsiteY9" fmla="*/ 31095 h 159269"/>
                    <a:gd name="connsiteX10" fmla="*/ 46019 w 155746"/>
                    <a:gd name="connsiteY10" fmla="*/ 43230 h 159269"/>
                    <a:gd name="connsiteX11" fmla="*/ 42986 w 155746"/>
                    <a:gd name="connsiteY11" fmla="*/ 109972 h 159269"/>
                    <a:gd name="connsiteX12" fmla="*/ 42986 w 155746"/>
                    <a:gd name="connsiteY12" fmla="*/ 109972 h 159269"/>
                    <a:gd name="connsiteX13" fmla="*/ 76357 w 155746"/>
                    <a:gd name="connsiteY13" fmla="*/ 125140 h 159269"/>
                    <a:gd name="connsiteX14" fmla="*/ 109727 w 155746"/>
                    <a:gd name="connsiteY14" fmla="*/ 113006 h 159269"/>
                    <a:gd name="connsiteX15" fmla="*/ 112761 w 155746"/>
                    <a:gd name="connsiteY15" fmla="*/ 46264 h 159269"/>
                    <a:gd name="connsiteX16" fmla="*/ 106694 w 155746"/>
                    <a:gd name="connsiteY16" fmla="*/ 40196 h 159269"/>
                    <a:gd name="connsiteX17" fmla="*/ 79390 w 155746"/>
                    <a:gd name="connsiteY17" fmla="*/ 31095 h 159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55746" h="159269">
                      <a:moveTo>
                        <a:pt x="18716" y="131208"/>
                      </a:moveTo>
                      <a:lnTo>
                        <a:pt x="18716" y="131208"/>
                      </a:lnTo>
                      <a:cubicBezTo>
                        <a:pt x="-8587" y="97837"/>
                        <a:pt x="-5554" y="49298"/>
                        <a:pt x="24783" y="18961"/>
                      </a:cubicBezTo>
                      <a:cubicBezTo>
                        <a:pt x="39952" y="3792"/>
                        <a:pt x="61188" y="-2275"/>
                        <a:pt x="82424" y="758"/>
                      </a:cubicBezTo>
                      <a:cubicBezTo>
                        <a:pt x="103660" y="758"/>
                        <a:pt x="121862" y="12893"/>
                        <a:pt x="137031" y="28062"/>
                      </a:cubicBezTo>
                      <a:cubicBezTo>
                        <a:pt x="164334" y="61433"/>
                        <a:pt x="161300" y="109972"/>
                        <a:pt x="130963" y="140309"/>
                      </a:cubicBezTo>
                      <a:cubicBezTo>
                        <a:pt x="115795" y="155477"/>
                        <a:pt x="94559" y="161545"/>
                        <a:pt x="73323" y="158511"/>
                      </a:cubicBezTo>
                      <a:cubicBezTo>
                        <a:pt x="55121" y="158511"/>
                        <a:pt x="39952" y="152444"/>
                        <a:pt x="27817" y="140309"/>
                      </a:cubicBezTo>
                      <a:cubicBezTo>
                        <a:pt x="24783" y="137275"/>
                        <a:pt x="21750" y="134242"/>
                        <a:pt x="18716" y="131208"/>
                      </a:cubicBezTo>
                      <a:close/>
                      <a:moveTo>
                        <a:pt x="79390" y="31095"/>
                      </a:moveTo>
                      <a:cubicBezTo>
                        <a:pt x="67255" y="31095"/>
                        <a:pt x="55121" y="34129"/>
                        <a:pt x="46019" y="43230"/>
                      </a:cubicBezTo>
                      <a:cubicBezTo>
                        <a:pt x="27817" y="61433"/>
                        <a:pt x="24783" y="91770"/>
                        <a:pt x="42986" y="109972"/>
                      </a:cubicBezTo>
                      <a:lnTo>
                        <a:pt x="42986" y="109972"/>
                      </a:lnTo>
                      <a:cubicBezTo>
                        <a:pt x="52087" y="119073"/>
                        <a:pt x="64222" y="125140"/>
                        <a:pt x="76357" y="125140"/>
                      </a:cubicBezTo>
                      <a:cubicBezTo>
                        <a:pt x="88491" y="125140"/>
                        <a:pt x="100626" y="122107"/>
                        <a:pt x="109727" y="113006"/>
                      </a:cubicBezTo>
                      <a:cubicBezTo>
                        <a:pt x="127929" y="94803"/>
                        <a:pt x="130963" y="64466"/>
                        <a:pt x="112761" y="46264"/>
                      </a:cubicBezTo>
                      <a:cubicBezTo>
                        <a:pt x="109727" y="43230"/>
                        <a:pt x="109727" y="43230"/>
                        <a:pt x="106694" y="40196"/>
                      </a:cubicBezTo>
                      <a:cubicBezTo>
                        <a:pt x="100626" y="37163"/>
                        <a:pt x="91525" y="31095"/>
                        <a:pt x="79390" y="31095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62" name="图形 1">
              <a:extLst>
                <a:ext uri="{FF2B5EF4-FFF2-40B4-BE49-F238E27FC236}">
                  <a16:creationId xmlns:a16="http://schemas.microsoft.com/office/drawing/2014/main" id="{3B9EBF0A-0FEB-47A6-959B-C2964FB75F7C}"/>
                </a:ext>
              </a:extLst>
            </p:cNvPr>
            <p:cNvGrpSpPr/>
            <p:nvPr/>
          </p:nvGrpSpPr>
          <p:grpSpPr>
            <a:xfrm>
              <a:off x="3303787" y="3963325"/>
              <a:ext cx="399913" cy="249671"/>
              <a:chOff x="3303787" y="3963325"/>
              <a:chExt cx="399913" cy="249671"/>
            </a:xfrm>
          </p:grpSpPr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82806F5C-01BB-4BAA-9E32-BAAD77BCFEEF}"/>
                  </a:ext>
                </a:extLst>
              </p:cNvPr>
              <p:cNvSpPr/>
              <p:nvPr/>
            </p:nvSpPr>
            <p:spPr>
              <a:xfrm>
                <a:off x="3363747" y="3963325"/>
                <a:ext cx="239902" cy="73942"/>
              </a:xfrm>
              <a:custGeom>
                <a:avLst/>
                <a:gdLst>
                  <a:gd name="connsiteX0" fmla="*/ 0 w 239902"/>
                  <a:gd name="connsiteY0" fmla="*/ 51573 h 73942"/>
                  <a:gd name="connsiteX1" fmla="*/ 106180 w 239902"/>
                  <a:gd name="connsiteY1" fmla="*/ 0 h 73942"/>
                  <a:gd name="connsiteX2" fmla="*/ 236629 w 239902"/>
                  <a:gd name="connsiteY2" fmla="*/ 48539 h 73942"/>
                  <a:gd name="connsiteX3" fmla="*/ 209326 w 239902"/>
                  <a:gd name="connsiteY3" fmla="*/ 72809 h 73942"/>
                  <a:gd name="connsiteX4" fmla="*/ 0 w 239902"/>
                  <a:gd name="connsiteY4" fmla="*/ 51573 h 73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9902" h="73942">
                    <a:moveTo>
                      <a:pt x="0" y="51573"/>
                    </a:moveTo>
                    <a:cubicBezTo>
                      <a:pt x="0" y="51573"/>
                      <a:pt x="63708" y="0"/>
                      <a:pt x="106180" y="0"/>
                    </a:cubicBezTo>
                    <a:cubicBezTo>
                      <a:pt x="148652" y="0"/>
                      <a:pt x="221461" y="12135"/>
                      <a:pt x="236629" y="48539"/>
                    </a:cubicBezTo>
                    <a:cubicBezTo>
                      <a:pt x="251798" y="81910"/>
                      <a:pt x="209326" y="72809"/>
                      <a:pt x="209326" y="72809"/>
                    </a:cubicBezTo>
                    <a:lnTo>
                      <a:pt x="0" y="51573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31E55006-1EC9-4855-81E2-6B665F9E8454}"/>
                  </a:ext>
                </a:extLst>
              </p:cNvPr>
              <p:cNvSpPr/>
              <p:nvPr/>
            </p:nvSpPr>
            <p:spPr>
              <a:xfrm>
                <a:off x="3303787" y="4004048"/>
                <a:ext cx="399913" cy="208947"/>
              </a:xfrm>
              <a:custGeom>
                <a:avLst/>
                <a:gdLst>
                  <a:gd name="connsiteX0" fmla="*/ 38724 w 399913"/>
                  <a:gd name="connsiteY0" fmla="*/ 159501 h 208947"/>
                  <a:gd name="connsiteX1" fmla="*/ 135802 w 399913"/>
                  <a:gd name="connsiteY1" fmla="*/ 174670 h 208947"/>
                  <a:gd name="connsiteX2" fmla="*/ 232881 w 399913"/>
                  <a:gd name="connsiteY2" fmla="*/ 201973 h 208947"/>
                  <a:gd name="connsiteX3" fmla="*/ 287488 w 399913"/>
                  <a:gd name="connsiteY3" fmla="*/ 205007 h 208947"/>
                  <a:gd name="connsiteX4" fmla="*/ 238948 w 399913"/>
                  <a:gd name="connsiteY4" fmla="*/ 159501 h 208947"/>
                  <a:gd name="connsiteX5" fmla="*/ 293555 w 399913"/>
                  <a:gd name="connsiteY5" fmla="*/ 168603 h 208947"/>
                  <a:gd name="connsiteX6" fmla="*/ 369398 w 399913"/>
                  <a:gd name="connsiteY6" fmla="*/ 159501 h 208947"/>
                  <a:gd name="connsiteX7" fmla="*/ 369398 w 399913"/>
                  <a:gd name="connsiteY7" fmla="*/ 144333 h 208947"/>
                  <a:gd name="connsiteX8" fmla="*/ 399735 w 399913"/>
                  <a:gd name="connsiteY8" fmla="*/ 129164 h 208947"/>
                  <a:gd name="connsiteX9" fmla="*/ 354229 w 399913"/>
                  <a:gd name="connsiteY9" fmla="*/ 80625 h 208947"/>
                  <a:gd name="connsiteX10" fmla="*/ 296589 w 399913"/>
                  <a:gd name="connsiteY10" fmla="*/ 56355 h 208947"/>
                  <a:gd name="connsiteX11" fmla="*/ 342094 w 399913"/>
                  <a:gd name="connsiteY11" fmla="*/ 53322 h 208947"/>
                  <a:gd name="connsiteX12" fmla="*/ 360297 w 399913"/>
                  <a:gd name="connsiteY12" fmla="*/ 44221 h 208947"/>
                  <a:gd name="connsiteX13" fmla="*/ 293555 w 399913"/>
                  <a:gd name="connsiteY13" fmla="*/ 7816 h 208947"/>
                  <a:gd name="connsiteX14" fmla="*/ 29623 w 399913"/>
                  <a:gd name="connsiteY14" fmla="*/ 1749 h 208947"/>
                  <a:gd name="connsiteX15" fmla="*/ 2319 w 399913"/>
                  <a:gd name="connsiteY15" fmla="*/ 126131 h 208947"/>
                  <a:gd name="connsiteX16" fmla="*/ 38724 w 399913"/>
                  <a:gd name="connsiteY16" fmla="*/ 159501 h 208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99913" h="208947">
                    <a:moveTo>
                      <a:pt x="38724" y="159501"/>
                    </a:moveTo>
                    <a:cubicBezTo>
                      <a:pt x="69061" y="165569"/>
                      <a:pt x="102431" y="168603"/>
                      <a:pt x="135802" y="174670"/>
                    </a:cubicBezTo>
                    <a:cubicBezTo>
                      <a:pt x="169173" y="180737"/>
                      <a:pt x="199510" y="192872"/>
                      <a:pt x="232881" y="201973"/>
                    </a:cubicBezTo>
                    <a:cubicBezTo>
                      <a:pt x="245016" y="205007"/>
                      <a:pt x="278387" y="214108"/>
                      <a:pt x="287488" y="205007"/>
                    </a:cubicBezTo>
                    <a:cubicBezTo>
                      <a:pt x="302656" y="189838"/>
                      <a:pt x="269285" y="171636"/>
                      <a:pt x="238948" y="159501"/>
                    </a:cubicBezTo>
                    <a:cubicBezTo>
                      <a:pt x="257151" y="162535"/>
                      <a:pt x="275353" y="165569"/>
                      <a:pt x="293555" y="168603"/>
                    </a:cubicBezTo>
                    <a:cubicBezTo>
                      <a:pt x="311757" y="171636"/>
                      <a:pt x="354229" y="177703"/>
                      <a:pt x="369398" y="159501"/>
                    </a:cubicBezTo>
                    <a:cubicBezTo>
                      <a:pt x="375465" y="153434"/>
                      <a:pt x="375465" y="147366"/>
                      <a:pt x="369398" y="144333"/>
                    </a:cubicBezTo>
                    <a:cubicBezTo>
                      <a:pt x="384566" y="144333"/>
                      <a:pt x="396701" y="141299"/>
                      <a:pt x="399735" y="129164"/>
                    </a:cubicBezTo>
                    <a:cubicBezTo>
                      <a:pt x="402769" y="107928"/>
                      <a:pt x="366364" y="89726"/>
                      <a:pt x="354229" y="80625"/>
                    </a:cubicBezTo>
                    <a:cubicBezTo>
                      <a:pt x="336027" y="71524"/>
                      <a:pt x="314791" y="62423"/>
                      <a:pt x="296589" y="56355"/>
                    </a:cubicBezTo>
                    <a:cubicBezTo>
                      <a:pt x="311757" y="56355"/>
                      <a:pt x="326926" y="56355"/>
                      <a:pt x="342094" y="53322"/>
                    </a:cubicBezTo>
                    <a:cubicBezTo>
                      <a:pt x="351196" y="53322"/>
                      <a:pt x="357263" y="50288"/>
                      <a:pt x="360297" y="44221"/>
                    </a:cubicBezTo>
                    <a:cubicBezTo>
                      <a:pt x="369398" y="16917"/>
                      <a:pt x="308724" y="7816"/>
                      <a:pt x="293555" y="7816"/>
                    </a:cubicBezTo>
                    <a:cubicBezTo>
                      <a:pt x="205578" y="-7353"/>
                      <a:pt x="117600" y="4782"/>
                      <a:pt x="29623" y="1749"/>
                    </a:cubicBezTo>
                    <a:cubicBezTo>
                      <a:pt x="29623" y="-1285"/>
                      <a:pt x="-9816" y="86692"/>
                      <a:pt x="2319" y="126131"/>
                    </a:cubicBezTo>
                    <a:cubicBezTo>
                      <a:pt x="8387" y="153434"/>
                      <a:pt x="14454" y="156468"/>
                      <a:pt x="38724" y="15950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8F83B728-3E88-4D22-8824-0AFE898A1651}"/>
                  </a:ext>
                </a:extLst>
              </p:cNvPr>
              <p:cNvSpPr/>
              <p:nvPr/>
            </p:nvSpPr>
            <p:spPr>
              <a:xfrm>
                <a:off x="3509365" y="4093774"/>
                <a:ext cx="168110" cy="60674"/>
              </a:xfrm>
              <a:custGeom>
                <a:avLst/>
                <a:gdLst>
                  <a:gd name="connsiteX0" fmla="*/ 163820 w 168110"/>
                  <a:gd name="connsiteY0" fmla="*/ 60674 h 60674"/>
                  <a:gd name="connsiteX1" fmla="*/ 163820 w 168110"/>
                  <a:gd name="connsiteY1" fmla="*/ 60674 h 60674"/>
                  <a:gd name="connsiteX2" fmla="*/ 9101 w 168110"/>
                  <a:gd name="connsiteY2" fmla="*/ 12135 h 60674"/>
                  <a:gd name="connsiteX3" fmla="*/ 6067 w 168110"/>
                  <a:gd name="connsiteY3" fmla="*/ 12135 h 60674"/>
                  <a:gd name="connsiteX4" fmla="*/ 0 w 168110"/>
                  <a:gd name="connsiteY4" fmla="*/ 6067 h 60674"/>
                  <a:gd name="connsiteX5" fmla="*/ 6067 w 168110"/>
                  <a:gd name="connsiteY5" fmla="*/ 0 h 60674"/>
                  <a:gd name="connsiteX6" fmla="*/ 9101 w 168110"/>
                  <a:gd name="connsiteY6" fmla="*/ 0 h 60674"/>
                  <a:gd name="connsiteX7" fmla="*/ 163820 w 168110"/>
                  <a:gd name="connsiteY7" fmla="*/ 48539 h 60674"/>
                  <a:gd name="connsiteX8" fmla="*/ 166854 w 168110"/>
                  <a:gd name="connsiteY8" fmla="*/ 54607 h 60674"/>
                  <a:gd name="connsiteX9" fmla="*/ 163820 w 168110"/>
                  <a:gd name="connsiteY9" fmla="*/ 60674 h 6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8110" h="60674">
                    <a:moveTo>
                      <a:pt x="163820" y="60674"/>
                    </a:moveTo>
                    <a:cubicBezTo>
                      <a:pt x="163820" y="60674"/>
                      <a:pt x="163820" y="60674"/>
                      <a:pt x="163820" y="60674"/>
                    </a:cubicBezTo>
                    <a:cubicBezTo>
                      <a:pt x="160787" y="60674"/>
                      <a:pt x="48539" y="12135"/>
                      <a:pt x="9101" y="12135"/>
                    </a:cubicBezTo>
                    <a:cubicBezTo>
                      <a:pt x="9101" y="12135"/>
                      <a:pt x="6067" y="12135"/>
                      <a:pt x="6067" y="12135"/>
                    </a:cubicBezTo>
                    <a:cubicBezTo>
                      <a:pt x="3034" y="12135"/>
                      <a:pt x="0" y="9101"/>
                      <a:pt x="0" y="6067"/>
                    </a:cubicBezTo>
                    <a:cubicBezTo>
                      <a:pt x="0" y="3034"/>
                      <a:pt x="3034" y="0"/>
                      <a:pt x="6067" y="0"/>
                    </a:cubicBezTo>
                    <a:cubicBezTo>
                      <a:pt x="6067" y="0"/>
                      <a:pt x="9101" y="0"/>
                      <a:pt x="9101" y="0"/>
                    </a:cubicBezTo>
                    <a:cubicBezTo>
                      <a:pt x="48539" y="0"/>
                      <a:pt x="160787" y="45506"/>
                      <a:pt x="163820" y="48539"/>
                    </a:cubicBezTo>
                    <a:cubicBezTo>
                      <a:pt x="166854" y="48539"/>
                      <a:pt x="166854" y="51573"/>
                      <a:pt x="166854" y="54607"/>
                    </a:cubicBezTo>
                    <a:cubicBezTo>
                      <a:pt x="169888" y="57640"/>
                      <a:pt x="166854" y="60674"/>
                      <a:pt x="163820" y="6067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9A493A85-E2F3-498F-A820-F07EBD6AFB6B}"/>
                  </a:ext>
                </a:extLst>
              </p:cNvPr>
              <p:cNvSpPr/>
              <p:nvPr/>
            </p:nvSpPr>
            <p:spPr>
              <a:xfrm>
                <a:off x="3482062" y="4148381"/>
                <a:ext cx="66741" cy="21236"/>
              </a:xfrm>
              <a:custGeom>
                <a:avLst/>
                <a:gdLst>
                  <a:gd name="connsiteX0" fmla="*/ 60674 w 66741"/>
                  <a:gd name="connsiteY0" fmla="*/ 21236 h 21236"/>
                  <a:gd name="connsiteX1" fmla="*/ 60674 w 66741"/>
                  <a:gd name="connsiteY1" fmla="*/ 21236 h 21236"/>
                  <a:gd name="connsiteX2" fmla="*/ 6067 w 66741"/>
                  <a:gd name="connsiteY2" fmla="*/ 12135 h 21236"/>
                  <a:gd name="connsiteX3" fmla="*/ 0 w 66741"/>
                  <a:gd name="connsiteY3" fmla="*/ 6068 h 21236"/>
                  <a:gd name="connsiteX4" fmla="*/ 6067 w 66741"/>
                  <a:gd name="connsiteY4" fmla="*/ 0 h 21236"/>
                  <a:gd name="connsiteX5" fmla="*/ 60674 w 66741"/>
                  <a:gd name="connsiteY5" fmla="*/ 9101 h 21236"/>
                  <a:gd name="connsiteX6" fmla="*/ 66742 w 66741"/>
                  <a:gd name="connsiteY6" fmla="*/ 15169 h 21236"/>
                  <a:gd name="connsiteX7" fmla="*/ 60674 w 66741"/>
                  <a:gd name="connsiteY7" fmla="*/ 21236 h 21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741" h="21236">
                    <a:moveTo>
                      <a:pt x="60674" y="21236"/>
                    </a:moveTo>
                    <a:cubicBezTo>
                      <a:pt x="60674" y="21236"/>
                      <a:pt x="60674" y="21236"/>
                      <a:pt x="60674" y="21236"/>
                    </a:cubicBezTo>
                    <a:lnTo>
                      <a:pt x="6067" y="12135"/>
                    </a:lnTo>
                    <a:cubicBezTo>
                      <a:pt x="3034" y="12135"/>
                      <a:pt x="0" y="9101"/>
                      <a:pt x="0" y="6068"/>
                    </a:cubicBezTo>
                    <a:cubicBezTo>
                      <a:pt x="0" y="3034"/>
                      <a:pt x="3034" y="0"/>
                      <a:pt x="6067" y="0"/>
                    </a:cubicBezTo>
                    <a:lnTo>
                      <a:pt x="60674" y="9101"/>
                    </a:lnTo>
                    <a:cubicBezTo>
                      <a:pt x="63708" y="9101"/>
                      <a:pt x="66742" y="12135"/>
                      <a:pt x="66742" y="15169"/>
                    </a:cubicBezTo>
                    <a:cubicBezTo>
                      <a:pt x="66742" y="18202"/>
                      <a:pt x="63708" y="21236"/>
                      <a:pt x="60674" y="2123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C1C3A983-670B-4195-A605-2785CF375791}"/>
                  </a:ext>
                </a:extLst>
              </p:cNvPr>
              <p:cNvSpPr/>
              <p:nvPr/>
            </p:nvSpPr>
            <p:spPr>
              <a:xfrm>
                <a:off x="3436556" y="4042201"/>
                <a:ext cx="25437" cy="109213"/>
              </a:xfrm>
              <a:custGeom>
                <a:avLst/>
                <a:gdLst>
                  <a:gd name="connsiteX0" fmla="*/ 6067 w 25437"/>
                  <a:gd name="connsiteY0" fmla="*/ 109213 h 109213"/>
                  <a:gd name="connsiteX1" fmla="*/ 6067 w 25437"/>
                  <a:gd name="connsiteY1" fmla="*/ 109213 h 109213"/>
                  <a:gd name="connsiteX2" fmla="*/ 0 w 25437"/>
                  <a:gd name="connsiteY2" fmla="*/ 100112 h 109213"/>
                  <a:gd name="connsiteX3" fmla="*/ 12135 w 25437"/>
                  <a:gd name="connsiteY3" fmla="*/ 6068 h 109213"/>
                  <a:gd name="connsiteX4" fmla="*/ 15169 w 25437"/>
                  <a:gd name="connsiteY4" fmla="*/ 0 h 109213"/>
                  <a:gd name="connsiteX5" fmla="*/ 21236 w 25437"/>
                  <a:gd name="connsiteY5" fmla="*/ 3034 h 109213"/>
                  <a:gd name="connsiteX6" fmla="*/ 9101 w 25437"/>
                  <a:gd name="connsiteY6" fmla="*/ 106180 h 109213"/>
                  <a:gd name="connsiteX7" fmla="*/ 6067 w 25437"/>
                  <a:gd name="connsiteY7" fmla="*/ 109213 h 109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37" h="109213">
                    <a:moveTo>
                      <a:pt x="6067" y="109213"/>
                    </a:moveTo>
                    <a:cubicBezTo>
                      <a:pt x="6067" y="109213"/>
                      <a:pt x="3034" y="109213"/>
                      <a:pt x="6067" y="109213"/>
                    </a:cubicBezTo>
                    <a:cubicBezTo>
                      <a:pt x="0" y="106180"/>
                      <a:pt x="0" y="103146"/>
                      <a:pt x="0" y="100112"/>
                    </a:cubicBezTo>
                    <a:cubicBezTo>
                      <a:pt x="27303" y="54607"/>
                      <a:pt x="12135" y="6068"/>
                      <a:pt x="12135" y="6068"/>
                    </a:cubicBezTo>
                    <a:cubicBezTo>
                      <a:pt x="12135" y="3034"/>
                      <a:pt x="12135" y="0"/>
                      <a:pt x="15169" y="0"/>
                    </a:cubicBezTo>
                    <a:cubicBezTo>
                      <a:pt x="18202" y="0"/>
                      <a:pt x="21236" y="0"/>
                      <a:pt x="21236" y="3034"/>
                    </a:cubicBezTo>
                    <a:cubicBezTo>
                      <a:pt x="21236" y="6068"/>
                      <a:pt x="36405" y="57640"/>
                      <a:pt x="9101" y="106180"/>
                    </a:cubicBezTo>
                    <a:cubicBezTo>
                      <a:pt x="9101" y="109213"/>
                      <a:pt x="9101" y="109213"/>
                      <a:pt x="6067" y="10921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9A04ADA9-752C-4535-B34C-59399ADBBFDF}"/>
                  </a:ext>
                </a:extLst>
              </p:cNvPr>
              <p:cNvSpPr/>
              <p:nvPr/>
            </p:nvSpPr>
            <p:spPr>
              <a:xfrm>
                <a:off x="3406219" y="3994558"/>
                <a:ext cx="260140" cy="74947"/>
              </a:xfrm>
              <a:custGeom>
                <a:avLst/>
                <a:gdLst>
                  <a:gd name="connsiteX0" fmla="*/ 212360 w 260140"/>
                  <a:gd name="connsiteY0" fmla="*/ 74947 h 74947"/>
                  <a:gd name="connsiteX1" fmla="*/ 191124 w 260140"/>
                  <a:gd name="connsiteY1" fmla="*/ 74947 h 74947"/>
                  <a:gd name="connsiteX2" fmla="*/ 188090 w 260140"/>
                  <a:gd name="connsiteY2" fmla="*/ 71913 h 74947"/>
                  <a:gd name="connsiteX3" fmla="*/ 103146 w 260140"/>
                  <a:gd name="connsiteY3" fmla="*/ 59779 h 74947"/>
                  <a:gd name="connsiteX4" fmla="*/ 97079 w 260140"/>
                  <a:gd name="connsiteY4" fmla="*/ 53711 h 74947"/>
                  <a:gd name="connsiteX5" fmla="*/ 103146 w 260140"/>
                  <a:gd name="connsiteY5" fmla="*/ 47644 h 74947"/>
                  <a:gd name="connsiteX6" fmla="*/ 103146 w 260140"/>
                  <a:gd name="connsiteY6" fmla="*/ 47644 h 74947"/>
                  <a:gd name="connsiteX7" fmla="*/ 191124 w 260140"/>
                  <a:gd name="connsiteY7" fmla="*/ 62812 h 74947"/>
                  <a:gd name="connsiteX8" fmla="*/ 248764 w 260140"/>
                  <a:gd name="connsiteY8" fmla="*/ 50677 h 74947"/>
                  <a:gd name="connsiteX9" fmla="*/ 248764 w 260140"/>
                  <a:gd name="connsiteY9" fmla="*/ 47644 h 74947"/>
                  <a:gd name="connsiteX10" fmla="*/ 6067 w 260140"/>
                  <a:gd name="connsiteY10" fmla="*/ 14273 h 74947"/>
                  <a:gd name="connsiteX11" fmla="*/ 0 w 260140"/>
                  <a:gd name="connsiteY11" fmla="*/ 8206 h 74947"/>
                  <a:gd name="connsiteX12" fmla="*/ 6067 w 260140"/>
                  <a:gd name="connsiteY12" fmla="*/ 2138 h 74947"/>
                  <a:gd name="connsiteX13" fmla="*/ 257865 w 260140"/>
                  <a:gd name="connsiteY13" fmla="*/ 41576 h 74947"/>
                  <a:gd name="connsiteX14" fmla="*/ 257865 w 260140"/>
                  <a:gd name="connsiteY14" fmla="*/ 56745 h 74947"/>
                  <a:gd name="connsiteX15" fmla="*/ 212360 w 260140"/>
                  <a:gd name="connsiteY15" fmla="*/ 74947 h 74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60140" h="74947">
                    <a:moveTo>
                      <a:pt x="212360" y="74947"/>
                    </a:moveTo>
                    <a:cubicBezTo>
                      <a:pt x="203258" y="74947"/>
                      <a:pt x="194157" y="74947"/>
                      <a:pt x="191124" y="74947"/>
                    </a:cubicBezTo>
                    <a:cubicBezTo>
                      <a:pt x="191124" y="74947"/>
                      <a:pt x="188090" y="74947"/>
                      <a:pt x="188090" y="71913"/>
                    </a:cubicBezTo>
                    <a:cubicBezTo>
                      <a:pt x="178989" y="68880"/>
                      <a:pt x="133483" y="59779"/>
                      <a:pt x="103146" y="59779"/>
                    </a:cubicBezTo>
                    <a:cubicBezTo>
                      <a:pt x="100112" y="59779"/>
                      <a:pt x="97079" y="56745"/>
                      <a:pt x="97079" y="53711"/>
                    </a:cubicBezTo>
                    <a:cubicBezTo>
                      <a:pt x="97079" y="50677"/>
                      <a:pt x="100112" y="47644"/>
                      <a:pt x="103146" y="47644"/>
                    </a:cubicBezTo>
                    <a:lnTo>
                      <a:pt x="103146" y="47644"/>
                    </a:lnTo>
                    <a:cubicBezTo>
                      <a:pt x="115281" y="47644"/>
                      <a:pt x="175955" y="53711"/>
                      <a:pt x="191124" y="62812"/>
                    </a:cubicBezTo>
                    <a:cubicBezTo>
                      <a:pt x="203258" y="65846"/>
                      <a:pt x="239663" y="65846"/>
                      <a:pt x="248764" y="50677"/>
                    </a:cubicBezTo>
                    <a:cubicBezTo>
                      <a:pt x="248764" y="50677"/>
                      <a:pt x="248764" y="50677"/>
                      <a:pt x="248764" y="47644"/>
                    </a:cubicBezTo>
                    <a:cubicBezTo>
                      <a:pt x="239663" y="32475"/>
                      <a:pt x="157753" y="5172"/>
                      <a:pt x="6067" y="14273"/>
                    </a:cubicBezTo>
                    <a:cubicBezTo>
                      <a:pt x="3034" y="14273"/>
                      <a:pt x="0" y="11239"/>
                      <a:pt x="0" y="8206"/>
                    </a:cubicBezTo>
                    <a:cubicBezTo>
                      <a:pt x="0" y="5172"/>
                      <a:pt x="3034" y="2138"/>
                      <a:pt x="6067" y="2138"/>
                    </a:cubicBezTo>
                    <a:cubicBezTo>
                      <a:pt x="145618" y="-6963"/>
                      <a:pt x="242697" y="14273"/>
                      <a:pt x="257865" y="41576"/>
                    </a:cubicBezTo>
                    <a:cubicBezTo>
                      <a:pt x="260899" y="47644"/>
                      <a:pt x="260899" y="50677"/>
                      <a:pt x="257865" y="56745"/>
                    </a:cubicBezTo>
                    <a:cubicBezTo>
                      <a:pt x="251798" y="71913"/>
                      <a:pt x="230562" y="74947"/>
                      <a:pt x="212360" y="7494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65AB9768-4BEC-4604-B1EA-A87E68D6788F}"/>
                </a:ext>
              </a:extLst>
            </p:cNvPr>
            <p:cNvSpPr/>
            <p:nvPr/>
          </p:nvSpPr>
          <p:spPr>
            <a:xfrm>
              <a:off x="2632200" y="3265572"/>
              <a:ext cx="777052" cy="894943"/>
            </a:xfrm>
            <a:custGeom>
              <a:avLst/>
              <a:gdLst>
                <a:gd name="connsiteX0" fmla="*/ 343232 w 777052"/>
                <a:gd name="connsiteY0" fmla="*/ 18202 h 894943"/>
                <a:gd name="connsiteX1" fmla="*/ 270423 w 777052"/>
                <a:gd name="connsiteY1" fmla="*/ 600674 h 894943"/>
                <a:gd name="connsiteX2" fmla="*/ 777053 w 777052"/>
                <a:gd name="connsiteY2" fmla="*/ 755393 h 894943"/>
                <a:gd name="connsiteX3" fmla="*/ 701210 w 777052"/>
                <a:gd name="connsiteY3" fmla="*/ 894944 h 894943"/>
                <a:gd name="connsiteX4" fmla="*/ 42895 w 777052"/>
                <a:gd name="connsiteY4" fmla="*/ 749326 h 894943"/>
                <a:gd name="connsiteX5" fmla="*/ 55030 w 777052"/>
                <a:gd name="connsiteY5" fmla="*/ 0 h 894943"/>
                <a:gd name="connsiteX6" fmla="*/ 343232 w 777052"/>
                <a:gd name="connsiteY6" fmla="*/ 18202 h 894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7052" h="894943">
                  <a:moveTo>
                    <a:pt x="343232" y="18202"/>
                  </a:moveTo>
                  <a:lnTo>
                    <a:pt x="270423" y="600674"/>
                  </a:lnTo>
                  <a:lnTo>
                    <a:pt x="777053" y="755393"/>
                  </a:lnTo>
                  <a:lnTo>
                    <a:pt x="701210" y="894944"/>
                  </a:lnTo>
                  <a:cubicBezTo>
                    <a:pt x="701210" y="894944"/>
                    <a:pt x="146041" y="825168"/>
                    <a:pt x="42895" y="749326"/>
                  </a:cubicBezTo>
                  <a:cubicBezTo>
                    <a:pt x="-60251" y="673483"/>
                    <a:pt x="55030" y="0"/>
                    <a:pt x="55030" y="0"/>
                  </a:cubicBezTo>
                  <a:lnTo>
                    <a:pt x="343232" y="18202"/>
                  </a:ln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003DC2F4-6B77-4A4C-B653-7AA89ADE7DF5}"/>
                </a:ext>
              </a:extLst>
            </p:cNvPr>
            <p:cNvSpPr/>
            <p:nvPr/>
          </p:nvSpPr>
          <p:spPr>
            <a:xfrm>
              <a:off x="2848017" y="3250403"/>
              <a:ext cx="124382" cy="640112"/>
            </a:xfrm>
            <a:custGeom>
              <a:avLst/>
              <a:gdLst>
                <a:gd name="connsiteX0" fmla="*/ 6067 w 124382"/>
                <a:gd name="connsiteY0" fmla="*/ 640112 h 640112"/>
                <a:gd name="connsiteX1" fmla="*/ 0 w 124382"/>
                <a:gd name="connsiteY1" fmla="*/ 634045 h 640112"/>
                <a:gd name="connsiteX2" fmla="*/ 6067 w 124382"/>
                <a:gd name="connsiteY2" fmla="*/ 627977 h 640112"/>
                <a:gd name="connsiteX3" fmla="*/ 51573 w 124382"/>
                <a:gd name="connsiteY3" fmla="*/ 612809 h 640112"/>
                <a:gd name="connsiteX4" fmla="*/ 112247 w 124382"/>
                <a:gd name="connsiteY4" fmla="*/ 6067 h 640112"/>
                <a:gd name="connsiteX5" fmla="*/ 118315 w 124382"/>
                <a:gd name="connsiteY5" fmla="*/ 0 h 640112"/>
                <a:gd name="connsiteX6" fmla="*/ 124382 w 124382"/>
                <a:gd name="connsiteY6" fmla="*/ 6067 h 640112"/>
                <a:gd name="connsiteX7" fmla="*/ 63708 w 124382"/>
                <a:gd name="connsiteY7" fmla="*/ 615843 h 640112"/>
                <a:gd name="connsiteX8" fmla="*/ 60674 w 124382"/>
                <a:gd name="connsiteY8" fmla="*/ 618876 h 640112"/>
                <a:gd name="connsiteX9" fmla="*/ 6067 w 124382"/>
                <a:gd name="connsiteY9" fmla="*/ 640112 h 640112"/>
                <a:gd name="connsiteX10" fmla="*/ 6067 w 124382"/>
                <a:gd name="connsiteY10" fmla="*/ 640112 h 640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382" h="640112">
                  <a:moveTo>
                    <a:pt x="6067" y="640112"/>
                  </a:moveTo>
                  <a:cubicBezTo>
                    <a:pt x="3034" y="640112"/>
                    <a:pt x="0" y="637079"/>
                    <a:pt x="0" y="634045"/>
                  </a:cubicBezTo>
                  <a:cubicBezTo>
                    <a:pt x="0" y="631011"/>
                    <a:pt x="3034" y="627977"/>
                    <a:pt x="6067" y="627977"/>
                  </a:cubicBezTo>
                  <a:cubicBezTo>
                    <a:pt x="21236" y="624944"/>
                    <a:pt x="42472" y="615843"/>
                    <a:pt x="51573" y="612809"/>
                  </a:cubicBezTo>
                  <a:cubicBezTo>
                    <a:pt x="66742" y="500562"/>
                    <a:pt x="112247" y="12135"/>
                    <a:pt x="112247" y="6067"/>
                  </a:cubicBezTo>
                  <a:cubicBezTo>
                    <a:pt x="112247" y="3034"/>
                    <a:pt x="115281" y="0"/>
                    <a:pt x="118315" y="0"/>
                  </a:cubicBezTo>
                  <a:cubicBezTo>
                    <a:pt x="121348" y="0"/>
                    <a:pt x="124382" y="3034"/>
                    <a:pt x="124382" y="6067"/>
                  </a:cubicBezTo>
                  <a:cubicBezTo>
                    <a:pt x="124382" y="12135"/>
                    <a:pt x="78876" y="509663"/>
                    <a:pt x="63708" y="615843"/>
                  </a:cubicBezTo>
                  <a:cubicBezTo>
                    <a:pt x="63708" y="618876"/>
                    <a:pt x="63708" y="618876"/>
                    <a:pt x="60674" y="618876"/>
                  </a:cubicBezTo>
                  <a:cubicBezTo>
                    <a:pt x="57640" y="621910"/>
                    <a:pt x="27303" y="637079"/>
                    <a:pt x="6067" y="640112"/>
                  </a:cubicBezTo>
                  <a:cubicBezTo>
                    <a:pt x="6067" y="640112"/>
                    <a:pt x="6067" y="640112"/>
                    <a:pt x="6067" y="640112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B00F509E-A037-4BA5-9272-849F3D1114C5}"/>
                </a:ext>
              </a:extLst>
            </p:cNvPr>
            <p:cNvSpPr/>
            <p:nvPr/>
          </p:nvSpPr>
          <p:spPr>
            <a:xfrm>
              <a:off x="2629590" y="2819201"/>
              <a:ext cx="419218" cy="581997"/>
            </a:xfrm>
            <a:custGeom>
              <a:avLst/>
              <a:gdLst>
                <a:gd name="connsiteX0" fmla="*/ 0 w 419218"/>
                <a:gd name="connsiteY0" fmla="*/ 534348 h 581997"/>
                <a:gd name="connsiteX1" fmla="*/ 266966 w 419218"/>
                <a:gd name="connsiteY1" fmla="*/ 416 h 581997"/>
                <a:gd name="connsiteX2" fmla="*/ 418652 w 419218"/>
                <a:gd name="connsiteY2" fmla="*/ 567719 h 581997"/>
                <a:gd name="connsiteX3" fmla="*/ 0 w 419218"/>
                <a:gd name="connsiteY3" fmla="*/ 534348 h 581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9218" h="581997">
                  <a:moveTo>
                    <a:pt x="0" y="534348"/>
                  </a:moveTo>
                  <a:cubicBezTo>
                    <a:pt x="0" y="534348"/>
                    <a:pt x="66742" y="21652"/>
                    <a:pt x="266966" y="416"/>
                  </a:cubicBezTo>
                  <a:cubicBezTo>
                    <a:pt x="436854" y="-17786"/>
                    <a:pt x="418652" y="567719"/>
                    <a:pt x="418652" y="567719"/>
                  </a:cubicBezTo>
                  <a:cubicBezTo>
                    <a:pt x="418652" y="567719"/>
                    <a:pt x="194157" y="616258"/>
                    <a:pt x="0" y="534348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C213B1D1-6B6B-4BAD-9BFB-7FF828BE8B04}"/>
                </a:ext>
              </a:extLst>
            </p:cNvPr>
            <p:cNvSpPr/>
            <p:nvPr/>
          </p:nvSpPr>
          <p:spPr>
            <a:xfrm>
              <a:off x="2892266" y="2815327"/>
              <a:ext cx="162043" cy="592829"/>
            </a:xfrm>
            <a:custGeom>
              <a:avLst/>
              <a:gdLst>
                <a:gd name="connsiteX0" fmla="*/ 31594 w 162043"/>
                <a:gd name="connsiteY0" fmla="*/ 592830 h 592829"/>
                <a:gd name="connsiteX1" fmla="*/ 19459 w 162043"/>
                <a:gd name="connsiteY1" fmla="*/ 592830 h 592829"/>
                <a:gd name="connsiteX2" fmla="*/ 13391 w 162043"/>
                <a:gd name="connsiteY2" fmla="*/ 586762 h 592829"/>
                <a:gd name="connsiteX3" fmla="*/ 19459 w 162043"/>
                <a:gd name="connsiteY3" fmla="*/ 580695 h 592829"/>
                <a:gd name="connsiteX4" fmla="*/ 19459 w 162043"/>
                <a:gd name="connsiteY4" fmla="*/ 580695 h 592829"/>
                <a:gd name="connsiteX5" fmla="*/ 149908 w 162043"/>
                <a:gd name="connsiteY5" fmla="*/ 565526 h 592829"/>
                <a:gd name="connsiteX6" fmla="*/ 128672 w 162043"/>
                <a:gd name="connsiteY6" fmla="*/ 213616 h 592829"/>
                <a:gd name="connsiteX7" fmla="*/ 4290 w 162043"/>
                <a:gd name="connsiteY7" fmla="*/ 10358 h 592829"/>
                <a:gd name="connsiteX8" fmla="*/ 1257 w 162043"/>
                <a:gd name="connsiteY8" fmla="*/ 4290 h 592829"/>
                <a:gd name="connsiteX9" fmla="*/ 7324 w 162043"/>
                <a:gd name="connsiteY9" fmla="*/ 1257 h 592829"/>
                <a:gd name="connsiteX10" fmla="*/ 140807 w 162043"/>
                <a:gd name="connsiteY10" fmla="*/ 216650 h 592829"/>
                <a:gd name="connsiteX11" fmla="*/ 162043 w 162043"/>
                <a:gd name="connsiteY11" fmla="*/ 574627 h 592829"/>
                <a:gd name="connsiteX12" fmla="*/ 162043 w 162043"/>
                <a:gd name="connsiteY12" fmla="*/ 577661 h 592829"/>
                <a:gd name="connsiteX13" fmla="*/ 159009 w 162043"/>
                <a:gd name="connsiteY13" fmla="*/ 577661 h 592829"/>
                <a:gd name="connsiteX14" fmla="*/ 31594 w 162043"/>
                <a:gd name="connsiteY14" fmla="*/ 592830 h 592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2043" h="592829">
                  <a:moveTo>
                    <a:pt x="31594" y="592830"/>
                  </a:moveTo>
                  <a:cubicBezTo>
                    <a:pt x="28560" y="592830"/>
                    <a:pt x="25526" y="592830"/>
                    <a:pt x="19459" y="592830"/>
                  </a:cubicBezTo>
                  <a:cubicBezTo>
                    <a:pt x="16425" y="592830"/>
                    <a:pt x="13391" y="589796"/>
                    <a:pt x="13391" y="586762"/>
                  </a:cubicBezTo>
                  <a:cubicBezTo>
                    <a:pt x="13391" y="583729"/>
                    <a:pt x="16425" y="580695"/>
                    <a:pt x="19459" y="580695"/>
                  </a:cubicBezTo>
                  <a:lnTo>
                    <a:pt x="19459" y="580695"/>
                  </a:lnTo>
                  <a:cubicBezTo>
                    <a:pt x="74066" y="583729"/>
                    <a:pt x="131706" y="568560"/>
                    <a:pt x="149908" y="565526"/>
                  </a:cubicBezTo>
                  <a:cubicBezTo>
                    <a:pt x="149908" y="538223"/>
                    <a:pt x="143841" y="377436"/>
                    <a:pt x="128672" y="213616"/>
                  </a:cubicBezTo>
                  <a:cubicBezTo>
                    <a:pt x="110470" y="37661"/>
                    <a:pt x="4290" y="10358"/>
                    <a:pt x="4290" y="10358"/>
                  </a:cubicBezTo>
                  <a:cubicBezTo>
                    <a:pt x="1257" y="10358"/>
                    <a:pt x="-1777" y="7324"/>
                    <a:pt x="1257" y="4290"/>
                  </a:cubicBezTo>
                  <a:cubicBezTo>
                    <a:pt x="1257" y="1257"/>
                    <a:pt x="4290" y="-1777"/>
                    <a:pt x="7324" y="1257"/>
                  </a:cubicBezTo>
                  <a:cubicBezTo>
                    <a:pt x="13391" y="1257"/>
                    <a:pt x="122605" y="31594"/>
                    <a:pt x="140807" y="216650"/>
                  </a:cubicBezTo>
                  <a:cubicBezTo>
                    <a:pt x="159009" y="398672"/>
                    <a:pt x="162043" y="574627"/>
                    <a:pt x="162043" y="574627"/>
                  </a:cubicBezTo>
                  <a:lnTo>
                    <a:pt x="162043" y="577661"/>
                  </a:lnTo>
                  <a:lnTo>
                    <a:pt x="159009" y="577661"/>
                  </a:lnTo>
                  <a:cubicBezTo>
                    <a:pt x="155976" y="577661"/>
                    <a:pt x="95302" y="592830"/>
                    <a:pt x="31594" y="592830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3B9EBF0A-0FEB-47A6-959B-C2964FB75F7C}"/>
                </a:ext>
              </a:extLst>
            </p:cNvPr>
            <p:cNvGrpSpPr/>
            <p:nvPr/>
          </p:nvGrpSpPr>
          <p:grpSpPr>
            <a:xfrm>
              <a:off x="4464690" y="3274673"/>
              <a:ext cx="188964" cy="188089"/>
              <a:chOff x="4464690" y="3274673"/>
              <a:chExt cx="188964" cy="188089"/>
            </a:xfrm>
          </p:grpSpPr>
          <p:grpSp>
            <p:nvGrpSpPr>
              <p:cNvPr id="74" name="图形 1">
                <a:extLst>
                  <a:ext uri="{FF2B5EF4-FFF2-40B4-BE49-F238E27FC236}">
                    <a16:creationId xmlns:a16="http://schemas.microsoft.com/office/drawing/2014/main" id="{3B9EBF0A-0FEB-47A6-959B-C2964FB75F7C}"/>
                  </a:ext>
                </a:extLst>
              </p:cNvPr>
              <p:cNvGrpSpPr/>
              <p:nvPr/>
            </p:nvGrpSpPr>
            <p:grpSpPr>
              <a:xfrm>
                <a:off x="4482378" y="3274673"/>
                <a:ext cx="171275" cy="179795"/>
                <a:chOff x="4482378" y="3274673"/>
                <a:chExt cx="171275" cy="179795"/>
              </a:xfrm>
            </p:grpSpPr>
            <p:sp>
              <p:nvSpPr>
                <p:cNvPr id="75" name="任意多边形: 形状 74">
                  <a:extLst>
                    <a:ext uri="{FF2B5EF4-FFF2-40B4-BE49-F238E27FC236}">
                      <a16:creationId xmlns:a16="http://schemas.microsoft.com/office/drawing/2014/main" id="{98E93AFC-01C4-4C04-AFC3-62C040E8A932}"/>
                    </a:ext>
                  </a:extLst>
                </p:cNvPr>
                <p:cNvSpPr/>
                <p:nvPr/>
              </p:nvSpPr>
              <p:spPr>
                <a:xfrm>
                  <a:off x="4551307" y="3274673"/>
                  <a:ext cx="102347" cy="107833"/>
                </a:xfrm>
                <a:custGeom>
                  <a:avLst/>
                  <a:gdLst>
                    <a:gd name="connsiteX0" fmla="*/ 101766 w 102347"/>
                    <a:gd name="connsiteY0" fmla="*/ 75843 h 107833"/>
                    <a:gd name="connsiteX1" fmla="*/ 56260 w 102347"/>
                    <a:gd name="connsiteY1" fmla="*/ 15169 h 107833"/>
                    <a:gd name="connsiteX2" fmla="*/ 50193 w 102347"/>
                    <a:gd name="connsiteY2" fmla="*/ 6067 h 107833"/>
                    <a:gd name="connsiteX3" fmla="*/ 38058 w 102347"/>
                    <a:gd name="connsiteY3" fmla="*/ 0 h 107833"/>
                    <a:gd name="connsiteX4" fmla="*/ 1654 w 102347"/>
                    <a:gd name="connsiteY4" fmla="*/ 24270 h 107833"/>
                    <a:gd name="connsiteX5" fmla="*/ 13789 w 102347"/>
                    <a:gd name="connsiteY5" fmla="*/ 60674 h 107833"/>
                    <a:gd name="connsiteX6" fmla="*/ 47159 w 102347"/>
                    <a:gd name="connsiteY6" fmla="*/ 94045 h 107833"/>
                    <a:gd name="connsiteX7" fmla="*/ 80530 w 102347"/>
                    <a:gd name="connsiteY7" fmla="*/ 106180 h 107833"/>
                    <a:gd name="connsiteX8" fmla="*/ 101766 w 102347"/>
                    <a:gd name="connsiteY8" fmla="*/ 75843 h 107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2347" h="107833">
                      <a:moveTo>
                        <a:pt x="101766" y="75843"/>
                      </a:moveTo>
                      <a:cubicBezTo>
                        <a:pt x="98732" y="48539"/>
                        <a:pt x="74463" y="36405"/>
                        <a:pt x="56260" y="15169"/>
                      </a:cubicBezTo>
                      <a:cubicBezTo>
                        <a:pt x="53227" y="12135"/>
                        <a:pt x="50193" y="6067"/>
                        <a:pt x="50193" y="6067"/>
                      </a:cubicBezTo>
                      <a:cubicBezTo>
                        <a:pt x="47159" y="3034"/>
                        <a:pt x="44126" y="3034"/>
                        <a:pt x="38058" y="0"/>
                      </a:cubicBezTo>
                      <a:cubicBezTo>
                        <a:pt x="25923" y="0"/>
                        <a:pt x="10755" y="9101"/>
                        <a:pt x="1654" y="24270"/>
                      </a:cubicBezTo>
                      <a:cubicBezTo>
                        <a:pt x="-4414" y="42472"/>
                        <a:pt x="7721" y="51573"/>
                        <a:pt x="13789" y="60674"/>
                      </a:cubicBezTo>
                      <a:cubicBezTo>
                        <a:pt x="22890" y="72809"/>
                        <a:pt x="35024" y="84944"/>
                        <a:pt x="47159" y="94045"/>
                      </a:cubicBezTo>
                      <a:cubicBezTo>
                        <a:pt x="56260" y="100112"/>
                        <a:pt x="65362" y="112247"/>
                        <a:pt x="80530" y="106180"/>
                      </a:cubicBezTo>
                      <a:cubicBezTo>
                        <a:pt x="95699" y="103146"/>
                        <a:pt x="104800" y="87978"/>
                        <a:pt x="101766" y="75843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: 形状 75">
                  <a:extLst>
                    <a:ext uri="{FF2B5EF4-FFF2-40B4-BE49-F238E27FC236}">
                      <a16:creationId xmlns:a16="http://schemas.microsoft.com/office/drawing/2014/main" id="{38E7CC7E-E9D7-4EBE-9DCF-24C41CECDFA4}"/>
                    </a:ext>
                  </a:extLst>
                </p:cNvPr>
                <p:cNvSpPr/>
                <p:nvPr/>
              </p:nvSpPr>
              <p:spPr>
                <a:xfrm>
                  <a:off x="4508835" y="3301976"/>
                  <a:ext cx="104799" cy="107833"/>
                </a:xfrm>
                <a:custGeom>
                  <a:avLst/>
                  <a:gdLst>
                    <a:gd name="connsiteX0" fmla="*/ 104800 w 104799"/>
                    <a:gd name="connsiteY0" fmla="*/ 75843 h 107833"/>
                    <a:gd name="connsiteX1" fmla="*/ 56260 w 104799"/>
                    <a:gd name="connsiteY1" fmla="*/ 9101 h 107833"/>
                    <a:gd name="connsiteX2" fmla="*/ 50193 w 104799"/>
                    <a:gd name="connsiteY2" fmla="*/ 6067 h 107833"/>
                    <a:gd name="connsiteX3" fmla="*/ 38058 w 104799"/>
                    <a:gd name="connsiteY3" fmla="*/ 0 h 107833"/>
                    <a:gd name="connsiteX4" fmla="*/ 1654 w 104799"/>
                    <a:gd name="connsiteY4" fmla="*/ 24270 h 107833"/>
                    <a:gd name="connsiteX5" fmla="*/ 13788 w 104799"/>
                    <a:gd name="connsiteY5" fmla="*/ 60674 h 107833"/>
                    <a:gd name="connsiteX6" fmla="*/ 47159 w 104799"/>
                    <a:gd name="connsiteY6" fmla="*/ 94045 h 107833"/>
                    <a:gd name="connsiteX7" fmla="*/ 80530 w 104799"/>
                    <a:gd name="connsiteY7" fmla="*/ 106180 h 107833"/>
                    <a:gd name="connsiteX8" fmla="*/ 104800 w 104799"/>
                    <a:gd name="connsiteY8" fmla="*/ 75843 h 107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4799" h="107833">
                      <a:moveTo>
                        <a:pt x="104800" y="75843"/>
                      </a:moveTo>
                      <a:cubicBezTo>
                        <a:pt x="104800" y="39438"/>
                        <a:pt x="74463" y="27303"/>
                        <a:pt x="56260" y="9101"/>
                      </a:cubicBezTo>
                      <a:cubicBezTo>
                        <a:pt x="53227" y="6067"/>
                        <a:pt x="53227" y="6067"/>
                        <a:pt x="50193" y="6067"/>
                      </a:cubicBezTo>
                      <a:cubicBezTo>
                        <a:pt x="47159" y="3034"/>
                        <a:pt x="44126" y="3034"/>
                        <a:pt x="38058" y="0"/>
                      </a:cubicBezTo>
                      <a:cubicBezTo>
                        <a:pt x="25923" y="0"/>
                        <a:pt x="10755" y="9101"/>
                        <a:pt x="1654" y="24270"/>
                      </a:cubicBezTo>
                      <a:cubicBezTo>
                        <a:pt x="-4414" y="42472"/>
                        <a:pt x="7721" y="51573"/>
                        <a:pt x="13788" y="60674"/>
                      </a:cubicBezTo>
                      <a:cubicBezTo>
                        <a:pt x="22889" y="72809"/>
                        <a:pt x="35024" y="84944"/>
                        <a:pt x="47159" y="94045"/>
                      </a:cubicBezTo>
                      <a:cubicBezTo>
                        <a:pt x="56260" y="100112"/>
                        <a:pt x="65361" y="112247"/>
                        <a:pt x="80530" y="106180"/>
                      </a:cubicBezTo>
                      <a:cubicBezTo>
                        <a:pt x="98732" y="103146"/>
                        <a:pt x="104800" y="87977"/>
                        <a:pt x="104800" y="75843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: 形状 76">
                  <a:extLst>
                    <a:ext uri="{FF2B5EF4-FFF2-40B4-BE49-F238E27FC236}">
                      <a16:creationId xmlns:a16="http://schemas.microsoft.com/office/drawing/2014/main" id="{5E82FE07-6100-4A9A-A83D-E2571FC758D4}"/>
                    </a:ext>
                  </a:extLst>
                </p:cNvPr>
                <p:cNvSpPr/>
                <p:nvPr/>
              </p:nvSpPr>
              <p:spPr>
                <a:xfrm>
                  <a:off x="4493666" y="3341415"/>
                  <a:ext cx="86597" cy="98732"/>
                </a:xfrm>
                <a:custGeom>
                  <a:avLst/>
                  <a:gdLst>
                    <a:gd name="connsiteX0" fmla="*/ 86598 w 86597"/>
                    <a:gd name="connsiteY0" fmla="*/ 66742 h 98732"/>
                    <a:gd name="connsiteX1" fmla="*/ 47159 w 86597"/>
                    <a:gd name="connsiteY1" fmla="*/ 6067 h 98732"/>
                    <a:gd name="connsiteX2" fmla="*/ 41092 w 86597"/>
                    <a:gd name="connsiteY2" fmla="*/ 3034 h 98732"/>
                    <a:gd name="connsiteX3" fmla="*/ 31991 w 86597"/>
                    <a:gd name="connsiteY3" fmla="*/ 0 h 98732"/>
                    <a:gd name="connsiteX4" fmla="*/ 1654 w 86597"/>
                    <a:gd name="connsiteY4" fmla="*/ 21236 h 98732"/>
                    <a:gd name="connsiteX5" fmla="*/ 13788 w 86597"/>
                    <a:gd name="connsiteY5" fmla="*/ 54607 h 98732"/>
                    <a:gd name="connsiteX6" fmla="*/ 41092 w 86597"/>
                    <a:gd name="connsiteY6" fmla="*/ 84944 h 98732"/>
                    <a:gd name="connsiteX7" fmla="*/ 68395 w 86597"/>
                    <a:gd name="connsiteY7" fmla="*/ 97079 h 98732"/>
                    <a:gd name="connsiteX8" fmla="*/ 86598 w 86597"/>
                    <a:gd name="connsiteY8" fmla="*/ 66742 h 98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6597" h="98732">
                      <a:moveTo>
                        <a:pt x="86598" y="66742"/>
                      </a:moveTo>
                      <a:cubicBezTo>
                        <a:pt x="86598" y="33371"/>
                        <a:pt x="62328" y="24270"/>
                        <a:pt x="47159" y="6067"/>
                      </a:cubicBezTo>
                      <a:cubicBezTo>
                        <a:pt x="47159" y="3034"/>
                        <a:pt x="44126" y="3034"/>
                        <a:pt x="41092" y="3034"/>
                      </a:cubicBezTo>
                      <a:cubicBezTo>
                        <a:pt x="38058" y="0"/>
                        <a:pt x="35024" y="0"/>
                        <a:pt x="31991" y="0"/>
                      </a:cubicBezTo>
                      <a:cubicBezTo>
                        <a:pt x="22889" y="0"/>
                        <a:pt x="7721" y="6067"/>
                        <a:pt x="1654" y="21236"/>
                      </a:cubicBezTo>
                      <a:cubicBezTo>
                        <a:pt x="-4414" y="36405"/>
                        <a:pt x="7721" y="45506"/>
                        <a:pt x="13788" y="54607"/>
                      </a:cubicBezTo>
                      <a:cubicBezTo>
                        <a:pt x="22889" y="66742"/>
                        <a:pt x="31991" y="75843"/>
                        <a:pt x="41092" y="84944"/>
                      </a:cubicBezTo>
                      <a:cubicBezTo>
                        <a:pt x="47159" y="91011"/>
                        <a:pt x="56260" y="103146"/>
                        <a:pt x="68395" y="97079"/>
                      </a:cubicBezTo>
                      <a:cubicBezTo>
                        <a:pt x="80530" y="87978"/>
                        <a:pt x="86598" y="75843"/>
                        <a:pt x="86598" y="66742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: 形状 77">
                  <a:extLst>
                    <a:ext uri="{FF2B5EF4-FFF2-40B4-BE49-F238E27FC236}">
                      <a16:creationId xmlns:a16="http://schemas.microsoft.com/office/drawing/2014/main" id="{5EEEA107-3918-4FB9-9CDF-C9D1612039ED}"/>
                    </a:ext>
                  </a:extLst>
                </p:cNvPr>
                <p:cNvSpPr/>
                <p:nvPr/>
              </p:nvSpPr>
              <p:spPr>
                <a:xfrm>
                  <a:off x="4482378" y="3380853"/>
                  <a:ext cx="61481" cy="73615"/>
                </a:xfrm>
                <a:custGeom>
                  <a:avLst/>
                  <a:gdLst>
                    <a:gd name="connsiteX0" fmla="*/ 61481 w 61481"/>
                    <a:gd name="connsiteY0" fmla="*/ 51573 h 73615"/>
                    <a:gd name="connsiteX1" fmla="*/ 31144 w 61481"/>
                    <a:gd name="connsiteY1" fmla="*/ 6067 h 73615"/>
                    <a:gd name="connsiteX2" fmla="*/ 28110 w 61481"/>
                    <a:gd name="connsiteY2" fmla="*/ 3034 h 73615"/>
                    <a:gd name="connsiteX3" fmla="*/ 22043 w 61481"/>
                    <a:gd name="connsiteY3" fmla="*/ 0 h 73615"/>
                    <a:gd name="connsiteX4" fmla="*/ 807 w 61481"/>
                    <a:gd name="connsiteY4" fmla="*/ 15169 h 73615"/>
                    <a:gd name="connsiteX5" fmla="*/ 9908 w 61481"/>
                    <a:gd name="connsiteY5" fmla="*/ 39438 h 73615"/>
                    <a:gd name="connsiteX6" fmla="*/ 31144 w 61481"/>
                    <a:gd name="connsiteY6" fmla="*/ 63708 h 73615"/>
                    <a:gd name="connsiteX7" fmla="*/ 52380 w 61481"/>
                    <a:gd name="connsiteY7" fmla="*/ 72809 h 73615"/>
                    <a:gd name="connsiteX8" fmla="*/ 61481 w 61481"/>
                    <a:gd name="connsiteY8" fmla="*/ 51573 h 73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1481" h="73615">
                      <a:moveTo>
                        <a:pt x="61481" y="51573"/>
                      </a:moveTo>
                      <a:cubicBezTo>
                        <a:pt x="61481" y="27303"/>
                        <a:pt x="43279" y="21236"/>
                        <a:pt x="31144" y="6067"/>
                      </a:cubicBezTo>
                      <a:cubicBezTo>
                        <a:pt x="31144" y="6067"/>
                        <a:pt x="28110" y="3034"/>
                        <a:pt x="28110" y="3034"/>
                      </a:cubicBezTo>
                      <a:cubicBezTo>
                        <a:pt x="25077" y="0"/>
                        <a:pt x="25077" y="0"/>
                        <a:pt x="22043" y="0"/>
                      </a:cubicBezTo>
                      <a:cubicBezTo>
                        <a:pt x="12942" y="0"/>
                        <a:pt x="3841" y="6067"/>
                        <a:pt x="807" y="15169"/>
                      </a:cubicBezTo>
                      <a:cubicBezTo>
                        <a:pt x="-2227" y="27303"/>
                        <a:pt x="3841" y="33371"/>
                        <a:pt x="9908" y="39438"/>
                      </a:cubicBezTo>
                      <a:cubicBezTo>
                        <a:pt x="15975" y="48539"/>
                        <a:pt x="22043" y="54607"/>
                        <a:pt x="31144" y="63708"/>
                      </a:cubicBezTo>
                      <a:cubicBezTo>
                        <a:pt x="37212" y="69775"/>
                        <a:pt x="43279" y="75843"/>
                        <a:pt x="52380" y="72809"/>
                      </a:cubicBezTo>
                      <a:cubicBezTo>
                        <a:pt x="58447" y="66742"/>
                        <a:pt x="61481" y="57640"/>
                        <a:pt x="61481" y="51573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9" name="任意多边形: 形状 78">
                  <a:extLst>
                    <a:ext uri="{FF2B5EF4-FFF2-40B4-BE49-F238E27FC236}">
                      <a16:creationId xmlns:a16="http://schemas.microsoft.com/office/drawing/2014/main" id="{41D6801D-2D16-49D6-B602-1D0D95D48F3C}"/>
                    </a:ext>
                  </a:extLst>
                </p:cNvPr>
                <p:cNvSpPr/>
                <p:nvPr/>
              </p:nvSpPr>
              <p:spPr>
                <a:xfrm>
                  <a:off x="4510347" y="3274673"/>
                  <a:ext cx="131939" cy="136516"/>
                </a:xfrm>
                <a:custGeom>
                  <a:avLst/>
                  <a:gdLst>
                    <a:gd name="connsiteX0" fmla="*/ 82052 w 131939"/>
                    <a:gd name="connsiteY0" fmla="*/ 136517 h 136516"/>
                    <a:gd name="connsiteX1" fmla="*/ 82052 w 131939"/>
                    <a:gd name="connsiteY1" fmla="*/ 136517 h 136516"/>
                    <a:gd name="connsiteX2" fmla="*/ 24411 w 131939"/>
                    <a:gd name="connsiteY2" fmla="*/ 97079 h 136516"/>
                    <a:gd name="connsiteX3" fmla="*/ 6209 w 131939"/>
                    <a:gd name="connsiteY3" fmla="*/ 39438 h 136516"/>
                    <a:gd name="connsiteX4" fmla="*/ 42614 w 131939"/>
                    <a:gd name="connsiteY4" fmla="*/ 21236 h 136516"/>
                    <a:gd name="connsiteX5" fmla="*/ 48681 w 131939"/>
                    <a:gd name="connsiteY5" fmla="*/ 9101 h 136516"/>
                    <a:gd name="connsiteX6" fmla="*/ 66883 w 131939"/>
                    <a:gd name="connsiteY6" fmla="*/ 0 h 136516"/>
                    <a:gd name="connsiteX7" fmla="*/ 66883 w 131939"/>
                    <a:gd name="connsiteY7" fmla="*/ 0 h 136516"/>
                    <a:gd name="connsiteX8" fmla="*/ 130591 w 131939"/>
                    <a:gd name="connsiteY8" fmla="*/ 51573 h 136516"/>
                    <a:gd name="connsiteX9" fmla="*/ 130591 w 131939"/>
                    <a:gd name="connsiteY9" fmla="*/ 60674 h 136516"/>
                    <a:gd name="connsiteX10" fmla="*/ 121490 w 131939"/>
                    <a:gd name="connsiteY10" fmla="*/ 60674 h 136516"/>
                    <a:gd name="connsiteX11" fmla="*/ 66883 w 131939"/>
                    <a:gd name="connsiteY11" fmla="*/ 15169 h 136516"/>
                    <a:gd name="connsiteX12" fmla="*/ 66883 w 131939"/>
                    <a:gd name="connsiteY12" fmla="*/ 15169 h 136516"/>
                    <a:gd name="connsiteX13" fmla="*/ 57782 w 131939"/>
                    <a:gd name="connsiteY13" fmla="*/ 21236 h 136516"/>
                    <a:gd name="connsiteX14" fmla="*/ 106322 w 131939"/>
                    <a:gd name="connsiteY14" fmla="*/ 106180 h 136516"/>
                    <a:gd name="connsiteX15" fmla="*/ 112389 w 131939"/>
                    <a:gd name="connsiteY15" fmla="*/ 115281 h 136516"/>
                    <a:gd name="connsiteX16" fmla="*/ 100254 w 131939"/>
                    <a:gd name="connsiteY16" fmla="*/ 136517 h 136516"/>
                    <a:gd name="connsiteX17" fmla="*/ 82052 w 131939"/>
                    <a:gd name="connsiteY17" fmla="*/ 136517 h 136516"/>
                    <a:gd name="connsiteX18" fmla="*/ 39580 w 131939"/>
                    <a:gd name="connsiteY18" fmla="*/ 33371 h 136516"/>
                    <a:gd name="connsiteX19" fmla="*/ 12277 w 131939"/>
                    <a:gd name="connsiteY19" fmla="*/ 48539 h 136516"/>
                    <a:gd name="connsiteX20" fmla="*/ 30479 w 131939"/>
                    <a:gd name="connsiteY20" fmla="*/ 94045 h 136516"/>
                    <a:gd name="connsiteX21" fmla="*/ 79018 w 131939"/>
                    <a:gd name="connsiteY21" fmla="*/ 130449 h 136516"/>
                    <a:gd name="connsiteX22" fmla="*/ 91153 w 131939"/>
                    <a:gd name="connsiteY22" fmla="*/ 124382 h 136516"/>
                    <a:gd name="connsiteX23" fmla="*/ 97220 w 131939"/>
                    <a:gd name="connsiteY23" fmla="*/ 112247 h 136516"/>
                    <a:gd name="connsiteX24" fmla="*/ 39580 w 131939"/>
                    <a:gd name="connsiteY24" fmla="*/ 33371 h 1365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31939" h="136516">
                      <a:moveTo>
                        <a:pt x="82052" y="136517"/>
                      </a:moveTo>
                      <a:cubicBezTo>
                        <a:pt x="82052" y="136517"/>
                        <a:pt x="82052" y="136517"/>
                        <a:pt x="82052" y="136517"/>
                      </a:cubicBezTo>
                      <a:cubicBezTo>
                        <a:pt x="63850" y="136517"/>
                        <a:pt x="45647" y="121348"/>
                        <a:pt x="24411" y="97079"/>
                      </a:cubicBezTo>
                      <a:cubicBezTo>
                        <a:pt x="6209" y="75843"/>
                        <a:pt x="-8959" y="57640"/>
                        <a:pt x="6209" y="39438"/>
                      </a:cubicBezTo>
                      <a:cubicBezTo>
                        <a:pt x="18344" y="24270"/>
                        <a:pt x="39580" y="21236"/>
                        <a:pt x="42614" y="21236"/>
                      </a:cubicBezTo>
                      <a:cubicBezTo>
                        <a:pt x="45647" y="18202"/>
                        <a:pt x="45647" y="12135"/>
                        <a:pt x="48681" y="9101"/>
                      </a:cubicBezTo>
                      <a:cubicBezTo>
                        <a:pt x="54749" y="3034"/>
                        <a:pt x="60816" y="0"/>
                        <a:pt x="66883" y="0"/>
                      </a:cubicBezTo>
                      <a:lnTo>
                        <a:pt x="66883" y="0"/>
                      </a:lnTo>
                      <a:cubicBezTo>
                        <a:pt x="94187" y="0"/>
                        <a:pt x="127557" y="45506"/>
                        <a:pt x="130591" y="51573"/>
                      </a:cubicBezTo>
                      <a:cubicBezTo>
                        <a:pt x="133625" y="54607"/>
                        <a:pt x="130591" y="57640"/>
                        <a:pt x="130591" y="60674"/>
                      </a:cubicBezTo>
                      <a:cubicBezTo>
                        <a:pt x="127557" y="63708"/>
                        <a:pt x="124524" y="60674"/>
                        <a:pt x="121490" y="60674"/>
                      </a:cubicBezTo>
                      <a:cubicBezTo>
                        <a:pt x="112389" y="48539"/>
                        <a:pt x="85086" y="15169"/>
                        <a:pt x="66883" y="15169"/>
                      </a:cubicBezTo>
                      <a:lnTo>
                        <a:pt x="66883" y="15169"/>
                      </a:lnTo>
                      <a:cubicBezTo>
                        <a:pt x="63850" y="15169"/>
                        <a:pt x="60816" y="18202"/>
                        <a:pt x="57782" y="21236"/>
                      </a:cubicBezTo>
                      <a:cubicBezTo>
                        <a:pt x="48681" y="33371"/>
                        <a:pt x="36546" y="51573"/>
                        <a:pt x="106322" y="106180"/>
                      </a:cubicBezTo>
                      <a:cubicBezTo>
                        <a:pt x="106322" y="106180"/>
                        <a:pt x="109355" y="109214"/>
                        <a:pt x="112389" y="115281"/>
                      </a:cubicBezTo>
                      <a:cubicBezTo>
                        <a:pt x="112389" y="121348"/>
                        <a:pt x="109355" y="127416"/>
                        <a:pt x="100254" y="136517"/>
                      </a:cubicBezTo>
                      <a:cubicBezTo>
                        <a:pt x="97220" y="133483"/>
                        <a:pt x="88119" y="136517"/>
                        <a:pt x="82052" y="136517"/>
                      </a:cubicBezTo>
                      <a:close/>
                      <a:moveTo>
                        <a:pt x="39580" y="33371"/>
                      </a:moveTo>
                      <a:cubicBezTo>
                        <a:pt x="33512" y="33371"/>
                        <a:pt x="21378" y="39438"/>
                        <a:pt x="12277" y="48539"/>
                      </a:cubicBezTo>
                      <a:cubicBezTo>
                        <a:pt x="6209" y="57640"/>
                        <a:pt x="9243" y="66742"/>
                        <a:pt x="30479" y="94045"/>
                      </a:cubicBezTo>
                      <a:cubicBezTo>
                        <a:pt x="54749" y="124382"/>
                        <a:pt x="72951" y="127416"/>
                        <a:pt x="79018" y="130449"/>
                      </a:cubicBezTo>
                      <a:cubicBezTo>
                        <a:pt x="82052" y="130449"/>
                        <a:pt x="88119" y="130449"/>
                        <a:pt x="91153" y="124382"/>
                      </a:cubicBezTo>
                      <a:cubicBezTo>
                        <a:pt x="97220" y="118315"/>
                        <a:pt x="100254" y="112247"/>
                        <a:pt x="97220" y="112247"/>
                      </a:cubicBezTo>
                      <a:cubicBezTo>
                        <a:pt x="54749" y="72809"/>
                        <a:pt x="39580" y="48539"/>
                        <a:pt x="39580" y="33371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0" name="任意多边形: 形状 79">
                  <a:extLst>
                    <a:ext uri="{FF2B5EF4-FFF2-40B4-BE49-F238E27FC236}">
                      <a16:creationId xmlns:a16="http://schemas.microsoft.com/office/drawing/2014/main" id="{0E0B8D5C-C8DA-4E70-AEBB-B34168731611}"/>
                    </a:ext>
                  </a:extLst>
                </p:cNvPr>
                <p:cNvSpPr/>
                <p:nvPr/>
              </p:nvSpPr>
              <p:spPr>
                <a:xfrm>
                  <a:off x="4490294" y="3332314"/>
                  <a:ext cx="102104" cy="109213"/>
                </a:xfrm>
                <a:custGeom>
                  <a:avLst/>
                  <a:gdLst>
                    <a:gd name="connsiteX0" fmla="*/ 68734 w 102104"/>
                    <a:gd name="connsiteY0" fmla="*/ 109213 h 109213"/>
                    <a:gd name="connsiteX1" fmla="*/ 65700 w 102104"/>
                    <a:gd name="connsiteY1" fmla="*/ 109213 h 109213"/>
                    <a:gd name="connsiteX2" fmla="*/ 5026 w 102104"/>
                    <a:gd name="connsiteY2" fmla="*/ 51573 h 109213"/>
                    <a:gd name="connsiteX3" fmla="*/ 1993 w 102104"/>
                    <a:gd name="connsiteY3" fmla="*/ 24270 h 109213"/>
                    <a:gd name="connsiteX4" fmla="*/ 26262 w 102104"/>
                    <a:gd name="connsiteY4" fmla="*/ 0 h 109213"/>
                    <a:gd name="connsiteX5" fmla="*/ 35363 w 102104"/>
                    <a:gd name="connsiteY5" fmla="*/ 3034 h 109213"/>
                    <a:gd name="connsiteX6" fmla="*/ 32330 w 102104"/>
                    <a:gd name="connsiteY6" fmla="*/ 12135 h 109213"/>
                    <a:gd name="connsiteX7" fmla="*/ 14128 w 102104"/>
                    <a:gd name="connsiteY7" fmla="*/ 30337 h 109213"/>
                    <a:gd name="connsiteX8" fmla="*/ 17161 w 102104"/>
                    <a:gd name="connsiteY8" fmla="*/ 48539 h 109213"/>
                    <a:gd name="connsiteX9" fmla="*/ 71768 w 102104"/>
                    <a:gd name="connsiteY9" fmla="*/ 100112 h 109213"/>
                    <a:gd name="connsiteX10" fmla="*/ 77835 w 102104"/>
                    <a:gd name="connsiteY10" fmla="*/ 97079 h 109213"/>
                    <a:gd name="connsiteX11" fmla="*/ 89970 w 102104"/>
                    <a:gd name="connsiteY11" fmla="*/ 75843 h 109213"/>
                    <a:gd name="connsiteX12" fmla="*/ 96038 w 102104"/>
                    <a:gd name="connsiteY12" fmla="*/ 69775 h 109213"/>
                    <a:gd name="connsiteX13" fmla="*/ 96038 w 102104"/>
                    <a:gd name="connsiteY13" fmla="*/ 69775 h 109213"/>
                    <a:gd name="connsiteX14" fmla="*/ 102105 w 102104"/>
                    <a:gd name="connsiteY14" fmla="*/ 75843 h 109213"/>
                    <a:gd name="connsiteX15" fmla="*/ 86936 w 102104"/>
                    <a:gd name="connsiteY15" fmla="*/ 106180 h 109213"/>
                    <a:gd name="connsiteX16" fmla="*/ 68734 w 102104"/>
                    <a:gd name="connsiteY16" fmla="*/ 109213 h 109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02104" h="109213">
                      <a:moveTo>
                        <a:pt x="68734" y="109213"/>
                      </a:moveTo>
                      <a:cubicBezTo>
                        <a:pt x="65700" y="109213"/>
                        <a:pt x="65700" y="109213"/>
                        <a:pt x="65700" y="109213"/>
                      </a:cubicBezTo>
                      <a:cubicBezTo>
                        <a:pt x="50532" y="106180"/>
                        <a:pt x="20195" y="78876"/>
                        <a:pt x="5026" y="51573"/>
                      </a:cubicBezTo>
                      <a:cubicBezTo>
                        <a:pt x="-1041" y="42472"/>
                        <a:pt x="-1041" y="33371"/>
                        <a:pt x="1993" y="24270"/>
                      </a:cubicBezTo>
                      <a:cubicBezTo>
                        <a:pt x="8060" y="9101"/>
                        <a:pt x="23229" y="0"/>
                        <a:pt x="26262" y="0"/>
                      </a:cubicBezTo>
                      <a:cubicBezTo>
                        <a:pt x="29296" y="0"/>
                        <a:pt x="32330" y="0"/>
                        <a:pt x="35363" y="3034"/>
                      </a:cubicBezTo>
                      <a:cubicBezTo>
                        <a:pt x="35363" y="6067"/>
                        <a:pt x="35363" y="9101"/>
                        <a:pt x="32330" y="12135"/>
                      </a:cubicBezTo>
                      <a:cubicBezTo>
                        <a:pt x="32330" y="12135"/>
                        <a:pt x="20195" y="18202"/>
                        <a:pt x="14128" y="30337"/>
                      </a:cubicBezTo>
                      <a:cubicBezTo>
                        <a:pt x="11094" y="36405"/>
                        <a:pt x="14128" y="42472"/>
                        <a:pt x="17161" y="48539"/>
                      </a:cubicBezTo>
                      <a:cubicBezTo>
                        <a:pt x="32330" y="75843"/>
                        <a:pt x="62667" y="97079"/>
                        <a:pt x="71768" y="100112"/>
                      </a:cubicBezTo>
                      <a:cubicBezTo>
                        <a:pt x="71768" y="100112"/>
                        <a:pt x="74802" y="100112"/>
                        <a:pt x="77835" y="97079"/>
                      </a:cubicBezTo>
                      <a:cubicBezTo>
                        <a:pt x="83903" y="91011"/>
                        <a:pt x="89970" y="78876"/>
                        <a:pt x="89970" y="75843"/>
                      </a:cubicBezTo>
                      <a:cubicBezTo>
                        <a:pt x="89970" y="72809"/>
                        <a:pt x="93004" y="69775"/>
                        <a:pt x="96038" y="69775"/>
                      </a:cubicBezTo>
                      <a:lnTo>
                        <a:pt x="96038" y="69775"/>
                      </a:lnTo>
                      <a:cubicBezTo>
                        <a:pt x="99071" y="69775"/>
                        <a:pt x="102105" y="72809"/>
                        <a:pt x="102105" y="75843"/>
                      </a:cubicBezTo>
                      <a:cubicBezTo>
                        <a:pt x="102105" y="84944"/>
                        <a:pt x="96038" y="100112"/>
                        <a:pt x="86936" y="106180"/>
                      </a:cubicBezTo>
                      <a:cubicBezTo>
                        <a:pt x="74802" y="109213"/>
                        <a:pt x="71768" y="109213"/>
                        <a:pt x="68734" y="10921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E6B926A6-4429-48A0-8B7B-2CA2255752D5}"/>
                  </a:ext>
                </a:extLst>
              </p:cNvPr>
              <p:cNvSpPr/>
              <p:nvPr/>
            </p:nvSpPr>
            <p:spPr>
              <a:xfrm>
                <a:off x="4464690" y="3374785"/>
                <a:ext cx="95594" cy="87977"/>
              </a:xfrm>
              <a:custGeom>
                <a:avLst/>
                <a:gdLst>
                  <a:gd name="connsiteX0" fmla="*/ 67035 w 95594"/>
                  <a:gd name="connsiteY0" fmla="*/ 87978 h 87977"/>
                  <a:gd name="connsiteX1" fmla="*/ 39731 w 95594"/>
                  <a:gd name="connsiteY1" fmla="*/ 75843 h 87977"/>
                  <a:gd name="connsiteX2" fmla="*/ 293 w 95594"/>
                  <a:gd name="connsiteY2" fmla="*/ 30337 h 87977"/>
                  <a:gd name="connsiteX3" fmla="*/ 30630 w 95594"/>
                  <a:gd name="connsiteY3" fmla="*/ 0 h 87977"/>
                  <a:gd name="connsiteX4" fmla="*/ 36698 w 95594"/>
                  <a:gd name="connsiteY4" fmla="*/ 6067 h 87977"/>
                  <a:gd name="connsiteX5" fmla="*/ 30630 w 95594"/>
                  <a:gd name="connsiteY5" fmla="*/ 12135 h 87977"/>
                  <a:gd name="connsiteX6" fmla="*/ 9394 w 95594"/>
                  <a:gd name="connsiteY6" fmla="*/ 30337 h 87977"/>
                  <a:gd name="connsiteX7" fmla="*/ 42765 w 95594"/>
                  <a:gd name="connsiteY7" fmla="*/ 66742 h 87977"/>
                  <a:gd name="connsiteX8" fmla="*/ 64001 w 95594"/>
                  <a:gd name="connsiteY8" fmla="*/ 75843 h 87977"/>
                  <a:gd name="connsiteX9" fmla="*/ 82203 w 95594"/>
                  <a:gd name="connsiteY9" fmla="*/ 60674 h 87977"/>
                  <a:gd name="connsiteX10" fmla="*/ 91304 w 95594"/>
                  <a:gd name="connsiteY10" fmla="*/ 57640 h 87977"/>
                  <a:gd name="connsiteX11" fmla="*/ 94338 w 95594"/>
                  <a:gd name="connsiteY11" fmla="*/ 63708 h 87977"/>
                  <a:gd name="connsiteX12" fmla="*/ 67035 w 95594"/>
                  <a:gd name="connsiteY12" fmla="*/ 87978 h 87977"/>
                  <a:gd name="connsiteX13" fmla="*/ 67035 w 95594"/>
                  <a:gd name="connsiteY13" fmla="*/ 87978 h 87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5594" h="87977">
                    <a:moveTo>
                      <a:pt x="67035" y="87978"/>
                    </a:moveTo>
                    <a:cubicBezTo>
                      <a:pt x="60967" y="87978"/>
                      <a:pt x="51866" y="84944"/>
                      <a:pt x="39731" y="75843"/>
                    </a:cubicBezTo>
                    <a:cubicBezTo>
                      <a:pt x="24563" y="63708"/>
                      <a:pt x="3327" y="42472"/>
                      <a:pt x="293" y="30337"/>
                    </a:cubicBezTo>
                    <a:cubicBezTo>
                      <a:pt x="-2741" y="9101"/>
                      <a:pt x="18495" y="0"/>
                      <a:pt x="30630" y="0"/>
                    </a:cubicBezTo>
                    <a:cubicBezTo>
                      <a:pt x="33664" y="0"/>
                      <a:pt x="36698" y="3034"/>
                      <a:pt x="36698" y="6067"/>
                    </a:cubicBezTo>
                    <a:cubicBezTo>
                      <a:pt x="36698" y="9101"/>
                      <a:pt x="33664" y="12135"/>
                      <a:pt x="30630" y="12135"/>
                    </a:cubicBezTo>
                    <a:cubicBezTo>
                      <a:pt x="30630" y="12135"/>
                      <a:pt x="6360" y="15169"/>
                      <a:pt x="9394" y="30337"/>
                    </a:cubicBezTo>
                    <a:cubicBezTo>
                      <a:pt x="9394" y="36405"/>
                      <a:pt x="24563" y="54607"/>
                      <a:pt x="42765" y="66742"/>
                    </a:cubicBezTo>
                    <a:cubicBezTo>
                      <a:pt x="54900" y="72809"/>
                      <a:pt x="60967" y="75843"/>
                      <a:pt x="64001" y="75843"/>
                    </a:cubicBezTo>
                    <a:cubicBezTo>
                      <a:pt x="76136" y="72809"/>
                      <a:pt x="82203" y="60674"/>
                      <a:pt x="82203" y="60674"/>
                    </a:cubicBezTo>
                    <a:cubicBezTo>
                      <a:pt x="82203" y="57640"/>
                      <a:pt x="85237" y="54607"/>
                      <a:pt x="91304" y="57640"/>
                    </a:cubicBezTo>
                    <a:cubicBezTo>
                      <a:pt x="94338" y="57640"/>
                      <a:pt x="97372" y="60674"/>
                      <a:pt x="94338" y="63708"/>
                    </a:cubicBezTo>
                    <a:cubicBezTo>
                      <a:pt x="94338" y="63708"/>
                      <a:pt x="88271" y="81910"/>
                      <a:pt x="67035" y="87978"/>
                    </a:cubicBezTo>
                    <a:cubicBezTo>
                      <a:pt x="70069" y="87978"/>
                      <a:pt x="67035" y="87978"/>
                      <a:pt x="67035" y="8797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53F22754-14A1-430F-AA42-D84EC379D7F2}"/>
                </a:ext>
              </a:extLst>
            </p:cNvPr>
            <p:cNvSpPr/>
            <p:nvPr/>
          </p:nvSpPr>
          <p:spPr>
            <a:xfrm>
              <a:off x="2632623" y="6256808"/>
              <a:ext cx="364044" cy="206291"/>
            </a:xfrm>
            <a:custGeom>
              <a:avLst/>
              <a:gdLst>
                <a:gd name="connsiteX0" fmla="*/ 30337 w 364044"/>
                <a:gd name="connsiteY0" fmla="*/ 0 h 206291"/>
                <a:gd name="connsiteX1" fmla="*/ 0 w 364044"/>
                <a:gd name="connsiteY1" fmla="*/ 106180 h 206291"/>
                <a:gd name="connsiteX2" fmla="*/ 333708 w 364044"/>
                <a:gd name="connsiteY2" fmla="*/ 206292 h 206291"/>
                <a:gd name="connsiteX3" fmla="*/ 364045 w 364044"/>
                <a:gd name="connsiteY3" fmla="*/ 124382 h 206291"/>
                <a:gd name="connsiteX4" fmla="*/ 30337 w 364044"/>
                <a:gd name="connsiteY4" fmla="*/ 0 h 206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044" h="206291">
                  <a:moveTo>
                    <a:pt x="30337" y="0"/>
                  </a:moveTo>
                  <a:cubicBezTo>
                    <a:pt x="30337" y="0"/>
                    <a:pt x="3034" y="57640"/>
                    <a:pt x="0" y="106180"/>
                  </a:cubicBezTo>
                  <a:cubicBezTo>
                    <a:pt x="0" y="106180"/>
                    <a:pt x="169888" y="194157"/>
                    <a:pt x="333708" y="206292"/>
                  </a:cubicBezTo>
                  <a:cubicBezTo>
                    <a:pt x="333708" y="206292"/>
                    <a:pt x="351910" y="163820"/>
                    <a:pt x="364045" y="124382"/>
                  </a:cubicBezTo>
                  <a:cubicBezTo>
                    <a:pt x="364045" y="124382"/>
                    <a:pt x="87978" y="54606"/>
                    <a:pt x="30337" y="0"/>
                  </a:cubicBezTo>
                  <a:close/>
                </a:path>
              </a:pathLst>
            </a:custGeom>
            <a:solidFill>
              <a:srgbClr val="9DB3D1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6E050C46-4638-4678-A83D-25768145F7E7}"/>
                </a:ext>
              </a:extLst>
            </p:cNvPr>
            <p:cNvSpPr/>
            <p:nvPr/>
          </p:nvSpPr>
          <p:spPr>
            <a:xfrm>
              <a:off x="3345355" y="6396358"/>
              <a:ext cx="361200" cy="128658"/>
            </a:xfrm>
            <a:custGeom>
              <a:avLst/>
              <a:gdLst>
                <a:gd name="connsiteX0" fmla="*/ 190 w 361200"/>
                <a:gd name="connsiteY0" fmla="*/ 18202 h 128658"/>
                <a:gd name="connsiteX1" fmla="*/ 15358 w 361200"/>
                <a:gd name="connsiteY1" fmla="*/ 127416 h 128658"/>
                <a:gd name="connsiteX2" fmla="*/ 361201 w 361200"/>
                <a:gd name="connsiteY2" fmla="*/ 87978 h 128658"/>
                <a:gd name="connsiteX3" fmla="*/ 358167 w 361200"/>
                <a:gd name="connsiteY3" fmla="*/ 0 h 128658"/>
                <a:gd name="connsiteX4" fmla="*/ 190 w 361200"/>
                <a:gd name="connsiteY4" fmla="*/ 18202 h 128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200" h="128658">
                  <a:moveTo>
                    <a:pt x="190" y="18202"/>
                  </a:moveTo>
                  <a:cubicBezTo>
                    <a:pt x="190" y="18202"/>
                    <a:pt x="-2844" y="81910"/>
                    <a:pt x="15358" y="127416"/>
                  </a:cubicBezTo>
                  <a:cubicBezTo>
                    <a:pt x="15358" y="127416"/>
                    <a:pt x="206482" y="139551"/>
                    <a:pt x="361201" y="87978"/>
                  </a:cubicBezTo>
                  <a:cubicBezTo>
                    <a:pt x="361201" y="87978"/>
                    <a:pt x="361201" y="42472"/>
                    <a:pt x="358167" y="0"/>
                  </a:cubicBezTo>
                  <a:cubicBezTo>
                    <a:pt x="358167" y="3034"/>
                    <a:pt x="76032" y="45506"/>
                    <a:pt x="190" y="18202"/>
                  </a:cubicBezTo>
                  <a:close/>
                </a:path>
              </a:pathLst>
            </a:custGeom>
            <a:solidFill>
              <a:srgbClr val="9DB3D1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171" name="图形 1">
            <a:extLst>
              <a:ext uri="{FF2B5EF4-FFF2-40B4-BE49-F238E27FC236}">
                <a16:creationId xmlns:a16="http://schemas.microsoft.com/office/drawing/2014/main" id="{3B9EBF0A-0FEB-47A6-959B-C2964FB75F7C}"/>
              </a:ext>
            </a:extLst>
          </p:cNvPr>
          <p:cNvGrpSpPr/>
          <p:nvPr/>
        </p:nvGrpSpPr>
        <p:grpSpPr>
          <a:xfrm>
            <a:off x="6278052" y="1985684"/>
            <a:ext cx="2860751" cy="4830026"/>
            <a:chOff x="6042078" y="1863635"/>
            <a:chExt cx="2860751" cy="4830026"/>
          </a:xfrm>
        </p:grpSpPr>
        <p:grpSp>
          <p:nvGrpSpPr>
            <p:cNvPr id="172" name="图形 1">
              <a:extLst>
                <a:ext uri="{FF2B5EF4-FFF2-40B4-BE49-F238E27FC236}">
                  <a16:creationId xmlns:a16="http://schemas.microsoft.com/office/drawing/2014/main" id="{3B9EBF0A-0FEB-47A6-959B-C2964FB75F7C}"/>
                </a:ext>
              </a:extLst>
            </p:cNvPr>
            <p:cNvGrpSpPr/>
            <p:nvPr/>
          </p:nvGrpSpPr>
          <p:grpSpPr>
            <a:xfrm>
              <a:off x="6909927" y="6247707"/>
              <a:ext cx="564494" cy="384366"/>
              <a:chOff x="6909927" y="6247707"/>
              <a:chExt cx="564494" cy="384366"/>
            </a:xfrm>
          </p:grpSpPr>
          <p:sp>
            <p:nvSpPr>
              <p:cNvPr id="173" name="任意多边形: 形状 172">
                <a:extLst>
                  <a:ext uri="{FF2B5EF4-FFF2-40B4-BE49-F238E27FC236}">
                    <a16:creationId xmlns:a16="http://schemas.microsoft.com/office/drawing/2014/main" id="{8B7D3587-25AA-422B-ABC6-A1C139DE8213}"/>
                  </a:ext>
                </a:extLst>
              </p:cNvPr>
              <p:cNvSpPr/>
              <p:nvPr/>
            </p:nvSpPr>
            <p:spPr>
              <a:xfrm>
                <a:off x="7249927" y="6247707"/>
                <a:ext cx="224494" cy="266966"/>
              </a:xfrm>
              <a:custGeom>
                <a:avLst/>
                <a:gdLst>
                  <a:gd name="connsiteX0" fmla="*/ 157753 w 224494"/>
                  <a:gd name="connsiteY0" fmla="*/ 233595 h 266966"/>
                  <a:gd name="connsiteX1" fmla="*/ 224494 w 224494"/>
                  <a:gd name="connsiteY1" fmla="*/ 60674 h 266966"/>
                  <a:gd name="connsiteX2" fmla="*/ 51573 w 224494"/>
                  <a:gd name="connsiteY2" fmla="*/ 0 h 266966"/>
                  <a:gd name="connsiteX3" fmla="*/ 0 w 224494"/>
                  <a:gd name="connsiteY3" fmla="*/ 188090 h 266966"/>
                  <a:gd name="connsiteX4" fmla="*/ 133483 w 224494"/>
                  <a:gd name="connsiteY4" fmla="*/ 266966 h 266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494" h="266966">
                    <a:moveTo>
                      <a:pt x="157753" y="233595"/>
                    </a:moveTo>
                    <a:lnTo>
                      <a:pt x="224494" y="60674"/>
                    </a:lnTo>
                    <a:lnTo>
                      <a:pt x="51573" y="0"/>
                    </a:lnTo>
                    <a:lnTo>
                      <a:pt x="0" y="188090"/>
                    </a:lnTo>
                    <a:lnTo>
                      <a:pt x="133483" y="266966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4" name="任意多边形: 形状 173">
                <a:extLst>
                  <a:ext uri="{FF2B5EF4-FFF2-40B4-BE49-F238E27FC236}">
                    <a16:creationId xmlns:a16="http://schemas.microsoft.com/office/drawing/2014/main" id="{8EBB98C8-F7BE-401C-9562-3FC4BC102353}"/>
                  </a:ext>
                </a:extLst>
              </p:cNvPr>
              <p:cNvSpPr/>
              <p:nvPr/>
            </p:nvSpPr>
            <p:spPr>
              <a:xfrm>
                <a:off x="6925320" y="6381190"/>
                <a:ext cx="494494" cy="212359"/>
              </a:xfrm>
              <a:custGeom>
                <a:avLst/>
                <a:gdLst>
                  <a:gd name="connsiteX0" fmla="*/ 494494 w 494494"/>
                  <a:gd name="connsiteY0" fmla="*/ 106180 h 212359"/>
                  <a:gd name="connsiteX1" fmla="*/ 336741 w 494494"/>
                  <a:gd name="connsiteY1" fmla="*/ 0 h 212359"/>
                  <a:gd name="connsiteX2" fmla="*/ 185056 w 494494"/>
                  <a:gd name="connsiteY2" fmla="*/ 30337 h 212359"/>
                  <a:gd name="connsiteX3" fmla="*/ 0 w 494494"/>
                  <a:gd name="connsiteY3" fmla="*/ 48540 h 212359"/>
                  <a:gd name="connsiteX4" fmla="*/ 458090 w 494494"/>
                  <a:gd name="connsiteY4" fmla="*/ 212360 h 212359"/>
                  <a:gd name="connsiteX5" fmla="*/ 494494 w 494494"/>
                  <a:gd name="connsiteY5" fmla="*/ 106180 h 21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4494" h="212359">
                    <a:moveTo>
                      <a:pt x="494494" y="106180"/>
                    </a:moveTo>
                    <a:cubicBezTo>
                      <a:pt x="494494" y="106180"/>
                      <a:pt x="373146" y="81910"/>
                      <a:pt x="336741" y="0"/>
                    </a:cubicBezTo>
                    <a:cubicBezTo>
                      <a:pt x="336741" y="0"/>
                      <a:pt x="230562" y="36404"/>
                      <a:pt x="185056" y="30337"/>
                    </a:cubicBezTo>
                    <a:cubicBezTo>
                      <a:pt x="139550" y="24270"/>
                      <a:pt x="36404" y="-15169"/>
                      <a:pt x="0" y="48540"/>
                    </a:cubicBezTo>
                    <a:lnTo>
                      <a:pt x="458090" y="212360"/>
                    </a:lnTo>
                    <a:cubicBezTo>
                      <a:pt x="458090" y="209326"/>
                      <a:pt x="494494" y="157753"/>
                      <a:pt x="494494" y="106180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5" name="任意多边形: 形状 174">
                <a:extLst>
                  <a:ext uri="{FF2B5EF4-FFF2-40B4-BE49-F238E27FC236}">
                    <a16:creationId xmlns:a16="http://schemas.microsoft.com/office/drawing/2014/main" id="{B136F2CA-F32A-484E-B7E3-A5733C88BDC2}"/>
                  </a:ext>
                </a:extLst>
              </p:cNvPr>
              <p:cNvSpPr/>
              <p:nvPr/>
            </p:nvSpPr>
            <p:spPr>
              <a:xfrm rot="-4224216">
                <a:off x="7123449" y="6286536"/>
                <a:ext cx="45506" cy="485404"/>
              </a:xfrm>
              <a:custGeom>
                <a:avLst/>
                <a:gdLst>
                  <a:gd name="connsiteX0" fmla="*/ 0 w 45506"/>
                  <a:gd name="connsiteY0" fmla="*/ 0 h 485404"/>
                  <a:gd name="connsiteX1" fmla="*/ 45506 w 45506"/>
                  <a:gd name="connsiteY1" fmla="*/ 0 h 485404"/>
                  <a:gd name="connsiteX2" fmla="*/ 45506 w 45506"/>
                  <a:gd name="connsiteY2" fmla="*/ 485404 h 485404"/>
                  <a:gd name="connsiteX3" fmla="*/ 0 w 45506"/>
                  <a:gd name="connsiteY3" fmla="*/ 485404 h 485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06" h="485404">
                    <a:moveTo>
                      <a:pt x="0" y="0"/>
                    </a:moveTo>
                    <a:lnTo>
                      <a:pt x="45506" y="0"/>
                    </a:lnTo>
                    <a:lnTo>
                      <a:pt x="45506" y="485404"/>
                    </a:lnTo>
                    <a:lnTo>
                      <a:pt x="0" y="485404"/>
                    </a:lnTo>
                    <a:close/>
                  </a:path>
                </a:pathLst>
              </a:custGeom>
              <a:solidFill>
                <a:srgbClr val="38333D"/>
              </a:solidFill>
              <a:ln w="303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6" name="任意多边形: 形状 175">
                <a:extLst>
                  <a:ext uri="{FF2B5EF4-FFF2-40B4-BE49-F238E27FC236}">
                    <a16:creationId xmlns:a16="http://schemas.microsoft.com/office/drawing/2014/main" id="{ECA01C35-D630-480A-840C-9EE0606EBF37}"/>
                  </a:ext>
                </a:extLst>
              </p:cNvPr>
              <p:cNvSpPr/>
              <p:nvPr/>
            </p:nvSpPr>
            <p:spPr>
              <a:xfrm>
                <a:off x="7255994" y="6372089"/>
                <a:ext cx="171144" cy="118314"/>
              </a:xfrm>
              <a:custGeom>
                <a:avLst/>
                <a:gdLst>
                  <a:gd name="connsiteX0" fmla="*/ 163820 w 171144"/>
                  <a:gd name="connsiteY0" fmla="*/ 118315 h 118314"/>
                  <a:gd name="connsiteX1" fmla="*/ 163820 w 171144"/>
                  <a:gd name="connsiteY1" fmla="*/ 118315 h 118314"/>
                  <a:gd name="connsiteX2" fmla="*/ 0 w 171144"/>
                  <a:gd name="connsiteY2" fmla="*/ 9101 h 118314"/>
                  <a:gd name="connsiteX3" fmla="*/ 3034 w 171144"/>
                  <a:gd name="connsiteY3" fmla="*/ 0 h 118314"/>
                  <a:gd name="connsiteX4" fmla="*/ 12135 w 171144"/>
                  <a:gd name="connsiteY4" fmla="*/ 3034 h 118314"/>
                  <a:gd name="connsiteX5" fmla="*/ 166854 w 171144"/>
                  <a:gd name="connsiteY5" fmla="*/ 106180 h 118314"/>
                  <a:gd name="connsiteX6" fmla="*/ 169888 w 171144"/>
                  <a:gd name="connsiteY6" fmla="*/ 112248 h 118314"/>
                  <a:gd name="connsiteX7" fmla="*/ 163820 w 171144"/>
                  <a:gd name="connsiteY7" fmla="*/ 118315 h 11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1144" h="118314">
                    <a:moveTo>
                      <a:pt x="163820" y="118315"/>
                    </a:moveTo>
                    <a:cubicBezTo>
                      <a:pt x="163820" y="118315"/>
                      <a:pt x="163820" y="118315"/>
                      <a:pt x="163820" y="118315"/>
                    </a:cubicBezTo>
                    <a:cubicBezTo>
                      <a:pt x="157753" y="118315"/>
                      <a:pt x="45506" y="94045"/>
                      <a:pt x="0" y="9101"/>
                    </a:cubicBezTo>
                    <a:cubicBezTo>
                      <a:pt x="0" y="6068"/>
                      <a:pt x="0" y="3034"/>
                      <a:pt x="3034" y="0"/>
                    </a:cubicBezTo>
                    <a:cubicBezTo>
                      <a:pt x="6067" y="0"/>
                      <a:pt x="9101" y="0"/>
                      <a:pt x="12135" y="3034"/>
                    </a:cubicBezTo>
                    <a:cubicBezTo>
                      <a:pt x="54607" y="81910"/>
                      <a:pt x="166854" y="106180"/>
                      <a:pt x="166854" y="106180"/>
                    </a:cubicBezTo>
                    <a:cubicBezTo>
                      <a:pt x="169888" y="106180"/>
                      <a:pt x="172921" y="109214"/>
                      <a:pt x="169888" y="112248"/>
                    </a:cubicBezTo>
                    <a:cubicBezTo>
                      <a:pt x="169888" y="118315"/>
                      <a:pt x="166854" y="118315"/>
                      <a:pt x="163820" y="11831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7" name="任意多边形: 形状 176">
                <a:extLst>
                  <a:ext uri="{FF2B5EF4-FFF2-40B4-BE49-F238E27FC236}">
                    <a16:creationId xmlns:a16="http://schemas.microsoft.com/office/drawing/2014/main" id="{2AD79805-4499-4DD2-8E6C-F19E54812915}"/>
                  </a:ext>
                </a:extLst>
              </p:cNvPr>
              <p:cNvSpPr/>
              <p:nvPr/>
            </p:nvSpPr>
            <p:spPr>
              <a:xfrm>
                <a:off x="7213523" y="6390291"/>
                <a:ext cx="26262" cy="42471"/>
              </a:xfrm>
              <a:custGeom>
                <a:avLst/>
                <a:gdLst>
                  <a:gd name="connsiteX0" fmla="*/ 21236 w 26262"/>
                  <a:gd name="connsiteY0" fmla="*/ 42472 h 42471"/>
                  <a:gd name="connsiteX1" fmla="*/ 15169 w 26262"/>
                  <a:gd name="connsiteY1" fmla="*/ 39438 h 42471"/>
                  <a:gd name="connsiteX2" fmla="*/ 0 w 26262"/>
                  <a:gd name="connsiteY2" fmla="*/ 6067 h 42471"/>
                  <a:gd name="connsiteX3" fmla="*/ 3033 w 26262"/>
                  <a:gd name="connsiteY3" fmla="*/ 0 h 42471"/>
                  <a:gd name="connsiteX4" fmla="*/ 9101 w 26262"/>
                  <a:gd name="connsiteY4" fmla="*/ 3034 h 42471"/>
                  <a:gd name="connsiteX5" fmla="*/ 24269 w 26262"/>
                  <a:gd name="connsiteY5" fmla="*/ 36404 h 42471"/>
                  <a:gd name="connsiteX6" fmla="*/ 21236 w 26262"/>
                  <a:gd name="connsiteY6" fmla="*/ 42472 h 42471"/>
                  <a:gd name="connsiteX7" fmla="*/ 21236 w 26262"/>
                  <a:gd name="connsiteY7" fmla="*/ 42472 h 42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262" h="42471">
                    <a:moveTo>
                      <a:pt x="21236" y="42472"/>
                    </a:moveTo>
                    <a:cubicBezTo>
                      <a:pt x="18202" y="42472"/>
                      <a:pt x="18202" y="42472"/>
                      <a:pt x="15169" y="39438"/>
                    </a:cubicBezTo>
                    <a:lnTo>
                      <a:pt x="0" y="6067"/>
                    </a:lnTo>
                    <a:cubicBezTo>
                      <a:pt x="0" y="3034"/>
                      <a:pt x="0" y="0"/>
                      <a:pt x="3033" y="0"/>
                    </a:cubicBezTo>
                    <a:cubicBezTo>
                      <a:pt x="6067" y="0"/>
                      <a:pt x="9101" y="0"/>
                      <a:pt x="9101" y="3034"/>
                    </a:cubicBezTo>
                    <a:lnTo>
                      <a:pt x="24269" y="36404"/>
                    </a:lnTo>
                    <a:cubicBezTo>
                      <a:pt x="27303" y="36404"/>
                      <a:pt x="27303" y="39438"/>
                      <a:pt x="21236" y="42472"/>
                    </a:cubicBezTo>
                    <a:cubicBezTo>
                      <a:pt x="24269" y="42472"/>
                      <a:pt x="21236" y="42472"/>
                      <a:pt x="21236" y="4247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8" name="任意多边形: 形状 177">
                <a:extLst>
                  <a:ext uri="{FF2B5EF4-FFF2-40B4-BE49-F238E27FC236}">
                    <a16:creationId xmlns:a16="http://schemas.microsoft.com/office/drawing/2014/main" id="{2B485E91-D99E-4005-938E-52E7A74D0789}"/>
                  </a:ext>
                </a:extLst>
              </p:cNvPr>
              <p:cNvSpPr/>
              <p:nvPr/>
            </p:nvSpPr>
            <p:spPr>
              <a:xfrm>
                <a:off x="7168017" y="6402426"/>
                <a:ext cx="26262" cy="42472"/>
              </a:xfrm>
              <a:custGeom>
                <a:avLst/>
                <a:gdLst>
                  <a:gd name="connsiteX0" fmla="*/ 21236 w 26262"/>
                  <a:gd name="connsiteY0" fmla="*/ 42472 h 42472"/>
                  <a:gd name="connsiteX1" fmla="*/ 15169 w 26262"/>
                  <a:gd name="connsiteY1" fmla="*/ 39438 h 42472"/>
                  <a:gd name="connsiteX2" fmla="*/ 0 w 26262"/>
                  <a:gd name="connsiteY2" fmla="*/ 6068 h 42472"/>
                  <a:gd name="connsiteX3" fmla="*/ 3033 w 26262"/>
                  <a:gd name="connsiteY3" fmla="*/ 0 h 42472"/>
                  <a:gd name="connsiteX4" fmla="*/ 9101 w 26262"/>
                  <a:gd name="connsiteY4" fmla="*/ 3034 h 42472"/>
                  <a:gd name="connsiteX5" fmla="*/ 24269 w 26262"/>
                  <a:gd name="connsiteY5" fmla="*/ 36405 h 42472"/>
                  <a:gd name="connsiteX6" fmla="*/ 21236 w 26262"/>
                  <a:gd name="connsiteY6" fmla="*/ 42472 h 42472"/>
                  <a:gd name="connsiteX7" fmla="*/ 21236 w 26262"/>
                  <a:gd name="connsiteY7" fmla="*/ 42472 h 42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262" h="42472">
                    <a:moveTo>
                      <a:pt x="21236" y="42472"/>
                    </a:moveTo>
                    <a:cubicBezTo>
                      <a:pt x="18202" y="42472"/>
                      <a:pt x="18202" y="42472"/>
                      <a:pt x="15169" y="39438"/>
                    </a:cubicBezTo>
                    <a:lnTo>
                      <a:pt x="0" y="6068"/>
                    </a:lnTo>
                    <a:cubicBezTo>
                      <a:pt x="0" y="3034"/>
                      <a:pt x="0" y="0"/>
                      <a:pt x="3033" y="0"/>
                    </a:cubicBezTo>
                    <a:cubicBezTo>
                      <a:pt x="6067" y="0"/>
                      <a:pt x="9101" y="0"/>
                      <a:pt x="9101" y="3034"/>
                    </a:cubicBezTo>
                    <a:lnTo>
                      <a:pt x="24269" y="36405"/>
                    </a:lnTo>
                    <a:cubicBezTo>
                      <a:pt x="27303" y="36405"/>
                      <a:pt x="27303" y="39438"/>
                      <a:pt x="21236" y="42472"/>
                    </a:cubicBezTo>
                    <a:cubicBezTo>
                      <a:pt x="24269" y="42472"/>
                      <a:pt x="24269" y="42472"/>
                      <a:pt x="21236" y="4247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79" name="图形 1">
              <a:extLst>
                <a:ext uri="{FF2B5EF4-FFF2-40B4-BE49-F238E27FC236}">
                  <a16:creationId xmlns:a16="http://schemas.microsoft.com/office/drawing/2014/main" id="{3B9EBF0A-0FEB-47A6-959B-C2964FB75F7C}"/>
                </a:ext>
              </a:extLst>
            </p:cNvPr>
            <p:cNvGrpSpPr/>
            <p:nvPr/>
          </p:nvGrpSpPr>
          <p:grpSpPr>
            <a:xfrm>
              <a:off x="8172174" y="6350853"/>
              <a:ext cx="494494" cy="342809"/>
              <a:chOff x="8172174" y="6350853"/>
              <a:chExt cx="494494" cy="342809"/>
            </a:xfrm>
          </p:grpSpPr>
          <p:sp>
            <p:nvSpPr>
              <p:cNvPr id="180" name="任意多边形: 形状 179">
                <a:extLst>
                  <a:ext uri="{FF2B5EF4-FFF2-40B4-BE49-F238E27FC236}">
                    <a16:creationId xmlns:a16="http://schemas.microsoft.com/office/drawing/2014/main" id="{B0FEF891-4E38-4C6D-BA0B-AAFEAEB68D2F}"/>
                  </a:ext>
                </a:extLst>
              </p:cNvPr>
              <p:cNvSpPr/>
              <p:nvPr/>
            </p:nvSpPr>
            <p:spPr>
              <a:xfrm>
                <a:off x="8463410" y="6350853"/>
                <a:ext cx="182022" cy="221460"/>
              </a:xfrm>
              <a:custGeom>
                <a:avLst/>
                <a:gdLst>
                  <a:gd name="connsiteX0" fmla="*/ 182022 w 182022"/>
                  <a:gd name="connsiteY0" fmla="*/ 185056 h 221460"/>
                  <a:gd name="connsiteX1" fmla="*/ 182022 w 182022"/>
                  <a:gd name="connsiteY1" fmla="*/ 0 h 221460"/>
                  <a:gd name="connsiteX2" fmla="*/ 0 w 182022"/>
                  <a:gd name="connsiteY2" fmla="*/ 0 h 221460"/>
                  <a:gd name="connsiteX3" fmla="*/ 18202 w 182022"/>
                  <a:gd name="connsiteY3" fmla="*/ 194158 h 221460"/>
                  <a:gd name="connsiteX4" fmla="*/ 169887 w 182022"/>
                  <a:gd name="connsiteY4" fmla="*/ 221461 h 221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022" h="221460">
                    <a:moveTo>
                      <a:pt x="182022" y="185056"/>
                    </a:moveTo>
                    <a:lnTo>
                      <a:pt x="182022" y="0"/>
                    </a:lnTo>
                    <a:lnTo>
                      <a:pt x="0" y="0"/>
                    </a:lnTo>
                    <a:lnTo>
                      <a:pt x="18202" y="194158"/>
                    </a:lnTo>
                    <a:lnTo>
                      <a:pt x="169887" y="221461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1" name="任意多边形: 形状 180">
                <a:extLst>
                  <a:ext uri="{FF2B5EF4-FFF2-40B4-BE49-F238E27FC236}">
                    <a16:creationId xmlns:a16="http://schemas.microsoft.com/office/drawing/2014/main" id="{0FC6CB74-1598-4257-B05F-1EB3DC67868B}"/>
                  </a:ext>
                </a:extLst>
              </p:cNvPr>
              <p:cNvSpPr/>
              <p:nvPr/>
            </p:nvSpPr>
            <p:spPr>
              <a:xfrm>
                <a:off x="8172174" y="6490404"/>
                <a:ext cx="493483" cy="157752"/>
              </a:xfrm>
              <a:custGeom>
                <a:avLst/>
                <a:gdLst>
                  <a:gd name="connsiteX0" fmla="*/ 485393 w 493483"/>
                  <a:gd name="connsiteY0" fmla="*/ 45506 h 157752"/>
                  <a:gd name="connsiteX1" fmla="*/ 300337 w 493483"/>
                  <a:gd name="connsiteY1" fmla="*/ 0 h 157752"/>
                  <a:gd name="connsiteX2" fmla="*/ 166854 w 493483"/>
                  <a:gd name="connsiteY2" fmla="*/ 78876 h 157752"/>
                  <a:gd name="connsiteX3" fmla="*/ 0 w 493483"/>
                  <a:gd name="connsiteY3" fmla="*/ 157753 h 157752"/>
                  <a:gd name="connsiteX4" fmla="*/ 485393 w 493483"/>
                  <a:gd name="connsiteY4" fmla="*/ 157753 h 157752"/>
                  <a:gd name="connsiteX5" fmla="*/ 485393 w 493483"/>
                  <a:gd name="connsiteY5" fmla="*/ 45506 h 157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3483" h="157752">
                    <a:moveTo>
                      <a:pt x="485393" y="45506"/>
                    </a:moveTo>
                    <a:cubicBezTo>
                      <a:pt x="485393" y="45506"/>
                      <a:pt x="361012" y="63708"/>
                      <a:pt x="300337" y="0"/>
                    </a:cubicBezTo>
                    <a:cubicBezTo>
                      <a:pt x="300337" y="0"/>
                      <a:pt x="212360" y="69775"/>
                      <a:pt x="166854" y="78876"/>
                    </a:cubicBezTo>
                    <a:cubicBezTo>
                      <a:pt x="121348" y="87977"/>
                      <a:pt x="12135" y="84944"/>
                      <a:pt x="0" y="157753"/>
                    </a:cubicBezTo>
                    <a:lnTo>
                      <a:pt x="485393" y="157753"/>
                    </a:lnTo>
                    <a:cubicBezTo>
                      <a:pt x="485393" y="157753"/>
                      <a:pt x="503596" y="94045"/>
                      <a:pt x="485393" y="45506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2" name="任意多边形: 形状 181">
                <a:extLst>
                  <a:ext uri="{FF2B5EF4-FFF2-40B4-BE49-F238E27FC236}">
                    <a16:creationId xmlns:a16="http://schemas.microsoft.com/office/drawing/2014/main" id="{14ABE426-562B-4038-B525-6FC17A2DD481}"/>
                  </a:ext>
                </a:extLst>
              </p:cNvPr>
              <p:cNvSpPr/>
              <p:nvPr/>
            </p:nvSpPr>
            <p:spPr>
              <a:xfrm>
                <a:off x="8172174" y="6648156"/>
                <a:ext cx="485393" cy="45505"/>
              </a:xfrm>
              <a:custGeom>
                <a:avLst/>
                <a:gdLst>
                  <a:gd name="connsiteX0" fmla="*/ 0 w 485393"/>
                  <a:gd name="connsiteY0" fmla="*/ 0 h 45505"/>
                  <a:gd name="connsiteX1" fmla="*/ 485393 w 485393"/>
                  <a:gd name="connsiteY1" fmla="*/ 0 h 45505"/>
                  <a:gd name="connsiteX2" fmla="*/ 485393 w 485393"/>
                  <a:gd name="connsiteY2" fmla="*/ 45506 h 45505"/>
                  <a:gd name="connsiteX3" fmla="*/ 0 w 485393"/>
                  <a:gd name="connsiteY3" fmla="*/ 45506 h 4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393" h="45505">
                    <a:moveTo>
                      <a:pt x="0" y="0"/>
                    </a:moveTo>
                    <a:lnTo>
                      <a:pt x="485393" y="0"/>
                    </a:lnTo>
                    <a:lnTo>
                      <a:pt x="485393" y="45506"/>
                    </a:lnTo>
                    <a:lnTo>
                      <a:pt x="0" y="45506"/>
                    </a:ln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3" name="任意多边形: 形状 182">
                <a:extLst>
                  <a:ext uri="{FF2B5EF4-FFF2-40B4-BE49-F238E27FC236}">
                    <a16:creationId xmlns:a16="http://schemas.microsoft.com/office/drawing/2014/main" id="{836F3F35-5AD5-4C03-A1C7-745861D0B250}"/>
                  </a:ext>
                </a:extLst>
              </p:cNvPr>
              <p:cNvSpPr/>
              <p:nvPr/>
            </p:nvSpPr>
            <p:spPr>
              <a:xfrm>
                <a:off x="8467202" y="6479027"/>
                <a:ext cx="199466" cy="62949"/>
              </a:xfrm>
              <a:custGeom>
                <a:avLst/>
                <a:gdLst>
                  <a:gd name="connsiteX0" fmla="*/ 156995 w 199466"/>
                  <a:gd name="connsiteY0" fmla="*/ 62950 h 62949"/>
                  <a:gd name="connsiteX1" fmla="*/ 2275 w 199466"/>
                  <a:gd name="connsiteY1" fmla="*/ 11377 h 62949"/>
                  <a:gd name="connsiteX2" fmla="*/ 2275 w 199466"/>
                  <a:gd name="connsiteY2" fmla="*/ 2275 h 62949"/>
                  <a:gd name="connsiteX3" fmla="*/ 11377 w 199466"/>
                  <a:gd name="connsiteY3" fmla="*/ 2275 h 62949"/>
                  <a:gd name="connsiteX4" fmla="*/ 193399 w 199466"/>
                  <a:gd name="connsiteY4" fmla="*/ 47781 h 62949"/>
                  <a:gd name="connsiteX5" fmla="*/ 199466 w 199466"/>
                  <a:gd name="connsiteY5" fmla="*/ 53848 h 62949"/>
                  <a:gd name="connsiteX6" fmla="*/ 193399 w 199466"/>
                  <a:gd name="connsiteY6" fmla="*/ 59916 h 62949"/>
                  <a:gd name="connsiteX7" fmla="*/ 156995 w 199466"/>
                  <a:gd name="connsiteY7" fmla="*/ 62950 h 62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9466" h="62949">
                    <a:moveTo>
                      <a:pt x="156995" y="62950"/>
                    </a:moveTo>
                    <a:cubicBezTo>
                      <a:pt x="117556" y="62950"/>
                      <a:pt x="50815" y="56882"/>
                      <a:pt x="2275" y="11377"/>
                    </a:cubicBezTo>
                    <a:cubicBezTo>
                      <a:pt x="-758" y="8343"/>
                      <a:pt x="-758" y="5309"/>
                      <a:pt x="2275" y="2275"/>
                    </a:cubicBezTo>
                    <a:cubicBezTo>
                      <a:pt x="5309" y="-758"/>
                      <a:pt x="8343" y="-758"/>
                      <a:pt x="11377" y="2275"/>
                    </a:cubicBezTo>
                    <a:cubicBezTo>
                      <a:pt x="78118" y="62950"/>
                      <a:pt x="190365" y="47781"/>
                      <a:pt x="193399" y="47781"/>
                    </a:cubicBezTo>
                    <a:cubicBezTo>
                      <a:pt x="196433" y="47781"/>
                      <a:pt x="199466" y="50815"/>
                      <a:pt x="199466" y="53848"/>
                    </a:cubicBezTo>
                    <a:cubicBezTo>
                      <a:pt x="199466" y="56882"/>
                      <a:pt x="196433" y="59916"/>
                      <a:pt x="193399" y="59916"/>
                    </a:cubicBezTo>
                    <a:cubicBezTo>
                      <a:pt x="190365" y="62950"/>
                      <a:pt x="175197" y="62950"/>
                      <a:pt x="156995" y="6295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4" name="任意多边形: 形状 183">
                <a:extLst>
                  <a:ext uri="{FF2B5EF4-FFF2-40B4-BE49-F238E27FC236}">
                    <a16:creationId xmlns:a16="http://schemas.microsoft.com/office/drawing/2014/main" id="{B5B4F3F6-C205-4972-94CD-D6C8B75A3730}"/>
                  </a:ext>
                </a:extLst>
              </p:cNvPr>
              <p:cNvSpPr/>
              <p:nvPr/>
            </p:nvSpPr>
            <p:spPr>
              <a:xfrm>
                <a:off x="8430798" y="6506330"/>
                <a:ext cx="40955" cy="41713"/>
              </a:xfrm>
              <a:custGeom>
                <a:avLst/>
                <a:gdLst>
                  <a:gd name="connsiteX0" fmla="*/ 32613 w 40955"/>
                  <a:gd name="connsiteY0" fmla="*/ 41713 h 41713"/>
                  <a:gd name="connsiteX1" fmla="*/ 29579 w 40955"/>
                  <a:gd name="connsiteY1" fmla="*/ 38680 h 41713"/>
                  <a:gd name="connsiteX2" fmla="*/ 2275 w 40955"/>
                  <a:gd name="connsiteY2" fmla="*/ 11376 h 41713"/>
                  <a:gd name="connsiteX3" fmla="*/ 2275 w 40955"/>
                  <a:gd name="connsiteY3" fmla="*/ 2275 h 41713"/>
                  <a:gd name="connsiteX4" fmla="*/ 11377 w 40955"/>
                  <a:gd name="connsiteY4" fmla="*/ 2275 h 41713"/>
                  <a:gd name="connsiteX5" fmla="*/ 38680 w 40955"/>
                  <a:gd name="connsiteY5" fmla="*/ 29579 h 41713"/>
                  <a:gd name="connsiteX6" fmla="*/ 38680 w 40955"/>
                  <a:gd name="connsiteY6" fmla="*/ 38680 h 41713"/>
                  <a:gd name="connsiteX7" fmla="*/ 32613 w 40955"/>
                  <a:gd name="connsiteY7" fmla="*/ 41713 h 41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55" h="41713">
                    <a:moveTo>
                      <a:pt x="32613" y="41713"/>
                    </a:moveTo>
                    <a:cubicBezTo>
                      <a:pt x="32613" y="41713"/>
                      <a:pt x="29579" y="41713"/>
                      <a:pt x="29579" y="38680"/>
                    </a:cubicBezTo>
                    <a:lnTo>
                      <a:pt x="2275" y="11376"/>
                    </a:lnTo>
                    <a:cubicBezTo>
                      <a:pt x="-758" y="8343"/>
                      <a:pt x="-758" y="5309"/>
                      <a:pt x="2275" y="2275"/>
                    </a:cubicBezTo>
                    <a:cubicBezTo>
                      <a:pt x="5309" y="-758"/>
                      <a:pt x="8343" y="-758"/>
                      <a:pt x="11377" y="2275"/>
                    </a:cubicBezTo>
                    <a:lnTo>
                      <a:pt x="38680" y="29579"/>
                    </a:lnTo>
                    <a:cubicBezTo>
                      <a:pt x="41714" y="32612"/>
                      <a:pt x="41714" y="35646"/>
                      <a:pt x="38680" y="38680"/>
                    </a:cubicBezTo>
                    <a:cubicBezTo>
                      <a:pt x="35646" y="41713"/>
                      <a:pt x="35646" y="41713"/>
                      <a:pt x="32613" y="4171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5" name="任意多边形: 形状 184">
                <a:extLst>
                  <a:ext uri="{FF2B5EF4-FFF2-40B4-BE49-F238E27FC236}">
                    <a16:creationId xmlns:a16="http://schemas.microsoft.com/office/drawing/2014/main" id="{AAA9B1B4-D37D-44FF-BA3A-0BE11A9F6E52}"/>
                  </a:ext>
                </a:extLst>
              </p:cNvPr>
              <p:cNvSpPr/>
              <p:nvPr/>
            </p:nvSpPr>
            <p:spPr>
              <a:xfrm>
                <a:off x="8397427" y="6530600"/>
                <a:ext cx="37921" cy="41713"/>
              </a:xfrm>
              <a:custGeom>
                <a:avLst/>
                <a:gdLst>
                  <a:gd name="connsiteX0" fmla="*/ 29579 w 37921"/>
                  <a:gd name="connsiteY0" fmla="*/ 41713 h 41713"/>
                  <a:gd name="connsiteX1" fmla="*/ 26545 w 37921"/>
                  <a:gd name="connsiteY1" fmla="*/ 38679 h 41713"/>
                  <a:gd name="connsiteX2" fmla="*/ 2275 w 37921"/>
                  <a:gd name="connsiteY2" fmla="*/ 11376 h 41713"/>
                  <a:gd name="connsiteX3" fmla="*/ 2275 w 37921"/>
                  <a:gd name="connsiteY3" fmla="*/ 2275 h 41713"/>
                  <a:gd name="connsiteX4" fmla="*/ 11376 w 37921"/>
                  <a:gd name="connsiteY4" fmla="*/ 2275 h 41713"/>
                  <a:gd name="connsiteX5" fmla="*/ 35646 w 37921"/>
                  <a:gd name="connsiteY5" fmla="*/ 29579 h 41713"/>
                  <a:gd name="connsiteX6" fmla="*/ 35646 w 37921"/>
                  <a:gd name="connsiteY6" fmla="*/ 38679 h 41713"/>
                  <a:gd name="connsiteX7" fmla="*/ 29579 w 37921"/>
                  <a:gd name="connsiteY7" fmla="*/ 41713 h 41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921" h="41713">
                    <a:moveTo>
                      <a:pt x="29579" y="41713"/>
                    </a:moveTo>
                    <a:cubicBezTo>
                      <a:pt x="29579" y="41713"/>
                      <a:pt x="26545" y="41713"/>
                      <a:pt x="26545" y="38679"/>
                    </a:cubicBezTo>
                    <a:lnTo>
                      <a:pt x="2275" y="11376"/>
                    </a:lnTo>
                    <a:cubicBezTo>
                      <a:pt x="-758" y="8342"/>
                      <a:pt x="-758" y="5309"/>
                      <a:pt x="2275" y="2275"/>
                    </a:cubicBezTo>
                    <a:cubicBezTo>
                      <a:pt x="5309" y="-758"/>
                      <a:pt x="8342" y="-758"/>
                      <a:pt x="11376" y="2275"/>
                    </a:cubicBezTo>
                    <a:lnTo>
                      <a:pt x="35646" y="29579"/>
                    </a:lnTo>
                    <a:cubicBezTo>
                      <a:pt x="38679" y="32612"/>
                      <a:pt x="38679" y="35646"/>
                      <a:pt x="35646" y="38679"/>
                    </a:cubicBezTo>
                    <a:cubicBezTo>
                      <a:pt x="32612" y="41713"/>
                      <a:pt x="29579" y="41713"/>
                      <a:pt x="29579" y="4171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6474441F-0A81-48C9-8DA5-F3F9DA7DD537}"/>
                </a:ext>
              </a:extLst>
            </p:cNvPr>
            <p:cNvSpPr/>
            <p:nvPr/>
          </p:nvSpPr>
          <p:spPr>
            <a:xfrm>
              <a:off x="7240826" y="4148381"/>
              <a:ext cx="1518345" cy="2272247"/>
            </a:xfrm>
            <a:custGeom>
              <a:avLst/>
              <a:gdLst>
                <a:gd name="connsiteX0" fmla="*/ 488427 w 1518345"/>
                <a:gd name="connsiteY0" fmla="*/ 18202 h 2272247"/>
                <a:gd name="connsiteX1" fmla="*/ 169888 w 1518345"/>
                <a:gd name="connsiteY1" fmla="*/ 1122472 h 2272247"/>
                <a:gd name="connsiteX2" fmla="*/ 0 w 1518345"/>
                <a:gd name="connsiteY2" fmla="*/ 2117528 h 2272247"/>
                <a:gd name="connsiteX3" fmla="*/ 288202 w 1518345"/>
                <a:gd name="connsiteY3" fmla="*/ 2232809 h 2272247"/>
                <a:gd name="connsiteX4" fmla="*/ 585506 w 1518345"/>
                <a:gd name="connsiteY4" fmla="*/ 1328764 h 2272247"/>
                <a:gd name="connsiteX5" fmla="*/ 982921 w 1518345"/>
                <a:gd name="connsiteY5" fmla="*/ 500562 h 2272247"/>
                <a:gd name="connsiteX6" fmla="*/ 1028427 w 1518345"/>
                <a:gd name="connsiteY6" fmla="*/ 1468315 h 2272247"/>
                <a:gd name="connsiteX7" fmla="*/ 1174045 w 1518345"/>
                <a:gd name="connsiteY7" fmla="*/ 2263146 h 2272247"/>
                <a:gd name="connsiteX8" fmla="*/ 1459214 w 1518345"/>
                <a:gd name="connsiteY8" fmla="*/ 2272247 h 2272247"/>
                <a:gd name="connsiteX9" fmla="*/ 1428877 w 1518345"/>
                <a:gd name="connsiteY9" fmla="*/ 1450113 h 2272247"/>
                <a:gd name="connsiteX10" fmla="*/ 1507753 w 1518345"/>
                <a:gd name="connsiteY10" fmla="*/ 0 h 2272247"/>
                <a:gd name="connsiteX11" fmla="*/ 488427 w 1518345"/>
                <a:gd name="connsiteY11" fmla="*/ 18202 h 227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18345" h="2272247">
                  <a:moveTo>
                    <a:pt x="488427" y="18202"/>
                  </a:moveTo>
                  <a:lnTo>
                    <a:pt x="169888" y="1122472"/>
                  </a:lnTo>
                  <a:lnTo>
                    <a:pt x="0" y="2117528"/>
                  </a:lnTo>
                  <a:lnTo>
                    <a:pt x="288202" y="2232809"/>
                  </a:lnTo>
                  <a:lnTo>
                    <a:pt x="585506" y="1328764"/>
                  </a:lnTo>
                  <a:cubicBezTo>
                    <a:pt x="585506" y="1328764"/>
                    <a:pt x="973820" y="515730"/>
                    <a:pt x="982921" y="500562"/>
                  </a:cubicBezTo>
                  <a:cubicBezTo>
                    <a:pt x="998090" y="470225"/>
                    <a:pt x="1028427" y="1468315"/>
                    <a:pt x="1028427" y="1468315"/>
                  </a:cubicBezTo>
                  <a:lnTo>
                    <a:pt x="1174045" y="2263146"/>
                  </a:lnTo>
                  <a:lnTo>
                    <a:pt x="1459214" y="2272247"/>
                  </a:lnTo>
                  <a:cubicBezTo>
                    <a:pt x="1459214" y="2272247"/>
                    <a:pt x="1422809" y="1550225"/>
                    <a:pt x="1428877" y="1450113"/>
                  </a:cubicBezTo>
                  <a:cubicBezTo>
                    <a:pt x="1437977" y="1298427"/>
                    <a:pt x="1553258" y="97079"/>
                    <a:pt x="1507753" y="0"/>
                  </a:cubicBezTo>
                  <a:cubicBezTo>
                    <a:pt x="813034" y="33371"/>
                    <a:pt x="488427" y="18202"/>
                    <a:pt x="488427" y="18202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4771377B-5AE5-4E7E-92A3-C5F9E3FB5A8C}"/>
                </a:ext>
              </a:extLst>
            </p:cNvPr>
            <p:cNvSpPr/>
            <p:nvPr/>
          </p:nvSpPr>
          <p:spPr>
            <a:xfrm>
              <a:off x="8160039" y="4293999"/>
              <a:ext cx="69775" cy="361011"/>
            </a:xfrm>
            <a:custGeom>
              <a:avLst/>
              <a:gdLst>
                <a:gd name="connsiteX0" fmla="*/ 63708 w 69775"/>
                <a:gd name="connsiteY0" fmla="*/ 361011 h 361011"/>
                <a:gd name="connsiteX1" fmla="*/ 57640 w 69775"/>
                <a:gd name="connsiteY1" fmla="*/ 357977 h 361011"/>
                <a:gd name="connsiteX2" fmla="*/ 0 w 69775"/>
                <a:gd name="connsiteY2" fmla="*/ 6067 h 361011"/>
                <a:gd name="connsiteX3" fmla="*/ 6067 w 69775"/>
                <a:gd name="connsiteY3" fmla="*/ 0 h 361011"/>
                <a:gd name="connsiteX4" fmla="*/ 6067 w 69775"/>
                <a:gd name="connsiteY4" fmla="*/ 0 h 361011"/>
                <a:gd name="connsiteX5" fmla="*/ 12135 w 69775"/>
                <a:gd name="connsiteY5" fmla="*/ 6067 h 361011"/>
                <a:gd name="connsiteX6" fmla="*/ 69775 w 69775"/>
                <a:gd name="connsiteY6" fmla="*/ 354944 h 361011"/>
                <a:gd name="connsiteX7" fmla="*/ 63708 w 69775"/>
                <a:gd name="connsiteY7" fmla="*/ 361011 h 361011"/>
                <a:gd name="connsiteX8" fmla="*/ 63708 w 69775"/>
                <a:gd name="connsiteY8" fmla="*/ 361011 h 361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775" h="361011">
                  <a:moveTo>
                    <a:pt x="63708" y="361011"/>
                  </a:moveTo>
                  <a:cubicBezTo>
                    <a:pt x="60674" y="361011"/>
                    <a:pt x="60674" y="361011"/>
                    <a:pt x="57640" y="357977"/>
                  </a:cubicBezTo>
                  <a:cubicBezTo>
                    <a:pt x="9101" y="242697"/>
                    <a:pt x="0" y="15169"/>
                    <a:pt x="0" y="6067"/>
                  </a:cubicBezTo>
                  <a:cubicBezTo>
                    <a:pt x="0" y="3034"/>
                    <a:pt x="3033" y="0"/>
                    <a:pt x="6067" y="0"/>
                  </a:cubicBezTo>
                  <a:lnTo>
                    <a:pt x="6067" y="0"/>
                  </a:lnTo>
                  <a:cubicBezTo>
                    <a:pt x="9101" y="0"/>
                    <a:pt x="12135" y="3034"/>
                    <a:pt x="12135" y="6067"/>
                  </a:cubicBezTo>
                  <a:cubicBezTo>
                    <a:pt x="12135" y="9101"/>
                    <a:pt x="21236" y="242697"/>
                    <a:pt x="69775" y="354944"/>
                  </a:cubicBezTo>
                  <a:cubicBezTo>
                    <a:pt x="69775" y="354944"/>
                    <a:pt x="69775" y="357977"/>
                    <a:pt x="63708" y="361011"/>
                  </a:cubicBezTo>
                  <a:cubicBezTo>
                    <a:pt x="66741" y="361011"/>
                    <a:pt x="66741" y="361011"/>
                    <a:pt x="63708" y="361011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0C8B1031-D646-40CC-8CCC-B358AB49AD40}"/>
                </a:ext>
              </a:extLst>
            </p:cNvPr>
            <p:cNvSpPr/>
            <p:nvPr/>
          </p:nvSpPr>
          <p:spPr>
            <a:xfrm>
              <a:off x="8050826" y="4224224"/>
              <a:ext cx="154719" cy="351910"/>
            </a:xfrm>
            <a:custGeom>
              <a:avLst/>
              <a:gdLst>
                <a:gd name="connsiteX0" fmla="*/ 145618 w 154719"/>
                <a:gd name="connsiteY0" fmla="*/ 351910 h 351910"/>
                <a:gd name="connsiteX1" fmla="*/ 142584 w 154719"/>
                <a:gd name="connsiteY1" fmla="*/ 351910 h 351910"/>
                <a:gd name="connsiteX2" fmla="*/ 33371 w 154719"/>
                <a:gd name="connsiteY2" fmla="*/ 273034 h 351910"/>
                <a:gd name="connsiteX3" fmla="*/ 0 w 154719"/>
                <a:gd name="connsiteY3" fmla="*/ 6068 h 351910"/>
                <a:gd name="connsiteX4" fmla="*/ 6067 w 154719"/>
                <a:gd name="connsiteY4" fmla="*/ 0 h 351910"/>
                <a:gd name="connsiteX5" fmla="*/ 12135 w 154719"/>
                <a:gd name="connsiteY5" fmla="*/ 6068 h 351910"/>
                <a:gd name="connsiteX6" fmla="*/ 45506 w 154719"/>
                <a:gd name="connsiteY6" fmla="*/ 266966 h 351910"/>
                <a:gd name="connsiteX7" fmla="*/ 151685 w 154719"/>
                <a:gd name="connsiteY7" fmla="*/ 342809 h 351910"/>
                <a:gd name="connsiteX8" fmla="*/ 154719 w 154719"/>
                <a:gd name="connsiteY8" fmla="*/ 351910 h 351910"/>
                <a:gd name="connsiteX9" fmla="*/ 145618 w 154719"/>
                <a:gd name="connsiteY9" fmla="*/ 351910 h 351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4719" h="351910">
                  <a:moveTo>
                    <a:pt x="145618" y="351910"/>
                  </a:moveTo>
                  <a:cubicBezTo>
                    <a:pt x="145618" y="351910"/>
                    <a:pt x="142584" y="351910"/>
                    <a:pt x="142584" y="351910"/>
                  </a:cubicBezTo>
                  <a:cubicBezTo>
                    <a:pt x="133483" y="345843"/>
                    <a:pt x="45506" y="288202"/>
                    <a:pt x="33371" y="273034"/>
                  </a:cubicBezTo>
                  <a:cubicBezTo>
                    <a:pt x="21236" y="257865"/>
                    <a:pt x="3034" y="48539"/>
                    <a:pt x="0" y="6068"/>
                  </a:cubicBezTo>
                  <a:cubicBezTo>
                    <a:pt x="0" y="3034"/>
                    <a:pt x="3034" y="0"/>
                    <a:pt x="6067" y="0"/>
                  </a:cubicBezTo>
                  <a:cubicBezTo>
                    <a:pt x="9101" y="0"/>
                    <a:pt x="12135" y="3034"/>
                    <a:pt x="12135" y="6068"/>
                  </a:cubicBezTo>
                  <a:cubicBezTo>
                    <a:pt x="21236" y="100112"/>
                    <a:pt x="36404" y="254832"/>
                    <a:pt x="45506" y="266966"/>
                  </a:cubicBezTo>
                  <a:cubicBezTo>
                    <a:pt x="54607" y="276067"/>
                    <a:pt x="112247" y="318539"/>
                    <a:pt x="151685" y="342809"/>
                  </a:cubicBezTo>
                  <a:cubicBezTo>
                    <a:pt x="154719" y="345843"/>
                    <a:pt x="154719" y="348876"/>
                    <a:pt x="154719" y="351910"/>
                  </a:cubicBezTo>
                  <a:cubicBezTo>
                    <a:pt x="148652" y="351910"/>
                    <a:pt x="145618" y="351910"/>
                    <a:pt x="145618" y="351910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936FD91E-6D49-4D0A-AF8E-CD9172281C80}"/>
                </a:ext>
              </a:extLst>
            </p:cNvPr>
            <p:cNvSpPr/>
            <p:nvPr/>
          </p:nvSpPr>
          <p:spPr>
            <a:xfrm>
              <a:off x="8505882" y="4227257"/>
              <a:ext cx="203258" cy="221460"/>
            </a:xfrm>
            <a:custGeom>
              <a:avLst/>
              <a:gdLst>
                <a:gd name="connsiteX0" fmla="*/ 166854 w 203258"/>
                <a:gd name="connsiteY0" fmla="*/ 221461 h 221460"/>
                <a:gd name="connsiteX1" fmla="*/ 163821 w 203258"/>
                <a:gd name="connsiteY1" fmla="*/ 221461 h 221460"/>
                <a:gd name="connsiteX2" fmla="*/ 0 w 203258"/>
                <a:gd name="connsiteY2" fmla="*/ 21236 h 221460"/>
                <a:gd name="connsiteX3" fmla="*/ 0 w 203258"/>
                <a:gd name="connsiteY3" fmla="*/ 18202 h 221460"/>
                <a:gd name="connsiteX4" fmla="*/ 3034 w 203258"/>
                <a:gd name="connsiteY4" fmla="*/ 15169 h 221460"/>
                <a:gd name="connsiteX5" fmla="*/ 48540 w 203258"/>
                <a:gd name="connsiteY5" fmla="*/ 0 h 221460"/>
                <a:gd name="connsiteX6" fmla="*/ 54607 w 203258"/>
                <a:gd name="connsiteY6" fmla="*/ 3034 h 221460"/>
                <a:gd name="connsiteX7" fmla="*/ 200225 w 203258"/>
                <a:gd name="connsiteY7" fmla="*/ 182022 h 221460"/>
                <a:gd name="connsiteX8" fmla="*/ 203258 w 203258"/>
                <a:gd name="connsiteY8" fmla="*/ 185056 h 221460"/>
                <a:gd name="connsiteX9" fmla="*/ 203258 w 203258"/>
                <a:gd name="connsiteY9" fmla="*/ 188090 h 221460"/>
                <a:gd name="connsiteX10" fmla="*/ 172921 w 203258"/>
                <a:gd name="connsiteY10" fmla="*/ 221461 h 221460"/>
                <a:gd name="connsiteX11" fmla="*/ 166854 w 203258"/>
                <a:gd name="connsiteY11" fmla="*/ 221461 h 221460"/>
                <a:gd name="connsiteX12" fmla="*/ 12135 w 203258"/>
                <a:gd name="connsiteY12" fmla="*/ 18202 h 221460"/>
                <a:gd name="connsiteX13" fmla="*/ 166854 w 203258"/>
                <a:gd name="connsiteY13" fmla="*/ 206292 h 221460"/>
                <a:gd name="connsiteX14" fmla="*/ 191124 w 203258"/>
                <a:gd name="connsiteY14" fmla="*/ 182022 h 221460"/>
                <a:gd name="connsiteX15" fmla="*/ 48540 w 203258"/>
                <a:gd name="connsiteY15" fmla="*/ 6068 h 221460"/>
                <a:gd name="connsiteX16" fmla="*/ 12135 w 203258"/>
                <a:gd name="connsiteY16" fmla="*/ 18202 h 22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58" h="221460">
                  <a:moveTo>
                    <a:pt x="166854" y="221461"/>
                  </a:moveTo>
                  <a:cubicBezTo>
                    <a:pt x="166854" y="221461"/>
                    <a:pt x="163821" y="221461"/>
                    <a:pt x="163821" y="221461"/>
                  </a:cubicBezTo>
                  <a:cubicBezTo>
                    <a:pt x="157753" y="218427"/>
                    <a:pt x="33371" y="112247"/>
                    <a:pt x="0" y="21236"/>
                  </a:cubicBezTo>
                  <a:cubicBezTo>
                    <a:pt x="0" y="21236"/>
                    <a:pt x="0" y="18202"/>
                    <a:pt x="0" y="18202"/>
                  </a:cubicBezTo>
                  <a:cubicBezTo>
                    <a:pt x="0" y="18202"/>
                    <a:pt x="3034" y="15169"/>
                    <a:pt x="3034" y="15169"/>
                  </a:cubicBezTo>
                  <a:lnTo>
                    <a:pt x="48540" y="0"/>
                  </a:lnTo>
                  <a:cubicBezTo>
                    <a:pt x="51573" y="0"/>
                    <a:pt x="54607" y="0"/>
                    <a:pt x="54607" y="3034"/>
                  </a:cubicBezTo>
                  <a:cubicBezTo>
                    <a:pt x="54607" y="3034"/>
                    <a:pt x="115281" y="112247"/>
                    <a:pt x="200225" y="182022"/>
                  </a:cubicBezTo>
                  <a:cubicBezTo>
                    <a:pt x="200225" y="182022"/>
                    <a:pt x="203258" y="185056"/>
                    <a:pt x="203258" y="185056"/>
                  </a:cubicBezTo>
                  <a:cubicBezTo>
                    <a:pt x="203258" y="185056"/>
                    <a:pt x="203258" y="188090"/>
                    <a:pt x="203258" y="188090"/>
                  </a:cubicBezTo>
                  <a:lnTo>
                    <a:pt x="172921" y="221461"/>
                  </a:lnTo>
                  <a:cubicBezTo>
                    <a:pt x="169888" y="221461"/>
                    <a:pt x="169888" y="221461"/>
                    <a:pt x="166854" y="221461"/>
                  </a:cubicBezTo>
                  <a:close/>
                  <a:moveTo>
                    <a:pt x="12135" y="18202"/>
                  </a:moveTo>
                  <a:cubicBezTo>
                    <a:pt x="45506" y="97079"/>
                    <a:pt x="145618" y="188090"/>
                    <a:pt x="166854" y="206292"/>
                  </a:cubicBezTo>
                  <a:lnTo>
                    <a:pt x="191124" y="182022"/>
                  </a:lnTo>
                  <a:cubicBezTo>
                    <a:pt x="115281" y="118315"/>
                    <a:pt x="60674" y="27303"/>
                    <a:pt x="48540" y="6068"/>
                  </a:cubicBezTo>
                  <a:lnTo>
                    <a:pt x="12135" y="18202"/>
                  </a:ln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0E5D8D6A-E551-473E-A2D8-7AA09988C94E}"/>
                </a:ext>
              </a:extLst>
            </p:cNvPr>
            <p:cNvSpPr/>
            <p:nvPr/>
          </p:nvSpPr>
          <p:spPr>
            <a:xfrm>
              <a:off x="7680713" y="4230291"/>
              <a:ext cx="97078" cy="103145"/>
            </a:xfrm>
            <a:custGeom>
              <a:avLst/>
              <a:gdLst>
                <a:gd name="connsiteX0" fmla="*/ 6067 w 97078"/>
                <a:gd name="connsiteY0" fmla="*/ 103146 h 103145"/>
                <a:gd name="connsiteX1" fmla="*/ 0 w 97078"/>
                <a:gd name="connsiteY1" fmla="*/ 100112 h 103145"/>
                <a:gd name="connsiteX2" fmla="*/ 3034 w 97078"/>
                <a:gd name="connsiteY2" fmla="*/ 91011 h 103145"/>
                <a:gd name="connsiteX3" fmla="*/ 84944 w 97078"/>
                <a:gd name="connsiteY3" fmla="*/ 45506 h 103145"/>
                <a:gd name="connsiteX4" fmla="*/ 84944 w 97078"/>
                <a:gd name="connsiteY4" fmla="*/ 15169 h 103145"/>
                <a:gd name="connsiteX5" fmla="*/ 21236 w 97078"/>
                <a:gd name="connsiteY5" fmla="*/ 42472 h 103145"/>
                <a:gd name="connsiteX6" fmla="*/ 15169 w 97078"/>
                <a:gd name="connsiteY6" fmla="*/ 39438 h 103145"/>
                <a:gd name="connsiteX7" fmla="*/ 18202 w 97078"/>
                <a:gd name="connsiteY7" fmla="*/ 33371 h 103145"/>
                <a:gd name="connsiteX8" fmla="*/ 87977 w 97078"/>
                <a:gd name="connsiteY8" fmla="*/ 0 h 103145"/>
                <a:gd name="connsiteX9" fmla="*/ 94045 w 97078"/>
                <a:gd name="connsiteY9" fmla="*/ 0 h 103145"/>
                <a:gd name="connsiteX10" fmla="*/ 97079 w 97078"/>
                <a:gd name="connsiteY10" fmla="*/ 6067 h 103145"/>
                <a:gd name="connsiteX11" fmla="*/ 97079 w 97078"/>
                <a:gd name="connsiteY11" fmla="*/ 48539 h 103145"/>
                <a:gd name="connsiteX12" fmla="*/ 94045 w 97078"/>
                <a:gd name="connsiteY12" fmla="*/ 54607 h 103145"/>
                <a:gd name="connsiteX13" fmla="*/ 6067 w 97078"/>
                <a:gd name="connsiteY13" fmla="*/ 103146 h 103145"/>
                <a:gd name="connsiteX14" fmla="*/ 6067 w 97078"/>
                <a:gd name="connsiteY14" fmla="*/ 103146 h 103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7078" h="103145">
                  <a:moveTo>
                    <a:pt x="6067" y="103146"/>
                  </a:moveTo>
                  <a:cubicBezTo>
                    <a:pt x="3034" y="103146"/>
                    <a:pt x="3034" y="103146"/>
                    <a:pt x="0" y="100112"/>
                  </a:cubicBezTo>
                  <a:cubicBezTo>
                    <a:pt x="0" y="97079"/>
                    <a:pt x="0" y="94045"/>
                    <a:pt x="3034" y="91011"/>
                  </a:cubicBezTo>
                  <a:lnTo>
                    <a:pt x="84944" y="45506"/>
                  </a:lnTo>
                  <a:lnTo>
                    <a:pt x="84944" y="15169"/>
                  </a:lnTo>
                  <a:cubicBezTo>
                    <a:pt x="63708" y="27303"/>
                    <a:pt x="24270" y="42472"/>
                    <a:pt x="21236" y="42472"/>
                  </a:cubicBezTo>
                  <a:cubicBezTo>
                    <a:pt x="18202" y="42472"/>
                    <a:pt x="15169" y="42472"/>
                    <a:pt x="15169" y="39438"/>
                  </a:cubicBezTo>
                  <a:cubicBezTo>
                    <a:pt x="15169" y="36404"/>
                    <a:pt x="15169" y="33371"/>
                    <a:pt x="18202" y="33371"/>
                  </a:cubicBezTo>
                  <a:cubicBezTo>
                    <a:pt x="18202" y="33371"/>
                    <a:pt x="72809" y="9101"/>
                    <a:pt x="87977" y="0"/>
                  </a:cubicBezTo>
                  <a:cubicBezTo>
                    <a:pt x="91011" y="0"/>
                    <a:pt x="91011" y="0"/>
                    <a:pt x="94045" y="0"/>
                  </a:cubicBezTo>
                  <a:cubicBezTo>
                    <a:pt x="97079" y="0"/>
                    <a:pt x="97079" y="3034"/>
                    <a:pt x="97079" y="6067"/>
                  </a:cubicBezTo>
                  <a:lnTo>
                    <a:pt x="97079" y="48539"/>
                  </a:lnTo>
                  <a:cubicBezTo>
                    <a:pt x="97079" y="51573"/>
                    <a:pt x="97079" y="51573"/>
                    <a:pt x="94045" y="54607"/>
                  </a:cubicBezTo>
                  <a:lnTo>
                    <a:pt x="6067" y="103146"/>
                  </a:lnTo>
                  <a:cubicBezTo>
                    <a:pt x="9101" y="103146"/>
                    <a:pt x="9101" y="103146"/>
                    <a:pt x="6067" y="103146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7800E3D6-C091-4D4B-AD69-EC20523B0AFC}"/>
                </a:ext>
              </a:extLst>
            </p:cNvPr>
            <p:cNvSpPr/>
            <p:nvPr/>
          </p:nvSpPr>
          <p:spPr>
            <a:xfrm>
              <a:off x="6976893" y="2906088"/>
              <a:ext cx="916282" cy="957328"/>
            </a:xfrm>
            <a:custGeom>
              <a:avLst/>
              <a:gdLst>
                <a:gd name="connsiteX0" fmla="*/ 858539 w 916282"/>
                <a:gd name="connsiteY0" fmla="*/ 10608 h 957328"/>
                <a:gd name="connsiteX1" fmla="*/ 524832 w 916282"/>
                <a:gd name="connsiteY1" fmla="*/ 250271 h 957328"/>
                <a:gd name="connsiteX2" fmla="*/ 388315 w 916282"/>
                <a:gd name="connsiteY2" fmla="*/ 674990 h 957328"/>
                <a:gd name="connsiteX3" fmla="*/ 115281 w 916282"/>
                <a:gd name="connsiteY3" fmla="*/ 371619 h 957328"/>
                <a:gd name="connsiteX4" fmla="*/ 0 w 916282"/>
                <a:gd name="connsiteY4" fmla="*/ 335215 h 957328"/>
                <a:gd name="connsiteX5" fmla="*/ 379214 w 916282"/>
                <a:gd name="connsiteY5" fmla="*/ 957125 h 957328"/>
                <a:gd name="connsiteX6" fmla="*/ 858539 w 916282"/>
                <a:gd name="connsiteY6" fmla="*/ 10608 h 957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6282" h="957328">
                  <a:moveTo>
                    <a:pt x="858539" y="10608"/>
                  </a:moveTo>
                  <a:cubicBezTo>
                    <a:pt x="755393" y="-47033"/>
                    <a:pt x="558202" y="144091"/>
                    <a:pt x="524832" y="250271"/>
                  </a:cubicBezTo>
                  <a:cubicBezTo>
                    <a:pt x="479326" y="386788"/>
                    <a:pt x="388315" y="674990"/>
                    <a:pt x="388315" y="674990"/>
                  </a:cubicBezTo>
                  <a:lnTo>
                    <a:pt x="115281" y="371619"/>
                  </a:lnTo>
                  <a:lnTo>
                    <a:pt x="0" y="335215"/>
                  </a:lnTo>
                  <a:cubicBezTo>
                    <a:pt x="0" y="335215"/>
                    <a:pt x="266966" y="944990"/>
                    <a:pt x="379214" y="957125"/>
                  </a:cubicBezTo>
                  <a:cubicBezTo>
                    <a:pt x="567303" y="972293"/>
                    <a:pt x="1089101" y="138023"/>
                    <a:pt x="858539" y="10608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D51E23A2-1990-4F18-87B0-38AA5BDEA186}"/>
                </a:ext>
              </a:extLst>
            </p:cNvPr>
            <p:cNvSpPr/>
            <p:nvPr/>
          </p:nvSpPr>
          <p:spPr>
            <a:xfrm>
              <a:off x="7471388" y="2744941"/>
              <a:ext cx="471221" cy="608608"/>
            </a:xfrm>
            <a:custGeom>
              <a:avLst/>
              <a:gdLst>
                <a:gd name="connsiteX0" fmla="*/ 370112 w 471221"/>
                <a:gd name="connsiteY0" fmla="*/ 608609 h 608608"/>
                <a:gd name="connsiteX1" fmla="*/ 430786 w 471221"/>
                <a:gd name="connsiteY1" fmla="*/ 14002 h 608608"/>
                <a:gd name="connsiteX2" fmla="*/ 0 w 471221"/>
                <a:gd name="connsiteY2" fmla="*/ 411418 h 608608"/>
                <a:gd name="connsiteX3" fmla="*/ 370112 w 471221"/>
                <a:gd name="connsiteY3" fmla="*/ 608609 h 608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221" h="608608">
                  <a:moveTo>
                    <a:pt x="370112" y="608609"/>
                  </a:moveTo>
                  <a:cubicBezTo>
                    <a:pt x="370112" y="608609"/>
                    <a:pt x="549101" y="101979"/>
                    <a:pt x="430786" y="14002"/>
                  </a:cubicBezTo>
                  <a:cubicBezTo>
                    <a:pt x="294270" y="-89144"/>
                    <a:pt x="0" y="411418"/>
                    <a:pt x="0" y="411418"/>
                  </a:cubicBezTo>
                  <a:cubicBezTo>
                    <a:pt x="0" y="411418"/>
                    <a:pt x="160786" y="572204"/>
                    <a:pt x="370112" y="608609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65FDBF76-9E65-427A-ADEB-840D4D1FD884}"/>
                </a:ext>
              </a:extLst>
            </p:cNvPr>
            <p:cNvSpPr/>
            <p:nvPr/>
          </p:nvSpPr>
          <p:spPr>
            <a:xfrm>
              <a:off x="8087230" y="2485909"/>
              <a:ext cx="248764" cy="256965"/>
            </a:xfrm>
            <a:custGeom>
              <a:avLst/>
              <a:gdLst>
                <a:gd name="connsiteX0" fmla="*/ 0 w 248764"/>
                <a:gd name="connsiteY0" fmla="*/ 39438 h 256965"/>
                <a:gd name="connsiteX1" fmla="*/ 6068 w 248764"/>
                <a:gd name="connsiteY1" fmla="*/ 212360 h 256965"/>
                <a:gd name="connsiteX2" fmla="*/ 248764 w 248764"/>
                <a:gd name="connsiteY2" fmla="*/ 203258 h 256965"/>
                <a:gd name="connsiteX3" fmla="*/ 233596 w 248764"/>
                <a:gd name="connsiteY3" fmla="*/ 0 h 256965"/>
                <a:gd name="connsiteX4" fmla="*/ 0 w 248764"/>
                <a:gd name="connsiteY4" fmla="*/ 39438 h 25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764" h="256965">
                  <a:moveTo>
                    <a:pt x="0" y="39438"/>
                  </a:moveTo>
                  <a:cubicBezTo>
                    <a:pt x="0" y="39438"/>
                    <a:pt x="6068" y="139551"/>
                    <a:pt x="6068" y="212360"/>
                  </a:cubicBezTo>
                  <a:cubicBezTo>
                    <a:pt x="6068" y="212360"/>
                    <a:pt x="100112" y="318539"/>
                    <a:pt x="248764" y="203258"/>
                  </a:cubicBezTo>
                  <a:cubicBezTo>
                    <a:pt x="248764" y="142584"/>
                    <a:pt x="236629" y="63708"/>
                    <a:pt x="233596" y="0"/>
                  </a:cubicBezTo>
                  <a:cubicBezTo>
                    <a:pt x="236629" y="0"/>
                    <a:pt x="51573" y="51573"/>
                    <a:pt x="0" y="39438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4" name="任意多边形: 形状 193">
              <a:extLst>
                <a:ext uri="{FF2B5EF4-FFF2-40B4-BE49-F238E27FC236}">
                  <a16:creationId xmlns:a16="http://schemas.microsoft.com/office/drawing/2014/main" id="{7687E639-A463-43D4-88DE-4C2EC3D20752}"/>
                </a:ext>
              </a:extLst>
            </p:cNvPr>
            <p:cNvSpPr/>
            <p:nvPr/>
          </p:nvSpPr>
          <p:spPr>
            <a:xfrm>
              <a:off x="8357230" y="2367594"/>
              <a:ext cx="69775" cy="136516"/>
            </a:xfrm>
            <a:custGeom>
              <a:avLst/>
              <a:gdLst>
                <a:gd name="connsiteX0" fmla="*/ 69775 w 69775"/>
                <a:gd name="connsiteY0" fmla="*/ 0 h 136516"/>
                <a:gd name="connsiteX1" fmla="*/ 3033 w 69775"/>
                <a:gd name="connsiteY1" fmla="*/ 136517 h 136516"/>
                <a:gd name="connsiteX2" fmla="*/ 0 w 69775"/>
                <a:gd name="connsiteY2" fmla="*/ 51573 h 136516"/>
                <a:gd name="connsiteX3" fmla="*/ 69775 w 69775"/>
                <a:gd name="connsiteY3" fmla="*/ 0 h 13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75" h="136516">
                  <a:moveTo>
                    <a:pt x="69775" y="0"/>
                  </a:moveTo>
                  <a:cubicBezTo>
                    <a:pt x="69775" y="0"/>
                    <a:pt x="54607" y="118315"/>
                    <a:pt x="3033" y="136517"/>
                  </a:cubicBezTo>
                  <a:lnTo>
                    <a:pt x="0" y="51573"/>
                  </a:lnTo>
                  <a:lnTo>
                    <a:pt x="69775" y="0"/>
                  </a:ln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5" name="任意多边形: 形状 194">
              <a:extLst>
                <a:ext uri="{FF2B5EF4-FFF2-40B4-BE49-F238E27FC236}">
                  <a16:creationId xmlns:a16="http://schemas.microsoft.com/office/drawing/2014/main" id="{CC421120-59A2-46D0-9328-EADB2B0107F1}"/>
                </a:ext>
              </a:extLst>
            </p:cNvPr>
            <p:cNvSpPr/>
            <p:nvPr/>
          </p:nvSpPr>
          <p:spPr>
            <a:xfrm>
              <a:off x="7970384" y="2158269"/>
              <a:ext cx="102127" cy="236641"/>
            </a:xfrm>
            <a:custGeom>
              <a:avLst/>
              <a:gdLst>
                <a:gd name="connsiteX0" fmla="*/ 7633 w 102127"/>
                <a:gd name="connsiteY0" fmla="*/ 0 h 236641"/>
                <a:gd name="connsiteX1" fmla="*/ 47071 w 102127"/>
                <a:gd name="connsiteY1" fmla="*/ 233596 h 236641"/>
                <a:gd name="connsiteX2" fmla="*/ 101678 w 102127"/>
                <a:gd name="connsiteY2" fmla="*/ 15169 h 236641"/>
                <a:gd name="connsiteX3" fmla="*/ 7633 w 102127"/>
                <a:gd name="connsiteY3" fmla="*/ 0 h 236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127" h="236641">
                  <a:moveTo>
                    <a:pt x="7633" y="0"/>
                  </a:moveTo>
                  <a:cubicBezTo>
                    <a:pt x="7633" y="0"/>
                    <a:pt x="-25738" y="194157"/>
                    <a:pt x="47071" y="233596"/>
                  </a:cubicBezTo>
                  <a:cubicBezTo>
                    <a:pt x="110779" y="266966"/>
                    <a:pt x="101678" y="15169"/>
                    <a:pt x="101678" y="15169"/>
                  </a:cubicBezTo>
                  <a:lnTo>
                    <a:pt x="7633" y="0"/>
                  </a:ln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6" name="任意多边形: 形状 195">
              <a:extLst>
                <a:ext uri="{FF2B5EF4-FFF2-40B4-BE49-F238E27FC236}">
                  <a16:creationId xmlns:a16="http://schemas.microsoft.com/office/drawing/2014/main" id="{2177C746-056F-4C05-9479-6B1F94F032F5}"/>
                </a:ext>
              </a:extLst>
            </p:cNvPr>
            <p:cNvSpPr/>
            <p:nvPr/>
          </p:nvSpPr>
          <p:spPr>
            <a:xfrm>
              <a:off x="8005710" y="2023878"/>
              <a:ext cx="421295" cy="565777"/>
            </a:xfrm>
            <a:custGeom>
              <a:avLst/>
              <a:gdLst>
                <a:gd name="connsiteX0" fmla="*/ 11745 w 421295"/>
                <a:gd name="connsiteY0" fmla="*/ 179896 h 565777"/>
                <a:gd name="connsiteX1" fmla="*/ 8711 w 421295"/>
                <a:gd name="connsiteY1" fmla="*/ 428660 h 565777"/>
                <a:gd name="connsiteX2" fmla="*/ 166464 w 421295"/>
                <a:gd name="connsiteY2" fmla="*/ 565177 h 565777"/>
                <a:gd name="connsiteX3" fmla="*/ 381857 w 421295"/>
                <a:gd name="connsiteY3" fmla="*/ 425626 h 565777"/>
                <a:gd name="connsiteX4" fmla="*/ 421296 w 421295"/>
                <a:gd name="connsiteY4" fmla="*/ 201132 h 565777"/>
                <a:gd name="connsiteX5" fmla="*/ 211969 w 421295"/>
                <a:gd name="connsiteY5" fmla="*/ 907 h 565777"/>
                <a:gd name="connsiteX6" fmla="*/ 11745 w 421295"/>
                <a:gd name="connsiteY6" fmla="*/ 179896 h 565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295" h="565777">
                  <a:moveTo>
                    <a:pt x="11745" y="179896"/>
                  </a:moveTo>
                  <a:cubicBezTo>
                    <a:pt x="11745" y="179896"/>
                    <a:pt x="-12525" y="355851"/>
                    <a:pt x="8711" y="428660"/>
                  </a:cubicBezTo>
                  <a:cubicBezTo>
                    <a:pt x="26914" y="495402"/>
                    <a:pt x="114891" y="559109"/>
                    <a:pt x="166464" y="565177"/>
                  </a:cubicBezTo>
                  <a:cubicBezTo>
                    <a:pt x="233205" y="571244"/>
                    <a:pt x="351520" y="531806"/>
                    <a:pt x="381857" y="425626"/>
                  </a:cubicBezTo>
                  <a:cubicBezTo>
                    <a:pt x="403093" y="352817"/>
                    <a:pt x="421296" y="252705"/>
                    <a:pt x="421296" y="201132"/>
                  </a:cubicBezTo>
                  <a:cubicBezTo>
                    <a:pt x="421296" y="107087"/>
                    <a:pt x="393992" y="28210"/>
                    <a:pt x="211969" y="907"/>
                  </a:cubicBezTo>
                  <a:cubicBezTo>
                    <a:pt x="127026" y="-11228"/>
                    <a:pt x="32981" y="101019"/>
                    <a:pt x="11745" y="179896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7" name="任意多边形: 形状 196">
              <a:extLst>
                <a:ext uri="{FF2B5EF4-FFF2-40B4-BE49-F238E27FC236}">
                  <a16:creationId xmlns:a16="http://schemas.microsoft.com/office/drawing/2014/main" id="{9631CF24-42CC-4036-871E-575EF3659E8D}"/>
                </a:ext>
              </a:extLst>
            </p:cNvPr>
            <p:cNvSpPr/>
            <p:nvPr/>
          </p:nvSpPr>
          <p:spPr>
            <a:xfrm>
              <a:off x="8138803" y="2285684"/>
              <a:ext cx="57640" cy="136516"/>
            </a:xfrm>
            <a:custGeom>
              <a:avLst/>
              <a:gdLst>
                <a:gd name="connsiteX0" fmla="*/ 33371 w 57640"/>
                <a:gd name="connsiteY0" fmla="*/ 136517 h 136516"/>
                <a:gd name="connsiteX1" fmla="*/ 6067 w 57640"/>
                <a:gd name="connsiteY1" fmla="*/ 130449 h 136516"/>
                <a:gd name="connsiteX2" fmla="*/ 0 w 57640"/>
                <a:gd name="connsiteY2" fmla="*/ 118315 h 136516"/>
                <a:gd name="connsiteX3" fmla="*/ 18202 w 57640"/>
                <a:gd name="connsiteY3" fmla="*/ 6067 h 136516"/>
                <a:gd name="connsiteX4" fmla="*/ 24269 w 57640"/>
                <a:gd name="connsiteY4" fmla="*/ 0 h 136516"/>
                <a:gd name="connsiteX5" fmla="*/ 30337 w 57640"/>
                <a:gd name="connsiteY5" fmla="*/ 6067 h 136516"/>
                <a:gd name="connsiteX6" fmla="*/ 12135 w 57640"/>
                <a:gd name="connsiteY6" fmla="*/ 118315 h 136516"/>
                <a:gd name="connsiteX7" fmla="*/ 12135 w 57640"/>
                <a:gd name="connsiteY7" fmla="*/ 121348 h 136516"/>
                <a:gd name="connsiteX8" fmla="*/ 51573 w 57640"/>
                <a:gd name="connsiteY8" fmla="*/ 124382 h 136516"/>
                <a:gd name="connsiteX9" fmla="*/ 57640 w 57640"/>
                <a:gd name="connsiteY9" fmla="*/ 130449 h 136516"/>
                <a:gd name="connsiteX10" fmla="*/ 51573 w 57640"/>
                <a:gd name="connsiteY10" fmla="*/ 136517 h 136516"/>
                <a:gd name="connsiteX11" fmla="*/ 33371 w 57640"/>
                <a:gd name="connsiteY11" fmla="*/ 136517 h 13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640" h="136516">
                  <a:moveTo>
                    <a:pt x="33371" y="136517"/>
                  </a:moveTo>
                  <a:cubicBezTo>
                    <a:pt x="24269" y="136517"/>
                    <a:pt x="12135" y="136517"/>
                    <a:pt x="6067" y="130449"/>
                  </a:cubicBezTo>
                  <a:cubicBezTo>
                    <a:pt x="3033" y="127416"/>
                    <a:pt x="0" y="124382"/>
                    <a:pt x="0" y="118315"/>
                  </a:cubicBezTo>
                  <a:cubicBezTo>
                    <a:pt x="0" y="97079"/>
                    <a:pt x="18202" y="9101"/>
                    <a:pt x="18202" y="6067"/>
                  </a:cubicBezTo>
                  <a:cubicBezTo>
                    <a:pt x="18202" y="3034"/>
                    <a:pt x="21236" y="0"/>
                    <a:pt x="24269" y="0"/>
                  </a:cubicBezTo>
                  <a:cubicBezTo>
                    <a:pt x="27303" y="0"/>
                    <a:pt x="30337" y="3034"/>
                    <a:pt x="30337" y="6067"/>
                  </a:cubicBezTo>
                  <a:cubicBezTo>
                    <a:pt x="30337" y="6067"/>
                    <a:pt x="12135" y="97079"/>
                    <a:pt x="12135" y="118315"/>
                  </a:cubicBezTo>
                  <a:cubicBezTo>
                    <a:pt x="12135" y="118315"/>
                    <a:pt x="12135" y="121348"/>
                    <a:pt x="12135" y="121348"/>
                  </a:cubicBezTo>
                  <a:cubicBezTo>
                    <a:pt x="18202" y="127416"/>
                    <a:pt x="39438" y="124382"/>
                    <a:pt x="51573" y="124382"/>
                  </a:cubicBezTo>
                  <a:cubicBezTo>
                    <a:pt x="54606" y="124382"/>
                    <a:pt x="57640" y="127416"/>
                    <a:pt x="57640" y="130449"/>
                  </a:cubicBezTo>
                  <a:cubicBezTo>
                    <a:pt x="57640" y="133483"/>
                    <a:pt x="54606" y="136517"/>
                    <a:pt x="51573" y="136517"/>
                  </a:cubicBezTo>
                  <a:cubicBezTo>
                    <a:pt x="54606" y="133483"/>
                    <a:pt x="45506" y="136517"/>
                    <a:pt x="33371" y="136517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8" name="任意多边形: 形状 197">
              <a:extLst>
                <a:ext uri="{FF2B5EF4-FFF2-40B4-BE49-F238E27FC236}">
                  <a16:creationId xmlns:a16="http://schemas.microsoft.com/office/drawing/2014/main" id="{A9B2773A-2D00-4DA5-A848-D097B9D430D2}"/>
                </a:ext>
              </a:extLst>
            </p:cNvPr>
            <p:cNvSpPr/>
            <p:nvPr/>
          </p:nvSpPr>
          <p:spPr>
            <a:xfrm>
              <a:off x="8071467" y="2260820"/>
              <a:ext cx="40806" cy="40628"/>
            </a:xfrm>
            <a:custGeom>
              <a:avLst/>
              <a:gdLst>
                <a:gd name="connsiteX0" fmla="*/ 40033 w 40806"/>
                <a:gd name="connsiteY0" fmla="*/ 24865 h 40628"/>
                <a:gd name="connsiteX1" fmla="*/ 15764 w 40806"/>
                <a:gd name="connsiteY1" fmla="*/ 40033 h 40628"/>
                <a:gd name="connsiteX2" fmla="*/ 595 w 40806"/>
                <a:gd name="connsiteY2" fmla="*/ 15764 h 40628"/>
                <a:gd name="connsiteX3" fmla="*/ 24865 w 40806"/>
                <a:gd name="connsiteY3" fmla="*/ 595 h 40628"/>
                <a:gd name="connsiteX4" fmla="*/ 40033 w 40806"/>
                <a:gd name="connsiteY4" fmla="*/ 24865 h 4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06" h="40628">
                  <a:moveTo>
                    <a:pt x="40033" y="24865"/>
                  </a:moveTo>
                  <a:cubicBezTo>
                    <a:pt x="37000" y="33966"/>
                    <a:pt x="27899" y="43067"/>
                    <a:pt x="15764" y="40033"/>
                  </a:cubicBezTo>
                  <a:cubicBezTo>
                    <a:pt x="6663" y="37000"/>
                    <a:pt x="-2438" y="27898"/>
                    <a:pt x="595" y="15764"/>
                  </a:cubicBezTo>
                  <a:cubicBezTo>
                    <a:pt x="3629" y="6663"/>
                    <a:pt x="12730" y="-2439"/>
                    <a:pt x="24865" y="595"/>
                  </a:cubicBezTo>
                  <a:cubicBezTo>
                    <a:pt x="37000" y="3629"/>
                    <a:pt x="43067" y="15764"/>
                    <a:pt x="40033" y="24865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9" name="任意多边形: 形状 198">
              <a:extLst>
                <a:ext uri="{FF2B5EF4-FFF2-40B4-BE49-F238E27FC236}">
                  <a16:creationId xmlns:a16="http://schemas.microsoft.com/office/drawing/2014/main" id="{DA835870-B509-4062-9F5C-15C58E01AD91}"/>
                </a:ext>
              </a:extLst>
            </p:cNvPr>
            <p:cNvSpPr/>
            <p:nvPr/>
          </p:nvSpPr>
          <p:spPr>
            <a:xfrm>
              <a:off x="8253489" y="2282056"/>
              <a:ext cx="40806" cy="40628"/>
            </a:xfrm>
            <a:custGeom>
              <a:avLst/>
              <a:gdLst>
                <a:gd name="connsiteX0" fmla="*/ 40033 w 40806"/>
                <a:gd name="connsiteY0" fmla="*/ 24865 h 40628"/>
                <a:gd name="connsiteX1" fmla="*/ 15764 w 40806"/>
                <a:gd name="connsiteY1" fmla="*/ 40033 h 40628"/>
                <a:gd name="connsiteX2" fmla="*/ 595 w 40806"/>
                <a:gd name="connsiteY2" fmla="*/ 15764 h 40628"/>
                <a:gd name="connsiteX3" fmla="*/ 24865 w 40806"/>
                <a:gd name="connsiteY3" fmla="*/ 595 h 40628"/>
                <a:gd name="connsiteX4" fmla="*/ 40033 w 40806"/>
                <a:gd name="connsiteY4" fmla="*/ 24865 h 4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06" h="40628">
                  <a:moveTo>
                    <a:pt x="40033" y="24865"/>
                  </a:moveTo>
                  <a:cubicBezTo>
                    <a:pt x="37000" y="33966"/>
                    <a:pt x="27899" y="43067"/>
                    <a:pt x="15764" y="40033"/>
                  </a:cubicBezTo>
                  <a:cubicBezTo>
                    <a:pt x="6663" y="37000"/>
                    <a:pt x="-2438" y="27898"/>
                    <a:pt x="595" y="15764"/>
                  </a:cubicBezTo>
                  <a:cubicBezTo>
                    <a:pt x="3629" y="6662"/>
                    <a:pt x="12730" y="-2439"/>
                    <a:pt x="24865" y="595"/>
                  </a:cubicBezTo>
                  <a:cubicBezTo>
                    <a:pt x="37000" y="3629"/>
                    <a:pt x="43067" y="12730"/>
                    <a:pt x="40033" y="24865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0" name="任意多边形: 形状 199">
              <a:extLst>
                <a:ext uri="{FF2B5EF4-FFF2-40B4-BE49-F238E27FC236}">
                  <a16:creationId xmlns:a16="http://schemas.microsoft.com/office/drawing/2014/main" id="{0C72A27C-130B-414A-9A10-F43C4DC4E25D}"/>
                </a:ext>
              </a:extLst>
            </p:cNvPr>
            <p:cNvSpPr/>
            <p:nvPr/>
          </p:nvSpPr>
          <p:spPr>
            <a:xfrm>
              <a:off x="8048551" y="2212875"/>
              <a:ext cx="91509" cy="33370"/>
            </a:xfrm>
            <a:custGeom>
              <a:avLst/>
              <a:gdLst>
                <a:gd name="connsiteX0" fmla="*/ 8342 w 91509"/>
                <a:gd name="connsiteY0" fmla="*/ 33371 h 33370"/>
                <a:gd name="connsiteX1" fmla="*/ 2275 w 91509"/>
                <a:gd name="connsiteY1" fmla="*/ 30337 h 33370"/>
                <a:gd name="connsiteX2" fmla="*/ 2275 w 91509"/>
                <a:gd name="connsiteY2" fmla="*/ 18202 h 33370"/>
                <a:gd name="connsiteX3" fmla="*/ 87219 w 91509"/>
                <a:gd name="connsiteY3" fmla="*/ 9101 h 33370"/>
                <a:gd name="connsiteX4" fmla="*/ 90253 w 91509"/>
                <a:gd name="connsiteY4" fmla="*/ 21236 h 33370"/>
                <a:gd name="connsiteX5" fmla="*/ 78118 w 91509"/>
                <a:gd name="connsiteY5" fmla="*/ 24270 h 33370"/>
                <a:gd name="connsiteX6" fmla="*/ 11376 w 91509"/>
                <a:gd name="connsiteY6" fmla="*/ 30337 h 33370"/>
                <a:gd name="connsiteX7" fmla="*/ 8342 w 91509"/>
                <a:gd name="connsiteY7" fmla="*/ 33371 h 3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3370">
                  <a:moveTo>
                    <a:pt x="8342" y="33371"/>
                  </a:moveTo>
                  <a:cubicBezTo>
                    <a:pt x="5309" y="33371"/>
                    <a:pt x="5309" y="33371"/>
                    <a:pt x="2275" y="30337"/>
                  </a:cubicBezTo>
                  <a:cubicBezTo>
                    <a:pt x="-758" y="27303"/>
                    <a:pt x="-758" y="21236"/>
                    <a:pt x="2275" y="18202"/>
                  </a:cubicBezTo>
                  <a:cubicBezTo>
                    <a:pt x="29579" y="-9101"/>
                    <a:pt x="69017" y="0"/>
                    <a:pt x="87219" y="9101"/>
                  </a:cubicBezTo>
                  <a:cubicBezTo>
                    <a:pt x="90253" y="12135"/>
                    <a:pt x="93286" y="15169"/>
                    <a:pt x="90253" y="21236"/>
                  </a:cubicBezTo>
                  <a:cubicBezTo>
                    <a:pt x="87219" y="24270"/>
                    <a:pt x="84185" y="27303"/>
                    <a:pt x="78118" y="24270"/>
                  </a:cubicBezTo>
                  <a:cubicBezTo>
                    <a:pt x="75084" y="24270"/>
                    <a:pt x="38679" y="3034"/>
                    <a:pt x="11376" y="30337"/>
                  </a:cubicBezTo>
                  <a:cubicBezTo>
                    <a:pt x="11376" y="33371"/>
                    <a:pt x="8342" y="33371"/>
                    <a:pt x="8342" y="33371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1" name="任意多边形: 形状 200">
              <a:extLst>
                <a:ext uri="{FF2B5EF4-FFF2-40B4-BE49-F238E27FC236}">
                  <a16:creationId xmlns:a16="http://schemas.microsoft.com/office/drawing/2014/main" id="{6255C89C-7602-47E8-9EBE-D71004FDB4CF}"/>
                </a:ext>
              </a:extLst>
            </p:cNvPr>
            <p:cNvSpPr/>
            <p:nvPr/>
          </p:nvSpPr>
          <p:spPr>
            <a:xfrm>
              <a:off x="8234625" y="2216920"/>
              <a:ext cx="91509" cy="35393"/>
            </a:xfrm>
            <a:custGeom>
              <a:avLst/>
              <a:gdLst>
                <a:gd name="connsiteX0" fmla="*/ 86201 w 91509"/>
                <a:gd name="connsiteY0" fmla="*/ 35393 h 35393"/>
                <a:gd name="connsiteX1" fmla="*/ 80133 w 91509"/>
                <a:gd name="connsiteY1" fmla="*/ 32360 h 35393"/>
                <a:gd name="connsiteX2" fmla="*/ 13391 w 91509"/>
                <a:gd name="connsiteY2" fmla="*/ 26292 h 35393"/>
                <a:gd name="connsiteX3" fmla="*/ 1257 w 91509"/>
                <a:gd name="connsiteY3" fmla="*/ 23258 h 35393"/>
                <a:gd name="connsiteX4" fmla="*/ 4290 w 91509"/>
                <a:gd name="connsiteY4" fmla="*/ 11124 h 35393"/>
                <a:gd name="connsiteX5" fmla="*/ 89234 w 91509"/>
                <a:gd name="connsiteY5" fmla="*/ 20225 h 35393"/>
                <a:gd name="connsiteX6" fmla="*/ 89234 w 91509"/>
                <a:gd name="connsiteY6" fmla="*/ 32360 h 35393"/>
                <a:gd name="connsiteX7" fmla="*/ 86201 w 91509"/>
                <a:gd name="connsiteY7" fmla="*/ 35393 h 35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5393">
                  <a:moveTo>
                    <a:pt x="86201" y="35393"/>
                  </a:moveTo>
                  <a:cubicBezTo>
                    <a:pt x="83167" y="35393"/>
                    <a:pt x="83167" y="35393"/>
                    <a:pt x="80133" y="32360"/>
                  </a:cubicBezTo>
                  <a:cubicBezTo>
                    <a:pt x="80133" y="32360"/>
                    <a:pt x="49796" y="2022"/>
                    <a:pt x="13391" y="26292"/>
                  </a:cubicBezTo>
                  <a:cubicBezTo>
                    <a:pt x="10358" y="29326"/>
                    <a:pt x="4290" y="26292"/>
                    <a:pt x="1257" y="23258"/>
                  </a:cubicBezTo>
                  <a:cubicBezTo>
                    <a:pt x="-1777" y="20225"/>
                    <a:pt x="1257" y="14157"/>
                    <a:pt x="4290" y="11124"/>
                  </a:cubicBezTo>
                  <a:cubicBezTo>
                    <a:pt x="40695" y="-13146"/>
                    <a:pt x="77099" y="8090"/>
                    <a:pt x="89234" y="20225"/>
                  </a:cubicBezTo>
                  <a:cubicBezTo>
                    <a:pt x="92268" y="23258"/>
                    <a:pt x="92268" y="29326"/>
                    <a:pt x="89234" y="32360"/>
                  </a:cubicBezTo>
                  <a:cubicBezTo>
                    <a:pt x="89234" y="35393"/>
                    <a:pt x="89234" y="35393"/>
                    <a:pt x="86201" y="35393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2" name="任意多边形: 形状 201">
              <a:extLst>
                <a:ext uri="{FF2B5EF4-FFF2-40B4-BE49-F238E27FC236}">
                  <a16:creationId xmlns:a16="http://schemas.microsoft.com/office/drawing/2014/main" id="{E799D639-2FD1-49D6-A878-BDDA9224D181}"/>
                </a:ext>
              </a:extLst>
            </p:cNvPr>
            <p:cNvSpPr/>
            <p:nvPr/>
          </p:nvSpPr>
          <p:spPr>
            <a:xfrm>
              <a:off x="8106191" y="2534448"/>
              <a:ext cx="231059" cy="60674"/>
            </a:xfrm>
            <a:custGeom>
              <a:avLst/>
              <a:gdLst>
                <a:gd name="connsiteX0" fmla="*/ 81152 w 231059"/>
                <a:gd name="connsiteY0" fmla="*/ 60674 h 60674"/>
                <a:gd name="connsiteX1" fmla="*/ 81152 w 231059"/>
                <a:gd name="connsiteY1" fmla="*/ 60674 h 60674"/>
                <a:gd name="connsiteX2" fmla="*/ 2275 w 231059"/>
                <a:gd name="connsiteY2" fmla="*/ 33371 h 60674"/>
                <a:gd name="connsiteX3" fmla="*/ 2275 w 231059"/>
                <a:gd name="connsiteY3" fmla="*/ 24270 h 60674"/>
                <a:gd name="connsiteX4" fmla="*/ 11376 w 231059"/>
                <a:gd name="connsiteY4" fmla="*/ 24270 h 60674"/>
                <a:gd name="connsiteX5" fmla="*/ 81152 w 231059"/>
                <a:gd name="connsiteY5" fmla="*/ 48539 h 60674"/>
                <a:gd name="connsiteX6" fmla="*/ 81152 w 231059"/>
                <a:gd name="connsiteY6" fmla="*/ 48539 h 60674"/>
                <a:gd name="connsiteX7" fmla="*/ 220702 w 231059"/>
                <a:gd name="connsiteY7" fmla="*/ 0 h 60674"/>
                <a:gd name="connsiteX8" fmla="*/ 229804 w 231059"/>
                <a:gd name="connsiteY8" fmla="*/ 3034 h 60674"/>
                <a:gd name="connsiteX9" fmla="*/ 226770 w 231059"/>
                <a:gd name="connsiteY9" fmla="*/ 12135 h 60674"/>
                <a:gd name="connsiteX10" fmla="*/ 81152 w 231059"/>
                <a:gd name="connsiteY10" fmla="*/ 60674 h 60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1059" h="60674">
                  <a:moveTo>
                    <a:pt x="81152" y="60674"/>
                  </a:moveTo>
                  <a:cubicBezTo>
                    <a:pt x="78118" y="60674"/>
                    <a:pt x="78118" y="60674"/>
                    <a:pt x="81152" y="60674"/>
                  </a:cubicBezTo>
                  <a:cubicBezTo>
                    <a:pt x="38680" y="60674"/>
                    <a:pt x="5309" y="33371"/>
                    <a:pt x="2275" y="33371"/>
                  </a:cubicBezTo>
                  <a:cubicBezTo>
                    <a:pt x="-758" y="30337"/>
                    <a:pt x="-758" y="27303"/>
                    <a:pt x="2275" y="24270"/>
                  </a:cubicBezTo>
                  <a:cubicBezTo>
                    <a:pt x="5309" y="21236"/>
                    <a:pt x="8343" y="21236"/>
                    <a:pt x="11376" y="24270"/>
                  </a:cubicBezTo>
                  <a:cubicBezTo>
                    <a:pt x="11376" y="24270"/>
                    <a:pt x="41713" y="48539"/>
                    <a:pt x="81152" y="48539"/>
                  </a:cubicBezTo>
                  <a:cubicBezTo>
                    <a:pt x="81152" y="48539"/>
                    <a:pt x="81152" y="48539"/>
                    <a:pt x="81152" y="48539"/>
                  </a:cubicBezTo>
                  <a:cubicBezTo>
                    <a:pt x="129691" y="48539"/>
                    <a:pt x="217668" y="0"/>
                    <a:pt x="220702" y="0"/>
                  </a:cubicBezTo>
                  <a:cubicBezTo>
                    <a:pt x="223736" y="0"/>
                    <a:pt x="226770" y="0"/>
                    <a:pt x="229804" y="3034"/>
                  </a:cubicBezTo>
                  <a:cubicBezTo>
                    <a:pt x="232837" y="6067"/>
                    <a:pt x="229804" y="9101"/>
                    <a:pt x="226770" y="12135"/>
                  </a:cubicBezTo>
                  <a:cubicBezTo>
                    <a:pt x="220702" y="12135"/>
                    <a:pt x="132724" y="60674"/>
                    <a:pt x="81152" y="60674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3" name="任意多边形: 形状 202">
              <a:extLst>
                <a:ext uri="{FF2B5EF4-FFF2-40B4-BE49-F238E27FC236}">
                  <a16:creationId xmlns:a16="http://schemas.microsoft.com/office/drawing/2014/main" id="{90736D48-8882-4C4F-898A-8EFAFC8979F6}"/>
                </a:ext>
              </a:extLst>
            </p:cNvPr>
            <p:cNvSpPr/>
            <p:nvPr/>
          </p:nvSpPr>
          <p:spPr>
            <a:xfrm>
              <a:off x="8354196" y="2046021"/>
              <a:ext cx="112561" cy="266966"/>
            </a:xfrm>
            <a:custGeom>
              <a:avLst/>
              <a:gdLst>
                <a:gd name="connsiteX0" fmla="*/ 0 w 112561"/>
                <a:gd name="connsiteY0" fmla="*/ 127416 h 266966"/>
                <a:gd name="connsiteX1" fmla="*/ 48540 w 112561"/>
                <a:gd name="connsiteY1" fmla="*/ 266966 h 266966"/>
                <a:gd name="connsiteX2" fmla="*/ 106180 w 112561"/>
                <a:gd name="connsiteY2" fmla="*/ 166854 h 266966"/>
                <a:gd name="connsiteX3" fmla="*/ 48540 w 112561"/>
                <a:gd name="connsiteY3" fmla="*/ 0 h 266966"/>
                <a:gd name="connsiteX4" fmla="*/ 0 w 112561"/>
                <a:gd name="connsiteY4" fmla="*/ 127416 h 266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561" h="266966">
                  <a:moveTo>
                    <a:pt x="0" y="127416"/>
                  </a:moveTo>
                  <a:cubicBezTo>
                    <a:pt x="0" y="127416"/>
                    <a:pt x="54607" y="236629"/>
                    <a:pt x="48540" y="266966"/>
                  </a:cubicBezTo>
                  <a:cubicBezTo>
                    <a:pt x="48540" y="266966"/>
                    <a:pt x="91011" y="221461"/>
                    <a:pt x="106180" y="166854"/>
                  </a:cubicBezTo>
                  <a:cubicBezTo>
                    <a:pt x="121348" y="109213"/>
                    <a:pt x="112247" y="15169"/>
                    <a:pt x="48540" y="0"/>
                  </a:cubicBezTo>
                  <a:cubicBezTo>
                    <a:pt x="48540" y="3034"/>
                    <a:pt x="39438" y="109213"/>
                    <a:pt x="0" y="127416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4" name="任意多边形: 形状 203">
              <a:extLst>
                <a:ext uri="{FF2B5EF4-FFF2-40B4-BE49-F238E27FC236}">
                  <a16:creationId xmlns:a16="http://schemas.microsoft.com/office/drawing/2014/main" id="{39F3941F-9F9D-4385-8D62-55C1F8288080}"/>
                </a:ext>
              </a:extLst>
            </p:cNvPr>
            <p:cNvSpPr/>
            <p:nvPr/>
          </p:nvSpPr>
          <p:spPr>
            <a:xfrm>
              <a:off x="7977412" y="1931269"/>
              <a:ext cx="435221" cy="348347"/>
            </a:xfrm>
            <a:custGeom>
              <a:avLst/>
              <a:gdLst>
                <a:gd name="connsiteX0" fmla="*/ 376784 w 435221"/>
                <a:gd name="connsiteY0" fmla="*/ 242168 h 348347"/>
                <a:gd name="connsiteX1" fmla="*/ 255436 w 435221"/>
                <a:gd name="connsiteY1" fmla="*/ 202730 h 348347"/>
                <a:gd name="connsiteX2" fmla="*/ 15773 w 435221"/>
                <a:gd name="connsiteY2" fmla="*/ 348348 h 348347"/>
                <a:gd name="connsiteX3" fmla="*/ 12739 w 435221"/>
                <a:gd name="connsiteY3" fmla="*/ 181494 h 348347"/>
                <a:gd name="connsiteX4" fmla="*/ 103750 w 435221"/>
                <a:gd name="connsiteY4" fmla="*/ 32842 h 348347"/>
                <a:gd name="connsiteX5" fmla="*/ 303975 w 435221"/>
                <a:gd name="connsiteY5" fmla="*/ 17674 h 348347"/>
                <a:gd name="connsiteX6" fmla="*/ 425324 w 435221"/>
                <a:gd name="connsiteY6" fmla="*/ 111719 h 348347"/>
                <a:gd name="connsiteX7" fmla="*/ 376784 w 435221"/>
                <a:gd name="connsiteY7" fmla="*/ 242168 h 348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5221" h="348347">
                  <a:moveTo>
                    <a:pt x="376784" y="242168"/>
                  </a:moveTo>
                  <a:cubicBezTo>
                    <a:pt x="376784" y="242168"/>
                    <a:pt x="282739" y="202730"/>
                    <a:pt x="255436" y="202730"/>
                  </a:cubicBezTo>
                  <a:cubicBezTo>
                    <a:pt x="155323" y="205764"/>
                    <a:pt x="605" y="275539"/>
                    <a:pt x="15773" y="348348"/>
                  </a:cubicBezTo>
                  <a:cubicBezTo>
                    <a:pt x="15773" y="348348"/>
                    <a:pt x="-17598" y="245202"/>
                    <a:pt x="12739" y="181494"/>
                  </a:cubicBezTo>
                  <a:cubicBezTo>
                    <a:pt x="12739" y="181494"/>
                    <a:pt x="12739" y="57112"/>
                    <a:pt x="103750" y="32842"/>
                  </a:cubicBezTo>
                  <a:cubicBezTo>
                    <a:pt x="194762" y="8573"/>
                    <a:pt x="234200" y="-18731"/>
                    <a:pt x="303975" y="17674"/>
                  </a:cubicBezTo>
                  <a:cubicBezTo>
                    <a:pt x="373751" y="57112"/>
                    <a:pt x="419256" y="75314"/>
                    <a:pt x="425324" y="111719"/>
                  </a:cubicBezTo>
                  <a:cubicBezTo>
                    <a:pt x="425324" y="117786"/>
                    <a:pt x="467795" y="230033"/>
                    <a:pt x="376784" y="242168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5" name="任意多边形: 形状 204">
              <a:extLst>
                <a:ext uri="{FF2B5EF4-FFF2-40B4-BE49-F238E27FC236}">
                  <a16:creationId xmlns:a16="http://schemas.microsoft.com/office/drawing/2014/main" id="{0327864D-DB6E-49FC-90AD-87E72597B4E0}"/>
                </a:ext>
              </a:extLst>
            </p:cNvPr>
            <p:cNvSpPr/>
            <p:nvPr/>
          </p:nvSpPr>
          <p:spPr>
            <a:xfrm>
              <a:off x="7718618" y="2649729"/>
              <a:ext cx="1029960" cy="1530148"/>
            </a:xfrm>
            <a:custGeom>
              <a:avLst/>
              <a:gdLst>
                <a:gd name="connsiteX0" fmla="*/ 635578 w 1029960"/>
                <a:gd name="connsiteY0" fmla="*/ 0 h 1530148"/>
                <a:gd name="connsiteX1" fmla="*/ 347376 w 1029960"/>
                <a:gd name="connsiteY1" fmla="*/ 0 h 1530148"/>
                <a:gd name="connsiteX2" fmla="*/ 50072 w 1029960"/>
                <a:gd name="connsiteY2" fmla="*/ 130449 h 1530148"/>
                <a:gd name="connsiteX3" fmla="*/ 1533 w 1029960"/>
                <a:gd name="connsiteY3" fmla="*/ 1525955 h 1530148"/>
                <a:gd name="connsiteX4" fmla="*/ 1029960 w 1029960"/>
                <a:gd name="connsiteY4" fmla="*/ 1504719 h 1530148"/>
                <a:gd name="connsiteX5" fmla="*/ 914679 w 1029960"/>
                <a:gd name="connsiteY5" fmla="*/ 103146 h 1530148"/>
                <a:gd name="connsiteX6" fmla="*/ 635578 w 1029960"/>
                <a:gd name="connsiteY6" fmla="*/ 0 h 1530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9960" h="1530148">
                  <a:moveTo>
                    <a:pt x="635578" y="0"/>
                  </a:moveTo>
                  <a:cubicBezTo>
                    <a:pt x="635578" y="0"/>
                    <a:pt x="462657" y="54607"/>
                    <a:pt x="347376" y="0"/>
                  </a:cubicBezTo>
                  <a:cubicBezTo>
                    <a:pt x="347376" y="0"/>
                    <a:pt x="74342" y="97079"/>
                    <a:pt x="50072" y="130449"/>
                  </a:cubicBezTo>
                  <a:cubicBezTo>
                    <a:pt x="25803" y="160787"/>
                    <a:pt x="-7568" y="1459214"/>
                    <a:pt x="1533" y="1525955"/>
                  </a:cubicBezTo>
                  <a:cubicBezTo>
                    <a:pt x="1533" y="1525955"/>
                    <a:pt x="438387" y="1544157"/>
                    <a:pt x="1029960" y="1504719"/>
                  </a:cubicBezTo>
                  <a:cubicBezTo>
                    <a:pt x="1029960" y="1149775"/>
                    <a:pt x="957151" y="133483"/>
                    <a:pt x="914679" y="103146"/>
                  </a:cubicBezTo>
                  <a:cubicBezTo>
                    <a:pt x="872207" y="69775"/>
                    <a:pt x="635578" y="0"/>
                    <a:pt x="635578" y="0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6" name="任意多边形: 形状 205">
              <a:extLst>
                <a:ext uri="{FF2B5EF4-FFF2-40B4-BE49-F238E27FC236}">
                  <a16:creationId xmlns:a16="http://schemas.microsoft.com/office/drawing/2014/main" id="{6951C97B-97DD-4553-A0EB-C3F7EE059242}"/>
                </a:ext>
              </a:extLst>
            </p:cNvPr>
            <p:cNvSpPr/>
            <p:nvPr/>
          </p:nvSpPr>
          <p:spPr>
            <a:xfrm>
              <a:off x="7732286" y="2772855"/>
              <a:ext cx="43728" cy="571593"/>
            </a:xfrm>
            <a:custGeom>
              <a:avLst/>
              <a:gdLst>
                <a:gd name="connsiteX0" fmla="*/ 6067 w 43728"/>
                <a:gd name="connsiteY0" fmla="*/ 571594 h 571593"/>
                <a:gd name="connsiteX1" fmla="*/ 6067 w 43728"/>
                <a:gd name="connsiteY1" fmla="*/ 571594 h 571593"/>
                <a:gd name="connsiteX2" fmla="*/ 0 w 43728"/>
                <a:gd name="connsiteY2" fmla="*/ 565526 h 571593"/>
                <a:gd name="connsiteX3" fmla="*/ 33371 w 43728"/>
                <a:gd name="connsiteY3" fmla="*/ 4290 h 571593"/>
                <a:gd name="connsiteX4" fmla="*/ 39438 w 43728"/>
                <a:gd name="connsiteY4" fmla="*/ 1257 h 571593"/>
                <a:gd name="connsiteX5" fmla="*/ 42472 w 43728"/>
                <a:gd name="connsiteY5" fmla="*/ 7324 h 571593"/>
                <a:gd name="connsiteX6" fmla="*/ 9101 w 43728"/>
                <a:gd name="connsiteY6" fmla="*/ 568560 h 571593"/>
                <a:gd name="connsiteX7" fmla="*/ 6067 w 43728"/>
                <a:gd name="connsiteY7" fmla="*/ 571594 h 571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728" h="571593">
                  <a:moveTo>
                    <a:pt x="6067" y="571594"/>
                  </a:moveTo>
                  <a:lnTo>
                    <a:pt x="6067" y="571594"/>
                  </a:lnTo>
                  <a:cubicBezTo>
                    <a:pt x="3034" y="571594"/>
                    <a:pt x="0" y="568560"/>
                    <a:pt x="0" y="565526"/>
                  </a:cubicBezTo>
                  <a:cubicBezTo>
                    <a:pt x="0" y="544290"/>
                    <a:pt x="24270" y="43729"/>
                    <a:pt x="33371" y="4290"/>
                  </a:cubicBezTo>
                  <a:cubicBezTo>
                    <a:pt x="33371" y="1257"/>
                    <a:pt x="36404" y="-1777"/>
                    <a:pt x="39438" y="1257"/>
                  </a:cubicBezTo>
                  <a:cubicBezTo>
                    <a:pt x="42472" y="1257"/>
                    <a:pt x="45506" y="4290"/>
                    <a:pt x="42472" y="7324"/>
                  </a:cubicBezTo>
                  <a:cubicBezTo>
                    <a:pt x="33371" y="46762"/>
                    <a:pt x="9101" y="562493"/>
                    <a:pt x="9101" y="568560"/>
                  </a:cubicBezTo>
                  <a:cubicBezTo>
                    <a:pt x="9101" y="571594"/>
                    <a:pt x="6067" y="571594"/>
                    <a:pt x="6067" y="571594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7" name="任意多边形: 形状 206">
              <a:extLst>
                <a:ext uri="{FF2B5EF4-FFF2-40B4-BE49-F238E27FC236}">
                  <a16:creationId xmlns:a16="http://schemas.microsoft.com/office/drawing/2014/main" id="{41EFAFF3-5D4D-47CB-BF27-3EE52AE1F9CC}"/>
                </a:ext>
              </a:extLst>
            </p:cNvPr>
            <p:cNvSpPr/>
            <p:nvPr/>
          </p:nvSpPr>
          <p:spPr>
            <a:xfrm>
              <a:off x="8389253" y="2282461"/>
              <a:ext cx="78236" cy="109956"/>
            </a:xfrm>
            <a:custGeom>
              <a:avLst/>
              <a:gdLst>
                <a:gd name="connsiteX0" fmla="*/ 13483 w 78236"/>
                <a:gd name="connsiteY0" fmla="*/ 15358 h 109956"/>
                <a:gd name="connsiteX1" fmla="*/ 71123 w 78236"/>
                <a:gd name="connsiteY1" fmla="*/ 6257 h 109956"/>
                <a:gd name="connsiteX2" fmla="*/ 13483 w 78236"/>
                <a:gd name="connsiteY2" fmla="*/ 106369 h 109956"/>
                <a:gd name="connsiteX3" fmla="*/ 13483 w 78236"/>
                <a:gd name="connsiteY3" fmla="*/ 15358 h 109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36" h="109956">
                  <a:moveTo>
                    <a:pt x="13483" y="15358"/>
                  </a:moveTo>
                  <a:cubicBezTo>
                    <a:pt x="13483" y="15358"/>
                    <a:pt x="46854" y="-11945"/>
                    <a:pt x="71123" y="6257"/>
                  </a:cubicBezTo>
                  <a:cubicBezTo>
                    <a:pt x="95393" y="24459"/>
                    <a:pt x="52921" y="130639"/>
                    <a:pt x="13483" y="106369"/>
                  </a:cubicBezTo>
                  <a:cubicBezTo>
                    <a:pt x="-16854" y="88167"/>
                    <a:pt x="13483" y="15358"/>
                    <a:pt x="13483" y="15358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08" name="图形 1">
              <a:extLst>
                <a:ext uri="{FF2B5EF4-FFF2-40B4-BE49-F238E27FC236}">
                  <a16:creationId xmlns:a16="http://schemas.microsoft.com/office/drawing/2014/main" id="{3B9EBF0A-0FEB-47A6-959B-C2964FB75F7C}"/>
                </a:ext>
              </a:extLst>
            </p:cNvPr>
            <p:cNvGrpSpPr/>
            <p:nvPr/>
          </p:nvGrpSpPr>
          <p:grpSpPr>
            <a:xfrm>
              <a:off x="7896107" y="1863635"/>
              <a:ext cx="591573" cy="333897"/>
              <a:chOff x="7896107" y="1863635"/>
              <a:chExt cx="591573" cy="333897"/>
            </a:xfrm>
          </p:grpSpPr>
          <p:grpSp>
            <p:nvGrpSpPr>
              <p:cNvPr id="209" name="图形 1">
                <a:extLst>
                  <a:ext uri="{FF2B5EF4-FFF2-40B4-BE49-F238E27FC236}">
                    <a16:creationId xmlns:a16="http://schemas.microsoft.com/office/drawing/2014/main" id="{3B9EBF0A-0FEB-47A6-959B-C2964FB75F7C}"/>
                  </a:ext>
                </a:extLst>
              </p:cNvPr>
              <p:cNvGrpSpPr/>
              <p:nvPr/>
            </p:nvGrpSpPr>
            <p:grpSpPr>
              <a:xfrm>
                <a:off x="7896107" y="1869202"/>
                <a:ext cx="585507" cy="328330"/>
                <a:chOff x="7896107" y="1869202"/>
                <a:chExt cx="585507" cy="328330"/>
              </a:xfrm>
              <a:solidFill>
                <a:srgbClr val="D16156"/>
              </a:solidFill>
            </p:grpSpPr>
            <p:sp>
              <p:nvSpPr>
                <p:cNvPr id="210" name="任意多边形: 形状 209">
                  <a:extLst>
                    <a:ext uri="{FF2B5EF4-FFF2-40B4-BE49-F238E27FC236}">
                      <a16:creationId xmlns:a16="http://schemas.microsoft.com/office/drawing/2014/main" id="{76C3DBAA-4588-4051-961F-990952F7ECDF}"/>
                    </a:ext>
                  </a:extLst>
                </p:cNvPr>
                <p:cNvSpPr/>
                <p:nvPr/>
              </p:nvSpPr>
              <p:spPr>
                <a:xfrm>
                  <a:off x="7984084" y="1869202"/>
                  <a:ext cx="497530" cy="275549"/>
                </a:xfrm>
                <a:custGeom>
                  <a:avLst/>
                  <a:gdLst>
                    <a:gd name="connsiteX0" fmla="*/ 0 w 497530"/>
                    <a:gd name="connsiteY0" fmla="*/ 198055 h 275549"/>
                    <a:gd name="connsiteX1" fmla="*/ 285168 w 497530"/>
                    <a:gd name="connsiteY1" fmla="*/ 3898 h 275549"/>
                    <a:gd name="connsiteX2" fmla="*/ 497528 w 497530"/>
                    <a:gd name="connsiteY2" fmla="*/ 261763 h 275549"/>
                    <a:gd name="connsiteX3" fmla="*/ 97079 w 497530"/>
                    <a:gd name="connsiteY3" fmla="*/ 252662 h 275549"/>
                    <a:gd name="connsiteX4" fmla="*/ 0 w 497530"/>
                    <a:gd name="connsiteY4" fmla="*/ 198055 h 2755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7530" h="275549">
                      <a:moveTo>
                        <a:pt x="0" y="198055"/>
                      </a:moveTo>
                      <a:cubicBezTo>
                        <a:pt x="0" y="198055"/>
                        <a:pt x="42472" y="-32506"/>
                        <a:pt x="285168" y="3898"/>
                      </a:cubicBezTo>
                      <a:cubicBezTo>
                        <a:pt x="500562" y="37269"/>
                        <a:pt x="497528" y="261763"/>
                        <a:pt x="497528" y="261763"/>
                      </a:cubicBezTo>
                      <a:cubicBezTo>
                        <a:pt x="497528" y="261763"/>
                        <a:pt x="251798" y="298168"/>
                        <a:pt x="97079" y="252662"/>
                      </a:cubicBezTo>
                      <a:cubicBezTo>
                        <a:pt x="54607" y="237494"/>
                        <a:pt x="21236" y="222325"/>
                        <a:pt x="0" y="198055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1" name="任意多边形: 形状 210">
                  <a:extLst>
                    <a:ext uri="{FF2B5EF4-FFF2-40B4-BE49-F238E27FC236}">
                      <a16:creationId xmlns:a16="http://schemas.microsoft.com/office/drawing/2014/main" id="{A1DBEA51-0C89-4DA2-BF21-8F41A74E1372}"/>
                    </a:ext>
                  </a:extLst>
                </p:cNvPr>
                <p:cNvSpPr/>
                <p:nvPr/>
              </p:nvSpPr>
              <p:spPr>
                <a:xfrm>
                  <a:off x="7896107" y="2067257"/>
                  <a:ext cx="585505" cy="130274"/>
                </a:xfrm>
                <a:custGeom>
                  <a:avLst/>
                  <a:gdLst>
                    <a:gd name="connsiteX0" fmla="*/ 585505 w 585505"/>
                    <a:gd name="connsiteY0" fmla="*/ 66742 h 130274"/>
                    <a:gd name="connsiteX1" fmla="*/ 567303 w 585505"/>
                    <a:gd name="connsiteY1" fmla="*/ 84944 h 130274"/>
                    <a:gd name="connsiteX2" fmla="*/ 330674 w 585505"/>
                    <a:gd name="connsiteY2" fmla="*/ 127416 h 130274"/>
                    <a:gd name="connsiteX3" fmla="*/ 0 w 585505"/>
                    <a:gd name="connsiteY3" fmla="*/ 60674 h 130274"/>
                    <a:gd name="connsiteX4" fmla="*/ 87977 w 585505"/>
                    <a:gd name="connsiteY4" fmla="*/ 0 h 130274"/>
                    <a:gd name="connsiteX5" fmla="*/ 585505 w 585505"/>
                    <a:gd name="connsiteY5" fmla="*/ 63708 h 130274"/>
                    <a:gd name="connsiteX6" fmla="*/ 585505 w 585505"/>
                    <a:gd name="connsiteY6" fmla="*/ 66742 h 130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85505" h="130274">
                      <a:moveTo>
                        <a:pt x="585505" y="66742"/>
                      </a:moveTo>
                      <a:cubicBezTo>
                        <a:pt x="585505" y="75843"/>
                        <a:pt x="576405" y="81910"/>
                        <a:pt x="567303" y="84944"/>
                      </a:cubicBezTo>
                      <a:cubicBezTo>
                        <a:pt x="506629" y="112247"/>
                        <a:pt x="394382" y="121348"/>
                        <a:pt x="330674" y="127416"/>
                      </a:cubicBezTo>
                      <a:cubicBezTo>
                        <a:pt x="133483" y="142584"/>
                        <a:pt x="0" y="94045"/>
                        <a:pt x="0" y="60674"/>
                      </a:cubicBezTo>
                      <a:cubicBezTo>
                        <a:pt x="0" y="27303"/>
                        <a:pt x="87977" y="0"/>
                        <a:pt x="87977" y="0"/>
                      </a:cubicBezTo>
                      <a:cubicBezTo>
                        <a:pt x="87977" y="0"/>
                        <a:pt x="142584" y="57640"/>
                        <a:pt x="585505" y="63708"/>
                      </a:cubicBezTo>
                      <a:lnTo>
                        <a:pt x="585505" y="66742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12" name="任意多边形: 形状 211">
                <a:extLst>
                  <a:ext uri="{FF2B5EF4-FFF2-40B4-BE49-F238E27FC236}">
                    <a16:creationId xmlns:a16="http://schemas.microsoft.com/office/drawing/2014/main" id="{BCE89A3C-DED3-42F0-8837-B8311C00A634}"/>
                  </a:ext>
                </a:extLst>
              </p:cNvPr>
              <p:cNvSpPr/>
              <p:nvPr/>
            </p:nvSpPr>
            <p:spPr>
              <a:xfrm>
                <a:off x="7978017" y="2061190"/>
                <a:ext cx="509663" cy="75842"/>
              </a:xfrm>
              <a:custGeom>
                <a:avLst/>
                <a:gdLst>
                  <a:gd name="connsiteX0" fmla="*/ 503595 w 509663"/>
                  <a:gd name="connsiteY0" fmla="*/ 75843 h 75842"/>
                  <a:gd name="connsiteX1" fmla="*/ 503595 w 509663"/>
                  <a:gd name="connsiteY1" fmla="*/ 75843 h 75842"/>
                  <a:gd name="connsiteX2" fmla="*/ 0 w 509663"/>
                  <a:gd name="connsiteY2" fmla="*/ 9101 h 75842"/>
                  <a:gd name="connsiteX3" fmla="*/ 3033 w 509663"/>
                  <a:gd name="connsiteY3" fmla="*/ 0 h 75842"/>
                  <a:gd name="connsiteX4" fmla="*/ 9101 w 509663"/>
                  <a:gd name="connsiteY4" fmla="*/ 3034 h 75842"/>
                  <a:gd name="connsiteX5" fmla="*/ 503595 w 509663"/>
                  <a:gd name="connsiteY5" fmla="*/ 63708 h 75842"/>
                  <a:gd name="connsiteX6" fmla="*/ 509663 w 509663"/>
                  <a:gd name="connsiteY6" fmla="*/ 69775 h 75842"/>
                  <a:gd name="connsiteX7" fmla="*/ 503595 w 509663"/>
                  <a:gd name="connsiteY7" fmla="*/ 75843 h 75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9663" h="75842">
                    <a:moveTo>
                      <a:pt x="503595" y="75843"/>
                    </a:moveTo>
                    <a:cubicBezTo>
                      <a:pt x="503595" y="75843"/>
                      <a:pt x="503595" y="75843"/>
                      <a:pt x="503595" y="75843"/>
                    </a:cubicBezTo>
                    <a:cubicBezTo>
                      <a:pt x="39438" y="54607"/>
                      <a:pt x="3033" y="15169"/>
                      <a:pt x="0" y="9101"/>
                    </a:cubicBezTo>
                    <a:cubicBezTo>
                      <a:pt x="0" y="6067"/>
                      <a:pt x="0" y="3034"/>
                      <a:pt x="3033" y="0"/>
                    </a:cubicBezTo>
                    <a:cubicBezTo>
                      <a:pt x="6067" y="0"/>
                      <a:pt x="9101" y="0"/>
                      <a:pt x="9101" y="3034"/>
                    </a:cubicBezTo>
                    <a:cubicBezTo>
                      <a:pt x="12135" y="6067"/>
                      <a:pt x="54607" y="45506"/>
                      <a:pt x="503595" y="63708"/>
                    </a:cubicBezTo>
                    <a:cubicBezTo>
                      <a:pt x="506629" y="63708"/>
                      <a:pt x="509663" y="66742"/>
                      <a:pt x="509663" y="69775"/>
                    </a:cubicBezTo>
                    <a:cubicBezTo>
                      <a:pt x="509663" y="72809"/>
                      <a:pt x="506629" y="75843"/>
                      <a:pt x="503595" y="7584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3" name="任意多边形: 形状 212">
                <a:extLst>
                  <a:ext uri="{FF2B5EF4-FFF2-40B4-BE49-F238E27FC236}">
                    <a16:creationId xmlns:a16="http://schemas.microsoft.com/office/drawing/2014/main" id="{83144954-0048-4D56-A01F-06934092F11D}"/>
                  </a:ext>
                </a:extLst>
              </p:cNvPr>
              <p:cNvSpPr/>
              <p:nvPr/>
            </p:nvSpPr>
            <p:spPr>
              <a:xfrm>
                <a:off x="8075095" y="1863635"/>
                <a:ext cx="306404" cy="255195"/>
              </a:xfrm>
              <a:custGeom>
                <a:avLst/>
                <a:gdLst>
                  <a:gd name="connsiteX0" fmla="*/ 151685 w 306404"/>
                  <a:gd name="connsiteY0" fmla="*/ 255196 h 255195"/>
                  <a:gd name="connsiteX1" fmla="*/ 151685 w 306404"/>
                  <a:gd name="connsiteY1" fmla="*/ 255196 h 255195"/>
                  <a:gd name="connsiteX2" fmla="*/ 145618 w 306404"/>
                  <a:gd name="connsiteY2" fmla="*/ 249128 h 255195"/>
                  <a:gd name="connsiteX3" fmla="*/ 288202 w 306404"/>
                  <a:gd name="connsiteY3" fmla="*/ 48903 h 255195"/>
                  <a:gd name="connsiteX4" fmla="*/ 106180 w 306404"/>
                  <a:gd name="connsiteY4" fmla="*/ 12499 h 255195"/>
                  <a:gd name="connsiteX5" fmla="*/ 12135 w 306404"/>
                  <a:gd name="connsiteY5" fmla="*/ 227892 h 255195"/>
                  <a:gd name="connsiteX6" fmla="*/ 6067 w 306404"/>
                  <a:gd name="connsiteY6" fmla="*/ 233960 h 255195"/>
                  <a:gd name="connsiteX7" fmla="*/ 6067 w 306404"/>
                  <a:gd name="connsiteY7" fmla="*/ 233960 h 255195"/>
                  <a:gd name="connsiteX8" fmla="*/ 0 w 306404"/>
                  <a:gd name="connsiteY8" fmla="*/ 227892 h 255195"/>
                  <a:gd name="connsiteX9" fmla="*/ 100112 w 306404"/>
                  <a:gd name="connsiteY9" fmla="*/ 3398 h 255195"/>
                  <a:gd name="connsiteX10" fmla="*/ 103146 w 306404"/>
                  <a:gd name="connsiteY10" fmla="*/ 3398 h 255195"/>
                  <a:gd name="connsiteX11" fmla="*/ 303371 w 306404"/>
                  <a:gd name="connsiteY11" fmla="*/ 45870 h 255195"/>
                  <a:gd name="connsiteX12" fmla="*/ 306405 w 306404"/>
                  <a:gd name="connsiteY12" fmla="*/ 51937 h 255195"/>
                  <a:gd name="connsiteX13" fmla="*/ 303371 w 306404"/>
                  <a:gd name="connsiteY13" fmla="*/ 54971 h 255195"/>
                  <a:gd name="connsiteX14" fmla="*/ 160787 w 306404"/>
                  <a:gd name="connsiteY14" fmla="*/ 252162 h 255195"/>
                  <a:gd name="connsiteX15" fmla="*/ 151685 w 306404"/>
                  <a:gd name="connsiteY15" fmla="*/ 255196 h 255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06404" h="255195">
                    <a:moveTo>
                      <a:pt x="151685" y="255196"/>
                    </a:moveTo>
                    <a:lnTo>
                      <a:pt x="151685" y="255196"/>
                    </a:lnTo>
                    <a:cubicBezTo>
                      <a:pt x="148652" y="255196"/>
                      <a:pt x="145618" y="252162"/>
                      <a:pt x="145618" y="249128"/>
                    </a:cubicBezTo>
                    <a:cubicBezTo>
                      <a:pt x="151685" y="136881"/>
                      <a:pt x="257865" y="67106"/>
                      <a:pt x="288202" y="48903"/>
                    </a:cubicBezTo>
                    <a:cubicBezTo>
                      <a:pt x="212360" y="-2670"/>
                      <a:pt x="118314" y="9465"/>
                      <a:pt x="106180" y="12499"/>
                    </a:cubicBezTo>
                    <a:cubicBezTo>
                      <a:pt x="97079" y="21600"/>
                      <a:pt x="12135" y="91375"/>
                      <a:pt x="12135" y="227892"/>
                    </a:cubicBezTo>
                    <a:cubicBezTo>
                      <a:pt x="12135" y="230926"/>
                      <a:pt x="9101" y="233960"/>
                      <a:pt x="6067" y="233960"/>
                    </a:cubicBezTo>
                    <a:lnTo>
                      <a:pt x="6067" y="233960"/>
                    </a:lnTo>
                    <a:cubicBezTo>
                      <a:pt x="3034" y="233960"/>
                      <a:pt x="0" y="230926"/>
                      <a:pt x="0" y="227892"/>
                    </a:cubicBezTo>
                    <a:cubicBezTo>
                      <a:pt x="0" y="79240"/>
                      <a:pt x="100112" y="3398"/>
                      <a:pt x="100112" y="3398"/>
                    </a:cubicBezTo>
                    <a:cubicBezTo>
                      <a:pt x="100112" y="3398"/>
                      <a:pt x="100112" y="3398"/>
                      <a:pt x="103146" y="3398"/>
                    </a:cubicBezTo>
                    <a:cubicBezTo>
                      <a:pt x="109214" y="3398"/>
                      <a:pt x="218427" y="-17838"/>
                      <a:pt x="303371" y="45870"/>
                    </a:cubicBezTo>
                    <a:cubicBezTo>
                      <a:pt x="306405" y="45870"/>
                      <a:pt x="306405" y="48903"/>
                      <a:pt x="306405" y="51937"/>
                    </a:cubicBezTo>
                    <a:cubicBezTo>
                      <a:pt x="306405" y="54971"/>
                      <a:pt x="306405" y="54971"/>
                      <a:pt x="303371" y="54971"/>
                    </a:cubicBezTo>
                    <a:cubicBezTo>
                      <a:pt x="303371" y="54971"/>
                      <a:pt x="166854" y="124746"/>
                      <a:pt x="160787" y="252162"/>
                    </a:cubicBezTo>
                    <a:cubicBezTo>
                      <a:pt x="154719" y="252162"/>
                      <a:pt x="154719" y="255196"/>
                      <a:pt x="151685" y="2551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14" name="任意多边形: 形状 213">
              <a:extLst>
                <a:ext uri="{FF2B5EF4-FFF2-40B4-BE49-F238E27FC236}">
                  <a16:creationId xmlns:a16="http://schemas.microsoft.com/office/drawing/2014/main" id="{3B320557-1395-4D8B-AC4B-47844486B6B0}"/>
                </a:ext>
              </a:extLst>
            </p:cNvPr>
            <p:cNvSpPr/>
            <p:nvPr/>
          </p:nvSpPr>
          <p:spPr>
            <a:xfrm>
              <a:off x="7714084" y="2653437"/>
              <a:ext cx="1034548" cy="1551084"/>
            </a:xfrm>
            <a:custGeom>
              <a:avLst/>
              <a:gdLst>
                <a:gd name="connsiteX0" fmla="*/ 667416 w 1034548"/>
                <a:gd name="connsiteY0" fmla="*/ 5393 h 1551084"/>
                <a:gd name="connsiteX1" fmla="*/ 579438 w 1034548"/>
                <a:gd name="connsiteY1" fmla="*/ 551460 h 1551084"/>
                <a:gd name="connsiteX2" fmla="*/ 282134 w 1034548"/>
                <a:gd name="connsiteY2" fmla="*/ 548427 h 1551084"/>
                <a:gd name="connsiteX3" fmla="*/ 270000 w 1034548"/>
                <a:gd name="connsiteY3" fmla="*/ 26629 h 1551084"/>
                <a:gd name="connsiteX4" fmla="*/ 169887 w 1034548"/>
                <a:gd name="connsiteY4" fmla="*/ 66067 h 1551084"/>
                <a:gd name="connsiteX5" fmla="*/ 160786 w 1034548"/>
                <a:gd name="connsiteY5" fmla="*/ 557528 h 1551084"/>
                <a:gd name="connsiteX6" fmla="*/ 18202 w 1034548"/>
                <a:gd name="connsiteY6" fmla="*/ 769887 h 1551084"/>
                <a:gd name="connsiteX7" fmla="*/ 0 w 1034548"/>
                <a:gd name="connsiteY7" fmla="*/ 1522247 h 1551084"/>
                <a:gd name="connsiteX8" fmla="*/ 1034494 w 1034548"/>
                <a:gd name="connsiteY8" fmla="*/ 1497977 h 1551084"/>
                <a:gd name="connsiteX9" fmla="*/ 998090 w 1034548"/>
                <a:gd name="connsiteY9" fmla="*/ 772921 h 1551084"/>
                <a:gd name="connsiteX10" fmla="*/ 725056 w 1034548"/>
                <a:gd name="connsiteY10" fmla="*/ 548427 h 1551084"/>
                <a:gd name="connsiteX11" fmla="*/ 752359 w 1034548"/>
                <a:gd name="connsiteY11" fmla="*/ 29663 h 1551084"/>
                <a:gd name="connsiteX12" fmla="*/ 667416 w 1034548"/>
                <a:gd name="connsiteY12" fmla="*/ 5393 h 1551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34548" h="1551084">
                  <a:moveTo>
                    <a:pt x="667416" y="5393"/>
                  </a:moveTo>
                  <a:cubicBezTo>
                    <a:pt x="667416" y="5393"/>
                    <a:pt x="582472" y="248090"/>
                    <a:pt x="579438" y="551460"/>
                  </a:cubicBezTo>
                  <a:cubicBezTo>
                    <a:pt x="579438" y="551460"/>
                    <a:pt x="333708" y="572696"/>
                    <a:pt x="282134" y="548427"/>
                  </a:cubicBezTo>
                  <a:cubicBezTo>
                    <a:pt x="282134" y="548427"/>
                    <a:pt x="248764" y="123708"/>
                    <a:pt x="270000" y="26629"/>
                  </a:cubicBezTo>
                  <a:cubicBezTo>
                    <a:pt x="270000" y="26629"/>
                    <a:pt x="188090" y="35730"/>
                    <a:pt x="169887" y="66067"/>
                  </a:cubicBezTo>
                  <a:cubicBezTo>
                    <a:pt x="169887" y="66067"/>
                    <a:pt x="166854" y="493820"/>
                    <a:pt x="160786" y="557528"/>
                  </a:cubicBezTo>
                  <a:cubicBezTo>
                    <a:pt x="154719" y="624269"/>
                    <a:pt x="18202" y="769887"/>
                    <a:pt x="18202" y="769887"/>
                  </a:cubicBezTo>
                  <a:lnTo>
                    <a:pt x="0" y="1522247"/>
                  </a:lnTo>
                  <a:cubicBezTo>
                    <a:pt x="0" y="1522247"/>
                    <a:pt x="706854" y="1601123"/>
                    <a:pt x="1034494" y="1497977"/>
                  </a:cubicBezTo>
                  <a:cubicBezTo>
                    <a:pt x="1034494" y="1497977"/>
                    <a:pt x="1037528" y="1070224"/>
                    <a:pt x="998090" y="772921"/>
                  </a:cubicBezTo>
                  <a:cubicBezTo>
                    <a:pt x="922247" y="769887"/>
                    <a:pt x="746292" y="675842"/>
                    <a:pt x="725056" y="548427"/>
                  </a:cubicBezTo>
                  <a:cubicBezTo>
                    <a:pt x="700786" y="421011"/>
                    <a:pt x="685618" y="157078"/>
                    <a:pt x="752359" y="29663"/>
                  </a:cubicBezTo>
                  <a:cubicBezTo>
                    <a:pt x="752359" y="32696"/>
                    <a:pt x="703820" y="-15843"/>
                    <a:pt x="667416" y="5393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5" name="任意多边形: 形状 214">
              <a:extLst>
                <a:ext uri="{FF2B5EF4-FFF2-40B4-BE49-F238E27FC236}">
                  <a16:creationId xmlns:a16="http://schemas.microsoft.com/office/drawing/2014/main" id="{A0183703-B9B6-4EDB-9344-2F282993F945}"/>
                </a:ext>
              </a:extLst>
            </p:cNvPr>
            <p:cNvSpPr/>
            <p:nvPr/>
          </p:nvSpPr>
          <p:spPr>
            <a:xfrm>
              <a:off x="7711050" y="4036134"/>
              <a:ext cx="1037528" cy="160994"/>
            </a:xfrm>
            <a:custGeom>
              <a:avLst/>
              <a:gdLst>
                <a:gd name="connsiteX0" fmla="*/ 3034 w 1037528"/>
                <a:gd name="connsiteY0" fmla="*/ 142584 h 160994"/>
                <a:gd name="connsiteX1" fmla="*/ 1037528 w 1037528"/>
                <a:gd name="connsiteY1" fmla="*/ 118315 h 160994"/>
                <a:gd name="connsiteX2" fmla="*/ 1037528 w 1037528"/>
                <a:gd name="connsiteY2" fmla="*/ 0 h 160994"/>
                <a:gd name="connsiteX3" fmla="*/ 0 w 1037528"/>
                <a:gd name="connsiteY3" fmla="*/ 33371 h 160994"/>
                <a:gd name="connsiteX4" fmla="*/ 3034 w 1037528"/>
                <a:gd name="connsiteY4" fmla="*/ 142584 h 160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7528" h="160994">
                  <a:moveTo>
                    <a:pt x="3034" y="142584"/>
                  </a:moveTo>
                  <a:cubicBezTo>
                    <a:pt x="3034" y="142584"/>
                    <a:pt x="445955" y="197191"/>
                    <a:pt x="1037528" y="118315"/>
                  </a:cubicBezTo>
                  <a:lnTo>
                    <a:pt x="1037528" y="0"/>
                  </a:lnTo>
                  <a:cubicBezTo>
                    <a:pt x="1037528" y="0"/>
                    <a:pt x="379214" y="57640"/>
                    <a:pt x="0" y="33371"/>
                  </a:cubicBezTo>
                  <a:lnTo>
                    <a:pt x="3034" y="142584"/>
                  </a:ln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16" name="图形 1">
              <a:extLst>
                <a:ext uri="{FF2B5EF4-FFF2-40B4-BE49-F238E27FC236}">
                  <a16:creationId xmlns:a16="http://schemas.microsoft.com/office/drawing/2014/main" id="{3B9EBF0A-0FEB-47A6-959B-C2964FB75F7C}"/>
                </a:ext>
              </a:extLst>
            </p:cNvPr>
            <p:cNvGrpSpPr/>
            <p:nvPr/>
          </p:nvGrpSpPr>
          <p:grpSpPr>
            <a:xfrm>
              <a:off x="8014421" y="4048269"/>
              <a:ext cx="215393" cy="163820"/>
              <a:chOff x="8014421" y="4048269"/>
              <a:chExt cx="215393" cy="163820"/>
            </a:xfrm>
          </p:grpSpPr>
          <p:sp>
            <p:nvSpPr>
              <p:cNvPr id="217" name="任意多边形: 形状 216">
                <a:extLst>
                  <a:ext uri="{FF2B5EF4-FFF2-40B4-BE49-F238E27FC236}">
                    <a16:creationId xmlns:a16="http://schemas.microsoft.com/office/drawing/2014/main" id="{85E4EA2A-FBA0-422D-9F16-A8AF784E497B}"/>
                  </a:ext>
                </a:extLst>
              </p:cNvPr>
              <p:cNvSpPr/>
              <p:nvPr/>
            </p:nvSpPr>
            <p:spPr>
              <a:xfrm>
                <a:off x="8014421" y="4048269"/>
                <a:ext cx="215393" cy="163820"/>
              </a:xfrm>
              <a:custGeom>
                <a:avLst/>
                <a:gdLst>
                  <a:gd name="connsiteX0" fmla="*/ 21236 w 215393"/>
                  <a:gd name="connsiteY0" fmla="*/ 163820 h 163820"/>
                  <a:gd name="connsiteX1" fmla="*/ 194157 w 215393"/>
                  <a:gd name="connsiteY1" fmla="*/ 163820 h 163820"/>
                  <a:gd name="connsiteX2" fmla="*/ 215393 w 215393"/>
                  <a:gd name="connsiteY2" fmla="*/ 142584 h 163820"/>
                  <a:gd name="connsiteX3" fmla="*/ 215393 w 215393"/>
                  <a:gd name="connsiteY3" fmla="*/ 21236 h 163820"/>
                  <a:gd name="connsiteX4" fmla="*/ 194157 w 215393"/>
                  <a:gd name="connsiteY4" fmla="*/ 0 h 163820"/>
                  <a:gd name="connsiteX5" fmla="*/ 21236 w 215393"/>
                  <a:gd name="connsiteY5" fmla="*/ 0 h 163820"/>
                  <a:gd name="connsiteX6" fmla="*/ 0 w 215393"/>
                  <a:gd name="connsiteY6" fmla="*/ 21236 h 163820"/>
                  <a:gd name="connsiteX7" fmla="*/ 0 w 215393"/>
                  <a:gd name="connsiteY7" fmla="*/ 142584 h 163820"/>
                  <a:gd name="connsiteX8" fmla="*/ 21236 w 215393"/>
                  <a:gd name="connsiteY8" fmla="*/ 163820 h 163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5393" h="163820">
                    <a:moveTo>
                      <a:pt x="21236" y="163820"/>
                    </a:moveTo>
                    <a:lnTo>
                      <a:pt x="194157" y="163820"/>
                    </a:lnTo>
                    <a:cubicBezTo>
                      <a:pt x="206292" y="163820"/>
                      <a:pt x="215393" y="154719"/>
                      <a:pt x="215393" y="142584"/>
                    </a:cubicBezTo>
                    <a:lnTo>
                      <a:pt x="215393" y="21236"/>
                    </a:lnTo>
                    <a:cubicBezTo>
                      <a:pt x="215393" y="9101"/>
                      <a:pt x="206292" y="0"/>
                      <a:pt x="194157" y="0"/>
                    </a:cubicBezTo>
                    <a:lnTo>
                      <a:pt x="21236" y="0"/>
                    </a:lnTo>
                    <a:cubicBezTo>
                      <a:pt x="9101" y="0"/>
                      <a:pt x="0" y="9101"/>
                      <a:pt x="0" y="21236"/>
                    </a:cubicBezTo>
                    <a:lnTo>
                      <a:pt x="0" y="142584"/>
                    </a:lnTo>
                    <a:cubicBezTo>
                      <a:pt x="0" y="154719"/>
                      <a:pt x="9101" y="163820"/>
                      <a:pt x="21236" y="16382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8" name="任意多边形: 形状 217">
                <a:extLst>
                  <a:ext uri="{FF2B5EF4-FFF2-40B4-BE49-F238E27FC236}">
                    <a16:creationId xmlns:a16="http://schemas.microsoft.com/office/drawing/2014/main" id="{BA73295C-6201-4CCA-AF57-4F35F5528CCC}"/>
                  </a:ext>
                </a:extLst>
              </p:cNvPr>
              <p:cNvSpPr/>
              <p:nvPr/>
            </p:nvSpPr>
            <p:spPr>
              <a:xfrm>
                <a:off x="8041724" y="4072538"/>
                <a:ext cx="157753" cy="118314"/>
              </a:xfrm>
              <a:custGeom>
                <a:avLst/>
                <a:gdLst>
                  <a:gd name="connsiteX0" fmla="*/ 15169 w 157753"/>
                  <a:gd name="connsiteY0" fmla="*/ 118315 h 118314"/>
                  <a:gd name="connsiteX1" fmla="*/ 142585 w 157753"/>
                  <a:gd name="connsiteY1" fmla="*/ 118315 h 118314"/>
                  <a:gd name="connsiteX2" fmla="*/ 157753 w 157753"/>
                  <a:gd name="connsiteY2" fmla="*/ 103146 h 118314"/>
                  <a:gd name="connsiteX3" fmla="*/ 157753 w 157753"/>
                  <a:gd name="connsiteY3" fmla="*/ 15169 h 118314"/>
                  <a:gd name="connsiteX4" fmla="*/ 142585 w 157753"/>
                  <a:gd name="connsiteY4" fmla="*/ 0 h 118314"/>
                  <a:gd name="connsiteX5" fmla="*/ 15169 w 157753"/>
                  <a:gd name="connsiteY5" fmla="*/ 0 h 118314"/>
                  <a:gd name="connsiteX6" fmla="*/ 0 w 157753"/>
                  <a:gd name="connsiteY6" fmla="*/ 15169 h 118314"/>
                  <a:gd name="connsiteX7" fmla="*/ 0 w 157753"/>
                  <a:gd name="connsiteY7" fmla="*/ 103146 h 118314"/>
                  <a:gd name="connsiteX8" fmla="*/ 15169 w 157753"/>
                  <a:gd name="connsiteY8" fmla="*/ 118315 h 11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753" h="118314">
                    <a:moveTo>
                      <a:pt x="15169" y="118315"/>
                    </a:moveTo>
                    <a:lnTo>
                      <a:pt x="142585" y="118315"/>
                    </a:lnTo>
                    <a:cubicBezTo>
                      <a:pt x="151685" y="118315"/>
                      <a:pt x="157753" y="112247"/>
                      <a:pt x="157753" y="103146"/>
                    </a:cubicBezTo>
                    <a:lnTo>
                      <a:pt x="157753" y="15169"/>
                    </a:lnTo>
                    <a:cubicBezTo>
                      <a:pt x="157753" y="6068"/>
                      <a:pt x="151685" y="0"/>
                      <a:pt x="142585" y="0"/>
                    </a:cubicBezTo>
                    <a:lnTo>
                      <a:pt x="15169" y="0"/>
                    </a:lnTo>
                    <a:cubicBezTo>
                      <a:pt x="6068" y="0"/>
                      <a:pt x="0" y="6068"/>
                      <a:pt x="0" y="15169"/>
                    </a:cubicBezTo>
                    <a:lnTo>
                      <a:pt x="0" y="103146"/>
                    </a:lnTo>
                    <a:cubicBezTo>
                      <a:pt x="0" y="112247"/>
                      <a:pt x="6068" y="118315"/>
                      <a:pt x="15169" y="118315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19" name="任意多边形: 形状 218">
              <a:extLst>
                <a:ext uri="{FF2B5EF4-FFF2-40B4-BE49-F238E27FC236}">
                  <a16:creationId xmlns:a16="http://schemas.microsoft.com/office/drawing/2014/main" id="{C5BB0EF8-26E0-4816-8E36-3C3F88DF1E4E}"/>
                </a:ext>
              </a:extLst>
            </p:cNvPr>
            <p:cNvSpPr/>
            <p:nvPr/>
          </p:nvSpPr>
          <p:spPr>
            <a:xfrm>
              <a:off x="7920376" y="3359617"/>
              <a:ext cx="376581" cy="288202"/>
            </a:xfrm>
            <a:custGeom>
              <a:avLst/>
              <a:gdLst>
                <a:gd name="connsiteX0" fmla="*/ 172922 w 376581"/>
                <a:gd name="connsiteY0" fmla="*/ 288202 h 288202"/>
                <a:gd name="connsiteX1" fmla="*/ 172922 w 376581"/>
                <a:gd name="connsiteY1" fmla="*/ 288202 h 288202"/>
                <a:gd name="connsiteX2" fmla="*/ 18202 w 376581"/>
                <a:gd name="connsiteY2" fmla="*/ 175955 h 288202"/>
                <a:gd name="connsiteX3" fmla="*/ 15169 w 376581"/>
                <a:gd name="connsiteY3" fmla="*/ 175955 h 288202"/>
                <a:gd name="connsiteX4" fmla="*/ 15169 w 376581"/>
                <a:gd name="connsiteY4" fmla="*/ 172921 h 288202"/>
                <a:gd name="connsiteX5" fmla="*/ 0 w 376581"/>
                <a:gd name="connsiteY5" fmla="*/ 0 h 288202"/>
                <a:gd name="connsiteX6" fmla="*/ 6068 w 376581"/>
                <a:gd name="connsiteY6" fmla="*/ 0 h 288202"/>
                <a:gd name="connsiteX7" fmla="*/ 370113 w 376581"/>
                <a:gd name="connsiteY7" fmla="*/ 0 h 288202"/>
                <a:gd name="connsiteX8" fmla="*/ 376180 w 376581"/>
                <a:gd name="connsiteY8" fmla="*/ 0 h 288202"/>
                <a:gd name="connsiteX9" fmla="*/ 376180 w 376581"/>
                <a:gd name="connsiteY9" fmla="*/ 6067 h 288202"/>
                <a:gd name="connsiteX10" fmla="*/ 364045 w 376581"/>
                <a:gd name="connsiteY10" fmla="*/ 206292 h 288202"/>
                <a:gd name="connsiteX11" fmla="*/ 364045 w 376581"/>
                <a:gd name="connsiteY11" fmla="*/ 209326 h 288202"/>
                <a:gd name="connsiteX12" fmla="*/ 361012 w 376581"/>
                <a:gd name="connsiteY12" fmla="*/ 209326 h 288202"/>
                <a:gd name="connsiteX13" fmla="*/ 172922 w 376581"/>
                <a:gd name="connsiteY13" fmla="*/ 288202 h 288202"/>
                <a:gd name="connsiteX14" fmla="*/ 172922 w 376581"/>
                <a:gd name="connsiteY14" fmla="*/ 288202 h 288202"/>
                <a:gd name="connsiteX15" fmla="*/ 27304 w 376581"/>
                <a:gd name="connsiteY15" fmla="*/ 166854 h 288202"/>
                <a:gd name="connsiteX16" fmla="*/ 169888 w 376581"/>
                <a:gd name="connsiteY16" fmla="*/ 273034 h 288202"/>
                <a:gd name="connsiteX17" fmla="*/ 351910 w 376581"/>
                <a:gd name="connsiteY17" fmla="*/ 197191 h 288202"/>
                <a:gd name="connsiteX18" fmla="*/ 364045 w 376581"/>
                <a:gd name="connsiteY18" fmla="*/ 6067 h 288202"/>
                <a:gd name="connsiteX19" fmla="*/ 12135 w 376581"/>
                <a:gd name="connsiteY19" fmla="*/ 6067 h 288202"/>
                <a:gd name="connsiteX20" fmla="*/ 27304 w 376581"/>
                <a:gd name="connsiteY20" fmla="*/ 166854 h 28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6581" h="288202">
                  <a:moveTo>
                    <a:pt x="172922" y="288202"/>
                  </a:moveTo>
                  <a:lnTo>
                    <a:pt x="172922" y="288202"/>
                  </a:lnTo>
                  <a:cubicBezTo>
                    <a:pt x="142585" y="279101"/>
                    <a:pt x="33371" y="188090"/>
                    <a:pt x="18202" y="175955"/>
                  </a:cubicBezTo>
                  <a:lnTo>
                    <a:pt x="15169" y="175955"/>
                  </a:lnTo>
                  <a:lnTo>
                    <a:pt x="15169" y="172921"/>
                  </a:lnTo>
                  <a:lnTo>
                    <a:pt x="0" y="0"/>
                  </a:lnTo>
                  <a:lnTo>
                    <a:pt x="6068" y="0"/>
                  </a:lnTo>
                  <a:cubicBezTo>
                    <a:pt x="200225" y="15169"/>
                    <a:pt x="367079" y="0"/>
                    <a:pt x="370113" y="0"/>
                  </a:cubicBezTo>
                  <a:lnTo>
                    <a:pt x="376180" y="0"/>
                  </a:lnTo>
                  <a:lnTo>
                    <a:pt x="376180" y="6067"/>
                  </a:lnTo>
                  <a:cubicBezTo>
                    <a:pt x="379214" y="78876"/>
                    <a:pt x="364045" y="206292"/>
                    <a:pt x="364045" y="206292"/>
                  </a:cubicBezTo>
                  <a:lnTo>
                    <a:pt x="364045" y="209326"/>
                  </a:lnTo>
                  <a:lnTo>
                    <a:pt x="361012" y="209326"/>
                  </a:lnTo>
                  <a:cubicBezTo>
                    <a:pt x="333708" y="221461"/>
                    <a:pt x="182022" y="285169"/>
                    <a:pt x="172922" y="288202"/>
                  </a:cubicBezTo>
                  <a:lnTo>
                    <a:pt x="172922" y="288202"/>
                  </a:lnTo>
                  <a:close/>
                  <a:moveTo>
                    <a:pt x="27304" y="166854"/>
                  </a:moveTo>
                  <a:cubicBezTo>
                    <a:pt x="60674" y="194157"/>
                    <a:pt x="148652" y="263933"/>
                    <a:pt x="169888" y="273034"/>
                  </a:cubicBezTo>
                  <a:cubicBezTo>
                    <a:pt x="188090" y="266966"/>
                    <a:pt x="321573" y="212360"/>
                    <a:pt x="351910" y="197191"/>
                  </a:cubicBezTo>
                  <a:cubicBezTo>
                    <a:pt x="354944" y="178989"/>
                    <a:pt x="367079" y="72809"/>
                    <a:pt x="364045" y="6067"/>
                  </a:cubicBezTo>
                  <a:cubicBezTo>
                    <a:pt x="333708" y="9101"/>
                    <a:pt x="182022" y="21236"/>
                    <a:pt x="12135" y="6067"/>
                  </a:cubicBezTo>
                  <a:lnTo>
                    <a:pt x="27304" y="166854"/>
                  </a:ln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0" name="任意多边形: 形状 219">
              <a:extLst>
                <a:ext uri="{FF2B5EF4-FFF2-40B4-BE49-F238E27FC236}">
                  <a16:creationId xmlns:a16="http://schemas.microsoft.com/office/drawing/2014/main" id="{40B767E8-074F-4D2B-8E47-FAFDBEE98429}"/>
                </a:ext>
              </a:extLst>
            </p:cNvPr>
            <p:cNvSpPr/>
            <p:nvPr/>
          </p:nvSpPr>
          <p:spPr>
            <a:xfrm>
              <a:off x="7186219" y="6223437"/>
              <a:ext cx="364044" cy="254831"/>
            </a:xfrm>
            <a:custGeom>
              <a:avLst/>
              <a:gdLst>
                <a:gd name="connsiteX0" fmla="*/ 364045 w 364044"/>
                <a:gd name="connsiteY0" fmla="*/ 157753 h 254831"/>
                <a:gd name="connsiteX1" fmla="*/ 309438 w 364044"/>
                <a:gd name="connsiteY1" fmla="*/ 254831 h 254831"/>
                <a:gd name="connsiteX2" fmla="*/ 0 w 364044"/>
                <a:gd name="connsiteY2" fmla="*/ 91011 h 254831"/>
                <a:gd name="connsiteX3" fmla="*/ 48540 w 364044"/>
                <a:gd name="connsiteY3" fmla="*/ 0 h 254831"/>
                <a:gd name="connsiteX4" fmla="*/ 364045 w 364044"/>
                <a:gd name="connsiteY4" fmla="*/ 157753 h 2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044" h="254831">
                  <a:moveTo>
                    <a:pt x="364045" y="157753"/>
                  </a:moveTo>
                  <a:cubicBezTo>
                    <a:pt x="364045" y="157753"/>
                    <a:pt x="342809" y="218427"/>
                    <a:pt x="309438" y="254831"/>
                  </a:cubicBezTo>
                  <a:cubicBezTo>
                    <a:pt x="309438" y="254831"/>
                    <a:pt x="127416" y="197191"/>
                    <a:pt x="0" y="91011"/>
                  </a:cubicBezTo>
                  <a:cubicBezTo>
                    <a:pt x="0" y="91011"/>
                    <a:pt x="21236" y="36404"/>
                    <a:pt x="48540" y="0"/>
                  </a:cubicBezTo>
                  <a:cubicBezTo>
                    <a:pt x="51573" y="0"/>
                    <a:pt x="266966" y="136517"/>
                    <a:pt x="364045" y="157753"/>
                  </a:cubicBezTo>
                  <a:close/>
                </a:path>
              </a:pathLst>
            </a:custGeom>
            <a:solidFill>
              <a:srgbClr val="9DB3D1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1" name="任意多边形: 形状 220">
              <a:extLst>
                <a:ext uri="{FF2B5EF4-FFF2-40B4-BE49-F238E27FC236}">
                  <a16:creationId xmlns:a16="http://schemas.microsoft.com/office/drawing/2014/main" id="{8922CAA3-F793-458F-AD14-85072E7E2348}"/>
                </a:ext>
              </a:extLst>
            </p:cNvPr>
            <p:cNvSpPr/>
            <p:nvPr/>
          </p:nvSpPr>
          <p:spPr>
            <a:xfrm>
              <a:off x="8375770" y="6350853"/>
              <a:ext cx="356966" cy="126331"/>
            </a:xfrm>
            <a:custGeom>
              <a:avLst/>
              <a:gdLst>
                <a:gd name="connsiteX0" fmla="*/ 351573 w 356966"/>
                <a:gd name="connsiteY0" fmla="*/ 0 h 126331"/>
                <a:gd name="connsiteX1" fmla="*/ 351573 w 356966"/>
                <a:gd name="connsiteY1" fmla="*/ 109214 h 126331"/>
                <a:gd name="connsiteX2" fmla="*/ 2697 w 356966"/>
                <a:gd name="connsiteY2" fmla="*/ 112247 h 126331"/>
                <a:gd name="connsiteX3" fmla="*/ 2697 w 356966"/>
                <a:gd name="connsiteY3" fmla="*/ 12135 h 126331"/>
                <a:gd name="connsiteX4" fmla="*/ 351573 w 356966"/>
                <a:gd name="connsiteY4" fmla="*/ 0 h 126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966" h="126331">
                  <a:moveTo>
                    <a:pt x="351573" y="0"/>
                  </a:moveTo>
                  <a:cubicBezTo>
                    <a:pt x="351573" y="0"/>
                    <a:pt x="363708" y="63708"/>
                    <a:pt x="351573" y="109214"/>
                  </a:cubicBezTo>
                  <a:cubicBezTo>
                    <a:pt x="351573" y="109214"/>
                    <a:pt x="163483" y="145618"/>
                    <a:pt x="2697" y="112247"/>
                  </a:cubicBezTo>
                  <a:cubicBezTo>
                    <a:pt x="2697" y="112247"/>
                    <a:pt x="-3371" y="54607"/>
                    <a:pt x="2697" y="12135"/>
                  </a:cubicBezTo>
                  <a:cubicBezTo>
                    <a:pt x="2697" y="9101"/>
                    <a:pt x="254494" y="27304"/>
                    <a:pt x="351573" y="0"/>
                  </a:cubicBezTo>
                  <a:close/>
                </a:path>
              </a:pathLst>
            </a:custGeom>
            <a:solidFill>
              <a:srgbClr val="9DB3D1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2" name="任意多边形: 形状 221">
              <a:extLst>
                <a:ext uri="{FF2B5EF4-FFF2-40B4-BE49-F238E27FC236}">
                  <a16:creationId xmlns:a16="http://schemas.microsoft.com/office/drawing/2014/main" id="{BA01935D-E947-41DE-B4B0-71DEF4DB6654}"/>
                </a:ext>
              </a:extLst>
            </p:cNvPr>
            <p:cNvSpPr/>
            <p:nvPr/>
          </p:nvSpPr>
          <p:spPr>
            <a:xfrm>
              <a:off x="8112258" y="2465432"/>
              <a:ext cx="120589" cy="32612"/>
            </a:xfrm>
            <a:custGeom>
              <a:avLst/>
              <a:gdLst>
                <a:gd name="connsiteX0" fmla="*/ 65983 w 120589"/>
                <a:gd name="connsiteY0" fmla="*/ 32612 h 32612"/>
                <a:gd name="connsiteX1" fmla="*/ 2275 w 120589"/>
                <a:gd name="connsiteY1" fmla="*/ 11376 h 32612"/>
                <a:gd name="connsiteX2" fmla="*/ 2275 w 120589"/>
                <a:gd name="connsiteY2" fmla="*/ 2275 h 32612"/>
                <a:gd name="connsiteX3" fmla="*/ 11377 w 120589"/>
                <a:gd name="connsiteY3" fmla="*/ 2275 h 32612"/>
                <a:gd name="connsiteX4" fmla="*/ 114523 w 120589"/>
                <a:gd name="connsiteY4" fmla="*/ 11376 h 32612"/>
                <a:gd name="connsiteX5" fmla="*/ 120590 w 120589"/>
                <a:gd name="connsiteY5" fmla="*/ 14410 h 32612"/>
                <a:gd name="connsiteX6" fmla="*/ 117556 w 120589"/>
                <a:gd name="connsiteY6" fmla="*/ 20477 h 32612"/>
                <a:gd name="connsiteX7" fmla="*/ 65983 w 120589"/>
                <a:gd name="connsiteY7" fmla="*/ 32612 h 32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589" h="32612">
                  <a:moveTo>
                    <a:pt x="65983" y="32612"/>
                  </a:moveTo>
                  <a:cubicBezTo>
                    <a:pt x="44747" y="32612"/>
                    <a:pt x="20477" y="29579"/>
                    <a:pt x="2275" y="11376"/>
                  </a:cubicBezTo>
                  <a:cubicBezTo>
                    <a:pt x="-758" y="8343"/>
                    <a:pt x="-758" y="5309"/>
                    <a:pt x="2275" y="2275"/>
                  </a:cubicBezTo>
                  <a:cubicBezTo>
                    <a:pt x="5309" y="-758"/>
                    <a:pt x="8343" y="-758"/>
                    <a:pt x="11377" y="2275"/>
                  </a:cubicBezTo>
                  <a:cubicBezTo>
                    <a:pt x="50814" y="32612"/>
                    <a:pt x="114523" y="11376"/>
                    <a:pt x="114523" y="11376"/>
                  </a:cubicBezTo>
                  <a:cubicBezTo>
                    <a:pt x="117556" y="11376"/>
                    <a:pt x="120590" y="11376"/>
                    <a:pt x="120590" y="14410"/>
                  </a:cubicBezTo>
                  <a:cubicBezTo>
                    <a:pt x="120590" y="17444"/>
                    <a:pt x="120590" y="20477"/>
                    <a:pt x="117556" y="20477"/>
                  </a:cubicBezTo>
                  <a:cubicBezTo>
                    <a:pt x="114523" y="26545"/>
                    <a:pt x="90253" y="32612"/>
                    <a:pt x="65983" y="32612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23" name="图形 1">
              <a:extLst>
                <a:ext uri="{FF2B5EF4-FFF2-40B4-BE49-F238E27FC236}">
                  <a16:creationId xmlns:a16="http://schemas.microsoft.com/office/drawing/2014/main" id="{3B9EBF0A-0FEB-47A6-959B-C2964FB75F7C}"/>
                </a:ext>
              </a:extLst>
            </p:cNvPr>
            <p:cNvGrpSpPr/>
            <p:nvPr/>
          </p:nvGrpSpPr>
          <p:grpSpPr>
            <a:xfrm>
              <a:off x="6042078" y="2292099"/>
              <a:ext cx="2707347" cy="2417709"/>
              <a:chOff x="6042078" y="2292099"/>
              <a:chExt cx="2707347" cy="2417709"/>
            </a:xfrm>
          </p:grpSpPr>
          <p:sp>
            <p:nvSpPr>
              <p:cNvPr id="224" name="任意多边形: 形状 223">
                <a:extLst>
                  <a:ext uri="{FF2B5EF4-FFF2-40B4-BE49-F238E27FC236}">
                    <a16:creationId xmlns:a16="http://schemas.microsoft.com/office/drawing/2014/main" id="{05C511A6-4DED-4382-B201-E52C25BD6192}"/>
                  </a:ext>
                </a:extLst>
              </p:cNvPr>
              <p:cNvSpPr/>
              <p:nvPr/>
            </p:nvSpPr>
            <p:spPr>
              <a:xfrm>
                <a:off x="6676556" y="2913662"/>
                <a:ext cx="2072869" cy="1796147"/>
              </a:xfrm>
              <a:custGeom>
                <a:avLst/>
                <a:gdLst>
                  <a:gd name="connsiteX0" fmla="*/ 2014382 w 2072869"/>
                  <a:gd name="connsiteY0" fmla="*/ 1795955 h 1796147"/>
                  <a:gd name="connsiteX1" fmla="*/ 2014382 w 2072869"/>
                  <a:gd name="connsiteY1" fmla="*/ 1795955 h 1796147"/>
                  <a:gd name="connsiteX2" fmla="*/ 2072023 w 2072869"/>
                  <a:gd name="connsiteY2" fmla="*/ 1729214 h 1796147"/>
                  <a:gd name="connsiteX3" fmla="*/ 2072023 w 2072869"/>
                  <a:gd name="connsiteY3" fmla="*/ 1729214 h 1796147"/>
                  <a:gd name="connsiteX4" fmla="*/ 57641 w 2072869"/>
                  <a:gd name="connsiteY4" fmla="*/ 0 h 1796147"/>
                  <a:gd name="connsiteX5" fmla="*/ 0 w 2072869"/>
                  <a:gd name="connsiteY5" fmla="*/ 66741 h 1796147"/>
                  <a:gd name="connsiteX6" fmla="*/ 2014382 w 2072869"/>
                  <a:gd name="connsiteY6" fmla="*/ 1795955 h 1796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72869" h="1796147">
                    <a:moveTo>
                      <a:pt x="2014382" y="1795955"/>
                    </a:moveTo>
                    <a:lnTo>
                      <a:pt x="2014382" y="1795955"/>
                    </a:lnTo>
                    <a:cubicBezTo>
                      <a:pt x="2050787" y="1798989"/>
                      <a:pt x="2078090" y="1765618"/>
                      <a:pt x="2072023" y="1729214"/>
                    </a:cubicBezTo>
                    <a:lnTo>
                      <a:pt x="2072023" y="1729214"/>
                    </a:lnTo>
                    <a:lnTo>
                      <a:pt x="57641" y="0"/>
                    </a:lnTo>
                    <a:lnTo>
                      <a:pt x="0" y="66741"/>
                    </a:lnTo>
                    <a:lnTo>
                      <a:pt x="2014382" y="1795955"/>
                    </a:lnTo>
                    <a:close/>
                  </a:path>
                </a:pathLst>
              </a:custGeom>
              <a:solidFill>
                <a:srgbClr val="F1DDBA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5" name="任意多边形: 形状 224">
                <a:extLst>
                  <a:ext uri="{FF2B5EF4-FFF2-40B4-BE49-F238E27FC236}">
                    <a16:creationId xmlns:a16="http://schemas.microsoft.com/office/drawing/2014/main" id="{4896E2DD-5651-40FE-B43B-67761EDCD318}"/>
                  </a:ext>
                </a:extLst>
              </p:cNvPr>
              <p:cNvSpPr/>
              <p:nvPr/>
            </p:nvSpPr>
            <p:spPr>
              <a:xfrm>
                <a:off x="6512919" y="2768227"/>
                <a:ext cx="318173" cy="302220"/>
              </a:xfrm>
              <a:custGeom>
                <a:avLst/>
                <a:gdLst>
                  <a:gd name="connsiteX0" fmla="*/ 260716 w 318173"/>
                  <a:gd name="connsiteY0" fmla="*/ 281952 h 302220"/>
                  <a:gd name="connsiteX1" fmla="*/ 306222 w 318173"/>
                  <a:gd name="connsiteY1" fmla="*/ 230379 h 302220"/>
                  <a:gd name="connsiteX2" fmla="*/ 300154 w 318173"/>
                  <a:gd name="connsiteY2" fmla="*/ 154536 h 302220"/>
                  <a:gd name="connsiteX3" fmla="*/ 133300 w 318173"/>
                  <a:gd name="connsiteY3" fmla="*/ 11952 h 302220"/>
                  <a:gd name="connsiteX4" fmla="*/ 57457 w 318173"/>
                  <a:gd name="connsiteY4" fmla="*/ 18019 h 302220"/>
                  <a:gd name="connsiteX5" fmla="*/ 11952 w 318173"/>
                  <a:gd name="connsiteY5" fmla="*/ 69592 h 302220"/>
                  <a:gd name="connsiteX6" fmla="*/ 18020 w 318173"/>
                  <a:gd name="connsiteY6" fmla="*/ 145435 h 302220"/>
                  <a:gd name="connsiteX7" fmla="*/ 184874 w 318173"/>
                  <a:gd name="connsiteY7" fmla="*/ 288019 h 302220"/>
                  <a:gd name="connsiteX8" fmla="*/ 260716 w 318173"/>
                  <a:gd name="connsiteY8" fmla="*/ 281952 h 302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8173" h="302220">
                    <a:moveTo>
                      <a:pt x="260716" y="281952"/>
                    </a:moveTo>
                    <a:lnTo>
                      <a:pt x="306222" y="230379"/>
                    </a:lnTo>
                    <a:cubicBezTo>
                      <a:pt x="324424" y="209143"/>
                      <a:pt x="321390" y="175772"/>
                      <a:pt x="300154" y="154536"/>
                    </a:cubicBezTo>
                    <a:lnTo>
                      <a:pt x="133300" y="11952"/>
                    </a:lnTo>
                    <a:cubicBezTo>
                      <a:pt x="112064" y="-6250"/>
                      <a:pt x="78694" y="-3217"/>
                      <a:pt x="57457" y="18019"/>
                    </a:cubicBezTo>
                    <a:lnTo>
                      <a:pt x="11952" y="69592"/>
                    </a:lnTo>
                    <a:cubicBezTo>
                      <a:pt x="-6250" y="90828"/>
                      <a:pt x="-3217" y="124199"/>
                      <a:pt x="18020" y="145435"/>
                    </a:cubicBezTo>
                    <a:lnTo>
                      <a:pt x="184874" y="288019"/>
                    </a:lnTo>
                    <a:cubicBezTo>
                      <a:pt x="209143" y="309255"/>
                      <a:pt x="242514" y="306222"/>
                      <a:pt x="260716" y="281952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6" name="任意多边形: 形状 225">
                <a:extLst>
                  <a:ext uri="{FF2B5EF4-FFF2-40B4-BE49-F238E27FC236}">
                    <a16:creationId xmlns:a16="http://schemas.microsoft.com/office/drawing/2014/main" id="{9D581ED3-0A6B-4C13-845C-B7002045BE08}"/>
                  </a:ext>
                </a:extLst>
              </p:cNvPr>
              <p:cNvSpPr/>
              <p:nvPr/>
            </p:nvSpPr>
            <p:spPr>
              <a:xfrm>
                <a:off x="6042078" y="2322089"/>
                <a:ext cx="561669" cy="610290"/>
              </a:xfrm>
              <a:custGeom>
                <a:avLst/>
                <a:gdLst>
                  <a:gd name="connsiteX0" fmla="*/ 6501 w 561669"/>
                  <a:gd name="connsiteY0" fmla="*/ 461124 h 610290"/>
                  <a:gd name="connsiteX1" fmla="*/ 400883 w 561669"/>
                  <a:gd name="connsiteY1" fmla="*/ 0 h 610290"/>
                  <a:gd name="connsiteX2" fmla="*/ 561669 w 561669"/>
                  <a:gd name="connsiteY2" fmla="*/ 139551 h 610290"/>
                  <a:gd name="connsiteX3" fmla="*/ 167287 w 561669"/>
                  <a:gd name="connsiteY3" fmla="*/ 600674 h 610290"/>
                  <a:gd name="connsiteX4" fmla="*/ 55040 w 561669"/>
                  <a:gd name="connsiteY4" fmla="*/ 567303 h 610290"/>
                  <a:gd name="connsiteX5" fmla="*/ 6501 w 561669"/>
                  <a:gd name="connsiteY5" fmla="*/ 461124 h 610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1669" h="610290">
                    <a:moveTo>
                      <a:pt x="6501" y="461124"/>
                    </a:moveTo>
                    <a:lnTo>
                      <a:pt x="400883" y="0"/>
                    </a:lnTo>
                    <a:lnTo>
                      <a:pt x="561669" y="139551"/>
                    </a:lnTo>
                    <a:lnTo>
                      <a:pt x="167287" y="600674"/>
                    </a:lnTo>
                    <a:cubicBezTo>
                      <a:pt x="149085" y="621910"/>
                      <a:pt x="100546" y="606742"/>
                      <a:pt x="55040" y="567303"/>
                    </a:cubicBezTo>
                    <a:cubicBezTo>
                      <a:pt x="9535" y="527865"/>
                      <a:pt x="-11701" y="479326"/>
                      <a:pt x="6501" y="461124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7" name="任意多边形: 形状 226">
                <a:extLst>
                  <a:ext uri="{FF2B5EF4-FFF2-40B4-BE49-F238E27FC236}">
                    <a16:creationId xmlns:a16="http://schemas.microsoft.com/office/drawing/2014/main" id="{856CFB6F-7F69-495A-B8F7-E56B012F0964}"/>
                  </a:ext>
                </a:extLst>
              </p:cNvPr>
              <p:cNvSpPr/>
              <p:nvPr/>
            </p:nvSpPr>
            <p:spPr>
              <a:xfrm>
                <a:off x="6435387" y="2312473"/>
                <a:ext cx="174438" cy="158782"/>
              </a:xfrm>
              <a:custGeom>
                <a:avLst/>
                <a:gdLst>
                  <a:gd name="connsiteX0" fmla="*/ 56113 w 174438"/>
                  <a:gd name="connsiteY0" fmla="*/ 115796 h 158782"/>
                  <a:gd name="connsiteX1" fmla="*/ 168360 w 174438"/>
                  <a:gd name="connsiteY1" fmla="*/ 149167 h 158782"/>
                  <a:gd name="connsiteX2" fmla="*/ 116787 w 174438"/>
                  <a:gd name="connsiteY2" fmla="*/ 42987 h 158782"/>
                  <a:gd name="connsiteX3" fmla="*/ 4540 w 174438"/>
                  <a:gd name="connsiteY3" fmla="*/ 9616 h 158782"/>
                  <a:gd name="connsiteX4" fmla="*/ 56113 w 174438"/>
                  <a:gd name="connsiteY4" fmla="*/ 115796 h 158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4438" h="158782">
                    <a:moveTo>
                      <a:pt x="56113" y="115796"/>
                    </a:moveTo>
                    <a:cubicBezTo>
                      <a:pt x="101618" y="155234"/>
                      <a:pt x="150157" y="170403"/>
                      <a:pt x="168360" y="149167"/>
                    </a:cubicBezTo>
                    <a:cubicBezTo>
                      <a:pt x="186562" y="127931"/>
                      <a:pt x="162292" y="82425"/>
                      <a:pt x="116787" y="42987"/>
                    </a:cubicBezTo>
                    <a:cubicBezTo>
                      <a:pt x="71281" y="3549"/>
                      <a:pt x="22742" y="-11620"/>
                      <a:pt x="4540" y="9616"/>
                    </a:cubicBezTo>
                    <a:cubicBezTo>
                      <a:pt x="-10629" y="27818"/>
                      <a:pt x="13640" y="76358"/>
                      <a:pt x="56113" y="115796"/>
                    </a:cubicBezTo>
                    <a:close/>
                  </a:path>
                </a:pathLst>
              </a:custGeom>
              <a:solidFill>
                <a:srgbClr val="627A7A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8" name="任意多边形: 形状 227">
                <a:extLst>
                  <a:ext uri="{FF2B5EF4-FFF2-40B4-BE49-F238E27FC236}">
                    <a16:creationId xmlns:a16="http://schemas.microsoft.com/office/drawing/2014/main" id="{9949FDCF-DFF2-43FB-B135-9FE263CE7063}"/>
                  </a:ext>
                </a:extLst>
              </p:cNvPr>
              <p:cNvSpPr/>
              <p:nvPr/>
            </p:nvSpPr>
            <p:spPr>
              <a:xfrm>
                <a:off x="6464544" y="2292099"/>
                <a:ext cx="296608" cy="536618"/>
              </a:xfrm>
              <a:custGeom>
                <a:avLst/>
                <a:gdLst>
                  <a:gd name="connsiteX0" fmla="*/ 69428 w 296608"/>
                  <a:gd name="connsiteY0" fmla="*/ 536619 h 536618"/>
                  <a:gd name="connsiteX1" fmla="*/ 96731 w 296608"/>
                  <a:gd name="connsiteY1" fmla="*/ 503248 h 536618"/>
                  <a:gd name="connsiteX2" fmla="*/ 57293 w 296608"/>
                  <a:gd name="connsiteY2" fmla="*/ 469877 h 536618"/>
                  <a:gd name="connsiteX3" fmla="*/ 54259 w 296608"/>
                  <a:gd name="connsiteY3" fmla="*/ 445607 h 536618"/>
                  <a:gd name="connsiteX4" fmla="*/ 287854 w 296608"/>
                  <a:gd name="connsiteY4" fmla="*/ 175608 h 536618"/>
                  <a:gd name="connsiteX5" fmla="*/ 284821 w 296608"/>
                  <a:gd name="connsiteY5" fmla="*/ 124034 h 536618"/>
                  <a:gd name="connsiteX6" fmla="*/ 151338 w 296608"/>
                  <a:gd name="connsiteY6" fmla="*/ 8754 h 536618"/>
                  <a:gd name="connsiteX7" fmla="*/ 99765 w 296608"/>
                  <a:gd name="connsiteY7" fmla="*/ 11787 h 536618"/>
                  <a:gd name="connsiteX8" fmla="*/ 39091 w 296608"/>
                  <a:gd name="connsiteY8" fmla="*/ 81563 h 536618"/>
                  <a:gd name="connsiteX9" fmla="*/ 39091 w 296608"/>
                  <a:gd name="connsiteY9" fmla="*/ 81563 h 536618"/>
                  <a:gd name="connsiteX10" fmla="*/ 72461 w 296608"/>
                  <a:gd name="connsiteY10" fmla="*/ 108866 h 536618"/>
                  <a:gd name="connsiteX11" fmla="*/ 72461 w 296608"/>
                  <a:gd name="connsiteY11" fmla="*/ 108866 h 536618"/>
                  <a:gd name="connsiteX12" fmla="*/ 117967 w 296608"/>
                  <a:gd name="connsiteY12" fmla="*/ 57293 h 536618"/>
                  <a:gd name="connsiteX13" fmla="*/ 142237 w 296608"/>
                  <a:gd name="connsiteY13" fmla="*/ 54259 h 536618"/>
                  <a:gd name="connsiteX14" fmla="*/ 239315 w 296608"/>
                  <a:gd name="connsiteY14" fmla="*/ 136169 h 536618"/>
                  <a:gd name="connsiteX15" fmla="*/ 242349 w 296608"/>
                  <a:gd name="connsiteY15" fmla="*/ 160439 h 536618"/>
                  <a:gd name="connsiteX16" fmla="*/ 8753 w 296608"/>
                  <a:gd name="connsiteY16" fmla="*/ 430439 h 536618"/>
                  <a:gd name="connsiteX17" fmla="*/ 11787 w 296608"/>
                  <a:gd name="connsiteY17" fmla="*/ 482012 h 536618"/>
                  <a:gd name="connsiteX18" fmla="*/ 69428 w 296608"/>
                  <a:gd name="connsiteY18" fmla="*/ 536619 h 536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96608" h="536618">
                    <a:moveTo>
                      <a:pt x="69428" y="536619"/>
                    </a:moveTo>
                    <a:lnTo>
                      <a:pt x="96731" y="503248"/>
                    </a:lnTo>
                    <a:lnTo>
                      <a:pt x="57293" y="469877"/>
                    </a:lnTo>
                    <a:cubicBezTo>
                      <a:pt x="51226" y="463810"/>
                      <a:pt x="48192" y="454709"/>
                      <a:pt x="54259" y="445607"/>
                    </a:cubicBezTo>
                    <a:lnTo>
                      <a:pt x="287854" y="175608"/>
                    </a:lnTo>
                    <a:cubicBezTo>
                      <a:pt x="299990" y="160439"/>
                      <a:pt x="299990" y="139203"/>
                      <a:pt x="284821" y="124034"/>
                    </a:cubicBezTo>
                    <a:lnTo>
                      <a:pt x="151338" y="8754"/>
                    </a:lnTo>
                    <a:cubicBezTo>
                      <a:pt x="136169" y="-3381"/>
                      <a:pt x="114933" y="-3381"/>
                      <a:pt x="99765" y="11787"/>
                    </a:cubicBezTo>
                    <a:lnTo>
                      <a:pt x="39091" y="81563"/>
                    </a:lnTo>
                    <a:lnTo>
                      <a:pt x="39091" y="81563"/>
                    </a:lnTo>
                    <a:cubicBezTo>
                      <a:pt x="42124" y="96731"/>
                      <a:pt x="57293" y="108866"/>
                      <a:pt x="72461" y="108866"/>
                    </a:cubicBezTo>
                    <a:lnTo>
                      <a:pt x="72461" y="108866"/>
                    </a:lnTo>
                    <a:lnTo>
                      <a:pt x="117967" y="57293"/>
                    </a:lnTo>
                    <a:cubicBezTo>
                      <a:pt x="124034" y="51226"/>
                      <a:pt x="133136" y="48192"/>
                      <a:pt x="142237" y="54259"/>
                    </a:cubicBezTo>
                    <a:lnTo>
                      <a:pt x="239315" y="136169"/>
                    </a:lnTo>
                    <a:cubicBezTo>
                      <a:pt x="245383" y="142237"/>
                      <a:pt x="248417" y="151338"/>
                      <a:pt x="242349" y="160439"/>
                    </a:cubicBezTo>
                    <a:lnTo>
                      <a:pt x="8753" y="430439"/>
                    </a:lnTo>
                    <a:cubicBezTo>
                      <a:pt x="-3381" y="445607"/>
                      <a:pt x="-3381" y="466843"/>
                      <a:pt x="11787" y="482012"/>
                    </a:cubicBezTo>
                    <a:lnTo>
                      <a:pt x="69428" y="536619"/>
                    </a:lnTo>
                    <a:close/>
                  </a:path>
                </a:pathLst>
              </a:custGeom>
              <a:solidFill>
                <a:srgbClr val="F1DDBA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29" name="任意多边形: 形状 228">
              <a:extLst>
                <a:ext uri="{FF2B5EF4-FFF2-40B4-BE49-F238E27FC236}">
                  <a16:creationId xmlns:a16="http://schemas.microsoft.com/office/drawing/2014/main" id="{97270A10-EBF2-4752-AD60-B175ABE6B7CE}"/>
                </a:ext>
              </a:extLst>
            </p:cNvPr>
            <p:cNvSpPr/>
            <p:nvPr/>
          </p:nvSpPr>
          <p:spPr>
            <a:xfrm>
              <a:off x="8126668" y="3183662"/>
              <a:ext cx="776161" cy="910112"/>
            </a:xfrm>
            <a:custGeom>
              <a:avLst/>
              <a:gdLst>
                <a:gd name="connsiteX0" fmla="*/ 418652 w 776161"/>
                <a:gd name="connsiteY0" fmla="*/ 24270 h 910112"/>
                <a:gd name="connsiteX1" fmla="*/ 503596 w 776161"/>
                <a:gd name="connsiteY1" fmla="*/ 606742 h 910112"/>
                <a:gd name="connsiteX2" fmla="*/ 0 w 776161"/>
                <a:gd name="connsiteY2" fmla="*/ 770562 h 910112"/>
                <a:gd name="connsiteX3" fmla="*/ 81910 w 776161"/>
                <a:gd name="connsiteY3" fmla="*/ 910113 h 910112"/>
                <a:gd name="connsiteX4" fmla="*/ 737191 w 776161"/>
                <a:gd name="connsiteY4" fmla="*/ 749326 h 910112"/>
                <a:gd name="connsiteX5" fmla="*/ 712921 w 776161"/>
                <a:gd name="connsiteY5" fmla="*/ 0 h 910112"/>
                <a:gd name="connsiteX6" fmla="*/ 418652 w 776161"/>
                <a:gd name="connsiteY6" fmla="*/ 24270 h 910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6161" h="910112">
                  <a:moveTo>
                    <a:pt x="418652" y="24270"/>
                  </a:moveTo>
                  <a:lnTo>
                    <a:pt x="503596" y="606742"/>
                  </a:lnTo>
                  <a:lnTo>
                    <a:pt x="0" y="770562"/>
                  </a:lnTo>
                  <a:lnTo>
                    <a:pt x="81910" y="910113"/>
                  </a:lnTo>
                  <a:cubicBezTo>
                    <a:pt x="81910" y="910113"/>
                    <a:pt x="637079" y="828202"/>
                    <a:pt x="737191" y="749326"/>
                  </a:cubicBezTo>
                  <a:cubicBezTo>
                    <a:pt x="837304" y="670450"/>
                    <a:pt x="712921" y="0"/>
                    <a:pt x="712921" y="0"/>
                  </a:cubicBezTo>
                  <a:lnTo>
                    <a:pt x="418652" y="24270"/>
                  </a:ln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0" name="任意多边形: 形状 229">
              <a:extLst>
                <a:ext uri="{FF2B5EF4-FFF2-40B4-BE49-F238E27FC236}">
                  <a16:creationId xmlns:a16="http://schemas.microsoft.com/office/drawing/2014/main" id="{6E8C9369-6FB2-4D94-A1F9-D4C96213AB1D}"/>
                </a:ext>
              </a:extLst>
            </p:cNvPr>
            <p:cNvSpPr/>
            <p:nvPr/>
          </p:nvSpPr>
          <p:spPr>
            <a:xfrm>
              <a:off x="8551387" y="3177594"/>
              <a:ext cx="136516" cy="634044"/>
            </a:xfrm>
            <a:custGeom>
              <a:avLst/>
              <a:gdLst>
                <a:gd name="connsiteX0" fmla="*/ 127416 w 136516"/>
                <a:gd name="connsiteY0" fmla="*/ 634045 h 634044"/>
                <a:gd name="connsiteX1" fmla="*/ 127416 w 136516"/>
                <a:gd name="connsiteY1" fmla="*/ 634045 h 634044"/>
                <a:gd name="connsiteX2" fmla="*/ 75843 w 136516"/>
                <a:gd name="connsiteY2" fmla="*/ 615843 h 634044"/>
                <a:gd name="connsiteX3" fmla="*/ 72809 w 136516"/>
                <a:gd name="connsiteY3" fmla="*/ 612809 h 634044"/>
                <a:gd name="connsiteX4" fmla="*/ 0 w 136516"/>
                <a:gd name="connsiteY4" fmla="*/ 6067 h 634044"/>
                <a:gd name="connsiteX5" fmla="*/ 6067 w 136516"/>
                <a:gd name="connsiteY5" fmla="*/ 0 h 634044"/>
                <a:gd name="connsiteX6" fmla="*/ 12135 w 136516"/>
                <a:gd name="connsiteY6" fmla="*/ 6067 h 634044"/>
                <a:gd name="connsiteX7" fmla="*/ 84944 w 136516"/>
                <a:gd name="connsiteY7" fmla="*/ 609775 h 634044"/>
                <a:gd name="connsiteX8" fmla="*/ 130450 w 136516"/>
                <a:gd name="connsiteY8" fmla="*/ 624944 h 634044"/>
                <a:gd name="connsiteX9" fmla="*/ 136517 w 136516"/>
                <a:gd name="connsiteY9" fmla="*/ 631011 h 634044"/>
                <a:gd name="connsiteX10" fmla="*/ 127416 w 136516"/>
                <a:gd name="connsiteY10" fmla="*/ 634045 h 63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6516" h="634044">
                  <a:moveTo>
                    <a:pt x="127416" y="634045"/>
                  </a:moveTo>
                  <a:cubicBezTo>
                    <a:pt x="127416" y="634045"/>
                    <a:pt x="127416" y="634045"/>
                    <a:pt x="127416" y="634045"/>
                  </a:cubicBezTo>
                  <a:cubicBezTo>
                    <a:pt x="106180" y="631011"/>
                    <a:pt x="75843" y="615843"/>
                    <a:pt x="75843" y="615843"/>
                  </a:cubicBezTo>
                  <a:cubicBezTo>
                    <a:pt x="72809" y="615843"/>
                    <a:pt x="72809" y="612809"/>
                    <a:pt x="72809" y="612809"/>
                  </a:cubicBezTo>
                  <a:cubicBezTo>
                    <a:pt x="54607" y="506629"/>
                    <a:pt x="0" y="9101"/>
                    <a:pt x="0" y="6067"/>
                  </a:cubicBezTo>
                  <a:cubicBezTo>
                    <a:pt x="0" y="3034"/>
                    <a:pt x="3034" y="0"/>
                    <a:pt x="6067" y="0"/>
                  </a:cubicBezTo>
                  <a:cubicBezTo>
                    <a:pt x="9101" y="0"/>
                    <a:pt x="12135" y="3034"/>
                    <a:pt x="12135" y="6067"/>
                  </a:cubicBezTo>
                  <a:cubicBezTo>
                    <a:pt x="12135" y="12135"/>
                    <a:pt x="66741" y="497528"/>
                    <a:pt x="84944" y="609775"/>
                  </a:cubicBezTo>
                  <a:cubicBezTo>
                    <a:pt x="91011" y="612809"/>
                    <a:pt x="115281" y="621910"/>
                    <a:pt x="130450" y="624944"/>
                  </a:cubicBezTo>
                  <a:cubicBezTo>
                    <a:pt x="133483" y="624944"/>
                    <a:pt x="136517" y="627978"/>
                    <a:pt x="136517" y="631011"/>
                  </a:cubicBezTo>
                  <a:cubicBezTo>
                    <a:pt x="130450" y="631011"/>
                    <a:pt x="130450" y="634045"/>
                    <a:pt x="127416" y="634045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1" name="任意多边形: 形状 230">
              <a:extLst>
                <a:ext uri="{FF2B5EF4-FFF2-40B4-BE49-F238E27FC236}">
                  <a16:creationId xmlns:a16="http://schemas.microsoft.com/office/drawing/2014/main" id="{87434E2C-48CA-4D14-AB03-5E2A5EE3941C}"/>
                </a:ext>
              </a:extLst>
            </p:cNvPr>
            <p:cNvSpPr/>
            <p:nvPr/>
          </p:nvSpPr>
          <p:spPr>
            <a:xfrm>
              <a:off x="8473444" y="2743484"/>
              <a:ext cx="420752" cy="581244"/>
            </a:xfrm>
            <a:custGeom>
              <a:avLst/>
              <a:gdLst>
                <a:gd name="connsiteX0" fmla="*/ 420753 w 420752"/>
                <a:gd name="connsiteY0" fmla="*/ 528155 h 581244"/>
                <a:gd name="connsiteX1" fmla="*/ 141652 w 420752"/>
                <a:gd name="connsiteY1" fmla="*/ 290 h 581244"/>
                <a:gd name="connsiteX2" fmla="*/ 2101 w 420752"/>
                <a:gd name="connsiteY2" fmla="*/ 570627 h 581244"/>
                <a:gd name="connsiteX3" fmla="*/ 420753 w 420752"/>
                <a:gd name="connsiteY3" fmla="*/ 528155 h 58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0752" h="581244">
                  <a:moveTo>
                    <a:pt x="420753" y="528155"/>
                  </a:moveTo>
                  <a:cubicBezTo>
                    <a:pt x="420753" y="528155"/>
                    <a:pt x="344910" y="15458"/>
                    <a:pt x="141652" y="290"/>
                  </a:cubicBezTo>
                  <a:cubicBezTo>
                    <a:pt x="-28236" y="-14879"/>
                    <a:pt x="2101" y="570627"/>
                    <a:pt x="2101" y="570627"/>
                  </a:cubicBezTo>
                  <a:cubicBezTo>
                    <a:pt x="2101" y="570627"/>
                    <a:pt x="226596" y="613099"/>
                    <a:pt x="420753" y="528155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2" name="任意多边形: 形状 231">
              <a:extLst>
                <a:ext uri="{FF2B5EF4-FFF2-40B4-BE49-F238E27FC236}">
                  <a16:creationId xmlns:a16="http://schemas.microsoft.com/office/drawing/2014/main" id="{5EDE3134-970F-4557-9BE6-337A2FD5C96D}"/>
                </a:ext>
              </a:extLst>
            </p:cNvPr>
            <p:cNvSpPr/>
            <p:nvPr/>
          </p:nvSpPr>
          <p:spPr>
            <a:xfrm>
              <a:off x="8469477" y="2737707"/>
              <a:ext cx="151685" cy="591573"/>
            </a:xfrm>
            <a:custGeom>
              <a:avLst/>
              <a:gdLst>
                <a:gd name="connsiteX0" fmla="*/ 121348 w 151685"/>
                <a:gd name="connsiteY0" fmla="*/ 591573 h 591573"/>
                <a:gd name="connsiteX1" fmla="*/ 3034 w 151685"/>
                <a:gd name="connsiteY1" fmla="*/ 576405 h 591573"/>
                <a:gd name="connsiteX2" fmla="*/ 0 w 151685"/>
                <a:gd name="connsiteY2" fmla="*/ 576405 h 591573"/>
                <a:gd name="connsiteX3" fmla="*/ 0 w 151685"/>
                <a:gd name="connsiteY3" fmla="*/ 573371 h 591573"/>
                <a:gd name="connsiteX4" fmla="*/ 15169 w 151685"/>
                <a:gd name="connsiteY4" fmla="*/ 215393 h 591573"/>
                <a:gd name="connsiteX5" fmla="*/ 145618 w 151685"/>
                <a:gd name="connsiteY5" fmla="*/ 0 h 591573"/>
                <a:gd name="connsiteX6" fmla="*/ 151685 w 151685"/>
                <a:gd name="connsiteY6" fmla="*/ 3034 h 591573"/>
                <a:gd name="connsiteX7" fmla="*/ 148652 w 151685"/>
                <a:gd name="connsiteY7" fmla="*/ 9101 h 591573"/>
                <a:gd name="connsiteX8" fmla="*/ 27303 w 151685"/>
                <a:gd name="connsiteY8" fmla="*/ 215393 h 591573"/>
                <a:gd name="connsiteX9" fmla="*/ 12135 w 151685"/>
                <a:gd name="connsiteY9" fmla="*/ 567303 h 591573"/>
                <a:gd name="connsiteX10" fmla="*/ 142584 w 151685"/>
                <a:gd name="connsiteY10" fmla="*/ 579438 h 591573"/>
                <a:gd name="connsiteX11" fmla="*/ 142584 w 151685"/>
                <a:gd name="connsiteY11" fmla="*/ 579438 h 591573"/>
                <a:gd name="connsiteX12" fmla="*/ 148652 w 151685"/>
                <a:gd name="connsiteY12" fmla="*/ 585506 h 591573"/>
                <a:gd name="connsiteX13" fmla="*/ 142584 w 151685"/>
                <a:gd name="connsiteY13" fmla="*/ 591573 h 591573"/>
                <a:gd name="connsiteX14" fmla="*/ 121348 w 151685"/>
                <a:gd name="connsiteY14" fmla="*/ 591573 h 5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1685" h="591573">
                  <a:moveTo>
                    <a:pt x="121348" y="591573"/>
                  </a:moveTo>
                  <a:cubicBezTo>
                    <a:pt x="60674" y="591573"/>
                    <a:pt x="3034" y="579438"/>
                    <a:pt x="3034" y="576405"/>
                  </a:cubicBezTo>
                  <a:lnTo>
                    <a:pt x="0" y="576405"/>
                  </a:lnTo>
                  <a:lnTo>
                    <a:pt x="0" y="573371"/>
                  </a:lnTo>
                  <a:cubicBezTo>
                    <a:pt x="0" y="570337"/>
                    <a:pt x="0" y="394382"/>
                    <a:pt x="15169" y="215393"/>
                  </a:cubicBezTo>
                  <a:cubicBezTo>
                    <a:pt x="30337" y="30337"/>
                    <a:pt x="139551" y="0"/>
                    <a:pt x="145618" y="0"/>
                  </a:cubicBezTo>
                  <a:cubicBezTo>
                    <a:pt x="148652" y="0"/>
                    <a:pt x="151685" y="0"/>
                    <a:pt x="151685" y="3034"/>
                  </a:cubicBezTo>
                  <a:cubicBezTo>
                    <a:pt x="151685" y="6067"/>
                    <a:pt x="151685" y="9101"/>
                    <a:pt x="148652" y="9101"/>
                  </a:cubicBezTo>
                  <a:cubicBezTo>
                    <a:pt x="148652" y="9101"/>
                    <a:pt x="42472" y="39438"/>
                    <a:pt x="27303" y="215393"/>
                  </a:cubicBezTo>
                  <a:cubicBezTo>
                    <a:pt x="12135" y="379213"/>
                    <a:pt x="12135" y="540000"/>
                    <a:pt x="12135" y="567303"/>
                  </a:cubicBezTo>
                  <a:cubicBezTo>
                    <a:pt x="27303" y="570337"/>
                    <a:pt x="84944" y="582472"/>
                    <a:pt x="142584" y="579438"/>
                  </a:cubicBezTo>
                  <a:lnTo>
                    <a:pt x="142584" y="579438"/>
                  </a:lnTo>
                  <a:cubicBezTo>
                    <a:pt x="145618" y="579438"/>
                    <a:pt x="148652" y="582472"/>
                    <a:pt x="148652" y="585506"/>
                  </a:cubicBezTo>
                  <a:cubicBezTo>
                    <a:pt x="148652" y="588539"/>
                    <a:pt x="145618" y="591573"/>
                    <a:pt x="142584" y="591573"/>
                  </a:cubicBezTo>
                  <a:cubicBezTo>
                    <a:pt x="133483" y="591573"/>
                    <a:pt x="127416" y="591573"/>
                    <a:pt x="121348" y="591573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33" name="图形 1">
              <a:extLst>
                <a:ext uri="{FF2B5EF4-FFF2-40B4-BE49-F238E27FC236}">
                  <a16:creationId xmlns:a16="http://schemas.microsoft.com/office/drawing/2014/main" id="{3B9EBF0A-0FEB-47A6-959B-C2964FB75F7C}"/>
                </a:ext>
              </a:extLst>
            </p:cNvPr>
            <p:cNvGrpSpPr/>
            <p:nvPr/>
          </p:nvGrpSpPr>
          <p:grpSpPr>
            <a:xfrm>
              <a:off x="7874870" y="3948058"/>
              <a:ext cx="342964" cy="237774"/>
              <a:chOff x="7874870" y="3948058"/>
              <a:chExt cx="342964" cy="237774"/>
            </a:xfrm>
          </p:grpSpPr>
          <p:sp>
            <p:nvSpPr>
              <p:cNvPr id="234" name="任意多边形: 形状 233">
                <a:extLst>
                  <a:ext uri="{FF2B5EF4-FFF2-40B4-BE49-F238E27FC236}">
                    <a16:creationId xmlns:a16="http://schemas.microsoft.com/office/drawing/2014/main" id="{5E71E15A-3ED6-47E6-BC4F-F44F9BCD29DB}"/>
                  </a:ext>
                </a:extLst>
              </p:cNvPr>
              <p:cNvSpPr/>
              <p:nvPr/>
            </p:nvSpPr>
            <p:spPr>
              <a:xfrm>
                <a:off x="7880773" y="3948058"/>
                <a:ext cx="337062" cy="237774"/>
              </a:xfrm>
              <a:custGeom>
                <a:avLst/>
                <a:gdLst>
                  <a:gd name="connsiteX0" fmla="*/ 336907 w 337062"/>
                  <a:gd name="connsiteY0" fmla="*/ 115379 h 237774"/>
                  <a:gd name="connsiteX1" fmla="*/ 294435 w 337062"/>
                  <a:gd name="connsiteY1" fmla="*/ 6166 h 237774"/>
                  <a:gd name="connsiteX2" fmla="*/ 51739 w 337062"/>
                  <a:gd name="connsiteY2" fmla="*/ 21334 h 237774"/>
                  <a:gd name="connsiteX3" fmla="*/ 166 w 337062"/>
                  <a:gd name="connsiteY3" fmla="*/ 60772 h 237774"/>
                  <a:gd name="connsiteX4" fmla="*/ 21402 w 337062"/>
                  <a:gd name="connsiteY4" fmla="*/ 94143 h 237774"/>
                  <a:gd name="connsiteX5" fmla="*/ 39604 w 337062"/>
                  <a:gd name="connsiteY5" fmla="*/ 148750 h 237774"/>
                  <a:gd name="connsiteX6" fmla="*/ 42637 w 337062"/>
                  <a:gd name="connsiteY6" fmla="*/ 182121 h 237774"/>
                  <a:gd name="connsiteX7" fmla="*/ 85109 w 337062"/>
                  <a:gd name="connsiteY7" fmla="*/ 197289 h 237774"/>
                  <a:gd name="connsiteX8" fmla="*/ 124547 w 337062"/>
                  <a:gd name="connsiteY8" fmla="*/ 236727 h 237774"/>
                  <a:gd name="connsiteX9" fmla="*/ 200390 w 337062"/>
                  <a:gd name="connsiteY9" fmla="*/ 194256 h 237774"/>
                  <a:gd name="connsiteX10" fmla="*/ 300503 w 337062"/>
                  <a:gd name="connsiteY10" fmla="*/ 157851 h 237774"/>
                  <a:gd name="connsiteX11" fmla="*/ 336907 w 337062"/>
                  <a:gd name="connsiteY11" fmla="*/ 115379 h 237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7062" h="237774">
                    <a:moveTo>
                      <a:pt x="336907" y="115379"/>
                    </a:moveTo>
                    <a:cubicBezTo>
                      <a:pt x="339941" y="69874"/>
                      <a:pt x="297469" y="98"/>
                      <a:pt x="294435" y="6166"/>
                    </a:cubicBezTo>
                    <a:cubicBezTo>
                      <a:pt x="215559" y="98"/>
                      <a:pt x="142750" y="-9003"/>
                      <a:pt x="51739" y="21334"/>
                    </a:cubicBezTo>
                    <a:cubicBezTo>
                      <a:pt x="36570" y="27402"/>
                      <a:pt x="-2868" y="24368"/>
                      <a:pt x="166" y="60772"/>
                    </a:cubicBezTo>
                    <a:cubicBezTo>
                      <a:pt x="166" y="69874"/>
                      <a:pt x="3199" y="91109"/>
                      <a:pt x="21402" y="94143"/>
                    </a:cubicBezTo>
                    <a:cubicBezTo>
                      <a:pt x="3199" y="112345"/>
                      <a:pt x="24435" y="151784"/>
                      <a:pt x="39604" y="148750"/>
                    </a:cubicBezTo>
                    <a:cubicBezTo>
                      <a:pt x="36570" y="154817"/>
                      <a:pt x="39604" y="176053"/>
                      <a:pt x="42637" y="182121"/>
                    </a:cubicBezTo>
                    <a:cubicBezTo>
                      <a:pt x="54772" y="197289"/>
                      <a:pt x="63873" y="203357"/>
                      <a:pt x="85109" y="197289"/>
                    </a:cubicBezTo>
                    <a:cubicBezTo>
                      <a:pt x="82076" y="221559"/>
                      <a:pt x="97244" y="242795"/>
                      <a:pt x="124547" y="236727"/>
                    </a:cubicBezTo>
                    <a:cubicBezTo>
                      <a:pt x="160952" y="227626"/>
                      <a:pt x="167020" y="209424"/>
                      <a:pt x="200390" y="194256"/>
                    </a:cubicBezTo>
                    <a:cubicBezTo>
                      <a:pt x="233761" y="179087"/>
                      <a:pt x="267132" y="169986"/>
                      <a:pt x="300503" y="157851"/>
                    </a:cubicBezTo>
                    <a:cubicBezTo>
                      <a:pt x="327806" y="145716"/>
                      <a:pt x="333874" y="142682"/>
                      <a:pt x="336907" y="115379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5" name="任意多边形: 形状 234">
                <a:extLst>
                  <a:ext uri="{FF2B5EF4-FFF2-40B4-BE49-F238E27FC236}">
                    <a16:creationId xmlns:a16="http://schemas.microsoft.com/office/drawing/2014/main" id="{04C99921-7B4A-4EC2-B8F8-DB865EEFCD9E}"/>
                  </a:ext>
                </a:extLst>
              </p:cNvPr>
              <p:cNvSpPr/>
              <p:nvPr/>
            </p:nvSpPr>
            <p:spPr>
              <a:xfrm>
                <a:off x="7874870" y="3948156"/>
                <a:ext cx="154719" cy="97078"/>
              </a:xfrm>
              <a:custGeom>
                <a:avLst/>
                <a:gdLst>
                  <a:gd name="connsiteX0" fmla="*/ 30337 w 154719"/>
                  <a:gd name="connsiteY0" fmla="*/ 97079 h 97078"/>
                  <a:gd name="connsiteX1" fmla="*/ 27304 w 154719"/>
                  <a:gd name="connsiteY1" fmla="*/ 97079 h 97078"/>
                  <a:gd name="connsiteX2" fmla="*/ 0 w 154719"/>
                  <a:gd name="connsiteY2" fmla="*/ 57640 h 97078"/>
                  <a:gd name="connsiteX3" fmla="*/ 12135 w 154719"/>
                  <a:gd name="connsiteY3" fmla="*/ 30337 h 97078"/>
                  <a:gd name="connsiteX4" fmla="*/ 148652 w 154719"/>
                  <a:gd name="connsiteY4" fmla="*/ 0 h 97078"/>
                  <a:gd name="connsiteX5" fmla="*/ 154719 w 154719"/>
                  <a:gd name="connsiteY5" fmla="*/ 6067 h 97078"/>
                  <a:gd name="connsiteX6" fmla="*/ 148652 w 154719"/>
                  <a:gd name="connsiteY6" fmla="*/ 12135 h 97078"/>
                  <a:gd name="connsiteX7" fmla="*/ 145618 w 154719"/>
                  <a:gd name="connsiteY7" fmla="*/ 12135 h 97078"/>
                  <a:gd name="connsiteX8" fmla="*/ 18202 w 154719"/>
                  <a:gd name="connsiteY8" fmla="*/ 39438 h 97078"/>
                  <a:gd name="connsiteX9" fmla="*/ 9101 w 154719"/>
                  <a:gd name="connsiteY9" fmla="*/ 54607 h 97078"/>
                  <a:gd name="connsiteX10" fmla="*/ 30337 w 154719"/>
                  <a:gd name="connsiteY10" fmla="*/ 84944 h 97078"/>
                  <a:gd name="connsiteX11" fmla="*/ 30337 w 154719"/>
                  <a:gd name="connsiteY11" fmla="*/ 94045 h 97078"/>
                  <a:gd name="connsiteX12" fmla="*/ 30337 w 154719"/>
                  <a:gd name="connsiteY12" fmla="*/ 97079 h 97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4719" h="97078">
                    <a:moveTo>
                      <a:pt x="30337" y="97079"/>
                    </a:moveTo>
                    <a:cubicBezTo>
                      <a:pt x="30337" y="97079"/>
                      <a:pt x="27304" y="97079"/>
                      <a:pt x="27304" y="97079"/>
                    </a:cubicBezTo>
                    <a:cubicBezTo>
                      <a:pt x="27304" y="97079"/>
                      <a:pt x="3034" y="78876"/>
                      <a:pt x="0" y="57640"/>
                    </a:cubicBezTo>
                    <a:cubicBezTo>
                      <a:pt x="0" y="48539"/>
                      <a:pt x="3034" y="39438"/>
                      <a:pt x="12135" y="30337"/>
                    </a:cubicBezTo>
                    <a:cubicBezTo>
                      <a:pt x="48540" y="0"/>
                      <a:pt x="145618" y="0"/>
                      <a:pt x="148652" y="0"/>
                    </a:cubicBezTo>
                    <a:cubicBezTo>
                      <a:pt x="151685" y="0"/>
                      <a:pt x="154719" y="3034"/>
                      <a:pt x="154719" y="6067"/>
                    </a:cubicBezTo>
                    <a:cubicBezTo>
                      <a:pt x="154719" y="9101"/>
                      <a:pt x="151685" y="12135"/>
                      <a:pt x="148652" y="12135"/>
                    </a:cubicBezTo>
                    <a:cubicBezTo>
                      <a:pt x="148652" y="12135"/>
                      <a:pt x="148652" y="12135"/>
                      <a:pt x="145618" y="12135"/>
                    </a:cubicBezTo>
                    <a:cubicBezTo>
                      <a:pt x="133483" y="12135"/>
                      <a:pt x="48540" y="12135"/>
                      <a:pt x="18202" y="39438"/>
                    </a:cubicBezTo>
                    <a:cubicBezTo>
                      <a:pt x="12135" y="45506"/>
                      <a:pt x="9101" y="48539"/>
                      <a:pt x="9101" y="54607"/>
                    </a:cubicBezTo>
                    <a:cubicBezTo>
                      <a:pt x="9101" y="66741"/>
                      <a:pt x="24270" y="81910"/>
                      <a:pt x="30337" y="84944"/>
                    </a:cubicBezTo>
                    <a:cubicBezTo>
                      <a:pt x="33371" y="87978"/>
                      <a:pt x="33371" y="91011"/>
                      <a:pt x="30337" y="94045"/>
                    </a:cubicBezTo>
                    <a:cubicBezTo>
                      <a:pt x="33371" y="97079"/>
                      <a:pt x="30337" y="97079"/>
                      <a:pt x="30337" y="9707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6" name="任意多边形: 形状 235">
                <a:extLst>
                  <a:ext uri="{FF2B5EF4-FFF2-40B4-BE49-F238E27FC236}">
                    <a16:creationId xmlns:a16="http://schemas.microsoft.com/office/drawing/2014/main" id="{F8BABEC6-AA54-4A12-90BE-08E96C7559E1}"/>
                  </a:ext>
                </a:extLst>
              </p:cNvPr>
              <p:cNvSpPr/>
              <p:nvPr/>
            </p:nvSpPr>
            <p:spPr>
              <a:xfrm>
                <a:off x="7941612" y="4039167"/>
                <a:ext cx="59915" cy="84943"/>
              </a:xfrm>
              <a:custGeom>
                <a:avLst/>
                <a:gdLst>
                  <a:gd name="connsiteX0" fmla="*/ 57640 w 59915"/>
                  <a:gd name="connsiteY0" fmla="*/ 84944 h 84943"/>
                  <a:gd name="connsiteX1" fmla="*/ 51573 w 59915"/>
                  <a:gd name="connsiteY1" fmla="*/ 81910 h 84943"/>
                  <a:gd name="connsiteX2" fmla="*/ 0 w 59915"/>
                  <a:gd name="connsiteY2" fmla="*/ 6067 h 84943"/>
                  <a:gd name="connsiteX3" fmla="*/ 3033 w 59915"/>
                  <a:gd name="connsiteY3" fmla="*/ 0 h 84943"/>
                  <a:gd name="connsiteX4" fmla="*/ 9101 w 59915"/>
                  <a:gd name="connsiteY4" fmla="*/ 3034 h 84943"/>
                  <a:gd name="connsiteX5" fmla="*/ 57640 w 59915"/>
                  <a:gd name="connsiteY5" fmla="*/ 72809 h 84943"/>
                  <a:gd name="connsiteX6" fmla="*/ 57640 w 59915"/>
                  <a:gd name="connsiteY6" fmla="*/ 81910 h 84943"/>
                  <a:gd name="connsiteX7" fmla="*/ 57640 w 59915"/>
                  <a:gd name="connsiteY7" fmla="*/ 84944 h 84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915" h="84943">
                    <a:moveTo>
                      <a:pt x="57640" y="84944"/>
                    </a:moveTo>
                    <a:cubicBezTo>
                      <a:pt x="54606" y="84944"/>
                      <a:pt x="54606" y="84944"/>
                      <a:pt x="51573" y="81910"/>
                    </a:cubicBezTo>
                    <a:cubicBezTo>
                      <a:pt x="48539" y="78876"/>
                      <a:pt x="9101" y="27303"/>
                      <a:pt x="0" y="6067"/>
                    </a:cubicBezTo>
                    <a:cubicBezTo>
                      <a:pt x="0" y="3034"/>
                      <a:pt x="0" y="0"/>
                      <a:pt x="3033" y="0"/>
                    </a:cubicBezTo>
                    <a:cubicBezTo>
                      <a:pt x="6067" y="0"/>
                      <a:pt x="9101" y="0"/>
                      <a:pt x="9101" y="3034"/>
                    </a:cubicBezTo>
                    <a:cubicBezTo>
                      <a:pt x="15169" y="18202"/>
                      <a:pt x="45506" y="60674"/>
                      <a:pt x="57640" y="72809"/>
                    </a:cubicBezTo>
                    <a:cubicBezTo>
                      <a:pt x="60674" y="75843"/>
                      <a:pt x="60674" y="78876"/>
                      <a:pt x="57640" y="81910"/>
                    </a:cubicBezTo>
                    <a:cubicBezTo>
                      <a:pt x="57640" y="84944"/>
                      <a:pt x="57640" y="84944"/>
                      <a:pt x="57640" y="8494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37" name="图形 1">
              <a:extLst>
                <a:ext uri="{FF2B5EF4-FFF2-40B4-BE49-F238E27FC236}">
                  <a16:creationId xmlns:a16="http://schemas.microsoft.com/office/drawing/2014/main" id="{3B9EBF0A-0FEB-47A6-959B-C2964FB75F7C}"/>
                </a:ext>
              </a:extLst>
            </p:cNvPr>
            <p:cNvGrpSpPr/>
            <p:nvPr/>
          </p:nvGrpSpPr>
          <p:grpSpPr>
            <a:xfrm>
              <a:off x="6949008" y="3147257"/>
              <a:ext cx="185930" cy="197191"/>
              <a:chOff x="6949008" y="3147257"/>
              <a:chExt cx="185930" cy="197191"/>
            </a:xfrm>
          </p:grpSpPr>
          <p:grpSp>
            <p:nvGrpSpPr>
              <p:cNvPr id="238" name="图形 1">
                <a:extLst>
                  <a:ext uri="{FF2B5EF4-FFF2-40B4-BE49-F238E27FC236}">
                    <a16:creationId xmlns:a16="http://schemas.microsoft.com/office/drawing/2014/main" id="{3B9EBF0A-0FEB-47A6-959B-C2964FB75F7C}"/>
                  </a:ext>
                </a:extLst>
              </p:cNvPr>
              <p:cNvGrpSpPr/>
              <p:nvPr/>
            </p:nvGrpSpPr>
            <p:grpSpPr>
              <a:xfrm>
                <a:off x="6949008" y="3147257"/>
                <a:ext cx="177015" cy="192313"/>
                <a:chOff x="6949008" y="3147257"/>
                <a:chExt cx="177015" cy="192313"/>
              </a:xfrm>
            </p:grpSpPr>
            <p:sp>
              <p:nvSpPr>
                <p:cNvPr id="239" name="任意多边形: 形状 238">
                  <a:extLst>
                    <a:ext uri="{FF2B5EF4-FFF2-40B4-BE49-F238E27FC236}">
                      <a16:creationId xmlns:a16="http://schemas.microsoft.com/office/drawing/2014/main" id="{50DF011E-30AD-44C5-8539-0479394D7F27}"/>
                    </a:ext>
                  </a:extLst>
                </p:cNvPr>
                <p:cNvSpPr/>
                <p:nvPr/>
              </p:nvSpPr>
              <p:spPr>
                <a:xfrm>
                  <a:off x="6949008" y="3159392"/>
                  <a:ext cx="102347" cy="107833"/>
                </a:xfrm>
                <a:custGeom>
                  <a:avLst/>
                  <a:gdLst>
                    <a:gd name="connsiteX0" fmla="*/ 581 w 102347"/>
                    <a:gd name="connsiteY0" fmla="*/ 75843 h 107833"/>
                    <a:gd name="connsiteX1" fmla="*/ 46087 w 102347"/>
                    <a:gd name="connsiteY1" fmla="*/ 15169 h 107833"/>
                    <a:gd name="connsiteX2" fmla="*/ 52155 w 102347"/>
                    <a:gd name="connsiteY2" fmla="*/ 6067 h 107833"/>
                    <a:gd name="connsiteX3" fmla="*/ 64289 w 102347"/>
                    <a:gd name="connsiteY3" fmla="*/ 0 h 107833"/>
                    <a:gd name="connsiteX4" fmla="*/ 100694 w 102347"/>
                    <a:gd name="connsiteY4" fmla="*/ 24270 h 107833"/>
                    <a:gd name="connsiteX5" fmla="*/ 88559 w 102347"/>
                    <a:gd name="connsiteY5" fmla="*/ 60674 h 107833"/>
                    <a:gd name="connsiteX6" fmla="*/ 55188 w 102347"/>
                    <a:gd name="connsiteY6" fmla="*/ 94045 h 107833"/>
                    <a:gd name="connsiteX7" fmla="*/ 21817 w 102347"/>
                    <a:gd name="connsiteY7" fmla="*/ 106180 h 107833"/>
                    <a:gd name="connsiteX8" fmla="*/ 581 w 102347"/>
                    <a:gd name="connsiteY8" fmla="*/ 75843 h 107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2347" h="107833">
                      <a:moveTo>
                        <a:pt x="581" y="75843"/>
                      </a:moveTo>
                      <a:cubicBezTo>
                        <a:pt x="3615" y="48539"/>
                        <a:pt x="27885" y="36405"/>
                        <a:pt x="46087" y="15169"/>
                      </a:cubicBezTo>
                      <a:cubicBezTo>
                        <a:pt x="49121" y="12135"/>
                        <a:pt x="52155" y="6067"/>
                        <a:pt x="52155" y="6067"/>
                      </a:cubicBezTo>
                      <a:cubicBezTo>
                        <a:pt x="55188" y="3034"/>
                        <a:pt x="58222" y="3034"/>
                        <a:pt x="64289" y="0"/>
                      </a:cubicBezTo>
                      <a:cubicBezTo>
                        <a:pt x="76424" y="0"/>
                        <a:pt x="91592" y="9101"/>
                        <a:pt x="100694" y="24270"/>
                      </a:cubicBezTo>
                      <a:cubicBezTo>
                        <a:pt x="106761" y="42472"/>
                        <a:pt x="94626" y="51573"/>
                        <a:pt x="88559" y="60674"/>
                      </a:cubicBezTo>
                      <a:cubicBezTo>
                        <a:pt x="79458" y="72809"/>
                        <a:pt x="67323" y="84944"/>
                        <a:pt x="55188" y="94045"/>
                      </a:cubicBezTo>
                      <a:cubicBezTo>
                        <a:pt x="46087" y="100112"/>
                        <a:pt x="36986" y="112247"/>
                        <a:pt x="21817" y="106180"/>
                      </a:cubicBezTo>
                      <a:cubicBezTo>
                        <a:pt x="6649" y="100112"/>
                        <a:pt x="-2452" y="84944"/>
                        <a:pt x="581" y="75843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0" name="任意多边形: 形状 239">
                  <a:extLst>
                    <a:ext uri="{FF2B5EF4-FFF2-40B4-BE49-F238E27FC236}">
                      <a16:creationId xmlns:a16="http://schemas.microsoft.com/office/drawing/2014/main" id="{239DCA3C-A86B-4CF0-BAC2-644B65180AF8}"/>
                    </a:ext>
                  </a:extLst>
                </p:cNvPr>
                <p:cNvSpPr/>
                <p:nvPr/>
              </p:nvSpPr>
              <p:spPr>
                <a:xfrm>
                  <a:off x="6989028" y="3183662"/>
                  <a:ext cx="104799" cy="107833"/>
                </a:xfrm>
                <a:custGeom>
                  <a:avLst/>
                  <a:gdLst>
                    <a:gd name="connsiteX0" fmla="*/ 0 w 104799"/>
                    <a:gd name="connsiteY0" fmla="*/ 75843 h 107833"/>
                    <a:gd name="connsiteX1" fmla="*/ 48540 w 104799"/>
                    <a:gd name="connsiteY1" fmla="*/ 9101 h 107833"/>
                    <a:gd name="connsiteX2" fmla="*/ 54607 w 104799"/>
                    <a:gd name="connsiteY2" fmla="*/ 6067 h 107833"/>
                    <a:gd name="connsiteX3" fmla="*/ 66741 w 104799"/>
                    <a:gd name="connsiteY3" fmla="*/ 0 h 107833"/>
                    <a:gd name="connsiteX4" fmla="*/ 103146 w 104799"/>
                    <a:gd name="connsiteY4" fmla="*/ 24270 h 107833"/>
                    <a:gd name="connsiteX5" fmla="*/ 91011 w 104799"/>
                    <a:gd name="connsiteY5" fmla="*/ 60674 h 107833"/>
                    <a:gd name="connsiteX6" fmla="*/ 57641 w 104799"/>
                    <a:gd name="connsiteY6" fmla="*/ 94045 h 107833"/>
                    <a:gd name="connsiteX7" fmla="*/ 24270 w 104799"/>
                    <a:gd name="connsiteY7" fmla="*/ 106180 h 107833"/>
                    <a:gd name="connsiteX8" fmla="*/ 0 w 104799"/>
                    <a:gd name="connsiteY8" fmla="*/ 75843 h 107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4799" h="107833">
                      <a:moveTo>
                        <a:pt x="0" y="75843"/>
                      </a:moveTo>
                      <a:cubicBezTo>
                        <a:pt x="0" y="39438"/>
                        <a:pt x="30337" y="27303"/>
                        <a:pt x="48540" y="9101"/>
                      </a:cubicBezTo>
                      <a:cubicBezTo>
                        <a:pt x="51573" y="6067"/>
                        <a:pt x="51573" y="6067"/>
                        <a:pt x="54607" y="6067"/>
                      </a:cubicBezTo>
                      <a:cubicBezTo>
                        <a:pt x="57641" y="3034"/>
                        <a:pt x="60674" y="3034"/>
                        <a:pt x="66741" y="0"/>
                      </a:cubicBezTo>
                      <a:cubicBezTo>
                        <a:pt x="78877" y="0"/>
                        <a:pt x="94045" y="9101"/>
                        <a:pt x="103146" y="24270"/>
                      </a:cubicBezTo>
                      <a:cubicBezTo>
                        <a:pt x="109214" y="42472"/>
                        <a:pt x="97079" y="51573"/>
                        <a:pt x="91011" y="60674"/>
                      </a:cubicBezTo>
                      <a:cubicBezTo>
                        <a:pt x="81910" y="72809"/>
                        <a:pt x="69775" y="84944"/>
                        <a:pt x="57641" y="94045"/>
                      </a:cubicBezTo>
                      <a:cubicBezTo>
                        <a:pt x="48540" y="100112"/>
                        <a:pt x="39438" y="112247"/>
                        <a:pt x="24270" y="106180"/>
                      </a:cubicBezTo>
                      <a:cubicBezTo>
                        <a:pt x="6067" y="103146"/>
                        <a:pt x="0" y="87978"/>
                        <a:pt x="0" y="75843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1" name="任意多边形: 形状 240">
                  <a:extLst>
                    <a:ext uri="{FF2B5EF4-FFF2-40B4-BE49-F238E27FC236}">
                      <a16:creationId xmlns:a16="http://schemas.microsoft.com/office/drawing/2014/main" id="{E35C6F2B-6D0A-4493-9A6C-0ECDA583C34D}"/>
                    </a:ext>
                  </a:extLst>
                </p:cNvPr>
                <p:cNvSpPr/>
                <p:nvPr/>
              </p:nvSpPr>
              <p:spPr>
                <a:xfrm>
                  <a:off x="7022399" y="3222519"/>
                  <a:ext cx="86597" cy="99313"/>
                </a:xfrm>
                <a:custGeom>
                  <a:avLst/>
                  <a:gdLst>
                    <a:gd name="connsiteX0" fmla="*/ 0 w 86597"/>
                    <a:gd name="connsiteY0" fmla="*/ 67323 h 99313"/>
                    <a:gd name="connsiteX1" fmla="*/ 39438 w 86597"/>
                    <a:gd name="connsiteY1" fmla="*/ 6649 h 99313"/>
                    <a:gd name="connsiteX2" fmla="*/ 45506 w 86597"/>
                    <a:gd name="connsiteY2" fmla="*/ 3615 h 99313"/>
                    <a:gd name="connsiteX3" fmla="*/ 54607 w 86597"/>
                    <a:gd name="connsiteY3" fmla="*/ 581 h 99313"/>
                    <a:gd name="connsiteX4" fmla="*/ 84944 w 86597"/>
                    <a:gd name="connsiteY4" fmla="*/ 21817 h 99313"/>
                    <a:gd name="connsiteX5" fmla="*/ 72809 w 86597"/>
                    <a:gd name="connsiteY5" fmla="*/ 55188 h 99313"/>
                    <a:gd name="connsiteX6" fmla="*/ 45506 w 86597"/>
                    <a:gd name="connsiteY6" fmla="*/ 85525 h 99313"/>
                    <a:gd name="connsiteX7" fmla="*/ 18202 w 86597"/>
                    <a:gd name="connsiteY7" fmla="*/ 97660 h 99313"/>
                    <a:gd name="connsiteX8" fmla="*/ 0 w 86597"/>
                    <a:gd name="connsiteY8" fmla="*/ 67323 h 993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6597" h="99313">
                      <a:moveTo>
                        <a:pt x="0" y="67323"/>
                      </a:moveTo>
                      <a:cubicBezTo>
                        <a:pt x="0" y="33952"/>
                        <a:pt x="24270" y="24851"/>
                        <a:pt x="39438" y="6649"/>
                      </a:cubicBezTo>
                      <a:cubicBezTo>
                        <a:pt x="39438" y="3615"/>
                        <a:pt x="42472" y="3615"/>
                        <a:pt x="45506" y="3615"/>
                      </a:cubicBezTo>
                      <a:cubicBezTo>
                        <a:pt x="48539" y="581"/>
                        <a:pt x="51573" y="581"/>
                        <a:pt x="54607" y="581"/>
                      </a:cubicBezTo>
                      <a:cubicBezTo>
                        <a:pt x="63708" y="-2452"/>
                        <a:pt x="78876" y="6649"/>
                        <a:pt x="84944" y="21817"/>
                      </a:cubicBezTo>
                      <a:cubicBezTo>
                        <a:pt x="91011" y="36986"/>
                        <a:pt x="78876" y="46087"/>
                        <a:pt x="72809" y="55188"/>
                      </a:cubicBezTo>
                      <a:cubicBezTo>
                        <a:pt x="63708" y="67323"/>
                        <a:pt x="54607" y="76424"/>
                        <a:pt x="45506" y="85525"/>
                      </a:cubicBezTo>
                      <a:cubicBezTo>
                        <a:pt x="39438" y="91592"/>
                        <a:pt x="30337" y="103727"/>
                        <a:pt x="18202" y="97660"/>
                      </a:cubicBezTo>
                      <a:cubicBezTo>
                        <a:pt x="6067" y="91592"/>
                        <a:pt x="0" y="79458"/>
                        <a:pt x="0" y="67323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2" name="任意多边形: 形状 241">
                  <a:extLst>
                    <a:ext uri="{FF2B5EF4-FFF2-40B4-BE49-F238E27FC236}">
                      <a16:creationId xmlns:a16="http://schemas.microsoft.com/office/drawing/2014/main" id="{FD4CB7EE-052C-44BA-8BB7-E29750465D3B}"/>
                    </a:ext>
                  </a:extLst>
                </p:cNvPr>
                <p:cNvSpPr/>
                <p:nvPr/>
              </p:nvSpPr>
              <p:spPr>
                <a:xfrm>
                  <a:off x="7043635" y="3265572"/>
                  <a:ext cx="82388" cy="73999"/>
                </a:xfrm>
                <a:custGeom>
                  <a:avLst/>
                  <a:gdLst>
                    <a:gd name="connsiteX0" fmla="*/ 0 w 82388"/>
                    <a:gd name="connsiteY0" fmla="*/ 51573 h 73999"/>
                    <a:gd name="connsiteX1" fmla="*/ 42472 w 82388"/>
                    <a:gd name="connsiteY1" fmla="*/ 6067 h 73999"/>
                    <a:gd name="connsiteX2" fmla="*/ 45506 w 82388"/>
                    <a:gd name="connsiteY2" fmla="*/ 3034 h 73999"/>
                    <a:gd name="connsiteX3" fmla="*/ 51573 w 82388"/>
                    <a:gd name="connsiteY3" fmla="*/ 0 h 73999"/>
                    <a:gd name="connsiteX4" fmla="*/ 81910 w 82388"/>
                    <a:gd name="connsiteY4" fmla="*/ 15169 h 73999"/>
                    <a:gd name="connsiteX5" fmla="*/ 66741 w 82388"/>
                    <a:gd name="connsiteY5" fmla="*/ 45506 h 73999"/>
                    <a:gd name="connsiteX6" fmla="*/ 42472 w 82388"/>
                    <a:gd name="connsiteY6" fmla="*/ 66742 h 73999"/>
                    <a:gd name="connsiteX7" fmla="*/ 18202 w 82388"/>
                    <a:gd name="connsiteY7" fmla="*/ 72809 h 73999"/>
                    <a:gd name="connsiteX8" fmla="*/ 0 w 82388"/>
                    <a:gd name="connsiteY8" fmla="*/ 51573 h 739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2388" h="73999">
                      <a:moveTo>
                        <a:pt x="0" y="51573"/>
                      </a:moveTo>
                      <a:cubicBezTo>
                        <a:pt x="0" y="27303"/>
                        <a:pt x="30337" y="18202"/>
                        <a:pt x="42472" y="6067"/>
                      </a:cubicBezTo>
                      <a:cubicBezTo>
                        <a:pt x="42472" y="6067"/>
                        <a:pt x="45506" y="3034"/>
                        <a:pt x="45506" y="3034"/>
                      </a:cubicBezTo>
                      <a:cubicBezTo>
                        <a:pt x="48540" y="0"/>
                        <a:pt x="48540" y="0"/>
                        <a:pt x="51573" y="0"/>
                      </a:cubicBezTo>
                      <a:cubicBezTo>
                        <a:pt x="60674" y="0"/>
                        <a:pt x="78877" y="6067"/>
                        <a:pt x="81910" y="15169"/>
                      </a:cubicBezTo>
                      <a:cubicBezTo>
                        <a:pt x="84944" y="27303"/>
                        <a:pt x="72809" y="39438"/>
                        <a:pt x="66741" y="45506"/>
                      </a:cubicBezTo>
                      <a:cubicBezTo>
                        <a:pt x="60674" y="54607"/>
                        <a:pt x="48540" y="60674"/>
                        <a:pt x="42472" y="66742"/>
                      </a:cubicBezTo>
                      <a:cubicBezTo>
                        <a:pt x="36404" y="72809"/>
                        <a:pt x="27303" y="75843"/>
                        <a:pt x="18202" y="72809"/>
                      </a:cubicBezTo>
                      <a:cubicBezTo>
                        <a:pt x="12135" y="69775"/>
                        <a:pt x="0" y="57640"/>
                        <a:pt x="0" y="51573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3" name="任意多边形: 形状 242">
                  <a:extLst>
                    <a:ext uri="{FF2B5EF4-FFF2-40B4-BE49-F238E27FC236}">
                      <a16:creationId xmlns:a16="http://schemas.microsoft.com/office/drawing/2014/main" id="{67AAE6FF-6722-4484-BA1E-09F906745488}"/>
                    </a:ext>
                  </a:extLst>
                </p:cNvPr>
                <p:cNvSpPr/>
                <p:nvPr/>
              </p:nvSpPr>
              <p:spPr>
                <a:xfrm>
                  <a:off x="6956416" y="3147257"/>
                  <a:ext cx="132866" cy="145618"/>
                </a:xfrm>
                <a:custGeom>
                  <a:avLst/>
                  <a:gdLst>
                    <a:gd name="connsiteX0" fmla="*/ 53848 w 132866"/>
                    <a:gd name="connsiteY0" fmla="*/ 145618 h 145618"/>
                    <a:gd name="connsiteX1" fmla="*/ 35646 w 132866"/>
                    <a:gd name="connsiteY1" fmla="*/ 136517 h 145618"/>
                    <a:gd name="connsiteX2" fmla="*/ 23511 w 132866"/>
                    <a:gd name="connsiteY2" fmla="*/ 115281 h 145618"/>
                    <a:gd name="connsiteX3" fmla="*/ 26545 w 132866"/>
                    <a:gd name="connsiteY3" fmla="*/ 106180 h 145618"/>
                    <a:gd name="connsiteX4" fmla="*/ 75084 w 132866"/>
                    <a:gd name="connsiteY4" fmla="*/ 21236 h 145618"/>
                    <a:gd name="connsiteX5" fmla="*/ 65983 w 132866"/>
                    <a:gd name="connsiteY5" fmla="*/ 15169 h 145618"/>
                    <a:gd name="connsiteX6" fmla="*/ 65983 w 132866"/>
                    <a:gd name="connsiteY6" fmla="*/ 15169 h 145618"/>
                    <a:gd name="connsiteX7" fmla="*/ 11376 w 132866"/>
                    <a:gd name="connsiteY7" fmla="*/ 60674 h 145618"/>
                    <a:gd name="connsiteX8" fmla="*/ 2275 w 132866"/>
                    <a:gd name="connsiteY8" fmla="*/ 60674 h 145618"/>
                    <a:gd name="connsiteX9" fmla="*/ 2275 w 132866"/>
                    <a:gd name="connsiteY9" fmla="*/ 51573 h 145618"/>
                    <a:gd name="connsiteX10" fmla="*/ 65983 w 132866"/>
                    <a:gd name="connsiteY10" fmla="*/ 0 h 145618"/>
                    <a:gd name="connsiteX11" fmla="*/ 65983 w 132866"/>
                    <a:gd name="connsiteY11" fmla="*/ 0 h 145618"/>
                    <a:gd name="connsiteX12" fmla="*/ 84185 w 132866"/>
                    <a:gd name="connsiteY12" fmla="*/ 9101 h 145618"/>
                    <a:gd name="connsiteX13" fmla="*/ 90253 w 132866"/>
                    <a:gd name="connsiteY13" fmla="*/ 21236 h 145618"/>
                    <a:gd name="connsiteX14" fmla="*/ 126657 w 132866"/>
                    <a:gd name="connsiteY14" fmla="*/ 39438 h 145618"/>
                    <a:gd name="connsiteX15" fmla="*/ 108455 w 132866"/>
                    <a:gd name="connsiteY15" fmla="*/ 97079 h 145618"/>
                    <a:gd name="connsiteX16" fmla="*/ 53848 w 132866"/>
                    <a:gd name="connsiteY16" fmla="*/ 145618 h 145618"/>
                    <a:gd name="connsiteX17" fmla="*/ 53848 w 132866"/>
                    <a:gd name="connsiteY17" fmla="*/ 145618 h 145618"/>
                    <a:gd name="connsiteX18" fmla="*/ 96320 w 132866"/>
                    <a:gd name="connsiteY18" fmla="*/ 42472 h 145618"/>
                    <a:gd name="connsiteX19" fmla="*/ 35646 w 132866"/>
                    <a:gd name="connsiteY19" fmla="*/ 118315 h 145618"/>
                    <a:gd name="connsiteX20" fmla="*/ 41713 w 132866"/>
                    <a:gd name="connsiteY20" fmla="*/ 130450 h 145618"/>
                    <a:gd name="connsiteX21" fmla="*/ 53848 w 132866"/>
                    <a:gd name="connsiteY21" fmla="*/ 136517 h 145618"/>
                    <a:gd name="connsiteX22" fmla="*/ 102388 w 132866"/>
                    <a:gd name="connsiteY22" fmla="*/ 100112 h 145618"/>
                    <a:gd name="connsiteX23" fmla="*/ 120590 w 132866"/>
                    <a:gd name="connsiteY23" fmla="*/ 54607 h 145618"/>
                    <a:gd name="connsiteX24" fmla="*/ 96320 w 132866"/>
                    <a:gd name="connsiteY24" fmla="*/ 42472 h 145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32866" h="145618">
                      <a:moveTo>
                        <a:pt x="53848" y="145618"/>
                      </a:moveTo>
                      <a:cubicBezTo>
                        <a:pt x="47781" y="145618"/>
                        <a:pt x="38679" y="142584"/>
                        <a:pt x="35646" y="136517"/>
                      </a:cubicBezTo>
                      <a:cubicBezTo>
                        <a:pt x="29579" y="130450"/>
                        <a:pt x="23511" y="121348"/>
                        <a:pt x="23511" y="115281"/>
                      </a:cubicBezTo>
                      <a:cubicBezTo>
                        <a:pt x="23511" y="109214"/>
                        <a:pt x="26545" y="106180"/>
                        <a:pt x="26545" y="106180"/>
                      </a:cubicBezTo>
                      <a:cubicBezTo>
                        <a:pt x="96320" y="51573"/>
                        <a:pt x="84185" y="33371"/>
                        <a:pt x="75084" y="21236"/>
                      </a:cubicBezTo>
                      <a:cubicBezTo>
                        <a:pt x="72050" y="18202"/>
                        <a:pt x="69017" y="15169"/>
                        <a:pt x="65983" y="15169"/>
                      </a:cubicBezTo>
                      <a:lnTo>
                        <a:pt x="65983" y="15169"/>
                      </a:lnTo>
                      <a:cubicBezTo>
                        <a:pt x="50815" y="15169"/>
                        <a:pt x="23511" y="42472"/>
                        <a:pt x="11376" y="60674"/>
                      </a:cubicBezTo>
                      <a:cubicBezTo>
                        <a:pt x="8342" y="63708"/>
                        <a:pt x="5309" y="63708"/>
                        <a:pt x="2275" y="60674"/>
                      </a:cubicBezTo>
                      <a:cubicBezTo>
                        <a:pt x="-758" y="57640"/>
                        <a:pt x="-758" y="54607"/>
                        <a:pt x="2275" y="51573"/>
                      </a:cubicBezTo>
                      <a:cubicBezTo>
                        <a:pt x="5309" y="45506"/>
                        <a:pt x="38679" y="0"/>
                        <a:pt x="65983" y="0"/>
                      </a:cubicBezTo>
                      <a:lnTo>
                        <a:pt x="65983" y="0"/>
                      </a:lnTo>
                      <a:cubicBezTo>
                        <a:pt x="75084" y="0"/>
                        <a:pt x="81152" y="3034"/>
                        <a:pt x="84185" y="9101"/>
                      </a:cubicBezTo>
                      <a:cubicBezTo>
                        <a:pt x="87219" y="12135"/>
                        <a:pt x="90253" y="15169"/>
                        <a:pt x="90253" y="21236"/>
                      </a:cubicBezTo>
                      <a:cubicBezTo>
                        <a:pt x="93286" y="21236"/>
                        <a:pt x="117556" y="24270"/>
                        <a:pt x="126657" y="39438"/>
                      </a:cubicBezTo>
                      <a:cubicBezTo>
                        <a:pt x="141826" y="57640"/>
                        <a:pt x="126657" y="75843"/>
                        <a:pt x="108455" y="97079"/>
                      </a:cubicBezTo>
                      <a:cubicBezTo>
                        <a:pt x="90253" y="133483"/>
                        <a:pt x="72050" y="145618"/>
                        <a:pt x="53848" y="145618"/>
                      </a:cubicBezTo>
                      <a:cubicBezTo>
                        <a:pt x="53848" y="145618"/>
                        <a:pt x="53848" y="145618"/>
                        <a:pt x="53848" y="145618"/>
                      </a:cubicBezTo>
                      <a:close/>
                      <a:moveTo>
                        <a:pt x="96320" y="42472"/>
                      </a:moveTo>
                      <a:cubicBezTo>
                        <a:pt x="96320" y="60674"/>
                        <a:pt x="81152" y="81910"/>
                        <a:pt x="35646" y="118315"/>
                      </a:cubicBezTo>
                      <a:cubicBezTo>
                        <a:pt x="35646" y="118315"/>
                        <a:pt x="35646" y="124382"/>
                        <a:pt x="41713" y="130450"/>
                      </a:cubicBezTo>
                      <a:cubicBezTo>
                        <a:pt x="44747" y="133483"/>
                        <a:pt x="50815" y="133483"/>
                        <a:pt x="53848" y="136517"/>
                      </a:cubicBezTo>
                      <a:cubicBezTo>
                        <a:pt x="59916" y="136517"/>
                        <a:pt x="78118" y="130450"/>
                        <a:pt x="102388" y="100112"/>
                      </a:cubicBezTo>
                      <a:cubicBezTo>
                        <a:pt x="123623" y="75843"/>
                        <a:pt x="126657" y="66742"/>
                        <a:pt x="120590" y="54607"/>
                      </a:cubicBezTo>
                      <a:cubicBezTo>
                        <a:pt x="114522" y="45506"/>
                        <a:pt x="102388" y="42472"/>
                        <a:pt x="96320" y="42472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4" name="任意多边形: 形状 243">
                  <a:extLst>
                    <a:ext uri="{FF2B5EF4-FFF2-40B4-BE49-F238E27FC236}">
                      <a16:creationId xmlns:a16="http://schemas.microsoft.com/office/drawing/2014/main" id="{A9DFF4C8-0EFB-427E-9697-C00792EAE211}"/>
                    </a:ext>
                  </a:extLst>
                </p:cNvPr>
                <p:cNvSpPr/>
                <p:nvPr/>
              </p:nvSpPr>
              <p:spPr>
                <a:xfrm>
                  <a:off x="7015736" y="3217033"/>
                  <a:ext cx="101963" cy="109213"/>
                </a:xfrm>
                <a:custGeom>
                  <a:avLst/>
                  <a:gdLst>
                    <a:gd name="connsiteX0" fmla="*/ 27898 w 101963"/>
                    <a:gd name="connsiteY0" fmla="*/ 109213 h 109213"/>
                    <a:gd name="connsiteX1" fmla="*/ 15764 w 101963"/>
                    <a:gd name="connsiteY1" fmla="*/ 106180 h 109213"/>
                    <a:gd name="connsiteX2" fmla="*/ 595 w 101963"/>
                    <a:gd name="connsiteY2" fmla="*/ 75843 h 109213"/>
                    <a:gd name="connsiteX3" fmla="*/ 6662 w 101963"/>
                    <a:gd name="connsiteY3" fmla="*/ 69775 h 109213"/>
                    <a:gd name="connsiteX4" fmla="*/ 12730 w 101963"/>
                    <a:gd name="connsiteY4" fmla="*/ 75843 h 109213"/>
                    <a:gd name="connsiteX5" fmla="*/ 24864 w 101963"/>
                    <a:gd name="connsiteY5" fmla="*/ 97079 h 109213"/>
                    <a:gd name="connsiteX6" fmla="*/ 30932 w 101963"/>
                    <a:gd name="connsiteY6" fmla="*/ 100112 h 109213"/>
                    <a:gd name="connsiteX7" fmla="*/ 85539 w 101963"/>
                    <a:gd name="connsiteY7" fmla="*/ 48539 h 109213"/>
                    <a:gd name="connsiteX8" fmla="*/ 88572 w 101963"/>
                    <a:gd name="connsiteY8" fmla="*/ 30337 h 109213"/>
                    <a:gd name="connsiteX9" fmla="*/ 70370 w 101963"/>
                    <a:gd name="connsiteY9" fmla="*/ 12135 h 109213"/>
                    <a:gd name="connsiteX10" fmla="*/ 67337 w 101963"/>
                    <a:gd name="connsiteY10" fmla="*/ 3034 h 109213"/>
                    <a:gd name="connsiteX11" fmla="*/ 76438 w 101963"/>
                    <a:gd name="connsiteY11" fmla="*/ 0 h 109213"/>
                    <a:gd name="connsiteX12" fmla="*/ 100707 w 101963"/>
                    <a:gd name="connsiteY12" fmla="*/ 24270 h 109213"/>
                    <a:gd name="connsiteX13" fmla="*/ 97674 w 101963"/>
                    <a:gd name="connsiteY13" fmla="*/ 51573 h 109213"/>
                    <a:gd name="connsiteX14" fmla="*/ 37000 w 101963"/>
                    <a:gd name="connsiteY14" fmla="*/ 109213 h 109213"/>
                    <a:gd name="connsiteX15" fmla="*/ 27898 w 101963"/>
                    <a:gd name="connsiteY15" fmla="*/ 109213 h 109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01963" h="109213">
                      <a:moveTo>
                        <a:pt x="27898" y="109213"/>
                      </a:moveTo>
                      <a:cubicBezTo>
                        <a:pt x="24864" y="109213"/>
                        <a:pt x="21831" y="109213"/>
                        <a:pt x="15764" y="106180"/>
                      </a:cubicBezTo>
                      <a:cubicBezTo>
                        <a:pt x="6662" y="100112"/>
                        <a:pt x="-2439" y="84944"/>
                        <a:pt x="595" y="75843"/>
                      </a:cubicBezTo>
                      <a:cubicBezTo>
                        <a:pt x="595" y="72809"/>
                        <a:pt x="3629" y="69775"/>
                        <a:pt x="6662" y="69775"/>
                      </a:cubicBezTo>
                      <a:cubicBezTo>
                        <a:pt x="9696" y="69775"/>
                        <a:pt x="12730" y="72809"/>
                        <a:pt x="12730" y="75843"/>
                      </a:cubicBezTo>
                      <a:cubicBezTo>
                        <a:pt x="12730" y="78876"/>
                        <a:pt x="18797" y="91011"/>
                        <a:pt x="24864" y="97079"/>
                      </a:cubicBezTo>
                      <a:cubicBezTo>
                        <a:pt x="24864" y="97079"/>
                        <a:pt x="27898" y="100112"/>
                        <a:pt x="30932" y="100112"/>
                      </a:cubicBezTo>
                      <a:cubicBezTo>
                        <a:pt x="40033" y="97079"/>
                        <a:pt x="67337" y="75843"/>
                        <a:pt x="85539" y="48539"/>
                      </a:cubicBezTo>
                      <a:cubicBezTo>
                        <a:pt x="88572" y="42472"/>
                        <a:pt x="91606" y="36404"/>
                        <a:pt x="88572" y="30337"/>
                      </a:cubicBezTo>
                      <a:cubicBezTo>
                        <a:pt x="85539" y="18202"/>
                        <a:pt x="70370" y="12135"/>
                        <a:pt x="70370" y="12135"/>
                      </a:cubicBezTo>
                      <a:cubicBezTo>
                        <a:pt x="67337" y="9101"/>
                        <a:pt x="67337" y="6067"/>
                        <a:pt x="67337" y="3034"/>
                      </a:cubicBezTo>
                      <a:cubicBezTo>
                        <a:pt x="67337" y="0"/>
                        <a:pt x="73404" y="0"/>
                        <a:pt x="76438" y="0"/>
                      </a:cubicBezTo>
                      <a:cubicBezTo>
                        <a:pt x="76438" y="0"/>
                        <a:pt x="94640" y="9101"/>
                        <a:pt x="100707" y="24270"/>
                      </a:cubicBezTo>
                      <a:cubicBezTo>
                        <a:pt x="103741" y="33371"/>
                        <a:pt x="100707" y="42472"/>
                        <a:pt x="97674" y="51573"/>
                      </a:cubicBezTo>
                      <a:cubicBezTo>
                        <a:pt x="82505" y="78876"/>
                        <a:pt x="52168" y="106180"/>
                        <a:pt x="37000" y="109213"/>
                      </a:cubicBezTo>
                      <a:cubicBezTo>
                        <a:pt x="30932" y="109213"/>
                        <a:pt x="30932" y="109213"/>
                        <a:pt x="27898" y="10921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45" name="任意多边形: 形状 244">
                <a:extLst>
                  <a:ext uri="{FF2B5EF4-FFF2-40B4-BE49-F238E27FC236}">
                    <a16:creationId xmlns:a16="http://schemas.microsoft.com/office/drawing/2014/main" id="{C1DB48A5-B00E-473D-A95D-C4AFCF272D06}"/>
                  </a:ext>
                </a:extLst>
              </p:cNvPr>
              <p:cNvSpPr/>
              <p:nvPr/>
            </p:nvSpPr>
            <p:spPr>
              <a:xfrm>
                <a:off x="7040601" y="3253437"/>
                <a:ext cx="94338" cy="91011"/>
              </a:xfrm>
              <a:custGeom>
                <a:avLst/>
                <a:gdLst>
                  <a:gd name="connsiteX0" fmla="*/ 30337 w 94338"/>
                  <a:gd name="connsiteY0" fmla="*/ 91011 h 91011"/>
                  <a:gd name="connsiteX1" fmla="*/ 27304 w 94338"/>
                  <a:gd name="connsiteY1" fmla="*/ 91011 h 91011"/>
                  <a:gd name="connsiteX2" fmla="*/ 0 w 94338"/>
                  <a:gd name="connsiteY2" fmla="*/ 66742 h 91011"/>
                  <a:gd name="connsiteX3" fmla="*/ 3034 w 94338"/>
                  <a:gd name="connsiteY3" fmla="*/ 57640 h 91011"/>
                  <a:gd name="connsiteX4" fmla="*/ 12135 w 94338"/>
                  <a:gd name="connsiteY4" fmla="*/ 60674 h 91011"/>
                  <a:gd name="connsiteX5" fmla="*/ 30337 w 94338"/>
                  <a:gd name="connsiteY5" fmla="*/ 75843 h 91011"/>
                  <a:gd name="connsiteX6" fmla="*/ 51573 w 94338"/>
                  <a:gd name="connsiteY6" fmla="*/ 66742 h 91011"/>
                  <a:gd name="connsiteX7" fmla="*/ 84944 w 94338"/>
                  <a:gd name="connsiteY7" fmla="*/ 30337 h 91011"/>
                  <a:gd name="connsiteX8" fmla="*/ 63708 w 94338"/>
                  <a:gd name="connsiteY8" fmla="*/ 12135 h 91011"/>
                  <a:gd name="connsiteX9" fmla="*/ 57641 w 94338"/>
                  <a:gd name="connsiteY9" fmla="*/ 6067 h 91011"/>
                  <a:gd name="connsiteX10" fmla="*/ 63708 w 94338"/>
                  <a:gd name="connsiteY10" fmla="*/ 0 h 91011"/>
                  <a:gd name="connsiteX11" fmla="*/ 94045 w 94338"/>
                  <a:gd name="connsiteY11" fmla="*/ 30337 h 91011"/>
                  <a:gd name="connsiteX12" fmla="*/ 54607 w 94338"/>
                  <a:gd name="connsiteY12" fmla="*/ 75843 h 91011"/>
                  <a:gd name="connsiteX13" fmla="*/ 30337 w 94338"/>
                  <a:gd name="connsiteY13" fmla="*/ 91011 h 91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4338" h="91011">
                    <a:moveTo>
                      <a:pt x="30337" y="91011"/>
                    </a:moveTo>
                    <a:cubicBezTo>
                      <a:pt x="30337" y="91011"/>
                      <a:pt x="27304" y="91011"/>
                      <a:pt x="27304" y="91011"/>
                    </a:cubicBezTo>
                    <a:cubicBezTo>
                      <a:pt x="6068" y="87978"/>
                      <a:pt x="0" y="69775"/>
                      <a:pt x="0" y="66742"/>
                    </a:cubicBezTo>
                    <a:cubicBezTo>
                      <a:pt x="0" y="63708"/>
                      <a:pt x="0" y="60674"/>
                      <a:pt x="3034" y="57640"/>
                    </a:cubicBezTo>
                    <a:cubicBezTo>
                      <a:pt x="6068" y="57640"/>
                      <a:pt x="9101" y="57640"/>
                      <a:pt x="12135" y="60674"/>
                    </a:cubicBezTo>
                    <a:cubicBezTo>
                      <a:pt x="12135" y="60674"/>
                      <a:pt x="18202" y="72809"/>
                      <a:pt x="30337" y="75843"/>
                    </a:cubicBezTo>
                    <a:cubicBezTo>
                      <a:pt x="33371" y="75843"/>
                      <a:pt x="39438" y="75843"/>
                      <a:pt x="51573" y="66742"/>
                    </a:cubicBezTo>
                    <a:cubicBezTo>
                      <a:pt x="69775" y="54607"/>
                      <a:pt x="84944" y="36405"/>
                      <a:pt x="84944" y="30337"/>
                    </a:cubicBezTo>
                    <a:cubicBezTo>
                      <a:pt x="87978" y="15169"/>
                      <a:pt x="63708" y="12135"/>
                      <a:pt x="63708" y="12135"/>
                    </a:cubicBezTo>
                    <a:cubicBezTo>
                      <a:pt x="60674" y="12135"/>
                      <a:pt x="57641" y="9101"/>
                      <a:pt x="57641" y="6067"/>
                    </a:cubicBezTo>
                    <a:cubicBezTo>
                      <a:pt x="57641" y="3034"/>
                      <a:pt x="60674" y="0"/>
                      <a:pt x="63708" y="0"/>
                    </a:cubicBezTo>
                    <a:cubicBezTo>
                      <a:pt x="75843" y="0"/>
                      <a:pt x="97079" y="9101"/>
                      <a:pt x="94045" y="30337"/>
                    </a:cubicBezTo>
                    <a:cubicBezTo>
                      <a:pt x="94045" y="42472"/>
                      <a:pt x="69775" y="63708"/>
                      <a:pt x="54607" y="75843"/>
                    </a:cubicBezTo>
                    <a:cubicBezTo>
                      <a:pt x="45506" y="87978"/>
                      <a:pt x="36405" y="91011"/>
                      <a:pt x="30337" y="9101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558472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BBA60772-5BFA-4A88-9B8F-42319737CAF6}"/>
              </a:ext>
            </a:extLst>
          </p:cNvPr>
          <p:cNvGrpSpPr/>
          <p:nvPr/>
        </p:nvGrpSpPr>
        <p:grpSpPr>
          <a:xfrm>
            <a:off x="6618128" y="1970515"/>
            <a:ext cx="3337078" cy="4836094"/>
            <a:chOff x="14257792" y="1848466"/>
            <a:chExt cx="3337078" cy="4836094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632A7B04-487E-4F23-8655-622ADCC7ECEC}"/>
                </a:ext>
              </a:extLst>
            </p:cNvPr>
            <p:cNvSpPr/>
            <p:nvPr/>
          </p:nvSpPr>
          <p:spPr>
            <a:xfrm>
              <a:off x="14727777" y="2752875"/>
              <a:ext cx="1014235" cy="716516"/>
            </a:xfrm>
            <a:custGeom>
              <a:avLst/>
              <a:gdLst>
                <a:gd name="connsiteX0" fmla="*/ 998330 w 1014235"/>
                <a:gd name="connsiteY0" fmla="*/ 127416 h 716516"/>
                <a:gd name="connsiteX1" fmla="*/ 576644 w 1014235"/>
                <a:gd name="connsiteY1" fmla="*/ 218427 h 716516"/>
                <a:gd name="connsiteX2" fmla="*/ 224734 w 1014235"/>
                <a:gd name="connsiteY2" fmla="*/ 455056 h 716516"/>
                <a:gd name="connsiteX3" fmla="*/ 106419 w 1014235"/>
                <a:gd name="connsiteY3" fmla="*/ 0 h 716516"/>
                <a:gd name="connsiteX4" fmla="*/ 239 w 1014235"/>
                <a:gd name="connsiteY4" fmla="*/ 84944 h 716516"/>
                <a:gd name="connsiteX5" fmla="*/ 85184 w 1014235"/>
                <a:gd name="connsiteY5" fmla="*/ 700787 h 716516"/>
                <a:gd name="connsiteX6" fmla="*/ 998330 w 1014235"/>
                <a:gd name="connsiteY6" fmla="*/ 127416 h 71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4235" h="716516">
                  <a:moveTo>
                    <a:pt x="998330" y="127416"/>
                  </a:moveTo>
                  <a:cubicBezTo>
                    <a:pt x="934622" y="30337"/>
                    <a:pt x="676757" y="166854"/>
                    <a:pt x="576644" y="218427"/>
                  </a:cubicBezTo>
                  <a:cubicBezTo>
                    <a:pt x="488666" y="263933"/>
                    <a:pt x="224734" y="455056"/>
                    <a:pt x="224734" y="455056"/>
                  </a:cubicBezTo>
                  <a:lnTo>
                    <a:pt x="106419" y="0"/>
                  </a:lnTo>
                  <a:lnTo>
                    <a:pt x="239" y="84944"/>
                  </a:lnTo>
                  <a:cubicBezTo>
                    <a:pt x="239" y="84944"/>
                    <a:pt x="-8861" y="640112"/>
                    <a:pt x="85184" y="700787"/>
                  </a:cubicBezTo>
                  <a:cubicBezTo>
                    <a:pt x="245970" y="806966"/>
                    <a:pt x="1143948" y="348876"/>
                    <a:pt x="998330" y="127416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3777F6F7-D5BD-4288-A98A-4B6099600408}"/>
                </a:ext>
              </a:extLst>
            </p:cNvPr>
            <p:cNvSpPr/>
            <p:nvPr/>
          </p:nvSpPr>
          <p:spPr>
            <a:xfrm>
              <a:off x="15289252" y="2730472"/>
              <a:ext cx="574316" cy="541167"/>
            </a:xfrm>
            <a:custGeom>
              <a:avLst/>
              <a:gdLst>
                <a:gd name="connsiteX0" fmla="*/ 239664 w 574316"/>
                <a:gd name="connsiteY0" fmla="*/ 541167 h 541167"/>
                <a:gd name="connsiteX1" fmla="*/ 567304 w 574316"/>
                <a:gd name="connsiteY1" fmla="*/ 43639 h 541167"/>
                <a:gd name="connsiteX2" fmla="*/ 0 w 574316"/>
                <a:gd name="connsiteY2" fmla="*/ 195325 h 541167"/>
                <a:gd name="connsiteX3" fmla="*/ 239664 w 574316"/>
                <a:gd name="connsiteY3" fmla="*/ 541167 h 54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4316" h="541167">
                  <a:moveTo>
                    <a:pt x="239664" y="541167"/>
                  </a:moveTo>
                  <a:cubicBezTo>
                    <a:pt x="239664" y="541167"/>
                    <a:pt x="631012" y="174089"/>
                    <a:pt x="567304" y="43639"/>
                  </a:cubicBezTo>
                  <a:cubicBezTo>
                    <a:pt x="494495" y="-111080"/>
                    <a:pt x="0" y="195325"/>
                    <a:pt x="0" y="195325"/>
                  </a:cubicBezTo>
                  <a:cubicBezTo>
                    <a:pt x="0" y="195325"/>
                    <a:pt x="69776" y="410718"/>
                    <a:pt x="239664" y="541167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8B039717-2D66-43E8-9D6E-93E3FFAEFA07}"/>
                </a:ext>
              </a:extLst>
            </p:cNvPr>
            <p:cNvGrpSpPr/>
            <p:nvPr/>
          </p:nvGrpSpPr>
          <p:grpSpPr>
            <a:xfrm>
              <a:off x="14568871" y="2503304"/>
              <a:ext cx="286399" cy="345129"/>
              <a:chOff x="14568871" y="2503304"/>
              <a:chExt cx="286399" cy="345129"/>
            </a:xfrm>
          </p:grpSpPr>
          <p:grpSp>
            <p:nvGrpSpPr>
              <p:cNvPr id="83" name="图形 1">
                <a:extLst>
                  <a:ext uri="{FF2B5EF4-FFF2-40B4-BE49-F238E27FC236}">
                    <a16:creationId xmlns:a16="http://schemas.microsoft.com/office/drawing/2014/main" id="{675701E6-CAF3-461C-B837-F6F15834F062}"/>
                  </a:ext>
                </a:extLst>
              </p:cNvPr>
              <p:cNvGrpSpPr/>
              <p:nvPr/>
            </p:nvGrpSpPr>
            <p:grpSpPr>
              <a:xfrm>
                <a:off x="14568871" y="2503304"/>
                <a:ext cx="286399" cy="345129"/>
                <a:chOff x="14568871" y="2503304"/>
                <a:chExt cx="286399" cy="345129"/>
              </a:xfrm>
            </p:grpSpPr>
            <p:sp>
              <p:nvSpPr>
                <p:cNvPr id="86" name="任意多边形: 形状 85">
                  <a:extLst>
                    <a:ext uri="{FF2B5EF4-FFF2-40B4-BE49-F238E27FC236}">
                      <a16:creationId xmlns:a16="http://schemas.microsoft.com/office/drawing/2014/main" id="{AA6EF3E6-8A2F-49ED-AA95-8909A522CA0C}"/>
                    </a:ext>
                  </a:extLst>
                </p:cNvPr>
                <p:cNvSpPr/>
                <p:nvPr/>
              </p:nvSpPr>
              <p:spPr>
                <a:xfrm>
                  <a:off x="14568871" y="2511696"/>
                  <a:ext cx="286399" cy="336738"/>
                </a:xfrm>
                <a:custGeom>
                  <a:avLst/>
                  <a:gdLst>
                    <a:gd name="connsiteX0" fmla="*/ 59034 w 286399"/>
                    <a:gd name="connsiteY0" fmla="*/ 213876 h 336738"/>
                    <a:gd name="connsiteX1" fmla="*/ 147011 w 286399"/>
                    <a:gd name="connsiteY1" fmla="*/ 329157 h 336738"/>
                    <a:gd name="connsiteX2" fmla="*/ 256225 w 286399"/>
                    <a:gd name="connsiteY2" fmla="*/ 310955 h 336738"/>
                    <a:gd name="connsiteX3" fmla="*/ 256225 w 286399"/>
                    <a:gd name="connsiteY3" fmla="*/ 304888 h 336738"/>
                    <a:gd name="connsiteX4" fmla="*/ 256225 w 286399"/>
                    <a:gd name="connsiteY4" fmla="*/ 304888 h 336738"/>
                    <a:gd name="connsiteX5" fmla="*/ 247124 w 286399"/>
                    <a:gd name="connsiteY5" fmla="*/ 110730 h 336738"/>
                    <a:gd name="connsiteX6" fmla="*/ 219820 w 286399"/>
                    <a:gd name="connsiteY6" fmla="*/ 128933 h 336738"/>
                    <a:gd name="connsiteX7" fmla="*/ 225888 w 286399"/>
                    <a:gd name="connsiteY7" fmla="*/ 201742 h 336738"/>
                    <a:gd name="connsiteX8" fmla="*/ 134876 w 286399"/>
                    <a:gd name="connsiteY8" fmla="*/ 25787 h 336738"/>
                    <a:gd name="connsiteX9" fmla="*/ 101505 w 286399"/>
                    <a:gd name="connsiteY9" fmla="*/ 13652 h 336738"/>
                    <a:gd name="connsiteX10" fmla="*/ 116674 w 286399"/>
                    <a:gd name="connsiteY10" fmla="*/ 59157 h 336738"/>
                    <a:gd name="connsiteX11" fmla="*/ 140944 w 286399"/>
                    <a:gd name="connsiteY11" fmla="*/ 116798 h 336738"/>
                    <a:gd name="connsiteX12" fmla="*/ 89371 w 286399"/>
                    <a:gd name="connsiteY12" fmla="*/ 50056 h 336738"/>
                    <a:gd name="connsiteX13" fmla="*/ 49933 w 286399"/>
                    <a:gd name="connsiteY13" fmla="*/ 4551 h 336738"/>
                    <a:gd name="connsiteX14" fmla="*/ 19596 w 286399"/>
                    <a:gd name="connsiteY14" fmla="*/ 4551 h 336738"/>
                    <a:gd name="connsiteX15" fmla="*/ 16562 w 286399"/>
                    <a:gd name="connsiteY15" fmla="*/ 34888 h 336738"/>
                    <a:gd name="connsiteX16" fmla="*/ 13528 w 286399"/>
                    <a:gd name="connsiteY16" fmla="*/ 34888 h 336738"/>
                    <a:gd name="connsiteX17" fmla="*/ 1393 w 286399"/>
                    <a:gd name="connsiteY17" fmla="*/ 37921 h 336738"/>
                    <a:gd name="connsiteX18" fmla="*/ 19596 w 286399"/>
                    <a:gd name="connsiteY18" fmla="*/ 86461 h 336738"/>
                    <a:gd name="connsiteX19" fmla="*/ 37797 w 286399"/>
                    <a:gd name="connsiteY19" fmla="*/ 110730 h 336738"/>
                    <a:gd name="connsiteX20" fmla="*/ 31731 w 286399"/>
                    <a:gd name="connsiteY20" fmla="*/ 107697 h 336738"/>
                    <a:gd name="connsiteX21" fmla="*/ 10494 w 286399"/>
                    <a:gd name="connsiteY21" fmla="*/ 107697 h 336738"/>
                    <a:gd name="connsiteX22" fmla="*/ 59034 w 286399"/>
                    <a:gd name="connsiteY22" fmla="*/ 213876 h 3367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86399" h="336738">
                      <a:moveTo>
                        <a:pt x="59034" y="213876"/>
                      </a:moveTo>
                      <a:cubicBezTo>
                        <a:pt x="83303" y="253315"/>
                        <a:pt x="98472" y="310955"/>
                        <a:pt x="147011" y="329157"/>
                      </a:cubicBezTo>
                      <a:cubicBezTo>
                        <a:pt x="177348" y="341292"/>
                        <a:pt x="241056" y="341292"/>
                        <a:pt x="256225" y="310955"/>
                      </a:cubicBezTo>
                      <a:cubicBezTo>
                        <a:pt x="256225" y="307921"/>
                        <a:pt x="256225" y="307921"/>
                        <a:pt x="256225" y="304888"/>
                      </a:cubicBezTo>
                      <a:cubicBezTo>
                        <a:pt x="256225" y="304888"/>
                        <a:pt x="256225" y="304888"/>
                        <a:pt x="256225" y="304888"/>
                      </a:cubicBezTo>
                      <a:cubicBezTo>
                        <a:pt x="304764" y="250281"/>
                        <a:pt x="289596" y="159270"/>
                        <a:pt x="247124" y="110730"/>
                      </a:cubicBezTo>
                      <a:cubicBezTo>
                        <a:pt x="244090" y="107697"/>
                        <a:pt x="216787" y="113764"/>
                        <a:pt x="219820" y="128933"/>
                      </a:cubicBezTo>
                      <a:cubicBezTo>
                        <a:pt x="228922" y="156236"/>
                        <a:pt x="231955" y="180506"/>
                        <a:pt x="225888" y="201742"/>
                      </a:cubicBezTo>
                      <a:cubicBezTo>
                        <a:pt x="189483" y="144101"/>
                        <a:pt x="183416" y="77360"/>
                        <a:pt x="134876" y="25787"/>
                      </a:cubicBezTo>
                      <a:cubicBezTo>
                        <a:pt x="128809" y="16685"/>
                        <a:pt x="104539" y="-4551"/>
                        <a:pt x="101505" y="13652"/>
                      </a:cubicBezTo>
                      <a:cubicBezTo>
                        <a:pt x="98472" y="25787"/>
                        <a:pt x="113640" y="47022"/>
                        <a:pt x="116674" y="59157"/>
                      </a:cubicBezTo>
                      <a:cubicBezTo>
                        <a:pt x="125776" y="77360"/>
                        <a:pt x="131843" y="98595"/>
                        <a:pt x="140944" y="116798"/>
                      </a:cubicBezTo>
                      <a:cubicBezTo>
                        <a:pt x="122742" y="95562"/>
                        <a:pt x="107573" y="71292"/>
                        <a:pt x="89371" y="50056"/>
                      </a:cubicBezTo>
                      <a:cubicBezTo>
                        <a:pt x="77236" y="34888"/>
                        <a:pt x="68134" y="13652"/>
                        <a:pt x="49933" y="4551"/>
                      </a:cubicBezTo>
                      <a:cubicBezTo>
                        <a:pt x="37797" y="-1517"/>
                        <a:pt x="28697" y="-1517"/>
                        <a:pt x="19596" y="4551"/>
                      </a:cubicBezTo>
                      <a:cubicBezTo>
                        <a:pt x="13528" y="13652"/>
                        <a:pt x="13528" y="22753"/>
                        <a:pt x="16562" y="34888"/>
                      </a:cubicBezTo>
                      <a:cubicBezTo>
                        <a:pt x="16562" y="34888"/>
                        <a:pt x="13528" y="34888"/>
                        <a:pt x="13528" y="34888"/>
                      </a:cubicBezTo>
                      <a:cubicBezTo>
                        <a:pt x="10494" y="34888"/>
                        <a:pt x="1393" y="34888"/>
                        <a:pt x="1393" y="37921"/>
                      </a:cubicBezTo>
                      <a:cubicBezTo>
                        <a:pt x="-4674" y="53090"/>
                        <a:pt x="10494" y="68258"/>
                        <a:pt x="19596" y="86461"/>
                      </a:cubicBezTo>
                      <a:cubicBezTo>
                        <a:pt x="25663" y="95562"/>
                        <a:pt x="31731" y="101629"/>
                        <a:pt x="37797" y="110730"/>
                      </a:cubicBezTo>
                      <a:cubicBezTo>
                        <a:pt x="34764" y="107697"/>
                        <a:pt x="34764" y="107697"/>
                        <a:pt x="31731" y="107697"/>
                      </a:cubicBezTo>
                      <a:cubicBezTo>
                        <a:pt x="22629" y="104663"/>
                        <a:pt x="16562" y="101629"/>
                        <a:pt x="10494" y="107697"/>
                      </a:cubicBezTo>
                      <a:cubicBezTo>
                        <a:pt x="-1640" y="116798"/>
                        <a:pt x="43865" y="192640"/>
                        <a:pt x="59034" y="213876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7" name="任意多边形: 形状 86">
                  <a:extLst>
                    <a:ext uri="{FF2B5EF4-FFF2-40B4-BE49-F238E27FC236}">
                      <a16:creationId xmlns:a16="http://schemas.microsoft.com/office/drawing/2014/main" id="{1BF70081-1A57-4415-AFEA-EABEFB84B960}"/>
                    </a:ext>
                  </a:extLst>
                </p:cNvPr>
                <p:cNvSpPr/>
                <p:nvPr/>
              </p:nvSpPr>
              <p:spPr>
                <a:xfrm>
                  <a:off x="14745251" y="2718248"/>
                  <a:ext cx="32561" cy="61930"/>
                </a:xfrm>
                <a:custGeom>
                  <a:avLst/>
                  <a:gdLst>
                    <a:gd name="connsiteX0" fmla="*/ 10070 w 32561"/>
                    <a:gd name="connsiteY0" fmla="*/ 61931 h 61930"/>
                    <a:gd name="connsiteX1" fmla="*/ 4002 w 32561"/>
                    <a:gd name="connsiteY1" fmla="*/ 58897 h 61930"/>
                    <a:gd name="connsiteX2" fmla="*/ 22204 w 32561"/>
                    <a:gd name="connsiteY2" fmla="*/ 1257 h 61930"/>
                    <a:gd name="connsiteX3" fmla="*/ 31305 w 32561"/>
                    <a:gd name="connsiteY3" fmla="*/ 4290 h 61930"/>
                    <a:gd name="connsiteX4" fmla="*/ 28271 w 32561"/>
                    <a:gd name="connsiteY4" fmla="*/ 13391 h 61930"/>
                    <a:gd name="connsiteX5" fmla="*/ 13102 w 32561"/>
                    <a:gd name="connsiteY5" fmla="*/ 58897 h 61930"/>
                    <a:gd name="connsiteX6" fmla="*/ 10070 w 32561"/>
                    <a:gd name="connsiteY6" fmla="*/ 61931 h 61930"/>
                    <a:gd name="connsiteX7" fmla="*/ 10070 w 32561"/>
                    <a:gd name="connsiteY7" fmla="*/ 61931 h 61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561" h="61930">
                      <a:moveTo>
                        <a:pt x="10070" y="61931"/>
                      </a:moveTo>
                      <a:cubicBezTo>
                        <a:pt x="7036" y="61931"/>
                        <a:pt x="7036" y="61931"/>
                        <a:pt x="4002" y="58897"/>
                      </a:cubicBezTo>
                      <a:cubicBezTo>
                        <a:pt x="-8133" y="28560"/>
                        <a:pt x="10070" y="7324"/>
                        <a:pt x="22204" y="1257"/>
                      </a:cubicBezTo>
                      <a:cubicBezTo>
                        <a:pt x="25238" y="-1777"/>
                        <a:pt x="28271" y="1257"/>
                        <a:pt x="31305" y="4290"/>
                      </a:cubicBezTo>
                      <a:cubicBezTo>
                        <a:pt x="34339" y="7324"/>
                        <a:pt x="31305" y="10358"/>
                        <a:pt x="28271" y="13391"/>
                      </a:cubicBezTo>
                      <a:cubicBezTo>
                        <a:pt x="28271" y="13391"/>
                        <a:pt x="4002" y="28560"/>
                        <a:pt x="13102" y="58897"/>
                      </a:cubicBezTo>
                      <a:cubicBezTo>
                        <a:pt x="16136" y="58897"/>
                        <a:pt x="16136" y="61931"/>
                        <a:pt x="10070" y="61931"/>
                      </a:cubicBezTo>
                      <a:cubicBezTo>
                        <a:pt x="13102" y="61931"/>
                        <a:pt x="10070" y="61931"/>
                        <a:pt x="10070" y="61931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8" name="任意多边形: 形状 87">
                  <a:extLst>
                    <a:ext uri="{FF2B5EF4-FFF2-40B4-BE49-F238E27FC236}">
                      <a16:creationId xmlns:a16="http://schemas.microsoft.com/office/drawing/2014/main" id="{49785AA8-F11B-4981-A71D-90A2C6279589}"/>
                    </a:ext>
                  </a:extLst>
                </p:cNvPr>
                <p:cNvSpPr/>
                <p:nvPr/>
              </p:nvSpPr>
              <p:spPr>
                <a:xfrm>
                  <a:off x="14580882" y="2503304"/>
                  <a:ext cx="135469" cy="131256"/>
                </a:xfrm>
                <a:custGeom>
                  <a:avLst/>
                  <a:gdLst>
                    <a:gd name="connsiteX0" fmla="*/ 131966 w 135469"/>
                    <a:gd name="connsiteY0" fmla="*/ 131256 h 131256"/>
                    <a:gd name="connsiteX1" fmla="*/ 125899 w 135469"/>
                    <a:gd name="connsiteY1" fmla="*/ 128223 h 131256"/>
                    <a:gd name="connsiteX2" fmla="*/ 28820 w 135469"/>
                    <a:gd name="connsiteY2" fmla="*/ 12942 h 131256"/>
                    <a:gd name="connsiteX3" fmla="*/ 13652 w 135469"/>
                    <a:gd name="connsiteY3" fmla="*/ 19009 h 131256"/>
                    <a:gd name="connsiteX4" fmla="*/ 13652 w 135469"/>
                    <a:gd name="connsiteY4" fmla="*/ 37211 h 131256"/>
                    <a:gd name="connsiteX5" fmla="*/ 10618 w 135469"/>
                    <a:gd name="connsiteY5" fmla="*/ 43279 h 131256"/>
                    <a:gd name="connsiteX6" fmla="*/ 4551 w 135469"/>
                    <a:gd name="connsiteY6" fmla="*/ 40245 h 131256"/>
                    <a:gd name="connsiteX7" fmla="*/ 4551 w 135469"/>
                    <a:gd name="connsiteY7" fmla="*/ 9908 h 131256"/>
                    <a:gd name="connsiteX8" fmla="*/ 28820 w 135469"/>
                    <a:gd name="connsiteY8" fmla="*/ 807 h 131256"/>
                    <a:gd name="connsiteX9" fmla="*/ 104663 w 135469"/>
                    <a:gd name="connsiteY9" fmla="*/ 82717 h 131256"/>
                    <a:gd name="connsiteX10" fmla="*/ 83427 w 135469"/>
                    <a:gd name="connsiteY10" fmla="*/ 22043 h 131256"/>
                    <a:gd name="connsiteX11" fmla="*/ 86460 w 135469"/>
                    <a:gd name="connsiteY11" fmla="*/ 15975 h 131256"/>
                    <a:gd name="connsiteX12" fmla="*/ 92528 w 135469"/>
                    <a:gd name="connsiteY12" fmla="*/ 19009 h 131256"/>
                    <a:gd name="connsiteX13" fmla="*/ 131966 w 135469"/>
                    <a:gd name="connsiteY13" fmla="*/ 122155 h 131256"/>
                    <a:gd name="connsiteX14" fmla="*/ 131966 w 135469"/>
                    <a:gd name="connsiteY14" fmla="*/ 131256 h 131256"/>
                    <a:gd name="connsiteX15" fmla="*/ 131966 w 135469"/>
                    <a:gd name="connsiteY15" fmla="*/ 131256 h 1312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35469" h="131256">
                      <a:moveTo>
                        <a:pt x="131966" y="131256"/>
                      </a:moveTo>
                      <a:cubicBezTo>
                        <a:pt x="128933" y="131256"/>
                        <a:pt x="128933" y="131256"/>
                        <a:pt x="125899" y="128223"/>
                      </a:cubicBezTo>
                      <a:cubicBezTo>
                        <a:pt x="86460" y="73616"/>
                        <a:pt x="40955" y="15975"/>
                        <a:pt x="28820" y="12942"/>
                      </a:cubicBezTo>
                      <a:cubicBezTo>
                        <a:pt x="22753" y="12942"/>
                        <a:pt x="16685" y="12942"/>
                        <a:pt x="13652" y="19009"/>
                      </a:cubicBezTo>
                      <a:cubicBezTo>
                        <a:pt x="10618" y="22043"/>
                        <a:pt x="10618" y="31144"/>
                        <a:pt x="13652" y="37211"/>
                      </a:cubicBezTo>
                      <a:cubicBezTo>
                        <a:pt x="13652" y="40245"/>
                        <a:pt x="13652" y="43279"/>
                        <a:pt x="10618" y="43279"/>
                      </a:cubicBezTo>
                      <a:cubicBezTo>
                        <a:pt x="7585" y="43279"/>
                        <a:pt x="4551" y="43279"/>
                        <a:pt x="4551" y="40245"/>
                      </a:cubicBezTo>
                      <a:cubicBezTo>
                        <a:pt x="-1517" y="28110"/>
                        <a:pt x="-1517" y="19009"/>
                        <a:pt x="4551" y="9908"/>
                      </a:cubicBezTo>
                      <a:cubicBezTo>
                        <a:pt x="10618" y="3841"/>
                        <a:pt x="19719" y="-2227"/>
                        <a:pt x="28820" y="807"/>
                      </a:cubicBezTo>
                      <a:cubicBezTo>
                        <a:pt x="40955" y="807"/>
                        <a:pt x="77360" y="46313"/>
                        <a:pt x="104663" y="82717"/>
                      </a:cubicBezTo>
                      <a:cubicBezTo>
                        <a:pt x="92528" y="52380"/>
                        <a:pt x="83427" y="25077"/>
                        <a:pt x="83427" y="22043"/>
                      </a:cubicBezTo>
                      <a:cubicBezTo>
                        <a:pt x="83427" y="19009"/>
                        <a:pt x="83427" y="15975"/>
                        <a:pt x="86460" y="15975"/>
                      </a:cubicBezTo>
                      <a:cubicBezTo>
                        <a:pt x="89494" y="15975"/>
                        <a:pt x="92528" y="15975"/>
                        <a:pt x="92528" y="19009"/>
                      </a:cubicBezTo>
                      <a:cubicBezTo>
                        <a:pt x="92528" y="19009"/>
                        <a:pt x="113765" y="85751"/>
                        <a:pt x="131966" y="122155"/>
                      </a:cubicBezTo>
                      <a:cubicBezTo>
                        <a:pt x="138034" y="125189"/>
                        <a:pt x="135000" y="128223"/>
                        <a:pt x="131966" y="131256"/>
                      </a:cubicBezTo>
                      <a:cubicBezTo>
                        <a:pt x="131966" y="128223"/>
                        <a:pt x="131966" y="131256"/>
                        <a:pt x="131966" y="131256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267C1BFE-F918-4DDE-800A-5447DA1229F0}"/>
                  </a:ext>
                </a:extLst>
              </p:cNvPr>
              <p:cNvSpPr/>
              <p:nvPr/>
            </p:nvSpPr>
            <p:spPr>
              <a:xfrm>
                <a:off x="14572920" y="2601190"/>
                <a:ext cx="93664" cy="118314"/>
              </a:xfrm>
              <a:custGeom>
                <a:avLst/>
                <a:gdLst>
                  <a:gd name="connsiteX0" fmla="*/ 48917 w 93664"/>
                  <a:gd name="connsiteY0" fmla="*/ 118315 h 118314"/>
                  <a:gd name="connsiteX1" fmla="*/ 42850 w 93664"/>
                  <a:gd name="connsiteY1" fmla="*/ 115281 h 118314"/>
                  <a:gd name="connsiteX2" fmla="*/ 3412 w 93664"/>
                  <a:gd name="connsiteY2" fmla="*/ 9101 h 118314"/>
                  <a:gd name="connsiteX3" fmla="*/ 18580 w 93664"/>
                  <a:gd name="connsiteY3" fmla="*/ 0 h 118314"/>
                  <a:gd name="connsiteX4" fmla="*/ 42850 w 93664"/>
                  <a:gd name="connsiteY4" fmla="*/ 15169 h 118314"/>
                  <a:gd name="connsiteX5" fmla="*/ 64086 w 93664"/>
                  <a:gd name="connsiteY5" fmla="*/ 48539 h 118314"/>
                  <a:gd name="connsiteX6" fmla="*/ 91390 w 93664"/>
                  <a:gd name="connsiteY6" fmla="*/ 91011 h 118314"/>
                  <a:gd name="connsiteX7" fmla="*/ 91390 w 93664"/>
                  <a:gd name="connsiteY7" fmla="*/ 100112 h 118314"/>
                  <a:gd name="connsiteX8" fmla="*/ 82288 w 93664"/>
                  <a:gd name="connsiteY8" fmla="*/ 100112 h 118314"/>
                  <a:gd name="connsiteX9" fmla="*/ 51951 w 93664"/>
                  <a:gd name="connsiteY9" fmla="*/ 54607 h 118314"/>
                  <a:gd name="connsiteX10" fmla="*/ 30716 w 93664"/>
                  <a:gd name="connsiteY10" fmla="*/ 21236 h 118314"/>
                  <a:gd name="connsiteX11" fmla="*/ 12513 w 93664"/>
                  <a:gd name="connsiteY11" fmla="*/ 9101 h 118314"/>
                  <a:gd name="connsiteX12" fmla="*/ 6445 w 93664"/>
                  <a:gd name="connsiteY12" fmla="*/ 12135 h 118314"/>
                  <a:gd name="connsiteX13" fmla="*/ 45884 w 93664"/>
                  <a:gd name="connsiteY13" fmla="*/ 106180 h 118314"/>
                  <a:gd name="connsiteX14" fmla="*/ 48917 w 93664"/>
                  <a:gd name="connsiteY14" fmla="*/ 118315 h 118314"/>
                  <a:gd name="connsiteX15" fmla="*/ 48917 w 93664"/>
                  <a:gd name="connsiteY15" fmla="*/ 118315 h 11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3664" h="118314">
                    <a:moveTo>
                      <a:pt x="48917" y="118315"/>
                    </a:moveTo>
                    <a:cubicBezTo>
                      <a:pt x="45884" y="118315"/>
                      <a:pt x="45884" y="118315"/>
                      <a:pt x="42850" y="115281"/>
                    </a:cubicBezTo>
                    <a:cubicBezTo>
                      <a:pt x="27682" y="87978"/>
                      <a:pt x="-11757" y="24270"/>
                      <a:pt x="3412" y="9101"/>
                    </a:cubicBezTo>
                    <a:cubicBezTo>
                      <a:pt x="9479" y="3034"/>
                      <a:pt x="15547" y="0"/>
                      <a:pt x="18580" y="0"/>
                    </a:cubicBezTo>
                    <a:cubicBezTo>
                      <a:pt x="27682" y="0"/>
                      <a:pt x="36783" y="6067"/>
                      <a:pt x="42850" y="15169"/>
                    </a:cubicBezTo>
                    <a:cubicBezTo>
                      <a:pt x="48917" y="21236"/>
                      <a:pt x="54985" y="36404"/>
                      <a:pt x="64086" y="48539"/>
                    </a:cubicBezTo>
                    <a:cubicBezTo>
                      <a:pt x="76221" y="66742"/>
                      <a:pt x="88356" y="84944"/>
                      <a:pt x="91390" y="91011"/>
                    </a:cubicBezTo>
                    <a:cubicBezTo>
                      <a:pt x="94423" y="94045"/>
                      <a:pt x="94423" y="97079"/>
                      <a:pt x="91390" y="100112"/>
                    </a:cubicBezTo>
                    <a:cubicBezTo>
                      <a:pt x="88356" y="103146"/>
                      <a:pt x="85322" y="103146"/>
                      <a:pt x="82288" y="100112"/>
                    </a:cubicBezTo>
                    <a:cubicBezTo>
                      <a:pt x="76221" y="94045"/>
                      <a:pt x="64086" y="72809"/>
                      <a:pt x="51951" y="54607"/>
                    </a:cubicBezTo>
                    <a:cubicBezTo>
                      <a:pt x="42850" y="39438"/>
                      <a:pt x="33749" y="27303"/>
                      <a:pt x="30716" y="21236"/>
                    </a:cubicBezTo>
                    <a:cubicBezTo>
                      <a:pt x="24648" y="12135"/>
                      <a:pt x="18580" y="9101"/>
                      <a:pt x="12513" y="9101"/>
                    </a:cubicBezTo>
                    <a:cubicBezTo>
                      <a:pt x="9479" y="9101"/>
                      <a:pt x="6445" y="9101"/>
                      <a:pt x="6445" y="12135"/>
                    </a:cubicBezTo>
                    <a:cubicBezTo>
                      <a:pt x="379" y="18202"/>
                      <a:pt x="18580" y="60674"/>
                      <a:pt x="45884" y="106180"/>
                    </a:cubicBezTo>
                    <a:cubicBezTo>
                      <a:pt x="54985" y="112247"/>
                      <a:pt x="51951" y="115281"/>
                      <a:pt x="48917" y="118315"/>
                    </a:cubicBezTo>
                    <a:cubicBezTo>
                      <a:pt x="48917" y="118315"/>
                      <a:pt x="48917" y="118315"/>
                      <a:pt x="48917" y="11831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175E84A0-D969-4E9E-8484-EE4F31D0C2E2}"/>
                  </a:ext>
                </a:extLst>
              </p:cNvPr>
              <p:cNvSpPr/>
              <p:nvPr/>
            </p:nvSpPr>
            <p:spPr>
              <a:xfrm>
                <a:off x="14569303" y="2539727"/>
                <a:ext cx="129725" cy="137306"/>
              </a:xfrm>
              <a:custGeom>
                <a:avLst/>
                <a:gdLst>
                  <a:gd name="connsiteX0" fmla="*/ 119276 w 129725"/>
                  <a:gd name="connsiteY0" fmla="*/ 134272 h 137306"/>
                  <a:gd name="connsiteX1" fmla="*/ 116242 w 129725"/>
                  <a:gd name="connsiteY1" fmla="*/ 131239 h 137306"/>
                  <a:gd name="connsiteX2" fmla="*/ 79838 w 129725"/>
                  <a:gd name="connsiteY2" fmla="*/ 82699 h 137306"/>
                  <a:gd name="connsiteX3" fmla="*/ 73771 w 129725"/>
                  <a:gd name="connsiteY3" fmla="*/ 73598 h 137306"/>
                  <a:gd name="connsiteX4" fmla="*/ 37366 w 129725"/>
                  <a:gd name="connsiteY4" fmla="*/ 18991 h 137306"/>
                  <a:gd name="connsiteX5" fmla="*/ 13096 w 129725"/>
                  <a:gd name="connsiteY5" fmla="*/ 9890 h 137306"/>
                  <a:gd name="connsiteX6" fmla="*/ 10063 w 129725"/>
                  <a:gd name="connsiteY6" fmla="*/ 12924 h 137306"/>
                  <a:gd name="connsiteX7" fmla="*/ 37366 w 129725"/>
                  <a:gd name="connsiteY7" fmla="*/ 67531 h 137306"/>
                  <a:gd name="connsiteX8" fmla="*/ 37366 w 129725"/>
                  <a:gd name="connsiteY8" fmla="*/ 76632 h 137306"/>
                  <a:gd name="connsiteX9" fmla="*/ 28265 w 129725"/>
                  <a:gd name="connsiteY9" fmla="*/ 76632 h 137306"/>
                  <a:gd name="connsiteX10" fmla="*/ 962 w 129725"/>
                  <a:gd name="connsiteY10" fmla="*/ 9890 h 137306"/>
                  <a:gd name="connsiteX11" fmla="*/ 13096 w 129725"/>
                  <a:gd name="connsiteY11" fmla="*/ 789 h 137306"/>
                  <a:gd name="connsiteX12" fmla="*/ 46467 w 129725"/>
                  <a:gd name="connsiteY12" fmla="*/ 12924 h 137306"/>
                  <a:gd name="connsiteX13" fmla="*/ 85905 w 129725"/>
                  <a:gd name="connsiteY13" fmla="*/ 70564 h 137306"/>
                  <a:gd name="connsiteX14" fmla="*/ 91973 w 129725"/>
                  <a:gd name="connsiteY14" fmla="*/ 79666 h 137306"/>
                  <a:gd name="connsiteX15" fmla="*/ 128377 w 129725"/>
                  <a:gd name="connsiteY15" fmla="*/ 128205 h 137306"/>
                  <a:gd name="connsiteX16" fmla="*/ 128377 w 129725"/>
                  <a:gd name="connsiteY16" fmla="*/ 137306 h 137306"/>
                  <a:gd name="connsiteX17" fmla="*/ 119276 w 129725"/>
                  <a:gd name="connsiteY17" fmla="*/ 134272 h 137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9725" h="137306">
                    <a:moveTo>
                      <a:pt x="119276" y="134272"/>
                    </a:moveTo>
                    <a:cubicBezTo>
                      <a:pt x="116242" y="134272"/>
                      <a:pt x="116242" y="134272"/>
                      <a:pt x="116242" y="131239"/>
                    </a:cubicBezTo>
                    <a:cubicBezTo>
                      <a:pt x="116242" y="128205"/>
                      <a:pt x="82871" y="88767"/>
                      <a:pt x="79838" y="82699"/>
                    </a:cubicBezTo>
                    <a:cubicBezTo>
                      <a:pt x="79838" y="79666"/>
                      <a:pt x="76804" y="76632"/>
                      <a:pt x="73771" y="73598"/>
                    </a:cubicBezTo>
                    <a:cubicBezTo>
                      <a:pt x="64670" y="58430"/>
                      <a:pt x="46467" y="25059"/>
                      <a:pt x="37366" y="18991"/>
                    </a:cubicBezTo>
                    <a:cubicBezTo>
                      <a:pt x="31299" y="12924"/>
                      <a:pt x="19164" y="9890"/>
                      <a:pt x="13096" y="9890"/>
                    </a:cubicBezTo>
                    <a:cubicBezTo>
                      <a:pt x="10063" y="9890"/>
                      <a:pt x="10063" y="9890"/>
                      <a:pt x="10063" y="12924"/>
                    </a:cubicBezTo>
                    <a:cubicBezTo>
                      <a:pt x="7029" y="18991"/>
                      <a:pt x="22197" y="43261"/>
                      <a:pt x="37366" y="67531"/>
                    </a:cubicBezTo>
                    <a:cubicBezTo>
                      <a:pt x="40400" y="70564"/>
                      <a:pt x="37366" y="73598"/>
                      <a:pt x="37366" y="76632"/>
                    </a:cubicBezTo>
                    <a:cubicBezTo>
                      <a:pt x="34333" y="79666"/>
                      <a:pt x="31299" y="76632"/>
                      <a:pt x="28265" y="76632"/>
                    </a:cubicBezTo>
                    <a:cubicBezTo>
                      <a:pt x="19164" y="61463"/>
                      <a:pt x="-5106" y="25059"/>
                      <a:pt x="962" y="9890"/>
                    </a:cubicBezTo>
                    <a:cubicBezTo>
                      <a:pt x="3996" y="3823"/>
                      <a:pt x="7029" y="789"/>
                      <a:pt x="13096" y="789"/>
                    </a:cubicBezTo>
                    <a:cubicBezTo>
                      <a:pt x="25231" y="-2245"/>
                      <a:pt x="37366" y="3823"/>
                      <a:pt x="46467" y="12924"/>
                    </a:cubicBezTo>
                    <a:cubicBezTo>
                      <a:pt x="55568" y="22025"/>
                      <a:pt x="70737" y="46295"/>
                      <a:pt x="85905" y="70564"/>
                    </a:cubicBezTo>
                    <a:cubicBezTo>
                      <a:pt x="88939" y="76632"/>
                      <a:pt x="91973" y="79666"/>
                      <a:pt x="91973" y="79666"/>
                    </a:cubicBezTo>
                    <a:cubicBezTo>
                      <a:pt x="95007" y="85733"/>
                      <a:pt x="119276" y="116070"/>
                      <a:pt x="128377" y="128205"/>
                    </a:cubicBezTo>
                    <a:cubicBezTo>
                      <a:pt x="131411" y="131239"/>
                      <a:pt x="128377" y="134272"/>
                      <a:pt x="128377" y="137306"/>
                    </a:cubicBezTo>
                    <a:cubicBezTo>
                      <a:pt x="122310" y="134272"/>
                      <a:pt x="122310" y="134272"/>
                      <a:pt x="119276" y="13427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D9D53172-FF53-4F89-8703-E4D31420BCDF}"/>
                </a:ext>
              </a:extLst>
            </p:cNvPr>
            <p:cNvGrpSpPr/>
            <p:nvPr/>
          </p:nvGrpSpPr>
          <p:grpSpPr>
            <a:xfrm>
              <a:off x="14257792" y="2106696"/>
              <a:ext cx="2627191" cy="618876"/>
              <a:chOff x="14257792" y="2106696"/>
              <a:chExt cx="2627191" cy="618876"/>
            </a:xfrm>
          </p:grpSpPr>
          <p:grpSp>
            <p:nvGrpSpPr>
              <p:cNvPr id="72" name="图形 1">
                <a:extLst>
                  <a:ext uri="{FF2B5EF4-FFF2-40B4-BE49-F238E27FC236}">
                    <a16:creationId xmlns:a16="http://schemas.microsoft.com/office/drawing/2014/main" id="{0A076741-555A-4D4A-9319-C0544FD2EBB6}"/>
                  </a:ext>
                </a:extLst>
              </p:cNvPr>
              <p:cNvGrpSpPr/>
              <p:nvPr/>
            </p:nvGrpSpPr>
            <p:grpSpPr>
              <a:xfrm>
                <a:off x="14257792" y="2106696"/>
                <a:ext cx="2627191" cy="618876"/>
                <a:chOff x="14257792" y="2106696"/>
                <a:chExt cx="2627191" cy="618876"/>
              </a:xfrm>
            </p:grpSpPr>
            <p:sp>
              <p:nvSpPr>
                <p:cNvPr id="80" name="任意多边形: 形状 79">
                  <a:extLst>
                    <a:ext uri="{FF2B5EF4-FFF2-40B4-BE49-F238E27FC236}">
                      <a16:creationId xmlns:a16="http://schemas.microsoft.com/office/drawing/2014/main" id="{50B1B4CC-A36D-459A-BCE4-6BC22F3470E5}"/>
                    </a:ext>
                  </a:extLst>
                </p:cNvPr>
                <p:cNvSpPr/>
                <p:nvPr/>
              </p:nvSpPr>
              <p:spPr>
                <a:xfrm>
                  <a:off x="16803073" y="2106696"/>
                  <a:ext cx="81909" cy="494494"/>
                </a:xfrm>
                <a:custGeom>
                  <a:avLst/>
                  <a:gdLst>
                    <a:gd name="connsiteX0" fmla="*/ 45506 w 81909"/>
                    <a:gd name="connsiteY0" fmla="*/ 494494 h 494494"/>
                    <a:gd name="connsiteX1" fmla="*/ 81910 w 81909"/>
                    <a:gd name="connsiteY1" fmla="*/ 455056 h 494494"/>
                    <a:gd name="connsiteX2" fmla="*/ 33370 w 81909"/>
                    <a:gd name="connsiteY2" fmla="*/ 0 h 494494"/>
                    <a:gd name="connsiteX3" fmla="*/ 0 w 81909"/>
                    <a:gd name="connsiteY3" fmla="*/ 54607 h 4944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1909" h="494494">
                      <a:moveTo>
                        <a:pt x="45506" y="494494"/>
                      </a:moveTo>
                      <a:lnTo>
                        <a:pt x="81910" y="455056"/>
                      </a:lnTo>
                      <a:lnTo>
                        <a:pt x="33370" y="0"/>
                      </a:lnTo>
                      <a:lnTo>
                        <a:pt x="0" y="54607"/>
                      </a:lnTo>
                      <a:close/>
                    </a:path>
                  </a:pathLst>
                </a:custGeom>
                <a:solidFill>
                  <a:srgbClr val="C18267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1" name="任意多边形: 形状 80">
                  <a:extLst>
                    <a:ext uri="{FF2B5EF4-FFF2-40B4-BE49-F238E27FC236}">
                      <a16:creationId xmlns:a16="http://schemas.microsoft.com/office/drawing/2014/main" id="{37C9763C-3858-4560-B7C0-598C7F71F857}"/>
                    </a:ext>
                  </a:extLst>
                </p:cNvPr>
                <p:cNvSpPr/>
                <p:nvPr/>
              </p:nvSpPr>
              <p:spPr>
                <a:xfrm>
                  <a:off x="14257792" y="2106696"/>
                  <a:ext cx="2578651" cy="227528"/>
                </a:xfrm>
                <a:custGeom>
                  <a:avLst/>
                  <a:gdLst>
                    <a:gd name="connsiteX0" fmla="*/ 0 w 2578651"/>
                    <a:gd name="connsiteY0" fmla="*/ 227528 h 227528"/>
                    <a:gd name="connsiteX1" fmla="*/ 45506 w 2578651"/>
                    <a:gd name="connsiteY1" fmla="*/ 172921 h 227528"/>
                    <a:gd name="connsiteX2" fmla="*/ 2578652 w 2578651"/>
                    <a:gd name="connsiteY2" fmla="*/ 0 h 227528"/>
                    <a:gd name="connsiteX3" fmla="*/ 2545282 w 2578651"/>
                    <a:gd name="connsiteY3" fmla="*/ 54607 h 227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78651" h="227528">
                      <a:moveTo>
                        <a:pt x="0" y="227528"/>
                      </a:moveTo>
                      <a:lnTo>
                        <a:pt x="45506" y="172921"/>
                      </a:lnTo>
                      <a:lnTo>
                        <a:pt x="2578652" y="0"/>
                      </a:lnTo>
                      <a:lnTo>
                        <a:pt x="2545282" y="54607"/>
                      </a:lnTo>
                      <a:close/>
                    </a:path>
                  </a:pathLst>
                </a:custGeom>
                <a:solidFill>
                  <a:srgbClr val="C18267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: 形状 81">
                  <a:extLst>
                    <a:ext uri="{FF2B5EF4-FFF2-40B4-BE49-F238E27FC236}">
                      <a16:creationId xmlns:a16="http://schemas.microsoft.com/office/drawing/2014/main" id="{29C36200-D704-40D9-B211-630CA458ADAF}"/>
                    </a:ext>
                  </a:extLst>
                </p:cNvPr>
                <p:cNvSpPr/>
                <p:nvPr/>
              </p:nvSpPr>
              <p:spPr>
                <a:xfrm>
                  <a:off x="14257792" y="2161302"/>
                  <a:ext cx="2590787" cy="564269"/>
                </a:xfrm>
                <a:custGeom>
                  <a:avLst/>
                  <a:gdLst>
                    <a:gd name="connsiteX0" fmla="*/ 30337 w 2590787"/>
                    <a:gd name="connsiteY0" fmla="*/ 564270 h 564269"/>
                    <a:gd name="connsiteX1" fmla="*/ 2590787 w 2590787"/>
                    <a:gd name="connsiteY1" fmla="*/ 439888 h 564269"/>
                    <a:gd name="connsiteX2" fmla="*/ 2566517 w 2590787"/>
                    <a:gd name="connsiteY2" fmla="*/ 218427 h 564269"/>
                    <a:gd name="connsiteX3" fmla="*/ 2563483 w 2590787"/>
                    <a:gd name="connsiteY3" fmla="*/ 188090 h 564269"/>
                    <a:gd name="connsiteX4" fmla="*/ 2545282 w 2590787"/>
                    <a:gd name="connsiteY4" fmla="*/ 0 h 564269"/>
                    <a:gd name="connsiteX5" fmla="*/ 0 w 2590787"/>
                    <a:gd name="connsiteY5" fmla="*/ 172921 h 564269"/>
                    <a:gd name="connsiteX6" fmla="*/ 6068 w 2590787"/>
                    <a:gd name="connsiteY6" fmla="*/ 260899 h 564269"/>
                    <a:gd name="connsiteX7" fmla="*/ 9102 w 2590787"/>
                    <a:gd name="connsiteY7" fmla="*/ 294270 h 564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90787" h="564269">
                      <a:moveTo>
                        <a:pt x="30337" y="564270"/>
                      </a:moveTo>
                      <a:lnTo>
                        <a:pt x="2590787" y="439888"/>
                      </a:lnTo>
                      <a:lnTo>
                        <a:pt x="2566517" y="218427"/>
                      </a:lnTo>
                      <a:lnTo>
                        <a:pt x="2563483" y="188090"/>
                      </a:lnTo>
                      <a:lnTo>
                        <a:pt x="2545282" y="0"/>
                      </a:lnTo>
                      <a:lnTo>
                        <a:pt x="0" y="172921"/>
                      </a:lnTo>
                      <a:lnTo>
                        <a:pt x="6068" y="260899"/>
                      </a:lnTo>
                      <a:lnTo>
                        <a:pt x="9102" y="294270"/>
                      </a:lnTo>
                      <a:close/>
                    </a:path>
                  </a:pathLst>
                </a:custGeom>
                <a:solidFill>
                  <a:srgbClr val="D39778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FE87C678-9F0F-4630-A73E-9533366522BA}"/>
                  </a:ext>
                </a:extLst>
              </p:cNvPr>
              <p:cNvSpPr/>
              <p:nvPr/>
            </p:nvSpPr>
            <p:spPr>
              <a:xfrm>
                <a:off x="15883765" y="2343325"/>
                <a:ext cx="940543" cy="160981"/>
              </a:xfrm>
              <a:custGeom>
                <a:avLst/>
                <a:gdLst>
                  <a:gd name="connsiteX0" fmla="*/ 15263 w 940543"/>
                  <a:gd name="connsiteY0" fmla="*/ 160787 h 160981"/>
                  <a:gd name="connsiteX1" fmla="*/ 251893 w 940543"/>
                  <a:gd name="connsiteY1" fmla="*/ 97079 h 160981"/>
                  <a:gd name="connsiteX2" fmla="*/ 373241 w 940543"/>
                  <a:gd name="connsiteY2" fmla="*/ 36404 h 160981"/>
                  <a:gd name="connsiteX3" fmla="*/ 503690 w 940543"/>
                  <a:gd name="connsiteY3" fmla="*/ 51573 h 160981"/>
                  <a:gd name="connsiteX4" fmla="*/ 713016 w 940543"/>
                  <a:gd name="connsiteY4" fmla="*/ 81910 h 160981"/>
                  <a:gd name="connsiteX5" fmla="*/ 940544 w 940543"/>
                  <a:gd name="connsiteY5" fmla="*/ 33371 h 160981"/>
                  <a:gd name="connsiteX6" fmla="*/ 937510 w 940543"/>
                  <a:gd name="connsiteY6" fmla="*/ 0 h 160981"/>
                  <a:gd name="connsiteX7" fmla="*/ 709982 w 940543"/>
                  <a:gd name="connsiteY7" fmla="*/ 48539 h 160981"/>
                  <a:gd name="connsiteX8" fmla="*/ 461218 w 940543"/>
                  <a:gd name="connsiteY8" fmla="*/ 6067 h 160981"/>
                  <a:gd name="connsiteX9" fmla="*/ 294364 w 940543"/>
                  <a:gd name="connsiteY9" fmla="*/ 30337 h 160981"/>
                  <a:gd name="connsiteX10" fmla="*/ 166948 w 940543"/>
                  <a:gd name="connsiteY10" fmla="*/ 100112 h 160981"/>
                  <a:gd name="connsiteX11" fmla="*/ 12229 w 940543"/>
                  <a:gd name="connsiteY11" fmla="*/ 127416 h 160981"/>
                  <a:gd name="connsiteX12" fmla="*/ 15263 w 940543"/>
                  <a:gd name="connsiteY12" fmla="*/ 160787 h 160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40543" h="160981">
                    <a:moveTo>
                      <a:pt x="15263" y="160787"/>
                    </a:moveTo>
                    <a:cubicBezTo>
                      <a:pt x="97173" y="151685"/>
                      <a:pt x="179083" y="139551"/>
                      <a:pt x="251893" y="97079"/>
                    </a:cubicBezTo>
                    <a:cubicBezTo>
                      <a:pt x="291330" y="72809"/>
                      <a:pt x="324701" y="42472"/>
                      <a:pt x="373241" y="36404"/>
                    </a:cubicBezTo>
                    <a:cubicBezTo>
                      <a:pt x="418747" y="30337"/>
                      <a:pt x="461218" y="39438"/>
                      <a:pt x="503690" y="51573"/>
                    </a:cubicBezTo>
                    <a:cubicBezTo>
                      <a:pt x="573465" y="69775"/>
                      <a:pt x="640207" y="91011"/>
                      <a:pt x="713016" y="81910"/>
                    </a:cubicBezTo>
                    <a:cubicBezTo>
                      <a:pt x="788858" y="72809"/>
                      <a:pt x="864701" y="51573"/>
                      <a:pt x="940544" y="33371"/>
                    </a:cubicBezTo>
                    <a:lnTo>
                      <a:pt x="937510" y="0"/>
                    </a:lnTo>
                    <a:cubicBezTo>
                      <a:pt x="861667" y="18202"/>
                      <a:pt x="785824" y="39438"/>
                      <a:pt x="709982" y="48539"/>
                    </a:cubicBezTo>
                    <a:cubicBezTo>
                      <a:pt x="622004" y="57640"/>
                      <a:pt x="546162" y="21236"/>
                      <a:pt x="461218" y="6067"/>
                    </a:cubicBezTo>
                    <a:cubicBezTo>
                      <a:pt x="403578" y="-3034"/>
                      <a:pt x="348971" y="0"/>
                      <a:pt x="294364" y="30337"/>
                    </a:cubicBezTo>
                    <a:cubicBezTo>
                      <a:pt x="251893" y="54607"/>
                      <a:pt x="215488" y="84944"/>
                      <a:pt x="166948" y="100112"/>
                    </a:cubicBezTo>
                    <a:cubicBezTo>
                      <a:pt x="115376" y="115281"/>
                      <a:pt x="63802" y="121348"/>
                      <a:pt x="12229" y="127416"/>
                    </a:cubicBezTo>
                    <a:cubicBezTo>
                      <a:pt x="-5973" y="130449"/>
                      <a:pt x="-2940" y="163820"/>
                      <a:pt x="15263" y="160787"/>
                    </a:cubicBez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4CF3D0E8-2A36-4914-BF66-B81106A5A8B1}"/>
                  </a:ext>
                </a:extLst>
              </p:cNvPr>
              <p:cNvSpPr/>
              <p:nvPr/>
            </p:nvSpPr>
            <p:spPr>
              <a:xfrm>
                <a:off x="16122619" y="2395574"/>
                <a:ext cx="295476" cy="122009"/>
              </a:xfrm>
              <a:custGeom>
                <a:avLst/>
                <a:gdLst>
                  <a:gd name="connsiteX0" fmla="*/ 19105 w 295476"/>
                  <a:gd name="connsiteY0" fmla="*/ 59998 h 122009"/>
                  <a:gd name="connsiteX1" fmla="*/ 210230 w 295476"/>
                  <a:gd name="connsiteY1" fmla="*/ 84268 h 122009"/>
                  <a:gd name="connsiteX2" fmla="*/ 240567 w 295476"/>
                  <a:gd name="connsiteY2" fmla="*/ 72133 h 122009"/>
                  <a:gd name="connsiteX3" fmla="*/ 234499 w 295476"/>
                  <a:gd name="connsiteY3" fmla="*/ 41796 h 122009"/>
                  <a:gd name="connsiteX4" fmla="*/ 161690 w 295476"/>
                  <a:gd name="connsiteY4" fmla="*/ 32694 h 122009"/>
                  <a:gd name="connsiteX5" fmla="*/ 152588 w 295476"/>
                  <a:gd name="connsiteY5" fmla="*/ 59998 h 122009"/>
                  <a:gd name="connsiteX6" fmla="*/ 104050 w 295476"/>
                  <a:gd name="connsiteY6" fmla="*/ 47863 h 122009"/>
                  <a:gd name="connsiteX7" fmla="*/ 101016 w 295476"/>
                  <a:gd name="connsiteY7" fmla="*/ 20560 h 122009"/>
                  <a:gd name="connsiteX8" fmla="*/ 246634 w 295476"/>
                  <a:gd name="connsiteY8" fmla="*/ 11459 h 122009"/>
                  <a:gd name="connsiteX9" fmla="*/ 289105 w 295476"/>
                  <a:gd name="connsiteY9" fmla="*/ 72133 h 122009"/>
                  <a:gd name="connsiteX10" fmla="*/ 167757 w 295476"/>
                  <a:gd name="connsiteY10" fmla="*/ 120672 h 122009"/>
                  <a:gd name="connsiteX11" fmla="*/ 6971 w 295476"/>
                  <a:gd name="connsiteY11" fmla="*/ 87301 h 122009"/>
                  <a:gd name="connsiteX12" fmla="*/ 19105 w 295476"/>
                  <a:gd name="connsiteY12" fmla="*/ 59998 h 122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5476" h="122009">
                    <a:moveTo>
                      <a:pt x="19105" y="59998"/>
                    </a:moveTo>
                    <a:cubicBezTo>
                      <a:pt x="76746" y="90335"/>
                      <a:pt x="143488" y="102470"/>
                      <a:pt x="210230" y="84268"/>
                    </a:cubicBezTo>
                    <a:cubicBezTo>
                      <a:pt x="219330" y="81234"/>
                      <a:pt x="231465" y="78200"/>
                      <a:pt x="240567" y="72133"/>
                    </a:cubicBezTo>
                    <a:cubicBezTo>
                      <a:pt x="270904" y="59998"/>
                      <a:pt x="255735" y="53930"/>
                      <a:pt x="234499" y="41796"/>
                    </a:cubicBezTo>
                    <a:cubicBezTo>
                      <a:pt x="213263" y="32694"/>
                      <a:pt x="185959" y="29661"/>
                      <a:pt x="161690" y="32694"/>
                    </a:cubicBezTo>
                    <a:cubicBezTo>
                      <a:pt x="170791" y="41796"/>
                      <a:pt x="167757" y="59998"/>
                      <a:pt x="152588" y="59998"/>
                    </a:cubicBezTo>
                    <a:cubicBezTo>
                      <a:pt x="134387" y="59998"/>
                      <a:pt x="119218" y="56964"/>
                      <a:pt x="104050" y="47863"/>
                    </a:cubicBezTo>
                    <a:cubicBezTo>
                      <a:pt x="94948" y="44829"/>
                      <a:pt x="91914" y="26627"/>
                      <a:pt x="101016" y="20560"/>
                    </a:cubicBezTo>
                    <a:cubicBezTo>
                      <a:pt x="146522" y="-6744"/>
                      <a:pt x="195061" y="-3710"/>
                      <a:pt x="246634" y="11459"/>
                    </a:cubicBezTo>
                    <a:cubicBezTo>
                      <a:pt x="273937" y="20560"/>
                      <a:pt x="310342" y="35728"/>
                      <a:pt x="289105" y="72133"/>
                    </a:cubicBezTo>
                    <a:cubicBezTo>
                      <a:pt x="267870" y="108537"/>
                      <a:pt x="204162" y="117638"/>
                      <a:pt x="167757" y="120672"/>
                    </a:cubicBezTo>
                    <a:cubicBezTo>
                      <a:pt x="110117" y="126739"/>
                      <a:pt x="55510" y="111571"/>
                      <a:pt x="6971" y="87301"/>
                    </a:cubicBezTo>
                    <a:cubicBezTo>
                      <a:pt x="-8198" y="78200"/>
                      <a:pt x="3937" y="50897"/>
                      <a:pt x="19105" y="59998"/>
                    </a:cubicBez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FAFCF955-5BCE-43BE-9A3A-C80644681503}"/>
                  </a:ext>
                </a:extLst>
              </p:cNvPr>
              <p:cNvSpPr/>
              <p:nvPr/>
            </p:nvSpPr>
            <p:spPr>
              <a:xfrm>
                <a:off x="15269393" y="2288505"/>
                <a:ext cx="732875" cy="112459"/>
              </a:xfrm>
              <a:custGeom>
                <a:avLst/>
                <a:gdLst>
                  <a:gd name="connsiteX0" fmla="*/ 10759 w 732875"/>
                  <a:gd name="connsiteY0" fmla="*/ 60887 h 112459"/>
                  <a:gd name="connsiteX1" fmla="*/ 101770 w 732875"/>
                  <a:gd name="connsiteY1" fmla="*/ 24482 h 112459"/>
                  <a:gd name="connsiteX2" fmla="*/ 113905 w 732875"/>
                  <a:gd name="connsiteY2" fmla="*/ 54819 h 112459"/>
                  <a:gd name="connsiteX3" fmla="*/ 53230 w 732875"/>
                  <a:gd name="connsiteY3" fmla="*/ 76055 h 112459"/>
                  <a:gd name="connsiteX4" fmla="*/ 220084 w 732875"/>
                  <a:gd name="connsiteY4" fmla="*/ 69988 h 112459"/>
                  <a:gd name="connsiteX5" fmla="*/ 386938 w 732875"/>
                  <a:gd name="connsiteY5" fmla="*/ 33583 h 112459"/>
                  <a:gd name="connsiteX6" fmla="*/ 717612 w 732875"/>
                  <a:gd name="connsiteY6" fmla="*/ 213 h 112459"/>
                  <a:gd name="connsiteX7" fmla="*/ 720646 w 732875"/>
                  <a:gd name="connsiteY7" fmla="*/ 33583 h 112459"/>
                  <a:gd name="connsiteX8" fmla="*/ 514354 w 732875"/>
                  <a:gd name="connsiteY8" fmla="*/ 48752 h 112459"/>
                  <a:gd name="connsiteX9" fmla="*/ 314130 w 732875"/>
                  <a:gd name="connsiteY9" fmla="*/ 85156 h 112459"/>
                  <a:gd name="connsiteX10" fmla="*/ 104804 w 732875"/>
                  <a:gd name="connsiteY10" fmla="*/ 112460 h 112459"/>
                  <a:gd name="connsiteX11" fmla="*/ 7725 w 732875"/>
                  <a:gd name="connsiteY11" fmla="*/ 85156 h 112459"/>
                  <a:gd name="connsiteX12" fmla="*/ 10759 w 732875"/>
                  <a:gd name="connsiteY12" fmla="*/ 60887 h 112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32875" h="112459">
                    <a:moveTo>
                      <a:pt x="10759" y="60887"/>
                    </a:moveTo>
                    <a:cubicBezTo>
                      <a:pt x="41096" y="45718"/>
                      <a:pt x="68399" y="36617"/>
                      <a:pt x="101770" y="24482"/>
                    </a:cubicBezTo>
                    <a:cubicBezTo>
                      <a:pt x="119972" y="18415"/>
                      <a:pt x="132107" y="48752"/>
                      <a:pt x="113905" y="54819"/>
                    </a:cubicBezTo>
                    <a:cubicBezTo>
                      <a:pt x="92669" y="60887"/>
                      <a:pt x="74467" y="69988"/>
                      <a:pt x="53230" y="76055"/>
                    </a:cubicBezTo>
                    <a:cubicBezTo>
                      <a:pt x="101770" y="91224"/>
                      <a:pt x="177613" y="76055"/>
                      <a:pt x="220084" y="69988"/>
                    </a:cubicBezTo>
                    <a:cubicBezTo>
                      <a:pt x="277725" y="63920"/>
                      <a:pt x="329298" y="48752"/>
                      <a:pt x="386938" y="33583"/>
                    </a:cubicBezTo>
                    <a:cubicBezTo>
                      <a:pt x="496152" y="6280"/>
                      <a:pt x="608400" y="27516"/>
                      <a:pt x="717612" y="213"/>
                    </a:cubicBezTo>
                    <a:cubicBezTo>
                      <a:pt x="735815" y="-2821"/>
                      <a:pt x="738849" y="27516"/>
                      <a:pt x="720646" y="33583"/>
                    </a:cubicBezTo>
                    <a:cubicBezTo>
                      <a:pt x="653905" y="48752"/>
                      <a:pt x="584129" y="45718"/>
                      <a:pt x="514354" y="48752"/>
                    </a:cubicBezTo>
                    <a:cubicBezTo>
                      <a:pt x="444579" y="51786"/>
                      <a:pt x="380871" y="69988"/>
                      <a:pt x="314130" y="85156"/>
                    </a:cubicBezTo>
                    <a:cubicBezTo>
                      <a:pt x="244355" y="100325"/>
                      <a:pt x="174579" y="109426"/>
                      <a:pt x="104804" y="112460"/>
                    </a:cubicBezTo>
                    <a:cubicBezTo>
                      <a:pt x="68399" y="112460"/>
                      <a:pt x="38062" y="112460"/>
                      <a:pt x="7725" y="85156"/>
                    </a:cubicBezTo>
                    <a:cubicBezTo>
                      <a:pt x="-4410" y="82123"/>
                      <a:pt x="-1376" y="66954"/>
                      <a:pt x="10759" y="60887"/>
                    </a:cubicBez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81272D9A-401F-4847-8062-55C330EA9C48}"/>
                  </a:ext>
                </a:extLst>
              </p:cNvPr>
              <p:cNvSpPr/>
              <p:nvPr/>
            </p:nvSpPr>
            <p:spPr>
              <a:xfrm>
                <a:off x="14931181" y="2359066"/>
                <a:ext cx="300248" cy="45402"/>
              </a:xfrm>
              <a:custGeom>
                <a:avLst/>
                <a:gdLst>
                  <a:gd name="connsiteX0" fmla="*/ 12229 w 300248"/>
                  <a:gd name="connsiteY0" fmla="*/ 8529 h 45402"/>
                  <a:gd name="connsiteX1" fmla="*/ 160881 w 300248"/>
                  <a:gd name="connsiteY1" fmla="*/ 5495 h 45402"/>
                  <a:gd name="connsiteX2" fmla="*/ 288297 w 300248"/>
                  <a:gd name="connsiteY2" fmla="*/ 8529 h 45402"/>
                  <a:gd name="connsiteX3" fmla="*/ 282229 w 300248"/>
                  <a:gd name="connsiteY3" fmla="*/ 41900 h 45402"/>
                  <a:gd name="connsiteX4" fmla="*/ 145712 w 300248"/>
                  <a:gd name="connsiteY4" fmla="*/ 41900 h 45402"/>
                  <a:gd name="connsiteX5" fmla="*/ 15263 w 300248"/>
                  <a:gd name="connsiteY5" fmla="*/ 41900 h 45402"/>
                  <a:gd name="connsiteX6" fmla="*/ 12229 w 300248"/>
                  <a:gd name="connsiteY6" fmla="*/ 8529 h 45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0248" h="45402">
                    <a:moveTo>
                      <a:pt x="12229" y="8529"/>
                    </a:moveTo>
                    <a:cubicBezTo>
                      <a:pt x="60769" y="8529"/>
                      <a:pt x="112342" y="14596"/>
                      <a:pt x="160881" y="5495"/>
                    </a:cubicBezTo>
                    <a:cubicBezTo>
                      <a:pt x="206386" y="-3606"/>
                      <a:pt x="242791" y="-572"/>
                      <a:pt x="288297" y="8529"/>
                    </a:cubicBezTo>
                    <a:cubicBezTo>
                      <a:pt x="306499" y="11563"/>
                      <a:pt x="303465" y="44933"/>
                      <a:pt x="282229" y="41900"/>
                    </a:cubicBezTo>
                    <a:cubicBezTo>
                      <a:pt x="233690" y="32799"/>
                      <a:pt x="194252" y="35832"/>
                      <a:pt x="145712" y="41900"/>
                    </a:cubicBezTo>
                    <a:cubicBezTo>
                      <a:pt x="103240" y="47967"/>
                      <a:pt x="57735" y="44933"/>
                      <a:pt x="15263" y="41900"/>
                    </a:cubicBezTo>
                    <a:cubicBezTo>
                      <a:pt x="-2939" y="41900"/>
                      <a:pt x="-5973" y="8529"/>
                      <a:pt x="12229" y="8529"/>
                    </a:cubicBez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C93D9A77-D87D-49FB-9D46-961539DB6C68}"/>
                  </a:ext>
                </a:extLst>
              </p:cNvPr>
              <p:cNvSpPr/>
              <p:nvPr/>
            </p:nvSpPr>
            <p:spPr>
              <a:xfrm>
                <a:off x="14589611" y="2461639"/>
                <a:ext cx="766022" cy="101764"/>
              </a:xfrm>
              <a:custGeom>
                <a:avLst/>
                <a:gdLst>
                  <a:gd name="connsiteX0" fmla="*/ 17057 w 766022"/>
                  <a:gd name="connsiteY0" fmla="*/ 63708 h 101764"/>
                  <a:gd name="connsiteX1" fmla="*/ 481215 w 766022"/>
                  <a:gd name="connsiteY1" fmla="*/ 30337 h 101764"/>
                  <a:gd name="connsiteX2" fmla="*/ 760316 w 766022"/>
                  <a:gd name="connsiteY2" fmla="*/ 51573 h 101764"/>
                  <a:gd name="connsiteX3" fmla="*/ 742114 w 766022"/>
                  <a:gd name="connsiteY3" fmla="*/ 75843 h 101764"/>
                  <a:gd name="connsiteX4" fmla="*/ 517619 w 766022"/>
                  <a:gd name="connsiteY4" fmla="*/ 51573 h 101764"/>
                  <a:gd name="connsiteX5" fmla="*/ 359867 w 766022"/>
                  <a:gd name="connsiteY5" fmla="*/ 91011 h 101764"/>
                  <a:gd name="connsiteX6" fmla="*/ 10991 w 766022"/>
                  <a:gd name="connsiteY6" fmla="*/ 94045 h 101764"/>
                  <a:gd name="connsiteX7" fmla="*/ 17057 w 766022"/>
                  <a:gd name="connsiteY7" fmla="*/ 63708 h 101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6022" h="101764">
                    <a:moveTo>
                      <a:pt x="17057" y="63708"/>
                    </a:moveTo>
                    <a:cubicBezTo>
                      <a:pt x="174811" y="72809"/>
                      <a:pt x="326496" y="75843"/>
                      <a:pt x="481215" y="30337"/>
                    </a:cubicBezTo>
                    <a:cubicBezTo>
                      <a:pt x="590429" y="-3034"/>
                      <a:pt x="666272" y="-24270"/>
                      <a:pt x="760316" y="51573"/>
                    </a:cubicBezTo>
                    <a:cubicBezTo>
                      <a:pt x="775484" y="63708"/>
                      <a:pt x="757283" y="87978"/>
                      <a:pt x="742114" y="75843"/>
                    </a:cubicBezTo>
                    <a:cubicBezTo>
                      <a:pt x="663238" y="15169"/>
                      <a:pt x="605597" y="24270"/>
                      <a:pt x="517619" y="51573"/>
                    </a:cubicBezTo>
                    <a:cubicBezTo>
                      <a:pt x="466047" y="66742"/>
                      <a:pt x="414473" y="81910"/>
                      <a:pt x="359867" y="91011"/>
                    </a:cubicBezTo>
                    <a:cubicBezTo>
                      <a:pt x="244585" y="109213"/>
                      <a:pt x="126271" y="100112"/>
                      <a:pt x="10991" y="94045"/>
                    </a:cubicBezTo>
                    <a:cubicBezTo>
                      <a:pt x="-7212" y="97079"/>
                      <a:pt x="-1144" y="63708"/>
                      <a:pt x="17057" y="63708"/>
                    </a:cubicBez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65A96D86-B525-45EB-8F94-B81FB8D4AFF1}"/>
                  </a:ext>
                </a:extLst>
              </p:cNvPr>
              <p:cNvSpPr/>
              <p:nvPr/>
            </p:nvSpPr>
            <p:spPr>
              <a:xfrm>
                <a:off x="15125432" y="2505734"/>
                <a:ext cx="351548" cy="101806"/>
              </a:xfrm>
              <a:custGeom>
                <a:avLst/>
                <a:gdLst>
                  <a:gd name="connsiteX0" fmla="*/ 6068 w 351548"/>
                  <a:gd name="connsiteY0" fmla="*/ 49950 h 101806"/>
                  <a:gd name="connsiteX1" fmla="*/ 94045 w 351548"/>
                  <a:gd name="connsiteY1" fmla="*/ 10512 h 101806"/>
                  <a:gd name="connsiteX2" fmla="*/ 97079 w 351548"/>
                  <a:gd name="connsiteY2" fmla="*/ 43883 h 101806"/>
                  <a:gd name="connsiteX3" fmla="*/ 30337 w 351548"/>
                  <a:gd name="connsiteY3" fmla="*/ 52984 h 101806"/>
                  <a:gd name="connsiteX4" fmla="*/ 69776 w 351548"/>
                  <a:gd name="connsiteY4" fmla="*/ 56018 h 101806"/>
                  <a:gd name="connsiteX5" fmla="*/ 148652 w 351548"/>
                  <a:gd name="connsiteY5" fmla="*/ 65119 h 101806"/>
                  <a:gd name="connsiteX6" fmla="*/ 327641 w 351548"/>
                  <a:gd name="connsiteY6" fmla="*/ 4445 h 101806"/>
                  <a:gd name="connsiteX7" fmla="*/ 345843 w 351548"/>
                  <a:gd name="connsiteY7" fmla="*/ 31748 h 101806"/>
                  <a:gd name="connsiteX8" fmla="*/ 172922 w 351548"/>
                  <a:gd name="connsiteY8" fmla="*/ 101523 h 101806"/>
                  <a:gd name="connsiteX9" fmla="*/ 42472 w 351548"/>
                  <a:gd name="connsiteY9" fmla="*/ 89388 h 101806"/>
                  <a:gd name="connsiteX10" fmla="*/ 0 w 351548"/>
                  <a:gd name="connsiteY10" fmla="*/ 71186 h 101806"/>
                  <a:gd name="connsiteX11" fmla="*/ 6068 w 351548"/>
                  <a:gd name="connsiteY11" fmla="*/ 49950 h 101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1548" h="101806">
                    <a:moveTo>
                      <a:pt x="6068" y="49950"/>
                    </a:moveTo>
                    <a:cubicBezTo>
                      <a:pt x="24270" y="19613"/>
                      <a:pt x="63708" y="10512"/>
                      <a:pt x="94045" y="10512"/>
                    </a:cubicBezTo>
                    <a:cubicBezTo>
                      <a:pt x="112248" y="10512"/>
                      <a:pt x="115281" y="43883"/>
                      <a:pt x="97079" y="43883"/>
                    </a:cubicBezTo>
                    <a:cubicBezTo>
                      <a:pt x="75843" y="43883"/>
                      <a:pt x="54607" y="43883"/>
                      <a:pt x="30337" y="52984"/>
                    </a:cubicBezTo>
                    <a:cubicBezTo>
                      <a:pt x="42472" y="56018"/>
                      <a:pt x="54607" y="56018"/>
                      <a:pt x="69776" y="56018"/>
                    </a:cubicBezTo>
                    <a:cubicBezTo>
                      <a:pt x="97079" y="59051"/>
                      <a:pt x="121348" y="62085"/>
                      <a:pt x="148652" y="65119"/>
                    </a:cubicBezTo>
                    <a:cubicBezTo>
                      <a:pt x="224494" y="71186"/>
                      <a:pt x="273034" y="59051"/>
                      <a:pt x="327641" y="4445"/>
                    </a:cubicBezTo>
                    <a:cubicBezTo>
                      <a:pt x="342810" y="-10724"/>
                      <a:pt x="361011" y="16579"/>
                      <a:pt x="345843" y="31748"/>
                    </a:cubicBezTo>
                    <a:cubicBezTo>
                      <a:pt x="291236" y="83321"/>
                      <a:pt x="245731" y="104557"/>
                      <a:pt x="172922" y="101523"/>
                    </a:cubicBezTo>
                    <a:cubicBezTo>
                      <a:pt x="130450" y="98489"/>
                      <a:pt x="84944" y="95456"/>
                      <a:pt x="42472" y="89388"/>
                    </a:cubicBezTo>
                    <a:cubicBezTo>
                      <a:pt x="24270" y="86355"/>
                      <a:pt x="12135" y="86355"/>
                      <a:pt x="0" y="71186"/>
                    </a:cubicBezTo>
                    <a:cubicBezTo>
                      <a:pt x="3034" y="62085"/>
                      <a:pt x="3034" y="56018"/>
                      <a:pt x="6068" y="49950"/>
                    </a:cubicBez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F56418EB-CDBD-4063-A6EA-52B04D93685E}"/>
                  </a:ext>
                </a:extLst>
              </p:cNvPr>
              <p:cNvSpPr/>
              <p:nvPr/>
            </p:nvSpPr>
            <p:spPr>
              <a:xfrm>
                <a:off x="14260826" y="2396451"/>
                <a:ext cx="337689" cy="59121"/>
              </a:xfrm>
              <a:custGeom>
                <a:avLst/>
                <a:gdLst>
                  <a:gd name="connsiteX0" fmla="*/ 6068 w 337689"/>
                  <a:gd name="connsiteY0" fmla="*/ 59121 h 59121"/>
                  <a:gd name="connsiteX1" fmla="*/ 136517 w 337689"/>
                  <a:gd name="connsiteY1" fmla="*/ 46986 h 59121"/>
                  <a:gd name="connsiteX2" fmla="*/ 312472 w 337689"/>
                  <a:gd name="connsiteY2" fmla="*/ 53054 h 59121"/>
                  <a:gd name="connsiteX3" fmla="*/ 330674 w 337689"/>
                  <a:gd name="connsiteY3" fmla="*/ 28784 h 59121"/>
                  <a:gd name="connsiteX4" fmla="*/ 200225 w 337689"/>
                  <a:gd name="connsiteY4" fmla="*/ 4514 h 59121"/>
                  <a:gd name="connsiteX5" fmla="*/ 0 w 337689"/>
                  <a:gd name="connsiteY5" fmla="*/ 28784 h 59121"/>
                  <a:gd name="connsiteX6" fmla="*/ 6068 w 337689"/>
                  <a:gd name="connsiteY6" fmla="*/ 59121 h 59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7689" h="59121">
                    <a:moveTo>
                      <a:pt x="6068" y="59121"/>
                    </a:moveTo>
                    <a:cubicBezTo>
                      <a:pt x="48540" y="56087"/>
                      <a:pt x="94045" y="53054"/>
                      <a:pt x="136517" y="46986"/>
                    </a:cubicBezTo>
                    <a:cubicBezTo>
                      <a:pt x="194157" y="37885"/>
                      <a:pt x="257865" y="10582"/>
                      <a:pt x="312472" y="53054"/>
                    </a:cubicBezTo>
                    <a:cubicBezTo>
                      <a:pt x="327641" y="65188"/>
                      <a:pt x="348876" y="40919"/>
                      <a:pt x="330674" y="28784"/>
                    </a:cubicBezTo>
                    <a:cubicBezTo>
                      <a:pt x="291236" y="-1553"/>
                      <a:pt x="248764" y="-4587"/>
                      <a:pt x="200225" y="4514"/>
                    </a:cubicBezTo>
                    <a:cubicBezTo>
                      <a:pt x="133483" y="16649"/>
                      <a:pt x="69776" y="25750"/>
                      <a:pt x="0" y="28784"/>
                    </a:cubicBezTo>
                    <a:lnTo>
                      <a:pt x="6068" y="59121"/>
                    </a:ln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4B82AD1E-4154-4E14-86B4-7109DD22FD9A}"/>
                </a:ext>
              </a:extLst>
            </p:cNvPr>
            <p:cNvGrpSpPr/>
            <p:nvPr/>
          </p:nvGrpSpPr>
          <p:grpSpPr>
            <a:xfrm>
              <a:off x="16664823" y="6068718"/>
              <a:ext cx="393905" cy="576544"/>
              <a:chOff x="16664823" y="6068718"/>
              <a:chExt cx="393905" cy="576544"/>
            </a:xfrm>
          </p:grpSpPr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9ACED100-80F7-4031-A70E-E08E9EB24614}"/>
                  </a:ext>
                </a:extLst>
              </p:cNvPr>
              <p:cNvSpPr/>
              <p:nvPr/>
            </p:nvSpPr>
            <p:spPr>
              <a:xfrm>
                <a:off x="16684758" y="6068718"/>
                <a:ext cx="273033" cy="257865"/>
              </a:xfrm>
              <a:custGeom>
                <a:avLst/>
                <a:gdLst>
                  <a:gd name="connsiteX0" fmla="*/ 254832 w 273033"/>
                  <a:gd name="connsiteY0" fmla="*/ 136517 h 257865"/>
                  <a:gd name="connsiteX1" fmla="*/ 130450 w 273033"/>
                  <a:gd name="connsiteY1" fmla="*/ 0 h 257865"/>
                  <a:gd name="connsiteX2" fmla="*/ 0 w 273033"/>
                  <a:gd name="connsiteY2" fmla="*/ 127416 h 257865"/>
                  <a:gd name="connsiteX3" fmla="*/ 142585 w 273033"/>
                  <a:gd name="connsiteY3" fmla="*/ 257865 h 257865"/>
                  <a:gd name="connsiteX4" fmla="*/ 273034 w 273033"/>
                  <a:gd name="connsiteY4" fmla="*/ 172922 h 257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033" h="257865">
                    <a:moveTo>
                      <a:pt x="254832" y="136517"/>
                    </a:moveTo>
                    <a:lnTo>
                      <a:pt x="130450" y="0"/>
                    </a:lnTo>
                    <a:lnTo>
                      <a:pt x="0" y="127416"/>
                    </a:lnTo>
                    <a:lnTo>
                      <a:pt x="142585" y="257865"/>
                    </a:lnTo>
                    <a:lnTo>
                      <a:pt x="273034" y="172922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1AF5CF67-BE10-460A-999F-8940AA899AB1}"/>
                  </a:ext>
                </a:extLst>
              </p:cNvPr>
              <p:cNvSpPr/>
              <p:nvPr/>
            </p:nvSpPr>
            <p:spPr>
              <a:xfrm>
                <a:off x="16664823" y="6196134"/>
                <a:ext cx="362745" cy="415617"/>
              </a:xfrm>
              <a:custGeom>
                <a:avLst/>
                <a:gdLst>
                  <a:gd name="connsiteX0" fmla="*/ 283868 w 362745"/>
                  <a:gd name="connsiteY0" fmla="*/ 0 h 415617"/>
                  <a:gd name="connsiteX1" fmla="*/ 117015 w 362745"/>
                  <a:gd name="connsiteY1" fmla="*/ 94045 h 415617"/>
                  <a:gd name="connsiteX2" fmla="*/ 77577 w 362745"/>
                  <a:gd name="connsiteY2" fmla="*/ 242697 h 415617"/>
                  <a:gd name="connsiteX3" fmla="*/ 10835 w 362745"/>
                  <a:gd name="connsiteY3" fmla="*/ 415618 h 415617"/>
                  <a:gd name="connsiteX4" fmla="*/ 362745 w 362745"/>
                  <a:gd name="connsiteY4" fmla="*/ 78876 h 415617"/>
                  <a:gd name="connsiteX5" fmla="*/ 283868 w 362745"/>
                  <a:gd name="connsiteY5" fmla="*/ 0 h 415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2745" h="415617">
                    <a:moveTo>
                      <a:pt x="283868" y="0"/>
                    </a:moveTo>
                    <a:cubicBezTo>
                      <a:pt x="283868" y="0"/>
                      <a:pt x="208026" y="100112"/>
                      <a:pt x="117015" y="94045"/>
                    </a:cubicBezTo>
                    <a:cubicBezTo>
                      <a:pt x="117015" y="94045"/>
                      <a:pt x="101846" y="206292"/>
                      <a:pt x="77577" y="242697"/>
                    </a:cubicBezTo>
                    <a:cubicBezTo>
                      <a:pt x="50273" y="279101"/>
                      <a:pt x="-28603" y="354944"/>
                      <a:pt x="10835" y="415618"/>
                    </a:cubicBezTo>
                    <a:lnTo>
                      <a:pt x="362745" y="78876"/>
                    </a:lnTo>
                    <a:cubicBezTo>
                      <a:pt x="362745" y="81910"/>
                      <a:pt x="332408" y="24269"/>
                      <a:pt x="283868" y="0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1CBFBA7C-D527-40BE-8C57-50B09E6D4BDB}"/>
                  </a:ext>
                </a:extLst>
              </p:cNvPr>
              <p:cNvSpPr/>
              <p:nvPr/>
            </p:nvSpPr>
            <p:spPr>
              <a:xfrm rot="-2621480">
                <a:off x="16624811" y="6438402"/>
                <a:ext cx="485412" cy="45507"/>
              </a:xfrm>
              <a:custGeom>
                <a:avLst/>
                <a:gdLst>
                  <a:gd name="connsiteX0" fmla="*/ 0 w 485412"/>
                  <a:gd name="connsiteY0" fmla="*/ 0 h 45507"/>
                  <a:gd name="connsiteX1" fmla="*/ 485412 w 485412"/>
                  <a:gd name="connsiteY1" fmla="*/ 0 h 45507"/>
                  <a:gd name="connsiteX2" fmla="*/ 485412 w 485412"/>
                  <a:gd name="connsiteY2" fmla="*/ 45508 h 45507"/>
                  <a:gd name="connsiteX3" fmla="*/ 0 w 485412"/>
                  <a:gd name="connsiteY3" fmla="*/ 45508 h 45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412" h="45507">
                    <a:moveTo>
                      <a:pt x="0" y="0"/>
                    </a:moveTo>
                    <a:lnTo>
                      <a:pt x="485412" y="0"/>
                    </a:lnTo>
                    <a:lnTo>
                      <a:pt x="485412" y="45508"/>
                    </a:lnTo>
                    <a:lnTo>
                      <a:pt x="0" y="45508"/>
                    </a:lnTo>
                    <a:close/>
                  </a:path>
                </a:pathLst>
              </a:custGeom>
              <a:solidFill>
                <a:srgbClr val="38333D"/>
              </a:solidFill>
              <a:ln w="303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15A77CC2-AD73-4DCD-BD2D-E1E511402512}"/>
                  </a:ext>
                </a:extLst>
              </p:cNvPr>
              <p:cNvSpPr/>
              <p:nvPr/>
            </p:nvSpPr>
            <p:spPr>
              <a:xfrm>
                <a:off x="16775769" y="6190825"/>
                <a:ext cx="178231" cy="105421"/>
              </a:xfrm>
              <a:custGeom>
                <a:avLst/>
                <a:gdLst>
                  <a:gd name="connsiteX0" fmla="*/ 6068 w 178231"/>
                  <a:gd name="connsiteY0" fmla="*/ 105421 h 105421"/>
                  <a:gd name="connsiteX1" fmla="*/ 0 w 178231"/>
                  <a:gd name="connsiteY1" fmla="*/ 99354 h 105421"/>
                  <a:gd name="connsiteX2" fmla="*/ 6068 w 178231"/>
                  <a:gd name="connsiteY2" fmla="*/ 93287 h 105421"/>
                  <a:gd name="connsiteX3" fmla="*/ 166854 w 178231"/>
                  <a:gd name="connsiteY3" fmla="*/ 2275 h 105421"/>
                  <a:gd name="connsiteX4" fmla="*/ 175956 w 178231"/>
                  <a:gd name="connsiteY4" fmla="*/ 2275 h 105421"/>
                  <a:gd name="connsiteX5" fmla="*/ 175956 w 178231"/>
                  <a:gd name="connsiteY5" fmla="*/ 11377 h 105421"/>
                  <a:gd name="connsiteX6" fmla="*/ 6068 w 178231"/>
                  <a:gd name="connsiteY6" fmla="*/ 105421 h 105421"/>
                  <a:gd name="connsiteX7" fmla="*/ 6068 w 178231"/>
                  <a:gd name="connsiteY7" fmla="*/ 105421 h 105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8231" h="105421">
                    <a:moveTo>
                      <a:pt x="6068" y="105421"/>
                    </a:moveTo>
                    <a:cubicBezTo>
                      <a:pt x="3034" y="105421"/>
                      <a:pt x="0" y="102388"/>
                      <a:pt x="0" y="99354"/>
                    </a:cubicBezTo>
                    <a:cubicBezTo>
                      <a:pt x="0" y="96321"/>
                      <a:pt x="3034" y="93287"/>
                      <a:pt x="6068" y="93287"/>
                    </a:cubicBezTo>
                    <a:cubicBezTo>
                      <a:pt x="97079" y="90253"/>
                      <a:pt x="166854" y="2275"/>
                      <a:pt x="166854" y="2275"/>
                    </a:cubicBezTo>
                    <a:cubicBezTo>
                      <a:pt x="169888" y="-758"/>
                      <a:pt x="172922" y="-758"/>
                      <a:pt x="175956" y="2275"/>
                    </a:cubicBezTo>
                    <a:cubicBezTo>
                      <a:pt x="178990" y="5309"/>
                      <a:pt x="178990" y="8343"/>
                      <a:pt x="175956" y="11377"/>
                    </a:cubicBezTo>
                    <a:cubicBezTo>
                      <a:pt x="175956" y="14410"/>
                      <a:pt x="103147" y="102388"/>
                      <a:pt x="6068" y="105421"/>
                    </a:cubicBezTo>
                    <a:lnTo>
                      <a:pt x="6068" y="105421"/>
                    </a:ln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E1EB721B-C856-4601-A100-18B85B15C35D}"/>
                </a:ext>
              </a:extLst>
            </p:cNvPr>
            <p:cNvGrpSpPr/>
            <p:nvPr/>
          </p:nvGrpSpPr>
          <p:grpSpPr>
            <a:xfrm>
              <a:off x="15422736" y="6341752"/>
              <a:ext cx="493483" cy="342809"/>
              <a:chOff x="15422736" y="6341752"/>
              <a:chExt cx="493483" cy="342809"/>
            </a:xfrm>
          </p:grpSpPr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733E4B60-A264-49D3-B572-DD3B29B2AAAC}"/>
                  </a:ext>
                </a:extLst>
              </p:cNvPr>
              <p:cNvSpPr/>
              <p:nvPr/>
            </p:nvSpPr>
            <p:spPr>
              <a:xfrm>
                <a:off x="15717005" y="6341752"/>
                <a:ext cx="182022" cy="221460"/>
              </a:xfrm>
              <a:custGeom>
                <a:avLst/>
                <a:gdLst>
                  <a:gd name="connsiteX0" fmla="*/ 175956 w 182022"/>
                  <a:gd name="connsiteY0" fmla="*/ 185056 h 221460"/>
                  <a:gd name="connsiteX1" fmla="*/ 182022 w 182022"/>
                  <a:gd name="connsiteY1" fmla="*/ 0 h 221460"/>
                  <a:gd name="connsiteX2" fmla="*/ 0 w 182022"/>
                  <a:gd name="connsiteY2" fmla="*/ 0 h 221460"/>
                  <a:gd name="connsiteX3" fmla="*/ 15169 w 182022"/>
                  <a:gd name="connsiteY3" fmla="*/ 194158 h 221460"/>
                  <a:gd name="connsiteX4" fmla="*/ 163820 w 182022"/>
                  <a:gd name="connsiteY4" fmla="*/ 221461 h 221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022" h="221460">
                    <a:moveTo>
                      <a:pt x="175956" y="185056"/>
                    </a:moveTo>
                    <a:lnTo>
                      <a:pt x="182022" y="0"/>
                    </a:lnTo>
                    <a:lnTo>
                      <a:pt x="0" y="0"/>
                    </a:lnTo>
                    <a:lnTo>
                      <a:pt x="15169" y="194158"/>
                    </a:lnTo>
                    <a:lnTo>
                      <a:pt x="163820" y="221461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FA515E81-0D26-454A-8DC0-B765F5D944B2}"/>
                  </a:ext>
                </a:extLst>
              </p:cNvPr>
              <p:cNvSpPr/>
              <p:nvPr/>
            </p:nvSpPr>
            <p:spPr>
              <a:xfrm>
                <a:off x="15422736" y="6481302"/>
                <a:ext cx="493482" cy="157752"/>
              </a:xfrm>
              <a:custGeom>
                <a:avLst/>
                <a:gdLst>
                  <a:gd name="connsiteX0" fmla="*/ 485393 w 493482"/>
                  <a:gd name="connsiteY0" fmla="*/ 45506 h 157752"/>
                  <a:gd name="connsiteX1" fmla="*/ 300337 w 493482"/>
                  <a:gd name="connsiteY1" fmla="*/ 0 h 157752"/>
                  <a:gd name="connsiteX2" fmla="*/ 166854 w 493482"/>
                  <a:gd name="connsiteY2" fmla="*/ 78877 h 157752"/>
                  <a:gd name="connsiteX3" fmla="*/ 0 w 493482"/>
                  <a:gd name="connsiteY3" fmla="*/ 157753 h 157752"/>
                  <a:gd name="connsiteX4" fmla="*/ 485393 w 493482"/>
                  <a:gd name="connsiteY4" fmla="*/ 157753 h 157752"/>
                  <a:gd name="connsiteX5" fmla="*/ 485393 w 493482"/>
                  <a:gd name="connsiteY5" fmla="*/ 45506 h 157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3482" h="157752">
                    <a:moveTo>
                      <a:pt x="485393" y="45506"/>
                    </a:moveTo>
                    <a:cubicBezTo>
                      <a:pt x="485393" y="45506"/>
                      <a:pt x="361011" y="63708"/>
                      <a:pt x="300337" y="0"/>
                    </a:cubicBezTo>
                    <a:cubicBezTo>
                      <a:pt x="300337" y="0"/>
                      <a:pt x="212360" y="69775"/>
                      <a:pt x="166854" y="78877"/>
                    </a:cubicBezTo>
                    <a:cubicBezTo>
                      <a:pt x="121348" y="87977"/>
                      <a:pt x="12135" y="84944"/>
                      <a:pt x="0" y="157753"/>
                    </a:cubicBezTo>
                    <a:lnTo>
                      <a:pt x="485393" y="157753"/>
                    </a:lnTo>
                    <a:cubicBezTo>
                      <a:pt x="485393" y="157753"/>
                      <a:pt x="503595" y="94045"/>
                      <a:pt x="485393" y="45506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A9562C10-B08C-4FE3-8037-654DA9E882FC}"/>
                  </a:ext>
                </a:extLst>
              </p:cNvPr>
              <p:cNvSpPr/>
              <p:nvPr/>
            </p:nvSpPr>
            <p:spPr>
              <a:xfrm>
                <a:off x="15422736" y="6639055"/>
                <a:ext cx="485393" cy="45505"/>
              </a:xfrm>
              <a:custGeom>
                <a:avLst/>
                <a:gdLst>
                  <a:gd name="connsiteX0" fmla="*/ 0 w 485393"/>
                  <a:gd name="connsiteY0" fmla="*/ 0 h 45505"/>
                  <a:gd name="connsiteX1" fmla="*/ 485394 w 485393"/>
                  <a:gd name="connsiteY1" fmla="*/ 0 h 45505"/>
                  <a:gd name="connsiteX2" fmla="*/ 485394 w 485393"/>
                  <a:gd name="connsiteY2" fmla="*/ 45506 h 45505"/>
                  <a:gd name="connsiteX3" fmla="*/ 0 w 485393"/>
                  <a:gd name="connsiteY3" fmla="*/ 45506 h 4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393" h="45505">
                    <a:moveTo>
                      <a:pt x="0" y="0"/>
                    </a:moveTo>
                    <a:lnTo>
                      <a:pt x="485394" y="0"/>
                    </a:lnTo>
                    <a:lnTo>
                      <a:pt x="485394" y="45506"/>
                    </a:lnTo>
                    <a:lnTo>
                      <a:pt x="0" y="45506"/>
                    </a:ln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84B25271-8D19-4FBB-8212-7342FC0C721B}"/>
                  </a:ext>
                </a:extLst>
              </p:cNvPr>
              <p:cNvSpPr/>
              <p:nvPr/>
            </p:nvSpPr>
            <p:spPr>
              <a:xfrm>
                <a:off x="15714730" y="6469926"/>
                <a:ext cx="199466" cy="62949"/>
              </a:xfrm>
              <a:custGeom>
                <a:avLst/>
                <a:gdLst>
                  <a:gd name="connsiteX0" fmla="*/ 156995 w 199466"/>
                  <a:gd name="connsiteY0" fmla="*/ 62949 h 62949"/>
                  <a:gd name="connsiteX1" fmla="*/ 2275 w 199466"/>
                  <a:gd name="connsiteY1" fmla="*/ 11376 h 62949"/>
                  <a:gd name="connsiteX2" fmla="*/ 2275 w 199466"/>
                  <a:gd name="connsiteY2" fmla="*/ 2275 h 62949"/>
                  <a:gd name="connsiteX3" fmla="*/ 11377 w 199466"/>
                  <a:gd name="connsiteY3" fmla="*/ 2275 h 62949"/>
                  <a:gd name="connsiteX4" fmla="*/ 193400 w 199466"/>
                  <a:gd name="connsiteY4" fmla="*/ 47781 h 62949"/>
                  <a:gd name="connsiteX5" fmla="*/ 199466 w 199466"/>
                  <a:gd name="connsiteY5" fmla="*/ 53848 h 62949"/>
                  <a:gd name="connsiteX6" fmla="*/ 193400 w 199466"/>
                  <a:gd name="connsiteY6" fmla="*/ 59916 h 62949"/>
                  <a:gd name="connsiteX7" fmla="*/ 156995 w 199466"/>
                  <a:gd name="connsiteY7" fmla="*/ 62949 h 62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9466" h="62949">
                    <a:moveTo>
                      <a:pt x="156995" y="62949"/>
                    </a:moveTo>
                    <a:cubicBezTo>
                      <a:pt x="117557" y="62949"/>
                      <a:pt x="50815" y="56882"/>
                      <a:pt x="2275" y="11376"/>
                    </a:cubicBezTo>
                    <a:cubicBezTo>
                      <a:pt x="-758" y="8342"/>
                      <a:pt x="-758" y="5309"/>
                      <a:pt x="2275" y="2275"/>
                    </a:cubicBezTo>
                    <a:cubicBezTo>
                      <a:pt x="5309" y="-758"/>
                      <a:pt x="8343" y="-758"/>
                      <a:pt x="11377" y="2275"/>
                    </a:cubicBezTo>
                    <a:cubicBezTo>
                      <a:pt x="78118" y="62949"/>
                      <a:pt x="190366" y="47781"/>
                      <a:pt x="193400" y="47781"/>
                    </a:cubicBezTo>
                    <a:cubicBezTo>
                      <a:pt x="196433" y="47781"/>
                      <a:pt x="199466" y="50815"/>
                      <a:pt x="199466" y="53848"/>
                    </a:cubicBezTo>
                    <a:cubicBezTo>
                      <a:pt x="199466" y="56882"/>
                      <a:pt x="196433" y="59916"/>
                      <a:pt x="193400" y="59916"/>
                    </a:cubicBezTo>
                    <a:cubicBezTo>
                      <a:pt x="193400" y="62949"/>
                      <a:pt x="178231" y="62949"/>
                      <a:pt x="156995" y="6294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5836D940-9370-4F8C-AC45-CE02688FA452}"/>
                </a:ext>
              </a:extLst>
            </p:cNvPr>
            <p:cNvSpPr/>
            <p:nvPr/>
          </p:nvSpPr>
          <p:spPr>
            <a:xfrm>
              <a:off x="15572564" y="4136246"/>
              <a:ext cx="1382194" cy="2284382"/>
            </a:xfrm>
            <a:custGeom>
              <a:avLst/>
              <a:gdLst>
                <a:gd name="connsiteX0" fmla="*/ 7925 w 1382194"/>
                <a:gd name="connsiteY0" fmla="*/ 21236 h 2284382"/>
                <a:gd name="connsiteX1" fmla="*/ 20059 w 1382194"/>
                <a:gd name="connsiteY1" fmla="*/ 1398540 h 2284382"/>
                <a:gd name="connsiteX2" fmla="*/ 89835 w 1382194"/>
                <a:gd name="connsiteY2" fmla="*/ 2284382 h 2284382"/>
                <a:gd name="connsiteX3" fmla="*/ 384104 w 1382194"/>
                <a:gd name="connsiteY3" fmla="*/ 2284382 h 2284382"/>
                <a:gd name="connsiteX4" fmla="*/ 423543 w 1382194"/>
                <a:gd name="connsiteY4" fmla="*/ 1422809 h 2284382"/>
                <a:gd name="connsiteX5" fmla="*/ 505453 w 1382194"/>
                <a:gd name="connsiteY5" fmla="*/ 500562 h 2284382"/>
                <a:gd name="connsiteX6" fmla="*/ 544891 w 1382194"/>
                <a:gd name="connsiteY6" fmla="*/ 1404607 h 2284382"/>
                <a:gd name="connsiteX7" fmla="*/ 581295 w 1382194"/>
                <a:gd name="connsiteY7" fmla="*/ 1501685 h 2284382"/>
                <a:gd name="connsiteX8" fmla="*/ 1097026 w 1382194"/>
                <a:gd name="connsiteY8" fmla="*/ 2169101 h 2284382"/>
                <a:gd name="connsiteX9" fmla="*/ 1382195 w 1382194"/>
                <a:gd name="connsiteY9" fmla="*/ 1929438 h 2284382"/>
                <a:gd name="connsiteX10" fmla="*/ 951408 w 1382194"/>
                <a:gd name="connsiteY10" fmla="*/ 1334832 h 2284382"/>
                <a:gd name="connsiteX11" fmla="*/ 1042419 w 1382194"/>
                <a:gd name="connsiteY11" fmla="*/ 0 h 2284382"/>
                <a:gd name="connsiteX12" fmla="*/ 7925 w 1382194"/>
                <a:gd name="connsiteY12" fmla="*/ 21236 h 228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82194" h="2284382">
                  <a:moveTo>
                    <a:pt x="7925" y="21236"/>
                  </a:moveTo>
                  <a:cubicBezTo>
                    <a:pt x="7925" y="21236"/>
                    <a:pt x="-16345" y="1089101"/>
                    <a:pt x="20059" y="1398540"/>
                  </a:cubicBezTo>
                  <a:cubicBezTo>
                    <a:pt x="50396" y="1668539"/>
                    <a:pt x="89835" y="2284382"/>
                    <a:pt x="89835" y="2284382"/>
                  </a:cubicBezTo>
                  <a:lnTo>
                    <a:pt x="384104" y="2284382"/>
                  </a:lnTo>
                  <a:cubicBezTo>
                    <a:pt x="384104" y="2284382"/>
                    <a:pt x="417475" y="1519888"/>
                    <a:pt x="423543" y="1422809"/>
                  </a:cubicBezTo>
                  <a:cubicBezTo>
                    <a:pt x="429610" y="1283259"/>
                    <a:pt x="490284" y="530899"/>
                    <a:pt x="505453" y="500562"/>
                  </a:cubicBezTo>
                  <a:cubicBezTo>
                    <a:pt x="517588" y="476292"/>
                    <a:pt x="538824" y="1198315"/>
                    <a:pt x="544891" y="1404607"/>
                  </a:cubicBezTo>
                  <a:cubicBezTo>
                    <a:pt x="544891" y="1441011"/>
                    <a:pt x="557026" y="1474382"/>
                    <a:pt x="581295" y="1501685"/>
                  </a:cubicBezTo>
                  <a:lnTo>
                    <a:pt x="1097026" y="2169101"/>
                  </a:lnTo>
                  <a:lnTo>
                    <a:pt x="1382195" y="1929438"/>
                  </a:lnTo>
                  <a:lnTo>
                    <a:pt x="951408" y="1334832"/>
                  </a:lnTo>
                  <a:cubicBezTo>
                    <a:pt x="951408" y="1334832"/>
                    <a:pt x="1084891" y="97079"/>
                    <a:pt x="1042419" y="0"/>
                  </a:cubicBezTo>
                  <a:cubicBezTo>
                    <a:pt x="341633" y="33371"/>
                    <a:pt x="7925" y="21236"/>
                    <a:pt x="7925" y="21236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54AE4A78-A9E7-474E-98C7-24227077F664}"/>
                </a:ext>
              </a:extLst>
            </p:cNvPr>
            <p:cNvSpPr/>
            <p:nvPr/>
          </p:nvSpPr>
          <p:spPr>
            <a:xfrm>
              <a:off x="16011276" y="4284898"/>
              <a:ext cx="69774" cy="361011"/>
            </a:xfrm>
            <a:custGeom>
              <a:avLst/>
              <a:gdLst>
                <a:gd name="connsiteX0" fmla="*/ 63708 w 69774"/>
                <a:gd name="connsiteY0" fmla="*/ 361011 h 361011"/>
                <a:gd name="connsiteX1" fmla="*/ 57640 w 69774"/>
                <a:gd name="connsiteY1" fmla="*/ 357978 h 361011"/>
                <a:gd name="connsiteX2" fmla="*/ 0 w 69774"/>
                <a:gd name="connsiteY2" fmla="*/ 6068 h 361011"/>
                <a:gd name="connsiteX3" fmla="*/ 6067 w 69774"/>
                <a:gd name="connsiteY3" fmla="*/ 0 h 361011"/>
                <a:gd name="connsiteX4" fmla="*/ 6067 w 69774"/>
                <a:gd name="connsiteY4" fmla="*/ 0 h 361011"/>
                <a:gd name="connsiteX5" fmla="*/ 12135 w 69774"/>
                <a:gd name="connsiteY5" fmla="*/ 6068 h 361011"/>
                <a:gd name="connsiteX6" fmla="*/ 69775 w 69774"/>
                <a:gd name="connsiteY6" fmla="*/ 354944 h 361011"/>
                <a:gd name="connsiteX7" fmla="*/ 63708 w 69774"/>
                <a:gd name="connsiteY7" fmla="*/ 361011 h 361011"/>
                <a:gd name="connsiteX8" fmla="*/ 63708 w 69774"/>
                <a:gd name="connsiteY8" fmla="*/ 361011 h 361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774" h="361011">
                  <a:moveTo>
                    <a:pt x="63708" y="361011"/>
                  </a:moveTo>
                  <a:cubicBezTo>
                    <a:pt x="60674" y="361011"/>
                    <a:pt x="60674" y="361011"/>
                    <a:pt x="57640" y="357978"/>
                  </a:cubicBezTo>
                  <a:cubicBezTo>
                    <a:pt x="9101" y="242697"/>
                    <a:pt x="0" y="15169"/>
                    <a:pt x="0" y="6068"/>
                  </a:cubicBezTo>
                  <a:cubicBezTo>
                    <a:pt x="0" y="3034"/>
                    <a:pt x="3034" y="0"/>
                    <a:pt x="6067" y="0"/>
                  </a:cubicBezTo>
                  <a:lnTo>
                    <a:pt x="6067" y="0"/>
                  </a:lnTo>
                  <a:cubicBezTo>
                    <a:pt x="9101" y="0"/>
                    <a:pt x="12135" y="3034"/>
                    <a:pt x="12135" y="6068"/>
                  </a:cubicBezTo>
                  <a:cubicBezTo>
                    <a:pt x="12135" y="9101"/>
                    <a:pt x="21235" y="242697"/>
                    <a:pt x="69775" y="354944"/>
                  </a:cubicBezTo>
                  <a:cubicBezTo>
                    <a:pt x="69775" y="354944"/>
                    <a:pt x="66741" y="357978"/>
                    <a:pt x="63708" y="361011"/>
                  </a:cubicBezTo>
                  <a:cubicBezTo>
                    <a:pt x="63708" y="361011"/>
                    <a:pt x="63708" y="361011"/>
                    <a:pt x="63708" y="361011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CD5709E6-29C6-4344-9AAC-2A496707DC30}"/>
                </a:ext>
              </a:extLst>
            </p:cNvPr>
            <p:cNvSpPr/>
            <p:nvPr/>
          </p:nvSpPr>
          <p:spPr>
            <a:xfrm>
              <a:off x="15899028" y="4215123"/>
              <a:ext cx="154719" cy="351910"/>
            </a:xfrm>
            <a:custGeom>
              <a:avLst/>
              <a:gdLst>
                <a:gd name="connsiteX0" fmla="*/ 145619 w 154719"/>
                <a:gd name="connsiteY0" fmla="*/ 351910 h 351910"/>
                <a:gd name="connsiteX1" fmla="*/ 142585 w 154719"/>
                <a:gd name="connsiteY1" fmla="*/ 351910 h 351910"/>
                <a:gd name="connsiteX2" fmla="*/ 33371 w 154719"/>
                <a:gd name="connsiteY2" fmla="*/ 273034 h 351910"/>
                <a:gd name="connsiteX3" fmla="*/ 0 w 154719"/>
                <a:gd name="connsiteY3" fmla="*/ 6067 h 351910"/>
                <a:gd name="connsiteX4" fmla="*/ 6068 w 154719"/>
                <a:gd name="connsiteY4" fmla="*/ 0 h 351910"/>
                <a:gd name="connsiteX5" fmla="*/ 6068 w 154719"/>
                <a:gd name="connsiteY5" fmla="*/ 0 h 351910"/>
                <a:gd name="connsiteX6" fmla="*/ 12135 w 154719"/>
                <a:gd name="connsiteY6" fmla="*/ 6067 h 351910"/>
                <a:gd name="connsiteX7" fmla="*/ 45506 w 154719"/>
                <a:gd name="connsiteY7" fmla="*/ 266966 h 351910"/>
                <a:gd name="connsiteX8" fmla="*/ 151685 w 154719"/>
                <a:gd name="connsiteY8" fmla="*/ 342809 h 351910"/>
                <a:gd name="connsiteX9" fmla="*/ 154719 w 154719"/>
                <a:gd name="connsiteY9" fmla="*/ 351910 h 351910"/>
                <a:gd name="connsiteX10" fmla="*/ 145619 w 154719"/>
                <a:gd name="connsiteY10" fmla="*/ 351910 h 351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4719" h="351910">
                  <a:moveTo>
                    <a:pt x="145619" y="351910"/>
                  </a:moveTo>
                  <a:cubicBezTo>
                    <a:pt x="145619" y="351910"/>
                    <a:pt x="142585" y="351910"/>
                    <a:pt x="142585" y="351910"/>
                  </a:cubicBezTo>
                  <a:cubicBezTo>
                    <a:pt x="133483" y="345843"/>
                    <a:pt x="45506" y="288202"/>
                    <a:pt x="33371" y="273034"/>
                  </a:cubicBezTo>
                  <a:cubicBezTo>
                    <a:pt x="21236" y="257865"/>
                    <a:pt x="3034" y="48539"/>
                    <a:pt x="0" y="6067"/>
                  </a:cubicBezTo>
                  <a:cubicBezTo>
                    <a:pt x="0" y="3034"/>
                    <a:pt x="3034" y="0"/>
                    <a:pt x="6068" y="0"/>
                  </a:cubicBezTo>
                  <a:cubicBezTo>
                    <a:pt x="6068" y="0"/>
                    <a:pt x="6068" y="0"/>
                    <a:pt x="6068" y="0"/>
                  </a:cubicBezTo>
                  <a:cubicBezTo>
                    <a:pt x="9102" y="0"/>
                    <a:pt x="12135" y="3034"/>
                    <a:pt x="12135" y="6067"/>
                  </a:cubicBezTo>
                  <a:cubicBezTo>
                    <a:pt x="21236" y="100112"/>
                    <a:pt x="36405" y="254831"/>
                    <a:pt x="45506" y="266966"/>
                  </a:cubicBezTo>
                  <a:cubicBezTo>
                    <a:pt x="54607" y="276067"/>
                    <a:pt x="112248" y="318539"/>
                    <a:pt x="151685" y="342809"/>
                  </a:cubicBezTo>
                  <a:cubicBezTo>
                    <a:pt x="154719" y="345843"/>
                    <a:pt x="154719" y="348876"/>
                    <a:pt x="154719" y="351910"/>
                  </a:cubicBezTo>
                  <a:cubicBezTo>
                    <a:pt x="148652" y="351910"/>
                    <a:pt x="148652" y="351910"/>
                    <a:pt x="145619" y="351910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90B97C92-3844-4BE2-B987-603ADC1BD9A9}"/>
                </a:ext>
              </a:extLst>
            </p:cNvPr>
            <p:cNvSpPr/>
            <p:nvPr/>
          </p:nvSpPr>
          <p:spPr>
            <a:xfrm>
              <a:off x="16472399" y="4151415"/>
              <a:ext cx="145618" cy="236629"/>
            </a:xfrm>
            <a:custGeom>
              <a:avLst/>
              <a:gdLst>
                <a:gd name="connsiteX0" fmla="*/ 139551 w 145618"/>
                <a:gd name="connsiteY0" fmla="*/ 236629 h 236629"/>
                <a:gd name="connsiteX1" fmla="*/ 139551 w 145618"/>
                <a:gd name="connsiteY1" fmla="*/ 236629 h 236629"/>
                <a:gd name="connsiteX2" fmla="*/ 15169 w 145618"/>
                <a:gd name="connsiteY2" fmla="*/ 203259 h 236629"/>
                <a:gd name="connsiteX3" fmla="*/ 0 w 145618"/>
                <a:gd name="connsiteY3" fmla="*/ 6068 h 236629"/>
                <a:gd name="connsiteX4" fmla="*/ 6068 w 145618"/>
                <a:gd name="connsiteY4" fmla="*/ 0 h 236629"/>
                <a:gd name="connsiteX5" fmla="*/ 12136 w 145618"/>
                <a:gd name="connsiteY5" fmla="*/ 6068 h 236629"/>
                <a:gd name="connsiteX6" fmla="*/ 24270 w 145618"/>
                <a:gd name="connsiteY6" fmla="*/ 200225 h 236629"/>
                <a:gd name="connsiteX7" fmla="*/ 139551 w 145618"/>
                <a:gd name="connsiteY7" fmla="*/ 227528 h 236629"/>
                <a:gd name="connsiteX8" fmla="*/ 145619 w 145618"/>
                <a:gd name="connsiteY8" fmla="*/ 233596 h 236629"/>
                <a:gd name="connsiteX9" fmla="*/ 139551 w 145618"/>
                <a:gd name="connsiteY9" fmla="*/ 236629 h 236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5618" h="236629">
                  <a:moveTo>
                    <a:pt x="139551" y="236629"/>
                  </a:moveTo>
                  <a:cubicBezTo>
                    <a:pt x="139551" y="236629"/>
                    <a:pt x="139551" y="236629"/>
                    <a:pt x="139551" y="236629"/>
                  </a:cubicBezTo>
                  <a:cubicBezTo>
                    <a:pt x="112248" y="233596"/>
                    <a:pt x="24270" y="221461"/>
                    <a:pt x="15169" y="203259"/>
                  </a:cubicBezTo>
                  <a:cubicBezTo>
                    <a:pt x="6068" y="185056"/>
                    <a:pt x="0" y="24270"/>
                    <a:pt x="0" y="6068"/>
                  </a:cubicBezTo>
                  <a:cubicBezTo>
                    <a:pt x="0" y="3034"/>
                    <a:pt x="3034" y="0"/>
                    <a:pt x="6068" y="0"/>
                  </a:cubicBezTo>
                  <a:cubicBezTo>
                    <a:pt x="9102" y="0"/>
                    <a:pt x="12136" y="3034"/>
                    <a:pt x="12136" y="6068"/>
                  </a:cubicBezTo>
                  <a:cubicBezTo>
                    <a:pt x="12136" y="75843"/>
                    <a:pt x="18202" y="188090"/>
                    <a:pt x="24270" y="200225"/>
                  </a:cubicBezTo>
                  <a:cubicBezTo>
                    <a:pt x="30337" y="209326"/>
                    <a:pt x="87978" y="221461"/>
                    <a:pt x="139551" y="227528"/>
                  </a:cubicBezTo>
                  <a:cubicBezTo>
                    <a:pt x="142585" y="227528"/>
                    <a:pt x="145619" y="230562"/>
                    <a:pt x="145619" y="233596"/>
                  </a:cubicBezTo>
                  <a:cubicBezTo>
                    <a:pt x="145619" y="233596"/>
                    <a:pt x="142585" y="236629"/>
                    <a:pt x="139551" y="236629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04EF8D5F-99A0-4062-829E-24D3BE28E505}"/>
                </a:ext>
              </a:extLst>
            </p:cNvPr>
            <p:cNvSpPr/>
            <p:nvPr/>
          </p:nvSpPr>
          <p:spPr>
            <a:xfrm>
              <a:off x="15580489" y="4160516"/>
              <a:ext cx="91011" cy="206292"/>
            </a:xfrm>
            <a:custGeom>
              <a:avLst/>
              <a:gdLst>
                <a:gd name="connsiteX0" fmla="*/ 12135 w 91011"/>
                <a:gd name="connsiteY0" fmla="*/ 206292 h 206292"/>
                <a:gd name="connsiteX1" fmla="*/ 6068 w 91011"/>
                <a:gd name="connsiteY1" fmla="*/ 206292 h 206292"/>
                <a:gd name="connsiteX2" fmla="*/ 0 w 91011"/>
                <a:gd name="connsiteY2" fmla="*/ 200225 h 206292"/>
                <a:gd name="connsiteX3" fmla="*/ 6068 w 91011"/>
                <a:gd name="connsiteY3" fmla="*/ 194157 h 206292"/>
                <a:gd name="connsiteX4" fmla="*/ 60674 w 91011"/>
                <a:gd name="connsiteY4" fmla="*/ 175955 h 206292"/>
                <a:gd name="connsiteX5" fmla="*/ 78877 w 91011"/>
                <a:gd name="connsiteY5" fmla="*/ 6067 h 206292"/>
                <a:gd name="connsiteX6" fmla="*/ 84944 w 91011"/>
                <a:gd name="connsiteY6" fmla="*/ 0 h 206292"/>
                <a:gd name="connsiteX7" fmla="*/ 84944 w 91011"/>
                <a:gd name="connsiteY7" fmla="*/ 0 h 206292"/>
                <a:gd name="connsiteX8" fmla="*/ 91011 w 91011"/>
                <a:gd name="connsiteY8" fmla="*/ 6067 h 206292"/>
                <a:gd name="connsiteX9" fmla="*/ 69776 w 91011"/>
                <a:gd name="connsiteY9" fmla="*/ 178989 h 206292"/>
                <a:gd name="connsiteX10" fmla="*/ 12135 w 91011"/>
                <a:gd name="connsiteY10" fmla="*/ 206292 h 206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011" h="206292">
                  <a:moveTo>
                    <a:pt x="12135" y="206292"/>
                  </a:moveTo>
                  <a:cubicBezTo>
                    <a:pt x="9102" y="206292"/>
                    <a:pt x="6068" y="206292"/>
                    <a:pt x="6068" y="206292"/>
                  </a:cubicBezTo>
                  <a:cubicBezTo>
                    <a:pt x="3034" y="206292"/>
                    <a:pt x="0" y="203258"/>
                    <a:pt x="0" y="200225"/>
                  </a:cubicBezTo>
                  <a:cubicBezTo>
                    <a:pt x="0" y="197191"/>
                    <a:pt x="3034" y="194157"/>
                    <a:pt x="6068" y="194157"/>
                  </a:cubicBezTo>
                  <a:cubicBezTo>
                    <a:pt x="6068" y="194157"/>
                    <a:pt x="48540" y="197191"/>
                    <a:pt x="60674" y="175955"/>
                  </a:cubicBezTo>
                  <a:cubicBezTo>
                    <a:pt x="72809" y="154719"/>
                    <a:pt x="78877" y="48539"/>
                    <a:pt x="78877" y="6067"/>
                  </a:cubicBezTo>
                  <a:cubicBezTo>
                    <a:pt x="78877" y="3034"/>
                    <a:pt x="81910" y="0"/>
                    <a:pt x="84944" y="0"/>
                  </a:cubicBezTo>
                  <a:lnTo>
                    <a:pt x="84944" y="0"/>
                  </a:lnTo>
                  <a:cubicBezTo>
                    <a:pt x="87977" y="0"/>
                    <a:pt x="91011" y="3034"/>
                    <a:pt x="91011" y="6067"/>
                  </a:cubicBezTo>
                  <a:cubicBezTo>
                    <a:pt x="91011" y="21236"/>
                    <a:pt x="84944" y="154719"/>
                    <a:pt x="69776" y="178989"/>
                  </a:cubicBezTo>
                  <a:cubicBezTo>
                    <a:pt x="57640" y="203258"/>
                    <a:pt x="27303" y="206292"/>
                    <a:pt x="12135" y="206292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09A5206-C425-4988-9F24-27796A306DC9}"/>
                </a:ext>
              </a:extLst>
            </p:cNvPr>
            <p:cNvSpPr/>
            <p:nvPr/>
          </p:nvSpPr>
          <p:spPr>
            <a:xfrm>
              <a:off x="16390489" y="5471077"/>
              <a:ext cx="130449" cy="33370"/>
            </a:xfrm>
            <a:custGeom>
              <a:avLst/>
              <a:gdLst>
                <a:gd name="connsiteX0" fmla="*/ 6067 w 130449"/>
                <a:gd name="connsiteY0" fmla="*/ 33371 h 33370"/>
                <a:gd name="connsiteX1" fmla="*/ 0 w 130449"/>
                <a:gd name="connsiteY1" fmla="*/ 30337 h 33370"/>
                <a:gd name="connsiteX2" fmla="*/ 3034 w 130449"/>
                <a:gd name="connsiteY2" fmla="*/ 24270 h 33370"/>
                <a:gd name="connsiteX3" fmla="*/ 124382 w 130449"/>
                <a:gd name="connsiteY3" fmla="*/ 0 h 33370"/>
                <a:gd name="connsiteX4" fmla="*/ 130449 w 130449"/>
                <a:gd name="connsiteY4" fmla="*/ 3034 h 33370"/>
                <a:gd name="connsiteX5" fmla="*/ 127415 w 130449"/>
                <a:gd name="connsiteY5" fmla="*/ 9101 h 33370"/>
                <a:gd name="connsiteX6" fmla="*/ 6067 w 130449"/>
                <a:gd name="connsiteY6" fmla="*/ 33371 h 33370"/>
                <a:gd name="connsiteX7" fmla="*/ 6067 w 130449"/>
                <a:gd name="connsiteY7" fmla="*/ 33371 h 3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0449" h="33370">
                  <a:moveTo>
                    <a:pt x="6067" y="33371"/>
                  </a:moveTo>
                  <a:cubicBezTo>
                    <a:pt x="3034" y="33371"/>
                    <a:pt x="0" y="30337"/>
                    <a:pt x="0" y="30337"/>
                  </a:cubicBezTo>
                  <a:cubicBezTo>
                    <a:pt x="0" y="27303"/>
                    <a:pt x="0" y="24270"/>
                    <a:pt x="3034" y="24270"/>
                  </a:cubicBezTo>
                  <a:lnTo>
                    <a:pt x="124382" y="0"/>
                  </a:lnTo>
                  <a:cubicBezTo>
                    <a:pt x="127415" y="0"/>
                    <a:pt x="130449" y="0"/>
                    <a:pt x="130449" y="3034"/>
                  </a:cubicBezTo>
                  <a:cubicBezTo>
                    <a:pt x="130449" y="6068"/>
                    <a:pt x="130449" y="9101"/>
                    <a:pt x="127415" y="9101"/>
                  </a:cubicBezTo>
                  <a:lnTo>
                    <a:pt x="6067" y="33371"/>
                  </a:lnTo>
                  <a:cubicBezTo>
                    <a:pt x="6067" y="33371"/>
                    <a:pt x="6067" y="33371"/>
                    <a:pt x="6067" y="33371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233A0AE7-0E3C-4D25-8FAA-EA839B9398D8}"/>
                </a:ext>
              </a:extLst>
            </p:cNvPr>
            <p:cNvSpPr/>
            <p:nvPr/>
          </p:nvSpPr>
          <p:spPr>
            <a:xfrm>
              <a:off x="15944534" y="2470740"/>
              <a:ext cx="248764" cy="256965"/>
            </a:xfrm>
            <a:custGeom>
              <a:avLst/>
              <a:gdLst>
                <a:gd name="connsiteX0" fmla="*/ 0 w 248764"/>
                <a:gd name="connsiteY0" fmla="*/ 39438 h 256965"/>
                <a:gd name="connsiteX1" fmla="*/ 6068 w 248764"/>
                <a:gd name="connsiteY1" fmla="*/ 212360 h 256965"/>
                <a:gd name="connsiteX2" fmla="*/ 248764 w 248764"/>
                <a:gd name="connsiteY2" fmla="*/ 203258 h 256965"/>
                <a:gd name="connsiteX3" fmla="*/ 233596 w 248764"/>
                <a:gd name="connsiteY3" fmla="*/ 0 h 256965"/>
                <a:gd name="connsiteX4" fmla="*/ 0 w 248764"/>
                <a:gd name="connsiteY4" fmla="*/ 39438 h 25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764" h="256965">
                  <a:moveTo>
                    <a:pt x="0" y="39438"/>
                  </a:moveTo>
                  <a:cubicBezTo>
                    <a:pt x="0" y="39438"/>
                    <a:pt x="6068" y="139551"/>
                    <a:pt x="6068" y="212360"/>
                  </a:cubicBezTo>
                  <a:cubicBezTo>
                    <a:pt x="6068" y="212360"/>
                    <a:pt x="100113" y="318539"/>
                    <a:pt x="248764" y="203258"/>
                  </a:cubicBezTo>
                  <a:cubicBezTo>
                    <a:pt x="248764" y="142584"/>
                    <a:pt x="236630" y="63708"/>
                    <a:pt x="233596" y="0"/>
                  </a:cubicBezTo>
                  <a:cubicBezTo>
                    <a:pt x="236630" y="0"/>
                    <a:pt x="51573" y="51573"/>
                    <a:pt x="0" y="39438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32F3E959-9680-455C-A5AB-718EF6EA96F9}"/>
                </a:ext>
              </a:extLst>
            </p:cNvPr>
            <p:cNvSpPr/>
            <p:nvPr/>
          </p:nvSpPr>
          <p:spPr>
            <a:xfrm>
              <a:off x="16214533" y="2352426"/>
              <a:ext cx="69775" cy="136516"/>
            </a:xfrm>
            <a:custGeom>
              <a:avLst/>
              <a:gdLst>
                <a:gd name="connsiteX0" fmla="*/ 69776 w 69775"/>
                <a:gd name="connsiteY0" fmla="*/ 0 h 136516"/>
                <a:gd name="connsiteX1" fmla="*/ 3034 w 69775"/>
                <a:gd name="connsiteY1" fmla="*/ 136517 h 136516"/>
                <a:gd name="connsiteX2" fmla="*/ 0 w 69775"/>
                <a:gd name="connsiteY2" fmla="*/ 51573 h 136516"/>
                <a:gd name="connsiteX3" fmla="*/ 69776 w 69775"/>
                <a:gd name="connsiteY3" fmla="*/ 0 h 13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75" h="136516">
                  <a:moveTo>
                    <a:pt x="69776" y="0"/>
                  </a:moveTo>
                  <a:cubicBezTo>
                    <a:pt x="69776" y="0"/>
                    <a:pt x="54607" y="118315"/>
                    <a:pt x="3034" y="136517"/>
                  </a:cubicBezTo>
                  <a:lnTo>
                    <a:pt x="0" y="51573"/>
                  </a:lnTo>
                  <a:lnTo>
                    <a:pt x="69776" y="0"/>
                  </a:lnTo>
                  <a:close/>
                </a:path>
              </a:pathLst>
            </a:custGeom>
            <a:solidFill>
              <a:srgbClr val="F1DDBA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84E1AF73-9AD9-4D1B-929A-BB06BAA1E5FE}"/>
                </a:ext>
              </a:extLst>
            </p:cNvPr>
            <p:cNvSpPr/>
            <p:nvPr/>
          </p:nvSpPr>
          <p:spPr>
            <a:xfrm>
              <a:off x="15827687" y="2146134"/>
              <a:ext cx="102127" cy="236641"/>
            </a:xfrm>
            <a:custGeom>
              <a:avLst/>
              <a:gdLst>
                <a:gd name="connsiteX0" fmla="*/ 7633 w 102127"/>
                <a:gd name="connsiteY0" fmla="*/ 0 h 236641"/>
                <a:gd name="connsiteX1" fmla="*/ 47071 w 102127"/>
                <a:gd name="connsiteY1" fmla="*/ 233595 h 236641"/>
                <a:gd name="connsiteX2" fmla="*/ 101678 w 102127"/>
                <a:gd name="connsiteY2" fmla="*/ 15169 h 236641"/>
                <a:gd name="connsiteX3" fmla="*/ 7633 w 102127"/>
                <a:gd name="connsiteY3" fmla="*/ 0 h 236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127" h="236641">
                  <a:moveTo>
                    <a:pt x="7633" y="0"/>
                  </a:moveTo>
                  <a:cubicBezTo>
                    <a:pt x="7633" y="0"/>
                    <a:pt x="-25737" y="194157"/>
                    <a:pt x="47071" y="233595"/>
                  </a:cubicBezTo>
                  <a:cubicBezTo>
                    <a:pt x="110780" y="266966"/>
                    <a:pt x="101678" y="15169"/>
                    <a:pt x="101678" y="15169"/>
                  </a:cubicBezTo>
                  <a:lnTo>
                    <a:pt x="7633" y="0"/>
                  </a:lnTo>
                  <a:close/>
                </a:path>
              </a:pathLst>
            </a:custGeom>
            <a:solidFill>
              <a:srgbClr val="F1DDBA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419E56A0-DA08-46EA-BCD4-DEE79A15C15B}"/>
                </a:ext>
              </a:extLst>
            </p:cNvPr>
            <p:cNvSpPr/>
            <p:nvPr/>
          </p:nvSpPr>
          <p:spPr>
            <a:xfrm>
              <a:off x="15863014" y="2008710"/>
              <a:ext cx="421295" cy="565777"/>
            </a:xfrm>
            <a:custGeom>
              <a:avLst/>
              <a:gdLst>
                <a:gd name="connsiteX0" fmla="*/ 11745 w 421295"/>
                <a:gd name="connsiteY0" fmla="*/ 179896 h 565777"/>
                <a:gd name="connsiteX1" fmla="*/ 8711 w 421295"/>
                <a:gd name="connsiteY1" fmla="*/ 428660 h 565777"/>
                <a:gd name="connsiteX2" fmla="*/ 166464 w 421295"/>
                <a:gd name="connsiteY2" fmla="*/ 565177 h 565777"/>
                <a:gd name="connsiteX3" fmla="*/ 381857 w 421295"/>
                <a:gd name="connsiteY3" fmla="*/ 425626 h 565777"/>
                <a:gd name="connsiteX4" fmla="*/ 421296 w 421295"/>
                <a:gd name="connsiteY4" fmla="*/ 201132 h 565777"/>
                <a:gd name="connsiteX5" fmla="*/ 211970 w 421295"/>
                <a:gd name="connsiteY5" fmla="*/ 907 h 565777"/>
                <a:gd name="connsiteX6" fmla="*/ 11745 w 421295"/>
                <a:gd name="connsiteY6" fmla="*/ 179896 h 565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295" h="565777">
                  <a:moveTo>
                    <a:pt x="11745" y="179896"/>
                  </a:moveTo>
                  <a:cubicBezTo>
                    <a:pt x="11745" y="179896"/>
                    <a:pt x="-12525" y="355851"/>
                    <a:pt x="8711" y="428660"/>
                  </a:cubicBezTo>
                  <a:cubicBezTo>
                    <a:pt x="26914" y="495402"/>
                    <a:pt x="114891" y="559109"/>
                    <a:pt x="166464" y="565177"/>
                  </a:cubicBezTo>
                  <a:cubicBezTo>
                    <a:pt x="233205" y="571244"/>
                    <a:pt x="351520" y="531806"/>
                    <a:pt x="381857" y="425626"/>
                  </a:cubicBezTo>
                  <a:cubicBezTo>
                    <a:pt x="403093" y="352817"/>
                    <a:pt x="421296" y="252705"/>
                    <a:pt x="421296" y="201132"/>
                  </a:cubicBezTo>
                  <a:cubicBezTo>
                    <a:pt x="421296" y="107087"/>
                    <a:pt x="393993" y="28210"/>
                    <a:pt x="211970" y="907"/>
                  </a:cubicBezTo>
                  <a:cubicBezTo>
                    <a:pt x="127026" y="-11228"/>
                    <a:pt x="32981" y="101019"/>
                    <a:pt x="11745" y="179896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EF2E73AC-7B5C-4FF1-A608-E193C8227168}"/>
                </a:ext>
              </a:extLst>
            </p:cNvPr>
            <p:cNvSpPr/>
            <p:nvPr/>
          </p:nvSpPr>
          <p:spPr>
            <a:xfrm>
              <a:off x="15996107" y="2270516"/>
              <a:ext cx="57640" cy="136516"/>
            </a:xfrm>
            <a:custGeom>
              <a:avLst/>
              <a:gdLst>
                <a:gd name="connsiteX0" fmla="*/ 33371 w 57640"/>
                <a:gd name="connsiteY0" fmla="*/ 136517 h 136516"/>
                <a:gd name="connsiteX1" fmla="*/ 6067 w 57640"/>
                <a:gd name="connsiteY1" fmla="*/ 130449 h 136516"/>
                <a:gd name="connsiteX2" fmla="*/ 0 w 57640"/>
                <a:gd name="connsiteY2" fmla="*/ 118315 h 136516"/>
                <a:gd name="connsiteX3" fmla="*/ 18202 w 57640"/>
                <a:gd name="connsiteY3" fmla="*/ 6067 h 136516"/>
                <a:gd name="connsiteX4" fmla="*/ 24269 w 57640"/>
                <a:gd name="connsiteY4" fmla="*/ 0 h 136516"/>
                <a:gd name="connsiteX5" fmla="*/ 30337 w 57640"/>
                <a:gd name="connsiteY5" fmla="*/ 6067 h 136516"/>
                <a:gd name="connsiteX6" fmla="*/ 12135 w 57640"/>
                <a:gd name="connsiteY6" fmla="*/ 118315 h 136516"/>
                <a:gd name="connsiteX7" fmla="*/ 12135 w 57640"/>
                <a:gd name="connsiteY7" fmla="*/ 121348 h 136516"/>
                <a:gd name="connsiteX8" fmla="*/ 51572 w 57640"/>
                <a:gd name="connsiteY8" fmla="*/ 124382 h 136516"/>
                <a:gd name="connsiteX9" fmla="*/ 57640 w 57640"/>
                <a:gd name="connsiteY9" fmla="*/ 130449 h 136516"/>
                <a:gd name="connsiteX10" fmla="*/ 51572 w 57640"/>
                <a:gd name="connsiteY10" fmla="*/ 136517 h 136516"/>
                <a:gd name="connsiteX11" fmla="*/ 33371 w 57640"/>
                <a:gd name="connsiteY11" fmla="*/ 136517 h 13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640" h="136516">
                  <a:moveTo>
                    <a:pt x="33371" y="136517"/>
                  </a:moveTo>
                  <a:cubicBezTo>
                    <a:pt x="24269" y="136517"/>
                    <a:pt x="12135" y="136517"/>
                    <a:pt x="6067" y="130449"/>
                  </a:cubicBezTo>
                  <a:cubicBezTo>
                    <a:pt x="3034" y="127416"/>
                    <a:pt x="0" y="124382"/>
                    <a:pt x="0" y="118315"/>
                  </a:cubicBezTo>
                  <a:cubicBezTo>
                    <a:pt x="0" y="97079"/>
                    <a:pt x="18202" y="9101"/>
                    <a:pt x="18202" y="6067"/>
                  </a:cubicBezTo>
                  <a:cubicBezTo>
                    <a:pt x="18202" y="3034"/>
                    <a:pt x="21235" y="0"/>
                    <a:pt x="24269" y="0"/>
                  </a:cubicBezTo>
                  <a:cubicBezTo>
                    <a:pt x="27303" y="0"/>
                    <a:pt x="30337" y="3034"/>
                    <a:pt x="30337" y="6067"/>
                  </a:cubicBezTo>
                  <a:cubicBezTo>
                    <a:pt x="30337" y="6067"/>
                    <a:pt x="12135" y="97079"/>
                    <a:pt x="12135" y="118315"/>
                  </a:cubicBezTo>
                  <a:cubicBezTo>
                    <a:pt x="12135" y="118315"/>
                    <a:pt x="12135" y="121348"/>
                    <a:pt x="12135" y="121348"/>
                  </a:cubicBezTo>
                  <a:cubicBezTo>
                    <a:pt x="18202" y="127416"/>
                    <a:pt x="39438" y="124382"/>
                    <a:pt x="51572" y="124382"/>
                  </a:cubicBezTo>
                  <a:cubicBezTo>
                    <a:pt x="54606" y="124382"/>
                    <a:pt x="57640" y="127416"/>
                    <a:pt x="57640" y="130449"/>
                  </a:cubicBezTo>
                  <a:cubicBezTo>
                    <a:pt x="57640" y="133483"/>
                    <a:pt x="54606" y="136517"/>
                    <a:pt x="51572" y="136517"/>
                  </a:cubicBezTo>
                  <a:cubicBezTo>
                    <a:pt x="54606" y="136517"/>
                    <a:pt x="45506" y="136517"/>
                    <a:pt x="33371" y="136517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773BF610-2133-4A9A-9DE7-4AB5D8D3C0A3}"/>
                </a:ext>
              </a:extLst>
            </p:cNvPr>
            <p:cNvSpPr/>
            <p:nvPr/>
          </p:nvSpPr>
          <p:spPr>
            <a:xfrm>
              <a:off x="15980938" y="2455572"/>
              <a:ext cx="106179" cy="51694"/>
            </a:xfrm>
            <a:custGeom>
              <a:avLst/>
              <a:gdLst>
                <a:gd name="connsiteX0" fmla="*/ 0 w 106179"/>
                <a:gd name="connsiteY0" fmla="*/ 0 h 51694"/>
                <a:gd name="connsiteX1" fmla="*/ 106180 w 106179"/>
                <a:gd name="connsiteY1" fmla="*/ 0 h 51694"/>
                <a:gd name="connsiteX2" fmla="*/ 54606 w 106179"/>
                <a:gd name="connsiteY2" fmla="*/ 51573 h 51694"/>
                <a:gd name="connsiteX3" fmla="*/ 0 w 106179"/>
                <a:gd name="connsiteY3" fmla="*/ 0 h 51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179" h="51694">
                  <a:moveTo>
                    <a:pt x="0" y="0"/>
                  </a:moveTo>
                  <a:cubicBezTo>
                    <a:pt x="0" y="0"/>
                    <a:pt x="54606" y="15169"/>
                    <a:pt x="106180" y="0"/>
                  </a:cubicBezTo>
                  <a:cubicBezTo>
                    <a:pt x="106180" y="0"/>
                    <a:pt x="103146" y="51573"/>
                    <a:pt x="54606" y="51573"/>
                  </a:cubicBezTo>
                  <a:cubicBezTo>
                    <a:pt x="12135" y="5460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CFF74838-FFD6-4675-B687-D78B4E4488AB}"/>
                </a:ext>
              </a:extLst>
            </p:cNvPr>
            <p:cNvSpPr/>
            <p:nvPr/>
          </p:nvSpPr>
          <p:spPr>
            <a:xfrm>
              <a:off x="15928770" y="2248685"/>
              <a:ext cx="40806" cy="40628"/>
            </a:xfrm>
            <a:custGeom>
              <a:avLst/>
              <a:gdLst>
                <a:gd name="connsiteX0" fmla="*/ 40034 w 40806"/>
                <a:gd name="connsiteY0" fmla="*/ 24865 h 40628"/>
                <a:gd name="connsiteX1" fmla="*/ 15764 w 40806"/>
                <a:gd name="connsiteY1" fmla="*/ 40033 h 40628"/>
                <a:gd name="connsiteX2" fmla="*/ 595 w 40806"/>
                <a:gd name="connsiteY2" fmla="*/ 15764 h 40628"/>
                <a:gd name="connsiteX3" fmla="*/ 24865 w 40806"/>
                <a:gd name="connsiteY3" fmla="*/ 595 h 40628"/>
                <a:gd name="connsiteX4" fmla="*/ 40034 w 40806"/>
                <a:gd name="connsiteY4" fmla="*/ 24865 h 4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06" h="40628">
                  <a:moveTo>
                    <a:pt x="40034" y="24865"/>
                  </a:moveTo>
                  <a:cubicBezTo>
                    <a:pt x="37000" y="33966"/>
                    <a:pt x="27898" y="43067"/>
                    <a:pt x="15764" y="40033"/>
                  </a:cubicBezTo>
                  <a:cubicBezTo>
                    <a:pt x="6663" y="37000"/>
                    <a:pt x="-2439" y="27898"/>
                    <a:pt x="595" y="15764"/>
                  </a:cubicBezTo>
                  <a:cubicBezTo>
                    <a:pt x="3629" y="6663"/>
                    <a:pt x="12730" y="-2439"/>
                    <a:pt x="24865" y="595"/>
                  </a:cubicBezTo>
                  <a:cubicBezTo>
                    <a:pt x="37000" y="3629"/>
                    <a:pt x="43067" y="12730"/>
                    <a:pt x="40034" y="24865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F24F9A1B-FA26-4372-A3D8-CCA8AC77E828}"/>
                </a:ext>
              </a:extLst>
            </p:cNvPr>
            <p:cNvSpPr/>
            <p:nvPr/>
          </p:nvSpPr>
          <p:spPr>
            <a:xfrm>
              <a:off x="16110792" y="2266887"/>
              <a:ext cx="40806" cy="40628"/>
            </a:xfrm>
            <a:custGeom>
              <a:avLst/>
              <a:gdLst>
                <a:gd name="connsiteX0" fmla="*/ 40034 w 40806"/>
                <a:gd name="connsiteY0" fmla="*/ 24865 h 40628"/>
                <a:gd name="connsiteX1" fmla="*/ 15764 w 40806"/>
                <a:gd name="connsiteY1" fmla="*/ 40033 h 40628"/>
                <a:gd name="connsiteX2" fmla="*/ 595 w 40806"/>
                <a:gd name="connsiteY2" fmla="*/ 15764 h 40628"/>
                <a:gd name="connsiteX3" fmla="*/ 24865 w 40806"/>
                <a:gd name="connsiteY3" fmla="*/ 595 h 40628"/>
                <a:gd name="connsiteX4" fmla="*/ 40034 w 40806"/>
                <a:gd name="connsiteY4" fmla="*/ 24865 h 4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06" h="40628">
                  <a:moveTo>
                    <a:pt x="40034" y="24865"/>
                  </a:moveTo>
                  <a:cubicBezTo>
                    <a:pt x="37000" y="33966"/>
                    <a:pt x="27898" y="43067"/>
                    <a:pt x="15764" y="40033"/>
                  </a:cubicBezTo>
                  <a:cubicBezTo>
                    <a:pt x="6663" y="37000"/>
                    <a:pt x="-2439" y="27898"/>
                    <a:pt x="595" y="15764"/>
                  </a:cubicBezTo>
                  <a:cubicBezTo>
                    <a:pt x="3629" y="6662"/>
                    <a:pt x="12730" y="-2439"/>
                    <a:pt x="24865" y="595"/>
                  </a:cubicBezTo>
                  <a:cubicBezTo>
                    <a:pt x="37000" y="3629"/>
                    <a:pt x="43067" y="15764"/>
                    <a:pt x="40034" y="24865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6D838870-FE5E-4B2B-90B3-FCD5A0CB505B}"/>
                </a:ext>
              </a:extLst>
            </p:cNvPr>
            <p:cNvSpPr/>
            <p:nvPr/>
          </p:nvSpPr>
          <p:spPr>
            <a:xfrm>
              <a:off x="15905854" y="2197707"/>
              <a:ext cx="91509" cy="33370"/>
            </a:xfrm>
            <a:custGeom>
              <a:avLst/>
              <a:gdLst>
                <a:gd name="connsiteX0" fmla="*/ 8342 w 91509"/>
                <a:gd name="connsiteY0" fmla="*/ 33371 h 33370"/>
                <a:gd name="connsiteX1" fmla="*/ 2275 w 91509"/>
                <a:gd name="connsiteY1" fmla="*/ 30337 h 33370"/>
                <a:gd name="connsiteX2" fmla="*/ 2275 w 91509"/>
                <a:gd name="connsiteY2" fmla="*/ 18202 h 33370"/>
                <a:gd name="connsiteX3" fmla="*/ 87219 w 91509"/>
                <a:gd name="connsiteY3" fmla="*/ 9101 h 33370"/>
                <a:gd name="connsiteX4" fmla="*/ 90253 w 91509"/>
                <a:gd name="connsiteY4" fmla="*/ 21236 h 33370"/>
                <a:gd name="connsiteX5" fmla="*/ 78118 w 91509"/>
                <a:gd name="connsiteY5" fmla="*/ 24270 h 33370"/>
                <a:gd name="connsiteX6" fmla="*/ 11376 w 91509"/>
                <a:gd name="connsiteY6" fmla="*/ 30337 h 33370"/>
                <a:gd name="connsiteX7" fmla="*/ 8342 w 91509"/>
                <a:gd name="connsiteY7" fmla="*/ 33371 h 3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3370">
                  <a:moveTo>
                    <a:pt x="8342" y="33371"/>
                  </a:moveTo>
                  <a:cubicBezTo>
                    <a:pt x="5308" y="33371"/>
                    <a:pt x="5308" y="33371"/>
                    <a:pt x="2275" y="30337"/>
                  </a:cubicBezTo>
                  <a:cubicBezTo>
                    <a:pt x="-758" y="27303"/>
                    <a:pt x="-758" y="21236"/>
                    <a:pt x="2275" y="18202"/>
                  </a:cubicBezTo>
                  <a:cubicBezTo>
                    <a:pt x="29579" y="-9101"/>
                    <a:pt x="69016" y="0"/>
                    <a:pt x="87219" y="9101"/>
                  </a:cubicBezTo>
                  <a:cubicBezTo>
                    <a:pt x="90253" y="12135"/>
                    <a:pt x="93287" y="15169"/>
                    <a:pt x="90253" y="21236"/>
                  </a:cubicBezTo>
                  <a:cubicBezTo>
                    <a:pt x="87219" y="24270"/>
                    <a:pt x="84185" y="27303"/>
                    <a:pt x="78118" y="24270"/>
                  </a:cubicBezTo>
                  <a:cubicBezTo>
                    <a:pt x="75084" y="24270"/>
                    <a:pt x="38679" y="3034"/>
                    <a:pt x="11376" y="30337"/>
                  </a:cubicBezTo>
                  <a:cubicBezTo>
                    <a:pt x="11376" y="33371"/>
                    <a:pt x="8342" y="33371"/>
                    <a:pt x="8342" y="33371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36666816-5271-4FF9-9254-A343D645E8C8}"/>
                </a:ext>
              </a:extLst>
            </p:cNvPr>
            <p:cNvSpPr/>
            <p:nvPr/>
          </p:nvSpPr>
          <p:spPr>
            <a:xfrm>
              <a:off x="16091929" y="2201752"/>
              <a:ext cx="91509" cy="35393"/>
            </a:xfrm>
            <a:custGeom>
              <a:avLst/>
              <a:gdLst>
                <a:gd name="connsiteX0" fmla="*/ 86201 w 91509"/>
                <a:gd name="connsiteY0" fmla="*/ 35393 h 35393"/>
                <a:gd name="connsiteX1" fmla="*/ 80133 w 91509"/>
                <a:gd name="connsiteY1" fmla="*/ 32360 h 35393"/>
                <a:gd name="connsiteX2" fmla="*/ 13392 w 91509"/>
                <a:gd name="connsiteY2" fmla="*/ 26292 h 35393"/>
                <a:gd name="connsiteX3" fmla="*/ 1256 w 91509"/>
                <a:gd name="connsiteY3" fmla="*/ 23258 h 35393"/>
                <a:gd name="connsiteX4" fmla="*/ 4290 w 91509"/>
                <a:gd name="connsiteY4" fmla="*/ 11124 h 35393"/>
                <a:gd name="connsiteX5" fmla="*/ 89235 w 91509"/>
                <a:gd name="connsiteY5" fmla="*/ 20225 h 35393"/>
                <a:gd name="connsiteX6" fmla="*/ 89235 w 91509"/>
                <a:gd name="connsiteY6" fmla="*/ 32360 h 35393"/>
                <a:gd name="connsiteX7" fmla="*/ 86201 w 91509"/>
                <a:gd name="connsiteY7" fmla="*/ 35393 h 35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5393">
                  <a:moveTo>
                    <a:pt x="86201" y="35393"/>
                  </a:moveTo>
                  <a:cubicBezTo>
                    <a:pt x="83167" y="35393"/>
                    <a:pt x="83167" y="35393"/>
                    <a:pt x="80133" y="32360"/>
                  </a:cubicBezTo>
                  <a:cubicBezTo>
                    <a:pt x="80133" y="32360"/>
                    <a:pt x="49796" y="2022"/>
                    <a:pt x="13392" y="26292"/>
                  </a:cubicBezTo>
                  <a:cubicBezTo>
                    <a:pt x="10358" y="29326"/>
                    <a:pt x="4290" y="26292"/>
                    <a:pt x="1256" y="23258"/>
                  </a:cubicBezTo>
                  <a:cubicBezTo>
                    <a:pt x="-1777" y="20225"/>
                    <a:pt x="1256" y="14157"/>
                    <a:pt x="4290" y="11124"/>
                  </a:cubicBezTo>
                  <a:cubicBezTo>
                    <a:pt x="40695" y="-13146"/>
                    <a:pt x="77099" y="8090"/>
                    <a:pt x="89235" y="20225"/>
                  </a:cubicBezTo>
                  <a:cubicBezTo>
                    <a:pt x="92268" y="23258"/>
                    <a:pt x="92268" y="29326"/>
                    <a:pt x="89235" y="32360"/>
                  </a:cubicBezTo>
                  <a:cubicBezTo>
                    <a:pt x="89235" y="35393"/>
                    <a:pt x="89235" y="35393"/>
                    <a:pt x="86201" y="35393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16B8722F-064B-488B-A961-807E7395C7EA}"/>
                </a:ext>
              </a:extLst>
            </p:cNvPr>
            <p:cNvSpPr/>
            <p:nvPr/>
          </p:nvSpPr>
          <p:spPr>
            <a:xfrm>
              <a:off x="15960461" y="2519280"/>
              <a:ext cx="231060" cy="60674"/>
            </a:xfrm>
            <a:custGeom>
              <a:avLst/>
              <a:gdLst>
                <a:gd name="connsiteX0" fmla="*/ 81152 w 231060"/>
                <a:gd name="connsiteY0" fmla="*/ 60674 h 60674"/>
                <a:gd name="connsiteX1" fmla="*/ 81152 w 231060"/>
                <a:gd name="connsiteY1" fmla="*/ 60674 h 60674"/>
                <a:gd name="connsiteX2" fmla="*/ 2275 w 231060"/>
                <a:gd name="connsiteY2" fmla="*/ 33371 h 60674"/>
                <a:gd name="connsiteX3" fmla="*/ 2275 w 231060"/>
                <a:gd name="connsiteY3" fmla="*/ 24270 h 60674"/>
                <a:gd name="connsiteX4" fmla="*/ 11376 w 231060"/>
                <a:gd name="connsiteY4" fmla="*/ 24270 h 60674"/>
                <a:gd name="connsiteX5" fmla="*/ 81152 w 231060"/>
                <a:gd name="connsiteY5" fmla="*/ 48539 h 60674"/>
                <a:gd name="connsiteX6" fmla="*/ 81152 w 231060"/>
                <a:gd name="connsiteY6" fmla="*/ 48539 h 60674"/>
                <a:gd name="connsiteX7" fmla="*/ 220703 w 231060"/>
                <a:gd name="connsiteY7" fmla="*/ 0 h 60674"/>
                <a:gd name="connsiteX8" fmla="*/ 229804 w 231060"/>
                <a:gd name="connsiteY8" fmla="*/ 3034 h 60674"/>
                <a:gd name="connsiteX9" fmla="*/ 226770 w 231060"/>
                <a:gd name="connsiteY9" fmla="*/ 12135 h 60674"/>
                <a:gd name="connsiteX10" fmla="*/ 81152 w 231060"/>
                <a:gd name="connsiteY10" fmla="*/ 60674 h 60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1060" h="60674">
                  <a:moveTo>
                    <a:pt x="81152" y="60674"/>
                  </a:moveTo>
                  <a:cubicBezTo>
                    <a:pt x="81152" y="60674"/>
                    <a:pt x="81152" y="60674"/>
                    <a:pt x="81152" y="60674"/>
                  </a:cubicBezTo>
                  <a:cubicBezTo>
                    <a:pt x="38680" y="60674"/>
                    <a:pt x="5309" y="33371"/>
                    <a:pt x="2275" y="33371"/>
                  </a:cubicBezTo>
                  <a:cubicBezTo>
                    <a:pt x="-758" y="30337"/>
                    <a:pt x="-758" y="27303"/>
                    <a:pt x="2275" y="24270"/>
                  </a:cubicBezTo>
                  <a:cubicBezTo>
                    <a:pt x="5309" y="21236"/>
                    <a:pt x="8343" y="21236"/>
                    <a:pt x="11376" y="24270"/>
                  </a:cubicBezTo>
                  <a:cubicBezTo>
                    <a:pt x="11376" y="24270"/>
                    <a:pt x="41713" y="48539"/>
                    <a:pt x="81152" y="48539"/>
                  </a:cubicBezTo>
                  <a:cubicBezTo>
                    <a:pt x="81152" y="48539"/>
                    <a:pt x="81152" y="48539"/>
                    <a:pt x="81152" y="48539"/>
                  </a:cubicBezTo>
                  <a:cubicBezTo>
                    <a:pt x="129692" y="48539"/>
                    <a:pt x="217669" y="0"/>
                    <a:pt x="220703" y="0"/>
                  </a:cubicBezTo>
                  <a:cubicBezTo>
                    <a:pt x="223736" y="0"/>
                    <a:pt x="226770" y="0"/>
                    <a:pt x="229804" y="3034"/>
                  </a:cubicBezTo>
                  <a:cubicBezTo>
                    <a:pt x="232837" y="6067"/>
                    <a:pt x="229804" y="9101"/>
                    <a:pt x="226770" y="12135"/>
                  </a:cubicBezTo>
                  <a:cubicBezTo>
                    <a:pt x="223736" y="12135"/>
                    <a:pt x="132724" y="60674"/>
                    <a:pt x="81152" y="60674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F24596A8-2CA3-455C-A0EA-682FEE0B17C9}"/>
                </a:ext>
              </a:extLst>
            </p:cNvPr>
            <p:cNvSpPr/>
            <p:nvPr/>
          </p:nvSpPr>
          <p:spPr>
            <a:xfrm>
              <a:off x="16211500" y="2033887"/>
              <a:ext cx="113061" cy="266966"/>
            </a:xfrm>
            <a:custGeom>
              <a:avLst/>
              <a:gdLst>
                <a:gd name="connsiteX0" fmla="*/ 0 w 113061"/>
                <a:gd name="connsiteY0" fmla="*/ 127416 h 266966"/>
                <a:gd name="connsiteX1" fmla="*/ 48539 w 113061"/>
                <a:gd name="connsiteY1" fmla="*/ 266966 h 266966"/>
                <a:gd name="connsiteX2" fmla="*/ 106180 w 113061"/>
                <a:gd name="connsiteY2" fmla="*/ 166854 h 266966"/>
                <a:gd name="connsiteX3" fmla="*/ 48539 w 113061"/>
                <a:gd name="connsiteY3" fmla="*/ 0 h 266966"/>
                <a:gd name="connsiteX4" fmla="*/ 0 w 113061"/>
                <a:gd name="connsiteY4" fmla="*/ 127416 h 266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61" h="266966">
                  <a:moveTo>
                    <a:pt x="0" y="127416"/>
                  </a:moveTo>
                  <a:cubicBezTo>
                    <a:pt x="0" y="127416"/>
                    <a:pt x="54606" y="236629"/>
                    <a:pt x="48539" y="266966"/>
                  </a:cubicBezTo>
                  <a:cubicBezTo>
                    <a:pt x="48539" y="266966"/>
                    <a:pt x="91011" y="221461"/>
                    <a:pt x="106180" y="166854"/>
                  </a:cubicBezTo>
                  <a:cubicBezTo>
                    <a:pt x="121348" y="109213"/>
                    <a:pt x="115281" y="15169"/>
                    <a:pt x="48539" y="0"/>
                  </a:cubicBezTo>
                  <a:cubicBezTo>
                    <a:pt x="48539" y="0"/>
                    <a:pt x="39438" y="106180"/>
                    <a:pt x="0" y="127416"/>
                  </a:cubicBezTo>
                  <a:close/>
                </a:path>
              </a:pathLst>
            </a:custGeom>
            <a:solidFill>
              <a:srgbClr val="F1DDBA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870932C7-45E8-4819-8C14-1A069D91412A}"/>
                </a:ext>
              </a:extLst>
            </p:cNvPr>
            <p:cNvSpPr/>
            <p:nvPr/>
          </p:nvSpPr>
          <p:spPr>
            <a:xfrm>
              <a:off x="15834716" y="1919134"/>
              <a:ext cx="435221" cy="348347"/>
            </a:xfrm>
            <a:custGeom>
              <a:avLst/>
              <a:gdLst>
                <a:gd name="connsiteX0" fmla="*/ 376784 w 435221"/>
                <a:gd name="connsiteY0" fmla="*/ 242168 h 348347"/>
                <a:gd name="connsiteX1" fmla="*/ 255436 w 435221"/>
                <a:gd name="connsiteY1" fmla="*/ 202730 h 348347"/>
                <a:gd name="connsiteX2" fmla="*/ 15772 w 435221"/>
                <a:gd name="connsiteY2" fmla="*/ 348348 h 348347"/>
                <a:gd name="connsiteX3" fmla="*/ 12739 w 435221"/>
                <a:gd name="connsiteY3" fmla="*/ 181494 h 348347"/>
                <a:gd name="connsiteX4" fmla="*/ 103751 w 435221"/>
                <a:gd name="connsiteY4" fmla="*/ 32842 h 348347"/>
                <a:gd name="connsiteX5" fmla="*/ 303975 w 435221"/>
                <a:gd name="connsiteY5" fmla="*/ 17674 h 348347"/>
                <a:gd name="connsiteX6" fmla="*/ 425323 w 435221"/>
                <a:gd name="connsiteY6" fmla="*/ 111719 h 348347"/>
                <a:gd name="connsiteX7" fmla="*/ 376784 w 435221"/>
                <a:gd name="connsiteY7" fmla="*/ 242168 h 348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5221" h="348347">
                  <a:moveTo>
                    <a:pt x="376784" y="242168"/>
                  </a:moveTo>
                  <a:cubicBezTo>
                    <a:pt x="376784" y="242168"/>
                    <a:pt x="282739" y="202730"/>
                    <a:pt x="255436" y="202730"/>
                  </a:cubicBezTo>
                  <a:cubicBezTo>
                    <a:pt x="155323" y="205764"/>
                    <a:pt x="604" y="275539"/>
                    <a:pt x="15772" y="348348"/>
                  </a:cubicBezTo>
                  <a:cubicBezTo>
                    <a:pt x="15772" y="348348"/>
                    <a:pt x="-17598" y="245202"/>
                    <a:pt x="12739" y="181494"/>
                  </a:cubicBezTo>
                  <a:cubicBezTo>
                    <a:pt x="12739" y="181494"/>
                    <a:pt x="12739" y="57112"/>
                    <a:pt x="103751" y="32842"/>
                  </a:cubicBezTo>
                  <a:cubicBezTo>
                    <a:pt x="194762" y="8573"/>
                    <a:pt x="234200" y="-18731"/>
                    <a:pt x="303975" y="17674"/>
                  </a:cubicBezTo>
                  <a:cubicBezTo>
                    <a:pt x="373750" y="57112"/>
                    <a:pt x="419256" y="75314"/>
                    <a:pt x="425323" y="111719"/>
                  </a:cubicBezTo>
                  <a:cubicBezTo>
                    <a:pt x="425323" y="114752"/>
                    <a:pt x="467796" y="230033"/>
                    <a:pt x="376784" y="242168"/>
                  </a:cubicBezTo>
                  <a:close/>
                </a:path>
              </a:pathLst>
            </a:custGeom>
            <a:solidFill>
              <a:srgbClr val="F1DDBA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74E2A462-7170-46B6-9E35-2E01E0314A59}"/>
                </a:ext>
              </a:extLst>
            </p:cNvPr>
            <p:cNvSpPr/>
            <p:nvPr/>
          </p:nvSpPr>
          <p:spPr>
            <a:xfrm>
              <a:off x="15575922" y="2634561"/>
              <a:ext cx="1029960" cy="1530148"/>
            </a:xfrm>
            <a:custGeom>
              <a:avLst/>
              <a:gdLst>
                <a:gd name="connsiteX0" fmla="*/ 635579 w 1029960"/>
                <a:gd name="connsiteY0" fmla="*/ 0 h 1530148"/>
                <a:gd name="connsiteX1" fmla="*/ 347377 w 1029960"/>
                <a:gd name="connsiteY1" fmla="*/ 0 h 1530148"/>
                <a:gd name="connsiteX2" fmla="*/ 50073 w 1029960"/>
                <a:gd name="connsiteY2" fmla="*/ 130449 h 1530148"/>
                <a:gd name="connsiteX3" fmla="*/ 1533 w 1029960"/>
                <a:gd name="connsiteY3" fmla="*/ 1525955 h 1530148"/>
                <a:gd name="connsiteX4" fmla="*/ 1029961 w 1029960"/>
                <a:gd name="connsiteY4" fmla="*/ 1504719 h 1530148"/>
                <a:gd name="connsiteX5" fmla="*/ 914679 w 1029960"/>
                <a:gd name="connsiteY5" fmla="*/ 103146 h 1530148"/>
                <a:gd name="connsiteX6" fmla="*/ 635579 w 1029960"/>
                <a:gd name="connsiteY6" fmla="*/ 0 h 1530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9960" h="1530148">
                  <a:moveTo>
                    <a:pt x="635579" y="0"/>
                  </a:moveTo>
                  <a:cubicBezTo>
                    <a:pt x="635579" y="0"/>
                    <a:pt x="462657" y="54607"/>
                    <a:pt x="347377" y="0"/>
                  </a:cubicBezTo>
                  <a:cubicBezTo>
                    <a:pt x="347377" y="0"/>
                    <a:pt x="74343" y="97079"/>
                    <a:pt x="50073" y="130449"/>
                  </a:cubicBezTo>
                  <a:cubicBezTo>
                    <a:pt x="25803" y="160787"/>
                    <a:pt x="-7568" y="1459214"/>
                    <a:pt x="1533" y="1525955"/>
                  </a:cubicBezTo>
                  <a:cubicBezTo>
                    <a:pt x="1533" y="1525955"/>
                    <a:pt x="438388" y="1544157"/>
                    <a:pt x="1029961" y="1504719"/>
                  </a:cubicBezTo>
                  <a:cubicBezTo>
                    <a:pt x="1029961" y="1149775"/>
                    <a:pt x="957151" y="133483"/>
                    <a:pt x="914679" y="103146"/>
                  </a:cubicBezTo>
                  <a:cubicBezTo>
                    <a:pt x="872208" y="69775"/>
                    <a:pt x="635579" y="0"/>
                    <a:pt x="635579" y="0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D6E12BB2-138E-427D-802E-274EDB5D61BC}"/>
                </a:ext>
              </a:extLst>
            </p:cNvPr>
            <p:cNvSpPr/>
            <p:nvPr/>
          </p:nvSpPr>
          <p:spPr>
            <a:xfrm>
              <a:off x="15586556" y="2760720"/>
              <a:ext cx="43728" cy="571593"/>
            </a:xfrm>
            <a:custGeom>
              <a:avLst/>
              <a:gdLst>
                <a:gd name="connsiteX0" fmla="*/ 6067 w 43728"/>
                <a:gd name="connsiteY0" fmla="*/ 571594 h 571593"/>
                <a:gd name="connsiteX1" fmla="*/ 6067 w 43728"/>
                <a:gd name="connsiteY1" fmla="*/ 571594 h 571593"/>
                <a:gd name="connsiteX2" fmla="*/ 0 w 43728"/>
                <a:gd name="connsiteY2" fmla="*/ 565526 h 571593"/>
                <a:gd name="connsiteX3" fmla="*/ 33371 w 43728"/>
                <a:gd name="connsiteY3" fmla="*/ 4290 h 571593"/>
                <a:gd name="connsiteX4" fmla="*/ 39438 w 43728"/>
                <a:gd name="connsiteY4" fmla="*/ 1257 h 571593"/>
                <a:gd name="connsiteX5" fmla="*/ 42472 w 43728"/>
                <a:gd name="connsiteY5" fmla="*/ 7324 h 571593"/>
                <a:gd name="connsiteX6" fmla="*/ 9101 w 43728"/>
                <a:gd name="connsiteY6" fmla="*/ 568560 h 571593"/>
                <a:gd name="connsiteX7" fmla="*/ 6067 w 43728"/>
                <a:gd name="connsiteY7" fmla="*/ 571594 h 571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728" h="571593">
                  <a:moveTo>
                    <a:pt x="6067" y="571594"/>
                  </a:moveTo>
                  <a:cubicBezTo>
                    <a:pt x="6067" y="571594"/>
                    <a:pt x="6067" y="571594"/>
                    <a:pt x="6067" y="571594"/>
                  </a:cubicBezTo>
                  <a:cubicBezTo>
                    <a:pt x="3034" y="571594"/>
                    <a:pt x="0" y="568560"/>
                    <a:pt x="0" y="565526"/>
                  </a:cubicBezTo>
                  <a:cubicBezTo>
                    <a:pt x="0" y="544290"/>
                    <a:pt x="24269" y="43728"/>
                    <a:pt x="33371" y="4290"/>
                  </a:cubicBezTo>
                  <a:cubicBezTo>
                    <a:pt x="33371" y="1257"/>
                    <a:pt x="36404" y="-1777"/>
                    <a:pt x="39438" y="1257"/>
                  </a:cubicBezTo>
                  <a:cubicBezTo>
                    <a:pt x="42472" y="1257"/>
                    <a:pt x="45506" y="4290"/>
                    <a:pt x="42472" y="7324"/>
                  </a:cubicBezTo>
                  <a:cubicBezTo>
                    <a:pt x="33371" y="46762"/>
                    <a:pt x="9101" y="562493"/>
                    <a:pt x="9101" y="568560"/>
                  </a:cubicBezTo>
                  <a:cubicBezTo>
                    <a:pt x="12135" y="568560"/>
                    <a:pt x="9101" y="571594"/>
                    <a:pt x="6067" y="571594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9A79E71F-2351-4751-8ADE-5E22D689888E}"/>
                </a:ext>
              </a:extLst>
            </p:cNvPr>
            <p:cNvSpPr/>
            <p:nvPr/>
          </p:nvSpPr>
          <p:spPr>
            <a:xfrm>
              <a:off x="16246556" y="2267292"/>
              <a:ext cx="78237" cy="110042"/>
            </a:xfrm>
            <a:custGeom>
              <a:avLst/>
              <a:gdLst>
                <a:gd name="connsiteX0" fmla="*/ 13483 w 78237"/>
                <a:gd name="connsiteY0" fmla="*/ 15358 h 110042"/>
                <a:gd name="connsiteX1" fmla="*/ 71124 w 78237"/>
                <a:gd name="connsiteY1" fmla="*/ 6257 h 110042"/>
                <a:gd name="connsiteX2" fmla="*/ 13483 w 78237"/>
                <a:gd name="connsiteY2" fmla="*/ 106369 h 110042"/>
                <a:gd name="connsiteX3" fmla="*/ 13483 w 78237"/>
                <a:gd name="connsiteY3" fmla="*/ 15358 h 11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37" h="110042">
                  <a:moveTo>
                    <a:pt x="13483" y="15358"/>
                  </a:moveTo>
                  <a:cubicBezTo>
                    <a:pt x="13483" y="15358"/>
                    <a:pt x="46854" y="-11945"/>
                    <a:pt x="71124" y="6257"/>
                  </a:cubicBezTo>
                  <a:cubicBezTo>
                    <a:pt x="95394" y="27493"/>
                    <a:pt x="52922" y="130639"/>
                    <a:pt x="13483" y="106369"/>
                  </a:cubicBezTo>
                  <a:cubicBezTo>
                    <a:pt x="-16854" y="91201"/>
                    <a:pt x="13483" y="15358"/>
                    <a:pt x="13483" y="15358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F9F6AF99-2976-470A-9F78-3554D1B909BA}"/>
                </a:ext>
              </a:extLst>
            </p:cNvPr>
            <p:cNvGrpSpPr/>
            <p:nvPr/>
          </p:nvGrpSpPr>
          <p:grpSpPr>
            <a:xfrm>
              <a:off x="15753410" y="1848466"/>
              <a:ext cx="591573" cy="333897"/>
              <a:chOff x="15753410" y="1848466"/>
              <a:chExt cx="591573" cy="333897"/>
            </a:xfrm>
          </p:grpSpPr>
          <p:grpSp>
            <p:nvGrpSpPr>
              <p:cNvPr id="59" name="图形 1">
                <a:extLst>
                  <a:ext uri="{FF2B5EF4-FFF2-40B4-BE49-F238E27FC236}">
                    <a16:creationId xmlns:a16="http://schemas.microsoft.com/office/drawing/2014/main" id="{62B62968-21D4-4802-9A88-5F131C5E5DCA}"/>
                  </a:ext>
                </a:extLst>
              </p:cNvPr>
              <p:cNvGrpSpPr/>
              <p:nvPr/>
            </p:nvGrpSpPr>
            <p:grpSpPr>
              <a:xfrm>
                <a:off x="15753410" y="1854033"/>
                <a:ext cx="585507" cy="328330"/>
                <a:chOff x="15753410" y="1854033"/>
                <a:chExt cx="585507" cy="328330"/>
              </a:xfrm>
              <a:solidFill>
                <a:srgbClr val="D16156"/>
              </a:solidFill>
            </p:grpSpPr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171DB5F3-FD50-446F-AAC6-BEA489AC6DA5}"/>
                    </a:ext>
                  </a:extLst>
                </p:cNvPr>
                <p:cNvSpPr/>
                <p:nvPr/>
              </p:nvSpPr>
              <p:spPr>
                <a:xfrm>
                  <a:off x="15841388" y="1854033"/>
                  <a:ext cx="497530" cy="275549"/>
                </a:xfrm>
                <a:custGeom>
                  <a:avLst/>
                  <a:gdLst>
                    <a:gd name="connsiteX0" fmla="*/ 0 w 497530"/>
                    <a:gd name="connsiteY0" fmla="*/ 198055 h 275549"/>
                    <a:gd name="connsiteX1" fmla="*/ 285168 w 497530"/>
                    <a:gd name="connsiteY1" fmla="*/ 3898 h 275549"/>
                    <a:gd name="connsiteX2" fmla="*/ 497528 w 497530"/>
                    <a:gd name="connsiteY2" fmla="*/ 261763 h 275549"/>
                    <a:gd name="connsiteX3" fmla="*/ 97079 w 497530"/>
                    <a:gd name="connsiteY3" fmla="*/ 252662 h 275549"/>
                    <a:gd name="connsiteX4" fmla="*/ 0 w 497530"/>
                    <a:gd name="connsiteY4" fmla="*/ 198055 h 2755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7530" h="275549">
                      <a:moveTo>
                        <a:pt x="0" y="198055"/>
                      </a:moveTo>
                      <a:cubicBezTo>
                        <a:pt x="0" y="198055"/>
                        <a:pt x="42472" y="-32506"/>
                        <a:pt x="285168" y="3898"/>
                      </a:cubicBezTo>
                      <a:cubicBezTo>
                        <a:pt x="500562" y="37269"/>
                        <a:pt x="497528" y="261763"/>
                        <a:pt x="497528" y="261763"/>
                      </a:cubicBezTo>
                      <a:cubicBezTo>
                        <a:pt x="497528" y="261763"/>
                        <a:pt x="251797" y="298168"/>
                        <a:pt x="97079" y="252662"/>
                      </a:cubicBezTo>
                      <a:cubicBezTo>
                        <a:pt x="54606" y="240527"/>
                        <a:pt x="21236" y="222325"/>
                        <a:pt x="0" y="198055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09D9B7CC-ACF0-4FFC-84CE-C6B53BA1175B}"/>
                    </a:ext>
                  </a:extLst>
                </p:cNvPr>
                <p:cNvSpPr/>
                <p:nvPr/>
              </p:nvSpPr>
              <p:spPr>
                <a:xfrm>
                  <a:off x="15753410" y="2052089"/>
                  <a:ext cx="585505" cy="130274"/>
                </a:xfrm>
                <a:custGeom>
                  <a:avLst/>
                  <a:gdLst>
                    <a:gd name="connsiteX0" fmla="*/ 585505 w 585505"/>
                    <a:gd name="connsiteY0" fmla="*/ 66742 h 130274"/>
                    <a:gd name="connsiteX1" fmla="*/ 567303 w 585505"/>
                    <a:gd name="connsiteY1" fmla="*/ 84944 h 130274"/>
                    <a:gd name="connsiteX2" fmla="*/ 330674 w 585505"/>
                    <a:gd name="connsiteY2" fmla="*/ 127416 h 130274"/>
                    <a:gd name="connsiteX3" fmla="*/ 0 w 585505"/>
                    <a:gd name="connsiteY3" fmla="*/ 60674 h 130274"/>
                    <a:gd name="connsiteX4" fmla="*/ 87977 w 585505"/>
                    <a:gd name="connsiteY4" fmla="*/ 0 h 130274"/>
                    <a:gd name="connsiteX5" fmla="*/ 585505 w 585505"/>
                    <a:gd name="connsiteY5" fmla="*/ 63708 h 130274"/>
                    <a:gd name="connsiteX6" fmla="*/ 585505 w 585505"/>
                    <a:gd name="connsiteY6" fmla="*/ 66742 h 130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85505" h="130274">
                      <a:moveTo>
                        <a:pt x="585505" y="66742"/>
                      </a:moveTo>
                      <a:cubicBezTo>
                        <a:pt x="585505" y="75843"/>
                        <a:pt x="576405" y="81910"/>
                        <a:pt x="567303" y="84944"/>
                      </a:cubicBezTo>
                      <a:cubicBezTo>
                        <a:pt x="506629" y="112247"/>
                        <a:pt x="394382" y="121348"/>
                        <a:pt x="330674" y="127416"/>
                      </a:cubicBezTo>
                      <a:cubicBezTo>
                        <a:pt x="133483" y="142584"/>
                        <a:pt x="0" y="94045"/>
                        <a:pt x="0" y="60674"/>
                      </a:cubicBezTo>
                      <a:cubicBezTo>
                        <a:pt x="0" y="27303"/>
                        <a:pt x="87977" y="0"/>
                        <a:pt x="87977" y="0"/>
                      </a:cubicBezTo>
                      <a:cubicBezTo>
                        <a:pt x="87977" y="0"/>
                        <a:pt x="142584" y="57640"/>
                        <a:pt x="585505" y="63708"/>
                      </a:cubicBezTo>
                      <a:lnTo>
                        <a:pt x="585505" y="66742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F318AFEE-5C47-4A3B-BFD6-695E6933588E}"/>
                  </a:ext>
                </a:extLst>
              </p:cNvPr>
              <p:cNvSpPr/>
              <p:nvPr/>
            </p:nvSpPr>
            <p:spPr>
              <a:xfrm>
                <a:off x="15835320" y="2046021"/>
                <a:ext cx="509663" cy="75842"/>
              </a:xfrm>
              <a:custGeom>
                <a:avLst/>
                <a:gdLst>
                  <a:gd name="connsiteX0" fmla="*/ 503596 w 509663"/>
                  <a:gd name="connsiteY0" fmla="*/ 75843 h 75842"/>
                  <a:gd name="connsiteX1" fmla="*/ 503596 w 509663"/>
                  <a:gd name="connsiteY1" fmla="*/ 75843 h 75842"/>
                  <a:gd name="connsiteX2" fmla="*/ 0 w 509663"/>
                  <a:gd name="connsiteY2" fmla="*/ 9101 h 75842"/>
                  <a:gd name="connsiteX3" fmla="*/ 3034 w 509663"/>
                  <a:gd name="connsiteY3" fmla="*/ 0 h 75842"/>
                  <a:gd name="connsiteX4" fmla="*/ 9102 w 509663"/>
                  <a:gd name="connsiteY4" fmla="*/ 3034 h 75842"/>
                  <a:gd name="connsiteX5" fmla="*/ 503596 w 509663"/>
                  <a:gd name="connsiteY5" fmla="*/ 63708 h 75842"/>
                  <a:gd name="connsiteX6" fmla="*/ 509664 w 509663"/>
                  <a:gd name="connsiteY6" fmla="*/ 69775 h 75842"/>
                  <a:gd name="connsiteX7" fmla="*/ 503596 w 509663"/>
                  <a:gd name="connsiteY7" fmla="*/ 75843 h 75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9663" h="75842">
                    <a:moveTo>
                      <a:pt x="503596" y="75843"/>
                    </a:moveTo>
                    <a:lnTo>
                      <a:pt x="503596" y="75843"/>
                    </a:lnTo>
                    <a:cubicBezTo>
                      <a:pt x="39439" y="54607"/>
                      <a:pt x="3034" y="15169"/>
                      <a:pt x="0" y="9101"/>
                    </a:cubicBezTo>
                    <a:cubicBezTo>
                      <a:pt x="0" y="6067"/>
                      <a:pt x="0" y="3034"/>
                      <a:pt x="3034" y="0"/>
                    </a:cubicBezTo>
                    <a:cubicBezTo>
                      <a:pt x="6068" y="0"/>
                      <a:pt x="9102" y="0"/>
                      <a:pt x="9102" y="3034"/>
                    </a:cubicBezTo>
                    <a:cubicBezTo>
                      <a:pt x="12136" y="6067"/>
                      <a:pt x="54607" y="45506"/>
                      <a:pt x="503596" y="63708"/>
                    </a:cubicBezTo>
                    <a:cubicBezTo>
                      <a:pt x="506630" y="63708"/>
                      <a:pt x="509664" y="66742"/>
                      <a:pt x="509664" y="69775"/>
                    </a:cubicBezTo>
                    <a:cubicBezTo>
                      <a:pt x="509664" y="72809"/>
                      <a:pt x="506630" y="75843"/>
                      <a:pt x="503596" y="7584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A908786E-8F7E-4E4B-BD9D-808C2348D689}"/>
                  </a:ext>
                </a:extLst>
              </p:cNvPr>
              <p:cNvSpPr/>
              <p:nvPr/>
            </p:nvSpPr>
            <p:spPr>
              <a:xfrm>
                <a:off x="15932399" y="1848466"/>
                <a:ext cx="306404" cy="255195"/>
              </a:xfrm>
              <a:custGeom>
                <a:avLst/>
                <a:gdLst>
                  <a:gd name="connsiteX0" fmla="*/ 151685 w 306404"/>
                  <a:gd name="connsiteY0" fmla="*/ 255196 h 255195"/>
                  <a:gd name="connsiteX1" fmla="*/ 151685 w 306404"/>
                  <a:gd name="connsiteY1" fmla="*/ 255196 h 255195"/>
                  <a:gd name="connsiteX2" fmla="*/ 145618 w 306404"/>
                  <a:gd name="connsiteY2" fmla="*/ 249128 h 255195"/>
                  <a:gd name="connsiteX3" fmla="*/ 288202 w 306404"/>
                  <a:gd name="connsiteY3" fmla="*/ 48903 h 255195"/>
                  <a:gd name="connsiteX4" fmla="*/ 106180 w 306404"/>
                  <a:gd name="connsiteY4" fmla="*/ 12499 h 255195"/>
                  <a:gd name="connsiteX5" fmla="*/ 12135 w 306404"/>
                  <a:gd name="connsiteY5" fmla="*/ 227892 h 255195"/>
                  <a:gd name="connsiteX6" fmla="*/ 6068 w 306404"/>
                  <a:gd name="connsiteY6" fmla="*/ 233960 h 255195"/>
                  <a:gd name="connsiteX7" fmla="*/ 6068 w 306404"/>
                  <a:gd name="connsiteY7" fmla="*/ 233960 h 255195"/>
                  <a:gd name="connsiteX8" fmla="*/ 0 w 306404"/>
                  <a:gd name="connsiteY8" fmla="*/ 227892 h 255195"/>
                  <a:gd name="connsiteX9" fmla="*/ 100112 w 306404"/>
                  <a:gd name="connsiteY9" fmla="*/ 3398 h 255195"/>
                  <a:gd name="connsiteX10" fmla="*/ 103146 w 306404"/>
                  <a:gd name="connsiteY10" fmla="*/ 3398 h 255195"/>
                  <a:gd name="connsiteX11" fmla="*/ 303371 w 306404"/>
                  <a:gd name="connsiteY11" fmla="*/ 45870 h 255195"/>
                  <a:gd name="connsiteX12" fmla="*/ 306405 w 306404"/>
                  <a:gd name="connsiteY12" fmla="*/ 51937 h 255195"/>
                  <a:gd name="connsiteX13" fmla="*/ 303371 w 306404"/>
                  <a:gd name="connsiteY13" fmla="*/ 54971 h 255195"/>
                  <a:gd name="connsiteX14" fmla="*/ 160786 w 306404"/>
                  <a:gd name="connsiteY14" fmla="*/ 252162 h 255195"/>
                  <a:gd name="connsiteX15" fmla="*/ 151685 w 306404"/>
                  <a:gd name="connsiteY15" fmla="*/ 255196 h 255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06404" h="255195">
                    <a:moveTo>
                      <a:pt x="151685" y="255196"/>
                    </a:moveTo>
                    <a:cubicBezTo>
                      <a:pt x="151685" y="255196"/>
                      <a:pt x="151685" y="255196"/>
                      <a:pt x="151685" y="255196"/>
                    </a:cubicBezTo>
                    <a:cubicBezTo>
                      <a:pt x="148652" y="255196"/>
                      <a:pt x="145618" y="252162"/>
                      <a:pt x="145618" y="249128"/>
                    </a:cubicBezTo>
                    <a:cubicBezTo>
                      <a:pt x="151685" y="136881"/>
                      <a:pt x="257865" y="67106"/>
                      <a:pt x="288202" y="48903"/>
                    </a:cubicBezTo>
                    <a:cubicBezTo>
                      <a:pt x="212360" y="-2670"/>
                      <a:pt x="118314" y="9465"/>
                      <a:pt x="106180" y="12499"/>
                    </a:cubicBezTo>
                    <a:cubicBezTo>
                      <a:pt x="97079" y="21600"/>
                      <a:pt x="12135" y="91375"/>
                      <a:pt x="12135" y="227892"/>
                    </a:cubicBezTo>
                    <a:cubicBezTo>
                      <a:pt x="12135" y="230926"/>
                      <a:pt x="9101" y="233960"/>
                      <a:pt x="6068" y="233960"/>
                    </a:cubicBezTo>
                    <a:lnTo>
                      <a:pt x="6068" y="233960"/>
                    </a:lnTo>
                    <a:cubicBezTo>
                      <a:pt x="3034" y="233960"/>
                      <a:pt x="0" y="230926"/>
                      <a:pt x="0" y="227892"/>
                    </a:cubicBezTo>
                    <a:cubicBezTo>
                      <a:pt x="0" y="79240"/>
                      <a:pt x="100112" y="3398"/>
                      <a:pt x="100112" y="3398"/>
                    </a:cubicBezTo>
                    <a:cubicBezTo>
                      <a:pt x="100112" y="3398"/>
                      <a:pt x="100112" y="3398"/>
                      <a:pt x="103146" y="3398"/>
                    </a:cubicBezTo>
                    <a:cubicBezTo>
                      <a:pt x="109214" y="3398"/>
                      <a:pt x="218427" y="-17838"/>
                      <a:pt x="303371" y="45870"/>
                    </a:cubicBezTo>
                    <a:cubicBezTo>
                      <a:pt x="306405" y="45870"/>
                      <a:pt x="306405" y="48903"/>
                      <a:pt x="306405" y="51937"/>
                    </a:cubicBezTo>
                    <a:cubicBezTo>
                      <a:pt x="306405" y="54971"/>
                      <a:pt x="306405" y="54971"/>
                      <a:pt x="303371" y="54971"/>
                    </a:cubicBezTo>
                    <a:cubicBezTo>
                      <a:pt x="303371" y="54971"/>
                      <a:pt x="166854" y="124746"/>
                      <a:pt x="160786" y="252162"/>
                    </a:cubicBezTo>
                    <a:cubicBezTo>
                      <a:pt x="154719" y="255196"/>
                      <a:pt x="154719" y="255196"/>
                      <a:pt x="151685" y="2551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0A29420B-E8FC-4764-9758-649DC51B6052}"/>
                </a:ext>
              </a:extLst>
            </p:cNvPr>
            <p:cNvSpPr/>
            <p:nvPr/>
          </p:nvSpPr>
          <p:spPr>
            <a:xfrm>
              <a:off x="15571388" y="2638269"/>
              <a:ext cx="1034548" cy="1551084"/>
            </a:xfrm>
            <a:custGeom>
              <a:avLst/>
              <a:gdLst>
                <a:gd name="connsiteX0" fmla="*/ 667416 w 1034548"/>
                <a:gd name="connsiteY0" fmla="*/ 5393 h 1551084"/>
                <a:gd name="connsiteX1" fmla="*/ 579438 w 1034548"/>
                <a:gd name="connsiteY1" fmla="*/ 551460 h 1551084"/>
                <a:gd name="connsiteX2" fmla="*/ 282134 w 1034548"/>
                <a:gd name="connsiteY2" fmla="*/ 548427 h 1551084"/>
                <a:gd name="connsiteX3" fmla="*/ 270000 w 1034548"/>
                <a:gd name="connsiteY3" fmla="*/ 26629 h 1551084"/>
                <a:gd name="connsiteX4" fmla="*/ 169888 w 1034548"/>
                <a:gd name="connsiteY4" fmla="*/ 66067 h 1551084"/>
                <a:gd name="connsiteX5" fmla="*/ 160786 w 1034548"/>
                <a:gd name="connsiteY5" fmla="*/ 557528 h 1551084"/>
                <a:gd name="connsiteX6" fmla="*/ 18202 w 1034548"/>
                <a:gd name="connsiteY6" fmla="*/ 769887 h 1551084"/>
                <a:gd name="connsiteX7" fmla="*/ 0 w 1034548"/>
                <a:gd name="connsiteY7" fmla="*/ 1522247 h 1551084"/>
                <a:gd name="connsiteX8" fmla="*/ 1034495 w 1034548"/>
                <a:gd name="connsiteY8" fmla="*/ 1497977 h 1551084"/>
                <a:gd name="connsiteX9" fmla="*/ 998090 w 1034548"/>
                <a:gd name="connsiteY9" fmla="*/ 772921 h 1551084"/>
                <a:gd name="connsiteX10" fmla="*/ 725056 w 1034548"/>
                <a:gd name="connsiteY10" fmla="*/ 548427 h 1551084"/>
                <a:gd name="connsiteX11" fmla="*/ 752359 w 1034548"/>
                <a:gd name="connsiteY11" fmla="*/ 29663 h 1551084"/>
                <a:gd name="connsiteX12" fmla="*/ 667416 w 1034548"/>
                <a:gd name="connsiteY12" fmla="*/ 5393 h 1551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34548" h="1551084">
                  <a:moveTo>
                    <a:pt x="667416" y="5393"/>
                  </a:moveTo>
                  <a:cubicBezTo>
                    <a:pt x="667416" y="5393"/>
                    <a:pt x="582471" y="248090"/>
                    <a:pt x="579438" y="551460"/>
                  </a:cubicBezTo>
                  <a:cubicBezTo>
                    <a:pt x="579438" y="551460"/>
                    <a:pt x="333708" y="572696"/>
                    <a:pt x="282134" y="548427"/>
                  </a:cubicBezTo>
                  <a:cubicBezTo>
                    <a:pt x="282134" y="548427"/>
                    <a:pt x="248764" y="123708"/>
                    <a:pt x="270000" y="26629"/>
                  </a:cubicBezTo>
                  <a:cubicBezTo>
                    <a:pt x="270000" y="26629"/>
                    <a:pt x="188089" y="35730"/>
                    <a:pt x="169888" y="66067"/>
                  </a:cubicBezTo>
                  <a:cubicBezTo>
                    <a:pt x="169888" y="66067"/>
                    <a:pt x="166854" y="493820"/>
                    <a:pt x="160786" y="557528"/>
                  </a:cubicBezTo>
                  <a:cubicBezTo>
                    <a:pt x="154719" y="624269"/>
                    <a:pt x="18202" y="769887"/>
                    <a:pt x="18202" y="769887"/>
                  </a:cubicBezTo>
                  <a:lnTo>
                    <a:pt x="0" y="1522247"/>
                  </a:lnTo>
                  <a:cubicBezTo>
                    <a:pt x="0" y="1522247"/>
                    <a:pt x="706854" y="1601123"/>
                    <a:pt x="1034495" y="1497977"/>
                  </a:cubicBezTo>
                  <a:cubicBezTo>
                    <a:pt x="1034495" y="1497977"/>
                    <a:pt x="1037528" y="1070224"/>
                    <a:pt x="998090" y="772921"/>
                  </a:cubicBezTo>
                  <a:cubicBezTo>
                    <a:pt x="922247" y="769887"/>
                    <a:pt x="746292" y="675842"/>
                    <a:pt x="725056" y="548427"/>
                  </a:cubicBezTo>
                  <a:cubicBezTo>
                    <a:pt x="700787" y="421011"/>
                    <a:pt x="685618" y="157078"/>
                    <a:pt x="752359" y="29663"/>
                  </a:cubicBezTo>
                  <a:cubicBezTo>
                    <a:pt x="752359" y="32696"/>
                    <a:pt x="703820" y="-15843"/>
                    <a:pt x="667416" y="5393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43B3731A-A8A2-411A-B9B7-85F628C29164}"/>
                </a:ext>
              </a:extLst>
            </p:cNvPr>
            <p:cNvSpPr/>
            <p:nvPr/>
          </p:nvSpPr>
          <p:spPr>
            <a:xfrm>
              <a:off x="15568354" y="4020965"/>
              <a:ext cx="1037528" cy="160994"/>
            </a:xfrm>
            <a:custGeom>
              <a:avLst/>
              <a:gdLst>
                <a:gd name="connsiteX0" fmla="*/ 3034 w 1037528"/>
                <a:gd name="connsiteY0" fmla="*/ 142584 h 160994"/>
                <a:gd name="connsiteX1" fmla="*/ 1037529 w 1037528"/>
                <a:gd name="connsiteY1" fmla="*/ 118315 h 160994"/>
                <a:gd name="connsiteX2" fmla="*/ 1037529 w 1037528"/>
                <a:gd name="connsiteY2" fmla="*/ 0 h 160994"/>
                <a:gd name="connsiteX3" fmla="*/ 0 w 1037528"/>
                <a:gd name="connsiteY3" fmla="*/ 33371 h 160994"/>
                <a:gd name="connsiteX4" fmla="*/ 3034 w 1037528"/>
                <a:gd name="connsiteY4" fmla="*/ 142584 h 160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7528" h="160994">
                  <a:moveTo>
                    <a:pt x="3034" y="142584"/>
                  </a:moveTo>
                  <a:cubicBezTo>
                    <a:pt x="3034" y="142584"/>
                    <a:pt x="445955" y="197191"/>
                    <a:pt x="1037529" y="118315"/>
                  </a:cubicBezTo>
                  <a:lnTo>
                    <a:pt x="1037529" y="0"/>
                  </a:lnTo>
                  <a:cubicBezTo>
                    <a:pt x="1037529" y="0"/>
                    <a:pt x="379214" y="57640"/>
                    <a:pt x="0" y="33371"/>
                  </a:cubicBezTo>
                  <a:lnTo>
                    <a:pt x="3034" y="142584"/>
                  </a:ln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67F4A242-336B-4B36-A8CC-18EDD5913DED}"/>
                </a:ext>
              </a:extLst>
            </p:cNvPr>
            <p:cNvGrpSpPr/>
            <p:nvPr/>
          </p:nvGrpSpPr>
          <p:grpSpPr>
            <a:xfrm>
              <a:off x="15871725" y="4036134"/>
              <a:ext cx="215393" cy="163820"/>
              <a:chOff x="15871725" y="4036134"/>
              <a:chExt cx="215393" cy="163820"/>
            </a:xfrm>
          </p:grpSpPr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7A5F2F92-4C29-495D-9379-B9DBDB645D8C}"/>
                  </a:ext>
                </a:extLst>
              </p:cNvPr>
              <p:cNvSpPr/>
              <p:nvPr/>
            </p:nvSpPr>
            <p:spPr>
              <a:xfrm>
                <a:off x="15871725" y="4036134"/>
                <a:ext cx="215393" cy="163820"/>
              </a:xfrm>
              <a:custGeom>
                <a:avLst/>
                <a:gdLst>
                  <a:gd name="connsiteX0" fmla="*/ 21236 w 215393"/>
                  <a:gd name="connsiteY0" fmla="*/ 163820 h 163820"/>
                  <a:gd name="connsiteX1" fmla="*/ 194157 w 215393"/>
                  <a:gd name="connsiteY1" fmla="*/ 163820 h 163820"/>
                  <a:gd name="connsiteX2" fmla="*/ 215393 w 215393"/>
                  <a:gd name="connsiteY2" fmla="*/ 142584 h 163820"/>
                  <a:gd name="connsiteX3" fmla="*/ 215393 w 215393"/>
                  <a:gd name="connsiteY3" fmla="*/ 21236 h 163820"/>
                  <a:gd name="connsiteX4" fmla="*/ 194157 w 215393"/>
                  <a:gd name="connsiteY4" fmla="*/ 0 h 163820"/>
                  <a:gd name="connsiteX5" fmla="*/ 21236 w 215393"/>
                  <a:gd name="connsiteY5" fmla="*/ 0 h 163820"/>
                  <a:gd name="connsiteX6" fmla="*/ 0 w 215393"/>
                  <a:gd name="connsiteY6" fmla="*/ 21236 h 163820"/>
                  <a:gd name="connsiteX7" fmla="*/ 0 w 215393"/>
                  <a:gd name="connsiteY7" fmla="*/ 142584 h 163820"/>
                  <a:gd name="connsiteX8" fmla="*/ 21236 w 215393"/>
                  <a:gd name="connsiteY8" fmla="*/ 163820 h 163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5393" h="163820">
                    <a:moveTo>
                      <a:pt x="21236" y="163820"/>
                    </a:moveTo>
                    <a:lnTo>
                      <a:pt x="194157" y="163820"/>
                    </a:lnTo>
                    <a:cubicBezTo>
                      <a:pt x="206292" y="163820"/>
                      <a:pt x="215393" y="154719"/>
                      <a:pt x="215393" y="142584"/>
                    </a:cubicBezTo>
                    <a:lnTo>
                      <a:pt x="215393" y="21236"/>
                    </a:lnTo>
                    <a:cubicBezTo>
                      <a:pt x="215393" y="9101"/>
                      <a:pt x="206292" y="0"/>
                      <a:pt x="194157" y="0"/>
                    </a:cubicBezTo>
                    <a:lnTo>
                      <a:pt x="21236" y="0"/>
                    </a:lnTo>
                    <a:cubicBezTo>
                      <a:pt x="9101" y="0"/>
                      <a:pt x="0" y="9101"/>
                      <a:pt x="0" y="21236"/>
                    </a:cubicBezTo>
                    <a:lnTo>
                      <a:pt x="0" y="142584"/>
                    </a:lnTo>
                    <a:cubicBezTo>
                      <a:pt x="0" y="151685"/>
                      <a:pt x="9101" y="163820"/>
                      <a:pt x="21236" y="16382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2E18882A-12C3-4E25-A983-911DB3D54700}"/>
                  </a:ext>
                </a:extLst>
              </p:cNvPr>
              <p:cNvSpPr/>
              <p:nvPr/>
            </p:nvSpPr>
            <p:spPr>
              <a:xfrm>
                <a:off x="15899028" y="4060403"/>
                <a:ext cx="157753" cy="118314"/>
              </a:xfrm>
              <a:custGeom>
                <a:avLst/>
                <a:gdLst>
                  <a:gd name="connsiteX0" fmla="*/ 15169 w 157753"/>
                  <a:gd name="connsiteY0" fmla="*/ 118315 h 118314"/>
                  <a:gd name="connsiteX1" fmla="*/ 142585 w 157753"/>
                  <a:gd name="connsiteY1" fmla="*/ 118315 h 118314"/>
                  <a:gd name="connsiteX2" fmla="*/ 157753 w 157753"/>
                  <a:gd name="connsiteY2" fmla="*/ 103146 h 118314"/>
                  <a:gd name="connsiteX3" fmla="*/ 157753 w 157753"/>
                  <a:gd name="connsiteY3" fmla="*/ 15169 h 118314"/>
                  <a:gd name="connsiteX4" fmla="*/ 142585 w 157753"/>
                  <a:gd name="connsiteY4" fmla="*/ 0 h 118314"/>
                  <a:gd name="connsiteX5" fmla="*/ 15169 w 157753"/>
                  <a:gd name="connsiteY5" fmla="*/ 0 h 118314"/>
                  <a:gd name="connsiteX6" fmla="*/ 0 w 157753"/>
                  <a:gd name="connsiteY6" fmla="*/ 15169 h 118314"/>
                  <a:gd name="connsiteX7" fmla="*/ 0 w 157753"/>
                  <a:gd name="connsiteY7" fmla="*/ 100112 h 118314"/>
                  <a:gd name="connsiteX8" fmla="*/ 15169 w 157753"/>
                  <a:gd name="connsiteY8" fmla="*/ 118315 h 11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753" h="118314">
                    <a:moveTo>
                      <a:pt x="15169" y="118315"/>
                    </a:moveTo>
                    <a:lnTo>
                      <a:pt x="142585" y="118315"/>
                    </a:lnTo>
                    <a:cubicBezTo>
                      <a:pt x="151685" y="118315"/>
                      <a:pt x="157753" y="112247"/>
                      <a:pt x="157753" y="103146"/>
                    </a:cubicBezTo>
                    <a:lnTo>
                      <a:pt x="157753" y="15169"/>
                    </a:lnTo>
                    <a:cubicBezTo>
                      <a:pt x="157753" y="6068"/>
                      <a:pt x="151685" y="0"/>
                      <a:pt x="142585" y="0"/>
                    </a:cubicBezTo>
                    <a:lnTo>
                      <a:pt x="15169" y="0"/>
                    </a:lnTo>
                    <a:cubicBezTo>
                      <a:pt x="6068" y="0"/>
                      <a:pt x="0" y="6068"/>
                      <a:pt x="0" y="15169"/>
                    </a:cubicBezTo>
                    <a:lnTo>
                      <a:pt x="0" y="100112"/>
                    </a:lnTo>
                    <a:cubicBezTo>
                      <a:pt x="0" y="109214"/>
                      <a:pt x="6068" y="118315"/>
                      <a:pt x="15169" y="118315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62278E3F-5A95-4A99-B66A-79E94D5D51E5}"/>
                </a:ext>
              </a:extLst>
            </p:cNvPr>
            <p:cNvSpPr/>
            <p:nvPr/>
          </p:nvSpPr>
          <p:spPr>
            <a:xfrm>
              <a:off x="15777680" y="3344448"/>
              <a:ext cx="376580" cy="288202"/>
            </a:xfrm>
            <a:custGeom>
              <a:avLst/>
              <a:gdLst>
                <a:gd name="connsiteX0" fmla="*/ 172922 w 376580"/>
                <a:gd name="connsiteY0" fmla="*/ 288202 h 288202"/>
                <a:gd name="connsiteX1" fmla="*/ 172922 w 376580"/>
                <a:gd name="connsiteY1" fmla="*/ 288202 h 288202"/>
                <a:gd name="connsiteX2" fmla="*/ 18202 w 376580"/>
                <a:gd name="connsiteY2" fmla="*/ 175955 h 288202"/>
                <a:gd name="connsiteX3" fmla="*/ 15169 w 376580"/>
                <a:gd name="connsiteY3" fmla="*/ 175955 h 288202"/>
                <a:gd name="connsiteX4" fmla="*/ 15169 w 376580"/>
                <a:gd name="connsiteY4" fmla="*/ 172921 h 288202"/>
                <a:gd name="connsiteX5" fmla="*/ 0 w 376580"/>
                <a:gd name="connsiteY5" fmla="*/ 0 h 288202"/>
                <a:gd name="connsiteX6" fmla="*/ 6068 w 376580"/>
                <a:gd name="connsiteY6" fmla="*/ 0 h 288202"/>
                <a:gd name="connsiteX7" fmla="*/ 370113 w 376580"/>
                <a:gd name="connsiteY7" fmla="*/ 0 h 288202"/>
                <a:gd name="connsiteX8" fmla="*/ 376180 w 376580"/>
                <a:gd name="connsiteY8" fmla="*/ 0 h 288202"/>
                <a:gd name="connsiteX9" fmla="*/ 376180 w 376580"/>
                <a:gd name="connsiteY9" fmla="*/ 6067 h 288202"/>
                <a:gd name="connsiteX10" fmla="*/ 364045 w 376580"/>
                <a:gd name="connsiteY10" fmla="*/ 206292 h 288202"/>
                <a:gd name="connsiteX11" fmla="*/ 364045 w 376580"/>
                <a:gd name="connsiteY11" fmla="*/ 209326 h 288202"/>
                <a:gd name="connsiteX12" fmla="*/ 361011 w 376580"/>
                <a:gd name="connsiteY12" fmla="*/ 209326 h 288202"/>
                <a:gd name="connsiteX13" fmla="*/ 172922 w 376580"/>
                <a:gd name="connsiteY13" fmla="*/ 288202 h 288202"/>
                <a:gd name="connsiteX14" fmla="*/ 172922 w 376580"/>
                <a:gd name="connsiteY14" fmla="*/ 288202 h 288202"/>
                <a:gd name="connsiteX15" fmla="*/ 27303 w 376580"/>
                <a:gd name="connsiteY15" fmla="*/ 169888 h 288202"/>
                <a:gd name="connsiteX16" fmla="*/ 169888 w 376580"/>
                <a:gd name="connsiteY16" fmla="*/ 276068 h 288202"/>
                <a:gd name="connsiteX17" fmla="*/ 351910 w 376580"/>
                <a:gd name="connsiteY17" fmla="*/ 200225 h 288202"/>
                <a:gd name="connsiteX18" fmla="*/ 364045 w 376580"/>
                <a:gd name="connsiteY18" fmla="*/ 9101 h 288202"/>
                <a:gd name="connsiteX19" fmla="*/ 12135 w 376580"/>
                <a:gd name="connsiteY19" fmla="*/ 9101 h 288202"/>
                <a:gd name="connsiteX20" fmla="*/ 27303 w 376580"/>
                <a:gd name="connsiteY20" fmla="*/ 169888 h 28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6580" h="288202">
                  <a:moveTo>
                    <a:pt x="172922" y="288202"/>
                  </a:moveTo>
                  <a:lnTo>
                    <a:pt x="172922" y="288202"/>
                  </a:lnTo>
                  <a:cubicBezTo>
                    <a:pt x="142585" y="279101"/>
                    <a:pt x="33371" y="188090"/>
                    <a:pt x="18202" y="175955"/>
                  </a:cubicBezTo>
                  <a:lnTo>
                    <a:pt x="15169" y="175955"/>
                  </a:lnTo>
                  <a:lnTo>
                    <a:pt x="15169" y="172921"/>
                  </a:lnTo>
                  <a:lnTo>
                    <a:pt x="0" y="0"/>
                  </a:lnTo>
                  <a:lnTo>
                    <a:pt x="6068" y="0"/>
                  </a:lnTo>
                  <a:cubicBezTo>
                    <a:pt x="200225" y="15169"/>
                    <a:pt x="367079" y="0"/>
                    <a:pt x="370113" y="0"/>
                  </a:cubicBezTo>
                  <a:lnTo>
                    <a:pt x="376180" y="0"/>
                  </a:lnTo>
                  <a:lnTo>
                    <a:pt x="376180" y="6067"/>
                  </a:lnTo>
                  <a:cubicBezTo>
                    <a:pt x="379214" y="78876"/>
                    <a:pt x="364045" y="206292"/>
                    <a:pt x="364045" y="206292"/>
                  </a:cubicBezTo>
                  <a:lnTo>
                    <a:pt x="364045" y="209326"/>
                  </a:lnTo>
                  <a:lnTo>
                    <a:pt x="361011" y="209326"/>
                  </a:lnTo>
                  <a:cubicBezTo>
                    <a:pt x="333708" y="224494"/>
                    <a:pt x="182022" y="285169"/>
                    <a:pt x="172922" y="288202"/>
                  </a:cubicBezTo>
                  <a:lnTo>
                    <a:pt x="172922" y="288202"/>
                  </a:lnTo>
                  <a:close/>
                  <a:moveTo>
                    <a:pt x="27303" y="169888"/>
                  </a:moveTo>
                  <a:cubicBezTo>
                    <a:pt x="60674" y="197191"/>
                    <a:pt x="148652" y="266966"/>
                    <a:pt x="169888" y="276068"/>
                  </a:cubicBezTo>
                  <a:cubicBezTo>
                    <a:pt x="188090" y="270000"/>
                    <a:pt x="321573" y="215393"/>
                    <a:pt x="351910" y="200225"/>
                  </a:cubicBezTo>
                  <a:cubicBezTo>
                    <a:pt x="354944" y="182022"/>
                    <a:pt x="367079" y="75843"/>
                    <a:pt x="364045" y="9101"/>
                  </a:cubicBezTo>
                  <a:cubicBezTo>
                    <a:pt x="333708" y="12135"/>
                    <a:pt x="182022" y="24270"/>
                    <a:pt x="12135" y="9101"/>
                  </a:cubicBezTo>
                  <a:lnTo>
                    <a:pt x="27303" y="169888"/>
                  </a:ln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5AC48F3D-E3AB-464A-8CEA-5FECC237BF62}"/>
                </a:ext>
              </a:extLst>
            </p:cNvPr>
            <p:cNvSpPr/>
            <p:nvPr/>
          </p:nvSpPr>
          <p:spPr>
            <a:xfrm>
              <a:off x="15625994" y="6344785"/>
              <a:ext cx="361200" cy="140793"/>
            </a:xfrm>
            <a:custGeom>
              <a:avLst/>
              <a:gdLst>
                <a:gd name="connsiteX0" fmla="*/ 361011 w 361200"/>
                <a:gd name="connsiteY0" fmla="*/ 30337 h 140793"/>
                <a:gd name="connsiteX1" fmla="*/ 345843 w 361200"/>
                <a:gd name="connsiteY1" fmla="*/ 139551 h 140793"/>
                <a:gd name="connsiteX2" fmla="*/ 0 w 361200"/>
                <a:gd name="connsiteY2" fmla="*/ 100112 h 140793"/>
                <a:gd name="connsiteX3" fmla="*/ 12135 w 361200"/>
                <a:gd name="connsiteY3" fmla="*/ 0 h 140793"/>
                <a:gd name="connsiteX4" fmla="*/ 361011 w 361200"/>
                <a:gd name="connsiteY4" fmla="*/ 30337 h 14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200" h="140793">
                  <a:moveTo>
                    <a:pt x="361011" y="30337"/>
                  </a:moveTo>
                  <a:cubicBezTo>
                    <a:pt x="361011" y="30337"/>
                    <a:pt x="364045" y="94045"/>
                    <a:pt x="345843" y="139551"/>
                  </a:cubicBezTo>
                  <a:cubicBezTo>
                    <a:pt x="345843" y="139551"/>
                    <a:pt x="154719" y="151685"/>
                    <a:pt x="0" y="100112"/>
                  </a:cubicBezTo>
                  <a:cubicBezTo>
                    <a:pt x="0" y="100112"/>
                    <a:pt x="0" y="42472"/>
                    <a:pt x="12135" y="0"/>
                  </a:cubicBezTo>
                  <a:cubicBezTo>
                    <a:pt x="12135" y="0"/>
                    <a:pt x="260899" y="48540"/>
                    <a:pt x="361011" y="30337"/>
                  </a:cubicBezTo>
                  <a:close/>
                </a:path>
              </a:pathLst>
            </a:custGeom>
            <a:solidFill>
              <a:srgbClr val="9DB3D1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943488A8-3BC9-48A3-B690-F96DD61BF421}"/>
                </a:ext>
              </a:extLst>
            </p:cNvPr>
            <p:cNvSpPr/>
            <p:nvPr/>
          </p:nvSpPr>
          <p:spPr>
            <a:xfrm>
              <a:off x="16618017" y="6023212"/>
              <a:ext cx="370111" cy="333707"/>
            </a:xfrm>
            <a:custGeom>
              <a:avLst/>
              <a:gdLst>
                <a:gd name="connsiteX0" fmla="*/ 303371 w 370111"/>
                <a:gd name="connsiteY0" fmla="*/ 0 h 333707"/>
                <a:gd name="connsiteX1" fmla="*/ 370112 w 370111"/>
                <a:gd name="connsiteY1" fmla="*/ 87978 h 333707"/>
                <a:gd name="connsiteX2" fmla="*/ 63708 w 370111"/>
                <a:gd name="connsiteY2" fmla="*/ 333708 h 333707"/>
                <a:gd name="connsiteX3" fmla="*/ 0 w 370111"/>
                <a:gd name="connsiteY3" fmla="*/ 254832 h 333707"/>
                <a:gd name="connsiteX4" fmla="*/ 303371 w 370111"/>
                <a:gd name="connsiteY4" fmla="*/ 0 h 33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111" h="333707">
                  <a:moveTo>
                    <a:pt x="303371" y="0"/>
                  </a:moveTo>
                  <a:cubicBezTo>
                    <a:pt x="303371" y="0"/>
                    <a:pt x="351910" y="45506"/>
                    <a:pt x="370112" y="87978"/>
                  </a:cubicBezTo>
                  <a:cubicBezTo>
                    <a:pt x="370112" y="87978"/>
                    <a:pt x="212360" y="263933"/>
                    <a:pt x="63708" y="333708"/>
                  </a:cubicBezTo>
                  <a:cubicBezTo>
                    <a:pt x="63708" y="333708"/>
                    <a:pt x="24269" y="291236"/>
                    <a:pt x="0" y="254832"/>
                  </a:cubicBezTo>
                  <a:cubicBezTo>
                    <a:pt x="3034" y="254832"/>
                    <a:pt x="245731" y="81910"/>
                    <a:pt x="303371" y="0"/>
                  </a:cubicBezTo>
                  <a:close/>
                </a:path>
              </a:pathLst>
            </a:custGeom>
            <a:solidFill>
              <a:srgbClr val="9DB3D1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8" name="图形 1">
              <a:extLst>
                <a:ext uri="{FF2B5EF4-FFF2-40B4-BE49-F238E27FC236}">
                  <a16:creationId xmlns:a16="http://schemas.microsoft.com/office/drawing/2014/main" id="{38A235FB-44E4-4E4E-9A45-1ACA774CD80A}"/>
                </a:ext>
              </a:extLst>
            </p:cNvPr>
            <p:cNvGrpSpPr/>
            <p:nvPr/>
          </p:nvGrpSpPr>
          <p:grpSpPr>
            <a:xfrm>
              <a:off x="15710939" y="3471864"/>
              <a:ext cx="1883931" cy="1098202"/>
              <a:chOff x="15710939" y="3471864"/>
              <a:chExt cx="1883931" cy="1098202"/>
            </a:xfrm>
          </p:grpSpPr>
          <p:grpSp>
            <p:nvGrpSpPr>
              <p:cNvPr id="47" name="图形 1">
                <a:extLst>
                  <a:ext uri="{FF2B5EF4-FFF2-40B4-BE49-F238E27FC236}">
                    <a16:creationId xmlns:a16="http://schemas.microsoft.com/office/drawing/2014/main" id="{B78B4EE1-18BF-4546-9B0B-E27AD09BA9F3}"/>
                  </a:ext>
                </a:extLst>
              </p:cNvPr>
              <p:cNvGrpSpPr/>
              <p:nvPr/>
            </p:nvGrpSpPr>
            <p:grpSpPr>
              <a:xfrm>
                <a:off x="15710939" y="3471864"/>
                <a:ext cx="1883931" cy="1098202"/>
                <a:chOff x="15710939" y="3471864"/>
                <a:chExt cx="1883931" cy="1098202"/>
              </a:xfrm>
            </p:grpSpPr>
            <p:sp>
              <p:nvSpPr>
                <p:cNvPr id="54" name="任意多边形: 形状 53">
                  <a:extLst>
                    <a:ext uri="{FF2B5EF4-FFF2-40B4-BE49-F238E27FC236}">
                      <a16:creationId xmlns:a16="http://schemas.microsoft.com/office/drawing/2014/main" id="{F4E28C60-39F6-4883-B5D8-DAC3A8D2E88F}"/>
                    </a:ext>
                  </a:extLst>
                </p:cNvPr>
                <p:cNvSpPr/>
                <p:nvPr/>
              </p:nvSpPr>
              <p:spPr>
                <a:xfrm>
                  <a:off x="17397679" y="4118044"/>
                  <a:ext cx="197191" cy="452022"/>
                </a:xfrm>
                <a:custGeom>
                  <a:avLst/>
                  <a:gdLst>
                    <a:gd name="connsiteX0" fmla="*/ 0 w 197191"/>
                    <a:gd name="connsiteY0" fmla="*/ 452023 h 452022"/>
                    <a:gd name="connsiteX1" fmla="*/ 48540 w 197191"/>
                    <a:gd name="connsiteY1" fmla="*/ 430787 h 452022"/>
                    <a:gd name="connsiteX2" fmla="*/ 197191 w 197191"/>
                    <a:gd name="connsiteY2" fmla="*/ 0 h 452022"/>
                    <a:gd name="connsiteX3" fmla="*/ 145619 w 197191"/>
                    <a:gd name="connsiteY3" fmla="*/ 33371 h 452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7191" h="452022">
                      <a:moveTo>
                        <a:pt x="0" y="452023"/>
                      </a:moveTo>
                      <a:lnTo>
                        <a:pt x="48540" y="430787"/>
                      </a:lnTo>
                      <a:lnTo>
                        <a:pt x="197191" y="0"/>
                      </a:lnTo>
                      <a:lnTo>
                        <a:pt x="145619" y="33371"/>
                      </a:lnTo>
                      <a:close/>
                    </a:path>
                  </a:pathLst>
                </a:custGeom>
                <a:solidFill>
                  <a:srgbClr val="C18267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5" name="任意多边形: 形状 54">
                  <a:extLst>
                    <a:ext uri="{FF2B5EF4-FFF2-40B4-BE49-F238E27FC236}">
                      <a16:creationId xmlns:a16="http://schemas.microsoft.com/office/drawing/2014/main" id="{D67B15F9-8D74-41B0-8740-B1916CF3D4CD}"/>
                    </a:ext>
                  </a:extLst>
                </p:cNvPr>
                <p:cNvSpPr/>
                <p:nvPr/>
              </p:nvSpPr>
              <p:spPr>
                <a:xfrm>
                  <a:off x="15862624" y="3471864"/>
                  <a:ext cx="1732246" cy="679550"/>
                </a:xfrm>
                <a:custGeom>
                  <a:avLst/>
                  <a:gdLst>
                    <a:gd name="connsiteX0" fmla="*/ 54606 w 1732246"/>
                    <a:gd name="connsiteY0" fmla="*/ 0 h 679550"/>
                    <a:gd name="connsiteX1" fmla="*/ 1732247 w 1732246"/>
                    <a:gd name="connsiteY1" fmla="*/ 646180 h 679550"/>
                    <a:gd name="connsiteX2" fmla="*/ 1680674 w 1732246"/>
                    <a:gd name="connsiteY2" fmla="*/ 679551 h 679550"/>
                    <a:gd name="connsiteX3" fmla="*/ 0 w 1732246"/>
                    <a:gd name="connsiteY3" fmla="*/ 33371 h 679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732246" h="679550">
                      <a:moveTo>
                        <a:pt x="54606" y="0"/>
                      </a:moveTo>
                      <a:lnTo>
                        <a:pt x="1732247" y="646180"/>
                      </a:lnTo>
                      <a:lnTo>
                        <a:pt x="1680674" y="679551"/>
                      </a:lnTo>
                      <a:lnTo>
                        <a:pt x="0" y="33371"/>
                      </a:lnTo>
                      <a:close/>
                    </a:path>
                  </a:pathLst>
                </a:custGeom>
                <a:solidFill>
                  <a:srgbClr val="C18267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6" name="任意多边形: 形状 55">
                  <a:extLst>
                    <a:ext uri="{FF2B5EF4-FFF2-40B4-BE49-F238E27FC236}">
                      <a16:creationId xmlns:a16="http://schemas.microsoft.com/office/drawing/2014/main" id="{CDFCE6CA-83D0-4940-9C53-6C45B8B50FD3}"/>
                    </a:ext>
                  </a:extLst>
                </p:cNvPr>
                <p:cNvSpPr/>
                <p:nvPr/>
              </p:nvSpPr>
              <p:spPr>
                <a:xfrm>
                  <a:off x="15710939" y="3505235"/>
                  <a:ext cx="1832359" cy="1064831"/>
                </a:xfrm>
                <a:custGeom>
                  <a:avLst/>
                  <a:gdLst>
                    <a:gd name="connsiteX0" fmla="*/ 151685 w 1832359"/>
                    <a:gd name="connsiteY0" fmla="*/ 0 h 1064831"/>
                    <a:gd name="connsiteX1" fmla="*/ 1832359 w 1832359"/>
                    <a:gd name="connsiteY1" fmla="*/ 646180 h 1064831"/>
                    <a:gd name="connsiteX2" fmla="*/ 1768651 w 1832359"/>
                    <a:gd name="connsiteY2" fmla="*/ 825168 h 1064831"/>
                    <a:gd name="connsiteX3" fmla="*/ 1759551 w 1832359"/>
                    <a:gd name="connsiteY3" fmla="*/ 855506 h 1064831"/>
                    <a:gd name="connsiteX4" fmla="*/ 1686741 w 1832359"/>
                    <a:gd name="connsiteY4" fmla="*/ 1064831 h 1064831"/>
                    <a:gd name="connsiteX5" fmla="*/ 0 w 1832359"/>
                    <a:gd name="connsiteY5" fmla="*/ 376180 h 10648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832359" h="1064831">
                      <a:moveTo>
                        <a:pt x="151685" y="0"/>
                      </a:moveTo>
                      <a:lnTo>
                        <a:pt x="1832359" y="646180"/>
                      </a:lnTo>
                      <a:lnTo>
                        <a:pt x="1768651" y="825168"/>
                      </a:lnTo>
                      <a:lnTo>
                        <a:pt x="1759551" y="855506"/>
                      </a:lnTo>
                      <a:lnTo>
                        <a:pt x="1686741" y="1064831"/>
                      </a:lnTo>
                      <a:lnTo>
                        <a:pt x="0" y="376180"/>
                      </a:lnTo>
                      <a:close/>
                    </a:path>
                  </a:pathLst>
                </a:custGeom>
                <a:solidFill>
                  <a:srgbClr val="D39778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C63B16D4-1C93-4540-8D21-8FB2E1FF5E6C}"/>
                  </a:ext>
                </a:extLst>
              </p:cNvPr>
              <p:cNvSpPr/>
              <p:nvPr/>
            </p:nvSpPr>
            <p:spPr>
              <a:xfrm>
                <a:off x="16567327" y="4052646"/>
                <a:ext cx="912263" cy="311128"/>
              </a:xfrm>
              <a:custGeom>
                <a:avLst/>
                <a:gdLst>
                  <a:gd name="connsiteX0" fmla="*/ 11252 w 912263"/>
                  <a:gd name="connsiteY0" fmla="*/ 28993 h 311128"/>
                  <a:gd name="connsiteX1" fmla="*/ 253948 w 912263"/>
                  <a:gd name="connsiteY1" fmla="*/ 71465 h 311128"/>
                  <a:gd name="connsiteX2" fmla="*/ 387432 w 912263"/>
                  <a:gd name="connsiteY2" fmla="*/ 68432 h 311128"/>
                  <a:gd name="connsiteX3" fmla="*/ 499679 w 912263"/>
                  <a:gd name="connsiteY3" fmla="*/ 138207 h 311128"/>
                  <a:gd name="connsiteX4" fmla="*/ 675634 w 912263"/>
                  <a:gd name="connsiteY4" fmla="*/ 256522 h 311128"/>
                  <a:gd name="connsiteX5" fmla="*/ 903163 w 912263"/>
                  <a:gd name="connsiteY5" fmla="*/ 311128 h 311128"/>
                  <a:gd name="connsiteX6" fmla="*/ 912263 w 912263"/>
                  <a:gd name="connsiteY6" fmla="*/ 280791 h 311128"/>
                  <a:gd name="connsiteX7" fmla="*/ 687769 w 912263"/>
                  <a:gd name="connsiteY7" fmla="*/ 226184 h 311128"/>
                  <a:gd name="connsiteX8" fmla="*/ 478443 w 912263"/>
                  <a:gd name="connsiteY8" fmla="*/ 80566 h 311128"/>
                  <a:gd name="connsiteX9" fmla="*/ 317656 w 912263"/>
                  <a:gd name="connsiteY9" fmla="*/ 32027 h 311128"/>
                  <a:gd name="connsiteX10" fmla="*/ 172039 w 912263"/>
                  <a:gd name="connsiteY10" fmla="*/ 41128 h 311128"/>
                  <a:gd name="connsiteX11" fmla="*/ 20353 w 912263"/>
                  <a:gd name="connsiteY11" fmla="*/ 1690 h 311128"/>
                  <a:gd name="connsiteX12" fmla="*/ 11252 w 912263"/>
                  <a:gd name="connsiteY12" fmla="*/ 28993 h 311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12263" h="311128">
                    <a:moveTo>
                      <a:pt x="11252" y="28993"/>
                    </a:moveTo>
                    <a:cubicBezTo>
                      <a:pt x="90128" y="56297"/>
                      <a:pt x="169005" y="80566"/>
                      <a:pt x="253948" y="71465"/>
                    </a:cubicBezTo>
                    <a:cubicBezTo>
                      <a:pt x="299454" y="68432"/>
                      <a:pt x="341927" y="53263"/>
                      <a:pt x="387432" y="68432"/>
                    </a:cubicBezTo>
                    <a:cubicBezTo>
                      <a:pt x="429904" y="80566"/>
                      <a:pt x="466308" y="110903"/>
                      <a:pt x="499679" y="138207"/>
                    </a:cubicBezTo>
                    <a:cubicBezTo>
                      <a:pt x="554286" y="183713"/>
                      <a:pt x="605859" y="232252"/>
                      <a:pt x="675634" y="256522"/>
                    </a:cubicBezTo>
                    <a:cubicBezTo>
                      <a:pt x="748443" y="280791"/>
                      <a:pt x="827320" y="292926"/>
                      <a:pt x="903163" y="311128"/>
                    </a:cubicBezTo>
                    <a:lnTo>
                      <a:pt x="912263" y="280791"/>
                    </a:lnTo>
                    <a:cubicBezTo>
                      <a:pt x="836421" y="265623"/>
                      <a:pt x="757544" y="253488"/>
                      <a:pt x="687769" y="226184"/>
                    </a:cubicBezTo>
                    <a:cubicBezTo>
                      <a:pt x="602825" y="198881"/>
                      <a:pt x="551252" y="132140"/>
                      <a:pt x="478443" y="80566"/>
                    </a:cubicBezTo>
                    <a:cubicBezTo>
                      <a:pt x="429904" y="47196"/>
                      <a:pt x="378331" y="25960"/>
                      <a:pt x="317656" y="32027"/>
                    </a:cubicBezTo>
                    <a:cubicBezTo>
                      <a:pt x="269117" y="35061"/>
                      <a:pt x="223611" y="47196"/>
                      <a:pt x="172039" y="41128"/>
                    </a:cubicBezTo>
                    <a:cubicBezTo>
                      <a:pt x="120465" y="35061"/>
                      <a:pt x="68893" y="16859"/>
                      <a:pt x="20353" y="1690"/>
                    </a:cubicBezTo>
                    <a:cubicBezTo>
                      <a:pt x="2151" y="-7411"/>
                      <a:pt x="-9984" y="22926"/>
                      <a:pt x="11252" y="28993"/>
                    </a:cubicBez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59DB5B15-9435-4DBC-958F-25F119431D82}"/>
                  </a:ext>
                </a:extLst>
              </p:cNvPr>
              <p:cNvSpPr/>
              <p:nvPr/>
            </p:nvSpPr>
            <p:spPr>
              <a:xfrm>
                <a:off x="16793698" y="4134104"/>
                <a:ext cx="283701" cy="147588"/>
              </a:xfrm>
              <a:custGeom>
                <a:avLst/>
                <a:gdLst>
                  <a:gd name="connsiteX0" fmla="*/ 27577 w 283701"/>
                  <a:gd name="connsiteY0" fmla="*/ 5176 h 147588"/>
                  <a:gd name="connsiteX1" fmla="*/ 188364 w 283701"/>
                  <a:gd name="connsiteY1" fmla="*/ 108322 h 147588"/>
                  <a:gd name="connsiteX2" fmla="*/ 221735 w 283701"/>
                  <a:gd name="connsiteY2" fmla="*/ 111356 h 147588"/>
                  <a:gd name="connsiteX3" fmla="*/ 230835 w 283701"/>
                  <a:gd name="connsiteY3" fmla="*/ 84052 h 147588"/>
                  <a:gd name="connsiteX4" fmla="*/ 170161 w 283701"/>
                  <a:gd name="connsiteY4" fmla="*/ 44614 h 147588"/>
                  <a:gd name="connsiteX5" fmla="*/ 151959 w 283701"/>
                  <a:gd name="connsiteY5" fmla="*/ 65850 h 147588"/>
                  <a:gd name="connsiteX6" fmla="*/ 112521 w 283701"/>
                  <a:gd name="connsiteY6" fmla="*/ 35513 h 147588"/>
                  <a:gd name="connsiteX7" fmla="*/ 121622 w 283701"/>
                  <a:gd name="connsiteY7" fmla="*/ 8210 h 147588"/>
                  <a:gd name="connsiteX8" fmla="*/ 255105 w 283701"/>
                  <a:gd name="connsiteY8" fmla="*/ 62816 h 147588"/>
                  <a:gd name="connsiteX9" fmla="*/ 267240 w 283701"/>
                  <a:gd name="connsiteY9" fmla="*/ 135625 h 147588"/>
                  <a:gd name="connsiteX10" fmla="*/ 136790 w 283701"/>
                  <a:gd name="connsiteY10" fmla="*/ 129558 h 147588"/>
                  <a:gd name="connsiteX11" fmla="*/ 3307 w 283701"/>
                  <a:gd name="connsiteY11" fmla="*/ 29445 h 147588"/>
                  <a:gd name="connsiteX12" fmla="*/ 27577 w 283701"/>
                  <a:gd name="connsiteY12" fmla="*/ 5176 h 147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3701" h="147588">
                    <a:moveTo>
                      <a:pt x="27577" y="5176"/>
                    </a:moveTo>
                    <a:cubicBezTo>
                      <a:pt x="67015" y="59782"/>
                      <a:pt x="124656" y="96187"/>
                      <a:pt x="188364" y="108322"/>
                    </a:cubicBezTo>
                    <a:cubicBezTo>
                      <a:pt x="197464" y="111356"/>
                      <a:pt x="209599" y="111356"/>
                      <a:pt x="221735" y="111356"/>
                    </a:cubicBezTo>
                    <a:cubicBezTo>
                      <a:pt x="255105" y="111356"/>
                      <a:pt x="242970" y="99221"/>
                      <a:pt x="230835" y="84052"/>
                    </a:cubicBezTo>
                    <a:cubicBezTo>
                      <a:pt x="215667" y="65850"/>
                      <a:pt x="194430" y="53715"/>
                      <a:pt x="170161" y="44614"/>
                    </a:cubicBezTo>
                    <a:cubicBezTo>
                      <a:pt x="173195" y="56749"/>
                      <a:pt x="164093" y="71917"/>
                      <a:pt x="151959" y="65850"/>
                    </a:cubicBezTo>
                    <a:cubicBezTo>
                      <a:pt x="136790" y="56749"/>
                      <a:pt x="124656" y="50682"/>
                      <a:pt x="112521" y="35513"/>
                    </a:cubicBezTo>
                    <a:cubicBezTo>
                      <a:pt x="106453" y="26412"/>
                      <a:pt x="109487" y="11243"/>
                      <a:pt x="121622" y="8210"/>
                    </a:cubicBezTo>
                    <a:cubicBezTo>
                      <a:pt x="176229" y="2142"/>
                      <a:pt x="215667" y="26412"/>
                      <a:pt x="255105" y="62816"/>
                    </a:cubicBezTo>
                    <a:cubicBezTo>
                      <a:pt x="276341" y="81019"/>
                      <a:pt x="300610" y="111356"/>
                      <a:pt x="267240" y="135625"/>
                    </a:cubicBezTo>
                    <a:cubicBezTo>
                      <a:pt x="233869" y="159895"/>
                      <a:pt x="170161" y="141693"/>
                      <a:pt x="136790" y="129558"/>
                    </a:cubicBezTo>
                    <a:cubicBezTo>
                      <a:pt x="82184" y="111356"/>
                      <a:pt x="39712" y="74951"/>
                      <a:pt x="3307" y="29445"/>
                    </a:cubicBezTo>
                    <a:cubicBezTo>
                      <a:pt x="-8827" y="11243"/>
                      <a:pt x="15442" y="-9993"/>
                      <a:pt x="27577" y="5176"/>
                    </a:cubicBez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DED9F09C-637D-433C-955B-E5627F7FE02B}"/>
                  </a:ext>
                </a:extLst>
              </p:cNvPr>
              <p:cNvSpPr/>
              <p:nvPr/>
            </p:nvSpPr>
            <p:spPr>
              <a:xfrm>
                <a:off x="16063951" y="3678156"/>
                <a:ext cx="691241" cy="276280"/>
              </a:xfrm>
              <a:custGeom>
                <a:avLst/>
                <a:gdLst>
                  <a:gd name="connsiteX0" fmla="*/ 17100 w 691241"/>
                  <a:gd name="connsiteY0" fmla="*/ 0 h 276280"/>
                  <a:gd name="connsiteX1" fmla="*/ 114179 w 691241"/>
                  <a:gd name="connsiteY1" fmla="*/ 6068 h 276280"/>
                  <a:gd name="connsiteX2" fmla="*/ 111145 w 691241"/>
                  <a:gd name="connsiteY2" fmla="*/ 39438 h 276280"/>
                  <a:gd name="connsiteX3" fmla="*/ 47437 w 691241"/>
                  <a:gd name="connsiteY3" fmla="*/ 33371 h 276280"/>
                  <a:gd name="connsiteX4" fmla="*/ 202156 w 691241"/>
                  <a:gd name="connsiteY4" fmla="*/ 97079 h 276280"/>
                  <a:gd name="connsiteX5" fmla="*/ 365976 w 691241"/>
                  <a:gd name="connsiteY5" fmla="*/ 133483 h 276280"/>
                  <a:gd name="connsiteX6" fmla="*/ 681481 w 691241"/>
                  <a:gd name="connsiteY6" fmla="*/ 245730 h 276280"/>
                  <a:gd name="connsiteX7" fmla="*/ 669347 w 691241"/>
                  <a:gd name="connsiteY7" fmla="*/ 276067 h 276280"/>
                  <a:gd name="connsiteX8" fmla="*/ 478224 w 691241"/>
                  <a:gd name="connsiteY8" fmla="*/ 203259 h 276280"/>
                  <a:gd name="connsiteX9" fmla="*/ 281033 w 691241"/>
                  <a:gd name="connsiteY9" fmla="*/ 151685 h 276280"/>
                  <a:gd name="connsiteX10" fmla="*/ 77774 w 691241"/>
                  <a:gd name="connsiteY10" fmla="*/ 87978 h 276280"/>
                  <a:gd name="connsiteX11" fmla="*/ 1931 w 691241"/>
                  <a:gd name="connsiteY11" fmla="*/ 24270 h 276280"/>
                  <a:gd name="connsiteX12" fmla="*/ 17100 w 691241"/>
                  <a:gd name="connsiteY12" fmla="*/ 0 h 276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91241" h="276280">
                    <a:moveTo>
                      <a:pt x="17100" y="0"/>
                    </a:moveTo>
                    <a:cubicBezTo>
                      <a:pt x="50471" y="0"/>
                      <a:pt x="80808" y="3034"/>
                      <a:pt x="114179" y="6068"/>
                    </a:cubicBezTo>
                    <a:cubicBezTo>
                      <a:pt x="132381" y="9101"/>
                      <a:pt x="129347" y="39438"/>
                      <a:pt x="111145" y="39438"/>
                    </a:cubicBezTo>
                    <a:cubicBezTo>
                      <a:pt x="89908" y="36405"/>
                      <a:pt x="68673" y="36405"/>
                      <a:pt x="47437" y="33371"/>
                    </a:cubicBezTo>
                    <a:cubicBezTo>
                      <a:pt x="83842" y="69775"/>
                      <a:pt x="159684" y="84944"/>
                      <a:pt x="202156" y="97079"/>
                    </a:cubicBezTo>
                    <a:cubicBezTo>
                      <a:pt x="256762" y="115281"/>
                      <a:pt x="311370" y="124382"/>
                      <a:pt x="365976" y="133483"/>
                    </a:cubicBezTo>
                    <a:cubicBezTo>
                      <a:pt x="478224" y="154719"/>
                      <a:pt x="569235" y="221461"/>
                      <a:pt x="681481" y="245730"/>
                    </a:cubicBezTo>
                    <a:cubicBezTo>
                      <a:pt x="699684" y="248764"/>
                      <a:pt x="690583" y="279101"/>
                      <a:pt x="669347" y="276067"/>
                    </a:cubicBezTo>
                    <a:cubicBezTo>
                      <a:pt x="599572" y="260899"/>
                      <a:pt x="541932" y="230562"/>
                      <a:pt x="478224" y="203259"/>
                    </a:cubicBezTo>
                    <a:cubicBezTo>
                      <a:pt x="414515" y="175955"/>
                      <a:pt x="347774" y="166854"/>
                      <a:pt x="281033" y="151685"/>
                    </a:cubicBezTo>
                    <a:cubicBezTo>
                      <a:pt x="211257" y="136517"/>
                      <a:pt x="144516" y="115281"/>
                      <a:pt x="77774" y="87978"/>
                    </a:cubicBezTo>
                    <a:cubicBezTo>
                      <a:pt x="44403" y="72809"/>
                      <a:pt x="17100" y="60674"/>
                      <a:pt x="1931" y="24270"/>
                    </a:cubicBezTo>
                    <a:cubicBezTo>
                      <a:pt x="-4136" y="12135"/>
                      <a:pt x="4965" y="0"/>
                      <a:pt x="17100" y="0"/>
                    </a:cubicBez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60000B07-9BA7-4D99-8A84-62D46D405C48}"/>
                  </a:ext>
                </a:extLst>
              </p:cNvPr>
              <p:cNvSpPr/>
              <p:nvPr/>
            </p:nvSpPr>
            <p:spPr>
              <a:xfrm>
                <a:off x="15817118" y="3575010"/>
                <a:ext cx="208963" cy="124388"/>
              </a:xfrm>
              <a:custGeom>
                <a:avLst/>
                <a:gdLst>
                  <a:gd name="connsiteX0" fmla="*/ 15169 w 208963"/>
                  <a:gd name="connsiteY0" fmla="*/ 0 h 124388"/>
                  <a:gd name="connsiteX1" fmla="*/ 87977 w 208963"/>
                  <a:gd name="connsiteY1" fmla="*/ 39438 h 124388"/>
                  <a:gd name="connsiteX2" fmla="*/ 203258 w 208963"/>
                  <a:gd name="connsiteY2" fmla="*/ 94045 h 124388"/>
                  <a:gd name="connsiteX3" fmla="*/ 185055 w 208963"/>
                  <a:gd name="connsiteY3" fmla="*/ 121348 h 124388"/>
                  <a:gd name="connsiteX4" fmla="*/ 60674 w 208963"/>
                  <a:gd name="connsiteY4" fmla="*/ 63708 h 124388"/>
                  <a:gd name="connsiteX5" fmla="*/ 0 w 208963"/>
                  <a:gd name="connsiteY5" fmla="*/ 39438 h 124388"/>
                  <a:gd name="connsiteX6" fmla="*/ 15169 w 208963"/>
                  <a:gd name="connsiteY6" fmla="*/ 0 h 124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8963" h="124388">
                    <a:moveTo>
                      <a:pt x="15169" y="0"/>
                    </a:moveTo>
                    <a:cubicBezTo>
                      <a:pt x="42472" y="12135"/>
                      <a:pt x="57640" y="30337"/>
                      <a:pt x="87977" y="39438"/>
                    </a:cubicBezTo>
                    <a:cubicBezTo>
                      <a:pt x="133483" y="51573"/>
                      <a:pt x="166854" y="69775"/>
                      <a:pt x="203258" y="94045"/>
                    </a:cubicBezTo>
                    <a:cubicBezTo>
                      <a:pt x="218426" y="106180"/>
                      <a:pt x="200224" y="133483"/>
                      <a:pt x="185055" y="121348"/>
                    </a:cubicBezTo>
                    <a:cubicBezTo>
                      <a:pt x="145618" y="91011"/>
                      <a:pt x="106180" y="78876"/>
                      <a:pt x="60674" y="63708"/>
                    </a:cubicBezTo>
                    <a:cubicBezTo>
                      <a:pt x="36404" y="57640"/>
                      <a:pt x="21235" y="51573"/>
                      <a:pt x="0" y="39438"/>
                    </a:cubicBezTo>
                    <a:lnTo>
                      <a:pt x="15169" y="0"/>
                    </a:ln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16E141F8-8402-40EB-93CC-7F01B36ED5B7}"/>
                  </a:ext>
                </a:extLst>
              </p:cNvPr>
              <p:cNvSpPr/>
              <p:nvPr/>
            </p:nvSpPr>
            <p:spPr>
              <a:xfrm>
                <a:off x="15762511" y="3708493"/>
                <a:ext cx="314304" cy="175070"/>
              </a:xfrm>
              <a:custGeom>
                <a:avLst/>
                <a:gdLst>
                  <a:gd name="connsiteX0" fmla="*/ 18202 w 314304"/>
                  <a:gd name="connsiteY0" fmla="*/ 0 h 175070"/>
                  <a:gd name="connsiteX1" fmla="*/ 69776 w 314304"/>
                  <a:gd name="connsiteY1" fmla="*/ 12135 h 175070"/>
                  <a:gd name="connsiteX2" fmla="*/ 312472 w 314304"/>
                  <a:gd name="connsiteY2" fmla="*/ 151685 h 175070"/>
                  <a:gd name="connsiteX3" fmla="*/ 285168 w 314304"/>
                  <a:gd name="connsiteY3" fmla="*/ 166854 h 175070"/>
                  <a:gd name="connsiteX4" fmla="*/ 91011 w 314304"/>
                  <a:gd name="connsiteY4" fmla="*/ 48539 h 175070"/>
                  <a:gd name="connsiteX5" fmla="*/ 0 w 314304"/>
                  <a:gd name="connsiteY5" fmla="*/ 36405 h 175070"/>
                  <a:gd name="connsiteX6" fmla="*/ 18202 w 314304"/>
                  <a:gd name="connsiteY6" fmla="*/ 0 h 175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4304" h="175070">
                    <a:moveTo>
                      <a:pt x="18202" y="0"/>
                    </a:moveTo>
                    <a:cubicBezTo>
                      <a:pt x="39439" y="6068"/>
                      <a:pt x="48540" y="9101"/>
                      <a:pt x="69776" y="12135"/>
                    </a:cubicBezTo>
                    <a:cubicBezTo>
                      <a:pt x="182022" y="30337"/>
                      <a:pt x="257865" y="39438"/>
                      <a:pt x="312472" y="151685"/>
                    </a:cubicBezTo>
                    <a:cubicBezTo>
                      <a:pt x="321573" y="169888"/>
                      <a:pt x="294270" y="185056"/>
                      <a:pt x="285168" y="166854"/>
                    </a:cubicBezTo>
                    <a:cubicBezTo>
                      <a:pt x="239663" y="78876"/>
                      <a:pt x="182022" y="63708"/>
                      <a:pt x="91011" y="48539"/>
                    </a:cubicBezTo>
                    <a:cubicBezTo>
                      <a:pt x="54607" y="42472"/>
                      <a:pt x="33371" y="45506"/>
                      <a:pt x="0" y="36405"/>
                    </a:cubicBezTo>
                    <a:lnTo>
                      <a:pt x="18202" y="0"/>
                    </a:ln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A5955A07-8AC8-40D0-B0BD-FEBE1F69CBC3}"/>
                  </a:ext>
                </a:extLst>
              </p:cNvPr>
              <p:cNvSpPr/>
              <p:nvPr/>
            </p:nvSpPr>
            <p:spPr>
              <a:xfrm>
                <a:off x="15852715" y="3790037"/>
                <a:ext cx="339438" cy="154082"/>
              </a:xfrm>
              <a:custGeom>
                <a:avLst/>
                <a:gdLst>
                  <a:gd name="connsiteX0" fmla="*/ 9909 w 339438"/>
                  <a:gd name="connsiteY0" fmla="*/ 12501 h 154082"/>
                  <a:gd name="connsiteX1" fmla="*/ 106987 w 339438"/>
                  <a:gd name="connsiteY1" fmla="*/ 15535 h 154082"/>
                  <a:gd name="connsiteX2" fmla="*/ 94852 w 339438"/>
                  <a:gd name="connsiteY2" fmla="*/ 45872 h 154082"/>
                  <a:gd name="connsiteX3" fmla="*/ 31144 w 339438"/>
                  <a:gd name="connsiteY3" fmla="*/ 24636 h 154082"/>
                  <a:gd name="connsiteX4" fmla="*/ 64515 w 339438"/>
                  <a:gd name="connsiteY4" fmla="*/ 45872 h 154082"/>
                  <a:gd name="connsiteX5" fmla="*/ 134290 w 339438"/>
                  <a:gd name="connsiteY5" fmla="*/ 85310 h 154082"/>
                  <a:gd name="connsiteX6" fmla="*/ 322380 w 339438"/>
                  <a:gd name="connsiteY6" fmla="*/ 106546 h 154082"/>
                  <a:gd name="connsiteX7" fmla="*/ 328448 w 339438"/>
                  <a:gd name="connsiteY7" fmla="*/ 136883 h 154082"/>
                  <a:gd name="connsiteX8" fmla="*/ 143392 w 339438"/>
                  <a:gd name="connsiteY8" fmla="*/ 127782 h 154082"/>
                  <a:gd name="connsiteX9" fmla="*/ 31144 w 339438"/>
                  <a:gd name="connsiteY9" fmla="*/ 61040 h 154082"/>
                  <a:gd name="connsiteX10" fmla="*/ 807 w 339438"/>
                  <a:gd name="connsiteY10" fmla="*/ 27669 h 154082"/>
                  <a:gd name="connsiteX11" fmla="*/ 9909 w 339438"/>
                  <a:gd name="connsiteY11" fmla="*/ 12501 h 154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9438" h="154082">
                    <a:moveTo>
                      <a:pt x="9909" y="12501"/>
                    </a:moveTo>
                    <a:cubicBezTo>
                      <a:pt x="40246" y="-8735"/>
                      <a:pt x="76650" y="366"/>
                      <a:pt x="106987" y="15535"/>
                    </a:cubicBezTo>
                    <a:cubicBezTo>
                      <a:pt x="125189" y="24636"/>
                      <a:pt x="113055" y="54973"/>
                      <a:pt x="94852" y="45872"/>
                    </a:cubicBezTo>
                    <a:cubicBezTo>
                      <a:pt x="76650" y="36771"/>
                      <a:pt x="55414" y="27669"/>
                      <a:pt x="31144" y="24636"/>
                    </a:cubicBezTo>
                    <a:cubicBezTo>
                      <a:pt x="43279" y="30703"/>
                      <a:pt x="52380" y="39804"/>
                      <a:pt x="64515" y="45872"/>
                    </a:cubicBezTo>
                    <a:cubicBezTo>
                      <a:pt x="85751" y="61040"/>
                      <a:pt x="110021" y="73175"/>
                      <a:pt x="134290" y="85310"/>
                    </a:cubicBezTo>
                    <a:cubicBezTo>
                      <a:pt x="201032" y="124748"/>
                      <a:pt x="249571" y="130816"/>
                      <a:pt x="322380" y="106546"/>
                    </a:cubicBezTo>
                    <a:cubicBezTo>
                      <a:pt x="340583" y="100479"/>
                      <a:pt x="346650" y="130816"/>
                      <a:pt x="328448" y="136883"/>
                    </a:cubicBezTo>
                    <a:cubicBezTo>
                      <a:pt x="258672" y="161153"/>
                      <a:pt x="207100" y="161153"/>
                      <a:pt x="143392" y="127782"/>
                    </a:cubicBezTo>
                    <a:cubicBezTo>
                      <a:pt x="106987" y="106546"/>
                      <a:pt x="67549" y="85310"/>
                      <a:pt x="31144" y="61040"/>
                    </a:cubicBezTo>
                    <a:cubicBezTo>
                      <a:pt x="15976" y="51939"/>
                      <a:pt x="3841" y="45872"/>
                      <a:pt x="807" y="27669"/>
                    </a:cubicBezTo>
                    <a:cubicBezTo>
                      <a:pt x="-2227" y="24636"/>
                      <a:pt x="3841" y="18569"/>
                      <a:pt x="9909" y="12501"/>
                    </a:cubicBez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6F489621-B3A0-4C83-A0B3-D7F82C2D2543}"/>
                </a:ext>
              </a:extLst>
            </p:cNvPr>
            <p:cNvSpPr/>
            <p:nvPr/>
          </p:nvSpPr>
          <p:spPr>
            <a:xfrm>
              <a:off x="16563410" y="2998606"/>
              <a:ext cx="634728" cy="1101235"/>
            </a:xfrm>
            <a:custGeom>
              <a:avLst/>
              <a:gdLst>
                <a:gd name="connsiteX0" fmla="*/ 0 w 634728"/>
                <a:gd name="connsiteY0" fmla="*/ 160787 h 1101235"/>
                <a:gd name="connsiteX1" fmla="*/ 361012 w 634728"/>
                <a:gd name="connsiteY1" fmla="*/ 624944 h 1101235"/>
                <a:gd name="connsiteX2" fmla="*/ 3034 w 634728"/>
                <a:gd name="connsiteY2" fmla="*/ 1019326 h 1101235"/>
                <a:gd name="connsiteX3" fmla="*/ 142585 w 634728"/>
                <a:gd name="connsiteY3" fmla="*/ 1101236 h 1101235"/>
                <a:gd name="connsiteX4" fmla="*/ 631012 w 634728"/>
                <a:gd name="connsiteY4" fmla="*/ 637079 h 1101235"/>
                <a:gd name="connsiteX5" fmla="*/ 236630 w 634728"/>
                <a:gd name="connsiteY5" fmla="*/ 0 h 1101235"/>
                <a:gd name="connsiteX6" fmla="*/ 0 w 634728"/>
                <a:gd name="connsiteY6" fmla="*/ 160787 h 1101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4728" h="1101235">
                  <a:moveTo>
                    <a:pt x="0" y="160787"/>
                  </a:moveTo>
                  <a:lnTo>
                    <a:pt x="361012" y="624944"/>
                  </a:lnTo>
                  <a:lnTo>
                    <a:pt x="3034" y="1019326"/>
                  </a:lnTo>
                  <a:lnTo>
                    <a:pt x="142585" y="1101236"/>
                  </a:lnTo>
                  <a:cubicBezTo>
                    <a:pt x="142585" y="1101236"/>
                    <a:pt x="582472" y="755393"/>
                    <a:pt x="631012" y="637079"/>
                  </a:cubicBezTo>
                  <a:cubicBezTo>
                    <a:pt x="679551" y="518764"/>
                    <a:pt x="236630" y="0"/>
                    <a:pt x="236630" y="0"/>
                  </a:cubicBezTo>
                  <a:lnTo>
                    <a:pt x="0" y="160787"/>
                  </a:ln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B1FD4316-ED24-4EE6-AFA2-A35A16C7138B}"/>
                </a:ext>
              </a:extLst>
            </p:cNvPr>
            <p:cNvSpPr/>
            <p:nvPr/>
          </p:nvSpPr>
          <p:spPr>
            <a:xfrm>
              <a:off x="16555995" y="3124673"/>
              <a:ext cx="423033" cy="504943"/>
            </a:xfrm>
            <a:custGeom>
              <a:avLst/>
              <a:gdLst>
                <a:gd name="connsiteX0" fmla="*/ 368427 w 423033"/>
                <a:gd name="connsiteY0" fmla="*/ 504944 h 504943"/>
                <a:gd name="connsiteX1" fmla="*/ 365393 w 423033"/>
                <a:gd name="connsiteY1" fmla="*/ 501910 h 504943"/>
                <a:gd name="connsiteX2" fmla="*/ 1348 w 423033"/>
                <a:gd name="connsiteY2" fmla="*/ 10449 h 504943"/>
                <a:gd name="connsiteX3" fmla="*/ 1348 w 423033"/>
                <a:gd name="connsiteY3" fmla="*/ 1348 h 504943"/>
                <a:gd name="connsiteX4" fmla="*/ 10449 w 423033"/>
                <a:gd name="connsiteY4" fmla="*/ 1348 h 504943"/>
                <a:gd name="connsiteX5" fmla="*/ 371460 w 423033"/>
                <a:gd name="connsiteY5" fmla="*/ 489775 h 504943"/>
                <a:gd name="connsiteX6" fmla="*/ 416966 w 423033"/>
                <a:gd name="connsiteY6" fmla="*/ 480674 h 504943"/>
                <a:gd name="connsiteX7" fmla="*/ 423034 w 423033"/>
                <a:gd name="connsiteY7" fmla="*/ 483708 h 504943"/>
                <a:gd name="connsiteX8" fmla="*/ 420000 w 423033"/>
                <a:gd name="connsiteY8" fmla="*/ 489775 h 504943"/>
                <a:gd name="connsiteX9" fmla="*/ 368427 w 423033"/>
                <a:gd name="connsiteY9" fmla="*/ 504944 h 504943"/>
                <a:gd name="connsiteX10" fmla="*/ 368427 w 423033"/>
                <a:gd name="connsiteY10" fmla="*/ 504944 h 504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3033" h="504943">
                  <a:moveTo>
                    <a:pt x="368427" y="504944"/>
                  </a:moveTo>
                  <a:cubicBezTo>
                    <a:pt x="365393" y="504944"/>
                    <a:pt x="365393" y="504944"/>
                    <a:pt x="365393" y="501910"/>
                  </a:cubicBezTo>
                  <a:cubicBezTo>
                    <a:pt x="298651" y="416966"/>
                    <a:pt x="4382" y="13483"/>
                    <a:pt x="1348" y="10449"/>
                  </a:cubicBezTo>
                  <a:cubicBezTo>
                    <a:pt x="-1685" y="7416"/>
                    <a:pt x="1348" y="4382"/>
                    <a:pt x="1348" y="1348"/>
                  </a:cubicBezTo>
                  <a:cubicBezTo>
                    <a:pt x="4382" y="-1685"/>
                    <a:pt x="7415" y="1348"/>
                    <a:pt x="10449" y="1348"/>
                  </a:cubicBezTo>
                  <a:cubicBezTo>
                    <a:pt x="13483" y="4382"/>
                    <a:pt x="301685" y="401798"/>
                    <a:pt x="371460" y="489775"/>
                  </a:cubicBezTo>
                  <a:cubicBezTo>
                    <a:pt x="380562" y="489775"/>
                    <a:pt x="404831" y="486742"/>
                    <a:pt x="416966" y="480674"/>
                  </a:cubicBezTo>
                  <a:cubicBezTo>
                    <a:pt x="420000" y="480674"/>
                    <a:pt x="423034" y="480674"/>
                    <a:pt x="423034" y="483708"/>
                  </a:cubicBezTo>
                  <a:cubicBezTo>
                    <a:pt x="423034" y="486742"/>
                    <a:pt x="423034" y="489775"/>
                    <a:pt x="420000" y="489775"/>
                  </a:cubicBezTo>
                  <a:cubicBezTo>
                    <a:pt x="401797" y="501910"/>
                    <a:pt x="371460" y="504944"/>
                    <a:pt x="368427" y="504944"/>
                  </a:cubicBezTo>
                  <a:cubicBezTo>
                    <a:pt x="368427" y="504944"/>
                    <a:pt x="368427" y="504944"/>
                    <a:pt x="368427" y="504944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BB8CA017-3198-409E-BE08-A4939F2B1154}"/>
                </a:ext>
              </a:extLst>
            </p:cNvPr>
            <p:cNvSpPr/>
            <p:nvPr/>
          </p:nvSpPr>
          <p:spPr>
            <a:xfrm>
              <a:off x="16350823" y="2707832"/>
              <a:ext cx="546294" cy="575942"/>
            </a:xfrm>
            <a:custGeom>
              <a:avLst/>
              <a:gdLst>
                <a:gd name="connsiteX0" fmla="*/ 546294 w 546294"/>
                <a:gd name="connsiteY0" fmla="*/ 333246 h 575942"/>
                <a:gd name="connsiteX1" fmla="*/ 42699 w 546294"/>
                <a:gd name="connsiteY1" fmla="*/ 11673 h 575942"/>
                <a:gd name="connsiteX2" fmla="*/ 203486 w 546294"/>
                <a:gd name="connsiteY2" fmla="*/ 575942 h 575942"/>
                <a:gd name="connsiteX3" fmla="*/ 546294 w 546294"/>
                <a:gd name="connsiteY3" fmla="*/ 333246 h 575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6294" h="575942">
                  <a:moveTo>
                    <a:pt x="546294" y="333246"/>
                  </a:moveTo>
                  <a:cubicBezTo>
                    <a:pt x="546294" y="333246"/>
                    <a:pt x="224722" y="-73271"/>
                    <a:pt x="42699" y="11673"/>
                  </a:cubicBezTo>
                  <a:cubicBezTo>
                    <a:pt x="-112020" y="84482"/>
                    <a:pt x="203486" y="575942"/>
                    <a:pt x="203486" y="575942"/>
                  </a:cubicBezTo>
                  <a:cubicBezTo>
                    <a:pt x="203486" y="575942"/>
                    <a:pt x="418879" y="506167"/>
                    <a:pt x="546294" y="333246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4F4E82F8-0DBE-43BD-89F1-D73E7AD3F66A}"/>
                </a:ext>
              </a:extLst>
            </p:cNvPr>
            <p:cNvSpPr/>
            <p:nvPr/>
          </p:nvSpPr>
          <p:spPr>
            <a:xfrm>
              <a:off x="16350238" y="2717229"/>
              <a:ext cx="335777" cy="581713"/>
            </a:xfrm>
            <a:custGeom>
              <a:avLst/>
              <a:gdLst>
                <a:gd name="connsiteX0" fmla="*/ 201037 w 335777"/>
                <a:gd name="connsiteY0" fmla="*/ 575646 h 581713"/>
                <a:gd name="connsiteX1" fmla="*/ 198003 w 335777"/>
                <a:gd name="connsiteY1" fmla="*/ 572612 h 581713"/>
                <a:gd name="connsiteX2" fmla="*/ 34183 w 335777"/>
                <a:gd name="connsiteY2" fmla="*/ 254073 h 581713"/>
                <a:gd name="connsiteX3" fmla="*/ 40251 w 335777"/>
                <a:gd name="connsiteY3" fmla="*/ 2275 h 581713"/>
                <a:gd name="connsiteX4" fmla="*/ 49352 w 335777"/>
                <a:gd name="connsiteY4" fmla="*/ 2275 h 581713"/>
                <a:gd name="connsiteX5" fmla="*/ 49352 w 335777"/>
                <a:gd name="connsiteY5" fmla="*/ 11376 h 581713"/>
                <a:gd name="connsiteX6" fmla="*/ 46318 w 335777"/>
                <a:gd name="connsiteY6" fmla="*/ 251039 h 581713"/>
                <a:gd name="connsiteX7" fmla="*/ 207105 w 335777"/>
                <a:gd name="connsiteY7" fmla="*/ 566545 h 581713"/>
                <a:gd name="connsiteX8" fmla="*/ 325420 w 335777"/>
                <a:gd name="connsiteY8" fmla="*/ 511938 h 581713"/>
                <a:gd name="connsiteX9" fmla="*/ 334520 w 335777"/>
                <a:gd name="connsiteY9" fmla="*/ 514972 h 581713"/>
                <a:gd name="connsiteX10" fmla="*/ 331487 w 335777"/>
                <a:gd name="connsiteY10" fmla="*/ 524073 h 581713"/>
                <a:gd name="connsiteX11" fmla="*/ 207105 w 335777"/>
                <a:gd name="connsiteY11" fmla="*/ 581713 h 581713"/>
                <a:gd name="connsiteX12" fmla="*/ 201037 w 335777"/>
                <a:gd name="connsiteY12" fmla="*/ 575646 h 58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5777" h="581713">
                  <a:moveTo>
                    <a:pt x="201037" y="575646"/>
                  </a:moveTo>
                  <a:lnTo>
                    <a:pt x="198003" y="572612"/>
                  </a:lnTo>
                  <a:cubicBezTo>
                    <a:pt x="198003" y="572612"/>
                    <a:pt x="110026" y="417893"/>
                    <a:pt x="34183" y="254073"/>
                  </a:cubicBezTo>
                  <a:cubicBezTo>
                    <a:pt x="-44693" y="87219"/>
                    <a:pt x="37217" y="5309"/>
                    <a:pt x="40251" y="2275"/>
                  </a:cubicBezTo>
                  <a:cubicBezTo>
                    <a:pt x="43285" y="-758"/>
                    <a:pt x="46318" y="-758"/>
                    <a:pt x="49352" y="2275"/>
                  </a:cubicBezTo>
                  <a:cubicBezTo>
                    <a:pt x="52386" y="5309"/>
                    <a:pt x="52386" y="8343"/>
                    <a:pt x="49352" y="11376"/>
                  </a:cubicBezTo>
                  <a:cubicBezTo>
                    <a:pt x="49352" y="11376"/>
                    <a:pt x="-26491" y="90253"/>
                    <a:pt x="46318" y="251039"/>
                  </a:cubicBezTo>
                  <a:cubicBezTo>
                    <a:pt x="116094" y="399691"/>
                    <a:pt x="194970" y="539242"/>
                    <a:pt x="207105" y="566545"/>
                  </a:cubicBezTo>
                  <a:cubicBezTo>
                    <a:pt x="222274" y="560478"/>
                    <a:pt x="279914" y="542275"/>
                    <a:pt x="325420" y="511938"/>
                  </a:cubicBezTo>
                  <a:cubicBezTo>
                    <a:pt x="328453" y="508904"/>
                    <a:pt x="331487" y="511938"/>
                    <a:pt x="334520" y="514972"/>
                  </a:cubicBezTo>
                  <a:cubicBezTo>
                    <a:pt x="337554" y="518006"/>
                    <a:pt x="334520" y="521039"/>
                    <a:pt x="331487" y="524073"/>
                  </a:cubicBezTo>
                  <a:cubicBezTo>
                    <a:pt x="276880" y="560478"/>
                    <a:pt x="207105" y="578680"/>
                    <a:pt x="207105" y="581713"/>
                  </a:cubicBezTo>
                  <a:lnTo>
                    <a:pt x="201037" y="575646"/>
                  </a:ln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A758E9C6-8593-4EE4-93DE-1DCD5E2CA5AB}"/>
                </a:ext>
              </a:extLst>
            </p:cNvPr>
            <p:cNvGrpSpPr/>
            <p:nvPr/>
          </p:nvGrpSpPr>
          <p:grpSpPr>
            <a:xfrm>
              <a:off x="16373328" y="3990451"/>
              <a:ext cx="337120" cy="294225"/>
              <a:chOff x="16373328" y="3990451"/>
              <a:chExt cx="337120" cy="294225"/>
            </a:xfrm>
          </p:grpSpPr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5922B532-548C-4A31-8453-46915D5956CE}"/>
                  </a:ext>
                </a:extLst>
              </p:cNvPr>
              <p:cNvSpPr/>
              <p:nvPr/>
            </p:nvSpPr>
            <p:spPr>
              <a:xfrm>
                <a:off x="16377871" y="3990451"/>
                <a:ext cx="332577" cy="294225"/>
              </a:xfrm>
              <a:custGeom>
                <a:avLst/>
                <a:gdLst>
                  <a:gd name="connsiteX0" fmla="*/ 325090 w 332577"/>
                  <a:gd name="connsiteY0" fmla="*/ 76020 h 294225"/>
                  <a:gd name="connsiteX1" fmla="*/ 234079 w 332577"/>
                  <a:gd name="connsiteY1" fmla="*/ 177 h 294225"/>
                  <a:gd name="connsiteX2" fmla="*/ 30821 w 332577"/>
                  <a:gd name="connsiteY2" fmla="*/ 133660 h 294225"/>
                  <a:gd name="connsiteX3" fmla="*/ 6551 w 332577"/>
                  <a:gd name="connsiteY3" fmla="*/ 194334 h 294225"/>
                  <a:gd name="connsiteX4" fmla="*/ 42955 w 332577"/>
                  <a:gd name="connsiteY4" fmla="*/ 212537 h 294225"/>
                  <a:gd name="connsiteX5" fmla="*/ 85427 w 332577"/>
                  <a:gd name="connsiteY5" fmla="*/ 251975 h 294225"/>
                  <a:gd name="connsiteX6" fmla="*/ 106664 w 332577"/>
                  <a:gd name="connsiteY6" fmla="*/ 279278 h 294225"/>
                  <a:gd name="connsiteX7" fmla="*/ 149135 w 332577"/>
                  <a:gd name="connsiteY7" fmla="*/ 270177 h 294225"/>
                  <a:gd name="connsiteX8" fmla="*/ 203742 w 332577"/>
                  <a:gd name="connsiteY8" fmla="*/ 285346 h 294225"/>
                  <a:gd name="connsiteX9" fmla="*/ 249247 w 332577"/>
                  <a:gd name="connsiteY9" fmla="*/ 209503 h 294225"/>
                  <a:gd name="connsiteX10" fmla="*/ 319023 w 332577"/>
                  <a:gd name="connsiteY10" fmla="*/ 127593 h 294225"/>
                  <a:gd name="connsiteX11" fmla="*/ 325090 w 332577"/>
                  <a:gd name="connsiteY11" fmla="*/ 76020 h 294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2577" h="294225">
                    <a:moveTo>
                      <a:pt x="325090" y="76020"/>
                    </a:moveTo>
                    <a:cubicBezTo>
                      <a:pt x="306888" y="33548"/>
                      <a:pt x="234079" y="-2857"/>
                      <a:pt x="234079" y="177"/>
                    </a:cubicBezTo>
                    <a:cubicBezTo>
                      <a:pt x="161270" y="36581"/>
                      <a:pt x="94528" y="60851"/>
                      <a:pt x="30821" y="133660"/>
                    </a:cubicBezTo>
                    <a:cubicBezTo>
                      <a:pt x="21719" y="145795"/>
                      <a:pt x="-14685" y="163997"/>
                      <a:pt x="6551" y="194334"/>
                    </a:cubicBezTo>
                    <a:cubicBezTo>
                      <a:pt x="12618" y="203435"/>
                      <a:pt x="24753" y="218604"/>
                      <a:pt x="42955" y="212537"/>
                    </a:cubicBezTo>
                    <a:cubicBezTo>
                      <a:pt x="36888" y="236806"/>
                      <a:pt x="73293" y="261076"/>
                      <a:pt x="85427" y="251975"/>
                    </a:cubicBezTo>
                    <a:cubicBezTo>
                      <a:pt x="85427" y="258042"/>
                      <a:pt x="97562" y="276244"/>
                      <a:pt x="106664" y="279278"/>
                    </a:cubicBezTo>
                    <a:cubicBezTo>
                      <a:pt x="124865" y="288379"/>
                      <a:pt x="137001" y="285346"/>
                      <a:pt x="149135" y="270177"/>
                    </a:cubicBezTo>
                    <a:cubicBezTo>
                      <a:pt x="158236" y="291413"/>
                      <a:pt x="182506" y="303548"/>
                      <a:pt x="203742" y="285346"/>
                    </a:cubicBezTo>
                    <a:cubicBezTo>
                      <a:pt x="231045" y="261076"/>
                      <a:pt x="224978" y="239840"/>
                      <a:pt x="249247" y="209503"/>
                    </a:cubicBezTo>
                    <a:cubicBezTo>
                      <a:pt x="270484" y="182199"/>
                      <a:pt x="294753" y="154896"/>
                      <a:pt x="319023" y="127593"/>
                    </a:cubicBezTo>
                    <a:cubicBezTo>
                      <a:pt x="334192" y="106357"/>
                      <a:pt x="337225" y="100289"/>
                      <a:pt x="325090" y="7602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F044128F-D951-482A-95A6-D066094BC585}"/>
                  </a:ext>
                </a:extLst>
              </p:cNvPr>
              <p:cNvSpPr/>
              <p:nvPr/>
            </p:nvSpPr>
            <p:spPr>
              <a:xfrm>
                <a:off x="16373328" y="4066471"/>
                <a:ext cx="115496" cy="142584"/>
              </a:xfrm>
              <a:custGeom>
                <a:avLst/>
                <a:gdLst>
                  <a:gd name="connsiteX0" fmla="*/ 47498 w 115496"/>
                  <a:gd name="connsiteY0" fmla="*/ 142584 h 142584"/>
                  <a:gd name="connsiteX1" fmla="*/ 47498 w 115496"/>
                  <a:gd name="connsiteY1" fmla="*/ 142584 h 142584"/>
                  <a:gd name="connsiteX2" fmla="*/ 5027 w 115496"/>
                  <a:gd name="connsiteY2" fmla="*/ 121348 h 142584"/>
                  <a:gd name="connsiteX3" fmla="*/ 1993 w 115496"/>
                  <a:gd name="connsiteY3" fmla="*/ 94045 h 142584"/>
                  <a:gd name="connsiteX4" fmla="*/ 105139 w 115496"/>
                  <a:gd name="connsiteY4" fmla="*/ 0 h 142584"/>
                  <a:gd name="connsiteX5" fmla="*/ 114239 w 115496"/>
                  <a:gd name="connsiteY5" fmla="*/ 3034 h 142584"/>
                  <a:gd name="connsiteX6" fmla="*/ 111207 w 115496"/>
                  <a:gd name="connsiteY6" fmla="*/ 12135 h 142584"/>
                  <a:gd name="connsiteX7" fmla="*/ 11094 w 115496"/>
                  <a:gd name="connsiteY7" fmla="*/ 100112 h 142584"/>
                  <a:gd name="connsiteX8" fmla="*/ 11094 w 115496"/>
                  <a:gd name="connsiteY8" fmla="*/ 118315 h 142584"/>
                  <a:gd name="connsiteX9" fmla="*/ 44465 w 115496"/>
                  <a:gd name="connsiteY9" fmla="*/ 136517 h 142584"/>
                  <a:gd name="connsiteX10" fmla="*/ 50532 w 115496"/>
                  <a:gd name="connsiteY10" fmla="*/ 142584 h 142584"/>
                  <a:gd name="connsiteX11" fmla="*/ 47498 w 115496"/>
                  <a:gd name="connsiteY11" fmla="*/ 142584 h 142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5496" h="142584">
                    <a:moveTo>
                      <a:pt x="47498" y="142584"/>
                    </a:moveTo>
                    <a:cubicBezTo>
                      <a:pt x="47498" y="142584"/>
                      <a:pt x="47498" y="142584"/>
                      <a:pt x="47498" y="142584"/>
                    </a:cubicBezTo>
                    <a:cubicBezTo>
                      <a:pt x="44465" y="142584"/>
                      <a:pt x="14127" y="139551"/>
                      <a:pt x="5027" y="121348"/>
                    </a:cubicBezTo>
                    <a:cubicBezTo>
                      <a:pt x="-1041" y="112247"/>
                      <a:pt x="-1041" y="103146"/>
                      <a:pt x="1993" y="94045"/>
                    </a:cubicBezTo>
                    <a:cubicBezTo>
                      <a:pt x="17161" y="48539"/>
                      <a:pt x="102105" y="0"/>
                      <a:pt x="105139" y="0"/>
                    </a:cubicBezTo>
                    <a:cubicBezTo>
                      <a:pt x="108173" y="0"/>
                      <a:pt x="111207" y="0"/>
                      <a:pt x="114239" y="3034"/>
                    </a:cubicBezTo>
                    <a:cubicBezTo>
                      <a:pt x="117273" y="6067"/>
                      <a:pt x="114239" y="9101"/>
                      <a:pt x="111207" y="12135"/>
                    </a:cubicBezTo>
                    <a:cubicBezTo>
                      <a:pt x="111207" y="12135"/>
                      <a:pt x="26262" y="60674"/>
                      <a:pt x="11094" y="100112"/>
                    </a:cubicBezTo>
                    <a:cubicBezTo>
                      <a:pt x="8060" y="106180"/>
                      <a:pt x="8060" y="112247"/>
                      <a:pt x="11094" y="118315"/>
                    </a:cubicBezTo>
                    <a:cubicBezTo>
                      <a:pt x="17161" y="130449"/>
                      <a:pt x="38397" y="133483"/>
                      <a:pt x="44465" y="136517"/>
                    </a:cubicBezTo>
                    <a:cubicBezTo>
                      <a:pt x="47498" y="136517"/>
                      <a:pt x="50532" y="139551"/>
                      <a:pt x="50532" y="142584"/>
                    </a:cubicBezTo>
                    <a:cubicBezTo>
                      <a:pt x="53565" y="139551"/>
                      <a:pt x="50532" y="142584"/>
                      <a:pt x="47498" y="14258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121BDF71-2AFA-4DEB-8927-3B08D028C580}"/>
                  </a:ext>
                </a:extLst>
              </p:cNvPr>
              <p:cNvSpPr/>
              <p:nvPr/>
            </p:nvSpPr>
            <p:spPr>
              <a:xfrm>
                <a:off x="16454955" y="4179476"/>
                <a:ext cx="94542" cy="50814"/>
              </a:xfrm>
              <a:custGeom>
                <a:avLst/>
                <a:gdLst>
                  <a:gd name="connsiteX0" fmla="*/ 87219 w 94542"/>
                  <a:gd name="connsiteY0" fmla="*/ 50815 h 50814"/>
                  <a:gd name="connsiteX1" fmla="*/ 87219 w 94542"/>
                  <a:gd name="connsiteY1" fmla="*/ 50815 h 50814"/>
                  <a:gd name="connsiteX2" fmla="*/ 2275 w 94542"/>
                  <a:gd name="connsiteY2" fmla="*/ 11376 h 50814"/>
                  <a:gd name="connsiteX3" fmla="*/ 2275 w 94542"/>
                  <a:gd name="connsiteY3" fmla="*/ 2275 h 50814"/>
                  <a:gd name="connsiteX4" fmla="*/ 11376 w 94542"/>
                  <a:gd name="connsiteY4" fmla="*/ 2275 h 50814"/>
                  <a:gd name="connsiteX5" fmla="*/ 90253 w 94542"/>
                  <a:gd name="connsiteY5" fmla="*/ 38680 h 50814"/>
                  <a:gd name="connsiteX6" fmla="*/ 93286 w 94542"/>
                  <a:gd name="connsiteY6" fmla="*/ 47781 h 50814"/>
                  <a:gd name="connsiteX7" fmla="*/ 87219 w 94542"/>
                  <a:gd name="connsiteY7" fmla="*/ 50815 h 50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4542" h="50814">
                    <a:moveTo>
                      <a:pt x="87219" y="50815"/>
                    </a:moveTo>
                    <a:cubicBezTo>
                      <a:pt x="84185" y="50815"/>
                      <a:pt x="84185" y="50815"/>
                      <a:pt x="87219" y="50815"/>
                    </a:cubicBezTo>
                    <a:cubicBezTo>
                      <a:pt x="81151" y="50815"/>
                      <a:pt x="20477" y="26545"/>
                      <a:pt x="2275" y="11376"/>
                    </a:cubicBezTo>
                    <a:cubicBezTo>
                      <a:pt x="-758" y="8343"/>
                      <a:pt x="-758" y="5309"/>
                      <a:pt x="2275" y="2275"/>
                    </a:cubicBezTo>
                    <a:cubicBezTo>
                      <a:pt x="5309" y="-758"/>
                      <a:pt x="8343" y="-758"/>
                      <a:pt x="11376" y="2275"/>
                    </a:cubicBezTo>
                    <a:cubicBezTo>
                      <a:pt x="23511" y="14410"/>
                      <a:pt x="72051" y="32612"/>
                      <a:pt x="90253" y="38680"/>
                    </a:cubicBezTo>
                    <a:cubicBezTo>
                      <a:pt x="93286" y="38680"/>
                      <a:pt x="96320" y="44747"/>
                      <a:pt x="93286" y="47781"/>
                    </a:cubicBezTo>
                    <a:cubicBezTo>
                      <a:pt x="90253" y="47781"/>
                      <a:pt x="87219" y="50815"/>
                      <a:pt x="87219" y="5081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89" name="图形 1">
            <a:extLst>
              <a:ext uri="{FF2B5EF4-FFF2-40B4-BE49-F238E27FC236}">
                <a16:creationId xmlns:a16="http://schemas.microsoft.com/office/drawing/2014/main" id="{5D0F9DC9-858E-416D-81A3-40ED8A1D3C70}"/>
              </a:ext>
            </a:extLst>
          </p:cNvPr>
          <p:cNvGrpSpPr/>
          <p:nvPr/>
        </p:nvGrpSpPr>
        <p:grpSpPr>
          <a:xfrm>
            <a:off x="2413409" y="2107615"/>
            <a:ext cx="3698939" cy="4735398"/>
            <a:chOff x="10053073" y="1985566"/>
            <a:chExt cx="3698939" cy="4735398"/>
          </a:xfrm>
        </p:grpSpPr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5A521D83-583B-47C5-BE14-8E32F7866D8D}"/>
                </a:ext>
              </a:extLst>
            </p:cNvPr>
            <p:cNvSpPr/>
            <p:nvPr/>
          </p:nvSpPr>
          <p:spPr>
            <a:xfrm>
              <a:off x="12376638" y="3917819"/>
              <a:ext cx="467349" cy="2651460"/>
            </a:xfrm>
            <a:custGeom>
              <a:avLst/>
              <a:gdLst>
                <a:gd name="connsiteX0" fmla="*/ 358233 w 467349"/>
                <a:gd name="connsiteY0" fmla="*/ 2645393 h 2651460"/>
                <a:gd name="connsiteX1" fmla="*/ 358233 w 467349"/>
                <a:gd name="connsiteY1" fmla="*/ 2645393 h 2651460"/>
                <a:gd name="connsiteX2" fmla="*/ 194413 w 467349"/>
                <a:gd name="connsiteY2" fmla="*/ 2166067 h 2651460"/>
                <a:gd name="connsiteX3" fmla="*/ 185312 w 467349"/>
                <a:gd name="connsiteY3" fmla="*/ 1874832 h 2651460"/>
                <a:gd name="connsiteX4" fmla="*/ 103402 w 467349"/>
                <a:gd name="connsiteY4" fmla="*/ 1629101 h 2651460"/>
                <a:gd name="connsiteX5" fmla="*/ 3289 w 467349"/>
                <a:gd name="connsiteY5" fmla="*/ 1201348 h 2651460"/>
                <a:gd name="connsiteX6" fmla="*/ 221717 w 467349"/>
                <a:gd name="connsiteY6" fmla="*/ 767528 h 2651460"/>
                <a:gd name="connsiteX7" fmla="*/ 385537 w 467349"/>
                <a:gd name="connsiteY7" fmla="*/ 497528 h 2651460"/>
                <a:gd name="connsiteX8" fmla="*/ 452279 w 467349"/>
                <a:gd name="connsiteY8" fmla="*/ 6067 h 2651460"/>
                <a:gd name="connsiteX9" fmla="*/ 458345 w 467349"/>
                <a:gd name="connsiteY9" fmla="*/ 0 h 2651460"/>
                <a:gd name="connsiteX10" fmla="*/ 464413 w 467349"/>
                <a:gd name="connsiteY10" fmla="*/ 6067 h 2651460"/>
                <a:gd name="connsiteX11" fmla="*/ 397671 w 467349"/>
                <a:gd name="connsiteY11" fmla="*/ 503595 h 2651460"/>
                <a:gd name="connsiteX12" fmla="*/ 233851 w 467349"/>
                <a:gd name="connsiteY12" fmla="*/ 773596 h 2651460"/>
                <a:gd name="connsiteX13" fmla="*/ 18458 w 467349"/>
                <a:gd name="connsiteY13" fmla="*/ 1204382 h 2651460"/>
                <a:gd name="connsiteX14" fmla="*/ 115537 w 467349"/>
                <a:gd name="connsiteY14" fmla="*/ 1629101 h 2651460"/>
                <a:gd name="connsiteX15" fmla="*/ 200480 w 467349"/>
                <a:gd name="connsiteY15" fmla="*/ 1877865 h 2651460"/>
                <a:gd name="connsiteX16" fmla="*/ 209582 w 467349"/>
                <a:gd name="connsiteY16" fmla="*/ 2172135 h 2651460"/>
                <a:gd name="connsiteX17" fmla="*/ 367334 w 467349"/>
                <a:gd name="connsiteY17" fmla="*/ 2642360 h 2651460"/>
                <a:gd name="connsiteX18" fmla="*/ 370368 w 467349"/>
                <a:gd name="connsiteY18" fmla="*/ 2651461 h 2651460"/>
                <a:gd name="connsiteX19" fmla="*/ 358233 w 467349"/>
                <a:gd name="connsiteY19" fmla="*/ 2645393 h 265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67349" h="2651460">
                  <a:moveTo>
                    <a:pt x="358233" y="2645393"/>
                  </a:moveTo>
                  <a:cubicBezTo>
                    <a:pt x="358233" y="2645393"/>
                    <a:pt x="355199" y="2645393"/>
                    <a:pt x="358233" y="2645393"/>
                  </a:cubicBezTo>
                  <a:cubicBezTo>
                    <a:pt x="179245" y="2548315"/>
                    <a:pt x="185312" y="2363258"/>
                    <a:pt x="194413" y="2166067"/>
                  </a:cubicBezTo>
                  <a:cubicBezTo>
                    <a:pt x="197446" y="2068989"/>
                    <a:pt x="203514" y="1968876"/>
                    <a:pt x="185312" y="1874832"/>
                  </a:cubicBezTo>
                  <a:cubicBezTo>
                    <a:pt x="173177" y="1795955"/>
                    <a:pt x="139806" y="1717079"/>
                    <a:pt x="103402" y="1629101"/>
                  </a:cubicBezTo>
                  <a:cubicBezTo>
                    <a:pt x="45761" y="1489551"/>
                    <a:pt x="-14913" y="1346966"/>
                    <a:pt x="3289" y="1201348"/>
                  </a:cubicBezTo>
                  <a:cubicBezTo>
                    <a:pt x="21492" y="1055730"/>
                    <a:pt x="124637" y="910112"/>
                    <a:pt x="221717" y="767528"/>
                  </a:cubicBezTo>
                  <a:cubicBezTo>
                    <a:pt x="285425" y="673483"/>
                    <a:pt x="349132" y="582472"/>
                    <a:pt x="385537" y="497528"/>
                  </a:cubicBezTo>
                  <a:cubicBezTo>
                    <a:pt x="476548" y="285169"/>
                    <a:pt x="452279" y="9101"/>
                    <a:pt x="452279" y="6067"/>
                  </a:cubicBezTo>
                  <a:cubicBezTo>
                    <a:pt x="452279" y="3034"/>
                    <a:pt x="455311" y="0"/>
                    <a:pt x="458345" y="0"/>
                  </a:cubicBezTo>
                  <a:cubicBezTo>
                    <a:pt x="461379" y="0"/>
                    <a:pt x="464413" y="3034"/>
                    <a:pt x="464413" y="6067"/>
                  </a:cubicBezTo>
                  <a:cubicBezTo>
                    <a:pt x="464413" y="9101"/>
                    <a:pt x="488682" y="285169"/>
                    <a:pt x="397671" y="503595"/>
                  </a:cubicBezTo>
                  <a:cubicBezTo>
                    <a:pt x="361267" y="591573"/>
                    <a:pt x="300593" y="679551"/>
                    <a:pt x="233851" y="773596"/>
                  </a:cubicBezTo>
                  <a:cubicBezTo>
                    <a:pt x="136772" y="916180"/>
                    <a:pt x="36660" y="1061798"/>
                    <a:pt x="18458" y="1204382"/>
                  </a:cubicBezTo>
                  <a:cubicBezTo>
                    <a:pt x="255" y="1350000"/>
                    <a:pt x="57896" y="1489551"/>
                    <a:pt x="115537" y="1629101"/>
                  </a:cubicBezTo>
                  <a:cubicBezTo>
                    <a:pt x="151941" y="1717079"/>
                    <a:pt x="185312" y="1798989"/>
                    <a:pt x="200480" y="1877865"/>
                  </a:cubicBezTo>
                  <a:cubicBezTo>
                    <a:pt x="215649" y="1974944"/>
                    <a:pt x="212615" y="2075056"/>
                    <a:pt x="209582" y="2172135"/>
                  </a:cubicBezTo>
                  <a:cubicBezTo>
                    <a:pt x="200480" y="2375393"/>
                    <a:pt x="194413" y="2548315"/>
                    <a:pt x="367334" y="2642360"/>
                  </a:cubicBezTo>
                  <a:cubicBezTo>
                    <a:pt x="370368" y="2642360"/>
                    <a:pt x="370368" y="2648427"/>
                    <a:pt x="370368" y="2651461"/>
                  </a:cubicBezTo>
                  <a:cubicBezTo>
                    <a:pt x="361267" y="2645393"/>
                    <a:pt x="358233" y="2645393"/>
                    <a:pt x="358233" y="2645393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9E30C026-B310-47D3-AC0B-4FF2C21738C3}"/>
                </a:ext>
              </a:extLst>
            </p:cNvPr>
            <p:cNvSpPr/>
            <p:nvPr/>
          </p:nvSpPr>
          <p:spPr>
            <a:xfrm>
              <a:off x="11775340" y="3236399"/>
              <a:ext cx="1056608" cy="831248"/>
            </a:xfrm>
            <a:custGeom>
              <a:avLst/>
              <a:gdLst>
                <a:gd name="connsiteX0" fmla="*/ 22115 w 1056608"/>
                <a:gd name="connsiteY0" fmla="*/ 280971 h 831248"/>
                <a:gd name="connsiteX1" fmla="*/ 97958 w 1056608"/>
                <a:gd name="connsiteY1" fmla="*/ 1870 h 831248"/>
                <a:gd name="connsiteX2" fmla="*/ 346721 w 1056608"/>
                <a:gd name="connsiteY2" fmla="*/ 287039 h 831248"/>
                <a:gd name="connsiteX3" fmla="*/ 495373 w 1056608"/>
                <a:gd name="connsiteY3" fmla="*/ 584342 h 831248"/>
                <a:gd name="connsiteX4" fmla="*/ 1050542 w 1056608"/>
                <a:gd name="connsiteY4" fmla="*/ 547937 h 831248"/>
                <a:gd name="connsiteX5" fmla="*/ 1056609 w 1056608"/>
                <a:gd name="connsiteY5" fmla="*/ 684454 h 831248"/>
                <a:gd name="connsiteX6" fmla="*/ 367958 w 1056608"/>
                <a:gd name="connsiteY6" fmla="*/ 827039 h 831248"/>
                <a:gd name="connsiteX7" fmla="*/ 22115 w 1056608"/>
                <a:gd name="connsiteY7" fmla="*/ 280971 h 831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6608" h="831248">
                  <a:moveTo>
                    <a:pt x="22115" y="280971"/>
                  </a:moveTo>
                  <a:cubicBezTo>
                    <a:pt x="-32492" y="144454"/>
                    <a:pt x="22115" y="-19366"/>
                    <a:pt x="97958" y="1870"/>
                  </a:cubicBezTo>
                  <a:cubicBezTo>
                    <a:pt x="185935" y="26140"/>
                    <a:pt x="289081" y="120185"/>
                    <a:pt x="346721" y="287039"/>
                  </a:cubicBezTo>
                  <a:cubicBezTo>
                    <a:pt x="380092" y="384117"/>
                    <a:pt x="477171" y="587376"/>
                    <a:pt x="495373" y="584342"/>
                  </a:cubicBezTo>
                  <a:cubicBezTo>
                    <a:pt x="501441" y="584342"/>
                    <a:pt x="1050542" y="547937"/>
                    <a:pt x="1050542" y="547937"/>
                  </a:cubicBezTo>
                  <a:cubicBezTo>
                    <a:pt x="1050542" y="608612"/>
                    <a:pt x="1056609" y="684454"/>
                    <a:pt x="1056609" y="684454"/>
                  </a:cubicBezTo>
                  <a:cubicBezTo>
                    <a:pt x="1056609" y="684454"/>
                    <a:pt x="446834" y="860409"/>
                    <a:pt x="367958" y="827039"/>
                  </a:cubicBezTo>
                  <a:cubicBezTo>
                    <a:pt x="270879" y="790634"/>
                    <a:pt x="91890" y="450859"/>
                    <a:pt x="22115" y="280971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2" name="图形 1">
              <a:extLst>
                <a:ext uri="{FF2B5EF4-FFF2-40B4-BE49-F238E27FC236}">
                  <a16:creationId xmlns:a16="http://schemas.microsoft.com/office/drawing/2014/main" id="{DED33BCD-1359-456E-8ED1-27B2FFDCD1FD}"/>
                </a:ext>
              </a:extLst>
            </p:cNvPr>
            <p:cNvGrpSpPr/>
            <p:nvPr/>
          </p:nvGrpSpPr>
          <p:grpSpPr>
            <a:xfrm>
              <a:off x="12764820" y="3437341"/>
              <a:ext cx="588927" cy="584013"/>
              <a:chOff x="12764820" y="3437341"/>
              <a:chExt cx="588927" cy="584013"/>
            </a:xfrm>
          </p:grpSpPr>
          <p:sp>
            <p:nvSpPr>
              <p:cNvPr id="187" name="任意多边形: 形状 186">
                <a:extLst>
                  <a:ext uri="{FF2B5EF4-FFF2-40B4-BE49-F238E27FC236}">
                    <a16:creationId xmlns:a16="http://schemas.microsoft.com/office/drawing/2014/main" id="{CB5CB866-656F-445A-8B1E-2D241EFC76E0}"/>
                  </a:ext>
                </a:extLst>
              </p:cNvPr>
              <p:cNvSpPr/>
              <p:nvPr/>
            </p:nvSpPr>
            <p:spPr>
              <a:xfrm>
                <a:off x="12865320" y="3456440"/>
                <a:ext cx="215393" cy="209581"/>
              </a:xfrm>
              <a:custGeom>
                <a:avLst/>
                <a:gdLst>
                  <a:gd name="connsiteX0" fmla="*/ 0 w 215393"/>
                  <a:gd name="connsiteY0" fmla="*/ 203514 h 209581"/>
                  <a:gd name="connsiteX1" fmla="*/ 66742 w 215393"/>
                  <a:gd name="connsiteY1" fmla="*/ 209582 h 209581"/>
                  <a:gd name="connsiteX2" fmla="*/ 81910 w 215393"/>
                  <a:gd name="connsiteY2" fmla="*/ 66998 h 209581"/>
                  <a:gd name="connsiteX3" fmla="*/ 209326 w 215393"/>
                  <a:gd name="connsiteY3" fmla="*/ 82166 h 209581"/>
                  <a:gd name="connsiteX4" fmla="*/ 215393 w 215393"/>
                  <a:gd name="connsiteY4" fmla="*/ 15425 h 209581"/>
                  <a:gd name="connsiteX5" fmla="*/ 84944 w 215393"/>
                  <a:gd name="connsiteY5" fmla="*/ 256 h 209581"/>
                  <a:gd name="connsiteX6" fmla="*/ 15169 w 215393"/>
                  <a:gd name="connsiteY6" fmla="*/ 54863 h 209581"/>
                  <a:gd name="connsiteX7" fmla="*/ 0 w 215393"/>
                  <a:gd name="connsiteY7" fmla="*/ 203514 h 209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5393" h="209581">
                    <a:moveTo>
                      <a:pt x="0" y="203514"/>
                    </a:moveTo>
                    <a:lnTo>
                      <a:pt x="66742" y="209582"/>
                    </a:lnTo>
                    <a:lnTo>
                      <a:pt x="81910" y="66998"/>
                    </a:lnTo>
                    <a:lnTo>
                      <a:pt x="209326" y="82166"/>
                    </a:lnTo>
                    <a:lnTo>
                      <a:pt x="215393" y="15425"/>
                    </a:lnTo>
                    <a:lnTo>
                      <a:pt x="84944" y="256"/>
                    </a:lnTo>
                    <a:cubicBezTo>
                      <a:pt x="51573" y="-2778"/>
                      <a:pt x="18202" y="21492"/>
                      <a:pt x="15169" y="54863"/>
                    </a:cubicBezTo>
                    <a:lnTo>
                      <a:pt x="0" y="203514"/>
                    </a:ln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88" name="图形 1">
                <a:extLst>
                  <a:ext uri="{FF2B5EF4-FFF2-40B4-BE49-F238E27FC236}">
                    <a16:creationId xmlns:a16="http://schemas.microsoft.com/office/drawing/2014/main" id="{CA3CE2B0-1E24-46A2-A522-382F7F1AECC1}"/>
                  </a:ext>
                </a:extLst>
              </p:cNvPr>
              <p:cNvGrpSpPr/>
              <p:nvPr/>
            </p:nvGrpSpPr>
            <p:grpSpPr>
              <a:xfrm>
                <a:off x="13039271" y="3437341"/>
                <a:ext cx="314476" cy="160515"/>
                <a:chOff x="13039271" y="3437341"/>
                <a:chExt cx="314476" cy="160515"/>
              </a:xfrm>
            </p:grpSpPr>
            <p:sp>
              <p:nvSpPr>
                <p:cNvPr id="190" name="任意多边形: 形状 189">
                  <a:extLst>
                    <a:ext uri="{FF2B5EF4-FFF2-40B4-BE49-F238E27FC236}">
                      <a16:creationId xmlns:a16="http://schemas.microsoft.com/office/drawing/2014/main" id="{33145343-24D5-4972-9FF7-5994989A6C08}"/>
                    </a:ext>
                  </a:extLst>
                </p:cNvPr>
                <p:cNvSpPr/>
                <p:nvPr/>
              </p:nvSpPr>
              <p:spPr>
                <a:xfrm>
                  <a:off x="13039271" y="3437341"/>
                  <a:ext cx="314476" cy="160515"/>
                </a:xfrm>
                <a:custGeom>
                  <a:avLst/>
                  <a:gdLst>
                    <a:gd name="connsiteX0" fmla="*/ 38409 w 314476"/>
                    <a:gd name="connsiteY0" fmla="*/ 19355 h 160515"/>
                    <a:gd name="connsiteX1" fmla="*/ 205263 w 314476"/>
                    <a:gd name="connsiteY1" fmla="*/ 22389 h 160515"/>
                    <a:gd name="connsiteX2" fmla="*/ 268971 w 314476"/>
                    <a:gd name="connsiteY2" fmla="*/ 86097 h 160515"/>
                    <a:gd name="connsiteX3" fmla="*/ 223465 w 314476"/>
                    <a:gd name="connsiteY3" fmla="*/ 98231 h 160515"/>
                    <a:gd name="connsiteX4" fmla="*/ 314476 w 314476"/>
                    <a:gd name="connsiteY4" fmla="*/ 140703 h 160515"/>
                    <a:gd name="connsiteX5" fmla="*/ 17173 w 314476"/>
                    <a:gd name="connsiteY5" fmla="*/ 110366 h 160515"/>
                    <a:gd name="connsiteX6" fmla="*/ 38409 w 314476"/>
                    <a:gd name="connsiteY6" fmla="*/ 19355 h 1605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4476" h="160515">
                      <a:moveTo>
                        <a:pt x="38409" y="19355"/>
                      </a:moveTo>
                      <a:cubicBezTo>
                        <a:pt x="38409" y="19355"/>
                        <a:pt x="162791" y="-26151"/>
                        <a:pt x="205263" y="22389"/>
                      </a:cubicBezTo>
                      <a:cubicBezTo>
                        <a:pt x="247734" y="70928"/>
                        <a:pt x="268971" y="86097"/>
                        <a:pt x="268971" y="86097"/>
                      </a:cubicBezTo>
                      <a:lnTo>
                        <a:pt x="223465" y="98231"/>
                      </a:lnTo>
                      <a:cubicBezTo>
                        <a:pt x="223465" y="98231"/>
                        <a:pt x="262903" y="143737"/>
                        <a:pt x="314476" y="140703"/>
                      </a:cubicBezTo>
                      <a:cubicBezTo>
                        <a:pt x="314476" y="140703"/>
                        <a:pt x="68746" y="201377"/>
                        <a:pt x="17173" y="110366"/>
                      </a:cubicBezTo>
                      <a:cubicBezTo>
                        <a:pt x="-31366" y="19355"/>
                        <a:pt x="38409" y="19355"/>
                        <a:pt x="38409" y="19355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1" name="任意多边形: 形状 190">
                  <a:extLst>
                    <a:ext uri="{FF2B5EF4-FFF2-40B4-BE49-F238E27FC236}">
                      <a16:creationId xmlns:a16="http://schemas.microsoft.com/office/drawing/2014/main" id="{F846E837-B0B7-478A-887E-4C98E7B6B12B}"/>
                    </a:ext>
                  </a:extLst>
                </p:cNvPr>
                <p:cNvSpPr/>
                <p:nvPr/>
              </p:nvSpPr>
              <p:spPr>
                <a:xfrm>
                  <a:off x="13074119" y="3475749"/>
                  <a:ext cx="179516" cy="95979"/>
                </a:xfrm>
                <a:custGeom>
                  <a:avLst/>
                  <a:gdLst>
                    <a:gd name="connsiteX0" fmla="*/ 21763 w 179516"/>
                    <a:gd name="connsiteY0" fmla="*/ 11283 h 95979"/>
                    <a:gd name="connsiteX1" fmla="*/ 115808 w 179516"/>
                    <a:gd name="connsiteY1" fmla="*/ 14317 h 95979"/>
                    <a:gd name="connsiteX2" fmla="*/ 152212 w 179516"/>
                    <a:gd name="connsiteY2" fmla="*/ 50722 h 95979"/>
                    <a:gd name="connsiteX3" fmla="*/ 127943 w 179516"/>
                    <a:gd name="connsiteY3" fmla="*/ 59823 h 95979"/>
                    <a:gd name="connsiteX4" fmla="*/ 179516 w 179516"/>
                    <a:gd name="connsiteY4" fmla="*/ 84093 h 95979"/>
                    <a:gd name="connsiteX5" fmla="*/ 9629 w 179516"/>
                    <a:gd name="connsiteY5" fmla="*/ 65890 h 95979"/>
                    <a:gd name="connsiteX6" fmla="*/ 21763 w 179516"/>
                    <a:gd name="connsiteY6" fmla="*/ 11283 h 959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9516" h="95979">
                      <a:moveTo>
                        <a:pt x="21763" y="11283"/>
                      </a:moveTo>
                      <a:cubicBezTo>
                        <a:pt x="21763" y="11283"/>
                        <a:pt x="91538" y="-16020"/>
                        <a:pt x="115808" y="14317"/>
                      </a:cubicBezTo>
                      <a:cubicBezTo>
                        <a:pt x="140078" y="41621"/>
                        <a:pt x="152212" y="50722"/>
                        <a:pt x="152212" y="50722"/>
                      </a:cubicBezTo>
                      <a:lnTo>
                        <a:pt x="127943" y="59823"/>
                      </a:lnTo>
                      <a:cubicBezTo>
                        <a:pt x="127943" y="59823"/>
                        <a:pt x="152212" y="84093"/>
                        <a:pt x="179516" y="84093"/>
                      </a:cubicBezTo>
                      <a:cubicBezTo>
                        <a:pt x="179516" y="84093"/>
                        <a:pt x="39966" y="120497"/>
                        <a:pt x="9629" y="65890"/>
                      </a:cubicBezTo>
                      <a:cubicBezTo>
                        <a:pt x="-17675" y="11283"/>
                        <a:pt x="21763" y="11283"/>
                        <a:pt x="21763" y="11283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89" name="任意多边形: 形状 188">
                <a:extLst>
                  <a:ext uri="{FF2B5EF4-FFF2-40B4-BE49-F238E27FC236}">
                    <a16:creationId xmlns:a16="http://schemas.microsoft.com/office/drawing/2014/main" id="{380D02F7-1225-457F-9BDE-F06F617C4745}"/>
                  </a:ext>
                </a:extLst>
              </p:cNvPr>
              <p:cNvSpPr/>
              <p:nvPr/>
            </p:nvSpPr>
            <p:spPr>
              <a:xfrm>
                <a:off x="12764820" y="3607992"/>
                <a:ext cx="231338" cy="413361"/>
              </a:xfrm>
              <a:custGeom>
                <a:avLst/>
                <a:gdLst>
                  <a:gd name="connsiteX0" fmla="*/ 194546 w 231338"/>
                  <a:gd name="connsiteY0" fmla="*/ 82299 h 413361"/>
                  <a:gd name="connsiteX1" fmla="*/ 230951 w 231338"/>
                  <a:gd name="connsiteY1" fmla="*/ 51962 h 413361"/>
                  <a:gd name="connsiteX2" fmla="*/ 200613 w 231338"/>
                  <a:gd name="connsiteY2" fmla="*/ 15557 h 413361"/>
                  <a:gd name="connsiteX3" fmla="*/ 73197 w 231338"/>
                  <a:gd name="connsiteY3" fmla="*/ 388 h 413361"/>
                  <a:gd name="connsiteX4" fmla="*/ 36792 w 231338"/>
                  <a:gd name="connsiteY4" fmla="*/ 30726 h 413361"/>
                  <a:gd name="connsiteX5" fmla="*/ 67130 w 231338"/>
                  <a:gd name="connsiteY5" fmla="*/ 67130 h 413361"/>
                  <a:gd name="connsiteX6" fmla="*/ 73197 w 231338"/>
                  <a:gd name="connsiteY6" fmla="*/ 67130 h 413361"/>
                  <a:gd name="connsiteX7" fmla="*/ 33760 w 231338"/>
                  <a:gd name="connsiteY7" fmla="*/ 331063 h 413361"/>
                  <a:gd name="connsiteX8" fmla="*/ 389 w 231338"/>
                  <a:gd name="connsiteY8" fmla="*/ 361400 h 413361"/>
                  <a:gd name="connsiteX9" fmla="*/ 30726 w 231338"/>
                  <a:gd name="connsiteY9" fmla="*/ 397804 h 413361"/>
                  <a:gd name="connsiteX10" fmla="*/ 158141 w 231338"/>
                  <a:gd name="connsiteY10" fmla="*/ 412973 h 413361"/>
                  <a:gd name="connsiteX11" fmla="*/ 194546 w 231338"/>
                  <a:gd name="connsiteY11" fmla="*/ 382636 h 413361"/>
                  <a:gd name="connsiteX12" fmla="*/ 167242 w 231338"/>
                  <a:gd name="connsiteY12" fmla="*/ 346231 h 413361"/>
                  <a:gd name="connsiteX13" fmla="*/ 185445 w 231338"/>
                  <a:gd name="connsiteY13" fmla="*/ 82299 h 413361"/>
                  <a:gd name="connsiteX14" fmla="*/ 194546 w 231338"/>
                  <a:gd name="connsiteY14" fmla="*/ 82299 h 413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1338" h="413361">
                    <a:moveTo>
                      <a:pt x="194546" y="82299"/>
                    </a:moveTo>
                    <a:cubicBezTo>
                      <a:pt x="212748" y="85332"/>
                      <a:pt x="230951" y="70164"/>
                      <a:pt x="230951" y="51962"/>
                    </a:cubicBezTo>
                    <a:cubicBezTo>
                      <a:pt x="233983" y="33759"/>
                      <a:pt x="218815" y="15557"/>
                      <a:pt x="200613" y="15557"/>
                    </a:cubicBezTo>
                    <a:lnTo>
                      <a:pt x="73197" y="388"/>
                    </a:lnTo>
                    <a:cubicBezTo>
                      <a:pt x="54995" y="-2645"/>
                      <a:pt x="36792" y="12523"/>
                      <a:pt x="36792" y="30726"/>
                    </a:cubicBezTo>
                    <a:cubicBezTo>
                      <a:pt x="33760" y="48928"/>
                      <a:pt x="48928" y="67130"/>
                      <a:pt x="67130" y="67130"/>
                    </a:cubicBezTo>
                    <a:lnTo>
                      <a:pt x="73197" y="67130"/>
                    </a:lnTo>
                    <a:lnTo>
                      <a:pt x="33760" y="331063"/>
                    </a:lnTo>
                    <a:cubicBezTo>
                      <a:pt x="15557" y="331063"/>
                      <a:pt x="389" y="343197"/>
                      <a:pt x="389" y="361400"/>
                    </a:cubicBezTo>
                    <a:cubicBezTo>
                      <a:pt x="-2645" y="379602"/>
                      <a:pt x="12523" y="397804"/>
                      <a:pt x="30726" y="397804"/>
                    </a:cubicBezTo>
                    <a:lnTo>
                      <a:pt x="158141" y="412973"/>
                    </a:lnTo>
                    <a:cubicBezTo>
                      <a:pt x="176343" y="416006"/>
                      <a:pt x="194546" y="400838"/>
                      <a:pt x="194546" y="382636"/>
                    </a:cubicBezTo>
                    <a:cubicBezTo>
                      <a:pt x="197580" y="364434"/>
                      <a:pt x="185445" y="349265"/>
                      <a:pt x="167242" y="346231"/>
                    </a:cubicBezTo>
                    <a:lnTo>
                      <a:pt x="185445" y="82299"/>
                    </a:lnTo>
                    <a:lnTo>
                      <a:pt x="194546" y="82299"/>
                    </a:ln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3" name="图形 1">
              <a:extLst>
                <a:ext uri="{FF2B5EF4-FFF2-40B4-BE49-F238E27FC236}">
                  <a16:creationId xmlns:a16="http://schemas.microsoft.com/office/drawing/2014/main" id="{70188FD9-6C15-45E9-9643-7A5C81AB072D}"/>
                </a:ext>
              </a:extLst>
            </p:cNvPr>
            <p:cNvGrpSpPr/>
            <p:nvPr/>
          </p:nvGrpSpPr>
          <p:grpSpPr>
            <a:xfrm>
              <a:off x="12637583" y="6077819"/>
              <a:ext cx="1114429" cy="643145"/>
              <a:chOff x="12637583" y="6077819"/>
              <a:chExt cx="1114429" cy="643145"/>
            </a:xfrm>
          </p:grpSpPr>
          <p:sp>
            <p:nvSpPr>
              <p:cNvPr id="169" name="任意多边形: 形状 168">
                <a:extLst>
                  <a:ext uri="{FF2B5EF4-FFF2-40B4-BE49-F238E27FC236}">
                    <a16:creationId xmlns:a16="http://schemas.microsoft.com/office/drawing/2014/main" id="{CDE7034F-A1A9-4A10-A547-5DE11FEC1445}"/>
                  </a:ext>
                </a:extLst>
              </p:cNvPr>
              <p:cNvSpPr/>
              <p:nvPr/>
            </p:nvSpPr>
            <p:spPr>
              <a:xfrm>
                <a:off x="13584309" y="6608718"/>
                <a:ext cx="97078" cy="112247"/>
              </a:xfrm>
              <a:custGeom>
                <a:avLst/>
                <a:gdLst>
                  <a:gd name="connsiteX0" fmla="*/ 48540 w 97078"/>
                  <a:gd name="connsiteY0" fmla="*/ 112247 h 112247"/>
                  <a:gd name="connsiteX1" fmla="*/ 48540 w 97078"/>
                  <a:gd name="connsiteY1" fmla="*/ 112247 h 112247"/>
                  <a:gd name="connsiteX2" fmla="*/ 97078 w 97078"/>
                  <a:gd name="connsiteY2" fmla="*/ 63708 h 112247"/>
                  <a:gd name="connsiteX3" fmla="*/ 97078 w 97078"/>
                  <a:gd name="connsiteY3" fmla="*/ 0 h 112247"/>
                  <a:gd name="connsiteX4" fmla="*/ 0 w 97078"/>
                  <a:gd name="connsiteY4" fmla="*/ 0 h 112247"/>
                  <a:gd name="connsiteX5" fmla="*/ 0 w 97078"/>
                  <a:gd name="connsiteY5" fmla="*/ 63708 h 112247"/>
                  <a:gd name="connsiteX6" fmla="*/ 48540 w 97078"/>
                  <a:gd name="connsiteY6" fmla="*/ 112247 h 11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7078" h="112247">
                    <a:moveTo>
                      <a:pt x="48540" y="112247"/>
                    </a:moveTo>
                    <a:lnTo>
                      <a:pt x="48540" y="112247"/>
                    </a:lnTo>
                    <a:cubicBezTo>
                      <a:pt x="75843" y="112247"/>
                      <a:pt x="97078" y="91011"/>
                      <a:pt x="97078" y="63708"/>
                    </a:cubicBezTo>
                    <a:lnTo>
                      <a:pt x="97078" y="0"/>
                    </a:lnTo>
                    <a:lnTo>
                      <a:pt x="0" y="0"/>
                    </a:lnTo>
                    <a:lnTo>
                      <a:pt x="0" y="63708"/>
                    </a:lnTo>
                    <a:cubicBezTo>
                      <a:pt x="3034" y="91011"/>
                      <a:pt x="24269" y="112247"/>
                      <a:pt x="48540" y="11224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0" name="任意多边形: 形状 169">
                <a:extLst>
                  <a:ext uri="{FF2B5EF4-FFF2-40B4-BE49-F238E27FC236}">
                    <a16:creationId xmlns:a16="http://schemas.microsoft.com/office/drawing/2014/main" id="{E2C73FDD-980F-479D-A142-B2C6ED6387FC}"/>
                  </a:ext>
                </a:extLst>
              </p:cNvPr>
              <p:cNvSpPr/>
              <p:nvPr/>
            </p:nvSpPr>
            <p:spPr>
              <a:xfrm>
                <a:off x="13214196" y="6608718"/>
                <a:ext cx="97079" cy="112247"/>
              </a:xfrm>
              <a:custGeom>
                <a:avLst/>
                <a:gdLst>
                  <a:gd name="connsiteX0" fmla="*/ 48540 w 97079"/>
                  <a:gd name="connsiteY0" fmla="*/ 112247 h 112247"/>
                  <a:gd name="connsiteX1" fmla="*/ 48540 w 97079"/>
                  <a:gd name="connsiteY1" fmla="*/ 112247 h 112247"/>
                  <a:gd name="connsiteX2" fmla="*/ 97079 w 97079"/>
                  <a:gd name="connsiteY2" fmla="*/ 63708 h 112247"/>
                  <a:gd name="connsiteX3" fmla="*/ 97079 w 97079"/>
                  <a:gd name="connsiteY3" fmla="*/ 0 h 112247"/>
                  <a:gd name="connsiteX4" fmla="*/ 0 w 97079"/>
                  <a:gd name="connsiteY4" fmla="*/ 0 h 112247"/>
                  <a:gd name="connsiteX5" fmla="*/ 0 w 97079"/>
                  <a:gd name="connsiteY5" fmla="*/ 63708 h 112247"/>
                  <a:gd name="connsiteX6" fmla="*/ 48540 w 97079"/>
                  <a:gd name="connsiteY6" fmla="*/ 112247 h 11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7079" h="112247">
                    <a:moveTo>
                      <a:pt x="48540" y="112247"/>
                    </a:moveTo>
                    <a:lnTo>
                      <a:pt x="48540" y="112247"/>
                    </a:lnTo>
                    <a:cubicBezTo>
                      <a:pt x="75843" y="112247"/>
                      <a:pt x="97079" y="91011"/>
                      <a:pt x="97079" y="63708"/>
                    </a:cubicBezTo>
                    <a:lnTo>
                      <a:pt x="97079" y="0"/>
                    </a:lnTo>
                    <a:lnTo>
                      <a:pt x="0" y="0"/>
                    </a:lnTo>
                    <a:lnTo>
                      <a:pt x="0" y="63708"/>
                    </a:lnTo>
                    <a:cubicBezTo>
                      <a:pt x="3034" y="91011"/>
                      <a:pt x="24270" y="112247"/>
                      <a:pt x="48540" y="11224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1" name="任意多边形: 形状 170">
                <a:extLst>
                  <a:ext uri="{FF2B5EF4-FFF2-40B4-BE49-F238E27FC236}">
                    <a16:creationId xmlns:a16="http://schemas.microsoft.com/office/drawing/2014/main" id="{D5080196-6E32-4DC4-8AA6-E5B9287D9E7F}"/>
                  </a:ext>
                </a:extLst>
              </p:cNvPr>
              <p:cNvSpPr/>
              <p:nvPr/>
            </p:nvSpPr>
            <p:spPr>
              <a:xfrm>
                <a:off x="13056444" y="6608718"/>
                <a:ext cx="97078" cy="112247"/>
              </a:xfrm>
              <a:custGeom>
                <a:avLst/>
                <a:gdLst>
                  <a:gd name="connsiteX0" fmla="*/ 48539 w 97078"/>
                  <a:gd name="connsiteY0" fmla="*/ 112247 h 112247"/>
                  <a:gd name="connsiteX1" fmla="*/ 48539 w 97078"/>
                  <a:gd name="connsiteY1" fmla="*/ 112247 h 112247"/>
                  <a:gd name="connsiteX2" fmla="*/ 97078 w 97078"/>
                  <a:gd name="connsiteY2" fmla="*/ 63708 h 112247"/>
                  <a:gd name="connsiteX3" fmla="*/ 97078 w 97078"/>
                  <a:gd name="connsiteY3" fmla="*/ 0 h 112247"/>
                  <a:gd name="connsiteX4" fmla="*/ 0 w 97078"/>
                  <a:gd name="connsiteY4" fmla="*/ 0 h 112247"/>
                  <a:gd name="connsiteX5" fmla="*/ 0 w 97078"/>
                  <a:gd name="connsiteY5" fmla="*/ 63708 h 112247"/>
                  <a:gd name="connsiteX6" fmla="*/ 48539 w 97078"/>
                  <a:gd name="connsiteY6" fmla="*/ 112247 h 11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7078" h="112247">
                    <a:moveTo>
                      <a:pt x="48539" y="112247"/>
                    </a:moveTo>
                    <a:lnTo>
                      <a:pt x="48539" y="112247"/>
                    </a:lnTo>
                    <a:cubicBezTo>
                      <a:pt x="75843" y="112247"/>
                      <a:pt x="97078" y="91011"/>
                      <a:pt x="97078" y="63708"/>
                    </a:cubicBezTo>
                    <a:lnTo>
                      <a:pt x="97078" y="0"/>
                    </a:lnTo>
                    <a:lnTo>
                      <a:pt x="0" y="0"/>
                    </a:lnTo>
                    <a:lnTo>
                      <a:pt x="0" y="63708"/>
                    </a:lnTo>
                    <a:cubicBezTo>
                      <a:pt x="0" y="91011"/>
                      <a:pt x="21235" y="112247"/>
                      <a:pt x="48539" y="11224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2" name="任意多边形: 形状 171">
                <a:extLst>
                  <a:ext uri="{FF2B5EF4-FFF2-40B4-BE49-F238E27FC236}">
                    <a16:creationId xmlns:a16="http://schemas.microsoft.com/office/drawing/2014/main" id="{AD5FDC15-CF53-4272-89C8-3FD14220780D}"/>
                  </a:ext>
                </a:extLst>
              </p:cNvPr>
              <p:cNvSpPr/>
              <p:nvPr/>
            </p:nvSpPr>
            <p:spPr>
              <a:xfrm>
                <a:off x="12686331" y="6608718"/>
                <a:ext cx="97079" cy="112247"/>
              </a:xfrm>
              <a:custGeom>
                <a:avLst/>
                <a:gdLst>
                  <a:gd name="connsiteX0" fmla="*/ 48540 w 97079"/>
                  <a:gd name="connsiteY0" fmla="*/ 112247 h 112247"/>
                  <a:gd name="connsiteX1" fmla="*/ 48540 w 97079"/>
                  <a:gd name="connsiteY1" fmla="*/ 112247 h 112247"/>
                  <a:gd name="connsiteX2" fmla="*/ 97079 w 97079"/>
                  <a:gd name="connsiteY2" fmla="*/ 63708 h 112247"/>
                  <a:gd name="connsiteX3" fmla="*/ 97079 w 97079"/>
                  <a:gd name="connsiteY3" fmla="*/ 0 h 112247"/>
                  <a:gd name="connsiteX4" fmla="*/ 0 w 97079"/>
                  <a:gd name="connsiteY4" fmla="*/ 0 h 112247"/>
                  <a:gd name="connsiteX5" fmla="*/ 0 w 97079"/>
                  <a:gd name="connsiteY5" fmla="*/ 63708 h 112247"/>
                  <a:gd name="connsiteX6" fmla="*/ 48540 w 97079"/>
                  <a:gd name="connsiteY6" fmla="*/ 112247 h 11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7079" h="112247">
                    <a:moveTo>
                      <a:pt x="48540" y="112247"/>
                    </a:moveTo>
                    <a:lnTo>
                      <a:pt x="48540" y="112247"/>
                    </a:lnTo>
                    <a:cubicBezTo>
                      <a:pt x="75843" y="112247"/>
                      <a:pt x="97079" y="91011"/>
                      <a:pt x="97079" y="63708"/>
                    </a:cubicBezTo>
                    <a:lnTo>
                      <a:pt x="97079" y="0"/>
                    </a:lnTo>
                    <a:lnTo>
                      <a:pt x="0" y="0"/>
                    </a:lnTo>
                    <a:lnTo>
                      <a:pt x="0" y="63708"/>
                    </a:lnTo>
                    <a:cubicBezTo>
                      <a:pt x="0" y="91011"/>
                      <a:pt x="21236" y="112247"/>
                      <a:pt x="48540" y="11224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73" name="图形 1">
                <a:extLst>
                  <a:ext uri="{FF2B5EF4-FFF2-40B4-BE49-F238E27FC236}">
                    <a16:creationId xmlns:a16="http://schemas.microsoft.com/office/drawing/2014/main" id="{BE5C5147-4903-4039-8272-A7ED69C09DF8}"/>
                  </a:ext>
                </a:extLst>
              </p:cNvPr>
              <p:cNvGrpSpPr/>
              <p:nvPr/>
            </p:nvGrpSpPr>
            <p:grpSpPr>
              <a:xfrm>
                <a:off x="12637583" y="6077819"/>
                <a:ext cx="1114429" cy="588539"/>
                <a:chOff x="12637583" y="6077819"/>
                <a:chExt cx="1114429" cy="588539"/>
              </a:xfrm>
            </p:grpSpPr>
            <p:sp>
              <p:nvSpPr>
                <p:cNvPr id="174" name="任意多边形: 形状 173">
                  <a:extLst>
                    <a:ext uri="{FF2B5EF4-FFF2-40B4-BE49-F238E27FC236}">
                      <a16:creationId xmlns:a16="http://schemas.microsoft.com/office/drawing/2014/main" id="{399F734F-0687-4DF2-BC15-B5D5F18837C1}"/>
                    </a:ext>
                  </a:extLst>
                </p:cNvPr>
                <p:cNvSpPr/>
                <p:nvPr/>
              </p:nvSpPr>
              <p:spPr>
                <a:xfrm>
                  <a:off x="12637583" y="6080853"/>
                  <a:ext cx="719198" cy="585505"/>
                </a:xfrm>
                <a:custGeom>
                  <a:avLst/>
                  <a:gdLst>
                    <a:gd name="connsiteX0" fmla="*/ 66951 w 719198"/>
                    <a:gd name="connsiteY0" fmla="*/ 585506 h 585505"/>
                    <a:gd name="connsiteX1" fmla="*/ 685827 w 719198"/>
                    <a:gd name="connsiteY1" fmla="*/ 585506 h 585505"/>
                    <a:gd name="connsiteX2" fmla="*/ 719198 w 719198"/>
                    <a:gd name="connsiteY2" fmla="*/ 549101 h 585505"/>
                    <a:gd name="connsiteX3" fmla="*/ 658524 w 719198"/>
                    <a:gd name="connsiteY3" fmla="*/ 27303 h 585505"/>
                    <a:gd name="connsiteX4" fmla="*/ 625153 w 719198"/>
                    <a:gd name="connsiteY4" fmla="*/ 0 h 585505"/>
                    <a:gd name="connsiteX5" fmla="*/ 121558 w 719198"/>
                    <a:gd name="connsiteY5" fmla="*/ 0 h 585505"/>
                    <a:gd name="connsiteX6" fmla="*/ 57849 w 719198"/>
                    <a:gd name="connsiteY6" fmla="*/ 54607 h 585505"/>
                    <a:gd name="connsiteX7" fmla="*/ 209 w 719198"/>
                    <a:gd name="connsiteY7" fmla="*/ 515730 h 585505"/>
                    <a:gd name="connsiteX8" fmla="*/ 66951 w 719198"/>
                    <a:gd name="connsiteY8" fmla="*/ 585506 h 585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19198" h="585505">
                      <a:moveTo>
                        <a:pt x="66951" y="585506"/>
                      </a:moveTo>
                      <a:lnTo>
                        <a:pt x="685827" y="585506"/>
                      </a:lnTo>
                      <a:cubicBezTo>
                        <a:pt x="704030" y="585506"/>
                        <a:pt x="719198" y="567303"/>
                        <a:pt x="719198" y="549101"/>
                      </a:cubicBezTo>
                      <a:lnTo>
                        <a:pt x="658524" y="27303"/>
                      </a:lnTo>
                      <a:cubicBezTo>
                        <a:pt x="655490" y="12135"/>
                        <a:pt x="643356" y="0"/>
                        <a:pt x="625153" y="0"/>
                      </a:cubicBezTo>
                      <a:lnTo>
                        <a:pt x="121558" y="0"/>
                      </a:lnTo>
                      <a:cubicBezTo>
                        <a:pt x="91220" y="0"/>
                        <a:pt x="63917" y="24270"/>
                        <a:pt x="57849" y="54607"/>
                      </a:cubicBezTo>
                      <a:lnTo>
                        <a:pt x="209" y="515730"/>
                      </a:lnTo>
                      <a:cubicBezTo>
                        <a:pt x="-2825" y="552135"/>
                        <a:pt x="27512" y="585506"/>
                        <a:pt x="66951" y="585506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5" name="任意多边形: 形状 174">
                  <a:extLst>
                    <a:ext uri="{FF2B5EF4-FFF2-40B4-BE49-F238E27FC236}">
                      <a16:creationId xmlns:a16="http://schemas.microsoft.com/office/drawing/2014/main" id="{2F467B3D-4010-4CC5-9841-E6E6BC5A4770}"/>
                    </a:ext>
                  </a:extLst>
                </p:cNvPr>
                <p:cNvSpPr/>
                <p:nvPr/>
              </p:nvSpPr>
              <p:spPr>
                <a:xfrm>
                  <a:off x="13116269" y="6077819"/>
                  <a:ext cx="635742" cy="588539"/>
                </a:xfrm>
                <a:custGeom>
                  <a:avLst/>
                  <a:gdLst>
                    <a:gd name="connsiteX0" fmla="*/ 55456 w 635742"/>
                    <a:gd name="connsiteY0" fmla="*/ 588540 h 588539"/>
                    <a:gd name="connsiteX1" fmla="*/ 580287 w 635742"/>
                    <a:gd name="connsiteY1" fmla="*/ 588540 h 588539"/>
                    <a:gd name="connsiteX2" fmla="*/ 634894 w 635742"/>
                    <a:gd name="connsiteY2" fmla="*/ 524832 h 588539"/>
                    <a:gd name="connsiteX3" fmla="*/ 574220 w 635742"/>
                    <a:gd name="connsiteY3" fmla="*/ 48540 h 588539"/>
                    <a:gd name="connsiteX4" fmla="*/ 519613 w 635742"/>
                    <a:gd name="connsiteY4" fmla="*/ 0 h 588539"/>
                    <a:gd name="connsiteX5" fmla="*/ 116130 w 635742"/>
                    <a:gd name="connsiteY5" fmla="*/ 0 h 588539"/>
                    <a:gd name="connsiteX6" fmla="*/ 61523 w 635742"/>
                    <a:gd name="connsiteY6" fmla="*/ 48540 h 588539"/>
                    <a:gd name="connsiteX7" fmla="*/ 849 w 635742"/>
                    <a:gd name="connsiteY7" fmla="*/ 524832 h 588539"/>
                    <a:gd name="connsiteX8" fmla="*/ 55456 w 635742"/>
                    <a:gd name="connsiteY8" fmla="*/ 588540 h 5885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35742" h="588539">
                      <a:moveTo>
                        <a:pt x="55456" y="588540"/>
                      </a:moveTo>
                      <a:lnTo>
                        <a:pt x="580287" y="588540"/>
                      </a:lnTo>
                      <a:cubicBezTo>
                        <a:pt x="613658" y="588540"/>
                        <a:pt x="640961" y="558203"/>
                        <a:pt x="634894" y="524832"/>
                      </a:cubicBezTo>
                      <a:lnTo>
                        <a:pt x="574220" y="48540"/>
                      </a:lnTo>
                      <a:cubicBezTo>
                        <a:pt x="571186" y="21236"/>
                        <a:pt x="546917" y="0"/>
                        <a:pt x="519613" y="0"/>
                      </a:cubicBezTo>
                      <a:lnTo>
                        <a:pt x="116130" y="0"/>
                      </a:lnTo>
                      <a:cubicBezTo>
                        <a:pt x="88827" y="0"/>
                        <a:pt x="64556" y="21236"/>
                        <a:pt x="61523" y="48540"/>
                      </a:cubicBezTo>
                      <a:lnTo>
                        <a:pt x="849" y="524832"/>
                      </a:lnTo>
                      <a:cubicBezTo>
                        <a:pt x="-5219" y="561236"/>
                        <a:pt x="22085" y="588540"/>
                        <a:pt x="55456" y="588540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6" name="任意多边形: 形状 175">
                  <a:extLst>
                    <a:ext uri="{FF2B5EF4-FFF2-40B4-BE49-F238E27FC236}">
                      <a16:creationId xmlns:a16="http://schemas.microsoft.com/office/drawing/2014/main" id="{1F5C3CD5-3152-4D18-8216-4A43F13F1C5A}"/>
                    </a:ext>
                  </a:extLst>
                </p:cNvPr>
                <p:cNvSpPr/>
                <p:nvPr/>
              </p:nvSpPr>
              <p:spPr>
                <a:xfrm>
                  <a:off x="13184956" y="6141527"/>
                  <a:ext cx="502787" cy="464157"/>
                </a:xfrm>
                <a:custGeom>
                  <a:avLst/>
                  <a:gdLst>
                    <a:gd name="connsiteX0" fmla="*/ 47443 w 502787"/>
                    <a:gd name="connsiteY0" fmla="*/ 464157 h 464157"/>
                    <a:gd name="connsiteX1" fmla="*/ 453960 w 502787"/>
                    <a:gd name="connsiteY1" fmla="*/ 464157 h 464157"/>
                    <a:gd name="connsiteX2" fmla="*/ 502499 w 502787"/>
                    <a:gd name="connsiteY2" fmla="*/ 409551 h 464157"/>
                    <a:gd name="connsiteX3" fmla="*/ 456993 w 502787"/>
                    <a:gd name="connsiteY3" fmla="*/ 42472 h 464157"/>
                    <a:gd name="connsiteX4" fmla="*/ 408454 w 502787"/>
                    <a:gd name="connsiteY4" fmla="*/ 0 h 464157"/>
                    <a:gd name="connsiteX5" fmla="*/ 95982 w 502787"/>
                    <a:gd name="connsiteY5" fmla="*/ 0 h 464157"/>
                    <a:gd name="connsiteX6" fmla="*/ 47443 w 502787"/>
                    <a:gd name="connsiteY6" fmla="*/ 42472 h 464157"/>
                    <a:gd name="connsiteX7" fmla="*/ 1937 w 502787"/>
                    <a:gd name="connsiteY7" fmla="*/ 409551 h 464157"/>
                    <a:gd name="connsiteX8" fmla="*/ 47443 w 502787"/>
                    <a:gd name="connsiteY8" fmla="*/ 464157 h 4641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02787" h="464157">
                      <a:moveTo>
                        <a:pt x="47443" y="464157"/>
                      </a:moveTo>
                      <a:lnTo>
                        <a:pt x="453960" y="464157"/>
                      </a:lnTo>
                      <a:cubicBezTo>
                        <a:pt x="484297" y="464157"/>
                        <a:pt x="505533" y="436854"/>
                        <a:pt x="502499" y="409551"/>
                      </a:cubicBezTo>
                      <a:lnTo>
                        <a:pt x="456993" y="42472"/>
                      </a:lnTo>
                      <a:cubicBezTo>
                        <a:pt x="453960" y="18202"/>
                        <a:pt x="432724" y="0"/>
                        <a:pt x="408454" y="0"/>
                      </a:cubicBezTo>
                      <a:lnTo>
                        <a:pt x="95982" y="0"/>
                      </a:lnTo>
                      <a:cubicBezTo>
                        <a:pt x="71712" y="0"/>
                        <a:pt x="50477" y="18202"/>
                        <a:pt x="47443" y="42472"/>
                      </a:cubicBezTo>
                      <a:lnTo>
                        <a:pt x="1937" y="409551"/>
                      </a:lnTo>
                      <a:cubicBezTo>
                        <a:pt x="-7164" y="439888"/>
                        <a:pt x="17106" y="464157"/>
                        <a:pt x="47443" y="464157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7" name="任意多边形: 形状 176">
                  <a:extLst>
                    <a:ext uri="{FF2B5EF4-FFF2-40B4-BE49-F238E27FC236}">
                      <a16:creationId xmlns:a16="http://schemas.microsoft.com/office/drawing/2014/main" id="{1D534CBF-6F51-414F-BBBD-ADA91DC4C6BA}"/>
                    </a:ext>
                  </a:extLst>
                </p:cNvPr>
                <p:cNvSpPr/>
                <p:nvPr/>
              </p:nvSpPr>
              <p:spPr>
                <a:xfrm>
                  <a:off x="13262736" y="6226471"/>
                  <a:ext cx="339775" cy="33370"/>
                </a:xfrm>
                <a:custGeom>
                  <a:avLst/>
                  <a:gdLst>
                    <a:gd name="connsiteX0" fmla="*/ 15169 w 339775"/>
                    <a:gd name="connsiteY0" fmla="*/ 33371 h 33370"/>
                    <a:gd name="connsiteX1" fmla="*/ 324607 w 339775"/>
                    <a:gd name="connsiteY1" fmla="*/ 33371 h 33370"/>
                    <a:gd name="connsiteX2" fmla="*/ 339776 w 339775"/>
                    <a:gd name="connsiteY2" fmla="*/ 18202 h 33370"/>
                    <a:gd name="connsiteX3" fmla="*/ 339776 w 339775"/>
                    <a:gd name="connsiteY3" fmla="*/ 15169 h 33370"/>
                    <a:gd name="connsiteX4" fmla="*/ 324607 w 339775"/>
                    <a:gd name="connsiteY4" fmla="*/ 0 h 33370"/>
                    <a:gd name="connsiteX5" fmla="*/ 15169 w 339775"/>
                    <a:gd name="connsiteY5" fmla="*/ 0 h 33370"/>
                    <a:gd name="connsiteX6" fmla="*/ 0 w 339775"/>
                    <a:gd name="connsiteY6" fmla="*/ 15169 h 33370"/>
                    <a:gd name="connsiteX7" fmla="*/ 0 w 339775"/>
                    <a:gd name="connsiteY7" fmla="*/ 18202 h 33370"/>
                    <a:gd name="connsiteX8" fmla="*/ 15169 w 339775"/>
                    <a:gd name="connsiteY8" fmla="*/ 33371 h 33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39775" h="33370">
                      <a:moveTo>
                        <a:pt x="15169" y="33371"/>
                      </a:moveTo>
                      <a:lnTo>
                        <a:pt x="324607" y="33371"/>
                      </a:lnTo>
                      <a:cubicBezTo>
                        <a:pt x="333708" y="33371"/>
                        <a:pt x="339776" y="27303"/>
                        <a:pt x="339776" y="18202"/>
                      </a:cubicBezTo>
                      <a:lnTo>
                        <a:pt x="339776" y="15169"/>
                      </a:lnTo>
                      <a:cubicBezTo>
                        <a:pt x="339776" y="6067"/>
                        <a:pt x="333708" y="0"/>
                        <a:pt x="324607" y="0"/>
                      </a:cubicBezTo>
                      <a:lnTo>
                        <a:pt x="15169" y="0"/>
                      </a:lnTo>
                      <a:cubicBezTo>
                        <a:pt x="6068" y="0"/>
                        <a:pt x="0" y="6067"/>
                        <a:pt x="0" y="15169"/>
                      </a:cubicBezTo>
                      <a:lnTo>
                        <a:pt x="0" y="18202"/>
                      </a:lnTo>
                      <a:cubicBezTo>
                        <a:pt x="0" y="24269"/>
                        <a:pt x="9101" y="33371"/>
                        <a:pt x="15169" y="33371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8" name="任意多边形: 形状 177">
                  <a:extLst>
                    <a:ext uri="{FF2B5EF4-FFF2-40B4-BE49-F238E27FC236}">
                      <a16:creationId xmlns:a16="http://schemas.microsoft.com/office/drawing/2014/main" id="{08E6D1CE-5CF1-4D23-8838-BED55A8F448E}"/>
                    </a:ext>
                  </a:extLst>
                </p:cNvPr>
                <p:cNvSpPr/>
                <p:nvPr/>
              </p:nvSpPr>
              <p:spPr>
                <a:xfrm>
                  <a:off x="12759140" y="6147594"/>
                  <a:ext cx="339775" cy="33370"/>
                </a:xfrm>
                <a:custGeom>
                  <a:avLst/>
                  <a:gdLst>
                    <a:gd name="connsiteX0" fmla="*/ 15169 w 339775"/>
                    <a:gd name="connsiteY0" fmla="*/ 33371 h 33370"/>
                    <a:gd name="connsiteX1" fmla="*/ 324607 w 339775"/>
                    <a:gd name="connsiteY1" fmla="*/ 33371 h 33370"/>
                    <a:gd name="connsiteX2" fmla="*/ 339776 w 339775"/>
                    <a:gd name="connsiteY2" fmla="*/ 18202 h 33370"/>
                    <a:gd name="connsiteX3" fmla="*/ 339776 w 339775"/>
                    <a:gd name="connsiteY3" fmla="*/ 15169 h 33370"/>
                    <a:gd name="connsiteX4" fmla="*/ 324607 w 339775"/>
                    <a:gd name="connsiteY4" fmla="*/ 0 h 33370"/>
                    <a:gd name="connsiteX5" fmla="*/ 15169 w 339775"/>
                    <a:gd name="connsiteY5" fmla="*/ 0 h 33370"/>
                    <a:gd name="connsiteX6" fmla="*/ 0 w 339775"/>
                    <a:gd name="connsiteY6" fmla="*/ 15169 h 33370"/>
                    <a:gd name="connsiteX7" fmla="*/ 0 w 339775"/>
                    <a:gd name="connsiteY7" fmla="*/ 18202 h 33370"/>
                    <a:gd name="connsiteX8" fmla="*/ 15169 w 339775"/>
                    <a:gd name="connsiteY8" fmla="*/ 33371 h 33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39775" h="33370">
                      <a:moveTo>
                        <a:pt x="15169" y="33371"/>
                      </a:moveTo>
                      <a:lnTo>
                        <a:pt x="324607" y="33371"/>
                      </a:lnTo>
                      <a:cubicBezTo>
                        <a:pt x="333708" y="33371"/>
                        <a:pt x="339776" y="27303"/>
                        <a:pt x="339776" y="18202"/>
                      </a:cubicBezTo>
                      <a:lnTo>
                        <a:pt x="339776" y="15169"/>
                      </a:lnTo>
                      <a:cubicBezTo>
                        <a:pt x="339776" y="6067"/>
                        <a:pt x="333708" y="0"/>
                        <a:pt x="324607" y="0"/>
                      </a:cubicBezTo>
                      <a:lnTo>
                        <a:pt x="15169" y="0"/>
                      </a:lnTo>
                      <a:cubicBezTo>
                        <a:pt x="6068" y="0"/>
                        <a:pt x="0" y="6067"/>
                        <a:pt x="0" y="15169"/>
                      </a:cubicBezTo>
                      <a:lnTo>
                        <a:pt x="0" y="18202"/>
                      </a:lnTo>
                      <a:cubicBezTo>
                        <a:pt x="0" y="24270"/>
                        <a:pt x="6068" y="33371"/>
                        <a:pt x="15169" y="33371"/>
                      </a:cubicBezTo>
                      <a:close/>
                    </a:path>
                  </a:pathLst>
                </a:custGeom>
                <a:solidFill>
                  <a:srgbClr val="BC504B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9" name="任意多边形: 形状 178">
                  <a:extLst>
                    <a:ext uri="{FF2B5EF4-FFF2-40B4-BE49-F238E27FC236}">
                      <a16:creationId xmlns:a16="http://schemas.microsoft.com/office/drawing/2014/main" id="{039277CF-0B96-480A-AD3C-FD7FEAB7521F}"/>
                    </a:ext>
                  </a:extLst>
                </p:cNvPr>
                <p:cNvSpPr/>
                <p:nvPr/>
              </p:nvSpPr>
              <p:spPr>
                <a:xfrm>
                  <a:off x="12701500" y="6572314"/>
                  <a:ext cx="339775" cy="33370"/>
                </a:xfrm>
                <a:custGeom>
                  <a:avLst/>
                  <a:gdLst>
                    <a:gd name="connsiteX0" fmla="*/ 15169 w 339775"/>
                    <a:gd name="connsiteY0" fmla="*/ 33371 h 33370"/>
                    <a:gd name="connsiteX1" fmla="*/ 324607 w 339775"/>
                    <a:gd name="connsiteY1" fmla="*/ 33371 h 33370"/>
                    <a:gd name="connsiteX2" fmla="*/ 339776 w 339775"/>
                    <a:gd name="connsiteY2" fmla="*/ 18202 h 33370"/>
                    <a:gd name="connsiteX3" fmla="*/ 339776 w 339775"/>
                    <a:gd name="connsiteY3" fmla="*/ 15169 h 33370"/>
                    <a:gd name="connsiteX4" fmla="*/ 324607 w 339775"/>
                    <a:gd name="connsiteY4" fmla="*/ 0 h 33370"/>
                    <a:gd name="connsiteX5" fmla="*/ 15169 w 339775"/>
                    <a:gd name="connsiteY5" fmla="*/ 0 h 33370"/>
                    <a:gd name="connsiteX6" fmla="*/ 0 w 339775"/>
                    <a:gd name="connsiteY6" fmla="*/ 15169 h 33370"/>
                    <a:gd name="connsiteX7" fmla="*/ 0 w 339775"/>
                    <a:gd name="connsiteY7" fmla="*/ 18202 h 33370"/>
                    <a:gd name="connsiteX8" fmla="*/ 15169 w 339775"/>
                    <a:gd name="connsiteY8" fmla="*/ 33371 h 33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39775" h="33370">
                      <a:moveTo>
                        <a:pt x="15169" y="33371"/>
                      </a:moveTo>
                      <a:lnTo>
                        <a:pt x="324607" y="33371"/>
                      </a:lnTo>
                      <a:cubicBezTo>
                        <a:pt x="333708" y="33371"/>
                        <a:pt x="339776" y="27303"/>
                        <a:pt x="339776" y="18202"/>
                      </a:cubicBezTo>
                      <a:lnTo>
                        <a:pt x="339776" y="15169"/>
                      </a:lnTo>
                      <a:cubicBezTo>
                        <a:pt x="339776" y="6067"/>
                        <a:pt x="333708" y="0"/>
                        <a:pt x="324607" y="0"/>
                      </a:cubicBezTo>
                      <a:lnTo>
                        <a:pt x="15169" y="0"/>
                      </a:lnTo>
                      <a:cubicBezTo>
                        <a:pt x="6068" y="0"/>
                        <a:pt x="0" y="6067"/>
                        <a:pt x="0" y="15169"/>
                      </a:cubicBezTo>
                      <a:lnTo>
                        <a:pt x="0" y="18202"/>
                      </a:lnTo>
                      <a:cubicBezTo>
                        <a:pt x="0" y="27303"/>
                        <a:pt x="6068" y="33371"/>
                        <a:pt x="15169" y="33371"/>
                      </a:cubicBezTo>
                      <a:close/>
                    </a:path>
                  </a:pathLst>
                </a:custGeom>
                <a:solidFill>
                  <a:srgbClr val="BC504B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0" name="任意多边形: 形状 179">
                  <a:extLst>
                    <a:ext uri="{FF2B5EF4-FFF2-40B4-BE49-F238E27FC236}">
                      <a16:creationId xmlns:a16="http://schemas.microsoft.com/office/drawing/2014/main" id="{A488C77C-8F5D-4FF6-9D04-D53070B78C3F}"/>
                    </a:ext>
                  </a:extLst>
                </p:cNvPr>
                <p:cNvSpPr/>
                <p:nvPr/>
              </p:nvSpPr>
              <p:spPr>
                <a:xfrm>
                  <a:off x="13262736" y="6177932"/>
                  <a:ext cx="339775" cy="30337"/>
                </a:xfrm>
                <a:custGeom>
                  <a:avLst/>
                  <a:gdLst>
                    <a:gd name="connsiteX0" fmla="*/ 15169 w 339775"/>
                    <a:gd name="connsiteY0" fmla="*/ 30337 h 30337"/>
                    <a:gd name="connsiteX1" fmla="*/ 324607 w 339775"/>
                    <a:gd name="connsiteY1" fmla="*/ 30337 h 30337"/>
                    <a:gd name="connsiteX2" fmla="*/ 339776 w 339775"/>
                    <a:gd name="connsiteY2" fmla="*/ 15169 h 30337"/>
                    <a:gd name="connsiteX3" fmla="*/ 339776 w 339775"/>
                    <a:gd name="connsiteY3" fmla="*/ 15169 h 30337"/>
                    <a:gd name="connsiteX4" fmla="*/ 324607 w 339775"/>
                    <a:gd name="connsiteY4" fmla="*/ 0 h 30337"/>
                    <a:gd name="connsiteX5" fmla="*/ 15169 w 339775"/>
                    <a:gd name="connsiteY5" fmla="*/ 0 h 30337"/>
                    <a:gd name="connsiteX6" fmla="*/ 0 w 339775"/>
                    <a:gd name="connsiteY6" fmla="*/ 15169 h 30337"/>
                    <a:gd name="connsiteX7" fmla="*/ 0 w 339775"/>
                    <a:gd name="connsiteY7" fmla="*/ 18202 h 30337"/>
                    <a:gd name="connsiteX8" fmla="*/ 15169 w 339775"/>
                    <a:gd name="connsiteY8" fmla="*/ 30337 h 303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39775" h="30337">
                      <a:moveTo>
                        <a:pt x="15169" y="30337"/>
                      </a:moveTo>
                      <a:lnTo>
                        <a:pt x="324607" y="30337"/>
                      </a:lnTo>
                      <a:cubicBezTo>
                        <a:pt x="333708" y="30337"/>
                        <a:pt x="339776" y="24270"/>
                        <a:pt x="339776" y="15169"/>
                      </a:cubicBezTo>
                      <a:lnTo>
                        <a:pt x="339776" y="15169"/>
                      </a:lnTo>
                      <a:cubicBezTo>
                        <a:pt x="339776" y="6067"/>
                        <a:pt x="333708" y="0"/>
                        <a:pt x="324607" y="0"/>
                      </a:cubicBezTo>
                      <a:lnTo>
                        <a:pt x="15169" y="0"/>
                      </a:lnTo>
                      <a:cubicBezTo>
                        <a:pt x="6068" y="0"/>
                        <a:pt x="0" y="6067"/>
                        <a:pt x="0" y="15169"/>
                      </a:cubicBezTo>
                      <a:lnTo>
                        <a:pt x="0" y="18202"/>
                      </a:lnTo>
                      <a:cubicBezTo>
                        <a:pt x="0" y="24270"/>
                        <a:pt x="9101" y="30337"/>
                        <a:pt x="15169" y="30337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1" name="任意多边形: 形状 180">
                  <a:extLst>
                    <a:ext uri="{FF2B5EF4-FFF2-40B4-BE49-F238E27FC236}">
                      <a16:creationId xmlns:a16="http://schemas.microsoft.com/office/drawing/2014/main" id="{54134F0B-05F6-4034-8860-ED90FD8182E1}"/>
                    </a:ext>
                  </a:extLst>
                </p:cNvPr>
                <p:cNvSpPr/>
                <p:nvPr/>
              </p:nvSpPr>
              <p:spPr>
                <a:xfrm>
                  <a:off x="13448064" y="6384496"/>
                  <a:ext cx="178444" cy="178444"/>
                </a:xfrm>
                <a:custGeom>
                  <a:avLst/>
                  <a:gdLst>
                    <a:gd name="connsiteX0" fmla="*/ 8829 w 178444"/>
                    <a:gd name="connsiteY0" fmla="*/ 127144 h 178444"/>
                    <a:gd name="connsiteX1" fmla="*/ 127143 w 178444"/>
                    <a:gd name="connsiteY1" fmla="*/ 169615 h 178444"/>
                    <a:gd name="connsiteX2" fmla="*/ 169616 w 178444"/>
                    <a:gd name="connsiteY2" fmla="*/ 51301 h 178444"/>
                    <a:gd name="connsiteX3" fmla="*/ 51300 w 178444"/>
                    <a:gd name="connsiteY3" fmla="*/ 8829 h 178444"/>
                    <a:gd name="connsiteX4" fmla="*/ 8829 w 178444"/>
                    <a:gd name="connsiteY4" fmla="*/ 127144 h 1784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8444" h="178444">
                      <a:moveTo>
                        <a:pt x="8829" y="127144"/>
                      </a:moveTo>
                      <a:cubicBezTo>
                        <a:pt x="30065" y="172649"/>
                        <a:pt x="84671" y="190852"/>
                        <a:pt x="127143" y="169615"/>
                      </a:cubicBezTo>
                      <a:cubicBezTo>
                        <a:pt x="172649" y="148379"/>
                        <a:pt x="190851" y="93773"/>
                        <a:pt x="169616" y="51301"/>
                      </a:cubicBezTo>
                      <a:cubicBezTo>
                        <a:pt x="148379" y="5795"/>
                        <a:pt x="93773" y="-12407"/>
                        <a:pt x="51300" y="8829"/>
                      </a:cubicBezTo>
                      <a:cubicBezTo>
                        <a:pt x="5795" y="30065"/>
                        <a:pt x="-12407" y="84672"/>
                        <a:pt x="8829" y="12714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2" name="任意多边形: 形状 181">
                  <a:extLst>
                    <a:ext uri="{FF2B5EF4-FFF2-40B4-BE49-F238E27FC236}">
                      <a16:creationId xmlns:a16="http://schemas.microsoft.com/office/drawing/2014/main" id="{DA1776B0-A2F7-45B5-8854-097596A06450}"/>
                    </a:ext>
                  </a:extLst>
                </p:cNvPr>
                <p:cNvSpPr/>
                <p:nvPr/>
              </p:nvSpPr>
              <p:spPr>
                <a:xfrm>
                  <a:off x="13472715" y="6375776"/>
                  <a:ext cx="126109" cy="198917"/>
                </a:xfrm>
                <a:custGeom>
                  <a:avLst/>
                  <a:gdLst>
                    <a:gd name="connsiteX0" fmla="*/ 111594 w 126109"/>
                    <a:gd name="connsiteY0" fmla="*/ 196538 h 198917"/>
                    <a:gd name="connsiteX1" fmla="*/ 111594 w 126109"/>
                    <a:gd name="connsiteY1" fmla="*/ 196538 h 198917"/>
                    <a:gd name="connsiteX2" fmla="*/ 123729 w 126109"/>
                    <a:gd name="connsiteY2" fmla="*/ 160133 h 198917"/>
                    <a:gd name="connsiteX3" fmla="*/ 50920 w 126109"/>
                    <a:gd name="connsiteY3" fmla="*/ 14515 h 198917"/>
                    <a:gd name="connsiteX4" fmla="*/ 14515 w 126109"/>
                    <a:gd name="connsiteY4" fmla="*/ 2380 h 198917"/>
                    <a:gd name="connsiteX5" fmla="*/ 14515 w 126109"/>
                    <a:gd name="connsiteY5" fmla="*/ 2380 h 198917"/>
                    <a:gd name="connsiteX6" fmla="*/ 2380 w 126109"/>
                    <a:gd name="connsiteY6" fmla="*/ 38785 h 198917"/>
                    <a:gd name="connsiteX7" fmla="*/ 75189 w 126109"/>
                    <a:gd name="connsiteY7" fmla="*/ 184403 h 198917"/>
                    <a:gd name="connsiteX8" fmla="*/ 111594 w 126109"/>
                    <a:gd name="connsiteY8" fmla="*/ 196538 h 1989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6109" h="198917">
                      <a:moveTo>
                        <a:pt x="111594" y="196538"/>
                      </a:moveTo>
                      <a:lnTo>
                        <a:pt x="111594" y="196538"/>
                      </a:lnTo>
                      <a:cubicBezTo>
                        <a:pt x="123729" y="190470"/>
                        <a:pt x="129797" y="172268"/>
                        <a:pt x="123729" y="160133"/>
                      </a:cubicBezTo>
                      <a:lnTo>
                        <a:pt x="50920" y="14515"/>
                      </a:lnTo>
                      <a:cubicBezTo>
                        <a:pt x="44852" y="2380"/>
                        <a:pt x="26650" y="-3687"/>
                        <a:pt x="14515" y="2380"/>
                      </a:cubicBezTo>
                      <a:lnTo>
                        <a:pt x="14515" y="2380"/>
                      </a:lnTo>
                      <a:cubicBezTo>
                        <a:pt x="2380" y="8448"/>
                        <a:pt x="-3687" y="26650"/>
                        <a:pt x="2380" y="38785"/>
                      </a:cubicBezTo>
                      <a:lnTo>
                        <a:pt x="75189" y="184403"/>
                      </a:lnTo>
                      <a:cubicBezTo>
                        <a:pt x="81257" y="196538"/>
                        <a:pt x="96426" y="202605"/>
                        <a:pt x="111594" y="196538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3" name="任意多边形: 形状 182">
                  <a:extLst>
                    <a:ext uri="{FF2B5EF4-FFF2-40B4-BE49-F238E27FC236}">
                      <a16:creationId xmlns:a16="http://schemas.microsoft.com/office/drawing/2014/main" id="{12328412-8140-4E82-AAA7-9AD086F57645}"/>
                    </a:ext>
                  </a:extLst>
                </p:cNvPr>
                <p:cNvSpPr/>
                <p:nvPr/>
              </p:nvSpPr>
              <p:spPr>
                <a:xfrm>
                  <a:off x="13341613" y="6402426"/>
                  <a:ext cx="54606" cy="54606"/>
                </a:xfrm>
                <a:custGeom>
                  <a:avLst/>
                  <a:gdLst>
                    <a:gd name="connsiteX0" fmla="*/ 0 w 54606"/>
                    <a:gd name="connsiteY0" fmla="*/ 27304 h 54606"/>
                    <a:gd name="connsiteX1" fmla="*/ 27303 w 54606"/>
                    <a:gd name="connsiteY1" fmla="*/ 54607 h 54606"/>
                    <a:gd name="connsiteX2" fmla="*/ 54606 w 54606"/>
                    <a:gd name="connsiteY2" fmla="*/ 27304 h 54606"/>
                    <a:gd name="connsiteX3" fmla="*/ 27303 w 54606"/>
                    <a:gd name="connsiteY3" fmla="*/ 0 h 54606"/>
                    <a:gd name="connsiteX4" fmla="*/ 0 w 54606"/>
                    <a:gd name="connsiteY4" fmla="*/ 27304 h 546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606" h="54606">
                      <a:moveTo>
                        <a:pt x="0" y="27304"/>
                      </a:moveTo>
                      <a:cubicBezTo>
                        <a:pt x="0" y="42472"/>
                        <a:pt x="12135" y="54607"/>
                        <a:pt x="27303" y="54607"/>
                      </a:cubicBezTo>
                      <a:cubicBezTo>
                        <a:pt x="42472" y="54607"/>
                        <a:pt x="54606" y="42472"/>
                        <a:pt x="54606" y="27304"/>
                      </a:cubicBezTo>
                      <a:cubicBezTo>
                        <a:pt x="54606" y="12135"/>
                        <a:pt x="42472" y="0"/>
                        <a:pt x="27303" y="0"/>
                      </a:cubicBezTo>
                      <a:cubicBezTo>
                        <a:pt x="12135" y="0"/>
                        <a:pt x="0" y="12135"/>
                        <a:pt x="0" y="27304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4" name="任意多边形: 形状 183">
                  <a:extLst>
                    <a:ext uri="{FF2B5EF4-FFF2-40B4-BE49-F238E27FC236}">
                      <a16:creationId xmlns:a16="http://schemas.microsoft.com/office/drawing/2014/main" id="{0F5D15C7-1863-4231-8D4C-B5FEE835CD3E}"/>
                    </a:ext>
                  </a:extLst>
                </p:cNvPr>
                <p:cNvSpPr/>
                <p:nvPr/>
              </p:nvSpPr>
              <p:spPr>
                <a:xfrm>
                  <a:off x="13250601" y="6402426"/>
                  <a:ext cx="54606" cy="54606"/>
                </a:xfrm>
                <a:custGeom>
                  <a:avLst/>
                  <a:gdLst>
                    <a:gd name="connsiteX0" fmla="*/ 0 w 54606"/>
                    <a:gd name="connsiteY0" fmla="*/ 27304 h 54606"/>
                    <a:gd name="connsiteX1" fmla="*/ 27303 w 54606"/>
                    <a:gd name="connsiteY1" fmla="*/ 54607 h 54606"/>
                    <a:gd name="connsiteX2" fmla="*/ 54606 w 54606"/>
                    <a:gd name="connsiteY2" fmla="*/ 27304 h 54606"/>
                    <a:gd name="connsiteX3" fmla="*/ 27303 w 54606"/>
                    <a:gd name="connsiteY3" fmla="*/ 0 h 54606"/>
                    <a:gd name="connsiteX4" fmla="*/ 0 w 54606"/>
                    <a:gd name="connsiteY4" fmla="*/ 27304 h 546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606" h="54606">
                      <a:moveTo>
                        <a:pt x="0" y="27304"/>
                      </a:moveTo>
                      <a:cubicBezTo>
                        <a:pt x="0" y="42472"/>
                        <a:pt x="12135" y="54607"/>
                        <a:pt x="27303" y="54607"/>
                      </a:cubicBezTo>
                      <a:cubicBezTo>
                        <a:pt x="42472" y="54607"/>
                        <a:pt x="54606" y="42472"/>
                        <a:pt x="54606" y="27304"/>
                      </a:cubicBezTo>
                      <a:cubicBezTo>
                        <a:pt x="54606" y="12135"/>
                        <a:pt x="42472" y="0"/>
                        <a:pt x="27303" y="0"/>
                      </a:cubicBezTo>
                      <a:cubicBezTo>
                        <a:pt x="12135" y="0"/>
                        <a:pt x="0" y="12135"/>
                        <a:pt x="0" y="27304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5" name="任意多边形: 形状 184">
                  <a:extLst>
                    <a:ext uri="{FF2B5EF4-FFF2-40B4-BE49-F238E27FC236}">
                      <a16:creationId xmlns:a16="http://schemas.microsoft.com/office/drawing/2014/main" id="{FA0B5C31-DA1C-4BCF-9047-2D9E228F7126}"/>
                    </a:ext>
                  </a:extLst>
                </p:cNvPr>
                <p:cNvSpPr/>
                <p:nvPr/>
              </p:nvSpPr>
              <p:spPr>
                <a:xfrm>
                  <a:off x="13341613" y="6484336"/>
                  <a:ext cx="54606" cy="54606"/>
                </a:xfrm>
                <a:custGeom>
                  <a:avLst/>
                  <a:gdLst>
                    <a:gd name="connsiteX0" fmla="*/ 0 w 54606"/>
                    <a:gd name="connsiteY0" fmla="*/ 27303 h 54606"/>
                    <a:gd name="connsiteX1" fmla="*/ 27303 w 54606"/>
                    <a:gd name="connsiteY1" fmla="*/ 54606 h 54606"/>
                    <a:gd name="connsiteX2" fmla="*/ 54606 w 54606"/>
                    <a:gd name="connsiteY2" fmla="*/ 27303 h 54606"/>
                    <a:gd name="connsiteX3" fmla="*/ 27303 w 54606"/>
                    <a:gd name="connsiteY3" fmla="*/ 0 h 54606"/>
                    <a:gd name="connsiteX4" fmla="*/ 0 w 54606"/>
                    <a:gd name="connsiteY4" fmla="*/ 27303 h 546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606" h="54606">
                      <a:moveTo>
                        <a:pt x="0" y="27303"/>
                      </a:moveTo>
                      <a:cubicBezTo>
                        <a:pt x="0" y="42472"/>
                        <a:pt x="12135" y="54606"/>
                        <a:pt x="27303" y="54606"/>
                      </a:cubicBezTo>
                      <a:cubicBezTo>
                        <a:pt x="42472" y="54606"/>
                        <a:pt x="54606" y="42472"/>
                        <a:pt x="54606" y="27303"/>
                      </a:cubicBezTo>
                      <a:cubicBezTo>
                        <a:pt x="54606" y="12135"/>
                        <a:pt x="42472" y="0"/>
                        <a:pt x="27303" y="0"/>
                      </a:cubicBezTo>
                      <a:cubicBezTo>
                        <a:pt x="12135" y="0"/>
                        <a:pt x="0" y="12135"/>
                        <a:pt x="0" y="27303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6" name="任意多边形: 形状 185">
                  <a:extLst>
                    <a:ext uri="{FF2B5EF4-FFF2-40B4-BE49-F238E27FC236}">
                      <a16:creationId xmlns:a16="http://schemas.microsoft.com/office/drawing/2014/main" id="{FF986B48-CF17-4A53-81EE-D525CBE1247F}"/>
                    </a:ext>
                  </a:extLst>
                </p:cNvPr>
                <p:cNvSpPr/>
                <p:nvPr/>
              </p:nvSpPr>
              <p:spPr>
                <a:xfrm>
                  <a:off x="13250601" y="6484336"/>
                  <a:ext cx="54606" cy="54606"/>
                </a:xfrm>
                <a:custGeom>
                  <a:avLst/>
                  <a:gdLst>
                    <a:gd name="connsiteX0" fmla="*/ 0 w 54606"/>
                    <a:gd name="connsiteY0" fmla="*/ 27303 h 54606"/>
                    <a:gd name="connsiteX1" fmla="*/ 27303 w 54606"/>
                    <a:gd name="connsiteY1" fmla="*/ 54606 h 54606"/>
                    <a:gd name="connsiteX2" fmla="*/ 54606 w 54606"/>
                    <a:gd name="connsiteY2" fmla="*/ 27303 h 54606"/>
                    <a:gd name="connsiteX3" fmla="*/ 27303 w 54606"/>
                    <a:gd name="connsiteY3" fmla="*/ 0 h 54606"/>
                    <a:gd name="connsiteX4" fmla="*/ 0 w 54606"/>
                    <a:gd name="connsiteY4" fmla="*/ 27303 h 546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606" h="54606">
                      <a:moveTo>
                        <a:pt x="0" y="27303"/>
                      </a:moveTo>
                      <a:cubicBezTo>
                        <a:pt x="0" y="42472"/>
                        <a:pt x="12135" y="54606"/>
                        <a:pt x="27303" y="54606"/>
                      </a:cubicBezTo>
                      <a:cubicBezTo>
                        <a:pt x="42472" y="54606"/>
                        <a:pt x="54606" y="42472"/>
                        <a:pt x="54606" y="27303"/>
                      </a:cubicBezTo>
                      <a:cubicBezTo>
                        <a:pt x="54606" y="12135"/>
                        <a:pt x="42472" y="0"/>
                        <a:pt x="27303" y="0"/>
                      </a:cubicBezTo>
                      <a:cubicBezTo>
                        <a:pt x="12135" y="0"/>
                        <a:pt x="0" y="12135"/>
                        <a:pt x="0" y="27303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94" name="图形 1">
              <a:extLst>
                <a:ext uri="{FF2B5EF4-FFF2-40B4-BE49-F238E27FC236}">
                  <a16:creationId xmlns:a16="http://schemas.microsoft.com/office/drawing/2014/main" id="{374E761A-197B-4E9F-8B85-FBB4767C8E79}"/>
                </a:ext>
              </a:extLst>
            </p:cNvPr>
            <p:cNvGrpSpPr/>
            <p:nvPr/>
          </p:nvGrpSpPr>
          <p:grpSpPr>
            <a:xfrm>
              <a:off x="11627568" y="6353887"/>
              <a:ext cx="494494" cy="330674"/>
              <a:chOff x="11627568" y="6353887"/>
              <a:chExt cx="494494" cy="330674"/>
            </a:xfrm>
          </p:grpSpPr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F8845C1C-F1EF-4BFF-A8EC-91059503FC51}"/>
                  </a:ext>
                </a:extLst>
              </p:cNvPr>
              <p:cNvSpPr/>
              <p:nvPr/>
            </p:nvSpPr>
            <p:spPr>
              <a:xfrm>
                <a:off x="11636668" y="6353887"/>
                <a:ext cx="206292" cy="224494"/>
              </a:xfrm>
              <a:custGeom>
                <a:avLst/>
                <a:gdLst>
                  <a:gd name="connsiteX0" fmla="*/ 0 w 206292"/>
                  <a:gd name="connsiteY0" fmla="*/ 185056 h 224494"/>
                  <a:gd name="connsiteX1" fmla="*/ 24270 w 206292"/>
                  <a:gd name="connsiteY1" fmla="*/ 0 h 224494"/>
                  <a:gd name="connsiteX2" fmla="*/ 206293 w 206292"/>
                  <a:gd name="connsiteY2" fmla="*/ 0 h 224494"/>
                  <a:gd name="connsiteX3" fmla="*/ 160787 w 206292"/>
                  <a:gd name="connsiteY3" fmla="*/ 194157 h 224494"/>
                  <a:gd name="connsiteX4" fmla="*/ 12135 w 206292"/>
                  <a:gd name="connsiteY4" fmla="*/ 224494 h 2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6292" h="224494">
                    <a:moveTo>
                      <a:pt x="0" y="185056"/>
                    </a:moveTo>
                    <a:lnTo>
                      <a:pt x="24270" y="0"/>
                    </a:lnTo>
                    <a:lnTo>
                      <a:pt x="206293" y="0"/>
                    </a:lnTo>
                    <a:lnTo>
                      <a:pt x="160787" y="194157"/>
                    </a:lnTo>
                    <a:lnTo>
                      <a:pt x="12135" y="224494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6EEC0CEC-223F-4D6F-AD5E-CD5740C45987}"/>
                  </a:ext>
                </a:extLst>
              </p:cNvPr>
              <p:cNvSpPr/>
              <p:nvPr/>
            </p:nvSpPr>
            <p:spPr>
              <a:xfrm>
                <a:off x="11628578" y="6481302"/>
                <a:ext cx="493483" cy="157752"/>
              </a:xfrm>
              <a:custGeom>
                <a:avLst/>
                <a:gdLst>
                  <a:gd name="connsiteX0" fmla="*/ 8090 w 493483"/>
                  <a:gd name="connsiteY0" fmla="*/ 45506 h 157752"/>
                  <a:gd name="connsiteX1" fmla="*/ 193146 w 493483"/>
                  <a:gd name="connsiteY1" fmla="*/ 0 h 157752"/>
                  <a:gd name="connsiteX2" fmla="*/ 326629 w 493483"/>
                  <a:gd name="connsiteY2" fmla="*/ 78877 h 157752"/>
                  <a:gd name="connsiteX3" fmla="*/ 493483 w 493483"/>
                  <a:gd name="connsiteY3" fmla="*/ 157753 h 157752"/>
                  <a:gd name="connsiteX4" fmla="*/ 8090 w 493483"/>
                  <a:gd name="connsiteY4" fmla="*/ 157753 h 157752"/>
                  <a:gd name="connsiteX5" fmla="*/ 8090 w 493483"/>
                  <a:gd name="connsiteY5" fmla="*/ 45506 h 157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3483" h="157752">
                    <a:moveTo>
                      <a:pt x="8090" y="45506"/>
                    </a:moveTo>
                    <a:cubicBezTo>
                      <a:pt x="8090" y="45506"/>
                      <a:pt x="132472" y="63708"/>
                      <a:pt x="193146" y="0"/>
                    </a:cubicBezTo>
                    <a:cubicBezTo>
                      <a:pt x="193146" y="0"/>
                      <a:pt x="281124" y="69775"/>
                      <a:pt x="326629" y="78877"/>
                    </a:cubicBezTo>
                    <a:cubicBezTo>
                      <a:pt x="372135" y="87977"/>
                      <a:pt x="481349" y="84944"/>
                      <a:pt x="493483" y="157753"/>
                    </a:cubicBezTo>
                    <a:lnTo>
                      <a:pt x="8090" y="157753"/>
                    </a:lnTo>
                    <a:cubicBezTo>
                      <a:pt x="8090" y="157753"/>
                      <a:pt x="-10112" y="94045"/>
                      <a:pt x="8090" y="4550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F696C295-1DA7-45EF-8130-4B12D68DC6CA}"/>
                  </a:ext>
                </a:extLst>
              </p:cNvPr>
              <p:cNvSpPr/>
              <p:nvPr/>
            </p:nvSpPr>
            <p:spPr>
              <a:xfrm>
                <a:off x="11636669" y="6639055"/>
                <a:ext cx="485393" cy="45505"/>
              </a:xfrm>
              <a:custGeom>
                <a:avLst/>
                <a:gdLst>
                  <a:gd name="connsiteX0" fmla="*/ 0 w 485393"/>
                  <a:gd name="connsiteY0" fmla="*/ 0 h 45505"/>
                  <a:gd name="connsiteX1" fmla="*/ 485393 w 485393"/>
                  <a:gd name="connsiteY1" fmla="*/ 0 h 45505"/>
                  <a:gd name="connsiteX2" fmla="*/ 485393 w 485393"/>
                  <a:gd name="connsiteY2" fmla="*/ 45506 h 45505"/>
                  <a:gd name="connsiteX3" fmla="*/ 0 w 485393"/>
                  <a:gd name="connsiteY3" fmla="*/ 45506 h 4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393" h="45505">
                    <a:moveTo>
                      <a:pt x="0" y="0"/>
                    </a:moveTo>
                    <a:lnTo>
                      <a:pt x="485393" y="0"/>
                    </a:lnTo>
                    <a:lnTo>
                      <a:pt x="485393" y="45506"/>
                    </a:lnTo>
                    <a:lnTo>
                      <a:pt x="0" y="45506"/>
                    </a:ln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8" name="任意多边形: 形状 167">
                <a:extLst>
                  <a:ext uri="{FF2B5EF4-FFF2-40B4-BE49-F238E27FC236}">
                    <a16:creationId xmlns:a16="http://schemas.microsoft.com/office/drawing/2014/main" id="{176EFC31-0DB6-45C3-B4FE-40DB955FD8C8}"/>
                  </a:ext>
                </a:extLst>
              </p:cNvPr>
              <p:cNvSpPr/>
              <p:nvPr/>
            </p:nvSpPr>
            <p:spPr>
              <a:xfrm>
                <a:off x="11627568" y="6469926"/>
                <a:ext cx="199466" cy="62949"/>
              </a:xfrm>
              <a:custGeom>
                <a:avLst/>
                <a:gdLst>
                  <a:gd name="connsiteX0" fmla="*/ 42472 w 199466"/>
                  <a:gd name="connsiteY0" fmla="*/ 62949 h 62949"/>
                  <a:gd name="connsiteX1" fmla="*/ 6067 w 199466"/>
                  <a:gd name="connsiteY1" fmla="*/ 59916 h 62949"/>
                  <a:gd name="connsiteX2" fmla="*/ 0 w 199466"/>
                  <a:gd name="connsiteY2" fmla="*/ 53848 h 62949"/>
                  <a:gd name="connsiteX3" fmla="*/ 6067 w 199466"/>
                  <a:gd name="connsiteY3" fmla="*/ 47781 h 62949"/>
                  <a:gd name="connsiteX4" fmla="*/ 188089 w 199466"/>
                  <a:gd name="connsiteY4" fmla="*/ 2275 h 62949"/>
                  <a:gd name="connsiteX5" fmla="*/ 197191 w 199466"/>
                  <a:gd name="connsiteY5" fmla="*/ 2275 h 62949"/>
                  <a:gd name="connsiteX6" fmla="*/ 197191 w 199466"/>
                  <a:gd name="connsiteY6" fmla="*/ 11376 h 62949"/>
                  <a:gd name="connsiteX7" fmla="*/ 42472 w 199466"/>
                  <a:gd name="connsiteY7" fmla="*/ 62949 h 62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9466" h="62949">
                    <a:moveTo>
                      <a:pt x="42472" y="62949"/>
                    </a:moveTo>
                    <a:cubicBezTo>
                      <a:pt x="21235" y="62949"/>
                      <a:pt x="9101" y="59916"/>
                      <a:pt x="6067" y="59916"/>
                    </a:cubicBezTo>
                    <a:cubicBezTo>
                      <a:pt x="3034" y="59916"/>
                      <a:pt x="0" y="56882"/>
                      <a:pt x="0" y="53848"/>
                    </a:cubicBezTo>
                    <a:cubicBezTo>
                      <a:pt x="0" y="50815"/>
                      <a:pt x="3034" y="47781"/>
                      <a:pt x="6067" y="47781"/>
                    </a:cubicBezTo>
                    <a:cubicBezTo>
                      <a:pt x="6067" y="47781"/>
                      <a:pt x="118314" y="62949"/>
                      <a:pt x="188089" y="2275"/>
                    </a:cubicBezTo>
                    <a:cubicBezTo>
                      <a:pt x="191123" y="-758"/>
                      <a:pt x="194157" y="-758"/>
                      <a:pt x="197191" y="2275"/>
                    </a:cubicBezTo>
                    <a:cubicBezTo>
                      <a:pt x="200225" y="5309"/>
                      <a:pt x="200225" y="8342"/>
                      <a:pt x="197191" y="11376"/>
                    </a:cubicBezTo>
                    <a:cubicBezTo>
                      <a:pt x="148652" y="56882"/>
                      <a:pt x="84943" y="62949"/>
                      <a:pt x="42472" y="6294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5" name="图形 1">
              <a:extLst>
                <a:ext uri="{FF2B5EF4-FFF2-40B4-BE49-F238E27FC236}">
                  <a16:creationId xmlns:a16="http://schemas.microsoft.com/office/drawing/2014/main" id="{F0A351D6-6631-403E-9EDC-2DDD8BC878AE}"/>
                </a:ext>
              </a:extLst>
            </p:cNvPr>
            <p:cNvGrpSpPr/>
            <p:nvPr/>
          </p:nvGrpSpPr>
          <p:grpSpPr>
            <a:xfrm>
              <a:off x="10053073" y="6220403"/>
              <a:ext cx="391348" cy="464157"/>
              <a:chOff x="10053073" y="6220403"/>
              <a:chExt cx="391348" cy="464157"/>
            </a:xfrm>
          </p:grpSpPr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B19C2E50-028A-4AB9-92CF-D9B221FB9A35}"/>
                  </a:ext>
                </a:extLst>
              </p:cNvPr>
              <p:cNvSpPr/>
              <p:nvPr/>
            </p:nvSpPr>
            <p:spPr>
              <a:xfrm>
                <a:off x="10153185" y="6220403"/>
                <a:ext cx="291236" cy="254831"/>
              </a:xfrm>
              <a:custGeom>
                <a:avLst/>
                <a:gdLst>
                  <a:gd name="connsiteX0" fmla="*/ 27303 w 291236"/>
                  <a:gd name="connsiteY0" fmla="*/ 106180 h 254831"/>
                  <a:gd name="connsiteX1" fmla="*/ 178989 w 291236"/>
                  <a:gd name="connsiteY1" fmla="*/ 0 h 254831"/>
                  <a:gd name="connsiteX2" fmla="*/ 291236 w 291236"/>
                  <a:gd name="connsiteY2" fmla="*/ 145618 h 254831"/>
                  <a:gd name="connsiteX3" fmla="*/ 100112 w 291236"/>
                  <a:gd name="connsiteY3" fmla="*/ 254832 h 254831"/>
                  <a:gd name="connsiteX4" fmla="*/ 0 w 291236"/>
                  <a:gd name="connsiteY4" fmla="*/ 136517 h 254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1236" h="254831">
                    <a:moveTo>
                      <a:pt x="27303" y="106180"/>
                    </a:moveTo>
                    <a:lnTo>
                      <a:pt x="178989" y="0"/>
                    </a:lnTo>
                    <a:lnTo>
                      <a:pt x="291236" y="145618"/>
                    </a:lnTo>
                    <a:lnTo>
                      <a:pt x="100112" y="254832"/>
                    </a:lnTo>
                    <a:lnTo>
                      <a:pt x="0" y="136517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E062EF46-D7C7-4742-B927-8B94AAC1F7AE}"/>
                  </a:ext>
                </a:extLst>
              </p:cNvPr>
              <p:cNvSpPr/>
              <p:nvPr/>
            </p:nvSpPr>
            <p:spPr>
              <a:xfrm>
                <a:off x="10092511" y="6317482"/>
                <a:ext cx="245730" cy="354606"/>
              </a:xfrm>
              <a:custGeom>
                <a:avLst/>
                <a:gdLst>
                  <a:gd name="connsiteX0" fmla="*/ 100112 w 245730"/>
                  <a:gd name="connsiteY0" fmla="*/ 0 h 354606"/>
                  <a:gd name="connsiteX1" fmla="*/ 230562 w 245730"/>
                  <a:gd name="connsiteY1" fmla="*/ 139550 h 354606"/>
                  <a:gd name="connsiteX2" fmla="*/ 224494 w 245730"/>
                  <a:gd name="connsiteY2" fmla="*/ 294270 h 354606"/>
                  <a:gd name="connsiteX3" fmla="*/ 245731 w 245730"/>
                  <a:gd name="connsiteY3" fmla="*/ 351910 h 354606"/>
                  <a:gd name="connsiteX4" fmla="*/ 166854 w 245730"/>
                  <a:gd name="connsiteY4" fmla="*/ 351910 h 354606"/>
                  <a:gd name="connsiteX5" fmla="*/ 0 w 245730"/>
                  <a:gd name="connsiteY5" fmla="*/ 54606 h 354606"/>
                  <a:gd name="connsiteX6" fmla="*/ 100112 w 245730"/>
                  <a:gd name="connsiteY6" fmla="*/ 0 h 354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730" h="354606">
                    <a:moveTo>
                      <a:pt x="100112" y="0"/>
                    </a:moveTo>
                    <a:cubicBezTo>
                      <a:pt x="100112" y="0"/>
                      <a:pt x="145618" y="118314"/>
                      <a:pt x="230562" y="139550"/>
                    </a:cubicBezTo>
                    <a:cubicBezTo>
                      <a:pt x="230562" y="139550"/>
                      <a:pt x="212360" y="251797"/>
                      <a:pt x="224494" y="294270"/>
                    </a:cubicBezTo>
                    <a:cubicBezTo>
                      <a:pt x="230562" y="309438"/>
                      <a:pt x="239663" y="330674"/>
                      <a:pt x="245731" y="351910"/>
                    </a:cubicBezTo>
                    <a:cubicBezTo>
                      <a:pt x="206292" y="357977"/>
                      <a:pt x="166854" y="351910"/>
                      <a:pt x="166854" y="351910"/>
                    </a:cubicBezTo>
                    <a:lnTo>
                      <a:pt x="0" y="54606"/>
                    </a:lnTo>
                    <a:cubicBezTo>
                      <a:pt x="0" y="54606"/>
                      <a:pt x="45506" y="6067"/>
                      <a:pt x="100112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7162D569-8FDD-4AE9-9DB2-2670978AE993}"/>
                  </a:ext>
                </a:extLst>
              </p:cNvPr>
              <p:cNvSpPr/>
              <p:nvPr/>
            </p:nvSpPr>
            <p:spPr>
              <a:xfrm>
                <a:off x="10053073" y="6372089"/>
                <a:ext cx="215392" cy="312472"/>
              </a:xfrm>
              <a:custGeom>
                <a:avLst/>
                <a:gdLst>
                  <a:gd name="connsiteX0" fmla="*/ 215393 w 215392"/>
                  <a:gd name="connsiteY0" fmla="*/ 312472 h 312472"/>
                  <a:gd name="connsiteX1" fmla="*/ 39438 w 215392"/>
                  <a:gd name="connsiteY1" fmla="*/ 0 h 312472"/>
                  <a:gd name="connsiteX2" fmla="*/ 0 w 215392"/>
                  <a:gd name="connsiteY2" fmla="*/ 21236 h 312472"/>
                  <a:gd name="connsiteX3" fmla="*/ 163821 w 215392"/>
                  <a:gd name="connsiteY3" fmla="*/ 312472 h 312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392" h="312472">
                    <a:moveTo>
                      <a:pt x="215393" y="312472"/>
                    </a:moveTo>
                    <a:lnTo>
                      <a:pt x="39438" y="0"/>
                    </a:lnTo>
                    <a:lnTo>
                      <a:pt x="0" y="21236"/>
                    </a:lnTo>
                    <a:lnTo>
                      <a:pt x="163821" y="312472"/>
                    </a:ln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4" name="任意多边形: 形状 163">
                <a:extLst>
                  <a:ext uri="{FF2B5EF4-FFF2-40B4-BE49-F238E27FC236}">
                    <a16:creationId xmlns:a16="http://schemas.microsoft.com/office/drawing/2014/main" id="{46236416-C8FB-448B-8695-AEB12A3AC5F8}"/>
                  </a:ext>
                </a:extLst>
              </p:cNvPr>
              <p:cNvSpPr/>
              <p:nvPr/>
            </p:nvSpPr>
            <p:spPr>
              <a:xfrm>
                <a:off x="10186556" y="6311414"/>
                <a:ext cx="139550" cy="148651"/>
              </a:xfrm>
              <a:custGeom>
                <a:avLst/>
                <a:gdLst>
                  <a:gd name="connsiteX0" fmla="*/ 136517 w 139550"/>
                  <a:gd name="connsiteY0" fmla="*/ 148652 h 148651"/>
                  <a:gd name="connsiteX1" fmla="*/ 136517 w 139550"/>
                  <a:gd name="connsiteY1" fmla="*/ 148652 h 148651"/>
                  <a:gd name="connsiteX2" fmla="*/ 0 w 139550"/>
                  <a:gd name="connsiteY2" fmla="*/ 6068 h 148651"/>
                  <a:gd name="connsiteX3" fmla="*/ 3034 w 139550"/>
                  <a:gd name="connsiteY3" fmla="*/ 0 h 148651"/>
                  <a:gd name="connsiteX4" fmla="*/ 9101 w 139550"/>
                  <a:gd name="connsiteY4" fmla="*/ 3034 h 148651"/>
                  <a:gd name="connsiteX5" fmla="*/ 136517 w 139550"/>
                  <a:gd name="connsiteY5" fmla="*/ 139551 h 148651"/>
                  <a:gd name="connsiteX6" fmla="*/ 139551 w 139550"/>
                  <a:gd name="connsiteY6" fmla="*/ 145618 h 148651"/>
                  <a:gd name="connsiteX7" fmla="*/ 136517 w 139550"/>
                  <a:gd name="connsiteY7" fmla="*/ 148652 h 148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550" h="148651">
                    <a:moveTo>
                      <a:pt x="136517" y="148652"/>
                    </a:moveTo>
                    <a:cubicBezTo>
                      <a:pt x="136517" y="148652"/>
                      <a:pt x="133483" y="148652"/>
                      <a:pt x="136517" y="148652"/>
                    </a:cubicBezTo>
                    <a:cubicBezTo>
                      <a:pt x="42472" y="118315"/>
                      <a:pt x="3034" y="12135"/>
                      <a:pt x="0" y="6068"/>
                    </a:cubicBezTo>
                    <a:cubicBezTo>
                      <a:pt x="0" y="3034"/>
                      <a:pt x="0" y="0"/>
                      <a:pt x="3034" y="0"/>
                    </a:cubicBezTo>
                    <a:cubicBezTo>
                      <a:pt x="6067" y="0"/>
                      <a:pt x="9101" y="0"/>
                      <a:pt x="9101" y="3034"/>
                    </a:cubicBezTo>
                    <a:cubicBezTo>
                      <a:pt x="9101" y="3034"/>
                      <a:pt x="51572" y="109214"/>
                      <a:pt x="136517" y="139551"/>
                    </a:cubicBezTo>
                    <a:cubicBezTo>
                      <a:pt x="139551" y="139551"/>
                      <a:pt x="139551" y="142585"/>
                      <a:pt x="139551" y="145618"/>
                    </a:cubicBezTo>
                    <a:cubicBezTo>
                      <a:pt x="139551" y="148652"/>
                      <a:pt x="139551" y="148652"/>
                      <a:pt x="136517" y="14865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5387DCC0-4D2C-42A1-9CAE-399DDEDF710A}"/>
                </a:ext>
              </a:extLst>
            </p:cNvPr>
            <p:cNvSpPr/>
            <p:nvPr/>
          </p:nvSpPr>
          <p:spPr>
            <a:xfrm>
              <a:off x="10253297" y="4170107"/>
              <a:ext cx="1828266" cy="2256588"/>
            </a:xfrm>
            <a:custGeom>
              <a:avLst/>
              <a:gdLst>
                <a:gd name="connsiteX0" fmla="*/ 1383371 w 1828266"/>
                <a:gd name="connsiteY0" fmla="*/ 38948 h 2256588"/>
                <a:gd name="connsiteX1" fmla="*/ 1826293 w 1828266"/>
                <a:gd name="connsiteY1" fmla="*/ 1216027 h 2256588"/>
                <a:gd name="connsiteX2" fmla="*/ 1635169 w 1828266"/>
                <a:gd name="connsiteY2" fmla="*/ 2256589 h 2256588"/>
                <a:gd name="connsiteX3" fmla="*/ 1340899 w 1828266"/>
                <a:gd name="connsiteY3" fmla="*/ 2256589 h 2256588"/>
                <a:gd name="connsiteX4" fmla="*/ 1425843 w 1828266"/>
                <a:gd name="connsiteY4" fmla="*/ 1240297 h 2256588"/>
                <a:gd name="connsiteX5" fmla="*/ 888877 w 1828266"/>
                <a:gd name="connsiteY5" fmla="*/ 518274 h 2256588"/>
                <a:gd name="connsiteX6" fmla="*/ 1013259 w 1828266"/>
                <a:gd name="connsiteY6" fmla="*/ 1437488 h 2256588"/>
                <a:gd name="connsiteX7" fmla="*/ 148652 w 1828266"/>
                <a:gd name="connsiteY7" fmla="*/ 2256589 h 2256588"/>
                <a:gd name="connsiteX8" fmla="*/ 0 w 1828266"/>
                <a:gd name="connsiteY8" fmla="*/ 2047263 h 2256588"/>
                <a:gd name="connsiteX9" fmla="*/ 521798 w 1828266"/>
                <a:gd name="connsiteY9" fmla="*/ 1367713 h 2256588"/>
                <a:gd name="connsiteX10" fmla="*/ 306405 w 1828266"/>
                <a:gd name="connsiteY10" fmla="*/ 26814 h 2256588"/>
                <a:gd name="connsiteX11" fmla="*/ 1383371 w 1828266"/>
                <a:gd name="connsiteY11" fmla="*/ 38948 h 2256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28266" h="2256588">
                  <a:moveTo>
                    <a:pt x="1383371" y="38948"/>
                  </a:moveTo>
                  <a:cubicBezTo>
                    <a:pt x="1383371" y="38948"/>
                    <a:pt x="1862697" y="906589"/>
                    <a:pt x="1826293" y="1216027"/>
                  </a:cubicBezTo>
                  <a:cubicBezTo>
                    <a:pt x="1795956" y="1486027"/>
                    <a:pt x="1635169" y="2256589"/>
                    <a:pt x="1635169" y="2256589"/>
                  </a:cubicBezTo>
                  <a:lnTo>
                    <a:pt x="1340899" y="2256589"/>
                  </a:lnTo>
                  <a:cubicBezTo>
                    <a:pt x="1340899" y="2256589"/>
                    <a:pt x="1431911" y="1337376"/>
                    <a:pt x="1425843" y="1240297"/>
                  </a:cubicBezTo>
                  <a:cubicBezTo>
                    <a:pt x="1419776" y="1100746"/>
                    <a:pt x="904046" y="548612"/>
                    <a:pt x="888877" y="518274"/>
                  </a:cubicBezTo>
                  <a:cubicBezTo>
                    <a:pt x="873708" y="487937"/>
                    <a:pt x="1073933" y="1273668"/>
                    <a:pt x="1013259" y="1437488"/>
                  </a:cubicBezTo>
                  <a:cubicBezTo>
                    <a:pt x="961686" y="1580072"/>
                    <a:pt x="148652" y="2256589"/>
                    <a:pt x="148652" y="2256589"/>
                  </a:cubicBezTo>
                  <a:lnTo>
                    <a:pt x="0" y="2047263"/>
                  </a:lnTo>
                  <a:cubicBezTo>
                    <a:pt x="0" y="2047263"/>
                    <a:pt x="527866" y="1467825"/>
                    <a:pt x="521798" y="1367713"/>
                  </a:cubicBezTo>
                  <a:cubicBezTo>
                    <a:pt x="512697" y="1216027"/>
                    <a:pt x="218427" y="163330"/>
                    <a:pt x="306405" y="26814"/>
                  </a:cubicBezTo>
                  <a:cubicBezTo>
                    <a:pt x="988989" y="-39928"/>
                    <a:pt x="1383371" y="38948"/>
                    <a:pt x="1383371" y="38948"/>
                  </a:cubicBezTo>
                  <a:close/>
                </a:path>
              </a:pathLst>
            </a:custGeom>
            <a:solidFill>
              <a:srgbClr val="F1DDBA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1904BE14-AFB9-4CDB-8B2E-C869427F7AB7}"/>
                </a:ext>
              </a:extLst>
            </p:cNvPr>
            <p:cNvSpPr/>
            <p:nvPr/>
          </p:nvSpPr>
          <p:spPr>
            <a:xfrm>
              <a:off x="11727928" y="2933344"/>
              <a:ext cx="415370" cy="596562"/>
            </a:xfrm>
            <a:custGeom>
              <a:avLst/>
              <a:gdLst>
                <a:gd name="connsiteX0" fmla="*/ 2786 w 415370"/>
                <a:gd name="connsiteY0" fmla="*/ 593127 h 596562"/>
                <a:gd name="connsiteX1" fmla="*/ 111999 w 415370"/>
                <a:gd name="connsiteY1" fmla="*/ 4587 h 596562"/>
                <a:gd name="connsiteX2" fmla="*/ 415370 w 415370"/>
                <a:gd name="connsiteY2" fmla="*/ 505149 h 596562"/>
                <a:gd name="connsiteX3" fmla="*/ 2786 w 415370"/>
                <a:gd name="connsiteY3" fmla="*/ 593127 h 596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370" h="596562">
                  <a:moveTo>
                    <a:pt x="2786" y="593127"/>
                  </a:moveTo>
                  <a:cubicBezTo>
                    <a:pt x="2786" y="593127"/>
                    <a:pt x="-27551" y="59194"/>
                    <a:pt x="111999" y="4587"/>
                  </a:cubicBezTo>
                  <a:cubicBezTo>
                    <a:pt x="269752" y="-56087"/>
                    <a:pt x="415370" y="505149"/>
                    <a:pt x="415370" y="505149"/>
                  </a:cubicBezTo>
                  <a:cubicBezTo>
                    <a:pt x="415370" y="505149"/>
                    <a:pt x="215145" y="617397"/>
                    <a:pt x="2786" y="593127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CFAB7BEF-BB79-498F-84BD-241FE8018D48}"/>
                </a:ext>
              </a:extLst>
            </p:cNvPr>
            <p:cNvSpPr/>
            <p:nvPr/>
          </p:nvSpPr>
          <p:spPr>
            <a:xfrm>
              <a:off x="11387905" y="2582911"/>
              <a:ext cx="276066" cy="280017"/>
            </a:xfrm>
            <a:custGeom>
              <a:avLst/>
              <a:gdLst>
                <a:gd name="connsiteX0" fmla="*/ 276067 w 276066"/>
                <a:gd name="connsiteY0" fmla="*/ 85020 h 280017"/>
                <a:gd name="connsiteX1" fmla="*/ 236629 w 276066"/>
                <a:gd name="connsiteY1" fmla="*/ 254908 h 280017"/>
                <a:gd name="connsiteX2" fmla="*/ 0 w 276066"/>
                <a:gd name="connsiteY2" fmla="*/ 197268 h 280017"/>
                <a:gd name="connsiteX3" fmla="*/ 54606 w 276066"/>
                <a:gd name="connsiteY3" fmla="*/ 77 h 280017"/>
                <a:gd name="connsiteX4" fmla="*/ 276067 w 276066"/>
                <a:gd name="connsiteY4" fmla="*/ 85020 h 28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066" h="280017">
                  <a:moveTo>
                    <a:pt x="276067" y="85020"/>
                  </a:moveTo>
                  <a:cubicBezTo>
                    <a:pt x="276067" y="85020"/>
                    <a:pt x="248764" y="182099"/>
                    <a:pt x="236629" y="254908"/>
                  </a:cubicBezTo>
                  <a:cubicBezTo>
                    <a:pt x="236629" y="254908"/>
                    <a:pt x="124381" y="339852"/>
                    <a:pt x="0" y="197268"/>
                  </a:cubicBezTo>
                  <a:cubicBezTo>
                    <a:pt x="12135" y="136594"/>
                    <a:pt x="39438" y="63785"/>
                    <a:pt x="54606" y="77"/>
                  </a:cubicBezTo>
                  <a:cubicBezTo>
                    <a:pt x="51572" y="-2957"/>
                    <a:pt x="221460" y="85020"/>
                    <a:pt x="276067" y="85020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72307D63-9700-4909-9BAE-0C4388091E51}"/>
                </a:ext>
              </a:extLst>
            </p:cNvPr>
            <p:cNvSpPr/>
            <p:nvPr/>
          </p:nvSpPr>
          <p:spPr>
            <a:xfrm>
              <a:off x="11359924" y="2443437"/>
              <a:ext cx="58318" cy="148651"/>
            </a:xfrm>
            <a:custGeom>
              <a:avLst/>
              <a:gdLst>
                <a:gd name="connsiteX0" fmla="*/ 677 w 58318"/>
                <a:gd name="connsiteY0" fmla="*/ 0 h 148651"/>
                <a:gd name="connsiteX1" fmla="*/ 40116 w 58318"/>
                <a:gd name="connsiteY1" fmla="*/ 148652 h 148651"/>
                <a:gd name="connsiteX2" fmla="*/ 58318 w 58318"/>
                <a:gd name="connsiteY2" fmla="*/ 66742 h 148651"/>
                <a:gd name="connsiteX3" fmla="*/ 677 w 58318"/>
                <a:gd name="connsiteY3" fmla="*/ 0 h 148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318" h="148651">
                  <a:moveTo>
                    <a:pt x="677" y="0"/>
                  </a:moveTo>
                  <a:cubicBezTo>
                    <a:pt x="677" y="0"/>
                    <a:pt x="-8424" y="118315"/>
                    <a:pt x="40116" y="148652"/>
                  </a:cubicBezTo>
                  <a:lnTo>
                    <a:pt x="58318" y="66742"/>
                  </a:lnTo>
                  <a:lnTo>
                    <a:pt x="677" y="0"/>
                  </a:ln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46303B22-1896-4E88-8A2F-F9A3497DB436}"/>
                </a:ext>
              </a:extLst>
            </p:cNvPr>
            <p:cNvSpPr/>
            <p:nvPr/>
          </p:nvSpPr>
          <p:spPr>
            <a:xfrm>
              <a:off x="11723514" y="2325123"/>
              <a:ext cx="119447" cy="225795"/>
            </a:xfrm>
            <a:custGeom>
              <a:avLst/>
              <a:gdLst>
                <a:gd name="connsiteX0" fmla="*/ 119447 w 119447"/>
                <a:gd name="connsiteY0" fmla="*/ 3034 h 225795"/>
                <a:gd name="connsiteX1" fmla="*/ 34503 w 119447"/>
                <a:gd name="connsiteY1" fmla="*/ 224494 h 225795"/>
                <a:gd name="connsiteX2" fmla="*/ 22368 w 119447"/>
                <a:gd name="connsiteY2" fmla="*/ 0 h 225795"/>
                <a:gd name="connsiteX3" fmla="*/ 119447 w 119447"/>
                <a:gd name="connsiteY3" fmla="*/ 3034 h 225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447" h="225795">
                  <a:moveTo>
                    <a:pt x="119447" y="3034"/>
                  </a:moveTo>
                  <a:cubicBezTo>
                    <a:pt x="119447" y="3034"/>
                    <a:pt x="113380" y="200225"/>
                    <a:pt x="34503" y="224494"/>
                  </a:cubicBezTo>
                  <a:cubicBezTo>
                    <a:pt x="-35272" y="245730"/>
                    <a:pt x="22368" y="0"/>
                    <a:pt x="22368" y="0"/>
                  </a:cubicBezTo>
                  <a:lnTo>
                    <a:pt x="119447" y="3034"/>
                  </a:ln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98EAE103-E8F3-4BB8-8543-A64D9B783FCA}"/>
                </a:ext>
              </a:extLst>
            </p:cNvPr>
            <p:cNvSpPr/>
            <p:nvPr/>
          </p:nvSpPr>
          <p:spPr>
            <a:xfrm>
              <a:off x="11378680" y="2148398"/>
              <a:ext cx="415741" cy="565552"/>
            </a:xfrm>
            <a:custGeom>
              <a:avLst/>
              <a:gdLst>
                <a:gd name="connsiteX0" fmla="*/ 415741 w 415741"/>
                <a:gd name="connsiteY0" fmla="*/ 216163 h 565552"/>
                <a:gd name="connsiteX1" fmla="*/ 370236 w 415741"/>
                <a:gd name="connsiteY1" fmla="*/ 461893 h 565552"/>
                <a:gd name="connsiteX2" fmla="*/ 188213 w 415741"/>
                <a:gd name="connsiteY2" fmla="*/ 565039 h 565552"/>
                <a:gd name="connsiteX3" fmla="*/ 3157 w 415741"/>
                <a:gd name="connsiteY3" fmla="*/ 383017 h 565552"/>
                <a:gd name="connsiteX4" fmla="*/ 9225 w 415741"/>
                <a:gd name="connsiteY4" fmla="*/ 155489 h 565552"/>
                <a:gd name="connsiteX5" fmla="*/ 254954 w 415741"/>
                <a:gd name="connsiteY5" fmla="*/ 770 h 565552"/>
                <a:gd name="connsiteX6" fmla="*/ 415741 w 415741"/>
                <a:gd name="connsiteY6" fmla="*/ 216163 h 565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5741" h="565552">
                  <a:moveTo>
                    <a:pt x="415741" y="216163"/>
                  </a:moveTo>
                  <a:cubicBezTo>
                    <a:pt x="415741" y="216163"/>
                    <a:pt x="403607" y="392118"/>
                    <a:pt x="370236" y="461893"/>
                  </a:cubicBezTo>
                  <a:cubicBezTo>
                    <a:pt x="339899" y="522567"/>
                    <a:pt x="239786" y="571107"/>
                    <a:pt x="188213" y="565039"/>
                  </a:cubicBezTo>
                  <a:cubicBezTo>
                    <a:pt x="121471" y="558972"/>
                    <a:pt x="12258" y="495264"/>
                    <a:pt x="3157" y="383017"/>
                  </a:cubicBezTo>
                  <a:cubicBezTo>
                    <a:pt x="-2911" y="307174"/>
                    <a:pt x="123" y="207062"/>
                    <a:pt x="9225" y="155489"/>
                  </a:cubicBezTo>
                  <a:cubicBezTo>
                    <a:pt x="27426" y="64478"/>
                    <a:pt x="69899" y="-8331"/>
                    <a:pt x="254954" y="770"/>
                  </a:cubicBezTo>
                  <a:cubicBezTo>
                    <a:pt x="342932" y="3803"/>
                    <a:pt x="412707" y="137287"/>
                    <a:pt x="415741" y="216163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C8AB3110-1E16-4994-8905-5C67DC02A558}"/>
                </a:ext>
              </a:extLst>
            </p:cNvPr>
            <p:cNvSpPr/>
            <p:nvPr/>
          </p:nvSpPr>
          <p:spPr>
            <a:xfrm>
              <a:off x="11572960" y="2413100"/>
              <a:ext cx="69775" cy="136516"/>
            </a:xfrm>
            <a:custGeom>
              <a:avLst/>
              <a:gdLst>
                <a:gd name="connsiteX0" fmla="*/ 39439 w 69775"/>
                <a:gd name="connsiteY0" fmla="*/ 136517 h 136516"/>
                <a:gd name="connsiteX1" fmla="*/ 3034 w 69775"/>
                <a:gd name="connsiteY1" fmla="*/ 127416 h 136516"/>
                <a:gd name="connsiteX2" fmla="*/ 0 w 69775"/>
                <a:gd name="connsiteY2" fmla="*/ 118315 h 136516"/>
                <a:gd name="connsiteX3" fmla="*/ 9102 w 69775"/>
                <a:gd name="connsiteY3" fmla="*/ 115281 h 136516"/>
                <a:gd name="connsiteX4" fmla="*/ 48540 w 69775"/>
                <a:gd name="connsiteY4" fmla="*/ 121348 h 136516"/>
                <a:gd name="connsiteX5" fmla="*/ 51573 w 69775"/>
                <a:gd name="connsiteY5" fmla="*/ 118315 h 136516"/>
                <a:gd name="connsiteX6" fmla="*/ 57641 w 69775"/>
                <a:gd name="connsiteY6" fmla="*/ 6067 h 136516"/>
                <a:gd name="connsiteX7" fmla="*/ 63708 w 69775"/>
                <a:gd name="connsiteY7" fmla="*/ 0 h 136516"/>
                <a:gd name="connsiteX8" fmla="*/ 69776 w 69775"/>
                <a:gd name="connsiteY8" fmla="*/ 6067 h 136516"/>
                <a:gd name="connsiteX9" fmla="*/ 63708 w 69775"/>
                <a:gd name="connsiteY9" fmla="*/ 121348 h 136516"/>
                <a:gd name="connsiteX10" fmla="*/ 54607 w 69775"/>
                <a:gd name="connsiteY10" fmla="*/ 133483 h 136516"/>
                <a:gd name="connsiteX11" fmla="*/ 39439 w 69775"/>
                <a:gd name="connsiteY11" fmla="*/ 136517 h 13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9775" h="136516">
                  <a:moveTo>
                    <a:pt x="39439" y="136517"/>
                  </a:moveTo>
                  <a:cubicBezTo>
                    <a:pt x="24270" y="136517"/>
                    <a:pt x="9102" y="130449"/>
                    <a:pt x="3034" y="127416"/>
                  </a:cubicBezTo>
                  <a:cubicBezTo>
                    <a:pt x="0" y="127416"/>
                    <a:pt x="0" y="121348"/>
                    <a:pt x="0" y="118315"/>
                  </a:cubicBezTo>
                  <a:cubicBezTo>
                    <a:pt x="0" y="115281"/>
                    <a:pt x="6068" y="115281"/>
                    <a:pt x="9102" y="115281"/>
                  </a:cubicBezTo>
                  <a:cubicBezTo>
                    <a:pt x="21236" y="121348"/>
                    <a:pt x="42473" y="124382"/>
                    <a:pt x="48540" y="121348"/>
                  </a:cubicBezTo>
                  <a:cubicBezTo>
                    <a:pt x="48540" y="121348"/>
                    <a:pt x="51573" y="121348"/>
                    <a:pt x="51573" y="118315"/>
                  </a:cubicBezTo>
                  <a:cubicBezTo>
                    <a:pt x="54607" y="100112"/>
                    <a:pt x="57641" y="6067"/>
                    <a:pt x="57641" y="6067"/>
                  </a:cubicBezTo>
                  <a:cubicBezTo>
                    <a:pt x="57641" y="3034"/>
                    <a:pt x="60674" y="0"/>
                    <a:pt x="63708" y="0"/>
                  </a:cubicBezTo>
                  <a:cubicBezTo>
                    <a:pt x="66742" y="0"/>
                    <a:pt x="69776" y="3034"/>
                    <a:pt x="69776" y="6067"/>
                  </a:cubicBezTo>
                  <a:cubicBezTo>
                    <a:pt x="69776" y="9101"/>
                    <a:pt x="69776" y="100112"/>
                    <a:pt x="63708" y="121348"/>
                  </a:cubicBezTo>
                  <a:cubicBezTo>
                    <a:pt x="63708" y="127416"/>
                    <a:pt x="60674" y="130449"/>
                    <a:pt x="54607" y="133483"/>
                  </a:cubicBezTo>
                  <a:cubicBezTo>
                    <a:pt x="51573" y="136517"/>
                    <a:pt x="45506" y="136517"/>
                    <a:pt x="39439" y="136517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C80BC19B-9656-49FC-92D7-CC7D08703D1E}"/>
                </a:ext>
              </a:extLst>
            </p:cNvPr>
            <p:cNvSpPr/>
            <p:nvPr/>
          </p:nvSpPr>
          <p:spPr>
            <a:xfrm>
              <a:off x="11685208" y="2407033"/>
              <a:ext cx="39437" cy="39438"/>
            </a:xfrm>
            <a:custGeom>
              <a:avLst/>
              <a:gdLst>
                <a:gd name="connsiteX0" fmla="*/ 0 w 39437"/>
                <a:gd name="connsiteY0" fmla="*/ 21236 h 39438"/>
                <a:gd name="connsiteX1" fmla="*/ 21236 w 39437"/>
                <a:gd name="connsiteY1" fmla="*/ 39438 h 39438"/>
                <a:gd name="connsiteX2" fmla="*/ 39438 w 39437"/>
                <a:gd name="connsiteY2" fmla="*/ 18202 h 39438"/>
                <a:gd name="connsiteX3" fmla="*/ 18202 w 39437"/>
                <a:gd name="connsiteY3" fmla="*/ 0 h 39438"/>
                <a:gd name="connsiteX4" fmla="*/ 0 w 39437"/>
                <a:gd name="connsiteY4" fmla="*/ 21236 h 3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37" h="39438">
                  <a:moveTo>
                    <a:pt x="0" y="21236"/>
                  </a:moveTo>
                  <a:cubicBezTo>
                    <a:pt x="0" y="33371"/>
                    <a:pt x="9101" y="39438"/>
                    <a:pt x="21236" y="39438"/>
                  </a:cubicBezTo>
                  <a:cubicBezTo>
                    <a:pt x="33371" y="39438"/>
                    <a:pt x="39438" y="30337"/>
                    <a:pt x="39438" y="18202"/>
                  </a:cubicBezTo>
                  <a:cubicBezTo>
                    <a:pt x="39438" y="6067"/>
                    <a:pt x="30337" y="0"/>
                    <a:pt x="18202" y="0"/>
                  </a:cubicBezTo>
                  <a:cubicBezTo>
                    <a:pt x="9101" y="0"/>
                    <a:pt x="0" y="9101"/>
                    <a:pt x="0" y="21236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C392CDFC-7A82-4404-9CC7-A9A64CBAFAC9}"/>
                </a:ext>
              </a:extLst>
            </p:cNvPr>
            <p:cNvSpPr/>
            <p:nvPr/>
          </p:nvSpPr>
          <p:spPr>
            <a:xfrm>
              <a:off x="11503185" y="2388830"/>
              <a:ext cx="39437" cy="39438"/>
            </a:xfrm>
            <a:custGeom>
              <a:avLst/>
              <a:gdLst>
                <a:gd name="connsiteX0" fmla="*/ 0 w 39437"/>
                <a:gd name="connsiteY0" fmla="*/ 21236 h 39438"/>
                <a:gd name="connsiteX1" fmla="*/ 21236 w 39437"/>
                <a:gd name="connsiteY1" fmla="*/ 39438 h 39438"/>
                <a:gd name="connsiteX2" fmla="*/ 39438 w 39437"/>
                <a:gd name="connsiteY2" fmla="*/ 18202 h 39438"/>
                <a:gd name="connsiteX3" fmla="*/ 18202 w 39437"/>
                <a:gd name="connsiteY3" fmla="*/ 0 h 39438"/>
                <a:gd name="connsiteX4" fmla="*/ 0 w 39437"/>
                <a:gd name="connsiteY4" fmla="*/ 21236 h 3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37" h="39438">
                  <a:moveTo>
                    <a:pt x="0" y="21236"/>
                  </a:moveTo>
                  <a:cubicBezTo>
                    <a:pt x="0" y="33371"/>
                    <a:pt x="9101" y="39438"/>
                    <a:pt x="21236" y="39438"/>
                  </a:cubicBezTo>
                  <a:cubicBezTo>
                    <a:pt x="33371" y="39438"/>
                    <a:pt x="39438" y="30337"/>
                    <a:pt x="39438" y="18202"/>
                  </a:cubicBezTo>
                  <a:cubicBezTo>
                    <a:pt x="39438" y="6067"/>
                    <a:pt x="30337" y="0"/>
                    <a:pt x="18202" y="0"/>
                  </a:cubicBezTo>
                  <a:cubicBezTo>
                    <a:pt x="9101" y="3034"/>
                    <a:pt x="0" y="12135"/>
                    <a:pt x="0" y="21236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5D67BACD-F3FF-4901-9E3F-F160E36C5BDF}"/>
                </a:ext>
              </a:extLst>
            </p:cNvPr>
            <p:cNvSpPr/>
            <p:nvPr/>
          </p:nvSpPr>
          <p:spPr>
            <a:xfrm>
              <a:off x="11673073" y="2361475"/>
              <a:ext cx="89234" cy="42523"/>
            </a:xfrm>
            <a:custGeom>
              <a:avLst/>
              <a:gdLst>
                <a:gd name="connsiteX0" fmla="*/ 78877 w 89234"/>
                <a:gd name="connsiteY0" fmla="*/ 39490 h 42523"/>
                <a:gd name="connsiteX1" fmla="*/ 72809 w 89234"/>
                <a:gd name="connsiteY1" fmla="*/ 36456 h 42523"/>
                <a:gd name="connsiteX2" fmla="*/ 9101 w 89234"/>
                <a:gd name="connsiteY2" fmla="*/ 18254 h 42523"/>
                <a:gd name="connsiteX3" fmla="*/ 0 w 89234"/>
                <a:gd name="connsiteY3" fmla="*/ 12186 h 42523"/>
                <a:gd name="connsiteX4" fmla="*/ 6067 w 89234"/>
                <a:gd name="connsiteY4" fmla="*/ 3085 h 42523"/>
                <a:gd name="connsiteX5" fmla="*/ 87977 w 89234"/>
                <a:gd name="connsiteY5" fmla="*/ 30389 h 42523"/>
                <a:gd name="connsiteX6" fmla="*/ 84943 w 89234"/>
                <a:gd name="connsiteY6" fmla="*/ 42524 h 42523"/>
                <a:gd name="connsiteX7" fmla="*/ 78877 w 89234"/>
                <a:gd name="connsiteY7" fmla="*/ 39490 h 42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234" h="42523">
                  <a:moveTo>
                    <a:pt x="78877" y="39490"/>
                  </a:moveTo>
                  <a:cubicBezTo>
                    <a:pt x="75843" y="39490"/>
                    <a:pt x="72809" y="39490"/>
                    <a:pt x="72809" y="36456"/>
                  </a:cubicBezTo>
                  <a:cubicBezTo>
                    <a:pt x="51572" y="3085"/>
                    <a:pt x="9101" y="18254"/>
                    <a:pt x="9101" y="18254"/>
                  </a:cubicBezTo>
                  <a:cubicBezTo>
                    <a:pt x="6067" y="18254"/>
                    <a:pt x="0" y="18254"/>
                    <a:pt x="0" y="12186"/>
                  </a:cubicBezTo>
                  <a:cubicBezTo>
                    <a:pt x="0" y="9153"/>
                    <a:pt x="0" y="3085"/>
                    <a:pt x="6067" y="3085"/>
                  </a:cubicBezTo>
                  <a:cubicBezTo>
                    <a:pt x="24269" y="-2982"/>
                    <a:pt x="66741" y="-2982"/>
                    <a:pt x="87977" y="30389"/>
                  </a:cubicBezTo>
                  <a:cubicBezTo>
                    <a:pt x="91011" y="33422"/>
                    <a:pt x="87977" y="39490"/>
                    <a:pt x="84943" y="42524"/>
                  </a:cubicBezTo>
                  <a:cubicBezTo>
                    <a:pt x="81910" y="36456"/>
                    <a:pt x="78877" y="39490"/>
                    <a:pt x="78877" y="39490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2E6E3A0C-CF48-4DE8-9FB4-023EE5A76498}"/>
                </a:ext>
              </a:extLst>
            </p:cNvPr>
            <p:cNvSpPr/>
            <p:nvPr/>
          </p:nvSpPr>
          <p:spPr>
            <a:xfrm>
              <a:off x="11479957" y="2321251"/>
              <a:ext cx="92245" cy="37242"/>
            </a:xfrm>
            <a:custGeom>
              <a:avLst/>
              <a:gdLst>
                <a:gd name="connsiteX0" fmla="*/ 86937 w 92245"/>
                <a:gd name="connsiteY0" fmla="*/ 37242 h 37242"/>
                <a:gd name="connsiteX1" fmla="*/ 80869 w 92245"/>
                <a:gd name="connsiteY1" fmla="*/ 34209 h 37242"/>
                <a:gd name="connsiteX2" fmla="*/ 14128 w 92245"/>
                <a:gd name="connsiteY2" fmla="*/ 28141 h 37242"/>
                <a:gd name="connsiteX3" fmla="*/ 1992 w 92245"/>
                <a:gd name="connsiteY3" fmla="*/ 25108 h 37242"/>
                <a:gd name="connsiteX4" fmla="*/ 5026 w 92245"/>
                <a:gd name="connsiteY4" fmla="*/ 12973 h 37242"/>
                <a:gd name="connsiteX5" fmla="*/ 89970 w 92245"/>
                <a:gd name="connsiteY5" fmla="*/ 19040 h 37242"/>
                <a:gd name="connsiteX6" fmla="*/ 89970 w 92245"/>
                <a:gd name="connsiteY6" fmla="*/ 31175 h 37242"/>
                <a:gd name="connsiteX7" fmla="*/ 86937 w 92245"/>
                <a:gd name="connsiteY7" fmla="*/ 37242 h 3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45" h="37242">
                  <a:moveTo>
                    <a:pt x="86937" y="37242"/>
                  </a:moveTo>
                  <a:cubicBezTo>
                    <a:pt x="83903" y="37242"/>
                    <a:pt x="83903" y="37242"/>
                    <a:pt x="80869" y="34209"/>
                  </a:cubicBezTo>
                  <a:cubicBezTo>
                    <a:pt x="50532" y="3872"/>
                    <a:pt x="17161" y="28141"/>
                    <a:pt x="14128" y="28141"/>
                  </a:cubicBezTo>
                  <a:cubicBezTo>
                    <a:pt x="11094" y="31175"/>
                    <a:pt x="5026" y="28141"/>
                    <a:pt x="1992" y="25108"/>
                  </a:cubicBezTo>
                  <a:cubicBezTo>
                    <a:pt x="-1041" y="22074"/>
                    <a:pt x="-1041" y="16006"/>
                    <a:pt x="5026" y="12973"/>
                  </a:cubicBezTo>
                  <a:cubicBezTo>
                    <a:pt x="20195" y="838"/>
                    <a:pt x="59633" y="-11297"/>
                    <a:pt x="89970" y="19040"/>
                  </a:cubicBezTo>
                  <a:cubicBezTo>
                    <a:pt x="93003" y="22074"/>
                    <a:pt x="93003" y="28141"/>
                    <a:pt x="89970" y="31175"/>
                  </a:cubicBezTo>
                  <a:cubicBezTo>
                    <a:pt x="89970" y="37242"/>
                    <a:pt x="89970" y="37242"/>
                    <a:pt x="86937" y="37242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8CD663E0-DD16-4081-AE2B-C2E5B3560760}"/>
                </a:ext>
              </a:extLst>
            </p:cNvPr>
            <p:cNvSpPr/>
            <p:nvPr/>
          </p:nvSpPr>
          <p:spPr>
            <a:xfrm>
              <a:off x="11419000" y="2623184"/>
              <a:ext cx="220702" cy="93286"/>
            </a:xfrm>
            <a:custGeom>
              <a:avLst/>
              <a:gdLst>
                <a:gd name="connsiteX0" fmla="*/ 156994 w 220702"/>
                <a:gd name="connsiteY0" fmla="*/ 93287 h 93286"/>
                <a:gd name="connsiteX1" fmla="*/ 135759 w 220702"/>
                <a:gd name="connsiteY1" fmla="*/ 90253 h 93286"/>
                <a:gd name="connsiteX2" fmla="*/ 2275 w 220702"/>
                <a:gd name="connsiteY2" fmla="*/ 11376 h 93286"/>
                <a:gd name="connsiteX3" fmla="*/ 2275 w 220702"/>
                <a:gd name="connsiteY3" fmla="*/ 2275 h 93286"/>
                <a:gd name="connsiteX4" fmla="*/ 11376 w 220702"/>
                <a:gd name="connsiteY4" fmla="*/ 2275 h 93286"/>
                <a:gd name="connsiteX5" fmla="*/ 138792 w 220702"/>
                <a:gd name="connsiteY5" fmla="*/ 78118 h 93286"/>
                <a:gd name="connsiteX6" fmla="*/ 211601 w 220702"/>
                <a:gd name="connsiteY6" fmla="*/ 65983 h 93286"/>
                <a:gd name="connsiteX7" fmla="*/ 220702 w 220702"/>
                <a:gd name="connsiteY7" fmla="*/ 69017 h 93286"/>
                <a:gd name="connsiteX8" fmla="*/ 217668 w 220702"/>
                <a:gd name="connsiteY8" fmla="*/ 78118 h 93286"/>
                <a:gd name="connsiteX9" fmla="*/ 156994 w 220702"/>
                <a:gd name="connsiteY9" fmla="*/ 93287 h 9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702" h="93286">
                  <a:moveTo>
                    <a:pt x="156994" y="93287"/>
                  </a:moveTo>
                  <a:cubicBezTo>
                    <a:pt x="150927" y="93287"/>
                    <a:pt x="141825" y="93287"/>
                    <a:pt x="135759" y="90253"/>
                  </a:cubicBezTo>
                  <a:cubicBezTo>
                    <a:pt x="84185" y="81152"/>
                    <a:pt x="8343" y="14410"/>
                    <a:pt x="2275" y="11376"/>
                  </a:cubicBezTo>
                  <a:cubicBezTo>
                    <a:pt x="-758" y="8343"/>
                    <a:pt x="-758" y="5309"/>
                    <a:pt x="2275" y="2275"/>
                  </a:cubicBezTo>
                  <a:cubicBezTo>
                    <a:pt x="5309" y="-758"/>
                    <a:pt x="8343" y="-758"/>
                    <a:pt x="11376" y="2275"/>
                  </a:cubicBezTo>
                  <a:cubicBezTo>
                    <a:pt x="11376" y="2275"/>
                    <a:pt x="90253" y="69017"/>
                    <a:pt x="138792" y="78118"/>
                  </a:cubicBezTo>
                  <a:cubicBezTo>
                    <a:pt x="175196" y="84185"/>
                    <a:pt x="211601" y="65983"/>
                    <a:pt x="211601" y="65983"/>
                  </a:cubicBezTo>
                  <a:cubicBezTo>
                    <a:pt x="214634" y="62949"/>
                    <a:pt x="217668" y="65983"/>
                    <a:pt x="220702" y="69017"/>
                  </a:cubicBezTo>
                  <a:cubicBezTo>
                    <a:pt x="220702" y="72051"/>
                    <a:pt x="220702" y="75084"/>
                    <a:pt x="217668" y="78118"/>
                  </a:cubicBezTo>
                  <a:cubicBezTo>
                    <a:pt x="214634" y="81152"/>
                    <a:pt x="190365" y="93287"/>
                    <a:pt x="156994" y="93287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EB452815-A262-4D63-A092-9A4B86156737}"/>
                </a:ext>
              </a:extLst>
            </p:cNvPr>
            <p:cNvSpPr/>
            <p:nvPr/>
          </p:nvSpPr>
          <p:spPr>
            <a:xfrm>
              <a:off x="11372501" y="2137033"/>
              <a:ext cx="100347" cy="260898"/>
            </a:xfrm>
            <a:custGeom>
              <a:avLst/>
              <a:gdLst>
                <a:gd name="connsiteX0" fmla="*/ 100347 w 100347"/>
                <a:gd name="connsiteY0" fmla="*/ 133483 h 260898"/>
                <a:gd name="connsiteX1" fmla="*/ 24505 w 100347"/>
                <a:gd name="connsiteY1" fmla="*/ 260899 h 260898"/>
                <a:gd name="connsiteX2" fmla="*/ 235 w 100347"/>
                <a:gd name="connsiteY2" fmla="*/ 148652 h 260898"/>
                <a:gd name="connsiteX3" fmla="*/ 76078 w 100347"/>
                <a:gd name="connsiteY3" fmla="*/ 0 h 260898"/>
                <a:gd name="connsiteX4" fmla="*/ 100347 w 100347"/>
                <a:gd name="connsiteY4" fmla="*/ 133483 h 26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347" h="260898">
                  <a:moveTo>
                    <a:pt x="100347" y="133483"/>
                  </a:moveTo>
                  <a:cubicBezTo>
                    <a:pt x="100347" y="133483"/>
                    <a:pt x="24505" y="230562"/>
                    <a:pt x="24505" y="260899"/>
                  </a:cubicBezTo>
                  <a:cubicBezTo>
                    <a:pt x="24505" y="260899"/>
                    <a:pt x="-2799" y="236629"/>
                    <a:pt x="235" y="148652"/>
                  </a:cubicBezTo>
                  <a:cubicBezTo>
                    <a:pt x="3268" y="87978"/>
                    <a:pt x="9336" y="3034"/>
                    <a:pt x="76078" y="0"/>
                  </a:cubicBezTo>
                  <a:cubicBezTo>
                    <a:pt x="76078" y="0"/>
                    <a:pt x="63942" y="106180"/>
                    <a:pt x="100347" y="133483"/>
                  </a:cubicBez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690658A3-5A82-4CAA-A970-4EFA420DA656}"/>
                </a:ext>
              </a:extLst>
            </p:cNvPr>
            <p:cNvSpPr/>
            <p:nvPr/>
          </p:nvSpPr>
          <p:spPr>
            <a:xfrm>
              <a:off x="11426489" y="2057139"/>
              <a:ext cx="489280" cy="293298"/>
            </a:xfrm>
            <a:custGeom>
              <a:avLst/>
              <a:gdLst>
                <a:gd name="connsiteX0" fmla="*/ 46359 w 489280"/>
                <a:gd name="connsiteY0" fmla="*/ 213377 h 293298"/>
                <a:gd name="connsiteX1" fmla="*/ 173775 w 489280"/>
                <a:gd name="connsiteY1" fmla="*/ 201242 h 293298"/>
                <a:gd name="connsiteX2" fmla="*/ 489281 w 489280"/>
                <a:gd name="connsiteY2" fmla="*/ 252815 h 293298"/>
                <a:gd name="connsiteX3" fmla="*/ 161640 w 489280"/>
                <a:gd name="connsiteY3" fmla="*/ 1017 h 293298"/>
                <a:gd name="connsiteX4" fmla="*/ 25123 w 489280"/>
                <a:gd name="connsiteY4" fmla="*/ 82928 h 293298"/>
                <a:gd name="connsiteX5" fmla="*/ 46359 w 489280"/>
                <a:gd name="connsiteY5" fmla="*/ 213377 h 293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9280" h="293298">
                  <a:moveTo>
                    <a:pt x="46359" y="213377"/>
                  </a:moveTo>
                  <a:cubicBezTo>
                    <a:pt x="46359" y="213377"/>
                    <a:pt x="146471" y="195175"/>
                    <a:pt x="173775" y="201242"/>
                  </a:cubicBezTo>
                  <a:cubicBezTo>
                    <a:pt x="270853" y="225512"/>
                    <a:pt x="373999" y="358995"/>
                    <a:pt x="489281" y="252815"/>
                  </a:cubicBezTo>
                  <a:cubicBezTo>
                    <a:pt x="465010" y="143602"/>
                    <a:pt x="331527" y="-14151"/>
                    <a:pt x="161640" y="1017"/>
                  </a:cubicBezTo>
                  <a:cubicBezTo>
                    <a:pt x="79730" y="7085"/>
                    <a:pt x="37258" y="49557"/>
                    <a:pt x="25123" y="82928"/>
                  </a:cubicBezTo>
                  <a:cubicBezTo>
                    <a:pt x="22090" y="79894"/>
                    <a:pt x="-41618" y="183040"/>
                    <a:pt x="46359" y="213377"/>
                  </a:cubicBez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C77FAA7B-ED9D-4113-8C74-DA60E2564783}"/>
                </a:ext>
              </a:extLst>
            </p:cNvPr>
            <p:cNvSpPr/>
            <p:nvPr/>
          </p:nvSpPr>
          <p:spPr>
            <a:xfrm>
              <a:off x="11333220" y="2358870"/>
              <a:ext cx="70258" cy="113860"/>
            </a:xfrm>
            <a:custGeom>
              <a:avLst/>
              <a:gdLst>
                <a:gd name="connsiteX0" fmla="*/ 66819 w 70258"/>
                <a:gd name="connsiteY0" fmla="*/ 23893 h 113860"/>
                <a:gd name="connsiteX1" fmla="*/ 12212 w 70258"/>
                <a:gd name="connsiteY1" fmla="*/ 2657 h 113860"/>
                <a:gd name="connsiteX2" fmla="*/ 48617 w 70258"/>
                <a:gd name="connsiteY2" fmla="*/ 111870 h 113860"/>
                <a:gd name="connsiteX3" fmla="*/ 66819 w 70258"/>
                <a:gd name="connsiteY3" fmla="*/ 23893 h 113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258" h="113860">
                  <a:moveTo>
                    <a:pt x="66819" y="23893"/>
                  </a:moveTo>
                  <a:cubicBezTo>
                    <a:pt x="66819" y="23893"/>
                    <a:pt x="39516" y="-9478"/>
                    <a:pt x="12212" y="2657"/>
                  </a:cubicBezTo>
                  <a:cubicBezTo>
                    <a:pt x="-15091" y="17825"/>
                    <a:pt x="6145" y="130072"/>
                    <a:pt x="48617" y="111870"/>
                  </a:cubicBezTo>
                  <a:cubicBezTo>
                    <a:pt x="81988" y="99735"/>
                    <a:pt x="66819" y="23893"/>
                    <a:pt x="66819" y="23893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4936A6DC-F5AC-445C-A14C-890A6FF28097}"/>
                </a:ext>
              </a:extLst>
            </p:cNvPr>
            <p:cNvSpPr/>
            <p:nvPr/>
          </p:nvSpPr>
          <p:spPr>
            <a:xfrm>
              <a:off x="10590039" y="2734673"/>
              <a:ext cx="1339016" cy="1604831"/>
            </a:xfrm>
            <a:custGeom>
              <a:avLst/>
              <a:gdLst>
                <a:gd name="connsiteX0" fmla="*/ 788764 w 1339016"/>
                <a:gd name="connsiteY0" fmla="*/ 0 h 1604831"/>
                <a:gd name="connsiteX1" fmla="*/ 1070900 w 1339016"/>
                <a:gd name="connsiteY1" fmla="*/ 57640 h 1604831"/>
                <a:gd name="connsiteX2" fmla="*/ 1337865 w 1339016"/>
                <a:gd name="connsiteY2" fmla="*/ 242697 h 1604831"/>
                <a:gd name="connsiteX3" fmla="*/ 1128540 w 1339016"/>
                <a:gd name="connsiteY3" fmla="*/ 1604832 h 1604831"/>
                <a:gd name="connsiteX4" fmla="*/ 0 w 1339016"/>
                <a:gd name="connsiteY4" fmla="*/ 1483483 h 1604831"/>
                <a:gd name="connsiteX5" fmla="*/ 497528 w 1339016"/>
                <a:gd name="connsiteY5" fmla="*/ 42472 h 1604831"/>
                <a:gd name="connsiteX6" fmla="*/ 788764 w 1339016"/>
                <a:gd name="connsiteY6" fmla="*/ 0 h 160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9016" h="1604831">
                  <a:moveTo>
                    <a:pt x="788764" y="0"/>
                  </a:moveTo>
                  <a:cubicBezTo>
                    <a:pt x="788764" y="0"/>
                    <a:pt x="946517" y="87978"/>
                    <a:pt x="1070900" y="57640"/>
                  </a:cubicBezTo>
                  <a:cubicBezTo>
                    <a:pt x="1070900" y="57640"/>
                    <a:pt x="1319663" y="206292"/>
                    <a:pt x="1337865" y="242697"/>
                  </a:cubicBezTo>
                  <a:cubicBezTo>
                    <a:pt x="1356068" y="279101"/>
                    <a:pt x="1152809" y="1541124"/>
                    <a:pt x="1128540" y="1604832"/>
                  </a:cubicBezTo>
                  <a:cubicBezTo>
                    <a:pt x="1128540" y="1604832"/>
                    <a:pt x="640113" y="1559326"/>
                    <a:pt x="0" y="1483483"/>
                  </a:cubicBezTo>
                  <a:cubicBezTo>
                    <a:pt x="136517" y="503595"/>
                    <a:pt x="448989" y="66742"/>
                    <a:pt x="497528" y="42472"/>
                  </a:cubicBezTo>
                  <a:cubicBezTo>
                    <a:pt x="540001" y="21236"/>
                    <a:pt x="788764" y="0"/>
                    <a:pt x="788764" y="0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C56B2C29-CD3E-4812-B051-4098B6D4B259}"/>
                </a:ext>
              </a:extLst>
            </p:cNvPr>
            <p:cNvSpPr/>
            <p:nvPr/>
          </p:nvSpPr>
          <p:spPr>
            <a:xfrm>
              <a:off x="11815657" y="2974336"/>
              <a:ext cx="115281" cy="731123"/>
            </a:xfrm>
            <a:custGeom>
              <a:avLst/>
              <a:gdLst>
                <a:gd name="connsiteX0" fmla="*/ 6068 w 115281"/>
                <a:gd name="connsiteY0" fmla="*/ 731124 h 731123"/>
                <a:gd name="connsiteX1" fmla="*/ 6068 w 115281"/>
                <a:gd name="connsiteY1" fmla="*/ 731124 h 731123"/>
                <a:gd name="connsiteX2" fmla="*/ 0 w 115281"/>
                <a:gd name="connsiteY2" fmla="*/ 725056 h 731123"/>
                <a:gd name="connsiteX3" fmla="*/ 103147 w 115281"/>
                <a:gd name="connsiteY3" fmla="*/ 6067 h 731123"/>
                <a:gd name="connsiteX4" fmla="*/ 109214 w 115281"/>
                <a:gd name="connsiteY4" fmla="*/ 0 h 731123"/>
                <a:gd name="connsiteX5" fmla="*/ 109214 w 115281"/>
                <a:gd name="connsiteY5" fmla="*/ 0 h 731123"/>
                <a:gd name="connsiteX6" fmla="*/ 115281 w 115281"/>
                <a:gd name="connsiteY6" fmla="*/ 6067 h 731123"/>
                <a:gd name="connsiteX7" fmla="*/ 12136 w 115281"/>
                <a:gd name="connsiteY7" fmla="*/ 728090 h 731123"/>
                <a:gd name="connsiteX8" fmla="*/ 6068 w 115281"/>
                <a:gd name="connsiteY8" fmla="*/ 731124 h 7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5281" h="731123">
                  <a:moveTo>
                    <a:pt x="6068" y="731124"/>
                  </a:moveTo>
                  <a:cubicBezTo>
                    <a:pt x="6068" y="731124"/>
                    <a:pt x="6068" y="731124"/>
                    <a:pt x="6068" y="731124"/>
                  </a:cubicBezTo>
                  <a:cubicBezTo>
                    <a:pt x="3034" y="731124"/>
                    <a:pt x="0" y="728090"/>
                    <a:pt x="0" y="725056"/>
                  </a:cubicBezTo>
                  <a:cubicBezTo>
                    <a:pt x="0" y="718989"/>
                    <a:pt x="103147" y="45506"/>
                    <a:pt x="103147" y="6067"/>
                  </a:cubicBezTo>
                  <a:cubicBezTo>
                    <a:pt x="103147" y="3034"/>
                    <a:pt x="106180" y="0"/>
                    <a:pt x="109214" y="0"/>
                  </a:cubicBezTo>
                  <a:lnTo>
                    <a:pt x="109214" y="0"/>
                  </a:lnTo>
                  <a:cubicBezTo>
                    <a:pt x="112248" y="0"/>
                    <a:pt x="115281" y="3034"/>
                    <a:pt x="115281" y="6067"/>
                  </a:cubicBezTo>
                  <a:cubicBezTo>
                    <a:pt x="115281" y="45506"/>
                    <a:pt x="18202" y="700787"/>
                    <a:pt x="12136" y="728090"/>
                  </a:cubicBezTo>
                  <a:cubicBezTo>
                    <a:pt x="12136" y="728090"/>
                    <a:pt x="9102" y="731124"/>
                    <a:pt x="6068" y="731124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8EA59C31-216E-4454-81AB-DCF8D0C63662}"/>
                </a:ext>
              </a:extLst>
            </p:cNvPr>
            <p:cNvSpPr/>
            <p:nvPr/>
          </p:nvSpPr>
          <p:spPr>
            <a:xfrm>
              <a:off x="11534281" y="2592847"/>
              <a:ext cx="117555" cy="41713"/>
            </a:xfrm>
            <a:custGeom>
              <a:avLst/>
              <a:gdLst>
                <a:gd name="connsiteX0" fmla="*/ 81152 w 117555"/>
                <a:gd name="connsiteY0" fmla="*/ 41714 h 41713"/>
                <a:gd name="connsiteX1" fmla="*/ 2275 w 117555"/>
                <a:gd name="connsiteY1" fmla="*/ 11376 h 41713"/>
                <a:gd name="connsiteX2" fmla="*/ 2275 w 117555"/>
                <a:gd name="connsiteY2" fmla="*/ 2275 h 41713"/>
                <a:gd name="connsiteX3" fmla="*/ 11376 w 117555"/>
                <a:gd name="connsiteY3" fmla="*/ 2275 h 41713"/>
                <a:gd name="connsiteX4" fmla="*/ 108455 w 117555"/>
                <a:gd name="connsiteY4" fmla="*/ 23511 h 41713"/>
                <a:gd name="connsiteX5" fmla="*/ 117556 w 117555"/>
                <a:gd name="connsiteY5" fmla="*/ 26545 h 41713"/>
                <a:gd name="connsiteX6" fmla="*/ 114522 w 117555"/>
                <a:gd name="connsiteY6" fmla="*/ 35646 h 41713"/>
                <a:gd name="connsiteX7" fmla="*/ 81152 w 117555"/>
                <a:gd name="connsiteY7" fmla="*/ 41714 h 4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555" h="41713">
                  <a:moveTo>
                    <a:pt x="81152" y="41714"/>
                  </a:moveTo>
                  <a:cubicBezTo>
                    <a:pt x="41713" y="41714"/>
                    <a:pt x="5309" y="14410"/>
                    <a:pt x="2275" y="11376"/>
                  </a:cubicBezTo>
                  <a:cubicBezTo>
                    <a:pt x="-758" y="8343"/>
                    <a:pt x="-758" y="5309"/>
                    <a:pt x="2275" y="2275"/>
                  </a:cubicBezTo>
                  <a:cubicBezTo>
                    <a:pt x="5309" y="-758"/>
                    <a:pt x="8342" y="-758"/>
                    <a:pt x="11376" y="2275"/>
                  </a:cubicBezTo>
                  <a:cubicBezTo>
                    <a:pt x="11376" y="2275"/>
                    <a:pt x="65983" y="44747"/>
                    <a:pt x="108455" y="23511"/>
                  </a:cubicBezTo>
                  <a:cubicBezTo>
                    <a:pt x="111489" y="23511"/>
                    <a:pt x="114522" y="23511"/>
                    <a:pt x="117556" y="26545"/>
                  </a:cubicBezTo>
                  <a:cubicBezTo>
                    <a:pt x="117556" y="29579"/>
                    <a:pt x="117556" y="32612"/>
                    <a:pt x="114522" y="35646"/>
                  </a:cubicBezTo>
                  <a:cubicBezTo>
                    <a:pt x="105421" y="41714"/>
                    <a:pt x="93287" y="41714"/>
                    <a:pt x="81152" y="41714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1DB9BAD9-1104-47F8-BBBD-5A94AB2DEACD}"/>
                </a:ext>
              </a:extLst>
            </p:cNvPr>
            <p:cNvSpPr/>
            <p:nvPr/>
          </p:nvSpPr>
          <p:spPr>
            <a:xfrm>
              <a:off x="10235095" y="6645123"/>
              <a:ext cx="197191" cy="39438"/>
            </a:xfrm>
            <a:custGeom>
              <a:avLst/>
              <a:gdLst>
                <a:gd name="connsiteX0" fmla="*/ 0 w 197191"/>
                <a:gd name="connsiteY0" fmla="*/ 0 h 39438"/>
                <a:gd name="connsiteX1" fmla="*/ 197191 w 197191"/>
                <a:gd name="connsiteY1" fmla="*/ 0 h 39438"/>
                <a:gd name="connsiteX2" fmla="*/ 197191 w 197191"/>
                <a:gd name="connsiteY2" fmla="*/ 39438 h 39438"/>
                <a:gd name="connsiteX3" fmla="*/ 0 w 197191"/>
                <a:gd name="connsiteY3" fmla="*/ 39438 h 3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191" h="39438">
                  <a:moveTo>
                    <a:pt x="0" y="0"/>
                  </a:moveTo>
                  <a:lnTo>
                    <a:pt x="197191" y="0"/>
                  </a:lnTo>
                  <a:lnTo>
                    <a:pt x="197191" y="39438"/>
                  </a:lnTo>
                  <a:lnTo>
                    <a:pt x="0" y="39438"/>
                  </a:ln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42DD56B6-817F-4A72-A103-64AA833F1BC8}"/>
                </a:ext>
              </a:extLst>
            </p:cNvPr>
            <p:cNvSpPr/>
            <p:nvPr/>
          </p:nvSpPr>
          <p:spPr>
            <a:xfrm>
              <a:off x="10247230" y="6575347"/>
              <a:ext cx="185056" cy="69774"/>
            </a:xfrm>
            <a:custGeom>
              <a:avLst/>
              <a:gdLst>
                <a:gd name="connsiteX0" fmla="*/ 185056 w 185056"/>
                <a:gd name="connsiteY0" fmla="*/ 69775 h 69774"/>
                <a:gd name="connsiteX1" fmla="*/ 154719 w 185056"/>
                <a:gd name="connsiteY1" fmla="*/ 12135 h 69774"/>
                <a:gd name="connsiteX2" fmla="*/ 0 w 185056"/>
                <a:gd name="connsiteY2" fmla="*/ 0 h 69774"/>
                <a:gd name="connsiteX3" fmla="*/ 0 w 185056"/>
                <a:gd name="connsiteY3" fmla="*/ 69775 h 69774"/>
                <a:gd name="connsiteX4" fmla="*/ 185056 w 185056"/>
                <a:gd name="connsiteY4" fmla="*/ 69775 h 69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056" h="69774">
                  <a:moveTo>
                    <a:pt x="185056" y="69775"/>
                  </a:moveTo>
                  <a:cubicBezTo>
                    <a:pt x="185056" y="69775"/>
                    <a:pt x="172921" y="21236"/>
                    <a:pt x="154719" y="12135"/>
                  </a:cubicBezTo>
                  <a:cubicBezTo>
                    <a:pt x="136517" y="3033"/>
                    <a:pt x="0" y="0"/>
                    <a:pt x="0" y="0"/>
                  </a:cubicBezTo>
                  <a:lnTo>
                    <a:pt x="0" y="69775"/>
                  </a:lnTo>
                  <a:lnTo>
                    <a:pt x="185056" y="69775"/>
                  </a:ln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3032E4EA-ABC1-4AB4-AD01-B1DB405E9D68}"/>
                </a:ext>
              </a:extLst>
            </p:cNvPr>
            <p:cNvSpPr/>
            <p:nvPr/>
          </p:nvSpPr>
          <p:spPr>
            <a:xfrm>
              <a:off x="10553635" y="2735413"/>
              <a:ext cx="1283258" cy="1640061"/>
            </a:xfrm>
            <a:custGeom>
              <a:avLst/>
              <a:gdLst>
                <a:gd name="connsiteX0" fmla="*/ 785730 w 1283258"/>
                <a:gd name="connsiteY0" fmla="*/ 11395 h 1640061"/>
                <a:gd name="connsiteX1" fmla="*/ 773596 w 1283258"/>
                <a:gd name="connsiteY1" fmla="*/ 545328 h 1640061"/>
                <a:gd name="connsiteX2" fmla="*/ 1019325 w 1283258"/>
                <a:gd name="connsiteY2" fmla="*/ 609036 h 1640061"/>
                <a:gd name="connsiteX3" fmla="*/ 1164944 w 1283258"/>
                <a:gd name="connsiteY3" fmla="*/ 96339 h 1640061"/>
                <a:gd name="connsiteX4" fmla="*/ 1249887 w 1283258"/>
                <a:gd name="connsiteY4" fmla="*/ 153980 h 1640061"/>
                <a:gd name="connsiteX5" fmla="*/ 1131573 w 1283258"/>
                <a:gd name="connsiteY5" fmla="*/ 648474 h 1640061"/>
                <a:gd name="connsiteX6" fmla="*/ 1283258 w 1283258"/>
                <a:gd name="connsiteY6" fmla="*/ 973081 h 1640061"/>
                <a:gd name="connsiteX7" fmla="*/ 1177078 w 1283258"/>
                <a:gd name="connsiteY7" fmla="*/ 1631395 h 1640061"/>
                <a:gd name="connsiteX8" fmla="*/ 0 w 1283258"/>
                <a:gd name="connsiteY8" fmla="*/ 1507013 h 1640061"/>
                <a:gd name="connsiteX9" fmla="*/ 218426 w 1283258"/>
                <a:gd name="connsiteY9" fmla="*/ 660609 h 1640061"/>
                <a:gd name="connsiteX10" fmla="*/ 631011 w 1283258"/>
                <a:gd name="connsiteY10" fmla="*/ 505890 h 1640061"/>
                <a:gd name="connsiteX11" fmla="*/ 700786 w 1283258"/>
                <a:gd name="connsiteY11" fmla="*/ 14429 h 1640061"/>
                <a:gd name="connsiteX12" fmla="*/ 785730 w 1283258"/>
                <a:gd name="connsiteY12" fmla="*/ 11395 h 1640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83258" h="1640061">
                  <a:moveTo>
                    <a:pt x="785730" y="11395"/>
                  </a:moveTo>
                  <a:cubicBezTo>
                    <a:pt x="785730" y="11395"/>
                    <a:pt x="846404" y="251058"/>
                    <a:pt x="773596" y="545328"/>
                  </a:cubicBezTo>
                  <a:cubicBezTo>
                    <a:pt x="773596" y="545328"/>
                    <a:pt x="961685" y="618137"/>
                    <a:pt x="1019325" y="609036"/>
                  </a:cubicBezTo>
                  <a:cubicBezTo>
                    <a:pt x="1019325" y="609036"/>
                    <a:pt x="1161910" y="196452"/>
                    <a:pt x="1164944" y="96339"/>
                  </a:cubicBezTo>
                  <a:cubicBezTo>
                    <a:pt x="1164944" y="96339"/>
                    <a:pt x="1240786" y="117575"/>
                    <a:pt x="1249887" y="153980"/>
                  </a:cubicBezTo>
                  <a:cubicBezTo>
                    <a:pt x="1249887" y="153980"/>
                    <a:pt x="1143707" y="581732"/>
                    <a:pt x="1131573" y="648474"/>
                  </a:cubicBezTo>
                  <a:cubicBezTo>
                    <a:pt x="1119438" y="712182"/>
                    <a:pt x="1283258" y="973081"/>
                    <a:pt x="1283258" y="973081"/>
                  </a:cubicBezTo>
                  <a:lnTo>
                    <a:pt x="1177078" y="1631395"/>
                  </a:lnTo>
                  <a:cubicBezTo>
                    <a:pt x="1177078" y="1631395"/>
                    <a:pt x="291235" y="1689036"/>
                    <a:pt x="0" y="1507013"/>
                  </a:cubicBezTo>
                  <a:cubicBezTo>
                    <a:pt x="0" y="1507013"/>
                    <a:pt x="109213" y="939710"/>
                    <a:pt x="218426" y="660609"/>
                  </a:cubicBezTo>
                  <a:cubicBezTo>
                    <a:pt x="294269" y="675777"/>
                    <a:pt x="576405" y="624204"/>
                    <a:pt x="631011" y="505890"/>
                  </a:cubicBezTo>
                  <a:cubicBezTo>
                    <a:pt x="685617" y="387575"/>
                    <a:pt x="731123" y="153980"/>
                    <a:pt x="700786" y="14429"/>
                  </a:cubicBezTo>
                  <a:cubicBezTo>
                    <a:pt x="700786" y="14429"/>
                    <a:pt x="755393" y="-15908"/>
                    <a:pt x="785730" y="11395"/>
                  </a:cubicBezTo>
                  <a:close/>
                </a:path>
              </a:pathLst>
            </a:custGeom>
            <a:solidFill>
              <a:srgbClr val="F1DDBA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C1C51110-CE5D-4FC8-8938-4417FF845DB3}"/>
                </a:ext>
              </a:extLst>
            </p:cNvPr>
            <p:cNvSpPr/>
            <p:nvPr/>
          </p:nvSpPr>
          <p:spPr>
            <a:xfrm>
              <a:off x="10189590" y="6162763"/>
              <a:ext cx="291235" cy="342809"/>
            </a:xfrm>
            <a:custGeom>
              <a:avLst/>
              <a:gdLst>
                <a:gd name="connsiteX0" fmla="*/ 84943 w 291235"/>
                <a:gd name="connsiteY0" fmla="*/ 0 h 342809"/>
                <a:gd name="connsiteX1" fmla="*/ 0 w 291235"/>
                <a:gd name="connsiteY1" fmla="*/ 69775 h 342809"/>
                <a:gd name="connsiteX2" fmla="*/ 218426 w 291235"/>
                <a:gd name="connsiteY2" fmla="*/ 342809 h 342809"/>
                <a:gd name="connsiteX3" fmla="*/ 291235 w 291235"/>
                <a:gd name="connsiteY3" fmla="*/ 294270 h 342809"/>
                <a:gd name="connsiteX4" fmla="*/ 84943 w 291235"/>
                <a:gd name="connsiteY4" fmla="*/ 0 h 34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235" h="342809">
                  <a:moveTo>
                    <a:pt x="84943" y="0"/>
                  </a:moveTo>
                  <a:cubicBezTo>
                    <a:pt x="84943" y="0"/>
                    <a:pt x="27303" y="33371"/>
                    <a:pt x="0" y="69775"/>
                  </a:cubicBezTo>
                  <a:cubicBezTo>
                    <a:pt x="0" y="69775"/>
                    <a:pt x="91011" y="239663"/>
                    <a:pt x="218426" y="342809"/>
                  </a:cubicBezTo>
                  <a:cubicBezTo>
                    <a:pt x="218426" y="342809"/>
                    <a:pt x="257865" y="318539"/>
                    <a:pt x="291235" y="294270"/>
                  </a:cubicBezTo>
                  <a:cubicBezTo>
                    <a:pt x="288202" y="291236"/>
                    <a:pt x="103146" y="75843"/>
                    <a:pt x="84943" y="0"/>
                  </a:cubicBezTo>
                  <a:close/>
                </a:path>
              </a:pathLst>
            </a:custGeom>
            <a:solidFill>
              <a:srgbClr val="D3977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AD89BF76-311E-4263-9E78-4375C90118D8}"/>
                </a:ext>
              </a:extLst>
            </p:cNvPr>
            <p:cNvSpPr/>
            <p:nvPr/>
          </p:nvSpPr>
          <p:spPr>
            <a:xfrm>
              <a:off x="11557549" y="6356920"/>
              <a:ext cx="358244" cy="120356"/>
            </a:xfrm>
            <a:custGeom>
              <a:avLst/>
              <a:gdLst>
                <a:gd name="connsiteX0" fmla="*/ 3276 w 358244"/>
                <a:gd name="connsiteY0" fmla="*/ 0 h 120356"/>
                <a:gd name="connsiteX1" fmla="*/ 6310 w 358244"/>
                <a:gd name="connsiteY1" fmla="*/ 109214 h 120356"/>
                <a:gd name="connsiteX2" fmla="*/ 355187 w 358244"/>
                <a:gd name="connsiteY2" fmla="*/ 100112 h 120356"/>
                <a:gd name="connsiteX3" fmla="*/ 358220 w 358244"/>
                <a:gd name="connsiteY3" fmla="*/ 12135 h 120356"/>
                <a:gd name="connsiteX4" fmla="*/ 3276 w 358244"/>
                <a:gd name="connsiteY4" fmla="*/ 0 h 120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8244" h="120356">
                  <a:moveTo>
                    <a:pt x="3276" y="0"/>
                  </a:moveTo>
                  <a:cubicBezTo>
                    <a:pt x="3276" y="0"/>
                    <a:pt x="-5825" y="63708"/>
                    <a:pt x="6310" y="109214"/>
                  </a:cubicBezTo>
                  <a:cubicBezTo>
                    <a:pt x="6310" y="109214"/>
                    <a:pt x="194400" y="139551"/>
                    <a:pt x="355187" y="100112"/>
                  </a:cubicBezTo>
                  <a:cubicBezTo>
                    <a:pt x="355187" y="100112"/>
                    <a:pt x="358220" y="54607"/>
                    <a:pt x="358220" y="12135"/>
                  </a:cubicBezTo>
                  <a:cubicBezTo>
                    <a:pt x="361254" y="15169"/>
                    <a:pt x="76085" y="33371"/>
                    <a:pt x="3276" y="0"/>
                  </a:cubicBezTo>
                  <a:close/>
                </a:path>
              </a:pathLst>
            </a:custGeom>
            <a:solidFill>
              <a:srgbClr val="D3977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3E1982BA-FBFF-4A17-A4EC-802205B84737}"/>
                </a:ext>
              </a:extLst>
            </p:cNvPr>
            <p:cNvSpPr/>
            <p:nvPr/>
          </p:nvSpPr>
          <p:spPr>
            <a:xfrm>
              <a:off x="10574871" y="3996696"/>
              <a:ext cx="1180112" cy="333707"/>
            </a:xfrm>
            <a:custGeom>
              <a:avLst/>
              <a:gdLst>
                <a:gd name="connsiteX0" fmla="*/ 1161911 w 1180112"/>
                <a:gd name="connsiteY0" fmla="*/ 333708 h 333707"/>
                <a:gd name="connsiteX1" fmla="*/ 0 w 1180112"/>
                <a:gd name="connsiteY1" fmla="*/ 115281 h 333707"/>
                <a:gd name="connsiteX2" fmla="*/ 21236 w 1180112"/>
                <a:gd name="connsiteY2" fmla="*/ 0 h 333707"/>
                <a:gd name="connsiteX3" fmla="*/ 1180112 w 1180112"/>
                <a:gd name="connsiteY3" fmla="*/ 227528 h 333707"/>
                <a:gd name="connsiteX4" fmla="*/ 1161911 w 1180112"/>
                <a:gd name="connsiteY4" fmla="*/ 333708 h 33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0112" h="333707">
                  <a:moveTo>
                    <a:pt x="1161911" y="333708"/>
                  </a:moveTo>
                  <a:cubicBezTo>
                    <a:pt x="1161911" y="333708"/>
                    <a:pt x="570338" y="291236"/>
                    <a:pt x="0" y="115281"/>
                  </a:cubicBezTo>
                  <a:lnTo>
                    <a:pt x="21236" y="0"/>
                  </a:lnTo>
                  <a:cubicBezTo>
                    <a:pt x="21236" y="0"/>
                    <a:pt x="803933" y="188090"/>
                    <a:pt x="1180112" y="227528"/>
                  </a:cubicBezTo>
                  <a:lnTo>
                    <a:pt x="1161911" y="333708"/>
                  </a:ln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0" name="图形 1">
              <a:extLst>
                <a:ext uri="{FF2B5EF4-FFF2-40B4-BE49-F238E27FC236}">
                  <a16:creationId xmlns:a16="http://schemas.microsoft.com/office/drawing/2014/main" id="{CE2D75B4-7B3E-4ECC-AC3B-14DC4A2008F2}"/>
                </a:ext>
              </a:extLst>
            </p:cNvPr>
            <p:cNvGrpSpPr/>
            <p:nvPr/>
          </p:nvGrpSpPr>
          <p:grpSpPr>
            <a:xfrm>
              <a:off x="11190126" y="4111389"/>
              <a:ext cx="231737" cy="189265"/>
              <a:chOff x="11190126" y="4111389"/>
              <a:chExt cx="231737" cy="189265"/>
            </a:xfrm>
          </p:grpSpPr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C2EFA463-7AB0-4761-A4FA-91758F28A1E5}"/>
                  </a:ext>
                </a:extLst>
              </p:cNvPr>
              <p:cNvSpPr/>
              <p:nvPr/>
            </p:nvSpPr>
            <p:spPr>
              <a:xfrm>
                <a:off x="11190126" y="4111389"/>
                <a:ext cx="231737" cy="189265"/>
              </a:xfrm>
              <a:custGeom>
                <a:avLst/>
                <a:gdLst>
                  <a:gd name="connsiteX0" fmla="*/ 188677 w 231737"/>
                  <a:gd name="connsiteY0" fmla="*/ 188678 h 189265"/>
                  <a:gd name="connsiteX1" fmla="*/ 18790 w 231737"/>
                  <a:gd name="connsiteY1" fmla="*/ 161374 h 189265"/>
                  <a:gd name="connsiteX2" fmla="*/ 588 w 231737"/>
                  <a:gd name="connsiteY2" fmla="*/ 137105 h 189265"/>
                  <a:gd name="connsiteX3" fmla="*/ 18790 w 231737"/>
                  <a:gd name="connsiteY3" fmla="*/ 18790 h 189265"/>
                  <a:gd name="connsiteX4" fmla="*/ 43060 w 231737"/>
                  <a:gd name="connsiteY4" fmla="*/ 588 h 189265"/>
                  <a:gd name="connsiteX5" fmla="*/ 212948 w 231737"/>
                  <a:gd name="connsiteY5" fmla="*/ 27891 h 189265"/>
                  <a:gd name="connsiteX6" fmla="*/ 231149 w 231737"/>
                  <a:gd name="connsiteY6" fmla="*/ 52161 h 189265"/>
                  <a:gd name="connsiteX7" fmla="*/ 212948 w 231737"/>
                  <a:gd name="connsiteY7" fmla="*/ 170476 h 189265"/>
                  <a:gd name="connsiteX8" fmla="*/ 188677 w 231737"/>
                  <a:gd name="connsiteY8" fmla="*/ 188678 h 189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1737" h="189265">
                    <a:moveTo>
                      <a:pt x="188677" y="188678"/>
                    </a:moveTo>
                    <a:lnTo>
                      <a:pt x="18790" y="161374"/>
                    </a:lnTo>
                    <a:cubicBezTo>
                      <a:pt x="6655" y="158341"/>
                      <a:pt x="-2446" y="149240"/>
                      <a:pt x="588" y="137105"/>
                    </a:cubicBezTo>
                    <a:lnTo>
                      <a:pt x="18790" y="18790"/>
                    </a:lnTo>
                    <a:cubicBezTo>
                      <a:pt x="21823" y="6655"/>
                      <a:pt x="30925" y="-2446"/>
                      <a:pt x="43060" y="588"/>
                    </a:cubicBezTo>
                    <a:lnTo>
                      <a:pt x="212948" y="27891"/>
                    </a:lnTo>
                    <a:cubicBezTo>
                      <a:pt x="225082" y="30925"/>
                      <a:pt x="234183" y="40026"/>
                      <a:pt x="231149" y="52161"/>
                    </a:cubicBezTo>
                    <a:lnTo>
                      <a:pt x="212948" y="170476"/>
                    </a:lnTo>
                    <a:cubicBezTo>
                      <a:pt x="212948" y="182610"/>
                      <a:pt x="200812" y="191711"/>
                      <a:pt x="188677" y="188678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A3FAF92B-0C64-425B-A8E8-ADA31806928B}"/>
                  </a:ext>
                </a:extLst>
              </p:cNvPr>
              <p:cNvSpPr/>
              <p:nvPr/>
            </p:nvSpPr>
            <p:spPr>
              <a:xfrm>
                <a:off x="11220262" y="4135457"/>
                <a:ext cx="174499" cy="141128"/>
              </a:xfrm>
              <a:custGeom>
                <a:avLst/>
                <a:gdLst>
                  <a:gd name="connsiteX0" fmla="*/ 140339 w 174499"/>
                  <a:gd name="connsiteY0" fmla="*/ 140340 h 141128"/>
                  <a:gd name="connsiteX1" fmla="*/ 12924 w 174499"/>
                  <a:gd name="connsiteY1" fmla="*/ 119104 h 141128"/>
                  <a:gd name="connsiteX2" fmla="*/ 789 w 174499"/>
                  <a:gd name="connsiteY2" fmla="*/ 100902 h 141128"/>
                  <a:gd name="connsiteX3" fmla="*/ 15958 w 174499"/>
                  <a:gd name="connsiteY3" fmla="*/ 12924 h 141128"/>
                  <a:gd name="connsiteX4" fmla="*/ 34159 w 174499"/>
                  <a:gd name="connsiteY4" fmla="*/ 789 h 141128"/>
                  <a:gd name="connsiteX5" fmla="*/ 161575 w 174499"/>
                  <a:gd name="connsiteY5" fmla="*/ 22025 h 141128"/>
                  <a:gd name="connsiteX6" fmla="*/ 173710 w 174499"/>
                  <a:gd name="connsiteY6" fmla="*/ 40227 h 141128"/>
                  <a:gd name="connsiteX7" fmla="*/ 158542 w 174499"/>
                  <a:gd name="connsiteY7" fmla="*/ 128205 h 141128"/>
                  <a:gd name="connsiteX8" fmla="*/ 140339 w 174499"/>
                  <a:gd name="connsiteY8" fmla="*/ 140340 h 141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4499" h="141128">
                    <a:moveTo>
                      <a:pt x="140339" y="140340"/>
                    </a:moveTo>
                    <a:lnTo>
                      <a:pt x="12924" y="119104"/>
                    </a:lnTo>
                    <a:cubicBezTo>
                      <a:pt x="3822" y="119104"/>
                      <a:pt x="-2245" y="110003"/>
                      <a:pt x="789" y="100902"/>
                    </a:cubicBezTo>
                    <a:lnTo>
                      <a:pt x="15958" y="12924"/>
                    </a:lnTo>
                    <a:cubicBezTo>
                      <a:pt x="15958" y="3823"/>
                      <a:pt x="25059" y="-2245"/>
                      <a:pt x="34159" y="789"/>
                    </a:cubicBezTo>
                    <a:lnTo>
                      <a:pt x="161575" y="22025"/>
                    </a:lnTo>
                    <a:cubicBezTo>
                      <a:pt x="170676" y="22025"/>
                      <a:pt x="176744" y="31126"/>
                      <a:pt x="173710" y="40227"/>
                    </a:cubicBezTo>
                    <a:lnTo>
                      <a:pt x="158542" y="128205"/>
                    </a:lnTo>
                    <a:cubicBezTo>
                      <a:pt x="158542" y="137306"/>
                      <a:pt x="149441" y="143374"/>
                      <a:pt x="140339" y="14034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065F02A3-058E-4388-A101-CCB9167C3D23}"/>
                </a:ext>
              </a:extLst>
            </p:cNvPr>
            <p:cNvSpPr/>
            <p:nvPr/>
          </p:nvSpPr>
          <p:spPr>
            <a:xfrm>
              <a:off x="11136107" y="4360740"/>
              <a:ext cx="66741" cy="336741"/>
            </a:xfrm>
            <a:custGeom>
              <a:avLst/>
              <a:gdLst>
                <a:gd name="connsiteX0" fmla="*/ 6068 w 66741"/>
                <a:gd name="connsiteY0" fmla="*/ 336742 h 336741"/>
                <a:gd name="connsiteX1" fmla="*/ 6068 w 66741"/>
                <a:gd name="connsiteY1" fmla="*/ 336742 h 336741"/>
                <a:gd name="connsiteX2" fmla="*/ 0 w 66741"/>
                <a:gd name="connsiteY2" fmla="*/ 327641 h 336741"/>
                <a:gd name="connsiteX3" fmla="*/ 54607 w 66741"/>
                <a:gd name="connsiteY3" fmla="*/ 6068 h 336741"/>
                <a:gd name="connsiteX4" fmla="*/ 60674 w 66741"/>
                <a:gd name="connsiteY4" fmla="*/ 0 h 336741"/>
                <a:gd name="connsiteX5" fmla="*/ 60674 w 66741"/>
                <a:gd name="connsiteY5" fmla="*/ 0 h 336741"/>
                <a:gd name="connsiteX6" fmla="*/ 66742 w 66741"/>
                <a:gd name="connsiteY6" fmla="*/ 6068 h 336741"/>
                <a:gd name="connsiteX7" fmla="*/ 12135 w 66741"/>
                <a:gd name="connsiteY7" fmla="*/ 333708 h 336741"/>
                <a:gd name="connsiteX8" fmla="*/ 6068 w 66741"/>
                <a:gd name="connsiteY8" fmla="*/ 336742 h 336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741" h="336741">
                  <a:moveTo>
                    <a:pt x="6068" y="336742"/>
                  </a:moveTo>
                  <a:cubicBezTo>
                    <a:pt x="6068" y="336742"/>
                    <a:pt x="3034" y="336742"/>
                    <a:pt x="6068" y="336742"/>
                  </a:cubicBezTo>
                  <a:cubicBezTo>
                    <a:pt x="0" y="333708"/>
                    <a:pt x="0" y="330674"/>
                    <a:pt x="0" y="327641"/>
                  </a:cubicBezTo>
                  <a:cubicBezTo>
                    <a:pt x="48540" y="215393"/>
                    <a:pt x="54607" y="6068"/>
                    <a:pt x="54607" y="6068"/>
                  </a:cubicBezTo>
                  <a:cubicBezTo>
                    <a:pt x="54607" y="3034"/>
                    <a:pt x="57640" y="0"/>
                    <a:pt x="60674" y="0"/>
                  </a:cubicBezTo>
                  <a:lnTo>
                    <a:pt x="60674" y="0"/>
                  </a:lnTo>
                  <a:cubicBezTo>
                    <a:pt x="63708" y="0"/>
                    <a:pt x="66742" y="3034"/>
                    <a:pt x="66742" y="6068"/>
                  </a:cubicBezTo>
                  <a:cubicBezTo>
                    <a:pt x="66742" y="9101"/>
                    <a:pt x="60674" y="218427"/>
                    <a:pt x="12135" y="333708"/>
                  </a:cubicBezTo>
                  <a:cubicBezTo>
                    <a:pt x="9102" y="333708"/>
                    <a:pt x="6068" y="336742"/>
                    <a:pt x="6068" y="336742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E5FB670E-D837-4BF1-B2A1-18C5A273A8C3}"/>
                </a:ext>
              </a:extLst>
            </p:cNvPr>
            <p:cNvSpPr/>
            <p:nvPr/>
          </p:nvSpPr>
          <p:spPr>
            <a:xfrm>
              <a:off x="11162153" y="4318269"/>
              <a:ext cx="149908" cy="300337"/>
            </a:xfrm>
            <a:custGeom>
              <a:avLst/>
              <a:gdLst>
                <a:gd name="connsiteX0" fmla="*/ 7324 w 149908"/>
                <a:gd name="connsiteY0" fmla="*/ 300337 h 300337"/>
                <a:gd name="connsiteX1" fmla="*/ 1256 w 149908"/>
                <a:gd name="connsiteY1" fmla="*/ 297303 h 300337"/>
                <a:gd name="connsiteX2" fmla="*/ 4290 w 149908"/>
                <a:gd name="connsiteY2" fmla="*/ 288202 h 300337"/>
                <a:gd name="connsiteX3" fmla="*/ 110470 w 149908"/>
                <a:gd name="connsiteY3" fmla="*/ 212360 h 300337"/>
                <a:gd name="connsiteX4" fmla="*/ 137773 w 149908"/>
                <a:gd name="connsiteY4" fmla="*/ 6068 h 300337"/>
                <a:gd name="connsiteX5" fmla="*/ 143841 w 149908"/>
                <a:gd name="connsiteY5" fmla="*/ 0 h 300337"/>
                <a:gd name="connsiteX6" fmla="*/ 149909 w 149908"/>
                <a:gd name="connsiteY6" fmla="*/ 6068 h 300337"/>
                <a:gd name="connsiteX7" fmla="*/ 119572 w 149908"/>
                <a:gd name="connsiteY7" fmla="*/ 218427 h 300337"/>
                <a:gd name="connsiteX8" fmla="*/ 10358 w 149908"/>
                <a:gd name="connsiteY8" fmla="*/ 297303 h 300337"/>
                <a:gd name="connsiteX9" fmla="*/ 7324 w 149908"/>
                <a:gd name="connsiteY9" fmla="*/ 300337 h 30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908" h="300337">
                  <a:moveTo>
                    <a:pt x="7324" y="300337"/>
                  </a:moveTo>
                  <a:cubicBezTo>
                    <a:pt x="4290" y="300337"/>
                    <a:pt x="4290" y="300337"/>
                    <a:pt x="1256" y="297303"/>
                  </a:cubicBezTo>
                  <a:cubicBezTo>
                    <a:pt x="-1777" y="294270"/>
                    <a:pt x="1256" y="291236"/>
                    <a:pt x="4290" y="288202"/>
                  </a:cubicBezTo>
                  <a:cubicBezTo>
                    <a:pt x="43729" y="263933"/>
                    <a:pt x="101369" y="221461"/>
                    <a:pt x="110470" y="212360"/>
                  </a:cubicBezTo>
                  <a:cubicBezTo>
                    <a:pt x="116538" y="203259"/>
                    <a:pt x="128672" y="97079"/>
                    <a:pt x="137773" y="6068"/>
                  </a:cubicBezTo>
                  <a:cubicBezTo>
                    <a:pt x="137773" y="3034"/>
                    <a:pt x="140807" y="0"/>
                    <a:pt x="143841" y="0"/>
                  </a:cubicBezTo>
                  <a:cubicBezTo>
                    <a:pt x="146875" y="0"/>
                    <a:pt x="149909" y="3034"/>
                    <a:pt x="149909" y="6068"/>
                  </a:cubicBezTo>
                  <a:cubicBezTo>
                    <a:pt x="146875" y="39438"/>
                    <a:pt x="131706" y="203259"/>
                    <a:pt x="119572" y="218427"/>
                  </a:cubicBezTo>
                  <a:cubicBezTo>
                    <a:pt x="107436" y="233596"/>
                    <a:pt x="19459" y="291236"/>
                    <a:pt x="10358" y="297303"/>
                  </a:cubicBezTo>
                  <a:cubicBezTo>
                    <a:pt x="10358" y="300337"/>
                    <a:pt x="10358" y="300337"/>
                    <a:pt x="7324" y="300337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33FA523A-F304-415A-AC5E-377D64EBE605}"/>
                </a:ext>
              </a:extLst>
            </p:cNvPr>
            <p:cNvSpPr/>
            <p:nvPr/>
          </p:nvSpPr>
          <p:spPr>
            <a:xfrm>
              <a:off x="10614309" y="4236358"/>
              <a:ext cx="318539" cy="209325"/>
            </a:xfrm>
            <a:custGeom>
              <a:avLst/>
              <a:gdLst>
                <a:gd name="connsiteX0" fmla="*/ 30337 w 318539"/>
                <a:gd name="connsiteY0" fmla="*/ 209326 h 209325"/>
                <a:gd name="connsiteX1" fmla="*/ 3033 w 318539"/>
                <a:gd name="connsiteY1" fmla="*/ 209326 h 209325"/>
                <a:gd name="connsiteX2" fmla="*/ 0 w 318539"/>
                <a:gd name="connsiteY2" fmla="*/ 206292 h 209325"/>
                <a:gd name="connsiteX3" fmla="*/ 0 w 318539"/>
                <a:gd name="connsiteY3" fmla="*/ 203258 h 209325"/>
                <a:gd name="connsiteX4" fmla="*/ 9101 w 318539"/>
                <a:gd name="connsiteY4" fmla="*/ 130450 h 209325"/>
                <a:gd name="connsiteX5" fmla="*/ 15169 w 318539"/>
                <a:gd name="connsiteY5" fmla="*/ 124382 h 209325"/>
                <a:gd name="connsiteX6" fmla="*/ 270000 w 318539"/>
                <a:gd name="connsiteY6" fmla="*/ 3034 h 209325"/>
                <a:gd name="connsiteX7" fmla="*/ 276067 w 318539"/>
                <a:gd name="connsiteY7" fmla="*/ 0 h 209325"/>
                <a:gd name="connsiteX8" fmla="*/ 279101 w 318539"/>
                <a:gd name="connsiteY8" fmla="*/ 3034 h 209325"/>
                <a:gd name="connsiteX9" fmla="*/ 318539 w 318539"/>
                <a:gd name="connsiteY9" fmla="*/ 63708 h 209325"/>
                <a:gd name="connsiteX10" fmla="*/ 318539 w 318539"/>
                <a:gd name="connsiteY10" fmla="*/ 69775 h 209325"/>
                <a:gd name="connsiteX11" fmla="*/ 30337 w 318539"/>
                <a:gd name="connsiteY11" fmla="*/ 209326 h 209325"/>
                <a:gd name="connsiteX12" fmla="*/ 9101 w 318539"/>
                <a:gd name="connsiteY12" fmla="*/ 197191 h 209325"/>
                <a:gd name="connsiteX13" fmla="*/ 30337 w 318539"/>
                <a:gd name="connsiteY13" fmla="*/ 197191 h 209325"/>
                <a:gd name="connsiteX14" fmla="*/ 303371 w 318539"/>
                <a:gd name="connsiteY14" fmla="*/ 66741 h 209325"/>
                <a:gd name="connsiteX15" fmla="*/ 270000 w 318539"/>
                <a:gd name="connsiteY15" fmla="*/ 15169 h 209325"/>
                <a:gd name="connsiteX16" fmla="*/ 18202 w 318539"/>
                <a:gd name="connsiteY16" fmla="*/ 136517 h 209325"/>
                <a:gd name="connsiteX17" fmla="*/ 9101 w 318539"/>
                <a:gd name="connsiteY17" fmla="*/ 197191 h 209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18539" h="209325">
                  <a:moveTo>
                    <a:pt x="30337" y="209326"/>
                  </a:moveTo>
                  <a:cubicBezTo>
                    <a:pt x="21235" y="209326"/>
                    <a:pt x="12135" y="209326"/>
                    <a:pt x="3033" y="209326"/>
                  </a:cubicBezTo>
                  <a:cubicBezTo>
                    <a:pt x="0" y="209326"/>
                    <a:pt x="0" y="209326"/>
                    <a:pt x="0" y="206292"/>
                  </a:cubicBezTo>
                  <a:cubicBezTo>
                    <a:pt x="0" y="206292"/>
                    <a:pt x="0" y="203258"/>
                    <a:pt x="0" y="203258"/>
                  </a:cubicBezTo>
                  <a:lnTo>
                    <a:pt x="9101" y="130450"/>
                  </a:lnTo>
                  <a:cubicBezTo>
                    <a:pt x="9101" y="127416"/>
                    <a:pt x="12135" y="124382"/>
                    <a:pt x="15169" y="124382"/>
                  </a:cubicBezTo>
                  <a:cubicBezTo>
                    <a:pt x="15169" y="124382"/>
                    <a:pt x="148652" y="121348"/>
                    <a:pt x="270000" y="3034"/>
                  </a:cubicBezTo>
                  <a:cubicBezTo>
                    <a:pt x="270000" y="3034"/>
                    <a:pt x="273034" y="0"/>
                    <a:pt x="276067" y="0"/>
                  </a:cubicBezTo>
                  <a:cubicBezTo>
                    <a:pt x="279101" y="0"/>
                    <a:pt x="279101" y="0"/>
                    <a:pt x="279101" y="3034"/>
                  </a:cubicBezTo>
                  <a:lnTo>
                    <a:pt x="318539" y="63708"/>
                  </a:lnTo>
                  <a:cubicBezTo>
                    <a:pt x="318539" y="66741"/>
                    <a:pt x="318539" y="66741"/>
                    <a:pt x="318539" y="69775"/>
                  </a:cubicBezTo>
                  <a:cubicBezTo>
                    <a:pt x="312472" y="72809"/>
                    <a:pt x="212360" y="209326"/>
                    <a:pt x="30337" y="209326"/>
                  </a:cubicBezTo>
                  <a:close/>
                  <a:moveTo>
                    <a:pt x="9101" y="197191"/>
                  </a:moveTo>
                  <a:cubicBezTo>
                    <a:pt x="15169" y="197191"/>
                    <a:pt x="24269" y="197191"/>
                    <a:pt x="30337" y="197191"/>
                  </a:cubicBezTo>
                  <a:cubicBezTo>
                    <a:pt x="194157" y="197191"/>
                    <a:pt x="288202" y="84944"/>
                    <a:pt x="303371" y="66741"/>
                  </a:cubicBezTo>
                  <a:lnTo>
                    <a:pt x="270000" y="15169"/>
                  </a:lnTo>
                  <a:cubicBezTo>
                    <a:pt x="160786" y="121348"/>
                    <a:pt x="42472" y="133483"/>
                    <a:pt x="18202" y="136517"/>
                  </a:cubicBezTo>
                  <a:lnTo>
                    <a:pt x="9101" y="197191"/>
                  </a:ln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457C2364-1EE4-4FF6-B2C5-252B8DF189F0}"/>
                </a:ext>
              </a:extLst>
            </p:cNvPr>
            <p:cNvSpPr/>
            <p:nvPr/>
          </p:nvSpPr>
          <p:spPr>
            <a:xfrm>
              <a:off x="11193747" y="3399055"/>
              <a:ext cx="382247" cy="306404"/>
            </a:xfrm>
            <a:custGeom>
              <a:avLst/>
              <a:gdLst>
                <a:gd name="connsiteX0" fmla="*/ 148652 w 382247"/>
                <a:gd name="connsiteY0" fmla="*/ 306404 h 306404"/>
                <a:gd name="connsiteX1" fmla="*/ 145619 w 382247"/>
                <a:gd name="connsiteY1" fmla="*/ 306404 h 306404"/>
                <a:gd name="connsiteX2" fmla="*/ 3034 w 382247"/>
                <a:gd name="connsiteY2" fmla="*/ 175955 h 306404"/>
                <a:gd name="connsiteX3" fmla="*/ 0 w 382247"/>
                <a:gd name="connsiteY3" fmla="*/ 169888 h 306404"/>
                <a:gd name="connsiteX4" fmla="*/ 39439 w 382247"/>
                <a:gd name="connsiteY4" fmla="*/ 3034 h 306404"/>
                <a:gd name="connsiteX5" fmla="*/ 42473 w 382247"/>
                <a:gd name="connsiteY5" fmla="*/ 0 h 306404"/>
                <a:gd name="connsiteX6" fmla="*/ 45506 w 382247"/>
                <a:gd name="connsiteY6" fmla="*/ 0 h 306404"/>
                <a:gd name="connsiteX7" fmla="*/ 379214 w 382247"/>
                <a:gd name="connsiteY7" fmla="*/ 87977 h 306404"/>
                <a:gd name="connsiteX8" fmla="*/ 382247 w 382247"/>
                <a:gd name="connsiteY8" fmla="*/ 91011 h 306404"/>
                <a:gd name="connsiteX9" fmla="*/ 382247 w 382247"/>
                <a:gd name="connsiteY9" fmla="*/ 94045 h 306404"/>
                <a:gd name="connsiteX10" fmla="*/ 351910 w 382247"/>
                <a:gd name="connsiteY10" fmla="*/ 245730 h 306404"/>
                <a:gd name="connsiteX11" fmla="*/ 348876 w 382247"/>
                <a:gd name="connsiteY11" fmla="*/ 248764 h 306404"/>
                <a:gd name="connsiteX12" fmla="*/ 148652 w 382247"/>
                <a:gd name="connsiteY12" fmla="*/ 306404 h 306404"/>
                <a:gd name="connsiteX13" fmla="*/ 148652 w 382247"/>
                <a:gd name="connsiteY13" fmla="*/ 306404 h 306404"/>
                <a:gd name="connsiteX14" fmla="*/ 12136 w 382247"/>
                <a:gd name="connsiteY14" fmla="*/ 166854 h 306404"/>
                <a:gd name="connsiteX15" fmla="*/ 148652 w 382247"/>
                <a:gd name="connsiteY15" fmla="*/ 294270 h 306404"/>
                <a:gd name="connsiteX16" fmla="*/ 339776 w 382247"/>
                <a:gd name="connsiteY16" fmla="*/ 239663 h 306404"/>
                <a:gd name="connsiteX17" fmla="*/ 370113 w 382247"/>
                <a:gd name="connsiteY17" fmla="*/ 97079 h 306404"/>
                <a:gd name="connsiteX18" fmla="*/ 48540 w 382247"/>
                <a:gd name="connsiteY18" fmla="*/ 12135 h 306404"/>
                <a:gd name="connsiteX19" fmla="*/ 12136 w 382247"/>
                <a:gd name="connsiteY19" fmla="*/ 166854 h 30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82247" h="306404">
                  <a:moveTo>
                    <a:pt x="148652" y="306404"/>
                  </a:moveTo>
                  <a:cubicBezTo>
                    <a:pt x="148652" y="306404"/>
                    <a:pt x="145619" y="306404"/>
                    <a:pt x="145619" y="306404"/>
                  </a:cubicBezTo>
                  <a:lnTo>
                    <a:pt x="3034" y="175955"/>
                  </a:lnTo>
                  <a:cubicBezTo>
                    <a:pt x="3034" y="175955"/>
                    <a:pt x="0" y="172921"/>
                    <a:pt x="0" y="169888"/>
                  </a:cubicBezTo>
                  <a:lnTo>
                    <a:pt x="39439" y="3034"/>
                  </a:lnTo>
                  <a:cubicBezTo>
                    <a:pt x="39439" y="3034"/>
                    <a:pt x="39439" y="0"/>
                    <a:pt x="42473" y="0"/>
                  </a:cubicBezTo>
                  <a:cubicBezTo>
                    <a:pt x="42473" y="0"/>
                    <a:pt x="45506" y="0"/>
                    <a:pt x="45506" y="0"/>
                  </a:cubicBezTo>
                  <a:cubicBezTo>
                    <a:pt x="48540" y="0"/>
                    <a:pt x="279102" y="69775"/>
                    <a:pt x="379214" y="87977"/>
                  </a:cubicBezTo>
                  <a:cubicBezTo>
                    <a:pt x="379214" y="87977"/>
                    <a:pt x="382247" y="87977"/>
                    <a:pt x="382247" y="91011"/>
                  </a:cubicBezTo>
                  <a:cubicBezTo>
                    <a:pt x="382247" y="91011"/>
                    <a:pt x="382247" y="94045"/>
                    <a:pt x="382247" y="94045"/>
                  </a:cubicBezTo>
                  <a:lnTo>
                    <a:pt x="351910" y="245730"/>
                  </a:lnTo>
                  <a:cubicBezTo>
                    <a:pt x="351910" y="248764"/>
                    <a:pt x="348876" y="248764"/>
                    <a:pt x="348876" y="248764"/>
                  </a:cubicBezTo>
                  <a:lnTo>
                    <a:pt x="148652" y="306404"/>
                  </a:lnTo>
                  <a:cubicBezTo>
                    <a:pt x="148652" y="306404"/>
                    <a:pt x="148652" y="306404"/>
                    <a:pt x="148652" y="306404"/>
                  </a:cubicBezTo>
                  <a:close/>
                  <a:moveTo>
                    <a:pt x="12136" y="166854"/>
                  </a:moveTo>
                  <a:lnTo>
                    <a:pt x="148652" y="294270"/>
                  </a:lnTo>
                  <a:lnTo>
                    <a:pt x="339776" y="239663"/>
                  </a:lnTo>
                  <a:lnTo>
                    <a:pt x="370113" y="97079"/>
                  </a:lnTo>
                  <a:cubicBezTo>
                    <a:pt x="276068" y="78876"/>
                    <a:pt x="81910" y="21236"/>
                    <a:pt x="48540" y="12135"/>
                  </a:cubicBezTo>
                  <a:lnTo>
                    <a:pt x="12136" y="166854"/>
                  </a:ln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845831F8-9587-46DB-9AF2-948760A66589}"/>
                </a:ext>
              </a:extLst>
            </p:cNvPr>
            <p:cNvSpPr/>
            <p:nvPr/>
          </p:nvSpPr>
          <p:spPr>
            <a:xfrm>
              <a:off x="10980279" y="3156359"/>
              <a:ext cx="783805" cy="940449"/>
            </a:xfrm>
            <a:custGeom>
              <a:avLst/>
              <a:gdLst>
                <a:gd name="connsiteX0" fmla="*/ 292344 w 783805"/>
                <a:gd name="connsiteY0" fmla="*/ 0 h 940449"/>
                <a:gd name="connsiteX1" fmla="*/ 322681 w 783805"/>
                <a:gd name="connsiteY1" fmla="*/ 555168 h 940449"/>
                <a:gd name="connsiteX2" fmla="*/ 783805 w 783805"/>
                <a:gd name="connsiteY2" fmla="*/ 819101 h 940449"/>
                <a:gd name="connsiteX3" fmla="*/ 677625 w 783805"/>
                <a:gd name="connsiteY3" fmla="*/ 940449 h 940449"/>
                <a:gd name="connsiteX4" fmla="*/ 67850 w 783805"/>
                <a:gd name="connsiteY4" fmla="*/ 652247 h 940449"/>
                <a:gd name="connsiteX5" fmla="*/ 1108 w 783805"/>
                <a:gd name="connsiteY5" fmla="*/ 33371 h 940449"/>
                <a:gd name="connsiteX6" fmla="*/ 292344 w 783805"/>
                <a:gd name="connsiteY6" fmla="*/ 0 h 940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3805" h="940449">
                  <a:moveTo>
                    <a:pt x="292344" y="0"/>
                  </a:moveTo>
                  <a:lnTo>
                    <a:pt x="322681" y="555168"/>
                  </a:lnTo>
                  <a:lnTo>
                    <a:pt x="783805" y="819101"/>
                  </a:lnTo>
                  <a:lnTo>
                    <a:pt x="677625" y="940449"/>
                  </a:lnTo>
                  <a:cubicBezTo>
                    <a:pt x="677625" y="940449"/>
                    <a:pt x="149760" y="749326"/>
                    <a:pt x="67850" y="652247"/>
                  </a:cubicBezTo>
                  <a:cubicBezTo>
                    <a:pt x="-14061" y="555168"/>
                    <a:pt x="1108" y="33371"/>
                    <a:pt x="1108" y="33371"/>
                  </a:cubicBezTo>
                  <a:lnTo>
                    <a:pt x="292344" y="0"/>
                  </a:ln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6" name="图形 1">
              <a:extLst>
                <a:ext uri="{FF2B5EF4-FFF2-40B4-BE49-F238E27FC236}">
                  <a16:creationId xmlns:a16="http://schemas.microsoft.com/office/drawing/2014/main" id="{F8B0B052-8408-4DD3-84E4-873DC4B30A48}"/>
                </a:ext>
              </a:extLst>
            </p:cNvPr>
            <p:cNvGrpSpPr/>
            <p:nvPr/>
          </p:nvGrpSpPr>
          <p:grpSpPr>
            <a:xfrm>
              <a:off x="11636942" y="3945008"/>
              <a:ext cx="363771" cy="307481"/>
              <a:chOff x="11636942" y="3945008"/>
              <a:chExt cx="363771" cy="307481"/>
            </a:xfrm>
          </p:grpSpPr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2486BA78-8840-482E-80D8-EDFA2F7627E1}"/>
                  </a:ext>
                </a:extLst>
              </p:cNvPr>
              <p:cNvSpPr/>
              <p:nvPr/>
            </p:nvSpPr>
            <p:spPr>
              <a:xfrm>
                <a:off x="11636942" y="3945008"/>
                <a:ext cx="359755" cy="307481"/>
              </a:xfrm>
              <a:custGeom>
                <a:avLst/>
                <a:gdLst>
                  <a:gd name="connsiteX0" fmla="*/ 20963 w 359755"/>
                  <a:gd name="connsiteY0" fmla="*/ 148767 h 307481"/>
                  <a:gd name="connsiteX1" fmla="*/ 96806 w 359755"/>
                  <a:gd name="connsiteY1" fmla="*/ 209441 h 307481"/>
                  <a:gd name="connsiteX2" fmla="*/ 166581 w 359755"/>
                  <a:gd name="connsiteY2" fmla="*/ 279216 h 307481"/>
                  <a:gd name="connsiteX3" fmla="*/ 215120 w 359755"/>
                  <a:gd name="connsiteY3" fmla="*/ 306519 h 307481"/>
                  <a:gd name="connsiteX4" fmla="*/ 193884 w 359755"/>
                  <a:gd name="connsiteY4" fmla="*/ 242812 h 307481"/>
                  <a:gd name="connsiteX5" fmla="*/ 239390 w 359755"/>
                  <a:gd name="connsiteY5" fmla="*/ 276182 h 307481"/>
                  <a:gd name="connsiteX6" fmla="*/ 309165 w 359755"/>
                  <a:gd name="connsiteY6" fmla="*/ 306519 h 307481"/>
                  <a:gd name="connsiteX7" fmla="*/ 318266 w 359755"/>
                  <a:gd name="connsiteY7" fmla="*/ 291351 h 307481"/>
                  <a:gd name="connsiteX8" fmla="*/ 351637 w 359755"/>
                  <a:gd name="connsiteY8" fmla="*/ 294385 h 307481"/>
                  <a:gd name="connsiteX9" fmla="*/ 333435 w 359755"/>
                  <a:gd name="connsiteY9" fmla="*/ 230677 h 307481"/>
                  <a:gd name="connsiteX10" fmla="*/ 293997 w 359755"/>
                  <a:gd name="connsiteY10" fmla="*/ 182138 h 307481"/>
                  <a:gd name="connsiteX11" fmla="*/ 333435 w 359755"/>
                  <a:gd name="connsiteY11" fmla="*/ 200340 h 307481"/>
                  <a:gd name="connsiteX12" fmla="*/ 354671 w 359755"/>
                  <a:gd name="connsiteY12" fmla="*/ 200340 h 307481"/>
                  <a:gd name="connsiteX13" fmla="*/ 315232 w 359755"/>
                  <a:gd name="connsiteY13" fmla="*/ 133598 h 307481"/>
                  <a:gd name="connsiteX14" fmla="*/ 87704 w 359755"/>
                  <a:gd name="connsiteY14" fmla="*/ 115 h 307481"/>
                  <a:gd name="connsiteX15" fmla="*/ 2761 w 359755"/>
                  <a:gd name="connsiteY15" fmla="*/ 94160 h 307481"/>
                  <a:gd name="connsiteX16" fmla="*/ 20963 w 359755"/>
                  <a:gd name="connsiteY16" fmla="*/ 148767 h 307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59755" h="307481">
                    <a:moveTo>
                      <a:pt x="20963" y="148767"/>
                    </a:moveTo>
                    <a:cubicBezTo>
                      <a:pt x="45232" y="170003"/>
                      <a:pt x="72536" y="188205"/>
                      <a:pt x="96806" y="209441"/>
                    </a:cubicBezTo>
                    <a:cubicBezTo>
                      <a:pt x="121075" y="230677"/>
                      <a:pt x="142311" y="257980"/>
                      <a:pt x="166581" y="279216"/>
                    </a:cubicBezTo>
                    <a:cubicBezTo>
                      <a:pt x="175682" y="288317"/>
                      <a:pt x="199952" y="312587"/>
                      <a:pt x="215120" y="306519"/>
                    </a:cubicBezTo>
                    <a:cubicBezTo>
                      <a:pt x="236357" y="300452"/>
                      <a:pt x="215120" y="270115"/>
                      <a:pt x="193884" y="242812"/>
                    </a:cubicBezTo>
                    <a:cubicBezTo>
                      <a:pt x="209052" y="254947"/>
                      <a:pt x="224221" y="267081"/>
                      <a:pt x="239390" y="276182"/>
                    </a:cubicBezTo>
                    <a:cubicBezTo>
                      <a:pt x="254558" y="288317"/>
                      <a:pt x="287929" y="312587"/>
                      <a:pt x="309165" y="306519"/>
                    </a:cubicBezTo>
                    <a:cubicBezTo>
                      <a:pt x="315232" y="303486"/>
                      <a:pt x="318266" y="300452"/>
                      <a:pt x="318266" y="291351"/>
                    </a:cubicBezTo>
                    <a:cubicBezTo>
                      <a:pt x="333435" y="300452"/>
                      <a:pt x="345569" y="303486"/>
                      <a:pt x="351637" y="294385"/>
                    </a:cubicBezTo>
                    <a:cubicBezTo>
                      <a:pt x="363772" y="276182"/>
                      <a:pt x="342536" y="242812"/>
                      <a:pt x="333435" y="230677"/>
                    </a:cubicBezTo>
                    <a:cubicBezTo>
                      <a:pt x="321300" y="212475"/>
                      <a:pt x="309165" y="197306"/>
                      <a:pt x="293997" y="182138"/>
                    </a:cubicBezTo>
                    <a:cubicBezTo>
                      <a:pt x="306132" y="188205"/>
                      <a:pt x="321300" y="197306"/>
                      <a:pt x="333435" y="200340"/>
                    </a:cubicBezTo>
                    <a:cubicBezTo>
                      <a:pt x="339502" y="203373"/>
                      <a:pt x="348603" y="206407"/>
                      <a:pt x="354671" y="200340"/>
                    </a:cubicBezTo>
                    <a:cubicBezTo>
                      <a:pt x="375906" y="182138"/>
                      <a:pt x="324334" y="142699"/>
                      <a:pt x="315232" y="133598"/>
                    </a:cubicBezTo>
                    <a:cubicBezTo>
                      <a:pt x="245457" y="78991"/>
                      <a:pt x="163547" y="45621"/>
                      <a:pt x="87704" y="115"/>
                    </a:cubicBezTo>
                    <a:cubicBezTo>
                      <a:pt x="87704" y="-2919"/>
                      <a:pt x="11861" y="54722"/>
                      <a:pt x="2761" y="94160"/>
                    </a:cubicBezTo>
                    <a:cubicBezTo>
                      <a:pt x="-3307" y="127531"/>
                      <a:pt x="-273" y="133598"/>
                      <a:pt x="20963" y="148767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BE691C82-8B33-42AB-9B00-204E68E5BEC8}"/>
                  </a:ext>
                </a:extLst>
              </p:cNvPr>
              <p:cNvSpPr/>
              <p:nvPr/>
            </p:nvSpPr>
            <p:spPr>
              <a:xfrm>
                <a:off x="11855096" y="4020965"/>
                <a:ext cx="145617" cy="139550"/>
              </a:xfrm>
              <a:custGeom>
                <a:avLst/>
                <a:gdLst>
                  <a:gd name="connsiteX0" fmla="*/ 124382 w 145617"/>
                  <a:gd name="connsiteY0" fmla="*/ 139551 h 139550"/>
                  <a:gd name="connsiteX1" fmla="*/ 69775 w 145617"/>
                  <a:gd name="connsiteY1" fmla="*/ 115281 h 139550"/>
                  <a:gd name="connsiteX2" fmla="*/ 6067 w 145617"/>
                  <a:gd name="connsiteY2" fmla="*/ 66741 h 139550"/>
                  <a:gd name="connsiteX3" fmla="*/ 0 w 145617"/>
                  <a:gd name="connsiteY3" fmla="*/ 60674 h 139550"/>
                  <a:gd name="connsiteX4" fmla="*/ 6067 w 145617"/>
                  <a:gd name="connsiteY4" fmla="*/ 54607 h 139550"/>
                  <a:gd name="connsiteX5" fmla="*/ 78877 w 145617"/>
                  <a:gd name="connsiteY5" fmla="*/ 103146 h 139550"/>
                  <a:gd name="connsiteX6" fmla="*/ 133483 w 145617"/>
                  <a:gd name="connsiteY6" fmla="*/ 121348 h 139550"/>
                  <a:gd name="connsiteX7" fmla="*/ 136517 w 145617"/>
                  <a:gd name="connsiteY7" fmla="*/ 118315 h 139550"/>
                  <a:gd name="connsiteX8" fmla="*/ 9101 w 145617"/>
                  <a:gd name="connsiteY8" fmla="*/ 9101 h 139550"/>
                  <a:gd name="connsiteX9" fmla="*/ 6067 w 145617"/>
                  <a:gd name="connsiteY9" fmla="*/ 3034 h 139550"/>
                  <a:gd name="connsiteX10" fmla="*/ 12135 w 145617"/>
                  <a:gd name="connsiteY10" fmla="*/ 0 h 139550"/>
                  <a:gd name="connsiteX11" fmla="*/ 145618 w 145617"/>
                  <a:gd name="connsiteY11" fmla="*/ 118315 h 139550"/>
                  <a:gd name="connsiteX12" fmla="*/ 136517 w 145617"/>
                  <a:gd name="connsiteY12" fmla="*/ 133483 h 139550"/>
                  <a:gd name="connsiteX13" fmla="*/ 124382 w 145617"/>
                  <a:gd name="connsiteY13" fmla="*/ 139551 h 13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5617" h="139550">
                    <a:moveTo>
                      <a:pt x="124382" y="139551"/>
                    </a:moveTo>
                    <a:cubicBezTo>
                      <a:pt x="100112" y="139551"/>
                      <a:pt x="72809" y="118315"/>
                      <a:pt x="69775" y="115281"/>
                    </a:cubicBezTo>
                    <a:cubicBezTo>
                      <a:pt x="42472" y="94045"/>
                      <a:pt x="12135" y="69775"/>
                      <a:pt x="6067" y="66741"/>
                    </a:cubicBezTo>
                    <a:cubicBezTo>
                      <a:pt x="3034" y="66741"/>
                      <a:pt x="0" y="63708"/>
                      <a:pt x="0" y="60674"/>
                    </a:cubicBezTo>
                    <a:cubicBezTo>
                      <a:pt x="0" y="57640"/>
                      <a:pt x="3034" y="54607"/>
                      <a:pt x="6067" y="54607"/>
                    </a:cubicBezTo>
                    <a:cubicBezTo>
                      <a:pt x="21235" y="54607"/>
                      <a:pt x="63708" y="94045"/>
                      <a:pt x="78877" y="103146"/>
                    </a:cubicBezTo>
                    <a:cubicBezTo>
                      <a:pt x="87977" y="109213"/>
                      <a:pt x="121348" y="130449"/>
                      <a:pt x="133483" y="121348"/>
                    </a:cubicBezTo>
                    <a:cubicBezTo>
                      <a:pt x="133483" y="121348"/>
                      <a:pt x="136517" y="118315"/>
                      <a:pt x="136517" y="118315"/>
                    </a:cubicBezTo>
                    <a:cubicBezTo>
                      <a:pt x="136517" y="103146"/>
                      <a:pt x="97078" y="57640"/>
                      <a:pt x="9101" y="9101"/>
                    </a:cubicBezTo>
                    <a:cubicBezTo>
                      <a:pt x="6067" y="9101"/>
                      <a:pt x="6067" y="3034"/>
                      <a:pt x="6067" y="3034"/>
                    </a:cubicBezTo>
                    <a:cubicBezTo>
                      <a:pt x="6067" y="0"/>
                      <a:pt x="12135" y="0"/>
                      <a:pt x="12135" y="0"/>
                    </a:cubicBezTo>
                    <a:cubicBezTo>
                      <a:pt x="87977" y="42472"/>
                      <a:pt x="145618" y="91011"/>
                      <a:pt x="145618" y="118315"/>
                    </a:cubicBezTo>
                    <a:cubicBezTo>
                      <a:pt x="145618" y="124382"/>
                      <a:pt x="142584" y="130449"/>
                      <a:pt x="136517" y="133483"/>
                    </a:cubicBezTo>
                    <a:cubicBezTo>
                      <a:pt x="133483" y="139551"/>
                      <a:pt x="130449" y="139551"/>
                      <a:pt x="124382" y="13955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8742C333-7332-4AC4-BCC0-BB59A279327E}"/>
                  </a:ext>
                </a:extLst>
              </p:cNvPr>
              <p:cNvSpPr/>
              <p:nvPr/>
            </p:nvSpPr>
            <p:spPr>
              <a:xfrm>
                <a:off x="11836893" y="4121077"/>
                <a:ext cx="122696" cy="127415"/>
              </a:xfrm>
              <a:custGeom>
                <a:avLst/>
                <a:gdLst>
                  <a:gd name="connsiteX0" fmla="*/ 115281 w 122696"/>
                  <a:gd name="connsiteY0" fmla="*/ 127416 h 127415"/>
                  <a:gd name="connsiteX1" fmla="*/ 112248 w 122696"/>
                  <a:gd name="connsiteY1" fmla="*/ 124382 h 127415"/>
                  <a:gd name="connsiteX2" fmla="*/ 3034 w 122696"/>
                  <a:gd name="connsiteY2" fmla="*/ 9101 h 127415"/>
                  <a:gd name="connsiteX3" fmla="*/ 0 w 122696"/>
                  <a:gd name="connsiteY3" fmla="*/ 3034 h 127415"/>
                  <a:gd name="connsiteX4" fmla="*/ 6068 w 122696"/>
                  <a:gd name="connsiteY4" fmla="*/ 0 h 127415"/>
                  <a:gd name="connsiteX5" fmla="*/ 121348 w 122696"/>
                  <a:gd name="connsiteY5" fmla="*/ 118315 h 127415"/>
                  <a:gd name="connsiteX6" fmla="*/ 121348 w 122696"/>
                  <a:gd name="connsiteY6" fmla="*/ 127416 h 127415"/>
                  <a:gd name="connsiteX7" fmla="*/ 115281 w 122696"/>
                  <a:gd name="connsiteY7" fmla="*/ 127416 h 127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2696" h="127415">
                    <a:moveTo>
                      <a:pt x="115281" y="127416"/>
                    </a:moveTo>
                    <a:cubicBezTo>
                      <a:pt x="112248" y="127416"/>
                      <a:pt x="112248" y="127416"/>
                      <a:pt x="112248" y="124382"/>
                    </a:cubicBezTo>
                    <a:cubicBezTo>
                      <a:pt x="112248" y="124382"/>
                      <a:pt x="33371" y="21236"/>
                      <a:pt x="3034" y="9101"/>
                    </a:cubicBezTo>
                    <a:cubicBezTo>
                      <a:pt x="0" y="9101"/>
                      <a:pt x="0" y="3034"/>
                      <a:pt x="0" y="3034"/>
                    </a:cubicBezTo>
                    <a:cubicBezTo>
                      <a:pt x="0" y="0"/>
                      <a:pt x="6068" y="0"/>
                      <a:pt x="6068" y="0"/>
                    </a:cubicBezTo>
                    <a:cubicBezTo>
                      <a:pt x="39438" y="15169"/>
                      <a:pt x="118314" y="115281"/>
                      <a:pt x="121348" y="118315"/>
                    </a:cubicBezTo>
                    <a:cubicBezTo>
                      <a:pt x="124382" y="121348"/>
                      <a:pt x="121348" y="124382"/>
                      <a:pt x="121348" y="127416"/>
                    </a:cubicBezTo>
                    <a:cubicBezTo>
                      <a:pt x="118314" y="127416"/>
                      <a:pt x="118314" y="127416"/>
                      <a:pt x="115281" y="12741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C389295C-7654-428E-BD70-CA9E030083E3}"/>
                  </a:ext>
                </a:extLst>
              </p:cNvPr>
              <p:cNvSpPr/>
              <p:nvPr/>
            </p:nvSpPr>
            <p:spPr>
              <a:xfrm>
                <a:off x="11783045" y="4152173"/>
                <a:ext cx="56123" cy="44747"/>
              </a:xfrm>
              <a:custGeom>
                <a:avLst/>
                <a:gdLst>
                  <a:gd name="connsiteX0" fmla="*/ 47780 w 56123"/>
                  <a:gd name="connsiteY0" fmla="*/ 44747 h 44747"/>
                  <a:gd name="connsiteX1" fmla="*/ 44747 w 56123"/>
                  <a:gd name="connsiteY1" fmla="*/ 44747 h 44747"/>
                  <a:gd name="connsiteX2" fmla="*/ 2275 w 56123"/>
                  <a:gd name="connsiteY2" fmla="*/ 11376 h 44747"/>
                  <a:gd name="connsiteX3" fmla="*/ 2275 w 56123"/>
                  <a:gd name="connsiteY3" fmla="*/ 2275 h 44747"/>
                  <a:gd name="connsiteX4" fmla="*/ 11376 w 56123"/>
                  <a:gd name="connsiteY4" fmla="*/ 2275 h 44747"/>
                  <a:gd name="connsiteX5" fmla="*/ 53848 w 56123"/>
                  <a:gd name="connsiteY5" fmla="*/ 35646 h 44747"/>
                  <a:gd name="connsiteX6" fmla="*/ 53848 w 56123"/>
                  <a:gd name="connsiteY6" fmla="*/ 44747 h 44747"/>
                  <a:gd name="connsiteX7" fmla="*/ 47780 w 56123"/>
                  <a:gd name="connsiteY7" fmla="*/ 44747 h 44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123" h="44747">
                    <a:moveTo>
                      <a:pt x="47780" y="44747"/>
                    </a:moveTo>
                    <a:cubicBezTo>
                      <a:pt x="47780" y="44747"/>
                      <a:pt x="44747" y="44747"/>
                      <a:pt x="44747" y="44747"/>
                    </a:cubicBezTo>
                    <a:lnTo>
                      <a:pt x="2275" y="11376"/>
                    </a:lnTo>
                    <a:cubicBezTo>
                      <a:pt x="-758" y="8343"/>
                      <a:pt x="-758" y="5309"/>
                      <a:pt x="2275" y="2275"/>
                    </a:cubicBezTo>
                    <a:cubicBezTo>
                      <a:pt x="5309" y="-758"/>
                      <a:pt x="8343" y="-758"/>
                      <a:pt x="11376" y="2275"/>
                    </a:cubicBezTo>
                    <a:lnTo>
                      <a:pt x="53848" y="35646"/>
                    </a:lnTo>
                    <a:cubicBezTo>
                      <a:pt x="56882" y="38680"/>
                      <a:pt x="56882" y="41713"/>
                      <a:pt x="53848" y="44747"/>
                    </a:cubicBezTo>
                    <a:cubicBezTo>
                      <a:pt x="50814" y="44747"/>
                      <a:pt x="47780" y="44747"/>
                      <a:pt x="47780" y="4474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8029BE49-C050-48CD-96DA-321401BACA5D}"/>
                  </a:ext>
                </a:extLst>
              </p:cNvPr>
              <p:cNvSpPr/>
              <p:nvPr/>
            </p:nvSpPr>
            <p:spPr>
              <a:xfrm>
                <a:off x="11744625" y="4040945"/>
                <a:ext cx="72288" cy="92267"/>
              </a:xfrm>
              <a:custGeom>
                <a:avLst/>
                <a:gdLst>
                  <a:gd name="connsiteX0" fmla="*/ 7324 w 72288"/>
                  <a:gd name="connsiteY0" fmla="*/ 92268 h 92267"/>
                  <a:gd name="connsiteX1" fmla="*/ 1257 w 72288"/>
                  <a:gd name="connsiteY1" fmla="*/ 89234 h 92267"/>
                  <a:gd name="connsiteX2" fmla="*/ 4291 w 72288"/>
                  <a:gd name="connsiteY2" fmla="*/ 80133 h 92267"/>
                  <a:gd name="connsiteX3" fmla="*/ 61931 w 72288"/>
                  <a:gd name="connsiteY3" fmla="*/ 4290 h 92267"/>
                  <a:gd name="connsiteX4" fmla="*/ 67999 w 72288"/>
                  <a:gd name="connsiteY4" fmla="*/ 1257 h 92267"/>
                  <a:gd name="connsiteX5" fmla="*/ 71032 w 72288"/>
                  <a:gd name="connsiteY5" fmla="*/ 7324 h 92267"/>
                  <a:gd name="connsiteX6" fmla="*/ 7324 w 72288"/>
                  <a:gd name="connsiteY6" fmla="*/ 92268 h 92267"/>
                  <a:gd name="connsiteX7" fmla="*/ 7324 w 72288"/>
                  <a:gd name="connsiteY7" fmla="*/ 92268 h 92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2288" h="92267">
                    <a:moveTo>
                      <a:pt x="7324" y="92268"/>
                    </a:moveTo>
                    <a:cubicBezTo>
                      <a:pt x="4291" y="92268"/>
                      <a:pt x="4291" y="92268"/>
                      <a:pt x="1257" y="89234"/>
                    </a:cubicBezTo>
                    <a:cubicBezTo>
                      <a:pt x="-1777" y="86201"/>
                      <a:pt x="1257" y="83167"/>
                      <a:pt x="4291" y="80133"/>
                    </a:cubicBezTo>
                    <a:cubicBezTo>
                      <a:pt x="49796" y="52830"/>
                      <a:pt x="61931" y="4290"/>
                      <a:pt x="61931" y="4290"/>
                    </a:cubicBezTo>
                    <a:cubicBezTo>
                      <a:pt x="61931" y="1257"/>
                      <a:pt x="64965" y="-1777"/>
                      <a:pt x="67999" y="1257"/>
                    </a:cubicBezTo>
                    <a:cubicBezTo>
                      <a:pt x="71032" y="1257"/>
                      <a:pt x="74065" y="4290"/>
                      <a:pt x="71032" y="7324"/>
                    </a:cubicBezTo>
                    <a:cubicBezTo>
                      <a:pt x="71032" y="10358"/>
                      <a:pt x="58897" y="61931"/>
                      <a:pt x="7324" y="92268"/>
                    </a:cubicBezTo>
                    <a:cubicBezTo>
                      <a:pt x="7324" y="92268"/>
                      <a:pt x="7324" y="92268"/>
                      <a:pt x="7324" y="9226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F775104B-9617-41E4-8505-192F1768644C}"/>
                </a:ext>
              </a:extLst>
            </p:cNvPr>
            <p:cNvSpPr/>
            <p:nvPr/>
          </p:nvSpPr>
          <p:spPr>
            <a:xfrm>
              <a:off x="11233186" y="3153325"/>
              <a:ext cx="75842" cy="585505"/>
            </a:xfrm>
            <a:custGeom>
              <a:avLst/>
              <a:gdLst>
                <a:gd name="connsiteX0" fmla="*/ 6067 w 75842"/>
                <a:gd name="connsiteY0" fmla="*/ 585506 h 585505"/>
                <a:gd name="connsiteX1" fmla="*/ 0 w 75842"/>
                <a:gd name="connsiteY1" fmla="*/ 582472 h 585505"/>
                <a:gd name="connsiteX2" fmla="*/ 3034 w 75842"/>
                <a:gd name="connsiteY2" fmla="*/ 576405 h 585505"/>
                <a:gd name="connsiteX3" fmla="*/ 60674 w 75842"/>
                <a:gd name="connsiteY3" fmla="*/ 558202 h 585505"/>
                <a:gd name="connsiteX4" fmla="*/ 33371 w 75842"/>
                <a:gd name="connsiteY4" fmla="*/ 6067 h 585505"/>
                <a:gd name="connsiteX5" fmla="*/ 39438 w 75842"/>
                <a:gd name="connsiteY5" fmla="*/ 0 h 585505"/>
                <a:gd name="connsiteX6" fmla="*/ 39438 w 75842"/>
                <a:gd name="connsiteY6" fmla="*/ 0 h 585505"/>
                <a:gd name="connsiteX7" fmla="*/ 45506 w 75842"/>
                <a:gd name="connsiteY7" fmla="*/ 6067 h 585505"/>
                <a:gd name="connsiteX8" fmla="*/ 75843 w 75842"/>
                <a:gd name="connsiteY8" fmla="*/ 561236 h 585505"/>
                <a:gd name="connsiteX9" fmla="*/ 72809 w 75842"/>
                <a:gd name="connsiteY9" fmla="*/ 567303 h 585505"/>
                <a:gd name="connsiteX10" fmla="*/ 6067 w 75842"/>
                <a:gd name="connsiteY10" fmla="*/ 585506 h 585505"/>
                <a:gd name="connsiteX11" fmla="*/ 6067 w 75842"/>
                <a:gd name="connsiteY11" fmla="*/ 585506 h 585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842" h="585505">
                  <a:moveTo>
                    <a:pt x="6067" y="585506"/>
                  </a:moveTo>
                  <a:cubicBezTo>
                    <a:pt x="3034" y="585506"/>
                    <a:pt x="0" y="582472"/>
                    <a:pt x="0" y="582472"/>
                  </a:cubicBezTo>
                  <a:cubicBezTo>
                    <a:pt x="0" y="579438"/>
                    <a:pt x="0" y="576405"/>
                    <a:pt x="3034" y="576405"/>
                  </a:cubicBezTo>
                  <a:cubicBezTo>
                    <a:pt x="18202" y="573371"/>
                    <a:pt x="51572" y="561236"/>
                    <a:pt x="60674" y="558202"/>
                  </a:cubicBezTo>
                  <a:lnTo>
                    <a:pt x="33371" y="6067"/>
                  </a:lnTo>
                  <a:cubicBezTo>
                    <a:pt x="33371" y="3034"/>
                    <a:pt x="36404" y="0"/>
                    <a:pt x="39438" y="0"/>
                  </a:cubicBezTo>
                  <a:cubicBezTo>
                    <a:pt x="39438" y="0"/>
                    <a:pt x="39438" y="0"/>
                    <a:pt x="39438" y="0"/>
                  </a:cubicBezTo>
                  <a:cubicBezTo>
                    <a:pt x="42472" y="0"/>
                    <a:pt x="45506" y="3034"/>
                    <a:pt x="45506" y="6067"/>
                  </a:cubicBezTo>
                  <a:lnTo>
                    <a:pt x="75843" y="561236"/>
                  </a:lnTo>
                  <a:cubicBezTo>
                    <a:pt x="75843" y="564270"/>
                    <a:pt x="75843" y="567303"/>
                    <a:pt x="72809" y="567303"/>
                  </a:cubicBezTo>
                  <a:cubicBezTo>
                    <a:pt x="69775" y="564270"/>
                    <a:pt x="27303" y="582472"/>
                    <a:pt x="6067" y="585506"/>
                  </a:cubicBezTo>
                  <a:cubicBezTo>
                    <a:pt x="6067" y="585506"/>
                    <a:pt x="6067" y="585506"/>
                    <a:pt x="6067" y="585506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32F77F9C-5117-4804-B213-5062A3988AD3}"/>
                </a:ext>
              </a:extLst>
            </p:cNvPr>
            <p:cNvSpPr/>
            <p:nvPr/>
          </p:nvSpPr>
          <p:spPr>
            <a:xfrm>
              <a:off x="10923747" y="2777607"/>
              <a:ext cx="418652" cy="588684"/>
            </a:xfrm>
            <a:custGeom>
              <a:avLst/>
              <a:gdLst>
                <a:gd name="connsiteX0" fmla="*/ 0 w 418652"/>
                <a:gd name="connsiteY0" fmla="*/ 575943 h 588684"/>
                <a:gd name="connsiteX1" fmla="*/ 163820 w 418652"/>
                <a:gd name="connsiteY1" fmla="*/ 2572 h 588684"/>
                <a:gd name="connsiteX2" fmla="*/ 418652 w 418652"/>
                <a:gd name="connsiteY2" fmla="*/ 530437 h 588684"/>
                <a:gd name="connsiteX3" fmla="*/ 0 w 418652"/>
                <a:gd name="connsiteY3" fmla="*/ 575943 h 588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652" h="588684">
                  <a:moveTo>
                    <a:pt x="0" y="575943"/>
                  </a:moveTo>
                  <a:cubicBezTo>
                    <a:pt x="0" y="575943"/>
                    <a:pt x="24270" y="42010"/>
                    <a:pt x="163820" y="2572"/>
                  </a:cubicBezTo>
                  <a:cubicBezTo>
                    <a:pt x="327641" y="-42933"/>
                    <a:pt x="418652" y="530437"/>
                    <a:pt x="418652" y="530437"/>
                  </a:cubicBezTo>
                  <a:cubicBezTo>
                    <a:pt x="418652" y="530437"/>
                    <a:pt x="206293" y="621449"/>
                    <a:pt x="0" y="575943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73CC12A2-37E3-4A2C-B44A-310488E29895}"/>
                </a:ext>
              </a:extLst>
            </p:cNvPr>
            <p:cNvSpPr/>
            <p:nvPr/>
          </p:nvSpPr>
          <p:spPr>
            <a:xfrm>
              <a:off x="10920713" y="2777145"/>
              <a:ext cx="424719" cy="603707"/>
            </a:xfrm>
            <a:custGeom>
              <a:avLst/>
              <a:gdLst>
                <a:gd name="connsiteX0" fmla="*/ 130450 w 424719"/>
                <a:gd name="connsiteY0" fmla="*/ 603708 h 603707"/>
                <a:gd name="connsiteX1" fmla="*/ 3034 w 424719"/>
                <a:gd name="connsiteY1" fmla="*/ 585506 h 603707"/>
                <a:gd name="connsiteX2" fmla="*/ 0 w 424719"/>
                <a:gd name="connsiteY2" fmla="*/ 585506 h 603707"/>
                <a:gd name="connsiteX3" fmla="*/ 0 w 424719"/>
                <a:gd name="connsiteY3" fmla="*/ 582472 h 603707"/>
                <a:gd name="connsiteX4" fmla="*/ 33371 w 424719"/>
                <a:gd name="connsiteY4" fmla="*/ 282135 h 603707"/>
                <a:gd name="connsiteX5" fmla="*/ 39439 w 424719"/>
                <a:gd name="connsiteY5" fmla="*/ 279101 h 603707"/>
                <a:gd name="connsiteX6" fmla="*/ 42473 w 424719"/>
                <a:gd name="connsiteY6" fmla="*/ 285168 h 603707"/>
                <a:gd name="connsiteX7" fmla="*/ 9102 w 424719"/>
                <a:gd name="connsiteY7" fmla="*/ 579438 h 603707"/>
                <a:gd name="connsiteX8" fmla="*/ 415618 w 424719"/>
                <a:gd name="connsiteY8" fmla="*/ 533933 h 603707"/>
                <a:gd name="connsiteX9" fmla="*/ 327641 w 424719"/>
                <a:gd name="connsiteY9" fmla="*/ 191124 h 603707"/>
                <a:gd name="connsiteX10" fmla="*/ 166854 w 424719"/>
                <a:gd name="connsiteY10" fmla="*/ 12135 h 603707"/>
                <a:gd name="connsiteX11" fmla="*/ 160787 w 424719"/>
                <a:gd name="connsiteY11" fmla="*/ 6067 h 603707"/>
                <a:gd name="connsiteX12" fmla="*/ 166854 w 424719"/>
                <a:gd name="connsiteY12" fmla="*/ 0 h 603707"/>
                <a:gd name="connsiteX13" fmla="*/ 336742 w 424719"/>
                <a:gd name="connsiteY13" fmla="*/ 185056 h 603707"/>
                <a:gd name="connsiteX14" fmla="*/ 424719 w 424719"/>
                <a:gd name="connsiteY14" fmla="*/ 533933 h 603707"/>
                <a:gd name="connsiteX15" fmla="*/ 424719 w 424719"/>
                <a:gd name="connsiteY15" fmla="*/ 536966 h 603707"/>
                <a:gd name="connsiteX16" fmla="*/ 421686 w 424719"/>
                <a:gd name="connsiteY16" fmla="*/ 540000 h 603707"/>
                <a:gd name="connsiteX17" fmla="*/ 130450 w 424719"/>
                <a:gd name="connsiteY17" fmla="*/ 603708 h 60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24719" h="603707">
                  <a:moveTo>
                    <a:pt x="130450" y="603708"/>
                  </a:moveTo>
                  <a:cubicBezTo>
                    <a:pt x="87978" y="603708"/>
                    <a:pt x="42473" y="597640"/>
                    <a:pt x="3034" y="585506"/>
                  </a:cubicBezTo>
                  <a:lnTo>
                    <a:pt x="0" y="585506"/>
                  </a:lnTo>
                  <a:lnTo>
                    <a:pt x="0" y="582472"/>
                  </a:lnTo>
                  <a:cubicBezTo>
                    <a:pt x="0" y="579438"/>
                    <a:pt x="6068" y="400449"/>
                    <a:pt x="33371" y="282135"/>
                  </a:cubicBezTo>
                  <a:cubicBezTo>
                    <a:pt x="33371" y="279101"/>
                    <a:pt x="36405" y="276067"/>
                    <a:pt x="39439" y="279101"/>
                  </a:cubicBezTo>
                  <a:cubicBezTo>
                    <a:pt x="42473" y="279101"/>
                    <a:pt x="45506" y="282135"/>
                    <a:pt x="42473" y="285168"/>
                  </a:cubicBezTo>
                  <a:cubicBezTo>
                    <a:pt x="18202" y="391348"/>
                    <a:pt x="9102" y="552135"/>
                    <a:pt x="9102" y="579438"/>
                  </a:cubicBezTo>
                  <a:cubicBezTo>
                    <a:pt x="172922" y="634045"/>
                    <a:pt x="382247" y="549101"/>
                    <a:pt x="415618" y="533933"/>
                  </a:cubicBezTo>
                  <a:cubicBezTo>
                    <a:pt x="409551" y="506629"/>
                    <a:pt x="376181" y="348876"/>
                    <a:pt x="327641" y="191124"/>
                  </a:cubicBezTo>
                  <a:cubicBezTo>
                    <a:pt x="276068" y="21236"/>
                    <a:pt x="166854" y="12135"/>
                    <a:pt x="166854" y="12135"/>
                  </a:cubicBezTo>
                  <a:cubicBezTo>
                    <a:pt x="163821" y="12135"/>
                    <a:pt x="160787" y="9101"/>
                    <a:pt x="160787" y="6067"/>
                  </a:cubicBezTo>
                  <a:cubicBezTo>
                    <a:pt x="160787" y="3034"/>
                    <a:pt x="163821" y="0"/>
                    <a:pt x="166854" y="0"/>
                  </a:cubicBezTo>
                  <a:cubicBezTo>
                    <a:pt x="172922" y="0"/>
                    <a:pt x="285169" y="9101"/>
                    <a:pt x="336742" y="185056"/>
                  </a:cubicBezTo>
                  <a:cubicBezTo>
                    <a:pt x="388315" y="357978"/>
                    <a:pt x="424719" y="530899"/>
                    <a:pt x="424719" y="533933"/>
                  </a:cubicBezTo>
                  <a:lnTo>
                    <a:pt x="424719" y="536966"/>
                  </a:lnTo>
                  <a:lnTo>
                    <a:pt x="421686" y="540000"/>
                  </a:lnTo>
                  <a:cubicBezTo>
                    <a:pt x="421686" y="540000"/>
                    <a:pt x="279102" y="603708"/>
                    <a:pt x="130450" y="603708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30" name="图形 1">
              <a:extLst>
                <a:ext uri="{FF2B5EF4-FFF2-40B4-BE49-F238E27FC236}">
                  <a16:creationId xmlns:a16="http://schemas.microsoft.com/office/drawing/2014/main" id="{E2F056B3-92AF-4974-B916-E2D619A2E275}"/>
                </a:ext>
              </a:extLst>
            </p:cNvPr>
            <p:cNvGrpSpPr/>
            <p:nvPr/>
          </p:nvGrpSpPr>
          <p:grpSpPr>
            <a:xfrm>
              <a:off x="11348231" y="2288718"/>
              <a:ext cx="461359" cy="451194"/>
              <a:chOff x="11348231" y="2288718"/>
              <a:chExt cx="461359" cy="451194"/>
            </a:xfrm>
          </p:grpSpPr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921FC262-2D68-4287-8636-6C2E6732BAF5}"/>
                  </a:ext>
                </a:extLst>
              </p:cNvPr>
              <p:cNvSpPr/>
              <p:nvPr/>
            </p:nvSpPr>
            <p:spPr>
              <a:xfrm>
                <a:off x="11399671" y="2290946"/>
                <a:ext cx="409919" cy="448966"/>
              </a:xfrm>
              <a:custGeom>
                <a:avLst/>
                <a:gdLst>
                  <a:gd name="connsiteX0" fmla="*/ 409919 w 409919"/>
                  <a:gd name="connsiteY0" fmla="*/ 67547 h 448966"/>
                  <a:gd name="connsiteX1" fmla="*/ 343177 w 409919"/>
                  <a:gd name="connsiteY1" fmla="*/ 331480 h 448966"/>
                  <a:gd name="connsiteX2" fmla="*/ 142952 w 409919"/>
                  <a:gd name="connsiteY2" fmla="*/ 443727 h 448966"/>
                  <a:gd name="connsiteX3" fmla="*/ 368 w 409919"/>
                  <a:gd name="connsiteY3" fmla="*/ 252604 h 448966"/>
                  <a:gd name="connsiteX4" fmla="*/ 70143 w 409919"/>
                  <a:gd name="connsiteY4" fmla="*/ 3840 h 448966"/>
                  <a:gd name="connsiteX5" fmla="*/ 409919 w 409919"/>
                  <a:gd name="connsiteY5" fmla="*/ 67547 h 448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9919" h="448966">
                    <a:moveTo>
                      <a:pt x="409919" y="67547"/>
                    </a:moveTo>
                    <a:cubicBezTo>
                      <a:pt x="409919" y="67547"/>
                      <a:pt x="391717" y="231368"/>
                      <a:pt x="343177" y="331480"/>
                    </a:cubicBezTo>
                    <a:cubicBezTo>
                      <a:pt x="291605" y="434626"/>
                      <a:pt x="185425" y="461929"/>
                      <a:pt x="142952" y="443727"/>
                    </a:cubicBezTo>
                    <a:cubicBezTo>
                      <a:pt x="64077" y="410356"/>
                      <a:pt x="-5699" y="337547"/>
                      <a:pt x="368" y="252604"/>
                    </a:cubicBezTo>
                    <a:cubicBezTo>
                      <a:pt x="6435" y="167660"/>
                      <a:pt x="70143" y="3840"/>
                      <a:pt x="70143" y="3840"/>
                    </a:cubicBezTo>
                    <a:cubicBezTo>
                      <a:pt x="70143" y="3840"/>
                      <a:pt x="282503" y="-23464"/>
                      <a:pt x="409919" y="67547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48" name="图形 1">
                <a:extLst>
                  <a:ext uri="{FF2B5EF4-FFF2-40B4-BE49-F238E27FC236}">
                    <a16:creationId xmlns:a16="http://schemas.microsoft.com/office/drawing/2014/main" id="{1423709D-E0EB-4912-9A0A-AB857D2C29A7}"/>
                  </a:ext>
                </a:extLst>
              </p:cNvPr>
              <p:cNvGrpSpPr/>
              <p:nvPr/>
            </p:nvGrpSpPr>
            <p:grpSpPr>
              <a:xfrm>
                <a:off x="11457680" y="2347772"/>
                <a:ext cx="315505" cy="217786"/>
                <a:chOff x="11457680" y="2347772"/>
                <a:chExt cx="315505" cy="217786"/>
              </a:xfrm>
            </p:grpSpPr>
            <p:sp>
              <p:nvSpPr>
                <p:cNvPr id="152" name="任意多边形: 形状 151">
                  <a:extLst>
                    <a:ext uri="{FF2B5EF4-FFF2-40B4-BE49-F238E27FC236}">
                      <a16:creationId xmlns:a16="http://schemas.microsoft.com/office/drawing/2014/main" id="{13FDD5F8-6BD5-4CE0-870B-07F42C5EA7CE}"/>
                    </a:ext>
                  </a:extLst>
                </p:cNvPr>
                <p:cNvSpPr/>
                <p:nvPr/>
              </p:nvSpPr>
              <p:spPr>
                <a:xfrm>
                  <a:off x="11463748" y="2352774"/>
                  <a:ext cx="303370" cy="206702"/>
                </a:xfrm>
                <a:custGeom>
                  <a:avLst/>
                  <a:gdLst>
                    <a:gd name="connsiteX0" fmla="*/ 303371 w 303370"/>
                    <a:gd name="connsiteY0" fmla="*/ 66394 h 206702"/>
                    <a:gd name="connsiteX1" fmla="*/ 266966 w 303370"/>
                    <a:gd name="connsiteY1" fmla="*/ 205944 h 206702"/>
                    <a:gd name="connsiteX2" fmla="*/ 0 w 303370"/>
                    <a:gd name="connsiteY2" fmla="*/ 139203 h 206702"/>
                    <a:gd name="connsiteX3" fmla="*/ 21235 w 303370"/>
                    <a:gd name="connsiteY3" fmla="*/ 2686 h 206702"/>
                    <a:gd name="connsiteX4" fmla="*/ 303371 w 303370"/>
                    <a:gd name="connsiteY4" fmla="*/ 66394 h 20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3370" h="206702">
                      <a:moveTo>
                        <a:pt x="303371" y="66394"/>
                      </a:moveTo>
                      <a:cubicBezTo>
                        <a:pt x="303371" y="66394"/>
                        <a:pt x="282134" y="196843"/>
                        <a:pt x="266966" y="205944"/>
                      </a:cubicBezTo>
                      <a:cubicBezTo>
                        <a:pt x="251797" y="215046"/>
                        <a:pt x="0" y="139203"/>
                        <a:pt x="0" y="139203"/>
                      </a:cubicBezTo>
                      <a:cubicBezTo>
                        <a:pt x="0" y="139203"/>
                        <a:pt x="18202" y="17855"/>
                        <a:pt x="21235" y="2686"/>
                      </a:cubicBezTo>
                      <a:cubicBezTo>
                        <a:pt x="27303" y="-9449"/>
                        <a:pt x="239663" y="20888"/>
                        <a:pt x="303371" y="66394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3" name="任意多边形: 形状 152">
                  <a:extLst>
                    <a:ext uri="{FF2B5EF4-FFF2-40B4-BE49-F238E27FC236}">
                      <a16:creationId xmlns:a16="http://schemas.microsoft.com/office/drawing/2014/main" id="{5B944AEA-C247-41F1-8EFB-13BA34BAF847}"/>
                    </a:ext>
                  </a:extLst>
                </p:cNvPr>
                <p:cNvSpPr/>
                <p:nvPr/>
              </p:nvSpPr>
              <p:spPr>
                <a:xfrm>
                  <a:off x="11457680" y="2347772"/>
                  <a:ext cx="315505" cy="217786"/>
                </a:xfrm>
                <a:custGeom>
                  <a:avLst/>
                  <a:gdLst>
                    <a:gd name="connsiteX0" fmla="*/ 6068 w 315505"/>
                    <a:gd name="connsiteY0" fmla="*/ 150272 h 217786"/>
                    <a:gd name="connsiteX1" fmla="*/ 0 w 315505"/>
                    <a:gd name="connsiteY1" fmla="*/ 150272 h 217786"/>
                    <a:gd name="connsiteX2" fmla="*/ 0 w 315505"/>
                    <a:gd name="connsiteY2" fmla="*/ 144204 h 217786"/>
                    <a:gd name="connsiteX3" fmla="*/ 21236 w 315505"/>
                    <a:gd name="connsiteY3" fmla="*/ 7687 h 217786"/>
                    <a:gd name="connsiteX4" fmla="*/ 27303 w 315505"/>
                    <a:gd name="connsiteY4" fmla="*/ 1620 h 217786"/>
                    <a:gd name="connsiteX5" fmla="*/ 312472 w 315505"/>
                    <a:gd name="connsiteY5" fmla="*/ 65328 h 217786"/>
                    <a:gd name="connsiteX6" fmla="*/ 315505 w 315505"/>
                    <a:gd name="connsiteY6" fmla="*/ 68361 h 217786"/>
                    <a:gd name="connsiteX7" fmla="*/ 315505 w 315505"/>
                    <a:gd name="connsiteY7" fmla="*/ 71395 h 217786"/>
                    <a:gd name="connsiteX8" fmla="*/ 279102 w 315505"/>
                    <a:gd name="connsiteY8" fmla="*/ 217013 h 217786"/>
                    <a:gd name="connsiteX9" fmla="*/ 191123 w 315505"/>
                    <a:gd name="connsiteY9" fmla="*/ 201845 h 217786"/>
                    <a:gd name="connsiteX10" fmla="*/ 6068 w 315505"/>
                    <a:gd name="connsiteY10" fmla="*/ 150272 h 217786"/>
                    <a:gd name="connsiteX11" fmla="*/ 33371 w 315505"/>
                    <a:gd name="connsiteY11" fmla="*/ 13755 h 217786"/>
                    <a:gd name="connsiteX12" fmla="*/ 15169 w 315505"/>
                    <a:gd name="connsiteY12" fmla="*/ 144204 h 217786"/>
                    <a:gd name="connsiteX13" fmla="*/ 273034 w 315505"/>
                    <a:gd name="connsiteY13" fmla="*/ 210946 h 217786"/>
                    <a:gd name="connsiteX14" fmla="*/ 306405 w 315505"/>
                    <a:gd name="connsiteY14" fmla="*/ 77463 h 217786"/>
                    <a:gd name="connsiteX15" fmla="*/ 33371 w 315505"/>
                    <a:gd name="connsiteY15" fmla="*/ 13755 h 217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315505" h="217786">
                      <a:moveTo>
                        <a:pt x="6068" y="150272"/>
                      </a:moveTo>
                      <a:lnTo>
                        <a:pt x="0" y="150272"/>
                      </a:lnTo>
                      <a:lnTo>
                        <a:pt x="0" y="144204"/>
                      </a:lnTo>
                      <a:cubicBezTo>
                        <a:pt x="0" y="138137"/>
                        <a:pt x="18202" y="19822"/>
                        <a:pt x="21236" y="7687"/>
                      </a:cubicBezTo>
                      <a:cubicBezTo>
                        <a:pt x="21236" y="4654"/>
                        <a:pt x="24269" y="4654"/>
                        <a:pt x="27303" y="1620"/>
                      </a:cubicBezTo>
                      <a:cubicBezTo>
                        <a:pt x="51573" y="-7481"/>
                        <a:pt x="248764" y="22856"/>
                        <a:pt x="312472" y="65328"/>
                      </a:cubicBezTo>
                      <a:lnTo>
                        <a:pt x="315505" y="68361"/>
                      </a:lnTo>
                      <a:lnTo>
                        <a:pt x="315505" y="71395"/>
                      </a:lnTo>
                      <a:cubicBezTo>
                        <a:pt x="309439" y="101732"/>
                        <a:pt x="291236" y="204878"/>
                        <a:pt x="279102" y="217013"/>
                      </a:cubicBezTo>
                      <a:cubicBezTo>
                        <a:pt x="273034" y="220047"/>
                        <a:pt x="236629" y="213979"/>
                        <a:pt x="191123" y="201845"/>
                      </a:cubicBezTo>
                      <a:cubicBezTo>
                        <a:pt x="133483" y="189710"/>
                        <a:pt x="60674" y="168474"/>
                        <a:pt x="6068" y="150272"/>
                      </a:cubicBezTo>
                      <a:close/>
                      <a:moveTo>
                        <a:pt x="33371" y="13755"/>
                      </a:moveTo>
                      <a:cubicBezTo>
                        <a:pt x="30337" y="28923"/>
                        <a:pt x="18202" y="101732"/>
                        <a:pt x="15169" y="144204"/>
                      </a:cubicBezTo>
                      <a:cubicBezTo>
                        <a:pt x="130449" y="177575"/>
                        <a:pt x="257865" y="213979"/>
                        <a:pt x="273034" y="210946"/>
                      </a:cubicBezTo>
                      <a:cubicBezTo>
                        <a:pt x="279102" y="204878"/>
                        <a:pt x="294270" y="138137"/>
                        <a:pt x="306405" y="77463"/>
                      </a:cubicBezTo>
                      <a:cubicBezTo>
                        <a:pt x="239663" y="34991"/>
                        <a:pt x="57640" y="7687"/>
                        <a:pt x="33371" y="1375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C362B6DC-E799-4207-98FF-75BE4FFE32FD}"/>
                  </a:ext>
                </a:extLst>
              </p:cNvPr>
              <p:cNvSpPr/>
              <p:nvPr/>
            </p:nvSpPr>
            <p:spPr>
              <a:xfrm>
                <a:off x="11654871" y="2376696"/>
                <a:ext cx="57640" cy="185056"/>
              </a:xfrm>
              <a:custGeom>
                <a:avLst/>
                <a:gdLst>
                  <a:gd name="connsiteX0" fmla="*/ 36405 w 57640"/>
                  <a:gd name="connsiteY0" fmla="*/ 12135 h 185056"/>
                  <a:gd name="connsiteX1" fmla="*/ 57640 w 57640"/>
                  <a:gd name="connsiteY1" fmla="*/ 185056 h 185056"/>
                  <a:gd name="connsiteX2" fmla="*/ 15169 w 57640"/>
                  <a:gd name="connsiteY2" fmla="*/ 172921 h 185056"/>
                  <a:gd name="connsiteX3" fmla="*/ 0 w 57640"/>
                  <a:gd name="connsiteY3" fmla="*/ 0 h 18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640" h="185056">
                    <a:moveTo>
                      <a:pt x="36405" y="12135"/>
                    </a:moveTo>
                    <a:lnTo>
                      <a:pt x="57640" y="185056"/>
                    </a:lnTo>
                    <a:lnTo>
                      <a:pt x="15169" y="1729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E6B3D540-7AF7-4F69-B147-5772E15722FD}"/>
                  </a:ext>
                </a:extLst>
              </p:cNvPr>
              <p:cNvSpPr/>
              <p:nvPr/>
            </p:nvSpPr>
            <p:spPr>
              <a:xfrm>
                <a:off x="11591163" y="2361527"/>
                <a:ext cx="57640" cy="185056"/>
              </a:xfrm>
              <a:custGeom>
                <a:avLst/>
                <a:gdLst>
                  <a:gd name="connsiteX0" fmla="*/ 39439 w 57640"/>
                  <a:gd name="connsiteY0" fmla="*/ 9101 h 185056"/>
                  <a:gd name="connsiteX1" fmla="*/ 57640 w 57640"/>
                  <a:gd name="connsiteY1" fmla="*/ 185056 h 185056"/>
                  <a:gd name="connsiteX2" fmla="*/ 18202 w 57640"/>
                  <a:gd name="connsiteY2" fmla="*/ 172921 h 185056"/>
                  <a:gd name="connsiteX3" fmla="*/ 0 w 57640"/>
                  <a:gd name="connsiteY3" fmla="*/ 0 h 18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640" h="185056">
                    <a:moveTo>
                      <a:pt x="39439" y="9101"/>
                    </a:moveTo>
                    <a:lnTo>
                      <a:pt x="57640" y="185056"/>
                    </a:lnTo>
                    <a:lnTo>
                      <a:pt x="18202" y="1729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713601E4-B57C-4D3E-9859-F54C0DE08D62}"/>
                  </a:ext>
                </a:extLst>
              </p:cNvPr>
              <p:cNvSpPr/>
              <p:nvPr/>
            </p:nvSpPr>
            <p:spPr>
              <a:xfrm>
                <a:off x="11348231" y="2288718"/>
                <a:ext cx="94280" cy="139646"/>
              </a:xfrm>
              <a:custGeom>
                <a:avLst/>
                <a:gdLst>
                  <a:gd name="connsiteX0" fmla="*/ 94280 w 94280"/>
                  <a:gd name="connsiteY0" fmla="*/ 81910 h 139646"/>
                  <a:gd name="connsiteX1" fmla="*/ 24506 w 94280"/>
                  <a:gd name="connsiteY1" fmla="*/ 0 h 139646"/>
                  <a:gd name="connsiteX2" fmla="*/ 235 w 94280"/>
                  <a:gd name="connsiteY2" fmla="*/ 72809 h 139646"/>
                  <a:gd name="connsiteX3" fmla="*/ 73044 w 94280"/>
                  <a:gd name="connsiteY3" fmla="*/ 139551 h 139646"/>
                  <a:gd name="connsiteX4" fmla="*/ 94280 w 94280"/>
                  <a:gd name="connsiteY4" fmla="*/ 81910 h 139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280" h="139646">
                    <a:moveTo>
                      <a:pt x="94280" y="81910"/>
                    </a:moveTo>
                    <a:cubicBezTo>
                      <a:pt x="94280" y="81910"/>
                      <a:pt x="39674" y="18202"/>
                      <a:pt x="24506" y="0"/>
                    </a:cubicBezTo>
                    <a:cubicBezTo>
                      <a:pt x="24506" y="0"/>
                      <a:pt x="-2799" y="33371"/>
                      <a:pt x="235" y="72809"/>
                    </a:cubicBezTo>
                    <a:cubicBezTo>
                      <a:pt x="235" y="72809"/>
                      <a:pt x="45741" y="142584"/>
                      <a:pt x="73044" y="139551"/>
                    </a:cubicBezTo>
                    <a:lnTo>
                      <a:pt x="94280" y="81910"/>
                    </a:ln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1" name="图形 1">
              <a:extLst>
                <a:ext uri="{FF2B5EF4-FFF2-40B4-BE49-F238E27FC236}">
                  <a16:creationId xmlns:a16="http://schemas.microsoft.com/office/drawing/2014/main" id="{29F79535-A0A6-4AB3-8268-131BB82CD7BB}"/>
                </a:ext>
              </a:extLst>
            </p:cNvPr>
            <p:cNvGrpSpPr/>
            <p:nvPr/>
          </p:nvGrpSpPr>
          <p:grpSpPr>
            <a:xfrm>
              <a:off x="11369702" y="1985566"/>
              <a:ext cx="579771" cy="357214"/>
              <a:chOff x="11369702" y="1985566"/>
              <a:chExt cx="579771" cy="357214"/>
            </a:xfrm>
          </p:grpSpPr>
          <p:grpSp>
            <p:nvGrpSpPr>
              <p:cNvPr id="142" name="图形 1">
                <a:extLst>
                  <a:ext uri="{FF2B5EF4-FFF2-40B4-BE49-F238E27FC236}">
                    <a16:creationId xmlns:a16="http://schemas.microsoft.com/office/drawing/2014/main" id="{F238EE16-CFD3-4FCD-A66F-01D3ACF77B5C}"/>
                  </a:ext>
                </a:extLst>
              </p:cNvPr>
              <p:cNvGrpSpPr/>
              <p:nvPr/>
            </p:nvGrpSpPr>
            <p:grpSpPr>
              <a:xfrm>
                <a:off x="11372736" y="1988259"/>
                <a:ext cx="576737" cy="354522"/>
                <a:chOff x="11372736" y="1988259"/>
                <a:chExt cx="576737" cy="354522"/>
              </a:xfrm>
              <a:solidFill>
                <a:srgbClr val="7F95BC"/>
              </a:solidFill>
            </p:grpSpPr>
            <p:sp>
              <p:nvSpPr>
                <p:cNvPr id="145" name="任意多边形: 形状 144">
                  <a:extLst>
                    <a:ext uri="{FF2B5EF4-FFF2-40B4-BE49-F238E27FC236}">
                      <a16:creationId xmlns:a16="http://schemas.microsoft.com/office/drawing/2014/main" id="{6F17D779-2A8D-4033-B778-5537FD99AE6D}"/>
                    </a:ext>
                  </a:extLst>
                </p:cNvPr>
                <p:cNvSpPr/>
                <p:nvPr/>
              </p:nvSpPr>
              <p:spPr>
                <a:xfrm>
                  <a:off x="11372736" y="1988259"/>
                  <a:ext cx="503594" cy="281161"/>
                </a:xfrm>
                <a:custGeom>
                  <a:avLst/>
                  <a:gdLst>
                    <a:gd name="connsiteX0" fmla="*/ 503595 w 503594"/>
                    <a:gd name="connsiteY0" fmla="*/ 242819 h 281161"/>
                    <a:gd name="connsiteX1" fmla="*/ 257865 w 503594"/>
                    <a:gd name="connsiteY1" fmla="*/ 122 h 281161"/>
                    <a:gd name="connsiteX2" fmla="*/ 0 w 503594"/>
                    <a:gd name="connsiteY2" fmla="*/ 215516 h 281161"/>
                    <a:gd name="connsiteX3" fmla="*/ 397415 w 503594"/>
                    <a:gd name="connsiteY3" fmla="*/ 279224 h 281161"/>
                    <a:gd name="connsiteX4" fmla="*/ 503595 w 503594"/>
                    <a:gd name="connsiteY4" fmla="*/ 242819 h 281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3594" h="281161">
                      <a:moveTo>
                        <a:pt x="503595" y="242819"/>
                      </a:moveTo>
                      <a:cubicBezTo>
                        <a:pt x="503595" y="242819"/>
                        <a:pt x="503595" y="9224"/>
                        <a:pt x="257865" y="122"/>
                      </a:cubicBezTo>
                      <a:cubicBezTo>
                        <a:pt x="42472" y="-5945"/>
                        <a:pt x="0" y="215516"/>
                        <a:pt x="0" y="215516"/>
                      </a:cubicBezTo>
                      <a:cubicBezTo>
                        <a:pt x="0" y="215516"/>
                        <a:pt x="236629" y="294392"/>
                        <a:pt x="397415" y="279224"/>
                      </a:cubicBezTo>
                      <a:cubicBezTo>
                        <a:pt x="442921" y="273156"/>
                        <a:pt x="479325" y="264055"/>
                        <a:pt x="503595" y="24281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6" name="任意多边形: 形状 145">
                  <a:extLst>
                    <a:ext uri="{FF2B5EF4-FFF2-40B4-BE49-F238E27FC236}">
                      <a16:creationId xmlns:a16="http://schemas.microsoft.com/office/drawing/2014/main" id="{7C595F5B-4A9E-4BE6-8959-9E2B3A814141}"/>
                    </a:ext>
                  </a:extLst>
                </p:cNvPr>
                <p:cNvSpPr/>
                <p:nvPr/>
              </p:nvSpPr>
              <p:spPr>
                <a:xfrm>
                  <a:off x="11375769" y="2203774"/>
                  <a:ext cx="573704" cy="139006"/>
                </a:xfrm>
                <a:custGeom>
                  <a:avLst/>
                  <a:gdLst>
                    <a:gd name="connsiteX0" fmla="*/ 0 w 573704"/>
                    <a:gd name="connsiteY0" fmla="*/ 3034 h 139006"/>
                    <a:gd name="connsiteX1" fmla="*/ 12136 w 573704"/>
                    <a:gd name="connsiteY1" fmla="*/ 24270 h 139006"/>
                    <a:gd name="connsiteX2" fmla="*/ 236630 w 573704"/>
                    <a:gd name="connsiteY2" fmla="*/ 109213 h 139006"/>
                    <a:gd name="connsiteX3" fmla="*/ 573372 w 573704"/>
                    <a:gd name="connsiteY3" fmla="*/ 103146 h 139006"/>
                    <a:gd name="connsiteX4" fmla="*/ 500562 w 573704"/>
                    <a:gd name="connsiteY4" fmla="*/ 27303 h 139006"/>
                    <a:gd name="connsiteX5" fmla="*/ 0 w 573704"/>
                    <a:gd name="connsiteY5" fmla="*/ 0 h 139006"/>
                    <a:gd name="connsiteX6" fmla="*/ 0 w 573704"/>
                    <a:gd name="connsiteY6" fmla="*/ 3034 h 139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73704" h="139006">
                      <a:moveTo>
                        <a:pt x="0" y="3034"/>
                      </a:moveTo>
                      <a:cubicBezTo>
                        <a:pt x="0" y="12135"/>
                        <a:pt x="6068" y="18202"/>
                        <a:pt x="12136" y="24270"/>
                      </a:cubicBezTo>
                      <a:cubicBezTo>
                        <a:pt x="66742" y="63708"/>
                        <a:pt x="175956" y="91011"/>
                        <a:pt x="236630" y="109213"/>
                      </a:cubicBezTo>
                      <a:cubicBezTo>
                        <a:pt x="427753" y="160787"/>
                        <a:pt x="567304" y="136517"/>
                        <a:pt x="573372" y="103146"/>
                      </a:cubicBezTo>
                      <a:cubicBezTo>
                        <a:pt x="579438" y="69775"/>
                        <a:pt x="500562" y="27303"/>
                        <a:pt x="500562" y="27303"/>
                      </a:cubicBezTo>
                      <a:cubicBezTo>
                        <a:pt x="500562" y="27303"/>
                        <a:pt x="436855" y="75843"/>
                        <a:pt x="0" y="0"/>
                      </a:cubicBezTo>
                      <a:lnTo>
                        <a:pt x="0" y="3034"/>
                      </a:lnTo>
                      <a:close/>
                    </a:path>
                  </a:pathLst>
                </a:custGeom>
                <a:solidFill>
                  <a:srgbClr val="7F95BC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D1F9B99F-C52D-4214-A54E-6D82943F959C}"/>
                  </a:ext>
                </a:extLst>
              </p:cNvPr>
              <p:cNvSpPr/>
              <p:nvPr/>
            </p:nvSpPr>
            <p:spPr>
              <a:xfrm>
                <a:off x="11369702" y="2197707"/>
                <a:ext cx="514971" cy="51573"/>
              </a:xfrm>
              <a:custGeom>
                <a:avLst/>
                <a:gdLst>
                  <a:gd name="connsiteX0" fmla="*/ 415617 w 514971"/>
                  <a:gd name="connsiteY0" fmla="*/ 51573 h 51573"/>
                  <a:gd name="connsiteX1" fmla="*/ 6067 w 514971"/>
                  <a:gd name="connsiteY1" fmla="*/ 12135 h 51573"/>
                  <a:gd name="connsiteX2" fmla="*/ 0 w 514971"/>
                  <a:gd name="connsiteY2" fmla="*/ 6067 h 51573"/>
                  <a:gd name="connsiteX3" fmla="*/ 6067 w 514971"/>
                  <a:gd name="connsiteY3" fmla="*/ 0 h 51573"/>
                  <a:gd name="connsiteX4" fmla="*/ 503596 w 514971"/>
                  <a:gd name="connsiteY4" fmla="*/ 27303 h 51573"/>
                  <a:gd name="connsiteX5" fmla="*/ 512696 w 514971"/>
                  <a:gd name="connsiteY5" fmla="*/ 27303 h 51573"/>
                  <a:gd name="connsiteX6" fmla="*/ 512696 w 514971"/>
                  <a:gd name="connsiteY6" fmla="*/ 36404 h 51573"/>
                  <a:gd name="connsiteX7" fmla="*/ 415617 w 514971"/>
                  <a:gd name="connsiteY7" fmla="*/ 51573 h 5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4971" h="51573">
                    <a:moveTo>
                      <a:pt x="415617" y="51573"/>
                    </a:moveTo>
                    <a:cubicBezTo>
                      <a:pt x="342809" y="51573"/>
                      <a:pt x="221460" y="42472"/>
                      <a:pt x="6067" y="12135"/>
                    </a:cubicBezTo>
                    <a:cubicBezTo>
                      <a:pt x="3034" y="12135"/>
                      <a:pt x="0" y="9101"/>
                      <a:pt x="0" y="6067"/>
                    </a:cubicBezTo>
                    <a:cubicBezTo>
                      <a:pt x="0" y="3034"/>
                      <a:pt x="3034" y="0"/>
                      <a:pt x="6067" y="0"/>
                    </a:cubicBezTo>
                    <a:cubicBezTo>
                      <a:pt x="455056" y="63708"/>
                      <a:pt x="500562" y="30337"/>
                      <a:pt x="503596" y="27303"/>
                    </a:cubicBezTo>
                    <a:cubicBezTo>
                      <a:pt x="506629" y="24270"/>
                      <a:pt x="509663" y="24270"/>
                      <a:pt x="512696" y="27303"/>
                    </a:cubicBezTo>
                    <a:cubicBezTo>
                      <a:pt x="515730" y="30337"/>
                      <a:pt x="515730" y="33371"/>
                      <a:pt x="512696" y="36404"/>
                    </a:cubicBezTo>
                    <a:cubicBezTo>
                      <a:pt x="509663" y="39438"/>
                      <a:pt x="497528" y="51573"/>
                      <a:pt x="415617" y="5157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543C4C44-04F9-4142-AD31-F3EF249F8EE1}"/>
                  </a:ext>
                </a:extLst>
              </p:cNvPr>
              <p:cNvSpPr/>
              <p:nvPr/>
            </p:nvSpPr>
            <p:spPr>
              <a:xfrm>
                <a:off x="11512286" y="1985566"/>
                <a:ext cx="275409" cy="257645"/>
              </a:xfrm>
              <a:custGeom>
                <a:avLst/>
                <a:gdLst>
                  <a:gd name="connsiteX0" fmla="*/ 266967 w 275409"/>
                  <a:gd name="connsiteY0" fmla="*/ 257646 h 257645"/>
                  <a:gd name="connsiteX1" fmla="*/ 266967 w 275409"/>
                  <a:gd name="connsiteY1" fmla="*/ 257646 h 257645"/>
                  <a:gd name="connsiteX2" fmla="*/ 260899 w 275409"/>
                  <a:gd name="connsiteY2" fmla="*/ 251579 h 257645"/>
                  <a:gd name="connsiteX3" fmla="*/ 206293 w 275409"/>
                  <a:gd name="connsiteY3" fmla="*/ 24050 h 257645"/>
                  <a:gd name="connsiteX4" fmla="*/ 18202 w 275409"/>
                  <a:gd name="connsiteY4" fmla="*/ 27084 h 257645"/>
                  <a:gd name="connsiteX5" fmla="*/ 121348 w 275409"/>
                  <a:gd name="connsiteY5" fmla="*/ 251579 h 257645"/>
                  <a:gd name="connsiteX6" fmla="*/ 115281 w 275409"/>
                  <a:gd name="connsiteY6" fmla="*/ 257646 h 257645"/>
                  <a:gd name="connsiteX7" fmla="*/ 109214 w 275409"/>
                  <a:gd name="connsiteY7" fmla="*/ 251579 h 257645"/>
                  <a:gd name="connsiteX8" fmla="*/ 3034 w 275409"/>
                  <a:gd name="connsiteY8" fmla="*/ 33152 h 257645"/>
                  <a:gd name="connsiteX9" fmla="*/ 0 w 275409"/>
                  <a:gd name="connsiteY9" fmla="*/ 27084 h 257645"/>
                  <a:gd name="connsiteX10" fmla="*/ 3034 w 275409"/>
                  <a:gd name="connsiteY10" fmla="*/ 24050 h 257645"/>
                  <a:gd name="connsiteX11" fmla="*/ 209327 w 275409"/>
                  <a:gd name="connsiteY11" fmla="*/ 17983 h 257645"/>
                  <a:gd name="connsiteX12" fmla="*/ 212360 w 275409"/>
                  <a:gd name="connsiteY12" fmla="*/ 17983 h 257645"/>
                  <a:gd name="connsiteX13" fmla="*/ 270001 w 275409"/>
                  <a:gd name="connsiteY13" fmla="*/ 257646 h 257645"/>
                  <a:gd name="connsiteX14" fmla="*/ 266967 w 275409"/>
                  <a:gd name="connsiteY14" fmla="*/ 257646 h 257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75409" h="257645">
                    <a:moveTo>
                      <a:pt x="266967" y="257646"/>
                    </a:moveTo>
                    <a:cubicBezTo>
                      <a:pt x="266967" y="257646"/>
                      <a:pt x="266967" y="257646"/>
                      <a:pt x="266967" y="257646"/>
                    </a:cubicBezTo>
                    <a:cubicBezTo>
                      <a:pt x="263933" y="257646"/>
                      <a:pt x="260899" y="254612"/>
                      <a:pt x="260899" y="251579"/>
                    </a:cubicBezTo>
                    <a:cubicBezTo>
                      <a:pt x="285169" y="118095"/>
                      <a:pt x="215393" y="33152"/>
                      <a:pt x="206293" y="24050"/>
                    </a:cubicBezTo>
                    <a:cubicBezTo>
                      <a:pt x="194158" y="21017"/>
                      <a:pt x="103147" y="-9320"/>
                      <a:pt x="18202" y="27084"/>
                    </a:cubicBezTo>
                    <a:cubicBezTo>
                      <a:pt x="45506" y="51354"/>
                      <a:pt x="136517" y="139331"/>
                      <a:pt x="121348" y="251579"/>
                    </a:cubicBezTo>
                    <a:cubicBezTo>
                      <a:pt x="121348" y="254612"/>
                      <a:pt x="118315" y="257646"/>
                      <a:pt x="115281" y="257646"/>
                    </a:cubicBezTo>
                    <a:cubicBezTo>
                      <a:pt x="112248" y="257646"/>
                      <a:pt x="109214" y="254612"/>
                      <a:pt x="109214" y="251579"/>
                    </a:cubicBezTo>
                    <a:cubicBezTo>
                      <a:pt x="124382" y="127197"/>
                      <a:pt x="3034" y="33152"/>
                      <a:pt x="3034" y="33152"/>
                    </a:cubicBezTo>
                    <a:cubicBezTo>
                      <a:pt x="0" y="33152"/>
                      <a:pt x="0" y="30118"/>
                      <a:pt x="0" y="27084"/>
                    </a:cubicBezTo>
                    <a:cubicBezTo>
                      <a:pt x="0" y="24050"/>
                      <a:pt x="0" y="24050"/>
                      <a:pt x="3034" y="24050"/>
                    </a:cubicBezTo>
                    <a:cubicBezTo>
                      <a:pt x="97079" y="-24489"/>
                      <a:pt x="203259" y="14949"/>
                      <a:pt x="209327" y="17983"/>
                    </a:cubicBezTo>
                    <a:cubicBezTo>
                      <a:pt x="209327" y="17983"/>
                      <a:pt x="209327" y="17983"/>
                      <a:pt x="212360" y="17983"/>
                    </a:cubicBezTo>
                    <a:cubicBezTo>
                      <a:pt x="212360" y="17983"/>
                      <a:pt x="297304" y="112028"/>
                      <a:pt x="270001" y="257646"/>
                    </a:cubicBezTo>
                    <a:cubicBezTo>
                      <a:pt x="270001" y="257646"/>
                      <a:pt x="270001" y="257646"/>
                      <a:pt x="266967" y="2576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2" name="图形 1">
              <a:extLst>
                <a:ext uri="{FF2B5EF4-FFF2-40B4-BE49-F238E27FC236}">
                  <a16:creationId xmlns:a16="http://schemas.microsoft.com/office/drawing/2014/main" id="{5977F64C-141B-4951-8F97-81A7FCF79D6F}"/>
                </a:ext>
              </a:extLst>
            </p:cNvPr>
            <p:cNvGrpSpPr/>
            <p:nvPr/>
          </p:nvGrpSpPr>
          <p:grpSpPr>
            <a:xfrm>
              <a:off x="12861667" y="3720628"/>
              <a:ext cx="141364" cy="194157"/>
              <a:chOff x="12861667" y="3720628"/>
              <a:chExt cx="141364" cy="194157"/>
            </a:xfrm>
          </p:grpSpPr>
          <p:grpSp>
            <p:nvGrpSpPr>
              <p:cNvPr id="134" name="图形 1">
                <a:extLst>
                  <a:ext uri="{FF2B5EF4-FFF2-40B4-BE49-F238E27FC236}">
                    <a16:creationId xmlns:a16="http://schemas.microsoft.com/office/drawing/2014/main" id="{269E48A3-3300-44F7-A928-C1C5D770E849}"/>
                  </a:ext>
                </a:extLst>
              </p:cNvPr>
              <p:cNvGrpSpPr/>
              <p:nvPr/>
            </p:nvGrpSpPr>
            <p:grpSpPr>
              <a:xfrm>
                <a:off x="12861667" y="3720628"/>
                <a:ext cx="141364" cy="187652"/>
                <a:chOff x="12861667" y="3720628"/>
                <a:chExt cx="141364" cy="187652"/>
              </a:xfrm>
            </p:grpSpPr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D1BE671A-E734-4651-B9C4-4A83AFA4EEF0}"/>
                    </a:ext>
                  </a:extLst>
                </p:cNvPr>
                <p:cNvSpPr/>
                <p:nvPr/>
              </p:nvSpPr>
              <p:spPr>
                <a:xfrm>
                  <a:off x="12885968" y="3720628"/>
                  <a:ext cx="117063" cy="81589"/>
                </a:xfrm>
                <a:custGeom>
                  <a:avLst/>
                  <a:gdLst>
                    <a:gd name="connsiteX0" fmla="*/ 112835 w 117063"/>
                    <a:gd name="connsiteY0" fmla="*/ 33371 h 81589"/>
                    <a:gd name="connsiteX1" fmla="*/ 43060 w 117063"/>
                    <a:gd name="connsiteY1" fmla="*/ 6067 h 81589"/>
                    <a:gd name="connsiteX2" fmla="*/ 30925 w 117063"/>
                    <a:gd name="connsiteY2" fmla="*/ 0 h 81589"/>
                    <a:gd name="connsiteX3" fmla="*/ 18790 w 117063"/>
                    <a:gd name="connsiteY3" fmla="*/ 3034 h 81589"/>
                    <a:gd name="connsiteX4" fmla="*/ 588 w 117063"/>
                    <a:gd name="connsiteY4" fmla="*/ 42472 h 81589"/>
                    <a:gd name="connsiteX5" fmla="*/ 30925 w 117063"/>
                    <a:gd name="connsiteY5" fmla="*/ 66741 h 81589"/>
                    <a:gd name="connsiteX6" fmla="*/ 76431 w 117063"/>
                    <a:gd name="connsiteY6" fmla="*/ 78876 h 81589"/>
                    <a:gd name="connsiteX7" fmla="*/ 109802 w 117063"/>
                    <a:gd name="connsiteY7" fmla="*/ 72809 h 81589"/>
                    <a:gd name="connsiteX8" fmla="*/ 112835 w 117063"/>
                    <a:gd name="connsiteY8" fmla="*/ 33371 h 81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7063" h="81589">
                      <a:moveTo>
                        <a:pt x="112835" y="33371"/>
                      </a:moveTo>
                      <a:cubicBezTo>
                        <a:pt x="94633" y="12135"/>
                        <a:pt x="67329" y="12135"/>
                        <a:pt x="43060" y="6067"/>
                      </a:cubicBezTo>
                      <a:cubicBezTo>
                        <a:pt x="40026" y="6067"/>
                        <a:pt x="33959" y="0"/>
                        <a:pt x="30925" y="0"/>
                      </a:cubicBezTo>
                      <a:cubicBezTo>
                        <a:pt x="27891" y="0"/>
                        <a:pt x="21823" y="0"/>
                        <a:pt x="18790" y="3034"/>
                      </a:cubicBezTo>
                      <a:cubicBezTo>
                        <a:pt x="6655" y="9101"/>
                        <a:pt x="-2446" y="24270"/>
                        <a:pt x="588" y="42472"/>
                      </a:cubicBezTo>
                      <a:cubicBezTo>
                        <a:pt x="3622" y="60674"/>
                        <a:pt x="21823" y="63708"/>
                        <a:pt x="30925" y="66741"/>
                      </a:cubicBezTo>
                      <a:cubicBezTo>
                        <a:pt x="46094" y="72809"/>
                        <a:pt x="61262" y="75843"/>
                        <a:pt x="76431" y="78876"/>
                      </a:cubicBezTo>
                      <a:cubicBezTo>
                        <a:pt x="85532" y="81910"/>
                        <a:pt x="100700" y="84944"/>
                        <a:pt x="109802" y="72809"/>
                      </a:cubicBezTo>
                      <a:cubicBezTo>
                        <a:pt x="118902" y="57640"/>
                        <a:pt x="118902" y="39438"/>
                        <a:pt x="112835" y="33371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7" name="任意多边形: 形状 136">
                  <a:extLst>
                    <a:ext uri="{FF2B5EF4-FFF2-40B4-BE49-F238E27FC236}">
                      <a16:creationId xmlns:a16="http://schemas.microsoft.com/office/drawing/2014/main" id="{7EE55A4F-B631-4B08-9FFA-F3C0A046E553}"/>
                    </a:ext>
                  </a:extLst>
                </p:cNvPr>
                <p:cNvSpPr/>
                <p:nvPr/>
              </p:nvSpPr>
              <p:spPr>
                <a:xfrm>
                  <a:off x="12864732" y="3766134"/>
                  <a:ext cx="118144" cy="81589"/>
                </a:xfrm>
                <a:custGeom>
                  <a:avLst/>
                  <a:gdLst>
                    <a:gd name="connsiteX0" fmla="*/ 112836 w 118144"/>
                    <a:gd name="connsiteY0" fmla="*/ 30337 h 81589"/>
                    <a:gd name="connsiteX1" fmla="*/ 36993 w 118144"/>
                    <a:gd name="connsiteY1" fmla="*/ 0 h 81589"/>
                    <a:gd name="connsiteX2" fmla="*/ 30925 w 118144"/>
                    <a:gd name="connsiteY2" fmla="*/ 0 h 81589"/>
                    <a:gd name="connsiteX3" fmla="*/ 18790 w 118144"/>
                    <a:gd name="connsiteY3" fmla="*/ 3034 h 81589"/>
                    <a:gd name="connsiteX4" fmla="*/ 588 w 118144"/>
                    <a:gd name="connsiteY4" fmla="*/ 42472 h 81589"/>
                    <a:gd name="connsiteX5" fmla="*/ 30925 w 118144"/>
                    <a:gd name="connsiteY5" fmla="*/ 66741 h 81589"/>
                    <a:gd name="connsiteX6" fmla="*/ 76431 w 118144"/>
                    <a:gd name="connsiteY6" fmla="*/ 78876 h 81589"/>
                    <a:gd name="connsiteX7" fmla="*/ 109802 w 118144"/>
                    <a:gd name="connsiteY7" fmla="*/ 72809 h 81589"/>
                    <a:gd name="connsiteX8" fmla="*/ 112836 w 118144"/>
                    <a:gd name="connsiteY8" fmla="*/ 30337 h 81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8144" h="81589">
                      <a:moveTo>
                        <a:pt x="112836" y="30337"/>
                      </a:moveTo>
                      <a:cubicBezTo>
                        <a:pt x="94633" y="0"/>
                        <a:pt x="64296" y="6067"/>
                        <a:pt x="36993" y="0"/>
                      </a:cubicBezTo>
                      <a:cubicBezTo>
                        <a:pt x="33959" y="0"/>
                        <a:pt x="33959" y="0"/>
                        <a:pt x="30925" y="0"/>
                      </a:cubicBezTo>
                      <a:cubicBezTo>
                        <a:pt x="27891" y="0"/>
                        <a:pt x="21824" y="0"/>
                        <a:pt x="18790" y="3034"/>
                      </a:cubicBezTo>
                      <a:cubicBezTo>
                        <a:pt x="6656" y="9101"/>
                        <a:pt x="-2446" y="24270"/>
                        <a:pt x="588" y="42472"/>
                      </a:cubicBezTo>
                      <a:cubicBezTo>
                        <a:pt x="3622" y="60674"/>
                        <a:pt x="21824" y="63708"/>
                        <a:pt x="30925" y="66741"/>
                      </a:cubicBezTo>
                      <a:cubicBezTo>
                        <a:pt x="46094" y="72809"/>
                        <a:pt x="61262" y="75843"/>
                        <a:pt x="76431" y="78876"/>
                      </a:cubicBezTo>
                      <a:cubicBezTo>
                        <a:pt x="85532" y="81910"/>
                        <a:pt x="100701" y="84944"/>
                        <a:pt x="109802" y="72809"/>
                      </a:cubicBezTo>
                      <a:cubicBezTo>
                        <a:pt x="121936" y="54607"/>
                        <a:pt x="118902" y="39438"/>
                        <a:pt x="112836" y="30337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23CDECAD-40F7-4611-8182-CCAF085A7885}"/>
                    </a:ext>
                  </a:extLst>
                </p:cNvPr>
                <p:cNvSpPr/>
                <p:nvPr/>
              </p:nvSpPr>
              <p:spPr>
                <a:xfrm>
                  <a:off x="12867759" y="3808606"/>
                  <a:ext cx="102224" cy="69775"/>
                </a:xfrm>
                <a:custGeom>
                  <a:avLst/>
                  <a:gdLst>
                    <a:gd name="connsiteX0" fmla="*/ 97674 w 102224"/>
                    <a:gd name="connsiteY0" fmla="*/ 30337 h 69775"/>
                    <a:gd name="connsiteX1" fmla="*/ 30932 w 102224"/>
                    <a:gd name="connsiteY1" fmla="*/ 0 h 69775"/>
                    <a:gd name="connsiteX2" fmla="*/ 24864 w 102224"/>
                    <a:gd name="connsiteY2" fmla="*/ 0 h 69775"/>
                    <a:gd name="connsiteX3" fmla="*/ 15764 w 102224"/>
                    <a:gd name="connsiteY3" fmla="*/ 0 h 69775"/>
                    <a:gd name="connsiteX4" fmla="*/ 595 w 102224"/>
                    <a:gd name="connsiteY4" fmla="*/ 33371 h 69775"/>
                    <a:gd name="connsiteX5" fmla="*/ 27898 w 102224"/>
                    <a:gd name="connsiteY5" fmla="*/ 54607 h 69775"/>
                    <a:gd name="connsiteX6" fmla="*/ 67337 w 102224"/>
                    <a:gd name="connsiteY6" fmla="*/ 66741 h 69775"/>
                    <a:gd name="connsiteX7" fmla="*/ 97674 w 102224"/>
                    <a:gd name="connsiteY7" fmla="*/ 63708 h 69775"/>
                    <a:gd name="connsiteX8" fmla="*/ 97674 w 102224"/>
                    <a:gd name="connsiteY8" fmla="*/ 30337 h 69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2224" h="69775">
                      <a:moveTo>
                        <a:pt x="97674" y="30337"/>
                      </a:moveTo>
                      <a:cubicBezTo>
                        <a:pt x="82506" y="3034"/>
                        <a:pt x="55201" y="6067"/>
                        <a:pt x="30932" y="0"/>
                      </a:cubicBezTo>
                      <a:cubicBezTo>
                        <a:pt x="27898" y="0"/>
                        <a:pt x="27898" y="0"/>
                        <a:pt x="24864" y="0"/>
                      </a:cubicBezTo>
                      <a:cubicBezTo>
                        <a:pt x="21831" y="0"/>
                        <a:pt x="18798" y="0"/>
                        <a:pt x="15764" y="0"/>
                      </a:cubicBezTo>
                      <a:cubicBezTo>
                        <a:pt x="6663" y="3034"/>
                        <a:pt x="-2439" y="18202"/>
                        <a:pt x="595" y="33371"/>
                      </a:cubicBezTo>
                      <a:cubicBezTo>
                        <a:pt x="3629" y="48539"/>
                        <a:pt x="18798" y="51573"/>
                        <a:pt x="27898" y="54607"/>
                      </a:cubicBezTo>
                      <a:cubicBezTo>
                        <a:pt x="40033" y="60674"/>
                        <a:pt x="55201" y="63708"/>
                        <a:pt x="67337" y="66741"/>
                      </a:cubicBezTo>
                      <a:cubicBezTo>
                        <a:pt x="76438" y="69775"/>
                        <a:pt x="88572" y="72809"/>
                        <a:pt x="97674" y="63708"/>
                      </a:cubicBezTo>
                      <a:cubicBezTo>
                        <a:pt x="103741" y="51573"/>
                        <a:pt x="103741" y="39438"/>
                        <a:pt x="97674" y="30337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351F7BDC-4D0A-4157-9383-D0569B738703}"/>
                    </a:ext>
                  </a:extLst>
                </p:cNvPr>
                <p:cNvSpPr/>
                <p:nvPr/>
              </p:nvSpPr>
              <p:spPr>
                <a:xfrm>
                  <a:off x="12867957" y="3857145"/>
                  <a:ext cx="89564" cy="51135"/>
                </a:xfrm>
                <a:custGeom>
                  <a:avLst/>
                  <a:gdLst>
                    <a:gd name="connsiteX0" fmla="*/ 88374 w 89564"/>
                    <a:gd name="connsiteY0" fmla="*/ 21236 h 51135"/>
                    <a:gd name="connsiteX1" fmla="*/ 30734 w 89564"/>
                    <a:gd name="connsiteY1" fmla="*/ 0 h 51135"/>
                    <a:gd name="connsiteX2" fmla="*/ 27700 w 89564"/>
                    <a:gd name="connsiteY2" fmla="*/ 0 h 51135"/>
                    <a:gd name="connsiteX3" fmla="*/ 18599 w 89564"/>
                    <a:gd name="connsiteY3" fmla="*/ 0 h 51135"/>
                    <a:gd name="connsiteX4" fmla="*/ 397 w 89564"/>
                    <a:gd name="connsiteY4" fmla="*/ 27303 h 51135"/>
                    <a:gd name="connsiteX5" fmla="*/ 21633 w 89564"/>
                    <a:gd name="connsiteY5" fmla="*/ 45506 h 51135"/>
                    <a:gd name="connsiteX6" fmla="*/ 82307 w 89564"/>
                    <a:gd name="connsiteY6" fmla="*/ 48539 h 51135"/>
                    <a:gd name="connsiteX7" fmla="*/ 88374 w 89564"/>
                    <a:gd name="connsiteY7" fmla="*/ 21236 h 51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9564" h="51135">
                      <a:moveTo>
                        <a:pt x="88374" y="21236"/>
                      </a:moveTo>
                      <a:cubicBezTo>
                        <a:pt x="76239" y="0"/>
                        <a:pt x="48936" y="3034"/>
                        <a:pt x="30734" y="0"/>
                      </a:cubicBezTo>
                      <a:cubicBezTo>
                        <a:pt x="30734" y="0"/>
                        <a:pt x="27700" y="0"/>
                        <a:pt x="27700" y="0"/>
                      </a:cubicBezTo>
                      <a:cubicBezTo>
                        <a:pt x="24666" y="0"/>
                        <a:pt x="21633" y="0"/>
                        <a:pt x="18599" y="0"/>
                      </a:cubicBezTo>
                      <a:cubicBezTo>
                        <a:pt x="12531" y="3034"/>
                        <a:pt x="-2637" y="18202"/>
                        <a:pt x="397" y="27303"/>
                      </a:cubicBezTo>
                      <a:cubicBezTo>
                        <a:pt x="3431" y="39438"/>
                        <a:pt x="15565" y="42472"/>
                        <a:pt x="21633" y="45506"/>
                      </a:cubicBezTo>
                      <a:cubicBezTo>
                        <a:pt x="30734" y="48539"/>
                        <a:pt x="76239" y="54607"/>
                        <a:pt x="82307" y="48539"/>
                      </a:cubicBezTo>
                      <a:cubicBezTo>
                        <a:pt x="88374" y="39438"/>
                        <a:pt x="91408" y="27303"/>
                        <a:pt x="88374" y="21236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0" name="任意多边形: 形状 139">
                  <a:extLst>
                    <a:ext uri="{FF2B5EF4-FFF2-40B4-BE49-F238E27FC236}">
                      <a16:creationId xmlns:a16="http://schemas.microsoft.com/office/drawing/2014/main" id="{E92C68EE-991B-45AA-A0DC-D32C6F746352}"/>
                    </a:ext>
                  </a:extLst>
                </p:cNvPr>
                <p:cNvSpPr/>
                <p:nvPr/>
              </p:nvSpPr>
              <p:spPr>
                <a:xfrm>
                  <a:off x="12861997" y="3721287"/>
                  <a:ext cx="129980" cy="120689"/>
                </a:xfrm>
                <a:custGeom>
                  <a:avLst/>
                  <a:gdLst>
                    <a:gd name="connsiteX0" fmla="*/ 91300 w 129980"/>
                    <a:gd name="connsiteY0" fmla="*/ 120690 h 120689"/>
                    <a:gd name="connsiteX1" fmla="*/ 45795 w 129980"/>
                    <a:gd name="connsiteY1" fmla="*/ 111588 h 120689"/>
                    <a:gd name="connsiteX2" fmla="*/ 289 w 129980"/>
                    <a:gd name="connsiteY2" fmla="*/ 72150 h 120689"/>
                    <a:gd name="connsiteX3" fmla="*/ 21525 w 129980"/>
                    <a:gd name="connsiteY3" fmla="*/ 35746 h 120689"/>
                    <a:gd name="connsiteX4" fmla="*/ 21525 w 129980"/>
                    <a:gd name="connsiteY4" fmla="*/ 23611 h 120689"/>
                    <a:gd name="connsiteX5" fmla="*/ 33660 w 129980"/>
                    <a:gd name="connsiteY5" fmla="*/ 5409 h 120689"/>
                    <a:gd name="connsiteX6" fmla="*/ 115570 w 129980"/>
                    <a:gd name="connsiteY6" fmla="*/ 14510 h 120689"/>
                    <a:gd name="connsiteX7" fmla="*/ 118604 w 129980"/>
                    <a:gd name="connsiteY7" fmla="*/ 23611 h 120689"/>
                    <a:gd name="connsiteX8" fmla="*/ 109503 w 129980"/>
                    <a:gd name="connsiteY8" fmla="*/ 26645 h 120689"/>
                    <a:gd name="connsiteX9" fmla="*/ 39728 w 129980"/>
                    <a:gd name="connsiteY9" fmla="*/ 17543 h 120689"/>
                    <a:gd name="connsiteX10" fmla="*/ 33660 w 129980"/>
                    <a:gd name="connsiteY10" fmla="*/ 26645 h 120689"/>
                    <a:gd name="connsiteX11" fmla="*/ 118604 w 129980"/>
                    <a:gd name="connsiteY11" fmla="*/ 72150 h 120689"/>
                    <a:gd name="connsiteX12" fmla="*/ 127705 w 129980"/>
                    <a:gd name="connsiteY12" fmla="*/ 78218 h 120689"/>
                    <a:gd name="connsiteX13" fmla="*/ 127705 w 129980"/>
                    <a:gd name="connsiteY13" fmla="*/ 102487 h 120689"/>
                    <a:gd name="connsiteX14" fmla="*/ 112536 w 129980"/>
                    <a:gd name="connsiteY14" fmla="*/ 120690 h 120689"/>
                    <a:gd name="connsiteX15" fmla="*/ 91300 w 129980"/>
                    <a:gd name="connsiteY15" fmla="*/ 120690 h 120689"/>
                    <a:gd name="connsiteX16" fmla="*/ 24559 w 129980"/>
                    <a:gd name="connsiteY16" fmla="*/ 47881 h 120689"/>
                    <a:gd name="connsiteX17" fmla="*/ 9391 w 129980"/>
                    <a:gd name="connsiteY17" fmla="*/ 72150 h 120689"/>
                    <a:gd name="connsiteX18" fmla="*/ 48828 w 129980"/>
                    <a:gd name="connsiteY18" fmla="*/ 99454 h 120689"/>
                    <a:gd name="connsiteX19" fmla="*/ 109503 w 129980"/>
                    <a:gd name="connsiteY19" fmla="*/ 102487 h 120689"/>
                    <a:gd name="connsiteX20" fmla="*/ 118604 w 129980"/>
                    <a:gd name="connsiteY20" fmla="*/ 93386 h 120689"/>
                    <a:gd name="connsiteX21" fmla="*/ 118604 w 129980"/>
                    <a:gd name="connsiteY21" fmla="*/ 78218 h 120689"/>
                    <a:gd name="connsiteX22" fmla="*/ 24559 w 129980"/>
                    <a:gd name="connsiteY22" fmla="*/ 47881 h 120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29980" h="120689">
                      <a:moveTo>
                        <a:pt x="91300" y="120690"/>
                      </a:moveTo>
                      <a:cubicBezTo>
                        <a:pt x="79165" y="120690"/>
                        <a:pt x="63997" y="117656"/>
                        <a:pt x="45795" y="111588"/>
                      </a:cubicBezTo>
                      <a:cubicBezTo>
                        <a:pt x="18491" y="102487"/>
                        <a:pt x="-2744" y="93386"/>
                        <a:pt x="289" y="72150"/>
                      </a:cubicBezTo>
                      <a:cubicBezTo>
                        <a:pt x="289" y="53948"/>
                        <a:pt x="18491" y="38780"/>
                        <a:pt x="21525" y="35746"/>
                      </a:cubicBezTo>
                      <a:cubicBezTo>
                        <a:pt x="21525" y="32712"/>
                        <a:pt x="21525" y="26645"/>
                        <a:pt x="21525" y="23611"/>
                      </a:cubicBezTo>
                      <a:cubicBezTo>
                        <a:pt x="21525" y="14510"/>
                        <a:pt x="24559" y="8442"/>
                        <a:pt x="33660" y="5409"/>
                      </a:cubicBezTo>
                      <a:cubicBezTo>
                        <a:pt x="57930" y="-9760"/>
                        <a:pt x="109503" y="11476"/>
                        <a:pt x="115570" y="14510"/>
                      </a:cubicBezTo>
                      <a:cubicBezTo>
                        <a:pt x="118604" y="14510"/>
                        <a:pt x="118604" y="20577"/>
                        <a:pt x="118604" y="23611"/>
                      </a:cubicBezTo>
                      <a:cubicBezTo>
                        <a:pt x="118604" y="26645"/>
                        <a:pt x="112536" y="29678"/>
                        <a:pt x="109503" y="26645"/>
                      </a:cubicBezTo>
                      <a:cubicBezTo>
                        <a:pt x="94334" y="20577"/>
                        <a:pt x="54896" y="8442"/>
                        <a:pt x="39728" y="17543"/>
                      </a:cubicBezTo>
                      <a:cubicBezTo>
                        <a:pt x="36694" y="20577"/>
                        <a:pt x="33660" y="23611"/>
                        <a:pt x="33660" y="26645"/>
                      </a:cubicBezTo>
                      <a:cubicBezTo>
                        <a:pt x="33660" y="38780"/>
                        <a:pt x="30626" y="63049"/>
                        <a:pt x="118604" y="72150"/>
                      </a:cubicBezTo>
                      <a:cubicBezTo>
                        <a:pt x="118604" y="72150"/>
                        <a:pt x="124671" y="72150"/>
                        <a:pt x="127705" y="78218"/>
                      </a:cubicBezTo>
                      <a:cubicBezTo>
                        <a:pt x="130739" y="84285"/>
                        <a:pt x="130739" y="90352"/>
                        <a:pt x="127705" y="102487"/>
                      </a:cubicBezTo>
                      <a:cubicBezTo>
                        <a:pt x="124671" y="111588"/>
                        <a:pt x="121637" y="117656"/>
                        <a:pt x="112536" y="120690"/>
                      </a:cubicBezTo>
                      <a:cubicBezTo>
                        <a:pt x="106469" y="117656"/>
                        <a:pt x="100402" y="120690"/>
                        <a:pt x="91300" y="120690"/>
                      </a:cubicBezTo>
                      <a:close/>
                      <a:moveTo>
                        <a:pt x="24559" y="47881"/>
                      </a:moveTo>
                      <a:cubicBezTo>
                        <a:pt x="18491" y="50914"/>
                        <a:pt x="9391" y="63049"/>
                        <a:pt x="9391" y="72150"/>
                      </a:cubicBezTo>
                      <a:cubicBezTo>
                        <a:pt x="9391" y="84285"/>
                        <a:pt x="15457" y="90352"/>
                        <a:pt x="48828" y="99454"/>
                      </a:cubicBezTo>
                      <a:cubicBezTo>
                        <a:pt x="85233" y="111588"/>
                        <a:pt x="103436" y="108555"/>
                        <a:pt x="109503" y="102487"/>
                      </a:cubicBezTo>
                      <a:cubicBezTo>
                        <a:pt x="112536" y="99454"/>
                        <a:pt x="115570" y="96420"/>
                        <a:pt x="118604" y="93386"/>
                      </a:cubicBezTo>
                      <a:cubicBezTo>
                        <a:pt x="121637" y="84285"/>
                        <a:pt x="118604" y="78218"/>
                        <a:pt x="118604" y="78218"/>
                      </a:cubicBezTo>
                      <a:cubicBezTo>
                        <a:pt x="57930" y="72150"/>
                        <a:pt x="33660" y="60015"/>
                        <a:pt x="24559" y="47881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1" name="任意多边形: 形状 140">
                  <a:extLst>
                    <a:ext uri="{FF2B5EF4-FFF2-40B4-BE49-F238E27FC236}">
                      <a16:creationId xmlns:a16="http://schemas.microsoft.com/office/drawing/2014/main" id="{FE8DE7B2-D955-40D5-957F-A025E09B1C7D}"/>
                    </a:ext>
                  </a:extLst>
                </p:cNvPr>
                <p:cNvSpPr/>
                <p:nvPr/>
              </p:nvSpPr>
              <p:spPr>
                <a:xfrm>
                  <a:off x="12861667" y="3805572"/>
                  <a:ext cx="114859" cy="75842"/>
                </a:xfrm>
                <a:custGeom>
                  <a:avLst/>
                  <a:gdLst>
                    <a:gd name="connsiteX0" fmla="*/ 88597 w 114859"/>
                    <a:gd name="connsiteY0" fmla="*/ 75843 h 75842"/>
                    <a:gd name="connsiteX1" fmla="*/ 18821 w 114859"/>
                    <a:gd name="connsiteY1" fmla="*/ 57640 h 75842"/>
                    <a:gd name="connsiteX2" fmla="*/ 619 w 114859"/>
                    <a:gd name="connsiteY2" fmla="*/ 36404 h 75842"/>
                    <a:gd name="connsiteX3" fmla="*/ 6687 w 114859"/>
                    <a:gd name="connsiteY3" fmla="*/ 3034 h 75842"/>
                    <a:gd name="connsiteX4" fmla="*/ 15787 w 114859"/>
                    <a:gd name="connsiteY4" fmla="*/ 0 h 75842"/>
                    <a:gd name="connsiteX5" fmla="*/ 18821 w 114859"/>
                    <a:gd name="connsiteY5" fmla="*/ 9101 h 75842"/>
                    <a:gd name="connsiteX6" fmla="*/ 12754 w 114859"/>
                    <a:gd name="connsiteY6" fmla="*/ 33371 h 75842"/>
                    <a:gd name="connsiteX7" fmla="*/ 24889 w 114859"/>
                    <a:gd name="connsiteY7" fmla="*/ 48539 h 75842"/>
                    <a:gd name="connsiteX8" fmla="*/ 97698 w 114859"/>
                    <a:gd name="connsiteY8" fmla="*/ 63708 h 75842"/>
                    <a:gd name="connsiteX9" fmla="*/ 100732 w 114859"/>
                    <a:gd name="connsiteY9" fmla="*/ 60674 h 75842"/>
                    <a:gd name="connsiteX10" fmla="*/ 100732 w 114859"/>
                    <a:gd name="connsiteY10" fmla="*/ 36404 h 75842"/>
                    <a:gd name="connsiteX11" fmla="*/ 100732 w 114859"/>
                    <a:gd name="connsiteY11" fmla="*/ 27303 h 75842"/>
                    <a:gd name="connsiteX12" fmla="*/ 109833 w 114859"/>
                    <a:gd name="connsiteY12" fmla="*/ 27303 h 75842"/>
                    <a:gd name="connsiteX13" fmla="*/ 112866 w 114859"/>
                    <a:gd name="connsiteY13" fmla="*/ 63708 h 75842"/>
                    <a:gd name="connsiteX14" fmla="*/ 100732 w 114859"/>
                    <a:gd name="connsiteY14" fmla="*/ 75843 h 75842"/>
                    <a:gd name="connsiteX15" fmla="*/ 88597 w 114859"/>
                    <a:gd name="connsiteY15" fmla="*/ 75843 h 75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4859" h="75842">
                      <a:moveTo>
                        <a:pt x="88597" y="75843"/>
                      </a:moveTo>
                      <a:cubicBezTo>
                        <a:pt x="70395" y="75843"/>
                        <a:pt x="40058" y="69775"/>
                        <a:pt x="18821" y="57640"/>
                      </a:cubicBezTo>
                      <a:cubicBezTo>
                        <a:pt x="9721" y="51573"/>
                        <a:pt x="3653" y="45506"/>
                        <a:pt x="619" y="36404"/>
                      </a:cubicBezTo>
                      <a:cubicBezTo>
                        <a:pt x="-2414" y="21236"/>
                        <a:pt x="6687" y="3034"/>
                        <a:pt x="6687" y="3034"/>
                      </a:cubicBezTo>
                      <a:cubicBezTo>
                        <a:pt x="9721" y="0"/>
                        <a:pt x="12754" y="0"/>
                        <a:pt x="15787" y="0"/>
                      </a:cubicBezTo>
                      <a:cubicBezTo>
                        <a:pt x="18821" y="3034"/>
                        <a:pt x="18821" y="6067"/>
                        <a:pt x="18821" y="9101"/>
                      </a:cubicBezTo>
                      <a:cubicBezTo>
                        <a:pt x="18821" y="9101"/>
                        <a:pt x="9721" y="21236"/>
                        <a:pt x="12754" y="33371"/>
                      </a:cubicBezTo>
                      <a:cubicBezTo>
                        <a:pt x="15787" y="39438"/>
                        <a:pt x="18821" y="42472"/>
                        <a:pt x="24889" y="48539"/>
                      </a:cubicBezTo>
                      <a:cubicBezTo>
                        <a:pt x="52192" y="63708"/>
                        <a:pt x="88597" y="66741"/>
                        <a:pt x="97698" y="63708"/>
                      </a:cubicBezTo>
                      <a:cubicBezTo>
                        <a:pt x="97698" y="63708"/>
                        <a:pt x="100732" y="60674"/>
                        <a:pt x="100732" y="60674"/>
                      </a:cubicBezTo>
                      <a:cubicBezTo>
                        <a:pt x="103766" y="51573"/>
                        <a:pt x="100732" y="39438"/>
                        <a:pt x="100732" y="36404"/>
                      </a:cubicBezTo>
                      <a:cubicBezTo>
                        <a:pt x="97698" y="33371"/>
                        <a:pt x="100732" y="30337"/>
                        <a:pt x="100732" y="27303"/>
                      </a:cubicBezTo>
                      <a:cubicBezTo>
                        <a:pt x="103766" y="24270"/>
                        <a:pt x="106799" y="27303"/>
                        <a:pt x="109833" y="27303"/>
                      </a:cubicBezTo>
                      <a:cubicBezTo>
                        <a:pt x="115900" y="33371"/>
                        <a:pt x="115900" y="51573"/>
                        <a:pt x="112866" y="63708"/>
                      </a:cubicBezTo>
                      <a:cubicBezTo>
                        <a:pt x="109833" y="72809"/>
                        <a:pt x="103766" y="72809"/>
                        <a:pt x="100732" y="75843"/>
                      </a:cubicBezTo>
                      <a:cubicBezTo>
                        <a:pt x="97698" y="75843"/>
                        <a:pt x="91630" y="75843"/>
                        <a:pt x="88597" y="7584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FFBD25B4-6C77-4C64-8250-D326883BF18D}"/>
                  </a:ext>
                </a:extLst>
              </p:cNvPr>
              <p:cNvSpPr/>
              <p:nvPr/>
            </p:nvSpPr>
            <p:spPr>
              <a:xfrm>
                <a:off x="12863838" y="3851836"/>
                <a:ext cx="104875" cy="62949"/>
              </a:xfrm>
              <a:custGeom>
                <a:avLst/>
                <a:gdLst>
                  <a:gd name="connsiteX0" fmla="*/ 65190 w 104875"/>
                  <a:gd name="connsiteY0" fmla="*/ 62949 h 62949"/>
                  <a:gd name="connsiteX1" fmla="*/ 59122 w 104875"/>
                  <a:gd name="connsiteY1" fmla="*/ 62949 h 62949"/>
                  <a:gd name="connsiteX2" fmla="*/ 4516 w 104875"/>
                  <a:gd name="connsiteY2" fmla="*/ 44747 h 62949"/>
                  <a:gd name="connsiteX3" fmla="*/ 16651 w 104875"/>
                  <a:gd name="connsiteY3" fmla="*/ 2275 h 62949"/>
                  <a:gd name="connsiteX4" fmla="*/ 25752 w 104875"/>
                  <a:gd name="connsiteY4" fmla="*/ 2275 h 62949"/>
                  <a:gd name="connsiteX5" fmla="*/ 25752 w 104875"/>
                  <a:gd name="connsiteY5" fmla="*/ 11376 h 62949"/>
                  <a:gd name="connsiteX6" fmla="*/ 16651 w 104875"/>
                  <a:gd name="connsiteY6" fmla="*/ 38680 h 62949"/>
                  <a:gd name="connsiteX7" fmla="*/ 65190 w 104875"/>
                  <a:gd name="connsiteY7" fmla="*/ 53848 h 62949"/>
                  <a:gd name="connsiteX8" fmla="*/ 86426 w 104875"/>
                  <a:gd name="connsiteY8" fmla="*/ 50815 h 62949"/>
                  <a:gd name="connsiteX9" fmla="*/ 92493 w 104875"/>
                  <a:gd name="connsiteY9" fmla="*/ 26545 h 62949"/>
                  <a:gd name="connsiteX10" fmla="*/ 98561 w 104875"/>
                  <a:gd name="connsiteY10" fmla="*/ 20477 h 62949"/>
                  <a:gd name="connsiteX11" fmla="*/ 104628 w 104875"/>
                  <a:gd name="connsiteY11" fmla="*/ 26545 h 62949"/>
                  <a:gd name="connsiteX12" fmla="*/ 92493 w 104875"/>
                  <a:gd name="connsiteY12" fmla="*/ 59916 h 62949"/>
                  <a:gd name="connsiteX13" fmla="*/ 65190 w 104875"/>
                  <a:gd name="connsiteY13" fmla="*/ 62949 h 62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4875" h="62949">
                    <a:moveTo>
                      <a:pt x="65190" y="62949"/>
                    </a:moveTo>
                    <a:cubicBezTo>
                      <a:pt x="62156" y="62949"/>
                      <a:pt x="59122" y="62949"/>
                      <a:pt x="59122" y="62949"/>
                    </a:cubicBezTo>
                    <a:cubicBezTo>
                      <a:pt x="40921" y="62949"/>
                      <a:pt x="10584" y="53848"/>
                      <a:pt x="4516" y="44747"/>
                    </a:cubicBezTo>
                    <a:cubicBezTo>
                      <a:pt x="-7619" y="29579"/>
                      <a:pt x="7550" y="8343"/>
                      <a:pt x="16651" y="2275"/>
                    </a:cubicBezTo>
                    <a:cubicBezTo>
                      <a:pt x="19685" y="-758"/>
                      <a:pt x="22718" y="-758"/>
                      <a:pt x="25752" y="2275"/>
                    </a:cubicBezTo>
                    <a:cubicBezTo>
                      <a:pt x="28785" y="5309"/>
                      <a:pt x="28785" y="8343"/>
                      <a:pt x="25752" y="11376"/>
                    </a:cubicBezTo>
                    <a:cubicBezTo>
                      <a:pt x="25752" y="11376"/>
                      <a:pt x="7550" y="26545"/>
                      <a:pt x="16651" y="38680"/>
                    </a:cubicBezTo>
                    <a:cubicBezTo>
                      <a:pt x="19685" y="41713"/>
                      <a:pt x="40921" y="50815"/>
                      <a:pt x="65190" y="53848"/>
                    </a:cubicBezTo>
                    <a:cubicBezTo>
                      <a:pt x="77325" y="53848"/>
                      <a:pt x="86426" y="53848"/>
                      <a:pt x="86426" y="50815"/>
                    </a:cubicBezTo>
                    <a:cubicBezTo>
                      <a:pt x="95527" y="41713"/>
                      <a:pt x="92493" y="26545"/>
                      <a:pt x="92493" y="26545"/>
                    </a:cubicBezTo>
                    <a:cubicBezTo>
                      <a:pt x="92493" y="23511"/>
                      <a:pt x="92493" y="20477"/>
                      <a:pt x="98561" y="20477"/>
                    </a:cubicBezTo>
                    <a:cubicBezTo>
                      <a:pt x="101595" y="20477"/>
                      <a:pt x="104628" y="20477"/>
                      <a:pt x="104628" y="26545"/>
                    </a:cubicBezTo>
                    <a:cubicBezTo>
                      <a:pt x="104628" y="26545"/>
                      <a:pt x="107662" y="47781"/>
                      <a:pt x="92493" y="59916"/>
                    </a:cubicBezTo>
                    <a:cubicBezTo>
                      <a:pt x="86426" y="62949"/>
                      <a:pt x="77325" y="62949"/>
                      <a:pt x="65190" y="6294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9FB30665-F5A3-4E8B-B873-822138FE304F}"/>
                </a:ext>
              </a:extLst>
            </p:cNvPr>
            <p:cNvSpPr/>
            <p:nvPr/>
          </p:nvSpPr>
          <p:spPr>
            <a:xfrm>
              <a:off x="12738225" y="3671938"/>
              <a:ext cx="166533" cy="144820"/>
            </a:xfrm>
            <a:custGeom>
              <a:avLst/>
              <a:gdLst>
                <a:gd name="connsiteX0" fmla="*/ 151365 w 166533"/>
                <a:gd name="connsiteY0" fmla="*/ 3184 h 144820"/>
                <a:gd name="connsiteX1" fmla="*/ 51252 w 166533"/>
                <a:gd name="connsiteY1" fmla="*/ 15319 h 144820"/>
                <a:gd name="connsiteX2" fmla="*/ 2713 w 166533"/>
                <a:gd name="connsiteY2" fmla="*/ 115431 h 144820"/>
                <a:gd name="connsiteX3" fmla="*/ 8781 w 166533"/>
                <a:gd name="connsiteY3" fmla="*/ 142735 h 144820"/>
                <a:gd name="connsiteX4" fmla="*/ 45186 w 166533"/>
                <a:gd name="connsiteY4" fmla="*/ 139701 h 144820"/>
                <a:gd name="connsiteX5" fmla="*/ 102826 w 166533"/>
                <a:gd name="connsiteY5" fmla="*/ 82061 h 144820"/>
                <a:gd name="connsiteX6" fmla="*/ 108893 w 166533"/>
                <a:gd name="connsiteY6" fmla="*/ 57791 h 144820"/>
                <a:gd name="connsiteX7" fmla="*/ 145298 w 166533"/>
                <a:gd name="connsiteY7" fmla="*/ 45656 h 144820"/>
                <a:gd name="connsiteX8" fmla="*/ 166534 w 166533"/>
                <a:gd name="connsiteY8" fmla="*/ 21387 h 144820"/>
                <a:gd name="connsiteX9" fmla="*/ 151365 w 166533"/>
                <a:gd name="connsiteY9" fmla="*/ 3184 h 1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6533" h="144820">
                  <a:moveTo>
                    <a:pt x="151365" y="3184"/>
                  </a:moveTo>
                  <a:cubicBezTo>
                    <a:pt x="121028" y="151"/>
                    <a:pt x="78556" y="-5917"/>
                    <a:pt x="51252" y="15319"/>
                  </a:cubicBezTo>
                  <a:cubicBezTo>
                    <a:pt x="23949" y="39589"/>
                    <a:pt x="8781" y="88128"/>
                    <a:pt x="2713" y="115431"/>
                  </a:cubicBezTo>
                  <a:cubicBezTo>
                    <a:pt x="-320" y="127566"/>
                    <a:pt x="-3354" y="139701"/>
                    <a:pt x="8781" y="142735"/>
                  </a:cubicBezTo>
                  <a:cubicBezTo>
                    <a:pt x="11815" y="148802"/>
                    <a:pt x="33050" y="139701"/>
                    <a:pt x="45186" y="139701"/>
                  </a:cubicBezTo>
                  <a:cubicBezTo>
                    <a:pt x="75523" y="139701"/>
                    <a:pt x="93724" y="109364"/>
                    <a:pt x="102826" y="82061"/>
                  </a:cubicBezTo>
                  <a:cubicBezTo>
                    <a:pt x="105860" y="75993"/>
                    <a:pt x="105860" y="60825"/>
                    <a:pt x="108893" y="57791"/>
                  </a:cubicBezTo>
                  <a:cubicBezTo>
                    <a:pt x="114960" y="51724"/>
                    <a:pt x="136197" y="48690"/>
                    <a:pt x="145298" y="45656"/>
                  </a:cubicBezTo>
                  <a:cubicBezTo>
                    <a:pt x="157432" y="39589"/>
                    <a:pt x="166534" y="33521"/>
                    <a:pt x="166534" y="21387"/>
                  </a:cubicBezTo>
                  <a:cubicBezTo>
                    <a:pt x="166534" y="12286"/>
                    <a:pt x="160466" y="3184"/>
                    <a:pt x="151365" y="3184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04733664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D6A9F4E3-319F-44D8-A730-0E0770A38392}"/>
              </a:ext>
            </a:extLst>
          </p:cNvPr>
          <p:cNvGrpSpPr/>
          <p:nvPr/>
        </p:nvGrpSpPr>
        <p:grpSpPr>
          <a:xfrm>
            <a:off x="2369198" y="1858268"/>
            <a:ext cx="7453604" cy="4927105"/>
            <a:chOff x="18631466" y="1736219"/>
            <a:chExt cx="7453604" cy="4927105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6643C084-1E0C-427A-9CE2-51E4F4482CDF}"/>
                </a:ext>
              </a:extLst>
            </p:cNvPr>
            <p:cNvGrpSpPr/>
            <p:nvPr/>
          </p:nvGrpSpPr>
          <p:grpSpPr>
            <a:xfrm>
              <a:off x="19702191" y="5874561"/>
              <a:ext cx="495600" cy="341003"/>
              <a:chOff x="19702191" y="5874561"/>
              <a:chExt cx="495600" cy="341003"/>
            </a:xfrm>
          </p:grpSpPr>
          <p:sp>
            <p:nvSpPr>
              <p:cNvPr id="178" name="任意多边形: 形状 177">
                <a:extLst>
                  <a:ext uri="{FF2B5EF4-FFF2-40B4-BE49-F238E27FC236}">
                    <a16:creationId xmlns:a16="http://schemas.microsoft.com/office/drawing/2014/main" id="{2E12E257-E146-40AC-8340-35AAD3CD5B3B}"/>
                  </a:ext>
                </a:extLst>
              </p:cNvPr>
              <p:cNvSpPr/>
              <p:nvPr/>
            </p:nvSpPr>
            <p:spPr>
              <a:xfrm>
                <a:off x="19997568" y="5874561"/>
                <a:ext cx="182022" cy="224494"/>
              </a:xfrm>
              <a:custGeom>
                <a:avLst/>
                <a:gdLst>
                  <a:gd name="connsiteX0" fmla="*/ 178990 w 182022"/>
                  <a:gd name="connsiteY0" fmla="*/ 185056 h 224494"/>
                  <a:gd name="connsiteX1" fmla="*/ 182022 w 182022"/>
                  <a:gd name="connsiteY1" fmla="*/ 3034 h 224494"/>
                  <a:gd name="connsiteX2" fmla="*/ 0 w 182022"/>
                  <a:gd name="connsiteY2" fmla="*/ 0 h 224494"/>
                  <a:gd name="connsiteX3" fmla="*/ 15169 w 182022"/>
                  <a:gd name="connsiteY3" fmla="*/ 194157 h 224494"/>
                  <a:gd name="connsiteX4" fmla="*/ 166854 w 182022"/>
                  <a:gd name="connsiteY4" fmla="*/ 224494 h 2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022" h="224494">
                    <a:moveTo>
                      <a:pt x="178990" y="185056"/>
                    </a:moveTo>
                    <a:lnTo>
                      <a:pt x="182022" y="3034"/>
                    </a:lnTo>
                    <a:lnTo>
                      <a:pt x="0" y="0"/>
                    </a:lnTo>
                    <a:lnTo>
                      <a:pt x="15169" y="194157"/>
                    </a:lnTo>
                    <a:lnTo>
                      <a:pt x="166854" y="224494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9" name="任意多边形: 形状 178">
                <a:extLst>
                  <a:ext uri="{FF2B5EF4-FFF2-40B4-BE49-F238E27FC236}">
                    <a16:creationId xmlns:a16="http://schemas.microsoft.com/office/drawing/2014/main" id="{374718F3-E82E-4AE5-A02E-C1B2EB11CA54}"/>
                  </a:ext>
                </a:extLst>
              </p:cNvPr>
              <p:cNvSpPr/>
              <p:nvPr/>
            </p:nvSpPr>
            <p:spPr>
              <a:xfrm>
                <a:off x="19703298" y="6014111"/>
                <a:ext cx="493483" cy="157752"/>
              </a:xfrm>
              <a:custGeom>
                <a:avLst/>
                <a:gdLst>
                  <a:gd name="connsiteX0" fmla="*/ 485393 w 493483"/>
                  <a:gd name="connsiteY0" fmla="*/ 45506 h 157752"/>
                  <a:gd name="connsiteX1" fmla="*/ 300338 w 493483"/>
                  <a:gd name="connsiteY1" fmla="*/ 0 h 157752"/>
                  <a:gd name="connsiteX2" fmla="*/ 166854 w 493483"/>
                  <a:gd name="connsiteY2" fmla="*/ 78876 h 157752"/>
                  <a:gd name="connsiteX3" fmla="*/ 0 w 493483"/>
                  <a:gd name="connsiteY3" fmla="*/ 157753 h 157752"/>
                  <a:gd name="connsiteX4" fmla="*/ 485393 w 493483"/>
                  <a:gd name="connsiteY4" fmla="*/ 157753 h 157752"/>
                  <a:gd name="connsiteX5" fmla="*/ 485393 w 493483"/>
                  <a:gd name="connsiteY5" fmla="*/ 45506 h 157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3483" h="157752">
                    <a:moveTo>
                      <a:pt x="485393" y="45506"/>
                    </a:moveTo>
                    <a:cubicBezTo>
                      <a:pt x="485393" y="45506"/>
                      <a:pt x="361012" y="63708"/>
                      <a:pt x="300338" y="0"/>
                    </a:cubicBezTo>
                    <a:cubicBezTo>
                      <a:pt x="300338" y="0"/>
                      <a:pt x="212360" y="69775"/>
                      <a:pt x="166854" y="78876"/>
                    </a:cubicBezTo>
                    <a:cubicBezTo>
                      <a:pt x="121348" y="87977"/>
                      <a:pt x="12136" y="84943"/>
                      <a:pt x="0" y="157753"/>
                    </a:cubicBezTo>
                    <a:lnTo>
                      <a:pt x="485393" y="157753"/>
                    </a:lnTo>
                    <a:cubicBezTo>
                      <a:pt x="485393" y="157753"/>
                      <a:pt x="503597" y="97079"/>
                      <a:pt x="485393" y="45506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0" name="任意多边形: 形状 179">
                <a:extLst>
                  <a:ext uri="{FF2B5EF4-FFF2-40B4-BE49-F238E27FC236}">
                    <a16:creationId xmlns:a16="http://schemas.microsoft.com/office/drawing/2014/main" id="{64FFABA4-FA3E-4885-A005-E29A658D41A5}"/>
                  </a:ext>
                </a:extLst>
              </p:cNvPr>
              <p:cNvSpPr/>
              <p:nvPr/>
            </p:nvSpPr>
            <p:spPr>
              <a:xfrm rot="-5393491">
                <a:off x="19922178" y="5949655"/>
                <a:ext cx="45505" cy="485394"/>
              </a:xfrm>
              <a:custGeom>
                <a:avLst/>
                <a:gdLst>
                  <a:gd name="connsiteX0" fmla="*/ -1 w 45505"/>
                  <a:gd name="connsiteY0" fmla="*/ 0 h 485394"/>
                  <a:gd name="connsiteX1" fmla="*/ 45505 w 45505"/>
                  <a:gd name="connsiteY1" fmla="*/ 0 h 485394"/>
                  <a:gd name="connsiteX2" fmla="*/ 45505 w 45505"/>
                  <a:gd name="connsiteY2" fmla="*/ 485394 h 485394"/>
                  <a:gd name="connsiteX3" fmla="*/ -1 w 45505"/>
                  <a:gd name="connsiteY3" fmla="*/ 485394 h 485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05" h="485394">
                    <a:moveTo>
                      <a:pt x="-1" y="0"/>
                    </a:moveTo>
                    <a:lnTo>
                      <a:pt x="45505" y="0"/>
                    </a:lnTo>
                    <a:lnTo>
                      <a:pt x="45505" y="485394"/>
                    </a:lnTo>
                    <a:lnTo>
                      <a:pt x="-1" y="485394"/>
                    </a:ln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1" name="任意多边形: 形状 180">
                <a:extLst>
                  <a:ext uri="{FF2B5EF4-FFF2-40B4-BE49-F238E27FC236}">
                    <a16:creationId xmlns:a16="http://schemas.microsoft.com/office/drawing/2014/main" id="{AB69204C-EF40-4292-BC48-2F6C1A661D4C}"/>
                  </a:ext>
                </a:extLst>
              </p:cNvPr>
              <p:cNvSpPr/>
              <p:nvPr/>
            </p:nvSpPr>
            <p:spPr>
              <a:xfrm>
                <a:off x="19998326" y="6005769"/>
                <a:ext cx="199465" cy="62949"/>
              </a:xfrm>
              <a:custGeom>
                <a:avLst/>
                <a:gdLst>
                  <a:gd name="connsiteX0" fmla="*/ 156995 w 199465"/>
                  <a:gd name="connsiteY0" fmla="*/ 62949 h 62949"/>
                  <a:gd name="connsiteX1" fmla="*/ 2275 w 199465"/>
                  <a:gd name="connsiteY1" fmla="*/ 11376 h 62949"/>
                  <a:gd name="connsiteX2" fmla="*/ 2275 w 199465"/>
                  <a:gd name="connsiteY2" fmla="*/ 2275 h 62949"/>
                  <a:gd name="connsiteX3" fmla="*/ 11377 w 199465"/>
                  <a:gd name="connsiteY3" fmla="*/ 2275 h 62949"/>
                  <a:gd name="connsiteX4" fmla="*/ 193400 w 199465"/>
                  <a:gd name="connsiteY4" fmla="*/ 47781 h 62949"/>
                  <a:gd name="connsiteX5" fmla="*/ 199466 w 199465"/>
                  <a:gd name="connsiteY5" fmla="*/ 53848 h 62949"/>
                  <a:gd name="connsiteX6" fmla="*/ 193400 w 199465"/>
                  <a:gd name="connsiteY6" fmla="*/ 59916 h 62949"/>
                  <a:gd name="connsiteX7" fmla="*/ 156995 w 199465"/>
                  <a:gd name="connsiteY7" fmla="*/ 62949 h 62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9465" h="62949">
                    <a:moveTo>
                      <a:pt x="156995" y="62949"/>
                    </a:moveTo>
                    <a:cubicBezTo>
                      <a:pt x="117557" y="62949"/>
                      <a:pt x="50815" y="56882"/>
                      <a:pt x="2275" y="11376"/>
                    </a:cubicBezTo>
                    <a:cubicBezTo>
                      <a:pt x="-758" y="8343"/>
                      <a:pt x="-758" y="5309"/>
                      <a:pt x="2275" y="2275"/>
                    </a:cubicBezTo>
                    <a:cubicBezTo>
                      <a:pt x="5310" y="-758"/>
                      <a:pt x="8343" y="-758"/>
                      <a:pt x="11377" y="2275"/>
                    </a:cubicBezTo>
                    <a:cubicBezTo>
                      <a:pt x="78117" y="62949"/>
                      <a:pt x="190365" y="47781"/>
                      <a:pt x="193400" y="47781"/>
                    </a:cubicBezTo>
                    <a:cubicBezTo>
                      <a:pt x="196433" y="47781"/>
                      <a:pt x="199466" y="50815"/>
                      <a:pt x="199466" y="53848"/>
                    </a:cubicBezTo>
                    <a:cubicBezTo>
                      <a:pt x="199466" y="56882"/>
                      <a:pt x="196433" y="59916"/>
                      <a:pt x="193400" y="59916"/>
                    </a:cubicBezTo>
                    <a:cubicBezTo>
                      <a:pt x="190365" y="59916"/>
                      <a:pt x="175196" y="62949"/>
                      <a:pt x="156995" y="6294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2" name="任意多边形: 形状 181">
                <a:extLst>
                  <a:ext uri="{FF2B5EF4-FFF2-40B4-BE49-F238E27FC236}">
                    <a16:creationId xmlns:a16="http://schemas.microsoft.com/office/drawing/2014/main" id="{9C5DACB9-0E86-4F88-A3B4-F068B06B05F8}"/>
                  </a:ext>
                </a:extLst>
              </p:cNvPr>
              <p:cNvSpPr/>
              <p:nvPr/>
            </p:nvSpPr>
            <p:spPr>
              <a:xfrm>
                <a:off x="19964956" y="6030038"/>
                <a:ext cx="37920" cy="41713"/>
              </a:xfrm>
              <a:custGeom>
                <a:avLst/>
                <a:gdLst>
                  <a:gd name="connsiteX0" fmla="*/ 29579 w 37920"/>
                  <a:gd name="connsiteY0" fmla="*/ 41713 h 41713"/>
                  <a:gd name="connsiteX1" fmla="*/ 26544 w 37920"/>
                  <a:gd name="connsiteY1" fmla="*/ 38679 h 41713"/>
                  <a:gd name="connsiteX2" fmla="*/ 2275 w 37920"/>
                  <a:gd name="connsiteY2" fmla="*/ 11376 h 41713"/>
                  <a:gd name="connsiteX3" fmla="*/ 2275 w 37920"/>
                  <a:gd name="connsiteY3" fmla="*/ 2275 h 41713"/>
                  <a:gd name="connsiteX4" fmla="*/ 11375 w 37920"/>
                  <a:gd name="connsiteY4" fmla="*/ 2275 h 41713"/>
                  <a:gd name="connsiteX5" fmla="*/ 35645 w 37920"/>
                  <a:gd name="connsiteY5" fmla="*/ 29579 h 41713"/>
                  <a:gd name="connsiteX6" fmla="*/ 35645 w 37920"/>
                  <a:gd name="connsiteY6" fmla="*/ 38679 h 41713"/>
                  <a:gd name="connsiteX7" fmla="*/ 29579 w 37920"/>
                  <a:gd name="connsiteY7" fmla="*/ 41713 h 41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920" h="41713">
                    <a:moveTo>
                      <a:pt x="29579" y="41713"/>
                    </a:moveTo>
                    <a:cubicBezTo>
                      <a:pt x="29579" y="41713"/>
                      <a:pt x="26544" y="41713"/>
                      <a:pt x="26544" y="38679"/>
                    </a:cubicBezTo>
                    <a:lnTo>
                      <a:pt x="2275" y="11376"/>
                    </a:lnTo>
                    <a:cubicBezTo>
                      <a:pt x="-758" y="8342"/>
                      <a:pt x="-758" y="5309"/>
                      <a:pt x="2275" y="2275"/>
                    </a:cubicBezTo>
                    <a:cubicBezTo>
                      <a:pt x="5308" y="-758"/>
                      <a:pt x="8343" y="-758"/>
                      <a:pt x="11375" y="2275"/>
                    </a:cubicBezTo>
                    <a:lnTo>
                      <a:pt x="35645" y="29579"/>
                    </a:lnTo>
                    <a:cubicBezTo>
                      <a:pt x="38680" y="32612"/>
                      <a:pt x="38680" y="35646"/>
                      <a:pt x="35645" y="38679"/>
                    </a:cubicBezTo>
                    <a:cubicBezTo>
                      <a:pt x="32612" y="41713"/>
                      <a:pt x="29579" y="41713"/>
                      <a:pt x="29579" y="4171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3" name="任意多边形: 形状 182">
                <a:extLst>
                  <a:ext uri="{FF2B5EF4-FFF2-40B4-BE49-F238E27FC236}">
                    <a16:creationId xmlns:a16="http://schemas.microsoft.com/office/drawing/2014/main" id="{2E3BC71D-B183-47A9-97F2-2FF2F943C101}"/>
                  </a:ext>
                </a:extLst>
              </p:cNvPr>
              <p:cNvSpPr/>
              <p:nvPr/>
            </p:nvSpPr>
            <p:spPr>
              <a:xfrm>
                <a:off x="19925517" y="6057342"/>
                <a:ext cx="37922" cy="41713"/>
              </a:xfrm>
              <a:custGeom>
                <a:avLst/>
                <a:gdLst>
                  <a:gd name="connsiteX0" fmla="*/ 29578 w 37922"/>
                  <a:gd name="connsiteY0" fmla="*/ 41713 h 41713"/>
                  <a:gd name="connsiteX1" fmla="*/ 26545 w 37922"/>
                  <a:gd name="connsiteY1" fmla="*/ 38680 h 41713"/>
                  <a:gd name="connsiteX2" fmla="*/ 2276 w 37922"/>
                  <a:gd name="connsiteY2" fmla="*/ 11376 h 41713"/>
                  <a:gd name="connsiteX3" fmla="*/ 2276 w 37922"/>
                  <a:gd name="connsiteY3" fmla="*/ 2275 h 41713"/>
                  <a:gd name="connsiteX4" fmla="*/ 11377 w 37922"/>
                  <a:gd name="connsiteY4" fmla="*/ 2275 h 41713"/>
                  <a:gd name="connsiteX5" fmla="*/ 35646 w 37922"/>
                  <a:gd name="connsiteY5" fmla="*/ 29579 h 41713"/>
                  <a:gd name="connsiteX6" fmla="*/ 35646 w 37922"/>
                  <a:gd name="connsiteY6" fmla="*/ 38680 h 41713"/>
                  <a:gd name="connsiteX7" fmla="*/ 29578 w 37922"/>
                  <a:gd name="connsiteY7" fmla="*/ 41713 h 41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922" h="41713">
                    <a:moveTo>
                      <a:pt x="29578" y="41713"/>
                    </a:moveTo>
                    <a:cubicBezTo>
                      <a:pt x="29578" y="41713"/>
                      <a:pt x="26545" y="41713"/>
                      <a:pt x="26545" y="38680"/>
                    </a:cubicBezTo>
                    <a:lnTo>
                      <a:pt x="2276" y="11376"/>
                    </a:lnTo>
                    <a:cubicBezTo>
                      <a:pt x="-759" y="8343"/>
                      <a:pt x="-759" y="5309"/>
                      <a:pt x="2276" y="2275"/>
                    </a:cubicBezTo>
                    <a:cubicBezTo>
                      <a:pt x="5309" y="-758"/>
                      <a:pt x="8344" y="-758"/>
                      <a:pt x="11377" y="2275"/>
                    </a:cubicBezTo>
                    <a:lnTo>
                      <a:pt x="35646" y="29579"/>
                    </a:lnTo>
                    <a:cubicBezTo>
                      <a:pt x="38681" y="32612"/>
                      <a:pt x="38681" y="35646"/>
                      <a:pt x="35646" y="38680"/>
                    </a:cubicBezTo>
                    <a:cubicBezTo>
                      <a:pt x="32613" y="41713"/>
                      <a:pt x="32613" y="41713"/>
                      <a:pt x="29578" y="4171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60A50D81-70F9-4C6E-A7E3-D61432221135}"/>
                </a:ext>
              </a:extLst>
            </p:cNvPr>
            <p:cNvGrpSpPr/>
            <p:nvPr/>
          </p:nvGrpSpPr>
          <p:grpSpPr>
            <a:xfrm>
              <a:off x="24320601" y="6180965"/>
              <a:ext cx="553452" cy="382571"/>
              <a:chOff x="24320601" y="6180965"/>
              <a:chExt cx="553452" cy="382571"/>
            </a:xfrm>
          </p:grpSpPr>
          <p:sp>
            <p:nvSpPr>
              <p:cNvPr id="172" name="任意多边形: 形状 171">
                <a:extLst>
                  <a:ext uri="{FF2B5EF4-FFF2-40B4-BE49-F238E27FC236}">
                    <a16:creationId xmlns:a16="http://schemas.microsoft.com/office/drawing/2014/main" id="{39278021-02D4-45A0-8B9A-612DA2E482C3}"/>
                  </a:ext>
                </a:extLst>
              </p:cNvPr>
              <p:cNvSpPr/>
              <p:nvPr/>
            </p:nvSpPr>
            <p:spPr>
              <a:xfrm>
                <a:off x="24320601" y="6180965"/>
                <a:ext cx="215392" cy="260898"/>
              </a:xfrm>
              <a:custGeom>
                <a:avLst/>
                <a:gdLst>
                  <a:gd name="connsiteX0" fmla="*/ 54606 w 215392"/>
                  <a:gd name="connsiteY0" fmla="*/ 224494 h 260898"/>
                  <a:gd name="connsiteX1" fmla="*/ 0 w 215392"/>
                  <a:gd name="connsiteY1" fmla="*/ 51573 h 260898"/>
                  <a:gd name="connsiteX2" fmla="*/ 175955 w 215392"/>
                  <a:gd name="connsiteY2" fmla="*/ 0 h 260898"/>
                  <a:gd name="connsiteX3" fmla="*/ 215393 w 215392"/>
                  <a:gd name="connsiteY3" fmla="*/ 191123 h 260898"/>
                  <a:gd name="connsiteX4" fmla="*/ 78876 w 215392"/>
                  <a:gd name="connsiteY4" fmla="*/ 260899 h 260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5392" h="260898">
                    <a:moveTo>
                      <a:pt x="54606" y="224494"/>
                    </a:moveTo>
                    <a:lnTo>
                      <a:pt x="0" y="51573"/>
                    </a:lnTo>
                    <a:lnTo>
                      <a:pt x="175955" y="0"/>
                    </a:lnTo>
                    <a:lnTo>
                      <a:pt x="215393" y="191123"/>
                    </a:lnTo>
                    <a:lnTo>
                      <a:pt x="78876" y="260899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3" name="任意多边形: 形状 172">
                <a:extLst>
                  <a:ext uri="{FF2B5EF4-FFF2-40B4-BE49-F238E27FC236}">
                    <a16:creationId xmlns:a16="http://schemas.microsoft.com/office/drawing/2014/main" id="{4FF036B2-E33D-4EEA-820C-DC690F638C57}"/>
                  </a:ext>
                </a:extLst>
              </p:cNvPr>
              <p:cNvSpPr/>
              <p:nvPr/>
            </p:nvSpPr>
            <p:spPr>
              <a:xfrm>
                <a:off x="24362879" y="6314448"/>
                <a:ext cx="494689" cy="200345"/>
              </a:xfrm>
              <a:custGeom>
                <a:avLst/>
                <a:gdLst>
                  <a:gd name="connsiteX0" fmla="*/ 195 w 494689"/>
                  <a:gd name="connsiteY0" fmla="*/ 97079 h 200345"/>
                  <a:gd name="connsiteX1" fmla="*/ 164014 w 494689"/>
                  <a:gd name="connsiteY1" fmla="*/ 0 h 200345"/>
                  <a:gd name="connsiteX2" fmla="*/ 312667 w 494689"/>
                  <a:gd name="connsiteY2" fmla="*/ 39438 h 200345"/>
                  <a:gd name="connsiteX3" fmla="*/ 494689 w 494689"/>
                  <a:gd name="connsiteY3" fmla="*/ 66741 h 200345"/>
                  <a:gd name="connsiteX4" fmla="*/ 27498 w 494689"/>
                  <a:gd name="connsiteY4" fmla="*/ 200225 h 200345"/>
                  <a:gd name="connsiteX5" fmla="*/ 195 w 494689"/>
                  <a:gd name="connsiteY5" fmla="*/ 97079 h 200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4689" h="200345">
                    <a:moveTo>
                      <a:pt x="195" y="97079"/>
                    </a:moveTo>
                    <a:cubicBezTo>
                      <a:pt x="195" y="97079"/>
                      <a:pt x="124577" y="81910"/>
                      <a:pt x="164014" y="0"/>
                    </a:cubicBezTo>
                    <a:cubicBezTo>
                      <a:pt x="164014" y="0"/>
                      <a:pt x="267161" y="42472"/>
                      <a:pt x="312667" y="39438"/>
                    </a:cubicBezTo>
                    <a:cubicBezTo>
                      <a:pt x="358173" y="36404"/>
                      <a:pt x="464352" y="3034"/>
                      <a:pt x="494689" y="66741"/>
                    </a:cubicBezTo>
                    <a:lnTo>
                      <a:pt x="27498" y="200225"/>
                    </a:lnTo>
                    <a:cubicBezTo>
                      <a:pt x="30532" y="203258"/>
                      <a:pt x="-2839" y="148652"/>
                      <a:pt x="195" y="97079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4" name="任意多边形: 形状 173">
                <a:extLst>
                  <a:ext uri="{FF2B5EF4-FFF2-40B4-BE49-F238E27FC236}">
                    <a16:creationId xmlns:a16="http://schemas.microsoft.com/office/drawing/2014/main" id="{9A18A033-8A1E-450D-B64A-C530D404A513}"/>
                  </a:ext>
                </a:extLst>
              </p:cNvPr>
              <p:cNvSpPr/>
              <p:nvPr/>
            </p:nvSpPr>
            <p:spPr>
              <a:xfrm rot="-966262">
                <a:off x="24391852" y="6451598"/>
                <a:ext cx="485414" cy="45507"/>
              </a:xfrm>
              <a:custGeom>
                <a:avLst/>
                <a:gdLst>
                  <a:gd name="connsiteX0" fmla="*/ 0 w 485414"/>
                  <a:gd name="connsiteY0" fmla="*/ 0 h 45507"/>
                  <a:gd name="connsiteX1" fmla="*/ 485414 w 485414"/>
                  <a:gd name="connsiteY1" fmla="*/ 0 h 45507"/>
                  <a:gd name="connsiteX2" fmla="*/ 485414 w 485414"/>
                  <a:gd name="connsiteY2" fmla="*/ 45508 h 45507"/>
                  <a:gd name="connsiteX3" fmla="*/ 0 w 485414"/>
                  <a:gd name="connsiteY3" fmla="*/ 45508 h 45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414" h="45507">
                    <a:moveTo>
                      <a:pt x="0" y="0"/>
                    </a:moveTo>
                    <a:lnTo>
                      <a:pt x="485414" y="0"/>
                    </a:lnTo>
                    <a:lnTo>
                      <a:pt x="485414" y="45508"/>
                    </a:lnTo>
                    <a:lnTo>
                      <a:pt x="0" y="45508"/>
                    </a:lnTo>
                    <a:close/>
                  </a:path>
                </a:pathLst>
              </a:custGeom>
              <a:solidFill>
                <a:srgbClr val="38333D"/>
              </a:solidFill>
              <a:ln w="303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5" name="任意多边形: 形状 174">
                <a:extLst>
                  <a:ext uri="{FF2B5EF4-FFF2-40B4-BE49-F238E27FC236}">
                    <a16:creationId xmlns:a16="http://schemas.microsoft.com/office/drawing/2014/main" id="{F013FA7E-ABE9-4E18-9981-5929A3F88204}"/>
                  </a:ext>
                </a:extLst>
              </p:cNvPr>
              <p:cNvSpPr/>
              <p:nvPr/>
            </p:nvSpPr>
            <p:spPr>
              <a:xfrm>
                <a:off x="24357006" y="6308381"/>
                <a:ext cx="178987" cy="109213"/>
              </a:xfrm>
              <a:custGeom>
                <a:avLst/>
                <a:gdLst>
                  <a:gd name="connsiteX0" fmla="*/ 6068 w 178987"/>
                  <a:gd name="connsiteY0" fmla="*/ 109213 h 109213"/>
                  <a:gd name="connsiteX1" fmla="*/ 0 w 178987"/>
                  <a:gd name="connsiteY1" fmla="*/ 103146 h 109213"/>
                  <a:gd name="connsiteX2" fmla="*/ 6068 w 178987"/>
                  <a:gd name="connsiteY2" fmla="*/ 97079 h 109213"/>
                  <a:gd name="connsiteX3" fmla="*/ 166854 w 178987"/>
                  <a:gd name="connsiteY3" fmla="*/ 3033 h 109213"/>
                  <a:gd name="connsiteX4" fmla="*/ 175955 w 178987"/>
                  <a:gd name="connsiteY4" fmla="*/ 0 h 109213"/>
                  <a:gd name="connsiteX5" fmla="*/ 178988 w 178987"/>
                  <a:gd name="connsiteY5" fmla="*/ 9101 h 109213"/>
                  <a:gd name="connsiteX6" fmla="*/ 6068 w 178987"/>
                  <a:gd name="connsiteY6" fmla="*/ 109213 h 109213"/>
                  <a:gd name="connsiteX7" fmla="*/ 6068 w 178987"/>
                  <a:gd name="connsiteY7" fmla="*/ 109213 h 109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8987" h="109213">
                    <a:moveTo>
                      <a:pt x="6068" y="109213"/>
                    </a:moveTo>
                    <a:cubicBezTo>
                      <a:pt x="3033" y="109213"/>
                      <a:pt x="0" y="106180"/>
                      <a:pt x="0" y="103146"/>
                    </a:cubicBezTo>
                    <a:cubicBezTo>
                      <a:pt x="0" y="100112"/>
                      <a:pt x="3033" y="97079"/>
                      <a:pt x="6068" y="97079"/>
                    </a:cubicBezTo>
                    <a:cubicBezTo>
                      <a:pt x="6068" y="97079"/>
                      <a:pt x="118314" y="81910"/>
                      <a:pt x="166854" y="3033"/>
                    </a:cubicBezTo>
                    <a:cubicBezTo>
                      <a:pt x="169887" y="0"/>
                      <a:pt x="172922" y="0"/>
                      <a:pt x="175955" y="0"/>
                    </a:cubicBezTo>
                    <a:cubicBezTo>
                      <a:pt x="178988" y="3033"/>
                      <a:pt x="178988" y="6067"/>
                      <a:pt x="178988" y="9101"/>
                    </a:cubicBezTo>
                    <a:cubicBezTo>
                      <a:pt x="124381" y="91011"/>
                      <a:pt x="12134" y="106180"/>
                      <a:pt x="6068" y="109213"/>
                    </a:cubicBezTo>
                    <a:cubicBezTo>
                      <a:pt x="6068" y="109213"/>
                      <a:pt x="6068" y="109213"/>
                      <a:pt x="6068" y="10921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6" name="任意多边形: 形状 175">
                <a:extLst>
                  <a:ext uri="{FF2B5EF4-FFF2-40B4-BE49-F238E27FC236}">
                    <a16:creationId xmlns:a16="http://schemas.microsoft.com/office/drawing/2014/main" id="{86C1D3BB-AC36-4071-95BF-CECA6713F408}"/>
                  </a:ext>
                </a:extLst>
              </p:cNvPr>
              <p:cNvSpPr/>
              <p:nvPr/>
            </p:nvSpPr>
            <p:spPr>
              <a:xfrm>
                <a:off x="24545096" y="6323550"/>
                <a:ext cx="30337" cy="45505"/>
              </a:xfrm>
              <a:custGeom>
                <a:avLst/>
                <a:gdLst>
                  <a:gd name="connsiteX0" fmla="*/ 6066 w 30337"/>
                  <a:gd name="connsiteY0" fmla="*/ 45506 h 45505"/>
                  <a:gd name="connsiteX1" fmla="*/ 6066 w 30337"/>
                  <a:gd name="connsiteY1" fmla="*/ 45506 h 45505"/>
                  <a:gd name="connsiteX2" fmla="*/ 0 w 30337"/>
                  <a:gd name="connsiteY2" fmla="*/ 36404 h 45505"/>
                  <a:gd name="connsiteX3" fmla="*/ 18202 w 30337"/>
                  <a:gd name="connsiteY3" fmla="*/ 3033 h 45505"/>
                  <a:gd name="connsiteX4" fmla="*/ 27302 w 30337"/>
                  <a:gd name="connsiteY4" fmla="*/ 0 h 45505"/>
                  <a:gd name="connsiteX5" fmla="*/ 30337 w 30337"/>
                  <a:gd name="connsiteY5" fmla="*/ 9101 h 45505"/>
                  <a:gd name="connsiteX6" fmla="*/ 12134 w 30337"/>
                  <a:gd name="connsiteY6" fmla="*/ 42472 h 45505"/>
                  <a:gd name="connsiteX7" fmla="*/ 6066 w 30337"/>
                  <a:gd name="connsiteY7" fmla="*/ 45506 h 4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337" h="45505">
                    <a:moveTo>
                      <a:pt x="6066" y="45506"/>
                    </a:moveTo>
                    <a:cubicBezTo>
                      <a:pt x="6066" y="45506"/>
                      <a:pt x="6066" y="45506"/>
                      <a:pt x="6066" y="45506"/>
                    </a:cubicBezTo>
                    <a:cubicBezTo>
                      <a:pt x="0" y="42472"/>
                      <a:pt x="0" y="39438"/>
                      <a:pt x="0" y="36404"/>
                    </a:cubicBezTo>
                    <a:lnTo>
                      <a:pt x="18202" y="3033"/>
                    </a:lnTo>
                    <a:cubicBezTo>
                      <a:pt x="18202" y="0"/>
                      <a:pt x="24269" y="0"/>
                      <a:pt x="27302" y="0"/>
                    </a:cubicBezTo>
                    <a:cubicBezTo>
                      <a:pt x="30337" y="0"/>
                      <a:pt x="30337" y="6067"/>
                      <a:pt x="30337" y="9101"/>
                    </a:cubicBezTo>
                    <a:lnTo>
                      <a:pt x="12134" y="42472"/>
                    </a:lnTo>
                    <a:cubicBezTo>
                      <a:pt x="12134" y="42472"/>
                      <a:pt x="9101" y="45506"/>
                      <a:pt x="6066" y="4550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7" name="任意多边形: 形状 176">
                <a:extLst>
                  <a:ext uri="{FF2B5EF4-FFF2-40B4-BE49-F238E27FC236}">
                    <a16:creationId xmlns:a16="http://schemas.microsoft.com/office/drawing/2014/main" id="{68B87187-4C9E-44E5-B383-131859B2FE6D}"/>
                  </a:ext>
                </a:extLst>
              </p:cNvPr>
              <p:cNvSpPr/>
              <p:nvPr/>
            </p:nvSpPr>
            <p:spPr>
              <a:xfrm>
                <a:off x="24590602" y="6338718"/>
                <a:ext cx="30337" cy="45505"/>
              </a:xfrm>
              <a:custGeom>
                <a:avLst/>
                <a:gdLst>
                  <a:gd name="connsiteX0" fmla="*/ 6066 w 30337"/>
                  <a:gd name="connsiteY0" fmla="*/ 45506 h 45505"/>
                  <a:gd name="connsiteX1" fmla="*/ 6066 w 30337"/>
                  <a:gd name="connsiteY1" fmla="*/ 45506 h 45505"/>
                  <a:gd name="connsiteX2" fmla="*/ 0 w 30337"/>
                  <a:gd name="connsiteY2" fmla="*/ 36404 h 45505"/>
                  <a:gd name="connsiteX3" fmla="*/ 18202 w 30337"/>
                  <a:gd name="connsiteY3" fmla="*/ 3033 h 45505"/>
                  <a:gd name="connsiteX4" fmla="*/ 27302 w 30337"/>
                  <a:gd name="connsiteY4" fmla="*/ 0 h 45505"/>
                  <a:gd name="connsiteX5" fmla="*/ 30337 w 30337"/>
                  <a:gd name="connsiteY5" fmla="*/ 9101 h 45505"/>
                  <a:gd name="connsiteX6" fmla="*/ 12134 w 30337"/>
                  <a:gd name="connsiteY6" fmla="*/ 42472 h 45505"/>
                  <a:gd name="connsiteX7" fmla="*/ 6066 w 30337"/>
                  <a:gd name="connsiteY7" fmla="*/ 45506 h 4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337" h="45505">
                    <a:moveTo>
                      <a:pt x="6066" y="45506"/>
                    </a:moveTo>
                    <a:cubicBezTo>
                      <a:pt x="6066" y="45506"/>
                      <a:pt x="3033" y="45506"/>
                      <a:pt x="6066" y="45506"/>
                    </a:cubicBezTo>
                    <a:cubicBezTo>
                      <a:pt x="0" y="42472"/>
                      <a:pt x="0" y="39438"/>
                      <a:pt x="0" y="36404"/>
                    </a:cubicBezTo>
                    <a:lnTo>
                      <a:pt x="18202" y="3033"/>
                    </a:lnTo>
                    <a:cubicBezTo>
                      <a:pt x="18202" y="0"/>
                      <a:pt x="24269" y="0"/>
                      <a:pt x="27302" y="0"/>
                    </a:cubicBezTo>
                    <a:cubicBezTo>
                      <a:pt x="30337" y="0"/>
                      <a:pt x="30337" y="6067"/>
                      <a:pt x="30337" y="9101"/>
                    </a:cubicBezTo>
                    <a:lnTo>
                      <a:pt x="12134" y="42472"/>
                    </a:lnTo>
                    <a:cubicBezTo>
                      <a:pt x="9101" y="42472"/>
                      <a:pt x="6066" y="45506"/>
                      <a:pt x="6066" y="4550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8651E8A8-27D9-4612-9DA7-418FD1BA5F6E}"/>
                </a:ext>
              </a:extLst>
            </p:cNvPr>
            <p:cNvGrpSpPr/>
            <p:nvPr/>
          </p:nvGrpSpPr>
          <p:grpSpPr>
            <a:xfrm>
              <a:off x="23131387" y="6320516"/>
              <a:ext cx="494494" cy="342809"/>
              <a:chOff x="23131387" y="6320516"/>
              <a:chExt cx="494494" cy="342809"/>
            </a:xfrm>
          </p:grpSpPr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40A1DE43-AE11-4474-B7AA-1D3F32DA61EB}"/>
                  </a:ext>
                </a:extLst>
              </p:cNvPr>
              <p:cNvSpPr/>
              <p:nvPr/>
            </p:nvSpPr>
            <p:spPr>
              <a:xfrm>
                <a:off x="23152624" y="6320516"/>
                <a:ext cx="182022" cy="224494"/>
              </a:xfrm>
              <a:custGeom>
                <a:avLst/>
                <a:gdLst>
                  <a:gd name="connsiteX0" fmla="*/ 0 w 182022"/>
                  <a:gd name="connsiteY0" fmla="*/ 185056 h 224494"/>
                  <a:gd name="connsiteX1" fmla="*/ 0 w 182022"/>
                  <a:gd name="connsiteY1" fmla="*/ 0 h 224494"/>
                  <a:gd name="connsiteX2" fmla="*/ 182022 w 182022"/>
                  <a:gd name="connsiteY2" fmla="*/ 0 h 224494"/>
                  <a:gd name="connsiteX3" fmla="*/ 163821 w 182022"/>
                  <a:gd name="connsiteY3" fmla="*/ 194158 h 224494"/>
                  <a:gd name="connsiteX4" fmla="*/ 12136 w 182022"/>
                  <a:gd name="connsiteY4" fmla="*/ 224495 h 2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022" h="224494">
                    <a:moveTo>
                      <a:pt x="0" y="185056"/>
                    </a:moveTo>
                    <a:lnTo>
                      <a:pt x="0" y="0"/>
                    </a:lnTo>
                    <a:lnTo>
                      <a:pt x="182022" y="0"/>
                    </a:lnTo>
                    <a:lnTo>
                      <a:pt x="163821" y="194158"/>
                    </a:lnTo>
                    <a:lnTo>
                      <a:pt x="12136" y="224495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20EBE0FA-FCA8-460D-8F9C-A68774F5E3FF}"/>
                  </a:ext>
                </a:extLst>
              </p:cNvPr>
              <p:cNvSpPr/>
              <p:nvPr/>
            </p:nvSpPr>
            <p:spPr>
              <a:xfrm>
                <a:off x="23132399" y="6460066"/>
                <a:ext cx="493482" cy="157752"/>
              </a:xfrm>
              <a:custGeom>
                <a:avLst/>
                <a:gdLst>
                  <a:gd name="connsiteX0" fmla="*/ 8090 w 493482"/>
                  <a:gd name="connsiteY0" fmla="*/ 45506 h 157752"/>
                  <a:gd name="connsiteX1" fmla="*/ 193147 w 493482"/>
                  <a:gd name="connsiteY1" fmla="*/ 0 h 157752"/>
                  <a:gd name="connsiteX2" fmla="*/ 326629 w 493482"/>
                  <a:gd name="connsiteY2" fmla="*/ 78876 h 157752"/>
                  <a:gd name="connsiteX3" fmla="*/ 493483 w 493482"/>
                  <a:gd name="connsiteY3" fmla="*/ 157753 h 157752"/>
                  <a:gd name="connsiteX4" fmla="*/ 8090 w 493482"/>
                  <a:gd name="connsiteY4" fmla="*/ 157753 h 157752"/>
                  <a:gd name="connsiteX5" fmla="*/ 8090 w 493482"/>
                  <a:gd name="connsiteY5" fmla="*/ 45506 h 157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3482" h="157752">
                    <a:moveTo>
                      <a:pt x="8090" y="45506"/>
                    </a:moveTo>
                    <a:cubicBezTo>
                      <a:pt x="8090" y="45506"/>
                      <a:pt x="132473" y="63708"/>
                      <a:pt x="193147" y="0"/>
                    </a:cubicBezTo>
                    <a:cubicBezTo>
                      <a:pt x="193147" y="0"/>
                      <a:pt x="281123" y="69775"/>
                      <a:pt x="326629" y="78876"/>
                    </a:cubicBezTo>
                    <a:cubicBezTo>
                      <a:pt x="372135" y="87977"/>
                      <a:pt x="481349" y="84944"/>
                      <a:pt x="493483" y="157753"/>
                    </a:cubicBezTo>
                    <a:lnTo>
                      <a:pt x="8090" y="157753"/>
                    </a:lnTo>
                    <a:cubicBezTo>
                      <a:pt x="8090" y="157753"/>
                      <a:pt x="-10112" y="97079"/>
                      <a:pt x="8090" y="45506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8" name="任意多边形: 形状 167">
                <a:extLst>
                  <a:ext uri="{FF2B5EF4-FFF2-40B4-BE49-F238E27FC236}">
                    <a16:creationId xmlns:a16="http://schemas.microsoft.com/office/drawing/2014/main" id="{0A3618A9-BB9B-456D-8587-E9D5F02D6D53}"/>
                  </a:ext>
                </a:extLst>
              </p:cNvPr>
              <p:cNvSpPr/>
              <p:nvPr/>
            </p:nvSpPr>
            <p:spPr>
              <a:xfrm>
                <a:off x="23140489" y="6617819"/>
                <a:ext cx="485393" cy="45505"/>
              </a:xfrm>
              <a:custGeom>
                <a:avLst/>
                <a:gdLst>
                  <a:gd name="connsiteX0" fmla="*/ -1 w 485393"/>
                  <a:gd name="connsiteY0" fmla="*/ 0 h 45505"/>
                  <a:gd name="connsiteX1" fmla="*/ 485393 w 485393"/>
                  <a:gd name="connsiteY1" fmla="*/ 0 h 45505"/>
                  <a:gd name="connsiteX2" fmla="*/ 485393 w 485393"/>
                  <a:gd name="connsiteY2" fmla="*/ 45506 h 45505"/>
                  <a:gd name="connsiteX3" fmla="*/ -1 w 485393"/>
                  <a:gd name="connsiteY3" fmla="*/ 45506 h 4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393" h="45505">
                    <a:moveTo>
                      <a:pt x="-1" y="0"/>
                    </a:moveTo>
                    <a:lnTo>
                      <a:pt x="485393" y="0"/>
                    </a:lnTo>
                    <a:lnTo>
                      <a:pt x="485393" y="45506"/>
                    </a:lnTo>
                    <a:lnTo>
                      <a:pt x="-1" y="45506"/>
                    </a:ln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9" name="任意多边形: 形状 168">
                <a:extLst>
                  <a:ext uri="{FF2B5EF4-FFF2-40B4-BE49-F238E27FC236}">
                    <a16:creationId xmlns:a16="http://schemas.microsoft.com/office/drawing/2014/main" id="{5252C300-A979-4AE9-B9A1-3E453F7F8951}"/>
                  </a:ext>
                </a:extLst>
              </p:cNvPr>
              <p:cNvSpPr/>
              <p:nvPr/>
            </p:nvSpPr>
            <p:spPr>
              <a:xfrm>
                <a:off x="23131387" y="6448690"/>
                <a:ext cx="199467" cy="62949"/>
              </a:xfrm>
              <a:custGeom>
                <a:avLst/>
                <a:gdLst>
                  <a:gd name="connsiteX0" fmla="*/ 42473 w 199467"/>
                  <a:gd name="connsiteY0" fmla="*/ 62950 h 62949"/>
                  <a:gd name="connsiteX1" fmla="*/ 6068 w 199467"/>
                  <a:gd name="connsiteY1" fmla="*/ 59916 h 62949"/>
                  <a:gd name="connsiteX2" fmla="*/ 0 w 199467"/>
                  <a:gd name="connsiteY2" fmla="*/ 53848 h 62949"/>
                  <a:gd name="connsiteX3" fmla="*/ 6068 w 199467"/>
                  <a:gd name="connsiteY3" fmla="*/ 47781 h 62949"/>
                  <a:gd name="connsiteX4" fmla="*/ 188090 w 199467"/>
                  <a:gd name="connsiteY4" fmla="*/ 2275 h 62949"/>
                  <a:gd name="connsiteX5" fmla="*/ 197191 w 199467"/>
                  <a:gd name="connsiteY5" fmla="*/ 2275 h 62949"/>
                  <a:gd name="connsiteX6" fmla="*/ 197191 w 199467"/>
                  <a:gd name="connsiteY6" fmla="*/ 11377 h 62949"/>
                  <a:gd name="connsiteX7" fmla="*/ 42473 w 199467"/>
                  <a:gd name="connsiteY7" fmla="*/ 62950 h 62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9467" h="62949">
                    <a:moveTo>
                      <a:pt x="42473" y="62950"/>
                    </a:moveTo>
                    <a:cubicBezTo>
                      <a:pt x="21236" y="62950"/>
                      <a:pt x="9101" y="59916"/>
                      <a:pt x="6068" y="59916"/>
                    </a:cubicBezTo>
                    <a:cubicBezTo>
                      <a:pt x="3035" y="59916"/>
                      <a:pt x="0" y="56882"/>
                      <a:pt x="0" y="53848"/>
                    </a:cubicBezTo>
                    <a:cubicBezTo>
                      <a:pt x="0" y="50815"/>
                      <a:pt x="3035" y="47781"/>
                      <a:pt x="6068" y="47781"/>
                    </a:cubicBezTo>
                    <a:cubicBezTo>
                      <a:pt x="6068" y="47781"/>
                      <a:pt x="118315" y="62950"/>
                      <a:pt x="188090" y="2275"/>
                    </a:cubicBezTo>
                    <a:cubicBezTo>
                      <a:pt x="191123" y="-758"/>
                      <a:pt x="194158" y="-758"/>
                      <a:pt x="197191" y="2275"/>
                    </a:cubicBezTo>
                    <a:cubicBezTo>
                      <a:pt x="200226" y="5309"/>
                      <a:pt x="200226" y="8343"/>
                      <a:pt x="197191" y="11377"/>
                    </a:cubicBezTo>
                    <a:cubicBezTo>
                      <a:pt x="148652" y="56882"/>
                      <a:pt x="84943" y="62950"/>
                      <a:pt x="42473" y="6295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0" name="任意多边形: 形状 169">
                <a:extLst>
                  <a:ext uri="{FF2B5EF4-FFF2-40B4-BE49-F238E27FC236}">
                    <a16:creationId xmlns:a16="http://schemas.microsoft.com/office/drawing/2014/main" id="{29752AB1-FF66-43E2-9067-9C7826EDC0BC}"/>
                  </a:ext>
                </a:extLst>
              </p:cNvPr>
              <p:cNvSpPr/>
              <p:nvPr/>
            </p:nvSpPr>
            <p:spPr>
              <a:xfrm>
                <a:off x="23329337" y="6475993"/>
                <a:ext cx="40955" cy="41713"/>
              </a:xfrm>
              <a:custGeom>
                <a:avLst/>
                <a:gdLst>
                  <a:gd name="connsiteX0" fmla="*/ 5309 w 40955"/>
                  <a:gd name="connsiteY0" fmla="*/ 41713 h 41713"/>
                  <a:gd name="connsiteX1" fmla="*/ 2276 w 40955"/>
                  <a:gd name="connsiteY1" fmla="*/ 38680 h 41713"/>
                  <a:gd name="connsiteX2" fmla="*/ 2276 w 40955"/>
                  <a:gd name="connsiteY2" fmla="*/ 29579 h 41713"/>
                  <a:gd name="connsiteX3" fmla="*/ 29578 w 40955"/>
                  <a:gd name="connsiteY3" fmla="*/ 2275 h 41713"/>
                  <a:gd name="connsiteX4" fmla="*/ 38679 w 40955"/>
                  <a:gd name="connsiteY4" fmla="*/ 2275 h 41713"/>
                  <a:gd name="connsiteX5" fmla="*/ 38679 w 40955"/>
                  <a:gd name="connsiteY5" fmla="*/ 11376 h 41713"/>
                  <a:gd name="connsiteX6" fmla="*/ 11377 w 40955"/>
                  <a:gd name="connsiteY6" fmla="*/ 38680 h 41713"/>
                  <a:gd name="connsiteX7" fmla="*/ 5309 w 40955"/>
                  <a:gd name="connsiteY7" fmla="*/ 41713 h 41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55" h="41713">
                    <a:moveTo>
                      <a:pt x="5309" y="41713"/>
                    </a:moveTo>
                    <a:cubicBezTo>
                      <a:pt x="5309" y="41713"/>
                      <a:pt x="2276" y="41713"/>
                      <a:pt x="2276" y="38680"/>
                    </a:cubicBezTo>
                    <a:cubicBezTo>
                      <a:pt x="-759" y="35646"/>
                      <a:pt x="-759" y="32612"/>
                      <a:pt x="2276" y="29579"/>
                    </a:cubicBezTo>
                    <a:lnTo>
                      <a:pt x="29578" y="2275"/>
                    </a:lnTo>
                    <a:cubicBezTo>
                      <a:pt x="32613" y="-758"/>
                      <a:pt x="35646" y="-758"/>
                      <a:pt x="38679" y="2275"/>
                    </a:cubicBezTo>
                    <a:cubicBezTo>
                      <a:pt x="41714" y="5309"/>
                      <a:pt x="41714" y="8343"/>
                      <a:pt x="38679" y="11376"/>
                    </a:cubicBezTo>
                    <a:lnTo>
                      <a:pt x="11377" y="38680"/>
                    </a:lnTo>
                    <a:cubicBezTo>
                      <a:pt x="8342" y="41713"/>
                      <a:pt x="5309" y="41713"/>
                      <a:pt x="5309" y="4171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1" name="任意多边形: 形状 170">
                <a:extLst>
                  <a:ext uri="{FF2B5EF4-FFF2-40B4-BE49-F238E27FC236}">
                    <a16:creationId xmlns:a16="http://schemas.microsoft.com/office/drawing/2014/main" id="{1E1B9A52-36D2-4C9A-A725-1ADE59948B2F}"/>
                  </a:ext>
                </a:extLst>
              </p:cNvPr>
              <p:cNvSpPr/>
              <p:nvPr/>
            </p:nvSpPr>
            <p:spPr>
              <a:xfrm>
                <a:off x="23365742" y="6503297"/>
                <a:ext cx="40955" cy="41713"/>
              </a:xfrm>
              <a:custGeom>
                <a:avLst/>
                <a:gdLst>
                  <a:gd name="connsiteX0" fmla="*/ 5310 w 40955"/>
                  <a:gd name="connsiteY0" fmla="*/ 41714 h 41713"/>
                  <a:gd name="connsiteX1" fmla="*/ 2275 w 40955"/>
                  <a:gd name="connsiteY1" fmla="*/ 38680 h 41713"/>
                  <a:gd name="connsiteX2" fmla="*/ 2275 w 40955"/>
                  <a:gd name="connsiteY2" fmla="*/ 29579 h 41713"/>
                  <a:gd name="connsiteX3" fmla="*/ 29579 w 40955"/>
                  <a:gd name="connsiteY3" fmla="*/ 2275 h 41713"/>
                  <a:gd name="connsiteX4" fmla="*/ 38680 w 40955"/>
                  <a:gd name="connsiteY4" fmla="*/ 2275 h 41713"/>
                  <a:gd name="connsiteX5" fmla="*/ 38680 w 40955"/>
                  <a:gd name="connsiteY5" fmla="*/ 11377 h 41713"/>
                  <a:gd name="connsiteX6" fmla="*/ 11377 w 40955"/>
                  <a:gd name="connsiteY6" fmla="*/ 38680 h 41713"/>
                  <a:gd name="connsiteX7" fmla="*/ 5310 w 40955"/>
                  <a:gd name="connsiteY7" fmla="*/ 41714 h 41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55" h="41713">
                    <a:moveTo>
                      <a:pt x="5310" y="41714"/>
                    </a:moveTo>
                    <a:cubicBezTo>
                      <a:pt x="5310" y="41714"/>
                      <a:pt x="2275" y="41714"/>
                      <a:pt x="2275" y="38680"/>
                    </a:cubicBezTo>
                    <a:cubicBezTo>
                      <a:pt x="-758" y="35646"/>
                      <a:pt x="-758" y="32612"/>
                      <a:pt x="2275" y="29579"/>
                    </a:cubicBezTo>
                    <a:lnTo>
                      <a:pt x="29579" y="2275"/>
                    </a:lnTo>
                    <a:cubicBezTo>
                      <a:pt x="32612" y="-758"/>
                      <a:pt x="35647" y="-758"/>
                      <a:pt x="38680" y="2275"/>
                    </a:cubicBezTo>
                    <a:cubicBezTo>
                      <a:pt x="41714" y="5309"/>
                      <a:pt x="41714" y="8343"/>
                      <a:pt x="38680" y="11377"/>
                    </a:cubicBezTo>
                    <a:lnTo>
                      <a:pt x="11377" y="38680"/>
                    </a:lnTo>
                    <a:cubicBezTo>
                      <a:pt x="8343" y="41714"/>
                      <a:pt x="8343" y="41714"/>
                      <a:pt x="5310" y="4171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5A0798AF-A543-4A84-A01D-47C82F325770}"/>
                </a:ext>
              </a:extLst>
            </p:cNvPr>
            <p:cNvSpPr/>
            <p:nvPr/>
          </p:nvSpPr>
          <p:spPr>
            <a:xfrm>
              <a:off x="23038884" y="4118044"/>
              <a:ext cx="1518345" cy="2272247"/>
            </a:xfrm>
            <a:custGeom>
              <a:avLst/>
              <a:gdLst>
                <a:gd name="connsiteX0" fmla="*/ 1029920 w 1518345"/>
                <a:gd name="connsiteY0" fmla="*/ 21236 h 2272247"/>
                <a:gd name="connsiteX1" fmla="*/ 1494077 w 1518345"/>
                <a:gd name="connsiteY1" fmla="*/ 1110337 h 2272247"/>
                <a:gd name="connsiteX2" fmla="*/ 1518346 w 1518345"/>
                <a:gd name="connsiteY2" fmla="*/ 2120562 h 2272247"/>
                <a:gd name="connsiteX3" fmla="*/ 1230144 w 1518345"/>
                <a:gd name="connsiteY3" fmla="*/ 2235843 h 2272247"/>
                <a:gd name="connsiteX4" fmla="*/ 1078458 w 1518345"/>
                <a:gd name="connsiteY4" fmla="*/ 1313596 h 2272247"/>
                <a:gd name="connsiteX5" fmla="*/ 535426 w 1518345"/>
                <a:gd name="connsiteY5" fmla="*/ 500562 h 2272247"/>
                <a:gd name="connsiteX6" fmla="*/ 489920 w 1518345"/>
                <a:gd name="connsiteY6" fmla="*/ 1468315 h 2272247"/>
                <a:gd name="connsiteX7" fmla="*/ 344301 w 1518345"/>
                <a:gd name="connsiteY7" fmla="*/ 2263146 h 2272247"/>
                <a:gd name="connsiteX8" fmla="*/ 59133 w 1518345"/>
                <a:gd name="connsiteY8" fmla="*/ 2272247 h 2272247"/>
                <a:gd name="connsiteX9" fmla="*/ 89470 w 1518345"/>
                <a:gd name="connsiteY9" fmla="*/ 1450113 h 2272247"/>
                <a:gd name="connsiteX10" fmla="*/ 10593 w 1518345"/>
                <a:gd name="connsiteY10" fmla="*/ 0 h 2272247"/>
                <a:gd name="connsiteX11" fmla="*/ 1029920 w 1518345"/>
                <a:gd name="connsiteY11" fmla="*/ 21236 h 227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18345" h="2272247">
                  <a:moveTo>
                    <a:pt x="1029920" y="21236"/>
                  </a:moveTo>
                  <a:lnTo>
                    <a:pt x="1494077" y="1110337"/>
                  </a:lnTo>
                  <a:lnTo>
                    <a:pt x="1518346" y="2120562"/>
                  </a:lnTo>
                  <a:lnTo>
                    <a:pt x="1230144" y="2235843"/>
                  </a:lnTo>
                  <a:lnTo>
                    <a:pt x="1078458" y="1313596"/>
                  </a:lnTo>
                  <a:cubicBezTo>
                    <a:pt x="1078458" y="1313596"/>
                    <a:pt x="544526" y="515730"/>
                    <a:pt x="535426" y="500562"/>
                  </a:cubicBezTo>
                  <a:cubicBezTo>
                    <a:pt x="520257" y="470225"/>
                    <a:pt x="489920" y="1468315"/>
                    <a:pt x="489920" y="1468315"/>
                  </a:cubicBezTo>
                  <a:lnTo>
                    <a:pt x="344301" y="2263146"/>
                  </a:lnTo>
                  <a:lnTo>
                    <a:pt x="59133" y="2272247"/>
                  </a:lnTo>
                  <a:cubicBezTo>
                    <a:pt x="59133" y="2272247"/>
                    <a:pt x="95538" y="1550225"/>
                    <a:pt x="89470" y="1450113"/>
                  </a:cubicBezTo>
                  <a:cubicBezTo>
                    <a:pt x="80369" y="1298427"/>
                    <a:pt x="-34913" y="97079"/>
                    <a:pt x="10593" y="0"/>
                  </a:cubicBezTo>
                  <a:cubicBezTo>
                    <a:pt x="705313" y="33371"/>
                    <a:pt x="1029920" y="21236"/>
                    <a:pt x="1029920" y="21236"/>
                  </a:cubicBezTo>
                  <a:close/>
                </a:path>
              </a:pathLst>
            </a:custGeom>
            <a:solidFill>
              <a:srgbClr val="F6EBE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A6701304-F193-454A-9F51-7D1FAB661000}"/>
                </a:ext>
              </a:extLst>
            </p:cNvPr>
            <p:cNvSpPr/>
            <p:nvPr/>
          </p:nvSpPr>
          <p:spPr>
            <a:xfrm>
              <a:off x="23568242" y="4260628"/>
              <a:ext cx="69774" cy="364044"/>
            </a:xfrm>
            <a:custGeom>
              <a:avLst/>
              <a:gdLst>
                <a:gd name="connsiteX0" fmla="*/ 6068 w 69774"/>
                <a:gd name="connsiteY0" fmla="*/ 364045 h 364044"/>
                <a:gd name="connsiteX1" fmla="*/ 6068 w 69774"/>
                <a:gd name="connsiteY1" fmla="*/ 364045 h 364044"/>
                <a:gd name="connsiteX2" fmla="*/ 0 w 69774"/>
                <a:gd name="connsiteY2" fmla="*/ 354944 h 364044"/>
                <a:gd name="connsiteX3" fmla="*/ 57639 w 69774"/>
                <a:gd name="connsiteY3" fmla="*/ 6067 h 364044"/>
                <a:gd name="connsiteX4" fmla="*/ 63707 w 69774"/>
                <a:gd name="connsiteY4" fmla="*/ 0 h 364044"/>
                <a:gd name="connsiteX5" fmla="*/ 69775 w 69774"/>
                <a:gd name="connsiteY5" fmla="*/ 6067 h 364044"/>
                <a:gd name="connsiteX6" fmla="*/ 12134 w 69774"/>
                <a:gd name="connsiteY6" fmla="*/ 357977 h 364044"/>
                <a:gd name="connsiteX7" fmla="*/ 6068 w 69774"/>
                <a:gd name="connsiteY7" fmla="*/ 364045 h 36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774" h="364044">
                  <a:moveTo>
                    <a:pt x="6068" y="364045"/>
                  </a:moveTo>
                  <a:cubicBezTo>
                    <a:pt x="3033" y="364045"/>
                    <a:pt x="3033" y="364045"/>
                    <a:pt x="6068" y="364045"/>
                  </a:cubicBezTo>
                  <a:cubicBezTo>
                    <a:pt x="0" y="361011"/>
                    <a:pt x="0" y="357977"/>
                    <a:pt x="0" y="354944"/>
                  </a:cubicBezTo>
                  <a:cubicBezTo>
                    <a:pt x="48539" y="242697"/>
                    <a:pt x="57639" y="9101"/>
                    <a:pt x="57639" y="6067"/>
                  </a:cubicBezTo>
                  <a:cubicBezTo>
                    <a:pt x="57639" y="3034"/>
                    <a:pt x="60674" y="0"/>
                    <a:pt x="63707" y="0"/>
                  </a:cubicBezTo>
                  <a:cubicBezTo>
                    <a:pt x="66742" y="0"/>
                    <a:pt x="69775" y="3034"/>
                    <a:pt x="69775" y="6067"/>
                  </a:cubicBezTo>
                  <a:cubicBezTo>
                    <a:pt x="69775" y="15169"/>
                    <a:pt x="60674" y="242697"/>
                    <a:pt x="12134" y="357977"/>
                  </a:cubicBezTo>
                  <a:cubicBezTo>
                    <a:pt x="9101" y="364045"/>
                    <a:pt x="6068" y="364045"/>
                    <a:pt x="6068" y="364045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81FFC28F-E3C8-409D-809E-838048429FDD}"/>
                </a:ext>
              </a:extLst>
            </p:cNvPr>
            <p:cNvSpPr/>
            <p:nvPr/>
          </p:nvSpPr>
          <p:spPr>
            <a:xfrm>
              <a:off x="23594288" y="4190853"/>
              <a:ext cx="155976" cy="354943"/>
            </a:xfrm>
            <a:custGeom>
              <a:avLst/>
              <a:gdLst>
                <a:gd name="connsiteX0" fmla="*/ 7324 w 155976"/>
                <a:gd name="connsiteY0" fmla="*/ 354944 h 354943"/>
                <a:gd name="connsiteX1" fmla="*/ 1256 w 155976"/>
                <a:gd name="connsiteY1" fmla="*/ 351910 h 354943"/>
                <a:gd name="connsiteX2" fmla="*/ 4291 w 155976"/>
                <a:gd name="connsiteY2" fmla="*/ 342809 h 354943"/>
                <a:gd name="connsiteX3" fmla="*/ 110471 w 155976"/>
                <a:gd name="connsiteY3" fmla="*/ 266966 h 354943"/>
                <a:gd name="connsiteX4" fmla="*/ 143841 w 155976"/>
                <a:gd name="connsiteY4" fmla="*/ 6067 h 354943"/>
                <a:gd name="connsiteX5" fmla="*/ 149909 w 155976"/>
                <a:gd name="connsiteY5" fmla="*/ 0 h 354943"/>
                <a:gd name="connsiteX6" fmla="*/ 155976 w 155976"/>
                <a:gd name="connsiteY6" fmla="*/ 6067 h 354943"/>
                <a:gd name="connsiteX7" fmla="*/ 122605 w 155976"/>
                <a:gd name="connsiteY7" fmla="*/ 273034 h 354943"/>
                <a:gd name="connsiteX8" fmla="*/ 13392 w 155976"/>
                <a:gd name="connsiteY8" fmla="*/ 351910 h 354943"/>
                <a:gd name="connsiteX9" fmla="*/ 7324 w 155976"/>
                <a:gd name="connsiteY9" fmla="*/ 354944 h 354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5976" h="354943">
                  <a:moveTo>
                    <a:pt x="7324" y="354944"/>
                  </a:moveTo>
                  <a:cubicBezTo>
                    <a:pt x="4291" y="354944"/>
                    <a:pt x="4291" y="354944"/>
                    <a:pt x="1256" y="351910"/>
                  </a:cubicBezTo>
                  <a:cubicBezTo>
                    <a:pt x="-1777" y="348876"/>
                    <a:pt x="1256" y="345843"/>
                    <a:pt x="4291" y="342809"/>
                  </a:cubicBezTo>
                  <a:cubicBezTo>
                    <a:pt x="43729" y="318539"/>
                    <a:pt x="101370" y="276067"/>
                    <a:pt x="110471" y="266966"/>
                  </a:cubicBezTo>
                  <a:cubicBezTo>
                    <a:pt x="119572" y="254832"/>
                    <a:pt x="134740" y="100112"/>
                    <a:pt x="143841" y="6067"/>
                  </a:cubicBezTo>
                  <a:cubicBezTo>
                    <a:pt x="143841" y="3034"/>
                    <a:pt x="146876" y="0"/>
                    <a:pt x="149909" y="0"/>
                  </a:cubicBezTo>
                  <a:cubicBezTo>
                    <a:pt x="152942" y="0"/>
                    <a:pt x="155976" y="3034"/>
                    <a:pt x="155976" y="6067"/>
                  </a:cubicBezTo>
                  <a:cubicBezTo>
                    <a:pt x="152942" y="48539"/>
                    <a:pt x="131707" y="257865"/>
                    <a:pt x="122605" y="273034"/>
                  </a:cubicBezTo>
                  <a:cubicBezTo>
                    <a:pt x="110471" y="288202"/>
                    <a:pt x="22493" y="345843"/>
                    <a:pt x="13392" y="351910"/>
                  </a:cubicBezTo>
                  <a:cubicBezTo>
                    <a:pt x="10359" y="354944"/>
                    <a:pt x="10359" y="354944"/>
                    <a:pt x="7324" y="354944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F9E8CD77-71E3-49A8-918D-2A8DFF00108D}"/>
                </a:ext>
              </a:extLst>
            </p:cNvPr>
            <p:cNvSpPr/>
            <p:nvPr/>
          </p:nvSpPr>
          <p:spPr>
            <a:xfrm>
              <a:off x="23090602" y="4193887"/>
              <a:ext cx="204606" cy="224494"/>
            </a:xfrm>
            <a:custGeom>
              <a:avLst/>
              <a:gdLst>
                <a:gd name="connsiteX0" fmla="*/ 34718 w 204606"/>
                <a:gd name="connsiteY0" fmla="*/ 224494 h 224494"/>
                <a:gd name="connsiteX1" fmla="*/ 31685 w 204606"/>
                <a:gd name="connsiteY1" fmla="*/ 221461 h 224494"/>
                <a:gd name="connsiteX2" fmla="*/ 1348 w 204606"/>
                <a:gd name="connsiteY2" fmla="*/ 188090 h 224494"/>
                <a:gd name="connsiteX3" fmla="*/ 1348 w 204606"/>
                <a:gd name="connsiteY3" fmla="*/ 185056 h 224494"/>
                <a:gd name="connsiteX4" fmla="*/ 4381 w 204606"/>
                <a:gd name="connsiteY4" fmla="*/ 182022 h 224494"/>
                <a:gd name="connsiteX5" fmla="*/ 150000 w 204606"/>
                <a:gd name="connsiteY5" fmla="*/ 3034 h 224494"/>
                <a:gd name="connsiteX6" fmla="*/ 156066 w 204606"/>
                <a:gd name="connsiteY6" fmla="*/ 0 h 224494"/>
                <a:gd name="connsiteX7" fmla="*/ 201572 w 204606"/>
                <a:gd name="connsiteY7" fmla="*/ 15169 h 224494"/>
                <a:gd name="connsiteX8" fmla="*/ 204607 w 204606"/>
                <a:gd name="connsiteY8" fmla="*/ 18202 h 224494"/>
                <a:gd name="connsiteX9" fmla="*/ 204607 w 204606"/>
                <a:gd name="connsiteY9" fmla="*/ 21236 h 224494"/>
                <a:gd name="connsiteX10" fmla="*/ 40786 w 204606"/>
                <a:gd name="connsiteY10" fmla="*/ 221461 h 224494"/>
                <a:gd name="connsiteX11" fmla="*/ 34718 w 204606"/>
                <a:gd name="connsiteY11" fmla="*/ 224494 h 224494"/>
                <a:gd name="connsiteX12" fmla="*/ 13484 w 204606"/>
                <a:gd name="connsiteY12" fmla="*/ 185056 h 224494"/>
                <a:gd name="connsiteX13" fmla="*/ 37753 w 204606"/>
                <a:gd name="connsiteY13" fmla="*/ 209326 h 224494"/>
                <a:gd name="connsiteX14" fmla="*/ 192471 w 204606"/>
                <a:gd name="connsiteY14" fmla="*/ 21236 h 224494"/>
                <a:gd name="connsiteX15" fmla="*/ 156066 w 204606"/>
                <a:gd name="connsiteY15" fmla="*/ 9101 h 224494"/>
                <a:gd name="connsiteX16" fmla="*/ 13484 w 204606"/>
                <a:gd name="connsiteY16" fmla="*/ 185056 h 224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4606" h="224494">
                  <a:moveTo>
                    <a:pt x="34718" y="224494"/>
                  </a:moveTo>
                  <a:cubicBezTo>
                    <a:pt x="31685" y="224494"/>
                    <a:pt x="31685" y="224494"/>
                    <a:pt x="31685" y="221461"/>
                  </a:cubicBezTo>
                  <a:lnTo>
                    <a:pt x="1348" y="188090"/>
                  </a:lnTo>
                  <a:cubicBezTo>
                    <a:pt x="1348" y="188090"/>
                    <a:pt x="-1685" y="185056"/>
                    <a:pt x="1348" y="185056"/>
                  </a:cubicBezTo>
                  <a:cubicBezTo>
                    <a:pt x="1348" y="182022"/>
                    <a:pt x="1348" y="182022"/>
                    <a:pt x="4381" y="182022"/>
                  </a:cubicBezTo>
                  <a:cubicBezTo>
                    <a:pt x="92359" y="112247"/>
                    <a:pt x="150000" y="3034"/>
                    <a:pt x="150000" y="3034"/>
                  </a:cubicBezTo>
                  <a:cubicBezTo>
                    <a:pt x="150000" y="0"/>
                    <a:pt x="153033" y="0"/>
                    <a:pt x="156066" y="0"/>
                  </a:cubicBezTo>
                  <a:lnTo>
                    <a:pt x="201572" y="15169"/>
                  </a:lnTo>
                  <a:cubicBezTo>
                    <a:pt x="201572" y="15169"/>
                    <a:pt x="204607" y="18202"/>
                    <a:pt x="204607" y="18202"/>
                  </a:cubicBezTo>
                  <a:cubicBezTo>
                    <a:pt x="204607" y="18202"/>
                    <a:pt x="204607" y="21236"/>
                    <a:pt x="204607" y="21236"/>
                  </a:cubicBezTo>
                  <a:cubicBezTo>
                    <a:pt x="171235" y="112247"/>
                    <a:pt x="43821" y="218427"/>
                    <a:pt x="40786" y="221461"/>
                  </a:cubicBezTo>
                  <a:cubicBezTo>
                    <a:pt x="37753" y="224494"/>
                    <a:pt x="34718" y="224494"/>
                    <a:pt x="34718" y="224494"/>
                  </a:cubicBezTo>
                  <a:close/>
                  <a:moveTo>
                    <a:pt x="13484" y="185056"/>
                  </a:moveTo>
                  <a:lnTo>
                    <a:pt x="37753" y="209326"/>
                  </a:lnTo>
                  <a:cubicBezTo>
                    <a:pt x="58989" y="191124"/>
                    <a:pt x="159101" y="100112"/>
                    <a:pt x="192471" y="21236"/>
                  </a:cubicBezTo>
                  <a:lnTo>
                    <a:pt x="156066" y="9101"/>
                  </a:lnTo>
                  <a:cubicBezTo>
                    <a:pt x="143933" y="30337"/>
                    <a:pt x="89326" y="121348"/>
                    <a:pt x="13484" y="185056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311A1266-05D7-439F-963D-165772BF759A}"/>
                </a:ext>
              </a:extLst>
            </p:cNvPr>
            <p:cNvSpPr/>
            <p:nvPr/>
          </p:nvSpPr>
          <p:spPr>
            <a:xfrm>
              <a:off x="24017231" y="4199954"/>
              <a:ext cx="97079" cy="103145"/>
            </a:xfrm>
            <a:custGeom>
              <a:avLst/>
              <a:gdLst>
                <a:gd name="connsiteX0" fmla="*/ 91011 w 97079"/>
                <a:gd name="connsiteY0" fmla="*/ 103146 h 103145"/>
                <a:gd name="connsiteX1" fmla="*/ 91011 w 97079"/>
                <a:gd name="connsiteY1" fmla="*/ 103146 h 103145"/>
                <a:gd name="connsiteX2" fmla="*/ 3033 w 97079"/>
                <a:gd name="connsiteY2" fmla="*/ 54607 h 103145"/>
                <a:gd name="connsiteX3" fmla="*/ 0 w 97079"/>
                <a:gd name="connsiteY3" fmla="*/ 48539 h 103145"/>
                <a:gd name="connsiteX4" fmla="*/ 0 w 97079"/>
                <a:gd name="connsiteY4" fmla="*/ 6067 h 103145"/>
                <a:gd name="connsiteX5" fmla="*/ 3033 w 97079"/>
                <a:gd name="connsiteY5" fmla="*/ 0 h 103145"/>
                <a:gd name="connsiteX6" fmla="*/ 9101 w 97079"/>
                <a:gd name="connsiteY6" fmla="*/ 0 h 103145"/>
                <a:gd name="connsiteX7" fmla="*/ 78876 w 97079"/>
                <a:gd name="connsiteY7" fmla="*/ 33371 h 103145"/>
                <a:gd name="connsiteX8" fmla="*/ 81910 w 97079"/>
                <a:gd name="connsiteY8" fmla="*/ 39438 h 103145"/>
                <a:gd name="connsiteX9" fmla="*/ 75843 w 97079"/>
                <a:gd name="connsiteY9" fmla="*/ 42472 h 103145"/>
                <a:gd name="connsiteX10" fmla="*/ 12136 w 97079"/>
                <a:gd name="connsiteY10" fmla="*/ 15169 h 103145"/>
                <a:gd name="connsiteX11" fmla="*/ 12136 w 97079"/>
                <a:gd name="connsiteY11" fmla="*/ 45506 h 103145"/>
                <a:gd name="connsiteX12" fmla="*/ 94044 w 97079"/>
                <a:gd name="connsiteY12" fmla="*/ 91011 h 103145"/>
                <a:gd name="connsiteX13" fmla="*/ 97079 w 97079"/>
                <a:gd name="connsiteY13" fmla="*/ 100112 h 103145"/>
                <a:gd name="connsiteX14" fmla="*/ 91011 w 97079"/>
                <a:gd name="connsiteY14" fmla="*/ 103146 h 103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7079" h="103145">
                  <a:moveTo>
                    <a:pt x="91011" y="103146"/>
                  </a:moveTo>
                  <a:cubicBezTo>
                    <a:pt x="91011" y="103146"/>
                    <a:pt x="91011" y="103146"/>
                    <a:pt x="91011" y="103146"/>
                  </a:cubicBezTo>
                  <a:lnTo>
                    <a:pt x="3033" y="54607"/>
                  </a:lnTo>
                  <a:cubicBezTo>
                    <a:pt x="0" y="54607"/>
                    <a:pt x="0" y="51573"/>
                    <a:pt x="0" y="48539"/>
                  </a:cubicBezTo>
                  <a:lnTo>
                    <a:pt x="0" y="6067"/>
                  </a:lnTo>
                  <a:cubicBezTo>
                    <a:pt x="0" y="3034"/>
                    <a:pt x="0" y="3034"/>
                    <a:pt x="3033" y="0"/>
                  </a:cubicBezTo>
                  <a:cubicBezTo>
                    <a:pt x="6068" y="0"/>
                    <a:pt x="6068" y="0"/>
                    <a:pt x="9101" y="0"/>
                  </a:cubicBezTo>
                  <a:cubicBezTo>
                    <a:pt x="24269" y="9101"/>
                    <a:pt x="78876" y="33371"/>
                    <a:pt x="78876" y="33371"/>
                  </a:cubicBezTo>
                  <a:cubicBezTo>
                    <a:pt x="81910" y="33371"/>
                    <a:pt x="81910" y="36404"/>
                    <a:pt x="81910" y="39438"/>
                  </a:cubicBezTo>
                  <a:cubicBezTo>
                    <a:pt x="81910" y="42472"/>
                    <a:pt x="78876" y="42472"/>
                    <a:pt x="75843" y="42472"/>
                  </a:cubicBezTo>
                  <a:cubicBezTo>
                    <a:pt x="72810" y="42472"/>
                    <a:pt x="33370" y="24270"/>
                    <a:pt x="12136" y="15169"/>
                  </a:cubicBezTo>
                  <a:lnTo>
                    <a:pt x="12136" y="45506"/>
                  </a:lnTo>
                  <a:lnTo>
                    <a:pt x="94044" y="91011"/>
                  </a:lnTo>
                  <a:cubicBezTo>
                    <a:pt x="97079" y="91011"/>
                    <a:pt x="97079" y="97079"/>
                    <a:pt x="97079" y="100112"/>
                  </a:cubicBezTo>
                  <a:cubicBezTo>
                    <a:pt x="97079" y="103146"/>
                    <a:pt x="94044" y="103146"/>
                    <a:pt x="91011" y="103146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7A0F470B-FBBB-4A15-BFE2-A001B57DC081}"/>
                </a:ext>
              </a:extLst>
            </p:cNvPr>
            <p:cNvSpPr/>
            <p:nvPr/>
          </p:nvSpPr>
          <p:spPr>
            <a:xfrm>
              <a:off x="23902061" y="2875883"/>
              <a:ext cx="1180000" cy="954355"/>
            </a:xfrm>
            <a:custGeom>
              <a:avLst/>
              <a:gdLst>
                <a:gd name="connsiteX0" fmla="*/ 57529 w 1180000"/>
                <a:gd name="connsiteY0" fmla="*/ 10476 h 954355"/>
                <a:gd name="connsiteX1" fmla="*/ 345731 w 1180000"/>
                <a:gd name="connsiteY1" fmla="*/ 253172 h 954355"/>
                <a:gd name="connsiteX2" fmla="*/ 524720 w 1180000"/>
                <a:gd name="connsiteY2" fmla="*/ 674858 h 954355"/>
                <a:gd name="connsiteX3" fmla="*/ 1180001 w 1180000"/>
                <a:gd name="connsiteY3" fmla="*/ 720364 h 954355"/>
                <a:gd name="connsiteX4" fmla="*/ 1116293 w 1180000"/>
                <a:gd name="connsiteY4" fmla="*/ 826543 h 954355"/>
                <a:gd name="connsiteX5" fmla="*/ 533821 w 1180000"/>
                <a:gd name="connsiteY5" fmla="*/ 953959 h 954355"/>
                <a:gd name="connsiteX6" fmla="*/ 57529 w 1180000"/>
                <a:gd name="connsiteY6" fmla="*/ 10476 h 954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000" h="954355">
                  <a:moveTo>
                    <a:pt x="57529" y="10476"/>
                  </a:moveTo>
                  <a:cubicBezTo>
                    <a:pt x="160675" y="-47165"/>
                    <a:pt x="312361" y="146993"/>
                    <a:pt x="345731" y="253172"/>
                  </a:cubicBezTo>
                  <a:cubicBezTo>
                    <a:pt x="391237" y="389689"/>
                    <a:pt x="524720" y="674858"/>
                    <a:pt x="524720" y="674858"/>
                  </a:cubicBezTo>
                  <a:lnTo>
                    <a:pt x="1180001" y="720364"/>
                  </a:lnTo>
                  <a:lnTo>
                    <a:pt x="1116293" y="826543"/>
                  </a:lnTo>
                  <a:cubicBezTo>
                    <a:pt x="1116293" y="826543"/>
                    <a:pt x="643036" y="944858"/>
                    <a:pt x="533821" y="953959"/>
                  </a:cubicBezTo>
                  <a:cubicBezTo>
                    <a:pt x="351799" y="975195"/>
                    <a:pt x="-173032" y="137892"/>
                    <a:pt x="57529" y="10476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6E2D2C5E-FD42-40EC-9CF6-462701716755}"/>
                </a:ext>
              </a:extLst>
            </p:cNvPr>
            <p:cNvSpPr/>
            <p:nvPr/>
          </p:nvSpPr>
          <p:spPr>
            <a:xfrm>
              <a:off x="23855447" y="2714604"/>
              <a:ext cx="471222" cy="608608"/>
            </a:xfrm>
            <a:custGeom>
              <a:avLst/>
              <a:gdLst>
                <a:gd name="connsiteX0" fmla="*/ 101109 w 471222"/>
                <a:gd name="connsiteY0" fmla="*/ 608609 h 608608"/>
                <a:gd name="connsiteX1" fmla="*/ 40435 w 471222"/>
                <a:gd name="connsiteY1" fmla="*/ 14002 h 608608"/>
                <a:gd name="connsiteX2" fmla="*/ 471222 w 471222"/>
                <a:gd name="connsiteY2" fmla="*/ 411418 h 608608"/>
                <a:gd name="connsiteX3" fmla="*/ 101109 w 471222"/>
                <a:gd name="connsiteY3" fmla="*/ 608609 h 608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222" h="608608">
                  <a:moveTo>
                    <a:pt x="101109" y="608609"/>
                  </a:moveTo>
                  <a:cubicBezTo>
                    <a:pt x="101109" y="608609"/>
                    <a:pt x="-77880" y="101979"/>
                    <a:pt x="40435" y="14002"/>
                  </a:cubicBezTo>
                  <a:cubicBezTo>
                    <a:pt x="176952" y="-89144"/>
                    <a:pt x="471222" y="411418"/>
                    <a:pt x="471222" y="411418"/>
                  </a:cubicBezTo>
                  <a:cubicBezTo>
                    <a:pt x="471222" y="411418"/>
                    <a:pt x="310436" y="572204"/>
                    <a:pt x="101109" y="608609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B73BD935-937B-4F86-805C-A648EF77361D}"/>
                </a:ext>
              </a:extLst>
            </p:cNvPr>
            <p:cNvSpPr/>
            <p:nvPr/>
          </p:nvSpPr>
          <p:spPr>
            <a:xfrm>
              <a:off x="23462062" y="2455572"/>
              <a:ext cx="248764" cy="256965"/>
            </a:xfrm>
            <a:custGeom>
              <a:avLst/>
              <a:gdLst>
                <a:gd name="connsiteX0" fmla="*/ 248764 w 248764"/>
                <a:gd name="connsiteY0" fmla="*/ 39438 h 256965"/>
                <a:gd name="connsiteX1" fmla="*/ 242697 w 248764"/>
                <a:gd name="connsiteY1" fmla="*/ 212360 h 256965"/>
                <a:gd name="connsiteX2" fmla="*/ 0 w 248764"/>
                <a:gd name="connsiteY2" fmla="*/ 203258 h 256965"/>
                <a:gd name="connsiteX3" fmla="*/ 15169 w 248764"/>
                <a:gd name="connsiteY3" fmla="*/ 0 h 256965"/>
                <a:gd name="connsiteX4" fmla="*/ 248764 w 248764"/>
                <a:gd name="connsiteY4" fmla="*/ 39438 h 25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764" h="256965">
                  <a:moveTo>
                    <a:pt x="248764" y="39438"/>
                  </a:moveTo>
                  <a:cubicBezTo>
                    <a:pt x="248764" y="39438"/>
                    <a:pt x="242697" y="139551"/>
                    <a:pt x="242697" y="212360"/>
                  </a:cubicBezTo>
                  <a:cubicBezTo>
                    <a:pt x="242697" y="212360"/>
                    <a:pt x="148651" y="318539"/>
                    <a:pt x="0" y="203258"/>
                  </a:cubicBezTo>
                  <a:cubicBezTo>
                    <a:pt x="0" y="142584"/>
                    <a:pt x="12134" y="63708"/>
                    <a:pt x="15169" y="0"/>
                  </a:cubicBezTo>
                  <a:cubicBezTo>
                    <a:pt x="12134" y="0"/>
                    <a:pt x="194156" y="51573"/>
                    <a:pt x="248764" y="39438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D5E78A17-7A89-461B-B41D-0BC444071B8C}"/>
                </a:ext>
              </a:extLst>
            </p:cNvPr>
            <p:cNvSpPr/>
            <p:nvPr/>
          </p:nvSpPr>
          <p:spPr>
            <a:xfrm>
              <a:off x="23368016" y="2337257"/>
              <a:ext cx="69776" cy="136516"/>
            </a:xfrm>
            <a:custGeom>
              <a:avLst/>
              <a:gdLst>
                <a:gd name="connsiteX0" fmla="*/ 0 w 69776"/>
                <a:gd name="connsiteY0" fmla="*/ 0 h 136516"/>
                <a:gd name="connsiteX1" fmla="*/ 66742 w 69776"/>
                <a:gd name="connsiteY1" fmla="*/ 136517 h 136516"/>
                <a:gd name="connsiteX2" fmla="*/ 69777 w 69776"/>
                <a:gd name="connsiteY2" fmla="*/ 51573 h 136516"/>
                <a:gd name="connsiteX3" fmla="*/ 0 w 69776"/>
                <a:gd name="connsiteY3" fmla="*/ 0 h 13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76" h="136516">
                  <a:moveTo>
                    <a:pt x="0" y="0"/>
                  </a:moveTo>
                  <a:cubicBezTo>
                    <a:pt x="0" y="0"/>
                    <a:pt x="15169" y="118315"/>
                    <a:pt x="66742" y="136517"/>
                  </a:cubicBezTo>
                  <a:lnTo>
                    <a:pt x="69777" y="5157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6A3ED6F9-1DF3-4FE2-87C6-DD89E3DF3324}"/>
                </a:ext>
              </a:extLst>
            </p:cNvPr>
            <p:cNvSpPr/>
            <p:nvPr/>
          </p:nvSpPr>
          <p:spPr>
            <a:xfrm>
              <a:off x="23725546" y="2130965"/>
              <a:ext cx="102126" cy="236641"/>
            </a:xfrm>
            <a:custGeom>
              <a:avLst/>
              <a:gdLst>
                <a:gd name="connsiteX0" fmla="*/ 94494 w 102126"/>
                <a:gd name="connsiteY0" fmla="*/ 0 h 236641"/>
                <a:gd name="connsiteX1" fmla="*/ 55056 w 102126"/>
                <a:gd name="connsiteY1" fmla="*/ 233595 h 236641"/>
                <a:gd name="connsiteX2" fmla="*/ 450 w 102126"/>
                <a:gd name="connsiteY2" fmla="*/ 15169 h 236641"/>
                <a:gd name="connsiteX3" fmla="*/ 94494 w 102126"/>
                <a:gd name="connsiteY3" fmla="*/ 0 h 236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126" h="236641">
                  <a:moveTo>
                    <a:pt x="94494" y="0"/>
                  </a:moveTo>
                  <a:cubicBezTo>
                    <a:pt x="94494" y="0"/>
                    <a:pt x="127864" y="194157"/>
                    <a:pt x="55056" y="233595"/>
                  </a:cubicBezTo>
                  <a:cubicBezTo>
                    <a:pt x="-8653" y="266966"/>
                    <a:pt x="450" y="15169"/>
                    <a:pt x="450" y="15169"/>
                  </a:cubicBezTo>
                  <a:lnTo>
                    <a:pt x="94494" y="0"/>
                  </a:ln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19B79199-E685-4453-B38D-9B1AF855B20B}"/>
                </a:ext>
              </a:extLst>
            </p:cNvPr>
            <p:cNvSpPr/>
            <p:nvPr/>
          </p:nvSpPr>
          <p:spPr>
            <a:xfrm>
              <a:off x="23371051" y="1993541"/>
              <a:ext cx="421295" cy="565777"/>
            </a:xfrm>
            <a:custGeom>
              <a:avLst/>
              <a:gdLst>
                <a:gd name="connsiteX0" fmla="*/ 409551 w 421295"/>
                <a:gd name="connsiteY0" fmla="*/ 179896 h 565777"/>
                <a:gd name="connsiteX1" fmla="*/ 412584 w 421295"/>
                <a:gd name="connsiteY1" fmla="*/ 428660 h 565777"/>
                <a:gd name="connsiteX2" fmla="*/ 254830 w 421295"/>
                <a:gd name="connsiteY2" fmla="*/ 565177 h 565777"/>
                <a:gd name="connsiteX3" fmla="*/ 39438 w 421295"/>
                <a:gd name="connsiteY3" fmla="*/ 425626 h 565777"/>
                <a:gd name="connsiteX4" fmla="*/ 0 w 421295"/>
                <a:gd name="connsiteY4" fmla="*/ 201132 h 565777"/>
                <a:gd name="connsiteX5" fmla="*/ 209325 w 421295"/>
                <a:gd name="connsiteY5" fmla="*/ 907 h 565777"/>
                <a:gd name="connsiteX6" fmla="*/ 409551 w 421295"/>
                <a:gd name="connsiteY6" fmla="*/ 179896 h 565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295" h="565777">
                  <a:moveTo>
                    <a:pt x="409551" y="179896"/>
                  </a:moveTo>
                  <a:cubicBezTo>
                    <a:pt x="409551" y="179896"/>
                    <a:pt x="433820" y="355851"/>
                    <a:pt x="412584" y="428660"/>
                  </a:cubicBezTo>
                  <a:cubicBezTo>
                    <a:pt x="394382" y="495402"/>
                    <a:pt x="306404" y="559109"/>
                    <a:pt x="254830" y="565177"/>
                  </a:cubicBezTo>
                  <a:cubicBezTo>
                    <a:pt x="188090" y="571244"/>
                    <a:pt x="69775" y="531806"/>
                    <a:pt x="39438" y="425626"/>
                  </a:cubicBezTo>
                  <a:cubicBezTo>
                    <a:pt x="18202" y="352817"/>
                    <a:pt x="0" y="252705"/>
                    <a:pt x="0" y="201132"/>
                  </a:cubicBezTo>
                  <a:cubicBezTo>
                    <a:pt x="0" y="107087"/>
                    <a:pt x="27302" y="28210"/>
                    <a:pt x="209325" y="907"/>
                  </a:cubicBezTo>
                  <a:cubicBezTo>
                    <a:pt x="294270" y="-11228"/>
                    <a:pt x="388314" y="101019"/>
                    <a:pt x="409551" y="179896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0E50C0B0-BC57-4606-AABE-3ED34B18C475}"/>
                </a:ext>
              </a:extLst>
            </p:cNvPr>
            <p:cNvSpPr/>
            <p:nvPr/>
          </p:nvSpPr>
          <p:spPr>
            <a:xfrm>
              <a:off x="23598579" y="2252314"/>
              <a:ext cx="57639" cy="139550"/>
            </a:xfrm>
            <a:custGeom>
              <a:avLst/>
              <a:gdLst>
                <a:gd name="connsiteX0" fmla="*/ 27302 w 57639"/>
                <a:gd name="connsiteY0" fmla="*/ 139551 h 139550"/>
                <a:gd name="connsiteX1" fmla="*/ 6068 w 57639"/>
                <a:gd name="connsiteY1" fmla="*/ 136517 h 139550"/>
                <a:gd name="connsiteX2" fmla="*/ 0 w 57639"/>
                <a:gd name="connsiteY2" fmla="*/ 130449 h 139550"/>
                <a:gd name="connsiteX3" fmla="*/ 6068 w 57639"/>
                <a:gd name="connsiteY3" fmla="*/ 124382 h 139550"/>
                <a:gd name="connsiteX4" fmla="*/ 45506 w 57639"/>
                <a:gd name="connsiteY4" fmla="*/ 121348 h 139550"/>
                <a:gd name="connsiteX5" fmla="*/ 45506 w 57639"/>
                <a:gd name="connsiteY5" fmla="*/ 118315 h 139550"/>
                <a:gd name="connsiteX6" fmla="*/ 27302 w 57639"/>
                <a:gd name="connsiteY6" fmla="*/ 6067 h 139550"/>
                <a:gd name="connsiteX7" fmla="*/ 33370 w 57639"/>
                <a:gd name="connsiteY7" fmla="*/ 0 h 139550"/>
                <a:gd name="connsiteX8" fmla="*/ 39438 w 57639"/>
                <a:gd name="connsiteY8" fmla="*/ 6067 h 139550"/>
                <a:gd name="connsiteX9" fmla="*/ 57639 w 57639"/>
                <a:gd name="connsiteY9" fmla="*/ 118315 h 139550"/>
                <a:gd name="connsiteX10" fmla="*/ 51573 w 57639"/>
                <a:gd name="connsiteY10" fmla="*/ 130449 h 139550"/>
                <a:gd name="connsiteX11" fmla="*/ 27302 w 57639"/>
                <a:gd name="connsiteY11" fmla="*/ 139551 h 13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639" h="139550">
                  <a:moveTo>
                    <a:pt x="27302" y="139551"/>
                  </a:moveTo>
                  <a:cubicBezTo>
                    <a:pt x="18202" y="139551"/>
                    <a:pt x="9101" y="136517"/>
                    <a:pt x="6068" y="136517"/>
                  </a:cubicBezTo>
                  <a:cubicBezTo>
                    <a:pt x="3033" y="136517"/>
                    <a:pt x="0" y="133483"/>
                    <a:pt x="0" y="130449"/>
                  </a:cubicBezTo>
                  <a:cubicBezTo>
                    <a:pt x="0" y="127416"/>
                    <a:pt x="3033" y="124382"/>
                    <a:pt x="6068" y="124382"/>
                  </a:cubicBezTo>
                  <a:cubicBezTo>
                    <a:pt x="18202" y="127416"/>
                    <a:pt x="39438" y="127416"/>
                    <a:pt x="45506" y="121348"/>
                  </a:cubicBezTo>
                  <a:cubicBezTo>
                    <a:pt x="45506" y="121348"/>
                    <a:pt x="45506" y="118315"/>
                    <a:pt x="45506" y="118315"/>
                  </a:cubicBezTo>
                  <a:cubicBezTo>
                    <a:pt x="45506" y="100112"/>
                    <a:pt x="27302" y="9101"/>
                    <a:pt x="27302" y="6067"/>
                  </a:cubicBezTo>
                  <a:cubicBezTo>
                    <a:pt x="27302" y="3034"/>
                    <a:pt x="27302" y="0"/>
                    <a:pt x="33370" y="0"/>
                  </a:cubicBezTo>
                  <a:cubicBezTo>
                    <a:pt x="36405" y="0"/>
                    <a:pt x="39438" y="0"/>
                    <a:pt x="39438" y="6067"/>
                  </a:cubicBezTo>
                  <a:cubicBezTo>
                    <a:pt x="39438" y="9101"/>
                    <a:pt x="57639" y="100112"/>
                    <a:pt x="57639" y="118315"/>
                  </a:cubicBezTo>
                  <a:cubicBezTo>
                    <a:pt x="57639" y="124382"/>
                    <a:pt x="54606" y="127416"/>
                    <a:pt x="51573" y="130449"/>
                  </a:cubicBezTo>
                  <a:cubicBezTo>
                    <a:pt x="45506" y="139551"/>
                    <a:pt x="36405" y="139551"/>
                    <a:pt x="27302" y="139551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C0D20329-583F-40BA-9B13-4C4651744B58}"/>
                </a:ext>
              </a:extLst>
            </p:cNvPr>
            <p:cNvSpPr/>
            <p:nvPr/>
          </p:nvSpPr>
          <p:spPr>
            <a:xfrm>
              <a:off x="23685783" y="2233516"/>
              <a:ext cx="40807" cy="40628"/>
            </a:xfrm>
            <a:custGeom>
              <a:avLst/>
              <a:gdLst>
                <a:gd name="connsiteX0" fmla="*/ 773 w 40807"/>
                <a:gd name="connsiteY0" fmla="*/ 24865 h 40628"/>
                <a:gd name="connsiteX1" fmla="*/ 25044 w 40807"/>
                <a:gd name="connsiteY1" fmla="*/ 40033 h 40628"/>
                <a:gd name="connsiteX2" fmla="*/ 40212 w 40807"/>
                <a:gd name="connsiteY2" fmla="*/ 15764 h 40628"/>
                <a:gd name="connsiteX3" fmla="*/ 15941 w 40807"/>
                <a:gd name="connsiteY3" fmla="*/ 595 h 40628"/>
                <a:gd name="connsiteX4" fmla="*/ 773 w 40807"/>
                <a:gd name="connsiteY4" fmla="*/ 24865 h 4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07" h="40628">
                  <a:moveTo>
                    <a:pt x="773" y="24865"/>
                  </a:moveTo>
                  <a:cubicBezTo>
                    <a:pt x="3808" y="33966"/>
                    <a:pt x="12908" y="43067"/>
                    <a:pt x="25044" y="40033"/>
                  </a:cubicBezTo>
                  <a:cubicBezTo>
                    <a:pt x="34145" y="37000"/>
                    <a:pt x="43245" y="27898"/>
                    <a:pt x="40212" y="15764"/>
                  </a:cubicBezTo>
                  <a:cubicBezTo>
                    <a:pt x="37178" y="6663"/>
                    <a:pt x="28077" y="-2439"/>
                    <a:pt x="15941" y="595"/>
                  </a:cubicBezTo>
                  <a:cubicBezTo>
                    <a:pt x="3808" y="3629"/>
                    <a:pt x="-2260" y="12730"/>
                    <a:pt x="773" y="24865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73C5AADE-1DB9-4B85-8A66-73F33BDAD27E}"/>
                </a:ext>
              </a:extLst>
            </p:cNvPr>
            <p:cNvSpPr/>
            <p:nvPr/>
          </p:nvSpPr>
          <p:spPr>
            <a:xfrm>
              <a:off x="23503760" y="2251718"/>
              <a:ext cx="40807" cy="40628"/>
            </a:xfrm>
            <a:custGeom>
              <a:avLst/>
              <a:gdLst>
                <a:gd name="connsiteX0" fmla="*/ 773 w 40807"/>
                <a:gd name="connsiteY0" fmla="*/ 24865 h 40628"/>
                <a:gd name="connsiteX1" fmla="*/ 25044 w 40807"/>
                <a:gd name="connsiteY1" fmla="*/ 40033 h 40628"/>
                <a:gd name="connsiteX2" fmla="*/ 40212 w 40807"/>
                <a:gd name="connsiteY2" fmla="*/ 15764 h 40628"/>
                <a:gd name="connsiteX3" fmla="*/ 15941 w 40807"/>
                <a:gd name="connsiteY3" fmla="*/ 595 h 40628"/>
                <a:gd name="connsiteX4" fmla="*/ 773 w 40807"/>
                <a:gd name="connsiteY4" fmla="*/ 24865 h 4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07" h="40628">
                  <a:moveTo>
                    <a:pt x="773" y="24865"/>
                  </a:moveTo>
                  <a:cubicBezTo>
                    <a:pt x="3808" y="33966"/>
                    <a:pt x="12908" y="43067"/>
                    <a:pt x="25044" y="40033"/>
                  </a:cubicBezTo>
                  <a:cubicBezTo>
                    <a:pt x="34145" y="37000"/>
                    <a:pt x="43245" y="27898"/>
                    <a:pt x="40212" y="15764"/>
                  </a:cubicBezTo>
                  <a:cubicBezTo>
                    <a:pt x="37178" y="6662"/>
                    <a:pt x="28077" y="-2439"/>
                    <a:pt x="15941" y="595"/>
                  </a:cubicBezTo>
                  <a:cubicBezTo>
                    <a:pt x="3808" y="3629"/>
                    <a:pt x="-2260" y="15764"/>
                    <a:pt x="773" y="24865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2F18E1F4-F0CD-4909-93A4-45D6338F93A5}"/>
                </a:ext>
              </a:extLst>
            </p:cNvPr>
            <p:cNvSpPr/>
            <p:nvPr/>
          </p:nvSpPr>
          <p:spPr>
            <a:xfrm>
              <a:off x="23654962" y="2182538"/>
              <a:ext cx="91509" cy="33370"/>
            </a:xfrm>
            <a:custGeom>
              <a:avLst/>
              <a:gdLst>
                <a:gd name="connsiteX0" fmla="*/ 86202 w 91509"/>
                <a:gd name="connsiteY0" fmla="*/ 33371 h 33370"/>
                <a:gd name="connsiteX1" fmla="*/ 80134 w 91509"/>
                <a:gd name="connsiteY1" fmla="*/ 30337 h 33370"/>
                <a:gd name="connsiteX2" fmla="*/ 13392 w 91509"/>
                <a:gd name="connsiteY2" fmla="*/ 24270 h 33370"/>
                <a:gd name="connsiteX3" fmla="*/ 1256 w 91509"/>
                <a:gd name="connsiteY3" fmla="*/ 21236 h 33370"/>
                <a:gd name="connsiteX4" fmla="*/ 4291 w 91509"/>
                <a:gd name="connsiteY4" fmla="*/ 9101 h 33370"/>
                <a:gd name="connsiteX5" fmla="*/ 89235 w 91509"/>
                <a:gd name="connsiteY5" fmla="*/ 18202 h 33370"/>
                <a:gd name="connsiteX6" fmla="*/ 89235 w 91509"/>
                <a:gd name="connsiteY6" fmla="*/ 30337 h 33370"/>
                <a:gd name="connsiteX7" fmla="*/ 86202 w 91509"/>
                <a:gd name="connsiteY7" fmla="*/ 33371 h 3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3370">
                  <a:moveTo>
                    <a:pt x="86202" y="33371"/>
                  </a:moveTo>
                  <a:cubicBezTo>
                    <a:pt x="83167" y="33371"/>
                    <a:pt x="83167" y="33371"/>
                    <a:pt x="80134" y="30337"/>
                  </a:cubicBezTo>
                  <a:cubicBezTo>
                    <a:pt x="52830" y="3034"/>
                    <a:pt x="13392" y="24270"/>
                    <a:pt x="13392" y="24270"/>
                  </a:cubicBezTo>
                  <a:cubicBezTo>
                    <a:pt x="10359" y="27303"/>
                    <a:pt x="4291" y="24270"/>
                    <a:pt x="1256" y="21236"/>
                  </a:cubicBezTo>
                  <a:cubicBezTo>
                    <a:pt x="-1777" y="18202"/>
                    <a:pt x="1256" y="12135"/>
                    <a:pt x="4291" y="9101"/>
                  </a:cubicBezTo>
                  <a:cubicBezTo>
                    <a:pt x="22493" y="0"/>
                    <a:pt x="61930" y="-9101"/>
                    <a:pt x="89235" y="18202"/>
                  </a:cubicBezTo>
                  <a:cubicBezTo>
                    <a:pt x="92267" y="21236"/>
                    <a:pt x="92267" y="27303"/>
                    <a:pt x="89235" y="30337"/>
                  </a:cubicBezTo>
                  <a:cubicBezTo>
                    <a:pt x="89235" y="33371"/>
                    <a:pt x="89235" y="33371"/>
                    <a:pt x="86202" y="33371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A4D61086-E529-4130-8E9E-1DE073326E30}"/>
                </a:ext>
              </a:extLst>
            </p:cNvPr>
            <p:cNvSpPr/>
            <p:nvPr/>
          </p:nvSpPr>
          <p:spPr>
            <a:xfrm>
              <a:off x="23468888" y="2185881"/>
              <a:ext cx="91509" cy="36095"/>
            </a:xfrm>
            <a:custGeom>
              <a:avLst/>
              <a:gdLst>
                <a:gd name="connsiteX0" fmla="*/ 8343 w 91509"/>
                <a:gd name="connsiteY0" fmla="*/ 36096 h 36095"/>
                <a:gd name="connsiteX1" fmla="*/ 2275 w 91509"/>
                <a:gd name="connsiteY1" fmla="*/ 33062 h 36095"/>
                <a:gd name="connsiteX2" fmla="*/ 2275 w 91509"/>
                <a:gd name="connsiteY2" fmla="*/ 20927 h 36095"/>
                <a:gd name="connsiteX3" fmla="*/ 87218 w 91509"/>
                <a:gd name="connsiteY3" fmla="*/ 11826 h 36095"/>
                <a:gd name="connsiteX4" fmla="*/ 90253 w 91509"/>
                <a:gd name="connsiteY4" fmla="*/ 23961 h 36095"/>
                <a:gd name="connsiteX5" fmla="*/ 78117 w 91509"/>
                <a:gd name="connsiteY5" fmla="*/ 26995 h 36095"/>
                <a:gd name="connsiteX6" fmla="*/ 11375 w 91509"/>
                <a:gd name="connsiteY6" fmla="*/ 33062 h 36095"/>
                <a:gd name="connsiteX7" fmla="*/ 8343 w 91509"/>
                <a:gd name="connsiteY7" fmla="*/ 36096 h 36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6095">
                  <a:moveTo>
                    <a:pt x="8343" y="36096"/>
                  </a:moveTo>
                  <a:cubicBezTo>
                    <a:pt x="5308" y="36096"/>
                    <a:pt x="5308" y="36096"/>
                    <a:pt x="2275" y="33062"/>
                  </a:cubicBezTo>
                  <a:cubicBezTo>
                    <a:pt x="-758" y="30028"/>
                    <a:pt x="-758" y="23961"/>
                    <a:pt x="2275" y="20927"/>
                  </a:cubicBezTo>
                  <a:cubicBezTo>
                    <a:pt x="14410" y="5759"/>
                    <a:pt x="50813" y="-12444"/>
                    <a:pt x="87218" y="11826"/>
                  </a:cubicBezTo>
                  <a:cubicBezTo>
                    <a:pt x="90253" y="14860"/>
                    <a:pt x="93286" y="17894"/>
                    <a:pt x="90253" y="23961"/>
                  </a:cubicBezTo>
                  <a:cubicBezTo>
                    <a:pt x="87218" y="26995"/>
                    <a:pt x="84185" y="30028"/>
                    <a:pt x="78117" y="26995"/>
                  </a:cubicBezTo>
                  <a:cubicBezTo>
                    <a:pt x="41713" y="2725"/>
                    <a:pt x="14410" y="33062"/>
                    <a:pt x="11375" y="33062"/>
                  </a:cubicBezTo>
                  <a:cubicBezTo>
                    <a:pt x="11375" y="36096"/>
                    <a:pt x="8343" y="36096"/>
                    <a:pt x="8343" y="36096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C3E55A30-F78D-438B-8051-CC0DF0FFE0EF}"/>
                </a:ext>
              </a:extLst>
            </p:cNvPr>
            <p:cNvSpPr/>
            <p:nvPr/>
          </p:nvSpPr>
          <p:spPr>
            <a:xfrm>
              <a:off x="23462062" y="2501078"/>
              <a:ext cx="229802" cy="63707"/>
            </a:xfrm>
            <a:custGeom>
              <a:avLst/>
              <a:gdLst>
                <a:gd name="connsiteX0" fmla="*/ 148651 w 229802"/>
                <a:gd name="connsiteY0" fmla="*/ 63708 h 63707"/>
                <a:gd name="connsiteX1" fmla="*/ 3033 w 229802"/>
                <a:gd name="connsiteY1" fmla="*/ 12135 h 63707"/>
                <a:gd name="connsiteX2" fmla="*/ 0 w 229802"/>
                <a:gd name="connsiteY2" fmla="*/ 3034 h 63707"/>
                <a:gd name="connsiteX3" fmla="*/ 9101 w 229802"/>
                <a:gd name="connsiteY3" fmla="*/ 0 h 63707"/>
                <a:gd name="connsiteX4" fmla="*/ 148651 w 229802"/>
                <a:gd name="connsiteY4" fmla="*/ 48539 h 63707"/>
                <a:gd name="connsiteX5" fmla="*/ 148651 w 229802"/>
                <a:gd name="connsiteY5" fmla="*/ 48539 h 63707"/>
                <a:gd name="connsiteX6" fmla="*/ 218427 w 229802"/>
                <a:gd name="connsiteY6" fmla="*/ 24270 h 63707"/>
                <a:gd name="connsiteX7" fmla="*/ 227528 w 229802"/>
                <a:gd name="connsiteY7" fmla="*/ 24270 h 63707"/>
                <a:gd name="connsiteX8" fmla="*/ 227528 w 229802"/>
                <a:gd name="connsiteY8" fmla="*/ 33371 h 63707"/>
                <a:gd name="connsiteX9" fmla="*/ 148651 w 229802"/>
                <a:gd name="connsiteY9" fmla="*/ 63708 h 63707"/>
                <a:gd name="connsiteX10" fmla="*/ 148651 w 229802"/>
                <a:gd name="connsiteY10" fmla="*/ 63708 h 6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9802" h="63707">
                  <a:moveTo>
                    <a:pt x="148651" y="63708"/>
                  </a:moveTo>
                  <a:cubicBezTo>
                    <a:pt x="97079" y="63708"/>
                    <a:pt x="9101" y="15169"/>
                    <a:pt x="3033" y="12135"/>
                  </a:cubicBezTo>
                  <a:cubicBezTo>
                    <a:pt x="0" y="9101"/>
                    <a:pt x="0" y="6067"/>
                    <a:pt x="0" y="3034"/>
                  </a:cubicBezTo>
                  <a:cubicBezTo>
                    <a:pt x="3033" y="0"/>
                    <a:pt x="6068" y="0"/>
                    <a:pt x="9101" y="0"/>
                  </a:cubicBezTo>
                  <a:cubicBezTo>
                    <a:pt x="9101" y="0"/>
                    <a:pt x="100112" y="48539"/>
                    <a:pt x="148651" y="48539"/>
                  </a:cubicBezTo>
                  <a:cubicBezTo>
                    <a:pt x="148651" y="48539"/>
                    <a:pt x="148651" y="48539"/>
                    <a:pt x="148651" y="48539"/>
                  </a:cubicBezTo>
                  <a:cubicBezTo>
                    <a:pt x="188090" y="48539"/>
                    <a:pt x="218427" y="24270"/>
                    <a:pt x="218427" y="24270"/>
                  </a:cubicBezTo>
                  <a:cubicBezTo>
                    <a:pt x="221460" y="21236"/>
                    <a:pt x="224493" y="21236"/>
                    <a:pt x="227528" y="24270"/>
                  </a:cubicBezTo>
                  <a:cubicBezTo>
                    <a:pt x="230561" y="27303"/>
                    <a:pt x="230561" y="30337"/>
                    <a:pt x="227528" y="33371"/>
                  </a:cubicBezTo>
                  <a:cubicBezTo>
                    <a:pt x="227528" y="36405"/>
                    <a:pt x="194156" y="63708"/>
                    <a:pt x="148651" y="63708"/>
                  </a:cubicBezTo>
                  <a:cubicBezTo>
                    <a:pt x="151685" y="63708"/>
                    <a:pt x="148651" y="63708"/>
                    <a:pt x="148651" y="63708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E47C1F7E-7596-41A4-9644-CCDDCD6729BC}"/>
                </a:ext>
              </a:extLst>
            </p:cNvPr>
            <p:cNvSpPr/>
            <p:nvPr/>
          </p:nvSpPr>
          <p:spPr>
            <a:xfrm>
              <a:off x="23331297" y="2018718"/>
              <a:ext cx="112561" cy="266966"/>
            </a:xfrm>
            <a:custGeom>
              <a:avLst/>
              <a:gdLst>
                <a:gd name="connsiteX0" fmla="*/ 112562 w 112561"/>
                <a:gd name="connsiteY0" fmla="*/ 127416 h 266966"/>
                <a:gd name="connsiteX1" fmla="*/ 64023 w 112561"/>
                <a:gd name="connsiteY1" fmla="*/ 266966 h 266966"/>
                <a:gd name="connsiteX2" fmla="*/ 6382 w 112561"/>
                <a:gd name="connsiteY2" fmla="*/ 166854 h 266966"/>
                <a:gd name="connsiteX3" fmla="*/ 64023 w 112561"/>
                <a:gd name="connsiteY3" fmla="*/ 0 h 266966"/>
                <a:gd name="connsiteX4" fmla="*/ 112562 w 112561"/>
                <a:gd name="connsiteY4" fmla="*/ 127416 h 266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561" h="266966">
                  <a:moveTo>
                    <a:pt x="112562" y="127416"/>
                  </a:moveTo>
                  <a:cubicBezTo>
                    <a:pt x="112562" y="127416"/>
                    <a:pt x="57955" y="236629"/>
                    <a:pt x="64023" y="266966"/>
                  </a:cubicBezTo>
                  <a:cubicBezTo>
                    <a:pt x="64023" y="266966"/>
                    <a:pt x="21550" y="221461"/>
                    <a:pt x="6382" y="166854"/>
                  </a:cubicBezTo>
                  <a:cubicBezTo>
                    <a:pt x="-8787" y="109213"/>
                    <a:pt x="316" y="15169"/>
                    <a:pt x="64023" y="0"/>
                  </a:cubicBezTo>
                  <a:cubicBezTo>
                    <a:pt x="64023" y="0"/>
                    <a:pt x="73124" y="106180"/>
                    <a:pt x="112562" y="127416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A83F5E7F-A40E-4B77-B3CF-AA5195379BD2}"/>
                </a:ext>
              </a:extLst>
            </p:cNvPr>
            <p:cNvSpPr/>
            <p:nvPr/>
          </p:nvSpPr>
          <p:spPr>
            <a:xfrm>
              <a:off x="23385422" y="1903966"/>
              <a:ext cx="435221" cy="348347"/>
            </a:xfrm>
            <a:custGeom>
              <a:avLst/>
              <a:gdLst>
                <a:gd name="connsiteX0" fmla="*/ 58437 w 435221"/>
                <a:gd name="connsiteY0" fmla="*/ 242168 h 348347"/>
                <a:gd name="connsiteX1" fmla="*/ 179786 w 435221"/>
                <a:gd name="connsiteY1" fmla="*/ 202730 h 348347"/>
                <a:gd name="connsiteX2" fmla="*/ 419449 w 435221"/>
                <a:gd name="connsiteY2" fmla="*/ 348348 h 348347"/>
                <a:gd name="connsiteX3" fmla="*/ 422482 w 435221"/>
                <a:gd name="connsiteY3" fmla="*/ 181494 h 348347"/>
                <a:gd name="connsiteX4" fmla="*/ 331471 w 435221"/>
                <a:gd name="connsiteY4" fmla="*/ 32842 h 348347"/>
                <a:gd name="connsiteX5" fmla="*/ 131247 w 435221"/>
                <a:gd name="connsiteY5" fmla="*/ 17674 h 348347"/>
                <a:gd name="connsiteX6" fmla="*/ 9899 w 435221"/>
                <a:gd name="connsiteY6" fmla="*/ 111719 h 348347"/>
                <a:gd name="connsiteX7" fmla="*/ 58437 w 435221"/>
                <a:gd name="connsiteY7" fmla="*/ 242168 h 348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5221" h="348347">
                  <a:moveTo>
                    <a:pt x="58437" y="242168"/>
                  </a:moveTo>
                  <a:cubicBezTo>
                    <a:pt x="58437" y="242168"/>
                    <a:pt x="152483" y="202730"/>
                    <a:pt x="179786" y="202730"/>
                  </a:cubicBezTo>
                  <a:cubicBezTo>
                    <a:pt x="279899" y="205764"/>
                    <a:pt x="434618" y="275539"/>
                    <a:pt x="419449" y="348348"/>
                  </a:cubicBezTo>
                  <a:cubicBezTo>
                    <a:pt x="419449" y="348348"/>
                    <a:pt x="452819" y="245202"/>
                    <a:pt x="422482" y="181494"/>
                  </a:cubicBezTo>
                  <a:cubicBezTo>
                    <a:pt x="422482" y="181494"/>
                    <a:pt x="422482" y="57112"/>
                    <a:pt x="331471" y="32842"/>
                  </a:cubicBezTo>
                  <a:cubicBezTo>
                    <a:pt x="240460" y="8573"/>
                    <a:pt x="201022" y="-18731"/>
                    <a:pt x="131247" y="17674"/>
                  </a:cubicBezTo>
                  <a:cubicBezTo>
                    <a:pt x="61472" y="57112"/>
                    <a:pt x="15966" y="75314"/>
                    <a:pt x="9899" y="111719"/>
                  </a:cubicBezTo>
                  <a:cubicBezTo>
                    <a:pt x="9899" y="114752"/>
                    <a:pt x="-32574" y="230033"/>
                    <a:pt x="58437" y="242168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CE214901-D69E-4190-B714-47BC7CA93F77}"/>
                </a:ext>
              </a:extLst>
            </p:cNvPr>
            <p:cNvSpPr/>
            <p:nvPr/>
          </p:nvSpPr>
          <p:spPr>
            <a:xfrm>
              <a:off x="23049477" y="2619392"/>
              <a:ext cx="1029960" cy="1530148"/>
            </a:xfrm>
            <a:custGeom>
              <a:avLst/>
              <a:gdLst>
                <a:gd name="connsiteX0" fmla="*/ 394382 w 1029960"/>
                <a:gd name="connsiteY0" fmla="*/ 0 h 1530148"/>
                <a:gd name="connsiteX1" fmla="*/ 682584 w 1029960"/>
                <a:gd name="connsiteY1" fmla="*/ 0 h 1530148"/>
                <a:gd name="connsiteX2" fmla="*/ 979889 w 1029960"/>
                <a:gd name="connsiteY2" fmla="*/ 130449 h 1530148"/>
                <a:gd name="connsiteX3" fmla="*/ 1028428 w 1029960"/>
                <a:gd name="connsiteY3" fmla="*/ 1525955 h 1530148"/>
                <a:gd name="connsiteX4" fmla="*/ 0 w 1029960"/>
                <a:gd name="connsiteY4" fmla="*/ 1504719 h 1530148"/>
                <a:gd name="connsiteX5" fmla="*/ 115282 w 1029960"/>
                <a:gd name="connsiteY5" fmla="*/ 103146 h 1530148"/>
                <a:gd name="connsiteX6" fmla="*/ 394382 w 1029960"/>
                <a:gd name="connsiteY6" fmla="*/ 0 h 1530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9960" h="1530148">
                  <a:moveTo>
                    <a:pt x="394382" y="0"/>
                  </a:moveTo>
                  <a:cubicBezTo>
                    <a:pt x="394382" y="0"/>
                    <a:pt x="567304" y="54607"/>
                    <a:pt x="682584" y="0"/>
                  </a:cubicBezTo>
                  <a:cubicBezTo>
                    <a:pt x="682584" y="0"/>
                    <a:pt x="955618" y="97079"/>
                    <a:pt x="979889" y="130449"/>
                  </a:cubicBezTo>
                  <a:cubicBezTo>
                    <a:pt x="1004158" y="160787"/>
                    <a:pt x="1037529" y="1459214"/>
                    <a:pt x="1028428" y="1525955"/>
                  </a:cubicBezTo>
                  <a:cubicBezTo>
                    <a:pt x="1028428" y="1525955"/>
                    <a:pt x="591573" y="1544157"/>
                    <a:pt x="0" y="1504719"/>
                  </a:cubicBezTo>
                  <a:cubicBezTo>
                    <a:pt x="0" y="1149775"/>
                    <a:pt x="72810" y="133483"/>
                    <a:pt x="115282" y="103146"/>
                  </a:cubicBezTo>
                  <a:cubicBezTo>
                    <a:pt x="154720" y="69775"/>
                    <a:pt x="394382" y="0"/>
                    <a:pt x="394382" y="0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AFAA0C85-EB03-4468-908B-4437E0E49B58}"/>
                </a:ext>
              </a:extLst>
            </p:cNvPr>
            <p:cNvSpPr/>
            <p:nvPr/>
          </p:nvSpPr>
          <p:spPr>
            <a:xfrm>
              <a:off x="24020264" y="2743774"/>
              <a:ext cx="43728" cy="573370"/>
            </a:xfrm>
            <a:custGeom>
              <a:avLst/>
              <a:gdLst>
                <a:gd name="connsiteX0" fmla="*/ 39440 w 43728"/>
                <a:gd name="connsiteY0" fmla="*/ 573371 h 573370"/>
                <a:gd name="connsiteX1" fmla="*/ 33372 w 43728"/>
                <a:gd name="connsiteY1" fmla="*/ 567303 h 573370"/>
                <a:gd name="connsiteX2" fmla="*/ 0 w 43728"/>
                <a:gd name="connsiteY2" fmla="*/ 6067 h 573370"/>
                <a:gd name="connsiteX3" fmla="*/ 3035 w 43728"/>
                <a:gd name="connsiteY3" fmla="*/ 0 h 573370"/>
                <a:gd name="connsiteX4" fmla="*/ 9103 w 43728"/>
                <a:gd name="connsiteY4" fmla="*/ 3034 h 573370"/>
                <a:gd name="connsiteX5" fmla="*/ 42473 w 43728"/>
                <a:gd name="connsiteY5" fmla="*/ 564270 h 573370"/>
                <a:gd name="connsiteX6" fmla="*/ 39440 w 43728"/>
                <a:gd name="connsiteY6" fmla="*/ 573371 h 573370"/>
                <a:gd name="connsiteX7" fmla="*/ 39440 w 43728"/>
                <a:gd name="connsiteY7" fmla="*/ 573371 h 57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728" h="573370">
                  <a:moveTo>
                    <a:pt x="39440" y="573371"/>
                  </a:moveTo>
                  <a:cubicBezTo>
                    <a:pt x="36405" y="573371"/>
                    <a:pt x="33372" y="570337"/>
                    <a:pt x="33372" y="567303"/>
                  </a:cubicBezTo>
                  <a:cubicBezTo>
                    <a:pt x="33372" y="561236"/>
                    <a:pt x="9103" y="45506"/>
                    <a:pt x="0" y="6067"/>
                  </a:cubicBezTo>
                  <a:cubicBezTo>
                    <a:pt x="0" y="3034"/>
                    <a:pt x="0" y="0"/>
                    <a:pt x="3035" y="0"/>
                  </a:cubicBezTo>
                  <a:cubicBezTo>
                    <a:pt x="6068" y="0"/>
                    <a:pt x="9103" y="0"/>
                    <a:pt x="9103" y="3034"/>
                  </a:cubicBezTo>
                  <a:cubicBezTo>
                    <a:pt x="18203" y="42472"/>
                    <a:pt x="42473" y="543034"/>
                    <a:pt x="42473" y="564270"/>
                  </a:cubicBezTo>
                  <a:cubicBezTo>
                    <a:pt x="45506" y="570337"/>
                    <a:pt x="42473" y="573371"/>
                    <a:pt x="39440" y="573371"/>
                  </a:cubicBezTo>
                  <a:cubicBezTo>
                    <a:pt x="39440" y="573371"/>
                    <a:pt x="39440" y="573371"/>
                    <a:pt x="39440" y="573371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FD33D91B-BCB4-468C-B753-1B158DD8D32B}"/>
                </a:ext>
              </a:extLst>
            </p:cNvPr>
            <p:cNvSpPr/>
            <p:nvPr/>
          </p:nvSpPr>
          <p:spPr>
            <a:xfrm>
              <a:off x="23330567" y="2252124"/>
              <a:ext cx="78236" cy="109956"/>
            </a:xfrm>
            <a:custGeom>
              <a:avLst/>
              <a:gdLst>
                <a:gd name="connsiteX0" fmla="*/ 64754 w 78236"/>
                <a:gd name="connsiteY0" fmla="*/ 15358 h 109956"/>
                <a:gd name="connsiteX1" fmla="*/ 7113 w 78236"/>
                <a:gd name="connsiteY1" fmla="*/ 6257 h 109956"/>
                <a:gd name="connsiteX2" fmla="*/ 64754 w 78236"/>
                <a:gd name="connsiteY2" fmla="*/ 106369 h 109956"/>
                <a:gd name="connsiteX3" fmla="*/ 64754 w 78236"/>
                <a:gd name="connsiteY3" fmla="*/ 15358 h 109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36" h="109956">
                  <a:moveTo>
                    <a:pt x="64754" y="15358"/>
                  </a:moveTo>
                  <a:cubicBezTo>
                    <a:pt x="64754" y="15358"/>
                    <a:pt x="31384" y="-11945"/>
                    <a:pt x="7113" y="6257"/>
                  </a:cubicBezTo>
                  <a:cubicBezTo>
                    <a:pt x="-17157" y="24459"/>
                    <a:pt x="25316" y="130639"/>
                    <a:pt x="64754" y="106369"/>
                  </a:cubicBezTo>
                  <a:cubicBezTo>
                    <a:pt x="95091" y="91201"/>
                    <a:pt x="64754" y="15358"/>
                    <a:pt x="64754" y="15358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8" name="图形 1">
              <a:extLst>
                <a:ext uri="{FF2B5EF4-FFF2-40B4-BE49-F238E27FC236}">
                  <a16:creationId xmlns:a16="http://schemas.microsoft.com/office/drawing/2014/main" id="{72A7B64A-50DD-4D6F-99E2-9D20EADF77DF}"/>
                </a:ext>
              </a:extLst>
            </p:cNvPr>
            <p:cNvGrpSpPr/>
            <p:nvPr/>
          </p:nvGrpSpPr>
          <p:grpSpPr>
            <a:xfrm>
              <a:off x="23310377" y="1830264"/>
              <a:ext cx="591573" cy="336930"/>
              <a:chOff x="23310377" y="1830264"/>
              <a:chExt cx="591573" cy="336930"/>
            </a:xfrm>
          </p:grpSpPr>
          <p:grpSp>
            <p:nvGrpSpPr>
              <p:cNvPr id="161" name="图形 1">
                <a:extLst>
                  <a:ext uri="{FF2B5EF4-FFF2-40B4-BE49-F238E27FC236}">
                    <a16:creationId xmlns:a16="http://schemas.microsoft.com/office/drawing/2014/main" id="{20E7FDD6-8293-45AF-BC08-7E34F6194406}"/>
                  </a:ext>
                </a:extLst>
              </p:cNvPr>
              <p:cNvGrpSpPr/>
              <p:nvPr/>
            </p:nvGrpSpPr>
            <p:grpSpPr>
              <a:xfrm>
                <a:off x="23316442" y="1838865"/>
                <a:ext cx="585507" cy="328330"/>
                <a:chOff x="23316442" y="1838865"/>
                <a:chExt cx="585507" cy="328330"/>
              </a:xfrm>
              <a:solidFill>
                <a:srgbClr val="D16156"/>
              </a:solidFill>
            </p:grpSpPr>
            <p:sp>
              <p:nvSpPr>
                <p:cNvPr id="164" name="任意多边形: 形状 163">
                  <a:extLst>
                    <a:ext uri="{FF2B5EF4-FFF2-40B4-BE49-F238E27FC236}">
                      <a16:creationId xmlns:a16="http://schemas.microsoft.com/office/drawing/2014/main" id="{8A179C98-BDA0-4382-A4AC-DDCF3F2DDA7C}"/>
                    </a:ext>
                  </a:extLst>
                </p:cNvPr>
                <p:cNvSpPr/>
                <p:nvPr/>
              </p:nvSpPr>
              <p:spPr>
                <a:xfrm>
                  <a:off x="23316442" y="1838865"/>
                  <a:ext cx="497529" cy="275549"/>
                </a:xfrm>
                <a:custGeom>
                  <a:avLst/>
                  <a:gdLst>
                    <a:gd name="connsiteX0" fmla="*/ 497529 w 497529"/>
                    <a:gd name="connsiteY0" fmla="*/ 198055 h 275549"/>
                    <a:gd name="connsiteX1" fmla="*/ 212362 w 497529"/>
                    <a:gd name="connsiteY1" fmla="*/ 3898 h 275549"/>
                    <a:gd name="connsiteX2" fmla="*/ 2 w 497529"/>
                    <a:gd name="connsiteY2" fmla="*/ 261763 h 275549"/>
                    <a:gd name="connsiteX3" fmla="*/ 400450 w 497529"/>
                    <a:gd name="connsiteY3" fmla="*/ 252662 h 275549"/>
                    <a:gd name="connsiteX4" fmla="*/ 497529 w 497529"/>
                    <a:gd name="connsiteY4" fmla="*/ 198055 h 2755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7529" h="275549">
                      <a:moveTo>
                        <a:pt x="497529" y="198055"/>
                      </a:moveTo>
                      <a:cubicBezTo>
                        <a:pt x="497529" y="198055"/>
                        <a:pt x="455058" y="-32506"/>
                        <a:pt x="212362" y="3898"/>
                      </a:cubicBezTo>
                      <a:cubicBezTo>
                        <a:pt x="-3033" y="37269"/>
                        <a:pt x="2" y="261763"/>
                        <a:pt x="2" y="261763"/>
                      </a:cubicBezTo>
                      <a:cubicBezTo>
                        <a:pt x="2" y="261763"/>
                        <a:pt x="245732" y="298168"/>
                        <a:pt x="400450" y="252662"/>
                      </a:cubicBezTo>
                      <a:cubicBezTo>
                        <a:pt x="442923" y="240527"/>
                        <a:pt x="476293" y="222325"/>
                        <a:pt x="497529" y="198055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5" name="任意多边形: 形状 164">
                  <a:extLst>
                    <a:ext uri="{FF2B5EF4-FFF2-40B4-BE49-F238E27FC236}">
                      <a16:creationId xmlns:a16="http://schemas.microsoft.com/office/drawing/2014/main" id="{73334161-F11F-4D7A-B0AF-5298E886A620}"/>
                    </a:ext>
                  </a:extLst>
                </p:cNvPr>
                <p:cNvSpPr/>
                <p:nvPr/>
              </p:nvSpPr>
              <p:spPr>
                <a:xfrm>
                  <a:off x="23316445" y="2036920"/>
                  <a:ext cx="585505" cy="130274"/>
                </a:xfrm>
                <a:custGeom>
                  <a:avLst/>
                  <a:gdLst>
                    <a:gd name="connsiteX0" fmla="*/ 0 w 585505"/>
                    <a:gd name="connsiteY0" fmla="*/ 66742 h 130274"/>
                    <a:gd name="connsiteX1" fmla="*/ 18202 w 585505"/>
                    <a:gd name="connsiteY1" fmla="*/ 84944 h 130274"/>
                    <a:gd name="connsiteX2" fmla="*/ 254830 w 585505"/>
                    <a:gd name="connsiteY2" fmla="*/ 127416 h 130274"/>
                    <a:gd name="connsiteX3" fmla="*/ 585505 w 585505"/>
                    <a:gd name="connsiteY3" fmla="*/ 60674 h 130274"/>
                    <a:gd name="connsiteX4" fmla="*/ 497527 w 585505"/>
                    <a:gd name="connsiteY4" fmla="*/ 0 h 130274"/>
                    <a:gd name="connsiteX5" fmla="*/ 0 w 585505"/>
                    <a:gd name="connsiteY5" fmla="*/ 63708 h 130274"/>
                    <a:gd name="connsiteX6" fmla="*/ 0 w 585505"/>
                    <a:gd name="connsiteY6" fmla="*/ 66742 h 130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85505" h="130274">
                      <a:moveTo>
                        <a:pt x="0" y="66742"/>
                      </a:moveTo>
                      <a:cubicBezTo>
                        <a:pt x="0" y="75843"/>
                        <a:pt x="9101" y="81910"/>
                        <a:pt x="18202" y="84944"/>
                      </a:cubicBezTo>
                      <a:cubicBezTo>
                        <a:pt x="78876" y="112247"/>
                        <a:pt x="191123" y="121348"/>
                        <a:pt x="254830" y="127416"/>
                      </a:cubicBezTo>
                      <a:cubicBezTo>
                        <a:pt x="452021" y="142584"/>
                        <a:pt x="585505" y="94045"/>
                        <a:pt x="585505" y="60674"/>
                      </a:cubicBezTo>
                      <a:cubicBezTo>
                        <a:pt x="585505" y="27303"/>
                        <a:pt x="497527" y="0"/>
                        <a:pt x="497527" y="0"/>
                      </a:cubicBezTo>
                      <a:cubicBezTo>
                        <a:pt x="497527" y="0"/>
                        <a:pt x="442921" y="57640"/>
                        <a:pt x="0" y="63708"/>
                      </a:cubicBezTo>
                      <a:lnTo>
                        <a:pt x="0" y="66742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24D776C9-3D21-476E-AD40-52947FFB0B03}"/>
                  </a:ext>
                </a:extLst>
              </p:cNvPr>
              <p:cNvSpPr/>
              <p:nvPr/>
            </p:nvSpPr>
            <p:spPr>
              <a:xfrm>
                <a:off x="23310377" y="2030853"/>
                <a:ext cx="509662" cy="75842"/>
              </a:xfrm>
              <a:custGeom>
                <a:avLst/>
                <a:gdLst>
                  <a:gd name="connsiteX0" fmla="*/ 6068 w 509662"/>
                  <a:gd name="connsiteY0" fmla="*/ 75843 h 75842"/>
                  <a:gd name="connsiteX1" fmla="*/ 0 w 509662"/>
                  <a:gd name="connsiteY1" fmla="*/ 69775 h 75842"/>
                  <a:gd name="connsiteX2" fmla="*/ 6068 w 509662"/>
                  <a:gd name="connsiteY2" fmla="*/ 63708 h 75842"/>
                  <a:gd name="connsiteX3" fmla="*/ 500562 w 509662"/>
                  <a:gd name="connsiteY3" fmla="*/ 3034 h 75842"/>
                  <a:gd name="connsiteX4" fmla="*/ 506630 w 509662"/>
                  <a:gd name="connsiteY4" fmla="*/ 0 h 75842"/>
                  <a:gd name="connsiteX5" fmla="*/ 509663 w 509662"/>
                  <a:gd name="connsiteY5" fmla="*/ 9101 h 75842"/>
                  <a:gd name="connsiteX6" fmla="*/ 6068 w 509662"/>
                  <a:gd name="connsiteY6" fmla="*/ 75843 h 75842"/>
                  <a:gd name="connsiteX7" fmla="*/ 6068 w 509662"/>
                  <a:gd name="connsiteY7" fmla="*/ 75843 h 75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9662" h="75842">
                    <a:moveTo>
                      <a:pt x="6068" y="75843"/>
                    </a:moveTo>
                    <a:cubicBezTo>
                      <a:pt x="3033" y="75843"/>
                      <a:pt x="0" y="72809"/>
                      <a:pt x="0" y="69775"/>
                    </a:cubicBezTo>
                    <a:cubicBezTo>
                      <a:pt x="0" y="66742"/>
                      <a:pt x="3033" y="63708"/>
                      <a:pt x="6068" y="63708"/>
                    </a:cubicBezTo>
                    <a:cubicBezTo>
                      <a:pt x="458089" y="45506"/>
                      <a:pt x="497527" y="3034"/>
                      <a:pt x="500562" y="3034"/>
                    </a:cubicBezTo>
                    <a:cubicBezTo>
                      <a:pt x="500562" y="0"/>
                      <a:pt x="506630" y="0"/>
                      <a:pt x="506630" y="0"/>
                    </a:cubicBezTo>
                    <a:cubicBezTo>
                      <a:pt x="509663" y="0"/>
                      <a:pt x="509663" y="6067"/>
                      <a:pt x="509663" y="9101"/>
                    </a:cubicBezTo>
                    <a:cubicBezTo>
                      <a:pt x="506630" y="12135"/>
                      <a:pt x="470225" y="54607"/>
                      <a:pt x="6068" y="75843"/>
                    </a:cubicBezTo>
                    <a:lnTo>
                      <a:pt x="6068" y="75843"/>
                    </a:ln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EF845418-E189-4A8B-9E16-5AC1E6FA621B}"/>
                  </a:ext>
                </a:extLst>
              </p:cNvPr>
              <p:cNvSpPr/>
              <p:nvPr/>
            </p:nvSpPr>
            <p:spPr>
              <a:xfrm>
                <a:off x="23419590" y="1830264"/>
                <a:ext cx="306405" cy="258229"/>
              </a:xfrm>
              <a:custGeom>
                <a:avLst/>
                <a:gdLst>
                  <a:gd name="connsiteX0" fmla="*/ 151685 w 306405"/>
                  <a:gd name="connsiteY0" fmla="*/ 258229 h 258229"/>
                  <a:gd name="connsiteX1" fmla="*/ 145618 w 306405"/>
                  <a:gd name="connsiteY1" fmla="*/ 252162 h 258229"/>
                  <a:gd name="connsiteX2" fmla="*/ 3035 w 306405"/>
                  <a:gd name="connsiteY2" fmla="*/ 54971 h 258229"/>
                  <a:gd name="connsiteX3" fmla="*/ 0 w 306405"/>
                  <a:gd name="connsiteY3" fmla="*/ 51937 h 258229"/>
                  <a:gd name="connsiteX4" fmla="*/ 3035 w 306405"/>
                  <a:gd name="connsiteY4" fmla="*/ 45870 h 258229"/>
                  <a:gd name="connsiteX5" fmla="*/ 203259 w 306405"/>
                  <a:gd name="connsiteY5" fmla="*/ 3398 h 258229"/>
                  <a:gd name="connsiteX6" fmla="*/ 206292 w 306405"/>
                  <a:gd name="connsiteY6" fmla="*/ 3398 h 258229"/>
                  <a:gd name="connsiteX7" fmla="*/ 306406 w 306405"/>
                  <a:gd name="connsiteY7" fmla="*/ 227892 h 258229"/>
                  <a:gd name="connsiteX8" fmla="*/ 300338 w 306405"/>
                  <a:gd name="connsiteY8" fmla="*/ 233960 h 258229"/>
                  <a:gd name="connsiteX9" fmla="*/ 300338 w 306405"/>
                  <a:gd name="connsiteY9" fmla="*/ 233960 h 258229"/>
                  <a:gd name="connsiteX10" fmla="*/ 294270 w 306405"/>
                  <a:gd name="connsiteY10" fmla="*/ 227892 h 258229"/>
                  <a:gd name="connsiteX11" fmla="*/ 200226 w 306405"/>
                  <a:gd name="connsiteY11" fmla="*/ 12499 h 258229"/>
                  <a:gd name="connsiteX12" fmla="*/ 18203 w 306405"/>
                  <a:gd name="connsiteY12" fmla="*/ 48903 h 258229"/>
                  <a:gd name="connsiteX13" fmla="*/ 160786 w 306405"/>
                  <a:gd name="connsiteY13" fmla="*/ 249128 h 258229"/>
                  <a:gd name="connsiteX14" fmla="*/ 151685 w 306405"/>
                  <a:gd name="connsiteY14" fmla="*/ 258229 h 258229"/>
                  <a:gd name="connsiteX15" fmla="*/ 151685 w 306405"/>
                  <a:gd name="connsiteY15" fmla="*/ 258229 h 258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06405" h="258229">
                    <a:moveTo>
                      <a:pt x="151685" y="258229"/>
                    </a:moveTo>
                    <a:cubicBezTo>
                      <a:pt x="148652" y="258229"/>
                      <a:pt x="145618" y="255196"/>
                      <a:pt x="145618" y="252162"/>
                    </a:cubicBezTo>
                    <a:cubicBezTo>
                      <a:pt x="139552" y="127780"/>
                      <a:pt x="3035" y="58004"/>
                      <a:pt x="3035" y="54971"/>
                    </a:cubicBezTo>
                    <a:cubicBezTo>
                      <a:pt x="0" y="54971"/>
                      <a:pt x="0" y="51937"/>
                      <a:pt x="0" y="51937"/>
                    </a:cubicBezTo>
                    <a:cubicBezTo>
                      <a:pt x="0" y="48903"/>
                      <a:pt x="0" y="48903"/>
                      <a:pt x="3035" y="45870"/>
                    </a:cubicBezTo>
                    <a:cubicBezTo>
                      <a:pt x="87978" y="-17838"/>
                      <a:pt x="200226" y="3398"/>
                      <a:pt x="203259" y="3398"/>
                    </a:cubicBezTo>
                    <a:cubicBezTo>
                      <a:pt x="203259" y="3398"/>
                      <a:pt x="206292" y="3398"/>
                      <a:pt x="206292" y="3398"/>
                    </a:cubicBezTo>
                    <a:cubicBezTo>
                      <a:pt x="206292" y="3398"/>
                      <a:pt x="306406" y="79240"/>
                      <a:pt x="306406" y="227892"/>
                    </a:cubicBezTo>
                    <a:cubicBezTo>
                      <a:pt x="306406" y="230926"/>
                      <a:pt x="303371" y="233960"/>
                      <a:pt x="300338" y="233960"/>
                    </a:cubicBezTo>
                    <a:lnTo>
                      <a:pt x="300338" y="233960"/>
                    </a:lnTo>
                    <a:cubicBezTo>
                      <a:pt x="297303" y="233960"/>
                      <a:pt x="294270" y="230926"/>
                      <a:pt x="294270" y="227892"/>
                    </a:cubicBezTo>
                    <a:cubicBezTo>
                      <a:pt x="294270" y="94409"/>
                      <a:pt x="209327" y="21600"/>
                      <a:pt x="200226" y="12499"/>
                    </a:cubicBezTo>
                    <a:cubicBezTo>
                      <a:pt x="188090" y="9465"/>
                      <a:pt x="91011" y="-2670"/>
                      <a:pt x="18203" y="48903"/>
                    </a:cubicBezTo>
                    <a:cubicBezTo>
                      <a:pt x="48540" y="67106"/>
                      <a:pt x="154720" y="136881"/>
                      <a:pt x="160786" y="249128"/>
                    </a:cubicBezTo>
                    <a:cubicBezTo>
                      <a:pt x="157753" y="255196"/>
                      <a:pt x="154720" y="258229"/>
                      <a:pt x="151685" y="258229"/>
                    </a:cubicBezTo>
                    <a:lnTo>
                      <a:pt x="151685" y="258229"/>
                    </a:ln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DA3AD443-540E-48BF-84CA-C75401E967C6}"/>
                </a:ext>
              </a:extLst>
            </p:cNvPr>
            <p:cNvSpPr/>
            <p:nvPr/>
          </p:nvSpPr>
          <p:spPr>
            <a:xfrm>
              <a:off x="23049423" y="2623100"/>
              <a:ext cx="1034549" cy="1551084"/>
            </a:xfrm>
            <a:custGeom>
              <a:avLst/>
              <a:gdLst>
                <a:gd name="connsiteX0" fmla="*/ 367134 w 1034549"/>
                <a:gd name="connsiteY0" fmla="*/ 5393 h 1551084"/>
                <a:gd name="connsiteX1" fmla="*/ 455110 w 1034549"/>
                <a:gd name="connsiteY1" fmla="*/ 551460 h 1551084"/>
                <a:gd name="connsiteX2" fmla="*/ 752415 w 1034549"/>
                <a:gd name="connsiteY2" fmla="*/ 548427 h 1551084"/>
                <a:gd name="connsiteX3" fmla="*/ 764549 w 1034549"/>
                <a:gd name="connsiteY3" fmla="*/ 26629 h 1551084"/>
                <a:gd name="connsiteX4" fmla="*/ 864661 w 1034549"/>
                <a:gd name="connsiteY4" fmla="*/ 66067 h 1551084"/>
                <a:gd name="connsiteX5" fmla="*/ 873763 w 1034549"/>
                <a:gd name="connsiteY5" fmla="*/ 557528 h 1551084"/>
                <a:gd name="connsiteX6" fmla="*/ 1016346 w 1034549"/>
                <a:gd name="connsiteY6" fmla="*/ 769887 h 1551084"/>
                <a:gd name="connsiteX7" fmla="*/ 1034549 w 1034549"/>
                <a:gd name="connsiteY7" fmla="*/ 1522247 h 1551084"/>
                <a:gd name="connsiteX8" fmla="*/ 54 w 1034549"/>
                <a:gd name="connsiteY8" fmla="*/ 1497977 h 1551084"/>
                <a:gd name="connsiteX9" fmla="*/ 36459 w 1034549"/>
                <a:gd name="connsiteY9" fmla="*/ 772921 h 1551084"/>
                <a:gd name="connsiteX10" fmla="*/ 309492 w 1034549"/>
                <a:gd name="connsiteY10" fmla="*/ 548427 h 1551084"/>
                <a:gd name="connsiteX11" fmla="*/ 282190 w 1034549"/>
                <a:gd name="connsiteY11" fmla="*/ 29663 h 1551084"/>
                <a:gd name="connsiteX12" fmla="*/ 367134 w 1034549"/>
                <a:gd name="connsiteY12" fmla="*/ 5393 h 1551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34549" h="1551084">
                  <a:moveTo>
                    <a:pt x="367134" y="5393"/>
                  </a:moveTo>
                  <a:cubicBezTo>
                    <a:pt x="367134" y="5393"/>
                    <a:pt x="452077" y="248090"/>
                    <a:pt x="455110" y="551460"/>
                  </a:cubicBezTo>
                  <a:cubicBezTo>
                    <a:pt x="455110" y="551460"/>
                    <a:pt x="700842" y="572696"/>
                    <a:pt x="752415" y="548427"/>
                  </a:cubicBezTo>
                  <a:cubicBezTo>
                    <a:pt x="752415" y="548427"/>
                    <a:pt x="785785" y="123708"/>
                    <a:pt x="764549" y="26629"/>
                  </a:cubicBezTo>
                  <a:cubicBezTo>
                    <a:pt x="764549" y="26629"/>
                    <a:pt x="846459" y="35730"/>
                    <a:pt x="864661" y="66067"/>
                  </a:cubicBezTo>
                  <a:cubicBezTo>
                    <a:pt x="864661" y="66067"/>
                    <a:pt x="867696" y="493820"/>
                    <a:pt x="873763" y="557528"/>
                  </a:cubicBezTo>
                  <a:cubicBezTo>
                    <a:pt x="879829" y="624269"/>
                    <a:pt x="1016346" y="769887"/>
                    <a:pt x="1016346" y="769887"/>
                  </a:cubicBezTo>
                  <a:lnTo>
                    <a:pt x="1034549" y="1522247"/>
                  </a:lnTo>
                  <a:cubicBezTo>
                    <a:pt x="1034549" y="1522247"/>
                    <a:pt x="327696" y="1601123"/>
                    <a:pt x="54" y="1497977"/>
                  </a:cubicBezTo>
                  <a:cubicBezTo>
                    <a:pt x="54" y="1497977"/>
                    <a:pt x="-2979" y="1070224"/>
                    <a:pt x="36459" y="772921"/>
                  </a:cubicBezTo>
                  <a:cubicBezTo>
                    <a:pt x="112301" y="769887"/>
                    <a:pt x="288256" y="675842"/>
                    <a:pt x="309492" y="548427"/>
                  </a:cubicBezTo>
                  <a:cubicBezTo>
                    <a:pt x="330729" y="421011"/>
                    <a:pt x="348930" y="157078"/>
                    <a:pt x="282190" y="29663"/>
                  </a:cubicBezTo>
                  <a:cubicBezTo>
                    <a:pt x="279155" y="32696"/>
                    <a:pt x="330729" y="-15843"/>
                    <a:pt x="367134" y="5393"/>
                  </a:cubicBezTo>
                  <a:close/>
                </a:path>
              </a:pathLst>
            </a:custGeom>
            <a:solidFill>
              <a:srgbClr val="F6EBE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B1F1CEB4-15C6-4747-B2B0-A54C79AA652D}"/>
                </a:ext>
              </a:extLst>
            </p:cNvPr>
            <p:cNvSpPr/>
            <p:nvPr/>
          </p:nvSpPr>
          <p:spPr>
            <a:xfrm>
              <a:off x="23049477" y="4005797"/>
              <a:ext cx="1037528" cy="160994"/>
            </a:xfrm>
            <a:custGeom>
              <a:avLst/>
              <a:gdLst>
                <a:gd name="connsiteX0" fmla="*/ 1034496 w 1037528"/>
                <a:gd name="connsiteY0" fmla="*/ 142584 h 160994"/>
                <a:gd name="connsiteX1" fmla="*/ 0 w 1037528"/>
                <a:gd name="connsiteY1" fmla="*/ 118315 h 160994"/>
                <a:gd name="connsiteX2" fmla="*/ 0 w 1037528"/>
                <a:gd name="connsiteY2" fmla="*/ 0 h 160994"/>
                <a:gd name="connsiteX3" fmla="*/ 1037529 w 1037528"/>
                <a:gd name="connsiteY3" fmla="*/ 33371 h 160994"/>
                <a:gd name="connsiteX4" fmla="*/ 1034496 w 1037528"/>
                <a:gd name="connsiteY4" fmla="*/ 142584 h 160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7528" h="160994">
                  <a:moveTo>
                    <a:pt x="1034496" y="142584"/>
                  </a:moveTo>
                  <a:cubicBezTo>
                    <a:pt x="1034496" y="142584"/>
                    <a:pt x="591573" y="197191"/>
                    <a:pt x="0" y="118315"/>
                  </a:cubicBezTo>
                  <a:lnTo>
                    <a:pt x="0" y="0"/>
                  </a:lnTo>
                  <a:cubicBezTo>
                    <a:pt x="0" y="0"/>
                    <a:pt x="658315" y="57640"/>
                    <a:pt x="1037529" y="33371"/>
                  </a:cubicBezTo>
                  <a:lnTo>
                    <a:pt x="1034496" y="142584"/>
                  </a:ln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C0663C6F-D3A1-4B0B-BE61-8A0F30C1B044}"/>
                </a:ext>
              </a:extLst>
            </p:cNvPr>
            <p:cNvGrpSpPr/>
            <p:nvPr/>
          </p:nvGrpSpPr>
          <p:grpSpPr>
            <a:xfrm>
              <a:off x="23568242" y="4020965"/>
              <a:ext cx="215392" cy="163820"/>
              <a:chOff x="23568242" y="4020965"/>
              <a:chExt cx="215392" cy="163820"/>
            </a:xfrm>
          </p:grpSpPr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D54EDB90-D44C-4697-9E49-45C6D6F5F773}"/>
                  </a:ext>
                </a:extLst>
              </p:cNvPr>
              <p:cNvSpPr/>
              <p:nvPr/>
            </p:nvSpPr>
            <p:spPr>
              <a:xfrm>
                <a:off x="23568242" y="4020965"/>
                <a:ext cx="215392" cy="163820"/>
              </a:xfrm>
              <a:custGeom>
                <a:avLst/>
                <a:gdLst>
                  <a:gd name="connsiteX0" fmla="*/ 194156 w 215392"/>
                  <a:gd name="connsiteY0" fmla="*/ 163820 h 163820"/>
                  <a:gd name="connsiteX1" fmla="*/ 21236 w 215392"/>
                  <a:gd name="connsiteY1" fmla="*/ 163820 h 163820"/>
                  <a:gd name="connsiteX2" fmla="*/ 0 w 215392"/>
                  <a:gd name="connsiteY2" fmla="*/ 142584 h 163820"/>
                  <a:gd name="connsiteX3" fmla="*/ 0 w 215392"/>
                  <a:gd name="connsiteY3" fmla="*/ 21236 h 163820"/>
                  <a:gd name="connsiteX4" fmla="*/ 21236 w 215392"/>
                  <a:gd name="connsiteY4" fmla="*/ 0 h 163820"/>
                  <a:gd name="connsiteX5" fmla="*/ 194156 w 215392"/>
                  <a:gd name="connsiteY5" fmla="*/ 0 h 163820"/>
                  <a:gd name="connsiteX6" fmla="*/ 215393 w 215392"/>
                  <a:gd name="connsiteY6" fmla="*/ 21236 h 163820"/>
                  <a:gd name="connsiteX7" fmla="*/ 215393 w 215392"/>
                  <a:gd name="connsiteY7" fmla="*/ 142584 h 163820"/>
                  <a:gd name="connsiteX8" fmla="*/ 194156 w 215392"/>
                  <a:gd name="connsiteY8" fmla="*/ 163820 h 163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5392" h="163820">
                    <a:moveTo>
                      <a:pt x="194156" y="163820"/>
                    </a:moveTo>
                    <a:lnTo>
                      <a:pt x="21236" y="163820"/>
                    </a:lnTo>
                    <a:cubicBezTo>
                      <a:pt x="9101" y="163820"/>
                      <a:pt x="0" y="154719"/>
                      <a:pt x="0" y="142584"/>
                    </a:cubicBezTo>
                    <a:lnTo>
                      <a:pt x="0" y="21236"/>
                    </a:lnTo>
                    <a:cubicBezTo>
                      <a:pt x="0" y="9101"/>
                      <a:pt x="9101" y="0"/>
                      <a:pt x="21236" y="0"/>
                    </a:cubicBezTo>
                    <a:lnTo>
                      <a:pt x="194156" y="0"/>
                    </a:lnTo>
                    <a:cubicBezTo>
                      <a:pt x="206292" y="0"/>
                      <a:pt x="215393" y="9101"/>
                      <a:pt x="215393" y="21236"/>
                    </a:cubicBezTo>
                    <a:lnTo>
                      <a:pt x="215393" y="142584"/>
                    </a:lnTo>
                    <a:cubicBezTo>
                      <a:pt x="215393" y="151685"/>
                      <a:pt x="206292" y="163820"/>
                      <a:pt x="194156" y="16382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9E509854-5721-4C08-9911-2856124EE002}"/>
                  </a:ext>
                </a:extLst>
              </p:cNvPr>
              <p:cNvSpPr/>
              <p:nvPr/>
            </p:nvSpPr>
            <p:spPr>
              <a:xfrm>
                <a:off x="23598579" y="4045235"/>
                <a:ext cx="157753" cy="118314"/>
              </a:xfrm>
              <a:custGeom>
                <a:avLst/>
                <a:gdLst>
                  <a:gd name="connsiteX0" fmla="*/ 142585 w 157753"/>
                  <a:gd name="connsiteY0" fmla="*/ 118315 h 118314"/>
                  <a:gd name="connsiteX1" fmla="*/ 15169 w 157753"/>
                  <a:gd name="connsiteY1" fmla="*/ 118315 h 118314"/>
                  <a:gd name="connsiteX2" fmla="*/ 0 w 157753"/>
                  <a:gd name="connsiteY2" fmla="*/ 103146 h 118314"/>
                  <a:gd name="connsiteX3" fmla="*/ 0 w 157753"/>
                  <a:gd name="connsiteY3" fmla="*/ 15169 h 118314"/>
                  <a:gd name="connsiteX4" fmla="*/ 15169 w 157753"/>
                  <a:gd name="connsiteY4" fmla="*/ 0 h 118314"/>
                  <a:gd name="connsiteX5" fmla="*/ 142585 w 157753"/>
                  <a:gd name="connsiteY5" fmla="*/ 0 h 118314"/>
                  <a:gd name="connsiteX6" fmla="*/ 157753 w 157753"/>
                  <a:gd name="connsiteY6" fmla="*/ 15169 h 118314"/>
                  <a:gd name="connsiteX7" fmla="*/ 157753 w 157753"/>
                  <a:gd name="connsiteY7" fmla="*/ 103146 h 118314"/>
                  <a:gd name="connsiteX8" fmla="*/ 142585 w 157753"/>
                  <a:gd name="connsiteY8" fmla="*/ 118315 h 11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753" h="118314">
                    <a:moveTo>
                      <a:pt x="142585" y="118315"/>
                    </a:moveTo>
                    <a:lnTo>
                      <a:pt x="15169" y="118315"/>
                    </a:lnTo>
                    <a:cubicBezTo>
                      <a:pt x="6068" y="118315"/>
                      <a:pt x="0" y="112247"/>
                      <a:pt x="0" y="103146"/>
                    </a:cubicBezTo>
                    <a:lnTo>
                      <a:pt x="0" y="15169"/>
                    </a:lnTo>
                    <a:cubicBezTo>
                      <a:pt x="0" y="6068"/>
                      <a:pt x="6068" y="0"/>
                      <a:pt x="15169" y="0"/>
                    </a:cubicBezTo>
                    <a:lnTo>
                      <a:pt x="142585" y="0"/>
                    </a:lnTo>
                    <a:cubicBezTo>
                      <a:pt x="151685" y="0"/>
                      <a:pt x="157753" y="6068"/>
                      <a:pt x="157753" y="15169"/>
                    </a:cubicBezTo>
                    <a:lnTo>
                      <a:pt x="157753" y="103146"/>
                    </a:lnTo>
                    <a:cubicBezTo>
                      <a:pt x="157753" y="109214"/>
                      <a:pt x="151685" y="118315"/>
                      <a:pt x="142585" y="118315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57F33F53-91A1-4156-A2EA-3EDFC8E55864}"/>
                </a:ext>
              </a:extLst>
            </p:cNvPr>
            <p:cNvSpPr/>
            <p:nvPr/>
          </p:nvSpPr>
          <p:spPr>
            <a:xfrm>
              <a:off x="23498066" y="3329280"/>
              <a:ext cx="376580" cy="288202"/>
            </a:xfrm>
            <a:custGeom>
              <a:avLst/>
              <a:gdLst>
                <a:gd name="connsiteX0" fmla="*/ 206693 w 376580"/>
                <a:gd name="connsiteY0" fmla="*/ 288202 h 288202"/>
                <a:gd name="connsiteX1" fmla="*/ 206693 w 376580"/>
                <a:gd name="connsiteY1" fmla="*/ 288202 h 288202"/>
                <a:gd name="connsiteX2" fmla="*/ 15570 w 376580"/>
                <a:gd name="connsiteY2" fmla="*/ 209326 h 288202"/>
                <a:gd name="connsiteX3" fmla="*/ 12535 w 376580"/>
                <a:gd name="connsiteY3" fmla="*/ 209326 h 288202"/>
                <a:gd name="connsiteX4" fmla="*/ 12535 w 376580"/>
                <a:gd name="connsiteY4" fmla="*/ 206292 h 288202"/>
                <a:gd name="connsiteX5" fmla="*/ 401 w 376580"/>
                <a:gd name="connsiteY5" fmla="*/ 6067 h 288202"/>
                <a:gd name="connsiteX6" fmla="*/ 401 w 376580"/>
                <a:gd name="connsiteY6" fmla="*/ 0 h 288202"/>
                <a:gd name="connsiteX7" fmla="*/ 6467 w 376580"/>
                <a:gd name="connsiteY7" fmla="*/ 0 h 288202"/>
                <a:gd name="connsiteX8" fmla="*/ 370512 w 376580"/>
                <a:gd name="connsiteY8" fmla="*/ 0 h 288202"/>
                <a:gd name="connsiteX9" fmla="*/ 376580 w 376580"/>
                <a:gd name="connsiteY9" fmla="*/ 0 h 288202"/>
                <a:gd name="connsiteX10" fmla="*/ 361412 w 376580"/>
                <a:gd name="connsiteY10" fmla="*/ 175955 h 288202"/>
                <a:gd name="connsiteX11" fmla="*/ 358379 w 376580"/>
                <a:gd name="connsiteY11" fmla="*/ 175955 h 288202"/>
                <a:gd name="connsiteX12" fmla="*/ 206693 w 376580"/>
                <a:gd name="connsiteY12" fmla="*/ 288202 h 288202"/>
                <a:gd name="connsiteX13" fmla="*/ 206693 w 376580"/>
                <a:gd name="connsiteY13" fmla="*/ 288202 h 288202"/>
                <a:gd name="connsiteX14" fmla="*/ 24671 w 376580"/>
                <a:gd name="connsiteY14" fmla="*/ 200225 h 288202"/>
                <a:gd name="connsiteX15" fmla="*/ 206693 w 376580"/>
                <a:gd name="connsiteY15" fmla="*/ 276068 h 288202"/>
                <a:gd name="connsiteX16" fmla="*/ 349278 w 376580"/>
                <a:gd name="connsiteY16" fmla="*/ 169888 h 288202"/>
                <a:gd name="connsiteX17" fmla="*/ 361412 w 376580"/>
                <a:gd name="connsiteY17" fmla="*/ 12135 h 288202"/>
                <a:gd name="connsiteX18" fmla="*/ 9502 w 376580"/>
                <a:gd name="connsiteY18" fmla="*/ 12135 h 288202"/>
                <a:gd name="connsiteX19" fmla="*/ 24671 w 376580"/>
                <a:gd name="connsiteY19" fmla="*/ 200225 h 28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76580" h="288202">
                  <a:moveTo>
                    <a:pt x="206693" y="288202"/>
                  </a:moveTo>
                  <a:lnTo>
                    <a:pt x="206693" y="288202"/>
                  </a:lnTo>
                  <a:cubicBezTo>
                    <a:pt x="197592" y="285169"/>
                    <a:pt x="45907" y="224494"/>
                    <a:pt x="15570" y="209326"/>
                  </a:cubicBezTo>
                  <a:lnTo>
                    <a:pt x="12535" y="209326"/>
                  </a:lnTo>
                  <a:lnTo>
                    <a:pt x="12535" y="206292"/>
                  </a:lnTo>
                  <a:cubicBezTo>
                    <a:pt x="12535" y="206292"/>
                    <a:pt x="-2633" y="78876"/>
                    <a:pt x="401" y="6067"/>
                  </a:cubicBezTo>
                  <a:lnTo>
                    <a:pt x="401" y="0"/>
                  </a:lnTo>
                  <a:lnTo>
                    <a:pt x="6467" y="0"/>
                  </a:lnTo>
                  <a:cubicBezTo>
                    <a:pt x="9502" y="0"/>
                    <a:pt x="176356" y="15169"/>
                    <a:pt x="370512" y="0"/>
                  </a:cubicBezTo>
                  <a:lnTo>
                    <a:pt x="376580" y="0"/>
                  </a:lnTo>
                  <a:lnTo>
                    <a:pt x="361412" y="175955"/>
                  </a:lnTo>
                  <a:lnTo>
                    <a:pt x="358379" y="175955"/>
                  </a:lnTo>
                  <a:cubicBezTo>
                    <a:pt x="346243" y="188090"/>
                    <a:pt x="233995" y="279101"/>
                    <a:pt x="206693" y="288202"/>
                  </a:cubicBezTo>
                  <a:lnTo>
                    <a:pt x="206693" y="288202"/>
                  </a:lnTo>
                  <a:close/>
                  <a:moveTo>
                    <a:pt x="24671" y="200225"/>
                  </a:moveTo>
                  <a:cubicBezTo>
                    <a:pt x="58041" y="215393"/>
                    <a:pt x="191525" y="266966"/>
                    <a:pt x="206693" y="276068"/>
                  </a:cubicBezTo>
                  <a:cubicBezTo>
                    <a:pt x="230962" y="266966"/>
                    <a:pt x="315906" y="197191"/>
                    <a:pt x="349278" y="169888"/>
                  </a:cubicBezTo>
                  <a:lnTo>
                    <a:pt x="361412" y="12135"/>
                  </a:lnTo>
                  <a:cubicBezTo>
                    <a:pt x="191525" y="27303"/>
                    <a:pt x="39839" y="15169"/>
                    <a:pt x="9502" y="12135"/>
                  </a:cubicBezTo>
                  <a:cubicBezTo>
                    <a:pt x="9502" y="75843"/>
                    <a:pt x="21636" y="182022"/>
                    <a:pt x="24671" y="200225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E967B159-6AED-46AC-B4F2-F0C2E541F4AB}"/>
                </a:ext>
              </a:extLst>
            </p:cNvPr>
            <p:cNvSpPr/>
            <p:nvPr/>
          </p:nvSpPr>
          <p:spPr>
            <a:xfrm>
              <a:off x="24238691" y="6159729"/>
              <a:ext cx="367079" cy="236629"/>
            </a:xfrm>
            <a:custGeom>
              <a:avLst/>
              <a:gdLst>
                <a:gd name="connsiteX0" fmla="*/ 0 w 367079"/>
                <a:gd name="connsiteY0" fmla="*/ 136517 h 236629"/>
                <a:gd name="connsiteX1" fmla="*/ 48540 w 367079"/>
                <a:gd name="connsiteY1" fmla="*/ 236629 h 236629"/>
                <a:gd name="connsiteX2" fmla="*/ 367080 w 367079"/>
                <a:gd name="connsiteY2" fmla="*/ 91011 h 236629"/>
                <a:gd name="connsiteX3" fmla="*/ 324607 w 367079"/>
                <a:gd name="connsiteY3" fmla="*/ 0 h 236629"/>
                <a:gd name="connsiteX4" fmla="*/ 0 w 367079"/>
                <a:gd name="connsiteY4" fmla="*/ 136517 h 236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079" h="236629">
                  <a:moveTo>
                    <a:pt x="0" y="136517"/>
                  </a:moveTo>
                  <a:cubicBezTo>
                    <a:pt x="0" y="136517"/>
                    <a:pt x="18203" y="200225"/>
                    <a:pt x="48540" y="236629"/>
                  </a:cubicBezTo>
                  <a:cubicBezTo>
                    <a:pt x="48540" y="236629"/>
                    <a:pt x="233596" y="191124"/>
                    <a:pt x="367080" y="91011"/>
                  </a:cubicBezTo>
                  <a:cubicBezTo>
                    <a:pt x="367080" y="91011"/>
                    <a:pt x="348876" y="36405"/>
                    <a:pt x="324607" y="0"/>
                  </a:cubicBezTo>
                  <a:cubicBezTo>
                    <a:pt x="321574" y="0"/>
                    <a:pt x="100112" y="121348"/>
                    <a:pt x="0" y="136517"/>
                  </a:cubicBezTo>
                  <a:close/>
                </a:path>
              </a:pathLst>
            </a:custGeom>
            <a:solidFill>
              <a:srgbClr val="D3977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871787D1-DE58-4101-9D02-BA2A5D2E2C07}"/>
                </a:ext>
              </a:extLst>
            </p:cNvPr>
            <p:cNvSpPr/>
            <p:nvPr/>
          </p:nvSpPr>
          <p:spPr>
            <a:xfrm>
              <a:off x="23062287" y="6320516"/>
              <a:ext cx="356966" cy="126331"/>
            </a:xfrm>
            <a:custGeom>
              <a:avLst/>
              <a:gdLst>
                <a:gd name="connsiteX0" fmla="*/ 5394 w 356966"/>
                <a:gd name="connsiteY0" fmla="*/ 0 h 126331"/>
                <a:gd name="connsiteX1" fmla="*/ 5394 w 356966"/>
                <a:gd name="connsiteY1" fmla="*/ 109214 h 126331"/>
                <a:gd name="connsiteX2" fmla="*/ 354270 w 356966"/>
                <a:gd name="connsiteY2" fmla="*/ 112247 h 126331"/>
                <a:gd name="connsiteX3" fmla="*/ 354270 w 356966"/>
                <a:gd name="connsiteY3" fmla="*/ 12135 h 126331"/>
                <a:gd name="connsiteX4" fmla="*/ 5394 w 356966"/>
                <a:gd name="connsiteY4" fmla="*/ 0 h 126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966" h="126331">
                  <a:moveTo>
                    <a:pt x="5394" y="0"/>
                  </a:moveTo>
                  <a:cubicBezTo>
                    <a:pt x="5394" y="0"/>
                    <a:pt x="-6742" y="63708"/>
                    <a:pt x="5394" y="109214"/>
                  </a:cubicBezTo>
                  <a:cubicBezTo>
                    <a:pt x="5394" y="109214"/>
                    <a:pt x="193484" y="145618"/>
                    <a:pt x="354270" y="112247"/>
                  </a:cubicBezTo>
                  <a:cubicBezTo>
                    <a:pt x="354270" y="112247"/>
                    <a:pt x="360338" y="54607"/>
                    <a:pt x="354270" y="12135"/>
                  </a:cubicBezTo>
                  <a:cubicBezTo>
                    <a:pt x="357303" y="9101"/>
                    <a:pt x="102473" y="27304"/>
                    <a:pt x="5394" y="0"/>
                  </a:cubicBezTo>
                  <a:close/>
                </a:path>
              </a:pathLst>
            </a:custGeom>
            <a:solidFill>
              <a:srgbClr val="D3977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763454F2-ED35-4965-B313-1C5629ADA7B1}"/>
                </a:ext>
              </a:extLst>
            </p:cNvPr>
            <p:cNvSpPr/>
            <p:nvPr/>
          </p:nvSpPr>
          <p:spPr>
            <a:xfrm>
              <a:off x="23563951" y="2441162"/>
              <a:ext cx="121846" cy="29578"/>
            </a:xfrm>
            <a:custGeom>
              <a:avLst/>
              <a:gdLst>
                <a:gd name="connsiteX0" fmla="*/ 55864 w 121846"/>
                <a:gd name="connsiteY0" fmla="*/ 29579 h 29578"/>
                <a:gd name="connsiteX1" fmla="*/ 4291 w 121846"/>
                <a:gd name="connsiteY1" fmla="*/ 20478 h 29578"/>
                <a:gd name="connsiteX2" fmla="*/ 1256 w 121846"/>
                <a:gd name="connsiteY2" fmla="*/ 14410 h 29578"/>
                <a:gd name="connsiteX3" fmla="*/ 7324 w 121846"/>
                <a:gd name="connsiteY3" fmla="*/ 11376 h 29578"/>
                <a:gd name="connsiteX4" fmla="*/ 110471 w 121846"/>
                <a:gd name="connsiteY4" fmla="*/ 2275 h 29578"/>
                <a:gd name="connsiteX5" fmla="*/ 119572 w 121846"/>
                <a:gd name="connsiteY5" fmla="*/ 2275 h 29578"/>
                <a:gd name="connsiteX6" fmla="*/ 119572 w 121846"/>
                <a:gd name="connsiteY6" fmla="*/ 11376 h 29578"/>
                <a:gd name="connsiteX7" fmla="*/ 55864 w 121846"/>
                <a:gd name="connsiteY7" fmla="*/ 29579 h 29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46" h="29578">
                  <a:moveTo>
                    <a:pt x="55864" y="29579"/>
                  </a:moveTo>
                  <a:cubicBezTo>
                    <a:pt x="28560" y="29579"/>
                    <a:pt x="7324" y="23511"/>
                    <a:pt x="4291" y="20478"/>
                  </a:cubicBezTo>
                  <a:cubicBezTo>
                    <a:pt x="1256" y="20478"/>
                    <a:pt x="-1777" y="17444"/>
                    <a:pt x="1256" y="14410"/>
                  </a:cubicBezTo>
                  <a:cubicBezTo>
                    <a:pt x="1256" y="11376"/>
                    <a:pt x="4291" y="8343"/>
                    <a:pt x="7324" y="11376"/>
                  </a:cubicBezTo>
                  <a:cubicBezTo>
                    <a:pt x="7324" y="11376"/>
                    <a:pt x="71033" y="32612"/>
                    <a:pt x="110471" y="2275"/>
                  </a:cubicBezTo>
                  <a:cubicBezTo>
                    <a:pt x="113504" y="-758"/>
                    <a:pt x="116539" y="-758"/>
                    <a:pt x="119572" y="2275"/>
                  </a:cubicBezTo>
                  <a:cubicBezTo>
                    <a:pt x="122605" y="5309"/>
                    <a:pt x="122605" y="8343"/>
                    <a:pt x="119572" y="11376"/>
                  </a:cubicBezTo>
                  <a:cubicBezTo>
                    <a:pt x="101370" y="23511"/>
                    <a:pt x="77099" y="29579"/>
                    <a:pt x="55864" y="29579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720B052A-55A5-4D6A-9E83-111E8F433E6D}"/>
                </a:ext>
              </a:extLst>
            </p:cNvPr>
            <p:cNvGrpSpPr/>
            <p:nvPr/>
          </p:nvGrpSpPr>
          <p:grpSpPr>
            <a:xfrm>
              <a:off x="21068466" y="6232538"/>
              <a:ext cx="494494" cy="339775"/>
              <a:chOff x="21068466" y="6232538"/>
              <a:chExt cx="494494" cy="339775"/>
            </a:xfrm>
          </p:grpSpPr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D1A23966-94D2-4ADB-A9C5-DDCD3630C134}"/>
                  </a:ext>
                </a:extLst>
              </p:cNvPr>
              <p:cNvSpPr/>
              <p:nvPr/>
            </p:nvSpPr>
            <p:spPr>
              <a:xfrm>
                <a:off x="21359703" y="6232538"/>
                <a:ext cx="182022" cy="221460"/>
              </a:xfrm>
              <a:custGeom>
                <a:avLst/>
                <a:gdLst>
                  <a:gd name="connsiteX0" fmla="*/ 182022 w 182022"/>
                  <a:gd name="connsiteY0" fmla="*/ 182022 h 221460"/>
                  <a:gd name="connsiteX1" fmla="*/ 182022 w 182022"/>
                  <a:gd name="connsiteY1" fmla="*/ 0 h 221460"/>
                  <a:gd name="connsiteX2" fmla="*/ 0 w 182022"/>
                  <a:gd name="connsiteY2" fmla="*/ 0 h 221460"/>
                  <a:gd name="connsiteX3" fmla="*/ 18202 w 182022"/>
                  <a:gd name="connsiteY3" fmla="*/ 194157 h 221460"/>
                  <a:gd name="connsiteX4" fmla="*/ 169887 w 182022"/>
                  <a:gd name="connsiteY4" fmla="*/ 221461 h 221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022" h="221460">
                    <a:moveTo>
                      <a:pt x="182022" y="182022"/>
                    </a:moveTo>
                    <a:lnTo>
                      <a:pt x="182022" y="0"/>
                    </a:lnTo>
                    <a:lnTo>
                      <a:pt x="0" y="0"/>
                    </a:lnTo>
                    <a:lnTo>
                      <a:pt x="18202" y="194157"/>
                    </a:lnTo>
                    <a:lnTo>
                      <a:pt x="169887" y="221461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E9AB3B58-C0F0-4846-815F-B7B03F7FC4B6}"/>
                  </a:ext>
                </a:extLst>
              </p:cNvPr>
              <p:cNvSpPr/>
              <p:nvPr/>
            </p:nvSpPr>
            <p:spPr>
              <a:xfrm>
                <a:off x="21068466" y="6369055"/>
                <a:ext cx="493483" cy="157752"/>
              </a:xfrm>
              <a:custGeom>
                <a:avLst/>
                <a:gdLst>
                  <a:gd name="connsiteX0" fmla="*/ 485393 w 493483"/>
                  <a:gd name="connsiteY0" fmla="*/ 45506 h 157752"/>
                  <a:gd name="connsiteX1" fmla="*/ 300338 w 493483"/>
                  <a:gd name="connsiteY1" fmla="*/ 0 h 157752"/>
                  <a:gd name="connsiteX2" fmla="*/ 166854 w 493483"/>
                  <a:gd name="connsiteY2" fmla="*/ 78876 h 157752"/>
                  <a:gd name="connsiteX3" fmla="*/ 0 w 493483"/>
                  <a:gd name="connsiteY3" fmla="*/ 157753 h 157752"/>
                  <a:gd name="connsiteX4" fmla="*/ 485393 w 493483"/>
                  <a:gd name="connsiteY4" fmla="*/ 157753 h 157752"/>
                  <a:gd name="connsiteX5" fmla="*/ 485393 w 493483"/>
                  <a:gd name="connsiteY5" fmla="*/ 45506 h 157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3483" h="157752">
                    <a:moveTo>
                      <a:pt x="485393" y="45506"/>
                    </a:moveTo>
                    <a:cubicBezTo>
                      <a:pt x="485393" y="45506"/>
                      <a:pt x="361012" y="63708"/>
                      <a:pt x="300338" y="0"/>
                    </a:cubicBezTo>
                    <a:cubicBezTo>
                      <a:pt x="300338" y="0"/>
                      <a:pt x="212360" y="69775"/>
                      <a:pt x="166854" y="78876"/>
                    </a:cubicBezTo>
                    <a:cubicBezTo>
                      <a:pt x="121348" y="87977"/>
                      <a:pt x="12136" y="84944"/>
                      <a:pt x="0" y="157753"/>
                    </a:cubicBezTo>
                    <a:lnTo>
                      <a:pt x="485393" y="157753"/>
                    </a:lnTo>
                    <a:cubicBezTo>
                      <a:pt x="485393" y="157753"/>
                      <a:pt x="503597" y="97079"/>
                      <a:pt x="485393" y="45506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6BDDF026-98BC-4B86-AE13-CC8E2BC0166A}"/>
                  </a:ext>
                </a:extLst>
              </p:cNvPr>
              <p:cNvSpPr/>
              <p:nvPr/>
            </p:nvSpPr>
            <p:spPr>
              <a:xfrm>
                <a:off x="21068466" y="6526808"/>
                <a:ext cx="485393" cy="45505"/>
              </a:xfrm>
              <a:custGeom>
                <a:avLst/>
                <a:gdLst>
                  <a:gd name="connsiteX0" fmla="*/ 0 w 485393"/>
                  <a:gd name="connsiteY0" fmla="*/ 0 h 45505"/>
                  <a:gd name="connsiteX1" fmla="*/ 485393 w 485393"/>
                  <a:gd name="connsiteY1" fmla="*/ 0 h 45505"/>
                  <a:gd name="connsiteX2" fmla="*/ 485393 w 485393"/>
                  <a:gd name="connsiteY2" fmla="*/ 45506 h 45505"/>
                  <a:gd name="connsiteX3" fmla="*/ 0 w 485393"/>
                  <a:gd name="connsiteY3" fmla="*/ 45506 h 4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393" h="45505">
                    <a:moveTo>
                      <a:pt x="0" y="0"/>
                    </a:moveTo>
                    <a:lnTo>
                      <a:pt x="485393" y="0"/>
                    </a:lnTo>
                    <a:lnTo>
                      <a:pt x="485393" y="45506"/>
                    </a:lnTo>
                    <a:lnTo>
                      <a:pt x="0" y="45506"/>
                    </a:ln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24915446-8097-4ADA-994A-E9E91A6DE794}"/>
                  </a:ext>
                </a:extLst>
              </p:cNvPr>
              <p:cNvSpPr/>
              <p:nvPr/>
            </p:nvSpPr>
            <p:spPr>
              <a:xfrm>
                <a:off x="21363494" y="6360712"/>
                <a:ext cx="199465" cy="62949"/>
              </a:xfrm>
              <a:custGeom>
                <a:avLst/>
                <a:gdLst>
                  <a:gd name="connsiteX0" fmla="*/ 156995 w 199465"/>
                  <a:gd name="connsiteY0" fmla="*/ 62950 h 62949"/>
                  <a:gd name="connsiteX1" fmla="*/ 2275 w 199465"/>
                  <a:gd name="connsiteY1" fmla="*/ 11376 h 62949"/>
                  <a:gd name="connsiteX2" fmla="*/ 2275 w 199465"/>
                  <a:gd name="connsiteY2" fmla="*/ 2275 h 62949"/>
                  <a:gd name="connsiteX3" fmla="*/ 11377 w 199465"/>
                  <a:gd name="connsiteY3" fmla="*/ 2275 h 62949"/>
                  <a:gd name="connsiteX4" fmla="*/ 193400 w 199465"/>
                  <a:gd name="connsiteY4" fmla="*/ 47781 h 62949"/>
                  <a:gd name="connsiteX5" fmla="*/ 199466 w 199465"/>
                  <a:gd name="connsiteY5" fmla="*/ 53848 h 62949"/>
                  <a:gd name="connsiteX6" fmla="*/ 193400 w 199465"/>
                  <a:gd name="connsiteY6" fmla="*/ 59916 h 62949"/>
                  <a:gd name="connsiteX7" fmla="*/ 156995 w 199465"/>
                  <a:gd name="connsiteY7" fmla="*/ 62950 h 62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9465" h="62949">
                    <a:moveTo>
                      <a:pt x="156995" y="62950"/>
                    </a:moveTo>
                    <a:cubicBezTo>
                      <a:pt x="117557" y="62950"/>
                      <a:pt x="50815" y="56882"/>
                      <a:pt x="2275" y="11376"/>
                    </a:cubicBezTo>
                    <a:cubicBezTo>
                      <a:pt x="-758" y="8343"/>
                      <a:pt x="-758" y="5309"/>
                      <a:pt x="2275" y="2275"/>
                    </a:cubicBezTo>
                    <a:cubicBezTo>
                      <a:pt x="5310" y="-758"/>
                      <a:pt x="8343" y="-758"/>
                      <a:pt x="11377" y="2275"/>
                    </a:cubicBezTo>
                    <a:cubicBezTo>
                      <a:pt x="78117" y="62950"/>
                      <a:pt x="190365" y="47781"/>
                      <a:pt x="193400" y="47781"/>
                    </a:cubicBezTo>
                    <a:cubicBezTo>
                      <a:pt x="196433" y="47781"/>
                      <a:pt x="199466" y="50814"/>
                      <a:pt x="199466" y="53848"/>
                    </a:cubicBezTo>
                    <a:cubicBezTo>
                      <a:pt x="199466" y="56882"/>
                      <a:pt x="196433" y="59916"/>
                      <a:pt x="193400" y="59916"/>
                    </a:cubicBezTo>
                    <a:cubicBezTo>
                      <a:pt x="190365" y="59916"/>
                      <a:pt x="175196" y="62950"/>
                      <a:pt x="156995" y="6295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2B53982C-3C8F-4C5F-AB27-A79D66A4E1CC}"/>
                  </a:ext>
                </a:extLst>
              </p:cNvPr>
              <p:cNvSpPr/>
              <p:nvPr/>
            </p:nvSpPr>
            <p:spPr>
              <a:xfrm>
                <a:off x="21327090" y="6384982"/>
                <a:ext cx="40955" cy="41713"/>
              </a:xfrm>
              <a:custGeom>
                <a:avLst/>
                <a:gdLst>
                  <a:gd name="connsiteX0" fmla="*/ 32613 w 40955"/>
                  <a:gd name="connsiteY0" fmla="*/ 41713 h 41713"/>
                  <a:gd name="connsiteX1" fmla="*/ 29578 w 40955"/>
                  <a:gd name="connsiteY1" fmla="*/ 38680 h 41713"/>
                  <a:gd name="connsiteX2" fmla="*/ 2276 w 40955"/>
                  <a:gd name="connsiteY2" fmla="*/ 11376 h 41713"/>
                  <a:gd name="connsiteX3" fmla="*/ 2276 w 40955"/>
                  <a:gd name="connsiteY3" fmla="*/ 2275 h 41713"/>
                  <a:gd name="connsiteX4" fmla="*/ 11377 w 40955"/>
                  <a:gd name="connsiteY4" fmla="*/ 2275 h 41713"/>
                  <a:gd name="connsiteX5" fmla="*/ 38679 w 40955"/>
                  <a:gd name="connsiteY5" fmla="*/ 29579 h 41713"/>
                  <a:gd name="connsiteX6" fmla="*/ 38679 w 40955"/>
                  <a:gd name="connsiteY6" fmla="*/ 38680 h 41713"/>
                  <a:gd name="connsiteX7" fmla="*/ 32613 w 40955"/>
                  <a:gd name="connsiteY7" fmla="*/ 41713 h 41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55" h="41713">
                    <a:moveTo>
                      <a:pt x="32613" y="41713"/>
                    </a:moveTo>
                    <a:cubicBezTo>
                      <a:pt x="32613" y="41713"/>
                      <a:pt x="29578" y="41713"/>
                      <a:pt x="29578" y="38680"/>
                    </a:cubicBezTo>
                    <a:lnTo>
                      <a:pt x="2276" y="11376"/>
                    </a:lnTo>
                    <a:cubicBezTo>
                      <a:pt x="-759" y="8343"/>
                      <a:pt x="-759" y="5309"/>
                      <a:pt x="2276" y="2275"/>
                    </a:cubicBezTo>
                    <a:cubicBezTo>
                      <a:pt x="5309" y="-758"/>
                      <a:pt x="8342" y="-758"/>
                      <a:pt x="11377" y="2275"/>
                    </a:cubicBezTo>
                    <a:lnTo>
                      <a:pt x="38679" y="29579"/>
                    </a:lnTo>
                    <a:cubicBezTo>
                      <a:pt x="41714" y="32612"/>
                      <a:pt x="41714" y="35646"/>
                      <a:pt x="38679" y="38680"/>
                    </a:cubicBezTo>
                    <a:cubicBezTo>
                      <a:pt x="35646" y="41713"/>
                      <a:pt x="35646" y="41713"/>
                      <a:pt x="32613" y="4171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FC7D63E4-1508-421F-9A12-3FEF454463DC}"/>
                  </a:ext>
                </a:extLst>
              </p:cNvPr>
              <p:cNvSpPr/>
              <p:nvPr/>
            </p:nvSpPr>
            <p:spPr>
              <a:xfrm>
                <a:off x="21290685" y="6412285"/>
                <a:ext cx="40955" cy="41713"/>
              </a:xfrm>
              <a:custGeom>
                <a:avLst/>
                <a:gdLst>
                  <a:gd name="connsiteX0" fmla="*/ 32613 w 40955"/>
                  <a:gd name="connsiteY0" fmla="*/ 41714 h 41713"/>
                  <a:gd name="connsiteX1" fmla="*/ 29578 w 40955"/>
                  <a:gd name="connsiteY1" fmla="*/ 38680 h 41713"/>
                  <a:gd name="connsiteX2" fmla="*/ 2276 w 40955"/>
                  <a:gd name="connsiteY2" fmla="*/ 11377 h 41713"/>
                  <a:gd name="connsiteX3" fmla="*/ 2276 w 40955"/>
                  <a:gd name="connsiteY3" fmla="*/ 2275 h 41713"/>
                  <a:gd name="connsiteX4" fmla="*/ 11377 w 40955"/>
                  <a:gd name="connsiteY4" fmla="*/ 2275 h 41713"/>
                  <a:gd name="connsiteX5" fmla="*/ 38681 w 40955"/>
                  <a:gd name="connsiteY5" fmla="*/ 29579 h 41713"/>
                  <a:gd name="connsiteX6" fmla="*/ 38681 w 40955"/>
                  <a:gd name="connsiteY6" fmla="*/ 38680 h 41713"/>
                  <a:gd name="connsiteX7" fmla="*/ 32613 w 40955"/>
                  <a:gd name="connsiteY7" fmla="*/ 41714 h 41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55" h="41713">
                    <a:moveTo>
                      <a:pt x="32613" y="41714"/>
                    </a:moveTo>
                    <a:cubicBezTo>
                      <a:pt x="32613" y="41714"/>
                      <a:pt x="29578" y="41714"/>
                      <a:pt x="29578" y="38680"/>
                    </a:cubicBezTo>
                    <a:lnTo>
                      <a:pt x="2276" y="11377"/>
                    </a:lnTo>
                    <a:cubicBezTo>
                      <a:pt x="-759" y="8343"/>
                      <a:pt x="-759" y="5309"/>
                      <a:pt x="2276" y="2275"/>
                    </a:cubicBezTo>
                    <a:cubicBezTo>
                      <a:pt x="5309" y="-758"/>
                      <a:pt x="8344" y="-758"/>
                      <a:pt x="11377" y="2275"/>
                    </a:cubicBezTo>
                    <a:lnTo>
                      <a:pt x="38681" y="29579"/>
                    </a:lnTo>
                    <a:cubicBezTo>
                      <a:pt x="41714" y="32612"/>
                      <a:pt x="41714" y="35646"/>
                      <a:pt x="38681" y="38680"/>
                    </a:cubicBezTo>
                    <a:cubicBezTo>
                      <a:pt x="35646" y="41714"/>
                      <a:pt x="32613" y="41714"/>
                      <a:pt x="32613" y="4171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FB0930B7-5F13-43A7-8283-0D071DB6E66E}"/>
                </a:ext>
              </a:extLst>
            </p:cNvPr>
            <p:cNvSpPr/>
            <p:nvPr/>
          </p:nvSpPr>
          <p:spPr>
            <a:xfrm>
              <a:off x="19955095" y="4023999"/>
              <a:ext cx="1697335" cy="2272247"/>
            </a:xfrm>
            <a:custGeom>
              <a:avLst/>
              <a:gdLst>
                <a:gd name="connsiteX0" fmla="*/ 670451 w 1697335"/>
                <a:gd name="connsiteY0" fmla="*/ 24270 h 2272247"/>
                <a:gd name="connsiteX1" fmla="*/ 15169 w 1697335"/>
                <a:gd name="connsiteY1" fmla="*/ 831236 h 2272247"/>
                <a:gd name="connsiteX2" fmla="*/ 0 w 1697335"/>
                <a:gd name="connsiteY2" fmla="*/ 1862697 h 2272247"/>
                <a:gd name="connsiteX3" fmla="*/ 309439 w 1697335"/>
                <a:gd name="connsiteY3" fmla="*/ 1847528 h 2272247"/>
                <a:gd name="connsiteX4" fmla="*/ 430787 w 1697335"/>
                <a:gd name="connsiteY4" fmla="*/ 1034494 h 2272247"/>
                <a:gd name="connsiteX5" fmla="*/ 1161912 w 1697335"/>
                <a:gd name="connsiteY5" fmla="*/ 500562 h 2272247"/>
                <a:gd name="connsiteX6" fmla="*/ 1207417 w 1697335"/>
                <a:gd name="connsiteY6" fmla="*/ 1468315 h 2272247"/>
                <a:gd name="connsiteX7" fmla="*/ 1353035 w 1697335"/>
                <a:gd name="connsiteY7" fmla="*/ 2263146 h 2272247"/>
                <a:gd name="connsiteX8" fmla="*/ 1638202 w 1697335"/>
                <a:gd name="connsiteY8" fmla="*/ 2272247 h 2272247"/>
                <a:gd name="connsiteX9" fmla="*/ 1607865 w 1697335"/>
                <a:gd name="connsiteY9" fmla="*/ 1450113 h 2272247"/>
                <a:gd name="connsiteX10" fmla="*/ 1686743 w 1697335"/>
                <a:gd name="connsiteY10" fmla="*/ 0 h 2272247"/>
                <a:gd name="connsiteX11" fmla="*/ 670451 w 1697335"/>
                <a:gd name="connsiteY11" fmla="*/ 24270 h 227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97335" h="2272247">
                  <a:moveTo>
                    <a:pt x="670451" y="24270"/>
                  </a:moveTo>
                  <a:lnTo>
                    <a:pt x="15169" y="831236"/>
                  </a:lnTo>
                  <a:lnTo>
                    <a:pt x="0" y="1862697"/>
                  </a:lnTo>
                  <a:lnTo>
                    <a:pt x="309439" y="1847528"/>
                  </a:lnTo>
                  <a:lnTo>
                    <a:pt x="430787" y="1034494"/>
                  </a:lnTo>
                  <a:cubicBezTo>
                    <a:pt x="430787" y="1034494"/>
                    <a:pt x="1155844" y="515730"/>
                    <a:pt x="1161912" y="500562"/>
                  </a:cubicBezTo>
                  <a:cubicBezTo>
                    <a:pt x="1177080" y="470225"/>
                    <a:pt x="1207417" y="1468315"/>
                    <a:pt x="1207417" y="1468315"/>
                  </a:cubicBezTo>
                  <a:lnTo>
                    <a:pt x="1353035" y="2263146"/>
                  </a:lnTo>
                  <a:lnTo>
                    <a:pt x="1638202" y="2272247"/>
                  </a:lnTo>
                  <a:cubicBezTo>
                    <a:pt x="1638202" y="2272247"/>
                    <a:pt x="1601799" y="1550225"/>
                    <a:pt x="1607865" y="1450113"/>
                  </a:cubicBezTo>
                  <a:cubicBezTo>
                    <a:pt x="1616968" y="1298427"/>
                    <a:pt x="1732248" y="97079"/>
                    <a:pt x="1686743" y="0"/>
                  </a:cubicBezTo>
                  <a:cubicBezTo>
                    <a:pt x="995058" y="36404"/>
                    <a:pt x="670451" y="24270"/>
                    <a:pt x="670451" y="24270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AFCA6763-3CBF-4414-A3A9-FD38DDE5C092}"/>
                </a:ext>
              </a:extLst>
            </p:cNvPr>
            <p:cNvSpPr/>
            <p:nvPr/>
          </p:nvSpPr>
          <p:spPr>
            <a:xfrm>
              <a:off x="21056332" y="4172651"/>
              <a:ext cx="69774" cy="361011"/>
            </a:xfrm>
            <a:custGeom>
              <a:avLst/>
              <a:gdLst>
                <a:gd name="connsiteX0" fmla="*/ 63707 w 69774"/>
                <a:gd name="connsiteY0" fmla="*/ 361011 h 361011"/>
                <a:gd name="connsiteX1" fmla="*/ 57639 w 69774"/>
                <a:gd name="connsiteY1" fmla="*/ 357977 h 361011"/>
                <a:gd name="connsiteX2" fmla="*/ 0 w 69774"/>
                <a:gd name="connsiteY2" fmla="*/ 6067 h 361011"/>
                <a:gd name="connsiteX3" fmla="*/ 6066 w 69774"/>
                <a:gd name="connsiteY3" fmla="*/ 0 h 361011"/>
                <a:gd name="connsiteX4" fmla="*/ 6066 w 69774"/>
                <a:gd name="connsiteY4" fmla="*/ 0 h 361011"/>
                <a:gd name="connsiteX5" fmla="*/ 12134 w 69774"/>
                <a:gd name="connsiteY5" fmla="*/ 6067 h 361011"/>
                <a:gd name="connsiteX6" fmla="*/ 69775 w 69774"/>
                <a:gd name="connsiteY6" fmla="*/ 354944 h 361011"/>
                <a:gd name="connsiteX7" fmla="*/ 63707 w 69774"/>
                <a:gd name="connsiteY7" fmla="*/ 361011 h 361011"/>
                <a:gd name="connsiteX8" fmla="*/ 63707 w 69774"/>
                <a:gd name="connsiteY8" fmla="*/ 361011 h 361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774" h="361011">
                  <a:moveTo>
                    <a:pt x="63707" y="361011"/>
                  </a:moveTo>
                  <a:cubicBezTo>
                    <a:pt x="60674" y="361011"/>
                    <a:pt x="60674" y="361011"/>
                    <a:pt x="57639" y="357977"/>
                  </a:cubicBezTo>
                  <a:cubicBezTo>
                    <a:pt x="9101" y="242697"/>
                    <a:pt x="0" y="15169"/>
                    <a:pt x="0" y="6067"/>
                  </a:cubicBezTo>
                  <a:cubicBezTo>
                    <a:pt x="0" y="3034"/>
                    <a:pt x="3033" y="0"/>
                    <a:pt x="6066" y="0"/>
                  </a:cubicBezTo>
                  <a:cubicBezTo>
                    <a:pt x="6066" y="0"/>
                    <a:pt x="6066" y="0"/>
                    <a:pt x="6066" y="0"/>
                  </a:cubicBezTo>
                  <a:cubicBezTo>
                    <a:pt x="9101" y="0"/>
                    <a:pt x="12134" y="3034"/>
                    <a:pt x="12134" y="6067"/>
                  </a:cubicBezTo>
                  <a:cubicBezTo>
                    <a:pt x="12134" y="9101"/>
                    <a:pt x="21234" y="242697"/>
                    <a:pt x="69775" y="354944"/>
                  </a:cubicBezTo>
                  <a:cubicBezTo>
                    <a:pt x="69775" y="357977"/>
                    <a:pt x="69775" y="361011"/>
                    <a:pt x="63707" y="361011"/>
                  </a:cubicBezTo>
                  <a:cubicBezTo>
                    <a:pt x="66740" y="361011"/>
                    <a:pt x="66740" y="361011"/>
                    <a:pt x="63707" y="361011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67272980-EF73-4E20-AFF8-F6AD36136D9F}"/>
                </a:ext>
              </a:extLst>
            </p:cNvPr>
            <p:cNvSpPr/>
            <p:nvPr/>
          </p:nvSpPr>
          <p:spPr>
            <a:xfrm>
              <a:off x="20947118" y="4105909"/>
              <a:ext cx="154720" cy="351910"/>
            </a:xfrm>
            <a:custGeom>
              <a:avLst/>
              <a:gdLst>
                <a:gd name="connsiteX0" fmla="*/ 145618 w 154720"/>
                <a:gd name="connsiteY0" fmla="*/ 351910 h 351910"/>
                <a:gd name="connsiteX1" fmla="*/ 142585 w 154720"/>
                <a:gd name="connsiteY1" fmla="*/ 351910 h 351910"/>
                <a:gd name="connsiteX2" fmla="*/ 33372 w 154720"/>
                <a:gd name="connsiteY2" fmla="*/ 273034 h 351910"/>
                <a:gd name="connsiteX3" fmla="*/ 0 w 154720"/>
                <a:gd name="connsiteY3" fmla="*/ 6068 h 351910"/>
                <a:gd name="connsiteX4" fmla="*/ 6068 w 154720"/>
                <a:gd name="connsiteY4" fmla="*/ 0 h 351910"/>
                <a:gd name="connsiteX5" fmla="*/ 12136 w 154720"/>
                <a:gd name="connsiteY5" fmla="*/ 6068 h 351910"/>
                <a:gd name="connsiteX6" fmla="*/ 45506 w 154720"/>
                <a:gd name="connsiteY6" fmla="*/ 266966 h 351910"/>
                <a:gd name="connsiteX7" fmla="*/ 151685 w 154720"/>
                <a:gd name="connsiteY7" fmla="*/ 342809 h 351910"/>
                <a:gd name="connsiteX8" fmla="*/ 154720 w 154720"/>
                <a:gd name="connsiteY8" fmla="*/ 351910 h 351910"/>
                <a:gd name="connsiteX9" fmla="*/ 145618 w 154720"/>
                <a:gd name="connsiteY9" fmla="*/ 351910 h 351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4720" h="351910">
                  <a:moveTo>
                    <a:pt x="145618" y="351910"/>
                  </a:moveTo>
                  <a:cubicBezTo>
                    <a:pt x="145618" y="351910"/>
                    <a:pt x="142585" y="351910"/>
                    <a:pt x="142585" y="351910"/>
                  </a:cubicBezTo>
                  <a:cubicBezTo>
                    <a:pt x="133484" y="345843"/>
                    <a:pt x="45506" y="288202"/>
                    <a:pt x="33372" y="273034"/>
                  </a:cubicBezTo>
                  <a:cubicBezTo>
                    <a:pt x="21236" y="257865"/>
                    <a:pt x="3035" y="48540"/>
                    <a:pt x="0" y="6068"/>
                  </a:cubicBezTo>
                  <a:cubicBezTo>
                    <a:pt x="0" y="3034"/>
                    <a:pt x="3035" y="0"/>
                    <a:pt x="6068" y="0"/>
                  </a:cubicBezTo>
                  <a:cubicBezTo>
                    <a:pt x="9101" y="0"/>
                    <a:pt x="12136" y="3034"/>
                    <a:pt x="12136" y="6068"/>
                  </a:cubicBezTo>
                  <a:cubicBezTo>
                    <a:pt x="21236" y="100112"/>
                    <a:pt x="36405" y="254832"/>
                    <a:pt x="45506" y="266966"/>
                  </a:cubicBezTo>
                  <a:cubicBezTo>
                    <a:pt x="54606" y="276068"/>
                    <a:pt x="112248" y="318539"/>
                    <a:pt x="151685" y="342809"/>
                  </a:cubicBezTo>
                  <a:cubicBezTo>
                    <a:pt x="154720" y="345843"/>
                    <a:pt x="154720" y="348876"/>
                    <a:pt x="154720" y="351910"/>
                  </a:cubicBezTo>
                  <a:cubicBezTo>
                    <a:pt x="148652" y="348876"/>
                    <a:pt x="145618" y="351910"/>
                    <a:pt x="145618" y="351910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F4C8F99F-E5D9-4632-9797-3C13703C76CD}"/>
                </a:ext>
              </a:extLst>
            </p:cNvPr>
            <p:cNvSpPr/>
            <p:nvPr/>
          </p:nvSpPr>
          <p:spPr>
            <a:xfrm>
              <a:off x="21402174" y="4105909"/>
              <a:ext cx="203258" cy="221460"/>
            </a:xfrm>
            <a:custGeom>
              <a:avLst/>
              <a:gdLst>
                <a:gd name="connsiteX0" fmla="*/ 166854 w 203258"/>
                <a:gd name="connsiteY0" fmla="*/ 221461 h 221460"/>
                <a:gd name="connsiteX1" fmla="*/ 163821 w 203258"/>
                <a:gd name="connsiteY1" fmla="*/ 221461 h 221460"/>
                <a:gd name="connsiteX2" fmla="*/ 0 w 203258"/>
                <a:gd name="connsiteY2" fmla="*/ 21236 h 221460"/>
                <a:gd name="connsiteX3" fmla="*/ 0 w 203258"/>
                <a:gd name="connsiteY3" fmla="*/ 18202 h 221460"/>
                <a:gd name="connsiteX4" fmla="*/ 3035 w 203258"/>
                <a:gd name="connsiteY4" fmla="*/ 15169 h 221460"/>
                <a:gd name="connsiteX5" fmla="*/ 48540 w 203258"/>
                <a:gd name="connsiteY5" fmla="*/ 0 h 221460"/>
                <a:gd name="connsiteX6" fmla="*/ 54606 w 203258"/>
                <a:gd name="connsiteY6" fmla="*/ 3034 h 221460"/>
                <a:gd name="connsiteX7" fmla="*/ 200226 w 203258"/>
                <a:gd name="connsiteY7" fmla="*/ 182022 h 221460"/>
                <a:gd name="connsiteX8" fmla="*/ 203259 w 203258"/>
                <a:gd name="connsiteY8" fmla="*/ 185056 h 221460"/>
                <a:gd name="connsiteX9" fmla="*/ 203259 w 203258"/>
                <a:gd name="connsiteY9" fmla="*/ 188090 h 221460"/>
                <a:gd name="connsiteX10" fmla="*/ 172922 w 203258"/>
                <a:gd name="connsiteY10" fmla="*/ 221461 h 221460"/>
                <a:gd name="connsiteX11" fmla="*/ 166854 w 203258"/>
                <a:gd name="connsiteY11" fmla="*/ 221461 h 221460"/>
                <a:gd name="connsiteX12" fmla="*/ 12136 w 203258"/>
                <a:gd name="connsiteY12" fmla="*/ 21236 h 221460"/>
                <a:gd name="connsiteX13" fmla="*/ 166854 w 203258"/>
                <a:gd name="connsiteY13" fmla="*/ 209326 h 221460"/>
                <a:gd name="connsiteX14" fmla="*/ 191123 w 203258"/>
                <a:gd name="connsiteY14" fmla="*/ 185056 h 221460"/>
                <a:gd name="connsiteX15" fmla="*/ 48540 w 203258"/>
                <a:gd name="connsiteY15" fmla="*/ 9101 h 221460"/>
                <a:gd name="connsiteX16" fmla="*/ 12136 w 203258"/>
                <a:gd name="connsiteY16" fmla="*/ 21236 h 22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58" h="221460">
                  <a:moveTo>
                    <a:pt x="166854" y="221461"/>
                  </a:moveTo>
                  <a:cubicBezTo>
                    <a:pt x="166854" y="221461"/>
                    <a:pt x="163821" y="221461"/>
                    <a:pt x="163821" y="221461"/>
                  </a:cubicBezTo>
                  <a:cubicBezTo>
                    <a:pt x="157753" y="218427"/>
                    <a:pt x="33372" y="112247"/>
                    <a:pt x="0" y="21236"/>
                  </a:cubicBezTo>
                  <a:cubicBezTo>
                    <a:pt x="0" y="21236"/>
                    <a:pt x="0" y="18202"/>
                    <a:pt x="0" y="18202"/>
                  </a:cubicBezTo>
                  <a:cubicBezTo>
                    <a:pt x="0" y="18202"/>
                    <a:pt x="3035" y="15169"/>
                    <a:pt x="3035" y="15169"/>
                  </a:cubicBezTo>
                  <a:lnTo>
                    <a:pt x="48540" y="0"/>
                  </a:lnTo>
                  <a:cubicBezTo>
                    <a:pt x="51573" y="0"/>
                    <a:pt x="54606" y="0"/>
                    <a:pt x="54606" y="3034"/>
                  </a:cubicBezTo>
                  <a:cubicBezTo>
                    <a:pt x="54606" y="3034"/>
                    <a:pt x="115281" y="112247"/>
                    <a:pt x="200226" y="182022"/>
                  </a:cubicBezTo>
                  <a:cubicBezTo>
                    <a:pt x="200226" y="182022"/>
                    <a:pt x="203259" y="185056"/>
                    <a:pt x="203259" y="185056"/>
                  </a:cubicBezTo>
                  <a:cubicBezTo>
                    <a:pt x="203259" y="185056"/>
                    <a:pt x="203259" y="188090"/>
                    <a:pt x="203259" y="188090"/>
                  </a:cubicBezTo>
                  <a:lnTo>
                    <a:pt x="172922" y="221461"/>
                  </a:lnTo>
                  <a:cubicBezTo>
                    <a:pt x="169889" y="221461"/>
                    <a:pt x="169889" y="221461"/>
                    <a:pt x="166854" y="221461"/>
                  </a:cubicBezTo>
                  <a:close/>
                  <a:moveTo>
                    <a:pt x="12136" y="21236"/>
                  </a:moveTo>
                  <a:cubicBezTo>
                    <a:pt x="45506" y="100112"/>
                    <a:pt x="145618" y="191124"/>
                    <a:pt x="166854" y="209326"/>
                  </a:cubicBezTo>
                  <a:lnTo>
                    <a:pt x="191123" y="185056"/>
                  </a:lnTo>
                  <a:cubicBezTo>
                    <a:pt x="115281" y="121348"/>
                    <a:pt x="60674" y="30337"/>
                    <a:pt x="48540" y="9101"/>
                  </a:cubicBezTo>
                  <a:lnTo>
                    <a:pt x="12136" y="21236"/>
                  </a:ln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D6889EA8-260B-4105-ABA2-13FFCB04B9EE}"/>
                </a:ext>
              </a:extLst>
            </p:cNvPr>
            <p:cNvSpPr/>
            <p:nvPr/>
          </p:nvSpPr>
          <p:spPr>
            <a:xfrm>
              <a:off x="20498129" y="4111977"/>
              <a:ext cx="175954" cy="100112"/>
            </a:xfrm>
            <a:custGeom>
              <a:avLst/>
              <a:gdLst>
                <a:gd name="connsiteX0" fmla="*/ 6068 w 175954"/>
                <a:gd name="connsiteY0" fmla="*/ 100112 h 100112"/>
                <a:gd name="connsiteX1" fmla="*/ 0 w 175954"/>
                <a:gd name="connsiteY1" fmla="*/ 97079 h 100112"/>
                <a:gd name="connsiteX2" fmla="*/ 3033 w 175954"/>
                <a:gd name="connsiteY2" fmla="*/ 91011 h 100112"/>
                <a:gd name="connsiteX3" fmla="*/ 166854 w 175954"/>
                <a:gd name="connsiteY3" fmla="*/ 54607 h 100112"/>
                <a:gd name="connsiteX4" fmla="*/ 163821 w 175954"/>
                <a:gd name="connsiteY4" fmla="*/ 12135 h 100112"/>
                <a:gd name="connsiteX5" fmla="*/ 45506 w 175954"/>
                <a:gd name="connsiteY5" fmla="*/ 45506 h 100112"/>
                <a:gd name="connsiteX6" fmla="*/ 39438 w 175954"/>
                <a:gd name="connsiteY6" fmla="*/ 42472 h 100112"/>
                <a:gd name="connsiteX7" fmla="*/ 42473 w 175954"/>
                <a:gd name="connsiteY7" fmla="*/ 36404 h 100112"/>
                <a:gd name="connsiteX8" fmla="*/ 163821 w 175954"/>
                <a:gd name="connsiteY8" fmla="*/ 0 h 100112"/>
                <a:gd name="connsiteX9" fmla="*/ 169887 w 175954"/>
                <a:gd name="connsiteY9" fmla="*/ 0 h 100112"/>
                <a:gd name="connsiteX10" fmla="*/ 172922 w 175954"/>
                <a:gd name="connsiteY10" fmla="*/ 6067 h 100112"/>
                <a:gd name="connsiteX11" fmla="*/ 175955 w 175954"/>
                <a:gd name="connsiteY11" fmla="*/ 60674 h 100112"/>
                <a:gd name="connsiteX12" fmla="*/ 172922 w 175954"/>
                <a:gd name="connsiteY12" fmla="*/ 66741 h 100112"/>
                <a:gd name="connsiteX13" fmla="*/ 6068 w 175954"/>
                <a:gd name="connsiteY13" fmla="*/ 100112 h 100112"/>
                <a:gd name="connsiteX14" fmla="*/ 6068 w 175954"/>
                <a:gd name="connsiteY14" fmla="*/ 100112 h 100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5954" h="100112">
                  <a:moveTo>
                    <a:pt x="6068" y="100112"/>
                  </a:moveTo>
                  <a:cubicBezTo>
                    <a:pt x="3033" y="100112"/>
                    <a:pt x="0" y="97079"/>
                    <a:pt x="0" y="97079"/>
                  </a:cubicBezTo>
                  <a:cubicBezTo>
                    <a:pt x="0" y="94045"/>
                    <a:pt x="0" y="91011"/>
                    <a:pt x="3033" y="91011"/>
                  </a:cubicBezTo>
                  <a:lnTo>
                    <a:pt x="166854" y="54607"/>
                  </a:lnTo>
                  <a:lnTo>
                    <a:pt x="163821" y="12135"/>
                  </a:lnTo>
                  <a:cubicBezTo>
                    <a:pt x="136517" y="24270"/>
                    <a:pt x="57641" y="42472"/>
                    <a:pt x="45506" y="45506"/>
                  </a:cubicBezTo>
                  <a:cubicBezTo>
                    <a:pt x="42473" y="45506"/>
                    <a:pt x="39438" y="45506"/>
                    <a:pt x="39438" y="42472"/>
                  </a:cubicBezTo>
                  <a:cubicBezTo>
                    <a:pt x="39438" y="39438"/>
                    <a:pt x="39438" y="36404"/>
                    <a:pt x="42473" y="36404"/>
                  </a:cubicBezTo>
                  <a:cubicBezTo>
                    <a:pt x="84943" y="24270"/>
                    <a:pt x="154718" y="6067"/>
                    <a:pt x="163821" y="0"/>
                  </a:cubicBezTo>
                  <a:cubicBezTo>
                    <a:pt x="166854" y="0"/>
                    <a:pt x="166854" y="0"/>
                    <a:pt x="169887" y="0"/>
                  </a:cubicBezTo>
                  <a:cubicBezTo>
                    <a:pt x="172922" y="0"/>
                    <a:pt x="172922" y="3034"/>
                    <a:pt x="172922" y="6067"/>
                  </a:cubicBezTo>
                  <a:lnTo>
                    <a:pt x="175955" y="60674"/>
                  </a:lnTo>
                  <a:cubicBezTo>
                    <a:pt x="175955" y="63708"/>
                    <a:pt x="172922" y="66741"/>
                    <a:pt x="172922" y="66741"/>
                  </a:cubicBezTo>
                  <a:lnTo>
                    <a:pt x="6068" y="100112"/>
                  </a:lnTo>
                  <a:cubicBezTo>
                    <a:pt x="6068" y="100112"/>
                    <a:pt x="6068" y="100112"/>
                    <a:pt x="6068" y="100112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6AC41CF6-64FF-4700-A1CE-B6655011986D}"/>
                </a:ext>
              </a:extLst>
            </p:cNvPr>
            <p:cNvSpPr/>
            <p:nvPr/>
          </p:nvSpPr>
          <p:spPr>
            <a:xfrm>
              <a:off x="19879252" y="2784740"/>
              <a:ext cx="913019" cy="957416"/>
            </a:xfrm>
            <a:custGeom>
              <a:avLst/>
              <a:gdLst>
                <a:gd name="connsiteX0" fmla="*/ 855506 w 913019"/>
                <a:gd name="connsiteY0" fmla="*/ 10608 h 957416"/>
                <a:gd name="connsiteX1" fmla="*/ 521798 w 913019"/>
                <a:gd name="connsiteY1" fmla="*/ 250271 h 957416"/>
                <a:gd name="connsiteX2" fmla="*/ 385281 w 913019"/>
                <a:gd name="connsiteY2" fmla="*/ 674990 h 957416"/>
                <a:gd name="connsiteX3" fmla="*/ 9103 w 913019"/>
                <a:gd name="connsiteY3" fmla="*/ 310945 h 957416"/>
                <a:gd name="connsiteX4" fmla="*/ 0 w 913019"/>
                <a:gd name="connsiteY4" fmla="*/ 459596 h 957416"/>
                <a:gd name="connsiteX5" fmla="*/ 376181 w 913019"/>
                <a:gd name="connsiteY5" fmla="*/ 957125 h 957416"/>
                <a:gd name="connsiteX6" fmla="*/ 855506 w 913019"/>
                <a:gd name="connsiteY6" fmla="*/ 10608 h 957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3019" h="957416">
                  <a:moveTo>
                    <a:pt x="855506" y="10608"/>
                  </a:moveTo>
                  <a:cubicBezTo>
                    <a:pt x="752361" y="-47033"/>
                    <a:pt x="555170" y="144091"/>
                    <a:pt x="521798" y="250271"/>
                  </a:cubicBezTo>
                  <a:cubicBezTo>
                    <a:pt x="476293" y="386788"/>
                    <a:pt x="385281" y="674990"/>
                    <a:pt x="385281" y="674990"/>
                  </a:cubicBezTo>
                  <a:lnTo>
                    <a:pt x="9103" y="310945"/>
                  </a:lnTo>
                  <a:lnTo>
                    <a:pt x="0" y="459596"/>
                  </a:lnTo>
                  <a:cubicBezTo>
                    <a:pt x="0" y="459596"/>
                    <a:pt x="263933" y="944990"/>
                    <a:pt x="376181" y="957125"/>
                  </a:cubicBezTo>
                  <a:cubicBezTo>
                    <a:pt x="561236" y="975327"/>
                    <a:pt x="1086069" y="138023"/>
                    <a:pt x="855506" y="10608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43D0BB77-6EAE-48C6-96FD-51AA6D535B52}"/>
                </a:ext>
              </a:extLst>
            </p:cNvPr>
            <p:cNvSpPr/>
            <p:nvPr/>
          </p:nvSpPr>
          <p:spPr>
            <a:xfrm>
              <a:off x="20367680" y="2623593"/>
              <a:ext cx="471221" cy="608608"/>
            </a:xfrm>
            <a:custGeom>
              <a:avLst/>
              <a:gdLst>
                <a:gd name="connsiteX0" fmla="*/ 370113 w 471221"/>
                <a:gd name="connsiteY0" fmla="*/ 608609 h 608608"/>
                <a:gd name="connsiteX1" fmla="*/ 430787 w 471221"/>
                <a:gd name="connsiteY1" fmla="*/ 14002 h 608608"/>
                <a:gd name="connsiteX2" fmla="*/ 0 w 471221"/>
                <a:gd name="connsiteY2" fmla="*/ 411418 h 608608"/>
                <a:gd name="connsiteX3" fmla="*/ 370113 w 471221"/>
                <a:gd name="connsiteY3" fmla="*/ 608609 h 608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221" h="608608">
                  <a:moveTo>
                    <a:pt x="370113" y="608609"/>
                  </a:moveTo>
                  <a:cubicBezTo>
                    <a:pt x="370113" y="608609"/>
                    <a:pt x="549100" y="101979"/>
                    <a:pt x="430787" y="14002"/>
                  </a:cubicBezTo>
                  <a:cubicBezTo>
                    <a:pt x="294270" y="-89144"/>
                    <a:pt x="0" y="411418"/>
                    <a:pt x="0" y="411418"/>
                  </a:cubicBezTo>
                  <a:cubicBezTo>
                    <a:pt x="0" y="411418"/>
                    <a:pt x="160786" y="572204"/>
                    <a:pt x="370113" y="608609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AB890A85-540A-46E3-BD45-8EF3BF5AC217}"/>
                </a:ext>
              </a:extLst>
            </p:cNvPr>
            <p:cNvSpPr/>
            <p:nvPr/>
          </p:nvSpPr>
          <p:spPr>
            <a:xfrm>
              <a:off x="20983523" y="2367594"/>
              <a:ext cx="248764" cy="256965"/>
            </a:xfrm>
            <a:custGeom>
              <a:avLst/>
              <a:gdLst>
                <a:gd name="connsiteX0" fmla="*/ 0 w 248764"/>
                <a:gd name="connsiteY0" fmla="*/ 39438 h 256965"/>
                <a:gd name="connsiteX1" fmla="*/ 6068 w 248764"/>
                <a:gd name="connsiteY1" fmla="*/ 212360 h 256965"/>
                <a:gd name="connsiteX2" fmla="*/ 248764 w 248764"/>
                <a:gd name="connsiteY2" fmla="*/ 203258 h 256965"/>
                <a:gd name="connsiteX3" fmla="*/ 233596 w 248764"/>
                <a:gd name="connsiteY3" fmla="*/ 0 h 256965"/>
                <a:gd name="connsiteX4" fmla="*/ 0 w 248764"/>
                <a:gd name="connsiteY4" fmla="*/ 39438 h 25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764" h="256965">
                  <a:moveTo>
                    <a:pt x="0" y="39438"/>
                  </a:moveTo>
                  <a:cubicBezTo>
                    <a:pt x="0" y="39438"/>
                    <a:pt x="6068" y="139551"/>
                    <a:pt x="6068" y="212360"/>
                  </a:cubicBezTo>
                  <a:cubicBezTo>
                    <a:pt x="6068" y="212360"/>
                    <a:pt x="100112" y="318539"/>
                    <a:pt x="248764" y="203258"/>
                  </a:cubicBezTo>
                  <a:cubicBezTo>
                    <a:pt x="248764" y="142584"/>
                    <a:pt x="236629" y="63708"/>
                    <a:pt x="233596" y="0"/>
                  </a:cubicBezTo>
                  <a:cubicBezTo>
                    <a:pt x="236629" y="0"/>
                    <a:pt x="54606" y="51573"/>
                    <a:pt x="0" y="39438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037E2126-DD80-4F69-9FB7-B96A4D71C61D}"/>
                </a:ext>
              </a:extLst>
            </p:cNvPr>
            <p:cNvSpPr/>
            <p:nvPr/>
          </p:nvSpPr>
          <p:spPr>
            <a:xfrm>
              <a:off x="20614911" y="2528381"/>
              <a:ext cx="1029959" cy="1530148"/>
            </a:xfrm>
            <a:custGeom>
              <a:avLst/>
              <a:gdLst>
                <a:gd name="connsiteX0" fmla="*/ 635578 w 1029959"/>
                <a:gd name="connsiteY0" fmla="*/ 0 h 1530148"/>
                <a:gd name="connsiteX1" fmla="*/ 347375 w 1029959"/>
                <a:gd name="connsiteY1" fmla="*/ 0 h 1530148"/>
                <a:gd name="connsiteX2" fmla="*/ 50072 w 1029959"/>
                <a:gd name="connsiteY2" fmla="*/ 130449 h 1530148"/>
                <a:gd name="connsiteX3" fmla="*/ 1534 w 1029959"/>
                <a:gd name="connsiteY3" fmla="*/ 1525955 h 1530148"/>
                <a:gd name="connsiteX4" fmla="*/ 1029960 w 1029959"/>
                <a:gd name="connsiteY4" fmla="*/ 1504719 h 1530148"/>
                <a:gd name="connsiteX5" fmla="*/ 914679 w 1029959"/>
                <a:gd name="connsiteY5" fmla="*/ 103146 h 1530148"/>
                <a:gd name="connsiteX6" fmla="*/ 635578 w 1029959"/>
                <a:gd name="connsiteY6" fmla="*/ 0 h 1530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9959" h="1530148">
                  <a:moveTo>
                    <a:pt x="635578" y="0"/>
                  </a:moveTo>
                  <a:cubicBezTo>
                    <a:pt x="635578" y="0"/>
                    <a:pt x="462656" y="54607"/>
                    <a:pt x="347375" y="0"/>
                  </a:cubicBezTo>
                  <a:cubicBezTo>
                    <a:pt x="347375" y="0"/>
                    <a:pt x="74342" y="97079"/>
                    <a:pt x="50072" y="130449"/>
                  </a:cubicBezTo>
                  <a:cubicBezTo>
                    <a:pt x="25803" y="160787"/>
                    <a:pt x="-7569" y="1459214"/>
                    <a:pt x="1534" y="1525955"/>
                  </a:cubicBezTo>
                  <a:cubicBezTo>
                    <a:pt x="1534" y="1525955"/>
                    <a:pt x="438387" y="1544157"/>
                    <a:pt x="1029960" y="1504719"/>
                  </a:cubicBezTo>
                  <a:cubicBezTo>
                    <a:pt x="1029960" y="1149775"/>
                    <a:pt x="957152" y="133483"/>
                    <a:pt x="914679" y="103146"/>
                  </a:cubicBezTo>
                  <a:cubicBezTo>
                    <a:pt x="872206" y="72809"/>
                    <a:pt x="635578" y="0"/>
                    <a:pt x="635578" y="0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801AC0F9-7AF2-44D4-AA53-DE39A1024A78}"/>
                </a:ext>
              </a:extLst>
            </p:cNvPr>
            <p:cNvSpPr/>
            <p:nvPr/>
          </p:nvSpPr>
          <p:spPr>
            <a:xfrm>
              <a:off x="20628578" y="2654540"/>
              <a:ext cx="43728" cy="571593"/>
            </a:xfrm>
            <a:custGeom>
              <a:avLst/>
              <a:gdLst>
                <a:gd name="connsiteX0" fmla="*/ 6068 w 43728"/>
                <a:gd name="connsiteY0" fmla="*/ 571594 h 571593"/>
                <a:gd name="connsiteX1" fmla="*/ 6068 w 43728"/>
                <a:gd name="connsiteY1" fmla="*/ 571594 h 571593"/>
                <a:gd name="connsiteX2" fmla="*/ 0 w 43728"/>
                <a:gd name="connsiteY2" fmla="*/ 565526 h 571593"/>
                <a:gd name="connsiteX3" fmla="*/ 33372 w 43728"/>
                <a:gd name="connsiteY3" fmla="*/ 4290 h 571593"/>
                <a:gd name="connsiteX4" fmla="*/ 39438 w 43728"/>
                <a:gd name="connsiteY4" fmla="*/ 1257 h 571593"/>
                <a:gd name="connsiteX5" fmla="*/ 42473 w 43728"/>
                <a:gd name="connsiteY5" fmla="*/ 7324 h 571593"/>
                <a:gd name="connsiteX6" fmla="*/ 9101 w 43728"/>
                <a:gd name="connsiteY6" fmla="*/ 568560 h 571593"/>
                <a:gd name="connsiteX7" fmla="*/ 6068 w 43728"/>
                <a:gd name="connsiteY7" fmla="*/ 571594 h 571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728" h="571593">
                  <a:moveTo>
                    <a:pt x="6068" y="571594"/>
                  </a:moveTo>
                  <a:cubicBezTo>
                    <a:pt x="6068" y="571594"/>
                    <a:pt x="6068" y="571594"/>
                    <a:pt x="6068" y="571594"/>
                  </a:cubicBezTo>
                  <a:cubicBezTo>
                    <a:pt x="3035" y="571594"/>
                    <a:pt x="0" y="568560"/>
                    <a:pt x="0" y="565526"/>
                  </a:cubicBezTo>
                  <a:cubicBezTo>
                    <a:pt x="0" y="544290"/>
                    <a:pt x="24269" y="43729"/>
                    <a:pt x="33372" y="4290"/>
                  </a:cubicBezTo>
                  <a:cubicBezTo>
                    <a:pt x="33372" y="1257"/>
                    <a:pt x="36405" y="-1777"/>
                    <a:pt x="39438" y="1257"/>
                  </a:cubicBezTo>
                  <a:cubicBezTo>
                    <a:pt x="42473" y="1257"/>
                    <a:pt x="45506" y="4290"/>
                    <a:pt x="42473" y="7324"/>
                  </a:cubicBezTo>
                  <a:cubicBezTo>
                    <a:pt x="33372" y="46762"/>
                    <a:pt x="9101" y="562493"/>
                    <a:pt x="9101" y="568560"/>
                  </a:cubicBezTo>
                  <a:cubicBezTo>
                    <a:pt x="9101" y="568560"/>
                    <a:pt x="9101" y="571594"/>
                    <a:pt x="6068" y="571594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E3A606FD-7E50-46A0-80B6-44E67D5160DE}"/>
                </a:ext>
              </a:extLst>
            </p:cNvPr>
            <p:cNvSpPr/>
            <p:nvPr/>
          </p:nvSpPr>
          <p:spPr>
            <a:xfrm>
              <a:off x="20610377" y="2533170"/>
              <a:ext cx="1034547" cy="1550003"/>
            </a:xfrm>
            <a:custGeom>
              <a:avLst/>
              <a:gdLst>
                <a:gd name="connsiteX0" fmla="*/ 667416 w 1034547"/>
                <a:gd name="connsiteY0" fmla="*/ 4312 h 1550003"/>
                <a:gd name="connsiteX1" fmla="*/ 579438 w 1034547"/>
                <a:gd name="connsiteY1" fmla="*/ 550379 h 1550003"/>
                <a:gd name="connsiteX2" fmla="*/ 282134 w 1034547"/>
                <a:gd name="connsiteY2" fmla="*/ 547346 h 1550003"/>
                <a:gd name="connsiteX3" fmla="*/ 269999 w 1034547"/>
                <a:gd name="connsiteY3" fmla="*/ 25548 h 1550003"/>
                <a:gd name="connsiteX4" fmla="*/ 169887 w 1034547"/>
                <a:gd name="connsiteY4" fmla="*/ 64986 h 1550003"/>
                <a:gd name="connsiteX5" fmla="*/ 160786 w 1034547"/>
                <a:gd name="connsiteY5" fmla="*/ 556447 h 1550003"/>
                <a:gd name="connsiteX6" fmla="*/ 18202 w 1034547"/>
                <a:gd name="connsiteY6" fmla="*/ 768806 h 1550003"/>
                <a:gd name="connsiteX7" fmla="*/ 0 w 1034547"/>
                <a:gd name="connsiteY7" fmla="*/ 1521166 h 1550003"/>
                <a:gd name="connsiteX8" fmla="*/ 1034494 w 1034547"/>
                <a:gd name="connsiteY8" fmla="*/ 1496896 h 1550003"/>
                <a:gd name="connsiteX9" fmla="*/ 998089 w 1034547"/>
                <a:gd name="connsiteY9" fmla="*/ 771840 h 1550003"/>
                <a:gd name="connsiteX10" fmla="*/ 725055 w 1034547"/>
                <a:gd name="connsiteY10" fmla="*/ 547346 h 1550003"/>
                <a:gd name="connsiteX11" fmla="*/ 752359 w 1034547"/>
                <a:gd name="connsiteY11" fmla="*/ 28582 h 1550003"/>
                <a:gd name="connsiteX12" fmla="*/ 667416 w 1034547"/>
                <a:gd name="connsiteY12" fmla="*/ 4312 h 155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34547" h="1550003">
                  <a:moveTo>
                    <a:pt x="667416" y="4312"/>
                  </a:moveTo>
                  <a:cubicBezTo>
                    <a:pt x="667416" y="4312"/>
                    <a:pt x="582472" y="247009"/>
                    <a:pt x="579438" y="550379"/>
                  </a:cubicBezTo>
                  <a:cubicBezTo>
                    <a:pt x="579438" y="550379"/>
                    <a:pt x="333708" y="571615"/>
                    <a:pt x="282134" y="547346"/>
                  </a:cubicBezTo>
                  <a:cubicBezTo>
                    <a:pt x="282134" y="547346"/>
                    <a:pt x="248764" y="122627"/>
                    <a:pt x="269999" y="25548"/>
                  </a:cubicBezTo>
                  <a:cubicBezTo>
                    <a:pt x="269999" y="25548"/>
                    <a:pt x="188090" y="34649"/>
                    <a:pt x="169887" y="64986"/>
                  </a:cubicBezTo>
                  <a:cubicBezTo>
                    <a:pt x="169887" y="64986"/>
                    <a:pt x="166854" y="492739"/>
                    <a:pt x="160786" y="556447"/>
                  </a:cubicBezTo>
                  <a:cubicBezTo>
                    <a:pt x="154718" y="623188"/>
                    <a:pt x="18202" y="768806"/>
                    <a:pt x="18202" y="768806"/>
                  </a:cubicBezTo>
                  <a:lnTo>
                    <a:pt x="0" y="1521166"/>
                  </a:lnTo>
                  <a:cubicBezTo>
                    <a:pt x="0" y="1521166"/>
                    <a:pt x="706854" y="1600042"/>
                    <a:pt x="1034494" y="1496896"/>
                  </a:cubicBezTo>
                  <a:cubicBezTo>
                    <a:pt x="1034494" y="1496896"/>
                    <a:pt x="1037529" y="1069143"/>
                    <a:pt x="998089" y="771840"/>
                  </a:cubicBezTo>
                  <a:cubicBezTo>
                    <a:pt x="922246" y="768806"/>
                    <a:pt x="746291" y="674761"/>
                    <a:pt x="725055" y="547346"/>
                  </a:cubicBezTo>
                  <a:cubicBezTo>
                    <a:pt x="700786" y="419930"/>
                    <a:pt x="685617" y="155997"/>
                    <a:pt x="752359" y="28582"/>
                  </a:cubicBezTo>
                  <a:cubicBezTo>
                    <a:pt x="755392" y="31615"/>
                    <a:pt x="703821" y="-13890"/>
                    <a:pt x="667416" y="4312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975347AC-CA95-4234-A5B7-7722CC0AE135}"/>
                </a:ext>
              </a:extLst>
            </p:cNvPr>
            <p:cNvSpPr/>
            <p:nvPr/>
          </p:nvSpPr>
          <p:spPr>
            <a:xfrm>
              <a:off x="20607342" y="3914786"/>
              <a:ext cx="1037528" cy="160994"/>
            </a:xfrm>
            <a:custGeom>
              <a:avLst/>
              <a:gdLst>
                <a:gd name="connsiteX0" fmla="*/ 3035 w 1037528"/>
                <a:gd name="connsiteY0" fmla="*/ 142584 h 160994"/>
                <a:gd name="connsiteX1" fmla="*/ 1037529 w 1037528"/>
                <a:gd name="connsiteY1" fmla="*/ 118315 h 160994"/>
                <a:gd name="connsiteX2" fmla="*/ 1037529 w 1037528"/>
                <a:gd name="connsiteY2" fmla="*/ 0 h 160994"/>
                <a:gd name="connsiteX3" fmla="*/ 0 w 1037528"/>
                <a:gd name="connsiteY3" fmla="*/ 33371 h 160994"/>
                <a:gd name="connsiteX4" fmla="*/ 3035 w 1037528"/>
                <a:gd name="connsiteY4" fmla="*/ 142584 h 160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7528" h="160994">
                  <a:moveTo>
                    <a:pt x="3035" y="142584"/>
                  </a:moveTo>
                  <a:cubicBezTo>
                    <a:pt x="3035" y="142584"/>
                    <a:pt x="445955" y="197191"/>
                    <a:pt x="1037529" y="118315"/>
                  </a:cubicBezTo>
                  <a:lnTo>
                    <a:pt x="1037529" y="0"/>
                  </a:lnTo>
                  <a:cubicBezTo>
                    <a:pt x="1037529" y="0"/>
                    <a:pt x="379214" y="57640"/>
                    <a:pt x="0" y="33371"/>
                  </a:cubicBezTo>
                  <a:lnTo>
                    <a:pt x="3035" y="142584"/>
                  </a:ln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9" name="图形 1">
              <a:extLst>
                <a:ext uri="{FF2B5EF4-FFF2-40B4-BE49-F238E27FC236}">
                  <a16:creationId xmlns:a16="http://schemas.microsoft.com/office/drawing/2014/main" id="{B011906A-EEB4-4FE4-960B-EC9667EA4260}"/>
                </a:ext>
              </a:extLst>
            </p:cNvPr>
            <p:cNvGrpSpPr/>
            <p:nvPr/>
          </p:nvGrpSpPr>
          <p:grpSpPr>
            <a:xfrm>
              <a:off x="20910713" y="3929954"/>
              <a:ext cx="215394" cy="163820"/>
              <a:chOff x="20910713" y="3929954"/>
              <a:chExt cx="215394" cy="163820"/>
            </a:xfrm>
          </p:grpSpPr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0CE7C47B-029E-4E65-8999-BF7F1CE64B46}"/>
                  </a:ext>
                </a:extLst>
              </p:cNvPr>
              <p:cNvSpPr/>
              <p:nvPr/>
            </p:nvSpPr>
            <p:spPr>
              <a:xfrm>
                <a:off x="20910713" y="3929954"/>
                <a:ext cx="215394" cy="163820"/>
              </a:xfrm>
              <a:custGeom>
                <a:avLst/>
                <a:gdLst>
                  <a:gd name="connsiteX0" fmla="*/ 21236 w 215394"/>
                  <a:gd name="connsiteY0" fmla="*/ 163820 h 163820"/>
                  <a:gd name="connsiteX1" fmla="*/ 194158 w 215394"/>
                  <a:gd name="connsiteY1" fmla="*/ 163820 h 163820"/>
                  <a:gd name="connsiteX2" fmla="*/ 215394 w 215394"/>
                  <a:gd name="connsiteY2" fmla="*/ 142584 h 163820"/>
                  <a:gd name="connsiteX3" fmla="*/ 215394 w 215394"/>
                  <a:gd name="connsiteY3" fmla="*/ 21236 h 163820"/>
                  <a:gd name="connsiteX4" fmla="*/ 194158 w 215394"/>
                  <a:gd name="connsiteY4" fmla="*/ 0 h 163820"/>
                  <a:gd name="connsiteX5" fmla="*/ 21236 w 215394"/>
                  <a:gd name="connsiteY5" fmla="*/ 0 h 163820"/>
                  <a:gd name="connsiteX6" fmla="*/ 0 w 215394"/>
                  <a:gd name="connsiteY6" fmla="*/ 21236 h 163820"/>
                  <a:gd name="connsiteX7" fmla="*/ 0 w 215394"/>
                  <a:gd name="connsiteY7" fmla="*/ 142584 h 163820"/>
                  <a:gd name="connsiteX8" fmla="*/ 21236 w 215394"/>
                  <a:gd name="connsiteY8" fmla="*/ 163820 h 163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5394" h="163820">
                    <a:moveTo>
                      <a:pt x="21236" y="163820"/>
                    </a:moveTo>
                    <a:lnTo>
                      <a:pt x="194158" y="163820"/>
                    </a:lnTo>
                    <a:cubicBezTo>
                      <a:pt x="206294" y="163820"/>
                      <a:pt x="215394" y="154719"/>
                      <a:pt x="215394" y="142584"/>
                    </a:cubicBezTo>
                    <a:lnTo>
                      <a:pt x="215394" y="21236"/>
                    </a:lnTo>
                    <a:cubicBezTo>
                      <a:pt x="215394" y="9101"/>
                      <a:pt x="206294" y="0"/>
                      <a:pt x="194158" y="0"/>
                    </a:cubicBezTo>
                    <a:lnTo>
                      <a:pt x="21236" y="0"/>
                    </a:lnTo>
                    <a:cubicBezTo>
                      <a:pt x="9103" y="0"/>
                      <a:pt x="0" y="9101"/>
                      <a:pt x="0" y="21236"/>
                    </a:cubicBezTo>
                    <a:lnTo>
                      <a:pt x="0" y="142584"/>
                    </a:lnTo>
                    <a:cubicBezTo>
                      <a:pt x="0" y="154719"/>
                      <a:pt x="9103" y="163820"/>
                      <a:pt x="21236" y="16382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A1CC3B17-3D1A-445C-A75C-7A8D3821A0F4}"/>
                  </a:ext>
                </a:extLst>
              </p:cNvPr>
              <p:cNvSpPr/>
              <p:nvPr/>
            </p:nvSpPr>
            <p:spPr>
              <a:xfrm>
                <a:off x="20938017" y="3954224"/>
                <a:ext cx="157753" cy="118314"/>
              </a:xfrm>
              <a:custGeom>
                <a:avLst/>
                <a:gdLst>
                  <a:gd name="connsiteX0" fmla="*/ 15169 w 157753"/>
                  <a:gd name="connsiteY0" fmla="*/ 118315 h 118314"/>
                  <a:gd name="connsiteX1" fmla="*/ 142585 w 157753"/>
                  <a:gd name="connsiteY1" fmla="*/ 118315 h 118314"/>
                  <a:gd name="connsiteX2" fmla="*/ 157753 w 157753"/>
                  <a:gd name="connsiteY2" fmla="*/ 103146 h 118314"/>
                  <a:gd name="connsiteX3" fmla="*/ 157753 w 157753"/>
                  <a:gd name="connsiteY3" fmla="*/ 15169 h 118314"/>
                  <a:gd name="connsiteX4" fmla="*/ 142585 w 157753"/>
                  <a:gd name="connsiteY4" fmla="*/ 0 h 118314"/>
                  <a:gd name="connsiteX5" fmla="*/ 15169 w 157753"/>
                  <a:gd name="connsiteY5" fmla="*/ 0 h 118314"/>
                  <a:gd name="connsiteX6" fmla="*/ 0 w 157753"/>
                  <a:gd name="connsiteY6" fmla="*/ 15169 h 118314"/>
                  <a:gd name="connsiteX7" fmla="*/ 0 w 157753"/>
                  <a:gd name="connsiteY7" fmla="*/ 103146 h 118314"/>
                  <a:gd name="connsiteX8" fmla="*/ 15169 w 157753"/>
                  <a:gd name="connsiteY8" fmla="*/ 118315 h 11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753" h="118314">
                    <a:moveTo>
                      <a:pt x="15169" y="118315"/>
                    </a:moveTo>
                    <a:lnTo>
                      <a:pt x="142585" y="118315"/>
                    </a:lnTo>
                    <a:cubicBezTo>
                      <a:pt x="151685" y="118315"/>
                      <a:pt x="157753" y="112247"/>
                      <a:pt x="157753" y="103146"/>
                    </a:cubicBezTo>
                    <a:lnTo>
                      <a:pt x="157753" y="15169"/>
                    </a:lnTo>
                    <a:cubicBezTo>
                      <a:pt x="157753" y="6068"/>
                      <a:pt x="151685" y="0"/>
                      <a:pt x="142585" y="0"/>
                    </a:cubicBezTo>
                    <a:lnTo>
                      <a:pt x="15169" y="0"/>
                    </a:lnTo>
                    <a:cubicBezTo>
                      <a:pt x="6068" y="0"/>
                      <a:pt x="0" y="6068"/>
                      <a:pt x="0" y="15169"/>
                    </a:cubicBezTo>
                    <a:lnTo>
                      <a:pt x="0" y="103146"/>
                    </a:lnTo>
                    <a:cubicBezTo>
                      <a:pt x="0" y="112247"/>
                      <a:pt x="6068" y="118315"/>
                      <a:pt x="15169" y="118315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7AC27041-18E3-412C-8330-C607934BC9B2}"/>
                </a:ext>
              </a:extLst>
            </p:cNvPr>
            <p:cNvSpPr/>
            <p:nvPr/>
          </p:nvSpPr>
          <p:spPr>
            <a:xfrm>
              <a:off x="20816669" y="3238269"/>
              <a:ext cx="376581" cy="288202"/>
            </a:xfrm>
            <a:custGeom>
              <a:avLst/>
              <a:gdLst>
                <a:gd name="connsiteX0" fmla="*/ 172922 w 376581"/>
                <a:gd name="connsiteY0" fmla="*/ 288202 h 288202"/>
                <a:gd name="connsiteX1" fmla="*/ 172922 w 376581"/>
                <a:gd name="connsiteY1" fmla="*/ 288202 h 288202"/>
                <a:gd name="connsiteX2" fmla="*/ 18202 w 376581"/>
                <a:gd name="connsiteY2" fmla="*/ 175955 h 288202"/>
                <a:gd name="connsiteX3" fmla="*/ 15169 w 376581"/>
                <a:gd name="connsiteY3" fmla="*/ 175955 h 288202"/>
                <a:gd name="connsiteX4" fmla="*/ 15169 w 376581"/>
                <a:gd name="connsiteY4" fmla="*/ 172921 h 288202"/>
                <a:gd name="connsiteX5" fmla="*/ 0 w 376581"/>
                <a:gd name="connsiteY5" fmla="*/ 0 h 288202"/>
                <a:gd name="connsiteX6" fmla="*/ 6068 w 376581"/>
                <a:gd name="connsiteY6" fmla="*/ 0 h 288202"/>
                <a:gd name="connsiteX7" fmla="*/ 370113 w 376581"/>
                <a:gd name="connsiteY7" fmla="*/ 0 h 288202"/>
                <a:gd name="connsiteX8" fmla="*/ 376181 w 376581"/>
                <a:gd name="connsiteY8" fmla="*/ 0 h 288202"/>
                <a:gd name="connsiteX9" fmla="*/ 376181 w 376581"/>
                <a:gd name="connsiteY9" fmla="*/ 6067 h 288202"/>
                <a:gd name="connsiteX10" fmla="*/ 364045 w 376581"/>
                <a:gd name="connsiteY10" fmla="*/ 206292 h 288202"/>
                <a:gd name="connsiteX11" fmla="*/ 364045 w 376581"/>
                <a:gd name="connsiteY11" fmla="*/ 209326 h 288202"/>
                <a:gd name="connsiteX12" fmla="*/ 361012 w 376581"/>
                <a:gd name="connsiteY12" fmla="*/ 209326 h 288202"/>
                <a:gd name="connsiteX13" fmla="*/ 172922 w 376581"/>
                <a:gd name="connsiteY13" fmla="*/ 288202 h 288202"/>
                <a:gd name="connsiteX14" fmla="*/ 172922 w 376581"/>
                <a:gd name="connsiteY14" fmla="*/ 288202 h 288202"/>
                <a:gd name="connsiteX15" fmla="*/ 30337 w 376581"/>
                <a:gd name="connsiteY15" fmla="*/ 169888 h 288202"/>
                <a:gd name="connsiteX16" fmla="*/ 172922 w 376581"/>
                <a:gd name="connsiteY16" fmla="*/ 276068 h 288202"/>
                <a:gd name="connsiteX17" fmla="*/ 354944 w 376581"/>
                <a:gd name="connsiteY17" fmla="*/ 200225 h 288202"/>
                <a:gd name="connsiteX18" fmla="*/ 367078 w 376581"/>
                <a:gd name="connsiteY18" fmla="*/ 9101 h 288202"/>
                <a:gd name="connsiteX19" fmla="*/ 15169 w 376581"/>
                <a:gd name="connsiteY19" fmla="*/ 9101 h 288202"/>
                <a:gd name="connsiteX20" fmla="*/ 30337 w 376581"/>
                <a:gd name="connsiteY20" fmla="*/ 169888 h 28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6581" h="288202">
                  <a:moveTo>
                    <a:pt x="172922" y="288202"/>
                  </a:moveTo>
                  <a:lnTo>
                    <a:pt x="172922" y="288202"/>
                  </a:lnTo>
                  <a:cubicBezTo>
                    <a:pt x="142585" y="279101"/>
                    <a:pt x="33370" y="188090"/>
                    <a:pt x="18202" y="175955"/>
                  </a:cubicBezTo>
                  <a:lnTo>
                    <a:pt x="15169" y="175955"/>
                  </a:lnTo>
                  <a:lnTo>
                    <a:pt x="15169" y="172921"/>
                  </a:lnTo>
                  <a:lnTo>
                    <a:pt x="0" y="0"/>
                  </a:lnTo>
                  <a:lnTo>
                    <a:pt x="6068" y="0"/>
                  </a:lnTo>
                  <a:cubicBezTo>
                    <a:pt x="200224" y="15169"/>
                    <a:pt x="367078" y="0"/>
                    <a:pt x="370113" y="0"/>
                  </a:cubicBezTo>
                  <a:lnTo>
                    <a:pt x="376181" y="0"/>
                  </a:lnTo>
                  <a:lnTo>
                    <a:pt x="376181" y="6067"/>
                  </a:lnTo>
                  <a:cubicBezTo>
                    <a:pt x="379214" y="78876"/>
                    <a:pt x="364045" y="206292"/>
                    <a:pt x="364045" y="206292"/>
                  </a:cubicBezTo>
                  <a:lnTo>
                    <a:pt x="364045" y="209326"/>
                  </a:lnTo>
                  <a:lnTo>
                    <a:pt x="361012" y="209326"/>
                  </a:lnTo>
                  <a:cubicBezTo>
                    <a:pt x="336741" y="224494"/>
                    <a:pt x="182022" y="285169"/>
                    <a:pt x="172922" y="288202"/>
                  </a:cubicBezTo>
                  <a:lnTo>
                    <a:pt x="172922" y="288202"/>
                  </a:lnTo>
                  <a:close/>
                  <a:moveTo>
                    <a:pt x="30337" y="169888"/>
                  </a:moveTo>
                  <a:cubicBezTo>
                    <a:pt x="63707" y="197191"/>
                    <a:pt x="151685" y="266966"/>
                    <a:pt x="172922" y="276068"/>
                  </a:cubicBezTo>
                  <a:cubicBezTo>
                    <a:pt x="191123" y="270000"/>
                    <a:pt x="324607" y="215393"/>
                    <a:pt x="354944" y="200225"/>
                  </a:cubicBezTo>
                  <a:cubicBezTo>
                    <a:pt x="357977" y="182022"/>
                    <a:pt x="370113" y="75843"/>
                    <a:pt x="367078" y="9101"/>
                  </a:cubicBezTo>
                  <a:cubicBezTo>
                    <a:pt x="336741" y="12135"/>
                    <a:pt x="185055" y="24270"/>
                    <a:pt x="15169" y="9101"/>
                  </a:cubicBezTo>
                  <a:lnTo>
                    <a:pt x="30337" y="169888"/>
                  </a:ln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7868634C-1238-436B-9730-A7DA9239782D}"/>
                </a:ext>
              </a:extLst>
            </p:cNvPr>
            <p:cNvSpPr/>
            <p:nvPr/>
          </p:nvSpPr>
          <p:spPr>
            <a:xfrm>
              <a:off x="19927793" y="5795684"/>
              <a:ext cx="362248" cy="159357"/>
            </a:xfrm>
            <a:custGeom>
              <a:avLst/>
              <a:gdLst>
                <a:gd name="connsiteX0" fmla="*/ 348876 w 362248"/>
                <a:gd name="connsiteY0" fmla="*/ 0 h 159357"/>
                <a:gd name="connsiteX1" fmla="*/ 361010 w 362248"/>
                <a:gd name="connsiteY1" fmla="*/ 109214 h 159357"/>
                <a:gd name="connsiteX2" fmla="*/ 15169 w 362248"/>
                <a:gd name="connsiteY2" fmla="*/ 157753 h 159357"/>
                <a:gd name="connsiteX3" fmla="*/ 0 w 362248"/>
                <a:gd name="connsiteY3" fmla="*/ 57641 h 159357"/>
                <a:gd name="connsiteX4" fmla="*/ 348876 w 362248"/>
                <a:gd name="connsiteY4" fmla="*/ 0 h 159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2248" h="159357">
                  <a:moveTo>
                    <a:pt x="348876" y="0"/>
                  </a:moveTo>
                  <a:cubicBezTo>
                    <a:pt x="348876" y="0"/>
                    <a:pt x="367078" y="60674"/>
                    <a:pt x="361010" y="109214"/>
                  </a:cubicBezTo>
                  <a:cubicBezTo>
                    <a:pt x="361010" y="109214"/>
                    <a:pt x="178988" y="169888"/>
                    <a:pt x="15169" y="157753"/>
                  </a:cubicBezTo>
                  <a:cubicBezTo>
                    <a:pt x="15169" y="157753"/>
                    <a:pt x="0" y="100112"/>
                    <a:pt x="0" y="57641"/>
                  </a:cubicBezTo>
                  <a:cubicBezTo>
                    <a:pt x="3033" y="54607"/>
                    <a:pt x="257865" y="39438"/>
                    <a:pt x="348876" y="0"/>
                  </a:cubicBezTo>
                  <a:close/>
                </a:path>
              </a:pathLst>
            </a:custGeom>
            <a:solidFill>
              <a:srgbClr val="9DB3D1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BB3CA610-6FAF-4B0A-9138-127F826EDD1F}"/>
                </a:ext>
              </a:extLst>
            </p:cNvPr>
            <p:cNvSpPr/>
            <p:nvPr/>
          </p:nvSpPr>
          <p:spPr>
            <a:xfrm>
              <a:off x="21275096" y="6229504"/>
              <a:ext cx="356965" cy="126331"/>
            </a:xfrm>
            <a:custGeom>
              <a:avLst/>
              <a:gdLst>
                <a:gd name="connsiteX0" fmla="*/ 351573 w 356965"/>
                <a:gd name="connsiteY0" fmla="*/ 0 h 126331"/>
                <a:gd name="connsiteX1" fmla="*/ 351573 w 356965"/>
                <a:gd name="connsiteY1" fmla="*/ 109214 h 126331"/>
                <a:gd name="connsiteX2" fmla="*/ 2697 w 356965"/>
                <a:gd name="connsiteY2" fmla="*/ 112247 h 126331"/>
                <a:gd name="connsiteX3" fmla="*/ 2697 w 356965"/>
                <a:gd name="connsiteY3" fmla="*/ 12135 h 126331"/>
                <a:gd name="connsiteX4" fmla="*/ 351573 w 356965"/>
                <a:gd name="connsiteY4" fmla="*/ 0 h 126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965" h="126331">
                  <a:moveTo>
                    <a:pt x="351573" y="0"/>
                  </a:moveTo>
                  <a:cubicBezTo>
                    <a:pt x="351573" y="0"/>
                    <a:pt x="363707" y="63708"/>
                    <a:pt x="351573" y="109214"/>
                  </a:cubicBezTo>
                  <a:cubicBezTo>
                    <a:pt x="351573" y="109214"/>
                    <a:pt x="163483" y="145618"/>
                    <a:pt x="2697" y="112247"/>
                  </a:cubicBezTo>
                  <a:cubicBezTo>
                    <a:pt x="2697" y="112247"/>
                    <a:pt x="-3371" y="54607"/>
                    <a:pt x="2697" y="12135"/>
                  </a:cubicBezTo>
                  <a:cubicBezTo>
                    <a:pt x="-338" y="12135"/>
                    <a:pt x="254494" y="27304"/>
                    <a:pt x="351573" y="0"/>
                  </a:cubicBezTo>
                  <a:close/>
                </a:path>
              </a:pathLst>
            </a:custGeom>
            <a:solidFill>
              <a:srgbClr val="9DB3D1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675240D7-B812-47E5-9339-2C99A5FFDEDE}"/>
                </a:ext>
              </a:extLst>
            </p:cNvPr>
            <p:cNvSpPr/>
            <p:nvPr/>
          </p:nvSpPr>
          <p:spPr>
            <a:xfrm>
              <a:off x="21009858" y="3053212"/>
              <a:ext cx="768028" cy="910112"/>
            </a:xfrm>
            <a:custGeom>
              <a:avLst/>
              <a:gdLst>
                <a:gd name="connsiteX0" fmla="*/ 413553 w 768028"/>
                <a:gd name="connsiteY0" fmla="*/ 27303 h 910112"/>
                <a:gd name="connsiteX1" fmla="*/ 498496 w 768028"/>
                <a:gd name="connsiteY1" fmla="*/ 609775 h 910112"/>
                <a:gd name="connsiteX2" fmla="*/ 4002 w 768028"/>
                <a:gd name="connsiteY2" fmla="*/ 791798 h 910112"/>
                <a:gd name="connsiteX3" fmla="*/ 73777 w 768028"/>
                <a:gd name="connsiteY3" fmla="*/ 910112 h 910112"/>
                <a:gd name="connsiteX4" fmla="*/ 729059 w 768028"/>
                <a:gd name="connsiteY4" fmla="*/ 749326 h 910112"/>
                <a:gd name="connsiteX5" fmla="*/ 704788 w 768028"/>
                <a:gd name="connsiteY5" fmla="*/ 0 h 910112"/>
                <a:gd name="connsiteX6" fmla="*/ 413553 w 768028"/>
                <a:gd name="connsiteY6" fmla="*/ 27303 h 910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8028" h="910112">
                  <a:moveTo>
                    <a:pt x="413553" y="27303"/>
                  </a:moveTo>
                  <a:lnTo>
                    <a:pt x="498496" y="609775"/>
                  </a:lnTo>
                  <a:cubicBezTo>
                    <a:pt x="498496" y="609775"/>
                    <a:pt x="119282" y="688652"/>
                    <a:pt x="4002" y="791798"/>
                  </a:cubicBezTo>
                  <a:cubicBezTo>
                    <a:pt x="-20267" y="816067"/>
                    <a:pt x="73777" y="910112"/>
                    <a:pt x="73777" y="910112"/>
                  </a:cubicBezTo>
                  <a:cubicBezTo>
                    <a:pt x="73777" y="910112"/>
                    <a:pt x="628945" y="828202"/>
                    <a:pt x="729059" y="749326"/>
                  </a:cubicBezTo>
                  <a:cubicBezTo>
                    <a:pt x="829171" y="670449"/>
                    <a:pt x="704788" y="0"/>
                    <a:pt x="704788" y="0"/>
                  </a:cubicBezTo>
                  <a:lnTo>
                    <a:pt x="413553" y="27303"/>
                  </a:ln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4F0FFE61-9358-4B59-B4BB-70704604CBE8}"/>
                </a:ext>
              </a:extLst>
            </p:cNvPr>
            <p:cNvSpPr/>
            <p:nvPr/>
          </p:nvSpPr>
          <p:spPr>
            <a:xfrm>
              <a:off x="21417343" y="3074448"/>
              <a:ext cx="148652" cy="609775"/>
            </a:xfrm>
            <a:custGeom>
              <a:avLst/>
              <a:gdLst>
                <a:gd name="connsiteX0" fmla="*/ 139552 w 148652"/>
                <a:gd name="connsiteY0" fmla="*/ 609775 h 609775"/>
                <a:gd name="connsiteX1" fmla="*/ 139552 w 148652"/>
                <a:gd name="connsiteY1" fmla="*/ 609775 h 609775"/>
                <a:gd name="connsiteX2" fmla="*/ 87978 w 148652"/>
                <a:gd name="connsiteY2" fmla="*/ 591573 h 609775"/>
                <a:gd name="connsiteX3" fmla="*/ 84943 w 148652"/>
                <a:gd name="connsiteY3" fmla="*/ 588539 h 609775"/>
                <a:gd name="connsiteX4" fmla="*/ 0 w 148652"/>
                <a:gd name="connsiteY4" fmla="*/ 6067 h 609775"/>
                <a:gd name="connsiteX5" fmla="*/ 6068 w 148652"/>
                <a:gd name="connsiteY5" fmla="*/ 0 h 609775"/>
                <a:gd name="connsiteX6" fmla="*/ 12136 w 148652"/>
                <a:gd name="connsiteY6" fmla="*/ 6067 h 609775"/>
                <a:gd name="connsiteX7" fmla="*/ 97079 w 148652"/>
                <a:gd name="connsiteY7" fmla="*/ 585506 h 609775"/>
                <a:gd name="connsiteX8" fmla="*/ 142585 w 148652"/>
                <a:gd name="connsiteY8" fmla="*/ 600674 h 609775"/>
                <a:gd name="connsiteX9" fmla="*/ 148652 w 148652"/>
                <a:gd name="connsiteY9" fmla="*/ 606741 h 609775"/>
                <a:gd name="connsiteX10" fmla="*/ 139552 w 148652"/>
                <a:gd name="connsiteY10" fmla="*/ 609775 h 60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8652" h="609775">
                  <a:moveTo>
                    <a:pt x="139552" y="609775"/>
                  </a:moveTo>
                  <a:cubicBezTo>
                    <a:pt x="139552" y="609775"/>
                    <a:pt x="139552" y="609775"/>
                    <a:pt x="139552" y="609775"/>
                  </a:cubicBezTo>
                  <a:cubicBezTo>
                    <a:pt x="118315" y="606741"/>
                    <a:pt x="87978" y="591573"/>
                    <a:pt x="87978" y="591573"/>
                  </a:cubicBezTo>
                  <a:cubicBezTo>
                    <a:pt x="84943" y="591573"/>
                    <a:pt x="84943" y="588539"/>
                    <a:pt x="84943" y="588539"/>
                  </a:cubicBezTo>
                  <a:cubicBezTo>
                    <a:pt x="66742" y="482359"/>
                    <a:pt x="0" y="12135"/>
                    <a:pt x="0" y="6067"/>
                  </a:cubicBezTo>
                  <a:cubicBezTo>
                    <a:pt x="0" y="3034"/>
                    <a:pt x="3035" y="0"/>
                    <a:pt x="6068" y="0"/>
                  </a:cubicBezTo>
                  <a:cubicBezTo>
                    <a:pt x="9101" y="0"/>
                    <a:pt x="12136" y="3034"/>
                    <a:pt x="12136" y="6067"/>
                  </a:cubicBezTo>
                  <a:cubicBezTo>
                    <a:pt x="12136" y="12135"/>
                    <a:pt x="78878" y="473258"/>
                    <a:pt x="97079" y="585506"/>
                  </a:cubicBezTo>
                  <a:cubicBezTo>
                    <a:pt x="103147" y="588539"/>
                    <a:pt x="127416" y="597641"/>
                    <a:pt x="142585" y="600674"/>
                  </a:cubicBezTo>
                  <a:cubicBezTo>
                    <a:pt x="145618" y="600674"/>
                    <a:pt x="148652" y="603708"/>
                    <a:pt x="148652" y="606741"/>
                  </a:cubicBezTo>
                  <a:cubicBezTo>
                    <a:pt x="145618" y="609775"/>
                    <a:pt x="142585" y="609775"/>
                    <a:pt x="139552" y="609775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9927ADC5-F2ED-4A31-8823-AE948C8A6A40}"/>
                </a:ext>
              </a:extLst>
            </p:cNvPr>
            <p:cNvSpPr/>
            <p:nvPr/>
          </p:nvSpPr>
          <p:spPr>
            <a:xfrm>
              <a:off x="21351534" y="2616069"/>
              <a:ext cx="420752" cy="581244"/>
            </a:xfrm>
            <a:custGeom>
              <a:avLst/>
              <a:gdLst>
                <a:gd name="connsiteX0" fmla="*/ 420752 w 420752"/>
                <a:gd name="connsiteY0" fmla="*/ 528155 h 581244"/>
                <a:gd name="connsiteX1" fmla="*/ 141651 w 420752"/>
                <a:gd name="connsiteY1" fmla="*/ 290 h 581244"/>
                <a:gd name="connsiteX2" fmla="*/ 2101 w 420752"/>
                <a:gd name="connsiteY2" fmla="*/ 570627 h 581244"/>
                <a:gd name="connsiteX3" fmla="*/ 420752 w 420752"/>
                <a:gd name="connsiteY3" fmla="*/ 528155 h 58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0752" h="581244">
                  <a:moveTo>
                    <a:pt x="420752" y="528155"/>
                  </a:moveTo>
                  <a:cubicBezTo>
                    <a:pt x="420752" y="528155"/>
                    <a:pt x="344910" y="15458"/>
                    <a:pt x="141651" y="290"/>
                  </a:cubicBezTo>
                  <a:cubicBezTo>
                    <a:pt x="-28236" y="-14879"/>
                    <a:pt x="2101" y="570627"/>
                    <a:pt x="2101" y="570627"/>
                  </a:cubicBezTo>
                  <a:cubicBezTo>
                    <a:pt x="2101" y="570627"/>
                    <a:pt x="226594" y="613099"/>
                    <a:pt x="420752" y="528155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6425E764-567D-4F3D-8662-76838A3306D0}"/>
                </a:ext>
              </a:extLst>
            </p:cNvPr>
            <p:cNvSpPr/>
            <p:nvPr/>
          </p:nvSpPr>
          <p:spPr>
            <a:xfrm>
              <a:off x="21350601" y="2613325"/>
              <a:ext cx="151685" cy="591573"/>
            </a:xfrm>
            <a:custGeom>
              <a:avLst/>
              <a:gdLst>
                <a:gd name="connsiteX0" fmla="*/ 121348 w 151685"/>
                <a:gd name="connsiteY0" fmla="*/ 591573 h 591573"/>
                <a:gd name="connsiteX1" fmla="*/ 3035 w 151685"/>
                <a:gd name="connsiteY1" fmla="*/ 576405 h 591573"/>
                <a:gd name="connsiteX2" fmla="*/ 0 w 151685"/>
                <a:gd name="connsiteY2" fmla="*/ 576405 h 591573"/>
                <a:gd name="connsiteX3" fmla="*/ 0 w 151685"/>
                <a:gd name="connsiteY3" fmla="*/ 573371 h 591573"/>
                <a:gd name="connsiteX4" fmla="*/ 15169 w 151685"/>
                <a:gd name="connsiteY4" fmla="*/ 215393 h 591573"/>
                <a:gd name="connsiteX5" fmla="*/ 145619 w 151685"/>
                <a:gd name="connsiteY5" fmla="*/ 0 h 591573"/>
                <a:gd name="connsiteX6" fmla="*/ 151685 w 151685"/>
                <a:gd name="connsiteY6" fmla="*/ 3034 h 591573"/>
                <a:gd name="connsiteX7" fmla="*/ 148652 w 151685"/>
                <a:gd name="connsiteY7" fmla="*/ 9101 h 591573"/>
                <a:gd name="connsiteX8" fmla="*/ 27304 w 151685"/>
                <a:gd name="connsiteY8" fmla="*/ 215393 h 591573"/>
                <a:gd name="connsiteX9" fmla="*/ 12136 w 151685"/>
                <a:gd name="connsiteY9" fmla="*/ 567303 h 591573"/>
                <a:gd name="connsiteX10" fmla="*/ 142585 w 151685"/>
                <a:gd name="connsiteY10" fmla="*/ 579438 h 591573"/>
                <a:gd name="connsiteX11" fmla="*/ 148652 w 151685"/>
                <a:gd name="connsiteY11" fmla="*/ 585506 h 591573"/>
                <a:gd name="connsiteX12" fmla="*/ 142585 w 151685"/>
                <a:gd name="connsiteY12" fmla="*/ 591573 h 591573"/>
                <a:gd name="connsiteX13" fmla="*/ 121348 w 151685"/>
                <a:gd name="connsiteY13" fmla="*/ 591573 h 5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1685" h="591573">
                  <a:moveTo>
                    <a:pt x="121348" y="591573"/>
                  </a:moveTo>
                  <a:cubicBezTo>
                    <a:pt x="60674" y="591573"/>
                    <a:pt x="3035" y="579438"/>
                    <a:pt x="3035" y="576405"/>
                  </a:cubicBezTo>
                  <a:lnTo>
                    <a:pt x="0" y="576405"/>
                  </a:lnTo>
                  <a:lnTo>
                    <a:pt x="0" y="573371"/>
                  </a:lnTo>
                  <a:cubicBezTo>
                    <a:pt x="0" y="570337"/>
                    <a:pt x="0" y="394382"/>
                    <a:pt x="15169" y="215393"/>
                  </a:cubicBezTo>
                  <a:cubicBezTo>
                    <a:pt x="30337" y="30337"/>
                    <a:pt x="139552" y="0"/>
                    <a:pt x="145619" y="0"/>
                  </a:cubicBezTo>
                  <a:cubicBezTo>
                    <a:pt x="148652" y="0"/>
                    <a:pt x="151685" y="0"/>
                    <a:pt x="151685" y="3034"/>
                  </a:cubicBezTo>
                  <a:cubicBezTo>
                    <a:pt x="151685" y="6067"/>
                    <a:pt x="151685" y="9101"/>
                    <a:pt x="148652" y="9101"/>
                  </a:cubicBezTo>
                  <a:cubicBezTo>
                    <a:pt x="148652" y="9101"/>
                    <a:pt x="42473" y="39438"/>
                    <a:pt x="27304" y="215393"/>
                  </a:cubicBezTo>
                  <a:cubicBezTo>
                    <a:pt x="12136" y="379213"/>
                    <a:pt x="12136" y="540000"/>
                    <a:pt x="12136" y="567303"/>
                  </a:cubicBezTo>
                  <a:cubicBezTo>
                    <a:pt x="27304" y="570337"/>
                    <a:pt x="84945" y="582472"/>
                    <a:pt x="142585" y="579438"/>
                  </a:cubicBezTo>
                  <a:cubicBezTo>
                    <a:pt x="145619" y="579438"/>
                    <a:pt x="148652" y="582472"/>
                    <a:pt x="148652" y="585506"/>
                  </a:cubicBezTo>
                  <a:cubicBezTo>
                    <a:pt x="148652" y="588539"/>
                    <a:pt x="145619" y="591573"/>
                    <a:pt x="142585" y="591573"/>
                  </a:cubicBezTo>
                  <a:cubicBezTo>
                    <a:pt x="133484" y="591573"/>
                    <a:pt x="127416" y="591573"/>
                    <a:pt x="121348" y="591573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7" name="图形 1">
              <a:extLst>
                <a:ext uri="{FF2B5EF4-FFF2-40B4-BE49-F238E27FC236}">
                  <a16:creationId xmlns:a16="http://schemas.microsoft.com/office/drawing/2014/main" id="{BC5DB627-06A0-48F0-B735-C994E3628E45}"/>
                </a:ext>
              </a:extLst>
            </p:cNvPr>
            <p:cNvGrpSpPr/>
            <p:nvPr/>
          </p:nvGrpSpPr>
          <p:grpSpPr>
            <a:xfrm>
              <a:off x="18631466" y="4178718"/>
              <a:ext cx="1728045" cy="2426966"/>
              <a:chOff x="18631466" y="4178718"/>
              <a:chExt cx="1728045" cy="2426966"/>
            </a:xfrm>
          </p:grpSpPr>
          <p:grpSp>
            <p:nvGrpSpPr>
              <p:cNvPr id="132" name="图形 1">
                <a:extLst>
                  <a:ext uri="{FF2B5EF4-FFF2-40B4-BE49-F238E27FC236}">
                    <a16:creationId xmlns:a16="http://schemas.microsoft.com/office/drawing/2014/main" id="{99A7076A-3D98-41AF-B7FC-889A5AD71F4F}"/>
                  </a:ext>
                </a:extLst>
              </p:cNvPr>
              <p:cNvGrpSpPr/>
              <p:nvPr/>
            </p:nvGrpSpPr>
            <p:grpSpPr>
              <a:xfrm>
                <a:off x="18962141" y="4305201"/>
                <a:ext cx="1397370" cy="2300483"/>
                <a:chOff x="18962141" y="4305201"/>
                <a:chExt cx="1397370" cy="2300483"/>
              </a:xfrm>
              <a:solidFill>
                <a:srgbClr val="F6EBEB"/>
              </a:solidFill>
            </p:grpSpPr>
            <p:sp>
              <p:nvSpPr>
                <p:cNvPr id="144" name="任意多边形: 形状 143">
                  <a:extLst>
                    <a:ext uri="{FF2B5EF4-FFF2-40B4-BE49-F238E27FC236}">
                      <a16:creationId xmlns:a16="http://schemas.microsoft.com/office/drawing/2014/main" id="{3EF8209D-A562-40F5-A8C4-60B3B23EF8AD}"/>
                    </a:ext>
                  </a:extLst>
                </p:cNvPr>
                <p:cNvSpPr/>
                <p:nvPr/>
              </p:nvSpPr>
              <p:spPr>
                <a:xfrm>
                  <a:off x="18962141" y="4305201"/>
                  <a:ext cx="429617" cy="2300483"/>
                </a:xfrm>
                <a:custGeom>
                  <a:avLst/>
                  <a:gdLst>
                    <a:gd name="connsiteX0" fmla="*/ 368011 w 429617"/>
                    <a:gd name="connsiteY0" fmla="*/ 2300483 h 2300483"/>
                    <a:gd name="connsiteX1" fmla="*/ 377111 w 429617"/>
                    <a:gd name="connsiteY1" fmla="*/ 2300483 h 2300483"/>
                    <a:gd name="connsiteX2" fmla="*/ 428685 w 429617"/>
                    <a:gd name="connsiteY2" fmla="*/ 2230708 h 2300483"/>
                    <a:gd name="connsiteX3" fmla="*/ 122281 w 429617"/>
                    <a:gd name="connsiteY3" fmla="*/ 52506 h 2300483"/>
                    <a:gd name="connsiteX4" fmla="*/ 52504 w 429617"/>
                    <a:gd name="connsiteY4" fmla="*/ 933 h 2300483"/>
                    <a:gd name="connsiteX5" fmla="*/ 933 w 429617"/>
                    <a:gd name="connsiteY5" fmla="*/ 70708 h 2300483"/>
                    <a:gd name="connsiteX6" fmla="*/ 307336 w 429617"/>
                    <a:gd name="connsiteY6" fmla="*/ 2248910 h 2300483"/>
                    <a:gd name="connsiteX7" fmla="*/ 368011 w 429617"/>
                    <a:gd name="connsiteY7" fmla="*/ 2300483 h 2300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9617" h="2300483">
                      <a:moveTo>
                        <a:pt x="368011" y="2300483"/>
                      </a:moveTo>
                      <a:cubicBezTo>
                        <a:pt x="371044" y="2300483"/>
                        <a:pt x="374078" y="2300483"/>
                        <a:pt x="377111" y="2300483"/>
                      </a:cubicBezTo>
                      <a:cubicBezTo>
                        <a:pt x="410483" y="2294416"/>
                        <a:pt x="434753" y="2264078"/>
                        <a:pt x="428685" y="2230708"/>
                      </a:cubicBezTo>
                      <a:lnTo>
                        <a:pt x="122281" y="52506"/>
                      </a:lnTo>
                      <a:cubicBezTo>
                        <a:pt x="116213" y="19135"/>
                        <a:pt x="85876" y="-5135"/>
                        <a:pt x="52504" y="933"/>
                      </a:cubicBezTo>
                      <a:cubicBezTo>
                        <a:pt x="19134" y="7000"/>
                        <a:pt x="-5135" y="37337"/>
                        <a:pt x="933" y="70708"/>
                      </a:cubicBezTo>
                      <a:lnTo>
                        <a:pt x="307336" y="2248910"/>
                      </a:lnTo>
                      <a:cubicBezTo>
                        <a:pt x="310369" y="2276214"/>
                        <a:pt x="337674" y="2300483"/>
                        <a:pt x="368011" y="2300483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5" name="任意多边形: 形状 144">
                  <a:extLst>
                    <a:ext uri="{FF2B5EF4-FFF2-40B4-BE49-F238E27FC236}">
                      <a16:creationId xmlns:a16="http://schemas.microsoft.com/office/drawing/2014/main" id="{798404CF-5A00-4595-8084-F917D19618BA}"/>
                    </a:ext>
                  </a:extLst>
                </p:cNvPr>
                <p:cNvSpPr/>
                <p:nvPr/>
              </p:nvSpPr>
              <p:spPr>
                <a:xfrm>
                  <a:off x="19929893" y="4305201"/>
                  <a:ext cx="429618" cy="2300483"/>
                </a:xfrm>
                <a:custGeom>
                  <a:avLst/>
                  <a:gdLst>
                    <a:gd name="connsiteX0" fmla="*/ 368012 w 429618"/>
                    <a:gd name="connsiteY0" fmla="*/ 2300483 h 2300483"/>
                    <a:gd name="connsiteX1" fmla="*/ 377113 w 429618"/>
                    <a:gd name="connsiteY1" fmla="*/ 2300483 h 2300483"/>
                    <a:gd name="connsiteX2" fmla="*/ 428687 w 429618"/>
                    <a:gd name="connsiteY2" fmla="*/ 2230708 h 2300483"/>
                    <a:gd name="connsiteX3" fmla="*/ 122281 w 429618"/>
                    <a:gd name="connsiteY3" fmla="*/ 52506 h 2300483"/>
                    <a:gd name="connsiteX4" fmla="*/ 52506 w 429618"/>
                    <a:gd name="connsiteY4" fmla="*/ 933 h 2300483"/>
                    <a:gd name="connsiteX5" fmla="*/ 933 w 429618"/>
                    <a:gd name="connsiteY5" fmla="*/ 70708 h 2300483"/>
                    <a:gd name="connsiteX6" fmla="*/ 307338 w 429618"/>
                    <a:gd name="connsiteY6" fmla="*/ 2248910 h 2300483"/>
                    <a:gd name="connsiteX7" fmla="*/ 368012 w 429618"/>
                    <a:gd name="connsiteY7" fmla="*/ 2300483 h 2300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9618" h="2300483">
                      <a:moveTo>
                        <a:pt x="368012" y="2300483"/>
                      </a:moveTo>
                      <a:cubicBezTo>
                        <a:pt x="371045" y="2300483"/>
                        <a:pt x="374078" y="2300483"/>
                        <a:pt x="377113" y="2300483"/>
                      </a:cubicBezTo>
                      <a:cubicBezTo>
                        <a:pt x="410483" y="2294416"/>
                        <a:pt x="434752" y="2264078"/>
                        <a:pt x="428687" y="2230708"/>
                      </a:cubicBezTo>
                      <a:lnTo>
                        <a:pt x="122281" y="52506"/>
                      </a:lnTo>
                      <a:cubicBezTo>
                        <a:pt x="116213" y="19135"/>
                        <a:pt x="85876" y="-5135"/>
                        <a:pt x="52506" y="933"/>
                      </a:cubicBezTo>
                      <a:cubicBezTo>
                        <a:pt x="19136" y="7000"/>
                        <a:pt x="-5135" y="37337"/>
                        <a:pt x="933" y="70708"/>
                      </a:cubicBezTo>
                      <a:lnTo>
                        <a:pt x="307338" y="2248910"/>
                      </a:lnTo>
                      <a:cubicBezTo>
                        <a:pt x="313404" y="2276214"/>
                        <a:pt x="337675" y="2300483"/>
                        <a:pt x="368012" y="2300483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6" name="任意多边形: 形状 145">
                  <a:extLst>
                    <a:ext uri="{FF2B5EF4-FFF2-40B4-BE49-F238E27FC236}">
                      <a16:creationId xmlns:a16="http://schemas.microsoft.com/office/drawing/2014/main" id="{0F9EFF87-48EE-43D9-88C3-019733811062}"/>
                    </a:ext>
                  </a:extLst>
                </p:cNvPr>
                <p:cNvSpPr/>
                <p:nvPr/>
              </p:nvSpPr>
              <p:spPr>
                <a:xfrm>
                  <a:off x="19026781" y="4363774"/>
                  <a:ext cx="973820" cy="121348"/>
                </a:xfrm>
                <a:custGeom>
                  <a:avLst/>
                  <a:gdLst>
                    <a:gd name="connsiteX0" fmla="*/ 0 w 973820"/>
                    <a:gd name="connsiteY0" fmla="*/ 0 h 121348"/>
                    <a:gd name="connsiteX1" fmla="*/ 973820 w 973820"/>
                    <a:gd name="connsiteY1" fmla="*/ 0 h 121348"/>
                    <a:gd name="connsiteX2" fmla="*/ 973820 w 973820"/>
                    <a:gd name="connsiteY2" fmla="*/ 121348 h 121348"/>
                    <a:gd name="connsiteX3" fmla="*/ 0 w 973820"/>
                    <a:gd name="connsiteY3" fmla="*/ 121348 h 121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3820" h="121348">
                      <a:moveTo>
                        <a:pt x="0" y="0"/>
                      </a:moveTo>
                      <a:lnTo>
                        <a:pt x="973820" y="0"/>
                      </a:lnTo>
                      <a:lnTo>
                        <a:pt x="973820" y="121348"/>
                      </a:lnTo>
                      <a:lnTo>
                        <a:pt x="0" y="121348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7" name="任意多边形: 形状 146">
                  <a:extLst>
                    <a:ext uri="{FF2B5EF4-FFF2-40B4-BE49-F238E27FC236}">
                      <a16:creationId xmlns:a16="http://schemas.microsoft.com/office/drawing/2014/main" id="{90858AFE-CADB-41BB-AE19-411A3CB1D53D}"/>
                    </a:ext>
                  </a:extLst>
                </p:cNvPr>
                <p:cNvSpPr/>
                <p:nvPr/>
              </p:nvSpPr>
              <p:spPr>
                <a:xfrm>
                  <a:off x="19293747" y="6217370"/>
                  <a:ext cx="973820" cy="63707"/>
                </a:xfrm>
                <a:custGeom>
                  <a:avLst/>
                  <a:gdLst>
                    <a:gd name="connsiteX0" fmla="*/ 0 w 973820"/>
                    <a:gd name="connsiteY0" fmla="*/ 0 h 63707"/>
                    <a:gd name="connsiteX1" fmla="*/ 973819 w 973820"/>
                    <a:gd name="connsiteY1" fmla="*/ 0 h 63707"/>
                    <a:gd name="connsiteX2" fmla="*/ 973819 w 973820"/>
                    <a:gd name="connsiteY2" fmla="*/ 63708 h 63707"/>
                    <a:gd name="connsiteX3" fmla="*/ 0 w 973820"/>
                    <a:gd name="connsiteY3" fmla="*/ 63708 h 637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3820" h="63707">
                      <a:moveTo>
                        <a:pt x="0" y="0"/>
                      </a:moveTo>
                      <a:lnTo>
                        <a:pt x="973819" y="0"/>
                      </a:lnTo>
                      <a:lnTo>
                        <a:pt x="973819" y="63708"/>
                      </a:lnTo>
                      <a:lnTo>
                        <a:pt x="0" y="63708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A4BC3F7E-4A42-431F-80D8-8B87E4D2896C}"/>
                    </a:ext>
                  </a:extLst>
                </p:cNvPr>
                <p:cNvSpPr/>
                <p:nvPr/>
              </p:nvSpPr>
              <p:spPr>
                <a:xfrm>
                  <a:off x="19233073" y="5777482"/>
                  <a:ext cx="973820" cy="63707"/>
                </a:xfrm>
                <a:custGeom>
                  <a:avLst/>
                  <a:gdLst>
                    <a:gd name="connsiteX0" fmla="*/ 0 w 973820"/>
                    <a:gd name="connsiteY0" fmla="*/ 0 h 63707"/>
                    <a:gd name="connsiteX1" fmla="*/ 973819 w 973820"/>
                    <a:gd name="connsiteY1" fmla="*/ 0 h 63707"/>
                    <a:gd name="connsiteX2" fmla="*/ 973819 w 973820"/>
                    <a:gd name="connsiteY2" fmla="*/ 63708 h 63707"/>
                    <a:gd name="connsiteX3" fmla="*/ 0 w 973820"/>
                    <a:gd name="connsiteY3" fmla="*/ 63708 h 637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3820" h="63707">
                      <a:moveTo>
                        <a:pt x="0" y="0"/>
                      </a:moveTo>
                      <a:lnTo>
                        <a:pt x="973819" y="0"/>
                      </a:lnTo>
                      <a:lnTo>
                        <a:pt x="973819" y="63708"/>
                      </a:lnTo>
                      <a:lnTo>
                        <a:pt x="0" y="63708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9" name="任意多边形: 形状 148">
                  <a:extLst>
                    <a:ext uri="{FF2B5EF4-FFF2-40B4-BE49-F238E27FC236}">
                      <a16:creationId xmlns:a16="http://schemas.microsoft.com/office/drawing/2014/main" id="{CBB8E9EB-FC70-4BF6-9EE0-BD7173944C62}"/>
                    </a:ext>
                  </a:extLst>
                </p:cNvPr>
                <p:cNvSpPr/>
                <p:nvPr/>
              </p:nvSpPr>
              <p:spPr>
                <a:xfrm>
                  <a:off x="19172399" y="5337594"/>
                  <a:ext cx="973820" cy="63707"/>
                </a:xfrm>
                <a:custGeom>
                  <a:avLst/>
                  <a:gdLst>
                    <a:gd name="connsiteX0" fmla="*/ 0 w 973820"/>
                    <a:gd name="connsiteY0" fmla="*/ 0 h 63707"/>
                    <a:gd name="connsiteX1" fmla="*/ 973819 w 973820"/>
                    <a:gd name="connsiteY1" fmla="*/ 0 h 63707"/>
                    <a:gd name="connsiteX2" fmla="*/ 973819 w 973820"/>
                    <a:gd name="connsiteY2" fmla="*/ 63708 h 63707"/>
                    <a:gd name="connsiteX3" fmla="*/ 0 w 973820"/>
                    <a:gd name="connsiteY3" fmla="*/ 63708 h 637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3820" h="63707">
                      <a:moveTo>
                        <a:pt x="0" y="0"/>
                      </a:moveTo>
                      <a:lnTo>
                        <a:pt x="973819" y="0"/>
                      </a:lnTo>
                      <a:lnTo>
                        <a:pt x="973819" y="63708"/>
                      </a:lnTo>
                      <a:lnTo>
                        <a:pt x="0" y="63708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0" name="任意多边形: 形状 149">
                  <a:extLst>
                    <a:ext uri="{FF2B5EF4-FFF2-40B4-BE49-F238E27FC236}">
                      <a16:creationId xmlns:a16="http://schemas.microsoft.com/office/drawing/2014/main" id="{7B12AC1E-1256-480F-86BE-251954577461}"/>
                    </a:ext>
                  </a:extLst>
                </p:cNvPr>
                <p:cNvSpPr/>
                <p:nvPr/>
              </p:nvSpPr>
              <p:spPr>
                <a:xfrm>
                  <a:off x="19111725" y="4894673"/>
                  <a:ext cx="973820" cy="63707"/>
                </a:xfrm>
                <a:custGeom>
                  <a:avLst/>
                  <a:gdLst>
                    <a:gd name="connsiteX0" fmla="*/ 0 w 973820"/>
                    <a:gd name="connsiteY0" fmla="*/ 0 h 63707"/>
                    <a:gd name="connsiteX1" fmla="*/ 973819 w 973820"/>
                    <a:gd name="connsiteY1" fmla="*/ 0 h 63707"/>
                    <a:gd name="connsiteX2" fmla="*/ 973819 w 973820"/>
                    <a:gd name="connsiteY2" fmla="*/ 63708 h 63707"/>
                    <a:gd name="connsiteX3" fmla="*/ 0 w 973820"/>
                    <a:gd name="connsiteY3" fmla="*/ 63708 h 637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3820" h="63707">
                      <a:moveTo>
                        <a:pt x="0" y="0"/>
                      </a:moveTo>
                      <a:lnTo>
                        <a:pt x="973819" y="0"/>
                      </a:lnTo>
                      <a:lnTo>
                        <a:pt x="973819" y="63708"/>
                      </a:lnTo>
                      <a:lnTo>
                        <a:pt x="0" y="63708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33" name="图形 1">
                <a:extLst>
                  <a:ext uri="{FF2B5EF4-FFF2-40B4-BE49-F238E27FC236}">
                    <a16:creationId xmlns:a16="http://schemas.microsoft.com/office/drawing/2014/main" id="{7100F2D0-3EDB-4744-9F4E-C904698FA15E}"/>
                  </a:ext>
                </a:extLst>
              </p:cNvPr>
              <p:cNvGrpSpPr/>
              <p:nvPr/>
            </p:nvGrpSpPr>
            <p:grpSpPr>
              <a:xfrm>
                <a:off x="18631466" y="4305201"/>
                <a:ext cx="1397370" cy="2300483"/>
                <a:chOff x="18631466" y="4305201"/>
                <a:chExt cx="1397370" cy="2300483"/>
              </a:xfrm>
              <a:solidFill>
                <a:srgbClr val="F1DDBA"/>
              </a:solidFill>
            </p:grpSpPr>
            <p:sp>
              <p:nvSpPr>
                <p:cNvPr id="137" name="任意多边形: 形状 136">
                  <a:extLst>
                    <a:ext uri="{FF2B5EF4-FFF2-40B4-BE49-F238E27FC236}">
                      <a16:creationId xmlns:a16="http://schemas.microsoft.com/office/drawing/2014/main" id="{0B960E73-F239-4E36-8CC3-FC6515B58A42}"/>
                    </a:ext>
                  </a:extLst>
                </p:cNvPr>
                <p:cNvSpPr/>
                <p:nvPr/>
              </p:nvSpPr>
              <p:spPr>
                <a:xfrm>
                  <a:off x="19599220" y="4305201"/>
                  <a:ext cx="429617" cy="2300483"/>
                </a:xfrm>
                <a:custGeom>
                  <a:avLst/>
                  <a:gdLst>
                    <a:gd name="connsiteX0" fmla="*/ 61607 w 429617"/>
                    <a:gd name="connsiteY0" fmla="*/ 2300483 h 2300483"/>
                    <a:gd name="connsiteX1" fmla="*/ 122281 w 429617"/>
                    <a:gd name="connsiteY1" fmla="*/ 2248910 h 2300483"/>
                    <a:gd name="connsiteX2" fmla="*/ 428685 w 429617"/>
                    <a:gd name="connsiteY2" fmla="*/ 70708 h 2300483"/>
                    <a:gd name="connsiteX3" fmla="*/ 377111 w 429617"/>
                    <a:gd name="connsiteY3" fmla="*/ 933 h 2300483"/>
                    <a:gd name="connsiteX4" fmla="*/ 307336 w 429617"/>
                    <a:gd name="connsiteY4" fmla="*/ 52506 h 2300483"/>
                    <a:gd name="connsiteX5" fmla="*/ 933 w 429617"/>
                    <a:gd name="connsiteY5" fmla="*/ 2230708 h 2300483"/>
                    <a:gd name="connsiteX6" fmla="*/ 52504 w 429617"/>
                    <a:gd name="connsiteY6" fmla="*/ 2300483 h 2300483"/>
                    <a:gd name="connsiteX7" fmla="*/ 61607 w 429617"/>
                    <a:gd name="connsiteY7" fmla="*/ 2300483 h 2300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9617" h="2300483">
                      <a:moveTo>
                        <a:pt x="61607" y="2300483"/>
                      </a:moveTo>
                      <a:cubicBezTo>
                        <a:pt x="91944" y="2300483"/>
                        <a:pt x="116213" y="2279247"/>
                        <a:pt x="122281" y="2248910"/>
                      </a:cubicBezTo>
                      <a:lnTo>
                        <a:pt x="428685" y="70708"/>
                      </a:lnTo>
                      <a:cubicBezTo>
                        <a:pt x="434753" y="37337"/>
                        <a:pt x="410483" y="7000"/>
                        <a:pt x="377111" y="933"/>
                      </a:cubicBezTo>
                      <a:cubicBezTo>
                        <a:pt x="343741" y="-5135"/>
                        <a:pt x="313404" y="19135"/>
                        <a:pt x="307336" y="52506"/>
                      </a:cubicBezTo>
                      <a:lnTo>
                        <a:pt x="933" y="2230708"/>
                      </a:lnTo>
                      <a:cubicBezTo>
                        <a:pt x="-5135" y="2264078"/>
                        <a:pt x="19134" y="2294416"/>
                        <a:pt x="52504" y="2300483"/>
                      </a:cubicBezTo>
                      <a:cubicBezTo>
                        <a:pt x="55539" y="2300483"/>
                        <a:pt x="58572" y="2300483"/>
                        <a:pt x="61607" y="2300483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98FB1404-380B-4F5A-90B9-7EB68BEB3A32}"/>
                    </a:ext>
                  </a:extLst>
                </p:cNvPr>
                <p:cNvSpPr/>
                <p:nvPr/>
              </p:nvSpPr>
              <p:spPr>
                <a:xfrm>
                  <a:off x="18631466" y="4305201"/>
                  <a:ext cx="426584" cy="2300483"/>
                </a:xfrm>
                <a:custGeom>
                  <a:avLst/>
                  <a:gdLst>
                    <a:gd name="connsiteX0" fmla="*/ 58574 w 426584"/>
                    <a:gd name="connsiteY0" fmla="*/ 2300483 h 2300483"/>
                    <a:gd name="connsiteX1" fmla="*/ 119248 w 426584"/>
                    <a:gd name="connsiteY1" fmla="*/ 2248910 h 2300483"/>
                    <a:gd name="connsiteX2" fmla="*/ 425652 w 426584"/>
                    <a:gd name="connsiteY2" fmla="*/ 70708 h 2300483"/>
                    <a:gd name="connsiteX3" fmla="*/ 374078 w 426584"/>
                    <a:gd name="connsiteY3" fmla="*/ 933 h 2300483"/>
                    <a:gd name="connsiteX4" fmla="*/ 304303 w 426584"/>
                    <a:gd name="connsiteY4" fmla="*/ 52506 h 2300483"/>
                    <a:gd name="connsiteX5" fmla="*/ 933 w 426584"/>
                    <a:gd name="connsiteY5" fmla="*/ 2230708 h 2300483"/>
                    <a:gd name="connsiteX6" fmla="*/ 52506 w 426584"/>
                    <a:gd name="connsiteY6" fmla="*/ 2300483 h 2300483"/>
                    <a:gd name="connsiteX7" fmla="*/ 58574 w 426584"/>
                    <a:gd name="connsiteY7" fmla="*/ 2300483 h 2300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584" h="2300483">
                      <a:moveTo>
                        <a:pt x="58574" y="2300483"/>
                      </a:moveTo>
                      <a:cubicBezTo>
                        <a:pt x="88911" y="2300483"/>
                        <a:pt x="113180" y="2279247"/>
                        <a:pt x="119248" y="2248910"/>
                      </a:cubicBezTo>
                      <a:lnTo>
                        <a:pt x="425652" y="70708"/>
                      </a:lnTo>
                      <a:cubicBezTo>
                        <a:pt x="431720" y="37337"/>
                        <a:pt x="407450" y="7000"/>
                        <a:pt x="374078" y="933"/>
                      </a:cubicBezTo>
                      <a:cubicBezTo>
                        <a:pt x="340708" y="-5135"/>
                        <a:pt x="310371" y="19135"/>
                        <a:pt x="304303" y="52506"/>
                      </a:cubicBezTo>
                      <a:lnTo>
                        <a:pt x="933" y="2230708"/>
                      </a:lnTo>
                      <a:cubicBezTo>
                        <a:pt x="-5135" y="2264078"/>
                        <a:pt x="19134" y="2294416"/>
                        <a:pt x="52506" y="2300483"/>
                      </a:cubicBezTo>
                      <a:cubicBezTo>
                        <a:pt x="52506" y="2300483"/>
                        <a:pt x="55539" y="2300483"/>
                        <a:pt x="58574" y="2300483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2BA6DC5F-E891-48EA-989A-3935D6430E48}"/>
                    </a:ext>
                  </a:extLst>
                </p:cNvPr>
                <p:cNvSpPr/>
                <p:nvPr/>
              </p:nvSpPr>
              <p:spPr>
                <a:xfrm>
                  <a:off x="18787118" y="6153662"/>
                  <a:ext cx="973820" cy="63707"/>
                </a:xfrm>
                <a:custGeom>
                  <a:avLst/>
                  <a:gdLst>
                    <a:gd name="connsiteX0" fmla="*/ -1 w 973820"/>
                    <a:gd name="connsiteY0" fmla="*/ 0 h 63707"/>
                    <a:gd name="connsiteX1" fmla="*/ 973819 w 973820"/>
                    <a:gd name="connsiteY1" fmla="*/ 0 h 63707"/>
                    <a:gd name="connsiteX2" fmla="*/ 973819 w 973820"/>
                    <a:gd name="connsiteY2" fmla="*/ 63708 h 63707"/>
                    <a:gd name="connsiteX3" fmla="*/ -1 w 973820"/>
                    <a:gd name="connsiteY3" fmla="*/ 63708 h 637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3820" h="63707">
                      <a:moveTo>
                        <a:pt x="-1" y="0"/>
                      </a:moveTo>
                      <a:lnTo>
                        <a:pt x="973819" y="0"/>
                      </a:lnTo>
                      <a:lnTo>
                        <a:pt x="973819" y="63708"/>
                      </a:lnTo>
                      <a:lnTo>
                        <a:pt x="-1" y="63708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0" name="任意多边形: 形状 139">
                  <a:extLst>
                    <a:ext uri="{FF2B5EF4-FFF2-40B4-BE49-F238E27FC236}">
                      <a16:creationId xmlns:a16="http://schemas.microsoft.com/office/drawing/2014/main" id="{1969418D-4C5A-4A50-B10A-A5362E523608}"/>
                    </a:ext>
                  </a:extLst>
                </p:cNvPr>
                <p:cNvSpPr/>
                <p:nvPr/>
              </p:nvSpPr>
              <p:spPr>
                <a:xfrm>
                  <a:off x="18808354" y="5713774"/>
                  <a:ext cx="973820" cy="63707"/>
                </a:xfrm>
                <a:custGeom>
                  <a:avLst/>
                  <a:gdLst>
                    <a:gd name="connsiteX0" fmla="*/ 0 w 973820"/>
                    <a:gd name="connsiteY0" fmla="*/ 0 h 63707"/>
                    <a:gd name="connsiteX1" fmla="*/ 973819 w 973820"/>
                    <a:gd name="connsiteY1" fmla="*/ 0 h 63707"/>
                    <a:gd name="connsiteX2" fmla="*/ 973819 w 973820"/>
                    <a:gd name="connsiteY2" fmla="*/ 63708 h 63707"/>
                    <a:gd name="connsiteX3" fmla="*/ 0 w 973820"/>
                    <a:gd name="connsiteY3" fmla="*/ 63708 h 637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3820" h="63707">
                      <a:moveTo>
                        <a:pt x="0" y="0"/>
                      </a:moveTo>
                      <a:lnTo>
                        <a:pt x="973819" y="0"/>
                      </a:lnTo>
                      <a:lnTo>
                        <a:pt x="973819" y="63708"/>
                      </a:lnTo>
                      <a:lnTo>
                        <a:pt x="0" y="63708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1" name="任意多边形: 形状 140">
                  <a:extLst>
                    <a:ext uri="{FF2B5EF4-FFF2-40B4-BE49-F238E27FC236}">
                      <a16:creationId xmlns:a16="http://schemas.microsoft.com/office/drawing/2014/main" id="{64E67F7F-AAE4-4B50-A522-79B92CEEB92E}"/>
                    </a:ext>
                  </a:extLst>
                </p:cNvPr>
                <p:cNvSpPr/>
                <p:nvPr/>
              </p:nvSpPr>
              <p:spPr>
                <a:xfrm>
                  <a:off x="18826556" y="5273887"/>
                  <a:ext cx="973820" cy="63707"/>
                </a:xfrm>
                <a:custGeom>
                  <a:avLst/>
                  <a:gdLst>
                    <a:gd name="connsiteX0" fmla="*/ 1 w 973820"/>
                    <a:gd name="connsiteY0" fmla="*/ 0 h 63707"/>
                    <a:gd name="connsiteX1" fmla="*/ 973820 w 973820"/>
                    <a:gd name="connsiteY1" fmla="*/ 0 h 63707"/>
                    <a:gd name="connsiteX2" fmla="*/ 973820 w 973820"/>
                    <a:gd name="connsiteY2" fmla="*/ 63708 h 63707"/>
                    <a:gd name="connsiteX3" fmla="*/ 1 w 973820"/>
                    <a:gd name="connsiteY3" fmla="*/ 63708 h 637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3820" h="63707">
                      <a:moveTo>
                        <a:pt x="1" y="0"/>
                      </a:moveTo>
                      <a:lnTo>
                        <a:pt x="973820" y="0"/>
                      </a:lnTo>
                      <a:lnTo>
                        <a:pt x="973820" y="63708"/>
                      </a:lnTo>
                      <a:lnTo>
                        <a:pt x="1" y="63708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2" name="任意多边形: 形状 141">
                  <a:extLst>
                    <a:ext uri="{FF2B5EF4-FFF2-40B4-BE49-F238E27FC236}">
                      <a16:creationId xmlns:a16="http://schemas.microsoft.com/office/drawing/2014/main" id="{986ACAFB-9BF7-460E-8927-507C8C2EA9A5}"/>
                    </a:ext>
                  </a:extLst>
                </p:cNvPr>
                <p:cNvSpPr/>
                <p:nvPr/>
              </p:nvSpPr>
              <p:spPr>
                <a:xfrm>
                  <a:off x="18902399" y="4833999"/>
                  <a:ext cx="973820" cy="63707"/>
                </a:xfrm>
                <a:custGeom>
                  <a:avLst/>
                  <a:gdLst>
                    <a:gd name="connsiteX0" fmla="*/ 1 w 973820"/>
                    <a:gd name="connsiteY0" fmla="*/ 0 h 63707"/>
                    <a:gd name="connsiteX1" fmla="*/ 973820 w 973820"/>
                    <a:gd name="connsiteY1" fmla="*/ 0 h 63707"/>
                    <a:gd name="connsiteX2" fmla="*/ 973820 w 973820"/>
                    <a:gd name="connsiteY2" fmla="*/ 63708 h 63707"/>
                    <a:gd name="connsiteX3" fmla="*/ 1 w 973820"/>
                    <a:gd name="connsiteY3" fmla="*/ 63708 h 637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3820" h="63707">
                      <a:moveTo>
                        <a:pt x="1" y="0"/>
                      </a:moveTo>
                      <a:lnTo>
                        <a:pt x="973820" y="0"/>
                      </a:lnTo>
                      <a:lnTo>
                        <a:pt x="973820" y="63708"/>
                      </a:lnTo>
                      <a:lnTo>
                        <a:pt x="1" y="63708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3" name="任意多边形: 形状 142">
                  <a:extLst>
                    <a:ext uri="{FF2B5EF4-FFF2-40B4-BE49-F238E27FC236}">
                      <a16:creationId xmlns:a16="http://schemas.microsoft.com/office/drawing/2014/main" id="{32E7F5DE-EF93-49B2-9E34-22DBF1D8550E}"/>
                    </a:ext>
                  </a:extLst>
                </p:cNvPr>
                <p:cNvSpPr/>
                <p:nvPr/>
              </p:nvSpPr>
              <p:spPr>
                <a:xfrm>
                  <a:off x="18990377" y="4363774"/>
                  <a:ext cx="973820" cy="121348"/>
                </a:xfrm>
                <a:custGeom>
                  <a:avLst/>
                  <a:gdLst>
                    <a:gd name="connsiteX0" fmla="*/ 0 w 973820"/>
                    <a:gd name="connsiteY0" fmla="*/ 0 h 121348"/>
                    <a:gd name="connsiteX1" fmla="*/ 973819 w 973820"/>
                    <a:gd name="connsiteY1" fmla="*/ 0 h 121348"/>
                    <a:gd name="connsiteX2" fmla="*/ 973819 w 973820"/>
                    <a:gd name="connsiteY2" fmla="*/ 121348 h 121348"/>
                    <a:gd name="connsiteX3" fmla="*/ 0 w 973820"/>
                    <a:gd name="connsiteY3" fmla="*/ 121348 h 121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3820" h="121348">
                      <a:moveTo>
                        <a:pt x="0" y="0"/>
                      </a:moveTo>
                      <a:lnTo>
                        <a:pt x="973819" y="0"/>
                      </a:lnTo>
                      <a:lnTo>
                        <a:pt x="973819" y="121348"/>
                      </a:lnTo>
                      <a:lnTo>
                        <a:pt x="0" y="121348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34" name="图形 1">
                <a:extLst>
                  <a:ext uri="{FF2B5EF4-FFF2-40B4-BE49-F238E27FC236}">
                    <a16:creationId xmlns:a16="http://schemas.microsoft.com/office/drawing/2014/main" id="{8EA89835-0B5E-41AA-BE01-403FA33D9621}"/>
                  </a:ext>
                </a:extLst>
              </p:cNvPr>
              <p:cNvGrpSpPr/>
              <p:nvPr/>
            </p:nvGrpSpPr>
            <p:grpSpPr>
              <a:xfrm>
                <a:off x="18817454" y="4178718"/>
                <a:ext cx="1392472" cy="342809"/>
                <a:chOff x="18817454" y="4178718"/>
                <a:chExt cx="1392472" cy="342809"/>
              </a:xfrm>
            </p:grpSpPr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AAD10D24-34D1-4E3A-B37F-7AE877DD71ED}"/>
                    </a:ext>
                  </a:extLst>
                </p:cNvPr>
                <p:cNvSpPr/>
                <p:nvPr/>
              </p:nvSpPr>
              <p:spPr>
                <a:xfrm>
                  <a:off x="18929231" y="4178718"/>
                  <a:ext cx="1280696" cy="342809"/>
                </a:xfrm>
                <a:custGeom>
                  <a:avLst/>
                  <a:gdLst>
                    <a:gd name="connsiteX0" fmla="*/ 21708 w 1280696"/>
                    <a:gd name="connsiteY0" fmla="*/ 342809 h 342809"/>
                    <a:gd name="connsiteX1" fmla="*/ 1259460 w 1280696"/>
                    <a:gd name="connsiteY1" fmla="*/ 342809 h 342809"/>
                    <a:gd name="connsiteX2" fmla="*/ 1280696 w 1280696"/>
                    <a:gd name="connsiteY2" fmla="*/ 321573 h 342809"/>
                    <a:gd name="connsiteX3" fmla="*/ 1280696 w 1280696"/>
                    <a:gd name="connsiteY3" fmla="*/ 21236 h 342809"/>
                    <a:gd name="connsiteX4" fmla="*/ 1259460 w 1280696"/>
                    <a:gd name="connsiteY4" fmla="*/ 0 h 342809"/>
                    <a:gd name="connsiteX5" fmla="*/ 21708 w 1280696"/>
                    <a:gd name="connsiteY5" fmla="*/ 0 h 342809"/>
                    <a:gd name="connsiteX6" fmla="*/ 471 w 1280696"/>
                    <a:gd name="connsiteY6" fmla="*/ 21236 h 342809"/>
                    <a:gd name="connsiteX7" fmla="*/ 471 w 1280696"/>
                    <a:gd name="connsiteY7" fmla="*/ 321573 h 342809"/>
                    <a:gd name="connsiteX8" fmla="*/ 21708 w 1280696"/>
                    <a:gd name="connsiteY8" fmla="*/ 342809 h 342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80696" h="342809">
                      <a:moveTo>
                        <a:pt x="21708" y="342809"/>
                      </a:moveTo>
                      <a:lnTo>
                        <a:pt x="1259460" y="342809"/>
                      </a:lnTo>
                      <a:cubicBezTo>
                        <a:pt x="1271596" y="342809"/>
                        <a:pt x="1280696" y="333708"/>
                        <a:pt x="1280696" y="321573"/>
                      </a:cubicBezTo>
                      <a:lnTo>
                        <a:pt x="1280696" y="21236"/>
                      </a:lnTo>
                      <a:cubicBezTo>
                        <a:pt x="1280696" y="9101"/>
                        <a:pt x="1271596" y="0"/>
                        <a:pt x="1259460" y="0"/>
                      </a:cubicBezTo>
                      <a:lnTo>
                        <a:pt x="21708" y="0"/>
                      </a:lnTo>
                      <a:cubicBezTo>
                        <a:pt x="9572" y="0"/>
                        <a:pt x="471" y="9101"/>
                        <a:pt x="471" y="21236"/>
                      </a:cubicBezTo>
                      <a:lnTo>
                        <a:pt x="471" y="321573"/>
                      </a:lnTo>
                      <a:cubicBezTo>
                        <a:pt x="-2562" y="333708"/>
                        <a:pt x="9572" y="342809"/>
                        <a:pt x="21708" y="342809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9DCAD1E9-C123-4179-AE25-40DFC9F5DC1D}"/>
                    </a:ext>
                  </a:extLst>
                </p:cNvPr>
                <p:cNvSpPr/>
                <p:nvPr/>
              </p:nvSpPr>
              <p:spPr>
                <a:xfrm>
                  <a:off x="18817454" y="4178718"/>
                  <a:ext cx="1280225" cy="342809"/>
                </a:xfrm>
                <a:custGeom>
                  <a:avLst/>
                  <a:gdLst>
                    <a:gd name="connsiteX0" fmla="*/ 21236 w 1280225"/>
                    <a:gd name="connsiteY0" fmla="*/ 342809 h 342809"/>
                    <a:gd name="connsiteX1" fmla="*/ 1258989 w 1280225"/>
                    <a:gd name="connsiteY1" fmla="*/ 342809 h 342809"/>
                    <a:gd name="connsiteX2" fmla="*/ 1280225 w 1280225"/>
                    <a:gd name="connsiteY2" fmla="*/ 321573 h 342809"/>
                    <a:gd name="connsiteX3" fmla="*/ 1280225 w 1280225"/>
                    <a:gd name="connsiteY3" fmla="*/ 21236 h 342809"/>
                    <a:gd name="connsiteX4" fmla="*/ 1258989 w 1280225"/>
                    <a:gd name="connsiteY4" fmla="*/ 0 h 342809"/>
                    <a:gd name="connsiteX5" fmla="*/ 21236 w 1280225"/>
                    <a:gd name="connsiteY5" fmla="*/ 0 h 342809"/>
                    <a:gd name="connsiteX6" fmla="*/ 0 w 1280225"/>
                    <a:gd name="connsiteY6" fmla="*/ 21236 h 342809"/>
                    <a:gd name="connsiteX7" fmla="*/ 0 w 1280225"/>
                    <a:gd name="connsiteY7" fmla="*/ 321573 h 342809"/>
                    <a:gd name="connsiteX8" fmla="*/ 21236 w 1280225"/>
                    <a:gd name="connsiteY8" fmla="*/ 342809 h 342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80225" h="342809">
                      <a:moveTo>
                        <a:pt x="21236" y="342809"/>
                      </a:moveTo>
                      <a:lnTo>
                        <a:pt x="1258989" y="342809"/>
                      </a:lnTo>
                      <a:cubicBezTo>
                        <a:pt x="1271124" y="342809"/>
                        <a:pt x="1280225" y="333708"/>
                        <a:pt x="1280225" y="321573"/>
                      </a:cubicBezTo>
                      <a:lnTo>
                        <a:pt x="1280225" y="21236"/>
                      </a:lnTo>
                      <a:cubicBezTo>
                        <a:pt x="1280225" y="9101"/>
                        <a:pt x="1271124" y="0"/>
                        <a:pt x="1258989" y="0"/>
                      </a:cubicBezTo>
                      <a:lnTo>
                        <a:pt x="21236" y="0"/>
                      </a:lnTo>
                      <a:cubicBezTo>
                        <a:pt x="9103" y="0"/>
                        <a:pt x="0" y="9101"/>
                        <a:pt x="0" y="21236"/>
                      </a:cubicBezTo>
                      <a:lnTo>
                        <a:pt x="0" y="321573"/>
                      </a:lnTo>
                      <a:cubicBezTo>
                        <a:pt x="0" y="333708"/>
                        <a:pt x="9103" y="342809"/>
                        <a:pt x="21236" y="342809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FE0053E0-A575-4153-BA4C-2A8A07356AC2}"/>
                </a:ext>
              </a:extLst>
            </p:cNvPr>
            <p:cNvSpPr/>
            <p:nvPr/>
          </p:nvSpPr>
          <p:spPr>
            <a:xfrm>
              <a:off x="20825159" y="2138972"/>
              <a:ext cx="72057" cy="147968"/>
            </a:xfrm>
            <a:custGeom>
              <a:avLst/>
              <a:gdLst>
                <a:gd name="connsiteX0" fmla="*/ 15779 w 72057"/>
                <a:gd name="connsiteY0" fmla="*/ 61768 h 147968"/>
                <a:gd name="connsiteX1" fmla="*/ 9711 w 72057"/>
                <a:gd name="connsiteY1" fmla="*/ 52667 h 147968"/>
                <a:gd name="connsiteX2" fmla="*/ 6678 w 72057"/>
                <a:gd name="connsiteY2" fmla="*/ 13229 h 147968"/>
                <a:gd name="connsiteX3" fmla="*/ 27914 w 72057"/>
                <a:gd name="connsiteY3" fmla="*/ 1094 h 147968"/>
                <a:gd name="connsiteX4" fmla="*/ 43083 w 72057"/>
                <a:gd name="connsiteY4" fmla="*/ 7162 h 147968"/>
                <a:gd name="connsiteX5" fmla="*/ 70385 w 72057"/>
                <a:gd name="connsiteY5" fmla="*/ 86038 h 147968"/>
                <a:gd name="connsiteX6" fmla="*/ 55217 w 72057"/>
                <a:gd name="connsiteY6" fmla="*/ 146712 h 147968"/>
                <a:gd name="connsiteX7" fmla="*/ 24880 w 72057"/>
                <a:gd name="connsiteY7" fmla="*/ 143678 h 147968"/>
                <a:gd name="connsiteX8" fmla="*/ 9711 w 72057"/>
                <a:gd name="connsiteY8" fmla="*/ 113341 h 147968"/>
                <a:gd name="connsiteX9" fmla="*/ 610 w 72057"/>
                <a:gd name="connsiteY9" fmla="*/ 79971 h 147968"/>
                <a:gd name="connsiteX10" fmla="*/ 15779 w 72057"/>
                <a:gd name="connsiteY10" fmla="*/ 61768 h 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057" h="147968">
                  <a:moveTo>
                    <a:pt x="15779" y="61768"/>
                  </a:moveTo>
                  <a:cubicBezTo>
                    <a:pt x="15779" y="55701"/>
                    <a:pt x="12746" y="55701"/>
                    <a:pt x="9711" y="52667"/>
                  </a:cubicBezTo>
                  <a:cubicBezTo>
                    <a:pt x="-2423" y="37499"/>
                    <a:pt x="6678" y="28398"/>
                    <a:pt x="6678" y="13229"/>
                  </a:cubicBezTo>
                  <a:cubicBezTo>
                    <a:pt x="6678" y="1094"/>
                    <a:pt x="18814" y="-1940"/>
                    <a:pt x="27914" y="1094"/>
                  </a:cubicBezTo>
                  <a:cubicBezTo>
                    <a:pt x="33982" y="1094"/>
                    <a:pt x="40048" y="4128"/>
                    <a:pt x="43083" y="7162"/>
                  </a:cubicBezTo>
                  <a:cubicBezTo>
                    <a:pt x="58252" y="34465"/>
                    <a:pt x="70385" y="55701"/>
                    <a:pt x="70385" y="86038"/>
                  </a:cubicBezTo>
                  <a:cubicBezTo>
                    <a:pt x="70385" y="110308"/>
                    <a:pt x="79488" y="134577"/>
                    <a:pt x="55217" y="146712"/>
                  </a:cubicBezTo>
                  <a:cubicBezTo>
                    <a:pt x="49151" y="149746"/>
                    <a:pt x="30947" y="146712"/>
                    <a:pt x="24880" y="143678"/>
                  </a:cubicBezTo>
                  <a:cubicBezTo>
                    <a:pt x="12746" y="137611"/>
                    <a:pt x="15779" y="116375"/>
                    <a:pt x="9711" y="113341"/>
                  </a:cubicBezTo>
                  <a:cubicBezTo>
                    <a:pt x="6678" y="101207"/>
                    <a:pt x="-2423" y="92105"/>
                    <a:pt x="610" y="79971"/>
                  </a:cubicBezTo>
                  <a:cubicBezTo>
                    <a:pt x="6678" y="70869"/>
                    <a:pt x="15779" y="67836"/>
                    <a:pt x="15779" y="61768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13FD5CEF-2CE0-456D-A45B-C08BAB6E7ED0}"/>
                </a:ext>
              </a:extLst>
            </p:cNvPr>
            <p:cNvSpPr/>
            <p:nvPr/>
          </p:nvSpPr>
          <p:spPr>
            <a:xfrm>
              <a:off x="21235320" y="2252314"/>
              <a:ext cx="66741" cy="139550"/>
            </a:xfrm>
            <a:custGeom>
              <a:avLst/>
              <a:gdLst>
                <a:gd name="connsiteX0" fmla="*/ 66742 w 66741"/>
                <a:gd name="connsiteY0" fmla="*/ 0 h 139550"/>
                <a:gd name="connsiteX1" fmla="*/ 3035 w 66741"/>
                <a:gd name="connsiteY1" fmla="*/ 139551 h 139550"/>
                <a:gd name="connsiteX2" fmla="*/ 0 w 66741"/>
                <a:gd name="connsiteY2" fmla="*/ 54607 h 139550"/>
                <a:gd name="connsiteX3" fmla="*/ 66742 w 66741"/>
                <a:gd name="connsiteY3" fmla="*/ 0 h 13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741" h="139550">
                  <a:moveTo>
                    <a:pt x="66742" y="0"/>
                  </a:moveTo>
                  <a:cubicBezTo>
                    <a:pt x="66742" y="0"/>
                    <a:pt x="54606" y="118315"/>
                    <a:pt x="3035" y="139551"/>
                  </a:cubicBezTo>
                  <a:lnTo>
                    <a:pt x="0" y="54607"/>
                  </a:lnTo>
                  <a:lnTo>
                    <a:pt x="66742" y="0"/>
                  </a:ln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E83ED5E4-0014-42C0-AF2E-81F1011299A6}"/>
                </a:ext>
              </a:extLst>
            </p:cNvPr>
            <p:cNvSpPr/>
            <p:nvPr/>
          </p:nvSpPr>
          <p:spPr>
            <a:xfrm>
              <a:off x="20841991" y="2055123"/>
              <a:ext cx="100637" cy="236608"/>
            </a:xfrm>
            <a:custGeom>
              <a:avLst/>
              <a:gdLst>
                <a:gd name="connsiteX0" fmla="*/ 5015 w 100637"/>
                <a:gd name="connsiteY0" fmla="*/ 0 h 236608"/>
                <a:gd name="connsiteX1" fmla="*/ 50521 w 100637"/>
                <a:gd name="connsiteY1" fmla="*/ 233595 h 236608"/>
                <a:gd name="connsiteX2" fmla="*/ 99059 w 100637"/>
                <a:gd name="connsiteY2" fmla="*/ 12135 h 236608"/>
                <a:gd name="connsiteX3" fmla="*/ 5015 w 100637"/>
                <a:gd name="connsiteY3" fmla="*/ 0 h 236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637" h="236608">
                  <a:moveTo>
                    <a:pt x="5015" y="0"/>
                  </a:moveTo>
                  <a:cubicBezTo>
                    <a:pt x="5015" y="0"/>
                    <a:pt x="-22289" y="194157"/>
                    <a:pt x="50521" y="233595"/>
                  </a:cubicBezTo>
                  <a:cubicBezTo>
                    <a:pt x="114228" y="266966"/>
                    <a:pt x="99059" y="12135"/>
                    <a:pt x="99059" y="12135"/>
                  </a:cubicBezTo>
                  <a:lnTo>
                    <a:pt x="5015" y="0"/>
                  </a:ln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7C49D297-60FD-4169-93DF-9DF1CB42B643}"/>
                </a:ext>
              </a:extLst>
            </p:cNvPr>
            <p:cNvSpPr/>
            <p:nvPr/>
          </p:nvSpPr>
          <p:spPr>
            <a:xfrm>
              <a:off x="20879183" y="1914687"/>
              <a:ext cx="416810" cy="565316"/>
            </a:xfrm>
            <a:custGeom>
              <a:avLst/>
              <a:gdLst>
                <a:gd name="connsiteX0" fmla="*/ 7260 w 416810"/>
                <a:gd name="connsiteY0" fmla="*/ 182908 h 565316"/>
                <a:gd name="connsiteX1" fmla="*/ 10295 w 416810"/>
                <a:gd name="connsiteY1" fmla="*/ 431672 h 565316"/>
                <a:gd name="connsiteX2" fmla="*/ 171081 w 416810"/>
                <a:gd name="connsiteY2" fmla="*/ 565155 h 565316"/>
                <a:gd name="connsiteX3" fmla="*/ 383441 w 416810"/>
                <a:gd name="connsiteY3" fmla="*/ 419537 h 565316"/>
                <a:gd name="connsiteX4" fmla="*/ 416811 w 416810"/>
                <a:gd name="connsiteY4" fmla="*/ 195043 h 565316"/>
                <a:gd name="connsiteX5" fmla="*/ 201418 w 416810"/>
                <a:gd name="connsiteY5" fmla="*/ 885 h 565316"/>
                <a:gd name="connsiteX6" fmla="*/ 7260 w 416810"/>
                <a:gd name="connsiteY6" fmla="*/ 182908 h 565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6810" h="565316">
                  <a:moveTo>
                    <a:pt x="7260" y="182908"/>
                  </a:moveTo>
                  <a:cubicBezTo>
                    <a:pt x="7260" y="182908"/>
                    <a:pt x="-10941" y="358863"/>
                    <a:pt x="10295" y="431672"/>
                  </a:cubicBezTo>
                  <a:cubicBezTo>
                    <a:pt x="31529" y="498413"/>
                    <a:pt x="122541" y="559088"/>
                    <a:pt x="171081" y="565155"/>
                  </a:cubicBezTo>
                  <a:cubicBezTo>
                    <a:pt x="237823" y="568189"/>
                    <a:pt x="356137" y="528751"/>
                    <a:pt x="383441" y="419537"/>
                  </a:cubicBezTo>
                  <a:cubicBezTo>
                    <a:pt x="401642" y="346728"/>
                    <a:pt x="416811" y="246616"/>
                    <a:pt x="416811" y="195043"/>
                  </a:cubicBezTo>
                  <a:cubicBezTo>
                    <a:pt x="413778" y="100998"/>
                    <a:pt x="386474" y="22121"/>
                    <a:pt x="201418" y="885"/>
                  </a:cubicBezTo>
                  <a:cubicBezTo>
                    <a:pt x="119508" y="-11250"/>
                    <a:pt x="25463" y="104031"/>
                    <a:pt x="7260" y="182908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A256AF18-FD3E-4F69-BB7F-3400754FC0A9}"/>
                </a:ext>
              </a:extLst>
            </p:cNvPr>
            <p:cNvSpPr/>
            <p:nvPr/>
          </p:nvSpPr>
          <p:spPr>
            <a:xfrm>
              <a:off x="21016893" y="2176471"/>
              <a:ext cx="57641" cy="136516"/>
            </a:xfrm>
            <a:custGeom>
              <a:avLst/>
              <a:gdLst>
                <a:gd name="connsiteX0" fmla="*/ 30337 w 57641"/>
                <a:gd name="connsiteY0" fmla="*/ 136517 h 136516"/>
                <a:gd name="connsiteX1" fmla="*/ 6068 w 57641"/>
                <a:gd name="connsiteY1" fmla="*/ 130449 h 136516"/>
                <a:gd name="connsiteX2" fmla="*/ 0 w 57641"/>
                <a:gd name="connsiteY2" fmla="*/ 118315 h 136516"/>
                <a:gd name="connsiteX3" fmla="*/ 15169 w 57641"/>
                <a:gd name="connsiteY3" fmla="*/ 6067 h 136516"/>
                <a:gd name="connsiteX4" fmla="*/ 21236 w 57641"/>
                <a:gd name="connsiteY4" fmla="*/ 0 h 136516"/>
                <a:gd name="connsiteX5" fmla="*/ 27304 w 57641"/>
                <a:gd name="connsiteY5" fmla="*/ 6067 h 136516"/>
                <a:gd name="connsiteX6" fmla="*/ 12136 w 57641"/>
                <a:gd name="connsiteY6" fmla="*/ 118315 h 136516"/>
                <a:gd name="connsiteX7" fmla="*/ 12136 w 57641"/>
                <a:gd name="connsiteY7" fmla="*/ 121348 h 136516"/>
                <a:gd name="connsiteX8" fmla="*/ 51573 w 57641"/>
                <a:gd name="connsiteY8" fmla="*/ 121348 h 136516"/>
                <a:gd name="connsiteX9" fmla="*/ 57641 w 57641"/>
                <a:gd name="connsiteY9" fmla="*/ 127416 h 136516"/>
                <a:gd name="connsiteX10" fmla="*/ 51573 w 57641"/>
                <a:gd name="connsiteY10" fmla="*/ 133483 h 136516"/>
                <a:gd name="connsiteX11" fmla="*/ 30337 w 57641"/>
                <a:gd name="connsiteY11" fmla="*/ 136517 h 13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641" h="136516">
                  <a:moveTo>
                    <a:pt x="30337" y="136517"/>
                  </a:moveTo>
                  <a:cubicBezTo>
                    <a:pt x="21236" y="136517"/>
                    <a:pt x="12136" y="136517"/>
                    <a:pt x="6068" y="130449"/>
                  </a:cubicBezTo>
                  <a:cubicBezTo>
                    <a:pt x="3035" y="127416"/>
                    <a:pt x="0" y="124382"/>
                    <a:pt x="0" y="118315"/>
                  </a:cubicBezTo>
                  <a:cubicBezTo>
                    <a:pt x="0" y="97079"/>
                    <a:pt x="15169" y="9101"/>
                    <a:pt x="15169" y="6067"/>
                  </a:cubicBezTo>
                  <a:cubicBezTo>
                    <a:pt x="15169" y="3034"/>
                    <a:pt x="18203" y="0"/>
                    <a:pt x="21236" y="0"/>
                  </a:cubicBezTo>
                  <a:cubicBezTo>
                    <a:pt x="24271" y="0"/>
                    <a:pt x="27304" y="3034"/>
                    <a:pt x="27304" y="6067"/>
                  </a:cubicBezTo>
                  <a:cubicBezTo>
                    <a:pt x="27304" y="6067"/>
                    <a:pt x="12136" y="97079"/>
                    <a:pt x="12136" y="118315"/>
                  </a:cubicBezTo>
                  <a:cubicBezTo>
                    <a:pt x="12136" y="118315"/>
                    <a:pt x="12136" y="121348"/>
                    <a:pt x="12136" y="121348"/>
                  </a:cubicBezTo>
                  <a:cubicBezTo>
                    <a:pt x="18203" y="127416"/>
                    <a:pt x="39440" y="124382"/>
                    <a:pt x="51573" y="121348"/>
                  </a:cubicBezTo>
                  <a:cubicBezTo>
                    <a:pt x="54608" y="121348"/>
                    <a:pt x="57641" y="121348"/>
                    <a:pt x="57641" y="127416"/>
                  </a:cubicBezTo>
                  <a:cubicBezTo>
                    <a:pt x="57641" y="130449"/>
                    <a:pt x="57641" y="133483"/>
                    <a:pt x="51573" y="133483"/>
                  </a:cubicBezTo>
                  <a:cubicBezTo>
                    <a:pt x="51573" y="133483"/>
                    <a:pt x="39440" y="136517"/>
                    <a:pt x="30337" y="136517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D6252EAF-F95B-48B3-88A4-011B69AB1FED}"/>
                </a:ext>
              </a:extLst>
            </p:cNvPr>
            <p:cNvSpPr/>
            <p:nvPr/>
          </p:nvSpPr>
          <p:spPr>
            <a:xfrm>
              <a:off x="20943311" y="2154462"/>
              <a:ext cx="40984" cy="40984"/>
            </a:xfrm>
            <a:custGeom>
              <a:avLst/>
              <a:gdLst>
                <a:gd name="connsiteX0" fmla="*/ 40211 w 40984"/>
                <a:gd name="connsiteY0" fmla="*/ 25043 h 40984"/>
                <a:gd name="connsiteX1" fmla="*/ 15942 w 40984"/>
                <a:gd name="connsiteY1" fmla="*/ 40211 h 40984"/>
                <a:gd name="connsiteX2" fmla="*/ 774 w 40984"/>
                <a:gd name="connsiteY2" fmla="*/ 15942 h 40984"/>
                <a:gd name="connsiteX3" fmla="*/ 25043 w 40984"/>
                <a:gd name="connsiteY3" fmla="*/ 773 h 40984"/>
                <a:gd name="connsiteX4" fmla="*/ 40211 w 40984"/>
                <a:gd name="connsiteY4" fmla="*/ 25043 h 40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84" h="40984">
                  <a:moveTo>
                    <a:pt x="40211" y="25043"/>
                  </a:moveTo>
                  <a:cubicBezTo>
                    <a:pt x="37178" y="37178"/>
                    <a:pt x="28076" y="43245"/>
                    <a:pt x="15942" y="40211"/>
                  </a:cubicBezTo>
                  <a:cubicBezTo>
                    <a:pt x="3807" y="37178"/>
                    <a:pt x="-2261" y="28076"/>
                    <a:pt x="774" y="15942"/>
                  </a:cubicBezTo>
                  <a:cubicBezTo>
                    <a:pt x="3807" y="3807"/>
                    <a:pt x="12907" y="-2261"/>
                    <a:pt x="25043" y="773"/>
                  </a:cubicBezTo>
                  <a:cubicBezTo>
                    <a:pt x="37178" y="3807"/>
                    <a:pt x="43244" y="12908"/>
                    <a:pt x="40211" y="25043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E1429334-250A-401C-B07A-F24D379784B3}"/>
                </a:ext>
              </a:extLst>
            </p:cNvPr>
            <p:cNvSpPr/>
            <p:nvPr/>
          </p:nvSpPr>
          <p:spPr>
            <a:xfrm>
              <a:off x="21125334" y="2169630"/>
              <a:ext cx="40984" cy="40984"/>
            </a:xfrm>
            <a:custGeom>
              <a:avLst/>
              <a:gdLst>
                <a:gd name="connsiteX0" fmla="*/ 40211 w 40984"/>
                <a:gd name="connsiteY0" fmla="*/ 25043 h 40984"/>
                <a:gd name="connsiteX1" fmla="*/ 15942 w 40984"/>
                <a:gd name="connsiteY1" fmla="*/ 40211 h 40984"/>
                <a:gd name="connsiteX2" fmla="*/ 774 w 40984"/>
                <a:gd name="connsiteY2" fmla="*/ 15942 h 40984"/>
                <a:gd name="connsiteX3" fmla="*/ 25043 w 40984"/>
                <a:gd name="connsiteY3" fmla="*/ 773 h 40984"/>
                <a:gd name="connsiteX4" fmla="*/ 40211 w 40984"/>
                <a:gd name="connsiteY4" fmla="*/ 25043 h 40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84" h="40984">
                  <a:moveTo>
                    <a:pt x="40211" y="25043"/>
                  </a:moveTo>
                  <a:cubicBezTo>
                    <a:pt x="37178" y="37178"/>
                    <a:pt x="28076" y="43245"/>
                    <a:pt x="15942" y="40211"/>
                  </a:cubicBezTo>
                  <a:cubicBezTo>
                    <a:pt x="3807" y="37178"/>
                    <a:pt x="-2261" y="28076"/>
                    <a:pt x="774" y="15942"/>
                  </a:cubicBezTo>
                  <a:cubicBezTo>
                    <a:pt x="3807" y="3807"/>
                    <a:pt x="12907" y="-2261"/>
                    <a:pt x="25043" y="773"/>
                  </a:cubicBezTo>
                  <a:cubicBezTo>
                    <a:pt x="37178" y="3807"/>
                    <a:pt x="43244" y="12908"/>
                    <a:pt x="40211" y="25043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340DB43D-291C-469C-A1DF-FE7015E40753}"/>
                </a:ext>
              </a:extLst>
            </p:cNvPr>
            <p:cNvSpPr/>
            <p:nvPr/>
          </p:nvSpPr>
          <p:spPr>
            <a:xfrm>
              <a:off x="20917539" y="2104019"/>
              <a:ext cx="91509" cy="36047"/>
            </a:xfrm>
            <a:custGeom>
              <a:avLst/>
              <a:gdLst>
                <a:gd name="connsiteX0" fmla="*/ 8342 w 91509"/>
                <a:gd name="connsiteY0" fmla="*/ 36047 h 36047"/>
                <a:gd name="connsiteX1" fmla="*/ 2276 w 91509"/>
                <a:gd name="connsiteY1" fmla="*/ 33014 h 36047"/>
                <a:gd name="connsiteX2" fmla="*/ 2276 w 91509"/>
                <a:gd name="connsiteY2" fmla="*/ 20879 h 36047"/>
                <a:gd name="connsiteX3" fmla="*/ 87220 w 91509"/>
                <a:gd name="connsiteY3" fmla="*/ 8744 h 36047"/>
                <a:gd name="connsiteX4" fmla="*/ 90253 w 91509"/>
                <a:gd name="connsiteY4" fmla="*/ 17845 h 36047"/>
                <a:gd name="connsiteX5" fmla="*/ 81152 w 91509"/>
                <a:gd name="connsiteY5" fmla="*/ 20879 h 36047"/>
                <a:gd name="connsiteX6" fmla="*/ 14410 w 91509"/>
                <a:gd name="connsiteY6" fmla="*/ 29980 h 36047"/>
                <a:gd name="connsiteX7" fmla="*/ 8342 w 91509"/>
                <a:gd name="connsiteY7" fmla="*/ 36047 h 36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6047">
                  <a:moveTo>
                    <a:pt x="8342" y="36047"/>
                  </a:moveTo>
                  <a:cubicBezTo>
                    <a:pt x="5309" y="36047"/>
                    <a:pt x="5309" y="36047"/>
                    <a:pt x="2276" y="33014"/>
                  </a:cubicBezTo>
                  <a:cubicBezTo>
                    <a:pt x="-759" y="29980"/>
                    <a:pt x="-759" y="23913"/>
                    <a:pt x="2276" y="20879"/>
                  </a:cubicBezTo>
                  <a:cubicBezTo>
                    <a:pt x="29578" y="-9458"/>
                    <a:pt x="69016" y="-357"/>
                    <a:pt x="87220" y="8744"/>
                  </a:cubicBezTo>
                  <a:cubicBezTo>
                    <a:pt x="90253" y="11778"/>
                    <a:pt x="93287" y="14811"/>
                    <a:pt x="90253" y="17845"/>
                  </a:cubicBezTo>
                  <a:cubicBezTo>
                    <a:pt x="87220" y="20879"/>
                    <a:pt x="84185" y="23913"/>
                    <a:pt x="81152" y="20879"/>
                  </a:cubicBezTo>
                  <a:cubicBezTo>
                    <a:pt x="78119" y="20879"/>
                    <a:pt x="38679" y="-357"/>
                    <a:pt x="14410" y="29980"/>
                  </a:cubicBezTo>
                  <a:cubicBezTo>
                    <a:pt x="14410" y="36047"/>
                    <a:pt x="11377" y="36047"/>
                    <a:pt x="8342" y="36047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1F513304-09A9-43DA-8CD6-41C199B8AB24}"/>
                </a:ext>
              </a:extLst>
            </p:cNvPr>
            <p:cNvSpPr/>
            <p:nvPr/>
          </p:nvSpPr>
          <p:spPr>
            <a:xfrm>
              <a:off x="21106648" y="2100800"/>
              <a:ext cx="91509" cy="36232"/>
            </a:xfrm>
            <a:custGeom>
              <a:avLst/>
              <a:gdLst>
                <a:gd name="connsiteX0" fmla="*/ 86202 w 91509"/>
                <a:gd name="connsiteY0" fmla="*/ 36232 h 36232"/>
                <a:gd name="connsiteX1" fmla="*/ 80134 w 91509"/>
                <a:gd name="connsiteY1" fmla="*/ 33199 h 36232"/>
                <a:gd name="connsiteX2" fmla="*/ 13392 w 91509"/>
                <a:gd name="connsiteY2" fmla="*/ 27131 h 36232"/>
                <a:gd name="connsiteX3" fmla="*/ 1256 w 91509"/>
                <a:gd name="connsiteY3" fmla="*/ 24098 h 36232"/>
                <a:gd name="connsiteX4" fmla="*/ 4291 w 91509"/>
                <a:gd name="connsiteY4" fmla="*/ 11963 h 36232"/>
                <a:gd name="connsiteX5" fmla="*/ 89235 w 91509"/>
                <a:gd name="connsiteY5" fmla="*/ 18030 h 36232"/>
                <a:gd name="connsiteX6" fmla="*/ 89235 w 91509"/>
                <a:gd name="connsiteY6" fmla="*/ 30165 h 36232"/>
                <a:gd name="connsiteX7" fmla="*/ 86202 w 91509"/>
                <a:gd name="connsiteY7" fmla="*/ 36232 h 36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6232">
                  <a:moveTo>
                    <a:pt x="86202" y="36232"/>
                  </a:moveTo>
                  <a:cubicBezTo>
                    <a:pt x="83167" y="36232"/>
                    <a:pt x="83167" y="36232"/>
                    <a:pt x="80134" y="33199"/>
                  </a:cubicBezTo>
                  <a:cubicBezTo>
                    <a:pt x="80134" y="33199"/>
                    <a:pt x="49797" y="2862"/>
                    <a:pt x="13392" y="27131"/>
                  </a:cubicBezTo>
                  <a:cubicBezTo>
                    <a:pt x="10359" y="30165"/>
                    <a:pt x="4291" y="27131"/>
                    <a:pt x="1256" y="24098"/>
                  </a:cubicBezTo>
                  <a:cubicBezTo>
                    <a:pt x="-1777" y="21064"/>
                    <a:pt x="1256" y="14997"/>
                    <a:pt x="4291" y="11963"/>
                  </a:cubicBezTo>
                  <a:cubicBezTo>
                    <a:pt x="40696" y="-12307"/>
                    <a:pt x="77099" y="5895"/>
                    <a:pt x="89235" y="18030"/>
                  </a:cubicBezTo>
                  <a:cubicBezTo>
                    <a:pt x="92267" y="21064"/>
                    <a:pt x="92267" y="27131"/>
                    <a:pt x="89235" y="30165"/>
                  </a:cubicBezTo>
                  <a:cubicBezTo>
                    <a:pt x="89235" y="36232"/>
                    <a:pt x="86202" y="36232"/>
                    <a:pt x="86202" y="36232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1E1F00D8-5D08-4322-837D-14F22813C39E}"/>
                </a:ext>
              </a:extLst>
            </p:cNvPr>
            <p:cNvSpPr/>
            <p:nvPr/>
          </p:nvSpPr>
          <p:spPr>
            <a:xfrm>
              <a:off x="20984281" y="2417911"/>
              <a:ext cx="228026" cy="67998"/>
            </a:xfrm>
            <a:custGeom>
              <a:avLst/>
              <a:gdLst>
                <a:gd name="connsiteX0" fmla="*/ 78117 w 228026"/>
                <a:gd name="connsiteY0" fmla="*/ 67998 h 67998"/>
                <a:gd name="connsiteX1" fmla="*/ 2275 w 228026"/>
                <a:gd name="connsiteY1" fmla="*/ 40695 h 67998"/>
                <a:gd name="connsiteX2" fmla="*/ 2275 w 228026"/>
                <a:gd name="connsiteY2" fmla="*/ 31594 h 67998"/>
                <a:gd name="connsiteX3" fmla="*/ 11377 w 228026"/>
                <a:gd name="connsiteY3" fmla="*/ 31594 h 67998"/>
                <a:gd name="connsiteX4" fmla="*/ 81152 w 228026"/>
                <a:gd name="connsiteY4" fmla="*/ 55863 h 67998"/>
                <a:gd name="connsiteX5" fmla="*/ 81152 w 228026"/>
                <a:gd name="connsiteY5" fmla="*/ 55863 h 67998"/>
                <a:gd name="connsiteX6" fmla="*/ 217669 w 228026"/>
                <a:gd name="connsiteY6" fmla="*/ 1257 h 67998"/>
                <a:gd name="connsiteX7" fmla="*/ 226770 w 228026"/>
                <a:gd name="connsiteY7" fmla="*/ 4290 h 67998"/>
                <a:gd name="connsiteX8" fmla="*/ 223737 w 228026"/>
                <a:gd name="connsiteY8" fmla="*/ 13391 h 67998"/>
                <a:gd name="connsiteX9" fmla="*/ 78117 w 228026"/>
                <a:gd name="connsiteY9" fmla="*/ 67998 h 67998"/>
                <a:gd name="connsiteX10" fmla="*/ 78117 w 228026"/>
                <a:gd name="connsiteY10" fmla="*/ 67998 h 67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8026" h="67998">
                  <a:moveTo>
                    <a:pt x="78117" y="67998"/>
                  </a:moveTo>
                  <a:cubicBezTo>
                    <a:pt x="35647" y="67998"/>
                    <a:pt x="2275" y="43729"/>
                    <a:pt x="2275" y="40695"/>
                  </a:cubicBezTo>
                  <a:cubicBezTo>
                    <a:pt x="-758" y="37661"/>
                    <a:pt x="-758" y="34627"/>
                    <a:pt x="2275" y="31594"/>
                  </a:cubicBezTo>
                  <a:cubicBezTo>
                    <a:pt x="5310" y="28560"/>
                    <a:pt x="8343" y="28560"/>
                    <a:pt x="11377" y="31594"/>
                  </a:cubicBezTo>
                  <a:cubicBezTo>
                    <a:pt x="11377" y="31594"/>
                    <a:pt x="41714" y="55863"/>
                    <a:pt x="81152" y="55863"/>
                  </a:cubicBezTo>
                  <a:cubicBezTo>
                    <a:pt x="81152" y="55863"/>
                    <a:pt x="81152" y="55863"/>
                    <a:pt x="81152" y="55863"/>
                  </a:cubicBezTo>
                  <a:cubicBezTo>
                    <a:pt x="129691" y="55863"/>
                    <a:pt x="217669" y="4290"/>
                    <a:pt x="217669" y="1257"/>
                  </a:cubicBezTo>
                  <a:cubicBezTo>
                    <a:pt x="220702" y="-1777"/>
                    <a:pt x="223737" y="1257"/>
                    <a:pt x="226770" y="4290"/>
                  </a:cubicBezTo>
                  <a:cubicBezTo>
                    <a:pt x="229803" y="7324"/>
                    <a:pt x="226770" y="10358"/>
                    <a:pt x="223737" y="13391"/>
                  </a:cubicBezTo>
                  <a:cubicBezTo>
                    <a:pt x="220702" y="13391"/>
                    <a:pt x="132726" y="64964"/>
                    <a:pt x="78117" y="67998"/>
                  </a:cubicBezTo>
                  <a:cubicBezTo>
                    <a:pt x="81152" y="67998"/>
                    <a:pt x="81152" y="67998"/>
                    <a:pt x="78117" y="67998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B83FC2F9-96AA-4FC3-ADBF-1CEF10C89139}"/>
                </a:ext>
              </a:extLst>
            </p:cNvPr>
            <p:cNvSpPr/>
            <p:nvPr/>
          </p:nvSpPr>
          <p:spPr>
            <a:xfrm>
              <a:off x="21263475" y="2165892"/>
              <a:ext cx="76376" cy="113485"/>
            </a:xfrm>
            <a:custGeom>
              <a:avLst/>
              <a:gdLst>
                <a:gd name="connsiteX0" fmla="*/ 11283 w 76376"/>
                <a:gd name="connsiteY0" fmla="*/ 16646 h 113485"/>
                <a:gd name="connsiteX1" fmla="*/ 68924 w 76376"/>
                <a:gd name="connsiteY1" fmla="*/ 7545 h 113485"/>
                <a:gd name="connsiteX2" fmla="*/ 14318 w 76376"/>
                <a:gd name="connsiteY2" fmla="*/ 110691 h 113485"/>
                <a:gd name="connsiteX3" fmla="*/ 11283 w 76376"/>
                <a:gd name="connsiteY3" fmla="*/ 16646 h 11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376" h="113485">
                  <a:moveTo>
                    <a:pt x="11283" y="16646"/>
                  </a:moveTo>
                  <a:cubicBezTo>
                    <a:pt x="11283" y="16646"/>
                    <a:pt x="44655" y="-13691"/>
                    <a:pt x="68924" y="7545"/>
                  </a:cubicBezTo>
                  <a:cubicBezTo>
                    <a:pt x="93193" y="25747"/>
                    <a:pt x="53755" y="131927"/>
                    <a:pt x="14318" y="110691"/>
                  </a:cubicBezTo>
                  <a:cubicBezTo>
                    <a:pt x="-16020" y="89455"/>
                    <a:pt x="11283" y="16646"/>
                    <a:pt x="11283" y="16646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675EA874-8FEF-4DE2-9BED-019BF73DAA48}"/>
                </a:ext>
              </a:extLst>
            </p:cNvPr>
            <p:cNvSpPr/>
            <p:nvPr/>
          </p:nvSpPr>
          <p:spPr>
            <a:xfrm>
              <a:off x="20825172" y="1801476"/>
              <a:ext cx="521503" cy="390986"/>
            </a:xfrm>
            <a:custGeom>
              <a:avLst/>
              <a:gdLst>
                <a:gd name="connsiteX0" fmla="*/ 3632 w 521503"/>
                <a:gd name="connsiteY0" fmla="*/ 247579 h 390986"/>
                <a:gd name="connsiteX1" fmla="*/ 21833 w 521503"/>
                <a:gd name="connsiteY1" fmla="*/ 205107 h 390986"/>
                <a:gd name="connsiteX2" fmla="*/ 18800 w 521503"/>
                <a:gd name="connsiteY2" fmla="*/ 171736 h 390986"/>
                <a:gd name="connsiteX3" fmla="*/ 24866 w 521503"/>
                <a:gd name="connsiteY3" fmla="*/ 135332 h 390986"/>
                <a:gd name="connsiteX4" fmla="*/ 43070 w 521503"/>
                <a:gd name="connsiteY4" fmla="*/ 108029 h 390986"/>
                <a:gd name="connsiteX5" fmla="*/ 58238 w 521503"/>
                <a:gd name="connsiteY5" fmla="*/ 65557 h 390986"/>
                <a:gd name="connsiteX6" fmla="*/ 118912 w 521503"/>
                <a:gd name="connsiteY6" fmla="*/ 41287 h 390986"/>
                <a:gd name="connsiteX7" fmla="*/ 243294 w 521503"/>
                <a:gd name="connsiteY7" fmla="*/ 1849 h 390986"/>
                <a:gd name="connsiteX8" fmla="*/ 255429 w 521503"/>
                <a:gd name="connsiteY8" fmla="*/ 7916 h 390986"/>
                <a:gd name="connsiteX9" fmla="*/ 310036 w 521503"/>
                <a:gd name="connsiteY9" fmla="*/ 20051 h 390986"/>
                <a:gd name="connsiteX10" fmla="*/ 343406 w 521503"/>
                <a:gd name="connsiteY10" fmla="*/ 23085 h 390986"/>
                <a:gd name="connsiteX11" fmla="*/ 373743 w 521503"/>
                <a:gd name="connsiteY11" fmla="*/ 53422 h 390986"/>
                <a:gd name="connsiteX12" fmla="*/ 385878 w 521503"/>
                <a:gd name="connsiteY12" fmla="*/ 71624 h 390986"/>
                <a:gd name="connsiteX13" fmla="*/ 416215 w 521503"/>
                <a:gd name="connsiteY13" fmla="*/ 92860 h 390986"/>
                <a:gd name="connsiteX14" fmla="*/ 428351 w 521503"/>
                <a:gd name="connsiteY14" fmla="*/ 89826 h 390986"/>
                <a:gd name="connsiteX15" fmla="*/ 446552 w 521503"/>
                <a:gd name="connsiteY15" fmla="*/ 129265 h 390986"/>
                <a:gd name="connsiteX16" fmla="*/ 498126 w 521503"/>
                <a:gd name="connsiteY16" fmla="*/ 189939 h 390986"/>
                <a:gd name="connsiteX17" fmla="*/ 507227 w 521503"/>
                <a:gd name="connsiteY17" fmla="*/ 290051 h 390986"/>
                <a:gd name="connsiteX18" fmla="*/ 434417 w 521503"/>
                <a:gd name="connsiteY18" fmla="*/ 384096 h 390986"/>
                <a:gd name="connsiteX19" fmla="*/ 428351 w 521503"/>
                <a:gd name="connsiteY19" fmla="*/ 368927 h 390986"/>
                <a:gd name="connsiteX20" fmla="*/ 401047 w 521503"/>
                <a:gd name="connsiteY20" fmla="*/ 277916 h 390986"/>
                <a:gd name="connsiteX21" fmla="*/ 391946 w 521503"/>
                <a:gd name="connsiteY21" fmla="*/ 268815 h 390986"/>
                <a:gd name="connsiteX22" fmla="*/ 388911 w 521503"/>
                <a:gd name="connsiteY22" fmla="*/ 253647 h 390986"/>
                <a:gd name="connsiteX23" fmla="*/ 388911 w 521503"/>
                <a:gd name="connsiteY23" fmla="*/ 253647 h 390986"/>
                <a:gd name="connsiteX24" fmla="*/ 310036 w 521503"/>
                <a:gd name="connsiteY24" fmla="*/ 229377 h 390986"/>
                <a:gd name="connsiteX25" fmla="*/ 297900 w 521503"/>
                <a:gd name="connsiteY25" fmla="*/ 226343 h 390986"/>
                <a:gd name="connsiteX26" fmla="*/ 261497 w 521503"/>
                <a:gd name="connsiteY26" fmla="*/ 247579 h 390986"/>
                <a:gd name="connsiteX27" fmla="*/ 246328 w 521503"/>
                <a:gd name="connsiteY27" fmla="*/ 238478 h 390986"/>
                <a:gd name="connsiteX28" fmla="*/ 194755 w 521503"/>
                <a:gd name="connsiteY28" fmla="*/ 256680 h 390986"/>
                <a:gd name="connsiteX29" fmla="*/ 158350 w 521503"/>
                <a:gd name="connsiteY29" fmla="*/ 265781 h 390986"/>
                <a:gd name="connsiteX30" fmla="*/ 146215 w 521503"/>
                <a:gd name="connsiteY30" fmla="*/ 265781 h 390986"/>
                <a:gd name="connsiteX31" fmla="*/ 134081 w 521503"/>
                <a:gd name="connsiteY31" fmla="*/ 262748 h 390986"/>
                <a:gd name="connsiteX32" fmla="*/ 124980 w 521503"/>
                <a:gd name="connsiteY32" fmla="*/ 268815 h 390986"/>
                <a:gd name="connsiteX33" fmla="*/ 118912 w 521503"/>
                <a:gd name="connsiteY33" fmla="*/ 274883 h 390986"/>
                <a:gd name="connsiteX34" fmla="*/ 112845 w 521503"/>
                <a:gd name="connsiteY34" fmla="*/ 277916 h 390986"/>
                <a:gd name="connsiteX35" fmla="*/ 106777 w 521503"/>
                <a:gd name="connsiteY35" fmla="*/ 280950 h 390986"/>
                <a:gd name="connsiteX36" fmla="*/ 100709 w 521503"/>
                <a:gd name="connsiteY36" fmla="*/ 290051 h 390986"/>
                <a:gd name="connsiteX37" fmla="*/ 82507 w 521503"/>
                <a:gd name="connsiteY37" fmla="*/ 311287 h 390986"/>
                <a:gd name="connsiteX38" fmla="*/ 55203 w 521503"/>
                <a:gd name="connsiteY38" fmla="*/ 323422 h 390986"/>
                <a:gd name="connsiteX39" fmla="*/ 37002 w 521503"/>
                <a:gd name="connsiteY39" fmla="*/ 378029 h 390986"/>
                <a:gd name="connsiteX40" fmla="*/ 27901 w 521503"/>
                <a:gd name="connsiteY40" fmla="*/ 347692 h 390986"/>
                <a:gd name="connsiteX41" fmla="*/ 18800 w 521503"/>
                <a:gd name="connsiteY41" fmla="*/ 344658 h 390986"/>
                <a:gd name="connsiteX42" fmla="*/ 3632 w 521503"/>
                <a:gd name="connsiteY42" fmla="*/ 247579 h 390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21503" h="390986">
                  <a:moveTo>
                    <a:pt x="3632" y="247579"/>
                  </a:moveTo>
                  <a:cubicBezTo>
                    <a:pt x="6665" y="232411"/>
                    <a:pt x="15766" y="220276"/>
                    <a:pt x="21833" y="205107"/>
                  </a:cubicBezTo>
                  <a:cubicBezTo>
                    <a:pt x="30934" y="186905"/>
                    <a:pt x="21833" y="186905"/>
                    <a:pt x="18800" y="171736"/>
                  </a:cubicBezTo>
                  <a:cubicBezTo>
                    <a:pt x="15766" y="159602"/>
                    <a:pt x="21833" y="147467"/>
                    <a:pt x="24866" y="135332"/>
                  </a:cubicBezTo>
                  <a:cubicBezTo>
                    <a:pt x="30934" y="126231"/>
                    <a:pt x="37002" y="117130"/>
                    <a:pt x="43070" y="108029"/>
                  </a:cubicBezTo>
                  <a:cubicBezTo>
                    <a:pt x="55203" y="92860"/>
                    <a:pt x="52170" y="80725"/>
                    <a:pt x="58238" y="65557"/>
                  </a:cubicBezTo>
                  <a:cubicBezTo>
                    <a:pt x="70372" y="38253"/>
                    <a:pt x="94643" y="41287"/>
                    <a:pt x="118912" y="41287"/>
                  </a:cubicBezTo>
                  <a:cubicBezTo>
                    <a:pt x="161383" y="41287"/>
                    <a:pt x="197788" y="-10286"/>
                    <a:pt x="243294" y="1849"/>
                  </a:cubicBezTo>
                  <a:cubicBezTo>
                    <a:pt x="249361" y="1849"/>
                    <a:pt x="252394" y="4883"/>
                    <a:pt x="255429" y="7916"/>
                  </a:cubicBezTo>
                  <a:cubicBezTo>
                    <a:pt x="273631" y="17017"/>
                    <a:pt x="291834" y="23085"/>
                    <a:pt x="310036" y="20051"/>
                  </a:cubicBezTo>
                  <a:cubicBezTo>
                    <a:pt x="322171" y="20051"/>
                    <a:pt x="331272" y="17017"/>
                    <a:pt x="343406" y="23085"/>
                  </a:cubicBezTo>
                  <a:cubicBezTo>
                    <a:pt x="358574" y="29152"/>
                    <a:pt x="364642" y="41287"/>
                    <a:pt x="373743" y="53422"/>
                  </a:cubicBezTo>
                  <a:cubicBezTo>
                    <a:pt x="376778" y="59489"/>
                    <a:pt x="382845" y="65557"/>
                    <a:pt x="385878" y="71624"/>
                  </a:cubicBezTo>
                  <a:cubicBezTo>
                    <a:pt x="398014" y="77692"/>
                    <a:pt x="407115" y="86793"/>
                    <a:pt x="416215" y="92860"/>
                  </a:cubicBezTo>
                  <a:cubicBezTo>
                    <a:pt x="416215" y="89826"/>
                    <a:pt x="413182" y="77692"/>
                    <a:pt x="428351" y="89826"/>
                  </a:cubicBezTo>
                  <a:cubicBezTo>
                    <a:pt x="443519" y="98927"/>
                    <a:pt x="446552" y="114096"/>
                    <a:pt x="446552" y="129265"/>
                  </a:cubicBezTo>
                  <a:cubicBezTo>
                    <a:pt x="473857" y="138366"/>
                    <a:pt x="489025" y="162635"/>
                    <a:pt x="498126" y="189939"/>
                  </a:cubicBezTo>
                  <a:cubicBezTo>
                    <a:pt x="522395" y="223309"/>
                    <a:pt x="531496" y="256680"/>
                    <a:pt x="507227" y="290051"/>
                  </a:cubicBezTo>
                  <a:cubicBezTo>
                    <a:pt x="534531" y="320388"/>
                    <a:pt x="489025" y="417467"/>
                    <a:pt x="434417" y="384096"/>
                  </a:cubicBezTo>
                  <a:cubicBezTo>
                    <a:pt x="428351" y="381062"/>
                    <a:pt x="428351" y="374995"/>
                    <a:pt x="428351" y="368927"/>
                  </a:cubicBezTo>
                  <a:cubicBezTo>
                    <a:pt x="413182" y="341624"/>
                    <a:pt x="407115" y="308253"/>
                    <a:pt x="401047" y="277916"/>
                  </a:cubicBezTo>
                  <a:cubicBezTo>
                    <a:pt x="398014" y="277916"/>
                    <a:pt x="391946" y="274883"/>
                    <a:pt x="391946" y="268815"/>
                  </a:cubicBezTo>
                  <a:cubicBezTo>
                    <a:pt x="388911" y="262748"/>
                    <a:pt x="388911" y="259714"/>
                    <a:pt x="388911" y="253647"/>
                  </a:cubicBezTo>
                  <a:cubicBezTo>
                    <a:pt x="388911" y="253647"/>
                    <a:pt x="388911" y="253647"/>
                    <a:pt x="388911" y="253647"/>
                  </a:cubicBezTo>
                  <a:cubicBezTo>
                    <a:pt x="361609" y="253647"/>
                    <a:pt x="334305" y="244545"/>
                    <a:pt x="310036" y="229377"/>
                  </a:cubicBezTo>
                  <a:cubicBezTo>
                    <a:pt x="307003" y="229377"/>
                    <a:pt x="300935" y="226343"/>
                    <a:pt x="297900" y="226343"/>
                  </a:cubicBezTo>
                  <a:cubicBezTo>
                    <a:pt x="288799" y="238478"/>
                    <a:pt x="279699" y="250613"/>
                    <a:pt x="261497" y="247579"/>
                  </a:cubicBezTo>
                  <a:cubicBezTo>
                    <a:pt x="252394" y="247579"/>
                    <a:pt x="249361" y="238478"/>
                    <a:pt x="246328" y="238478"/>
                  </a:cubicBezTo>
                  <a:cubicBezTo>
                    <a:pt x="225092" y="229377"/>
                    <a:pt x="212957" y="244545"/>
                    <a:pt x="194755" y="256680"/>
                  </a:cubicBezTo>
                  <a:cubicBezTo>
                    <a:pt x="182619" y="262748"/>
                    <a:pt x="170486" y="265781"/>
                    <a:pt x="158350" y="265781"/>
                  </a:cubicBezTo>
                  <a:cubicBezTo>
                    <a:pt x="155317" y="265781"/>
                    <a:pt x="149249" y="262748"/>
                    <a:pt x="146215" y="265781"/>
                  </a:cubicBezTo>
                  <a:cubicBezTo>
                    <a:pt x="140149" y="262748"/>
                    <a:pt x="137114" y="262748"/>
                    <a:pt x="134081" y="262748"/>
                  </a:cubicBezTo>
                  <a:cubicBezTo>
                    <a:pt x="131046" y="265781"/>
                    <a:pt x="128013" y="265781"/>
                    <a:pt x="124980" y="268815"/>
                  </a:cubicBezTo>
                  <a:cubicBezTo>
                    <a:pt x="121945" y="268815"/>
                    <a:pt x="121945" y="271849"/>
                    <a:pt x="118912" y="274883"/>
                  </a:cubicBezTo>
                  <a:cubicBezTo>
                    <a:pt x="115878" y="274883"/>
                    <a:pt x="115878" y="274883"/>
                    <a:pt x="112845" y="277916"/>
                  </a:cubicBezTo>
                  <a:cubicBezTo>
                    <a:pt x="109812" y="277916"/>
                    <a:pt x="106777" y="280950"/>
                    <a:pt x="106777" y="280950"/>
                  </a:cubicBezTo>
                  <a:cubicBezTo>
                    <a:pt x="103744" y="283984"/>
                    <a:pt x="100709" y="287017"/>
                    <a:pt x="100709" y="290051"/>
                  </a:cubicBezTo>
                  <a:cubicBezTo>
                    <a:pt x="94643" y="299152"/>
                    <a:pt x="91608" y="305220"/>
                    <a:pt x="82507" y="311287"/>
                  </a:cubicBezTo>
                  <a:cubicBezTo>
                    <a:pt x="76440" y="317354"/>
                    <a:pt x="64306" y="320388"/>
                    <a:pt x="55203" y="323422"/>
                  </a:cubicBezTo>
                  <a:cubicBezTo>
                    <a:pt x="40035" y="341624"/>
                    <a:pt x="33969" y="359826"/>
                    <a:pt x="37002" y="378029"/>
                  </a:cubicBezTo>
                  <a:cubicBezTo>
                    <a:pt x="37002" y="378029"/>
                    <a:pt x="33969" y="365894"/>
                    <a:pt x="27901" y="347692"/>
                  </a:cubicBezTo>
                  <a:cubicBezTo>
                    <a:pt x="24866" y="350725"/>
                    <a:pt x="21833" y="350725"/>
                    <a:pt x="18800" y="344658"/>
                  </a:cubicBezTo>
                  <a:cubicBezTo>
                    <a:pt x="3632" y="317354"/>
                    <a:pt x="-5471" y="283984"/>
                    <a:pt x="3632" y="247579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8DE2BF33-D04E-487B-BC5B-99AEF331C656}"/>
                </a:ext>
              </a:extLst>
            </p:cNvPr>
            <p:cNvSpPr/>
            <p:nvPr/>
          </p:nvSpPr>
          <p:spPr>
            <a:xfrm>
              <a:off x="20995658" y="2358493"/>
              <a:ext cx="106179" cy="51572"/>
            </a:xfrm>
            <a:custGeom>
              <a:avLst/>
              <a:gdLst>
                <a:gd name="connsiteX0" fmla="*/ 106180 w 106179"/>
                <a:gd name="connsiteY0" fmla="*/ 0 h 51572"/>
                <a:gd name="connsiteX1" fmla="*/ 0 w 106179"/>
                <a:gd name="connsiteY1" fmla="*/ 6067 h 51572"/>
                <a:gd name="connsiteX2" fmla="*/ 54606 w 106179"/>
                <a:gd name="connsiteY2" fmla="*/ 51573 h 51572"/>
                <a:gd name="connsiteX3" fmla="*/ 106180 w 106179"/>
                <a:gd name="connsiteY3" fmla="*/ 0 h 51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179" h="51572">
                  <a:moveTo>
                    <a:pt x="106180" y="0"/>
                  </a:moveTo>
                  <a:cubicBezTo>
                    <a:pt x="60674" y="18202"/>
                    <a:pt x="0" y="6067"/>
                    <a:pt x="0" y="6067"/>
                  </a:cubicBezTo>
                  <a:cubicBezTo>
                    <a:pt x="0" y="6067"/>
                    <a:pt x="18202" y="51573"/>
                    <a:pt x="54606" y="51573"/>
                  </a:cubicBezTo>
                  <a:cubicBezTo>
                    <a:pt x="94044" y="51573"/>
                    <a:pt x="106180" y="0"/>
                    <a:pt x="106180" y="0"/>
                  </a:cubicBezTo>
                  <a:close/>
                </a:path>
              </a:pathLst>
            </a:custGeom>
            <a:solidFill>
              <a:srgbClr val="FFFFFF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1" name="图形 1">
              <a:extLst>
                <a:ext uri="{FF2B5EF4-FFF2-40B4-BE49-F238E27FC236}">
                  <a16:creationId xmlns:a16="http://schemas.microsoft.com/office/drawing/2014/main" id="{39D47508-2826-4191-80BB-B5D53214FCAF}"/>
                </a:ext>
              </a:extLst>
            </p:cNvPr>
            <p:cNvGrpSpPr/>
            <p:nvPr/>
          </p:nvGrpSpPr>
          <p:grpSpPr>
            <a:xfrm>
              <a:off x="20752962" y="1736219"/>
              <a:ext cx="591573" cy="333897"/>
              <a:chOff x="20752962" y="1736219"/>
              <a:chExt cx="591573" cy="333897"/>
            </a:xfrm>
          </p:grpSpPr>
          <p:grpSp>
            <p:nvGrpSpPr>
              <p:cNvPr id="127" name="图形 1">
                <a:extLst>
                  <a:ext uri="{FF2B5EF4-FFF2-40B4-BE49-F238E27FC236}">
                    <a16:creationId xmlns:a16="http://schemas.microsoft.com/office/drawing/2014/main" id="{D665479A-9E99-4A7B-8D22-D6BD744C0CA9}"/>
                  </a:ext>
                </a:extLst>
              </p:cNvPr>
              <p:cNvGrpSpPr/>
              <p:nvPr/>
            </p:nvGrpSpPr>
            <p:grpSpPr>
              <a:xfrm>
                <a:off x="20752962" y="1738752"/>
                <a:ext cx="585507" cy="331363"/>
                <a:chOff x="20752962" y="1738752"/>
                <a:chExt cx="585507" cy="331363"/>
              </a:xfrm>
              <a:solidFill>
                <a:srgbClr val="D16156"/>
              </a:solidFill>
            </p:grpSpPr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696CA0B5-221A-4727-B05B-150B31ED378F}"/>
                    </a:ext>
                  </a:extLst>
                </p:cNvPr>
                <p:cNvSpPr/>
                <p:nvPr/>
              </p:nvSpPr>
              <p:spPr>
                <a:xfrm>
                  <a:off x="20840938" y="1738752"/>
                  <a:ext cx="497531" cy="275549"/>
                </a:xfrm>
                <a:custGeom>
                  <a:avLst/>
                  <a:gdLst>
                    <a:gd name="connsiteX0" fmla="*/ 0 w 497531"/>
                    <a:gd name="connsiteY0" fmla="*/ 198055 h 275549"/>
                    <a:gd name="connsiteX1" fmla="*/ 285169 w 497531"/>
                    <a:gd name="connsiteY1" fmla="*/ 3898 h 275549"/>
                    <a:gd name="connsiteX2" fmla="*/ 497529 w 497531"/>
                    <a:gd name="connsiteY2" fmla="*/ 261763 h 275549"/>
                    <a:gd name="connsiteX3" fmla="*/ 97079 w 497531"/>
                    <a:gd name="connsiteY3" fmla="*/ 252662 h 275549"/>
                    <a:gd name="connsiteX4" fmla="*/ 0 w 497531"/>
                    <a:gd name="connsiteY4" fmla="*/ 198055 h 2755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7531" h="275549">
                      <a:moveTo>
                        <a:pt x="0" y="198055"/>
                      </a:moveTo>
                      <a:cubicBezTo>
                        <a:pt x="0" y="198055"/>
                        <a:pt x="42473" y="-32506"/>
                        <a:pt x="285169" y="3898"/>
                      </a:cubicBezTo>
                      <a:cubicBezTo>
                        <a:pt x="500562" y="37269"/>
                        <a:pt x="497529" y="261763"/>
                        <a:pt x="497529" y="261763"/>
                      </a:cubicBezTo>
                      <a:cubicBezTo>
                        <a:pt x="497529" y="261763"/>
                        <a:pt x="251797" y="298168"/>
                        <a:pt x="97079" y="252662"/>
                      </a:cubicBezTo>
                      <a:cubicBezTo>
                        <a:pt x="54606" y="240527"/>
                        <a:pt x="21236" y="222325"/>
                        <a:pt x="0" y="198055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18C7FAFD-B9EB-4DF1-A376-107EA5DFA27B}"/>
                    </a:ext>
                  </a:extLst>
                </p:cNvPr>
                <p:cNvSpPr/>
                <p:nvPr/>
              </p:nvSpPr>
              <p:spPr>
                <a:xfrm>
                  <a:off x="20752962" y="1939842"/>
                  <a:ext cx="585505" cy="130274"/>
                </a:xfrm>
                <a:custGeom>
                  <a:avLst/>
                  <a:gdLst>
                    <a:gd name="connsiteX0" fmla="*/ 585505 w 585505"/>
                    <a:gd name="connsiteY0" fmla="*/ 66742 h 130274"/>
                    <a:gd name="connsiteX1" fmla="*/ 567302 w 585505"/>
                    <a:gd name="connsiteY1" fmla="*/ 84944 h 130274"/>
                    <a:gd name="connsiteX2" fmla="*/ 330673 w 585505"/>
                    <a:gd name="connsiteY2" fmla="*/ 127416 h 130274"/>
                    <a:gd name="connsiteX3" fmla="*/ 0 w 585505"/>
                    <a:gd name="connsiteY3" fmla="*/ 60674 h 130274"/>
                    <a:gd name="connsiteX4" fmla="*/ 87976 w 585505"/>
                    <a:gd name="connsiteY4" fmla="*/ 0 h 130274"/>
                    <a:gd name="connsiteX5" fmla="*/ 585505 w 585505"/>
                    <a:gd name="connsiteY5" fmla="*/ 63708 h 130274"/>
                    <a:gd name="connsiteX6" fmla="*/ 585505 w 585505"/>
                    <a:gd name="connsiteY6" fmla="*/ 66742 h 130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85505" h="130274">
                      <a:moveTo>
                        <a:pt x="585505" y="66742"/>
                      </a:moveTo>
                      <a:cubicBezTo>
                        <a:pt x="585505" y="75843"/>
                        <a:pt x="576405" y="81910"/>
                        <a:pt x="567302" y="84944"/>
                      </a:cubicBezTo>
                      <a:cubicBezTo>
                        <a:pt x="506628" y="112247"/>
                        <a:pt x="394382" y="121348"/>
                        <a:pt x="330673" y="127416"/>
                      </a:cubicBezTo>
                      <a:cubicBezTo>
                        <a:pt x="133482" y="142584"/>
                        <a:pt x="0" y="94045"/>
                        <a:pt x="0" y="60674"/>
                      </a:cubicBezTo>
                      <a:cubicBezTo>
                        <a:pt x="0" y="27303"/>
                        <a:pt x="87976" y="0"/>
                        <a:pt x="87976" y="0"/>
                      </a:cubicBezTo>
                      <a:cubicBezTo>
                        <a:pt x="87976" y="0"/>
                        <a:pt x="142583" y="57640"/>
                        <a:pt x="585505" y="63708"/>
                      </a:cubicBezTo>
                      <a:lnTo>
                        <a:pt x="585505" y="66742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CE25E9D5-C4A6-420D-B440-F87F9C786BC9}"/>
                  </a:ext>
                </a:extLst>
              </p:cNvPr>
              <p:cNvSpPr/>
              <p:nvPr/>
            </p:nvSpPr>
            <p:spPr>
              <a:xfrm>
                <a:off x="20834870" y="1930741"/>
                <a:ext cx="509664" cy="75842"/>
              </a:xfrm>
              <a:custGeom>
                <a:avLst/>
                <a:gdLst>
                  <a:gd name="connsiteX0" fmla="*/ 503597 w 509664"/>
                  <a:gd name="connsiteY0" fmla="*/ 75843 h 75842"/>
                  <a:gd name="connsiteX1" fmla="*/ 503597 w 509664"/>
                  <a:gd name="connsiteY1" fmla="*/ 75843 h 75842"/>
                  <a:gd name="connsiteX2" fmla="*/ 0 w 509664"/>
                  <a:gd name="connsiteY2" fmla="*/ 9101 h 75842"/>
                  <a:gd name="connsiteX3" fmla="*/ 3035 w 509664"/>
                  <a:gd name="connsiteY3" fmla="*/ 0 h 75842"/>
                  <a:gd name="connsiteX4" fmla="*/ 9103 w 509664"/>
                  <a:gd name="connsiteY4" fmla="*/ 3034 h 75842"/>
                  <a:gd name="connsiteX5" fmla="*/ 503597 w 509664"/>
                  <a:gd name="connsiteY5" fmla="*/ 63708 h 75842"/>
                  <a:gd name="connsiteX6" fmla="*/ 509664 w 509664"/>
                  <a:gd name="connsiteY6" fmla="*/ 69775 h 75842"/>
                  <a:gd name="connsiteX7" fmla="*/ 503597 w 509664"/>
                  <a:gd name="connsiteY7" fmla="*/ 75843 h 75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9664" h="75842">
                    <a:moveTo>
                      <a:pt x="503597" y="75843"/>
                    </a:moveTo>
                    <a:cubicBezTo>
                      <a:pt x="503597" y="75843"/>
                      <a:pt x="503597" y="75843"/>
                      <a:pt x="503597" y="75843"/>
                    </a:cubicBezTo>
                    <a:cubicBezTo>
                      <a:pt x="39440" y="54607"/>
                      <a:pt x="3035" y="15169"/>
                      <a:pt x="0" y="9101"/>
                    </a:cubicBezTo>
                    <a:cubicBezTo>
                      <a:pt x="0" y="6067"/>
                      <a:pt x="0" y="3034"/>
                      <a:pt x="3035" y="0"/>
                    </a:cubicBezTo>
                    <a:cubicBezTo>
                      <a:pt x="6068" y="0"/>
                      <a:pt x="9103" y="0"/>
                      <a:pt x="9103" y="3034"/>
                    </a:cubicBezTo>
                    <a:cubicBezTo>
                      <a:pt x="12136" y="6067"/>
                      <a:pt x="54608" y="45506"/>
                      <a:pt x="503597" y="63708"/>
                    </a:cubicBezTo>
                    <a:cubicBezTo>
                      <a:pt x="506630" y="63708"/>
                      <a:pt x="509664" y="66742"/>
                      <a:pt x="509664" y="69775"/>
                    </a:cubicBezTo>
                    <a:cubicBezTo>
                      <a:pt x="509664" y="72809"/>
                      <a:pt x="506630" y="75843"/>
                      <a:pt x="503597" y="7584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888CC776-1DBF-4E8F-BEAA-464E64A2B72F}"/>
                  </a:ext>
                </a:extLst>
              </p:cNvPr>
              <p:cNvSpPr/>
              <p:nvPr/>
            </p:nvSpPr>
            <p:spPr>
              <a:xfrm>
                <a:off x="20931949" y="1736219"/>
                <a:ext cx="306405" cy="255195"/>
              </a:xfrm>
              <a:custGeom>
                <a:avLst/>
                <a:gdLst>
                  <a:gd name="connsiteX0" fmla="*/ 151685 w 306405"/>
                  <a:gd name="connsiteY0" fmla="*/ 255196 h 255195"/>
                  <a:gd name="connsiteX1" fmla="*/ 151685 w 306405"/>
                  <a:gd name="connsiteY1" fmla="*/ 255196 h 255195"/>
                  <a:gd name="connsiteX2" fmla="*/ 145618 w 306405"/>
                  <a:gd name="connsiteY2" fmla="*/ 249128 h 255195"/>
                  <a:gd name="connsiteX3" fmla="*/ 288202 w 306405"/>
                  <a:gd name="connsiteY3" fmla="*/ 48903 h 255195"/>
                  <a:gd name="connsiteX4" fmla="*/ 106180 w 306405"/>
                  <a:gd name="connsiteY4" fmla="*/ 12499 h 255195"/>
                  <a:gd name="connsiteX5" fmla="*/ 12136 w 306405"/>
                  <a:gd name="connsiteY5" fmla="*/ 227892 h 255195"/>
                  <a:gd name="connsiteX6" fmla="*/ 6068 w 306405"/>
                  <a:gd name="connsiteY6" fmla="*/ 233960 h 255195"/>
                  <a:gd name="connsiteX7" fmla="*/ 6068 w 306405"/>
                  <a:gd name="connsiteY7" fmla="*/ 233960 h 255195"/>
                  <a:gd name="connsiteX8" fmla="*/ 0 w 306405"/>
                  <a:gd name="connsiteY8" fmla="*/ 227892 h 255195"/>
                  <a:gd name="connsiteX9" fmla="*/ 100112 w 306405"/>
                  <a:gd name="connsiteY9" fmla="*/ 3398 h 255195"/>
                  <a:gd name="connsiteX10" fmla="*/ 103147 w 306405"/>
                  <a:gd name="connsiteY10" fmla="*/ 3398 h 255195"/>
                  <a:gd name="connsiteX11" fmla="*/ 303371 w 306405"/>
                  <a:gd name="connsiteY11" fmla="*/ 45870 h 255195"/>
                  <a:gd name="connsiteX12" fmla="*/ 306406 w 306405"/>
                  <a:gd name="connsiteY12" fmla="*/ 51937 h 255195"/>
                  <a:gd name="connsiteX13" fmla="*/ 303371 w 306405"/>
                  <a:gd name="connsiteY13" fmla="*/ 54971 h 255195"/>
                  <a:gd name="connsiteX14" fmla="*/ 160786 w 306405"/>
                  <a:gd name="connsiteY14" fmla="*/ 252162 h 255195"/>
                  <a:gd name="connsiteX15" fmla="*/ 151685 w 306405"/>
                  <a:gd name="connsiteY15" fmla="*/ 255196 h 255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06405" h="255195">
                    <a:moveTo>
                      <a:pt x="151685" y="255196"/>
                    </a:moveTo>
                    <a:cubicBezTo>
                      <a:pt x="151685" y="255196"/>
                      <a:pt x="151685" y="255196"/>
                      <a:pt x="151685" y="255196"/>
                    </a:cubicBezTo>
                    <a:cubicBezTo>
                      <a:pt x="148652" y="255196"/>
                      <a:pt x="145618" y="252162"/>
                      <a:pt x="145618" y="249128"/>
                    </a:cubicBezTo>
                    <a:cubicBezTo>
                      <a:pt x="151685" y="136881"/>
                      <a:pt x="257865" y="67106"/>
                      <a:pt x="288202" y="48903"/>
                    </a:cubicBezTo>
                    <a:cubicBezTo>
                      <a:pt x="212360" y="-2670"/>
                      <a:pt x="118315" y="9465"/>
                      <a:pt x="106180" y="12499"/>
                    </a:cubicBezTo>
                    <a:cubicBezTo>
                      <a:pt x="97079" y="21600"/>
                      <a:pt x="12136" y="91375"/>
                      <a:pt x="12136" y="227892"/>
                    </a:cubicBezTo>
                    <a:cubicBezTo>
                      <a:pt x="12136" y="230926"/>
                      <a:pt x="9101" y="233960"/>
                      <a:pt x="6068" y="233960"/>
                    </a:cubicBezTo>
                    <a:lnTo>
                      <a:pt x="6068" y="233960"/>
                    </a:lnTo>
                    <a:cubicBezTo>
                      <a:pt x="3035" y="233960"/>
                      <a:pt x="0" y="230926"/>
                      <a:pt x="0" y="227892"/>
                    </a:cubicBezTo>
                    <a:cubicBezTo>
                      <a:pt x="0" y="79240"/>
                      <a:pt x="100112" y="3398"/>
                      <a:pt x="100112" y="3398"/>
                    </a:cubicBezTo>
                    <a:cubicBezTo>
                      <a:pt x="100112" y="3398"/>
                      <a:pt x="100112" y="3398"/>
                      <a:pt x="103147" y="3398"/>
                    </a:cubicBezTo>
                    <a:cubicBezTo>
                      <a:pt x="109215" y="3398"/>
                      <a:pt x="218427" y="-17838"/>
                      <a:pt x="303371" y="45870"/>
                    </a:cubicBezTo>
                    <a:cubicBezTo>
                      <a:pt x="306406" y="45870"/>
                      <a:pt x="306406" y="48903"/>
                      <a:pt x="306406" y="51937"/>
                    </a:cubicBezTo>
                    <a:cubicBezTo>
                      <a:pt x="306406" y="54971"/>
                      <a:pt x="306406" y="54971"/>
                      <a:pt x="303371" y="54971"/>
                    </a:cubicBezTo>
                    <a:cubicBezTo>
                      <a:pt x="303371" y="54971"/>
                      <a:pt x="166854" y="124746"/>
                      <a:pt x="160786" y="252162"/>
                    </a:cubicBezTo>
                    <a:cubicBezTo>
                      <a:pt x="157753" y="252162"/>
                      <a:pt x="154720" y="255196"/>
                      <a:pt x="151685" y="2551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2" name="图形 1">
              <a:extLst>
                <a:ext uri="{FF2B5EF4-FFF2-40B4-BE49-F238E27FC236}">
                  <a16:creationId xmlns:a16="http://schemas.microsoft.com/office/drawing/2014/main" id="{5B256ED7-2F84-4E2A-88C2-ED132C78E40E}"/>
                </a:ext>
              </a:extLst>
            </p:cNvPr>
            <p:cNvGrpSpPr/>
            <p:nvPr/>
          </p:nvGrpSpPr>
          <p:grpSpPr>
            <a:xfrm>
              <a:off x="19444968" y="2497427"/>
              <a:ext cx="692138" cy="874324"/>
              <a:chOff x="19444968" y="2497427"/>
              <a:chExt cx="692138" cy="874324"/>
            </a:xfrm>
          </p:grpSpPr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8BB60E57-1D5F-4797-BBC4-5B22FC93E1A6}"/>
                  </a:ext>
                </a:extLst>
              </p:cNvPr>
              <p:cNvSpPr/>
              <p:nvPr/>
            </p:nvSpPr>
            <p:spPr>
              <a:xfrm>
                <a:off x="19817789" y="2889392"/>
                <a:ext cx="168432" cy="482359"/>
              </a:xfrm>
              <a:custGeom>
                <a:avLst/>
                <a:gdLst>
                  <a:gd name="connsiteX0" fmla="*/ 155509 w 168432"/>
                  <a:gd name="connsiteY0" fmla="*/ 470225 h 482359"/>
                  <a:gd name="connsiteX1" fmla="*/ 88767 w 168432"/>
                  <a:gd name="connsiteY1" fmla="*/ 482360 h 482359"/>
                  <a:gd name="connsiteX2" fmla="*/ 67531 w 168432"/>
                  <a:gd name="connsiteY2" fmla="*/ 458090 h 482359"/>
                  <a:gd name="connsiteX3" fmla="*/ 789 w 168432"/>
                  <a:gd name="connsiteY3" fmla="*/ 39438 h 482359"/>
                  <a:gd name="connsiteX4" fmla="*/ 12924 w 168432"/>
                  <a:gd name="connsiteY4" fmla="*/ 12135 h 482359"/>
                  <a:gd name="connsiteX5" fmla="*/ 79666 w 168432"/>
                  <a:gd name="connsiteY5" fmla="*/ 0 h 482359"/>
                  <a:gd name="connsiteX6" fmla="*/ 100903 w 168432"/>
                  <a:gd name="connsiteY6" fmla="*/ 24270 h 482359"/>
                  <a:gd name="connsiteX7" fmla="*/ 167643 w 168432"/>
                  <a:gd name="connsiteY7" fmla="*/ 442921 h 482359"/>
                  <a:gd name="connsiteX8" fmla="*/ 155509 w 168432"/>
                  <a:gd name="connsiteY8" fmla="*/ 470225 h 48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8432" h="482359">
                    <a:moveTo>
                      <a:pt x="155509" y="470225"/>
                    </a:moveTo>
                    <a:lnTo>
                      <a:pt x="88767" y="482360"/>
                    </a:lnTo>
                    <a:cubicBezTo>
                      <a:pt x="79666" y="482360"/>
                      <a:pt x="70566" y="473259"/>
                      <a:pt x="67531" y="458090"/>
                    </a:cubicBezTo>
                    <a:lnTo>
                      <a:pt x="789" y="39438"/>
                    </a:lnTo>
                    <a:cubicBezTo>
                      <a:pt x="-2244" y="24270"/>
                      <a:pt x="3824" y="12135"/>
                      <a:pt x="12924" y="12135"/>
                    </a:cubicBezTo>
                    <a:lnTo>
                      <a:pt x="79666" y="0"/>
                    </a:lnTo>
                    <a:cubicBezTo>
                      <a:pt x="88767" y="0"/>
                      <a:pt x="97868" y="9101"/>
                      <a:pt x="100903" y="24270"/>
                    </a:cubicBezTo>
                    <a:lnTo>
                      <a:pt x="167643" y="442921"/>
                    </a:lnTo>
                    <a:cubicBezTo>
                      <a:pt x="170678" y="455056"/>
                      <a:pt x="164610" y="467191"/>
                      <a:pt x="155509" y="470225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0DA671FE-565B-4FE5-BF41-D68F523B256F}"/>
                  </a:ext>
                </a:extLst>
              </p:cNvPr>
              <p:cNvSpPr/>
              <p:nvPr/>
            </p:nvSpPr>
            <p:spPr>
              <a:xfrm>
                <a:off x="19539478" y="2497427"/>
                <a:ext cx="597627" cy="273650"/>
              </a:xfrm>
              <a:custGeom>
                <a:avLst/>
                <a:gdLst>
                  <a:gd name="connsiteX0" fmla="*/ 536965 w 597627"/>
                  <a:gd name="connsiteY0" fmla="*/ 617 h 273650"/>
                  <a:gd name="connsiteX1" fmla="*/ 0 w 597627"/>
                  <a:gd name="connsiteY1" fmla="*/ 85561 h 273650"/>
                  <a:gd name="connsiteX2" fmla="*/ 30337 w 597627"/>
                  <a:gd name="connsiteY2" fmla="*/ 273651 h 273650"/>
                  <a:gd name="connsiteX3" fmla="*/ 567302 w 597627"/>
                  <a:gd name="connsiteY3" fmla="*/ 185673 h 273650"/>
                  <a:gd name="connsiteX4" fmla="*/ 594606 w 597627"/>
                  <a:gd name="connsiteY4" fmla="*/ 85561 h 273650"/>
                  <a:gd name="connsiteX5" fmla="*/ 536965 w 597627"/>
                  <a:gd name="connsiteY5" fmla="*/ 617 h 273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7627" h="273650">
                    <a:moveTo>
                      <a:pt x="536965" y="617"/>
                    </a:moveTo>
                    <a:lnTo>
                      <a:pt x="0" y="85561"/>
                    </a:lnTo>
                    <a:lnTo>
                      <a:pt x="30337" y="273651"/>
                    </a:lnTo>
                    <a:lnTo>
                      <a:pt x="567302" y="185673"/>
                    </a:lnTo>
                    <a:cubicBezTo>
                      <a:pt x="591573" y="182639"/>
                      <a:pt x="603707" y="137134"/>
                      <a:pt x="594606" y="85561"/>
                    </a:cubicBezTo>
                    <a:cubicBezTo>
                      <a:pt x="585505" y="33988"/>
                      <a:pt x="558201" y="-5450"/>
                      <a:pt x="536965" y="617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C5F9B826-8A4B-46F1-8FAC-A6749BB49A0E}"/>
                  </a:ext>
                </a:extLst>
              </p:cNvPr>
              <p:cNvSpPr/>
              <p:nvPr/>
            </p:nvSpPr>
            <p:spPr>
              <a:xfrm>
                <a:off x="19509153" y="2582824"/>
                <a:ext cx="90986" cy="188417"/>
              </a:xfrm>
              <a:custGeom>
                <a:avLst/>
                <a:gdLst>
                  <a:gd name="connsiteX0" fmla="*/ 87965 w 90986"/>
                  <a:gd name="connsiteY0" fmla="*/ 88141 h 188417"/>
                  <a:gd name="connsiteX1" fmla="*/ 60663 w 90986"/>
                  <a:gd name="connsiteY1" fmla="*/ 188254 h 188417"/>
                  <a:gd name="connsiteX2" fmla="*/ 3022 w 90986"/>
                  <a:gd name="connsiteY2" fmla="*/ 100276 h 188417"/>
                  <a:gd name="connsiteX3" fmla="*/ 30326 w 90986"/>
                  <a:gd name="connsiteY3" fmla="*/ 164 h 188417"/>
                  <a:gd name="connsiteX4" fmla="*/ 87965 w 90986"/>
                  <a:gd name="connsiteY4" fmla="*/ 88141 h 188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986" h="188417">
                    <a:moveTo>
                      <a:pt x="87965" y="88141"/>
                    </a:moveTo>
                    <a:cubicBezTo>
                      <a:pt x="97066" y="139714"/>
                      <a:pt x="84932" y="185220"/>
                      <a:pt x="60663" y="188254"/>
                    </a:cubicBezTo>
                    <a:cubicBezTo>
                      <a:pt x="36392" y="191288"/>
                      <a:pt x="12122" y="151849"/>
                      <a:pt x="3022" y="100276"/>
                    </a:cubicBezTo>
                    <a:cubicBezTo>
                      <a:pt x="-6079" y="48703"/>
                      <a:pt x="6055" y="3198"/>
                      <a:pt x="30326" y="164"/>
                    </a:cubicBezTo>
                    <a:cubicBezTo>
                      <a:pt x="54595" y="-2870"/>
                      <a:pt x="78864" y="36568"/>
                      <a:pt x="87965" y="88141"/>
                    </a:cubicBezTo>
                    <a:close/>
                  </a:path>
                </a:pathLst>
              </a:custGeom>
              <a:solidFill>
                <a:srgbClr val="627A7A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864E9E42-9F73-4874-9AC2-9EF41F9738CB}"/>
                  </a:ext>
                </a:extLst>
              </p:cNvPr>
              <p:cNvSpPr/>
              <p:nvPr/>
            </p:nvSpPr>
            <p:spPr>
              <a:xfrm>
                <a:off x="19444968" y="2661864"/>
                <a:ext cx="440352" cy="236629"/>
              </a:xfrm>
              <a:custGeom>
                <a:avLst/>
                <a:gdLst>
                  <a:gd name="connsiteX0" fmla="*/ 440352 w 440352"/>
                  <a:gd name="connsiteY0" fmla="*/ 230562 h 236629"/>
                  <a:gd name="connsiteX1" fmla="*/ 400914 w 440352"/>
                  <a:gd name="connsiteY1" fmla="*/ 236629 h 236629"/>
                  <a:gd name="connsiteX2" fmla="*/ 394846 w 440352"/>
                  <a:gd name="connsiteY2" fmla="*/ 191124 h 236629"/>
                  <a:gd name="connsiteX3" fmla="*/ 376645 w 440352"/>
                  <a:gd name="connsiteY3" fmla="*/ 178989 h 236629"/>
                  <a:gd name="connsiteX4" fmla="*/ 61139 w 440352"/>
                  <a:gd name="connsiteY4" fmla="*/ 230562 h 236629"/>
                  <a:gd name="connsiteX5" fmla="*/ 24734 w 440352"/>
                  <a:gd name="connsiteY5" fmla="*/ 203258 h 236629"/>
                  <a:gd name="connsiteX6" fmla="*/ 464 w 440352"/>
                  <a:gd name="connsiteY6" fmla="*/ 48539 h 236629"/>
                  <a:gd name="connsiteX7" fmla="*/ 27769 w 440352"/>
                  <a:gd name="connsiteY7" fmla="*/ 12135 h 236629"/>
                  <a:gd name="connsiteX8" fmla="*/ 109679 w 440352"/>
                  <a:gd name="connsiteY8" fmla="*/ 0 h 236629"/>
                  <a:gd name="connsiteX9" fmla="*/ 109679 w 440352"/>
                  <a:gd name="connsiteY9" fmla="*/ 0 h 236629"/>
                  <a:gd name="connsiteX10" fmla="*/ 115745 w 440352"/>
                  <a:gd name="connsiteY10" fmla="*/ 39438 h 236629"/>
                  <a:gd name="connsiteX11" fmla="*/ 115745 w 440352"/>
                  <a:gd name="connsiteY11" fmla="*/ 39438 h 236629"/>
                  <a:gd name="connsiteX12" fmla="*/ 55071 w 440352"/>
                  <a:gd name="connsiteY12" fmla="*/ 48539 h 236629"/>
                  <a:gd name="connsiteX13" fmla="*/ 42937 w 440352"/>
                  <a:gd name="connsiteY13" fmla="*/ 66742 h 236629"/>
                  <a:gd name="connsiteX14" fmla="*/ 61139 w 440352"/>
                  <a:gd name="connsiteY14" fmla="*/ 178989 h 236629"/>
                  <a:gd name="connsiteX15" fmla="*/ 79342 w 440352"/>
                  <a:gd name="connsiteY15" fmla="*/ 191124 h 236629"/>
                  <a:gd name="connsiteX16" fmla="*/ 394846 w 440352"/>
                  <a:gd name="connsiteY16" fmla="*/ 139551 h 236629"/>
                  <a:gd name="connsiteX17" fmla="*/ 431251 w 440352"/>
                  <a:gd name="connsiteY17" fmla="*/ 166854 h 236629"/>
                  <a:gd name="connsiteX18" fmla="*/ 440352 w 440352"/>
                  <a:gd name="connsiteY18" fmla="*/ 230562 h 236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40352" h="236629">
                    <a:moveTo>
                      <a:pt x="440352" y="230562"/>
                    </a:moveTo>
                    <a:lnTo>
                      <a:pt x="400914" y="236629"/>
                    </a:lnTo>
                    <a:lnTo>
                      <a:pt x="394846" y="191124"/>
                    </a:lnTo>
                    <a:cubicBezTo>
                      <a:pt x="394846" y="182022"/>
                      <a:pt x="385746" y="178989"/>
                      <a:pt x="376645" y="178989"/>
                    </a:cubicBezTo>
                    <a:lnTo>
                      <a:pt x="61139" y="230562"/>
                    </a:lnTo>
                    <a:cubicBezTo>
                      <a:pt x="42937" y="233595"/>
                      <a:pt x="27769" y="221461"/>
                      <a:pt x="24734" y="203258"/>
                    </a:cubicBezTo>
                    <a:lnTo>
                      <a:pt x="464" y="48539"/>
                    </a:lnTo>
                    <a:cubicBezTo>
                      <a:pt x="-2569" y="30337"/>
                      <a:pt x="9565" y="15169"/>
                      <a:pt x="27769" y="12135"/>
                    </a:cubicBezTo>
                    <a:lnTo>
                      <a:pt x="109679" y="0"/>
                    </a:lnTo>
                    <a:lnTo>
                      <a:pt x="109679" y="0"/>
                    </a:lnTo>
                    <a:cubicBezTo>
                      <a:pt x="121813" y="9101"/>
                      <a:pt x="124848" y="27303"/>
                      <a:pt x="115745" y="39438"/>
                    </a:cubicBezTo>
                    <a:lnTo>
                      <a:pt x="115745" y="39438"/>
                    </a:lnTo>
                    <a:lnTo>
                      <a:pt x="55071" y="48539"/>
                    </a:lnTo>
                    <a:cubicBezTo>
                      <a:pt x="45970" y="48539"/>
                      <a:pt x="42937" y="57640"/>
                      <a:pt x="42937" y="66742"/>
                    </a:cubicBezTo>
                    <a:lnTo>
                      <a:pt x="61139" y="178989"/>
                    </a:lnTo>
                    <a:cubicBezTo>
                      <a:pt x="61139" y="188090"/>
                      <a:pt x="70239" y="191124"/>
                      <a:pt x="79342" y="191124"/>
                    </a:cubicBezTo>
                    <a:lnTo>
                      <a:pt x="394846" y="139551"/>
                    </a:lnTo>
                    <a:cubicBezTo>
                      <a:pt x="413050" y="136517"/>
                      <a:pt x="428218" y="148652"/>
                      <a:pt x="431251" y="166854"/>
                    </a:cubicBezTo>
                    <a:lnTo>
                      <a:pt x="440352" y="230562"/>
                    </a:ln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EE1DAE27-1D0B-4C89-A5F6-AED2FC2D2F60}"/>
                </a:ext>
              </a:extLst>
            </p:cNvPr>
            <p:cNvGrpSpPr/>
            <p:nvPr/>
          </p:nvGrpSpPr>
          <p:grpSpPr>
            <a:xfrm>
              <a:off x="19793551" y="3079666"/>
              <a:ext cx="146375" cy="191973"/>
              <a:chOff x="19793551" y="3079666"/>
              <a:chExt cx="146375" cy="191973"/>
            </a:xfrm>
          </p:grpSpPr>
          <p:grpSp>
            <p:nvGrpSpPr>
              <p:cNvPr id="115" name="图形 1">
                <a:extLst>
                  <a:ext uri="{FF2B5EF4-FFF2-40B4-BE49-F238E27FC236}">
                    <a16:creationId xmlns:a16="http://schemas.microsoft.com/office/drawing/2014/main" id="{3C2414FD-7236-4C67-824C-51E59315C110}"/>
                  </a:ext>
                </a:extLst>
              </p:cNvPr>
              <p:cNvGrpSpPr/>
              <p:nvPr/>
            </p:nvGrpSpPr>
            <p:grpSpPr>
              <a:xfrm>
                <a:off x="19793551" y="3079666"/>
                <a:ext cx="146375" cy="182871"/>
                <a:chOff x="19793551" y="3079666"/>
                <a:chExt cx="146375" cy="182871"/>
              </a:xfrm>
            </p:grpSpPr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E20324BD-AA90-4BD0-A833-330CFD691075}"/>
                    </a:ext>
                  </a:extLst>
                </p:cNvPr>
                <p:cNvSpPr/>
                <p:nvPr/>
              </p:nvSpPr>
              <p:spPr>
                <a:xfrm>
                  <a:off x="19793551" y="3079666"/>
                  <a:ext cx="119845" cy="74856"/>
                </a:xfrm>
                <a:custGeom>
                  <a:avLst/>
                  <a:gdLst>
                    <a:gd name="connsiteX0" fmla="*/ 6826 w 119845"/>
                    <a:gd name="connsiteY0" fmla="*/ 28153 h 74856"/>
                    <a:gd name="connsiteX1" fmla="*/ 79635 w 119845"/>
                    <a:gd name="connsiteY1" fmla="*/ 3883 h 74856"/>
                    <a:gd name="connsiteX2" fmla="*/ 91769 w 119845"/>
                    <a:gd name="connsiteY2" fmla="*/ 849 h 74856"/>
                    <a:gd name="connsiteX3" fmla="*/ 103905 w 119845"/>
                    <a:gd name="connsiteY3" fmla="*/ 3883 h 74856"/>
                    <a:gd name="connsiteX4" fmla="*/ 119073 w 119845"/>
                    <a:gd name="connsiteY4" fmla="*/ 43321 h 74856"/>
                    <a:gd name="connsiteX5" fmla="*/ 88736 w 119845"/>
                    <a:gd name="connsiteY5" fmla="*/ 64557 h 74856"/>
                    <a:gd name="connsiteX6" fmla="*/ 40196 w 119845"/>
                    <a:gd name="connsiteY6" fmla="*/ 73658 h 74856"/>
                    <a:gd name="connsiteX7" fmla="*/ 6826 w 119845"/>
                    <a:gd name="connsiteY7" fmla="*/ 64557 h 74856"/>
                    <a:gd name="connsiteX8" fmla="*/ 6826 w 119845"/>
                    <a:gd name="connsiteY8" fmla="*/ 28153 h 748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9845" h="74856">
                      <a:moveTo>
                        <a:pt x="6826" y="28153"/>
                      </a:moveTo>
                      <a:cubicBezTo>
                        <a:pt x="25027" y="9951"/>
                        <a:pt x="52331" y="9951"/>
                        <a:pt x="79635" y="3883"/>
                      </a:cubicBezTo>
                      <a:cubicBezTo>
                        <a:pt x="82668" y="3883"/>
                        <a:pt x="88736" y="-2184"/>
                        <a:pt x="91769" y="849"/>
                      </a:cubicBezTo>
                      <a:cubicBezTo>
                        <a:pt x="94804" y="849"/>
                        <a:pt x="100870" y="849"/>
                        <a:pt x="103905" y="3883"/>
                      </a:cubicBezTo>
                      <a:cubicBezTo>
                        <a:pt x="116038" y="9951"/>
                        <a:pt x="122106" y="25119"/>
                        <a:pt x="119073" y="43321"/>
                      </a:cubicBezTo>
                      <a:cubicBezTo>
                        <a:pt x="116038" y="61524"/>
                        <a:pt x="97837" y="61524"/>
                        <a:pt x="88736" y="64557"/>
                      </a:cubicBezTo>
                      <a:cubicBezTo>
                        <a:pt x="73568" y="67591"/>
                        <a:pt x="58399" y="70625"/>
                        <a:pt x="40196" y="73658"/>
                      </a:cubicBezTo>
                      <a:cubicBezTo>
                        <a:pt x="31095" y="73658"/>
                        <a:pt x="15926" y="79726"/>
                        <a:pt x="6826" y="64557"/>
                      </a:cubicBezTo>
                      <a:cubicBezTo>
                        <a:pt x="-2275" y="52422"/>
                        <a:pt x="-2275" y="34220"/>
                        <a:pt x="6826" y="28153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CC68625B-248C-421E-8006-B3333D4C402C}"/>
                    </a:ext>
                  </a:extLst>
                </p:cNvPr>
                <p:cNvSpPr/>
                <p:nvPr/>
              </p:nvSpPr>
              <p:spPr>
                <a:xfrm>
                  <a:off x="19812835" y="3122988"/>
                  <a:ext cx="118764" cy="74007"/>
                </a:xfrm>
                <a:custGeom>
                  <a:avLst/>
                  <a:gdLst>
                    <a:gd name="connsiteX0" fmla="*/ 5743 w 118764"/>
                    <a:gd name="connsiteY0" fmla="*/ 27303 h 74007"/>
                    <a:gd name="connsiteX1" fmla="*/ 84621 w 118764"/>
                    <a:gd name="connsiteY1" fmla="*/ 0 h 74007"/>
                    <a:gd name="connsiteX2" fmla="*/ 90689 w 118764"/>
                    <a:gd name="connsiteY2" fmla="*/ 0 h 74007"/>
                    <a:gd name="connsiteX3" fmla="*/ 102822 w 118764"/>
                    <a:gd name="connsiteY3" fmla="*/ 3034 h 74007"/>
                    <a:gd name="connsiteX4" fmla="*/ 117991 w 118764"/>
                    <a:gd name="connsiteY4" fmla="*/ 42472 h 74007"/>
                    <a:gd name="connsiteX5" fmla="*/ 87654 w 118764"/>
                    <a:gd name="connsiteY5" fmla="*/ 63708 h 74007"/>
                    <a:gd name="connsiteX6" fmla="*/ 39115 w 118764"/>
                    <a:gd name="connsiteY6" fmla="*/ 72809 h 74007"/>
                    <a:gd name="connsiteX7" fmla="*/ 5743 w 118764"/>
                    <a:gd name="connsiteY7" fmla="*/ 63708 h 74007"/>
                    <a:gd name="connsiteX8" fmla="*/ 5743 w 118764"/>
                    <a:gd name="connsiteY8" fmla="*/ 27303 h 740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8764" h="74007">
                      <a:moveTo>
                        <a:pt x="5743" y="27303"/>
                      </a:moveTo>
                      <a:cubicBezTo>
                        <a:pt x="26980" y="-3034"/>
                        <a:pt x="57317" y="6067"/>
                        <a:pt x="84621" y="0"/>
                      </a:cubicBezTo>
                      <a:cubicBezTo>
                        <a:pt x="87654" y="0"/>
                        <a:pt x="87654" y="0"/>
                        <a:pt x="90689" y="0"/>
                      </a:cubicBezTo>
                      <a:cubicBezTo>
                        <a:pt x="93722" y="0"/>
                        <a:pt x="99789" y="0"/>
                        <a:pt x="102822" y="3034"/>
                      </a:cubicBezTo>
                      <a:cubicBezTo>
                        <a:pt x="114958" y="9101"/>
                        <a:pt x="121026" y="24270"/>
                        <a:pt x="117991" y="42472"/>
                      </a:cubicBezTo>
                      <a:cubicBezTo>
                        <a:pt x="114958" y="60674"/>
                        <a:pt x="96755" y="60674"/>
                        <a:pt x="87654" y="63708"/>
                      </a:cubicBezTo>
                      <a:cubicBezTo>
                        <a:pt x="72485" y="66742"/>
                        <a:pt x="57317" y="69775"/>
                        <a:pt x="39115" y="72809"/>
                      </a:cubicBezTo>
                      <a:cubicBezTo>
                        <a:pt x="30014" y="72809"/>
                        <a:pt x="14846" y="78876"/>
                        <a:pt x="5743" y="63708"/>
                      </a:cubicBezTo>
                      <a:cubicBezTo>
                        <a:pt x="-3357" y="51573"/>
                        <a:pt x="-323" y="36405"/>
                        <a:pt x="5743" y="27303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219280EE-48FC-40FA-ABE0-446235FDD43A}"/>
                    </a:ext>
                  </a:extLst>
                </p:cNvPr>
                <p:cNvSpPr/>
                <p:nvPr/>
              </p:nvSpPr>
              <p:spPr>
                <a:xfrm>
                  <a:off x="19821613" y="3168493"/>
                  <a:ext cx="100900" cy="68258"/>
                </a:xfrm>
                <a:custGeom>
                  <a:avLst/>
                  <a:gdLst>
                    <a:gd name="connsiteX0" fmla="*/ 6068 w 100900"/>
                    <a:gd name="connsiteY0" fmla="*/ 27303 h 68258"/>
                    <a:gd name="connsiteX1" fmla="*/ 72808 w 100900"/>
                    <a:gd name="connsiteY1" fmla="*/ 0 h 68258"/>
                    <a:gd name="connsiteX2" fmla="*/ 78876 w 100900"/>
                    <a:gd name="connsiteY2" fmla="*/ 0 h 68258"/>
                    <a:gd name="connsiteX3" fmla="*/ 87976 w 100900"/>
                    <a:gd name="connsiteY3" fmla="*/ 3034 h 68258"/>
                    <a:gd name="connsiteX4" fmla="*/ 100112 w 100900"/>
                    <a:gd name="connsiteY4" fmla="*/ 36405 h 68258"/>
                    <a:gd name="connsiteX5" fmla="*/ 72808 w 100900"/>
                    <a:gd name="connsiteY5" fmla="*/ 57640 h 68258"/>
                    <a:gd name="connsiteX6" fmla="*/ 30337 w 100900"/>
                    <a:gd name="connsiteY6" fmla="*/ 66742 h 68258"/>
                    <a:gd name="connsiteX7" fmla="*/ 0 w 100900"/>
                    <a:gd name="connsiteY7" fmla="*/ 60674 h 68258"/>
                    <a:gd name="connsiteX8" fmla="*/ 6068 w 100900"/>
                    <a:gd name="connsiteY8" fmla="*/ 27303 h 68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900" h="68258">
                      <a:moveTo>
                        <a:pt x="6068" y="27303"/>
                      </a:moveTo>
                      <a:cubicBezTo>
                        <a:pt x="24269" y="0"/>
                        <a:pt x="51573" y="6067"/>
                        <a:pt x="72808" y="0"/>
                      </a:cubicBezTo>
                      <a:cubicBezTo>
                        <a:pt x="75843" y="0"/>
                        <a:pt x="75843" y="0"/>
                        <a:pt x="78876" y="0"/>
                      </a:cubicBezTo>
                      <a:cubicBezTo>
                        <a:pt x="81910" y="0"/>
                        <a:pt x="84943" y="0"/>
                        <a:pt x="87976" y="3034"/>
                      </a:cubicBezTo>
                      <a:cubicBezTo>
                        <a:pt x="97079" y="9101"/>
                        <a:pt x="103145" y="21236"/>
                        <a:pt x="100112" y="36405"/>
                      </a:cubicBezTo>
                      <a:cubicBezTo>
                        <a:pt x="97079" y="51573"/>
                        <a:pt x="81910" y="54607"/>
                        <a:pt x="72808" y="57640"/>
                      </a:cubicBezTo>
                      <a:cubicBezTo>
                        <a:pt x="60674" y="60674"/>
                        <a:pt x="45506" y="63708"/>
                        <a:pt x="30337" y="66742"/>
                      </a:cubicBezTo>
                      <a:cubicBezTo>
                        <a:pt x="21236" y="66742"/>
                        <a:pt x="9101" y="72809"/>
                        <a:pt x="0" y="60674"/>
                      </a:cubicBezTo>
                      <a:cubicBezTo>
                        <a:pt x="0" y="48539"/>
                        <a:pt x="3033" y="33371"/>
                        <a:pt x="6068" y="27303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C7AB8615-3558-4E64-A3A6-3192E8A85336}"/>
                    </a:ext>
                  </a:extLst>
                </p:cNvPr>
                <p:cNvSpPr/>
                <p:nvPr/>
              </p:nvSpPr>
              <p:spPr>
                <a:xfrm>
                  <a:off x="19830440" y="3213999"/>
                  <a:ext cx="91763" cy="48539"/>
                </a:xfrm>
                <a:custGeom>
                  <a:avLst/>
                  <a:gdLst>
                    <a:gd name="connsiteX0" fmla="*/ 3306 w 91763"/>
                    <a:gd name="connsiteY0" fmla="*/ 15169 h 48539"/>
                    <a:gd name="connsiteX1" fmla="*/ 63981 w 91763"/>
                    <a:gd name="connsiteY1" fmla="*/ 0 h 48539"/>
                    <a:gd name="connsiteX2" fmla="*/ 67015 w 91763"/>
                    <a:gd name="connsiteY2" fmla="*/ 0 h 48539"/>
                    <a:gd name="connsiteX3" fmla="*/ 76116 w 91763"/>
                    <a:gd name="connsiteY3" fmla="*/ 0 h 48539"/>
                    <a:gd name="connsiteX4" fmla="*/ 91285 w 91763"/>
                    <a:gd name="connsiteY4" fmla="*/ 30337 h 48539"/>
                    <a:gd name="connsiteX5" fmla="*/ 63981 w 91763"/>
                    <a:gd name="connsiteY5" fmla="*/ 45506 h 48539"/>
                    <a:gd name="connsiteX6" fmla="*/ 30610 w 91763"/>
                    <a:gd name="connsiteY6" fmla="*/ 48539 h 48539"/>
                    <a:gd name="connsiteX7" fmla="*/ 6341 w 91763"/>
                    <a:gd name="connsiteY7" fmla="*/ 39438 h 48539"/>
                    <a:gd name="connsiteX8" fmla="*/ 3306 w 91763"/>
                    <a:gd name="connsiteY8" fmla="*/ 15169 h 485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1763" h="48539">
                      <a:moveTo>
                        <a:pt x="3306" y="15169"/>
                      </a:moveTo>
                      <a:cubicBezTo>
                        <a:pt x="15442" y="-3034"/>
                        <a:pt x="48812" y="6067"/>
                        <a:pt x="63981" y="0"/>
                      </a:cubicBezTo>
                      <a:cubicBezTo>
                        <a:pt x="63981" y="0"/>
                        <a:pt x="67015" y="0"/>
                        <a:pt x="67015" y="0"/>
                      </a:cubicBezTo>
                      <a:cubicBezTo>
                        <a:pt x="70048" y="0"/>
                        <a:pt x="73083" y="0"/>
                        <a:pt x="76116" y="0"/>
                      </a:cubicBezTo>
                      <a:cubicBezTo>
                        <a:pt x="82184" y="3034"/>
                        <a:pt x="94318" y="18202"/>
                        <a:pt x="91285" y="30337"/>
                      </a:cubicBezTo>
                      <a:cubicBezTo>
                        <a:pt x="88252" y="42472"/>
                        <a:pt x="70048" y="45506"/>
                        <a:pt x="63981" y="45506"/>
                      </a:cubicBezTo>
                      <a:cubicBezTo>
                        <a:pt x="54880" y="48539"/>
                        <a:pt x="39711" y="48539"/>
                        <a:pt x="30610" y="48539"/>
                      </a:cubicBezTo>
                      <a:cubicBezTo>
                        <a:pt x="24543" y="48539"/>
                        <a:pt x="12409" y="48539"/>
                        <a:pt x="6341" y="39438"/>
                      </a:cubicBezTo>
                      <a:cubicBezTo>
                        <a:pt x="273" y="36405"/>
                        <a:pt x="-2760" y="21236"/>
                        <a:pt x="3306" y="15169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D059AD2F-DCE6-4AA9-A2A6-C3CC7FEFCA99}"/>
                    </a:ext>
                  </a:extLst>
                </p:cNvPr>
                <p:cNvSpPr/>
                <p:nvPr/>
              </p:nvSpPr>
              <p:spPr>
                <a:xfrm>
                  <a:off x="19805187" y="3081635"/>
                  <a:ext cx="134739" cy="117195"/>
                </a:xfrm>
                <a:custGeom>
                  <a:avLst/>
                  <a:gdLst>
                    <a:gd name="connsiteX0" fmla="*/ 40695 w 134739"/>
                    <a:gd name="connsiteY0" fmla="*/ 117195 h 117195"/>
                    <a:gd name="connsiteX1" fmla="*/ 13391 w 134739"/>
                    <a:gd name="connsiteY1" fmla="*/ 111128 h 117195"/>
                    <a:gd name="connsiteX2" fmla="*/ 1257 w 134739"/>
                    <a:gd name="connsiteY2" fmla="*/ 92926 h 117195"/>
                    <a:gd name="connsiteX3" fmla="*/ 4290 w 134739"/>
                    <a:gd name="connsiteY3" fmla="*/ 68656 h 117195"/>
                    <a:gd name="connsiteX4" fmla="*/ 13391 w 134739"/>
                    <a:gd name="connsiteY4" fmla="*/ 62589 h 117195"/>
                    <a:gd name="connsiteX5" fmla="*/ 101369 w 134739"/>
                    <a:gd name="connsiteY5" fmla="*/ 23151 h 117195"/>
                    <a:gd name="connsiteX6" fmla="*/ 95301 w 134739"/>
                    <a:gd name="connsiteY6" fmla="*/ 14049 h 117195"/>
                    <a:gd name="connsiteX7" fmla="*/ 25526 w 134739"/>
                    <a:gd name="connsiteY7" fmla="*/ 20117 h 117195"/>
                    <a:gd name="connsiteX8" fmla="*/ 19459 w 134739"/>
                    <a:gd name="connsiteY8" fmla="*/ 17083 h 117195"/>
                    <a:gd name="connsiteX9" fmla="*/ 22493 w 134739"/>
                    <a:gd name="connsiteY9" fmla="*/ 11016 h 117195"/>
                    <a:gd name="connsiteX10" fmla="*/ 104402 w 134739"/>
                    <a:gd name="connsiteY10" fmla="*/ 7982 h 117195"/>
                    <a:gd name="connsiteX11" fmla="*/ 113505 w 134739"/>
                    <a:gd name="connsiteY11" fmla="*/ 26184 h 117195"/>
                    <a:gd name="connsiteX12" fmla="*/ 113505 w 134739"/>
                    <a:gd name="connsiteY12" fmla="*/ 38319 h 117195"/>
                    <a:gd name="connsiteX13" fmla="*/ 134739 w 134739"/>
                    <a:gd name="connsiteY13" fmla="*/ 74724 h 117195"/>
                    <a:gd name="connsiteX14" fmla="*/ 86201 w 134739"/>
                    <a:gd name="connsiteY14" fmla="*/ 114162 h 117195"/>
                    <a:gd name="connsiteX15" fmla="*/ 40695 w 134739"/>
                    <a:gd name="connsiteY15" fmla="*/ 117195 h 117195"/>
                    <a:gd name="connsiteX16" fmla="*/ 104402 w 134739"/>
                    <a:gd name="connsiteY16" fmla="*/ 47420 h 117195"/>
                    <a:gd name="connsiteX17" fmla="*/ 10358 w 134739"/>
                    <a:gd name="connsiteY17" fmla="*/ 74724 h 117195"/>
                    <a:gd name="connsiteX18" fmla="*/ 10358 w 134739"/>
                    <a:gd name="connsiteY18" fmla="*/ 89892 h 117195"/>
                    <a:gd name="connsiteX19" fmla="*/ 19459 w 134739"/>
                    <a:gd name="connsiteY19" fmla="*/ 102027 h 117195"/>
                    <a:gd name="connsiteX20" fmla="*/ 80133 w 134739"/>
                    <a:gd name="connsiteY20" fmla="*/ 102027 h 117195"/>
                    <a:gd name="connsiteX21" fmla="*/ 119571 w 134739"/>
                    <a:gd name="connsiteY21" fmla="*/ 74724 h 117195"/>
                    <a:gd name="connsiteX22" fmla="*/ 104402 w 134739"/>
                    <a:gd name="connsiteY22" fmla="*/ 47420 h 117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34739" h="117195">
                      <a:moveTo>
                        <a:pt x="40695" y="117195"/>
                      </a:moveTo>
                      <a:cubicBezTo>
                        <a:pt x="28559" y="117195"/>
                        <a:pt x="19459" y="114162"/>
                        <a:pt x="13391" y="111128"/>
                      </a:cubicBezTo>
                      <a:cubicBezTo>
                        <a:pt x="7325" y="108094"/>
                        <a:pt x="1257" y="102027"/>
                        <a:pt x="1257" y="92926"/>
                      </a:cubicBezTo>
                      <a:cubicBezTo>
                        <a:pt x="-1778" y="83825"/>
                        <a:pt x="1257" y="74724"/>
                        <a:pt x="4290" y="68656"/>
                      </a:cubicBezTo>
                      <a:cubicBezTo>
                        <a:pt x="7325" y="62589"/>
                        <a:pt x="13391" y="62589"/>
                        <a:pt x="13391" y="62589"/>
                      </a:cubicBezTo>
                      <a:cubicBezTo>
                        <a:pt x="101369" y="56521"/>
                        <a:pt x="101369" y="35285"/>
                        <a:pt x="101369" y="23151"/>
                      </a:cubicBezTo>
                      <a:cubicBezTo>
                        <a:pt x="101369" y="17083"/>
                        <a:pt x="98336" y="14049"/>
                        <a:pt x="95301" y="14049"/>
                      </a:cubicBezTo>
                      <a:cubicBezTo>
                        <a:pt x="83168" y="4948"/>
                        <a:pt x="43728" y="14049"/>
                        <a:pt x="25526" y="20117"/>
                      </a:cubicBezTo>
                      <a:cubicBezTo>
                        <a:pt x="22493" y="20117"/>
                        <a:pt x="19459" y="20117"/>
                        <a:pt x="19459" y="17083"/>
                      </a:cubicBezTo>
                      <a:cubicBezTo>
                        <a:pt x="19459" y="14049"/>
                        <a:pt x="19459" y="11016"/>
                        <a:pt x="22493" y="11016"/>
                      </a:cubicBezTo>
                      <a:cubicBezTo>
                        <a:pt x="28559" y="7982"/>
                        <a:pt x="83168" y="-10220"/>
                        <a:pt x="104402" y="7982"/>
                      </a:cubicBezTo>
                      <a:cubicBezTo>
                        <a:pt x="110470" y="11016"/>
                        <a:pt x="113505" y="20117"/>
                        <a:pt x="113505" y="26184"/>
                      </a:cubicBezTo>
                      <a:cubicBezTo>
                        <a:pt x="113505" y="29218"/>
                        <a:pt x="113505" y="35285"/>
                        <a:pt x="113505" y="38319"/>
                      </a:cubicBezTo>
                      <a:cubicBezTo>
                        <a:pt x="116538" y="41353"/>
                        <a:pt x="134739" y="56521"/>
                        <a:pt x="134739" y="74724"/>
                      </a:cubicBezTo>
                      <a:cubicBezTo>
                        <a:pt x="134739" y="98993"/>
                        <a:pt x="113505" y="105061"/>
                        <a:pt x="86201" y="114162"/>
                      </a:cubicBezTo>
                      <a:cubicBezTo>
                        <a:pt x="67999" y="114162"/>
                        <a:pt x="52831" y="117195"/>
                        <a:pt x="40695" y="117195"/>
                      </a:cubicBezTo>
                      <a:close/>
                      <a:moveTo>
                        <a:pt x="104402" y="47420"/>
                      </a:moveTo>
                      <a:cubicBezTo>
                        <a:pt x="95301" y="59555"/>
                        <a:pt x="71032" y="71690"/>
                        <a:pt x="10358" y="74724"/>
                      </a:cubicBezTo>
                      <a:cubicBezTo>
                        <a:pt x="10358" y="74724"/>
                        <a:pt x="7325" y="80791"/>
                        <a:pt x="10358" y="89892"/>
                      </a:cubicBezTo>
                      <a:cubicBezTo>
                        <a:pt x="10358" y="95959"/>
                        <a:pt x="13391" y="98993"/>
                        <a:pt x="19459" y="102027"/>
                      </a:cubicBezTo>
                      <a:cubicBezTo>
                        <a:pt x="25526" y="108094"/>
                        <a:pt x="43728" y="111128"/>
                        <a:pt x="80133" y="102027"/>
                      </a:cubicBezTo>
                      <a:cubicBezTo>
                        <a:pt x="110470" y="92926"/>
                        <a:pt x="119571" y="86858"/>
                        <a:pt x="119571" y="74724"/>
                      </a:cubicBezTo>
                      <a:cubicBezTo>
                        <a:pt x="119571" y="62589"/>
                        <a:pt x="110470" y="50454"/>
                        <a:pt x="104402" y="47420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A01F6206-1A4D-4434-9D13-DCA36300FD87}"/>
                    </a:ext>
                  </a:extLst>
                </p:cNvPr>
                <p:cNvSpPr/>
                <p:nvPr/>
              </p:nvSpPr>
              <p:spPr>
                <a:xfrm>
                  <a:off x="19820356" y="3167237"/>
                  <a:ext cx="112555" cy="71031"/>
                </a:xfrm>
                <a:custGeom>
                  <a:avLst/>
                  <a:gdLst>
                    <a:gd name="connsiteX0" fmla="*/ 25526 w 112555"/>
                    <a:gd name="connsiteY0" fmla="*/ 71032 h 71031"/>
                    <a:gd name="connsiteX1" fmla="*/ 10358 w 112555"/>
                    <a:gd name="connsiteY1" fmla="*/ 67998 h 71031"/>
                    <a:gd name="connsiteX2" fmla="*/ 1257 w 112555"/>
                    <a:gd name="connsiteY2" fmla="*/ 55863 h 71031"/>
                    <a:gd name="connsiteX3" fmla="*/ 4290 w 112555"/>
                    <a:gd name="connsiteY3" fmla="*/ 22493 h 71031"/>
                    <a:gd name="connsiteX4" fmla="*/ 13391 w 112555"/>
                    <a:gd name="connsiteY4" fmla="*/ 22493 h 71031"/>
                    <a:gd name="connsiteX5" fmla="*/ 13391 w 112555"/>
                    <a:gd name="connsiteY5" fmla="*/ 31594 h 71031"/>
                    <a:gd name="connsiteX6" fmla="*/ 10358 w 112555"/>
                    <a:gd name="connsiteY6" fmla="*/ 55863 h 71031"/>
                    <a:gd name="connsiteX7" fmla="*/ 13391 w 112555"/>
                    <a:gd name="connsiteY7" fmla="*/ 58897 h 71031"/>
                    <a:gd name="connsiteX8" fmla="*/ 86201 w 112555"/>
                    <a:gd name="connsiteY8" fmla="*/ 46762 h 71031"/>
                    <a:gd name="connsiteX9" fmla="*/ 98336 w 112555"/>
                    <a:gd name="connsiteY9" fmla="*/ 34627 h 71031"/>
                    <a:gd name="connsiteX10" fmla="*/ 95301 w 112555"/>
                    <a:gd name="connsiteY10" fmla="*/ 10358 h 71031"/>
                    <a:gd name="connsiteX11" fmla="*/ 98336 w 112555"/>
                    <a:gd name="connsiteY11" fmla="*/ 1257 h 71031"/>
                    <a:gd name="connsiteX12" fmla="*/ 107437 w 112555"/>
                    <a:gd name="connsiteY12" fmla="*/ 4290 h 71031"/>
                    <a:gd name="connsiteX13" fmla="*/ 110470 w 112555"/>
                    <a:gd name="connsiteY13" fmla="*/ 37661 h 71031"/>
                    <a:gd name="connsiteX14" fmla="*/ 92268 w 112555"/>
                    <a:gd name="connsiteY14" fmla="*/ 58897 h 71031"/>
                    <a:gd name="connsiteX15" fmla="*/ 25526 w 112555"/>
                    <a:gd name="connsiteY15" fmla="*/ 71032 h 71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2555" h="71031">
                      <a:moveTo>
                        <a:pt x="25526" y="71032"/>
                      </a:moveTo>
                      <a:cubicBezTo>
                        <a:pt x="19459" y="71032"/>
                        <a:pt x="13391" y="71032"/>
                        <a:pt x="10358" y="67998"/>
                      </a:cubicBezTo>
                      <a:cubicBezTo>
                        <a:pt x="7325" y="67998"/>
                        <a:pt x="1257" y="64965"/>
                        <a:pt x="1257" y="55863"/>
                      </a:cubicBezTo>
                      <a:cubicBezTo>
                        <a:pt x="-1778" y="43729"/>
                        <a:pt x="1257" y="28560"/>
                        <a:pt x="4290" y="22493"/>
                      </a:cubicBezTo>
                      <a:cubicBezTo>
                        <a:pt x="7325" y="19459"/>
                        <a:pt x="10358" y="19459"/>
                        <a:pt x="13391" y="22493"/>
                      </a:cubicBezTo>
                      <a:cubicBezTo>
                        <a:pt x="16426" y="25526"/>
                        <a:pt x="16426" y="28560"/>
                        <a:pt x="13391" y="31594"/>
                      </a:cubicBezTo>
                      <a:cubicBezTo>
                        <a:pt x="10358" y="34627"/>
                        <a:pt x="7325" y="46762"/>
                        <a:pt x="10358" y="55863"/>
                      </a:cubicBezTo>
                      <a:cubicBezTo>
                        <a:pt x="10358" y="55863"/>
                        <a:pt x="10358" y="58897"/>
                        <a:pt x="13391" y="58897"/>
                      </a:cubicBezTo>
                      <a:cubicBezTo>
                        <a:pt x="22493" y="61931"/>
                        <a:pt x="58896" y="61931"/>
                        <a:pt x="86201" y="46762"/>
                      </a:cubicBezTo>
                      <a:cubicBezTo>
                        <a:pt x="92268" y="43729"/>
                        <a:pt x="98336" y="37661"/>
                        <a:pt x="98336" y="34627"/>
                      </a:cubicBezTo>
                      <a:cubicBezTo>
                        <a:pt x="101369" y="22493"/>
                        <a:pt x="95301" y="10358"/>
                        <a:pt x="95301" y="10358"/>
                      </a:cubicBezTo>
                      <a:cubicBezTo>
                        <a:pt x="92268" y="7324"/>
                        <a:pt x="95301" y="4290"/>
                        <a:pt x="98336" y="1257"/>
                      </a:cubicBezTo>
                      <a:cubicBezTo>
                        <a:pt x="101369" y="-1777"/>
                        <a:pt x="104402" y="1257"/>
                        <a:pt x="107437" y="4290"/>
                      </a:cubicBezTo>
                      <a:cubicBezTo>
                        <a:pt x="107437" y="4290"/>
                        <a:pt x="116538" y="22493"/>
                        <a:pt x="110470" y="37661"/>
                      </a:cubicBezTo>
                      <a:cubicBezTo>
                        <a:pt x="107437" y="46762"/>
                        <a:pt x="101369" y="52830"/>
                        <a:pt x="92268" y="58897"/>
                      </a:cubicBezTo>
                      <a:cubicBezTo>
                        <a:pt x="71032" y="67998"/>
                        <a:pt x="43728" y="71032"/>
                        <a:pt x="25526" y="71032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9C98B612-8BD7-4DD2-BD96-C719788E3F76}"/>
                  </a:ext>
                </a:extLst>
              </p:cNvPr>
              <p:cNvSpPr/>
              <p:nvPr/>
            </p:nvSpPr>
            <p:spPr>
              <a:xfrm>
                <a:off x="19823447" y="3208690"/>
                <a:ext cx="103383" cy="62949"/>
              </a:xfrm>
              <a:custGeom>
                <a:avLst/>
                <a:gdLst>
                  <a:gd name="connsiteX0" fmla="*/ 40636 w 103383"/>
                  <a:gd name="connsiteY0" fmla="*/ 62949 h 62949"/>
                  <a:gd name="connsiteX1" fmla="*/ 10299 w 103383"/>
                  <a:gd name="connsiteY1" fmla="*/ 53848 h 62949"/>
                  <a:gd name="connsiteX2" fmla="*/ 1199 w 103383"/>
                  <a:gd name="connsiteY2" fmla="*/ 20478 h 62949"/>
                  <a:gd name="connsiteX3" fmla="*/ 7266 w 103383"/>
                  <a:gd name="connsiteY3" fmla="*/ 17444 h 62949"/>
                  <a:gd name="connsiteX4" fmla="*/ 10299 w 103383"/>
                  <a:gd name="connsiteY4" fmla="*/ 23511 h 62949"/>
                  <a:gd name="connsiteX5" fmla="*/ 16367 w 103383"/>
                  <a:gd name="connsiteY5" fmla="*/ 47781 h 62949"/>
                  <a:gd name="connsiteX6" fmla="*/ 37604 w 103383"/>
                  <a:gd name="connsiteY6" fmla="*/ 50815 h 62949"/>
                  <a:gd name="connsiteX7" fmla="*/ 40636 w 103383"/>
                  <a:gd name="connsiteY7" fmla="*/ 50815 h 62949"/>
                  <a:gd name="connsiteX8" fmla="*/ 89177 w 103383"/>
                  <a:gd name="connsiteY8" fmla="*/ 38680 h 62949"/>
                  <a:gd name="connsiteX9" fmla="*/ 80076 w 103383"/>
                  <a:gd name="connsiteY9" fmla="*/ 11376 h 62949"/>
                  <a:gd name="connsiteX10" fmla="*/ 80076 w 103383"/>
                  <a:gd name="connsiteY10" fmla="*/ 2275 h 62949"/>
                  <a:gd name="connsiteX11" fmla="*/ 89177 w 103383"/>
                  <a:gd name="connsiteY11" fmla="*/ 2275 h 62949"/>
                  <a:gd name="connsiteX12" fmla="*/ 98278 w 103383"/>
                  <a:gd name="connsiteY12" fmla="*/ 44747 h 62949"/>
                  <a:gd name="connsiteX13" fmla="*/ 40636 w 103383"/>
                  <a:gd name="connsiteY13" fmla="*/ 62949 h 62949"/>
                  <a:gd name="connsiteX14" fmla="*/ 40636 w 103383"/>
                  <a:gd name="connsiteY14" fmla="*/ 62949 h 62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3383" h="62949">
                    <a:moveTo>
                      <a:pt x="40636" y="62949"/>
                    </a:moveTo>
                    <a:cubicBezTo>
                      <a:pt x="25468" y="62949"/>
                      <a:pt x="16367" y="59916"/>
                      <a:pt x="10299" y="53848"/>
                    </a:cubicBezTo>
                    <a:cubicBezTo>
                      <a:pt x="-4869" y="38680"/>
                      <a:pt x="1199" y="20478"/>
                      <a:pt x="1199" y="20478"/>
                    </a:cubicBezTo>
                    <a:cubicBezTo>
                      <a:pt x="1199" y="17444"/>
                      <a:pt x="4233" y="14410"/>
                      <a:pt x="7266" y="17444"/>
                    </a:cubicBezTo>
                    <a:cubicBezTo>
                      <a:pt x="10299" y="17444"/>
                      <a:pt x="13334" y="20478"/>
                      <a:pt x="10299" y="23511"/>
                    </a:cubicBezTo>
                    <a:cubicBezTo>
                      <a:pt x="10299" y="23511"/>
                      <a:pt x="7266" y="38680"/>
                      <a:pt x="16367" y="47781"/>
                    </a:cubicBezTo>
                    <a:cubicBezTo>
                      <a:pt x="19402" y="50815"/>
                      <a:pt x="25468" y="50815"/>
                      <a:pt x="37604" y="50815"/>
                    </a:cubicBezTo>
                    <a:cubicBezTo>
                      <a:pt x="37604" y="50815"/>
                      <a:pt x="37604" y="50815"/>
                      <a:pt x="40636" y="50815"/>
                    </a:cubicBezTo>
                    <a:cubicBezTo>
                      <a:pt x="61873" y="50815"/>
                      <a:pt x="86142" y="44747"/>
                      <a:pt x="89177" y="38680"/>
                    </a:cubicBezTo>
                    <a:cubicBezTo>
                      <a:pt x="98278" y="26545"/>
                      <a:pt x="83109" y="14410"/>
                      <a:pt x="80076" y="11376"/>
                    </a:cubicBezTo>
                    <a:cubicBezTo>
                      <a:pt x="77041" y="8343"/>
                      <a:pt x="77041" y="5309"/>
                      <a:pt x="80076" y="2275"/>
                    </a:cubicBezTo>
                    <a:cubicBezTo>
                      <a:pt x="83109" y="-758"/>
                      <a:pt x="86142" y="-758"/>
                      <a:pt x="89177" y="2275"/>
                    </a:cubicBezTo>
                    <a:cubicBezTo>
                      <a:pt x="98278" y="11376"/>
                      <a:pt x="110413" y="29579"/>
                      <a:pt x="98278" y="44747"/>
                    </a:cubicBezTo>
                    <a:cubicBezTo>
                      <a:pt x="92210" y="59916"/>
                      <a:pt x="61873" y="62949"/>
                      <a:pt x="40636" y="62949"/>
                    </a:cubicBezTo>
                    <a:cubicBezTo>
                      <a:pt x="43671" y="62949"/>
                      <a:pt x="40636" y="62949"/>
                      <a:pt x="40636" y="6294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4" name="图形 1">
              <a:extLst>
                <a:ext uri="{FF2B5EF4-FFF2-40B4-BE49-F238E27FC236}">
                  <a16:creationId xmlns:a16="http://schemas.microsoft.com/office/drawing/2014/main" id="{30B15963-2F61-4308-8AB0-2C08947FEC36}"/>
                </a:ext>
              </a:extLst>
            </p:cNvPr>
            <p:cNvGrpSpPr/>
            <p:nvPr/>
          </p:nvGrpSpPr>
          <p:grpSpPr>
            <a:xfrm>
              <a:off x="20658916" y="3990628"/>
              <a:ext cx="585505" cy="1010224"/>
              <a:chOff x="20658916" y="3990628"/>
              <a:chExt cx="585505" cy="1010224"/>
            </a:xfrm>
          </p:grpSpPr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F6626676-0C4D-4533-9A47-7F46037A06D9}"/>
                  </a:ext>
                </a:extLst>
              </p:cNvPr>
              <p:cNvSpPr/>
              <p:nvPr/>
            </p:nvSpPr>
            <p:spPr>
              <a:xfrm>
                <a:off x="20658916" y="4342538"/>
                <a:ext cx="582472" cy="658314"/>
              </a:xfrm>
              <a:custGeom>
                <a:avLst/>
                <a:gdLst>
                  <a:gd name="connsiteX0" fmla="*/ 0 w 582472"/>
                  <a:gd name="connsiteY0" fmla="*/ 594607 h 658314"/>
                  <a:gd name="connsiteX1" fmla="*/ 0 w 582472"/>
                  <a:gd name="connsiteY1" fmla="*/ 594607 h 658314"/>
                  <a:gd name="connsiteX2" fmla="*/ 0 w 582472"/>
                  <a:gd name="connsiteY2" fmla="*/ 0 h 658314"/>
                  <a:gd name="connsiteX3" fmla="*/ 582472 w 582472"/>
                  <a:gd name="connsiteY3" fmla="*/ 0 h 658314"/>
                  <a:gd name="connsiteX4" fmla="*/ 582472 w 582472"/>
                  <a:gd name="connsiteY4" fmla="*/ 594607 h 658314"/>
                  <a:gd name="connsiteX5" fmla="*/ 582472 w 582472"/>
                  <a:gd name="connsiteY5" fmla="*/ 594607 h 658314"/>
                  <a:gd name="connsiteX6" fmla="*/ 582472 w 582472"/>
                  <a:gd name="connsiteY6" fmla="*/ 594607 h 658314"/>
                  <a:gd name="connsiteX7" fmla="*/ 291237 w 582472"/>
                  <a:gd name="connsiteY7" fmla="*/ 658315 h 658314"/>
                  <a:gd name="connsiteX8" fmla="*/ 0 w 582472"/>
                  <a:gd name="connsiteY8" fmla="*/ 594607 h 658314"/>
                  <a:gd name="connsiteX9" fmla="*/ 0 w 582472"/>
                  <a:gd name="connsiteY9" fmla="*/ 594607 h 65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82472" h="658314">
                    <a:moveTo>
                      <a:pt x="0" y="594607"/>
                    </a:moveTo>
                    <a:lnTo>
                      <a:pt x="0" y="594607"/>
                    </a:lnTo>
                    <a:lnTo>
                      <a:pt x="0" y="0"/>
                    </a:lnTo>
                    <a:lnTo>
                      <a:pt x="582472" y="0"/>
                    </a:lnTo>
                    <a:lnTo>
                      <a:pt x="582472" y="594607"/>
                    </a:lnTo>
                    <a:lnTo>
                      <a:pt x="582472" y="594607"/>
                    </a:lnTo>
                    <a:cubicBezTo>
                      <a:pt x="582472" y="594607"/>
                      <a:pt x="582472" y="594607"/>
                      <a:pt x="582472" y="594607"/>
                    </a:cubicBezTo>
                    <a:cubicBezTo>
                      <a:pt x="582472" y="609775"/>
                      <a:pt x="452023" y="658315"/>
                      <a:pt x="291237" y="658315"/>
                    </a:cubicBezTo>
                    <a:cubicBezTo>
                      <a:pt x="130449" y="658315"/>
                      <a:pt x="0" y="609775"/>
                      <a:pt x="0" y="594607"/>
                    </a:cubicBezTo>
                    <a:cubicBezTo>
                      <a:pt x="0" y="594607"/>
                      <a:pt x="0" y="594607"/>
                      <a:pt x="0" y="594607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09" name="图形 1">
                <a:extLst>
                  <a:ext uri="{FF2B5EF4-FFF2-40B4-BE49-F238E27FC236}">
                    <a16:creationId xmlns:a16="http://schemas.microsoft.com/office/drawing/2014/main" id="{0909AC55-3AFF-46C2-B4C9-A33D771DD172}"/>
                  </a:ext>
                </a:extLst>
              </p:cNvPr>
              <p:cNvGrpSpPr/>
              <p:nvPr/>
            </p:nvGrpSpPr>
            <p:grpSpPr>
              <a:xfrm>
                <a:off x="20658916" y="4312201"/>
                <a:ext cx="585505" cy="60674"/>
                <a:chOff x="20658916" y="4312201"/>
                <a:chExt cx="585505" cy="60674"/>
              </a:xfrm>
            </p:grpSpPr>
            <p:sp>
              <p:nvSpPr>
                <p:cNvPr id="113" name="任意多边形: 形状 112">
                  <a:extLst>
                    <a:ext uri="{FF2B5EF4-FFF2-40B4-BE49-F238E27FC236}">
                      <a16:creationId xmlns:a16="http://schemas.microsoft.com/office/drawing/2014/main" id="{4D01B3E5-7DFF-45B7-A6D7-A2F510936231}"/>
                    </a:ext>
                  </a:extLst>
                </p:cNvPr>
                <p:cNvSpPr/>
                <p:nvPr/>
              </p:nvSpPr>
              <p:spPr>
                <a:xfrm>
                  <a:off x="20658916" y="4312201"/>
                  <a:ext cx="585505" cy="60674"/>
                </a:xfrm>
                <a:custGeom>
                  <a:avLst/>
                  <a:gdLst>
                    <a:gd name="connsiteX0" fmla="*/ 0 w 585505"/>
                    <a:gd name="connsiteY0" fmla="*/ 30337 h 60674"/>
                    <a:gd name="connsiteX1" fmla="*/ 3035 w 585505"/>
                    <a:gd name="connsiteY1" fmla="*/ 33371 h 60674"/>
                    <a:gd name="connsiteX2" fmla="*/ 6068 w 585505"/>
                    <a:gd name="connsiteY2" fmla="*/ 33371 h 60674"/>
                    <a:gd name="connsiteX3" fmla="*/ 12136 w 585505"/>
                    <a:gd name="connsiteY3" fmla="*/ 36404 h 60674"/>
                    <a:gd name="connsiteX4" fmla="*/ 18203 w 585505"/>
                    <a:gd name="connsiteY4" fmla="*/ 39438 h 60674"/>
                    <a:gd name="connsiteX5" fmla="*/ 21236 w 585505"/>
                    <a:gd name="connsiteY5" fmla="*/ 39438 h 60674"/>
                    <a:gd name="connsiteX6" fmla="*/ 33372 w 585505"/>
                    <a:gd name="connsiteY6" fmla="*/ 42472 h 60674"/>
                    <a:gd name="connsiteX7" fmla="*/ 45506 w 585505"/>
                    <a:gd name="connsiteY7" fmla="*/ 45506 h 60674"/>
                    <a:gd name="connsiteX8" fmla="*/ 66742 w 585505"/>
                    <a:gd name="connsiteY8" fmla="*/ 48539 h 60674"/>
                    <a:gd name="connsiteX9" fmla="*/ 91011 w 585505"/>
                    <a:gd name="connsiteY9" fmla="*/ 51573 h 60674"/>
                    <a:gd name="connsiteX10" fmla="*/ 160786 w 585505"/>
                    <a:gd name="connsiteY10" fmla="*/ 57640 h 60674"/>
                    <a:gd name="connsiteX11" fmla="*/ 200226 w 585505"/>
                    <a:gd name="connsiteY11" fmla="*/ 60674 h 60674"/>
                    <a:gd name="connsiteX12" fmla="*/ 242697 w 585505"/>
                    <a:gd name="connsiteY12" fmla="*/ 60674 h 60674"/>
                    <a:gd name="connsiteX13" fmla="*/ 245731 w 585505"/>
                    <a:gd name="connsiteY13" fmla="*/ 60674 h 60674"/>
                    <a:gd name="connsiteX14" fmla="*/ 270001 w 585505"/>
                    <a:gd name="connsiteY14" fmla="*/ 60674 h 60674"/>
                    <a:gd name="connsiteX15" fmla="*/ 294270 w 585505"/>
                    <a:gd name="connsiteY15" fmla="*/ 60674 h 60674"/>
                    <a:gd name="connsiteX16" fmla="*/ 452023 w 585505"/>
                    <a:gd name="connsiteY16" fmla="*/ 54607 h 60674"/>
                    <a:gd name="connsiteX17" fmla="*/ 558203 w 585505"/>
                    <a:gd name="connsiteY17" fmla="*/ 42472 h 60674"/>
                    <a:gd name="connsiteX18" fmla="*/ 579439 w 585505"/>
                    <a:gd name="connsiteY18" fmla="*/ 36404 h 60674"/>
                    <a:gd name="connsiteX19" fmla="*/ 585505 w 585505"/>
                    <a:gd name="connsiteY19" fmla="*/ 30337 h 60674"/>
                    <a:gd name="connsiteX20" fmla="*/ 500562 w 585505"/>
                    <a:gd name="connsiteY20" fmla="*/ 9101 h 60674"/>
                    <a:gd name="connsiteX21" fmla="*/ 294270 w 585505"/>
                    <a:gd name="connsiteY21" fmla="*/ 0 h 60674"/>
                    <a:gd name="connsiteX22" fmla="*/ 87978 w 585505"/>
                    <a:gd name="connsiteY22" fmla="*/ 9101 h 60674"/>
                    <a:gd name="connsiteX23" fmla="*/ 0 w 585505"/>
                    <a:gd name="connsiteY23" fmla="*/ 30337 h 60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585505" h="60674">
                      <a:moveTo>
                        <a:pt x="0" y="30337"/>
                      </a:moveTo>
                      <a:cubicBezTo>
                        <a:pt x="0" y="30337"/>
                        <a:pt x="0" y="33371"/>
                        <a:pt x="3035" y="33371"/>
                      </a:cubicBezTo>
                      <a:cubicBezTo>
                        <a:pt x="3035" y="33371"/>
                        <a:pt x="3035" y="33371"/>
                        <a:pt x="6068" y="33371"/>
                      </a:cubicBezTo>
                      <a:cubicBezTo>
                        <a:pt x="9101" y="33371"/>
                        <a:pt x="9101" y="36404"/>
                        <a:pt x="12136" y="36404"/>
                      </a:cubicBezTo>
                      <a:cubicBezTo>
                        <a:pt x="15169" y="36404"/>
                        <a:pt x="15169" y="36404"/>
                        <a:pt x="18203" y="39438"/>
                      </a:cubicBezTo>
                      <a:cubicBezTo>
                        <a:pt x="18203" y="39438"/>
                        <a:pt x="21236" y="39438"/>
                        <a:pt x="21236" y="39438"/>
                      </a:cubicBezTo>
                      <a:cubicBezTo>
                        <a:pt x="24269" y="39438"/>
                        <a:pt x="27304" y="42472"/>
                        <a:pt x="33372" y="42472"/>
                      </a:cubicBezTo>
                      <a:cubicBezTo>
                        <a:pt x="36405" y="42472"/>
                        <a:pt x="42473" y="45506"/>
                        <a:pt x="45506" y="45506"/>
                      </a:cubicBezTo>
                      <a:cubicBezTo>
                        <a:pt x="51573" y="45506"/>
                        <a:pt x="57641" y="48539"/>
                        <a:pt x="66742" y="48539"/>
                      </a:cubicBezTo>
                      <a:cubicBezTo>
                        <a:pt x="75843" y="48539"/>
                        <a:pt x="81910" y="51573"/>
                        <a:pt x="91011" y="51573"/>
                      </a:cubicBezTo>
                      <a:cubicBezTo>
                        <a:pt x="112248" y="54607"/>
                        <a:pt x="133484" y="54607"/>
                        <a:pt x="160786" y="57640"/>
                      </a:cubicBezTo>
                      <a:cubicBezTo>
                        <a:pt x="172922" y="57640"/>
                        <a:pt x="188090" y="57640"/>
                        <a:pt x="200226" y="60674"/>
                      </a:cubicBezTo>
                      <a:cubicBezTo>
                        <a:pt x="215394" y="60674"/>
                        <a:pt x="227528" y="60674"/>
                        <a:pt x="242697" y="60674"/>
                      </a:cubicBezTo>
                      <a:lnTo>
                        <a:pt x="245731" y="60674"/>
                      </a:lnTo>
                      <a:cubicBezTo>
                        <a:pt x="254832" y="60674"/>
                        <a:pt x="260900" y="60674"/>
                        <a:pt x="270001" y="60674"/>
                      </a:cubicBezTo>
                      <a:cubicBezTo>
                        <a:pt x="279102" y="60674"/>
                        <a:pt x="288202" y="60674"/>
                        <a:pt x="294270" y="60674"/>
                      </a:cubicBezTo>
                      <a:cubicBezTo>
                        <a:pt x="351911" y="60674"/>
                        <a:pt x="406518" y="57640"/>
                        <a:pt x="452023" y="54607"/>
                      </a:cubicBezTo>
                      <a:cubicBezTo>
                        <a:pt x="497529" y="51573"/>
                        <a:pt x="533934" y="48539"/>
                        <a:pt x="558203" y="42472"/>
                      </a:cubicBezTo>
                      <a:cubicBezTo>
                        <a:pt x="567304" y="39438"/>
                        <a:pt x="573372" y="39438"/>
                        <a:pt x="579439" y="36404"/>
                      </a:cubicBezTo>
                      <a:cubicBezTo>
                        <a:pt x="585505" y="33371"/>
                        <a:pt x="585505" y="33371"/>
                        <a:pt x="585505" y="30337"/>
                      </a:cubicBezTo>
                      <a:cubicBezTo>
                        <a:pt x="585505" y="21236"/>
                        <a:pt x="552135" y="15169"/>
                        <a:pt x="500562" y="9101"/>
                      </a:cubicBezTo>
                      <a:cubicBezTo>
                        <a:pt x="448988" y="3034"/>
                        <a:pt x="373146" y="0"/>
                        <a:pt x="294270" y="0"/>
                      </a:cubicBezTo>
                      <a:cubicBezTo>
                        <a:pt x="212360" y="0"/>
                        <a:pt x="139552" y="3034"/>
                        <a:pt x="87978" y="9101"/>
                      </a:cubicBezTo>
                      <a:cubicBezTo>
                        <a:pt x="33372" y="15169"/>
                        <a:pt x="0" y="21236"/>
                        <a:pt x="0" y="30337"/>
                      </a:cubicBezTo>
                      <a:close/>
                    </a:path>
                  </a:pathLst>
                </a:custGeom>
                <a:solidFill>
                  <a:srgbClr val="211545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5E5365CE-566E-4964-A531-AA14EE19ED86}"/>
                    </a:ext>
                  </a:extLst>
                </p:cNvPr>
                <p:cNvSpPr/>
                <p:nvPr/>
              </p:nvSpPr>
              <p:spPr>
                <a:xfrm>
                  <a:off x="20658916" y="4312201"/>
                  <a:ext cx="585505" cy="60674"/>
                </a:xfrm>
                <a:custGeom>
                  <a:avLst/>
                  <a:gdLst>
                    <a:gd name="connsiteX0" fmla="*/ 0 w 585505"/>
                    <a:gd name="connsiteY0" fmla="*/ 30337 h 60674"/>
                    <a:gd name="connsiteX1" fmla="*/ 3035 w 585505"/>
                    <a:gd name="connsiteY1" fmla="*/ 33371 h 60674"/>
                    <a:gd name="connsiteX2" fmla="*/ 6068 w 585505"/>
                    <a:gd name="connsiteY2" fmla="*/ 33371 h 60674"/>
                    <a:gd name="connsiteX3" fmla="*/ 12136 w 585505"/>
                    <a:gd name="connsiteY3" fmla="*/ 36404 h 60674"/>
                    <a:gd name="connsiteX4" fmla="*/ 18203 w 585505"/>
                    <a:gd name="connsiteY4" fmla="*/ 39438 h 60674"/>
                    <a:gd name="connsiteX5" fmla="*/ 21236 w 585505"/>
                    <a:gd name="connsiteY5" fmla="*/ 39438 h 60674"/>
                    <a:gd name="connsiteX6" fmla="*/ 33372 w 585505"/>
                    <a:gd name="connsiteY6" fmla="*/ 42472 h 60674"/>
                    <a:gd name="connsiteX7" fmla="*/ 45506 w 585505"/>
                    <a:gd name="connsiteY7" fmla="*/ 45506 h 60674"/>
                    <a:gd name="connsiteX8" fmla="*/ 66742 w 585505"/>
                    <a:gd name="connsiteY8" fmla="*/ 48539 h 60674"/>
                    <a:gd name="connsiteX9" fmla="*/ 91011 w 585505"/>
                    <a:gd name="connsiteY9" fmla="*/ 51573 h 60674"/>
                    <a:gd name="connsiteX10" fmla="*/ 160786 w 585505"/>
                    <a:gd name="connsiteY10" fmla="*/ 57640 h 60674"/>
                    <a:gd name="connsiteX11" fmla="*/ 200226 w 585505"/>
                    <a:gd name="connsiteY11" fmla="*/ 60674 h 60674"/>
                    <a:gd name="connsiteX12" fmla="*/ 242697 w 585505"/>
                    <a:gd name="connsiteY12" fmla="*/ 60674 h 60674"/>
                    <a:gd name="connsiteX13" fmla="*/ 245731 w 585505"/>
                    <a:gd name="connsiteY13" fmla="*/ 60674 h 60674"/>
                    <a:gd name="connsiteX14" fmla="*/ 270001 w 585505"/>
                    <a:gd name="connsiteY14" fmla="*/ 60674 h 60674"/>
                    <a:gd name="connsiteX15" fmla="*/ 294270 w 585505"/>
                    <a:gd name="connsiteY15" fmla="*/ 60674 h 60674"/>
                    <a:gd name="connsiteX16" fmla="*/ 452023 w 585505"/>
                    <a:gd name="connsiteY16" fmla="*/ 54607 h 60674"/>
                    <a:gd name="connsiteX17" fmla="*/ 558203 w 585505"/>
                    <a:gd name="connsiteY17" fmla="*/ 42472 h 60674"/>
                    <a:gd name="connsiteX18" fmla="*/ 579439 w 585505"/>
                    <a:gd name="connsiteY18" fmla="*/ 36404 h 60674"/>
                    <a:gd name="connsiteX19" fmla="*/ 585505 w 585505"/>
                    <a:gd name="connsiteY19" fmla="*/ 30337 h 60674"/>
                    <a:gd name="connsiteX20" fmla="*/ 500562 w 585505"/>
                    <a:gd name="connsiteY20" fmla="*/ 9101 h 60674"/>
                    <a:gd name="connsiteX21" fmla="*/ 294270 w 585505"/>
                    <a:gd name="connsiteY21" fmla="*/ 0 h 60674"/>
                    <a:gd name="connsiteX22" fmla="*/ 87978 w 585505"/>
                    <a:gd name="connsiteY22" fmla="*/ 9101 h 60674"/>
                    <a:gd name="connsiteX23" fmla="*/ 0 w 585505"/>
                    <a:gd name="connsiteY23" fmla="*/ 30337 h 60674"/>
                    <a:gd name="connsiteX24" fmla="*/ 27304 w 585505"/>
                    <a:gd name="connsiteY24" fmla="*/ 33371 h 60674"/>
                    <a:gd name="connsiteX25" fmla="*/ 24269 w 585505"/>
                    <a:gd name="connsiteY25" fmla="*/ 33371 h 60674"/>
                    <a:gd name="connsiteX26" fmla="*/ 21236 w 585505"/>
                    <a:gd name="connsiteY26" fmla="*/ 33371 h 60674"/>
                    <a:gd name="connsiteX27" fmla="*/ 87978 w 585505"/>
                    <a:gd name="connsiteY27" fmla="*/ 21236 h 60674"/>
                    <a:gd name="connsiteX28" fmla="*/ 294270 w 585505"/>
                    <a:gd name="connsiteY28" fmla="*/ 12135 h 60674"/>
                    <a:gd name="connsiteX29" fmla="*/ 500562 w 585505"/>
                    <a:gd name="connsiteY29" fmla="*/ 21236 h 60674"/>
                    <a:gd name="connsiteX30" fmla="*/ 567304 w 585505"/>
                    <a:gd name="connsiteY30" fmla="*/ 33371 h 60674"/>
                    <a:gd name="connsiteX31" fmla="*/ 558203 w 585505"/>
                    <a:gd name="connsiteY31" fmla="*/ 36404 h 60674"/>
                    <a:gd name="connsiteX32" fmla="*/ 455056 w 585505"/>
                    <a:gd name="connsiteY32" fmla="*/ 48539 h 60674"/>
                    <a:gd name="connsiteX33" fmla="*/ 297303 w 585505"/>
                    <a:gd name="connsiteY33" fmla="*/ 54607 h 60674"/>
                    <a:gd name="connsiteX34" fmla="*/ 273034 w 585505"/>
                    <a:gd name="connsiteY34" fmla="*/ 54607 h 60674"/>
                    <a:gd name="connsiteX35" fmla="*/ 254832 w 585505"/>
                    <a:gd name="connsiteY35" fmla="*/ 54607 h 60674"/>
                    <a:gd name="connsiteX36" fmla="*/ 248764 w 585505"/>
                    <a:gd name="connsiteY36" fmla="*/ 54607 h 60674"/>
                    <a:gd name="connsiteX37" fmla="*/ 166854 w 585505"/>
                    <a:gd name="connsiteY37" fmla="*/ 51573 h 60674"/>
                    <a:gd name="connsiteX38" fmla="*/ 97079 w 585505"/>
                    <a:gd name="connsiteY38" fmla="*/ 45506 h 60674"/>
                    <a:gd name="connsiteX39" fmla="*/ 72810 w 585505"/>
                    <a:gd name="connsiteY39" fmla="*/ 42472 h 60674"/>
                    <a:gd name="connsiteX40" fmla="*/ 51573 w 585505"/>
                    <a:gd name="connsiteY40" fmla="*/ 39438 h 60674"/>
                    <a:gd name="connsiteX41" fmla="*/ 39438 w 585505"/>
                    <a:gd name="connsiteY41" fmla="*/ 36404 h 60674"/>
                    <a:gd name="connsiteX42" fmla="*/ 27304 w 585505"/>
                    <a:gd name="connsiteY42" fmla="*/ 33371 h 60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585505" h="60674">
                      <a:moveTo>
                        <a:pt x="0" y="30337"/>
                      </a:moveTo>
                      <a:cubicBezTo>
                        <a:pt x="0" y="30337"/>
                        <a:pt x="0" y="33371"/>
                        <a:pt x="3035" y="33371"/>
                      </a:cubicBezTo>
                      <a:cubicBezTo>
                        <a:pt x="3035" y="33371"/>
                        <a:pt x="3035" y="33371"/>
                        <a:pt x="6068" y="33371"/>
                      </a:cubicBezTo>
                      <a:cubicBezTo>
                        <a:pt x="9101" y="33371"/>
                        <a:pt x="9101" y="36404"/>
                        <a:pt x="12136" y="36404"/>
                      </a:cubicBezTo>
                      <a:cubicBezTo>
                        <a:pt x="15169" y="36404"/>
                        <a:pt x="15169" y="36404"/>
                        <a:pt x="18203" y="39438"/>
                      </a:cubicBezTo>
                      <a:cubicBezTo>
                        <a:pt x="18203" y="39438"/>
                        <a:pt x="21236" y="39438"/>
                        <a:pt x="21236" y="39438"/>
                      </a:cubicBezTo>
                      <a:cubicBezTo>
                        <a:pt x="24269" y="39438"/>
                        <a:pt x="27304" y="42472"/>
                        <a:pt x="33372" y="42472"/>
                      </a:cubicBezTo>
                      <a:cubicBezTo>
                        <a:pt x="36405" y="42472"/>
                        <a:pt x="42473" y="45506"/>
                        <a:pt x="45506" y="45506"/>
                      </a:cubicBezTo>
                      <a:cubicBezTo>
                        <a:pt x="51573" y="45506"/>
                        <a:pt x="57641" y="48539"/>
                        <a:pt x="66742" y="48539"/>
                      </a:cubicBezTo>
                      <a:cubicBezTo>
                        <a:pt x="75843" y="48539"/>
                        <a:pt x="81910" y="51573"/>
                        <a:pt x="91011" y="51573"/>
                      </a:cubicBezTo>
                      <a:cubicBezTo>
                        <a:pt x="112248" y="54607"/>
                        <a:pt x="133484" y="54607"/>
                        <a:pt x="160786" y="57640"/>
                      </a:cubicBezTo>
                      <a:cubicBezTo>
                        <a:pt x="172922" y="57640"/>
                        <a:pt x="188090" y="57640"/>
                        <a:pt x="200226" y="60674"/>
                      </a:cubicBezTo>
                      <a:cubicBezTo>
                        <a:pt x="215394" y="60674"/>
                        <a:pt x="227528" y="60674"/>
                        <a:pt x="242697" y="60674"/>
                      </a:cubicBezTo>
                      <a:lnTo>
                        <a:pt x="245731" y="60674"/>
                      </a:lnTo>
                      <a:cubicBezTo>
                        <a:pt x="254832" y="60674"/>
                        <a:pt x="260900" y="60674"/>
                        <a:pt x="270001" y="60674"/>
                      </a:cubicBezTo>
                      <a:cubicBezTo>
                        <a:pt x="279102" y="60674"/>
                        <a:pt x="288202" y="60674"/>
                        <a:pt x="294270" y="60674"/>
                      </a:cubicBezTo>
                      <a:cubicBezTo>
                        <a:pt x="351911" y="60674"/>
                        <a:pt x="406518" y="57640"/>
                        <a:pt x="452023" y="54607"/>
                      </a:cubicBezTo>
                      <a:cubicBezTo>
                        <a:pt x="497529" y="51573"/>
                        <a:pt x="533934" y="48539"/>
                        <a:pt x="558203" y="42472"/>
                      </a:cubicBezTo>
                      <a:cubicBezTo>
                        <a:pt x="567304" y="39438"/>
                        <a:pt x="573372" y="39438"/>
                        <a:pt x="579439" y="36404"/>
                      </a:cubicBezTo>
                      <a:cubicBezTo>
                        <a:pt x="585505" y="33371"/>
                        <a:pt x="585505" y="33371"/>
                        <a:pt x="585505" y="30337"/>
                      </a:cubicBezTo>
                      <a:cubicBezTo>
                        <a:pt x="585505" y="21236"/>
                        <a:pt x="552135" y="15169"/>
                        <a:pt x="500562" y="9101"/>
                      </a:cubicBezTo>
                      <a:cubicBezTo>
                        <a:pt x="448988" y="3034"/>
                        <a:pt x="373146" y="0"/>
                        <a:pt x="294270" y="0"/>
                      </a:cubicBezTo>
                      <a:cubicBezTo>
                        <a:pt x="212360" y="0"/>
                        <a:pt x="139552" y="3034"/>
                        <a:pt x="87978" y="9101"/>
                      </a:cubicBezTo>
                      <a:cubicBezTo>
                        <a:pt x="33372" y="15169"/>
                        <a:pt x="0" y="21236"/>
                        <a:pt x="0" y="30337"/>
                      </a:cubicBezTo>
                      <a:close/>
                      <a:moveTo>
                        <a:pt x="27304" y="33371"/>
                      </a:moveTo>
                      <a:cubicBezTo>
                        <a:pt x="27304" y="33371"/>
                        <a:pt x="24269" y="33371"/>
                        <a:pt x="24269" y="33371"/>
                      </a:cubicBezTo>
                      <a:cubicBezTo>
                        <a:pt x="24269" y="33371"/>
                        <a:pt x="21236" y="33371"/>
                        <a:pt x="21236" y="33371"/>
                      </a:cubicBezTo>
                      <a:cubicBezTo>
                        <a:pt x="30337" y="30337"/>
                        <a:pt x="51573" y="27303"/>
                        <a:pt x="87978" y="21236"/>
                      </a:cubicBezTo>
                      <a:cubicBezTo>
                        <a:pt x="142585" y="15169"/>
                        <a:pt x="215394" y="12135"/>
                        <a:pt x="294270" y="12135"/>
                      </a:cubicBezTo>
                      <a:cubicBezTo>
                        <a:pt x="373146" y="12135"/>
                        <a:pt x="445955" y="15169"/>
                        <a:pt x="500562" y="21236"/>
                      </a:cubicBezTo>
                      <a:cubicBezTo>
                        <a:pt x="536967" y="24270"/>
                        <a:pt x="558203" y="30337"/>
                        <a:pt x="567304" y="33371"/>
                      </a:cubicBezTo>
                      <a:cubicBezTo>
                        <a:pt x="564271" y="33371"/>
                        <a:pt x="561236" y="36404"/>
                        <a:pt x="558203" y="36404"/>
                      </a:cubicBezTo>
                      <a:cubicBezTo>
                        <a:pt x="533934" y="42472"/>
                        <a:pt x="500562" y="45506"/>
                        <a:pt x="455056" y="48539"/>
                      </a:cubicBezTo>
                      <a:cubicBezTo>
                        <a:pt x="409551" y="51573"/>
                        <a:pt x="354944" y="54607"/>
                        <a:pt x="297303" y="54607"/>
                      </a:cubicBezTo>
                      <a:cubicBezTo>
                        <a:pt x="288202" y="54607"/>
                        <a:pt x="279102" y="54607"/>
                        <a:pt x="273034" y="54607"/>
                      </a:cubicBezTo>
                      <a:cubicBezTo>
                        <a:pt x="266966" y="54607"/>
                        <a:pt x="260900" y="54607"/>
                        <a:pt x="254832" y="54607"/>
                      </a:cubicBezTo>
                      <a:cubicBezTo>
                        <a:pt x="251797" y="54607"/>
                        <a:pt x="251797" y="54607"/>
                        <a:pt x="248764" y="54607"/>
                      </a:cubicBezTo>
                      <a:cubicBezTo>
                        <a:pt x="221460" y="54607"/>
                        <a:pt x="194158" y="54607"/>
                        <a:pt x="166854" y="51573"/>
                      </a:cubicBezTo>
                      <a:cubicBezTo>
                        <a:pt x="142585" y="51573"/>
                        <a:pt x="118315" y="48539"/>
                        <a:pt x="97079" y="45506"/>
                      </a:cubicBezTo>
                      <a:cubicBezTo>
                        <a:pt x="87978" y="45506"/>
                        <a:pt x="78878" y="42472"/>
                        <a:pt x="72810" y="42472"/>
                      </a:cubicBezTo>
                      <a:cubicBezTo>
                        <a:pt x="66742" y="42472"/>
                        <a:pt x="57641" y="39438"/>
                        <a:pt x="51573" y="39438"/>
                      </a:cubicBezTo>
                      <a:cubicBezTo>
                        <a:pt x="48540" y="39438"/>
                        <a:pt x="42473" y="39438"/>
                        <a:pt x="39438" y="36404"/>
                      </a:cubicBezTo>
                      <a:cubicBezTo>
                        <a:pt x="30337" y="33371"/>
                        <a:pt x="30337" y="33371"/>
                        <a:pt x="27304" y="33371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E0C9C2F1-DD01-4AA1-9E22-F71FAAB0BD47}"/>
                  </a:ext>
                </a:extLst>
              </p:cNvPr>
              <p:cNvSpPr/>
              <p:nvPr/>
            </p:nvSpPr>
            <p:spPr>
              <a:xfrm>
                <a:off x="20674084" y="4348606"/>
                <a:ext cx="227528" cy="427752"/>
              </a:xfrm>
              <a:custGeom>
                <a:avLst/>
                <a:gdLst>
                  <a:gd name="connsiteX0" fmla="*/ 0 w 227528"/>
                  <a:gd name="connsiteY0" fmla="*/ 94045 h 427752"/>
                  <a:gd name="connsiteX1" fmla="*/ 9101 w 227528"/>
                  <a:gd name="connsiteY1" fmla="*/ 103146 h 427752"/>
                  <a:gd name="connsiteX2" fmla="*/ 18203 w 227528"/>
                  <a:gd name="connsiteY2" fmla="*/ 94045 h 427752"/>
                  <a:gd name="connsiteX3" fmla="*/ 18203 w 227528"/>
                  <a:gd name="connsiteY3" fmla="*/ 81910 h 427752"/>
                  <a:gd name="connsiteX4" fmla="*/ 30337 w 227528"/>
                  <a:gd name="connsiteY4" fmla="*/ 69775 h 427752"/>
                  <a:gd name="connsiteX5" fmla="*/ 42473 w 227528"/>
                  <a:gd name="connsiteY5" fmla="*/ 81910 h 427752"/>
                  <a:gd name="connsiteX6" fmla="*/ 42473 w 227528"/>
                  <a:gd name="connsiteY6" fmla="*/ 342809 h 427752"/>
                  <a:gd name="connsiteX7" fmla="*/ 48540 w 227528"/>
                  <a:gd name="connsiteY7" fmla="*/ 357978 h 427752"/>
                  <a:gd name="connsiteX8" fmla="*/ 63709 w 227528"/>
                  <a:gd name="connsiteY8" fmla="*/ 364045 h 427752"/>
                  <a:gd name="connsiteX9" fmla="*/ 84943 w 227528"/>
                  <a:gd name="connsiteY9" fmla="*/ 342809 h 427752"/>
                  <a:gd name="connsiteX10" fmla="*/ 84943 w 227528"/>
                  <a:gd name="connsiteY10" fmla="*/ 330674 h 427752"/>
                  <a:gd name="connsiteX11" fmla="*/ 100112 w 227528"/>
                  <a:gd name="connsiteY11" fmla="*/ 315506 h 427752"/>
                  <a:gd name="connsiteX12" fmla="*/ 115281 w 227528"/>
                  <a:gd name="connsiteY12" fmla="*/ 330674 h 427752"/>
                  <a:gd name="connsiteX13" fmla="*/ 115281 w 227528"/>
                  <a:gd name="connsiteY13" fmla="*/ 406517 h 427752"/>
                  <a:gd name="connsiteX14" fmla="*/ 121348 w 227528"/>
                  <a:gd name="connsiteY14" fmla="*/ 421685 h 427752"/>
                  <a:gd name="connsiteX15" fmla="*/ 136517 w 227528"/>
                  <a:gd name="connsiteY15" fmla="*/ 427753 h 427752"/>
                  <a:gd name="connsiteX16" fmla="*/ 157753 w 227528"/>
                  <a:gd name="connsiteY16" fmla="*/ 406517 h 427752"/>
                  <a:gd name="connsiteX17" fmla="*/ 157753 w 227528"/>
                  <a:gd name="connsiteY17" fmla="*/ 124382 h 427752"/>
                  <a:gd name="connsiteX18" fmla="*/ 172922 w 227528"/>
                  <a:gd name="connsiteY18" fmla="*/ 109214 h 427752"/>
                  <a:gd name="connsiteX19" fmla="*/ 188090 w 227528"/>
                  <a:gd name="connsiteY19" fmla="*/ 124382 h 427752"/>
                  <a:gd name="connsiteX20" fmla="*/ 188090 w 227528"/>
                  <a:gd name="connsiteY20" fmla="*/ 182022 h 427752"/>
                  <a:gd name="connsiteX21" fmla="*/ 206292 w 227528"/>
                  <a:gd name="connsiteY21" fmla="*/ 200225 h 427752"/>
                  <a:gd name="connsiteX22" fmla="*/ 224495 w 227528"/>
                  <a:gd name="connsiteY22" fmla="*/ 182022 h 427752"/>
                  <a:gd name="connsiteX23" fmla="*/ 227528 w 227528"/>
                  <a:gd name="connsiteY23" fmla="*/ 21236 h 427752"/>
                  <a:gd name="connsiteX24" fmla="*/ 75843 w 227528"/>
                  <a:gd name="connsiteY24" fmla="*/ 12135 h 427752"/>
                  <a:gd name="connsiteX25" fmla="*/ 30337 w 227528"/>
                  <a:gd name="connsiteY25" fmla="*/ 6068 h 427752"/>
                  <a:gd name="connsiteX26" fmla="*/ 3035 w 227528"/>
                  <a:gd name="connsiteY26" fmla="*/ 0 h 427752"/>
                  <a:gd name="connsiteX27" fmla="*/ 0 w 227528"/>
                  <a:gd name="connsiteY27" fmla="*/ 94045 h 427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27528" h="427752">
                    <a:moveTo>
                      <a:pt x="0" y="94045"/>
                    </a:moveTo>
                    <a:cubicBezTo>
                      <a:pt x="0" y="100112"/>
                      <a:pt x="3035" y="103146"/>
                      <a:pt x="9101" y="103146"/>
                    </a:cubicBezTo>
                    <a:cubicBezTo>
                      <a:pt x="15169" y="103146"/>
                      <a:pt x="18203" y="100112"/>
                      <a:pt x="18203" y="94045"/>
                    </a:cubicBezTo>
                    <a:lnTo>
                      <a:pt x="18203" y="81910"/>
                    </a:lnTo>
                    <a:cubicBezTo>
                      <a:pt x="18203" y="75843"/>
                      <a:pt x="24269" y="69775"/>
                      <a:pt x="30337" y="69775"/>
                    </a:cubicBezTo>
                    <a:cubicBezTo>
                      <a:pt x="36405" y="69775"/>
                      <a:pt x="42473" y="75843"/>
                      <a:pt x="42473" y="81910"/>
                    </a:cubicBezTo>
                    <a:lnTo>
                      <a:pt x="42473" y="342809"/>
                    </a:lnTo>
                    <a:cubicBezTo>
                      <a:pt x="42473" y="348876"/>
                      <a:pt x="45506" y="351910"/>
                      <a:pt x="48540" y="357978"/>
                    </a:cubicBezTo>
                    <a:cubicBezTo>
                      <a:pt x="51573" y="361011"/>
                      <a:pt x="57641" y="364045"/>
                      <a:pt x="63709" y="364045"/>
                    </a:cubicBezTo>
                    <a:cubicBezTo>
                      <a:pt x="75843" y="364045"/>
                      <a:pt x="84943" y="354944"/>
                      <a:pt x="84943" y="342809"/>
                    </a:cubicBezTo>
                    <a:lnTo>
                      <a:pt x="84943" y="330674"/>
                    </a:lnTo>
                    <a:cubicBezTo>
                      <a:pt x="84943" y="321573"/>
                      <a:pt x="91011" y="315506"/>
                      <a:pt x="100112" y="315506"/>
                    </a:cubicBezTo>
                    <a:cubicBezTo>
                      <a:pt x="109215" y="315506"/>
                      <a:pt x="115281" y="321573"/>
                      <a:pt x="115281" y="330674"/>
                    </a:cubicBezTo>
                    <a:lnTo>
                      <a:pt x="115281" y="406517"/>
                    </a:lnTo>
                    <a:cubicBezTo>
                      <a:pt x="115281" y="412584"/>
                      <a:pt x="118315" y="418652"/>
                      <a:pt x="121348" y="421685"/>
                    </a:cubicBezTo>
                    <a:cubicBezTo>
                      <a:pt x="124383" y="424719"/>
                      <a:pt x="130449" y="427753"/>
                      <a:pt x="136517" y="427753"/>
                    </a:cubicBezTo>
                    <a:cubicBezTo>
                      <a:pt x="148652" y="427753"/>
                      <a:pt x="157753" y="418652"/>
                      <a:pt x="157753" y="406517"/>
                    </a:cubicBezTo>
                    <a:lnTo>
                      <a:pt x="157753" y="124382"/>
                    </a:lnTo>
                    <a:cubicBezTo>
                      <a:pt x="157753" y="115281"/>
                      <a:pt x="163821" y="109214"/>
                      <a:pt x="172922" y="109214"/>
                    </a:cubicBezTo>
                    <a:cubicBezTo>
                      <a:pt x="182022" y="109214"/>
                      <a:pt x="188090" y="115281"/>
                      <a:pt x="188090" y="124382"/>
                    </a:cubicBezTo>
                    <a:lnTo>
                      <a:pt x="188090" y="182022"/>
                    </a:lnTo>
                    <a:cubicBezTo>
                      <a:pt x="188090" y="191124"/>
                      <a:pt x="197191" y="200225"/>
                      <a:pt x="206292" y="200225"/>
                    </a:cubicBezTo>
                    <a:cubicBezTo>
                      <a:pt x="215394" y="200225"/>
                      <a:pt x="224495" y="191124"/>
                      <a:pt x="224495" y="182022"/>
                    </a:cubicBezTo>
                    <a:cubicBezTo>
                      <a:pt x="224495" y="182022"/>
                      <a:pt x="227528" y="21236"/>
                      <a:pt x="227528" y="21236"/>
                    </a:cubicBezTo>
                    <a:cubicBezTo>
                      <a:pt x="169889" y="21236"/>
                      <a:pt x="115281" y="18202"/>
                      <a:pt x="75843" y="12135"/>
                    </a:cubicBezTo>
                    <a:cubicBezTo>
                      <a:pt x="57641" y="9101"/>
                      <a:pt x="42473" y="9101"/>
                      <a:pt x="30337" y="6068"/>
                    </a:cubicBezTo>
                    <a:cubicBezTo>
                      <a:pt x="21236" y="3034"/>
                      <a:pt x="9101" y="3034"/>
                      <a:pt x="3035" y="0"/>
                    </a:cubicBezTo>
                    <a:cubicBezTo>
                      <a:pt x="0" y="3034"/>
                      <a:pt x="0" y="94045"/>
                      <a:pt x="0" y="94045"/>
                    </a:cubicBezTo>
                    <a:close/>
                  </a:path>
                </a:pathLst>
              </a:custGeom>
              <a:solidFill>
                <a:srgbClr val="708686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09AB7CA6-404C-4302-9A8B-EBEB067A28EB}"/>
                  </a:ext>
                </a:extLst>
              </p:cNvPr>
              <p:cNvSpPr/>
              <p:nvPr/>
            </p:nvSpPr>
            <p:spPr>
              <a:xfrm>
                <a:off x="20677119" y="4342538"/>
                <a:ext cx="227528" cy="36404"/>
              </a:xfrm>
              <a:custGeom>
                <a:avLst/>
                <a:gdLst>
                  <a:gd name="connsiteX0" fmla="*/ 0 w 227528"/>
                  <a:gd name="connsiteY0" fmla="*/ 9101 h 36404"/>
                  <a:gd name="connsiteX1" fmla="*/ 94044 w 227528"/>
                  <a:gd name="connsiteY1" fmla="*/ 36404 h 36404"/>
                  <a:gd name="connsiteX2" fmla="*/ 224493 w 227528"/>
                  <a:gd name="connsiteY2" fmla="*/ 27303 h 36404"/>
                  <a:gd name="connsiteX3" fmla="*/ 224493 w 227528"/>
                  <a:gd name="connsiteY3" fmla="*/ 27303 h 36404"/>
                  <a:gd name="connsiteX4" fmla="*/ 227528 w 227528"/>
                  <a:gd name="connsiteY4" fmla="*/ 18202 h 36404"/>
                  <a:gd name="connsiteX5" fmla="*/ 221460 w 227528"/>
                  <a:gd name="connsiteY5" fmla="*/ 18202 h 36404"/>
                  <a:gd name="connsiteX6" fmla="*/ 139550 w 227528"/>
                  <a:gd name="connsiteY6" fmla="*/ 15169 h 36404"/>
                  <a:gd name="connsiteX7" fmla="*/ 69775 w 227528"/>
                  <a:gd name="connsiteY7" fmla="*/ 9101 h 36404"/>
                  <a:gd name="connsiteX8" fmla="*/ 45506 w 227528"/>
                  <a:gd name="connsiteY8" fmla="*/ 6067 h 36404"/>
                  <a:gd name="connsiteX9" fmla="*/ 24269 w 227528"/>
                  <a:gd name="connsiteY9" fmla="*/ 3034 h 36404"/>
                  <a:gd name="connsiteX10" fmla="*/ 12134 w 227528"/>
                  <a:gd name="connsiteY10" fmla="*/ 0 h 36404"/>
                  <a:gd name="connsiteX11" fmla="*/ 6066 w 227528"/>
                  <a:gd name="connsiteY11" fmla="*/ 0 h 36404"/>
                  <a:gd name="connsiteX12" fmla="*/ 0 w 227528"/>
                  <a:gd name="connsiteY12" fmla="*/ 9101 h 36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7528" h="36404">
                    <a:moveTo>
                      <a:pt x="0" y="9101"/>
                    </a:moveTo>
                    <a:lnTo>
                      <a:pt x="94044" y="36404"/>
                    </a:lnTo>
                    <a:lnTo>
                      <a:pt x="224493" y="27303"/>
                    </a:lnTo>
                    <a:lnTo>
                      <a:pt x="224493" y="27303"/>
                    </a:lnTo>
                    <a:lnTo>
                      <a:pt x="227528" y="18202"/>
                    </a:lnTo>
                    <a:cubicBezTo>
                      <a:pt x="224493" y="18202"/>
                      <a:pt x="224493" y="18202"/>
                      <a:pt x="221460" y="18202"/>
                    </a:cubicBezTo>
                    <a:cubicBezTo>
                      <a:pt x="194156" y="18202"/>
                      <a:pt x="166854" y="18202"/>
                      <a:pt x="139550" y="15169"/>
                    </a:cubicBezTo>
                    <a:cubicBezTo>
                      <a:pt x="115281" y="15169"/>
                      <a:pt x="91011" y="12135"/>
                      <a:pt x="69775" y="9101"/>
                    </a:cubicBezTo>
                    <a:cubicBezTo>
                      <a:pt x="60674" y="9101"/>
                      <a:pt x="51572" y="6067"/>
                      <a:pt x="45506" y="6067"/>
                    </a:cubicBezTo>
                    <a:cubicBezTo>
                      <a:pt x="39438" y="6067"/>
                      <a:pt x="30337" y="3034"/>
                      <a:pt x="24269" y="3034"/>
                    </a:cubicBezTo>
                    <a:cubicBezTo>
                      <a:pt x="21234" y="3034"/>
                      <a:pt x="15169" y="3034"/>
                      <a:pt x="12134" y="0"/>
                    </a:cubicBezTo>
                    <a:cubicBezTo>
                      <a:pt x="9101" y="0"/>
                      <a:pt x="9101" y="0"/>
                      <a:pt x="6066" y="0"/>
                    </a:cubicBezTo>
                    <a:lnTo>
                      <a:pt x="0" y="9101"/>
                    </a:lnTo>
                    <a:close/>
                  </a:path>
                </a:pathLst>
              </a:custGeom>
              <a:solidFill>
                <a:srgbClr val="708686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E0E0238F-CA41-4B00-B0C3-FFB478382DAA}"/>
                  </a:ext>
                </a:extLst>
              </p:cNvPr>
              <p:cNvSpPr/>
              <p:nvPr/>
            </p:nvSpPr>
            <p:spPr>
              <a:xfrm>
                <a:off x="20664983" y="3990628"/>
                <a:ext cx="570336" cy="354943"/>
              </a:xfrm>
              <a:custGeom>
                <a:avLst/>
                <a:gdLst>
                  <a:gd name="connsiteX0" fmla="*/ 570337 w 570336"/>
                  <a:gd name="connsiteY0" fmla="*/ 354944 h 354943"/>
                  <a:gd name="connsiteX1" fmla="*/ 543034 w 570336"/>
                  <a:gd name="connsiteY1" fmla="*/ 354944 h 354943"/>
                  <a:gd name="connsiteX2" fmla="*/ 543034 w 570336"/>
                  <a:gd name="connsiteY2" fmla="*/ 285169 h 354943"/>
                  <a:gd name="connsiteX3" fmla="*/ 285169 w 570336"/>
                  <a:gd name="connsiteY3" fmla="*/ 27303 h 354943"/>
                  <a:gd name="connsiteX4" fmla="*/ 27304 w 570336"/>
                  <a:gd name="connsiteY4" fmla="*/ 285169 h 354943"/>
                  <a:gd name="connsiteX5" fmla="*/ 27304 w 570336"/>
                  <a:gd name="connsiteY5" fmla="*/ 354944 h 354943"/>
                  <a:gd name="connsiteX6" fmla="*/ 0 w 570336"/>
                  <a:gd name="connsiteY6" fmla="*/ 354944 h 354943"/>
                  <a:gd name="connsiteX7" fmla="*/ 0 w 570336"/>
                  <a:gd name="connsiteY7" fmla="*/ 285169 h 354943"/>
                  <a:gd name="connsiteX8" fmla="*/ 285169 w 570336"/>
                  <a:gd name="connsiteY8" fmla="*/ 0 h 354943"/>
                  <a:gd name="connsiteX9" fmla="*/ 570337 w 570336"/>
                  <a:gd name="connsiteY9" fmla="*/ 285169 h 354943"/>
                  <a:gd name="connsiteX10" fmla="*/ 570337 w 570336"/>
                  <a:gd name="connsiteY10" fmla="*/ 354944 h 354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70336" h="354943">
                    <a:moveTo>
                      <a:pt x="570337" y="354944"/>
                    </a:moveTo>
                    <a:lnTo>
                      <a:pt x="543034" y="354944"/>
                    </a:lnTo>
                    <a:lnTo>
                      <a:pt x="543034" y="285169"/>
                    </a:lnTo>
                    <a:cubicBezTo>
                      <a:pt x="543034" y="142584"/>
                      <a:pt x="427752" y="27303"/>
                      <a:pt x="285169" y="27303"/>
                    </a:cubicBezTo>
                    <a:cubicBezTo>
                      <a:pt x="142585" y="27303"/>
                      <a:pt x="27304" y="142584"/>
                      <a:pt x="27304" y="285169"/>
                    </a:cubicBezTo>
                    <a:lnTo>
                      <a:pt x="27304" y="354944"/>
                    </a:lnTo>
                    <a:lnTo>
                      <a:pt x="0" y="354944"/>
                    </a:lnTo>
                    <a:lnTo>
                      <a:pt x="0" y="285169"/>
                    </a:lnTo>
                    <a:cubicBezTo>
                      <a:pt x="0" y="127416"/>
                      <a:pt x="127416" y="0"/>
                      <a:pt x="285169" y="0"/>
                    </a:cubicBezTo>
                    <a:cubicBezTo>
                      <a:pt x="442921" y="0"/>
                      <a:pt x="570337" y="127416"/>
                      <a:pt x="570337" y="285169"/>
                    </a:cubicBezTo>
                    <a:lnTo>
                      <a:pt x="570337" y="354944"/>
                    </a:lnTo>
                    <a:close/>
                  </a:path>
                </a:pathLst>
              </a:custGeom>
              <a:solidFill>
                <a:srgbClr val="F6EBE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5" name="图形 1">
              <a:extLst>
                <a:ext uri="{FF2B5EF4-FFF2-40B4-BE49-F238E27FC236}">
                  <a16:creationId xmlns:a16="http://schemas.microsoft.com/office/drawing/2014/main" id="{B2D63F53-8B46-42AD-BB94-3273781D45EF}"/>
                </a:ext>
              </a:extLst>
            </p:cNvPr>
            <p:cNvGrpSpPr/>
            <p:nvPr/>
          </p:nvGrpSpPr>
          <p:grpSpPr>
            <a:xfrm>
              <a:off x="20845816" y="3820485"/>
              <a:ext cx="317306" cy="301671"/>
              <a:chOff x="20845816" y="3820485"/>
              <a:chExt cx="317306" cy="301671"/>
            </a:xfrm>
          </p:grpSpPr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C4EB94C9-BD67-4CA9-AB51-FE10F048E4CB}"/>
                  </a:ext>
                </a:extLst>
              </p:cNvPr>
              <p:cNvSpPr/>
              <p:nvPr/>
            </p:nvSpPr>
            <p:spPr>
              <a:xfrm>
                <a:off x="20849930" y="3820485"/>
                <a:ext cx="313192" cy="301671"/>
              </a:xfrm>
              <a:custGeom>
                <a:avLst/>
                <a:gdLst>
                  <a:gd name="connsiteX0" fmla="*/ 303480 w 313192"/>
                  <a:gd name="connsiteY0" fmla="*/ 57896 h 301671"/>
                  <a:gd name="connsiteX1" fmla="*/ 200335 w 313192"/>
                  <a:gd name="connsiteY1" fmla="*/ 256 h 301671"/>
                  <a:gd name="connsiteX2" fmla="*/ 24380 w 313192"/>
                  <a:gd name="connsiteY2" fmla="*/ 167109 h 301671"/>
                  <a:gd name="connsiteX3" fmla="*/ 9212 w 313192"/>
                  <a:gd name="connsiteY3" fmla="*/ 230817 h 301671"/>
                  <a:gd name="connsiteX4" fmla="*/ 45615 w 313192"/>
                  <a:gd name="connsiteY4" fmla="*/ 242952 h 301671"/>
                  <a:gd name="connsiteX5" fmla="*/ 94155 w 313192"/>
                  <a:gd name="connsiteY5" fmla="*/ 273289 h 301671"/>
                  <a:gd name="connsiteX6" fmla="*/ 118425 w 313192"/>
                  <a:gd name="connsiteY6" fmla="*/ 297559 h 301671"/>
                  <a:gd name="connsiteX7" fmla="*/ 157862 w 313192"/>
                  <a:gd name="connsiteY7" fmla="*/ 282390 h 301671"/>
                  <a:gd name="connsiteX8" fmla="*/ 212469 w 313192"/>
                  <a:gd name="connsiteY8" fmla="*/ 288458 h 301671"/>
                  <a:gd name="connsiteX9" fmla="*/ 242806 w 313192"/>
                  <a:gd name="connsiteY9" fmla="*/ 206548 h 301671"/>
                  <a:gd name="connsiteX10" fmla="*/ 297414 w 313192"/>
                  <a:gd name="connsiteY10" fmla="*/ 115536 h 301671"/>
                  <a:gd name="connsiteX11" fmla="*/ 303480 w 313192"/>
                  <a:gd name="connsiteY11" fmla="*/ 57896 h 301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13192" h="301671">
                    <a:moveTo>
                      <a:pt x="303480" y="57896"/>
                    </a:moveTo>
                    <a:cubicBezTo>
                      <a:pt x="276178" y="21491"/>
                      <a:pt x="200335" y="-2778"/>
                      <a:pt x="200335" y="256"/>
                    </a:cubicBezTo>
                    <a:cubicBezTo>
                      <a:pt x="136626" y="48795"/>
                      <a:pt x="72919" y="85199"/>
                      <a:pt x="24380" y="167109"/>
                    </a:cubicBezTo>
                    <a:cubicBezTo>
                      <a:pt x="15278" y="179244"/>
                      <a:pt x="-15059" y="203514"/>
                      <a:pt x="9212" y="230817"/>
                    </a:cubicBezTo>
                    <a:cubicBezTo>
                      <a:pt x="15278" y="236885"/>
                      <a:pt x="30446" y="252053"/>
                      <a:pt x="45615" y="242952"/>
                    </a:cubicBezTo>
                    <a:cubicBezTo>
                      <a:pt x="45615" y="267222"/>
                      <a:pt x="85054" y="285424"/>
                      <a:pt x="94155" y="273289"/>
                    </a:cubicBezTo>
                    <a:cubicBezTo>
                      <a:pt x="94155" y="279357"/>
                      <a:pt x="112357" y="294525"/>
                      <a:pt x="118425" y="297559"/>
                    </a:cubicBezTo>
                    <a:cubicBezTo>
                      <a:pt x="136626" y="300592"/>
                      <a:pt x="148762" y="300592"/>
                      <a:pt x="157862" y="282390"/>
                    </a:cubicBezTo>
                    <a:cubicBezTo>
                      <a:pt x="169998" y="303626"/>
                      <a:pt x="197300" y="309694"/>
                      <a:pt x="212469" y="288458"/>
                    </a:cubicBezTo>
                    <a:cubicBezTo>
                      <a:pt x="233705" y="258121"/>
                      <a:pt x="227637" y="239918"/>
                      <a:pt x="242806" y="206548"/>
                    </a:cubicBezTo>
                    <a:cubicBezTo>
                      <a:pt x="257974" y="176210"/>
                      <a:pt x="279211" y="145873"/>
                      <a:pt x="297414" y="115536"/>
                    </a:cubicBezTo>
                    <a:cubicBezTo>
                      <a:pt x="315616" y="88233"/>
                      <a:pt x="318649" y="79132"/>
                      <a:pt x="303480" y="5789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6A53DF7C-8415-4A73-AF2E-F0AD5C83EA30}"/>
                  </a:ext>
                </a:extLst>
              </p:cNvPr>
              <p:cNvSpPr/>
              <p:nvPr/>
            </p:nvSpPr>
            <p:spPr>
              <a:xfrm>
                <a:off x="20845816" y="3909476"/>
                <a:ext cx="97510" cy="156994"/>
              </a:xfrm>
              <a:custGeom>
                <a:avLst/>
                <a:gdLst>
                  <a:gd name="connsiteX0" fmla="*/ 49728 w 97510"/>
                  <a:gd name="connsiteY0" fmla="*/ 156994 h 156994"/>
                  <a:gd name="connsiteX1" fmla="*/ 7258 w 97510"/>
                  <a:gd name="connsiteY1" fmla="*/ 141826 h 156994"/>
                  <a:gd name="connsiteX2" fmla="*/ 1190 w 97510"/>
                  <a:gd name="connsiteY2" fmla="*/ 114523 h 156994"/>
                  <a:gd name="connsiteX3" fmla="*/ 86133 w 97510"/>
                  <a:gd name="connsiteY3" fmla="*/ 2275 h 156994"/>
                  <a:gd name="connsiteX4" fmla="*/ 95234 w 97510"/>
                  <a:gd name="connsiteY4" fmla="*/ 2275 h 156994"/>
                  <a:gd name="connsiteX5" fmla="*/ 95234 w 97510"/>
                  <a:gd name="connsiteY5" fmla="*/ 11376 h 156994"/>
                  <a:gd name="connsiteX6" fmla="*/ 13325 w 97510"/>
                  <a:gd name="connsiteY6" fmla="*/ 114523 h 156994"/>
                  <a:gd name="connsiteX7" fmla="*/ 16358 w 97510"/>
                  <a:gd name="connsiteY7" fmla="*/ 132725 h 156994"/>
                  <a:gd name="connsiteX8" fmla="*/ 52763 w 97510"/>
                  <a:gd name="connsiteY8" fmla="*/ 144860 h 156994"/>
                  <a:gd name="connsiteX9" fmla="*/ 58831 w 97510"/>
                  <a:gd name="connsiteY9" fmla="*/ 150927 h 156994"/>
                  <a:gd name="connsiteX10" fmla="*/ 49728 w 97510"/>
                  <a:gd name="connsiteY10" fmla="*/ 156994 h 156994"/>
                  <a:gd name="connsiteX11" fmla="*/ 49728 w 97510"/>
                  <a:gd name="connsiteY11" fmla="*/ 156994 h 156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7510" h="156994">
                    <a:moveTo>
                      <a:pt x="49728" y="156994"/>
                    </a:moveTo>
                    <a:cubicBezTo>
                      <a:pt x="40628" y="156994"/>
                      <a:pt x="19391" y="156994"/>
                      <a:pt x="7258" y="141826"/>
                    </a:cubicBezTo>
                    <a:cubicBezTo>
                      <a:pt x="1190" y="135758"/>
                      <a:pt x="-1843" y="126657"/>
                      <a:pt x="1190" y="114523"/>
                    </a:cubicBezTo>
                    <a:cubicBezTo>
                      <a:pt x="10291" y="65983"/>
                      <a:pt x="83100" y="5309"/>
                      <a:pt x="86133" y="2275"/>
                    </a:cubicBezTo>
                    <a:cubicBezTo>
                      <a:pt x="89168" y="-758"/>
                      <a:pt x="92201" y="-758"/>
                      <a:pt x="95234" y="2275"/>
                    </a:cubicBezTo>
                    <a:cubicBezTo>
                      <a:pt x="98269" y="5309"/>
                      <a:pt x="98269" y="8343"/>
                      <a:pt x="95234" y="11376"/>
                    </a:cubicBezTo>
                    <a:cubicBezTo>
                      <a:pt x="95234" y="11376"/>
                      <a:pt x="19391" y="72051"/>
                      <a:pt x="13325" y="114523"/>
                    </a:cubicBezTo>
                    <a:cubicBezTo>
                      <a:pt x="13325" y="123624"/>
                      <a:pt x="13325" y="126657"/>
                      <a:pt x="16358" y="132725"/>
                    </a:cubicBezTo>
                    <a:cubicBezTo>
                      <a:pt x="25459" y="141826"/>
                      <a:pt x="46695" y="144860"/>
                      <a:pt x="52763" y="144860"/>
                    </a:cubicBezTo>
                    <a:cubicBezTo>
                      <a:pt x="55796" y="144860"/>
                      <a:pt x="58831" y="147893"/>
                      <a:pt x="58831" y="150927"/>
                    </a:cubicBezTo>
                    <a:cubicBezTo>
                      <a:pt x="58831" y="153961"/>
                      <a:pt x="55796" y="156994"/>
                      <a:pt x="49728" y="156994"/>
                    </a:cubicBezTo>
                    <a:cubicBezTo>
                      <a:pt x="52763" y="156994"/>
                      <a:pt x="52763" y="156994"/>
                      <a:pt x="49728" y="15699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46D0ACA4-406F-47E8-9E36-1106421C962F}"/>
                  </a:ext>
                </a:extLst>
              </p:cNvPr>
              <p:cNvSpPr/>
              <p:nvPr/>
            </p:nvSpPr>
            <p:spPr>
              <a:xfrm>
                <a:off x="20928916" y="4030066"/>
                <a:ext cx="97079" cy="36404"/>
              </a:xfrm>
              <a:custGeom>
                <a:avLst/>
                <a:gdLst>
                  <a:gd name="connsiteX0" fmla="*/ 91011 w 97079"/>
                  <a:gd name="connsiteY0" fmla="*/ 36405 h 36404"/>
                  <a:gd name="connsiteX1" fmla="*/ 91011 w 97079"/>
                  <a:gd name="connsiteY1" fmla="*/ 36405 h 36404"/>
                  <a:gd name="connsiteX2" fmla="*/ 3033 w 97079"/>
                  <a:gd name="connsiteY2" fmla="*/ 12135 h 36404"/>
                  <a:gd name="connsiteX3" fmla="*/ 0 w 97079"/>
                  <a:gd name="connsiteY3" fmla="*/ 3034 h 36404"/>
                  <a:gd name="connsiteX4" fmla="*/ 9101 w 97079"/>
                  <a:gd name="connsiteY4" fmla="*/ 0 h 36404"/>
                  <a:gd name="connsiteX5" fmla="*/ 91011 w 97079"/>
                  <a:gd name="connsiteY5" fmla="*/ 24270 h 36404"/>
                  <a:gd name="connsiteX6" fmla="*/ 97079 w 97079"/>
                  <a:gd name="connsiteY6" fmla="*/ 30337 h 36404"/>
                  <a:gd name="connsiteX7" fmla="*/ 91011 w 97079"/>
                  <a:gd name="connsiteY7" fmla="*/ 36405 h 36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079" h="36404">
                    <a:moveTo>
                      <a:pt x="91011" y="36405"/>
                    </a:moveTo>
                    <a:cubicBezTo>
                      <a:pt x="91011" y="36405"/>
                      <a:pt x="91011" y="36405"/>
                      <a:pt x="91011" y="36405"/>
                    </a:cubicBezTo>
                    <a:cubicBezTo>
                      <a:pt x="87976" y="36405"/>
                      <a:pt x="21236" y="24270"/>
                      <a:pt x="3033" y="12135"/>
                    </a:cubicBezTo>
                    <a:cubicBezTo>
                      <a:pt x="0" y="9101"/>
                      <a:pt x="0" y="6068"/>
                      <a:pt x="0" y="3034"/>
                    </a:cubicBezTo>
                    <a:cubicBezTo>
                      <a:pt x="3033" y="0"/>
                      <a:pt x="6068" y="0"/>
                      <a:pt x="9101" y="0"/>
                    </a:cubicBezTo>
                    <a:cubicBezTo>
                      <a:pt x="24269" y="9101"/>
                      <a:pt x="72808" y="21236"/>
                      <a:pt x="91011" y="24270"/>
                    </a:cubicBezTo>
                    <a:cubicBezTo>
                      <a:pt x="94044" y="24270"/>
                      <a:pt x="97079" y="27303"/>
                      <a:pt x="97079" y="30337"/>
                    </a:cubicBezTo>
                    <a:cubicBezTo>
                      <a:pt x="97079" y="36405"/>
                      <a:pt x="94044" y="36405"/>
                      <a:pt x="91011" y="3640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E8757BE7-1D1B-43C4-9DF8-FFE3A4D66103}"/>
                </a:ext>
              </a:extLst>
            </p:cNvPr>
            <p:cNvGrpSpPr/>
            <p:nvPr/>
          </p:nvGrpSpPr>
          <p:grpSpPr>
            <a:xfrm>
              <a:off x="23029389" y="3297057"/>
              <a:ext cx="3055681" cy="1910361"/>
              <a:chOff x="23029389" y="3297057"/>
              <a:chExt cx="3055681" cy="1910361"/>
            </a:xfrm>
          </p:grpSpPr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FA0EB16A-7943-46E5-82BB-23F389418400}"/>
                  </a:ext>
                </a:extLst>
              </p:cNvPr>
              <p:cNvSpPr/>
              <p:nvPr/>
            </p:nvSpPr>
            <p:spPr>
              <a:xfrm rot="4278467">
                <a:off x="23079238" y="4496126"/>
                <a:ext cx="982969" cy="121354"/>
              </a:xfrm>
              <a:custGeom>
                <a:avLst/>
                <a:gdLst>
                  <a:gd name="connsiteX0" fmla="*/ -1 w 982969"/>
                  <a:gd name="connsiteY0" fmla="*/ 0 h 121354"/>
                  <a:gd name="connsiteX1" fmla="*/ 982969 w 982969"/>
                  <a:gd name="connsiteY1" fmla="*/ 0 h 121354"/>
                  <a:gd name="connsiteX2" fmla="*/ 982969 w 982969"/>
                  <a:gd name="connsiteY2" fmla="*/ 121354 h 121354"/>
                  <a:gd name="connsiteX3" fmla="*/ -1 w 982969"/>
                  <a:gd name="connsiteY3" fmla="*/ 121354 h 121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969" h="121354">
                    <a:moveTo>
                      <a:pt x="-1" y="0"/>
                    </a:moveTo>
                    <a:lnTo>
                      <a:pt x="982969" y="0"/>
                    </a:lnTo>
                    <a:lnTo>
                      <a:pt x="982969" y="121354"/>
                    </a:lnTo>
                    <a:lnTo>
                      <a:pt x="-1" y="121354"/>
                    </a:lnTo>
                    <a:close/>
                  </a:path>
                </a:pathLst>
              </a:custGeom>
              <a:solidFill>
                <a:srgbClr val="7F95BC"/>
              </a:solidFill>
              <a:ln w="303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FA68C3D9-A4C6-41CF-982D-A5CB336EBA3F}"/>
                  </a:ext>
                </a:extLst>
              </p:cNvPr>
              <p:cNvSpPr/>
              <p:nvPr/>
            </p:nvSpPr>
            <p:spPr>
              <a:xfrm rot="4278467">
                <a:off x="23553361" y="4337106"/>
                <a:ext cx="982969" cy="121354"/>
              </a:xfrm>
              <a:custGeom>
                <a:avLst/>
                <a:gdLst>
                  <a:gd name="connsiteX0" fmla="*/ 0 w 982969"/>
                  <a:gd name="connsiteY0" fmla="*/ 0 h 121354"/>
                  <a:gd name="connsiteX1" fmla="*/ 982970 w 982969"/>
                  <a:gd name="connsiteY1" fmla="*/ 0 h 121354"/>
                  <a:gd name="connsiteX2" fmla="*/ 982970 w 982969"/>
                  <a:gd name="connsiteY2" fmla="*/ 121354 h 121354"/>
                  <a:gd name="connsiteX3" fmla="*/ 0 w 982969"/>
                  <a:gd name="connsiteY3" fmla="*/ 121354 h 121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969" h="121354">
                    <a:moveTo>
                      <a:pt x="0" y="0"/>
                    </a:moveTo>
                    <a:lnTo>
                      <a:pt x="982970" y="0"/>
                    </a:lnTo>
                    <a:lnTo>
                      <a:pt x="982970" y="121354"/>
                    </a:lnTo>
                    <a:lnTo>
                      <a:pt x="0" y="121354"/>
                    </a:lnTo>
                    <a:close/>
                  </a:path>
                </a:pathLst>
              </a:custGeom>
              <a:solidFill>
                <a:srgbClr val="7F95BC"/>
              </a:solidFill>
              <a:ln w="303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C127B3FA-A811-4A4C-A487-53B570BE904C}"/>
                  </a:ext>
                </a:extLst>
              </p:cNvPr>
              <p:cNvSpPr/>
              <p:nvPr/>
            </p:nvSpPr>
            <p:spPr>
              <a:xfrm rot="4278792">
                <a:off x="24025436" y="4177746"/>
                <a:ext cx="982937" cy="121350"/>
              </a:xfrm>
              <a:custGeom>
                <a:avLst/>
                <a:gdLst>
                  <a:gd name="connsiteX0" fmla="*/ 0 w 982937"/>
                  <a:gd name="connsiteY0" fmla="*/ 0 h 121350"/>
                  <a:gd name="connsiteX1" fmla="*/ 982938 w 982937"/>
                  <a:gd name="connsiteY1" fmla="*/ 0 h 121350"/>
                  <a:gd name="connsiteX2" fmla="*/ 982938 w 982937"/>
                  <a:gd name="connsiteY2" fmla="*/ 121350 h 121350"/>
                  <a:gd name="connsiteX3" fmla="*/ 0 w 982937"/>
                  <a:gd name="connsiteY3" fmla="*/ 121350 h 12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937" h="121350">
                    <a:moveTo>
                      <a:pt x="0" y="0"/>
                    </a:moveTo>
                    <a:lnTo>
                      <a:pt x="982938" y="0"/>
                    </a:lnTo>
                    <a:lnTo>
                      <a:pt x="982938" y="121350"/>
                    </a:lnTo>
                    <a:lnTo>
                      <a:pt x="0" y="121350"/>
                    </a:lnTo>
                    <a:close/>
                  </a:path>
                </a:pathLst>
              </a:custGeom>
              <a:solidFill>
                <a:srgbClr val="7F95BC"/>
              </a:solidFill>
              <a:ln w="303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E87E2C76-2898-4978-B764-2B68BEF2783D}"/>
                  </a:ext>
                </a:extLst>
              </p:cNvPr>
              <p:cNvSpPr/>
              <p:nvPr/>
            </p:nvSpPr>
            <p:spPr>
              <a:xfrm rot="4278792">
                <a:off x="24494907" y="4016992"/>
                <a:ext cx="982937" cy="121350"/>
              </a:xfrm>
              <a:custGeom>
                <a:avLst/>
                <a:gdLst>
                  <a:gd name="connsiteX0" fmla="*/ 0 w 982937"/>
                  <a:gd name="connsiteY0" fmla="*/ 0 h 121350"/>
                  <a:gd name="connsiteX1" fmla="*/ 982938 w 982937"/>
                  <a:gd name="connsiteY1" fmla="*/ 0 h 121350"/>
                  <a:gd name="connsiteX2" fmla="*/ 982938 w 982937"/>
                  <a:gd name="connsiteY2" fmla="*/ 121350 h 121350"/>
                  <a:gd name="connsiteX3" fmla="*/ 0 w 982937"/>
                  <a:gd name="connsiteY3" fmla="*/ 121350 h 12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937" h="121350">
                    <a:moveTo>
                      <a:pt x="0" y="0"/>
                    </a:moveTo>
                    <a:lnTo>
                      <a:pt x="982938" y="0"/>
                    </a:lnTo>
                    <a:lnTo>
                      <a:pt x="982938" y="121350"/>
                    </a:lnTo>
                    <a:lnTo>
                      <a:pt x="0" y="121350"/>
                    </a:lnTo>
                    <a:close/>
                  </a:path>
                </a:pathLst>
              </a:custGeom>
              <a:solidFill>
                <a:srgbClr val="7F95BC"/>
              </a:solidFill>
              <a:ln w="303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C36C08E8-BC4A-46A8-92C1-2FEF888355B3}"/>
                  </a:ext>
                </a:extLst>
              </p:cNvPr>
              <p:cNvSpPr/>
              <p:nvPr/>
            </p:nvSpPr>
            <p:spPr>
              <a:xfrm rot="4278467">
                <a:off x="24970002" y="3858447"/>
                <a:ext cx="982969" cy="121354"/>
              </a:xfrm>
              <a:custGeom>
                <a:avLst/>
                <a:gdLst>
                  <a:gd name="connsiteX0" fmla="*/ 1 w 982969"/>
                  <a:gd name="connsiteY0" fmla="*/ 0 h 121354"/>
                  <a:gd name="connsiteX1" fmla="*/ 982971 w 982969"/>
                  <a:gd name="connsiteY1" fmla="*/ 0 h 121354"/>
                  <a:gd name="connsiteX2" fmla="*/ 982971 w 982969"/>
                  <a:gd name="connsiteY2" fmla="*/ 121354 h 121354"/>
                  <a:gd name="connsiteX3" fmla="*/ 1 w 982969"/>
                  <a:gd name="connsiteY3" fmla="*/ 121354 h 121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2969" h="121354">
                    <a:moveTo>
                      <a:pt x="1" y="0"/>
                    </a:moveTo>
                    <a:lnTo>
                      <a:pt x="982971" y="0"/>
                    </a:lnTo>
                    <a:lnTo>
                      <a:pt x="982971" y="121354"/>
                    </a:lnTo>
                    <a:lnTo>
                      <a:pt x="1" y="121354"/>
                    </a:lnTo>
                    <a:close/>
                  </a:path>
                </a:pathLst>
              </a:custGeom>
              <a:solidFill>
                <a:srgbClr val="7F95BC"/>
              </a:solidFill>
              <a:ln w="303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99" name="图形 1">
                <a:extLst>
                  <a:ext uri="{FF2B5EF4-FFF2-40B4-BE49-F238E27FC236}">
                    <a16:creationId xmlns:a16="http://schemas.microsoft.com/office/drawing/2014/main" id="{8255CCC7-B7E1-42F8-904A-7222AED665B0}"/>
                  </a:ext>
                </a:extLst>
              </p:cNvPr>
              <p:cNvGrpSpPr/>
              <p:nvPr/>
            </p:nvGrpSpPr>
            <p:grpSpPr>
              <a:xfrm>
                <a:off x="23029389" y="3297057"/>
                <a:ext cx="2758378" cy="1030585"/>
                <a:chOff x="23029389" y="3297057"/>
                <a:chExt cx="2758378" cy="1030585"/>
              </a:xfrm>
            </p:grpSpPr>
            <p:sp>
              <p:nvSpPr>
                <p:cNvPr id="103" name="任意多边形: 形状 102">
                  <a:extLst>
                    <a:ext uri="{FF2B5EF4-FFF2-40B4-BE49-F238E27FC236}">
                      <a16:creationId xmlns:a16="http://schemas.microsoft.com/office/drawing/2014/main" id="{D7D2F533-C307-4CE8-8638-4E0E057FB4BA}"/>
                    </a:ext>
                  </a:extLst>
                </p:cNvPr>
                <p:cNvSpPr/>
                <p:nvPr/>
              </p:nvSpPr>
              <p:spPr>
                <a:xfrm>
                  <a:off x="23029389" y="3297057"/>
                  <a:ext cx="2758378" cy="1030585"/>
                </a:xfrm>
                <a:custGeom>
                  <a:avLst/>
                  <a:gdLst>
                    <a:gd name="connsiteX0" fmla="*/ 98965 w 2758378"/>
                    <a:gd name="connsiteY0" fmla="*/ 1027279 h 1030585"/>
                    <a:gd name="connsiteX1" fmla="*/ 2707954 w 2758378"/>
                    <a:gd name="connsiteY1" fmla="*/ 144470 h 1030585"/>
                    <a:gd name="connsiteX2" fmla="*/ 2753460 w 2758378"/>
                    <a:gd name="connsiteY2" fmla="*/ 50425 h 1030585"/>
                    <a:gd name="connsiteX3" fmla="*/ 2659414 w 2758378"/>
                    <a:gd name="connsiteY3" fmla="*/ 4919 h 1030585"/>
                    <a:gd name="connsiteX4" fmla="*/ 50425 w 2758378"/>
                    <a:gd name="connsiteY4" fmla="*/ 887728 h 1030585"/>
                    <a:gd name="connsiteX5" fmla="*/ 4919 w 2758378"/>
                    <a:gd name="connsiteY5" fmla="*/ 981773 h 1030585"/>
                    <a:gd name="connsiteX6" fmla="*/ 41324 w 2758378"/>
                    <a:gd name="connsiteY6" fmla="*/ 1024245 h 1030585"/>
                    <a:gd name="connsiteX7" fmla="*/ 98965 w 2758378"/>
                    <a:gd name="connsiteY7" fmla="*/ 1027279 h 10305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758378" h="1030585">
                      <a:moveTo>
                        <a:pt x="98965" y="1027279"/>
                      </a:moveTo>
                      <a:lnTo>
                        <a:pt x="2707954" y="144470"/>
                      </a:lnTo>
                      <a:cubicBezTo>
                        <a:pt x="2747392" y="132335"/>
                        <a:pt x="2768628" y="89863"/>
                        <a:pt x="2753460" y="50425"/>
                      </a:cubicBezTo>
                      <a:cubicBezTo>
                        <a:pt x="2741324" y="10987"/>
                        <a:pt x="2698853" y="-10249"/>
                        <a:pt x="2659414" y="4919"/>
                      </a:cubicBezTo>
                      <a:lnTo>
                        <a:pt x="50425" y="887728"/>
                      </a:lnTo>
                      <a:cubicBezTo>
                        <a:pt x="10987" y="899863"/>
                        <a:pt x="-10249" y="942335"/>
                        <a:pt x="4919" y="981773"/>
                      </a:cubicBezTo>
                      <a:cubicBezTo>
                        <a:pt x="10987" y="999975"/>
                        <a:pt x="26155" y="1015144"/>
                        <a:pt x="41324" y="1024245"/>
                      </a:cubicBezTo>
                      <a:cubicBezTo>
                        <a:pt x="56493" y="1030312"/>
                        <a:pt x="77729" y="1033346"/>
                        <a:pt x="98965" y="102727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4" name="任意多边形: 形状 103">
                  <a:extLst>
                    <a:ext uri="{FF2B5EF4-FFF2-40B4-BE49-F238E27FC236}">
                      <a16:creationId xmlns:a16="http://schemas.microsoft.com/office/drawing/2014/main" id="{4048888C-7B54-44B9-BE4D-FDEB8AD04D6E}"/>
                    </a:ext>
                  </a:extLst>
                </p:cNvPr>
                <p:cNvSpPr/>
                <p:nvPr/>
              </p:nvSpPr>
              <p:spPr>
                <a:xfrm>
                  <a:off x="23031275" y="3347482"/>
                  <a:ext cx="2756492" cy="980010"/>
                </a:xfrm>
                <a:custGeom>
                  <a:avLst/>
                  <a:gdLst>
                    <a:gd name="connsiteX0" fmla="*/ 97079 w 2756492"/>
                    <a:gd name="connsiteY0" fmla="*/ 976854 h 980010"/>
                    <a:gd name="connsiteX1" fmla="*/ 2706068 w 2756492"/>
                    <a:gd name="connsiteY1" fmla="*/ 94045 h 980010"/>
                    <a:gd name="connsiteX2" fmla="*/ 2751574 w 2756492"/>
                    <a:gd name="connsiteY2" fmla="*/ 0 h 980010"/>
                    <a:gd name="connsiteX3" fmla="*/ 0 w 2756492"/>
                    <a:gd name="connsiteY3" fmla="*/ 928315 h 980010"/>
                    <a:gd name="connsiteX4" fmla="*/ 36405 w 2756492"/>
                    <a:gd name="connsiteY4" fmla="*/ 970786 h 980010"/>
                    <a:gd name="connsiteX5" fmla="*/ 97079 w 2756492"/>
                    <a:gd name="connsiteY5" fmla="*/ 976854 h 980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56492" h="980010">
                      <a:moveTo>
                        <a:pt x="97079" y="976854"/>
                      </a:moveTo>
                      <a:lnTo>
                        <a:pt x="2706068" y="94045"/>
                      </a:lnTo>
                      <a:cubicBezTo>
                        <a:pt x="2745506" y="81910"/>
                        <a:pt x="2766742" y="39438"/>
                        <a:pt x="2751574" y="0"/>
                      </a:cubicBezTo>
                      <a:lnTo>
                        <a:pt x="0" y="928315"/>
                      </a:lnTo>
                      <a:cubicBezTo>
                        <a:pt x="6068" y="946517"/>
                        <a:pt x="21236" y="961685"/>
                        <a:pt x="36405" y="970786"/>
                      </a:cubicBezTo>
                      <a:cubicBezTo>
                        <a:pt x="54606" y="979888"/>
                        <a:pt x="75843" y="982921"/>
                        <a:pt x="97079" y="976854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00" name="图形 1">
                <a:extLst>
                  <a:ext uri="{FF2B5EF4-FFF2-40B4-BE49-F238E27FC236}">
                    <a16:creationId xmlns:a16="http://schemas.microsoft.com/office/drawing/2014/main" id="{E0FBAA11-0133-4E23-A46C-744BD2329596}"/>
                  </a:ext>
                </a:extLst>
              </p:cNvPr>
              <p:cNvGrpSpPr/>
              <p:nvPr/>
            </p:nvGrpSpPr>
            <p:grpSpPr>
              <a:xfrm>
                <a:off x="23326694" y="4176833"/>
                <a:ext cx="2758377" cy="1030586"/>
                <a:chOff x="23326694" y="4176833"/>
                <a:chExt cx="2758377" cy="1030586"/>
              </a:xfrm>
            </p:grpSpPr>
            <p:sp>
              <p:nvSpPr>
                <p:cNvPr id="101" name="任意多边形: 形状 100">
                  <a:extLst>
                    <a:ext uri="{FF2B5EF4-FFF2-40B4-BE49-F238E27FC236}">
                      <a16:creationId xmlns:a16="http://schemas.microsoft.com/office/drawing/2014/main" id="{BFCAFFCD-EE93-4AFE-ACB0-CD5C88835E45}"/>
                    </a:ext>
                  </a:extLst>
                </p:cNvPr>
                <p:cNvSpPr/>
                <p:nvPr/>
              </p:nvSpPr>
              <p:spPr>
                <a:xfrm>
                  <a:off x="23326694" y="4176833"/>
                  <a:ext cx="2758377" cy="1030586"/>
                </a:xfrm>
                <a:custGeom>
                  <a:avLst/>
                  <a:gdLst>
                    <a:gd name="connsiteX0" fmla="*/ 98964 w 2758377"/>
                    <a:gd name="connsiteY0" fmla="*/ 1027279 h 1030586"/>
                    <a:gd name="connsiteX1" fmla="*/ 2707952 w 2758377"/>
                    <a:gd name="connsiteY1" fmla="*/ 144470 h 1030586"/>
                    <a:gd name="connsiteX2" fmla="*/ 2753458 w 2758377"/>
                    <a:gd name="connsiteY2" fmla="*/ 50425 h 1030586"/>
                    <a:gd name="connsiteX3" fmla="*/ 2659414 w 2758377"/>
                    <a:gd name="connsiteY3" fmla="*/ 4919 h 1030586"/>
                    <a:gd name="connsiteX4" fmla="*/ 50425 w 2758377"/>
                    <a:gd name="connsiteY4" fmla="*/ 887728 h 1030586"/>
                    <a:gd name="connsiteX5" fmla="*/ 4919 w 2758377"/>
                    <a:gd name="connsiteY5" fmla="*/ 981773 h 1030586"/>
                    <a:gd name="connsiteX6" fmla="*/ 41322 w 2758377"/>
                    <a:gd name="connsiteY6" fmla="*/ 1024245 h 1030586"/>
                    <a:gd name="connsiteX7" fmla="*/ 98964 w 2758377"/>
                    <a:gd name="connsiteY7" fmla="*/ 1027279 h 10305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758377" h="1030586">
                      <a:moveTo>
                        <a:pt x="98964" y="1027279"/>
                      </a:moveTo>
                      <a:lnTo>
                        <a:pt x="2707952" y="144470"/>
                      </a:lnTo>
                      <a:cubicBezTo>
                        <a:pt x="2747390" y="132335"/>
                        <a:pt x="2768627" y="89863"/>
                        <a:pt x="2753458" y="50425"/>
                      </a:cubicBezTo>
                      <a:cubicBezTo>
                        <a:pt x="2741323" y="10987"/>
                        <a:pt x="2698852" y="-10249"/>
                        <a:pt x="2659414" y="4919"/>
                      </a:cubicBezTo>
                      <a:lnTo>
                        <a:pt x="50425" y="887728"/>
                      </a:lnTo>
                      <a:cubicBezTo>
                        <a:pt x="10985" y="899863"/>
                        <a:pt x="-10249" y="942335"/>
                        <a:pt x="4919" y="981773"/>
                      </a:cubicBezTo>
                      <a:cubicBezTo>
                        <a:pt x="10985" y="999975"/>
                        <a:pt x="26154" y="1015144"/>
                        <a:pt x="41322" y="1024245"/>
                      </a:cubicBezTo>
                      <a:cubicBezTo>
                        <a:pt x="59526" y="1030313"/>
                        <a:pt x="77727" y="1033346"/>
                        <a:pt x="98964" y="102727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2" name="任意多边形: 形状 101">
                  <a:extLst>
                    <a:ext uri="{FF2B5EF4-FFF2-40B4-BE49-F238E27FC236}">
                      <a16:creationId xmlns:a16="http://schemas.microsoft.com/office/drawing/2014/main" id="{B43638F7-85AC-43A9-99EA-48ED0A5AA7A9}"/>
                    </a:ext>
                  </a:extLst>
                </p:cNvPr>
                <p:cNvSpPr/>
                <p:nvPr/>
              </p:nvSpPr>
              <p:spPr>
                <a:xfrm>
                  <a:off x="23328578" y="4227257"/>
                  <a:ext cx="2756492" cy="980161"/>
                </a:xfrm>
                <a:custGeom>
                  <a:avLst/>
                  <a:gdLst>
                    <a:gd name="connsiteX0" fmla="*/ 97079 w 2756492"/>
                    <a:gd name="connsiteY0" fmla="*/ 976854 h 980161"/>
                    <a:gd name="connsiteX1" fmla="*/ 2706068 w 2756492"/>
                    <a:gd name="connsiteY1" fmla="*/ 94045 h 980161"/>
                    <a:gd name="connsiteX2" fmla="*/ 2751574 w 2756492"/>
                    <a:gd name="connsiteY2" fmla="*/ 0 h 980161"/>
                    <a:gd name="connsiteX3" fmla="*/ 0 w 2756492"/>
                    <a:gd name="connsiteY3" fmla="*/ 931348 h 980161"/>
                    <a:gd name="connsiteX4" fmla="*/ 36405 w 2756492"/>
                    <a:gd name="connsiteY4" fmla="*/ 973820 h 980161"/>
                    <a:gd name="connsiteX5" fmla="*/ 97079 w 2756492"/>
                    <a:gd name="connsiteY5" fmla="*/ 976854 h 980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56492" h="980161">
                      <a:moveTo>
                        <a:pt x="97079" y="976854"/>
                      </a:moveTo>
                      <a:lnTo>
                        <a:pt x="2706068" y="94045"/>
                      </a:lnTo>
                      <a:cubicBezTo>
                        <a:pt x="2745506" y="81910"/>
                        <a:pt x="2766742" y="39438"/>
                        <a:pt x="2751574" y="0"/>
                      </a:cubicBezTo>
                      <a:lnTo>
                        <a:pt x="0" y="931348"/>
                      </a:lnTo>
                      <a:cubicBezTo>
                        <a:pt x="6068" y="949551"/>
                        <a:pt x="21236" y="964719"/>
                        <a:pt x="36405" y="973820"/>
                      </a:cubicBezTo>
                      <a:cubicBezTo>
                        <a:pt x="57641" y="979888"/>
                        <a:pt x="75843" y="982921"/>
                        <a:pt x="97079" y="976854"/>
                      </a:cubicBezTo>
                      <a:close/>
                    </a:path>
                  </a:pathLst>
                </a:custGeom>
                <a:solidFill>
                  <a:srgbClr val="9DB3D1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21ADC5D4-251A-4D75-A4FC-F3A946F6EBA5}"/>
                </a:ext>
              </a:extLst>
            </p:cNvPr>
            <p:cNvSpPr/>
            <p:nvPr/>
          </p:nvSpPr>
          <p:spPr>
            <a:xfrm>
              <a:off x="22910395" y="3153325"/>
              <a:ext cx="776160" cy="910112"/>
            </a:xfrm>
            <a:custGeom>
              <a:avLst/>
              <a:gdLst>
                <a:gd name="connsiteX0" fmla="*/ 354476 w 776160"/>
                <a:gd name="connsiteY0" fmla="*/ 24270 h 910112"/>
                <a:gd name="connsiteX1" fmla="*/ 272566 w 776160"/>
                <a:gd name="connsiteY1" fmla="*/ 606742 h 910112"/>
                <a:gd name="connsiteX2" fmla="*/ 776161 w 776160"/>
                <a:gd name="connsiteY2" fmla="*/ 770562 h 910112"/>
                <a:gd name="connsiteX3" fmla="*/ 694252 w 776160"/>
                <a:gd name="connsiteY3" fmla="*/ 910113 h 910112"/>
                <a:gd name="connsiteX4" fmla="*/ 38970 w 776160"/>
                <a:gd name="connsiteY4" fmla="*/ 749326 h 910112"/>
                <a:gd name="connsiteX5" fmla="*/ 63239 w 776160"/>
                <a:gd name="connsiteY5" fmla="*/ 0 h 910112"/>
                <a:gd name="connsiteX6" fmla="*/ 354476 w 776160"/>
                <a:gd name="connsiteY6" fmla="*/ 24270 h 910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6160" h="910112">
                  <a:moveTo>
                    <a:pt x="354476" y="24270"/>
                  </a:moveTo>
                  <a:lnTo>
                    <a:pt x="272566" y="606742"/>
                  </a:lnTo>
                  <a:lnTo>
                    <a:pt x="776161" y="770562"/>
                  </a:lnTo>
                  <a:lnTo>
                    <a:pt x="694252" y="910113"/>
                  </a:lnTo>
                  <a:cubicBezTo>
                    <a:pt x="694252" y="910113"/>
                    <a:pt x="139082" y="828202"/>
                    <a:pt x="38970" y="749326"/>
                  </a:cubicBezTo>
                  <a:cubicBezTo>
                    <a:pt x="-61142" y="670450"/>
                    <a:pt x="63239" y="0"/>
                    <a:pt x="63239" y="0"/>
                  </a:cubicBezTo>
                  <a:lnTo>
                    <a:pt x="354476" y="24270"/>
                  </a:ln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0FED147E-F7C2-4FEA-9645-F55F714A4065}"/>
                </a:ext>
              </a:extLst>
            </p:cNvPr>
            <p:cNvSpPr/>
            <p:nvPr/>
          </p:nvSpPr>
          <p:spPr>
            <a:xfrm>
              <a:off x="23125320" y="3147257"/>
              <a:ext cx="136516" cy="637078"/>
            </a:xfrm>
            <a:custGeom>
              <a:avLst/>
              <a:gdLst>
                <a:gd name="connsiteX0" fmla="*/ 6068 w 136516"/>
                <a:gd name="connsiteY0" fmla="*/ 637079 h 637078"/>
                <a:gd name="connsiteX1" fmla="*/ 0 w 136516"/>
                <a:gd name="connsiteY1" fmla="*/ 631011 h 637078"/>
                <a:gd name="connsiteX2" fmla="*/ 6068 w 136516"/>
                <a:gd name="connsiteY2" fmla="*/ 624944 h 637078"/>
                <a:gd name="connsiteX3" fmla="*/ 51573 w 136516"/>
                <a:gd name="connsiteY3" fmla="*/ 609775 h 637078"/>
                <a:gd name="connsiteX4" fmla="*/ 124383 w 136516"/>
                <a:gd name="connsiteY4" fmla="*/ 6067 h 637078"/>
                <a:gd name="connsiteX5" fmla="*/ 130451 w 136516"/>
                <a:gd name="connsiteY5" fmla="*/ 0 h 637078"/>
                <a:gd name="connsiteX6" fmla="*/ 136517 w 136516"/>
                <a:gd name="connsiteY6" fmla="*/ 6067 h 637078"/>
                <a:gd name="connsiteX7" fmla="*/ 63709 w 136516"/>
                <a:gd name="connsiteY7" fmla="*/ 612809 h 637078"/>
                <a:gd name="connsiteX8" fmla="*/ 60674 w 136516"/>
                <a:gd name="connsiteY8" fmla="*/ 615843 h 637078"/>
                <a:gd name="connsiteX9" fmla="*/ 6068 w 136516"/>
                <a:gd name="connsiteY9" fmla="*/ 637079 h 637078"/>
                <a:gd name="connsiteX10" fmla="*/ 6068 w 136516"/>
                <a:gd name="connsiteY10" fmla="*/ 637079 h 637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6516" h="637078">
                  <a:moveTo>
                    <a:pt x="6068" y="637079"/>
                  </a:moveTo>
                  <a:cubicBezTo>
                    <a:pt x="3035" y="637079"/>
                    <a:pt x="0" y="634045"/>
                    <a:pt x="0" y="631011"/>
                  </a:cubicBezTo>
                  <a:cubicBezTo>
                    <a:pt x="0" y="627978"/>
                    <a:pt x="3035" y="624944"/>
                    <a:pt x="6068" y="624944"/>
                  </a:cubicBezTo>
                  <a:cubicBezTo>
                    <a:pt x="21236" y="621910"/>
                    <a:pt x="42473" y="612809"/>
                    <a:pt x="51573" y="609775"/>
                  </a:cubicBezTo>
                  <a:cubicBezTo>
                    <a:pt x="69777" y="497528"/>
                    <a:pt x="121348" y="9101"/>
                    <a:pt x="124383" y="6067"/>
                  </a:cubicBezTo>
                  <a:cubicBezTo>
                    <a:pt x="124383" y="3034"/>
                    <a:pt x="127416" y="0"/>
                    <a:pt x="130451" y="0"/>
                  </a:cubicBezTo>
                  <a:cubicBezTo>
                    <a:pt x="133484" y="0"/>
                    <a:pt x="136517" y="3034"/>
                    <a:pt x="136517" y="6067"/>
                  </a:cubicBezTo>
                  <a:cubicBezTo>
                    <a:pt x="136517" y="12135"/>
                    <a:pt x="81910" y="506629"/>
                    <a:pt x="63709" y="612809"/>
                  </a:cubicBezTo>
                  <a:cubicBezTo>
                    <a:pt x="63709" y="615843"/>
                    <a:pt x="63709" y="615843"/>
                    <a:pt x="60674" y="615843"/>
                  </a:cubicBezTo>
                  <a:cubicBezTo>
                    <a:pt x="57641" y="618876"/>
                    <a:pt x="27304" y="634045"/>
                    <a:pt x="6068" y="637079"/>
                  </a:cubicBezTo>
                  <a:cubicBezTo>
                    <a:pt x="6068" y="637079"/>
                    <a:pt x="6068" y="637079"/>
                    <a:pt x="6068" y="637079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CAA86E4B-CE40-4909-8337-FD3405599FA8}"/>
                </a:ext>
              </a:extLst>
            </p:cNvPr>
            <p:cNvSpPr/>
            <p:nvPr/>
          </p:nvSpPr>
          <p:spPr>
            <a:xfrm>
              <a:off x="22915995" y="2713147"/>
              <a:ext cx="420752" cy="582392"/>
            </a:xfrm>
            <a:custGeom>
              <a:avLst/>
              <a:gdLst>
                <a:gd name="connsiteX0" fmla="*/ 0 w 420752"/>
                <a:gd name="connsiteY0" fmla="*/ 528155 h 582392"/>
                <a:gd name="connsiteX1" fmla="*/ 279102 w 420752"/>
                <a:gd name="connsiteY1" fmla="*/ 290 h 582392"/>
                <a:gd name="connsiteX2" fmla="*/ 418651 w 420752"/>
                <a:gd name="connsiteY2" fmla="*/ 570627 h 582392"/>
                <a:gd name="connsiteX3" fmla="*/ 0 w 420752"/>
                <a:gd name="connsiteY3" fmla="*/ 528155 h 582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0752" h="582392">
                  <a:moveTo>
                    <a:pt x="0" y="528155"/>
                  </a:moveTo>
                  <a:cubicBezTo>
                    <a:pt x="0" y="528155"/>
                    <a:pt x="75843" y="15458"/>
                    <a:pt x="279102" y="290"/>
                  </a:cubicBezTo>
                  <a:cubicBezTo>
                    <a:pt x="448988" y="-14879"/>
                    <a:pt x="418651" y="570627"/>
                    <a:pt x="418651" y="570627"/>
                  </a:cubicBezTo>
                  <a:cubicBezTo>
                    <a:pt x="418651" y="570627"/>
                    <a:pt x="194156" y="616132"/>
                    <a:pt x="0" y="528155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02A741C2-9F9E-4DEE-A923-34BAAA13A032}"/>
                </a:ext>
              </a:extLst>
            </p:cNvPr>
            <p:cNvSpPr/>
            <p:nvPr/>
          </p:nvSpPr>
          <p:spPr>
            <a:xfrm>
              <a:off x="23190805" y="2709147"/>
              <a:ext cx="152941" cy="592829"/>
            </a:xfrm>
            <a:custGeom>
              <a:avLst/>
              <a:gdLst>
                <a:gd name="connsiteX0" fmla="*/ 28560 w 152941"/>
                <a:gd name="connsiteY0" fmla="*/ 592830 h 592829"/>
                <a:gd name="connsiteX1" fmla="*/ 10357 w 152941"/>
                <a:gd name="connsiteY1" fmla="*/ 592830 h 592829"/>
                <a:gd name="connsiteX2" fmla="*/ 4291 w 152941"/>
                <a:gd name="connsiteY2" fmla="*/ 586762 h 592829"/>
                <a:gd name="connsiteX3" fmla="*/ 10357 w 152941"/>
                <a:gd name="connsiteY3" fmla="*/ 580695 h 592829"/>
                <a:gd name="connsiteX4" fmla="*/ 140808 w 152941"/>
                <a:gd name="connsiteY4" fmla="*/ 568560 h 592829"/>
                <a:gd name="connsiteX5" fmla="*/ 125639 w 152941"/>
                <a:gd name="connsiteY5" fmla="*/ 216650 h 592829"/>
                <a:gd name="connsiteX6" fmla="*/ 4291 w 152941"/>
                <a:gd name="connsiteY6" fmla="*/ 10358 h 592829"/>
                <a:gd name="connsiteX7" fmla="*/ 1256 w 152941"/>
                <a:gd name="connsiteY7" fmla="*/ 4290 h 592829"/>
                <a:gd name="connsiteX8" fmla="*/ 7324 w 152941"/>
                <a:gd name="connsiteY8" fmla="*/ 1257 h 592829"/>
                <a:gd name="connsiteX9" fmla="*/ 137773 w 152941"/>
                <a:gd name="connsiteY9" fmla="*/ 216650 h 592829"/>
                <a:gd name="connsiteX10" fmla="*/ 152942 w 152941"/>
                <a:gd name="connsiteY10" fmla="*/ 574627 h 592829"/>
                <a:gd name="connsiteX11" fmla="*/ 152942 w 152941"/>
                <a:gd name="connsiteY11" fmla="*/ 577661 h 592829"/>
                <a:gd name="connsiteX12" fmla="*/ 149909 w 152941"/>
                <a:gd name="connsiteY12" fmla="*/ 577661 h 592829"/>
                <a:gd name="connsiteX13" fmla="*/ 28560 w 152941"/>
                <a:gd name="connsiteY13" fmla="*/ 592830 h 592829"/>
                <a:gd name="connsiteX14" fmla="*/ 143841 w 152941"/>
                <a:gd name="connsiteY14" fmla="*/ 574627 h 592829"/>
                <a:gd name="connsiteX15" fmla="*/ 143841 w 152941"/>
                <a:gd name="connsiteY15" fmla="*/ 574627 h 592829"/>
                <a:gd name="connsiteX16" fmla="*/ 143841 w 152941"/>
                <a:gd name="connsiteY16" fmla="*/ 574627 h 592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2941" h="592829">
                  <a:moveTo>
                    <a:pt x="28560" y="592830"/>
                  </a:moveTo>
                  <a:cubicBezTo>
                    <a:pt x="22493" y="592830"/>
                    <a:pt x="16425" y="592830"/>
                    <a:pt x="10357" y="592830"/>
                  </a:cubicBezTo>
                  <a:cubicBezTo>
                    <a:pt x="7324" y="592830"/>
                    <a:pt x="4291" y="589796"/>
                    <a:pt x="4291" y="586762"/>
                  </a:cubicBezTo>
                  <a:cubicBezTo>
                    <a:pt x="4291" y="583729"/>
                    <a:pt x="7324" y="580695"/>
                    <a:pt x="10357" y="580695"/>
                  </a:cubicBezTo>
                  <a:cubicBezTo>
                    <a:pt x="64965" y="583729"/>
                    <a:pt x="122605" y="571594"/>
                    <a:pt x="140808" y="568560"/>
                  </a:cubicBezTo>
                  <a:cubicBezTo>
                    <a:pt x="140808" y="541257"/>
                    <a:pt x="140808" y="380470"/>
                    <a:pt x="125639" y="216650"/>
                  </a:cubicBezTo>
                  <a:cubicBezTo>
                    <a:pt x="110471" y="40695"/>
                    <a:pt x="4291" y="10358"/>
                    <a:pt x="4291" y="10358"/>
                  </a:cubicBezTo>
                  <a:cubicBezTo>
                    <a:pt x="1256" y="10358"/>
                    <a:pt x="-1777" y="7324"/>
                    <a:pt x="1256" y="4290"/>
                  </a:cubicBezTo>
                  <a:cubicBezTo>
                    <a:pt x="1256" y="1257"/>
                    <a:pt x="4291" y="-1777"/>
                    <a:pt x="7324" y="1257"/>
                  </a:cubicBezTo>
                  <a:cubicBezTo>
                    <a:pt x="13392" y="1257"/>
                    <a:pt x="119572" y="34627"/>
                    <a:pt x="137773" y="216650"/>
                  </a:cubicBezTo>
                  <a:cubicBezTo>
                    <a:pt x="152942" y="398672"/>
                    <a:pt x="152942" y="574627"/>
                    <a:pt x="152942" y="574627"/>
                  </a:cubicBezTo>
                  <a:lnTo>
                    <a:pt x="152942" y="577661"/>
                  </a:lnTo>
                  <a:lnTo>
                    <a:pt x="149909" y="577661"/>
                  </a:lnTo>
                  <a:cubicBezTo>
                    <a:pt x="143841" y="580695"/>
                    <a:pt x="86200" y="592830"/>
                    <a:pt x="28560" y="592830"/>
                  </a:cubicBezTo>
                  <a:close/>
                  <a:moveTo>
                    <a:pt x="143841" y="574627"/>
                  </a:moveTo>
                  <a:lnTo>
                    <a:pt x="143841" y="574627"/>
                  </a:lnTo>
                  <a:lnTo>
                    <a:pt x="143841" y="574627"/>
                  </a:ln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1" name="图形 1">
              <a:extLst>
                <a:ext uri="{FF2B5EF4-FFF2-40B4-BE49-F238E27FC236}">
                  <a16:creationId xmlns:a16="http://schemas.microsoft.com/office/drawing/2014/main" id="{9A0D2792-8276-4B3E-B426-24AF73E69081}"/>
                </a:ext>
              </a:extLst>
            </p:cNvPr>
            <p:cNvGrpSpPr/>
            <p:nvPr/>
          </p:nvGrpSpPr>
          <p:grpSpPr>
            <a:xfrm>
              <a:off x="23515521" y="3896419"/>
              <a:ext cx="348507" cy="279337"/>
              <a:chOff x="23515521" y="3896419"/>
              <a:chExt cx="348507" cy="279337"/>
            </a:xfrm>
          </p:grpSpPr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3035CFDC-60CC-4291-9CEC-ADA047540C8A}"/>
                  </a:ext>
                </a:extLst>
              </p:cNvPr>
              <p:cNvSpPr/>
              <p:nvPr/>
            </p:nvSpPr>
            <p:spPr>
              <a:xfrm>
                <a:off x="23515521" y="3896419"/>
                <a:ext cx="339578" cy="279337"/>
              </a:xfrm>
              <a:custGeom>
                <a:avLst/>
                <a:gdLst>
                  <a:gd name="connsiteX0" fmla="*/ 19350 w 339578"/>
                  <a:gd name="connsiteY0" fmla="*/ 130614 h 279337"/>
                  <a:gd name="connsiteX1" fmla="*/ 98227 w 339578"/>
                  <a:gd name="connsiteY1" fmla="*/ 203423 h 279337"/>
                  <a:gd name="connsiteX2" fmla="*/ 149800 w 339578"/>
                  <a:gd name="connsiteY2" fmla="*/ 273198 h 279337"/>
                  <a:gd name="connsiteX3" fmla="*/ 201372 w 339578"/>
                  <a:gd name="connsiteY3" fmla="*/ 251962 h 279337"/>
                  <a:gd name="connsiteX4" fmla="*/ 243845 w 339578"/>
                  <a:gd name="connsiteY4" fmla="*/ 254996 h 279337"/>
                  <a:gd name="connsiteX5" fmla="*/ 262046 w 339578"/>
                  <a:gd name="connsiteY5" fmla="*/ 224659 h 279337"/>
                  <a:gd name="connsiteX6" fmla="*/ 301486 w 339578"/>
                  <a:gd name="connsiteY6" fmla="*/ 182187 h 279337"/>
                  <a:gd name="connsiteX7" fmla="*/ 334856 w 339578"/>
                  <a:gd name="connsiteY7" fmla="*/ 160951 h 279337"/>
                  <a:gd name="connsiteX8" fmla="*/ 301486 w 339578"/>
                  <a:gd name="connsiteY8" fmla="*/ 103310 h 279337"/>
                  <a:gd name="connsiteX9" fmla="*/ 83059 w 339578"/>
                  <a:gd name="connsiteY9" fmla="*/ 164 h 279337"/>
                  <a:gd name="connsiteX10" fmla="*/ 4181 w 339578"/>
                  <a:gd name="connsiteY10" fmla="*/ 79041 h 279337"/>
                  <a:gd name="connsiteX11" fmla="*/ 19350 w 339578"/>
                  <a:gd name="connsiteY11" fmla="*/ 130614 h 279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9578" h="279337">
                    <a:moveTo>
                      <a:pt x="19350" y="130614"/>
                    </a:moveTo>
                    <a:cubicBezTo>
                      <a:pt x="43621" y="154883"/>
                      <a:pt x="73958" y="176119"/>
                      <a:pt x="98227" y="203423"/>
                    </a:cubicBezTo>
                    <a:cubicBezTo>
                      <a:pt x="122496" y="230726"/>
                      <a:pt x="122496" y="251962"/>
                      <a:pt x="149800" y="273198"/>
                    </a:cubicBezTo>
                    <a:cubicBezTo>
                      <a:pt x="171035" y="288367"/>
                      <a:pt x="195306" y="273198"/>
                      <a:pt x="201372" y="251962"/>
                    </a:cubicBezTo>
                    <a:cubicBezTo>
                      <a:pt x="216541" y="267131"/>
                      <a:pt x="228676" y="264097"/>
                      <a:pt x="243845" y="254996"/>
                    </a:cubicBezTo>
                    <a:cubicBezTo>
                      <a:pt x="249912" y="251962"/>
                      <a:pt x="262046" y="233760"/>
                      <a:pt x="262046" y="224659"/>
                    </a:cubicBezTo>
                    <a:cubicBezTo>
                      <a:pt x="277215" y="233760"/>
                      <a:pt x="310587" y="206456"/>
                      <a:pt x="301486" y="182187"/>
                    </a:cubicBezTo>
                    <a:cubicBezTo>
                      <a:pt x="319687" y="188254"/>
                      <a:pt x="328788" y="170052"/>
                      <a:pt x="334856" y="160951"/>
                    </a:cubicBezTo>
                    <a:cubicBezTo>
                      <a:pt x="353057" y="130614"/>
                      <a:pt x="313620" y="115445"/>
                      <a:pt x="301486" y="103310"/>
                    </a:cubicBezTo>
                    <a:cubicBezTo>
                      <a:pt x="231709" y="36569"/>
                      <a:pt x="158901" y="24434"/>
                      <a:pt x="83059" y="164"/>
                    </a:cubicBezTo>
                    <a:cubicBezTo>
                      <a:pt x="83059" y="-2870"/>
                      <a:pt x="16317" y="36569"/>
                      <a:pt x="4181" y="79041"/>
                    </a:cubicBezTo>
                    <a:cubicBezTo>
                      <a:pt x="-4920" y="106344"/>
                      <a:pt x="1148" y="112411"/>
                      <a:pt x="19350" y="13061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3B184181-BC20-48C7-A136-D42404AEB3FB}"/>
                  </a:ext>
                </a:extLst>
              </p:cNvPr>
              <p:cNvSpPr/>
              <p:nvPr/>
            </p:nvSpPr>
            <p:spPr>
              <a:xfrm>
                <a:off x="23735096" y="3948156"/>
                <a:ext cx="128932" cy="136516"/>
              </a:xfrm>
              <a:custGeom>
                <a:avLst/>
                <a:gdLst>
                  <a:gd name="connsiteX0" fmla="*/ 81910 w 128932"/>
                  <a:gd name="connsiteY0" fmla="*/ 136517 h 136516"/>
                  <a:gd name="connsiteX1" fmla="*/ 75843 w 128932"/>
                  <a:gd name="connsiteY1" fmla="*/ 133483 h 136516"/>
                  <a:gd name="connsiteX2" fmla="*/ 78876 w 128932"/>
                  <a:gd name="connsiteY2" fmla="*/ 127416 h 136516"/>
                  <a:gd name="connsiteX3" fmla="*/ 112248 w 128932"/>
                  <a:gd name="connsiteY3" fmla="*/ 106180 h 136516"/>
                  <a:gd name="connsiteX4" fmla="*/ 112248 w 128932"/>
                  <a:gd name="connsiteY4" fmla="*/ 87978 h 136516"/>
                  <a:gd name="connsiteX5" fmla="*/ 3033 w 128932"/>
                  <a:gd name="connsiteY5" fmla="*/ 12135 h 136516"/>
                  <a:gd name="connsiteX6" fmla="*/ 0 w 128932"/>
                  <a:gd name="connsiteY6" fmla="*/ 3034 h 136516"/>
                  <a:gd name="connsiteX7" fmla="*/ 9101 w 128932"/>
                  <a:gd name="connsiteY7" fmla="*/ 0 h 136516"/>
                  <a:gd name="connsiteX8" fmla="*/ 124381 w 128932"/>
                  <a:gd name="connsiteY8" fmla="*/ 81910 h 136516"/>
                  <a:gd name="connsiteX9" fmla="*/ 124381 w 128932"/>
                  <a:gd name="connsiteY9" fmla="*/ 109213 h 136516"/>
                  <a:gd name="connsiteX10" fmla="*/ 81910 w 128932"/>
                  <a:gd name="connsiteY10" fmla="*/ 136517 h 136516"/>
                  <a:gd name="connsiteX11" fmla="*/ 81910 w 128932"/>
                  <a:gd name="connsiteY11" fmla="*/ 136517 h 136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8932" h="136516">
                    <a:moveTo>
                      <a:pt x="81910" y="136517"/>
                    </a:moveTo>
                    <a:cubicBezTo>
                      <a:pt x="78876" y="136517"/>
                      <a:pt x="75843" y="133483"/>
                      <a:pt x="75843" y="133483"/>
                    </a:cubicBezTo>
                    <a:cubicBezTo>
                      <a:pt x="75843" y="130450"/>
                      <a:pt x="75843" y="127416"/>
                      <a:pt x="78876" y="127416"/>
                    </a:cubicBezTo>
                    <a:cubicBezTo>
                      <a:pt x="84943" y="124382"/>
                      <a:pt x="106180" y="118315"/>
                      <a:pt x="112248" y="106180"/>
                    </a:cubicBezTo>
                    <a:cubicBezTo>
                      <a:pt x="115281" y="100112"/>
                      <a:pt x="115281" y="94045"/>
                      <a:pt x="112248" y="87978"/>
                    </a:cubicBezTo>
                    <a:cubicBezTo>
                      <a:pt x="94044" y="48539"/>
                      <a:pt x="6068" y="12135"/>
                      <a:pt x="3033" y="12135"/>
                    </a:cubicBezTo>
                    <a:cubicBezTo>
                      <a:pt x="0" y="12135"/>
                      <a:pt x="0" y="6067"/>
                      <a:pt x="0" y="3034"/>
                    </a:cubicBezTo>
                    <a:cubicBezTo>
                      <a:pt x="0" y="0"/>
                      <a:pt x="6068" y="0"/>
                      <a:pt x="9101" y="0"/>
                    </a:cubicBezTo>
                    <a:cubicBezTo>
                      <a:pt x="12134" y="3034"/>
                      <a:pt x="103145" y="39438"/>
                      <a:pt x="124381" y="81910"/>
                    </a:cubicBezTo>
                    <a:cubicBezTo>
                      <a:pt x="130449" y="91011"/>
                      <a:pt x="130449" y="103146"/>
                      <a:pt x="124381" y="109213"/>
                    </a:cubicBezTo>
                    <a:cubicBezTo>
                      <a:pt x="115281" y="130450"/>
                      <a:pt x="84943" y="136517"/>
                      <a:pt x="81910" y="136517"/>
                    </a:cubicBezTo>
                    <a:cubicBezTo>
                      <a:pt x="84943" y="136517"/>
                      <a:pt x="81910" y="136517"/>
                      <a:pt x="81910" y="13651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6276CE01-5C0E-42DF-94DC-EA45EEB642E9}"/>
                  </a:ext>
                </a:extLst>
              </p:cNvPr>
              <p:cNvSpPr/>
              <p:nvPr/>
            </p:nvSpPr>
            <p:spPr>
              <a:xfrm>
                <a:off x="23695658" y="4061162"/>
                <a:ext cx="87218" cy="59915"/>
              </a:xfrm>
              <a:custGeom>
                <a:avLst/>
                <a:gdLst>
                  <a:gd name="connsiteX0" fmla="*/ 6066 w 87218"/>
                  <a:gd name="connsiteY0" fmla="*/ 59916 h 59915"/>
                  <a:gd name="connsiteX1" fmla="*/ 0 w 87218"/>
                  <a:gd name="connsiteY1" fmla="*/ 56882 h 59915"/>
                  <a:gd name="connsiteX2" fmla="*/ 3033 w 87218"/>
                  <a:gd name="connsiteY2" fmla="*/ 47781 h 59915"/>
                  <a:gd name="connsiteX3" fmla="*/ 75843 w 87218"/>
                  <a:gd name="connsiteY3" fmla="*/ 2275 h 59915"/>
                  <a:gd name="connsiteX4" fmla="*/ 84943 w 87218"/>
                  <a:gd name="connsiteY4" fmla="*/ 2275 h 59915"/>
                  <a:gd name="connsiteX5" fmla="*/ 84943 w 87218"/>
                  <a:gd name="connsiteY5" fmla="*/ 11376 h 59915"/>
                  <a:gd name="connsiteX6" fmla="*/ 6066 w 87218"/>
                  <a:gd name="connsiteY6" fmla="*/ 59916 h 59915"/>
                  <a:gd name="connsiteX7" fmla="*/ 6066 w 87218"/>
                  <a:gd name="connsiteY7" fmla="*/ 59916 h 59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7218" h="59915">
                    <a:moveTo>
                      <a:pt x="6066" y="59916"/>
                    </a:moveTo>
                    <a:cubicBezTo>
                      <a:pt x="3033" y="59916"/>
                      <a:pt x="3033" y="59916"/>
                      <a:pt x="0" y="56882"/>
                    </a:cubicBezTo>
                    <a:cubicBezTo>
                      <a:pt x="0" y="53848"/>
                      <a:pt x="0" y="50815"/>
                      <a:pt x="3033" y="47781"/>
                    </a:cubicBezTo>
                    <a:cubicBezTo>
                      <a:pt x="18202" y="38680"/>
                      <a:pt x="63707" y="14410"/>
                      <a:pt x="75843" y="2275"/>
                    </a:cubicBezTo>
                    <a:cubicBezTo>
                      <a:pt x="78876" y="-758"/>
                      <a:pt x="81909" y="-758"/>
                      <a:pt x="84943" y="2275"/>
                    </a:cubicBezTo>
                    <a:cubicBezTo>
                      <a:pt x="87976" y="5309"/>
                      <a:pt x="87976" y="8343"/>
                      <a:pt x="84943" y="11376"/>
                    </a:cubicBezTo>
                    <a:cubicBezTo>
                      <a:pt x="69775" y="26545"/>
                      <a:pt x="9101" y="56882"/>
                      <a:pt x="6066" y="59916"/>
                    </a:cubicBezTo>
                    <a:cubicBezTo>
                      <a:pt x="6066" y="59916"/>
                      <a:pt x="6066" y="59916"/>
                      <a:pt x="6066" y="5991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2" name="图形 1">
              <a:extLst>
                <a:ext uri="{FF2B5EF4-FFF2-40B4-BE49-F238E27FC236}">
                  <a16:creationId xmlns:a16="http://schemas.microsoft.com/office/drawing/2014/main" id="{922E0CA4-426C-4A2E-86D6-6CD3AFD0A68E}"/>
                </a:ext>
              </a:extLst>
            </p:cNvPr>
            <p:cNvGrpSpPr/>
            <p:nvPr/>
          </p:nvGrpSpPr>
          <p:grpSpPr>
            <a:xfrm>
              <a:off x="24966306" y="3576787"/>
              <a:ext cx="196014" cy="162043"/>
              <a:chOff x="24966306" y="3576787"/>
              <a:chExt cx="196014" cy="162043"/>
            </a:xfrm>
          </p:grpSpPr>
          <p:grpSp>
            <p:nvGrpSpPr>
              <p:cNvPr id="83" name="图形 1">
                <a:extLst>
                  <a:ext uri="{FF2B5EF4-FFF2-40B4-BE49-F238E27FC236}">
                    <a16:creationId xmlns:a16="http://schemas.microsoft.com/office/drawing/2014/main" id="{3FCC94D3-CD5B-4D65-9488-2E68BC702644}"/>
                  </a:ext>
                </a:extLst>
              </p:cNvPr>
              <p:cNvGrpSpPr/>
              <p:nvPr/>
            </p:nvGrpSpPr>
            <p:grpSpPr>
              <a:xfrm>
                <a:off x="24971941" y="3576787"/>
                <a:ext cx="190379" cy="159009"/>
                <a:chOff x="24971941" y="3576787"/>
                <a:chExt cx="190379" cy="159009"/>
              </a:xfrm>
            </p:grpSpPr>
            <p:sp>
              <p:nvSpPr>
                <p:cNvPr id="85" name="任意多边形: 形状 84">
                  <a:extLst>
                    <a:ext uri="{FF2B5EF4-FFF2-40B4-BE49-F238E27FC236}">
                      <a16:creationId xmlns:a16="http://schemas.microsoft.com/office/drawing/2014/main" id="{ACD6C011-2EA4-4AF2-9043-A78FE3AB4B40}"/>
                    </a:ext>
                  </a:extLst>
                </p:cNvPr>
                <p:cNvSpPr/>
                <p:nvPr/>
              </p:nvSpPr>
              <p:spPr>
                <a:xfrm>
                  <a:off x="25078090" y="3584111"/>
                  <a:ext cx="84230" cy="121348"/>
                </a:xfrm>
                <a:custGeom>
                  <a:avLst/>
                  <a:gdLst>
                    <a:gd name="connsiteX0" fmla="*/ 82849 w 84230"/>
                    <a:gd name="connsiteY0" fmla="*/ 97079 h 121348"/>
                    <a:gd name="connsiteX1" fmla="*/ 61613 w 84230"/>
                    <a:gd name="connsiteY1" fmla="*/ 24270 h 121348"/>
                    <a:gd name="connsiteX2" fmla="*/ 58580 w 84230"/>
                    <a:gd name="connsiteY2" fmla="*/ 12135 h 121348"/>
                    <a:gd name="connsiteX3" fmla="*/ 49477 w 84230"/>
                    <a:gd name="connsiteY3" fmla="*/ 3034 h 121348"/>
                    <a:gd name="connsiteX4" fmla="*/ 7006 w 84230"/>
                    <a:gd name="connsiteY4" fmla="*/ 12135 h 121348"/>
                    <a:gd name="connsiteX5" fmla="*/ 7006 w 84230"/>
                    <a:gd name="connsiteY5" fmla="*/ 51573 h 121348"/>
                    <a:gd name="connsiteX6" fmla="*/ 25208 w 84230"/>
                    <a:gd name="connsiteY6" fmla="*/ 97079 h 121348"/>
                    <a:gd name="connsiteX7" fmla="*/ 49477 w 84230"/>
                    <a:gd name="connsiteY7" fmla="*/ 121348 h 121348"/>
                    <a:gd name="connsiteX8" fmla="*/ 82849 w 84230"/>
                    <a:gd name="connsiteY8" fmla="*/ 97079 h 121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4230" h="121348">
                      <a:moveTo>
                        <a:pt x="82849" y="97079"/>
                      </a:moveTo>
                      <a:cubicBezTo>
                        <a:pt x="88917" y="72809"/>
                        <a:pt x="73748" y="48539"/>
                        <a:pt x="61613" y="24270"/>
                      </a:cubicBezTo>
                      <a:cubicBezTo>
                        <a:pt x="61613" y="21236"/>
                        <a:pt x="61613" y="12135"/>
                        <a:pt x="58580" y="12135"/>
                      </a:cubicBezTo>
                      <a:cubicBezTo>
                        <a:pt x="55545" y="9101"/>
                        <a:pt x="52512" y="6067"/>
                        <a:pt x="49477" y="3034"/>
                      </a:cubicBezTo>
                      <a:cubicBezTo>
                        <a:pt x="37344" y="-3034"/>
                        <a:pt x="19140" y="0"/>
                        <a:pt x="7006" y="12135"/>
                      </a:cubicBezTo>
                      <a:cubicBezTo>
                        <a:pt x="-5129" y="24270"/>
                        <a:pt x="939" y="39438"/>
                        <a:pt x="7006" y="51573"/>
                      </a:cubicBezTo>
                      <a:cubicBezTo>
                        <a:pt x="13074" y="66742"/>
                        <a:pt x="19140" y="81910"/>
                        <a:pt x="25208" y="97079"/>
                      </a:cubicBezTo>
                      <a:cubicBezTo>
                        <a:pt x="31276" y="106180"/>
                        <a:pt x="34309" y="121348"/>
                        <a:pt x="49477" y="121348"/>
                      </a:cubicBezTo>
                      <a:cubicBezTo>
                        <a:pt x="64646" y="118315"/>
                        <a:pt x="79814" y="109213"/>
                        <a:pt x="82849" y="97079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: 形状 85">
                  <a:extLst>
                    <a:ext uri="{FF2B5EF4-FFF2-40B4-BE49-F238E27FC236}">
                      <a16:creationId xmlns:a16="http://schemas.microsoft.com/office/drawing/2014/main" id="{6066198B-0CCF-4127-8A4D-87886A6C958B}"/>
                    </a:ext>
                  </a:extLst>
                </p:cNvPr>
                <p:cNvSpPr/>
                <p:nvPr/>
              </p:nvSpPr>
              <p:spPr>
                <a:xfrm>
                  <a:off x="25035618" y="3593212"/>
                  <a:ext cx="84687" cy="121348"/>
                </a:xfrm>
                <a:custGeom>
                  <a:avLst/>
                  <a:gdLst>
                    <a:gd name="connsiteX0" fmla="*/ 79815 w 84687"/>
                    <a:gd name="connsiteY0" fmla="*/ 97079 h 121348"/>
                    <a:gd name="connsiteX1" fmla="*/ 61612 w 84687"/>
                    <a:gd name="connsiteY1" fmla="*/ 18202 h 121348"/>
                    <a:gd name="connsiteX2" fmla="*/ 58579 w 84687"/>
                    <a:gd name="connsiteY2" fmla="*/ 12135 h 121348"/>
                    <a:gd name="connsiteX3" fmla="*/ 49478 w 84687"/>
                    <a:gd name="connsiteY3" fmla="*/ 3034 h 121348"/>
                    <a:gd name="connsiteX4" fmla="*/ 7006 w 84687"/>
                    <a:gd name="connsiteY4" fmla="*/ 12135 h 121348"/>
                    <a:gd name="connsiteX5" fmla="*/ 7006 w 84687"/>
                    <a:gd name="connsiteY5" fmla="*/ 51573 h 121348"/>
                    <a:gd name="connsiteX6" fmla="*/ 25209 w 84687"/>
                    <a:gd name="connsiteY6" fmla="*/ 97079 h 121348"/>
                    <a:gd name="connsiteX7" fmla="*/ 49478 w 84687"/>
                    <a:gd name="connsiteY7" fmla="*/ 121348 h 121348"/>
                    <a:gd name="connsiteX8" fmla="*/ 79815 w 84687"/>
                    <a:gd name="connsiteY8" fmla="*/ 97079 h 121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4687" h="121348">
                      <a:moveTo>
                        <a:pt x="79815" y="97079"/>
                      </a:moveTo>
                      <a:cubicBezTo>
                        <a:pt x="94984" y="63708"/>
                        <a:pt x="70715" y="42472"/>
                        <a:pt x="61612" y="18202"/>
                      </a:cubicBezTo>
                      <a:cubicBezTo>
                        <a:pt x="61612" y="15168"/>
                        <a:pt x="58579" y="15168"/>
                        <a:pt x="58579" y="12135"/>
                      </a:cubicBezTo>
                      <a:cubicBezTo>
                        <a:pt x="55546" y="9101"/>
                        <a:pt x="52511" y="6067"/>
                        <a:pt x="49478" y="3034"/>
                      </a:cubicBezTo>
                      <a:cubicBezTo>
                        <a:pt x="37343" y="-3034"/>
                        <a:pt x="19141" y="0"/>
                        <a:pt x="7006" y="12135"/>
                      </a:cubicBezTo>
                      <a:cubicBezTo>
                        <a:pt x="-5128" y="24270"/>
                        <a:pt x="938" y="39438"/>
                        <a:pt x="7006" y="51573"/>
                      </a:cubicBezTo>
                      <a:cubicBezTo>
                        <a:pt x="13073" y="66742"/>
                        <a:pt x="19141" y="81910"/>
                        <a:pt x="25209" y="97079"/>
                      </a:cubicBezTo>
                      <a:cubicBezTo>
                        <a:pt x="31275" y="106180"/>
                        <a:pt x="34310" y="121348"/>
                        <a:pt x="49478" y="121348"/>
                      </a:cubicBezTo>
                      <a:cubicBezTo>
                        <a:pt x="61612" y="118314"/>
                        <a:pt x="73748" y="109214"/>
                        <a:pt x="79815" y="97079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7" name="任意多边形: 形状 86">
                  <a:extLst>
                    <a:ext uri="{FF2B5EF4-FFF2-40B4-BE49-F238E27FC236}">
                      <a16:creationId xmlns:a16="http://schemas.microsoft.com/office/drawing/2014/main" id="{128FB5A0-C884-45CA-A27D-7A8911F56F47}"/>
                    </a:ext>
                  </a:extLst>
                </p:cNvPr>
                <p:cNvSpPr/>
                <p:nvPr/>
              </p:nvSpPr>
              <p:spPr>
                <a:xfrm>
                  <a:off x="25005027" y="3617359"/>
                  <a:ext cx="68940" cy="103864"/>
                </a:xfrm>
                <a:custGeom>
                  <a:avLst/>
                  <a:gdLst>
                    <a:gd name="connsiteX0" fmla="*/ 64900 w 68940"/>
                    <a:gd name="connsiteY0" fmla="*/ 88100 h 103864"/>
                    <a:gd name="connsiteX1" fmla="*/ 49732 w 68940"/>
                    <a:gd name="connsiteY1" fmla="*/ 15291 h 103864"/>
                    <a:gd name="connsiteX2" fmla="*/ 46697 w 68940"/>
                    <a:gd name="connsiteY2" fmla="*/ 12258 h 103864"/>
                    <a:gd name="connsiteX3" fmla="*/ 40631 w 68940"/>
                    <a:gd name="connsiteY3" fmla="*/ 3157 h 103864"/>
                    <a:gd name="connsiteX4" fmla="*/ 7259 w 68940"/>
                    <a:gd name="connsiteY4" fmla="*/ 9224 h 103864"/>
                    <a:gd name="connsiteX5" fmla="*/ 4226 w 68940"/>
                    <a:gd name="connsiteY5" fmla="*/ 42595 h 103864"/>
                    <a:gd name="connsiteX6" fmla="*/ 19395 w 68940"/>
                    <a:gd name="connsiteY6" fmla="*/ 82033 h 103864"/>
                    <a:gd name="connsiteX7" fmla="*/ 40631 w 68940"/>
                    <a:gd name="connsiteY7" fmla="*/ 103269 h 103864"/>
                    <a:gd name="connsiteX8" fmla="*/ 64900 w 68940"/>
                    <a:gd name="connsiteY8" fmla="*/ 88100 h 103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8940" h="103864">
                      <a:moveTo>
                        <a:pt x="64900" y="88100"/>
                      </a:moveTo>
                      <a:cubicBezTo>
                        <a:pt x="77034" y="57763"/>
                        <a:pt x="58833" y="39561"/>
                        <a:pt x="49732" y="15291"/>
                      </a:cubicBezTo>
                      <a:cubicBezTo>
                        <a:pt x="49732" y="12258"/>
                        <a:pt x="46697" y="12258"/>
                        <a:pt x="46697" y="12258"/>
                      </a:cubicBezTo>
                      <a:cubicBezTo>
                        <a:pt x="43664" y="9224"/>
                        <a:pt x="43664" y="6190"/>
                        <a:pt x="40631" y="3157"/>
                      </a:cubicBezTo>
                      <a:cubicBezTo>
                        <a:pt x="31528" y="-2911"/>
                        <a:pt x="16360" y="123"/>
                        <a:pt x="7259" y="9224"/>
                      </a:cubicBezTo>
                      <a:cubicBezTo>
                        <a:pt x="-4875" y="21359"/>
                        <a:pt x="1191" y="33494"/>
                        <a:pt x="4226" y="42595"/>
                      </a:cubicBezTo>
                      <a:cubicBezTo>
                        <a:pt x="7259" y="57763"/>
                        <a:pt x="13327" y="69898"/>
                        <a:pt x="19395" y="82033"/>
                      </a:cubicBezTo>
                      <a:cubicBezTo>
                        <a:pt x="22428" y="91134"/>
                        <a:pt x="25462" y="103269"/>
                        <a:pt x="40631" y="103269"/>
                      </a:cubicBezTo>
                      <a:cubicBezTo>
                        <a:pt x="52765" y="106303"/>
                        <a:pt x="61866" y="97202"/>
                        <a:pt x="64900" y="88100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8" name="任意多边形: 形状 87">
                  <a:extLst>
                    <a:ext uri="{FF2B5EF4-FFF2-40B4-BE49-F238E27FC236}">
                      <a16:creationId xmlns:a16="http://schemas.microsoft.com/office/drawing/2014/main" id="{111FE094-341B-4E96-955C-CDAAE477F4C8}"/>
                    </a:ext>
                  </a:extLst>
                </p:cNvPr>
                <p:cNvSpPr/>
                <p:nvPr/>
              </p:nvSpPr>
              <p:spPr>
                <a:xfrm>
                  <a:off x="24971941" y="3650853"/>
                  <a:ext cx="69668" cy="84943"/>
                </a:xfrm>
                <a:custGeom>
                  <a:avLst/>
                  <a:gdLst>
                    <a:gd name="connsiteX0" fmla="*/ 67650 w 69668"/>
                    <a:gd name="connsiteY0" fmla="*/ 69775 h 84943"/>
                    <a:gd name="connsiteX1" fmla="*/ 46413 w 69668"/>
                    <a:gd name="connsiteY1" fmla="*/ 12135 h 84943"/>
                    <a:gd name="connsiteX2" fmla="*/ 43380 w 69668"/>
                    <a:gd name="connsiteY2" fmla="*/ 9101 h 84943"/>
                    <a:gd name="connsiteX3" fmla="*/ 37313 w 69668"/>
                    <a:gd name="connsiteY3" fmla="*/ 3034 h 84943"/>
                    <a:gd name="connsiteX4" fmla="*/ 3941 w 69668"/>
                    <a:gd name="connsiteY4" fmla="*/ 6067 h 84943"/>
                    <a:gd name="connsiteX5" fmla="*/ 6976 w 69668"/>
                    <a:gd name="connsiteY5" fmla="*/ 39438 h 84943"/>
                    <a:gd name="connsiteX6" fmla="*/ 22144 w 69668"/>
                    <a:gd name="connsiteY6" fmla="*/ 69775 h 84943"/>
                    <a:gd name="connsiteX7" fmla="*/ 43380 w 69668"/>
                    <a:gd name="connsiteY7" fmla="*/ 84944 h 84943"/>
                    <a:gd name="connsiteX8" fmla="*/ 67650 w 69668"/>
                    <a:gd name="connsiteY8" fmla="*/ 69775 h 849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9668" h="84943">
                      <a:moveTo>
                        <a:pt x="67650" y="69775"/>
                      </a:moveTo>
                      <a:cubicBezTo>
                        <a:pt x="76750" y="48539"/>
                        <a:pt x="52481" y="27303"/>
                        <a:pt x="46413" y="12135"/>
                      </a:cubicBezTo>
                      <a:cubicBezTo>
                        <a:pt x="46413" y="12135"/>
                        <a:pt x="46413" y="9101"/>
                        <a:pt x="43380" y="9101"/>
                      </a:cubicBezTo>
                      <a:cubicBezTo>
                        <a:pt x="43380" y="6067"/>
                        <a:pt x="40346" y="6067"/>
                        <a:pt x="37313" y="3034"/>
                      </a:cubicBezTo>
                      <a:cubicBezTo>
                        <a:pt x="31245" y="0"/>
                        <a:pt x="10008" y="-3034"/>
                        <a:pt x="3941" y="6067"/>
                      </a:cubicBezTo>
                      <a:cubicBezTo>
                        <a:pt x="-5160" y="15169"/>
                        <a:pt x="3941" y="30337"/>
                        <a:pt x="6976" y="39438"/>
                      </a:cubicBezTo>
                      <a:cubicBezTo>
                        <a:pt x="10008" y="48539"/>
                        <a:pt x="16076" y="60674"/>
                        <a:pt x="22144" y="69775"/>
                      </a:cubicBezTo>
                      <a:cubicBezTo>
                        <a:pt x="25177" y="75843"/>
                        <a:pt x="31245" y="84944"/>
                        <a:pt x="43380" y="84944"/>
                      </a:cubicBezTo>
                      <a:cubicBezTo>
                        <a:pt x="49446" y="81910"/>
                        <a:pt x="64615" y="75843"/>
                        <a:pt x="67650" y="69775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9" name="任意多边形: 形状 88">
                  <a:extLst>
                    <a:ext uri="{FF2B5EF4-FFF2-40B4-BE49-F238E27FC236}">
                      <a16:creationId xmlns:a16="http://schemas.microsoft.com/office/drawing/2014/main" id="{AF5BA283-5F6B-4B8D-AB9A-06EA080F05EB}"/>
                    </a:ext>
                  </a:extLst>
                </p:cNvPr>
                <p:cNvSpPr/>
                <p:nvPr/>
              </p:nvSpPr>
              <p:spPr>
                <a:xfrm>
                  <a:off x="25031248" y="3576787"/>
                  <a:ext cx="126656" cy="137773"/>
                </a:xfrm>
                <a:custGeom>
                  <a:avLst/>
                  <a:gdLst>
                    <a:gd name="connsiteX0" fmla="*/ 59916 w 126656"/>
                    <a:gd name="connsiteY0" fmla="*/ 137774 h 137773"/>
                    <a:gd name="connsiteX1" fmla="*/ 47780 w 126656"/>
                    <a:gd name="connsiteY1" fmla="*/ 134740 h 137773"/>
                    <a:gd name="connsiteX2" fmla="*/ 8343 w 126656"/>
                    <a:gd name="connsiteY2" fmla="*/ 77099 h 137773"/>
                    <a:gd name="connsiteX3" fmla="*/ 14410 w 126656"/>
                    <a:gd name="connsiteY3" fmla="*/ 16425 h 137773"/>
                    <a:gd name="connsiteX4" fmla="*/ 56881 w 126656"/>
                    <a:gd name="connsiteY4" fmla="*/ 13391 h 137773"/>
                    <a:gd name="connsiteX5" fmla="*/ 65982 w 126656"/>
                    <a:gd name="connsiteY5" fmla="*/ 4290 h 137773"/>
                    <a:gd name="connsiteX6" fmla="*/ 87218 w 126656"/>
                    <a:gd name="connsiteY6" fmla="*/ 1257 h 137773"/>
                    <a:gd name="connsiteX7" fmla="*/ 126656 w 126656"/>
                    <a:gd name="connsiteY7" fmla="*/ 71032 h 137773"/>
                    <a:gd name="connsiteX8" fmla="*/ 123623 w 126656"/>
                    <a:gd name="connsiteY8" fmla="*/ 77099 h 137773"/>
                    <a:gd name="connsiteX9" fmla="*/ 117555 w 126656"/>
                    <a:gd name="connsiteY9" fmla="*/ 74066 h 137773"/>
                    <a:gd name="connsiteX10" fmla="*/ 84185 w 126656"/>
                    <a:gd name="connsiteY10" fmla="*/ 10358 h 137773"/>
                    <a:gd name="connsiteX11" fmla="*/ 72050 w 126656"/>
                    <a:gd name="connsiteY11" fmla="*/ 10358 h 137773"/>
                    <a:gd name="connsiteX12" fmla="*/ 87218 w 126656"/>
                    <a:gd name="connsiteY12" fmla="*/ 107436 h 137773"/>
                    <a:gd name="connsiteX13" fmla="*/ 87218 w 126656"/>
                    <a:gd name="connsiteY13" fmla="*/ 119571 h 137773"/>
                    <a:gd name="connsiteX14" fmla="*/ 69017 w 126656"/>
                    <a:gd name="connsiteY14" fmla="*/ 134740 h 137773"/>
                    <a:gd name="connsiteX15" fmla="*/ 59916 w 126656"/>
                    <a:gd name="connsiteY15" fmla="*/ 137774 h 137773"/>
                    <a:gd name="connsiteX16" fmla="*/ 38680 w 126656"/>
                    <a:gd name="connsiteY16" fmla="*/ 22493 h 137773"/>
                    <a:gd name="connsiteX17" fmla="*/ 20476 w 126656"/>
                    <a:gd name="connsiteY17" fmla="*/ 25526 h 137773"/>
                    <a:gd name="connsiteX18" fmla="*/ 20476 w 126656"/>
                    <a:gd name="connsiteY18" fmla="*/ 74066 h 137773"/>
                    <a:gd name="connsiteX19" fmla="*/ 53848 w 126656"/>
                    <a:gd name="connsiteY19" fmla="*/ 125639 h 137773"/>
                    <a:gd name="connsiteX20" fmla="*/ 65982 w 126656"/>
                    <a:gd name="connsiteY20" fmla="*/ 125639 h 137773"/>
                    <a:gd name="connsiteX21" fmla="*/ 78117 w 126656"/>
                    <a:gd name="connsiteY21" fmla="*/ 116537 h 137773"/>
                    <a:gd name="connsiteX22" fmla="*/ 50813 w 126656"/>
                    <a:gd name="connsiteY22" fmla="*/ 25526 h 137773"/>
                    <a:gd name="connsiteX23" fmla="*/ 38680 w 126656"/>
                    <a:gd name="connsiteY23" fmla="*/ 22493 h 1377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26656" h="137773">
                      <a:moveTo>
                        <a:pt x="59916" y="137774"/>
                      </a:moveTo>
                      <a:cubicBezTo>
                        <a:pt x="56881" y="137774"/>
                        <a:pt x="50813" y="137774"/>
                        <a:pt x="47780" y="134740"/>
                      </a:cubicBezTo>
                      <a:cubicBezTo>
                        <a:pt x="32612" y="128672"/>
                        <a:pt x="20476" y="107436"/>
                        <a:pt x="8343" y="77099"/>
                      </a:cubicBezTo>
                      <a:cubicBezTo>
                        <a:pt x="-758" y="49796"/>
                        <a:pt x="-6826" y="28560"/>
                        <a:pt x="14410" y="16425"/>
                      </a:cubicBezTo>
                      <a:cubicBezTo>
                        <a:pt x="29579" y="7324"/>
                        <a:pt x="53848" y="13391"/>
                        <a:pt x="56881" y="13391"/>
                      </a:cubicBezTo>
                      <a:cubicBezTo>
                        <a:pt x="59916" y="10358"/>
                        <a:pt x="62949" y="7324"/>
                        <a:pt x="65982" y="4290"/>
                      </a:cubicBezTo>
                      <a:cubicBezTo>
                        <a:pt x="72050" y="1257"/>
                        <a:pt x="81150" y="-1777"/>
                        <a:pt x="87218" y="1257"/>
                      </a:cubicBezTo>
                      <a:cubicBezTo>
                        <a:pt x="111487" y="10358"/>
                        <a:pt x="126656" y="64965"/>
                        <a:pt x="126656" y="71032"/>
                      </a:cubicBezTo>
                      <a:cubicBezTo>
                        <a:pt x="126656" y="74066"/>
                        <a:pt x="126656" y="77099"/>
                        <a:pt x="123623" y="77099"/>
                      </a:cubicBezTo>
                      <a:cubicBezTo>
                        <a:pt x="120590" y="77099"/>
                        <a:pt x="117555" y="77099"/>
                        <a:pt x="117555" y="74066"/>
                      </a:cubicBezTo>
                      <a:cubicBezTo>
                        <a:pt x="114522" y="58897"/>
                        <a:pt x="99354" y="19459"/>
                        <a:pt x="84185" y="10358"/>
                      </a:cubicBezTo>
                      <a:cubicBezTo>
                        <a:pt x="81150" y="10358"/>
                        <a:pt x="78117" y="10358"/>
                        <a:pt x="72050" y="10358"/>
                      </a:cubicBezTo>
                      <a:cubicBezTo>
                        <a:pt x="59916" y="16425"/>
                        <a:pt x="41713" y="28560"/>
                        <a:pt x="87218" y="107436"/>
                      </a:cubicBezTo>
                      <a:cubicBezTo>
                        <a:pt x="87218" y="107436"/>
                        <a:pt x="90253" y="113504"/>
                        <a:pt x="87218" y="119571"/>
                      </a:cubicBezTo>
                      <a:cubicBezTo>
                        <a:pt x="84185" y="125639"/>
                        <a:pt x="78117" y="131706"/>
                        <a:pt x="69017" y="134740"/>
                      </a:cubicBezTo>
                      <a:cubicBezTo>
                        <a:pt x="65982" y="137774"/>
                        <a:pt x="62949" y="137774"/>
                        <a:pt x="59916" y="137774"/>
                      </a:cubicBezTo>
                      <a:close/>
                      <a:moveTo>
                        <a:pt x="38680" y="22493"/>
                      </a:moveTo>
                      <a:cubicBezTo>
                        <a:pt x="32612" y="22493"/>
                        <a:pt x="26544" y="22493"/>
                        <a:pt x="20476" y="25526"/>
                      </a:cubicBezTo>
                      <a:cubicBezTo>
                        <a:pt x="8343" y="31594"/>
                        <a:pt x="8343" y="43729"/>
                        <a:pt x="20476" y="74066"/>
                      </a:cubicBezTo>
                      <a:cubicBezTo>
                        <a:pt x="32612" y="110470"/>
                        <a:pt x="44747" y="122605"/>
                        <a:pt x="53848" y="125639"/>
                      </a:cubicBezTo>
                      <a:cubicBezTo>
                        <a:pt x="56881" y="128672"/>
                        <a:pt x="62949" y="128672"/>
                        <a:pt x="65982" y="125639"/>
                      </a:cubicBezTo>
                      <a:cubicBezTo>
                        <a:pt x="75084" y="122605"/>
                        <a:pt x="78117" y="116537"/>
                        <a:pt x="78117" y="116537"/>
                      </a:cubicBezTo>
                      <a:cubicBezTo>
                        <a:pt x="47780" y="64965"/>
                        <a:pt x="44747" y="40695"/>
                        <a:pt x="50813" y="25526"/>
                      </a:cubicBezTo>
                      <a:cubicBezTo>
                        <a:pt x="47780" y="22493"/>
                        <a:pt x="44747" y="22493"/>
                        <a:pt x="38680" y="2249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0" name="任意多边形: 形状 89">
                  <a:extLst>
                    <a:ext uri="{FF2B5EF4-FFF2-40B4-BE49-F238E27FC236}">
                      <a16:creationId xmlns:a16="http://schemas.microsoft.com/office/drawing/2014/main" id="{41B4D219-05C7-4B53-8B6D-B1359D5C5CEA}"/>
                    </a:ext>
                  </a:extLst>
                </p:cNvPr>
                <p:cNvSpPr/>
                <p:nvPr/>
              </p:nvSpPr>
              <p:spPr>
                <a:xfrm>
                  <a:off x="25000153" y="3608381"/>
                  <a:ext cx="77098" cy="121348"/>
                </a:xfrm>
                <a:custGeom>
                  <a:avLst/>
                  <a:gdLst>
                    <a:gd name="connsiteX0" fmla="*/ 42471 w 77098"/>
                    <a:gd name="connsiteY0" fmla="*/ 121348 h 121348"/>
                    <a:gd name="connsiteX1" fmla="*/ 33370 w 77098"/>
                    <a:gd name="connsiteY1" fmla="*/ 118315 h 121348"/>
                    <a:gd name="connsiteX2" fmla="*/ 0 w 77098"/>
                    <a:gd name="connsiteY2" fmla="*/ 42472 h 121348"/>
                    <a:gd name="connsiteX3" fmla="*/ 6066 w 77098"/>
                    <a:gd name="connsiteY3" fmla="*/ 15169 h 121348"/>
                    <a:gd name="connsiteX4" fmla="*/ 36403 w 77098"/>
                    <a:gd name="connsiteY4" fmla="*/ 0 h 121348"/>
                    <a:gd name="connsiteX5" fmla="*/ 42471 w 77098"/>
                    <a:gd name="connsiteY5" fmla="*/ 6067 h 121348"/>
                    <a:gd name="connsiteX6" fmla="*/ 36403 w 77098"/>
                    <a:gd name="connsiteY6" fmla="*/ 12135 h 121348"/>
                    <a:gd name="connsiteX7" fmla="*/ 15169 w 77098"/>
                    <a:gd name="connsiteY7" fmla="*/ 24270 h 121348"/>
                    <a:gd name="connsiteX8" fmla="*/ 12134 w 77098"/>
                    <a:gd name="connsiteY8" fmla="*/ 42472 h 121348"/>
                    <a:gd name="connsiteX9" fmla="*/ 42471 w 77098"/>
                    <a:gd name="connsiteY9" fmla="*/ 112247 h 121348"/>
                    <a:gd name="connsiteX10" fmla="*/ 48539 w 77098"/>
                    <a:gd name="connsiteY10" fmla="*/ 112247 h 121348"/>
                    <a:gd name="connsiteX11" fmla="*/ 66740 w 77098"/>
                    <a:gd name="connsiteY11" fmla="*/ 97079 h 121348"/>
                    <a:gd name="connsiteX12" fmla="*/ 72808 w 77098"/>
                    <a:gd name="connsiteY12" fmla="*/ 94045 h 121348"/>
                    <a:gd name="connsiteX13" fmla="*/ 75843 w 77098"/>
                    <a:gd name="connsiteY13" fmla="*/ 100112 h 121348"/>
                    <a:gd name="connsiteX14" fmla="*/ 48539 w 77098"/>
                    <a:gd name="connsiteY14" fmla="*/ 121348 h 121348"/>
                    <a:gd name="connsiteX15" fmla="*/ 42471 w 77098"/>
                    <a:gd name="connsiteY15" fmla="*/ 121348 h 121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77098" h="121348">
                      <a:moveTo>
                        <a:pt x="42471" y="121348"/>
                      </a:moveTo>
                      <a:cubicBezTo>
                        <a:pt x="39438" y="121348"/>
                        <a:pt x="36403" y="118315"/>
                        <a:pt x="33370" y="118315"/>
                      </a:cubicBezTo>
                      <a:cubicBezTo>
                        <a:pt x="21234" y="109214"/>
                        <a:pt x="3033" y="75843"/>
                        <a:pt x="0" y="42472"/>
                      </a:cubicBezTo>
                      <a:cubicBezTo>
                        <a:pt x="0" y="30337"/>
                        <a:pt x="0" y="21236"/>
                        <a:pt x="6066" y="15169"/>
                      </a:cubicBezTo>
                      <a:cubicBezTo>
                        <a:pt x="18202" y="3034"/>
                        <a:pt x="36403" y="0"/>
                        <a:pt x="36403" y="0"/>
                      </a:cubicBezTo>
                      <a:cubicBezTo>
                        <a:pt x="39438" y="0"/>
                        <a:pt x="42471" y="3034"/>
                        <a:pt x="42471" y="6067"/>
                      </a:cubicBezTo>
                      <a:cubicBezTo>
                        <a:pt x="42471" y="9101"/>
                        <a:pt x="39438" y="12135"/>
                        <a:pt x="36403" y="12135"/>
                      </a:cubicBezTo>
                      <a:cubicBezTo>
                        <a:pt x="36403" y="12135"/>
                        <a:pt x="21234" y="12135"/>
                        <a:pt x="15169" y="24270"/>
                      </a:cubicBezTo>
                      <a:cubicBezTo>
                        <a:pt x="12134" y="30337"/>
                        <a:pt x="9101" y="36405"/>
                        <a:pt x="12134" y="42472"/>
                      </a:cubicBezTo>
                      <a:cubicBezTo>
                        <a:pt x="15169" y="75843"/>
                        <a:pt x="36403" y="106180"/>
                        <a:pt x="42471" y="112247"/>
                      </a:cubicBezTo>
                      <a:cubicBezTo>
                        <a:pt x="42471" y="112247"/>
                        <a:pt x="45506" y="112247"/>
                        <a:pt x="48539" y="112247"/>
                      </a:cubicBezTo>
                      <a:cubicBezTo>
                        <a:pt x="57639" y="109214"/>
                        <a:pt x="66740" y="100112"/>
                        <a:pt x="66740" y="97079"/>
                      </a:cubicBezTo>
                      <a:cubicBezTo>
                        <a:pt x="66740" y="94045"/>
                        <a:pt x="69775" y="91011"/>
                        <a:pt x="72808" y="94045"/>
                      </a:cubicBezTo>
                      <a:cubicBezTo>
                        <a:pt x="75843" y="94045"/>
                        <a:pt x="78876" y="97079"/>
                        <a:pt x="75843" y="100112"/>
                      </a:cubicBezTo>
                      <a:cubicBezTo>
                        <a:pt x="72808" y="109214"/>
                        <a:pt x="60674" y="118315"/>
                        <a:pt x="48539" y="121348"/>
                      </a:cubicBezTo>
                      <a:cubicBezTo>
                        <a:pt x="48539" y="121348"/>
                        <a:pt x="45506" y="121348"/>
                        <a:pt x="42471" y="121348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CACAE290-B38E-4CC7-87AA-8B27CC902160}"/>
                  </a:ext>
                </a:extLst>
              </p:cNvPr>
              <p:cNvSpPr/>
              <p:nvPr/>
            </p:nvSpPr>
            <p:spPr>
              <a:xfrm>
                <a:off x="24966306" y="3645674"/>
                <a:ext cx="78593" cy="93156"/>
              </a:xfrm>
              <a:custGeom>
                <a:avLst/>
                <a:gdLst>
                  <a:gd name="connsiteX0" fmla="*/ 49015 w 78593"/>
                  <a:gd name="connsiteY0" fmla="*/ 93156 h 93156"/>
                  <a:gd name="connsiteX1" fmla="*/ 42948 w 78593"/>
                  <a:gd name="connsiteY1" fmla="*/ 93156 h 93156"/>
                  <a:gd name="connsiteX2" fmla="*/ 18678 w 78593"/>
                  <a:gd name="connsiteY2" fmla="*/ 71920 h 93156"/>
                  <a:gd name="connsiteX3" fmla="*/ 475 w 78593"/>
                  <a:gd name="connsiteY3" fmla="*/ 17314 h 93156"/>
                  <a:gd name="connsiteX4" fmla="*/ 39913 w 78593"/>
                  <a:gd name="connsiteY4" fmla="*/ 2145 h 93156"/>
                  <a:gd name="connsiteX5" fmla="*/ 42948 w 78593"/>
                  <a:gd name="connsiteY5" fmla="*/ 8213 h 93156"/>
                  <a:gd name="connsiteX6" fmla="*/ 36880 w 78593"/>
                  <a:gd name="connsiteY6" fmla="*/ 11246 h 93156"/>
                  <a:gd name="connsiteX7" fmla="*/ 9576 w 78593"/>
                  <a:gd name="connsiteY7" fmla="*/ 20347 h 93156"/>
                  <a:gd name="connsiteX8" fmla="*/ 27779 w 78593"/>
                  <a:gd name="connsiteY8" fmla="*/ 65853 h 93156"/>
                  <a:gd name="connsiteX9" fmla="*/ 42948 w 78593"/>
                  <a:gd name="connsiteY9" fmla="*/ 81021 h 93156"/>
                  <a:gd name="connsiteX10" fmla="*/ 67217 w 78593"/>
                  <a:gd name="connsiteY10" fmla="*/ 71920 h 93156"/>
                  <a:gd name="connsiteX11" fmla="*/ 76318 w 78593"/>
                  <a:gd name="connsiteY11" fmla="*/ 71920 h 93156"/>
                  <a:gd name="connsiteX12" fmla="*/ 76318 w 78593"/>
                  <a:gd name="connsiteY12" fmla="*/ 81021 h 93156"/>
                  <a:gd name="connsiteX13" fmla="*/ 49015 w 78593"/>
                  <a:gd name="connsiteY13" fmla="*/ 93156 h 93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8593" h="93156">
                    <a:moveTo>
                      <a:pt x="49015" y="93156"/>
                    </a:moveTo>
                    <a:cubicBezTo>
                      <a:pt x="45981" y="93156"/>
                      <a:pt x="45981" y="93156"/>
                      <a:pt x="42948" y="93156"/>
                    </a:cubicBezTo>
                    <a:cubicBezTo>
                      <a:pt x="36880" y="93156"/>
                      <a:pt x="27779" y="84055"/>
                      <a:pt x="18678" y="71920"/>
                    </a:cubicBezTo>
                    <a:cubicBezTo>
                      <a:pt x="9576" y="56752"/>
                      <a:pt x="-2558" y="29449"/>
                      <a:pt x="475" y="17314"/>
                    </a:cubicBezTo>
                    <a:cubicBezTo>
                      <a:pt x="6543" y="-3922"/>
                      <a:pt x="30812" y="-889"/>
                      <a:pt x="39913" y="2145"/>
                    </a:cubicBezTo>
                    <a:cubicBezTo>
                      <a:pt x="42948" y="2145"/>
                      <a:pt x="45981" y="5179"/>
                      <a:pt x="42948" y="8213"/>
                    </a:cubicBezTo>
                    <a:cubicBezTo>
                      <a:pt x="42948" y="11246"/>
                      <a:pt x="39913" y="14280"/>
                      <a:pt x="36880" y="11246"/>
                    </a:cubicBezTo>
                    <a:cubicBezTo>
                      <a:pt x="36880" y="11246"/>
                      <a:pt x="15643" y="5179"/>
                      <a:pt x="9576" y="20347"/>
                    </a:cubicBezTo>
                    <a:cubicBezTo>
                      <a:pt x="9576" y="26415"/>
                      <a:pt x="15643" y="47651"/>
                      <a:pt x="27779" y="65853"/>
                    </a:cubicBezTo>
                    <a:cubicBezTo>
                      <a:pt x="33847" y="77988"/>
                      <a:pt x="39913" y="81021"/>
                      <a:pt x="42948" y="81021"/>
                    </a:cubicBezTo>
                    <a:cubicBezTo>
                      <a:pt x="55081" y="84055"/>
                      <a:pt x="67217" y="71920"/>
                      <a:pt x="67217" y="71920"/>
                    </a:cubicBezTo>
                    <a:cubicBezTo>
                      <a:pt x="70250" y="68887"/>
                      <a:pt x="73285" y="68887"/>
                      <a:pt x="76318" y="71920"/>
                    </a:cubicBezTo>
                    <a:cubicBezTo>
                      <a:pt x="79352" y="74954"/>
                      <a:pt x="79352" y="77988"/>
                      <a:pt x="76318" y="81021"/>
                    </a:cubicBezTo>
                    <a:cubicBezTo>
                      <a:pt x="76318" y="81021"/>
                      <a:pt x="64184" y="93156"/>
                      <a:pt x="49015" y="9315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494892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770AC1BC-13B2-45F0-8EEB-CEDBBA6DD939}"/>
              </a:ext>
            </a:extLst>
          </p:cNvPr>
          <p:cNvGrpSpPr/>
          <p:nvPr/>
        </p:nvGrpSpPr>
        <p:grpSpPr>
          <a:xfrm>
            <a:off x="6654665" y="2054874"/>
            <a:ext cx="3534394" cy="4803126"/>
            <a:chOff x="6418691" y="7715657"/>
            <a:chExt cx="3534394" cy="4803126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1E1438E7-8722-4008-930D-752DD8305C7E}"/>
                </a:ext>
              </a:extLst>
            </p:cNvPr>
            <p:cNvGrpSpPr/>
            <p:nvPr/>
          </p:nvGrpSpPr>
          <p:grpSpPr>
            <a:xfrm>
              <a:off x="9481723" y="12023887"/>
              <a:ext cx="471362" cy="494897"/>
              <a:chOff x="9481723" y="12023887"/>
              <a:chExt cx="471362" cy="494897"/>
            </a:xfrm>
          </p:grpSpPr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EB56FB51-3336-41E5-9BC1-13EDDE690068}"/>
                  </a:ext>
                </a:extLst>
              </p:cNvPr>
              <p:cNvSpPr/>
              <p:nvPr/>
            </p:nvSpPr>
            <p:spPr>
              <a:xfrm>
                <a:off x="9646556" y="12023887"/>
                <a:ext cx="236629" cy="242696"/>
              </a:xfrm>
              <a:custGeom>
                <a:avLst/>
                <a:gdLst>
                  <a:gd name="connsiteX0" fmla="*/ 233595 w 236629"/>
                  <a:gd name="connsiteY0" fmla="*/ 172921 h 242696"/>
                  <a:gd name="connsiteX1" fmla="*/ 169887 w 236629"/>
                  <a:gd name="connsiteY1" fmla="*/ 0 h 242696"/>
                  <a:gd name="connsiteX2" fmla="*/ 0 w 236629"/>
                  <a:gd name="connsiteY2" fmla="*/ 66741 h 242696"/>
                  <a:gd name="connsiteX3" fmla="*/ 87977 w 236629"/>
                  <a:gd name="connsiteY3" fmla="*/ 242697 h 242696"/>
                  <a:gd name="connsiteX4" fmla="*/ 236629 w 236629"/>
                  <a:gd name="connsiteY4" fmla="*/ 212360 h 242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6629" h="242696">
                    <a:moveTo>
                      <a:pt x="233595" y="172921"/>
                    </a:moveTo>
                    <a:lnTo>
                      <a:pt x="169887" y="0"/>
                    </a:lnTo>
                    <a:lnTo>
                      <a:pt x="0" y="66741"/>
                    </a:lnTo>
                    <a:lnTo>
                      <a:pt x="87977" y="242697"/>
                    </a:lnTo>
                    <a:lnTo>
                      <a:pt x="236629" y="212360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EF9AA9F4-2573-435E-A8DC-164C0869F905}"/>
                  </a:ext>
                </a:extLst>
              </p:cNvPr>
              <p:cNvSpPr/>
              <p:nvPr/>
            </p:nvSpPr>
            <p:spPr>
              <a:xfrm>
                <a:off x="9481723" y="12190741"/>
                <a:ext cx="453035" cy="285168"/>
              </a:xfrm>
              <a:custGeom>
                <a:avLst/>
                <a:gdLst>
                  <a:gd name="connsiteX0" fmla="*/ 410564 w 453035"/>
                  <a:gd name="connsiteY0" fmla="*/ 0 h 285168"/>
                  <a:gd name="connsiteX1" fmla="*/ 222474 w 453035"/>
                  <a:gd name="connsiteY1" fmla="*/ 24269 h 285168"/>
                  <a:gd name="connsiteX2" fmla="*/ 128429 w 453035"/>
                  <a:gd name="connsiteY2" fmla="*/ 148652 h 285168"/>
                  <a:gd name="connsiteX3" fmla="*/ 1013 w 453035"/>
                  <a:gd name="connsiteY3" fmla="*/ 285168 h 285168"/>
                  <a:gd name="connsiteX4" fmla="*/ 453036 w 453035"/>
                  <a:gd name="connsiteY4" fmla="*/ 103146 h 285168"/>
                  <a:gd name="connsiteX5" fmla="*/ 410564 w 453035"/>
                  <a:gd name="connsiteY5" fmla="*/ 0 h 285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3035" h="285168">
                    <a:moveTo>
                      <a:pt x="410564" y="0"/>
                    </a:moveTo>
                    <a:cubicBezTo>
                      <a:pt x="410564" y="0"/>
                      <a:pt x="301350" y="63707"/>
                      <a:pt x="222474" y="24269"/>
                    </a:cubicBezTo>
                    <a:cubicBezTo>
                      <a:pt x="222474" y="24269"/>
                      <a:pt x="167867" y="121348"/>
                      <a:pt x="128429" y="148652"/>
                    </a:cubicBezTo>
                    <a:cubicBezTo>
                      <a:pt x="88991" y="172921"/>
                      <a:pt x="-11122" y="212360"/>
                      <a:pt x="1013" y="285168"/>
                    </a:cubicBezTo>
                    <a:lnTo>
                      <a:pt x="453036" y="103146"/>
                    </a:lnTo>
                    <a:cubicBezTo>
                      <a:pt x="453036" y="103146"/>
                      <a:pt x="446969" y="39438"/>
                      <a:pt x="410564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8" name="任意多边形: 形状 167">
                <a:extLst>
                  <a:ext uri="{FF2B5EF4-FFF2-40B4-BE49-F238E27FC236}">
                    <a16:creationId xmlns:a16="http://schemas.microsoft.com/office/drawing/2014/main" id="{3EE5B69A-5CE3-4522-ACE7-05218F182354}"/>
                  </a:ext>
                </a:extLst>
              </p:cNvPr>
              <p:cNvSpPr/>
              <p:nvPr/>
            </p:nvSpPr>
            <p:spPr>
              <a:xfrm rot="-1312234">
                <a:off x="9476698" y="12384513"/>
                <a:ext cx="485378" cy="45504"/>
              </a:xfrm>
              <a:custGeom>
                <a:avLst/>
                <a:gdLst>
                  <a:gd name="connsiteX0" fmla="*/ 0 w 485378"/>
                  <a:gd name="connsiteY0" fmla="*/ 0 h 45504"/>
                  <a:gd name="connsiteX1" fmla="*/ 485379 w 485378"/>
                  <a:gd name="connsiteY1" fmla="*/ 0 h 45504"/>
                  <a:gd name="connsiteX2" fmla="*/ 485379 w 485378"/>
                  <a:gd name="connsiteY2" fmla="*/ 45504 h 45504"/>
                  <a:gd name="connsiteX3" fmla="*/ 0 w 485378"/>
                  <a:gd name="connsiteY3" fmla="*/ 45504 h 45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378" h="45504">
                    <a:moveTo>
                      <a:pt x="0" y="0"/>
                    </a:moveTo>
                    <a:lnTo>
                      <a:pt x="485379" y="0"/>
                    </a:lnTo>
                    <a:lnTo>
                      <a:pt x="485379" y="45504"/>
                    </a:lnTo>
                    <a:lnTo>
                      <a:pt x="0" y="45504"/>
                    </a:lnTo>
                    <a:close/>
                  </a:path>
                </a:pathLst>
              </a:custGeom>
              <a:solidFill>
                <a:srgbClr val="38333D"/>
              </a:solidFill>
              <a:ln w="303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9" name="任意多边形: 形状 168">
                <a:extLst>
                  <a:ext uri="{FF2B5EF4-FFF2-40B4-BE49-F238E27FC236}">
                    <a16:creationId xmlns:a16="http://schemas.microsoft.com/office/drawing/2014/main" id="{1236D9A3-19A0-4028-80B8-0A924A6DF0EC}"/>
                  </a:ext>
                </a:extLst>
              </p:cNvPr>
              <p:cNvSpPr/>
              <p:nvPr/>
            </p:nvSpPr>
            <p:spPr>
              <a:xfrm>
                <a:off x="9701163" y="12189484"/>
                <a:ext cx="201481" cy="43728"/>
              </a:xfrm>
              <a:custGeom>
                <a:avLst/>
                <a:gdLst>
                  <a:gd name="connsiteX0" fmla="*/ 63708 w 201481"/>
                  <a:gd name="connsiteY0" fmla="*/ 43728 h 43728"/>
                  <a:gd name="connsiteX1" fmla="*/ 3033 w 201481"/>
                  <a:gd name="connsiteY1" fmla="*/ 34627 h 43728"/>
                  <a:gd name="connsiteX2" fmla="*/ 0 w 201481"/>
                  <a:gd name="connsiteY2" fmla="*/ 28560 h 43728"/>
                  <a:gd name="connsiteX3" fmla="*/ 6067 w 201481"/>
                  <a:gd name="connsiteY3" fmla="*/ 25526 h 43728"/>
                  <a:gd name="connsiteX4" fmla="*/ 191123 w 201481"/>
                  <a:gd name="connsiteY4" fmla="*/ 1257 h 43728"/>
                  <a:gd name="connsiteX5" fmla="*/ 200224 w 201481"/>
                  <a:gd name="connsiteY5" fmla="*/ 4290 h 43728"/>
                  <a:gd name="connsiteX6" fmla="*/ 197191 w 201481"/>
                  <a:gd name="connsiteY6" fmla="*/ 13391 h 43728"/>
                  <a:gd name="connsiteX7" fmla="*/ 63708 w 201481"/>
                  <a:gd name="connsiteY7" fmla="*/ 43728 h 4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481" h="43728">
                    <a:moveTo>
                      <a:pt x="63708" y="43728"/>
                    </a:moveTo>
                    <a:cubicBezTo>
                      <a:pt x="42472" y="43728"/>
                      <a:pt x="24269" y="40695"/>
                      <a:pt x="3033" y="34627"/>
                    </a:cubicBezTo>
                    <a:cubicBezTo>
                      <a:pt x="0" y="34627"/>
                      <a:pt x="0" y="31594"/>
                      <a:pt x="0" y="28560"/>
                    </a:cubicBezTo>
                    <a:cubicBezTo>
                      <a:pt x="0" y="25526"/>
                      <a:pt x="3033" y="25526"/>
                      <a:pt x="6067" y="25526"/>
                    </a:cubicBezTo>
                    <a:cubicBezTo>
                      <a:pt x="91011" y="55863"/>
                      <a:pt x="191123" y="1257"/>
                      <a:pt x="191123" y="1257"/>
                    </a:cubicBezTo>
                    <a:cubicBezTo>
                      <a:pt x="194157" y="-1777"/>
                      <a:pt x="197191" y="1257"/>
                      <a:pt x="200224" y="4290"/>
                    </a:cubicBezTo>
                    <a:cubicBezTo>
                      <a:pt x="203258" y="7324"/>
                      <a:pt x="200224" y="10357"/>
                      <a:pt x="197191" y="13391"/>
                    </a:cubicBezTo>
                    <a:cubicBezTo>
                      <a:pt x="191123" y="7324"/>
                      <a:pt x="130449" y="43728"/>
                      <a:pt x="63708" y="437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780A8544-E988-42BB-8194-7F370E8EE949}"/>
                </a:ext>
              </a:extLst>
            </p:cNvPr>
            <p:cNvGrpSpPr/>
            <p:nvPr/>
          </p:nvGrpSpPr>
          <p:grpSpPr>
            <a:xfrm>
              <a:off x="8648466" y="12163437"/>
              <a:ext cx="493483" cy="339775"/>
              <a:chOff x="8648466" y="12163437"/>
              <a:chExt cx="493483" cy="339775"/>
            </a:xfrm>
          </p:grpSpPr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3C0CD136-CEB7-4E66-83CC-00DF2D66F972}"/>
                  </a:ext>
                </a:extLst>
              </p:cNvPr>
              <p:cNvSpPr/>
              <p:nvPr/>
            </p:nvSpPr>
            <p:spPr>
              <a:xfrm>
                <a:off x="8942736" y="12163437"/>
                <a:ext cx="182022" cy="221461"/>
              </a:xfrm>
              <a:custGeom>
                <a:avLst/>
                <a:gdLst>
                  <a:gd name="connsiteX0" fmla="*/ 178989 w 182022"/>
                  <a:gd name="connsiteY0" fmla="*/ 182022 h 221461"/>
                  <a:gd name="connsiteX1" fmla="*/ 182022 w 182022"/>
                  <a:gd name="connsiteY1" fmla="*/ 0 h 221461"/>
                  <a:gd name="connsiteX2" fmla="*/ 0 w 182022"/>
                  <a:gd name="connsiteY2" fmla="*/ 0 h 221461"/>
                  <a:gd name="connsiteX3" fmla="*/ 15169 w 182022"/>
                  <a:gd name="connsiteY3" fmla="*/ 194158 h 221461"/>
                  <a:gd name="connsiteX4" fmla="*/ 166854 w 182022"/>
                  <a:gd name="connsiteY4" fmla="*/ 221461 h 221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022" h="221461">
                    <a:moveTo>
                      <a:pt x="178989" y="182022"/>
                    </a:moveTo>
                    <a:lnTo>
                      <a:pt x="182022" y="0"/>
                    </a:lnTo>
                    <a:lnTo>
                      <a:pt x="0" y="0"/>
                    </a:lnTo>
                    <a:lnTo>
                      <a:pt x="15169" y="194158"/>
                    </a:lnTo>
                    <a:lnTo>
                      <a:pt x="166854" y="221461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FB6C9493-7B8D-41F4-A6F4-4ABCD6832302}"/>
                  </a:ext>
                </a:extLst>
              </p:cNvPr>
              <p:cNvSpPr/>
              <p:nvPr/>
            </p:nvSpPr>
            <p:spPr>
              <a:xfrm>
                <a:off x="8648466" y="12299954"/>
                <a:ext cx="493483" cy="157753"/>
              </a:xfrm>
              <a:custGeom>
                <a:avLst/>
                <a:gdLst>
                  <a:gd name="connsiteX0" fmla="*/ 485393 w 493483"/>
                  <a:gd name="connsiteY0" fmla="*/ 45506 h 157753"/>
                  <a:gd name="connsiteX1" fmla="*/ 300337 w 493483"/>
                  <a:gd name="connsiteY1" fmla="*/ 0 h 157753"/>
                  <a:gd name="connsiteX2" fmla="*/ 166854 w 493483"/>
                  <a:gd name="connsiteY2" fmla="*/ 78877 h 157753"/>
                  <a:gd name="connsiteX3" fmla="*/ 0 w 493483"/>
                  <a:gd name="connsiteY3" fmla="*/ 157753 h 157753"/>
                  <a:gd name="connsiteX4" fmla="*/ 485393 w 493483"/>
                  <a:gd name="connsiteY4" fmla="*/ 157753 h 157753"/>
                  <a:gd name="connsiteX5" fmla="*/ 485393 w 493483"/>
                  <a:gd name="connsiteY5" fmla="*/ 45506 h 157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3483" h="157753">
                    <a:moveTo>
                      <a:pt x="485393" y="45506"/>
                    </a:moveTo>
                    <a:cubicBezTo>
                      <a:pt x="485393" y="45506"/>
                      <a:pt x="361012" y="63708"/>
                      <a:pt x="300337" y="0"/>
                    </a:cubicBezTo>
                    <a:cubicBezTo>
                      <a:pt x="300337" y="0"/>
                      <a:pt x="212360" y="69776"/>
                      <a:pt x="166854" y="78877"/>
                    </a:cubicBezTo>
                    <a:cubicBezTo>
                      <a:pt x="121348" y="87978"/>
                      <a:pt x="12135" y="84944"/>
                      <a:pt x="0" y="157753"/>
                    </a:cubicBezTo>
                    <a:lnTo>
                      <a:pt x="485393" y="157753"/>
                    </a:lnTo>
                    <a:cubicBezTo>
                      <a:pt x="485393" y="157753"/>
                      <a:pt x="503596" y="97079"/>
                      <a:pt x="485393" y="4550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4" name="任意多边形: 形状 163">
                <a:extLst>
                  <a:ext uri="{FF2B5EF4-FFF2-40B4-BE49-F238E27FC236}">
                    <a16:creationId xmlns:a16="http://schemas.microsoft.com/office/drawing/2014/main" id="{F08E9245-CD4F-4B49-B639-6A0A10269B63}"/>
                  </a:ext>
                </a:extLst>
              </p:cNvPr>
              <p:cNvSpPr/>
              <p:nvPr/>
            </p:nvSpPr>
            <p:spPr>
              <a:xfrm>
                <a:off x="8648466" y="12457707"/>
                <a:ext cx="485393" cy="45505"/>
              </a:xfrm>
              <a:custGeom>
                <a:avLst/>
                <a:gdLst>
                  <a:gd name="connsiteX0" fmla="*/ 0 w 485393"/>
                  <a:gd name="connsiteY0" fmla="*/ 0 h 45505"/>
                  <a:gd name="connsiteX1" fmla="*/ 485393 w 485393"/>
                  <a:gd name="connsiteY1" fmla="*/ 0 h 45505"/>
                  <a:gd name="connsiteX2" fmla="*/ 485393 w 485393"/>
                  <a:gd name="connsiteY2" fmla="*/ 45506 h 45505"/>
                  <a:gd name="connsiteX3" fmla="*/ 0 w 485393"/>
                  <a:gd name="connsiteY3" fmla="*/ 45506 h 4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393" h="45505">
                    <a:moveTo>
                      <a:pt x="0" y="0"/>
                    </a:moveTo>
                    <a:lnTo>
                      <a:pt x="485393" y="0"/>
                    </a:lnTo>
                    <a:lnTo>
                      <a:pt x="485393" y="45506"/>
                    </a:lnTo>
                    <a:lnTo>
                      <a:pt x="0" y="45506"/>
                    </a:ln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5F3DE958-2B42-4DD1-8746-6C6E2997C82B}"/>
                  </a:ext>
                </a:extLst>
              </p:cNvPr>
              <p:cNvSpPr/>
              <p:nvPr/>
            </p:nvSpPr>
            <p:spPr>
              <a:xfrm>
                <a:off x="8940461" y="12291611"/>
                <a:ext cx="199466" cy="62949"/>
              </a:xfrm>
              <a:custGeom>
                <a:avLst/>
                <a:gdLst>
                  <a:gd name="connsiteX0" fmla="*/ 156994 w 199466"/>
                  <a:gd name="connsiteY0" fmla="*/ 62950 h 62949"/>
                  <a:gd name="connsiteX1" fmla="*/ 2275 w 199466"/>
                  <a:gd name="connsiteY1" fmla="*/ 11376 h 62949"/>
                  <a:gd name="connsiteX2" fmla="*/ 2275 w 199466"/>
                  <a:gd name="connsiteY2" fmla="*/ 2275 h 62949"/>
                  <a:gd name="connsiteX3" fmla="*/ 11376 w 199466"/>
                  <a:gd name="connsiteY3" fmla="*/ 2275 h 62949"/>
                  <a:gd name="connsiteX4" fmla="*/ 193399 w 199466"/>
                  <a:gd name="connsiteY4" fmla="*/ 47781 h 62949"/>
                  <a:gd name="connsiteX5" fmla="*/ 199466 w 199466"/>
                  <a:gd name="connsiteY5" fmla="*/ 53848 h 62949"/>
                  <a:gd name="connsiteX6" fmla="*/ 193399 w 199466"/>
                  <a:gd name="connsiteY6" fmla="*/ 59916 h 62949"/>
                  <a:gd name="connsiteX7" fmla="*/ 156994 w 199466"/>
                  <a:gd name="connsiteY7" fmla="*/ 62950 h 62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9466" h="62949">
                    <a:moveTo>
                      <a:pt x="156994" y="62950"/>
                    </a:moveTo>
                    <a:cubicBezTo>
                      <a:pt x="117556" y="62950"/>
                      <a:pt x="50814" y="56882"/>
                      <a:pt x="2275" y="11376"/>
                    </a:cubicBezTo>
                    <a:cubicBezTo>
                      <a:pt x="-758" y="8342"/>
                      <a:pt x="-758" y="5309"/>
                      <a:pt x="2275" y="2275"/>
                    </a:cubicBezTo>
                    <a:cubicBezTo>
                      <a:pt x="5309" y="-758"/>
                      <a:pt x="8343" y="-758"/>
                      <a:pt x="11376" y="2275"/>
                    </a:cubicBezTo>
                    <a:cubicBezTo>
                      <a:pt x="78118" y="62950"/>
                      <a:pt x="190365" y="47781"/>
                      <a:pt x="193399" y="47781"/>
                    </a:cubicBezTo>
                    <a:cubicBezTo>
                      <a:pt x="196433" y="47781"/>
                      <a:pt x="199466" y="50815"/>
                      <a:pt x="199466" y="53848"/>
                    </a:cubicBezTo>
                    <a:cubicBezTo>
                      <a:pt x="199466" y="56882"/>
                      <a:pt x="196433" y="59916"/>
                      <a:pt x="193399" y="59916"/>
                    </a:cubicBezTo>
                    <a:cubicBezTo>
                      <a:pt x="193399" y="59916"/>
                      <a:pt x="178230" y="62950"/>
                      <a:pt x="156994" y="6295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6D045177-5735-44A3-BFFA-5A1585365BDA}"/>
                </a:ext>
              </a:extLst>
            </p:cNvPr>
            <p:cNvSpPr/>
            <p:nvPr/>
          </p:nvSpPr>
          <p:spPr>
            <a:xfrm>
              <a:off x="8798294" y="9957932"/>
              <a:ext cx="1112194" cy="2284381"/>
            </a:xfrm>
            <a:custGeom>
              <a:avLst/>
              <a:gdLst>
                <a:gd name="connsiteX0" fmla="*/ 7925 w 1112194"/>
                <a:gd name="connsiteY0" fmla="*/ 21235 h 2284381"/>
                <a:gd name="connsiteX1" fmla="*/ 20060 w 1112194"/>
                <a:gd name="connsiteY1" fmla="*/ 1398540 h 2284381"/>
                <a:gd name="connsiteX2" fmla="*/ 89835 w 1112194"/>
                <a:gd name="connsiteY2" fmla="*/ 2284382 h 2284381"/>
                <a:gd name="connsiteX3" fmla="*/ 384104 w 1112194"/>
                <a:gd name="connsiteY3" fmla="*/ 2284382 h 2284381"/>
                <a:gd name="connsiteX4" fmla="*/ 423543 w 1112194"/>
                <a:gd name="connsiteY4" fmla="*/ 1422809 h 2284381"/>
                <a:gd name="connsiteX5" fmla="*/ 505453 w 1112194"/>
                <a:gd name="connsiteY5" fmla="*/ 500562 h 2284381"/>
                <a:gd name="connsiteX6" fmla="*/ 560060 w 1112194"/>
                <a:gd name="connsiteY6" fmla="*/ 1416741 h 2284381"/>
                <a:gd name="connsiteX7" fmla="*/ 811857 w 1112194"/>
                <a:gd name="connsiteY7" fmla="*/ 2232809 h 2284381"/>
                <a:gd name="connsiteX8" fmla="*/ 1112194 w 1112194"/>
                <a:gd name="connsiteY8" fmla="*/ 2132696 h 2284381"/>
                <a:gd name="connsiteX9" fmla="*/ 915003 w 1112194"/>
                <a:gd name="connsiteY9" fmla="*/ 1398540 h 2284381"/>
                <a:gd name="connsiteX10" fmla="*/ 1027250 w 1112194"/>
                <a:gd name="connsiteY10" fmla="*/ 0 h 2284381"/>
                <a:gd name="connsiteX11" fmla="*/ 7925 w 1112194"/>
                <a:gd name="connsiteY11" fmla="*/ 21235 h 228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12194" h="2284381">
                  <a:moveTo>
                    <a:pt x="7925" y="21235"/>
                  </a:moveTo>
                  <a:cubicBezTo>
                    <a:pt x="7925" y="21235"/>
                    <a:pt x="-16345" y="1089101"/>
                    <a:pt x="20060" y="1398540"/>
                  </a:cubicBezTo>
                  <a:cubicBezTo>
                    <a:pt x="50397" y="1668539"/>
                    <a:pt x="89835" y="2284382"/>
                    <a:pt x="89835" y="2284382"/>
                  </a:cubicBezTo>
                  <a:lnTo>
                    <a:pt x="384104" y="2284382"/>
                  </a:lnTo>
                  <a:cubicBezTo>
                    <a:pt x="384104" y="2284382"/>
                    <a:pt x="417475" y="1519888"/>
                    <a:pt x="423543" y="1422809"/>
                  </a:cubicBezTo>
                  <a:cubicBezTo>
                    <a:pt x="429610" y="1283258"/>
                    <a:pt x="490284" y="530899"/>
                    <a:pt x="505453" y="500562"/>
                  </a:cubicBezTo>
                  <a:cubicBezTo>
                    <a:pt x="520621" y="470225"/>
                    <a:pt x="560060" y="1416741"/>
                    <a:pt x="560060" y="1416741"/>
                  </a:cubicBezTo>
                  <a:lnTo>
                    <a:pt x="811857" y="2232809"/>
                  </a:lnTo>
                  <a:lnTo>
                    <a:pt x="1112194" y="2132696"/>
                  </a:lnTo>
                  <a:cubicBezTo>
                    <a:pt x="1112194" y="2132696"/>
                    <a:pt x="908936" y="1498652"/>
                    <a:pt x="915003" y="1398540"/>
                  </a:cubicBezTo>
                  <a:cubicBezTo>
                    <a:pt x="924105" y="1246854"/>
                    <a:pt x="1072756" y="100112"/>
                    <a:pt x="1027250" y="0"/>
                  </a:cubicBezTo>
                  <a:cubicBezTo>
                    <a:pt x="329498" y="33371"/>
                    <a:pt x="7925" y="21235"/>
                    <a:pt x="7925" y="21235"/>
                  </a:cubicBezTo>
                  <a:close/>
                </a:path>
              </a:pathLst>
            </a:custGeom>
            <a:solidFill>
              <a:srgbClr val="F1DDBA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21522AFB-6B30-4ECB-86FA-CC2033E8B9F0}"/>
                </a:ext>
              </a:extLst>
            </p:cNvPr>
            <p:cNvSpPr/>
            <p:nvPr/>
          </p:nvSpPr>
          <p:spPr>
            <a:xfrm>
              <a:off x="9237006" y="10106583"/>
              <a:ext cx="69775" cy="361011"/>
            </a:xfrm>
            <a:custGeom>
              <a:avLst/>
              <a:gdLst>
                <a:gd name="connsiteX0" fmla="*/ 63708 w 69775"/>
                <a:gd name="connsiteY0" fmla="*/ 361011 h 361011"/>
                <a:gd name="connsiteX1" fmla="*/ 57640 w 69775"/>
                <a:gd name="connsiteY1" fmla="*/ 357977 h 361011"/>
                <a:gd name="connsiteX2" fmla="*/ 0 w 69775"/>
                <a:gd name="connsiteY2" fmla="*/ 6068 h 361011"/>
                <a:gd name="connsiteX3" fmla="*/ 6067 w 69775"/>
                <a:gd name="connsiteY3" fmla="*/ 0 h 361011"/>
                <a:gd name="connsiteX4" fmla="*/ 12135 w 69775"/>
                <a:gd name="connsiteY4" fmla="*/ 6068 h 361011"/>
                <a:gd name="connsiteX5" fmla="*/ 69775 w 69775"/>
                <a:gd name="connsiteY5" fmla="*/ 354944 h 361011"/>
                <a:gd name="connsiteX6" fmla="*/ 63708 w 69775"/>
                <a:gd name="connsiteY6" fmla="*/ 361011 h 361011"/>
                <a:gd name="connsiteX7" fmla="*/ 63708 w 69775"/>
                <a:gd name="connsiteY7" fmla="*/ 361011 h 361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775" h="361011">
                  <a:moveTo>
                    <a:pt x="63708" y="361011"/>
                  </a:moveTo>
                  <a:cubicBezTo>
                    <a:pt x="60674" y="361011"/>
                    <a:pt x="60674" y="361011"/>
                    <a:pt x="57640" y="357977"/>
                  </a:cubicBezTo>
                  <a:cubicBezTo>
                    <a:pt x="9101" y="242697"/>
                    <a:pt x="0" y="15169"/>
                    <a:pt x="0" y="6068"/>
                  </a:cubicBezTo>
                  <a:cubicBezTo>
                    <a:pt x="0" y="3034"/>
                    <a:pt x="3033" y="0"/>
                    <a:pt x="6067" y="0"/>
                  </a:cubicBezTo>
                  <a:cubicBezTo>
                    <a:pt x="9101" y="0"/>
                    <a:pt x="12135" y="3034"/>
                    <a:pt x="12135" y="6068"/>
                  </a:cubicBezTo>
                  <a:cubicBezTo>
                    <a:pt x="12135" y="9101"/>
                    <a:pt x="21236" y="242697"/>
                    <a:pt x="69775" y="354944"/>
                  </a:cubicBezTo>
                  <a:cubicBezTo>
                    <a:pt x="69775" y="354944"/>
                    <a:pt x="69775" y="357977"/>
                    <a:pt x="63708" y="361011"/>
                  </a:cubicBezTo>
                  <a:cubicBezTo>
                    <a:pt x="63708" y="361011"/>
                    <a:pt x="63708" y="361011"/>
                    <a:pt x="63708" y="361011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A8488192-5BB1-4C5A-ABCF-A8BF0C052BCB}"/>
                </a:ext>
              </a:extLst>
            </p:cNvPr>
            <p:cNvSpPr/>
            <p:nvPr/>
          </p:nvSpPr>
          <p:spPr>
            <a:xfrm>
              <a:off x="9124759" y="10036808"/>
              <a:ext cx="154718" cy="351909"/>
            </a:xfrm>
            <a:custGeom>
              <a:avLst/>
              <a:gdLst>
                <a:gd name="connsiteX0" fmla="*/ 145618 w 154718"/>
                <a:gd name="connsiteY0" fmla="*/ 351909 h 351909"/>
                <a:gd name="connsiteX1" fmla="*/ 142584 w 154718"/>
                <a:gd name="connsiteY1" fmla="*/ 351909 h 351909"/>
                <a:gd name="connsiteX2" fmla="*/ 33371 w 154718"/>
                <a:gd name="connsiteY2" fmla="*/ 273034 h 351909"/>
                <a:gd name="connsiteX3" fmla="*/ 0 w 154718"/>
                <a:gd name="connsiteY3" fmla="*/ 6067 h 351909"/>
                <a:gd name="connsiteX4" fmla="*/ 6067 w 154718"/>
                <a:gd name="connsiteY4" fmla="*/ 0 h 351909"/>
                <a:gd name="connsiteX5" fmla="*/ 6067 w 154718"/>
                <a:gd name="connsiteY5" fmla="*/ 0 h 351909"/>
                <a:gd name="connsiteX6" fmla="*/ 12135 w 154718"/>
                <a:gd name="connsiteY6" fmla="*/ 6067 h 351909"/>
                <a:gd name="connsiteX7" fmla="*/ 45506 w 154718"/>
                <a:gd name="connsiteY7" fmla="*/ 266966 h 351909"/>
                <a:gd name="connsiteX8" fmla="*/ 151685 w 154718"/>
                <a:gd name="connsiteY8" fmla="*/ 342809 h 351909"/>
                <a:gd name="connsiteX9" fmla="*/ 154719 w 154718"/>
                <a:gd name="connsiteY9" fmla="*/ 351909 h 351909"/>
                <a:gd name="connsiteX10" fmla="*/ 145618 w 154718"/>
                <a:gd name="connsiteY10" fmla="*/ 351909 h 35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4718" h="351909">
                  <a:moveTo>
                    <a:pt x="145618" y="351909"/>
                  </a:moveTo>
                  <a:cubicBezTo>
                    <a:pt x="145618" y="351909"/>
                    <a:pt x="142584" y="351909"/>
                    <a:pt x="142584" y="351909"/>
                  </a:cubicBezTo>
                  <a:cubicBezTo>
                    <a:pt x="133483" y="345843"/>
                    <a:pt x="45506" y="288202"/>
                    <a:pt x="33371" y="273034"/>
                  </a:cubicBezTo>
                  <a:cubicBezTo>
                    <a:pt x="21236" y="257865"/>
                    <a:pt x="3033" y="48539"/>
                    <a:pt x="0" y="6067"/>
                  </a:cubicBezTo>
                  <a:cubicBezTo>
                    <a:pt x="0" y="3033"/>
                    <a:pt x="3033" y="0"/>
                    <a:pt x="6067" y="0"/>
                  </a:cubicBezTo>
                  <a:lnTo>
                    <a:pt x="6067" y="0"/>
                  </a:lnTo>
                  <a:cubicBezTo>
                    <a:pt x="9101" y="0"/>
                    <a:pt x="12135" y="3033"/>
                    <a:pt x="12135" y="6067"/>
                  </a:cubicBezTo>
                  <a:cubicBezTo>
                    <a:pt x="21236" y="100112"/>
                    <a:pt x="36404" y="254831"/>
                    <a:pt x="45506" y="266966"/>
                  </a:cubicBezTo>
                  <a:cubicBezTo>
                    <a:pt x="54606" y="276067"/>
                    <a:pt x="112247" y="318539"/>
                    <a:pt x="151685" y="342809"/>
                  </a:cubicBezTo>
                  <a:cubicBezTo>
                    <a:pt x="154719" y="345843"/>
                    <a:pt x="154719" y="348876"/>
                    <a:pt x="154719" y="351909"/>
                  </a:cubicBezTo>
                  <a:cubicBezTo>
                    <a:pt x="151685" y="348876"/>
                    <a:pt x="148652" y="351909"/>
                    <a:pt x="145618" y="351909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28F1FEBE-A097-4890-A5BF-BF64CD86E62D}"/>
                </a:ext>
              </a:extLst>
            </p:cNvPr>
            <p:cNvSpPr/>
            <p:nvPr/>
          </p:nvSpPr>
          <p:spPr>
            <a:xfrm>
              <a:off x="9695095" y="9973100"/>
              <a:ext cx="133483" cy="236628"/>
            </a:xfrm>
            <a:custGeom>
              <a:avLst/>
              <a:gdLst>
                <a:gd name="connsiteX0" fmla="*/ 127416 w 133483"/>
                <a:gd name="connsiteY0" fmla="*/ 236629 h 236628"/>
                <a:gd name="connsiteX1" fmla="*/ 127416 w 133483"/>
                <a:gd name="connsiteY1" fmla="*/ 236629 h 236628"/>
                <a:gd name="connsiteX2" fmla="*/ 15169 w 133483"/>
                <a:gd name="connsiteY2" fmla="*/ 203258 h 236628"/>
                <a:gd name="connsiteX3" fmla="*/ 0 w 133483"/>
                <a:gd name="connsiteY3" fmla="*/ 6067 h 236628"/>
                <a:gd name="connsiteX4" fmla="*/ 6068 w 133483"/>
                <a:gd name="connsiteY4" fmla="*/ 0 h 236628"/>
                <a:gd name="connsiteX5" fmla="*/ 6068 w 133483"/>
                <a:gd name="connsiteY5" fmla="*/ 0 h 236628"/>
                <a:gd name="connsiteX6" fmla="*/ 12135 w 133483"/>
                <a:gd name="connsiteY6" fmla="*/ 6067 h 236628"/>
                <a:gd name="connsiteX7" fmla="*/ 24270 w 133483"/>
                <a:gd name="connsiteY7" fmla="*/ 200225 h 236628"/>
                <a:gd name="connsiteX8" fmla="*/ 127416 w 133483"/>
                <a:gd name="connsiteY8" fmla="*/ 227528 h 236628"/>
                <a:gd name="connsiteX9" fmla="*/ 133483 w 133483"/>
                <a:gd name="connsiteY9" fmla="*/ 233595 h 236628"/>
                <a:gd name="connsiteX10" fmla="*/ 127416 w 133483"/>
                <a:gd name="connsiteY10" fmla="*/ 236629 h 236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3483" h="236628">
                  <a:moveTo>
                    <a:pt x="127416" y="236629"/>
                  </a:moveTo>
                  <a:cubicBezTo>
                    <a:pt x="127416" y="236629"/>
                    <a:pt x="127416" y="236629"/>
                    <a:pt x="127416" y="236629"/>
                  </a:cubicBezTo>
                  <a:cubicBezTo>
                    <a:pt x="109214" y="233595"/>
                    <a:pt x="27304" y="221460"/>
                    <a:pt x="15169" y="203258"/>
                  </a:cubicBezTo>
                  <a:cubicBezTo>
                    <a:pt x="6068" y="185056"/>
                    <a:pt x="0" y="24269"/>
                    <a:pt x="0" y="6067"/>
                  </a:cubicBezTo>
                  <a:cubicBezTo>
                    <a:pt x="0" y="3034"/>
                    <a:pt x="3034" y="0"/>
                    <a:pt x="6068" y="0"/>
                  </a:cubicBezTo>
                  <a:lnTo>
                    <a:pt x="6068" y="0"/>
                  </a:lnTo>
                  <a:cubicBezTo>
                    <a:pt x="9101" y="0"/>
                    <a:pt x="12135" y="3034"/>
                    <a:pt x="12135" y="6067"/>
                  </a:cubicBezTo>
                  <a:cubicBezTo>
                    <a:pt x="12135" y="75843"/>
                    <a:pt x="18202" y="188089"/>
                    <a:pt x="24270" y="200225"/>
                  </a:cubicBezTo>
                  <a:cubicBezTo>
                    <a:pt x="30337" y="209326"/>
                    <a:pt x="78877" y="221460"/>
                    <a:pt x="127416" y="227528"/>
                  </a:cubicBezTo>
                  <a:cubicBezTo>
                    <a:pt x="130450" y="227528"/>
                    <a:pt x="133483" y="230562"/>
                    <a:pt x="133483" y="233595"/>
                  </a:cubicBezTo>
                  <a:cubicBezTo>
                    <a:pt x="133483" y="233595"/>
                    <a:pt x="130450" y="236629"/>
                    <a:pt x="127416" y="236629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2B0DF1B1-5D4E-45CE-841B-8FB44154B19C}"/>
                </a:ext>
              </a:extLst>
            </p:cNvPr>
            <p:cNvSpPr/>
            <p:nvPr/>
          </p:nvSpPr>
          <p:spPr>
            <a:xfrm>
              <a:off x="8806219" y="9982201"/>
              <a:ext cx="91011" cy="206292"/>
            </a:xfrm>
            <a:custGeom>
              <a:avLst/>
              <a:gdLst>
                <a:gd name="connsiteX0" fmla="*/ 12135 w 91011"/>
                <a:gd name="connsiteY0" fmla="*/ 206293 h 206292"/>
                <a:gd name="connsiteX1" fmla="*/ 6067 w 91011"/>
                <a:gd name="connsiteY1" fmla="*/ 206293 h 206292"/>
                <a:gd name="connsiteX2" fmla="*/ 0 w 91011"/>
                <a:gd name="connsiteY2" fmla="*/ 200225 h 206292"/>
                <a:gd name="connsiteX3" fmla="*/ 6067 w 91011"/>
                <a:gd name="connsiteY3" fmla="*/ 194157 h 206292"/>
                <a:gd name="connsiteX4" fmla="*/ 60674 w 91011"/>
                <a:gd name="connsiteY4" fmla="*/ 175956 h 206292"/>
                <a:gd name="connsiteX5" fmla="*/ 78876 w 91011"/>
                <a:gd name="connsiteY5" fmla="*/ 6068 h 206292"/>
                <a:gd name="connsiteX6" fmla="*/ 84943 w 91011"/>
                <a:gd name="connsiteY6" fmla="*/ 0 h 206292"/>
                <a:gd name="connsiteX7" fmla="*/ 84943 w 91011"/>
                <a:gd name="connsiteY7" fmla="*/ 0 h 206292"/>
                <a:gd name="connsiteX8" fmla="*/ 91011 w 91011"/>
                <a:gd name="connsiteY8" fmla="*/ 6068 h 206292"/>
                <a:gd name="connsiteX9" fmla="*/ 69775 w 91011"/>
                <a:gd name="connsiteY9" fmla="*/ 178989 h 206292"/>
                <a:gd name="connsiteX10" fmla="*/ 12135 w 91011"/>
                <a:gd name="connsiteY10" fmla="*/ 206293 h 206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011" h="206292">
                  <a:moveTo>
                    <a:pt x="12135" y="206293"/>
                  </a:moveTo>
                  <a:cubicBezTo>
                    <a:pt x="9101" y="206293"/>
                    <a:pt x="6067" y="206293"/>
                    <a:pt x="6067" y="206293"/>
                  </a:cubicBezTo>
                  <a:cubicBezTo>
                    <a:pt x="3033" y="206293"/>
                    <a:pt x="0" y="203259"/>
                    <a:pt x="0" y="200225"/>
                  </a:cubicBezTo>
                  <a:cubicBezTo>
                    <a:pt x="0" y="197191"/>
                    <a:pt x="3033" y="194157"/>
                    <a:pt x="6067" y="194157"/>
                  </a:cubicBezTo>
                  <a:cubicBezTo>
                    <a:pt x="6067" y="194157"/>
                    <a:pt x="48539" y="197191"/>
                    <a:pt x="60674" y="175956"/>
                  </a:cubicBezTo>
                  <a:cubicBezTo>
                    <a:pt x="72809" y="154719"/>
                    <a:pt x="78876" y="48540"/>
                    <a:pt x="78876" y="6068"/>
                  </a:cubicBezTo>
                  <a:cubicBezTo>
                    <a:pt x="78876" y="3034"/>
                    <a:pt x="81910" y="0"/>
                    <a:pt x="84943" y="0"/>
                  </a:cubicBezTo>
                  <a:cubicBezTo>
                    <a:pt x="84943" y="0"/>
                    <a:pt x="84943" y="0"/>
                    <a:pt x="84943" y="0"/>
                  </a:cubicBezTo>
                  <a:cubicBezTo>
                    <a:pt x="87977" y="0"/>
                    <a:pt x="91011" y="3034"/>
                    <a:pt x="91011" y="6068"/>
                  </a:cubicBezTo>
                  <a:cubicBezTo>
                    <a:pt x="91011" y="21236"/>
                    <a:pt x="84943" y="154719"/>
                    <a:pt x="69775" y="178989"/>
                  </a:cubicBezTo>
                  <a:cubicBezTo>
                    <a:pt x="57640" y="203259"/>
                    <a:pt x="27303" y="206293"/>
                    <a:pt x="12135" y="206293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FC991DDB-A463-4EDA-B618-D8019F190856}"/>
                </a:ext>
              </a:extLst>
            </p:cNvPr>
            <p:cNvSpPr/>
            <p:nvPr/>
          </p:nvSpPr>
          <p:spPr>
            <a:xfrm>
              <a:off x="8005320" y="8770929"/>
              <a:ext cx="969515" cy="968607"/>
            </a:xfrm>
            <a:custGeom>
              <a:avLst/>
              <a:gdLst>
                <a:gd name="connsiteX0" fmla="*/ 910112 w 969515"/>
                <a:gd name="connsiteY0" fmla="*/ 6890 h 968607"/>
                <a:gd name="connsiteX1" fmla="*/ 594607 w 969515"/>
                <a:gd name="connsiteY1" fmla="*/ 301160 h 968607"/>
                <a:gd name="connsiteX2" fmla="*/ 415618 w 969515"/>
                <a:gd name="connsiteY2" fmla="*/ 686441 h 968607"/>
                <a:gd name="connsiteX3" fmla="*/ 81910 w 969515"/>
                <a:gd name="connsiteY3" fmla="*/ 355767 h 968607"/>
                <a:gd name="connsiteX4" fmla="*/ 0 w 969515"/>
                <a:gd name="connsiteY4" fmla="*/ 440711 h 968607"/>
                <a:gd name="connsiteX5" fmla="*/ 421686 w 969515"/>
                <a:gd name="connsiteY5" fmla="*/ 968576 h 968607"/>
                <a:gd name="connsiteX6" fmla="*/ 910112 w 969515"/>
                <a:gd name="connsiteY6" fmla="*/ 6890 h 968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69515" h="968607">
                  <a:moveTo>
                    <a:pt x="910112" y="6890"/>
                  </a:moveTo>
                  <a:cubicBezTo>
                    <a:pt x="803933" y="-44683"/>
                    <a:pt x="655281" y="207115"/>
                    <a:pt x="594607" y="301160"/>
                  </a:cubicBezTo>
                  <a:cubicBezTo>
                    <a:pt x="543034" y="386104"/>
                    <a:pt x="415618" y="686441"/>
                    <a:pt x="415618" y="686441"/>
                  </a:cubicBezTo>
                  <a:lnTo>
                    <a:pt x="81910" y="355767"/>
                  </a:lnTo>
                  <a:lnTo>
                    <a:pt x="0" y="440711"/>
                  </a:lnTo>
                  <a:cubicBezTo>
                    <a:pt x="0" y="440711"/>
                    <a:pt x="312472" y="962509"/>
                    <a:pt x="421686" y="968576"/>
                  </a:cubicBezTo>
                  <a:cubicBezTo>
                    <a:pt x="612809" y="974643"/>
                    <a:pt x="1146742" y="119137"/>
                    <a:pt x="910112" y="6890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C8B24037-F559-431C-BB6D-46187CC34257}"/>
                </a:ext>
              </a:extLst>
            </p:cNvPr>
            <p:cNvSpPr/>
            <p:nvPr/>
          </p:nvSpPr>
          <p:spPr>
            <a:xfrm>
              <a:off x="9164196" y="8353100"/>
              <a:ext cx="248764" cy="256965"/>
            </a:xfrm>
            <a:custGeom>
              <a:avLst/>
              <a:gdLst>
                <a:gd name="connsiteX0" fmla="*/ 0 w 248764"/>
                <a:gd name="connsiteY0" fmla="*/ 39438 h 256965"/>
                <a:gd name="connsiteX1" fmla="*/ 6068 w 248764"/>
                <a:gd name="connsiteY1" fmla="*/ 212360 h 256965"/>
                <a:gd name="connsiteX2" fmla="*/ 248764 w 248764"/>
                <a:gd name="connsiteY2" fmla="*/ 203258 h 256965"/>
                <a:gd name="connsiteX3" fmla="*/ 233596 w 248764"/>
                <a:gd name="connsiteY3" fmla="*/ 0 h 256965"/>
                <a:gd name="connsiteX4" fmla="*/ 0 w 248764"/>
                <a:gd name="connsiteY4" fmla="*/ 39438 h 25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764" h="256965">
                  <a:moveTo>
                    <a:pt x="0" y="39438"/>
                  </a:moveTo>
                  <a:cubicBezTo>
                    <a:pt x="0" y="39438"/>
                    <a:pt x="6068" y="139551"/>
                    <a:pt x="6068" y="212360"/>
                  </a:cubicBezTo>
                  <a:cubicBezTo>
                    <a:pt x="6068" y="212360"/>
                    <a:pt x="100112" y="318539"/>
                    <a:pt x="248764" y="203258"/>
                  </a:cubicBezTo>
                  <a:cubicBezTo>
                    <a:pt x="248764" y="142584"/>
                    <a:pt x="236629" y="63708"/>
                    <a:pt x="233596" y="0"/>
                  </a:cubicBezTo>
                  <a:cubicBezTo>
                    <a:pt x="233596" y="0"/>
                    <a:pt x="51573" y="51573"/>
                    <a:pt x="0" y="39438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3FA4E095-89BD-430A-AA56-23FE04E10331}"/>
                </a:ext>
              </a:extLst>
            </p:cNvPr>
            <p:cNvSpPr/>
            <p:nvPr/>
          </p:nvSpPr>
          <p:spPr>
            <a:xfrm>
              <a:off x="8802146" y="8516920"/>
              <a:ext cx="1023398" cy="1557139"/>
            </a:xfrm>
            <a:custGeom>
              <a:avLst/>
              <a:gdLst>
                <a:gd name="connsiteX0" fmla="*/ 629017 w 1023398"/>
                <a:gd name="connsiteY0" fmla="*/ 0 h 1557139"/>
                <a:gd name="connsiteX1" fmla="*/ 340814 w 1023398"/>
                <a:gd name="connsiteY1" fmla="*/ 0 h 1557139"/>
                <a:gd name="connsiteX2" fmla="*/ 43511 w 1023398"/>
                <a:gd name="connsiteY2" fmla="*/ 130449 h 1557139"/>
                <a:gd name="connsiteX3" fmla="*/ 4073 w 1023398"/>
                <a:gd name="connsiteY3" fmla="*/ 1522921 h 1557139"/>
                <a:gd name="connsiteX4" fmla="*/ 1023399 w 1023398"/>
                <a:gd name="connsiteY4" fmla="*/ 1504719 h 1557139"/>
                <a:gd name="connsiteX5" fmla="*/ 908118 w 1023398"/>
                <a:gd name="connsiteY5" fmla="*/ 103146 h 1557139"/>
                <a:gd name="connsiteX6" fmla="*/ 629017 w 1023398"/>
                <a:gd name="connsiteY6" fmla="*/ 0 h 1557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3398" h="1557139">
                  <a:moveTo>
                    <a:pt x="629017" y="0"/>
                  </a:moveTo>
                  <a:cubicBezTo>
                    <a:pt x="629017" y="0"/>
                    <a:pt x="456095" y="54606"/>
                    <a:pt x="340814" y="0"/>
                  </a:cubicBezTo>
                  <a:cubicBezTo>
                    <a:pt x="340814" y="0"/>
                    <a:pt x="67781" y="97079"/>
                    <a:pt x="43511" y="130449"/>
                  </a:cubicBezTo>
                  <a:cubicBezTo>
                    <a:pt x="19242" y="163820"/>
                    <a:pt x="-11096" y="897977"/>
                    <a:pt x="4073" y="1522921"/>
                  </a:cubicBezTo>
                  <a:cubicBezTo>
                    <a:pt x="4073" y="1522921"/>
                    <a:pt x="450028" y="1610899"/>
                    <a:pt x="1023399" y="1504719"/>
                  </a:cubicBezTo>
                  <a:cubicBezTo>
                    <a:pt x="1023399" y="1149775"/>
                    <a:pt x="950590" y="133483"/>
                    <a:pt x="908118" y="103146"/>
                  </a:cubicBezTo>
                  <a:cubicBezTo>
                    <a:pt x="865646" y="69775"/>
                    <a:pt x="629017" y="0"/>
                    <a:pt x="629017" y="0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51C94A9A-28BC-49FD-812F-91A4EFC3637F}"/>
                </a:ext>
              </a:extLst>
            </p:cNvPr>
            <p:cNvSpPr/>
            <p:nvPr/>
          </p:nvSpPr>
          <p:spPr>
            <a:xfrm>
              <a:off x="8563523" y="8602540"/>
              <a:ext cx="456138" cy="609099"/>
            </a:xfrm>
            <a:custGeom>
              <a:avLst/>
              <a:gdLst>
                <a:gd name="connsiteX0" fmla="*/ 382247 w 456138"/>
                <a:gd name="connsiteY0" fmla="*/ 609099 h 609099"/>
                <a:gd name="connsiteX1" fmla="*/ 406517 w 456138"/>
                <a:gd name="connsiteY1" fmla="*/ 11459 h 609099"/>
                <a:gd name="connsiteX2" fmla="*/ 0 w 456138"/>
                <a:gd name="connsiteY2" fmla="*/ 433144 h 609099"/>
                <a:gd name="connsiteX3" fmla="*/ 382247 w 456138"/>
                <a:gd name="connsiteY3" fmla="*/ 609099 h 609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138" h="609099">
                  <a:moveTo>
                    <a:pt x="382247" y="609099"/>
                  </a:moveTo>
                  <a:cubicBezTo>
                    <a:pt x="382247" y="609099"/>
                    <a:pt x="530899" y="93369"/>
                    <a:pt x="406517" y="11459"/>
                  </a:cubicBezTo>
                  <a:cubicBezTo>
                    <a:pt x="263933" y="-82586"/>
                    <a:pt x="0" y="433144"/>
                    <a:pt x="0" y="433144"/>
                  </a:cubicBezTo>
                  <a:cubicBezTo>
                    <a:pt x="0" y="433144"/>
                    <a:pt x="169887" y="587864"/>
                    <a:pt x="382247" y="609099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07F0C9B7-71E3-4950-A1C7-A528071FD4B6}"/>
                </a:ext>
              </a:extLst>
            </p:cNvPr>
            <p:cNvSpPr/>
            <p:nvPr/>
          </p:nvSpPr>
          <p:spPr>
            <a:xfrm>
              <a:off x="8803185" y="8640046"/>
              <a:ext cx="46762" cy="538222"/>
            </a:xfrm>
            <a:custGeom>
              <a:avLst/>
              <a:gdLst>
                <a:gd name="connsiteX0" fmla="*/ 6067 w 46762"/>
                <a:gd name="connsiteY0" fmla="*/ 538223 h 538222"/>
                <a:gd name="connsiteX1" fmla="*/ 6067 w 46762"/>
                <a:gd name="connsiteY1" fmla="*/ 538223 h 538222"/>
                <a:gd name="connsiteX2" fmla="*/ 0 w 46762"/>
                <a:gd name="connsiteY2" fmla="*/ 532155 h 538222"/>
                <a:gd name="connsiteX3" fmla="*/ 36404 w 46762"/>
                <a:gd name="connsiteY3" fmla="*/ 4290 h 538222"/>
                <a:gd name="connsiteX4" fmla="*/ 42472 w 46762"/>
                <a:gd name="connsiteY4" fmla="*/ 1256 h 538222"/>
                <a:gd name="connsiteX5" fmla="*/ 45506 w 46762"/>
                <a:gd name="connsiteY5" fmla="*/ 7324 h 538222"/>
                <a:gd name="connsiteX6" fmla="*/ 9101 w 46762"/>
                <a:gd name="connsiteY6" fmla="*/ 532155 h 538222"/>
                <a:gd name="connsiteX7" fmla="*/ 6067 w 46762"/>
                <a:gd name="connsiteY7" fmla="*/ 538223 h 538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762" h="538222">
                  <a:moveTo>
                    <a:pt x="6067" y="538223"/>
                  </a:moveTo>
                  <a:cubicBezTo>
                    <a:pt x="6067" y="538223"/>
                    <a:pt x="6067" y="538223"/>
                    <a:pt x="6067" y="538223"/>
                  </a:cubicBezTo>
                  <a:cubicBezTo>
                    <a:pt x="3034" y="538223"/>
                    <a:pt x="0" y="535189"/>
                    <a:pt x="0" y="532155"/>
                  </a:cubicBezTo>
                  <a:cubicBezTo>
                    <a:pt x="0" y="510920"/>
                    <a:pt x="27303" y="43729"/>
                    <a:pt x="36404" y="4290"/>
                  </a:cubicBezTo>
                  <a:cubicBezTo>
                    <a:pt x="36404" y="1256"/>
                    <a:pt x="39438" y="-1777"/>
                    <a:pt x="42472" y="1256"/>
                  </a:cubicBezTo>
                  <a:cubicBezTo>
                    <a:pt x="45506" y="1256"/>
                    <a:pt x="48540" y="4290"/>
                    <a:pt x="45506" y="7324"/>
                  </a:cubicBezTo>
                  <a:cubicBezTo>
                    <a:pt x="36404" y="46762"/>
                    <a:pt x="9101" y="529122"/>
                    <a:pt x="9101" y="532155"/>
                  </a:cubicBezTo>
                  <a:cubicBezTo>
                    <a:pt x="12135" y="535189"/>
                    <a:pt x="9101" y="538223"/>
                    <a:pt x="6067" y="538223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A4E0BB93-B761-4716-ADEB-1559BC908EAF}"/>
                </a:ext>
              </a:extLst>
            </p:cNvPr>
            <p:cNvSpPr/>
            <p:nvPr/>
          </p:nvSpPr>
          <p:spPr>
            <a:xfrm>
              <a:off x="8996732" y="8118410"/>
              <a:ext cx="72057" cy="147968"/>
            </a:xfrm>
            <a:custGeom>
              <a:avLst/>
              <a:gdLst>
                <a:gd name="connsiteX0" fmla="*/ 15779 w 72057"/>
                <a:gd name="connsiteY0" fmla="*/ 61768 h 147968"/>
                <a:gd name="connsiteX1" fmla="*/ 9712 w 72057"/>
                <a:gd name="connsiteY1" fmla="*/ 52667 h 147968"/>
                <a:gd name="connsiteX2" fmla="*/ 6678 w 72057"/>
                <a:gd name="connsiteY2" fmla="*/ 13229 h 147968"/>
                <a:gd name="connsiteX3" fmla="*/ 27914 w 72057"/>
                <a:gd name="connsiteY3" fmla="*/ 1094 h 147968"/>
                <a:gd name="connsiteX4" fmla="*/ 43083 w 72057"/>
                <a:gd name="connsiteY4" fmla="*/ 7162 h 147968"/>
                <a:gd name="connsiteX5" fmla="*/ 70386 w 72057"/>
                <a:gd name="connsiteY5" fmla="*/ 86038 h 147968"/>
                <a:gd name="connsiteX6" fmla="*/ 55217 w 72057"/>
                <a:gd name="connsiteY6" fmla="*/ 146712 h 147968"/>
                <a:gd name="connsiteX7" fmla="*/ 24880 w 72057"/>
                <a:gd name="connsiteY7" fmla="*/ 143678 h 147968"/>
                <a:gd name="connsiteX8" fmla="*/ 9712 w 72057"/>
                <a:gd name="connsiteY8" fmla="*/ 113341 h 147968"/>
                <a:gd name="connsiteX9" fmla="*/ 610 w 72057"/>
                <a:gd name="connsiteY9" fmla="*/ 79971 h 147968"/>
                <a:gd name="connsiteX10" fmla="*/ 15779 w 72057"/>
                <a:gd name="connsiteY10" fmla="*/ 61768 h 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057" h="147968">
                  <a:moveTo>
                    <a:pt x="15779" y="61768"/>
                  </a:moveTo>
                  <a:cubicBezTo>
                    <a:pt x="15779" y="55701"/>
                    <a:pt x="12746" y="55701"/>
                    <a:pt x="9712" y="52667"/>
                  </a:cubicBezTo>
                  <a:cubicBezTo>
                    <a:pt x="-2423" y="37499"/>
                    <a:pt x="6678" y="28397"/>
                    <a:pt x="6678" y="13229"/>
                  </a:cubicBezTo>
                  <a:cubicBezTo>
                    <a:pt x="6678" y="1094"/>
                    <a:pt x="18813" y="-1940"/>
                    <a:pt x="27914" y="1094"/>
                  </a:cubicBezTo>
                  <a:cubicBezTo>
                    <a:pt x="33981" y="1094"/>
                    <a:pt x="40049" y="1094"/>
                    <a:pt x="43083" y="7162"/>
                  </a:cubicBezTo>
                  <a:cubicBezTo>
                    <a:pt x="58251" y="34465"/>
                    <a:pt x="70386" y="55701"/>
                    <a:pt x="70386" y="86038"/>
                  </a:cubicBezTo>
                  <a:cubicBezTo>
                    <a:pt x="70386" y="110308"/>
                    <a:pt x="79487" y="134577"/>
                    <a:pt x="55217" y="146712"/>
                  </a:cubicBezTo>
                  <a:cubicBezTo>
                    <a:pt x="49150" y="149746"/>
                    <a:pt x="30948" y="146712"/>
                    <a:pt x="24880" y="143678"/>
                  </a:cubicBezTo>
                  <a:cubicBezTo>
                    <a:pt x="12746" y="137611"/>
                    <a:pt x="15779" y="116375"/>
                    <a:pt x="9712" y="113341"/>
                  </a:cubicBezTo>
                  <a:cubicBezTo>
                    <a:pt x="6678" y="101207"/>
                    <a:pt x="-2423" y="92106"/>
                    <a:pt x="610" y="79971"/>
                  </a:cubicBezTo>
                  <a:cubicBezTo>
                    <a:pt x="6678" y="73903"/>
                    <a:pt x="15779" y="67836"/>
                    <a:pt x="15779" y="61768"/>
                  </a:cubicBezTo>
                  <a:close/>
                </a:path>
              </a:pathLst>
            </a:custGeom>
            <a:solidFill>
              <a:srgbClr val="D3977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0A685246-EFAE-4EE4-BF04-3984B06CD256}"/>
                </a:ext>
              </a:extLst>
            </p:cNvPr>
            <p:cNvSpPr/>
            <p:nvPr/>
          </p:nvSpPr>
          <p:spPr>
            <a:xfrm>
              <a:off x="9406893" y="8231752"/>
              <a:ext cx="66741" cy="139550"/>
            </a:xfrm>
            <a:custGeom>
              <a:avLst/>
              <a:gdLst>
                <a:gd name="connsiteX0" fmla="*/ 66742 w 66741"/>
                <a:gd name="connsiteY0" fmla="*/ 0 h 139550"/>
                <a:gd name="connsiteX1" fmla="*/ 3034 w 66741"/>
                <a:gd name="connsiteY1" fmla="*/ 139551 h 139550"/>
                <a:gd name="connsiteX2" fmla="*/ 0 w 66741"/>
                <a:gd name="connsiteY2" fmla="*/ 54607 h 139550"/>
                <a:gd name="connsiteX3" fmla="*/ 66742 w 66741"/>
                <a:gd name="connsiteY3" fmla="*/ 0 h 13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741" h="139550">
                  <a:moveTo>
                    <a:pt x="66742" y="0"/>
                  </a:moveTo>
                  <a:cubicBezTo>
                    <a:pt x="66742" y="0"/>
                    <a:pt x="54607" y="118315"/>
                    <a:pt x="3034" y="139551"/>
                  </a:cubicBezTo>
                  <a:lnTo>
                    <a:pt x="0" y="54607"/>
                  </a:lnTo>
                  <a:lnTo>
                    <a:pt x="66742" y="0"/>
                  </a:lnTo>
                  <a:close/>
                </a:path>
              </a:pathLst>
            </a:custGeom>
            <a:solidFill>
              <a:srgbClr val="D3977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F05D6C87-D993-40AE-B7F9-D040085EA741}"/>
                </a:ext>
              </a:extLst>
            </p:cNvPr>
            <p:cNvSpPr/>
            <p:nvPr/>
          </p:nvSpPr>
          <p:spPr>
            <a:xfrm>
              <a:off x="9013564" y="8034561"/>
              <a:ext cx="100638" cy="236608"/>
            </a:xfrm>
            <a:custGeom>
              <a:avLst/>
              <a:gdLst>
                <a:gd name="connsiteX0" fmla="*/ 5015 w 100638"/>
                <a:gd name="connsiteY0" fmla="*/ 0 h 236608"/>
                <a:gd name="connsiteX1" fmla="*/ 50521 w 100638"/>
                <a:gd name="connsiteY1" fmla="*/ 233595 h 236608"/>
                <a:gd name="connsiteX2" fmla="*/ 99060 w 100638"/>
                <a:gd name="connsiteY2" fmla="*/ 12135 h 236608"/>
                <a:gd name="connsiteX3" fmla="*/ 5015 w 100638"/>
                <a:gd name="connsiteY3" fmla="*/ 0 h 236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638" h="236608">
                  <a:moveTo>
                    <a:pt x="5015" y="0"/>
                  </a:moveTo>
                  <a:cubicBezTo>
                    <a:pt x="5015" y="0"/>
                    <a:pt x="-22289" y="194158"/>
                    <a:pt x="50521" y="233595"/>
                  </a:cubicBezTo>
                  <a:cubicBezTo>
                    <a:pt x="114228" y="266966"/>
                    <a:pt x="99060" y="12135"/>
                    <a:pt x="99060" y="12135"/>
                  </a:cubicBezTo>
                  <a:lnTo>
                    <a:pt x="5015" y="0"/>
                  </a:lnTo>
                  <a:close/>
                </a:path>
              </a:pathLst>
            </a:custGeom>
            <a:solidFill>
              <a:srgbClr val="D3977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E1D80C01-ECB8-4A58-9A50-3B5A6D461A27}"/>
                </a:ext>
              </a:extLst>
            </p:cNvPr>
            <p:cNvSpPr/>
            <p:nvPr/>
          </p:nvSpPr>
          <p:spPr>
            <a:xfrm>
              <a:off x="9053790" y="7894125"/>
              <a:ext cx="416811" cy="565316"/>
            </a:xfrm>
            <a:custGeom>
              <a:avLst/>
              <a:gdLst>
                <a:gd name="connsiteX0" fmla="*/ 7261 w 416811"/>
                <a:gd name="connsiteY0" fmla="*/ 182908 h 565316"/>
                <a:gd name="connsiteX1" fmla="*/ 10295 w 416811"/>
                <a:gd name="connsiteY1" fmla="*/ 431672 h 565316"/>
                <a:gd name="connsiteX2" fmla="*/ 171081 w 416811"/>
                <a:gd name="connsiteY2" fmla="*/ 565155 h 565316"/>
                <a:gd name="connsiteX3" fmla="*/ 383440 w 416811"/>
                <a:gd name="connsiteY3" fmla="*/ 419537 h 565316"/>
                <a:gd name="connsiteX4" fmla="*/ 416811 w 416811"/>
                <a:gd name="connsiteY4" fmla="*/ 195042 h 565316"/>
                <a:gd name="connsiteX5" fmla="*/ 201418 w 416811"/>
                <a:gd name="connsiteY5" fmla="*/ 885 h 565316"/>
                <a:gd name="connsiteX6" fmla="*/ 7261 w 416811"/>
                <a:gd name="connsiteY6" fmla="*/ 182908 h 565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6811" h="565316">
                  <a:moveTo>
                    <a:pt x="7261" y="182908"/>
                  </a:moveTo>
                  <a:cubicBezTo>
                    <a:pt x="7261" y="182908"/>
                    <a:pt x="-10942" y="358863"/>
                    <a:pt x="10295" y="431672"/>
                  </a:cubicBezTo>
                  <a:cubicBezTo>
                    <a:pt x="31531" y="498413"/>
                    <a:pt x="122542" y="559087"/>
                    <a:pt x="171081" y="565155"/>
                  </a:cubicBezTo>
                  <a:cubicBezTo>
                    <a:pt x="237823" y="568189"/>
                    <a:pt x="356137" y="528750"/>
                    <a:pt x="383440" y="419537"/>
                  </a:cubicBezTo>
                  <a:cubicBezTo>
                    <a:pt x="401643" y="346728"/>
                    <a:pt x="416811" y="246615"/>
                    <a:pt x="416811" y="195042"/>
                  </a:cubicBezTo>
                  <a:cubicBezTo>
                    <a:pt x="413777" y="100997"/>
                    <a:pt x="386474" y="22121"/>
                    <a:pt x="201418" y="885"/>
                  </a:cubicBezTo>
                  <a:cubicBezTo>
                    <a:pt x="116474" y="-11250"/>
                    <a:pt x="25463" y="104031"/>
                    <a:pt x="7261" y="182908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61AB4695-FD8D-4BE4-B156-E06BCCE59CCF}"/>
                </a:ext>
              </a:extLst>
            </p:cNvPr>
            <p:cNvSpPr/>
            <p:nvPr/>
          </p:nvSpPr>
          <p:spPr>
            <a:xfrm>
              <a:off x="9188466" y="8155909"/>
              <a:ext cx="57640" cy="136516"/>
            </a:xfrm>
            <a:custGeom>
              <a:avLst/>
              <a:gdLst>
                <a:gd name="connsiteX0" fmla="*/ 30337 w 57640"/>
                <a:gd name="connsiteY0" fmla="*/ 136517 h 136516"/>
                <a:gd name="connsiteX1" fmla="*/ 6067 w 57640"/>
                <a:gd name="connsiteY1" fmla="*/ 130450 h 136516"/>
                <a:gd name="connsiteX2" fmla="*/ 0 w 57640"/>
                <a:gd name="connsiteY2" fmla="*/ 118315 h 136516"/>
                <a:gd name="connsiteX3" fmla="*/ 15169 w 57640"/>
                <a:gd name="connsiteY3" fmla="*/ 6067 h 136516"/>
                <a:gd name="connsiteX4" fmla="*/ 21236 w 57640"/>
                <a:gd name="connsiteY4" fmla="*/ 0 h 136516"/>
                <a:gd name="connsiteX5" fmla="*/ 27304 w 57640"/>
                <a:gd name="connsiteY5" fmla="*/ 6067 h 136516"/>
                <a:gd name="connsiteX6" fmla="*/ 12135 w 57640"/>
                <a:gd name="connsiteY6" fmla="*/ 118315 h 136516"/>
                <a:gd name="connsiteX7" fmla="*/ 12135 w 57640"/>
                <a:gd name="connsiteY7" fmla="*/ 121348 h 136516"/>
                <a:gd name="connsiteX8" fmla="*/ 51573 w 57640"/>
                <a:gd name="connsiteY8" fmla="*/ 121348 h 136516"/>
                <a:gd name="connsiteX9" fmla="*/ 57641 w 57640"/>
                <a:gd name="connsiteY9" fmla="*/ 127416 h 136516"/>
                <a:gd name="connsiteX10" fmla="*/ 51573 w 57640"/>
                <a:gd name="connsiteY10" fmla="*/ 133483 h 136516"/>
                <a:gd name="connsiteX11" fmla="*/ 30337 w 57640"/>
                <a:gd name="connsiteY11" fmla="*/ 136517 h 13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640" h="136516">
                  <a:moveTo>
                    <a:pt x="30337" y="136517"/>
                  </a:moveTo>
                  <a:cubicBezTo>
                    <a:pt x="21236" y="136517"/>
                    <a:pt x="12135" y="136517"/>
                    <a:pt x="6067" y="130450"/>
                  </a:cubicBezTo>
                  <a:cubicBezTo>
                    <a:pt x="3034" y="127416"/>
                    <a:pt x="0" y="124382"/>
                    <a:pt x="0" y="118315"/>
                  </a:cubicBezTo>
                  <a:cubicBezTo>
                    <a:pt x="0" y="97079"/>
                    <a:pt x="15169" y="9101"/>
                    <a:pt x="15169" y="6067"/>
                  </a:cubicBezTo>
                  <a:cubicBezTo>
                    <a:pt x="15169" y="3034"/>
                    <a:pt x="18202" y="0"/>
                    <a:pt x="21236" y="0"/>
                  </a:cubicBezTo>
                  <a:cubicBezTo>
                    <a:pt x="24270" y="0"/>
                    <a:pt x="27304" y="3034"/>
                    <a:pt x="27304" y="6067"/>
                  </a:cubicBezTo>
                  <a:cubicBezTo>
                    <a:pt x="27304" y="6067"/>
                    <a:pt x="12135" y="97079"/>
                    <a:pt x="12135" y="118315"/>
                  </a:cubicBezTo>
                  <a:cubicBezTo>
                    <a:pt x="12135" y="118315"/>
                    <a:pt x="12135" y="121348"/>
                    <a:pt x="12135" y="121348"/>
                  </a:cubicBezTo>
                  <a:cubicBezTo>
                    <a:pt x="18202" y="127416"/>
                    <a:pt x="39438" y="124382"/>
                    <a:pt x="51573" y="121348"/>
                  </a:cubicBezTo>
                  <a:cubicBezTo>
                    <a:pt x="54607" y="121348"/>
                    <a:pt x="57641" y="121348"/>
                    <a:pt x="57641" y="127416"/>
                  </a:cubicBezTo>
                  <a:cubicBezTo>
                    <a:pt x="57641" y="130450"/>
                    <a:pt x="57641" y="133483"/>
                    <a:pt x="51573" y="133483"/>
                  </a:cubicBezTo>
                  <a:cubicBezTo>
                    <a:pt x="51573" y="133483"/>
                    <a:pt x="42472" y="136517"/>
                    <a:pt x="30337" y="136517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611C00C3-E8D7-429F-917D-B4E1198D7D08}"/>
                </a:ext>
              </a:extLst>
            </p:cNvPr>
            <p:cNvSpPr/>
            <p:nvPr/>
          </p:nvSpPr>
          <p:spPr>
            <a:xfrm>
              <a:off x="9117918" y="8133900"/>
              <a:ext cx="40211" cy="40984"/>
            </a:xfrm>
            <a:custGeom>
              <a:avLst/>
              <a:gdLst>
                <a:gd name="connsiteX0" fmla="*/ 40211 w 40211"/>
                <a:gd name="connsiteY0" fmla="*/ 25043 h 40984"/>
                <a:gd name="connsiteX1" fmla="*/ 15942 w 40211"/>
                <a:gd name="connsiteY1" fmla="*/ 40211 h 40984"/>
                <a:gd name="connsiteX2" fmla="*/ 773 w 40211"/>
                <a:gd name="connsiteY2" fmla="*/ 15942 h 40984"/>
                <a:gd name="connsiteX3" fmla="*/ 25043 w 40211"/>
                <a:gd name="connsiteY3" fmla="*/ 773 h 40984"/>
                <a:gd name="connsiteX4" fmla="*/ 40211 w 40211"/>
                <a:gd name="connsiteY4" fmla="*/ 25043 h 40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211" h="40984">
                  <a:moveTo>
                    <a:pt x="40211" y="25043"/>
                  </a:moveTo>
                  <a:cubicBezTo>
                    <a:pt x="37178" y="37178"/>
                    <a:pt x="28077" y="43245"/>
                    <a:pt x="15942" y="40211"/>
                  </a:cubicBezTo>
                  <a:cubicBezTo>
                    <a:pt x="3807" y="37178"/>
                    <a:pt x="-2260" y="28076"/>
                    <a:pt x="773" y="15942"/>
                  </a:cubicBezTo>
                  <a:cubicBezTo>
                    <a:pt x="3807" y="3807"/>
                    <a:pt x="12908" y="-2261"/>
                    <a:pt x="25043" y="773"/>
                  </a:cubicBezTo>
                  <a:cubicBezTo>
                    <a:pt x="34144" y="3807"/>
                    <a:pt x="40211" y="12908"/>
                    <a:pt x="40211" y="25043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427FCC3F-4792-4A0D-9AAA-13E437E1AC32}"/>
                </a:ext>
              </a:extLst>
            </p:cNvPr>
            <p:cNvSpPr/>
            <p:nvPr/>
          </p:nvSpPr>
          <p:spPr>
            <a:xfrm>
              <a:off x="9299940" y="8149068"/>
              <a:ext cx="40211" cy="40984"/>
            </a:xfrm>
            <a:custGeom>
              <a:avLst/>
              <a:gdLst>
                <a:gd name="connsiteX0" fmla="*/ 40211 w 40211"/>
                <a:gd name="connsiteY0" fmla="*/ 25043 h 40984"/>
                <a:gd name="connsiteX1" fmla="*/ 15942 w 40211"/>
                <a:gd name="connsiteY1" fmla="*/ 40211 h 40984"/>
                <a:gd name="connsiteX2" fmla="*/ 773 w 40211"/>
                <a:gd name="connsiteY2" fmla="*/ 15942 h 40984"/>
                <a:gd name="connsiteX3" fmla="*/ 25043 w 40211"/>
                <a:gd name="connsiteY3" fmla="*/ 773 h 40984"/>
                <a:gd name="connsiteX4" fmla="*/ 40211 w 40211"/>
                <a:gd name="connsiteY4" fmla="*/ 25043 h 40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211" h="40984">
                  <a:moveTo>
                    <a:pt x="40211" y="25043"/>
                  </a:moveTo>
                  <a:cubicBezTo>
                    <a:pt x="37178" y="37178"/>
                    <a:pt x="28077" y="43245"/>
                    <a:pt x="15942" y="40211"/>
                  </a:cubicBezTo>
                  <a:cubicBezTo>
                    <a:pt x="3807" y="37178"/>
                    <a:pt x="-2260" y="28076"/>
                    <a:pt x="773" y="15942"/>
                  </a:cubicBezTo>
                  <a:cubicBezTo>
                    <a:pt x="3807" y="3807"/>
                    <a:pt x="12908" y="-2261"/>
                    <a:pt x="25043" y="773"/>
                  </a:cubicBezTo>
                  <a:cubicBezTo>
                    <a:pt x="34144" y="3807"/>
                    <a:pt x="40211" y="12908"/>
                    <a:pt x="40211" y="25043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46A8A571-EA52-43FB-82F9-1E1E42EBB2DC}"/>
                </a:ext>
              </a:extLst>
            </p:cNvPr>
            <p:cNvSpPr/>
            <p:nvPr/>
          </p:nvSpPr>
          <p:spPr>
            <a:xfrm>
              <a:off x="9092146" y="8083457"/>
              <a:ext cx="91509" cy="36047"/>
            </a:xfrm>
            <a:custGeom>
              <a:avLst/>
              <a:gdLst>
                <a:gd name="connsiteX0" fmla="*/ 8343 w 91509"/>
                <a:gd name="connsiteY0" fmla="*/ 36047 h 36047"/>
                <a:gd name="connsiteX1" fmla="*/ 2275 w 91509"/>
                <a:gd name="connsiteY1" fmla="*/ 33013 h 36047"/>
                <a:gd name="connsiteX2" fmla="*/ 2275 w 91509"/>
                <a:gd name="connsiteY2" fmla="*/ 20879 h 36047"/>
                <a:gd name="connsiteX3" fmla="*/ 87219 w 91509"/>
                <a:gd name="connsiteY3" fmla="*/ 8744 h 36047"/>
                <a:gd name="connsiteX4" fmla="*/ 90253 w 91509"/>
                <a:gd name="connsiteY4" fmla="*/ 17845 h 36047"/>
                <a:gd name="connsiteX5" fmla="*/ 81152 w 91509"/>
                <a:gd name="connsiteY5" fmla="*/ 20879 h 36047"/>
                <a:gd name="connsiteX6" fmla="*/ 14410 w 91509"/>
                <a:gd name="connsiteY6" fmla="*/ 29980 h 36047"/>
                <a:gd name="connsiteX7" fmla="*/ 8343 w 91509"/>
                <a:gd name="connsiteY7" fmla="*/ 36047 h 36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6047">
                  <a:moveTo>
                    <a:pt x="8343" y="36047"/>
                  </a:moveTo>
                  <a:cubicBezTo>
                    <a:pt x="5309" y="36047"/>
                    <a:pt x="5309" y="36047"/>
                    <a:pt x="2275" y="33013"/>
                  </a:cubicBezTo>
                  <a:cubicBezTo>
                    <a:pt x="-758" y="29980"/>
                    <a:pt x="-758" y="23913"/>
                    <a:pt x="2275" y="20879"/>
                  </a:cubicBezTo>
                  <a:cubicBezTo>
                    <a:pt x="29579" y="-9458"/>
                    <a:pt x="69017" y="-357"/>
                    <a:pt x="87219" y="8744"/>
                  </a:cubicBezTo>
                  <a:cubicBezTo>
                    <a:pt x="90253" y="11778"/>
                    <a:pt x="93287" y="14812"/>
                    <a:pt x="90253" y="17845"/>
                  </a:cubicBezTo>
                  <a:cubicBezTo>
                    <a:pt x="87219" y="20879"/>
                    <a:pt x="84185" y="23913"/>
                    <a:pt x="81152" y="20879"/>
                  </a:cubicBezTo>
                  <a:cubicBezTo>
                    <a:pt x="78118" y="20879"/>
                    <a:pt x="38680" y="-357"/>
                    <a:pt x="14410" y="29980"/>
                  </a:cubicBezTo>
                  <a:cubicBezTo>
                    <a:pt x="11376" y="36047"/>
                    <a:pt x="8343" y="36047"/>
                    <a:pt x="8343" y="36047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162FF379-B7CC-41EE-8F56-4106AB66C8A6}"/>
                </a:ext>
              </a:extLst>
            </p:cNvPr>
            <p:cNvSpPr/>
            <p:nvPr/>
          </p:nvSpPr>
          <p:spPr>
            <a:xfrm>
              <a:off x="9278221" y="8083272"/>
              <a:ext cx="91509" cy="36232"/>
            </a:xfrm>
            <a:custGeom>
              <a:avLst/>
              <a:gdLst>
                <a:gd name="connsiteX0" fmla="*/ 86200 w 91509"/>
                <a:gd name="connsiteY0" fmla="*/ 36233 h 36232"/>
                <a:gd name="connsiteX1" fmla="*/ 80133 w 91509"/>
                <a:gd name="connsiteY1" fmla="*/ 33199 h 36232"/>
                <a:gd name="connsiteX2" fmla="*/ 13392 w 91509"/>
                <a:gd name="connsiteY2" fmla="*/ 27131 h 36232"/>
                <a:gd name="connsiteX3" fmla="*/ 1256 w 91509"/>
                <a:gd name="connsiteY3" fmla="*/ 24098 h 36232"/>
                <a:gd name="connsiteX4" fmla="*/ 4290 w 91509"/>
                <a:gd name="connsiteY4" fmla="*/ 11963 h 36232"/>
                <a:gd name="connsiteX5" fmla="*/ 89234 w 91509"/>
                <a:gd name="connsiteY5" fmla="*/ 18030 h 36232"/>
                <a:gd name="connsiteX6" fmla="*/ 89234 w 91509"/>
                <a:gd name="connsiteY6" fmla="*/ 30165 h 36232"/>
                <a:gd name="connsiteX7" fmla="*/ 86200 w 91509"/>
                <a:gd name="connsiteY7" fmla="*/ 36233 h 36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6232">
                  <a:moveTo>
                    <a:pt x="86200" y="36233"/>
                  </a:moveTo>
                  <a:cubicBezTo>
                    <a:pt x="83167" y="36233"/>
                    <a:pt x="83167" y="36233"/>
                    <a:pt x="80133" y="33199"/>
                  </a:cubicBezTo>
                  <a:cubicBezTo>
                    <a:pt x="80133" y="33199"/>
                    <a:pt x="49796" y="2862"/>
                    <a:pt x="13392" y="27131"/>
                  </a:cubicBezTo>
                  <a:cubicBezTo>
                    <a:pt x="10358" y="30165"/>
                    <a:pt x="4290" y="27131"/>
                    <a:pt x="1256" y="24098"/>
                  </a:cubicBezTo>
                  <a:cubicBezTo>
                    <a:pt x="-1777" y="21064"/>
                    <a:pt x="1256" y="14997"/>
                    <a:pt x="4290" y="11963"/>
                  </a:cubicBezTo>
                  <a:cubicBezTo>
                    <a:pt x="40695" y="-12307"/>
                    <a:pt x="77099" y="5896"/>
                    <a:pt x="89234" y="18030"/>
                  </a:cubicBezTo>
                  <a:cubicBezTo>
                    <a:pt x="92268" y="21064"/>
                    <a:pt x="92268" y="27131"/>
                    <a:pt x="89234" y="30165"/>
                  </a:cubicBezTo>
                  <a:cubicBezTo>
                    <a:pt x="89234" y="33199"/>
                    <a:pt x="89234" y="36233"/>
                    <a:pt x="86200" y="36233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C2BF0358-8D11-483D-870D-509F5A671F07}"/>
                </a:ext>
              </a:extLst>
            </p:cNvPr>
            <p:cNvSpPr/>
            <p:nvPr/>
          </p:nvSpPr>
          <p:spPr>
            <a:xfrm>
              <a:off x="9158888" y="8397349"/>
              <a:ext cx="228026" cy="67997"/>
            </a:xfrm>
            <a:custGeom>
              <a:avLst/>
              <a:gdLst>
                <a:gd name="connsiteX0" fmla="*/ 78118 w 228026"/>
                <a:gd name="connsiteY0" fmla="*/ 67998 h 67997"/>
                <a:gd name="connsiteX1" fmla="*/ 2275 w 228026"/>
                <a:gd name="connsiteY1" fmla="*/ 40695 h 67997"/>
                <a:gd name="connsiteX2" fmla="*/ 2275 w 228026"/>
                <a:gd name="connsiteY2" fmla="*/ 31594 h 67997"/>
                <a:gd name="connsiteX3" fmla="*/ 11377 w 228026"/>
                <a:gd name="connsiteY3" fmla="*/ 31594 h 67997"/>
                <a:gd name="connsiteX4" fmla="*/ 81152 w 228026"/>
                <a:gd name="connsiteY4" fmla="*/ 55863 h 67997"/>
                <a:gd name="connsiteX5" fmla="*/ 81152 w 228026"/>
                <a:gd name="connsiteY5" fmla="*/ 55863 h 67997"/>
                <a:gd name="connsiteX6" fmla="*/ 217668 w 228026"/>
                <a:gd name="connsiteY6" fmla="*/ 1256 h 67997"/>
                <a:gd name="connsiteX7" fmla="*/ 226770 w 228026"/>
                <a:gd name="connsiteY7" fmla="*/ 4290 h 67997"/>
                <a:gd name="connsiteX8" fmla="*/ 223736 w 228026"/>
                <a:gd name="connsiteY8" fmla="*/ 13392 h 67997"/>
                <a:gd name="connsiteX9" fmla="*/ 78118 w 228026"/>
                <a:gd name="connsiteY9" fmla="*/ 67998 h 67997"/>
                <a:gd name="connsiteX10" fmla="*/ 78118 w 228026"/>
                <a:gd name="connsiteY10" fmla="*/ 67998 h 6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8026" h="67997">
                  <a:moveTo>
                    <a:pt x="78118" y="67998"/>
                  </a:moveTo>
                  <a:cubicBezTo>
                    <a:pt x="35646" y="67998"/>
                    <a:pt x="2275" y="43729"/>
                    <a:pt x="2275" y="40695"/>
                  </a:cubicBezTo>
                  <a:cubicBezTo>
                    <a:pt x="-758" y="37661"/>
                    <a:pt x="-758" y="34627"/>
                    <a:pt x="2275" y="31594"/>
                  </a:cubicBezTo>
                  <a:cubicBezTo>
                    <a:pt x="5309" y="28560"/>
                    <a:pt x="8343" y="28560"/>
                    <a:pt x="11377" y="31594"/>
                  </a:cubicBezTo>
                  <a:cubicBezTo>
                    <a:pt x="11377" y="31594"/>
                    <a:pt x="41714" y="55863"/>
                    <a:pt x="81152" y="55863"/>
                  </a:cubicBezTo>
                  <a:cubicBezTo>
                    <a:pt x="81152" y="55863"/>
                    <a:pt x="81152" y="55863"/>
                    <a:pt x="81152" y="55863"/>
                  </a:cubicBezTo>
                  <a:cubicBezTo>
                    <a:pt x="129691" y="55863"/>
                    <a:pt x="217668" y="4290"/>
                    <a:pt x="217668" y="1256"/>
                  </a:cubicBezTo>
                  <a:cubicBezTo>
                    <a:pt x="220702" y="-1777"/>
                    <a:pt x="223736" y="1256"/>
                    <a:pt x="226770" y="4290"/>
                  </a:cubicBezTo>
                  <a:cubicBezTo>
                    <a:pt x="229804" y="7324"/>
                    <a:pt x="226770" y="10358"/>
                    <a:pt x="223736" y="13392"/>
                  </a:cubicBezTo>
                  <a:cubicBezTo>
                    <a:pt x="217668" y="13392"/>
                    <a:pt x="129691" y="64965"/>
                    <a:pt x="78118" y="67998"/>
                  </a:cubicBezTo>
                  <a:cubicBezTo>
                    <a:pt x="78118" y="67998"/>
                    <a:pt x="78118" y="67998"/>
                    <a:pt x="78118" y="67998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170EADFC-8B03-4870-AD94-78A4625E25BC}"/>
                </a:ext>
              </a:extLst>
            </p:cNvPr>
            <p:cNvSpPr/>
            <p:nvPr/>
          </p:nvSpPr>
          <p:spPr>
            <a:xfrm>
              <a:off x="9435048" y="8145331"/>
              <a:ext cx="76376" cy="113485"/>
            </a:xfrm>
            <a:custGeom>
              <a:avLst/>
              <a:gdLst>
                <a:gd name="connsiteX0" fmla="*/ 11283 w 76376"/>
                <a:gd name="connsiteY0" fmla="*/ 16646 h 113485"/>
                <a:gd name="connsiteX1" fmla="*/ 68924 w 76376"/>
                <a:gd name="connsiteY1" fmla="*/ 7545 h 113485"/>
                <a:gd name="connsiteX2" fmla="*/ 14317 w 76376"/>
                <a:gd name="connsiteY2" fmla="*/ 110691 h 113485"/>
                <a:gd name="connsiteX3" fmla="*/ 11283 w 76376"/>
                <a:gd name="connsiteY3" fmla="*/ 16646 h 11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376" h="113485">
                  <a:moveTo>
                    <a:pt x="11283" y="16646"/>
                  </a:moveTo>
                  <a:cubicBezTo>
                    <a:pt x="11283" y="16646"/>
                    <a:pt x="44654" y="-13691"/>
                    <a:pt x="68924" y="7545"/>
                  </a:cubicBezTo>
                  <a:cubicBezTo>
                    <a:pt x="93193" y="25747"/>
                    <a:pt x="53756" y="131927"/>
                    <a:pt x="14317" y="110691"/>
                  </a:cubicBezTo>
                  <a:cubicBezTo>
                    <a:pt x="-16020" y="92488"/>
                    <a:pt x="11283" y="16646"/>
                    <a:pt x="11283" y="16646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6AEF7CCB-6DF2-44B7-A6B7-FED57423D940}"/>
                </a:ext>
              </a:extLst>
            </p:cNvPr>
            <p:cNvSpPr/>
            <p:nvPr/>
          </p:nvSpPr>
          <p:spPr>
            <a:xfrm>
              <a:off x="9002873" y="7786887"/>
              <a:ext cx="508781" cy="378123"/>
            </a:xfrm>
            <a:custGeom>
              <a:avLst/>
              <a:gdLst>
                <a:gd name="connsiteX0" fmla="*/ 446492 w 508781"/>
                <a:gd name="connsiteY0" fmla="*/ 129359 h 378123"/>
                <a:gd name="connsiteX1" fmla="*/ 428290 w 508781"/>
                <a:gd name="connsiteY1" fmla="*/ 89921 h 378123"/>
                <a:gd name="connsiteX2" fmla="*/ 416155 w 508781"/>
                <a:gd name="connsiteY2" fmla="*/ 92955 h 378123"/>
                <a:gd name="connsiteX3" fmla="*/ 385818 w 508781"/>
                <a:gd name="connsiteY3" fmla="*/ 71718 h 378123"/>
                <a:gd name="connsiteX4" fmla="*/ 373683 w 508781"/>
                <a:gd name="connsiteY4" fmla="*/ 53516 h 378123"/>
                <a:gd name="connsiteX5" fmla="*/ 343346 w 508781"/>
                <a:gd name="connsiteY5" fmla="*/ 23179 h 378123"/>
                <a:gd name="connsiteX6" fmla="*/ 309975 w 508781"/>
                <a:gd name="connsiteY6" fmla="*/ 20145 h 378123"/>
                <a:gd name="connsiteX7" fmla="*/ 255368 w 508781"/>
                <a:gd name="connsiteY7" fmla="*/ 8011 h 378123"/>
                <a:gd name="connsiteX8" fmla="*/ 243234 w 508781"/>
                <a:gd name="connsiteY8" fmla="*/ 1944 h 378123"/>
                <a:gd name="connsiteX9" fmla="*/ 118851 w 508781"/>
                <a:gd name="connsiteY9" fmla="*/ 41381 h 378123"/>
                <a:gd name="connsiteX10" fmla="*/ 58177 w 508781"/>
                <a:gd name="connsiteY10" fmla="*/ 65651 h 378123"/>
                <a:gd name="connsiteX11" fmla="*/ 43009 w 508781"/>
                <a:gd name="connsiteY11" fmla="*/ 108123 h 378123"/>
                <a:gd name="connsiteX12" fmla="*/ 24806 w 508781"/>
                <a:gd name="connsiteY12" fmla="*/ 135426 h 378123"/>
                <a:gd name="connsiteX13" fmla="*/ 18739 w 508781"/>
                <a:gd name="connsiteY13" fmla="*/ 171831 h 378123"/>
                <a:gd name="connsiteX14" fmla="*/ 21773 w 508781"/>
                <a:gd name="connsiteY14" fmla="*/ 205202 h 378123"/>
                <a:gd name="connsiteX15" fmla="*/ 3570 w 508781"/>
                <a:gd name="connsiteY15" fmla="*/ 247674 h 378123"/>
                <a:gd name="connsiteX16" fmla="*/ 21773 w 508781"/>
                <a:gd name="connsiteY16" fmla="*/ 344752 h 378123"/>
                <a:gd name="connsiteX17" fmla="*/ 30874 w 508781"/>
                <a:gd name="connsiteY17" fmla="*/ 347786 h 378123"/>
                <a:gd name="connsiteX18" fmla="*/ 39975 w 508781"/>
                <a:gd name="connsiteY18" fmla="*/ 378123 h 378123"/>
                <a:gd name="connsiteX19" fmla="*/ 58177 w 508781"/>
                <a:gd name="connsiteY19" fmla="*/ 323516 h 378123"/>
                <a:gd name="connsiteX20" fmla="*/ 85480 w 508781"/>
                <a:gd name="connsiteY20" fmla="*/ 311382 h 378123"/>
                <a:gd name="connsiteX21" fmla="*/ 103683 w 508781"/>
                <a:gd name="connsiteY21" fmla="*/ 290146 h 378123"/>
                <a:gd name="connsiteX22" fmla="*/ 109750 w 508781"/>
                <a:gd name="connsiteY22" fmla="*/ 281045 h 378123"/>
                <a:gd name="connsiteX23" fmla="*/ 115818 w 508781"/>
                <a:gd name="connsiteY23" fmla="*/ 278011 h 378123"/>
                <a:gd name="connsiteX24" fmla="*/ 121885 w 508781"/>
                <a:gd name="connsiteY24" fmla="*/ 274977 h 378123"/>
                <a:gd name="connsiteX25" fmla="*/ 127953 w 508781"/>
                <a:gd name="connsiteY25" fmla="*/ 268909 h 378123"/>
                <a:gd name="connsiteX26" fmla="*/ 137054 w 508781"/>
                <a:gd name="connsiteY26" fmla="*/ 262842 h 378123"/>
                <a:gd name="connsiteX27" fmla="*/ 149189 w 508781"/>
                <a:gd name="connsiteY27" fmla="*/ 265876 h 378123"/>
                <a:gd name="connsiteX28" fmla="*/ 161323 w 508781"/>
                <a:gd name="connsiteY28" fmla="*/ 265876 h 378123"/>
                <a:gd name="connsiteX29" fmla="*/ 197728 w 508781"/>
                <a:gd name="connsiteY29" fmla="*/ 256775 h 378123"/>
                <a:gd name="connsiteX30" fmla="*/ 249301 w 508781"/>
                <a:gd name="connsiteY30" fmla="*/ 238572 h 378123"/>
                <a:gd name="connsiteX31" fmla="*/ 264470 w 508781"/>
                <a:gd name="connsiteY31" fmla="*/ 247674 h 378123"/>
                <a:gd name="connsiteX32" fmla="*/ 300874 w 508781"/>
                <a:gd name="connsiteY32" fmla="*/ 226438 h 378123"/>
                <a:gd name="connsiteX33" fmla="*/ 313009 w 508781"/>
                <a:gd name="connsiteY33" fmla="*/ 229472 h 378123"/>
                <a:gd name="connsiteX34" fmla="*/ 388851 w 508781"/>
                <a:gd name="connsiteY34" fmla="*/ 253741 h 378123"/>
                <a:gd name="connsiteX35" fmla="*/ 397952 w 508781"/>
                <a:gd name="connsiteY35" fmla="*/ 256775 h 378123"/>
                <a:gd name="connsiteX36" fmla="*/ 449525 w 508781"/>
                <a:gd name="connsiteY36" fmla="*/ 378123 h 378123"/>
                <a:gd name="connsiteX37" fmla="*/ 507166 w 508781"/>
                <a:gd name="connsiteY37" fmla="*/ 293179 h 378123"/>
                <a:gd name="connsiteX38" fmla="*/ 446492 w 508781"/>
                <a:gd name="connsiteY38" fmla="*/ 129359 h 378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08781" h="378123">
                  <a:moveTo>
                    <a:pt x="446492" y="129359"/>
                  </a:moveTo>
                  <a:cubicBezTo>
                    <a:pt x="446492" y="114191"/>
                    <a:pt x="443458" y="99022"/>
                    <a:pt x="428290" y="89921"/>
                  </a:cubicBezTo>
                  <a:cubicBezTo>
                    <a:pt x="413121" y="77786"/>
                    <a:pt x="416155" y="89921"/>
                    <a:pt x="416155" y="92955"/>
                  </a:cubicBezTo>
                  <a:cubicBezTo>
                    <a:pt x="407054" y="86887"/>
                    <a:pt x="397952" y="77786"/>
                    <a:pt x="385818" y="71718"/>
                  </a:cubicBezTo>
                  <a:cubicBezTo>
                    <a:pt x="379751" y="65651"/>
                    <a:pt x="376717" y="59584"/>
                    <a:pt x="373683" y="53516"/>
                  </a:cubicBezTo>
                  <a:cubicBezTo>
                    <a:pt x="364582" y="41381"/>
                    <a:pt x="358514" y="29247"/>
                    <a:pt x="343346" y="23179"/>
                  </a:cubicBezTo>
                  <a:cubicBezTo>
                    <a:pt x="331211" y="17112"/>
                    <a:pt x="322110" y="20145"/>
                    <a:pt x="309975" y="20145"/>
                  </a:cubicBezTo>
                  <a:cubicBezTo>
                    <a:pt x="288739" y="20145"/>
                    <a:pt x="273571" y="17112"/>
                    <a:pt x="255368" y="8011"/>
                  </a:cubicBezTo>
                  <a:cubicBezTo>
                    <a:pt x="252334" y="4977"/>
                    <a:pt x="246267" y="1944"/>
                    <a:pt x="243234" y="1944"/>
                  </a:cubicBezTo>
                  <a:cubicBezTo>
                    <a:pt x="197728" y="-10192"/>
                    <a:pt x="164357" y="38348"/>
                    <a:pt x="118851" y="41381"/>
                  </a:cubicBezTo>
                  <a:cubicBezTo>
                    <a:pt x="94582" y="41381"/>
                    <a:pt x="70312" y="38348"/>
                    <a:pt x="58177" y="65651"/>
                  </a:cubicBezTo>
                  <a:cubicBezTo>
                    <a:pt x="52110" y="80820"/>
                    <a:pt x="52110" y="92955"/>
                    <a:pt x="43009" y="108123"/>
                  </a:cubicBezTo>
                  <a:cubicBezTo>
                    <a:pt x="36941" y="117224"/>
                    <a:pt x="30874" y="126325"/>
                    <a:pt x="24806" y="135426"/>
                  </a:cubicBezTo>
                  <a:cubicBezTo>
                    <a:pt x="18739" y="144528"/>
                    <a:pt x="15706" y="159696"/>
                    <a:pt x="18739" y="171831"/>
                  </a:cubicBezTo>
                  <a:cubicBezTo>
                    <a:pt x="21773" y="190033"/>
                    <a:pt x="30874" y="190033"/>
                    <a:pt x="21773" y="205202"/>
                  </a:cubicBezTo>
                  <a:cubicBezTo>
                    <a:pt x="15706" y="220370"/>
                    <a:pt x="6604" y="232505"/>
                    <a:pt x="3570" y="247674"/>
                  </a:cubicBezTo>
                  <a:cubicBezTo>
                    <a:pt x="-5531" y="281045"/>
                    <a:pt x="3570" y="314415"/>
                    <a:pt x="21773" y="344752"/>
                  </a:cubicBezTo>
                  <a:cubicBezTo>
                    <a:pt x="24806" y="347786"/>
                    <a:pt x="27840" y="347786"/>
                    <a:pt x="30874" y="347786"/>
                  </a:cubicBezTo>
                  <a:cubicBezTo>
                    <a:pt x="33908" y="365988"/>
                    <a:pt x="39975" y="378123"/>
                    <a:pt x="39975" y="378123"/>
                  </a:cubicBezTo>
                  <a:cubicBezTo>
                    <a:pt x="36941" y="359921"/>
                    <a:pt x="43009" y="341719"/>
                    <a:pt x="58177" y="323516"/>
                  </a:cubicBezTo>
                  <a:cubicBezTo>
                    <a:pt x="67279" y="320483"/>
                    <a:pt x="79413" y="317449"/>
                    <a:pt x="85480" y="311382"/>
                  </a:cubicBezTo>
                  <a:cubicBezTo>
                    <a:pt x="94582" y="305314"/>
                    <a:pt x="97616" y="296213"/>
                    <a:pt x="103683" y="290146"/>
                  </a:cubicBezTo>
                  <a:cubicBezTo>
                    <a:pt x="103683" y="287112"/>
                    <a:pt x="106717" y="284078"/>
                    <a:pt x="109750" y="281045"/>
                  </a:cubicBezTo>
                  <a:cubicBezTo>
                    <a:pt x="112784" y="281045"/>
                    <a:pt x="115818" y="278011"/>
                    <a:pt x="115818" y="278011"/>
                  </a:cubicBezTo>
                  <a:cubicBezTo>
                    <a:pt x="118851" y="278011"/>
                    <a:pt x="118851" y="278011"/>
                    <a:pt x="121885" y="274977"/>
                  </a:cubicBezTo>
                  <a:cubicBezTo>
                    <a:pt x="124919" y="271943"/>
                    <a:pt x="124919" y="271943"/>
                    <a:pt x="127953" y="268909"/>
                  </a:cubicBezTo>
                  <a:cubicBezTo>
                    <a:pt x="130986" y="265876"/>
                    <a:pt x="134020" y="265876"/>
                    <a:pt x="137054" y="262842"/>
                  </a:cubicBezTo>
                  <a:cubicBezTo>
                    <a:pt x="140087" y="262842"/>
                    <a:pt x="146155" y="262842"/>
                    <a:pt x="149189" y="265876"/>
                  </a:cubicBezTo>
                  <a:cubicBezTo>
                    <a:pt x="152222" y="265876"/>
                    <a:pt x="158290" y="265876"/>
                    <a:pt x="161323" y="265876"/>
                  </a:cubicBezTo>
                  <a:cubicBezTo>
                    <a:pt x="173458" y="265876"/>
                    <a:pt x="185593" y="262842"/>
                    <a:pt x="197728" y="256775"/>
                  </a:cubicBezTo>
                  <a:cubicBezTo>
                    <a:pt x="215930" y="247674"/>
                    <a:pt x="225031" y="232505"/>
                    <a:pt x="249301" y="238572"/>
                  </a:cubicBezTo>
                  <a:cubicBezTo>
                    <a:pt x="255368" y="241606"/>
                    <a:pt x="258402" y="247674"/>
                    <a:pt x="264470" y="247674"/>
                  </a:cubicBezTo>
                  <a:cubicBezTo>
                    <a:pt x="279638" y="250707"/>
                    <a:pt x="291773" y="238572"/>
                    <a:pt x="300874" y="226438"/>
                  </a:cubicBezTo>
                  <a:cubicBezTo>
                    <a:pt x="303908" y="226438"/>
                    <a:pt x="309975" y="229472"/>
                    <a:pt x="313009" y="229472"/>
                  </a:cubicBezTo>
                  <a:cubicBezTo>
                    <a:pt x="337278" y="244640"/>
                    <a:pt x="361548" y="253741"/>
                    <a:pt x="388851" y="253741"/>
                  </a:cubicBezTo>
                  <a:cubicBezTo>
                    <a:pt x="394919" y="256775"/>
                    <a:pt x="397952" y="256775"/>
                    <a:pt x="397952" y="256775"/>
                  </a:cubicBezTo>
                  <a:cubicBezTo>
                    <a:pt x="397952" y="256775"/>
                    <a:pt x="455593" y="347786"/>
                    <a:pt x="449525" y="378123"/>
                  </a:cubicBezTo>
                  <a:cubicBezTo>
                    <a:pt x="449525" y="378123"/>
                    <a:pt x="491998" y="350820"/>
                    <a:pt x="507166" y="293179"/>
                  </a:cubicBezTo>
                  <a:cubicBezTo>
                    <a:pt x="513233" y="235539"/>
                    <a:pt x="504132" y="147561"/>
                    <a:pt x="446492" y="129359"/>
                  </a:cubicBezTo>
                  <a:close/>
                </a:path>
              </a:pathLst>
            </a:custGeom>
            <a:solidFill>
              <a:srgbClr val="D3977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7" name="图形 1">
              <a:extLst>
                <a:ext uri="{FF2B5EF4-FFF2-40B4-BE49-F238E27FC236}">
                  <a16:creationId xmlns:a16="http://schemas.microsoft.com/office/drawing/2014/main" id="{99D53AC1-0F0E-4FF6-BBE9-A5AF4FA797E7}"/>
                </a:ext>
              </a:extLst>
            </p:cNvPr>
            <p:cNvGrpSpPr/>
            <p:nvPr/>
          </p:nvGrpSpPr>
          <p:grpSpPr>
            <a:xfrm>
              <a:off x="8924534" y="7715657"/>
              <a:ext cx="591573" cy="333897"/>
              <a:chOff x="8924534" y="7715657"/>
              <a:chExt cx="591573" cy="333897"/>
            </a:xfrm>
          </p:grpSpPr>
          <p:grpSp>
            <p:nvGrpSpPr>
              <p:cNvPr id="157" name="图形 1">
                <a:extLst>
                  <a:ext uri="{FF2B5EF4-FFF2-40B4-BE49-F238E27FC236}">
                    <a16:creationId xmlns:a16="http://schemas.microsoft.com/office/drawing/2014/main" id="{81FFEA08-3E6E-4E3A-8E44-39FDB2822443}"/>
                  </a:ext>
                </a:extLst>
              </p:cNvPr>
              <p:cNvGrpSpPr/>
              <p:nvPr/>
            </p:nvGrpSpPr>
            <p:grpSpPr>
              <a:xfrm>
                <a:off x="8924534" y="7718191"/>
                <a:ext cx="585507" cy="331364"/>
                <a:chOff x="8924534" y="7718191"/>
                <a:chExt cx="585507" cy="331364"/>
              </a:xfrm>
              <a:solidFill>
                <a:srgbClr val="7F95BC"/>
              </a:solidFill>
            </p:grpSpPr>
            <p:sp>
              <p:nvSpPr>
                <p:cNvPr id="160" name="任意多边形: 形状 159">
                  <a:extLst>
                    <a:ext uri="{FF2B5EF4-FFF2-40B4-BE49-F238E27FC236}">
                      <a16:creationId xmlns:a16="http://schemas.microsoft.com/office/drawing/2014/main" id="{58D79844-260F-4600-BF54-E67CD8801718}"/>
                    </a:ext>
                  </a:extLst>
                </p:cNvPr>
                <p:cNvSpPr/>
                <p:nvPr/>
              </p:nvSpPr>
              <p:spPr>
                <a:xfrm>
                  <a:off x="9012511" y="7718191"/>
                  <a:ext cx="497530" cy="275549"/>
                </a:xfrm>
                <a:custGeom>
                  <a:avLst/>
                  <a:gdLst>
                    <a:gd name="connsiteX0" fmla="*/ 0 w 497530"/>
                    <a:gd name="connsiteY0" fmla="*/ 198056 h 275549"/>
                    <a:gd name="connsiteX1" fmla="*/ 285169 w 497530"/>
                    <a:gd name="connsiteY1" fmla="*/ 3898 h 275549"/>
                    <a:gd name="connsiteX2" fmla="*/ 497528 w 497530"/>
                    <a:gd name="connsiteY2" fmla="*/ 261763 h 275549"/>
                    <a:gd name="connsiteX3" fmla="*/ 97079 w 497530"/>
                    <a:gd name="connsiteY3" fmla="*/ 252663 h 275549"/>
                    <a:gd name="connsiteX4" fmla="*/ 0 w 497530"/>
                    <a:gd name="connsiteY4" fmla="*/ 198056 h 2755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7530" h="275549">
                      <a:moveTo>
                        <a:pt x="0" y="198056"/>
                      </a:moveTo>
                      <a:cubicBezTo>
                        <a:pt x="0" y="198056"/>
                        <a:pt x="42472" y="-32506"/>
                        <a:pt x="285169" y="3898"/>
                      </a:cubicBezTo>
                      <a:cubicBezTo>
                        <a:pt x="500562" y="37269"/>
                        <a:pt x="497528" y="261763"/>
                        <a:pt x="497528" y="261763"/>
                      </a:cubicBezTo>
                      <a:cubicBezTo>
                        <a:pt x="497528" y="261763"/>
                        <a:pt x="251798" y="298168"/>
                        <a:pt x="97079" y="252663"/>
                      </a:cubicBezTo>
                      <a:cubicBezTo>
                        <a:pt x="57641" y="240527"/>
                        <a:pt x="21236" y="225359"/>
                        <a:pt x="0" y="198056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1" name="任意多边形: 形状 160">
                  <a:extLst>
                    <a:ext uri="{FF2B5EF4-FFF2-40B4-BE49-F238E27FC236}">
                      <a16:creationId xmlns:a16="http://schemas.microsoft.com/office/drawing/2014/main" id="{4D07B7D1-6E01-473F-9F03-DC7CE60E3B9A}"/>
                    </a:ext>
                  </a:extLst>
                </p:cNvPr>
                <p:cNvSpPr/>
                <p:nvPr/>
              </p:nvSpPr>
              <p:spPr>
                <a:xfrm>
                  <a:off x="8924534" y="7919280"/>
                  <a:ext cx="585505" cy="130275"/>
                </a:xfrm>
                <a:custGeom>
                  <a:avLst/>
                  <a:gdLst>
                    <a:gd name="connsiteX0" fmla="*/ 585506 w 585505"/>
                    <a:gd name="connsiteY0" fmla="*/ 66742 h 130275"/>
                    <a:gd name="connsiteX1" fmla="*/ 567303 w 585505"/>
                    <a:gd name="connsiteY1" fmla="*/ 84944 h 130275"/>
                    <a:gd name="connsiteX2" fmla="*/ 330674 w 585505"/>
                    <a:gd name="connsiteY2" fmla="*/ 127416 h 130275"/>
                    <a:gd name="connsiteX3" fmla="*/ 0 w 585505"/>
                    <a:gd name="connsiteY3" fmla="*/ 60674 h 130275"/>
                    <a:gd name="connsiteX4" fmla="*/ 87977 w 585505"/>
                    <a:gd name="connsiteY4" fmla="*/ 0 h 130275"/>
                    <a:gd name="connsiteX5" fmla="*/ 585506 w 585505"/>
                    <a:gd name="connsiteY5" fmla="*/ 63708 h 130275"/>
                    <a:gd name="connsiteX6" fmla="*/ 585506 w 585505"/>
                    <a:gd name="connsiteY6" fmla="*/ 66742 h 1302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85505" h="130275">
                      <a:moveTo>
                        <a:pt x="585506" y="66742"/>
                      </a:moveTo>
                      <a:cubicBezTo>
                        <a:pt x="585506" y="75843"/>
                        <a:pt x="576405" y="81910"/>
                        <a:pt x="567303" y="84944"/>
                      </a:cubicBezTo>
                      <a:cubicBezTo>
                        <a:pt x="506629" y="112248"/>
                        <a:pt x="394382" y="121348"/>
                        <a:pt x="330674" y="127416"/>
                      </a:cubicBezTo>
                      <a:cubicBezTo>
                        <a:pt x="133483" y="142585"/>
                        <a:pt x="0" y="94045"/>
                        <a:pt x="0" y="60674"/>
                      </a:cubicBezTo>
                      <a:cubicBezTo>
                        <a:pt x="0" y="27304"/>
                        <a:pt x="87977" y="0"/>
                        <a:pt x="87977" y="0"/>
                      </a:cubicBezTo>
                      <a:cubicBezTo>
                        <a:pt x="87977" y="0"/>
                        <a:pt x="142584" y="57641"/>
                        <a:pt x="585506" y="63708"/>
                      </a:cubicBezTo>
                      <a:lnTo>
                        <a:pt x="585506" y="66742"/>
                      </a:lnTo>
                      <a:close/>
                    </a:path>
                  </a:pathLst>
                </a:custGeom>
                <a:solidFill>
                  <a:srgbClr val="7F95BC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7792BFD3-81DD-4242-9536-2A1EFA5EE3D6}"/>
                  </a:ext>
                </a:extLst>
              </p:cNvPr>
              <p:cNvSpPr/>
              <p:nvPr/>
            </p:nvSpPr>
            <p:spPr>
              <a:xfrm>
                <a:off x="9006444" y="7910179"/>
                <a:ext cx="509663" cy="75842"/>
              </a:xfrm>
              <a:custGeom>
                <a:avLst/>
                <a:gdLst>
                  <a:gd name="connsiteX0" fmla="*/ 503596 w 509663"/>
                  <a:gd name="connsiteY0" fmla="*/ 75843 h 75842"/>
                  <a:gd name="connsiteX1" fmla="*/ 503596 w 509663"/>
                  <a:gd name="connsiteY1" fmla="*/ 75843 h 75842"/>
                  <a:gd name="connsiteX2" fmla="*/ 0 w 509663"/>
                  <a:gd name="connsiteY2" fmla="*/ 9101 h 75842"/>
                  <a:gd name="connsiteX3" fmla="*/ 3034 w 509663"/>
                  <a:gd name="connsiteY3" fmla="*/ 0 h 75842"/>
                  <a:gd name="connsiteX4" fmla="*/ 9101 w 509663"/>
                  <a:gd name="connsiteY4" fmla="*/ 3033 h 75842"/>
                  <a:gd name="connsiteX5" fmla="*/ 503596 w 509663"/>
                  <a:gd name="connsiteY5" fmla="*/ 63708 h 75842"/>
                  <a:gd name="connsiteX6" fmla="*/ 509663 w 509663"/>
                  <a:gd name="connsiteY6" fmla="*/ 69775 h 75842"/>
                  <a:gd name="connsiteX7" fmla="*/ 503596 w 509663"/>
                  <a:gd name="connsiteY7" fmla="*/ 75843 h 75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9663" h="75842">
                    <a:moveTo>
                      <a:pt x="503596" y="75843"/>
                    </a:moveTo>
                    <a:lnTo>
                      <a:pt x="503596" y="75843"/>
                    </a:lnTo>
                    <a:cubicBezTo>
                      <a:pt x="39438" y="54606"/>
                      <a:pt x="3034" y="15169"/>
                      <a:pt x="0" y="9101"/>
                    </a:cubicBezTo>
                    <a:cubicBezTo>
                      <a:pt x="0" y="6067"/>
                      <a:pt x="0" y="3033"/>
                      <a:pt x="3034" y="0"/>
                    </a:cubicBezTo>
                    <a:cubicBezTo>
                      <a:pt x="6067" y="0"/>
                      <a:pt x="9101" y="0"/>
                      <a:pt x="9101" y="3033"/>
                    </a:cubicBezTo>
                    <a:cubicBezTo>
                      <a:pt x="12135" y="6067"/>
                      <a:pt x="54607" y="45506"/>
                      <a:pt x="503596" y="63708"/>
                    </a:cubicBezTo>
                    <a:cubicBezTo>
                      <a:pt x="506629" y="63708"/>
                      <a:pt x="509663" y="66741"/>
                      <a:pt x="509663" y="69775"/>
                    </a:cubicBezTo>
                    <a:cubicBezTo>
                      <a:pt x="509663" y="75843"/>
                      <a:pt x="506629" y="75843"/>
                      <a:pt x="503596" y="7584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D88D5740-6747-429C-88A2-590255585F4A}"/>
                  </a:ext>
                </a:extLst>
              </p:cNvPr>
              <p:cNvSpPr/>
              <p:nvPr/>
            </p:nvSpPr>
            <p:spPr>
              <a:xfrm>
                <a:off x="9103522" y="7715657"/>
                <a:ext cx="306404" cy="255195"/>
              </a:xfrm>
              <a:custGeom>
                <a:avLst/>
                <a:gdLst>
                  <a:gd name="connsiteX0" fmla="*/ 151685 w 306404"/>
                  <a:gd name="connsiteY0" fmla="*/ 255196 h 255195"/>
                  <a:gd name="connsiteX1" fmla="*/ 151685 w 306404"/>
                  <a:gd name="connsiteY1" fmla="*/ 255196 h 255195"/>
                  <a:gd name="connsiteX2" fmla="*/ 145618 w 306404"/>
                  <a:gd name="connsiteY2" fmla="*/ 249128 h 255195"/>
                  <a:gd name="connsiteX3" fmla="*/ 288202 w 306404"/>
                  <a:gd name="connsiteY3" fmla="*/ 48903 h 255195"/>
                  <a:gd name="connsiteX4" fmla="*/ 106180 w 306404"/>
                  <a:gd name="connsiteY4" fmla="*/ 12499 h 255195"/>
                  <a:gd name="connsiteX5" fmla="*/ 12135 w 306404"/>
                  <a:gd name="connsiteY5" fmla="*/ 227892 h 255195"/>
                  <a:gd name="connsiteX6" fmla="*/ 6068 w 306404"/>
                  <a:gd name="connsiteY6" fmla="*/ 233959 h 255195"/>
                  <a:gd name="connsiteX7" fmla="*/ 0 w 306404"/>
                  <a:gd name="connsiteY7" fmla="*/ 227892 h 255195"/>
                  <a:gd name="connsiteX8" fmla="*/ 100112 w 306404"/>
                  <a:gd name="connsiteY8" fmla="*/ 3398 h 255195"/>
                  <a:gd name="connsiteX9" fmla="*/ 103146 w 306404"/>
                  <a:gd name="connsiteY9" fmla="*/ 3398 h 255195"/>
                  <a:gd name="connsiteX10" fmla="*/ 303371 w 306404"/>
                  <a:gd name="connsiteY10" fmla="*/ 45869 h 255195"/>
                  <a:gd name="connsiteX11" fmla="*/ 306405 w 306404"/>
                  <a:gd name="connsiteY11" fmla="*/ 51937 h 255195"/>
                  <a:gd name="connsiteX12" fmla="*/ 303371 w 306404"/>
                  <a:gd name="connsiteY12" fmla="*/ 54971 h 255195"/>
                  <a:gd name="connsiteX13" fmla="*/ 160787 w 306404"/>
                  <a:gd name="connsiteY13" fmla="*/ 252162 h 255195"/>
                  <a:gd name="connsiteX14" fmla="*/ 151685 w 306404"/>
                  <a:gd name="connsiteY14" fmla="*/ 255196 h 255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06404" h="255195">
                    <a:moveTo>
                      <a:pt x="151685" y="255196"/>
                    </a:moveTo>
                    <a:cubicBezTo>
                      <a:pt x="151685" y="255196"/>
                      <a:pt x="151685" y="255196"/>
                      <a:pt x="151685" y="255196"/>
                    </a:cubicBezTo>
                    <a:cubicBezTo>
                      <a:pt x="148652" y="255196"/>
                      <a:pt x="145618" y="252162"/>
                      <a:pt x="145618" y="249128"/>
                    </a:cubicBezTo>
                    <a:cubicBezTo>
                      <a:pt x="151685" y="136881"/>
                      <a:pt x="257865" y="67105"/>
                      <a:pt x="288202" y="48903"/>
                    </a:cubicBezTo>
                    <a:cubicBezTo>
                      <a:pt x="212360" y="-2670"/>
                      <a:pt x="118315" y="9465"/>
                      <a:pt x="106180" y="12499"/>
                    </a:cubicBezTo>
                    <a:cubicBezTo>
                      <a:pt x="97079" y="21600"/>
                      <a:pt x="12135" y="91375"/>
                      <a:pt x="12135" y="227892"/>
                    </a:cubicBezTo>
                    <a:cubicBezTo>
                      <a:pt x="12135" y="230926"/>
                      <a:pt x="9101" y="233959"/>
                      <a:pt x="6068" y="233959"/>
                    </a:cubicBezTo>
                    <a:cubicBezTo>
                      <a:pt x="3034" y="233959"/>
                      <a:pt x="0" y="230926"/>
                      <a:pt x="0" y="227892"/>
                    </a:cubicBezTo>
                    <a:cubicBezTo>
                      <a:pt x="0" y="79240"/>
                      <a:pt x="100112" y="3398"/>
                      <a:pt x="100112" y="3398"/>
                    </a:cubicBezTo>
                    <a:cubicBezTo>
                      <a:pt x="100112" y="3398"/>
                      <a:pt x="100112" y="3398"/>
                      <a:pt x="103146" y="3398"/>
                    </a:cubicBezTo>
                    <a:cubicBezTo>
                      <a:pt x="109214" y="3398"/>
                      <a:pt x="218427" y="-17838"/>
                      <a:pt x="303371" y="45869"/>
                    </a:cubicBezTo>
                    <a:cubicBezTo>
                      <a:pt x="306405" y="45869"/>
                      <a:pt x="306405" y="48903"/>
                      <a:pt x="306405" y="51937"/>
                    </a:cubicBezTo>
                    <a:cubicBezTo>
                      <a:pt x="306405" y="54971"/>
                      <a:pt x="306405" y="54971"/>
                      <a:pt x="303371" y="54971"/>
                    </a:cubicBezTo>
                    <a:cubicBezTo>
                      <a:pt x="303371" y="54971"/>
                      <a:pt x="166854" y="124746"/>
                      <a:pt x="160787" y="252162"/>
                    </a:cubicBezTo>
                    <a:cubicBezTo>
                      <a:pt x="157753" y="252162"/>
                      <a:pt x="154719" y="255196"/>
                      <a:pt x="151685" y="2551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C12E3703-7BD1-4CC2-94AD-C9E84DBAFB67}"/>
                </a:ext>
              </a:extLst>
            </p:cNvPr>
            <p:cNvSpPr/>
            <p:nvPr/>
          </p:nvSpPr>
          <p:spPr>
            <a:xfrm>
              <a:off x="8806219" y="8518704"/>
              <a:ext cx="1022421" cy="1559375"/>
            </a:xfrm>
            <a:custGeom>
              <a:avLst/>
              <a:gdLst>
                <a:gd name="connsiteX0" fmla="*/ 652247 w 1022421"/>
                <a:gd name="connsiteY0" fmla="*/ 4284 h 1559375"/>
                <a:gd name="connsiteX1" fmla="*/ 533932 w 1022421"/>
                <a:gd name="connsiteY1" fmla="*/ 559453 h 1559375"/>
                <a:gd name="connsiteX2" fmla="*/ 282134 w 1022421"/>
                <a:gd name="connsiteY2" fmla="*/ 559453 h 1559375"/>
                <a:gd name="connsiteX3" fmla="*/ 266966 w 1022421"/>
                <a:gd name="connsiteY3" fmla="*/ 28554 h 1559375"/>
                <a:gd name="connsiteX4" fmla="*/ 169887 w 1022421"/>
                <a:gd name="connsiteY4" fmla="*/ 64958 h 1559375"/>
                <a:gd name="connsiteX5" fmla="*/ 160786 w 1022421"/>
                <a:gd name="connsiteY5" fmla="*/ 571587 h 1559375"/>
                <a:gd name="connsiteX6" fmla="*/ 0 w 1022421"/>
                <a:gd name="connsiteY6" fmla="*/ 805183 h 1559375"/>
                <a:gd name="connsiteX7" fmla="*/ 0 w 1022421"/>
                <a:gd name="connsiteY7" fmla="*/ 1536306 h 1559375"/>
                <a:gd name="connsiteX8" fmla="*/ 1022360 w 1022421"/>
                <a:gd name="connsiteY8" fmla="*/ 1502936 h 1559375"/>
                <a:gd name="connsiteX9" fmla="*/ 988989 w 1022421"/>
                <a:gd name="connsiteY9" fmla="*/ 783947 h 1559375"/>
                <a:gd name="connsiteX10" fmla="*/ 682584 w 1022421"/>
                <a:gd name="connsiteY10" fmla="*/ 562486 h 1559375"/>
                <a:gd name="connsiteX11" fmla="*/ 734157 w 1022421"/>
                <a:gd name="connsiteY11" fmla="*/ 34621 h 1559375"/>
                <a:gd name="connsiteX12" fmla="*/ 652247 w 1022421"/>
                <a:gd name="connsiteY12" fmla="*/ 4284 h 1559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22421" h="1559375">
                  <a:moveTo>
                    <a:pt x="652247" y="4284"/>
                  </a:moveTo>
                  <a:cubicBezTo>
                    <a:pt x="652247" y="4284"/>
                    <a:pt x="536966" y="256082"/>
                    <a:pt x="533932" y="559453"/>
                  </a:cubicBezTo>
                  <a:cubicBezTo>
                    <a:pt x="533932" y="559453"/>
                    <a:pt x="333708" y="583722"/>
                    <a:pt x="282134" y="559453"/>
                  </a:cubicBezTo>
                  <a:cubicBezTo>
                    <a:pt x="282134" y="559453"/>
                    <a:pt x="245730" y="125632"/>
                    <a:pt x="266966" y="28554"/>
                  </a:cubicBezTo>
                  <a:cubicBezTo>
                    <a:pt x="266966" y="28554"/>
                    <a:pt x="188090" y="31587"/>
                    <a:pt x="169887" y="64958"/>
                  </a:cubicBezTo>
                  <a:cubicBezTo>
                    <a:pt x="169887" y="64958"/>
                    <a:pt x="166854" y="504846"/>
                    <a:pt x="160786" y="571587"/>
                  </a:cubicBezTo>
                  <a:cubicBezTo>
                    <a:pt x="154719" y="638329"/>
                    <a:pt x="0" y="805183"/>
                    <a:pt x="0" y="805183"/>
                  </a:cubicBezTo>
                  <a:lnTo>
                    <a:pt x="0" y="1536306"/>
                  </a:lnTo>
                  <a:cubicBezTo>
                    <a:pt x="0" y="1536306"/>
                    <a:pt x="694719" y="1606082"/>
                    <a:pt x="1022360" y="1502936"/>
                  </a:cubicBezTo>
                  <a:cubicBezTo>
                    <a:pt x="1022360" y="1502936"/>
                    <a:pt x="1025393" y="1081250"/>
                    <a:pt x="988989" y="783947"/>
                  </a:cubicBezTo>
                  <a:cubicBezTo>
                    <a:pt x="913146" y="780913"/>
                    <a:pt x="706854" y="689902"/>
                    <a:pt x="682584" y="562486"/>
                  </a:cubicBezTo>
                  <a:cubicBezTo>
                    <a:pt x="658315" y="435070"/>
                    <a:pt x="670449" y="162037"/>
                    <a:pt x="734157" y="34621"/>
                  </a:cubicBezTo>
                  <a:cubicBezTo>
                    <a:pt x="731123" y="31587"/>
                    <a:pt x="685618" y="-13919"/>
                    <a:pt x="652247" y="4284"/>
                  </a:cubicBezTo>
                  <a:close/>
                </a:path>
              </a:pathLst>
            </a:custGeom>
            <a:solidFill>
              <a:srgbClr val="F1DDBA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F4D174B5-02A7-43E7-B0EF-C6318A002553}"/>
                </a:ext>
              </a:extLst>
            </p:cNvPr>
            <p:cNvSpPr/>
            <p:nvPr/>
          </p:nvSpPr>
          <p:spPr>
            <a:xfrm>
              <a:off x="8800151" y="9909392"/>
              <a:ext cx="1034494" cy="157449"/>
            </a:xfrm>
            <a:custGeom>
              <a:avLst/>
              <a:gdLst>
                <a:gd name="connsiteX0" fmla="*/ 3034 w 1034494"/>
                <a:gd name="connsiteY0" fmla="*/ 142585 h 157449"/>
                <a:gd name="connsiteX1" fmla="*/ 1034495 w 1034494"/>
                <a:gd name="connsiteY1" fmla="*/ 97079 h 157449"/>
                <a:gd name="connsiteX2" fmla="*/ 1025393 w 1034494"/>
                <a:gd name="connsiteY2" fmla="*/ 0 h 157449"/>
                <a:gd name="connsiteX3" fmla="*/ 0 w 1034494"/>
                <a:gd name="connsiteY3" fmla="*/ 33371 h 157449"/>
                <a:gd name="connsiteX4" fmla="*/ 3034 w 1034494"/>
                <a:gd name="connsiteY4" fmla="*/ 142585 h 15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4494" h="157449">
                  <a:moveTo>
                    <a:pt x="3034" y="142585"/>
                  </a:moveTo>
                  <a:cubicBezTo>
                    <a:pt x="3034" y="142585"/>
                    <a:pt x="712921" y="197191"/>
                    <a:pt x="1034495" y="97079"/>
                  </a:cubicBezTo>
                  <a:lnTo>
                    <a:pt x="1025393" y="0"/>
                  </a:lnTo>
                  <a:cubicBezTo>
                    <a:pt x="1025393" y="0"/>
                    <a:pt x="379214" y="57640"/>
                    <a:pt x="0" y="33371"/>
                  </a:cubicBezTo>
                  <a:lnTo>
                    <a:pt x="3034" y="142585"/>
                  </a:ln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0" name="图形 1">
              <a:extLst>
                <a:ext uri="{FF2B5EF4-FFF2-40B4-BE49-F238E27FC236}">
                  <a16:creationId xmlns:a16="http://schemas.microsoft.com/office/drawing/2014/main" id="{26C4F462-7A6B-44AF-9489-5A129C5943D7}"/>
                </a:ext>
              </a:extLst>
            </p:cNvPr>
            <p:cNvGrpSpPr/>
            <p:nvPr/>
          </p:nvGrpSpPr>
          <p:grpSpPr>
            <a:xfrm>
              <a:off x="9103522" y="9924561"/>
              <a:ext cx="215393" cy="163820"/>
              <a:chOff x="9103522" y="9924561"/>
              <a:chExt cx="215393" cy="163820"/>
            </a:xfrm>
          </p:grpSpPr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C70F2937-D399-492F-8F74-AB22D2972815}"/>
                  </a:ext>
                </a:extLst>
              </p:cNvPr>
              <p:cNvSpPr/>
              <p:nvPr/>
            </p:nvSpPr>
            <p:spPr>
              <a:xfrm>
                <a:off x="9103522" y="9924561"/>
                <a:ext cx="215393" cy="163820"/>
              </a:xfrm>
              <a:custGeom>
                <a:avLst/>
                <a:gdLst>
                  <a:gd name="connsiteX0" fmla="*/ 21236 w 215393"/>
                  <a:gd name="connsiteY0" fmla="*/ 163820 h 163820"/>
                  <a:gd name="connsiteX1" fmla="*/ 194158 w 215393"/>
                  <a:gd name="connsiteY1" fmla="*/ 163820 h 163820"/>
                  <a:gd name="connsiteX2" fmla="*/ 215393 w 215393"/>
                  <a:gd name="connsiteY2" fmla="*/ 142585 h 163820"/>
                  <a:gd name="connsiteX3" fmla="*/ 215393 w 215393"/>
                  <a:gd name="connsiteY3" fmla="*/ 21236 h 163820"/>
                  <a:gd name="connsiteX4" fmla="*/ 194158 w 215393"/>
                  <a:gd name="connsiteY4" fmla="*/ 0 h 163820"/>
                  <a:gd name="connsiteX5" fmla="*/ 21236 w 215393"/>
                  <a:gd name="connsiteY5" fmla="*/ 0 h 163820"/>
                  <a:gd name="connsiteX6" fmla="*/ 0 w 215393"/>
                  <a:gd name="connsiteY6" fmla="*/ 21236 h 163820"/>
                  <a:gd name="connsiteX7" fmla="*/ 0 w 215393"/>
                  <a:gd name="connsiteY7" fmla="*/ 142585 h 163820"/>
                  <a:gd name="connsiteX8" fmla="*/ 21236 w 215393"/>
                  <a:gd name="connsiteY8" fmla="*/ 163820 h 163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5393" h="163820">
                    <a:moveTo>
                      <a:pt x="21236" y="163820"/>
                    </a:moveTo>
                    <a:lnTo>
                      <a:pt x="194158" y="163820"/>
                    </a:lnTo>
                    <a:cubicBezTo>
                      <a:pt x="206292" y="163820"/>
                      <a:pt x="215393" y="154719"/>
                      <a:pt x="215393" y="142585"/>
                    </a:cubicBezTo>
                    <a:lnTo>
                      <a:pt x="215393" y="21236"/>
                    </a:lnTo>
                    <a:cubicBezTo>
                      <a:pt x="215393" y="9101"/>
                      <a:pt x="206292" y="0"/>
                      <a:pt x="194158" y="0"/>
                    </a:cubicBezTo>
                    <a:lnTo>
                      <a:pt x="21236" y="0"/>
                    </a:lnTo>
                    <a:cubicBezTo>
                      <a:pt x="9101" y="0"/>
                      <a:pt x="0" y="9101"/>
                      <a:pt x="0" y="21236"/>
                    </a:cubicBezTo>
                    <a:lnTo>
                      <a:pt x="0" y="142585"/>
                    </a:lnTo>
                    <a:cubicBezTo>
                      <a:pt x="0" y="154719"/>
                      <a:pt x="9101" y="163820"/>
                      <a:pt x="21236" y="16382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110801FD-2C21-4AA4-93C4-E87EC1577E88}"/>
                  </a:ext>
                </a:extLst>
              </p:cNvPr>
              <p:cNvSpPr/>
              <p:nvPr/>
            </p:nvSpPr>
            <p:spPr>
              <a:xfrm>
                <a:off x="9130826" y="9948830"/>
                <a:ext cx="157752" cy="118315"/>
              </a:xfrm>
              <a:custGeom>
                <a:avLst/>
                <a:gdLst>
                  <a:gd name="connsiteX0" fmla="*/ 15169 w 157752"/>
                  <a:gd name="connsiteY0" fmla="*/ 118315 h 118315"/>
                  <a:gd name="connsiteX1" fmla="*/ 142584 w 157752"/>
                  <a:gd name="connsiteY1" fmla="*/ 118315 h 118315"/>
                  <a:gd name="connsiteX2" fmla="*/ 157753 w 157752"/>
                  <a:gd name="connsiteY2" fmla="*/ 103147 h 118315"/>
                  <a:gd name="connsiteX3" fmla="*/ 157753 w 157752"/>
                  <a:gd name="connsiteY3" fmla="*/ 15169 h 118315"/>
                  <a:gd name="connsiteX4" fmla="*/ 142584 w 157752"/>
                  <a:gd name="connsiteY4" fmla="*/ 0 h 118315"/>
                  <a:gd name="connsiteX5" fmla="*/ 15169 w 157752"/>
                  <a:gd name="connsiteY5" fmla="*/ 0 h 118315"/>
                  <a:gd name="connsiteX6" fmla="*/ 0 w 157752"/>
                  <a:gd name="connsiteY6" fmla="*/ 15169 h 118315"/>
                  <a:gd name="connsiteX7" fmla="*/ 0 w 157752"/>
                  <a:gd name="connsiteY7" fmla="*/ 103147 h 118315"/>
                  <a:gd name="connsiteX8" fmla="*/ 15169 w 157752"/>
                  <a:gd name="connsiteY8" fmla="*/ 118315 h 118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752" h="118315">
                    <a:moveTo>
                      <a:pt x="15169" y="118315"/>
                    </a:moveTo>
                    <a:lnTo>
                      <a:pt x="142584" y="118315"/>
                    </a:lnTo>
                    <a:cubicBezTo>
                      <a:pt x="151685" y="118315"/>
                      <a:pt x="157753" y="112248"/>
                      <a:pt x="157753" y="103147"/>
                    </a:cubicBezTo>
                    <a:lnTo>
                      <a:pt x="157753" y="15169"/>
                    </a:lnTo>
                    <a:cubicBezTo>
                      <a:pt x="157753" y="6068"/>
                      <a:pt x="151685" y="0"/>
                      <a:pt x="142584" y="0"/>
                    </a:cubicBezTo>
                    <a:lnTo>
                      <a:pt x="15169" y="0"/>
                    </a:lnTo>
                    <a:cubicBezTo>
                      <a:pt x="6067" y="0"/>
                      <a:pt x="0" y="6068"/>
                      <a:pt x="0" y="15169"/>
                    </a:cubicBezTo>
                    <a:lnTo>
                      <a:pt x="0" y="103147"/>
                    </a:lnTo>
                    <a:cubicBezTo>
                      <a:pt x="0" y="112248"/>
                      <a:pt x="6067" y="118315"/>
                      <a:pt x="15169" y="118315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87DF8375-1330-4130-A427-12C5265B495E}"/>
                </a:ext>
              </a:extLst>
            </p:cNvPr>
            <p:cNvSpPr/>
            <p:nvPr/>
          </p:nvSpPr>
          <p:spPr>
            <a:xfrm>
              <a:off x="9009478" y="9232875"/>
              <a:ext cx="376580" cy="288202"/>
            </a:xfrm>
            <a:custGeom>
              <a:avLst/>
              <a:gdLst>
                <a:gd name="connsiteX0" fmla="*/ 172921 w 376580"/>
                <a:gd name="connsiteY0" fmla="*/ 288203 h 288202"/>
                <a:gd name="connsiteX1" fmla="*/ 172921 w 376580"/>
                <a:gd name="connsiteY1" fmla="*/ 288203 h 288202"/>
                <a:gd name="connsiteX2" fmla="*/ 18202 w 376580"/>
                <a:gd name="connsiteY2" fmla="*/ 175955 h 288202"/>
                <a:gd name="connsiteX3" fmla="*/ 15169 w 376580"/>
                <a:gd name="connsiteY3" fmla="*/ 175955 h 288202"/>
                <a:gd name="connsiteX4" fmla="*/ 15169 w 376580"/>
                <a:gd name="connsiteY4" fmla="*/ 172921 h 288202"/>
                <a:gd name="connsiteX5" fmla="*/ 0 w 376580"/>
                <a:gd name="connsiteY5" fmla="*/ 0 h 288202"/>
                <a:gd name="connsiteX6" fmla="*/ 6067 w 376580"/>
                <a:gd name="connsiteY6" fmla="*/ 0 h 288202"/>
                <a:gd name="connsiteX7" fmla="*/ 370112 w 376580"/>
                <a:gd name="connsiteY7" fmla="*/ 0 h 288202"/>
                <a:gd name="connsiteX8" fmla="*/ 376180 w 376580"/>
                <a:gd name="connsiteY8" fmla="*/ 0 h 288202"/>
                <a:gd name="connsiteX9" fmla="*/ 376180 w 376580"/>
                <a:gd name="connsiteY9" fmla="*/ 6067 h 288202"/>
                <a:gd name="connsiteX10" fmla="*/ 364045 w 376580"/>
                <a:gd name="connsiteY10" fmla="*/ 206292 h 288202"/>
                <a:gd name="connsiteX11" fmla="*/ 364045 w 376580"/>
                <a:gd name="connsiteY11" fmla="*/ 209326 h 288202"/>
                <a:gd name="connsiteX12" fmla="*/ 361011 w 376580"/>
                <a:gd name="connsiteY12" fmla="*/ 209326 h 288202"/>
                <a:gd name="connsiteX13" fmla="*/ 172921 w 376580"/>
                <a:gd name="connsiteY13" fmla="*/ 288203 h 288202"/>
                <a:gd name="connsiteX14" fmla="*/ 172921 w 376580"/>
                <a:gd name="connsiteY14" fmla="*/ 288203 h 288202"/>
                <a:gd name="connsiteX15" fmla="*/ 27303 w 376580"/>
                <a:gd name="connsiteY15" fmla="*/ 169888 h 288202"/>
                <a:gd name="connsiteX16" fmla="*/ 169887 w 376580"/>
                <a:gd name="connsiteY16" fmla="*/ 276067 h 288202"/>
                <a:gd name="connsiteX17" fmla="*/ 351910 w 376580"/>
                <a:gd name="connsiteY17" fmla="*/ 200225 h 288202"/>
                <a:gd name="connsiteX18" fmla="*/ 364045 w 376580"/>
                <a:gd name="connsiteY18" fmla="*/ 9101 h 288202"/>
                <a:gd name="connsiteX19" fmla="*/ 12135 w 376580"/>
                <a:gd name="connsiteY19" fmla="*/ 9101 h 288202"/>
                <a:gd name="connsiteX20" fmla="*/ 27303 w 376580"/>
                <a:gd name="connsiteY20" fmla="*/ 169888 h 28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6580" h="288202">
                  <a:moveTo>
                    <a:pt x="172921" y="288203"/>
                  </a:moveTo>
                  <a:lnTo>
                    <a:pt x="172921" y="288203"/>
                  </a:lnTo>
                  <a:cubicBezTo>
                    <a:pt x="142584" y="279101"/>
                    <a:pt x="33371" y="188090"/>
                    <a:pt x="18202" y="175955"/>
                  </a:cubicBezTo>
                  <a:lnTo>
                    <a:pt x="15169" y="175955"/>
                  </a:lnTo>
                  <a:lnTo>
                    <a:pt x="15169" y="172921"/>
                  </a:lnTo>
                  <a:lnTo>
                    <a:pt x="0" y="0"/>
                  </a:lnTo>
                  <a:lnTo>
                    <a:pt x="6067" y="0"/>
                  </a:lnTo>
                  <a:cubicBezTo>
                    <a:pt x="200224" y="15169"/>
                    <a:pt x="367078" y="0"/>
                    <a:pt x="370112" y="0"/>
                  </a:cubicBezTo>
                  <a:lnTo>
                    <a:pt x="376180" y="0"/>
                  </a:lnTo>
                  <a:lnTo>
                    <a:pt x="376180" y="6067"/>
                  </a:lnTo>
                  <a:cubicBezTo>
                    <a:pt x="379214" y="78877"/>
                    <a:pt x="364045" y="206292"/>
                    <a:pt x="364045" y="206292"/>
                  </a:cubicBezTo>
                  <a:lnTo>
                    <a:pt x="364045" y="209326"/>
                  </a:lnTo>
                  <a:lnTo>
                    <a:pt x="361011" y="209326"/>
                  </a:lnTo>
                  <a:cubicBezTo>
                    <a:pt x="333708" y="224495"/>
                    <a:pt x="182022" y="285169"/>
                    <a:pt x="172921" y="288203"/>
                  </a:cubicBezTo>
                  <a:lnTo>
                    <a:pt x="172921" y="288203"/>
                  </a:lnTo>
                  <a:close/>
                  <a:moveTo>
                    <a:pt x="27303" y="169888"/>
                  </a:moveTo>
                  <a:cubicBezTo>
                    <a:pt x="60674" y="197191"/>
                    <a:pt x="148652" y="266966"/>
                    <a:pt x="169887" y="276067"/>
                  </a:cubicBezTo>
                  <a:cubicBezTo>
                    <a:pt x="188090" y="270000"/>
                    <a:pt x="321573" y="215393"/>
                    <a:pt x="351910" y="200225"/>
                  </a:cubicBezTo>
                  <a:cubicBezTo>
                    <a:pt x="354944" y="182022"/>
                    <a:pt x="367078" y="75843"/>
                    <a:pt x="364045" y="9101"/>
                  </a:cubicBezTo>
                  <a:cubicBezTo>
                    <a:pt x="333708" y="12135"/>
                    <a:pt x="182022" y="24270"/>
                    <a:pt x="12135" y="9101"/>
                  </a:cubicBezTo>
                  <a:lnTo>
                    <a:pt x="27303" y="169888"/>
                  </a:ln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1B21CE8F-9C95-4C90-83EE-CEC5C03A79AA}"/>
                </a:ext>
              </a:extLst>
            </p:cNvPr>
            <p:cNvSpPr/>
            <p:nvPr/>
          </p:nvSpPr>
          <p:spPr>
            <a:xfrm>
              <a:off x="9640489" y="11350403"/>
              <a:ext cx="72808" cy="12134"/>
            </a:xfrm>
            <a:custGeom>
              <a:avLst/>
              <a:gdLst>
                <a:gd name="connsiteX0" fmla="*/ 66741 w 72808"/>
                <a:gd name="connsiteY0" fmla="*/ 12135 h 12134"/>
                <a:gd name="connsiteX1" fmla="*/ 6067 w 72808"/>
                <a:gd name="connsiteY1" fmla="*/ 12135 h 12134"/>
                <a:gd name="connsiteX2" fmla="*/ 0 w 72808"/>
                <a:gd name="connsiteY2" fmla="*/ 6068 h 12134"/>
                <a:gd name="connsiteX3" fmla="*/ 6067 w 72808"/>
                <a:gd name="connsiteY3" fmla="*/ 0 h 12134"/>
                <a:gd name="connsiteX4" fmla="*/ 66741 w 72808"/>
                <a:gd name="connsiteY4" fmla="*/ 0 h 12134"/>
                <a:gd name="connsiteX5" fmla="*/ 72809 w 72808"/>
                <a:gd name="connsiteY5" fmla="*/ 6068 h 12134"/>
                <a:gd name="connsiteX6" fmla="*/ 66741 w 72808"/>
                <a:gd name="connsiteY6" fmla="*/ 12135 h 12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808" h="12134">
                  <a:moveTo>
                    <a:pt x="66741" y="12135"/>
                  </a:moveTo>
                  <a:lnTo>
                    <a:pt x="6067" y="12135"/>
                  </a:lnTo>
                  <a:cubicBezTo>
                    <a:pt x="3033" y="12135"/>
                    <a:pt x="0" y="9101"/>
                    <a:pt x="0" y="6068"/>
                  </a:cubicBezTo>
                  <a:cubicBezTo>
                    <a:pt x="0" y="3034"/>
                    <a:pt x="3033" y="0"/>
                    <a:pt x="6067" y="0"/>
                  </a:cubicBezTo>
                  <a:lnTo>
                    <a:pt x="66741" y="0"/>
                  </a:lnTo>
                  <a:cubicBezTo>
                    <a:pt x="69775" y="0"/>
                    <a:pt x="72809" y="3034"/>
                    <a:pt x="72809" y="6068"/>
                  </a:cubicBezTo>
                  <a:cubicBezTo>
                    <a:pt x="72809" y="9101"/>
                    <a:pt x="69775" y="12135"/>
                    <a:pt x="66741" y="12135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99F2419E-1689-49A4-A6C4-809BF544BF36}"/>
                </a:ext>
              </a:extLst>
            </p:cNvPr>
            <p:cNvSpPr/>
            <p:nvPr/>
          </p:nvSpPr>
          <p:spPr>
            <a:xfrm>
              <a:off x="9001987" y="9477278"/>
              <a:ext cx="225917" cy="95372"/>
            </a:xfrm>
            <a:custGeom>
              <a:avLst/>
              <a:gdLst>
                <a:gd name="connsiteX0" fmla="*/ 225918 w 225917"/>
                <a:gd name="connsiteY0" fmla="*/ 95372 h 95372"/>
                <a:gd name="connsiteX1" fmla="*/ 144008 w 225917"/>
                <a:gd name="connsiteY1" fmla="*/ 13462 h 95372"/>
                <a:gd name="connsiteX2" fmla="*/ 7491 w 225917"/>
                <a:gd name="connsiteY2" fmla="*/ 16496 h 95372"/>
                <a:gd name="connsiteX3" fmla="*/ 25693 w 225917"/>
                <a:gd name="connsiteY3" fmla="*/ 46833 h 95372"/>
                <a:gd name="connsiteX4" fmla="*/ 225918 w 225917"/>
                <a:gd name="connsiteY4" fmla="*/ 95372 h 95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917" h="95372">
                  <a:moveTo>
                    <a:pt x="225918" y="95372"/>
                  </a:moveTo>
                  <a:cubicBezTo>
                    <a:pt x="225918" y="95372"/>
                    <a:pt x="183446" y="25597"/>
                    <a:pt x="144008" y="13462"/>
                  </a:cubicBezTo>
                  <a:cubicBezTo>
                    <a:pt x="104569" y="1328"/>
                    <a:pt x="31760" y="-10807"/>
                    <a:pt x="7491" y="16496"/>
                  </a:cubicBezTo>
                  <a:cubicBezTo>
                    <a:pt x="-16779" y="43800"/>
                    <a:pt x="25693" y="46833"/>
                    <a:pt x="25693" y="46833"/>
                  </a:cubicBezTo>
                  <a:lnTo>
                    <a:pt x="225918" y="95372"/>
                  </a:ln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689CF739-A69A-4A24-A3FA-852C7ADA0E4E}"/>
                </a:ext>
              </a:extLst>
            </p:cNvPr>
            <p:cNvSpPr/>
            <p:nvPr/>
          </p:nvSpPr>
          <p:spPr>
            <a:xfrm>
              <a:off x="9200601" y="9050853"/>
              <a:ext cx="709455" cy="800717"/>
            </a:xfrm>
            <a:custGeom>
              <a:avLst/>
              <a:gdLst>
                <a:gd name="connsiteX0" fmla="*/ 391348 w 709455"/>
                <a:gd name="connsiteY0" fmla="*/ 15169 h 800717"/>
                <a:gd name="connsiteX1" fmla="*/ 442921 w 709455"/>
                <a:gd name="connsiteY1" fmla="*/ 591574 h 800717"/>
                <a:gd name="connsiteX2" fmla="*/ 15169 w 709455"/>
                <a:gd name="connsiteY2" fmla="*/ 512697 h 800717"/>
                <a:gd name="connsiteX3" fmla="*/ 0 w 709455"/>
                <a:gd name="connsiteY3" fmla="*/ 670449 h 800717"/>
                <a:gd name="connsiteX4" fmla="*/ 655281 w 709455"/>
                <a:gd name="connsiteY4" fmla="*/ 782697 h 800717"/>
                <a:gd name="connsiteX5" fmla="*/ 682584 w 709455"/>
                <a:gd name="connsiteY5" fmla="*/ 0 h 800717"/>
                <a:gd name="connsiteX6" fmla="*/ 391348 w 709455"/>
                <a:gd name="connsiteY6" fmla="*/ 15169 h 80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455" h="800717">
                  <a:moveTo>
                    <a:pt x="391348" y="15169"/>
                  </a:moveTo>
                  <a:lnTo>
                    <a:pt x="442921" y="591574"/>
                  </a:lnTo>
                  <a:lnTo>
                    <a:pt x="15169" y="512697"/>
                  </a:lnTo>
                  <a:lnTo>
                    <a:pt x="0" y="670449"/>
                  </a:lnTo>
                  <a:cubicBezTo>
                    <a:pt x="0" y="670449"/>
                    <a:pt x="552135" y="858539"/>
                    <a:pt x="655281" y="782697"/>
                  </a:cubicBezTo>
                  <a:cubicBezTo>
                    <a:pt x="758427" y="706854"/>
                    <a:pt x="682584" y="0"/>
                    <a:pt x="682584" y="0"/>
                  </a:cubicBezTo>
                  <a:lnTo>
                    <a:pt x="391348" y="15169"/>
                  </a:ln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1F9E18D8-A855-43BF-87EF-3524A5F21A01}"/>
                </a:ext>
              </a:extLst>
            </p:cNvPr>
            <p:cNvSpPr/>
            <p:nvPr/>
          </p:nvSpPr>
          <p:spPr>
            <a:xfrm>
              <a:off x="9598017" y="9035684"/>
              <a:ext cx="124382" cy="637079"/>
            </a:xfrm>
            <a:custGeom>
              <a:avLst/>
              <a:gdLst>
                <a:gd name="connsiteX0" fmla="*/ 115281 w 124382"/>
                <a:gd name="connsiteY0" fmla="*/ 637079 h 637079"/>
                <a:gd name="connsiteX1" fmla="*/ 115281 w 124382"/>
                <a:gd name="connsiteY1" fmla="*/ 637079 h 637079"/>
                <a:gd name="connsiteX2" fmla="*/ 42472 w 124382"/>
                <a:gd name="connsiteY2" fmla="*/ 609775 h 637079"/>
                <a:gd name="connsiteX3" fmla="*/ 39438 w 124382"/>
                <a:gd name="connsiteY3" fmla="*/ 606742 h 637079"/>
                <a:gd name="connsiteX4" fmla="*/ 0 w 124382"/>
                <a:gd name="connsiteY4" fmla="*/ 6067 h 637079"/>
                <a:gd name="connsiteX5" fmla="*/ 6067 w 124382"/>
                <a:gd name="connsiteY5" fmla="*/ 0 h 637079"/>
                <a:gd name="connsiteX6" fmla="*/ 12135 w 124382"/>
                <a:gd name="connsiteY6" fmla="*/ 6067 h 637079"/>
                <a:gd name="connsiteX7" fmla="*/ 51573 w 124382"/>
                <a:gd name="connsiteY7" fmla="*/ 603708 h 637079"/>
                <a:gd name="connsiteX8" fmla="*/ 118315 w 124382"/>
                <a:gd name="connsiteY8" fmla="*/ 627977 h 637079"/>
                <a:gd name="connsiteX9" fmla="*/ 124382 w 124382"/>
                <a:gd name="connsiteY9" fmla="*/ 634045 h 637079"/>
                <a:gd name="connsiteX10" fmla="*/ 115281 w 124382"/>
                <a:gd name="connsiteY10" fmla="*/ 637079 h 637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382" h="637079">
                  <a:moveTo>
                    <a:pt x="115281" y="637079"/>
                  </a:moveTo>
                  <a:cubicBezTo>
                    <a:pt x="115281" y="637079"/>
                    <a:pt x="115281" y="637079"/>
                    <a:pt x="115281" y="637079"/>
                  </a:cubicBezTo>
                  <a:cubicBezTo>
                    <a:pt x="94045" y="634045"/>
                    <a:pt x="45506" y="609775"/>
                    <a:pt x="42472" y="609775"/>
                  </a:cubicBezTo>
                  <a:cubicBezTo>
                    <a:pt x="39438" y="609775"/>
                    <a:pt x="39438" y="606742"/>
                    <a:pt x="39438" y="606742"/>
                  </a:cubicBezTo>
                  <a:cubicBezTo>
                    <a:pt x="24270" y="500562"/>
                    <a:pt x="0" y="12135"/>
                    <a:pt x="0" y="6067"/>
                  </a:cubicBezTo>
                  <a:cubicBezTo>
                    <a:pt x="0" y="3034"/>
                    <a:pt x="3034" y="0"/>
                    <a:pt x="6067" y="0"/>
                  </a:cubicBezTo>
                  <a:cubicBezTo>
                    <a:pt x="9101" y="0"/>
                    <a:pt x="12135" y="3034"/>
                    <a:pt x="12135" y="6067"/>
                  </a:cubicBezTo>
                  <a:cubicBezTo>
                    <a:pt x="12135" y="12135"/>
                    <a:pt x="36404" y="491461"/>
                    <a:pt x="51573" y="603708"/>
                  </a:cubicBezTo>
                  <a:cubicBezTo>
                    <a:pt x="63708" y="609775"/>
                    <a:pt x="103146" y="624944"/>
                    <a:pt x="118315" y="627977"/>
                  </a:cubicBezTo>
                  <a:cubicBezTo>
                    <a:pt x="121348" y="627977"/>
                    <a:pt x="124382" y="631011"/>
                    <a:pt x="124382" y="634045"/>
                  </a:cubicBezTo>
                  <a:cubicBezTo>
                    <a:pt x="121348" y="634045"/>
                    <a:pt x="118315" y="637079"/>
                    <a:pt x="115281" y="637079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29EAE5AA-CB7D-486B-88D7-DE9452818484}"/>
                </a:ext>
              </a:extLst>
            </p:cNvPr>
            <p:cNvSpPr/>
            <p:nvPr/>
          </p:nvSpPr>
          <p:spPr>
            <a:xfrm>
              <a:off x="9521607" y="8601448"/>
              <a:ext cx="419218" cy="581998"/>
            </a:xfrm>
            <a:custGeom>
              <a:avLst/>
              <a:gdLst>
                <a:gd name="connsiteX0" fmla="*/ 419219 w 419218"/>
                <a:gd name="connsiteY0" fmla="*/ 534349 h 581998"/>
                <a:gd name="connsiteX1" fmla="*/ 152252 w 419218"/>
                <a:gd name="connsiteY1" fmla="*/ 416 h 581998"/>
                <a:gd name="connsiteX2" fmla="*/ 567 w 419218"/>
                <a:gd name="connsiteY2" fmla="*/ 567720 h 581998"/>
                <a:gd name="connsiteX3" fmla="*/ 419219 w 419218"/>
                <a:gd name="connsiteY3" fmla="*/ 534349 h 58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9218" h="581998">
                  <a:moveTo>
                    <a:pt x="419219" y="534349"/>
                  </a:moveTo>
                  <a:cubicBezTo>
                    <a:pt x="419219" y="534349"/>
                    <a:pt x="352477" y="21652"/>
                    <a:pt x="152252" y="416"/>
                  </a:cubicBezTo>
                  <a:cubicBezTo>
                    <a:pt x="-17635" y="-17786"/>
                    <a:pt x="567" y="567720"/>
                    <a:pt x="567" y="567720"/>
                  </a:cubicBezTo>
                  <a:cubicBezTo>
                    <a:pt x="567" y="567720"/>
                    <a:pt x="222028" y="616259"/>
                    <a:pt x="419219" y="534349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0FCB48D8-0214-4A05-8874-11884F9FA3D8}"/>
                </a:ext>
              </a:extLst>
            </p:cNvPr>
            <p:cNvSpPr/>
            <p:nvPr/>
          </p:nvSpPr>
          <p:spPr>
            <a:xfrm>
              <a:off x="9516107" y="8601864"/>
              <a:ext cx="160786" cy="591573"/>
            </a:xfrm>
            <a:custGeom>
              <a:avLst/>
              <a:gdLst>
                <a:gd name="connsiteX0" fmla="*/ 127416 w 160786"/>
                <a:gd name="connsiteY0" fmla="*/ 588540 h 591573"/>
                <a:gd name="connsiteX1" fmla="*/ 3034 w 160786"/>
                <a:gd name="connsiteY1" fmla="*/ 573371 h 591573"/>
                <a:gd name="connsiteX2" fmla="*/ 0 w 160786"/>
                <a:gd name="connsiteY2" fmla="*/ 573371 h 591573"/>
                <a:gd name="connsiteX3" fmla="*/ 0 w 160786"/>
                <a:gd name="connsiteY3" fmla="*/ 570337 h 591573"/>
                <a:gd name="connsiteX4" fmla="*/ 21236 w 160786"/>
                <a:gd name="connsiteY4" fmla="*/ 212360 h 591573"/>
                <a:gd name="connsiteX5" fmla="*/ 154719 w 160786"/>
                <a:gd name="connsiteY5" fmla="*/ 0 h 591573"/>
                <a:gd name="connsiteX6" fmla="*/ 160787 w 160786"/>
                <a:gd name="connsiteY6" fmla="*/ 3034 h 591573"/>
                <a:gd name="connsiteX7" fmla="*/ 157753 w 160786"/>
                <a:gd name="connsiteY7" fmla="*/ 9101 h 591573"/>
                <a:gd name="connsiteX8" fmla="*/ 33371 w 160786"/>
                <a:gd name="connsiteY8" fmla="*/ 212360 h 591573"/>
                <a:gd name="connsiteX9" fmla="*/ 12135 w 160786"/>
                <a:gd name="connsiteY9" fmla="*/ 564270 h 591573"/>
                <a:gd name="connsiteX10" fmla="*/ 142584 w 160786"/>
                <a:gd name="connsiteY10" fmla="*/ 579438 h 591573"/>
                <a:gd name="connsiteX11" fmla="*/ 148652 w 160786"/>
                <a:gd name="connsiteY11" fmla="*/ 585506 h 591573"/>
                <a:gd name="connsiteX12" fmla="*/ 142584 w 160786"/>
                <a:gd name="connsiteY12" fmla="*/ 591573 h 591573"/>
                <a:gd name="connsiteX13" fmla="*/ 127416 w 160786"/>
                <a:gd name="connsiteY13" fmla="*/ 588540 h 5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0786" h="591573">
                  <a:moveTo>
                    <a:pt x="127416" y="588540"/>
                  </a:moveTo>
                  <a:cubicBezTo>
                    <a:pt x="63708" y="588540"/>
                    <a:pt x="3034" y="573371"/>
                    <a:pt x="3034" y="573371"/>
                  </a:cubicBezTo>
                  <a:lnTo>
                    <a:pt x="0" y="573371"/>
                  </a:lnTo>
                  <a:lnTo>
                    <a:pt x="0" y="570337"/>
                  </a:lnTo>
                  <a:cubicBezTo>
                    <a:pt x="0" y="567304"/>
                    <a:pt x="3034" y="391349"/>
                    <a:pt x="21236" y="212360"/>
                  </a:cubicBezTo>
                  <a:cubicBezTo>
                    <a:pt x="39438" y="27304"/>
                    <a:pt x="151685" y="0"/>
                    <a:pt x="154719" y="0"/>
                  </a:cubicBezTo>
                  <a:cubicBezTo>
                    <a:pt x="157753" y="0"/>
                    <a:pt x="160787" y="0"/>
                    <a:pt x="160787" y="3034"/>
                  </a:cubicBezTo>
                  <a:cubicBezTo>
                    <a:pt x="160787" y="6068"/>
                    <a:pt x="160787" y="9101"/>
                    <a:pt x="157753" y="9101"/>
                  </a:cubicBezTo>
                  <a:cubicBezTo>
                    <a:pt x="157753" y="9101"/>
                    <a:pt x="51573" y="36405"/>
                    <a:pt x="33371" y="212360"/>
                  </a:cubicBezTo>
                  <a:cubicBezTo>
                    <a:pt x="15169" y="376180"/>
                    <a:pt x="12135" y="536967"/>
                    <a:pt x="12135" y="564270"/>
                  </a:cubicBezTo>
                  <a:cubicBezTo>
                    <a:pt x="27303" y="567304"/>
                    <a:pt x="84944" y="579438"/>
                    <a:pt x="142584" y="579438"/>
                  </a:cubicBezTo>
                  <a:cubicBezTo>
                    <a:pt x="145618" y="579438"/>
                    <a:pt x="148652" y="582472"/>
                    <a:pt x="148652" y="585506"/>
                  </a:cubicBezTo>
                  <a:cubicBezTo>
                    <a:pt x="148652" y="588540"/>
                    <a:pt x="145618" y="591573"/>
                    <a:pt x="142584" y="591573"/>
                  </a:cubicBezTo>
                  <a:cubicBezTo>
                    <a:pt x="136517" y="588540"/>
                    <a:pt x="133483" y="588540"/>
                    <a:pt x="127416" y="588540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F8BBDD86-8AF2-4C9C-A1A9-E169DBBD2884}"/>
                </a:ext>
              </a:extLst>
            </p:cNvPr>
            <p:cNvSpPr/>
            <p:nvPr/>
          </p:nvSpPr>
          <p:spPr>
            <a:xfrm>
              <a:off x="9570714" y="12039055"/>
              <a:ext cx="364044" cy="206291"/>
            </a:xfrm>
            <a:custGeom>
              <a:avLst/>
              <a:gdLst>
                <a:gd name="connsiteX0" fmla="*/ 333708 w 364044"/>
                <a:gd name="connsiteY0" fmla="*/ 0 h 206291"/>
                <a:gd name="connsiteX1" fmla="*/ 364045 w 364044"/>
                <a:gd name="connsiteY1" fmla="*/ 106180 h 206291"/>
                <a:gd name="connsiteX2" fmla="*/ 30337 w 364044"/>
                <a:gd name="connsiteY2" fmla="*/ 206292 h 206291"/>
                <a:gd name="connsiteX3" fmla="*/ 0 w 364044"/>
                <a:gd name="connsiteY3" fmla="*/ 124381 h 206291"/>
                <a:gd name="connsiteX4" fmla="*/ 333708 w 364044"/>
                <a:gd name="connsiteY4" fmla="*/ 0 h 206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044" h="206291">
                  <a:moveTo>
                    <a:pt x="333708" y="0"/>
                  </a:moveTo>
                  <a:cubicBezTo>
                    <a:pt x="333708" y="0"/>
                    <a:pt x="361011" y="57640"/>
                    <a:pt x="364045" y="106180"/>
                  </a:cubicBezTo>
                  <a:cubicBezTo>
                    <a:pt x="364045" y="106180"/>
                    <a:pt x="194157" y="194157"/>
                    <a:pt x="30337" y="206292"/>
                  </a:cubicBezTo>
                  <a:cubicBezTo>
                    <a:pt x="30337" y="206292"/>
                    <a:pt x="12135" y="163820"/>
                    <a:pt x="0" y="124381"/>
                  </a:cubicBezTo>
                  <a:cubicBezTo>
                    <a:pt x="0" y="124381"/>
                    <a:pt x="276067" y="51572"/>
                    <a:pt x="333708" y="0"/>
                  </a:cubicBezTo>
                  <a:close/>
                </a:path>
              </a:pathLst>
            </a:custGeom>
            <a:solidFill>
              <a:srgbClr val="D3977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65631608-AFCB-4D6F-8B91-6C4E070C62AC}"/>
                </a:ext>
              </a:extLst>
            </p:cNvPr>
            <p:cNvSpPr/>
            <p:nvPr/>
          </p:nvSpPr>
          <p:spPr>
            <a:xfrm>
              <a:off x="8860826" y="12178605"/>
              <a:ext cx="361201" cy="128658"/>
            </a:xfrm>
            <a:custGeom>
              <a:avLst/>
              <a:gdLst>
                <a:gd name="connsiteX0" fmla="*/ 361012 w 361201"/>
                <a:gd name="connsiteY0" fmla="*/ 18202 h 128658"/>
                <a:gd name="connsiteX1" fmla="*/ 345843 w 361201"/>
                <a:gd name="connsiteY1" fmla="*/ 127416 h 128658"/>
                <a:gd name="connsiteX2" fmla="*/ 0 w 361201"/>
                <a:gd name="connsiteY2" fmla="*/ 87978 h 128658"/>
                <a:gd name="connsiteX3" fmla="*/ 3034 w 361201"/>
                <a:gd name="connsiteY3" fmla="*/ 0 h 128658"/>
                <a:gd name="connsiteX4" fmla="*/ 361012 w 361201"/>
                <a:gd name="connsiteY4" fmla="*/ 18202 h 128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201" h="128658">
                  <a:moveTo>
                    <a:pt x="361012" y="18202"/>
                  </a:moveTo>
                  <a:cubicBezTo>
                    <a:pt x="361012" y="18202"/>
                    <a:pt x="364045" y="81910"/>
                    <a:pt x="345843" y="127416"/>
                  </a:cubicBezTo>
                  <a:cubicBezTo>
                    <a:pt x="345843" y="127416"/>
                    <a:pt x="154719" y="139551"/>
                    <a:pt x="0" y="87978"/>
                  </a:cubicBezTo>
                  <a:cubicBezTo>
                    <a:pt x="0" y="87978"/>
                    <a:pt x="0" y="42473"/>
                    <a:pt x="3034" y="0"/>
                  </a:cubicBezTo>
                  <a:cubicBezTo>
                    <a:pt x="3034" y="3034"/>
                    <a:pt x="285169" y="45506"/>
                    <a:pt x="361012" y="18202"/>
                  </a:cubicBezTo>
                  <a:close/>
                </a:path>
              </a:pathLst>
            </a:custGeom>
            <a:solidFill>
              <a:srgbClr val="9DB3D1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0" name="图形 1">
              <a:extLst>
                <a:ext uri="{FF2B5EF4-FFF2-40B4-BE49-F238E27FC236}">
                  <a16:creationId xmlns:a16="http://schemas.microsoft.com/office/drawing/2014/main" id="{168EB652-C9D4-4E51-9A07-3DA08AF95F22}"/>
                </a:ext>
              </a:extLst>
            </p:cNvPr>
            <p:cNvGrpSpPr/>
            <p:nvPr/>
          </p:nvGrpSpPr>
          <p:grpSpPr>
            <a:xfrm>
              <a:off x="6418691" y="10503999"/>
              <a:ext cx="3139887" cy="1999213"/>
              <a:chOff x="6418691" y="10503999"/>
              <a:chExt cx="3139887" cy="1999213"/>
            </a:xfrm>
          </p:grpSpPr>
          <p:grpSp>
            <p:nvGrpSpPr>
              <p:cNvPr id="62" name="图形 1">
                <a:extLst>
                  <a:ext uri="{FF2B5EF4-FFF2-40B4-BE49-F238E27FC236}">
                    <a16:creationId xmlns:a16="http://schemas.microsoft.com/office/drawing/2014/main" id="{B9BD50FF-A46D-44A9-AE89-E6A60DCBA8EB}"/>
                  </a:ext>
                </a:extLst>
              </p:cNvPr>
              <p:cNvGrpSpPr/>
              <p:nvPr/>
            </p:nvGrpSpPr>
            <p:grpSpPr>
              <a:xfrm>
                <a:off x="6418691" y="11829729"/>
                <a:ext cx="3139887" cy="673483"/>
                <a:chOff x="6418691" y="11829729"/>
                <a:chExt cx="3139887" cy="673483"/>
              </a:xfrm>
            </p:grpSpPr>
            <p:grpSp>
              <p:nvGrpSpPr>
                <p:cNvPr id="125" name="图形 1">
                  <a:extLst>
                    <a:ext uri="{FF2B5EF4-FFF2-40B4-BE49-F238E27FC236}">
                      <a16:creationId xmlns:a16="http://schemas.microsoft.com/office/drawing/2014/main" id="{AFB330FF-6657-4B50-B80C-1BE033252399}"/>
                    </a:ext>
                  </a:extLst>
                </p:cNvPr>
                <p:cNvGrpSpPr/>
                <p:nvPr/>
              </p:nvGrpSpPr>
              <p:grpSpPr>
                <a:xfrm>
                  <a:off x="8973073" y="12160404"/>
                  <a:ext cx="585505" cy="342808"/>
                  <a:chOff x="8973073" y="12160404"/>
                  <a:chExt cx="585505" cy="342808"/>
                </a:xfrm>
              </p:grpSpPr>
              <p:sp>
                <p:nvSpPr>
                  <p:cNvPr id="153" name="任意多边形: 形状 152">
                    <a:extLst>
                      <a:ext uri="{FF2B5EF4-FFF2-40B4-BE49-F238E27FC236}">
                        <a16:creationId xmlns:a16="http://schemas.microsoft.com/office/drawing/2014/main" id="{2D152522-F554-4C29-9F97-133D93923800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8980202" y="12168473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" name="任意多边形: 形状 153">
                    <a:extLst>
                      <a:ext uri="{FF2B5EF4-FFF2-40B4-BE49-F238E27FC236}">
                        <a16:creationId xmlns:a16="http://schemas.microsoft.com/office/drawing/2014/main" id="{E10DF688-5F36-4AD3-8053-60519FBEDB96}"/>
                      </a:ext>
                    </a:extLst>
                  </p:cNvPr>
                  <p:cNvSpPr/>
                  <p:nvPr/>
                </p:nvSpPr>
                <p:spPr>
                  <a:xfrm>
                    <a:off x="8973073" y="12160404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1 h 342808"/>
                      <a:gd name="connsiteX3" fmla="*/ 0 w 585505"/>
                      <a:gd name="connsiteY3" fmla="*/ 6067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5 w 585505"/>
                      <a:gd name="connsiteY6" fmla="*/ 6067 h 342808"/>
                      <a:gd name="connsiteX7" fmla="*/ 585505 w 585505"/>
                      <a:gd name="connsiteY7" fmla="*/ 336741 h 342808"/>
                      <a:gd name="connsiteX8" fmla="*/ 579438 w 585505"/>
                      <a:gd name="connsiteY8" fmla="*/ 342809 h 342808"/>
                      <a:gd name="connsiteX9" fmla="*/ 9101 w 585505"/>
                      <a:gd name="connsiteY9" fmla="*/ 333708 h 342808"/>
                      <a:gd name="connsiteX10" fmla="*/ 573371 w 585505"/>
                      <a:gd name="connsiteY10" fmla="*/ 333708 h 342808"/>
                      <a:gd name="connsiteX11" fmla="*/ 573371 w 585505"/>
                      <a:gd name="connsiteY11" fmla="*/ 12135 h 342808"/>
                      <a:gd name="connsiteX12" fmla="*/ 9101 w 585505"/>
                      <a:gd name="connsiteY12" fmla="*/ 12135 h 342808"/>
                      <a:gd name="connsiteX13" fmla="*/ 9101 w 585505"/>
                      <a:gd name="connsiteY13" fmla="*/ 333708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3" y="342809"/>
                          <a:pt x="0" y="339775"/>
                          <a:pt x="0" y="336741"/>
                        </a:cubicBezTo>
                        <a:lnTo>
                          <a:pt x="0" y="6067"/>
                        </a:lnTo>
                        <a:cubicBezTo>
                          <a:pt x="0" y="3033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5" y="3033"/>
                          <a:pt x="585505" y="6067"/>
                        </a:cubicBezTo>
                        <a:lnTo>
                          <a:pt x="585505" y="336741"/>
                        </a:lnTo>
                        <a:cubicBezTo>
                          <a:pt x="585505" y="339775"/>
                          <a:pt x="582472" y="342809"/>
                          <a:pt x="579438" y="342809"/>
                        </a:cubicBezTo>
                        <a:close/>
                        <a:moveTo>
                          <a:pt x="9101" y="333708"/>
                        </a:moveTo>
                        <a:lnTo>
                          <a:pt x="573371" y="333708"/>
                        </a:lnTo>
                        <a:lnTo>
                          <a:pt x="573371" y="12135"/>
                        </a:lnTo>
                        <a:lnTo>
                          <a:pt x="9101" y="12135"/>
                        </a:lnTo>
                        <a:lnTo>
                          <a:pt x="9101" y="333708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26" name="图形 1">
                  <a:extLst>
                    <a:ext uri="{FF2B5EF4-FFF2-40B4-BE49-F238E27FC236}">
                      <a16:creationId xmlns:a16="http://schemas.microsoft.com/office/drawing/2014/main" id="{7D5CC0F0-0FD6-473D-8A80-69206A367A77}"/>
                    </a:ext>
                  </a:extLst>
                </p:cNvPr>
                <p:cNvGrpSpPr/>
                <p:nvPr/>
              </p:nvGrpSpPr>
              <p:grpSpPr>
                <a:xfrm>
                  <a:off x="8396669" y="12160404"/>
                  <a:ext cx="585505" cy="342808"/>
                  <a:chOff x="8396669" y="12160404"/>
                  <a:chExt cx="585505" cy="342808"/>
                </a:xfrm>
              </p:grpSpPr>
              <p:sp>
                <p:nvSpPr>
                  <p:cNvPr id="151" name="任意多边形: 形状 150">
                    <a:extLst>
                      <a:ext uri="{FF2B5EF4-FFF2-40B4-BE49-F238E27FC236}">
                        <a16:creationId xmlns:a16="http://schemas.microsoft.com/office/drawing/2014/main" id="{C1A36982-DBAA-4DB9-9D32-F798982E6A40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8404071" y="12168473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" name="任意多边形: 形状 151">
                    <a:extLst>
                      <a:ext uri="{FF2B5EF4-FFF2-40B4-BE49-F238E27FC236}">
                        <a16:creationId xmlns:a16="http://schemas.microsoft.com/office/drawing/2014/main" id="{06991A36-A55A-4259-BCBD-8E0DBFE14F88}"/>
                      </a:ext>
                    </a:extLst>
                  </p:cNvPr>
                  <p:cNvSpPr/>
                  <p:nvPr/>
                </p:nvSpPr>
                <p:spPr>
                  <a:xfrm>
                    <a:off x="8396669" y="12160404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1 h 342808"/>
                      <a:gd name="connsiteX3" fmla="*/ 0 w 585505"/>
                      <a:gd name="connsiteY3" fmla="*/ 6067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5 w 585505"/>
                      <a:gd name="connsiteY6" fmla="*/ 6067 h 342808"/>
                      <a:gd name="connsiteX7" fmla="*/ 585505 w 585505"/>
                      <a:gd name="connsiteY7" fmla="*/ 336741 h 342808"/>
                      <a:gd name="connsiteX8" fmla="*/ 579438 w 585505"/>
                      <a:gd name="connsiteY8" fmla="*/ 342809 h 342808"/>
                      <a:gd name="connsiteX9" fmla="*/ 12135 w 585505"/>
                      <a:gd name="connsiteY9" fmla="*/ 333708 h 342808"/>
                      <a:gd name="connsiteX10" fmla="*/ 576405 w 585505"/>
                      <a:gd name="connsiteY10" fmla="*/ 333708 h 342808"/>
                      <a:gd name="connsiteX11" fmla="*/ 576405 w 585505"/>
                      <a:gd name="connsiteY11" fmla="*/ 12135 h 342808"/>
                      <a:gd name="connsiteX12" fmla="*/ 12135 w 585505"/>
                      <a:gd name="connsiteY12" fmla="*/ 12135 h 342808"/>
                      <a:gd name="connsiteX13" fmla="*/ 12135 w 585505"/>
                      <a:gd name="connsiteY13" fmla="*/ 333708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3" y="342809"/>
                          <a:pt x="0" y="339775"/>
                          <a:pt x="0" y="336741"/>
                        </a:cubicBezTo>
                        <a:lnTo>
                          <a:pt x="0" y="6067"/>
                        </a:lnTo>
                        <a:cubicBezTo>
                          <a:pt x="0" y="3033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5" y="3033"/>
                          <a:pt x="585505" y="6067"/>
                        </a:cubicBezTo>
                        <a:lnTo>
                          <a:pt x="585505" y="336741"/>
                        </a:lnTo>
                        <a:cubicBezTo>
                          <a:pt x="585505" y="339775"/>
                          <a:pt x="582472" y="342809"/>
                          <a:pt x="579438" y="342809"/>
                        </a:cubicBezTo>
                        <a:close/>
                        <a:moveTo>
                          <a:pt x="12135" y="333708"/>
                        </a:moveTo>
                        <a:lnTo>
                          <a:pt x="576405" y="333708"/>
                        </a:lnTo>
                        <a:lnTo>
                          <a:pt x="576405" y="12135"/>
                        </a:lnTo>
                        <a:lnTo>
                          <a:pt x="12135" y="12135"/>
                        </a:lnTo>
                        <a:lnTo>
                          <a:pt x="12135" y="333708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27" name="图形 1">
                  <a:extLst>
                    <a:ext uri="{FF2B5EF4-FFF2-40B4-BE49-F238E27FC236}">
                      <a16:creationId xmlns:a16="http://schemas.microsoft.com/office/drawing/2014/main" id="{F579759E-D996-4363-A546-2B3FB84A478D}"/>
                    </a:ext>
                  </a:extLst>
                </p:cNvPr>
                <p:cNvGrpSpPr/>
                <p:nvPr/>
              </p:nvGrpSpPr>
              <p:grpSpPr>
                <a:xfrm>
                  <a:off x="7823298" y="12160404"/>
                  <a:ext cx="585505" cy="342808"/>
                  <a:chOff x="7823298" y="12160404"/>
                  <a:chExt cx="585505" cy="342808"/>
                </a:xfrm>
              </p:grpSpPr>
              <p:sp>
                <p:nvSpPr>
                  <p:cNvPr id="149" name="任意多边形: 形状 148">
                    <a:extLst>
                      <a:ext uri="{FF2B5EF4-FFF2-40B4-BE49-F238E27FC236}">
                        <a16:creationId xmlns:a16="http://schemas.microsoft.com/office/drawing/2014/main" id="{43104774-A894-4BD2-B5DB-3D23E155D916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7827939" y="12168473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0 w 573370"/>
                      <a:gd name="connsiteY1" fmla="*/ 0 h 330674"/>
                      <a:gd name="connsiteX2" fmla="*/ 573370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0" y="0"/>
                        </a:lnTo>
                        <a:lnTo>
                          <a:pt x="573370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" name="任意多边形: 形状 149">
                    <a:extLst>
                      <a:ext uri="{FF2B5EF4-FFF2-40B4-BE49-F238E27FC236}">
                        <a16:creationId xmlns:a16="http://schemas.microsoft.com/office/drawing/2014/main" id="{C0994B8A-A6E9-4974-B371-4D46B36CD9BB}"/>
                      </a:ext>
                    </a:extLst>
                  </p:cNvPr>
                  <p:cNvSpPr/>
                  <p:nvPr/>
                </p:nvSpPr>
                <p:spPr>
                  <a:xfrm>
                    <a:off x="7823298" y="12160404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1 h 342808"/>
                      <a:gd name="connsiteX3" fmla="*/ 0 w 585505"/>
                      <a:gd name="connsiteY3" fmla="*/ 6067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6 w 585505"/>
                      <a:gd name="connsiteY6" fmla="*/ 6067 h 342808"/>
                      <a:gd name="connsiteX7" fmla="*/ 585506 w 585505"/>
                      <a:gd name="connsiteY7" fmla="*/ 336741 h 342808"/>
                      <a:gd name="connsiteX8" fmla="*/ 579438 w 585505"/>
                      <a:gd name="connsiteY8" fmla="*/ 342809 h 342808"/>
                      <a:gd name="connsiteX9" fmla="*/ 9101 w 585505"/>
                      <a:gd name="connsiteY9" fmla="*/ 333708 h 342808"/>
                      <a:gd name="connsiteX10" fmla="*/ 573371 w 585505"/>
                      <a:gd name="connsiteY10" fmla="*/ 333708 h 342808"/>
                      <a:gd name="connsiteX11" fmla="*/ 573371 w 585505"/>
                      <a:gd name="connsiteY11" fmla="*/ 12135 h 342808"/>
                      <a:gd name="connsiteX12" fmla="*/ 9101 w 585505"/>
                      <a:gd name="connsiteY12" fmla="*/ 12135 h 342808"/>
                      <a:gd name="connsiteX13" fmla="*/ 9101 w 585505"/>
                      <a:gd name="connsiteY13" fmla="*/ 333708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4" y="342809"/>
                          <a:pt x="0" y="339775"/>
                          <a:pt x="0" y="336741"/>
                        </a:cubicBezTo>
                        <a:lnTo>
                          <a:pt x="0" y="6067"/>
                        </a:lnTo>
                        <a:cubicBezTo>
                          <a:pt x="0" y="3033"/>
                          <a:pt x="3034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3"/>
                          <a:pt x="585506" y="6067"/>
                        </a:cubicBezTo>
                        <a:lnTo>
                          <a:pt x="585506" y="336741"/>
                        </a:lnTo>
                        <a:cubicBezTo>
                          <a:pt x="585506" y="339775"/>
                          <a:pt x="582472" y="342809"/>
                          <a:pt x="579438" y="342809"/>
                        </a:cubicBezTo>
                        <a:close/>
                        <a:moveTo>
                          <a:pt x="9101" y="333708"/>
                        </a:moveTo>
                        <a:lnTo>
                          <a:pt x="573371" y="333708"/>
                        </a:lnTo>
                        <a:lnTo>
                          <a:pt x="573371" y="12135"/>
                        </a:lnTo>
                        <a:lnTo>
                          <a:pt x="9101" y="12135"/>
                        </a:lnTo>
                        <a:lnTo>
                          <a:pt x="9101" y="333708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28" name="图形 1">
                  <a:extLst>
                    <a:ext uri="{FF2B5EF4-FFF2-40B4-BE49-F238E27FC236}">
                      <a16:creationId xmlns:a16="http://schemas.microsoft.com/office/drawing/2014/main" id="{36617792-3780-4FCE-BDBA-37FE0E664CD5}"/>
                    </a:ext>
                  </a:extLst>
                </p:cNvPr>
                <p:cNvGrpSpPr/>
                <p:nvPr/>
              </p:nvGrpSpPr>
              <p:grpSpPr>
                <a:xfrm>
                  <a:off x="7249927" y="12160404"/>
                  <a:ext cx="585505" cy="342808"/>
                  <a:chOff x="7249927" y="12160404"/>
                  <a:chExt cx="585505" cy="342808"/>
                </a:xfrm>
              </p:grpSpPr>
              <p:sp>
                <p:nvSpPr>
                  <p:cNvPr id="147" name="任意多边形: 形状 146">
                    <a:extLst>
                      <a:ext uri="{FF2B5EF4-FFF2-40B4-BE49-F238E27FC236}">
                        <a16:creationId xmlns:a16="http://schemas.microsoft.com/office/drawing/2014/main" id="{3E184B38-AC78-4401-85D3-D47FF239874C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7254841" y="12168473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8" name="任意多边形: 形状 147">
                    <a:extLst>
                      <a:ext uri="{FF2B5EF4-FFF2-40B4-BE49-F238E27FC236}">
                        <a16:creationId xmlns:a16="http://schemas.microsoft.com/office/drawing/2014/main" id="{F4FB7D1F-DDEB-47E8-977B-A15890261AE7}"/>
                      </a:ext>
                    </a:extLst>
                  </p:cNvPr>
                  <p:cNvSpPr/>
                  <p:nvPr/>
                </p:nvSpPr>
                <p:spPr>
                  <a:xfrm>
                    <a:off x="7249927" y="12160404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1 h 342808"/>
                      <a:gd name="connsiteX3" fmla="*/ 0 w 585505"/>
                      <a:gd name="connsiteY3" fmla="*/ 6067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6 w 585505"/>
                      <a:gd name="connsiteY6" fmla="*/ 6067 h 342808"/>
                      <a:gd name="connsiteX7" fmla="*/ 585506 w 585505"/>
                      <a:gd name="connsiteY7" fmla="*/ 336741 h 342808"/>
                      <a:gd name="connsiteX8" fmla="*/ 579438 w 585505"/>
                      <a:gd name="connsiteY8" fmla="*/ 342809 h 342808"/>
                      <a:gd name="connsiteX9" fmla="*/ 9101 w 585505"/>
                      <a:gd name="connsiteY9" fmla="*/ 333708 h 342808"/>
                      <a:gd name="connsiteX10" fmla="*/ 573371 w 585505"/>
                      <a:gd name="connsiteY10" fmla="*/ 333708 h 342808"/>
                      <a:gd name="connsiteX11" fmla="*/ 573371 w 585505"/>
                      <a:gd name="connsiteY11" fmla="*/ 12135 h 342808"/>
                      <a:gd name="connsiteX12" fmla="*/ 9101 w 585505"/>
                      <a:gd name="connsiteY12" fmla="*/ 12135 h 342808"/>
                      <a:gd name="connsiteX13" fmla="*/ 9101 w 585505"/>
                      <a:gd name="connsiteY13" fmla="*/ 333708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3" y="342809"/>
                          <a:pt x="0" y="339775"/>
                          <a:pt x="0" y="336741"/>
                        </a:cubicBezTo>
                        <a:lnTo>
                          <a:pt x="0" y="6067"/>
                        </a:lnTo>
                        <a:cubicBezTo>
                          <a:pt x="0" y="3033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3"/>
                          <a:pt x="585506" y="6067"/>
                        </a:cubicBezTo>
                        <a:lnTo>
                          <a:pt x="585506" y="336741"/>
                        </a:lnTo>
                        <a:cubicBezTo>
                          <a:pt x="582472" y="339775"/>
                          <a:pt x="582472" y="342809"/>
                          <a:pt x="579438" y="342809"/>
                        </a:cubicBezTo>
                        <a:close/>
                        <a:moveTo>
                          <a:pt x="9101" y="333708"/>
                        </a:moveTo>
                        <a:lnTo>
                          <a:pt x="573371" y="333708"/>
                        </a:lnTo>
                        <a:lnTo>
                          <a:pt x="573371" y="12135"/>
                        </a:lnTo>
                        <a:lnTo>
                          <a:pt x="9101" y="12135"/>
                        </a:lnTo>
                        <a:lnTo>
                          <a:pt x="9101" y="333708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29" name="图形 1">
                  <a:extLst>
                    <a:ext uri="{FF2B5EF4-FFF2-40B4-BE49-F238E27FC236}">
                      <a16:creationId xmlns:a16="http://schemas.microsoft.com/office/drawing/2014/main" id="{BCD77F09-0477-42D6-BD62-889C6BEC41B5}"/>
                    </a:ext>
                  </a:extLst>
                </p:cNvPr>
                <p:cNvGrpSpPr/>
                <p:nvPr/>
              </p:nvGrpSpPr>
              <p:grpSpPr>
                <a:xfrm>
                  <a:off x="6673522" y="12160404"/>
                  <a:ext cx="585505" cy="342808"/>
                  <a:chOff x="6673522" y="12160404"/>
                  <a:chExt cx="585505" cy="342808"/>
                </a:xfrm>
              </p:grpSpPr>
              <p:sp>
                <p:nvSpPr>
                  <p:cNvPr id="145" name="任意多边形: 形状 144">
                    <a:extLst>
                      <a:ext uri="{FF2B5EF4-FFF2-40B4-BE49-F238E27FC236}">
                        <a16:creationId xmlns:a16="http://schemas.microsoft.com/office/drawing/2014/main" id="{2184E1E5-E99B-47A5-9D00-EEC905716243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6678710" y="12168473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" name="任意多边形: 形状 145">
                    <a:extLst>
                      <a:ext uri="{FF2B5EF4-FFF2-40B4-BE49-F238E27FC236}">
                        <a16:creationId xmlns:a16="http://schemas.microsoft.com/office/drawing/2014/main" id="{D04A13AB-4D74-40B7-B7EA-8824288C6A90}"/>
                      </a:ext>
                    </a:extLst>
                  </p:cNvPr>
                  <p:cNvSpPr/>
                  <p:nvPr/>
                </p:nvSpPr>
                <p:spPr>
                  <a:xfrm>
                    <a:off x="6673522" y="12160404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1 h 342808"/>
                      <a:gd name="connsiteX3" fmla="*/ 0 w 585505"/>
                      <a:gd name="connsiteY3" fmla="*/ 6067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6 w 585505"/>
                      <a:gd name="connsiteY6" fmla="*/ 6067 h 342808"/>
                      <a:gd name="connsiteX7" fmla="*/ 585506 w 585505"/>
                      <a:gd name="connsiteY7" fmla="*/ 336741 h 342808"/>
                      <a:gd name="connsiteX8" fmla="*/ 579438 w 585505"/>
                      <a:gd name="connsiteY8" fmla="*/ 342809 h 342808"/>
                      <a:gd name="connsiteX9" fmla="*/ 9101 w 585505"/>
                      <a:gd name="connsiteY9" fmla="*/ 333708 h 342808"/>
                      <a:gd name="connsiteX10" fmla="*/ 573371 w 585505"/>
                      <a:gd name="connsiteY10" fmla="*/ 333708 h 342808"/>
                      <a:gd name="connsiteX11" fmla="*/ 573371 w 585505"/>
                      <a:gd name="connsiteY11" fmla="*/ 12135 h 342808"/>
                      <a:gd name="connsiteX12" fmla="*/ 9101 w 585505"/>
                      <a:gd name="connsiteY12" fmla="*/ 12135 h 342808"/>
                      <a:gd name="connsiteX13" fmla="*/ 9101 w 585505"/>
                      <a:gd name="connsiteY13" fmla="*/ 333708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3" y="342809"/>
                          <a:pt x="0" y="339775"/>
                          <a:pt x="0" y="336741"/>
                        </a:cubicBezTo>
                        <a:lnTo>
                          <a:pt x="0" y="6067"/>
                        </a:lnTo>
                        <a:cubicBezTo>
                          <a:pt x="0" y="3033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3"/>
                          <a:pt x="585506" y="6067"/>
                        </a:cubicBezTo>
                        <a:lnTo>
                          <a:pt x="585506" y="336741"/>
                        </a:lnTo>
                        <a:cubicBezTo>
                          <a:pt x="585506" y="339775"/>
                          <a:pt x="582472" y="342809"/>
                          <a:pt x="579438" y="342809"/>
                        </a:cubicBezTo>
                        <a:close/>
                        <a:moveTo>
                          <a:pt x="9101" y="333708"/>
                        </a:moveTo>
                        <a:lnTo>
                          <a:pt x="573371" y="333708"/>
                        </a:lnTo>
                        <a:lnTo>
                          <a:pt x="573371" y="12135"/>
                        </a:lnTo>
                        <a:lnTo>
                          <a:pt x="9101" y="12135"/>
                        </a:lnTo>
                        <a:lnTo>
                          <a:pt x="9101" y="333708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30" name="图形 1">
                  <a:extLst>
                    <a:ext uri="{FF2B5EF4-FFF2-40B4-BE49-F238E27FC236}">
                      <a16:creationId xmlns:a16="http://schemas.microsoft.com/office/drawing/2014/main" id="{16D0FFDA-E81E-4028-804A-3C5B333D4F3A}"/>
                    </a:ext>
                  </a:extLst>
                </p:cNvPr>
                <p:cNvGrpSpPr/>
                <p:nvPr/>
              </p:nvGrpSpPr>
              <p:grpSpPr>
                <a:xfrm>
                  <a:off x="8718241" y="11829729"/>
                  <a:ext cx="585505" cy="342809"/>
                  <a:chOff x="8718241" y="11829729"/>
                  <a:chExt cx="585505" cy="342809"/>
                </a:xfrm>
              </p:grpSpPr>
              <p:sp>
                <p:nvSpPr>
                  <p:cNvPr id="143" name="任意多边形: 形状 142">
                    <a:extLst>
                      <a:ext uri="{FF2B5EF4-FFF2-40B4-BE49-F238E27FC236}">
                        <a16:creationId xmlns:a16="http://schemas.microsoft.com/office/drawing/2014/main" id="{3D3D91A6-6E2E-43BE-9559-728AF11CBDAC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8724066" y="11836494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" name="任意多边形: 形状 143">
                    <a:extLst>
                      <a:ext uri="{FF2B5EF4-FFF2-40B4-BE49-F238E27FC236}">
                        <a16:creationId xmlns:a16="http://schemas.microsoft.com/office/drawing/2014/main" id="{60FE685E-607D-4858-9591-BF7B6837CC86}"/>
                      </a:ext>
                    </a:extLst>
                  </p:cNvPr>
                  <p:cNvSpPr/>
                  <p:nvPr/>
                </p:nvSpPr>
                <p:spPr>
                  <a:xfrm>
                    <a:off x="8718241" y="11829729"/>
                    <a:ext cx="585505" cy="342809"/>
                  </a:xfrm>
                  <a:custGeom>
                    <a:avLst/>
                    <a:gdLst>
                      <a:gd name="connsiteX0" fmla="*/ 579438 w 585505"/>
                      <a:gd name="connsiteY0" fmla="*/ 342810 h 342809"/>
                      <a:gd name="connsiteX1" fmla="*/ 6067 w 585505"/>
                      <a:gd name="connsiteY1" fmla="*/ 342810 h 342809"/>
                      <a:gd name="connsiteX2" fmla="*/ 0 w 585505"/>
                      <a:gd name="connsiteY2" fmla="*/ 336742 h 342809"/>
                      <a:gd name="connsiteX3" fmla="*/ 0 w 585505"/>
                      <a:gd name="connsiteY3" fmla="*/ 6068 h 342809"/>
                      <a:gd name="connsiteX4" fmla="*/ 6067 w 585505"/>
                      <a:gd name="connsiteY4" fmla="*/ 0 h 342809"/>
                      <a:gd name="connsiteX5" fmla="*/ 579438 w 585505"/>
                      <a:gd name="connsiteY5" fmla="*/ 0 h 342809"/>
                      <a:gd name="connsiteX6" fmla="*/ 585506 w 585505"/>
                      <a:gd name="connsiteY6" fmla="*/ 6068 h 342809"/>
                      <a:gd name="connsiteX7" fmla="*/ 585506 w 585505"/>
                      <a:gd name="connsiteY7" fmla="*/ 336742 h 342809"/>
                      <a:gd name="connsiteX8" fmla="*/ 579438 w 585505"/>
                      <a:gd name="connsiteY8" fmla="*/ 342810 h 342809"/>
                      <a:gd name="connsiteX9" fmla="*/ 9101 w 585505"/>
                      <a:gd name="connsiteY9" fmla="*/ 330675 h 342809"/>
                      <a:gd name="connsiteX10" fmla="*/ 573371 w 585505"/>
                      <a:gd name="connsiteY10" fmla="*/ 330675 h 342809"/>
                      <a:gd name="connsiteX11" fmla="*/ 573371 w 585505"/>
                      <a:gd name="connsiteY11" fmla="*/ 9102 h 342809"/>
                      <a:gd name="connsiteX12" fmla="*/ 9101 w 585505"/>
                      <a:gd name="connsiteY12" fmla="*/ 9102 h 342809"/>
                      <a:gd name="connsiteX13" fmla="*/ 9101 w 585505"/>
                      <a:gd name="connsiteY13" fmla="*/ 330675 h 342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9">
                        <a:moveTo>
                          <a:pt x="579438" y="342810"/>
                        </a:moveTo>
                        <a:lnTo>
                          <a:pt x="6067" y="342810"/>
                        </a:lnTo>
                        <a:cubicBezTo>
                          <a:pt x="3034" y="342810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4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8"/>
                        </a:cubicBezTo>
                        <a:lnTo>
                          <a:pt x="585506" y="336742"/>
                        </a:lnTo>
                        <a:cubicBezTo>
                          <a:pt x="585506" y="339776"/>
                          <a:pt x="582472" y="342810"/>
                          <a:pt x="579438" y="342810"/>
                        </a:cubicBezTo>
                        <a:close/>
                        <a:moveTo>
                          <a:pt x="9101" y="330675"/>
                        </a:moveTo>
                        <a:lnTo>
                          <a:pt x="573371" y="330675"/>
                        </a:lnTo>
                        <a:lnTo>
                          <a:pt x="573371" y="9102"/>
                        </a:lnTo>
                        <a:lnTo>
                          <a:pt x="9101" y="9102"/>
                        </a:lnTo>
                        <a:lnTo>
                          <a:pt x="9101" y="330675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31" name="图形 1">
                  <a:extLst>
                    <a:ext uri="{FF2B5EF4-FFF2-40B4-BE49-F238E27FC236}">
                      <a16:creationId xmlns:a16="http://schemas.microsoft.com/office/drawing/2014/main" id="{AC83E2CF-ABCB-4C80-8375-CC6089D69BCA}"/>
                    </a:ext>
                  </a:extLst>
                </p:cNvPr>
                <p:cNvGrpSpPr/>
                <p:nvPr/>
              </p:nvGrpSpPr>
              <p:grpSpPr>
                <a:xfrm>
                  <a:off x="8141837" y="11829729"/>
                  <a:ext cx="585505" cy="342809"/>
                  <a:chOff x="8141837" y="11829729"/>
                  <a:chExt cx="585505" cy="342809"/>
                </a:xfrm>
              </p:grpSpPr>
              <p:sp>
                <p:nvSpPr>
                  <p:cNvPr id="141" name="任意多边形: 形状 140">
                    <a:extLst>
                      <a:ext uri="{FF2B5EF4-FFF2-40B4-BE49-F238E27FC236}">
                        <a16:creationId xmlns:a16="http://schemas.microsoft.com/office/drawing/2014/main" id="{FC095E4A-71FE-43D6-871F-7A42E76A5D66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8147935" y="11836494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0 w 573370"/>
                      <a:gd name="connsiteY1" fmla="*/ 0 h 330674"/>
                      <a:gd name="connsiteX2" fmla="*/ 573370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0" y="0"/>
                        </a:lnTo>
                        <a:lnTo>
                          <a:pt x="573370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" name="任意多边形: 形状 141">
                    <a:extLst>
                      <a:ext uri="{FF2B5EF4-FFF2-40B4-BE49-F238E27FC236}">
                        <a16:creationId xmlns:a16="http://schemas.microsoft.com/office/drawing/2014/main" id="{81B6A779-36DE-412B-B186-FD274C6FE0B6}"/>
                      </a:ext>
                    </a:extLst>
                  </p:cNvPr>
                  <p:cNvSpPr/>
                  <p:nvPr/>
                </p:nvSpPr>
                <p:spPr>
                  <a:xfrm>
                    <a:off x="8141837" y="11829729"/>
                    <a:ext cx="585505" cy="342809"/>
                  </a:xfrm>
                  <a:custGeom>
                    <a:avLst/>
                    <a:gdLst>
                      <a:gd name="connsiteX0" fmla="*/ 579438 w 585505"/>
                      <a:gd name="connsiteY0" fmla="*/ 342810 h 342809"/>
                      <a:gd name="connsiteX1" fmla="*/ 6067 w 585505"/>
                      <a:gd name="connsiteY1" fmla="*/ 342810 h 342809"/>
                      <a:gd name="connsiteX2" fmla="*/ 0 w 585505"/>
                      <a:gd name="connsiteY2" fmla="*/ 336742 h 342809"/>
                      <a:gd name="connsiteX3" fmla="*/ 0 w 585505"/>
                      <a:gd name="connsiteY3" fmla="*/ 6068 h 342809"/>
                      <a:gd name="connsiteX4" fmla="*/ 6067 w 585505"/>
                      <a:gd name="connsiteY4" fmla="*/ 0 h 342809"/>
                      <a:gd name="connsiteX5" fmla="*/ 579438 w 585505"/>
                      <a:gd name="connsiteY5" fmla="*/ 0 h 342809"/>
                      <a:gd name="connsiteX6" fmla="*/ 585506 w 585505"/>
                      <a:gd name="connsiteY6" fmla="*/ 6068 h 342809"/>
                      <a:gd name="connsiteX7" fmla="*/ 585506 w 585505"/>
                      <a:gd name="connsiteY7" fmla="*/ 336742 h 342809"/>
                      <a:gd name="connsiteX8" fmla="*/ 579438 w 585505"/>
                      <a:gd name="connsiteY8" fmla="*/ 342810 h 342809"/>
                      <a:gd name="connsiteX9" fmla="*/ 12135 w 585505"/>
                      <a:gd name="connsiteY9" fmla="*/ 330675 h 342809"/>
                      <a:gd name="connsiteX10" fmla="*/ 576405 w 585505"/>
                      <a:gd name="connsiteY10" fmla="*/ 330675 h 342809"/>
                      <a:gd name="connsiteX11" fmla="*/ 576405 w 585505"/>
                      <a:gd name="connsiteY11" fmla="*/ 9102 h 342809"/>
                      <a:gd name="connsiteX12" fmla="*/ 12135 w 585505"/>
                      <a:gd name="connsiteY12" fmla="*/ 9102 h 342809"/>
                      <a:gd name="connsiteX13" fmla="*/ 12135 w 585505"/>
                      <a:gd name="connsiteY13" fmla="*/ 330675 h 342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9">
                        <a:moveTo>
                          <a:pt x="579438" y="342810"/>
                        </a:moveTo>
                        <a:lnTo>
                          <a:pt x="6067" y="342810"/>
                        </a:lnTo>
                        <a:cubicBezTo>
                          <a:pt x="3034" y="342810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4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8"/>
                        </a:cubicBezTo>
                        <a:lnTo>
                          <a:pt x="585506" y="336742"/>
                        </a:lnTo>
                        <a:cubicBezTo>
                          <a:pt x="585506" y="339776"/>
                          <a:pt x="582472" y="342810"/>
                          <a:pt x="579438" y="342810"/>
                        </a:cubicBezTo>
                        <a:close/>
                        <a:moveTo>
                          <a:pt x="12135" y="330675"/>
                        </a:moveTo>
                        <a:lnTo>
                          <a:pt x="576405" y="330675"/>
                        </a:lnTo>
                        <a:lnTo>
                          <a:pt x="576405" y="9102"/>
                        </a:lnTo>
                        <a:lnTo>
                          <a:pt x="12135" y="9102"/>
                        </a:lnTo>
                        <a:lnTo>
                          <a:pt x="12135" y="330675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32" name="图形 1">
                  <a:extLst>
                    <a:ext uri="{FF2B5EF4-FFF2-40B4-BE49-F238E27FC236}">
                      <a16:creationId xmlns:a16="http://schemas.microsoft.com/office/drawing/2014/main" id="{2B2556C7-948B-45F7-AEA4-64E6C414BE4D}"/>
                    </a:ext>
                  </a:extLst>
                </p:cNvPr>
                <p:cNvGrpSpPr/>
                <p:nvPr/>
              </p:nvGrpSpPr>
              <p:grpSpPr>
                <a:xfrm>
                  <a:off x="7568466" y="11829729"/>
                  <a:ext cx="585505" cy="342809"/>
                  <a:chOff x="7568466" y="11829729"/>
                  <a:chExt cx="585505" cy="342809"/>
                </a:xfrm>
              </p:grpSpPr>
              <p:sp>
                <p:nvSpPr>
                  <p:cNvPr id="139" name="任意多边形: 形状 138">
                    <a:extLst>
                      <a:ext uri="{FF2B5EF4-FFF2-40B4-BE49-F238E27FC236}">
                        <a16:creationId xmlns:a16="http://schemas.microsoft.com/office/drawing/2014/main" id="{3FAD8AA3-06C6-491F-9042-97DD6BC975ED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7574837" y="11836494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" name="任意多边形: 形状 139">
                    <a:extLst>
                      <a:ext uri="{FF2B5EF4-FFF2-40B4-BE49-F238E27FC236}">
                        <a16:creationId xmlns:a16="http://schemas.microsoft.com/office/drawing/2014/main" id="{2F68304E-58A1-4990-909A-B7892B2FADF4}"/>
                      </a:ext>
                    </a:extLst>
                  </p:cNvPr>
                  <p:cNvSpPr/>
                  <p:nvPr/>
                </p:nvSpPr>
                <p:spPr>
                  <a:xfrm>
                    <a:off x="7568466" y="11829729"/>
                    <a:ext cx="585505" cy="342809"/>
                  </a:xfrm>
                  <a:custGeom>
                    <a:avLst/>
                    <a:gdLst>
                      <a:gd name="connsiteX0" fmla="*/ 579438 w 585505"/>
                      <a:gd name="connsiteY0" fmla="*/ 342810 h 342809"/>
                      <a:gd name="connsiteX1" fmla="*/ 6067 w 585505"/>
                      <a:gd name="connsiteY1" fmla="*/ 342810 h 342809"/>
                      <a:gd name="connsiteX2" fmla="*/ 0 w 585505"/>
                      <a:gd name="connsiteY2" fmla="*/ 336742 h 342809"/>
                      <a:gd name="connsiteX3" fmla="*/ 0 w 585505"/>
                      <a:gd name="connsiteY3" fmla="*/ 6068 h 342809"/>
                      <a:gd name="connsiteX4" fmla="*/ 6067 w 585505"/>
                      <a:gd name="connsiteY4" fmla="*/ 0 h 342809"/>
                      <a:gd name="connsiteX5" fmla="*/ 579438 w 585505"/>
                      <a:gd name="connsiteY5" fmla="*/ 0 h 342809"/>
                      <a:gd name="connsiteX6" fmla="*/ 585506 w 585505"/>
                      <a:gd name="connsiteY6" fmla="*/ 6068 h 342809"/>
                      <a:gd name="connsiteX7" fmla="*/ 585506 w 585505"/>
                      <a:gd name="connsiteY7" fmla="*/ 336742 h 342809"/>
                      <a:gd name="connsiteX8" fmla="*/ 579438 w 585505"/>
                      <a:gd name="connsiteY8" fmla="*/ 342810 h 342809"/>
                      <a:gd name="connsiteX9" fmla="*/ 9101 w 585505"/>
                      <a:gd name="connsiteY9" fmla="*/ 330675 h 342809"/>
                      <a:gd name="connsiteX10" fmla="*/ 573371 w 585505"/>
                      <a:gd name="connsiteY10" fmla="*/ 330675 h 342809"/>
                      <a:gd name="connsiteX11" fmla="*/ 573371 w 585505"/>
                      <a:gd name="connsiteY11" fmla="*/ 9102 h 342809"/>
                      <a:gd name="connsiteX12" fmla="*/ 9101 w 585505"/>
                      <a:gd name="connsiteY12" fmla="*/ 9102 h 342809"/>
                      <a:gd name="connsiteX13" fmla="*/ 9101 w 585505"/>
                      <a:gd name="connsiteY13" fmla="*/ 330675 h 342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9">
                        <a:moveTo>
                          <a:pt x="579438" y="342810"/>
                        </a:moveTo>
                        <a:lnTo>
                          <a:pt x="6067" y="342810"/>
                        </a:lnTo>
                        <a:cubicBezTo>
                          <a:pt x="3033" y="342810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8"/>
                        </a:cubicBezTo>
                        <a:lnTo>
                          <a:pt x="585506" y="336742"/>
                        </a:lnTo>
                        <a:cubicBezTo>
                          <a:pt x="585506" y="339776"/>
                          <a:pt x="582472" y="342810"/>
                          <a:pt x="579438" y="342810"/>
                        </a:cubicBezTo>
                        <a:close/>
                        <a:moveTo>
                          <a:pt x="9101" y="330675"/>
                        </a:moveTo>
                        <a:lnTo>
                          <a:pt x="573371" y="330675"/>
                        </a:lnTo>
                        <a:lnTo>
                          <a:pt x="573371" y="9102"/>
                        </a:lnTo>
                        <a:lnTo>
                          <a:pt x="9101" y="9102"/>
                        </a:lnTo>
                        <a:lnTo>
                          <a:pt x="9101" y="330675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33" name="图形 1">
                  <a:extLst>
                    <a:ext uri="{FF2B5EF4-FFF2-40B4-BE49-F238E27FC236}">
                      <a16:creationId xmlns:a16="http://schemas.microsoft.com/office/drawing/2014/main" id="{8C520BCA-E94C-462F-A431-1B3AB97D6AB4}"/>
                    </a:ext>
                  </a:extLst>
                </p:cNvPr>
                <p:cNvGrpSpPr/>
                <p:nvPr/>
              </p:nvGrpSpPr>
              <p:grpSpPr>
                <a:xfrm>
                  <a:off x="6992062" y="11829729"/>
                  <a:ext cx="585505" cy="342809"/>
                  <a:chOff x="6992062" y="11829729"/>
                  <a:chExt cx="585505" cy="342809"/>
                </a:xfrm>
              </p:grpSpPr>
              <p:sp>
                <p:nvSpPr>
                  <p:cNvPr id="137" name="任意多边形: 形状 136">
                    <a:extLst>
                      <a:ext uri="{FF2B5EF4-FFF2-40B4-BE49-F238E27FC236}">
                        <a16:creationId xmlns:a16="http://schemas.microsoft.com/office/drawing/2014/main" id="{FA5E50FD-9158-4675-A5DC-5110ACBC47A8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6998736" y="11836494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" name="任意多边形: 形状 137">
                    <a:extLst>
                      <a:ext uri="{FF2B5EF4-FFF2-40B4-BE49-F238E27FC236}">
                        <a16:creationId xmlns:a16="http://schemas.microsoft.com/office/drawing/2014/main" id="{266B0B3F-885D-4282-BA10-6967F0E0D239}"/>
                      </a:ext>
                    </a:extLst>
                  </p:cNvPr>
                  <p:cNvSpPr/>
                  <p:nvPr/>
                </p:nvSpPr>
                <p:spPr>
                  <a:xfrm>
                    <a:off x="6992062" y="11829729"/>
                    <a:ext cx="585505" cy="342809"/>
                  </a:xfrm>
                  <a:custGeom>
                    <a:avLst/>
                    <a:gdLst>
                      <a:gd name="connsiteX0" fmla="*/ 579438 w 585505"/>
                      <a:gd name="connsiteY0" fmla="*/ 342810 h 342809"/>
                      <a:gd name="connsiteX1" fmla="*/ 6067 w 585505"/>
                      <a:gd name="connsiteY1" fmla="*/ 342810 h 342809"/>
                      <a:gd name="connsiteX2" fmla="*/ 0 w 585505"/>
                      <a:gd name="connsiteY2" fmla="*/ 336742 h 342809"/>
                      <a:gd name="connsiteX3" fmla="*/ 0 w 585505"/>
                      <a:gd name="connsiteY3" fmla="*/ 6068 h 342809"/>
                      <a:gd name="connsiteX4" fmla="*/ 6067 w 585505"/>
                      <a:gd name="connsiteY4" fmla="*/ 0 h 342809"/>
                      <a:gd name="connsiteX5" fmla="*/ 579438 w 585505"/>
                      <a:gd name="connsiteY5" fmla="*/ 0 h 342809"/>
                      <a:gd name="connsiteX6" fmla="*/ 585506 w 585505"/>
                      <a:gd name="connsiteY6" fmla="*/ 6068 h 342809"/>
                      <a:gd name="connsiteX7" fmla="*/ 585506 w 585505"/>
                      <a:gd name="connsiteY7" fmla="*/ 336742 h 342809"/>
                      <a:gd name="connsiteX8" fmla="*/ 579438 w 585505"/>
                      <a:gd name="connsiteY8" fmla="*/ 342810 h 342809"/>
                      <a:gd name="connsiteX9" fmla="*/ 12135 w 585505"/>
                      <a:gd name="connsiteY9" fmla="*/ 330675 h 342809"/>
                      <a:gd name="connsiteX10" fmla="*/ 576405 w 585505"/>
                      <a:gd name="connsiteY10" fmla="*/ 330675 h 342809"/>
                      <a:gd name="connsiteX11" fmla="*/ 576405 w 585505"/>
                      <a:gd name="connsiteY11" fmla="*/ 9102 h 342809"/>
                      <a:gd name="connsiteX12" fmla="*/ 12135 w 585505"/>
                      <a:gd name="connsiteY12" fmla="*/ 9102 h 342809"/>
                      <a:gd name="connsiteX13" fmla="*/ 12135 w 585505"/>
                      <a:gd name="connsiteY13" fmla="*/ 330675 h 342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9">
                        <a:moveTo>
                          <a:pt x="579438" y="342810"/>
                        </a:moveTo>
                        <a:lnTo>
                          <a:pt x="6067" y="342810"/>
                        </a:lnTo>
                        <a:cubicBezTo>
                          <a:pt x="3033" y="342810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8"/>
                        </a:cubicBezTo>
                        <a:lnTo>
                          <a:pt x="585506" y="336742"/>
                        </a:lnTo>
                        <a:cubicBezTo>
                          <a:pt x="585506" y="339776"/>
                          <a:pt x="582472" y="342810"/>
                          <a:pt x="579438" y="342810"/>
                        </a:cubicBezTo>
                        <a:close/>
                        <a:moveTo>
                          <a:pt x="12135" y="330675"/>
                        </a:moveTo>
                        <a:lnTo>
                          <a:pt x="576405" y="330675"/>
                        </a:lnTo>
                        <a:lnTo>
                          <a:pt x="576405" y="9102"/>
                        </a:lnTo>
                        <a:lnTo>
                          <a:pt x="12135" y="9102"/>
                        </a:lnTo>
                        <a:lnTo>
                          <a:pt x="12135" y="330675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34" name="图形 1">
                  <a:extLst>
                    <a:ext uri="{FF2B5EF4-FFF2-40B4-BE49-F238E27FC236}">
                      <a16:creationId xmlns:a16="http://schemas.microsoft.com/office/drawing/2014/main" id="{EAEC94CC-5B5D-4B9D-A4EA-67AE2B2EDA28}"/>
                    </a:ext>
                  </a:extLst>
                </p:cNvPr>
                <p:cNvGrpSpPr/>
                <p:nvPr/>
              </p:nvGrpSpPr>
              <p:grpSpPr>
                <a:xfrm>
                  <a:off x="6418691" y="11829729"/>
                  <a:ext cx="585505" cy="342809"/>
                  <a:chOff x="6418691" y="11829729"/>
                  <a:chExt cx="585505" cy="342809"/>
                </a:xfrm>
              </p:grpSpPr>
              <p:sp>
                <p:nvSpPr>
                  <p:cNvPr id="135" name="任意多边形: 形状 134">
                    <a:extLst>
                      <a:ext uri="{FF2B5EF4-FFF2-40B4-BE49-F238E27FC236}">
                        <a16:creationId xmlns:a16="http://schemas.microsoft.com/office/drawing/2014/main" id="{29FC3A12-C466-4BDE-BE89-6F52D56AD418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6425638" y="11836494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" name="任意多边形: 形状 135">
                    <a:extLst>
                      <a:ext uri="{FF2B5EF4-FFF2-40B4-BE49-F238E27FC236}">
                        <a16:creationId xmlns:a16="http://schemas.microsoft.com/office/drawing/2014/main" id="{4B19EC3E-4D94-4694-AD30-976FB36AAC0B}"/>
                      </a:ext>
                    </a:extLst>
                  </p:cNvPr>
                  <p:cNvSpPr/>
                  <p:nvPr/>
                </p:nvSpPr>
                <p:spPr>
                  <a:xfrm>
                    <a:off x="6418691" y="11829729"/>
                    <a:ext cx="585505" cy="342809"/>
                  </a:xfrm>
                  <a:custGeom>
                    <a:avLst/>
                    <a:gdLst>
                      <a:gd name="connsiteX0" fmla="*/ 579438 w 585505"/>
                      <a:gd name="connsiteY0" fmla="*/ 342810 h 342809"/>
                      <a:gd name="connsiteX1" fmla="*/ 6068 w 585505"/>
                      <a:gd name="connsiteY1" fmla="*/ 342810 h 342809"/>
                      <a:gd name="connsiteX2" fmla="*/ 0 w 585505"/>
                      <a:gd name="connsiteY2" fmla="*/ 336742 h 342809"/>
                      <a:gd name="connsiteX3" fmla="*/ 0 w 585505"/>
                      <a:gd name="connsiteY3" fmla="*/ 6068 h 342809"/>
                      <a:gd name="connsiteX4" fmla="*/ 6068 w 585505"/>
                      <a:gd name="connsiteY4" fmla="*/ 0 h 342809"/>
                      <a:gd name="connsiteX5" fmla="*/ 579438 w 585505"/>
                      <a:gd name="connsiteY5" fmla="*/ 0 h 342809"/>
                      <a:gd name="connsiteX6" fmla="*/ 585506 w 585505"/>
                      <a:gd name="connsiteY6" fmla="*/ 6068 h 342809"/>
                      <a:gd name="connsiteX7" fmla="*/ 585506 w 585505"/>
                      <a:gd name="connsiteY7" fmla="*/ 336742 h 342809"/>
                      <a:gd name="connsiteX8" fmla="*/ 579438 w 585505"/>
                      <a:gd name="connsiteY8" fmla="*/ 342810 h 342809"/>
                      <a:gd name="connsiteX9" fmla="*/ 9101 w 585505"/>
                      <a:gd name="connsiteY9" fmla="*/ 330675 h 342809"/>
                      <a:gd name="connsiteX10" fmla="*/ 573371 w 585505"/>
                      <a:gd name="connsiteY10" fmla="*/ 330675 h 342809"/>
                      <a:gd name="connsiteX11" fmla="*/ 573371 w 585505"/>
                      <a:gd name="connsiteY11" fmla="*/ 9102 h 342809"/>
                      <a:gd name="connsiteX12" fmla="*/ 9101 w 585505"/>
                      <a:gd name="connsiteY12" fmla="*/ 9102 h 342809"/>
                      <a:gd name="connsiteX13" fmla="*/ 9101 w 585505"/>
                      <a:gd name="connsiteY13" fmla="*/ 330675 h 342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9">
                        <a:moveTo>
                          <a:pt x="579438" y="342810"/>
                        </a:moveTo>
                        <a:lnTo>
                          <a:pt x="6068" y="342810"/>
                        </a:lnTo>
                        <a:cubicBezTo>
                          <a:pt x="3034" y="342810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4" y="0"/>
                          <a:pt x="6068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8"/>
                        </a:cubicBezTo>
                        <a:lnTo>
                          <a:pt x="585506" y="336742"/>
                        </a:lnTo>
                        <a:cubicBezTo>
                          <a:pt x="585506" y="339776"/>
                          <a:pt x="582472" y="342810"/>
                          <a:pt x="579438" y="342810"/>
                        </a:cubicBezTo>
                        <a:close/>
                        <a:moveTo>
                          <a:pt x="9101" y="330675"/>
                        </a:moveTo>
                        <a:lnTo>
                          <a:pt x="573371" y="330675"/>
                        </a:lnTo>
                        <a:lnTo>
                          <a:pt x="573371" y="9102"/>
                        </a:lnTo>
                        <a:lnTo>
                          <a:pt x="9101" y="9102"/>
                        </a:lnTo>
                        <a:lnTo>
                          <a:pt x="9101" y="330675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63" name="图形 1">
                <a:extLst>
                  <a:ext uri="{FF2B5EF4-FFF2-40B4-BE49-F238E27FC236}">
                    <a16:creationId xmlns:a16="http://schemas.microsoft.com/office/drawing/2014/main" id="{17E41B81-4F53-4E03-9DE4-1ECFA293489E}"/>
                  </a:ext>
                </a:extLst>
              </p:cNvPr>
              <p:cNvGrpSpPr/>
              <p:nvPr/>
            </p:nvGrpSpPr>
            <p:grpSpPr>
              <a:xfrm>
                <a:off x="6418691" y="11168381"/>
                <a:ext cx="3139887" cy="673483"/>
                <a:chOff x="6418691" y="11168381"/>
                <a:chExt cx="3139887" cy="673483"/>
              </a:xfrm>
            </p:grpSpPr>
            <p:grpSp>
              <p:nvGrpSpPr>
                <p:cNvPr id="95" name="图形 1">
                  <a:extLst>
                    <a:ext uri="{FF2B5EF4-FFF2-40B4-BE49-F238E27FC236}">
                      <a16:creationId xmlns:a16="http://schemas.microsoft.com/office/drawing/2014/main" id="{DD4365D0-8AEF-4890-99A0-124AB7369031}"/>
                    </a:ext>
                  </a:extLst>
                </p:cNvPr>
                <p:cNvGrpSpPr/>
                <p:nvPr/>
              </p:nvGrpSpPr>
              <p:grpSpPr>
                <a:xfrm>
                  <a:off x="8973073" y="11499055"/>
                  <a:ext cx="585505" cy="342809"/>
                  <a:chOff x="8973073" y="11499055"/>
                  <a:chExt cx="585505" cy="342809"/>
                </a:xfrm>
              </p:grpSpPr>
              <p:sp>
                <p:nvSpPr>
                  <p:cNvPr id="123" name="任意多边形: 形状 122">
                    <a:extLst>
                      <a:ext uri="{FF2B5EF4-FFF2-40B4-BE49-F238E27FC236}">
                        <a16:creationId xmlns:a16="http://schemas.microsoft.com/office/drawing/2014/main" id="{BD9794FF-D1CD-46B1-BBDF-7BFE9F100424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8980202" y="11504455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" name="任意多边形: 形状 123">
                    <a:extLst>
                      <a:ext uri="{FF2B5EF4-FFF2-40B4-BE49-F238E27FC236}">
                        <a16:creationId xmlns:a16="http://schemas.microsoft.com/office/drawing/2014/main" id="{EAB63489-F804-461B-AEB7-FC1E19729B11}"/>
                      </a:ext>
                    </a:extLst>
                  </p:cNvPr>
                  <p:cNvSpPr/>
                  <p:nvPr/>
                </p:nvSpPr>
                <p:spPr>
                  <a:xfrm>
                    <a:off x="8973073" y="11499055"/>
                    <a:ext cx="585505" cy="342809"/>
                  </a:xfrm>
                  <a:custGeom>
                    <a:avLst/>
                    <a:gdLst>
                      <a:gd name="connsiteX0" fmla="*/ 579438 w 585505"/>
                      <a:gd name="connsiteY0" fmla="*/ 342810 h 342809"/>
                      <a:gd name="connsiteX1" fmla="*/ 6067 w 585505"/>
                      <a:gd name="connsiteY1" fmla="*/ 342810 h 342809"/>
                      <a:gd name="connsiteX2" fmla="*/ 0 w 585505"/>
                      <a:gd name="connsiteY2" fmla="*/ 336742 h 342809"/>
                      <a:gd name="connsiteX3" fmla="*/ 0 w 585505"/>
                      <a:gd name="connsiteY3" fmla="*/ 6068 h 342809"/>
                      <a:gd name="connsiteX4" fmla="*/ 6067 w 585505"/>
                      <a:gd name="connsiteY4" fmla="*/ 0 h 342809"/>
                      <a:gd name="connsiteX5" fmla="*/ 579438 w 585505"/>
                      <a:gd name="connsiteY5" fmla="*/ 0 h 342809"/>
                      <a:gd name="connsiteX6" fmla="*/ 585505 w 585505"/>
                      <a:gd name="connsiteY6" fmla="*/ 6068 h 342809"/>
                      <a:gd name="connsiteX7" fmla="*/ 585505 w 585505"/>
                      <a:gd name="connsiteY7" fmla="*/ 336742 h 342809"/>
                      <a:gd name="connsiteX8" fmla="*/ 579438 w 585505"/>
                      <a:gd name="connsiteY8" fmla="*/ 342810 h 342809"/>
                      <a:gd name="connsiteX9" fmla="*/ 9101 w 585505"/>
                      <a:gd name="connsiteY9" fmla="*/ 330674 h 342809"/>
                      <a:gd name="connsiteX10" fmla="*/ 573371 w 585505"/>
                      <a:gd name="connsiteY10" fmla="*/ 330674 h 342809"/>
                      <a:gd name="connsiteX11" fmla="*/ 573371 w 585505"/>
                      <a:gd name="connsiteY11" fmla="*/ 9102 h 342809"/>
                      <a:gd name="connsiteX12" fmla="*/ 9101 w 585505"/>
                      <a:gd name="connsiteY12" fmla="*/ 9102 h 342809"/>
                      <a:gd name="connsiteX13" fmla="*/ 9101 w 585505"/>
                      <a:gd name="connsiteY13" fmla="*/ 330674 h 342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9">
                        <a:moveTo>
                          <a:pt x="579438" y="342810"/>
                        </a:moveTo>
                        <a:lnTo>
                          <a:pt x="6067" y="342810"/>
                        </a:lnTo>
                        <a:cubicBezTo>
                          <a:pt x="3033" y="342810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5" y="3034"/>
                          <a:pt x="585505" y="6068"/>
                        </a:cubicBezTo>
                        <a:lnTo>
                          <a:pt x="585505" y="336742"/>
                        </a:lnTo>
                        <a:cubicBezTo>
                          <a:pt x="585505" y="339776"/>
                          <a:pt x="582472" y="342810"/>
                          <a:pt x="579438" y="342810"/>
                        </a:cubicBezTo>
                        <a:close/>
                        <a:moveTo>
                          <a:pt x="9101" y="330674"/>
                        </a:moveTo>
                        <a:lnTo>
                          <a:pt x="573371" y="330674"/>
                        </a:lnTo>
                        <a:lnTo>
                          <a:pt x="573371" y="9102"/>
                        </a:lnTo>
                        <a:lnTo>
                          <a:pt x="9101" y="9102"/>
                        </a:lnTo>
                        <a:lnTo>
                          <a:pt x="9101" y="330674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96" name="图形 1">
                  <a:extLst>
                    <a:ext uri="{FF2B5EF4-FFF2-40B4-BE49-F238E27FC236}">
                      <a16:creationId xmlns:a16="http://schemas.microsoft.com/office/drawing/2014/main" id="{47720ADA-C30D-4D78-88AE-5BB5C4062A1D}"/>
                    </a:ext>
                  </a:extLst>
                </p:cNvPr>
                <p:cNvGrpSpPr/>
                <p:nvPr/>
              </p:nvGrpSpPr>
              <p:grpSpPr>
                <a:xfrm>
                  <a:off x="8396669" y="11499055"/>
                  <a:ext cx="585505" cy="342809"/>
                  <a:chOff x="8396669" y="11499055"/>
                  <a:chExt cx="585505" cy="342809"/>
                </a:xfrm>
              </p:grpSpPr>
              <p:sp>
                <p:nvSpPr>
                  <p:cNvPr id="121" name="任意多边形: 形状 120">
                    <a:extLst>
                      <a:ext uri="{FF2B5EF4-FFF2-40B4-BE49-F238E27FC236}">
                        <a16:creationId xmlns:a16="http://schemas.microsoft.com/office/drawing/2014/main" id="{235CCA43-0881-4F63-883F-2302ACA44213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8404071" y="11504455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" name="任意多边形: 形状 121">
                    <a:extLst>
                      <a:ext uri="{FF2B5EF4-FFF2-40B4-BE49-F238E27FC236}">
                        <a16:creationId xmlns:a16="http://schemas.microsoft.com/office/drawing/2014/main" id="{465EA2E5-B1DD-48E1-963C-14C46C9D9835}"/>
                      </a:ext>
                    </a:extLst>
                  </p:cNvPr>
                  <p:cNvSpPr/>
                  <p:nvPr/>
                </p:nvSpPr>
                <p:spPr>
                  <a:xfrm>
                    <a:off x="8396669" y="11499055"/>
                    <a:ext cx="585505" cy="342809"/>
                  </a:xfrm>
                  <a:custGeom>
                    <a:avLst/>
                    <a:gdLst>
                      <a:gd name="connsiteX0" fmla="*/ 579438 w 585505"/>
                      <a:gd name="connsiteY0" fmla="*/ 342810 h 342809"/>
                      <a:gd name="connsiteX1" fmla="*/ 6067 w 585505"/>
                      <a:gd name="connsiteY1" fmla="*/ 342810 h 342809"/>
                      <a:gd name="connsiteX2" fmla="*/ 0 w 585505"/>
                      <a:gd name="connsiteY2" fmla="*/ 336742 h 342809"/>
                      <a:gd name="connsiteX3" fmla="*/ 0 w 585505"/>
                      <a:gd name="connsiteY3" fmla="*/ 6068 h 342809"/>
                      <a:gd name="connsiteX4" fmla="*/ 6067 w 585505"/>
                      <a:gd name="connsiteY4" fmla="*/ 0 h 342809"/>
                      <a:gd name="connsiteX5" fmla="*/ 579438 w 585505"/>
                      <a:gd name="connsiteY5" fmla="*/ 0 h 342809"/>
                      <a:gd name="connsiteX6" fmla="*/ 585505 w 585505"/>
                      <a:gd name="connsiteY6" fmla="*/ 6068 h 342809"/>
                      <a:gd name="connsiteX7" fmla="*/ 585505 w 585505"/>
                      <a:gd name="connsiteY7" fmla="*/ 336742 h 342809"/>
                      <a:gd name="connsiteX8" fmla="*/ 579438 w 585505"/>
                      <a:gd name="connsiteY8" fmla="*/ 342810 h 342809"/>
                      <a:gd name="connsiteX9" fmla="*/ 12135 w 585505"/>
                      <a:gd name="connsiteY9" fmla="*/ 330674 h 342809"/>
                      <a:gd name="connsiteX10" fmla="*/ 576405 w 585505"/>
                      <a:gd name="connsiteY10" fmla="*/ 330674 h 342809"/>
                      <a:gd name="connsiteX11" fmla="*/ 576405 w 585505"/>
                      <a:gd name="connsiteY11" fmla="*/ 9102 h 342809"/>
                      <a:gd name="connsiteX12" fmla="*/ 12135 w 585505"/>
                      <a:gd name="connsiteY12" fmla="*/ 9102 h 342809"/>
                      <a:gd name="connsiteX13" fmla="*/ 12135 w 585505"/>
                      <a:gd name="connsiteY13" fmla="*/ 330674 h 342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9">
                        <a:moveTo>
                          <a:pt x="579438" y="342810"/>
                        </a:moveTo>
                        <a:lnTo>
                          <a:pt x="6067" y="342810"/>
                        </a:lnTo>
                        <a:cubicBezTo>
                          <a:pt x="3033" y="342810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5" y="3034"/>
                          <a:pt x="585505" y="6068"/>
                        </a:cubicBezTo>
                        <a:lnTo>
                          <a:pt x="585505" y="336742"/>
                        </a:lnTo>
                        <a:cubicBezTo>
                          <a:pt x="585505" y="339776"/>
                          <a:pt x="582472" y="342810"/>
                          <a:pt x="579438" y="342810"/>
                        </a:cubicBezTo>
                        <a:close/>
                        <a:moveTo>
                          <a:pt x="12135" y="330674"/>
                        </a:moveTo>
                        <a:lnTo>
                          <a:pt x="576405" y="330674"/>
                        </a:lnTo>
                        <a:lnTo>
                          <a:pt x="576405" y="9102"/>
                        </a:lnTo>
                        <a:lnTo>
                          <a:pt x="12135" y="9102"/>
                        </a:lnTo>
                        <a:lnTo>
                          <a:pt x="12135" y="330674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97" name="图形 1">
                  <a:extLst>
                    <a:ext uri="{FF2B5EF4-FFF2-40B4-BE49-F238E27FC236}">
                      <a16:creationId xmlns:a16="http://schemas.microsoft.com/office/drawing/2014/main" id="{F8CE114F-58C0-457A-BEFA-942834E1BB52}"/>
                    </a:ext>
                  </a:extLst>
                </p:cNvPr>
                <p:cNvGrpSpPr/>
                <p:nvPr/>
              </p:nvGrpSpPr>
              <p:grpSpPr>
                <a:xfrm>
                  <a:off x="7823298" y="11499055"/>
                  <a:ext cx="585505" cy="342809"/>
                  <a:chOff x="7823298" y="11499055"/>
                  <a:chExt cx="585505" cy="342809"/>
                </a:xfrm>
              </p:grpSpPr>
              <p:sp>
                <p:nvSpPr>
                  <p:cNvPr id="119" name="任意多边形: 形状 118">
                    <a:extLst>
                      <a:ext uri="{FF2B5EF4-FFF2-40B4-BE49-F238E27FC236}">
                        <a16:creationId xmlns:a16="http://schemas.microsoft.com/office/drawing/2014/main" id="{17F462E1-66E2-46F3-B08D-E910321C1BBC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7827939" y="11504455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0 w 573370"/>
                      <a:gd name="connsiteY1" fmla="*/ 0 h 330674"/>
                      <a:gd name="connsiteX2" fmla="*/ 573370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0" y="0"/>
                        </a:lnTo>
                        <a:lnTo>
                          <a:pt x="573370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" name="任意多边形: 形状 119">
                    <a:extLst>
                      <a:ext uri="{FF2B5EF4-FFF2-40B4-BE49-F238E27FC236}">
                        <a16:creationId xmlns:a16="http://schemas.microsoft.com/office/drawing/2014/main" id="{8B47123C-5162-451A-B648-D934352601C7}"/>
                      </a:ext>
                    </a:extLst>
                  </p:cNvPr>
                  <p:cNvSpPr/>
                  <p:nvPr/>
                </p:nvSpPr>
                <p:spPr>
                  <a:xfrm>
                    <a:off x="7823298" y="11499055"/>
                    <a:ext cx="585505" cy="342809"/>
                  </a:xfrm>
                  <a:custGeom>
                    <a:avLst/>
                    <a:gdLst>
                      <a:gd name="connsiteX0" fmla="*/ 579438 w 585505"/>
                      <a:gd name="connsiteY0" fmla="*/ 342810 h 342809"/>
                      <a:gd name="connsiteX1" fmla="*/ 6067 w 585505"/>
                      <a:gd name="connsiteY1" fmla="*/ 342810 h 342809"/>
                      <a:gd name="connsiteX2" fmla="*/ 0 w 585505"/>
                      <a:gd name="connsiteY2" fmla="*/ 336742 h 342809"/>
                      <a:gd name="connsiteX3" fmla="*/ 0 w 585505"/>
                      <a:gd name="connsiteY3" fmla="*/ 6068 h 342809"/>
                      <a:gd name="connsiteX4" fmla="*/ 6067 w 585505"/>
                      <a:gd name="connsiteY4" fmla="*/ 0 h 342809"/>
                      <a:gd name="connsiteX5" fmla="*/ 579438 w 585505"/>
                      <a:gd name="connsiteY5" fmla="*/ 0 h 342809"/>
                      <a:gd name="connsiteX6" fmla="*/ 585506 w 585505"/>
                      <a:gd name="connsiteY6" fmla="*/ 6068 h 342809"/>
                      <a:gd name="connsiteX7" fmla="*/ 585506 w 585505"/>
                      <a:gd name="connsiteY7" fmla="*/ 336742 h 342809"/>
                      <a:gd name="connsiteX8" fmla="*/ 579438 w 585505"/>
                      <a:gd name="connsiteY8" fmla="*/ 342810 h 342809"/>
                      <a:gd name="connsiteX9" fmla="*/ 9101 w 585505"/>
                      <a:gd name="connsiteY9" fmla="*/ 330674 h 342809"/>
                      <a:gd name="connsiteX10" fmla="*/ 573371 w 585505"/>
                      <a:gd name="connsiteY10" fmla="*/ 330674 h 342809"/>
                      <a:gd name="connsiteX11" fmla="*/ 573371 w 585505"/>
                      <a:gd name="connsiteY11" fmla="*/ 9102 h 342809"/>
                      <a:gd name="connsiteX12" fmla="*/ 9101 w 585505"/>
                      <a:gd name="connsiteY12" fmla="*/ 9102 h 342809"/>
                      <a:gd name="connsiteX13" fmla="*/ 9101 w 585505"/>
                      <a:gd name="connsiteY13" fmla="*/ 330674 h 342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9">
                        <a:moveTo>
                          <a:pt x="579438" y="342810"/>
                        </a:moveTo>
                        <a:lnTo>
                          <a:pt x="6067" y="342810"/>
                        </a:lnTo>
                        <a:cubicBezTo>
                          <a:pt x="3034" y="342810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4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8"/>
                        </a:cubicBezTo>
                        <a:lnTo>
                          <a:pt x="585506" y="336742"/>
                        </a:lnTo>
                        <a:cubicBezTo>
                          <a:pt x="585506" y="339776"/>
                          <a:pt x="582472" y="342810"/>
                          <a:pt x="579438" y="342810"/>
                        </a:cubicBezTo>
                        <a:close/>
                        <a:moveTo>
                          <a:pt x="9101" y="330674"/>
                        </a:moveTo>
                        <a:lnTo>
                          <a:pt x="573371" y="330674"/>
                        </a:lnTo>
                        <a:lnTo>
                          <a:pt x="573371" y="9102"/>
                        </a:lnTo>
                        <a:lnTo>
                          <a:pt x="9101" y="9102"/>
                        </a:lnTo>
                        <a:lnTo>
                          <a:pt x="9101" y="330674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98" name="图形 1">
                  <a:extLst>
                    <a:ext uri="{FF2B5EF4-FFF2-40B4-BE49-F238E27FC236}">
                      <a16:creationId xmlns:a16="http://schemas.microsoft.com/office/drawing/2014/main" id="{E2CC163B-B37F-4B7B-8F33-FD2E30C1332D}"/>
                    </a:ext>
                  </a:extLst>
                </p:cNvPr>
                <p:cNvGrpSpPr/>
                <p:nvPr/>
              </p:nvGrpSpPr>
              <p:grpSpPr>
                <a:xfrm>
                  <a:off x="7249927" y="11499055"/>
                  <a:ext cx="585505" cy="342809"/>
                  <a:chOff x="7249927" y="11499055"/>
                  <a:chExt cx="585505" cy="342809"/>
                </a:xfrm>
              </p:grpSpPr>
              <p:sp>
                <p:nvSpPr>
                  <p:cNvPr id="117" name="任意多边形: 形状 116">
                    <a:extLst>
                      <a:ext uri="{FF2B5EF4-FFF2-40B4-BE49-F238E27FC236}">
                        <a16:creationId xmlns:a16="http://schemas.microsoft.com/office/drawing/2014/main" id="{4059CFDC-80FF-4BCA-BFFA-DA327E46E5F5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7254841" y="11504455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" name="任意多边形: 形状 117">
                    <a:extLst>
                      <a:ext uri="{FF2B5EF4-FFF2-40B4-BE49-F238E27FC236}">
                        <a16:creationId xmlns:a16="http://schemas.microsoft.com/office/drawing/2014/main" id="{6ABA0E3D-CD83-4BA8-A3CD-9FC21697CBDB}"/>
                      </a:ext>
                    </a:extLst>
                  </p:cNvPr>
                  <p:cNvSpPr/>
                  <p:nvPr/>
                </p:nvSpPr>
                <p:spPr>
                  <a:xfrm>
                    <a:off x="7249927" y="11499055"/>
                    <a:ext cx="585505" cy="342809"/>
                  </a:xfrm>
                  <a:custGeom>
                    <a:avLst/>
                    <a:gdLst>
                      <a:gd name="connsiteX0" fmla="*/ 579438 w 585505"/>
                      <a:gd name="connsiteY0" fmla="*/ 342810 h 342809"/>
                      <a:gd name="connsiteX1" fmla="*/ 6067 w 585505"/>
                      <a:gd name="connsiteY1" fmla="*/ 342810 h 342809"/>
                      <a:gd name="connsiteX2" fmla="*/ 0 w 585505"/>
                      <a:gd name="connsiteY2" fmla="*/ 336742 h 342809"/>
                      <a:gd name="connsiteX3" fmla="*/ 0 w 585505"/>
                      <a:gd name="connsiteY3" fmla="*/ 6068 h 342809"/>
                      <a:gd name="connsiteX4" fmla="*/ 6067 w 585505"/>
                      <a:gd name="connsiteY4" fmla="*/ 0 h 342809"/>
                      <a:gd name="connsiteX5" fmla="*/ 579438 w 585505"/>
                      <a:gd name="connsiteY5" fmla="*/ 0 h 342809"/>
                      <a:gd name="connsiteX6" fmla="*/ 585506 w 585505"/>
                      <a:gd name="connsiteY6" fmla="*/ 6068 h 342809"/>
                      <a:gd name="connsiteX7" fmla="*/ 585506 w 585505"/>
                      <a:gd name="connsiteY7" fmla="*/ 336742 h 342809"/>
                      <a:gd name="connsiteX8" fmla="*/ 579438 w 585505"/>
                      <a:gd name="connsiteY8" fmla="*/ 342810 h 342809"/>
                      <a:gd name="connsiteX9" fmla="*/ 9101 w 585505"/>
                      <a:gd name="connsiteY9" fmla="*/ 330674 h 342809"/>
                      <a:gd name="connsiteX10" fmla="*/ 573371 w 585505"/>
                      <a:gd name="connsiteY10" fmla="*/ 330674 h 342809"/>
                      <a:gd name="connsiteX11" fmla="*/ 573371 w 585505"/>
                      <a:gd name="connsiteY11" fmla="*/ 9102 h 342809"/>
                      <a:gd name="connsiteX12" fmla="*/ 9101 w 585505"/>
                      <a:gd name="connsiteY12" fmla="*/ 9102 h 342809"/>
                      <a:gd name="connsiteX13" fmla="*/ 9101 w 585505"/>
                      <a:gd name="connsiteY13" fmla="*/ 330674 h 342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9">
                        <a:moveTo>
                          <a:pt x="579438" y="342810"/>
                        </a:moveTo>
                        <a:lnTo>
                          <a:pt x="6067" y="342810"/>
                        </a:lnTo>
                        <a:cubicBezTo>
                          <a:pt x="3033" y="342810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8"/>
                        </a:cubicBezTo>
                        <a:lnTo>
                          <a:pt x="585506" y="336742"/>
                        </a:lnTo>
                        <a:cubicBezTo>
                          <a:pt x="582472" y="339776"/>
                          <a:pt x="582472" y="342810"/>
                          <a:pt x="579438" y="342810"/>
                        </a:cubicBezTo>
                        <a:close/>
                        <a:moveTo>
                          <a:pt x="9101" y="330674"/>
                        </a:moveTo>
                        <a:lnTo>
                          <a:pt x="573371" y="330674"/>
                        </a:lnTo>
                        <a:lnTo>
                          <a:pt x="573371" y="9102"/>
                        </a:lnTo>
                        <a:lnTo>
                          <a:pt x="9101" y="9102"/>
                        </a:lnTo>
                        <a:lnTo>
                          <a:pt x="9101" y="330674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99" name="图形 1">
                  <a:extLst>
                    <a:ext uri="{FF2B5EF4-FFF2-40B4-BE49-F238E27FC236}">
                      <a16:creationId xmlns:a16="http://schemas.microsoft.com/office/drawing/2014/main" id="{B16306D9-ECC9-41A6-8214-41DD906DD51F}"/>
                    </a:ext>
                  </a:extLst>
                </p:cNvPr>
                <p:cNvGrpSpPr/>
                <p:nvPr/>
              </p:nvGrpSpPr>
              <p:grpSpPr>
                <a:xfrm>
                  <a:off x="6673522" y="11499055"/>
                  <a:ext cx="585505" cy="342809"/>
                  <a:chOff x="6673522" y="11499055"/>
                  <a:chExt cx="585505" cy="342809"/>
                </a:xfrm>
              </p:grpSpPr>
              <p:sp>
                <p:nvSpPr>
                  <p:cNvPr id="115" name="任意多边形: 形状 114">
                    <a:extLst>
                      <a:ext uri="{FF2B5EF4-FFF2-40B4-BE49-F238E27FC236}">
                        <a16:creationId xmlns:a16="http://schemas.microsoft.com/office/drawing/2014/main" id="{E1944D6A-6743-47F8-9138-D1552EADBF23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6678710" y="11504455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" name="任意多边形: 形状 115">
                    <a:extLst>
                      <a:ext uri="{FF2B5EF4-FFF2-40B4-BE49-F238E27FC236}">
                        <a16:creationId xmlns:a16="http://schemas.microsoft.com/office/drawing/2014/main" id="{C93D250F-4288-4135-8897-A2A978F8D158}"/>
                      </a:ext>
                    </a:extLst>
                  </p:cNvPr>
                  <p:cNvSpPr/>
                  <p:nvPr/>
                </p:nvSpPr>
                <p:spPr>
                  <a:xfrm>
                    <a:off x="6673522" y="11499055"/>
                    <a:ext cx="585505" cy="342809"/>
                  </a:xfrm>
                  <a:custGeom>
                    <a:avLst/>
                    <a:gdLst>
                      <a:gd name="connsiteX0" fmla="*/ 579438 w 585505"/>
                      <a:gd name="connsiteY0" fmla="*/ 342810 h 342809"/>
                      <a:gd name="connsiteX1" fmla="*/ 6067 w 585505"/>
                      <a:gd name="connsiteY1" fmla="*/ 342810 h 342809"/>
                      <a:gd name="connsiteX2" fmla="*/ 0 w 585505"/>
                      <a:gd name="connsiteY2" fmla="*/ 336742 h 342809"/>
                      <a:gd name="connsiteX3" fmla="*/ 0 w 585505"/>
                      <a:gd name="connsiteY3" fmla="*/ 6068 h 342809"/>
                      <a:gd name="connsiteX4" fmla="*/ 6067 w 585505"/>
                      <a:gd name="connsiteY4" fmla="*/ 0 h 342809"/>
                      <a:gd name="connsiteX5" fmla="*/ 579438 w 585505"/>
                      <a:gd name="connsiteY5" fmla="*/ 0 h 342809"/>
                      <a:gd name="connsiteX6" fmla="*/ 585506 w 585505"/>
                      <a:gd name="connsiteY6" fmla="*/ 6068 h 342809"/>
                      <a:gd name="connsiteX7" fmla="*/ 585506 w 585505"/>
                      <a:gd name="connsiteY7" fmla="*/ 336742 h 342809"/>
                      <a:gd name="connsiteX8" fmla="*/ 579438 w 585505"/>
                      <a:gd name="connsiteY8" fmla="*/ 342810 h 342809"/>
                      <a:gd name="connsiteX9" fmla="*/ 9101 w 585505"/>
                      <a:gd name="connsiteY9" fmla="*/ 330674 h 342809"/>
                      <a:gd name="connsiteX10" fmla="*/ 573371 w 585505"/>
                      <a:gd name="connsiteY10" fmla="*/ 330674 h 342809"/>
                      <a:gd name="connsiteX11" fmla="*/ 573371 w 585505"/>
                      <a:gd name="connsiteY11" fmla="*/ 9102 h 342809"/>
                      <a:gd name="connsiteX12" fmla="*/ 9101 w 585505"/>
                      <a:gd name="connsiteY12" fmla="*/ 9102 h 342809"/>
                      <a:gd name="connsiteX13" fmla="*/ 9101 w 585505"/>
                      <a:gd name="connsiteY13" fmla="*/ 330674 h 342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9">
                        <a:moveTo>
                          <a:pt x="579438" y="342810"/>
                        </a:moveTo>
                        <a:lnTo>
                          <a:pt x="6067" y="342810"/>
                        </a:lnTo>
                        <a:cubicBezTo>
                          <a:pt x="3033" y="342810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8"/>
                        </a:cubicBezTo>
                        <a:lnTo>
                          <a:pt x="585506" y="336742"/>
                        </a:lnTo>
                        <a:cubicBezTo>
                          <a:pt x="585506" y="339776"/>
                          <a:pt x="582472" y="342810"/>
                          <a:pt x="579438" y="342810"/>
                        </a:cubicBezTo>
                        <a:close/>
                        <a:moveTo>
                          <a:pt x="9101" y="330674"/>
                        </a:moveTo>
                        <a:lnTo>
                          <a:pt x="573371" y="330674"/>
                        </a:lnTo>
                        <a:lnTo>
                          <a:pt x="573371" y="9102"/>
                        </a:lnTo>
                        <a:lnTo>
                          <a:pt x="9101" y="9102"/>
                        </a:lnTo>
                        <a:lnTo>
                          <a:pt x="9101" y="330674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00" name="图形 1">
                  <a:extLst>
                    <a:ext uri="{FF2B5EF4-FFF2-40B4-BE49-F238E27FC236}">
                      <a16:creationId xmlns:a16="http://schemas.microsoft.com/office/drawing/2014/main" id="{50158F8F-1CD5-4B34-B390-2C21698F70E1}"/>
                    </a:ext>
                  </a:extLst>
                </p:cNvPr>
                <p:cNvGrpSpPr/>
                <p:nvPr/>
              </p:nvGrpSpPr>
              <p:grpSpPr>
                <a:xfrm>
                  <a:off x="8718241" y="11168381"/>
                  <a:ext cx="585505" cy="342808"/>
                  <a:chOff x="8718241" y="11168381"/>
                  <a:chExt cx="585505" cy="342808"/>
                </a:xfrm>
              </p:grpSpPr>
              <p:sp>
                <p:nvSpPr>
                  <p:cNvPr id="113" name="任意多边形: 形状 112">
                    <a:extLst>
                      <a:ext uri="{FF2B5EF4-FFF2-40B4-BE49-F238E27FC236}">
                        <a16:creationId xmlns:a16="http://schemas.microsoft.com/office/drawing/2014/main" id="{AED71835-4190-4A1C-966E-17DF07E03A35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8724066" y="11172446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" name="任意多边形: 形状 113">
                    <a:extLst>
                      <a:ext uri="{FF2B5EF4-FFF2-40B4-BE49-F238E27FC236}">
                        <a16:creationId xmlns:a16="http://schemas.microsoft.com/office/drawing/2014/main" id="{949A01CA-369E-4C43-A2CD-F9F10C1D8586}"/>
                      </a:ext>
                    </a:extLst>
                  </p:cNvPr>
                  <p:cNvSpPr/>
                  <p:nvPr/>
                </p:nvSpPr>
                <p:spPr>
                  <a:xfrm>
                    <a:off x="8718241" y="11168381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2 h 342808"/>
                      <a:gd name="connsiteX3" fmla="*/ 0 w 585505"/>
                      <a:gd name="connsiteY3" fmla="*/ 6068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6 w 585505"/>
                      <a:gd name="connsiteY6" fmla="*/ 6068 h 342808"/>
                      <a:gd name="connsiteX7" fmla="*/ 585506 w 585505"/>
                      <a:gd name="connsiteY7" fmla="*/ 336742 h 342808"/>
                      <a:gd name="connsiteX8" fmla="*/ 579438 w 585505"/>
                      <a:gd name="connsiteY8" fmla="*/ 342809 h 342808"/>
                      <a:gd name="connsiteX9" fmla="*/ 9101 w 585505"/>
                      <a:gd name="connsiteY9" fmla="*/ 330674 h 342808"/>
                      <a:gd name="connsiteX10" fmla="*/ 573371 w 585505"/>
                      <a:gd name="connsiteY10" fmla="*/ 330674 h 342808"/>
                      <a:gd name="connsiteX11" fmla="*/ 573371 w 585505"/>
                      <a:gd name="connsiteY11" fmla="*/ 9101 h 342808"/>
                      <a:gd name="connsiteX12" fmla="*/ 9101 w 585505"/>
                      <a:gd name="connsiteY12" fmla="*/ 9101 h 342808"/>
                      <a:gd name="connsiteX13" fmla="*/ 9101 w 585505"/>
                      <a:gd name="connsiteY13" fmla="*/ 330674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4" y="342809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4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8"/>
                        </a:cubicBezTo>
                        <a:lnTo>
                          <a:pt x="585506" y="336742"/>
                        </a:lnTo>
                        <a:cubicBezTo>
                          <a:pt x="585506" y="339776"/>
                          <a:pt x="582472" y="342809"/>
                          <a:pt x="579438" y="342809"/>
                        </a:cubicBezTo>
                        <a:close/>
                        <a:moveTo>
                          <a:pt x="9101" y="330674"/>
                        </a:moveTo>
                        <a:lnTo>
                          <a:pt x="573371" y="330674"/>
                        </a:lnTo>
                        <a:lnTo>
                          <a:pt x="573371" y="9101"/>
                        </a:lnTo>
                        <a:lnTo>
                          <a:pt x="9101" y="9101"/>
                        </a:lnTo>
                        <a:lnTo>
                          <a:pt x="9101" y="330674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01" name="图形 1">
                  <a:extLst>
                    <a:ext uri="{FF2B5EF4-FFF2-40B4-BE49-F238E27FC236}">
                      <a16:creationId xmlns:a16="http://schemas.microsoft.com/office/drawing/2014/main" id="{2F380D3B-5B84-416C-A70F-9EB101BA12AF}"/>
                    </a:ext>
                  </a:extLst>
                </p:cNvPr>
                <p:cNvGrpSpPr/>
                <p:nvPr/>
              </p:nvGrpSpPr>
              <p:grpSpPr>
                <a:xfrm>
                  <a:off x="8141837" y="11168381"/>
                  <a:ext cx="585505" cy="342808"/>
                  <a:chOff x="8141837" y="11168381"/>
                  <a:chExt cx="585505" cy="342808"/>
                </a:xfrm>
              </p:grpSpPr>
              <p:sp>
                <p:nvSpPr>
                  <p:cNvPr id="111" name="任意多边形: 形状 110">
                    <a:extLst>
                      <a:ext uri="{FF2B5EF4-FFF2-40B4-BE49-F238E27FC236}">
                        <a16:creationId xmlns:a16="http://schemas.microsoft.com/office/drawing/2014/main" id="{DF023EFA-E56F-475D-BD53-91061E1A2A3B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8147935" y="11172446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0 w 573370"/>
                      <a:gd name="connsiteY1" fmla="*/ 0 h 330674"/>
                      <a:gd name="connsiteX2" fmla="*/ 573370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0" y="0"/>
                        </a:lnTo>
                        <a:lnTo>
                          <a:pt x="573370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" name="任意多边形: 形状 111">
                    <a:extLst>
                      <a:ext uri="{FF2B5EF4-FFF2-40B4-BE49-F238E27FC236}">
                        <a16:creationId xmlns:a16="http://schemas.microsoft.com/office/drawing/2014/main" id="{BE66BBB7-CA66-45BA-AD32-38E4E68BBF9D}"/>
                      </a:ext>
                    </a:extLst>
                  </p:cNvPr>
                  <p:cNvSpPr/>
                  <p:nvPr/>
                </p:nvSpPr>
                <p:spPr>
                  <a:xfrm>
                    <a:off x="8141837" y="11168381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2 h 342808"/>
                      <a:gd name="connsiteX3" fmla="*/ 0 w 585505"/>
                      <a:gd name="connsiteY3" fmla="*/ 6068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6 w 585505"/>
                      <a:gd name="connsiteY6" fmla="*/ 6068 h 342808"/>
                      <a:gd name="connsiteX7" fmla="*/ 585506 w 585505"/>
                      <a:gd name="connsiteY7" fmla="*/ 336742 h 342808"/>
                      <a:gd name="connsiteX8" fmla="*/ 579438 w 585505"/>
                      <a:gd name="connsiteY8" fmla="*/ 342809 h 342808"/>
                      <a:gd name="connsiteX9" fmla="*/ 12135 w 585505"/>
                      <a:gd name="connsiteY9" fmla="*/ 330674 h 342808"/>
                      <a:gd name="connsiteX10" fmla="*/ 576405 w 585505"/>
                      <a:gd name="connsiteY10" fmla="*/ 330674 h 342808"/>
                      <a:gd name="connsiteX11" fmla="*/ 576405 w 585505"/>
                      <a:gd name="connsiteY11" fmla="*/ 9101 h 342808"/>
                      <a:gd name="connsiteX12" fmla="*/ 12135 w 585505"/>
                      <a:gd name="connsiteY12" fmla="*/ 9101 h 342808"/>
                      <a:gd name="connsiteX13" fmla="*/ 12135 w 585505"/>
                      <a:gd name="connsiteY13" fmla="*/ 330674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4" y="342809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4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8"/>
                        </a:cubicBezTo>
                        <a:lnTo>
                          <a:pt x="585506" y="336742"/>
                        </a:lnTo>
                        <a:cubicBezTo>
                          <a:pt x="585506" y="339776"/>
                          <a:pt x="582472" y="342809"/>
                          <a:pt x="579438" y="342809"/>
                        </a:cubicBezTo>
                        <a:close/>
                        <a:moveTo>
                          <a:pt x="12135" y="330674"/>
                        </a:moveTo>
                        <a:lnTo>
                          <a:pt x="576405" y="330674"/>
                        </a:lnTo>
                        <a:lnTo>
                          <a:pt x="576405" y="9101"/>
                        </a:lnTo>
                        <a:lnTo>
                          <a:pt x="12135" y="9101"/>
                        </a:lnTo>
                        <a:lnTo>
                          <a:pt x="12135" y="330674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02" name="图形 1">
                  <a:extLst>
                    <a:ext uri="{FF2B5EF4-FFF2-40B4-BE49-F238E27FC236}">
                      <a16:creationId xmlns:a16="http://schemas.microsoft.com/office/drawing/2014/main" id="{5F259F45-D047-4AC0-9977-3960B3EE6B6D}"/>
                    </a:ext>
                  </a:extLst>
                </p:cNvPr>
                <p:cNvGrpSpPr/>
                <p:nvPr/>
              </p:nvGrpSpPr>
              <p:grpSpPr>
                <a:xfrm>
                  <a:off x="7568466" y="11168381"/>
                  <a:ext cx="585505" cy="342808"/>
                  <a:chOff x="7568466" y="11168381"/>
                  <a:chExt cx="585505" cy="342808"/>
                </a:xfrm>
              </p:grpSpPr>
              <p:sp>
                <p:nvSpPr>
                  <p:cNvPr id="109" name="任意多边形: 形状 108">
                    <a:extLst>
                      <a:ext uri="{FF2B5EF4-FFF2-40B4-BE49-F238E27FC236}">
                        <a16:creationId xmlns:a16="http://schemas.microsoft.com/office/drawing/2014/main" id="{9C51172F-A566-4003-8097-25F3A464FEE9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7574837" y="11172446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" name="任意多边形: 形状 109">
                    <a:extLst>
                      <a:ext uri="{FF2B5EF4-FFF2-40B4-BE49-F238E27FC236}">
                        <a16:creationId xmlns:a16="http://schemas.microsoft.com/office/drawing/2014/main" id="{E5728E13-6AA7-4DE6-A2F8-7561F0D4CD7F}"/>
                      </a:ext>
                    </a:extLst>
                  </p:cNvPr>
                  <p:cNvSpPr/>
                  <p:nvPr/>
                </p:nvSpPr>
                <p:spPr>
                  <a:xfrm>
                    <a:off x="7568466" y="11168381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2 h 342808"/>
                      <a:gd name="connsiteX3" fmla="*/ 0 w 585505"/>
                      <a:gd name="connsiteY3" fmla="*/ 6068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6 w 585505"/>
                      <a:gd name="connsiteY6" fmla="*/ 6068 h 342808"/>
                      <a:gd name="connsiteX7" fmla="*/ 585506 w 585505"/>
                      <a:gd name="connsiteY7" fmla="*/ 336742 h 342808"/>
                      <a:gd name="connsiteX8" fmla="*/ 579438 w 585505"/>
                      <a:gd name="connsiteY8" fmla="*/ 342809 h 342808"/>
                      <a:gd name="connsiteX9" fmla="*/ 9101 w 585505"/>
                      <a:gd name="connsiteY9" fmla="*/ 330674 h 342808"/>
                      <a:gd name="connsiteX10" fmla="*/ 573371 w 585505"/>
                      <a:gd name="connsiteY10" fmla="*/ 330674 h 342808"/>
                      <a:gd name="connsiteX11" fmla="*/ 573371 w 585505"/>
                      <a:gd name="connsiteY11" fmla="*/ 9101 h 342808"/>
                      <a:gd name="connsiteX12" fmla="*/ 9101 w 585505"/>
                      <a:gd name="connsiteY12" fmla="*/ 9101 h 342808"/>
                      <a:gd name="connsiteX13" fmla="*/ 9101 w 585505"/>
                      <a:gd name="connsiteY13" fmla="*/ 330674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3" y="342809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8"/>
                        </a:cubicBezTo>
                        <a:lnTo>
                          <a:pt x="585506" y="336742"/>
                        </a:lnTo>
                        <a:cubicBezTo>
                          <a:pt x="585506" y="339776"/>
                          <a:pt x="582472" y="342809"/>
                          <a:pt x="579438" y="342809"/>
                        </a:cubicBezTo>
                        <a:close/>
                        <a:moveTo>
                          <a:pt x="9101" y="330674"/>
                        </a:moveTo>
                        <a:lnTo>
                          <a:pt x="573371" y="330674"/>
                        </a:lnTo>
                        <a:lnTo>
                          <a:pt x="573371" y="9101"/>
                        </a:lnTo>
                        <a:lnTo>
                          <a:pt x="9101" y="9101"/>
                        </a:lnTo>
                        <a:lnTo>
                          <a:pt x="9101" y="330674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03" name="图形 1">
                  <a:extLst>
                    <a:ext uri="{FF2B5EF4-FFF2-40B4-BE49-F238E27FC236}">
                      <a16:creationId xmlns:a16="http://schemas.microsoft.com/office/drawing/2014/main" id="{01BF3DE6-1D13-485C-B960-82E5014D1276}"/>
                    </a:ext>
                  </a:extLst>
                </p:cNvPr>
                <p:cNvGrpSpPr/>
                <p:nvPr/>
              </p:nvGrpSpPr>
              <p:grpSpPr>
                <a:xfrm>
                  <a:off x="6992062" y="11168381"/>
                  <a:ext cx="585505" cy="342808"/>
                  <a:chOff x="6992062" y="11168381"/>
                  <a:chExt cx="585505" cy="342808"/>
                </a:xfrm>
              </p:grpSpPr>
              <p:sp>
                <p:nvSpPr>
                  <p:cNvPr id="107" name="任意多边形: 形状 106">
                    <a:extLst>
                      <a:ext uri="{FF2B5EF4-FFF2-40B4-BE49-F238E27FC236}">
                        <a16:creationId xmlns:a16="http://schemas.microsoft.com/office/drawing/2014/main" id="{D2677932-B6E2-4AF4-98D1-5E3A99746817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6998736" y="11172446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" name="任意多边形: 形状 107">
                    <a:extLst>
                      <a:ext uri="{FF2B5EF4-FFF2-40B4-BE49-F238E27FC236}">
                        <a16:creationId xmlns:a16="http://schemas.microsoft.com/office/drawing/2014/main" id="{AD6D39D0-23CE-405F-83F8-7E1E127AADD9}"/>
                      </a:ext>
                    </a:extLst>
                  </p:cNvPr>
                  <p:cNvSpPr/>
                  <p:nvPr/>
                </p:nvSpPr>
                <p:spPr>
                  <a:xfrm>
                    <a:off x="6992062" y="11168381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2 h 342808"/>
                      <a:gd name="connsiteX3" fmla="*/ 0 w 585505"/>
                      <a:gd name="connsiteY3" fmla="*/ 6068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6 w 585505"/>
                      <a:gd name="connsiteY6" fmla="*/ 6068 h 342808"/>
                      <a:gd name="connsiteX7" fmla="*/ 585506 w 585505"/>
                      <a:gd name="connsiteY7" fmla="*/ 336742 h 342808"/>
                      <a:gd name="connsiteX8" fmla="*/ 579438 w 585505"/>
                      <a:gd name="connsiteY8" fmla="*/ 342809 h 342808"/>
                      <a:gd name="connsiteX9" fmla="*/ 12135 w 585505"/>
                      <a:gd name="connsiteY9" fmla="*/ 330674 h 342808"/>
                      <a:gd name="connsiteX10" fmla="*/ 576405 w 585505"/>
                      <a:gd name="connsiteY10" fmla="*/ 330674 h 342808"/>
                      <a:gd name="connsiteX11" fmla="*/ 576405 w 585505"/>
                      <a:gd name="connsiteY11" fmla="*/ 9101 h 342808"/>
                      <a:gd name="connsiteX12" fmla="*/ 12135 w 585505"/>
                      <a:gd name="connsiteY12" fmla="*/ 9101 h 342808"/>
                      <a:gd name="connsiteX13" fmla="*/ 12135 w 585505"/>
                      <a:gd name="connsiteY13" fmla="*/ 330674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3" y="342809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8"/>
                        </a:cubicBezTo>
                        <a:lnTo>
                          <a:pt x="585506" y="336742"/>
                        </a:lnTo>
                        <a:cubicBezTo>
                          <a:pt x="585506" y="339776"/>
                          <a:pt x="582472" y="342809"/>
                          <a:pt x="579438" y="342809"/>
                        </a:cubicBezTo>
                        <a:close/>
                        <a:moveTo>
                          <a:pt x="12135" y="330674"/>
                        </a:moveTo>
                        <a:lnTo>
                          <a:pt x="576405" y="330674"/>
                        </a:lnTo>
                        <a:lnTo>
                          <a:pt x="576405" y="9101"/>
                        </a:lnTo>
                        <a:lnTo>
                          <a:pt x="12135" y="9101"/>
                        </a:lnTo>
                        <a:lnTo>
                          <a:pt x="12135" y="330674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04" name="图形 1">
                  <a:extLst>
                    <a:ext uri="{FF2B5EF4-FFF2-40B4-BE49-F238E27FC236}">
                      <a16:creationId xmlns:a16="http://schemas.microsoft.com/office/drawing/2014/main" id="{473B18CB-7621-4D51-967B-0216732CC7A9}"/>
                    </a:ext>
                  </a:extLst>
                </p:cNvPr>
                <p:cNvGrpSpPr/>
                <p:nvPr/>
              </p:nvGrpSpPr>
              <p:grpSpPr>
                <a:xfrm>
                  <a:off x="6418691" y="11168381"/>
                  <a:ext cx="585505" cy="342808"/>
                  <a:chOff x="6418691" y="11168381"/>
                  <a:chExt cx="585505" cy="342808"/>
                </a:xfrm>
              </p:grpSpPr>
              <p:sp>
                <p:nvSpPr>
                  <p:cNvPr id="105" name="任意多边形: 形状 104">
                    <a:extLst>
                      <a:ext uri="{FF2B5EF4-FFF2-40B4-BE49-F238E27FC236}">
                        <a16:creationId xmlns:a16="http://schemas.microsoft.com/office/drawing/2014/main" id="{69F0BD48-F01E-4CFE-AE44-6C1060CB0B19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6425638" y="11172446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" name="任意多边形: 形状 105">
                    <a:extLst>
                      <a:ext uri="{FF2B5EF4-FFF2-40B4-BE49-F238E27FC236}">
                        <a16:creationId xmlns:a16="http://schemas.microsoft.com/office/drawing/2014/main" id="{189371EE-BD62-40B5-8801-B1ED18CCF644}"/>
                      </a:ext>
                    </a:extLst>
                  </p:cNvPr>
                  <p:cNvSpPr/>
                  <p:nvPr/>
                </p:nvSpPr>
                <p:spPr>
                  <a:xfrm>
                    <a:off x="6418691" y="11168381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8 w 585505"/>
                      <a:gd name="connsiteY1" fmla="*/ 342809 h 342808"/>
                      <a:gd name="connsiteX2" fmla="*/ 0 w 585505"/>
                      <a:gd name="connsiteY2" fmla="*/ 336742 h 342808"/>
                      <a:gd name="connsiteX3" fmla="*/ 0 w 585505"/>
                      <a:gd name="connsiteY3" fmla="*/ 6068 h 342808"/>
                      <a:gd name="connsiteX4" fmla="*/ 6068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6 w 585505"/>
                      <a:gd name="connsiteY6" fmla="*/ 6068 h 342808"/>
                      <a:gd name="connsiteX7" fmla="*/ 585506 w 585505"/>
                      <a:gd name="connsiteY7" fmla="*/ 336742 h 342808"/>
                      <a:gd name="connsiteX8" fmla="*/ 579438 w 585505"/>
                      <a:gd name="connsiteY8" fmla="*/ 342809 h 342808"/>
                      <a:gd name="connsiteX9" fmla="*/ 9101 w 585505"/>
                      <a:gd name="connsiteY9" fmla="*/ 330674 h 342808"/>
                      <a:gd name="connsiteX10" fmla="*/ 573371 w 585505"/>
                      <a:gd name="connsiteY10" fmla="*/ 330674 h 342808"/>
                      <a:gd name="connsiteX11" fmla="*/ 573371 w 585505"/>
                      <a:gd name="connsiteY11" fmla="*/ 9101 h 342808"/>
                      <a:gd name="connsiteX12" fmla="*/ 9101 w 585505"/>
                      <a:gd name="connsiteY12" fmla="*/ 9101 h 342808"/>
                      <a:gd name="connsiteX13" fmla="*/ 9101 w 585505"/>
                      <a:gd name="connsiteY13" fmla="*/ 330674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8" y="342809"/>
                        </a:lnTo>
                        <a:cubicBezTo>
                          <a:pt x="3034" y="342809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4" y="0"/>
                          <a:pt x="6068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8"/>
                        </a:cubicBezTo>
                        <a:lnTo>
                          <a:pt x="585506" y="336742"/>
                        </a:lnTo>
                        <a:cubicBezTo>
                          <a:pt x="585506" y="339776"/>
                          <a:pt x="582472" y="342809"/>
                          <a:pt x="579438" y="342809"/>
                        </a:cubicBezTo>
                        <a:close/>
                        <a:moveTo>
                          <a:pt x="9101" y="330674"/>
                        </a:moveTo>
                        <a:lnTo>
                          <a:pt x="573371" y="330674"/>
                        </a:lnTo>
                        <a:lnTo>
                          <a:pt x="573371" y="9101"/>
                        </a:lnTo>
                        <a:lnTo>
                          <a:pt x="9101" y="9101"/>
                        </a:lnTo>
                        <a:lnTo>
                          <a:pt x="9101" y="330674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64" name="图形 1">
                <a:extLst>
                  <a:ext uri="{FF2B5EF4-FFF2-40B4-BE49-F238E27FC236}">
                    <a16:creationId xmlns:a16="http://schemas.microsoft.com/office/drawing/2014/main" id="{C8CC80F1-DE07-44CF-83C1-5E4DFAA5A005}"/>
                  </a:ext>
                </a:extLst>
              </p:cNvPr>
              <p:cNvGrpSpPr/>
              <p:nvPr/>
            </p:nvGrpSpPr>
            <p:grpSpPr>
              <a:xfrm>
                <a:off x="6418691" y="10503999"/>
                <a:ext cx="3139887" cy="673482"/>
                <a:chOff x="6418691" y="10503999"/>
                <a:chExt cx="3139887" cy="673482"/>
              </a:xfrm>
            </p:grpSpPr>
            <p:grpSp>
              <p:nvGrpSpPr>
                <p:cNvPr id="65" name="图形 1">
                  <a:extLst>
                    <a:ext uri="{FF2B5EF4-FFF2-40B4-BE49-F238E27FC236}">
                      <a16:creationId xmlns:a16="http://schemas.microsoft.com/office/drawing/2014/main" id="{2CA92DB1-A356-40C1-AF14-F7C82989734D}"/>
                    </a:ext>
                  </a:extLst>
                </p:cNvPr>
                <p:cNvGrpSpPr/>
                <p:nvPr/>
              </p:nvGrpSpPr>
              <p:grpSpPr>
                <a:xfrm>
                  <a:off x="8973073" y="10834673"/>
                  <a:ext cx="585505" cy="342808"/>
                  <a:chOff x="8973073" y="10834673"/>
                  <a:chExt cx="585505" cy="342808"/>
                </a:xfrm>
              </p:grpSpPr>
              <p:sp>
                <p:nvSpPr>
                  <p:cNvPr id="93" name="任意多边形: 形状 92">
                    <a:extLst>
                      <a:ext uri="{FF2B5EF4-FFF2-40B4-BE49-F238E27FC236}">
                        <a16:creationId xmlns:a16="http://schemas.microsoft.com/office/drawing/2014/main" id="{E73333DC-912E-4DD2-B64E-43E272AFD3AA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8980202" y="10843441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4" name="任意多边形: 形状 93">
                    <a:extLst>
                      <a:ext uri="{FF2B5EF4-FFF2-40B4-BE49-F238E27FC236}">
                        <a16:creationId xmlns:a16="http://schemas.microsoft.com/office/drawing/2014/main" id="{C5F84975-60A0-4D93-B013-5441E2508F9E}"/>
                      </a:ext>
                    </a:extLst>
                  </p:cNvPr>
                  <p:cNvSpPr/>
                  <p:nvPr/>
                </p:nvSpPr>
                <p:spPr>
                  <a:xfrm>
                    <a:off x="8973073" y="10834673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2 h 342808"/>
                      <a:gd name="connsiteX3" fmla="*/ 0 w 585505"/>
                      <a:gd name="connsiteY3" fmla="*/ 6068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5 w 585505"/>
                      <a:gd name="connsiteY6" fmla="*/ 6068 h 342808"/>
                      <a:gd name="connsiteX7" fmla="*/ 585505 w 585505"/>
                      <a:gd name="connsiteY7" fmla="*/ 336742 h 342808"/>
                      <a:gd name="connsiteX8" fmla="*/ 579438 w 585505"/>
                      <a:gd name="connsiteY8" fmla="*/ 342809 h 342808"/>
                      <a:gd name="connsiteX9" fmla="*/ 9101 w 585505"/>
                      <a:gd name="connsiteY9" fmla="*/ 333708 h 342808"/>
                      <a:gd name="connsiteX10" fmla="*/ 573371 w 585505"/>
                      <a:gd name="connsiteY10" fmla="*/ 333708 h 342808"/>
                      <a:gd name="connsiteX11" fmla="*/ 573371 w 585505"/>
                      <a:gd name="connsiteY11" fmla="*/ 12135 h 342808"/>
                      <a:gd name="connsiteX12" fmla="*/ 9101 w 585505"/>
                      <a:gd name="connsiteY12" fmla="*/ 12135 h 342808"/>
                      <a:gd name="connsiteX13" fmla="*/ 9101 w 585505"/>
                      <a:gd name="connsiteY13" fmla="*/ 333708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3" y="342809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5" y="3034"/>
                          <a:pt x="585505" y="6068"/>
                        </a:cubicBezTo>
                        <a:lnTo>
                          <a:pt x="585505" y="336742"/>
                        </a:lnTo>
                        <a:cubicBezTo>
                          <a:pt x="585505" y="342809"/>
                          <a:pt x="582472" y="342809"/>
                          <a:pt x="579438" y="342809"/>
                        </a:cubicBezTo>
                        <a:close/>
                        <a:moveTo>
                          <a:pt x="9101" y="333708"/>
                        </a:moveTo>
                        <a:lnTo>
                          <a:pt x="573371" y="333708"/>
                        </a:lnTo>
                        <a:lnTo>
                          <a:pt x="573371" y="12135"/>
                        </a:lnTo>
                        <a:lnTo>
                          <a:pt x="9101" y="12135"/>
                        </a:lnTo>
                        <a:lnTo>
                          <a:pt x="9101" y="333708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66" name="图形 1">
                  <a:extLst>
                    <a:ext uri="{FF2B5EF4-FFF2-40B4-BE49-F238E27FC236}">
                      <a16:creationId xmlns:a16="http://schemas.microsoft.com/office/drawing/2014/main" id="{C5C6E4DF-3393-436A-A6DD-1CC87CDFC6EB}"/>
                    </a:ext>
                  </a:extLst>
                </p:cNvPr>
                <p:cNvGrpSpPr/>
                <p:nvPr/>
              </p:nvGrpSpPr>
              <p:grpSpPr>
                <a:xfrm>
                  <a:off x="8396669" y="10834673"/>
                  <a:ext cx="585505" cy="342808"/>
                  <a:chOff x="8396669" y="10834673"/>
                  <a:chExt cx="585505" cy="342808"/>
                </a:xfrm>
              </p:grpSpPr>
              <p:sp>
                <p:nvSpPr>
                  <p:cNvPr id="91" name="任意多边形: 形状 90">
                    <a:extLst>
                      <a:ext uri="{FF2B5EF4-FFF2-40B4-BE49-F238E27FC236}">
                        <a16:creationId xmlns:a16="http://schemas.microsoft.com/office/drawing/2014/main" id="{D1C5B3F0-D4F0-42F2-AC20-0E50C327A857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8404071" y="10843441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2" name="任意多边形: 形状 91">
                    <a:extLst>
                      <a:ext uri="{FF2B5EF4-FFF2-40B4-BE49-F238E27FC236}">
                        <a16:creationId xmlns:a16="http://schemas.microsoft.com/office/drawing/2014/main" id="{D37CD6A2-A00D-4972-AB1E-6135B04B8AB3}"/>
                      </a:ext>
                    </a:extLst>
                  </p:cNvPr>
                  <p:cNvSpPr/>
                  <p:nvPr/>
                </p:nvSpPr>
                <p:spPr>
                  <a:xfrm>
                    <a:off x="8396669" y="10834673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2 h 342808"/>
                      <a:gd name="connsiteX3" fmla="*/ 0 w 585505"/>
                      <a:gd name="connsiteY3" fmla="*/ 6068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5 w 585505"/>
                      <a:gd name="connsiteY6" fmla="*/ 6068 h 342808"/>
                      <a:gd name="connsiteX7" fmla="*/ 585505 w 585505"/>
                      <a:gd name="connsiteY7" fmla="*/ 336742 h 342808"/>
                      <a:gd name="connsiteX8" fmla="*/ 579438 w 585505"/>
                      <a:gd name="connsiteY8" fmla="*/ 342809 h 342808"/>
                      <a:gd name="connsiteX9" fmla="*/ 12135 w 585505"/>
                      <a:gd name="connsiteY9" fmla="*/ 333708 h 342808"/>
                      <a:gd name="connsiteX10" fmla="*/ 576405 w 585505"/>
                      <a:gd name="connsiteY10" fmla="*/ 333708 h 342808"/>
                      <a:gd name="connsiteX11" fmla="*/ 576405 w 585505"/>
                      <a:gd name="connsiteY11" fmla="*/ 12135 h 342808"/>
                      <a:gd name="connsiteX12" fmla="*/ 12135 w 585505"/>
                      <a:gd name="connsiteY12" fmla="*/ 12135 h 342808"/>
                      <a:gd name="connsiteX13" fmla="*/ 12135 w 585505"/>
                      <a:gd name="connsiteY13" fmla="*/ 333708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3" y="342809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5" y="3034"/>
                          <a:pt x="585505" y="6068"/>
                        </a:cubicBezTo>
                        <a:lnTo>
                          <a:pt x="585505" y="336742"/>
                        </a:lnTo>
                        <a:cubicBezTo>
                          <a:pt x="585505" y="342809"/>
                          <a:pt x="582472" y="342809"/>
                          <a:pt x="579438" y="342809"/>
                        </a:cubicBezTo>
                        <a:close/>
                        <a:moveTo>
                          <a:pt x="12135" y="333708"/>
                        </a:moveTo>
                        <a:lnTo>
                          <a:pt x="576405" y="333708"/>
                        </a:lnTo>
                        <a:lnTo>
                          <a:pt x="576405" y="12135"/>
                        </a:lnTo>
                        <a:lnTo>
                          <a:pt x="12135" y="12135"/>
                        </a:lnTo>
                        <a:lnTo>
                          <a:pt x="12135" y="333708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67" name="图形 1">
                  <a:extLst>
                    <a:ext uri="{FF2B5EF4-FFF2-40B4-BE49-F238E27FC236}">
                      <a16:creationId xmlns:a16="http://schemas.microsoft.com/office/drawing/2014/main" id="{394B5CB0-7DF0-4CBD-ABC6-9FFD034F0E19}"/>
                    </a:ext>
                  </a:extLst>
                </p:cNvPr>
                <p:cNvGrpSpPr/>
                <p:nvPr/>
              </p:nvGrpSpPr>
              <p:grpSpPr>
                <a:xfrm>
                  <a:off x="7823298" y="10834673"/>
                  <a:ext cx="585505" cy="342808"/>
                  <a:chOff x="7823298" y="10834673"/>
                  <a:chExt cx="585505" cy="342808"/>
                </a:xfrm>
              </p:grpSpPr>
              <p:sp>
                <p:nvSpPr>
                  <p:cNvPr id="89" name="任意多边形: 形状 88">
                    <a:extLst>
                      <a:ext uri="{FF2B5EF4-FFF2-40B4-BE49-F238E27FC236}">
                        <a16:creationId xmlns:a16="http://schemas.microsoft.com/office/drawing/2014/main" id="{0B64F693-F89A-4321-A947-853C491340A2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7827939" y="10843441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0 w 573370"/>
                      <a:gd name="connsiteY1" fmla="*/ 0 h 330674"/>
                      <a:gd name="connsiteX2" fmla="*/ 573370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0" y="0"/>
                        </a:lnTo>
                        <a:lnTo>
                          <a:pt x="573370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0" name="任意多边形: 形状 89">
                    <a:extLst>
                      <a:ext uri="{FF2B5EF4-FFF2-40B4-BE49-F238E27FC236}">
                        <a16:creationId xmlns:a16="http://schemas.microsoft.com/office/drawing/2014/main" id="{7D1B11A4-5DE0-4E59-8BB8-84E23BDB0291}"/>
                      </a:ext>
                    </a:extLst>
                  </p:cNvPr>
                  <p:cNvSpPr/>
                  <p:nvPr/>
                </p:nvSpPr>
                <p:spPr>
                  <a:xfrm>
                    <a:off x="7823298" y="10834673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2 h 342808"/>
                      <a:gd name="connsiteX3" fmla="*/ 0 w 585505"/>
                      <a:gd name="connsiteY3" fmla="*/ 6068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6 w 585505"/>
                      <a:gd name="connsiteY6" fmla="*/ 6068 h 342808"/>
                      <a:gd name="connsiteX7" fmla="*/ 585506 w 585505"/>
                      <a:gd name="connsiteY7" fmla="*/ 336742 h 342808"/>
                      <a:gd name="connsiteX8" fmla="*/ 579438 w 585505"/>
                      <a:gd name="connsiteY8" fmla="*/ 342809 h 342808"/>
                      <a:gd name="connsiteX9" fmla="*/ 9101 w 585505"/>
                      <a:gd name="connsiteY9" fmla="*/ 333708 h 342808"/>
                      <a:gd name="connsiteX10" fmla="*/ 573371 w 585505"/>
                      <a:gd name="connsiteY10" fmla="*/ 333708 h 342808"/>
                      <a:gd name="connsiteX11" fmla="*/ 573371 w 585505"/>
                      <a:gd name="connsiteY11" fmla="*/ 12135 h 342808"/>
                      <a:gd name="connsiteX12" fmla="*/ 9101 w 585505"/>
                      <a:gd name="connsiteY12" fmla="*/ 12135 h 342808"/>
                      <a:gd name="connsiteX13" fmla="*/ 9101 w 585505"/>
                      <a:gd name="connsiteY13" fmla="*/ 333708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4" y="342809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4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8"/>
                        </a:cubicBezTo>
                        <a:lnTo>
                          <a:pt x="585506" y="336742"/>
                        </a:lnTo>
                        <a:cubicBezTo>
                          <a:pt x="585506" y="342809"/>
                          <a:pt x="582472" y="342809"/>
                          <a:pt x="579438" y="342809"/>
                        </a:cubicBezTo>
                        <a:close/>
                        <a:moveTo>
                          <a:pt x="9101" y="333708"/>
                        </a:moveTo>
                        <a:lnTo>
                          <a:pt x="573371" y="333708"/>
                        </a:lnTo>
                        <a:lnTo>
                          <a:pt x="573371" y="12135"/>
                        </a:lnTo>
                        <a:lnTo>
                          <a:pt x="9101" y="12135"/>
                        </a:lnTo>
                        <a:lnTo>
                          <a:pt x="9101" y="333708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68" name="图形 1">
                  <a:extLst>
                    <a:ext uri="{FF2B5EF4-FFF2-40B4-BE49-F238E27FC236}">
                      <a16:creationId xmlns:a16="http://schemas.microsoft.com/office/drawing/2014/main" id="{72B9CE5A-E09F-470C-88DA-5B9B224D02D7}"/>
                    </a:ext>
                  </a:extLst>
                </p:cNvPr>
                <p:cNvGrpSpPr/>
                <p:nvPr/>
              </p:nvGrpSpPr>
              <p:grpSpPr>
                <a:xfrm>
                  <a:off x="7249927" y="10834673"/>
                  <a:ext cx="585505" cy="342808"/>
                  <a:chOff x="7249927" y="10834673"/>
                  <a:chExt cx="585505" cy="342808"/>
                </a:xfrm>
              </p:grpSpPr>
              <p:sp>
                <p:nvSpPr>
                  <p:cNvPr id="87" name="任意多边形: 形状 86">
                    <a:extLst>
                      <a:ext uri="{FF2B5EF4-FFF2-40B4-BE49-F238E27FC236}">
                        <a16:creationId xmlns:a16="http://schemas.microsoft.com/office/drawing/2014/main" id="{1C0D5EF7-FF7E-4363-AE1D-A2692C99BEEF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7254841" y="10843441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8" name="任意多边形: 形状 87">
                    <a:extLst>
                      <a:ext uri="{FF2B5EF4-FFF2-40B4-BE49-F238E27FC236}">
                        <a16:creationId xmlns:a16="http://schemas.microsoft.com/office/drawing/2014/main" id="{F08115E7-72C1-435D-8E09-B9E280345211}"/>
                      </a:ext>
                    </a:extLst>
                  </p:cNvPr>
                  <p:cNvSpPr/>
                  <p:nvPr/>
                </p:nvSpPr>
                <p:spPr>
                  <a:xfrm>
                    <a:off x="7249927" y="10834673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2 h 342808"/>
                      <a:gd name="connsiteX3" fmla="*/ 0 w 585505"/>
                      <a:gd name="connsiteY3" fmla="*/ 6068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6 w 585505"/>
                      <a:gd name="connsiteY6" fmla="*/ 6068 h 342808"/>
                      <a:gd name="connsiteX7" fmla="*/ 585506 w 585505"/>
                      <a:gd name="connsiteY7" fmla="*/ 336742 h 342808"/>
                      <a:gd name="connsiteX8" fmla="*/ 579438 w 585505"/>
                      <a:gd name="connsiteY8" fmla="*/ 342809 h 342808"/>
                      <a:gd name="connsiteX9" fmla="*/ 9101 w 585505"/>
                      <a:gd name="connsiteY9" fmla="*/ 333708 h 342808"/>
                      <a:gd name="connsiteX10" fmla="*/ 573371 w 585505"/>
                      <a:gd name="connsiteY10" fmla="*/ 333708 h 342808"/>
                      <a:gd name="connsiteX11" fmla="*/ 573371 w 585505"/>
                      <a:gd name="connsiteY11" fmla="*/ 12135 h 342808"/>
                      <a:gd name="connsiteX12" fmla="*/ 9101 w 585505"/>
                      <a:gd name="connsiteY12" fmla="*/ 12135 h 342808"/>
                      <a:gd name="connsiteX13" fmla="*/ 9101 w 585505"/>
                      <a:gd name="connsiteY13" fmla="*/ 333708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3" y="342809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8"/>
                        </a:cubicBezTo>
                        <a:lnTo>
                          <a:pt x="585506" y="336742"/>
                        </a:lnTo>
                        <a:cubicBezTo>
                          <a:pt x="582472" y="342809"/>
                          <a:pt x="582472" y="342809"/>
                          <a:pt x="579438" y="342809"/>
                        </a:cubicBezTo>
                        <a:close/>
                        <a:moveTo>
                          <a:pt x="9101" y="333708"/>
                        </a:moveTo>
                        <a:lnTo>
                          <a:pt x="573371" y="333708"/>
                        </a:lnTo>
                        <a:lnTo>
                          <a:pt x="573371" y="12135"/>
                        </a:lnTo>
                        <a:lnTo>
                          <a:pt x="9101" y="12135"/>
                        </a:lnTo>
                        <a:lnTo>
                          <a:pt x="9101" y="333708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69" name="图形 1">
                  <a:extLst>
                    <a:ext uri="{FF2B5EF4-FFF2-40B4-BE49-F238E27FC236}">
                      <a16:creationId xmlns:a16="http://schemas.microsoft.com/office/drawing/2014/main" id="{1C4C074C-F051-43EA-9E1D-C14F4E85934F}"/>
                    </a:ext>
                  </a:extLst>
                </p:cNvPr>
                <p:cNvGrpSpPr/>
                <p:nvPr/>
              </p:nvGrpSpPr>
              <p:grpSpPr>
                <a:xfrm>
                  <a:off x="6673522" y="10834673"/>
                  <a:ext cx="585505" cy="342808"/>
                  <a:chOff x="6673522" y="10834673"/>
                  <a:chExt cx="585505" cy="342808"/>
                </a:xfrm>
              </p:grpSpPr>
              <p:sp>
                <p:nvSpPr>
                  <p:cNvPr id="85" name="任意多边形: 形状 84">
                    <a:extLst>
                      <a:ext uri="{FF2B5EF4-FFF2-40B4-BE49-F238E27FC236}">
                        <a16:creationId xmlns:a16="http://schemas.microsoft.com/office/drawing/2014/main" id="{B543FDD2-2C03-4AB0-B71D-4252250A7B58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6678710" y="10843441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6" name="任意多边形: 形状 85">
                    <a:extLst>
                      <a:ext uri="{FF2B5EF4-FFF2-40B4-BE49-F238E27FC236}">
                        <a16:creationId xmlns:a16="http://schemas.microsoft.com/office/drawing/2014/main" id="{BBA3D887-F609-499A-B8A4-32028E6F63C5}"/>
                      </a:ext>
                    </a:extLst>
                  </p:cNvPr>
                  <p:cNvSpPr/>
                  <p:nvPr/>
                </p:nvSpPr>
                <p:spPr>
                  <a:xfrm>
                    <a:off x="6673522" y="10834673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2 h 342808"/>
                      <a:gd name="connsiteX3" fmla="*/ 0 w 585505"/>
                      <a:gd name="connsiteY3" fmla="*/ 6068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6 w 585505"/>
                      <a:gd name="connsiteY6" fmla="*/ 6068 h 342808"/>
                      <a:gd name="connsiteX7" fmla="*/ 585506 w 585505"/>
                      <a:gd name="connsiteY7" fmla="*/ 336742 h 342808"/>
                      <a:gd name="connsiteX8" fmla="*/ 579438 w 585505"/>
                      <a:gd name="connsiteY8" fmla="*/ 342809 h 342808"/>
                      <a:gd name="connsiteX9" fmla="*/ 9101 w 585505"/>
                      <a:gd name="connsiteY9" fmla="*/ 333708 h 342808"/>
                      <a:gd name="connsiteX10" fmla="*/ 573371 w 585505"/>
                      <a:gd name="connsiteY10" fmla="*/ 333708 h 342808"/>
                      <a:gd name="connsiteX11" fmla="*/ 573371 w 585505"/>
                      <a:gd name="connsiteY11" fmla="*/ 12135 h 342808"/>
                      <a:gd name="connsiteX12" fmla="*/ 9101 w 585505"/>
                      <a:gd name="connsiteY12" fmla="*/ 12135 h 342808"/>
                      <a:gd name="connsiteX13" fmla="*/ 9101 w 585505"/>
                      <a:gd name="connsiteY13" fmla="*/ 333708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3" y="342809"/>
                          <a:pt x="0" y="339776"/>
                          <a:pt x="0" y="336742"/>
                        </a:cubicBezTo>
                        <a:lnTo>
                          <a:pt x="0" y="6068"/>
                        </a:lnTo>
                        <a:cubicBezTo>
                          <a:pt x="0" y="3034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8"/>
                        </a:cubicBezTo>
                        <a:lnTo>
                          <a:pt x="585506" y="336742"/>
                        </a:lnTo>
                        <a:cubicBezTo>
                          <a:pt x="585506" y="342809"/>
                          <a:pt x="582472" y="342809"/>
                          <a:pt x="579438" y="342809"/>
                        </a:cubicBezTo>
                        <a:close/>
                        <a:moveTo>
                          <a:pt x="9101" y="333708"/>
                        </a:moveTo>
                        <a:lnTo>
                          <a:pt x="573371" y="333708"/>
                        </a:lnTo>
                        <a:lnTo>
                          <a:pt x="573371" y="12135"/>
                        </a:lnTo>
                        <a:lnTo>
                          <a:pt x="9101" y="12135"/>
                        </a:lnTo>
                        <a:lnTo>
                          <a:pt x="9101" y="333708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70" name="图形 1">
                  <a:extLst>
                    <a:ext uri="{FF2B5EF4-FFF2-40B4-BE49-F238E27FC236}">
                      <a16:creationId xmlns:a16="http://schemas.microsoft.com/office/drawing/2014/main" id="{15A0201C-4CD5-4B9C-B7B1-A5743F7DBF86}"/>
                    </a:ext>
                  </a:extLst>
                </p:cNvPr>
                <p:cNvGrpSpPr/>
                <p:nvPr/>
              </p:nvGrpSpPr>
              <p:grpSpPr>
                <a:xfrm>
                  <a:off x="8718241" y="10503999"/>
                  <a:ext cx="585505" cy="342808"/>
                  <a:chOff x="8718241" y="10503999"/>
                  <a:chExt cx="585505" cy="342808"/>
                </a:xfrm>
              </p:grpSpPr>
              <p:sp>
                <p:nvSpPr>
                  <p:cNvPr id="83" name="任意多边形: 形状 82">
                    <a:extLst>
                      <a:ext uri="{FF2B5EF4-FFF2-40B4-BE49-F238E27FC236}">
                        <a16:creationId xmlns:a16="http://schemas.microsoft.com/office/drawing/2014/main" id="{86D7471B-9724-47C1-A856-ACDCE40FB6BA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8724066" y="10511462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4" name="任意多边形: 形状 83">
                    <a:extLst>
                      <a:ext uri="{FF2B5EF4-FFF2-40B4-BE49-F238E27FC236}">
                        <a16:creationId xmlns:a16="http://schemas.microsoft.com/office/drawing/2014/main" id="{52FE54F3-8D13-44EA-9F5C-8F7D3877DDCE}"/>
                      </a:ext>
                    </a:extLst>
                  </p:cNvPr>
                  <p:cNvSpPr/>
                  <p:nvPr/>
                </p:nvSpPr>
                <p:spPr>
                  <a:xfrm>
                    <a:off x="8718241" y="10503999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2 h 342808"/>
                      <a:gd name="connsiteX3" fmla="*/ 0 w 585505"/>
                      <a:gd name="connsiteY3" fmla="*/ 6067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6 w 585505"/>
                      <a:gd name="connsiteY6" fmla="*/ 6067 h 342808"/>
                      <a:gd name="connsiteX7" fmla="*/ 585506 w 585505"/>
                      <a:gd name="connsiteY7" fmla="*/ 336742 h 342808"/>
                      <a:gd name="connsiteX8" fmla="*/ 579438 w 585505"/>
                      <a:gd name="connsiteY8" fmla="*/ 342809 h 342808"/>
                      <a:gd name="connsiteX9" fmla="*/ 9101 w 585505"/>
                      <a:gd name="connsiteY9" fmla="*/ 330674 h 342808"/>
                      <a:gd name="connsiteX10" fmla="*/ 573371 w 585505"/>
                      <a:gd name="connsiteY10" fmla="*/ 330674 h 342808"/>
                      <a:gd name="connsiteX11" fmla="*/ 573371 w 585505"/>
                      <a:gd name="connsiteY11" fmla="*/ 9101 h 342808"/>
                      <a:gd name="connsiteX12" fmla="*/ 9101 w 585505"/>
                      <a:gd name="connsiteY12" fmla="*/ 9101 h 342808"/>
                      <a:gd name="connsiteX13" fmla="*/ 9101 w 585505"/>
                      <a:gd name="connsiteY13" fmla="*/ 330674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4" y="342809"/>
                          <a:pt x="0" y="339775"/>
                          <a:pt x="0" y="336742"/>
                        </a:cubicBezTo>
                        <a:lnTo>
                          <a:pt x="0" y="6067"/>
                        </a:lnTo>
                        <a:cubicBezTo>
                          <a:pt x="0" y="3034"/>
                          <a:pt x="3034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7"/>
                        </a:cubicBezTo>
                        <a:lnTo>
                          <a:pt x="585506" y="336742"/>
                        </a:lnTo>
                        <a:cubicBezTo>
                          <a:pt x="585506" y="339775"/>
                          <a:pt x="582472" y="342809"/>
                          <a:pt x="579438" y="342809"/>
                        </a:cubicBezTo>
                        <a:close/>
                        <a:moveTo>
                          <a:pt x="9101" y="330674"/>
                        </a:moveTo>
                        <a:lnTo>
                          <a:pt x="573371" y="330674"/>
                        </a:lnTo>
                        <a:lnTo>
                          <a:pt x="573371" y="9101"/>
                        </a:lnTo>
                        <a:lnTo>
                          <a:pt x="9101" y="9101"/>
                        </a:lnTo>
                        <a:lnTo>
                          <a:pt x="9101" y="330674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71" name="图形 1">
                  <a:extLst>
                    <a:ext uri="{FF2B5EF4-FFF2-40B4-BE49-F238E27FC236}">
                      <a16:creationId xmlns:a16="http://schemas.microsoft.com/office/drawing/2014/main" id="{BB57E677-31DB-4A41-95A6-850B66616069}"/>
                    </a:ext>
                  </a:extLst>
                </p:cNvPr>
                <p:cNvGrpSpPr/>
                <p:nvPr/>
              </p:nvGrpSpPr>
              <p:grpSpPr>
                <a:xfrm>
                  <a:off x="8141837" y="10503999"/>
                  <a:ext cx="585505" cy="342808"/>
                  <a:chOff x="8141837" y="10503999"/>
                  <a:chExt cx="585505" cy="342808"/>
                </a:xfrm>
              </p:grpSpPr>
              <p:sp>
                <p:nvSpPr>
                  <p:cNvPr id="81" name="任意多边形: 形状 80">
                    <a:extLst>
                      <a:ext uri="{FF2B5EF4-FFF2-40B4-BE49-F238E27FC236}">
                        <a16:creationId xmlns:a16="http://schemas.microsoft.com/office/drawing/2014/main" id="{A7CEF556-6815-4757-AA41-FC4D92995B79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8147935" y="10511462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0 w 573370"/>
                      <a:gd name="connsiteY1" fmla="*/ 0 h 330674"/>
                      <a:gd name="connsiteX2" fmla="*/ 573370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0" y="0"/>
                        </a:lnTo>
                        <a:lnTo>
                          <a:pt x="573370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2" name="任意多边形: 形状 81">
                    <a:extLst>
                      <a:ext uri="{FF2B5EF4-FFF2-40B4-BE49-F238E27FC236}">
                        <a16:creationId xmlns:a16="http://schemas.microsoft.com/office/drawing/2014/main" id="{B69D82FE-ED59-4D3B-91F9-FFC656286253}"/>
                      </a:ext>
                    </a:extLst>
                  </p:cNvPr>
                  <p:cNvSpPr/>
                  <p:nvPr/>
                </p:nvSpPr>
                <p:spPr>
                  <a:xfrm>
                    <a:off x="8141837" y="10503999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2 h 342808"/>
                      <a:gd name="connsiteX3" fmla="*/ 0 w 585505"/>
                      <a:gd name="connsiteY3" fmla="*/ 6067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6 w 585505"/>
                      <a:gd name="connsiteY6" fmla="*/ 6067 h 342808"/>
                      <a:gd name="connsiteX7" fmla="*/ 585506 w 585505"/>
                      <a:gd name="connsiteY7" fmla="*/ 336742 h 342808"/>
                      <a:gd name="connsiteX8" fmla="*/ 579438 w 585505"/>
                      <a:gd name="connsiteY8" fmla="*/ 342809 h 342808"/>
                      <a:gd name="connsiteX9" fmla="*/ 12135 w 585505"/>
                      <a:gd name="connsiteY9" fmla="*/ 330674 h 342808"/>
                      <a:gd name="connsiteX10" fmla="*/ 576405 w 585505"/>
                      <a:gd name="connsiteY10" fmla="*/ 330674 h 342808"/>
                      <a:gd name="connsiteX11" fmla="*/ 576405 w 585505"/>
                      <a:gd name="connsiteY11" fmla="*/ 9101 h 342808"/>
                      <a:gd name="connsiteX12" fmla="*/ 12135 w 585505"/>
                      <a:gd name="connsiteY12" fmla="*/ 9101 h 342808"/>
                      <a:gd name="connsiteX13" fmla="*/ 12135 w 585505"/>
                      <a:gd name="connsiteY13" fmla="*/ 330674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4" y="342809"/>
                          <a:pt x="0" y="339775"/>
                          <a:pt x="0" y="336742"/>
                        </a:cubicBezTo>
                        <a:lnTo>
                          <a:pt x="0" y="6067"/>
                        </a:lnTo>
                        <a:cubicBezTo>
                          <a:pt x="0" y="3034"/>
                          <a:pt x="3034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7"/>
                        </a:cubicBezTo>
                        <a:lnTo>
                          <a:pt x="585506" y="336742"/>
                        </a:lnTo>
                        <a:cubicBezTo>
                          <a:pt x="585506" y="339775"/>
                          <a:pt x="582472" y="342809"/>
                          <a:pt x="579438" y="342809"/>
                        </a:cubicBezTo>
                        <a:close/>
                        <a:moveTo>
                          <a:pt x="12135" y="330674"/>
                        </a:moveTo>
                        <a:lnTo>
                          <a:pt x="576405" y="330674"/>
                        </a:lnTo>
                        <a:lnTo>
                          <a:pt x="576405" y="9101"/>
                        </a:lnTo>
                        <a:lnTo>
                          <a:pt x="12135" y="9101"/>
                        </a:lnTo>
                        <a:lnTo>
                          <a:pt x="12135" y="330674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72" name="图形 1">
                  <a:extLst>
                    <a:ext uri="{FF2B5EF4-FFF2-40B4-BE49-F238E27FC236}">
                      <a16:creationId xmlns:a16="http://schemas.microsoft.com/office/drawing/2014/main" id="{0854FA29-CE7B-4A16-B815-515A3567E951}"/>
                    </a:ext>
                  </a:extLst>
                </p:cNvPr>
                <p:cNvGrpSpPr/>
                <p:nvPr/>
              </p:nvGrpSpPr>
              <p:grpSpPr>
                <a:xfrm>
                  <a:off x="7568466" y="10503999"/>
                  <a:ext cx="585505" cy="342808"/>
                  <a:chOff x="7568466" y="10503999"/>
                  <a:chExt cx="585505" cy="342808"/>
                </a:xfrm>
              </p:grpSpPr>
              <p:sp>
                <p:nvSpPr>
                  <p:cNvPr id="79" name="任意多边形: 形状 78">
                    <a:extLst>
                      <a:ext uri="{FF2B5EF4-FFF2-40B4-BE49-F238E27FC236}">
                        <a16:creationId xmlns:a16="http://schemas.microsoft.com/office/drawing/2014/main" id="{88D85328-1AE4-460C-9703-652B8110E7FA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7574837" y="10511462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0" name="任意多边形: 形状 79">
                    <a:extLst>
                      <a:ext uri="{FF2B5EF4-FFF2-40B4-BE49-F238E27FC236}">
                        <a16:creationId xmlns:a16="http://schemas.microsoft.com/office/drawing/2014/main" id="{3D576A5A-EBD7-45C7-A4D5-C73FD1BACCD8}"/>
                      </a:ext>
                    </a:extLst>
                  </p:cNvPr>
                  <p:cNvSpPr/>
                  <p:nvPr/>
                </p:nvSpPr>
                <p:spPr>
                  <a:xfrm>
                    <a:off x="7568466" y="10503999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2 h 342808"/>
                      <a:gd name="connsiteX3" fmla="*/ 0 w 585505"/>
                      <a:gd name="connsiteY3" fmla="*/ 6067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6 w 585505"/>
                      <a:gd name="connsiteY6" fmla="*/ 6067 h 342808"/>
                      <a:gd name="connsiteX7" fmla="*/ 585506 w 585505"/>
                      <a:gd name="connsiteY7" fmla="*/ 336742 h 342808"/>
                      <a:gd name="connsiteX8" fmla="*/ 579438 w 585505"/>
                      <a:gd name="connsiteY8" fmla="*/ 342809 h 342808"/>
                      <a:gd name="connsiteX9" fmla="*/ 9101 w 585505"/>
                      <a:gd name="connsiteY9" fmla="*/ 330674 h 342808"/>
                      <a:gd name="connsiteX10" fmla="*/ 573371 w 585505"/>
                      <a:gd name="connsiteY10" fmla="*/ 330674 h 342808"/>
                      <a:gd name="connsiteX11" fmla="*/ 573371 w 585505"/>
                      <a:gd name="connsiteY11" fmla="*/ 9101 h 342808"/>
                      <a:gd name="connsiteX12" fmla="*/ 9101 w 585505"/>
                      <a:gd name="connsiteY12" fmla="*/ 9101 h 342808"/>
                      <a:gd name="connsiteX13" fmla="*/ 9101 w 585505"/>
                      <a:gd name="connsiteY13" fmla="*/ 330674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3" y="342809"/>
                          <a:pt x="0" y="339775"/>
                          <a:pt x="0" y="336742"/>
                        </a:cubicBezTo>
                        <a:lnTo>
                          <a:pt x="0" y="6067"/>
                        </a:lnTo>
                        <a:cubicBezTo>
                          <a:pt x="0" y="3034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7"/>
                        </a:cubicBezTo>
                        <a:lnTo>
                          <a:pt x="585506" y="336742"/>
                        </a:lnTo>
                        <a:cubicBezTo>
                          <a:pt x="585506" y="339775"/>
                          <a:pt x="582472" y="342809"/>
                          <a:pt x="579438" y="342809"/>
                        </a:cubicBezTo>
                        <a:close/>
                        <a:moveTo>
                          <a:pt x="9101" y="330674"/>
                        </a:moveTo>
                        <a:lnTo>
                          <a:pt x="573371" y="330674"/>
                        </a:lnTo>
                        <a:lnTo>
                          <a:pt x="573371" y="9101"/>
                        </a:lnTo>
                        <a:lnTo>
                          <a:pt x="9101" y="9101"/>
                        </a:lnTo>
                        <a:lnTo>
                          <a:pt x="9101" y="330674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73" name="图形 1">
                  <a:extLst>
                    <a:ext uri="{FF2B5EF4-FFF2-40B4-BE49-F238E27FC236}">
                      <a16:creationId xmlns:a16="http://schemas.microsoft.com/office/drawing/2014/main" id="{628C1601-B25C-44F5-9363-85B2D2D7FAE8}"/>
                    </a:ext>
                  </a:extLst>
                </p:cNvPr>
                <p:cNvGrpSpPr/>
                <p:nvPr/>
              </p:nvGrpSpPr>
              <p:grpSpPr>
                <a:xfrm>
                  <a:off x="6992062" y="10503999"/>
                  <a:ext cx="585505" cy="342808"/>
                  <a:chOff x="6992062" y="10503999"/>
                  <a:chExt cx="585505" cy="342808"/>
                </a:xfrm>
              </p:grpSpPr>
              <p:sp>
                <p:nvSpPr>
                  <p:cNvPr id="77" name="任意多边形: 形状 76">
                    <a:extLst>
                      <a:ext uri="{FF2B5EF4-FFF2-40B4-BE49-F238E27FC236}">
                        <a16:creationId xmlns:a16="http://schemas.microsoft.com/office/drawing/2014/main" id="{64AFE61E-80EF-486F-B6D9-9AAADC9A8F95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6998736" y="10511462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78" name="任意多边形: 形状 77">
                    <a:extLst>
                      <a:ext uri="{FF2B5EF4-FFF2-40B4-BE49-F238E27FC236}">
                        <a16:creationId xmlns:a16="http://schemas.microsoft.com/office/drawing/2014/main" id="{6CFD9520-171F-4091-B816-A197FA3BCBE7}"/>
                      </a:ext>
                    </a:extLst>
                  </p:cNvPr>
                  <p:cNvSpPr/>
                  <p:nvPr/>
                </p:nvSpPr>
                <p:spPr>
                  <a:xfrm>
                    <a:off x="6992062" y="10503999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7 w 585505"/>
                      <a:gd name="connsiteY1" fmla="*/ 342809 h 342808"/>
                      <a:gd name="connsiteX2" fmla="*/ 0 w 585505"/>
                      <a:gd name="connsiteY2" fmla="*/ 336742 h 342808"/>
                      <a:gd name="connsiteX3" fmla="*/ 0 w 585505"/>
                      <a:gd name="connsiteY3" fmla="*/ 6067 h 342808"/>
                      <a:gd name="connsiteX4" fmla="*/ 6067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6 w 585505"/>
                      <a:gd name="connsiteY6" fmla="*/ 6067 h 342808"/>
                      <a:gd name="connsiteX7" fmla="*/ 585506 w 585505"/>
                      <a:gd name="connsiteY7" fmla="*/ 336742 h 342808"/>
                      <a:gd name="connsiteX8" fmla="*/ 579438 w 585505"/>
                      <a:gd name="connsiteY8" fmla="*/ 342809 h 342808"/>
                      <a:gd name="connsiteX9" fmla="*/ 12135 w 585505"/>
                      <a:gd name="connsiteY9" fmla="*/ 330674 h 342808"/>
                      <a:gd name="connsiteX10" fmla="*/ 576405 w 585505"/>
                      <a:gd name="connsiteY10" fmla="*/ 330674 h 342808"/>
                      <a:gd name="connsiteX11" fmla="*/ 576405 w 585505"/>
                      <a:gd name="connsiteY11" fmla="*/ 9101 h 342808"/>
                      <a:gd name="connsiteX12" fmla="*/ 12135 w 585505"/>
                      <a:gd name="connsiteY12" fmla="*/ 9101 h 342808"/>
                      <a:gd name="connsiteX13" fmla="*/ 12135 w 585505"/>
                      <a:gd name="connsiteY13" fmla="*/ 330674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7" y="342809"/>
                        </a:lnTo>
                        <a:cubicBezTo>
                          <a:pt x="3033" y="342809"/>
                          <a:pt x="0" y="339775"/>
                          <a:pt x="0" y="336742"/>
                        </a:cubicBezTo>
                        <a:lnTo>
                          <a:pt x="0" y="6067"/>
                        </a:lnTo>
                        <a:cubicBezTo>
                          <a:pt x="0" y="3034"/>
                          <a:pt x="3033" y="0"/>
                          <a:pt x="6067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7"/>
                        </a:cubicBezTo>
                        <a:lnTo>
                          <a:pt x="585506" y="336742"/>
                        </a:lnTo>
                        <a:cubicBezTo>
                          <a:pt x="585506" y="339775"/>
                          <a:pt x="582472" y="342809"/>
                          <a:pt x="579438" y="342809"/>
                        </a:cubicBezTo>
                        <a:close/>
                        <a:moveTo>
                          <a:pt x="12135" y="330674"/>
                        </a:moveTo>
                        <a:lnTo>
                          <a:pt x="576405" y="330674"/>
                        </a:lnTo>
                        <a:lnTo>
                          <a:pt x="576405" y="9101"/>
                        </a:lnTo>
                        <a:lnTo>
                          <a:pt x="12135" y="9101"/>
                        </a:lnTo>
                        <a:lnTo>
                          <a:pt x="12135" y="330674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74" name="图形 1">
                  <a:extLst>
                    <a:ext uri="{FF2B5EF4-FFF2-40B4-BE49-F238E27FC236}">
                      <a16:creationId xmlns:a16="http://schemas.microsoft.com/office/drawing/2014/main" id="{26E15EE3-D2FD-4424-BFE1-5235E4E5426F}"/>
                    </a:ext>
                  </a:extLst>
                </p:cNvPr>
                <p:cNvGrpSpPr/>
                <p:nvPr/>
              </p:nvGrpSpPr>
              <p:grpSpPr>
                <a:xfrm>
                  <a:off x="6418691" y="10503999"/>
                  <a:ext cx="585505" cy="342808"/>
                  <a:chOff x="6418691" y="10503999"/>
                  <a:chExt cx="585505" cy="342808"/>
                </a:xfrm>
              </p:grpSpPr>
              <p:sp>
                <p:nvSpPr>
                  <p:cNvPr id="75" name="任意多边形: 形状 74">
                    <a:extLst>
                      <a:ext uri="{FF2B5EF4-FFF2-40B4-BE49-F238E27FC236}">
                        <a16:creationId xmlns:a16="http://schemas.microsoft.com/office/drawing/2014/main" id="{FAB32310-5168-4ECC-9254-4A0EBA314A31}"/>
                      </a:ext>
                    </a:extLst>
                  </p:cNvPr>
                  <p:cNvSpPr/>
                  <p:nvPr/>
                </p:nvSpPr>
                <p:spPr>
                  <a:xfrm rot="-10800000">
                    <a:off x="6425638" y="10511462"/>
                    <a:ext cx="573370" cy="330674"/>
                  </a:xfrm>
                  <a:custGeom>
                    <a:avLst/>
                    <a:gdLst>
                      <a:gd name="connsiteX0" fmla="*/ 0 w 573370"/>
                      <a:gd name="connsiteY0" fmla="*/ 0 h 330674"/>
                      <a:gd name="connsiteX1" fmla="*/ 573371 w 573370"/>
                      <a:gd name="connsiteY1" fmla="*/ 0 h 330674"/>
                      <a:gd name="connsiteX2" fmla="*/ 573371 w 573370"/>
                      <a:gd name="connsiteY2" fmla="*/ 330674 h 330674"/>
                      <a:gd name="connsiteX3" fmla="*/ 0 w 573370"/>
                      <a:gd name="connsiteY3" fmla="*/ 330674 h 330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73370" h="330674">
                        <a:moveTo>
                          <a:pt x="0" y="0"/>
                        </a:moveTo>
                        <a:lnTo>
                          <a:pt x="573371" y="0"/>
                        </a:lnTo>
                        <a:lnTo>
                          <a:pt x="573371" y="330674"/>
                        </a:lnTo>
                        <a:lnTo>
                          <a:pt x="0" y="330674"/>
                        </a:lnTo>
                        <a:close/>
                      </a:path>
                    </a:pathLst>
                  </a:custGeom>
                  <a:solidFill>
                    <a:srgbClr val="D16156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76" name="任意多边形: 形状 75">
                    <a:extLst>
                      <a:ext uri="{FF2B5EF4-FFF2-40B4-BE49-F238E27FC236}">
                        <a16:creationId xmlns:a16="http://schemas.microsoft.com/office/drawing/2014/main" id="{8328D22E-DA69-40C1-B885-34E854AF855A}"/>
                      </a:ext>
                    </a:extLst>
                  </p:cNvPr>
                  <p:cNvSpPr/>
                  <p:nvPr/>
                </p:nvSpPr>
                <p:spPr>
                  <a:xfrm>
                    <a:off x="6418691" y="10503999"/>
                    <a:ext cx="585505" cy="342808"/>
                  </a:xfrm>
                  <a:custGeom>
                    <a:avLst/>
                    <a:gdLst>
                      <a:gd name="connsiteX0" fmla="*/ 579438 w 585505"/>
                      <a:gd name="connsiteY0" fmla="*/ 342809 h 342808"/>
                      <a:gd name="connsiteX1" fmla="*/ 6068 w 585505"/>
                      <a:gd name="connsiteY1" fmla="*/ 342809 h 342808"/>
                      <a:gd name="connsiteX2" fmla="*/ 0 w 585505"/>
                      <a:gd name="connsiteY2" fmla="*/ 336742 h 342808"/>
                      <a:gd name="connsiteX3" fmla="*/ 0 w 585505"/>
                      <a:gd name="connsiteY3" fmla="*/ 6067 h 342808"/>
                      <a:gd name="connsiteX4" fmla="*/ 6068 w 585505"/>
                      <a:gd name="connsiteY4" fmla="*/ 0 h 342808"/>
                      <a:gd name="connsiteX5" fmla="*/ 579438 w 585505"/>
                      <a:gd name="connsiteY5" fmla="*/ 0 h 342808"/>
                      <a:gd name="connsiteX6" fmla="*/ 585506 w 585505"/>
                      <a:gd name="connsiteY6" fmla="*/ 6067 h 342808"/>
                      <a:gd name="connsiteX7" fmla="*/ 585506 w 585505"/>
                      <a:gd name="connsiteY7" fmla="*/ 336742 h 342808"/>
                      <a:gd name="connsiteX8" fmla="*/ 579438 w 585505"/>
                      <a:gd name="connsiteY8" fmla="*/ 342809 h 342808"/>
                      <a:gd name="connsiteX9" fmla="*/ 9101 w 585505"/>
                      <a:gd name="connsiteY9" fmla="*/ 330674 h 342808"/>
                      <a:gd name="connsiteX10" fmla="*/ 573371 w 585505"/>
                      <a:gd name="connsiteY10" fmla="*/ 330674 h 342808"/>
                      <a:gd name="connsiteX11" fmla="*/ 573371 w 585505"/>
                      <a:gd name="connsiteY11" fmla="*/ 9101 h 342808"/>
                      <a:gd name="connsiteX12" fmla="*/ 9101 w 585505"/>
                      <a:gd name="connsiteY12" fmla="*/ 9101 h 342808"/>
                      <a:gd name="connsiteX13" fmla="*/ 9101 w 585505"/>
                      <a:gd name="connsiteY13" fmla="*/ 330674 h 3428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85505" h="342808">
                        <a:moveTo>
                          <a:pt x="579438" y="342809"/>
                        </a:moveTo>
                        <a:lnTo>
                          <a:pt x="6068" y="342809"/>
                        </a:lnTo>
                        <a:cubicBezTo>
                          <a:pt x="3034" y="342809"/>
                          <a:pt x="0" y="339775"/>
                          <a:pt x="0" y="336742"/>
                        </a:cubicBezTo>
                        <a:lnTo>
                          <a:pt x="0" y="6067"/>
                        </a:lnTo>
                        <a:cubicBezTo>
                          <a:pt x="0" y="3034"/>
                          <a:pt x="3034" y="0"/>
                          <a:pt x="6068" y="0"/>
                        </a:cubicBezTo>
                        <a:lnTo>
                          <a:pt x="579438" y="0"/>
                        </a:lnTo>
                        <a:cubicBezTo>
                          <a:pt x="582472" y="0"/>
                          <a:pt x="585506" y="3034"/>
                          <a:pt x="585506" y="6067"/>
                        </a:cubicBezTo>
                        <a:lnTo>
                          <a:pt x="585506" y="336742"/>
                        </a:lnTo>
                        <a:cubicBezTo>
                          <a:pt x="585506" y="339775"/>
                          <a:pt x="582472" y="342809"/>
                          <a:pt x="579438" y="342809"/>
                        </a:cubicBezTo>
                        <a:close/>
                        <a:moveTo>
                          <a:pt x="9101" y="330674"/>
                        </a:moveTo>
                        <a:lnTo>
                          <a:pt x="573371" y="330674"/>
                        </a:lnTo>
                        <a:lnTo>
                          <a:pt x="573371" y="9101"/>
                        </a:lnTo>
                        <a:lnTo>
                          <a:pt x="9101" y="9101"/>
                        </a:lnTo>
                        <a:lnTo>
                          <a:pt x="9101" y="330674"/>
                        </a:lnTo>
                        <a:close/>
                      </a:path>
                    </a:pathLst>
                  </a:custGeom>
                  <a:solidFill>
                    <a:srgbClr val="D39778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</p:grpSp>
        <p:grpSp>
          <p:nvGrpSpPr>
            <p:cNvPr id="41" name="图形 1">
              <a:extLst>
                <a:ext uri="{FF2B5EF4-FFF2-40B4-BE49-F238E27FC236}">
                  <a16:creationId xmlns:a16="http://schemas.microsoft.com/office/drawing/2014/main" id="{9ED8C886-B7C7-4523-A2A9-82C85AC6F542}"/>
                </a:ext>
              </a:extLst>
            </p:cNvPr>
            <p:cNvGrpSpPr/>
            <p:nvPr/>
          </p:nvGrpSpPr>
          <p:grpSpPr>
            <a:xfrm>
              <a:off x="7613007" y="8446051"/>
              <a:ext cx="546528" cy="848711"/>
              <a:chOff x="7613007" y="8446051"/>
              <a:chExt cx="546528" cy="848711"/>
            </a:xfrm>
          </p:grpSpPr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B051222E-8F90-49E5-A619-254727B252BA}"/>
                  </a:ext>
                </a:extLst>
              </p:cNvPr>
              <p:cNvSpPr/>
              <p:nvPr/>
            </p:nvSpPr>
            <p:spPr>
              <a:xfrm>
                <a:off x="7613007" y="8447297"/>
                <a:ext cx="395661" cy="455456"/>
              </a:xfrm>
              <a:custGeom>
                <a:avLst/>
                <a:gdLst>
                  <a:gd name="connsiteX0" fmla="*/ 395347 w 395661"/>
                  <a:gd name="connsiteY0" fmla="*/ 227376 h 455456"/>
                  <a:gd name="connsiteX1" fmla="*/ 13100 w 395661"/>
                  <a:gd name="connsiteY1" fmla="*/ 2881 h 455456"/>
                  <a:gd name="connsiteX2" fmla="*/ 79841 w 395661"/>
                  <a:gd name="connsiteY2" fmla="*/ 454904 h 455456"/>
                  <a:gd name="connsiteX3" fmla="*/ 395347 w 395661"/>
                  <a:gd name="connsiteY3" fmla="*/ 227376 h 455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661" h="455456">
                    <a:moveTo>
                      <a:pt x="395347" y="227376"/>
                    </a:moveTo>
                    <a:cubicBezTo>
                      <a:pt x="407482" y="190971"/>
                      <a:pt x="64672" y="-27456"/>
                      <a:pt x="13100" y="2881"/>
                    </a:cubicBezTo>
                    <a:cubicBezTo>
                      <a:pt x="-26339" y="27151"/>
                      <a:pt x="31302" y="436701"/>
                      <a:pt x="79841" y="454904"/>
                    </a:cubicBezTo>
                    <a:cubicBezTo>
                      <a:pt x="107145" y="467038"/>
                      <a:pt x="380178" y="275915"/>
                      <a:pt x="395347" y="227376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19CACCFE-236D-4631-9E0A-691529B774C1}"/>
                  </a:ext>
                </a:extLst>
              </p:cNvPr>
              <p:cNvSpPr/>
              <p:nvPr/>
            </p:nvSpPr>
            <p:spPr>
              <a:xfrm>
                <a:off x="7841500" y="8738381"/>
                <a:ext cx="157752" cy="336741"/>
              </a:xfrm>
              <a:custGeom>
                <a:avLst/>
                <a:gdLst>
                  <a:gd name="connsiteX0" fmla="*/ 157753 w 157752"/>
                  <a:gd name="connsiteY0" fmla="*/ 309439 h 336741"/>
                  <a:gd name="connsiteX1" fmla="*/ 100112 w 157752"/>
                  <a:gd name="connsiteY1" fmla="*/ 224495 h 336741"/>
                  <a:gd name="connsiteX2" fmla="*/ 100112 w 157752"/>
                  <a:gd name="connsiteY2" fmla="*/ 215393 h 336741"/>
                  <a:gd name="connsiteX3" fmla="*/ 124382 w 157752"/>
                  <a:gd name="connsiteY3" fmla="*/ 197191 h 336741"/>
                  <a:gd name="connsiteX4" fmla="*/ 148652 w 157752"/>
                  <a:gd name="connsiteY4" fmla="*/ 157753 h 336741"/>
                  <a:gd name="connsiteX5" fmla="*/ 136517 w 157752"/>
                  <a:gd name="connsiteY5" fmla="*/ 112248 h 336741"/>
                  <a:gd name="connsiteX6" fmla="*/ 39438 w 157752"/>
                  <a:gd name="connsiteY6" fmla="*/ 0 h 336741"/>
                  <a:gd name="connsiteX7" fmla="*/ 0 w 157752"/>
                  <a:gd name="connsiteY7" fmla="*/ 33371 h 336741"/>
                  <a:gd name="connsiteX8" fmla="*/ 97079 w 157752"/>
                  <a:gd name="connsiteY8" fmla="*/ 145618 h 336741"/>
                  <a:gd name="connsiteX9" fmla="*/ 97079 w 157752"/>
                  <a:gd name="connsiteY9" fmla="*/ 151685 h 336741"/>
                  <a:gd name="connsiteX10" fmla="*/ 94045 w 157752"/>
                  <a:gd name="connsiteY10" fmla="*/ 154719 h 336741"/>
                  <a:gd name="connsiteX11" fmla="*/ 69775 w 157752"/>
                  <a:gd name="connsiteY11" fmla="*/ 172922 h 336741"/>
                  <a:gd name="connsiteX12" fmla="*/ 54607 w 157752"/>
                  <a:gd name="connsiteY12" fmla="*/ 251798 h 336741"/>
                  <a:gd name="connsiteX13" fmla="*/ 112247 w 157752"/>
                  <a:gd name="connsiteY13" fmla="*/ 336742 h 336741"/>
                  <a:gd name="connsiteX14" fmla="*/ 157753 w 157752"/>
                  <a:gd name="connsiteY14" fmla="*/ 309439 h 336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7752" h="336741">
                    <a:moveTo>
                      <a:pt x="157753" y="309439"/>
                    </a:moveTo>
                    <a:lnTo>
                      <a:pt x="100112" y="224495"/>
                    </a:lnTo>
                    <a:cubicBezTo>
                      <a:pt x="97079" y="221461"/>
                      <a:pt x="100112" y="218427"/>
                      <a:pt x="100112" y="215393"/>
                    </a:cubicBezTo>
                    <a:lnTo>
                      <a:pt x="124382" y="197191"/>
                    </a:lnTo>
                    <a:cubicBezTo>
                      <a:pt x="136517" y="188090"/>
                      <a:pt x="145618" y="172922"/>
                      <a:pt x="148652" y="157753"/>
                    </a:cubicBezTo>
                    <a:cubicBezTo>
                      <a:pt x="151685" y="142585"/>
                      <a:pt x="145618" y="124382"/>
                      <a:pt x="136517" y="112248"/>
                    </a:cubicBezTo>
                    <a:lnTo>
                      <a:pt x="39438" y="0"/>
                    </a:lnTo>
                    <a:lnTo>
                      <a:pt x="0" y="33371"/>
                    </a:lnTo>
                    <a:lnTo>
                      <a:pt x="97079" y="145618"/>
                    </a:lnTo>
                    <a:cubicBezTo>
                      <a:pt x="97079" y="148652"/>
                      <a:pt x="100112" y="148652"/>
                      <a:pt x="97079" y="151685"/>
                    </a:cubicBezTo>
                    <a:cubicBezTo>
                      <a:pt x="97079" y="151685"/>
                      <a:pt x="97079" y="154719"/>
                      <a:pt x="94045" y="154719"/>
                    </a:cubicBezTo>
                    <a:lnTo>
                      <a:pt x="69775" y="172922"/>
                    </a:lnTo>
                    <a:cubicBezTo>
                      <a:pt x="45506" y="191124"/>
                      <a:pt x="39438" y="227528"/>
                      <a:pt x="54607" y="251798"/>
                    </a:cubicBezTo>
                    <a:lnTo>
                      <a:pt x="112247" y="336742"/>
                    </a:lnTo>
                    <a:lnTo>
                      <a:pt x="157753" y="309439"/>
                    </a:ln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C30C30A5-E5BC-428B-A9B8-9657F50D4517}"/>
                  </a:ext>
                </a:extLst>
              </p:cNvPr>
              <p:cNvSpPr/>
              <p:nvPr/>
            </p:nvSpPr>
            <p:spPr>
              <a:xfrm>
                <a:off x="7620373" y="8446051"/>
                <a:ext cx="403445" cy="447601"/>
              </a:xfrm>
              <a:custGeom>
                <a:avLst/>
                <a:gdLst>
                  <a:gd name="connsiteX0" fmla="*/ 403149 w 403445"/>
                  <a:gd name="connsiteY0" fmla="*/ 219521 h 447601"/>
                  <a:gd name="connsiteX1" fmla="*/ 5733 w 403445"/>
                  <a:gd name="connsiteY1" fmla="*/ 4127 h 447601"/>
                  <a:gd name="connsiteX2" fmla="*/ 87643 w 403445"/>
                  <a:gd name="connsiteY2" fmla="*/ 447049 h 447601"/>
                  <a:gd name="connsiteX3" fmla="*/ 403149 w 403445"/>
                  <a:gd name="connsiteY3" fmla="*/ 219521 h 447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3445" h="447601">
                    <a:moveTo>
                      <a:pt x="403149" y="219521"/>
                    </a:moveTo>
                    <a:cubicBezTo>
                      <a:pt x="415284" y="183117"/>
                      <a:pt x="51239" y="-32277"/>
                      <a:pt x="5733" y="4127"/>
                    </a:cubicBezTo>
                    <a:cubicBezTo>
                      <a:pt x="-18537" y="22330"/>
                      <a:pt x="39104" y="428847"/>
                      <a:pt x="87643" y="447049"/>
                    </a:cubicBezTo>
                    <a:cubicBezTo>
                      <a:pt x="117980" y="459184"/>
                      <a:pt x="387981" y="268060"/>
                      <a:pt x="403149" y="219521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E58EC9CD-CCB1-4764-A2CC-9342CE209629}"/>
                  </a:ext>
                </a:extLst>
              </p:cNvPr>
              <p:cNvSpPr/>
              <p:nvPr/>
            </p:nvSpPr>
            <p:spPr>
              <a:xfrm>
                <a:off x="7920880" y="9005851"/>
                <a:ext cx="238655" cy="288911"/>
              </a:xfrm>
              <a:custGeom>
                <a:avLst/>
                <a:gdLst>
                  <a:gd name="connsiteX0" fmla="*/ 196687 w 238655"/>
                  <a:gd name="connsiteY0" fmla="*/ 281631 h 288911"/>
                  <a:gd name="connsiteX1" fmla="*/ 220957 w 238655"/>
                  <a:gd name="connsiteY1" fmla="*/ 263428 h 288911"/>
                  <a:gd name="connsiteX2" fmla="*/ 230058 w 238655"/>
                  <a:gd name="connsiteY2" fmla="*/ 208822 h 288911"/>
                  <a:gd name="connsiteX3" fmla="*/ 96575 w 238655"/>
                  <a:gd name="connsiteY3" fmla="*/ 17698 h 288911"/>
                  <a:gd name="connsiteX4" fmla="*/ 41968 w 238655"/>
                  <a:gd name="connsiteY4" fmla="*/ 8597 h 288911"/>
                  <a:gd name="connsiteX5" fmla="*/ 17698 w 238655"/>
                  <a:gd name="connsiteY5" fmla="*/ 26800 h 288911"/>
                  <a:gd name="connsiteX6" fmla="*/ 8597 w 238655"/>
                  <a:gd name="connsiteY6" fmla="*/ 81406 h 288911"/>
                  <a:gd name="connsiteX7" fmla="*/ 142081 w 238655"/>
                  <a:gd name="connsiteY7" fmla="*/ 272530 h 288911"/>
                  <a:gd name="connsiteX8" fmla="*/ 196687 w 238655"/>
                  <a:gd name="connsiteY8" fmla="*/ 281631 h 288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8655" h="288911">
                    <a:moveTo>
                      <a:pt x="196687" y="281631"/>
                    </a:moveTo>
                    <a:lnTo>
                      <a:pt x="220957" y="263428"/>
                    </a:lnTo>
                    <a:cubicBezTo>
                      <a:pt x="239159" y="251294"/>
                      <a:pt x="245226" y="227024"/>
                      <a:pt x="230058" y="208822"/>
                    </a:cubicBezTo>
                    <a:lnTo>
                      <a:pt x="96575" y="17698"/>
                    </a:lnTo>
                    <a:cubicBezTo>
                      <a:pt x="84440" y="-504"/>
                      <a:pt x="60170" y="-6571"/>
                      <a:pt x="41968" y="8597"/>
                    </a:cubicBezTo>
                    <a:lnTo>
                      <a:pt x="17698" y="26800"/>
                    </a:lnTo>
                    <a:cubicBezTo>
                      <a:pt x="-504" y="38934"/>
                      <a:pt x="-6571" y="63204"/>
                      <a:pt x="8597" y="81406"/>
                    </a:cubicBezTo>
                    <a:lnTo>
                      <a:pt x="142081" y="272530"/>
                    </a:lnTo>
                    <a:cubicBezTo>
                      <a:pt x="154215" y="290732"/>
                      <a:pt x="178485" y="293765"/>
                      <a:pt x="196687" y="281631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2" name="图形 1">
              <a:extLst>
                <a:ext uri="{FF2B5EF4-FFF2-40B4-BE49-F238E27FC236}">
                  <a16:creationId xmlns:a16="http://schemas.microsoft.com/office/drawing/2014/main" id="{CB0A5C43-9C15-4AF3-932D-F053F67F0E85}"/>
                </a:ext>
              </a:extLst>
            </p:cNvPr>
            <p:cNvGrpSpPr/>
            <p:nvPr/>
          </p:nvGrpSpPr>
          <p:grpSpPr>
            <a:xfrm>
              <a:off x="7914309" y="9047819"/>
              <a:ext cx="185349" cy="194157"/>
              <a:chOff x="7914309" y="9047819"/>
              <a:chExt cx="185349" cy="194157"/>
            </a:xfrm>
          </p:grpSpPr>
          <p:grpSp>
            <p:nvGrpSpPr>
              <p:cNvPr id="53" name="图形 1">
                <a:extLst>
                  <a:ext uri="{FF2B5EF4-FFF2-40B4-BE49-F238E27FC236}">
                    <a16:creationId xmlns:a16="http://schemas.microsoft.com/office/drawing/2014/main" id="{1D1B4D25-A953-494C-BF98-AB8CCFCC76B2}"/>
                  </a:ext>
                </a:extLst>
              </p:cNvPr>
              <p:cNvGrpSpPr/>
              <p:nvPr/>
            </p:nvGrpSpPr>
            <p:grpSpPr>
              <a:xfrm>
                <a:off x="7914309" y="9047819"/>
                <a:ext cx="179591" cy="187048"/>
                <a:chOff x="7914309" y="9047819"/>
                <a:chExt cx="179591" cy="187048"/>
              </a:xfrm>
            </p:grpSpPr>
            <p:sp>
              <p:nvSpPr>
                <p:cNvPr id="55" name="任意多边形: 形状 54">
                  <a:extLst>
                    <a:ext uri="{FF2B5EF4-FFF2-40B4-BE49-F238E27FC236}">
                      <a16:creationId xmlns:a16="http://schemas.microsoft.com/office/drawing/2014/main" id="{8E023934-FAEE-45B5-9266-979692C94728}"/>
                    </a:ext>
                  </a:extLst>
                </p:cNvPr>
                <p:cNvSpPr/>
                <p:nvPr/>
              </p:nvSpPr>
              <p:spPr>
                <a:xfrm>
                  <a:off x="7914309" y="9056920"/>
                  <a:ext cx="179591" cy="177948"/>
                </a:xfrm>
                <a:custGeom>
                  <a:avLst/>
                  <a:gdLst>
                    <a:gd name="connsiteX0" fmla="*/ 45506 w 179591"/>
                    <a:gd name="connsiteY0" fmla="*/ 15169 h 177948"/>
                    <a:gd name="connsiteX1" fmla="*/ 51573 w 179591"/>
                    <a:gd name="connsiteY1" fmla="*/ 6068 h 177948"/>
                    <a:gd name="connsiteX2" fmla="*/ 63708 w 179591"/>
                    <a:gd name="connsiteY2" fmla="*/ 0 h 177948"/>
                    <a:gd name="connsiteX3" fmla="*/ 100112 w 179591"/>
                    <a:gd name="connsiteY3" fmla="*/ 24270 h 177948"/>
                    <a:gd name="connsiteX4" fmla="*/ 100112 w 179591"/>
                    <a:gd name="connsiteY4" fmla="*/ 27304 h 177948"/>
                    <a:gd name="connsiteX5" fmla="*/ 103146 w 179591"/>
                    <a:gd name="connsiteY5" fmla="*/ 27304 h 177948"/>
                    <a:gd name="connsiteX6" fmla="*/ 139551 w 179591"/>
                    <a:gd name="connsiteY6" fmla="*/ 51573 h 177948"/>
                    <a:gd name="connsiteX7" fmla="*/ 139551 w 179591"/>
                    <a:gd name="connsiteY7" fmla="*/ 66742 h 177948"/>
                    <a:gd name="connsiteX8" fmla="*/ 157753 w 179591"/>
                    <a:gd name="connsiteY8" fmla="*/ 84944 h 177948"/>
                    <a:gd name="connsiteX9" fmla="*/ 154719 w 179591"/>
                    <a:gd name="connsiteY9" fmla="*/ 106180 h 177948"/>
                    <a:gd name="connsiteX10" fmla="*/ 178989 w 179591"/>
                    <a:gd name="connsiteY10" fmla="*/ 118315 h 177948"/>
                    <a:gd name="connsiteX11" fmla="*/ 166854 w 179591"/>
                    <a:gd name="connsiteY11" fmla="*/ 151685 h 177948"/>
                    <a:gd name="connsiteX12" fmla="*/ 142584 w 179591"/>
                    <a:gd name="connsiteY12" fmla="*/ 172922 h 177948"/>
                    <a:gd name="connsiteX13" fmla="*/ 124382 w 179591"/>
                    <a:gd name="connsiteY13" fmla="*/ 175955 h 177948"/>
                    <a:gd name="connsiteX14" fmla="*/ 100112 w 179591"/>
                    <a:gd name="connsiteY14" fmla="*/ 160787 h 177948"/>
                    <a:gd name="connsiteX15" fmla="*/ 100112 w 179591"/>
                    <a:gd name="connsiteY15" fmla="*/ 160787 h 177948"/>
                    <a:gd name="connsiteX16" fmla="*/ 94045 w 179591"/>
                    <a:gd name="connsiteY16" fmla="*/ 160787 h 177948"/>
                    <a:gd name="connsiteX17" fmla="*/ 75843 w 179591"/>
                    <a:gd name="connsiteY17" fmla="*/ 133483 h 177948"/>
                    <a:gd name="connsiteX18" fmla="*/ 60674 w 179591"/>
                    <a:gd name="connsiteY18" fmla="*/ 133483 h 177948"/>
                    <a:gd name="connsiteX19" fmla="*/ 39438 w 179591"/>
                    <a:gd name="connsiteY19" fmla="*/ 106180 h 177948"/>
                    <a:gd name="connsiteX20" fmla="*/ 21236 w 179591"/>
                    <a:gd name="connsiteY20" fmla="*/ 109214 h 177948"/>
                    <a:gd name="connsiteX21" fmla="*/ 0 w 179591"/>
                    <a:gd name="connsiteY21" fmla="*/ 78877 h 177948"/>
                    <a:gd name="connsiteX22" fmla="*/ 45506 w 179591"/>
                    <a:gd name="connsiteY22" fmla="*/ 15169 h 177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79591" h="177948">
                      <a:moveTo>
                        <a:pt x="45506" y="15169"/>
                      </a:moveTo>
                      <a:cubicBezTo>
                        <a:pt x="48540" y="12135"/>
                        <a:pt x="51573" y="6068"/>
                        <a:pt x="51573" y="6068"/>
                      </a:cubicBezTo>
                      <a:cubicBezTo>
                        <a:pt x="54607" y="3034"/>
                        <a:pt x="57641" y="3034"/>
                        <a:pt x="63708" y="0"/>
                      </a:cubicBezTo>
                      <a:cubicBezTo>
                        <a:pt x="75843" y="0"/>
                        <a:pt x="91011" y="9101"/>
                        <a:pt x="100112" y="24270"/>
                      </a:cubicBezTo>
                      <a:cubicBezTo>
                        <a:pt x="100112" y="24270"/>
                        <a:pt x="100112" y="27304"/>
                        <a:pt x="100112" y="27304"/>
                      </a:cubicBezTo>
                      <a:cubicBezTo>
                        <a:pt x="100112" y="27304"/>
                        <a:pt x="103146" y="27304"/>
                        <a:pt x="103146" y="27304"/>
                      </a:cubicBezTo>
                      <a:cubicBezTo>
                        <a:pt x="115281" y="27304"/>
                        <a:pt x="130450" y="36405"/>
                        <a:pt x="139551" y="51573"/>
                      </a:cubicBezTo>
                      <a:cubicBezTo>
                        <a:pt x="142584" y="57641"/>
                        <a:pt x="142584" y="63708"/>
                        <a:pt x="139551" y="66742"/>
                      </a:cubicBezTo>
                      <a:cubicBezTo>
                        <a:pt x="145618" y="69775"/>
                        <a:pt x="154719" y="75843"/>
                        <a:pt x="157753" y="84944"/>
                      </a:cubicBezTo>
                      <a:cubicBezTo>
                        <a:pt x="160787" y="94045"/>
                        <a:pt x="157753" y="100112"/>
                        <a:pt x="154719" y="106180"/>
                      </a:cubicBezTo>
                      <a:cubicBezTo>
                        <a:pt x="163821" y="106180"/>
                        <a:pt x="175955" y="109214"/>
                        <a:pt x="178989" y="118315"/>
                      </a:cubicBezTo>
                      <a:cubicBezTo>
                        <a:pt x="182022" y="130450"/>
                        <a:pt x="172921" y="145618"/>
                        <a:pt x="166854" y="151685"/>
                      </a:cubicBezTo>
                      <a:cubicBezTo>
                        <a:pt x="160787" y="160787"/>
                        <a:pt x="148652" y="166854"/>
                        <a:pt x="142584" y="172922"/>
                      </a:cubicBezTo>
                      <a:cubicBezTo>
                        <a:pt x="136517" y="178989"/>
                        <a:pt x="133483" y="178989"/>
                        <a:pt x="124382" y="175955"/>
                      </a:cubicBezTo>
                      <a:cubicBezTo>
                        <a:pt x="115281" y="172922"/>
                        <a:pt x="100112" y="166854"/>
                        <a:pt x="100112" y="160787"/>
                      </a:cubicBezTo>
                      <a:cubicBezTo>
                        <a:pt x="100112" y="160787"/>
                        <a:pt x="100112" y="160787"/>
                        <a:pt x="100112" y="160787"/>
                      </a:cubicBezTo>
                      <a:cubicBezTo>
                        <a:pt x="97079" y="160787"/>
                        <a:pt x="97079" y="160787"/>
                        <a:pt x="94045" y="160787"/>
                      </a:cubicBezTo>
                      <a:cubicBezTo>
                        <a:pt x="81910" y="157753"/>
                        <a:pt x="78877" y="145618"/>
                        <a:pt x="75843" y="133483"/>
                      </a:cubicBezTo>
                      <a:cubicBezTo>
                        <a:pt x="72809" y="133483"/>
                        <a:pt x="66741" y="136517"/>
                        <a:pt x="60674" y="133483"/>
                      </a:cubicBezTo>
                      <a:cubicBezTo>
                        <a:pt x="48540" y="127416"/>
                        <a:pt x="42472" y="118315"/>
                        <a:pt x="39438" y="106180"/>
                      </a:cubicBezTo>
                      <a:cubicBezTo>
                        <a:pt x="33371" y="109214"/>
                        <a:pt x="27304" y="112248"/>
                        <a:pt x="21236" y="109214"/>
                      </a:cubicBezTo>
                      <a:cubicBezTo>
                        <a:pt x="6067" y="103146"/>
                        <a:pt x="0" y="87978"/>
                        <a:pt x="0" y="78877"/>
                      </a:cubicBezTo>
                      <a:cubicBezTo>
                        <a:pt x="3034" y="51573"/>
                        <a:pt x="27304" y="36405"/>
                        <a:pt x="45506" y="15169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6" name="任意多边形: 形状 55">
                  <a:extLst>
                    <a:ext uri="{FF2B5EF4-FFF2-40B4-BE49-F238E27FC236}">
                      <a16:creationId xmlns:a16="http://schemas.microsoft.com/office/drawing/2014/main" id="{45C503CE-7446-4CC7-9059-B3FA2C37144A}"/>
                    </a:ext>
                  </a:extLst>
                </p:cNvPr>
                <p:cNvSpPr/>
                <p:nvPr/>
              </p:nvSpPr>
              <p:spPr>
                <a:xfrm>
                  <a:off x="7921135" y="9047819"/>
                  <a:ext cx="132866" cy="145617"/>
                </a:xfrm>
                <a:custGeom>
                  <a:avLst/>
                  <a:gdLst>
                    <a:gd name="connsiteX0" fmla="*/ 53848 w 132866"/>
                    <a:gd name="connsiteY0" fmla="*/ 145618 h 145617"/>
                    <a:gd name="connsiteX1" fmla="*/ 35646 w 132866"/>
                    <a:gd name="connsiteY1" fmla="*/ 136517 h 145617"/>
                    <a:gd name="connsiteX2" fmla="*/ 23511 w 132866"/>
                    <a:gd name="connsiteY2" fmla="*/ 115281 h 145617"/>
                    <a:gd name="connsiteX3" fmla="*/ 26545 w 132866"/>
                    <a:gd name="connsiteY3" fmla="*/ 106180 h 145617"/>
                    <a:gd name="connsiteX4" fmla="*/ 75084 w 132866"/>
                    <a:gd name="connsiteY4" fmla="*/ 21236 h 145617"/>
                    <a:gd name="connsiteX5" fmla="*/ 65983 w 132866"/>
                    <a:gd name="connsiteY5" fmla="*/ 15169 h 145617"/>
                    <a:gd name="connsiteX6" fmla="*/ 65983 w 132866"/>
                    <a:gd name="connsiteY6" fmla="*/ 15169 h 145617"/>
                    <a:gd name="connsiteX7" fmla="*/ 11377 w 132866"/>
                    <a:gd name="connsiteY7" fmla="*/ 60674 h 145617"/>
                    <a:gd name="connsiteX8" fmla="*/ 2275 w 132866"/>
                    <a:gd name="connsiteY8" fmla="*/ 60674 h 145617"/>
                    <a:gd name="connsiteX9" fmla="*/ 2275 w 132866"/>
                    <a:gd name="connsiteY9" fmla="*/ 51573 h 145617"/>
                    <a:gd name="connsiteX10" fmla="*/ 65983 w 132866"/>
                    <a:gd name="connsiteY10" fmla="*/ 0 h 145617"/>
                    <a:gd name="connsiteX11" fmla="*/ 65983 w 132866"/>
                    <a:gd name="connsiteY11" fmla="*/ 0 h 145617"/>
                    <a:gd name="connsiteX12" fmla="*/ 84185 w 132866"/>
                    <a:gd name="connsiteY12" fmla="*/ 9101 h 145617"/>
                    <a:gd name="connsiteX13" fmla="*/ 90253 w 132866"/>
                    <a:gd name="connsiteY13" fmla="*/ 21236 h 145617"/>
                    <a:gd name="connsiteX14" fmla="*/ 126658 w 132866"/>
                    <a:gd name="connsiteY14" fmla="*/ 39438 h 145617"/>
                    <a:gd name="connsiteX15" fmla="*/ 108455 w 132866"/>
                    <a:gd name="connsiteY15" fmla="*/ 97079 h 145617"/>
                    <a:gd name="connsiteX16" fmla="*/ 53848 w 132866"/>
                    <a:gd name="connsiteY16" fmla="*/ 145618 h 145617"/>
                    <a:gd name="connsiteX17" fmla="*/ 53848 w 132866"/>
                    <a:gd name="connsiteY17" fmla="*/ 145618 h 145617"/>
                    <a:gd name="connsiteX18" fmla="*/ 96321 w 132866"/>
                    <a:gd name="connsiteY18" fmla="*/ 39438 h 145617"/>
                    <a:gd name="connsiteX19" fmla="*/ 35646 w 132866"/>
                    <a:gd name="connsiteY19" fmla="*/ 115281 h 145617"/>
                    <a:gd name="connsiteX20" fmla="*/ 41714 w 132866"/>
                    <a:gd name="connsiteY20" fmla="*/ 127416 h 145617"/>
                    <a:gd name="connsiteX21" fmla="*/ 53848 w 132866"/>
                    <a:gd name="connsiteY21" fmla="*/ 130449 h 145617"/>
                    <a:gd name="connsiteX22" fmla="*/ 102388 w 132866"/>
                    <a:gd name="connsiteY22" fmla="*/ 94045 h 145617"/>
                    <a:gd name="connsiteX23" fmla="*/ 120590 w 132866"/>
                    <a:gd name="connsiteY23" fmla="*/ 48539 h 145617"/>
                    <a:gd name="connsiteX24" fmla="*/ 96321 w 132866"/>
                    <a:gd name="connsiteY24" fmla="*/ 39438 h 145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32866" h="145617">
                      <a:moveTo>
                        <a:pt x="53848" y="145618"/>
                      </a:moveTo>
                      <a:cubicBezTo>
                        <a:pt x="47781" y="145618"/>
                        <a:pt x="38680" y="142584"/>
                        <a:pt x="35646" y="136517"/>
                      </a:cubicBezTo>
                      <a:cubicBezTo>
                        <a:pt x="26545" y="130449"/>
                        <a:pt x="23511" y="121348"/>
                        <a:pt x="23511" y="115281"/>
                      </a:cubicBezTo>
                      <a:cubicBezTo>
                        <a:pt x="23511" y="109213"/>
                        <a:pt x="26545" y="106180"/>
                        <a:pt x="26545" y="106180"/>
                      </a:cubicBezTo>
                      <a:cubicBezTo>
                        <a:pt x="96321" y="51573"/>
                        <a:pt x="84185" y="33371"/>
                        <a:pt x="75084" y="21236"/>
                      </a:cubicBezTo>
                      <a:cubicBezTo>
                        <a:pt x="72051" y="18202"/>
                        <a:pt x="69017" y="15169"/>
                        <a:pt x="65983" y="15169"/>
                      </a:cubicBezTo>
                      <a:lnTo>
                        <a:pt x="65983" y="15169"/>
                      </a:lnTo>
                      <a:cubicBezTo>
                        <a:pt x="50815" y="15169"/>
                        <a:pt x="23511" y="42472"/>
                        <a:pt x="11377" y="60674"/>
                      </a:cubicBezTo>
                      <a:cubicBezTo>
                        <a:pt x="8343" y="63708"/>
                        <a:pt x="5309" y="63708"/>
                        <a:pt x="2275" y="60674"/>
                      </a:cubicBezTo>
                      <a:cubicBezTo>
                        <a:pt x="-758" y="57640"/>
                        <a:pt x="-758" y="54606"/>
                        <a:pt x="2275" y="51573"/>
                      </a:cubicBezTo>
                      <a:cubicBezTo>
                        <a:pt x="5309" y="45506"/>
                        <a:pt x="38680" y="0"/>
                        <a:pt x="65983" y="0"/>
                      </a:cubicBezTo>
                      <a:cubicBezTo>
                        <a:pt x="65983" y="0"/>
                        <a:pt x="65983" y="0"/>
                        <a:pt x="65983" y="0"/>
                      </a:cubicBezTo>
                      <a:cubicBezTo>
                        <a:pt x="75084" y="0"/>
                        <a:pt x="81152" y="3033"/>
                        <a:pt x="84185" y="9101"/>
                      </a:cubicBezTo>
                      <a:cubicBezTo>
                        <a:pt x="87219" y="12135"/>
                        <a:pt x="90253" y="15169"/>
                        <a:pt x="90253" y="21236"/>
                      </a:cubicBezTo>
                      <a:cubicBezTo>
                        <a:pt x="93287" y="21236"/>
                        <a:pt x="117556" y="24269"/>
                        <a:pt x="126658" y="39438"/>
                      </a:cubicBezTo>
                      <a:cubicBezTo>
                        <a:pt x="141826" y="57640"/>
                        <a:pt x="126658" y="75843"/>
                        <a:pt x="108455" y="97079"/>
                      </a:cubicBezTo>
                      <a:cubicBezTo>
                        <a:pt x="90253" y="130449"/>
                        <a:pt x="72051" y="142584"/>
                        <a:pt x="53848" y="145618"/>
                      </a:cubicBezTo>
                      <a:cubicBezTo>
                        <a:pt x="56882" y="145618"/>
                        <a:pt x="53848" y="145618"/>
                        <a:pt x="53848" y="145618"/>
                      </a:cubicBezTo>
                      <a:close/>
                      <a:moveTo>
                        <a:pt x="96321" y="39438"/>
                      </a:moveTo>
                      <a:cubicBezTo>
                        <a:pt x="96321" y="57640"/>
                        <a:pt x="81152" y="78876"/>
                        <a:pt x="35646" y="115281"/>
                      </a:cubicBezTo>
                      <a:cubicBezTo>
                        <a:pt x="35646" y="115281"/>
                        <a:pt x="35646" y="121348"/>
                        <a:pt x="41714" y="127416"/>
                      </a:cubicBezTo>
                      <a:cubicBezTo>
                        <a:pt x="44747" y="130449"/>
                        <a:pt x="50815" y="133483"/>
                        <a:pt x="53848" y="130449"/>
                      </a:cubicBezTo>
                      <a:cubicBezTo>
                        <a:pt x="59916" y="130449"/>
                        <a:pt x="78118" y="124382"/>
                        <a:pt x="102388" y="94045"/>
                      </a:cubicBezTo>
                      <a:cubicBezTo>
                        <a:pt x="123624" y="69775"/>
                        <a:pt x="126658" y="60674"/>
                        <a:pt x="120590" y="48539"/>
                      </a:cubicBezTo>
                      <a:cubicBezTo>
                        <a:pt x="114523" y="45506"/>
                        <a:pt x="102388" y="42472"/>
                        <a:pt x="96321" y="39438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7B8E3D47-FC5D-430F-90BE-4872E4FCCE24}"/>
                    </a:ext>
                  </a:extLst>
                </p:cNvPr>
                <p:cNvSpPr/>
                <p:nvPr/>
              </p:nvSpPr>
              <p:spPr>
                <a:xfrm>
                  <a:off x="7980455" y="9114561"/>
                  <a:ext cx="101964" cy="109213"/>
                </a:xfrm>
                <a:custGeom>
                  <a:avLst/>
                  <a:gdLst>
                    <a:gd name="connsiteX0" fmla="*/ 27899 w 101964"/>
                    <a:gd name="connsiteY0" fmla="*/ 109213 h 109213"/>
                    <a:gd name="connsiteX1" fmla="*/ 15764 w 101964"/>
                    <a:gd name="connsiteY1" fmla="*/ 106180 h 109213"/>
                    <a:gd name="connsiteX2" fmla="*/ 595 w 101964"/>
                    <a:gd name="connsiteY2" fmla="*/ 75843 h 109213"/>
                    <a:gd name="connsiteX3" fmla="*/ 6663 w 101964"/>
                    <a:gd name="connsiteY3" fmla="*/ 69775 h 109213"/>
                    <a:gd name="connsiteX4" fmla="*/ 6663 w 101964"/>
                    <a:gd name="connsiteY4" fmla="*/ 69775 h 109213"/>
                    <a:gd name="connsiteX5" fmla="*/ 12730 w 101964"/>
                    <a:gd name="connsiteY5" fmla="*/ 75843 h 109213"/>
                    <a:gd name="connsiteX6" fmla="*/ 24865 w 101964"/>
                    <a:gd name="connsiteY6" fmla="*/ 97079 h 109213"/>
                    <a:gd name="connsiteX7" fmla="*/ 30932 w 101964"/>
                    <a:gd name="connsiteY7" fmla="*/ 100112 h 109213"/>
                    <a:gd name="connsiteX8" fmla="*/ 85539 w 101964"/>
                    <a:gd name="connsiteY8" fmla="*/ 48539 h 109213"/>
                    <a:gd name="connsiteX9" fmla="*/ 88573 w 101964"/>
                    <a:gd name="connsiteY9" fmla="*/ 30337 h 109213"/>
                    <a:gd name="connsiteX10" fmla="*/ 70370 w 101964"/>
                    <a:gd name="connsiteY10" fmla="*/ 12135 h 109213"/>
                    <a:gd name="connsiteX11" fmla="*/ 67337 w 101964"/>
                    <a:gd name="connsiteY11" fmla="*/ 3033 h 109213"/>
                    <a:gd name="connsiteX12" fmla="*/ 76438 w 101964"/>
                    <a:gd name="connsiteY12" fmla="*/ 0 h 109213"/>
                    <a:gd name="connsiteX13" fmla="*/ 100707 w 101964"/>
                    <a:gd name="connsiteY13" fmla="*/ 24270 h 109213"/>
                    <a:gd name="connsiteX14" fmla="*/ 97674 w 101964"/>
                    <a:gd name="connsiteY14" fmla="*/ 51573 h 109213"/>
                    <a:gd name="connsiteX15" fmla="*/ 37000 w 101964"/>
                    <a:gd name="connsiteY15" fmla="*/ 109213 h 109213"/>
                    <a:gd name="connsiteX16" fmla="*/ 27899 w 101964"/>
                    <a:gd name="connsiteY16" fmla="*/ 109213 h 109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01964" h="109213">
                      <a:moveTo>
                        <a:pt x="27899" y="109213"/>
                      </a:moveTo>
                      <a:cubicBezTo>
                        <a:pt x="24865" y="109213"/>
                        <a:pt x="21831" y="109213"/>
                        <a:pt x="15764" y="106180"/>
                      </a:cubicBezTo>
                      <a:cubicBezTo>
                        <a:pt x="6663" y="100112"/>
                        <a:pt x="-2438" y="84944"/>
                        <a:pt x="595" y="75843"/>
                      </a:cubicBezTo>
                      <a:cubicBezTo>
                        <a:pt x="595" y="72809"/>
                        <a:pt x="3629" y="69775"/>
                        <a:pt x="6663" y="69775"/>
                      </a:cubicBezTo>
                      <a:cubicBezTo>
                        <a:pt x="6663" y="69775"/>
                        <a:pt x="6663" y="69775"/>
                        <a:pt x="6663" y="69775"/>
                      </a:cubicBezTo>
                      <a:cubicBezTo>
                        <a:pt x="9696" y="69775"/>
                        <a:pt x="12730" y="72809"/>
                        <a:pt x="12730" y="75843"/>
                      </a:cubicBezTo>
                      <a:cubicBezTo>
                        <a:pt x="12730" y="78876"/>
                        <a:pt x="18797" y="91011"/>
                        <a:pt x="24865" y="97079"/>
                      </a:cubicBezTo>
                      <a:cubicBezTo>
                        <a:pt x="24865" y="97079"/>
                        <a:pt x="27899" y="100112"/>
                        <a:pt x="30932" y="100112"/>
                      </a:cubicBezTo>
                      <a:cubicBezTo>
                        <a:pt x="40033" y="97079"/>
                        <a:pt x="67337" y="75843"/>
                        <a:pt x="85539" y="48539"/>
                      </a:cubicBezTo>
                      <a:cubicBezTo>
                        <a:pt x="88573" y="42472"/>
                        <a:pt x="91606" y="36404"/>
                        <a:pt x="88573" y="30337"/>
                      </a:cubicBezTo>
                      <a:cubicBezTo>
                        <a:pt x="85539" y="18202"/>
                        <a:pt x="70370" y="12135"/>
                        <a:pt x="70370" y="12135"/>
                      </a:cubicBezTo>
                      <a:cubicBezTo>
                        <a:pt x="67337" y="12135"/>
                        <a:pt x="67337" y="6067"/>
                        <a:pt x="67337" y="3033"/>
                      </a:cubicBezTo>
                      <a:cubicBezTo>
                        <a:pt x="67337" y="0"/>
                        <a:pt x="73404" y="0"/>
                        <a:pt x="76438" y="0"/>
                      </a:cubicBezTo>
                      <a:cubicBezTo>
                        <a:pt x="76438" y="0"/>
                        <a:pt x="94640" y="9101"/>
                        <a:pt x="100707" y="24270"/>
                      </a:cubicBezTo>
                      <a:cubicBezTo>
                        <a:pt x="103741" y="33371"/>
                        <a:pt x="100707" y="42472"/>
                        <a:pt x="97674" y="51573"/>
                      </a:cubicBezTo>
                      <a:cubicBezTo>
                        <a:pt x="82505" y="78876"/>
                        <a:pt x="52168" y="106180"/>
                        <a:pt x="37000" y="109213"/>
                      </a:cubicBezTo>
                      <a:cubicBezTo>
                        <a:pt x="30932" y="109213"/>
                        <a:pt x="30932" y="109213"/>
                        <a:pt x="27899" y="10921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3EC81D70-880F-444A-A152-BC47282CCCA2}"/>
                  </a:ext>
                </a:extLst>
              </p:cNvPr>
              <p:cNvSpPr/>
              <p:nvPr/>
            </p:nvSpPr>
            <p:spPr>
              <a:xfrm>
                <a:off x="8005320" y="9150965"/>
                <a:ext cx="94338" cy="91011"/>
              </a:xfrm>
              <a:custGeom>
                <a:avLst/>
                <a:gdLst>
                  <a:gd name="connsiteX0" fmla="*/ 30337 w 94338"/>
                  <a:gd name="connsiteY0" fmla="*/ 91011 h 91011"/>
                  <a:gd name="connsiteX1" fmla="*/ 27304 w 94338"/>
                  <a:gd name="connsiteY1" fmla="*/ 91011 h 91011"/>
                  <a:gd name="connsiteX2" fmla="*/ 0 w 94338"/>
                  <a:gd name="connsiteY2" fmla="*/ 66741 h 91011"/>
                  <a:gd name="connsiteX3" fmla="*/ 3034 w 94338"/>
                  <a:gd name="connsiteY3" fmla="*/ 57640 h 91011"/>
                  <a:gd name="connsiteX4" fmla="*/ 12135 w 94338"/>
                  <a:gd name="connsiteY4" fmla="*/ 60674 h 91011"/>
                  <a:gd name="connsiteX5" fmla="*/ 30337 w 94338"/>
                  <a:gd name="connsiteY5" fmla="*/ 75843 h 91011"/>
                  <a:gd name="connsiteX6" fmla="*/ 51573 w 94338"/>
                  <a:gd name="connsiteY6" fmla="*/ 66741 h 91011"/>
                  <a:gd name="connsiteX7" fmla="*/ 84944 w 94338"/>
                  <a:gd name="connsiteY7" fmla="*/ 30337 h 91011"/>
                  <a:gd name="connsiteX8" fmla="*/ 63708 w 94338"/>
                  <a:gd name="connsiteY8" fmla="*/ 12135 h 91011"/>
                  <a:gd name="connsiteX9" fmla="*/ 57641 w 94338"/>
                  <a:gd name="connsiteY9" fmla="*/ 6067 h 91011"/>
                  <a:gd name="connsiteX10" fmla="*/ 63708 w 94338"/>
                  <a:gd name="connsiteY10" fmla="*/ 0 h 91011"/>
                  <a:gd name="connsiteX11" fmla="*/ 94045 w 94338"/>
                  <a:gd name="connsiteY11" fmla="*/ 30337 h 91011"/>
                  <a:gd name="connsiteX12" fmla="*/ 54607 w 94338"/>
                  <a:gd name="connsiteY12" fmla="*/ 75843 h 91011"/>
                  <a:gd name="connsiteX13" fmla="*/ 30337 w 94338"/>
                  <a:gd name="connsiteY13" fmla="*/ 91011 h 91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4338" h="91011">
                    <a:moveTo>
                      <a:pt x="30337" y="91011"/>
                    </a:moveTo>
                    <a:cubicBezTo>
                      <a:pt x="30337" y="91011"/>
                      <a:pt x="27304" y="91011"/>
                      <a:pt x="27304" y="91011"/>
                    </a:cubicBezTo>
                    <a:cubicBezTo>
                      <a:pt x="6067" y="87977"/>
                      <a:pt x="0" y="69775"/>
                      <a:pt x="0" y="66741"/>
                    </a:cubicBezTo>
                    <a:cubicBezTo>
                      <a:pt x="0" y="63708"/>
                      <a:pt x="0" y="60674"/>
                      <a:pt x="3034" y="57640"/>
                    </a:cubicBezTo>
                    <a:cubicBezTo>
                      <a:pt x="6067" y="57640"/>
                      <a:pt x="9101" y="57640"/>
                      <a:pt x="12135" y="60674"/>
                    </a:cubicBezTo>
                    <a:cubicBezTo>
                      <a:pt x="12135" y="60674"/>
                      <a:pt x="18202" y="72809"/>
                      <a:pt x="30337" y="75843"/>
                    </a:cubicBezTo>
                    <a:cubicBezTo>
                      <a:pt x="33371" y="75843"/>
                      <a:pt x="39438" y="75843"/>
                      <a:pt x="51573" y="66741"/>
                    </a:cubicBezTo>
                    <a:cubicBezTo>
                      <a:pt x="69775" y="54607"/>
                      <a:pt x="84944" y="36404"/>
                      <a:pt x="84944" y="30337"/>
                    </a:cubicBezTo>
                    <a:cubicBezTo>
                      <a:pt x="87978" y="15169"/>
                      <a:pt x="63708" y="12135"/>
                      <a:pt x="63708" y="12135"/>
                    </a:cubicBezTo>
                    <a:cubicBezTo>
                      <a:pt x="60674" y="12135"/>
                      <a:pt x="57641" y="9101"/>
                      <a:pt x="57641" y="6067"/>
                    </a:cubicBezTo>
                    <a:cubicBezTo>
                      <a:pt x="57641" y="3034"/>
                      <a:pt x="60674" y="0"/>
                      <a:pt x="63708" y="0"/>
                    </a:cubicBezTo>
                    <a:cubicBezTo>
                      <a:pt x="75843" y="0"/>
                      <a:pt x="97079" y="9101"/>
                      <a:pt x="94045" y="30337"/>
                    </a:cubicBezTo>
                    <a:cubicBezTo>
                      <a:pt x="94045" y="42472"/>
                      <a:pt x="69775" y="63708"/>
                      <a:pt x="54607" y="75843"/>
                    </a:cubicBezTo>
                    <a:cubicBezTo>
                      <a:pt x="48540" y="87977"/>
                      <a:pt x="39438" y="91011"/>
                      <a:pt x="30337" y="9101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F9AEB31A-ED11-40FD-9C84-978E2EB176E7}"/>
                </a:ext>
              </a:extLst>
            </p:cNvPr>
            <p:cNvGrpSpPr/>
            <p:nvPr/>
          </p:nvGrpSpPr>
          <p:grpSpPr>
            <a:xfrm>
              <a:off x="8624955" y="9188128"/>
              <a:ext cx="653763" cy="654522"/>
              <a:chOff x="8624955" y="9188128"/>
              <a:chExt cx="653763" cy="654522"/>
            </a:xfrm>
          </p:grpSpPr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8402C737-E72E-47C7-8FE7-3DE59BB1D284}"/>
                  </a:ext>
                </a:extLst>
              </p:cNvPr>
              <p:cNvSpPr/>
              <p:nvPr/>
            </p:nvSpPr>
            <p:spPr>
              <a:xfrm rot="8100000">
                <a:off x="8663048" y="9349475"/>
                <a:ext cx="573365" cy="330670"/>
              </a:xfrm>
              <a:custGeom>
                <a:avLst/>
                <a:gdLst>
                  <a:gd name="connsiteX0" fmla="*/ 0 w 573365"/>
                  <a:gd name="connsiteY0" fmla="*/ 0 h 330670"/>
                  <a:gd name="connsiteX1" fmla="*/ 573365 w 573365"/>
                  <a:gd name="connsiteY1" fmla="*/ 0 h 330670"/>
                  <a:gd name="connsiteX2" fmla="*/ 573365 w 573365"/>
                  <a:gd name="connsiteY2" fmla="*/ 330671 h 330670"/>
                  <a:gd name="connsiteX3" fmla="*/ 0 w 573365"/>
                  <a:gd name="connsiteY3" fmla="*/ 330671 h 330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365" h="330670">
                    <a:moveTo>
                      <a:pt x="0" y="0"/>
                    </a:moveTo>
                    <a:lnTo>
                      <a:pt x="573365" y="0"/>
                    </a:lnTo>
                    <a:lnTo>
                      <a:pt x="573365" y="330671"/>
                    </a:lnTo>
                    <a:lnTo>
                      <a:pt x="0" y="330671"/>
                    </a:lnTo>
                    <a:close/>
                  </a:path>
                </a:pathLst>
              </a:custGeom>
              <a:solidFill>
                <a:srgbClr val="D16156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475C5F9F-D8E9-4528-AC83-FCBFDC7C4268}"/>
                  </a:ext>
                </a:extLst>
              </p:cNvPr>
              <p:cNvSpPr/>
              <p:nvPr/>
            </p:nvSpPr>
            <p:spPr>
              <a:xfrm>
                <a:off x="8624955" y="9188128"/>
                <a:ext cx="653763" cy="654522"/>
              </a:xfrm>
              <a:custGeom>
                <a:avLst/>
                <a:gdLst>
                  <a:gd name="connsiteX0" fmla="*/ 238904 w 653763"/>
                  <a:gd name="connsiteY0" fmla="*/ 654522 h 654522"/>
                  <a:gd name="connsiteX1" fmla="*/ 235870 w 653763"/>
                  <a:gd name="connsiteY1" fmla="*/ 651489 h 654522"/>
                  <a:gd name="connsiteX2" fmla="*/ 2275 w 653763"/>
                  <a:gd name="connsiteY2" fmla="*/ 417893 h 654522"/>
                  <a:gd name="connsiteX3" fmla="*/ 2275 w 653763"/>
                  <a:gd name="connsiteY3" fmla="*/ 408793 h 654522"/>
                  <a:gd name="connsiteX4" fmla="*/ 408792 w 653763"/>
                  <a:gd name="connsiteY4" fmla="*/ 2275 h 654522"/>
                  <a:gd name="connsiteX5" fmla="*/ 417893 w 653763"/>
                  <a:gd name="connsiteY5" fmla="*/ 2275 h 654522"/>
                  <a:gd name="connsiteX6" fmla="*/ 651489 w 653763"/>
                  <a:gd name="connsiteY6" fmla="*/ 235871 h 654522"/>
                  <a:gd name="connsiteX7" fmla="*/ 651489 w 653763"/>
                  <a:gd name="connsiteY7" fmla="*/ 244972 h 654522"/>
                  <a:gd name="connsiteX8" fmla="*/ 244972 w 653763"/>
                  <a:gd name="connsiteY8" fmla="*/ 651489 h 654522"/>
                  <a:gd name="connsiteX9" fmla="*/ 238904 w 653763"/>
                  <a:gd name="connsiteY9" fmla="*/ 654522 h 654522"/>
                  <a:gd name="connsiteX10" fmla="*/ 11376 w 653763"/>
                  <a:gd name="connsiteY10" fmla="*/ 414859 h 654522"/>
                  <a:gd name="connsiteX11" fmla="*/ 238904 w 653763"/>
                  <a:gd name="connsiteY11" fmla="*/ 642388 h 654522"/>
                  <a:gd name="connsiteX12" fmla="*/ 636320 w 653763"/>
                  <a:gd name="connsiteY12" fmla="*/ 244972 h 654522"/>
                  <a:gd name="connsiteX13" fmla="*/ 408792 w 653763"/>
                  <a:gd name="connsiteY13" fmla="*/ 17444 h 654522"/>
                  <a:gd name="connsiteX14" fmla="*/ 11376 w 653763"/>
                  <a:gd name="connsiteY14" fmla="*/ 414859 h 654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53763" h="654522">
                    <a:moveTo>
                      <a:pt x="238904" y="654522"/>
                    </a:moveTo>
                    <a:cubicBezTo>
                      <a:pt x="238904" y="654522"/>
                      <a:pt x="235870" y="654522"/>
                      <a:pt x="235870" y="651489"/>
                    </a:cubicBezTo>
                    <a:lnTo>
                      <a:pt x="2275" y="417893"/>
                    </a:lnTo>
                    <a:cubicBezTo>
                      <a:pt x="-758" y="414859"/>
                      <a:pt x="-758" y="411826"/>
                      <a:pt x="2275" y="408793"/>
                    </a:cubicBezTo>
                    <a:lnTo>
                      <a:pt x="408792" y="2275"/>
                    </a:lnTo>
                    <a:cubicBezTo>
                      <a:pt x="411826" y="-758"/>
                      <a:pt x="414860" y="-758"/>
                      <a:pt x="417893" y="2275"/>
                    </a:cubicBezTo>
                    <a:lnTo>
                      <a:pt x="651489" y="235871"/>
                    </a:lnTo>
                    <a:cubicBezTo>
                      <a:pt x="654522" y="238905"/>
                      <a:pt x="654522" y="241938"/>
                      <a:pt x="651489" y="244972"/>
                    </a:cubicBezTo>
                    <a:lnTo>
                      <a:pt x="244972" y="651489"/>
                    </a:lnTo>
                    <a:cubicBezTo>
                      <a:pt x="241938" y="654522"/>
                      <a:pt x="238904" y="654522"/>
                      <a:pt x="238904" y="654522"/>
                    </a:cubicBezTo>
                    <a:close/>
                    <a:moveTo>
                      <a:pt x="11376" y="414859"/>
                    </a:moveTo>
                    <a:lnTo>
                      <a:pt x="238904" y="642388"/>
                    </a:lnTo>
                    <a:lnTo>
                      <a:pt x="636320" y="244972"/>
                    </a:lnTo>
                    <a:lnTo>
                      <a:pt x="408792" y="17444"/>
                    </a:lnTo>
                    <a:lnTo>
                      <a:pt x="11376" y="414859"/>
                    </a:lnTo>
                    <a:close/>
                  </a:path>
                </a:pathLst>
              </a:custGeom>
              <a:solidFill>
                <a:srgbClr val="D3977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4" name="图形 1">
              <a:extLst>
                <a:ext uri="{FF2B5EF4-FFF2-40B4-BE49-F238E27FC236}">
                  <a16:creationId xmlns:a16="http://schemas.microsoft.com/office/drawing/2014/main" id="{57F52647-477B-4B67-8A56-90228D8FAD2A}"/>
                </a:ext>
              </a:extLst>
            </p:cNvPr>
            <p:cNvGrpSpPr/>
            <p:nvPr/>
          </p:nvGrpSpPr>
          <p:grpSpPr>
            <a:xfrm>
              <a:off x="8872386" y="9485814"/>
              <a:ext cx="390561" cy="233958"/>
              <a:chOff x="8872386" y="9485814"/>
              <a:chExt cx="390561" cy="233958"/>
            </a:xfrm>
          </p:grpSpPr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5BEDF24A-C99C-4182-B6DA-CF7865D62B0D}"/>
                  </a:ext>
                </a:extLst>
              </p:cNvPr>
              <p:cNvSpPr/>
              <p:nvPr/>
            </p:nvSpPr>
            <p:spPr>
              <a:xfrm>
                <a:off x="8872386" y="9488465"/>
                <a:ext cx="390561" cy="231307"/>
              </a:xfrm>
              <a:custGeom>
                <a:avLst/>
                <a:gdLst>
                  <a:gd name="connsiteX0" fmla="*/ 373721 w 390561"/>
                  <a:gd name="connsiteY0" fmla="*/ 214635 h 231307"/>
                  <a:gd name="connsiteX1" fmla="*/ 388890 w 390561"/>
                  <a:gd name="connsiteY1" fmla="*/ 87219 h 231307"/>
                  <a:gd name="connsiteX2" fmla="*/ 140125 w 390561"/>
                  <a:gd name="connsiteY2" fmla="*/ 5309 h 231307"/>
                  <a:gd name="connsiteX3" fmla="*/ 64283 w 390561"/>
                  <a:gd name="connsiteY3" fmla="*/ 17444 h 231307"/>
                  <a:gd name="connsiteX4" fmla="*/ 79451 w 390561"/>
                  <a:gd name="connsiteY4" fmla="*/ 32613 h 231307"/>
                  <a:gd name="connsiteX5" fmla="*/ 121923 w 390561"/>
                  <a:gd name="connsiteY5" fmla="*/ 50814 h 231307"/>
                  <a:gd name="connsiteX6" fmla="*/ 61249 w 390561"/>
                  <a:gd name="connsiteY6" fmla="*/ 53848 h 231307"/>
                  <a:gd name="connsiteX7" fmla="*/ 575 w 390561"/>
                  <a:gd name="connsiteY7" fmla="*/ 84185 h 231307"/>
                  <a:gd name="connsiteX8" fmla="*/ 24845 w 390561"/>
                  <a:gd name="connsiteY8" fmla="*/ 108455 h 231307"/>
                  <a:gd name="connsiteX9" fmla="*/ 18777 w 390561"/>
                  <a:gd name="connsiteY9" fmla="*/ 123624 h 231307"/>
                  <a:gd name="connsiteX10" fmla="*/ 88552 w 390561"/>
                  <a:gd name="connsiteY10" fmla="*/ 156994 h 231307"/>
                  <a:gd name="connsiteX11" fmla="*/ 143159 w 390561"/>
                  <a:gd name="connsiteY11" fmla="*/ 166096 h 231307"/>
                  <a:gd name="connsiteX12" fmla="*/ 82485 w 390561"/>
                  <a:gd name="connsiteY12" fmla="*/ 193399 h 231307"/>
                  <a:gd name="connsiteX13" fmla="*/ 137092 w 390561"/>
                  <a:gd name="connsiteY13" fmla="*/ 208567 h 231307"/>
                  <a:gd name="connsiteX14" fmla="*/ 237204 w 390561"/>
                  <a:gd name="connsiteY14" fmla="*/ 214635 h 231307"/>
                  <a:gd name="connsiteX15" fmla="*/ 334283 w 390561"/>
                  <a:gd name="connsiteY15" fmla="*/ 229804 h 231307"/>
                  <a:gd name="connsiteX16" fmla="*/ 373721 w 390561"/>
                  <a:gd name="connsiteY16" fmla="*/ 214635 h 231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90561" h="231307">
                    <a:moveTo>
                      <a:pt x="373721" y="214635"/>
                    </a:moveTo>
                    <a:cubicBezTo>
                      <a:pt x="397990" y="178230"/>
                      <a:pt x="388890" y="84185"/>
                      <a:pt x="388890" y="87219"/>
                    </a:cubicBezTo>
                    <a:cubicBezTo>
                      <a:pt x="306979" y="59916"/>
                      <a:pt x="225069" y="20477"/>
                      <a:pt x="140125" y="5309"/>
                    </a:cubicBezTo>
                    <a:cubicBezTo>
                      <a:pt x="124957" y="2275"/>
                      <a:pt x="64283" y="-9860"/>
                      <a:pt x="64283" y="17444"/>
                    </a:cubicBezTo>
                    <a:cubicBezTo>
                      <a:pt x="64283" y="26545"/>
                      <a:pt x="70350" y="29579"/>
                      <a:pt x="79451" y="32613"/>
                    </a:cubicBezTo>
                    <a:cubicBezTo>
                      <a:pt x="91586" y="38680"/>
                      <a:pt x="106755" y="44747"/>
                      <a:pt x="121923" y="50814"/>
                    </a:cubicBezTo>
                    <a:cubicBezTo>
                      <a:pt x="100687" y="50814"/>
                      <a:pt x="79451" y="50814"/>
                      <a:pt x="61249" y="53848"/>
                    </a:cubicBezTo>
                    <a:cubicBezTo>
                      <a:pt x="46081" y="56882"/>
                      <a:pt x="6642" y="62950"/>
                      <a:pt x="575" y="84185"/>
                    </a:cubicBezTo>
                    <a:cubicBezTo>
                      <a:pt x="-2459" y="96320"/>
                      <a:pt x="6642" y="102388"/>
                      <a:pt x="24845" y="108455"/>
                    </a:cubicBezTo>
                    <a:cubicBezTo>
                      <a:pt x="18777" y="111488"/>
                      <a:pt x="15743" y="117556"/>
                      <a:pt x="18777" y="123624"/>
                    </a:cubicBezTo>
                    <a:cubicBezTo>
                      <a:pt x="27878" y="144859"/>
                      <a:pt x="70350" y="150927"/>
                      <a:pt x="88552" y="156994"/>
                    </a:cubicBezTo>
                    <a:cubicBezTo>
                      <a:pt x="106755" y="160028"/>
                      <a:pt x="124957" y="163062"/>
                      <a:pt x="143159" y="166096"/>
                    </a:cubicBezTo>
                    <a:cubicBezTo>
                      <a:pt x="109788" y="166096"/>
                      <a:pt x="73384" y="172163"/>
                      <a:pt x="82485" y="193399"/>
                    </a:cubicBezTo>
                    <a:cubicBezTo>
                      <a:pt x="88552" y="208567"/>
                      <a:pt x="121923" y="208567"/>
                      <a:pt x="137092" y="208567"/>
                    </a:cubicBezTo>
                    <a:cubicBezTo>
                      <a:pt x="170462" y="211601"/>
                      <a:pt x="203833" y="211601"/>
                      <a:pt x="237204" y="214635"/>
                    </a:cubicBezTo>
                    <a:cubicBezTo>
                      <a:pt x="270575" y="217668"/>
                      <a:pt x="300912" y="226770"/>
                      <a:pt x="334283" y="229804"/>
                    </a:cubicBezTo>
                    <a:cubicBezTo>
                      <a:pt x="349451" y="232837"/>
                      <a:pt x="358553" y="232837"/>
                      <a:pt x="373721" y="214635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5AAEB0C4-1FB3-46A0-B706-8E064E5AADF2}"/>
                  </a:ext>
                </a:extLst>
              </p:cNvPr>
              <p:cNvSpPr/>
              <p:nvPr/>
            </p:nvSpPr>
            <p:spPr>
              <a:xfrm>
                <a:off x="8885095" y="9585111"/>
                <a:ext cx="175955" cy="20909"/>
              </a:xfrm>
              <a:custGeom>
                <a:avLst/>
                <a:gdLst>
                  <a:gd name="connsiteX0" fmla="*/ 169888 w 175955"/>
                  <a:gd name="connsiteY0" fmla="*/ 20910 h 20909"/>
                  <a:gd name="connsiteX1" fmla="*/ 169888 w 175955"/>
                  <a:gd name="connsiteY1" fmla="*/ 20910 h 20909"/>
                  <a:gd name="connsiteX2" fmla="*/ 6067 w 175955"/>
                  <a:gd name="connsiteY2" fmla="*/ 14842 h 20909"/>
                  <a:gd name="connsiteX3" fmla="*/ 0 w 175955"/>
                  <a:gd name="connsiteY3" fmla="*/ 8775 h 20909"/>
                  <a:gd name="connsiteX4" fmla="*/ 6067 w 175955"/>
                  <a:gd name="connsiteY4" fmla="*/ 2708 h 20909"/>
                  <a:gd name="connsiteX5" fmla="*/ 172921 w 175955"/>
                  <a:gd name="connsiteY5" fmla="*/ 8775 h 20909"/>
                  <a:gd name="connsiteX6" fmla="*/ 175955 w 175955"/>
                  <a:gd name="connsiteY6" fmla="*/ 14842 h 20909"/>
                  <a:gd name="connsiteX7" fmla="*/ 169888 w 175955"/>
                  <a:gd name="connsiteY7" fmla="*/ 20910 h 20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5955" h="20909">
                    <a:moveTo>
                      <a:pt x="169888" y="20910"/>
                    </a:moveTo>
                    <a:cubicBezTo>
                      <a:pt x="166854" y="20910"/>
                      <a:pt x="166854" y="20910"/>
                      <a:pt x="169888" y="20910"/>
                    </a:cubicBezTo>
                    <a:cubicBezTo>
                      <a:pt x="136517" y="5741"/>
                      <a:pt x="9101" y="14842"/>
                      <a:pt x="6067" y="14842"/>
                    </a:cubicBezTo>
                    <a:cubicBezTo>
                      <a:pt x="3034" y="14842"/>
                      <a:pt x="0" y="11809"/>
                      <a:pt x="0" y="8775"/>
                    </a:cubicBezTo>
                    <a:cubicBezTo>
                      <a:pt x="0" y="5741"/>
                      <a:pt x="3034" y="2708"/>
                      <a:pt x="6067" y="2708"/>
                    </a:cubicBezTo>
                    <a:cubicBezTo>
                      <a:pt x="12135" y="2708"/>
                      <a:pt x="136517" y="-6393"/>
                      <a:pt x="172921" y="8775"/>
                    </a:cubicBezTo>
                    <a:cubicBezTo>
                      <a:pt x="175955" y="8775"/>
                      <a:pt x="175955" y="11809"/>
                      <a:pt x="175955" y="14842"/>
                    </a:cubicBezTo>
                    <a:cubicBezTo>
                      <a:pt x="172921" y="20910"/>
                      <a:pt x="169888" y="20910"/>
                      <a:pt x="169888" y="2091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E5B4670A-6178-4E94-9879-32485BC46264}"/>
                  </a:ext>
                </a:extLst>
              </p:cNvPr>
              <p:cNvSpPr/>
              <p:nvPr/>
            </p:nvSpPr>
            <p:spPr>
              <a:xfrm>
                <a:off x="9003410" y="9648493"/>
                <a:ext cx="66741" cy="21236"/>
              </a:xfrm>
              <a:custGeom>
                <a:avLst/>
                <a:gdLst>
                  <a:gd name="connsiteX0" fmla="*/ 60674 w 66741"/>
                  <a:gd name="connsiteY0" fmla="*/ 21236 h 21236"/>
                  <a:gd name="connsiteX1" fmla="*/ 60674 w 66741"/>
                  <a:gd name="connsiteY1" fmla="*/ 21236 h 21236"/>
                  <a:gd name="connsiteX2" fmla="*/ 6067 w 66741"/>
                  <a:gd name="connsiteY2" fmla="*/ 12135 h 21236"/>
                  <a:gd name="connsiteX3" fmla="*/ 0 w 66741"/>
                  <a:gd name="connsiteY3" fmla="*/ 6068 h 21236"/>
                  <a:gd name="connsiteX4" fmla="*/ 6067 w 66741"/>
                  <a:gd name="connsiteY4" fmla="*/ 0 h 21236"/>
                  <a:gd name="connsiteX5" fmla="*/ 60674 w 66741"/>
                  <a:gd name="connsiteY5" fmla="*/ 9102 h 21236"/>
                  <a:gd name="connsiteX6" fmla="*/ 66741 w 66741"/>
                  <a:gd name="connsiteY6" fmla="*/ 15169 h 21236"/>
                  <a:gd name="connsiteX7" fmla="*/ 60674 w 66741"/>
                  <a:gd name="connsiteY7" fmla="*/ 21236 h 21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741" h="21236">
                    <a:moveTo>
                      <a:pt x="60674" y="21236"/>
                    </a:moveTo>
                    <a:cubicBezTo>
                      <a:pt x="60674" y="21236"/>
                      <a:pt x="60674" y="21236"/>
                      <a:pt x="60674" y="21236"/>
                    </a:cubicBezTo>
                    <a:lnTo>
                      <a:pt x="6067" y="12135"/>
                    </a:lnTo>
                    <a:cubicBezTo>
                      <a:pt x="3033" y="12135"/>
                      <a:pt x="0" y="9102"/>
                      <a:pt x="0" y="6068"/>
                    </a:cubicBezTo>
                    <a:cubicBezTo>
                      <a:pt x="0" y="3034"/>
                      <a:pt x="3033" y="0"/>
                      <a:pt x="6067" y="0"/>
                    </a:cubicBezTo>
                    <a:lnTo>
                      <a:pt x="60674" y="9102"/>
                    </a:lnTo>
                    <a:cubicBezTo>
                      <a:pt x="63708" y="9102"/>
                      <a:pt x="66741" y="12135"/>
                      <a:pt x="66741" y="15169"/>
                    </a:cubicBezTo>
                    <a:cubicBezTo>
                      <a:pt x="66741" y="18202"/>
                      <a:pt x="63708" y="21236"/>
                      <a:pt x="60674" y="2123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38A42285-F1E6-48BC-9DA1-031727060AF8}"/>
                  </a:ext>
                </a:extLst>
              </p:cNvPr>
              <p:cNvSpPr/>
              <p:nvPr/>
            </p:nvSpPr>
            <p:spPr>
              <a:xfrm>
                <a:off x="9100866" y="9567342"/>
                <a:ext cx="35269" cy="108454"/>
              </a:xfrm>
              <a:custGeom>
                <a:avLst/>
                <a:gdLst>
                  <a:gd name="connsiteX0" fmla="*/ 8724 w 35269"/>
                  <a:gd name="connsiteY0" fmla="*/ 108455 h 108454"/>
                  <a:gd name="connsiteX1" fmla="*/ 2657 w 35269"/>
                  <a:gd name="connsiteY1" fmla="*/ 105422 h 108454"/>
                  <a:gd name="connsiteX2" fmla="*/ 23893 w 35269"/>
                  <a:gd name="connsiteY2" fmla="*/ 2275 h 108454"/>
                  <a:gd name="connsiteX3" fmla="*/ 32994 w 35269"/>
                  <a:gd name="connsiteY3" fmla="*/ 2275 h 108454"/>
                  <a:gd name="connsiteX4" fmla="*/ 32994 w 35269"/>
                  <a:gd name="connsiteY4" fmla="*/ 11376 h 108454"/>
                  <a:gd name="connsiteX5" fmla="*/ 11758 w 35269"/>
                  <a:gd name="connsiteY5" fmla="*/ 105422 h 108454"/>
                  <a:gd name="connsiteX6" fmla="*/ 8724 w 35269"/>
                  <a:gd name="connsiteY6" fmla="*/ 108455 h 108454"/>
                  <a:gd name="connsiteX7" fmla="*/ 8724 w 35269"/>
                  <a:gd name="connsiteY7" fmla="*/ 108455 h 108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69" h="108454">
                    <a:moveTo>
                      <a:pt x="8724" y="108455"/>
                    </a:moveTo>
                    <a:cubicBezTo>
                      <a:pt x="5691" y="108455"/>
                      <a:pt x="2657" y="105422"/>
                      <a:pt x="2657" y="105422"/>
                    </a:cubicBezTo>
                    <a:cubicBezTo>
                      <a:pt x="-9478" y="47780"/>
                      <a:pt x="23893" y="5309"/>
                      <a:pt x="23893" y="2275"/>
                    </a:cubicBezTo>
                    <a:cubicBezTo>
                      <a:pt x="26926" y="-758"/>
                      <a:pt x="29960" y="-758"/>
                      <a:pt x="32994" y="2275"/>
                    </a:cubicBezTo>
                    <a:cubicBezTo>
                      <a:pt x="36028" y="5309"/>
                      <a:pt x="36028" y="8343"/>
                      <a:pt x="32994" y="11376"/>
                    </a:cubicBezTo>
                    <a:cubicBezTo>
                      <a:pt x="32994" y="11376"/>
                      <a:pt x="2657" y="53848"/>
                      <a:pt x="11758" y="105422"/>
                    </a:cubicBezTo>
                    <a:cubicBezTo>
                      <a:pt x="14792" y="105422"/>
                      <a:pt x="14792" y="108455"/>
                      <a:pt x="8724" y="108455"/>
                    </a:cubicBezTo>
                    <a:cubicBezTo>
                      <a:pt x="11758" y="108455"/>
                      <a:pt x="8724" y="108455"/>
                      <a:pt x="8724" y="10845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23BD5F6D-9A5E-4029-B65E-F17A4301DEC5}"/>
                  </a:ext>
                </a:extLst>
              </p:cNvPr>
              <p:cNvSpPr/>
              <p:nvPr/>
            </p:nvSpPr>
            <p:spPr>
              <a:xfrm>
                <a:off x="8930601" y="9485814"/>
                <a:ext cx="260899" cy="74702"/>
              </a:xfrm>
              <a:custGeom>
                <a:avLst/>
                <a:gdLst>
                  <a:gd name="connsiteX0" fmla="*/ 148652 w 260899"/>
                  <a:gd name="connsiteY0" fmla="*/ 74702 h 74702"/>
                  <a:gd name="connsiteX1" fmla="*/ 148652 w 260899"/>
                  <a:gd name="connsiteY1" fmla="*/ 74702 h 74702"/>
                  <a:gd name="connsiteX2" fmla="*/ 63708 w 260899"/>
                  <a:gd name="connsiteY2" fmla="*/ 59534 h 74702"/>
                  <a:gd name="connsiteX3" fmla="*/ 63708 w 260899"/>
                  <a:gd name="connsiteY3" fmla="*/ 59534 h 74702"/>
                  <a:gd name="connsiteX4" fmla="*/ 60674 w 260899"/>
                  <a:gd name="connsiteY4" fmla="*/ 59534 h 74702"/>
                  <a:gd name="connsiteX5" fmla="*/ 0 w 260899"/>
                  <a:gd name="connsiteY5" fmla="*/ 20096 h 74702"/>
                  <a:gd name="connsiteX6" fmla="*/ 6067 w 260899"/>
                  <a:gd name="connsiteY6" fmla="*/ 7961 h 74702"/>
                  <a:gd name="connsiteX7" fmla="*/ 257865 w 260899"/>
                  <a:gd name="connsiteY7" fmla="*/ 53466 h 74702"/>
                  <a:gd name="connsiteX8" fmla="*/ 260899 w 260899"/>
                  <a:gd name="connsiteY8" fmla="*/ 59534 h 74702"/>
                  <a:gd name="connsiteX9" fmla="*/ 254832 w 260899"/>
                  <a:gd name="connsiteY9" fmla="*/ 62567 h 74702"/>
                  <a:gd name="connsiteX10" fmla="*/ 15169 w 260899"/>
                  <a:gd name="connsiteY10" fmla="*/ 14028 h 74702"/>
                  <a:gd name="connsiteX11" fmla="*/ 15169 w 260899"/>
                  <a:gd name="connsiteY11" fmla="*/ 17062 h 74702"/>
                  <a:gd name="connsiteX12" fmla="*/ 66741 w 260899"/>
                  <a:gd name="connsiteY12" fmla="*/ 47399 h 74702"/>
                  <a:gd name="connsiteX13" fmla="*/ 154719 w 260899"/>
                  <a:gd name="connsiteY13" fmla="*/ 62567 h 74702"/>
                  <a:gd name="connsiteX14" fmla="*/ 157753 w 260899"/>
                  <a:gd name="connsiteY14" fmla="*/ 68634 h 74702"/>
                  <a:gd name="connsiteX15" fmla="*/ 148652 w 260899"/>
                  <a:gd name="connsiteY15" fmla="*/ 74702 h 74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60899" h="74702">
                    <a:moveTo>
                      <a:pt x="148652" y="74702"/>
                    </a:moveTo>
                    <a:cubicBezTo>
                      <a:pt x="145618" y="74702"/>
                      <a:pt x="145618" y="74702"/>
                      <a:pt x="148652" y="74702"/>
                    </a:cubicBezTo>
                    <a:cubicBezTo>
                      <a:pt x="118315" y="65601"/>
                      <a:pt x="72809" y="59534"/>
                      <a:pt x="63708" y="59534"/>
                    </a:cubicBezTo>
                    <a:lnTo>
                      <a:pt x="63708" y="59534"/>
                    </a:lnTo>
                    <a:cubicBezTo>
                      <a:pt x="63708" y="59534"/>
                      <a:pt x="60674" y="59534"/>
                      <a:pt x="60674" y="59534"/>
                    </a:cubicBezTo>
                    <a:cubicBezTo>
                      <a:pt x="54607" y="59534"/>
                      <a:pt x="6067" y="47399"/>
                      <a:pt x="0" y="20096"/>
                    </a:cubicBezTo>
                    <a:cubicBezTo>
                      <a:pt x="0" y="14028"/>
                      <a:pt x="0" y="10994"/>
                      <a:pt x="6067" y="7961"/>
                    </a:cubicBezTo>
                    <a:cubicBezTo>
                      <a:pt x="27304" y="-10242"/>
                      <a:pt x="130450" y="1893"/>
                      <a:pt x="257865" y="53466"/>
                    </a:cubicBezTo>
                    <a:cubicBezTo>
                      <a:pt x="260899" y="53466"/>
                      <a:pt x="260899" y="56500"/>
                      <a:pt x="260899" y="59534"/>
                    </a:cubicBezTo>
                    <a:cubicBezTo>
                      <a:pt x="260899" y="62567"/>
                      <a:pt x="257865" y="62567"/>
                      <a:pt x="254832" y="62567"/>
                    </a:cubicBezTo>
                    <a:cubicBezTo>
                      <a:pt x="115281" y="4927"/>
                      <a:pt x="30337" y="1893"/>
                      <a:pt x="15169" y="14028"/>
                    </a:cubicBezTo>
                    <a:cubicBezTo>
                      <a:pt x="15169" y="14028"/>
                      <a:pt x="15169" y="17062"/>
                      <a:pt x="15169" y="17062"/>
                    </a:cubicBezTo>
                    <a:cubicBezTo>
                      <a:pt x="18202" y="32230"/>
                      <a:pt x="54607" y="44365"/>
                      <a:pt x="66741" y="47399"/>
                    </a:cubicBezTo>
                    <a:cubicBezTo>
                      <a:pt x="84944" y="44365"/>
                      <a:pt x="142584" y="59534"/>
                      <a:pt x="154719" y="62567"/>
                    </a:cubicBezTo>
                    <a:cubicBezTo>
                      <a:pt x="157753" y="62567"/>
                      <a:pt x="160787" y="65601"/>
                      <a:pt x="157753" y="68634"/>
                    </a:cubicBezTo>
                    <a:cubicBezTo>
                      <a:pt x="151685" y="71668"/>
                      <a:pt x="148652" y="74702"/>
                      <a:pt x="148652" y="7470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E9A68A5C-8420-408D-9D7B-D3D2B901C77E}"/>
                </a:ext>
              </a:extLst>
            </p:cNvPr>
            <p:cNvSpPr/>
            <p:nvPr/>
          </p:nvSpPr>
          <p:spPr>
            <a:xfrm>
              <a:off x="9158129" y="8323521"/>
              <a:ext cx="132724" cy="38679"/>
            </a:xfrm>
            <a:custGeom>
              <a:avLst/>
              <a:gdLst>
                <a:gd name="connsiteX0" fmla="*/ 51573 w 132724"/>
                <a:gd name="connsiteY0" fmla="*/ 38680 h 38679"/>
                <a:gd name="connsiteX1" fmla="*/ 3034 w 132724"/>
                <a:gd name="connsiteY1" fmla="*/ 29579 h 38679"/>
                <a:gd name="connsiteX2" fmla="*/ 0 w 132724"/>
                <a:gd name="connsiteY2" fmla="*/ 20477 h 38679"/>
                <a:gd name="connsiteX3" fmla="*/ 9101 w 132724"/>
                <a:gd name="connsiteY3" fmla="*/ 17444 h 38679"/>
                <a:gd name="connsiteX4" fmla="*/ 121348 w 132724"/>
                <a:gd name="connsiteY4" fmla="*/ 2275 h 38679"/>
                <a:gd name="connsiteX5" fmla="*/ 130450 w 132724"/>
                <a:gd name="connsiteY5" fmla="*/ 2275 h 38679"/>
                <a:gd name="connsiteX6" fmla="*/ 130450 w 132724"/>
                <a:gd name="connsiteY6" fmla="*/ 11377 h 38679"/>
                <a:gd name="connsiteX7" fmla="*/ 51573 w 132724"/>
                <a:gd name="connsiteY7" fmla="*/ 38680 h 38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24" h="38679">
                  <a:moveTo>
                    <a:pt x="51573" y="38680"/>
                  </a:moveTo>
                  <a:cubicBezTo>
                    <a:pt x="36404" y="38680"/>
                    <a:pt x="21236" y="35646"/>
                    <a:pt x="3034" y="29579"/>
                  </a:cubicBezTo>
                  <a:cubicBezTo>
                    <a:pt x="0" y="29579"/>
                    <a:pt x="0" y="23511"/>
                    <a:pt x="0" y="20477"/>
                  </a:cubicBezTo>
                  <a:cubicBezTo>
                    <a:pt x="0" y="17444"/>
                    <a:pt x="6067" y="17444"/>
                    <a:pt x="9101" y="17444"/>
                  </a:cubicBezTo>
                  <a:cubicBezTo>
                    <a:pt x="75843" y="44747"/>
                    <a:pt x="121348" y="2275"/>
                    <a:pt x="121348" y="2275"/>
                  </a:cubicBezTo>
                  <a:cubicBezTo>
                    <a:pt x="124382" y="-758"/>
                    <a:pt x="127416" y="-758"/>
                    <a:pt x="130450" y="2275"/>
                  </a:cubicBezTo>
                  <a:cubicBezTo>
                    <a:pt x="133483" y="5309"/>
                    <a:pt x="133483" y="8343"/>
                    <a:pt x="130450" y="11377"/>
                  </a:cubicBezTo>
                  <a:cubicBezTo>
                    <a:pt x="130450" y="11377"/>
                    <a:pt x="100112" y="38680"/>
                    <a:pt x="51573" y="38680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170" name="图形 1">
            <a:extLst>
              <a:ext uri="{FF2B5EF4-FFF2-40B4-BE49-F238E27FC236}">
                <a16:creationId xmlns:a16="http://schemas.microsoft.com/office/drawing/2014/main" id="{D64DC292-7CFB-43D2-BA52-67FF2F4A5A45}"/>
              </a:ext>
            </a:extLst>
          </p:cNvPr>
          <p:cNvGrpSpPr/>
          <p:nvPr/>
        </p:nvGrpSpPr>
        <p:grpSpPr>
          <a:xfrm>
            <a:off x="2607699" y="2021504"/>
            <a:ext cx="3127752" cy="4833060"/>
            <a:chOff x="2371725" y="7682287"/>
            <a:chExt cx="3127752" cy="4833060"/>
          </a:xfrm>
        </p:grpSpPr>
        <p:grpSp>
          <p:nvGrpSpPr>
            <p:cNvPr id="171" name="图形 1">
              <a:extLst>
                <a:ext uri="{FF2B5EF4-FFF2-40B4-BE49-F238E27FC236}">
                  <a16:creationId xmlns:a16="http://schemas.microsoft.com/office/drawing/2014/main" id="{7FE02509-DD67-49F8-9CBA-75AF03BD840E}"/>
                </a:ext>
              </a:extLst>
            </p:cNvPr>
            <p:cNvGrpSpPr/>
            <p:nvPr/>
          </p:nvGrpSpPr>
          <p:grpSpPr>
            <a:xfrm>
              <a:off x="4058129" y="12175572"/>
              <a:ext cx="494831" cy="339774"/>
              <a:chOff x="4058129" y="12175572"/>
              <a:chExt cx="494831" cy="339774"/>
            </a:xfrm>
          </p:grpSpPr>
          <p:sp>
            <p:nvSpPr>
              <p:cNvPr id="249" name="任意多边形: 形状 248">
                <a:extLst>
                  <a:ext uri="{FF2B5EF4-FFF2-40B4-BE49-F238E27FC236}">
                    <a16:creationId xmlns:a16="http://schemas.microsoft.com/office/drawing/2014/main" id="{7B767F1F-BA93-402F-9211-DB5C16480828}"/>
                  </a:ext>
                </a:extLst>
              </p:cNvPr>
              <p:cNvSpPr/>
              <p:nvPr/>
            </p:nvSpPr>
            <p:spPr>
              <a:xfrm>
                <a:off x="4076668" y="12175572"/>
                <a:ext cx="182022" cy="221460"/>
              </a:xfrm>
              <a:custGeom>
                <a:avLst/>
                <a:gdLst>
                  <a:gd name="connsiteX0" fmla="*/ 3034 w 182022"/>
                  <a:gd name="connsiteY0" fmla="*/ 182022 h 221460"/>
                  <a:gd name="connsiteX1" fmla="*/ 0 w 182022"/>
                  <a:gd name="connsiteY1" fmla="*/ 0 h 221460"/>
                  <a:gd name="connsiteX2" fmla="*/ 182022 w 182022"/>
                  <a:gd name="connsiteY2" fmla="*/ 0 h 221460"/>
                  <a:gd name="connsiteX3" fmla="*/ 166854 w 182022"/>
                  <a:gd name="connsiteY3" fmla="*/ 194157 h 221460"/>
                  <a:gd name="connsiteX4" fmla="*/ 15169 w 182022"/>
                  <a:gd name="connsiteY4" fmla="*/ 221460 h 221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022" h="221460">
                    <a:moveTo>
                      <a:pt x="3034" y="182022"/>
                    </a:moveTo>
                    <a:lnTo>
                      <a:pt x="0" y="0"/>
                    </a:lnTo>
                    <a:lnTo>
                      <a:pt x="182022" y="0"/>
                    </a:lnTo>
                    <a:lnTo>
                      <a:pt x="166854" y="194157"/>
                    </a:lnTo>
                    <a:lnTo>
                      <a:pt x="15169" y="221460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0" name="任意多边形: 形状 249">
                <a:extLst>
                  <a:ext uri="{FF2B5EF4-FFF2-40B4-BE49-F238E27FC236}">
                    <a16:creationId xmlns:a16="http://schemas.microsoft.com/office/drawing/2014/main" id="{B7ABB2C2-8781-4E27-93D1-48AEACD14FC3}"/>
                  </a:ext>
                </a:extLst>
              </p:cNvPr>
              <p:cNvSpPr/>
              <p:nvPr/>
            </p:nvSpPr>
            <p:spPr>
              <a:xfrm>
                <a:off x="4058129" y="12312089"/>
                <a:ext cx="494831" cy="157752"/>
              </a:xfrm>
              <a:custGeom>
                <a:avLst/>
                <a:gdLst>
                  <a:gd name="connsiteX0" fmla="*/ 9438 w 494831"/>
                  <a:gd name="connsiteY0" fmla="*/ 45506 h 157752"/>
                  <a:gd name="connsiteX1" fmla="*/ 194494 w 494831"/>
                  <a:gd name="connsiteY1" fmla="*/ 0 h 157752"/>
                  <a:gd name="connsiteX2" fmla="*/ 327978 w 494831"/>
                  <a:gd name="connsiteY2" fmla="*/ 78876 h 157752"/>
                  <a:gd name="connsiteX3" fmla="*/ 494831 w 494831"/>
                  <a:gd name="connsiteY3" fmla="*/ 157752 h 157752"/>
                  <a:gd name="connsiteX4" fmla="*/ 9438 w 494831"/>
                  <a:gd name="connsiteY4" fmla="*/ 157752 h 157752"/>
                  <a:gd name="connsiteX5" fmla="*/ 9438 w 494831"/>
                  <a:gd name="connsiteY5" fmla="*/ 45506 h 157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4831" h="157752">
                    <a:moveTo>
                      <a:pt x="9438" y="45506"/>
                    </a:moveTo>
                    <a:cubicBezTo>
                      <a:pt x="9438" y="45506"/>
                      <a:pt x="133820" y="63707"/>
                      <a:pt x="194494" y="0"/>
                    </a:cubicBezTo>
                    <a:cubicBezTo>
                      <a:pt x="194494" y="0"/>
                      <a:pt x="282472" y="69775"/>
                      <a:pt x="327978" y="78876"/>
                    </a:cubicBezTo>
                    <a:cubicBezTo>
                      <a:pt x="373483" y="87977"/>
                      <a:pt x="482697" y="84943"/>
                      <a:pt x="494831" y="157752"/>
                    </a:cubicBezTo>
                    <a:lnTo>
                      <a:pt x="9438" y="157752"/>
                    </a:lnTo>
                    <a:cubicBezTo>
                      <a:pt x="9438" y="157752"/>
                      <a:pt x="-11798" y="97078"/>
                      <a:pt x="9438" y="4550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1" name="任意多边形: 形状 250">
                <a:extLst>
                  <a:ext uri="{FF2B5EF4-FFF2-40B4-BE49-F238E27FC236}">
                    <a16:creationId xmlns:a16="http://schemas.microsoft.com/office/drawing/2014/main" id="{1665AF70-16DA-4BA6-B322-0F72BF6AF67F}"/>
                  </a:ext>
                </a:extLst>
              </p:cNvPr>
              <p:cNvSpPr/>
              <p:nvPr/>
            </p:nvSpPr>
            <p:spPr>
              <a:xfrm>
                <a:off x="4067567" y="12469842"/>
                <a:ext cx="485393" cy="45505"/>
              </a:xfrm>
              <a:custGeom>
                <a:avLst/>
                <a:gdLst>
                  <a:gd name="connsiteX0" fmla="*/ 0 w 485393"/>
                  <a:gd name="connsiteY0" fmla="*/ 0 h 45505"/>
                  <a:gd name="connsiteX1" fmla="*/ 485393 w 485393"/>
                  <a:gd name="connsiteY1" fmla="*/ 0 h 45505"/>
                  <a:gd name="connsiteX2" fmla="*/ 485393 w 485393"/>
                  <a:gd name="connsiteY2" fmla="*/ 45505 h 45505"/>
                  <a:gd name="connsiteX3" fmla="*/ 0 w 485393"/>
                  <a:gd name="connsiteY3" fmla="*/ 45505 h 4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393" h="45505">
                    <a:moveTo>
                      <a:pt x="0" y="0"/>
                    </a:moveTo>
                    <a:lnTo>
                      <a:pt x="485393" y="0"/>
                    </a:lnTo>
                    <a:lnTo>
                      <a:pt x="485393" y="45505"/>
                    </a:lnTo>
                    <a:lnTo>
                      <a:pt x="0" y="45505"/>
                    </a:ln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2" name="任意多边形: 形状 251">
                <a:extLst>
                  <a:ext uri="{FF2B5EF4-FFF2-40B4-BE49-F238E27FC236}">
                    <a16:creationId xmlns:a16="http://schemas.microsoft.com/office/drawing/2014/main" id="{94724462-ECB5-42FE-B7AB-DE9AD609830D}"/>
                  </a:ext>
                </a:extLst>
              </p:cNvPr>
              <p:cNvSpPr/>
              <p:nvPr/>
            </p:nvSpPr>
            <p:spPr>
              <a:xfrm>
                <a:off x="4058466" y="12303746"/>
                <a:ext cx="199466" cy="62949"/>
              </a:xfrm>
              <a:custGeom>
                <a:avLst/>
                <a:gdLst>
                  <a:gd name="connsiteX0" fmla="*/ 42472 w 199466"/>
                  <a:gd name="connsiteY0" fmla="*/ 62950 h 62949"/>
                  <a:gd name="connsiteX1" fmla="*/ 6067 w 199466"/>
                  <a:gd name="connsiteY1" fmla="*/ 59916 h 62949"/>
                  <a:gd name="connsiteX2" fmla="*/ 0 w 199466"/>
                  <a:gd name="connsiteY2" fmla="*/ 53849 h 62949"/>
                  <a:gd name="connsiteX3" fmla="*/ 6067 w 199466"/>
                  <a:gd name="connsiteY3" fmla="*/ 47781 h 62949"/>
                  <a:gd name="connsiteX4" fmla="*/ 188090 w 199466"/>
                  <a:gd name="connsiteY4" fmla="*/ 2275 h 62949"/>
                  <a:gd name="connsiteX5" fmla="*/ 197191 w 199466"/>
                  <a:gd name="connsiteY5" fmla="*/ 2275 h 62949"/>
                  <a:gd name="connsiteX6" fmla="*/ 197191 w 199466"/>
                  <a:gd name="connsiteY6" fmla="*/ 11376 h 62949"/>
                  <a:gd name="connsiteX7" fmla="*/ 42472 w 199466"/>
                  <a:gd name="connsiteY7" fmla="*/ 62950 h 62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9466" h="62949">
                    <a:moveTo>
                      <a:pt x="42472" y="62950"/>
                    </a:moveTo>
                    <a:cubicBezTo>
                      <a:pt x="21236" y="62950"/>
                      <a:pt x="9101" y="59916"/>
                      <a:pt x="6067" y="59916"/>
                    </a:cubicBezTo>
                    <a:cubicBezTo>
                      <a:pt x="3034" y="59916"/>
                      <a:pt x="0" y="56882"/>
                      <a:pt x="0" y="53849"/>
                    </a:cubicBezTo>
                    <a:cubicBezTo>
                      <a:pt x="0" y="50815"/>
                      <a:pt x="3034" y="47781"/>
                      <a:pt x="6067" y="47781"/>
                    </a:cubicBezTo>
                    <a:cubicBezTo>
                      <a:pt x="6067" y="47781"/>
                      <a:pt x="118315" y="62950"/>
                      <a:pt x="188090" y="2275"/>
                    </a:cubicBezTo>
                    <a:cubicBezTo>
                      <a:pt x="191124" y="-758"/>
                      <a:pt x="194157" y="-758"/>
                      <a:pt x="197191" y="2275"/>
                    </a:cubicBezTo>
                    <a:cubicBezTo>
                      <a:pt x="200225" y="5309"/>
                      <a:pt x="200225" y="8343"/>
                      <a:pt x="197191" y="11376"/>
                    </a:cubicBezTo>
                    <a:cubicBezTo>
                      <a:pt x="148652" y="53849"/>
                      <a:pt x="81910" y="62950"/>
                      <a:pt x="42472" y="6295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3" name="任意多边形: 形状 252">
                <a:extLst>
                  <a:ext uri="{FF2B5EF4-FFF2-40B4-BE49-F238E27FC236}">
                    <a16:creationId xmlns:a16="http://schemas.microsoft.com/office/drawing/2014/main" id="{7C30E52B-ABC3-461F-BB8F-BEF8D16FC4C7}"/>
                  </a:ext>
                </a:extLst>
              </p:cNvPr>
              <p:cNvSpPr/>
              <p:nvPr/>
            </p:nvSpPr>
            <p:spPr>
              <a:xfrm>
                <a:off x="4256416" y="12328016"/>
                <a:ext cx="40955" cy="41713"/>
              </a:xfrm>
              <a:custGeom>
                <a:avLst/>
                <a:gdLst>
                  <a:gd name="connsiteX0" fmla="*/ 5309 w 40955"/>
                  <a:gd name="connsiteY0" fmla="*/ 41713 h 41713"/>
                  <a:gd name="connsiteX1" fmla="*/ 2275 w 40955"/>
                  <a:gd name="connsiteY1" fmla="*/ 38680 h 41713"/>
                  <a:gd name="connsiteX2" fmla="*/ 2275 w 40955"/>
                  <a:gd name="connsiteY2" fmla="*/ 29579 h 41713"/>
                  <a:gd name="connsiteX3" fmla="*/ 29579 w 40955"/>
                  <a:gd name="connsiteY3" fmla="*/ 2275 h 41713"/>
                  <a:gd name="connsiteX4" fmla="*/ 38680 w 40955"/>
                  <a:gd name="connsiteY4" fmla="*/ 2275 h 41713"/>
                  <a:gd name="connsiteX5" fmla="*/ 38680 w 40955"/>
                  <a:gd name="connsiteY5" fmla="*/ 11376 h 41713"/>
                  <a:gd name="connsiteX6" fmla="*/ 11376 w 40955"/>
                  <a:gd name="connsiteY6" fmla="*/ 38680 h 41713"/>
                  <a:gd name="connsiteX7" fmla="*/ 5309 w 40955"/>
                  <a:gd name="connsiteY7" fmla="*/ 41713 h 41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55" h="41713">
                    <a:moveTo>
                      <a:pt x="5309" y="41713"/>
                    </a:moveTo>
                    <a:cubicBezTo>
                      <a:pt x="5309" y="41713"/>
                      <a:pt x="2275" y="41713"/>
                      <a:pt x="2275" y="38680"/>
                    </a:cubicBezTo>
                    <a:cubicBezTo>
                      <a:pt x="-758" y="35646"/>
                      <a:pt x="-758" y="32612"/>
                      <a:pt x="2275" y="29579"/>
                    </a:cubicBezTo>
                    <a:lnTo>
                      <a:pt x="29579" y="2275"/>
                    </a:lnTo>
                    <a:cubicBezTo>
                      <a:pt x="32612" y="-758"/>
                      <a:pt x="35646" y="-758"/>
                      <a:pt x="38680" y="2275"/>
                    </a:cubicBezTo>
                    <a:cubicBezTo>
                      <a:pt x="41714" y="5309"/>
                      <a:pt x="41714" y="8343"/>
                      <a:pt x="38680" y="11376"/>
                    </a:cubicBezTo>
                    <a:lnTo>
                      <a:pt x="11376" y="38680"/>
                    </a:lnTo>
                    <a:cubicBezTo>
                      <a:pt x="8343" y="41713"/>
                      <a:pt x="5309" y="41713"/>
                      <a:pt x="5309" y="4171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4" name="任意多边形: 形状 253">
                <a:extLst>
                  <a:ext uri="{FF2B5EF4-FFF2-40B4-BE49-F238E27FC236}">
                    <a16:creationId xmlns:a16="http://schemas.microsoft.com/office/drawing/2014/main" id="{75840765-0FAA-4BD5-AD5C-24987AD2138D}"/>
                  </a:ext>
                </a:extLst>
              </p:cNvPr>
              <p:cNvSpPr/>
              <p:nvPr/>
            </p:nvSpPr>
            <p:spPr>
              <a:xfrm>
                <a:off x="4292820" y="12355319"/>
                <a:ext cx="37921" cy="41713"/>
              </a:xfrm>
              <a:custGeom>
                <a:avLst/>
                <a:gdLst>
                  <a:gd name="connsiteX0" fmla="*/ 5309 w 37921"/>
                  <a:gd name="connsiteY0" fmla="*/ 41713 h 41713"/>
                  <a:gd name="connsiteX1" fmla="*/ 2275 w 37921"/>
                  <a:gd name="connsiteY1" fmla="*/ 38679 h 41713"/>
                  <a:gd name="connsiteX2" fmla="*/ 2275 w 37921"/>
                  <a:gd name="connsiteY2" fmla="*/ 29579 h 41713"/>
                  <a:gd name="connsiteX3" fmla="*/ 26545 w 37921"/>
                  <a:gd name="connsiteY3" fmla="*/ 2275 h 41713"/>
                  <a:gd name="connsiteX4" fmla="*/ 35646 w 37921"/>
                  <a:gd name="connsiteY4" fmla="*/ 2275 h 41713"/>
                  <a:gd name="connsiteX5" fmla="*/ 35646 w 37921"/>
                  <a:gd name="connsiteY5" fmla="*/ 11376 h 41713"/>
                  <a:gd name="connsiteX6" fmla="*/ 11376 w 37921"/>
                  <a:gd name="connsiteY6" fmla="*/ 38679 h 41713"/>
                  <a:gd name="connsiteX7" fmla="*/ 5309 w 37921"/>
                  <a:gd name="connsiteY7" fmla="*/ 41713 h 41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921" h="41713">
                    <a:moveTo>
                      <a:pt x="5309" y="41713"/>
                    </a:moveTo>
                    <a:cubicBezTo>
                      <a:pt x="5309" y="41713"/>
                      <a:pt x="2275" y="41713"/>
                      <a:pt x="2275" y="38679"/>
                    </a:cubicBezTo>
                    <a:cubicBezTo>
                      <a:pt x="-758" y="35645"/>
                      <a:pt x="-758" y="32612"/>
                      <a:pt x="2275" y="29579"/>
                    </a:cubicBezTo>
                    <a:lnTo>
                      <a:pt x="26545" y="2275"/>
                    </a:lnTo>
                    <a:cubicBezTo>
                      <a:pt x="29579" y="-758"/>
                      <a:pt x="32612" y="-758"/>
                      <a:pt x="35646" y="2275"/>
                    </a:cubicBezTo>
                    <a:cubicBezTo>
                      <a:pt x="38680" y="5308"/>
                      <a:pt x="38680" y="8342"/>
                      <a:pt x="35646" y="11376"/>
                    </a:cubicBezTo>
                    <a:lnTo>
                      <a:pt x="11376" y="38679"/>
                    </a:lnTo>
                    <a:cubicBezTo>
                      <a:pt x="8343" y="41713"/>
                      <a:pt x="8343" y="41713"/>
                      <a:pt x="5309" y="4171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72" name="图形 1">
              <a:extLst>
                <a:ext uri="{FF2B5EF4-FFF2-40B4-BE49-F238E27FC236}">
                  <a16:creationId xmlns:a16="http://schemas.microsoft.com/office/drawing/2014/main" id="{65E92E55-5FC3-4D9C-A73A-55575B0E378E}"/>
                </a:ext>
              </a:extLst>
            </p:cNvPr>
            <p:cNvGrpSpPr/>
            <p:nvPr/>
          </p:nvGrpSpPr>
          <p:grpSpPr>
            <a:xfrm>
              <a:off x="3348578" y="12175572"/>
              <a:ext cx="494494" cy="339774"/>
              <a:chOff x="3348578" y="12175572"/>
              <a:chExt cx="494494" cy="339774"/>
            </a:xfrm>
          </p:grpSpPr>
          <p:sp>
            <p:nvSpPr>
              <p:cNvPr id="243" name="任意多边形: 形状 242">
                <a:extLst>
                  <a:ext uri="{FF2B5EF4-FFF2-40B4-BE49-F238E27FC236}">
                    <a16:creationId xmlns:a16="http://schemas.microsoft.com/office/drawing/2014/main" id="{8B718F0B-48DE-4836-A434-DBAC3B934A3D}"/>
                  </a:ext>
                </a:extLst>
              </p:cNvPr>
              <p:cNvSpPr/>
              <p:nvPr/>
            </p:nvSpPr>
            <p:spPr>
              <a:xfrm>
                <a:off x="3354646" y="12175572"/>
                <a:ext cx="178988" cy="221460"/>
              </a:xfrm>
              <a:custGeom>
                <a:avLst/>
                <a:gdLst>
                  <a:gd name="connsiteX0" fmla="*/ 15169 w 178988"/>
                  <a:gd name="connsiteY0" fmla="*/ 182022 h 221460"/>
                  <a:gd name="connsiteX1" fmla="*/ 0 w 178988"/>
                  <a:gd name="connsiteY1" fmla="*/ 0 h 221460"/>
                  <a:gd name="connsiteX2" fmla="*/ 178989 w 178988"/>
                  <a:gd name="connsiteY2" fmla="*/ 0 h 221460"/>
                  <a:gd name="connsiteX3" fmla="*/ 178989 w 178988"/>
                  <a:gd name="connsiteY3" fmla="*/ 194157 h 221460"/>
                  <a:gd name="connsiteX4" fmla="*/ 27303 w 178988"/>
                  <a:gd name="connsiteY4" fmla="*/ 221460 h 221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8988" h="221460">
                    <a:moveTo>
                      <a:pt x="15169" y="182022"/>
                    </a:moveTo>
                    <a:lnTo>
                      <a:pt x="0" y="0"/>
                    </a:lnTo>
                    <a:lnTo>
                      <a:pt x="178989" y="0"/>
                    </a:lnTo>
                    <a:lnTo>
                      <a:pt x="178989" y="194157"/>
                    </a:lnTo>
                    <a:lnTo>
                      <a:pt x="27303" y="221460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4" name="任意多边形: 形状 243">
                <a:extLst>
                  <a:ext uri="{FF2B5EF4-FFF2-40B4-BE49-F238E27FC236}">
                    <a16:creationId xmlns:a16="http://schemas.microsoft.com/office/drawing/2014/main" id="{C222CA7F-F2EA-4554-B92B-33235749EF61}"/>
                  </a:ext>
                </a:extLst>
              </p:cNvPr>
              <p:cNvSpPr/>
              <p:nvPr/>
            </p:nvSpPr>
            <p:spPr>
              <a:xfrm>
                <a:off x="3349590" y="12312089"/>
                <a:ext cx="493483" cy="157752"/>
              </a:xfrm>
              <a:custGeom>
                <a:avLst/>
                <a:gdLst>
                  <a:gd name="connsiteX0" fmla="*/ 8090 w 493483"/>
                  <a:gd name="connsiteY0" fmla="*/ 45506 h 157752"/>
                  <a:gd name="connsiteX1" fmla="*/ 193146 w 493483"/>
                  <a:gd name="connsiteY1" fmla="*/ 0 h 157752"/>
                  <a:gd name="connsiteX2" fmla="*/ 326629 w 493483"/>
                  <a:gd name="connsiteY2" fmla="*/ 78876 h 157752"/>
                  <a:gd name="connsiteX3" fmla="*/ 493483 w 493483"/>
                  <a:gd name="connsiteY3" fmla="*/ 157752 h 157752"/>
                  <a:gd name="connsiteX4" fmla="*/ 8090 w 493483"/>
                  <a:gd name="connsiteY4" fmla="*/ 157752 h 157752"/>
                  <a:gd name="connsiteX5" fmla="*/ 8090 w 493483"/>
                  <a:gd name="connsiteY5" fmla="*/ 45506 h 157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3483" h="157752">
                    <a:moveTo>
                      <a:pt x="8090" y="45506"/>
                    </a:moveTo>
                    <a:cubicBezTo>
                      <a:pt x="8090" y="45506"/>
                      <a:pt x="132472" y="63707"/>
                      <a:pt x="193146" y="0"/>
                    </a:cubicBezTo>
                    <a:cubicBezTo>
                      <a:pt x="193146" y="0"/>
                      <a:pt x="281124" y="69775"/>
                      <a:pt x="326629" y="78876"/>
                    </a:cubicBezTo>
                    <a:cubicBezTo>
                      <a:pt x="372135" y="87977"/>
                      <a:pt x="481348" y="84943"/>
                      <a:pt x="493483" y="157752"/>
                    </a:cubicBezTo>
                    <a:lnTo>
                      <a:pt x="8090" y="157752"/>
                    </a:lnTo>
                    <a:cubicBezTo>
                      <a:pt x="8090" y="157752"/>
                      <a:pt x="-10112" y="97078"/>
                      <a:pt x="8090" y="4550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5" name="任意多边形: 形状 244">
                <a:extLst>
                  <a:ext uri="{FF2B5EF4-FFF2-40B4-BE49-F238E27FC236}">
                    <a16:creationId xmlns:a16="http://schemas.microsoft.com/office/drawing/2014/main" id="{9D7EF4F7-5795-445C-885B-08E0F57CA137}"/>
                  </a:ext>
                </a:extLst>
              </p:cNvPr>
              <p:cNvSpPr/>
              <p:nvPr/>
            </p:nvSpPr>
            <p:spPr>
              <a:xfrm>
                <a:off x="3357680" y="12469842"/>
                <a:ext cx="485393" cy="45505"/>
              </a:xfrm>
              <a:custGeom>
                <a:avLst/>
                <a:gdLst>
                  <a:gd name="connsiteX0" fmla="*/ 0 w 485393"/>
                  <a:gd name="connsiteY0" fmla="*/ 0 h 45505"/>
                  <a:gd name="connsiteX1" fmla="*/ 485393 w 485393"/>
                  <a:gd name="connsiteY1" fmla="*/ 0 h 45505"/>
                  <a:gd name="connsiteX2" fmla="*/ 485393 w 485393"/>
                  <a:gd name="connsiteY2" fmla="*/ 45505 h 45505"/>
                  <a:gd name="connsiteX3" fmla="*/ 0 w 485393"/>
                  <a:gd name="connsiteY3" fmla="*/ 45505 h 4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393" h="45505">
                    <a:moveTo>
                      <a:pt x="0" y="0"/>
                    </a:moveTo>
                    <a:lnTo>
                      <a:pt x="485393" y="0"/>
                    </a:lnTo>
                    <a:lnTo>
                      <a:pt x="485393" y="45505"/>
                    </a:lnTo>
                    <a:lnTo>
                      <a:pt x="0" y="45505"/>
                    </a:ln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6" name="任意多边形: 形状 245">
                <a:extLst>
                  <a:ext uri="{FF2B5EF4-FFF2-40B4-BE49-F238E27FC236}">
                    <a16:creationId xmlns:a16="http://schemas.microsoft.com/office/drawing/2014/main" id="{A02EA19C-A662-441E-B164-D22554DC0760}"/>
                  </a:ext>
                </a:extLst>
              </p:cNvPr>
              <p:cNvSpPr/>
              <p:nvPr/>
            </p:nvSpPr>
            <p:spPr>
              <a:xfrm>
                <a:off x="3348578" y="12303746"/>
                <a:ext cx="199466" cy="62949"/>
              </a:xfrm>
              <a:custGeom>
                <a:avLst/>
                <a:gdLst>
                  <a:gd name="connsiteX0" fmla="*/ 42472 w 199466"/>
                  <a:gd name="connsiteY0" fmla="*/ 62950 h 62949"/>
                  <a:gd name="connsiteX1" fmla="*/ 6067 w 199466"/>
                  <a:gd name="connsiteY1" fmla="*/ 59916 h 62949"/>
                  <a:gd name="connsiteX2" fmla="*/ 0 w 199466"/>
                  <a:gd name="connsiteY2" fmla="*/ 53849 h 62949"/>
                  <a:gd name="connsiteX3" fmla="*/ 6067 w 199466"/>
                  <a:gd name="connsiteY3" fmla="*/ 47781 h 62949"/>
                  <a:gd name="connsiteX4" fmla="*/ 188090 w 199466"/>
                  <a:gd name="connsiteY4" fmla="*/ 2275 h 62949"/>
                  <a:gd name="connsiteX5" fmla="*/ 197191 w 199466"/>
                  <a:gd name="connsiteY5" fmla="*/ 2275 h 62949"/>
                  <a:gd name="connsiteX6" fmla="*/ 197191 w 199466"/>
                  <a:gd name="connsiteY6" fmla="*/ 11376 h 62949"/>
                  <a:gd name="connsiteX7" fmla="*/ 42472 w 199466"/>
                  <a:gd name="connsiteY7" fmla="*/ 62950 h 62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9466" h="62949">
                    <a:moveTo>
                      <a:pt x="42472" y="62950"/>
                    </a:moveTo>
                    <a:cubicBezTo>
                      <a:pt x="21236" y="62950"/>
                      <a:pt x="9101" y="59916"/>
                      <a:pt x="6067" y="59916"/>
                    </a:cubicBezTo>
                    <a:cubicBezTo>
                      <a:pt x="3034" y="59916"/>
                      <a:pt x="0" y="56882"/>
                      <a:pt x="0" y="53849"/>
                    </a:cubicBezTo>
                    <a:cubicBezTo>
                      <a:pt x="0" y="50815"/>
                      <a:pt x="3034" y="47781"/>
                      <a:pt x="6067" y="47781"/>
                    </a:cubicBezTo>
                    <a:cubicBezTo>
                      <a:pt x="6067" y="47781"/>
                      <a:pt x="118315" y="62950"/>
                      <a:pt x="188090" y="2275"/>
                    </a:cubicBezTo>
                    <a:cubicBezTo>
                      <a:pt x="191124" y="-758"/>
                      <a:pt x="194157" y="-758"/>
                      <a:pt x="197191" y="2275"/>
                    </a:cubicBezTo>
                    <a:cubicBezTo>
                      <a:pt x="200225" y="5309"/>
                      <a:pt x="200225" y="8343"/>
                      <a:pt x="197191" y="11376"/>
                    </a:cubicBezTo>
                    <a:cubicBezTo>
                      <a:pt x="148652" y="53849"/>
                      <a:pt x="84944" y="62950"/>
                      <a:pt x="42472" y="6295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7" name="任意多边形: 形状 246">
                <a:extLst>
                  <a:ext uri="{FF2B5EF4-FFF2-40B4-BE49-F238E27FC236}">
                    <a16:creationId xmlns:a16="http://schemas.microsoft.com/office/drawing/2014/main" id="{9A802D4C-E165-4D96-BF19-B097D3B4C21E}"/>
                  </a:ext>
                </a:extLst>
              </p:cNvPr>
              <p:cNvSpPr/>
              <p:nvPr/>
            </p:nvSpPr>
            <p:spPr>
              <a:xfrm>
                <a:off x="3546528" y="12328016"/>
                <a:ext cx="37921" cy="41713"/>
              </a:xfrm>
              <a:custGeom>
                <a:avLst/>
                <a:gdLst>
                  <a:gd name="connsiteX0" fmla="*/ 5309 w 37921"/>
                  <a:gd name="connsiteY0" fmla="*/ 41713 h 41713"/>
                  <a:gd name="connsiteX1" fmla="*/ 2275 w 37921"/>
                  <a:gd name="connsiteY1" fmla="*/ 38680 h 41713"/>
                  <a:gd name="connsiteX2" fmla="*/ 2275 w 37921"/>
                  <a:gd name="connsiteY2" fmla="*/ 29579 h 41713"/>
                  <a:gd name="connsiteX3" fmla="*/ 26545 w 37921"/>
                  <a:gd name="connsiteY3" fmla="*/ 2275 h 41713"/>
                  <a:gd name="connsiteX4" fmla="*/ 35646 w 37921"/>
                  <a:gd name="connsiteY4" fmla="*/ 2275 h 41713"/>
                  <a:gd name="connsiteX5" fmla="*/ 35646 w 37921"/>
                  <a:gd name="connsiteY5" fmla="*/ 11376 h 41713"/>
                  <a:gd name="connsiteX6" fmla="*/ 11376 w 37921"/>
                  <a:gd name="connsiteY6" fmla="*/ 38680 h 41713"/>
                  <a:gd name="connsiteX7" fmla="*/ 5309 w 37921"/>
                  <a:gd name="connsiteY7" fmla="*/ 41713 h 41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921" h="41713">
                    <a:moveTo>
                      <a:pt x="5309" y="41713"/>
                    </a:moveTo>
                    <a:cubicBezTo>
                      <a:pt x="5309" y="41713"/>
                      <a:pt x="2275" y="41713"/>
                      <a:pt x="2275" y="38680"/>
                    </a:cubicBezTo>
                    <a:cubicBezTo>
                      <a:pt x="-758" y="35646"/>
                      <a:pt x="-758" y="32612"/>
                      <a:pt x="2275" y="29579"/>
                    </a:cubicBezTo>
                    <a:lnTo>
                      <a:pt x="26545" y="2275"/>
                    </a:lnTo>
                    <a:cubicBezTo>
                      <a:pt x="29579" y="-758"/>
                      <a:pt x="32612" y="-758"/>
                      <a:pt x="35646" y="2275"/>
                    </a:cubicBezTo>
                    <a:cubicBezTo>
                      <a:pt x="38680" y="5309"/>
                      <a:pt x="38680" y="8343"/>
                      <a:pt x="35646" y="11376"/>
                    </a:cubicBezTo>
                    <a:lnTo>
                      <a:pt x="11376" y="38680"/>
                    </a:lnTo>
                    <a:cubicBezTo>
                      <a:pt x="8343" y="41713"/>
                      <a:pt x="5309" y="41713"/>
                      <a:pt x="5309" y="4171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8" name="任意多边形: 形状 247">
                <a:extLst>
                  <a:ext uri="{FF2B5EF4-FFF2-40B4-BE49-F238E27FC236}">
                    <a16:creationId xmlns:a16="http://schemas.microsoft.com/office/drawing/2014/main" id="{B409BC78-2569-4243-A2A0-BFFE4C5533DD}"/>
                  </a:ext>
                </a:extLst>
              </p:cNvPr>
              <p:cNvSpPr/>
              <p:nvPr/>
            </p:nvSpPr>
            <p:spPr>
              <a:xfrm>
                <a:off x="3582932" y="12355319"/>
                <a:ext cx="40955" cy="41713"/>
              </a:xfrm>
              <a:custGeom>
                <a:avLst/>
                <a:gdLst>
                  <a:gd name="connsiteX0" fmla="*/ 5309 w 40955"/>
                  <a:gd name="connsiteY0" fmla="*/ 41713 h 41713"/>
                  <a:gd name="connsiteX1" fmla="*/ 2275 w 40955"/>
                  <a:gd name="connsiteY1" fmla="*/ 38679 h 41713"/>
                  <a:gd name="connsiteX2" fmla="*/ 2275 w 40955"/>
                  <a:gd name="connsiteY2" fmla="*/ 29579 h 41713"/>
                  <a:gd name="connsiteX3" fmla="*/ 29579 w 40955"/>
                  <a:gd name="connsiteY3" fmla="*/ 2275 h 41713"/>
                  <a:gd name="connsiteX4" fmla="*/ 38680 w 40955"/>
                  <a:gd name="connsiteY4" fmla="*/ 2275 h 41713"/>
                  <a:gd name="connsiteX5" fmla="*/ 38680 w 40955"/>
                  <a:gd name="connsiteY5" fmla="*/ 11376 h 41713"/>
                  <a:gd name="connsiteX6" fmla="*/ 11376 w 40955"/>
                  <a:gd name="connsiteY6" fmla="*/ 38679 h 41713"/>
                  <a:gd name="connsiteX7" fmla="*/ 5309 w 40955"/>
                  <a:gd name="connsiteY7" fmla="*/ 41713 h 41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55" h="41713">
                    <a:moveTo>
                      <a:pt x="5309" y="41713"/>
                    </a:moveTo>
                    <a:cubicBezTo>
                      <a:pt x="5309" y="41713"/>
                      <a:pt x="2275" y="41713"/>
                      <a:pt x="2275" y="38679"/>
                    </a:cubicBezTo>
                    <a:cubicBezTo>
                      <a:pt x="-758" y="35645"/>
                      <a:pt x="-758" y="32612"/>
                      <a:pt x="2275" y="29579"/>
                    </a:cubicBezTo>
                    <a:lnTo>
                      <a:pt x="29579" y="2275"/>
                    </a:lnTo>
                    <a:cubicBezTo>
                      <a:pt x="32612" y="-758"/>
                      <a:pt x="35646" y="-758"/>
                      <a:pt x="38680" y="2275"/>
                    </a:cubicBezTo>
                    <a:cubicBezTo>
                      <a:pt x="41713" y="5308"/>
                      <a:pt x="41713" y="8342"/>
                      <a:pt x="38680" y="11376"/>
                    </a:cubicBezTo>
                    <a:lnTo>
                      <a:pt x="11376" y="38679"/>
                    </a:lnTo>
                    <a:cubicBezTo>
                      <a:pt x="8343" y="41713"/>
                      <a:pt x="8343" y="41713"/>
                      <a:pt x="5309" y="4171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5A899988-7BF5-4CBF-80CE-277E0FDDACBC}"/>
                </a:ext>
              </a:extLst>
            </p:cNvPr>
            <p:cNvSpPr/>
            <p:nvPr/>
          </p:nvSpPr>
          <p:spPr>
            <a:xfrm>
              <a:off x="3303073" y="9967032"/>
              <a:ext cx="1142036" cy="2287415"/>
            </a:xfrm>
            <a:custGeom>
              <a:avLst/>
              <a:gdLst>
                <a:gd name="connsiteX0" fmla="*/ 1061798 w 1142036"/>
                <a:gd name="connsiteY0" fmla="*/ 24270 h 2287415"/>
                <a:gd name="connsiteX1" fmla="*/ 1134607 w 1142036"/>
                <a:gd name="connsiteY1" fmla="*/ 1407640 h 2287415"/>
                <a:gd name="connsiteX2" fmla="*/ 1013258 w 1142036"/>
                <a:gd name="connsiteY2" fmla="*/ 2287416 h 2287415"/>
                <a:gd name="connsiteX3" fmla="*/ 718989 w 1142036"/>
                <a:gd name="connsiteY3" fmla="*/ 2287416 h 2287415"/>
                <a:gd name="connsiteX4" fmla="*/ 734157 w 1142036"/>
                <a:gd name="connsiteY4" fmla="*/ 1431911 h 2287415"/>
                <a:gd name="connsiteX5" fmla="*/ 567303 w 1142036"/>
                <a:gd name="connsiteY5" fmla="*/ 503596 h 2287415"/>
                <a:gd name="connsiteX6" fmla="*/ 455056 w 1142036"/>
                <a:gd name="connsiteY6" fmla="*/ 1459214 h 2287415"/>
                <a:gd name="connsiteX7" fmla="*/ 285168 w 1142036"/>
                <a:gd name="connsiteY7" fmla="*/ 2263146 h 2287415"/>
                <a:gd name="connsiteX8" fmla="*/ 0 w 1142036"/>
                <a:gd name="connsiteY8" fmla="*/ 2272247 h 2287415"/>
                <a:gd name="connsiteX9" fmla="*/ 54607 w 1142036"/>
                <a:gd name="connsiteY9" fmla="*/ 1437977 h 2287415"/>
                <a:gd name="connsiteX10" fmla="*/ 42472 w 1142036"/>
                <a:gd name="connsiteY10" fmla="*/ 0 h 2287415"/>
                <a:gd name="connsiteX11" fmla="*/ 1061798 w 1142036"/>
                <a:gd name="connsiteY11" fmla="*/ 24270 h 228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2036" h="2287415">
                  <a:moveTo>
                    <a:pt x="1061798" y="24270"/>
                  </a:moveTo>
                  <a:cubicBezTo>
                    <a:pt x="1061798" y="24270"/>
                    <a:pt x="1171011" y="1098203"/>
                    <a:pt x="1134607" y="1407640"/>
                  </a:cubicBezTo>
                  <a:cubicBezTo>
                    <a:pt x="1104270" y="1677641"/>
                    <a:pt x="1013258" y="2287416"/>
                    <a:pt x="1013258" y="2287416"/>
                  </a:cubicBezTo>
                  <a:lnTo>
                    <a:pt x="718989" y="2287416"/>
                  </a:lnTo>
                  <a:cubicBezTo>
                    <a:pt x="718989" y="2287416"/>
                    <a:pt x="740225" y="1528989"/>
                    <a:pt x="734157" y="1431911"/>
                  </a:cubicBezTo>
                  <a:cubicBezTo>
                    <a:pt x="728090" y="1292360"/>
                    <a:pt x="582472" y="533933"/>
                    <a:pt x="567303" y="503596"/>
                  </a:cubicBezTo>
                  <a:cubicBezTo>
                    <a:pt x="552135" y="473259"/>
                    <a:pt x="455056" y="1459214"/>
                    <a:pt x="455056" y="1459214"/>
                  </a:cubicBezTo>
                  <a:lnTo>
                    <a:pt x="285168" y="2263146"/>
                  </a:lnTo>
                  <a:lnTo>
                    <a:pt x="0" y="2272247"/>
                  </a:lnTo>
                  <a:cubicBezTo>
                    <a:pt x="0" y="2272247"/>
                    <a:pt x="60674" y="1538090"/>
                    <a:pt x="54607" y="1437977"/>
                  </a:cubicBezTo>
                  <a:cubicBezTo>
                    <a:pt x="45506" y="1286292"/>
                    <a:pt x="-3034" y="97079"/>
                    <a:pt x="42472" y="0"/>
                  </a:cubicBezTo>
                  <a:cubicBezTo>
                    <a:pt x="737191" y="36405"/>
                    <a:pt x="1061798" y="24270"/>
                    <a:pt x="1061798" y="24270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00A49C4E-1CBF-463C-AB9C-2EE63A47D4C3}"/>
                </a:ext>
              </a:extLst>
            </p:cNvPr>
            <p:cNvSpPr/>
            <p:nvPr/>
          </p:nvSpPr>
          <p:spPr>
            <a:xfrm>
              <a:off x="3864309" y="10112651"/>
              <a:ext cx="69775" cy="364044"/>
            </a:xfrm>
            <a:custGeom>
              <a:avLst/>
              <a:gdLst>
                <a:gd name="connsiteX0" fmla="*/ 6067 w 69775"/>
                <a:gd name="connsiteY0" fmla="*/ 364045 h 364044"/>
                <a:gd name="connsiteX1" fmla="*/ 6067 w 69775"/>
                <a:gd name="connsiteY1" fmla="*/ 364045 h 364044"/>
                <a:gd name="connsiteX2" fmla="*/ 0 w 69775"/>
                <a:gd name="connsiteY2" fmla="*/ 354943 h 364044"/>
                <a:gd name="connsiteX3" fmla="*/ 57640 w 69775"/>
                <a:gd name="connsiteY3" fmla="*/ 6067 h 364044"/>
                <a:gd name="connsiteX4" fmla="*/ 63708 w 69775"/>
                <a:gd name="connsiteY4" fmla="*/ 0 h 364044"/>
                <a:gd name="connsiteX5" fmla="*/ 69775 w 69775"/>
                <a:gd name="connsiteY5" fmla="*/ 6067 h 364044"/>
                <a:gd name="connsiteX6" fmla="*/ 12135 w 69775"/>
                <a:gd name="connsiteY6" fmla="*/ 357977 h 364044"/>
                <a:gd name="connsiteX7" fmla="*/ 6067 w 69775"/>
                <a:gd name="connsiteY7" fmla="*/ 364045 h 36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775" h="364044">
                  <a:moveTo>
                    <a:pt x="6067" y="364045"/>
                  </a:moveTo>
                  <a:cubicBezTo>
                    <a:pt x="3034" y="364045"/>
                    <a:pt x="3034" y="364045"/>
                    <a:pt x="6067" y="364045"/>
                  </a:cubicBezTo>
                  <a:cubicBezTo>
                    <a:pt x="0" y="361011"/>
                    <a:pt x="0" y="357977"/>
                    <a:pt x="0" y="354943"/>
                  </a:cubicBezTo>
                  <a:cubicBezTo>
                    <a:pt x="48539" y="242697"/>
                    <a:pt x="57640" y="9101"/>
                    <a:pt x="57640" y="6067"/>
                  </a:cubicBezTo>
                  <a:cubicBezTo>
                    <a:pt x="57640" y="3033"/>
                    <a:pt x="60674" y="0"/>
                    <a:pt x="63708" y="0"/>
                  </a:cubicBezTo>
                  <a:cubicBezTo>
                    <a:pt x="66742" y="0"/>
                    <a:pt x="69775" y="3033"/>
                    <a:pt x="69775" y="6067"/>
                  </a:cubicBezTo>
                  <a:cubicBezTo>
                    <a:pt x="69775" y="15169"/>
                    <a:pt x="60674" y="242697"/>
                    <a:pt x="12135" y="357977"/>
                  </a:cubicBezTo>
                  <a:cubicBezTo>
                    <a:pt x="9101" y="364045"/>
                    <a:pt x="6067" y="364045"/>
                    <a:pt x="6067" y="364045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87AA6639-AB07-4DB7-A230-4E222E372697}"/>
                </a:ext>
              </a:extLst>
            </p:cNvPr>
            <p:cNvSpPr/>
            <p:nvPr/>
          </p:nvSpPr>
          <p:spPr>
            <a:xfrm>
              <a:off x="3890356" y="10045909"/>
              <a:ext cx="155975" cy="354944"/>
            </a:xfrm>
            <a:custGeom>
              <a:avLst/>
              <a:gdLst>
                <a:gd name="connsiteX0" fmla="*/ 7324 w 155975"/>
                <a:gd name="connsiteY0" fmla="*/ 354944 h 354944"/>
                <a:gd name="connsiteX1" fmla="*/ 1257 w 155975"/>
                <a:gd name="connsiteY1" fmla="*/ 351910 h 354944"/>
                <a:gd name="connsiteX2" fmla="*/ 4290 w 155975"/>
                <a:gd name="connsiteY2" fmla="*/ 342809 h 354944"/>
                <a:gd name="connsiteX3" fmla="*/ 110470 w 155975"/>
                <a:gd name="connsiteY3" fmla="*/ 266966 h 354944"/>
                <a:gd name="connsiteX4" fmla="*/ 143841 w 155975"/>
                <a:gd name="connsiteY4" fmla="*/ 6068 h 354944"/>
                <a:gd name="connsiteX5" fmla="*/ 149908 w 155975"/>
                <a:gd name="connsiteY5" fmla="*/ 0 h 354944"/>
                <a:gd name="connsiteX6" fmla="*/ 155976 w 155975"/>
                <a:gd name="connsiteY6" fmla="*/ 6068 h 354944"/>
                <a:gd name="connsiteX7" fmla="*/ 122605 w 155975"/>
                <a:gd name="connsiteY7" fmla="*/ 273034 h 354944"/>
                <a:gd name="connsiteX8" fmla="*/ 13391 w 155975"/>
                <a:gd name="connsiteY8" fmla="*/ 351910 h 354944"/>
                <a:gd name="connsiteX9" fmla="*/ 7324 w 155975"/>
                <a:gd name="connsiteY9" fmla="*/ 354944 h 354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5975" h="354944">
                  <a:moveTo>
                    <a:pt x="7324" y="354944"/>
                  </a:moveTo>
                  <a:cubicBezTo>
                    <a:pt x="4290" y="354944"/>
                    <a:pt x="4290" y="354944"/>
                    <a:pt x="1257" y="351910"/>
                  </a:cubicBezTo>
                  <a:cubicBezTo>
                    <a:pt x="-1777" y="348876"/>
                    <a:pt x="1257" y="345843"/>
                    <a:pt x="4290" y="342809"/>
                  </a:cubicBezTo>
                  <a:cubicBezTo>
                    <a:pt x="43729" y="318539"/>
                    <a:pt x="101369" y="276068"/>
                    <a:pt x="110470" y="266966"/>
                  </a:cubicBezTo>
                  <a:cubicBezTo>
                    <a:pt x="119571" y="254831"/>
                    <a:pt x="134740" y="100112"/>
                    <a:pt x="143841" y="6068"/>
                  </a:cubicBezTo>
                  <a:cubicBezTo>
                    <a:pt x="143841" y="3034"/>
                    <a:pt x="146875" y="0"/>
                    <a:pt x="149908" y="0"/>
                  </a:cubicBezTo>
                  <a:cubicBezTo>
                    <a:pt x="152942" y="0"/>
                    <a:pt x="155976" y="3034"/>
                    <a:pt x="155976" y="6068"/>
                  </a:cubicBezTo>
                  <a:cubicBezTo>
                    <a:pt x="152942" y="48540"/>
                    <a:pt x="131706" y="257865"/>
                    <a:pt x="122605" y="273034"/>
                  </a:cubicBezTo>
                  <a:cubicBezTo>
                    <a:pt x="110470" y="288202"/>
                    <a:pt x="22493" y="345843"/>
                    <a:pt x="13391" y="351910"/>
                  </a:cubicBezTo>
                  <a:cubicBezTo>
                    <a:pt x="10358" y="351910"/>
                    <a:pt x="10358" y="354944"/>
                    <a:pt x="7324" y="354944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C21D835F-4FF2-417A-B584-4626248FE3F6}"/>
                </a:ext>
              </a:extLst>
            </p:cNvPr>
            <p:cNvSpPr/>
            <p:nvPr/>
          </p:nvSpPr>
          <p:spPr>
            <a:xfrm>
              <a:off x="3263445" y="12184673"/>
              <a:ext cx="361200" cy="140793"/>
            </a:xfrm>
            <a:custGeom>
              <a:avLst/>
              <a:gdLst>
                <a:gd name="connsiteX0" fmla="*/ 190 w 361200"/>
                <a:gd name="connsiteY0" fmla="*/ 30337 h 140793"/>
                <a:gd name="connsiteX1" fmla="*/ 15358 w 361200"/>
                <a:gd name="connsiteY1" fmla="*/ 139551 h 140793"/>
                <a:gd name="connsiteX2" fmla="*/ 361201 w 361200"/>
                <a:gd name="connsiteY2" fmla="*/ 100112 h 140793"/>
                <a:gd name="connsiteX3" fmla="*/ 349066 w 361200"/>
                <a:gd name="connsiteY3" fmla="*/ 0 h 140793"/>
                <a:gd name="connsiteX4" fmla="*/ 190 w 361200"/>
                <a:gd name="connsiteY4" fmla="*/ 30337 h 14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200" h="140793">
                  <a:moveTo>
                    <a:pt x="190" y="30337"/>
                  </a:moveTo>
                  <a:cubicBezTo>
                    <a:pt x="190" y="30337"/>
                    <a:pt x="-2844" y="94045"/>
                    <a:pt x="15358" y="139551"/>
                  </a:cubicBezTo>
                  <a:cubicBezTo>
                    <a:pt x="15358" y="139551"/>
                    <a:pt x="206482" y="151685"/>
                    <a:pt x="361201" y="100112"/>
                  </a:cubicBezTo>
                  <a:cubicBezTo>
                    <a:pt x="361201" y="100112"/>
                    <a:pt x="361201" y="42472"/>
                    <a:pt x="349066" y="0"/>
                  </a:cubicBezTo>
                  <a:cubicBezTo>
                    <a:pt x="349066" y="0"/>
                    <a:pt x="100302" y="48540"/>
                    <a:pt x="190" y="30337"/>
                  </a:cubicBezTo>
                  <a:close/>
                </a:path>
              </a:pathLst>
            </a:custGeom>
            <a:solidFill>
              <a:srgbClr val="9DB3D1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7CC1B807-458C-4159-A520-AC2E9305CF3E}"/>
                </a:ext>
              </a:extLst>
            </p:cNvPr>
            <p:cNvSpPr/>
            <p:nvPr/>
          </p:nvSpPr>
          <p:spPr>
            <a:xfrm>
              <a:off x="3985468" y="12202876"/>
              <a:ext cx="361200" cy="140793"/>
            </a:xfrm>
            <a:custGeom>
              <a:avLst/>
              <a:gdLst>
                <a:gd name="connsiteX0" fmla="*/ 190 w 361200"/>
                <a:gd name="connsiteY0" fmla="*/ 30337 h 140793"/>
                <a:gd name="connsiteX1" fmla="*/ 15358 w 361200"/>
                <a:gd name="connsiteY1" fmla="*/ 139551 h 140793"/>
                <a:gd name="connsiteX2" fmla="*/ 361201 w 361200"/>
                <a:gd name="connsiteY2" fmla="*/ 100112 h 140793"/>
                <a:gd name="connsiteX3" fmla="*/ 349066 w 361200"/>
                <a:gd name="connsiteY3" fmla="*/ 0 h 140793"/>
                <a:gd name="connsiteX4" fmla="*/ 190 w 361200"/>
                <a:gd name="connsiteY4" fmla="*/ 30337 h 14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200" h="140793">
                  <a:moveTo>
                    <a:pt x="190" y="30337"/>
                  </a:moveTo>
                  <a:cubicBezTo>
                    <a:pt x="190" y="30337"/>
                    <a:pt x="-2844" y="94045"/>
                    <a:pt x="15358" y="139551"/>
                  </a:cubicBezTo>
                  <a:cubicBezTo>
                    <a:pt x="15358" y="139551"/>
                    <a:pt x="206482" y="151685"/>
                    <a:pt x="361201" y="100112"/>
                  </a:cubicBezTo>
                  <a:cubicBezTo>
                    <a:pt x="361201" y="100112"/>
                    <a:pt x="361201" y="42472"/>
                    <a:pt x="349066" y="0"/>
                  </a:cubicBezTo>
                  <a:cubicBezTo>
                    <a:pt x="349066" y="0"/>
                    <a:pt x="100302" y="45506"/>
                    <a:pt x="190" y="30337"/>
                  </a:cubicBezTo>
                  <a:close/>
                </a:path>
              </a:pathLst>
            </a:custGeom>
            <a:solidFill>
              <a:srgbClr val="9DB3D1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D1925487-82D6-4351-9839-A5B3FE92E62F}"/>
                </a:ext>
              </a:extLst>
            </p:cNvPr>
            <p:cNvSpPr/>
            <p:nvPr/>
          </p:nvSpPr>
          <p:spPr>
            <a:xfrm>
              <a:off x="4224630" y="8589729"/>
              <a:ext cx="1014187" cy="715696"/>
            </a:xfrm>
            <a:custGeom>
              <a:avLst/>
              <a:gdLst>
                <a:gd name="connsiteX0" fmla="*/ 15859 w 1014187"/>
                <a:gd name="connsiteY0" fmla="*/ 127416 h 715696"/>
                <a:gd name="connsiteX1" fmla="*/ 437544 w 1014187"/>
                <a:gd name="connsiteY1" fmla="*/ 218427 h 715696"/>
                <a:gd name="connsiteX2" fmla="*/ 789454 w 1014187"/>
                <a:gd name="connsiteY2" fmla="*/ 455056 h 715696"/>
                <a:gd name="connsiteX3" fmla="*/ 907769 w 1014187"/>
                <a:gd name="connsiteY3" fmla="*/ 0 h 715696"/>
                <a:gd name="connsiteX4" fmla="*/ 1013949 w 1014187"/>
                <a:gd name="connsiteY4" fmla="*/ 51573 h 715696"/>
                <a:gd name="connsiteX5" fmla="*/ 929005 w 1014187"/>
                <a:gd name="connsiteY5" fmla="*/ 700787 h 715696"/>
                <a:gd name="connsiteX6" fmla="*/ 15859 w 1014187"/>
                <a:gd name="connsiteY6" fmla="*/ 127416 h 715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4187" h="715696">
                  <a:moveTo>
                    <a:pt x="15859" y="127416"/>
                  </a:moveTo>
                  <a:cubicBezTo>
                    <a:pt x="79567" y="30337"/>
                    <a:pt x="337432" y="166854"/>
                    <a:pt x="437544" y="218427"/>
                  </a:cubicBezTo>
                  <a:cubicBezTo>
                    <a:pt x="525522" y="263933"/>
                    <a:pt x="789454" y="455056"/>
                    <a:pt x="789454" y="455056"/>
                  </a:cubicBezTo>
                  <a:lnTo>
                    <a:pt x="907769" y="0"/>
                  </a:lnTo>
                  <a:lnTo>
                    <a:pt x="1013949" y="51573"/>
                  </a:lnTo>
                  <a:cubicBezTo>
                    <a:pt x="1013949" y="51573"/>
                    <a:pt x="1023050" y="640113"/>
                    <a:pt x="929005" y="700787"/>
                  </a:cubicBezTo>
                  <a:cubicBezTo>
                    <a:pt x="771252" y="803933"/>
                    <a:pt x="-129759" y="345843"/>
                    <a:pt x="15859" y="127416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3127B440-FB38-4291-B8C6-50E1361C5698}"/>
                </a:ext>
              </a:extLst>
            </p:cNvPr>
            <p:cNvSpPr/>
            <p:nvPr/>
          </p:nvSpPr>
          <p:spPr>
            <a:xfrm>
              <a:off x="4103027" y="8564292"/>
              <a:ext cx="574315" cy="541167"/>
            </a:xfrm>
            <a:custGeom>
              <a:avLst/>
              <a:gdLst>
                <a:gd name="connsiteX0" fmla="*/ 334653 w 574315"/>
                <a:gd name="connsiteY0" fmla="*/ 541167 h 541167"/>
                <a:gd name="connsiteX1" fmla="*/ 7012 w 574315"/>
                <a:gd name="connsiteY1" fmla="*/ 43639 h 541167"/>
                <a:gd name="connsiteX2" fmla="*/ 574316 w 574315"/>
                <a:gd name="connsiteY2" fmla="*/ 195325 h 541167"/>
                <a:gd name="connsiteX3" fmla="*/ 334653 w 574315"/>
                <a:gd name="connsiteY3" fmla="*/ 541167 h 54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4315" h="541167">
                  <a:moveTo>
                    <a:pt x="334653" y="541167"/>
                  </a:moveTo>
                  <a:cubicBezTo>
                    <a:pt x="334653" y="541167"/>
                    <a:pt x="-56695" y="174088"/>
                    <a:pt x="7012" y="43639"/>
                  </a:cubicBezTo>
                  <a:cubicBezTo>
                    <a:pt x="79821" y="-111080"/>
                    <a:pt x="574316" y="195325"/>
                    <a:pt x="574316" y="195325"/>
                  </a:cubicBezTo>
                  <a:cubicBezTo>
                    <a:pt x="574316" y="195325"/>
                    <a:pt x="504540" y="413752"/>
                    <a:pt x="334653" y="541167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4562F413-E1C5-413B-BDA5-C6209C8E3EC6}"/>
                </a:ext>
              </a:extLst>
            </p:cNvPr>
            <p:cNvSpPr/>
            <p:nvPr/>
          </p:nvSpPr>
          <p:spPr>
            <a:xfrm>
              <a:off x="3773298" y="8304561"/>
              <a:ext cx="248764" cy="256965"/>
            </a:xfrm>
            <a:custGeom>
              <a:avLst/>
              <a:gdLst>
                <a:gd name="connsiteX0" fmla="*/ 248764 w 248764"/>
                <a:gd name="connsiteY0" fmla="*/ 39438 h 256965"/>
                <a:gd name="connsiteX1" fmla="*/ 242697 w 248764"/>
                <a:gd name="connsiteY1" fmla="*/ 212360 h 256965"/>
                <a:gd name="connsiteX2" fmla="*/ 0 w 248764"/>
                <a:gd name="connsiteY2" fmla="*/ 203258 h 256965"/>
                <a:gd name="connsiteX3" fmla="*/ 15169 w 248764"/>
                <a:gd name="connsiteY3" fmla="*/ 0 h 256965"/>
                <a:gd name="connsiteX4" fmla="*/ 248764 w 248764"/>
                <a:gd name="connsiteY4" fmla="*/ 39438 h 25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764" h="256965">
                  <a:moveTo>
                    <a:pt x="248764" y="39438"/>
                  </a:moveTo>
                  <a:cubicBezTo>
                    <a:pt x="248764" y="39438"/>
                    <a:pt x="242697" y="139550"/>
                    <a:pt x="242697" y="212360"/>
                  </a:cubicBezTo>
                  <a:cubicBezTo>
                    <a:pt x="242697" y="212360"/>
                    <a:pt x="148652" y="318539"/>
                    <a:pt x="0" y="203258"/>
                  </a:cubicBezTo>
                  <a:cubicBezTo>
                    <a:pt x="0" y="142584"/>
                    <a:pt x="12135" y="63708"/>
                    <a:pt x="15169" y="0"/>
                  </a:cubicBezTo>
                  <a:cubicBezTo>
                    <a:pt x="12135" y="0"/>
                    <a:pt x="197191" y="51573"/>
                    <a:pt x="248764" y="39438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4899DD1A-81BD-41EF-AD18-438EB82A1773}"/>
                </a:ext>
              </a:extLst>
            </p:cNvPr>
            <p:cNvSpPr/>
            <p:nvPr/>
          </p:nvSpPr>
          <p:spPr>
            <a:xfrm>
              <a:off x="3682286" y="8186246"/>
              <a:ext cx="69775" cy="136516"/>
            </a:xfrm>
            <a:custGeom>
              <a:avLst/>
              <a:gdLst>
                <a:gd name="connsiteX0" fmla="*/ 0 w 69775"/>
                <a:gd name="connsiteY0" fmla="*/ 0 h 136516"/>
                <a:gd name="connsiteX1" fmla="*/ 66742 w 69775"/>
                <a:gd name="connsiteY1" fmla="*/ 136517 h 136516"/>
                <a:gd name="connsiteX2" fmla="*/ 69775 w 69775"/>
                <a:gd name="connsiteY2" fmla="*/ 51573 h 136516"/>
                <a:gd name="connsiteX3" fmla="*/ 0 w 69775"/>
                <a:gd name="connsiteY3" fmla="*/ 0 h 13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75" h="136516">
                  <a:moveTo>
                    <a:pt x="0" y="0"/>
                  </a:moveTo>
                  <a:cubicBezTo>
                    <a:pt x="0" y="0"/>
                    <a:pt x="15169" y="118315"/>
                    <a:pt x="66742" y="136517"/>
                  </a:cubicBezTo>
                  <a:lnTo>
                    <a:pt x="69775" y="5157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D511FAF9-C7E8-46CD-B3FA-EA6C322BF736}"/>
                </a:ext>
              </a:extLst>
            </p:cNvPr>
            <p:cNvSpPr/>
            <p:nvPr/>
          </p:nvSpPr>
          <p:spPr>
            <a:xfrm>
              <a:off x="4036781" y="7979954"/>
              <a:ext cx="102127" cy="236642"/>
            </a:xfrm>
            <a:custGeom>
              <a:avLst/>
              <a:gdLst>
                <a:gd name="connsiteX0" fmla="*/ 94494 w 102127"/>
                <a:gd name="connsiteY0" fmla="*/ 0 h 236642"/>
                <a:gd name="connsiteX1" fmla="*/ 55056 w 102127"/>
                <a:gd name="connsiteY1" fmla="*/ 233596 h 236642"/>
                <a:gd name="connsiteX2" fmla="*/ 449 w 102127"/>
                <a:gd name="connsiteY2" fmla="*/ 15169 h 236642"/>
                <a:gd name="connsiteX3" fmla="*/ 94494 w 102127"/>
                <a:gd name="connsiteY3" fmla="*/ 0 h 236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127" h="236642">
                  <a:moveTo>
                    <a:pt x="94494" y="0"/>
                  </a:moveTo>
                  <a:cubicBezTo>
                    <a:pt x="94494" y="0"/>
                    <a:pt x="127865" y="194158"/>
                    <a:pt x="55056" y="233596"/>
                  </a:cubicBezTo>
                  <a:cubicBezTo>
                    <a:pt x="-8652" y="266966"/>
                    <a:pt x="449" y="15169"/>
                    <a:pt x="449" y="15169"/>
                  </a:cubicBezTo>
                  <a:lnTo>
                    <a:pt x="94494" y="0"/>
                  </a:ln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76AB2C76-E363-43A6-9EF1-BC273EE0DF63}"/>
                </a:ext>
              </a:extLst>
            </p:cNvPr>
            <p:cNvSpPr/>
            <p:nvPr/>
          </p:nvSpPr>
          <p:spPr>
            <a:xfrm>
              <a:off x="3682286" y="7842551"/>
              <a:ext cx="421295" cy="565756"/>
            </a:xfrm>
            <a:custGeom>
              <a:avLst/>
              <a:gdLst>
                <a:gd name="connsiteX0" fmla="*/ 409551 w 421295"/>
                <a:gd name="connsiteY0" fmla="*/ 179875 h 565756"/>
                <a:gd name="connsiteX1" fmla="*/ 412584 w 421295"/>
                <a:gd name="connsiteY1" fmla="*/ 428639 h 565756"/>
                <a:gd name="connsiteX2" fmla="*/ 254831 w 421295"/>
                <a:gd name="connsiteY2" fmla="*/ 565156 h 565756"/>
                <a:gd name="connsiteX3" fmla="*/ 39438 w 421295"/>
                <a:gd name="connsiteY3" fmla="*/ 425605 h 565756"/>
                <a:gd name="connsiteX4" fmla="*/ 0 w 421295"/>
                <a:gd name="connsiteY4" fmla="*/ 201111 h 565756"/>
                <a:gd name="connsiteX5" fmla="*/ 209326 w 421295"/>
                <a:gd name="connsiteY5" fmla="*/ 886 h 565756"/>
                <a:gd name="connsiteX6" fmla="*/ 409551 w 421295"/>
                <a:gd name="connsiteY6" fmla="*/ 179875 h 56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295" h="565756">
                  <a:moveTo>
                    <a:pt x="409551" y="179875"/>
                  </a:moveTo>
                  <a:cubicBezTo>
                    <a:pt x="409551" y="179875"/>
                    <a:pt x="433820" y="355830"/>
                    <a:pt x="412584" y="428639"/>
                  </a:cubicBezTo>
                  <a:cubicBezTo>
                    <a:pt x="394382" y="495380"/>
                    <a:pt x="306404" y="559088"/>
                    <a:pt x="254831" y="565156"/>
                  </a:cubicBezTo>
                  <a:cubicBezTo>
                    <a:pt x="188090" y="571223"/>
                    <a:pt x="69775" y="531785"/>
                    <a:pt x="39438" y="425605"/>
                  </a:cubicBezTo>
                  <a:cubicBezTo>
                    <a:pt x="18202" y="352796"/>
                    <a:pt x="0" y="252684"/>
                    <a:pt x="0" y="201111"/>
                  </a:cubicBezTo>
                  <a:cubicBezTo>
                    <a:pt x="0" y="107065"/>
                    <a:pt x="27303" y="28189"/>
                    <a:pt x="209326" y="886"/>
                  </a:cubicBezTo>
                  <a:cubicBezTo>
                    <a:pt x="294270" y="-11249"/>
                    <a:pt x="388315" y="104032"/>
                    <a:pt x="409551" y="179875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4" name="任意多边形: 形状 183">
              <a:extLst>
                <a:ext uri="{FF2B5EF4-FFF2-40B4-BE49-F238E27FC236}">
                  <a16:creationId xmlns:a16="http://schemas.microsoft.com/office/drawing/2014/main" id="{E1898F86-FCC7-48E4-A9B8-B64FBBF3749C}"/>
                </a:ext>
              </a:extLst>
            </p:cNvPr>
            <p:cNvSpPr/>
            <p:nvPr/>
          </p:nvSpPr>
          <p:spPr>
            <a:xfrm>
              <a:off x="3909814" y="8101302"/>
              <a:ext cx="57640" cy="139550"/>
            </a:xfrm>
            <a:custGeom>
              <a:avLst/>
              <a:gdLst>
                <a:gd name="connsiteX0" fmla="*/ 27303 w 57640"/>
                <a:gd name="connsiteY0" fmla="*/ 139551 h 139550"/>
                <a:gd name="connsiteX1" fmla="*/ 6067 w 57640"/>
                <a:gd name="connsiteY1" fmla="*/ 136517 h 139550"/>
                <a:gd name="connsiteX2" fmla="*/ 0 w 57640"/>
                <a:gd name="connsiteY2" fmla="*/ 130450 h 139550"/>
                <a:gd name="connsiteX3" fmla="*/ 6067 w 57640"/>
                <a:gd name="connsiteY3" fmla="*/ 124382 h 139550"/>
                <a:gd name="connsiteX4" fmla="*/ 45506 w 57640"/>
                <a:gd name="connsiteY4" fmla="*/ 121348 h 139550"/>
                <a:gd name="connsiteX5" fmla="*/ 45506 w 57640"/>
                <a:gd name="connsiteY5" fmla="*/ 118315 h 139550"/>
                <a:gd name="connsiteX6" fmla="*/ 27303 w 57640"/>
                <a:gd name="connsiteY6" fmla="*/ 6068 h 139550"/>
                <a:gd name="connsiteX7" fmla="*/ 33371 w 57640"/>
                <a:gd name="connsiteY7" fmla="*/ 0 h 139550"/>
                <a:gd name="connsiteX8" fmla="*/ 39438 w 57640"/>
                <a:gd name="connsiteY8" fmla="*/ 6068 h 139550"/>
                <a:gd name="connsiteX9" fmla="*/ 57640 w 57640"/>
                <a:gd name="connsiteY9" fmla="*/ 118315 h 139550"/>
                <a:gd name="connsiteX10" fmla="*/ 51573 w 57640"/>
                <a:gd name="connsiteY10" fmla="*/ 130450 h 139550"/>
                <a:gd name="connsiteX11" fmla="*/ 27303 w 57640"/>
                <a:gd name="connsiteY11" fmla="*/ 139551 h 13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640" h="139550">
                  <a:moveTo>
                    <a:pt x="27303" y="139551"/>
                  </a:moveTo>
                  <a:cubicBezTo>
                    <a:pt x="18202" y="139551"/>
                    <a:pt x="9101" y="136517"/>
                    <a:pt x="6067" y="136517"/>
                  </a:cubicBezTo>
                  <a:cubicBezTo>
                    <a:pt x="3034" y="136517"/>
                    <a:pt x="0" y="133483"/>
                    <a:pt x="0" y="130450"/>
                  </a:cubicBezTo>
                  <a:cubicBezTo>
                    <a:pt x="0" y="127416"/>
                    <a:pt x="3034" y="124382"/>
                    <a:pt x="6067" y="124382"/>
                  </a:cubicBezTo>
                  <a:cubicBezTo>
                    <a:pt x="18202" y="127416"/>
                    <a:pt x="39438" y="127416"/>
                    <a:pt x="45506" y="121348"/>
                  </a:cubicBezTo>
                  <a:cubicBezTo>
                    <a:pt x="45506" y="121348"/>
                    <a:pt x="45506" y="118315"/>
                    <a:pt x="45506" y="118315"/>
                  </a:cubicBezTo>
                  <a:cubicBezTo>
                    <a:pt x="45506" y="100112"/>
                    <a:pt x="27303" y="9101"/>
                    <a:pt x="27303" y="6068"/>
                  </a:cubicBezTo>
                  <a:cubicBezTo>
                    <a:pt x="27303" y="3034"/>
                    <a:pt x="27303" y="0"/>
                    <a:pt x="33371" y="0"/>
                  </a:cubicBezTo>
                  <a:cubicBezTo>
                    <a:pt x="36405" y="0"/>
                    <a:pt x="39438" y="0"/>
                    <a:pt x="39438" y="6068"/>
                  </a:cubicBezTo>
                  <a:cubicBezTo>
                    <a:pt x="39438" y="9101"/>
                    <a:pt x="57640" y="100112"/>
                    <a:pt x="57640" y="118315"/>
                  </a:cubicBezTo>
                  <a:cubicBezTo>
                    <a:pt x="57640" y="124382"/>
                    <a:pt x="54607" y="127416"/>
                    <a:pt x="51573" y="130450"/>
                  </a:cubicBezTo>
                  <a:cubicBezTo>
                    <a:pt x="48539" y="139551"/>
                    <a:pt x="36405" y="139551"/>
                    <a:pt x="27303" y="139551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505CF8B3-C39A-44BC-B261-9198056AED27}"/>
                </a:ext>
              </a:extLst>
            </p:cNvPr>
            <p:cNvSpPr/>
            <p:nvPr/>
          </p:nvSpPr>
          <p:spPr>
            <a:xfrm>
              <a:off x="3997019" y="8082327"/>
              <a:ext cx="40806" cy="40806"/>
            </a:xfrm>
            <a:custGeom>
              <a:avLst/>
              <a:gdLst>
                <a:gd name="connsiteX0" fmla="*/ 773 w 40806"/>
                <a:gd name="connsiteY0" fmla="*/ 25043 h 40806"/>
                <a:gd name="connsiteX1" fmla="*/ 25043 w 40806"/>
                <a:gd name="connsiteY1" fmla="*/ 40211 h 40806"/>
                <a:gd name="connsiteX2" fmla="*/ 40211 w 40806"/>
                <a:gd name="connsiteY2" fmla="*/ 15942 h 40806"/>
                <a:gd name="connsiteX3" fmla="*/ 15942 w 40806"/>
                <a:gd name="connsiteY3" fmla="*/ 773 h 40806"/>
                <a:gd name="connsiteX4" fmla="*/ 773 w 40806"/>
                <a:gd name="connsiteY4" fmla="*/ 25043 h 40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06" h="40806">
                  <a:moveTo>
                    <a:pt x="773" y="25043"/>
                  </a:moveTo>
                  <a:cubicBezTo>
                    <a:pt x="3807" y="34144"/>
                    <a:pt x="12908" y="43245"/>
                    <a:pt x="25043" y="40211"/>
                  </a:cubicBezTo>
                  <a:cubicBezTo>
                    <a:pt x="34144" y="37178"/>
                    <a:pt x="43245" y="28076"/>
                    <a:pt x="40211" y="15942"/>
                  </a:cubicBezTo>
                  <a:cubicBezTo>
                    <a:pt x="37178" y="3807"/>
                    <a:pt x="28076" y="-2261"/>
                    <a:pt x="15942" y="773"/>
                  </a:cubicBezTo>
                  <a:cubicBezTo>
                    <a:pt x="3807" y="3807"/>
                    <a:pt x="-2261" y="12908"/>
                    <a:pt x="773" y="25043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5FFB38BF-7302-46DC-BDF6-244B7F0AC671}"/>
                </a:ext>
              </a:extLst>
            </p:cNvPr>
            <p:cNvSpPr/>
            <p:nvPr/>
          </p:nvSpPr>
          <p:spPr>
            <a:xfrm>
              <a:off x="3814996" y="8100707"/>
              <a:ext cx="40806" cy="40628"/>
            </a:xfrm>
            <a:custGeom>
              <a:avLst/>
              <a:gdLst>
                <a:gd name="connsiteX0" fmla="*/ 773 w 40806"/>
                <a:gd name="connsiteY0" fmla="*/ 24865 h 40628"/>
                <a:gd name="connsiteX1" fmla="*/ 25043 w 40806"/>
                <a:gd name="connsiteY1" fmla="*/ 40033 h 40628"/>
                <a:gd name="connsiteX2" fmla="*/ 40211 w 40806"/>
                <a:gd name="connsiteY2" fmla="*/ 15764 h 40628"/>
                <a:gd name="connsiteX3" fmla="*/ 15942 w 40806"/>
                <a:gd name="connsiteY3" fmla="*/ 595 h 40628"/>
                <a:gd name="connsiteX4" fmla="*/ 773 w 40806"/>
                <a:gd name="connsiteY4" fmla="*/ 24865 h 4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06" h="40628">
                  <a:moveTo>
                    <a:pt x="773" y="24865"/>
                  </a:moveTo>
                  <a:cubicBezTo>
                    <a:pt x="3807" y="33966"/>
                    <a:pt x="12908" y="43067"/>
                    <a:pt x="25043" y="40033"/>
                  </a:cubicBezTo>
                  <a:cubicBezTo>
                    <a:pt x="34144" y="37000"/>
                    <a:pt x="43245" y="27899"/>
                    <a:pt x="40211" y="15764"/>
                  </a:cubicBezTo>
                  <a:cubicBezTo>
                    <a:pt x="37178" y="6663"/>
                    <a:pt x="28076" y="-2438"/>
                    <a:pt x="15942" y="595"/>
                  </a:cubicBezTo>
                  <a:cubicBezTo>
                    <a:pt x="3807" y="3629"/>
                    <a:pt x="-2261" y="15764"/>
                    <a:pt x="773" y="24865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A8A9F534-5A2B-4F0A-BDFC-52D3A2F6C3E6}"/>
                </a:ext>
              </a:extLst>
            </p:cNvPr>
            <p:cNvSpPr/>
            <p:nvPr/>
          </p:nvSpPr>
          <p:spPr>
            <a:xfrm>
              <a:off x="3966198" y="8034561"/>
              <a:ext cx="91509" cy="33370"/>
            </a:xfrm>
            <a:custGeom>
              <a:avLst/>
              <a:gdLst>
                <a:gd name="connsiteX0" fmla="*/ 86200 w 91509"/>
                <a:gd name="connsiteY0" fmla="*/ 33371 h 33370"/>
                <a:gd name="connsiteX1" fmla="*/ 80133 w 91509"/>
                <a:gd name="connsiteY1" fmla="*/ 30337 h 33370"/>
                <a:gd name="connsiteX2" fmla="*/ 13391 w 91509"/>
                <a:gd name="connsiteY2" fmla="*/ 24270 h 33370"/>
                <a:gd name="connsiteX3" fmla="*/ 1257 w 91509"/>
                <a:gd name="connsiteY3" fmla="*/ 21236 h 33370"/>
                <a:gd name="connsiteX4" fmla="*/ 4290 w 91509"/>
                <a:gd name="connsiteY4" fmla="*/ 9101 h 33370"/>
                <a:gd name="connsiteX5" fmla="*/ 89234 w 91509"/>
                <a:gd name="connsiteY5" fmla="*/ 18202 h 33370"/>
                <a:gd name="connsiteX6" fmla="*/ 89234 w 91509"/>
                <a:gd name="connsiteY6" fmla="*/ 30337 h 33370"/>
                <a:gd name="connsiteX7" fmla="*/ 86200 w 91509"/>
                <a:gd name="connsiteY7" fmla="*/ 33371 h 3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3370">
                  <a:moveTo>
                    <a:pt x="86200" y="33371"/>
                  </a:moveTo>
                  <a:cubicBezTo>
                    <a:pt x="83167" y="33371"/>
                    <a:pt x="83167" y="33371"/>
                    <a:pt x="80133" y="30337"/>
                  </a:cubicBezTo>
                  <a:cubicBezTo>
                    <a:pt x="52830" y="3034"/>
                    <a:pt x="13391" y="24270"/>
                    <a:pt x="13391" y="24270"/>
                  </a:cubicBezTo>
                  <a:cubicBezTo>
                    <a:pt x="10358" y="27304"/>
                    <a:pt x="4290" y="24270"/>
                    <a:pt x="1257" y="21236"/>
                  </a:cubicBezTo>
                  <a:cubicBezTo>
                    <a:pt x="-1777" y="18202"/>
                    <a:pt x="1257" y="12135"/>
                    <a:pt x="4290" y="9101"/>
                  </a:cubicBezTo>
                  <a:cubicBezTo>
                    <a:pt x="22493" y="0"/>
                    <a:pt x="61931" y="-9101"/>
                    <a:pt x="89234" y="18202"/>
                  </a:cubicBezTo>
                  <a:cubicBezTo>
                    <a:pt x="92268" y="21236"/>
                    <a:pt x="92268" y="27304"/>
                    <a:pt x="89234" y="30337"/>
                  </a:cubicBezTo>
                  <a:cubicBezTo>
                    <a:pt x="92268" y="30337"/>
                    <a:pt x="89234" y="33371"/>
                    <a:pt x="86200" y="33371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AB155496-EE16-4DF2-AAD2-DAD13B4DA276}"/>
                </a:ext>
              </a:extLst>
            </p:cNvPr>
            <p:cNvSpPr/>
            <p:nvPr/>
          </p:nvSpPr>
          <p:spPr>
            <a:xfrm>
              <a:off x="3780123" y="8034869"/>
              <a:ext cx="91509" cy="36095"/>
            </a:xfrm>
            <a:custGeom>
              <a:avLst/>
              <a:gdLst>
                <a:gd name="connsiteX0" fmla="*/ 8343 w 91509"/>
                <a:gd name="connsiteY0" fmla="*/ 36096 h 36095"/>
                <a:gd name="connsiteX1" fmla="*/ 2275 w 91509"/>
                <a:gd name="connsiteY1" fmla="*/ 33062 h 36095"/>
                <a:gd name="connsiteX2" fmla="*/ 2275 w 91509"/>
                <a:gd name="connsiteY2" fmla="*/ 20927 h 36095"/>
                <a:gd name="connsiteX3" fmla="*/ 87219 w 91509"/>
                <a:gd name="connsiteY3" fmla="*/ 11826 h 36095"/>
                <a:gd name="connsiteX4" fmla="*/ 90253 w 91509"/>
                <a:gd name="connsiteY4" fmla="*/ 23961 h 36095"/>
                <a:gd name="connsiteX5" fmla="*/ 78118 w 91509"/>
                <a:gd name="connsiteY5" fmla="*/ 26995 h 36095"/>
                <a:gd name="connsiteX6" fmla="*/ 11376 w 91509"/>
                <a:gd name="connsiteY6" fmla="*/ 33062 h 36095"/>
                <a:gd name="connsiteX7" fmla="*/ 8343 w 91509"/>
                <a:gd name="connsiteY7" fmla="*/ 36096 h 36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6095">
                  <a:moveTo>
                    <a:pt x="8343" y="36096"/>
                  </a:moveTo>
                  <a:cubicBezTo>
                    <a:pt x="5309" y="36096"/>
                    <a:pt x="5309" y="36096"/>
                    <a:pt x="2275" y="33062"/>
                  </a:cubicBezTo>
                  <a:cubicBezTo>
                    <a:pt x="-758" y="30028"/>
                    <a:pt x="-758" y="23961"/>
                    <a:pt x="2275" y="20927"/>
                  </a:cubicBezTo>
                  <a:cubicBezTo>
                    <a:pt x="14410" y="5758"/>
                    <a:pt x="50815" y="-12443"/>
                    <a:pt x="87219" y="11826"/>
                  </a:cubicBezTo>
                  <a:cubicBezTo>
                    <a:pt x="90253" y="14860"/>
                    <a:pt x="93286" y="17894"/>
                    <a:pt x="90253" y="23961"/>
                  </a:cubicBezTo>
                  <a:cubicBezTo>
                    <a:pt x="87219" y="26995"/>
                    <a:pt x="84185" y="30028"/>
                    <a:pt x="78118" y="26995"/>
                  </a:cubicBezTo>
                  <a:cubicBezTo>
                    <a:pt x="41713" y="2725"/>
                    <a:pt x="14410" y="33062"/>
                    <a:pt x="11376" y="33062"/>
                  </a:cubicBezTo>
                  <a:cubicBezTo>
                    <a:pt x="11376" y="36096"/>
                    <a:pt x="11376" y="36096"/>
                    <a:pt x="8343" y="36096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0FE49831-35E3-49DD-BB5C-A5690E0B14DB}"/>
                </a:ext>
              </a:extLst>
            </p:cNvPr>
            <p:cNvSpPr/>
            <p:nvPr/>
          </p:nvSpPr>
          <p:spPr>
            <a:xfrm>
              <a:off x="3776331" y="8350067"/>
              <a:ext cx="229803" cy="63707"/>
            </a:xfrm>
            <a:custGeom>
              <a:avLst/>
              <a:gdLst>
                <a:gd name="connsiteX0" fmla="*/ 148652 w 229803"/>
                <a:gd name="connsiteY0" fmla="*/ 63708 h 63707"/>
                <a:gd name="connsiteX1" fmla="*/ 3034 w 229803"/>
                <a:gd name="connsiteY1" fmla="*/ 12135 h 63707"/>
                <a:gd name="connsiteX2" fmla="*/ 0 w 229803"/>
                <a:gd name="connsiteY2" fmla="*/ 3033 h 63707"/>
                <a:gd name="connsiteX3" fmla="*/ 9101 w 229803"/>
                <a:gd name="connsiteY3" fmla="*/ 0 h 63707"/>
                <a:gd name="connsiteX4" fmla="*/ 148652 w 229803"/>
                <a:gd name="connsiteY4" fmla="*/ 48539 h 63707"/>
                <a:gd name="connsiteX5" fmla="*/ 148652 w 229803"/>
                <a:gd name="connsiteY5" fmla="*/ 48539 h 63707"/>
                <a:gd name="connsiteX6" fmla="*/ 218427 w 229803"/>
                <a:gd name="connsiteY6" fmla="*/ 24269 h 63707"/>
                <a:gd name="connsiteX7" fmla="*/ 227528 w 229803"/>
                <a:gd name="connsiteY7" fmla="*/ 24269 h 63707"/>
                <a:gd name="connsiteX8" fmla="*/ 227528 w 229803"/>
                <a:gd name="connsiteY8" fmla="*/ 33371 h 63707"/>
                <a:gd name="connsiteX9" fmla="*/ 148652 w 229803"/>
                <a:gd name="connsiteY9" fmla="*/ 63708 h 63707"/>
                <a:gd name="connsiteX10" fmla="*/ 148652 w 229803"/>
                <a:gd name="connsiteY10" fmla="*/ 63708 h 6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9803" h="63707">
                  <a:moveTo>
                    <a:pt x="148652" y="63708"/>
                  </a:moveTo>
                  <a:cubicBezTo>
                    <a:pt x="97079" y="63708"/>
                    <a:pt x="9101" y="15169"/>
                    <a:pt x="3034" y="12135"/>
                  </a:cubicBezTo>
                  <a:cubicBezTo>
                    <a:pt x="0" y="9101"/>
                    <a:pt x="0" y="6067"/>
                    <a:pt x="0" y="3033"/>
                  </a:cubicBezTo>
                  <a:cubicBezTo>
                    <a:pt x="3034" y="0"/>
                    <a:pt x="6067" y="0"/>
                    <a:pt x="9101" y="0"/>
                  </a:cubicBezTo>
                  <a:cubicBezTo>
                    <a:pt x="9101" y="0"/>
                    <a:pt x="100112" y="48539"/>
                    <a:pt x="148652" y="48539"/>
                  </a:cubicBezTo>
                  <a:cubicBezTo>
                    <a:pt x="148652" y="48539"/>
                    <a:pt x="148652" y="48539"/>
                    <a:pt x="148652" y="48539"/>
                  </a:cubicBezTo>
                  <a:cubicBezTo>
                    <a:pt x="188090" y="48539"/>
                    <a:pt x="218427" y="24269"/>
                    <a:pt x="218427" y="24269"/>
                  </a:cubicBezTo>
                  <a:cubicBezTo>
                    <a:pt x="221461" y="21236"/>
                    <a:pt x="224494" y="21236"/>
                    <a:pt x="227528" y="24269"/>
                  </a:cubicBezTo>
                  <a:cubicBezTo>
                    <a:pt x="230562" y="27303"/>
                    <a:pt x="230562" y="30337"/>
                    <a:pt x="227528" y="33371"/>
                  </a:cubicBezTo>
                  <a:cubicBezTo>
                    <a:pt x="224494" y="36404"/>
                    <a:pt x="191124" y="63708"/>
                    <a:pt x="148652" y="63708"/>
                  </a:cubicBezTo>
                  <a:cubicBezTo>
                    <a:pt x="148652" y="63708"/>
                    <a:pt x="148652" y="63708"/>
                    <a:pt x="148652" y="63708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066DD698-0FC3-4EF2-A02B-404C759B822C}"/>
                </a:ext>
              </a:extLst>
            </p:cNvPr>
            <p:cNvSpPr/>
            <p:nvPr/>
          </p:nvSpPr>
          <p:spPr>
            <a:xfrm>
              <a:off x="3635400" y="7867707"/>
              <a:ext cx="119694" cy="266966"/>
            </a:xfrm>
            <a:custGeom>
              <a:avLst/>
              <a:gdLst>
                <a:gd name="connsiteX0" fmla="*/ 119695 w 119694"/>
                <a:gd name="connsiteY0" fmla="*/ 127416 h 266966"/>
                <a:gd name="connsiteX1" fmla="*/ 71156 w 119694"/>
                <a:gd name="connsiteY1" fmla="*/ 266966 h 266966"/>
                <a:gd name="connsiteX2" fmla="*/ 1380 w 119694"/>
                <a:gd name="connsiteY2" fmla="*/ 166854 h 266966"/>
                <a:gd name="connsiteX3" fmla="*/ 74189 w 119694"/>
                <a:gd name="connsiteY3" fmla="*/ 0 h 266966"/>
                <a:gd name="connsiteX4" fmla="*/ 119695 w 119694"/>
                <a:gd name="connsiteY4" fmla="*/ 127416 h 266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694" h="266966">
                  <a:moveTo>
                    <a:pt x="119695" y="127416"/>
                  </a:moveTo>
                  <a:cubicBezTo>
                    <a:pt x="119695" y="127416"/>
                    <a:pt x="65088" y="236629"/>
                    <a:pt x="71156" y="266966"/>
                  </a:cubicBezTo>
                  <a:cubicBezTo>
                    <a:pt x="71156" y="266966"/>
                    <a:pt x="10481" y="257865"/>
                    <a:pt x="1380" y="166854"/>
                  </a:cubicBezTo>
                  <a:cubicBezTo>
                    <a:pt x="-4687" y="106180"/>
                    <a:pt x="7448" y="15169"/>
                    <a:pt x="74189" y="0"/>
                  </a:cubicBezTo>
                  <a:cubicBezTo>
                    <a:pt x="71156" y="0"/>
                    <a:pt x="80257" y="109214"/>
                    <a:pt x="119695" y="127416"/>
                  </a:cubicBez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694C214B-087D-435D-AADB-92C7F7BE9131}"/>
                </a:ext>
              </a:extLst>
            </p:cNvPr>
            <p:cNvSpPr/>
            <p:nvPr/>
          </p:nvSpPr>
          <p:spPr>
            <a:xfrm>
              <a:off x="3696658" y="7752955"/>
              <a:ext cx="435221" cy="348347"/>
            </a:xfrm>
            <a:custGeom>
              <a:avLst/>
              <a:gdLst>
                <a:gd name="connsiteX0" fmla="*/ 58438 w 435221"/>
                <a:gd name="connsiteY0" fmla="*/ 242168 h 348347"/>
                <a:gd name="connsiteX1" fmla="*/ 179786 w 435221"/>
                <a:gd name="connsiteY1" fmla="*/ 202730 h 348347"/>
                <a:gd name="connsiteX2" fmla="*/ 419449 w 435221"/>
                <a:gd name="connsiteY2" fmla="*/ 348348 h 348347"/>
                <a:gd name="connsiteX3" fmla="*/ 422483 w 435221"/>
                <a:gd name="connsiteY3" fmla="*/ 181494 h 348347"/>
                <a:gd name="connsiteX4" fmla="*/ 331471 w 435221"/>
                <a:gd name="connsiteY4" fmla="*/ 32842 h 348347"/>
                <a:gd name="connsiteX5" fmla="*/ 131247 w 435221"/>
                <a:gd name="connsiteY5" fmla="*/ 17674 h 348347"/>
                <a:gd name="connsiteX6" fmla="*/ 9898 w 435221"/>
                <a:gd name="connsiteY6" fmla="*/ 111719 h 348347"/>
                <a:gd name="connsiteX7" fmla="*/ 58438 w 435221"/>
                <a:gd name="connsiteY7" fmla="*/ 242168 h 348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5221" h="348347">
                  <a:moveTo>
                    <a:pt x="58438" y="242168"/>
                  </a:moveTo>
                  <a:cubicBezTo>
                    <a:pt x="58438" y="242168"/>
                    <a:pt x="152483" y="202730"/>
                    <a:pt x="179786" y="202730"/>
                  </a:cubicBezTo>
                  <a:cubicBezTo>
                    <a:pt x="279898" y="205763"/>
                    <a:pt x="434617" y="275539"/>
                    <a:pt x="419449" y="348348"/>
                  </a:cubicBezTo>
                  <a:cubicBezTo>
                    <a:pt x="419449" y="348348"/>
                    <a:pt x="452820" y="245202"/>
                    <a:pt x="422483" y="181494"/>
                  </a:cubicBezTo>
                  <a:cubicBezTo>
                    <a:pt x="422483" y="181494"/>
                    <a:pt x="422483" y="57112"/>
                    <a:pt x="331471" y="32842"/>
                  </a:cubicBezTo>
                  <a:cubicBezTo>
                    <a:pt x="240460" y="8572"/>
                    <a:pt x="201022" y="-18731"/>
                    <a:pt x="131247" y="17674"/>
                  </a:cubicBezTo>
                  <a:cubicBezTo>
                    <a:pt x="61471" y="57112"/>
                    <a:pt x="15966" y="75314"/>
                    <a:pt x="9898" y="111719"/>
                  </a:cubicBezTo>
                  <a:cubicBezTo>
                    <a:pt x="9898" y="114752"/>
                    <a:pt x="-32574" y="230033"/>
                    <a:pt x="58438" y="242168"/>
                  </a:cubicBez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33625754-9207-4B27-B86E-D0F33A0848D9}"/>
                </a:ext>
              </a:extLst>
            </p:cNvPr>
            <p:cNvSpPr/>
            <p:nvPr/>
          </p:nvSpPr>
          <p:spPr>
            <a:xfrm>
              <a:off x="3360713" y="8468381"/>
              <a:ext cx="1029960" cy="1530148"/>
            </a:xfrm>
            <a:custGeom>
              <a:avLst/>
              <a:gdLst>
                <a:gd name="connsiteX0" fmla="*/ 394382 w 1029960"/>
                <a:gd name="connsiteY0" fmla="*/ 0 h 1530148"/>
                <a:gd name="connsiteX1" fmla="*/ 682584 w 1029960"/>
                <a:gd name="connsiteY1" fmla="*/ 0 h 1530148"/>
                <a:gd name="connsiteX2" fmla="*/ 979888 w 1029960"/>
                <a:gd name="connsiteY2" fmla="*/ 130450 h 1530148"/>
                <a:gd name="connsiteX3" fmla="*/ 1028427 w 1029960"/>
                <a:gd name="connsiteY3" fmla="*/ 1525955 h 1530148"/>
                <a:gd name="connsiteX4" fmla="*/ 0 w 1029960"/>
                <a:gd name="connsiteY4" fmla="*/ 1504719 h 1530148"/>
                <a:gd name="connsiteX5" fmla="*/ 115281 w 1029960"/>
                <a:gd name="connsiteY5" fmla="*/ 103146 h 1530148"/>
                <a:gd name="connsiteX6" fmla="*/ 394382 w 1029960"/>
                <a:gd name="connsiteY6" fmla="*/ 0 h 1530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9960" h="1530148">
                  <a:moveTo>
                    <a:pt x="394382" y="0"/>
                  </a:moveTo>
                  <a:cubicBezTo>
                    <a:pt x="394382" y="0"/>
                    <a:pt x="567303" y="54607"/>
                    <a:pt x="682584" y="0"/>
                  </a:cubicBezTo>
                  <a:cubicBezTo>
                    <a:pt x="682584" y="0"/>
                    <a:pt x="955618" y="97079"/>
                    <a:pt x="979888" y="130450"/>
                  </a:cubicBezTo>
                  <a:cubicBezTo>
                    <a:pt x="1004157" y="160787"/>
                    <a:pt x="1037528" y="1459214"/>
                    <a:pt x="1028427" y="1525955"/>
                  </a:cubicBezTo>
                  <a:cubicBezTo>
                    <a:pt x="1028427" y="1525955"/>
                    <a:pt x="591573" y="1544157"/>
                    <a:pt x="0" y="1504719"/>
                  </a:cubicBezTo>
                  <a:cubicBezTo>
                    <a:pt x="0" y="1149775"/>
                    <a:pt x="72809" y="133483"/>
                    <a:pt x="115281" y="103146"/>
                  </a:cubicBezTo>
                  <a:cubicBezTo>
                    <a:pt x="157753" y="69775"/>
                    <a:pt x="394382" y="0"/>
                    <a:pt x="394382" y="0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DB31A18A-566D-4A26-AF12-2D56DEA0A997}"/>
                </a:ext>
              </a:extLst>
            </p:cNvPr>
            <p:cNvSpPr/>
            <p:nvPr/>
          </p:nvSpPr>
          <p:spPr>
            <a:xfrm>
              <a:off x="4334533" y="8592763"/>
              <a:ext cx="43728" cy="573370"/>
            </a:xfrm>
            <a:custGeom>
              <a:avLst/>
              <a:gdLst>
                <a:gd name="connsiteX0" fmla="*/ 39438 w 43728"/>
                <a:gd name="connsiteY0" fmla="*/ 573371 h 573370"/>
                <a:gd name="connsiteX1" fmla="*/ 33371 w 43728"/>
                <a:gd name="connsiteY1" fmla="*/ 567303 h 573370"/>
                <a:gd name="connsiteX2" fmla="*/ 0 w 43728"/>
                <a:gd name="connsiteY2" fmla="*/ 6067 h 573370"/>
                <a:gd name="connsiteX3" fmla="*/ 3034 w 43728"/>
                <a:gd name="connsiteY3" fmla="*/ 0 h 573370"/>
                <a:gd name="connsiteX4" fmla="*/ 9101 w 43728"/>
                <a:gd name="connsiteY4" fmla="*/ 3033 h 573370"/>
                <a:gd name="connsiteX5" fmla="*/ 42472 w 43728"/>
                <a:gd name="connsiteY5" fmla="*/ 564269 h 573370"/>
                <a:gd name="connsiteX6" fmla="*/ 39438 w 43728"/>
                <a:gd name="connsiteY6" fmla="*/ 573371 h 573370"/>
                <a:gd name="connsiteX7" fmla="*/ 39438 w 43728"/>
                <a:gd name="connsiteY7" fmla="*/ 573371 h 57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728" h="573370">
                  <a:moveTo>
                    <a:pt x="39438" y="573371"/>
                  </a:moveTo>
                  <a:cubicBezTo>
                    <a:pt x="36405" y="573371"/>
                    <a:pt x="33371" y="570337"/>
                    <a:pt x="33371" y="567303"/>
                  </a:cubicBezTo>
                  <a:cubicBezTo>
                    <a:pt x="33371" y="561236"/>
                    <a:pt x="9101" y="45506"/>
                    <a:pt x="0" y="6067"/>
                  </a:cubicBezTo>
                  <a:cubicBezTo>
                    <a:pt x="0" y="3033"/>
                    <a:pt x="0" y="0"/>
                    <a:pt x="3034" y="0"/>
                  </a:cubicBezTo>
                  <a:cubicBezTo>
                    <a:pt x="6068" y="0"/>
                    <a:pt x="9101" y="0"/>
                    <a:pt x="9101" y="3033"/>
                  </a:cubicBezTo>
                  <a:cubicBezTo>
                    <a:pt x="18202" y="42472"/>
                    <a:pt x="42472" y="543034"/>
                    <a:pt x="42472" y="564269"/>
                  </a:cubicBezTo>
                  <a:cubicBezTo>
                    <a:pt x="45506" y="570337"/>
                    <a:pt x="42472" y="573371"/>
                    <a:pt x="39438" y="573371"/>
                  </a:cubicBezTo>
                  <a:cubicBezTo>
                    <a:pt x="39438" y="573371"/>
                    <a:pt x="39438" y="573371"/>
                    <a:pt x="39438" y="573371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4" name="任意多边形: 形状 193">
              <a:extLst>
                <a:ext uri="{FF2B5EF4-FFF2-40B4-BE49-F238E27FC236}">
                  <a16:creationId xmlns:a16="http://schemas.microsoft.com/office/drawing/2014/main" id="{419E0D68-1542-483B-99E6-11A48CEF46F8}"/>
                </a:ext>
              </a:extLst>
            </p:cNvPr>
            <p:cNvSpPr/>
            <p:nvPr/>
          </p:nvSpPr>
          <p:spPr>
            <a:xfrm>
              <a:off x="3644836" y="8104146"/>
              <a:ext cx="76888" cy="109956"/>
            </a:xfrm>
            <a:custGeom>
              <a:avLst/>
              <a:gdLst>
                <a:gd name="connsiteX0" fmla="*/ 64753 w 76888"/>
                <a:gd name="connsiteY0" fmla="*/ 15358 h 109956"/>
                <a:gd name="connsiteX1" fmla="*/ 7113 w 76888"/>
                <a:gd name="connsiteY1" fmla="*/ 6257 h 109956"/>
                <a:gd name="connsiteX2" fmla="*/ 64753 w 76888"/>
                <a:gd name="connsiteY2" fmla="*/ 106369 h 109956"/>
                <a:gd name="connsiteX3" fmla="*/ 64753 w 76888"/>
                <a:gd name="connsiteY3" fmla="*/ 15358 h 109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888" h="109956">
                  <a:moveTo>
                    <a:pt x="64753" y="15358"/>
                  </a:moveTo>
                  <a:cubicBezTo>
                    <a:pt x="64753" y="15358"/>
                    <a:pt x="31383" y="-11945"/>
                    <a:pt x="7113" y="6257"/>
                  </a:cubicBezTo>
                  <a:cubicBezTo>
                    <a:pt x="-17157" y="24459"/>
                    <a:pt x="25315" y="130639"/>
                    <a:pt x="64753" y="106369"/>
                  </a:cubicBezTo>
                  <a:cubicBezTo>
                    <a:pt x="92057" y="88167"/>
                    <a:pt x="64753" y="15358"/>
                    <a:pt x="64753" y="15358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95" name="图形 1">
              <a:extLst>
                <a:ext uri="{FF2B5EF4-FFF2-40B4-BE49-F238E27FC236}">
                  <a16:creationId xmlns:a16="http://schemas.microsoft.com/office/drawing/2014/main" id="{00508FB9-E499-4113-A057-FB675AF07DE3}"/>
                </a:ext>
              </a:extLst>
            </p:cNvPr>
            <p:cNvGrpSpPr/>
            <p:nvPr/>
          </p:nvGrpSpPr>
          <p:grpSpPr>
            <a:xfrm>
              <a:off x="3621612" y="7682287"/>
              <a:ext cx="591573" cy="333897"/>
              <a:chOff x="3621612" y="7682287"/>
              <a:chExt cx="591573" cy="333897"/>
            </a:xfrm>
          </p:grpSpPr>
          <p:grpSp>
            <p:nvGrpSpPr>
              <p:cNvPr id="238" name="图形 1">
                <a:extLst>
                  <a:ext uri="{FF2B5EF4-FFF2-40B4-BE49-F238E27FC236}">
                    <a16:creationId xmlns:a16="http://schemas.microsoft.com/office/drawing/2014/main" id="{AD177F3F-54F8-4806-8E46-9EBA380AAFA8}"/>
                  </a:ext>
                </a:extLst>
              </p:cNvPr>
              <p:cNvGrpSpPr/>
              <p:nvPr/>
            </p:nvGrpSpPr>
            <p:grpSpPr>
              <a:xfrm>
                <a:off x="3627677" y="7687853"/>
                <a:ext cx="585507" cy="328330"/>
                <a:chOff x="3627677" y="7687853"/>
                <a:chExt cx="585507" cy="328330"/>
              </a:xfrm>
              <a:solidFill>
                <a:srgbClr val="D16156"/>
              </a:solidFill>
            </p:grpSpPr>
            <p:sp>
              <p:nvSpPr>
                <p:cNvPr id="241" name="任意多边形: 形状 240">
                  <a:extLst>
                    <a:ext uri="{FF2B5EF4-FFF2-40B4-BE49-F238E27FC236}">
                      <a16:creationId xmlns:a16="http://schemas.microsoft.com/office/drawing/2014/main" id="{82647286-D7F2-4B18-8F8F-7DE5042F44A8}"/>
                    </a:ext>
                  </a:extLst>
                </p:cNvPr>
                <p:cNvSpPr/>
                <p:nvPr/>
              </p:nvSpPr>
              <p:spPr>
                <a:xfrm>
                  <a:off x="3627677" y="7687853"/>
                  <a:ext cx="497530" cy="275549"/>
                </a:xfrm>
                <a:custGeom>
                  <a:avLst/>
                  <a:gdLst>
                    <a:gd name="connsiteX0" fmla="*/ 497530 w 497530"/>
                    <a:gd name="connsiteY0" fmla="*/ 198056 h 275549"/>
                    <a:gd name="connsiteX1" fmla="*/ 212362 w 497530"/>
                    <a:gd name="connsiteY1" fmla="*/ 3898 h 275549"/>
                    <a:gd name="connsiteX2" fmla="*/ 2 w 497530"/>
                    <a:gd name="connsiteY2" fmla="*/ 261763 h 275549"/>
                    <a:gd name="connsiteX3" fmla="*/ 400452 w 497530"/>
                    <a:gd name="connsiteY3" fmla="*/ 252663 h 275549"/>
                    <a:gd name="connsiteX4" fmla="*/ 497530 w 497530"/>
                    <a:gd name="connsiteY4" fmla="*/ 198056 h 2755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7530" h="275549">
                      <a:moveTo>
                        <a:pt x="497530" y="198056"/>
                      </a:moveTo>
                      <a:cubicBezTo>
                        <a:pt x="497530" y="198056"/>
                        <a:pt x="455058" y="-32506"/>
                        <a:pt x="212362" y="3898"/>
                      </a:cubicBezTo>
                      <a:cubicBezTo>
                        <a:pt x="-3032" y="37269"/>
                        <a:pt x="2" y="261763"/>
                        <a:pt x="2" y="261763"/>
                      </a:cubicBezTo>
                      <a:cubicBezTo>
                        <a:pt x="2" y="261763"/>
                        <a:pt x="245733" y="298168"/>
                        <a:pt x="400452" y="252663"/>
                      </a:cubicBezTo>
                      <a:cubicBezTo>
                        <a:pt x="442924" y="240527"/>
                        <a:pt x="476294" y="222325"/>
                        <a:pt x="497530" y="198056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2" name="任意多边形: 形状 241">
                  <a:extLst>
                    <a:ext uri="{FF2B5EF4-FFF2-40B4-BE49-F238E27FC236}">
                      <a16:creationId xmlns:a16="http://schemas.microsoft.com/office/drawing/2014/main" id="{2F4F2450-74C2-4E3F-96B4-9BF7689BFC9F}"/>
                    </a:ext>
                  </a:extLst>
                </p:cNvPr>
                <p:cNvSpPr/>
                <p:nvPr/>
              </p:nvSpPr>
              <p:spPr>
                <a:xfrm>
                  <a:off x="3627680" y="7885909"/>
                  <a:ext cx="585505" cy="130274"/>
                </a:xfrm>
                <a:custGeom>
                  <a:avLst/>
                  <a:gdLst>
                    <a:gd name="connsiteX0" fmla="*/ 0 w 585505"/>
                    <a:gd name="connsiteY0" fmla="*/ 66741 h 130274"/>
                    <a:gd name="connsiteX1" fmla="*/ 18202 w 585505"/>
                    <a:gd name="connsiteY1" fmla="*/ 84944 h 130274"/>
                    <a:gd name="connsiteX2" fmla="*/ 254831 w 585505"/>
                    <a:gd name="connsiteY2" fmla="*/ 127416 h 130274"/>
                    <a:gd name="connsiteX3" fmla="*/ 585506 w 585505"/>
                    <a:gd name="connsiteY3" fmla="*/ 60674 h 130274"/>
                    <a:gd name="connsiteX4" fmla="*/ 497528 w 585505"/>
                    <a:gd name="connsiteY4" fmla="*/ 0 h 130274"/>
                    <a:gd name="connsiteX5" fmla="*/ 0 w 585505"/>
                    <a:gd name="connsiteY5" fmla="*/ 63708 h 130274"/>
                    <a:gd name="connsiteX6" fmla="*/ 0 w 585505"/>
                    <a:gd name="connsiteY6" fmla="*/ 66741 h 130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85505" h="130274">
                      <a:moveTo>
                        <a:pt x="0" y="66741"/>
                      </a:moveTo>
                      <a:cubicBezTo>
                        <a:pt x="0" y="75843"/>
                        <a:pt x="9101" y="81910"/>
                        <a:pt x="18202" y="84944"/>
                      </a:cubicBezTo>
                      <a:cubicBezTo>
                        <a:pt x="78876" y="112247"/>
                        <a:pt x="191124" y="121348"/>
                        <a:pt x="254831" y="127416"/>
                      </a:cubicBezTo>
                      <a:cubicBezTo>
                        <a:pt x="452022" y="142584"/>
                        <a:pt x="585506" y="94045"/>
                        <a:pt x="585506" y="60674"/>
                      </a:cubicBezTo>
                      <a:cubicBezTo>
                        <a:pt x="585506" y="27303"/>
                        <a:pt x="497528" y="0"/>
                        <a:pt x="497528" y="0"/>
                      </a:cubicBezTo>
                      <a:cubicBezTo>
                        <a:pt x="497528" y="0"/>
                        <a:pt x="442921" y="57640"/>
                        <a:pt x="0" y="63708"/>
                      </a:cubicBezTo>
                      <a:lnTo>
                        <a:pt x="0" y="66741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39" name="任意多边形: 形状 238">
                <a:extLst>
                  <a:ext uri="{FF2B5EF4-FFF2-40B4-BE49-F238E27FC236}">
                    <a16:creationId xmlns:a16="http://schemas.microsoft.com/office/drawing/2014/main" id="{12BF84B8-FE91-477C-BBFE-4BA95CF5A6FD}"/>
                  </a:ext>
                </a:extLst>
              </p:cNvPr>
              <p:cNvSpPr/>
              <p:nvPr/>
            </p:nvSpPr>
            <p:spPr>
              <a:xfrm>
                <a:off x="3621612" y="7879842"/>
                <a:ext cx="509662" cy="75842"/>
              </a:xfrm>
              <a:custGeom>
                <a:avLst/>
                <a:gdLst>
                  <a:gd name="connsiteX0" fmla="*/ 6067 w 509662"/>
                  <a:gd name="connsiteY0" fmla="*/ 75843 h 75842"/>
                  <a:gd name="connsiteX1" fmla="*/ 0 w 509662"/>
                  <a:gd name="connsiteY1" fmla="*/ 69775 h 75842"/>
                  <a:gd name="connsiteX2" fmla="*/ 6067 w 509662"/>
                  <a:gd name="connsiteY2" fmla="*/ 63708 h 75842"/>
                  <a:gd name="connsiteX3" fmla="*/ 500562 w 509662"/>
                  <a:gd name="connsiteY3" fmla="*/ 3033 h 75842"/>
                  <a:gd name="connsiteX4" fmla="*/ 506629 w 509662"/>
                  <a:gd name="connsiteY4" fmla="*/ 0 h 75842"/>
                  <a:gd name="connsiteX5" fmla="*/ 509663 w 509662"/>
                  <a:gd name="connsiteY5" fmla="*/ 9101 h 75842"/>
                  <a:gd name="connsiteX6" fmla="*/ 6067 w 509662"/>
                  <a:gd name="connsiteY6" fmla="*/ 75843 h 75842"/>
                  <a:gd name="connsiteX7" fmla="*/ 6067 w 509662"/>
                  <a:gd name="connsiteY7" fmla="*/ 75843 h 75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9662" h="75842">
                    <a:moveTo>
                      <a:pt x="6067" y="75843"/>
                    </a:moveTo>
                    <a:cubicBezTo>
                      <a:pt x="3034" y="75843"/>
                      <a:pt x="0" y="72809"/>
                      <a:pt x="0" y="69775"/>
                    </a:cubicBezTo>
                    <a:cubicBezTo>
                      <a:pt x="0" y="66741"/>
                      <a:pt x="3034" y="63708"/>
                      <a:pt x="6067" y="63708"/>
                    </a:cubicBezTo>
                    <a:cubicBezTo>
                      <a:pt x="458090" y="45506"/>
                      <a:pt x="497528" y="3033"/>
                      <a:pt x="500562" y="3033"/>
                    </a:cubicBezTo>
                    <a:cubicBezTo>
                      <a:pt x="500562" y="0"/>
                      <a:pt x="506629" y="0"/>
                      <a:pt x="506629" y="0"/>
                    </a:cubicBezTo>
                    <a:cubicBezTo>
                      <a:pt x="509663" y="0"/>
                      <a:pt x="509663" y="6067"/>
                      <a:pt x="509663" y="9101"/>
                    </a:cubicBezTo>
                    <a:cubicBezTo>
                      <a:pt x="506629" y="12135"/>
                      <a:pt x="470225" y="54606"/>
                      <a:pt x="6067" y="75843"/>
                    </a:cubicBezTo>
                    <a:cubicBezTo>
                      <a:pt x="6067" y="75843"/>
                      <a:pt x="6067" y="75843"/>
                      <a:pt x="6067" y="7584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0" name="任意多边形: 形状 239">
                <a:extLst>
                  <a:ext uri="{FF2B5EF4-FFF2-40B4-BE49-F238E27FC236}">
                    <a16:creationId xmlns:a16="http://schemas.microsoft.com/office/drawing/2014/main" id="{CDA8A860-E5D0-46E0-B525-960FC5F5CE3F}"/>
                  </a:ext>
                </a:extLst>
              </p:cNvPr>
              <p:cNvSpPr/>
              <p:nvPr/>
            </p:nvSpPr>
            <p:spPr>
              <a:xfrm>
                <a:off x="3730826" y="7682287"/>
                <a:ext cx="306404" cy="258229"/>
              </a:xfrm>
              <a:custGeom>
                <a:avLst/>
                <a:gdLst>
                  <a:gd name="connsiteX0" fmla="*/ 151685 w 306404"/>
                  <a:gd name="connsiteY0" fmla="*/ 258229 h 258229"/>
                  <a:gd name="connsiteX1" fmla="*/ 145618 w 306404"/>
                  <a:gd name="connsiteY1" fmla="*/ 252162 h 258229"/>
                  <a:gd name="connsiteX2" fmla="*/ 3034 w 306404"/>
                  <a:gd name="connsiteY2" fmla="*/ 54971 h 258229"/>
                  <a:gd name="connsiteX3" fmla="*/ 0 w 306404"/>
                  <a:gd name="connsiteY3" fmla="*/ 51937 h 258229"/>
                  <a:gd name="connsiteX4" fmla="*/ 3034 w 306404"/>
                  <a:gd name="connsiteY4" fmla="*/ 45870 h 258229"/>
                  <a:gd name="connsiteX5" fmla="*/ 203258 w 306404"/>
                  <a:gd name="connsiteY5" fmla="*/ 3398 h 258229"/>
                  <a:gd name="connsiteX6" fmla="*/ 206292 w 306404"/>
                  <a:gd name="connsiteY6" fmla="*/ 3398 h 258229"/>
                  <a:gd name="connsiteX7" fmla="*/ 306405 w 306404"/>
                  <a:gd name="connsiteY7" fmla="*/ 227892 h 258229"/>
                  <a:gd name="connsiteX8" fmla="*/ 300337 w 306404"/>
                  <a:gd name="connsiteY8" fmla="*/ 233960 h 258229"/>
                  <a:gd name="connsiteX9" fmla="*/ 300337 w 306404"/>
                  <a:gd name="connsiteY9" fmla="*/ 233960 h 258229"/>
                  <a:gd name="connsiteX10" fmla="*/ 294270 w 306404"/>
                  <a:gd name="connsiteY10" fmla="*/ 227892 h 258229"/>
                  <a:gd name="connsiteX11" fmla="*/ 200225 w 306404"/>
                  <a:gd name="connsiteY11" fmla="*/ 12499 h 258229"/>
                  <a:gd name="connsiteX12" fmla="*/ 18202 w 306404"/>
                  <a:gd name="connsiteY12" fmla="*/ 48903 h 258229"/>
                  <a:gd name="connsiteX13" fmla="*/ 160787 w 306404"/>
                  <a:gd name="connsiteY13" fmla="*/ 249128 h 258229"/>
                  <a:gd name="connsiteX14" fmla="*/ 151685 w 306404"/>
                  <a:gd name="connsiteY14" fmla="*/ 258229 h 258229"/>
                  <a:gd name="connsiteX15" fmla="*/ 151685 w 306404"/>
                  <a:gd name="connsiteY15" fmla="*/ 258229 h 258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06404" h="258229">
                    <a:moveTo>
                      <a:pt x="151685" y="258229"/>
                    </a:moveTo>
                    <a:cubicBezTo>
                      <a:pt x="148652" y="258229"/>
                      <a:pt x="145618" y="255196"/>
                      <a:pt x="145618" y="252162"/>
                    </a:cubicBezTo>
                    <a:cubicBezTo>
                      <a:pt x="139551" y="127780"/>
                      <a:pt x="3034" y="58005"/>
                      <a:pt x="3034" y="54971"/>
                    </a:cubicBezTo>
                    <a:cubicBezTo>
                      <a:pt x="0" y="54971"/>
                      <a:pt x="0" y="51937"/>
                      <a:pt x="0" y="51937"/>
                    </a:cubicBezTo>
                    <a:cubicBezTo>
                      <a:pt x="0" y="48903"/>
                      <a:pt x="0" y="48903"/>
                      <a:pt x="3034" y="45870"/>
                    </a:cubicBezTo>
                    <a:cubicBezTo>
                      <a:pt x="87978" y="-17838"/>
                      <a:pt x="200225" y="3398"/>
                      <a:pt x="203258" y="3398"/>
                    </a:cubicBezTo>
                    <a:cubicBezTo>
                      <a:pt x="203258" y="3398"/>
                      <a:pt x="206292" y="3398"/>
                      <a:pt x="206292" y="3398"/>
                    </a:cubicBezTo>
                    <a:cubicBezTo>
                      <a:pt x="206292" y="3398"/>
                      <a:pt x="306405" y="79240"/>
                      <a:pt x="306405" y="227892"/>
                    </a:cubicBezTo>
                    <a:cubicBezTo>
                      <a:pt x="306405" y="230926"/>
                      <a:pt x="303371" y="233960"/>
                      <a:pt x="300337" y="233960"/>
                    </a:cubicBezTo>
                    <a:lnTo>
                      <a:pt x="300337" y="233960"/>
                    </a:lnTo>
                    <a:cubicBezTo>
                      <a:pt x="297303" y="233960"/>
                      <a:pt x="294270" y="230926"/>
                      <a:pt x="294270" y="227892"/>
                    </a:cubicBezTo>
                    <a:cubicBezTo>
                      <a:pt x="294270" y="94409"/>
                      <a:pt x="209326" y="21600"/>
                      <a:pt x="200225" y="12499"/>
                    </a:cubicBezTo>
                    <a:cubicBezTo>
                      <a:pt x="188090" y="9465"/>
                      <a:pt x="91011" y="-2670"/>
                      <a:pt x="18202" y="48903"/>
                    </a:cubicBezTo>
                    <a:cubicBezTo>
                      <a:pt x="48539" y="67106"/>
                      <a:pt x="154719" y="136881"/>
                      <a:pt x="160787" y="249128"/>
                    </a:cubicBezTo>
                    <a:cubicBezTo>
                      <a:pt x="157753" y="255196"/>
                      <a:pt x="157753" y="255196"/>
                      <a:pt x="151685" y="258229"/>
                    </a:cubicBezTo>
                    <a:cubicBezTo>
                      <a:pt x="154719" y="258229"/>
                      <a:pt x="154719" y="258229"/>
                      <a:pt x="151685" y="2582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96" name="任意多边形: 形状 195">
              <a:extLst>
                <a:ext uri="{FF2B5EF4-FFF2-40B4-BE49-F238E27FC236}">
                  <a16:creationId xmlns:a16="http://schemas.microsoft.com/office/drawing/2014/main" id="{CCB7455F-3B59-412B-8067-A21AB50A1955}"/>
                </a:ext>
              </a:extLst>
            </p:cNvPr>
            <p:cNvSpPr/>
            <p:nvPr/>
          </p:nvSpPr>
          <p:spPr>
            <a:xfrm>
              <a:off x="3360659" y="8473170"/>
              <a:ext cx="1034548" cy="1550003"/>
            </a:xfrm>
            <a:custGeom>
              <a:avLst/>
              <a:gdLst>
                <a:gd name="connsiteX0" fmla="*/ 367133 w 1034548"/>
                <a:gd name="connsiteY0" fmla="*/ 4312 h 1550003"/>
                <a:gd name="connsiteX1" fmla="*/ 455110 w 1034548"/>
                <a:gd name="connsiteY1" fmla="*/ 550379 h 1550003"/>
                <a:gd name="connsiteX2" fmla="*/ 752414 w 1034548"/>
                <a:gd name="connsiteY2" fmla="*/ 547346 h 1550003"/>
                <a:gd name="connsiteX3" fmla="*/ 764548 w 1034548"/>
                <a:gd name="connsiteY3" fmla="*/ 25548 h 1550003"/>
                <a:gd name="connsiteX4" fmla="*/ 864661 w 1034548"/>
                <a:gd name="connsiteY4" fmla="*/ 64986 h 1550003"/>
                <a:gd name="connsiteX5" fmla="*/ 873762 w 1034548"/>
                <a:gd name="connsiteY5" fmla="*/ 556447 h 1550003"/>
                <a:gd name="connsiteX6" fmla="*/ 1016346 w 1034548"/>
                <a:gd name="connsiteY6" fmla="*/ 768806 h 1550003"/>
                <a:gd name="connsiteX7" fmla="*/ 1034548 w 1034548"/>
                <a:gd name="connsiteY7" fmla="*/ 1521166 h 1550003"/>
                <a:gd name="connsiteX8" fmla="*/ 54 w 1034548"/>
                <a:gd name="connsiteY8" fmla="*/ 1496896 h 1550003"/>
                <a:gd name="connsiteX9" fmla="*/ 36458 w 1034548"/>
                <a:gd name="connsiteY9" fmla="*/ 771840 h 1550003"/>
                <a:gd name="connsiteX10" fmla="*/ 309492 w 1034548"/>
                <a:gd name="connsiteY10" fmla="*/ 547346 h 1550003"/>
                <a:gd name="connsiteX11" fmla="*/ 282189 w 1034548"/>
                <a:gd name="connsiteY11" fmla="*/ 28582 h 1550003"/>
                <a:gd name="connsiteX12" fmla="*/ 367133 w 1034548"/>
                <a:gd name="connsiteY12" fmla="*/ 4312 h 155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34548" h="1550003">
                  <a:moveTo>
                    <a:pt x="367133" y="4312"/>
                  </a:moveTo>
                  <a:cubicBezTo>
                    <a:pt x="367133" y="4312"/>
                    <a:pt x="452076" y="247009"/>
                    <a:pt x="455110" y="550379"/>
                  </a:cubicBezTo>
                  <a:cubicBezTo>
                    <a:pt x="455110" y="550379"/>
                    <a:pt x="700841" y="571615"/>
                    <a:pt x="752414" y="547346"/>
                  </a:cubicBezTo>
                  <a:cubicBezTo>
                    <a:pt x="752414" y="547346"/>
                    <a:pt x="785784" y="122626"/>
                    <a:pt x="764548" y="25548"/>
                  </a:cubicBezTo>
                  <a:cubicBezTo>
                    <a:pt x="764548" y="25548"/>
                    <a:pt x="846459" y="34649"/>
                    <a:pt x="864661" y="64986"/>
                  </a:cubicBezTo>
                  <a:cubicBezTo>
                    <a:pt x="864661" y="64986"/>
                    <a:pt x="867694" y="492739"/>
                    <a:pt x="873762" y="556447"/>
                  </a:cubicBezTo>
                  <a:cubicBezTo>
                    <a:pt x="879829" y="623188"/>
                    <a:pt x="1016346" y="768806"/>
                    <a:pt x="1016346" y="768806"/>
                  </a:cubicBezTo>
                  <a:lnTo>
                    <a:pt x="1034548" y="1521166"/>
                  </a:lnTo>
                  <a:cubicBezTo>
                    <a:pt x="1034548" y="1521166"/>
                    <a:pt x="327694" y="1600042"/>
                    <a:pt x="54" y="1496896"/>
                  </a:cubicBezTo>
                  <a:cubicBezTo>
                    <a:pt x="54" y="1496896"/>
                    <a:pt x="-2980" y="1069143"/>
                    <a:pt x="36458" y="771840"/>
                  </a:cubicBezTo>
                  <a:cubicBezTo>
                    <a:pt x="112301" y="768806"/>
                    <a:pt x="288256" y="674761"/>
                    <a:pt x="309492" y="547346"/>
                  </a:cubicBezTo>
                  <a:cubicBezTo>
                    <a:pt x="333762" y="419930"/>
                    <a:pt x="348930" y="155997"/>
                    <a:pt x="282189" y="28582"/>
                  </a:cubicBezTo>
                  <a:cubicBezTo>
                    <a:pt x="282189" y="31615"/>
                    <a:pt x="330728" y="-13890"/>
                    <a:pt x="367133" y="4312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7" name="任意多边形: 形状 196">
              <a:extLst>
                <a:ext uri="{FF2B5EF4-FFF2-40B4-BE49-F238E27FC236}">
                  <a16:creationId xmlns:a16="http://schemas.microsoft.com/office/drawing/2014/main" id="{22D54531-0A64-4D65-8A8E-3980F3D47AA4}"/>
                </a:ext>
              </a:extLst>
            </p:cNvPr>
            <p:cNvSpPr/>
            <p:nvPr/>
          </p:nvSpPr>
          <p:spPr>
            <a:xfrm>
              <a:off x="3360713" y="9854786"/>
              <a:ext cx="1037528" cy="160994"/>
            </a:xfrm>
            <a:custGeom>
              <a:avLst/>
              <a:gdLst>
                <a:gd name="connsiteX0" fmla="*/ 1034494 w 1037528"/>
                <a:gd name="connsiteY0" fmla="*/ 142584 h 160994"/>
                <a:gd name="connsiteX1" fmla="*/ 0 w 1037528"/>
                <a:gd name="connsiteY1" fmla="*/ 118314 h 160994"/>
                <a:gd name="connsiteX2" fmla="*/ 0 w 1037528"/>
                <a:gd name="connsiteY2" fmla="*/ 0 h 160994"/>
                <a:gd name="connsiteX3" fmla="*/ 1037528 w 1037528"/>
                <a:gd name="connsiteY3" fmla="*/ 33370 h 160994"/>
                <a:gd name="connsiteX4" fmla="*/ 1034494 w 1037528"/>
                <a:gd name="connsiteY4" fmla="*/ 142584 h 160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7528" h="160994">
                  <a:moveTo>
                    <a:pt x="1034494" y="142584"/>
                  </a:moveTo>
                  <a:cubicBezTo>
                    <a:pt x="1034494" y="142584"/>
                    <a:pt x="591573" y="197191"/>
                    <a:pt x="0" y="118314"/>
                  </a:cubicBezTo>
                  <a:lnTo>
                    <a:pt x="0" y="0"/>
                  </a:lnTo>
                  <a:cubicBezTo>
                    <a:pt x="0" y="0"/>
                    <a:pt x="658315" y="57640"/>
                    <a:pt x="1037528" y="33370"/>
                  </a:cubicBezTo>
                  <a:lnTo>
                    <a:pt x="1034494" y="142584"/>
                  </a:ln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98" name="图形 1">
              <a:extLst>
                <a:ext uri="{FF2B5EF4-FFF2-40B4-BE49-F238E27FC236}">
                  <a16:creationId xmlns:a16="http://schemas.microsoft.com/office/drawing/2014/main" id="{FAA178BA-E4C2-4F9A-9C05-B3711DCE3146}"/>
                </a:ext>
              </a:extLst>
            </p:cNvPr>
            <p:cNvGrpSpPr/>
            <p:nvPr/>
          </p:nvGrpSpPr>
          <p:grpSpPr>
            <a:xfrm>
              <a:off x="3879477" y="9869954"/>
              <a:ext cx="215393" cy="163820"/>
              <a:chOff x="3879477" y="9869954"/>
              <a:chExt cx="215393" cy="163820"/>
            </a:xfrm>
          </p:grpSpPr>
          <p:sp>
            <p:nvSpPr>
              <p:cNvPr id="236" name="任意多边形: 形状 235">
                <a:extLst>
                  <a:ext uri="{FF2B5EF4-FFF2-40B4-BE49-F238E27FC236}">
                    <a16:creationId xmlns:a16="http://schemas.microsoft.com/office/drawing/2014/main" id="{10CDE3E9-C9D8-4F77-97DC-63A939BAA86B}"/>
                  </a:ext>
                </a:extLst>
              </p:cNvPr>
              <p:cNvSpPr/>
              <p:nvPr/>
            </p:nvSpPr>
            <p:spPr>
              <a:xfrm>
                <a:off x="3879477" y="9869954"/>
                <a:ext cx="215393" cy="163820"/>
              </a:xfrm>
              <a:custGeom>
                <a:avLst/>
                <a:gdLst>
                  <a:gd name="connsiteX0" fmla="*/ 194157 w 215393"/>
                  <a:gd name="connsiteY0" fmla="*/ 163820 h 163820"/>
                  <a:gd name="connsiteX1" fmla="*/ 21236 w 215393"/>
                  <a:gd name="connsiteY1" fmla="*/ 163820 h 163820"/>
                  <a:gd name="connsiteX2" fmla="*/ 0 w 215393"/>
                  <a:gd name="connsiteY2" fmla="*/ 142584 h 163820"/>
                  <a:gd name="connsiteX3" fmla="*/ 0 w 215393"/>
                  <a:gd name="connsiteY3" fmla="*/ 21235 h 163820"/>
                  <a:gd name="connsiteX4" fmla="*/ 21236 w 215393"/>
                  <a:gd name="connsiteY4" fmla="*/ 0 h 163820"/>
                  <a:gd name="connsiteX5" fmla="*/ 194157 w 215393"/>
                  <a:gd name="connsiteY5" fmla="*/ 0 h 163820"/>
                  <a:gd name="connsiteX6" fmla="*/ 215393 w 215393"/>
                  <a:gd name="connsiteY6" fmla="*/ 21235 h 163820"/>
                  <a:gd name="connsiteX7" fmla="*/ 215393 w 215393"/>
                  <a:gd name="connsiteY7" fmla="*/ 142584 h 163820"/>
                  <a:gd name="connsiteX8" fmla="*/ 194157 w 215393"/>
                  <a:gd name="connsiteY8" fmla="*/ 163820 h 163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5393" h="163820">
                    <a:moveTo>
                      <a:pt x="194157" y="163820"/>
                    </a:moveTo>
                    <a:lnTo>
                      <a:pt x="21236" y="163820"/>
                    </a:lnTo>
                    <a:cubicBezTo>
                      <a:pt x="9101" y="163820"/>
                      <a:pt x="0" y="154718"/>
                      <a:pt x="0" y="142584"/>
                    </a:cubicBezTo>
                    <a:lnTo>
                      <a:pt x="0" y="21235"/>
                    </a:lnTo>
                    <a:cubicBezTo>
                      <a:pt x="0" y="9101"/>
                      <a:pt x="9101" y="0"/>
                      <a:pt x="21236" y="0"/>
                    </a:cubicBezTo>
                    <a:lnTo>
                      <a:pt x="194157" y="0"/>
                    </a:lnTo>
                    <a:cubicBezTo>
                      <a:pt x="206292" y="0"/>
                      <a:pt x="215393" y="9101"/>
                      <a:pt x="215393" y="21235"/>
                    </a:cubicBezTo>
                    <a:lnTo>
                      <a:pt x="215393" y="142584"/>
                    </a:lnTo>
                    <a:cubicBezTo>
                      <a:pt x="215393" y="154718"/>
                      <a:pt x="206292" y="163820"/>
                      <a:pt x="194157" y="16382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7" name="任意多边形: 形状 236">
                <a:extLst>
                  <a:ext uri="{FF2B5EF4-FFF2-40B4-BE49-F238E27FC236}">
                    <a16:creationId xmlns:a16="http://schemas.microsoft.com/office/drawing/2014/main" id="{175BA9B3-78A1-4516-8F37-1F878D8926F2}"/>
                  </a:ext>
                </a:extLst>
              </p:cNvPr>
              <p:cNvSpPr/>
              <p:nvPr/>
            </p:nvSpPr>
            <p:spPr>
              <a:xfrm>
                <a:off x="3909814" y="9894224"/>
                <a:ext cx="157752" cy="118314"/>
              </a:xfrm>
              <a:custGeom>
                <a:avLst/>
                <a:gdLst>
                  <a:gd name="connsiteX0" fmla="*/ 142584 w 157752"/>
                  <a:gd name="connsiteY0" fmla="*/ 118314 h 118314"/>
                  <a:gd name="connsiteX1" fmla="*/ 15169 w 157752"/>
                  <a:gd name="connsiteY1" fmla="*/ 118314 h 118314"/>
                  <a:gd name="connsiteX2" fmla="*/ 0 w 157752"/>
                  <a:gd name="connsiteY2" fmla="*/ 103146 h 118314"/>
                  <a:gd name="connsiteX3" fmla="*/ 0 w 157752"/>
                  <a:gd name="connsiteY3" fmla="*/ 15169 h 118314"/>
                  <a:gd name="connsiteX4" fmla="*/ 15169 w 157752"/>
                  <a:gd name="connsiteY4" fmla="*/ 0 h 118314"/>
                  <a:gd name="connsiteX5" fmla="*/ 142584 w 157752"/>
                  <a:gd name="connsiteY5" fmla="*/ 0 h 118314"/>
                  <a:gd name="connsiteX6" fmla="*/ 157753 w 157752"/>
                  <a:gd name="connsiteY6" fmla="*/ 15169 h 118314"/>
                  <a:gd name="connsiteX7" fmla="*/ 157753 w 157752"/>
                  <a:gd name="connsiteY7" fmla="*/ 103146 h 118314"/>
                  <a:gd name="connsiteX8" fmla="*/ 142584 w 157752"/>
                  <a:gd name="connsiteY8" fmla="*/ 118314 h 11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752" h="118314">
                    <a:moveTo>
                      <a:pt x="142584" y="118314"/>
                    </a:moveTo>
                    <a:lnTo>
                      <a:pt x="15169" y="118314"/>
                    </a:lnTo>
                    <a:cubicBezTo>
                      <a:pt x="6067" y="118314"/>
                      <a:pt x="0" y="112248"/>
                      <a:pt x="0" y="103146"/>
                    </a:cubicBezTo>
                    <a:lnTo>
                      <a:pt x="0" y="15169"/>
                    </a:lnTo>
                    <a:cubicBezTo>
                      <a:pt x="0" y="6068"/>
                      <a:pt x="6067" y="0"/>
                      <a:pt x="15169" y="0"/>
                    </a:cubicBezTo>
                    <a:lnTo>
                      <a:pt x="142584" y="0"/>
                    </a:lnTo>
                    <a:cubicBezTo>
                      <a:pt x="151685" y="0"/>
                      <a:pt x="157753" y="6068"/>
                      <a:pt x="157753" y="15169"/>
                    </a:cubicBezTo>
                    <a:lnTo>
                      <a:pt x="157753" y="103146"/>
                    </a:lnTo>
                    <a:cubicBezTo>
                      <a:pt x="157753" y="112248"/>
                      <a:pt x="151685" y="118314"/>
                      <a:pt x="142584" y="118314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99" name="任意多边形: 形状 198">
              <a:extLst>
                <a:ext uri="{FF2B5EF4-FFF2-40B4-BE49-F238E27FC236}">
                  <a16:creationId xmlns:a16="http://schemas.microsoft.com/office/drawing/2014/main" id="{2AAC8F3D-C69B-4576-AF9D-551EAA4265CC}"/>
                </a:ext>
              </a:extLst>
            </p:cNvPr>
            <p:cNvSpPr/>
            <p:nvPr/>
          </p:nvSpPr>
          <p:spPr>
            <a:xfrm>
              <a:off x="3809301" y="9178268"/>
              <a:ext cx="376580" cy="288202"/>
            </a:xfrm>
            <a:custGeom>
              <a:avLst/>
              <a:gdLst>
                <a:gd name="connsiteX0" fmla="*/ 206693 w 376580"/>
                <a:gd name="connsiteY0" fmla="*/ 288202 h 288202"/>
                <a:gd name="connsiteX1" fmla="*/ 206693 w 376580"/>
                <a:gd name="connsiteY1" fmla="*/ 288202 h 288202"/>
                <a:gd name="connsiteX2" fmla="*/ 15570 w 376580"/>
                <a:gd name="connsiteY2" fmla="*/ 209326 h 288202"/>
                <a:gd name="connsiteX3" fmla="*/ 12536 w 376580"/>
                <a:gd name="connsiteY3" fmla="*/ 209326 h 288202"/>
                <a:gd name="connsiteX4" fmla="*/ 12536 w 376580"/>
                <a:gd name="connsiteY4" fmla="*/ 206292 h 288202"/>
                <a:gd name="connsiteX5" fmla="*/ 401 w 376580"/>
                <a:gd name="connsiteY5" fmla="*/ 6068 h 288202"/>
                <a:gd name="connsiteX6" fmla="*/ 401 w 376580"/>
                <a:gd name="connsiteY6" fmla="*/ 0 h 288202"/>
                <a:gd name="connsiteX7" fmla="*/ 6468 w 376580"/>
                <a:gd name="connsiteY7" fmla="*/ 0 h 288202"/>
                <a:gd name="connsiteX8" fmla="*/ 370513 w 376580"/>
                <a:gd name="connsiteY8" fmla="*/ 0 h 288202"/>
                <a:gd name="connsiteX9" fmla="*/ 376581 w 376580"/>
                <a:gd name="connsiteY9" fmla="*/ 0 h 288202"/>
                <a:gd name="connsiteX10" fmla="*/ 361412 w 376580"/>
                <a:gd name="connsiteY10" fmla="*/ 175955 h 288202"/>
                <a:gd name="connsiteX11" fmla="*/ 358379 w 376580"/>
                <a:gd name="connsiteY11" fmla="*/ 175955 h 288202"/>
                <a:gd name="connsiteX12" fmla="*/ 206693 w 376580"/>
                <a:gd name="connsiteY12" fmla="*/ 288202 h 288202"/>
                <a:gd name="connsiteX13" fmla="*/ 206693 w 376580"/>
                <a:gd name="connsiteY13" fmla="*/ 288202 h 288202"/>
                <a:gd name="connsiteX14" fmla="*/ 24671 w 376580"/>
                <a:gd name="connsiteY14" fmla="*/ 200225 h 288202"/>
                <a:gd name="connsiteX15" fmla="*/ 206693 w 376580"/>
                <a:gd name="connsiteY15" fmla="*/ 276068 h 288202"/>
                <a:gd name="connsiteX16" fmla="*/ 349278 w 376580"/>
                <a:gd name="connsiteY16" fmla="*/ 169888 h 288202"/>
                <a:gd name="connsiteX17" fmla="*/ 361412 w 376580"/>
                <a:gd name="connsiteY17" fmla="*/ 12135 h 288202"/>
                <a:gd name="connsiteX18" fmla="*/ 9502 w 376580"/>
                <a:gd name="connsiteY18" fmla="*/ 12135 h 288202"/>
                <a:gd name="connsiteX19" fmla="*/ 24671 w 376580"/>
                <a:gd name="connsiteY19" fmla="*/ 200225 h 28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76580" h="288202">
                  <a:moveTo>
                    <a:pt x="206693" y="288202"/>
                  </a:moveTo>
                  <a:lnTo>
                    <a:pt x="206693" y="288202"/>
                  </a:lnTo>
                  <a:cubicBezTo>
                    <a:pt x="197592" y="285169"/>
                    <a:pt x="45907" y="224495"/>
                    <a:pt x="15570" y="209326"/>
                  </a:cubicBezTo>
                  <a:lnTo>
                    <a:pt x="12536" y="209326"/>
                  </a:lnTo>
                  <a:lnTo>
                    <a:pt x="12536" y="206292"/>
                  </a:lnTo>
                  <a:cubicBezTo>
                    <a:pt x="12536" y="206292"/>
                    <a:pt x="-2633" y="78877"/>
                    <a:pt x="401" y="6068"/>
                  </a:cubicBezTo>
                  <a:lnTo>
                    <a:pt x="401" y="0"/>
                  </a:lnTo>
                  <a:lnTo>
                    <a:pt x="6468" y="0"/>
                  </a:lnTo>
                  <a:cubicBezTo>
                    <a:pt x="9502" y="0"/>
                    <a:pt x="176356" y="15169"/>
                    <a:pt x="370513" y="0"/>
                  </a:cubicBezTo>
                  <a:lnTo>
                    <a:pt x="376581" y="0"/>
                  </a:lnTo>
                  <a:lnTo>
                    <a:pt x="361412" y="175955"/>
                  </a:lnTo>
                  <a:lnTo>
                    <a:pt x="358379" y="175955"/>
                  </a:lnTo>
                  <a:cubicBezTo>
                    <a:pt x="349278" y="188090"/>
                    <a:pt x="237030" y="279102"/>
                    <a:pt x="206693" y="288202"/>
                  </a:cubicBezTo>
                  <a:lnTo>
                    <a:pt x="206693" y="288202"/>
                  </a:lnTo>
                  <a:close/>
                  <a:moveTo>
                    <a:pt x="24671" y="200225"/>
                  </a:moveTo>
                  <a:cubicBezTo>
                    <a:pt x="58042" y="215393"/>
                    <a:pt x="191525" y="266966"/>
                    <a:pt x="206693" y="276068"/>
                  </a:cubicBezTo>
                  <a:cubicBezTo>
                    <a:pt x="230963" y="266966"/>
                    <a:pt x="315907" y="197191"/>
                    <a:pt x="349278" y="169888"/>
                  </a:cubicBezTo>
                  <a:lnTo>
                    <a:pt x="361412" y="12135"/>
                  </a:lnTo>
                  <a:cubicBezTo>
                    <a:pt x="191525" y="27304"/>
                    <a:pt x="39839" y="15169"/>
                    <a:pt x="9502" y="12135"/>
                  </a:cubicBezTo>
                  <a:cubicBezTo>
                    <a:pt x="9502" y="75843"/>
                    <a:pt x="21637" y="182022"/>
                    <a:pt x="24671" y="200225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00" name="图形 1">
              <a:extLst>
                <a:ext uri="{FF2B5EF4-FFF2-40B4-BE49-F238E27FC236}">
                  <a16:creationId xmlns:a16="http://schemas.microsoft.com/office/drawing/2014/main" id="{F65D9484-C152-4DE3-9C21-EDB69E7A2581}"/>
                </a:ext>
              </a:extLst>
            </p:cNvPr>
            <p:cNvGrpSpPr/>
            <p:nvPr/>
          </p:nvGrpSpPr>
          <p:grpSpPr>
            <a:xfrm>
              <a:off x="2371725" y="9305685"/>
              <a:ext cx="1883932" cy="1098201"/>
              <a:chOff x="2371725" y="9305685"/>
              <a:chExt cx="1883932" cy="1098201"/>
            </a:xfrm>
          </p:grpSpPr>
          <p:grpSp>
            <p:nvGrpSpPr>
              <p:cNvPr id="226" name="图形 1">
                <a:extLst>
                  <a:ext uri="{FF2B5EF4-FFF2-40B4-BE49-F238E27FC236}">
                    <a16:creationId xmlns:a16="http://schemas.microsoft.com/office/drawing/2014/main" id="{177366C2-C2C3-4829-9D23-FEC5EE521A9F}"/>
                  </a:ext>
                </a:extLst>
              </p:cNvPr>
              <p:cNvGrpSpPr/>
              <p:nvPr/>
            </p:nvGrpSpPr>
            <p:grpSpPr>
              <a:xfrm>
                <a:off x="2371725" y="9305685"/>
                <a:ext cx="1883932" cy="1098201"/>
                <a:chOff x="2371725" y="9305685"/>
                <a:chExt cx="1883932" cy="1098201"/>
              </a:xfrm>
            </p:grpSpPr>
            <p:sp>
              <p:nvSpPr>
                <p:cNvPr id="233" name="任意多边形: 形状 232">
                  <a:extLst>
                    <a:ext uri="{FF2B5EF4-FFF2-40B4-BE49-F238E27FC236}">
                      <a16:creationId xmlns:a16="http://schemas.microsoft.com/office/drawing/2014/main" id="{659FEF7C-9726-4BDC-93B5-6ECEAB8C66CD}"/>
                    </a:ext>
                  </a:extLst>
                </p:cNvPr>
                <p:cNvSpPr/>
                <p:nvPr/>
              </p:nvSpPr>
              <p:spPr>
                <a:xfrm>
                  <a:off x="2371725" y="9951864"/>
                  <a:ext cx="197191" cy="452022"/>
                </a:xfrm>
                <a:custGeom>
                  <a:avLst/>
                  <a:gdLst>
                    <a:gd name="connsiteX0" fmla="*/ 197191 w 197191"/>
                    <a:gd name="connsiteY0" fmla="*/ 452022 h 452022"/>
                    <a:gd name="connsiteX1" fmla="*/ 148652 w 197191"/>
                    <a:gd name="connsiteY1" fmla="*/ 433821 h 452022"/>
                    <a:gd name="connsiteX2" fmla="*/ 0 w 197191"/>
                    <a:gd name="connsiteY2" fmla="*/ 0 h 452022"/>
                    <a:gd name="connsiteX3" fmla="*/ 54607 w 197191"/>
                    <a:gd name="connsiteY3" fmla="*/ 33371 h 452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7191" h="452022">
                      <a:moveTo>
                        <a:pt x="197191" y="452022"/>
                      </a:moveTo>
                      <a:lnTo>
                        <a:pt x="148652" y="433821"/>
                      </a:lnTo>
                      <a:lnTo>
                        <a:pt x="0" y="0"/>
                      </a:lnTo>
                      <a:lnTo>
                        <a:pt x="54607" y="33371"/>
                      </a:lnTo>
                      <a:close/>
                    </a:path>
                  </a:pathLst>
                </a:custGeom>
                <a:solidFill>
                  <a:srgbClr val="C18267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4" name="任意多边形: 形状 233">
                  <a:extLst>
                    <a:ext uri="{FF2B5EF4-FFF2-40B4-BE49-F238E27FC236}">
                      <a16:creationId xmlns:a16="http://schemas.microsoft.com/office/drawing/2014/main" id="{57B4ADA3-68E5-4373-AD00-4BCB698A7F7B}"/>
                    </a:ext>
                  </a:extLst>
                </p:cNvPr>
                <p:cNvSpPr/>
                <p:nvPr/>
              </p:nvSpPr>
              <p:spPr>
                <a:xfrm>
                  <a:off x="2371725" y="9305685"/>
                  <a:ext cx="1735280" cy="679550"/>
                </a:xfrm>
                <a:custGeom>
                  <a:avLst/>
                  <a:gdLst>
                    <a:gd name="connsiteX0" fmla="*/ 1677641 w 1735280"/>
                    <a:gd name="connsiteY0" fmla="*/ 0 h 679550"/>
                    <a:gd name="connsiteX1" fmla="*/ 0 w 1735280"/>
                    <a:gd name="connsiteY1" fmla="*/ 646179 h 679550"/>
                    <a:gd name="connsiteX2" fmla="*/ 54607 w 1735280"/>
                    <a:gd name="connsiteY2" fmla="*/ 679550 h 679550"/>
                    <a:gd name="connsiteX3" fmla="*/ 1735281 w 1735280"/>
                    <a:gd name="connsiteY3" fmla="*/ 33371 h 679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735280" h="679550">
                      <a:moveTo>
                        <a:pt x="1677641" y="0"/>
                      </a:moveTo>
                      <a:lnTo>
                        <a:pt x="0" y="646179"/>
                      </a:lnTo>
                      <a:lnTo>
                        <a:pt x="54607" y="679550"/>
                      </a:lnTo>
                      <a:lnTo>
                        <a:pt x="1735281" y="33371"/>
                      </a:lnTo>
                      <a:close/>
                    </a:path>
                  </a:pathLst>
                </a:custGeom>
                <a:solidFill>
                  <a:srgbClr val="C18267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5" name="任意多边形: 形状 234">
                  <a:extLst>
                    <a:ext uri="{FF2B5EF4-FFF2-40B4-BE49-F238E27FC236}">
                      <a16:creationId xmlns:a16="http://schemas.microsoft.com/office/drawing/2014/main" id="{F9D7BE68-C7B8-4CB8-9D9C-D5D50E359E3C}"/>
                    </a:ext>
                  </a:extLst>
                </p:cNvPr>
                <p:cNvSpPr/>
                <p:nvPr/>
              </p:nvSpPr>
              <p:spPr>
                <a:xfrm>
                  <a:off x="2426331" y="9339055"/>
                  <a:ext cx="1829325" cy="1064831"/>
                </a:xfrm>
                <a:custGeom>
                  <a:avLst/>
                  <a:gdLst>
                    <a:gd name="connsiteX0" fmla="*/ 1680674 w 1829325"/>
                    <a:gd name="connsiteY0" fmla="*/ 0 h 1064831"/>
                    <a:gd name="connsiteX1" fmla="*/ 0 w 1829325"/>
                    <a:gd name="connsiteY1" fmla="*/ 646180 h 1064831"/>
                    <a:gd name="connsiteX2" fmla="*/ 60674 w 1829325"/>
                    <a:gd name="connsiteY2" fmla="*/ 825168 h 1064831"/>
                    <a:gd name="connsiteX3" fmla="*/ 69775 w 1829325"/>
                    <a:gd name="connsiteY3" fmla="*/ 855506 h 1064831"/>
                    <a:gd name="connsiteX4" fmla="*/ 142584 w 1829325"/>
                    <a:gd name="connsiteY4" fmla="*/ 1064831 h 1064831"/>
                    <a:gd name="connsiteX5" fmla="*/ 1829326 w 1829325"/>
                    <a:gd name="connsiteY5" fmla="*/ 379214 h 10648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829325" h="1064831">
                      <a:moveTo>
                        <a:pt x="1680674" y="0"/>
                      </a:moveTo>
                      <a:lnTo>
                        <a:pt x="0" y="646180"/>
                      </a:lnTo>
                      <a:lnTo>
                        <a:pt x="60674" y="825168"/>
                      </a:lnTo>
                      <a:lnTo>
                        <a:pt x="69775" y="855506"/>
                      </a:lnTo>
                      <a:lnTo>
                        <a:pt x="142584" y="1064831"/>
                      </a:lnTo>
                      <a:lnTo>
                        <a:pt x="1829326" y="379214"/>
                      </a:lnTo>
                      <a:close/>
                    </a:path>
                  </a:pathLst>
                </a:custGeom>
                <a:solidFill>
                  <a:srgbClr val="D39778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27" name="任意多边形: 形状 226">
                <a:extLst>
                  <a:ext uri="{FF2B5EF4-FFF2-40B4-BE49-F238E27FC236}">
                    <a16:creationId xmlns:a16="http://schemas.microsoft.com/office/drawing/2014/main" id="{1CED9313-6BEF-459F-AD95-DDB42CE0613A}"/>
                  </a:ext>
                </a:extLst>
              </p:cNvPr>
              <p:cNvSpPr/>
              <p:nvPr/>
            </p:nvSpPr>
            <p:spPr>
              <a:xfrm>
                <a:off x="2490039" y="9886466"/>
                <a:ext cx="910148" cy="311128"/>
              </a:xfrm>
              <a:custGeom>
                <a:avLst/>
                <a:gdLst>
                  <a:gd name="connsiteX0" fmla="*/ 901011 w 910148"/>
                  <a:gd name="connsiteY0" fmla="*/ 28994 h 311128"/>
                  <a:gd name="connsiteX1" fmla="*/ 658315 w 910148"/>
                  <a:gd name="connsiteY1" fmla="*/ 71466 h 311128"/>
                  <a:gd name="connsiteX2" fmla="*/ 524832 w 910148"/>
                  <a:gd name="connsiteY2" fmla="*/ 68432 h 311128"/>
                  <a:gd name="connsiteX3" fmla="*/ 412584 w 910148"/>
                  <a:gd name="connsiteY3" fmla="*/ 138207 h 311128"/>
                  <a:gd name="connsiteX4" fmla="*/ 236629 w 910148"/>
                  <a:gd name="connsiteY4" fmla="*/ 256522 h 311128"/>
                  <a:gd name="connsiteX5" fmla="*/ 9101 w 910148"/>
                  <a:gd name="connsiteY5" fmla="*/ 311128 h 311128"/>
                  <a:gd name="connsiteX6" fmla="*/ 0 w 910148"/>
                  <a:gd name="connsiteY6" fmla="*/ 280791 h 311128"/>
                  <a:gd name="connsiteX7" fmla="*/ 224494 w 910148"/>
                  <a:gd name="connsiteY7" fmla="*/ 226185 h 311128"/>
                  <a:gd name="connsiteX8" fmla="*/ 433820 w 910148"/>
                  <a:gd name="connsiteY8" fmla="*/ 80566 h 311128"/>
                  <a:gd name="connsiteX9" fmla="*/ 594607 w 910148"/>
                  <a:gd name="connsiteY9" fmla="*/ 32027 h 311128"/>
                  <a:gd name="connsiteX10" fmla="*/ 740225 w 910148"/>
                  <a:gd name="connsiteY10" fmla="*/ 41129 h 311128"/>
                  <a:gd name="connsiteX11" fmla="*/ 891910 w 910148"/>
                  <a:gd name="connsiteY11" fmla="*/ 1690 h 311128"/>
                  <a:gd name="connsiteX12" fmla="*/ 901011 w 910148"/>
                  <a:gd name="connsiteY12" fmla="*/ 28994 h 311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10148" h="311128">
                    <a:moveTo>
                      <a:pt x="901011" y="28994"/>
                    </a:moveTo>
                    <a:cubicBezTo>
                      <a:pt x="822135" y="56297"/>
                      <a:pt x="743258" y="80566"/>
                      <a:pt x="658315" y="71466"/>
                    </a:cubicBezTo>
                    <a:cubicBezTo>
                      <a:pt x="612809" y="68432"/>
                      <a:pt x="570337" y="53263"/>
                      <a:pt x="524832" y="68432"/>
                    </a:cubicBezTo>
                    <a:cubicBezTo>
                      <a:pt x="482360" y="80566"/>
                      <a:pt x="445955" y="110904"/>
                      <a:pt x="412584" y="138207"/>
                    </a:cubicBezTo>
                    <a:cubicBezTo>
                      <a:pt x="357978" y="183712"/>
                      <a:pt x="306405" y="232252"/>
                      <a:pt x="236629" y="256522"/>
                    </a:cubicBezTo>
                    <a:cubicBezTo>
                      <a:pt x="163820" y="280791"/>
                      <a:pt x="84944" y="292926"/>
                      <a:pt x="9101" y="311128"/>
                    </a:cubicBezTo>
                    <a:lnTo>
                      <a:pt x="0" y="280791"/>
                    </a:lnTo>
                    <a:cubicBezTo>
                      <a:pt x="75843" y="265623"/>
                      <a:pt x="154719" y="253488"/>
                      <a:pt x="224494" y="226185"/>
                    </a:cubicBezTo>
                    <a:cubicBezTo>
                      <a:pt x="309438" y="198881"/>
                      <a:pt x="361011" y="132140"/>
                      <a:pt x="433820" y="80566"/>
                    </a:cubicBezTo>
                    <a:cubicBezTo>
                      <a:pt x="482360" y="47196"/>
                      <a:pt x="533933" y="25960"/>
                      <a:pt x="594607" y="32027"/>
                    </a:cubicBezTo>
                    <a:cubicBezTo>
                      <a:pt x="643146" y="35061"/>
                      <a:pt x="688652" y="47196"/>
                      <a:pt x="740225" y="41129"/>
                    </a:cubicBezTo>
                    <a:cubicBezTo>
                      <a:pt x="791798" y="35061"/>
                      <a:pt x="843371" y="16858"/>
                      <a:pt x="891910" y="1690"/>
                    </a:cubicBezTo>
                    <a:cubicBezTo>
                      <a:pt x="907079" y="-7411"/>
                      <a:pt x="919214" y="22926"/>
                      <a:pt x="901011" y="28994"/>
                    </a:cubicBez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8" name="任意多边形: 形状 227">
                <a:extLst>
                  <a:ext uri="{FF2B5EF4-FFF2-40B4-BE49-F238E27FC236}">
                    <a16:creationId xmlns:a16="http://schemas.microsoft.com/office/drawing/2014/main" id="{196F33EF-0887-43C5-A479-6D2709733E15}"/>
                  </a:ext>
                </a:extLst>
              </p:cNvPr>
              <p:cNvSpPr/>
              <p:nvPr/>
            </p:nvSpPr>
            <p:spPr>
              <a:xfrm>
                <a:off x="2892229" y="9967924"/>
                <a:ext cx="282600" cy="147588"/>
              </a:xfrm>
              <a:custGeom>
                <a:avLst/>
                <a:gdLst>
                  <a:gd name="connsiteX0" fmla="*/ 256125 w 282600"/>
                  <a:gd name="connsiteY0" fmla="*/ 5176 h 147588"/>
                  <a:gd name="connsiteX1" fmla="*/ 95339 w 282600"/>
                  <a:gd name="connsiteY1" fmla="*/ 108322 h 147588"/>
                  <a:gd name="connsiteX2" fmla="*/ 61968 w 282600"/>
                  <a:gd name="connsiteY2" fmla="*/ 111356 h 147588"/>
                  <a:gd name="connsiteX3" fmla="*/ 52867 w 282600"/>
                  <a:gd name="connsiteY3" fmla="*/ 84053 h 147588"/>
                  <a:gd name="connsiteX4" fmla="*/ 113541 w 282600"/>
                  <a:gd name="connsiteY4" fmla="*/ 44614 h 147588"/>
                  <a:gd name="connsiteX5" fmla="*/ 131743 w 282600"/>
                  <a:gd name="connsiteY5" fmla="*/ 65850 h 147588"/>
                  <a:gd name="connsiteX6" fmla="*/ 171181 w 282600"/>
                  <a:gd name="connsiteY6" fmla="*/ 35513 h 147588"/>
                  <a:gd name="connsiteX7" fmla="*/ 162080 w 282600"/>
                  <a:gd name="connsiteY7" fmla="*/ 8210 h 147588"/>
                  <a:gd name="connsiteX8" fmla="*/ 28597 w 282600"/>
                  <a:gd name="connsiteY8" fmla="*/ 62816 h 147588"/>
                  <a:gd name="connsiteX9" fmla="*/ 16462 w 282600"/>
                  <a:gd name="connsiteY9" fmla="*/ 135625 h 147588"/>
                  <a:gd name="connsiteX10" fmla="*/ 146912 w 282600"/>
                  <a:gd name="connsiteY10" fmla="*/ 129558 h 147588"/>
                  <a:gd name="connsiteX11" fmla="*/ 280395 w 282600"/>
                  <a:gd name="connsiteY11" fmla="*/ 29445 h 147588"/>
                  <a:gd name="connsiteX12" fmla="*/ 256125 w 282600"/>
                  <a:gd name="connsiteY12" fmla="*/ 5176 h 147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2600" h="147588">
                    <a:moveTo>
                      <a:pt x="256125" y="5176"/>
                    </a:moveTo>
                    <a:cubicBezTo>
                      <a:pt x="216687" y="59782"/>
                      <a:pt x="159046" y="96187"/>
                      <a:pt x="95339" y="108322"/>
                    </a:cubicBezTo>
                    <a:cubicBezTo>
                      <a:pt x="86237" y="111356"/>
                      <a:pt x="74103" y="111356"/>
                      <a:pt x="61968" y="111356"/>
                    </a:cubicBezTo>
                    <a:cubicBezTo>
                      <a:pt x="28597" y="111356"/>
                      <a:pt x="40732" y="99221"/>
                      <a:pt x="52867" y="84053"/>
                    </a:cubicBezTo>
                    <a:cubicBezTo>
                      <a:pt x="68035" y="65850"/>
                      <a:pt x="89271" y="53715"/>
                      <a:pt x="113541" y="44614"/>
                    </a:cubicBezTo>
                    <a:cubicBezTo>
                      <a:pt x="110507" y="56748"/>
                      <a:pt x="119608" y="71917"/>
                      <a:pt x="131743" y="65850"/>
                    </a:cubicBezTo>
                    <a:cubicBezTo>
                      <a:pt x="146912" y="56748"/>
                      <a:pt x="159046" y="50682"/>
                      <a:pt x="171181" y="35513"/>
                    </a:cubicBezTo>
                    <a:cubicBezTo>
                      <a:pt x="177249" y="26411"/>
                      <a:pt x="174215" y="11243"/>
                      <a:pt x="162080" y="8210"/>
                    </a:cubicBezTo>
                    <a:cubicBezTo>
                      <a:pt x="107473" y="2142"/>
                      <a:pt x="68035" y="26411"/>
                      <a:pt x="28597" y="62816"/>
                    </a:cubicBezTo>
                    <a:cubicBezTo>
                      <a:pt x="7361" y="81019"/>
                      <a:pt x="-16909" y="111356"/>
                      <a:pt x="16462" y="135625"/>
                    </a:cubicBezTo>
                    <a:cubicBezTo>
                      <a:pt x="49833" y="159895"/>
                      <a:pt x="113541" y="141693"/>
                      <a:pt x="146912" y="129558"/>
                    </a:cubicBezTo>
                    <a:cubicBezTo>
                      <a:pt x="201518" y="111356"/>
                      <a:pt x="243990" y="74951"/>
                      <a:pt x="280395" y="29445"/>
                    </a:cubicBezTo>
                    <a:cubicBezTo>
                      <a:pt x="289496" y="11243"/>
                      <a:pt x="268260" y="-9993"/>
                      <a:pt x="256125" y="5176"/>
                    </a:cubicBez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9" name="任意多边形: 形状 228">
                <a:extLst>
                  <a:ext uri="{FF2B5EF4-FFF2-40B4-BE49-F238E27FC236}">
                    <a16:creationId xmlns:a16="http://schemas.microsoft.com/office/drawing/2014/main" id="{21B0DD0C-FCCD-4EF3-81C7-1AAACAC17391}"/>
                  </a:ext>
                </a:extLst>
              </p:cNvPr>
              <p:cNvSpPr/>
              <p:nvPr/>
            </p:nvSpPr>
            <p:spPr>
              <a:xfrm>
                <a:off x="3211403" y="9515010"/>
                <a:ext cx="691241" cy="276280"/>
              </a:xfrm>
              <a:custGeom>
                <a:avLst/>
                <a:gdLst>
                  <a:gd name="connsiteX0" fmla="*/ 674142 w 691241"/>
                  <a:gd name="connsiteY0" fmla="*/ 0 h 276280"/>
                  <a:gd name="connsiteX1" fmla="*/ 577063 w 691241"/>
                  <a:gd name="connsiteY1" fmla="*/ 6068 h 276280"/>
                  <a:gd name="connsiteX2" fmla="*/ 580097 w 691241"/>
                  <a:gd name="connsiteY2" fmla="*/ 39438 h 276280"/>
                  <a:gd name="connsiteX3" fmla="*/ 643805 w 691241"/>
                  <a:gd name="connsiteY3" fmla="*/ 33371 h 276280"/>
                  <a:gd name="connsiteX4" fmla="*/ 489085 w 691241"/>
                  <a:gd name="connsiteY4" fmla="*/ 97079 h 276280"/>
                  <a:gd name="connsiteX5" fmla="*/ 325265 w 691241"/>
                  <a:gd name="connsiteY5" fmla="*/ 133483 h 276280"/>
                  <a:gd name="connsiteX6" fmla="*/ 9760 w 691241"/>
                  <a:gd name="connsiteY6" fmla="*/ 245731 h 276280"/>
                  <a:gd name="connsiteX7" fmla="*/ 21894 w 691241"/>
                  <a:gd name="connsiteY7" fmla="*/ 276068 h 276280"/>
                  <a:gd name="connsiteX8" fmla="*/ 213018 w 691241"/>
                  <a:gd name="connsiteY8" fmla="*/ 203259 h 276280"/>
                  <a:gd name="connsiteX9" fmla="*/ 410209 w 691241"/>
                  <a:gd name="connsiteY9" fmla="*/ 151685 h 276280"/>
                  <a:gd name="connsiteX10" fmla="*/ 613467 w 691241"/>
                  <a:gd name="connsiteY10" fmla="*/ 87977 h 276280"/>
                  <a:gd name="connsiteX11" fmla="*/ 689310 w 691241"/>
                  <a:gd name="connsiteY11" fmla="*/ 24269 h 276280"/>
                  <a:gd name="connsiteX12" fmla="*/ 674142 w 691241"/>
                  <a:gd name="connsiteY12" fmla="*/ 0 h 276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91241" h="276280">
                    <a:moveTo>
                      <a:pt x="674142" y="0"/>
                    </a:moveTo>
                    <a:cubicBezTo>
                      <a:pt x="640771" y="0"/>
                      <a:pt x="610434" y="3034"/>
                      <a:pt x="577063" y="6068"/>
                    </a:cubicBezTo>
                    <a:cubicBezTo>
                      <a:pt x="558861" y="9101"/>
                      <a:pt x="561894" y="39438"/>
                      <a:pt x="580097" y="39438"/>
                    </a:cubicBezTo>
                    <a:cubicBezTo>
                      <a:pt x="601333" y="36405"/>
                      <a:pt x="622569" y="36405"/>
                      <a:pt x="643805" y="33371"/>
                    </a:cubicBezTo>
                    <a:cubicBezTo>
                      <a:pt x="607400" y="69775"/>
                      <a:pt x="531557" y="84943"/>
                      <a:pt x="489085" y="97079"/>
                    </a:cubicBezTo>
                    <a:cubicBezTo>
                      <a:pt x="434479" y="115281"/>
                      <a:pt x="379872" y="124382"/>
                      <a:pt x="325265" y="133483"/>
                    </a:cubicBezTo>
                    <a:cubicBezTo>
                      <a:pt x="213018" y="154719"/>
                      <a:pt x="122007" y="221460"/>
                      <a:pt x="9760" y="245731"/>
                    </a:cubicBezTo>
                    <a:cubicBezTo>
                      <a:pt x="-8443" y="248764"/>
                      <a:pt x="658" y="279102"/>
                      <a:pt x="21894" y="276068"/>
                    </a:cubicBezTo>
                    <a:cubicBezTo>
                      <a:pt x="91670" y="260899"/>
                      <a:pt x="149310" y="230562"/>
                      <a:pt x="213018" y="203259"/>
                    </a:cubicBezTo>
                    <a:cubicBezTo>
                      <a:pt x="276726" y="175955"/>
                      <a:pt x="343467" y="166854"/>
                      <a:pt x="410209" y="151685"/>
                    </a:cubicBezTo>
                    <a:cubicBezTo>
                      <a:pt x="479984" y="136517"/>
                      <a:pt x="546726" y="115281"/>
                      <a:pt x="613467" y="87977"/>
                    </a:cubicBezTo>
                    <a:cubicBezTo>
                      <a:pt x="646838" y="72809"/>
                      <a:pt x="674142" y="60674"/>
                      <a:pt x="689310" y="24269"/>
                    </a:cubicBezTo>
                    <a:cubicBezTo>
                      <a:pt x="695377" y="12135"/>
                      <a:pt x="686276" y="0"/>
                      <a:pt x="674142" y="0"/>
                    </a:cubicBez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0" name="任意多边形: 形状 229">
                <a:extLst>
                  <a:ext uri="{FF2B5EF4-FFF2-40B4-BE49-F238E27FC236}">
                    <a16:creationId xmlns:a16="http://schemas.microsoft.com/office/drawing/2014/main" id="{81BB91B1-1600-44E6-BDA9-BA0711010C6E}"/>
                  </a:ext>
                </a:extLst>
              </p:cNvPr>
              <p:cNvSpPr/>
              <p:nvPr/>
            </p:nvSpPr>
            <p:spPr>
              <a:xfrm>
                <a:off x="3940513" y="9408830"/>
                <a:ext cx="208964" cy="124388"/>
              </a:xfrm>
              <a:custGeom>
                <a:avLst/>
                <a:gdLst>
                  <a:gd name="connsiteX0" fmla="*/ 193796 w 208964"/>
                  <a:gd name="connsiteY0" fmla="*/ 0 h 124388"/>
                  <a:gd name="connsiteX1" fmla="*/ 120987 w 208964"/>
                  <a:gd name="connsiteY1" fmla="*/ 39438 h 124388"/>
                  <a:gd name="connsiteX2" fmla="*/ 5706 w 208964"/>
                  <a:gd name="connsiteY2" fmla="*/ 94045 h 124388"/>
                  <a:gd name="connsiteX3" fmla="*/ 23908 w 208964"/>
                  <a:gd name="connsiteY3" fmla="*/ 121348 h 124388"/>
                  <a:gd name="connsiteX4" fmla="*/ 148290 w 208964"/>
                  <a:gd name="connsiteY4" fmla="*/ 63708 h 124388"/>
                  <a:gd name="connsiteX5" fmla="*/ 208964 w 208964"/>
                  <a:gd name="connsiteY5" fmla="*/ 39438 h 124388"/>
                  <a:gd name="connsiteX6" fmla="*/ 193796 w 208964"/>
                  <a:gd name="connsiteY6" fmla="*/ 0 h 124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8964" h="124388">
                    <a:moveTo>
                      <a:pt x="193796" y="0"/>
                    </a:moveTo>
                    <a:cubicBezTo>
                      <a:pt x="166493" y="12135"/>
                      <a:pt x="151324" y="30337"/>
                      <a:pt x="120987" y="39438"/>
                    </a:cubicBezTo>
                    <a:cubicBezTo>
                      <a:pt x="75481" y="51573"/>
                      <a:pt x="42111" y="69775"/>
                      <a:pt x="5706" y="94045"/>
                    </a:cubicBezTo>
                    <a:cubicBezTo>
                      <a:pt x="-9462" y="106180"/>
                      <a:pt x="8740" y="133483"/>
                      <a:pt x="23908" y="121348"/>
                    </a:cubicBezTo>
                    <a:cubicBezTo>
                      <a:pt x="63347" y="91011"/>
                      <a:pt x="102785" y="78877"/>
                      <a:pt x="148290" y="63708"/>
                    </a:cubicBezTo>
                    <a:cubicBezTo>
                      <a:pt x="172560" y="57640"/>
                      <a:pt x="187729" y="51573"/>
                      <a:pt x="208964" y="39438"/>
                    </a:cubicBezTo>
                    <a:lnTo>
                      <a:pt x="193796" y="0"/>
                    </a:ln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1" name="任意多边形: 形状 230">
                <a:extLst>
                  <a:ext uri="{FF2B5EF4-FFF2-40B4-BE49-F238E27FC236}">
                    <a16:creationId xmlns:a16="http://schemas.microsoft.com/office/drawing/2014/main" id="{BCD5E953-1F5B-4FA9-B36C-9136B61068B2}"/>
                  </a:ext>
                </a:extLst>
              </p:cNvPr>
              <p:cNvSpPr/>
              <p:nvPr/>
            </p:nvSpPr>
            <p:spPr>
              <a:xfrm>
                <a:off x="3889780" y="9542313"/>
                <a:ext cx="314303" cy="175070"/>
              </a:xfrm>
              <a:custGeom>
                <a:avLst/>
                <a:gdLst>
                  <a:gd name="connsiteX0" fmla="*/ 296101 w 314303"/>
                  <a:gd name="connsiteY0" fmla="*/ 0 h 175070"/>
                  <a:gd name="connsiteX1" fmla="*/ 244528 w 314303"/>
                  <a:gd name="connsiteY1" fmla="*/ 12135 h 175070"/>
                  <a:gd name="connsiteX2" fmla="*/ 1832 w 314303"/>
                  <a:gd name="connsiteY2" fmla="*/ 151685 h 175070"/>
                  <a:gd name="connsiteX3" fmla="*/ 29135 w 314303"/>
                  <a:gd name="connsiteY3" fmla="*/ 166854 h 175070"/>
                  <a:gd name="connsiteX4" fmla="*/ 223293 w 314303"/>
                  <a:gd name="connsiteY4" fmla="*/ 48540 h 175070"/>
                  <a:gd name="connsiteX5" fmla="*/ 314304 w 314303"/>
                  <a:gd name="connsiteY5" fmla="*/ 36405 h 175070"/>
                  <a:gd name="connsiteX6" fmla="*/ 296101 w 314303"/>
                  <a:gd name="connsiteY6" fmla="*/ 0 h 175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4303" h="175070">
                    <a:moveTo>
                      <a:pt x="296101" y="0"/>
                    </a:moveTo>
                    <a:cubicBezTo>
                      <a:pt x="274865" y="6068"/>
                      <a:pt x="265764" y="9102"/>
                      <a:pt x="244528" y="12135"/>
                    </a:cubicBezTo>
                    <a:cubicBezTo>
                      <a:pt x="132281" y="30337"/>
                      <a:pt x="56439" y="39439"/>
                      <a:pt x="1832" y="151685"/>
                    </a:cubicBezTo>
                    <a:cubicBezTo>
                      <a:pt x="-7269" y="169888"/>
                      <a:pt x="20034" y="185056"/>
                      <a:pt x="29135" y="166854"/>
                    </a:cubicBezTo>
                    <a:cubicBezTo>
                      <a:pt x="74641" y="78877"/>
                      <a:pt x="132281" y="63708"/>
                      <a:pt x="223293" y="48540"/>
                    </a:cubicBezTo>
                    <a:cubicBezTo>
                      <a:pt x="259697" y="42472"/>
                      <a:pt x="280933" y="45506"/>
                      <a:pt x="314304" y="36405"/>
                    </a:cubicBezTo>
                    <a:lnTo>
                      <a:pt x="296101" y="0"/>
                    </a:ln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2" name="任意多边形: 形状 231">
                <a:extLst>
                  <a:ext uri="{FF2B5EF4-FFF2-40B4-BE49-F238E27FC236}">
                    <a16:creationId xmlns:a16="http://schemas.microsoft.com/office/drawing/2014/main" id="{76AED516-02C1-4C20-B6EC-54957987C6B3}"/>
                  </a:ext>
                </a:extLst>
              </p:cNvPr>
              <p:cNvSpPr/>
              <p:nvPr/>
            </p:nvSpPr>
            <p:spPr>
              <a:xfrm>
                <a:off x="3774442" y="9623857"/>
                <a:ext cx="339437" cy="154082"/>
              </a:xfrm>
              <a:custGeom>
                <a:avLst/>
                <a:gdLst>
                  <a:gd name="connsiteX0" fmla="*/ 329530 w 339437"/>
                  <a:gd name="connsiteY0" fmla="*/ 12501 h 154082"/>
                  <a:gd name="connsiteX1" fmla="*/ 232451 w 339437"/>
                  <a:gd name="connsiteY1" fmla="*/ 15535 h 154082"/>
                  <a:gd name="connsiteX2" fmla="*/ 244586 w 339437"/>
                  <a:gd name="connsiteY2" fmla="*/ 45872 h 154082"/>
                  <a:gd name="connsiteX3" fmla="*/ 308294 w 339437"/>
                  <a:gd name="connsiteY3" fmla="*/ 24636 h 154082"/>
                  <a:gd name="connsiteX4" fmla="*/ 274923 w 339437"/>
                  <a:gd name="connsiteY4" fmla="*/ 45872 h 154082"/>
                  <a:gd name="connsiteX5" fmla="*/ 205148 w 339437"/>
                  <a:gd name="connsiteY5" fmla="*/ 85310 h 154082"/>
                  <a:gd name="connsiteX6" fmla="*/ 17058 w 339437"/>
                  <a:gd name="connsiteY6" fmla="*/ 106546 h 154082"/>
                  <a:gd name="connsiteX7" fmla="*/ 10990 w 339437"/>
                  <a:gd name="connsiteY7" fmla="*/ 136883 h 154082"/>
                  <a:gd name="connsiteX8" fmla="*/ 196047 w 339437"/>
                  <a:gd name="connsiteY8" fmla="*/ 127782 h 154082"/>
                  <a:gd name="connsiteX9" fmla="*/ 308294 w 339437"/>
                  <a:gd name="connsiteY9" fmla="*/ 61041 h 154082"/>
                  <a:gd name="connsiteX10" fmla="*/ 338631 w 339437"/>
                  <a:gd name="connsiteY10" fmla="*/ 27670 h 154082"/>
                  <a:gd name="connsiteX11" fmla="*/ 329530 w 339437"/>
                  <a:gd name="connsiteY11" fmla="*/ 12501 h 154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9437" h="154082">
                    <a:moveTo>
                      <a:pt x="329530" y="12501"/>
                    </a:moveTo>
                    <a:cubicBezTo>
                      <a:pt x="299193" y="-8735"/>
                      <a:pt x="262788" y="366"/>
                      <a:pt x="232451" y="15535"/>
                    </a:cubicBezTo>
                    <a:cubicBezTo>
                      <a:pt x="214249" y="24636"/>
                      <a:pt x="226384" y="54973"/>
                      <a:pt x="244586" y="45872"/>
                    </a:cubicBezTo>
                    <a:cubicBezTo>
                      <a:pt x="262788" y="36770"/>
                      <a:pt x="284024" y="27670"/>
                      <a:pt x="308294" y="24636"/>
                    </a:cubicBezTo>
                    <a:cubicBezTo>
                      <a:pt x="296159" y="30704"/>
                      <a:pt x="287058" y="39804"/>
                      <a:pt x="274923" y="45872"/>
                    </a:cubicBezTo>
                    <a:cubicBezTo>
                      <a:pt x="253687" y="61041"/>
                      <a:pt x="229417" y="73175"/>
                      <a:pt x="205148" y="85310"/>
                    </a:cubicBezTo>
                    <a:cubicBezTo>
                      <a:pt x="138406" y="124749"/>
                      <a:pt x="89867" y="130816"/>
                      <a:pt x="17058" y="106546"/>
                    </a:cubicBezTo>
                    <a:cubicBezTo>
                      <a:pt x="-1144" y="100478"/>
                      <a:pt x="-7212" y="130816"/>
                      <a:pt x="10990" y="136883"/>
                    </a:cubicBezTo>
                    <a:cubicBezTo>
                      <a:pt x="80766" y="161153"/>
                      <a:pt x="132339" y="161153"/>
                      <a:pt x="196047" y="127782"/>
                    </a:cubicBezTo>
                    <a:cubicBezTo>
                      <a:pt x="232451" y="106546"/>
                      <a:pt x="271889" y="85310"/>
                      <a:pt x="308294" y="61041"/>
                    </a:cubicBezTo>
                    <a:cubicBezTo>
                      <a:pt x="323462" y="51939"/>
                      <a:pt x="335597" y="45872"/>
                      <a:pt x="338631" y="27670"/>
                    </a:cubicBezTo>
                    <a:cubicBezTo>
                      <a:pt x="341665" y="24636"/>
                      <a:pt x="335597" y="18569"/>
                      <a:pt x="329530" y="12501"/>
                    </a:cubicBezTo>
                    <a:close/>
                  </a:path>
                </a:pathLst>
              </a:custGeom>
              <a:solidFill>
                <a:srgbClr val="C1826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01" name="任意多边形: 形状 200">
              <a:extLst>
                <a:ext uri="{FF2B5EF4-FFF2-40B4-BE49-F238E27FC236}">
                  <a16:creationId xmlns:a16="http://schemas.microsoft.com/office/drawing/2014/main" id="{ECF645FF-F0E7-4817-9B02-2DB519AEE526}"/>
                </a:ext>
              </a:extLst>
            </p:cNvPr>
            <p:cNvSpPr/>
            <p:nvPr/>
          </p:nvSpPr>
          <p:spPr>
            <a:xfrm>
              <a:off x="2768457" y="8832426"/>
              <a:ext cx="634728" cy="1101235"/>
            </a:xfrm>
            <a:custGeom>
              <a:avLst/>
              <a:gdLst>
                <a:gd name="connsiteX0" fmla="*/ 634728 w 634728"/>
                <a:gd name="connsiteY0" fmla="*/ 160787 h 1101235"/>
                <a:gd name="connsiteX1" fmla="*/ 273717 w 634728"/>
                <a:gd name="connsiteY1" fmla="*/ 624944 h 1101235"/>
                <a:gd name="connsiteX2" fmla="*/ 631694 w 634728"/>
                <a:gd name="connsiteY2" fmla="*/ 1019326 h 1101235"/>
                <a:gd name="connsiteX3" fmla="*/ 492144 w 634728"/>
                <a:gd name="connsiteY3" fmla="*/ 1101236 h 1101235"/>
                <a:gd name="connsiteX4" fmla="*/ 3717 w 634728"/>
                <a:gd name="connsiteY4" fmla="*/ 637079 h 1101235"/>
                <a:gd name="connsiteX5" fmla="*/ 398099 w 634728"/>
                <a:gd name="connsiteY5" fmla="*/ 0 h 1101235"/>
                <a:gd name="connsiteX6" fmla="*/ 634728 w 634728"/>
                <a:gd name="connsiteY6" fmla="*/ 160787 h 1101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4728" h="1101235">
                  <a:moveTo>
                    <a:pt x="634728" y="160787"/>
                  </a:moveTo>
                  <a:lnTo>
                    <a:pt x="273717" y="624944"/>
                  </a:lnTo>
                  <a:lnTo>
                    <a:pt x="631694" y="1019326"/>
                  </a:lnTo>
                  <a:lnTo>
                    <a:pt x="492144" y="1101236"/>
                  </a:lnTo>
                  <a:cubicBezTo>
                    <a:pt x="492144" y="1101236"/>
                    <a:pt x="52256" y="755393"/>
                    <a:pt x="3717" y="637079"/>
                  </a:cubicBezTo>
                  <a:cubicBezTo>
                    <a:pt x="-44823" y="518764"/>
                    <a:pt x="398099" y="0"/>
                    <a:pt x="398099" y="0"/>
                  </a:cubicBezTo>
                  <a:lnTo>
                    <a:pt x="634728" y="160787"/>
                  </a:ln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2" name="任意多边形: 形状 201">
              <a:extLst>
                <a:ext uri="{FF2B5EF4-FFF2-40B4-BE49-F238E27FC236}">
                  <a16:creationId xmlns:a16="http://schemas.microsoft.com/office/drawing/2014/main" id="{0CD50144-6A58-4BCC-A7F1-8AA40D2E9883}"/>
                </a:ext>
              </a:extLst>
            </p:cNvPr>
            <p:cNvSpPr/>
            <p:nvPr/>
          </p:nvSpPr>
          <p:spPr>
            <a:xfrm>
              <a:off x="2984534" y="8963634"/>
              <a:ext cx="423960" cy="502836"/>
            </a:xfrm>
            <a:custGeom>
              <a:avLst/>
              <a:gdLst>
                <a:gd name="connsiteX0" fmla="*/ 57640 w 423960"/>
                <a:gd name="connsiteY0" fmla="*/ 499803 h 502836"/>
                <a:gd name="connsiteX1" fmla="*/ 57640 w 423960"/>
                <a:gd name="connsiteY1" fmla="*/ 499803 h 502836"/>
                <a:gd name="connsiteX2" fmla="*/ 3034 w 423960"/>
                <a:gd name="connsiteY2" fmla="*/ 490702 h 502836"/>
                <a:gd name="connsiteX3" fmla="*/ 0 w 423960"/>
                <a:gd name="connsiteY3" fmla="*/ 484635 h 502836"/>
                <a:gd name="connsiteX4" fmla="*/ 6067 w 423960"/>
                <a:gd name="connsiteY4" fmla="*/ 481601 h 502836"/>
                <a:gd name="connsiteX5" fmla="*/ 51573 w 423960"/>
                <a:gd name="connsiteY5" fmla="*/ 490702 h 502836"/>
                <a:gd name="connsiteX6" fmla="*/ 412584 w 423960"/>
                <a:gd name="connsiteY6" fmla="*/ 2275 h 502836"/>
                <a:gd name="connsiteX7" fmla="*/ 421685 w 423960"/>
                <a:gd name="connsiteY7" fmla="*/ 2275 h 502836"/>
                <a:gd name="connsiteX8" fmla="*/ 421685 w 423960"/>
                <a:gd name="connsiteY8" fmla="*/ 11376 h 502836"/>
                <a:gd name="connsiteX9" fmla="*/ 57640 w 423960"/>
                <a:gd name="connsiteY9" fmla="*/ 502837 h 502836"/>
                <a:gd name="connsiteX10" fmla="*/ 57640 w 423960"/>
                <a:gd name="connsiteY10" fmla="*/ 499803 h 502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3960" h="502836">
                  <a:moveTo>
                    <a:pt x="57640" y="499803"/>
                  </a:moveTo>
                  <a:cubicBezTo>
                    <a:pt x="57640" y="499803"/>
                    <a:pt x="57640" y="499803"/>
                    <a:pt x="57640" y="499803"/>
                  </a:cubicBezTo>
                  <a:cubicBezTo>
                    <a:pt x="54607" y="499803"/>
                    <a:pt x="24270" y="496770"/>
                    <a:pt x="3034" y="490702"/>
                  </a:cubicBezTo>
                  <a:cubicBezTo>
                    <a:pt x="0" y="490702"/>
                    <a:pt x="0" y="487668"/>
                    <a:pt x="0" y="484635"/>
                  </a:cubicBezTo>
                  <a:cubicBezTo>
                    <a:pt x="0" y="481601"/>
                    <a:pt x="3034" y="481601"/>
                    <a:pt x="6067" y="481601"/>
                  </a:cubicBezTo>
                  <a:cubicBezTo>
                    <a:pt x="21236" y="487668"/>
                    <a:pt x="45506" y="490702"/>
                    <a:pt x="51573" y="490702"/>
                  </a:cubicBezTo>
                  <a:cubicBezTo>
                    <a:pt x="121348" y="402725"/>
                    <a:pt x="409551" y="5309"/>
                    <a:pt x="412584" y="2275"/>
                  </a:cubicBezTo>
                  <a:cubicBezTo>
                    <a:pt x="415618" y="-758"/>
                    <a:pt x="418652" y="-758"/>
                    <a:pt x="421685" y="2275"/>
                  </a:cubicBezTo>
                  <a:cubicBezTo>
                    <a:pt x="424719" y="5309"/>
                    <a:pt x="424719" y="8343"/>
                    <a:pt x="421685" y="11376"/>
                  </a:cubicBezTo>
                  <a:cubicBezTo>
                    <a:pt x="418652" y="14410"/>
                    <a:pt x="124382" y="420927"/>
                    <a:pt x="57640" y="502837"/>
                  </a:cubicBezTo>
                  <a:cubicBezTo>
                    <a:pt x="60674" y="499803"/>
                    <a:pt x="60674" y="499803"/>
                    <a:pt x="57640" y="499803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3" name="任意多边形: 形状 202">
              <a:extLst>
                <a:ext uri="{FF2B5EF4-FFF2-40B4-BE49-F238E27FC236}">
                  <a16:creationId xmlns:a16="http://schemas.microsoft.com/office/drawing/2014/main" id="{5EC310D8-B1F7-4846-AE69-79BD7FC74394}"/>
                </a:ext>
              </a:extLst>
            </p:cNvPr>
            <p:cNvSpPr/>
            <p:nvPr/>
          </p:nvSpPr>
          <p:spPr>
            <a:xfrm>
              <a:off x="3069477" y="8544686"/>
              <a:ext cx="546294" cy="575942"/>
            </a:xfrm>
            <a:custGeom>
              <a:avLst/>
              <a:gdLst>
                <a:gd name="connsiteX0" fmla="*/ 0 w 546294"/>
                <a:gd name="connsiteY0" fmla="*/ 333246 h 575942"/>
                <a:gd name="connsiteX1" fmla="*/ 503595 w 546294"/>
                <a:gd name="connsiteY1" fmla="*/ 11673 h 575942"/>
                <a:gd name="connsiteX2" fmla="*/ 342809 w 546294"/>
                <a:gd name="connsiteY2" fmla="*/ 575943 h 575942"/>
                <a:gd name="connsiteX3" fmla="*/ 0 w 546294"/>
                <a:gd name="connsiteY3" fmla="*/ 333246 h 575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6294" h="575942">
                  <a:moveTo>
                    <a:pt x="0" y="333246"/>
                  </a:moveTo>
                  <a:cubicBezTo>
                    <a:pt x="0" y="333246"/>
                    <a:pt x="321573" y="-73271"/>
                    <a:pt x="503595" y="11673"/>
                  </a:cubicBezTo>
                  <a:cubicBezTo>
                    <a:pt x="658315" y="84482"/>
                    <a:pt x="342809" y="575943"/>
                    <a:pt x="342809" y="575943"/>
                  </a:cubicBezTo>
                  <a:cubicBezTo>
                    <a:pt x="342809" y="575943"/>
                    <a:pt x="127416" y="503134"/>
                    <a:pt x="0" y="333246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4" name="任意多边形: 形状 203">
              <a:extLst>
                <a:ext uri="{FF2B5EF4-FFF2-40B4-BE49-F238E27FC236}">
                  <a16:creationId xmlns:a16="http://schemas.microsoft.com/office/drawing/2014/main" id="{244DFB58-7EF1-42BC-99F2-46A2BD601BC7}"/>
                </a:ext>
              </a:extLst>
            </p:cNvPr>
            <p:cNvSpPr/>
            <p:nvPr/>
          </p:nvSpPr>
          <p:spPr>
            <a:xfrm>
              <a:off x="3284871" y="8544982"/>
              <a:ext cx="333173" cy="581713"/>
            </a:xfrm>
            <a:custGeom>
              <a:avLst/>
              <a:gdLst>
                <a:gd name="connsiteX0" fmla="*/ 130449 w 333173"/>
                <a:gd name="connsiteY0" fmla="*/ 581713 h 581713"/>
                <a:gd name="connsiteX1" fmla="*/ 127416 w 333173"/>
                <a:gd name="connsiteY1" fmla="*/ 581713 h 581713"/>
                <a:gd name="connsiteX2" fmla="*/ 3034 w 333173"/>
                <a:gd name="connsiteY2" fmla="*/ 524073 h 581713"/>
                <a:gd name="connsiteX3" fmla="*/ 0 w 333173"/>
                <a:gd name="connsiteY3" fmla="*/ 514972 h 581713"/>
                <a:gd name="connsiteX4" fmla="*/ 9101 w 333173"/>
                <a:gd name="connsiteY4" fmla="*/ 511938 h 581713"/>
                <a:gd name="connsiteX5" fmla="*/ 127416 w 333173"/>
                <a:gd name="connsiteY5" fmla="*/ 566545 h 581713"/>
                <a:gd name="connsiteX6" fmla="*/ 288202 w 333173"/>
                <a:gd name="connsiteY6" fmla="*/ 251039 h 581713"/>
                <a:gd name="connsiteX7" fmla="*/ 285169 w 333173"/>
                <a:gd name="connsiteY7" fmla="*/ 11376 h 581713"/>
                <a:gd name="connsiteX8" fmla="*/ 285169 w 333173"/>
                <a:gd name="connsiteY8" fmla="*/ 2275 h 581713"/>
                <a:gd name="connsiteX9" fmla="*/ 294270 w 333173"/>
                <a:gd name="connsiteY9" fmla="*/ 2275 h 581713"/>
                <a:gd name="connsiteX10" fmla="*/ 300337 w 333173"/>
                <a:gd name="connsiteY10" fmla="*/ 254073 h 581713"/>
                <a:gd name="connsiteX11" fmla="*/ 136517 w 333173"/>
                <a:gd name="connsiteY11" fmla="*/ 572612 h 581713"/>
                <a:gd name="connsiteX12" fmla="*/ 130449 w 333173"/>
                <a:gd name="connsiteY12" fmla="*/ 581713 h 58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3173" h="581713">
                  <a:moveTo>
                    <a:pt x="130449" y="581713"/>
                  </a:moveTo>
                  <a:lnTo>
                    <a:pt x="127416" y="581713"/>
                  </a:lnTo>
                  <a:cubicBezTo>
                    <a:pt x="127416" y="581713"/>
                    <a:pt x="57640" y="560478"/>
                    <a:pt x="3034" y="524073"/>
                  </a:cubicBezTo>
                  <a:cubicBezTo>
                    <a:pt x="0" y="521039"/>
                    <a:pt x="0" y="518006"/>
                    <a:pt x="0" y="514972"/>
                  </a:cubicBezTo>
                  <a:cubicBezTo>
                    <a:pt x="3034" y="511938"/>
                    <a:pt x="6067" y="511938"/>
                    <a:pt x="9101" y="511938"/>
                  </a:cubicBezTo>
                  <a:cubicBezTo>
                    <a:pt x="54607" y="542275"/>
                    <a:pt x="112247" y="560478"/>
                    <a:pt x="127416" y="566545"/>
                  </a:cubicBezTo>
                  <a:cubicBezTo>
                    <a:pt x="142584" y="542275"/>
                    <a:pt x="221461" y="402725"/>
                    <a:pt x="288202" y="251039"/>
                  </a:cubicBezTo>
                  <a:cubicBezTo>
                    <a:pt x="364045" y="90253"/>
                    <a:pt x="285169" y="11376"/>
                    <a:pt x="285169" y="11376"/>
                  </a:cubicBezTo>
                  <a:cubicBezTo>
                    <a:pt x="282135" y="8343"/>
                    <a:pt x="282135" y="5309"/>
                    <a:pt x="285169" y="2275"/>
                  </a:cubicBezTo>
                  <a:cubicBezTo>
                    <a:pt x="288202" y="-758"/>
                    <a:pt x="291236" y="-758"/>
                    <a:pt x="294270" y="2275"/>
                  </a:cubicBezTo>
                  <a:cubicBezTo>
                    <a:pt x="297303" y="5309"/>
                    <a:pt x="376180" y="87219"/>
                    <a:pt x="300337" y="254073"/>
                  </a:cubicBezTo>
                  <a:cubicBezTo>
                    <a:pt x="224494" y="417893"/>
                    <a:pt x="136517" y="572612"/>
                    <a:pt x="136517" y="572612"/>
                  </a:cubicBezTo>
                  <a:lnTo>
                    <a:pt x="130449" y="581713"/>
                  </a:ln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05" name="图形 1">
              <a:extLst>
                <a:ext uri="{FF2B5EF4-FFF2-40B4-BE49-F238E27FC236}">
                  <a16:creationId xmlns:a16="http://schemas.microsoft.com/office/drawing/2014/main" id="{F9817BAF-78B9-46B4-8493-5919F69F6562}"/>
                </a:ext>
              </a:extLst>
            </p:cNvPr>
            <p:cNvGrpSpPr/>
            <p:nvPr/>
          </p:nvGrpSpPr>
          <p:grpSpPr>
            <a:xfrm>
              <a:off x="3256956" y="9827305"/>
              <a:ext cx="334802" cy="291192"/>
              <a:chOff x="3256956" y="9827305"/>
              <a:chExt cx="334802" cy="291192"/>
            </a:xfrm>
          </p:grpSpPr>
          <p:sp>
            <p:nvSpPr>
              <p:cNvPr id="223" name="任意多边形: 形状 222">
                <a:extLst>
                  <a:ext uri="{FF2B5EF4-FFF2-40B4-BE49-F238E27FC236}">
                    <a16:creationId xmlns:a16="http://schemas.microsoft.com/office/drawing/2014/main" id="{1B22F386-4A7B-437F-A59B-B95635BDCF11}"/>
                  </a:ext>
                </a:extLst>
              </p:cNvPr>
              <p:cNvSpPr/>
              <p:nvPr/>
            </p:nvSpPr>
            <p:spPr>
              <a:xfrm>
                <a:off x="3256956" y="9827305"/>
                <a:ext cx="334802" cy="291192"/>
              </a:xfrm>
              <a:custGeom>
                <a:avLst/>
                <a:gdLst>
                  <a:gd name="connsiteX0" fmla="*/ 15780 w 334802"/>
                  <a:gd name="connsiteY0" fmla="*/ 124559 h 291192"/>
                  <a:gd name="connsiteX1" fmla="*/ 85555 w 334802"/>
                  <a:gd name="connsiteY1" fmla="*/ 206470 h 291192"/>
                  <a:gd name="connsiteX2" fmla="*/ 131060 w 334802"/>
                  <a:gd name="connsiteY2" fmla="*/ 282312 h 291192"/>
                  <a:gd name="connsiteX3" fmla="*/ 185667 w 334802"/>
                  <a:gd name="connsiteY3" fmla="*/ 267144 h 291192"/>
                  <a:gd name="connsiteX4" fmla="*/ 228139 w 334802"/>
                  <a:gd name="connsiteY4" fmla="*/ 276245 h 291192"/>
                  <a:gd name="connsiteX5" fmla="*/ 249375 w 334802"/>
                  <a:gd name="connsiteY5" fmla="*/ 248941 h 291192"/>
                  <a:gd name="connsiteX6" fmla="*/ 291847 w 334802"/>
                  <a:gd name="connsiteY6" fmla="*/ 212536 h 291192"/>
                  <a:gd name="connsiteX7" fmla="*/ 328251 w 334802"/>
                  <a:gd name="connsiteY7" fmla="*/ 194335 h 291192"/>
                  <a:gd name="connsiteX8" fmla="*/ 303982 w 334802"/>
                  <a:gd name="connsiteY8" fmla="*/ 133661 h 291192"/>
                  <a:gd name="connsiteX9" fmla="*/ 100723 w 334802"/>
                  <a:gd name="connsiteY9" fmla="*/ 177 h 291192"/>
                  <a:gd name="connsiteX10" fmla="*/ 9712 w 334802"/>
                  <a:gd name="connsiteY10" fmla="*/ 76020 h 291192"/>
                  <a:gd name="connsiteX11" fmla="*/ 15780 w 334802"/>
                  <a:gd name="connsiteY11" fmla="*/ 124559 h 291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4802" h="291192">
                    <a:moveTo>
                      <a:pt x="15780" y="124559"/>
                    </a:moveTo>
                    <a:cubicBezTo>
                      <a:pt x="37015" y="151862"/>
                      <a:pt x="64319" y="176133"/>
                      <a:pt x="85555" y="206470"/>
                    </a:cubicBezTo>
                    <a:cubicBezTo>
                      <a:pt x="106791" y="236807"/>
                      <a:pt x="103757" y="258042"/>
                      <a:pt x="131060" y="282312"/>
                    </a:cubicBezTo>
                    <a:cubicBezTo>
                      <a:pt x="152296" y="300515"/>
                      <a:pt x="173532" y="288379"/>
                      <a:pt x="185667" y="267144"/>
                    </a:cubicBezTo>
                    <a:cubicBezTo>
                      <a:pt x="197802" y="282312"/>
                      <a:pt x="209937" y="282312"/>
                      <a:pt x="228139" y="276245"/>
                    </a:cubicBezTo>
                    <a:cubicBezTo>
                      <a:pt x="237240" y="273211"/>
                      <a:pt x="249375" y="255009"/>
                      <a:pt x="249375" y="248941"/>
                    </a:cubicBezTo>
                    <a:cubicBezTo>
                      <a:pt x="261510" y="261076"/>
                      <a:pt x="297914" y="236807"/>
                      <a:pt x="291847" y="212536"/>
                    </a:cubicBezTo>
                    <a:cubicBezTo>
                      <a:pt x="310049" y="218604"/>
                      <a:pt x="322184" y="203436"/>
                      <a:pt x="328251" y="194335"/>
                    </a:cubicBezTo>
                    <a:cubicBezTo>
                      <a:pt x="349487" y="163998"/>
                      <a:pt x="313083" y="145795"/>
                      <a:pt x="303982" y="133661"/>
                    </a:cubicBezTo>
                    <a:cubicBezTo>
                      <a:pt x="240274" y="60851"/>
                      <a:pt x="173532" y="36582"/>
                      <a:pt x="100723" y="177"/>
                    </a:cubicBezTo>
                    <a:cubicBezTo>
                      <a:pt x="100723" y="-2856"/>
                      <a:pt x="30948" y="33548"/>
                      <a:pt x="9712" y="76020"/>
                    </a:cubicBezTo>
                    <a:cubicBezTo>
                      <a:pt x="-5456" y="97256"/>
                      <a:pt x="-2423" y="103324"/>
                      <a:pt x="15780" y="124559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4" name="任意多边形: 形状 223">
                <a:extLst>
                  <a:ext uri="{FF2B5EF4-FFF2-40B4-BE49-F238E27FC236}">
                    <a16:creationId xmlns:a16="http://schemas.microsoft.com/office/drawing/2014/main" id="{5956F639-CADB-4965-B00A-E0928744C7BE}"/>
                  </a:ext>
                </a:extLst>
              </p:cNvPr>
              <p:cNvSpPr/>
              <p:nvPr/>
            </p:nvSpPr>
            <p:spPr>
              <a:xfrm>
                <a:off x="3475994" y="9894224"/>
                <a:ext cx="114239" cy="148651"/>
              </a:xfrm>
              <a:custGeom>
                <a:avLst/>
                <a:gdLst>
                  <a:gd name="connsiteX0" fmla="*/ 69775 w 114239"/>
                  <a:gd name="connsiteY0" fmla="*/ 148652 h 148651"/>
                  <a:gd name="connsiteX1" fmla="*/ 63708 w 114239"/>
                  <a:gd name="connsiteY1" fmla="*/ 142585 h 148651"/>
                  <a:gd name="connsiteX2" fmla="*/ 69775 w 114239"/>
                  <a:gd name="connsiteY2" fmla="*/ 136517 h 148651"/>
                  <a:gd name="connsiteX3" fmla="*/ 103146 w 114239"/>
                  <a:gd name="connsiteY3" fmla="*/ 118314 h 148651"/>
                  <a:gd name="connsiteX4" fmla="*/ 103146 w 114239"/>
                  <a:gd name="connsiteY4" fmla="*/ 100112 h 148651"/>
                  <a:gd name="connsiteX5" fmla="*/ 3034 w 114239"/>
                  <a:gd name="connsiteY5" fmla="*/ 12135 h 148651"/>
                  <a:gd name="connsiteX6" fmla="*/ 0 w 114239"/>
                  <a:gd name="connsiteY6" fmla="*/ 3034 h 148651"/>
                  <a:gd name="connsiteX7" fmla="*/ 9101 w 114239"/>
                  <a:gd name="connsiteY7" fmla="*/ 0 h 148651"/>
                  <a:gd name="connsiteX8" fmla="*/ 112247 w 114239"/>
                  <a:gd name="connsiteY8" fmla="*/ 94045 h 148651"/>
                  <a:gd name="connsiteX9" fmla="*/ 109213 w 114239"/>
                  <a:gd name="connsiteY9" fmla="*/ 121348 h 148651"/>
                  <a:gd name="connsiteX10" fmla="*/ 69775 w 114239"/>
                  <a:gd name="connsiteY10" fmla="*/ 148652 h 148651"/>
                  <a:gd name="connsiteX11" fmla="*/ 69775 w 114239"/>
                  <a:gd name="connsiteY11" fmla="*/ 148652 h 148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4239" h="148651">
                    <a:moveTo>
                      <a:pt x="69775" y="148652"/>
                    </a:moveTo>
                    <a:cubicBezTo>
                      <a:pt x="66741" y="148652"/>
                      <a:pt x="63708" y="145618"/>
                      <a:pt x="63708" y="142585"/>
                    </a:cubicBezTo>
                    <a:cubicBezTo>
                      <a:pt x="63708" y="139551"/>
                      <a:pt x="66741" y="136517"/>
                      <a:pt x="69775" y="136517"/>
                    </a:cubicBezTo>
                    <a:cubicBezTo>
                      <a:pt x="75843" y="136517"/>
                      <a:pt x="97079" y="130449"/>
                      <a:pt x="103146" y="118314"/>
                    </a:cubicBezTo>
                    <a:cubicBezTo>
                      <a:pt x="106180" y="112248"/>
                      <a:pt x="106180" y="106180"/>
                      <a:pt x="103146" y="100112"/>
                    </a:cubicBezTo>
                    <a:cubicBezTo>
                      <a:pt x="87977" y="57640"/>
                      <a:pt x="6067" y="12135"/>
                      <a:pt x="3034" y="12135"/>
                    </a:cubicBezTo>
                    <a:cubicBezTo>
                      <a:pt x="0" y="9101"/>
                      <a:pt x="0" y="6068"/>
                      <a:pt x="0" y="3034"/>
                    </a:cubicBezTo>
                    <a:cubicBezTo>
                      <a:pt x="3034" y="0"/>
                      <a:pt x="6067" y="0"/>
                      <a:pt x="9101" y="0"/>
                    </a:cubicBezTo>
                    <a:cubicBezTo>
                      <a:pt x="12135" y="3034"/>
                      <a:pt x="97079" y="48540"/>
                      <a:pt x="112247" y="94045"/>
                    </a:cubicBezTo>
                    <a:cubicBezTo>
                      <a:pt x="115281" y="106180"/>
                      <a:pt x="115281" y="115281"/>
                      <a:pt x="109213" y="121348"/>
                    </a:cubicBezTo>
                    <a:cubicBezTo>
                      <a:pt x="103146" y="142585"/>
                      <a:pt x="72809" y="148652"/>
                      <a:pt x="69775" y="148652"/>
                    </a:cubicBezTo>
                    <a:cubicBezTo>
                      <a:pt x="69775" y="148652"/>
                      <a:pt x="69775" y="148652"/>
                      <a:pt x="69775" y="14865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5" name="任意多边形: 形状 224">
                <a:extLst>
                  <a:ext uri="{FF2B5EF4-FFF2-40B4-BE49-F238E27FC236}">
                    <a16:creationId xmlns:a16="http://schemas.microsoft.com/office/drawing/2014/main" id="{3765C60C-FB5A-4EE2-A2C3-7AC5995C62A0}"/>
                  </a:ext>
                </a:extLst>
              </p:cNvPr>
              <p:cNvSpPr/>
              <p:nvPr/>
            </p:nvSpPr>
            <p:spPr>
              <a:xfrm>
                <a:off x="3421387" y="10013297"/>
                <a:ext cx="93286" cy="50814"/>
              </a:xfrm>
              <a:custGeom>
                <a:avLst/>
                <a:gdLst>
                  <a:gd name="connsiteX0" fmla="*/ 6067 w 93286"/>
                  <a:gd name="connsiteY0" fmla="*/ 50815 h 50814"/>
                  <a:gd name="connsiteX1" fmla="*/ 0 w 93286"/>
                  <a:gd name="connsiteY1" fmla="*/ 47781 h 50814"/>
                  <a:gd name="connsiteX2" fmla="*/ 3034 w 93286"/>
                  <a:gd name="connsiteY2" fmla="*/ 38680 h 50814"/>
                  <a:gd name="connsiteX3" fmla="*/ 81910 w 93286"/>
                  <a:gd name="connsiteY3" fmla="*/ 2275 h 50814"/>
                  <a:gd name="connsiteX4" fmla="*/ 91011 w 93286"/>
                  <a:gd name="connsiteY4" fmla="*/ 2275 h 50814"/>
                  <a:gd name="connsiteX5" fmla="*/ 91011 w 93286"/>
                  <a:gd name="connsiteY5" fmla="*/ 11376 h 50814"/>
                  <a:gd name="connsiteX6" fmla="*/ 6067 w 93286"/>
                  <a:gd name="connsiteY6" fmla="*/ 50815 h 50814"/>
                  <a:gd name="connsiteX7" fmla="*/ 6067 w 93286"/>
                  <a:gd name="connsiteY7" fmla="*/ 50815 h 50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286" h="50814">
                    <a:moveTo>
                      <a:pt x="6067" y="50815"/>
                    </a:moveTo>
                    <a:cubicBezTo>
                      <a:pt x="3034" y="50815"/>
                      <a:pt x="0" y="50815"/>
                      <a:pt x="0" y="47781"/>
                    </a:cubicBezTo>
                    <a:cubicBezTo>
                      <a:pt x="0" y="44747"/>
                      <a:pt x="0" y="41713"/>
                      <a:pt x="3034" y="38680"/>
                    </a:cubicBezTo>
                    <a:cubicBezTo>
                      <a:pt x="21236" y="32612"/>
                      <a:pt x="66742" y="11376"/>
                      <a:pt x="81910" y="2275"/>
                    </a:cubicBezTo>
                    <a:cubicBezTo>
                      <a:pt x="84944" y="-758"/>
                      <a:pt x="87978" y="-758"/>
                      <a:pt x="91011" y="2275"/>
                    </a:cubicBezTo>
                    <a:cubicBezTo>
                      <a:pt x="94045" y="5309"/>
                      <a:pt x="94045" y="8343"/>
                      <a:pt x="91011" y="11376"/>
                    </a:cubicBezTo>
                    <a:cubicBezTo>
                      <a:pt x="72809" y="26545"/>
                      <a:pt x="9101" y="47781"/>
                      <a:pt x="6067" y="50815"/>
                    </a:cubicBezTo>
                    <a:cubicBezTo>
                      <a:pt x="6067" y="50815"/>
                      <a:pt x="6067" y="50815"/>
                      <a:pt x="6067" y="5081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06" name="任意多边形: 形状 205">
              <a:extLst>
                <a:ext uri="{FF2B5EF4-FFF2-40B4-BE49-F238E27FC236}">
                  <a16:creationId xmlns:a16="http://schemas.microsoft.com/office/drawing/2014/main" id="{CC84E889-E28C-49C0-8B06-C53D2AC7692A}"/>
                </a:ext>
              </a:extLst>
            </p:cNvPr>
            <p:cNvSpPr/>
            <p:nvPr/>
          </p:nvSpPr>
          <p:spPr>
            <a:xfrm>
              <a:off x="5120426" y="8434252"/>
              <a:ext cx="229987" cy="224628"/>
            </a:xfrm>
            <a:custGeom>
              <a:avLst/>
              <a:gdLst>
                <a:gd name="connsiteX0" fmla="*/ 145456 w 229987"/>
                <a:gd name="connsiteY0" fmla="*/ 6826 h 224628"/>
                <a:gd name="connsiteX1" fmla="*/ 60512 w 229987"/>
                <a:gd name="connsiteY1" fmla="*/ 91770 h 224628"/>
                <a:gd name="connsiteX2" fmla="*/ 66580 w 229987"/>
                <a:gd name="connsiteY2" fmla="*/ 18961 h 224628"/>
                <a:gd name="connsiteX3" fmla="*/ 39276 w 229987"/>
                <a:gd name="connsiteY3" fmla="*/ 758 h 224628"/>
                <a:gd name="connsiteX4" fmla="*/ 30175 w 229987"/>
                <a:gd name="connsiteY4" fmla="*/ 194916 h 224628"/>
                <a:gd name="connsiteX5" fmla="*/ 30175 w 229987"/>
                <a:gd name="connsiteY5" fmla="*/ 194916 h 224628"/>
                <a:gd name="connsiteX6" fmla="*/ 30175 w 229987"/>
                <a:gd name="connsiteY6" fmla="*/ 200983 h 224628"/>
                <a:gd name="connsiteX7" fmla="*/ 139388 w 229987"/>
                <a:gd name="connsiteY7" fmla="*/ 219186 h 224628"/>
                <a:gd name="connsiteX8" fmla="*/ 227366 w 229987"/>
                <a:gd name="connsiteY8" fmla="*/ 103905 h 224628"/>
                <a:gd name="connsiteX9" fmla="*/ 145456 w 229987"/>
                <a:gd name="connsiteY9" fmla="*/ 6826 h 224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9987" h="224628">
                  <a:moveTo>
                    <a:pt x="145456" y="6826"/>
                  </a:moveTo>
                  <a:cubicBezTo>
                    <a:pt x="154557" y="-11376"/>
                    <a:pt x="96917" y="34129"/>
                    <a:pt x="60512" y="91770"/>
                  </a:cubicBezTo>
                  <a:cubicBezTo>
                    <a:pt x="54445" y="70534"/>
                    <a:pt x="60512" y="46264"/>
                    <a:pt x="66580" y="18961"/>
                  </a:cubicBezTo>
                  <a:cubicBezTo>
                    <a:pt x="69613" y="3792"/>
                    <a:pt x="42310" y="-2275"/>
                    <a:pt x="39276" y="758"/>
                  </a:cubicBezTo>
                  <a:cubicBezTo>
                    <a:pt x="-3196" y="52332"/>
                    <a:pt x="-18364" y="140309"/>
                    <a:pt x="30175" y="194916"/>
                  </a:cubicBezTo>
                  <a:cubicBezTo>
                    <a:pt x="30175" y="194916"/>
                    <a:pt x="30175" y="194916"/>
                    <a:pt x="30175" y="194916"/>
                  </a:cubicBezTo>
                  <a:cubicBezTo>
                    <a:pt x="30175" y="194916"/>
                    <a:pt x="27141" y="197949"/>
                    <a:pt x="30175" y="200983"/>
                  </a:cubicBezTo>
                  <a:cubicBezTo>
                    <a:pt x="48377" y="228286"/>
                    <a:pt x="109051" y="228286"/>
                    <a:pt x="139388" y="219186"/>
                  </a:cubicBezTo>
                  <a:cubicBezTo>
                    <a:pt x="187928" y="200983"/>
                    <a:pt x="200063" y="143343"/>
                    <a:pt x="227366" y="103905"/>
                  </a:cubicBezTo>
                  <a:cubicBezTo>
                    <a:pt x="245568" y="82669"/>
                    <a:pt x="163658" y="-14410"/>
                    <a:pt x="145456" y="6826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07" name="图形 1">
              <a:extLst>
                <a:ext uri="{FF2B5EF4-FFF2-40B4-BE49-F238E27FC236}">
                  <a16:creationId xmlns:a16="http://schemas.microsoft.com/office/drawing/2014/main" id="{FF925BF1-227F-4D15-960F-B079B3208F11}"/>
                </a:ext>
              </a:extLst>
            </p:cNvPr>
            <p:cNvGrpSpPr/>
            <p:nvPr/>
          </p:nvGrpSpPr>
          <p:grpSpPr>
            <a:xfrm>
              <a:off x="4854714" y="8077380"/>
              <a:ext cx="644763" cy="712574"/>
              <a:chOff x="4854714" y="8077380"/>
              <a:chExt cx="644763" cy="712574"/>
            </a:xfrm>
          </p:grpSpPr>
          <p:sp>
            <p:nvSpPr>
              <p:cNvPr id="219" name="任意多边形: 形状 218">
                <a:extLst>
                  <a:ext uri="{FF2B5EF4-FFF2-40B4-BE49-F238E27FC236}">
                    <a16:creationId xmlns:a16="http://schemas.microsoft.com/office/drawing/2014/main" id="{CE22C8D2-0E49-410F-BAD6-9755C6B41442}"/>
                  </a:ext>
                </a:extLst>
              </p:cNvPr>
              <p:cNvSpPr/>
              <p:nvPr/>
            </p:nvSpPr>
            <p:spPr>
              <a:xfrm>
                <a:off x="4947343" y="8216583"/>
                <a:ext cx="552134" cy="573371"/>
              </a:xfrm>
              <a:custGeom>
                <a:avLst/>
                <a:gdLst>
                  <a:gd name="connsiteX0" fmla="*/ 455056 w 552134"/>
                  <a:gd name="connsiteY0" fmla="*/ 573371 h 573371"/>
                  <a:gd name="connsiteX1" fmla="*/ 455056 w 552134"/>
                  <a:gd name="connsiteY1" fmla="*/ 573371 h 573371"/>
                  <a:gd name="connsiteX2" fmla="*/ 552135 w 552134"/>
                  <a:gd name="connsiteY2" fmla="*/ 482360 h 573371"/>
                  <a:gd name="connsiteX3" fmla="*/ 552135 w 552134"/>
                  <a:gd name="connsiteY3" fmla="*/ 482360 h 573371"/>
                  <a:gd name="connsiteX4" fmla="*/ 66741 w 552134"/>
                  <a:gd name="connsiteY4" fmla="*/ 0 h 573371"/>
                  <a:gd name="connsiteX5" fmla="*/ 0 w 552134"/>
                  <a:gd name="connsiteY5" fmla="*/ 63708 h 573371"/>
                  <a:gd name="connsiteX6" fmla="*/ 455056 w 552134"/>
                  <a:gd name="connsiteY6" fmla="*/ 573371 h 573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2134" h="573371">
                    <a:moveTo>
                      <a:pt x="455056" y="573371"/>
                    </a:moveTo>
                    <a:lnTo>
                      <a:pt x="455056" y="573371"/>
                    </a:lnTo>
                    <a:cubicBezTo>
                      <a:pt x="506629" y="570337"/>
                      <a:pt x="546067" y="533933"/>
                      <a:pt x="552135" y="482360"/>
                    </a:cubicBezTo>
                    <a:lnTo>
                      <a:pt x="552135" y="482360"/>
                    </a:lnTo>
                    <a:lnTo>
                      <a:pt x="66741" y="0"/>
                    </a:lnTo>
                    <a:lnTo>
                      <a:pt x="0" y="63708"/>
                    </a:lnTo>
                    <a:lnTo>
                      <a:pt x="455056" y="573371"/>
                    </a:ln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0" name="任意多边形: 形状 219">
                <a:extLst>
                  <a:ext uri="{FF2B5EF4-FFF2-40B4-BE49-F238E27FC236}">
                    <a16:creationId xmlns:a16="http://schemas.microsoft.com/office/drawing/2014/main" id="{185C5DE4-54B9-4F52-B62B-DA065E226A5E}"/>
                  </a:ext>
                </a:extLst>
              </p:cNvPr>
              <p:cNvSpPr/>
              <p:nvPr/>
            </p:nvSpPr>
            <p:spPr>
              <a:xfrm>
                <a:off x="4909016" y="8181290"/>
                <a:ext cx="106990" cy="106990"/>
              </a:xfrm>
              <a:custGeom>
                <a:avLst/>
                <a:gdLst>
                  <a:gd name="connsiteX0" fmla="*/ 92933 w 106990"/>
                  <a:gd name="connsiteY0" fmla="*/ 95967 h 106990"/>
                  <a:gd name="connsiteX1" fmla="*/ 92933 w 106990"/>
                  <a:gd name="connsiteY1" fmla="*/ 95967 h 106990"/>
                  <a:gd name="connsiteX2" fmla="*/ 95967 w 106990"/>
                  <a:gd name="connsiteY2" fmla="*/ 38327 h 106990"/>
                  <a:gd name="connsiteX3" fmla="*/ 71697 w 106990"/>
                  <a:gd name="connsiteY3" fmla="*/ 14057 h 106990"/>
                  <a:gd name="connsiteX4" fmla="*/ 14057 w 106990"/>
                  <a:gd name="connsiteY4" fmla="*/ 11023 h 106990"/>
                  <a:gd name="connsiteX5" fmla="*/ 14057 w 106990"/>
                  <a:gd name="connsiteY5" fmla="*/ 11023 h 106990"/>
                  <a:gd name="connsiteX6" fmla="*/ 11023 w 106990"/>
                  <a:gd name="connsiteY6" fmla="*/ 68664 h 106990"/>
                  <a:gd name="connsiteX7" fmla="*/ 32259 w 106990"/>
                  <a:gd name="connsiteY7" fmla="*/ 92934 h 106990"/>
                  <a:gd name="connsiteX8" fmla="*/ 92933 w 106990"/>
                  <a:gd name="connsiteY8" fmla="*/ 95967 h 106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6990" h="106990">
                    <a:moveTo>
                      <a:pt x="92933" y="95967"/>
                    </a:moveTo>
                    <a:lnTo>
                      <a:pt x="92933" y="95967"/>
                    </a:lnTo>
                    <a:cubicBezTo>
                      <a:pt x="111136" y="80798"/>
                      <a:pt x="111136" y="53495"/>
                      <a:pt x="95967" y="38327"/>
                    </a:cubicBezTo>
                    <a:lnTo>
                      <a:pt x="71697" y="14057"/>
                    </a:lnTo>
                    <a:cubicBezTo>
                      <a:pt x="56529" y="-4145"/>
                      <a:pt x="29225" y="-4145"/>
                      <a:pt x="14057" y="11023"/>
                    </a:cubicBezTo>
                    <a:lnTo>
                      <a:pt x="14057" y="11023"/>
                    </a:lnTo>
                    <a:cubicBezTo>
                      <a:pt x="-4145" y="26192"/>
                      <a:pt x="-4145" y="53495"/>
                      <a:pt x="11023" y="68664"/>
                    </a:cubicBezTo>
                    <a:lnTo>
                      <a:pt x="32259" y="92934"/>
                    </a:lnTo>
                    <a:cubicBezTo>
                      <a:pt x="50461" y="111136"/>
                      <a:pt x="74731" y="111136"/>
                      <a:pt x="92933" y="9596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1" name="任意多边形: 形状 220">
                <a:extLst>
                  <a:ext uri="{FF2B5EF4-FFF2-40B4-BE49-F238E27FC236}">
                    <a16:creationId xmlns:a16="http://schemas.microsoft.com/office/drawing/2014/main" id="{E7B4428E-AD6C-40E4-9F8D-DF1F85E3FBBB}"/>
                  </a:ext>
                </a:extLst>
              </p:cNvPr>
              <p:cNvSpPr/>
              <p:nvPr/>
            </p:nvSpPr>
            <p:spPr>
              <a:xfrm>
                <a:off x="4854714" y="8116471"/>
                <a:ext cx="325217" cy="407975"/>
              </a:xfrm>
              <a:custGeom>
                <a:avLst/>
                <a:gdLst>
                  <a:gd name="connsiteX0" fmla="*/ 210944 w 325217"/>
                  <a:gd name="connsiteY0" fmla="*/ 0 h 407975"/>
                  <a:gd name="connsiteX1" fmla="*/ 180606 w 325217"/>
                  <a:gd name="connsiteY1" fmla="*/ 72809 h 407975"/>
                  <a:gd name="connsiteX2" fmla="*/ 174539 w 325217"/>
                  <a:gd name="connsiteY2" fmla="*/ 84944 h 407975"/>
                  <a:gd name="connsiteX3" fmla="*/ 116898 w 325217"/>
                  <a:gd name="connsiteY3" fmla="*/ 106180 h 407975"/>
                  <a:gd name="connsiteX4" fmla="*/ 4651 w 325217"/>
                  <a:gd name="connsiteY4" fmla="*/ 367079 h 407975"/>
                  <a:gd name="connsiteX5" fmla="*/ 174539 w 325217"/>
                  <a:gd name="connsiteY5" fmla="*/ 254832 h 407975"/>
                  <a:gd name="connsiteX6" fmla="*/ 247348 w 325217"/>
                  <a:gd name="connsiteY6" fmla="*/ 188090 h 407975"/>
                  <a:gd name="connsiteX7" fmla="*/ 244314 w 325217"/>
                  <a:gd name="connsiteY7" fmla="*/ 154719 h 407975"/>
                  <a:gd name="connsiteX8" fmla="*/ 253415 w 325217"/>
                  <a:gd name="connsiteY8" fmla="*/ 142585 h 407975"/>
                  <a:gd name="connsiteX9" fmla="*/ 320157 w 325217"/>
                  <a:gd name="connsiteY9" fmla="*/ 115281 h 407975"/>
                  <a:gd name="connsiteX10" fmla="*/ 210944 w 325217"/>
                  <a:gd name="connsiteY10" fmla="*/ 0 h 407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25217" h="407975">
                    <a:moveTo>
                      <a:pt x="210944" y="0"/>
                    </a:moveTo>
                    <a:cubicBezTo>
                      <a:pt x="210944" y="0"/>
                      <a:pt x="180606" y="30337"/>
                      <a:pt x="180606" y="72809"/>
                    </a:cubicBezTo>
                    <a:cubicBezTo>
                      <a:pt x="180606" y="78877"/>
                      <a:pt x="177573" y="81910"/>
                      <a:pt x="174539" y="84944"/>
                    </a:cubicBezTo>
                    <a:cubicBezTo>
                      <a:pt x="159370" y="87978"/>
                      <a:pt x="126000" y="97079"/>
                      <a:pt x="116898" y="106180"/>
                    </a:cubicBezTo>
                    <a:cubicBezTo>
                      <a:pt x="101730" y="118315"/>
                      <a:pt x="-25686" y="233596"/>
                      <a:pt x="4651" y="367079"/>
                    </a:cubicBezTo>
                    <a:cubicBezTo>
                      <a:pt x="34988" y="497528"/>
                      <a:pt x="62292" y="276068"/>
                      <a:pt x="174539" y="254832"/>
                    </a:cubicBezTo>
                    <a:lnTo>
                      <a:pt x="247348" y="188090"/>
                    </a:lnTo>
                    <a:lnTo>
                      <a:pt x="244314" y="154719"/>
                    </a:lnTo>
                    <a:cubicBezTo>
                      <a:pt x="244314" y="148652"/>
                      <a:pt x="247348" y="145618"/>
                      <a:pt x="253415" y="142585"/>
                    </a:cubicBezTo>
                    <a:cubicBezTo>
                      <a:pt x="268584" y="142585"/>
                      <a:pt x="295887" y="136517"/>
                      <a:pt x="320157" y="115281"/>
                    </a:cubicBezTo>
                    <a:cubicBezTo>
                      <a:pt x="353528" y="81910"/>
                      <a:pt x="210944" y="0"/>
                      <a:pt x="210944" y="0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2" name="任意多边形: 形状 221">
                <a:extLst>
                  <a:ext uri="{FF2B5EF4-FFF2-40B4-BE49-F238E27FC236}">
                    <a16:creationId xmlns:a16="http://schemas.microsoft.com/office/drawing/2014/main" id="{4FAFE625-A3BA-44F8-BD40-29558617D05D}"/>
                  </a:ext>
                </a:extLst>
              </p:cNvPr>
              <p:cNvSpPr/>
              <p:nvPr/>
            </p:nvSpPr>
            <p:spPr>
              <a:xfrm>
                <a:off x="5059937" y="8077380"/>
                <a:ext cx="154024" cy="159327"/>
              </a:xfrm>
              <a:custGeom>
                <a:avLst/>
                <a:gdLst>
                  <a:gd name="connsiteX0" fmla="*/ 121001 w 154024"/>
                  <a:gd name="connsiteY0" fmla="*/ 148304 h 159327"/>
                  <a:gd name="connsiteX1" fmla="*/ 142237 w 154024"/>
                  <a:gd name="connsiteY1" fmla="*/ 127068 h 159327"/>
                  <a:gd name="connsiteX2" fmla="*/ 145270 w 154024"/>
                  <a:gd name="connsiteY2" fmla="*/ 72461 h 159327"/>
                  <a:gd name="connsiteX3" fmla="*/ 87630 w 154024"/>
                  <a:gd name="connsiteY3" fmla="*/ 11787 h 159327"/>
                  <a:gd name="connsiteX4" fmla="*/ 33023 w 154024"/>
                  <a:gd name="connsiteY4" fmla="*/ 8753 h 159327"/>
                  <a:gd name="connsiteX5" fmla="*/ 11787 w 154024"/>
                  <a:gd name="connsiteY5" fmla="*/ 29990 h 159327"/>
                  <a:gd name="connsiteX6" fmla="*/ 8754 w 154024"/>
                  <a:gd name="connsiteY6" fmla="*/ 84596 h 159327"/>
                  <a:gd name="connsiteX7" fmla="*/ 66394 w 154024"/>
                  <a:gd name="connsiteY7" fmla="*/ 145270 h 159327"/>
                  <a:gd name="connsiteX8" fmla="*/ 121001 w 154024"/>
                  <a:gd name="connsiteY8" fmla="*/ 148304 h 159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024" h="159327">
                    <a:moveTo>
                      <a:pt x="121001" y="148304"/>
                    </a:moveTo>
                    <a:lnTo>
                      <a:pt x="142237" y="127068"/>
                    </a:lnTo>
                    <a:cubicBezTo>
                      <a:pt x="157405" y="111900"/>
                      <a:pt x="157405" y="87630"/>
                      <a:pt x="145270" y="72461"/>
                    </a:cubicBezTo>
                    <a:lnTo>
                      <a:pt x="87630" y="11787"/>
                    </a:lnTo>
                    <a:cubicBezTo>
                      <a:pt x="72461" y="-3381"/>
                      <a:pt x="48192" y="-3381"/>
                      <a:pt x="33023" y="8753"/>
                    </a:cubicBezTo>
                    <a:lnTo>
                      <a:pt x="11787" y="29990"/>
                    </a:lnTo>
                    <a:cubicBezTo>
                      <a:pt x="-3381" y="45158"/>
                      <a:pt x="-3381" y="69428"/>
                      <a:pt x="8754" y="84596"/>
                    </a:cubicBezTo>
                    <a:lnTo>
                      <a:pt x="66394" y="145270"/>
                    </a:lnTo>
                    <a:cubicBezTo>
                      <a:pt x="81563" y="163473"/>
                      <a:pt x="105832" y="163473"/>
                      <a:pt x="121001" y="148304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08" name="任意多边形: 形状 207">
              <a:extLst>
                <a:ext uri="{FF2B5EF4-FFF2-40B4-BE49-F238E27FC236}">
                  <a16:creationId xmlns:a16="http://schemas.microsoft.com/office/drawing/2014/main" id="{CC350F64-4216-428F-BD5C-53ED671B9EE3}"/>
                </a:ext>
              </a:extLst>
            </p:cNvPr>
            <p:cNvSpPr/>
            <p:nvPr/>
          </p:nvSpPr>
          <p:spPr>
            <a:xfrm>
              <a:off x="5115678" y="8438992"/>
              <a:ext cx="147711" cy="231283"/>
            </a:xfrm>
            <a:custGeom>
              <a:avLst/>
              <a:gdLst>
                <a:gd name="connsiteX0" fmla="*/ 65260 w 147711"/>
                <a:gd name="connsiteY0" fmla="*/ 87029 h 231283"/>
                <a:gd name="connsiteX1" fmla="*/ 71328 w 147711"/>
                <a:gd name="connsiteY1" fmla="*/ 14221 h 231283"/>
                <a:gd name="connsiteX2" fmla="*/ 37957 w 147711"/>
                <a:gd name="connsiteY2" fmla="*/ 5119 h 231283"/>
                <a:gd name="connsiteX3" fmla="*/ 34923 w 147711"/>
                <a:gd name="connsiteY3" fmla="*/ 193209 h 231283"/>
                <a:gd name="connsiteX4" fmla="*/ 34923 w 147711"/>
                <a:gd name="connsiteY4" fmla="*/ 193209 h 231283"/>
                <a:gd name="connsiteX5" fmla="*/ 34923 w 147711"/>
                <a:gd name="connsiteY5" fmla="*/ 199277 h 231283"/>
                <a:gd name="connsiteX6" fmla="*/ 132002 w 147711"/>
                <a:gd name="connsiteY6" fmla="*/ 226580 h 231283"/>
                <a:gd name="connsiteX7" fmla="*/ 65260 w 147711"/>
                <a:gd name="connsiteY7" fmla="*/ 87029 h 231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711" h="231283">
                  <a:moveTo>
                    <a:pt x="65260" y="87029"/>
                  </a:moveTo>
                  <a:cubicBezTo>
                    <a:pt x="59193" y="65794"/>
                    <a:pt x="65260" y="41524"/>
                    <a:pt x="71328" y="14221"/>
                  </a:cubicBezTo>
                  <a:cubicBezTo>
                    <a:pt x="74361" y="-948"/>
                    <a:pt x="44024" y="-3982"/>
                    <a:pt x="37957" y="5119"/>
                  </a:cubicBezTo>
                  <a:cubicBezTo>
                    <a:pt x="-10582" y="56692"/>
                    <a:pt x="-13616" y="135569"/>
                    <a:pt x="34923" y="193209"/>
                  </a:cubicBezTo>
                  <a:cubicBezTo>
                    <a:pt x="34923" y="193209"/>
                    <a:pt x="34923" y="193209"/>
                    <a:pt x="34923" y="193209"/>
                  </a:cubicBezTo>
                  <a:cubicBezTo>
                    <a:pt x="34923" y="193209"/>
                    <a:pt x="31889" y="196243"/>
                    <a:pt x="34923" y="199277"/>
                  </a:cubicBezTo>
                  <a:cubicBezTo>
                    <a:pt x="53125" y="226580"/>
                    <a:pt x="101665" y="238715"/>
                    <a:pt x="132002" y="226580"/>
                  </a:cubicBezTo>
                  <a:cubicBezTo>
                    <a:pt x="180541" y="208378"/>
                    <a:pt x="104699" y="150737"/>
                    <a:pt x="65260" y="87029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09" name="图形 1">
              <a:extLst>
                <a:ext uri="{FF2B5EF4-FFF2-40B4-BE49-F238E27FC236}">
                  <a16:creationId xmlns:a16="http://schemas.microsoft.com/office/drawing/2014/main" id="{EECFF264-80BC-442D-9595-9149DB6ADD96}"/>
                </a:ext>
              </a:extLst>
            </p:cNvPr>
            <p:cNvGrpSpPr/>
            <p:nvPr/>
          </p:nvGrpSpPr>
          <p:grpSpPr>
            <a:xfrm>
              <a:off x="5183972" y="8385896"/>
              <a:ext cx="185056" cy="188664"/>
              <a:chOff x="5183972" y="8385896"/>
              <a:chExt cx="185056" cy="188664"/>
            </a:xfrm>
          </p:grpSpPr>
          <p:grpSp>
            <p:nvGrpSpPr>
              <p:cNvPr id="211" name="图形 1">
                <a:extLst>
                  <a:ext uri="{FF2B5EF4-FFF2-40B4-BE49-F238E27FC236}">
                    <a16:creationId xmlns:a16="http://schemas.microsoft.com/office/drawing/2014/main" id="{ECFEA72E-0C03-4F85-8C78-65A5299BA5DD}"/>
                  </a:ext>
                </a:extLst>
              </p:cNvPr>
              <p:cNvGrpSpPr/>
              <p:nvPr/>
            </p:nvGrpSpPr>
            <p:grpSpPr>
              <a:xfrm>
                <a:off x="5183972" y="8385896"/>
                <a:ext cx="183212" cy="177948"/>
                <a:chOff x="5183972" y="8385896"/>
                <a:chExt cx="183212" cy="177948"/>
              </a:xfrm>
            </p:grpSpPr>
            <p:sp>
              <p:nvSpPr>
                <p:cNvPr id="213" name="任意多边形: 形状 212">
                  <a:extLst>
                    <a:ext uri="{FF2B5EF4-FFF2-40B4-BE49-F238E27FC236}">
                      <a16:creationId xmlns:a16="http://schemas.microsoft.com/office/drawing/2014/main" id="{5EAE8477-30F5-4500-AA22-A9C2E04CA5F0}"/>
                    </a:ext>
                  </a:extLst>
                </p:cNvPr>
                <p:cNvSpPr/>
                <p:nvPr/>
              </p:nvSpPr>
              <p:spPr>
                <a:xfrm>
                  <a:off x="5189458" y="8385896"/>
                  <a:ext cx="108414" cy="103525"/>
                </a:xfrm>
                <a:custGeom>
                  <a:avLst/>
                  <a:gdLst>
                    <a:gd name="connsiteX0" fmla="*/ 76424 w 108414"/>
                    <a:gd name="connsiteY0" fmla="*/ 575 h 103525"/>
                    <a:gd name="connsiteX1" fmla="*/ 15750 w 108414"/>
                    <a:gd name="connsiteY1" fmla="*/ 46081 h 103525"/>
                    <a:gd name="connsiteX2" fmla="*/ 6649 w 108414"/>
                    <a:gd name="connsiteY2" fmla="*/ 52148 h 103525"/>
                    <a:gd name="connsiteX3" fmla="*/ 581 w 108414"/>
                    <a:gd name="connsiteY3" fmla="*/ 64283 h 103525"/>
                    <a:gd name="connsiteX4" fmla="*/ 21817 w 108414"/>
                    <a:gd name="connsiteY4" fmla="*/ 100687 h 103525"/>
                    <a:gd name="connsiteX5" fmla="*/ 58222 w 108414"/>
                    <a:gd name="connsiteY5" fmla="*/ 88552 h 103525"/>
                    <a:gd name="connsiteX6" fmla="*/ 94626 w 108414"/>
                    <a:gd name="connsiteY6" fmla="*/ 55182 h 103525"/>
                    <a:gd name="connsiteX7" fmla="*/ 106761 w 108414"/>
                    <a:gd name="connsiteY7" fmla="*/ 24845 h 103525"/>
                    <a:gd name="connsiteX8" fmla="*/ 76424 w 108414"/>
                    <a:gd name="connsiteY8" fmla="*/ 575 h 103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8414" h="103525">
                      <a:moveTo>
                        <a:pt x="76424" y="575"/>
                      </a:moveTo>
                      <a:cubicBezTo>
                        <a:pt x="49121" y="3608"/>
                        <a:pt x="33952" y="27878"/>
                        <a:pt x="15750" y="46081"/>
                      </a:cubicBezTo>
                      <a:cubicBezTo>
                        <a:pt x="12716" y="49114"/>
                        <a:pt x="6649" y="52148"/>
                        <a:pt x="6649" y="52148"/>
                      </a:cubicBezTo>
                      <a:cubicBezTo>
                        <a:pt x="3615" y="55182"/>
                        <a:pt x="3615" y="58215"/>
                        <a:pt x="581" y="64283"/>
                      </a:cubicBezTo>
                      <a:cubicBezTo>
                        <a:pt x="-2452" y="76418"/>
                        <a:pt x="6649" y="91586"/>
                        <a:pt x="21817" y="100687"/>
                      </a:cubicBezTo>
                      <a:cubicBezTo>
                        <a:pt x="36986" y="109788"/>
                        <a:pt x="49121" y="94620"/>
                        <a:pt x="58222" y="88552"/>
                      </a:cubicBezTo>
                      <a:cubicBezTo>
                        <a:pt x="70356" y="79451"/>
                        <a:pt x="82491" y="67316"/>
                        <a:pt x="94626" y="55182"/>
                      </a:cubicBezTo>
                      <a:cubicBezTo>
                        <a:pt x="100693" y="46081"/>
                        <a:pt x="112828" y="36979"/>
                        <a:pt x="106761" y="24845"/>
                      </a:cubicBezTo>
                      <a:cubicBezTo>
                        <a:pt x="103727" y="6642"/>
                        <a:pt x="88559" y="-2459"/>
                        <a:pt x="76424" y="575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4" name="任意多边形: 形状 213">
                  <a:extLst>
                    <a:ext uri="{FF2B5EF4-FFF2-40B4-BE49-F238E27FC236}">
                      <a16:creationId xmlns:a16="http://schemas.microsoft.com/office/drawing/2014/main" id="{140DD697-B530-4FF3-B455-491BA16E05D9}"/>
                    </a:ext>
                  </a:extLst>
                </p:cNvPr>
                <p:cNvSpPr/>
                <p:nvPr/>
              </p:nvSpPr>
              <p:spPr>
                <a:xfrm>
                  <a:off x="5210694" y="8425698"/>
                  <a:ext cx="108414" cy="103161"/>
                </a:xfrm>
                <a:custGeom>
                  <a:avLst/>
                  <a:gdLst>
                    <a:gd name="connsiteX0" fmla="*/ 79458 w 108414"/>
                    <a:gd name="connsiteY0" fmla="*/ 211 h 103161"/>
                    <a:gd name="connsiteX1" fmla="*/ 9682 w 108414"/>
                    <a:gd name="connsiteY1" fmla="*/ 45717 h 103161"/>
                    <a:gd name="connsiteX2" fmla="*/ 6649 w 108414"/>
                    <a:gd name="connsiteY2" fmla="*/ 51784 h 103161"/>
                    <a:gd name="connsiteX3" fmla="*/ 581 w 108414"/>
                    <a:gd name="connsiteY3" fmla="*/ 63919 h 103161"/>
                    <a:gd name="connsiteX4" fmla="*/ 21817 w 108414"/>
                    <a:gd name="connsiteY4" fmla="*/ 100323 h 103161"/>
                    <a:gd name="connsiteX5" fmla="*/ 58222 w 108414"/>
                    <a:gd name="connsiteY5" fmla="*/ 88189 h 103161"/>
                    <a:gd name="connsiteX6" fmla="*/ 94626 w 108414"/>
                    <a:gd name="connsiteY6" fmla="*/ 54818 h 103161"/>
                    <a:gd name="connsiteX7" fmla="*/ 106761 w 108414"/>
                    <a:gd name="connsiteY7" fmla="*/ 24481 h 103161"/>
                    <a:gd name="connsiteX8" fmla="*/ 79458 w 108414"/>
                    <a:gd name="connsiteY8" fmla="*/ 211 h 103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8414" h="103161">
                      <a:moveTo>
                        <a:pt x="79458" y="211"/>
                      </a:moveTo>
                      <a:cubicBezTo>
                        <a:pt x="43053" y="-2823"/>
                        <a:pt x="30918" y="27515"/>
                        <a:pt x="9682" y="45717"/>
                      </a:cubicBezTo>
                      <a:cubicBezTo>
                        <a:pt x="6649" y="48750"/>
                        <a:pt x="6649" y="48750"/>
                        <a:pt x="6649" y="51784"/>
                      </a:cubicBezTo>
                      <a:cubicBezTo>
                        <a:pt x="3615" y="54818"/>
                        <a:pt x="3615" y="57852"/>
                        <a:pt x="581" y="63919"/>
                      </a:cubicBezTo>
                      <a:cubicBezTo>
                        <a:pt x="-2452" y="76054"/>
                        <a:pt x="6649" y="91223"/>
                        <a:pt x="21817" y="100323"/>
                      </a:cubicBezTo>
                      <a:cubicBezTo>
                        <a:pt x="36986" y="109425"/>
                        <a:pt x="49121" y="94256"/>
                        <a:pt x="58222" y="88189"/>
                      </a:cubicBezTo>
                      <a:cubicBezTo>
                        <a:pt x="70357" y="79087"/>
                        <a:pt x="82492" y="66953"/>
                        <a:pt x="94626" y="54818"/>
                      </a:cubicBezTo>
                      <a:cubicBezTo>
                        <a:pt x="100694" y="45717"/>
                        <a:pt x="112829" y="36616"/>
                        <a:pt x="106761" y="24481"/>
                      </a:cubicBezTo>
                      <a:cubicBezTo>
                        <a:pt x="106761" y="6279"/>
                        <a:pt x="91592" y="211"/>
                        <a:pt x="79458" y="211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5" name="任意多边形: 形状 214">
                  <a:extLst>
                    <a:ext uri="{FF2B5EF4-FFF2-40B4-BE49-F238E27FC236}">
                      <a16:creationId xmlns:a16="http://schemas.microsoft.com/office/drawing/2014/main" id="{C89ECD11-ADC9-496D-91FE-B3A68EC748FB}"/>
                    </a:ext>
                  </a:extLst>
                </p:cNvPr>
                <p:cNvSpPr/>
                <p:nvPr/>
              </p:nvSpPr>
              <p:spPr>
                <a:xfrm>
                  <a:off x="5250125" y="8462314"/>
                  <a:ext cx="99320" cy="86944"/>
                </a:xfrm>
                <a:custGeom>
                  <a:avLst/>
                  <a:gdLst>
                    <a:gd name="connsiteX0" fmla="*/ 70363 w 99320"/>
                    <a:gd name="connsiteY0" fmla="*/ 0 h 86944"/>
                    <a:gd name="connsiteX1" fmla="*/ 9689 w 99320"/>
                    <a:gd name="connsiteY1" fmla="*/ 39438 h 86944"/>
                    <a:gd name="connsiteX2" fmla="*/ 6655 w 99320"/>
                    <a:gd name="connsiteY2" fmla="*/ 45506 h 86944"/>
                    <a:gd name="connsiteX3" fmla="*/ 588 w 99320"/>
                    <a:gd name="connsiteY3" fmla="*/ 54607 h 86944"/>
                    <a:gd name="connsiteX4" fmla="*/ 18790 w 99320"/>
                    <a:gd name="connsiteY4" fmla="*/ 84944 h 86944"/>
                    <a:gd name="connsiteX5" fmla="*/ 52161 w 99320"/>
                    <a:gd name="connsiteY5" fmla="*/ 75843 h 86944"/>
                    <a:gd name="connsiteX6" fmla="*/ 85532 w 99320"/>
                    <a:gd name="connsiteY6" fmla="*/ 48539 h 86944"/>
                    <a:gd name="connsiteX7" fmla="*/ 97667 w 99320"/>
                    <a:gd name="connsiteY7" fmla="*/ 21236 h 86944"/>
                    <a:gd name="connsiteX8" fmla="*/ 70363 w 99320"/>
                    <a:gd name="connsiteY8" fmla="*/ 0 h 869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9320" h="86944">
                      <a:moveTo>
                        <a:pt x="70363" y="0"/>
                      </a:moveTo>
                      <a:cubicBezTo>
                        <a:pt x="36992" y="0"/>
                        <a:pt x="27891" y="24270"/>
                        <a:pt x="9689" y="39438"/>
                      </a:cubicBezTo>
                      <a:cubicBezTo>
                        <a:pt x="6655" y="39438"/>
                        <a:pt x="6655" y="42472"/>
                        <a:pt x="6655" y="45506"/>
                      </a:cubicBezTo>
                      <a:cubicBezTo>
                        <a:pt x="3622" y="48539"/>
                        <a:pt x="3622" y="51573"/>
                        <a:pt x="588" y="54607"/>
                      </a:cubicBezTo>
                      <a:cubicBezTo>
                        <a:pt x="-2446" y="63708"/>
                        <a:pt x="6655" y="78876"/>
                        <a:pt x="18790" y="84944"/>
                      </a:cubicBezTo>
                      <a:cubicBezTo>
                        <a:pt x="33959" y="91011"/>
                        <a:pt x="43060" y="81910"/>
                        <a:pt x="52161" y="75843"/>
                      </a:cubicBezTo>
                      <a:cubicBezTo>
                        <a:pt x="64296" y="66741"/>
                        <a:pt x="73397" y="57640"/>
                        <a:pt x="85532" y="48539"/>
                      </a:cubicBezTo>
                      <a:cubicBezTo>
                        <a:pt x="91599" y="42472"/>
                        <a:pt x="103734" y="33371"/>
                        <a:pt x="97667" y="21236"/>
                      </a:cubicBezTo>
                      <a:cubicBezTo>
                        <a:pt x="91599" y="6067"/>
                        <a:pt x="79464" y="0"/>
                        <a:pt x="70363" y="0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6" name="任意多边形: 形状 215">
                  <a:extLst>
                    <a:ext uri="{FF2B5EF4-FFF2-40B4-BE49-F238E27FC236}">
                      <a16:creationId xmlns:a16="http://schemas.microsoft.com/office/drawing/2014/main" id="{00451BF2-2D7A-44D7-A96D-7286EAB3D0BA}"/>
                    </a:ext>
                  </a:extLst>
                </p:cNvPr>
                <p:cNvSpPr/>
                <p:nvPr/>
              </p:nvSpPr>
              <p:spPr>
                <a:xfrm>
                  <a:off x="5290151" y="8483550"/>
                  <a:ext cx="77032" cy="80295"/>
                </a:xfrm>
                <a:custGeom>
                  <a:avLst/>
                  <a:gdLst>
                    <a:gd name="connsiteX0" fmla="*/ 54607 w 77032"/>
                    <a:gd name="connsiteY0" fmla="*/ 0 h 80295"/>
                    <a:gd name="connsiteX1" fmla="*/ 6068 w 77032"/>
                    <a:gd name="connsiteY1" fmla="*/ 39438 h 80295"/>
                    <a:gd name="connsiteX2" fmla="*/ 3034 w 77032"/>
                    <a:gd name="connsiteY2" fmla="*/ 42472 h 80295"/>
                    <a:gd name="connsiteX3" fmla="*/ 0 w 77032"/>
                    <a:gd name="connsiteY3" fmla="*/ 48540 h 80295"/>
                    <a:gd name="connsiteX4" fmla="*/ 15169 w 77032"/>
                    <a:gd name="connsiteY4" fmla="*/ 78877 h 80295"/>
                    <a:gd name="connsiteX5" fmla="*/ 45506 w 77032"/>
                    <a:gd name="connsiteY5" fmla="*/ 66741 h 80295"/>
                    <a:gd name="connsiteX6" fmla="*/ 69775 w 77032"/>
                    <a:gd name="connsiteY6" fmla="*/ 42472 h 80295"/>
                    <a:gd name="connsiteX7" fmla="*/ 75843 w 77032"/>
                    <a:gd name="connsiteY7" fmla="*/ 18202 h 80295"/>
                    <a:gd name="connsiteX8" fmla="*/ 54607 w 77032"/>
                    <a:gd name="connsiteY8" fmla="*/ 0 h 802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7032" h="80295">
                      <a:moveTo>
                        <a:pt x="54607" y="0"/>
                      </a:moveTo>
                      <a:cubicBezTo>
                        <a:pt x="30337" y="0"/>
                        <a:pt x="21236" y="30337"/>
                        <a:pt x="6068" y="39438"/>
                      </a:cubicBezTo>
                      <a:cubicBezTo>
                        <a:pt x="6068" y="39438"/>
                        <a:pt x="3034" y="42472"/>
                        <a:pt x="3034" y="42472"/>
                      </a:cubicBezTo>
                      <a:cubicBezTo>
                        <a:pt x="0" y="45506"/>
                        <a:pt x="0" y="45506"/>
                        <a:pt x="0" y="48540"/>
                      </a:cubicBezTo>
                      <a:cubicBezTo>
                        <a:pt x="0" y="57640"/>
                        <a:pt x="3034" y="75843"/>
                        <a:pt x="15169" y="78877"/>
                      </a:cubicBezTo>
                      <a:cubicBezTo>
                        <a:pt x="27303" y="84944"/>
                        <a:pt x="39438" y="69775"/>
                        <a:pt x="45506" y="66741"/>
                      </a:cubicBezTo>
                      <a:cubicBezTo>
                        <a:pt x="54607" y="60674"/>
                        <a:pt x="60674" y="48540"/>
                        <a:pt x="69775" y="42472"/>
                      </a:cubicBezTo>
                      <a:cubicBezTo>
                        <a:pt x="75843" y="36404"/>
                        <a:pt x="78877" y="27303"/>
                        <a:pt x="75843" y="18202"/>
                      </a:cubicBezTo>
                      <a:cubicBezTo>
                        <a:pt x="72809" y="12135"/>
                        <a:pt x="60674" y="3034"/>
                        <a:pt x="54607" y="0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7" name="任意多边形: 形状 216">
                  <a:extLst>
                    <a:ext uri="{FF2B5EF4-FFF2-40B4-BE49-F238E27FC236}">
                      <a16:creationId xmlns:a16="http://schemas.microsoft.com/office/drawing/2014/main" id="{620A135B-9E00-4351-87F2-C08A30BE3DBA}"/>
                    </a:ext>
                  </a:extLst>
                </p:cNvPr>
                <p:cNvSpPr/>
                <p:nvPr/>
              </p:nvSpPr>
              <p:spPr>
                <a:xfrm>
                  <a:off x="5183972" y="8394315"/>
                  <a:ext cx="140740" cy="134739"/>
                </a:xfrm>
                <a:custGeom>
                  <a:avLst/>
                  <a:gdLst>
                    <a:gd name="connsiteX0" fmla="*/ 57640 w 140740"/>
                    <a:gd name="connsiteY0" fmla="*/ 134740 h 134739"/>
                    <a:gd name="connsiteX1" fmla="*/ 39438 w 140740"/>
                    <a:gd name="connsiteY1" fmla="*/ 128672 h 134739"/>
                    <a:gd name="connsiteX2" fmla="*/ 21236 w 140740"/>
                    <a:gd name="connsiteY2" fmla="*/ 89234 h 134739"/>
                    <a:gd name="connsiteX3" fmla="*/ 9101 w 140740"/>
                    <a:gd name="connsiteY3" fmla="*/ 83167 h 134739"/>
                    <a:gd name="connsiteX4" fmla="*/ 0 w 140740"/>
                    <a:gd name="connsiteY4" fmla="*/ 64964 h 134739"/>
                    <a:gd name="connsiteX5" fmla="*/ 51573 w 140740"/>
                    <a:gd name="connsiteY5" fmla="*/ 1257 h 134739"/>
                    <a:gd name="connsiteX6" fmla="*/ 60674 w 140740"/>
                    <a:gd name="connsiteY6" fmla="*/ 4290 h 134739"/>
                    <a:gd name="connsiteX7" fmla="*/ 57640 w 140740"/>
                    <a:gd name="connsiteY7" fmla="*/ 13391 h 134739"/>
                    <a:gd name="connsiteX8" fmla="*/ 12135 w 140740"/>
                    <a:gd name="connsiteY8" fmla="*/ 67998 h 134739"/>
                    <a:gd name="connsiteX9" fmla="*/ 18202 w 140740"/>
                    <a:gd name="connsiteY9" fmla="*/ 77099 h 134739"/>
                    <a:gd name="connsiteX10" fmla="*/ 103146 w 140740"/>
                    <a:gd name="connsiteY10" fmla="*/ 31594 h 134739"/>
                    <a:gd name="connsiteX11" fmla="*/ 112247 w 140740"/>
                    <a:gd name="connsiteY11" fmla="*/ 28560 h 134739"/>
                    <a:gd name="connsiteX12" fmla="*/ 112247 w 140740"/>
                    <a:gd name="connsiteY12" fmla="*/ 28560 h 134739"/>
                    <a:gd name="connsiteX13" fmla="*/ 133483 w 140740"/>
                    <a:gd name="connsiteY13" fmla="*/ 40695 h 134739"/>
                    <a:gd name="connsiteX14" fmla="*/ 139551 w 140740"/>
                    <a:gd name="connsiteY14" fmla="*/ 61931 h 134739"/>
                    <a:gd name="connsiteX15" fmla="*/ 100112 w 140740"/>
                    <a:gd name="connsiteY15" fmla="*/ 116537 h 134739"/>
                    <a:gd name="connsiteX16" fmla="*/ 57640 w 140740"/>
                    <a:gd name="connsiteY16" fmla="*/ 134740 h 134739"/>
                    <a:gd name="connsiteX17" fmla="*/ 33371 w 140740"/>
                    <a:gd name="connsiteY17" fmla="*/ 92268 h 134739"/>
                    <a:gd name="connsiteX18" fmla="*/ 45506 w 140740"/>
                    <a:gd name="connsiteY18" fmla="*/ 119571 h 134739"/>
                    <a:gd name="connsiteX19" fmla="*/ 91011 w 140740"/>
                    <a:gd name="connsiteY19" fmla="*/ 104403 h 134739"/>
                    <a:gd name="connsiteX20" fmla="*/ 127416 w 140740"/>
                    <a:gd name="connsiteY20" fmla="*/ 55863 h 134739"/>
                    <a:gd name="connsiteX21" fmla="*/ 124382 w 140740"/>
                    <a:gd name="connsiteY21" fmla="*/ 43728 h 134739"/>
                    <a:gd name="connsiteX22" fmla="*/ 112247 w 140740"/>
                    <a:gd name="connsiteY22" fmla="*/ 37661 h 134739"/>
                    <a:gd name="connsiteX23" fmla="*/ 33371 w 140740"/>
                    <a:gd name="connsiteY23" fmla="*/ 92268 h 134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40740" h="134739">
                      <a:moveTo>
                        <a:pt x="57640" y="134740"/>
                      </a:moveTo>
                      <a:cubicBezTo>
                        <a:pt x="51573" y="134740"/>
                        <a:pt x="45506" y="131706"/>
                        <a:pt x="39438" y="128672"/>
                      </a:cubicBezTo>
                      <a:cubicBezTo>
                        <a:pt x="24270" y="116537"/>
                        <a:pt x="21236" y="95301"/>
                        <a:pt x="21236" y="89234"/>
                      </a:cubicBezTo>
                      <a:cubicBezTo>
                        <a:pt x="18202" y="86200"/>
                        <a:pt x="12135" y="86200"/>
                        <a:pt x="9101" y="83167"/>
                      </a:cubicBezTo>
                      <a:cubicBezTo>
                        <a:pt x="3034" y="77099"/>
                        <a:pt x="0" y="71032"/>
                        <a:pt x="0" y="64964"/>
                      </a:cubicBezTo>
                      <a:cubicBezTo>
                        <a:pt x="0" y="37661"/>
                        <a:pt x="45506" y="4290"/>
                        <a:pt x="51573" y="1257"/>
                      </a:cubicBezTo>
                      <a:cubicBezTo>
                        <a:pt x="54607" y="-1777"/>
                        <a:pt x="57640" y="1257"/>
                        <a:pt x="60674" y="4290"/>
                      </a:cubicBezTo>
                      <a:cubicBezTo>
                        <a:pt x="63708" y="7324"/>
                        <a:pt x="60674" y="10357"/>
                        <a:pt x="57640" y="13391"/>
                      </a:cubicBezTo>
                      <a:cubicBezTo>
                        <a:pt x="45506" y="22493"/>
                        <a:pt x="12135" y="49796"/>
                        <a:pt x="12135" y="67998"/>
                      </a:cubicBezTo>
                      <a:cubicBezTo>
                        <a:pt x="12135" y="71032"/>
                        <a:pt x="15169" y="74065"/>
                        <a:pt x="18202" y="77099"/>
                      </a:cubicBezTo>
                      <a:cubicBezTo>
                        <a:pt x="27303" y="86200"/>
                        <a:pt x="45506" y="98335"/>
                        <a:pt x="103146" y="31594"/>
                      </a:cubicBezTo>
                      <a:cubicBezTo>
                        <a:pt x="103146" y="31594"/>
                        <a:pt x="106180" y="28560"/>
                        <a:pt x="112247" y="28560"/>
                      </a:cubicBezTo>
                      <a:lnTo>
                        <a:pt x="112247" y="28560"/>
                      </a:lnTo>
                      <a:cubicBezTo>
                        <a:pt x="118315" y="28560"/>
                        <a:pt x="124382" y="31594"/>
                        <a:pt x="133483" y="40695"/>
                      </a:cubicBezTo>
                      <a:cubicBezTo>
                        <a:pt x="139551" y="46762"/>
                        <a:pt x="142584" y="52830"/>
                        <a:pt x="139551" y="61931"/>
                      </a:cubicBezTo>
                      <a:cubicBezTo>
                        <a:pt x="139551" y="77099"/>
                        <a:pt x="124382" y="98335"/>
                        <a:pt x="100112" y="116537"/>
                      </a:cubicBezTo>
                      <a:cubicBezTo>
                        <a:pt x="81910" y="125638"/>
                        <a:pt x="69775" y="134740"/>
                        <a:pt x="57640" y="134740"/>
                      </a:cubicBezTo>
                      <a:close/>
                      <a:moveTo>
                        <a:pt x="33371" y="92268"/>
                      </a:moveTo>
                      <a:cubicBezTo>
                        <a:pt x="33371" y="98335"/>
                        <a:pt x="36405" y="110470"/>
                        <a:pt x="45506" y="119571"/>
                      </a:cubicBezTo>
                      <a:cubicBezTo>
                        <a:pt x="54607" y="128672"/>
                        <a:pt x="63708" y="122605"/>
                        <a:pt x="91011" y="104403"/>
                      </a:cubicBezTo>
                      <a:cubicBezTo>
                        <a:pt x="121348" y="80133"/>
                        <a:pt x="127416" y="64964"/>
                        <a:pt x="127416" y="55863"/>
                      </a:cubicBezTo>
                      <a:cubicBezTo>
                        <a:pt x="127416" y="49796"/>
                        <a:pt x="127416" y="46762"/>
                        <a:pt x="124382" y="43728"/>
                      </a:cubicBezTo>
                      <a:cubicBezTo>
                        <a:pt x="118315" y="34627"/>
                        <a:pt x="112247" y="34627"/>
                        <a:pt x="112247" y="37661"/>
                      </a:cubicBezTo>
                      <a:cubicBezTo>
                        <a:pt x="72809" y="80133"/>
                        <a:pt x="51573" y="92268"/>
                        <a:pt x="33371" y="92268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8" name="任意多边形: 形状 217">
                  <a:extLst>
                    <a:ext uri="{FF2B5EF4-FFF2-40B4-BE49-F238E27FC236}">
                      <a16:creationId xmlns:a16="http://schemas.microsoft.com/office/drawing/2014/main" id="{36C7FB0F-42A1-499D-8C62-0D0B22423F5F}"/>
                    </a:ext>
                  </a:extLst>
                </p:cNvPr>
                <p:cNvSpPr/>
                <p:nvPr/>
              </p:nvSpPr>
              <p:spPr>
                <a:xfrm>
                  <a:off x="5241612" y="8450179"/>
                  <a:ext cx="113005" cy="100112"/>
                </a:xfrm>
                <a:custGeom>
                  <a:avLst/>
                  <a:gdLst>
                    <a:gd name="connsiteX0" fmla="*/ 33371 w 113005"/>
                    <a:gd name="connsiteY0" fmla="*/ 100112 h 100112"/>
                    <a:gd name="connsiteX1" fmla="*/ 24270 w 113005"/>
                    <a:gd name="connsiteY1" fmla="*/ 97079 h 100112"/>
                    <a:gd name="connsiteX2" fmla="*/ 0 w 113005"/>
                    <a:gd name="connsiteY2" fmla="*/ 72809 h 100112"/>
                    <a:gd name="connsiteX3" fmla="*/ 3034 w 113005"/>
                    <a:gd name="connsiteY3" fmla="*/ 63708 h 100112"/>
                    <a:gd name="connsiteX4" fmla="*/ 12135 w 113005"/>
                    <a:gd name="connsiteY4" fmla="*/ 66742 h 100112"/>
                    <a:gd name="connsiteX5" fmla="*/ 30337 w 113005"/>
                    <a:gd name="connsiteY5" fmla="*/ 84944 h 100112"/>
                    <a:gd name="connsiteX6" fmla="*/ 48539 w 113005"/>
                    <a:gd name="connsiteY6" fmla="*/ 81910 h 100112"/>
                    <a:gd name="connsiteX7" fmla="*/ 103146 w 113005"/>
                    <a:gd name="connsiteY7" fmla="*/ 30337 h 100112"/>
                    <a:gd name="connsiteX8" fmla="*/ 100112 w 113005"/>
                    <a:gd name="connsiteY8" fmla="*/ 24270 h 100112"/>
                    <a:gd name="connsiteX9" fmla="*/ 78876 w 113005"/>
                    <a:gd name="connsiteY9" fmla="*/ 12135 h 100112"/>
                    <a:gd name="connsiteX10" fmla="*/ 78876 w 113005"/>
                    <a:gd name="connsiteY10" fmla="*/ 12135 h 100112"/>
                    <a:gd name="connsiteX11" fmla="*/ 72809 w 113005"/>
                    <a:gd name="connsiteY11" fmla="*/ 6068 h 100112"/>
                    <a:gd name="connsiteX12" fmla="*/ 78876 w 113005"/>
                    <a:gd name="connsiteY12" fmla="*/ 0 h 100112"/>
                    <a:gd name="connsiteX13" fmla="*/ 78876 w 113005"/>
                    <a:gd name="connsiteY13" fmla="*/ 0 h 100112"/>
                    <a:gd name="connsiteX14" fmla="*/ 109213 w 113005"/>
                    <a:gd name="connsiteY14" fmla="*/ 18202 h 100112"/>
                    <a:gd name="connsiteX15" fmla="*/ 112247 w 113005"/>
                    <a:gd name="connsiteY15" fmla="*/ 33371 h 100112"/>
                    <a:gd name="connsiteX16" fmla="*/ 51573 w 113005"/>
                    <a:gd name="connsiteY16" fmla="*/ 91011 h 100112"/>
                    <a:gd name="connsiteX17" fmla="*/ 33371 w 113005"/>
                    <a:gd name="connsiteY17" fmla="*/ 100112 h 100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13005" h="100112">
                      <a:moveTo>
                        <a:pt x="33371" y="100112"/>
                      </a:moveTo>
                      <a:cubicBezTo>
                        <a:pt x="30337" y="100112"/>
                        <a:pt x="27303" y="100112"/>
                        <a:pt x="24270" y="97079"/>
                      </a:cubicBezTo>
                      <a:cubicBezTo>
                        <a:pt x="9101" y="91011"/>
                        <a:pt x="0" y="72809"/>
                        <a:pt x="0" y="72809"/>
                      </a:cubicBezTo>
                      <a:cubicBezTo>
                        <a:pt x="0" y="69775"/>
                        <a:pt x="0" y="66742"/>
                        <a:pt x="3034" y="63708"/>
                      </a:cubicBezTo>
                      <a:cubicBezTo>
                        <a:pt x="6068" y="63708"/>
                        <a:pt x="9101" y="63708"/>
                        <a:pt x="12135" y="66742"/>
                      </a:cubicBezTo>
                      <a:cubicBezTo>
                        <a:pt x="12135" y="66742"/>
                        <a:pt x="18202" y="78877"/>
                        <a:pt x="30337" y="84944"/>
                      </a:cubicBezTo>
                      <a:cubicBezTo>
                        <a:pt x="36405" y="87978"/>
                        <a:pt x="42472" y="84944"/>
                        <a:pt x="48539" y="81910"/>
                      </a:cubicBezTo>
                      <a:cubicBezTo>
                        <a:pt x="78876" y="66742"/>
                        <a:pt x="100112" y="39438"/>
                        <a:pt x="103146" y="30337"/>
                      </a:cubicBezTo>
                      <a:cubicBezTo>
                        <a:pt x="103146" y="30337"/>
                        <a:pt x="103146" y="27304"/>
                        <a:pt x="100112" y="24270"/>
                      </a:cubicBezTo>
                      <a:cubicBezTo>
                        <a:pt x="94045" y="18202"/>
                        <a:pt x="84944" y="12135"/>
                        <a:pt x="78876" y="12135"/>
                      </a:cubicBezTo>
                      <a:cubicBezTo>
                        <a:pt x="78876" y="12135"/>
                        <a:pt x="78876" y="12135"/>
                        <a:pt x="78876" y="12135"/>
                      </a:cubicBezTo>
                      <a:cubicBezTo>
                        <a:pt x="75843" y="12135"/>
                        <a:pt x="72809" y="9101"/>
                        <a:pt x="72809" y="6068"/>
                      </a:cubicBezTo>
                      <a:cubicBezTo>
                        <a:pt x="72809" y="3034"/>
                        <a:pt x="75843" y="0"/>
                        <a:pt x="78876" y="0"/>
                      </a:cubicBezTo>
                      <a:lnTo>
                        <a:pt x="78876" y="0"/>
                      </a:lnTo>
                      <a:cubicBezTo>
                        <a:pt x="87978" y="0"/>
                        <a:pt x="103146" y="9101"/>
                        <a:pt x="109213" y="18202"/>
                      </a:cubicBezTo>
                      <a:cubicBezTo>
                        <a:pt x="115281" y="24270"/>
                        <a:pt x="112247" y="30337"/>
                        <a:pt x="112247" y="33371"/>
                      </a:cubicBezTo>
                      <a:cubicBezTo>
                        <a:pt x="106180" y="45506"/>
                        <a:pt x="81910" y="75843"/>
                        <a:pt x="51573" y="91011"/>
                      </a:cubicBezTo>
                      <a:cubicBezTo>
                        <a:pt x="45506" y="100112"/>
                        <a:pt x="39438" y="100112"/>
                        <a:pt x="33371" y="100112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12" name="任意多边形: 形状 211">
                <a:extLst>
                  <a:ext uri="{FF2B5EF4-FFF2-40B4-BE49-F238E27FC236}">
                    <a16:creationId xmlns:a16="http://schemas.microsoft.com/office/drawing/2014/main" id="{2886B0DF-BE35-41AB-AA3C-7A2A58E76ABC}"/>
                  </a:ext>
                </a:extLst>
              </p:cNvPr>
              <p:cNvSpPr/>
              <p:nvPr/>
            </p:nvSpPr>
            <p:spPr>
              <a:xfrm>
                <a:off x="5284084" y="8477482"/>
                <a:ext cx="84943" cy="97078"/>
              </a:xfrm>
              <a:custGeom>
                <a:avLst/>
                <a:gdLst>
                  <a:gd name="connsiteX0" fmla="*/ 27303 w 84943"/>
                  <a:gd name="connsiteY0" fmla="*/ 97079 h 97078"/>
                  <a:gd name="connsiteX1" fmla="*/ 0 w 84943"/>
                  <a:gd name="connsiteY1" fmla="*/ 63708 h 97078"/>
                  <a:gd name="connsiteX2" fmla="*/ 6067 w 84943"/>
                  <a:gd name="connsiteY2" fmla="*/ 57640 h 97078"/>
                  <a:gd name="connsiteX3" fmla="*/ 12135 w 84943"/>
                  <a:gd name="connsiteY3" fmla="*/ 63708 h 97078"/>
                  <a:gd name="connsiteX4" fmla="*/ 27303 w 84943"/>
                  <a:gd name="connsiteY4" fmla="*/ 84944 h 97078"/>
                  <a:gd name="connsiteX5" fmla="*/ 27303 w 84943"/>
                  <a:gd name="connsiteY5" fmla="*/ 84944 h 97078"/>
                  <a:gd name="connsiteX6" fmla="*/ 63708 w 84943"/>
                  <a:gd name="connsiteY6" fmla="*/ 51573 h 97078"/>
                  <a:gd name="connsiteX7" fmla="*/ 72809 w 84943"/>
                  <a:gd name="connsiteY7" fmla="*/ 30337 h 97078"/>
                  <a:gd name="connsiteX8" fmla="*/ 57640 w 84943"/>
                  <a:gd name="connsiteY8" fmla="*/ 12135 h 97078"/>
                  <a:gd name="connsiteX9" fmla="*/ 54607 w 84943"/>
                  <a:gd name="connsiteY9" fmla="*/ 3033 h 97078"/>
                  <a:gd name="connsiteX10" fmla="*/ 63708 w 84943"/>
                  <a:gd name="connsiteY10" fmla="*/ 0 h 97078"/>
                  <a:gd name="connsiteX11" fmla="*/ 84944 w 84943"/>
                  <a:gd name="connsiteY11" fmla="*/ 27303 h 97078"/>
                  <a:gd name="connsiteX12" fmla="*/ 72809 w 84943"/>
                  <a:gd name="connsiteY12" fmla="*/ 57640 h 97078"/>
                  <a:gd name="connsiteX13" fmla="*/ 27303 w 84943"/>
                  <a:gd name="connsiteY13" fmla="*/ 97079 h 97078"/>
                  <a:gd name="connsiteX14" fmla="*/ 27303 w 84943"/>
                  <a:gd name="connsiteY14" fmla="*/ 97079 h 97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4943" h="97078">
                    <a:moveTo>
                      <a:pt x="27303" y="97079"/>
                    </a:moveTo>
                    <a:cubicBezTo>
                      <a:pt x="9101" y="97079"/>
                      <a:pt x="0" y="75843"/>
                      <a:pt x="0" y="63708"/>
                    </a:cubicBezTo>
                    <a:cubicBezTo>
                      <a:pt x="0" y="60674"/>
                      <a:pt x="3034" y="57640"/>
                      <a:pt x="6067" y="57640"/>
                    </a:cubicBezTo>
                    <a:cubicBezTo>
                      <a:pt x="9101" y="57640"/>
                      <a:pt x="12135" y="60674"/>
                      <a:pt x="12135" y="63708"/>
                    </a:cubicBezTo>
                    <a:cubicBezTo>
                      <a:pt x="12135" y="63708"/>
                      <a:pt x="15169" y="84944"/>
                      <a:pt x="27303" y="84944"/>
                    </a:cubicBezTo>
                    <a:cubicBezTo>
                      <a:pt x="27303" y="84944"/>
                      <a:pt x="27303" y="84944"/>
                      <a:pt x="27303" y="84944"/>
                    </a:cubicBezTo>
                    <a:cubicBezTo>
                      <a:pt x="33371" y="84944"/>
                      <a:pt x="51573" y="69775"/>
                      <a:pt x="63708" y="51573"/>
                    </a:cubicBezTo>
                    <a:cubicBezTo>
                      <a:pt x="72809" y="42472"/>
                      <a:pt x="72809" y="33371"/>
                      <a:pt x="72809" y="30337"/>
                    </a:cubicBezTo>
                    <a:cubicBezTo>
                      <a:pt x="69775" y="15169"/>
                      <a:pt x="57640" y="12135"/>
                      <a:pt x="57640" y="12135"/>
                    </a:cubicBezTo>
                    <a:cubicBezTo>
                      <a:pt x="54607" y="12135"/>
                      <a:pt x="51573" y="6067"/>
                      <a:pt x="54607" y="3033"/>
                    </a:cubicBezTo>
                    <a:cubicBezTo>
                      <a:pt x="54607" y="0"/>
                      <a:pt x="60674" y="0"/>
                      <a:pt x="63708" y="0"/>
                    </a:cubicBezTo>
                    <a:cubicBezTo>
                      <a:pt x="63708" y="0"/>
                      <a:pt x="81910" y="9101"/>
                      <a:pt x="84944" y="27303"/>
                    </a:cubicBezTo>
                    <a:cubicBezTo>
                      <a:pt x="84944" y="33371"/>
                      <a:pt x="81910" y="45506"/>
                      <a:pt x="72809" y="57640"/>
                    </a:cubicBezTo>
                    <a:cubicBezTo>
                      <a:pt x="63708" y="75843"/>
                      <a:pt x="42472" y="97079"/>
                      <a:pt x="27303" y="97079"/>
                    </a:cubicBezTo>
                    <a:cubicBezTo>
                      <a:pt x="30337" y="97079"/>
                      <a:pt x="27303" y="97079"/>
                      <a:pt x="27303" y="9707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10" name="任意多边形: 形状 209">
              <a:extLst>
                <a:ext uri="{FF2B5EF4-FFF2-40B4-BE49-F238E27FC236}">
                  <a16:creationId xmlns:a16="http://schemas.microsoft.com/office/drawing/2014/main" id="{EA68875B-0E19-4D55-8A00-217CD9B25146}"/>
                </a:ext>
              </a:extLst>
            </p:cNvPr>
            <p:cNvSpPr/>
            <p:nvPr/>
          </p:nvSpPr>
          <p:spPr>
            <a:xfrm>
              <a:off x="3879477" y="8290151"/>
              <a:ext cx="129691" cy="38679"/>
            </a:xfrm>
            <a:custGeom>
              <a:avLst/>
              <a:gdLst>
                <a:gd name="connsiteX0" fmla="*/ 57640 w 129691"/>
                <a:gd name="connsiteY0" fmla="*/ 38679 h 38679"/>
                <a:gd name="connsiteX1" fmla="*/ 3034 w 129691"/>
                <a:gd name="connsiteY1" fmla="*/ 26545 h 38679"/>
                <a:gd name="connsiteX2" fmla="*/ 0 w 129691"/>
                <a:gd name="connsiteY2" fmla="*/ 17444 h 38679"/>
                <a:gd name="connsiteX3" fmla="*/ 9101 w 129691"/>
                <a:gd name="connsiteY3" fmla="*/ 14410 h 38679"/>
                <a:gd name="connsiteX4" fmla="*/ 118315 w 129691"/>
                <a:gd name="connsiteY4" fmla="*/ 2275 h 38679"/>
                <a:gd name="connsiteX5" fmla="*/ 127416 w 129691"/>
                <a:gd name="connsiteY5" fmla="*/ 2275 h 38679"/>
                <a:gd name="connsiteX6" fmla="*/ 127416 w 129691"/>
                <a:gd name="connsiteY6" fmla="*/ 11376 h 38679"/>
                <a:gd name="connsiteX7" fmla="*/ 57640 w 129691"/>
                <a:gd name="connsiteY7" fmla="*/ 38679 h 38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691" h="38679">
                  <a:moveTo>
                    <a:pt x="57640" y="38679"/>
                  </a:moveTo>
                  <a:cubicBezTo>
                    <a:pt x="27303" y="38679"/>
                    <a:pt x="3034" y="26545"/>
                    <a:pt x="3034" y="26545"/>
                  </a:cubicBezTo>
                  <a:cubicBezTo>
                    <a:pt x="0" y="26545"/>
                    <a:pt x="0" y="20478"/>
                    <a:pt x="0" y="17444"/>
                  </a:cubicBezTo>
                  <a:cubicBezTo>
                    <a:pt x="0" y="14410"/>
                    <a:pt x="6067" y="14410"/>
                    <a:pt x="9101" y="14410"/>
                  </a:cubicBezTo>
                  <a:cubicBezTo>
                    <a:pt x="12135" y="14410"/>
                    <a:pt x="72809" y="44747"/>
                    <a:pt x="118315" y="2275"/>
                  </a:cubicBezTo>
                  <a:cubicBezTo>
                    <a:pt x="121348" y="-758"/>
                    <a:pt x="124382" y="-758"/>
                    <a:pt x="127416" y="2275"/>
                  </a:cubicBezTo>
                  <a:cubicBezTo>
                    <a:pt x="130449" y="5309"/>
                    <a:pt x="130449" y="8342"/>
                    <a:pt x="127416" y="11376"/>
                  </a:cubicBezTo>
                  <a:cubicBezTo>
                    <a:pt x="103146" y="32612"/>
                    <a:pt x="78876" y="38679"/>
                    <a:pt x="57640" y="38679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83387038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DAC3B7DF-69A1-4827-8D4F-0E839D21C9DD}"/>
              </a:ext>
            </a:extLst>
          </p:cNvPr>
          <p:cNvGrpSpPr/>
          <p:nvPr/>
        </p:nvGrpSpPr>
        <p:grpSpPr>
          <a:xfrm>
            <a:off x="3222005" y="1996111"/>
            <a:ext cx="2873995" cy="4850078"/>
            <a:chOff x="11396323" y="7654983"/>
            <a:chExt cx="2873995" cy="4850078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A924C59C-492E-456A-ABE4-8ACBB9E007DA}"/>
                </a:ext>
              </a:extLst>
            </p:cNvPr>
            <p:cNvSpPr/>
            <p:nvPr/>
          </p:nvSpPr>
          <p:spPr>
            <a:xfrm>
              <a:off x="12852495" y="8562426"/>
              <a:ext cx="1014187" cy="716515"/>
            </a:xfrm>
            <a:custGeom>
              <a:avLst/>
              <a:gdLst>
                <a:gd name="connsiteX0" fmla="*/ 15859 w 1014187"/>
                <a:gd name="connsiteY0" fmla="*/ 127416 h 716515"/>
                <a:gd name="connsiteX1" fmla="*/ 437544 w 1014187"/>
                <a:gd name="connsiteY1" fmla="*/ 218427 h 716515"/>
                <a:gd name="connsiteX2" fmla="*/ 789454 w 1014187"/>
                <a:gd name="connsiteY2" fmla="*/ 455056 h 716515"/>
                <a:gd name="connsiteX3" fmla="*/ 907769 w 1014187"/>
                <a:gd name="connsiteY3" fmla="*/ 0 h 716515"/>
                <a:gd name="connsiteX4" fmla="*/ 1013948 w 1014187"/>
                <a:gd name="connsiteY4" fmla="*/ 84943 h 716515"/>
                <a:gd name="connsiteX5" fmla="*/ 929005 w 1014187"/>
                <a:gd name="connsiteY5" fmla="*/ 700786 h 716515"/>
                <a:gd name="connsiteX6" fmla="*/ 15859 w 1014187"/>
                <a:gd name="connsiteY6" fmla="*/ 127416 h 71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4187" h="716515">
                  <a:moveTo>
                    <a:pt x="15859" y="127416"/>
                  </a:moveTo>
                  <a:cubicBezTo>
                    <a:pt x="79567" y="30337"/>
                    <a:pt x="337432" y="166854"/>
                    <a:pt x="437544" y="218427"/>
                  </a:cubicBezTo>
                  <a:cubicBezTo>
                    <a:pt x="525521" y="263933"/>
                    <a:pt x="789454" y="455056"/>
                    <a:pt x="789454" y="455056"/>
                  </a:cubicBezTo>
                  <a:lnTo>
                    <a:pt x="907769" y="0"/>
                  </a:lnTo>
                  <a:lnTo>
                    <a:pt x="1013948" y="84943"/>
                  </a:lnTo>
                  <a:cubicBezTo>
                    <a:pt x="1013948" y="84943"/>
                    <a:pt x="1023050" y="640112"/>
                    <a:pt x="929005" y="700786"/>
                  </a:cubicBezTo>
                  <a:cubicBezTo>
                    <a:pt x="771252" y="806966"/>
                    <a:pt x="-129759" y="348876"/>
                    <a:pt x="15859" y="127416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48D43C04-5AA9-4767-954A-D303F04A9429}"/>
                </a:ext>
              </a:extLst>
            </p:cNvPr>
            <p:cNvSpPr/>
            <p:nvPr/>
          </p:nvSpPr>
          <p:spPr>
            <a:xfrm>
              <a:off x="12730892" y="8540023"/>
              <a:ext cx="574315" cy="541167"/>
            </a:xfrm>
            <a:custGeom>
              <a:avLst/>
              <a:gdLst>
                <a:gd name="connsiteX0" fmla="*/ 334653 w 574315"/>
                <a:gd name="connsiteY0" fmla="*/ 541167 h 541167"/>
                <a:gd name="connsiteX1" fmla="*/ 7012 w 574315"/>
                <a:gd name="connsiteY1" fmla="*/ 43639 h 541167"/>
                <a:gd name="connsiteX2" fmla="*/ 574315 w 574315"/>
                <a:gd name="connsiteY2" fmla="*/ 195325 h 541167"/>
                <a:gd name="connsiteX3" fmla="*/ 334653 w 574315"/>
                <a:gd name="connsiteY3" fmla="*/ 541167 h 54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4315" h="541167">
                  <a:moveTo>
                    <a:pt x="334653" y="541167"/>
                  </a:moveTo>
                  <a:cubicBezTo>
                    <a:pt x="334653" y="541167"/>
                    <a:pt x="-56696" y="174089"/>
                    <a:pt x="7012" y="43639"/>
                  </a:cubicBezTo>
                  <a:cubicBezTo>
                    <a:pt x="79821" y="-111080"/>
                    <a:pt x="574315" y="195325"/>
                    <a:pt x="574315" y="195325"/>
                  </a:cubicBezTo>
                  <a:cubicBezTo>
                    <a:pt x="574315" y="195325"/>
                    <a:pt x="504540" y="410718"/>
                    <a:pt x="334653" y="541167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958BD617-CA29-473D-95C3-D6A9FBAE883C}"/>
                </a:ext>
              </a:extLst>
            </p:cNvPr>
            <p:cNvSpPr/>
            <p:nvPr/>
          </p:nvSpPr>
          <p:spPr>
            <a:xfrm>
              <a:off x="13739190" y="8431218"/>
              <a:ext cx="229230" cy="224628"/>
            </a:xfrm>
            <a:custGeom>
              <a:avLst/>
              <a:gdLst>
                <a:gd name="connsiteX0" fmla="*/ 145456 w 229230"/>
                <a:gd name="connsiteY0" fmla="*/ 6826 h 224628"/>
                <a:gd name="connsiteX1" fmla="*/ 60512 w 229230"/>
                <a:gd name="connsiteY1" fmla="*/ 91770 h 224628"/>
                <a:gd name="connsiteX2" fmla="*/ 66579 w 229230"/>
                <a:gd name="connsiteY2" fmla="*/ 18960 h 224628"/>
                <a:gd name="connsiteX3" fmla="*/ 39276 w 229230"/>
                <a:gd name="connsiteY3" fmla="*/ 759 h 224628"/>
                <a:gd name="connsiteX4" fmla="*/ 30175 w 229230"/>
                <a:gd name="connsiteY4" fmla="*/ 194916 h 224628"/>
                <a:gd name="connsiteX5" fmla="*/ 30175 w 229230"/>
                <a:gd name="connsiteY5" fmla="*/ 194916 h 224628"/>
                <a:gd name="connsiteX6" fmla="*/ 30175 w 229230"/>
                <a:gd name="connsiteY6" fmla="*/ 200983 h 224628"/>
                <a:gd name="connsiteX7" fmla="*/ 139388 w 229230"/>
                <a:gd name="connsiteY7" fmla="*/ 219185 h 224628"/>
                <a:gd name="connsiteX8" fmla="*/ 227366 w 229230"/>
                <a:gd name="connsiteY8" fmla="*/ 103904 h 224628"/>
                <a:gd name="connsiteX9" fmla="*/ 145456 w 229230"/>
                <a:gd name="connsiteY9" fmla="*/ 6826 h 224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9230" h="224628">
                  <a:moveTo>
                    <a:pt x="145456" y="6826"/>
                  </a:moveTo>
                  <a:cubicBezTo>
                    <a:pt x="154556" y="-11377"/>
                    <a:pt x="96916" y="34129"/>
                    <a:pt x="60512" y="91770"/>
                  </a:cubicBezTo>
                  <a:cubicBezTo>
                    <a:pt x="54444" y="70534"/>
                    <a:pt x="60512" y="46264"/>
                    <a:pt x="66579" y="18960"/>
                  </a:cubicBezTo>
                  <a:cubicBezTo>
                    <a:pt x="69613" y="3792"/>
                    <a:pt x="42310" y="-2275"/>
                    <a:pt x="39276" y="759"/>
                  </a:cubicBezTo>
                  <a:cubicBezTo>
                    <a:pt x="-3196" y="52331"/>
                    <a:pt x="-18364" y="140309"/>
                    <a:pt x="30175" y="194916"/>
                  </a:cubicBezTo>
                  <a:cubicBezTo>
                    <a:pt x="30175" y="194916"/>
                    <a:pt x="30175" y="194916"/>
                    <a:pt x="30175" y="194916"/>
                  </a:cubicBezTo>
                  <a:cubicBezTo>
                    <a:pt x="30175" y="194916"/>
                    <a:pt x="27141" y="197950"/>
                    <a:pt x="30175" y="200983"/>
                  </a:cubicBezTo>
                  <a:cubicBezTo>
                    <a:pt x="48377" y="228287"/>
                    <a:pt x="109051" y="228287"/>
                    <a:pt x="139388" y="219185"/>
                  </a:cubicBezTo>
                  <a:cubicBezTo>
                    <a:pt x="187927" y="200983"/>
                    <a:pt x="200062" y="143343"/>
                    <a:pt x="227366" y="103904"/>
                  </a:cubicBezTo>
                  <a:cubicBezTo>
                    <a:pt x="242535" y="79635"/>
                    <a:pt x="160624" y="-17444"/>
                    <a:pt x="145456" y="6826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71846449-7E3D-4759-88EE-3F476B920036}"/>
                </a:ext>
              </a:extLst>
            </p:cNvPr>
            <p:cNvGrpSpPr/>
            <p:nvPr/>
          </p:nvGrpSpPr>
          <p:grpSpPr>
            <a:xfrm>
              <a:off x="11661758" y="11966246"/>
              <a:ext cx="443021" cy="538816"/>
              <a:chOff x="11661758" y="11966246"/>
              <a:chExt cx="443021" cy="538816"/>
            </a:xfrm>
          </p:grpSpPr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D4A3D7DC-F4EC-4D17-96D1-A62D2920FED5}"/>
                  </a:ext>
                </a:extLst>
              </p:cNvPr>
              <p:cNvSpPr/>
              <p:nvPr/>
            </p:nvSpPr>
            <p:spPr>
              <a:xfrm>
                <a:off x="11742848" y="11966246"/>
                <a:ext cx="257865" cy="254832"/>
              </a:xfrm>
              <a:custGeom>
                <a:avLst/>
                <a:gdLst>
                  <a:gd name="connsiteX0" fmla="*/ 12135 w 257865"/>
                  <a:gd name="connsiteY0" fmla="*/ 160787 h 254832"/>
                  <a:gd name="connsiteX1" fmla="*/ 100113 w 257865"/>
                  <a:gd name="connsiteY1" fmla="*/ 0 h 254832"/>
                  <a:gd name="connsiteX2" fmla="*/ 257865 w 257865"/>
                  <a:gd name="connsiteY2" fmla="*/ 94045 h 254832"/>
                  <a:gd name="connsiteX3" fmla="*/ 145619 w 257865"/>
                  <a:gd name="connsiteY3" fmla="*/ 254832 h 254832"/>
                  <a:gd name="connsiteX4" fmla="*/ 0 w 257865"/>
                  <a:gd name="connsiteY4" fmla="*/ 200225 h 254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7865" h="254832">
                    <a:moveTo>
                      <a:pt x="12135" y="160787"/>
                    </a:moveTo>
                    <a:lnTo>
                      <a:pt x="100113" y="0"/>
                    </a:lnTo>
                    <a:lnTo>
                      <a:pt x="257865" y="94045"/>
                    </a:lnTo>
                    <a:lnTo>
                      <a:pt x="145619" y="254832"/>
                    </a:lnTo>
                    <a:lnTo>
                      <a:pt x="0" y="200225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E4C0E6D0-2AD7-4F58-B5D0-60D3EFA5995B}"/>
                  </a:ext>
                </a:extLst>
              </p:cNvPr>
              <p:cNvSpPr/>
              <p:nvPr/>
            </p:nvSpPr>
            <p:spPr>
              <a:xfrm>
                <a:off x="11685208" y="12120965"/>
                <a:ext cx="419571" cy="345842"/>
              </a:xfrm>
              <a:custGeom>
                <a:avLst/>
                <a:gdLst>
                  <a:gd name="connsiteX0" fmla="*/ 57640 w 419571"/>
                  <a:gd name="connsiteY0" fmla="*/ 0 h 345842"/>
                  <a:gd name="connsiteX1" fmla="*/ 239663 w 419571"/>
                  <a:gd name="connsiteY1" fmla="*/ 54607 h 345842"/>
                  <a:gd name="connsiteX2" fmla="*/ 312472 w 419571"/>
                  <a:gd name="connsiteY2" fmla="*/ 191124 h 345842"/>
                  <a:gd name="connsiteX3" fmla="*/ 415618 w 419571"/>
                  <a:gd name="connsiteY3" fmla="*/ 345843 h 345842"/>
                  <a:gd name="connsiteX4" fmla="*/ 0 w 419571"/>
                  <a:gd name="connsiteY4" fmla="*/ 97079 h 345842"/>
                  <a:gd name="connsiteX5" fmla="*/ 57640 w 419571"/>
                  <a:gd name="connsiteY5" fmla="*/ 0 h 345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9571" h="345842">
                    <a:moveTo>
                      <a:pt x="57640" y="0"/>
                    </a:moveTo>
                    <a:cubicBezTo>
                      <a:pt x="57640" y="0"/>
                      <a:pt x="154719" y="78877"/>
                      <a:pt x="239663" y="54607"/>
                    </a:cubicBezTo>
                    <a:cubicBezTo>
                      <a:pt x="239663" y="54607"/>
                      <a:pt x="279102" y="160787"/>
                      <a:pt x="312472" y="191124"/>
                    </a:cubicBezTo>
                    <a:cubicBezTo>
                      <a:pt x="345843" y="221461"/>
                      <a:pt x="439888" y="276068"/>
                      <a:pt x="415618" y="345843"/>
                    </a:cubicBezTo>
                    <a:lnTo>
                      <a:pt x="0" y="97079"/>
                    </a:lnTo>
                    <a:cubicBezTo>
                      <a:pt x="0" y="94045"/>
                      <a:pt x="15169" y="33371"/>
                      <a:pt x="57640" y="0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67A1A13E-B56B-4D03-AC64-E7C83A7BBF83}"/>
                  </a:ext>
                </a:extLst>
              </p:cNvPr>
              <p:cNvSpPr/>
              <p:nvPr/>
            </p:nvSpPr>
            <p:spPr>
              <a:xfrm rot="-3540642">
                <a:off x="11858783" y="12117884"/>
                <a:ext cx="45507" cy="485413"/>
              </a:xfrm>
              <a:custGeom>
                <a:avLst/>
                <a:gdLst>
                  <a:gd name="connsiteX0" fmla="*/ 0 w 45507"/>
                  <a:gd name="connsiteY0" fmla="*/ 0 h 485413"/>
                  <a:gd name="connsiteX1" fmla="*/ 45508 w 45507"/>
                  <a:gd name="connsiteY1" fmla="*/ 0 h 485413"/>
                  <a:gd name="connsiteX2" fmla="*/ 45508 w 45507"/>
                  <a:gd name="connsiteY2" fmla="*/ 485414 h 485413"/>
                  <a:gd name="connsiteX3" fmla="*/ 0 w 45507"/>
                  <a:gd name="connsiteY3" fmla="*/ 485414 h 48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07" h="485413">
                    <a:moveTo>
                      <a:pt x="0" y="0"/>
                    </a:moveTo>
                    <a:lnTo>
                      <a:pt x="45508" y="0"/>
                    </a:lnTo>
                    <a:lnTo>
                      <a:pt x="45508" y="485414"/>
                    </a:lnTo>
                    <a:lnTo>
                      <a:pt x="0" y="485414"/>
                    </a:lnTo>
                    <a:close/>
                  </a:path>
                </a:pathLst>
              </a:custGeom>
              <a:solidFill>
                <a:srgbClr val="38333D"/>
              </a:solidFill>
              <a:ln w="303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CF2D8363-B0E3-431B-8764-0000A43675E1}"/>
                  </a:ext>
                </a:extLst>
              </p:cNvPr>
              <p:cNvSpPr/>
              <p:nvPr/>
            </p:nvSpPr>
            <p:spPr>
              <a:xfrm>
                <a:off x="11737539" y="12112623"/>
                <a:ext cx="196432" cy="72050"/>
              </a:xfrm>
              <a:custGeom>
                <a:avLst/>
                <a:gdLst>
                  <a:gd name="connsiteX0" fmla="*/ 156994 w 196432"/>
                  <a:gd name="connsiteY0" fmla="*/ 72050 h 72050"/>
                  <a:gd name="connsiteX1" fmla="*/ 2275 w 196432"/>
                  <a:gd name="connsiteY1" fmla="*/ 11376 h 72050"/>
                  <a:gd name="connsiteX2" fmla="*/ 2275 w 196432"/>
                  <a:gd name="connsiteY2" fmla="*/ 2275 h 72050"/>
                  <a:gd name="connsiteX3" fmla="*/ 11376 w 196432"/>
                  <a:gd name="connsiteY3" fmla="*/ 2275 h 72050"/>
                  <a:gd name="connsiteX4" fmla="*/ 190365 w 196432"/>
                  <a:gd name="connsiteY4" fmla="*/ 56882 h 72050"/>
                  <a:gd name="connsiteX5" fmla="*/ 196433 w 196432"/>
                  <a:gd name="connsiteY5" fmla="*/ 59916 h 72050"/>
                  <a:gd name="connsiteX6" fmla="*/ 193399 w 196432"/>
                  <a:gd name="connsiteY6" fmla="*/ 65983 h 72050"/>
                  <a:gd name="connsiteX7" fmla="*/ 156994 w 196432"/>
                  <a:gd name="connsiteY7" fmla="*/ 72050 h 72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6432" h="72050">
                    <a:moveTo>
                      <a:pt x="156994" y="72050"/>
                    </a:moveTo>
                    <a:cubicBezTo>
                      <a:pt x="75084" y="72050"/>
                      <a:pt x="5309" y="14410"/>
                      <a:pt x="2275" y="11376"/>
                    </a:cubicBezTo>
                    <a:cubicBezTo>
                      <a:pt x="-758" y="8342"/>
                      <a:pt x="-758" y="5308"/>
                      <a:pt x="2275" y="2275"/>
                    </a:cubicBezTo>
                    <a:cubicBezTo>
                      <a:pt x="5309" y="-758"/>
                      <a:pt x="8343" y="-758"/>
                      <a:pt x="11376" y="2275"/>
                    </a:cubicBezTo>
                    <a:cubicBezTo>
                      <a:pt x="11376" y="2275"/>
                      <a:pt x="99354" y="75084"/>
                      <a:pt x="190365" y="56882"/>
                    </a:cubicBezTo>
                    <a:cubicBezTo>
                      <a:pt x="193399" y="56882"/>
                      <a:pt x="196433" y="56882"/>
                      <a:pt x="196433" y="59916"/>
                    </a:cubicBezTo>
                    <a:cubicBezTo>
                      <a:pt x="196433" y="62950"/>
                      <a:pt x="196433" y="65983"/>
                      <a:pt x="193399" y="65983"/>
                    </a:cubicBezTo>
                    <a:cubicBezTo>
                      <a:pt x="178230" y="72050"/>
                      <a:pt x="166096" y="72050"/>
                      <a:pt x="156994" y="7205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C73A5339-8EEF-4B99-82CE-EE530A8BA879}"/>
                </a:ext>
              </a:extLst>
            </p:cNvPr>
            <p:cNvGrpSpPr/>
            <p:nvPr/>
          </p:nvGrpSpPr>
          <p:grpSpPr>
            <a:xfrm>
              <a:off x="12678241" y="12151302"/>
              <a:ext cx="493483" cy="339775"/>
              <a:chOff x="12678241" y="12151302"/>
              <a:chExt cx="493483" cy="339775"/>
            </a:xfrm>
          </p:grpSpPr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AD24C0F5-BC6E-47C8-AFB4-A223F64D79CD}"/>
                  </a:ext>
                </a:extLst>
              </p:cNvPr>
              <p:cNvSpPr/>
              <p:nvPr/>
            </p:nvSpPr>
            <p:spPr>
              <a:xfrm>
                <a:off x="12695432" y="12151302"/>
                <a:ext cx="182022" cy="221461"/>
              </a:xfrm>
              <a:custGeom>
                <a:avLst/>
                <a:gdLst>
                  <a:gd name="connsiteX0" fmla="*/ 6068 w 182022"/>
                  <a:gd name="connsiteY0" fmla="*/ 182022 h 221461"/>
                  <a:gd name="connsiteX1" fmla="*/ 0 w 182022"/>
                  <a:gd name="connsiteY1" fmla="*/ 0 h 221461"/>
                  <a:gd name="connsiteX2" fmla="*/ 182022 w 182022"/>
                  <a:gd name="connsiteY2" fmla="*/ 0 h 221461"/>
                  <a:gd name="connsiteX3" fmla="*/ 166854 w 182022"/>
                  <a:gd name="connsiteY3" fmla="*/ 194157 h 221461"/>
                  <a:gd name="connsiteX4" fmla="*/ 18202 w 182022"/>
                  <a:gd name="connsiteY4" fmla="*/ 221461 h 221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022" h="221461">
                    <a:moveTo>
                      <a:pt x="6068" y="182022"/>
                    </a:moveTo>
                    <a:lnTo>
                      <a:pt x="0" y="0"/>
                    </a:lnTo>
                    <a:lnTo>
                      <a:pt x="182022" y="0"/>
                    </a:lnTo>
                    <a:lnTo>
                      <a:pt x="166854" y="194157"/>
                    </a:lnTo>
                    <a:lnTo>
                      <a:pt x="18202" y="221461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8B6E0C88-3887-406D-9850-778810A67AC1}"/>
                  </a:ext>
                </a:extLst>
              </p:cNvPr>
              <p:cNvSpPr/>
              <p:nvPr/>
            </p:nvSpPr>
            <p:spPr>
              <a:xfrm>
                <a:off x="12678241" y="12287819"/>
                <a:ext cx="493483" cy="157753"/>
              </a:xfrm>
              <a:custGeom>
                <a:avLst/>
                <a:gdLst>
                  <a:gd name="connsiteX0" fmla="*/ 8090 w 493483"/>
                  <a:gd name="connsiteY0" fmla="*/ 45506 h 157753"/>
                  <a:gd name="connsiteX1" fmla="*/ 193146 w 493483"/>
                  <a:gd name="connsiteY1" fmla="*/ 0 h 157753"/>
                  <a:gd name="connsiteX2" fmla="*/ 326629 w 493483"/>
                  <a:gd name="connsiteY2" fmla="*/ 78877 h 157753"/>
                  <a:gd name="connsiteX3" fmla="*/ 493483 w 493483"/>
                  <a:gd name="connsiteY3" fmla="*/ 157753 h 157753"/>
                  <a:gd name="connsiteX4" fmla="*/ 8090 w 493483"/>
                  <a:gd name="connsiteY4" fmla="*/ 157753 h 157753"/>
                  <a:gd name="connsiteX5" fmla="*/ 8090 w 493483"/>
                  <a:gd name="connsiteY5" fmla="*/ 45506 h 157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3483" h="157753">
                    <a:moveTo>
                      <a:pt x="8090" y="45506"/>
                    </a:moveTo>
                    <a:cubicBezTo>
                      <a:pt x="8090" y="45506"/>
                      <a:pt x="132472" y="63708"/>
                      <a:pt x="193146" y="0"/>
                    </a:cubicBezTo>
                    <a:cubicBezTo>
                      <a:pt x="193146" y="0"/>
                      <a:pt x="281124" y="69776"/>
                      <a:pt x="326629" y="78877"/>
                    </a:cubicBezTo>
                    <a:cubicBezTo>
                      <a:pt x="372135" y="87977"/>
                      <a:pt x="481349" y="84944"/>
                      <a:pt x="493483" y="157753"/>
                    </a:cubicBezTo>
                    <a:lnTo>
                      <a:pt x="8090" y="157753"/>
                    </a:lnTo>
                    <a:cubicBezTo>
                      <a:pt x="8090" y="157753"/>
                      <a:pt x="-10112" y="97079"/>
                      <a:pt x="8090" y="45506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978CDD89-D8A3-4308-B286-51F8AFF0A697}"/>
                  </a:ext>
                </a:extLst>
              </p:cNvPr>
              <p:cNvSpPr/>
              <p:nvPr/>
            </p:nvSpPr>
            <p:spPr>
              <a:xfrm>
                <a:off x="12686331" y="12445572"/>
                <a:ext cx="485393" cy="45505"/>
              </a:xfrm>
              <a:custGeom>
                <a:avLst/>
                <a:gdLst>
                  <a:gd name="connsiteX0" fmla="*/ 0 w 485393"/>
                  <a:gd name="connsiteY0" fmla="*/ 0 h 45505"/>
                  <a:gd name="connsiteX1" fmla="*/ 485393 w 485393"/>
                  <a:gd name="connsiteY1" fmla="*/ 0 h 45505"/>
                  <a:gd name="connsiteX2" fmla="*/ 485393 w 485393"/>
                  <a:gd name="connsiteY2" fmla="*/ 45506 h 45505"/>
                  <a:gd name="connsiteX3" fmla="*/ 0 w 485393"/>
                  <a:gd name="connsiteY3" fmla="*/ 45506 h 4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393" h="45505">
                    <a:moveTo>
                      <a:pt x="0" y="0"/>
                    </a:moveTo>
                    <a:lnTo>
                      <a:pt x="485393" y="0"/>
                    </a:lnTo>
                    <a:lnTo>
                      <a:pt x="485393" y="45506"/>
                    </a:lnTo>
                    <a:lnTo>
                      <a:pt x="0" y="45506"/>
                    </a:ln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EEB22168-CED2-4C18-B3ED-23430512E980}"/>
                  </a:ext>
                </a:extLst>
              </p:cNvPr>
              <p:cNvSpPr/>
              <p:nvPr/>
            </p:nvSpPr>
            <p:spPr>
              <a:xfrm>
                <a:off x="12680264" y="12279477"/>
                <a:ext cx="199466" cy="62949"/>
              </a:xfrm>
              <a:custGeom>
                <a:avLst/>
                <a:gdLst>
                  <a:gd name="connsiteX0" fmla="*/ 42473 w 199466"/>
                  <a:gd name="connsiteY0" fmla="*/ 62950 h 62949"/>
                  <a:gd name="connsiteX1" fmla="*/ 6068 w 199466"/>
                  <a:gd name="connsiteY1" fmla="*/ 59916 h 62949"/>
                  <a:gd name="connsiteX2" fmla="*/ 0 w 199466"/>
                  <a:gd name="connsiteY2" fmla="*/ 53848 h 62949"/>
                  <a:gd name="connsiteX3" fmla="*/ 6068 w 199466"/>
                  <a:gd name="connsiteY3" fmla="*/ 47781 h 62949"/>
                  <a:gd name="connsiteX4" fmla="*/ 188090 w 199466"/>
                  <a:gd name="connsiteY4" fmla="*/ 2275 h 62949"/>
                  <a:gd name="connsiteX5" fmla="*/ 197191 w 199466"/>
                  <a:gd name="connsiteY5" fmla="*/ 2275 h 62949"/>
                  <a:gd name="connsiteX6" fmla="*/ 197191 w 199466"/>
                  <a:gd name="connsiteY6" fmla="*/ 11376 h 62949"/>
                  <a:gd name="connsiteX7" fmla="*/ 42473 w 199466"/>
                  <a:gd name="connsiteY7" fmla="*/ 62950 h 62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9466" h="62949">
                    <a:moveTo>
                      <a:pt x="42473" y="62950"/>
                    </a:moveTo>
                    <a:cubicBezTo>
                      <a:pt x="21236" y="62950"/>
                      <a:pt x="9102" y="59916"/>
                      <a:pt x="6068" y="59916"/>
                    </a:cubicBezTo>
                    <a:cubicBezTo>
                      <a:pt x="3034" y="59916"/>
                      <a:pt x="0" y="56882"/>
                      <a:pt x="0" y="53848"/>
                    </a:cubicBezTo>
                    <a:cubicBezTo>
                      <a:pt x="0" y="50814"/>
                      <a:pt x="3034" y="47781"/>
                      <a:pt x="6068" y="47781"/>
                    </a:cubicBezTo>
                    <a:cubicBezTo>
                      <a:pt x="6068" y="47781"/>
                      <a:pt x="118315" y="62950"/>
                      <a:pt x="188090" y="2275"/>
                    </a:cubicBezTo>
                    <a:cubicBezTo>
                      <a:pt x="191124" y="-758"/>
                      <a:pt x="194158" y="-758"/>
                      <a:pt x="197191" y="2275"/>
                    </a:cubicBezTo>
                    <a:cubicBezTo>
                      <a:pt x="200225" y="5308"/>
                      <a:pt x="200225" y="8342"/>
                      <a:pt x="197191" y="11376"/>
                    </a:cubicBezTo>
                    <a:cubicBezTo>
                      <a:pt x="148652" y="56882"/>
                      <a:pt x="81910" y="62950"/>
                      <a:pt x="42473" y="6295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1453F7C0-819C-44A3-AB7A-7587420EFB3C}"/>
                </a:ext>
              </a:extLst>
            </p:cNvPr>
            <p:cNvSpPr/>
            <p:nvPr/>
          </p:nvSpPr>
          <p:spPr>
            <a:xfrm>
              <a:off x="11712511" y="9951864"/>
              <a:ext cx="1390328" cy="2281348"/>
            </a:xfrm>
            <a:custGeom>
              <a:avLst/>
              <a:gdLst>
                <a:gd name="connsiteX0" fmla="*/ 1301461 w 1390328"/>
                <a:gd name="connsiteY0" fmla="*/ 15169 h 2281348"/>
                <a:gd name="connsiteX1" fmla="*/ 1383371 w 1390328"/>
                <a:gd name="connsiteY1" fmla="*/ 1356068 h 2281348"/>
                <a:gd name="connsiteX2" fmla="*/ 1222585 w 1390328"/>
                <a:gd name="connsiteY2" fmla="*/ 2281349 h 2281348"/>
                <a:gd name="connsiteX3" fmla="*/ 928315 w 1390328"/>
                <a:gd name="connsiteY3" fmla="*/ 2281349 h 2281348"/>
                <a:gd name="connsiteX4" fmla="*/ 982921 w 1390328"/>
                <a:gd name="connsiteY4" fmla="*/ 1383371 h 2281348"/>
                <a:gd name="connsiteX5" fmla="*/ 806967 w 1390328"/>
                <a:gd name="connsiteY5" fmla="*/ 500562 h 2281348"/>
                <a:gd name="connsiteX6" fmla="*/ 767529 w 1390328"/>
                <a:gd name="connsiteY6" fmla="*/ 1404607 h 2281348"/>
                <a:gd name="connsiteX7" fmla="*/ 731124 w 1390328"/>
                <a:gd name="connsiteY7" fmla="*/ 1501685 h 2281348"/>
                <a:gd name="connsiteX8" fmla="*/ 330674 w 1390328"/>
                <a:gd name="connsiteY8" fmla="*/ 2223709 h 2281348"/>
                <a:gd name="connsiteX9" fmla="*/ 0 w 1390328"/>
                <a:gd name="connsiteY9" fmla="*/ 2065955 h 2281348"/>
                <a:gd name="connsiteX10" fmla="*/ 361011 w 1390328"/>
                <a:gd name="connsiteY10" fmla="*/ 1334832 h 2281348"/>
                <a:gd name="connsiteX11" fmla="*/ 270000 w 1390328"/>
                <a:gd name="connsiteY11" fmla="*/ 0 h 2281348"/>
                <a:gd name="connsiteX12" fmla="*/ 1301461 w 1390328"/>
                <a:gd name="connsiteY12" fmla="*/ 15169 h 2281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90328" h="2281348">
                  <a:moveTo>
                    <a:pt x="1301461" y="15169"/>
                  </a:moveTo>
                  <a:cubicBezTo>
                    <a:pt x="1301461" y="15169"/>
                    <a:pt x="1419776" y="1046629"/>
                    <a:pt x="1383371" y="1356068"/>
                  </a:cubicBezTo>
                  <a:cubicBezTo>
                    <a:pt x="1353034" y="1626068"/>
                    <a:pt x="1222585" y="2281349"/>
                    <a:pt x="1222585" y="2281349"/>
                  </a:cubicBezTo>
                  <a:lnTo>
                    <a:pt x="928315" y="2281349"/>
                  </a:lnTo>
                  <a:cubicBezTo>
                    <a:pt x="928315" y="2281349"/>
                    <a:pt x="988989" y="1480450"/>
                    <a:pt x="982921" y="1383371"/>
                  </a:cubicBezTo>
                  <a:cubicBezTo>
                    <a:pt x="976854" y="1243820"/>
                    <a:pt x="822135" y="527865"/>
                    <a:pt x="806967" y="500562"/>
                  </a:cubicBezTo>
                  <a:cubicBezTo>
                    <a:pt x="794832" y="476293"/>
                    <a:pt x="773596" y="1198315"/>
                    <a:pt x="767529" y="1404607"/>
                  </a:cubicBezTo>
                  <a:cubicBezTo>
                    <a:pt x="767529" y="1441011"/>
                    <a:pt x="755393" y="1474382"/>
                    <a:pt x="731124" y="1501685"/>
                  </a:cubicBezTo>
                  <a:lnTo>
                    <a:pt x="330674" y="2223709"/>
                  </a:lnTo>
                  <a:lnTo>
                    <a:pt x="0" y="2065955"/>
                  </a:lnTo>
                  <a:lnTo>
                    <a:pt x="361011" y="1334832"/>
                  </a:lnTo>
                  <a:cubicBezTo>
                    <a:pt x="361011" y="1334832"/>
                    <a:pt x="227528" y="97079"/>
                    <a:pt x="270000" y="0"/>
                  </a:cubicBezTo>
                  <a:cubicBezTo>
                    <a:pt x="967753" y="27303"/>
                    <a:pt x="1301461" y="15169"/>
                    <a:pt x="1301461" y="15169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B9E7C0C6-DF53-4CAF-9A3B-996B9CD27FE6}"/>
                </a:ext>
              </a:extLst>
            </p:cNvPr>
            <p:cNvSpPr/>
            <p:nvPr/>
          </p:nvSpPr>
          <p:spPr>
            <a:xfrm>
              <a:off x="12513410" y="10091415"/>
              <a:ext cx="69775" cy="364044"/>
            </a:xfrm>
            <a:custGeom>
              <a:avLst/>
              <a:gdLst>
                <a:gd name="connsiteX0" fmla="*/ 6068 w 69775"/>
                <a:gd name="connsiteY0" fmla="*/ 364045 h 364044"/>
                <a:gd name="connsiteX1" fmla="*/ 6068 w 69775"/>
                <a:gd name="connsiteY1" fmla="*/ 364045 h 364044"/>
                <a:gd name="connsiteX2" fmla="*/ 0 w 69775"/>
                <a:gd name="connsiteY2" fmla="*/ 354944 h 364044"/>
                <a:gd name="connsiteX3" fmla="*/ 57641 w 69775"/>
                <a:gd name="connsiteY3" fmla="*/ 6068 h 364044"/>
                <a:gd name="connsiteX4" fmla="*/ 63708 w 69775"/>
                <a:gd name="connsiteY4" fmla="*/ 0 h 364044"/>
                <a:gd name="connsiteX5" fmla="*/ 69776 w 69775"/>
                <a:gd name="connsiteY5" fmla="*/ 6068 h 364044"/>
                <a:gd name="connsiteX6" fmla="*/ 12136 w 69775"/>
                <a:gd name="connsiteY6" fmla="*/ 357977 h 364044"/>
                <a:gd name="connsiteX7" fmla="*/ 6068 w 69775"/>
                <a:gd name="connsiteY7" fmla="*/ 364045 h 36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775" h="364044">
                  <a:moveTo>
                    <a:pt x="6068" y="364045"/>
                  </a:moveTo>
                  <a:cubicBezTo>
                    <a:pt x="6068" y="364045"/>
                    <a:pt x="6068" y="364045"/>
                    <a:pt x="6068" y="364045"/>
                  </a:cubicBezTo>
                  <a:cubicBezTo>
                    <a:pt x="0" y="361011"/>
                    <a:pt x="0" y="357977"/>
                    <a:pt x="0" y="354944"/>
                  </a:cubicBezTo>
                  <a:cubicBezTo>
                    <a:pt x="48540" y="242697"/>
                    <a:pt x="57641" y="9101"/>
                    <a:pt x="57641" y="6068"/>
                  </a:cubicBezTo>
                  <a:cubicBezTo>
                    <a:pt x="57641" y="3034"/>
                    <a:pt x="60674" y="0"/>
                    <a:pt x="63708" y="0"/>
                  </a:cubicBezTo>
                  <a:cubicBezTo>
                    <a:pt x="66742" y="0"/>
                    <a:pt x="69776" y="3034"/>
                    <a:pt x="69776" y="6068"/>
                  </a:cubicBezTo>
                  <a:cubicBezTo>
                    <a:pt x="69776" y="15169"/>
                    <a:pt x="60674" y="242697"/>
                    <a:pt x="12136" y="357977"/>
                  </a:cubicBezTo>
                  <a:cubicBezTo>
                    <a:pt x="12136" y="361011"/>
                    <a:pt x="9102" y="364045"/>
                    <a:pt x="6068" y="364045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6EE64D3C-1F23-4A59-B0C1-4D7E316A4531}"/>
                </a:ext>
              </a:extLst>
            </p:cNvPr>
            <p:cNvSpPr/>
            <p:nvPr/>
          </p:nvSpPr>
          <p:spPr>
            <a:xfrm>
              <a:off x="12542491" y="10021640"/>
              <a:ext cx="155975" cy="354943"/>
            </a:xfrm>
            <a:custGeom>
              <a:avLst/>
              <a:gdLst>
                <a:gd name="connsiteX0" fmla="*/ 7324 w 155975"/>
                <a:gd name="connsiteY0" fmla="*/ 354943 h 354943"/>
                <a:gd name="connsiteX1" fmla="*/ 1256 w 155975"/>
                <a:gd name="connsiteY1" fmla="*/ 351909 h 354943"/>
                <a:gd name="connsiteX2" fmla="*/ 4290 w 155975"/>
                <a:gd name="connsiteY2" fmla="*/ 342809 h 354943"/>
                <a:gd name="connsiteX3" fmla="*/ 110470 w 155975"/>
                <a:gd name="connsiteY3" fmla="*/ 266966 h 354943"/>
                <a:gd name="connsiteX4" fmla="*/ 143841 w 155975"/>
                <a:gd name="connsiteY4" fmla="*/ 6067 h 354943"/>
                <a:gd name="connsiteX5" fmla="*/ 149909 w 155975"/>
                <a:gd name="connsiteY5" fmla="*/ 0 h 354943"/>
                <a:gd name="connsiteX6" fmla="*/ 155976 w 155975"/>
                <a:gd name="connsiteY6" fmla="*/ 6067 h 354943"/>
                <a:gd name="connsiteX7" fmla="*/ 122605 w 155975"/>
                <a:gd name="connsiteY7" fmla="*/ 273034 h 354943"/>
                <a:gd name="connsiteX8" fmla="*/ 13392 w 155975"/>
                <a:gd name="connsiteY8" fmla="*/ 351909 h 354943"/>
                <a:gd name="connsiteX9" fmla="*/ 7324 w 155975"/>
                <a:gd name="connsiteY9" fmla="*/ 354943 h 354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5975" h="354943">
                  <a:moveTo>
                    <a:pt x="7324" y="354943"/>
                  </a:moveTo>
                  <a:cubicBezTo>
                    <a:pt x="4290" y="354943"/>
                    <a:pt x="4290" y="354943"/>
                    <a:pt x="1256" y="351909"/>
                  </a:cubicBezTo>
                  <a:cubicBezTo>
                    <a:pt x="-1777" y="348876"/>
                    <a:pt x="1256" y="345843"/>
                    <a:pt x="4290" y="342809"/>
                  </a:cubicBezTo>
                  <a:cubicBezTo>
                    <a:pt x="43729" y="318539"/>
                    <a:pt x="101369" y="276067"/>
                    <a:pt x="110470" y="266966"/>
                  </a:cubicBezTo>
                  <a:cubicBezTo>
                    <a:pt x="119572" y="254831"/>
                    <a:pt x="134740" y="100112"/>
                    <a:pt x="143841" y="6067"/>
                  </a:cubicBezTo>
                  <a:cubicBezTo>
                    <a:pt x="143841" y="3033"/>
                    <a:pt x="146875" y="0"/>
                    <a:pt x="149909" y="0"/>
                  </a:cubicBezTo>
                  <a:cubicBezTo>
                    <a:pt x="152942" y="0"/>
                    <a:pt x="155976" y="3033"/>
                    <a:pt x="155976" y="6067"/>
                  </a:cubicBezTo>
                  <a:cubicBezTo>
                    <a:pt x="152942" y="48539"/>
                    <a:pt x="131706" y="257865"/>
                    <a:pt x="122605" y="273034"/>
                  </a:cubicBezTo>
                  <a:cubicBezTo>
                    <a:pt x="110470" y="288202"/>
                    <a:pt x="22493" y="345843"/>
                    <a:pt x="13392" y="351909"/>
                  </a:cubicBezTo>
                  <a:cubicBezTo>
                    <a:pt x="10358" y="354943"/>
                    <a:pt x="7324" y="354943"/>
                    <a:pt x="7324" y="354943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9F0E2950-96BA-4584-88CB-CE54F9B35183}"/>
                </a:ext>
              </a:extLst>
            </p:cNvPr>
            <p:cNvSpPr/>
            <p:nvPr/>
          </p:nvSpPr>
          <p:spPr>
            <a:xfrm>
              <a:off x="11976444" y="9957932"/>
              <a:ext cx="145617" cy="239662"/>
            </a:xfrm>
            <a:custGeom>
              <a:avLst/>
              <a:gdLst>
                <a:gd name="connsiteX0" fmla="*/ 6067 w 145617"/>
                <a:gd name="connsiteY0" fmla="*/ 239663 h 239662"/>
                <a:gd name="connsiteX1" fmla="*/ 0 w 145617"/>
                <a:gd name="connsiteY1" fmla="*/ 233595 h 239662"/>
                <a:gd name="connsiteX2" fmla="*/ 6067 w 145617"/>
                <a:gd name="connsiteY2" fmla="*/ 227528 h 239662"/>
                <a:gd name="connsiteX3" fmla="*/ 121348 w 145617"/>
                <a:gd name="connsiteY3" fmla="*/ 200225 h 239662"/>
                <a:gd name="connsiteX4" fmla="*/ 133483 w 145617"/>
                <a:gd name="connsiteY4" fmla="*/ 6067 h 239662"/>
                <a:gd name="connsiteX5" fmla="*/ 139551 w 145617"/>
                <a:gd name="connsiteY5" fmla="*/ 0 h 239662"/>
                <a:gd name="connsiteX6" fmla="*/ 139551 w 145617"/>
                <a:gd name="connsiteY6" fmla="*/ 0 h 239662"/>
                <a:gd name="connsiteX7" fmla="*/ 145618 w 145617"/>
                <a:gd name="connsiteY7" fmla="*/ 6067 h 239662"/>
                <a:gd name="connsiteX8" fmla="*/ 130449 w 145617"/>
                <a:gd name="connsiteY8" fmla="*/ 203258 h 239662"/>
                <a:gd name="connsiteX9" fmla="*/ 6067 w 145617"/>
                <a:gd name="connsiteY9" fmla="*/ 239663 h 239662"/>
                <a:gd name="connsiteX10" fmla="*/ 6067 w 145617"/>
                <a:gd name="connsiteY10" fmla="*/ 239663 h 239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5617" h="239662">
                  <a:moveTo>
                    <a:pt x="6067" y="239663"/>
                  </a:moveTo>
                  <a:cubicBezTo>
                    <a:pt x="3034" y="239663"/>
                    <a:pt x="0" y="236629"/>
                    <a:pt x="0" y="233595"/>
                  </a:cubicBezTo>
                  <a:cubicBezTo>
                    <a:pt x="0" y="230562"/>
                    <a:pt x="3034" y="227528"/>
                    <a:pt x="6067" y="227528"/>
                  </a:cubicBezTo>
                  <a:cubicBezTo>
                    <a:pt x="57640" y="221460"/>
                    <a:pt x="118314" y="209326"/>
                    <a:pt x="121348" y="200225"/>
                  </a:cubicBezTo>
                  <a:cubicBezTo>
                    <a:pt x="127415" y="188089"/>
                    <a:pt x="133483" y="75843"/>
                    <a:pt x="133483" y="6067"/>
                  </a:cubicBezTo>
                  <a:cubicBezTo>
                    <a:pt x="133483" y="3034"/>
                    <a:pt x="136517" y="0"/>
                    <a:pt x="139551" y="0"/>
                  </a:cubicBezTo>
                  <a:lnTo>
                    <a:pt x="139551" y="0"/>
                  </a:lnTo>
                  <a:cubicBezTo>
                    <a:pt x="142584" y="0"/>
                    <a:pt x="145618" y="3034"/>
                    <a:pt x="145618" y="6067"/>
                  </a:cubicBezTo>
                  <a:cubicBezTo>
                    <a:pt x="145618" y="24269"/>
                    <a:pt x="142584" y="185056"/>
                    <a:pt x="130449" y="203258"/>
                  </a:cubicBezTo>
                  <a:cubicBezTo>
                    <a:pt x="121348" y="224494"/>
                    <a:pt x="33371" y="236629"/>
                    <a:pt x="6067" y="239663"/>
                  </a:cubicBezTo>
                  <a:cubicBezTo>
                    <a:pt x="6067" y="239663"/>
                    <a:pt x="6067" y="239663"/>
                    <a:pt x="6067" y="239663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A95FE42B-7F08-405D-88D1-CC6F3650D376}"/>
                </a:ext>
              </a:extLst>
            </p:cNvPr>
            <p:cNvSpPr/>
            <p:nvPr/>
          </p:nvSpPr>
          <p:spPr>
            <a:xfrm>
              <a:off x="12922960" y="9973100"/>
              <a:ext cx="91011" cy="206291"/>
            </a:xfrm>
            <a:custGeom>
              <a:avLst/>
              <a:gdLst>
                <a:gd name="connsiteX0" fmla="*/ 78877 w 91011"/>
                <a:gd name="connsiteY0" fmla="*/ 203258 h 206291"/>
                <a:gd name="connsiteX1" fmla="*/ 21236 w 91011"/>
                <a:gd name="connsiteY1" fmla="*/ 178989 h 206291"/>
                <a:gd name="connsiteX2" fmla="*/ 0 w 91011"/>
                <a:gd name="connsiteY2" fmla="*/ 6067 h 206291"/>
                <a:gd name="connsiteX3" fmla="*/ 6068 w 91011"/>
                <a:gd name="connsiteY3" fmla="*/ 0 h 206291"/>
                <a:gd name="connsiteX4" fmla="*/ 6068 w 91011"/>
                <a:gd name="connsiteY4" fmla="*/ 0 h 206291"/>
                <a:gd name="connsiteX5" fmla="*/ 12136 w 91011"/>
                <a:gd name="connsiteY5" fmla="*/ 6067 h 206291"/>
                <a:gd name="connsiteX6" fmla="*/ 30337 w 91011"/>
                <a:gd name="connsiteY6" fmla="*/ 175955 h 206291"/>
                <a:gd name="connsiteX7" fmla="*/ 84944 w 91011"/>
                <a:gd name="connsiteY7" fmla="*/ 194157 h 206291"/>
                <a:gd name="connsiteX8" fmla="*/ 91011 w 91011"/>
                <a:gd name="connsiteY8" fmla="*/ 200225 h 206291"/>
                <a:gd name="connsiteX9" fmla="*/ 84944 w 91011"/>
                <a:gd name="connsiteY9" fmla="*/ 206292 h 206291"/>
                <a:gd name="connsiteX10" fmla="*/ 78877 w 91011"/>
                <a:gd name="connsiteY10" fmla="*/ 203258 h 206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011" h="206291">
                  <a:moveTo>
                    <a:pt x="78877" y="203258"/>
                  </a:moveTo>
                  <a:cubicBezTo>
                    <a:pt x="63708" y="203258"/>
                    <a:pt x="33371" y="200225"/>
                    <a:pt x="21236" y="178989"/>
                  </a:cubicBezTo>
                  <a:cubicBezTo>
                    <a:pt x="6068" y="151685"/>
                    <a:pt x="0" y="21235"/>
                    <a:pt x="0" y="6067"/>
                  </a:cubicBezTo>
                  <a:cubicBezTo>
                    <a:pt x="0" y="3034"/>
                    <a:pt x="3034" y="0"/>
                    <a:pt x="6068" y="0"/>
                  </a:cubicBezTo>
                  <a:cubicBezTo>
                    <a:pt x="6068" y="0"/>
                    <a:pt x="6068" y="0"/>
                    <a:pt x="6068" y="0"/>
                  </a:cubicBezTo>
                  <a:cubicBezTo>
                    <a:pt x="9102" y="0"/>
                    <a:pt x="12136" y="3034"/>
                    <a:pt x="12136" y="6067"/>
                  </a:cubicBezTo>
                  <a:cubicBezTo>
                    <a:pt x="15169" y="45506"/>
                    <a:pt x="21236" y="154719"/>
                    <a:pt x="30337" y="175955"/>
                  </a:cubicBezTo>
                  <a:cubicBezTo>
                    <a:pt x="42473" y="197191"/>
                    <a:pt x="81910" y="194157"/>
                    <a:pt x="84944" y="194157"/>
                  </a:cubicBezTo>
                  <a:cubicBezTo>
                    <a:pt x="87978" y="194157"/>
                    <a:pt x="91011" y="197191"/>
                    <a:pt x="91011" y="200225"/>
                  </a:cubicBezTo>
                  <a:cubicBezTo>
                    <a:pt x="91011" y="203258"/>
                    <a:pt x="87978" y="206292"/>
                    <a:pt x="84944" y="206292"/>
                  </a:cubicBezTo>
                  <a:cubicBezTo>
                    <a:pt x="84944" y="203258"/>
                    <a:pt x="81910" y="203258"/>
                    <a:pt x="78877" y="203258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B3598227-8BC9-4C3C-84B7-659A95DAE88C}"/>
                </a:ext>
              </a:extLst>
            </p:cNvPr>
            <p:cNvSpPr/>
            <p:nvPr/>
          </p:nvSpPr>
          <p:spPr>
            <a:xfrm>
              <a:off x="12069232" y="11279372"/>
              <a:ext cx="132962" cy="34626"/>
            </a:xfrm>
            <a:custGeom>
              <a:avLst/>
              <a:gdLst>
                <a:gd name="connsiteX0" fmla="*/ 128672 w 132962"/>
                <a:gd name="connsiteY0" fmla="*/ 34627 h 34626"/>
                <a:gd name="connsiteX1" fmla="*/ 128672 w 132962"/>
                <a:gd name="connsiteY1" fmla="*/ 34627 h 34626"/>
                <a:gd name="connsiteX2" fmla="*/ 4290 w 132962"/>
                <a:gd name="connsiteY2" fmla="*/ 10357 h 34626"/>
                <a:gd name="connsiteX3" fmla="*/ 1257 w 132962"/>
                <a:gd name="connsiteY3" fmla="*/ 4290 h 34626"/>
                <a:gd name="connsiteX4" fmla="*/ 7324 w 132962"/>
                <a:gd name="connsiteY4" fmla="*/ 1257 h 34626"/>
                <a:gd name="connsiteX5" fmla="*/ 128672 w 132962"/>
                <a:gd name="connsiteY5" fmla="*/ 25526 h 34626"/>
                <a:gd name="connsiteX6" fmla="*/ 131706 w 132962"/>
                <a:gd name="connsiteY6" fmla="*/ 31594 h 34626"/>
                <a:gd name="connsiteX7" fmla="*/ 128672 w 132962"/>
                <a:gd name="connsiteY7" fmla="*/ 34627 h 34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962" h="34626">
                  <a:moveTo>
                    <a:pt x="128672" y="34627"/>
                  </a:moveTo>
                  <a:cubicBezTo>
                    <a:pt x="128672" y="34627"/>
                    <a:pt x="128672" y="34627"/>
                    <a:pt x="128672" y="34627"/>
                  </a:cubicBezTo>
                  <a:lnTo>
                    <a:pt x="4290" y="10357"/>
                  </a:lnTo>
                  <a:cubicBezTo>
                    <a:pt x="1257" y="10357"/>
                    <a:pt x="-1777" y="7324"/>
                    <a:pt x="1257" y="4290"/>
                  </a:cubicBezTo>
                  <a:cubicBezTo>
                    <a:pt x="1257" y="1257"/>
                    <a:pt x="4290" y="-1777"/>
                    <a:pt x="7324" y="1257"/>
                  </a:cubicBezTo>
                  <a:lnTo>
                    <a:pt x="128672" y="25526"/>
                  </a:lnTo>
                  <a:cubicBezTo>
                    <a:pt x="131706" y="25526"/>
                    <a:pt x="134740" y="28560"/>
                    <a:pt x="131706" y="31594"/>
                  </a:cubicBezTo>
                  <a:cubicBezTo>
                    <a:pt x="134740" y="31594"/>
                    <a:pt x="131706" y="34627"/>
                    <a:pt x="128672" y="34627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81B9BF87-ECFE-482C-9E83-E4A792D06C28}"/>
                </a:ext>
              </a:extLst>
            </p:cNvPr>
            <p:cNvSpPr/>
            <p:nvPr/>
          </p:nvSpPr>
          <p:spPr>
            <a:xfrm>
              <a:off x="12401163" y="8280291"/>
              <a:ext cx="248763" cy="256965"/>
            </a:xfrm>
            <a:custGeom>
              <a:avLst/>
              <a:gdLst>
                <a:gd name="connsiteX0" fmla="*/ 248764 w 248763"/>
                <a:gd name="connsiteY0" fmla="*/ 39438 h 256965"/>
                <a:gd name="connsiteX1" fmla="*/ 242697 w 248763"/>
                <a:gd name="connsiteY1" fmla="*/ 212360 h 256965"/>
                <a:gd name="connsiteX2" fmla="*/ 0 w 248763"/>
                <a:gd name="connsiteY2" fmla="*/ 203258 h 256965"/>
                <a:gd name="connsiteX3" fmla="*/ 15169 w 248763"/>
                <a:gd name="connsiteY3" fmla="*/ 0 h 256965"/>
                <a:gd name="connsiteX4" fmla="*/ 248764 w 248763"/>
                <a:gd name="connsiteY4" fmla="*/ 39438 h 25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763" h="256965">
                  <a:moveTo>
                    <a:pt x="248764" y="39438"/>
                  </a:moveTo>
                  <a:cubicBezTo>
                    <a:pt x="248764" y="39438"/>
                    <a:pt x="242697" y="139550"/>
                    <a:pt x="242697" y="212360"/>
                  </a:cubicBezTo>
                  <a:cubicBezTo>
                    <a:pt x="242697" y="212360"/>
                    <a:pt x="148652" y="318539"/>
                    <a:pt x="0" y="203258"/>
                  </a:cubicBezTo>
                  <a:cubicBezTo>
                    <a:pt x="0" y="142584"/>
                    <a:pt x="12135" y="63708"/>
                    <a:pt x="15169" y="0"/>
                  </a:cubicBezTo>
                  <a:cubicBezTo>
                    <a:pt x="12135" y="0"/>
                    <a:pt x="197191" y="51573"/>
                    <a:pt x="248764" y="39438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CF77F7A0-CDE7-44CE-B63B-D9863414EE3A}"/>
                </a:ext>
              </a:extLst>
            </p:cNvPr>
            <p:cNvSpPr/>
            <p:nvPr/>
          </p:nvSpPr>
          <p:spPr>
            <a:xfrm>
              <a:off x="12310152" y="8161976"/>
              <a:ext cx="69774" cy="136516"/>
            </a:xfrm>
            <a:custGeom>
              <a:avLst/>
              <a:gdLst>
                <a:gd name="connsiteX0" fmla="*/ 0 w 69774"/>
                <a:gd name="connsiteY0" fmla="*/ 0 h 136516"/>
                <a:gd name="connsiteX1" fmla="*/ 66741 w 69774"/>
                <a:gd name="connsiteY1" fmla="*/ 136517 h 136516"/>
                <a:gd name="connsiteX2" fmla="*/ 69775 w 69774"/>
                <a:gd name="connsiteY2" fmla="*/ 51573 h 136516"/>
                <a:gd name="connsiteX3" fmla="*/ 0 w 69774"/>
                <a:gd name="connsiteY3" fmla="*/ 0 h 13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74" h="136516">
                  <a:moveTo>
                    <a:pt x="0" y="0"/>
                  </a:moveTo>
                  <a:cubicBezTo>
                    <a:pt x="0" y="0"/>
                    <a:pt x="15169" y="118315"/>
                    <a:pt x="66741" y="136517"/>
                  </a:cubicBezTo>
                  <a:lnTo>
                    <a:pt x="69775" y="5157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A681E372-9707-466C-B77E-3CE543FC95D8}"/>
                </a:ext>
              </a:extLst>
            </p:cNvPr>
            <p:cNvSpPr/>
            <p:nvPr/>
          </p:nvSpPr>
          <p:spPr>
            <a:xfrm>
              <a:off x="12664646" y="7952651"/>
              <a:ext cx="102127" cy="236641"/>
            </a:xfrm>
            <a:custGeom>
              <a:avLst/>
              <a:gdLst>
                <a:gd name="connsiteX0" fmla="*/ 94495 w 102127"/>
                <a:gd name="connsiteY0" fmla="*/ 0 h 236641"/>
                <a:gd name="connsiteX1" fmla="*/ 55057 w 102127"/>
                <a:gd name="connsiteY1" fmla="*/ 233595 h 236641"/>
                <a:gd name="connsiteX2" fmla="*/ 449 w 102127"/>
                <a:gd name="connsiteY2" fmla="*/ 15169 h 236641"/>
                <a:gd name="connsiteX3" fmla="*/ 94495 w 102127"/>
                <a:gd name="connsiteY3" fmla="*/ 0 h 236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127" h="236641">
                  <a:moveTo>
                    <a:pt x="94495" y="0"/>
                  </a:moveTo>
                  <a:cubicBezTo>
                    <a:pt x="94495" y="0"/>
                    <a:pt x="127865" y="194157"/>
                    <a:pt x="55057" y="233595"/>
                  </a:cubicBezTo>
                  <a:cubicBezTo>
                    <a:pt x="-8651" y="266966"/>
                    <a:pt x="449" y="15169"/>
                    <a:pt x="449" y="15169"/>
                  </a:cubicBezTo>
                  <a:lnTo>
                    <a:pt x="94495" y="0"/>
                  </a:ln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DA3B0249-9045-421F-A369-C820581901A9}"/>
                </a:ext>
              </a:extLst>
            </p:cNvPr>
            <p:cNvSpPr/>
            <p:nvPr/>
          </p:nvSpPr>
          <p:spPr>
            <a:xfrm>
              <a:off x="12310152" y="7818260"/>
              <a:ext cx="421295" cy="565777"/>
            </a:xfrm>
            <a:custGeom>
              <a:avLst/>
              <a:gdLst>
                <a:gd name="connsiteX0" fmla="*/ 409551 w 421295"/>
                <a:gd name="connsiteY0" fmla="*/ 179896 h 565777"/>
                <a:gd name="connsiteX1" fmla="*/ 412584 w 421295"/>
                <a:gd name="connsiteY1" fmla="*/ 428660 h 565777"/>
                <a:gd name="connsiteX2" fmla="*/ 254831 w 421295"/>
                <a:gd name="connsiteY2" fmla="*/ 565177 h 565777"/>
                <a:gd name="connsiteX3" fmla="*/ 39438 w 421295"/>
                <a:gd name="connsiteY3" fmla="*/ 425626 h 565777"/>
                <a:gd name="connsiteX4" fmla="*/ 0 w 421295"/>
                <a:gd name="connsiteY4" fmla="*/ 201132 h 565777"/>
                <a:gd name="connsiteX5" fmla="*/ 209326 w 421295"/>
                <a:gd name="connsiteY5" fmla="*/ 907 h 565777"/>
                <a:gd name="connsiteX6" fmla="*/ 409551 w 421295"/>
                <a:gd name="connsiteY6" fmla="*/ 179896 h 565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295" h="565777">
                  <a:moveTo>
                    <a:pt x="409551" y="179896"/>
                  </a:moveTo>
                  <a:cubicBezTo>
                    <a:pt x="409551" y="179896"/>
                    <a:pt x="433820" y="355851"/>
                    <a:pt x="412584" y="428660"/>
                  </a:cubicBezTo>
                  <a:cubicBezTo>
                    <a:pt x="394382" y="495401"/>
                    <a:pt x="306405" y="559109"/>
                    <a:pt x="254831" y="565177"/>
                  </a:cubicBezTo>
                  <a:cubicBezTo>
                    <a:pt x="188089" y="571244"/>
                    <a:pt x="69775" y="531806"/>
                    <a:pt x="39438" y="425626"/>
                  </a:cubicBezTo>
                  <a:cubicBezTo>
                    <a:pt x="18202" y="352817"/>
                    <a:pt x="0" y="252705"/>
                    <a:pt x="0" y="201132"/>
                  </a:cubicBezTo>
                  <a:cubicBezTo>
                    <a:pt x="0" y="107087"/>
                    <a:pt x="27303" y="28210"/>
                    <a:pt x="209326" y="907"/>
                  </a:cubicBezTo>
                  <a:cubicBezTo>
                    <a:pt x="294269" y="-11228"/>
                    <a:pt x="388314" y="101019"/>
                    <a:pt x="409551" y="179896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7DBDE203-0454-43A0-BAD6-6EE8BA03D801}"/>
                </a:ext>
              </a:extLst>
            </p:cNvPr>
            <p:cNvSpPr/>
            <p:nvPr/>
          </p:nvSpPr>
          <p:spPr>
            <a:xfrm>
              <a:off x="12537680" y="8077033"/>
              <a:ext cx="57640" cy="139550"/>
            </a:xfrm>
            <a:custGeom>
              <a:avLst/>
              <a:gdLst>
                <a:gd name="connsiteX0" fmla="*/ 27303 w 57640"/>
                <a:gd name="connsiteY0" fmla="*/ 139550 h 139550"/>
                <a:gd name="connsiteX1" fmla="*/ 6067 w 57640"/>
                <a:gd name="connsiteY1" fmla="*/ 136517 h 139550"/>
                <a:gd name="connsiteX2" fmla="*/ 0 w 57640"/>
                <a:gd name="connsiteY2" fmla="*/ 130449 h 139550"/>
                <a:gd name="connsiteX3" fmla="*/ 6067 w 57640"/>
                <a:gd name="connsiteY3" fmla="*/ 124382 h 139550"/>
                <a:gd name="connsiteX4" fmla="*/ 45506 w 57640"/>
                <a:gd name="connsiteY4" fmla="*/ 121348 h 139550"/>
                <a:gd name="connsiteX5" fmla="*/ 45506 w 57640"/>
                <a:gd name="connsiteY5" fmla="*/ 118314 h 139550"/>
                <a:gd name="connsiteX6" fmla="*/ 27303 w 57640"/>
                <a:gd name="connsiteY6" fmla="*/ 6067 h 139550"/>
                <a:gd name="connsiteX7" fmla="*/ 33371 w 57640"/>
                <a:gd name="connsiteY7" fmla="*/ 0 h 139550"/>
                <a:gd name="connsiteX8" fmla="*/ 39438 w 57640"/>
                <a:gd name="connsiteY8" fmla="*/ 6067 h 139550"/>
                <a:gd name="connsiteX9" fmla="*/ 57640 w 57640"/>
                <a:gd name="connsiteY9" fmla="*/ 118314 h 139550"/>
                <a:gd name="connsiteX10" fmla="*/ 51572 w 57640"/>
                <a:gd name="connsiteY10" fmla="*/ 130449 h 139550"/>
                <a:gd name="connsiteX11" fmla="*/ 27303 w 57640"/>
                <a:gd name="connsiteY11" fmla="*/ 139550 h 13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640" h="139550">
                  <a:moveTo>
                    <a:pt x="27303" y="139550"/>
                  </a:moveTo>
                  <a:cubicBezTo>
                    <a:pt x="18202" y="139550"/>
                    <a:pt x="9101" y="136517"/>
                    <a:pt x="6067" y="136517"/>
                  </a:cubicBezTo>
                  <a:cubicBezTo>
                    <a:pt x="3034" y="136517"/>
                    <a:pt x="0" y="133483"/>
                    <a:pt x="0" y="130449"/>
                  </a:cubicBezTo>
                  <a:cubicBezTo>
                    <a:pt x="0" y="127416"/>
                    <a:pt x="3034" y="124382"/>
                    <a:pt x="6067" y="124382"/>
                  </a:cubicBezTo>
                  <a:cubicBezTo>
                    <a:pt x="18202" y="127416"/>
                    <a:pt x="39438" y="127416"/>
                    <a:pt x="45506" y="121348"/>
                  </a:cubicBezTo>
                  <a:cubicBezTo>
                    <a:pt x="45506" y="121348"/>
                    <a:pt x="45506" y="118314"/>
                    <a:pt x="45506" y="118314"/>
                  </a:cubicBezTo>
                  <a:cubicBezTo>
                    <a:pt x="45506" y="100112"/>
                    <a:pt x="27303" y="9101"/>
                    <a:pt x="27303" y="6067"/>
                  </a:cubicBezTo>
                  <a:cubicBezTo>
                    <a:pt x="27303" y="3033"/>
                    <a:pt x="27303" y="0"/>
                    <a:pt x="33371" y="0"/>
                  </a:cubicBezTo>
                  <a:cubicBezTo>
                    <a:pt x="36404" y="0"/>
                    <a:pt x="39438" y="0"/>
                    <a:pt x="39438" y="6067"/>
                  </a:cubicBezTo>
                  <a:cubicBezTo>
                    <a:pt x="39438" y="9101"/>
                    <a:pt x="57640" y="100112"/>
                    <a:pt x="57640" y="118314"/>
                  </a:cubicBezTo>
                  <a:cubicBezTo>
                    <a:pt x="57640" y="124382"/>
                    <a:pt x="54606" y="127416"/>
                    <a:pt x="51572" y="130449"/>
                  </a:cubicBezTo>
                  <a:cubicBezTo>
                    <a:pt x="48540" y="139550"/>
                    <a:pt x="36404" y="139550"/>
                    <a:pt x="27303" y="139550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770DDAF6-46A8-40E5-A620-53A945828139}"/>
                </a:ext>
              </a:extLst>
            </p:cNvPr>
            <p:cNvSpPr/>
            <p:nvPr/>
          </p:nvSpPr>
          <p:spPr>
            <a:xfrm>
              <a:off x="12624884" y="8055202"/>
              <a:ext cx="40806" cy="40628"/>
            </a:xfrm>
            <a:custGeom>
              <a:avLst/>
              <a:gdLst>
                <a:gd name="connsiteX0" fmla="*/ 773 w 40806"/>
                <a:gd name="connsiteY0" fmla="*/ 24865 h 40628"/>
                <a:gd name="connsiteX1" fmla="*/ 25042 w 40806"/>
                <a:gd name="connsiteY1" fmla="*/ 40033 h 40628"/>
                <a:gd name="connsiteX2" fmla="*/ 40211 w 40806"/>
                <a:gd name="connsiteY2" fmla="*/ 15764 h 40628"/>
                <a:gd name="connsiteX3" fmla="*/ 15942 w 40806"/>
                <a:gd name="connsiteY3" fmla="*/ 595 h 40628"/>
                <a:gd name="connsiteX4" fmla="*/ 773 w 40806"/>
                <a:gd name="connsiteY4" fmla="*/ 24865 h 4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06" h="40628">
                  <a:moveTo>
                    <a:pt x="773" y="24865"/>
                  </a:moveTo>
                  <a:cubicBezTo>
                    <a:pt x="3807" y="33966"/>
                    <a:pt x="12908" y="43067"/>
                    <a:pt x="25042" y="40033"/>
                  </a:cubicBezTo>
                  <a:cubicBezTo>
                    <a:pt x="34144" y="37000"/>
                    <a:pt x="43245" y="27899"/>
                    <a:pt x="40211" y="15764"/>
                  </a:cubicBezTo>
                  <a:cubicBezTo>
                    <a:pt x="37178" y="6663"/>
                    <a:pt x="28076" y="-2438"/>
                    <a:pt x="15942" y="595"/>
                  </a:cubicBezTo>
                  <a:cubicBezTo>
                    <a:pt x="3807" y="3629"/>
                    <a:pt x="-2261" y="15764"/>
                    <a:pt x="773" y="24865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D596FE36-435C-45FE-A7E7-1FD2313A5DDF}"/>
                </a:ext>
              </a:extLst>
            </p:cNvPr>
            <p:cNvSpPr/>
            <p:nvPr/>
          </p:nvSpPr>
          <p:spPr>
            <a:xfrm>
              <a:off x="12442862" y="8076438"/>
              <a:ext cx="40806" cy="40628"/>
            </a:xfrm>
            <a:custGeom>
              <a:avLst/>
              <a:gdLst>
                <a:gd name="connsiteX0" fmla="*/ 773 w 40806"/>
                <a:gd name="connsiteY0" fmla="*/ 24864 h 40628"/>
                <a:gd name="connsiteX1" fmla="*/ 25042 w 40806"/>
                <a:gd name="connsiteY1" fmla="*/ 40033 h 40628"/>
                <a:gd name="connsiteX2" fmla="*/ 40211 w 40806"/>
                <a:gd name="connsiteY2" fmla="*/ 15764 h 40628"/>
                <a:gd name="connsiteX3" fmla="*/ 15942 w 40806"/>
                <a:gd name="connsiteY3" fmla="*/ 595 h 40628"/>
                <a:gd name="connsiteX4" fmla="*/ 773 w 40806"/>
                <a:gd name="connsiteY4" fmla="*/ 24864 h 4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06" h="40628">
                  <a:moveTo>
                    <a:pt x="773" y="24864"/>
                  </a:moveTo>
                  <a:cubicBezTo>
                    <a:pt x="3807" y="33966"/>
                    <a:pt x="12908" y="43067"/>
                    <a:pt x="25042" y="40033"/>
                  </a:cubicBezTo>
                  <a:cubicBezTo>
                    <a:pt x="34144" y="37000"/>
                    <a:pt x="43245" y="27898"/>
                    <a:pt x="40211" y="15764"/>
                  </a:cubicBezTo>
                  <a:cubicBezTo>
                    <a:pt x="37178" y="6662"/>
                    <a:pt x="28076" y="-2439"/>
                    <a:pt x="15942" y="595"/>
                  </a:cubicBezTo>
                  <a:cubicBezTo>
                    <a:pt x="3807" y="3629"/>
                    <a:pt x="-2261" y="12730"/>
                    <a:pt x="773" y="24864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C6F0E51E-BA7E-45A6-B218-CE9B98503A73}"/>
                </a:ext>
              </a:extLst>
            </p:cNvPr>
            <p:cNvSpPr/>
            <p:nvPr/>
          </p:nvSpPr>
          <p:spPr>
            <a:xfrm>
              <a:off x="12594064" y="8007257"/>
              <a:ext cx="91509" cy="33370"/>
            </a:xfrm>
            <a:custGeom>
              <a:avLst/>
              <a:gdLst>
                <a:gd name="connsiteX0" fmla="*/ 86200 w 91509"/>
                <a:gd name="connsiteY0" fmla="*/ 33371 h 33370"/>
                <a:gd name="connsiteX1" fmla="*/ 80133 w 91509"/>
                <a:gd name="connsiteY1" fmla="*/ 30337 h 33370"/>
                <a:gd name="connsiteX2" fmla="*/ 13391 w 91509"/>
                <a:gd name="connsiteY2" fmla="*/ 24270 h 33370"/>
                <a:gd name="connsiteX3" fmla="*/ 1257 w 91509"/>
                <a:gd name="connsiteY3" fmla="*/ 21236 h 33370"/>
                <a:gd name="connsiteX4" fmla="*/ 4291 w 91509"/>
                <a:gd name="connsiteY4" fmla="*/ 9101 h 33370"/>
                <a:gd name="connsiteX5" fmla="*/ 89234 w 91509"/>
                <a:gd name="connsiteY5" fmla="*/ 18202 h 33370"/>
                <a:gd name="connsiteX6" fmla="*/ 89234 w 91509"/>
                <a:gd name="connsiteY6" fmla="*/ 30337 h 33370"/>
                <a:gd name="connsiteX7" fmla="*/ 86200 w 91509"/>
                <a:gd name="connsiteY7" fmla="*/ 33371 h 3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3370">
                  <a:moveTo>
                    <a:pt x="86200" y="33371"/>
                  </a:moveTo>
                  <a:cubicBezTo>
                    <a:pt x="83167" y="33371"/>
                    <a:pt x="83167" y="33371"/>
                    <a:pt x="80133" y="30337"/>
                  </a:cubicBezTo>
                  <a:cubicBezTo>
                    <a:pt x="52830" y="3033"/>
                    <a:pt x="16425" y="24270"/>
                    <a:pt x="13391" y="24270"/>
                  </a:cubicBezTo>
                  <a:cubicBezTo>
                    <a:pt x="10357" y="27303"/>
                    <a:pt x="4291" y="24270"/>
                    <a:pt x="1257" y="21236"/>
                  </a:cubicBezTo>
                  <a:cubicBezTo>
                    <a:pt x="-1777" y="18202"/>
                    <a:pt x="1257" y="12135"/>
                    <a:pt x="4291" y="9101"/>
                  </a:cubicBezTo>
                  <a:cubicBezTo>
                    <a:pt x="22493" y="0"/>
                    <a:pt x="61931" y="-9101"/>
                    <a:pt x="89234" y="18202"/>
                  </a:cubicBezTo>
                  <a:cubicBezTo>
                    <a:pt x="92268" y="21236"/>
                    <a:pt x="92268" y="27303"/>
                    <a:pt x="89234" y="30337"/>
                  </a:cubicBezTo>
                  <a:cubicBezTo>
                    <a:pt x="92268" y="33371"/>
                    <a:pt x="89234" y="33371"/>
                    <a:pt x="86200" y="33371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469DBCF2-93F2-4F8C-866D-B3B36C96D362}"/>
                </a:ext>
              </a:extLst>
            </p:cNvPr>
            <p:cNvSpPr/>
            <p:nvPr/>
          </p:nvSpPr>
          <p:spPr>
            <a:xfrm>
              <a:off x="12407988" y="8010600"/>
              <a:ext cx="91509" cy="36095"/>
            </a:xfrm>
            <a:custGeom>
              <a:avLst/>
              <a:gdLst>
                <a:gd name="connsiteX0" fmla="*/ 8343 w 91509"/>
                <a:gd name="connsiteY0" fmla="*/ 36096 h 36095"/>
                <a:gd name="connsiteX1" fmla="*/ 2275 w 91509"/>
                <a:gd name="connsiteY1" fmla="*/ 33062 h 36095"/>
                <a:gd name="connsiteX2" fmla="*/ 2275 w 91509"/>
                <a:gd name="connsiteY2" fmla="*/ 20927 h 36095"/>
                <a:gd name="connsiteX3" fmla="*/ 87220 w 91509"/>
                <a:gd name="connsiteY3" fmla="*/ 11826 h 36095"/>
                <a:gd name="connsiteX4" fmla="*/ 90253 w 91509"/>
                <a:gd name="connsiteY4" fmla="*/ 23961 h 36095"/>
                <a:gd name="connsiteX5" fmla="*/ 78118 w 91509"/>
                <a:gd name="connsiteY5" fmla="*/ 26995 h 36095"/>
                <a:gd name="connsiteX6" fmla="*/ 11377 w 91509"/>
                <a:gd name="connsiteY6" fmla="*/ 33062 h 36095"/>
                <a:gd name="connsiteX7" fmla="*/ 8343 w 91509"/>
                <a:gd name="connsiteY7" fmla="*/ 36096 h 36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6095">
                  <a:moveTo>
                    <a:pt x="8343" y="36096"/>
                  </a:moveTo>
                  <a:cubicBezTo>
                    <a:pt x="5309" y="36096"/>
                    <a:pt x="5309" y="36096"/>
                    <a:pt x="2275" y="33062"/>
                  </a:cubicBezTo>
                  <a:cubicBezTo>
                    <a:pt x="-758" y="30028"/>
                    <a:pt x="-758" y="23961"/>
                    <a:pt x="2275" y="20927"/>
                  </a:cubicBezTo>
                  <a:cubicBezTo>
                    <a:pt x="14410" y="5759"/>
                    <a:pt x="50815" y="-12444"/>
                    <a:pt x="87220" y="11826"/>
                  </a:cubicBezTo>
                  <a:cubicBezTo>
                    <a:pt x="90253" y="14860"/>
                    <a:pt x="93287" y="17893"/>
                    <a:pt x="90253" y="23961"/>
                  </a:cubicBezTo>
                  <a:cubicBezTo>
                    <a:pt x="87220" y="26995"/>
                    <a:pt x="84186" y="30028"/>
                    <a:pt x="78118" y="26995"/>
                  </a:cubicBezTo>
                  <a:cubicBezTo>
                    <a:pt x="41714" y="2725"/>
                    <a:pt x="14410" y="33062"/>
                    <a:pt x="11377" y="33062"/>
                  </a:cubicBezTo>
                  <a:cubicBezTo>
                    <a:pt x="11377" y="36096"/>
                    <a:pt x="11377" y="36096"/>
                    <a:pt x="8343" y="36096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704F4315-2BA0-40F0-9AB5-D5BB0451E598}"/>
                </a:ext>
              </a:extLst>
            </p:cNvPr>
            <p:cNvSpPr/>
            <p:nvPr/>
          </p:nvSpPr>
          <p:spPr>
            <a:xfrm>
              <a:off x="12404197" y="8325797"/>
              <a:ext cx="229802" cy="63707"/>
            </a:xfrm>
            <a:custGeom>
              <a:avLst/>
              <a:gdLst>
                <a:gd name="connsiteX0" fmla="*/ 148652 w 229802"/>
                <a:gd name="connsiteY0" fmla="*/ 63708 h 63707"/>
                <a:gd name="connsiteX1" fmla="*/ 3033 w 229802"/>
                <a:gd name="connsiteY1" fmla="*/ 12135 h 63707"/>
                <a:gd name="connsiteX2" fmla="*/ 0 w 229802"/>
                <a:gd name="connsiteY2" fmla="*/ 3033 h 63707"/>
                <a:gd name="connsiteX3" fmla="*/ 9101 w 229802"/>
                <a:gd name="connsiteY3" fmla="*/ 0 h 63707"/>
                <a:gd name="connsiteX4" fmla="*/ 148652 w 229802"/>
                <a:gd name="connsiteY4" fmla="*/ 48539 h 63707"/>
                <a:gd name="connsiteX5" fmla="*/ 148652 w 229802"/>
                <a:gd name="connsiteY5" fmla="*/ 48539 h 63707"/>
                <a:gd name="connsiteX6" fmla="*/ 218426 w 229802"/>
                <a:gd name="connsiteY6" fmla="*/ 24270 h 63707"/>
                <a:gd name="connsiteX7" fmla="*/ 227528 w 229802"/>
                <a:gd name="connsiteY7" fmla="*/ 24270 h 63707"/>
                <a:gd name="connsiteX8" fmla="*/ 227528 w 229802"/>
                <a:gd name="connsiteY8" fmla="*/ 33371 h 63707"/>
                <a:gd name="connsiteX9" fmla="*/ 148652 w 229802"/>
                <a:gd name="connsiteY9" fmla="*/ 63708 h 63707"/>
                <a:gd name="connsiteX10" fmla="*/ 148652 w 229802"/>
                <a:gd name="connsiteY10" fmla="*/ 63708 h 6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9802" h="63707">
                  <a:moveTo>
                    <a:pt x="148652" y="63708"/>
                  </a:moveTo>
                  <a:cubicBezTo>
                    <a:pt x="97078" y="63708"/>
                    <a:pt x="9101" y="15169"/>
                    <a:pt x="3033" y="12135"/>
                  </a:cubicBezTo>
                  <a:cubicBezTo>
                    <a:pt x="0" y="9101"/>
                    <a:pt x="0" y="6067"/>
                    <a:pt x="0" y="3033"/>
                  </a:cubicBezTo>
                  <a:cubicBezTo>
                    <a:pt x="3033" y="0"/>
                    <a:pt x="6067" y="0"/>
                    <a:pt x="9101" y="0"/>
                  </a:cubicBezTo>
                  <a:cubicBezTo>
                    <a:pt x="9101" y="0"/>
                    <a:pt x="100112" y="48539"/>
                    <a:pt x="148652" y="48539"/>
                  </a:cubicBezTo>
                  <a:cubicBezTo>
                    <a:pt x="148652" y="48539"/>
                    <a:pt x="148652" y="48539"/>
                    <a:pt x="148652" y="48539"/>
                  </a:cubicBezTo>
                  <a:cubicBezTo>
                    <a:pt x="188089" y="48539"/>
                    <a:pt x="218426" y="24270"/>
                    <a:pt x="218426" y="24270"/>
                  </a:cubicBezTo>
                  <a:cubicBezTo>
                    <a:pt x="221460" y="21236"/>
                    <a:pt x="224494" y="21236"/>
                    <a:pt x="227528" y="24270"/>
                  </a:cubicBezTo>
                  <a:cubicBezTo>
                    <a:pt x="230561" y="27303"/>
                    <a:pt x="230561" y="30337"/>
                    <a:pt x="227528" y="33371"/>
                  </a:cubicBezTo>
                  <a:cubicBezTo>
                    <a:pt x="224494" y="36404"/>
                    <a:pt x="191123" y="63708"/>
                    <a:pt x="148652" y="63708"/>
                  </a:cubicBezTo>
                  <a:cubicBezTo>
                    <a:pt x="148652" y="63708"/>
                    <a:pt x="148652" y="63708"/>
                    <a:pt x="148652" y="63708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F323B856-53CA-4392-A6C3-7B179BA3DEEC}"/>
                </a:ext>
              </a:extLst>
            </p:cNvPr>
            <p:cNvSpPr/>
            <p:nvPr/>
          </p:nvSpPr>
          <p:spPr>
            <a:xfrm>
              <a:off x="12269899" y="7840404"/>
              <a:ext cx="113061" cy="266966"/>
            </a:xfrm>
            <a:custGeom>
              <a:avLst/>
              <a:gdLst>
                <a:gd name="connsiteX0" fmla="*/ 113062 w 113061"/>
                <a:gd name="connsiteY0" fmla="*/ 127416 h 266966"/>
                <a:gd name="connsiteX1" fmla="*/ 64522 w 113061"/>
                <a:gd name="connsiteY1" fmla="*/ 266966 h 266966"/>
                <a:gd name="connsiteX2" fmla="*/ 6882 w 113061"/>
                <a:gd name="connsiteY2" fmla="*/ 166854 h 266966"/>
                <a:gd name="connsiteX3" fmla="*/ 64522 w 113061"/>
                <a:gd name="connsiteY3" fmla="*/ 0 h 266966"/>
                <a:gd name="connsiteX4" fmla="*/ 113062 w 113061"/>
                <a:gd name="connsiteY4" fmla="*/ 127416 h 266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61" h="266966">
                  <a:moveTo>
                    <a:pt x="113062" y="127416"/>
                  </a:moveTo>
                  <a:cubicBezTo>
                    <a:pt x="113062" y="127416"/>
                    <a:pt x="58455" y="236629"/>
                    <a:pt x="64522" y="266966"/>
                  </a:cubicBezTo>
                  <a:cubicBezTo>
                    <a:pt x="64522" y="266966"/>
                    <a:pt x="22050" y="221461"/>
                    <a:pt x="6882" y="166854"/>
                  </a:cubicBezTo>
                  <a:cubicBezTo>
                    <a:pt x="-8287" y="109213"/>
                    <a:pt x="-2219" y="15169"/>
                    <a:pt x="64522" y="0"/>
                  </a:cubicBezTo>
                  <a:cubicBezTo>
                    <a:pt x="64522" y="3033"/>
                    <a:pt x="73624" y="109213"/>
                    <a:pt x="113062" y="127416"/>
                  </a:cubicBez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264353CB-33F5-4C23-9B4F-BBDDEAE71484}"/>
                </a:ext>
              </a:extLst>
            </p:cNvPr>
            <p:cNvSpPr/>
            <p:nvPr/>
          </p:nvSpPr>
          <p:spPr>
            <a:xfrm>
              <a:off x="12324523" y="7725651"/>
              <a:ext cx="435221" cy="348347"/>
            </a:xfrm>
            <a:custGeom>
              <a:avLst/>
              <a:gdLst>
                <a:gd name="connsiteX0" fmla="*/ 58438 w 435221"/>
                <a:gd name="connsiteY0" fmla="*/ 242168 h 348347"/>
                <a:gd name="connsiteX1" fmla="*/ 179786 w 435221"/>
                <a:gd name="connsiteY1" fmla="*/ 202730 h 348347"/>
                <a:gd name="connsiteX2" fmla="*/ 419449 w 435221"/>
                <a:gd name="connsiteY2" fmla="*/ 348348 h 348347"/>
                <a:gd name="connsiteX3" fmla="*/ 422483 w 435221"/>
                <a:gd name="connsiteY3" fmla="*/ 181494 h 348347"/>
                <a:gd name="connsiteX4" fmla="*/ 331471 w 435221"/>
                <a:gd name="connsiteY4" fmla="*/ 32842 h 348347"/>
                <a:gd name="connsiteX5" fmla="*/ 131247 w 435221"/>
                <a:gd name="connsiteY5" fmla="*/ 17674 h 348347"/>
                <a:gd name="connsiteX6" fmla="*/ 9898 w 435221"/>
                <a:gd name="connsiteY6" fmla="*/ 111718 h 348347"/>
                <a:gd name="connsiteX7" fmla="*/ 58438 w 435221"/>
                <a:gd name="connsiteY7" fmla="*/ 242168 h 348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5221" h="348347">
                  <a:moveTo>
                    <a:pt x="58438" y="242168"/>
                  </a:moveTo>
                  <a:cubicBezTo>
                    <a:pt x="58438" y="242168"/>
                    <a:pt x="152483" y="202730"/>
                    <a:pt x="179786" y="202730"/>
                  </a:cubicBezTo>
                  <a:cubicBezTo>
                    <a:pt x="279898" y="205764"/>
                    <a:pt x="434617" y="275539"/>
                    <a:pt x="419449" y="348348"/>
                  </a:cubicBezTo>
                  <a:cubicBezTo>
                    <a:pt x="419449" y="348348"/>
                    <a:pt x="452820" y="245202"/>
                    <a:pt x="422483" y="181494"/>
                  </a:cubicBezTo>
                  <a:cubicBezTo>
                    <a:pt x="422483" y="181494"/>
                    <a:pt x="422483" y="57112"/>
                    <a:pt x="331471" y="32842"/>
                  </a:cubicBezTo>
                  <a:cubicBezTo>
                    <a:pt x="240460" y="8573"/>
                    <a:pt x="201022" y="-18731"/>
                    <a:pt x="131247" y="17674"/>
                  </a:cubicBezTo>
                  <a:cubicBezTo>
                    <a:pt x="61472" y="57112"/>
                    <a:pt x="15966" y="75314"/>
                    <a:pt x="9898" y="111718"/>
                  </a:cubicBezTo>
                  <a:cubicBezTo>
                    <a:pt x="9898" y="117786"/>
                    <a:pt x="-32573" y="230033"/>
                    <a:pt x="58438" y="242168"/>
                  </a:cubicBez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DCE71D6C-F7B9-4134-AAEA-755B418FF32A}"/>
                </a:ext>
              </a:extLst>
            </p:cNvPr>
            <p:cNvSpPr/>
            <p:nvPr/>
          </p:nvSpPr>
          <p:spPr>
            <a:xfrm>
              <a:off x="11988579" y="8444111"/>
              <a:ext cx="1029960" cy="1530148"/>
            </a:xfrm>
            <a:custGeom>
              <a:avLst/>
              <a:gdLst>
                <a:gd name="connsiteX0" fmla="*/ 394382 w 1029960"/>
                <a:gd name="connsiteY0" fmla="*/ 0 h 1530148"/>
                <a:gd name="connsiteX1" fmla="*/ 682584 w 1029960"/>
                <a:gd name="connsiteY1" fmla="*/ 0 h 1530148"/>
                <a:gd name="connsiteX2" fmla="*/ 979887 w 1029960"/>
                <a:gd name="connsiteY2" fmla="*/ 130450 h 1530148"/>
                <a:gd name="connsiteX3" fmla="*/ 1028427 w 1029960"/>
                <a:gd name="connsiteY3" fmla="*/ 1525955 h 1530148"/>
                <a:gd name="connsiteX4" fmla="*/ 0 w 1029960"/>
                <a:gd name="connsiteY4" fmla="*/ 1504719 h 1530148"/>
                <a:gd name="connsiteX5" fmla="*/ 115281 w 1029960"/>
                <a:gd name="connsiteY5" fmla="*/ 103146 h 1530148"/>
                <a:gd name="connsiteX6" fmla="*/ 394382 w 1029960"/>
                <a:gd name="connsiteY6" fmla="*/ 0 h 1530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9960" h="1530148">
                  <a:moveTo>
                    <a:pt x="394382" y="0"/>
                  </a:moveTo>
                  <a:cubicBezTo>
                    <a:pt x="394382" y="0"/>
                    <a:pt x="567304" y="54607"/>
                    <a:pt x="682584" y="0"/>
                  </a:cubicBezTo>
                  <a:cubicBezTo>
                    <a:pt x="682584" y="0"/>
                    <a:pt x="955618" y="97079"/>
                    <a:pt x="979887" y="130450"/>
                  </a:cubicBezTo>
                  <a:cubicBezTo>
                    <a:pt x="1004158" y="160787"/>
                    <a:pt x="1037529" y="1459213"/>
                    <a:pt x="1028427" y="1525955"/>
                  </a:cubicBezTo>
                  <a:cubicBezTo>
                    <a:pt x="1028427" y="1525955"/>
                    <a:pt x="591573" y="1544158"/>
                    <a:pt x="0" y="1504719"/>
                  </a:cubicBezTo>
                  <a:cubicBezTo>
                    <a:pt x="0" y="1149776"/>
                    <a:pt x="72809" y="133483"/>
                    <a:pt x="115281" y="103146"/>
                  </a:cubicBezTo>
                  <a:cubicBezTo>
                    <a:pt x="157753" y="69775"/>
                    <a:pt x="394382" y="0"/>
                    <a:pt x="394382" y="0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DC71946E-722E-45F7-800A-AF826AF2731C}"/>
                </a:ext>
              </a:extLst>
            </p:cNvPr>
            <p:cNvSpPr/>
            <p:nvPr/>
          </p:nvSpPr>
          <p:spPr>
            <a:xfrm>
              <a:off x="12962399" y="8565460"/>
              <a:ext cx="43728" cy="573371"/>
            </a:xfrm>
            <a:custGeom>
              <a:avLst/>
              <a:gdLst>
                <a:gd name="connsiteX0" fmla="*/ 39438 w 43728"/>
                <a:gd name="connsiteY0" fmla="*/ 573371 h 573371"/>
                <a:gd name="connsiteX1" fmla="*/ 33371 w 43728"/>
                <a:gd name="connsiteY1" fmla="*/ 567303 h 573371"/>
                <a:gd name="connsiteX2" fmla="*/ 0 w 43728"/>
                <a:gd name="connsiteY2" fmla="*/ 6067 h 573371"/>
                <a:gd name="connsiteX3" fmla="*/ 3034 w 43728"/>
                <a:gd name="connsiteY3" fmla="*/ 0 h 573371"/>
                <a:gd name="connsiteX4" fmla="*/ 9101 w 43728"/>
                <a:gd name="connsiteY4" fmla="*/ 3034 h 573371"/>
                <a:gd name="connsiteX5" fmla="*/ 42472 w 43728"/>
                <a:gd name="connsiteY5" fmla="*/ 564270 h 573371"/>
                <a:gd name="connsiteX6" fmla="*/ 39438 w 43728"/>
                <a:gd name="connsiteY6" fmla="*/ 573371 h 573371"/>
                <a:gd name="connsiteX7" fmla="*/ 39438 w 43728"/>
                <a:gd name="connsiteY7" fmla="*/ 573371 h 573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728" h="573371">
                  <a:moveTo>
                    <a:pt x="39438" y="573371"/>
                  </a:moveTo>
                  <a:cubicBezTo>
                    <a:pt x="36404" y="573371"/>
                    <a:pt x="33371" y="570337"/>
                    <a:pt x="33371" y="567303"/>
                  </a:cubicBezTo>
                  <a:cubicBezTo>
                    <a:pt x="33371" y="561236"/>
                    <a:pt x="9101" y="45506"/>
                    <a:pt x="0" y="6067"/>
                  </a:cubicBezTo>
                  <a:cubicBezTo>
                    <a:pt x="0" y="3034"/>
                    <a:pt x="0" y="0"/>
                    <a:pt x="3034" y="0"/>
                  </a:cubicBezTo>
                  <a:cubicBezTo>
                    <a:pt x="6067" y="0"/>
                    <a:pt x="9101" y="0"/>
                    <a:pt x="9101" y="3034"/>
                  </a:cubicBezTo>
                  <a:cubicBezTo>
                    <a:pt x="18202" y="42472"/>
                    <a:pt x="42472" y="543034"/>
                    <a:pt x="42472" y="564270"/>
                  </a:cubicBezTo>
                  <a:cubicBezTo>
                    <a:pt x="45506" y="570337"/>
                    <a:pt x="42472" y="573371"/>
                    <a:pt x="39438" y="573371"/>
                  </a:cubicBezTo>
                  <a:lnTo>
                    <a:pt x="39438" y="573371"/>
                  </a:ln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388F895A-FF66-4E3E-BE74-F76C98CE0A2F}"/>
                </a:ext>
              </a:extLst>
            </p:cNvPr>
            <p:cNvSpPr/>
            <p:nvPr/>
          </p:nvSpPr>
          <p:spPr>
            <a:xfrm>
              <a:off x="12272702" y="8076843"/>
              <a:ext cx="76888" cy="109956"/>
            </a:xfrm>
            <a:custGeom>
              <a:avLst/>
              <a:gdLst>
                <a:gd name="connsiteX0" fmla="*/ 64753 w 76888"/>
                <a:gd name="connsiteY0" fmla="*/ 15358 h 109956"/>
                <a:gd name="connsiteX1" fmla="*/ 7113 w 76888"/>
                <a:gd name="connsiteY1" fmla="*/ 6257 h 109956"/>
                <a:gd name="connsiteX2" fmla="*/ 64753 w 76888"/>
                <a:gd name="connsiteY2" fmla="*/ 106370 h 109956"/>
                <a:gd name="connsiteX3" fmla="*/ 64753 w 76888"/>
                <a:gd name="connsiteY3" fmla="*/ 15358 h 109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888" h="109956">
                  <a:moveTo>
                    <a:pt x="64753" y="15358"/>
                  </a:moveTo>
                  <a:cubicBezTo>
                    <a:pt x="64753" y="15358"/>
                    <a:pt x="31382" y="-11945"/>
                    <a:pt x="7113" y="6257"/>
                  </a:cubicBezTo>
                  <a:cubicBezTo>
                    <a:pt x="-17157" y="24459"/>
                    <a:pt x="25316" y="130639"/>
                    <a:pt x="64753" y="106370"/>
                  </a:cubicBezTo>
                  <a:cubicBezTo>
                    <a:pt x="92057" y="88167"/>
                    <a:pt x="64753" y="15358"/>
                    <a:pt x="64753" y="15358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9" name="图形 1">
              <a:extLst>
                <a:ext uri="{FF2B5EF4-FFF2-40B4-BE49-F238E27FC236}">
                  <a16:creationId xmlns:a16="http://schemas.microsoft.com/office/drawing/2014/main" id="{E5E19ACD-C89A-41BC-9D2C-5D91A886EC11}"/>
                </a:ext>
              </a:extLst>
            </p:cNvPr>
            <p:cNvGrpSpPr/>
            <p:nvPr/>
          </p:nvGrpSpPr>
          <p:grpSpPr>
            <a:xfrm>
              <a:off x="12249478" y="7654983"/>
              <a:ext cx="591573" cy="336930"/>
              <a:chOff x="12249478" y="7654983"/>
              <a:chExt cx="591573" cy="336930"/>
            </a:xfrm>
          </p:grpSpPr>
          <p:grpSp>
            <p:nvGrpSpPr>
              <p:cNvPr id="67" name="图形 1">
                <a:extLst>
                  <a:ext uri="{FF2B5EF4-FFF2-40B4-BE49-F238E27FC236}">
                    <a16:creationId xmlns:a16="http://schemas.microsoft.com/office/drawing/2014/main" id="{145E280B-FB09-4126-B58F-564AC698B722}"/>
                  </a:ext>
                </a:extLst>
              </p:cNvPr>
              <p:cNvGrpSpPr/>
              <p:nvPr/>
            </p:nvGrpSpPr>
            <p:grpSpPr>
              <a:xfrm>
                <a:off x="12255542" y="7663584"/>
                <a:ext cx="585508" cy="328330"/>
                <a:chOff x="12255542" y="7663584"/>
                <a:chExt cx="585508" cy="328330"/>
              </a:xfrm>
              <a:solidFill>
                <a:srgbClr val="D16156"/>
              </a:solidFill>
            </p:grpSpPr>
            <p:sp>
              <p:nvSpPr>
                <p:cNvPr id="70" name="任意多边形: 形状 69">
                  <a:extLst>
                    <a:ext uri="{FF2B5EF4-FFF2-40B4-BE49-F238E27FC236}">
                      <a16:creationId xmlns:a16="http://schemas.microsoft.com/office/drawing/2014/main" id="{155AE7E9-761E-4661-8F96-0A66947C01F6}"/>
                    </a:ext>
                  </a:extLst>
                </p:cNvPr>
                <p:cNvSpPr/>
                <p:nvPr/>
              </p:nvSpPr>
              <p:spPr>
                <a:xfrm>
                  <a:off x="12255542" y="7663584"/>
                  <a:ext cx="497531" cy="275549"/>
                </a:xfrm>
                <a:custGeom>
                  <a:avLst/>
                  <a:gdLst>
                    <a:gd name="connsiteX0" fmla="*/ 497531 w 497531"/>
                    <a:gd name="connsiteY0" fmla="*/ 198055 h 275549"/>
                    <a:gd name="connsiteX1" fmla="*/ 212362 w 497531"/>
                    <a:gd name="connsiteY1" fmla="*/ 3898 h 275549"/>
                    <a:gd name="connsiteX2" fmla="*/ 2 w 497531"/>
                    <a:gd name="connsiteY2" fmla="*/ 261763 h 275549"/>
                    <a:gd name="connsiteX3" fmla="*/ 400452 w 497531"/>
                    <a:gd name="connsiteY3" fmla="*/ 252662 h 275549"/>
                    <a:gd name="connsiteX4" fmla="*/ 497531 w 497531"/>
                    <a:gd name="connsiteY4" fmla="*/ 198055 h 2755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7531" h="275549">
                      <a:moveTo>
                        <a:pt x="497531" y="198055"/>
                      </a:moveTo>
                      <a:cubicBezTo>
                        <a:pt x="497531" y="198055"/>
                        <a:pt x="455058" y="-32507"/>
                        <a:pt x="212362" y="3898"/>
                      </a:cubicBezTo>
                      <a:cubicBezTo>
                        <a:pt x="-3031" y="37269"/>
                        <a:pt x="2" y="261763"/>
                        <a:pt x="2" y="261763"/>
                      </a:cubicBezTo>
                      <a:cubicBezTo>
                        <a:pt x="2" y="261763"/>
                        <a:pt x="245733" y="298168"/>
                        <a:pt x="400452" y="252662"/>
                      </a:cubicBezTo>
                      <a:cubicBezTo>
                        <a:pt x="442924" y="237494"/>
                        <a:pt x="476295" y="222325"/>
                        <a:pt x="497531" y="198055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: 形状 70">
                  <a:extLst>
                    <a:ext uri="{FF2B5EF4-FFF2-40B4-BE49-F238E27FC236}">
                      <a16:creationId xmlns:a16="http://schemas.microsoft.com/office/drawing/2014/main" id="{08259D5D-F4A2-4334-BBF4-14291EF599F3}"/>
                    </a:ext>
                  </a:extLst>
                </p:cNvPr>
                <p:cNvSpPr/>
                <p:nvPr/>
              </p:nvSpPr>
              <p:spPr>
                <a:xfrm>
                  <a:off x="12255545" y="7861639"/>
                  <a:ext cx="585506" cy="130274"/>
                </a:xfrm>
                <a:custGeom>
                  <a:avLst/>
                  <a:gdLst>
                    <a:gd name="connsiteX0" fmla="*/ 0 w 585506"/>
                    <a:gd name="connsiteY0" fmla="*/ 66741 h 130274"/>
                    <a:gd name="connsiteX1" fmla="*/ 18202 w 585506"/>
                    <a:gd name="connsiteY1" fmla="*/ 84944 h 130274"/>
                    <a:gd name="connsiteX2" fmla="*/ 254832 w 585506"/>
                    <a:gd name="connsiteY2" fmla="*/ 127416 h 130274"/>
                    <a:gd name="connsiteX3" fmla="*/ 585506 w 585506"/>
                    <a:gd name="connsiteY3" fmla="*/ 60674 h 130274"/>
                    <a:gd name="connsiteX4" fmla="*/ 497529 w 585506"/>
                    <a:gd name="connsiteY4" fmla="*/ 0 h 130274"/>
                    <a:gd name="connsiteX5" fmla="*/ 0 w 585506"/>
                    <a:gd name="connsiteY5" fmla="*/ 63708 h 130274"/>
                    <a:gd name="connsiteX6" fmla="*/ 0 w 585506"/>
                    <a:gd name="connsiteY6" fmla="*/ 66741 h 130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85506" h="130274">
                      <a:moveTo>
                        <a:pt x="0" y="66741"/>
                      </a:moveTo>
                      <a:cubicBezTo>
                        <a:pt x="0" y="75843"/>
                        <a:pt x="9102" y="81910"/>
                        <a:pt x="18202" y="84944"/>
                      </a:cubicBezTo>
                      <a:cubicBezTo>
                        <a:pt x="78877" y="112247"/>
                        <a:pt x="191124" y="121348"/>
                        <a:pt x="254832" y="127416"/>
                      </a:cubicBezTo>
                      <a:cubicBezTo>
                        <a:pt x="452023" y="142584"/>
                        <a:pt x="585506" y="94045"/>
                        <a:pt x="585506" y="60674"/>
                      </a:cubicBezTo>
                      <a:cubicBezTo>
                        <a:pt x="585506" y="27303"/>
                        <a:pt x="497529" y="0"/>
                        <a:pt x="497529" y="0"/>
                      </a:cubicBezTo>
                      <a:cubicBezTo>
                        <a:pt x="497529" y="0"/>
                        <a:pt x="442922" y="57640"/>
                        <a:pt x="0" y="63708"/>
                      </a:cubicBezTo>
                      <a:lnTo>
                        <a:pt x="0" y="66741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6F8636E6-3849-445C-83FE-0A5E67E50B30}"/>
                  </a:ext>
                </a:extLst>
              </p:cNvPr>
              <p:cNvSpPr/>
              <p:nvPr/>
            </p:nvSpPr>
            <p:spPr>
              <a:xfrm>
                <a:off x="12249478" y="7855572"/>
                <a:ext cx="509662" cy="75842"/>
              </a:xfrm>
              <a:custGeom>
                <a:avLst/>
                <a:gdLst>
                  <a:gd name="connsiteX0" fmla="*/ 6067 w 509662"/>
                  <a:gd name="connsiteY0" fmla="*/ 75843 h 75842"/>
                  <a:gd name="connsiteX1" fmla="*/ 0 w 509662"/>
                  <a:gd name="connsiteY1" fmla="*/ 69775 h 75842"/>
                  <a:gd name="connsiteX2" fmla="*/ 6067 w 509662"/>
                  <a:gd name="connsiteY2" fmla="*/ 63708 h 75842"/>
                  <a:gd name="connsiteX3" fmla="*/ 500562 w 509662"/>
                  <a:gd name="connsiteY3" fmla="*/ 3033 h 75842"/>
                  <a:gd name="connsiteX4" fmla="*/ 506629 w 509662"/>
                  <a:gd name="connsiteY4" fmla="*/ 0 h 75842"/>
                  <a:gd name="connsiteX5" fmla="*/ 509663 w 509662"/>
                  <a:gd name="connsiteY5" fmla="*/ 9101 h 75842"/>
                  <a:gd name="connsiteX6" fmla="*/ 6067 w 509662"/>
                  <a:gd name="connsiteY6" fmla="*/ 75843 h 75842"/>
                  <a:gd name="connsiteX7" fmla="*/ 6067 w 509662"/>
                  <a:gd name="connsiteY7" fmla="*/ 75843 h 75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9662" h="75842">
                    <a:moveTo>
                      <a:pt x="6067" y="75843"/>
                    </a:moveTo>
                    <a:cubicBezTo>
                      <a:pt x="3034" y="75843"/>
                      <a:pt x="0" y="72809"/>
                      <a:pt x="0" y="69775"/>
                    </a:cubicBezTo>
                    <a:cubicBezTo>
                      <a:pt x="0" y="66741"/>
                      <a:pt x="3034" y="63708"/>
                      <a:pt x="6067" y="63708"/>
                    </a:cubicBezTo>
                    <a:cubicBezTo>
                      <a:pt x="458090" y="45506"/>
                      <a:pt x="497528" y="3033"/>
                      <a:pt x="500562" y="3033"/>
                    </a:cubicBezTo>
                    <a:cubicBezTo>
                      <a:pt x="500562" y="0"/>
                      <a:pt x="506629" y="0"/>
                      <a:pt x="506629" y="0"/>
                    </a:cubicBezTo>
                    <a:cubicBezTo>
                      <a:pt x="509663" y="0"/>
                      <a:pt x="509663" y="6067"/>
                      <a:pt x="509663" y="9101"/>
                    </a:cubicBezTo>
                    <a:cubicBezTo>
                      <a:pt x="506629" y="12135"/>
                      <a:pt x="470225" y="54607"/>
                      <a:pt x="6067" y="75843"/>
                    </a:cubicBezTo>
                    <a:cubicBezTo>
                      <a:pt x="6067" y="75843"/>
                      <a:pt x="6067" y="75843"/>
                      <a:pt x="6067" y="7584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186FE3BB-6853-44D3-91AE-3247BA76712B}"/>
                  </a:ext>
                </a:extLst>
              </p:cNvPr>
              <p:cNvSpPr/>
              <p:nvPr/>
            </p:nvSpPr>
            <p:spPr>
              <a:xfrm>
                <a:off x="12358691" y="7654983"/>
                <a:ext cx="306403" cy="258229"/>
              </a:xfrm>
              <a:custGeom>
                <a:avLst/>
                <a:gdLst>
                  <a:gd name="connsiteX0" fmla="*/ 151685 w 306403"/>
                  <a:gd name="connsiteY0" fmla="*/ 258229 h 258229"/>
                  <a:gd name="connsiteX1" fmla="*/ 145618 w 306403"/>
                  <a:gd name="connsiteY1" fmla="*/ 252162 h 258229"/>
                  <a:gd name="connsiteX2" fmla="*/ 3033 w 306403"/>
                  <a:gd name="connsiteY2" fmla="*/ 54971 h 258229"/>
                  <a:gd name="connsiteX3" fmla="*/ 0 w 306403"/>
                  <a:gd name="connsiteY3" fmla="*/ 51937 h 258229"/>
                  <a:gd name="connsiteX4" fmla="*/ 3033 w 306403"/>
                  <a:gd name="connsiteY4" fmla="*/ 45869 h 258229"/>
                  <a:gd name="connsiteX5" fmla="*/ 203258 w 306403"/>
                  <a:gd name="connsiteY5" fmla="*/ 3398 h 258229"/>
                  <a:gd name="connsiteX6" fmla="*/ 206292 w 306403"/>
                  <a:gd name="connsiteY6" fmla="*/ 3398 h 258229"/>
                  <a:gd name="connsiteX7" fmla="*/ 306404 w 306403"/>
                  <a:gd name="connsiteY7" fmla="*/ 227892 h 258229"/>
                  <a:gd name="connsiteX8" fmla="*/ 300337 w 306403"/>
                  <a:gd name="connsiteY8" fmla="*/ 233959 h 258229"/>
                  <a:gd name="connsiteX9" fmla="*/ 300337 w 306403"/>
                  <a:gd name="connsiteY9" fmla="*/ 233959 h 258229"/>
                  <a:gd name="connsiteX10" fmla="*/ 294269 w 306403"/>
                  <a:gd name="connsiteY10" fmla="*/ 227892 h 258229"/>
                  <a:gd name="connsiteX11" fmla="*/ 200224 w 306403"/>
                  <a:gd name="connsiteY11" fmla="*/ 12499 h 258229"/>
                  <a:gd name="connsiteX12" fmla="*/ 18202 w 306403"/>
                  <a:gd name="connsiteY12" fmla="*/ 48903 h 258229"/>
                  <a:gd name="connsiteX13" fmla="*/ 160786 w 306403"/>
                  <a:gd name="connsiteY13" fmla="*/ 249128 h 258229"/>
                  <a:gd name="connsiteX14" fmla="*/ 151685 w 306403"/>
                  <a:gd name="connsiteY14" fmla="*/ 258229 h 258229"/>
                  <a:gd name="connsiteX15" fmla="*/ 151685 w 306403"/>
                  <a:gd name="connsiteY15" fmla="*/ 258229 h 258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06403" h="258229">
                    <a:moveTo>
                      <a:pt x="151685" y="258229"/>
                    </a:moveTo>
                    <a:cubicBezTo>
                      <a:pt x="148652" y="258229"/>
                      <a:pt x="145618" y="255196"/>
                      <a:pt x="145618" y="252162"/>
                    </a:cubicBezTo>
                    <a:cubicBezTo>
                      <a:pt x="139550" y="127779"/>
                      <a:pt x="3033" y="58005"/>
                      <a:pt x="3033" y="54971"/>
                    </a:cubicBezTo>
                    <a:cubicBezTo>
                      <a:pt x="0" y="54971"/>
                      <a:pt x="0" y="51937"/>
                      <a:pt x="0" y="51937"/>
                    </a:cubicBezTo>
                    <a:cubicBezTo>
                      <a:pt x="0" y="48903"/>
                      <a:pt x="0" y="48903"/>
                      <a:pt x="3033" y="45869"/>
                    </a:cubicBezTo>
                    <a:cubicBezTo>
                      <a:pt x="87977" y="-17838"/>
                      <a:pt x="200224" y="3398"/>
                      <a:pt x="203258" y="3398"/>
                    </a:cubicBezTo>
                    <a:cubicBezTo>
                      <a:pt x="203258" y="3398"/>
                      <a:pt x="206292" y="3398"/>
                      <a:pt x="206292" y="3398"/>
                    </a:cubicBezTo>
                    <a:cubicBezTo>
                      <a:pt x="206292" y="3398"/>
                      <a:pt x="306404" y="79240"/>
                      <a:pt x="306404" y="227892"/>
                    </a:cubicBezTo>
                    <a:cubicBezTo>
                      <a:pt x="306404" y="230926"/>
                      <a:pt x="303371" y="233959"/>
                      <a:pt x="300337" y="233959"/>
                    </a:cubicBezTo>
                    <a:lnTo>
                      <a:pt x="300337" y="233959"/>
                    </a:lnTo>
                    <a:cubicBezTo>
                      <a:pt x="297303" y="233959"/>
                      <a:pt x="294269" y="230926"/>
                      <a:pt x="294269" y="227892"/>
                    </a:cubicBezTo>
                    <a:cubicBezTo>
                      <a:pt x="294269" y="94409"/>
                      <a:pt x="209326" y="21600"/>
                      <a:pt x="200224" y="12499"/>
                    </a:cubicBezTo>
                    <a:cubicBezTo>
                      <a:pt x="188089" y="9465"/>
                      <a:pt x="91011" y="-2670"/>
                      <a:pt x="18202" y="48903"/>
                    </a:cubicBezTo>
                    <a:cubicBezTo>
                      <a:pt x="48539" y="67105"/>
                      <a:pt x="154718" y="136881"/>
                      <a:pt x="160786" y="249128"/>
                    </a:cubicBezTo>
                    <a:cubicBezTo>
                      <a:pt x="157752" y="255196"/>
                      <a:pt x="157752" y="258229"/>
                      <a:pt x="151685" y="258229"/>
                    </a:cubicBezTo>
                    <a:cubicBezTo>
                      <a:pt x="154718" y="258229"/>
                      <a:pt x="154718" y="258229"/>
                      <a:pt x="151685" y="2582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1CEF0056-C89B-450F-916B-94F981B7E644}"/>
                </a:ext>
              </a:extLst>
            </p:cNvPr>
            <p:cNvSpPr/>
            <p:nvPr/>
          </p:nvSpPr>
          <p:spPr>
            <a:xfrm>
              <a:off x="11988525" y="8447819"/>
              <a:ext cx="1034548" cy="1551084"/>
            </a:xfrm>
            <a:custGeom>
              <a:avLst/>
              <a:gdLst>
                <a:gd name="connsiteX0" fmla="*/ 367133 w 1034548"/>
                <a:gd name="connsiteY0" fmla="*/ 5393 h 1551084"/>
                <a:gd name="connsiteX1" fmla="*/ 455110 w 1034548"/>
                <a:gd name="connsiteY1" fmla="*/ 551460 h 1551084"/>
                <a:gd name="connsiteX2" fmla="*/ 752413 w 1034548"/>
                <a:gd name="connsiteY2" fmla="*/ 548427 h 1551084"/>
                <a:gd name="connsiteX3" fmla="*/ 764549 w 1034548"/>
                <a:gd name="connsiteY3" fmla="*/ 26629 h 1551084"/>
                <a:gd name="connsiteX4" fmla="*/ 864661 w 1034548"/>
                <a:gd name="connsiteY4" fmla="*/ 66067 h 1551084"/>
                <a:gd name="connsiteX5" fmla="*/ 873761 w 1034548"/>
                <a:gd name="connsiteY5" fmla="*/ 557528 h 1551084"/>
                <a:gd name="connsiteX6" fmla="*/ 1016346 w 1034548"/>
                <a:gd name="connsiteY6" fmla="*/ 769887 h 1551084"/>
                <a:gd name="connsiteX7" fmla="*/ 1034549 w 1034548"/>
                <a:gd name="connsiteY7" fmla="*/ 1522247 h 1551084"/>
                <a:gd name="connsiteX8" fmla="*/ 54 w 1034548"/>
                <a:gd name="connsiteY8" fmla="*/ 1497978 h 1551084"/>
                <a:gd name="connsiteX9" fmla="*/ 36459 w 1034548"/>
                <a:gd name="connsiteY9" fmla="*/ 772921 h 1551084"/>
                <a:gd name="connsiteX10" fmla="*/ 309493 w 1034548"/>
                <a:gd name="connsiteY10" fmla="*/ 548427 h 1551084"/>
                <a:gd name="connsiteX11" fmla="*/ 282188 w 1034548"/>
                <a:gd name="connsiteY11" fmla="*/ 29663 h 1551084"/>
                <a:gd name="connsiteX12" fmla="*/ 367133 w 1034548"/>
                <a:gd name="connsiteY12" fmla="*/ 5393 h 1551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34548" h="1551084">
                  <a:moveTo>
                    <a:pt x="367133" y="5393"/>
                  </a:moveTo>
                  <a:cubicBezTo>
                    <a:pt x="367133" y="5393"/>
                    <a:pt x="452076" y="248090"/>
                    <a:pt x="455110" y="551460"/>
                  </a:cubicBezTo>
                  <a:cubicBezTo>
                    <a:pt x="455110" y="551460"/>
                    <a:pt x="700841" y="572696"/>
                    <a:pt x="752413" y="548427"/>
                  </a:cubicBezTo>
                  <a:cubicBezTo>
                    <a:pt x="752413" y="548427"/>
                    <a:pt x="785784" y="123707"/>
                    <a:pt x="764549" y="26629"/>
                  </a:cubicBezTo>
                  <a:cubicBezTo>
                    <a:pt x="764549" y="26629"/>
                    <a:pt x="846458" y="35730"/>
                    <a:pt x="864661" y="66067"/>
                  </a:cubicBezTo>
                  <a:cubicBezTo>
                    <a:pt x="864661" y="66067"/>
                    <a:pt x="867695" y="493820"/>
                    <a:pt x="873761" y="557528"/>
                  </a:cubicBezTo>
                  <a:cubicBezTo>
                    <a:pt x="879829" y="624269"/>
                    <a:pt x="1016346" y="769887"/>
                    <a:pt x="1016346" y="769887"/>
                  </a:cubicBezTo>
                  <a:lnTo>
                    <a:pt x="1034549" y="1522247"/>
                  </a:lnTo>
                  <a:cubicBezTo>
                    <a:pt x="1034549" y="1522247"/>
                    <a:pt x="327694" y="1601124"/>
                    <a:pt x="54" y="1497978"/>
                  </a:cubicBezTo>
                  <a:cubicBezTo>
                    <a:pt x="54" y="1497978"/>
                    <a:pt x="-2980" y="1070225"/>
                    <a:pt x="36459" y="772921"/>
                  </a:cubicBezTo>
                  <a:cubicBezTo>
                    <a:pt x="112302" y="769887"/>
                    <a:pt x="288256" y="675843"/>
                    <a:pt x="309493" y="548427"/>
                  </a:cubicBezTo>
                  <a:cubicBezTo>
                    <a:pt x="333762" y="421011"/>
                    <a:pt x="348930" y="157078"/>
                    <a:pt x="282188" y="29663"/>
                  </a:cubicBezTo>
                  <a:cubicBezTo>
                    <a:pt x="282188" y="32696"/>
                    <a:pt x="330728" y="-15843"/>
                    <a:pt x="367133" y="5393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A9DC7C3B-C5E5-4E87-A141-74737948BDF9}"/>
                </a:ext>
              </a:extLst>
            </p:cNvPr>
            <p:cNvSpPr/>
            <p:nvPr/>
          </p:nvSpPr>
          <p:spPr>
            <a:xfrm>
              <a:off x="11988579" y="9830516"/>
              <a:ext cx="1037528" cy="160994"/>
            </a:xfrm>
            <a:custGeom>
              <a:avLst/>
              <a:gdLst>
                <a:gd name="connsiteX0" fmla="*/ 1034495 w 1037528"/>
                <a:gd name="connsiteY0" fmla="*/ 142585 h 160994"/>
                <a:gd name="connsiteX1" fmla="*/ 0 w 1037528"/>
                <a:gd name="connsiteY1" fmla="*/ 118314 h 160994"/>
                <a:gd name="connsiteX2" fmla="*/ 0 w 1037528"/>
                <a:gd name="connsiteY2" fmla="*/ 0 h 160994"/>
                <a:gd name="connsiteX3" fmla="*/ 1037529 w 1037528"/>
                <a:gd name="connsiteY3" fmla="*/ 33371 h 160994"/>
                <a:gd name="connsiteX4" fmla="*/ 1034495 w 1037528"/>
                <a:gd name="connsiteY4" fmla="*/ 142585 h 160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7528" h="160994">
                  <a:moveTo>
                    <a:pt x="1034495" y="142585"/>
                  </a:moveTo>
                  <a:cubicBezTo>
                    <a:pt x="1034495" y="142585"/>
                    <a:pt x="591573" y="197191"/>
                    <a:pt x="0" y="118314"/>
                  </a:cubicBezTo>
                  <a:lnTo>
                    <a:pt x="0" y="0"/>
                  </a:lnTo>
                  <a:cubicBezTo>
                    <a:pt x="0" y="0"/>
                    <a:pt x="658315" y="57640"/>
                    <a:pt x="1037529" y="33371"/>
                  </a:cubicBezTo>
                  <a:lnTo>
                    <a:pt x="1034495" y="142585"/>
                  </a:ln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2" name="图形 1">
              <a:extLst>
                <a:ext uri="{FF2B5EF4-FFF2-40B4-BE49-F238E27FC236}">
                  <a16:creationId xmlns:a16="http://schemas.microsoft.com/office/drawing/2014/main" id="{0CF0A73F-4245-4FFE-BA79-08F0BA2B97C9}"/>
                </a:ext>
              </a:extLst>
            </p:cNvPr>
            <p:cNvGrpSpPr/>
            <p:nvPr/>
          </p:nvGrpSpPr>
          <p:grpSpPr>
            <a:xfrm>
              <a:off x="12507343" y="9842650"/>
              <a:ext cx="215393" cy="163820"/>
              <a:chOff x="12507343" y="9842650"/>
              <a:chExt cx="215393" cy="163820"/>
            </a:xfrm>
          </p:grpSpPr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D774B344-2334-4C2A-8694-17E32509955E}"/>
                  </a:ext>
                </a:extLst>
              </p:cNvPr>
              <p:cNvSpPr/>
              <p:nvPr/>
            </p:nvSpPr>
            <p:spPr>
              <a:xfrm>
                <a:off x="12507343" y="9842650"/>
                <a:ext cx="215393" cy="163820"/>
              </a:xfrm>
              <a:custGeom>
                <a:avLst/>
                <a:gdLst>
                  <a:gd name="connsiteX0" fmla="*/ 194157 w 215393"/>
                  <a:gd name="connsiteY0" fmla="*/ 163821 h 163820"/>
                  <a:gd name="connsiteX1" fmla="*/ 21235 w 215393"/>
                  <a:gd name="connsiteY1" fmla="*/ 163821 h 163820"/>
                  <a:gd name="connsiteX2" fmla="*/ 0 w 215393"/>
                  <a:gd name="connsiteY2" fmla="*/ 142585 h 163820"/>
                  <a:gd name="connsiteX3" fmla="*/ 0 w 215393"/>
                  <a:gd name="connsiteY3" fmla="*/ 21236 h 163820"/>
                  <a:gd name="connsiteX4" fmla="*/ 21235 w 215393"/>
                  <a:gd name="connsiteY4" fmla="*/ 0 h 163820"/>
                  <a:gd name="connsiteX5" fmla="*/ 194157 w 215393"/>
                  <a:gd name="connsiteY5" fmla="*/ 0 h 163820"/>
                  <a:gd name="connsiteX6" fmla="*/ 215393 w 215393"/>
                  <a:gd name="connsiteY6" fmla="*/ 21236 h 163820"/>
                  <a:gd name="connsiteX7" fmla="*/ 215393 w 215393"/>
                  <a:gd name="connsiteY7" fmla="*/ 142585 h 163820"/>
                  <a:gd name="connsiteX8" fmla="*/ 194157 w 215393"/>
                  <a:gd name="connsiteY8" fmla="*/ 163821 h 163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5393" h="163820">
                    <a:moveTo>
                      <a:pt x="194157" y="163821"/>
                    </a:moveTo>
                    <a:lnTo>
                      <a:pt x="21235" y="163821"/>
                    </a:lnTo>
                    <a:cubicBezTo>
                      <a:pt x="9101" y="163821"/>
                      <a:pt x="0" y="154719"/>
                      <a:pt x="0" y="142585"/>
                    </a:cubicBezTo>
                    <a:lnTo>
                      <a:pt x="0" y="21236"/>
                    </a:lnTo>
                    <a:cubicBezTo>
                      <a:pt x="0" y="9102"/>
                      <a:pt x="9101" y="0"/>
                      <a:pt x="21235" y="0"/>
                    </a:cubicBezTo>
                    <a:lnTo>
                      <a:pt x="194157" y="0"/>
                    </a:lnTo>
                    <a:cubicBezTo>
                      <a:pt x="206292" y="0"/>
                      <a:pt x="215393" y="9102"/>
                      <a:pt x="215393" y="21236"/>
                    </a:cubicBezTo>
                    <a:lnTo>
                      <a:pt x="215393" y="142585"/>
                    </a:lnTo>
                    <a:cubicBezTo>
                      <a:pt x="215393" y="154719"/>
                      <a:pt x="206292" y="163821"/>
                      <a:pt x="194157" y="163821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354959AD-67F1-4340-B90A-1E81769E5810}"/>
                  </a:ext>
                </a:extLst>
              </p:cNvPr>
              <p:cNvSpPr/>
              <p:nvPr/>
            </p:nvSpPr>
            <p:spPr>
              <a:xfrm>
                <a:off x="12537680" y="9869954"/>
                <a:ext cx="157752" cy="118314"/>
              </a:xfrm>
              <a:custGeom>
                <a:avLst/>
                <a:gdLst>
                  <a:gd name="connsiteX0" fmla="*/ 142584 w 157752"/>
                  <a:gd name="connsiteY0" fmla="*/ 118314 h 118314"/>
                  <a:gd name="connsiteX1" fmla="*/ 15169 w 157752"/>
                  <a:gd name="connsiteY1" fmla="*/ 118314 h 118314"/>
                  <a:gd name="connsiteX2" fmla="*/ 0 w 157752"/>
                  <a:gd name="connsiteY2" fmla="*/ 103146 h 118314"/>
                  <a:gd name="connsiteX3" fmla="*/ 0 w 157752"/>
                  <a:gd name="connsiteY3" fmla="*/ 15169 h 118314"/>
                  <a:gd name="connsiteX4" fmla="*/ 15169 w 157752"/>
                  <a:gd name="connsiteY4" fmla="*/ 0 h 118314"/>
                  <a:gd name="connsiteX5" fmla="*/ 142584 w 157752"/>
                  <a:gd name="connsiteY5" fmla="*/ 0 h 118314"/>
                  <a:gd name="connsiteX6" fmla="*/ 157752 w 157752"/>
                  <a:gd name="connsiteY6" fmla="*/ 15169 h 118314"/>
                  <a:gd name="connsiteX7" fmla="*/ 157752 w 157752"/>
                  <a:gd name="connsiteY7" fmla="*/ 103146 h 118314"/>
                  <a:gd name="connsiteX8" fmla="*/ 142584 w 157752"/>
                  <a:gd name="connsiteY8" fmla="*/ 118314 h 11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752" h="118314">
                    <a:moveTo>
                      <a:pt x="142584" y="118314"/>
                    </a:moveTo>
                    <a:lnTo>
                      <a:pt x="15169" y="118314"/>
                    </a:lnTo>
                    <a:cubicBezTo>
                      <a:pt x="6067" y="118314"/>
                      <a:pt x="0" y="112247"/>
                      <a:pt x="0" y="103146"/>
                    </a:cubicBezTo>
                    <a:lnTo>
                      <a:pt x="0" y="15169"/>
                    </a:lnTo>
                    <a:cubicBezTo>
                      <a:pt x="0" y="6067"/>
                      <a:pt x="6067" y="0"/>
                      <a:pt x="15169" y="0"/>
                    </a:cubicBezTo>
                    <a:lnTo>
                      <a:pt x="142584" y="0"/>
                    </a:lnTo>
                    <a:cubicBezTo>
                      <a:pt x="151685" y="0"/>
                      <a:pt x="157752" y="6067"/>
                      <a:pt x="157752" y="15169"/>
                    </a:cubicBezTo>
                    <a:lnTo>
                      <a:pt x="157752" y="103146"/>
                    </a:lnTo>
                    <a:cubicBezTo>
                      <a:pt x="157752" y="109213"/>
                      <a:pt x="151685" y="118314"/>
                      <a:pt x="142584" y="118314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41B11073-77EE-4B4E-8C8D-050AB007AE6F}"/>
                </a:ext>
              </a:extLst>
            </p:cNvPr>
            <p:cNvSpPr/>
            <p:nvPr/>
          </p:nvSpPr>
          <p:spPr>
            <a:xfrm>
              <a:off x="12437166" y="9153999"/>
              <a:ext cx="376581" cy="288202"/>
            </a:xfrm>
            <a:custGeom>
              <a:avLst/>
              <a:gdLst>
                <a:gd name="connsiteX0" fmla="*/ 206694 w 376581"/>
                <a:gd name="connsiteY0" fmla="*/ 288202 h 288202"/>
                <a:gd name="connsiteX1" fmla="*/ 206694 w 376581"/>
                <a:gd name="connsiteY1" fmla="*/ 288202 h 288202"/>
                <a:gd name="connsiteX2" fmla="*/ 15570 w 376581"/>
                <a:gd name="connsiteY2" fmla="*/ 209326 h 288202"/>
                <a:gd name="connsiteX3" fmla="*/ 12537 w 376581"/>
                <a:gd name="connsiteY3" fmla="*/ 209326 h 288202"/>
                <a:gd name="connsiteX4" fmla="*/ 12537 w 376581"/>
                <a:gd name="connsiteY4" fmla="*/ 206292 h 288202"/>
                <a:gd name="connsiteX5" fmla="*/ 401 w 376581"/>
                <a:gd name="connsiteY5" fmla="*/ 6067 h 288202"/>
                <a:gd name="connsiteX6" fmla="*/ 401 w 376581"/>
                <a:gd name="connsiteY6" fmla="*/ 0 h 288202"/>
                <a:gd name="connsiteX7" fmla="*/ 6469 w 376581"/>
                <a:gd name="connsiteY7" fmla="*/ 0 h 288202"/>
                <a:gd name="connsiteX8" fmla="*/ 370514 w 376581"/>
                <a:gd name="connsiteY8" fmla="*/ 0 h 288202"/>
                <a:gd name="connsiteX9" fmla="*/ 376582 w 376581"/>
                <a:gd name="connsiteY9" fmla="*/ 0 h 288202"/>
                <a:gd name="connsiteX10" fmla="*/ 361413 w 376581"/>
                <a:gd name="connsiteY10" fmla="*/ 175955 h 288202"/>
                <a:gd name="connsiteX11" fmla="*/ 358379 w 376581"/>
                <a:gd name="connsiteY11" fmla="*/ 175955 h 288202"/>
                <a:gd name="connsiteX12" fmla="*/ 206694 w 376581"/>
                <a:gd name="connsiteY12" fmla="*/ 288202 h 288202"/>
                <a:gd name="connsiteX13" fmla="*/ 206694 w 376581"/>
                <a:gd name="connsiteY13" fmla="*/ 288202 h 288202"/>
                <a:gd name="connsiteX14" fmla="*/ 24671 w 376581"/>
                <a:gd name="connsiteY14" fmla="*/ 200224 h 288202"/>
                <a:gd name="connsiteX15" fmla="*/ 206694 w 376581"/>
                <a:gd name="connsiteY15" fmla="*/ 276067 h 288202"/>
                <a:gd name="connsiteX16" fmla="*/ 349277 w 376581"/>
                <a:gd name="connsiteY16" fmla="*/ 169887 h 288202"/>
                <a:gd name="connsiteX17" fmla="*/ 361413 w 376581"/>
                <a:gd name="connsiteY17" fmla="*/ 12135 h 288202"/>
                <a:gd name="connsiteX18" fmla="*/ 9503 w 376581"/>
                <a:gd name="connsiteY18" fmla="*/ 12135 h 288202"/>
                <a:gd name="connsiteX19" fmla="*/ 24671 w 376581"/>
                <a:gd name="connsiteY19" fmla="*/ 200224 h 28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76581" h="288202">
                  <a:moveTo>
                    <a:pt x="206694" y="288202"/>
                  </a:moveTo>
                  <a:lnTo>
                    <a:pt x="206694" y="288202"/>
                  </a:lnTo>
                  <a:cubicBezTo>
                    <a:pt x="197592" y="285168"/>
                    <a:pt x="45907" y="224494"/>
                    <a:pt x="15570" y="209326"/>
                  </a:cubicBezTo>
                  <a:lnTo>
                    <a:pt x="12537" y="209326"/>
                  </a:lnTo>
                  <a:lnTo>
                    <a:pt x="12537" y="206292"/>
                  </a:lnTo>
                  <a:cubicBezTo>
                    <a:pt x="12537" y="206292"/>
                    <a:pt x="-2632" y="78876"/>
                    <a:pt x="401" y="6067"/>
                  </a:cubicBezTo>
                  <a:lnTo>
                    <a:pt x="401" y="0"/>
                  </a:lnTo>
                  <a:lnTo>
                    <a:pt x="6469" y="0"/>
                  </a:lnTo>
                  <a:cubicBezTo>
                    <a:pt x="9503" y="0"/>
                    <a:pt x="176357" y="15169"/>
                    <a:pt x="370514" y="0"/>
                  </a:cubicBezTo>
                  <a:lnTo>
                    <a:pt x="376582" y="0"/>
                  </a:lnTo>
                  <a:lnTo>
                    <a:pt x="361413" y="175955"/>
                  </a:lnTo>
                  <a:lnTo>
                    <a:pt x="358379" y="175955"/>
                  </a:lnTo>
                  <a:cubicBezTo>
                    <a:pt x="349277" y="185056"/>
                    <a:pt x="237031" y="279101"/>
                    <a:pt x="206694" y="288202"/>
                  </a:cubicBezTo>
                  <a:lnTo>
                    <a:pt x="206694" y="288202"/>
                  </a:lnTo>
                  <a:close/>
                  <a:moveTo>
                    <a:pt x="24671" y="200224"/>
                  </a:moveTo>
                  <a:cubicBezTo>
                    <a:pt x="58042" y="215393"/>
                    <a:pt x="191525" y="266966"/>
                    <a:pt x="206694" y="276067"/>
                  </a:cubicBezTo>
                  <a:cubicBezTo>
                    <a:pt x="230963" y="266966"/>
                    <a:pt x="315907" y="197191"/>
                    <a:pt x="349277" y="169887"/>
                  </a:cubicBezTo>
                  <a:lnTo>
                    <a:pt x="361413" y="12135"/>
                  </a:lnTo>
                  <a:cubicBezTo>
                    <a:pt x="191525" y="27303"/>
                    <a:pt x="39840" y="15169"/>
                    <a:pt x="9503" y="12135"/>
                  </a:cubicBezTo>
                  <a:cubicBezTo>
                    <a:pt x="9503" y="75843"/>
                    <a:pt x="21637" y="182022"/>
                    <a:pt x="24671" y="200224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C8A924F2-C1C9-4506-A90D-594918CFF648}"/>
                </a:ext>
              </a:extLst>
            </p:cNvPr>
            <p:cNvSpPr/>
            <p:nvPr/>
          </p:nvSpPr>
          <p:spPr>
            <a:xfrm>
              <a:off x="12607265" y="12154336"/>
              <a:ext cx="361200" cy="140793"/>
            </a:xfrm>
            <a:custGeom>
              <a:avLst/>
              <a:gdLst>
                <a:gd name="connsiteX0" fmla="*/ 190 w 361200"/>
                <a:gd name="connsiteY0" fmla="*/ 30337 h 140793"/>
                <a:gd name="connsiteX1" fmla="*/ 15358 w 361200"/>
                <a:gd name="connsiteY1" fmla="*/ 139551 h 140793"/>
                <a:gd name="connsiteX2" fmla="*/ 361201 w 361200"/>
                <a:gd name="connsiteY2" fmla="*/ 100112 h 140793"/>
                <a:gd name="connsiteX3" fmla="*/ 349066 w 361200"/>
                <a:gd name="connsiteY3" fmla="*/ 0 h 140793"/>
                <a:gd name="connsiteX4" fmla="*/ 190 w 361200"/>
                <a:gd name="connsiteY4" fmla="*/ 30337 h 14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200" h="140793">
                  <a:moveTo>
                    <a:pt x="190" y="30337"/>
                  </a:moveTo>
                  <a:cubicBezTo>
                    <a:pt x="190" y="30337"/>
                    <a:pt x="-2844" y="94045"/>
                    <a:pt x="15358" y="139551"/>
                  </a:cubicBezTo>
                  <a:cubicBezTo>
                    <a:pt x="15358" y="139551"/>
                    <a:pt x="206482" y="151685"/>
                    <a:pt x="361201" y="100112"/>
                  </a:cubicBezTo>
                  <a:cubicBezTo>
                    <a:pt x="361201" y="100112"/>
                    <a:pt x="361201" y="42472"/>
                    <a:pt x="349066" y="0"/>
                  </a:cubicBezTo>
                  <a:cubicBezTo>
                    <a:pt x="349066" y="0"/>
                    <a:pt x="100303" y="48540"/>
                    <a:pt x="190" y="30337"/>
                  </a:cubicBezTo>
                  <a:close/>
                </a:path>
              </a:pathLst>
            </a:custGeom>
            <a:solidFill>
              <a:srgbClr val="9DB3D1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CB07F20B-0090-4E85-AA77-95F5FD6CC489}"/>
                </a:ext>
              </a:extLst>
            </p:cNvPr>
            <p:cNvSpPr/>
            <p:nvPr/>
          </p:nvSpPr>
          <p:spPr>
            <a:xfrm>
              <a:off x="11685208" y="11945010"/>
              <a:ext cx="394382" cy="273033"/>
            </a:xfrm>
            <a:custGeom>
              <a:avLst/>
              <a:gdLst>
                <a:gd name="connsiteX0" fmla="*/ 45506 w 394382"/>
                <a:gd name="connsiteY0" fmla="*/ 0 h 273033"/>
                <a:gd name="connsiteX1" fmla="*/ 0 w 394382"/>
                <a:gd name="connsiteY1" fmla="*/ 100112 h 273033"/>
                <a:gd name="connsiteX2" fmla="*/ 351910 w 394382"/>
                <a:gd name="connsiteY2" fmla="*/ 273034 h 273033"/>
                <a:gd name="connsiteX3" fmla="*/ 394382 w 394382"/>
                <a:gd name="connsiteY3" fmla="*/ 182022 h 273033"/>
                <a:gd name="connsiteX4" fmla="*/ 45506 w 394382"/>
                <a:gd name="connsiteY4" fmla="*/ 0 h 27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382" h="273033">
                  <a:moveTo>
                    <a:pt x="45506" y="0"/>
                  </a:moveTo>
                  <a:cubicBezTo>
                    <a:pt x="45506" y="0"/>
                    <a:pt x="9101" y="54606"/>
                    <a:pt x="0" y="100112"/>
                  </a:cubicBezTo>
                  <a:cubicBezTo>
                    <a:pt x="0" y="100112"/>
                    <a:pt x="194157" y="236629"/>
                    <a:pt x="351910" y="273034"/>
                  </a:cubicBezTo>
                  <a:cubicBezTo>
                    <a:pt x="351910" y="273034"/>
                    <a:pt x="382247" y="224494"/>
                    <a:pt x="394382" y="182022"/>
                  </a:cubicBezTo>
                  <a:cubicBezTo>
                    <a:pt x="394382" y="182022"/>
                    <a:pt x="121348" y="66741"/>
                    <a:pt x="45506" y="0"/>
                  </a:cubicBezTo>
                  <a:close/>
                </a:path>
              </a:pathLst>
            </a:custGeom>
            <a:solidFill>
              <a:srgbClr val="9DB3D1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F7C82991-CCAC-4BFB-9A0F-CACCC674FA41}"/>
                </a:ext>
              </a:extLst>
            </p:cNvPr>
            <p:cNvSpPr/>
            <p:nvPr/>
          </p:nvSpPr>
          <p:spPr>
            <a:xfrm>
              <a:off x="11396323" y="8808156"/>
              <a:ext cx="634727" cy="1101236"/>
            </a:xfrm>
            <a:custGeom>
              <a:avLst/>
              <a:gdLst>
                <a:gd name="connsiteX0" fmla="*/ 634728 w 634727"/>
                <a:gd name="connsiteY0" fmla="*/ 160787 h 1101236"/>
                <a:gd name="connsiteX1" fmla="*/ 273717 w 634727"/>
                <a:gd name="connsiteY1" fmla="*/ 624944 h 1101236"/>
                <a:gd name="connsiteX2" fmla="*/ 631694 w 634727"/>
                <a:gd name="connsiteY2" fmla="*/ 1019326 h 1101236"/>
                <a:gd name="connsiteX3" fmla="*/ 492144 w 634727"/>
                <a:gd name="connsiteY3" fmla="*/ 1101236 h 1101236"/>
                <a:gd name="connsiteX4" fmla="*/ 3717 w 634727"/>
                <a:gd name="connsiteY4" fmla="*/ 637079 h 1101236"/>
                <a:gd name="connsiteX5" fmla="*/ 398099 w 634727"/>
                <a:gd name="connsiteY5" fmla="*/ 0 h 1101236"/>
                <a:gd name="connsiteX6" fmla="*/ 634728 w 634727"/>
                <a:gd name="connsiteY6" fmla="*/ 160787 h 110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4727" h="1101236">
                  <a:moveTo>
                    <a:pt x="634728" y="160787"/>
                  </a:moveTo>
                  <a:lnTo>
                    <a:pt x="273717" y="624944"/>
                  </a:lnTo>
                  <a:lnTo>
                    <a:pt x="631694" y="1019326"/>
                  </a:lnTo>
                  <a:lnTo>
                    <a:pt x="492144" y="1101236"/>
                  </a:lnTo>
                  <a:cubicBezTo>
                    <a:pt x="492144" y="1101236"/>
                    <a:pt x="52256" y="755394"/>
                    <a:pt x="3717" y="637079"/>
                  </a:cubicBezTo>
                  <a:cubicBezTo>
                    <a:pt x="-44823" y="518764"/>
                    <a:pt x="398099" y="0"/>
                    <a:pt x="398099" y="0"/>
                  </a:cubicBezTo>
                  <a:lnTo>
                    <a:pt x="634728" y="160787"/>
                  </a:ln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DC207E65-72F2-4B1A-A75C-B98169561764}"/>
                </a:ext>
              </a:extLst>
            </p:cNvPr>
            <p:cNvSpPr/>
            <p:nvPr/>
          </p:nvSpPr>
          <p:spPr>
            <a:xfrm>
              <a:off x="11612399" y="8939364"/>
              <a:ext cx="423960" cy="502837"/>
            </a:xfrm>
            <a:custGeom>
              <a:avLst/>
              <a:gdLst>
                <a:gd name="connsiteX0" fmla="*/ 57640 w 423960"/>
                <a:gd name="connsiteY0" fmla="*/ 499803 h 502837"/>
                <a:gd name="connsiteX1" fmla="*/ 57640 w 423960"/>
                <a:gd name="connsiteY1" fmla="*/ 499803 h 502837"/>
                <a:gd name="connsiteX2" fmla="*/ 3034 w 423960"/>
                <a:gd name="connsiteY2" fmla="*/ 490702 h 502837"/>
                <a:gd name="connsiteX3" fmla="*/ 0 w 423960"/>
                <a:gd name="connsiteY3" fmla="*/ 484635 h 502837"/>
                <a:gd name="connsiteX4" fmla="*/ 6067 w 423960"/>
                <a:gd name="connsiteY4" fmla="*/ 481601 h 502837"/>
                <a:gd name="connsiteX5" fmla="*/ 51572 w 423960"/>
                <a:gd name="connsiteY5" fmla="*/ 490702 h 502837"/>
                <a:gd name="connsiteX6" fmla="*/ 412584 w 423960"/>
                <a:gd name="connsiteY6" fmla="*/ 2275 h 502837"/>
                <a:gd name="connsiteX7" fmla="*/ 421685 w 423960"/>
                <a:gd name="connsiteY7" fmla="*/ 2275 h 502837"/>
                <a:gd name="connsiteX8" fmla="*/ 421685 w 423960"/>
                <a:gd name="connsiteY8" fmla="*/ 11376 h 502837"/>
                <a:gd name="connsiteX9" fmla="*/ 57640 w 423960"/>
                <a:gd name="connsiteY9" fmla="*/ 502837 h 502837"/>
                <a:gd name="connsiteX10" fmla="*/ 57640 w 423960"/>
                <a:gd name="connsiteY10" fmla="*/ 499803 h 502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3960" h="502837">
                  <a:moveTo>
                    <a:pt x="57640" y="499803"/>
                  </a:moveTo>
                  <a:cubicBezTo>
                    <a:pt x="57640" y="499803"/>
                    <a:pt x="57640" y="499803"/>
                    <a:pt x="57640" y="499803"/>
                  </a:cubicBezTo>
                  <a:cubicBezTo>
                    <a:pt x="54606" y="499803"/>
                    <a:pt x="24269" y="496769"/>
                    <a:pt x="3034" y="490702"/>
                  </a:cubicBezTo>
                  <a:cubicBezTo>
                    <a:pt x="0" y="490702"/>
                    <a:pt x="0" y="487669"/>
                    <a:pt x="0" y="484635"/>
                  </a:cubicBezTo>
                  <a:cubicBezTo>
                    <a:pt x="0" y="481601"/>
                    <a:pt x="3034" y="481601"/>
                    <a:pt x="6067" y="481601"/>
                  </a:cubicBezTo>
                  <a:cubicBezTo>
                    <a:pt x="21235" y="487669"/>
                    <a:pt x="45506" y="490702"/>
                    <a:pt x="51572" y="490702"/>
                  </a:cubicBezTo>
                  <a:cubicBezTo>
                    <a:pt x="121348" y="402725"/>
                    <a:pt x="409551" y="5309"/>
                    <a:pt x="412584" y="2275"/>
                  </a:cubicBezTo>
                  <a:cubicBezTo>
                    <a:pt x="415617" y="-758"/>
                    <a:pt x="418651" y="-758"/>
                    <a:pt x="421685" y="2275"/>
                  </a:cubicBezTo>
                  <a:cubicBezTo>
                    <a:pt x="424719" y="5309"/>
                    <a:pt x="424719" y="8343"/>
                    <a:pt x="421685" y="11376"/>
                  </a:cubicBezTo>
                  <a:cubicBezTo>
                    <a:pt x="418651" y="14410"/>
                    <a:pt x="124382" y="420927"/>
                    <a:pt x="57640" y="502837"/>
                  </a:cubicBezTo>
                  <a:cubicBezTo>
                    <a:pt x="60674" y="496769"/>
                    <a:pt x="60674" y="499803"/>
                    <a:pt x="57640" y="499803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63A2B1A8-DF84-4EAA-936E-C46F9B3C94BA}"/>
                </a:ext>
              </a:extLst>
            </p:cNvPr>
            <p:cNvSpPr/>
            <p:nvPr/>
          </p:nvSpPr>
          <p:spPr>
            <a:xfrm>
              <a:off x="11697342" y="8517382"/>
              <a:ext cx="546295" cy="575942"/>
            </a:xfrm>
            <a:custGeom>
              <a:avLst/>
              <a:gdLst>
                <a:gd name="connsiteX0" fmla="*/ 0 w 546295"/>
                <a:gd name="connsiteY0" fmla="*/ 333246 h 575942"/>
                <a:gd name="connsiteX1" fmla="*/ 503596 w 546295"/>
                <a:gd name="connsiteY1" fmla="*/ 11673 h 575942"/>
                <a:gd name="connsiteX2" fmla="*/ 342810 w 546295"/>
                <a:gd name="connsiteY2" fmla="*/ 575943 h 575942"/>
                <a:gd name="connsiteX3" fmla="*/ 0 w 546295"/>
                <a:gd name="connsiteY3" fmla="*/ 333246 h 575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6295" h="575942">
                  <a:moveTo>
                    <a:pt x="0" y="333246"/>
                  </a:moveTo>
                  <a:cubicBezTo>
                    <a:pt x="0" y="333246"/>
                    <a:pt x="321573" y="-73271"/>
                    <a:pt x="503596" y="11673"/>
                  </a:cubicBezTo>
                  <a:cubicBezTo>
                    <a:pt x="658315" y="84482"/>
                    <a:pt x="342810" y="575943"/>
                    <a:pt x="342810" y="575943"/>
                  </a:cubicBezTo>
                  <a:cubicBezTo>
                    <a:pt x="342810" y="575943"/>
                    <a:pt x="127416" y="506167"/>
                    <a:pt x="0" y="333246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A92F3677-3577-4C0E-842F-8BA72B210265}"/>
                </a:ext>
              </a:extLst>
            </p:cNvPr>
            <p:cNvSpPr/>
            <p:nvPr/>
          </p:nvSpPr>
          <p:spPr>
            <a:xfrm>
              <a:off x="11912736" y="8520712"/>
              <a:ext cx="333172" cy="581713"/>
            </a:xfrm>
            <a:custGeom>
              <a:avLst/>
              <a:gdLst>
                <a:gd name="connsiteX0" fmla="*/ 130449 w 333172"/>
                <a:gd name="connsiteY0" fmla="*/ 581713 h 581713"/>
                <a:gd name="connsiteX1" fmla="*/ 127416 w 333172"/>
                <a:gd name="connsiteY1" fmla="*/ 581713 h 581713"/>
                <a:gd name="connsiteX2" fmla="*/ 3034 w 333172"/>
                <a:gd name="connsiteY2" fmla="*/ 524073 h 581713"/>
                <a:gd name="connsiteX3" fmla="*/ 0 w 333172"/>
                <a:gd name="connsiteY3" fmla="*/ 514972 h 581713"/>
                <a:gd name="connsiteX4" fmla="*/ 9101 w 333172"/>
                <a:gd name="connsiteY4" fmla="*/ 511938 h 581713"/>
                <a:gd name="connsiteX5" fmla="*/ 127416 w 333172"/>
                <a:gd name="connsiteY5" fmla="*/ 566545 h 581713"/>
                <a:gd name="connsiteX6" fmla="*/ 288202 w 333172"/>
                <a:gd name="connsiteY6" fmla="*/ 251039 h 581713"/>
                <a:gd name="connsiteX7" fmla="*/ 285168 w 333172"/>
                <a:gd name="connsiteY7" fmla="*/ 11377 h 581713"/>
                <a:gd name="connsiteX8" fmla="*/ 285168 w 333172"/>
                <a:gd name="connsiteY8" fmla="*/ 2275 h 581713"/>
                <a:gd name="connsiteX9" fmla="*/ 294270 w 333172"/>
                <a:gd name="connsiteY9" fmla="*/ 2275 h 581713"/>
                <a:gd name="connsiteX10" fmla="*/ 300337 w 333172"/>
                <a:gd name="connsiteY10" fmla="*/ 254073 h 581713"/>
                <a:gd name="connsiteX11" fmla="*/ 136517 w 333172"/>
                <a:gd name="connsiteY11" fmla="*/ 572613 h 581713"/>
                <a:gd name="connsiteX12" fmla="*/ 130449 w 333172"/>
                <a:gd name="connsiteY12" fmla="*/ 581713 h 58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3172" h="581713">
                  <a:moveTo>
                    <a:pt x="130449" y="581713"/>
                  </a:moveTo>
                  <a:lnTo>
                    <a:pt x="127416" y="581713"/>
                  </a:lnTo>
                  <a:cubicBezTo>
                    <a:pt x="127416" y="581713"/>
                    <a:pt x="57640" y="560478"/>
                    <a:pt x="3034" y="524073"/>
                  </a:cubicBezTo>
                  <a:cubicBezTo>
                    <a:pt x="0" y="521039"/>
                    <a:pt x="0" y="518006"/>
                    <a:pt x="0" y="514972"/>
                  </a:cubicBezTo>
                  <a:cubicBezTo>
                    <a:pt x="3034" y="511938"/>
                    <a:pt x="6068" y="511938"/>
                    <a:pt x="9101" y="511938"/>
                  </a:cubicBezTo>
                  <a:cubicBezTo>
                    <a:pt x="54606" y="542276"/>
                    <a:pt x="112248" y="560478"/>
                    <a:pt x="127416" y="566545"/>
                  </a:cubicBezTo>
                  <a:cubicBezTo>
                    <a:pt x="142585" y="542276"/>
                    <a:pt x="221460" y="402725"/>
                    <a:pt x="288202" y="251039"/>
                  </a:cubicBezTo>
                  <a:cubicBezTo>
                    <a:pt x="364045" y="90253"/>
                    <a:pt x="285168" y="11377"/>
                    <a:pt x="285168" y="11377"/>
                  </a:cubicBezTo>
                  <a:cubicBezTo>
                    <a:pt x="282134" y="8343"/>
                    <a:pt x="282134" y="5309"/>
                    <a:pt x="285168" y="2275"/>
                  </a:cubicBezTo>
                  <a:cubicBezTo>
                    <a:pt x="288202" y="-758"/>
                    <a:pt x="291236" y="-758"/>
                    <a:pt x="294270" y="2275"/>
                  </a:cubicBezTo>
                  <a:cubicBezTo>
                    <a:pt x="297303" y="5309"/>
                    <a:pt x="376180" y="87219"/>
                    <a:pt x="300337" y="254073"/>
                  </a:cubicBezTo>
                  <a:cubicBezTo>
                    <a:pt x="224494" y="417893"/>
                    <a:pt x="136517" y="572613"/>
                    <a:pt x="136517" y="572613"/>
                  </a:cubicBezTo>
                  <a:lnTo>
                    <a:pt x="130449" y="581713"/>
                  </a:ln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0" name="图形 1">
              <a:extLst>
                <a:ext uri="{FF2B5EF4-FFF2-40B4-BE49-F238E27FC236}">
                  <a16:creationId xmlns:a16="http://schemas.microsoft.com/office/drawing/2014/main" id="{34DBA183-1F60-46A4-8C3F-F22D375F9FEB}"/>
                </a:ext>
              </a:extLst>
            </p:cNvPr>
            <p:cNvGrpSpPr/>
            <p:nvPr/>
          </p:nvGrpSpPr>
          <p:grpSpPr>
            <a:xfrm>
              <a:off x="11536556" y="9948498"/>
              <a:ext cx="922247" cy="1029896"/>
              <a:chOff x="11536556" y="9948498"/>
              <a:chExt cx="922247" cy="1029896"/>
            </a:xfrm>
          </p:grpSpPr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7049EF23-D547-41D2-AA87-0729562EF13B}"/>
                  </a:ext>
                </a:extLst>
              </p:cNvPr>
              <p:cNvSpPr/>
              <p:nvPr/>
            </p:nvSpPr>
            <p:spPr>
              <a:xfrm>
                <a:off x="11536556" y="10437257"/>
                <a:ext cx="588539" cy="541137"/>
              </a:xfrm>
              <a:custGeom>
                <a:avLst/>
                <a:gdLst>
                  <a:gd name="connsiteX0" fmla="*/ 491460 w 588539"/>
                  <a:gd name="connsiteY0" fmla="*/ 148652 h 541137"/>
                  <a:gd name="connsiteX1" fmla="*/ 512696 w 588539"/>
                  <a:gd name="connsiteY1" fmla="*/ 455056 h 541137"/>
                  <a:gd name="connsiteX2" fmla="*/ 518764 w 588539"/>
                  <a:gd name="connsiteY2" fmla="*/ 455056 h 541137"/>
                  <a:gd name="connsiteX3" fmla="*/ 588539 w 588539"/>
                  <a:gd name="connsiteY3" fmla="*/ 479326 h 541137"/>
                  <a:gd name="connsiteX4" fmla="*/ 573371 w 588539"/>
                  <a:gd name="connsiteY4" fmla="*/ 536967 h 541137"/>
                  <a:gd name="connsiteX5" fmla="*/ 555168 w 588539"/>
                  <a:gd name="connsiteY5" fmla="*/ 540001 h 541137"/>
                  <a:gd name="connsiteX6" fmla="*/ 485393 w 588539"/>
                  <a:gd name="connsiteY6" fmla="*/ 530899 h 541137"/>
                  <a:gd name="connsiteX7" fmla="*/ 21235 w 588539"/>
                  <a:gd name="connsiteY7" fmla="*/ 348876 h 541137"/>
                  <a:gd name="connsiteX8" fmla="*/ 0 w 588539"/>
                  <a:gd name="connsiteY8" fmla="*/ 318539 h 541137"/>
                  <a:gd name="connsiteX9" fmla="*/ 0 w 588539"/>
                  <a:gd name="connsiteY9" fmla="*/ 0 h 541137"/>
                  <a:gd name="connsiteX10" fmla="*/ 491460 w 588539"/>
                  <a:gd name="connsiteY10" fmla="*/ 148652 h 54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8539" h="541137">
                    <a:moveTo>
                      <a:pt x="491460" y="148652"/>
                    </a:moveTo>
                    <a:lnTo>
                      <a:pt x="512696" y="455056"/>
                    </a:lnTo>
                    <a:lnTo>
                      <a:pt x="518764" y="455056"/>
                    </a:lnTo>
                    <a:lnTo>
                      <a:pt x="588539" y="479326"/>
                    </a:lnTo>
                    <a:lnTo>
                      <a:pt x="573371" y="536967"/>
                    </a:lnTo>
                    <a:lnTo>
                      <a:pt x="555168" y="540001"/>
                    </a:lnTo>
                    <a:cubicBezTo>
                      <a:pt x="530899" y="543034"/>
                      <a:pt x="506629" y="540001"/>
                      <a:pt x="485393" y="530899"/>
                    </a:cubicBezTo>
                    <a:lnTo>
                      <a:pt x="21235" y="348876"/>
                    </a:lnTo>
                    <a:cubicBezTo>
                      <a:pt x="9101" y="342810"/>
                      <a:pt x="0" y="330674"/>
                      <a:pt x="0" y="318539"/>
                    </a:cubicBezTo>
                    <a:lnTo>
                      <a:pt x="0" y="0"/>
                    </a:lnTo>
                    <a:lnTo>
                      <a:pt x="491460" y="148652"/>
                    </a:lnTo>
                    <a:close/>
                  </a:path>
                </a:pathLst>
              </a:custGeom>
              <a:solidFill>
                <a:srgbClr val="C45651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09F1942B-4E46-4BCD-9700-DE38E2DE9B83}"/>
                  </a:ext>
                </a:extLst>
              </p:cNvPr>
              <p:cNvSpPr/>
              <p:nvPr/>
            </p:nvSpPr>
            <p:spPr>
              <a:xfrm>
                <a:off x="11660939" y="9985235"/>
                <a:ext cx="94044" cy="306404"/>
              </a:xfrm>
              <a:custGeom>
                <a:avLst/>
                <a:gdLst>
                  <a:gd name="connsiteX0" fmla="*/ 24269 w 94044"/>
                  <a:gd name="connsiteY0" fmla="*/ 0 h 306404"/>
                  <a:gd name="connsiteX1" fmla="*/ 0 w 94044"/>
                  <a:gd name="connsiteY1" fmla="*/ 306405 h 306404"/>
                  <a:gd name="connsiteX2" fmla="*/ 84943 w 94044"/>
                  <a:gd name="connsiteY2" fmla="*/ 306405 h 306404"/>
                  <a:gd name="connsiteX3" fmla="*/ 94044 w 94044"/>
                  <a:gd name="connsiteY3" fmla="*/ 21236 h 306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044" h="306404">
                    <a:moveTo>
                      <a:pt x="24269" y="0"/>
                    </a:moveTo>
                    <a:lnTo>
                      <a:pt x="0" y="306405"/>
                    </a:lnTo>
                    <a:lnTo>
                      <a:pt x="84943" y="306405"/>
                    </a:lnTo>
                    <a:lnTo>
                      <a:pt x="94044" y="21236"/>
                    </a:ln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24C7392E-F338-4F89-9066-46A03084045C}"/>
                  </a:ext>
                </a:extLst>
              </p:cNvPr>
              <p:cNvSpPr/>
              <p:nvPr/>
            </p:nvSpPr>
            <p:spPr>
              <a:xfrm>
                <a:off x="12024983" y="10291640"/>
                <a:ext cx="433819" cy="686085"/>
              </a:xfrm>
              <a:custGeom>
                <a:avLst/>
                <a:gdLst>
                  <a:gd name="connsiteX0" fmla="*/ 412584 w 433819"/>
                  <a:gd name="connsiteY0" fmla="*/ 624944 h 686085"/>
                  <a:gd name="connsiteX1" fmla="*/ 433820 w 433819"/>
                  <a:gd name="connsiteY1" fmla="*/ 263932 h 686085"/>
                  <a:gd name="connsiteX2" fmla="*/ 257865 w 433819"/>
                  <a:gd name="connsiteY2" fmla="*/ 0 h 686085"/>
                  <a:gd name="connsiteX3" fmla="*/ 0 w 433819"/>
                  <a:gd name="connsiteY3" fmla="*/ 294269 h 686085"/>
                  <a:gd name="connsiteX4" fmla="*/ 27303 w 433819"/>
                  <a:gd name="connsiteY4" fmla="*/ 661348 h 686085"/>
                  <a:gd name="connsiteX5" fmla="*/ 57640 w 433819"/>
                  <a:gd name="connsiteY5" fmla="*/ 685618 h 686085"/>
                  <a:gd name="connsiteX6" fmla="*/ 388314 w 433819"/>
                  <a:gd name="connsiteY6" fmla="*/ 649213 h 686085"/>
                  <a:gd name="connsiteX7" fmla="*/ 412584 w 433819"/>
                  <a:gd name="connsiteY7" fmla="*/ 624944 h 686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3819" h="686085">
                    <a:moveTo>
                      <a:pt x="412584" y="624944"/>
                    </a:moveTo>
                    <a:lnTo>
                      <a:pt x="433820" y="263932"/>
                    </a:lnTo>
                    <a:lnTo>
                      <a:pt x="257865" y="0"/>
                    </a:lnTo>
                    <a:lnTo>
                      <a:pt x="0" y="294269"/>
                    </a:lnTo>
                    <a:lnTo>
                      <a:pt x="27303" y="661348"/>
                    </a:lnTo>
                    <a:cubicBezTo>
                      <a:pt x="27303" y="676517"/>
                      <a:pt x="42472" y="688651"/>
                      <a:pt x="57640" y="685618"/>
                    </a:cubicBezTo>
                    <a:lnTo>
                      <a:pt x="388314" y="649213"/>
                    </a:lnTo>
                    <a:cubicBezTo>
                      <a:pt x="403483" y="649213"/>
                      <a:pt x="412584" y="637079"/>
                      <a:pt x="412584" y="624944"/>
                    </a:cubicBezTo>
                    <a:close/>
                  </a:path>
                </a:pathLst>
              </a:custGeom>
              <a:solidFill>
                <a:srgbClr val="D8696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2B802F36-4E11-47ED-9E3F-854703CB3259}"/>
                  </a:ext>
                </a:extLst>
              </p:cNvPr>
              <p:cNvSpPr/>
              <p:nvPr/>
            </p:nvSpPr>
            <p:spPr>
              <a:xfrm>
                <a:off x="11539590" y="10187735"/>
                <a:ext cx="746291" cy="398173"/>
              </a:xfrm>
              <a:custGeom>
                <a:avLst/>
                <a:gdLst>
                  <a:gd name="connsiteX0" fmla="*/ 746291 w 746291"/>
                  <a:gd name="connsiteY0" fmla="*/ 103904 h 398173"/>
                  <a:gd name="connsiteX1" fmla="*/ 218426 w 746291"/>
                  <a:gd name="connsiteY1" fmla="*/ 759 h 398173"/>
                  <a:gd name="connsiteX2" fmla="*/ 169887 w 746291"/>
                  <a:gd name="connsiteY2" fmla="*/ 18960 h 398173"/>
                  <a:gd name="connsiteX3" fmla="*/ 0 w 746291"/>
                  <a:gd name="connsiteY3" fmla="*/ 246488 h 398173"/>
                  <a:gd name="connsiteX4" fmla="*/ 488426 w 746291"/>
                  <a:gd name="connsiteY4" fmla="*/ 398174 h 398173"/>
                  <a:gd name="connsiteX5" fmla="*/ 746291 w 746291"/>
                  <a:gd name="connsiteY5" fmla="*/ 103904 h 398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6291" h="398173">
                    <a:moveTo>
                      <a:pt x="746291" y="103904"/>
                    </a:moveTo>
                    <a:lnTo>
                      <a:pt x="218426" y="759"/>
                    </a:lnTo>
                    <a:cubicBezTo>
                      <a:pt x="200224" y="-2275"/>
                      <a:pt x="178989" y="3792"/>
                      <a:pt x="169887" y="18960"/>
                    </a:cubicBezTo>
                    <a:lnTo>
                      <a:pt x="0" y="246488"/>
                    </a:lnTo>
                    <a:lnTo>
                      <a:pt x="488426" y="398174"/>
                    </a:lnTo>
                    <a:lnTo>
                      <a:pt x="746291" y="103904"/>
                    </a:lnTo>
                    <a:close/>
                  </a:path>
                </a:pathLst>
              </a:custGeom>
              <a:solidFill>
                <a:srgbClr val="D16156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79A70F9A-9F75-4907-9847-BB48DA3234A1}"/>
                  </a:ext>
                </a:extLst>
              </p:cNvPr>
              <p:cNvSpPr/>
              <p:nvPr/>
            </p:nvSpPr>
            <p:spPr>
              <a:xfrm>
                <a:off x="11679140" y="9948498"/>
                <a:ext cx="664382" cy="610107"/>
              </a:xfrm>
              <a:custGeom>
                <a:avLst/>
                <a:gdLst>
                  <a:gd name="connsiteX0" fmla="*/ 6068 w 664382"/>
                  <a:gd name="connsiteY0" fmla="*/ 36737 h 610107"/>
                  <a:gd name="connsiteX1" fmla="*/ 48540 w 664382"/>
                  <a:gd name="connsiteY1" fmla="*/ 332 h 610107"/>
                  <a:gd name="connsiteX2" fmla="*/ 640113 w 664382"/>
                  <a:gd name="connsiteY2" fmla="*/ 82242 h 610107"/>
                  <a:gd name="connsiteX3" fmla="*/ 664383 w 664382"/>
                  <a:gd name="connsiteY3" fmla="*/ 106512 h 610107"/>
                  <a:gd name="connsiteX4" fmla="*/ 658315 w 664382"/>
                  <a:gd name="connsiteY4" fmla="*/ 576736 h 610107"/>
                  <a:gd name="connsiteX5" fmla="*/ 624944 w 664382"/>
                  <a:gd name="connsiteY5" fmla="*/ 610107 h 610107"/>
                  <a:gd name="connsiteX6" fmla="*/ 618877 w 664382"/>
                  <a:gd name="connsiteY6" fmla="*/ 610107 h 610107"/>
                  <a:gd name="connsiteX7" fmla="*/ 585506 w 664382"/>
                  <a:gd name="connsiteY7" fmla="*/ 576736 h 610107"/>
                  <a:gd name="connsiteX8" fmla="*/ 591573 w 664382"/>
                  <a:gd name="connsiteY8" fmla="*/ 139883 h 610107"/>
                  <a:gd name="connsiteX9" fmla="*/ 0 w 664382"/>
                  <a:gd name="connsiteY9" fmla="*/ 64040 h 610107"/>
                  <a:gd name="connsiteX10" fmla="*/ 6068 w 664382"/>
                  <a:gd name="connsiteY10" fmla="*/ 36737 h 610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64382" h="610107">
                    <a:moveTo>
                      <a:pt x="6068" y="36737"/>
                    </a:moveTo>
                    <a:cubicBezTo>
                      <a:pt x="6068" y="15500"/>
                      <a:pt x="27304" y="-2701"/>
                      <a:pt x="48540" y="332"/>
                    </a:cubicBezTo>
                    <a:lnTo>
                      <a:pt x="640113" y="82242"/>
                    </a:lnTo>
                    <a:cubicBezTo>
                      <a:pt x="652247" y="82242"/>
                      <a:pt x="664383" y="94377"/>
                      <a:pt x="664383" y="106512"/>
                    </a:cubicBezTo>
                    <a:lnTo>
                      <a:pt x="658315" y="576736"/>
                    </a:lnTo>
                    <a:cubicBezTo>
                      <a:pt x="658315" y="594939"/>
                      <a:pt x="643146" y="610107"/>
                      <a:pt x="624944" y="610107"/>
                    </a:cubicBezTo>
                    <a:lnTo>
                      <a:pt x="618877" y="610107"/>
                    </a:lnTo>
                    <a:cubicBezTo>
                      <a:pt x="600675" y="610107"/>
                      <a:pt x="585506" y="594939"/>
                      <a:pt x="585506" y="576736"/>
                    </a:cubicBezTo>
                    <a:lnTo>
                      <a:pt x="591573" y="139883"/>
                    </a:lnTo>
                    <a:lnTo>
                      <a:pt x="0" y="64040"/>
                    </a:lnTo>
                    <a:lnTo>
                      <a:pt x="6068" y="36737"/>
                    </a:ln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9AC42DA7-4F47-4149-B0F6-C6FA4B6D9229}"/>
                  </a:ext>
                </a:extLst>
              </p:cNvPr>
              <p:cNvSpPr/>
              <p:nvPr/>
            </p:nvSpPr>
            <p:spPr>
              <a:xfrm>
                <a:off x="11764738" y="10381862"/>
                <a:ext cx="140897" cy="74692"/>
              </a:xfrm>
              <a:custGeom>
                <a:avLst/>
                <a:gdLst>
                  <a:gd name="connsiteX0" fmla="*/ 138897 w 140897"/>
                  <a:gd name="connsiteY0" fmla="*/ 61463 h 74692"/>
                  <a:gd name="connsiteX1" fmla="*/ 138897 w 140897"/>
                  <a:gd name="connsiteY1" fmla="*/ 61463 h 74692"/>
                  <a:gd name="connsiteX2" fmla="*/ 114627 w 140897"/>
                  <a:gd name="connsiteY2" fmla="*/ 73598 h 74692"/>
                  <a:gd name="connsiteX3" fmla="*/ 14515 w 140897"/>
                  <a:gd name="connsiteY3" fmla="*/ 43261 h 74692"/>
                  <a:gd name="connsiteX4" fmla="*/ 2380 w 140897"/>
                  <a:gd name="connsiteY4" fmla="*/ 12924 h 74692"/>
                  <a:gd name="connsiteX5" fmla="*/ 2380 w 140897"/>
                  <a:gd name="connsiteY5" fmla="*/ 12924 h 74692"/>
                  <a:gd name="connsiteX6" fmla="*/ 26650 w 140897"/>
                  <a:gd name="connsiteY6" fmla="*/ 789 h 74692"/>
                  <a:gd name="connsiteX7" fmla="*/ 129796 w 140897"/>
                  <a:gd name="connsiteY7" fmla="*/ 28092 h 74692"/>
                  <a:gd name="connsiteX8" fmla="*/ 138897 w 140897"/>
                  <a:gd name="connsiteY8" fmla="*/ 61463 h 74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0897" h="74692">
                    <a:moveTo>
                      <a:pt x="138897" y="61463"/>
                    </a:moveTo>
                    <a:lnTo>
                      <a:pt x="138897" y="61463"/>
                    </a:lnTo>
                    <a:cubicBezTo>
                      <a:pt x="132830" y="73598"/>
                      <a:pt x="123729" y="76632"/>
                      <a:pt x="114627" y="73598"/>
                    </a:cubicBezTo>
                    <a:lnTo>
                      <a:pt x="14515" y="43261"/>
                    </a:lnTo>
                    <a:cubicBezTo>
                      <a:pt x="2380" y="40227"/>
                      <a:pt x="-3687" y="25059"/>
                      <a:pt x="2380" y="12924"/>
                    </a:cubicBezTo>
                    <a:lnTo>
                      <a:pt x="2380" y="12924"/>
                    </a:lnTo>
                    <a:cubicBezTo>
                      <a:pt x="5413" y="3823"/>
                      <a:pt x="17549" y="-2245"/>
                      <a:pt x="26650" y="789"/>
                    </a:cubicBezTo>
                    <a:lnTo>
                      <a:pt x="129796" y="28092"/>
                    </a:lnTo>
                    <a:cubicBezTo>
                      <a:pt x="135863" y="37193"/>
                      <a:pt x="144964" y="49329"/>
                      <a:pt x="138897" y="6146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1" name="图形 1">
              <a:extLst>
                <a:ext uri="{FF2B5EF4-FFF2-40B4-BE49-F238E27FC236}">
                  <a16:creationId xmlns:a16="http://schemas.microsoft.com/office/drawing/2014/main" id="{05641DBB-898F-4EEE-B0F9-998A2E911F3C}"/>
                </a:ext>
              </a:extLst>
            </p:cNvPr>
            <p:cNvGrpSpPr/>
            <p:nvPr/>
          </p:nvGrpSpPr>
          <p:grpSpPr>
            <a:xfrm>
              <a:off x="11866893" y="9792193"/>
              <a:ext cx="271412" cy="308322"/>
              <a:chOff x="11866893" y="9792193"/>
              <a:chExt cx="271412" cy="308322"/>
            </a:xfrm>
          </p:grpSpPr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354F945C-FE13-4787-A87D-43E91632DD2F}"/>
                  </a:ext>
                </a:extLst>
              </p:cNvPr>
              <p:cNvSpPr/>
              <p:nvPr/>
            </p:nvSpPr>
            <p:spPr>
              <a:xfrm>
                <a:off x="11866893" y="9792193"/>
                <a:ext cx="260459" cy="308322"/>
              </a:xfrm>
              <a:custGeom>
                <a:avLst/>
                <a:gdLst>
                  <a:gd name="connsiteX0" fmla="*/ 3371 w 260459"/>
                  <a:gd name="connsiteY0" fmla="*/ 77762 h 308322"/>
                  <a:gd name="connsiteX1" fmla="*/ 24606 w 260459"/>
                  <a:gd name="connsiteY1" fmla="*/ 180907 h 308322"/>
                  <a:gd name="connsiteX2" fmla="*/ 27640 w 260459"/>
                  <a:gd name="connsiteY2" fmla="*/ 268885 h 308322"/>
                  <a:gd name="connsiteX3" fmla="*/ 82248 w 260459"/>
                  <a:gd name="connsiteY3" fmla="*/ 281019 h 308322"/>
                  <a:gd name="connsiteX4" fmla="*/ 115618 w 260459"/>
                  <a:gd name="connsiteY4" fmla="*/ 308323 h 308322"/>
                  <a:gd name="connsiteX5" fmla="*/ 145955 w 260459"/>
                  <a:gd name="connsiteY5" fmla="*/ 293154 h 308322"/>
                  <a:gd name="connsiteX6" fmla="*/ 203596 w 260459"/>
                  <a:gd name="connsiteY6" fmla="*/ 281019 h 308322"/>
                  <a:gd name="connsiteX7" fmla="*/ 243034 w 260459"/>
                  <a:gd name="connsiteY7" fmla="*/ 281019 h 308322"/>
                  <a:gd name="connsiteX8" fmla="*/ 249102 w 260459"/>
                  <a:gd name="connsiteY8" fmla="*/ 217311 h 308322"/>
                  <a:gd name="connsiteX9" fmla="*/ 136854 w 260459"/>
                  <a:gd name="connsiteY9" fmla="*/ 1919 h 308322"/>
                  <a:gd name="connsiteX10" fmla="*/ 21573 w 260459"/>
                  <a:gd name="connsiteY10" fmla="*/ 23154 h 308322"/>
                  <a:gd name="connsiteX11" fmla="*/ 3371 w 260459"/>
                  <a:gd name="connsiteY11" fmla="*/ 77762 h 308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0459" h="308322">
                    <a:moveTo>
                      <a:pt x="3371" y="77762"/>
                    </a:moveTo>
                    <a:cubicBezTo>
                      <a:pt x="9438" y="114166"/>
                      <a:pt x="18540" y="147536"/>
                      <a:pt x="24606" y="180907"/>
                    </a:cubicBezTo>
                    <a:cubicBezTo>
                      <a:pt x="30674" y="217311"/>
                      <a:pt x="15506" y="232480"/>
                      <a:pt x="27640" y="268885"/>
                    </a:cubicBezTo>
                    <a:cubicBezTo>
                      <a:pt x="36742" y="293154"/>
                      <a:pt x="64045" y="296188"/>
                      <a:pt x="82248" y="281019"/>
                    </a:cubicBezTo>
                    <a:cubicBezTo>
                      <a:pt x="85281" y="302256"/>
                      <a:pt x="94382" y="308323"/>
                      <a:pt x="115618" y="308323"/>
                    </a:cubicBezTo>
                    <a:cubicBezTo>
                      <a:pt x="124719" y="308323"/>
                      <a:pt x="142922" y="299222"/>
                      <a:pt x="145955" y="293154"/>
                    </a:cubicBezTo>
                    <a:cubicBezTo>
                      <a:pt x="152023" y="311357"/>
                      <a:pt x="194494" y="305290"/>
                      <a:pt x="203596" y="281019"/>
                    </a:cubicBezTo>
                    <a:cubicBezTo>
                      <a:pt x="215731" y="296188"/>
                      <a:pt x="233933" y="287087"/>
                      <a:pt x="243034" y="281019"/>
                    </a:cubicBezTo>
                    <a:cubicBezTo>
                      <a:pt x="276405" y="265851"/>
                      <a:pt x="252135" y="232480"/>
                      <a:pt x="249102" y="217311"/>
                    </a:cubicBezTo>
                    <a:cubicBezTo>
                      <a:pt x="230899" y="123267"/>
                      <a:pt x="182360" y="68660"/>
                      <a:pt x="136854" y="1919"/>
                    </a:cubicBezTo>
                    <a:cubicBezTo>
                      <a:pt x="139888" y="-1115"/>
                      <a:pt x="57977" y="-4149"/>
                      <a:pt x="21573" y="23154"/>
                    </a:cubicBezTo>
                    <a:cubicBezTo>
                      <a:pt x="-2697" y="41357"/>
                      <a:pt x="-2697" y="50457"/>
                      <a:pt x="3371" y="7776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9028EA55-484B-4D8B-A2A4-F78488ADB7E8}"/>
                  </a:ext>
                </a:extLst>
              </p:cNvPr>
              <p:cNvSpPr/>
              <p:nvPr/>
            </p:nvSpPr>
            <p:spPr>
              <a:xfrm>
                <a:off x="12064421" y="9920270"/>
                <a:ext cx="73884" cy="165076"/>
              </a:xfrm>
              <a:custGeom>
                <a:avLst/>
                <a:gdLst>
                  <a:gd name="connsiteX0" fmla="*/ 30337 w 73884"/>
                  <a:gd name="connsiteY0" fmla="*/ 165077 h 165076"/>
                  <a:gd name="connsiteX1" fmla="*/ 3034 w 73884"/>
                  <a:gd name="connsiteY1" fmla="*/ 159010 h 165076"/>
                  <a:gd name="connsiteX2" fmla="*/ 0 w 73884"/>
                  <a:gd name="connsiteY2" fmla="*/ 149908 h 165076"/>
                  <a:gd name="connsiteX3" fmla="*/ 9101 w 73884"/>
                  <a:gd name="connsiteY3" fmla="*/ 146875 h 165076"/>
                  <a:gd name="connsiteX4" fmla="*/ 48540 w 73884"/>
                  <a:gd name="connsiteY4" fmla="*/ 149908 h 165076"/>
                  <a:gd name="connsiteX5" fmla="*/ 57640 w 73884"/>
                  <a:gd name="connsiteY5" fmla="*/ 134740 h 165076"/>
                  <a:gd name="connsiteX6" fmla="*/ 15169 w 73884"/>
                  <a:gd name="connsiteY6" fmla="*/ 10358 h 165076"/>
                  <a:gd name="connsiteX7" fmla="*/ 18202 w 73884"/>
                  <a:gd name="connsiteY7" fmla="*/ 1257 h 165076"/>
                  <a:gd name="connsiteX8" fmla="*/ 27303 w 73884"/>
                  <a:gd name="connsiteY8" fmla="*/ 4291 h 165076"/>
                  <a:gd name="connsiteX9" fmla="*/ 72809 w 73884"/>
                  <a:gd name="connsiteY9" fmla="*/ 137774 h 165076"/>
                  <a:gd name="connsiteX10" fmla="*/ 57640 w 73884"/>
                  <a:gd name="connsiteY10" fmla="*/ 162044 h 165076"/>
                  <a:gd name="connsiteX11" fmla="*/ 30337 w 73884"/>
                  <a:gd name="connsiteY11" fmla="*/ 165077 h 165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3884" h="165076">
                    <a:moveTo>
                      <a:pt x="30337" y="165077"/>
                    </a:moveTo>
                    <a:cubicBezTo>
                      <a:pt x="15169" y="165077"/>
                      <a:pt x="3034" y="159010"/>
                      <a:pt x="3034" y="159010"/>
                    </a:cubicBezTo>
                    <a:cubicBezTo>
                      <a:pt x="0" y="159010"/>
                      <a:pt x="0" y="152942"/>
                      <a:pt x="0" y="149908"/>
                    </a:cubicBezTo>
                    <a:cubicBezTo>
                      <a:pt x="0" y="146875"/>
                      <a:pt x="6068" y="146875"/>
                      <a:pt x="9101" y="146875"/>
                    </a:cubicBezTo>
                    <a:cubicBezTo>
                      <a:pt x="15169" y="149908"/>
                      <a:pt x="36405" y="155976"/>
                      <a:pt x="48540" y="149908"/>
                    </a:cubicBezTo>
                    <a:cubicBezTo>
                      <a:pt x="54606" y="146875"/>
                      <a:pt x="57640" y="140807"/>
                      <a:pt x="57640" y="134740"/>
                    </a:cubicBezTo>
                    <a:cubicBezTo>
                      <a:pt x="63708" y="92268"/>
                      <a:pt x="15169" y="10358"/>
                      <a:pt x="15169" y="10358"/>
                    </a:cubicBezTo>
                    <a:cubicBezTo>
                      <a:pt x="12135" y="7324"/>
                      <a:pt x="15169" y="4291"/>
                      <a:pt x="18202" y="1257"/>
                    </a:cubicBezTo>
                    <a:cubicBezTo>
                      <a:pt x="21236" y="-1777"/>
                      <a:pt x="24269" y="1257"/>
                      <a:pt x="27303" y="4291"/>
                    </a:cubicBezTo>
                    <a:cubicBezTo>
                      <a:pt x="30337" y="7324"/>
                      <a:pt x="81910" y="89234"/>
                      <a:pt x="72809" y="137774"/>
                    </a:cubicBezTo>
                    <a:cubicBezTo>
                      <a:pt x="69775" y="149908"/>
                      <a:pt x="66742" y="155976"/>
                      <a:pt x="57640" y="162044"/>
                    </a:cubicBezTo>
                    <a:cubicBezTo>
                      <a:pt x="45506" y="165077"/>
                      <a:pt x="36405" y="165077"/>
                      <a:pt x="30337" y="16507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6315CDA5-6BE9-4676-9F6B-BD5312BCC3A9}"/>
                  </a:ext>
                </a:extLst>
              </p:cNvPr>
              <p:cNvSpPr/>
              <p:nvPr/>
            </p:nvSpPr>
            <p:spPr>
              <a:xfrm>
                <a:off x="11946107" y="10030741"/>
                <a:ext cx="97078" cy="18202"/>
              </a:xfrm>
              <a:custGeom>
                <a:avLst/>
                <a:gdLst>
                  <a:gd name="connsiteX0" fmla="*/ 75843 w 97078"/>
                  <a:gd name="connsiteY0" fmla="*/ 18202 h 18202"/>
                  <a:gd name="connsiteX1" fmla="*/ 6067 w 97078"/>
                  <a:gd name="connsiteY1" fmla="*/ 12135 h 18202"/>
                  <a:gd name="connsiteX2" fmla="*/ 0 w 97078"/>
                  <a:gd name="connsiteY2" fmla="*/ 6068 h 18202"/>
                  <a:gd name="connsiteX3" fmla="*/ 6067 w 97078"/>
                  <a:gd name="connsiteY3" fmla="*/ 0 h 18202"/>
                  <a:gd name="connsiteX4" fmla="*/ 91011 w 97078"/>
                  <a:gd name="connsiteY4" fmla="*/ 6068 h 18202"/>
                  <a:gd name="connsiteX5" fmla="*/ 97078 w 97078"/>
                  <a:gd name="connsiteY5" fmla="*/ 9101 h 18202"/>
                  <a:gd name="connsiteX6" fmla="*/ 94045 w 97078"/>
                  <a:gd name="connsiteY6" fmla="*/ 15169 h 18202"/>
                  <a:gd name="connsiteX7" fmla="*/ 75843 w 97078"/>
                  <a:gd name="connsiteY7" fmla="*/ 18202 h 18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078" h="18202">
                    <a:moveTo>
                      <a:pt x="75843" y="18202"/>
                    </a:moveTo>
                    <a:cubicBezTo>
                      <a:pt x="48540" y="18202"/>
                      <a:pt x="6067" y="12135"/>
                      <a:pt x="6067" y="12135"/>
                    </a:cubicBezTo>
                    <a:cubicBezTo>
                      <a:pt x="3034" y="12135"/>
                      <a:pt x="0" y="9101"/>
                      <a:pt x="0" y="6068"/>
                    </a:cubicBezTo>
                    <a:cubicBezTo>
                      <a:pt x="0" y="3034"/>
                      <a:pt x="3034" y="0"/>
                      <a:pt x="6067" y="0"/>
                    </a:cubicBezTo>
                    <a:cubicBezTo>
                      <a:pt x="24269" y="3034"/>
                      <a:pt x="75843" y="9101"/>
                      <a:pt x="91011" y="6068"/>
                    </a:cubicBezTo>
                    <a:cubicBezTo>
                      <a:pt x="94045" y="6068"/>
                      <a:pt x="97078" y="6068"/>
                      <a:pt x="97078" y="9101"/>
                    </a:cubicBezTo>
                    <a:cubicBezTo>
                      <a:pt x="97078" y="12135"/>
                      <a:pt x="97078" y="15169"/>
                      <a:pt x="94045" y="15169"/>
                    </a:cubicBezTo>
                    <a:cubicBezTo>
                      <a:pt x="91011" y="18202"/>
                      <a:pt x="84943" y="18202"/>
                      <a:pt x="75843" y="1820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2" name="图形 1">
              <a:extLst>
                <a:ext uri="{FF2B5EF4-FFF2-40B4-BE49-F238E27FC236}">
                  <a16:creationId xmlns:a16="http://schemas.microsoft.com/office/drawing/2014/main" id="{4A11FBC3-7C79-48B3-9A01-AF4A3BCED230}"/>
                </a:ext>
              </a:extLst>
            </p:cNvPr>
            <p:cNvGrpSpPr/>
            <p:nvPr/>
          </p:nvGrpSpPr>
          <p:grpSpPr>
            <a:xfrm>
              <a:off x="13489873" y="8140387"/>
              <a:ext cx="780444" cy="719341"/>
              <a:chOff x="13489873" y="8140387"/>
              <a:chExt cx="780444" cy="719341"/>
            </a:xfrm>
          </p:grpSpPr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DC313B71-AE52-4A48-83DD-761386BBA908}"/>
                  </a:ext>
                </a:extLst>
              </p:cNvPr>
              <p:cNvSpPr/>
              <p:nvPr/>
            </p:nvSpPr>
            <p:spPr>
              <a:xfrm>
                <a:off x="13495854" y="8146454"/>
                <a:ext cx="771895" cy="707560"/>
              </a:xfrm>
              <a:custGeom>
                <a:avLst/>
                <a:gdLst>
                  <a:gd name="connsiteX0" fmla="*/ 6545 w 771895"/>
                  <a:gd name="connsiteY0" fmla="*/ 115634 h 707560"/>
                  <a:gd name="connsiteX1" fmla="*/ 15646 w 771895"/>
                  <a:gd name="connsiteY1" fmla="*/ 106533 h 707560"/>
                  <a:gd name="connsiteX2" fmla="*/ 27781 w 771895"/>
                  <a:gd name="connsiteY2" fmla="*/ 109567 h 707560"/>
                  <a:gd name="connsiteX3" fmla="*/ 140028 w 771895"/>
                  <a:gd name="connsiteY3" fmla="*/ 206646 h 707560"/>
                  <a:gd name="connsiteX4" fmla="*/ 206769 w 771895"/>
                  <a:gd name="connsiteY4" fmla="*/ 130803 h 707560"/>
                  <a:gd name="connsiteX5" fmla="*/ 94522 w 771895"/>
                  <a:gd name="connsiteY5" fmla="*/ 33724 h 707560"/>
                  <a:gd name="connsiteX6" fmla="*/ 91489 w 771895"/>
                  <a:gd name="connsiteY6" fmla="*/ 24623 h 707560"/>
                  <a:gd name="connsiteX7" fmla="*/ 97556 w 771895"/>
                  <a:gd name="connsiteY7" fmla="*/ 15522 h 707560"/>
                  <a:gd name="connsiteX8" fmla="*/ 270478 w 771895"/>
                  <a:gd name="connsiteY8" fmla="*/ 39792 h 707560"/>
                  <a:gd name="connsiteX9" fmla="*/ 319017 w 771895"/>
                  <a:gd name="connsiteY9" fmla="*/ 206646 h 707560"/>
                  <a:gd name="connsiteX10" fmla="*/ 543511 w 771895"/>
                  <a:gd name="connsiteY10" fmla="*/ 400803 h 707560"/>
                  <a:gd name="connsiteX11" fmla="*/ 716432 w 771895"/>
                  <a:gd name="connsiteY11" fmla="*/ 425072 h 707560"/>
                  <a:gd name="connsiteX12" fmla="*/ 764972 w 771895"/>
                  <a:gd name="connsiteY12" fmla="*/ 591926 h 707560"/>
                  <a:gd name="connsiteX13" fmla="*/ 755871 w 771895"/>
                  <a:gd name="connsiteY13" fmla="*/ 601028 h 707560"/>
                  <a:gd name="connsiteX14" fmla="*/ 743736 w 771895"/>
                  <a:gd name="connsiteY14" fmla="*/ 597994 h 707560"/>
                  <a:gd name="connsiteX15" fmla="*/ 631489 w 771895"/>
                  <a:gd name="connsiteY15" fmla="*/ 500915 h 707560"/>
                  <a:gd name="connsiteX16" fmla="*/ 564747 w 771895"/>
                  <a:gd name="connsiteY16" fmla="*/ 576758 h 707560"/>
                  <a:gd name="connsiteX17" fmla="*/ 676994 w 771895"/>
                  <a:gd name="connsiteY17" fmla="*/ 673837 h 707560"/>
                  <a:gd name="connsiteX18" fmla="*/ 680028 w 771895"/>
                  <a:gd name="connsiteY18" fmla="*/ 682938 h 707560"/>
                  <a:gd name="connsiteX19" fmla="*/ 673960 w 771895"/>
                  <a:gd name="connsiteY19" fmla="*/ 692039 h 707560"/>
                  <a:gd name="connsiteX20" fmla="*/ 673960 w 771895"/>
                  <a:gd name="connsiteY20" fmla="*/ 692039 h 707560"/>
                  <a:gd name="connsiteX21" fmla="*/ 501040 w 771895"/>
                  <a:gd name="connsiteY21" fmla="*/ 667769 h 707560"/>
                  <a:gd name="connsiteX22" fmla="*/ 449466 w 771895"/>
                  <a:gd name="connsiteY22" fmla="*/ 500915 h 707560"/>
                  <a:gd name="connsiteX23" fmla="*/ 224972 w 771895"/>
                  <a:gd name="connsiteY23" fmla="*/ 306758 h 707560"/>
                  <a:gd name="connsiteX24" fmla="*/ 52050 w 771895"/>
                  <a:gd name="connsiteY24" fmla="*/ 282488 h 707560"/>
                  <a:gd name="connsiteX25" fmla="*/ 6545 w 771895"/>
                  <a:gd name="connsiteY25" fmla="*/ 115634 h 707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771895" h="707560">
                    <a:moveTo>
                      <a:pt x="6545" y="115634"/>
                    </a:moveTo>
                    <a:cubicBezTo>
                      <a:pt x="6545" y="112601"/>
                      <a:pt x="9578" y="109567"/>
                      <a:pt x="15646" y="106533"/>
                    </a:cubicBezTo>
                    <a:cubicBezTo>
                      <a:pt x="18679" y="106533"/>
                      <a:pt x="24747" y="106533"/>
                      <a:pt x="27781" y="109567"/>
                    </a:cubicBezTo>
                    <a:lnTo>
                      <a:pt x="140028" y="206646"/>
                    </a:lnTo>
                    <a:lnTo>
                      <a:pt x="206769" y="130803"/>
                    </a:lnTo>
                    <a:lnTo>
                      <a:pt x="94522" y="33724"/>
                    </a:lnTo>
                    <a:cubicBezTo>
                      <a:pt x="91489" y="30690"/>
                      <a:pt x="91489" y="27657"/>
                      <a:pt x="91489" y="24623"/>
                    </a:cubicBezTo>
                    <a:cubicBezTo>
                      <a:pt x="91489" y="21590"/>
                      <a:pt x="94522" y="18556"/>
                      <a:pt x="97556" y="15522"/>
                    </a:cubicBezTo>
                    <a:cubicBezTo>
                      <a:pt x="155196" y="-11781"/>
                      <a:pt x="221938" y="-2680"/>
                      <a:pt x="270478" y="39792"/>
                    </a:cubicBezTo>
                    <a:cubicBezTo>
                      <a:pt x="319017" y="82264"/>
                      <a:pt x="337219" y="145971"/>
                      <a:pt x="319017" y="206646"/>
                    </a:cubicBezTo>
                    <a:lnTo>
                      <a:pt x="543511" y="400803"/>
                    </a:lnTo>
                    <a:cubicBezTo>
                      <a:pt x="601152" y="376533"/>
                      <a:pt x="667893" y="385635"/>
                      <a:pt x="716432" y="425072"/>
                    </a:cubicBezTo>
                    <a:cubicBezTo>
                      <a:pt x="764972" y="467545"/>
                      <a:pt x="783174" y="531252"/>
                      <a:pt x="764972" y="591926"/>
                    </a:cubicBezTo>
                    <a:cubicBezTo>
                      <a:pt x="764972" y="594960"/>
                      <a:pt x="761938" y="597994"/>
                      <a:pt x="755871" y="601028"/>
                    </a:cubicBezTo>
                    <a:cubicBezTo>
                      <a:pt x="752837" y="601028"/>
                      <a:pt x="746769" y="601028"/>
                      <a:pt x="743736" y="597994"/>
                    </a:cubicBezTo>
                    <a:lnTo>
                      <a:pt x="631489" y="500915"/>
                    </a:lnTo>
                    <a:lnTo>
                      <a:pt x="564747" y="576758"/>
                    </a:lnTo>
                    <a:lnTo>
                      <a:pt x="676994" y="673837"/>
                    </a:lnTo>
                    <a:cubicBezTo>
                      <a:pt x="680028" y="676870"/>
                      <a:pt x="680028" y="679904"/>
                      <a:pt x="680028" y="682938"/>
                    </a:cubicBezTo>
                    <a:cubicBezTo>
                      <a:pt x="680028" y="685971"/>
                      <a:pt x="676994" y="689005"/>
                      <a:pt x="673960" y="692039"/>
                    </a:cubicBezTo>
                    <a:cubicBezTo>
                      <a:pt x="673960" y="692039"/>
                      <a:pt x="673960" y="692039"/>
                      <a:pt x="673960" y="692039"/>
                    </a:cubicBezTo>
                    <a:cubicBezTo>
                      <a:pt x="616320" y="719342"/>
                      <a:pt x="549578" y="710241"/>
                      <a:pt x="501040" y="667769"/>
                    </a:cubicBezTo>
                    <a:cubicBezTo>
                      <a:pt x="452500" y="625297"/>
                      <a:pt x="434298" y="561589"/>
                      <a:pt x="449466" y="500915"/>
                    </a:cubicBezTo>
                    <a:lnTo>
                      <a:pt x="224972" y="306758"/>
                    </a:lnTo>
                    <a:cubicBezTo>
                      <a:pt x="167332" y="331028"/>
                      <a:pt x="100590" y="321927"/>
                      <a:pt x="52050" y="282488"/>
                    </a:cubicBezTo>
                    <a:cubicBezTo>
                      <a:pt x="9578" y="243050"/>
                      <a:pt x="-11658" y="176308"/>
                      <a:pt x="6545" y="115634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38075D2F-3510-4148-8B74-A44CAEAA90E4}"/>
                  </a:ext>
                </a:extLst>
              </p:cNvPr>
              <p:cNvSpPr/>
              <p:nvPr/>
            </p:nvSpPr>
            <p:spPr>
              <a:xfrm>
                <a:off x="13489873" y="8140387"/>
                <a:ext cx="780444" cy="719341"/>
              </a:xfrm>
              <a:custGeom>
                <a:avLst/>
                <a:gdLst>
                  <a:gd name="connsiteX0" fmla="*/ 613200 w 780444"/>
                  <a:gd name="connsiteY0" fmla="*/ 719342 h 719341"/>
                  <a:gd name="connsiteX1" fmla="*/ 503987 w 780444"/>
                  <a:gd name="connsiteY1" fmla="*/ 679904 h 719341"/>
                  <a:gd name="connsiteX2" fmla="*/ 452413 w 780444"/>
                  <a:gd name="connsiteY2" fmla="*/ 510016 h 719341"/>
                  <a:gd name="connsiteX3" fmla="*/ 233987 w 780444"/>
                  <a:gd name="connsiteY3" fmla="*/ 321927 h 719341"/>
                  <a:gd name="connsiteX4" fmla="*/ 58031 w 780444"/>
                  <a:gd name="connsiteY4" fmla="*/ 294623 h 719341"/>
                  <a:gd name="connsiteX5" fmla="*/ 6459 w 780444"/>
                  <a:gd name="connsiteY5" fmla="*/ 121702 h 719341"/>
                  <a:gd name="connsiteX6" fmla="*/ 6459 w 780444"/>
                  <a:gd name="connsiteY6" fmla="*/ 121702 h 719341"/>
                  <a:gd name="connsiteX7" fmla="*/ 18593 w 780444"/>
                  <a:gd name="connsiteY7" fmla="*/ 109567 h 719341"/>
                  <a:gd name="connsiteX8" fmla="*/ 33762 w 780444"/>
                  <a:gd name="connsiteY8" fmla="*/ 112600 h 719341"/>
                  <a:gd name="connsiteX9" fmla="*/ 139942 w 780444"/>
                  <a:gd name="connsiteY9" fmla="*/ 203612 h 719341"/>
                  <a:gd name="connsiteX10" fmla="*/ 200616 w 780444"/>
                  <a:gd name="connsiteY10" fmla="*/ 133837 h 719341"/>
                  <a:gd name="connsiteX11" fmla="*/ 94436 w 780444"/>
                  <a:gd name="connsiteY11" fmla="*/ 42825 h 719341"/>
                  <a:gd name="connsiteX12" fmla="*/ 88368 w 780444"/>
                  <a:gd name="connsiteY12" fmla="*/ 27657 h 719341"/>
                  <a:gd name="connsiteX13" fmla="*/ 97470 w 780444"/>
                  <a:gd name="connsiteY13" fmla="*/ 15522 h 719341"/>
                  <a:gd name="connsiteX14" fmla="*/ 276458 w 780444"/>
                  <a:gd name="connsiteY14" fmla="*/ 39792 h 719341"/>
                  <a:gd name="connsiteX15" fmla="*/ 328031 w 780444"/>
                  <a:gd name="connsiteY15" fmla="*/ 209679 h 719341"/>
                  <a:gd name="connsiteX16" fmla="*/ 546458 w 780444"/>
                  <a:gd name="connsiteY16" fmla="*/ 397769 h 719341"/>
                  <a:gd name="connsiteX17" fmla="*/ 722413 w 780444"/>
                  <a:gd name="connsiteY17" fmla="*/ 425072 h 719341"/>
                  <a:gd name="connsiteX18" fmla="*/ 773986 w 780444"/>
                  <a:gd name="connsiteY18" fmla="*/ 597994 h 719341"/>
                  <a:gd name="connsiteX19" fmla="*/ 761852 w 780444"/>
                  <a:gd name="connsiteY19" fmla="*/ 610129 h 719341"/>
                  <a:gd name="connsiteX20" fmla="*/ 746683 w 780444"/>
                  <a:gd name="connsiteY20" fmla="*/ 607095 h 719341"/>
                  <a:gd name="connsiteX21" fmla="*/ 640503 w 780444"/>
                  <a:gd name="connsiteY21" fmla="*/ 516084 h 719341"/>
                  <a:gd name="connsiteX22" fmla="*/ 579829 w 780444"/>
                  <a:gd name="connsiteY22" fmla="*/ 585859 h 719341"/>
                  <a:gd name="connsiteX23" fmla="*/ 686009 w 780444"/>
                  <a:gd name="connsiteY23" fmla="*/ 676870 h 719341"/>
                  <a:gd name="connsiteX24" fmla="*/ 692076 w 780444"/>
                  <a:gd name="connsiteY24" fmla="*/ 692039 h 719341"/>
                  <a:gd name="connsiteX25" fmla="*/ 682975 w 780444"/>
                  <a:gd name="connsiteY25" fmla="*/ 704173 h 719341"/>
                  <a:gd name="connsiteX26" fmla="*/ 679941 w 780444"/>
                  <a:gd name="connsiteY26" fmla="*/ 704173 h 719341"/>
                  <a:gd name="connsiteX27" fmla="*/ 613200 w 780444"/>
                  <a:gd name="connsiteY27" fmla="*/ 719342 h 719341"/>
                  <a:gd name="connsiteX28" fmla="*/ 233987 w 780444"/>
                  <a:gd name="connsiteY28" fmla="*/ 309791 h 719341"/>
                  <a:gd name="connsiteX29" fmla="*/ 237020 w 780444"/>
                  <a:gd name="connsiteY29" fmla="*/ 309791 h 719341"/>
                  <a:gd name="connsiteX30" fmla="*/ 461515 w 780444"/>
                  <a:gd name="connsiteY30" fmla="*/ 503949 h 719341"/>
                  <a:gd name="connsiteX31" fmla="*/ 464548 w 780444"/>
                  <a:gd name="connsiteY31" fmla="*/ 510016 h 719341"/>
                  <a:gd name="connsiteX32" fmla="*/ 513087 w 780444"/>
                  <a:gd name="connsiteY32" fmla="*/ 670803 h 719341"/>
                  <a:gd name="connsiteX33" fmla="*/ 679941 w 780444"/>
                  <a:gd name="connsiteY33" fmla="*/ 695073 h 719341"/>
                  <a:gd name="connsiteX34" fmla="*/ 682975 w 780444"/>
                  <a:gd name="connsiteY34" fmla="*/ 692039 h 719341"/>
                  <a:gd name="connsiteX35" fmla="*/ 679941 w 780444"/>
                  <a:gd name="connsiteY35" fmla="*/ 685971 h 719341"/>
                  <a:gd name="connsiteX36" fmla="*/ 567695 w 780444"/>
                  <a:gd name="connsiteY36" fmla="*/ 588893 h 719341"/>
                  <a:gd name="connsiteX37" fmla="*/ 564661 w 780444"/>
                  <a:gd name="connsiteY37" fmla="*/ 585859 h 719341"/>
                  <a:gd name="connsiteX38" fmla="*/ 564661 w 780444"/>
                  <a:gd name="connsiteY38" fmla="*/ 582825 h 719341"/>
                  <a:gd name="connsiteX39" fmla="*/ 631402 w 780444"/>
                  <a:gd name="connsiteY39" fmla="*/ 506982 h 719341"/>
                  <a:gd name="connsiteX40" fmla="*/ 640503 w 780444"/>
                  <a:gd name="connsiteY40" fmla="*/ 506982 h 719341"/>
                  <a:gd name="connsiteX41" fmla="*/ 752750 w 780444"/>
                  <a:gd name="connsiteY41" fmla="*/ 604061 h 719341"/>
                  <a:gd name="connsiteX42" fmla="*/ 758818 w 780444"/>
                  <a:gd name="connsiteY42" fmla="*/ 604061 h 719341"/>
                  <a:gd name="connsiteX43" fmla="*/ 761852 w 780444"/>
                  <a:gd name="connsiteY43" fmla="*/ 601028 h 719341"/>
                  <a:gd name="connsiteX44" fmla="*/ 713312 w 780444"/>
                  <a:gd name="connsiteY44" fmla="*/ 437208 h 719341"/>
                  <a:gd name="connsiteX45" fmla="*/ 546458 w 780444"/>
                  <a:gd name="connsiteY45" fmla="*/ 412938 h 719341"/>
                  <a:gd name="connsiteX46" fmla="*/ 540391 w 780444"/>
                  <a:gd name="connsiteY46" fmla="*/ 412938 h 719341"/>
                  <a:gd name="connsiteX47" fmla="*/ 315896 w 780444"/>
                  <a:gd name="connsiteY47" fmla="*/ 218780 h 719341"/>
                  <a:gd name="connsiteX48" fmla="*/ 312862 w 780444"/>
                  <a:gd name="connsiteY48" fmla="*/ 212713 h 719341"/>
                  <a:gd name="connsiteX49" fmla="*/ 264324 w 780444"/>
                  <a:gd name="connsiteY49" fmla="*/ 51926 h 719341"/>
                  <a:gd name="connsiteX50" fmla="*/ 97470 w 780444"/>
                  <a:gd name="connsiteY50" fmla="*/ 27657 h 719341"/>
                  <a:gd name="connsiteX51" fmla="*/ 94436 w 780444"/>
                  <a:gd name="connsiteY51" fmla="*/ 30690 h 719341"/>
                  <a:gd name="connsiteX52" fmla="*/ 97470 w 780444"/>
                  <a:gd name="connsiteY52" fmla="*/ 36758 h 719341"/>
                  <a:gd name="connsiteX53" fmla="*/ 209717 w 780444"/>
                  <a:gd name="connsiteY53" fmla="*/ 133837 h 719341"/>
                  <a:gd name="connsiteX54" fmla="*/ 212750 w 780444"/>
                  <a:gd name="connsiteY54" fmla="*/ 136870 h 719341"/>
                  <a:gd name="connsiteX55" fmla="*/ 212750 w 780444"/>
                  <a:gd name="connsiteY55" fmla="*/ 139904 h 719341"/>
                  <a:gd name="connsiteX56" fmla="*/ 146008 w 780444"/>
                  <a:gd name="connsiteY56" fmla="*/ 215747 h 719341"/>
                  <a:gd name="connsiteX57" fmla="*/ 136908 w 780444"/>
                  <a:gd name="connsiteY57" fmla="*/ 215747 h 719341"/>
                  <a:gd name="connsiteX58" fmla="*/ 24660 w 780444"/>
                  <a:gd name="connsiteY58" fmla="*/ 118668 h 719341"/>
                  <a:gd name="connsiteX59" fmla="*/ 18593 w 780444"/>
                  <a:gd name="connsiteY59" fmla="*/ 118668 h 719341"/>
                  <a:gd name="connsiteX60" fmla="*/ 15559 w 780444"/>
                  <a:gd name="connsiteY60" fmla="*/ 121702 h 719341"/>
                  <a:gd name="connsiteX61" fmla="*/ 15559 w 780444"/>
                  <a:gd name="connsiteY61" fmla="*/ 121702 h 719341"/>
                  <a:gd name="connsiteX62" fmla="*/ 64099 w 780444"/>
                  <a:gd name="connsiteY62" fmla="*/ 282488 h 719341"/>
                  <a:gd name="connsiteX63" fmla="*/ 233987 w 780444"/>
                  <a:gd name="connsiteY63" fmla="*/ 309791 h 719341"/>
                  <a:gd name="connsiteX64" fmla="*/ 233987 w 780444"/>
                  <a:gd name="connsiteY64" fmla="*/ 309791 h 719341"/>
                  <a:gd name="connsiteX65" fmla="*/ 12526 w 780444"/>
                  <a:gd name="connsiteY65" fmla="*/ 121702 h 719341"/>
                  <a:gd name="connsiteX66" fmla="*/ 12526 w 780444"/>
                  <a:gd name="connsiteY66" fmla="*/ 121702 h 719341"/>
                  <a:gd name="connsiteX67" fmla="*/ 12526 w 780444"/>
                  <a:gd name="connsiteY67" fmla="*/ 121702 h 719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780444" h="719341">
                    <a:moveTo>
                      <a:pt x="613200" y="719342"/>
                    </a:moveTo>
                    <a:cubicBezTo>
                      <a:pt x="573762" y="719342"/>
                      <a:pt x="534324" y="704173"/>
                      <a:pt x="503987" y="679904"/>
                    </a:cubicBezTo>
                    <a:cubicBezTo>
                      <a:pt x="455447" y="637432"/>
                      <a:pt x="434211" y="573724"/>
                      <a:pt x="452413" y="510016"/>
                    </a:cubicBezTo>
                    <a:lnTo>
                      <a:pt x="233987" y="321927"/>
                    </a:lnTo>
                    <a:cubicBezTo>
                      <a:pt x="176346" y="346196"/>
                      <a:pt x="106571" y="337095"/>
                      <a:pt x="58031" y="294623"/>
                    </a:cubicBezTo>
                    <a:cubicBezTo>
                      <a:pt x="9492" y="252151"/>
                      <a:pt x="-11744" y="182376"/>
                      <a:pt x="6459" y="121702"/>
                    </a:cubicBezTo>
                    <a:lnTo>
                      <a:pt x="6459" y="121702"/>
                    </a:lnTo>
                    <a:cubicBezTo>
                      <a:pt x="9492" y="115634"/>
                      <a:pt x="12526" y="112600"/>
                      <a:pt x="18593" y="109567"/>
                    </a:cubicBezTo>
                    <a:cubicBezTo>
                      <a:pt x="24660" y="106533"/>
                      <a:pt x="30728" y="109567"/>
                      <a:pt x="33762" y="112600"/>
                    </a:cubicBezTo>
                    <a:lnTo>
                      <a:pt x="139942" y="203612"/>
                    </a:lnTo>
                    <a:lnTo>
                      <a:pt x="200616" y="133837"/>
                    </a:lnTo>
                    <a:lnTo>
                      <a:pt x="94436" y="42825"/>
                    </a:lnTo>
                    <a:cubicBezTo>
                      <a:pt x="91402" y="39792"/>
                      <a:pt x="88368" y="33724"/>
                      <a:pt x="88368" y="27657"/>
                    </a:cubicBezTo>
                    <a:cubicBezTo>
                      <a:pt x="88368" y="21589"/>
                      <a:pt x="94436" y="15522"/>
                      <a:pt x="97470" y="15522"/>
                    </a:cubicBezTo>
                    <a:cubicBezTo>
                      <a:pt x="158144" y="-11781"/>
                      <a:pt x="227919" y="-2680"/>
                      <a:pt x="276458" y="39792"/>
                    </a:cubicBezTo>
                    <a:cubicBezTo>
                      <a:pt x="324998" y="82263"/>
                      <a:pt x="346233" y="145971"/>
                      <a:pt x="328031" y="209679"/>
                    </a:cubicBezTo>
                    <a:lnTo>
                      <a:pt x="546458" y="397769"/>
                    </a:lnTo>
                    <a:cubicBezTo>
                      <a:pt x="604099" y="373499"/>
                      <a:pt x="673874" y="382601"/>
                      <a:pt x="722413" y="425072"/>
                    </a:cubicBezTo>
                    <a:cubicBezTo>
                      <a:pt x="770953" y="467545"/>
                      <a:pt x="792189" y="537320"/>
                      <a:pt x="773986" y="597994"/>
                    </a:cubicBezTo>
                    <a:cubicBezTo>
                      <a:pt x="770953" y="604061"/>
                      <a:pt x="767919" y="607095"/>
                      <a:pt x="761852" y="610129"/>
                    </a:cubicBezTo>
                    <a:cubicBezTo>
                      <a:pt x="755784" y="613162"/>
                      <a:pt x="749717" y="610129"/>
                      <a:pt x="746683" y="607095"/>
                    </a:cubicBezTo>
                    <a:lnTo>
                      <a:pt x="640503" y="516084"/>
                    </a:lnTo>
                    <a:lnTo>
                      <a:pt x="579829" y="585859"/>
                    </a:lnTo>
                    <a:lnTo>
                      <a:pt x="686009" y="676870"/>
                    </a:lnTo>
                    <a:cubicBezTo>
                      <a:pt x="689043" y="679904"/>
                      <a:pt x="692076" y="685971"/>
                      <a:pt x="692076" y="692039"/>
                    </a:cubicBezTo>
                    <a:cubicBezTo>
                      <a:pt x="692076" y="698106"/>
                      <a:pt x="689043" y="701140"/>
                      <a:pt x="682975" y="704173"/>
                    </a:cubicBezTo>
                    <a:cubicBezTo>
                      <a:pt x="682975" y="704173"/>
                      <a:pt x="682975" y="704173"/>
                      <a:pt x="679941" y="704173"/>
                    </a:cubicBezTo>
                    <a:cubicBezTo>
                      <a:pt x="661739" y="713275"/>
                      <a:pt x="637470" y="719342"/>
                      <a:pt x="613200" y="719342"/>
                    </a:cubicBezTo>
                    <a:close/>
                    <a:moveTo>
                      <a:pt x="233987" y="309791"/>
                    </a:moveTo>
                    <a:cubicBezTo>
                      <a:pt x="233987" y="309791"/>
                      <a:pt x="237020" y="309791"/>
                      <a:pt x="237020" y="309791"/>
                    </a:cubicBezTo>
                    <a:lnTo>
                      <a:pt x="461515" y="503949"/>
                    </a:lnTo>
                    <a:cubicBezTo>
                      <a:pt x="464548" y="503949"/>
                      <a:pt x="464548" y="506982"/>
                      <a:pt x="464548" y="510016"/>
                    </a:cubicBezTo>
                    <a:cubicBezTo>
                      <a:pt x="449379" y="567657"/>
                      <a:pt x="467582" y="631365"/>
                      <a:pt x="513087" y="670803"/>
                    </a:cubicBezTo>
                    <a:cubicBezTo>
                      <a:pt x="558593" y="710241"/>
                      <a:pt x="625335" y="719342"/>
                      <a:pt x="679941" y="695073"/>
                    </a:cubicBezTo>
                    <a:cubicBezTo>
                      <a:pt x="682975" y="695073"/>
                      <a:pt x="682975" y="692039"/>
                      <a:pt x="682975" y="692039"/>
                    </a:cubicBezTo>
                    <a:cubicBezTo>
                      <a:pt x="682975" y="689005"/>
                      <a:pt x="682975" y="689005"/>
                      <a:pt x="679941" y="685971"/>
                    </a:cubicBezTo>
                    <a:lnTo>
                      <a:pt x="567695" y="588893"/>
                    </a:lnTo>
                    <a:cubicBezTo>
                      <a:pt x="567695" y="588893"/>
                      <a:pt x="564661" y="585859"/>
                      <a:pt x="564661" y="585859"/>
                    </a:cubicBezTo>
                    <a:cubicBezTo>
                      <a:pt x="564661" y="585859"/>
                      <a:pt x="564661" y="582825"/>
                      <a:pt x="564661" y="582825"/>
                    </a:cubicBezTo>
                    <a:lnTo>
                      <a:pt x="631402" y="506982"/>
                    </a:lnTo>
                    <a:cubicBezTo>
                      <a:pt x="634436" y="503949"/>
                      <a:pt x="637470" y="503949"/>
                      <a:pt x="640503" y="506982"/>
                    </a:cubicBezTo>
                    <a:lnTo>
                      <a:pt x="752750" y="604061"/>
                    </a:lnTo>
                    <a:cubicBezTo>
                      <a:pt x="752750" y="604061"/>
                      <a:pt x="755784" y="607095"/>
                      <a:pt x="758818" y="604061"/>
                    </a:cubicBezTo>
                    <a:cubicBezTo>
                      <a:pt x="761852" y="604061"/>
                      <a:pt x="761852" y="601028"/>
                      <a:pt x="761852" y="601028"/>
                    </a:cubicBezTo>
                    <a:cubicBezTo>
                      <a:pt x="780054" y="543387"/>
                      <a:pt x="758818" y="479679"/>
                      <a:pt x="713312" y="437208"/>
                    </a:cubicBezTo>
                    <a:cubicBezTo>
                      <a:pt x="667807" y="397769"/>
                      <a:pt x="604099" y="388668"/>
                      <a:pt x="546458" y="412938"/>
                    </a:cubicBezTo>
                    <a:cubicBezTo>
                      <a:pt x="543424" y="412938"/>
                      <a:pt x="543424" y="412938"/>
                      <a:pt x="540391" y="412938"/>
                    </a:cubicBezTo>
                    <a:lnTo>
                      <a:pt x="315896" y="218780"/>
                    </a:lnTo>
                    <a:cubicBezTo>
                      <a:pt x="312862" y="218780"/>
                      <a:pt x="312862" y="215747"/>
                      <a:pt x="312862" y="212713"/>
                    </a:cubicBezTo>
                    <a:cubicBezTo>
                      <a:pt x="328031" y="155073"/>
                      <a:pt x="309829" y="91365"/>
                      <a:pt x="264324" y="51926"/>
                    </a:cubicBezTo>
                    <a:cubicBezTo>
                      <a:pt x="218818" y="12488"/>
                      <a:pt x="152076" y="3387"/>
                      <a:pt x="97470" y="27657"/>
                    </a:cubicBezTo>
                    <a:cubicBezTo>
                      <a:pt x="94436" y="27657"/>
                      <a:pt x="94436" y="30690"/>
                      <a:pt x="94436" y="30690"/>
                    </a:cubicBezTo>
                    <a:cubicBezTo>
                      <a:pt x="94436" y="33724"/>
                      <a:pt x="94436" y="33724"/>
                      <a:pt x="97470" y="36758"/>
                    </a:cubicBezTo>
                    <a:lnTo>
                      <a:pt x="209717" y="133837"/>
                    </a:lnTo>
                    <a:cubicBezTo>
                      <a:pt x="209717" y="133837"/>
                      <a:pt x="212750" y="136870"/>
                      <a:pt x="212750" y="136870"/>
                    </a:cubicBezTo>
                    <a:cubicBezTo>
                      <a:pt x="212750" y="136870"/>
                      <a:pt x="212750" y="139904"/>
                      <a:pt x="212750" y="139904"/>
                    </a:cubicBezTo>
                    <a:lnTo>
                      <a:pt x="146008" y="215747"/>
                    </a:lnTo>
                    <a:cubicBezTo>
                      <a:pt x="142976" y="218780"/>
                      <a:pt x="139942" y="218780"/>
                      <a:pt x="136908" y="215747"/>
                    </a:cubicBezTo>
                    <a:lnTo>
                      <a:pt x="24660" y="118668"/>
                    </a:lnTo>
                    <a:cubicBezTo>
                      <a:pt x="24660" y="118668"/>
                      <a:pt x="21627" y="115634"/>
                      <a:pt x="18593" y="118668"/>
                    </a:cubicBezTo>
                    <a:cubicBezTo>
                      <a:pt x="15559" y="118668"/>
                      <a:pt x="15559" y="121702"/>
                      <a:pt x="15559" y="121702"/>
                    </a:cubicBezTo>
                    <a:lnTo>
                      <a:pt x="15559" y="121702"/>
                    </a:lnTo>
                    <a:cubicBezTo>
                      <a:pt x="-2643" y="179342"/>
                      <a:pt x="18593" y="243050"/>
                      <a:pt x="64099" y="282488"/>
                    </a:cubicBezTo>
                    <a:cubicBezTo>
                      <a:pt x="112638" y="324960"/>
                      <a:pt x="176346" y="334061"/>
                      <a:pt x="233987" y="309791"/>
                    </a:cubicBezTo>
                    <a:cubicBezTo>
                      <a:pt x="233987" y="309791"/>
                      <a:pt x="233987" y="309791"/>
                      <a:pt x="233987" y="309791"/>
                    </a:cubicBezTo>
                    <a:close/>
                    <a:moveTo>
                      <a:pt x="12526" y="121702"/>
                    </a:moveTo>
                    <a:lnTo>
                      <a:pt x="12526" y="121702"/>
                    </a:lnTo>
                    <a:lnTo>
                      <a:pt x="12526" y="121702"/>
                    </a:ln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18457948-C693-4075-867F-07655FE42660}"/>
                </a:ext>
              </a:extLst>
            </p:cNvPr>
            <p:cNvSpPr/>
            <p:nvPr/>
          </p:nvSpPr>
          <p:spPr>
            <a:xfrm>
              <a:off x="13739190" y="8428184"/>
              <a:ext cx="153623" cy="224628"/>
            </a:xfrm>
            <a:custGeom>
              <a:avLst/>
              <a:gdLst>
                <a:gd name="connsiteX0" fmla="*/ 60512 w 153623"/>
                <a:gd name="connsiteY0" fmla="*/ 91770 h 224628"/>
                <a:gd name="connsiteX1" fmla="*/ 66579 w 153623"/>
                <a:gd name="connsiteY1" fmla="*/ 18961 h 224628"/>
                <a:gd name="connsiteX2" fmla="*/ 39276 w 153623"/>
                <a:gd name="connsiteY2" fmla="*/ 758 h 224628"/>
                <a:gd name="connsiteX3" fmla="*/ 30175 w 153623"/>
                <a:gd name="connsiteY3" fmla="*/ 194916 h 224628"/>
                <a:gd name="connsiteX4" fmla="*/ 30175 w 153623"/>
                <a:gd name="connsiteY4" fmla="*/ 194916 h 224628"/>
                <a:gd name="connsiteX5" fmla="*/ 30175 w 153623"/>
                <a:gd name="connsiteY5" fmla="*/ 200983 h 224628"/>
                <a:gd name="connsiteX6" fmla="*/ 139388 w 153623"/>
                <a:gd name="connsiteY6" fmla="*/ 219185 h 224628"/>
                <a:gd name="connsiteX7" fmla="*/ 60512 w 153623"/>
                <a:gd name="connsiteY7" fmla="*/ 91770 h 224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3623" h="224628">
                  <a:moveTo>
                    <a:pt x="60512" y="91770"/>
                  </a:moveTo>
                  <a:cubicBezTo>
                    <a:pt x="54444" y="70534"/>
                    <a:pt x="60512" y="46264"/>
                    <a:pt x="66579" y="18961"/>
                  </a:cubicBezTo>
                  <a:cubicBezTo>
                    <a:pt x="69613" y="3792"/>
                    <a:pt x="42310" y="-2275"/>
                    <a:pt x="39276" y="758"/>
                  </a:cubicBezTo>
                  <a:cubicBezTo>
                    <a:pt x="-3196" y="52331"/>
                    <a:pt x="-18364" y="140309"/>
                    <a:pt x="30175" y="194916"/>
                  </a:cubicBezTo>
                  <a:cubicBezTo>
                    <a:pt x="30175" y="194916"/>
                    <a:pt x="30175" y="194916"/>
                    <a:pt x="30175" y="194916"/>
                  </a:cubicBezTo>
                  <a:cubicBezTo>
                    <a:pt x="30175" y="194916"/>
                    <a:pt x="27141" y="197949"/>
                    <a:pt x="30175" y="200983"/>
                  </a:cubicBezTo>
                  <a:cubicBezTo>
                    <a:pt x="48377" y="228286"/>
                    <a:pt x="109051" y="228286"/>
                    <a:pt x="139388" y="219185"/>
                  </a:cubicBezTo>
                  <a:cubicBezTo>
                    <a:pt x="187927" y="204017"/>
                    <a:pt x="99950" y="155478"/>
                    <a:pt x="60512" y="91770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4" name="图形 1">
              <a:extLst>
                <a:ext uri="{FF2B5EF4-FFF2-40B4-BE49-F238E27FC236}">
                  <a16:creationId xmlns:a16="http://schemas.microsoft.com/office/drawing/2014/main" id="{09629EF8-F859-4087-9D73-72D10F4F7F9E}"/>
                </a:ext>
              </a:extLst>
            </p:cNvPr>
            <p:cNvGrpSpPr/>
            <p:nvPr/>
          </p:nvGrpSpPr>
          <p:grpSpPr>
            <a:xfrm>
              <a:off x="13808803" y="8367694"/>
              <a:ext cx="188090" cy="188664"/>
              <a:chOff x="13808803" y="8367694"/>
              <a:chExt cx="188090" cy="188664"/>
            </a:xfrm>
          </p:grpSpPr>
          <p:grpSp>
            <p:nvGrpSpPr>
              <p:cNvPr id="46" name="图形 1">
                <a:extLst>
                  <a:ext uri="{FF2B5EF4-FFF2-40B4-BE49-F238E27FC236}">
                    <a16:creationId xmlns:a16="http://schemas.microsoft.com/office/drawing/2014/main" id="{B91E8009-407D-43BE-843E-7962903274D8}"/>
                  </a:ext>
                </a:extLst>
              </p:cNvPr>
              <p:cNvGrpSpPr/>
              <p:nvPr/>
            </p:nvGrpSpPr>
            <p:grpSpPr>
              <a:xfrm>
                <a:off x="13808803" y="8367694"/>
                <a:ext cx="186246" cy="177948"/>
                <a:chOff x="13808803" y="8367694"/>
                <a:chExt cx="186246" cy="177948"/>
              </a:xfrm>
            </p:grpSpPr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4C29BFDB-D75F-4A26-B30D-F9F1E585DFD8}"/>
                    </a:ext>
                  </a:extLst>
                </p:cNvPr>
                <p:cNvSpPr/>
                <p:nvPr/>
              </p:nvSpPr>
              <p:spPr>
                <a:xfrm>
                  <a:off x="13817323" y="8367694"/>
                  <a:ext cx="108414" cy="103525"/>
                </a:xfrm>
                <a:custGeom>
                  <a:avLst/>
                  <a:gdLst>
                    <a:gd name="connsiteX0" fmla="*/ 76424 w 108414"/>
                    <a:gd name="connsiteY0" fmla="*/ 575 h 103525"/>
                    <a:gd name="connsiteX1" fmla="*/ 15750 w 108414"/>
                    <a:gd name="connsiteY1" fmla="*/ 46080 h 103525"/>
                    <a:gd name="connsiteX2" fmla="*/ 6649 w 108414"/>
                    <a:gd name="connsiteY2" fmla="*/ 52148 h 103525"/>
                    <a:gd name="connsiteX3" fmla="*/ 581 w 108414"/>
                    <a:gd name="connsiteY3" fmla="*/ 64283 h 103525"/>
                    <a:gd name="connsiteX4" fmla="*/ 21817 w 108414"/>
                    <a:gd name="connsiteY4" fmla="*/ 100687 h 103525"/>
                    <a:gd name="connsiteX5" fmla="*/ 58222 w 108414"/>
                    <a:gd name="connsiteY5" fmla="*/ 88553 h 103525"/>
                    <a:gd name="connsiteX6" fmla="*/ 94626 w 108414"/>
                    <a:gd name="connsiteY6" fmla="*/ 55182 h 103525"/>
                    <a:gd name="connsiteX7" fmla="*/ 106761 w 108414"/>
                    <a:gd name="connsiteY7" fmla="*/ 24845 h 103525"/>
                    <a:gd name="connsiteX8" fmla="*/ 76424 w 108414"/>
                    <a:gd name="connsiteY8" fmla="*/ 575 h 103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8414" h="103525">
                      <a:moveTo>
                        <a:pt x="76424" y="575"/>
                      </a:moveTo>
                      <a:cubicBezTo>
                        <a:pt x="49121" y="3609"/>
                        <a:pt x="33952" y="27878"/>
                        <a:pt x="15750" y="46080"/>
                      </a:cubicBezTo>
                      <a:cubicBezTo>
                        <a:pt x="12717" y="49114"/>
                        <a:pt x="6649" y="52148"/>
                        <a:pt x="6649" y="52148"/>
                      </a:cubicBezTo>
                      <a:cubicBezTo>
                        <a:pt x="3615" y="55182"/>
                        <a:pt x="3615" y="58216"/>
                        <a:pt x="581" y="64283"/>
                      </a:cubicBezTo>
                      <a:cubicBezTo>
                        <a:pt x="-2452" y="76418"/>
                        <a:pt x="6649" y="91586"/>
                        <a:pt x="21817" y="100687"/>
                      </a:cubicBezTo>
                      <a:cubicBezTo>
                        <a:pt x="36986" y="109788"/>
                        <a:pt x="49121" y="94620"/>
                        <a:pt x="58222" y="88553"/>
                      </a:cubicBezTo>
                      <a:cubicBezTo>
                        <a:pt x="70357" y="79451"/>
                        <a:pt x="82492" y="67316"/>
                        <a:pt x="94626" y="55182"/>
                      </a:cubicBezTo>
                      <a:cubicBezTo>
                        <a:pt x="100694" y="46080"/>
                        <a:pt x="112829" y="36979"/>
                        <a:pt x="106761" y="24845"/>
                      </a:cubicBezTo>
                      <a:cubicBezTo>
                        <a:pt x="100694" y="6642"/>
                        <a:pt x="85525" y="-2459"/>
                        <a:pt x="76424" y="575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9" name="任意多边形: 形状 48">
                  <a:extLst>
                    <a:ext uri="{FF2B5EF4-FFF2-40B4-BE49-F238E27FC236}">
                      <a16:creationId xmlns:a16="http://schemas.microsoft.com/office/drawing/2014/main" id="{06CC4917-95AC-4EC8-81F6-F88F719B8647}"/>
                    </a:ext>
                  </a:extLst>
                </p:cNvPr>
                <p:cNvSpPr/>
                <p:nvPr/>
              </p:nvSpPr>
              <p:spPr>
                <a:xfrm>
                  <a:off x="13838559" y="8407495"/>
                  <a:ext cx="108414" cy="103162"/>
                </a:xfrm>
                <a:custGeom>
                  <a:avLst/>
                  <a:gdLst>
                    <a:gd name="connsiteX0" fmla="*/ 79458 w 108414"/>
                    <a:gd name="connsiteY0" fmla="*/ 211 h 103162"/>
                    <a:gd name="connsiteX1" fmla="*/ 9682 w 108414"/>
                    <a:gd name="connsiteY1" fmla="*/ 45717 h 103162"/>
                    <a:gd name="connsiteX2" fmla="*/ 6649 w 108414"/>
                    <a:gd name="connsiteY2" fmla="*/ 51784 h 103162"/>
                    <a:gd name="connsiteX3" fmla="*/ 581 w 108414"/>
                    <a:gd name="connsiteY3" fmla="*/ 63919 h 103162"/>
                    <a:gd name="connsiteX4" fmla="*/ 21818 w 108414"/>
                    <a:gd name="connsiteY4" fmla="*/ 100324 h 103162"/>
                    <a:gd name="connsiteX5" fmla="*/ 58222 w 108414"/>
                    <a:gd name="connsiteY5" fmla="*/ 88189 h 103162"/>
                    <a:gd name="connsiteX6" fmla="*/ 94626 w 108414"/>
                    <a:gd name="connsiteY6" fmla="*/ 54818 h 103162"/>
                    <a:gd name="connsiteX7" fmla="*/ 106761 w 108414"/>
                    <a:gd name="connsiteY7" fmla="*/ 24481 h 103162"/>
                    <a:gd name="connsiteX8" fmla="*/ 79458 w 108414"/>
                    <a:gd name="connsiteY8" fmla="*/ 211 h 103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8414" h="103162">
                      <a:moveTo>
                        <a:pt x="79458" y="211"/>
                      </a:moveTo>
                      <a:cubicBezTo>
                        <a:pt x="43053" y="-2823"/>
                        <a:pt x="30918" y="27515"/>
                        <a:pt x="9682" y="45717"/>
                      </a:cubicBezTo>
                      <a:cubicBezTo>
                        <a:pt x="6649" y="48751"/>
                        <a:pt x="6649" y="48751"/>
                        <a:pt x="6649" y="51784"/>
                      </a:cubicBezTo>
                      <a:cubicBezTo>
                        <a:pt x="3615" y="54818"/>
                        <a:pt x="3615" y="57852"/>
                        <a:pt x="581" y="63919"/>
                      </a:cubicBezTo>
                      <a:cubicBezTo>
                        <a:pt x="-2453" y="76054"/>
                        <a:pt x="6649" y="91223"/>
                        <a:pt x="21818" y="100324"/>
                      </a:cubicBezTo>
                      <a:cubicBezTo>
                        <a:pt x="36986" y="109425"/>
                        <a:pt x="49121" y="94256"/>
                        <a:pt x="58222" y="88189"/>
                      </a:cubicBezTo>
                      <a:cubicBezTo>
                        <a:pt x="70356" y="79088"/>
                        <a:pt x="82492" y="66953"/>
                        <a:pt x="94626" y="54818"/>
                      </a:cubicBezTo>
                      <a:cubicBezTo>
                        <a:pt x="100693" y="45717"/>
                        <a:pt x="112829" y="36616"/>
                        <a:pt x="106761" y="24481"/>
                      </a:cubicBezTo>
                      <a:cubicBezTo>
                        <a:pt x="103727" y="6279"/>
                        <a:pt x="91593" y="211"/>
                        <a:pt x="79458" y="211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0" name="任意多边形: 形状 49">
                  <a:extLst>
                    <a:ext uri="{FF2B5EF4-FFF2-40B4-BE49-F238E27FC236}">
                      <a16:creationId xmlns:a16="http://schemas.microsoft.com/office/drawing/2014/main" id="{C733417A-13F6-48E7-A977-D02960C98ED1}"/>
                    </a:ext>
                  </a:extLst>
                </p:cNvPr>
                <p:cNvSpPr/>
                <p:nvPr/>
              </p:nvSpPr>
              <p:spPr>
                <a:xfrm>
                  <a:off x="13874957" y="8441078"/>
                  <a:ext cx="99319" cy="86944"/>
                </a:xfrm>
                <a:custGeom>
                  <a:avLst/>
                  <a:gdLst>
                    <a:gd name="connsiteX0" fmla="*/ 70363 w 99319"/>
                    <a:gd name="connsiteY0" fmla="*/ 0 h 86944"/>
                    <a:gd name="connsiteX1" fmla="*/ 9689 w 99319"/>
                    <a:gd name="connsiteY1" fmla="*/ 39438 h 86944"/>
                    <a:gd name="connsiteX2" fmla="*/ 6655 w 99319"/>
                    <a:gd name="connsiteY2" fmla="*/ 45506 h 86944"/>
                    <a:gd name="connsiteX3" fmla="*/ 588 w 99319"/>
                    <a:gd name="connsiteY3" fmla="*/ 54606 h 86944"/>
                    <a:gd name="connsiteX4" fmla="*/ 18790 w 99319"/>
                    <a:gd name="connsiteY4" fmla="*/ 84943 h 86944"/>
                    <a:gd name="connsiteX5" fmla="*/ 52161 w 99319"/>
                    <a:gd name="connsiteY5" fmla="*/ 75843 h 86944"/>
                    <a:gd name="connsiteX6" fmla="*/ 85532 w 99319"/>
                    <a:gd name="connsiteY6" fmla="*/ 48539 h 86944"/>
                    <a:gd name="connsiteX7" fmla="*/ 97666 w 99319"/>
                    <a:gd name="connsiteY7" fmla="*/ 21236 h 86944"/>
                    <a:gd name="connsiteX8" fmla="*/ 70363 w 99319"/>
                    <a:gd name="connsiteY8" fmla="*/ 0 h 869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9319" h="86944">
                      <a:moveTo>
                        <a:pt x="70363" y="0"/>
                      </a:moveTo>
                      <a:cubicBezTo>
                        <a:pt x="36992" y="0"/>
                        <a:pt x="27891" y="24269"/>
                        <a:pt x="9689" y="39438"/>
                      </a:cubicBezTo>
                      <a:cubicBezTo>
                        <a:pt x="6655" y="39438"/>
                        <a:pt x="6655" y="42472"/>
                        <a:pt x="6655" y="45506"/>
                      </a:cubicBezTo>
                      <a:cubicBezTo>
                        <a:pt x="3621" y="48539"/>
                        <a:pt x="3621" y="51573"/>
                        <a:pt x="588" y="54606"/>
                      </a:cubicBezTo>
                      <a:cubicBezTo>
                        <a:pt x="-2446" y="63708"/>
                        <a:pt x="6655" y="78876"/>
                        <a:pt x="18790" y="84943"/>
                      </a:cubicBezTo>
                      <a:cubicBezTo>
                        <a:pt x="33958" y="91011"/>
                        <a:pt x="43060" y="81910"/>
                        <a:pt x="52161" y="75843"/>
                      </a:cubicBezTo>
                      <a:cubicBezTo>
                        <a:pt x="64295" y="66741"/>
                        <a:pt x="73397" y="57640"/>
                        <a:pt x="85532" y="48539"/>
                      </a:cubicBezTo>
                      <a:cubicBezTo>
                        <a:pt x="91599" y="42472"/>
                        <a:pt x="103734" y="33371"/>
                        <a:pt x="97666" y="21236"/>
                      </a:cubicBezTo>
                      <a:cubicBezTo>
                        <a:pt x="94632" y="9101"/>
                        <a:pt x="82498" y="3033"/>
                        <a:pt x="70363" y="0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1" name="任意多边形: 形状 50">
                  <a:extLst>
                    <a:ext uri="{FF2B5EF4-FFF2-40B4-BE49-F238E27FC236}">
                      <a16:creationId xmlns:a16="http://schemas.microsoft.com/office/drawing/2014/main" id="{F568E43E-11B1-4D6E-B84B-F6EE3B15C8FF}"/>
                    </a:ext>
                  </a:extLst>
                </p:cNvPr>
                <p:cNvSpPr/>
                <p:nvPr/>
              </p:nvSpPr>
              <p:spPr>
                <a:xfrm>
                  <a:off x="13918017" y="8465347"/>
                  <a:ext cx="77032" cy="80295"/>
                </a:xfrm>
                <a:custGeom>
                  <a:avLst/>
                  <a:gdLst>
                    <a:gd name="connsiteX0" fmla="*/ 54606 w 77032"/>
                    <a:gd name="connsiteY0" fmla="*/ 0 h 80295"/>
                    <a:gd name="connsiteX1" fmla="*/ 6067 w 77032"/>
                    <a:gd name="connsiteY1" fmla="*/ 39438 h 80295"/>
                    <a:gd name="connsiteX2" fmla="*/ 3034 w 77032"/>
                    <a:gd name="connsiteY2" fmla="*/ 42472 h 80295"/>
                    <a:gd name="connsiteX3" fmla="*/ 0 w 77032"/>
                    <a:gd name="connsiteY3" fmla="*/ 48540 h 80295"/>
                    <a:gd name="connsiteX4" fmla="*/ 15169 w 77032"/>
                    <a:gd name="connsiteY4" fmla="*/ 78877 h 80295"/>
                    <a:gd name="connsiteX5" fmla="*/ 45506 w 77032"/>
                    <a:gd name="connsiteY5" fmla="*/ 66742 h 80295"/>
                    <a:gd name="connsiteX6" fmla="*/ 69775 w 77032"/>
                    <a:gd name="connsiteY6" fmla="*/ 42472 h 80295"/>
                    <a:gd name="connsiteX7" fmla="*/ 75843 w 77032"/>
                    <a:gd name="connsiteY7" fmla="*/ 18202 h 80295"/>
                    <a:gd name="connsiteX8" fmla="*/ 54606 w 77032"/>
                    <a:gd name="connsiteY8" fmla="*/ 0 h 802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7032" h="80295">
                      <a:moveTo>
                        <a:pt x="54606" y="0"/>
                      </a:moveTo>
                      <a:cubicBezTo>
                        <a:pt x="30337" y="0"/>
                        <a:pt x="21235" y="30337"/>
                        <a:pt x="6067" y="39438"/>
                      </a:cubicBezTo>
                      <a:cubicBezTo>
                        <a:pt x="6067" y="39438"/>
                        <a:pt x="3034" y="42472"/>
                        <a:pt x="3034" y="42472"/>
                      </a:cubicBezTo>
                      <a:cubicBezTo>
                        <a:pt x="0" y="45506"/>
                        <a:pt x="0" y="45506"/>
                        <a:pt x="0" y="48540"/>
                      </a:cubicBezTo>
                      <a:cubicBezTo>
                        <a:pt x="0" y="57641"/>
                        <a:pt x="3034" y="75843"/>
                        <a:pt x="15169" y="78877"/>
                      </a:cubicBezTo>
                      <a:cubicBezTo>
                        <a:pt x="27303" y="84944"/>
                        <a:pt x="39438" y="69775"/>
                        <a:pt x="45506" y="66742"/>
                      </a:cubicBezTo>
                      <a:cubicBezTo>
                        <a:pt x="54606" y="60674"/>
                        <a:pt x="60674" y="48540"/>
                        <a:pt x="69775" y="42472"/>
                      </a:cubicBezTo>
                      <a:cubicBezTo>
                        <a:pt x="75843" y="36405"/>
                        <a:pt x="78877" y="27304"/>
                        <a:pt x="75843" y="18202"/>
                      </a:cubicBezTo>
                      <a:cubicBezTo>
                        <a:pt x="69775" y="12135"/>
                        <a:pt x="60674" y="0"/>
                        <a:pt x="54606" y="0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010D8782-E396-4EFC-96C8-C979C4CA9D73}"/>
                    </a:ext>
                  </a:extLst>
                </p:cNvPr>
                <p:cNvSpPr/>
                <p:nvPr/>
              </p:nvSpPr>
              <p:spPr>
                <a:xfrm>
                  <a:off x="13808803" y="8376113"/>
                  <a:ext cx="140740" cy="134739"/>
                </a:xfrm>
                <a:custGeom>
                  <a:avLst/>
                  <a:gdLst>
                    <a:gd name="connsiteX0" fmla="*/ 57640 w 140740"/>
                    <a:gd name="connsiteY0" fmla="*/ 134740 h 134739"/>
                    <a:gd name="connsiteX1" fmla="*/ 39438 w 140740"/>
                    <a:gd name="connsiteY1" fmla="*/ 128672 h 134739"/>
                    <a:gd name="connsiteX2" fmla="*/ 21236 w 140740"/>
                    <a:gd name="connsiteY2" fmla="*/ 89234 h 134739"/>
                    <a:gd name="connsiteX3" fmla="*/ 9101 w 140740"/>
                    <a:gd name="connsiteY3" fmla="*/ 83167 h 134739"/>
                    <a:gd name="connsiteX4" fmla="*/ 0 w 140740"/>
                    <a:gd name="connsiteY4" fmla="*/ 64965 h 134739"/>
                    <a:gd name="connsiteX5" fmla="*/ 51573 w 140740"/>
                    <a:gd name="connsiteY5" fmla="*/ 1257 h 134739"/>
                    <a:gd name="connsiteX6" fmla="*/ 60674 w 140740"/>
                    <a:gd name="connsiteY6" fmla="*/ 4291 h 134739"/>
                    <a:gd name="connsiteX7" fmla="*/ 57640 w 140740"/>
                    <a:gd name="connsiteY7" fmla="*/ 13391 h 134739"/>
                    <a:gd name="connsiteX8" fmla="*/ 12135 w 140740"/>
                    <a:gd name="connsiteY8" fmla="*/ 67998 h 134739"/>
                    <a:gd name="connsiteX9" fmla="*/ 18202 w 140740"/>
                    <a:gd name="connsiteY9" fmla="*/ 77099 h 134739"/>
                    <a:gd name="connsiteX10" fmla="*/ 103146 w 140740"/>
                    <a:gd name="connsiteY10" fmla="*/ 31594 h 134739"/>
                    <a:gd name="connsiteX11" fmla="*/ 112248 w 140740"/>
                    <a:gd name="connsiteY11" fmla="*/ 28560 h 134739"/>
                    <a:gd name="connsiteX12" fmla="*/ 112248 w 140740"/>
                    <a:gd name="connsiteY12" fmla="*/ 28560 h 134739"/>
                    <a:gd name="connsiteX13" fmla="*/ 133483 w 140740"/>
                    <a:gd name="connsiteY13" fmla="*/ 40695 h 134739"/>
                    <a:gd name="connsiteX14" fmla="*/ 139551 w 140740"/>
                    <a:gd name="connsiteY14" fmla="*/ 61931 h 134739"/>
                    <a:gd name="connsiteX15" fmla="*/ 100112 w 140740"/>
                    <a:gd name="connsiteY15" fmla="*/ 116538 h 134739"/>
                    <a:gd name="connsiteX16" fmla="*/ 57640 w 140740"/>
                    <a:gd name="connsiteY16" fmla="*/ 134740 h 134739"/>
                    <a:gd name="connsiteX17" fmla="*/ 36405 w 140740"/>
                    <a:gd name="connsiteY17" fmla="*/ 92268 h 134739"/>
                    <a:gd name="connsiteX18" fmla="*/ 48540 w 140740"/>
                    <a:gd name="connsiteY18" fmla="*/ 119571 h 134739"/>
                    <a:gd name="connsiteX19" fmla="*/ 94045 w 140740"/>
                    <a:gd name="connsiteY19" fmla="*/ 104403 h 134739"/>
                    <a:gd name="connsiteX20" fmla="*/ 130449 w 140740"/>
                    <a:gd name="connsiteY20" fmla="*/ 55864 h 134739"/>
                    <a:gd name="connsiteX21" fmla="*/ 127416 w 140740"/>
                    <a:gd name="connsiteY21" fmla="*/ 43728 h 134739"/>
                    <a:gd name="connsiteX22" fmla="*/ 115281 w 140740"/>
                    <a:gd name="connsiteY22" fmla="*/ 37661 h 134739"/>
                    <a:gd name="connsiteX23" fmla="*/ 36405 w 140740"/>
                    <a:gd name="connsiteY23" fmla="*/ 92268 h 134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40740" h="134739">
                      <a:moveTo>
                        <a:pt x="57640" y="134740"/>
                      </a:moveTo>
                      <a:cubicBezTo>
                        <a:pt x="51573" y="134740"/>
                        <a:pt x="45506" y="131706"/>
                        <a:pt x="39438" y="128672"/>
                      </a:cubicBezTo>
                      <a:cubicBezTo>
                        <a:pt x="24269" y="116538"/>
                        <a:pt x="21236" y="95302"/>
                        <a:pt x="21236" y="89234"/>
                      </a:cubicBezTo>
                      <a:cubicBezTo>
                        <a:pt x="18202" y="86201"/>
                        <a:pt x="12135" y="86201"/>
                        <a:pt x="9101" y="83167"/>
                      </a:cubicBezTo>
                      <a:cubicBezTo>
                        <a:pt x="3034" y="77099"/>
                        <a:pt x="0" y="71032"/>
                        <a:pt x="0" y="64965"/>
                      </a:cubicBezTo>
                      <a:cubicBezTo>
                        <a:pt x="0" y="37661"/>
                        <a:pt x="45506" y="4291"/>
                        <a:pt x="51573" y="1257"/>
                      </a:cubicBezTo>
                      <a:cubicBezTo>
                        <a:pt x="54606" y="-1777"/>
                        <a:pt x="57640" y="1257"/>
                        <a:pt x="60674" y="4291"/>
                      </a:cubicBezTo>
                      <a:cubicBezTo>
                        <a:pt x="63708" y="7324"/>
                        <a:pt x="60674" y="10358"/>
                        <a:pt x="57640" y="13391"/>
                      </a:cubicBezTo>
                      <a:cubicBezTo>
                        <a:pt x="45506" y="22493"/>
                        <a:pt x="12135" y="49796"/>
                        <a:pt x="12135" y="67998"/>
                      </a:cubicBezTo>
                      <a:cubicBezTo>
                        <a:pt x="12135" y="71032"/>
                        <a:pt x="15169" y="74065"/>
                        <a:pt x="18202" y="77099"/>
                      </a:cubicBezTo>
                      <a:cubicBezTo>
                        <a:pt x="27303" y="86201"/>
                        <a:pt x="45506" y="98335"/>
                        <a:pt x="103146" y="31594"/>
                      </a:cubicBezTo>
                      <a:cubicBezTo>
                        <a:pt x="103146" y="31594"/>
                        <a:pt x="106180" y="28560"/>
                        <a:pt x="112248" y="28560"/>
                      </a:cubicBezTo>
                      <a:cubicBezTo>
                        <a:pt x="112248" y="28560"/>
                        <a:pt x="112248" y="28560"/>
                        <a:pt x="112248" y="28560"/>
                      </a:cubicBezTo>
                      <a:cubicBezTo>
                        <a:pt x="118314" y="28560"/>
                        <a:pt x="124382" y="31594"/>
                        <a:pt x="133483" y="40695"/>
                      </a:cubicBezTo>
                      <a:cubicBezTo>
                        <a:pt x="139551" y="46762"/>
                        <a:pt x="142585" y="52830"/>
                        <a:pt x="139551" y="61931"/>
                      </a:cubicBezTo>
                      <a:cubicBezTo>
                        <a:pt x="139551" y="77099"/>
                        <a:pt x="124382" y="98335"/>
                        <a:pt x="100112" y="116538"/>
                      </a:cubicBezTo>
                      <a:cubicBezTo>
                        <a:pt x="84943" y="125639"/>
                        <a:pt x="72809" y="134740"/>
                        <a:pt x="57640" y="134740"/>
                      </a:cubicBezTo>
                      <a:close/>
                      <a:moveTo>
                        <a:pt x="36405" y="92268"/>
                      </a:moveTo>
                      <a:cubicBezTo>
                        <a:pt x="36405" y="98335"/>
                        <a:pt x="39438" y="110470"/>
                        <a:pt x="48540" y="119571"/>
                      </a:cubicBezTo>
                      <a:cubicBezTo>
                        <a:pt x="57640" y="128672"/>
                        <a:pt x="66742" y="122605"/>
                        <a:pt x="94045" y="104403"/>
                      </a:cubicBezTo>
                      <a:cubicBezTo>
                        <a:pt x="124382" y="80133"/>
                        <a:pt x="130449" y="64965"/>
                        <a:pt x="130449" y="55864"/>
                      </a:cubicBezTo>
                      <a:cubicBezTo>
                        <a:pt x="130449" y="49796"/>
                        <a:pt x="130449" y="46762"/>
                        <a:pt x="127416" y="43728"/>
                      </a:cubicBezTo>
                      <a:cubicBezTo>
                        <a:pt x="121348" y="34628"/>
                        <a:pt x="115281" y="34628"/>
                        <a:pt x="115281" y="37661"/>
                      </a:cubicBezTo>
                      <a:cubicBezTo>
                        <a:pt x="75843" y="80133"/>
                        <a:pt x="51573" y="92268"/>
                        <a:pt x="36405" y="92268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1807F031-EDFF-49F8-85B9-A2B65DDECF24}"/>
                    </a:ext>
                  </a:extLst>
                </p:cNvPr>
                <p:cNvSpPr/>
                <p:nvPr/>
              </p:nvSpPr>
              <p:spPr>
                <a:xfrm>
                  <a:off x="13869478" y="8431977"/>
                  <a:ext cx="113005" cy="100112"/>
                </a:xfrm>
                <a:custGeom>
                  <a:avLst/>
                  <a:gdLst>
                    <a:gd name="connsiteX0" fmla="*/ 33371 w 113005"/>
                    <a:gd name="connsiteY0" fmla="*/ 100112 h 100112"/>
                    <a:gd name="connsiteX1" fmla="*/ 24269 w 113005"/>
                    <a:gd name="connsiteY1" fmla="*/ 97079 h 100112"/>
                    <a:gd name="connsiteX2" fmla="*/ 0 w 113005"/>
                    <a:gd name="connsiteY2" fmla="*/ 72809 h 100112"/>
                    <a:gd name="connsiteX3" fmla="*/ 3034 w 113005"/>
                    <a:gd name="connsiteY3" fmla="*/ 63708 h 100112"/>
                    <a:gd name="connsiteX4" fmla="*/ 12135 w 113005"/>
                    <a:gd name="connsiteY4" fmla="*/ 66741 h 100112"/>
                    <a:gd name="connsiteX5" fmla="*/ 30337 w 113005"/>
                    <a:gd name="connsiteY5" fmla="*/ 84944 h 100112"/>
                    <a:gd name="connsiteX6" fmla="*/ 48540 w 113005"/>
                    <a:gd name="connsiteY6" fmla="*/ 81910 h 100112"/>
                    <a:gd name="connsiteX7" fmla="*/ 103146 w 113005"/>
                    <a:gd name="connsiteY7" fmla="*/ 30337 h 100112"/>
                    <a:gd name="connsiteX8" fmla="*/ 100112 w 113005"/>
                    <a:gd name="connsiteY8" fmla="*/ 24270 h 100112"/>
                    <a:gd name="connsiteX9" fmla="*/ 78877 w 113005"/>
                    <a:gd name="connsiteY9" fmla="*/ 12135 h 100112"/>
                    <a:gd name="connsiteX10" fmla="*/ 78877 w 113005"/>
                    <a:gd name="connsiteY10" fmla="*/ 12135 h 100112"/>
                    <a:gd name="connsiteX11" fmla="*/ 72809 w 113005"/>
                    <a:gd name="connsiteY11" fmla="*/ 6067 h 100112"/>
                    <a:gd name="connsiteX12" fmla="*/ 78877 w 113005"/>
                    <a:gd name="connsiteY12" fmla="*/ 0 h 100112"/>
                    <a:gd name="connsiteX13" fmla="*/ 78877 w 113005"/>
                    <a:gd name="connsiteY13" fmla="*/ 0 h 100112"/>
                    <a:gd name="connsiteX14" fmla="*/ 109214 w 113005"/>
                    <a:gd name="connsiteY14" fmla="*/ 18202 h 100112"/>
                    <a:gd name="connsiteX15" fmla="*/ 112248 w 113005"/>
                    <a:gd name="connsiteY15" fmla="*/ 33371 h 100112"/>
                    <a:gd name="connsiteX16" fmla="*/ 51573 w 113005"/>
                    <a:gd name="connsiteY16" fmla="*/ 91011 h 100112"/>
                    <a:gd name="connsiteX17" fmla="*/ 33371 w 113005"/>
                    <a:gd name="connsiteY17" fmla="*/ 100112 h 100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13005" h="100112">
                      <a:moveTo>
                        <a:pt x="33371" y="100112"/>
                      </a:moveTo>
                      <a:cubicBezTo>
                        <a:pt x="30337" y="100112"/>
                        <a:pt x="27303" y="100112"/>
                        <a:pt x="24269" y="97079"/>
                      </a:cubicBezTo>
                      <a:cubicBezTo>
                        <a:pt x="9101" y="91011"/>
                        <a:pt x="0" y="72809"/>
                        <a:pt x="0" y="72809"/>
                      </a:cubicBezTo>
                      <a:cubicBezTo>
                        <a:pt x="0" y="69775"/>
                        <a:pt x="0" y="66741"/>
                        <a:pt x="3034" y="63708"/>
                      </a:cubicBezTo>
                      <a:cubicBezTo>
                        <a:pt x="6068" y="63708"/>
                        <a:pt x="9101" y="63708"/>
                        <a:pt x="12135" y="66741"/>
                      </a:cubicBezTo>
                      <a:cubicBezTo>
                        <a:pt x="12135" y="66741"/>
                        <a:pt x="18202" y="78876"/>
                        <a:pt x="30337" y="84944"/>
                      </a:cubicBezTo>
                      <a:cubicBezTo>
                        <a:pt x="36405" y="87977"/>
                        <a:pt x="42472" y="84944"/>
                        <a:pt x="48540" y="81910"/>
                      </a:cubicBezTo>
                      <a:cubicBezTo>
                        <a:pt x="78877" y="66741"/>
                        <a:pt x="100112" y="39438"/>
                        <a:pt x="103146" y="30337"/>
                      </a:cubicBezTo>
                      <a:cubicBezTo>
                        <a:pt x="103146" y="30337"/>
                        <a:pt x="103146" y="27303"/>
                        <a:pt x="100112" y="24270"/>
                      </a:cubicBezTo>
                      <a:cubicBezTo>
                        <a:pt x="94045" y="18202"/>
                        <a:pt x="84943" y="12135"/>
                        <a:pt x="78877" y="12135"/>
                      </a:cubicBezTo>
                      <a:cubicBezTo>
                        <a:pt x="78877" y="12135"/>
                        <a:pt x="78877" y="12135"/>
                        <a:pt x="78877" y="12135"/>
                      </a:cubicBezTo>
                      <a:cubicBezTo>
                        <a:pt x="75843" y="12135"/>
                        <a:pt x="72809" y="9101"/>
                        <a:pt x="72809" y="6067"/>
                      </a:cubicBezTo>
                      <a:cubicBezTo>
                        <a:pt x="72809" y="3033"/>
                        <a:pt x="75843" y="0"/>
                        <a:pt x="78877" y="0"/>
                      </a:cubicBezTo>
                      <a:cubicBezTo>
                        <a:pt x="78877" y="0"/>
                        <a:pt x="78877" y="0"/>
                        <a:pt x="78877" y="0"/>
                      </a:cubicBezTo>
                      <a:cubicBezTo>
                        <a:pt x="87977" y="0"/>
                        <a:pt x="103146" y="9101"/>
                        <a:pt x="109214" y="18202"/>
                      </a:cubicBezTo>
                      <a:cubicBezTo>
                        <a:pt x="115281" y="24270"/>
                        <a:pt x="112248" y="30337"/>
                        <a:pt x="112248" y="33371"/>
                      </a:cubicBezTo>
                      <a:cubicBezTo>
                        <a:pt x="106180" y="45506"/>
                        <a:pt x="81910" y="75843"/>
                        <a:pt x="51573" y="91011"/>
                      </a:cubicBezTo>
                      <a:cubicBezTo>
                        <a:pt x="45506" y="100112"/>
                        <a:pt x="39438" y="100112"/>
                        <a:pt x="33371" y="100112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6AFF087D-7603-4067-BF3B-335F38305325}"/>
                  </a:ext>
                </a:extLst>
              </p:cNvPr>
              <p:cNvSpPr/>
              <p:nvPr/>
            </p:nvSpPr>
            <p:spPr>
              <a:xfrm>
                <a:off x="13911949" y="8462314"/>
                <a:ext cx="84944" cy="94044"/>
              </a:xfrm>
              <a:custGeom>
                <a:avLst/>
                <a:gdLst>
                  <a:gd name="connsiteX0" fmla="*/ 27303 w 84944"/>
                  <a:gd name="connsiteY0" fmla="*/ 94045 h 94044"/>
                  <a:gd name="connsiteX1" fmla="*/ 0 w 84944"/>
                  <a:gd name="connsiteY1" fmla="*/ 60674 h 94044"/>
                  <a:gd name="connsiteX2" fmla="*/ 6068 w 84944"/>
                  <a:gd name="connsiteY2" fmla="*/ 54607 h 94044"/>
                  <a:gd name="connsiteX3" fmla="*/ 12135 w 84944"/>
                  <a:gd name="connsiteY3" fmla="*/ 60674 h 94044"/>
                  <a:gd name="connsiteX4" fmla="*/ 27303 w 84944"/>
                  <a:gd name="connsiteY4" fmla="*/ 81910 h 94044"/>
                  <a:gd name="connsiteX5" fmla="*/ 27303 w 84944"/>
                  <a:gd name="connsiteY5" fmla="*/ 81910 h 94044"/>
                  <a:gd name="connsiteX6" fmla="*/ 63708 w 84944"/>
                  <a:gd name="connsiteY6" fmla="*/ 51573 h 94044"/>
                  <a:gd name="connsiteX7" fmla="*/ 72809 w 84944"/>
                  <a:gd name="connsiteY7" fmla="*/ 30337 h 94044"/>
                  <a:gd name="connsiteX8" fmla="*/ 57640 w 84944"/>
                  <a:gd name="connsiteY8" fmla="*/ 12135 h 94044"/>
                  <a:gd name="connsiteX9" fmla="*/ 54607 w 84944"/>
                  <a:gd name="connsiteY9" fmla="*/ 3033 h 94044"/>
                  <a:gd name="connsiteX10" fmla="*/ 63708 w 84944"/>
                  <a:gd name="connsiteY10" fmla="*/ 0 h 94044"/>
                  <a:gd name="connsiteX11" fmla="*/ 84944 w 84944"/>
                  <a:gd name="connsiteY11" fmla="*/ 27303 h 94044"/>
                  <a:gd name="connsiteX12" fmla="*/ 72809 w 84944"/>
                  <a:gd name="connsiteY12" fmla="*/ 57640 h 94044"/>
                  <a:gd name="connsiteX13" fmla="*/ 27303 w 84944"/>
                  <a:gd name="connsiteY13" fmla="*/ 94045 h 94044"/>
                  <a:gd name="connsiteX14" fmla="*/ 27303 w 84944"/>
                  <a:gd name="connsiteY14" fmla="*/ 94045 h 94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4944" h="94044">
                    <a:moveTo>
                      <a:pt x="27303" y="94045"/>
                    </a:moveTo>
                    <a:cubicBezTo>
                      <a:pt x="9102" y="94045"/>
                      <a:pt x="0" y="72809"/>
                      <a:pt x="0" y="60674"/>
                    </a:cubicBezTo>
                    <a:cubicBezTo>
                      <a:pt x="0" y="57640"/>
                      <a:pt x="3034" y="54607"/>
                      <a:pt x="6068" y="54607"/>
                    </a:cubicBezTo>
                    <a:cubicBezTo>
                      <a:pt x="9102" y="54607"/>
                      <a:pt x="12135" y="57640"/>
                      <a:pt x="12135" y="60674"/>
                    </a:cubicBezTo>
                    <a:cubicBezTo>
                      <a:pt x="12135" y="60674"/>
                      <a:pt x="15169" y="81910"/>
                      <a:pt x="27303" y="81910"/>
                    </a:cubicBezTo>
                    <a:cubicBezTo>
                      <a:pt x="27303" y="81910"/>
                      <a:pt x="27303" y="81910"/>
                      <a:pt x="27303" y="81910"/>
                    </a:cubicBezTo>
                    <a:cubicBezTo>
                      <a:pt x="33371" y="81910"/>
                      <a:pt x="51573" y="66741"/>
                      <a:pt x="63708" y="51573"/>
                    </a:cubicBezTo>
                    <a:cubicBezTo>
                      <a:pt x="72809" y="42472"/>
                      <a:pt x="72809" y="33371"/>
                      <a:pt x="72809" y="30337"/>
                    </a:cubicBezTo>
                    <a:cubicBezTo>
                      <a:pt x="69776" y="18202"/>
                      <a:pt x="57640" y="12135"/>
                      <a:pt x="57640" y="12135"/>
                    </a:cubicBezTo>
                    <a:cubicBezTo>
                      <a:pt x="54607" y="12135"/>
                      <a:pt x="54607" y="6067"/>
                      <a:pt x="54607" y="3033"/>
                    </a:cubicBezTo>
                    <a:cubicBezTo>
                      <a:pt x="54607" y="0"/>
                      <a:pt x="60674" y="0"/>
                      <a:pt x="63708" y="0"/>
                    </a:cubicBezTo>
                    <a:cubicBezTo>
                      <a:pt x="63708" y="0"/>
                      <a:pt x="81910" y="9101"/>
                      <a:pt x="84944" y="27303"/>
                    </a:cubicBezTo>
                    <a:cubicBezTo>
                      <a:pt x="84944" y="33371"/>
                      <a:pt x="81910" y="45506"/>
                      <a:pt x="72809" y="57640"/>
                    </a:cubicBezTo>
                    <a:cubicBezTo>
                      <a:pt x="63708" y="69775"/>
                      <a:pt x="42472" y="91011"/>
                      <a:pt x="27303" y="94045"/>
                    </a:cubicBezTo>
                    <a:cubicBezTo>
                      <a:pt x="27303" y="94045"/>
                      <a:pt x="27303" y="94045"/>
                      <a:pt x="27303" y="9404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F0518C35-4F70-4602-9EE0-D84CA2E8051F}"/>
                </a:ext>
              </a:extLst>
            </p:cNvPr>
            <p:cNvSpPr/>
            <p:nvPr/>
          </p:nvSpPr>
          <p:spPr>
            <a:xfrm>
              <a:off x="12498241" y="8256780"/>
              <a:ext cx="132725" cy="41713"/>
            </a:xfrm>
            <a:custGeom>
              <a:avLst/>
              <a:gdLst>
                <a:gd name="connsiteX0" fmla="*/ 63708 w 132725"/>
                <a:gd name="connsiteY0" fmla="*/ 41713 h 41713"/>
                <a:gd name="connsiteX1" fmla="*/ 3034 w 132725"/>
                <a:gd name="connsiteY1" fmla="*/ 26545 h 41713"/>
                <a:gd name="connsiteX2" fmla="*/ 0 w 132725"/>
                <a:gd name="connsiteY2" fmla="*/ 17444 h 41713"/>
                <a:gd name="connsiteX3" fmla="*/ 9102 w 132725"/>
                <a:gd name="connsiteY3" fmla="*/ 14410 h 41713"/>
                <a:gd name="connsiteX4" fmla="*/ 121348 w 132725"/>
                <a:gd name="connsiteY4" fmla="*/ 2275 h 41713"/>
                <a:gd name="connsiteX5" fmla="*/ 130450 w 132725"/>
                <a:gd name="connsiteY5" fmla="*/ 2275 h 41713"/>
                <a:gd name="connsiteX6" fmla="*/ 130450 w 132725"/>
                <a:gd name="connsiteY6" fmla="*/ 11376 h 41713"/>
                <a:gd name="connsiteX7" fmla="*/ 63708 w 132725"/>
                <a:gd name="connsiteY7" fmla="*/ 41713 h 4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25" h="41713">
                  <a:moveTo>
                    <a:pt x="63708" y="41713"/>
                  </a:moveTo>
                  <a:cubicBezTo>
                    <a:pt x="30337" y="41713"/>
                    <a:pt x="3034" y="29579"/>
                    <a:pt x="3034" y="26545"/>
                  </a:cubicBezTo>
                  <a:cubicBezTo>
                    <a:pt x="0" y="26545"/>
                    <a:pt x="0" y="20477"/>
                    <a:pt x="0" y="17444"/>
                  </a:cubicBezTo>
                  <a:cubicBezTo>
                    <a:pt x="0" y="14410"/>
                    <a:pt x="6068" y="14410"/>
                    <a:pt x="9102" y="14410"/>
                  </a:cubicBezTo>
                  <a:cubicBezTo>
                    <a:pt x="12136" y="14410"/>
                    <a:pt x="81910" y="50814"/>
                    <a:pt x="121348" y="2275"/>
                  </a:cubicBezTo>
                  <a:cubicBezTo>
                    <a:pt x="124382" y="-758"/>
                    <a:pt x="127416" y="-758"/>
                    <a:pt x="130450" y="2275"/>
                  </a:cubicBezTo>
                  <a:cubicBezTo>
                    <a:pt x="133484" y="5309"/>
                    <a:pt x="133484" y="8343"/>
                    <a:pt x="130450" y="11376"/>
                  </a:cubicBezTo>
                  <a:cubicBezTo>
                    <a:pt x="112248" y="35646"/>
                    <a:pt x="87978" y="41713"/>
                    <a:pt x="63708" y="41713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80" name="图形 1">
            <a:extLst>
              <a:ext uri="{FF2B5EF4-FFF2-40B4-BE49-F238E27FC236}">
                <a16:creationId xmlns:a16="http://schemas.microsoft.com/office/drawing/2014/main" id="{B9170CB5-BC6F-47C8-A8C5-C5313965D0C4}"/>
              </a:ext>
            </a:extLst>
          </p:cNvPr>
          <p:cNvGrpSpPr/>
          <p:nvPr/>
        </p:nvGrpSpPr>
        <p:grpSpPr>
          <a:xfrm>
            <a:off x="6538530" y="2229893"/>
            <a:ext cx="2108427" cy="4628107"/>
            <a:chOff x="14712848" y="7888765"/>
            <a:chExt cx="2108427" cy="4628107"/>
          </a:xfrm>
        </p:grpSpPr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593BB175-D8ED-4303-9878-6A1DFAF59251}"/>
                </a:ext>
              </a:extLst>
            </p:cNvPr>
            <p:cNvSpPr/>
            <p:nvPr/>
          </p:nvSpPr>
          <p:spPr>
            <a:xfrm>
              <a:off x="15112286" y="8929116"/>
              <a:ext cx="798199" cy="746411"/>
            </a:xfrm>
            <a:custGeom>
              <a:avLst/>
              <a:gdLst>
                <a:gd name="connsiteX0" fmla="*/ 616854 w 798199"/>
                <a:gd name="connsiteY0" fmla="*/ 45894 h 746411"/>
                <a:gd name="connsiteX1" fmla="*/ 465169 w 798199"/>
                <a:gd name="connsiteY1" fmla="*/ 546456 h 746411"/>
                <a:gd name="connsiteX2" fmla="*/ 28315 w 798199"/>
                <a:gd name="connsiteY2" fmla="*/ 391737 h 746411"/>
                <a:gd name="connsiteX3" fmla="*/ 49552 w 798199"/>
                <a:gd name="connsiteY3" fmla="*/ 500950 h 746411"/>
                <a:gd name="connsiteX4" fmla="*/ 601686 w 798199"/>
                <a:gd name="connsiteY4" fmla="*/ 734546 h 746411"/>
                <a:gd name="connsiteX5" fmla="*/ 795844 w 798199"/>
                <a:gd name="connsiteY5" fmla="*/ 255220 h 746411"/>
                <a:gd name="connsiteX6" fmla="*/ 616854 w 798199"/>
                <a:gd name="connsiteY6" fmla="*/ 45894 h 746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8199" h="746411">
                  <a:moveTo>
                    <a:pt x="616854" y="45894"/>
                  </a:moveTo>
                  <a:cubicBezTo>
                    <a:pt x="568316" y="149041"/>
                    <a:pt x="465169" y="546456"/>
                    <a:pt x="465169" y="546456"/>
                  </a:cubicBezTo>
                  <a:cubicBezTo>
                    <a:pt x="465169" y="546456"/>
                    <a:pt x="73821" y="379602"/>
                    <a:pt x="28315" y="391737"/>
                  </a:cubicBezTo>
                  <a:cubicBezTo>
                    <a:pt x="-38426" y="406906"/>
                    <a:pt x="31349" y="467580"/>
                    <a:pt x="49552" y="500950"/>
                  </a:cubicBezTo>
                  <a:cubicBezTo>
                    <a:pt x="88989" y="567692"/>
                    <a:pt x="419663" y="801288"/>
                    <a:pt x="601686" y="734546"/>
                  </a:cubicBezTo>
                  <a:cubicBezTo>
                    <a:pt x="671462" y="710277"/>
                    <a:pt x="759439" y="422074"/>
                    <a:pt x="795844" y="255220"/>
                  </a:cubicBezTo>
                  <a:cubicBezTo>
                    <a:pt x="817079" y="170277"/>
                    <a:pt x="689664" y="-108825"/>
                    <a:pt x="616854" y="45894"/>
                  </a:cubicBezTo>
                  <a:close/>
                </a:path>
              </a:pathLst>
            </a:custGeom>
            <a:solidFill>
              <a:srgbClr val="F5A39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C4BEAED4-18AC-413D-9CC5-437604D3F4AC}"/>
                </a:ext>
              </a:extLst>
            </p:cNvPr>
            <p:cNvSpPr/>
            <p:nvPr/>
          </p:nvSpPr>
          <p:spPr>
            <a:xfrm>
              <a:off x="15780714" y="9730404"/>
              <a:ext cx="947434" cy="2542246"/>
            </a:xfrm>
            <a:custGeom>
              <a:avLst/>
              <a:gdLst>
                <a:gd name="connsiteX0" fmla="*/ 846404 w 947434"/>
                <a:gd name="connsiteY0" fmla="*/ 0 h 2542246"/>
                <a:gd name="connsiteX1" fmla="*/ 151685 w 947434"/>
                <a:gd name="connsiteY1" fmla="*/ 33371 h 2542246"/>
                <a:gd name="connsiteX2" fmla="*/ 33371 w 947434"/>
                <a:gd name="connsiteY2" fmla="*/ 491460 h 2542246"/>
                <a:gd name="connsiteX3" fmla="*/ 0 w 947434"/>
                <a:gd name="connsiteY3" fmla="*/ 2505843 h 2542246"/>
                <a:gd name="connsiteX4" fmla="*/ 172922 w 947434"/>
                <a:gd name="connsiteY4" fmla="*/ 2542247 h 2542246"/>
                <a:gd name="connsiteX5" fmla="*/ 448988 w 947434"/>
                <a:gd name="connsiteY5" fmla="*/ 891910 h 2542246"/>
                <a:gd name="connsiteX6" fmla="*/ 688652 w 947434"/>
                <a:gd name="connsiteY6" fmla="*/ 2533146 h 2542246"/>
                <a:gd name="connsiteX7" fmla="*/ 882809 w 947434"/>
                <a:gd name="connsiteY7" fmla="*/ 2533146 h 2542246"/>
                <a:gd name="connsiteX8" fmla="*/ 946517 w 947434"/>
                <a:gd name="connsiteY8" fmla="*/ 448988 h 2542246"/>
                <a:gd name="connsiteX9" fmla="*/ 846404 w 947434"/>
                <a:gd name="connsiteY9" fmla="*/ 0 h 2542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7434" h="2542246">
                  <a:moveTo>
                    <a:pt x="846404" y="0"/>
                  </a:moveTo>
                  <a:lnTo>
                    <a:pt x="151685" y="33371"/>
                  </a:lnTo>
                  <a:cubicBezTo>
                    <a:pt x="151685" y="33371"/>
                    <a:pt x="54606" y="336742"/>
                    <a:pt x="33371" y="491460"/>
                  </a:cubicBezTo>
                  <a:cubicBezTo>
                    <a:pt x="15169" y="643146"/>
                    <a:pt x="0" y="2505843"/>
                    <a:pt x="0" y="2505843"/>
                  </a:cubicBezTo>
                  <a:lnTo>
                    <a:pt x="172922" y="2542247"/>
                  </a:lnTo>
                  <a:lnTo>
                    <a:pt x="448988" y="891910"/>
                  </a:lnTo>
                  <a:lnTo>
                    <a:pt x="688652" y="2533146"/>
                  </a:lnTo>
                  <a:lnTo>
                    <a:pt x="882809" y="2533146"/>
                  </a:lnTo>
                  <a:cubicBezTo>
                    <a:pt x="882809" y="2533146"/>
                    <a:pt x="937416" y="567303"/>
                    <a:pt x="946517" y="448988"/>
                  </a:cubicBezTo>
                  <a:cubicBezTo>
                    <a:pt x="958652" y="327640"/>
                    <a:pt x="846404" y="0"/>
                    <a:pt x="846404" y="0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CBB13BA2-B169-4627-ABEF-4454D136AD9E}"/>
                </a:ext>
              </a:extLst>
            </p:cNvPr>
            <p:cNvSpPr/>
            <p:nvPr/>
          </p:nvSpPr>
          <p:spPr>
            <a:xfrm>
              <a:off x="16226669" y="10149055"/>
              <a:ext cx="251797" cy="2120561"/>
            </a:xfrm>
            <a:custGeom>
              <a:avLst/>
              <a:gdLst>
                <a:gd name="connsiteX0" fmla="*/ 245730 w 251797"/>
                <a:gd name="connsiteY0" fmla="*/ 2120562 h 2120561"/>
                <a:gd name="connsiteX1" fmla="*/ 239663 w 251797"/>
                <a:gd name="connsiteY1" fmla="*/ 2114495 h 2120561"/>
                <a:gd name="connsiteX2" fmla="*/ 0 w 251797"/>
                <a:gd name="connsiteY2" fmla="*/ 473259 h 2120561"/>
                <a:gd name="connsiteX3" fmla="*/ 0 w 251797"/>
                <a:gd name="connsiteY3" fmla="*/ 6068 h 2120561"/>
                <a:gd name="connsiteX4" fmla="*/ 6067 w 251797"/>
                <a:gd name="connsiteY4" fmla="*/ 0 h 2120561"/>
                <a:gd name="connsiteX5" fmla="*/ 12135 w 251797"/>
                <a:gd name="connsiteY5" fmla="*/ 6068 h 2120561"/>
                <a:gd name="connsiteX6" fmla="*/ 12135 w 251797"/>
                <a:gd name="connsiteY6" fmla="*/ 473259 h 2120561"/>
                <a:gd name="connsiteX7" fmla="*/ 251797 w 251797"/>
                <a:gd name="connsiteY7" fmla="*/ 2114495 h 2120561"/>
                <a:gd name="connsiteX8" fmla="*/ 245730 w 251797"/>
                <a:gd name="connsiteY8" fmla="*/ 2120562 h 2120561"/>
                <a:gd name="connsiteX9" fmla="*/ 245730 w 251797"/>
                <a:gd name="connsiteY9" fmla="*/ 2120562 h 2120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1797" h="2120561">
                  <a:moveTo>
                    <a:pt x="245730" y="2120562"/>
                  </a:moveTo>
                  <a:cubicBezTo>
                    <a:pt x="242697" y="2120562"/>
                    <a:pt x="239663" y="2117529"/>
                    <a:pt x="239663" y="2114495"/>
                  </a:cubicBezTo>
                  <a:lnTo>
                    <a:pt x="0" y="473259"/>
                  </a:lnTo>
                  <a:lnTo>
                    <a:pt x="0" y="6068"/>
                  </a:lnTo>
                  <a:cubicBezTo>
                    <a:pt x="0" y="3034"/>
                    <a:pt x="3033" y="0"/>
                    <a:pt x="6067" y="0"/>
                  </a:cubicBezTo>
                  <a:cubicBezTo>
                    <a:pt x="9101" y="0"/>
                    <a:pt x="12135" y="3034"/>
                    <a:pt x="12135" y="6068"/>
                  </a:cubicBezTo>
                  <a:lnTo>
                    <a:pt x="12135" y="473259"/>
                  </a:lnTo>
                  <a:lnTo>
                    <a:pt x="251797" y="2114495"/>
                  </a:lnTo>
                  <a:cubicBezTo>
                    <a:pt x="251797" y="2117529"/>
                    <a:pt x="248764" y="2120562"/>
                    <a:pt x="245730" y="2120562"/>
                  </a:cubicBezTo>
                  <a:cubicBezTo>
                    <a:pt x="245730" y="2120562"/>
                    <a:pt x="245730" y="2120562"/>
                    <a:pt x="245730" y="2120562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5B0528B2-1D53-47CE-AEFA-2E03743CF0F3}"/>
                </a:ext>
              </a:extLst>
            </p:cNvPr>
            <p:cNvSpPr/>
            <p:nvPr/>
          </p:nvSpPr>
          <p:spPr>
            <a:xfrm>
              <a:off x="16545208" y="9918493"/>
              <a:ext cx="180245" cy="188090"/>
            </a:xfrm>
            <a:custGeom>
              <a:avLst/>
              <a:gdLst>
                <a:gd name="connsiteX0" fmla="*/ 175955 w 180245"/>
                <a:gd name="connsiteY0" fmla="*/ 188090 h 188090"/>
                <a:gd name="connsiteX1" fmla="*/ 175955 w 180245"/>
                <a:gd name="connsiteY1" fmla="*/ 188090 h 188090"/>
                <a:gd name="connsiteX2" fmla="*/ 0 w 180245"/>
                <a:gd name="connsiteY2" fmla="*/ 6068 h 188090"/>
                <a:gd name="connsiteX3" fmla="*/ 3033 w 180245"/>
                <a:gd name="connsiteY3" fmla="*/ 0 h 188090"/>
                <a:gd name="connsiteX4" fmla="*/ 9101 w 180245"/>
                <a:gd name="connsiteY4" fmla="*/ 3034 h 188090"/>
                <a:gd name="connsiteX5" fmla="*/ 175955 w 180245"/>
                <a:gd name="connsiteY5" fmla="*/ 178990 h 188090"/>
                <a:gd name="connsiteX6" fmla="*/ 178989 w 180245"/>
                <a:gd name="connsiteY6" fmla="*/ 185056 h 188090"/>
                <a:gd name="connsiteX7" fmla="*/ 175955 w 180245"/>
                <a:gd name="connsiteY7" fmla="*/ 188090 h 188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245" h="188090">
                  <a:moveTo>
                    <a:pt x="175955" y="188090"/>
                  </a:moveTo>
                  <a:cubicBezTo>
                    <a:pt x="175955" y="188090"/>
                    <a:pt x="175955" y="188090"/>
                    <a:pt x="175955" y="188090"/>
                  </a:cubicBezTo>
                  <a:cubicBezTo>
                    <a:pt x="57640" y="154719"/>
                    <a:pt x="3033" y="12136"/>
                    <a:pt x="0" y="6068"/>
                  </a:cubicBezTo>
                  <a:cubicBezTo>
                    <a:pt x="0" y="3034"/>
                    <a:pt x="0" y="0"/>
                    <a:pt x="3033" y="0"/>
                  </a:cubicBezTo>
                  <a:cubicBezTo>
                    <a:pt x="6067" y="0"/>
                    <a:pt x="9101" y="0"/>
                    <a:pt x="9101" y="3034"/>
                  </a:cubicBezTo>
                  <a:cubicBezTo>
                    <a:pt x="9101" y="3034"/>
                    <a:pt x="63707" y="148652"/>
                    <a:pt x="175955" y="178990"/>
                  </a:cubicBezTo>
                  <a:cubicBezTo>
                    <a:pt x="178989" y="178990"/>
                    <a:pt x="182022" y="182022"/>
                    <a:pt x="178989" y="185056"/>
                  </a:cubicBezTo>
                  <a:cubicBezTo>
                    <a:pt x="182022" y="188090"/>
                    <a:pt x="178989" y="188090"/>
                    <a:pt x="175955" y="188090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5E0E7BF7-5C72-4633-87A7-C010C91FC5CB}"/>
                </a:ext>
              </a:extLst>
            </p:cNvPr>
            <p:cNvSpPr/>
            <p:nvPr/>
          </p:nvSpPr>
          <p:spPr>
            <a:xfrm>
              <a:off x="15832287" y="9921527"/>
              <a:ext cx="169886" cy="191124"/>
            </a:xfrm>
            <a:custGeom>
              <a:avLst/>
              <a:gdLst>
                <a:gd name="connsiteX0" fmla="*/ 6067 w 169886"/>
                <a:gd name="connsiteY0" fmla="*/ 191124 h 191124"/>
                <a:gd name="connsiteX1" fmla="*/ 0 w 169886"/>
                <a:gd name="connsiteY1" fmla="*/ 188090 h 191124"/>
                <a:gd name="connsiteX2" fmla="*/ 3033 w 169886"/>
                <a:gd name="connsiteY2" fmla="*/ 182022 h 191124"/>
                <a:gd name="connsiteX3" fmla="*/ 160786 w 169886"/>
                <a:gd name="connsiteY3" fmla="*/ 3034 h 191124"/>
                <a:gd name="connsiteX4" fmla="*/ 166854 w 169886"/>
                <a:gd name="connsiteY4" fmla="*/ 0 h 191124"/>
                <a:gd name="connsiteX5" fmla="*/ 169887 w 169886"/>
                <a:gd name="connsiteY5" fmla="*/ 6068 h 191124"/>
                <a:gd name="connsiteX6" fmla="*/ 6067 w 169886"/>
                <a:gd name="connsiteY6" fmla="*/ 191124 h 191124"/>
                <a:gd name="connsiteX7" fmla="*/ 6067 w 169886"/>
                <a:gd name="connsiteY7" fmla="*/ 191124 h 191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886" h="191124">
                  <a:moveTo>
                    <a:pt x="6067" y="191124"/>
                  </a:moveTo>
                  <a:cubicBezTo>
                    <a:pt x="3033" y="191124"/>
                    <a:pt x="3033" y="191124"/>
                    <a:pt x="0" y="188090"/>
                  </a:cubicBezTo>
                  <a:cubicBezTo>
                    <a:pt x="0" y="185056"/>
                    <a:pt x="0" y="182022"/>
                    <a:pt x="3033" y="182022"/>
                  </a:cubicBezTo>
                  <a:cubicBezTo>
                    <a:pt x="81910" y="151685"/>
                    <a:pt x="160786" y="3034"/>
                    <a:pt x="160786" y="3034"/>
                  </a:cubicBezTo>
                  <a:cubicBezTo>
                    <a:pt x="160786" y="0"/>
                    <a:pt x="166854" y="0"/>
                    <a:pt x="166854" y="0"/>
                  </a:cubicBezTo>
                  <a:cubicBezTo>
                    <a:pt x="169887" y="0"/>
                    <a:pt x="169887" y="6068"/>
                    <a:pt x="169887" y="6068"/>
                  </a:cubicBezTo>
                  <a:cubicBezTo>
                    <a:pt x="166854" y="12135"/>
                    <a:pt x="87977" y="154719"/>
                    <a:pt x="6067" y="191124"/>
                  </a:cubicBezTo>
                  <a:cubicBezTo>
                    <a:pt x="6067" y="191124"/>
                    <a:pt x="6067" y="191124"/>
                    <a:pt x="6067" y="191124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06FD2E78-CA67-4410-A730-6B1336AD58E5}"/>
                </a:ext>
              </a:extLst>
            </p:cNvPr>
            <p:cNvSpPr/>
            <p:nvPr/>
          </p:nvSpPr>
          <p:spPr>
            <a:xfrm>
              <a:off x="15812148" y="7973678"/>
              <a:ext cx="472708" cy="797781"/>
            </a:xfrm>
            <a:custGeom>
              <a:avLst/>
              <a:gdLst>
                <a:gd name="connsiteX0" fmla="*/ 8004 w 472708"/>
                <a:gd name="connsiteY0" fmla="*/ 758635 h 797781"/>
                <a:gd name="connsiteX1" fmla="*/ 232499 w 472708"/>
                <a:gd name="connsiteY1" fmla="*/ 770770 h 797781"/>
                <a:gd name="connsiteX2" fmla="*/ 317442 w 472708"/>
                <a:gd name="connsiteY2" fmla="*/ 564478 h 797781"/>
                <a:gd name="connsiteX3" fmla="*/ 402386 w 472708"/>
                <a:gd name="connsiteY3" fmla="*/ 606950 h 797781"/>
                <a:gd name="connsiteX4" fmla="*/ 353847 w 472708"/>
                <a:gd name="connsiteY4" fmla="*/ 343017 h 797781"/>
                <a:gd name="connsiteX5" fmla="*/ 402386 w 472708"/>
                <a:gd name="connsiteY5" fmla="*/ 200433 h 797781"/>
                <a:gd name="connsiteX6" fmla="*/ 429690 w 472708"/>
                <a:gd name="connsiteY6" fmla="*/ 121557 h 797781"/>
                <a:gd name="connsiteX7" fmla="*/ 466094 w 472708"/>
                <a:gd name="connsiteY7" fmla="*/ 103355 h 797781"/>
                <a:gd name="connsiteX8" fmla="*/ 460027 w 472708"/>
                <a:gd name="connsiteY8" fmla="*/ 76051 h 797781"/>
                <a:gd name="connsiteX9" fmla="*/ 317442 w 472708"/>
                <a:gd name="connsiteY9" fmla="*/ 208 h 797781"/>
                <a:gd name="connsiteX10" fmla="*/ 253734 w 472708"/>
                <a:gd name="connsiteY10" fmla="*/ 24478 h 797781"/>
                <a:gd name="connsiteX11" fmla="*/ 296206 w 472708"/>
                <a:gd name="connsiteY11" fmla="*/ 97287 h 797781"/>
                <a:gd name="connsiteX12" fmla="*/ 190026 w 472708"/>
                <a:gd name="connsiteY12" fmla="*/ 170096 h 797781"/>
                <a:gd name="connsiteX13" fmla="*/ 83846 w 472708"/>
                <a:gd name="connsiteY13" fmla="*/ 242905 h 797781"/>
                <a:gd name="connsiteX14" fmla="*/ 89914 w 472708"/>
                <a:gd name="connsiteY14" fmla="*/ 258073 h 797781"/>
                <a:gd name="connsiteX15" fmla="*/ 71712 w 472708"/>
                <a:gd name="connsiteY15" fmla="*/ 346051 h 797781"/>
                <a:gd name="connsiteX16" fmla="*/ 50476 w 472708"/>
                <a:gd name="connsiteY16" fmla="*/ 470433 h 797781"/>
                <a:gd name="connsiteX17" fmla="*/ 26206 w 472708"/>
                <a:gd name="connsiteY17" fmla="*/ 591781 h 797781"/>
                <a:gd name="connsiteX18" fmla="*/ 20139 w 472708"/>
                <a:gd name="connsiteY18" fmla="*/ 682793 h 797781"/>
                <a:gd name="connsiteX19" fmla="*/ 8004 w 472708"/>
                <a:gd name="connsiteY19" fmla="*/ 710096 h 797781"/>
                <a:gd name="connsiteX20" fmla="*/ 8004 w 472708"/>
                <a:gd name="connsiteY20" fmla="*/ 758635 h 797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72708" h="797781">
                  <a:moveTo>
                    <a:pt x="8004" y="758635"/>
                  </a:moveTo>
                  <a:cubicBezTo>
                    <a:pt x="44408" y="819309"/>
                    <a:pt x="180925" y="798074"/>
                    <a:pt x="232499" y="770770"/>
                  </a:cubicBezTo>
                  <a:cubicBezTo>
                    <a:pt x="323510" y="725265"/>
                    <a:pt x="338678" y="643354"/>
                    <a:pt x="317442" y="564478"/>
                  </a:cubicBezTo>
                  <a:cubicBezTo>
                    <a:pt x="405419" y="637287"/>
                    <a:pt x="393285" y="658523"/>
                    <a:pt x="402386" y="606950"/>
                  </a:cubicBezTo>
                  <a:cubicBezTo>
                    <a:pt x="411487" y="564478"/>
                    <a:pt x="347779" y="394590"/>
                    <a:pt x="353847" y="343017"/>
                  </a:cubicBezTo>
                  <a:cubicBezTo>
                    <a:pt x="362948" y="291444"/>
                    <a:pt x="378116" y="245939"/>
                    <a:pt x="402386" y="200433"/>
                  </a:cubicBezTo>
                  <a:cubicBezTo>
                    <a:pt x="411487" y="179197"/>
                    <a:pt x="420588" y="148860"/>
                    <a:pt x="429690" y="121557"/>
                  </a:cubicBezTo>
                  <a:cubicBezTo>
                    <a:pt x="441824" y="115489"/>
                    <a:pt x="453959" y="109422"/>
                    <a:pt x="466094" y="103355"/>
                  </a:cubicBezTo>
                  <a:cubicBezTo>
                    <a:pt x="478228" y="94253"/>
                    <a:pt x="472161" y="79085"/>
                    <a:pt x="460027" y="76051"/>
                  </a:cubicBezTo>
                  <a:cubicBezTo>
                    <a:pt x="441824" y="27512"/>
                    <a:pt x="375082" y="-2825"/>
                    <a:pt x="317442" y="208"/>
                  </a:cubicBezTo>
                  <a:cubicBezTo>
                    <a:pt x="302274" y="208"/>
                    <a:pt x="274970" y="9309"/>
                    <a:pt x="253734" y="24478"/>
                  </a:cubicBezTo>
                  <a:cubicBezTo>
                    <a:pt x="244633" y="30545"/>
                    <a:pt x="302274" y="85152"/>
                    <a:pt x="296206" y="97287"/>
                  </a:cubicBezTo>
                  <a:cubicBezTo>
                    <a:pt x="235532" y="91219"/>
                    <a:pt x="183959" y="109422"/>
                    <a:pt x="190026" y="170096"/>
                  </a:cubicBezTo>
                  <a:cubicBezTo>
                    <a:pt x="144520" y="170096"/>
                    <a:pt x="71712" y="197399"/>
                    <a:pt x="83846" y="242905"/>
                  </a:cubicBezTo>
                  <a:cubicBezTo>
                    <a:pt x="86880" y="252006"/>
                    <a:pt x="86880" y="255040"/>
                    <a:pt x="89914" y="258073"/>
                  </a:cubicBezTo>
                  <a:cubicBezTo>
                    <a:pt x="65645" y="282343"/>
                    <a:pt x="56543" y="315714"/>
                    <a:pt x="71712" y="346051"/>
                  </a:cubicBezTo>
                  <a:cubicBezTo>
                    <a:pt x="29240" y="367287"/>
                    <a:pt x="26206" y="430995"/>
                    <a:pt x="50476" y="470433"/>
                  </a:cubicBezTo>
                  <a:cubicBezTo>
                    <a:pt x="8004" y="497737"/>
                    <a:pt x="8004" y="546276"/>
                    <a:pt x="26206" y="591781"/>
                  </a:cubicBezTo>
                  <a:cubicBezTo>
                    <a:pt x="-7165" y="613017"/>
                    <a:pt x="-1097" y="652455"/>
                    <a:pt x="20139" y="682793"/>
                  </a:cubicBezTo>
                  <a:cubicBezTo>
                    <a:pt x="11037" y="691894"/>
                    <a:pt x="8004" y="700995"/>
                    <a:pt x="8004" y="710096"/>
                  </a:cubicBezTo>
                  <a:cubicBezTo>
                    <a:pt x="-1097" y="722231"/>
                    <a:pt x="-4131" y="737399"/>
                    <a:pt x="8004" y="758635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ECD4D515-27FA-4E11-BA18-2C91FA11AD92}"/>
                </a:ext>
              </a:extLst>
            </p:cNvPr>
            <p:cNvSpPr/>
            <p:nvPr/>
          </p:nvSpPr>
          <p:spPr>
            <a:xfrm>
              <a:off x="16171080" y="8025631"/>
              <a:ext cx="597725" cy="912168"/>
            </a:xfrm>
            <a:custGeom>
              <a:avLst/>
              <a:gdLst>
                <a:gd name="connsiteX0" fmla="*/ 46488 w 597725"/>
                <a:gd name="connsiteY0" fmla="*/ 212188 h 912168"/>
                <a:gd name="connsiteX1" fmla="*/ 67724 w 597725"/>
                <a:gd name="connsiteY1" fmla="*/ 39267 h 912168"/>
                <a:gd name="connsiteX2" fmla="*/ 64690 w 597725"/>
                <a:gd name="connsiteY2" fmla="*/ 24098 h 912168"/>
                <a:gd name="connsiteX3" fmla="*/ 316487 w 597725"/>
                <a:gd name="connsiteY3" fmla="*/ 112076 h 912168"/>
                <a:gd name="connsiteX4" fmla="*/ 316487 w 597725"/>
                <a:gd name="connsiteY4" fmla="*/ 112076 h 912168"/>
                <a:gd name="connsiteX5" fmla="*/ 395364 w 597725"/>
                <a:gd name="connsiteY5" fmla="*/ 203087 h 912168"/>
                <a:gd name="connsiteX6" fmla="*/ 431769 w 597725"/>
                <a:gd name="connsiteY6" fmla="*/ 236458 h 912168"/>
                <a:gd name="connsiteX7" fmla="*/ 422667 w 597725"/>
                <a:gd name="connsiteY7" fmla="*/ 288031 h 912168"/>
                <a:gd name="connsiteX8" fmla="*/ 465140 w 597725"/>
                <a:gd name="connsiteY8" fmla="*/ 354773 h 912168"/>
                <a:gd name="connsiteX9" fmla="*/ 459072 w 597725"/>
                <a:gd name="connsiteY9" fmla="*/ 397244 h 912168"/>
                <a:gd name="connsiteX10" fmla="*/ 540983 w 597725"/>
                <a:gd name="connsiteY10" fmla="*/ 473087 h 912168"/>
                <a:gd name="connsiteX11" fmla="*/ 513678 w 597725"/>
                <a:gd name="connsiteY11" fmla="*/ 542862 h 912168"/>
                <a:gd name="connsiteX12" fmla="*/ 556151 w 597725"/>
                <a:gd name="connsiteY12" fmla="*/ 712750 h 912168"/>
                <a:gd name="connsiteX13" fmla="*/ 580420 w 597725"/>
                <a:gd name="connsiteY13" fmla="*/ 837132 h 912168"/>
                <a:gd name="connsiteX14" fmla="*/ 507612 w 597725"/>
                <a:gd name="connsiteY14" fmla="*/ 840166 h 912168"/>
                <a:gd name="connsiteX15" fmla="*/ 401432 w 597725"/>
                <a:gd name="connsiteY15" fmla="*/ 909941 h 912168"/>
                <a:gd name="connsiteX16" fmla="*/ 334690 w 597725"/>
                <a:gd name="connsiteY16" fmla="*/ 779492 h 912168"/>
                <a:gd name="connsiteX17" fmla="*/ 298286 w 597725"/>
                <a:gd name="connsiteY17" fmla="*/ 746121 h 912168"/>
                <a:gd name="connsiteX18" fmla="*/ 261881 w 597725"/>
                <a:gd name="connsiteY18" fmla="*/ 730952 h 912168"/>
                <a:gd name="connsiteX19" fmla="*/ 98061 w 597725"/>
                <a:gd name="connsiteY19" fmla="*/ 667244 h 912168"/>
                <a:gd name="connsiteX20" fmla="*/ 28285 w 597725"/>
                <a:gd name="connsiteY20" fmla="*/ 612638 h 912168"/>
                <a:gd name="connsiteX21" fmla="*/ 46488 w 597725"/>
                <a:gd name="connsiteY21" fmla="*/ 439716 h 912168"/>
                <a:gd name="connsiteX22" fmla="*/ 46488 w 597725"/>
                <a:gd name="connsiteY22" fmla="*/ 212188 h 912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97725" h="912168">
                  <a:moveTo>
                    <a:pt x="46488" y="212188"/>
                  </a:moveTo>
                  <a:cubicBezTo>
                    <a:pt x="-11153" y="166682"/>
                    <a:pt x="37387" y="90840"/>
                    <a:pt x="67724" y="39267"/>
                  </a:cubicBezTo>
                  <a:cubicBezTo>
                    <a:pt x="64690" y="36233"/>
                    <a:pt x="61656" y="30165"/>
                    <a:pt x="64690" y="24098"/>
                  </a:cubicBezTo>
                  <a:cubicBezTo>
                    <a:pt x="85926" y="-57812"/>
                    <a:pt x="328623" y="93874"/>
                    <a:pt x="316487" y="112076"/>
                  </a:cubicBezTo>
                  <a:lnTo>
                    <a:pt x="316487" y="112076"/>
                  </a:lnTo>
                  <a:cubicBezTo>
                    <a:pt x="361993" y="124211"/>
                    <a:pt x="401432" y="151514"/>
                    <a:pt x="395364" y="203087"/>
                  </a:cubicBezTo>
                  <a:cubicBezTo>
                    <a:pt x="413566" y="206121"/>
                    <a:pt x="425701" y="215222"/>
                    <a:pt x="431769" y="236458"/>
                  </a:cubicBezTo>
                  <a:cubicBezTo>
                    <a:pt x="437836" y="254660"/>
                    <a:pt x="419634" y="275896"/>
                    <a:pt x="422667" y="288031"/>
                  </a:cubicBezTo>
                  <a:cubicBezTo>
                    <a:pt x="449971" y="297132"/>
                    <a:pt x="462106" y="324436"/>
                    <a:pt x="465140" y="354773"/>
                  </a:cubicBezTo>
                  <a:cubicBezTo>
                    <a:pt x="468173" y="372975"/>
                    <a:pt x="465140" y="385110"/>
                    <a:pt x="459072" y="397244"/>
                  </a:cubicBezTo>
                  <a:cubicBezTo>
                    <a:pt x="495477" y="409379"/>
                    <a:pt x="534915" y="430615"/>
                    <a:pt x="540983" y="473087"/>
                  </a:cubicBezTo>
                  <a:cubicBezTo>
                    <a:pt x="547049" y="503424"/>
                    <a:pt x="534915" y="527694"/>
                    <a:pt x="513678" y="542862"/>
                  </a:cubicBezTo>
                  <a:cubicBezTo>
                    <a:pt x="559184" y="588368"/>
                    <a:pt x="619858" y="682413"/>
                    <a:pt x="556151" y="712750"/>
                  </a:cubicBezTo>
                  <a:cubicBezTo>
                    <a:pt x="589521" y="746121"/>
                    <a:pt x="616825" y="797694"/>
                    <a:pt x="580420" y="837132"/>
                  </a:cubicBezTo>
                  <a:cubicBezTo>
                    <a:pt x="556151" y="861402"/>
                    <a:pt x="525814" y="858368"/>
                    <a:pt x="507612" y="840166"/>
                  </a:cubicBezTo>
                  <a:cubicBezTo>
                    <a:pt x="486375" y="882638"/>
                    <a:pt x="453004" y="922076"/>
                    <a:pt x="401432" y="909941"/>
                  </a:cubicBezTo>
                  <a:cubicBezTo>
                    <a:pt x="340758" y="894772"/>
                    <a:pt x="328623" y="834098"/>
                    <a:pt x="334690" y="779492"/>
                  </a:cubicBezTo>
                  <a:cubicBezTo>
                    <a:pt x="319521" y="773424"/>
                    <a:pt x="307387" y="761289"/>
                    <a:pt x="298286" y="746121"/>
                  </a:cubicBezTo>
                  <a:cubicBezTo>
                    <a:pt x="286150" y="743087"/>
                    <a:pt x="274016" y="737020"/>
                    <a:pt x="261881" y="730952"/>
                  </a:cubicBezTo>
                  <a:cubicBezTo>
                    <a:pt x="213342" y="815896"/>
                    <a:pt x="85926" y="767357"/>
                    <a:pt x="98061" y="667244"/>
                  </a:cubicBezTo>
                  <a:cubicBezTo>
                    <a:pt x="58622" y="664211"/>
                    <a:pt x="43454" y="664211"/>
                    <a:pt x="28285" y="612638"/>
                  </a:cubicBezTo>
                  <a:cubicBezTo>
                    <a:pt x="13117" y="554997"/>
                    <a:pt x="22218" y="494323"/>
                    <a:pt x="46488" y="439716"/>
                  </a:cubicBezTo>
                  <a:cubicBezTo>
                    <a:pt x="-32389" y="382076"/>
                    <a:pt x="4016" y="294098"/>
                    <a:pt x="46488" y="212188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C50780EE-F6FF-4233-8E55-90DDA4183CB4}"/>
                </a:ext>
              </a:extLst>
            </p:cNvPr>
            <p:cNvSpPr/>
            <p:nvPr/>
          </p:nvSpPr>
          <p:spPr>
            <a:xfrm>
              <a:off x="15665433" y="8729283"/>
              <a:ext cx="400029" cy="418647"/>
            </a:xfrm>
            <a:custGeom>
              <a:avLst/>
              <a:gdLst>
                <a:gd name="connsiteX0" fmla="*/ 348876 w 400029"/>
                <a:gd name="connsiteY0" fmla="*/ 418648 h 418647"/>
                <a:gd name="connsiteX1" fmla="*/ 342809 w 400029"/>
                <a:gd name="connsiteY1" fmla="*/ 15165 h 418647"/>
                <a:gd name="connsiteX2" fmla="*/ 0 w 400029"/>
                <a:gd name="connsiteY2" fmla="*/ 291232 h 418647"/>
                <a:gd name="connsiteX3" fmla="*/ 348876 w 400029"/>
                <a:gd name="connsiteY3" fmla="*/ 418648 h 418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29" h="418647">
                  <a:moveTo>
                    <a:pt x="348876" y="418648"/>
                  </a:moveTo>
                  <a:cubicBezTo>
                    <a:pt x="430786" y="254828"/>
                    <a:pt x="403483" y="63704"/>
                    <a:pt x="342809" y="15165"/>
                  </a:cubicBezTo>
                  <a:cubicBezTo>
                    <a:pt x="260898" y="-48543"/>
                    <a:pt x="69775" y="97075"/>
                    <a:pt x="0" y="291232"/>
                  </a:cubicBezTo>
                  <a:cubicBezTo>
                    <a:pt x="42472" y="351906"/>
                    <a:pt x="245730" y="406513"/>
                    <a:pt x="348876" y="418648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434448A7-D839-43CB-9958-A38267D07C68}"/>
                </a:ext>
              </a:extLst>
            </p:cNvPr>
            <p:cNvSpPr/>
            <p:nvPr/>
          </p:nvSpPr>
          <p:spPr>
            <a:xfrm>
              <a:off x="15803052" y="8676298"/>
              <a:ext cx="813489" cy="981386"/>
            </a:xfrm>
            <a:custGeom>
              <a:avLst/>
              <a:gdLst>
                <a:gd name="connsiteX0" fmla="*/ 769460 w 813489"/>
                <a:gd name="connsiteY0" fmla="*/ 389723 h 981386"/>
                <a:gd name="connsiteX1" fmla="*/ 754291 w 813489"/>
                <a:gd name="connsiteY1" fmla="*/ 68151 h 981386"/>
                <a:gd name="connsiteX2" fmla="*/ 387213 w 813489"/>
                <a:gd name="connsiteY2" fmla="*/ 4443 h 981386"/>
                <a:gd name="connsiteX3" fmla="*/ 89910 w 813489"/>
                <a:gd name="connsiteY3" fmla="*/ 104555 h 981386"/>
                <a:gd name="connsiteX4" fmla="*/ 50471 w 813489"/>
                <a:gd name="connsiteY4" fmla="*/ 650622 h 981386"/>
                <a:gd name="connsiteX5" fmla="*/ 92943 w 813489"/>
                <a:gd name="connsiteY5" fmla="*/ 975229 h 981386"/>
                <a:gd name="connsiteX6" fmla="*/ 766426 w 813489"/>
                <a:gd name="connsiteY6" fmla="*/ 960061 h 981386"/>
                <a:gd name="connsiteX7" fmla="*/ 769460 w 813489"/>
                <a:gd name="connsiteY7" fmla="*/ 389723 h 981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3489" h="981386">
                  <a:moveTo>
                    <a:pt x="769460" y="389723"/>
                  </a:moveTo>
                  <a:cubicBezTo>
                    <a:pt x="778561" y="359386"/>
                    <a:pt x="872606" y="131858"/>
                    <a:pt x="754291" y="68151"/>
                  </a:cubicBezTo>
                  <a:cubicBezTo>
                    <a:pt x="651146" y="13544"/>
                    <a:pt x="505527" y="-10726"/>
                    <a:pt x="387213" y="4443"/>
                  </a:cubicBezTo>
                  <a:cubicBezTo>
                    <a:pt x="256764" y="19611"/>
                    <a:pt x="126314" y="40847"/>
                    <a:pt x="89910" y="104555"/>
                  </a:cubicBezTo>
                  <a:cubicBezTo>
                    <a:pt x="-22338" y="289611"/>
                    <a:pt x="-22338" y="453431"/>
                    <a:pt x="50471" y="650622"/>
                  </a:cubicBezTo>
                  <a:cubicBezTo>
                    <a:pt x="71707" y="708263"/>
                    <a:pt x="77774" y="841746"/>
                    <a:pt x="92943" y="975229"/>
                  </a:cubicBezTo>
                  <a:cubicBezTo>
                    <a:pt x="92943" y="975229"/>
                    <a:pt x="375078" y="996465"/>
                    <a:pt x="766426" y="960061"/>
                  </a:cubicBezTo>
                  <a:cubicBezTo>
                    <a:pt x="736089" y="741634"/>
                    <a:pt x="763392" y="413993"/>
                    <a:pt x="769460" y="389723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3579D047-E4C9-4CFD-861C-B0D7E57E30DF}"/>
                </a:ext>
              </a:extLst>
            </p:cNvPr>
            <p:cNvSpPr/>
            <p:nvPr/>
          </p:nvSpPr>
          <p:spPr>
            <a:xfrm>
              <a:off x="16081050" y="8501656"/>
              <a:ext cx="309438" cy="324702"/>
            </a:xfrm>
            <a:custGeom>
              <a:avLst/>
              <a:gdLst>
                <a:gd name="connsiteX0" fmla="*/ 54607 w 309438"/>
                <a:gd name="connsiteY0" fmla="*/ 60770 h 324702"/>
                <a:gd name="connsiteX1" fmla="*/ 0 w 309438"/>
                <a:gd name="connsiteY1" fmla="*/ 200321 h 324702"/>
                <a:gd name="connsiteX2" fmla="*/ 115281 w 309438"/>
                <a:gd name="connsiteY2" fmla="*/ 324703 h 324702"/>
                <a:gd name="connsiteX3" fmla="*/ 309439 w 309438"/>
                <a:gd name="connsiteY3" fmla="*/ 185152 h 324702"/>
                <a:gd name="connsiteX4" fmla="*/ 257865 w 309438"/>
                <a:gd name="connsiteY4" fmla="*/ 96 h 324702"/>
                <a:gd name="connsiteX5" fmla="*/ 54607 w 309438"/>
                <a:gd name="connsiteY5" fmla="*/ 60770 h 324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438" h="324702">
                  <a:moveTo>
                    <a:pt x="54607" y="60770"/>
                  </a:moveTo>
                  <a:cubicBezTo>
                    <a:pt x="54607" y="60770"/>
                    <a:pt x="60674" y="169984"/>
                    <a:pt x="0" y="200321"/>
                  </a:cubicBezTo>
                  <a:lnTo>
                    <a:pt x="115281" y="324703"/>
                  </a:lnTo>
                  <a:cubicBezTo>
                    <a:pt x="115281" y="324703"/>
                    <a:pt x="254831" y="215489"/>
                    <a:pt x="309439" y="185152"/>
                  </a:cubicBezTo>
                  <a:cubicBezTo>
                    <a:pt x="254831" y="142680"/>
                    <a:pt x="257865" y="60770"/>
                    <a:pt x="257865" y="96"/>
                  </a:cubicBezTo>
                  <a:cubicBezTo>
                    <a:pt x="257865" y="-2938"/>
                    <a:pt x="109214" y="66838"/>
                    <a:pt x="54607" y="60770"/>
                  </a:cubicBezTo>
                  <a:close/>
                </a:path>
              </a:pathLst>
            </a:custGeom>
            <a:solidFill>
              <a:srgbClr val="F5A39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882C91CD-4561-4A3E-9D4F-314F605FEEE6}"/>
                </a:ext>
              </a:extLst>
            </p:cNvPr>
            <p:cNvSpPr/>
            <p:nvPr/>
          </p:nvSpPr>
          <p:spPr>
            <a:xfrm>
              <a:off x="15920264" y="9214866"/>
              <a:ext cx="398672" cy="36211"/>
            </a:xfrm>
            <a:custGeom>
              <a:avLst/>
              <a:gdLst>
                <a:gd name="connsiteX0" fmla="*/ 6067 w 398672"/>
                <a:gd name="connsiteY0" fmla="*/ 36211 h 36211"/>
                <a:gd name="connsiteX1" fmla="*/ 0 w 398672"/>
                <a:gd name="connsiteY1" fmla="*/ 33178 h 36211"/>
                <a:gd name="connsiteX2" fmla="*/ 3034 w 398672"/>
                <a:gd name="connsiteY2" fmla="*/ 27110 h 36211"/>
                <a:gd name="connsiteX3" fmla="*/ 394382 w 398672"/>
                <a:gd name="connsiteY3" fmla="*/ 14976 h 36211"/>
                <a:gd name="connsiteX4" fmla="*/ 397416 w 398672"/>
                <a:gd name="connsiteY4" fmla="*/ 21043 h 36211"/>
                <a:gd name="connsiteX5" fmla="*/ 391348 w 398672"/>
                <a:gd name="connsiteY5" fmla="*/ 24076 h 36211"/>
                <a:gd name="connsiteX6" fmla="*/ 6067 w 398672"/>
                <a:gd name="connsiteY6" fmla="*/ 36211 h 36211"/>
                <a:gd name="connsiteX7" fmla="*/ 6067 w 398672"/>
                <a:gd name="connsiteY7" fmla="*/ 36211 h 36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8672" h="36211">
                  <a:moveTo>
                    <a:pt x="6067" y="36211"/>
                  </a:moveTo>
                  <a:cubicBezTo>
                    <a:pt x="3034" y="36211"/>
                    <a:pt x="3034" y="36211"/>
                    <a:pt x="0" y="33178"/>
                  </a:cubicBezTo>
                  <a:cubicBezTo>
                    <a:pt x="0" y="30144"/>
                    <a:pt x="0" y="27110"/>
                    <a:pt x="3034" y="27110"/>
                  </a:cubicBezTo>
                  <a:cubicBezTo>
                    <a:pt x="87977" y="-3227"/>
                    <a:pt x="294269" y="-9294"/>
                    <a:pt x="394382" y="14976"/>
                  </a:cubicBezTo>
                  <a:cubicBezTo>
                    <a:pt x="397416" y="14976"/>
                    <a:pt x="400449" y="18009"/>
                    <a:pt x="397416" y="21043"/>
                  </a:cubicBezTo>
                  <a:cubicBezTo>
                    <a:pt x="397416" y="24076"/>
                    <a:pt x="394382" y="27110"/>
                    <a:pt x="391348" y="24076"/>
                  </a:cubicBezTo>
                  <a:cubicBezTo>
                    <a:pt x="297303" y="2840"/>
                    <a:pt x="91011" y="8908"/>
                    <a:pt x="6067" y="36211"/>
                  </a:cubicBezTo>
                  <a:cubicBezTo>
                    <a:pt x="9101" y="36211"/>
                    <a:pt x="6067" y="36211"/>
                    <a:pt x="6067" y="36211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D298A6B5-C965-479A-B2F8-18DA6F2CA6BE}"/>
                </a:ext>
              </a:extLst>
            </p:cNvPr>
            <p:cNvSpPr/>
            <p:nvPr/>
          </p:nvSpPr>
          <p:spPr>
            <a:xfrm>
              <a:off x="15811051" y="8688340"/>
              <a:ext cx="816067" cy="1049141"/>
            </a:xfrm>
            <a:custGeom>
              <a:avLst/>
              <a:gdLst>
                <a:gd name="connsiteX0" fmla="*/ 603708 w 816067"/>
                <a:gd name="connsiteY0" fmla="*/ 4535 h 1049141"/>
                <a:gd name="connsiteX1" fmla="*/ 439888 w 816067"/>
                <a:gd name="connsiteY1" fmla="*/ 347344 h 1049141"/>
                <a:gd name="connsiteX2" fmla="*/ 182022 w 816067"/>
                <a:gd name="connsiteY2" fmla="*/ 368580 h 1049141"/>
                <a:gd name="connsiteX3" fmla="*/ 215393 w 816067"/>
                <a:gd name="connsiteY3" fmla="*/ 19703 h 1049141"/>
                <a:gd name="connsiteX4" fmla="*/ 115281 w 816067"/>
                <a:gd name="connsiteY4" fmla="*/ 43973 h 1049141"/>
                <a:gd name="connsiteX5" fmla="*/ 91011 w 816067"/>
                <a:gd name="connsiteY5" fmla="*/ 408018 h 1049141"/>
                <a:gd name="connsiteX6" fmla="*/ 0 w 816067"/>
                <a:gd name="connsiteY6" fmla="*/ 477793 h 1049141"/>
                <a:gd name="connsiteX7" fmla="*/ 81910 w 816067"/>
                <a:gd name="connsiteY7" fmla="*/ 1045097 h 1049141"/>
                <a:gd name="connsiteX8" fmla="*/ 816067 w 816067"/>
                <a:gd name="connsiteY8" fmla="*/ 1045097 h 1049141"/>
                <a:gd name="connsiteX9" fmla="*/ 734158 w 816067"/>
                <a:gd name="connsiteY9" fmla="*/ 559703 h 1049141"/>
                <a:gd name="connsiteX10" fmla="*/ 530899 w 816067"/>
                <a:gd name="connsiteY10" fmla="*/ 344310 h 1049141"/>
                <a:gd name="connsiteX11" fmla="*/ 679550 w 816067"/>
                <a:gd name="connsiteY11" fmla="*/ 28804 h 1049141"/>
                <a:gd name="connsiteX12" fmla="*/ 603708 w 816067"/>
                <a:gd name="connsiteY12" fmla="*/ 4535 h 104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16067" h="1049141">
                  <a:moveTo>
                    <a:pt x="603708" y="4535"/>
                  </a:moveTo>
                  <a:cubicBezTo>
                    <a:pt x="603708" y="4535"/>
                    <a:pt x="442922" y="153187"/>
                    <a:pt x="439888" y="347344"/>
                  </a:cubicBezTo>
                  <a:cubicBezTo>
                    <a:pt x="439888" y="347344"/>
                    <a:pt x="263933" y="414085"/>
                    <a:pt x="182022" y="368580"/>
                  </a:cubicBezTo>
                  <a:cubicBezTo>
                    <a:pt x="182022" y="368580"/>
                    <a:pt x="172922" y="83411"/>
                    <a:pt x="215393" y="19703"/>
                  </a:cubicBezTo>
                  <a:cubicBezTo>
                    <a:pt x="215393" y="19703"/>
                    <a:pt x="154719" y="1501"/>
                    <a:pt x="115281" y="43973"/>
                  </a:cubicBezTo>
                  <a:cubicBezTo>
                    <a:pt x="115281" y="43973"/>
                    <a:pt x="81910" y="241164"/>
                    <a:pt x="91011" y="408018"/>
                  </a:cubicBezTo>
                  <a:cubicBezTo>
                    <a:pt x="91011" y="408018"/>
                    <a:pt x="48540" y="465659"/>
                    <a:pt x="0" y="477793"/>
                  </a:cubicBezTo>
                  <a:cubicBezTo>
                    <a:pt x="0" y="477793"/>
                    <a:pt x="97079" y="917681"/>
                    <a:pt x="81910" y="1045097"/>
                  </a:cubicBezTo>
                  <a:cubicBezTo>
                    <a:pt x="81910" y="1045097"/>
                    <a:pt x="767528" y="1054198"/>
                    <a:pt x="816067" y="1045097"/>
                  </a:cubicBezTo>
                  <a:lnTo>
                    <a:pt x="734158" y="559703"/>
                  </a:lnTo>
                  <a:cubicBezTo>
                    <a:pt x="734158" y="559703"/>
                    <a:pt x="533933" y="550602"/>
                    <a:pt x="530899" y="344310"/>
                  </a:cubicBezTo>
                  <a:cubicBezTo>
                    <a:pt x="527865" y="219928"/>
                    <a:pt x="679550" y="28804"/>
                    <a:pt x="679550" y="28804"/>
                  </a:cubicBezTo>
                  <a:cubicBezTo>
                    <a:pt x="679550" y="28804"/>
                    <a:pt x="643146" y="-13667"/>
                    <a:pt x="603708" y="4535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86F96BEE-7AF3-4435-8399-690022A073FE}"/>
                </a:ext>
              </a:extLst>
            </p:cNvPr>
            <p:cNvSpPr/>
            <p:nvPr/>
          </p:nvSpPr>
          <p:spPr>
            <a:xfrm>
              <a:off x="15955236" y="9135797"/>
              <a:ext cx="259297" cy="188089"/>
            </a:xfrm>
            <a:custGeom>
              <a:avLst/>
              <a:gdLst>
                <a:gd name="connsiteX0" fmla="*/ 113680 w 259297"/>
                <a:gd name="connsiteY0" fmla="*/ 188090 h 188089"/>
                <a:gd name="connsiteX1" fmla="*/ 10534 w 259297"/>
                <a:gd name="connsiteY1" fmla="*/ 142584 h 188089"/>
                <a:gd name="connsiteX2" fmla="*/ 10534 w 259297"/>
                <a:gd name="connsiteY2" fmla="*/ 139551 h 188089"/>
                <a:gd name="connsiteX3" fmla="*/ 1432 w 259297"/>
                <a:gd name="connsiteY3" fmla="*/ 12135 h 188089"/>
                <a:gd name="connsiteX4" fmla="*/ 1432 w 259297"/>
                <a:gd name="connsiteY4" fmla="*/ 6067 h 188089"/>
                <a:gd name="connsiteX5" fmla="*/ 7500 w 259297"/>
                <a:gd name="connsiteY5" fmla="*/ 6067 h 188089"/>
                <a:gd name="connsiteX6" fmla="*/ 235028 w 259297"/>
                <a:gd name="connsiteY6" fmla="*/ 0 h 188089"/>
                <a:gd name="connsiteX7" fmla="*/ 241096 w 259297"/>
                <a:gd name="connsiteY7" fmla="*/ 0 h 188089"/>
                <a:gd name="connsiteX8" fmla="*/ 259298 w 259297"/>
                <a:gd name="connsiteY8" fmla="*/ 121348 h 188089"/>
                <a:gd name="connsiteX9" fmla="*/ 113680 w 259297"/>
                <a:gd name="connsiteY9" fmla="*/ 188090 h 188089"/>
                <a:gd name="connsiteX10" fmla="*/ 19635 w 259297"/>
                <a:gd name="connsiteY10" fmla="*/ 133483 h 188089"/>
                <a:gd name="connsiteX11" fmla="*/ 113680 w 259297"/>
                <a:gd name="connsiteY11" fmla="*/ 172921 h 188089"/>
                <a:gd name="connsiteX12" fmla="*/ 247163 w 259297"/>
                <a:gd name="connsiteY12" fmla="*/ 112247 h 188089"/>
                <a:gd name="connsiteX13" fmla="*/ 231994 w 259297"/>
                <a:gd name="connsiteY13" fmla="*/ 9101 h 188089"/>
                <a:gd name="connsiteX14" fmla="*/ 13568 w 259297"/>
                <a:gd name="connsiteY14" fmla="*/ 15169 h 188089"/>
                <a:gd name="connsiteX15" fmla="*/ 19635 w 259297"/>
                <a:gd name="connsiteY15" fmla="*/ 133483 h 188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9297" h="188089">
                  <a:moveTo>
                    <a:pt x="113680" y="188090"/>
                  </a:moveTo>
                  <a:lnTo>
                    <a:pt x="10534" y="142584"/>
                  </a:lnTo>
                  <a:lnTo>
                    <a:pt x="10534" y="139551"/>
                  </a:lnTo>
                  <a:cubicBezTo>
                    <a:pt x="10534" y="136517"/>
                    <a:pt x="-4635" y="72809"/>
                    <a:pt x="1432" y="12135"/>
                  </a:cubicBezTo>
                  <a:lnTo>
                    <a:pt x="1432" y="6067"/>
                  </a:lnTo>
                  <a:lnTo>
                    <a:pt x="7500" y="6067"/>
                  </a:lnTo>
                  <a:cubicBezTo>
                    <a:pt x="7500" y="6067"/>
                    <a:pt x="125815" y="15169"/>
                    <a:pt x="235028" y="0"/>
                  </a:cubicBezTo>
                  <a:lnTo>
                    <a:pt x="241096" y="0"/>
                  </a:lnTo>
                  <a:lnTo>
                    <a:pt x="259298" y="121348"/>
                  </a:lnTo>
                  <a:lnTo>
                    <a:pt x="113680" y="188090"/>
                  </a:lnTo>
                  <a:close/>
                  <a:moveTo>
                    <a:pt x="19635" y="133483"/>
                  </a:moveTo>
                  <a:lnTo>
                    <a:pt x="113680" y="172921"/>
                  </a:lnTo>
                  <a:lnTo>
                    <a:pt x="247163" y="112247"/>
                  </a:lnTo>
                  <a:lnTo>
                    <a:pt x="231994" y="9101"/>
                  </a:lnTo>
                  <a:cubicBezTo>
                    <a:pt x="134916" y="21236"/>
                    <a:pt x="37837" y="18202"/>
                    <a:pt x="13568" y="15169"/>
                  </a:cubicBezTo>
                  <a:cubicBezTo>
                    <a:pt x="7500" y="69775"/>
                    <a:pt x="16601" y="121348"/>
                    <a:pt x="19635" y="133483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98D906F6-ABB5-42A0-96B7-28B2303B65B5}"/>
                </a:ext>
              </a:extLst>
            </p:cNvPr>
            <p:cNvSpPr/>
            <p:nvPr/>
          </p:nvSpPr>
          <p:spPr>
            <a:xfrm>
              <a:off x="15871725" y="9660628"/>
              <a:ext cx="773595" cy="149576"/>
            </a:xfrm>
            <a:custGeom>
              <a:avLst/>
              <a:gdLst>
                <a:gd name="connsiteX0" fmla="*/ 0 w 773595"/>
                <a:gd name="connsiteY0" fmla="*/ 136517 h 149576"/>
                <a:gd name="connsiteX1" fmla="*/ 773596 w 773595"/>
                <a:gd name="connsiteY1" fmla="*/ 103147 h 149576"/>
                <a:gd name="connsiteX2" fmla="*/ 743258 w 773595"/>
                <a:gd name="connsiteY2" fmla="*/ 0 h 149576"/>
                <a:gd name="connsiteX3" fmla="*/ 12135 w 773595"/>
                <a:gd name="connsiteY3" fmla="*/ 27304 h 149576"/>
                <a:gd name="connsiteX4" fmla="*/ 0 w 773595"/>
                <a:gd name="connsiteY4" fmla="*/ 136517 h 149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3595" h="149576">
                  <a:moveTo>
                    <a:pt x="0" y="136517"/>
                  </a:moveTo>
                  <a:cubicBezTo>
                    <a:pt x="0" y="136517"/>
                    <a:pt x="182022" y="182022"/>
                    <a:pt x="773596" y="103147"/>
                  </a:cubicBezTo>
                  <a:lnTo>
                    <a:pt x="743258" y="0"/>
                  </a:lnTo>
                  <a:cubicBezTo>
                    <a:pt x="743258" y="0"/>
                    <a:pt x="391348" y="51573"/>
                    <a:pt x="12135" y="27304"/>
                  </a:cubicBezTo>
                  <a:lnTo>
                    <a:pt x="0" y="136517"/>
                  </a:ln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5" name="图形 1">
              <a:extLst>
                <a:ext uri="{FF2B5EF4-FFF2-40B4-BE49-F238E27FC236}">
                  <a16:creationId xmlns:a16="http://schemas.microsoft.com/office/drawing/2014/main" id="{D87CE48B-7C75-4E04-8E2B-D30CEF5C662B}"/>
                </a:ext>
              </a:extLst>
            </p:cNvPr>
            <p:cNvGrpSpPr/>
            <p:nvPr/>
          </p:nvGrpSpPr>
          <p:grpSpPr>
            <a:xfrm>
              <a:off x="16068916" y="9669729"/>
              <a:ext cx="215393" cy="163820"/>
              <a:chOff x="16068916" y="9669729"/>
              <a:chExt cx="215393" cy="163820"/>
            </a:xfrm>
          </p:grpSpPr>
          <p:sp>
            <p:nvSpPr>
              <p:cNvPr id="174" name="任意多边形: 形状 173">
                <a:extLst>
                  <a:ext uri="{FF2B5EF4-FFF2-40B4-BE49-F238E27FC236}">
                    <a16:creationId xmlns:a16="http://schemas.microsoft.com/office/drawing/2014/main" id="{D8549D51-F1EC-4C7E-92EB-62B3F71A0C7D}"/>
                  </a:ext>
                </a:extLst>
              </p:cNvPr>
              <p:cNvSpPr/>
              <p:nvPr/>
            </p:nvSpPr>
            <p:spPr>
              <a:xfrm>
                <a:off x="16068916" y="9669729"/>
                <a:ext cx="215393" cy="163820"/>
              </a:xfrm>
              <a:custGeom>
                <a:avLst/>
                <a:gdLst>
                  <a:gd name="connsiteX0" fmla="*/ 21236 w 215393"/>
                  <a:gd name="connsiteY0" fmla="*/ 163820 h 163820"/>
                  <a:gd name="connsiteX1" fmla="*/ 194157 w 215393"/>
                  <a:gd name="connsiteY1" fmla="*/ 163820 h 163820"/>
                  <a:gd name="connsiteX2" fmla="*/ 215393 w 215393"/>
                  <a:gd name="connsiteY2" fmla="*/ 142584 h 163820"/>
                  <a:gd name="connsiteX3" fmla="*/ 215393 w 215393"/>
                  <a:gd name="connsiteY3" fmla="*/ 21235 h 163820"/>
                  <a:gd name="connsiteX4" fmla="*/ 194157 w 215393"/>
                  <a:gd name="connsiteY4" fmla="*/ 0 h 163820"/>
                  <a:gd name="connsiteX5" fmla="*/ 21236 w 215393"/>
                  <a:gd name="connsiteY5" fmla="*/ 0 h 163820"/>
                  <a:gd name="connsiteX6" fmla="*/ 0 w 215393"/>
                  <a:gd name="connsiteY6" fmla="*/ 21235 h 163820"/>
                  <a:gd name="connsiteX7" fmla="*/ 0 w 215393"/>
                  <a:gd name="connsiteY7" fmla="*/ 142584 h 163820"/>
                  <a:gd name="connsiteX8" fmla="*/ 21236 w 215393"/>
                  <a:gd name="connsiteY8" fmla="*/ 163820 h 163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5393" h="163820">
                    <a:moveTo>
                      <a:pt x="21236" y="163820"/>
                    </a:moveTo>
                    <a:lnTo>
                      <a:pt x="194157" y="163820"/>
                    </a:lnTo>
                    <a:cubicBezTo>
                      <a:pt x="206292" y="163820"/>
                      <a:pt x="215393" y="154719"/>
                      <a:pt x="215393" y="142584"/>
                    </a:cubicBezTo>
                    <a:lnTo>
                      <a:pt x="215393" y="21235"/>
                    </a:lnTo>
                    <a:cubicBezTo>
                      <a:pt x="215393" y="9101"/>
                      <a:pt x="206292" y="0"/>
                      <a:pt x="194157" y="0"/>
                    </a:cubicBezTo>
                    <a:lnTo>
                      <a:pt x="21236" y="0"/>
                    </a:lnTo>
                    <a:cubicBezTo>
                      <a:pt x="9101" y="0"/>
                      <a:pt x="0" y="9101"/>
                      <a:pt x="0" y="21235"/>
                    </a:cubicBezTo>
                    <a:lnTo>
                      <a:pt x="0" y="142584"/>
                    </a:lnTo>
                    <a:cubicBezTo>
                      <a:pt x="0" y="154719"/>
                      <a:pt x="9101" y="163820"/>
                      <a:pt x="21236" y="16382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5" name="任意多边形: 形状 174">
                <a:extLst>
                  <a:ext uri="{FF2B5EF4-FFF2-40B4-BE49-F238E27FC236}">
                    <a16:creationId xmlns:a16="http://schemas.microsoft.com/office/drawing/2014/main" id="{A4C383E3-0748-4B8E-9208-4591401A667B}"/>
                  </a:ext>
                </a:extLst>
              </p:cNvPr>
              <p:cNvSpPr/>
              <p:nvPr/>
            </p:nvSpPr>
            <p:spPr>
              <a:xfrm>
                <a:off x="16096219" y="9693999"/>
                <a:ext cx="157753" cy="118314"/>
              </a:xfrm>
              <a:custGeom>
                <a:avLst/>
                <a:gdLst>
                  <a:gd name="connsiteX0" fmla="*/ 15169 w 157753"/>
                  <a:gd name="connsiteY0" fmla="*/ 118314 h 118314"/>
                  <a:gd name="connsiteX1" fmla="*/ 142585 w 157753"/>
                  <a:gd name="connsiteY1" fmla="*/ 118314 h 118314"/>
                  <a:gd name="connsiteX2" fmla="*/ 157753 w 157753"/>
                  <a:gd name="connsiteY2" fmla="*/ 103146 h 118314"/>
                  <a:gd name="connsiteX3" fmla="*/ 157753 w 157753"/>
                  <a:gd name="connsiteY3" fmla="*/ 15169 h 118314"/>
                  <a:gd name="connsiteX4" fmla="*/ 142585 w 157753"/>
                  <a:gd name="connsiteY4" fmla="*/ 0 h 118314"/>
                  <a:gd name="connsiteX5" fmla="*/ 15169 w 157753"/>
                  <a:gd name="connsiteY5" fmla="*/ 0 h 118314"/>
                  <a:gd name="connsiteX6" fmla="*/ 0 w 157753"/>
                  <a:gd name="connsiteY6" fmla="*/ 15169 h 118314"/>
                  <a:gd name="connsiteX7" fmla="*/ 0 w 157753"/>
                  <a:gd name="connsiteY7" fmla="*/ 103146 h 118314"/>
                  <a:gd name="connsiteX8" fmla="*/ 15169 w 157753"/>
                  <a:gd name="connsiteY8" fmla="*/ 118314 h 11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753" h="118314">
                    <a:moveTo>
                      <a:pt x="15169" y="118314"/>
                    </a:moveTo>
                    <a:lnTo>
                      <a:pt x="142585" y="118314"/>
                    </a:lnTo>
                    <a:cubicBezTo>
                      <a:pt x="151685" y="118314"/>
                      <a:pt x="157753" y="112248"/>
                      <a:pt x="157753" y="103146"/>
                    </a:cubicBezTo>
                    <a:lnTo>
                      <a:pt x="157753" y="15169"/>
                    </a:lnTo>
                    <a:cubicBezTo>
                      <a:pt x="157753" y="6068"/>
                      <a:pt x="151685" y="0"/>
                      <a:pt x="142585" y="0"/>
                    </a:cubicBezTo>
                    <a:lnTo>
                      <a:pt x="15169" y="0"/>
                    </a:lnTo>
                    <a:cubicBezTo>
                      <a:pt x="6068" y="0"/>
                      <a:pt x="0" y="6068"/>
                      <a:pt x="0" y="15169"/>
                    </a:cubicBezTo>
                    <a:lnTo>
                      <a:pt x="0" y="103146"/>
                    </a:lnTo>
                    <a:cubicBezTo>
                      <a:pt x="0" y="112248"/>
                      <a:pt x="6068" y="118314"/>
                      <a:pt x="15169" y="118314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0AF6AA9C-2780-42F2-9826-5273981498DA}"/>
                </a:ext>
              </a:extLst>
            </p:cNvPr>
            <p:cNvSpPr/>
            <p:nvPr/>
          </p:nvSpPr>
          <p:spPr>
            <a:xfrm>
              <a:off x="16000317" y="8054911"/>
              <a:ext cx="420509" cy="565473"/>
            </a:xfrm>
            <a:custGeom>
              <a:avLst/>
              <a:gdLst>
                <a:gd name="connsiteX0" fmla="*/ 7925 w 420509"/>
                <a:gd name="connsiteY0" fmla="*/ 182908 h 565473"/>
                <a:gd name="connsiteX1" fmla="*/ 20059 w 420509"/>
                <a:gd name="connsiteY1" fmla="*/ 437740 h 565473"/>
                <a:gd name="connsiteX2" fmla="*/ 168711 w 420509"/>
                <a:gd name="connsiteY2" fmla="*/ 565155 h 565473"/>
                <a:gd name="connsiteX3" fmla="*/ 384104 w 420509"/>
                <a:gd name="connsiteY3" fmla="*/ 422571 h 565473"/>
                <a:gd name="connsiteX4" fmla="*/ 420509 w 420509"/>
                <a:gd name="connsiteY4" fmla="*/ 198076 h 565473"/>
                <a:gd name="connsiteX5" fmla="*/ 208150 w 420509"/>
                <a:gd name="connsiteY5" fmla="*/ 885 h 565473"/>
                <a:gd name="connsiteX6" fmla="*/ 7925 w 420509"/>
                <a:gd name="connsiteY6" fmla="*/ 182908 h 5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0509" h="565473">
                  <a:moveTo>
                    <a:pt x="7925" y="182908"/>
                  </a:moveTo>
                  <a:cubicBezTo>
                    <a:pt x="7925" y="182908"/>
                    <a:pt x="-16345" y="370998"/>
                    <a:pt x="20059" y="437740"/>
                  </a:cubicBezTo>
                  <a:cubicBezTo>
                    <a:pt x="56464" y="504481"/>
                    <a:pt x="117138" y="562121"/>
                    <a:pt x="168711" y="565155"/>
                  </a:cubicBezTo>
                  <a:cubicBezTo>
                    <a:pt x="235453" y="571223"/>
                    <a:pt x="347700" y="489312"/>
                    <a:pt x="384104" y="422571"/>
                  </a:cubicBezTo>
                  <a:cubicBezTo>
                    <a:pt x="420509" y="355830"/>
                    <a:pt x="420509" y="249650"/>
                    <a:pt x="420509" y="198076"/>
                  </a:cubicBezTo>
                  <a:cubicBezTo>
                    <a:pt x="417475" y="104032"/>
                    <a:pt x="390172" y="25155"/>
                    <a:pt x="208150" y="885"/>
                  </a:cubicBezTo>
                  <a:cubicBezTo>
                    <a:pt x="123205" y="-11249"/>
                    <a:pt x="29161" y="104032"/>
                    <a:pt x="7925" y="182908"/>
                  </a:cubicBezTo>
                  <a:close/>
                </a:path>
              </a:pathLst>
            </a:custGeom>
            <a:solidFill>
              <a:srgbClr val="F5A39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0E36FEC6-B981-4874-81F6-C1DEDEC88D8E}"/>
                </a:ext>
              </a:extLst>
            </p:cNvPr>
            <p:cNvSpPr/>
            <p:nvPr/>
          </p:nvSpPr>
          <p:spPr>
            <a:xfrm>
              <a:off x="16135658" y="8321506"/>
              <a:ext cx="54606" cy="131706"/>
            </a:xfrm>
            <a:custGeom>
              <a:avLst/>
              <a:gdLst>
                <a:gd name="connsiteX0" fmla="*/ 30337 w 54606"/>
                <a:gd name="connsiteY0" fmla="*/ 131706 h 131706"/>
                <a:gd name="connsiteX1" fmla="*/ 6067 w 54606"/>
                <a:gd name="connsiteY1" fmla="*/ 125639 h 131706"/>
                <a:gd name="connsiteX2" fmla="*/ 0 w 54606"/>
                <a:gd name="connsiteY2" fmla="*/ 113504 h 131706"/>
                <a:gd name="connsiteX3" fmla="*/ 27303 w 54606"/>
                <a:gd name="connsiteY3" fmla="*/ 4290 h 131706"/>
                <a:gd name="connsiteX4" fmla="*/ 33370 w 54606"/>
                <a:gd name="connsiteY4" fmla="*/ 1256 h 131706"/>
                <a:gd name="connsiteX5" fmla="*/ 36404 w 54606"/>
                <a:gd name="connsiteY5" fmla="*/ 7324 h 131706"/>
                <a:gd name="connsiteX6" fmla="*/ 9101 w 54606"/>
                <a:gd name="connsiteY6" fmla="*/ 113504 h 131706"/>
                <a:gd name="connsiteX7" fmla="*/ 9101 w 54606"/>
                <a:gd name="connsiteY7" fmla="*/ 116537 h 131706"/>
                <a:gd name="connsiteX8" fmla="*/ 48539 w 54606"/>
                <a:gd name="connsiteY8" fmla="*/ 116537 h 131706"/>
                <a:gd name="connsiteX9" fmla="*/ 54606 w 54606"/>
                <a:gd name="connsiteY9" fmla="*/ 122605 h 131706"/>
                <a:gd name="connsiteX10" fmla="*/ 48539 w 54606"/>
                <a:gd name="connsiteY10" fmla="*/ 128672 h 131706"/>
                <a:gd name="connsiteX11" fmla="*/ 30337 w 54606"/>
                <a:gd name="connsiteY11" fmla="*/ 131706 h 131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606" h="131706">
                  <a:moveTo>
                    <a:pt x="30337" y="131706"/>
                  </a:moveTo>
                  <a:cubicBezTo>
                    <a:pt x="21235" y="131706"/>
                    <a:pt x="12135" y="131706"/>
                    <a:pt x="6067" y="125639"/>
                  </a:cubicBezTo>
                  <a:cubicBezTo>
                    <a:pt x="3033" y="122605"/>
                    <a:pt x="0" y="119571"/>
                    <a:pt x="0" y="113504"/>
                  </a:cubicBezTo>
                  <a:cubicBezTo>
                    <a:pt x="0" y="92268"/>
                    <a:pt x="27303" y="7324"/>
                    <a:pt x="27303" y="4290"/>
                  </a:cubicBezTo>
                  <a:cubicBezTo>
                    <a:pt x="27303" y="1256"/>
                    <a:pt x="30337" y="-1777"/>
                    <a:pt x="33370" y="1256"/>
                  </a:cubicBezTo>
                  <a:cubicBezTo>
                    <a:pt x="36404" y="1256"/>
                    <a:pt x="39438" y="4290"/>
                    <a:pt x="36404" y="7324"/>
                  </a:cubicBezTo>
                  <a:cubicBezTo>
                    <a:pt x="30337" y="31594"/>
                    <a:pt x="9101" y="95302"/>
                    <a:pt x="9101" y="113504"/>
                  </a:cubicBezTo>
                  <a:cubicBezTo>
                    <a:pt x="9101" y="113504"/>
                    <a:pt x="9101" y="116537"/>
                    <a:pt x="9101" y="116537"/>
                  </a:cubicBezTo>
                  <a:cubicBezTo>
                    <a:pt x="15169" y="122605"/>
                    <a:pt x="36404" y="119571"/>
                    <a:pt x="48539" y="116537"/>
                  </a:cubicBezTo>
                  <a:cubicBezTo>
                    <a:pt x="51572" y="116537"/>
                    <a:pt x="54606" y="116537"/>
                    <a:pt x="54606" y="122605"/>
                  </a:cubicBezTo>
                  <a:cubicBezTo>
                    <a:pt x="54606" y="125639"/>
                    <a:pt x="54606" y="128672"/>
                    <a:pt x="48539" y="128672"/>
                  </a:cubicBezTo>
                  <a:cubicBezTo>
                    <a:pt x="51572" y="128672"/>
                    <a:pt x="42472" y="131706"/>
                    <a:pt x="30337" y="131706"/>
                  </a:cubicBezTo>
                  <a:close/>
                </a:path>
              </a:pathLst>
            </a:custGeom>
            <a:solidFill>
              <a:srgbClr val="E58777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ADD39A6A-DB7A-4193-9327-22A0B5432B29}"/>
                </a:ext>
              </a:extLst>
            </p:cNvPr>
            <p:cNvSpPr/>
            <p:nvPr/>
          </p:nvSpPr>
          <p:spPr>
            <a:xfrm>
              <a:off x="16117455" y="8501752"/>
              <a:ext cx="106179" cy="54606"/>
            </a:xfrm>
            <a:custGeom>
              <a:avLst/>
              <a:gdLst>
                <a:gd name="connsiteX0" fmla="*/ 106180 w 106179"/>
                <a:gd name="connsiteY0" fmla="*/ 0 h 54606"/>
                <a:gd name="connsiteX1" fmla="*/ 0 w 106179"/>
                <a:gd name="connsiteY1" fmla="*/ 0 h 54606"/>
                <a:gd name="connsiteX2" fmla="*/ 51572 w 106179"/>
                <a:gd name="connsiteY2" fmla="*/ 54606 h 54606"/>
                <a:gd name="connsiteX3" fmla="*/ 106180 w 106179"/>
                <a:gd name="connsiteY3" fmla="*/ 0 h 5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179" h="54606">
                  <a:moveTo>
                    <a:pt x="106180" y="0"/>
                  </a:moveTo>
                  <a:cubicBezTo>
                    <a:pt x="51572" y="24269"/>
                    <a:pt x="0" y="0"/>
                    <a:pt x="0" y="0"/>
                  </a:cubicBezTo>
                  <a:cubicBezTo>
                    <a:pt x="0" y="0"/>
                    <a:pt x="15169" y="54606"/>
                    <a:pt x="51572" y="54606"/>
                  </a:cubicBezTo>
                  <a:cubicBezTo>
                    <a:pt x="94045" y="54606"/>
                    <a:pt x="106180" y="0"/>
                    <a:pt x="106180" y="0"/>
                  </a:cubicBezTo>
                  <a:close/>
                </a:path>
              </a:pathLst>
            </a:custGeom>
            <a:solidFill>
              <a:srgbClr val="FFFFFF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358ADCC7-06C7-4D9C-9EDB-ECFA57FDB37E}"/>
                </a:ext>
              </a:extLst>
            </p:cNvPr>
            <p:cNvSpPr/>
            <p:nvPr/>
          </p:nvSpPr>
          <p:spPr>
            <a:xfrm>
              <a:off x="16065109" y="8294865"/>
              <a:ext cx="40806" cy="40628"/>
            </a:xfrm>
            <a:custGeom>
              <a:avLst/>
              <a:gdLst>
                <a:gd name="connsiteX0" fmla="*/ 40212 w 40806"/>
                <a:gd name="connsiteY0" fmla="*/ 24865 h 40628"/>
                <a:gd name="connsiteX1" fmla="*/ 15942 w 40806"/>
                <a:gd name="connsiteY1" fmla="*/ 40033 h 40628"/>
                <a:gd name="connsiteX2" fmla="*/ 773 w 40806"/>
                <a:gd name="connsiteY2" fmla="*/ 15764 h 40628"/>
                <a:gd name="connsiteX3" fmla="*/ 25043 w 40806"/>
                <a:gd name="connsiteY3" fmla="*/ 595 h 40628"/>
                <a:gd name="connsiteX4" fmla="*/ 40212 w 40806"/>
                <a:gd name="connsiteY4" fmla="*/ 24865 h 4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06" h="40628">
                  <a:moveTo>
                    <a:pt x="40212" y="24865"/>
                  </a:moveTo>
                  <a:cubicBezTo>
                    <a:pt x="37178" y="33966"/>
                    <a:pt x="28076" y="43067"/>
                    <a:pt x="15942" y="40033"/>
                  </a:cubicBezTo>
                  <a:cubicBezTo>
                    <a:pt x="3807" y="37000"/>
                    <a:pt x="-2261" y="27898"/>
                    <a:pt x="773" y="15764"/>
                  </a:cubicBezTo>
                  <a:cubicBezTo>
                    <a:pt x="3807" y="6662"/>
                    <a:pt x="12908" y="-2439"/>
                    <a:pt x="25043" y="595"/>
                  </a:cubicBezTo>
                  <a:cubicBezTo>
                    <a:pt x="34144" y="3629"/>
                    <a:pt x="43245" y="12730"/>
                    <a:pt x="40212" y="24865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B6A1D71F-EADA-4522-AAE8-3DE6E0EED859}"/>
                </a:ext>
              </a:extLst>
            </p:cNvPr>
            <p:cNvSpPr/>
            <p:nvPr/>
          </p:nvSpPr>
          <p:spPr>
            <a:xfrm>
              <a:off x="16253377" y="8300932"/>
              <a:ext cx="40806" cy="40806"/>
            </a:xfrm>
            <a:custGeom>
              <a:avLst/>
              <a:gdLst>
                <a:gd name="connsiteX0" fmla="*/ 40033 w 40806"/>
                <a:gd name="connsiteY0" fmla="*/ 24865 h 40806"/>
                <a:gd name="connsiteX1" fmla="*/ 15764 w 40806"/>
                <a:gd name="connsiteY1" fmla="*/ 40033 h 40806"/>
                <a:gd name="connsiteX2" fmla="*/ 595 w 40806"/>
                <a:gd name="connsiteY2" fmla="*/ 15764 h 40806"/>
                <a:gd name="connsiteX3" fmla="*/ 24864 w 40806"/>
                <a:gd name="connsiteY3" fmla="*/ 595 h 40806"/>
                <a:gd name="connsiteX4" fmla="*/ 40033 w 40806"/>
                <a:gd name="connsiteY4" fmla="*/ 24865 h 40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06" h="40806">
                  <a:moveTo>
                    <a:pt x="40033" y="24865"/>
                  </a:moveTo>
                  <a:cubicBezTo>
                    <a:pt x="36999" y="37000"/>
                    <a:pt x="27898" y="43067"/>
                    <a:pt x="15764" y="40033"/>
                  </a:cubicBezTo>
                  <a:cubicBezTo>
                    <a:pt x="6662" y="37000"/>
                    <a:pt x="-2439" y="27898"/>
                    <a:pt x="595" y="15764"/>
                  </a:cubicBezTo>
                  <a:cubicBezTo>
                    <a:pt x="3629" y="6662"/>
                    <a:pt x="12730" y="-2439"/>
                    <a:pt x="24864" y="595"/>
                  </a:cubicBezTo>
                  <a:cubicBezTo>
                    <a:pt x="36999" y="3629"/>
                    <a:pt x="43067" y="12730"/>
                    <a:pt x="40033" y="24865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76810B3D-8C0E-400B-A867-FD790D665755}"/>
                </a:ext>
              </a:extLst>
            </p:cNvPr>
            <p:cNvSpPr/>
            <p:nvPr/>
          </p:nvSpPr>
          <p:spPr>
            <a:xfrm>
              <a:off x="16039337" y="8245403"/>
              <a:ext cx="91509" cy="34887"/>
            </a:xfrm>
            <a:custGeom>
              <a:avLst/>
              <a:gdLst>
                <a:gd name="connsiteX0" fmla="*/ 8342 w 91509"/>
                <a:gd name="connsiteY0" fmla="*/ 34888 h 34887"/>
                <a:gd name="connsiteX1" fmla="*/ 2275 w 91509"/>
                <a:gd name="connsiteY1" fmla="*/ 31854 h 34887"/>
                <a:gd name="connsiteX2" fmla="*/ 2275 w 91509"/>
                <a:gd name="connsiteY2" fmla="*/ 19719 h 34887"/>
                <a:gd name="connsiteX3" fmla="*/ 87219 w 91509"/>
                <a:gd name="connsiteY3" fmla="*/ 7584 h 34887"/>
                <a:gd name="connsiteX4" fmla="*/ 90253 w 91509"/>
                <a:gd name="connsiteY4" fmla="*/ 16685 h 34887"/>
                <a:gd name="connsiteX5" fmla="*/ 81152 w 91509"/>
                <a:gd name="connsiteY5" fmla="*/ 19719 h 34887"/>
                <a:gd name="connsiteX6" fmla="*/ 14410 w 91509"/>
                <a:gd name="connsiteY6" fmla="*/ 25787 h 34887"/>
                <a:gd name="connsiteX7" fmla="*/ 8342 w 91509"/>
                <a:gd name="connsiteY7" fmla="*/ 34888 h 3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4887">
                  <a:moveTo>
                    <a:pt x="8342" y="34888"/>
                  </a:moveTo>
                  <a:cubicBezTo>
                    <a:pt x="5309" y="34888"/>
                    <a:pt x="5309" y="34888"/>
                    <a:pt x="2275" y="31854"/>
                  </a:cubicBezTo>
                  <a:cubicBezTo>
                    <a:pt x="-758" y="28820"/>
                    <a:pt x="-758" y="22753"/>
                    <a:pt x="2275" y="19719"/>
                  </a:cubicBezTo>
                  <a:cubicBezTo>
                    <a:pt x="29579" y="-10618"/>
                    <a:pt x="69016" y="1517"/>
                    <a:pt x="87219" y="7584"/>
                  </a:cubicBezTo>
                  <a:cubicBezTo>
                    <a:pt x="90253" y="10618"/>
                    <a:pt x="93287" y="13652"/>
                    <a:pt x="90253" y="16685"/>
                  </a:cubicBezTo>
                  <a:cubicBezTo>
                    <a:pt x="87219" y="19719"/>
                    <a:pt x="84185" y="22753"/>
                    <a:pt x="81152" y="19719"/>
                  </a:cubicBezTo>
                  <a:cubicBezTo>
                    <a:pt x="78118" y="19719"/>
                    <a:pt x="38679" y="-1517"/>
                    <a:pt x="14410" y="25787"/>
                  </a:cubicBezTo>
                  <a:cubicBezTo>
                    <a:pt x="14410" y="31854"/>
                    <a:pt x="11376" y="34888"/>
                    <a:pt x="8342" y="34888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F2230A0F-0183-42E0-9721-D51C1B3B133E}"/>
                </a:ext>
              </a:extLst>
            </p:cNvPr>
            <p:cNvSpPr/>
            <p:nvPr/>
          </p:nvSpPr>
          <p:spPr>
            <a:xfrm>
              <a:off x="16228446" y="8244195"/>
              <a:ext cx="91509" cy="36095"/>
            </a:xfrm>
            <a:custGeom>
              <a:avLst/>
              <a:gdLst>
                <a:gd name="connsiteX0" fmla="*/ 86201 w 91509"/>
                <a:gd name="connsiteY0" fmla="*/ 36096 h 36095"/>
                <a:gd name="connsiteX1" fmla="*/ 80133 w 91509"/>
                <a:gd name="connsiteY1" fmla="*/ 33062 h 36095"/>
                <a:gd name="connsiteX2" fmla="*/ 13392 w 91509"/>
                <a:gd name="connsiteY2" fmla="*/ 26995 h 36095"/>
                <a:gd name="connsiteX3" fmla="*/ 1256 w 91509"/>
                <a:gd name="connsiteY3" fmla="*/ 23961 h 36095"/>
                <a:gd name="connsiteX4" fmla="*/ 4290 w 91509"/>
                <a:gd name="connsiteY4" fmla="*/ 11826 h 36095"/>
                <a:gd name="connsiteX5" fmla="*/ 89235 w 91509"/>
                <a:gd name="connsiteY5" fmla="*/ 20927 h 36095"/>
                <a:gd name="connsiteX6" fmla="*/ 89235 w 91509"/>
                <a:gd name="connsiteY6" fmla="*/ 33062 h 36095"/>
                <a:gd name="connsiteX7" fmla="*/ 86201 w 91509"/>
                <a:gd name="connsiteY7" fmla="*/ 36096 h 36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6095">
                  <a:moveTo>
                    <a:pt x="86201" y="36096"/>
                  </a:moveTo>
                  <a:cubicBezTo>
                    <a:pt x="83167" y="36096"/>
                    <a:pt x="83167" y="36096"/>
                    <a:pt x="80133" y="33062"/>
                  </a:cubicBezTo>
                  <a:cubicBezTo>
                    <a:pt x="80133" y="33062"/>
                    <a:pt x="49796" y="2725"/>
                    <a:pt x="13392" y="26995"/>
                  </a:cubicBezTo>
                  <a:cubicBezTo>
                    <a:pt x="10358" y="30029"/>
                    <a:pt x="4290" y="26995"/>
                    <a:pt x="1256" y="23961"/>
                  </a:cubicBezTo>
                  <a:cubicBezTo>
                    <a:pt x="-1777" y="20927"/>
                    <a:pt x="1256" y="14860"/>
                    <a:pt x="4290" y="11826"/>
                  </a:cubicBezTo>
                  <a:cubicBezTo>
                    <a:pt x="40695" y="-12444"/>
                    <a:pt x="77099" y="5759"/>
                    <a:pt x="89235" y="20927"/>
                  </a:cubicBezTo>
                  <a:cubicBezTo>
                    <a:pt x="92268" y="23961"/>
                    <a:pt x="92268" y="30029"/>
                    <a:pt x="89235" y="33062"/>
                  </a:cubicBezTo>
                  <a:cubicBezTo>
                    <a:pt x="89235" y="36096"/>
                    <a:pt x="86201" y="36096"/>
                    <a:pt x="86201" y="36096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16EA8DC3-5E8B-44EE-B01B-C691ACDB1C6B}"/>
                </a:ext>
              </a:extLst>
            </p:cNvPr>
            <p:cNvSpPr/>
            <p:nvPr/>
          </p:nvSpPr>
          <p:spPr>
            <a:xfrm>
              <a:off x="15983748" y="8022744"/>
              <a:ext cx="275339" cy="257547"/>
            </a:xfrm>
            <a:custGeom>
              <a:avLst/>
              <a:gdLst>
                <a:gd name="connsiteX0" fmla="*/ 273258 w 275339"/>
                <a:gd name="connsiteY0" fmla="*/ 2715 h 257547"/>
                <a:gd name="connsiteX1" fmla="*/ 236854 w 275339"/>
                <a:gd name="connsiteY1" fmla="*/ 130131 h 257547"/>
                <a:gd name="connsiteX2" fmla="*/ 225 w 275339"/>
                <a:gd name="connsiteY2" fmla="*/ 257547 h 257547"/>
                <a:gd name="connsiteX3" fmla="*/ 273258 w 275339"/>
                <a:gd name="connsiteY3" fmla="*/ 2715 h 257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339" h="257547">
                  <a:moveTo>
                    <a:pt x="273258" y="2715"/>
                  </a:moveTo>
                  <a:cubicBezTo>
                    <a:pt x="273258" y="2715"/>
                    <a:pt x="288427" y="90693"/>
                    <a:pt x="236854" y="130131"/>
                  </a:cubicBezTo>
                  <a:cubicBezTo>
                    <a:pt x="236854" y="130131"/>
                    <a:pt x="27528" y="172603"/>
                    <a:pt x="225" y="257547"/>
                  </a:cubicBezTo>
                  <a:cubicBezTo>
                    <a:pt x="225" y="254513"/>
                    <a:pt x="-17978" y="-30655"/>
                    <a:pt x="273258" y="2715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A3ED1043-2E64-43A0-B59B-95F7E22DD70F}"/>
                </a:ext>
              </a:extLst>
            </p:cNvPr>
            <p:cNvSpPr/>
            <p:nvPr/>
          </p:nvSpPr>
          <p:spPr>
            <a:xfrm>
              <a:off x="16220601" y="8022426"/>
              <a:ext cx="223146" cy="312964"/>
            </a:xfrm>
            <a:custGeom>
              <a:avLst/>
              <a:gdLst>
                <a:gd name="connsiteX0" fmla="*/ 0 w 223146"/>
                <a:gd name="connsiteY0" fmla="*/ 127416 h 312964"/>
                <a:gd name="connsiteX1" fmla="*/ 139551 w 223146"/>
                <a:gd name="connsiteY1" fmla="*/ 182022 h 312964"/>
                <a:gd name="connsiteX2" fmla="*/ 197191 w 223146"/>
                <a:gd name="connsiteY2" fmla="*/ 300337 h 312964"/>
                <a:gd name="connsiteX3" fmla="*/ 221460 w 223146"/>
                <a:gd name="connsiteY3" fmla="*/ 297303 h 312964"/>
                <a:gd name="connsiteX4" fmla="*/ 33371 w 223146"/>
                <a:gd name="connsiteY4" fmla="*/ 0 h 312964"/>
                <a:gd name="connsiteX5" fmla="*/ 0 w 223146"/>
                <a:gd name="connsiteY5" fmla="*/ 127416 h 3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3146" h="312964">
                  <a:moveTo>
                    <a:pt x="0" y="127416"/>
                  </a:moveTo>
                  <a:cubicBezTo>
                    <a:pt x="0" y="127416"/>
                    <a:pt x="91011" y="175955"/>
                    <a:pt x="139551" y="182022"/>
                  </a:cubicBezTo>
                  <a:cubicBezTo>
                    <a:pt x="191123" y="188090"/>
                    <a:pt x="197191" y="300337"/>
                    <a:pt x="197191" y="300337"/>
                  </a:cubicBezTo>
                  <a:cubicBezTo>
                    <a:pt x="197191" y="300337"/>
                    <a:pt x="218427" y="330674"/>
                    <a:pt x="221460" y="297303"/>
                  </a:cubicBezTo>
                  <a:cubicBezTo>
                    <a:pt x="227528" y="218427"/>
                    <a:pt x="227528" y="21236"/>
                    <a:pt x="33371" y="0"/>
                  </a:cubicBezTo>
                  <a:cubicBezTo>
                    <a:pt x="36405" y="3033"/>
                    <a:pt x="24269" y="124382"/>
                    <a:pt x="0" y="127416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2913C93A-F9E0-4BCA-BD85-A694947A98CE}"/>
                </a:ext>
              </a:extLst>
            </p:cNvPr>
            <p:cNvSpPr/>
            <p:nvPr/>
          </p:nvSpPr>
          <p:spPr>
            <a:xfrm>
              <a:off x="16214533" y="8067932"/>
              <a:ext cx="154719" cy="142584"/>
            </a:xfrm>
            <a:custGeom>
              <a:avLst/>
              <a:gdLst>
                <a:gd name="connsiteX0" fmla="*/ 145619 w 154719"/>
                <a:gd name="connsiteY0" fmla="*/ 142584 h 142584"/>
                <a:gd name="connsiteX1" fmla="*/ 145619 w 154719"/>
                <a:gd name="connsiteY1" fmla="*/ 142584 h 142584"/>
                <a:gd name="connsiteX2" fmla="*/ 48540 w 154719"/>
                <a:gd name="connsiteY2" fmla="*/ 109213 h 142584"/>
                <a:gd name="connsiteX3" fmla="*/ 3034 w 154719"/>
                <a:gd name="connsiteY3" fmla="*/ 84944 h 142584"/>
                <a:gd name="connsiteX4" fmla="*/ 0 w 154719"/>
                <a:gd name="connsiteY4" fmla="*/ 81910 h 142584"/>
                <a:gd name="connsiteX5" fmla="*/ 0 w 154719"/>
                <a:gd name="connsiteY5" fmla="*/ 75843 h 142584"/>
                <a:gd name="connsiteX6" fmla="*/ 27304 w 154719"/>
                <a:gd name="connsiteY6" fmla="*/ 6067 h 142584"/>
                <a:gd name="connsiteX7" fmla="*/ 33371 w 154719"/>
                <a:gd name="connsiteY7" fmla="*/ 0 h 142584"/>
                <a:gd name="connsiteX8" fmla="*/ 39439 w 154719"/>
                <a:gd name="connsiteY8" fmla="*/ 6067 h 142584"/>
                <a:gd name="connsiteX9" fmla="*/ 15169 w 154719"/>
                <a:gd name="connsiteY9" fmla="*/ 75843 h 142584"/>
                <a:gd name="connsiteX10" fmla="*/ 54607 w 154719"/>
                <a:gd name="connsiteY10" fmla="*/ 97079 h 142584"/>
                <a:gd name="connsiteX11" fmla="*/ 148652 w 154719"/>
                <a:gd name="connsiteY11" fmla="*/ 127416 h 142584"/>
                <a:gd name="connsiteX12" fmla="*/ 154719 w 154719"/>
                <a:gd name="connsiteY12" fmla="*/ 133483 h 142584"/>
                <a:gd name="connsiteX13" fmla="*/ 145619 w 154719"/>
                <a:gd name="connsiteY13" fmla="*/ 142584 h 142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4719" h="142584">
                  <a:moveTo>
                    <a:pt x="145619" y="142584"/>
                  </a:moveTo>
                  <a:cubicBezTo>
                    <a:pt x="145619" y="142584"/>
                    <a:pt x="145619" y="142584"/>
                    <a:pt x="145619" y="142584"/>
                  </a:cubicBezTo>
                  <a:cubicBezTo>
                    <a:pt x="109214" y="136517"/>
                    <a:pt x="72810" y="121348"/>
                    <a:pt x="48540" y="109213"/>
                  </a:cubicBezTo>
                  <a:cubicBezTo>
                    <a:pt x="21236" y="97079"/>
                    <a:pt x="3034" y="84944"/>
                    <a:pt x="3034" y="84944"/>
                  </a:cubicBezTo>
                  <a:cubicBezTo>
                    <a:pt x="3034" y="84944"/>
                    <a:pt x="0" y="81910"/>
                    <a:pt x="0" y="81910"/>
                  </a:cubicBezTo>
                  <a:cubicBezTo>
                    <a:pt x="0" y="78876"/>
                    <a:pt x="0" y="78876"/>
                    <a:pt x="0" y="75843"/>
                  </a:cubicBezTo>
                  <a:cubicBezTo>
                    <a:pt x="6068" y="69775"/>
                    <a:pt x="24270" y="30337"/>
                    <a:pt x="27304" y="6067"/>
                  </a:cubicBezTo>
                  <a:cubicBezTo>
                    <a:pt x="27304" y="3033"/>
                    <a:pt x="30337" y="0"/>
                    <a:pt x="33371" y="0"/>
                  </a:cubicBezTo>
                  <a:cubicBezTo>
                    <a:pt x="36405" y="0"/>
                    <a:pt x="39439" y="3033"/>
                    <a:pt x="39439" y="6067"/>
                  </a:cubicBezTo>
                  <a:cubicBezTo>
                    <a:pt x="36405" y="30337"/>
                    <a:pt x="24270" y="63708"/>
                    <a:pt x="15169" y="75843"/>
                  </a:cubicBezTo>
                  <a:cubicBezTo>
                    <a:pt x="21236" y="78876"/>
                    <a:pt x="36405" y="87977"/>
                    <a:pt x="54607" y="97079"/>
                  </a:cubicBezTo>
                  <a:cubicBezTo>
                    <a:pt x="78877" y="109213"/>
                    <a:pt x="115281" y="124382"/>
                    <a:pt x="148652" y="127416"/>
                  </a:cubicBezTo>
                  <a:cubicBezTo>
                    <a:pt x="151685" y="127416"/>
                    <a:pt x="154719" y="130450"/>
                    <a:pt x="154719" y="133483"/>
                  </a:cubicBezTo>
                  <a:cubicBezTo>
                    <a:pt x="151685" y="139550"/>
                    <a:pt x="148652" y="142584"/>
                    <a:pt x="145619" y="142584"/>
                  </a:cubicBez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D14F7FF5-6142-41A9-82ED-AB8310A238C3}"/>
                </a:ext>
              </a:extLst>
            </p:cNvPr>
            <p:cNvSpPr/>
            <p:nvPr/>
          </p:nvSpPr>
          <p:spPr>
            <a:xfrm>
              <a:off x="16100011" y="8546001"/>
              <a:ext cx="221958" cy="80132"/>
            </a:xfrm>
            <a:custGeom>
              <a:avLst/>
              <a:gdLst>
                <a:gd name="connsiteX0" fmla="*/ 72050 w 221958"/>
                <a:gd name="connsiteY0" fmla="*/ 80133 h 80132"/>
                <a:gd name="connsiteX1" fmla="*/ 2275 w 221958"/>
                <a:gd name="connsiteY1" fmla="*/ 52830 h 80132"/>
                <a:gd name="connsiteX2" fmla="*/ 2275 w 221958"/>
                <a:gd name="connsiteY2" fmla="*/ 43728 h 80132"/>
                <a:gd name="connsiteX3" fmla="*/ 11376 w 221958"/>
                <a:gd name="connsiteY3" fmla="*/ 43728 h 80132"/>
                <a:gd name="connsiteX4" fmla="*/ 81152 w 221958"/>
                <a:gd name="connsiteY4" fmla="*/ 67998 h 80132"/>
                <a:gd name="connsiteX5" fmla="*/ 211601 w 221958"/>
                <a:gd name="connsiteY5" fmla="*/ 1257 h 80132"/>
                <a:gd name="connsiteX6" fmla="*/ 220702 w 221958"/>
                <a:gd name="connsiteY6" fmla="*/ 4290 h 80132"/>
                <a:gd name="connsiteX7" fmla="*/ 217669 w 221958"/>
                <a:gd name="connsiteY7" fmla="*/ 13391 h 80132"/>
                <a:gd name="connsiteX8" fmla="*/ 81152 w 221958"/>
                <a:gd name="connsiteY8" fmla="*/ 80133 h 80132"/>
                <a:gd name="connsiteX9" fmla="*/ 72050 w 221958"/>
                <a:gd name="connsiteY9" fmla="*/ 80133 h 8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1958" h="80132">
                  <a:moveTo>
                    <a:pt x="72050" y="80133"/>
                  </a:moveTo>
                  <a:cubicBezTo>
                    <a:pt x="32613" y="80133"/>
                    <a:pt x="5309" y="52830"/>
                    <a:pt x="2275" y="52830"/>
                  </a:cubicBezTo>
                  <a:cubicBezTo>
                    <a:pt x="-758" y="49796"/>
                    <a:pt x="-758" y="46762"/>
                    <a:pt x="2275" y="43728"/>
                  </a:cubicBezTo>
                  <a:cubicBezTo>
                    <a:pt x="5309" y="40695"/>
                    <a:pt x="8342" y="40695"/>
                    <a:pt x="11376" y="43728"/>
                  </a:cubicBezTo>
                  <a:cubicBezTo>
                    <a:pt x="11376" y="43728"/>
                    <a:pt x="44747" y="74065"/>
                    <a:pt x="81152" y="67998"/>
                  </a:cubicBezTo>
                  <a:cubicBezTo>
                    <a:pt x="120590" y="61931"/>
                    <a:pt x="211601" y="1257"/>
                    <a:pt x="211601" y="1257"/>
                  </a:cubicBezTo>
                  <a:cubicBezTo>
                    <a:pt x="214635" y="-1777"/>
                    <a:pt x="217669" y="1257"/>
                    <a:pt x="220702" y="4290"/>
                  </a:cubicBezTo>
                  <a:cubicBezTo>
                    <a:pt x="223736" y="7324"/>
                    <a:pt x="220702" y="10357"/>
                    <a:pt x="217669" y="13391"/>
                  </a:cubicBezTo>
                  <a:cubicBezTo>
                    <a:pt x="214635" y="16425"/>
                    <a:pt x="123624" y="77099"/>
                    <a:pt x="81152" y="80133"/>
                  </a:cubicBezTo>
                  <a:cubicBezTo>
                    <a:pt x="78118" y="80133"/>
                    <a:pt x="75084" y="80133"/>
                    <a:pt x="72050" y="80133"/>
                  </a:cubicBezTo>
                  <a:close/>
                </a:path>
              </a:pathLst>
            </a:custGeom>
            <a:solidFill>
              <a:srgbClr val="E58777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72A95069-F50A-4A97-83C4-59D431B441DD}"/>
                </a:ext>
              </a:extLst>
            </p:cNvPr>
            <p:cNvSpPr/>
            <p:nvPr/>
          </p:nvSpPr>
          <p:spPr>
            <a:xfrm>
              <a:off x="16381388" y="8309151"/>
              <a:ext cx="77199" cy="113485"/>
            </a:xfrm>
            <a:custGeom>
              <a:avLst/>
              <a:gdLst>
                <a:gd name="connsiteX0" fmla="*/ 12135 w 77199"/>
                <a:gd name="connsiteY0" fmla="*/ 16646 h 113485"/>
                <a:gd name="connsiteX1" fmla="*/ 69775 w 77199"/>
                <a:gd name="connsiteY1" fmla="*/ 7545 h 113485"/>
                <a:gd name="connsiteX2" fmla="*/ 12135 w 77199"/>
                <a:gd name="connsiteY2" fmla="*/ 110691 h 113485"/>
                <a:gd name="connsiteX3" fmla="*/ 12135 w 77199"/>
                <a:gd name="connsiteY3" fmla="*/ 16646 h 11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99" h="113485">
                  <a:moveTo>
                    <a:pt x="12135" y="16646"/>
                  </a:moveTo>
                  <a:cubicBezTo>
                    <a:pt x="12135" y="16646"/>
                    <a:pt x="45505" y="-13691"/>
                    <a:pt x="69775" y="7545"/>
                  </a:cubicBezTo>
                  <a:cubicBezTo>
                    <a:pt x="94045" y="25747"/>
                    <a:pt x="54607" y="131927"/>
                    <a:pt x="12135" y="110691"/>
                  </a:cubicBezTo>
                  <a:cubicBezTo>
                    <a:pt x="-15169" y="89455"/>
                    <a:pt x="12135" y="16646"/>
                    <a:pt x="12135" y="16646"/>
                  </a:cubicBezTo>
                  <a:close/>
                </a:path>
              </a:pathLst>
            </a:custGeom>
            <a:solidFill>
              <a:srgbClr val="F5A39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DA86FACD-8665-476E-B8E5-2EEF11933FFA}"/>
                </a:ext>
              </a:extLst>
            </p:cNvPr>
            <p:cNvSpPr/>
            <p:nvPr/>
          </p:nvSpPr>
          <p:spPr>
            <a:xfrm>
              <a:off x="15977905" y="8143774"/>
              <a:ext cx="251797" cy="157752"/>
            </a:xfrm>
            <a:custGeom>
              <a:avLst/>
              <a:gdLst>
                <a:gd name="connsiteX0" fmla="*/ 6068 w 251797"/>
                <a:gd name="connsiteY0" fmla="*/ 157753 h 157752"/>
                <a:gd name="connsiteX1" fmla="*/ 6068 w 251797"/>
                <a:gd name="connsiteY1" fmla="*/ 157753 h 157752"/>
                <a:gd name="connsiteX2" fmla="*/ 0 w 251797"/>
                <a:gd name="connsiteY2" fmla="*/ 151685 h 157752"/>
                <a:gd name="connsiteX3" fmla="*/ 109214 w 251797"/>
                <a:gd name="connsiteY3" fmla="*/ 45506 h 157752"/>
                <a:gd name="connsiteX4" fmla="*/ 242697 w 251797"/>
                <a:gd name="connsiteY4" fmla="*/ 0 h 157752"/>
                <a:gd name="connsiteX5" fmla="*/ 251797 w 251797"/>
                <a:gd name="connsiteY5" fmla="*/ 3033 h 157752"/>
                <a:gd name="connsiteX6" fmla="*/ 248764 w 251797"/>
                <a:gd name="connsiteY6" fmla="*/ 12135 h 157752"/>
                <a:gd name="connsiteX7" fmla="*/ 115281 w 251797"/>
                <a:gd name="connsiteY7" fmla="*/ 57640 h 157752"/>
                <a:gd name="connsiteX8" fmla="*/ 15169 w 251797"/>
                <a:gd name="connsiteY8" fmla="*/ 154719 h 157752"/>
                <a:gd name="connsiteX9" fmla="*/ 6068 w 251797"/>
                <a:gd name="connsiteY9" fmla="*/ 157753 h 157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1797" h="157752">
                  <a:moveTo>
                    <a:pt x="6068" y="157753"/>
                  </a:moveTo>
                  <a:cubicBezTo>
                    <a:pt x="6068" y="157753"/>
                    <a:pt x="3034" y="157753"/>
                    <a:pt x="6068" y="157753"/>
                  </a:cubicBezTo>
                  <a:cubicBezTo>
                    <a:pt x="3034" y="157753"/>
                    <a:pt x="0" y="154719"/>
                    <a:pt x="0" y="151685"/>
                  </a:cubicBezTo>
                  <a:cubicBezTo>
                    <a:pt x="12135" y="81910"/>
                    <a:pt x="60674" y="60674"/>
                    <a:pt x="109214" y="45506"/>
                  </a:cubicBezTo>
                  <a:cubicBezTo>
                    <a:pt x="175955" y="27303"/>
                    <a:pt x="239663" y="0"/>
                    <a:pt x="242697" y="0"/>
                  </a:cubicBezTo>
                  <a:cubicBezTo>
                    <a:pt x="245731" y="0"/>
                    <a:pt x="248764" y="0"/>
                    <a:pt x="251797" y="3033"/>
                  </a:cubicBezTo>
                  <a:cubicBezTo>
                    <a:pt x="251797" y="6067"/>
                    <a:pt x="251797" y="9101"/>
                    <a:pt x="248764" y="12135"/>
                  </a:cubicBezTo>
                  <a:cubicBezTo>
                    <a:pt x="248764" y="12135"/>
                    <a:pt x="182022" y="36404"/>
                    <a:pt x="115281" y="57640"/>
                  </a:cubicBezTo>
                  <a:cubicBezTo>
                    <a:pt x="60674" y="72809"/>
                    <a:pt x="24269" y="97079"/>
                    <a:pt x="15169" y="154719"/>
                  </a:cubicBezTo>
                  <a:cubicBezTo>
                    <a:pt x="9101" y="154719"/>
                    <a:pt x="9101" y="157753"/>
                    <a:pt x="6068" y="157753"/>
                  </a:cubicBez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9" name="图形 1">
              <a:extLst>
                <a:ext uri="{FF2B5EF4-FFF2-40B4-BE49-F238E27FC236}">
                  <a16:creationId xmlns:a16="http://schemas.microsoft.com/office/drawing/2014/main" id="{33131B6B-90DC-4807-A35F-C6B021B96FFC}"/>
                </a:ext>
              </a:extLst>
            </p:cNvPr>
            <p:cNvGrpSpPr/>
            <p:nvPr/>
          </p:nvGrpSpPr>
          <p:grpSpPr>
            <a:xfrm>
              <a:off x="15889927" y="7888765"/>
              <a:ext cx="606741" cy="339771"/>
              <a:chOff x="15889927" y="7888765"/>
              <a:chExt cx="606741" cy="339771"/>
            </a:xfrm>
          </p:grpSpPr>
          <p:grpSp>
            <p:nvGrpSpPr>
              <p:cNvPr id="169" name="图形 1">
                <a:extLst>
                  <a:ext uri="{FF2B5EF4-FFF2-40B4-BE49-F238E27FC236}">
                    <a16:creationId xmlns:a16="http://schemas.microsoft.com/office/drawing/2014/main" id="{2E094D0B-8AC2-45AD-B811-6894F3982D0A}"/>
                  </a:ext>
                </a:extLst>
              </p:cNvPr>
              <p:cNvGrpSpPr/>
              <p:nvPr/>
            </p:nvGrpSpPr>
            <p:grpSpPr>
              <a:xfrm>
                <a:off x="15889927" y="7891203"/>
                <a:ext cx="603707" cy="337334"/>
                <a:chOff x="15889927" y="7891203"/>
                <a:chExt cx="603707" cy="337334"/>
              </a:xfrm>
              <a:solidFill>
                <a:srgbClr val="D16156"/>
              </a:solidFill>
            </p:grpSpPr>
            <p:sp>
              <p:nvSpPr>
                <p:cNvPr id="172" name="任意多边形: 形状 171">
                  <a:extLst>
                    <a:ext uri="{FF2B5EF4-FFF2-40B4-BE49-F238E27FC236}">
                      <a16:creationId xmlns:a16="http://schemas.microsoft.com/office/drawing/2014/main" id="{66A0E528-75AA-4E5C-9508-5267EBAA04D9}"/>
                    </a:ext>
                  </a:extLst>
                </p:cNvPr>
                <p:cNvSpPr/>
                <p:nvPr/>
              </p:nvSpPr>
              <p:spPr>
                <a:xfrm>
                  <a:off x="15977905" y="7891203"/>
                  <a:ext cx="515730" cy="284560"/>
                </a:xfrm>
                <a:custGeom>
                  <a:avLst/>
                  <a:gdLst>
                    <a:gd name="connsiteX0" fmla="*/ 0 w 515730"/>
                    <a:gd name="connsiteY0" fmla="*/ 204032 h 284560"/>
                    <a:gd name="connsiteX1" fmla="*/ 294270 w 515730"/>
                    <a:gd name="connsiteY1" fmla="*/ 3808 h 284560"/>
                    <a:gd name="connsiteX2" fmla="*/ 515730 w 515730"/>
                    <a:gd name="connsiteY2" fmla="*/ 270774 h 284560"/>
                    <a:gd name="connsiteX3" fmla="*/ 103146 w 515730"/>
                    <a:gd name="connsiteY3" fmla="*/ 261673 h 284560"/>
                    <a:gd name="connsiteX4" fmla="*/ 0 w 515730"/>
                    <a:gd name="connsiteY4" fmla="*/ 204032 h 284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5730" h="284560">
                      <a:moveTo>
                        <a:pt x="0" y="204032"/>
                      </a:moveTo>
                      <a:cubicBezTo>
                        <a:pt x="0" y="204032"/>
                        <a:pt x="42472" y="-32597"/>
                        <a:pt x="294270" y="3808"/>
                      </a:cubicBezTo>
                      <a:cubicBezTo>
                        <a:pt x="515730" y="37178"/>
                        <a:pt x="515730" y="270774"/>
                        <a:pt x="515730" y="270774"/>
                      </a:cubicBezTo>
                      <a:cubicBezTo>
                        <a:pt x="515730" y="270774"/>
                        <a:pt x="260899" y="307178"/>
                        <a:pt x="103146" y="261673"/>
                      </a:cubicBezTo>
                      <a:cubicBezTo>
                        <a:pt x="57640" y="246504"/>
                        <a:pt x="21236" y="228302"/>
                        <a:pt x="0" y="20403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3" name="任意多边形: 形状 172">
                  <a:extLst>
                    <a:ext uri="{FF2B5EF4-FFF2-40B4-BE49-F238E27FC236}">
                      <a16:creationId xmlns:a16="http://schemas.microsoft.com/office/drawing/2014/main" id="{50F14FEE-D65B-4A9B-AEEF-3766C764A106}"/>
                    </a:ext>
                  </a:extLst>
                </p:cNvPr>
                <p:cNvSpPr/>
                <p:nvPr/>
              </p:nvSpPr>
              <p:spPr>
                <a:xfrm>
                  <a:off x="15889927" y="8092201"/>
                  <a:ext cx="600673" cy="136335"/>
                </a:xfrm>
                <a:custGeom>
                  <a:avLst/>
                  <a:gdLst>
                    <a:gd name="connsiteX0" fmla="*/ 600674 w 600673"/>
                    <a:gd name="connsiteY0" fmla="*/ 72809 h 136335"/>
                    <a:gd name="connsiteX1" fmla="*/ 582471 w 600673"/>
                    <a:gd name="connsiteY1" fmla="*/ 91011 h 136335"/>
                    <a:gd name="connsiteX2" fmla="*/ 339775 w 600673"/>
                    <a:gd name="connsiteY2" fmla="*/ 133483 h 136335"/>
                    <a:gd name="connsiteX3" fmla="*/ 0 w 600673"/>
                    <a:gd name="connsiteY3" fmla="*/ 63708 h 136335"/>
                    <a:gd name="connsiteX4" fmla="*/ 87977 w 600673"/>
                    <a:gd name="connsiteY4" fmla="*/ 0 h 136335"/>
                    <a:gd name="connsiteX5" fmla="*/ 600674 w 600673"/>
                    <a:gd name="connsiteY5" fmla="*/ 66741 h 136335"/>
                    <a:gd name="connsiteX6" fmla="*/ 600674 w 600673"/>
                    <a:gd name="connsiteY6" fmla="*/ 72809 h 136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00673" h="136335">
                      <a:moveTo>
                        <a:pt x="600674" y="72809"/>
                      </a:moveTo>
                      <a:cubicBezTo>
                        <a:pt x="600674" y="81910"/>
                        <a:pt x="591573" y="87977"/>
                        <a:pt x="582471" y="91011"/>
                      </a:cubicBezTo>
                      <a:cubicBezTo>
                        <a:pt x="518764" y="121348"/>
                        <a:pt x="406517" y="130449"/>
                        <a:pt x="339775" y="133483"/>
                      </a:cubicBezTo>
                      <a:cubicBezTo>
                        <a:pt x="136517" y="148652"/>
                        <a:pt x="0" y="100112"/>
                        <a:pt x="0" y="63708"/>
                      </a:cubicBezTo>
                      <a:cubicBezTo>
                        <a:pt x="0" y="30337"/>
                        <a:pt x="87977" y="0"/>
                        <a:pt x="87977" y="0"/>
                      </a:cubicBezTo>
                      <a:cubicBezTo>
                        <a:pt x="87977" y="0"/>
                        <a:pt x="142584" y="60674"/>
                        <a:pt x="600674" y="66741"/>
                      </a:cubicBezTo>
                      <a:lnTo>
                        <a:pt x="600674" y="72809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0" name="任意多边形: 形状 169">
                <a:extLst>
                  <a:ext uri="{FF2B5EF4-FFF2-40B4-BE49-F238E27FC236}">
                    <a16:creationId xmlns:a16="http://schemas.microsoft.com/office/drawing/2014/main" id="{5BCC643A-DCEB-4943-9E2D-2E4E1F335FE5}"/>
                  </a:ext>
                </a:extLst>
              </p:cNvPr>
              <p:cNvSpPr/>
              <p:nvPr/>
            </p:nvSpPr>
            <p:spPr>
              <a:xfrm>
                <a:off x="15971837" y="8086134"/>
                <a:ext cx="524832" cy="78876"/>
              </a:xfrm>
              <a:custGeom>
                <a:avLst/>
                <a:gdLst>
                  <a:gd name="connsiteX0" fmla="*/ 518764 w 524832"/>
                  <a:gd name="connsiteY0" fmla="*/ 78877 h 78876"/>
                  <a:gd name="connsiteX1" fmla="*/ 518764 w 524832"/>
                  <a:gd name="connsiteY1" fmla="*/ 78877 h 78876"/>
                  <a:gd name="connsiteX2" fmla="*/ 0 w 524832"/>
                  <a:gd name="connsiteY2" fmla="*/ 9101 h 78876"/>
                  <a:gd name="connsiteX3" fmla="*/ 3034 w 524832"/>
                  <a:gd name="connsiteY3" fmla="*/ 0 h 78876"/>
                  <a:gd name="connsiteX4" fmla="*/ 9102 w 524832"/>
                  <a:gd name="connsiteY4" fmla="*/ 3034 h 78876"/>
                  <a:gd name="connsiteX5" fmla="*/ 518764 w 524832"/>
                  <a:gd name="connsiteY5" fmla="*/ 66742 h 78876"/>
                  <a:gd name="connsiteX6" fmla="*/ 524832 w 524832"/>
                  <a:gd name="connsiteY6" fmla="*/ 72809 h 78876"/>
                  <a:gd name="connsiteX7" fmla="*/ 518764 w 524832"/>
                  <a:gd name="connsiteY7" fmla="*/ 78877 h 78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4832" h="78876">
                    <a:moveTo>
                      <a:pt x="518764" y="78877"/>
                    </a:moveTo>
                    <a:cubicBezTo>
                      <a:pt x="518764" y="78877"/>
                      <a:pt x="518764" y="78877"/>
                      <a:pt x="518764" y="78877"/>
                    </a:cubicBezTo>
                    <a:cubicBezTo>
                      <a:pt x="39439" y="57641"/>
                      <a:pt x="3034" y="15169"/>
                      <a:pt x="0" y="9101"/>
                    </a:cubicBezTo>
                    <a:cubicBezTo>
                      <a:pt x="0" y="6068"/>
                      <a:pt x="0" y="3034"/>
                      <a:pt x="3034" y="0"/>
                    </a:cubicBezTo>
                    <a:cubicBezTo>
                      <a:pt x="6068" y="0"/>
                      <a:pt x="9102" y="0"/>
                      <a:pt x="9102" y="3034"/>
                    </a:cubicBezTo>
                    <a:cubicBezTo>
                      <a:pt x="12136" y="6068"/>
                      <a:pt x="54607" y="45506"/>
                      <a:pt x="518764" y="66742"/>
                    </a:cubicBezTo>
                    <a:cubicBezTo>
                      <a:pt x="521798" y="66742"/>
                      <a:pt x="524832" y="69775"/>
                      <a:pt x="524832" y="72809"/>
                    </a:cubicBezTo>
                    <a:cubicBezTo>
                      <a:pt x="524832" y="75843"/>
                      <a:pt x="521798" y="78877"/>
                      <a:pt x="518764" y="7887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1" name="任意多边形: 形状 170">
                <a:extLst>
                  <a:ext uri="{FF2B5EF4-FFF2-40B4-BE49-F238E27FC236}">
                    <a16:creationId xmlns:a16="http://schemas.microsoft.com/office/drawing/2014/main" id="{B108647B-A943-4D05-8131-C94F9B6F99FB}"/>
                  </a:ext>
                </a:extLst>
              </p:cNvPr>
              <p:cNvSpPr/>
              <p:nvPr/>
            </p:nvSpPr>
            <p:spPr>
              <a:xfrm>
                <a:off x="16068916" y="7888765"/>
                <a:ext cx="315505" cy="261076"/>
              </a:xfrm>
              <a:custGeom>
                <a:avLst/>
                <a:gdLst>
                  <a:gd name="connsiteX0" fmla="*/ 157753 w 315505"/>
                  <a:gd name="connsiteY0" fmla="*/ 261077 h 261076"/>
                  <a:gd name="connsiteX1" fmla="*/ 157753 w 315505"/>
                  <a:gd name="connsiteY1" fmla="*/ 261077 h 261076"/>
                  <a:gd name="connsiteX2" fmla="*/ 151685 w 315505"/>
                  <a:gd name="connsiteY2" fmla="*/ 255009 h 261076"/>
                  <a:gd name="connsiteX3" fmla="*/ 297303 w 315505"/>
                  <a:gd name="connsiteY3" fmla="*/ 48717 h 261076"/>
                  <a:gd name="connsiteX4" fmla="*/ 109214 w 315505"/>
                  <a:gd name="connsiteY4" fmla="*/ 12313 h 261076"/>
                  <a:gd name="connsiteX5" fmla="*/ 12135 w 315505"/>
                  <a:gd name="connsiteY5" fmla="*/ 233774 h 261076"/>
                  <a:gd name="connsiteX6" fmla="*/ 6068 w 315505"/>
                  <a:gd name="connsiteY6" fmla="*/ 239841 h 261076"/>
                  <a:gd name="connsiteX7" fmla="*/ 6068 w 315505"/>
                  <a:gd name="connsiteY7" fmla="*/ 239841 h 261076"/>
                  <a:gd name="connsiteX8" fmla="*/ 0 w 315505"/>
                  <a:gd name="connsiteY8" fmla="*/ 233774 h 261076"/>
                  <a:gd name="connsiteX9" fmla="*/ 103146 w 315505"/>
                  <a:gd name="connsiteY9" fmla="*/ 3212 h 261076"/>
                  <a:gd name="connsiteX10" fmla="*/ 106180 w 315505"/>
                  <a:gd name="connsiteY10" fmla="*/ 3212 h 261076"/>
                  <a:gd name="connsiteX11" fmla="*/ 312472 w 315505"/>
                  <a:gd name="connsiteY11" fmla="*/ 48717 h 261076"/>
                  <a:gd name="connsiteX12" fmla="*/ 315505 w 315505"/>
                  <a:gd name="connsiteY12" fmla="*/ 54785 h 261076"/>
                  <a:gd name="connsiteX13" fmla="*/ 312472 w 315505"/>
                  <a:gd name="connsiteY13" fmla="*/ 57818 h 261076"/>
                  <a:gd name="connsiteX14" fmla="*/ 163820 w 315505"/>
                  <a:gd name="connsiteY14" fmla="*/ 261077 h 261076"/>
                  <a:gd name="connsiteX15" fmla="*/ 157753 w 315505"/>
                  <a:gd name="connsiteY15" fmla="*/ 261077 h 261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15505" h="261076">
                    <a:moveTo>
                      <a:pt x="157753" y="261077"/>
                    </a:moveTo>
                    <a:lnTo>
                      <a:pt x="157753" y="261077"/>
                    </a:lnTo>
                    <a:cubicBezTo>
                      <a:pt x="154719" y="261077"/>
                      <a:pt x="151685" y="258043"/>
                      <a:pt x="151685" y="255009"/>
                    </a:cubicBezTo>
                    <a:cubicBezTo>
                      <a:pt x="157753" y="136695"/>
                      <a:pt x="266966" y="66920"/>
                      <a:pt x="297303" y="48717"/>
                    </a:cubicBezTo>
                    <a:cubicBezTo>
                      <a:pt x="221460" y="-5890"/>
                      <a:pt x="121348" y="9279"/>
                      <a:pt x="109214" y="12313"/>
                    </a:cubicBezTo>
                    <a:cubicBezTo>
                      <a:pt x="100112" y="21414"/>
                      <a:pt x="12135" y="94223"/>
                      <a:pt x="12135" y="233774"/>
                    </a:cubicBezTo>
                    <a:cubicBezTo>
                      <a:pt x="12135" y="236807"/>
                      <a:pt x="9101" y="239841"/>
                      <a:pt x="6068" y="239841"/>
                    </a:cubicBezTo>
                    <a:lnTo>
                      <a:pt x="6068" y="239841"/>
                    </a:lnTo>
                    <a:cubicBezTo>
                      <a:pt x="3034" y="239841"/>
                      <a:pt x="0" y="236807"/>
                      <a:pt x="0" y="233774"/>
                    </a:cubicBezTo>
                    <a:cubicBezTo>
                      <a:pt x="0" y="82088"/>
                      <a:pt x="103146" y="3212"/>
                      <a:pt x="103146" y="3212"/>
                    </a:cubicBezTo>
                    <a:cubicBezTo>
                      <a:pt x="103146" y="3212"/>
                      <a:pt x="103146" y="3212"/>
                      <a:pt x="106180" y="3212"/>
                    </a:cubicBezTo>
                    <a:cubicBezTo>
                      <a:pt x="112248" y="3212"/>
                      <a:pt x="224494" y="-18024"/>
                      <a:pt x="312472" y="48717"/>
                    </a:cubicBezTo>
                    <a:cubicBezTo>
                      <a:pt x="315505" y="48717"/>
                      <a:pt x="315505" y="51751"/>
                      <a:pt x="315505" y="54785"/>
                    </a:cubicBezTo>
                    <a:cubicBezTo>
                      <a:pt x="315505" y="57818"/>
                      <a:pt x="315505" y="57818"/>
                      <a:pt x="312472" y="57818"/>
                    </a:cubicBezTo>
                    <a:cubicBezTo>
                      <a:pt x="312472" y="57818"/>
                      <a:pt x="169888" y="130627"/>
                      <a:pt x="163820" y="261077"/>
                    </a:cubicBezTo>
                    <a:cubicBezTo>
                      <a:pt x="163820" y="258043"/>
                      <a:pt x="160786" y="261077"/>
                      <a:pt x="157753" y="26107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2975B910-1CB9-493D-B3E5-20AC61155FFC}"/>
                </a:ext>
              </a:extLst>
            </p:cNvPr>
            <p:cNvSpPr/>
            <p:nvPr/>
          </p:nvSpPr>
          <p:spPr>
            <a:xfrm>
              <a:off x="15532329" y="12272650"/>
              <a:ext cx="403103" cy="226495"/>
            </a:xfrm>
            <a:custGeom>
              <a:avLst/>
              <a:gdLst>
                <a:gd name="connsiteX0" fmla="*/ 293890 w 403103"/>
                <a:gd name="connsiteY0" fmla="*/ 0 h 226495"/>
                <a:gd name="connsiteX1" fmla="*/ 403104 w 403103"/>
                <a:gd name="connsiteY1" fmla="*/ 15169 h 226495"/>
                <a:gd name="connsiteX2" fmla="*/ 390969 w 403103"/>
                <a:gd name="connsiteY2" fmla="*/ 157753 h 226495"/>
                <a:gd name="connsiteX3" fmla="*/ 154339 w 403103"/>
                <a:gd name="connsiteY3" fmla="*/ 224494 h 226495"/>
                <a:gd name="connsiteX4" fmla="*/ 17822 w 403103"/>
                <a:gd name="connsiteY4" fmla="*/ 215393 h 226495"/>
                <a:gd name="connsiteX5" fmla="*/ 14788 w 403103"/>
                <a:gd name="connsiteY5" fmla="*/ 157753 h 226495"/>
                <a:gd name="connsiteX6" fmla="*/ 293890 w 403103"/>
                <a:gd name="connsiteY6" fmla="*/ 0 h 226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103" h="226495">
                  <a:moveTo>
                    <a:pt x="293890" y="0"/>
                  </a:moveTo>
                  <a:lnTo>
                    <a:pt x="403104" y="15169"/>
                  </a:lnTo>
                  <a:cubicBezTo>
                    <a:pt x="403104" y="15169"/>
                    <a:pt x="403104" y="133483"/>
                    <a:pt x="390969" y="157753"/>
                  </a:cubicBezTo>
                  <a:cubicBezTo>
                    <a:pt x="318159" y="191124"/>
                    <a:pt x="227148" y="215393"/>
                    <a:pt x="154339" y="224494"/>
                  </a:cubicBezTo>
                  <a:cubicBezTo>
                    <a:pt x="108833" y="230562"/>
                    <a:pt x="26924" y="221461"/>
                    <a:pt x="17822" y="215393"/>
                  </a:cubicBezTo>
                  <a:cubicBezTo>
                    <a:pt x="8721" y="212360"/>
                    <a:pt x="-15549" y="185056"/>
                    <a:pt x="14788" y="157753"/>
                  </a:cubicBezTo>
                  <a:cubicBezTo>
                    <a:pt x="78496" y="100113"/>
                    <a:pt x="293890" y="0"/>
                    <a:pt x="293890" y="0"/>
                  </a:cubicBez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5F1ECF75-02EF-496F-92D0-EFED05968F80}"/>
                </a:ext>
              </a:extLst>
            </p:cNvPr>
            <p:cNvSpPr/>
            <p:nvPr/>
          </p:nvSpPr>
          <p:spPr>
            <a:xfrm>
              <a:off x="15762997" y="12175416"/>
              <a:ext cx="230076" cy="128891"/>
            </a:xfrm>
            <a:custGeom>
              <a:avLst/>
              <a:gdLst>
                <a:gd name="connsiteX0" fmla="*/ 230076 w 230076"/>
                <a:gd name="connsiteY0" fmla="*/ 18358 h 128891"/>
                <a:gd name="connsiteX1" fmla="*/ 208840 w 230076"/>
                <a:gd name="connsiteY1" fmla="*/ 121504 h 128891"/>
                <a:gd name="connsiteX2" fmla="*/ 11649 w 230076"/>
                <a:gd name="connsiteY2" fmla="*/ 106336 h 128891"/>
                <a:gd name="connsiteX3" fmla="*/ 2548 w 230076"/>
                <a:gd name="connsiteY3" fmla="*/ 156 h 128891"/>
                <a:gd name="connsiteX4" fmla="*/ 230076 w 230076"/>
                <a:gd name="connsiteY4" fmla="*/ 18358 h 128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076" h="128891">
                  <a:moveTo>
                    <a:pt x="230076" y="18358"/>
                  </a:moveTo>
                  <a:cubicBezTo>
                    <a:pt x="230076" y="18358"/>
                    <a:pt x="224009" y="75999"/>
                    <a:pt x="208840" y="121504"/>
                  </a:cubicBezTo>
                  <a:cubicBezTo>
                    <a:pt x="208840" y="121504"/>
                    <a:pt x="169402" y="145774"/>
                    <a:pt x="11649" y="106336"/>
                  </a:cubicBezTo>
                  <a:cubicBezTo>
                    <a:pt x="11649" y="106336"/>
                    <a:pt x="-6553" y="45662"/>
                    <a:pt x="2548" y="156"/>
                  </a:cubicBezTo>
                  <a:cubicBezTo>
                    <a:pt x="2548" y="-2878"/>
                    <a:pt x="132997" y="39594"/>
                    <a:pt x="230076" y="18358"/>
                  </a:cubicBezTo>
                  <a:close/>
                </a:path>
              </a:pathLst>
            </a:custGeom>
            <a:solidFill>
              <a:srgbClr val="9DB3D1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E2892DBC-63E9-4032-A6C2-B1618BE416C5}"/>
                </a:ext>
              </a:extLst>
            </p:cNvPr>
            <p:cNvSpPr/>
            <p:nvPr/>
          </p:nvSpPr>
          <p:spPr>
            <a:xfrm>
              <a:off x="15735966" y="12309814"/>
              <a:ext cx="50814" cy="75084"/>
            </a:xfrm>
            <a:custGeom>
              <a:avLst/>
              <a:gdLst>
                <a:gd name="connsiteX0" fmla="*/ 44747 w 50814"/>
                <a:gd name="connsiteY0" fmla="*/ 75084 h 75084"/>
                <a:gd name="connsiteX1" fmla="*/ 38679 w 50814"/>
                <a:gd name="connsiteY1" fmla="*/ 72050 h 75084"/>
                <a:gd name="connsiteX2" fmla="*/ 2275 w 50814"/>
                <a:gd name="connsiteY2" fmla="*/ 11376 h 75084"/>
                <a:gd name="connsiteX3" fmla="*/ 2275 w 50814"/>
                <a:gd name="connsiteY3" fmla="*/ 2275 h 75084"/>
                <a:gd name="connsiteX4" fmla="*/ 11376 w 50814"/>
                <a:gd name="connsiteY4" fmla="*/ 2275 h 75084"/>
                <a:gd name="connsiteX5" fmla="*/ 50815 w 50814"/>
                <a:gd name="connsiteY5" fmla="*/ 69016 h 75084"/>
                <a:gd name="connsiteX6" fmla="*/ 44747 w 50814"/>
                <a:gd name="connsiteY6" fmla="*/ 75084 h 75084"/>
                <a:gd name="connsiteX7" fmla="*/ 44747 w 50814"/>
                <a:gd name="connsiteY7" fmla="*/ 75084 h 75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814" h="75084">
                  <a:moveTo>
                    <a:pt x="44747" y="75084"/>
                  </a:moveTo>
                  <a:cubicBezTo>
                    <a:pt x="41713" y="75084"/>
                    <a:pt x="38679" y="72050"/>
                    <a:pt x="38679" y="72050"/>
                  </a:cubicBezTo>
                  <a:cubicBezTo>
                    <a:pt x="32613" y="38679"/>
                    <a:pt x="2275" y="11376"/>
                    <a:pt x="2275" y="11376"/>
                  </a:cubicBezTo>
                  <a:cubicBezTo>
                    <a:pt x="-758" y="8342"/>
                    <a:pt x="-758" y="5308"/>
                    <a:pt x="2275" y="2275"/>
                  </a:cubicBezTo>
                  <a:cubicBezTo>
                    <a:pt x="5309" y="-758"/>
                    <a:pt x="8342" y="-758"/>
                    <a:pt x="11376" y="2275"/>
                  </a:cubicBezTo>
                  <a:cubicBezTo>
                    <a:pt x="11376" y="2275"/>
                    <a:pt x="44747" y="32612"/>
                    <a:pt x="50815" y="69016"/>
                  </a:cubicBezTo>
                  <a:cubicBezTo>
                    <a:pt x="50815" y="69016"/>
                    <a:pt x="50815" y="72050"/>
                    <a:pt x="44747" y="75084"/>
                  </a:cubicBezTo>
                  <a:cubicBezTo>
                    <a:pt x="47781" y="75084"/>
                    <a:pt x="47781" y="75084"/>
                    <a:pt x="44747" y="75084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440B5D34-F4AD-4DB8-BC0E-8ECDBA37A228}"/>
                </a:ext>
              </a:extLst>
            </p:cNvPr>
            <p:cNvSpPr/>
            <p:nvPr/>
          </p:nvSpPr>
          <p:spPr>
            <a:xfrm>
              <a:off x="15669224" y="12343185"/>
              <a:ext cx="47781" cy="72050"/>
            </a:xfrm>
            <a:custGeom>
              <a:avLst/>
              <a:gdLst>
                <a:gd name="connsiteX0" fmla="*/ 41714 w 47781"/>
                <a:gd name="connsiteY0" fmla="*/ 72051 h 72050"/>
                <a:gd name="connsiteX1" fmla="*/ 35646 w 47781"/>
                <a:gd name="connsiteY1" fmla="*/ 69017 h 72050"/>
                <a:gd name="connsiteX2" fmla="*/ 2275 w 47781"/>
                <a:gd name="connsiteY2" fmla="*/ 11376 h 72050"/>
                <a:gd name="connsiteX3" fmla="*/ 2275 w 47781"/>
                <a:gd name="connsiteY3" fmla="*/ 2275 h 72050"/>
                <a:gd name="connsiteX4" fmla="*/ 11377 w 47781"/>
                <a:gd name="connsiteY4" fmla="*/ 2275 h 72050"/>
                <a:gd name="connsiteX5" fmla="*/ 47781 w 47781"/>
                <a:gd name="connsiteY5" fmla="*/ 65983 h 72050"/>
                <a:gd name="connsiteX6" fmla="*/ 41714 w 47781"/>
                <a:gd name="connsiteY6" fmla="*/ 72051 h 72050"/>
                <a:gd name="connsiteX7" fmla="*/ 41714 w 47781"/>
                <a:gd name="connsiteY7" fmla="*/ 72051 h 7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781" h="72050">
                  <a:moveTo>
                    <a:pt x="41714" y="72051"/>
                  </a:moveTo>
                  <a:cubicBezTo>
                    <a:pt x="38680" y="72051"/>
                    <a:pt x="35646" y="69017"/>
                    <a:pt x="35646" y="69017"/>
                  </a:cubicBezTo>
                  <a:cubicBezTo>
                    <a:pt x="23512" y="29579"/>
                    <a:pt x="5309" y="11376"/>
                    <a:pt x="2275" y="11376"/>
                  </a:cubicBezTo>
                  <a:cubicBezTo>
                    <a:pt x="-758" y="8343"/>
                    <a:pt x="-758" y="5309"/>
                    <a:pt x="2275" y="2275"/>
                  </a:cubicBezTo>
                  <a:cubicBezTo>
                    <a:pt x="5309" y="-758"/>
                    <a:pt x="8343" y="-758"/>
                    <a:pt x="11377" y="2275"/>
                  </a:cubicBezTo>
                  <a:cubicBezTo>
                    <a:pt x="11377" y="2275"/>
                    <a:pt x="35646" y="20477"/>
                    <a:pt x="47781" y="65983"/>
                  </a:cubicBezTo>
                  <a:cubicBezTo>
                    <a:pt x="47781" y="65983"/>
                    <a:pt x="47781" y="69017"/>
                    <a:pt x="41714" y="72051"/>
                  </a:cubicBezTo>
                  <a:cubicBezTo>
                    <a:pt x="41714" y="72051"/>
                    <a:pt x="41714" y="72051"/>
                    <a:pt x="41714" y="72051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A44BA051-82B9-431F-85A4-6ACBCF8A6B7A}"/>
                </a:ext>
              </a:extLst>
            </p:cNvPr>
            <p:cNvSpPr/>
            <p:nvPr/>
          </p:nvSpPr>
          <p:spPr>
            <a:xfrm>
              <a:off x="15534964" y="12381864"/>
              <a:ext cx="397434" cy="128054"/>
            </a:xfrm>
            <a:custGeom>
              <a:avLst/>
              <a:gdLst>
                <a:gd name="connsiteX0" fmla="*/ 397435 w 397434"/>
                <a:gd name="connsiteY0" fmla="*/ 0 h 128054"/>
                <a:gd name="connsiteX1" fmla="*/ 394401 w 397434"/>
                <a:gd name="connsiteY1" fmla="*/ 51573 h 128054"/>
                <a:gd name="connsiteX2" fmla="*/ 379232 w 397434"/>
                <a:gd name="connsiteY2" fmla="*/ 72809 h 128054"/>
                <a:gd name="connsiteX3" fmla="*/ 6087 w 397434"/>
                <a:gd name="connsiteY3" fmla="*/ 124382 h 128054"/>
                <a:gd name="connsiteX4" fmla="*/ 19 w 397434"/>
                <a:gd name="connsiteY4" fmla="*/ 91011 h 128054"/>
                <a:gd name="connsiteX5" fmla="*/ 397435 w 397434"/>
                <a:gd name="connsiteY5" fmla="*/ 0 h 12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7434" h="128054">
                  <a:moveTo>
                    <a:pt x="397435" y="0"/>
                  </a:moveTo>
                  <a:lnTo>
                    <a:pt x="394401" y="51573"/>
                  </a:lnTo>
                  <a:cubicBezTo>
                    <a:pt x="394401" y="60674"/>
                    <a:pt x="388334" y="69775"/>
                    <a:pt x="379232" y="72809"/>
                  </a:cubicBezTo>
                  <a:cubicBezTo>
                    <a:pt x="324626" y="87977"/>
                    <a:pt x="139570" y="142585"/>
                    <a:pt x="6087" y="124382"/>
                  </a:cubicBezTo>
                  <a:lnTo>
                    <a:pt x="19" y="91011"/>
                  </a:lnTo>
                  <a:cubicBezTo>
                    <a:pt x="-3015" y="87977"/>
                    <a:pt x="361030" y="72809"/>
                    <a:pt x="397435" y="0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9834D859-30C9-4937-B251-AEA9FA9C0F18}"/>
                </a:ext>
              </a:extLst>
            </p:cNvPr>
            <p:cNvSpPr/>
            <p:nvPr/>
          </p:nvSpPr>
          <p:spPr>
            <a:xfrm>
              <a:off x="16235317" y="12269617"/>
              <a:ext cx="396351" cy="235369"/>
            </a:xfrm>
            <a:custGeom>
              <a:avLst/>
              <a:gdLst>
                <a:gd name="connsiteX0" fmla="*/ 285621 w 396351"/>
                <a:gd name="connsiteY0" fmla="*/ 0 h 235369"/>
                <a:gd name="connsiteX1" fmla="*/ 394835 w 396351"/>
                <a:gd name="connsiteY1" fmla="*/ 9102 h 235369"/>
                <a:gd name="connsiteX2" fmla="*/ 388767 w 396351"/>
                <a:gd name="connsiteY2" fmla="*/ 151685 h 235369"/>
                <a:gd name="connsiteX3" fmla="*/ 155172 w 396351"/>
                <a:gd name="connsiteY3" fmla="*/ 230562 h 235369"/>
                <a:gd name="connsiteX4" fmla="*/ 18655 w 396351"/>
                <a:gd name="connsiteY4" fmla="*/ 230562 h 235369"/>
                <a:gd name="connsiteX5" fmla="*/ 12587 w 396351"/>
                <a:gd name="connsiteY5" fmla="*/ 175956 h 235369"/>
                <a:gd name="connsiteX6" fmla="*/ 285621 w 396351"/>
                <a:gd name="connsiteY6" fmla="*/ 0 h 235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6351" h="235369">
                  <a:moveTo>
                    <a:pt x="285621" y="0"/>
                  </a:moveTo>
                  <a:lnTo>
                    <a:pt x="394835" y="9102"/>
                  </a:lnTo>
                  <a:cubicBezTo>
                    <a:pt x="394835" y="9102"/>
                    <a:pt x="400902" y="127416"/>
                    <a:pt x="388767" y="151685"/>
                  </a:cubicBezTo>
                  <a:cubicBezTo>
                    <a:pt x="315958" y="188090"/>
                    <a:pt x="227981" y="218427"/>
                    <a:pt x="155172" y="230562"/>
                  </a:cubicBezTo>
                  <a:cubicBezTo>
                    <a:pt x="109666" y="239664"/>
                    <a:pt x="27756" y="233596"/>
                    <a:pt x="18655" y="230562"/>
                  </a:cubicBezTo>
                  <a:cubicBezTo>
                    <a:pt x="9553" y="227528"/>
                    <a:pt x="-14716" y="203259"/>
                    <a:pt x="12587" y="175956"/>
                  </a:cubicBezTo>
                  <a:cubicBezTo>
                    <a:pt x="76295" y="109214"/>
                    <a:pt x="285621" y="0"/>
                    <a:pt x="285621" y="0"/>
                  </a:cubicBez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086A33A6-268F-458F-877C-2343FC797294}"/>
                </a:ext>
              </a:extLst>
            </p:cNvPr>
            <p:cNvSpPr/>
            <p:nvPr/>
          </p:nvSpPr>
          <p:spPr>
            <a:xfrm>
              <a:off x="16453107" y="12175391"/>
              <a:ext cx="228618" cy="119913"/>
            </a:xfrm>
            <a:custGeom>
              <a:avLst/>
              <a:gdLst>
                <a:gd name="connsiteX0" fmla="*/ 228618 w 228618"/>
                <a:gd name="connsiteY0" fmla="*/ 6248 h 119913"/>
                <a:gd name="connsiteX1" fmla="*/ 213450 w 228618"/>
                <a:gd name="connsiteY1" fmla="*/ 109394 h 119913"/>
                <a:gd name="connsiteX2" fmla="*/ 16259 w 228618"/>
                <a:gd name="connsiteY2" fmla="*/ 103327 h 119913"/>
                <a:gd name="connsiteX3" fmla="*/ 1090 w 228618"/>
                <a:gd name="connsiteY3" fmla="*/ 181 h 119913"/>
                <a:gd name="connsiteX4" fmla="*/ 228618 w 228618"/>
                <a:gd name="connsiteY4" fmla="*/ 6248 h 119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18" h="119913">
                  <a:moveTo>
                    <a:pt x="228618" y="6248"/>
                  </a:moveTo>
                  <a:cubicBezTo>
                    <a:pt x="228618" y="6248"/>
                    <a:pt x="225585" y="63889"/>
                    <a:pt x="213450" y="109394"/>
                  </a:cubicBezTo>
                  <a:cubicBezTo>
                    <a:pt x="213450" y="109394"/>
                    <a:pt x="174011" y="136698"/>
                    <a:pt x="16259" y="103327"/>
                  </a:cubicBezTo>
                  <a:cubicBezTo>
                    <a:pt x="16259" y="103327"/>
                    <a:pt x="-4977" y="42653"/>
                    <a:pt x="1090" y="181"/>
                  </a:cubicBezTo>
                  <a:cubicBezTo>
                    <a:pt x="1090" y="-2852"/>
                    <a:pt x="131539" y="33551"/>
                    <a:pt x="228618" y="6248"/>
                  </a:cubicBezTo>
                  <a:close/>
                </a:path>
              </a:pathLst>
            </a:custGeom>
            <a:solidFill>
              <a:srgbClr val="9DB3D1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2B5CEAA8-C9CD-4FA7-82CB-8A41D2A84FFA}"/>
                </a:ext>
              </a:extLst>
            </p:cNvPr>
            <p:cNvSpPr/>
            <p:nvPr/>
          </p:nvSpPr>
          <p:spPr>
            <a:xfrm>
              <a:off x="16433719" y="12306780"/>
              <a:ext cx="56881" cy="75084"/>
            </a:xfrm>
            <a:custGeom>
              <a:avLst/>
              <a:gdLst>
                <a:gd name="connsiteX0" fmla="*/ 47781 w 56881"/>
                <a:gd name="connsiteY0" fmla="*/ 75084 h 75084"/>
                <a:gd name="connsiteX1" fmla="*/ 41713 w 56881"/>
                <a:gd name="connsiteY1" fmla="*/ 72050 h 75084"/>
                <a:gd name="connsiteX2" fmla="*/ 2275 w 56881"/>
                <a:gd name="connsiteY2" fmla="*/ 11376 h 75084"/>
                <a:gd name="connsiteX3" fmla="*/ 2275 w 56881"/>
                <a:gd name="connsiteY3" fmla="*/ 2275 h 75084"/>
                <a:gd name="connsiteX4" fmla="*/ 11376 w 56881"/>
                <a:gd name="connsiteY4" fmla="*/ 2275 h 75084"/>
                <a:gd name="connsiteX5" fmla="*/ 56882 w 56881"/>
                <a:gd name="connsiteY5" fmla="*/ 65983 h 75084"/>
                <a:gd name="connsiteX6" fmla="*/ 47781 w 56881"/>
                <a:gd name="connsiteY6" fmla="*/ 75084 h 75084"/>
                <a:gd name="connsiteX7" fmla="*/ 47781 w 56881"/>
                <a:gd name="connsiteY7" fmla="*/ 75084 h 75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881" h="75084">
                  <a:moveTo>
                    <a:pt x="47781" y="75084"/>
                  </a:moveTo>
                  <a:cubicBezTo>
                    <a:pt x="44747" y="75084"/>
                    <a:pt x="41713" y="72050"/>
                    <a:pt x="41713" y="72050"/>
                  </a:cubicBezTo>
                  <a:cubicBezTo>
                    <a:pt x="32613" y="38679"/>
                    <a:pt x="2275" y="11376"/>
                    <a:pt x="2275" y="11376"/>
                  </a:cubicBezTo>
                  <a:cubicBezTo>
                    <a:pt x="-758" y="8342"/>
                    <a:pt x="-758" y="5309"/>
                    <a:pt x="2275" y="2275"/>
                  </a:cubicBezTo>
                  <a:cubicBezTo>
                    <a:pt x="5309" y="-758"/>
                    <a:pt x="8342" y="-758"/>
                    <a:pt x="11376" y="2275"/>
                  </a:cubicBezTo>
                  <a:cubicBezTo>
                    <a:pt x="11376" y="2275"/>
                    <a:pt x="44747" y="32612"/>
                    <a:pt x="56882" y="65983"/>
                  </a:cubicBezTo>
                  <a:cubicBezTo>
                    <a:pt x="53848" y="72050"/>
                    <a:pt x="50815" y="75084"/>
                    <a:pt x="47781" y="75084"/>
                  </a:cubicBezTo>
                  <a:cubicBezTo>
                    <a:pt x="47781" y="75084"/>
                    <a:pt x="47781" y="75084"/>
                    <a:pt x="47781" y="75084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A62C63E4-97FD-462A-9AA2-404B0CDC5BAB}"/>
                </a:ext>
              </a:extLst>
            </p:cNvPr>
            <p:cNvSpPr/>
            <p:nvPr/>
          </p:nvSpPr>
          <p:spPr>
            <a:xfrm>
              <a:off x="16366977" y="12346218"/>
              <a:ext cx="50814" cy="69017"/>
            </a:xfrm>
            <a:custGeom>
              <a:avLst/>
              <a:gdLst>
                <a:gd name="connsiteX0" fmla="*/ 44747 w 50814"/>
                <a:gd name="connsiteY0" fmla="*/ 69017 h 69017"/>
                <a:gd name="connsiteX1" fmla="*/ 38680 w 50814"/>
                <a:gd name="connsiteY1" fmla="*/ 65983 h 69017"/>
                <a:gd name="connsiteX2" fmla="*/ 2275 w 50814"/>
                <a:gd name="connsiteY2" fmla="*/ 11377 h 69017"/>
                <a:gd name="connsiteX3" fmla="*/ 2275 w 50814"/>
                <a:gd name="connsiteY3" fmla="*/ 2275 h 69017"/>
                <a:gd name="connsiteX4" fmla="*/ 11377 w 50814"/>
                <a:gd name="connsiteY4" fmla="*/ 2275 h 69017"/>
                <a:gd name="connsiteX5" fmla="*/ 50815 w 50814"/>
                <a:gd name="connsiteY5" fmla="*/ 62950 h 69017"/>
                <a:gd name="connsiteX6" fmla="*/ 44747 w 50814"/>
                <a:gd name="connsiteY6" fmla="*/ 69017 h 69017"/>
                <a:gd name="connsiteX7" fmla="*/ 44747 w 50814"/>
                <a:gd name="connsiteY7" fmla="*/ 69017 h 69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814" h="69017">
                  <a:moveTo>
                    <a:pt x="44747" y="69017"/>
                  </a:moveTo>
                  <a:cubicBezTo>
                    <a:pt x="41714" y="69017"/>
                    <a:pt x="41714" y="69017"/>
                    <a:pt x="38680" y="65983"/>
                  </a:cubicBezTo>
                  <a:cubicBezTo>
                    <a:pt x="26546" y="26546"/>
                    <a:pt x="5309" y="11377"/>
                    <a:pt x="2275" y="11377"/>
                  </a:cubicBezTo>
                  <a:cubicBezTo>
                    <a:pt x="-758" y="8343"/>
                    <a:pt x="-758" y="5309"/>
                    <a:pt x="2275" y="2275"/>
                  </a:cubicBezTo>
                  <a:cubicBezTo>
                    <a:pt x="5309" y="-758"/>
                    <a:pt x="8343" y="-758"/>
                    <a:pt x="11377" y="2275"/>
                  </a:cubicBezTo>
                  <a:cubicBezTo>
                    <a:pt x="11377" y="2275"/>
                    <a:pt x="35646" y="20478"/>
                    <a:pt x="50815" y="62950"/>
                  </a:cubicBezTo>
                  <a:cubicBezTo>
                    <a:pt x="50815" y="65983"/>
                    <a:pt x="50815" y="69017"/>
                    <a:pt x="44747" y="69017"/>
                  </a:cubicBezTo>
                  <a:cubicBezTo>
                    <a:pt x="47781" y="69017"/>
                    <a:pt x="44747" y="69017"/>
                    <a:pt x="44747" y="69017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30B60AF0-639E-4184-ACAC-4A0C489B0C58}"/>
                </a:ext>
              </a:extLst>
            </p:cNvPr>
            <p:cNvSpPr/>
            <p:nvPr/>
          </p:nvSpPr>
          <p:spPr>
            <a:xfrm>
              <a:off x="16235770" y="12372763"/>
              <a:ext cx="394382" cy="144108"/>
            </a:xfrm>
            <a:custGeom>
              <a:avLst/>
              <a:gdLst>
                <a:gd name="connsiteX0" fmla="*/ 394382 w 394382"/>
                <a:gd name="connsiteY0" fmla="*/ 0 h 144108"/>
                <a:gd name="connsiteX1" fmla="*/ 394382 w 394382"/>
                <a:gd name="connsiteY1" fmla="*/ 51572 h 144108"/>
                <a:gd name="connsiteX2" fmla="*/ 379214 w 394382"/>
                <a:gd name="connsiteY2" fmla="*/ 72809 h 144108"/>
                <a:gd name="connsiteX3" fmla="*/ 9101 w 394382"/>
                <a:gd name="connsiteY3" fmla="*/ 142584 h 144108"/>
                <a:gd name="connsiteX4" fmla="*/ 0 w 394382"/>
                <a:gd name="connsiteY4" fmla="*/ 109213 h 144108"/>
                <a:gd name="connsiteX5" fmla="*/ 394382 w 394382"/>
                <a:gd name="connsiteY5" fmla="*/ 0 h 144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4382" h="144108">
                  <a:moveTo>
                    <a:pt x="394382" y="0"/>
                  </a:moveTo>
                  <a:lnTo>
                    <a:pt x="394382" y="51572"/>
                  </a:lnTo>
                  <a:cubicBezTo>
                    <a:pt x="394382" y="60674"/>
                    <a:pt x="388314" y="69775"/>
                    <a:pt x="379214" y="72809"/>
                  </a:cubicBezTo>
                  <a:cubicBezTo>
                    <a:pt x="327640" y="91011"/>
                    <a:pt x="145618" y="154718"/>
                    <a:pt x="9101" y="142584"/>
                  </a:cubicBezTo>
                  <a:lnTo>
                    <a:pt x="0" y="109213"/>
                  </a:lnTo>
                  <a:cubicBezTo>
                    <a:pt x="0" y="109213"/>
                    <a:pt x="364045" y="72809"/>
                    <a:pt x="394382" y="0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F88DE4B6-9DF0-41C1-BC4A-130228DFDB81}"/>
                </a:ext>
              </a:extLst>
            </p:cNvPr>
            <p:cNvSpPr/>
            <p:nvPr/>
          </p:nvSpPr>
          <p:spPr>
            <a:xfrm>
              <a:off x="15798093" y="8777819"/>
              <a:ext cx="100934" cy="597640"/>
            </a:xfrm>
            <a:custGeom>
              <a:avLst/>
              <a:gdLst>
                <a:gd name="connsiteX0" fmla="*/ 55429 w 100934"/>
                <a:gd name="connsiteY0" fmla="*/ 597640 h 597640"/>
                <a:gd name="connsiteX1" fmla="*/ 49362 w 100934"/>
                <a:gd name="connsiteY1" fmla="*/ 594607 h 597640"/>
                <a:gd name="connsiteX2" fmla="*/ 823 w 100934"/>
                <a:gd name="connsiteY2" fmla="*/ 345843 h 597640"/>
                <a:gd name="connsiteX3" fmla="*/ 88800 w 100934"/>
                <a:gd name="connsiteY3" fmla="*/ 3034 h 597640"/>
                <a:gd name="connsiteX4" fmla="*/ 97901 w 100934"/>
                <a:gd name="connsiteY4" fmla="*/ 0 h 597640"/>
                <a:gd name="connsiteX5" fmla="*/ 100935 w 100934"/>
                <a:gd name="connsiteY5" fmla="*/ 9101 h 597640"/>
                <a:gd name="connsiteX6" fmla="*/ 12958 w 100934"/>
                <a:gd name="connsiteY6" fmla="*/ 345843 h 597640"/>
                <a:gd name="connsiteX7" fmla="*/ 58463 w 100934"/>
                <a:gd name="connsiteY7" fmla="*/ 594607 h 597640"/>
                <a:gd name="connsiteX8" fmla="*/ 55429 w 100934"/>
                <a:gd name="connsiteY8" fmla="*/ 597640 h 597640"/>
                <a:gd name="connsiteX9" fmla="*/ 55429 w 100934"/>
                <a:gd name="connsiteY9" fmla="*/ 597640 h 597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0934" h="597640">
                  <a:moveTo>
                    <a:pt x="55429" y="597640"/>
                  </a:moveTo>
                  <a:cubicBezTo>
                    <a:pt x="52395" y="597640"/>
                    <a:pt x="49362" y="594607"/>
                    <a:pt x="49362" y="594607"/>
                  </a:cubicBezTo>
                  <a:cubicBezTo>
                    <a:pt x="31160" y="530899"/>
                    <a:pt x="6890" y="409551"/>
                    <a:pt x="823" y="345843"/>
                  </a:cubicBezTo>
                  <a:cubicBezTo>
                    <a:pt x="-5245" y="221461"/>
                    <a:pt x="22058" y="106180"/>
                    <a:pt x="88800" y="3034"/>
                  </a:cubicBezTo>
                  <a:cubicBezTo>
                    <a:pt x="91834" y="0"/>
                    <a:pt x="94868" y="0"/>
                    <a:pt x="97901" y="0"/>
                  </a:cubicBezTo>
                  <a:cubicBezTo>
                    <a:pt x="100935" y="3034"/>
                    <a:pt x="100935" y="6067"/>
                    <a:pt x="100935" y="9101"/>
                  </a:cubicBezTo>
                  <a:cubicBezTo>
                    <a:pt x="37227" y="112247"/>
                    <a:pt x="6890" y="224495"/>
                    <a:pt x="12958" y="345843"/>
                  </a:cubicBezTo>
                  <a:cubicBezTo>
                    <a:pt x="15992" y="409551"/>
                    <a:pt x="43295" y="530899"/>
                    <a:pt x="58463" y="594607"/>
                  </a:cubicBezTo>
                  <a:cubicBezTo>
                    <a:pt x="61497" y="594607"/>
                    <a:pt x="58463" y="597640"/>
                    <a:pt x="55429" y="597640"/>
                  </a:cubicBezTo>
                  <a:cubicBezTo>
                    <a:pt x="55429" y="597640"/>
                    <a:pt x="55429" y="597640"/>
                    <a:pt x="55429" y="597640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1" name="图形 1">
              <a:extLst>
                <a:ext uri="{FF2B5EF4-FFF2-40B4-BE49-F238E27FC236}">
                  <a16:creationId xmlns:a16="http://schemas.microsoft.com/office/drawing/2014/main" id="{826B96BF-DE03-4E49-ADFC-7A3F81DF10D6}"/>
                </a:ext>
              </a:extLst>
            </p:cNvPr>
            <p:cNvGrpSpPr/>
            <p:nvPr/>
          </p:nvGrpSpPr>
          <p:grpSpPr>
            <a:xfrm>
              <a:off x="14712848" y="8979657"/>
              <a:ext cx="1649361" cy="1255781"/>
              <a:chOff x="14712848" y="8979657"/>
              <a:chExt cx="1649361" cy="1255781"/>
            </a:xfrm>
          </p:grpSpPr>
          <p:grpSp>
            <p:nvGrpSpPr>
              <p:cNvPr id="136" name="图形 1">
                <a:extLst>
                  <a:ext uri="{FF2B5EF4-FFF2-40B4-BE49-F238E27FC236}">
                    <a16:creationId xmlns:a16="http://schemas.microsoft.com/office/drawing/2014/main" id="{04D5C7AB-9C84-4981-BF6A-3DFCD6E2F155}"/>
                  </a:ext>
                </a:extLst>
              </p:cNvPr>
              <p:cNvGrpSpPr/>
              <p:nvPr/>
            </p:nvGrpSpPr>
            <p:grpSpPr>
              <a:xfrm>
                <a:off x="15865657" y="9852840"/>
                <a:ext cx="496552" cy="382598"/>
                <a:chOff x="15865657" y="9852840"/>
                <a:chExt cx="496552" cy="382598"/>
              </a:xfrm>
            </p:grpSpPr>
            <p:sp>
              <p:nvSpPr>
                <p:cNvPr id="164" name="任意多边形: 形状 163">
                  <a:extLst>
                    <a:ext uri="{FF2B5EF4-FFF2-40B4-BE49-F238E27FC236}">
                      <a16:creationId xmlns:a16="http://schemas.microsoft.com/office/drawing/2014/main" id="{F0E99A7D-830A-4934-B611-E43B7057A729}"/>
                    </a:ext>
                  </a:extLst>
                </p:cNvPr>
                <p:cNvSpPr/>
                <p:nvPr/>
              </p:nvSpPr>
              <p:spPr>
                <a:xfrm>
                  <a:off x="15865657" y="9852840"/>
                  <a:ext cx="496552" cy="369807"/>
                </a:xfrm>
                <a:custGeom>
                  <a:avLst/>
                  <a:gdLst>
                    <a:gd name="connsiteX0" fmla="*/ 78877 w 496552"/>
                    <a:gd name="connsiteY0" fmla="*/ 32283 h 369807"/>
                    <a:gd name="connsiteX1" fmla="*/ 212360 w 496552"/>
                    <a:gd name="connsiteY1" fmla="*/ 20147 h 369807"/>
                    <a:gd name="connsiteX2" fmla="*/ 212360 w 496552"/>
                    <a:gd name="connsiteY2" fmla="*/ 20147 h 369807"/>
                    <a:gd name="connsiteX3" fmla="*/ 403484 w 496552"/>
                    <a:gd name="connsiteY3" fmla="*/ 35316 h 369807"/>
                    <a:gd name="connsiteX4" fmla="*/ 458090 w 496552"/>
                    <a:gd name="connsiteY4" fmla="*/ 314417 h 369807"/>
                    <a:gd name="connsiteX5" fmla="*/ 188090 w 496552"/>
                    <a:gd name="connsiteY5" fmla="*/ 320485 h 369807"/>
                    <a:gd name="connsiteX6" fmla="*/ 18202 w 496552"/>
                    <a:gd name="connsiteY6" fmla="*/ 168800 h 369807"/>
                    <a:gd name="connsiteX7" fmla="*/ 0 w 496552"/>
                    <a:gd name="connsiteY7" fmla="*/ 141495 h 369807"/>
                    <a:gd name="connsiteX8" fmla="*/ 78877 w 496552"/>
                    <a:gd name="connsiteY8" fmla="*/ 32283 h 3698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6552" h="369807">
                      <a:moveTo>
                        <a:pt x="78877" y="32283"/>
                      </a:moveTo>
                      <a:cubicBezTo>
                        <a:pt x="115281" y="53518"/>
                        <a:pt x="212360" y="20147"/>
                        <a:pt x="212360" y="20147"/>
                      </a:cubicBezTo>
                      <a:lnTo>
                        <a:pt x="212360" y="20147"/>
                      </a:lnTo>
                      <a:cubicBezTo>
                        <a:pt x="270001" y="-10190"/>
                        <a:pt x="345843" y="-7156"/>
                        <a:pt x="403484" y="35316"/>
                      </a:cubicBezTo>
                      <a:cubicBezTo>
                        <a:pt x="512697" y="117226"/>
                        <a:pt x="518764" y="235541"/>
                        <a:pt x="458090" y="314417"/>
                      </a:cubicBezTo>
                      <a:cubicBezTo>
                        <a:pt x="400450" y="393294"/>
                        <a:pt x="266967" y="381159"/>
                        <a:pt x="188090" y="320485"/>
                      </a:cubicBezTo>
                      <a:cubicBezTo>
                        <a:pt x="145619" y="290148"/>
                        <a:pt x="60674" y="211271"/>
                        <a:pt x="18202" y="168800"/>
                      </a:cubicBezTo>
                      <a:cubicBezTo>
                        <a:pt x="9102" y="159698"/>
                        <a:pt x="0" y="141495"/>
                        <a:pt x="0" y="141495"/>
                      </a:cubicBezTo>
                      <a:cubicBezTo>
                        <a:pt x="3034" y="126327"/>
                        <a:pt x="78877" y="32283"/>
                        <a:pt x="78877" y="32283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5" name="任意多边形: 形状 164">
                  <a:extLst>
                    <a:ext uri="{FF2B5EF4-FFF2-40B4-BE49-F238E27FC236}">
                      <a16:creationId xmlns:a16="http://schemas.microsoft.com/office/drawing/2014/main" id="{24E50CEF-CD64-4049-910F-AC191AB86F8F}"/>
                    </a:ext>
                  </a:extLst>
                </p:cNvPr>
                <p:cNvSpPr/>
                <p:nvPr/>
              </p:nvSpPr>
              <p:spPr>
                <a:xfrm>
                  <a:off x="15883859" y="9880144"/>
                  <a:ext cx="474698" cy="355294"/>
                </a:xfrm>
                <a:custGeom>
                  <a:avLst/>
                  <a:gdLst>
                    <a:gd name="connsiteX0" fmla="*/ 78877 w 474698"/>
                    <a:gd name="connsiteY0" fmla="*/ 32282 h 355294"/>
                    <a:gd name="connsiteX1" fmla="*/ 212360 w 474698"/>
                    <a:gd name="connsiteY1" fmla="*/ 20147 h 355294"/>
                    <a:gd name="connsiteX2" fmla="*/ 212360 w 474698"/>
                    <a:gd name="connsiteY2" fmla="*/ 20147 h 355294"/>
                    <a:gd name="connsiteX3" fmla="*/ 403484 w 474698"/>
                    <a:gd name="connsiteY3" fmla="*/ 35316 h 355294"/>
                    <a:gd name="connsiteX4" fmla="*/ 439888 w 474698"/>
                    <a:gd name="connsiteY4" fmla="*/ 284079 h 355294"/>
                    <a:gd name="connsiteX5" fmla="*/ 191124 w 474698"/>
                    <a:gd name="connsiteY5" fmla="*/ 320484 h 355294"/>
                    <a:gd name="connsiteX6" fmla="*/ 0 w 474698"/>
                    <a:gd name="connsiteY6" fmla="*/ 141496 h 355294"/>
                    <a:gd name="connsiteX7" fmla="*/ 78877 w 474698"/>
                    <a:gd name="connsiteY7" fmla="*/ 32282 h 355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74698" h="355294">
                      <a:moveTo>
                        <a:pt x="78877" y="32282"/>
                      </a:moveTo>
                      <a:cubicBezTo>
                        <a:pt x="115281" y="53517"/>
                        <a:pt x="212360" y="20147"/>
                        <a:pt x="212360" y="20147"/>
                      </a:cubicBezTo>
                      <a:cubicBezTo>
                        <a:pt x="212360" y="20147"/>
                        <a:pt x="212360" y="20147"/>
                        <a:pt x="212360" y="20147"/>
                      </a:cubicBezTo>
                      <a:cubicBezTo>
                        <a:pt x="270000" y="-10190"/>
                        <a:pt x="345843" y="-7157"/>
                        <a:pt x="403484" y="35316"/>
                      </a:cubicBezTo>
                      <a:cubicBezTo>
                        <a:pt x="482359" y="92956"/>
                        <a:pt x="497528" y="205203"/>
                        <a:pt x="439888" y="284079"/>
                      </a:cubicBezTo>
                      <a:cubicBezTo>
                        <a:pt x="382247" y="362956"/>
                        <a:pt x="270000" y="378125"/>
                        <a:pt x="191124" y="320484"/>
                      </a:cubicBezTo>
                      <a:cubicBezTo>
                        <a:pt x="130450" y="271945"/>
                        <a:pt x="0" y="141496"/>
                        <a:pt x="0" y="141496"/>
                      </a:cubicBezTo>
                      <a:cubicBezTo>
                        <a:pt x="6068" y="126327"/>
                        <a:pt x="78877" y="32282"/>
                        <a:pt x="78877" y="32282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6" name="任意多边形: 形状 165">
                  <a:extLst>
                    <a:ext uri="{FF2B5EF4-FFF2-40B4-BE49-F238E27FC236}">
                      <a16:creationId xmlns:a16="http://schemas.microsoft.com/office/drawing/2014/main" id="{85B2AE8E-6AEC-4C61-B2BF-75C4E2416F62}"/>
                    </a:ext>
                  </a:extLst>
                </p:cNvPr>
                <p:cNvSpPr/>
                <p:nvPr/>
              </p:nvSpPr>
              <p:spPr>
                <a:xfrm>
                  <a:off x="16046611" y="9923492"/>
                  <a:ext cx="263036" cy="263036"/>
                </a:xfrm>
                <a:custGeom>
                  <a:avLst/>
                  <a:gdLst>
                    <a:gd name="connsiteX0" fmla="*/ 25338 w 263036"/>
                    <a:gd name="connsiteY0" fmla="*/ 52642 h 263036"/>
                    <a:gd name="connsiteX1" fmla="*/ 210395 w 263036"/>
                    <a:gd name="connsiteY1" fmla="*/ 25338 h 263036"/>
                    <a:gd name="connsiteX2" fmla="*/ 237698 w 263036"/>
                    <a:gd name="connsiteY2" fmla="*/ 210395 h 263036"/>
                    <a:gd name="connsiteX3" fmla="*/ 52642 w 263036"/>
                    <a:gd name="connsiteY3" fmla="*/ 237698 h 263036"/>
                    <a:gd name="connsiteX4" fmla="*/ 25338 w 263036"/>
                    <a:gd name="connsiteY4" fmla="*/ 52642 h 2630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3036" h="263036">
                      <a:moveTo>
                        <a:pt x="25338" y="52642"/>
                      </a:moveTo>
                      <a:cubicBezTo>
                        <a:pt x="67810" y="-4999"/>
                        <a:pt x="152754" y="-17133"/>
                        <a:pt x="210395" y="25338"/>
                      </a:cubicBezTo>
                      <a:cubicBezTo>
                        <a:pt x="268035" y="67811"/>
                        <a:pt x="280170" y="152754"/>
                        <a:pt x="237698" y="210395"/>
                      </a:cubicBezTo>
                      <a:cubicBezTo>
                        <a:pt x="195226" y="268035"/>
                        <a:pt x="110282" y="280170"/>
                        <a:pt x="52642" y="237698"/>
                      </a:cubicBezTo>
                      <a:cubicBezTo>
                        <a:pt x="-4999" y="195226"/>
                        <a:pt x="-17133" y="110283"/>
                        <a:pt x="25338" y="52642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7" name="任意多边形: 形状 166">
                  <a:extLst>
                    <a:ext uri="{FF2B5EF4-FFF2-40B4-BE49-F238E27FC236}">
                      <a16:creationId xmlns:a16="http://schemas.microsoft.com/office/drawing/2014/main" id="{9598AC8E-A1AD-4397-BCE6-D0C280836867}"/>
                    </a:ext>
                  </a:extLst>
                </p:cNvPr>
                <p:cNvSpPr/>
                <p:nvPr/>
              </p:nvSpPr>
              <p:spPr>
                <a:xfrm>
                  <a:off x="16090296" y="9968481"/>
                  <a:ext cx="177396" cy="176093"/>
                </a:xfrm>
                <a:custGeom>
                  <a:avLst/>
                  <a:gdLst>
                    <a:gd name="connsiteX0" fmla="*/ 18058 w 177396"/>
                    <a:gd name="connsiteY0" fmla="*/ 34957 h 176093"/>
                    <a:gd name="connsiteX1" fmla="*/ 142440 w 177396"/>
                    <a:gd name="connsiteY1" fmla="*/ 16754 h 176093"/>
                    <a:gd name="connsiteX2" fmla="*/ 160642 w 177396"/>
                    <a:gd name="connsiteY2" fmla="*/ 141137 h 176093"/>
                    <a:gd name="connsiteX3" fmla="*/ 36260 w 177396"/>
                    <a:gd name="connsiteY3" fmla="*/ 159339 h 176093"/>
                    <a:gd name="connsiteX4" fmla="*/ 18058 w 177396"/>
                    <a:gd name="connsiteY4" fmla="*/ 34957 h 1760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7396" h="176093">
                      <a:moveTo>
                        <a:pt x="18058" y="34957"/>
                      </a:moveTo>
                      <a:cubicBezTo>
                        <a:pt x="48395" y="-4482"/>
                        <a:pt x="103002" y="-10549"/>
                        <a:pt x="142440" y="16754"/>
                      </a:cubicBezTo>
                      <a:cubicBezTo>
                        <a:pt x="181879" y="44058"/>
                        <a:pt x="187946" y="101698"/>
                        <a:pt x="160642" y="141137"/>
                      </a:cubicBezTo>
                      <a:cubicBezTo>
                        <a:pt x="130305" y="180574"/>
                        <a:pt x="75699" y="186642"/>
                        <a:pt x="36260" y="159339"/>
                      </a:cubicBezTo>
                      <a:cubicBezTo>
                        <a:pt x="-3178" y="129002"/>
                        <a:pt x="-12279" y="74395"/>
                        <a:pt x="18058" y="34957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8" name="任意多边形: 形状 167">
                  <a:extLst>
                    <a:ext uri="{FF2B5EF4-FFF2-40B4-BE49-F238E27FC236}">
                      <a16:creationId xmlns:a16="http://schemas.microsoft.com/office/drawing/2014/main" id="{7E5DC5BA-F550-4825-9E56-114089C8D729}"/>
                    </a:ext>
                  </a:extLst>
                </p:cNvPr>
                <p:cNvSpPr/>
                <p:nvPr/>
              </p:nvSpPr>
              <p:spPr>
                <a:xfrm>
                  <a:off x="15877793" y="9900291"/>
                  <a:ext cx="72808" cy="94044"/>
                </a:xfrm>
                <a:custGeom>
                  <a:avLst/>
                  <a:gdLst>
                    <a:gd name="connsiteX0" fmla="*/ 72809 w 72808"/>
                    <a:gd name="connsiteY0" fmla="*/ 15169 h 94044"/>
                    <a:gd name="connsiteX1" fmla="*/ 63707 w 72808"/>
                    <a:gd name="connsiteY1" fmla="*/ 0 h 94044"/>
                    <a:gd name="connsiteX2" fmla="*/ 0 w 72808"/>
                    <a:gd name="connsiteY2" fmla="*/ 81910 h 94044"/>
                    <a:gd name="connsiteX3" fmla="*/ 9101 w 72808"/>
                    <a:gd name="connsiteY3" fmla="*/ 94044 h 94044"/>
                    <a:gd name="connsiteX4" fmla="*/ 72809 w 72808"/>
                    <a:gd name="connsiteY4" fmla="*/ 15169 h 94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808" h="94044">
                      <a:moveTo>
                        <a:pt x="72809" y="15169"/>
                      </a:moveTo>
                      <a:lnTo>
                        <a:pt x="63707" y="0"/>
                      </a:lnTo>
                      <a:cubicBezTo>
                        <a:pt x="63707" y="0"/>
                        <a:pt x="9101" y="72809"/>
                        <a:pt x="0" y="81910"/>
                      </a:cubicBezTo>
                      <a:lnTo>
                        <a:pt x="9101" y="94044"/>
                      </a:lnTo>
                      <a:cubicBezTo>
                        <a:pt x="12135" y="94044"/>
                        <a:pt x="54606" y="27303"/>
                        <a:pt x="72809" y="15169"/>
                      </a:cubicBezTo>
                      <a:close/>
                    </a:path>
                  </a:pathLst>
                </a:custGeom>
                <a:solidFill>
                  <a:srgbClr val="262523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37" name="图形 1">
                <a:extLst>
                  <a:ext uri="{FF2B5EF4-FFF2-40B4-BE49-F238E27FC236}">
                    <a16:creationId xmlns:a16="http://schemas.microsoft.com/office/drawing/2014/main" id="{F3B63B7B-F5FF-493F-A080-28C78D9B1097}"/>
                  </a:ext>
                </a:extLst>
              </p:cNvPr>
              <p:cNvGrpSpPr/>
              <p:nvPr/>
            </p:nvGrpSpPr>
            <p:grpSpPr>
              <a:xfrm>
                <a:off x="14758354" y="9041752"/>
                <a:ext cx="1183146" cy="940449"/>
                <a:chOff x="14758354" y="9041752"/>
                <a:chExt cx="1183146" cy="940449"/>
              </a:xfrm>
            </p:grpSpPr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8370765E-4BF5-4DD4-BB55-961EA41E05E1}"/>
                    </a:ext>
                  </a:extLst>
                </p:cNvPr>
                <p:cNvSpPr/>
                <p:nvPr/>
              </p:nvSpPr>
              <p:spPr>
                <a:xfrm>
                  <a:off x="14758354" y="9041752"/>
                  <a:ext cx="1183146" cy="940449"/>
                </a:xfrm>
                <a:custGeom>
                  <a:avLst/>
                  <a:gdLst>
                    <a:gd name="connsiteX0" fmla="*/ 1183146 w 1183146"/>
                    <a:gd name="connsiteY0" fmla="*/ 882809 h 940449"/>
                    <a:gd name="connsiteX1" fmla="*/ 42473 w 1183146"/>
                    <a:gd name="connsiteY1" fmla="*/ 0 h 940449"/>
                    <a:gd name="connsiteX2" fmla="*/ 0 w 1183146"/>
                    <a:gd name="connsiteY2" fmla="*/ 54607 h 940449"/>
                    <a:gd name="connsiteX3" fmla="*/ 1140674 w 1183146"/>
                    <a:gd name="connsiteY3" fmla="*/ 940449 h 940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83146" h="940449">
                      <a:moveTo>
                        <a:pt x="1183146" y="882809"/>
                      </a:moveTo>
                      <a:lnTo>
                        <a:pt x="42473" y="0"/>
                      </a:lnTo>
                      <a:lnTo>
                        <a:pt x="0" y="54607"/>
                      </a:lnTo>
                      <a:lnTo>
                        <a:pt x="1140674" y="940449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40" name="图形 1">
                  <a:extLst>
                    <a:ext uri="{FF2B5EF4-FFF2-40B4-BE49-F238E27FC236}">
                      <a16:creationId xmlns:a16="http://schemas.microsoft.com/office/drawing/2014/main" id="{E4E6E1B8-4A4A-46BA-AAA4-E8E24438EE55}"/>
                    </a:ext>
                  </a:extLst>
                </p:cNvPr>
                <p:cNvGrpSpPr/>
                <p:nvPr/>
              </p:nvGrpSpPr>
              <p:grpSpPr>
                <a:xfrm>
                  <a:off x="14843298" y="9075123"/>
                  <a:ext cx="1067864" cy="843370"/>
                  <a:chOff x="14843298" y="9075123"/>
                  <a:chExt cx="1067864" cy="843370"/>
                </a:xfrm>
                <a:solidFill>
                  <a:srgbClr val="D39778"/>
                </a:solidFill>
              </p:grpSpPr>
              <p:grpSp>
                <p:nvGrpSpPr>
                  <p:cNvPr id="141" name="图形 1">
                    <a:extLst>
                      <a:ext uri="{FF2B5EF4-FFF2-40B4-BE49-F238E27FC236}">
                        <a16:creationId xmlns:a16="http://schemas.microsoft.com/office/drawing/2014/main" id="{32598A76-B161-40C5-979A-071B9E3E2CC5}"/>
                      </a:ext>
                    </a:extLst>
                  </p:cNvPr>
                  <p:cNvGrpSpPr/>
                  <p:nvPr/>
                </p:nvGrpSpPr>
                <p:grpSpPr>
                  <a:xfrm>
                    <a:off x="15689702" y="9730404"/>
                    <a:ext cx="221460" cy="188089"/>
                    <a:chOff x="15689702" y="9730404"/>
                    <a:chExt cx="221460" cy="188089"/>
                  </a:xfrm>
                  <a:solidFill>
                    <a:srgbClr val="D39778"/>
                  </a:solidFill>
                </p:grpSpPr>
                <p:sp>
                  <p:nvSpPr>
                    <p:cNvPr id="160" name="任意多边形: 形状 159">
                      <a:extLst>
                        <a:ext uri="{FF2B5EF4-FFF2-40B4-BE49-F238E27FC236}">
                          <a16:creationId xmlns:a16="http://schemas.microsoft.com/office/drawing/2014/main" id="{BC59835C-2442-4852-A3D2-3F8FDEE3E1D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865657" y="9866920"/>
                      <a:ext cx="45505" cy="51572"/>
                    </a:xfrm>
                    <a:custGeom>
                      <a:avLst/>
                      <a:gdLst>
                        <a:gd name="connsiteX0" fmla="*/ 45506 w 45505"/>
                        <a:gd name="connsiteY0" fmla="*/ 9101 h 51572"/>
                        <a:gd name="connsiteX1" fmla="*/ 15169 w 45505"/>
                        <a:gd name="connsiteY1" fmla="*/ 51572 h 51572"/>
                        <a:gd name="connsiteX2" fmla="*/ 0 w 45505"/>
                        <a:gd name="connsiteY2" fmla="*/ 39438 h 51572"/>
                        <a:gd name="connsiteX3" fmla="*/ 30337 w 45505"/>
                        <a:gd name="connsiteY3" fmla="*/ 0 h 515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5505" h="51572">
                          <a:moveTo>
                            <a:pt x="45506" y="9101"/>
                          </a:moveTo>
                          <a:lnTo>
                            <a:pt x="15169" y="51572"/>
                          </a:lnTo>
                          <a:lnTo>
                            <a:pt x="0" y="39438"/>
                          </a:lnTo>
                          <a:lnTo>
                            <a:pt x="30337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61" name="任意多边形: 形状 160">
                      <a:extLst>
                        <a:ext uri="{FF2B5EF4-FFF2-40B4-BE49-F238E27FC236}">
                          <a16:creationId xmlns:a16="http://schemas.microsoft.com/office/drawing/2014/main" id="{FF92077F-9AC7-4265-B4F4-DA7BAA0099F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811051" y="9818381"/>
                      <a:ext cx="45505" cy="54606"/>
                    </a:xfrm>
                    <a:custGeom>
                      <a:avLst/>
                      <a:gdLst>
                        <a:gd name="connsiteX0" fmla="*/ 45506 w 45505"/>
                        <a:gd name="connsiteY0" fmla="*/ 9101 h 54606"/>
                        <a:gd name="connsiteX1" fmla="*/ 15169 w 45505"/>
                        <a:gd name="connsiteY1" fmla="*/ 54606 h 54606"/>
                        <a:gd name="connsiteX2" fmla="*/ 0 w 45505"/>
                        <a:gd name="connsiteY2" fmla="*/ 42472 h 54606"/>
                        <a:gd name="connsiteX3" fmla="*/ 30337 w 45505"/>
                        <a:gd name="connsiteY3" fmla="*/ 0 h 546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5505" h="54606">
                          <a:moveTo>
                            <a:pt x="45506" y="9101"/>
                          </a:moveTo>
                          <a:lnTo>
                            <a:pt x="15169" y="54606"/>
                          </a:lnTo>
                          <a:lnTo>
                            <a:pt x="0" y="42472"/>
                          </a:lnTo>
                          <a:lnTo>
                            <a:pt x="30337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62" name="任意多边形: 形状 161">
                      <a:extLst>
                        <a:ext uri="{FF2B5EF4-FFF2-40B4-BE49-F238E27FC236}">
                          <a16:creationId xmlns:a16="http://schemas.microsoft.com/office/drawing/2014/main" id="{1ABDEA02-022E-4F8E-9859-1C9620E042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744309" y="9775909"/>
                      <a:ext cx="42472" cy="54606"/>
                    </a:xfrm>
                    <a:custGeom>
                      <a:avLst/>
                      <a:gdLst>
                        <a:gd name="connsiteX0" fmla="*/ 42473 w 42472"/>
                        <a:gd name="connsiteY0" fmla="*/ 12135 h 54606"/>
                        <a:gd name="connsiteX1" fmla="*/ 15169 w 42472"/>
                        <a:gd name="connsiteY1" fmla="*/ 54606 h 54606"/>
                        <a:gd name="connsiteX2" fmla="*/ 0 w 42472"/>
                        <a:gd name="connsiteY2" fmla="*/ 42472 h 54606"/>
                        <a:gd name="connsiteX3" fmla="*/ 30337 w 42472"/>
                        <a:gd name="connsiteY3" fmla="*/ 0 h 546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2472" h="54606">
                          <a:moveTo>
                            <a:pt x="42473" y="12135"/>
                          </a:moveTo>
                          <a:lnTo>
                            <a:pt x="15169" y="54606"/>
                          </a:lnTo>
                          <a:lnTo>
                            <a:pt x="0" y="42472"/>
                          </a:lnTo>
                          <a:lnTo>
                            <a:pt x="30337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63" name="任意多边形: 形状 162">
                      <a:extLst>
                        <a:ext uri="{FF2B5EF4-FFF2-40B4-BE49-F238E27FC236}">
                          <a16:creationId xmlns:a16="http://schemas.microsoft.com/office/drawing/2014/main" id="{A545B22F-FF74-43D3-B287-EF335E2C7C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689702" y="9730404"/>
                      <a:ext cx="45505" cy="51572"/>
                    </a:xfrm>
                    <a:custGeom>
                      <a:avLst/>
                      <a:gdLst>
                        <a:gd name="connsiteX0" fmla="*/ 45506 w 45505"/>
                        <a:gd name="connsiteY0" fmla="*/ 9101 h 51572"/>
                        <a:gd name="connsiteX1" fmla="*/ 15169 w 45505"/>
                        <a:gd name="connsiteY1" fmla="*/ 51572 h 51572"/>
                        <a:gd name="connsiteX2" fmla="*/ 0 w 45505"/>
                        <a:gd name="connsiteY2" fmla="*/ 42472 h 51572"/>
                        <a:gd name="connsiteX3" fmla="*/ 30337 w 45505"/>
                        <a:gd name="connsiteY3" fmla="*/ 0 h 515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5505" h="51572">
                          <a:moveTo>
                            <a:pt x="45506" y="9101"/>
                          </a:moveTo>
                          <a:lnTo>
                            <a:pt x="15169" y="51572"/>
                          </a:lnTo>
                          <a:lnTo>
                            <a:pt x="0" y="42472"/>
                          </a:lnTo>
                          <a:lnTo>
                            <a:pt x="30337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grpSp>
                <p:nvGrpSpPr>
                  <p:cNvPr id="142" name="图形 1">
                    <a:extLst>
                      <a:ext uri="{FF2B5EF4-FFF2-40B4-BE49-F238E27FC236}">
                        <a16:creationId xmlns:a16="http://schemas.microsoft.com/office/drawing/2014/main" id="{C2A7F168-145C-4D18-BD8B-02DD69B595C3}"/>
                      </a:ext>
                    </a:extLst>
                  </p:cNvPr>
                  <p:cNvGrpSpPr/>
                  <p:nvPr/>
                </p:nvGrpSpPr>
                <p:grpSpPr>
                  <a:xfrm>
                    <a:off x="15447006" y="9545347"/>
                    <a:ext cx="221460" cy="188090"/>
                    <a:chOff x="15447006" y="9545347"/>
                    <a:chExt cx="221460" cy="188090"/>
                  </a:xfrm>
                  <a:solidFill>
                    <a:srgbClr val="D39778"/>
                  </a:solidFill>
                </p:grpSpPr>
                <p:sp>
                  <p:nvSpPr>
                    <p:cNvPr id="156" name="任意多边形: 形状 155">
                      <a:extLst>
                        <a:ext uri="{FF2B5EF4-FFF2-40B4-BE49-F238E27FC236}">
                          <a16:creationId xmlns:a16="http://schemas.microsoft.com/office/drawing/2014/main" id="{DF6BDF34-CCAA-4BA9-8C4B-C3943BB103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622960" y="9678830"/>
                      <a:ext cx="45505" cy="54607"/>
                    </a:xfrm>
                    <a:custGeom>
                      <a:avLst/>
                      <a:gdLst>
                        <a:gd name="connsiteX0" fmla="*/ 45506 w 45505"/>
                        <a:gd name="connsiteY0" fmla="*/ 9102 h 54607"/>
                        <a:gd name="connsiteX1" fmla="*/ 15169 w 45505"/>
                        <a:gd name="connsiteY1" fmla="*/ 54607 h 54607"/>
                        <a:gd name="connsiteX2" fmla="*/ 0 w 45505"/>
                        <a:gd name="connsiteY2" fmla="*/ 42472 h 54607"/>
                        <a:gd name="connsiteX3" fmla="*/ 30337 w 45505"/>
                        <a:gd name="connsiteY3" fmla="*/ 0 h 546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5505" h="54607">
                          <a:moveTo>
                            <a:pt x="45506" y="9102"/>
                          </a:moveTo>
                          <a:lnTo>
                            <a:pt x="15169" y="54607"/>
                          </a:lnTo>
                          <a:lnTo>
                            <a:pt x="0" y="42472"/>
                          </a:lnTo>
                          <a:lnTo>
                            <a:pt x="30337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57" name="任意多边形: 形状 156">
                      <a:extLst>
                        <a:ext uri="{FF2B5EF4-FFF2-40B4-BE49-F238E27FC236}">
                          <a16:creationId xmlns:a16="http://schemas.microsoft.com/office/drawing/2014/main" id="{E0759EBA-AEBC-4666-9F3C-F09CE092F79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71388" y="9633325"/>
                      <a:ext cx="42471" cy="51573"/>
                    </a:xfrm>
                    <a:custGeom>
                      <a:avLst/>
                      <a:gdLst>
                        <a:gd name="connsiteX0" fmla="*/ 42472 w 42471"/>
                        <a:gd name="connsiteY0" fmla="*/ 9102 h 51573"/>
                        <a:gd name="connsiteX1" fmla="*/ 12135 w 42471"/>
                        <a:gd name="connsiteY1" fmla="*/ 51573 h 51573"/>
                        <a:gd name="connsiteX2" fmla="*/ 0 w 42471"/>
                        <a:gd name="connsiteY2" fmla="*/ 42472 h 51573"/>
                        <a:gd name="connsiteX3" fmla="*/ 27303 w 42471"/>
                        <a:gd name="connsiteY3" fmla="*/ 0 h 515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2471" h="51573">
                          <a:moveTo>
                            <a:pt x="42472" y="9102"/>
                          </a:moveTo>
                          <a:lnTo>
                            <a:pt x="12135" y="51573"/>
                          </a:lnTo>
                          <a:lnTo>
                            <a:pt x="0" y="42472"/>
                          </a:lnTo>
                          <a:lnTo>
                            <a:pt x="27303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58" name="任意多边形: 形状 157">
                      <a:extLst>
                        <a:ext uri="{FF2B5EF4-FFF2-40B4-BE49-F238E27FC236}">
                          <a16:creationId xmlns:a16="http://schemas.microsoft.com/office/drawing/2014/main" id="{F855CDC6-E882-4FB6-9DE1-BF02281636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01612" y="9590853"/>
                      <a:ext cx="45505" cy="51573"/>
                    </a:xfrm>
                    <a:custGeom>
                      <a:avLst/>
                      <a:gdLst>
                        <a:gd name="connsiteX0" fmla="*/ 45506 w 45505"/>
                        <a:gd name="connsiteY0" fmla="*/ 9101 h 51573"/>
                        <a:gd name="connsiteX1" fmla="*/ 15169 w 45505"/>
                        <a:gd name="connsiteY1" fmla="*/ 51573 h 51573"/>
                        <a:gd name="connsiteX2" fmla="*/ 0 w 45505"/>
                        <a:gd name="connsiteY2" fmla="*/ 42472 h 51573"/>
                        <a:gd name="connsiteX3" fmla="*/ 30337 w 45505"/>
                        <a:gd name="connsiteY3" fmla="*/ 0 h 515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5505" h="51573">
                          <a:moveTo>
                            <a:pt x="45506" y="9101"/>
                          </a:moveTo>
                          <a:lnTo>
                            <a:pt x="15169" y="51573"/>
                          </a:lnTo>
                          <a:lnTo>
                            <a:pt x="0" y="42472"/>
                          </a:lnTo>
                          <a:lnTo>
                            <a:pt x="30337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59" name="任意多边形: 形状 158">
                      <a:extLst>
                        <a:ext uri="{FF2B5EF4-FFF2-40B4-BE49-F238E27FC236}">
                          <a16:creationId xmlns:a16="http://schemas.microsoft.com/office/drawing/2014/main" id="{4EAFE0AE-04BA-4815-B19C-153A31F8EA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447006" y="9545347"/>
                      <a:ext cx="45505" cy="51573"/>
                    </a:xfrm>
                    <a:custGeom>
                      <a:avLst/>
                      <a:gdLst>
                        <a:gd name="connsiteX0" fmla="*/ 45506 w 45505"/>
                        <a:gd name="connsiteY0" fmla="*/ 9101 h 51573"/>
                        <a:gd name="connsiteX1" fmla="*/ 15169 w 45505"/>
                        <a:gd name="connsiteY1" fmla="*/ 51573 h 51573"/>
                        <a:gd name="connsiteX2" fmla="*/ 0 w 45505"/>
                        <a:gd name="connsiteY2" fmla="*/ 42472 h 51573"/>
                        <a:gd name="connsiteX3" fmla="*/ 30337 w 45505"/>
                        <a:gd name="connsiteY3" fmla="*/ 0 h 515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5505" h="51573">
                          <a:moveTo>
                            <a:pt x="45506" y="9101"/>
                          </a:moveTo>
                          <a:lnTo>
                            <a:pt x="15169" y="51573"/>
                          </a:lnTo>
                          <a:lnTo>
                            <a:pt x="0" y="42472"/>
                          </a:lnTo>
                          <a:lnTo>
                            <a:pt x="30337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grpSp>
                <p:nvGrpSpPr>
                  <p:cNvPr id="143" name="图形 1">
                    <a:extLst>
                      <a:ext uri="{FF2B5EF4-FFF2-40B4-BE49-F238E27FC236}">
                        <a16:creationId xmlns:a16="http://schemas.microsoft.com/office/drawing/2014/main" id="{C8451BD8-C74F-46D8-BE82-E77FD2B339F8}"/>
                      </a:ext>
                    </a:extLst>
                  </p:cNvPr>
                  <p:cNvGrpSpPr/>
                  <p:nvPr/>
                </p:nvGrpSpPr>
                <p:grpSpPr>
                  <a:xfrm>
                    <a:off x="15207343" y="9360291"/>
                    <a:ext cx="218426" cy="185056"/>
                    <a:chOff x="15207343" y="9360291"/>
                    <a:chExt cx="218426" cy="185056"/>
                  </a:xfrm>
                  <a:solidFill>
                    <a:srgbClr val="D39778"/>
                  </a:solidFill>
                </p:grpSpPr>
                <p:sp>
                  <p:nvSpPr>
                    <p:cNvPr id="152" name="任意多边形: 形状 151">
                      <a:extLst>
                        <a:ext uri="{FF2B5EF4-FFF2-40B4-BE49-F238E27FC236}">
                          <a16:creationId xmlns:a16="http://schemas.microsoft.com/office/drawing/2014/main" id="{8C450C84-7163-4534-9FB1-2F90EE06007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83298" y="9493774"/>
                      <a:ext cx="42471" cy="51572"/>
                    </a:xfrm>
                    <a:custGeom>
                      <a:avLst/>
                      <a:gdLst>
                        <a:gd name="connsiteX0" fmla="*/ 42472 w 42471"/>
                        <a:gd name="connsiteY0" fmla="*/ 9101 h 51572"/>
                        <a:gd name="connsiteX1" fmla="*/ 12135 w 42471"/>
                        <a:gd name="connsiteY1" fmla="*/ 51573 h 51572"/>
                        <a:gd name="connsiteX2" fmla="*/ 0 w 42471"/>
                        <a:gd name="connsiteY2" fmla="*/ 42472 h 51572"/>
                        <a:gd name="connsiteX3" fmla="*/ 27303 w 42471"/>
                        <a:gd name="connsiteY3" fmla="*/ 0 h 515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2471" h="51572">
                          <a:moveTo>
                            <a:pt x="42472" y="9101"/>
                          </a:moveTo>
                          <a:lnTo>
                            <a:pt x="12135" y="51573"/>
                          </a:lnTo>
                          <a:lnTo>
                            <a:pt x="0" y="42472"/>
                          </a:lnTo>
                          <a:lnTo>
                            <a:pt x="27303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53" name="任意多边形: 形状 152">
                      <a:extLst>
                        <a:ext uri="{FF2B5EF4-FFF2-40B4-BE49-F238E27FC236}">
                          <a16:creationId xmlns:a16="http://schemas.microsoft.com/office/drawing/2014/main" id="{6EDF7EAD-424F-4F98-BD93-C64BDAD348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28691" y="9448269"/>
                      <a:ext cx="42471" cy="51572"/>
                    </a:xfrm>
                    <a:custGeom>
                      <a:avLst/>
                      <a:gdLst>
                        <a:gd name="connsiteX0" fmla="*/ 42472 w 42471"/>
                        <a:gd name="connsiteY0" fmla="*/ 9101 h 51572"/>
                        <a:gd name="connsiteX1" fmla="*/ 15169 w 42471"/>
                        <a:gd name="connsiteY1" fmla="*/ 51573 h 51572"/>
                        <a:gd name="connsiteX2" fmla="*/ 0 w 42471"/>
                        <a:gd name="connsiteY2" fmla="*/ 42472 h 51572"/>
                        <a:gd name="connsiteX3" fmla="*/ 27303 w 42471"/>
                        <a:gd name="connsiteY3" fmla="*/ 0 h 515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2471" h="51572">
                          <a:moveTo>
                            <a:pt x="42472" y="9101"/>
                          </a:moveTo>
                          <a:lnTo>
                            <a:pt x="15169" y="51573"/>
                          </a:lnTo>
                          <a:lnTo>
                            <a:pt x="0" y="42472"/>
                          </a:lnTo>
                          <a:lnTo>
                            <a:pt x="27303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54" name="任意多边形: 形状 153">
                      <a:extLst>
                        <a:ext uri="{FF2B5EF4-FFF2-40B4-BE49-F238E27FC236}">
                          <a16:creationId xmlns:a16="http://schemas.microsoft.com/office/drawing/2014/main" id="{97AD84AC-1915-4818-8BB3-97FDBD4F1B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58915" y="9405797"/>
                      <a:ext cx="45505" cy="51573"/>
                    </a:xfrm>
                    <a:custGeom>
                      <a:avLst/>
                      <a:gdLst>
                        <a:gd name="connsiteX0" fmla="*/ 45506 w 45505"/>
                        <a:gd name="connsiteY0" fmla="*/ 9101 h 51573"/>
                        <a:gd name="connsiteX1" fmla="*/ 15169 w 45505"/>
                        <a:gd name="connsiteY1" fmla="*/ 51573 h 51573"/>
                        <a:gd name="connsiteX2" fmla="*/ 0 w 45505"/>
                        <a:gd name="connsiteY2" fmla="*/ 42472 h 51573"/>
                        <a:gd name="connsiteX3" fmla="*/ 30337 w 45505"/>
                        <a:gd name="connsiteY3" fmla="*/ 0 h 515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5505" h="51573">
                          <a:moveTo>
                            <a:pt x="45506" y="9101"/>
                          </a:moveTo>
                          <a:lnTo>
                            <a:pt x="15169" y="51573"/>
                          </a:lnTo>
                          <a:lnTo>
                            <a:pt x="0" y="42472"/>
                          </a:lnTo>
                          <a:lnTo>
                            <a:pt x="30337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55" name="任意多边形: 形状 154">
                      <a:extLst>
                        <a:ext uri="{FF2B5EF4-FFF2-40B4-BE49-F238E27FC236}">
                          <a16:creationId xmlns:a16="http://schemas.microsoft.com/office/drawing/2014/main" id="{8D27467F-5FC5-4871-916C-EF0F2A44C6C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07343" y="9360291"/>
                      <a:ext cx="42471" cy="51573"/>
                    </a:xfrm>
                    <a:custGeom>
                      <a:avLst/>
                      <a:gdLst>
                        <a:gd name="connsiteX0" fmla="*/ 42472 w 42471"/>
                        <a:gd name="connsiteY0" fmla="*/ 9101 h 51573"/>
                        <a:gd name="connsiteX1" fmla="*/ 12135 w 42471"/>
                        <a:gd name="connsiteY1" fmla="*/ 51573 h 51573"/>
                        <a:gd name="connsiteX2" fmla="*/ 0 w 42471"/>
                        <a:gd name="connsiteY2" fmla="*/ 42472 h 51573"/>
                        <a:gd name="connsiteX3" fmla="*/ 27303 w 42471"/>
                        <a:gd name="connsiteY3" fmla="*/ 0 h 515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2471" h="51573">
                          <a:moveTo>
                            <a:pt x="42472" y="9101"/>
                          </a:moveTo>
                          <a:lnTo>
                            <a:pt x="12135" y="51573"/>
                          </a:lnTo>
                          <a:lnTo>
                            <a:pt x="0" y="42472"/>
                          </a:lnTo>
                          <a:lnTo>
                            <a:pt x="27303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grpSp>
                <p:nvGrpSpPr>
                  <p:cNvPr id="144" name="图形 1">
                    <a:extLst>
                      <a:ext uri="{FF2B5EF4-FFF2-40B4-BE49-F238E27FC236}">
                        <a16:creationId xmlns:a16="http://schemas.microsoft.com/office/drawing/2014/main" id="{18F3057F-6D0C-47D9-A2AF-CC06B93BBA0A}"/>
                      </a:ext>
                    </a:extLst>
                  </p:cNvPr>
                  <p:cNvGrpSpPr/>
                  <p:nvPr/>
                </p:nvGrpSpPr>
                <p:grpSpPr>
                  <a:xfrm>
                    <a:off x="14964646" y="9175235"/>
                    <a:ext cx="218426" cy="185055"/>
                    <a:chOff x="14964646" y="9175235"/>
                    <a:chExt cx="218426" cy="185055"/>
                  </a:xfrm>
                  <a:solidFill>
                    <a:srgbClr val="D39778"/>
                  </a:solidFill>
                </p:grpSpPr>
                <p:sp>
                  <p:nvSpPr>
                    <p:cNvPr id="148" name="任意多边形: 形状 147">
                      <a:extLst>
                        <a:ext uri="{FF2B5EF4-FFF2-40B4-BE49-F238E27FC236}">
                          <a16:creationId xmlns:a16="http://schemas.microsoft.com/office/drawing/2014/main" id="{37E722AF-9CB4-4BFC-8F41-73A47348EA5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40601" y="9308718"/>
                      <a:ext cx="42471" cy="51572"/>
                    </a:xfrm>
                    <a:custGeom>
                      <a:avLst/>
                      <a:gdLst>
                        <a:gd name="connsiteX0" fmla="*/ 42472 w 42471"/>
                        <a:gd name="connsiteY0" fmla="*/ 9101 h 51572"/>
                        <a:gd name="connsiteX1" fmla="*/ 15169 w 42471"/>
                        <a:gd name="connsiteY1" fmla="*/ 51573 h 51572"/>
                        <a:gd name="connsiteX2" fmla="*/ 0 w 42471"/>
                        <a:gd name="connsiteY2" fmla="*/ 42472 h 51572"/>
                        <a:gd name="connsiteX3" fmla="*/ 27303 w 42471"/>
                        <a:gd name="connsiteY3" fmla="*/ 0 h 515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2471" h="51572">
                          <a:moveTo>
                            <a:pt x="42472" y="9101"/>
                          </a:moveTo>
                          <a:lnTo>
                            <a:pt x="15169" y="51573"/>
                          </a:lnTo>
                          <a:lnTo>
                            <a:pt x="0" y="42472"/>
                          </a:lnTo>
                          <a:lnTo>
                            <a:pt x="27303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49" name="任意多边形: 形状 148">
                      <a:extLst>
                        <a:ext uri="{FF2B5EF4-FFF2-40B4-BE49-F238E27FC236}">
                          <a16:creationId xmlns:a16="http://schemas.microsoft.com/office/drawing/2014/main" id="{6048E102-98CD-4CE0-AAA6-9FD52E5CC8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85995" y="9263212"/>
                      <a:ext cx="42471" cy="51572"/>
                    </a:xfrm>
                    <a:custGeom>
                      <a:avLst/>
                      <a:gdLst>
                        <a:gd name="connsiteX0" fmla="*/ 42472 w 42471"/>
                        <a:gd name="connsiteY0" fmla="*/ 9101 h 51572"/>
                        <a:gd name="connsiteX1" fmla="*/ 15169 w 42471"/>
                        <a:gd name="connsiteY1" fmla="*/ 51573 h 51572"/>
                        <a:gd name="connsiteX2" fmla="*/ 0 w 42471"/>
                        <a:gd name="connsiteY2" fmla="*/ 42472 h 51572"/>
                        <a:gd name="connsiteX3" fmla="*/ 27303 w 42471"/>
                        <a:gd name="connsiteY3" fmla="*/ 0 h 515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2471" h="51572">
                          <a:moveTo>
                            <a:pt x="42472" y="9101"/>
                          </a:moveTo>
                          <a:lnTo>
                            <a:pt x="15169" y="51573"/>
                          </a:lnTo>
                          <a:lnTo>
                            <a:pt x="0" y="42472"/>
                          </a:lnTo>
                          <a:lnTo>
                            <a:pt x="27303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50" name="任意多边形: 形状 149">
                      <a:extLst>
                        <a:ext uri="{FF2B5EF4-FFF2-40B4-BE49-F238E27FC236}">
                          <a16:creationId xmlns:a16="http://schemas.microsoft.com/office/drawing/2014/main" id="{48ED33DC-E8D2-41D0-9298-9C02291C7B2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19253" y="9220741"/>
                      <a:ext cx="42471" cy="51572"/>
                    </a:xfrm>
                    <a:custGeom>
                      <a:avLst/>
                      <a:gdLst>
                        <a:gd name="connsiteX0" fmla="*/ 42472 w 42471"/>
                        <a:gd name="connsiteY0" fmla="*/ 9101 h 51572"/>
                        <a:gd name="connsiteX1" fmla="*/ 12135 w 42471"/>
                        <a:gd name="connsiteY1" fmla="*/ 51573 h 51572"/>
                        <a:gd name="connsiteX2" fmla="*/ 0 w 42471"/>
                        <a:gd name="connsiteY2" fmla="*/ 42472 h 51572"/>
                        <a:gd name="connsiteX3" fmla="*/ 27303 w 42471"/>
                        <a:gd name="connsiteY3" fmla="*/ 0 h 515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2471" h="51572">
                          <a:moveTo>
                            <a:pt x="42472" y="9101"/>
                          </a:moveTo>
                          <a:lnTo>
                            <a:pt x="12135" y="51573"/>
                          </a:lnTo>
                          <a:lnTo>
                            <a:pt x="0" y="42472"/>
                          </a:lnTo>
                          <a:lnTo>
                            <a:pt x="27303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51" name="任意多边形: 形状 150">
                      <a:extLst>
                        <a:ext uri="{FF2B5EF4-FFF2-40B4-BE49-F238E27FC236}">
                          <a16:creationId xmlns:a16="http://schemas.microsoft.com/office/drawing/2014/main" id="{5BA62662-C3B4-40DF-AD0C-1E2E87A8A0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64646" y="9175235"/>
                      <a:ext cx="42471" cy="51572"/>
                    </a:xfrm>
                    <a:custGeom>
                      <a:avLst/>
                      <a:gdLst>
                        <a:gd name="connsiteX0" fmla="*/ 42472 w 42471"/>
                        <a:gd name="connsiteY0" fmla="*/ 9101 h 51572"/>
                        <a:gd name="connsiteX1" fmla="*/ 15169 w 42471"/>
                        <a:gd name="connsiteY1" fmla="*/ 51573 h 51572"/>
                        <a:gd name="connsiteX2" fmla="*/ 0 w 42471"/>
                        <a:gd name="connsiteY2" fmla="*/ 39438 h 51572"/>
                        <a:gd name="connsiteX3" fmla="*/ 27303 w 42471"/>
                        <a:gd name="connsiteY3" fmla="*/ 0 h 515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2471" h="51572">
                          <a:moveTo>
                            <a:pt x="42472" y="9101"/>
                          </a:moveTo>
                          <a:lnTo>
                            <a:pt x="15169" y="51573"/>
                          </a:lnTo>
                          <a:lnTo>
                            <a:pt x="0" y="39438"/>
                          </a:lnTo>
                          <a:lnTo>
                            <a:pt x="27303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grpSp>
                <p:nvGrpSpPr>
                  <p:cNvPr id="145" name="图形 1">
                    <a:extLst>
                      <a:ext uri="{FF2B5EF4-FFF2-40B4-BE49-F238E27FC236}">
                        <a16:creationId xmlns:a16="http://schemas.microsoft.com/office/drawing/2014/main" id="{45D0F29F-433D-48A7-9DD2-B240EB47E703}"/>
                      </a:ext>
                    </a:extLst>
                  </p:cNvPr>
                  <p:cNvGrpSpPr/>
                  <p:nvPr/>
                </p:nvGrpSpPr>
                <p:grpSpPr>
                  <a:xfrm>
                    <a:off x="14843298" y="9075123"/>
                    <a:ext cx="97078" cy="100112"/>
                    <a:chOff x="14843298" y="9075123"/>
                    <a:chExt cx="97078" cy="100112"/>
                  </a:xfrm>
                  <a:solidFill>
                    <a:srgbClr val="D39778"/>
                  </a:solidFill>
                </p:grpSpPr>
                <p:sp>
                  <p:nvSpPr>
                    <p:cNvPr id="146" name="任意多边形: 形状 145">
                      <a:extLst>
                        <a:ext uri="{FF2B5EF4-FFF2-40B4-BE49-F238E27FC236}">
                          <a16:creationId xmlns:a16="http://schemas.microsoft.com/office/drawing/2014/main" id="{509B8E57-42B7-4701-A8BC-4C2CA980BE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97904" y="9123662"/>
                      <a:ext cx="42471" cy="51572"/>
                    </a:xfrm>
                    <a:custGeom>
                      <a:avLst/>
                      <a:gdLst>
                        <a:gd name="connsiteX0" fmla="*/ 42472 w 42471"/>
                        <a:gd name="connsiteY0" fmla="*/ 9101 h 51572"/>
                        <a:gd name="connsiteX1" fmla="*/ 15169 w 42471"/>
                        <a:gd name="connsiteY1" fmla="*/ 51573 h 51572"/>
                        <a:gd name="connsiteX2" fmla="*/ 0 w 42471"/>
                        <a:gd name="connsiteY2" fmla="*/ 39438 h 51572"/>
                        <a:gd name="connsiteX3" fmla="*/ 27303 w 42471"/>
                        <a:gd name="connsiteY3" fmla="*/ 0 h 515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2471" h="51572">
                          <a:moveTo>
                            <a:pt x="42472" y="9101"/>
                          </a:moveTo>
                          <a:lnTo>
                            <a:pt x="15169" y="51573"/>
                          </a:lnTo>
                          <a:lnTo>
                            <a:pt x="0" y="39438"/>
                          </a:lnTo>
                          <a:lnTo>
                            <a:pt x="27303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47" name="任意多边形: 形状 146">
                      <a:extLst>
                        <a:ext uri="{FF2B5EF4-FFF2-40B4-BE49-F238E27FC236}">
                          <a16:creationId xmlns:a16="http://schemas.microsoft.com/office/drawing/2014/main" id="{8D1D130C-0088-46BE-9974-A734760D533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43298" y="9075123"/>
                      <a:ext cx="42471" cy="54606"/>
                    </a:xfrm>
                    <a:custGeom>
                      <a:avLst/>
                      <a:gdLst>
                        <a:gd name="connsiteX0" fmla="*/ 42472 w 42471"/>
                        <a:gd name="connsiteY0" fmla="*/ 12135 h 54606"/>
                        <a:gd name="connsiteX1" fmla="*/ 15169 w 42471"/>
                        <a:gd name="connsiteY1" fmla="*/ 54607 h 54606"/>
                        <a:gd name="connsiteX2" fmla="*/ 0 w 42471"/>
                        <a:gd name="connsiteY2" fmla="*/ 42472 h 54606"/>
                        <a:gd name="connsiteX3" fmla="*/ 30337 w 42471"/>
                        <a:gd name="connsiteY3" fmla="*/ 0 h 546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2471" h="54606">
                          <a:moveTo>
                            <a:pt x="42472" y="12135"/>
                          </a:moveTo>
                          <a:lnTo>
                            <a:pt x="15169" y="54607"/>
                          </a:lnTo>
                          <a:lnTo>
                            <a:pt x="0" y="42472"/>
                          </a:lnTo>
                          <a:lnTo>
                            <a:pt x="30337" y="0"/>
                          </a:lnTo>
                          <a:close/>
                        </a:path>
                      </a:pathLst>
                    </a:custGeom>
                    <a:solidFill>
                      <a:srgbClr val="D39778"/>
                    </a:solidFill>
                    <a:ln w="303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</p:grpSp>
          </p:grp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76FF9D0C-67DD-4E6D-821C-3AFAC644C3EC}"/>
                  </a:ext>
                </a:extLst>
              </p:cNvPr>
              <p:cNvSpPr/>
              <p:nvPr/>
            </p:nvSpPr>
            <p:spPr>
              <a:xfrm>
                <a:off x="14712848" y="8979657"/>
                <a:ext cx="107600" cy="116701"/>
              </a:xfrm>
              <a:custGeom>
                <a:avLst/>
                <a:gdLst>
                  <a:gd name="connsiteX0" fmla="*/ 45506 w 107600"/>
                  <a:gd name="connsiteY0" fmla="*/ 116701 h 116701"/>
                  <a:gd name="connsiteX1" fmla="*/ 100113 w 107600"/>
                  <a:gd name="connsiteY1" fmla="*/ 49960 h 116701"/>
                  <a:gd name="connsiteX2" fmla="*/ 94045 w 107600"/>
                  <a:gd name="connsiteY2" fmla="*/ 7488 h 116701"/>
                  <a:gd name="connsiteX3" fmla="*/ 94045 w 107600"/>
                  <a:gd name="connsiteY3" fmla="*/ 7488 h 116701"/>
                  <a:gd name="connsiteX4" fmla="*/ 51573 w 107600"/>
                  <a:gd name="connsiteY4" fmla="*/ 13555 h 116701"/>
                  <a:gd name="connsiteX5" fmla="*/ 0 w 107600"/>
                  <a:gd name="connsiteY5" fmla="*/ 80297 h 116701"/>
                  <a:gd name="connsiteX6" fmla="*/ 45506 w 107600"/>
                  <a:gd name="connsiteY6" fmla="*/ 116701 h 116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600" h="116701">
                    <a:moveTo>
                      <a:pt x="45506" y="116701"/>
                    </a:moveTo>
                    <a:lnTo>
                      <a:pt x="100113" y="49960"/>
                    </a:lnTo>
                    <a:cubicBezTo>
                      <a:pt x="112248" y="37825"/>
                      <a:pt x="109214" y="16589"/>
                      <a:pt x="94045" y="7488"/>
                    </a:cubicBezTo>
                    <a:lnTo>
                      <a:pt x="94045" y="7488"/>
                    </a:lnTo>
                    <a:cubicBezTo>
                      <a:pt x="81910" y="-4647"/>
                      <a:pt x="60674" y="-1613"/>
                      <a:pt x="51573" y="13555"/>
                    </a:cubicBezTo>
                    <a:lnTo>
                      <a:pt x="0" y="80297"/>
                    </a:lnTo>
                    <a:lnTo>
                      <a:pt x="45506" y="116701"/>
                    </a:ln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2" name="图形 1">
              <a:extLst>
                <a:ext uri="{FF2B5EF4-FFF2-40B4-BE49-F238E27FC236}">
                  <a16:creationId xmlns:a16="http://schemas.microsoft.com/office/drawing/2014/main" id="{65B8841A-5775-43AF-A26C-854EE681A5BE}"/>
                </a:ext>
              </a:extLst>
            </p:cNvPr>
            <p:cNvGrpSpPr/>
            <p:nvPr/>
          </p:nvGrpSpPr>
          <p:grpSpPr>
            <a:xfrm>
              <a:off x="15064758" y="9305685"/>
              <a:ext cx="155013" cy="175954"/>
              <a:chOff x="15064758" y="9305685"/>
              <a:chExt cx="155013" cy="175954"/>
            </a:xfrm>
          </p:grpSpPr>
          <p:grpSp>
            <p:nvGrpSpPr>
              <p:cNvPr id="131" name="图形 1">
                <a:extLst>
                  <a:ext uri="{FF2B5EF4-FFF2-40B4-BE49-F238E27FC236}">
                    <a16:creationId xmlns:a16="http://schemas.microsoft.com/office/drawing/2014/main" id="{95A47305-7B2F-45DF-BA08-EEB06E844DDA}"/>
                  </a:ext>
                </a:extLst>
              </p:cNvPr>
              <p:cNvGrpSpPr/>
              <p:nvPr/>
            </p:nvGrpSpPr>
            <p:grpSpPr>
              <a:xfrm>
                <a:off x="15064758" y="9305685"/>
                <a:ext cx="152172" cy="164646"/>
                <a:chOff x="15064758" y="9305685"/>
                <a:chExt cx="152172" cy="164646"/>
              </a:xfrm>
            </p:grpSpPr>
            <p:sp>
              <p:nvSpPr>
                <p:cNvPr id="133" name="任意多边形: 形状 132">
                  <a:extLst>
                    <a:ext uri="{FF2B5EF4-FFF2-40B4-BE49-F238E27FC236}">
                      <a16:creationId xmlns:a16="http://schemas.microsoft.com/office/drawing/2014/main" id="{6A1DAA17-AC71-4157-A205-CAB189B1BB27}"/>
                    </a:ext>
                  </a:extLst>
                </p:cNvPr>
                <p:cNvSpPr/>
                <p:nvPr/>
              </p:nvSpPr>
              <p:spPr>
                <a:xfrm>
                  <a:off x="15064758" y="9311752"/>
                  <a:ext cx="152172" cy="158579"/>
                </a:xfrm>
                <a:custGeom>
                  <a:avLst/>
                  <a:gdLst>
                    <a:gd name="connsiteX0" fmla="*/ 151685 w 152172"/>
                    <a:gd name="connsiteY0" fmla="*/ 109213 h 158579"/>
                    <a:gd name="connsiteX1" fmla="*/ 130450 w 152172"/>
                    <a:gd name="connsiteY1" fmla="*/ 97079 h 158579"/>
                    <a:gd name="connsiteX2" fmla="*/ 133483 w 152172"/>
                    <a:gd name="connsiteY2" fmla="*/ 75843 h 158579"/>
                    <a:gd name="connsiteX3" fmla="*/ 118314 w 152172"/>
                    <a:gd name="connsiteY3" fmla="*/ 60674 h 158579"/>
                    <a:gd name="connsiteX4" fmla="*/ 118314 w 152172"/>
                    <a:gd name="connsiteY4" fmla="*/ 45506 h 158579"/>
                    <a:gd name="connsiteX5" fmla="*/ 87977 w 152172"/>
                    <a:gd name="connsiteY5" fmla="*/ 24270 h 158579"/>
                    <a:gd name="connsiteX6" fmla="*/ 84944 w 152172"/>
                    <a:gd name="connsiteY6" fmla="*/ 24270 h 158579"/>
                    <a:gd name="connsiteX7" fmla="*/ 84944 w 152172"/>
                    <a:gd name="connsiteY7" fmla="*/ 21236 h 158579"/>
                    <a:gd name="connsiteX8" fmla="*/ 54607 w 152172"/>
                    <a:gd name="connsiteY8" fmla="*/ 0 h 158579"/>
                    <a:gd name="connsiteX9" fmla="*/ 45506 w 152172"/>
                    <a:gd name="connsiteY9" fmla="*/ 3033 h 158579"/>
                    <a:gd name="connsiteX10" fmla="*/ 39439 w 152172"/>
                    <a:gd name="connsiteY10" fmla="*/ 12135 h 158579"/>
                    <a:gd name="connsiteX11" fmla="*/ 0 w 152172"/>
                    <a:gd name="connsiteY11" fmla="*/ 66741 h 158579"/>
                    <a:gd name="connsiteX12" fmla="*/ 18202 w 152172"/>
                    <a:gd name="connsiteY12" fmla="*/ 94045 h 158579"/>
                    <a:gd name="connsiteX13" fmla="*/ 33371 w 152172"/>
                    <a:gd name="connsiteY13" fmla="*/ 91011 h 158579"/>
                    <a:gd name="connsiteX14" fmla="*/ 51573 w 152172"/>
                    <a:gd name="connsiteY14" fmla="*/ 115281 h 158579"/>
                    <a:gd name="connsiteX15" fmla="*/ 63708 w 152172"/>
                    <a:gd name="connsiteY15" fmla="*/ 115281 h 158579"/>
                    <a:gd name="connsiteX16" fmla="*/ 78877 w 152172"/>
                    <a:gd name="connsiteY16" fmla="*/ 139550 h 158579"/>
                    <a:gd name="connsiteX17" fmla="*/ 84944 w 152172"/>
                    <a:gd name="connsiteY17" fmla="*/ 139550 h 158579"/>
                    <a:gd name="connsiteX18" fmla="*/ 100113 w 152172"/>
                    <a:gd name="connsiteY18" fmla="*/ 157753 h 158579"/>
                    <a:gd name="connsiteX19" fmla="*/ 121348 w 152172"/>
                    <a:gd name="connsiteY19" fmla="*/ 151685 h 158579"/>
                    <a:gd name="connsiteX20" fmla="*/ 142585 w 152172"/>
                    <a:gd name="connsiteY20" fmla="*/ 130450 h 158579"/>
                    <a:gd name="connsiteX21" fmla="*/ 151685 w 152172"/>
                    <a:gd name="connsiteY21" fmla="*/ 109213 h 1585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52172" h="158579">
                      <a:moveTo>
                        <a:pt x="151685" y="109213"/>
                      </a:moveTo>
                      <a:cubicBezTo>
                        <a:pt x="148652" y="103146"/>
                        <a:pt x="136517" y="97079"/>
                        <a:pt x="130450" y="97079"/>
                      </a:cubicBezTo>
                      <a:cubicBezTo>
                        <a:pt x="133483" y="91011"/>
                        <a:pt x="136517" y="84944"/>
                        <a:pt x="133483" y="75843"/>
                      </a:cubicBezTo>
                      <a:cubicBezTo>
                        <a:pt x="130450" y="66741"/>
                        <a:pt x="124382" y="63708"/>
                        <a:pt x="118314" y="60674"/>
                      </a:cubicBezTo>
                      <a:cubicBezTo>
                        <a:pt x="118314" y="57640"/>
                        <a:pt x="118314" y="51573"/>
                        <a:pt x="118314" y="45506"/>
                      </a:cubicBezTo>
                      <a:cubicBezTo>
                        <a:pt x="112248" y="30337"/>
                        <a:pt x="100113" y="24270"/>
                        <a:pt x="87977" y="24270"/>
                      </a:cubicBezTo>
                      <a:cubicBezTo>
                        <a:pt x="87977" y="24270"/>
                        <a:pt x="84944" y="24270"/>
                        <a:pt x="84944" y="24270"/>
                      </a:cubicBezTo>
                      <a:cubicBezTo>
                        <a:pt x="84944" y="24270"/>
                        <a:pt x="84944" y="21236"/>
                        <a:pt x="84944" y="21236"/>
                      </a:cubicBezTo>
                      <a:cubicBezTo>
                        <a:pt x="78877" y="6067"/>
                        <a:pt x="66742" y="0"/>
                        <a:pt x="54607" y="0"/>
                      </a:cubicBezTo>
                      <a:cubicBezTo>
                        <a:pt x="51573" y="0"/>
                        <a:pt x="48540" y="3033"/>
                        <a:pt x="45506" y="3033"/>
                      </a:cubicBezTo>
                      <a:cubicBezTo>
                        <a:pt x="42472" y="3033"/>
                        <a:pt x="39439" y="9101"/>
                        <a:pt x="39439" y="12135"/>
                      </a:cubicBezTo>
                      <a:cubicBezTo>
                        <a:pt x="24270" y="30337"/>
                        <a:pt x="3034" y="42472"/>
                        <a:pt x="0" y="66741"/>
                      </a:cubicBezTo>
                      <a:cubicBezTo>
                        <a:pt x="0" y="75843"/>
                        <a:pt x="6068" y="91011"/>
                        <a:pt x="18202" y="94045"/>
                      </a:cubicBezTo>
                      <a:cubicBezTo>
                        <a:pt x="24270" y="97079"/>
                        <a:pt x="30337" y="94045"/>
                        <a:pt x="33371" y="91011"/>
                      </a:cubicBezTo>
                      <a:cubicBezTo>
                        <a:pt x="33371" y="100112"/>
                        <a:pt x="39439" y="112247"/>
                        <a:pt x="51573" y="115281"/>
                      </a:cubicBezTo>
                      <a:cubicBezTo>
                        <a:pt x="57640" y="118314"/>
                        <a:pt x="60674" y="115281"/>
                        <a:pt x="63708" y="115281"/>
                      </a:cubicBezTo>
                      <a:cubicBezTo>
                        <a:pt x="63708" y="124382"/>
                        <a:pt x="69776" y="136517"/>
                        <a:pt x="78877" y="139550"/>
                      </a:cubicBezTo>
                      <a:cubicBezTo>
                        <a:pt x="81910" y="139550"/>
                        <a:pt x="81910" y="139550"/>
                        <a:pt x="84944" y="139550"/>
                      </a:cubicBezTo>
                      <a:cubicBezTo>
                        <a:pt x="87977" y="145618"/>
                        <a:pt x="94045" y="154719"/>
                        <a:pt x="100113" y="157753"/>
                      </a:cubicBezTo>
                      <a:cubicBezTo>
                        <a:pt x="109214" y="160787"/>
                        <a:pt x="115281" y="154719"/>
                        <a:pt x="121348" y="151685"/>
                      </a:cubicBezTo>
                      <a:cubicBezTo>
                        <a:pt x="127416" y="145618"/>
                        <a:pt x="136517" y="139550"/>
                        <a:pt x="142585" y="130450"/>
                      </a:cubicBezTo>
                      <a:cubicBezTo>
                        <a:pt x="142585" y="130450"/>
                        <a:pt x="154719" y="118314"/>
                        <a:pt x="151685" y="109213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4" name="任意多边形: 形状 133">
                  <a:extLst>
                    <a:ext uri="{FF2B5EF4-FFF2-40B4-BE49-F238E27FC236}">
                      <a16:creationId xmlns:a16="http://schemas.microsoft.com/office/drawing/2014/main" id="{2A02C0C9-221F-4A30-BC1D-BB02038D3BD6}"/>
                    </a:ext>
                  </a:extLst>
                </p:cNvPr>
                <p:cNvSpPr/>
                <p:nvPr/>
              </p:nvSpPr>
              <p:spPr>
                <a:xfrm>
                  <a:off x="15070826" y="9305685"/>
                  <a:ext cx="117199" cy="127415"/>
                </a:xfrm>
                <a:custGeom>
                  <a:avLst/>
                  <a:gdLst>
                    <a:gd name="connsiteX0" fmla="*/ 45506 w 117199"/>
                    <a:gd name="connsiteY0" fmla="*/ 127416 h 127415"/>
                    <a:gd name="connsiteX1" fmla="*/ 27303 w 117199"/>
                    <a:gd name="connsiteY1" fmla="*/ 121348 h 127415"/>
                    <a:gd name="connsiteX2" fmla="*/ 18202 w 117199"/>
                    <a:gd name="connsiteY2" fmla="*/ 103146 h 127415"/>
                    <a:gd name="connsiteX3" fmla="*/ 21235 w 117199"/>
                    <a:gd name="connsiteY3" fmla="*/ 94045 h 127415"/>
                    <a:gd name="connsiteX4" fmla="*/ 63708 w 117199"/>
                    <a:gd name="connsiteY4" fmla="*/ 18202 h 127415"/>
                    <a:gd name="connsiteX5" fmla="*/ 57640 w 117199"/>
                    <a:gd name="connsiteY5" fmla="*/ 12135 h 127415"/>
                    <a:gd name="connsiteX6" fmla="*/ 57640 w 117199"/>
                    <a:gd name="connsiteY6" fmla="*/ 12135 h 127415"/>
                    <a:gd name="connsiteX7" fmla="*/ 12135 w 117199"/>
                    <a:gd name="connsiteY7" fmla="*/ 51573 h 127415"/>
                    <a:gd name="connsiteX8" fmla="*/ 3034 w 117199"/>
                    <a:gd name="connsiteY8" fmla="*/ 54606 h 127415"/>
                    <a:gd name="connsiteX9" fmla="*/ 0 w 117199"/>
                    <a:gd name="connsiteY9" fmla="*/ 45506 h 127415"/>
                    <a:gd name="connsiteX10" fmla="*/ 54606 w 117199"/>
                    <a:gd name="connsiteY10" fmla="*/ 0 h 127415"/>
                    <a:gd name="connsiteX11" fmla="*/ 54606 w 117199"/>
                    <a:gd name="connsiteY11" fmla="*/ 0 h 127415"/>
                    <a:gd name="connsiteX12" fmla="*/ 72809 w 117199"/>
                    <a:gd name="connsiteY12" fmla="*/ 9101 h 127415"/>
                    <a:gd name="connsiteX13" fmla="*/ 78877 w 117199"/>
                    <a:gd name="connsiteY13" fmla="*/ 18202 h 127415"/>
                    <a:gd name="connsiteX14" fmla="*/ 112247 w 117199"/>
                    <a:gd name="connsiteY14" fmla="*/ 36404 h 127415"/>
                    <a:gd name="connsiteX15" fmla="*/ 97078 w 117199"/>
                    <a:gd name="connsiteY15" fmla="*/ 91011 h 127415"/>
                    <a:gd name="connsiteX16" fmla="*/ 45506 w 117199"/>
                    <a:gd name="connsiteY16" fmla="*/ 127416 h 127415"/>
                    <a:gd name="connsiteX17" fmla="*/ 45506 w 117199"/>
                    <a:gd name="connsiteY17" fmla="*/ 127416 h 127415"/>
                    <a:gd name="connsiteX18" fmla="*/ 81910 w 117199"/>
                    <a:gd name="connsiteY18" fmla="*/ 33371 h 127415"/>
                    <a:gd name="connsiteX19" fmla="*/ 30337 w 117199"/>
                    <a:gd name="connsiteY19" fmla="*/ 100112 h 127415"/>
                    <a:gd name="connsiteX20" fmla="*/ 36404 w 117199"/>
                    <a:gd name="connsiteY20" fmla="*/ 112247 h 127415"/>
                    <a:gd name="connsiteX21" fmla="*/ 45506 w 117199"/>
                    <a:gd name="connsiteY21" fmla="*/ 115281 h 127415"/>
                    <a:gd name="connsiteX22" fmla="*/ 84943 w 117199"/>
                    <a:gd name="connsiteY22" fmla="*/ 84943 h 127415"/>
                    <a:gd name="connsiteX23" fmla="*/ 100112 w 117199"/>
                    <a:gd name="connsiteY23" fmla="*/ 45506 h 127415"/>
                    <a:gd name="connsiteX24" fmla="*/ 81910 w 117199"/>
                    <a:gd name="connsiteY24" fmla="*/ 33371 h 1274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17199" h="127415">
                      <a:moveTo>
                        <a:pt x="45506" y="127416"/>
                      </a:moveTo>
                      <a:cubicBezTo>
                        <a:pt x="39438" y="127416"/>
                        <a:pt x="33371" y="124382"/>
                        <a:pt x="27303" y="121348"/>
                      </a:cubicBezTo>
                      <a:cubicBezTo>
                        <a:pt x="21235" y="115281"/>
                        <a:pt x="18202" y="109213"/>
                        <a:pt x="18202" y="103146"/>
                      </a:cubicBezTo>
                      <a:cubicBezTo>
                        <a:pt x="18202" y="97079"/>
                        <a:pt x="21235" y="94045"/>
                        <a:pt x="21235" y="94045"/>
                      </a:cubicBezTo>
                      <a:cubicBezTo>
                        <a:pt x="81910" y="45506"/>
                        <a:pt x="69775" y="27303"/>
                        <a:pt x="63708" y="18202"/>
                      </a:cubicBezTo>
                      <a:cubicBezTo>
                        <a:pt x="60674" y="15169"/>
                        <a:pt x="57640" y="12135"/>
                        <a:pt x="57640" y="12135"/>
                      </a:cubicBezTo>
                      <a:lnTo>
                        <a:pt x="57640" y="12135"/>
                      </a:lnTo>
                      <a:cubicBezTo>
                        <a:pt x="45506" y="12135"/>
                        <a:pt x="21235" y="36404"/>
                        <a:pt x="12135" y="51573"/>
                      </a:cubicBezTo>
                      <a:cubicBezTo>
                        <a:pt x="9101" y="54606"/>
                        <a:pt x="6067" y="54606"/>
                        <a:pt x="3034" y="54606"/>
                      </a:cubicBezTo>
                      <a:cubicBezTo>
                        <a:pt x="0" y="51573"/>
                        <a:pt x="0" y="48539"/>
                        <a:pt x="0" y="45506"/>
                      </a:cubicBezTo>
                      <a:cubicBezTo>
                        <a:pt x="3034" y="39438"/>
                        <a:pt x="33371" y="0"/>
                        <a:pt x="54606" y="0"/>
                      </a:cubicBezTo>
                      <a:cubicBezTo>
                        <a:pt x="54606" y="0"/>
                        <a:pt x="54606" y="0"/>
                        <a:pt x="54606" y="0"/>
                      </a:cubicBezTo>
                      <a:cubicBezTo>
                        <a:pt x="60674" y="0"/>
                        <a:pt x="66741" y="3033"/>
                        <a:pt x="72809" y="9101"/>
                      </a:cubicBezTo>
                      <a:cubicBezTo>
                        <a:pt x="75843" y="12135"/>
                        <a:pt x="75843" y="15169"/>
                        <a:pt x="78877" y="18202"/>
                      </a:cubicBezTo>
                      <a:cubicBezTo>
                        <a:pt x="81910" y="18202"/>
                        <a:pt x="103146" y="21236"/>
                        <a:pt x="112247" y="36404"/>
                      </a:cubicBezTo>
                      <a:cubicBezTo>
                        <a:pt x="124382" y="54606"/>
                        <a:pt x="112247" y="69775"/>
                        <a:pt x="97078" y="91011"/>
                      </a:cubicBezTo>
                      <a:cubicBezTo>
                        <a:pt x="75843" y="115281"/>
                        <a:pt x="60674" y="127416"/>
                        <a:pt x="45506" y="127416"/>
                      </a:cubicBezTo>
                      <a:cubicBezTo>
                        <a:pt x="45506" y="127416"/>
                        <a:pt x="45506" y="127416"/>
                        <a:pt x="45506" y="127416"/>
                      </a:cubicBezTo>
                      <a:close/>
                      <a:moveTo>
                        <a:pt x="81910" y="33371"/>
                      </a:moveTo>
                      <a:cubicBezTo>
                        <a:pt x="81910" y="48539"/>
                        <a:pt x="69775" y="69775"/>
                        <a:pt x="30337" y="100112"/>
                      </a:cubicBezTo>
                      <a:cubicBezTo>
                        <a:pt x="30337" y="100112"/>
                        <a:pt x="30337" y="103146"/>
                        <a:pt x="36404" y="112247"/>
                      </a:cubicBezTo>
                      <a:cubicBezTo>
                        <a:pt x="39438" y="115281"/>
                        <a:pt x="42472" y="115281"/>
                        <a:pt x="45506" y="115281"/>
                      </a:cubicBezTo>
                      <a:cubicBezTo>
                        <a:pt x="51572" y="115281"/>
                        <a:pt x="63708" y="109213"/>
                        <a:pt x="84943" y="84943"/>
                      </a:cubicBezTo>
                      <a:cubicBezTo>
                        <a:pt x="103146" y="63708"/>
                        <a:pt x="106180" y="54606"/>
                        <a:pt x="100112" y="45506"/>
                      </a:cubicBezTo>
                      <a:cubicBezTo>
                        <a:pt x="97078" y="39438"/>
                        <a:pt x="84943" y="36404"/>
                        <a:pt x="81910" y="33371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E33D4787-29B7-481B-A1AE-203CED8C2B02}"/>
                    </a:ext>
                  </a:extLst>
                </p:cNvPr>
                <p:cNvSpPr/>
                <p:nvPr/>
              </p:nvSpPr>
              <p:spPr>
                <a:xfrm>
                  <a:off x="15119366" y="9357257"/>
                  <a:ext cx="84640" cy="106179"/>
                </a:xfrm>
                <a:custGeom>
                  <a:avLst/>
                  <a:gdLst>
                    <a:gd name="connsiteX0" fmla="*/ 24269 w 84640"/>
                    <a:gd name="connsiteY0" fmla="*/ 106180 h 106179"/>
                    <a:gd name="connsiteX1" fmla="*/ 15169 w 84640"/>
                    <a:gd name="connsiteY1" fmla="*/ 103146 h 106179"/>
                    <a:gd name="connsiteX2" fmla="*/ 0 w 84640"/>
                    <a:gd name="connsiteY2" fmla="*/ 72809 h 106179"/>
                    <a:gd name="connsiteX3" fmla="*/ 6067 w 84640"/>
                    <a:gd name="connsiteY3" fmla="*/ 66741 h 106179"/>
                    <a:gd name="connsiteX4" fmla="*/ 6067 w 84640"/>
                    <a:gd name="connsiteY4" fmla="*/ 66741 h 106179"/>
                    <a:gd name="connsiteX5" fmla="*/ 12135 w 84640"/>
                    <a:gd name="connsiteY5" fmla="*/ 72809 h 106179"/>
                    <a:gd name="connsiteX6" fmla="*/ 21235 w 84640"/>
                    <a:gd name="connsiteY6" fmla="*/ 91011 h 106179"/>
                    <a:gd name="connsiteX7" fmla="*/ 24269 w 84640"/>
                    <a:gd name="connsiteY7" fmla="*/ 91011 h 106179"/>
                    <a:gd name="connsiteX8" fmla="*/ 69775 w 84640"/>
                    <a:gd name="connsiteY8" fmla="*/ 45506 h 106179"/>
                    <a:gd name="connsiteX9" fmla="*/ 57640 w 84640"/>
                    <a:gd name="connsiteY9" fmla="*/ 12135 h 106179"/>
                    <a:gd name="connsiteX10" fmla="*/ 54606 w 84640"/>
                    <a:gd name="connsiteY10" fmla="*/ 3033 h 106179"/>
                    <a:gd name="connsiteX11" fmla="*/ 63707 w 84640"/>
                    <a:gd name="connsiteY11" fmla="*/ 0 h 106179"/>
                    <a:gd name="connsiteX12" fmla="*/ 78876 w 84640"/>
                    <a:gd name="connsiteY12" fmla="*/ 48539 h 106179"/>
                    <a:gd name="connsiteX13" fmla="*/ 27303 w 84640"/>
                    <a:gd name="connsiteY13" fmla="*/ 100112 h 106179"/>
                    <a:gd name="connsiteX14" fmla="*/ 24269 w 84640"/>
                    <a:gd name="connsiteY14" fmla="*/ 106180 h 106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84640" h="106179">
                      <a:moveTo>
                        <a:pt x="24269" y="106180"/>
                      </a:moveTo>
                      <a:cubicBezTo>
                        <a:pt x="21235" y="106180"/>
                        <a:pt x="18202" y="106180"/>
                        <a:pt x="15169" y="103146"/>
                      </a:cubicBezTo>
                      <a:cubicBezTo>
                        <a:pt x="6067" y="97079"/>
                        <a:pt x="0" y="81910"/>
                        <a:pt x="0" y="72809"/>
                      </a:cubicBezTo>
                      <a:cubicBezTo>
                        <a:pt x="0" y="69775"/>
                        <a:pt x="3033" y="66741"/>
                        <a:pt x="6067" y="66741"/>
                      </a:cubicBezTo>
                      <a:lnTo>
                        <a:pt x="6067" y="66741"/>
                      </a:lnTo>
                      <a:cubicBezTo>
                        <a:pt x="9101" y="66741"/>
                        <a:pt x="12135" y="69775"/>
                        <a:pt x="12135" y="72809"/>
                      </a:cubicBezTo>
                      <a:cubicBezTo>
                        <a:pt x="12135" y="75843"/>
                        <a:pt x="15169" y="87977"/>
                        <a:pt x="21235" y="91011"/>
                      </a:cubicBezTo>
                      <a:cubicBezTo>
                        <a:pt x="21235" y="91011"/>
                        <a:pt x="24269" y="91011"/>
                        <a:pt x="24269" y="91011"/>
                      </a:cubicBezTo>
                      <a:cubicBezTo>
                        <a:pt x="30337" y="87977"/>
                        <a:pt x="54606" y="69775"/>
                        <a:pt x="69775" y="45506"/>
                      </a:cubicBezTo>
                      <a:cubicBezTo>
                        <a:pt x="81910" y="24270"/>
                        <a:pt x="60674" y="15169"/>
                        <a:pt x="57640" y="12135"/>
                      </a:cubicBezTo>
                      <a:cubicBezTo>
                        <a:pt x="54606" y="9101"/>
                        <a:pt x="54606" y="6067"/>
                        <a:pt x="54606" y="3033"/>
                      </a:cubicBezTo>
                      <a:cubicBezTo>
                        <a:pt x="57640" y="0"/>
                        <a:pt x="60674" y="0"/>
                        <a:pt x="63707" y="0"/>
                      </a:cubicBezTo>
                      <a:cubicBezTo>
                        <a:pt x="75843" y="6067"/>
                        <a:pt x="94044" y="24270"/>
                        <a:pt x="78876" y="48539"/>
                      </a:cubicBezTo>
                      <a:cubicBezTo>
                        <a:pt x="63707" y="75843"/>
                        <a:pt x="39438" y="97079"/>
                        <a:pt x="27303" y="100112"/>
                      </a:cubicBezTo>
                      <a:cubicBezTo>
                        <a:pt x="27303" y="106180"/>
                        <a:pt x="27303" y="106180"/>
                        <a:pt x="24269" y="106180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EAE2544C-DA8E-41E1-9B3D-2A237CF96DCA}"/>
                  </a:ext>
                </a:extLst>
              </p:cNvPr>
              <p:cNvSpPr/>
              <p:nvPr/>
            </p:nvSpPr>
            <p:spPr>
              <a:xfrm>
                <a:off x="15140601" y="9405797"/>
                <a:ext cx="79170" cy="75842"/>
              </a:xfrm>
              <a:custGeom>
                <a:avLst/>
                <a:gdLst>
                  <a:gd name="connsiteX0" fmla="*/ 27303 w 79170"/>
                  <a:gd name="connsiteY0" fmla="*/ 75843 h 75842"/>
                  <a:gd name="connsiteX1" fmla="*/ 24270 w 79170"/>
                  <a:gd name="connsiteY1" fmla="*/ 75843 h 75842"/>
                  <a:gd name="connsiteX2" fmla="*/ 0 w 79170"/>
                  <a:gd name="connsiteY2" fmla="*/ 54607 h 75842"/>
                  <a:gd name="connsiteX3" fmla="*/ 3034 w 79170"/>
                  <a:gd name="connsiteY3" fmla="*/ 48540 h 75842"/>
                  <a:gd name="connsiteX4" fmla="*/ 9102 w 79170"/>
                  <a:gd name="connsiteY4" fmla="*/ 51573 h 75842"/>
                  <a:gd name="connsiteX5" fmla="*/ 24270 w 79170"/>
                  <a:gd name="connsiteY5" fmla="*/ 66742 h 75842"/>
                  <a:gd name="connsiteX6" fmla="*/ 39439 w 79170"/>
                  <a:gd name="connsiteY6" fmla="*/ 60674 h 75842"/>
                  <a:gd name="connsiteX7" fmla="*/ 69776 w 79170"/>
                  <a:gd name="connsiteY7" fmla="*/ 27304 h 75842"/>
                  <a:gd name="connsiteX8" fmla="*/ 51573 w 79170"/>
                  <a:gd name="connsiteY8" fmla="*/ 12135 h 75842"/>
                  <a:gd name="connsiteX9" fmla="*/ 45506 w 79170"/>
                  <a:gd name="connsiteY9" fmla="*/ 6068 h 75842"/>
                  <a:gd name="connsiteX10" fmla="*/ 51573 w 79170"/>
                  <a:gd name="connsiteY10" fmla="*/ 0 h 75842"/>
                  <a:gd name="connsiteX11" fmla="*/ 78877 w 79170"/>
                  <a:gd name="connsiteY11" fmla="*/ 27304 h 75842"/>
                  <a:gd name="connsiteX12" fmla="*/ 42472 w 79170"/>
                  <a:gd name="connsiteY12" fmla="*/ 69775 h 75842"/>
                  <a:gd name="connsiteX13" fmla="*/ 27303 w 79170"/>
                  <a:gd name="connsiteY13" fmla="*/ 75843 h 75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9170" h="75842">
                    <a:moveTo>
                      <a:pt x="27303" y="75843"/>
                    </a:moveTo>
                    <a:cubicBezTo>
                      <a:pt x="27303" y="75843"/>
                      <a:pt x="24270" y="75843"/>
                      <a:pt x="24270" y="75843"/>
                    </a:cubicBezTo>
                    <a:cubicBezTo>
                      <a:pt x="6068" y="72809"/>
                      <a:pt x="0" y="54607"/>
                      <a:pt x="0" y="54607"/>
                    </a:cubicBezTo>
                    <a:cubicBezTo>
                      <a:pt x="0" y="51573"/>
                      <a:pt x="0" y="48540"/>
                      <a:pt x="3034" y="48540"/>
                    </a:cubicBezTo>
                    <a:cubicBezTo>
                      <a:pt x="6068" y="48540"/>
                      <a:pt x="9102" y="48540"/>
                      <a:pt x="9102" y="51573"/>
                    </a:cubicBezTo>
                    <a:cubicBezTo>
                      <a:pt x="9102" y="51573"/>
                      <a:pt x="12135" y="63708"/>
                      <a:pt x="24270" y="66742"/>
                    </a:cubicBezTo>
                    <a:cubicBezTo>
                      <a:pt x="27303" y="66742"/>
                      <a:pt x="30337" y="66742"/>
                      <a:pt x="39439" y="60674"/>
                    </a:cubicBezTo>
                    <a:cubicBezTo>
                      <a:pt x="54607" y="48540"/>
                      <a:pt x="69776" y="30337"/>
                      <a:pt x="69776" y="27304"/>
                    </a:cubicBezTo>
                    <a:cubicBezTo>
                      <a:pt x="69776" y="15169"/>
                      <a:pt x="54607" y="12135"/>
                      <a:pt x="51573" y="12135"/>
                    </a:cubicBezTo>
                    <a:cubicBezTo>
                      <a:pt x="48540" y="12135"/>
                      <a:pt x="45506" y="9101"/>
                      <a:pt x="45506" y="6068"/>
                    </a:cubicBezTo>
                    <a:cubicBezTo>
                      <a:pt x="45506" y="3034"/>
                      <a:pt x="48540" y="0"/>
                      <a:pt x="51573" y="0"/>
                    </a:cubicBezTo>
                    <a:cubicBezTo>
                      <a:pt x="60674" y="0"/>
                      <a:pt x="81910" y="9101"/>
                      <a:pt x="78877" y="27304"/>
                    </a:cubicBezTo>
                    <a:cubicBezTo>
                      <a:pt x="78877" y="39438"/>
                      <a:pt x="57640" y="60674"/>
                      <a:pt x="42472" y="69775"/>
                    </a:cubicBezTo>
                    <a:cubicBezTo>
                      <a:pt x="39439" y="72809"/>
                      <a:pt x="33371" y="75843"/>
                      <a:pt x="27303" y="7584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505109C1-7E6E-41E8-9907-0354B95BDD4A}"/>
                </a:ext>
              </a:extLst>
            </p:cNvPr>
            <p:cNvSpPr/>
            <p:nvPr/>
          </p:nvSpPr>
          <p:spPr>
            <a:xfrm>
              <a:off x="16253972" y="8894187"/>
              <a:ext cx="544153" cy="1000036"/>
            </a:xfrm>
            <a:custGeom>
              <a:avLst/>
              <a:gdLst>
                <a:gd name="connsiteX0" fmla="*/ 391348 w 544153"/>
                <a:gd name="connsiteY0" fmla="*/ 29250 h 1000036"/>
                <a:gd name="connsiteX1" fmla="*/ 203258 w 544153"/>
                <a:gd name="connsiteY1" fmla="*/ 199137 h 1000036"/>
                <a:gd name="connsiteX2" fmla="*/ 324606 w 544153"/>
                <a:gd name="connsiteY2" fmla="*/ 605654 h 1000036"/>
                <a:gd name="connsiteX3" fmla="*/ 0 w 544153"/>
                <a:gd name="connsiteY3" fmla="*/ 918126 h 1000036"/>
                <a:gd name="connsiteX4" fmla="*/ 81910 w 544153"/>
                <a:gd name="connsiteY4" fmla="*/ 1000036 h 1000036"/>
                <a:gd name="connsiteX5" fmla="*/ 530899 w 544153"/>
                <a:gd name="connsiteY5" fmla="*/ 660261 h 1000036"/>
                <a:gd name="connsiteX6" fmla="*/ 391348 w 544153"/>
                <a:gd name="connsiteY6" fmla="*/ 29250 h 100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4153" h="1000036">
                  <a:moveTo>
                    <a:pt x="391348" y="29250"/>
                  </a:moveTo>
                  <a:cubicBezTo>
                    <a:pt x="233595" y="-61762"/>
                    <a:pt x="151685" y="77789"/>
                    <a:pt x="203258" y="199137"/>
                  </a:cubicBezTo>
                  <a:cubicBezTo>
                    <a:pt x="254831" y="317452"/>
                    <a:pt x="333708" y="572283"/>
                    <a:pt x="324606" y="605654"/>
                  </a:cubicBezTo>
                  <a:cubicBezTo>
                    <a:pt x="279101" y="645092"/>
                    <a:pt x="0" y="918126"/>
                    <a:pt x="0" y="918126"/>
                  </a:cubicBezTo>
                  <a:cubicBezTo>
                    <a:pt x="27303" y="936328"/>
                    <a:pt x="81910" y="1000036"/>
                    <a:pt x="81910" y="1000036"/>
                  </a:cubicBezTo>
                  <a:cubicBezTo>
                    <a:pt x="81910" y="1000036"/>
                    <a:pt x="479325" y="781609"/>
                    <a:pt x="530899" y="660261"/>
                  </a:cubicBezTo>
                  <a:cubicBezTo>
                    <a:pt x="561236" y="596553"/>
                    <a:pt x="549101" y="120261"/>
                    <a:pt x="391348" y="29250"/>
                  </a:cubicBezTo>
                  <a:close/>
                </a:path>
              </a:pathLst>
            </a:custGeom>
            <a:solidFill>
              <a:srgbClr val="F5A39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0405CBF6-54A5-48E3-9D2A-D0AE313AB67D}"/>
                </a:ext>
              </a:extLst>
            </p:cNvPr>
            <p:cNvSpPr/>
            <p:nvPr/>
          </p:nvSpPr>
          <p:spPr>
            <a:xfrm>
              <a:off x="16421560" y="8738220"/>
              <a:ext cx="399715" cy="439576"/>
            </a:xfrm>
            <a:custGeom>
              <a:avLst/>
              <a:gdLst>
                <a:gd name="connsiteX0" fmla="*/ 399715 w 399715"/>
                <a:gd name="connsiteY0" fmla="*/ 336902 h 439576"/>
                <a:gd name="connsiteX1" fmla="*/ 105446 w 399715"/>
                <a:gd name="connsiteY1" fmla="*/ 161 h 439576"/>
                <a:gd name="connsiteX2" fmla="*/ 41738 w 399715"/>
                <a:gd name="connsiteY2" fmla="*/ 437015 h 439576"/>
                <a:gd name="connsiteX3" fmla="*/ 399715 w 399715"/>
                <a:gd name="connsiteY3" fmla="*/ 336902 h 439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9715" h="439576">
                  <a:moveTo>
                    <a:pt x="399715" y="336902"/>
                  </a:moveTo>
                  <a:cubicBezTo>
                    <a:pt x="345109" y="160947"/>
                    <a:pt x="184323" y="-5907"/>
                    <a:pt x="105446" y="161"/>
                  </a:cubicBezTo>
                  <a:cubicBezTo>
                    <a:pt x="2300" y="9262"/>
                    <a:pt x="-37139" y="245891"/>
                    <a:pt x="41738" y="437015"/>
                  </a:cubicBezTo>
                  <a:cubicBezTo>
                    <a:pt x="114547" y="452183"/>
                    <a:pt x="314772" y="397576"/>
                    <a:pt x="399715" y="336902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C9D4A3BD-5C17-4B22-80DE-1A79E797021F}"/>
                </a:ext>
              </a:extLst>
            </p:cNvPr>
            <p:cNvSpPr/>
            <p:nvPr/>
          </p:nvSpPr>
          <p:spPr>
            <a:xfrm>
              <a:off x="16413834" y="8738381"/>
              <a:ext cx="201149" cy="445955"/>
            </a:xfrm>
            <a:custGeom>
              <a:avLst/>
              <a:gdLst>
                <a:gd name="connsiteX0" fmla="*/ 85869 w 201149"/>
                <a:gd name="connsiteY0" fmla="*/ 445955 h 445955"/>
                <a:gd name="connsiteX1" fmla="*/ 46430 w 201149"/>
                <a:gd name="connsiteY1" fmla="*/ 442922 h 445955"/>
                <a:gd name="connsiteX2" fmla="*/ 43396 w 201149"/>
                <a:gd name="connsiteY2" fmla="*/ 442922 h 445955"/>
                <a:gd name="connsiteX3" fmla="*/ 43396 w 201149"/>
                <a:gd name="connsiteY3" fmla="*/ 439888 h 445955"/>
                <a:gd name="connsiteX4" fmla="*/ 6992 w 201149"/>
                <a:gd name="connsiteY4" fmla="*/ 142585 h 445955"/>
                <a:gd name="connsiteX5" fmla="*/ 10026 w 201149"/>
                <a:gd name="connsiteY5" fmla="*/ 133483 h 445955"/>
                <a:gd name="connsiteX6" fmla="*/ 94969 w 201149"/>
                <a:gd name="connsiteY6" fmla="*/ 0 h 445955"/>
                <a:gd name="connsiteX7" fmla="*/ 101037 w 201149"/>
                <a:gd name="connsiteY7" fmla="*/ 3034 h 445955"/>
                <a:gd name="connsiteX8" fmla="*/ 98003 w 201149"/>
                <a:gd name="connsiteY8" fmla="*/ 9101 h 445955"/>
                <a:gd name="connsiteX9" fmla="*/ 22160 w 201149"/>
                <a:gd name="connsiteY9" fmla="*/ 133483 h 445955"/>
                <a:gd name="connsiteX10" fmla="*/ 19127 w 201149"/>
                <a:gd name="connsiteY10" fmla="*/ 142585 h 445955"/>
                <a:gd name="connsiteX11" fmla="*/ 52498 w 201149"/>
                <a:gd name="connsiteY11" fmla="*/ 430787 h 445955"/>
                <a:gd name="connsiteX12" fmla="*/ 195081 w 201149"/>
                <a:gd name="connsiteY12" fmla="*/ 415618 h 445955"/>
                <a:gd name="connsiteX13" fmla="*/ 201149 w 201149"/>
                <a:gd name="connsiteY13" fmla="*/ 418652 h 445955"/>
                <a:gd name="connsiteX14" fmla="*/ 198115 w 201149"/>
                <a:gd name="connsiteY14" fmla="*/ 424719 h 445955"/>
                <a:gd name="connsiteX15" fmla="*/ 85869 w 201149"/>
                <a:gd name="connsiteY15" fmla="*/ 445955 h 445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1149" h="445955">
                  <a:moveTo>
                    <a:pt x="85869" y="445955"/>
                  </a:moveTo>
                  <a:cubicBezTo>
                    <a:pt x="70700" y="445955"/>
                    <a:pt x="58564" y="445955"/>
                    <a:pt x="46430" y="442922"/>
                  </a:cubicBezTo>
                  <a:lnTo>
                    <a:pt x="43396" y="442922"/>
                  </a:lnTo>
                  <a:lnTo>
                    <a:pt x="43396" y="439888"/>
                  </a:lnTo>
                  <a:cubicBezTo>
                    <a:pt x="28227" y="412584"/>
                    <a:pt x="-17278" y="245731"/>
                    <a:pt x="6992" y="142585"/>
                  </a:cubicBezTo>
                  <a:cubicBezTo>
                    <a:pt x="6992" y="139551"/>
                    <a:pt x="6992" y="136517"/>
                    <a:pt x="10026" y="133483"/>
                  </a:cubicBezTo>
                  <a:cubicBezTo>
                    <a:pt x="16093" y="100112"/>
                    <a:pt x="34295" y="27304"/>
                    <a:pt x="94969" y="0"/>
                  </a:cubicBezTo>
                  <a:cubicBezTo>
                    <a:pt x="98003" y="0"/>
                    <a:pt x="101037" y="0"/>
                    <a:pt x="101037" y="3034"/>
                  </a:cubicBezTo>
                  <a:cubicBezTo>
                    <a:pt x="101037" y="6068"/>
                    <a:pt x="101037" y="9101"/>
                    <a:pt x="98003" y="9101"/>
                  </a:cubicBezTo>
                  <a:cubicBezTo>
                    <a:pt x="43396" y="33371"/>
                    <a:pt x="28227" y="103146"/>
                    <a:pt x="22160" y="133483"/>
                  </a:cubicBezTo>
                  <a:cubicBezTo>
                    <a:pt x="22160" y="136517"/>
                    <a:pt x="22160" y="139551"/>
                    <a:pt x="19127" y="142585"/>
                  </a:cubicBezTo>
                  <a:cubicBezTo>
                    <a:pt x="-5143" y="239663"/>
                    <a:pt x="37329" y="397416"/>
                    <a:pt x="52498" y="430787"/>
                  </a:cubicBezTo>
                  <a:cubicBezTo>
                    <a:pt x="79801" y="436854"/>
                    <a:pt x="125306" y="436854"/>
                    <a:pt x="195081" y="415618"/>
                  </a:cubicBezTo>
                  <a:cubicBezTo>
                    <a:pt x="198115" y="415618"/>
                    <a:pt x="201149" y="415618"/>
                    <a:pt x="201149" y="418652"/>
                  </a:cubicBezTo>
                  <a:cubicBezTo>
                    <a:pt x="201149" y="421686"/>
                    <a:pt x="201149" y="424719"/>
                    <a:pt x="198115" y="424719"/>
                  </a:cubicBezTo>
                  <a:cubicBezTo>
                    <a:pt x="152610" y="442922"/>
                    <a:pt x="116206" y="445955"/>
                    <a:pt x="85869" y="445955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6" name="图形 1">
              <a:extLst>
                <a:ext uri="{FF2B5EF4-FFF2-40B4-BE49-F238E27FC236}">
                  <a16:creationId xmlns:a16="http://schemas.microsoft.com/office/drawing/2014/main" id="{BD3AA2AB-11FD-4A39-8AA2-F0DBC47A1E31}"/>
                </a:ext>
              </a:extLst>
            </p:cNvPr>
            <p:cNvGrpSpPr/>
            <p:nvPr/>
          </p:nvGrpSpPr>
          <p:grpSpPr>
            <a:xfrm>
              <a:off x="16110941" y="9796455"/>
              <a:ext cx="247379" cy="228217"/>
              <a:chOff x="16110941" y="9796455"/>
              <a:chExt cx="247379" cy="228217"/>
            </a:xfrm>
          </p:grpSpPr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1ECE2CAA-98E3-49FC-BEF8-F42974C93C15}"/>
                  </a:ext>
                </a:extLst>
              </p:cNvPr>
              <p:cNvSpPr/>
              <p:nvPr/>
            </p:nvSpPr>
            <p:spPr>
              <a:xfrm>
                <a:off x="16119672" y="9796455"/>
                <a:ext cx="238648" cy="227141"/>
              </a:xfrm>
              <a:custGeom>
                <a:avLst/>
                <a:gdLst>
                  <a:gd name="connsiteX0" fmla="*/ 204075 w 238648"/>
                  <a:gd name="connsiteY0" fmla="*/ 6758 h 227141"/>
                  <a:gd name="connsiteX1" fmla="*/ 194974 w 238648"/>
                  <a:gd name="connsiteY1" fmla="*/ 690 h 227141"/>
                  <a:gd name="connsiteX2" fmla="*/ 55424 w 238648"/>
                  <a:gd name="connsiteY2" fmla="*/ 37095 h 227141"/>
                  <a:gd name="connsiteX3" fmla="*/ 9918 w 238648"/>
                  <a:gd name="connsiteY3" fmla="*/ 112937 h 227141"/>
                  <a:gd name="connsiteX4" fmla="*/ 3850 w 238648"/>
                  <a:gd name="connsiteY4" fmla="*/ 146308 h 227141"/>
                  <a:gd name="connsiteX5" fmla="*/ 12952 w 238648"/>
                  <a:gd name="connsiteY5" fmla="*/ 149342 h 227141"/>
                  <a:gd name="connsiteX6" fmla="*/ 25086 w 238648"/>
                  <a:gd name="connsiteY6" fmla="*/ 140241 h 227141"/>
                  <a:gd name="connsiteX7" fmla="*/ 12952 w 238648"/>
                  <a:gd name="connsiteY7" fmla="*/ 179679 h 227141"/>
                  <a:gd name="connsiteX8" fmla="*/ 15986 w 238648"/>
                  <a:gd name="connsiteY8" fmla="*/ 213049 h 227141"/>
                  <a:gd name="connsiteX9" fmla="*/ 37221 w 238648"/>
                  <a:gd name="connsiteY9" fmla="*/ 216083 h 227141"/>
                  <a:gd name="connsiteX10" fmla="*/ 37221 w 238648"/>
                  <a:gd name="connsiteY10" fmla="*/ 216083 h 227141"/>
                  <a:gd name="connsiteX11" fmla="*/ 43289 w 238648"/>
                  <a:gd name="connsiteY11" fmla="*/ 225185 h 227141"/>
                  <a:gd name="connsiteX12" fmla="*/ 91828 w 238648"/>
                  <a:gd name="connsiteY12" fmla="*/ 185746 h 227141"/>
                  <a:gd name="connsiteX13" fmla="*/ 100929 w 238648"/>
                  <a:gd name="connsiteY13" fmla="*/ 203949 h 227141"/>
                  <a:gd name="connsiteX14" fmla="*/ 113064 w 238648"/>
                  <a:gd name="connsiteY14" fmla="*/ 203949 h 227141"/>
                  <a:gd name="connsiteX15" fmla="*/ 167671 w 238648"/>
                  <a:gd name="connsiteY15" fmla="*/ 131140 h 227141"/>
                  <a:gd name="connsiteX16" fmla="*/ 222277 w 238648"/>
                  <a:gd name="connsiteY16" fmla="*/ 97769 h 227141"/>
                  <a:gd name="connsiteX17" fmla="*/ 204075 w 238648"/>
                  <a:gd name="connsiteY17" fmla="*/ 6758 h 227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38648" h="227141">
                    <a:moveTo>
                      <a:pt x="204075" y="6758"/>
                    </a:moveTo>
                    <a:cubicBezTo>
                      <a:pt x="204075" y="3724"/>
                      <a:pt x="198008" y="690"/>
                      <a:pt x="194974" y="690"/>
                    </a:cubicBezTo>
                    <a:cubicBezTo>
                      <a:pt x="155536" y="-2343"/>
                      <a:pt x="82727" y="3724"/>
                      <a:pt x="55424" y="37095"/>
                    </a:cubicBezTo>
                    <a:cubicBezTo>
                      <a:pt x="37221" y="58331"/>
                      <a:pt x="22053" y="88668"/>
                      <a:pt x="9918" y="112937"/>
                    </a:cubicBezTo>
                    <a:cubicBezTo>
                      <a:pt x="3850" y="125072"/>
                      <a:pt x="-5251" y="134174"/>
                      <a:pt x="3850" y="146308"/>
                    </a:cubicBezTo>
                    <a:cubicBezTo>
                      <a:pt x="6884" y="149342"/>
                      <a:pt x="9918" y="152375"/>
                      <a:pt x="12952" y="149342"/>
                    </a:cubicBezTo>
                    <a:cubicBezTo>
                      <a:pt x="19019" y="149342"/>
                      <a:pt x="22053" y="146308"/>
                      <a:pt x="25086" y="140241"/>
                    </a:cubicBezTo>
                    <a:cubicBezTo>
                      <a:pt x="22053" y="152375"/>
                      <a:pt x="15986" y="164511"/>
                      <a:pt x="12952" y="179679"/>
                    </a:cubicBezTo>
                    <a:cubicBezTo>
                      <a:pt x="9918" y="191814"/>
                      <a:pt x="6884" y="203949"/>
                      <a:pt x="15986" y="213049"/>
                    </a:cubicBezTo>
                    <a:cubicBezTo>
                      <a:pt x="25086" y="219117"/>
                      <a:pt x="31154" y="219117"/>
                      <a:pt x="37221" y="216083"/>
                    </a:cubicBezTo>
                    <a:cubicBezTo>
                      <a:pt x="37221" y="216083"/>
                      <a:pt x="37221" y="216083"/>
                      <a:pt x="37221" y="216083"/>
                    </a:cubicBezTo>
                    <a:cubicBezTo>
                      <a:pt x="37221" y="219117"/>
                      <a:pt x="40255" y="222151"/>
                      <a:pt x="43289" y="225185"/>
                    </a:cubicBezTo>
                    <a:cubicBezTo>
                      <a:pt x="64524" y="234286"/>
                      <a:pt x="79693" y="210016"/>
                      <a:pt x="91828" y="185746"/>
                    </a:cubicBezTo>
                    <a:cubicBezTo>
                      <a:pt x="91828" y="191814"/>
                      <a:pt x="94861" y="197881"/>
                      <a:pt x="100929" y="203949"/>
                    </a:cubicBezTo>
                    <a:cubicBezTo>
                      <a:pt x="103963" y="206983"/>
                      <a:pt x="110030" y="206983"/>
                      <a:pt x="113064" y="203949"/>
                    </a:cubicBezTo>
                    <a:cubicBezTo>
                      <a:pt x="137334" y="182712"/>
                      <a:pt x="140367" y="149342"/>
                      <a:pt x="167671" y="131140"/>
                    </a:cubicBezTo>
                    <a:cubicBezTo>
                      <a:pt x="185873" y="119005"/>
                      <a:pt x="210143" y="115971"/>
                      <a:pt x="222277" y="97769"/>
                    </a:cubicBezTo>
                    <a:cubicBezTo>
                      <a:pt x="252615" y="55297"/>
                      <a:pt x="237446" y="21926"/>
                      <a:pt x="204075" y="6758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60F3EB25-AE70-43BD-A901-1A02C62366A6}"/>
                  </a:ext>
                </a:extLst>
              </p:cNvPr>
              <p:cNvSpPr/>
              <p:nvPr/>
            </p:nvSpPr>
            <p:spPr>
              <a:xfrm>
                <a:off x="16110941" y="9822173"/>
                <a:ext cx="72496" cy="126656"/>
              </a:xfrm>
              <a:custGeom>
                <a:avLst/>
                <a:gdLst>
                  <a:gd name="connsiteX0" fmla="*/ 15615 w 72496"/>
                  <a:gd name="connsiteY0" fmla="*/ 126657 h 126656"/>
                  <a:gd name="connsiteX1" fmla="*/ 9548 w 72496"/>
                  <a:gd name="connsiteY1" fmla="*/ 126657 h 126656"/>
                  <a:gd name="connsiteX2" fmla="*/ 446 w 72496"/>
                  <a:gd name="connsiteY2" fmla="*/ 117556 h 126656"/>
                  <a:gd name="connsiteX3" fmla="*/ 61120 w 72496"/>
                  <a:gd name="connsiteY3" fmla="*/ 2275 h 126656"/>
                  <a:gd name="connsiteX4" fmla="*/ 70222 w 72496"/>
                  <a:gd name="connsiteY4" fmla="*/ 2275 h 126656"/>
                  <a:gd name="connsiteX5" fmla="*/ 70222 w 72496"/>
                  <a:gd name="connsiteY5" fmla="*/ 11376 h 126656"/>
                  <a:gd name="connsiteX6" fmla="*/ 9548 w 72496"/>
                  <a:gd name="connsiteY6" fmla="*/ 114522 h 126656"/>
                  <a:gd name="connsiteX7" fmla="*/ 9548 w 72496"/>
                  <a:gd name="connsiteY7" fmla="*/ 117556 h 126656"/>
                  <a:gd name="connsiteX8" fmla="*/ 27749 w 72496"/>
                  <a:gd name="connsiteY8" fmla="*/ 114522 h 126656"/>
                  <a:gd name="connsiteX9" fmla="*/ 36851 w 72496"/>
                  <a:gd name="connsiteY9" fmla="*/ 117556 h 126656"/>
                  <a:gd name="connsiteX10" fmla="*/ 33817 w 72496"/>
                  <a:gd name="connsiteY10" fmla="*/ 126657 h 126656"/>
                  <a:gd name="connsiteX11" fmla="*/ 15615 w 72496"/>
                  <a:gd name="connsiteY11" fmla="*/ 126657 h 126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2496" h="126656">
                    <a:moveTo>
                      <a:pt x="15615" y="126657"/>
                    </a:moveTo>
                    <a:cubicBezTo>
                      <a:pt x="12581" y="126657"/>
                      <a:pt x="9548" y="126657"/>
                      <a:pt x="9548" y="126657"/>
                    </a:cubicBezTo>
                    <a:cubicBezTo>
                      <a:pt x="6514" y="123624"/>
                      <a:pt x="3480" y="120590"/>
                      <a:pt x="446" y="117556"/>
                    </a:cubicBezTo>
                    <a:cubicBezTo>
                      <a:pt x="-5621" y="90253"/>
                      <a:pt x="52020" y="17444"/>
                      <a:pt x="61120" y="2275"/>
                    </a:cubicBezTo>
                    <a:cubicBezTo>
                      <a:pt x="64154" y="-758"/>
                      <a:pt x="67188" y="-758"/>
                      <a:pt x="70222" y="2275"/>
                    </a:cubicBezTo>
                    <a:cubicBezTo>
                      <a:pt x="73255" y="5308"/>
                      <a:pt x="73255" y="8342"/>
                      <a:pt x="70222" y="11376"/>
                    </a:cubicBezTo>
                    <a:cubicBezTo>
                      <a:pt x="42918" y="44747"/>
                      <a:pt x="6514" y="99354"/>
                      <a:pt x="9548" y="114522"/>
                    </a:cubicBezTo>
                    <a:cubicBezTo>
                      <a:pt x="9548" y="114522"/>
                      <a:pt x="9548" y="117556"/>
                      <a:pt x="9548" y="117556"/>
                    </a:cubicBezTo>
                    <a:cubicBezTo>
                      <a:pt x="12581" y="120590"/>
                      <a:pt x="21683" y="114522"/>
                      <a:pt x="27749" y="114522"/>
                    </a:cubicBezTo>
                    <a:cubicBezTo>
                      <a:pt x="30783" y="111488"/>
                      <a:pt x="33817" y="114522"/>
                      <a:pt x="36851" y="117556"/>
                    </a:cubicBezTo>
                    <a:cubicBezTo>
                      <a:pt x="39885" y="120590"/>
                      <a:pt x="36851" y="123624"/>
                      <a:pt x="33817" y="126657"/>
                    </a:cubicBezTo>
                    <a:cubicBezTo>
                      <a:pt x="33817" y="120590"/>
                      <a:pt x="24716" y="126657"/>
                      <a:pt x="15615" y="12665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A77CF508-B5E1-4C94-8AA2-BC23AC57169B}"/>
                  </a:ext>
                </a:extLst>
              </p:cNvPr>
              <p:cNvSpPr/>
              <p:nvPr/>
            </p:nvSpPr>
            <p:spPr>
              <a:xfrm>
                <a:off x="16126556" y="9863887"/>
                <a:ext cx="84185" cy="154719"/>
              </a:xfrm>
              <a:custGeom>
                <a:avLst/>
                <a:gdLst>
                  <a:gd name="connsiteX0" fmla="*/ 27303 w 84185"/>
                  <a:gd name="connsiteY0" fmla="*/ 154719 h 154719"/>
                  <a:gd name="connsiteX1" fmla="*/ 6068 w 84185"/>
                  <a:gd name="connsiteY1" fmla="*/ 145618 h 154719"/>
                  <a:gd name="connsiteX2" fmla="*/ 3034 w 84185"/>
                  <a:gd name="connsiteY2" fmla="*/ 97079 h 154719"/>
                  <a:gd name="connsiteX3" fmla="*/ 3034 w 84185"/>
                  <a:gd name="connsiteY3" fmla="*/ 94045 h 154719"/>
                  <a:gd name="connsiteX4" fmla="*/ 48540 w 84185"/>
                  <a:gd name="connsiteY4" fmla="*/ 3034 h 154719"/>
                  <a:gd name="connsiteX5" fmla="*/ 57640 w 84185"/>
                  <a:gd name="connsiteY5" fmla="*/ 0 h 154719"/>
                  <a:gd name="connsiteX6" fmla="*/ 60674 w 84185"/>
                  <a:gd name="connsiteY6" fmla="*/ 9101 h 154719"/>
                  <a:gd name="connsiteX7" fmla="*/ 15169 w 84185"/>
                  <a:gd name="connsiteY7" fmla="*/ 97079 h 154719"/>
                  <a:gd name="connsiteX8" fmla="*/ 15169 w 84185"/>
                  <a:gd name="connsiteY8" fmla="*/ 100112 h 154719"/>
                  <a:gd name="connsiteX9" fmla="*/ 15169 w 84185"/>
                  <a:gd name="connsiteY9" fmla="*/ 136517 h 154719"/>
                  <a:gd name="connsiteX10" fmla="*/ 27303 w 84185"/>
                  <a:gd name="connsiteY10" fmla="*/ 139551 h 154719"/>
                  <a:gd name="connsiteX11" fmla="*/ 72809 w 84185"/>
                  <a:gd name="connsiteY11" fmla="*/ 30337 h 154719"/>
                  <a:gd name="connsiteX12" fmla="*/ 81910 w 84185"/>
                  <a:gd name="connsiteY12" fmla="*/ 30337 h 154719"/>
                  <a:gd name="connsiteX13" fmla="*/ 81910 w 84185"/>
                  <a:gd name="connsiteY13" fmla="*/ 39438 h 154719"/>
                  <a:gd name="connsiteX14" fmla="*/ 39439 w 84185"/>
                  <a:gd name="connsiteY14" fmla="*/ 148652 h 154719"/>
                  <a:gd name="connsiteX15" fmla="*/ 33371 w 84185"/>
                  <a:gd name="connsiteY15" fmla="*/ 151685 h 154719"/>
                  <a:gd name="connsiteX16" fmla="*/ 27303 w 84185"/>
                  <a:gd name="connsiteY16" fmla="*/ 154719 h 154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4185" h="154719">
                    <a:moveTo>
                      <a:pt x="27303" y="154719"/>
                    </a:moveTo>
                    <a:cubicBezTo>
                      <a:pt x="18202" y="154719"/>
                      <a:pt x="12135" y="151685"/>
                      <a:pt x="6068" y="145618"/>
                    </a:cubicBezTo>
                    <a:cubicBezTo>
                      <a:pt x="-3034" y="133483"/>
                      <a:pt x="0" y="112248"/>
                      <a:pt x="3034" y="97079"/>
                    </a:cubicBezTo>
                    <a:lnTo>
                      <a:pt x="3034" y="94045"/>
                    </a:lnTo>
                    <a:cubicBezTo>
                      <a:pt x="9102" y="72809"/>
                      <a:pt x="45506" y="6068"/>
                      <a:pt x="48540" y="3034"/>
                    </a:cubicBezTo>
                    <a:cubicBezTo>
                      <a:pt x="51573" y="0"/>
                      <a:pt x="54607" y="0"/>
                      <a:pt x="57640" y="0"/>
                    </a:cubicBezTo>
                    <a:cubicBezTo>
                      <a:pt x="60674" y="3034"/>
                      <a:pt x="60674" y="6068"/>
                      <a:pt x="60674" y="9101"/>
                    </a:cubicBezTo>
                    <a:cubicBezTo>
                      <a:pt x="60674" y="9101"/>
                      <a:pt x="21236" y="75843"/>
                      <a:pt x="15169" y="97079"/>
                    </a:cubicBezTo>
                    <a:lnTo>
                      <a:pt x="15169" y="100112"/>
                    </a:lnTo>
                    <a:cubicBezTo>
                      <a:pt x="12135" y="112248"/>
                      <a:pt x="9102" y="130449"/>
                      <a:pt x="15169" y="136517"/>
                    </a:cubicBezTo>
                    <a:cubicBezTo>
                      <a:pt x="18202" y="139551"/>
                      <a:pt x="21236" y="139551"/>
                      <a:pt x="27303" y="139551"/>
                    </a:cubicBezTo>
                    <a:cubicBezTo>
                      <a:pt x="30337" y="121348"/>
                      <a:pt x="48540" y="51573"/>
                      <a:pt x="72809" y="30337"/>
                    </a:cubicBezTo>
                    <a:cubicBezTo>
                      <a:pt x="75843" y="27303"/>
                      <a:pt x="78877" y="27303"/>
                      <a:pt x="81910" y="30337"/>
                    </a:cubicBezTo>
                    <a:cubicBezTo>
                      <a:pt x="84944" y="33371"/>
                      <a:pt x="84944" y="36405"/>
                      <a:pt x="81910" y="39438"/>
                    </a:cubicBezTo>
                    <a:cubicBezTo>
                      <a:pt x="60674" y="63708"/>
                      <a:pt x="39439" y="145618"/>
                      <a:pt x="39439" y="148652"/>
                    </a:cubicBezTo>
                    <a:cubicBezTo>
                      <a:pt x="39439" y="151685"/>
                      <a:pt x="36405" y="151685"/>
                      <a:pt x="33371" y="151685"/>
                    </a:cubicBezTo>
                    <a:cubicBezTo>
                      <a:pt x="30337" y="154719"/>
                      <a:pt x="27303" y="154719"/>
                      <a:pt x="27303" y="15471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AF5A4AC0-F2C1-4F94-A7AB-AE5695253632}"/>
                  </a:ext>
                </a:extLst>
              </p:cNvPr>
              <p:cNvSpPr/>
              <p:nvPr/>
            </p:nvSpPr>
            <p:spPr>
              <a:xfrm>
                <a:off x="16152603" y="9883866"/>
                <a:ext cx="123861" cy="140806"/>
              </a:xfrm>
              <a:custGeom>
                <a:avLst/>
                <a:gdLst>
                  <a:gd name="connsiteX0" fmla="*/ 22493 w 123861"/>
                  <a:gd name="connsiteY0" fmla="*/ 140807 h 140806"/>
                  <a:gd name="connsiteX1" fmla="*/ 1256 w 123861"/>
                  <a:gd name="connsiteY1" fmla="*/ 128672 h 140806"/>
                  <a:gd name="connsiteX2" fmla="*/ 4290 w 123861"/>
                  <a:gd name="connsiteY2" fmla="*/ 119571 h 140806"/>
                  <a:gd name="connsiteX3" fmla="*/ 13392 w 123861"/>
                  <a:gd name="connsiteY3" fmla="*/ 122605 h 140806"/>
                  <a:gd name="connsiteX4" fmla="*/ 31593 w 123861"/>
                  <a:gd name="connsiteY4" fmla="*/ 125638 h 140806"/>
                  <a:gd name="connsiteX5" fmla="*/ 55864 w 123861"/>
                  <a:gd name="connsiteY5" fmla="*/ 92268 h 140806"/>
                  <a:gd name="connsiteX6" fmla="*/ 77099 w 123861"/>
                  <a:gd name="connsiteY6" fmla="*/ 25526 h 140806"/>
                  <a:gd name="connsiteX7" fmla="*/ 113504 w 123861"/>
                  <a:gd name="connsiteY7" fmla="*/ 1257 h 140806"/>
                  <a:gd name="connsiteX8" fmla="*/ 122605 w 123861"/>
                  <a:gd name="connsiteY8" fmla="*/ 4290 h 140806"/>
                  <a:gd name="connsiteX9" fmla="*/ 119572 w 123861"/>
                  <a:gd name="connsiteY9" fmla="*/ 13391 h 140806"/>
                  <a:gd name="connsiteX10" fmla="*/ 86201 w 123861"/>
                  <a:gd name="connsiteY10" fmla="*/ 34627 h 140806"/>
                  <a:gd name="connsiteX11" fmla="*/ 67998 w 123861"/>
                  <a:gd name="connsiteY11" fmla="*/ 95301 h 140806"/>
                  <a:gd name="connsiteX12" fmla="*/ 37661 w 123861"/>
                  <a:gd name="connsiteY12" fmla="*/ 134740 h 140806"/>
                  <a:gd name="connsiteX13" fmla="*/ 22493 w 123861"/>
                  <a:gd name="connsiteY13" fmla="*/ 140807 h 140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861" h="140806">
                    <a:moveTo>
                      <a:pt x="22493" y="140807"/>
                    </a:moveTo>
                    <a:cubicBezTo>
                      <a:pt x="13392" y="140807"/>
                      <a:pt x="4290" y="134740"/>
                      <a:pt x="1256" y="128672"/>
                    </a:cubicBezTo>
                    <a:cubicBezTo>
                      <a:pt x="-1777" y="125638"/>
                      <a:pt x="1256" y="122605"/>
                      <a:pt x="4290" y="119571"/>
                    </a:cubicBezTo>
                    <a:cubicBezTo>
                      <a:pt x="7324" y="116537"/>
                      <a:pt x="10358" y="119571"/>
                      <a:pt x="13392" y="122605"/>
                    </a:cubicBezTo>
                    <a:cubicBezTo>
                      <a:pt x="13392" y="125638"/>
                      <a:pt x="22493" y="131706"/>
                      <a:pt x="31593" y="125638"/>
                    </a:cubicBezTo>
                    <a:cubicBezTo>
                      <a:pt x="46762" y="116537"/>
                      <a:pt x="55864" y="92268"/>
                      <a:pt x="55864" y="92268"/>
                    </a:cubicBezTo>
                    <a:cubicBezTo>
                      <a:pt x="58897" y="83166"/>
                      <a:pt x="67998" y="37661"/>
                      <a:pt x="77099" y="25526"/>
                    </a:cubicBezTo>
                    <a:cubicBezTo>
                      <a:pt x="86201" y="16425"/>
                      <a:pt x="110470" y="1257"/>
                      <a:pt x="113504" y="1257"/>
                    </a:cubicBezTo>
                    <a:cubicBezTo>
                      <a:pt x="116538" y="-1777"/>
                      <a:pt x="119572" y="1257"/>
                      <a:pt x="122605" y="4290"/>
                    </a:cubicBezTo>
                    <a:cubicBezTo>
                      <a:pt x="125638" y="7324"/>
                      <a:pt x="122605" y="10357"/>
                      <a:pt x="119572" y="13391"/>
                    </a:cubicBezTo>
                    <a:cubicBezTo>
                      <a:pt x="113504" y="16425"/>
                      <a:pt x="92268" y="28560"/>
                      <a:pt x="86201" y="34627"/>
                    </a:cubicBezTo>
                    <a:cubicBezTo>
                      <a:pt x="83167" y="40695"/>
                      <a:pt x="74066" y="74066"/>
                      <a:pt x="67998" y="95301"/>
                    </a:cubicBezTo>
                    <a:cubicBezTo>
                      <a:pt x="67998" y="98335"/>
                      <a:pt x="55864" y="122605"/>
                      <a:pt x="37661" y="134740"/>
                    </a:cubicBezTo>
                    <a:cubicBezTo>
                      <a:pt x="31593" y="140807"/>
                      <a:pt x="25526" y="140807"/>
                      <a:pt x="22493" y="14080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0428495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8FB43AFF-3D05-4221-87E7-BDF98D8ED4D7}"/>
              </a:ext>
            </a:extLst>
          </p:cNvPr>
          <p:cNvGrpSpPr/>
          <p:nvPr/>
        </p:nvGrpSpPr>
        <p:grpSpPr>
          <a:xfrm>
            <a:off x="2636282" y="2016422"/>
            <a:ext cx="7409255" cy="4841578"/>
            <a:chOff x="18446554" y="7409836"/>
            <a:chExt cx="7409255" cy="4841578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18CE59DB-5107-4CB5-84D9-82B7A240A23E}"/>
                </a:ext>
              </a:extLst>
            </p:cNvPr>
            <p:cNvSpPr/>
            <p:nvPr/>
          </p:nvSpPr>
          <p:spPr>
            <a:xfrm>
              <a:off x="20938017" y="11674998"/>
              <a:ext cx="1265056" cy="575742"/>
            </a:xfrm>
            <a:custGeom>
              <a:avLst/>
              <a:gdLst>
                <a:gd name="connsiteX0" fmla="*/ 1265057 w 1265056"/>
                <a:gd name="connsiteY0" fmla="*/ 558214 h 575742"/>
                <a:gd name="connsiteX1" fmla="*/ 649214 w 1265056"/>
                <a:gd name="connsiteY1" fmla="*/ 12 h 575742"/>
                <a:gd name="connsiteX2" fmla="*/ 0 w 1265056"/>
                <a:gd name="connsiteY2" fmla="*/ 558214 h 575742"/>
                <a:gd name="connsiteX3" fmla="*/ 1265057 w 1265056"/>
                <a:gd name="connsiteY3" fmla="*/ 558214 h 575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5056" h="575742">
                  <a:moveTo>
                    <a:pt x="1265057" y="558214"/>
                  </a:moveTo>
                  <a:cubicBezTo>
                    <a:pt x="1265057" y="558214"/>
                    <a:pt x="919213" y="-3022"/>
                    <a:pt x="649214" y="12"/>
                  </a:cubicBezTo>
                  <a:cubicBezTo>
                    <a:pt x="382246" y="3045"/>
                    <a:pt x="0" y="558214"/>
                    <a:pt x="0" y="558214"/>
                  </a:cubicBezTo>
                  <a:cubicBezTo>
                    <a:pt x="0" y="558214"/>
                    <a:pt x="1019325" y="597652"/>
                    <a:pt x="1265057" y="558214"/>
                  </a:cubicBezTo>
                  <a:close/>
                </a:path>
              </a:pathLst>
            </a:custGeom>
            <a:solidFill>
              <a:srgbClr val="F1DDBA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AB80925A-D97B-4F9C-959E-0EDA874A481B}"/>
                </a:ext>
              </a:extLst>
            </p:cNvPr>
            <p:cNvSpPr/>
            <p:nvPr/>
          </p:nvSpPr>
          <p:spPr>
            <a:xfrm>
              <a:off x="21948241" y="11762973"/>
              <a:ext cx="1070898" cy="488104"/>
            </a:xfrm>
            <a:custGeom>
              <a:avLst/>
              <a:gdLst>
                <a:gd name="connsiteX0" fmla="*/ 1070899 w 1070898"/>
                <a:gd name="connsiteY0" fmla="*/ 473273 h 488104"/>
                <a:gd name="connsiteX1" fmla="*/ 549102 w 1070898"/>
                <a:gd name="connsiteY1" fmla="*/ 14 h 488104"/>
                <a:gd name="connsiteX2" fmla="*/ 0 w 1070898"/>
                <a:gd name="connsiteY2" fmla="*/ 473273 h 488104"/>
                <a:gd name="connsiteX3" fmla="*/ 1070899 w 1070898"/>
                <a:gd name="connsiteY3" fmla="*/ 473273 h 488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898" h="488104">
                  <a:moveTo>
                    <a:pt x="1070899" y="473273"/>
                  </a:moveTo>
                  <a:cubicBezTo>
                    <a:pt x="1070899" y="473273"/>
                    <a:pt x="776630" y="-3019"/>
                    <a:pt x="549102" y="14"/>
                  </a:cubicBezTo>
                  <a:cubicBezTo>
                    <a:pt x="321574" y="3048"/>
                    <a:pt x="0" y="473273"/>
                    <a:pt x="0" y="473273"/>
                  </a:cubicBezTo>
                  <a:cubicBezTo>
                    <a:pt x="0" y="473273"/>
                    <a:pt x="864607" y="506643"/>
                    <a:pt x="1070899" y="473273"/>
                  </a:cubicBezTo>
                  <a:close/>
                </a:path>
              </a:pathLst>
            </a:custGeom>
            <a:solidFill>
              <a:srgbClr val="F1DDBA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30A3BE2D-9113-4B3C-8BEF-1EF163C7932C}"/>
                </a:ext>
              </a:extLst>
            </p:cNvPr>
            <p:cNvSpPr/>
            <p:nvPr/>
          </p:nvSpPr>
          <p:spPr>
            <a:xfrm>
              <a:off x="23146556" y="8523729"/>
              <a:ext cx="539503" cy="1530943"/>
            </a:xfrm>
            <a:custGeom>
              <a:avLst/>
              <a:gdLst>
                <a:gd name="connsiteX0" fmla="*/ 533934 w 539503"/>
                <a:gd name="connsiteY0" fmla="*/ 451281 h 1530943"/>
                <a:gd name="connsiteX1" fmla="*/ 391349 w 539503"/>
                <a:gd name="connsiteY1" fmla="*/ 2292 h 1530943"/>
                <a:gd name="connsiteX2" fmla="*/ 215394 w 539503"/>
                <a:gd name="connsiteY2" fmla="*/ 511955 h 1530943"/>
                <a:gd name="connsiteX3" fmla="*/ 169889 w 539503"/>
                <a:gd name="connsiteY3" fmla="*/ 900270 h 1530943"/>
                <a:gd name="connsiteX4" fmla="*/ 0 w 539503"/>
                <a:gd name="connsiteY4" fmla="*/ 1503978 h 1530943"/>
                <a:gd name="connsiteX5" fmla="*/ 148652 w 539503"/>
                <a:gd name="connsiteY5" fmla="*/ 1503978 h 1530943"/>
                <a:gd name="connsiteX6" fmla="*/ 373146 w 539503"/>
                <a:gd name="connsiteY6" fmla="*/ 1051955 h 1530943"/>
                <a:gd name="connsiteX7" fmla="*/ 533934 w 539503"/>
                <a:gd name="connsiteY7" fmla="*/ 451281 h 1530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9503" h="1530943">
                  <a:moveTo>
                    <a:pt x="533934" y="451281"/>
                  </a:moveTo>
                  <a:cubicBezTo>
                    <a:pt x="564271" y="308697"/>
                    <a:pt x="464157" y="-31078"/>
                    <a:pt x="391349" y="2292"/>
                  </a:cubicBezTo>
                  <a:cubicBezTo>
                    <a:pt x="306406" y="41730"/>
                    <a:pt x="230563" y="299596"/>
                    <a:pt x="215394" y="511955"/>
                  </a:cubicBezTo>
                  <a:cubicBezTo>
                    <a:pt x="209327" y="612068"/>
                    <a:pt x="212360" y="806225"/>
                    <a:pt x="169889" y="900270"/>
                  </a:cubicBezTo>
                  <a:cubicBezTo>
                    <a:pt x="130449" y="982180"/>
                    <a:pt x="0" y="1503978"/>
                    <a:pt x="0" y="1503978"/>
                  </a:cubicBezTo>
                  <a:cubicBezTo>
                    <a:pt x="9101" y="1564652"/>
                    <a:pt x="148652" y="1503978"/>
                    <a:pt x="148652" y="1503978"/>
                  </a:cubicBezTo>
                  <a:cubicBezTo>
                    <a:pt x="148652" y="1503978"/>
                    <a:pt x="333708" y="1118697"/>
                    <a:pt x="373146" y="1051955"/>
                  </a:cubicBezTo>
                  <a:cubicBezTo>
                    <a:pt x="424719" y="954877"/>
                    <a:pt x="494494" y="630270"/>
                    <a:pt x="533934" y="451281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08EF7437-C3AC-434F-B0FB-84B376A5F7BF}"/>
                </a:ext>
              </a:extLst>
            </p:cNvPr>
            <p:cNvSpPr/>
            <p:nvPr/>
          </p:nvSpPr>
          <p:spPr>
            <a:xfrm>
              <a:off x="23325546" y="8409353"/>
              <a:ext cx="421684" cy="584824"/>
            </a:xfrm>
            <a:custGeom>
              <a:avLst/>
              <a:gdLst>
                <a:gd name="connsiteX0" fmla="*/ 421684 w 421684"/>
                <a:gd name="connsiteY0" fmla="*/ 562624 h 584824"/>
                <a:gd name="connsiteX1" fmla="*/ 218427 w 421684"/>
                <a:gd name="connsiteY1" fmla="*/ 1388 h 584824"/>
                <a:gd name="connsiteX2" fmla="*/ 0 w 421684"/>
                <a:gd name="connsiteY2" fmla="*/ 547455 h 584824"/>
                <a:gd name="connsiteX3" fmla="*/ 421684 w 421684"/>
                <a:gd name="connsiteY3" fmla="*/ 562624 h 584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1684" h="584824">
                  <a:moveTo>
                    <a:pt x="421684" y="562624"/>
                  </a:moveTo>
                  <a:cubicBezTo>
                    <a:pt x="421684" y="562624"/>
                    <a:pt x="364045" y="28691"/>
                    <a:pt x="218427" y="1388"/>
                  </a:cubicBezTo>
                  <a:cubicBezTo>
                    <a:pt x="51573" y="-31983"/>
                    <a:pt x="0" y="547455"/>
                    <a:pt x="0" y="547455"/>
                  </a:cubicBezTo>
                  <a:cubicBezTo>
                    <a:pt x="0" y="547455"/>
                    <a:pt x="215393" y="620264"/>
                    <a:pt x="421684" y="562624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BCCBCE5-FBE9-4A91-99D1-CEF475572CED}"/>
                </a:ext>
              </a:extLst>
            </p:cNvPr>
            <p:cNvSpPr/>
            <p:nvPr/>
          </p:nvSpPr>
          <p:spPr>
            <a:xfrm>
              <a:off x="18458903" y="11550628"/>
              <a:ext cx="182597" cy="437696"/>
            </a:xfrm>
            <a:custGeom>
              <a:avLst/>
              <a:gdLst>
                <a:gd name="connsiteX0" fmla="*/ 182597 w 182597"/>
                <a:gd name="connsiteY0" fmla="*/ 94045 h 437696"/>
                <a:gd name="connsiteX1" fmla="*/ 131024 w 182597"/>
                <a:gd name="connsiteY1" fmla="*/ 0 h 437696"/>
                <a:gd name="connsiteX2" fmla="*/ 575 w 182597"/>
                <a:gd name="connsiteY2" fmla="*/ 63708 h 437696"/>
                <a:gd name="connsiteX3" fmla="*/ 24844 w 182597"/>
                <a:gd name="connsiteY3" fmla="*/ 306405 h 437696"/>
                <a:gd name="connsiteX4" fmla="*/ 82485 w 182597"/>
                <a:gd name="connsiteY4" fmla="*/ 430786 h 437696"/>
                <a:gd name="connsiteX5" fmla="*/ 137092 w 182597"/>
                <a:gd name="connsiteY5" fmla="*/ 412584 h 437696"/>
                <a:gd name="connsiteX6" fmla="*/ 182597 w 182597"/>
                <a:gd name="connsiteY6" fmla="*/ 94045 h 437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2597" h="437696">
                  <a:moveTo>
                    <a:pt x="182597" y="94045"/>
                  </a:moveTo>
                  <a:lnTo>
                    <a:pt x="131024" y="0"/>
                  </a:lnTo>
                  <a:cubicBezTo>
                    <a:pt x="131024" y="0"/>
                    <a:pt x="18778" y="42472"/>
                    <a:pt x="575" y="63708"/>
                  </a:cubicBezTo>
                  <a:cubicBezTo>
                    <a:pt x="-2458" y="142584"/>
                    <a:pt x="6642" y="236629"/>
                    <a:pt x="24844" y="306405"/>
                  </a:cubicBezTo>
                  <a:cubicBezTo>
                    <a:pt x="36980" y="351910"/>
                    <a:pt x="73384" y="424719"/>
                    <a:pt x="82485" y="430786"/>
                  </a:cubicBezTo>
                  <a:cubicBezTo>
                    <a:pt x="88553" y="436854"/>
                    <a:pt x="121923" y="448988"/>
                    <a:pt x="137092" y="412584"/>
                  </a:cubicBezTo>
                  <a:cubicBezTo>
                    <a:pt x="167429" y="330674"/>
                    <a:pt x="182597" y="94045"/>
                    <a:pt x="182597" y="94045"/>
                  </a:cubicBez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A5F5B91C-A2CA-47FD-8A89-816C1DA7A9E8}"/>
                </a:ext>
              </a:extLst>
            </p:cNvPr>
            <p:cNvSpPr/>
            <p:nvPr/>
          </p:nvSpPr>
          <p:spPr>
            <a:xfrm>
              <a:off x="18556556" y="11716253"/>
              <a:ext cx="84943" cy="25498"/>
            </a:xfrm>
            <a:custGeom>
              <a:avLst/>
              <a:gdLst>
                <a:gd name="connsiteX0" fmla="*/ 78876 w 84943"/>
                <a:gd name="connsiteY0" fmla="*/ 25499 h 25498"/>
                <a:gd name="connsiteX1" fmla="*/ 78876 w 84943"/>
                <a:gd name="connsiteY1" fmla="*/ 25499 h 25498"/>
                <a:gd name="connsiteX2" fmla="*/ 6068 w 84943"/>
                <a:gd name="connsiteY2" fmla="*/ 13364 h 25498"/>
                <a:gd name="connsiteX3" fmla="*/ 0 w 84943"/>
                <a:gd name="connsiteY3" fmla="*/ 7297 h 25498"/>
                <a:gd name="connsiteX4" fmla="*/ 6068 w 84943"/>
                <a:gd name="connsiteY4" fmla="*/ 1230 h 25498"/>
                <a:gd name="connsiteX5" fmla="*/ 81910 w 84943"/>
                <a:gd name="connsiteY5" fmla="*/ 16398 h 25498"/>
                <a:gd name="connsiteX6" fmla="*/ 84943 w 84943"/>
                <a:gd name="connsiteY6" fmla="*/ 22465 h 25498"/>
                <a:gd name="connsiteX7" fmla="*/ 78876 w 84943"/>
                <a:gd name="connsiteY7" fmla="*/ 25499 h 25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943" h="25498">
                  <a:moveTo>
                    <a:pt x="78876" y="25499"/>
                  </a:moveTo>
                  <a:cubicBezTo>
                    <a:pt x="78876" y="25499"/>
                    <a:pt x="75843" y="25499"/>
                    <a:pt x="78876" y="25499"/>
                  </a:cubicBezTo>
                  <a:cubicBezTo>
                    <a:pt x="75843" y="25499"/>
                    <a:pt x="39438" y="7297"/>
                    <a:pt x="6068" y="13364"/>
                  </a:cubicBezTo>
                  <a:cubicBezTo>
                    <a:pt x="3033" y="13364"/>
                    <a:pt x="0" y="10330"/>
                    <a:pt x="0" y="7297"/>
                  </a:cubicBezTo>
                  <a:cubicBezTo>
                    <a:pt x="0" y="4264"/>
                    <a:pt x="3033" y="1230"/>
                    <a:pt x="6068" y="1230"/>
                  </a:cubicBezTo>
                  <a:cubicBezTo>
                    <a:pt x="42473" y="-4838"/>
                    <a:pt x="81910" y="13364"/>
                    <a:pt x="81910" y="16398"/>
                  </a:cubicBezTo>
                  <a:cubicBezTo>
                    <a:pt x="84943" y="16398"/>
                    <a:pt x="84943" y="22465"/>
                    <a:pt x="84943" y="22465"/>
                  </a:cubicBezTo>
                  <a:cubicBezTo>
                    <a:pt x="81910" y="25499"/>
                    <a:pt x="81910" y="25499"/>
                    <a:pt x="78876" y="25499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335A37FC-BC6B-4951-940B-7CB1788A50CF}"/>
                </a:ext>
              </a:extLst>
            </p:cNvPr>
            <p:cNvSpPr/>
            <p:nvPr/>
          </p:nvSpPr>
          <p:spPr>
            <a:xfrm>
              <a:off x="18553523" y="11794926"/>
              <a:ext cx="81908" cy="22668"/>
            </a:xfrm>
            <a:custGeom>
              <a:avLst/>
              <a:gdLst>
                <a:gd name="connsiteX0" fmla="*/ 72808 w 81908"/>
                <a:gd name="connsiteY0" fmla="*/ 22668 h 22668"/>
                <a:gd name="connsiteX1" fmla="*/ 72808 w 81908"/>
                <a:gd name="connsiteY1" fmla="*/ 22668 h 22668"/>
                <a:gd name="connsiteX2" fmla="*/ 6066 w 81908"/>
                <a:gd name="connsiteY2" fmla="*/ 13567 h 22668"/>
                <a:gd name="connsiteX3" fmla="*/ 0 w 81908"/>
                <a:gd name="connsiteY3" fmla="*/ 7500 h 22668"/>
                <a:gd name="connsiteX4" fmla="*/ 6066 w 81908"/>
                <a:gd name="connsiteY4" fmla="*/ 1433 h 22668"/>
                <a:gd name="connsiteX5" fmla="*/ 78876 w 81908"/>
                <a:gd name="connsiteY5" fmla="*/ 10533 h 22668"/>
                <a:gd name="connsiteX6" fmla="*/ 81909 w 81908"/>
                <a:gd name="connsiteY6" fmla="*/ 19634 h 22668"/>
                <a:gd name="connsiteX7" fmla="*/ 72808 w 81908"/>
                <a:gd name="connsiteY7" fmla="*/ 22668 h 22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908" h="22668">
                  <a:moveTo>
                    <a:pt x="72808" y="22668"/>
                  </a:moveTo>
                  <a:cubicBezTo>
                    <a:pt x="72808" y="22668"/>
                    <a:pt x="69775" y="22668"/>
                    <a:pt x="72808" y="22668"/>
                  </a:cubicBezTo>
                  <a:cubicBezTo>
                    <a:pt x="69775" y="22668"/>
                    <a:pt x="45506" y="7500"/>
                    <a:pt x="6066" y="13567"/>
                  </a:cubicBezTo>
                  <a:cubicBezTo>
                    <a:pt x="3033" y="13567"/>
                    <a:pt x="0" y="10533"/>
                    <a:pt x="0" y="7500"/>
                  </a:cubicBezTo>
                  <a:cubicBezTo>
                    <a:pt x="0" y="4466"/>
                    <a:pt x="3033" y="1433"/>
                    <a:pt x="6066" y="1433"/>
                  </a:cubicBezTo>
                  <a:cubicBezTo>
                    <a:pt x="51572" y="-4635"/>
                    <a:pt x="75843" y="10533"/>
                    <a:pt x="78876" y="10533"/>
                  </a:cubicBezTo>
                  <a:cubicBezTo>
                    <a:pt x="81909" y="13567"/>
                    <a:pt x="81909" y="16601"/>
                    <a:pt x="81909" y="19634"/>
                  </a:cubicBezTo>
                  <a:cubicBezTo>
                    <a:pt x="75843" y="19634"/>
                    <a:pt x="75843" y="22668"/>
                    <a:pt x="72808" y="22668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E464A5D-989B-4535-9030-84B2FCB8DADF}"/>
                </a:ext>
              </a:extLst>
            </p:cNvPr>
            <p:cNvSpPr/>
            <p:nvPr/>
          </p:nvSpPr>
          <p:spPr>
            <a:xfrm>
              <a:off x="18446554" y="11587032"/>
              <a:ext cx="122137" cy="409550"/>
            </a:xfrm>
            <a:custGeom>
              <a:avLst/>
              <a:gdLst>
                <a:gd name="connsiteX0" fmla="*/ 58429 w 122137"/>
                <a:gd name="connsiteY0" fmla="*/ 0 h 409550"/>
                <a:gd name="connsiteX1" fmla="*/ 12923 w 122137"/>
                <a:gd name="connsiteY1" fmla="*/ 21236 h 409550"/>
                <a:gd name="connsiteX2" fmla="*/ 790 w 122137"/>
                <a:gd name="connsiteY2" fmla="*/ 42473 h 409550"/>
                <a:gd name="connsiteX3" fmla="*/ 88766 w 122137"/>
                <a:gd name="connsiteY3" fmla="*/ 409551 h 409550"/>
                <a:gd name="connsiteX4" fmla="*/ 122138 w 122137"/>
                <a:gd name="connsiteY4" fmla="*/ 403484 h 409550"/>
                <a:gd name="connsiteX5" fmla="*/ 58429 w 122137"/>
                <a:gd name="connsiteY5" fmla="*/ 0 h 4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137" h="409550">
                  <a:moveTo>
                    <a:pt x="58429" y="0"/>
                  </a:moveTo>
                  <a:lnTo>
                    <a:pt x="12923" y="21236"/>
                  </a:lnTo>
                  <a:cubicBezTo>
                    <a:pt x="3823" y="24270"/>
                    <a:pt x="-2245" y="33371"/>
                    <a:pt x="790" y="42473"/>
                  </a:cubicBezTo>
                  <a:cubicBezTo>
                    <a:pt x="3823" y="97079"/>
                    <a:pt x="22024" y="291236"/>
                    <a:pt x="88766" y="409551"/>
                  </a:cubicBezTo>
                  <a:lnTo>
                    <a:pt x="122138" y="403484"/>
                  </a:lnTo>
                  <a:cubicBezTo>
                    <a:pt x="119103" y="403484"/>
                    <a:pt x="3823" y="57641"/>
                    <a:pt x="58429" y="0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" name="图形 1">
              <a:extLst>
                <a:ext uri="{FF2B5EF4-FFF2-40B4-BE49-F238E27FC236}">
                  <a16:creationId xmlns:a16="http://schemas.microsoft.com/office/drawing/2014/main" id="{2E6E77AB-077A-43CC-B5AF-F8CAB2FF9845}"/>
                </a:ext>
              </a:extLst>
            </p:cNvPr>
            <p:cNvGrpSpPr/>
            <p:nvPr/>
          </p:nvGrpSpPr>
          <p:grpSpPr>
            <a:xfrm>
              <a:off x="24332736" y="11893437"/>
              <a:ext cx="494831" cy="339775"/>
              <a:chOff x="24332736" y="11893437"/>
              <a:chExt cx="494831" cy="339775"/>
            </a:xfrm>
          </p:grpSpPr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4906663A-C8BF-4E2A-9D1D-F2A2B2CC8DC4}"/>
                  </a:ext>
                </a:extLst>
              </p:cNvPr>
              <p:cNvSpPr/>
              <p:nvPr/>
            </p:nvSpPr>
            <p:spPr>
              <a:xfrm>
                <a:off x="24608804" y="11893437"/>
                <a:ext cx="209326" cy="221461"/>
              </a:xfrm>
              <a:custGeom>
                <a:avLst/>
                <a:gdLst>
                  <a:gd name="connsiteX0" fmla="*/ 209327 w 209326"/>
                  <a:gd name="connsiteY0" fmla="*/ 182022 h 221461"/>
                  <a:gd name="connsiteX1" fmla="*/ 182022 w 209326"/>
                  <a:gd name="connsiteY1" fmla="*/ 0 h 221461"/>
                  <a:gd name="connsiteX2" fmla="*/ 0 w 209326"/>
                  <a:gd name="connsiteY2" fmla="*/ 0 h 221461"/>
                  <a:gd name="connsiteX3" fmla="*/ 48539 w 209326"/>
                  <a:gd name="connsiteY3" fmla="*/ 194157 h 221461"/>
                  <a:gd name="connsiteX4" fmla="*/ 197191 w 209326"/>
                  <a:gd name="connsiteY4" fmla="*/ 221461 h 221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326" h="221461">
                    <a:moveTo>
                      <a:pt x="209327" y="182022"/>
                    </a:moveTo>
                    <a:lnTo>
                      <a:pt x="182022" y="0"/>
                    </a:lnTo>
                    <a:lnTo>
                      <a:pt x="0" y="0"/>
                    </a:lnTo>
                    <a:lnTo>
                      <a:pt x="48539" y="194157"/>
                    </a:lnTo>
                    <a:lnTo>
                      <a:pt x="197191" y="221461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D492998A-A389-4D0C-9F39-EE72021ECC70}"/>
                  </a:ext>
                </a:extLst>
              </p:cNvPr>
              <p:cNvSpPr/>
              <p:nvPr/>
            </p:nvSpPr>
            <p:spPr>
              <a:xfrm>
                <a:off x="24332737" y="12029954"/>
                <a:ext cx="494830" cy="157753"/>
              </a:xfrm>
              <a:custGeom>
                <a:avLst/>
                <a:gdLst>
                  <a:gd name="connsiteX0" fmla="*/ 485393 w 494830"/>
                  <a:gd name="connsiteY0" fmla="*/ 45506 h 157753"/>
                  <a:gd name="connsiteX1" fmla="*/ 300336 w 494830"/>
                  <a:gd name="connsiteY1" fmla="*/ 0 h 157753"/>
                  <a:gd name="connsiteX2" fmla="*/ 166854 w 494830"/>
                  <a:gd name="connsiteY2" fmla="*/ 78877 h 157753"/>
                  <a:gd name="connsiteX3" fmla="*/ 0 w 494830"/>
                  <a:gd name="connsiteY3" fmla="*/ 157753 h 157753"/>
                  <a:gd name="connsiteX4" fmla="*/ 485393 w 494830"/>
                  <a:gd name="connsiteY4" fmla="*/ 157753 h 157753"/>
                  <a:gd name="connsiteX5" fmla="*/ 485393 w 494830"/>
                  <a:gd name="connsiteY5" fmla="*/ 45506 h 157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4830" h="157753">
                    <a:moveTo>
                      <a:pt x="485393" y="45506"/>
                    </a:moveTo>
                    <a:cubicBezTo>
                      <a:pt x="485393" y="45506"/>
                      <a:pt x="361010" y="63708"/>
                      <a:pt x="300336" y="0"/>
                    </a:cubicBezTo>
                    <a:cubicBezTo>
                      <a:pt x="300336" y="0"/>
                      <a:pt x="212360" y="69776"/>
                      <a:pt x="166854" y="78877"/>
                    </a:cubicBezTo>
                    <a:cubicBezTo>
                      <a:pt x="121348" y="87977"/>
                      <a:pt x="12134" y="84944"/>
                      <a:pt x="0" y="157753"/>
                    </a:cubicBezTo>
                    <a:lnTo>
                      <a:pt x="485393" y="157753"/>
                    </a:lnTo>
                    <a:cubicBezTo>
                      <a:pt x="485393" y="157753"/>
                      <a:pt x="506628" y="97079"/>
                      <a:pt x="485393" y="4550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86A209C2-C753-44FD-A96B-0C04FCF0A0B5}"/>
                  </a:ext>
                </a:extLst>
              </p:cNvPr>
              <p:cNvSpPr/>
              <p:nvPr/>
            </p:nvSpPr>
            <p:spPr>
              <a:xfrm>
                <a:off x="24332736" y="12187707"/>
                <a:ext cx="485393" cy="45505"/>
              </a:xfrm>
              <a:custGeom>
                <a:avLst/>
                <a:gdLst>
                  <a:gd name="connsiteX0" fmla="*/ 1 w 485393"/>
                  <a:gd name="connsiteY0" fmla="*/ 0 h 45505"/>
                  <a:gd name="connsiteX1" fmla="*/ 485394 w 485393"/>
                  <a:gd name="connsiteY1" fmla="*/ 0 h 45505"/>
                  <a:gd name="connsiteX2" fmla="*/ 485394 w 485393"/>
                  <a:gd name="connsiteY2" fmla="*/ 45506 h 45505"/>
                  <a:gd name="connsiteX3" fmla="*/ 1 w 485393"/>
                  <a:gd name="connsiteY3" fmla="*/ 45506 h 4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393" h="45505">
                    <a:moveTo>
                      <a:pt x="1" y="0"/>
                    </a:moveTo>
                    <a:lnTo>
                      <a:pt x="485394" y="0"/>
                    </a:lnTo>
                    <a:lnTo>
                      <a:pt x="485394" y="45506"/>
                    </a:lnTo>
                    <a:lnTo>
                      <a:pt x="1" y="45506"/>
                    </a:ln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F40EA5A4-9251-47EC-B66F-377C5C1E7257}"/>
                  </a:ext>
                </a:extLst>
              </p:cNvPr>
              <p:cNvSpPr/>
              <p:nvPr/>
            </p:nvSpPr>
            <p:spPr>
              <a:xfrm>
                <a:off x="24627764" y="12021612"/>
                <a:ext cx="199467" cy="62949"/>
              </a:xfrm>
              <a:custGeom>
                <a:avLst/>
                <a:gdLst>
                  <a:gd name="connsiteX0" fmla="*/ 156994 w 199467"/>
                  <a:gd name="connsiteY0" fmla="*/ 62950 h 62949"/>
                  <a:gd name="connsiteX1" fmla="*/ 2276 w 199467"/>
                  <a:gd name="connsiteY1" fmla="*/ 11376 h 62949"/>
                  <a:gd name="connsiteX2" fmla="*/ 2276 w 199467"/>
                  <a:gd name="connsiteY2" fmla="*/ 2275 h 62949"/>
                  <a:gd name="connsiteX3" fmla="*/ 11377 w 199467"/>
                  <a:gd name="connsiteY3" fmla="*/ 2275 h 62949"/>
                  <a:gd name="connsiteX4" fmla="*/ 193399 w 199467"/>
                  <a:gd name="connsiteY4" fmla="*/ 47781 h 62949"/>
                  <a:gd name="connsiteX5" fmla="*/ 199467 w 199467"/>
                  <a:gd name="connsiteY5" fmla="*/ 53848 h 62949"/>
                  <a:gd name="connsiteX6" fmla="*/ 193399 w 199467"/>
                  <a:gd name="connsiteY6" fmla="*/ 59916 h 62949"/>
                  <a:gd name="connsiteX7" fmla="*/ 156994 w 199467"/>
                  <a:gd name="connsiteY7" fmla="*/ 62950 h 62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9467" h="62949">
                    <a:moveTo>
                      <a:pt x="156994" y="62950"/>
                    </a:moveTo>
                    <a:cubicBezTo>
                      <a:pt x="117557" y="62950"/>
                      <a:pt x="50815" y="56882"/>
                      <a:pt x="2276" y="11376"/>
                    </a:cubicBezTo>
                    <a:cubicBezTo>
                      <a:pt x="-759" y="8342"/>
                      <a:pt x="-759" y="5308"/>
                      <a:pt x="2276" y="2275"/>
                    </a:cubicBezTo>
                    <a:cubicBezTo>
                      <a:pt x="5309" y="-758"/>
                      <a:pt x="8344" y="-758"/>
                      <a:pt x="11377" y="2275"/>
                    </a:cubicBezTo>
                    <a:cubicBezTo>
                      <a:pt x="78119" y="62950"/>
                      <a:pt x="190366" y="47781"/>
                      <a:pt x="193399" y="47781"/>
                    </a:cubicBezTo>
                    <a:cubicBezTo>
                      <a:pt x="196432" y="47781"/>
                      <a:pt x="199467" y="50814"/>
                      <a:pt x="199467" y="53848"/>
                    </a:cubicBezTo>
                    <a:cubicBezTo>
                      <a:pt x="199467" y="56882"/>
                      <a:pt x="196432" y="59916"/>
                      <a:pt x="193399" y="59916"/>
                    </a:cubicBezTo>
                    <a:cubicBezTo>
                      <a:pt x="190366" y="59916"/>
                      <a:pt x="178231" y="62950"/>
                      <a:pt x="156994" y="6295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9AAF3A38-7CB5-442D-9D59-0D85A6247B97}"/>
                  </a:ext>
                </a:extLst>
              </p:cNvPr>
              <p:cNvSpPr/>
              <p:nvPr/>
            </p:nvSpPr>
            <p:spPr>
              <a:xfrm>
                <a:off x="24591360" y="12045881"/>
                <a:ext cx="40954" cy="41713"/>
              </a:xfrm>
              <a:custGeom>
                <a:avLst/>
                <a:gdLst>
                  <a:gd name="connsiteX0" fmla="*/ 32612 w 40954"/>
                  <a:gd name="connsiteY0" fmla="*/ 41713 h 41713"/>
                  <a:gd name="connsiteX1" fmla="*/ 29579 w 40954"/>
                  <a:gd name="connsiteY1" fmla="*/ 38680 h 41713"/>
                  <a:gd name="connsiteX2" fmla="*/ 2275 w 40954"/>
                  <a:gd name="connsiteY2" fmla="*/ 11376 h 41713"/>
                  <a:gd name="connsiteX3" fmla="*/ 2275 w 40954"/>
                  <a:gd name="connsiteY3" fmla="*/ 2275 h 41713"/>
                  <a:gd name="connsiteX4" fmla="*/ 11375 w 40954"/>
                  <a:gd name="connsiteY4" fmla="*/ 2275 h 41713"/>
                  <a:gd name="connsiteX5" fmla="*/ 38680 w 40954"/>
                  <a:gd name="connsiteY5" fmla="*/ 29579 h 41713"/>
                  <a:gd name="connsiteX6" fmla="*/ 38680 w 40954"/>
                  <a:gd name="connsiteY6" fmla="*/ 38680 h 41713"/>
                  <a:gd name="connsiteX7" fmla="*/ 32612 w 40954"/>
                  <a:gd name="connsiteY7" fmla="*/ 41713 h 41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54" h="41713">
                    <a:moveTo>
                      <a:pt x="32612" y="41713"/>
                    </a:moveTo>
                    <a:cubicBezTo>
                      <a:pt x="32612" y="41713"/>
                      <a:pt x="29579" y="41713"/>
                      <a:pt x="29579" y="38680"/>
                    </a:cubicBezTo>
                    <a:lnTo>
                      <a:pt x="2275" y="11376"/>
                    </a:lnTo>
                    <a:cubicBezTo>
                      <a:pt x="-758" y="8343"/>
                      <a:pt x="-758" y="5309"/>
                      <a:pt x="2275" y="2275"/>
                    </a:cubicBezTo>
                    <a:cubicBezTo>
                      <a:pt x="5308" y="-758"/>
                      <a:pt x="8343" y="-758"/>
                      <a:pt x="11375" y="2275"/>
                    </a:cubicBezTo>
                    <a:lnTo>
                      <a:pt x="38680" y="29579"/>
                    </a:lnTo>
                    <a:cubicBezTo>
                      <a:pt x="41713" y="32612"/>
                      <a:pt x="41713" y="35646"/>
                      <a:pt x="38680" y="38680"/>
                    </a:cubicBezTo>
                    <a:cubicBezTo>
                      <a:pt x="35645" y="41713"/>
                      <a:pt x="35645" y="41713"/>
                      <a:pt x="32612" y="4171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A5B02DCF-2BBE-4F61-85F7-85F2DF4E3250}"/>
                  </a:ext>
                </a:extLst>
              </p:cNvPr>
              <p:cNvSpPr/>
              <p:nvPr/>
            </p:nvSpPr>
            <p:spPr>
              <a:xfrm>
                <a:off x="24554955" y="12073184"/>
                <a:ext cx="40954" cy="41714"/>
              </a:xfrm>
              <a:custGeom>
                <a:avLst/>
                <a:gdLst>
                  <a:gd name="connsiteX0" fmla="*/ 32612 w 40954"/>
                  <a:gd name="connsiteY0" fmla="*/ 41714 h 41714"/>
                  <a:gd name="connsiteX1" fmla="*/ 29579 w 40954"/>
                  <a:gd name="connsiteY1" fmla="*/ 38680 h 41714"/>
                  <a:gd name="connsiteX2" fmla="*/ 2275 w 40954"/>
                  <a:gd name="connsiteY2" fmla="*/ 11377 h 41714"/>
                  <a:gd name="connsiteX3" fmla="*/ 2275 w 40954"/>
                  <a:gd name="connsiteY3" fmla="*/ 2275 h 41714"/>
                  <a:gd name="connsiteX4" fmla="*/ 11375 w 40954"/>
                  <a:gd name="connsiteY4" fmla="*/ 2275 h 41714"/>
                  <a:gd name="connsiteX5" fmla="*/ 38680 w 40954"/>
                  <a:gd name="connsiteY5" fmla="*/ 29579 h 41714"/>
                  <a:gd name="connsiteX6" fmla="*/ 38680 w 40954"/>
                  <a:gd name="connsiteY6" fmla="*/ 38680 h 41714"/>
                  <a:gd name="connsiteX7" fmla="*/ 32612 w 40954"/>
                  <a:gd name="connsiteY7" fmla="*/ 41714 h 41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54" h="41714">
                    <a:moveTo>
                      <a:pt x="32612" y="41714"/>
                    </a:moveTo>
                    <a:cubicBezTo>
                      <a:pt x="32612" y="41714"/>
                      <a:pt x="29579" y="41714"/>
                      <a:pt x="29579" y="38680"/>
                    </a:cubicBezTo>
                    <a:lnTo>
                      <a:pt x="2275" y="11377"/>
                    </a:lnTo>
                    <a:cubicBezTo>
                      <a:pt x="-758" y="8343"/>
                      <a:pt x="-758" y="5309"/>
                      <a:pt x="2275" y="2275"/>
                    </a:cubicBezTo>
                    <a:cubicBezTo>
                      <a:pt x="5310" y="-758"/>
                      <a:pt x="8343" y="-758"/>
                      <a:pt x="11375" y="2275"/>
                    </a:cubicBezTo>
                    <a:lnTo>
                      <a:pt x="38680" y="29579"/>
                    </a:lnTo>
                    <a:cubicBezTo>
                      <a:pt x="41713" y="32612"/>
                      <a:pt x="41713" y="35646"/>
                      <a:pt x="38680" y="38680"/>
                    </a:cubicBezTo>
                    <a:cubicBezTo>
                      <a:pt x="35647" y="41714"/>
                      <a:pt x="32612" y="41714"/>
                      <a:pt x="32612" y="4171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图形 1">
              <a:extLst>
                <a:ext uri="{FF2B5EF4-FFF2-40B4-BE49-F238E27FC236}">
                  <a16:creationId xmlns:a16="http://schemas.microsoft.com/office/drawing/2014/main" id="{7C08AA0C-E4A4-4FF8-8D11-4E1F55BD37E3}"/>
                </a:ext>
              </a:extLst>
            </p:cNvPr>
            <p:cNvGrpSpPr/>
            <p:nvPr/>
          </p:nvGrpSpPr>
          <p:grpSpPr>
            <a:xfrm>
              <a:off x="23586444" y="11893437"/>
              <a:ext cx="494494" cy="339775"/>
              <a:chOff x="23586444" y="11893437"/>
              <a:chExt cx="494494" cy="339775"/>
            </a:xfrm>
          </p:grpSpPr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514F0D49-FA1C-49DC-9170-8AA0D9DB7F19}"/>
                  </a:ext>
                </a:extLst>
              </p:cNvPr>
              <p:cNvSpPr/>
              <p:nvPr/>
            </p:nvSpPr>
            <p:spPr>
              <a:xfrm>
                <a:off x="23862512" y="11893437"/>
                <a:ext cx="209324" cy="221461"/>
              </a:xfrm>
              <a:custGeom>
                <a:avLst/>
                <a:gdLst>
                  <a:gd name="connsiteX0" fmla="*/ 209325 w 209324"/>
                  <a:gd name="connsiteY0" fmla="*/ 182022 h 221461"/>
                  <a:gd name="connsiteX1" fmla="*/ 182022 w 209324"/>
                  <a:gd name="connsiteY1" fmla="*/ 0 h 221461"/>
                  <a:gd name="connsiteX2" fmla="*/ 0 w 209324"/>
                  <a:gd name="connsiteY2" fmla="*/ 0 h 221461"/>
                  <a:gd name="connsiteX3" fmla="*/ 48539 w 209324"/>
                  <a:gd name="connsiteY3" fmla="*/ 194157 h 221461"/>
                  <a:gd name="connsiteX4" fmla="*/ 197191 w 209324"/>
                  <a:gd name="connsiteY4" fmla="*/ 221461 h 221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324" h="221461">
                    <a:moveTo>
                      <a:pt x="209325" y="182022"/>
                    </a:moveTo>
                    <a:lnTo>
                      <a:pt x="182022" y="0"/>
                    </a:lnTo>
                    <a:lnTo>
                      <a:pt x="0" y="0"/>
                    </a:lnTo>
                    <a:lnTo>
                      <a:pt x="48539" y="194157"/>
                    </a:lnTo>
                    <a:lnTo>
                      <a:pt x="197191" y="221461"/>
                    </a:ln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712B4AD7-C043-41CD-BCBF-53DA51AF5D97}"/>
                  </a:ext>
                </a:extLst>
              </p:cNvPr>
              <p:cNvSpPr/>
              <p:nvPr/>
            </p:nvSpPr>
            <p:spPr>
              <a:xfrm>
                <a:off x="23586444" y="12029954"/>
                <a:ext cx="493483" cy="157753"/>
              </a:xfrm>
              <a:custGeom>
                <a:avLst/>
                <a:gdLst>
                  <a:gd name="connsiteX0" fmla="*/ 485393 w 493483"/>
                  <a:gd name="connsiteY0" fmla="*/ 45506 h 157753"/>
                  <a:gd name="connsiteX1" fmla="*/ 300338 w 493483"/>
                  <a:gd name="connsiteY1" fmla="*/ 0 h 157753"/>
                  <a:gd name="connsiteX2" fmla="*/ 166854 w 493483"/>
                  <a:gd name="connsiteY2" fmla="*/ 78877 h 157753"/>
                  <a:gd name="connsiteX3" fmla="*/ 0 w 493483"/>
                  <a:gd name="connsiteY3" fmla="*/ 157753 h 157753"/>
                  <a:gd name="connsiteX4" fmla="*/ 485393 w 493483"/>
                  <a:gd name="connsiteY4" fmla="*/ 157753 h 157753"/>
                  <a:gd name="connsiteX5" fmla="*/ 485393 w 493483"/>
                  <a:gd name="connsiteY5" fmla="*/ 45506 h 157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3483" h="157753">
                    <a:moveTo>
                      <a:pt x="485393" y="45506"/>
                    </a:moveTo>
                    <a:cubicBezTo>
                      <a:pt x="485393" y="45506"/>
                      <a:pt x="361012" y="63708"/>
                      <a:pt x="300338" y="0"/>
                    </a:cubicBezTo>
                    <a:cubicBezTo>
                      <a:pt x="300338" y="0"/>
                      <a:pt x="212360" y="69776"/>
                      <a:pt x="166854" y="78877"/>
                    </a:cubicBezTo>
                    <a:cubicBezTo>
                      <a:pt x="121348" y="87977"/>
                      <a:pt x="12136" y="84944"/>
                      <a:pt x="0" y="157753"/>
                    </a:cubicBezTo>
                    <a:lnTo>
                      <a:pt x="485393" y="157753"/>
                    </a:lnTo>
                    <a:cubicBezTo>
                      <a:pt x="485393" y="157753"/>
                      <a:pt x="503597" y="97079"/>
                      <a:pt x="485393" y="4550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75EABE7E-E6BC-4918-AF40-91E98996214F}"/>
                  </a:ext>
                </a:extLst>
              </p:cNvPr>
              <p:cNvSpPr/>
              <p:nvPr/>
            </p:nvSpPr>
            <p:spPr>
              <a:xfrm>
                <a:off x="23586444" y="12187707"/>
                <a:ext cx="485393" cy="45505"/>
              </a:xfrm>
              <a:custGeom>
                <a:avLst/>
                <a:gdLst>
                  <a:gd name="connsiteX0" fmla="*/ 0 w 485393"/>
                  <a:gd name="connsiteY0" fmla="*/ 0 h 45505"/>
                  <a:gd name="connsiteX1" fmla="*/ 485393 w 485393"/>
                  <a:gd name="connsiteY1" fmla="*/ 0 h 45505"/>
                  <a:gd name="connsiteX2" fmla="*/ 485393 w 485393"/>
                  <a:gd name="connsiteY2" fmla="*/ 45506 h 45505"/>
                  <a:gd name="connsiteX3" fmla="*/ 0 w 485393"/>
                  <a:gd name="connsiteY3" fmla="*/ 45506 h 4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393" h="45505">
                    <a:moveTo>
                      <a:pt x="0" y="0"/>
                    </a:moveTo>
                    <a:lnTo>
                      <a:pt x="485393" y="0"/>
                    </a:lnTo>
                    <a:lnTo>
                      <a:pt x="485393" y="45506"/>
                    </a:lnTo>
                    <a:lnTo>
                      <a:pt x="0" y="45506"/>
                    </a:ln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FD76F1D2-D143-4097-882C-E24F610FE3E0}"/>
                  </a:ext>
                </a:extLst>
              </p:cNvPr>
              <p:cNvSpPr/>
              <p:nvPr/>
            </p:nvSpPr>
            <p:spPr>
              <a:xfrm>
                <a:off x="23881472" y="12021612"/>
                <a:ext cx="199465" cy="62949"/>
              </a:xfrm>
              <a:custGeom>
                <a:avLst/>
                <a:gdLst>
                  <a:gd name="connsiteX0" fmla="*/ 156995 w 199465"/>
                  <a:gd name="connsiteY0" fmla="*/ 62950 h 62949"/>
                  <a:gd name="connsiteX1" fmla="*/ 2275 w 199465"/>
                  <a:gd name="connsiteY1" fmla="*/ 11376 h 62949"/>
                  <a:gd name="connsiteX2" fmla="*/ 2275 w 199465"/>
                  <a:gd name="connsiteY2" fmla="*/ 2275 h 62949"/>
                  <a:gd name="connsiteX3" fmla="*/ 11377 w 199465"/>
                  <a:gd name="connsiteY3" fmla="*/ 2275 h 62949"/>
                  <a:gd name="connsiteX4" fmla="*/ 193400 w 199465"/>
                  <a:gd name="connsiteY4" fmla="*/ 47781 h 62949"/>
                  <a:gd name="connsiteX5" fmla="*/ 199466 w 199465"/>
                  <a:gd name="connsiteY5" fmla="*/ 53848 h 62949"/>
                  <a:gd name="connsiteX6" fmla="*/ 193400 w 199465"/>
                  <a:gd name="connsiteY6" fmla="*/ 59916 h 62949"/>
                  <a:gd name="connsiteX7" fmla="*/ 156995 w 199465"/>
                  <a:gd name="connsiteY7" fmla="*/ 62950 h 62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9465" h="62949">
                    <a:moveTo>
                      <a:pt x="156995" y="62950"/>
                    </a:moveTo>
                    <a:cubicBezTo>
                      <a:pt x="117557" y="62950"/>
                      <a:pt x="50815" y="56882"/>
                      <a:pt x="2275" y="11376"/>
                    </a:cubicBezTo>
                    <a:cubicBezTo>
                      <a:pt x="-758" y="8342"/>
                      <a:pt x="-758" y="5308"/>
                      <a:pt x="2275" y="2275"/>
                    </a:cubicBezTo>
                    <a:cubicBezTo>
                      <a:pt x="5310" y="-758"/>
                      <a:pt x="8343" y="-758"/>
                      <a:pt x="11377" y="2275"/>
                    </a:cubicBezTo>
                    <a:cubicBezTo>
                      <a:pt x="78117" y="62950"/>
                      <a:pt x="190365" y="47781"/>
                      <a:pt x="193400" y="47781"/>
                    </a:cubicBezTo>
                    <a:cubicBezTo>
                      <a:pt x="196433" y="47781"/>
                      <a:pt x="199466" y="50814"/>
                      <a:pt x="199466" y="53848"/>
                    </a:cubicBezTo>
                    <a:cubicBezTo>
                      <a:pt x="199466" y="56882"/>
                      <a:pt x="196433" y="59916"/>
                      <a:pt x="193400" y="59916"/>
                    </a:cubicBezTo>
                    <a:cubicBezTo>
                      <a:pt x="190365" y="59916"/>
                      <a:pt x="175196" y="62950"/>
                      <a:pt x="156995" y="6295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24773CA3-CA69-411A-B184-B80BF853BE45}"/>
                  </a:ext>
                </a:extLst>
              </p:cNvPr>
              <p:cNvSpPr/>
              <p:nvPr/>
            </p:nvSpPr>
            <p:spPr>
              <a:xfrm>
                <a:off x="23845068" y="12045881"/>
                <a:ext cx="40955" cy="41713"/>
              </a:xfrm>
              <a:custGeom>
                <a:avLst/>
                <a:gdLst>
                  <a:gd name="connsiteX0" fmla="*/ 32613 w 40955"/>
                  <a:gd name="connsiteY0" fmla="*/ 41713 h 41713"/>
                  <a:gd name="connsiteX1" fmla="*/ 29578 w 40955"/>
                  <a:gd name="connsiteY1" fmla="*/ 38680 h 41713"/>
                  <a:gd name="connsiteX2" fmla="*/ 2276 w 40955"/>
                  <a:gd name="connsiteY2" fmla="*/ 11376 h 41713"/>
                  <a:gd name="connsiteX3" fmla="*/ 2276 w 40955"/>
                  <a:gd name="connsiteY3" fmla="*/ 2275 h 41713"/>
                  <a:gd name="connsiteX4" fmla="*/ 11377 w 40955"/>
                  <a:gd name="connsiteY4" fmla="*/ 2275 h 41713"/>
                  <a:gd name="connsiteX5" fmla="*/ 38679 w 40955"/>
                  <a:gd name="connsiteY5" fmla="*/ 29579 h 41713"/>
                  <a:gd name="connsiteX6" fmla="*/ 38679 w 40955"/>
                  <a:gd name="connsiteY6" fmla="*/ 38680 h 41713"/>
                  <a:gd name="connsiteX7" fmla="*/ 32613 w 40955"/>
                  <a:gd name="connsiteY7" fmla="*/ 41713 h 41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55" h="41713">
                    <a:moveTo>
                      <a:pt x="32613" y="41713"/>
                    </a:moveTo>
                    <a:cubicBezTo>
                      <a:pt x="32613" y="41713"/>
                      <a:pt x="29578" y="41713"/>
                      <a:pt x="29578" y="38680"/>
                    </a:cubicBezTo>
                    <a:lnTo>
                      <a:pt x="2276" y="11376"/>
                    </a:lnTo>
                    <a:cubicBezTo>
                      <a:pt x="-759" y="8343"/>
                      <a:pt x="-759" y="5309"/>
                      <a:pt x="2276" y="2275"/>
                    </a:cubicBezTo>
                    <a:cubicBezTo>
                      <a:pt x="5309" y="-758"/>
                      <a:pt x="8342" y="-758"/>
                      <a:pt x="11377" y="2275"/>
                    </a:cubicBezTo>
                    <a:lnTo>
                      <a:pt x="38679" y="29579"/>
                    </a:lnTo>
                    <a:cubicBezTo>
                      <a:pt x="41714" y="32612"/>
                      <a:pt x="41714" y="35646"/>
                      <a:pt x="38679" y="38680"/>
                    </a:cubicBezTo>
                    <a:cubicBezTo>
                      <a:pt x="35646" y="41713"/>
                      <a:pt x="35646" y="41713"/>
                      <a:pt x="32613" y="4171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8716B11E-2A2E-424B-9C87-B49FCBAFA217}"/>
                  </a:ext>
                </a:extLst>
              </p:cNvPr>
              <p:cNvSpPr/>
              <p:nvPr/>
            </p:nvSpPr>
            <p:spPr>
              <a:xfrm>
                <a:off x="23808663" y="12073184"/>
                <a:ext cx="40955" cy="41714"/>
              </a:xfrm>
              <a:custGeom>
                <a:avLst/>
                <a:gdLst>
                  <a:gd name="connsiteX0" fmla="*/ 32613 w 40955"/>
                  <a:gd name="connsiteY0" fmla="*/ 41714 h 41714"/>
                  <a:gd name="connsiteX1" fmla="*/ 29578 w 40955"/>
                  <a:gd name="connsiteY1" fmla="*/ 38680 h 41714"/>
                  <a:gd name="connsiteX2" fmla="*/ 2276 w 40955"/>
                  <a:gd name="connsiteY2" fmla="*/ 11377 h 41714"/>
                  <a:gd name="connsiteX3" fmla="*/ 2276 w 40955"/>
                  <a:gd name="connsiteY3" fmla="*/ 2275 h 41714"/>
                  <a:gd name="connsiteX4" fmla="*/ 11377 w 40955"/>
                  <a:gd name="connsiteY4" fmla="*/ 2275 h 41714"/>
                  <a:gd name="connsiteX5" fmla="*/ 38681 w 40955"/>
                  <a:gd name="connsiteY5" fmla="*/ 29579 h 41714"/>
                  <a:gd name="connsiteX6" fmla="*/ 38681 w 40955"/>
                  <a:gd name="connsiteY6" fmla="*/ 38680 h 41714"/>
                  <a:gd name="connsiteX7" fmla="*/ 32613 w 40955"/>
                  <a:gd name="connsiteY7" fmla="*/ 41714 h 41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55" h="41714">
                    <a:moveTo>
                      <a:pt x="32613" y="41714"/>
                    </a:moveTo>
                    <a:cubicBezTo>
                      <a:pt x="32613" y="41714"/>
                      <a:pt x="29578" y="41714"/>
                      <a:pt x="29578" y="38680"/>
                    </a:cubicBezTo>
                    <a:lnTo>
                      <a:pt x="2276" y="11377"/>
                    </a:lnTo>
                    <a:cubicBezTo>
                      <a:pt x="-759" y="8343"/>
                      <a:pt x="-759" y="5309"/>
                      <a:pt x="2276" y="2275"/>
                    </a:cubicBezTo>
                    <a:cubicBezTo>
                      <a:pt x="5309" y="-758"/>
                      <a:pt x="8344" y="-758"/>
                      <a:pt x="11377" y="2275"/>
                    </a:cubicBezTo>
                    <a:lnTo>
                      <a:pt x="38681" y="29579"/>
                    </a:lnTo>
                    <a:cubicBezTo>
                      <a:pt x="41714" y="32612"/>
                      <a:pt x="41714" y="35646"/>
                      <a:pt x="38681" y="38680"/>
                    </a:cubicBezTo>
                    <a:cubicBezTo>
                      <a:pt x="35646" y="41714"/>
                      <a:pt x="32613" y="41714"/>
                      <a:pt x="32613" y="4171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9037AD10-6FB0-4AB0-8F86-2D942AB8D0FD}"/>
                </a:ext>
              </a:extLst>
            </p:cNvPr>
            <p:cNvSpPr/>
            <p:nvPr/>
          </p:nvSpPr>
          <p:spPr>
            <a:xfrm>
              <a:off x="23659263" y="9684898"/>
              <a:ext cx="1189204" cy="2293483"/>
            </a:xfrm>
            <a:custGeom>
              <a:avLst/>
              <a:gdLst>
                <a:gd name="connsiteX0" fmla="*/ 109204 w 1189204"/>
                <a:gd name="connsiteY0" fmla="*/ 24269 h 2293483"/>
                <a:gd name="connsiteX1" fmla="*/ 6059 w 1189204"/>
                <a:gd name="connsiteY1" fmla="*/ 1413708 h 2293483"/>
                <a:gd name="connsiteX2" fmla="*/ 157744 w 1189204"/>
                <a:gd name="connsiteY2" fmla="*/ 2287416 h 2293483"/>
                <a:gd name="connsiteX3" fmla="*/ 452012 w 1189204"/>
                <a:gd name="connsiteY3" fmla="*/ 2287416 h 2293483"/>
                <a:gd name="connsiteX4" fmla="*/ 406507 w 1189204"/>
                <a:gd name="connsiteY4" fmla="*/ 1437977 h 2293483"/>
                <a:gd name="connsiteX5" fmla="*/ 600665 w 1189204"/>
                <a:gd name="connsiteY5" fmla="*/ 503596 h 2293483"/>
                <a:gd name="connsiteX6" fmla="*/ 682575 w 1189204"/>
                <a:gd name="connsiteY6" fmla="*/ 1465281 h 2293483"/>
                <a:gd name="connsiteX7" fmla="*/ 897968 w 1189204"/>
                <a:gd name="connsiteY7" fmla="*/ 2269213 h 2293483"/>
                <a:gd name="connsiteX8" fmla="*/ 1189205 w 1189204"/>
                <a:gd name="connsiteY8" fmla="*/ 2293483 h 2293483"/>
                <a:gd name="connsiteX9" fmla="*/ 1079990 w 1189204"/>
                <a:gd name="connsiteY9" fmla="*/ 1444045 h 2293483"/>
                <a:gd name="connsiteX10" fmla="*/ 1119428 w 1189204"/>
                <a:gd name="connsiteY10" fmla="*/ 0 h 2293483"/>
                <a:gd name="connsiteX11" fmla="*/ 109204 w 1189204"/>
                <a:gd name="connsiteY11" fmla="*/ 24269 h 2293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9204" h="2293483">
                  <a:moveTo>
                    <a:pt x="109204" y="24269"/>
                  </a:moveTo>
                  <a:cubicBezTo>
                    <a:pt x="109204" y="24269"/>
                    <a:pt x="-30346" y="1104270"/>
                    <a:pt x="6059" y="1413708"/>
                  </a:cubicBezTo>
                  <a:cubicBezTo>
                    <a:pt x="36396" y="1683708"/>
                    <a:pt x="157744" y="2287416"/>
                    <a:pt x="157744" y="2287416"/>
                  </a:cubicBezTo>
                  <a:lnTo>
                    <a:pt x="452012" y="2287416"/>
                  </a:lnTo>
                  <a:cubicBezTo>
                    <a:pt x="452012" y="2287416"/>
                    <a:pt x="400441" y="1535056"/>
                    <a:pt x="406507" y="1437977"/>
                  </a:cubicBezTo>
                  <a:cubicBezTo>
                    <a:pt x="412574" y="1298427"/>
                    <a:pt x="588529" y="533933"/>
                    <a:pt x="600665" y="503596"/>
                  </a:cubicBezTo>
                  <a:cubicBezTo>
                    <a:pt x="615833" y="473259"/>
                    <a:pt x="682575" y="1465281"/>
                    <a:pt x="682575" y="1465281"/>
                  </a:cubicBezTo>
                  <a:lnTo>
                    <a:pt x="897968" y="2269213"/>
                  </a:lnTo>
                  <a:lnTo>
                    <a:pt x="1189205" y="2293483"/>
                  </a:lnTo>
                  <a:cubicBezTo>
                    <a:pt x="1189205" y="2293483"/>
                    <a:pt x="1076957" y="1544157"/>
                    <a:pt x="1079990" y="1444045"/>
                  </a:cubicBezTo>
                  <a:cubicBezTo>
                    <a:pt x="1089091" y="1292360"/>
                    <a:pt x="1164934" y="97078"/>
                    <a:pt x="1119428" y="0"/>
                  </a:cubicBezTo>
                  <a:cubicBezTo>
                    <a:pt x="433811" y="36404"/>
                    <a:pt x="109204" y="24269"/>
                    <a:pt x="109204" y="24269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41F6279-2CBD-4EFE-AA23-7551A70E2ED1}"/>
                </a:ext>
              </a:extLst>
            </p:cNvPr>
            <p:cNvSpPr/>
            <p:nvPr/>
          </p:nvSpPr>
          <p:spPr>
            <a:xfrm>
              <a:off x="24199253" y="9833550"/>
              <a:ext cx="69774" cy="361011"/>
            </a:xfrm>
            <a:custGeom>
              <a:avLst/>
              <a:gdLst>
                <a:gd name="connsiteX0" fmla="*/ 63707 w 69774"/>
                <a:gd name="connsiteY0" fmla="*/ 361011 h 361011"/>
                <a:gd name="connsiteX1" fmla="*/ 57641 w 69774"/>
                <a:gd name="connsiteY1" fmla="*/ 357977 h 361011"/>
                <a:gd name="connsiteX2" fmla="*/ 0 w 69774"/>
                <a:gd name="connsiteY2" fmla="*/ 6068 h 361011"/>
                <a:gd name="connsiteX3" fmla="*/ 6068 w 69774"/>
                <a:gd name="connsiteY3" fmla="*/ 0 h 361011"/>
                <a:gd name="connsiteX4" fmla="*/ 6068 w 69774"/>
                <a:gd name="connsiteY4" fmla="*/ 0 h 361011"/>
                <a:gd name="connsiteX5" fmla="*/ 12136 w 69774"/>
                <a:gd name="connsiteY5" fmla="*/ 6068 h 361011"/>
                <a:gd name="connsiteX6" fmla="*/ 69775 w 69774"/>
                <a:gd name="connsiteY6" fmla="*/ 354944 h 361011"/>
                <a:gd name="connsiteX7" fmla="*/ 63707 w 69774"/>
                <a:gd name="connsiteY7" fmla="*/ 361011 h 361011"/>
                <a:gd name="connsiteX8" fmla="*/ 63707 w 69774"/>
                <a:gd name="connsiteY8" fmla="*/ 361011 h 361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774" h="361011">
                  <a:moveTo>
                    <a:pt x="63707" y="361011"/>
                  </a:moveTo>
                  <a:cubicBezTo>
                    <a:pt x="60674" y="361011"/>
                    <a:pt x="60674" y="361011"/>
                    <a:pt x="57641" y="357977"/>
                  </a:cubicBezTo>
                  <a:cubicBezTo>
                    <a:pt x="9101" y="242697"/>
                    <a:pt x="0" y="15169"/>
                    <a:pt x="0" y="6068"/>
                  </a:cubicBezTo>
                  <a:cubicBezTo>
                    <a:pt x="0" y="3034"/>
                    <a:pt x="3033" y="0"/>
                    <a:pt x="6068" y="0"/>
                  </a:cubicBezTo>
                  <a:lnTo>
                    <a:pt x="6068" y="0"/>
                  </a:lnTo>
                  <a:cubicBezTo>
                    <a:pt x="9101" y="0"/>
                    <a:pt x="12136" y="3034"/>
                    <a:pt x="12136" y="6068"/>
                  </a:cubicBezTo>
                  <a:cubicBezTo>
                    <a:pt x="12136" y="9101"/>
                    <a:pt x="21236" y="242697"/>
                    <a:pt x="69775" y="354944"/>
                  </a:cubicBezTo>
                  <a:cubicBezTo>
                    <a:pt x="69775" y="357977"/>
                    <a:pt x="69775" y="361011"/>
                    <a:pt x="63707" y="361011"/>
                  </a:cubicBezTo>
                  <a:cubicBezTo>
                    <a:pt x="66742" y="361011"/>
                    <a:pt x="63707" y="361011"/>
                    <a:pt x="63707" y="361011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CD761795-5938-43B9-AAED-87F14B89A4FC}"/>
                </a:ext>
              </a:extLst>
            </p:cNvPr>
            <p:cNvSpPr/>
            <p:nvPr/>
          </p:nvSpPr>
          <p:spPr>
            <a:xfrm>
              <a:off x="24090040" y="9766808"/>
              <a:ext cx="154718" cy="351910"/>
            </a:xfrm>
            <a:custGeom>
              <a:avLst/>
              <a:gdLst>
                <a:gd name="connsiteX0" fmla="*/ 145618 w 154718"/>
                <a:gd name="connsiteY0" fmla="*/ 351910 h 351910"/>
                <a:gd name="connsiteX1" fmla="*/ 142583 w 154718"/>
                <a:gd name="connsiteY1" fmla="*/ 351910 h 351910"/>
                <a:gd name="connsiteX2" fmla="*/ 33370 w 154718"/>
                <a:gd name="connsiteY2" fmla="*/ 273034 h 351910"/>
                <a:gd name="connsiteX3" fmla="*/ 0 w 154718"/>
                <a:gd name="connsiteY3" fmla="*/ 6068 h 351910"/>
                <a:gd name="connsiteX4" fmla="*/ 6066 w 154718"/>
                <a:gd name="connsiteY4" fmla="*/ 0 h 351910"/>
                <a:gd name="connsiteX5" fmla="*/ 6066 w 154718"/>
                <a:gd name="connsiteY5" fmla="*/ 0 h 351910"/>
                <a:gd name="connsiteX6" fmla="*/ 12134 w 154718"/>
                <a:gd name="connsiteY6" fmla="*/ 6068 h 351910"/>
                <a:gd name="connsiteX7" fmla="*/ 45506 w 154718"/>
                <a:gd name="connsiteY7" fmla="*/ 266967 h 351910"/>
                <a:gd name="connsiteX8" fmla="*/ 151685 w 154718"/>
                <a:gd name="connsiteY8" fmla="*/ 342810 h 351910"/>
                <a:gd name="connsiteX9" fmla="*/ 154718 w 154718"/>
                <a:gd name="connsiteY9" fmla="*/ 351910 h 351910"/>
                <a:gd name="connsiteX10" fmla="*/ 145618 w 154718"/>
                <a:gd name="connsiteY10" fmla="*/ 351910 h 351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4718" h="351910">
                  <a:moveTo>
                    <a:pt x="145618" y="351910"/>
                  </a:moveTo>
                  <a:cubicBezTo>
                    <a:pt x="145618" y="351910"/>
                    <a:pt x="142583" y="351910"/>
                    <a:pt x="142583" y="351910"/>
                  </a:cubicBezTo>
                  <a:cubicBezTo>
                    <a:pt x="133482" y="345843"/>
                    <a:pt x="45506" y="288202"/>
                    <a:pt x="33370" y="273034"/>
                  </a:cubicBezTo>
                  <a:cubicBezTo>
                    <a:pt x="21234" y="257865"/>
                    <a:pt x="3033" y="48540"/>
                    <a:pt x="0" y="6068"/>
                  </a:cubicBezTo>
                  <a:cubicBezTo>
                    <a:pt x="0" y="3034"/>
                    <a:pt x="3033" y="0"/>
                    <a:pt x="6066" y="0"/>
                  </a:cubicBezTo>
                  <a:cubicBezTo>
                    <a:pt x="6066" y="0"/>
                    <a:pt x="6066" y="0"/>
                    <a:pt x="6066" y="0"/>
                  </a:cubicBezTo>
                  <a:cubicBezTo>
                    <a:pt x="9101" y="0"/>
                    <a:pt x="12134" y="3034"/>
                    <a:pt x="12134" y="6068"/>
                  </a:cubicBezTo>
                  <a:cubicBezTo>
                    <a:pt x="21234" y="100113"/>
                    <a:pt x="36403" y="254832"/>
                    <a:pt x="45506" y="266967"/>
                  </a:cubicBezTo>
                  <a:cubicBezTo>
                    <a:pt x="54606" y="276068"/>
                    <a:pt x="112246" y="318539"/>
                    <a:pt x="151685" y="342810"/>
                  </a:cubicBezTo>
                  <a:cubicBezTo>
                    <a:pt x="154718" y="345843"/>
                    <a:pt x="154718" y="348876"/>
                    <a:pt x="154718" y="351910"/>
                  </a:cubicBezTo>
                  <a:cubicBezTo>
                    <a:pt x="148651" y="348876"/>
                    <a:pt x="145618" y="351910"/>
                    <a:pt x="145618" y="351910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6" name="图形 1">
              <a:extLst>
                <a:ext uri="{FF2B5EF4-FFF2-40B4-BE49-F238E27FC236}">
                  <a16:creationId xmlns:a16="http://schemas.microsoft.com/office/drawing/2014/main" id="{7C8E4EF9-02EA-4094-B6F2-E0813559BB1B}"/>
                </a:ext>
              </a:extLst>
            </p:cNvPr>
            <p:cNvGrpSpPr/>
            <p:nvPr/>
          </p:nvGrpSpPr>
          <p:grpSpPr>
            <a:xfrm>
              <a:off x="21666967" y="9496808"/>
              <a:ext cx="2013522" cy="2370233"/>
              <a:chOff x="21666967" y="9496808"/>
              <a:chExt cx="2013522" cy="2370233"/>
            </a:xfrm>
          </p:grpSpPr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3F658BE1-7529-41AC-86C7-69465FA2C575}"/>
                  </a:ext>
                </a:extLst>
              </p:cNvPr>
              <p:cNvSpPr/>
              <p:nvPr/>
            </p:nvSpPr>
            <p:spPr>
              <a:xfrm>
                <a:off x="21666967" y="11150179"/>
                <a:ext cx="724196" cy="716862"/>
              </a:xfrm>
              <a:custGeom>
                <a:avLst/>
                <a:gdLst>
                  <a:gd name="connsiteX0" fmla="*/ 724197 w 724196"/>
                  <a:gd name="connsiteY0" fmla="*/ 376180 h 716862"/>
                  <a:gd name="connsiteX1" fmla="*/ 253972 w 724196"/>
                  <a:gd name="connsiteY1" fmla="*/ 0 h 716862"/>
                  <a:gd name="connsiteX2" fmla="*/ 56781 w 724196"/>
                  <a:gd name="connsiteY2" fmla="*/ 245731 h 716862"/>
                  <a:gd name="connsiteX3" fmla="*/ 5207 w 724196"/>
                  <a:gd name="connsiteY3" fmla="*/ 455056 h 716862"/>
                  <a:gd name="connsiteX4" fmla="*/ 93184 w 724196"/>
                  <a:gd name="connsiteY4" fmla="*/ 682584 h 716862"/>
                  <a:gd name="connsiteX5" fmla="*/ 335880 w 724196"/>
                  <a:gd name="connsiteY5" fmla="*/ 715955 h 716862"/>
                  <a:gd name="connsiteX6" fmla="*/ 530038 w 724196"/>
                  <a:gd name="connsiteY6" fmla="*/ 618876 h 716862"/>
                  <a:gd name="connsiteX7" fmla="*/ 724197 w 724196"/>
                  <a:gd name="connsiteY7" fmla="*/ 376180 h 716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24196" h="716862">
                    <a:moveTo>
                      <a:pt x="724197" y="376180"/>
                    </a:moveTo>
                    <a:lnTo>
                      <a:pt x="253972" y="0"/>
                    </a:lnTo>
                    <a:lnTo>
                      <a:pt x="56781" y="245731"/>
                    </a:lnTo>
                    <a:cubicBezTo>
                      <a:pt x="8240" y="303371"/>
                      <a:pt x="-9961" y="382247"/>
                      <a:pt x="5207" y="455056"/>
                    </a:cubicBezTo>
                    <a:cubicBezTo>
                      <a:pt x="23409" y="543034"/>
                      <a:pt x="50713" y="652247"/>
                      <a:pt x="93184" y="682584"/>
                    </a:cubicBezTo>
                    <a:cubicBezTo>
                      <a:pt x="132623" y="715955"/>
                      <a:pt x="244869" y="718989"/>
                      <a:pt x="335880" y="715955"/>
                    </a:cubicBezTo>
                    <a:cubicBezTo>
                      <a:pt x="411723" y="712921"/>
                      <a:pt x="481500" y="679550"/>
                      <a:pt x="530038" y="618876"/>
                    </a:cubicBezTo>
                    <a:lnTo>
                      <a:pt x="724197" y="376180"/>
                    </a:lnTo>
                    <a:close/>
                  </a:path>
                </a:pathLst>
              </a:custGeom>
              <a:solidFill>
                <a:srgbClr val="F6EBE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539A186A-7C25-4A42-A2CE-247D44037BFD}"/>
                  </a:ext>
                </a:extLst>
              </p:cNvPr>
              <p:cNvSpPr/>
              <p:nvPr/>
            </p:nvSpPr>
            <p:spPr>
              <a:xfrm>
                <a:off x="23310389" y="9496808"/>
                <a:ext cx="370101" cy="367473"/>
              </a:xfrm>
              <a:custGeom>
                <a:avLst/>
                <a:gdLst>
                  <a:gd name="connsiteX0" fmla="*/ 269987 w 370101"/>
                  <a:gd name="connsiteY0" fmla="*/ 315505 h 367473"/>
                  <a:gd name="connsiteX1" fmla="*/ 166842 w 370101"/>
                  <a:gd name="connsiteY1" fmla="*/ 367079 h 367473"/>
                  <a:gd name="connsiteX2" fmla="*/ 51562 w 370101"/>
                  <a:gd name="connsiteY2" fmla="*/ 345843 h 367473"/>
                  <a:gd name="connsiteX3" fmla="*/ 3021 w 370101"/>
                  <a:gd name="connsiteY3" fmla="*/ 236630 h 367473"/>
                  <a:gd name="connsiteX4" fmla="*/ 30326 w 370101"/>
                  <a:gd name="connsiteY4" fmla="*/ 124382 h 367473"/>
                  <a:gd name="connsiteX5" fmla="*/ 130438 w 370101"/>
                  <a:gd name="connsiteY5" fmla="*/ 0 h 367473"/>
                  <a:gd name="connsiteX6" fmla="*/ 370101 w 370101"/>
                  <a:gd name="connsiteY6" fmla="*/ 191124 h 367473"/>
                  <a:gd name="connsiteX7" fmla="*/ 269987 w 370101"/>
                  <a:gd name="connsiteY7" fmla="*/ 315505 h 367473"/>
                  <a:gd name="connsiteX8" fmla="*/ 94033 w 370101"/>
                  <a:gd name="connsiteY8" fmla="*/ 172922 h 367473"/>
                  <a:gd name="connsiteX9" fmla="*/ 81899 w 370101"/>
                  <a:gd name="connsiteY9" fmla="*/ 215393 h 367473"/>
                  <a:gd name="connsiteX10" fmla="*/ 100100 w 370101"/>
                  <a:gd name="connsiteY10" fmla="*/ 276068 h 367473"/>
                  <a:gd name="connsiteX11" fmla="*/ 163808 w 370101"/>
                  <a:gd name="connsiteY11" fmla="*/ 279102 h 367473"/>
                  <a:gd name="connsiteX12" fmla="*/ 203247 w 370101"/>
                  <a:gd name="connsiteY12" fmla="*/ 257865 h 367473"/>
                  <a:gd name="connsiteX13" fmla="*/ 251786 w 370101"/>
                  <a:gd name="connsiteY13" fmla="*/ 200225 h 367473"/>
                  <a:gd name="connsiteX14" fmla="*/ 142573 w 370101"/>
                  <a:gd name="connsiteY14" fmla="*/ 112248 h 367473"/>
                  <a:gd name="connsiteX15" fmla="*/ 94033 w 370101"/>
                  <a:gd name="connsiteY15" fmla="*/ 172922 h 36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70101" h="367473">
                    <a:moveTo>
                      <a:pt x="269987" y="315505"/>
                    </a:moveTo>
                    <a:cubicBezTo>
                      <a:pt x="245718" y="345843"/>
                      <a:pt x="206280" y="367079"/>
                      <a:pt x="166842" y="367079"/>
                    </a:cubicBezTo>
                    <a:cubicBezTo>
                      <a:pt x="91000" y="370113"/>
                      <a:pt x="63696" y="354944"/>
                      <a:pt x="51562" y="345843"/>
                    </a:cubicBezTo>
                    <a:cubicBezTo>
                      <a:pt x="36393" y="333708"/>
                      <a:pt x="18190" y="312472"/>
                      <a:pt x="3021" y="236630"/>
                    </a:cubicBezTo>
                    <a:cubicBezTo>
                      <a:pt x="-6079" y="197191"/>
                      <a:pt x="6056" y="154719"/>
                      <a:pt x="30326" y="124382"/>
                    </a:cubicBezTo>
                    <a:lnTo>
                      <a:pt x="130438" y="0"/>
                    </a:lnTo>
                    <a:lnTo>
                      <a:pt x="370101" y="191124"/>
                    </a:lnTo>
                    <a:lnTo>
                      <a:pt x="269987" y="315505"/>
                    </a:lnTo>
                    <a:close/>
                    <a:moveTo>
                      <a:pt x="94033" y="172922"/>
                    </a:moveTo>
                    <a:cubicBezTo>
                      <a:pt x="84932" y="185056"/>
                      <a:pt x="78864" y="200225"/>
                      <a:pt x="81899" y="215393"/>
                    </a:cubicBezTo>
                    <a:cubicBezTo>
                      <a:pt x="91000" y="254831"/>
                      <a:pt x="97067" y="270000"/>
                      <a:pt x="100100" y="276068"/>
                    </a:cubicBezTo>
                    <a:cubicBezTo>
                      <a:pt x="106168" y="279102"/>
                      <a:pt x="124370" y="282135"/>
                      <a:pt x="163808" y="279102"/>
                    </a:cubicBezTo>
                    <a:cubicBezTo>
                      <a:pt x="178976" y="279102"/>
                      <a:pt x="194145" y="270000"/>
                      <a:pt x="203247" y="257865"/>
                    </a:cubicBezTo>
                    <a:lnTo>
                      <a:pt x="251786" y="200225"/>
                    </a:lnTo>
                    <a:lnTo>
                      <a:pt x="142573" y="112248"/>
                    </a:lnTo>
                    <a:lnTo>
                      <a:pt x="94033" y="172922"/>
                    </a:lnTo>
                    <a:close/>
                  </a:path>
                </a:pathLst>
              </a:custGeom>
              <a:solidFill>
                <a:srgbClr val="7F95BC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B8AE3DC4-842B-4C7D-81F0-7FAC732DE7B7}"/>
                  </a:ext>
                </a:extLst>
              </p:cNvPr>
              <p:cNvSpPr/>
              <p:nvPr/>
            </p:nvSpPr>
            <p:spPr>
              <a:xfrm>
                <a:off x="21926403" y="11135010"/>
                <a:ext cx="404086" cy="484360"/>
              </a:xfrm>
              <a:custGeom>
                <a:avLst/>
                <a:gdLst>
                  <a:gd name="connsiteX0" fmla="*/ 404087 w 404086"/>
                  <a:gd name="connsiteY0" fmla="*/ 66742 h 484360"/>
                  <a:gd name="connsiteX1" fmla="*/ 322177 w 404086"/>
                  <a:gd name="connsiteY1" fmla="*/ 0 h 484360"/>
                  <a:gd name="connsiteX2" fmla="*/ 85548 w 404086"/>
                  <a:gd name="connsiteY2" fmla="*/ 297304 h 484360"/>
                  <a:gd name="connsiteX3" fmla="*/ 24873 w 404086"/>
                  <a:gd name="connsiteY3" fmla="*/ 406517 h 484360"/>
                  <a:gd name="connsiteX4" fmla="*/ 602 w 404086"/>
                  <a:gd name="connsiteY4" fmla="*/ 473259 h 484360"/>
                  <a:gd name="connsiteX5" fmla="*/ 12738 w 404086"/>
                  <a:gd name="connsiteY5" fmla="*/ 482359 h 484360"/>
                  <a:gd name="connsiteX6" fmla="*/ 73412 w 404086"/>
                  <a:gd name="connsiteY6" fmla="*/ 445955 h 484360"/>
                  <a:gd name="connsiteX7" fmla="*/ 167456 w 404086"/>
                  <a:gd name="connsiteY7" fmla="*/ 364045 h 484360"/>
                  <a:gd name="connsiteX8" fmla="*/ 404087 w 404086"/>
                  <a:gd name="connsiteY8" fmla="*/ 66742 h 484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4086" h="484360">
                    <a:moveTo>
                      <a:pt x="404087" y="66742"/>
                    </a:moveTo>
                    <a:lnTo>
                      <a:pt x="322177" y="0"/>
                    </a:lnTo>
                    <a:lnTo>
                      <a:pt x="85548" y="297304"/>
                    </a:lnTo>
                    <a:cubicBezTo>
                      <a:pt x="58244" y="330674"/>
                      <a:pt x="40042" y="367079"/>
                      <a:pt x="24873" y="406517"/>
                    </a:cubicBezTo>
                    <a:lnTo>
                      <a:pt x="602" y="473259"/>
                    </a:lnTo>
                    <a:cubicBezTo>
                      <a:pt x="-2431" y="479326"/>
                      <a:pt x="6670" y="488427"/>
                      <a:pt x="12738" y="482359"/>
                    </a:cubicBezTo>
                    <a:lnTo>
                      <a:pt x="73412" y="445955"/>
                    </a:lnTo>
                    <a:cubicBezTo>
                      <a:pt x="109817" y="424719"/>
                      <a:pt x="140154" y="394382"/>
                      <a:pt x="167456" y="364045"/>
                    </a:cubicBezTo>
                    <a:lnTo>
                      <a:pt x="404087" y="66742"/>
                    </a:lnTo>
                    <a:close/>
                  </a:path>
                </a:pathLst>
              </a:custGeom>
              <a:solidFill>
                <a:srgbClr val="7F95BC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04C50648-7EA3-43B1-B6A2-0EFB25194462}"/>
                  </a:ext>
                </a:extLst>
              </p:cNvPr>
              <p:cNvSpPr/>
              <p:nvPr/>
            </p:nvSpPr>
            <p:spPr>
              <a:xfrm>
                <a:off x="22248579" y="9854786"/>
                <a:ext cx="1113371" cy="1346966"/>
              </a:xfrm>
              <a:custGeom>
                <a:avLst/>
                <a:gdLst>
                  <a:gd name="connsiteX0" fmla="*/ 1113371 w 1113371"/>
                  <a:gd name="connsiteY0" fmla="*/ 66741 h 1346966"/>
                  <a:gd name="connsiteX1" fmla="*/ 1031461 w 1113371"/>
                  <a:gd name="connsiteY1" fmla="*/ 0 h 1346966"/>
                  <a:gd name="connsiteX2" fmla="*/ 0 w 1113371"/>
                  <a:gd name="connsiteY2" fmla="*/ 1283258 h 1346966"/>
                  <a:gd name="connsiteX3" fmla="*/ 81910 w 1113371"/>
                  <a:gd name="connsiteY3" fmla="*/ 1346966 h 1346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3371" h="1346966">
                    <a:moveTo>
                      <a:pt x="1113371" y="66741"/>
                    </a:moveTo>
                    <a:lnTo>
                      <a:pt x="1031461" y="0"/>
                    </a:lnTo>
                    <a:lnTo>
                      <a:pt x="0" y="1283258"/>
                    </a:lnTo>
                    <a:lnTo>
                      <a:pt x="81910" y="1346966"/>
                    </a:ln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F4D7B125-DC63-495E-84C2-712A7B185E74}"/>
                  </a:ext>
                </a:extLst>
              </p:cNvPr>
              <p:cNvSpPr/>
              <p:nvPr/>
            </p:nvSpPr>
            <p:spPr>
              <a:xfrm rot="2320018">
                <a:off x="23265914" y="9745519"/>
                <a:ext cx="106181" cy="294273"/>
              </a:xfrm>
              <a:custGeom>
                <a:avLst/>
                <a:gdLst>
                  <a:gd name="connsiteX0" fmla="*/ 0 w 106181"/>
                  <a:gd name="connsiteY0" fmla="*/ 0 h 294273"/>
                  <a:gd name="connsiteX1" fmla="*/ 106181 w 106181"/>
                  <a:gd name="connsiteY1" fmla="*/ 0 h 294273"/>
                  <a:gd name="connsiteX2" fmla="*/ 106181 w 106181"/>
                  <a:gd name="connsiteY2" fmla="*/ 294274 h 294273"/>
                  <a:gd name="connsiteX3" fmla="*/ 0 w 106181"/>
                  <a:gd name="connsiteY3" fmla="*/ 294274 h 294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6181" h="294273">
                    <a:moveTo>
                      <a:pt x="0" y="0"/>
                    </a:moveTo>
                    <a:lnTo>
                      <a:pt x="106181" y="0"/>
                    </a:lnTo>
                    <a:lnTo>
                      <a:pt x="106181" y="294274"/>
                    </a:lnTo>
                    <a:lnTo>
                      <a:pt x="0" y="294274"/>
                    </a:lnTo>
                    <a:close/>
                  </a:path>
                </a:pathLst>
              </a:custGeom>
              <a:solidFill>
                <a:srgbClr val="7F95BC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2C2650C1-2079-4C9B-B65B-4A4500C5302A}"/>
                </a:ext>
              </a:extLst>
            </p:cNvPr>
            <p:cNvSpPr/>
            <p:nvPr/>
          </p:nvSpPr>
          <p:spPr>
            <a:xfrm>
              <a:off x="19595601" y="11984448"/>
              <a:ext cx="396351" cy="235368"/>
            </a:xfrm>
            <a:custGeom>
              <a:avLst/>
              <a:gdLst>
                <a:gd name="connsiteX0" fmla="*/ 110732 w 396351"/>
                <a:gd name="connsiteY0" fmla="*/ 0 h 235368"/>
                <a:gd name="connsiteX1" fmla="*/ 1517 w 396351"/>
                <a:gd name="connsiteY1" fmla="*/ 9102 h 235368"/>
                <a:gd name="connsiteX2" fmla="*/ 7585 w 396351"/>
                <a:gd name="connsiteY2" fmla="*/ 151685 h 235368"/>
                <a:gd name="connsiteX3" fmla="*/ 241181 w 396351"/>
                <a:gd name="connsiteY3" fmla="*/ 230562 h 235368"/>
                <a:gd name="connsiteX4" fmla="*/ 377697 w 396351"/>
                <a:gd name="connsiteY4" fmla="*/ 230562 h 235368"/>
                <a:gd name="connsiteX5" fmla="*/ 383765 w 396351"/>
                <a:gd name="connsiteY5" fmla="*/ 175956 h 235368"/>
                <a:gd name="connsiteX6" fmla="*/ 110732 w 396351"/>
                <a:gd name="connsiteY6" fmla="*/ 0 h 235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6351" h="235368">
                  <a:moveTo>
                    <a:pt x="110732" y="0"/>
                  </a:moveTo>
                  <a:lnTo>
                    <a:pt x="1517" y="9102"/>
                  </a:lnTo>
                  <a:cubicBezTo>
                    <a:pt x="1517" y="9102"/>
                    <a:pt x="-4551" y="127416"/>
                    <a:pt x="7585" y="151685"/>
                  </a:cubicBezTo>
                  <a:cubicBezTo>
                    <a:pt x="80394" y="188090"/>
                    <a:pt x="168371" y="218427"/>
                    <a:pt x="241181" y="230562"/>
                  </a:cubicBezTo>
                  <a:cubicBezTo>
                    <a:pt x="286686" y="239663"/>
                    <a:pt x="368597" y="233596"/>
                    <a:pt x="377697" y="230562"/>
                  </a:cubicBezTo>
                  <a:cubicBezTo>
                    <a:pt x="386798" y="227528"/>
                    <a:pt x="411068" y="203259"/>
                    <a:pt x="383765" y="175956"/>
                  </a:cubicBezTo>
                  <a:cubicBezTo>
                    <a:pt x="323091" y="109214"/>
                    <a:pt x="110732" y="0"/>
                    <a:pt x="110732" y="0"/>
                  </a:cubicBez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4E51A65-94FB-4546-B58E-A1FDDEB2CC20}"/>
                </a:ext>
              </a:extLst>
            </p:cNvPr>
            <p:cNvSpPr/>
            <p:nvPr/>
          </p:nvSpPr>
          <p:spPr>
            <a:xfrm>
              <a:off x="18565657" y="9433100"/>
              <a:ext cx="1372423" cy="2499775"/>
            </a:xfrm>
            <a:custGeom>
              <a:avLst/>
              <a:gdLst>
                <a:gd name="connsiteX0" fmla="*/ 558203 w 1372423"/>
                <a:gd name="connsiteY0" fmla="*/ 0 h 2499775"/>
                <a:gd name="connsiteX1" fmla="*/ 1274157 w 1372423"/>
                <a:gd name="connsiteY1" fmla="*/ 15169 h 2499775"/>
                <a:gd name="connsiteX2" fmla="*/ 1371236 w 1372423"/>
                <a:gd name="connsiteY2" fmla="*/ 467191 h 2499775"/>
                <a:gd name="connsiteX3" fmla="*/ 1192247 w 1372423"/>
                <a:gd name="connsiteY3" fmla="*/ 2481573 h 2499775"/>
                <a:gd name="connsiteX4" fmla="*/ 995056 w 1372423"/>
                <a:gd name="connsiteY4" fmla="*/ 2499776 h 2499775"/>
                <a:gd name="connsiteX5" fmla="*/ 913147 w 1372423"/>
                <a:gd name="connsiteY5" fmla="*/ 816068 h 2499775"/>
                <a:gd name="connsiteX6" fmla="*/ 834270 w 1372423"/>
                <a:gd name="connsiteY6" fmla="*/ 1668539 h 2499775"/>
                <a:gd name="connsiteX7" fmla="*/ 752359 w 1372423"/>
                <a:gd name="connsiteY7" fmla="*/ 1805056 h 2499775"/>
                <a:gd name="connsiteX8" fmla="*/ 103147 w 1372423"/>
                <a:gd name="connsiteY8" fmla="*/ 2251011 h 2499775"/>
                <a:gd name="connsiteX9" fmla="*/ 0 w 1372423"/>
                <a:gd name="connsiteY9" fmla="*/ 2087191 h 2499775"/>
                <a:gd name="connsiteX10" fmla="*/ 491461 w 1372423"/>
                <a:gd name="connsiteY10" fmla="*/ 1659438 h 2499775"/>
                <a:gd name="connsiteX11" fmla="*/ 455056 w 1372423"/>
                <a:gd name="connsiteY11" fmla="*/ 424719 h 2499775"/>
                <a:gd name="connsiteX12" fmla="*/ 558203 w 1372423"/>
                <a:gd name="connsiteY12" fmla="*/ 0 h 249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2423" h="2499775">
                  <a:moveTo>
                    <a:pt x="558203" y="0"/>
                  </a:moveTo>
                  <a:lnTo>
                    <a:pt x="1274157" y="15169"/>
                  </a:lnTo>
                  <a:cubicBezTo>
                    <a:pt x="1274157" y="15169"/>
                    <a:pt x="1350000" y="315506"/>
                    <a:pt x="1371236" y="467191"/>
                  </a:cubicBezTo>
                  <a:cubicBezTo>
                    <a:pt x="1389438" y="618877"/>
                    <a:pt x="1192247" y="2481573"/>
                    <a:pt x="1192247" y="2481573"/>
                  </a:cubicBezTo>
                  <a:lnTo>
                    <a:pt x="995056" y="2499776"/>
                  </a:lnTo>
                  <a:lnTo>
                    <a:pt x="913147" y="816068"/>
                  </a:lnTo>
                  <a:cubicBezTo>
                    <a:pt x="913147" y="816068"/>
                    <a:pt x="858539" y="1434944"/>
                    <a:pt x="834270" y="1668539"/>
                  </a:cubicBezTo>
                  <a:cubicBezTo>
                    <a:pt x="828202" y="1723146"/>
                    <a:pt x="797865" y="1774719"/>
                    <a:pt x="752359" y="1805056"/>
                  </a:cubicBezTo>
                  <a:lnTo>
                    <a:pt x="103147" y="2251011"/>
                  </a:lnTo>
                  <a:lnTo>
                    <a:pt x="0" y="2087191"/>
                  </a:lnTo>
                  <a:lnTo>
                    <a:pt x="491461" y="1659438"/>
                  </a:lnTo>
                  <a:cubicBezTo>
                    <a:pt x="491461" y="1659438"/>
                    <a:pt x="461124" y="488427"/>
                    <a:pt x="455056" y="424719"/>
                  </a:cubicBezTo>
                  <a:cubicBezTo>
                    <a:pt x="445955" y="303370"/>
                    <a:pt x="558203" y="0"/>
                    <a:pt x="558203" y="0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2A9C8B81-E422-4F7E-B718-CA3C8793139B}"/>
                </a:ext>
              </a:extLst>
            </p:cNvPr>
            <p:cNvSpPr/>
            <p:nvPr/>
          </p:nvSpPr>
          <p:spPr>
            <a:xfrm>
              <a:off x="18661388" y="9827482"/>
              <a:ext cx="859886" cy="1862697"/>
            </a:xfrm>
            <a:custGeom>
              <a:avLst/>
              <a:gdLst>
                <a:gd name="connsiteX0" fmla="*/ 7416 w 859886"/>
                <a:gd name="connsiteY0" fmla="*/ 1862697 h 1862697"/>
                <a:gd name="connsiteX1" fmla="*/ 1348 w 859886"/>
                <a:gd name="connsiteY1" fmla="*/ 1859664 h 1862697"/>
                <a:gd name="connsiteX2" fmla="*/ 1348 w 859886"/>
                <a:gd name="connsiteY2" fmla="*/ 1850562 h 1862697"/>
                <a:gd name="connsiteX3" fmla="*/ 647527 w 859886"/>
                <a:gd name="connsiteY3" fmla="*/ 1407641 h 1862697"/>
                <a:gd name="connsiteX4" fmla="*/ 726405 w 859886"/>
                <a:gd name="connsiteY4" fmla="*/ 1274157 h 1862697"/>
                <a:gd name="connsiteX5" fmla="*/ 805281 w 859886"/>
                <a:gd name="connsiteY5" fmla="*/ 421686 h 1862697"/>
                <a:gd name="connsiteX6" fmla="*/ 847753 w 859886"/>
                <a:gd name="connsiteY6" fmla="*/ 6068 h 1862697"/>
                <a:gd name="connsiteX7" fmla="*/ 853819 w 859886"/>
                <a:gd name="connsiteY7" fmla="*/ 0 h 1862697"/>
                <a:gd name="connsiteX8" fmla="*/ 859887 w 859886"/>
                <a:gd name="connsiteY8" fmla="*/ 6068 h 1862697"/>
                <a:gd name="connsiteX9" fmla="*/ 817416 w 859886"/>
                <a:gd name="connsiteY9" fmla="*/ 421686 h 1862697"/>
                <a:gd name="connsiteX10" fmla="*/ 738539 w 859886"/>
                <a:gd name="connsiteY10" fmla="*/ 1274157 h 1862697"/>
                <a:gd name="connsiteX11" fmla="*/ 653595 w 859886"/>
                <a:gd name="connsiteY11" fmla="*/ 1413708 h 1862697"/>
                <a:gd name="connsiteX12" fmla="*/ 7416 w 859886"/>
                <a:gd name="connsiteY12" fmla="*/ 1856630 h 1862697"/>
                <a:gd name="connsiteX13" fmla="*/ 7416 w 859886"/>
                <a:gd name="connsiteY13" fmla="*/ 1862697 h 1862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59886" h="1862697">
                  <a:moveTo>
                    <a:pt x="7416" y="1862697"/>
                  </a:moveTo>
                  <a:cubicBezTo>
                    <a:pt x="4381" y="1862697"/>
                    <a:pt x="4381" y="1862697"/>
                    <a:pt x="1348" y="1859664"/>
                  </a:cubicBezTo>
                  <a:cubicBezTo>
                    <a:pt x="-1685" y="1856630"/>
                    <a:pt x="1348" y="1853596"/>
                    <a:pt x="1348" y="1850562"/>
                  </a:cubicBezTo>
                  <a:lnTo>
                    <a:pt x="647527" y="1407641"/>
                  </a:lnTo>
                  <a:cubicBezTo>
                    <a:pt x="693033" y="1377304"/>
                    <a:pt x="720337" y="1328765"/>
                    <a:pt x="726405" y="1274157"/>
                  </a:cubicBezTo>
                  <a:cubicBezTo>
                    <a:pt x="750674" y="1043596"/>
                    <a:pt x="805281" y="427753"/>
                    <a:pt x="805281" y="421686"/>
                  </a:cubicBezTo>
                  <a:lnTo>
                    <a:pt x="847753" y="6068"/>
                  </a:lnTo>
                  <a:cubicBezTo>
                    <a:pt x="847753" y="3034"/>
                    <a:pt x="850786" y="0"/>
                    <a:pt x="853819" y="0"/>
                  </a:cubicBezTo>
                  <a:cubicBezTo>
                    <a:pt x="856854" y="0"/>
                    <a:pt x="859887" y="3034"/>
                    <a:pt x="859887" y="6068"/>
                  </a:cubicBezTo>
                  <a:lnTo>
                    <a:pt x="817416" y="421686"/>
                  </a:lnTo>
                  <a:cubicBezTo>
                    <a:pt x="817416" y="427753"/>
                    <a:pt x="759775" y="1043596"/>
                    <a:pt x="738539" y="1274157"/>
                  </a:cubicBezTo>
                  <a:cubicBezTo>
                    <a:pt x="732471" y="1331799"/>
                    <a:pt x="702134" y="1383371"/>
                    <a:pt x="653595" y="1413708"/>
                  </a:cubicBezTo>
                  <a:lnTo>
                    <a:pt x="7416" y="1856630"/>
                  </a:lnTo>
                  <a:cubicBezTo>
                    <a:pt x="10449" y="1862697"/>
                    <a:pt x="10449" y="1862697"/>
                    <a:pt x="7416" y="1862697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DFD98451-2F1D-4F29-8527-8CBC806B3560}"/>
                </a:ext>
              </a:extLst>
            </p:cNvPr>
            <p:cNvSpPr/>
            <p:nvPr/>
          </p:nvSpPr>
          <p:spPr>
            <a:xfrm>
              <a:off x="19023748" y="9596921"/>
              <a:ext cx="178987" cy="188089"/>
            </a:xfrm>
            <a:custGeom>
              <a:avLst/>
              <a:gdLst>
                <a:gd name="connsiteX0" fmla="*/ 6066 w 178987"/>
                <a:gd name="connsiteY0" fmla="*/ 188089 h 188089"/>
                <a:gd name="connsiteX1" fmla="*/ 0 w 178987"/>
                <a:gd name="connsiteY1" fmla="*/ 185055 h 188089"/>
                <a:gd name="connsiteX2" fmla="*/ 3033 w 178987"/>
                <a:gd name="connsiteY2" fmla="*/ 178989 h 188089"/>
                <a:gd name="connsiteX3" fmla="*/ 169887 w 178987"/>
                <a:gd name="connsiteY3" fmla="*/ 3033 h 188089"/>
                <a:gd name="connsiteX4" fmla="*/ 175955 w 178987"/>
                <a:gd name="connsiteY4" fmla="*/ 0 h 188089"/>
                <a:gd name="connsiteX5" fmla="*/ 178988 w 178987"/>
                <a:gd name="connsiteY5" fmla="*/ 6067 h 188089"/>
                <a:gd name="connsiteX6" fmla="*/ 6066 w 178987"/>
                <a:gd name="connsiteY6" fmla="*/ 188089 h 188089"/>
                <a:gd name="connsiteX7" fmla="*/ 6066 w 178987"/>
                <a:gd name="connsiteY7" fmla="*/ 188089 h 188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8987" h="188089">
                  <a:moveTo>
                    <a:pt x="6066" y="188089"/>
                  </a:moveTo>
                  <a:cubicBezTo>
                    <a:pt x="3033" y="188089"/>
                    <a:pt x="0" y="185055"/>
                    <a:pt x="0" y="185055"/>
                  </a:cubicBezTo>
                  <a:cubicBezTo>
                    <a:pt x="0" y="182022"/>
                    <a:pt x="0" y="178989"/>
                    <a:pt x="3033" y="178989"/>
                  </a:cubicBezTo>
                  <a:cubicBezTo>
                    <a:pt x="115281" y="148652"/>
                    <a:pt x="166854" y="6067"/>
                    <a:pt x="169887" y="3033"/>
                  </a:cubicBezTo>
                  <a:cubicBezTo>
                    <a:pt x="169887" y="0"/>
                    <a:pt x="172920" y="0"/>
                    <a:pt x="175955" y="0"/>
                  </a:cubicBezTo>
                  <a:cubicBezTo>
                    <a:pt x="178988" y="0"/>
                    <a:pt x="178988" y="3033"/>
                    <a:pt x="178988" y="6067"/>
                  </a:cubicBezTo>
                  <a:cubicBezTo>
                    <a:pt x="178988" y="12135"/>
                    <a:pt x="124381" y="157752"/>
                    <a:pt x="6066" y="188089"/>
                  </a:cubicBezTo>
                  <a:cubicBezTo>
                    <a:pt x="6066" y="188089"/>
                    <a:pt x="6066" y="188089"/>
                    <a:pt x="6066" y="188089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2FB0BBD9-6431-4A6C-B08B-769D2A985DB8}"/>
                </a:ext>
              </a:extLst>
            </p:cNvPr>
            <p:cNvSpPr/>
            <p:nvPr/>
          </p:nvSpPr>
          <p:spPr>
            <a:xfrm>
              <a:off x="19748803" y="9596921"/>
              <a:ext cx="172921" cy="194157"/>
            </a:xfrm>
            <a:custGeom>
              <a:avLst/>
              <a:gdLst>
                <a:gd name="connsiteX0" fmla="*/ 166854 w 172921"/>
                <a:gd name="connsiteY0" fmla="*/ 194157 h 194157"/>
                <a:gd name="connsiteX1" fmla="*/ 166854 w 172921"/>
                <a:gd name="connsiteY1" fmla="*/ 194157 h 194157"/>
                <a:gd name="connsiteX2" fmla="*/ 0 w 172921"/>
                <a:gd name="connsiteY2" fmla="*/ 9101 h 194157"/>
                <a:gd name="connsiteX3" fmla="*/ 3035 w 172921"/>
                <a:gd name="connsiteY3" fmla="*/ 0 h 194157"/>
                <a:gd name="connsiteX4" fmla="*/ 12136 w 172921"/>
                <a:gd name="connsiteY4" fmla="*/ 3033 h 194157"/>
                <a:gd name="connsiteX5" fmla="*/ 169889 w 172921"/>
                <a:gd name="connsiteY5" fmla="*/ 182022 h 194157"/>
                <a:gd name="connsiteX6" fmla="*/ 172922 w 172921"/>
                <a:gd name="connsiteY6" fmla="*/ 188089 h 194157"/>
                <a:gd name="connsiteX7" fmla="*/ 166854 w 172921"/>
                <a:gd name="connsiteY7" fmla="*/ 194157 h 19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2921" h="194157">
                  <a:moveTo>
                    <a:pt x="166854" y="194157"/>
                  </a:moveTo>
                  <a:cubicBezTo>
                    <a:pt x="166854" y="194157"/>
                    <a:pt x="163821" y="194157"/>
                    <a:pt x="166854" y="194157"/>
                  </a:cubicBezTo>
                  <a:cubicBezTo>
                    <a:pt x="84943" y="160786"/>
                    <a:pt x="3035" y="15169"/>
                    <a:pt x="0" y="9101"/>
                  </a:cubicBezTo>
                  <a:cubicBezTo>
                    <a:pt x="0" y="6067"/>
                    <a:pt x="0" y="3033"/>
                    <a:pt x="3035" y="0"/>
                  </a:cubicBezTo>
                  <a:cubicBezTo>
                    <a:pt x="6068" y="0"/>
                    <a:pt x="9101" y="0"/>
                    <a:pt x="12136" y="3033"/>
                  </a:cubicBezTo>
                  <a:cubicBezTo>
                    <a:pt x="12136" y="3033"/>
                    <a:pt x="94046" y="151685"/>
                    <a:pt x="169889" y="182022"/>
                  </a:cubicBezTo>
                  <a:cubicBezTo>
                    <a:pt x="172922" y="182022"/>
                    <a:pt x="172922" y="185055"/>
                    <a:pt x="172922" y="188089"/>
                  </a:cubicBezTo>
                  <a:cubicBezTo>
                    <a:pt x="169889" y="191123"/>
                    <a:pt x="169889" y="194157"/>
                    <a:pt x="166854" y="194157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C0450A6C-1F50-4851-B5A2-507738CD2B20}"/>
                </a:ext>
              </a:extLst>
            </p:cNvPr>
            <p:cNvSpPr/>
            <p:nvPr/>
          </p:nvSpPr>
          <p:spPr>
            <a:xfrm>
              <a:off x="19826464" y="8659432"/>
              <a:ext cx="653294" cy="764640"/>
            </a:xfrm>
            <a:custGeom>
              <a:avLst/>
              <a:gdLst>
                <a:gd name="connsiteX0" fmla="*/ 186272 w 653294"/>
                <a:gd name="connsiteY0" fmla="*/ 45578 h 764640"/>
                <a:gd name="connsiteX1" fmla="*/ 313688 w 653294"/>
                <a:gd name="connsiteY1" fmla="*/ 570410 h 764640"/>
                <a:gd name="connsiteX2" fmla="*/ 550317 w 653294"/>
                <a:gd name="connsiteY2" fmla="*/ 315578 h 764640"/>
                <a:gd name="connsiteX3" fmla="*/ 650429 w 653294"/>
                <a:gd name="connsiteY3" fmla="*/ 351983 h 764640"/>
                <a:gd name="connsiteX4" fmla="*/ 228745 w 653294"/>
                <a:gd name="connsiteY4" fmla="*/ 764567 h 764640"/>
                <a:gd name="connsiteX5" fmla="*/ 4249 w 653294"/>
                <a:gd name="connsiteY5" fmla="*/ 254904 h 764640"/>
                <a:gd name="connsiteX6" fmla="*/ 186272 w 653294"/>
                <a:gd name="connsiteY6" fmla="*/ 45578 h 764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3294" h="764640">
                  <a:moveTo>
                    <a:pt x="186272" y="45578"/>
                  </a:moveTo>
                  <a:cubicBezTo>
                    <a:pt x="234811" y="148724"/>
                    <a:pt x="313688" y="570410"/>
                    <a:pt x="313688" y="570410"/>
                  </a:cubicBezTo>
                  <a:cubicBezTo>
                    <a:pt x="313688" y="570410"/>
                    <a:pt x="550317" y="309511"/>
                    <a:pt x="550317" y="315578"/>
                  </a:cubicBezTo>
                  <a:cubicBezTo>
                    <a:pt x="568518" y="382320"/>
                    <a:pt x="671665" y="318612"/>
                    <a:pt x="650429" y="351983"/>
                  </a:cubicBezTo>
                  <a:cubicBezTo>
                    <a:pt x="610991" y="418725"/>
                    <a:pt x="422901" y="746365"/>
                    <a:pt x="228745" y="764567"/>
                  </a:cubicBezTo>
                  <a:cubicBezTo>
                    <a:pt x="162003" y="770634"/>
                    <a:pt x="58856" y="397488"/>
                    <a:pt x="4249" y="254904"/>
                  </a:cubicBezTo>
                  <a:cubicBezTo>
                    <a:pt x="-26088" y="172994"/>
                    <a:pt x="113462" y="-109141"/>
                    <a:pt x="186272" y="45578"/>
                  </a:cubicBezTo>
                  <a:close/>
                </a:path>
              </a:pathLst>
            </a:custGeom>
            <a:solidFill>
              <a:srgbClr val="F5A39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8B593716-20B0-4E03-9217-F2ABE19251D4}"/>
                </a:ext>
              </a:extLst>
            </p:cNvPr>
            <p:cNvSpPr/>
            <p:nvPr/>
          </p:nvSpPr>
          <p:spPr>
            <a:xfrm>
              <a:off x="19591050" y="8167171"/>
              <a:ext cx="148652" cy="204131"/>
            </a:xfrm>
            <a:custGeom>
              <a:avLst/>
              <a:gdLst>
                <a:gd name="connsiteX0" fmla="*/ 148652 w 148652"/>
                <a:gd name="connsiteY0" fmla="*/ 874 h 204131"/>
                <a:gd name="connsiteX1" fmla="*/ 109215 w 148652"/>
                <a:gd name="connsiteY1" fmla="*/ 188963 h 204131"/>
                <a:gd name="connsiteX2" fmla="*/ 45506 w 148652"/>
                <a:gd name="connsiteY2" fmla="*/ 204132 h 204131"/>
                <a:gd name="connsiteX3" fmla="*/ 0 w 148652"/>
                <a:gd name="connsiteY3" fmla="*/ 107053 h 204131"/>
                <a:gd name="connsiteX4" fmla="*/ 148652 w 148652"/>
                <a:gd name="connsiteY4" fmla="*/ 874 h 204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652" h="204131">
                  <a:moveTo>
                    <a:pt x="148652" y="874"/>
                  </a:moveTo>
                  <a:lnTo>
                    <a:pt x="109215" y="188963"/>
                  </a:lnTo>
                  <a:lnTo>
                    <a:pt x="45506" y="204132"/>
                  </a:lnTo>
                  <a:lnTo>
                    <a:pt x="0" y="107053"/>
                  </a:lnTo>
                  <a:cubicBezTo>
                    <a:pt x="0" y="107053"/>
                    <a:pt x="51573" y="-11262"/>
                    <a:pt x="148652" y="874"/>
                  </a:cubicBezTo>
                  <a:close/>
                </a:path>
              </a:pathLst>
            </a:custGeom>
            <a:solidFill>
              <a:srgbClr val="F1DDBA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87189F5C-231A-40CD-905C-9686732E80E6}"/>
                </a:ext>
              </a:extLst>
            </p:cNvPr>
            <p:cNvSpPr/>
            <p:nvPr/>
          </p:nvSpPr>
          <p:spPr>
            <a:xfrm>
              <a:off x="19196661" y="8013325"/>
              <a:ext cx="245738" cy="364044"/>
            </a:xfrm>
            <a:custGeom>
              <a:avLst/>
              <a:gdLst>
                <a:gd name="connsiteX0" fmla="*/ 7 w 245738"/>
                <a:gd name="connsiteY0" fmla="*/ 0 h 364044"/>
                <a:gd name="connsiteX1" fmla="*/ 121355 w 245738"/>
                <a:gd name="connsiteY1" fmla="*/ 357978 h 364044"/>
                <a:gd name="connsiteX2" fmla="*/ 200232 w 245738"/>
                <a:gd name="connsiteY2" fmla="*/ 364045 h 364044"/>
                <a:gd name="connsiteX3" fmla="*/ 245738 w 245738"/>
                <a:gd name="connsiteY3" fmla="*/ 248764 h 364044"/>
                <a:gd name="connsiteX4" fmla="*/ 154727 w 245738"/>
                <a:gd name="connsiteY4" fmla="*/ 112247 h 364044"/>
                <a:gd name="connsiteX5" fmla="*/ 7 w 245738"/>
                <a:gd name="connsiteY5" fmla="*/ 0 h 36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738" h="364044">
                  <a:moveTo>
                    <a:pt x="7" y="0"/>
                  </a:moveTo>
                  <a:cubicBezTo>
                    <a:pt x="7" y="0"/>
                    <a:pt x="-3026" y="182022"/>
                    <a:pt x="121355" y="357978"/>
                  </a:cubicBezTo>
                  <a:lnTo>
                    <a:pt x="200232" y="364045"/>
                  </a:lnTo>
                  <a:lnTo>
                    <a:pt x="245738" y="248764"/>
                  </a:lnTo>
                  <a:lnTo>
                    <a:pt x="154727" y="112247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F1DDBA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B369E14B-A177-4ACB-9548-4660622277B4}"/>
                </a:ext>
              </a:extLst>
            </p:cNvPr>
            <p:cNvSpPr/>
            <p:nvPr/>
          </p:nvSpPr>
          <p:spPr>
            <a:xfrm>
              <a:off x="19676415" y="8462317"/>
              <a:ext cx="400028" cy="418648"/>
            </a:xfrm>
            <a:custGeom>
              <a:avLst/>
              <a:gdLst>
                <a:gd name="connsiteX0" fmla="*/ 51152 w 400028"/>
                <a:gd name="connsiteY0" fmla="*/ 418648 h 418648"/>
                <a:gd name="connsiteX1" fmla="*/ 57220 w 400028"/>
                <a:gd name="connsiteY1" fmla="*/ 15165 h 418648"/>
                <a:gd name="connsiteX2" fmla="*/ 400029 w 400028"/>
                <a:gd name="connsiteY2" fmla="*/ 291232 h 418648"/>
                <a:gd name="connsiteX3" fmla="*/ 51152 w 400028"/>
                <a:gd name="connsiteY3" fmla="*/ 418648 h 418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28" h="418648">
                  <a:moveTo>
                    <a:pt x="51152" y="418648"/>
                  </a:moveTo>
                  <a:cubicBezTo>
                    <a:pt x="-30756" y="254828"/>
                    <a:pt x="-3454" y="63704"/>
                    <a:pt x="57220" y="15165"/>
                  </a:cubicBezTo>
                  <a:cubicBezTo>
                    <a:pt x="139131" y="-48543"/>
                    <a:pt x="330254" y="97075"/>
                    <a:pt x="400029" y="291232"/>
                  </a:cubicBezTo>
                  <a:cubicBezTo>
                    <a:pt x="357558" y="351906"/>
                    <a:pt x="154299" y="403480"/>
                    <a:pt x="51152" y="418648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FECEC627-8BAB-4A68-999B-91D3D8049099}"/>
                </a:ext>
              </a:extLst>
            </p:cNvPr>
            <p:cNvSpPr/>
            <p:nvPr/>
          </p:nvSpPr>
          <p:spPr>
            <a:xfrm>
              <a:off x="19125336" y="8409332"/>
              <a:ext cx="816523" cy="981386"/>
            </a:xfrm>
            <a:custGeom>
              <a:avLst/>
              <a:gdLst>
                <a:gd name="connsiteX0" fmla="*/ 44030 w 816523"/>
                <a:gd name="connsiteY0" fmla="*/ 389723 h 981386"/>
                <a:gd name="connsiteX1" fmla="*/ 59199 w 816523"/>
                <a:gd name="connsiteY1" fmla="*/ 68151 h 981386"/>
                <a:gd name="connsiteX2" fmla="*/ 426276 w 816523"/>
                <a:gd name="connsiteY2" fmla="*/ 4443 h 981386"/>
                <a:gd name="connsiteX3" fmla="*/ 726614 w 816523"/>
                <a:gd name="connsiteY3" fmla="*/ 104555 h 981386"/>
                <a:gd name="connsiteX4" fmla="*/ 766052 w 816523"/>
                <a:gd name="connsiteY4" fmla="*/ 650622 h 981386"/>
                <a:gd name="connsiteX5" fmla="*/ 723579 w 816523"/>
                <a:gd name="connsiteY5" fmla="*/ 975229 h 981386"/>
                <a:gd name="connsiteX6" fmla="*/ 50098 w 816523"/>
                <a:gd name="connsiteY6" fmla="*/ 960061 h 981386"/>
                <a:gd name="connsiteX7" fmla="*/ 44030 w 816523"/>
                <a:gd name="connsiteY7" fmla="*/ 389723 h 981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6523" h="981386">
                  <a:moveTo>
                    <a:pt x="44030" y="389723"/>
                  </a:moveTo>
                  <a:cubicBezTo>
                    <a:pt x="34929" y="359386"/>
                    <a:pt x="-59117" y="131858"/>
                    <a:pt x="59199" y="68151"/>
                  </a:cubicBezTo>
                  <a:cubicBezTo>
                    <a:pt x="162343" y="13544"/>
                    <a:pt x="307963" y="-10726"/>
                    <a:pt x="426276" y="4443"/>
                  </a:cubicBezTo>
                  <a:cubicBezTo>
                    <a:pt x="556726" y="19611"/>
                    <a:pt x="687176" y="40847"/>
                    <a:pt x="726614" y="104555"/>
                  </a:cubicBezTo>
                  <a:cubicBezTo>
                    <a:pt x="838862" y="289611"/>
                    <a:pt x="838862" y="453431"/>
                    <a:pt x="766052" y="650622"/>
                  </a:cubicBezTo>
                  <a:cubicBezTo>
                    <a:pt x="744816" y="708263"/>
                    <a:pt x="738748" y="841746"/>
                    <a:pt x="723579" y="975229"/>
                  </a:cubicBezTo>
                  <a:cubicBezTo>
                    <a:pt x="723579" y="975229"/>
                    <a:pt x="441445" y="996465"/>
                    <a:pt x="50098" y="960061"/>
                  </a:cubicBezTo>
                  <a:cubicBezTo>
                    <a:pt x="80435" y="741634"/>
                    <a:pt x="50098" y="410960"/>
                    <a:pt x="44030" y="389723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C9A6370-A718-4EA8-A53B-9A30CFFC3213}"/>
                </a:ext>
              </a:extLst>
            </p:cNvPr>
            <p:cNvSpPr/>
            <p:nvPr/>
          </p:nvSpPr>
          <p:spPr>
            <a:xfrm>
              <a:off x="19463251" y="7719389"/>
              <a:ext cx="319691" cy="587844"/>
            </a:xfrm>
            <a:custGeom>
              <a:avLst/>
              <a:gdLst>
                <a:gd name="connsiteX0" fmla="*/ 142968 w 319691"/>
                <a:gd name="connsiteY0" fmla="*/ 573037 h 587844"/>
                <a:gd name="connsiteX1" fmla="*/ 318924 w 319691"/>
                <a:gd name="connsiteY1" fmla="*/ 230228 h 587844"/>
                <a:gd name="connsiteX2" fmla="*/ 385 w 319691"/>
                <a:gd name="connsiteY2" fmla="*/ 8768 h 587844"/>
                <a:gd name="connsiteX3" fmla="*/ 36788 w 319691"/>
                <a:gd name="connsiteY3" fmla="*/ 175622 h 587844"/>
                <a:gd name="connsiteX4" fmla="*/ 85328 w 319691"/>
                <a:gd name="connsiteY4" fmla="*/ 318206 h 587844"/>
                <a:gd name="connsiteX5" fmla="*/ 142968 w 319691"/>
                <a:gd name="connsiteY5" fmla="*/ 573037 h 587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9691" h="587844">
                  <a:moveTo>
                    <a:pt x="142968" y="573037"/>
                  </a:moveTo>
                  <a:cubicBezTo>
                    <a:pt x="297688" y="542700"/>
                    <a:pt x="324990" y="293936"/>
                    <a:pt x="318924" y="230228"/>
                  </a:cubicBezTo>
                  <a:cubicBezTo>
                    <a:pt x="297688" y="66408"/>
                    <a:pt x="115665" y="-30670"/>
                    <a:pt x="385" y="8768"/>
                  </a:cubicBezTo>
                  <a:cubicBezTo>
                    <a:pt x="-2650" y="8768"/>
                    <a:pt x="12519" y="127082"/>
                    <a:pt x="36788" y="175622"/>
                  </a:cubicBezTo>
                  <a:cubicBezTo>
                    <a:pt x="58024" y="221127"/>
                    <a:pt x="76228" y="269666"/>
                    <a:pt x="85328" y="318206"/>
                  </a:cubicBezTo>
                  <a:cubicBezTo>
                    <a:pt x="91396" y="372813"/>
                    <a:pt x="45891" y="654947"/>
                    <a:pt x="142968" y="573037"/>
                  </a:cubicBezTo>
                  <a:close/>
                </a:path>
              </a:pathLst>
            </a:custGeom>
            <a:solidFill>
              <a:srgbClr val="F1DDBA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76D992B3-C4C7-4405-973A-2F207386D9D6}"/>
                </a:ext>
              </a:extLst>
            </p:cNvPr>
            <p:cNvSpPr/>
            <p:nvPr/>
          </p:nvSpPr>
          <p:spPr>
            <a:xfrm>
              <a:off x="19293747" y="7775810"/>
              <a:ext cx="420509" cy="565473"/>
            </a:xfrm>
            <a:custGeom>
              <a:avLst/>
              <a:gdLst>
                <a:gd name="connsiteX0" fmla="*/ 412585 w 420509"/>
                <a:gd name="connsiteY0" fmla="*/ 182908 h 565473"/>
                <a:gd name="connsiteX1" fmla="*/ 400450 w 420509"/>
                <a:gd name="connsiteY1" fmla="*/ 437740 h 565473"/>
                <a:gd name="connsiteX2" fmla="*/ 251797 w 420509"/>
                <a:gd name="connsiteY2" fmla="*/ 565155 h 565473"/>
                <a:gd name="connsiteX3" fmla="*/ 36405 w 420509"/>
                <a:gd name="connsiteY3" fmla="*/ 422571 h 565473"/>
                <a:gd name="connsiteX4" fmla="*/ 0 w 420509"/>
                <a:gd name="connsiteY4" fmla="*/ 198076 h 565473"/>
                <a:gd name="connsiteX5" fmla="*/ 212360 w 420509"/>
                <a:gd name="connsiteY5" fmla="*/ 885 h 565473"/>
                <a:gd name="connsiteX6" fmla="*/ 412585 w 420509"/>
                <a:gd name="connsiteY6" fmla="*/ 182908 h 5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0509" h="565473">
                  <a:moveTo>
                    <a:pt x="412585" y="182908"/>
                  </a:moveTo>
                  <a:cubicBezTo>
                    <a:pt x="412585" y="182908"/>
                    <a:pt x="436855" y="370998"/>
                    <a:pt x="400450" y="437740"/>
                  </a:cubicBezTo>
                  <a:cubicBezTo>
                    <a:pt x="364045" y="504481"/>
                    <a:pt x="303371" y="562121"/>
                    <a:pt x="251797" y="565155"/>
                  </a:cubicBezTo>
                  <a:cubicBezTo>
                    <a:pt x="185057" y="571223"/>
                    <a:pt x="72810" y="489312"/>
                    <a:pt x="36405" y="422571"/>
                  </a:cubicBezTo>
                  <a:cubicBezTo>
                    <a:pt x="0" y="355829"/>
                    <a:pt x="0" y="249649"/>
                    <a:pt x="0" y="198076"/>
                  </a:cubicBezTo>
                  <a:cubicBezTo>
                    <a:pt x="3035" y="104032"/>
                    <a:pt x="30337" y="25155"/>
                    <a:pt x="212360" y="885"/>
                  </a:cubicBezTo>
                  <a:cubicBezTo>
                    <a:pt x="300338" y="-11249"/>
                    <a:pt x="394382" y="104032"/>
                    <a:pt x="412585" y="182908"/>
                  </a:cubicBezTo>
                  <a:close/>
                </a:path>
              </a:pathLst>
            </a:custGeom>
            <a:solidFill>
              <a:srgbClr val="F5A39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00BFCFCC-16B0-48D0-8663-5889884A3824}"/>
                </a:ext>
              </a:extLst>
            </p:cNvPr>
            <p:cNvSpPr/>
            <p:nvPr/>
          </p:nvSpPr>
          <p:spPr>
            <a:xfrm>
              <a:off x="19518242" y="8043662"/>
              <a:ext cx="54606" cy="130449"/>
            </a:xfrm>
            <a:custGeom>
              <a:avLst/>
              <a:gdLst>
                <a:gd name="connsiteX0" fmla="*/ 30337 w 54606"/>
                <a:gd name="connsiteY0" fmla="*/ 130450 h 130449"/>
                <a:gd name="connsiteX1" fmla="*/ 6068 w 54606"/>
                <a:gd name="connsiteY1" fmla="*/ 127416 h 130449"/>
                <a:gd name="connsiteX2" fmla="*/ 0 w 54606"/>
                <a:gd name="connsiteY2" fmla="*/ 121348 h 130449"/>
                <a:gd name="connsiteX3" fmla="*/ 6068 w 54606"/>
                <a:gd name="connsiteY3" fmla="*/ 115281 h 130449"/>
                <a:gd name="connsiteX4" fmla="*/ 45506 w 54606"/>
                <a:gd name="connsiteY4" fmla="*/ 115281 h 130449"/>
                <a:gd name="connsiteX5" fmla="*/ 45506 w 54606"/>
                <a:gd name="connsiteY5" fmla="*/ 112247 h 130449"/>
                <a:gd name="connsiteX6" fmla="*/ 18202 w 54606"/>
                <a:gd name="connsiteY6" fmla="*/ 6067 h 130449"/>
                <a:gd name="connsiteX7" fmla="*/ 21236 w 54606"/>
                <a:gd name="connsiteY7" fmla="*/ 0 h 130449"/>
                <a:gd name="connsiteX8" fmla="*/ 27302 w 54606"/>
                <a:gd name="connsiteY8" fmla="*/ 3034 h 130449"/>
                <a:gd name="connsiteX9" fmla="*/ 54606 w 54606"/>
                <a:gd name="connsiteY9" fmla="*/ 112247 h 130449"/>
                <a:gd name="connsiteX10" fmla="*/ 48539 w 54606"/>
                <a:gd name="connsiteY10" fmla="*/ 124382 h 130449"/>
                <a:gd name="connsiteX11" fmla="*/ 30337 w 54606"/>
                <a:gd name="connsiteY11" fmla="*/ 130450 h 130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606" h="130449">
                  <a:moveTo>
                    <a:pt x="30337" y="130450"/>
                  </a:moveTo>
                  <a:cubicBezTo>
                    <a:pt x="18202" y="130450"/>
                    <a:pt x="9101" y="127416"/>
                    <a:pt x="6068" y="127416"/>
                  </a:cubicBezTo>
                  <a:cubicBezTo>
                    <a:pt x="3033" y="127416"/>
                    <a:pt x="0" y="124382"/>
                    <a:pt x="0" y="121348"/>
                  </a:cubicBezTo>
                  <a:cubicBezTo>
                    <a:pt x="0" y="118314"/>
                    <a:pt x="3033" y="115281"/>
                    <a:pt x="6068" y="115281"/>
                  </a:cubicBezTo>
                  <a:cubicBezTo>
                    <a:pt x="18202" y="118314"/>
                    <a:pt x="39438" y="118314"/>
                    <a:pt x="45506" y="115281"/>
                  </a:cubicBezTo>
                  <a:cubicBezTo>
                    <a:pt x="45506" y="115281"/>
                    <a:pt x="45506" y="112247"/>
                    <a:pt x="45506" y="112247"/>
                  </a:cubicBezTo>
                  <a:cubicBezTo>
                    <a:pt x="45506" y="97079"/>
                    <a:pt x="24269" y="30337"/>
                    <a:pt x="18202" y="6067"/>
                  </a:cubicBezTo>
                  <a:cubicBezTo>
                    <a:pt x="18202" y="3034"/>
                    <a:pt x="18202" y="0"/>
                    <a:pt x="21236" y="0"/>
                  </a:cubicBezTo>
                  <a:cubicBezTo>
                    <a:pt x="24269" y="0"/>
                    <a:pt x="27302" y="0"/>
                    <a:pt x="27302" y="3034"/>
                  </a:cubicBezTo>
                  <a:cubicBezTo>
                    <a:pt x="27302" y="6067"/>
                    <a:pt x="54606" y="91011"/>
                    <a:pt x="54606" y="112247"/>
                  </a:cubicBezTo>
                  <a:cubicBezTo>
                    <a:pt x="54606" y="118314"/>
                    <a:pt x="51573" y="121348"/>
                    <a:pt x="48539" y="124382"/>
                  </a:cubicBezTo>
                  <a:cubicBezTo>
                    <a:pt x="51573" y="130450"/>
                    <a:pt x="39438" y="130450"/>
                    <a:pt x="30337" y="130450"/>
                  </a:cubicBezTo>
                  <a:close/>
                </a:path>
              </a:pathLst>
            </a:custGeom>
            <a:solidFill>
              <a:srgbClr val="E58777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17B722D7-CF71-44B3-9DC9-DF3A39C480E5}"/>
                </a:ext>
              </a:extLst>
            </p:cNvPr>
            <p:cNvSpPr/>
            <p:nvPr/>
          </p:nvSpPr>
          <p:spPr>
            <a:xfrm>
              <a:off x="19490938" y="8225684"/>
              <a:ext cx="106179" cy="54606"/>
            </a:xfrm>
            <a:custGeom>
              <a:avLst/>
              <a:gdLst>
                <a:gd name="connsiteX0" fmla="*/ 0 w 106179"/>
                <a:gd name="connsiteY0" fmla="*/ 0 h 54606"/>
                <a:gd name="connsiteX1" fmla="*/ 106180 w 106179"/>
                <a:gd name="connsiteY1" fmla="*/ 0 h 54606"/>
                <a:gd name="connsiteX2" fmla="*/ 54606 w 106179"/>
                <a:gd name="connsiteY2" fmla="*/ 54607 h 54606"/>
                <a:gd name="connsiteX3" fmla="*/ 0 w 106179"/>
                <a:gd name="connsiteY3" fmla="*/ 0 h 5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179" h="54606">
                  <a:moveTo>
                    <a:pt x="0" y="0"/>
                  </a:moveTo>
                  <a:cubicBezTo>
                    <a:pt x="54606" y="24270"/>
                    <a:pt x="106180" y="0"/>
                    <a:pt x="106180" y="0"/>
                  </a:cubicBezTo>
                  <a:cubicBezTo>
                    <a:pt x="106180" y="0"/>
                    <a:pt x="91011" y="54607"/>
                    <a:pt x="54606" y="54607"/>
                  </a:cubicBezTo>
                  <a:cubicBezTo>
                    <a:pt x="15169" y="5157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364D4A9-57DB-4985-A2EB-BCD14BF49D5F}"/>
                </a:ext>
              </a:extLst>
            </p:cNvPr>
            <p:cNvSpPr/>
            <p:nvPr/>
          </p:nvSpPr>
          <p:spPr>
            <a:xfrm>
              <a:off x="19611514" y="8015585"/>
              <a:ext cx="40984" cy="40984"/>
            </a:xfrm>
            <a:custGeom>
              <a:avLst/>
              <a:gdLst>
                <a:gd name="connsiteX0" fmla="*/ 773 w 40984"/>
                <a:gd name="connsiteY0" fmla="*/ 25042 h 40984"/>
                <a:gd name="connsiteX1" fmla="*/ 25042 w 40984"/>
                <a:gd name="connsiteY1" fmla="*/ 40211 h 40984"/>
                <a:gd name="connsiteX2" fmla="*/ 40211 w 40984"/>
                <a:gd name="connsiteY2" fmla="*/ 15942 h 40984"/>
                <a:gd name="connsiteX3" fmla="*/ 15941 w 40984"/>
                <a:gd name="connsiteY3" fmla="*/ 773 h 40984"/>
                <a:gd name="connsiteX4" fmla="*/ 773 w 40984"/>
                <a:gd name="connsiteY4" fmla="*/ 25042 h 40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84" h="40984">
                  <a:moveTo>
                    <a:pt x="773" y="25042"/>
                  </a:moveTo>
                  <a:cubicBezTo>
                    <a:pt x="3808" y="37178"/>
                    <a:pt x="12908" y="43245"/>
                    <a:pt x="25042" y="40211"/>
                  </a:cubicBezTo>
                  <a:cubicBezTo>
                    <a:pt x="37178" y="37178"/>
                    <a:pt x="43245" y="28076"/>
                    <a:pt x="40211" y="15942"/>
                  </a:cubicBezTo>
                  <a:cubicBezTo>
                    <a:pt x="37178" y="3807"/>
                    <a:pt x="28077" y="-2261"/>
                    <a:pt x="15941" y="773"/>
                  </a:cubicBezTo>
                  <a:cubicBezTo>
                    <a:pt x="3808" y="3807"/>
                    <a:pt x="-2260" y="12908"/>
                    <a:pt x="773" y="25042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602177E7-D8BA-4DED-95BA-6090826E3F12}"/>
                </a:ext>
              </a:extLst>
            </p:cNvPr>
            <p:cNvSpPr/>
            <p:nvPr/>
          </p:nvSpPr>
          <p:spPr>
            <a:xfrm>
              <a:off x="19420568" y="8021653"/>
              <a:ext cx="40628" cy="40806"/>
            </a:xfrm>
            <a:custGeom>
              <a:avLst/>
              <a:gdLst>
                <a:gd name="connsiteX0" fmla="*/ 595 w 40628"/>
                <a:gd name="connsiteY0" fmla="*/ 25043 h 40806"/>
                <a:gd name="connsiteX1" fmla="*/ 24864 w 40628"/>
                <a:gd name="connsiteY1" fmla="*/ 40211 h 40806"/>
                <a:gd name="connsiteX2" fmla="*/ 40033 w 40628"/>
                <a:gd name="connsiteY2" fmla="*/ 15942 h 40806"/>
                <a:gd name="connsiteX3" fmla="*/ 15763 w 40628"/>
                <a:gd name="connsiteY3" fmla="*/ 773 h 40806"/>
                <a:gd name="connsiteX4" fmla="*/ 595 w 40628"/>
                <a:gd name="connsiteY4" fmla="*/ 25043 h 40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28" h="40806">
                  <a:moveTo>
                    <a:pt x="595" y="25043"/>
                  </a:moveTo>
                  <a:cubicBezTo>
                    <a:pt x="3628" y="34144"/>
                    <a:pt x="12730" y="43245"/>
                    <a:pt x="24864" y="40211"/>
                  </a:cubicBezTo>
                  <a:cubicBezTo>
                    <a:pt x="33965" y="37178"/>
                    <a:pt x="43067" y="28076"/>
                    <a:pt x="40033" y="15942"/>
                  </a:cubicBezTo>
                  <a:cubicBezTo>
                    <a:pt x="37000" y="3807"/>
                    <a:pt x="27899" y="-2261"/>
                    <a:pt x="15763" y="773"/>
                  </a:cubicBezTo>
                  <a:cubicBezTo>
                    <a:pt x="6663" y="3807"/>
                    <a:pt x="-2438" y="12908"/>
                    <a:pt x="595" y="25043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40E16A69-AD76-4399-B73E-901377A5E3A3}"/>
                </a:ext>
              </a:extLst>
            </p:cNvPr>
            <p:cNvSpPr/>
            <p:nvPr/>
          </p:nvSpPr>
          <p:spPr>
            <a:xfrm>
              <a:off x="19583727" y="7971210"/>
              <a:ext cx="91509" cy="33013"/>
            </a:xfrm>
            <a:custGeom>
              <a:avLst/>
              <a:gdLst>
                <a:gd name="connsiteX0" fmla="*/ 83166 w 91509"/>
                <a:gd name="connsiteY0" fmla="*/ 29980 h 33013"/>
                <a:gd name="connsiteX1" fmla="*/ 77100 w 91509"/>
                <a:gd name="connsiteY1" fmla="*/ 26946 h 33013"/>
                <a:gd name="connsiteX2" fmla="*/ 10358 w 91509"/>
                <a:gd name="connsiteY2" fmla="*/ 20879 h 33013"/>
                <a:gd name="connsiteX3" fmla="*/ 1257 w 91509"/>
                <a:gd name="connsiteY3" fmla="*/ 17845 h 33013"/>
                <a:gd name="connsiteX4" fmla="*/ 4290 w 91509"/>
                <a:gd name="connsiteY4" fmla="*/ 8744 h 33013"/>
                <a:gd name="connsiteX5" fmla="*/ 89234 w 91509"/>
                <a:gd name="connsiteY5" fmla="*/ 20879 h 33013"/>
                <a:gd name="connsiteX6" fmla="*/ 89234 w 91509"/>
                <a:gd name="connsiteY6" fmla="*/ 33014 h 33013"/>
                <a:gd name="connsiteX7" fmla="*/ 83166 w 91509"/>
                <a:gd name="connsiteY7" fmla="*/ 29980 h 33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3013">
                  <a:moveTo>
                    <a:pt x="83166" y="29980"/>
                  </a:moveTo>
                  <a:cubicBezTo>
                    <a:pt x="80133" y="29980"/>
                    <a:pt x="80133" y="29980"/>
                    <a:pt x="77100" y="26946"/>
                  </a:cubicBezTo>
                  <a:cubicBezTo>
                    <a:pt x="52829" y="-357"/>
                    <a:pt x="13391" y="17845"/>
                    <a:pt x="10358" y="20879"/>
                  </a:cubicBezTo>
                  <a:cubicBezTo>
                    <a:pt x="7323" y="23912"/>
                    <a:pt x="1257" y="20879"/>
                    <a:pt x="1257" y="17845"/>
                  </a:cubicBezTo>
                  <a:cubicBezTo>
                    <a:pt x="-1778" y="14812"/>
                    <a:pt x="1257" y="8744"/>
                    <a:pt x="4290" y="8744"/>
                  </a:cubicBezTo>
                  <a:cubicBezTo>
                    <a:pt x="22492" y="-357"/>
                    <a:pt x="61931" y="-9458"/>
                    <a:pt x="89234" y="20879"/>
                  </a:cubicBezTo>
                  <a:cubicBezTo>
                    <a:pt x="92268" y="23912"/>
                    <a:pt x="92268" y="29980"/>
                    <a:pt x="89234" y="33014"/>
                  </a:cubicBezTo>
                  <a:cubicBezTo>
                    <a:pt x="89234" y="29980"/>
                    <a:pt x="86201" y="29980"/>
                    <a:pt x="83166" y="29980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D9BE081C-D45D-4584-B940-054FA20285C5}"/>
                </a:ext>
              </a:extLst>
            </p:cNvPr>
            <p:cNvSpPr/>
            <p:nvPr/>
          </p:nvSpPr>
          <p:spPr>
            <a:xfrm>
              <a:off x="19394618" y="7965797"/>
              <a:ext cx="91509" cy="35393"/>
            </a:xfrm>
            <a:custGeom>
              <a:avLst/>
              <a:gdLst>
                <a:gd name="connsiteX0" fmla="*/ 8344 w 91509"/>
                <a:gd name="connsiteY0" fmla="*/ 35393 h 35393"/>
                <a:gd name="connsiteX1" fmla="*/ 2276 w 91509"/>
                <a:gd name="connsiteY1" fmla="*/ 32360 h 35393"/>
                <a:gd name="connsiteX2" fmla="*/ 2276 w 91509"/>
                <a:gd name="connsiteY2" fmla="*/ 20225 h 35393"/>
                <a:gd name="connsiteX3" fmla="*/ 87220 w 91509"/>
                <a:gd name="connsiteY3" fmla="*/ 11124 h 35393"/>
                <a:gd name="connsiteX4" fmla="*/ 90253 w 91509"/>
                <a:gd name="connsiteY4" fmla="*/ 23258 h 35393"/>
                <a:gd name="connsiteX5" fmla="*/ 78119 w 91509"/>
                <a:gd name="connsiteY5" fmla="*/ 26292 h 35393"/>
                <a:gd name="connsiteX6" fmla="*/ 11377 w 91509"/>
                <a:gd name="connsiteY6" fmla="*/ 32360 h 35393"/>
                <a:gd name="connsiteX7" fmla="*/ 8344 w 91509"/>
                <a:gd name="connsiteY7" fmla="*/ 35393 h 35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09" h="35393">
                  <a:moveTo>
                    <a:pt x="8344" y="35393"/>
                  </a:moveTo>
                  <a:cubicBezTo>
                    <a:pt x="5309" y="35393"/>
                    <a:pt x="5309" y="35393"/>
                    <a:pt x="2276" y="32360"/>
                  </a:cubicBezTo>
                  <a:cubicBezTo>
                    <a:pt x="-759" y="29326"/>
                    <a:pt x="-759" y="23258"/>
                    <a:pt x="2276" y="20225"/>
                  </a:cubicBezTo>
                  <a:cubicBezTo>
                    <a:pt x="14410" y="8090"/>
                    <a:pt x="50815" y="-13146"/>
                    <a:pt x="87220" y="11124"/>
                  </a:cubicBezTo>
                  <a:cubicBezTo>
                    <a:pt x="90253" y="14157"/>
                    <a:pt x="93287" y="17191"/>
                    <a:pt x="90253" y="23258"/>
                  </a:cubicBezTo>
                  <a:cubicBezTo>
                    <a:pt x="87220" y="26292"/>
                    <a:pt x="84187" y="29326"/>
                    <a:pt x="78119" y="26292"/>
                  </a:cubicBezTo>
                  <a:cubicBezTo>
                    <a:pt x="41714" y="2022"/>
                    <a:pt x="14410" y="32360"/>
                    <a:pt x="11377" y="32360"/>
                  </a:cubicBezTo>
                  <a:cubicBezTo>
                    <a:pt x="11377" y="35393"/>
                    <a:pt x="11377" y="35393"/>
                    <a:pt x="8344" y="35393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E31F2FD0-D3B6-4244-9F08-9B8B98D52ADD}"/>
                </a:ext>
              </a:extLst>
            </p:cNvPr>
            <p:cNvSpPr/>
            <p:nvPr/>
          </p:nvSpPr>
          <p:spPr>
            <a:xfrm>
              <a:off x="19460519" y="7725593"/>
              <a:ext cx="273344" cy="275597"/>
            </a:xfrm>
            <a:custGeom>
              <a:avLst/>
              <a:gdLst>
                <a:gd name="connsiteX0" fmla="*/ 3117 w 273344"/>
                <a:gd name="connsiteY0" fmla="*/ 2564 h 275597"/>
                <a:gd name="connsiteX1" fmla="*/ 36487 w 273344"/>
                <a:gd name="connsiteY1" fmla="*/ 148181 h 275597"/>
                <a:gd name="connsiteX2" fmla="*/ 273116 w 273344"/>
                <a:gd name="connsiteY2" fmla="*/ 275598 h 275597"/>
                <a:gd name="connsiteX3" fmla="*/ 3117 w 273344"/>
                <a:gd name="connsiteY3" fmla="*/ 2564 h 275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3344" h="275597">
                  <a:moveTo>
                    <a:pt x="3117" y="2564"/>
                  </a:moveTo>
                  <a:cubicBezTo>
                    <a:pt x="3117" y="2564"/>
                    <a:pt x="-15086" y="108744"/>
                    <a:pt x="36487" y="148181"/>
                  </a:cubicBezTo>
                  <a:cubicBezTo>
                    <a:pt x="36487" y="148181"/>
                    <a:pt x="245814" y="190654"/>
                    <a:pt x="273116" y="275598"/>
                  </a:cubicBezTo>
                  <a:cubicBezTo>
                    <a:pt x="273116" y="272564"/>
                    <a:pt x="291319" y="-30807"/>
                    <a:pt x="3117" y="2564"/>
                  </a:cubicBezTo>
                  <a:close/>
                </a:path>
              </a:pathLst>
            </a:custGeom>
            <a:solidFill>
              <a:srgbClr val="F1DDBA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669B119B-26B3-468C-95B2-8427EAE8AD0E}"/>
                </a:ext>
              </a:extLst>
            </p:cNvPr>
            <p:cNvSpPr/>
            <p:nvPr/>
          </p:nvSpPr>
          <p:spPr>
            <a:xfrm>
              <a:off x="19201351" y="7728156"/>
              <a:ext cx="295654" cy="349333"/>
            </a:xfrm>
            <a:custGeom>
              <a:avLst/>
              <a:gdLst>
                <a:gd name="connsiteX0" fmla="*/ 295654 w 295654"/>
                <a:gd name="connsiteY0" fmla="*/ 145618 h 349333"/>
                <a:gd name="connsiteX1" fmla="*/ 156105 w 295654"/>
                <a:gd name="connsiteY1" fmla="*/ 200224 h 349333"/>
                <a:gd name="connsiteX2" fmla="*/ 98463 w 295654"/>
                <a:gd name="connsiteY2" fmla="*/ 318539 h 349333"/>
                <a:gd name="connsiteX3" fmla="*/ 10485 w 295654"/>
                <a:gd name="connsiteY3" fmla="*/ 339775 h 349333"/>
                <a:gd name="connsiteX4" fmla="*/ 265317 w 295654"/>
                <a:gd name="connsiteY4" fmla="*/ 0 h 349333"/>
                <a:gd name="connsiteX5" fmla="*/ 295654 w 295654"/>
                <a:gd name="connsiteY5" fmla="*/ 145618 h 349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5654" h="349333">
                  <a:moveTo>
                    <a:pt x="295654" y="145618"/>
                  </a:moveTo>
                  <a:cubicBezTo>
                    <a:pt x="295654" y="145618"/>
                    <a:pt x="204643" y="194157"/>
                    <a:pt x="156105" y="200224"/>
                  </a:cubicBezTo>
                  <a:cubicBezTo>
                    <a:pt x="104531" y="206292"/>
                    <a:pt x="98463" y="318539"/>
                    <a:pt x="98463" y="318539"/>
                  </a:cubicBezTo>
                  <a:cubicBezTo>
                    <a:pt x="98463" y="318539"/>
                    <a:pt x="25654" y="370112"/>
                    <a:pt x="10485" y="339775"/>
                  </a:cubicBezTo>
                  <a:cubicBezTo>
                    <a:pt x="-22885" y="273034"/>
                    <a:pt x="13520" y="0"/>
                    <a:pt x="265317" y="0"/>
                  </a:cubicBezTo>
                  <a:cubicBezTo>
                    <a:pt x="262284" y="0"/>
                    <a:pt x="271385" y="139550"/>
                    <a:pt x="295654" y="145618"/>
                  </a:cubicBezTo>
                  <a:close/>
                </a:path>
              </a:pathLst>
            </a:custGeom>
            <a:solidFill>
              <a:srgbClr val="F1DDBA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B7C7C681-7F2E-4DC0-A55E-D2C9F12E2CAD}"/>
                </a:ext>
              </a:extLst>
            </p:cNvPr>
            <p:cNvSpPr/>
            <p:nvPr/>
          </p:nvSpPr>
          <p:spPr>
            <a:xfrm>
              <a:off x="19351388" y="8231752"/>
              <a:ext cx="309438" cy="324606"/>
            </a:xfrm>
            <a:custGeom>
              <a:avLst/>
              <a:gdLst>
                <a:gd name="connsiteX0" fmla="*/ 254830 w 309438"/>
                <a:gd name="connsiteY0" fmla="*/ 60674 h 324606"/>
                <a:gd name="connsiteX1" fmla="*/ 309439 w 309438"/>
                <a:gd name="connsiteY1" fmla="*/ 200225 h 324606"/>
                <a:gd name="connsiteX2" fmla="*/ 194156 w 309438"/>
                <a:gd name="connsiteY2" fmla="*/ 324607 h 324606"/>
                <a:gd name="connsiteX3" fmla="*/ 0 w 309438"/>
                <a:gd name="connsiteY3" fmla="*/ 185056 h 324606"/>
                <a:gd name="connsiteX4" fmla="*/ 51573 w 309438"/>
                <a:gd name="connsiteY4" fmla="*/ 0 h 324606"/>
                <a:gd name="connsiteX5" fmla="*/ 254830 w 309438"/>
                <a:gd name="connsiteY5" fmla="*/ 60674 h 32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438" h="324606">
                  <a:moveTo>
                    <a:pt x="254830" y="60674"/>
                  </a:moveTo>
                  <a:cubicBezTo>
                    <a:pt x="254830" y="60674"/>
                    <a:pt x="248764" y="169888"/>
                    <a:pt x="309439" y="200225"/>
                  </a:cubicBezTo>
                  <a:lnTo>
                    <a:pt x="194156" y="324607"/>
                  </a:lnTo>
                  <a:cubicBezTo>
                    <a:pt x="194156" y="324607"/>
                    <a:pt x="54606" y="215393"/>
                    <a:pt x="0" y="185056"/>
                  </a:cubicBezTo>
                  <a:cubicBezTo>
                    <a:pt x="54606" y="142584"/>
                    <a:pt x="51573" y="60674"/>
                    <a:pt x="51573" y="0"/>
                  </a:cubicBezTo>
                  <a:cubicBezTo>
                    <a:pt x="54606" y="0"/>
                    <a:pt x="203259" y="66741"/>
                    <a:pt x="254830" y="60674"/>
                  </a:cubicBezTo>
                  <a:close/>
                </a:path>
              </a:pathLst>
            </a:custGeom>
            <a:solidFill>
              <a:srgbClr val="F5A39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E4B1494D-C5BF-4E47-B657-9991145CD7D3}"/>
                </a:ext>
              </a:extLst>
            </p:cNvPr>
            <p:cNvSpPr/>
            <p:nvPr/>
          </p:nvSpPr>
          <p:spPr>
            <a:xfrm>
              <a:off x="19393859" y="8268156"/>
              <a:ext cx="220703" cy="78876"/>
            </a:xfrm>
            <a:custGeom>
              <a:avLst/>
              <a:gdLst>
                <a:gd name="connsiteX0" fmla="*/ 148652 w 220703"/>
                <a:gd name="connsiteY0" fmla="*/ 78877 h 78876"/>
                <a:gd name="connsiteX1" fmla="*/ 139552 w 220703"/>
                <a:gd name="connsiteY1" fmla="*/ 78877 h 78876"/>
                <a:gd name="connsiteX2" fmla="*/ 3035 w 220703"/>
                <a:gd name="connsiteY2" fmla="*/ 12135 h 78876"/>
                <a:gd name="connsiteX3" fmla="*/ 0 w 220703"/>
                <a:gd name="connsiteY3" fmla="*/ 3034 h 78876"/>
                <a:gd name="connsiteX4" fmla="*/ 9103 w 220703"/>
                <a:gd name="connsiteY4" fmla="*/ 0 h 78876"/>
                <a:gd name="connsiteX5" fmla="*/ 139552 w 220703"/>
                <a:gd name="connsiteY5" fmla="*/ 66742 h 78876"/>
                <a:gd name="connsiteX6" fmla="*/ 209327 w 220703"/>
                <a:gd name="connsiteY6" fmla="*/ 42472 h 78876"/>
                <a:gd name="connsiteX7" fmla="*/ 218427 w 220703"/>
                <a:gd name="connsiteY7" fmla="*/ 42472 h 78876"/>
                <a:gd name="connsiteX8" fmla="*/ 218427 w 220703"/>
                <a:gd name="connsiteY8" fmla="*/ 51573 h 78876"/>
                <a:gd name="connsiteX9" fmla="*/ 148652 w 220703"/>
                <a:gd name="connsiteY9" fmla="*/ 78877 h 7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703" h="78876">
                  <a:moveTo>
                    <a:pt x="148652" y="78877"/>
                  </a:moveTo>
                  <a:cubicBezTo>
                    <a:pt x="145619" y="78877"/>
                    <a:pt x="142585" y="78877"/>
                    <a:pt x="139552" y="78877"/>
                  </a:cubicBezTo>
                  <a:cubicBezTo>
                    <a:pt x="97079" y="72809"/>
                    <a:pt x="6068" y="12135"/>
                    <a:pt x="3035" y="12135"/>
                  </a:cubicBezTo>
                  <a:cubicBezTo>
                    <a:pt x="0" y="9101"/>
                    <a:pt x="0" y="6068"/>
                    <a:pt x="0" y="3034"/>
                  </a:cubicBezTo>
                  <a:cubicBezTo>
                    <a:pt x="3035" y="0"/>
                    <a:pt x="6068" y="0"/>
                    <a:pt x="9103" y="0"/>
                  </a:cubicBezTo>
                  <a:cubicBezTo>
                    <a:pt x="9103" y="0"/>
                    <a:pt x="103147" y="60674"/>
                    <a:pt x="139552" y="66742"/>
                  </a:cubicBezTo>
                  <a:cubicBezTo>
                    <a:pt x="175957" y="72809"/>
                    <a:pt x="209327" y="42472"/>
                    <a:pt x="209327" y="42472"/>
                  </a:cubicBezTo>
                  <a:cubicBezTo>
                    <a:pt x="212360" y="39438"/>
                    <a:pt x="215394" y="39438"/>
                    <a:pt x="218427" y="42472"/>
                  </a:cubicBezTo>
                  <a:cubicBezTo>
                    <a:pt x="221462" y="45506"/>
                    <a:pt x="221462" y="48540"/>
                    <a:pt x="218427" y="51573"/>
                  </a:cubicBezTo>
                  <a:cubicBezTo>
                    <a:pt x="215394" y="51573"/>
                    <a:pt x="188090" y="78877"/>
                    <a:pt x="148652" y="78877"/>
                  </a:cubicBezTo>
                  <a:close/>
                </a:path>
              </a:pathLst>
            </a:custGeom>
            <a:solidFill>
              <a:srgbClr val="E58777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4B0D628E-EA3B-4F79-93BF-6600C25B827F}"/>
                </a:ext>
              </a:extLst>
            </p:cNvPr>
            <p:cNvSpPr/>
            <p:nvPr/>
          </p:nvSpPr>
          <p:spPr>
            <a:xfrm>
              <a:off x="19841592" y="8506563"/>
              <a:ext cx="102948" cy="556425"/>
            </a:xfrm>
            <a:custGeom>
              <a:avLst/>
              <a:gdLst>
                <a:gd name="connsiteX0" fmla="*/ 46763 w 102948"/>
                <a:gd name="connsiteY0" fmla="*/ 556425 h 556425"/>
                <a:gd name="connsiteX1" fmla="*/ 46763 w 102948"/>
                <a:gd name="connsiteY1" fmla="*/ 556425 h 556425"/>
                <a:gd name="connsiteX2" fmla="*/ 40695 w 102948"/>
                <a:gd name="connsiteY2" fmla="*/ 550358 h 556425"/>
                <a:gd name="connsiteX3" fmla="*/ 55863 w 102948"/>
                <a:gd name="connsiteY3" fmla="*/ 495751 h 556425"/>
                <a:gd name="connsiteX4" fmla="*/ 89234 w 102948"/>
                <a:gd name="connsiteY4" fmla="*/ 347099 h 556425"/>
                <a:gd name="connsiteX5" fmla="*/ 1257 w 102948"/>
                <a:gd name="connsiteY5" fmla="*/ 10358 h 556425"/>
                <a:gd name="connsiteX6" fmla="*/ 4290 w 102948"/>
                <a:gd name="connsiteY6" fmla="*/ 1257 h 556425"/>
                <a:gd name="connsiteX7" fmla="*/ 13391 w 102948"/>
                <a:gd name="connsiteY7" fmla="*/ 4290 h 556425"/>
                <a:gd name="connsiteX8" fmla="*/ 101369 w 102948"/>
                <a:gd name="connsiteY8" fmla="*/ 347099 h 556425"/>
                <a:gd name="connsiteX9" fmla="*/ 67997 w 102948"/>
                <a:gd name="connsiteY9" fmla="*/ 498785 h 556425"/>
                <a:gd name="connsiteX10" fmla="*/ 52829 w 102948"/>
                <a:gd name="connsiteY10" fmla="*/ 553391 h 556425"/>
                <a:gd name="connsiteX11" fmla="*/ 46763 w 102948"/>
                <a:gd name="connsiteY11" fmla="*/ 556425 h 556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948" h="556425">
                  <a:moveTo>
                    <a:pt x="46763" y="556425"/>
                  </a:moveTo>
                  <a:cubicBezTo>
                    <a:pt x="43728" y="556425"/>
                    <a:pt x="43728" y="556425"/>
                    <a:pt x="46763" y="556425"/>
                  </a:cubicBezTo>
                  <a:cubicBezTo>
                    <a:pt x="43728" y="556425"/>
                    <a:pt x="40695" y="553391"/>
                    <a:pt x="40695" y="550358"/>
                  </a:cubicBezTo>
                  <a:cubicBezTo>
                    <a:pt x="46763" y="532156"/>
                    <a:pt x="49796" y="513953"/>
                    <a:pt x="55863" y="495751"/>
                  </a:cubicBezTo>
                  <a:cubicBezTo>
                    <a:pt x="71032" y="444178"/>
                    <a:pt x="86201" y="392605"/>
                    <a:pt x="89234" y="347099"/>
                  </a:cubicBezTo>
                  <a:cubicBezTo>
                    <a:pt x="95301" y="225751"/>
                    <a:pt x="67997" y="113504"/>
                    <a:pt x="1257" y="10358"/>
                  </a:cubicBezTo>
                  <a:cubicBezTo>
                    <a:pt x="-1778" y="7324"/>
                    <a:pt x="1257" y="4290"/>
                    <a:pt x="4290" y="1257"/>
                  </a:cubicBezTo>
                  <a:cubicBezTo>
                    <a:pt x="7323" y="-1777"/>
                    <a:pt x="10358" y="1257"/>
                    <a:pt x="13391" y="4290"/>
                  </a:cubicBezTo>
                  <a:cubicBezTo>
                    <a:pt x="80133" y="110470"/>
                    <a:pt x="110470" y="225751"/>
                    <a:pt x="101369" y="347099"/>
                  </a:cubicBezTo>
                  <a:cubicBezTo>
                    <a:pt x="98334" y="392605"/>
                    <a:pt x="83166" y="447212"/>
                    <a:pt x="67997" y="498785"/>
                  </a:cubicBezTo>
                  <a:cubicBezTo>
                    <a:pt x="61931" y="516987"/>
                    <a:pt x="55863" y="535189"/>
                    <a:pt x="52829" y="553391"/>
                  </a:cubicBezTo>
                  <a:cubicBezTo>
                    <a:pt x="49796" y="553391"/>
                    <a:pt x="46763" y="556425"/>
                    <a:pt x="46763" y="556425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632E2301-14F3-4B90-A086-8F6555F06607}"/>
                </a:ext>
              </a:extLst>
            </p:cNvPr>
            <p:cNvSpPr/>
            <p:nvPr/>
          </p:nvSpPr>
          <p:spPr>
            <a:xfrm>
              <a:off x="19421163" y="8947900"/>
              <a:ext cx="397414" cy="36211"/>
            </a:xfrm>
            <a:custGeom>
              <a:avLst/>
              <a:gdLst>
                <a:gd name="connsiteX0" fmla="*/ 394382 w 397414"/>
                <a:gd name="connsiteY0" fmla="*/ 36211 h 36211"/>
                <a:gd name="connsiteX1" fmla="*/ 394382 w 397414"/>
                <a:gd name="connsiteY1" fmla="*/ 36211 h 36211"/>
                <a:gd name="connsiteX2" fmla="*/ 6068 w 397414"/>
                <a:gd name="connsiteY2" fmla="*/ 24077 h 36211"/>
                <a:gd name="connsiteX3" fmla="*/ 0 w 397414"/>
                <a:gd name="connsiteY3" fmla="*/ 21043 h 36211"/>
                <a:gd name="connsiteX4" fmla="*/ 3033 w 397414"/>
                <a:gd name="connsiteY4" fmla="*/ 14976 h 36211"/>
                <a:gd name="connsiteX5" fmla="*/ 394382 w 397414"/>
                <a:gd name="connsiteY5" fmla="*/ 27110 h 36211"/>
                <a:gd name="connsiteX6" fmla="*/ 397415 w 397414"/>
                <a:gd name="connsiteY6" fmla="*/ 33178 h 36211"/>
                <a:gd name="connsiteX7" fmla="*/ 394382 w 397414"/>
                <a:gd name="connsiteY7" fmla="*/ 36211 h 36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7414" h="36211">
                  <a:moveTo>
                    <a:pt x="394382" y="36211"/>
                  </a:moveTo>
                  <a:cubicBezTo>
                    <a:pt x="394382" y="36211"/>
                    <a:pt x="394382" y="36211"/>
                    <a:pt x="394382" y="36211"/>
                  </a:cubicBezTo>
                  <a:cubicBezTo>
                    <a:pt x="309439" y="5874"/>
                    <a:pt x="106180" y="-193"/>
                    <a:pt x="6068" y="24077"/>
                  </a:cubicBezTo>
                  <a:cubicBezTo>
                    <a:pt x="3033" y="24077"/>
                    <a:pt x="0" y="24077"/>
                    <a:pt x="0" y="21043"/>
                  </a:cubicBezTo>
                  <a:cubicBezTo>
                    <a:pt x="0" y="18009"/>
                    <a:pt x="0" y="14976"/>
                    <a:pt x="3033" y="14976"/>
                  </a:cubicBezTo>
                  <a:cubicBezTo>
                    <a:pt x="103147" y="-9294"/>
                    <a:pt x="309439" y="-3227"/>
                    <a:pt x="394382" y="27110"/>
                  </a:cubicBezTo>
                  <a:cubicBezTo>
                    <a:pt x="397415" y="27110"/>
                    <a:pt x="397415" y="30144"/>
                    <a:pt x="397415" y="33178"/>
                  </a:cubicBezTo>
                  <a:cubicBezTo>
                    <a:pt x="397415" y="33178"/>
                    <a:pt x="397415" y="36211"/>
                    <a:pt x="394382" y="36211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435247F1-792A-487E-9FA4-18ABAB9A5D84}"/>
                </a:ext>
              </a:extLst>
            </p:cNvPr>
            <p:cNvSpPr/>
            <p:nvPr/>
          </p:nvSpPr>
          <p:spPr>
            <a:xfrm>
              <a:off x="19255986" y="8030050"/>
              <a:ext cx="78547" cy="113485"/>
            </a:xfrm>
            <a:custGeom>
              <a:avLst/>
              <a:gdLst>
                <a:gd name="connsiteX0" fmla="*/ 65065 w 78547"/>
                <a:gd name="connsiteY0" fmla="*/ 16646 h 113485"/>
                <a:gd name="connsiteX1" fmla="*/ 7424 w 78547"/>
                <a:gd name="connsiteY1" fmla="*/ 7545 h 113485"/>
                <a:gd name="connsiteX2" fmla="*/ 65065 w 78547"/>
                <a:gd name="connsiteY2" fmla="*/ 110691 h 113485"/>
                <a:gd name="connsiteX3" fmla="*/ 65065 w 78547"/>
                <a:gd name="connsiteY3" fmla="*/ 16646 h 11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47" h="113485">
                  <a:moveTo>
                    <a:pt x="65065" y="16646"/>
                  </a:moveTo>
                  <a:cubicBezTo>
                    <a:pt x="65065" y="16646"/>
                    <a:pt x="31693" y="-13691"/>
                    <a:pt x="7424" y="7545"/>
                  </a:cubicBezTo>
                  <a:cubicBezTo>
                    <a:pt x="-16846" y="25747"/>
                    <a:pt x="22592" y="131926"/>
                    <a:pt x="65065" y="110691"/>
                  </a:cubicBezTo>
                  <a:cubicBezTo>
                    <a:pt x="95402" y="92489"/>
                    <a:pt x="65065" y="16646"/>
                    <a:pt x="65065" y="16646"/>
                  </a:cubicBezTo>
                  <a:close/>
                </a:path>
              </a:pathLst>
            </a:custGeom>
            <a:solidFill>
              <a:srgbClr val="F5A39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FD02E5C1-DCA3-42C2-9B15-E819F139FA50}"/>
                </a:ext>
              </a:extLst>
            </p:cNvPr>
            <p:cNvSpPr/>
            <p:nvPr/>
          </p:nvSpPr>
          <p:spPr>
            <a:xfrm>
              <a:off x="19620131" y="7908922"/>
              <a:ext cx="146875" cy="165076"/>
            </a:xfrm>
            <a:custGeom>
              <a:avLst/>
              <a:gdLst>
                <a:gd name="connsiteX0" fmla="*/ 140808 w 146875"/>
                <a:gd name="connsiteY0" fmla="*/ 165077 h 165076"/>
                <a:gd name="connsiteX1" fmla="*/ 134740 w 146875"/>
                <a:gd name="connsiteY1" fmla="*/ 159009 h 165076"/>
                <a:gd name="connsiteX2" fmla="*/ 4291 w 146875"/>
                <a:gd name="connsiteY2" fmla="*/ 10357 h 165076"/>
                <a:gd name="connsiteX3" fmla="*/ 1256 w 146875"/>
                <a:gd name="connsiteY3" fmla="*/ 4290 h 165076"/>
                <a:gd name="connsiteX4" fmla="*/ 7324 w 146875"/>
                <a:gd name="connsiteY4" fmla="*/ 1257 h 165076"/>
                <a:gd name="connsiteX5" fmla="*/ 146876 w 146875"/>
                <a:gd name="connsiteY5" fmla="*/ 159009 h 165076"/>
                <a:gd name="connsiteX6" fmla="*/ 140808 w 146875"/>
                <a:gd name="connsiteY6" fmla="*/ 165077 h 165076"/>
                <a:gd name="connsiteX7" fmla="*/ 140808 w 146875"/>
                <a:gd name="connsiteY7" fmla="*/ 165077 h 165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875" h="165076">
                  <a:moveTo>
                    <a:pt x="140808" y="165077"/>
                  </a:moveTo>
                  <a:cubicBezTo>
                    <a:pt x="137773" y="165077"/>
                    <a:pt x="134740" y="162043"/>
                    <a:pt x="134740" y="159009"/>
                  </a:cubicBezTo>
                  <a:cubicBezTo>
                    <a:pt x="110471" y="37661"/>
                    <a:pt x="4291" y="10357"/>
                    <a:pt x="4291" y="10357"/>
                  </a:cubicBezTo>
                  <a:cubicBezTo>
                    <a:pt x="1256" y="10357"/>
                    <a:pt x="-1777" y="7324"/>
                    <a:pt x="1256" y="4290"/>
                  </a:cubicBezTo>
                  <a:cubicBezTo>
                    <a:pt x="1256" y="1257"/>
                    <a:pt x="4291" y="-1777"/>
                    <a:pt x="7324" y="1257"/>
                  </a:cubicBezTo>
                  <a:cubicBezTo>
                    <a:pt x="7324" y="1257"/>
                    <a:pt x="122605" y="31594"/>
                    <a:pt x="146876" y="159009"/>
                  </a:cubicBezTo>
                  <a:cubicBezTo>
                    <a:pt x="146876" y="162043"/>
                    <a:pt x="143841" y="165077"/>
                    <a:pt x="140808" y="165077"/>
                  </a:cubicBezTo>
                  <a:cubicBezTo>
                    <a:pt x="140808" y="165077"/>
                    <a:pt x="140808" y="165077"/>
                    <a:pt x="140808" y="165077"/>
                  </a:cubicBezTo>
                  <a:close/>
                </a:path>
              </a:pathLst>
            </a:custGeom>
            <a:solidFill>
              <a:srgbClr val="D3977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4806FE7F-07E8-479B-9480-8DADE0CFEBBA}"/>
                </a:ext>
              </a:extLst>
            </p:cNvPr>
            <p:cNvGrpSpPr/>
            <p:nvPr/>
          </p:nvGrpSpPr>
          <p:grpSpPr>
            <a:xfrm>
              <a:off x="19214871" y="7579327"/>
              <a:ext cx="606741" cy="345839"/>
              <a:chOff x="19214871" y="7579327"/>
              <a:chExt cx="606741" cy="345839"/>
            </a:xfrm>
          </p:grpSpPr>
          <p:grpSp>
            <p:nvGrpSpPr>
              <p:cNvPr id="138" name="图形 1">
                <a:extLst>
                  <a:ext uri="{FF2B5EF4-FFF2-40B4-BE49-F238E27FC236}">
                    <a16:creationId xmlns:a16="http://schemas.microsoft.com/office/drawing/2014/main" id="{220A324A-B566-4416-8941-F3567EDFAE41}"/>
                  </a:ext>
                </a:extLst>
              </p:cNvPr>
              <p:cNvGrpSpPr/>
              <p:nvPr/>
            </p:nvGrpSpPr>
            <p:grpSpPr>
              <a:xfrm>
                <a:off x="19217904" y="7587832"/>
                <a:ext cx="603708" cy="337334"/>
                <a:chOff x="19217904" y="7587832"/>
                <a:chExt cx="603708" cy="337334"/>
              </a:xfrm>
              <a:solidFill>
                <a:srgbClr val="D16156"/>
              </a:solidFill>
            </p:grpSpPr>
            <p:sp>
              <p:nvSpPr>
                <p:cNvPr id="141" name="任意多边形: 形状 140">
                  <a:extLst>
                    <a:ext uri="{FF2B5EF4-FFF2-40B4-BE49-F238E27FC236}">
                      <a16:creationId xmlns:a16="http://schemas.microsoft.com/office/drawing/2014/main" id="{E110F65C-F2BA-4895-BADE-ADAA9D2C084B}"/>
                    </a:ext>
                  </a:extLst>
                </p:cNvPr>
                <p:cNvSpPr/>
                <p:nvPr/>
              </p:nvSpPr>
              <p:spPr>
                <a:xfrm>
                  <a:off x="19217904" y="7587832"/>
                  <a:ext cx="515730" cy="284560"/>
                </a:xfrm>
                <a:custGeom>
                  <a:avLst/>
                  <a:gdLst>
                    <a:gd name="connsiteX0" fmla="*/ 515730 w 515730"/>
                    <a:gd name="connsiteY0" fmla="*/ 204032 h 284560"/>
                    <a:gd name="connsiteX1" fmla="*/ 221460 w 515730"/>
                    <a:gd name="connsiteY1" fmla="*/ 3808 h 284560"/>
                    <a:gd name="connsiteX2" fmla="*/ 0 w 515730"/>
                    <a:gd name="connsiteY2" fmla="*/ 270774 h 284560"/>
                    <a:gd name="connsiteX3" fmla="*/ 412585 w 515730"/>
                    <a:gd name="connsiteY3" fmla="*/ 261673 h 284560"/>
                    <a:gd name="connsiteX4" fmla="*/ 515730 w 515730"/>
                    <a:gd name="connsiteY4" fmla="*/ 204032 h 284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5730" h="284560">
                      <a:moveTo>
                        <a:pt x="515730" y="204032"/>
                      </a:moveTo>
                      <a:cubicBezTo>
                        <a:pt x="515730" y="204032"/>
                        <a:pt x="473260" y="-32597"/>
                        <a:pt x="221460" y="3808"/>
                      </a:cubicBezTo>
                      <a:cubicBezTo>
                        <a:pt x="0" y="37178"/>
                        <a:pt x="0" y="270774"/>
                        <a:pt x="0" y="270774"/>
                      </a:cubicBezTo>
                      <a:cubicBezTo>
                        <a:pt x="0" y="270774"/>
                        <a:pt x="254832" y="307178"/>
                        <a:pt x="412585" y="261673"/>
                      </a:cubicBezTo>
                      <a:cubicBezTo>
                        <a:pt x="458091" y="246504"/>
                        <a:pt x="494494" y="228302"/>
                        <a:pt x="515730" y="20403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2" name="任意多边形: 形状 141">
                  <a:extLst>
                    <a:ext uri="{FF2B5EF4-FFF2-40B4-BE49-F238E27FC236}">
                      <a16:creationId xmlns:a16="http://schemas.microsoft.com/office/drawing/2014/main" id="{98F1949E-7314-4D1A-BCB1-F0ED7243089F}"/>
                    </a:ext>
                  </a:extLst>
                </p:cNvPr>
                <p:cNvSpPr/>
                <p:nvPr/>
              </p:nvSpPr>
              <p:spPr>
                <a:xfrm>
                  <a:off x="19220939" y="7788831"/>
                  <a:ext cx="600673" cy="136335"/>
                </a:xfrm>
                <a:custGeom>
                  <a:avLst/>
                  <a:gdLst>
                    <a:gd name="connsiteX0" fmla="*/ 0 w 600673"/>
                    <a:gd name="connsiteY0" fmla="*/ 72809 h 136335"/>
                    <a:gd name="connsiteX1" fmla="*/ 18202 w 600673"/>
                    <a:gd name="connsiteY1" fmla="*/ 91011 h 136335"/>
                    <a:gd name="connsiteX2" fmla="*/ 260898 w 600673"/>
                    <a:gd name="connsiteY2" fmla="*/ 133483 h 136335"/>
                    <a:gd name="connsiteX3" fmla="*/ 600674 w 600673"/>
                    <a:gd name="connsiteY3" fmla="*/ 63708 h 136335"/>
                    <a:gd name="connsiteX4" fmla="*/ 512696 w 600673"/>
                    <a:gd name="connsiteY4" fmla="*/ 0 h 136335"/>
                    <a:gd name="connsiteX5" fmla="*/ 0 w 600673"/>
                    <a:gd name="connsiteY5" fmla="*/ 66741 h 136335"/>
                    <a:gd name="connsiteX6" fmla="*/ 0 w 600673"/>
                    <a:gd name="connsiteY6" fmla="*/ 72809 h 136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00673" h="136335">
                      <a:moveTo>
                        <a:pt x="0" y="72809"/>
                      </a:moveTo>
                      <a:cubicBezTo>
                        <a:pt x="0" y="81910"/>
                        <a:pt x="9101" y="87977"/>
                        <a:pt x="18202" y="91011"/>
                      </a:cubicBezTo>
                      <a:cubicBezTo>
                        <a:pt x="81909" y="121348"/>
                        <a:pt x="194156" y="130449"/>
                        <a:pt x="260898" y="133483"/>
                      </a:cubicBezTo>
                      <a:cubicBezTo>
                        <a:pt x="464157" y="148652"/>
                        <a:pt x="600674" y="100112"/>
                        <a:pt x="600674" y="63708"/>
                      </a:cubicBezTo>
                      <a:cubicBezTo>
                        <a:pt x="600674" y="30337"/>
                        <a:pt x="512696" y="0"/>
                        <a:pt x="512696" y="0"/>
                      </a:cubicBezTo>
                      <a:cubicBezTo>
                        <a:pt x="512696" y="0"/>
                        <a:pt x="458089" y="60674"/>
                        <a:pt x="0" y="66741"/>
                      </a:cubicBezTo>
                      <a:lnTo>
                        <a:pt x="0" y="72809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39E4582D-DC53-4794-9B34-A0ABB7D936CA}"/>
                  </a:ext>
                </a:extLst>
              </p:cNvPr>
              <p:cNvSpPr/>
              <p:nvPr/>
            </p:nvSpPr>
            <p:spPr>
              <a:xfrm>
                <a:off x="19214871" y="7785797"/>
                <a:ext cx="527864" cy="78876"/>
              </a:xfrm>
              <a:custGeom>
                <a:avLst/>
                <a:gdLst>
                  <a:gd name="connsiteX0" fmla="*/ 6068 w 527864"/>
                  <a:gd name="connsiteY0" fmla="*/ 78877 h 78876"/>
                  <a:gd name="connsiteX1" fmla="*/ 0 w 527864"/>
                  <a:gd name="connsiteY1" fmla="*/ 72809 h 78876"/>
                  <a:gd name="connsiteX2" fmla="*/ 6068 w 527864"/>
                  <a:gd name="connsiteY2" fmla="*/ 66741 h 78876"/>
                  <a:gd name="connsiteX3" fmla="*/ 515730 w 527864"/>
                  <a:gd name="connsiteY3" fmla="*/ 3034 h 78876"/>
                  <a:gd name="connsiteX4" fmla="*/ 524831 w 527864"/>
                  <a:gd name="connsiteY4" fmla="*/ 0 h 78876"/>
                  <a:gd name="connsiteX5" fmla="*/ 527864 w 527864"/>
                  <a:gd name="connsiteY5" fmla="*/ 9101 h 78876"/>
                  <a:gd name="connsiteX6" fmla="*/ 6068 w 527864"/>
                  <a:gd name="connsiteY6" fmla="*/ 78877 h 78876"/>
                  <a:gd name="connsiteX7" fmla="*/ 6068 w 527864"/>
                  <a:gd name="connsiteY7" fmla="*/ 78877 h 78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7864" h="78876">
                    <a:moveTo>
                      <a:pt x="6068" y="78877"/>
                    </a:moveTo>
                    <a:cubicBezTo>
                      <a:pt x="3033" y="78877"/>
                      <a:pt x="0" y="75843"/>
                      <a:pt x="0" y="72809"/>
                    </a:cubicBezTo>
                    <a:cubicBezTo>
                      <a:pt x="0" y="69775"/>
                      <a:pt x="3033" y="66741"/>
                      <a:pt x="6068" y="66741"/>
                    </a:cubicBezTo>
                    <a:cubicBezTo>
                      <a:pt x="479325" y="45506"/>
                      <a:pt x="515730" y="3034"/>
                      <a:pt x="515730" y="3034"/>
                    </a:cubicBezTo>
                    <a:cubicBezTo>
                      <a:pt x="518763" y="0"/>
                      <a:pt x="521798" y="0"/>
                      <a:pt x="524831" y="0"/>
                    </a:cubicBezTo>
                    <a:cubicBezTo>
                      <a:pt x="527864" y="0"/>
                      <a:pt x="527864" y="6067"/>
                      <a:pt x="527864" y="9101"/>
                    </a:cubicBezTo>
                    <a:cubicBezTo>
                      <a:pt x="521798" y="15169"/>
                      <a:pt x="485393" y="57640"/>
                      <a:pt x="6068" y="78877"/>
                    </a:cubicBezTo>
                    <a:lnTo>
                      <a:pt x="6068" y="78877"/>
                    </a:ln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85397977-C341-4B65-BF68-605446CA5B9B}"/>
                  </a:ext>
                </a:extLst>
              </p:cNvPr>
              <p:cNvSpPr/>
              <p:nvPr/>
            </p:nvSpPr>
            <p:spPr>
              <a:xfrm>
                <a:off x="19327119" y="7579327"/>
                <a:ext cx="315504" cy="267144"/>
              </a:xfrm>
              <a:custGeom>
                <a:avLst/>
                <a:gdLst>
                  <a:gd name="connsiteX0" fmla="*/ 157751 w 315504"/>
                  <a:gd name="connsiteY0" fmla="*/ 267144 h 267144"/>
                  <a:gd name="connsiteX1" fmla="*/ 151685 w 315504"/>
                  <a:gd name="connsiteY1" fmla="*/ 261077 h 267144"/>
                  <a:gd name="connsiteX2" fmla="*/ 3033 w 315504"/>
                  <a:gd name="connsiteY2" fmla="*/ 57818 h 267144"/>
                  <a:gd name="connsiteX3" fmla="*/ 0 w 315504"/>
                  <a:gd name="connsiteY3" fmla="*/ 54785 h 267144"/>
                  <a:gd name="connsiteX4" fmla="*/ 3033 w 315504"/>
                  <a:gd name="connsiteY4" fmla="*/ 48717 h 267144"/>
                  <a:gd name="connsiteX5" fmla="*/ 209325 w 315504"/>
                  <a:gd name="connsiteY5" fmla="*/ 3212 h 267144"/>
                  <a:gd name="connsiteX6" fmla="*/ 212360 w 315504"/>
                  <a:gd name="connsiteY6" fmla="*/ 3212 h 267144"/>
                  <a:gd name="connsiteX7" fmla="*/ 315505 w 315504"/>
                  <a:gd name="connsiteY7" fmla="*/ 233773 h 267144"/>
                  <a:gd name="connsiteX8" fmla="*/ 309437 w 315504"/>
                  <a:gd name="connsiteY8" fmla="*/ 239841 h 267144"/>
                  <a:gd name="connsiteX9" fmla="*/ 309437 w 315504"/>
                  <a:gd name="connsiteY9" fmla="*/ 239841 h 267144"/>
                  <a:gd name="connsiteX10" fmla="*/ 303371 w 315504"/>
                  <a:gd name="connsiteY10" fmla="*/ 233773 h 267144"/>
                  <a:gd name="connsiteX11" fmla="*/ 206292 w 315504"/>
                  <a:gd name="connsiteY11" fmla="*/ 12313 h 267144"/>
                  <a:gd name="connsiteX12" fmla="*/ 18202 w 315504"/>
                  <a:gd name="connsiteY12" fmla="*/ 48717 h 267144"/>
                  <a:gd name="connsiteX13" fmla="*/ 163819 w 315504"/>
                  <a:gd name="connsiteY13" fmla="*/ 255009 h 267144"/>
                  <a:gd name="connsiteX14" fmla="*/ 157751 w 315504"/>
                  <a:gd name="connsiteY14" fmla="*/ 267144 h 267144"/>
                  <a:gd name="connsiteX15" fmla="*/ 157751 w 315504"/>
                  <a:gd name="connsiteY15" fmla="*/ 267144 h 267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15504" h="267144">
                    <a:moveTo>
                      <a:pt x="157751" y="267144"/>
                    </a:moveTo>
                    <a:cubicBezTo>
                      <a:pt x="154718" y="267144"/>
                      <a:pt x="151685" y="264110"/>
                      <a:pt x="151685" y="261077"/>
                    </a:cubicBezTo>
                    <a:cubicBezTo>
                      <a:pt x="145618" y="133661"/>
                      <a:pt x="6066" y="60852"/>
                      <a:pt x="3033" y="57818"/>
                    </a:cubicBezTo>
                    <a:cubicBezTo>
                      <a:pt x="0" y="57818"/>
                      <a:pt x="0" y="54785"/>
                      <a:pt x="0" y="54785"/>
                    </a:cubicBezTo>
                    <a:cubicBezTo>
                      <a:pt x="0" y="51751"/>
                      <a:pt x="0" y="51751"/>
                      <a:pt x="3033" y="48717"/>
                    </a:cubicBezTo>
                    <a:cubicBezTo>
                      <a:pt x="91011" y="-18024"/>
                      <a:pt x="203257" y="3212"/>
                      <a:pt x="209325" y="3212"/>
                    </a:cubicBezTo>
                    <a:cubicBezTo>
                      <a:pt x="209325" y="3212"/>
                      <a:pt x="212360" y="3212"/>
                      <a:pt x="212360" y="3212"/>
                    </a:cubicBezTo>
                    <a:cubicBezTo>
                      <a:pt x="212360" y="3212"/>
                      <a:pt x="315505" y="82088"/>
                      <a:pt x="315505" y="233773"/>
                    </a:cubicBezTo>
                    <a:cubicBezTo>
                      <a:pt x="315505" y="236807"/>
                      <a:pt x="312472" y="239841"/>
                      <a:pt x="309437" y="239841"/>
                    </a:cubicBezTo>
                    <a:lnTo>
                      <a:pt x="309437" y="239841"/>
                    </a:lnTo>
                    <a:cubicBezTo>
                      <a:pt x="306404" y="239841"/>
                      <a:pt x="303371" y="236807"/>
                      <a:pt x="303371" y="233773"/>
                    </a:cubicBezTo>
                    <a:cubicBezTo>
                      <a:pt x="303371" y="94223"/>
                      <a:pt x="215393" y="21414"/>
                      <a:pt x="206292" y="12313"/>
                    </a:cubicBezTo>
                    <a:cubicBezTo>
                      <a:pt x="194156" y="9279"/>
                      <a:pt x="94044" y="-2856"/>
                      <a:pt x="18202" y="48717"/>
                    </a:cubicBezTo>
                    <a:cubicBezTo>
                      <a:pt x="48539" y="66919"/>
                      <a:pt x="157751" y="139728"/>
                      <a:pt x="163819" y="255009"/>
                    </a:cubicBezTo>
                    <a:cubicBezTo>
                      <a:pt x="163819" y="264110"/>
                      <a:pt x="160786" y="267144"/>
                      <a:pt x="157751" y="267144"/>
                    </a:cubicBezTo>
                    <a:cubicBezTo>
                      <a:pt x="157751" y="267144"/>
                      <a:pt x="157751" y="267144"/>
                      <a:pt x="157751" y="26714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F8597532-7FFB-46EF-A463-D893B19E91A2}"/>
                </a:ext>
              </a:extLst>
            </p:cNvPr>
            <p:cNvSpPr/>
            <p:nvPr/>
          </p:nvSpPr>
          <p:spPr>
            <a:xfrm>
              <a:off x="19545544" y="11890222"/>
              <a:ext cx="228618" cy="119913"/>
            </a:xfrm>
            <a:custGeom>
              <a:avLst/>
              <a:gdLst>
                <a:gd name="connsiteX0" fmla="*/ 0 w 228618"/>
                <a:gd name="connsiteY0" fmla="*/ 6249 h 119913"/>
                <a:gd name="connsiteX1" fmla="*/ 15169 w 228618"/>
                <a:gd name="connsiteY1" fmla="*/ 109395 h 119913"/>
                <a:gd name="connsiteX2" fmla="*/ 212360 w 228618"/>
                <a:gd name="connsiteY2" fmla="*/ 103328 h 119913"/>
                <a:gd name="connsiteX3" fmla="*/ 227528 w 228618"/>
                <a:gd name="connsiteY3" fmla="*/ 181 h 119913"/>
                <a:gd name="connsiteX4" fmla="*/ 0 w 228618"/>
                <a:gd name="connsiteY4" fmla="*/ 6249 h 119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18" h="119913">
                  <a:moveTo>
                    <a:pt x="0" y="6249"/>
                  </a:moveTo>
                  <a:cubicBezTo>
                    <a:pt x="0" y="6249"/>
                    <a:pt x="3035" y="63889"/>
                    <a:pt x="15169" y="109395"/>
                  </a:cubicBezTo>
                  <a:cubicBezTo>
                    <a:pt x="15169" y="109395"/>
                    <a:pt x="54608" y="136698"/>
                    <a:pt x="212360" y="103328"/>
                  </a:cubicBezTo>
                  <a:cubicBezTo>
                    <a:pt x="212360" y="103328"/>
                    <a:pt x="233596" y="42654"/>
                    <a:pt x="227528" y="181"/>
                  </a:cubicBezTo>
                  <a:cubicBezTo>
                    <a:pt x="230563" y="-2852"/>
                    <a:pt x="97079" y="33552"/>
                    <a:pt x="0" y="6249"/>
                  </a:cubicBezTo>
                  <a:close/>
                </a:path>
              </a:pathLst>
            </a:custGeom>
            <a:solidFill>
              <a:srgbClr val="9DB3D1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CA8896DF-308F-4B3F-8623-25B1B701D8D4}"/>
                </a:ext>
              </a:extLst>
            </p:cNvPr>
            <p:cNvSpPr/>
            <p:nvPr/>
          </p:nvSpPr>
          <p:spPr>
            <a:xfrm>
              <a:off x="18553523" y="11462651"/>
              <a:ext cx="206291" cy="248763"/>
            </a:xfrm>
            <a:custGeom>
              <a:avLst/>
              <a:gdLst>
                <a:gd name="connsiteX0" fmla="*/ 78876 w 206291"/>
                <a:gd name="connsiteY0" fmla="*/ 0 h 248763"/>
                <a:gd name="connsiteX1" fmla="*/ 0 w 206291"/>
                <a:gd name="connsiteY1" fmla="*/ 66741 h 248763"/>
                <a:gd name="connsiteX2" fmla="*/ 118314 w 206291"/>
                <a:gd name="connsiteY2" fmla="*/ 248763 h 248763"/>
                <a:gd name="connsiteX3" fmla="*/ 206292 w 206291"/>
                <a:gd name="connsiteY3" fmla="*/ 194157 h 248763"/>
                <a:gd name="connsiteX4" fmla="*/ 78876 w 206291"/>
                <a:gd name="connsiteY4" fmla="*/ 0 h 24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291" h="248763">
                  <a:moveTo>
                    <a:pt x="78876" y="0"/>
                  </a:moveTo>
                  <a:cubicBezTo>
                    <a:pt x="78876" y="0"/>
                    <a:pt x="33370" y="33370"/>
                    <a:pt x="0" y="66741"/>
                  </a:cubicBezTo>
                  <a:cubicBezTo>
                    <a:pt x="0" y="66741"/>
                    <a:pt x="6066" y="127415"/>
                    <a:pt x="118314" y="248763"/>
                  </a:cubicBezTo>
                  <a:cubicBezTo>
                    <a:pt x="118314" y="248763"/>
                    <a:pt x="169887" y="221460"/>
                    <a:pt x="206292" y="194157"/>
                  </a:cubicBezTo>
                  <a:cubicBezTo>
                    <a:pt x="203257" y="191123"/>
                    <a:pt x="103145" y="97078"/>
                    <a:pt x="78876" y="0"/>
                  </a:cubicBezTo>
                  <a:close/>
                </a:path>
              </a:pathLst>
            </a:custGeom>
            <a:solidFill>
              <a:srgbClr val="9DB3D1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2B69FA26-BFA6-4241-B51E-97C549F19BCA}"/>
                </a:ext>
              </a:extLst>
            </p:cNvPr>
            <p:cNvSpPr/>
            <p:nvPr/>
          </p:nvSpPr>
          <p:spPr>
            <a:xfrm>
              <a:off x="19739702" y="12024645"/>
              <a:ext cx="56882" cy="72050"/>
            </a:xfrm>
            <a:custGeom>
              <a:avLst/>
              <a:gdLst>
                <a:gd name="connsiteX0" fmla="*/ 6068 w 56882"/>
                <a:gd name="connsiteY0" fmla="*/ 72051 h 72050"/>
                <a:gd name="connsiteX1" fmla="*/ 6068 w 56882"/>
                <a:gd name="connsiteY1" fmla="*/ 72051 h 72050"/>
                <a:gd name="connsiteX2" fmla="*/ 0 w 56882"/>
                <a:gd name="connsiteY2" fmla="*/ 65983 h 72050"/>
                <a:gd name="connsiteX3" fmla="*/ 45506 w 56882"/>
                <a:gd name="connsiteY3" fmla="*/ 2275 h 72050"/>
                <a:gd name="connsiteX4" fmla="*/ 54606 w 56882"/>
                <a:gd name="connsiteY4" fmla="*/ 2275 h 72050"/>
                <a:gd name="connsiteX5" fmla="*/ 54606 w 56882"/>
                <a:gd name="connsiteY5" fmla="*/ 11376 h 72050"/>
                <a:gd name="connsiteX6" fmla="*/ 15169 w 56882"/>
                <a:gd name="connsiteY6" fmla="*/ 72051 h 72050"/>
                <a:gd name="connsiteX7" fmla="*/ 6068 w 56882"/>
                <a:gd name="connsiteY7" fmla="*/ 72051 h 7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882" h="72050">
                  <a:moveTo>
                    <a:pt x="6068" y="72051"/>
                  </a:moveTo>
                  <a:cubicBezTo>
                    <a:pt x="6068" y="72051"/>
                    <a:pt x="6068" y="72051"/>
                    <a:pt x="6068" y="72051"/>
                  </a:cubicBezTo>
                  <a:cubicBezTo>
                    <a:pt x="3033" y="72051"/>
                    <a:pt x="0" y="69017"/>
                    <a:pt x="0" y="65983"/>
                  </a:cubicBezTo>
                  <a:cubicBezTo>
                    <a:pt x="9101" y="29579"/>
                    <a:pt x="42473" y="2275"/>
                    <a:pt x="45506" y="2275"/>
                  </a:cubicBezTo>
                  <a:cubicBezTo>
                    <a:pt x="48539" y="-758"/>
                    <a:pt x="51573" y="-758"/>
                    <a:pt x="54606" y="2275"/>
                  </a:cubicBezTo>
                  <a:cubicBezTo>
                    <a:pt x="57641" y="5309"/>
                    <a:pt x="57641" y="8343"/>
                    <a:pt x="54606" y="11376"/>
                  </a:cubicBezTo>
                  <a:cubicBezTo>
                    <a:pt x="54606" y="11376"/>
                    <a:pt x="24269" y="38680"/>
                    <a:pt x="15169" y="72051"/>
                  </a:cubicBezTo>
                  <a:cubicBezTo>
                    <a:pt x="12136" y="72051"/>
                    <a:pt x="9101" y="72051"/>
                    <a:pt x="6068" y="72051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572C8459-4BED-4D42-B90F-61D2C35EC012}"/>
                </a:ext>
              </a:extLst>
            </p:cNvPr>
            <p:cNvSpPr/>
            <p:nvPr/>
          </p:nvSpPr>
          <p:spPr>
            <a:xfrm>
              <a:off x="19809477" y="12061976"/>
              <a:ext cx="49888" cy="68090"/>
            </a:xfrm>
            <a:custGeom>
              <a:avLst/>
              <a:gdLst>
                <a:gd name="connsiteX0" fmla="*/ 6068 w 49888"/>
                <a:gd name="connsiteY0" fmla="*/ 68090 h 68090"/>
                <a:gd name="connsiteX1" fmla="*/ 6068 w 49888"/>
                <a:gd name="connsiteY1" fmla="*/ 68090 h 68090"/>
                <a:gd name="connsiteX2" fmla="*/ 0 w 49888"/>
                <a:gd name="connsiteY2" fmla="*/ 62023 h 68090"/>
                <a:gd name="connsiteX3" fmla="*/ 39438 w 49888"/>
                <a:gd name="connsiteY3" fmla="*/ 1348 h 68090"/>
                <a:gd name="connsiteX4" fmla="*/ 48540 w 49888"/>
                <a:gd name="connsiteY4" fmla="*/ 1348 h 68090"/>
                <a:gd name="connsiteX5" fmla="*/ 48540 w 49888"/>
                <a:gd name="connsiteY5" fmla="*/ 10449 h 68090"/>
                <a:gd name="connsiteX6" fmla="*/ 12136 w 49888"/>
                <a:gd name="connsiteY6" fmla="*/ 65056 h 68090"/>
                <a:gd name="connsiteX7" fmla="*/ 6068 w 49888"/>
                <a:gd name="connsiteY7" fmla="*/ 68090 h 68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888" h="68090">
                  <a:moveTo>
                    <a:pt x="6068" y="68090"/>
                  </a:moveTo>
                  <a:cubicBezTo>
                    <a:pt x="6068" y="68090"/>
                    <a:pt x="6068" y="68090"/>
                    <a:pt x="6068" y="68090"/>
                  </a:cubicBezTo>
                  <a:cubicBezTo>
                    <a:pt x="0" y="68090"/>
                    <a:pt x="0" y="65056"/>
                    <a:pt x="0" y="62023"/>
                  </a:cubicBezTo>
                  <a:cubicBezTo>
                    <a:pt x="15169" y="19551"/>
                    <a:pt x="39438" y="1348"/>
                    <a:pt x="39438" y="1348"/>
                  </a:cubicBezTo>
                  <a:cubicBezTo>
                    <a:pt x="42473" y="-1685"/>
                    <a:pt x="45506" y="1348"/>
                    <a:pt x="48540" y="1348"/>
                  </a:cubicBezTo>
                  <a:cubicBezTo>
                    <a:pt x="51573" y="4382"/>
                    <a:pt x="48540" y="7416"/>
                    <a:pt x="48540" y="10449"/>
                  </a:cubicBezTo>
                  <a:cubicBezTo>
                    <a:pt x="48540" y="10449"/>
                    <a:pt x="27304" y="25618"/>
                    <a:pt x="12136" y="65056"/>
                  </a:cubicBezTo>
                  <a:cubicBezTo>
                    <a:pt x="12136" y="68090"/>
                    <a:pt x="9101" y="68090"/>
                    <a:pt x="6068" y="68090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A6978B7F-F119-498F-AAD0-68B55D61C21A}"/>
                </a:ext>
              </a:extLst>
            </p:cNvPr>
            <p:cNvSpPr/>
            <p:nvPr/>
          </p:nvSpPr>
          <p:spPr>
            <a:xfrm>
              <a:off x="19597118" y="12087594"/>
              <a:ext cx="394382" cy="144109"/>
            </a:xfrm>
            <a:custGeom>
              <a:avLst/>
              <a:gdLst>
                <a:gd name="connsiteX0" fmla="*/ 0 w 394382"/>
                <a:gd name="connsiteY0" fmla="*/ 0 h 144109"/>
                <a:gd name="connsiteX1" fmla="*/ 0 w 394382"/>
                <a:gd name="connsiteY1" fmla="*/ 51573 h 144109"/>
                <a:gd name="connsiteX2" fmla="*/ 15169 w 394382"/>
                <a:gd name="connsiteY2" fmla="*/ 72810 h 144109"/>
                <a:gd name="connsiteX3" fmla="*/ 385281 w 394382"/>
                <a:gd name="connsiteY3" fmla="*/ 142585 h 144109"/>
                <a:gd name="connsiteX4" fmla="*/ 394382 w 394382"/>
                <a:gd name="connsiteY4" fmla="*/ 109214 h 144109"/>
                <a:gd name="connsiteX5" fmla="*/ 0 w 394382"/>
                <a:gd name="connsiteY5" fmla="*/ 0 h 144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4382" h="144109">
                  <a:moveTo>
                    <a:pt x="0" y="0"/>
                  </a:moveTo>
                  <a:lnTo>
                    <a:pt x="0" y="51573"/>
                  </a:lnTo>
                  <a:cubicBezTo>
                    <a:pt x="0" y="60674"/>
                    <a:pt x="6068" y="69776"/>
                    <a:pt x="15169" y="72810"/>
                  </a:cubicBezTo>
                  <a:cubicBezTo>
                    <a:pt x="66742" y="91011"/>
                    <a:pt x="248764" y="154719"/>
                    <a:pt x="385281" y="142585"/>
                  </a:cubicBezTo>
                  <a:lnTo>
                    <a:pt x="394382" y="109214"/>
                  </a:lnTo>
                  <a:cubicBezTo>
                    <a:pt x="394382" y="109214"/>
                    <a:pt x="30337" y="72810"/>
                    <a:pt x="0" y="0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91A78729-66E3-4689-9867-FD482D5EB35D}"/>
                </a:ext>
              </a:extLst>
            </p:cNvPr>
            <p:cNvSpPr/>
            <p:nvPr/>
          </p:nvSpPr>
          <p:spPr>
            <a:xfrm>
              <a:off x="19114759" y="8419403"/>
              <a:ext cx="816066" cy="1048079"/>
            </a:xfrm>
            <a:custGeom>
              <a:avLst/>
              <a:gdLst>
                <a:gd name="connsiteX0" fmla="*/ 212360 w 816066"/>
                <a:gd name="connsiteY0" fmla="*/ 3473 h 1048079"/>
                <a:gd name="connsiteX1" fmla="*/ 376179 w 816066"/>
                <a:gd name="connsiteY1" fmla="*/ 346282 h 1048079"/>
                <a:gd name="connsiteX2" fmla="*/ 624943 w 816066"/>
                <a:gd name="connsiteY2" fmla="*/ 346282 h 1048079"/>
                <a:gd name="connsiteX3" fmla="*/ 597639 w 816066"/>
                <a:gd name="connsiteY3" fmla="*/ 18641 h 1048079"/>
                <a:gd name="connsiteX4" fmla="*/ 697753 w 816066"/>
                <a:gd name="connsiteY4" fmla="*/ 42911 h 1048079"/>
                <a:gd name="connsiteX5" fmla="*/ 718987 w 816066"/>
                <a:gd name="connsiteY5" fmla="*/ 364484 h 1048079"/>
                <a:gd name="connsiteX6" fmla="*/ 816066 w 816066"/>
                <a:gd name="connsiteY6" fmla="*/ 476731 h 1048079"/>
                <a:gd name="connsiteX7" fmla="*/ 734156 w 816066"/>
                <a:gd name="connsiteY7" fmla="*/ 1044034 h 1048079"/>
                <a:gd name="connsiteX8" fmla="*/ 0 w 816066"/>
                <a:gd name="connsiteY8" fmla="*/ 1044034 h 1048079"/>
                <a:gd name="connsiteX9" fmla="*/ 97077 w 816066"/>
                <a:gd name="connsiteY9" fmla="*/ 558641 h 1048079"/>
                <a:gd name="connsiteX10" fmla="*/ 285167 w 816066"/>
                <a:gd name="connsiteY10" fmla="*/ 343248 h 1048079"/>
                <a:gd name="connsiteX11" fmla="*/ 136517 w 816066"/>
                <a:gd name="connsiteY11" fmla="*/ 27742 h 1048079"/>
                <a:gd name="connsiteX12" fmla="*/ 212360 w 816066"/>
                <a:gd name="connsiteY12" fmla="*/ 3473 h 1048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16066" h="1048079">
                  <a:moveTo>
                    <a:pt x="212360" y="3473"/>
                  </a:moveTo>
                  <a:cubicBezTo>
                    <a:pt x="212360" y="3473"/>
                    <a:pt x="367078" y="197630"/>
                    <a:pt x="376179" y="346282"/>
                  </a:cubicBezTo>
                  <a:cubicBezTo>
                    <a:pt x="376179" y="346282"/>
                    <a:pt x="543033" y="388753"/>
                    <a:pt x="624943" y="346282"/>
                  </a:cubicBezTo>
                  <a:cubicBezTo>
                    <a:pt x="624943" y="346282"/>
                    <a:pt x="621910" y="82349"/>
                    <a:pt x="597639" y="18641"/>
                  </a:cubicBezTo>
                  <a:cubicBezTo>
                    <a:pt x="597639" y="18641"/>
                    <a:pt x="685617" y="21675"/>
                    <a:pt x="697753" y="42911"/>
                  </a:cubicBezTo>
                  <a:cubicBezTo>
                    <a:pt x="697753" y="42911"/>
                    <a:pt x="746291" y="234034"/>
                    <a:pt x="718987" y="364484"/>
                  </a:cubicBezTo>
                  <a:cubicBezTo>
                    <a:pt x="718987" y="364484"/>
                    <a:pt x="764493" y="464596"/>
                    <a:pt x="816066" y="476731"/>
                  </a:cubicBezTo>
                  <a:cubicBezTo>
                    <a:pt x="816066" y="476731"/>
                    <a:pt x="718987" y="916619"/>
                    <a:pt x="734156" y="1044034"/>
                  </a:cubicBezTo>
                  <a:cubicBezTo>
                    <a:pt x="734156" y="1044034"/>
                    <a:pt x="48539" y="1053136"/>
                    <a:pt x="0" y="1044034"/>
                  </a:cubicBezTo>
                  <a:lnTo>
                    <a:pt x="97077" y="558641"/>
                  </a:lnTo>
                  <a:cubicBezTo>
                    <a:pt x="97077" y="558641"/>
                    <a:pt x="291235" y="549540"/>
                    <a:pt x="285167" y="343248"/>
                  </a:cubicBezTo>
                  <a:lnTo>
                    <a:pt x="136517" y="27742"/>
                  </a:lnTo>
                  <a:cubicBezTo>
                    <a:pt x="136517" y="27742"/>
                    <a:pt x="172920" y="-11696"/>
                    <a:pt x="212360" y="3473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9D82AE02-BBCE-4E01-8B03-5FC9BA76BCAD}"/>
                </a:ext>
              </a:extLst>
            </p:cNvPr>
            <p:cNvSpPr/>
            <p:nvPr/>
          </p:nvSpPr>
          <p:spPr>
            <a:xfrm>
              <a:off x="19321051" y="8331864"/>
              <a:ext cx="238196" cy="409550"/>
            </a:xfrm>
            <a:custGeom>
              <a:avLst/>
              <a:gdLst>
                <a:gd name="connsiteX0" fmla="*/ 33370 w 238196"/>
                <a:gd name="connsiteY0" fmla="*/ 0 h 409550"/>
                <a:gd name="connsiteX1" fmla="*/ 209325 w 238196"/>
                <a:gd name="connsiteY1" fmla="*/ 194157 h 409550"/>
                <a:gd name="connsiteX2" fmla="*/ 227528 w 238196"/>
                <a:gd name="connsiteY2" fmla="*/ 388315 h 409550"/>
                <a:gd name="connsiteX3" fmla="*/ 182022 w 238196"/>
                <a:gd name="connsiteY3" fmla="*/ 388315 h 409550"/>
                <a:gd name="connsiteX4" fmla="*/ 106180 w 238196"/>
                <a:gd name="connsiteY4" fmla="*/ 409551 h 409550"/>
                <a:gd name="connsiteX5" fmla="*/ 63707 w 238196"/>
                <a:gd name="connsiteY5" fmla="*/ 382247 h 409550"/>
                <a:gd name="connsiteX6" fmla="*/ 0 w 238196"/>
                <a:gd name="connsiteY6" fmla="*/ 36404 h 409550"/>
                <a:gd name="connsiteX7" fmla="*/ 33370 w 238196"/>
                <a:gd name="connsiteY7" fmla="*/ 0 h 4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8196" h="409550">
                  <a:moveTo>
                    <a:pt x="33370" y="0"/>
                  </a:moveTo>
                  <a:cubicBezTo>
                    <a:pt x="33370" y="0"/>
                    <a:pt x="172922" y="91011"/>
                    <a:pt x="209325" y="194157"/>
                  </a:cubicBezTo>
                  <a:cubicBezTo>
                    <a:pt x="245730" y="300337"/>
                    <a:pt x="242697" y="379213"/>
                    <a:pt x="227528" y="388315"/>
                  </a:cubicBezTo>
                  <a:cubicBezTo>
                    <a:pt x="215393" y="397416"/>
                    <a:pt x="200224" y="379213"/>
                    <a:pt x="182022" y="388315"/>
                  </a:cubicBezTo>
                  <a:cubicBezTo>
                    <a:pt x="163819" y="397416"/>
                    <a:pt x="118314" y="409551"/>
                    <a:pt x="106180" y="409551"/>
                  </a:cubicBezTo>
                  <a:cubicBezTo>
                    <a:pt x="91011" y="409551"/>
                    <a:pt x="57639" y="394382"/>
                    <a:pt x="63707" y="382247"/>
                  </a:cubicBezTo>
                  <a:cubicBezTo>
                    <a:pt x="69775" y="370112"/>
                    <a:pt x="24269" y="63708"/>
                    <a:pt x="0" y="36404"/>
                  </a:cubicBezTo>
                  <a:lnTo>
                    <a:pt x="33370" y="0"/>
                  </a:lnTo>
                  <a:close/>
                </a:path>
              </a:pathLst>
            </a:custGeom>
            <a:solidFill>
              <a:srgbClr val="F1DDBA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ED76AE6F-FE4E-43F7-95B6-0D645C4B0EC7}"/>
                </a:ext>
              </a:extLst>
            </p:cNvPr>
            <p:cNvSpPr/>
            <p:nvPr/>
          </p:nvSpPr>
          <p:spPr>
            <a:xfrm>
              <a:off x="19364281" y="8365993"/>
              <a:ext cx="147893" cy="266207"/>
            </a:xfrm>
            <a:custGeom>
              <a:avLst/>
              <a:gdLst>
                <a:gd name="connsiteX0" fmla="*/ 141826 w 147893"/>
                <a:gd name="connsiteY0" fmla="*/ 266208 h 266207"/>
                <a:gd name="connsiteX1" fmla="*/ 135758 w 147893"/>
                <a:gd name="connsiteY1" fmla="*/ 260140 h 266207"/>
                <a:gd name="connsiteX2" fmla="*/ 2276 w 147893"/>
                <a:gd name="connsiteY2" fmla="*/ 11376 h 266207"/>
                <a:gd name="connsiteX3" fmla="*/ 2276 w 147893"/>
                <a:gd name="connsiteY3" fmla="*/ 2275 h 266207"/>
                <a:gd name="connsiteX4" fmla="*/ 11377 w 147893"/>
                <a:gd name="connsiteY4" fmla="*/ 2275 h 266207"/>
                <a:gd name="connsiteX5" fmla="*/ 147894 w 147893"/>
                <a:gd name="connsiteY5" fmla="*/ 257107 h 266207"/>
                <a:gd name="connsiteX6" fmla="*/ 141826 w 147893"/>
                <a:gd name="connsiteY6" fmla="*/ 266208 h 266207"/>
                <a:gd name="connsiteX7" fmla="*/ 141826 w 147893"/>
                <a:gd name="connsiteY7" fmla="*/ 266208 h 26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893" h="266207">
                  <a:moveTo>
                    <a:pt x="141826" y="266208"/>
                  </a:moveTo>
                  <a:cubicBezTo>
                    <a:pt x="138793" y="266208"/>
                    <a:pt x="135758" y="263174"/>
                    <a:pt x="135758" y="260140"/>
                  </a:cubicBezTo>
                  <a:cubicBezTo>
                    <a:pt x="129692" y="144859"/>
                    <a:pt x="5309" y="11376"/>
                    <a:pt x="2276" y="11376"/>
                  </a:cubicBezTo>
                  <a:cubicBezTo>
                    <a:pt x="-759" y="8342"/>
                    <a:pt x="-759" y="5309"/>
                    <a:pt x="2276" y="2275"/>
                  </a:cubicBezTo>
                  <a:cubicBezTo>
                    <a:pt x="5309" y="-758"/>
                    <a:pt x="8344" y="-758"/>
                    <a:pt x="11377" y="2275"/>
                  </a:cubicBezTo>
                  <a:cubicBezTo>
                    <a:pt x="17445" y="8342"/>
                    <a:pt x="141826" y="138792"/>
                    <a:pt x="147894" y="257107"/>
                  </a:cubicBezTo>
                  <a:cubicBezTo>
                    <a:pt x="147894" y="263174"/>
                    <a:pt x="144861" y="266208"/>
                    <a:pt x="141826" y="266208"/>
                  </a:cubicBezTo>
                  <a:lnTo>
                    <a:pt x="141826" y="266208"/>
                  </a:ln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EA6039DF-DBFB-4331-961A-A5CC8DA0F9E6}"/>
                </a:ext>
              </a:extLst>
            </p:cNvPr>
            <p:cNvSpPr/>
            <p:nvPr/>
          </p:nvSpPr>
          <p:spPr>
            <a:xfrm>
              <a:off x="19304506" y="8316100"/>
              <a:ext cx="105711" cy="78445"/>
            </a:xfrm>
            <a:custGeom>
              <a:avLst/>
              <a:gdLst>
                <a:gd name="connsiteX0" fmla="*/ 104521 w 105711"/>
                <a:gd name="connsiteY0" fmla="*/ 15764 h 78445"/>
                <a:gd name="connsiteX1" fmla="*/ 86320 w 105711"/>
                <a:gd name="connsiteY1" fmla="*/ 595 h 78445"/>
                <a:gd name="connsiteX2" fmla="*/ 10477 w 105711"/>
                <a:gd name="connsiteY2" fmla="*/ 24865 h 78445"/>
                <a:gd name="connsiteX3" fmla="*/ 4409 w 105711"/>
                <a:gd name="connsiteY3" fmla="*/ 52168 h 78445"/>
                <a:gd name="connsiteX4" fmla="*/ 22612 w 105711"/>
                <a:gd name="connsiteY4" fmla="*/ 76438 h 78445"/>
                <a:gd name="connsiteX5" fmla="*/ 89352 w 105711"/>
                <a:gd name="connsiteY5" fmla="*/ 55202 h 78445"/>
                <a:gd name="connsiteX6" fmla="*/ 98455 w 105711"/>
                <a:gd name="connsiteY6" fmla="*/ 40033 h 78445"/>
                <a:gd name="connsiteX7" fmla="*/ 104521 w 105711"/>
                <a:gd name="connsiteY7" fmla="*/ 15764 h 78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711" h="78445">
                  <a:moveTo>
                    <a:pt x="104521" y="15764"/>
                  </a:moveTo>
                  <a:cubicBezTo>
                    <a:pt x="104521" y="6662"/>
                    <a:pt x="95420" y="-2439"/>
                    <a:pt x="86320" y="595"/>
                  </a:cubicBezTo>
                  <a:cubicBezTo>
                    <a:pt x="62050" y="9696"/>
                    <a:pt x="34746" y="15764"/>
                    <a:pt x="10477" y="24865"/>
                  </a:cubicBezTo>
                  <a:cubicBezTo>
                    <a:pt x="-1659" y="27898"/>
                    <a:pt x="-1659" y="46101"/>
                    <a:pt x="4409" y="52168"/>
                  </a:cubicBezTo>
                  <a:cubicBezTo>
                    <a:pt x="-7725" y="61269"/>
                    <a:pt x="7444" y="85539"/>
                    <a:pt x="22612" y="76438"/>
                  </a:cubicBezTo>
                  <a:cubicBezTo>
                    <a:pt x="43847" y="64303"/>
                    <a:pt x="65083" y="58235"/>
                    <a:pt x="89352" y="55202"/>
                  </a:cubicBezTo>
                  <a:cubicBezTo>
                    <a:pt x="98455" y="55202"/>
                    <a:pt x="101488" y="46101"/>
                    <a:pt x="98455" y="40033"/>
                  </a:cubicBezTo>
                  <a:cubicBezTo>
                    <a:pt x="104521" y="33966"/>
                    <a:pt x="107556" y="24865"/>
                    <a:pt x="104521" y="15764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4724D3FA-3171-4820-8D6D-363316BC30D8}"/>
                </a:ext>
              </a:extLst>
            </p:cNvPr>
            <p:cNvSpPr/>
            <p:nvPr/>
          </p:nvSpPr>
          <p:spPr>
            <a:xfrm>
              <a:off x="19639590" y="8331864"/>
              <a:ext cx="238196" cy="409550"/>
            </a:xfrm>
            <a:custGeom>
              <a:avLst/>
              <a:gdLst>
                <a:gd name="connsiteX0" fmla="*/ 33370 w 238196"/>
                <a:gd name="connsiteY0" fmla="*/ 0 h 409550"/>
                <a:gd name="connsiteX1" fmla="*/ 209325 w 238196"/>
                <a:gd name="connsiteY1" fmla="*/ 194157 h 409550"/>
                <a:gd name="connsiteX2" fmla="*/ 227528 w 238196"/>
                <a:gd name="connsiteY2" fmla="*/ 388315 h 409550"/>
                <a:gd name="connsiteX3" fmla="*/ 182022 w 238196"/>
                <a:gd name="connsiteY3" fmla="*/ 388315 h 409550"/>
                <a:gd name="connsiteX4" fmla="*/ 106180 w 238196"/>
                <a:gd name="connsiteY4" fmla="*/ 409551 h 409550"/>
                <a:gd name="connsiteX5" fmla="*/ 63707 w 238196"/>
                <a:gd name="connsiteY5" fmla="*/ 382247 h 409550"/>
                <a:gd name="connsiteX6" fmla="*/ 0 w 238196"/>
                <a:gd name="connsiteY6" fmla="*/ 36404 h 409550"/>
                <a:gd name="connsiteX7" fmla="*/ 33370 w 238196"/>
                <a:gd name="connsiteY7" fmla="*/ 0 h 4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8196" h="409550">
                  <a:moveTo>
                    <a:pt x="33370" y="0"/>
                  </a:moveTo>
                  <a:cubicBezTo>
                    <a:pt x="33370" y="0"/>
                    <a:pt x="172922" y="91011"/>
                    <a:pt x="209325" y="194157"/>
                  </a:cubicBezTo>
                  <a:cubicBezTo>
                    <a:pt x="245730" y="300337"/>
                    <a:pt x="242697" y="379213"/>
                    <a:pt x="227528" y="388315"/>
                  </a:cubicBezTo>
                  <a:cubicBezTo>
                    <a:pt x="215393" y="397416"/>
                    <a:pt x="200224" y="379213"/>
                    <a:pt x="182022" y="388315"/>
                  </a:cubicBezTo>
                  <a:cubicBezTo>
                    <a:pt x="163819" y="397416"/>
                    <a:pt x="118314" y="409551"/>
                    <a:pt x="106180" y="409551"/>
                  </a:cubicBezTo>
                  <a:cubicBezTo>
                    <a:pt x="91011" y="409551"/>
                    <a:pt x="57639" y="394382"/>
                    <a:pt x="63707" y="382247"/>
                  </a:cubicBezTo>
                  <a:cubicBezTo>
                    <a:pt x="69775" y="370112"/>
                    <a:pt x="24269" y="63708"/>
                    <a:pt x="0" y="36404"/>
                  </a:cubicBezTo>
                  <a:lnTo>
                    <a:pt x="33370" y="0"/>
                  </a:lnTo>
                  <a:close/>
                </a:path>
              </a:pathLst>
            </a:custGeom>
            <a:solidFill>
              <a:srgbClr val="F1DDBA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86E236E4-38F0-49E7-B2DE-12C094677F8E}"/>
                </a:ext>
              </a:extLst>
            </p:cNvPr>
            <p:cNvSpPr/>
            <p:nvPr/>
          </p:nvSpPr>
          <p:spPr>
            <a:xfrm>
              <a:off x="19682820" y="8365993"/>
              <a:ext cx="147893" cy="266207"/>
            </a:xfrm>
            <a:custGeom>
              <a:avLst/>
              <a:gdLst>
                <a:gd name="connsiteX0" fmla="*/ 141826 w 147893"/>
                <a:gd name="connsiteY0" fmla="*/ 266208 h 266207"/>
                <a:gd name="connsiteX1" fmla="*/ 135758 w 147893"/>
                <a:gd name="connsiteY1" fmla="*/ 260140 h 266207"/>
                <a:gd name="connsiteX2" fmla="*/ 2276 w 147893"/>
                <a:gd name="connsiteY2" fmla="*/ 11376 h 266207"/>
                <a:gd name="connsiteX3" fmla="*/ 2276 w 147893"/>
                <a:gd name="connsiteY3" fmla="*/ 2275 h 266207"/>
                <a:gd name="connsiteX4" fmla="*/ 11377 w 147893"/>
                <a:gd name="connsiteY4" fmla="*/ 2275 h 266207"/>
                <a:gd name="connsiteX5" fmla="*/ 147894 w 147893"/>
                <a:gd name="connsiteY5" fmla="*/ 257107 h 266207"/>
                <a:gd name="connsiteX6" fmla="*/ 141826 w 147893"/>
                <a:gd name="connsiteY6" fmla="*/ 266208 h 266207"/>
                <a:gd name="connsiteX7" fmla="*/ 141826 w 147893"/>
                <a:gd name="connsiteY7" fmla="*/ 266208 h 26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893" h="266207">
                  <a:moveTo>
                    <a:pt x="141826" y="266208"/>
                  </a:moveTo>
                  <a:cubicBezTo>
                    <a:pt x="138793" y="266208"/>
                    <a:pt x="135758" y="263174"/>
                    <a:pt x="135758" y="260140"/>
                  </a:cubicBezTo>
                  <a:cubicBezTo>
                    <a:pt x="129692" y="144859"/>
                    <a:pt x="5309" y="11376"/>
                    <a:pt x="2276" y="11376"/>
                  </a:cubicBezTo>
                  <a:cubicBezTo>
                    <a:pt x="-759" y="8342"/>
                    <a:pt x="-759" y="5309"/>
                    <a:pt x="2276" y="2275"/>
                  </a:cubicBezTo>
                  <a:cubicBezTo>
                    <a:pt x="5309" y="-758"/>
                    <a:pt x="8344" y="-758"/>
                    <a:pt x="11377" y="2275"/>
                  </a:cubicBezTo>
                  <a:cubicBezTo>
                    <a:pt x="17445" y="8342"/>
                    <a:pt x="141826" y="138792"/>
                    <a:pt x="147894" y="257107"/>
                  </a:cubicBezTo>
                  <a:cubicBezTo>
                    <a:pt x="147894" y="263174"/>
                    <a:pt x="144861" y="266208"/>
                    <a:pt x="141826" y="266208"/>
                  </a:cubicBezTo>
                  <a:cubicBezTo>
                    <a:pt x="141826" y="266208"/>
                    <a:pt x="141826" y="266208"/>
                    <a:pt x="141826" y="266208"/>
                  </a:cubicBez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487D0A33-CC51-4719-9ABD-2DE9B8027936}"/>
                </a:ext>
              </a:extLst>
            </p:cNvPr>
            <p:cNvSpPr/>
            <p:nvPr/>
          </p:nvSpPr>
          <p:spPr>
            <a:xfrm>
              <a:off x="19623046" y="8316100"/>
              <a:ext cx="105711" cy="78445"/>
            </a:xfrm>
            <a:custGeom>
              <a:avLst/>
              <a:gdLst>
                <a:gd name="connsiteX0" fmla="*/ 104521 w 105711"/>
                <a:gd name="connsiteY0" fmla="*/ 15764 h 78445"/>
                <a:gd name="connsiteX1" fmla="*/ 86320 w 105711"/>
                <a:gd name="connsiteY1" fmla="*/ 595 h 78445"/>
                <a:gd name="connsiteX2" fmla="*/ 10477 w 105711"/>
                <a:gd name="connsiteY2" fmla="*/ 24865 h 78445"/>
                <a:gd name="connsiteX3" fmla="*/ 4409 w 105711"/>
                <a:gd name="connsiteY3" fmla="*/ 52168 h 78445"/>
                <a:gd name="connsiteX4" fmla="*/ 22612 w 105711"/>
                <a:gd name="connsiteY4" fmla="*/ 76438 h 78445"/>
                <a:gd name="connsiteX5" fmla="*/ 89352 w 105711"/>
                <a:gd name="connsiteY5" fmla="*/ 55202 h 78445"/>
                <a:gd name="connsiteX6" fmla="*/ 98455 w 105711"/>
                <a:gd name="connsiteY6" fmla="*/ 40033 h 78445"/>
                <a:gd name="connsiteX7" fmla="*/ 104521 w 105711"/>
                <a:gd name="connsiteY7" fmla="*/ 15764 h 78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711" h="78445">
                  <a:moveTo>
                    <a:pt x="104521" y="15764"/>
                  </a:moveTo>
                  <a:cubicBezTo>
                    <a:pt x="104521" y="6662"/>
                    <a:pt x="95420" y="-2439"/>
                    <a:pt x="86320" y="595"/>
                  </a:cubicBezTo>
                  <a:cubicBezTo>
                    <a:pt x="62050" y="9696"/>
                    <a:pt x="34746" y="15764"/>
                    <a:pt x="10477" y="24865"/>
                  </a:cubicBezTo>
                  <a:cubicBezTo>
                    <a:pt x="-1659" y="27898"/>
                    <a:pt x="-1659" y="46101"/>
                    <a:pt x="4409" y="52168"/>
                  </a:cubicBezTo>
                  <a:cubicBezTo>
                    <a:pt x="-7725" y="61269"/>
                    <a:pt x="7444" y="85539"/>
                    <a:pt x="22612" y="76438"/>
                  </a:cubicBezTo>
                  <a:cubicBezTo>
                    <a:pt x="43847" y="64303"/>
                    <a:pt x="65083" y="58235"/>
                    <a:pt x="89352" y="55202"/>
                  </a:cubicBezTo>
                  <a:cubicBezTo>
                    <a:pt x="98455" y="55202"/>
                    <a:pt x="101488" y="46101"/>
                    <a:pt x="98455" y="40033"/>
                  </a:cubicBezTo>
                  <a:cubicBezTo>
                    <a:pt x="104521" y="33966"/>
                    <a:pt x="107556" y="24865"/>
                    <a:pt x="104521" y="15764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A9089C02-3C95-4F5D-A1DF-709C35F8CE2F}"/>
                </a:ext>
              </a:extLst>
            </p:cNvPr>
            <p:cNvSpPr/>
            <p:nvPr/>
          </p:nvSpPr>
          <p:spPr>
            <a:xfrm>
              <a:off x="19475769" y="8868830"/>
              <a:ext cx="259297" cy="185056"/>
            </a:xfrm>
            <a:custGeom>
              <a:avLst/>
              <a:gdLst>
                <a:gd name="connsiteX0" fmla="*/ 145618 w 259297"/>
                <a:gd name="connsiteY0" fmla="*/ 185056 h 185056"/>
                <a:gd name="connsiteX1" fmla="*/ 145618 w 259297"/>
                <a:gd name="connsiteY1" fmla="*/ 185056 h 185056"/>
                <a:gd name="connsiteX2" fmla="*/ 0 w 259297"/>
                <a:gd name="connsiteY2" fmla="*/ 121348 h 185056"/>
                <a:gd name="connsiteX3" fmla="*/ 18203 w 259297"/>
                <a:gd name="connsiteY3" fmla="*/ 0 h 185056"/>
                <a:gd name="connsiteX4" fmla="*/ 24269 w 259297"/>
                <a:gd name="connsiteY4" fmla="*/ 0 h 185056"/>
                <a:gd name="connsiteX5" fmla="*/ 251797 w 259297"/>
                <a:gd name="connsiteY5" fmla="*/ 6067 h 185056"/>
                <a:gd name="connsiteX6" fmla="*/ 257865 w 259297"/>
                <a:gd name="connsiteY6" fmla="*/ 6067 h 185056"/>
                <a:gd name="connsiteX7" fmla="*/ 257865 w 259297"/>
                <a:gd name="connsiteY7" fmla="*/ 12135 h 185056"/>
                <a:gd name="connsiteX8" fmla="*/ 248764 w 259297"/>
                <a:gd name="connsiteY8" fmla="*/ 139551 h 185056"/>
                <a:gd name="connsiteX9" fmla="*/ 248764 w 259297"/>
                <a:gd name="connsiteY9" fmla="*/ 142584 h 185056"/>
                <a:gd name="connsiteX10" fmla="*/ 145618 w 259297"/>
                <a:gd name="connsiteY10" fmla="*/ 185056 h 185056"/>
                <a:gd name="connsiteX11" fmla="*/ 12136 w 259297"/>
                <a:gd name="connsiteY11" fmla="*/ 115281 h 185056"/>
                <a:gd name="connsiteX12" fmla="*/ 145618 w 259297"/>
                <a:gd name="connsiteY12" fmla="*/ 175955 h 185056"/>
                <a:gd name="connsiteX13" fmla="*/ 239664 w 259297"/>
                <a:gd name="connsiteY13" fmla="*/ 136517 h 185056"/>
                <a:gd name="connsiteX14" fmla="*/ 248764 w 259297"/>
                <a:gd name="connsiteY14" fmla="*/ 21236 h 185056"/>
                <a:gd name="connsiteX15" fmla="*/ 30337 w 259297"/>
                <a:gd name="connsiteY15" fmla="*/ 15169 h 185056"/>
                <a:gd name="connsiteX16" fmla="*/ 12136 w 259297"/>
                <a:gd name="connsiteY16" fmla="*/ 115281 h 185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9297" h="185056">
                  <a:moveTo>
                    <a:pt x="145618" y="185056"/>
                  </a:moveTo>
                  <a:lnTo>
                    <a:pt x="145618" y="185056"/>
                  </a:lnTo>
                  <a:lnTo>
                    <a:pt x="0" y="121348"/>
                  </a:lnTo>
                  <a:lnTo>
                    <a:pt x="18203" y="0"/>
                  </a:lnTo>
                  <a:lnTo>
                    <a:pt x="24269" y="0"/>
                  </a:lnTo>
                  <a:cubicBezTo>
                    <a:pt x="136517" y="15169"/>
                    <a:pt x="251797" y="6067"/>
                    <a:pt x="251797" y="6067"/>
                  </a:cubicBezTo>
                  <a:lnTo>
                    <a:pt x="257865" y="6067"/>
                  </a:lnTo>
                  <a:lnTo>
                    <a:pt x="257865" y="12135"/>
                  </a:lnTo>
                  <a:cubicBezTo>
                    <a:pt x="263933" y="72809"/>
                    <a:pt x="248764" y="136517"/>
                    <a:pt x="248764" y="139551"/>
                  </a:cubicBezTo>
                  <a:lnTo>
                    <a:pt x="248764" y="142584"/>
                  </a:lnTo>
                  <a:lnTo>
                    <a:pt x="145618" y="185056"/>
                  </a:lnTo>
                  <a:close/>
                  <a:moveTo>
                    <a:pt x="12136" y="115281"/>
                  </a:moveTo>
                  <a:lnTo>
                    <a:pt x="145618" y="175955"/>
                  </a:lnTo>
                  <a:lnTo>
                    <a:pt x="239664" y="136517"/>
                  </a:lnTo>
                  <a:cubicBezTo>
                    <a:pt x="242697" y="124382"/>
                    <a:pt x="251797" y="69775"/>
                    <a:pt x="248764" y="21236"/>
                  </a:cubicBezTo>
                  <a:cubicBezTo>
                    <a:pt x="224495" y="24270"/>
                    <a:pt x="124383" y="27304"/>
                    <a:pt x="30337" y="15169"/>
                  </a:cubicBezTo>
                  <a:lnTo>
                    <a:pt x="12136" y="115281"/>
                  </a:ln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6E4253B9-A99E-4708-9048-0025D5341AC4}"/>
                </a:ext>
              </a:extLst>
            </p:cNvPr>
            <p:cNvSpPr/>
            <p:nvPr/>
          </p:nvSpPr>
          <p:spPr>
            <a:xfrm>
              <a:off x="19096556" y="9393662"/>
              <a:ext cx="773595" cy="149576"/>
            </a:xfrm>
            <a:custGeom>
              <a:avLst/>
              <a:gdLst>
                <a:gd name="connsiteX0" fmla="*/ 773596 w 773595"/>
                <a:gd name="connsiteY0" fmla="*/ 136517 h 149576"/>
                <a:gd name="connsiteX1" fmla="*/ 0 w 773595"/>
                <a:gd name="connsiteY1" fmla="*/ 103146 h 149576"/>
                <a:gd name="connsiteX2" fmla="*/ 30337 w 773595"/>
                <a:gd name="connsiteY2" fmla="*/ 0 h 149576"/>
                <a:gd name="connsiteX3" fmla="*/ 761462 w 773595"/>
                <a:gd name="connsiteY3" fmla="*/ 27303 h 149576"/>
                <a:gd name="connsiteX4" fmla="*/ 773596 w 773595"/>
                <a:gd name="connsiteY4" fmla="*/ 136517 h 149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3595" h="149576">
                  <a:moveTo>
                    <a:pt x="773596" y="136517"/>
                  </a:moveTo>
                  <a:cubicBezTo>
                    <a:pt x="773596" y="136517"/>
                    <a:pt x="591573" y="182022"/>
                    <a:pt x="0" y="103146"/>
                  </a:cubicBezTo>
                  <a:lnTo>
                    <a:pt x="30337" y="0"/>
                  </a:lnTo>
                  <a:cubicBezTo>
                    <a:pt x="30337" y="0"/>
                    <a:pt x="382248" y="51573"/>
                    <a:pt x="761462" y="27303"/>
                  </a:cubicBezTo>
                  <a:lnTo>
                    <a:pt x="773596" y="136517"/>
                  </a:ln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8" name="图形 1">
              <a:extLst>
                <a:ext uri="{FF2B5EF4-FFF2-40B4-BE49-F238E27FC236}">
                  <a16:creationId xmlns:a16="http://schemas.microsoft.com/office/drawing/2014/main" id="{1993E58A-A7CF-4583-9FCD-BD08B05E3EDD}"/>
                </a:ext>
              </a:extLst>
            </p:cNvPr>
            <p:cNvGrpSpPr/>
            <p:nvPr/>
          </p:nvGrpSpPr>
          <p:grpSpPr>
            <a:xfrm>
              <a:off x="19484870" y="9399729"/>
              <a:ext cx="215394" cy="163820"/>
              <a:chOff x="19484870" y="9399729"/>
              <a:chExt cx="215394" cy="163820"/>
            </a:xfrm>
          </p:grpSpPr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DE3571E2-37A9-4D6B-A001-22AE835E0487}"/>
                  </a:ext>
                </a:extLst>
              </p:cNvPr>
              <p:cNvSpPr/>
              <p:nvPr/>
            </p:nvSpPr>
            <p:spPr>
              <a:xfrm>
                <a:off x="19484870" y="9399729"/>
                <a:ext cx="215394" cy="163820"/>
              </a:xfrm>
              <a:custGeom>
                <a:avLst/>
                <a:gdLst>
                  <a:gd name="connsiteX0" fmla="*/ 194158 w 215394"/>
                  <a:gd name="connsiteY0" fmla="*/ 163821 h 163820"/>
                  <a:gd name="connsiteX1" fmla="*/ 21236 w 215394"/>
                  <a:gd name="connsiteY1" fmla="*/ 163821 h 163820"/>
                  <a:gd name="connsiteX2" fmla="*/ 0 w 215394"/>
                  <a:gd name="connsiteY2" fmla="*/ 142584 h 163820"/>
                  <a:gd name="connsiteX3" fmla="*/ 0 w 215394"/>
                  <a:gd name="connsiteY3" fmla="*/ 21236 h 163820"/>
                  <a:gd name="connsiteX4" fmla="*/ 21236 w 215394"/>
                  <a:gd name="connsiteY4" fmla="*/ 0 h 163820"/>
                  <a:gd name="connsiteX5" fmla="*/ 194158 w 215394"/>
                  <a:gd name="connsiteY5" fmla="*/ 0 h 163820"/>
                  <a:gd name="connsiteX6" fmla="*/ 215394 w 215394"/>
                  <a:gd name="connsiteY6" fmla="*/ 21236 h 163820"/>
                  <a:gd name="connsiteX7" fmla="*/ 215394 w 215394"/>
                  <a:gd name="connsiteY7" fmla="*/ 142584 h 163820"/>
                  <a:gd name="connsiteX8" fmla="*/ 194158 w 215394"/>
                  <a:gd name="connsiteY8" fmla="*/ 163821 h 163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5394" h="163820">
                    <a:moveTo>
                      <a:pt x="194158" y="163821"/>
                    </a:moveTo>
                    <a:lnTo>
                      <a:pt x="21236" y="163821"/>
                    </a:lnTo>
                    <a:cubicBezTo>
                      <a:pt x="9103" y="163821"/>
                      <a:pt x="0" y="154719"/>
                      <a:pt x="0" y="142584"/>
                    </a:cubicBezTo>
                    <a:lnTo>
                      <a:pt x="0" y="21236"/>
                    </a:lnTo>
                    <a:cubicBezTo>
                      <a:pt x="0" y="9101"/>
                      <a:pt x="9103" y="0"/>
                      <a:pt x="21236" y="0"/>
                    </a:cubicBezTo>
                    <a:lnTo>
                      <a:pt x="194158" y="0"/>
                    </a:lnTo>
                    <a:cubicBezTo>
                      <a:pt x="206294" y="0"/>
                      <a:pt x="215394" y="9101"/>
                      <a:pt x="215394" y="21236"/>
                    </a:cubicBezTo>
                    <a:lnTo>
                      <a:pt x="215394" y="142584"/>
                    </a:lnTo>
                    <a:cubicBezTo>
                      <a:pt x="215394" y="154719"/>
                      <a:pt x="206294" y="163821"/>
                      <a:pt x="194158" y="163821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67B269AB-12BB-4259-8C82-67394D5A0015}"/>
                  </a:ext>
                </a:extLst>
              </p:cNvPr>
              <p:cNvSpPr/>
              <p:nvPr/>
            </p:nvSpPr>
            <p:spPr>
              <a:xfrm>
                <a:off x="19515207" y="9423999"/>
                <a:ext cx="157753" cy="118314"/>
              </a:xfrm>
              <a:custGeom>
                <a:avLst/>
                <a:gdLst>
                  <a:gd name="connsiteX0" fmla="*/ 142585 w 157753"/>
                  <a:gd name="connsiteY0" fmla="*/ 118314 h 118314"/>
                  <a:gd name="connsiteX1" fmla="*/ 15169 w 157753"/>
                  <a:gd name="connsiteY1" fmla="*/ 118314 h 118314"/>
                  <a:gd name="connsiteX2" fmla="*/ 0 w 157753"/>
                  <a:gd name="connsiteY2" fmla="*/ 103146 h 118314"/>
                  <a:gd name="connsiteX3" fmla="*/ 0 w 157753"/>
                  <a:gd name="connsiteY3" fmla="*/ 15169 h 118314"/>
                  <a:gd name="connsiteX4" fmla="*/ 15169 w 157753"/>
                  <a:gd name="connsiteY4" fmla="*/ 0 h 118314"/>
                  <a:gd name="connsiteX5" fmla="*/ 142585 w 157753"/>
                  <a:gd name="connsiteY5" fmla="*/ 0 h 118314"/>
                  <a:gd name="connsiteX6" fmla="*/ 157753 w 157753"/>
                  <a:gd name="connsiteY6" fmla="*/ 15169 h 118314"/>
                  <a:gd name="connsiteX7" fmla="*/ 157753 w 157753"/>
                  <a:gd name="connsiteY7" fmla="*/ 103146 h 118314"/>
                  <a:gd name="connsiteX8" fmla="*/ 142585 w 157753"/>
                  <a:gd name="connsiteY8" fmla="*/ 118314 h 11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753" h="118314">
                    <a:moveTo>
                      <a:pt x="142585" y="118314"/>
                    </a:moveTo>
                    <a:lnTo>
                      <a:pt x="15169" y="118314"/>
                    </a:lnTo>
                    <a:cubicBezTo>
                      <a:pt x="6068" y="118314"/>
                      <a:pt x="0" y="112248"/>
                      <a:pt x="0" y="103146"/>
                    </a:cubicBezTo>
                    <a:lnTo>
                      <a:pt x="0" y="15169"/>
                    </a:lnTo>
                    <a:cubicBezTo>
                      <a:pt x="0" y="6067"/>
                      <a:pt x="6068" y="0"/>
                      <a:pt x="15169" y="0"/>
                    </a:cubicBezTo>
                    <a:lnTo>
                      <a:pt x="142585" y="0"/>
                    </a:lnTo>
                    <a:cubicBezTo>
                      <a:pt x="151685" y="0"/>
                      <a:pt x="157753" y="6067"/>
                      <a:pt x="157753" y="15169"/>
                    </a:cubicBezTo>
                    <a:lnTo>
                      <a:pt x="157753" y="103146"/>
                    </a:lnTo>
                    <a:cubicBezTo>
                      <a:pt x="157753" y="112248"/>
                      <a:pt x="151685" y="118314"/>
                      <a:pt x="142585" y="118314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9160BCFD-019C-4006-A919-A83133DC405A}"/>
                </a:ext>
              </a:extLst>
            </p:cNvPr>
            <p:cNvSpPr/>
            <p:nvPr/>
          </p:nvSpPr>
          <p:spPr>
            <a:xfrm>
              <a:off x="19057114" y="8626896"/>
              <a:ext cx="715958" cy="806213"/>
            </a:xfrm>
            <a:custGeom>
              <a:avLst/>
              <a:gdLst>
                <a:gd name="connsiteX0" fmla="*/ 51578 w 715958"/>
                <a:gd name="connsiteY0" fmla="*/ 62946 h 806213"/>
                <a:gd name="connsiteX1" fmla="*/ 282139 w 715958"/>
                <a:gd name="connsiteY1" fmla="*/ 166092 h 806213"/>
                <a:gd name="connsiteX2" fmla="*/ 288207 w 715958"/>
                <a:gd name="connsiteY2" fmla="*/ 590811 h 806213"/>
                <a:gd name="connsiteX3" fmla="*/ 715959 w 715958"/>
                <a:gd name="connsiteY3" fmla="*/ 687889 h 806213"/>
                <a:gd name="connsiteX4" fmla="*/ 670453 w 715958"/>
                <a:gd name="connsiteY4" fmla="*/ 806204 h 806213"/>
                <a:gd name="connsiteX5" fmla="*/ 109217 w 715958"/>
                <a:gd name="connsiteY5" fmla="*/ 706092 h 806213"/>
                <a:gd name="connsiteX6" fmla="*/ 51578 w 715958"/>
                <a:gd name="connsiteY6" fmla="*/ 62946 h 806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958" h="806213">
                  <a:moveTo>
                    <a:pt x="51578" y="62946"/>
                  </a:moveTo>
                  <a:cubicBezTo>
                    <a:pt x="172926" y="-73571"/>
                    <a:pt x="294275" y="35642"/>
                    <a:pt x="282139" y="166092"/>
                  </a:cubicBezTo>
                  <a:cubicBezTo>
                    <a:pt x="270005" y="293507"/>
                    <a:pt x="273038" y="563508"/>
                    <a:pt x="288207" y="590811"/>
                  </a:cubicBezTo>
                  <a:cubicBezTo>
                    <a:pt x="342813" y="615081"/>
                    <a:pt x="715959" y="687889"/>
                    <a:pt x="715959" y="687889"/>
                  </a:cubicBezTo>
                  <a:cubicBezTo>
                    <a:pt x="697757" y="715193"/>
                    <a:pt x="670453" y="806204"/>
                    <a:pt x="670453" y="806204"/>
                  </a:cubicBezTo>
                  <a:cubicBezTo>
                    <a:pt x="670453" y="806204"/>
                    <a:pt x="194163" y="809238"/>
                    <a:pt x="109217" y="706092"/>
                  </a:cubicBezTo>
                  <a:cubicBezTo>
                    <a:pt x="60679" y="654519"/>
                    <a:pt x="-72805" y="199463"/>
                    <a:pt x="51578" y="62946"/>
                  </a:cubicBezTo>
                  <a:close/>
                </a:path>
              </a:pathLst>
            </a:custGeom>
            <a:solidFill>
              <a:srgbClr val="F5A39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6E845160-24DB-4EB7-B304-BB4C3C036C9B}"/>
                </a:ext>
              </a:extLst>
            </p:cNvPr>
            <p:cNvSpPr/>
            <p:nvPr/>
          </p:nvSpPr>
          <p:spPr>
            <a:xfrm>
              <a:off x="18987278" y="8479044"/>
              <a:ext cx="372849" cy="429500"/>
            </a:xfrm>
            <a:custGeom>
              <a:avLst/>
              <a:gdLst>
                <a:gd name="connsiteX0" fmla="*/ 65 w 372849"/>
                <a:gd name="connsiteY0" fmla="*/ 411022 h 429500"/>
                <a:gd name="connsiteX1" fmla="*/ 179053 w 372849"/>
                <a:gd name="connsiteY1" fmla="*/ 1471 h 429500"/>
                <a:gd name="connsiteX2" fmla="*/ 370178 w 372849"/>
                <a:gd name="connsiteY2" fmla="*/ 398887 h 429500"/>
                <a:gd name="connsiteX3" fmla="*/ 65 w 372849"/>
                <a:gd name="connsiteY3" fmla="*/ 411022 h 429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2849" h="429500">
                  <a:moveTo>
                    <a:pt x="65" y="411022"/>
                  </a:moveTo>
                  <a:cubicBezTo>
                    <a:pt x="-2969" y="228999"/>
                    <a:pt x="100177" y="19674"/>
                    <a:pt x="179053" y="1471"/>
                  </a:cubicBezTo>
                  <a:cubicBezTo>
                    <a:pt x="282200" y="-19765"/>
                    <a:pt x="391413" y="192595"/>
                    <a:pt x="370178" y="398887"/>
                  </a:cubicBezTo>
                  <a:cubicBezTo>
                    <a:pt x="306469" y="432258"/>
                    <a:pt x="100177" y="441359"/>
                    <a:pt x="65" y="411022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6C5C31C8-EDD1-4C9B-8F19-9A9523C98C08}"/>
                </a:ext>
              </a:extLst>
            </p:cNvPr>
            <p:cNvSpPr/>
            <p:nvPr/>
          </p:nvSpPr>
          <p:spPr>
            <a:xfrm>
              <a:off x="19175433" y="8468381"/>
              <a:ext cx="191163" cy="442921"/>
            </a:xfrm>
            <a:custGeom>
              <a:avLst/>
              <a:gdLst>
                <a:gd name="connsiteX0" fmla="*/ 36403 w 191163"/>
                <a:gd name="connsiteY0" fmla="*/ 442922 h 442921"/>
                <a:gd name="connsiteX1" fmla="*/ 30337 w 191163"/>
                <a:gd name="connsiteY1" fmla="*/ 436854 h 442921"/>
                <a:gd name="connsiteX2" fmla="*/ 36403 w 191163"/>
                <a:gd name="connsiteY2" fmla="*/ 430786 h 442921"/>
                <a:gd name="connsiteX3" fmla="*/ 178988 w 191163"/>
                <a:gd name="connsiteY3" fmla="*/ 403483 h 442921"/>
                <a:gd name="connsiteX4" fmla="*/ 124381 w 191163"/>
                <a:gd name="connsiteY4" fmla="*/ 118314 h 442921"/>
                <a:gd name="connsiteX5" fmla="*/ 118314 w 191163"/>
                <a:gd name="connsiteY5" fmla="*/ 109214 h 442921"/>
                <a:gd name="connsiteX6" fmla="*/ 6066 w 191163"/>
                <a:gd name="connsiteY6" fmla="*/ 12135 h 442921"/>
                <a:gd name="connsiteX7" fmla="*/ 0 w 191163"/>
                <a:gd name="connsiteY7" fmla="*/ 6067 h 442921"/>
                <a:gd name="connsiteX8" fmla="*/ 6066 w 191163"/>
                <a:gd name="connsiteY8" fmla="*/ 0 h 442921"/>
                <a:gd name="connsiteX9" fmla="*/ 127414 w 191163"/>
                <a:gd name="connsiteY9" fmla="*/ 100112 h 442921"/>
                <a:gd name="connsiteX10" fmla="*/ 133482 w 191163"/>
                <a:gd name="connsiteY10" fmla="*/ 109214 h 442921"/>
                <a:gd name="connsiteX11" fmla="*/ 188088 w 191163"/>
                <a:gd name="connsiteY11" fmla="*/ 406517 h 442921"/>
                <a:gd name="connsiteX12" fmla="*/ 188088 w 191163"/>
                <a:gd name="connsiteY12" fmla="*/ 409551 h 442921"/>
                <a:gd name="connsiteX13" fmla="*/ 185055 w 191163"/>
                <a:gd name="connsiteY13" fmla="*/ 409551 h 442921"/>
                <a:gd name="connsiteX14" fmla="*/ 36403 w 191163"/>
                <a:gd name="connsiteY14" fmla="*/ 442922 h 442921"/>
                <a:gd name="connsiteX15" fmla="*/ 36403 w 191163"/>
                <a:gd name="connsiteY15" fmla="*/ 442922 h 442921"/>
                <a:gd name="connsiteX16" fmla="*/ 185055 w 191163"/>
                <a:gd name="connsiteY16" fmla="*/ 406517 h 442921"/>
                <a:gd name="connsiteX17" fmla="*/ 185055 w 191163"/>
                <a:gd name="connsiteY17" fmla="*/ 406517 h 442921"/>
                <a:gd name="connsiteX18" fmla="*/ 185055 w 191163"/>
                <a:gd name="connsiteY18" fmla="*/ 406517 h 44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1163" h="442921">
                  <a:moveTo>
                    <a:pt x="36403" y="442922"/>
                  </a:moveTo>
                  <a:cubicBezTo>
                    <a:pt x="33370" y="442922"/>
                    <a:pt x="30337" y="439888"/>
                    <a:pt x="30337" y="436854"/>
                  </a:cubicBezTo>
                  <a:cubicBezTo>
                    <a:pt x="30337" y="433820"/>
                    <a:pt x="33370" y="430786"/>
                    <a:pt x="36403" y="430786"/>
                  </a:cubicBezTo>
                  <a:cubicBezTo>
                    <a:pt x="109213" y="430786"/>
                    <a:pt x="154718" y="415618"/>
                    <a:pt x="178988" y="403483"/>
                  </a:cubicBezTo>
                  <a:cubicBezTo>
                    <a:pt x="185055" y="367079"/>
                    <a:pt x="175955" y="203258"/>
                    <a:pt x="124381" y="118314"/>
                  </a:cubicBezTo>
                  <a:cubicBezTo>
                    <a:pt x="124381" y="115281"/>
                    <a:pt x="121348" y="112247"/>
                    <a:pt x="118314" y="109214"/>
                  </a:cubicBezTo>
                  <a:cubicBezTo>
                    <a:pt x="103145" y="78877"/>
                    <a:pt x="66740" y="21236"/>
                    <a:pt x="6066" y="12135"/>
                  </a:cubicBezTo>
                  <a:cubicBezTo>
                    <a:pt x="3033" y="12135"/>
                    <a:pt x="0" y="9101"/>
                    <a:pt x="0" y="6067"/>
                  </a:cubicBezTo>
                  <a:cubicBezTo>
                    <a:pt x="0" y="3034"/>
                    <a:pt x="3033" y="0"/>
                    <a:pt x="6066" y="0"/>
                  </a:cubicBezTo>
                  <a:cubicBezTo>
                    <a:pt x="72808" y="6067"/>
                    <a:pt x="109213" y="69775"/>
                    <a:pt x="127414" y="100112"/>
                  </a:cubicBezTo>
                  <a:cubicBezTo>
                    <a:pt x="130449" y="103146"/>
                    <a:pt x="130449" y="106180"/>
                    <a:pt x="133482" y="109214"/>
                  </a:cubicBezTo>
                  <a:cubicBezTo>
                    <a:pt x="188088" y="200225"/>
                    <a:pt x="197191" y="373146"/>
                    <a:pt x="188088" y="406517"/>
                  </a:cubicBezTo>
                  <a:lnTo>
                    <a:pt x="188088" y="409551"/>
                  </a:lnTo>
                  <a:lnTo>
                    <a:pt x="185055" y="409551"/>
                  </a:lnTo>
                  <a:cubicBezTo>
                    <a:pt x="160786" y="427753"/>
                    <a:pt x="115281" y="442922"/>
                    <a:pt x="36403" y="442922"/>
                  </a:cubicBezTo>
                  <a:lnTo>
                    <a:pt x="36403" y="442922"/>
                  </a:lnTo>
                  <a:close/>
                  <a:moveTo>
                    <a:pt x="185055" y="406517"/>
                  </a:moveTo>
                  <a:lnTo>
                    <a:pt x="185055" y="406517"/>
                  </a:lnTo>
                  <a:lnTo>
                    <a:pt x="185055" y="406517"/>
                  </a:ln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2" name="图形 1">
              <a:extLst>
                <a:ext uri="{FF2B5EF4-FFF2-40B4-BE49-F238E27FC236}">
                  <a16:creationId xmlns:a16="http://schemas.microsoft.com/office/drawing/2014/main" id="{3406142B-DC9A-4B31-9D13-5E54A5D9B79B}"/>
                </a:ext>
              </a:extLst>
            </p:cNvPr>
            <p:cNvGrpSpPr/>
            <p:nvPr/>
          </p:nvGrpSpPr>
          <p:grpSpPr>
            <a:xfrm>
              <a:off x="19038070" y="7731538"/>
              <a:ext cx="2709993" cy="2420743"/>
              <a:chOff x="19038070" y="7731538"/>
              <a:chExt cx="2709993" cy="2420743"/>
            </a:xfrm>
          </p:grpSpPr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E0E752A7-ECC2-4A49-9E2B-17109B624D7E}"/>
                  </a:ext>
                </a:extLst>
              </p:cNvPr>
              <p:cNvSpPr/>
              <p:nvPr/>
            </p:nvSpPr>
            <p:spPr>
              <a:xfrm>
                <a:off x="19038070" y="8356134"/>
                <a:ext cx="2072868" cy="1796147"/>
              </a:xfrm>
              <a:custGeom>
                <a:avLst/>
                <a:gdLst>
                  <a:gd name="connsiteX0" fmla="*/ 58486 w 2072868"/>
                  <a:gd name="connsiteY0" fmla="*/ 1795955 h 1796147"/>
                  <a:gd name="connsiteX1" fmla="*/ 58486 w 2072868"/>
                  <a:gd name="connsiteY1" fmla="*/ 1795955 h 1796147"/>
                  <a:gd name="connsiteX2" fmla="*/ 847 w 2072868"/>
                  <a:gd name="connsiteY2" fmla="*/ 1729213 h 1796147"/>
                  <a:gd name="connsiteX3" fmla="*/ 847 w 2072868"/>
                  <a:gd name="connsiteY3" fmla="*/ 1729213 h 1796147"/>
                  <a:gd name="connsiteX4" fmla="*/ 2015228 w 2072868"/>
                  <a:gd name="connsiteY4" fmla="*/ 0 h 1796147"/>
                  <a:gd name="connsiteX5" fmla="*/ 2072869 w 2072868"/>
                  <a:gd name="connsiteY5" fmla="*/ 66741 h 1796147"/>
                  <a:gd name="connsiteX6" fmla="*/ 58486 w 2072868"/>
                  <a:gd name="connsiteY6" fmla="*/ 1795955 h 1796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72868" h="1796147">
                    <a:moveTo>
                      <a:pt x="58486" y="1795955"/>
                    </a:moveTo>
                    <a:lnTo>
                      <a:pt x="58486" y="1795955"/>
                    </a:lnTo>
                    <a:cubicBezTo>
                      <a:pt x="22081" y="1798989"/>
                      <a:pt x="-5221" y="1765618"/>
                      <a:pt x="847" y="1729213"/>
                    </a:cubicBezTo>
                    <a:lnTo>
                      <a:pt x="847" y="1729213"/>
                    </a:lnTo>
                    <a:lnTo>
                      <a:pt x="2015228" y="0"/>
                    </a:lnTo>
                    <a:lnTo>
                      <a:pt x="2072869" y="66741"/>
                    </a:lnTo>
                    <a:lnTo>
                      <a:pt x="58486" y="1795955"/>
                    </a:lnTo>
                    <a:close/>
                  </a:path>
                </a:pathLst>
              </a:custGeom>
              <a:solidFill>
                <a:srgbClr val="F1DDBA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0E084991-0090-4ECE-89BD-6D53A46E9598}"/>
                  </a:ext>
                </a:extLst>
              </p:cNvPr>
              <p:cNvSpPr/>
              <p:nvPr/>
            </p:nvSpPr>
            <p:spPr>
              <a:xfrm>
                <a:off x="20956402" y="8210699"/>
                <a:ext cx="318173" cy="299971"/>
              </a:xfrm>
              <a:custGeom>
                <a:avLst/>
                <a:gdLst>
                  <a:gd name="connsiteX0" fmla="*/ 57457 w 318173"/>
                  <a:gd name="connsiteY0" fmla="*/ 281952 h 299971"/>
                  <a:gd name="connsiteX1" fmla="*/ 11952 w 318173"/>
                  <a:gd name="connsiteY1" fmla="*/ 230379 h 299971"/>
                  <a:gd name="connsiteX2" fmla="*/ 18019 w 318173"/>
                  <a:gd name="connsiteY2" fmla="*/ 154536 h 299971"/>
                  <a:gd name="connsiteX3" fmla="*/ 184873 w 318173"/>
                  <a:gd name="connsiteY3" fmla="*/ 11952 h 299971"/>
                  <a:gd name="connsiteX4" fmla="*/ 260716 w 318173"/>
                  <a:gd name="connsiteY4" fmla="*/ 18020 h 299971"/>
                  <a:gd name="connsiteX5" fmla="*/ 306222 w 318173"/>
                  <a:gd name="connsiteY5" fmla="*/ 69593 h 299971"/>
                  <a:gd name="connsiteX6" fmla="*/ 300154 w 318173"/>
                  <a:gd name="connsiteY6" fmla="*/ 145435 h 299971"/>
                  <a:gd name="connsiteX7" fmla="*/ 133300 w 318173"/>
                  <a:gd name="connsiteY7" fmla="*/ 288019 h 299971"/>
                  <a:gd name="connsiteX8" fmla="*/ 57457 w 318173"/>
                  <a:gd name="connsiteY8" fmla="*/ 281952 h 29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8173" h="299971">
                    <a:moveTo>
                      <a:pt x="57457" y="281952"/>
                    </a:moveTo>
                    <a:lnTo>
                      <a:pt x="11952" y="230379"/>
                    </a:lnTo>
                    <a:cubicBezTo>
                      <a:pt x="-6250" y="209143"/>
                      <a:pt x="-3217" y="175772"/>
                      <a:pt x="18019" y="154536"/>
                    </a:cubicBezTo>
                    <a:lnTo>
                      <a:pt x="184873" y="11952"/>
                    </a:lnTo>
                    <a:cubicBezTo>
                      <a:pt x="206110" y="-6250"/>
                      <a:pt x="239480" y="-3217"/>
                      <a:pt x="260716" y="18020"/>
                    </a:cubicBezTo>
                    <a:lnTo>
                      <a:pt x="306222" y="69593"/>
                    </a:lnTo>
                    <a:cubicBezTo>
                      <a:pt x="324423" y="90828"/>
                      <a:pt x="321390" y="124199"/>
                      <a:pt x="300154" y="145435"/>
                    </a:cubicBezTo>
                    <a:lnTo>
                      <a:pt x="133300" y="288019"/>
                    </a:lnTo>
                    <a:cubicBezTo>
                      <a:pt x="112064" y="306222"/>
                      <a:pt x="78694" y="303188"/>
                      <a:pt x="57457" y="281952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6DE369B8-168C-41CF-B3DF-E440A9AEC865}"/>
                  </a:ext>
                </a:extLst>
              </p:cNvPr>
              <p:cNvSpPr/>
              <p:nvPr/>
            </p:nvSpPr>
            <p:spPr>
              <a:xfrm>
                <a:off x="21186781" y="7761527"/>
                <a:ext cx="561282" cy="610290"/>
              </a:xfrm>
              <a:custGeom>
                <a:avLst/>
                <a:gdLst>
                  <a:gd name="connsiteX0" fmla="*/ 555168 w 561282"/>
                  <a:gd name="connsiteY0" fmla="*/ 461124 h 610290"/>
                  <a:gd name="connsiteX1" fmla="*/ 160786 w 561282"/>
                  <a:gd name="connsiteY1" fmla="*/ 0 h 610290"/>
                  <a:gd name="connsiteX2" fmla="*/ 0 w 561282"/>
                  <a:gd name="connsiteY2" fmla="*/ 139551 h 610290"/>
                  <a:gd name="connsiteX3" fmla="*/ 394382 w 561282"/>
                  <a:gd name="connsiteY3" fmla="*/ 600674 h 610290"/>
                  <a:gd name="connsiteX4" fmla="*/ 506630 w 561282"/>
                  <a:gd name="connsiteY4" fmla="*/ 567303 h 610290"/>
                  <a:gd name="connsiteX5" fmla="*/ 555168 w 561282"/>
                  <a:gd name="connsiteY5" fmla="*/ 461124 h 610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1282" h="610290">
                    <a:moveTo>
                      <a:pt x="555168" y="461124"/>
                    </a:moveTo>
                    <a:lnTo>
                      <a:pt x="160786" y="0"/>
                    </a:lnTo>
                    <a:lnTo>
                      <a:pt x="0" y="139551"/>
                    </a:lnTo>
                    <a:lnTo>
                      <a:pt x="394382" y="600674"/>
                    </a:lnTo>
                    <a:cubicBezTo>
                      <a:pt x="412584" y="621910"/>
                      <a:pt x="461124" y="606742"/>
                      <a:pt x="506630" y="567303"/>
                    </a:cubicBezTo>
                    <a:cubicBezTo>
                      <a:pt x="549100" y="527865"/>
                      <a:pt x="573370" y="479326"/>
                      <a:pt x="555168" y="461124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DD349EC0-C211-42B7-B72E-7A2F60A7AB50}"/>
                  </a:ext>
                </a:extLst>
              </p:cNvPr>
              <p:cNvSpPr/>
              <p:nvPr/>
            </p:nvSpPr>
            <p:spPr>
              <a:xfrm>
                <a:off x="21177668" y="7751911"/>
                <a:ext cx="174755" cy="158782"/>
              </a:xfrm>
              <a:custGeom>
                <a:avLst/>
                <a:gdLst>
                  <a:gd name="connsiteX0" fmla="*/ 118326 w 174755"/>
                  <a:gd name="connsiteY0" fmla="*/ 115796 h 158782"/>
                  <a:gd name="connsiteX1" fmla="*/ 6078 w 174755"/>
                  <a:gd name="connsiteY1" fmla="*/ 149167 h 158782"/>
                  <a:gd name="connsiteX2" fmla="*/ 57652 w 174755"/>
                  <a:gd name="connsiteY2" fmla="*/ 42987 h 158782"/>
                  <a:gd name="connsiteX3" fmla="*/ 169899 w 174755"/>
                  <a:gd name="connsiteY3" fmla="*/ 9616 h 158782"/>
                  <a:gd name="connsiteX4" fmla="*/ 118326 w 174755"/>
                  <a:gd name="connsiteY4" fmla="*/ 115796 h 158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4755" h="158782">
                    <a:moveTo>
                      <a:pt x="118326" y="115796"/>
                    </a:moveTo>
                    <a:cubicBezTo>
                      <a:pt x="72820" y="155234"/>
                      <a:pt x="24282" y="170403"/>
                      <a:pt x="6078" y="149167"/>
                    </a:cubicBezTo>
                    <a:cubicBezTo>
                      <a:pt x="-12123" y="127931"/>
                      <a:pt x="12146" y="82425"/>
                      <a:pt x="57652" y="42987"/>
                    </a:cubicBezTo>
                    <a:cubicBezTo>
                      <a:pt x="103157" y="3549"/>
                      <a:pt x="151698" y="-11620"/>
                      <a:pt x="169899" y="9616"/>
                    </a:cubicBezTo>
                    <a:cubicBezTo>
                      <a:pt x="185068" y="30852"/>
                      <a:pt x="163831" y="76358"/>
                      <a:pt x="118326" y="115796"/>
                    </a:cubicBezTo>
                    <a:close/>
                  </a:path>
                </a:pathLst>
              </a:custGeom>
              <a:solidFill>
                <a:srgbClr val="C18970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74AF96D9-7056-4C61-9BA9-1A1F4621AE43}"/>
                  </a:ext>
                </a:extLst>
              </p:cNvPr>
              <p:cNvSpPr/>
              <p:nvPr/>
            </p:nvSpPr>
            <p:spPr>
              <a:xfrm>
                <a:off x="21029376" y="7731538"/>
                <a:ext cx="299641" cy="536618"/>
              </a:xfrm>
              <a:custGeom>
                <a:avLst/>
                <a:gdLst>
                  <a:gd name="connsiteX0" fmla="*/ 227180 w 299641"/>
                  <a:gd name="connsiteY0" fmla="*/ 536618 h 536618"/>
                  <a:gd name="connsiteX1" fmla="*/ 199876 w 299641"/>
                  <a:gd name="connsiteY1" fmla="*/ 503248 h 536618"/>
                  <a:gd name="connsiteX2" fmla="*/ 239316 w 299641"/>
                  <a:gd name="connsiteY2" fmla="*/ 469877 h 536618"/>
                  <a:gd name="connsiteX3" fmla="*/ 242349 w 299641"/>
                  <a:gd name="connsiteY3" fmla="*/ 445607 h 536618"/>
                  <a:gd name="connsiteX4" fmla="*/ 8753 w 299641"/>
                  <a:gd name="connsiteY4" fmla="*/ 175607 h 536618"/>
                  <a:gd name="connsiteX5" fmla="*/ 11787 w 299641"/>
                  <a:gd name="connsiteY5" fmla="*/ 124034 h 536618"/>
                  <a:gd name="connsiteX6" fmla="*/ 145269 w 299641"/>
                  <a:gd name="connsiteY6" fmla="*/ 8753 h 536618"/>
                  <a:gd name="connsiteX7" fmla="*/ 196843 w 299641"/>
                  <a:gd name="connsiteY7" fmla="*/ 11787 h 536618"/>
                  <a:gd name="connsiteX8" fmla="*/ 257517 w 299641"/>
                  <a:gd name="connsiteY8" fmla="*/ 81562 h 536618"/>
                  <a:gd name="connsiteX9" fmla="*/ 257517 w 299641"/>
                  <a:gd name="connsiteY9" fmla="*/ 81562 h 536618"/>
                  <a:gd name="connsiteX10" fmla="*/ 224147 w 299641"/>
                  <a:gd name="connsiteY10" fmla="*/ 108866 h 536618"/>
                  <a:gd name="connsiteX11" fmla="*/ 224147 w 299641"/>
                  <a:gd name="connsiteY11" fmla="*/ 108866 h 536618"/>
                  <a:gd name="connsiteX12" fmla="*/ 181674 w 299641"/>
                  <a:gd name="connsiteY12" fmla="*/ 57293 h 536618"/>
                  <a:gd name="connsiteX13" fmla="*/ 157405 w 299641"/>
                  <a:gd name="connsiteY13" fmla="*/ 54259 h 536618"/>
                  <a:gd name="connsiteX14" fmla="*/ 60326 w 299641"/>
                  <a:gd name="connsiteY14" fmla="*/ 136169 h 536618"/>
                  <a:gd name="connsiteX15" fmla="*/ 57293 w 299641"/>
                  <a:gd name="connsiteY15" fmla="*/ 160439 h 536618"/>
                  <a:gd name="connsiteX16" fmla="*/ 290887 w 299641"/>
                  <a:gd name="connsiteY16" fmla="*/ 430439 h 536618"/>
                  <a:gd name="connsiteX17" fmla="*/ 287854 w 299641"/>
                  <a:gd name="connsiteY17" fmla="*/ 482012 h 536618"/>
                  <a:gd name="connsiteX18" fmla="*/ 227180 w 299641"/>
                  <a:gd name="connsiteY18" fmla="*/ 536618 h 536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99641" h="536618">
                    <a:moveTo>
                      <a:pt x="227180" y="536618"/>
                    </a:moveTo>
                    <a:lnTo>
                      <a:pt x="199876" y="503248"/>
                    </a:lnTo>
                    <a:lnTo>
                      <a:pt x="239316" y="469877"/>
                    </a:lnTo>
                    <a:cubicBezTo>
                      <a:pt x="245381" y="463810"/>
                      <a:pt x="248416" y="454708"/>
                      <a:pt x="242349" y="445607"/>
                    </a:cubicBezTo>
                    <a:lnTo>
                      <a:pt x="8753" y="175607"/>
                    </a:lnTo>
                    <a:cubicBezTo>
                      <a:pt x="-3381" y="160439"/>
                      <a:pt x="-3381" y="139203"/>
                      <a:pt x="11787" y="124034"/>
                    </a:cubicBezTo>
                    <a:lnTo>
                      <a:pt x="145269" y="8753"/>
                    </a:lnTo>
                    <a:cubicBezTo>
                      <a:pt x="160438" y="-3381"/>
                      <a:pt x="181674" y="-3381"/>
                      <a:pt x="196843" y="11787"/>
                    </a:cubicBezTo>
                    <a:lnTo>
                      <a:pt x="257517" y="81562"/>
                    </a:lnTo>
                    <a:lnTo>
                      <a:pt x="257517" y="81562"/>
                    </a:lnTo>
                    <a:cubicBezTo>
                      <a:pt x="254484" y="96731"/>
                      <a:pt x="239316" y="108866"/>
                      <a:pt x="224147" y="108866"/>
                    </a:cubicBezTo>
                    <a:lnTo>
                      <a:pt x="224147" y="108866"/>
                    </a:lnTo>
                    <a:lnTo>
                      <a:pt x="181674" y="57293"/>
                    </a:lnTo>
                    <a:cubicBezTo>
                      <a:pt x="175607" y="51225"/>
                      <a:pt x="166506" y="48192"/>
                      <a:pt x="157405" y="54259"/>
                    </a:cubicBezTo>
                    <a:lnTo>
                      <a:pt x="60326" y="136169"/>
                    </a:lnTo>
                    <a:cubicBezTo>
                      <a:pt x="54258" y="142236"/>
                      <a:pt x="51225" y="151338"/>
                      <a:pt x="57293" y="160439"/>
                    </a:cubicBezTo>
                    <a:lnTo>
                      <a:pt x="290887" y="430439"/>
                    </a:lnTo>
                    <a:cubicBezTo>
                      <a:pt x="303023" y="445607"/>
                      <a:pt x="303023" y="466844"/>
                      <a:pt x="287854" y="482012"/>
                    </a:cubicBezTo>
                    <a:lnTo>
                      <a:pt x="227180" y="536618"/>
                    </a:lnTo>
                    <a:close/>
                  </a:path>
                </a:pathLst>
              </a:custGeom>
              <a:solidFill>
                <a:srgbClr val="F1DDBA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3" name="图形 1">
              <a:extLst>
                <a:ext uri="{FF2B5EF4-FFF2-40B4-BE49-F238E27FC236}">
                  <a16:creationId xmlns:a16="http://schemas.microsoft.com/office/drawing/2014/main" id="{9962A401-A3C9-43CE-8D03-5F3D66E29869}"/>
                </a:ext>
              </a:extLst>
            </p:cNvPr>
            <p:cNvGrpSpPr/>
            <p:nvPr/>
          </p:nvGrpSpPr>
          <p:grpSpPr>
            <a:xfrm>
              <a:off x="19684351" y="9311608"/>
              <a:ext cx="295015" cy="224324"/>
              <a:chOff x="19684351" y="9311608"/>
              <a:chExt cx="295015" cy="224324"/>
            </a:xfrm>
          </p:grpSpPr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0E6B0133-FE39-4301-A235-127683684A30}"/>
                  </a:ext>
                </a:extLst>
              </p:cNvPr>
              <p:cNvSpPr/>
              <p:nvPr/>
            </p:nvSpPr>
            <p:spPr>
              <a:xfrm>
                <a:off x="19684351" y="9311608"/>
                <a:ext cx="284437" cy="224324"/>
              </a:xfrm>
              <a:custGeom>
                <a:avLst/>
                <a:gdLst>
                  <a:gd name="connsiteX0" fmla="*/ 21982 w 284437"/>
                  <a:gd name="connsiteY0" fmla="*/ 121492 h 224324"/>
                  <a:gd name="connsiteX1" fmla="*/ 94790 w 284437"/>
                  <a:gd name="connsiteY1" fmla="*/ 170031 h 224324"/>
                  <a:gd name="connsiteX2" fmla="*/ 146363 w 284437"/>
                  <a:gd name="connsiteY2" fmla="*/ 221605 h 224324"/>
                  <a:gd name="connsiteX3" fmla="*/ 185801 w 284437"/>
                  <a:gd name="connsiteY3" fmla="*/ 197334 h 224324"/>
                  <a:gd name="connsiteX4" fmla="*/ 222206 w 284437"/>
                  <a:gd name="connsiteY4" fmla="*/ 194302 h 224324"/>
                  <a:gd name="connsiteX5" fmla="*/ 231306 w 284437"/>
                  <a:gd name="connsiteY5" fmla="*/ 166998 h 224324"/>
                  <a:gd name="connsiteX6" fmla="*/ 258611 w 284437"/>
                  <a:gd name="connsiteY6" fmla="*/ 127560 h 224324"/>
                  <a:gd name="connsiteX7" fmla="*/ 282880 w 284437"/>
                  <a:gd name="connsiteY7" fmla="*/ 106324 h 224324"/>
                  <a:gd name="connsiteX8" fmla="*/ 249510 w 284437"/>
                  <a:gd name="connsiteY8" fmla="*/ 63852 h 224324"/>
                  <a:gd name="connsiteX9" fmla="*/ 55352 w 284437"/>
                  <a:gd name="connsiteY9" fmla="*/ 144 h 224324"/>
                  <a:gd name="connsiteX10" fmla="*/ 745 w 284437"/>
                  <a:gd name="connsiteY10" fmla="*/ 82054 h 224324"/>
                  <a:gd name="connsiteX11" fmla="*/ 21982 w 284437"/>
                  <a:gd name="connsiteY11" fmla="*/ 121492 h 224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4437" h="224324">
                    <a:moveTo>
                      <a:pt x="21982" y="121492"/>
                    </a:moveTo>
                    <a:cubicBezTo>
                      <a:pt x="46251" y="139694"/>
                      <a:pt x="70520" y="151829"/>
                      <a:pt x="94790" y="170031"/>
                    </a:cubicBezTo>
                    <a:cubicBezTo>
                      <a:pt x="119059" y="188234"/>
                      <a:pt x="119059" y="206436"/>
                      <a:pt x="146363" y="221605"/>
                    </a:cubicBezTo>
                    <a:cubicBezTo>
                      <a:pt x="167599" y="230705"/>
                      <a:pt x="182768" y="215537"/>
                      <a:pt x="185801" y="197334"/>
                    </a:cubicBezTo>
                    <a:cubicBezTo>
                      <a:pt x="200969" y="206436"/>
                      <a:pt x="210070" y="206436"/>
                      <a:pt x="222206" y="194302"/>
                    </a:cubicBezTo>
                    <a:cubicBezTo>
                      <a:pt x="228273" y="191268"/>
                      <a:pt x="234341" y="173065"/>
                      <a:pt x="231306" y="166998"/>
                    </a:cubicBezTo>
                    <a:cubicBezTo>
                      <a:pt x="243442" y="173065"/>
                      <a:pt x="267711" y="145762"/>
                      <a:pt x="258611" y="127560"/>
                    </a:cubicBezTo>
                    <a:cubicBezTo>
                      <a:pt x="273779" y="130593"/>
                      <a:pt x="279847" y="112391"/>
                      <a:pt x="282880" y="106324"/>
                    </a:cubicBezTo>
                    <a:cubicBezTo>
                      <a:pt x="291981" y="79020"/>
                      <a:pt x="258611" y="69919"/>
                      <a:pt x="249510" y="63852"/>
                    </a:cubicBezTo>
                    <a:cubicBezTo>
                      <a:pt x="182768" y="18346"/>
                      <a:pt x="122094" y="12279"/>
                      <a:pt x="55352" y="144"/>
                    </a:cubicBezTo>
                    <a:cubicBezTo>
                      <a:pt x="55352" y="-2890"/>
                      <a:pt x="6813" y="42616"/>
                      <a:pt x="745" y="82054"/>
                    </a:cubicBezTo>
                    <a:cubicBezTo>
                      <a:pt x="-2289" y="103290"/>
                      <a:pt x="3778" y="106324"/>
                      <a:pt x="21982" y="12149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EDAA469C-96CB-4C4F-9A4B-97B12B5D78C9}"/>
                  </a:ext>
                </a:extLst>
              </p:cNvPr>
              <p:cNvSpPr/>
              <p:nvPr/>
            </p:nvSpPr>
            <p:spPr>
              <a:xfrm>
                <a:off x="19859794" y="9337799"/>
                <a:ext cx="119571" cy="107436"/>
              </a:xfrm>
              <a:custGeom>
                <a:avLst/>
                <a:gdLst>
                  <a:gd name="connsiteX0" fmla="*/ 83167 w 119571"/>
                  <a:gd name="connsiteY0" fmla="*/ 107436 h 107436"/>
                  <a:gd name="connsiteX1" fmla="*/ 77099 w 119571"/>
                  <a:gd name="connsiteY1" fmla="*/ 104403 h 107436"/>
                  <a:gd name="connsiteX2" fmla="*/ 80132 w 119571"/>
                  <a:gd name="connsiteY2" fmla="*/ 95302 h 107436"/>
                  <a:gd name="connsiteX3" fmla="*/ 104403 w 119571"/>
                  <a:gd name="connsiteY3" fmla="*/ 74066 h 107436"/>
                  <a:gd name="connsiteX4" fmla="*/ 101368 w 119571"/>
                  <a:gd name="connsiteY4" fmla="*/ 58897 h 107436"/>
                  <a:gd name="connsiteX5" fmla="*/ 4289 w 119571"/>
                  <a:gd name="connsiteY5" fmla="*/ 10358 h 107436"/>
                  <a:gd name="connsiteX6" fmla="*/ 1256 w 119571"/>
                  <a:gd name="connsiteY6" fmla="*/ 4290 h 107436"/>
                  <a:gd name="connsiteX7" fmla="*/ 7324 w 119571"/>
                  <a:gd name="connsiteY7" fmla="*/ 1256 h 107436"/>
                  <a:gd name="connsiteX8" fmla="*/ 113504 w 119571"/>
                  <a:gd name="connsiteY8" fmla="*/ 55863 h 107436"/>
                  <a:gd name="connsiteX9" fmla="*/ 119572 w 119571"/>
                  <a:gd name="connsiteY9" fmla="*/ 80133 h 107436"/>
                  <a:gd name="connsiteX10" fmla="*/ 83167 w 119571"/>
                  <a:gd name="connsiteY10" fmla="*/ 107436 h 107436"/>
                  <a:gd name="connsiteX11" fmla="*/ 83167 w 119571"/>
                  <a:gd name="connsiteY11" fmla="*/ 107436 h 107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9571" h="107436">
                    <a:moveTo>
                      <a:pt x="83167" y="107436"/>
                    </a:moveTo>
                    <a:cubicBezTo>
                      <a:pt x="80132" y="107436"/>
                      <a:pt x="80132" y="107436"/>
                      <a:pt x="77099" y="104403"/>
                    </a:cubicBezTo>
                    <a:cubicBezTo>
                      <a:pt x="77099" y="101369"/>
                      <a:pt x="77099" y="98335"/>
                      <a:pt x="80132" y="95302"/>
                    </a:cubicBezTo>
                    <a:cubicBezTo>
                      <a:pt x="86200" y="92268"/>
                      <a:pt x="101368" y="86200"/>
                      <a:pt x="104403" y="74066"/>
                    </a:cubicBezTo>
                    <a:cubicBezTo>
                      <a:pt x="104403" y="71032"/>
                      <a:pt x="104403" y="64965"/>
                      <a:pt x="101368" y="58897"/>
                    </a:cubicBezTo>
                    <a:cubicBezTo>
                      <a:pt x="80132" y="28560"/>
                      <a:pt x="4289" y="10358"/>
                      <a:pt x="4289" y="10358"/>
                    </a:cubicBezTo>
                    <a:cubicBezTo>
                      <a:pt x="1256" y="10358"/>
                      <a:pt x="-1777" y="7324"/>
                      <a:pt x="1256" y="4290"/>
                    </a:cubicBezTo>
                    <a:cubicBezTo>
                      <a:pt x="1256" y="1256"/>
                      <a:pt x="4289" y="-1777"/>
                      <a:pt x="7324" y="1256"/>
                    </a:cubicBezTo>
                    <a:cubicBezTo>
                      <a:pt x="10357" y="1256"/>
                      <a:pt x="89235" y="22492"/>
                      <a:pt x="113504" y="55863"/>
                    </a:cubicBezTo>
                    <a:cubicBezTo>
                      <a:pt x="119572" y="64965"/>
                      <a:pt x="119572" y="71032"/>
                      <a:pt x="119572" y="80133"/>
                    </a:cubicBezTo>
                    <a:cubicBezTo>
                      <a:pt x="110469" y="95302"/>
                      <a:pt x="89235" y="104403"/>
                      <a:pt x="83167" y="107436"/>
                    </a:cubicBezTo>
                    <a:cubicBezTo>
                      <a:pt x="86200" y="107436"/>
                      <a:pt x="86200" y="107436"/>
                      <a:pt x="83167" y="10743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05095D3F-8B3D-42E9-9D82-E45B16D71336}"/>
                  </a:ext>
                </a:extLst>
              </p:cNvPr>
              <p:cNvSpPr/>
              <p:nvPr/>
            </p:nvSpPr>
            <p:spPr>
              <a:xfrm>
                <a:off x="19844534" y="9423999"/>
                <a:ext cx="68089" cy="63708"/>
              </a:xfrm>
              <a:custGeom>
                <a:avLst/>
                <a:gdLst>
                  <a:gd name="connsiteX0" fmla="*/ 7416 w 68089"/>
                  <a:gd name="connsiteY0" fmla="*/ 63708 h 63708"/>
                  <a:gd name="connsiteX1" fmla="*/ 1348 w 68089"/>
                  <a:gd name="connsiteY1" fmla="*/ 60674 h 63708"/>
                  <a:gd name="connsiteX2" fmla="*/ 1348 w 68089"/>
                  <a:gd name="connsiteY2" fmla="*/ 51573 h 63708"/>
                  <a:gd name="connsiteX3" fmla="*/ 55954 w 68089"/>
                  <a:gd name="connsiteY3" fmla="*/ 3034 h 63708"/>
                  <a:gd name="connsiteX4" fmla="*/ 65055 w 68089"/>
                  <a:gd name="connsiteY4" fmla="*/ 0 h 63708"/>
                  <a:gd name="connsiteX5" fmla="*/ 68090 w 68089"/>
                  <a:gd name="connsiteY5" fmla="*/ 9101 h 63708"/>
                  <a:gd name="connsiteX6" fmla="*/ 10449 w 68089"/>
                  <a:gd name="connsiteY6" fmla="*/ 60674 h 63708"/>
                  <a:gd name="connsiteX7" fmla="*/ 7416 w 68089"/>
                  <a:gd name="connsiteY7" fmla="*/ 63708 h 63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089" h="63708">
                    <a:moveTo>
                      <a:pt x="7416" y="63708"/>
                    </a:moveTo>
                    <a:cubicBezTo>
                      <a:pt x="4381" y="63708"/>
                      <a:pt x="4381" y="63708"/>
                      <a:pt x="1348" y="60674"/>
                    </a:cubicBezTo>
                    <a:cubicBezTo>
                      <a:pt x="-1685" y="57640"/>
                      <a:pt x="1348" y="54607"/>
                      <a:pt x="1348" y="51573"/>
                    </a:cubicBezTo>
                    <a:cubicBezTo>
                      <a:pt x="13484" y="42472"/>
                      <a:pt x="46854" y="15169"/>
                      <a:pt x="55954" y="3034"/>
                    </a:cubicBezTo>
                    <a:cubicBezTo>
                      <a:pt x="58989" y="0"/>
                      <a:pt x="62022" y="0"/>
                      <a:pt x="65055" y="0"/>
                    </a:cubicBezTo>
                    <a:cubicBezTo>
                      <a:pt x="68090" y="3034"/>
                      <a:pt x="68090" y="6067"/>
                      <a:pt x="68090" y="9101"/>
                    </a:cubicBezTo>
                    <a:cubicBezTo>
                      <a:pt x="58989" y="24270"/>
                      <a:pt x="16517" y="54607"/>
                      <a:pt x="10449" y="60674"/>
                    </a:cubicBezTo>
                    <a:cubicBezTo>
                      <a:pt x="10449" y="63708"/>
                      <a:pt x="10449" y="63708"/>
                      <a:pt x="7416" y="6370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4" name="图形 1">
              <a:extLst>
                <a:ext uri="{FF2B5EF4-FFF2-40B4-BE49-F238E27FC236}">
                  <a16:creationId xmlns:a16="http://schemas.microsoft.com/office/drawing/2014/main" id="{E244C121-C9BC-45CD-96F6-3D1499584A9D}"/>
                </a:ext>
              </a:extLst>
            </p:cNvPr>
            <p:cNvGrpSpPr/>
            <p:nvPr/>
          </p:nvGrpSpPr>
          <p:grpSpPr>
            <a:xfrm>
              <a:off x="20349183" y="8911302"/>
              <a:ext cx="164114" cy="172921"/>
              <a:chOff x="20349183" y="8911302"/>
              <a:chExt cx="164114" cy="172921"/>
            </a:xfrm>
          </p:grpSpPr>
          <p:grpSp>
            <p:nvGrpSpPr>
              <p:cNvPr id="123" name="图形 1">
                <a:extLst>
                  <a:ext uri="{FF2B5EF4-FFF2-40B4-BE49-F238E27FC236}">
                    <a16:creationId xmlns:a16="http://schemas.microsoft.com/office/drawing/2014/main" id="{8F919084-9652-41AC-8DE5-53A0AFF217A7}"/>
                  </a:ext>
                </a:extLst>
              </p:cNvPr>
              <p:cNvGrpSpPr/>
              <p:nvPr/>
            </p:nvGrpSpPr>
            <p:grpSpPr>
              <a:xfrm>
                <a:off x="20359937" y="8911302"/>
                <a:ext cx="153360" cy="161613"/>
                <a:chOff x="20359937" y="8911302"/>
                <a:chExt cx="153360" cy="161613"/>
              </a:xfrm>
            </p:grpSpPr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478CCCEC-773E-4612-9DF6-274498E171B1}"/>
                    </a:ext>
                  </a:extLst>
                </p:cNvPr>
                <p:cNvSpPr/>
                <p:nvPr/>
              </p:nvSpPr>
              <p:spPr>
                <a:xfrm>
                  <a:off x="20359937" y="8914336"/>
                  <a:ext cx="153360" cy="158579"/>
                </a:xfrm>
                <a:custGeom>
                  <a:avLst/>
                  <a:gdLst>
                    <a:gd name="connsiteX0" fmla="*/ 1676 w 153360"/>
                    <a:gd name="connsiteY0" fmla="*/ 109214 h 158579"/>
                    <a:gd name="connsiteX1" fmla="*/ 22912 w 153360"/>
                    <a:gd name="connsiteY1" fmla="*/ 97079 h 158579"/>
                    <a:gd name="connsiteX2" fmla="*/ 19877 w 153360"/>
                    <a:gd name="connsiteY2" fmla="*/ 75843 h 158579"/>
                    <a:gd name="connsiteX3" fmla="*/ 35046 w 153360"/>
                    <a:gd name="connsiteY3" fmla="*/ 60674 h 158579"/>
                    <a:gd name="connsiteX4" fmla="*/ 35046 w 153360"/>
                    <a:gd name="connsiteY4" fmla="*/ 45506 h 158579"/>
                    <a:gd name="connsiteX5" fmla="*/ 65383 w 153360"/>
                    <a:gd name="connsiteY5" fmla="*/ 24270 h 158579"/>
                    <a:gd name="connsiteX6" fmla="*/ 68418 w 153360"/>
                    <a:gd name="connsiteY6" fmla="*/ 24270 h 158579"/>
                    <a:gd name="connsiteX7" fmla="*/ 68418 w 153360"/>
                    <a:gd name="connsiteY7" fmla="*/ 21236 h 158579"/>
                    <a:gd name="connsiteX8" fmla="*/ 98755 w 153360"/>
                    <a:gd name="connsiteY8" fmla="*/ 0 h 158579"/>
                    <a:gd name="connsiteX9" fmla="*/ 107855 w 153360"/>
                    <a:gd name="connsiteY9" fmla="*/ 3034 h 158579"/>
                    <a:gd name="connsiteX10" fmla="*/ 113923 w 153360"/>
                    <a:gd name="connsiteY10" fmla="*/ 12135 h 158579"/>
                    <a:gd name="connsiteX11" fmla="*/ 153361 w 153360"/>
                    <a:gd name="connsiteY11" fmla="*/ 66741 h 158579"/>
                    <a:gd name="connsiteX12" fmla="*/ 135159 w 153360"/>
                    <a:gd name="connsiteY12" fmla="*/ 94045 h 158579"/>
                    <a:gd name="connsiteX13" fmla="*/ 119991 w 153360"/>
                    <a:gd name="connsiteY13" fmla="*/ 91011 h 158579"/>
                    <a:gd name="connsiteX14" fmla="*/ 101788 w 153360"/>
                    <a:gd name="connsiteY14" fmla="*/ 115281 h 158579"/>
                    <a:gd name="connsiteX15" fmla="*/ 89654 w 153360"/>
                    <a:gd name="connsiteY15" fmla="*/ 115281 h 158579"/>
                    <a:gd name="connsiteX16" fmla="*/ 74485 w 153360"/>
                    <a:gd name="connsiteY16" fmla="*/ 139551 h 158579"/>
                    <a:gd name="connsiteX17" fmla="*/ 68418 w 153360"/>
                    <a:gd name="connsiteY17" fmla="*/ 139551 h 158579"/>
                    <a:gd name="connsiteX18" fmla="*/ 53249 w 153360"/>
                    <a:gd name="connsiteY18" fmla="*/ 157753 h 158579"/>
                    <a:gd name="connsiteX19" fmla="*/ 32013 w 153360"/>
                    <a:gd name="connsiteY19" fmla="*/ 151685 h 158579"/>
                    <a:gd name="connsiteX20" fmla="*/ 10776 w 153360"/>
                    <a:gd name="connsiteY20" fmla="*/ 130450 h 158579"/>
                    <a:gd name="connsiteX21" fmla="*/ 1676 w 153360"/>
                    <a:gd name="connsiteY21" fmla="*/ 109214 h 1585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53360" h="158579">
                      <a:moveTo>
                        <a:pt x="1676" y="109214"/>
                      </a:moveTo>
                      <a:cubicBezTo>
                        <a:pt x="4709" y="103146"/>
                        <a:pt x="16844" y="97079"/>
                        <a:pt x="22912" y="97079"/>
                      </a:cubicBezTo>
                      <a:cubicBezTo>
                        <a:pt x="19877" y="91011"/>
                        <a:pt x="16844" y="84944"/>
                        <a:pt x="19877" y="75843"/>
                      </a:cubicBezTo>
                      <a:cubicBezTo>
                        <a:pt x="22912" y="66741"/>
                        <a:pt x="28980" y="63708"/>
                        <a:pt x="35046" y="60674"/>
                      </a:cubicBezTo>
                      <a:cubicBezTo>
                        <a:pt x="35046" y="57641"/>
                        <a:pt x="35046" y="51573"/>
                        <a:pt x="35046" y="45506"/>
                      </a:cubicBezTo>
                      <a:cubicBezTo>
                        <a:pt x="41113" y="30337"/>
                        <a:pt x="53249" y="24270"/>
                        <a:pt x="65383" y="24270"/>
                      </a:cubicBezTo>
                      <a:cubicBezTo>
                        <a:pt x="65383" y="24270"/>
                        <a:pt x="68418" y="24270"/>
                        <a:pt x="68418" y="24270"/>
                      </a:cubicBezTo>
                      <a:cubicBezTo>
                        <a:pt x="68418" y="24270"/>
                        <a:pt x="68418" y="21236"/>
                        <a:pt x="68418" y="21236"/>
                      </a:cubicBezTo>
                      <a:cubicBezTo>
                        <a:pt x="74485" y="6067"/>
                        <a:pt x="86619" y="0"/>
                        <a:pt x="98755" y="0"/>
                      </a:cubicBezTo>
                      <a:cubicBezTo>
                        <a:pt x="101788" y="0"/>
                        <a:pt x="104822" y="3034"/>
                        <a:pt x="107855" y="3034"/>
                      </a:cubicBezTo>
                      <a:cubicBezTo>
                        <a:pt x="110888" y="3034"/>
                        <a:pt x="113923" y="9101"/>
                        <a:pt x="113923" y="12135"/>
                      </a:cubicBezTo>
                      <a:cubicBezTo>
                        <a:pt x="129092" y="30337"/>
                        <a:pt x="150328" y="42472"/>
                        <a:pt x="153361" y="66741"/>
                      </a:cubicBezTo>
                      <a:cubicBezTo>
                        <a:pt x="153361" y="75843"/>
                        <a:pt x="147293" y="91011"/>
                        <a:pt x="135159" y="94045"/>
                      </a:cubicBezTo>
                      <a:cubicBezTo>
                        <a:pt x="129092" y="97079"/>
                        <a:pt x="123024" y="94045"/>
                        <a:pt x="119991" y="91011"/>
                      </a:cubicBezTo>
                      <a:cubicBezTo>
                        <a:pt x="119991" y="100112"/>
                        <a:pt x="113923" y="112247"/>
                        <a:pt x="101788" y="115281"/>
                      </a:cubicBezTo>
                      <a:cubicBezTo>
                        <a:pt x="95720" y="118315"/>
                        <a:pt x="92687" y="115281"/>
                        <a:pt x="89654" y="115281"/>
                      </a:cubicBezTo>
                      <a:cubicBezTo>
                        <a:pt x="89654" y="124382"/>
                        <a:pt x="83586" y="136517"/>
                        <a:pt x="74485" y="139551"/>
                      </a:cubicBezTo>
                      <a:cubicBezTo>
                        <a:pt x="71450" y="139551"/>
                        <a:pt x="71450" y="139551"/>
                        <a:pt x="68418" y="139551"/>
                      </a:cubicBezTo>
                      <a:cubicBezTo>
                        <a:pt x="65383" y="145618"/>
                        <a:pt x="59317" y="154719"/>
                        <a:pt x="53249" y="157753"/>
                      </a:cubicBezTo>
                      <a:cubicBezTo>
                        <a:pt x="44148" y="160787"/>
                        <a:pt x="38080" y="154719"/>
                        <a:pt x="32013" y="151685"/>
                      </a:cubicBezTo>
                      <a:cubicBezTo>
                        <a:pt x="25945" y="145618"/>
                        <a:pt x="16844" y="139551"/>
                        <a:pt x="10776" y="130450"/>
                      </a:cubicBezTo>
                      <a:cubicBezTo>
                        <a:pt x="7743" y="133483"/>
                        <a:pt x="-4392" y="121348"/>
                        <a:pt x="1676" y="109214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1C5EF9AA-F68E-400D-A18E-F9C9A0A0D7DA}"/>
                    </a:ext>
                  </a:extLst>
                </p:cNvPr>
                <p:cNvSpPr/>
                <p:nvPr/>
              </p:nvSpPr>
              <p:spPr>
                <a:xfrm>
                  <a:off x="20390030" y="8911302"/>
                  <a:ext cx="118457" cy="127415"/>
                </a:xfrm>
                <a:custGeom>
                  <a:avLst/>
                  <a:gdLst>
                    <a:gd name="connsiteX0" fmla="*/ 71694 w 118457"/>
                    <a:gd name="connsiteY0" fmla="*/ 127416 h 127415"/>
                    <a:gd name="connsiteX1" fmla="*/ 71694 w 118457"/>
                    <a:gd name="connsiteY1" fmla="*/ 127416 h 127415"/>
                    <a:gd name="connsiteX2" fmla="*/ 20121 w 118457"/>
                    <a:gd name="connsiteY2" fmla="*/ 91011 h 127415"/>
                    <a:gd name="connsiteX3" fmla="*/ 4953 w 118457"/>
                    <a:gd name="connsiteY3" fmla="*/ 36404 h 127415"/>
                    <a:gd name="connsiteX4" fmla="*/ 38324 w 118457"/>
                    <a:gd name="connsiteY4" fmla="*/ 18202 h 127415"/>
                    <a:gd name="connsiteX5" fmla="*/ 44392 w 118457"/>
                    <a:gd name="connsiteY5" fmla="*/ 9101 h 127415"/>
                    <a:gd name="connsiteX6" fmla="*/ 62594 w 118457"/>
                    <a:gd name="connsiteY6" fmla="*/ 0 h 127415"/>
                    <a:gd name="connsiteX7" fmla="*/ 62594 w 118457"/>
                    <a:gd name="connsiteY7" fmla="*/ 0 h 127415"/>
                    <a:gd name="connsiteX8" fmla="*/ 117200 w 118457"/>
                    <a:gd name="connsiteY8" fmla="*/ 45506 h 127415"/>
                    <a:gd name="connsiteX9" fmla="*/ 114167 w 118457"/>
                    <a:gd name="connsiteY9" fmla="*/ 54606 h 127415"/>
                    <a:gd name="connsiteX10" fmla="*/ 105066 w 118457"/>
                    <a:gd name="connsiteY10" fmla="*/ 54606 h 127415"/>
                    <a:gd name="connsiteX11" fmla="*/ 59561 w 118457"/>
                    <a:gd name="connsiteY11" fmla="*/ 15169 h 127415"/>
                    <a:gd name="connsiteX12" fmla="*/ 59561 w 118457"/>
                    <a:gd name="connsiteY12" fmla="*/ 15169 h 127415"/>
                    <a:gd name="connsiteX13" fmla="*/ 53493 w 118457"/>
                    <a:gd name="connsiteY13" fmla="*/ 21236 h 127415"/>
                    <a:gd name="connsiteX14" fmla="*/ 95964 w 118457"/>
                    <a:gd name="connsiteY14" fmla="*/ 97079 h 127415"/>
                    <a:gd name="connsiteX15" fmla="*/ 98999 w 118457"/>
                    <a:gd name="connsiteY15" fmla="*/ 106180 h 127415"/>
                    <a:gd name="connsiteX16" fmla="*/ 89898 w 118457"/>
                    <a:gd name="connsiteY16" fmla="*/ 124382 h 127415"/>
                    <a:gd name="connsiteX17" fmla="*/ 71694 w 118457"/>
                    <a:gd name="connsiteY17" fmla="*/ 127416 h 127415"/>
                    <a:gd name="connsiteX18" fmla="*/ 35290 w 118457"/>
                    <a:gd name="connsiteY18" fmla="*/ 33371 h 127415"/>
                    <a:gd name="connsiteX19" fmla="*/ 14055 w 118457"/>
                    <a:gd name="connsiteY19" fmla="*/ 45506 h 127415"/>
                    <a:gd name="connsiteX20" fmla="*/ 29224 w 118457"/>
                    <a:gd name="connsiteY20" fmla="*/ 84943 h 127415"/>
                    <a:gd name="connsiteX21" fmla="*/ 68661 w 118457"/>
                    <a:gd name="connsiteY21" fmla="*/ 115281 h 127415"/>
                    <a:gd name="connsiteX22" fmla="*/ 77762 w 118457"/>
                    <a:gd name="connsiteY22" fmla="*/ 112247 h 127415"/>
                    <a:gd name="connsiteX23" fmla="*/ 83830 w 118457"/>
                    <a:gd name="connsiteY23" fmla="*/ 100112 h 127415"/>
                    <a:gd name="connsiteX24" fmla="*/ 35290 w 118457"/>
                    <a:gd name="connsiteY24" fmla="*/ 33371 h 1274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18457" h="127415">
                      <a:moveTo>
                        <a:pt x="71694" y="127416"/>
                      </a:moveTo>
                      <a:cubicBezTo>
                        <a:pt x="68661" y="127416"/>
                        <a:pt x="68661" y="127416"/>
                        <a:pt x="71694" y="127416"/>
                      </a:cubicBezTo>
                      <a:cubicBezTo>
                        <a:pt x="56526" y="127416"/>
                        <a:pt x="38324" y="115281"/>
                        <a:pt x="20121" y="91011"/>
                      </a:cubicBezTo>
                      <a:cubicBezTo>
                        <a:pt x="4953" y="69775"/>
                        <a:pt x="-7181" y="54606"/>
                        <a:pt x="4953" y="36404"/>
                      </a:cubicBezTo>
                      <a:cubicBezTo>
                        <a:pt x="14055" y="21236"/>
                        <a:pt x="32257" y="18202"/>
                        <a:pt x="38324" y="18202"/>
                      </a:cubicBezTo>
                      <a:cubicBezTo>
                        <a:pt x="38324" y="15169"/>
                        <a:pt x="41357" y="12135"/>
                        <a:pt x="44392" y="9101"/>
                      </a:cubicBezTo>
                      <a:cubicBezTo>
                        <a:pt x="50458" y="0"/>
                        <a:pt x="56526" y="0"/>
                        <a:pt x="62594" y="0"/>
                      </a:cubicBezTo>
                      <a:lnTo>
                        <a:pt x="62594" y="0"/>
                      </a:lnTo>
                      <a:cubicBezTo>
                        <a:pt x="86863" y="0"/>
                        <a:pt x="114167" y="42472"/>
                        <a:pt x="117200" y="45506"/>
                      </a:cubicBezTo>
                      <a:cubicBezTo>
                        <a:pt x="120235" y="48539"/>
                        <a:pt x="117200" y="51573"/>
                        <a:pt x="114167" y="54606"/>
                      </a:cubicBezTo>
                      <a:cubicBezTo>
                        <a:pt x="111132" y="57640"/>
                        <a:pt x="108099" y="54606"/>
                        <a:pt x="105066" y="54606"/>
                      </a:cubicBezTo>
                      <a:cubicBezTo>
                        <a:pt x="92931" y="39438"/>
                        <a:pt x="71694" y="15169"/>
                        <a:pt x="59561" y="15169"/>
                      </a:cubicBezTo>
                      <a:lnTo>
                        <a:pt x="59561" y="15169"/>
                      </a:lnTo>
                      <a:cubicBezTo>
                        <a:pt x="56526" y="15169"/>
                        <a:pt x="53493" y="15169"/>
                        <a:pt x="53493" y="21236"/>
                      </a:cubicBezTo>
                      <a:cubicBezTo>
                        <a:pt x="47425" y="30337"/>
                        <a:pt x="35290" y="48539"/>
                        <a:pt x="95964" y="97079"/>
                      </a:cubicBezTo>
                      <a:cubicBezTo>
                        <a:pt x="95964" y="97079"/>
                        <a:pt x="98999" y="100112"/>
                        <a:pt x="98999" y="106180"/>
                      </a:cubicBezTo>
                      <a:cubicBezTo>
                        <a:pt x="98999" y="112247"/>
                        <a:pt x="95964" y="118314"/>
                        <a:pt x="89898" y="124382"/>
                      </a:cubicBezTo>
                      <a:cubicBezTo>
                        <a:pt x="83830" y="124382"/>
                        <a:pt x="77762" y="127416"/>
                        <a:pt x="71694" y="127416"/>
                      </a:cubicBezTo>
                      <a:close/>
                      <a:moveTo>
                        <a:pt x="35290" y="33371"/>
                      </a:moveTo>
                      <a:cubicBezTo>
                        <a:pt x="29224" y="33371"/>
                        <a:pt x="20121" y="36404"/>
                        <a:pt x="14055" y="45506"/>
                      </a:cubicBezTo>
                      <a:cubicBezTo>
                        <a:pt x="7987" y="54606"/>
                        <a:pt x="11020" y="63708"/>
                        <a:pt x="29224" y="84943"/>
                      </a:cubicBezTo>
                      <a:cubicBezTo>
                        <a:pt x="50458" y="112247"/>
                        <a:pt x="62594" y="115281"/>
                        <a:pt x="68661" y="115281"/>
                      </a:cubicBezTo>
                      <a:cubicBezTo>
                        <a:pt x="71694" y="115281"/>
                        <a:pt x="74729" y="115281"/>
                        <a:pt x="77762" y="112247"/>
                      </a:cubicBezTo>
                      <a:cubicBezTo>
                        <a:pt x="83830" y="106180"/>
                        <a:pt x="83830" y="100112"/>
                        <a:pt x="83830" y="100112"/>
                      </a:cubicBezTo>
                      <a:cubicBezTo>
                        <a:pt x="47425" y="69775"/>
                        <a:pt x="35290" y="48539"/>
                        <a:pt x="35290" y="33371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82D05B49-B32E-44F9-B44A-D0ECDB6073F4}"/>
                    </a:ext>
                  </a:extLst>
                </p:cNvPr>
                <p:cNvSpPr/>
                <p:nvPr/>
              </p:nvSpPr>
              <p:spPr>
                <a:xfrm>
                  <a:off x="20372740" y="8967686"/>
                  <a:ext cx="82916" cy="104402"/>
                </a:xfrm>
                <a:custGeom>
                  <a:avLst/>
                  <a:gdLst>
                    <a:gd name="connsiteX0" fmla="*/ 58648 w 82916"/>
                    <a:gd name="connsiteY0" fmla="*/ 101369 h 104402"/>
                    <a:gd name="connsiteX1" fmla="*/ 55615 w 82916"/>
                    <a:gd name="connsiteY1" fmla="*/ 101369 h 104402"/>
                    <a:gd name="connsiteX2" fmla="*/ 4041 w 82916"/>
                    <a:gd name="connsiteY2" fmla="*/ 49796 h 104402"/>
                    <a:gd name="connsiteX3" fmla="*/ 19210 w 82916"/>
                    <a:gd name="connsiteY3" fmla="*/ 1257 h 104402"/>
                    <a:gd name="connsiteX4" fmla="*/ 28310 w 82916"/>
                    <a:gd name="connsiteY4" fmla="*/ 4291 h 104402"/>
                    <a:gd name="connsiteX5" fmla="*/ 25277 w 82916"/>
                    <a:gd name="connsiteY5" fmla="*/ 13391 h 104402"/>
                    <a:gd name="connsiteX6" fmla="*/ 13142 w 82916"/>
                    <a:gd name="connsiteY6" fmla="*/ 46762 h 104402"/>
                    <a:gd name="connsiteX7" fmla="*/ 58648 w 82916"/>
                    <a:gd name="connsiteY7" fmla="*/ 92268 h 104402"/>
                    <a:gd name="connsiteX8" fmla="*/ 61682 w 82916"/>
                    <a:gd name="connsiteY8" fmla="*/ 92268 h 104402"/>
                    <a:gd name="connsiteX9" fmla="*/ 70783 w 82916"/>
                    <a:gd name="connsiteY9" fmla="*/ 74065 h 104402"/>
                    <a:gd name="connsiteX10" fmla="*/ 76851 w 82916"/>
                    <a:gd name="connsiteY10" fmla="*/ 67998 h 104402"/>
                    <a:gd name="connsiteX11" fmla="*/ 82917 w 82916"/>
                    <a:gd name="connsiteY11" fmla="*/ 74065 h 104402"/>
                    <a:gd name="connsiteX12" fmla="*/ 67748 w 82916"/>
                    <a:gd name="connsiteY12" fmla="*/ 104403 h 104402"/>
                    <a:gd name="connsiteX13" fmla="*/ 58648 w 82916"/>
                    <a:gd name="connsiteY13" fmla="*/ 101369 h 1044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2916" h="104402">
                      <a:moveTo>
                        <a:pt x="58648" y="101369"/>
                      </a:moveTo>
                      <a:cubicBezTo>
                        <a:pt x="58648" y="101369"/>
                        <a:pt x="55615" y="101369"/>
                        <a:pt x="55615" y="101369"/>
                      </a:cubicBezTo>
                      <a:cubicBezTo>
                        <a:pt x="43479" y="98335"/>
                        <a:pt x="19210" y="74065"/>
                        <a:pt x="4041" y="49796"/>
                      </a:cubicBezTo>
                      <a:cubicBezTo>
                        <a:pt x="-8094" y="25526"/>
                        <a:pt x="10109" y="7324"/>
                        <a:pt x="19210" y="1257"/>
                      </a:cubicBezTo>
                      <a:cubicBezTo>
                        <a:pt x="22243" y="-1777"/>
                        <a:pt x="25277" y="1257"/>
                        <a:pt x="28310" y="4291"/>
                      </a:cubicBezTo>
                      <a:cubicBezTo>
                        <a:pt x="31345" y="7324"/>
                        <a:pt x="28310" y="10358"/>
                        <a:pt x="25277" y="13391"/>
                      </a:cubicBezTo>
                      <a:cubicBezTo>
                        <a:pt x="22243" y="13391"/>
                        <a:pt x="4041" y="25526"/>
                        <a:pt x="13142" y="46762"/>
                      </a:cubicBezTo>
                      <a:cubicBezTo>
                        <a:pt x="25277" y="71032"/>
                        <a:pt x="49547" y="92268"/>
                        <a:pt x="58648" y="92268"/>
                      </a:cubicBezTo>
                      <a:cubicBezTo>
                        <a:pt x="58648" y="92268"/>
                        <a:pt x="58648" y="92268"/>
                        <a:pt x="61682" y="92268"/>
                      </a:cubicBezTo>
                      <a:cubicBezTo>
                        <a:pt x="67748" y="89234"/>
                        <a:pt x="70783" y="77099"/>
                        <a:pt x="70783" y="74065"/>
                      </a:cubicBezTo>
                      <a:cubicBezTo>
                        <a:pt x="70783" y="71032"/>
                        <a:pt x="73816" y="67998"/>
                        <a:pt x="76851" y="67998"/>
                      </a:cubicBezTo>
                      <a:cubicBezTo>
                        <a:pt x="79884" y="67998"/>
                        <a:pt x="82917" y="71032"/>
                        <a:pt x="82917" y="74065"/>
                      </a:cubicBezTo>
                      <a:cubicBezTo>
                        <a:pt x="82917" y="83167"/>
                        <a:pt x="76851" y="95302"/>
                        <a:pt x="67748" y="104403"/>
                      </a:cubicBezTo>
                      <a:cubicBezTo>
                        <a:pt x="64715" y="98335"/>
                        <a:pt x="61682" y="101369"/>
                        <a:pt x="58648" y="101369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C74FDC2E-ADC2-401A-B2B3-DB6C53B8921C}"/>
                  </a:ext>
                </a:extLst>
              </p:cNvPr>
              <p:cNvSpPr/>
              <p:nvPr/>
            </p:nvSpPr>
            <p:spPr>
              <a:xfrm>
                <a:off x="20349183" y="9005347"/>
                <a:ext cx="80427" cy="78876"/>
              </a:xfrm>
              <a:custGeom>
                <a:avLst/>
                <a:gdLst>
                  <a:gd name="connsiteX0" fmla="*/ 57935 w 80427"/>
                  <a:gd name="connsiteY0" fmla="*/ 78877 h 78876"/>
                  <a:gd name="connsiteX1" fmla="*/ 36699 w 80427"/>
                  <a:gd name="connsiteY1" fmla="*/ 69775 h 78876"/>
                  <a:gd name="connsiteX2" fmla="*/ 294 w 80427"/>
                  <a:gd name="connsiteY2" fmla="*/ 27304 h 78876"/>
                  <a:gd name="connsiteX3" fmla="*/ 27598 w 80427"/>
                  <a:gd name="connsiteY3" fmla="*/ 0 h 78876"/>
                  <a:gd name="connsiteX4" fmla="*/ 33666 w 80427"/>
                  <a:gd name="connsiteY4" fmla="*/ 6067 h 78876"/>
                  <a:gd name="connsiteX5" fmla="*/ 27598 w 80427"/>
                  <a:gd name="connsiteY5" fmla="*/ 12135 h 78876"/>
                  <a:gd name="connsiteX6" fmla="*/ 9396 w 80427"/>
                  <a:gd name="connsiteY6" fmla="*/ 27304 h 78876"/>
                  <a:gd name="connsiteX7" fmla="*/ 39734 w 80427"/>
                  <a:gd name="connsiteY7" fmla="*/ 60674 h 78876"/>
                  <a:gd name="connsiteX8" fmla="*/ 54902 w 80427"/>
                  <a:gd name="connsiteY8" fmla="*/ 66741 h 78876"/>
                  <a:gd name="connsiteX9" fmla="*/ 70071 w 80427"/>
                  <a:gd name="connsiteY9" fmla="*/ 51573 h 78876"/>
                  <a:gd name="connsiteX10" fmla="*/ 76137 w 80427"/>
                  <a:gd name="connsiteY10" fmla="*/ 48540 h 78876"/>
                  <a:gd name="connsiteX11" fmla="*/ 79171 w 80427"/>
                  <a:gd name="connsiteY11" fmla="*/ 54607 h 78876"/>
                  <a:gd name="connsiteX12" fmla="*/ 54902 w 80427"/>
                  <a:gd name="connsiteY12" fmla="*/ 75843 h 78876"/>
                  <a:gd name="connsiteX13" fmla="*/ 57935 w 80427"/>
                  <a:gd name="connsiteY13" fmla="*/ 78877 h 78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0427" h="78876">
                    <a:moveTo>
                      <a:pt x="57935" y="78877"/>
                    </a:moveTo>
                    <a:cubicBezTo>
                      <a:pt x="51867" y="78877"/>
                      <a:pt x="45799" y="75843"/>
                      <a:pt x="36699" y="69775"/>
                    </a:cubicBezTo>
                    <a:cubicBezTo>
                      <a:pt x="21530" y="60674"/>
                      <a:pt x="3329" y="39438"/>
                      <a:pt x="294" y="27304"/>
                    </a:cubicBezTo>
                    <a:cubicBezTo>
                      <a:pt x="-2739" y="9101"/>
                      <a:pt x="18497" y="0"/>
                      <a:pt x="27598" y="0"/>
                    </a:cubicBezTo>
                    <a:cubicBezTo>
                      <a:pt x="30631" y="0"/>
                      <a:pt x="33666" y="3034"/>
                      <a:pt x="33666" y="6067"/>
                    </a:cubicBezTo>
                    <a:cubicBezTo>
                      <a:pt x="33666" y="9101"/>
                      <a:pt x="30631" y="12135"/>
                      <a:pt x="27598" y="12135"/>
                    </a:cubicBezTo>
                    <a:cubicBezTo>
                      <a:pt x="27598" y="12135"/>
                      <a:pt x="9396" y="15169"/>
                      <a:pt x="9396" y="27304"/>
                    </a:cubicBezTo>
                    <a:cubicBezTo>
                      <a:pt x="9396" y="33371"/>
                      <a:pt x="24565" y="51573"/>
                      <a:pt x="39734" y="60674"/>
                    </a:cubicBezTo>
                    <a:cubicBezTo>
                      <a:pt x="48834" y="66741"/>
                      <a:pt x="51867" y="66741"/>
                      <a:pt x="54902" y="66741"/>
                    </a:cubicBezTo>
                    <a:cubicBezTo>
                      <a:pt x="67036" y="63708"/>
                      <a:pt x="70071" y="51573"/>
                      <a:pt x="70071" y="51573"/>
                    </a:cubicBezTo>
                    <a:cubicBezTo>
                      <a:pt x="70071" y="48540"/>
                      <a:pt x="73104" y="45506"/>
                      <a:pt x="76137" y="48540"/>
                    </a:cubicBezTo>
                    <a:cubicBezTo>
                      <a:pt x="79171" y="48540"/>
                      <a:pt x="82204" y="51573"/>
                      <a:pt x="79171" y="54607"/>
                    </a:cubicBezTo>
                    <a:cubicBezTo>
                      <a:pt x="79171" y="54607"/>
                      <a:pt x="73104" y="72809"/>
                      <a:pt x="54902" y="75843"/>
                    </a:cubicBezTo>
                    <a:cubicBezTo>
                      <a:pt x="60968" y="78877"/>
                      <a:pt x="60968" y="78877"/>
                      <a:pt x="57935" y="7887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46E17AAE-843C-4432-A274-269EB3AA2D25}"/>
                </a:ext>
              </a:extLst>
            </p:cNvPr>
            <p:cNvSpPr/>
            <p:nvPr/>
          </p:nvSpPr>
          <p:spPr>
            <a:xfrm>
              <a:off x="23750265" y="8013325"/>
              <a:ext cx="276066" cy="279940"/>
            </a:xfrm>
            <a:custGeom>
              <a:avLst/>
              <a:gdLst>
                <a:gd name="connsiteX0" fmla="*/ 0 w 276066"/>
                <a:gd name="connsiteY0" fmla="*/ 84944 h 279940"/>
                <a:gd name="connsiteX1" fmla="*/ 39438 w 276066"/>
                <a:gd name="connsiteY1" fmla="*/ 254831 h 279940"/>
                <a:gd name="connsiteX2" fmla="*/ 276067 w 276066"/>
                <a:gd name="connsiteY2" fmla="*/ 197191 h 279940"/>
                <a:gd name="connsiteX3" fmla="*/ 221460 w 276066"/>
                <a:gd name="connsiteY3" fmla="*/ 0 h 279940"/>
                <a:gd name="connsiteX4" fmla="*/ 0 w 276066"/>
                <a:gd name="connsiteY4" fmla="*/ 84944 h 279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066" h="279940">
                  <a:moveTo>
                    <a:pt x="0" y="84944"/>
                  </a:moveTo>
                  <a:cubicBezTo>
                    <a:pt x="0" y="84944"/>
                    <a:pt x="27302" y="182022"/>
                    <a:pt x="39438" y="254831"/>
                  </a:cubicBezTo>
                  <a:cubicBezTo>
                    <a:pt x="39438" y="254831"/>
                    <a:pt x="151685" y="339775"/>
                    <a:pt x="276067" y="197191"/>
                  </a:cubicBezTo>
                  <a:cubicBezTo>
                    <a:pt x="263933" y="136517"/>
                    <a:pt x="236629" y="63708"/>
                    <a:pt x="221460" y="0"/>
                  </a:cubicBezTo>
                  <a:cubicBezTo>
                    <a:pt x="221460" y="0"/>
                    <a:pt x="54606" y="84944"/>
                    <a:pt x="0" y="84944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B40B9A63-70F8-4017-819C-D4DA5D11D2B8}"/>
                </a:ext>
              </a:extLst>
            </p:cNvPr>
            <p:cNvSpPr/>
            <p:nvPr/>
          </p:nvSpPr>
          <p:spPr>
            <a:xfrm>
              <a:off x="23992961" y="7873774"/>
              <a:ext cx="58316" cy="148651"/>
            </a:xfrm>
            <a:custGeom>
              <a:avLst/>
              <a:gdLst>
                <a:gd name="connsiteX0" fmla="*/ 57639 w 58316"/>
                <a:gd name="connsiteY0" fmla="*/ 0 h 148651"/>
                <a:gd name="connsiteX1" fmla="*/ 18202 w 58316"/>
                <a:gd name="connsiteY1" fmla="*/ 148652 h 148651"/>
                <a:gd name="connsiteX2" fmla="*/ 0 w 58316"/>
                <a:gd name="connsiteY2" fmla="*/ 66742 h 148651"/>
                <a:gd name="connsiteX3" fmla="*/ 57639 w 58316"/>
                <a:gd name="connsiteY3" fmla="*/ 0 h 148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316" h="148651">
                  <a:moveTo>
                    <a:pt x="57639" y="0"/>
                  </a:moveTo>
                  <a:cubicBezTo>
                    <a:pt x="57639" y="0"/>
                    <a:pt x="66742" y="118315"/>
                    <a:pt x="18202" y="148652"/>
                  </a:cubicBezTo>
                  <a:lnTo>
                    <a:pt x="0" y="66742"/>
                  </a:lnTo>
                  <a:lnTo>
                    <a:pt x="57639" y="0"/>
                  </a:ln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78CE4769-3C09-41E7-A752-CCD584B5C388}"/>
                </a:ext>
              </a:extLst>
            </p:cNvPr>
            <p:cNvSpPr/>
            <p:nvPr/>
          </p:nvSpPr>
          <p:spPr>
            <a:xfrm>
              <a:off x="23568242" y="7758494"/>
              <a:ext cx="119446" cy="225795"/>
            </a:xfrm>
            <a:custGeom>
              <a:avLst/>
              <a:gdLst>
                <a:gd name="connsiteX0" fmla="*/ 0 w 119446"/>
                <a:gd name="connsiteY0" fmla="*/ 3033 h 225795"/>
                <a:gd name="connsiteX1" fmla="*/ 84943 w 119446"/>
                <a:gd name="connsiteY1" fmla="*/ 224494 h 225795"/>
                <a:gd name="connsiteX2" fmla="*/ 97079 w 119446"/>
                <a:gd name="connsiteY2" fmla="*/ 0 h 225795"/>
                <a:gd name="connsiteX3" fmla="*/ 0 w 119446"/>
                <a:gd name="connsiteY3" fmla="*/ 3033 h 225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446" h="225795">
                  <a:moveTo>
                    <a:pt x="0" y="3033"/>
                  </a:moveTo>
                  <a:cubicBezTo>
                    <a:pt x="0" y="3033"/>
                    <a:pt x="6068" y="200224"/>
                    <a:pt x="84943" y="224494"/>
                  </a:cubicBezTo>
                  <a:cubicBezTo>
                    <a:pt x="154718" y="245730"/>
                    <a:pt x="97079" y="0"/>
                    <a:pt x="97079" y="0"/>
                  </a:cubicBezTo>
                  <a:lnTo>
                    <a:pt x="0" y="3033"/>
                  </a:ln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F6BBC1FE-3004-4F83-8A6E-F7B360CFDAE8}"/>
                </a:ext>
              </a:extLst>
            </p:cNvPr>
            <p:cNvSpPr/>
            <p:nvPr/>
          </p:nvSpPr>
          <p:spPr>
            <a:xfrm>
              <a:off x="23616781" y="7578735"/>
              <a:ext cx="415741" cy="565552"/>
            </a:xfrm>
            <a:custGeom>
              <a:avLst/>
              <a:gdLst>
                <a:gd name="connsiteX0" fmla="*/ 0 w 415741"/>
                <a:gd name="connsiteY0" fmla="*/ 216163 h 565552"/>
                <a:gd name="connsiteX1" fmla="*/ 45506 w 415741"/>
                <a:gd name="connsiteY1" fmla="*/ 461893 h 565552"/>
                <a:gd name="connsiteX2" fmla="*/ 227528 w 415741"/>
                <a:gd name="connsiteY2" fmla="*/ 565040 h 565552"/>
                <a:gd name="connsiteX3" fmla="*/ 412585 w 415741"/>
                <a:gd name="connsiteY3" fmla="*/ 383017 h 565552"/>
                <a:gd name="connsiteX4" fmla="*/ 406518 w 415741"/>
                <a:gd name="connsiteY4" fmla="*/ 155489 h 565552"/>
                <a:gd name="connsiteX5" fmla="*/ 160786 w 415741"/>
                <a:gd name="connsiteY5" fmla="*/ 770 h 565552"/>
                <a:gd name="connsiteX6" fmla="*/ 0 w 415741"/>
                <a:gd name="connsiteY6" fmla="*/ 216163 h 565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5741" h="565552">
                  <a:moveTo>
                    <a:pt x="0" y="216163"/>
                  </a:moveTo>
                  <a:cubicBezTo>
                    <a:pt x="0" y="216163"/>
                    <a:pt x="12136" y="392118"/>
                    <a:pt x="45506" y="461893"/>
                  </a:cubicBezTo>
                  <a:cubicBezTo>
                    <a:pt x="75843" y="522567"/>
                    <a:pt x="175955" y="571107"/>
                    <a:pt x="227528" y="565040"/>
                  </a:cubicBezTo>
                  <a:cubicBezTo>
                    <a:pt x="294270" y="558972"/>
                    <a:pt x="403483" y="495264"/>
                    <a:pt x="412585" y="383017"/>
                  </a:cubicBezTo>
                  <a:cubicBezTo>
                    <a:pt x="418651" y="307174"/>
                    <a:pt x="415618" y="207062"/>
                    <a:pt x="406518" y="155489"/>
                  </a:cubicBezTo>
                  <a:cubicBezTo>
                    <a:pt x="388314" y="64478"/>
                    <a:pt x="345843" y="-8331"/>
                    <a:pt x="160786" y="770"/>
                  </a:cubicBezTo>
                  <a:cubicBezTo>
                    <a:pt x="75843" y="6837"/>
                    <a:pt x="6068" y="137287"/>
                    <a:pt x="0" y="216163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AAE6406B-9E03-4DAF-9873-496F83E1EEAE}"/>
                </a:ext>
              </a:extLst>
            </p:cNvPr>
            <p:cNvSpPr/>
            <p:nvPr/>
          </p:nvSpPr>
          <p:spPr>
            <a:xfrm>
              <a:off x="23771501" y="7843437"/>
              <a:ext cx="69774" cy="136516"/>
            </a:xfrm>
            <a:custGeom>
              <a:avLst/>
              <a:gdLst>
                <a:gd name="connsiteX0" fmla="*/ 27302 w 69774"/>
                <a:gd name="connsiteY0" fmla="*/ 136517 h 136516"/>
                <a:gd name="connsiteX1" fmla="*/ 15169 w 69774"/>
                <a:gd name="connsiteY1" fmla="*/ 133483 h 136516"/>
                <a:gd name="connsiteX2" fmla="*/ 6066 w 69774"/>
                <a:gd name="connsiteY2" fmla="*/ 121348 h 136516"/>
                <a:gd name="connsiteX3" fmla="*/ 0 w 69774"/>
                <a:gd name="connsiteY3" fmla="*/ 6068 h 136516"/>
                <a:gd name="connsiteX4" fmla="*/ 6066 w 69774"/>
                <a:gd name="connsiteY4" fmla="*/ 0 h 136516"/>
                <a:gd name="connsiteX5" fmla="*/ 6066 w 69774"/>
                <a:gd name="connsiteY5" fmla="*/ 0 h 136516"/>
                <a:gd name="connsiteX6" fmla="*/ 12134 w 69774"/>
                <a:gd name="connsiteY6" fmla="*/ 6068 h 136516"/>
                <a:gd name="connsiteX7" fmla="*/ 18202 w 69774"/>
                <a:gd name="connsiteY7" fmla="*/ 118315 h 136516"/>
                <a:gd name="connsiteX8" fmla="*/ 21234 w 69774"/>
                <a:gd name="connsiteY8" fmla="*/ 121348 h 136516"/>
                <a:gd name="connsiteX9" fmla="*/ 60674 w 69774"/>
                <a:gd name="connsiteY9" fmla="*/ 115281 h 136516"/>
                <a:gd name="connsiteX10" fmla="*/ 69775 w 69774"/>
                <a:gd name="connsiteY10" fmla="*/ 118315 h 136516"/>
                <a:gd name="connsiteX11" fmla="*/ 66740 w 69774"/>
                <a:gd name="connsiteY11" fmla="*/ 127416 h 136516"/>
                <a:gd name="connsiteX12" fmla="*/ 27302 w 69774"/>
                <a:gd name="connsiteY12" fmla="*/ 136517 h 13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774" h="136516">
                  <a:moveTo>
                    <a:pt x="27302" y="136517"/>
                  </a:moveTo>
                  <a:cubicBezTo>
                    <a:pt x="21234" y="136517"/>
                    <a:pt x="18202" y="136517"/>
                    <a:pt x="15169" y="133483"/>
                  </a:cubicBezTo>
                  <a:cubicBezTo>
                    <a:pt x="12134" y="130450"/>
                    <a:pt x="9101" y="127416"/>
                    <a:pt x="6066" y="121348"/>
                  </a:cubicBezTo>
                  <a:cubicBezTo>
                    <a:pt x="3033" y="100112"/>
                    <a:pt x="0" y="12135"/>
                    <a:pt x="0" y="6068"/>
                  </a:cubicBezTo>
                  <a:cubicBezTo>
                    <a:pt x="0" y="3034"/>
                    <a:pt x="3033" y="0"/>
                    <a:pt x="6066" y="0"/>
                  </a:cubicBezTo>
                  <a:lnTo>
                    <a:pt x="6066" y="0"/>
                  </a:lnTo>
                  <a:cubicBezTo>
                    <a:pt x="9101" y="0"/>
                    <a:pt x="12134" y="3034"/>
                    <a:pt x="12134" y="6068"/>
                  </a:cubicBezTo>
                  <a:cubicBezTo>
                    <a:pt x="12134" y="6068"/>
                    <a:pt x="12134" y="100112"/>
                    <a:pt x="18202" y="118315"/>
                  </a:cubicBezTo>
                  <a:cubicBezTo>
                    <a:pt x="18202" y="118315"/>
                    <a:pt x="18202" y="121348"/>
                    <a:pt x="21234" y="121348"/>
                  </a:cubicBezTo>
                  <a:cubicBezTo>
                    <a:pt x="27302" y="124382"/>
                    <a:pt x="48539" y="121348"/>
                    <a:pt x="60674" y="115281"/>
                  </a:cubicBezTo>
                  <a:cubicBezTo>
                    <a:pt x="63707" y="115281"/>
                    <a:pt x="66740" y="115281"/>
                    <a:pt x="69775" y="118315"/>
                  </a:cubicBezTo>
                  <a:cubicBezTo>
                    <a:pt x="69775" y="121348"/>
                    <a:pt x="69775" y="124382"/>
                    <a:pt x="66740" y="127416"/>
                  </a:cubicBezTo>
                  <a:cubicBezTo>
                    <a:pt x="57639" y="130450"/>
                    <a:pt x="42471" y="136517"/>
                    <a:pt x="27302" y="136517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9654E3A7-12F9-42A4-AD8B-9779813D6E5C}"/>
                </a:ext>
              </a:extLst>
            </p:cNvPr>
            <p:cNvSpPr/>
            <p:nvPr/>
          </p:nvSpPr>
          <p:spPr>
            <a:xfrm>
              <a:off x="23686556" y="7837370"/>
              <a:ext cx="39439" cy="39438"/>
            </a:xfrm>
            <a:custGeom>
              <a:avLst/>
              <a:gdLst>
                <a:gd name="connsiteX0" fmla="*/ 39440 w 39439"/>
                <a:gd name="connsiteY0" fmla="*/ 21236 h 39438"/>
                <a:gd name="connsiteX1" fmla="*/ 18203 w 39439"/>
                <a:gd name="connsiteY1" fmla="*/ 39438 h 39438"/>
                <a:gd name="connsiteX2" fmla="*/ 0 w 39439"/>
                <a:gd name="connsiteY2" fmla="*/ 18202 h 39438"/>
                <a:gd name="connsiteX3" fmla="*/ 21236 w 39439"/>
                <a:gd name="connsiteY3" fmla="*/ 0 h 39438"/>
                <a:gd name="connsiteX4" fmla="*/ 39440 w 39439"/>
                <a:gd name="connsiteY4" fmla="*/ 21236 h 3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39" h="39438">
                  <a:moveTo>
                    <a:pt x="39440" y="21236"/>
                  </a:moveTo>
                  <a:cubicBezTo>
                    <a:pt x="39440" y="33371"/>
                    <a:pt x="30337" y="39438"/>
                    <a:pt x="18203" y="39438"/>
                  </a:cubicBezTo>
                  <a:cubicBezTo>
                    <a:pt x="6068" y="39438"/>
                    <a:pt x="0" y="30337"/>
                    <a:pt x="0" y="18202"/>
                  </a:cubicBezTo>
                  <a:cubicBezTo>
                    <a:pt x="0" y="6067"/>
                    <a:pt x="9103" y="0"/>
                    <a:pt x="21236" y="0"/>
                  </a:cubicBezTo>
                  <a:cubicBezTo>
                    <a:pt x="30337" y="3034"/>
                    <a:pt x="39440" y="12135"/>
                    <a:pt x="39440" y="21236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9B4DD07A-0245-4890-82B7-4DF633A86DE3}"/>
                </a:ext>
              </a:extLst>
            </p:cNvPr>
            <p:cNvSpPr/>
            <p:nvPr/>
          </p:nvSpPr>
          <p:spPr>
            <a:xfrm>
              <a:off x="23868578" y="7822201"/>
              <a:ext cx="39439" cy="39438"/>
            </a:xfrm>
            <a:custGeom>
              <a:avLst/>
              <a:gdLst>
                <a:gd name="connsiteX0" fmla="*/ 39440 w 39439"/>
                <a:gd name="connsiteY0" fmla="*/ 21236 h 39438"/>
                <a:gd name="connsiteX1" fmla="*/ 18203 w 39439"/>
                <a:gd name="connsiteY1" fmla="*/ 39438 h 39438"/>
                <a:gd name="connsiteX2" fmla="*/ 0 w 39439"/>
                <a:gd name="connsiteY2" fmla="*/ 18202 h 39438"/>
                <a:gd name="connsiteX3" fmla="*/ 21236 w 39439"/>
                <a:gd name="connsiteY3" fmla="*/ 0 h 39438"/>
                <a:gd name="connsiteX4" fmla="*/ 39440 w 39439"/>
                <a:gd name="connsiteY4" fmla="*/ 21236 h 3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39" h="39438">
                  <a:moveTo>
                    <a:pt x="39440" y="21236"/>
                  </a:moveTo>
                  <a:cubicBezTo>
                    <a:pt x="39440" y="33371"/>
                    <a:pt x="30337" y="39438"/>
                    <a:pt x="18203" y="39438"/>
                  </a:cubicBezTo>
                  <a:cubicBezTo>
                    <a:pt x="6068" y="39438"/>
                    <a:pt x="0" y="30337"/>
                    <a:pt x="0" y="18202"/>
                  </a:cubicBezTo>
                  <a:cubicBezTo>
                    <a:pt x="0" y="6067"/>
                    <a:pt x="9103" y="0"/>
                    <a:pt x="21236" y="0"/>
                  </a:cubicBezTo>
                  <a:cubicBezTo>
                    <a:pt x="30337" y="0"/>
                    <a:pt x="39440" y="9101"/>
                    <a:pt x="39440" y="21236"/>
                  </a:cubicBez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7286A19B-03D9-4FCC-8099-93C90153E9ED}"/>
                </a:ext>
              </a:extLst>
            </p:cNvPr>
            <p:cNvSpPr/>
            <p:nvPr/>
          </p:nvSpPr>
          <p:spPr>
            <a:xfrm>
              <a:off x="23654962" y="7790113"/>
              <a:ext cx="89234" cy="41189"/>
            </a:xfrm>
            <a:custGeom>
              <a:avLst/>
              <a:gdLst>
                <a:gd name="connsiteX0" fmla="*/ 7324 w 89234"/>
                <a:gd name="connsiteY0" fmla="*/ 41190 h 41189"/>
                <a:gd name="connsiteX1" fmla="*/ 4291 w 89234"/>
                <a:gd name="connsiteY1" fmla="*/ 41190 h 41189"/>
                <a:gd name="connsiteX2" fmla="*/ 1256 w 89234"/>
                <a:gd name="connsiteY2" fmla="*/ 29055 h 41189"/>
                <a:gd name="connsiteX3" fmla="*/ 83167 w 89234"/>
                <a:gd name="connsiteY3" fmla="*/ 1751 h 41189"/>
                <a:gd name="connsiteX4" fmla="*/ 89235 w 89234"/>
                <a:gd name="connsiteY4" fmla="*/ 10853 h 41189"/>
                <a:gd name="connsiteX5" fmla="*/ 80134 w 89234"/>
                <a:gd name="connsiteY5" fmla="*/ 16920 h 41189"/>
                <a:gd name="connsiteX6" fmla="*/ 16425 w 89234"/>
                <a:gd name="connsiteY6" fmla="*/ 35122 h 41189"/>
                <a:gd name="connsiteX7" fmla="*/ 7324 w 89234"/>
                <a:gd name="connsiteY7" fmla="*/ 41190 h 41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234" h="41189">
                  <a:moveTo>
                    <a:pt x="7324" y="41190"/>
                  </a:moveTo>
                  <a:cubicBezTo>
                    <a:pt x="7324" y="41190"/>
                    <a:pt x="4291" y="41190"/>
                    <a:pt x="4291" y="41190"/>
                  </a:cubicBezTo>
                  <a:cubicBezTo>
                    <a:pt x="1256" y="38156"/>
                    <a:pt x="-1777" y="35122"/>
                    <a:pt x="1256" y="29055"/>
                  </a:cubicBezTo>
                  <a:cubicBezTo>
                    <a:pt x="22493" y="-4316"/>
                    <a:pt x="64965" y="-1282"/>
                    <a:pt x="83167" y="1751"/>
                  </a:cubicBezTo>
                  <a:cubicBezTo>
                    <a:pt x="86202" y="1751"/>
                    <a:pt x="89235" y="7819"/>
                    <a:pt x="89235" y="10853"/>
                  </a:cubicBezTo>
                  <a:cubicBezTo>
                    <a:pt x="89235" y="13886"/>
                    <a:pt x="83167" y="16920"/>
                    <a:pt x="80134" y="16920"/>
                  </a:cubicBezTo>
                  <a:cubicBezTo>
                    <a:pt x="77099" y="16920"/>
                    <a:pt x="34628" y="4785"/>
                    <a:pt x="16425" y="35122"/>
                  </a:cubicBezTo>
                  <a:cubicBezTo>
                    <a:pt x="13392" y="38156"/>
                    <a:pt x="10359" y="41190"/>
                    <a:pt x="7324" y="41190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C9A67DA7-5075-4368-82D0-C086EA634C3D}"/>
                </a:ext>
              </a:extLst>
            </p:cNvPr>
            <p:cNvSpPr/>
            <p:nvPr/>
          </p:nvSpPr>
          <p:spPr>
            <a:xfrm>
              <a:off x="23839000" y="7754622"/>
              <a:ext cx="90252" cy="34208"/>
            </a:xfrm>
            <a:custGeom>
              <a:avLst/>
              <a:gdLst>
                <a:gd name="connsiteX0" fmla="*/ 8344 w 90252"/>
                <a:gd name="connsiteY0" fmla="*/ 34209 h 34208"/>
                <a:gd name="connsiteX1" fmla="*/ 2276 w 90252"/>
                <a:gd name="connsiteY1" fmla="*/ 31175 h 34208"/>
                <a:gd name="connsiteX2" fmla="*/ 2276 w 90252"/>
                <a:gd name="connsiteY2" fmla="*/ 19040 h 34208"/>
                <a:gd name="connsiteX3" fmla="*/ 87220 w 90252"/>
                <a:gd name="connsiteY3" fmla="*/ 12972 h 34208"/>
                <a:gd name="connsiteX4" fmla="*/ 90253 w 90252"/>
                <a:gd name="connsiteY4" fmla="*/ 25108 h 34208"/>
                <a:gd name="connsiteX5" fmla="*/ 78119 w 90252"/>
                <a:gd name="connsiteY5" fmla="*/ 28141 h 34208"/>
                <a:gd name="connsiteX6" fmla="*/ 11377 w 90252"/>
                <a:gd name="connsiteY6" fmla="*/ 34209 h 34208"/>
                <a:gd name="connsiteX7" fmla="*/ 8344 w 90252"/>
                <a:gd name="connsiteY7" fmla="*/ 34209 h 34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252" h="34208">
                  <a:moveTo>
                    <a:pt x="8344" y="34209"/>
                  </a:moveTo>
                  <a:cubicBezTo>
                    <a:pt x="5309" y="34209"/>
                    <a:pt x="5309" y="34209"/>
                    <a:pt x="2276" y="31175"/>
                  </a:cubicBezTo>
                  <a:cubicBezTo>
                    <a:pt x="-759" y="28141"/>
                    <a:pt x="-759" y="22074"/>
                    <a:pt x="2276" y="19040"/>
                  </a:cubicBezTo>
                  <a:cubicBezTo>
                    <a:pt x="35646" y="-11297"/>
                    <a:pt x="72051" y="838"/>
                    <a:pt x="87220" y="12972"/>
                  </a:cubicBezTo>
                  <a:cubicBezTo>
                    <a:pt x="90253" y="16006"/>
                    <a:pt x="90253" y="19040"/>
                    <a:pt x="90253" y="25108"/>
                  </a:cubicBezTo>
                  <a:cubicBezTo>
                    <a:pt x="87220" y="28141"/>
                    <a:pt x="84187" y="28141"/>
                    <a:pt x="78119" y="28141"/>
                  </a:cubicBezTo>
                  <a:cubicBezTo>
                    <a:pt x="78119" y="28141"/>
                    <a:pt x="41714" y="3872"/>
                    <a:pt x="11377" y="34209"/>
                  </a:cubicBezTo>
                  <a:cubicBezTo>
                    <a:pt x="11377" y="34209"/>
                    <a:pt x="8344" y="34209"/>
                    <a:pt x="8344" y="34209"/>
                  </a:cubicBezTo>
                  <a:close/>
                </a:path>
              </a:pathLst>
            </a:custGeom>
            <a:solidFill>
              <a:srgbClr val="664540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A98914DC-CF1F-4EAE-B31B-B1F4F167B3D3}"/>
                </a:ext>
              </a:extLst>
            </p:cNvPr>
            <p:cNvSpPr/>
            <p:nvPr/>
          </p:nvSpPr>
          <p:spPr>
            <a:xfrm>
              <a:off x="23774534" y="8056555"/>
              <a:ext cx="220702" cy="93286"/>
            </a:xfrm>
            <a:custGeom>
              <a:avLst/>
              <a:gdLst>
                <a:gd name="connsiteX0" fmla="*/ 63707 w 220702"/>
                <a:gd name="connsiteY0" fmla="*/ 93287 h 93286"/>
                <a:gd name="connsiteX1" fmla="*/ 3033 w 220702"/>
                <a:gd name="connsiteY1" fmla="*/ 78118 h 93286"/>
                <a:gd name="connsiteX2" fmla="*/ 0 w 220702"/>
                <a:gd name="connsiteY2" fmla="*/ 69017 h 93286"/>
                <a:gd name="connsiteX3" fmla="*/ 9101 w 220702"/>
                <a:gd name="connsiteY3" fmla="*/ 65983 h 93286"/>
                <a:gd name="connsiteX4" fmla="*/ 81910 w 220702"/>
                <a:gd name="connsiteY4" fmla="*/ 78118 h 93286"/>
                <a:gd name="connsiteX5" fmla="*/ 209327 w 220702"/>
                <a:gd name="connsiteY5" fmla="*/ 2275 h 93286"/>
                <a:gd name="connsiteX6" fmla="*/ 218427 w 220702"/>
                <a:gd name="connsiteY6" fmla="*/ 2275 h 93286"/>
                <a:gd name="connsiteX7" fmla="*/ 218427 w 220702"/>
                <a:gd name="connsiteY7" fmla="*/ 11377 h 93286"/>
                <a:gd name="connsiteX8" fmla="*/ 84943 w 220702"/>
                <a:gd name="connsiteY8" fmla="*/ 90253 h 93286"/>
                <a:gd name="connsiteX9" fmla="*/ 63707 w 220702"/>
                <a:gd name="connsiteY9" fmla="*/ 93287 h 9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702" h="93286">
                  <a:moveTo>
                    <a:pt x="63707" y="93287"/>
                  </a:moveTo>
                  <a:cubicBezTo>
                    <a:pt x="30337" y="93287"/>
                    <a:pt x="6068" y="81152"/>
                    <a:pt x="3033" y="78118"/>
                  </a:cubicBezTo>
                  <a:cubicBezTo>
                    <a:pt x="0" y="78118"/>
                    <a:pt x="0" y="72051"/>
                    <a:pt x="0" y="69017"/>
                  </a:cubicBezTo>
                  <a:cubicBezTo>
                    <a:pt x="0" y="65983"/>
                    <a:pt x="6068" y="65983"/>
                    <a:pt x="9101" y="65983"/>
                  </a:cubicBezTo>
                  <a:cubicBezTo>
                    <a:pt x="9101" y="65983"/>
                    <a:pt x="45506" y="84185"/>
                    <a:pt x="81910" y="78118"/>
                  </a:cubicBezTo>
                  <a:cubicBezTo>
                    <a:pt x="130449" y="69017"/>
                    <a:pt x="209327" y="2275"/>
                    <a:pt x="209327" y="2275"/>
                  </a:cubicBezTo>
                  <a:cubicBezTo>
                    <a:pt x="212360" y="-758"/>
                    <a:pt x="215393" y="-758"/>
                    <a:pt x="218427" y="2275"/>
                  </a:cubicBezTo>
                  <a:cubicBezTo>
                    <a:pt x="221460" y="5309"/>
                    <a:pt x="221460" y="8343"/>
                    <a:pt x="218427" y="11377"/>
                  </a:cubicBezTo>
                  <a:cubicBezTo>
                    <a:pt x="215393" y="14410"/>
                    <a:pt x="136517" y="81152"/>
                    <a:pt x="84943" y="90253"/>
                  </a:cubicBezTo>
                  <a:cubicBezTo>
                    <a:pt x="75843" y="90253"/>
                    <a:pt x="69775" y="93287"/>
                    <a:pt x="63707" y="93287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F3DBAA02-9324-42F0-8F03-9CAF72105030}"/>
                </a:ext>
              </a:extLst>
            </p:cNvPr>
            <p:cNvSpPr/>
            <p:nvPr/>
          </p:nvSpPr>
          <p:spPr>
            <a:xfrm>
              <a:off x="23941388" y="7567370"/>
              <a:ext cx="100347" cy="260898"/>
            </a:xfrm>
            <a:custGeom>
              <a:avLst/>
              <a:gdLst>
                <a:gd name="connsiteX0" fmla="*/ 0 w 100347"/>
                <a:gd name="connsiteY0" fmla="*/ 133483 h 260898"/>
                <a:gd name="connsiteX1" fmla="*/ 75843 w 100347"/>
                <a:gd name="connsiteY1" fmla="*/ 260899 h 260898"/>
                <a:gd name="connsiteX2" fmla="*/ 100112 w 100347"/>
                <a:gd name="connsiteY2" fmla="*/ 148652 h 260898"/>
                <a:gd name="connsiteX3" fmla="*/ 24269 w 100347"/>
                <a:gd name="connsiteY3" fmla="*/ 0 h 260898"/>
                <a:gd name="connsiteX4" fmla="*/ 0 w 100347"/>
                <a:gd name="connsiteY4" fmla="*/ 133483 h 26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347" h="260898">
                  <a:moveTo>
                    <a:pt x="0" y="133483"/>
                  </a:moveTo>
                  <a:cubicBezTo>
                    <a:pt x="0" y="133483"/>
                    <a:pt x="75843" y="230562"/>
                    <a:pt x="75843" y="260899"/>
                  </a:cubicBezTo>
                  <a:cubicBezTo>
                    <a:pt x="75843" y="260899"/>
                    <a:pt x="103147" y="236629"/>
                    <a:pt x="100112" y="148652"/>
                  </a:cubicBezTo>
                  <a:cubicBezTo>
                    <a:pt x="97079" y="87977"/>
                    <a:pt x="91011" y="3033"/>
                    <a:pt x="24269" y="0"/>
                  </a:cubicBezTo>
                  <a:cubicBezTo>
                    <a:pt x="21236" y="0"/>
                    <a:pt x="36405" y="106180"/>
                    <a:pt x="0" y="133483"/>
                  </a:cubicBez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6DFE3EDF-5208-4790-A0AA-C2D702D79FFF}"/>
                </a:ext>
              </a:extLst>
            </p:cNvPr>
            <p:cNvSpPr/>
            <p:nvPr/>
          </p:nvSpPr>
          <p:spPr>
            <a:xfrm>
              <a:off x="23498467" y="7487476"/>
              <a:ext cx="488403" cy="293298"/>
            </a:xfrm>
            <a:custGeom>
              <a:avLst/>
              <a:gdLst>
                <a:gd name="connsiteX0" fmla="*/ 442921 w 488403"/>
                <a:gd name="connsiteY0" fmla="*/ 213377 h 293298"/>
                <a:gd name="connsiteX1" fmla="*/ 315505 w 488403"/>
                <a:gd name="connsiteY1" fmla="*/ 201242 h 293298"/>
                <a:gd name="connsiteX2" fmla="*/ 0 w 488403"/>
                <a:gd name="connsiteY2" fmla="*/ 252815 h 293298"/>
                <a:gd name="connsiteX3" fmla="*/ 327640 w 488403"/>
                <a:gd name="connsiteY3" fmla="*/ 1017 h 293298"/>
                <a:gd name="connsiteX4" fmla="*/ 464157 w 488403"/>
                <a:gd name="connsiteY4" fmla="*/ 82927 h 293298"/>
                <a:gd name="connsiteX5" fmla="*/ 442921 w 488403"/>
                <a:gd name="connsiteY5" fmla="*/ 213377 h 293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8403" h="293298">
                  <a:moveTo>
                    <a:pt x="442921" y="213377"/>
                  </a:moveTo>
                  <a:cubicBezTo>
                    <a:pt x="442921" y="213377"/>
                    <a:pt x="342809" y="195175"/>
                    <a:pt x="315505" y="201242"/>
                  </a:cubicBezTo>
                  <a:cubicBezTo>
                    <a:pt x="218425" y="225512"/>
                    <a:pt x="115281" y="358995"/>
                    <a:pt x="0" y="252815"/>
                  </a:cubicBezTo>
                  <a:cubicBezTo>
                    <a:pt x="24269" y="143602"/>
                    <a:pt x="157751" y="-14151"/>
                    <a:pt x="327640" y="1017"/>
                  </a:cubicBezTo>
                  <a:cubicBezTo>
                    <a:pt x="409551" y="7085"/>
                    <a:pt x="452021" y="49557"/>
                    <a:pt x="464157" y="82927"/>
                  </a:cubicBezTo>
                  <a:cubicBezTo>
                    <a:pt x="464157" y="79894"/>
                    <a:pt x="530899" y="183040"/>
                    <a:pt x="442921" y="213377"/>
                  </a:cubicBezTo>
                  <a:close/>
                </a:path>
              </a:pathLst>
            </a:custGeom>
            <a:solidFill>
              <a:srgbClr val="6C5D68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AA93A5EF-5A77-4DC5-8E39-1162435927F7}"/>
                </a:ext>
              </a:extLst>
            </p:cNvPr>
            <p:cNvSpPr/>
            <p:nvPr/>
          </p:nvSpPr>
          <p:spPr>
            <a:xfrm>
              <a:off x="24008766" y="7789207"/>
              <a:ext cx="69215" cy="113860"/>
            </a:xfrm>
            <a:custGeom>
              <a:avLst/>
              <a:gdLst>
                <a:gd name="connsiteX0" fmla="*/ 2397 w 69215"/>
                <a:gd name="connsiteY0" fmla="*/ 23893 h 113860"/>
                <a:gd name="connsiteX1" fmla="*/ 57003 w 69215"/>
                <a:gd name="connsiteY1" fmla="*/ 2657 h 113860"/>
                <a:gd name="connsiteX2" fmla="*/ 20600 w 69215"/>
                <a:gd name="connsiteY2" fmla="*/ 111870 h 113860"/>
                <a:gd name="connsiteX3" fmla="*/ 2397 w 69215"/>
                <a:gd name="connsiteY3" fmla="*/ 23893 h 113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215" h="113860">
                  <a:moveTo>
                    <a:pt x="2397" y="23893"/>
                  </a:moveTo>
                  <a:cubicBezTo>
                    <a:pt x="2397" y="23893"/>
                    <a:pt x="29701" y="-9478"/>
                    <a:pt x="57003" y="2657"/>
                  </a:cubicBezTo>
                  <a:cubicBezTo>
                    <a:pt x="84307" y="17825"/>
                    <a:pt x="63071" y="130072"/>
                    <a:pt x="20600" y="111870"/>
                  </a:cubicBezTo>
                  <a:cubicBezTo>
                    <a:pt x="-9737" y="102769"/>
                    <a:pt x="2397" y="23893"/>
                    <a:pt x="2397" y="23893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26C68E26-EC47-4C66-99F5-E499B3FDF4F4}"/>
                </a:ext>
              </a:extLst>
            </p:cNvPr>
            <p:cNvSpPr/>
            <p:nvPr/>
          </p:nvSpPr>
          <p:spPr>
            <a:xfrm>
              <a:off x="23485461" y="8165010"/>
              <a:ext cx="1275027" cy="1604831"/>
            </a:xfrm>
            <a:custGeom>
              <a:avLst/>
              <a:gdLst>
                <a:gd name="connsiteX0" fmla="*/ 549971 w 1275027"/>
                <a:gd name="connsiteY0" fmla="*/ 0 h 1604831"/>
                <a:gd name="connsiteX1" fmla="*/ 267836 w 1275027"/>
                <a:gd name="connsiteY1" fmla="*/ 57640 h 1604831"/>
                <a:gd name="connsiteX2" fmla="*/ 870 w 1275027"/>
                <a:gd name="connsiteY2" fmla="*/ 242697 h 1604831"/>
                <a:gd name="connsiteX3" fmla="*/ 279972 w 1275027"/>
                <a:gd name="connsiteY3" fmla="*/ 1604831 h 1604831"/>
                <a:gd name="connsiteX4" fmla="*/ 1275028 w 1275027"/>
                <a:gd name="connsiteY4" fmla="*/ 1498652 h 1604831"/>
                <a:gd name="connsiteX5" fmla="*/ 844241 w 1275027"/>
                <a:gd name="connsiteY5" fmla="*/ 42472 h 1604831"/>
                <a:gd name="connsiteX6" fmla="*/ 549971 w 1275027"/>
                <a:gd name="connsiteY6" fmla="*/ 0 h 160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5027" h="1604831">
                  <a:moveTo>
                    <a:pt x="549971" y="0"/>
                  </a:moveTo>
                  <a:cubicBezTo>
                    <a:pt x="549971" y="0"/>
                    <a:pt x="392219" y="87977"/>
                    <a:pt x="267836" y="57640"/>
                  </a:cubicBezTo>
                  <a:cubicBezTo>
                    <a:pt x="267836" y="57640"/>
                    <a:pt x="19072" y="206292"/>
                    <a:pt x="870" y="242697"/>
                  </a:cubicBezTo>
                  <a:cubicBezTo>
                    <a:pt x="-17331" y="279101"/>
                    <a:pt x="255703" y="1541123"/>
                    <a:pt x="279972" y="1604831"/>
                  </a:cubicBezTo>
                  <a:cubicBezTo>
                    <a:pt x="279972" y="1604831"/>
                    <a:pt x="631881" y="1574494"/>
                    <a:pt x="1275028" y="1498652"/>
                  </a:cubicBezTo>
                  <a:cubicBezTo>
                    <a:pt x="1138511" y="518764"/>
                    <a:pt x="892781" y="66741"/>
                    <a:pt x="844241" y="42472"/>
                  </a:cubicBezTo>
                  <a:cubicBezTo>
                    <a:pt x="795702" y="21236"/>
                    <a:pt x="549971" y="0"/>
                    <a:pt x="549971" y="0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591A192F-5CDE-47BE-A0B2-0EB1A2CCB34E}"/>
                </a:ext>
              </a:extLst>
            </p:cNvPr>
            <p:cNvSpPr/>
            <p:nvPr/>
          </p:nvSpPr>
          <p:spPr>
            <a:xfrm>
              <a:off x="23483299" y="8404673"/>
              <a:ext cx="136516" cy="685618"/>
            </a:xfrm>
            <a:custGeom>
              <a:avLst/>
              <a:gdLst>
                <a:gd name="connsiteX0" fmla="*/ 130449 w 136516"/>
                <a:gd name="connsiteY0" fmla="*/ 685618 h 685618"/>
                <a:gd name="connsiteX1" fmla="*/ 124381 w 136516"/>
                <a:gd name="connsiteY1" fmla="*/ 682584 h 685618"/>
                <a:gd name="connsiteX2" fmla="*/ 0 w 136516"/>
                <a:gd name="connsiteY2" fmla="*/ 6068 h 685618"/>
                <a:gd name="connsiteX3" fmla="*/ 6066 w 136516"/>
                <a:gd name="connsiteY3" fmla="*/ 0 h 685618"/>
                <a:gd name="connsiteX4" fmla="*/ 6066 w 136516"/>
                <a:gd name="connsiteY4" fmla="*/ 0 h 685618"/>
                <a:gd name="connsiteX5" fmla="*/ 12134 w 136516"/>
                <a:gd name="connsiteY5" fmla="*/ 6068 h 685618"/>
                <a:gd name="connsiteX6" fmla="*/ 136517 w 136516"/>
                <a:gd name="connsiteY6" fmla="*/ 679551 h 685618"/>
                <a:gd name="connsiteX7" fmla="*/ 130449 w 136516"/>
                <a:gd name="connsiteY7" fmla="*/ 685618 h 685618"/>
                <a:gd name="connsiteX8" fmla="*/ 130449 w 136516"/>
                <a:gd name="connsiteY8" fmla="*/ 685618 h 685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516" h="685618">
                  <a:moveTo>
                    <a:pt x="130449" y="685618"/>
                  </a:moveTo>
                  <a:cubicBezTo>
                    <a:pt x="127414" y="685618"/>
                    <a:pt x="124381" y="682584"/>
                    <a:pt x="124381" y="682584"/>
                  </a:cubicBezTo>
                  <a:cubicBezTo>
                    <a:pt x="118314" y="655281"/>
                    <a:pt x="0" y="45506"/>
                    <a:pt x="0" y="6068"/>
                  </a:cubicBezTo>
                  <a:cubicBezTo>
                    <a:pt x="0" y="3034"/>
                    <a:pt x="3033" y="0"/>
                    <a:pt x="6066" y="0"/>
                  </a:cubicBezTo>
                  <a:lnTo>
                    <a:pt x="6066" y="0"/>
                  </a:lnTo>
                  <a:cubicBezTo>
                    <a:pt x="9101" y="0"/>
                    <a:pt x="12134" y="3034"/>
                    <a:pt x="12134" y="6068"/>
                  </a:cubicBezTo>
                  <a:cubicBezTo>
                    <a:pt x="12134" y="45506"/>
                    <a:pt x="133482" y="673484"/>
                    <a:pt x="136517" y="679551"/>
                  </a:cubicBezTo>
                  <a:cubicBezTo>
                    <a:pt x="136517" y="682584"/>
                    <a:pt x="133482" y="685618"/>
                    <a:pt x="130449" y="685618"/>
                  </a:cubicBezTo>
                  <a:cubicBezTo>
                    <a:pt x="130449" y="685618"/>
                    <a:pt x="130449" y="685618"/>
                    <a:pt x="130449" y="685618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7FE34843-1573-4BDA-A351-931B48F6E211}"/>
                </a:ext>
              </a:extLst>
            </p:cNvPr>
            <p:cNvSpPr/>
            <p:nvPr/>
          </p:nvSpPr>
          <p:spPr>
            <a:xfrm>
              <a:off x="23759365" y="8026218"/>
              <a:ext cx="116629" cy="41713"/>
            </a:xfrm>
            <a:custGeom>
              <a:avLst/>
              <a:gdLst>
                <a:gd name="connsiteX0" fmla="*/ 36405 w 116629"/>
                <a:gd name="connsiteY0" fmla="*/ 41714 h 41713"/>
                <a:gd name="connsiteX1" fmla="*/ 3033 w 116629"/>
                <a:gd name="connsiteY1" fmla="*/ 35646 h 41713"/>
                <a:gd name="connsiteX2" fmla="*/ 0 w 116629"/>
                <a:gd name="connsiteY2" fmla="*/ 26545 h 41713"/>
                <a:gd name="connsiteX3" fmla="*/ 9101 w 116629"/>
                <a:gd name="connsiteY3" fmla="*/ 23511 h 41713"/>
                <a:gd name="connsiteX4" fmla="*/ 106180 w 116629"/>
                <a:gd name="connsiteY4" fmla="*/ 2275 h 41713"/>
                <a:gd name="connsiteX5" fmla="*/ 115281 w 116629"/>
                <a:gd name="connsiteY5" fmla="*/ 2275 h 41713"/>
                <a:gd name="connsiteX6" fmla="*/ 115281 w 116629"/>
                <a:gd name="connsiteY6" fmla="*/ 11377 h 41713"/>
                <a:gd name="connsiteX7" fmla="*/ 36405 w 116629"/>
                <a:gd name="connsiteY7" fmla="*/ 41714 h 4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629" h="41713">
                  <a:moveTo>
                    <a:pt x="36405" y="41714"/>
                  </a:moveTo>
                  <a:cubicBezTo>
                    <a:pt x="24269" y="41714"/>
                    <a:pt x="15169" y="38680"/>
                    <a:pt x="3033" y="35646"/>
                  </a:cubicBezTo>
                  <a:cubicBezTo>
                    <a:pt x="0" y="35646"/>
                    <a:pt x="0" y="29579"/>
                    <a:pt x="0" y="26545"/>
                  </a:cubicBezTo>
                  <a:cubicBezTo>
                    <a:pt x="0" y="23511"/>
                    <a:pt x="6068" y="23511"/>
                    <a:pt x="9101" y="23511"/>
                  </a:cubicBezTo>
                  <a:cubicBezTo>
                    <a:pt x="51573" y="44747"/>
                    <a:pt x="106180" y="2275"/>
                    <a:pt x="106180" y="2275"/>
                  </a:cubicBezTo>
                  <a:cubicBezTo>
                    <a:pt x="109213" y="-758"/>
                    <a:pt x="112248" y="-758"/>
                    <a:pt x="115281" y="2275"/>
                  </a:cubicBezTo>
                  <a:cubicBezTo>
                    <a:pt x="118315" y="5309"/>
                    <a:pt x="115281" y="8343"/>
                    <a:pt x="115281" y="11377"/>
                  </a:cubicBezTo>
                  <a:cubicBezTo>
                    <a:pt x="112248" y="11377"/>
                    <a:pt x="75843" y="41714"/>
                    <a:pt x="36405" y="41714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10E56C1E-ED97-47D4-8A93-4442087260B9}"/>
                </a:ext>
              </a:extLst>
            </p:cNvPr>
            <p:cNvSpPr/>
            <p:nvPr/>
          </p:nvSpPr>
          <p:spPr>
            <a:xfrm>
              <a:off x="23610713" y="8166478"/>
              <a:ext cx="1174045" cy="1646336"/>
            </a:xfrm>
            <a:custGeom>
              <a:avLst/>
              <a:gdLst>
                <a:gd name="connsiteX0" fmla="*/ 464159 w 1174045"/>
                <a:gd name="connsiteY0" fmla="*/ 10667 h 1646336"/>
                <a:gd name="connsiteX1" fmla="*/ 476293 w 1174045"/>
                <a:gd name="connsiteY1" fmla="*/ 544599 h 1646336"/>
                <a:gd name="connsiteX2" fmla="*/ 230563 w 1174045"/>
                <a:gd name="connsiteY2" fmla="*/ 608307 h 1646336"/>
                <a:gd name="connsiteX3" fmla="*/ 84945 w 1174045"/>
                <a:gd name="connsiteY3" fmla="*/ 95610 h 1646336"/>
                <a:gd name="connsiteX4" fmla="*/ 0 w 1174045"/>
                <a:gd name="connsiteY4" fmla="*/ 153251 h 1646336"/>
                <a:gd name="connsiteX5" fmla="*/ 118315 w 1174045"/>
                <a:gd name="connsiteY5" fmla="*/ 647745 h 1646336"/>
                <a:gd name="connsiteX6" fmla="*/ 3035 w 1174045"/>
                <a:gd name="connsiteY6" fmla="*/ 917746 h 1646336"/>
                <a:gd name="connsiteX7" fmla="*/ 142585 w 1174045"/>
                <a:gd name="connsiteY7" fmla="*/ 1630666 h 1646336"/>
                <a:gd name="connsiteX8" fmla="*/ 1174045 w 1174045"/>
                <a:gd name="connsiteY8" fmla="*/ 1524487 h 1646336"/>
                <a:gd name="connsiteX9" fmla="*/ 973821 w 1174045"/>
                <a:gd name="connsiteY9" fmla="*/ 641678 h 1646336"/>
                <a:gd name="connsiteX10" fmla="*/ 618877 w 1174045"/>
                <a:gd name="connsiteY10" fmla="*/ 511228 h 1646336"/>
                <a:gd name="connsiteX11" fmla="*/ 549102 w 1174045"/>
                <a:gd name="connsiteY11" fmla="*/ 19768 h 1646336"/>
                <a:gd name="connsiteX12" fmla="*/ 464159 w 1174045"/>
                <a:gd name="connsiteY12" fmla="*/ 10667 h 1646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74045" h="1646336">
                  <a:moveTo>
                    <a:pt x="464159" y="10667"/>
                  </a:moveTo>
                  <a:cubicBezTo>
                    <a:pt x="464159" y="10667"/>
                    <a:pt x="403485" y="250330"/>
                    <a:pt x="476293" y="544599"/>
                  </a:cubicBezTo>
                  <a:cubicBezTo>
                    <a:pt x="476293" y="544599"/>
                    <a:pt x="288202" y="617408"/>
                    <a:pt x="230563" y="608307"/>
                  </a:cubicBezTo>
                  <a:cubicBezTo>
                    <a:pt x="230563" y="608307"/>
                    <a:pt x="87978" y="195723"/>
                    <a:pt x="84945" y="95610"/>
                  </a:cubicBezTo>
                  <a:cubicBezTo>
                    <a:pt x="84945" y="95610"/>
                    <a:pt x="9103" y="116846"/>
                    <a:pt x="0" y="153251"/>
                  </a:cubicBezTo>
                  <a:cubicBezTo>
                    <a:pt x="0" y="153251"/>
                    <a:pt x="106180" y="581004"/>
                    <a:pt x="118315" y="647745"/>
                  </a:cubicBezTo>
                  <a:cubicBezTo>
                    <a:pt x="130451" y="711453"/>
                    <a:pt x="3035" y="917746"/>
                    <a:pt x="3035" y="917746"/>
                  </a:cubicBezTo>
                  <a:lnTo>
                    <a:pt x="142585" y="1630666"/>
                  </a:lnTo>
                  <a:cubicBezTo>
                    <a:pt x="142585" y="1630666"/>
                    <a:pt x="882810" y="1706509"/>
                    <a:pt x="1174045" y="1524487"/>
                  </a:cubicBezTo>
                  <a:cubicBezTo>
                    <a:pt x="1174045" y="1524487"/>
                    <a:pt x="1083034" y="917746"/>
                    <a:pt x="973821" y="641678"/>
                  </a:cubicBezTo>
                  <a:cubicBezTo>
                    <a:pt x="897979" y="656846"/>
                    <a:pt x="673484" y="629543"/>
                    <a:pt x="618877" y="511228"/>
                  </a:cubicBezTo>
                  <a:cubicBezTo>
                    <a:pt x="564271" y="392914"/>
                    <a:pt x="518765" y="159319"/>
                    <a:pt x="549102" y="19768"/>
                  </a:cubicBezTo>
                  <a:cubicBezTo>
                    <a:pt x="549102" y="16734"/>
                    <a:pt x="494496" y="-16637"/>
                    <a:pt x="464159" y="10667"/>
                  </a:cubicBezTo>
                  <a:close/>
                </a:path>
              </a:pathLst>
            </a:custGeom>
            <a:solidFill>
              <a:srgbClr val="7F95BC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AE27CAA8-14A8-47B9-A883-4B8CE1F1E302}"/>
                </a:ext>
              </a:extLst>
            </p:cNvPr>
            <p:cNvSpPr/>
            <p:nvPr/>
          </p:nvSpPr>
          <p:spPr>
            <a:xfrm>
              <a:off x="23725995" y="9499842"/>
              <a:ext cx="1052695" cy="262893"/>
            </a:xfrm>
            <a:custGeom>
              <a:avLst/>
              <a:gdLst>
                <a:gd name="connsiteX0" fmla="*/ 18202 w 1052695"/>
                <a:gd name="connsiteY0" fmla="*/ 260899 h 262893"/>
                <a:gd name="connsiteX1" fmla="*/ 1052695 w 1052695"/>
                <a:gd name="connsiteY1" fmla="*/ 115281 h 262893"/>
                <a:gd name="connsiteX2" fmla="*/ 1034494 w 1052695"/>
                <a:gd name="connsiteY2" fmla="*/ 0 h 262893"/>
                <a:gd name="connsiteX3" fmla="*/ 0 w 1052695"/>
                <a:gd name="connsiteY3" fmla="*/ 154719 h 262893"/>
                <a:gd name="connsiteX4" fmla="*/ 18202 w 1052695"/>
                <a:gd name="connsiteY4" fmla="*/ 260899 h 262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2695" h="262893">
                  <a:moveTo>
                    <a:pt x="18202" y="260899"/>
                  </a:moveTo>
                  <a:cubicBezTo>
                    <a:pt x="18202" y="260899"/>
                    <a:pt x="482358" y="291236"/>
                    <a:pt x="1052695" y="115281"/>
                  </a:cubicBezTo>
                  <a:lnTo>
                    <a:pt x="1034494" y="0"/>
                  </a:lnTo>
                  <a:cubicBezTo>
                    <a:pt x="1034494" y="0"/>
                    <a:pt x="376179" y="115281"/>
                    <a:pt x="0" y="154719"/>
                  </a:cubicBezTo>
                  <a:lnTo>
                    <a:pt x="18202" y="260899"/>
                  </a:lnTo>
                  <a:close/>
                </a:path>
              </a:pathLst>
            </a:custGeom>
            <a:solidFill>
              <a:srgbClr val="38333D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3" name="图形 1">
              <a:extLst>
                <a:ext uri="{FF2B5EF4-FFF2-40B4-BE49-F238E27FC236}">
                  <a16:creationId xmlns:a16="http://schemas.microsoft.com/office/drawing/2014/main" id="{347B9FA8-1463-43BE-92D6-84660546AEB2}"/>
                </a:ext>
              </a:extLst>
            </p:cNvPr>
            <p:cNvGrpSpPr/>
            <p:nvPr/>
          </p:nvGrpSpPr>
          <p:grpSpPr>
            <a:xfrm>
              <a:off x="24011163" y="9575684"/>
              <a:ext cx="242696" cy="191123"/>
              <a:chOff x="24011163" y="9575684"/>
              <a:chExt cx="242696" cy="191123"/>
            </a:xfrm>
          </p:grpSpPr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3BE7FDFD-4DFC-4B9B-9E39-5051D6F8A8CE}"/>
                  </a:ext>
                </a:extLst>
              </p:cNvPr>
              <p:cNvSpPr/>
              <p:nvPr/>
            </p:nvSpPr>
            <p:spPr>
              <a:xfrm>
                <a:off x="24011163" y="9575684"/>
                <a:ext cx="242696" cy="191123"/>
              </a:xfrm>
              <a:custGeom>
                <a:avLst/>
                <a:gdLst>
                  <a:gd name="connsiteX0" fmla="*/ 39438 w 242696"/>
                  <a:gd name="connsiteY0" fmla="*/ 191123 h 191123"/>
                  <a:gd name="connsiteX1" fmla="*/ 221460 w 242696"/>
                  <a:gd name="connsiteY1" fmla="*/ 169888 h 191123"/>
                  <a:gd name="connsiteX2" fmla="*/ 242697 w 242696"/>
                  <a:gd name="connsiteY2" fmla="*/ 145618 h 191123"/>
                  <a:gd name="connsiteX3" fmla="*/ 227528 w 242696"/>
                  <a:gd name="connsiteY3" fmla="*/ 21236 h 191123"/>
                  <a:gd name="connsiteX4" fmla="*/ 203259 w 242696"/>
                  <a:gd name="connsiteY4" fmla="*/ 0 h 191123"/>
                  <a:gd name="connsiteX5" fmla="*/ 21236 w 242696"/>
                  <a:gd name="connsiteY5" fmla="*/ 21236 h 191123"/>
                  <a:gd name="connsiteX6" fmla="*/ 0 w 242696"/>
                  <a:gd name="connsiteY6" fmla="*/ 45506 h 191123"/>
                  <a:gd name="connsiteX7" fmla="*/ 15169 w 242696"/>
                  <a:gd name="connsiteY7" fmla="*/ 169888 h 191123"/>
                  <a:gd name="connsiteX8" fmla="*/ 39438 w 242696"/>
                  <a:gd name="connsiteY8" fmla="*/ 191123 h 191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2696" h="191123">
                    <a:moveTo>
                      <a:pt x="39438" y="191123"/>
                    </a:moveTo>
                    <a:lnTo>
                      <a:pt x="221460" y="169888"/>
                    </a:lnTo>
                    <a:cubicBezTo>
                      <a:pt x="233596" y="169888"/>
                      <a:pt x="242697" y="157753"/>
                      <a:pt x="242697" y="145618"/>
                    </a:cubicBezTo>
                    <a:lnTo>
                      <a:pt x="227528" y="21236"/>
                    </a:lnTo>
                    <a:cubicBezTo>
                      <a:pt x="227528" y="9101"/>
                      <a:pt x="215394" y="0"/>
                      <a:pt x="203259" y="0"/>
                    </a:cubicBezTo>
                    <a:lnTo>
                      <a:pt x="21236" y="21236"/>
                    </a:lnTo>
                    <a:cubicBezTo>
                      <a:pt x="9101" y="21236"/>
                      <a:pt x="0" y="33371"/>
                      <a:pt x="0" y="45506"/>
                    </a:cubicBezTo>
                    <a:lnTo>
                      <a:pt x="15169" y="169888"/>
                    </a:lnTo>
                    <a:cubicBezTo>
                      <a:pt x="18203" y="182022"/>
                      <a:pt x="27304" y="191123"/>
                      <a:pt x="39438" y="19112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C629A6A7-6445-4B08-8207-75E8E0D66E7B}"/>
                  </a:ext>
                </a:extLst>
              </p:cNvPr>
              <p:cNvSpPr/>
              <p:nvPr/>
            </p:nvSpPr>
            <p:spPr>
              <a:xfrm>
                <a:off x="24041500" y="9599954"/>
                <a:ext cx="178989" cy="142584"/>
              </a:xfrm>
              <a:custGeom>
                <a:avLst/>
                <a:gdLst>
                  <a:gd name="connsiteX0" fmla="*/ 30337 w 178989"/>
                  <a:gd name="connsiteY0" fmla="*/ 142585 h 142584"/>
                  <a:gd name="connsiteX1" fmla="*/ 163821 w 178989"/>
                  <a:gd name="connsiteY1" fmla="*/ 127416 h 142584"/>
                  <a:gd name="connsiteX2" fmla="*/ 178990 w 178989"/>
                  <a:gd name="connsiteY2" fmla="*/ 109214 h 142584"/>
                  <a:gd name="connsiteX3" fmla="*/ 166854 w 178989"/>
                  <a:gd name="connsiteY3" fmla="*/ 15169 h 142584"/>
                  <a:gd name="connsiteX4" fmla="*/ 148652 w 178989"/>
                  <a:gd name="connsiteY4" fmla="*/ 0 h 142584"/>
                  <a:gd name="connsiteX5" fmla="*/ 15169 w 178989"/>
                  <a:gd name="connsiteY5" fmla="*/ 15169 h 142584"/>
                  <a:gd name="connsiteX6" fmla="*/ 0 w 178989"/>
                  <a:gd name="connsiteY6" fmla="*/ 33371 h 142584"/>
                  <a:gd name="connsiteX7" fmla="*/ 12136 w 178989"/>
                  <a:gd name="connsiteY7" fmla="*/ 127416 h 142584"/>
                  <a:gd name="connsiteX8" fmla="*/ 30337 w 178989"/>
                  <a:gd name="connsiteY8" fmla="*/ 142585 h 142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8989" h="142584">
                    <a:moveTo>
                      <a:pt x="30337" y="142585"/>
                    </a:moveTo>
                    <a:lnTo>
                      <a:pt x="163821" y="127416"/>
                    </a:lnTo>
                    <a:cubicBezTo>
                      <a:pt x="172922" y="127416"/>
                      <a:pt x="178990" y="118315"/>
                      <a:pt x="178990" y="109214"/>
                    </a:cubicBezTo>
                    <a:lnTo>
                      <a:pt x="166854" y="15169"/>
                    </a:lnTo>
                    <a:cubicBezTo>
                      <a:pt x="166854" y="6068"/>
                      <a:pt x="157753" y="0"/>
                      <a:pt x="148652" y="0"/>
                    </a:cubicBezTo>
                    <a:lnTo>
                      <a:pt x="15169" y="15169"/>
                    </a:lnTo>
                    <a:cubicBezTo>
                      <a:pt x="6068" y="15169"/>
                      <a:pt x="0" y="24270"/>
                      <a:pt x="0" y="33371"/>
                    </a:cubicBezTo>
                    <a:lnTo>
                      <a:pt x="12136" y="127416"/>
                    </a:lnTo>
                    <a:cubicBezTo>
                      <a:pt x="12136" y="136517"/>
                      <a:pt x="21236" y="142585"/>
                      <a:pt x="30337" y="142585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5DCCAD7A-A838-43AE-8193-4073AC89C4CE}"/>
                </a:ext>
              </a:extLst>
            </p:cNvPr>
            <p:cNvSpPr/>
            <p:nvPr/>
          </p:nvSpPr>
          <p:spPr>
            <a:xfrm>
              <a:off x="23838241" y="8829392"/>
              <a:ext cx="382248" cy="306404"/>
            </a:xfrm>
            <a:custGeom>
              <a:avLst/>
              <a:gdLst>
                <a:gd name="connsiteX0" fmla="*/ 233596 w 382248"/>
                <a:gd name="connsiteY0" fmla="*/ 306405 h 306404"/>
                <a:gd name="connsiteX1" fmla="*/ 233596 w 382248"/>
                <a:gd name="connsiteY1" fmla="*/ 306405 h 306404"/>
                <a:gd name="connsiteX2" fmla="*/ 33372 w 382248"/>
                <a:gd name="connsiteY2" fmla="*/ 248764 h 306404"/>
                <a:gd name="connsiteX3" fmla="*/ 30337 w 382248"/>
                <a:gd name="connsiteY3" fmla="*/ 245731 h 306404"/>
                <a:gd name="connsiteX4" fmla="*/ 0 w 382248"/>
                <a:gd name="connsiteY4" fmla="*/ 94045 h 306404"/>
                <a:gd name="connsiteX5" fmla="*/ 0 w 382248"/>
                <a:gd name="connsiteY5" fmla="*/ 91011 h 306404"/>
                <a:gd name="connsiteX6" fmla="*/ 3035 w 382248"/>
                <a:gd name="connsiteY6" fmla="*/ 87978 h 306404"/>
                <a:gd name="connsiteX7" fmla="*/ 336743 w 382248"/>
                <a:gd name="connsiteY7" fmla="*/ 0 h 306404"/>
                <a:gd name="connsiteX8" fmla="*/ 339776 w 382248"/>
                <a:gd name="connsiteY8" fmla="*/ 0 h 306404"/>
                <a:gd name="connsiteX9" fmla="*/ 342810 w 382248"/>
                <a:gd name="connsiteY9" fmla="*/ 3034 h 306404"/>
                <a:gd name="connsiteX10" fmla="*/ 382248 w 382248"/>
                <a:gd name="connsiteY10" fmla="*/ 169888 h 306404"/>
                <a:gd name="connsiteX11" fmla="*/ 379214 w 382248"/>
                <a:gd name="connsiteY11" fmla="*/ 175955 h 306404"/>
                <a:gd name="connsiteX12" fmla="*/ 236631 w 382248"/>
                <a:gd name="connsiteY12" fmla="*/ 306405 h 306404"/>
                <a:gd name="connsiteX13" fmla="*/ 233596 w 382248"/>
                <a:gd name="connsiteY13" fmla="*/ 306405 h 306404"/>
                <a:gd name="connsiteX14" fmla="*/ 39440 w 382248"/>
                <a:gd name="connsiteY14" fmla="*/ 239663 h 306404"/>
                <a:gd name="connsiteX15" fmla="*/ 230563 w 382248"/>
                <a:gd name="connsiteY15" fmla="*/ 294270 h 306404"/>
                <a:gd name="connsiteX16" fmla="*/ 367080 w 382248"/>
                <a:gd name="connsiteY16" fmla="*/ 166854 h 306404"/>
                <a:gd name="connsiteX17" fmla="*/ 330675 w 382248"/>
                <a:gd name="connsiteY17" fmla="*/ 9101 h 306404"/>
                <a:gd name="connsiteX18" fmla="*/ 9103 w 382248"/>
                <a:gd name="connsiteY18" fmla="*/ 94045 h 306404"/>
                <a:gd name="connsiteX19" fmla="*/ 39440 w 382248"/>
                <a:gd name="connsiteY19" fmla="*/ 239663 h 30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82248" h="306404">
                  <a:moveTo>
                    <a:pt x="233596" y="306405"/>
                  </a:moveTo>
                  <a:cubicBezTo>
                    <a:pt x="233596" y="306405"/>
                    <a:pt x="230563" y="306405"/>
                    <a:pt x="233596" y="306405"/>
                  </a:cubicBezTo>
                  <a:lnTo>
                    <a:pt x="33372" y="248764"/>
                  </a:lnTo>
                  <a:cubicBezTo>
                    <a:pt x="30337" y="248764"/>
                    <a:pt x="30337" y="245731"/>
                    <a:pt x="30337" y="245731"/>
                  </a:cubicBezTo>
                  <a:lnTo>
                    <a:pt x="0" y="94045"/>
                  </a:lnTo>
                  <a:cubicBezTo>
                    <a:pt x="0" y="94045"/>
                    <a:pt x="0" y="91011"/>
                    <a:pt x="0" y="91011"/>
                  </a:cubicBezTo>
                  <a:cubicBezTo>
                    <a:pt x="0" y="91011"/>
                    <a:pt x="3035" y="87978"/>
                    <a:pt x="3035" y="87978"/>
                  </a:cubicBezTo>
                  <a:cubicBezTo>
                    <a:pt x="100114" y="66742"/>
                    <a:pt x="333708" y="0"/>
                    <a:pt x="336743" y="0"/>
                  </a:cubicBezTo>
                  <a:cubicBezTo>
                    <a:pt x="336743" y="0"/>
                    <a:pt x="339776" y="0"/>
                    <a:pt x="339776" y="0"/>
                  </a:cubicBezTo>
                  <a:cubicBezTo>
                    <a:pt x="339776" y="0"/>
                    <a:pt x="342810" y="3034"/>
                    <a:pt x="342810" y="3034"/>
                  </a:cubicBezTo>
                  <a:lnTo>
                    <a:pt x="382248" y="169888"/>
                  </a:lnTo>
                  <a:cubicBezTo>
                    <a:pt x="382248" y="172922"/>
                    <a:pt x="382248" y="172922"/>
                    <a:pt x="379214" y="175955"/>
                  </a:cubicBezTo>
                  <a:lnTo>
                    <a:pt x="236631" y="306405"/>
                  </a:lnTo>
                  <a:cubicBezTo>
                    <a:pt x="236631" y="306405"/>
                    <a:pt x="233596" y="306405"/>
                    <a:pt x="233596" y="306405"/>
                  </a:cubicBezTo>
                  <a:close/>
                  <a:moveTo>
                    <a:pt x="39440" y="239663"/>
                  </a:moveTo>
                  <a:lnTo>
                    <a:pt x="230563" y="294270"/>
                  </a:lnTo>
                  <a:lnTo>
                    <a:pt x="367080" y="166854"/>
                  </a:lnTo>
                  <a:lnTo>
                    <a:pt x="330675" y="9101"/>
                  </a:lnTo>
                  <a:cubicBezTo>
                    <a:pt x="294270" y="18202"/>
                    <a:pt x="100114" y="75843"/>
                    <a:pt x="9103" y="94045"/>
                  </a:cubicBezTo>
                  <a:lnTo>
                    <a:pt x="39440" y="239663"/>
                  </a:ln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901CE21C-9B56-48F5-BC08-3D6CB18467F4}"/>
                </a:ext>
              </a:extLst>
            </p:cNvPr>
            <p:cNvSpPr/>
            <p:nvPr/>
          </p:nvSpPr>
          <p:spPr>
            <a:xfrm>
              <a:off x="23647118" y="8589729"/>
              <a:ext cx="783804" cy="940449"/>
            </a:xfrm>
            <a:custGeom>
              <a:avLst/>
              <a:gdLst>
                <a:gd name="connsiteX0" fmla="*/ 491461 w 783804"/>
                <a:gd name="connsiteY0" fmla="*/ 0 h 940449"/>
                <a:gd name="connsiteX1" fmla="*/ 461124 w 783804"/>
                <a:gd name="connsiteY1" fmla="*/ 555169 h 940449"/>
                <a:gd name="connsiteX2" fmla="*/ 0 w 783804"/>
                <a:gd name="connsiteY2" fmla="*/ 819101 h 940449"/>
                <a:gd name="connsiteX3" fmla="*/ 106180 w 783804"/>
                <a:gd name="connsiteY3" fmla="*/ 940449 h 940449"/>
                <a:gd name="connsiteX4" fmla="*/ 715956 w 783804"/>
                <a:gd name="connsiteY4" fmla="*/ 652247 h 940449"/>
                <a:gd name="connsiteX5" fmla="*/ 782696 w 783804"/>
                <a:gd name="connsiteY5" fmla="*/ 33371 h 940449"/>
                <a:gd name="connsiteX6" fmla="*/ 491461 w 783804"/>
                <a:gd name="connsiteY6" fmla="*/ 0 h 940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3804" h="940449">
                  <a:moveTo>
                    <a:pt x="491461" y="0"/>
                  </a:moveTo>
                  <a:lnTo>
                    <a:pt x="461124" y="555169"/>
                  </a:lnTo>
                  <a:lnTo>
                    <a:pt x="0" y="819101"/>
                  </a:lnTo>
                  <a:lnTo>
                    <a:pt x="106180" y="940449"/>
                  </a:lnTo>
                  <a:cubicBezTo>
                    <a:pt x="106180" y="940449"/>
                    <a:pt x="634046" y="749326"/>
                    <a:pt x="715956" y="652247"/>
                  </a:cubicBezTo>
                  <a:cubicBezTo>
                    <a:pt x="797865" y="555169"/>
                    <a:pt x="782696" y="33371"/>
                    <a:pt x="782696" y="33371"/>
                  </a:cubicBezTo>
                  <a:lnTo>
                    <a:pt x="491461" y="0"/>
                  </a:ln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6" name="图形 1">
              <a:extLst>
                <a:ext uri="{FF2B5EF4-FFF2-40B4-BE49-F238E27FC236}">
                  <a16:creationId xmlns:a16="http://schemas.microsoft.com/office/drawing/2014/main" id="{2AD71C8D-71F0-4ED5-876D-52B447DE0D6E}"/>
                </a:ext>
              </a:extLst>
            </p:cNvPr>
            <p:cNvGrpSpPr/>
            <p:nvPr/>
          </p:nvGrpSpPr>
          <p:grpSpPr>
            <a:xfrm>
              <a:off x="23407456" y="9384446"/>
              <a:ext cx="369353" cy="307477"/>
              <a:chOff x="23407456" y="9384446"/>
              <a:chExt cx="369353" cy="307477"/>
            </a:xfrm>
          </p:grpSpPr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DCBF3C84-C9DB-459F-8D79-7BD8704E4D2F}"/>
                  </a:ext>
                </a:extLst>
              </p:cNvPr>
              <p:cNvSpPr/>
              <p:nvPr/>
            </p:nvSpPr>
            <p:spPr>
              <a:xfrm>
                <a:off x="23417317" y="9384446"/>
                <a:ext cx="359492" cy="307477"/>
              </a:xfrm>
              <a:custGeom>
                <a:avLst/>
                <a:gdLst>
                  <a:gd name="connsiteX0" fmla="*/ 357217 w 359492"/>
                  <a:gd name="connsiteY0" fmla="*/ 94160 h 307477"/>
                  <a:gd name="connsiteX1" fmla="*/ 272274 w 359492"/>
                  <a:gd name="connsiteY1" fmla="*/ 115 h 307477"/>
                  <a:gd name="connsiteX2" fmla="*/ 44745 w 359492"/>
                  <a:gd name="connsiteY2" fmla="*/ 133598 h 307477"/>
                  <a:gd name="connsiteX3" fmla="*/ 5308 w 359492"/>
                  <a:gd name="connsiteY3" fmla="*/ 200339 h 307477"/>
                  <a:gd name="connsiteX4" fmla="*/ 26542 w 359492"/>
                  <a:gd name="connsiteY4" fmla="*/ 200339 h 307477"/>
                  <a:gd name="connsiteX5" fmla="*/ 65982 w 359492"/>
                  <a:gd name="connsiteY5" fmla="*/ 182138 h 307477"/>
                  <a:gd name="connsiteX6" fmla="*/ 26542 w 359492"/>
                  <a:gd name="connsiteY6" fmla="*/ 230677 h 307477"/>
                  <a:gd name="connsiteX7" fmla="*/ 8341 w 359492"/>
                  <a:gd name="connsiteY7" fmla="*/ 294385 h 307477"/>
                  <a:gd name="connsiteX8" fmla="*/ 41711 w 359492"/>
                  <a:gd name="connsiteY8" fmla="*/ 291351 h 307477"/>
                  <a:gd name="connsiteX9" fmla="*/ 50813 w 359492"/>
                  <a:gd name="connsiteY9" fmla="*/ 306519 h 307477"/>
                  <a:gd name="connsiteX10" fmla="*/ 120588 w 359492"/>
                  <a:gd name="connsiteY10" fmla="*/ 276182 h 307477"/>
                  <a:gd name="connsiteX11" fmla="*/ 166094 w 359492"/>
                  <a:gd name="connsiteY11" fmla="*/ 242812 h 307477"/>
                  <a:gd name="connsiteX12" fmla="*/ 144857 w 359492"/>
                  <a:gd name="connsiteY12" fmla="*/ 306519 h 307477"/>
                  <a:gd name="connsiteX13" fmla="*/ 193396 w 359492"/>
                  <a:gd name="connsiteY13" fmla="*/ 279216 h 307477"/>
                  <a:gd name="connsiteX14" fmla="*/ 263173 w 359492"/>
                  <a:gd name="connsiteY14" fmla="*/ 209441 h 307477"/>
                  <a:gd name="connsiteX15" fmla="*/ 339016 w 359492"/>
                  <a:gd name="connsiteY15" fmla="*/ 148767 h 307477"/>
                  <a:gd name="connsiteX16" fmla="*/ 357217 w 359492"/>
                  <a:gd name="connsiteY16" fmla="*/ 94160 h 307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59492" h="307477">
                    <a:moveTo>
                      <a:pt x="357217" y="94160"/>
                    </a:moveTo>
                    <a:cubicBezTo>
                      <a:pt x="348116" y="54722"/>
                      <a:pt x="272274" y="-2918"/>
                      <a:pt x="272274" y="115"/>
                    </a:cubicBezTo>
                    <a:cubicBezTo>
                      <a:pt x="196431" y="45621"/>
                      <a:pt x="114520" y="78992"/>
                      <a:pt x="44745" y="133598"/>
                    </a:cubicBezTo>
                    <a:cubicBezTo>
                      <a:pt x="32610" y="142699"/>
                      <a:pt x="-15929" y="179104"/>
                      <a:pt x="5308" y="200339"/>
                    </a:cubicBezTo>
                    <a:cubicBezTo>
                      <a:pt x="11374" y="206407"/>
                      <a:pt x="20476" y="203373"/>
                      <a:pt x="26542" y="200339"/>
                    </a:cubicBezTo>
                    <a:cubicBezTo>
                      <a:pt x="41711" y="194273"/>
                      <a:pt x="53846" y="188205"/>
                      <a:pt x="65982" y="182138"/>
                    </a:cubicBezTo>
                    <a:cubicBezTo>
                      <a:pt x="50813" y="197306"/>
                      <a:pt x="38678" y="212475"/>
                      <a:pt x="26542" y="230677"/>
                    </a:cubicBezTo>
                    <a:cubicBezTo>
                      <a:pt x="17441" y="245845"/>
                      <a:pt x="-3795" y="279216"/>
                      <a:pt x="8341" y="294385"/>
                    </a:cubicBezTo>
                    <a:cubicBezTo>
                      <a:pt x="14408" y="303486"/>
                      <a:pt x="26542" y="300452"/>
                      <a:pt x="41711" y="291351"/>
                    </a:cubicBezTo>
                    <a:cubicBezTo>
                      <a:pt x="41711" y="297418"/>
                      <a:pt x="41711" y="303486"/>
                      <a:pt x="50813" y="306519"/>
                    </a:cubicBezTo>
                    <a:cubicBezTo>
                      <a:pt x="72048" y="312587"/>
                      <a:pt x="105420" y="288318"/>
                      <a:pt x="120588" y="276182"/>
                    </a:cubicBezTo>
                    <a:cubicBezTo>
                      <a:pt x="135757" y="264048"/>
                      <a:pt x="150925" y="251913"/>
                      <a:pt x="166094" y="242812"/>
                    </a:cubicBezTo>
                    <a:cubicBezTo>
                      <a:pt x="144857" y="267081"/>
                      <a:pt x="123621" y="300452"/>
                      <a:pt x="144857" y="306519"/>
                    </a:cubicBezTo>
                    <a:cubicBezTo>
                      <a:pt x="160026" y="312587"/>
                      <a:pt x="184295" y="285284"/>
                      <a:pt x="193396" y="279216"/>
                    </a:cubicBezTo>
                    <a:cubicBezTo>
                      <a:pt x="217667" y="257981"/>
                      <a:pt x="238902" y="230677"/>
                      <a:pt x="263173" y="209441"/>
                    </a:cubicBezTo>
                    <a:cubicBezTo>
                      <a:pt x="287442" y="188205"/>
                      <a:pt x="314744" y="170002"/>
                      <a:pt x="339016" y="148767"/>
                    </a:cubicBezTo>
                    <a:cubicBezTo>
                      <a:pt x="357217" y="124497"/>
                      <a:pt x="363285" y="118430"/>
                      <a:pt x="357217" y="9416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F3112423-E1C9-4702-B762-6A388E829229}"/>
                  </a:ext>
                </a:extLst>
              </p:cNvPr>
              <p:cNvSpPr/>
              <p:nvPr/>
            </p:nvSpPr>
            <p:spPr>
              <a:xfrm>
                <a:off x="23407456" y="9454336"/>
                <a:ext cx="145617" cy="136516"/>
              </a:xfrm>
              <a:custGeom>
                <a:avLst/>
                <a:gdLst>
                  <a:gd name="connsiteX0" fmla="*/ 24269 w 145617"/>
                  <a:gd name="connsiteY0" fmla="*/ 136517 h 136516"/>
                  <a:gd name="connsiteX1" fmla="*/ 9101 w 145617"/>
                  <a:gd name="connsiteY1" fmla="*/ 133483 h 136516"/>
                  <a:gd name="connsiteX2" fmla="*/ 0 w 145617"/>
                  <a:gd name="connsiteY2" fmla="*/ 118314 h 136516"/>
                  <a:gd name="connsiteX3" fmla="*/ 133482 w 145617"/>
                  <a:gd name="connsiteY3" fmla="*/ 0 h 136516"/>
                  <a:gd name="connsiteX4" fmla="*/ 139550 w 145617"/>
                  <a:gd name="connsiteY4" fmla="*/ 3034 h 136516"/>
                  <a:gd name="connsiteX5" fmla="*/ 136517 w 145617"/>
                  <a:gd name="connsiteY5" fmla="*/ 9101 h 136516"/>
                  <a:gd name="connsiteX6" fmla="*/ 9101 w 145617"/>
                  <a:gd name="connsiteY6" fmla="*/ 118314 h 136516"/>
                  <a:gd name="connsiteX7" fmla="*/ 12134 w 145617"/>
                  <a:gd name="connsiteY7" fmla="*/ 121348 h 136516"/>
                  <a:gd name="connsiteX8" fmla="*/ 69775 w 145617"/>
                  <a:gd name="connsiteY8" fmla="*/ 103146 h 136516"/>
                  <a:gd name="connsiteX9" fmla="*/ 139550 w 145617"/>
                  <a:gd name="connsiteY9" fmla="*/ 54606 h 136516"/>
                  <a:gd name="connsiteX10" fmla="*/ 145618 w 145617"/>
                  <a:gd name="connsiteY10" fmla="*/ 60674 h 136516"/>
                  <a:gd name="connsiteX11" fmla="*/ 139550 w 145617"/>
                  <a:gd name="connsiteY11" fmla="*/ 66742 h 136516"/>
                  <a:gd name="connsiteX12" fmla="*/ 75843 w 145617"/>
                  <a:gd name="connsiteY12" fmla="*/ 115281 h 136516"/>
                  <a:gd name="connsiteX13" fmla="*/ 24269 w 145617"/>
                  <a:gd name="connsiteY13" fmla="*/ 136517 h 136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5617" h="136516">
                    <a:moveTo>
                      <a:pt x="24269" y="136517"/>
                    </a:moveTo>
                    <a:cubicBezTo>
                      <a:pt x="18202" y="136517"/>
                      <a:pt x="15169" y="136517"/>
                      <a:pt x="9101" y="133483"/>
                    </a:cubicBezTo>
                    <a:cubicBezTo>
                      <a:pt x="3033" y="130449"/>
                      <a:pt x="0" y="124382"/>
                      <a:pt x="0" y="118314"/>
                    </a:cubicBezTo>
                    <a:cubicBezTo>
                      <a:pt x="0" y="91011"/>
                      <a:pt x="57639" y="42472"/>
                      <a:pt x="133482" y="0"/>
                    </a:cubicBezTo>
                    <a:cubicBezTo>
                      <a:pt x="136517" y="0"/>
                      <a:pt x="139550" y="0"/>
                      <a:pt x="139550" y="3034"/>
                    </a:cubicBezTo>
                    <a:cubicBezTo>
                      <a:pt x="139550" y="6067"/>
                      <a:pt x="139550" y="9101"/>
                      <a:pt x="136517" y="9101"/>
                    </a:cubicBezTo>
                    <a:cubicBezTo>
                      <a:pt x="48539" y="57640"/>
                      <a:pt x="9101" y="100112"/>
                      <a:pt x="9101" y="118314"/>
                    </a:cubicBezTo>
                    <a:cubicBezTo>
                      <a:pt x="9101" y="121348"/>
                      <a:pt x="9101" y="121348"/>
                      <a:pt x="12134" y="121348"/>
                    </a:cubicBezTo>
                    <a:cubicBezTo>
                      <a:pt x="27302" y="130449"/>
                      <a:pt x="57639" y="109214"/>
                      <a:pt x="69775" y="103146"/>
                    </a:cubicBezTo>
                    <a:cubicBezTo>
                      <a:pt x="81909" y="91011"/>
                      <a:pt x="127414" y="54606"/>
                      <a:pt x="139550" y="54606"/>
                    </a:cubicBezTo>
                    <a:cubicBezTo>
                      <a:pt x="142583" y="54606"/>
                      <a:pt x="145618" y="57640"/>
                      <a:pt x="145618" y="60674"/>
                    </a:cubicBezTo>
                    <a:cubicBezTo>
                      <a:pt x="145618" y="63708"/>
                      <a:pt x="142583" y="66742"/>
                      <a:pt x="139550" y="66742"/>
                    </a:cubicBezTo>
                    <a:cubicBezTo>
                      <a:pt x="133482" y="66742"/>
                      <a:pt x="100112" y="91011"/>
                      <a:pt x="75843" y="115281"/>
                    </a:cubicBezTo>
                    <a:cubicBezTo>
                      <a:pt x="75843" y="115281"/>
                      <a:pt x="48539" y="136517"/>
                      <a:pt x="24269" y="13651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BDA5F7C0-5B90-453A-BF08-D91A51839E7A}"/>
                  </a:ext>
                </a:extLst>
              </p:cNvPr>
              <p:cNvSpPr/>
              <p:nvPr/>
            </p:nvSpPr>
            <p:spPr>
              <a:xfrm>
                <a:off x="23453720" y="9551415"/>
                <a:ext cx="123623" cy="127415"/>
              </a:xfrm>
              <a:custGeom>
                <a:avLst/>
                <a:gdLst>
                  <a:gd name="connsiteX0" fmla="*/ 5308 w 123623"/>
                  <a:gd name="connsiteY0" fmla="*/ 127415 h 127415"/>
                  <a:gd name="connsiteX1" fmla="*/ 2275 w 123623"/>
                  <a:gd name="connsiteY1" fmla="*/ 127415 h 127415"/>
                  <a:gd name="connsiteX2" fmla="*/ 2275 w 123623"/>
                  <a:gd name="connsiteY2" fmla="*/ 118314 h 127415"/>
                  <a:gd name="connsiteX3" fmla="*/ 117555 w 123623"/>
                  <a:gd name="connsiteY3" fmla="*/ 0 h 127415"/>
                  <a:gd name="connsiteX4" fmla="*/ 123623 w 123623"/>
                  <a:gd name="connsiteY4" fmla="*/ 3033 h 127415"/>
                  <a:gd name="connsiteX5" fmla="*/ 120590 w 123623"/>
                  <a:gd name="connsiteY5" fmla="*/ 9101 h 127415"/>
                  <a:gd name="connsiteX6" fmla="*/ 11375 w 123623"/>
                  <a:gd name="connsiteY6" fmla="*/ 124381 h 127415"/>
                  <a:gd name="connsiteX7" fmla="*/ 5308 w 123623"/>
                  <a:gd name="connsiteY7" fmla="*/ 127415 h 127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3623" h="127415">
                    <a:moveTo>
                      <a:pt x="5308" y="127415"/>
                    </a:moveTo>
                    <a:cubicBezTo>
                      <a:pt x="5308" y="127415"/>
                      <a:pt x="2275" y="127415"/>
                      <a:pt x="2275" y="127415"/>
                    </a:cubicBezTo>
                    <a:cubicBezTo>
                      <a:pt x="-758" y="124381"/>
                      <a:pt x="-758" y="121348"/>
                      <a:pt x="2275" y="118314"/>
                    </a:cubicBezTo>
                    <a:cubicBezTo>
                      <a:pt x="5308" y="115281"/>
                      <a:pt x="84185" y="15169"/>
                      <a:pt x="117555" y="0"/>
                    </a:cubicBezTo>
                    <a:cubicBezTo>
                      <a:pt x="120590" y="0"/>
                      <a:pt x="123623" y="0"/>
                      <a:pt x="123623" y="3033"/>
                    </a:cubicBezTo>
                    <a:cubicBezTo>
                      <a:pt x="123623" y="6067"/>
                      <a:pt x="123623" y="9101"/>
                      <a:pt x="120590" y="9101"/>
                    </a:cubicBezTo>
                    <a:cubicBezTo>
                      <a:pt x="90253" y="24269"/>
                      <a:pt x="11375" y="124381"/>
                      <a:pt x="11375" y="124381"/>
                    </a:cubicBezTo>
                    <a:cubicBezTo>
                      <a:pt x="8343" y="127415"/>
                      <a:pt x="8343" y="127415"/>
                      <a:pt x="5308" y="12741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785596AA-5714-46A4-97D3-D6A4D173E22C}"/>
                  </a:ext>
                </a:extLst>
              </p:cNvPr>
              <p:cNvSpPr/>
              <p:nvPr/>
            </p:nvSpPr>
            <p:spPr>
              <a:xfrm>
                <a:off x="23578101" y="9582510"/>
                <a:ext cx="56124" cy="47780"/>
              </a:xfrm>
              <a:custGeom>
                <a:avLst/>
                <a:gdLst>
                  <a:gd name="connsiteX0" fmla="*/ 5310 w 56124"/>
                  <a:gd name="connsiteY0" fmla="*/ 47780 h 47780"/>
                  <a:gd name="connsiteX1" fmla="*/ 2275 w 56124"/>
                  <a:gd name="connsiteY1" fmla="*/ 44747 h 47780"/>
                  <a:gd name="connsiteX2" fmla="*/ 2275 w 56124"/>
                  <a:gd name="connsiteY2" fmla="*/ 35646 h 47780"/>
                  <a:gd name="connsiteX3" fmla="*/ 44747 w 56124"/>
                  <a:gd name="connsiteY3" fmla="*/ 2275 h 47780"/>
                  <a:gd name="connsiteX4" fmla="*/ 53848 w 56124"/>
                  <a:gd name="connsiteY4" fmla="*/ 2275 h 47780"/>
                  <a:gd name="connsiteX5" fmla="*/ 53848 w 56124"/>
                  <a:gd name="connsiteY5" fmla="*/ 11376 h 47780"/>
                  <a:gd name="connsiteX6" fmla="*/ 11377 w 56124"/>
                  <a:gd name="connsiteY6" fmla="*/ 44747 h 47780"/>
                  <a:gd name="connsiteX7" fmla="*/ 5310 w 56124"/>
                  <a:gd name="connsiteY7" fmla="*/ 47780 h 4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124" h="47780">
                    <a:moveTo>
                      <a:pt x="5310" y="47780"/>
                    </a:moveTo>
                    <a:cubicBezTo>
                      <a:pt x="2275" y="47780"/>
                      <a:pt x="2275" y="47780"/>
                      <a:pt x="2275" y="44747"/>
                    </a:cubicBezTo>
                    <a:cubicBezTo>
                      <a:pt x="-758" y="41713"/>
                      <a:pt x="-758" y="38680"/>
                      <a:pt x="2275" y="35646"/>
                    </a:cubicBezTo>
                    <a:lnTo>
                      <a:pt x="44747" y="2275"/>
                    </a:lnTo>
                    <a:cubicBezTo>
                      <a:pt x="47780" y="-758"/>
                      <a:pt x="50815" y="-758"/>
                      <a:pt x="53848" y="2275"/>
                    </a:cubicBezTo>
                    <a:cubicBezTo>
                      <a:pt x="56883" y="5309"/>
                      <a:pt x="56883" y="8343"/>
                      <a:pt x="53848" y="11376"/>
                    </a:cubicBezTo>
                    <a:lnTo>
                      <a:pt x="11377" y="44747"/>
                    </a:lnTo>
                    <a:cubicBezTo>
                      <a:pt x="8343" y="44747"/>
                      <a:pt x="5310" y="47780"/>
                      <a:pt x="5310" y="4778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905172C1-BC43-426B-9D57-FB8EA48F4B58}"/>
                  </a:ext>
                </a:extLst>
              </p:cNvPr>
              <p:cNvSpPr/>
              <p:nvPr/>
            </p:nvSpPr>
            <p:spPr>
              <a:xfrm>
                <a:off x="23598579" y="9472538"/>
                <a:ext cx="69774" cy="91011"/>
              </a:xfrm>
              <a:custGeom>
                <a:avLst/>
                <a:gdLst>
                  <a:gd name="connsiteX0" fmla="*/ 63707 w 69774"/>
                  <a:gd name="connsiteY0" fmla="*/ 91011 h 91011"/>
                  <a:gd name="connsiteX1" fmla="*/ 63707 w 69774"/>
                  <a:gd name="connsiteY1" fmla="*/ 91011 h 91011"/>
                  <a:gd name="connsiteX2" fmla="*/ 0 w 69774"/>
                  <a:gd name="connsiteY2" fmla="*/ 6067 h 91011"/>
                  <a:gd name="connsiteX3" fmla="*/ 3033 w 69774"/>
                  <a:gd name="connsiteY3" fmla="*/ 0 h 91011"/>
                  <a:gd name="connsiteX4" fmla="*/ 9101 w 69774"/>
                  <a:gd name="connsiteY4" fmla="*/ 3033 h 91011"/>
                  <a:gd name="connsiteX5" fmla="*/ 66742 w 69774"/>
                  <a:gd name="connsiteY5" fmla="*/ 78877 h 91011"/>
                  <a:gd name="connsiteX6" fmla="*/ 69775 w 69774"/>
                  <a:gd name="connsiteY6" fmla="*/ 87977 h 91011"/>
                  <a:gd name="connsiteX7" fmla="*/ 63707 w 69774"/>
                  <a:gd name="connsiteY7" fmla="*/ 91011 h 91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9774" h="91011">
                    <a:moveTo>
                      <a:pt x="63707" y="91011"/>
                    </a:moveTo>
                    <a:cubicBezTo>
                      <a:pt x="60674" y="91011"/>
                      <a:pt x="60674" y="91011"/>
                      <a:pt x="63707" y="91011"/>
                    </a:cubicBezTo>
                    <a:cubicBezTo>
                      <a:pt x="12134" y="60674"/>
                      <a:pt x="0" y="9101"/>
                      <a:pt x="0" y="6067"/>
                    </a:cubicBezTo>
                    <a:cubicBezTo>
                      <a:pt x="0" y="3033"/>
                      <a:pt x="0" y="0"/>
                      <a:pt x="3033" y="0"/>
                    </a:cubicBezTo>
                    <a:cubicBezTo>
                      <a:pt x="6068" y="0"/>
                      <a:pt x="9101" y="0"/>
                      <a:pt x="9101" y="3033"/>
                    </a:cubicBezTo>
                    <a:cubicBezTo>
                      <a:pt x="9101" y="3033"/>
                      <a:pt x="21236" y="54606"/>
                      <a:pt x="66742" y="78877"/>
                    </a:cubicBezTo>
                    <a:cubicBezTo>
                      <a:pt x="69775" y="81910"/>
                      <a:pt x="69775" y="84943"/>
                      <a:pt x="69775" y="87977"/>
                    </a:cubicBezTo>
                    <a:cubicBezTo>
                      <a:pt x="66742" y="91011"/>
                      <a:pt x="63707" y="91011"/>
                      <a:pt x="63707" y="9101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73AD7E44-5B58-488A-83B2-AE60881F3111}"/>
                </a:ext>
              </a:extLst>
            </p:cNvPr>
            <p:cNvSpPr/>
            <p:nvPr/>
          </p:nvSpPr>
          <p:spPr>
            <a:xfrm>
              <a:off x="24105209" y="8586695"/>
              <a:ext cx="77098" cy="582472"/>
            </a:xfrm>
            <a:custGeom>
              <a:avLst/>
              <a:gdLst>
                <a:gd name="connsiteX0" fmla="*/ 69775 w 77098"/>
                <a:gd name="connsiteY0" fmla="*/ 582472 h 582472"/>
                <a:gd name="connsiteX1" fmla="*/ 69775 w 77098"/>
                <a:gd name="connsiteY1" fmla="*/ 582472 h 582472"/>
                <a:gd name="connsiteX2" fmla="*/ 3033 w 77098"/>
                <a:gd name="connsiteY2" fmla="*/ 561236 h 582472"/>
                <a:gd name="connsiteX3" fmla="*/ 0 w 77098"/>
                <a:gd name="connsiteY3" fmla="*/ 555169 h 582472"/>
                <a:gd name="connsiteX4" fmla="*/ 30337 w 77098"/>
                <a:gd name="connsiteY4" fmla="*/ 0 h 582472"/>
                <a:gd name="connsiteX5" fmla="*/ 42471 w 77098"/>
                <a:gd name="connsiteY5" fmla="*/ 0 h 582472"/>
                <a:gd name="connsiteX6" fmla="*/ 15169 w 77098"/>
                <a:gd name="connsiteY6" fmla="*/ 552135 h 582472"/>
                <a:gd name="connsiteX7" fmla="*/ 72808 w 77098"/>
                <a:gd name="connsiteY7" fmla="*/ 570337 h 582472"/>
                <a:gd name="connsiteX8" fmla="*/ 75843 w 77098"/>
                <a:gd name="connsiteY8" fmla="*/ 576405 h 582472"/>
                <a:gd name="connsiteX9" fmla="*/ 69775 w 77098"/>
                <a:gd name="connsiteY9" fmla="*/ 582472 h 582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098" h="582472">
                  <a:moveTo>
                    <a:pt x="69775" y="582472"/>
                  </a:moveTo>
                  <a:cubicBezTo>
                    <a:pt x="69775" y="582472"/>
                    <a:pt x="66740" y="582472"/>
                    <a:pt x="69775" y="582472"/>
                  </a:cubicBezTo>
                  <a:cubicBezTo>
                    <a:pt x="48539" y="579438"/>
                    <a:pt x="6066" y="561236"/>
                    <a:pt x="3033" y="561236"/>
                  </a:cubicBezTo>
                  <a:cubicBezTo>
                    <a:pt x="0" y="561236"/>
                    <a:pt x="0" y="558203"/>
                    <a:pt x="0" y="555169"/>
                  </a:cubicBezTo>
                  <a:cubicBezTo>
                    <a:pt x="6066" y="467191"/>
                    <a:pt x="30337" y="0"/>
                    <a:pt x="30337" y="0"/>
                  </a:cubicBezTo>
                  <a:lnTo>
                    <a:pt x="42471" y="0"/>
                  </a:lnTo>
                  <a:cubicBezTo>
                    <a:pt x="42471" y="0"/>
                    <a:pt x="18202" y="452023"/>
                    <a:pt x="15169" y="552135"/>
                  </a:cubicBezTo>
                  <a:cubicBezTo>
                    <a:pt x="27302" y="555169"/>
                    <a:pt x="57639" y="567304"/>
                    <a:pt x="72808" y="570337"/>
                  </a:cubicBezTo>
                  <a:cubicBezTo>
                    <a:pt x="75843" y="570337"/>
                    <a:pt x="78876" y="573371"/>
                    <a:pt x="75843" y="576405"/>
                  </a:cubicBezTo>
                  <a:cubicBezTo>
                    <a:pt x="72808" y="582472"/>
                    <a:pt x="72808" y="582472"/>
                    <a:pt x="69775" y="582472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A099F5D8-E532-47DD-8F34-FE141E22B67F}"/>
                </a:ext>
              </a:extLst>
            </p:cNvPr>
            <p:cNvSpPr/>
            <p:nvPr/>
          </p:nvSpPr>
          <p:spPr>
            <a:xfrm>
              <a:off x="24071837" y="8210978"/>
              <a:ext cx="418651" cy="587527"/>
            </a:xfrm>
            <a:custGeom>
              <a:avLst/>
              <a:gdLst>
                <a:gd name="connsiteX0" fmla="*/ 418651 w 418651"/>
                <a:gd name="connsiteY0" fmla="*/ 575943 h 587527"/>
                <a:gd name="connsiteX1" fmla="*/ 254832 w 418651"/>
                <a:gd name="connsiteY1" fmla="*/ 2572 h 587527"/>
                <a:gd name="connsiteX2" fmla="*/ 0 w 418651"/>
                <a:gd name="connsiteY2" fmla="*/ 530437 h 587527"/>
                <a:gd name="connsiteX3" fmla="*/ 418651 w 418651"/>
                <a:gd name="connsiteY3" fmla="*/ 575943 h 587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651" h="587527">
                  <a:moveTo>
                    <a:pt x="418651" y="575943"/>
                  </a:moveTo>
                  <a:cubicBezTo>
                    <a:pt x="418651" y="575943"/>
                    <a:pt x="394382" y="42010"/>
                    <a:pt x="254832" y="2572"/>
                  </a:cubicBezTo>
                  <a:cubicBezTo>
                    <a:pt x="91011" y="-42933"/>
                    <a:pt x="0" y="530437"/>
                    <a:pt x="0" y="530437"/>
                  </a:cubicBezTo>
                  <a:cubicBezTo>
                    <a:pt x="0" y="530437"/>
                    <a:pt x="209327" y="618414"/>
                    <a:pt x="418651" y="575943"/>
                  </a:cubicBezTo>
                  <a:close/>
                </a:path>
              </a:pathLst>
            </a:custGeom>
            <a:solidFill>
              <a:srgbClr val="D16156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9454450A-B73D-4135-8B48-68A3B9AE0615}"/>
                </a:ext>
              </a:extLst>
            </p:cNvPr>
            <p:cNvSpPr/>
            <p:nvPr/>
          </p:nvSpPr>
          <p:spPr>
            <a:xfrm>
              <a:off x="24065769" y="8207482"/>
              <a:ext cx="424719" cy="603708"/>
            </a:xfrm>
            <a:custGeom>
              <a:avLst/>
              <a:gdLst>
                <a:gd name="connsiteX0" fmla="*/ 297305 w 424719"/>
                <a:gd name="connsiteY0" fmla="*/ 603708 h 603708"/>
                <a:gd name="connsiteX1" fmla="*/ 3035 w 424719"/>
                <a:gd name="connsiteY1" fmla="*/ 540000 h 603708"/>
                <a:gd name="connsiteX2" fmla="*/ 0 w 424719"/>
                <a:gd name="connsiteY2" fmla="*/ 536967 h 603708"/>
                <a:gd name="connsiteX3" fmla="*/ 0 w 424719"/>
                <a:gd name="connsiteY3" fmla="*/ 533933 h 603708"/>
                <a:gd name="connsiteX4" fmla="*/ 87978 w 424719"/>
                <a:gd name="connsiteY4" fmla="*/ 185056 h 603708"/>
                <a:gd name="connsiteX5" fmla="*/ 257865 w 424719"/>
                <a:gd name="connsiteY5" fmla="*/ 0 h 603708"/>
                <a:gd name="connsiteX6" fmla="*/ 263933 w 424719"/>
                <a:gd name="connsiteY6" fmla="*/ 6068 h 603708"/>
                <a:gd name="connsiteX7" fmla="*/ 257865 w 424719"/>
                <a:gd name="connsiteY7" fmla="*/ 12135 h 603708"/>
                <a:gd name="connsiteX8" fmla="*/ 97079 w 424719"/>
                <a:gd name="connsiteY8" fmla="*/ 191124 h 603708"/>
                <a:gd name="connsiteX9" fmla="*/ 9103 w 424719"/>
                <a:gd name="connsiteY9" fmla="*/ 533933 h 603708"/>
                <a:gd name="connsiteX10" fmla="*/ 415618 w 424719"/>
                <a:gd name="connsiteY10" fmla="*/ 579438 h 603708"/>
                <a:gd name="connsiteX11" fmla="*/ 382248 w 424719"/>
                <a:gd name="connsiteY11" fmla="*/ 285169 h 603708"/>
                <a:gd name="connsiteX12" fmla="*/ 385281 w 424719"/>
                <a:gd name="connsiteY12" fmla="*/ 279102 h 603708"/>
                <a:gd name="connsiteX13" fmla="*/ 391349 w 424719"/>
                <a:gd name="connsiteY13" fmla="*/ 282135 h 603708"/>
                <a:gd name="connsiteX14" fmla="*/ 424719 w 424719"/>
                <a:gd name="connsiteY14" fmla="*/ 582472 h 603708"/>
                <a:gd name="connsiteX15" fmla="*/ 424719 w 424719"/>
                <a:gd name="connsiteY15" fmla="*/ 585506 h 603708"/>
                <a:gd name="connsiteX16" fmla="*/ 421686 w 424719"/>
                <a:gd name="connsiteY16" fmla="*/ 585506 h 603708"/>
                <a:gd name="connsiteX17" fmla="*/ 297305 w 424719"/>
                <a:gd name="connsiteY17" fmla="*/ 603708 h 603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24719" h="603708">
                  <a:moveTo>
                    <a:pt x="297305" y="603708"/>
                  </a:moveTo>
                  <a:cubicBezTo>
                    <a:pt x="148652" y="603708"/>
                    <a:pt x="6068" y="540000"/>
                    <a:pt x="3035" y="540000"/>
                  </a:cubicBezTo>
                  <a:lnTo>
                    <a:pt x="0" y="536967"/>
                  </a:lnTo>
                  <a:lnTo>
                    <a:pt x="0" y="533933"/>
                  </a:lnTo>
                  <a:cubicBezTo>
                    <a:pt x="0" y="530899"/>
                    <a:pt x="36405" y="361012"/>
                    <a:pt x="87978" y="185056"/>
                  </a:cubicBezTo>
                  <a:cubicBezTo>
                    <a:pt x="142585" y="9101"/>
                    <a:pt x="254832" y="0"/>
                    <a:pt x="257865" y="0"/>
                  </a:cubicBezTo>
                  <a:cubicBezTo>
                    <a:pt x="260900" y="0"/>
                    <a:pt x="263933" y="3034"/>
                    <a:pt x="263933" y="6068"/>
                  </a:cubicBezTo>
                  <a:cubicBezTo>
                    <a:pt x="263933" y="9101"/>
                    <a:pt x="260900" y="12135"/>
                    <a:pt x="257865" y="12135"/>
                  </a:cubicBezTo>
                  <a:cubicBezTo>
                    <a:pt x="257865" y="12135"/>
                    <a:pt x="148652" y="21236"/>
                    <a:pt x="97079" y="191124"/>
                  </a:cubicBezTo>
                  <a:cubicBezTo>
                    <a:pt x="48540" y="348876"/>
                    <a:pt x="15169" y="506630"/>
                    <a:pt x="9103" y="533933"/>
                  </a:cubicBezTo>
                  <a:cubicBezTo>
                    <a:pt x="42473" y="546067"/>
                    <a:pt x="251799" y="631011"/>
                    <a:pt x="415618" y="579438"/>
                  </a:cubicBezTo>
                  <a:cubicBezTo>
                    <a:pt x="415618" y="552135"/>
                    <a:pt x="406518" y="391349"/>
                    <a:pt x="382248" y="285169"/>
                  </a:cubicBezTo>
                  <a:cubicBezTo>
                    <a:pt x="382248" y="282135"/>
                    <a:pt x="382248" y="279102"/>
                    <a:pt x="385281" y="279102"/>
                  </a:cubicBezTo>
                  <a:cubicBezTo>
                    <a:pt x="388316" y="279102"/>
                    <a:pt x="391349" y="279102"/>
                    <a:pt x="391349" y="282135"/>
                  </a:cubicBezTo>
                  <a:cubicBezTo>
                    <a:pt x="418653" y="400450"/>
                    <a:pt x="424719" y="582472"/>
                    <a:pt x="424719" y="582472"/>
                  </a:cubicBezTo>
                  <a:lnTo>
                    <a:pt x="424719" y="585506"/>
                  </a:lnTo>
                  <a:lnTo>
                    <a:pt x="421686" y="585506"/>
                  </a:lnTo>
                  <a:cubicBezTo>
                    <a:pt x="385281" y="597641"/>
                    <a:pt x="339776" y="603708"/>
                    <a:pt x="297305" y="603708"/>
                  </a:cubicBezTo>
                  <a:close/>
                </a:path>
              </a:pathLst>
            </a:custGeom>
            <a:solidFill>
              <a:srgbClr val="38343B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0" name="图形 1">
              <a:extLst>
                <a:ext uri="{FF2B5EF4-FFF2-40B4-BE49-F238E27FC236}">
                  <a16:creationId xmlns:a16="http://schemas.microsoft.com/office/drawing/2014/main" id="{A83EDAB3-9FB6-43F2-BE63-E839DED9A1CC}"/>
                </a:ext>
              </a:extLst>
            </p:cNvPr>
            <p:cNvGrpSpPr/>
            <p:nvPr/>
          </p:nvGrpSpPr>
          <p:grpSpPr>
            <a:xfrm>
              <a:off x="23464762" y="7409836"/>
              <a:ext cx="576737" cy="366315"/>
              <a:chOff x="23464762" y="7409836"/>
              <a:chExt cx="576737" cy="366315"/>
            </a:xfrm>
          </p:grpSpPr>
          <p:grpSp>
            <p:nvGrpSpPr>
              <p:cNvPr id="111" name="图形 1">
                <a:extLst>
                  <a:ext uri="{FF2B5EF4-FFF2-40B4-BE49-F238E27FC236}">
                    <a16:creationId xmlns:a16="http://schemas.microsoft.com/office/drawing/2014/main" id="{3D6D95E8-EE8A-496D-BDD5-D402E89C678A}"/>
                  </a:ext>
                </a:extLst>
              </p:cNvPr>
              <p:cNvGrpSpPr/>
              <p:nvPr/>
            </p:nvGrpSpPr>
            <p:grpSpPr>
              <a:xfrm>
                <a:off x="23464762" y="7418595"/>
                <a:ext cx="573704" cy="357555"/>
                <a:chOff x="23464762" y="7418595"/>
                <a:chExt cx="573704" cy="357555"/>
              </a:xfrm>
              <a:solidFill>
                <a:srgbClr val="D16156"/>
              </a:solidFill>
            </p:grpSpPr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3E5CD52F-9541-4060-8129-785141FA73DC}"/>
                    </a:ext>
                  </a:extLst>
                </p:cNvPr>
                <p:cNvSpPr/>
                <p:nvPr/>
              </p:nvSpPr>
              <p:spPr>
                <a:xfrm>
                  <a:off x="23534870" y="7418595"/>
                  <a:ext cx="503596" cy="281161"/>
                </a:xfrm>
                <a:custGeom>
                  <a:avLst/>
                  <a:gdLst>
                    <a:gd name="connsiteX0" fmla="*/ 0 w 503596"/>
                    <a:gd name="connsiteY0" fmla="*/ 242819 h 281161"/>
                    <a:gd name="connsiteX1" fmla="*/ 245731 w 503596"/>
                    <a:gd name="connsiteY1" fmla="*/ 122 h 281161"/>
                    <a:gd name="connsiteX2" fmla="*/ 503597 w 503596"/>
                    <a:gd name="connsiteY2" fmla="*/ 215516 h 281161"/>
                    <a:gd name="connsiteX3" fmla="*/ 106180 w 503596"/>
                    <a:gd name="connsiteY3" fmla="*/ 279224 h 281161"/>
                    <a:gd name="connsiteX4" fmla="*/ 0 w 503596"/>
                    <a:gd name="connsiteY4" fmla="*/ 242819 h 281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3596" h="281161">
                      <a:moveTo>
                        <a:pt x="0" y="242819"/>
                      </a:moveTo>
                      <a:cubicBezTo>
                        <a:pt x="0" y="242819"/>
                        <a:pt x="0" y="9224"/>
                        <a:pt x="245731" y="122"/>
                      </a:cubicBezTo>
                      <a:cubicBezTo>
                        <a:pt x="461124" y="-5945"/>
                        <a:pt x="503597" y="215516"/>
                        <a:pt x="503597" y="215516"/>
                      </a:cubicBezTo>
                      <a:cubicBezTo>
                        <a:pt x="503597" y="215516"/>
                        <a:pt x="266968" y="294392"/>
                        <a:pt x="106180" y="279224"/>
                      </a:cubicBezTo>
                      <a:cubicBezTo>
                        <a:pt x="63709" y="276190"/>
                        <a:pt x="27304" y="264055"/>
                        <a:pt x="0" y="24281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3F1D3D4F-35BA-4B6B-984F-394BEE775A07}"/>
                    </a:ext>
                  </a:extLst>
                </p:cNvPr>
                <p:cNvSpPr/>
                <p:nvPr/>
              </p:nvSpPr>
              <p:spPr>
                <a:xfrm>
                  <a:off x="23464762" y="7637145"/>
                  <a:ext cx="573704" cy="139006"/>
                </a:xfrm>
                <a:custGeom>
                  <a:avLst/>
                  <a:gdLst>
                    <a:gd name="connsiteX0" fmla="*/ 573705 w 573704"/>
                    <a:gd name="connsiteY0" fmla="*/ 3033 h 139006"/>
                    <a:gd name="connsiteX1" fmla="*/ 561569 w 573704"/>
                    <a:gd name="connsiteY1" fmla="*/ 24269 h 139006"/>
                    <a:gd name="connsiteX2" fmla="*/ 337076 w 573704"/>
                    <a:gd name="connsiteY2" fmla="*/ 109213 h 139006"/>
                    <a:gd name="connsiteX3" fmla="*/ 333 w 573704"/>
                    <a:gd name="connsiteY3" fmla="*/ 103146 h 139006"/>
                    <a:gd name="connsiteX4" fmla="*/ 73143 w 573704"/>
                    <a:gd name="connsiteY4" fmla="*/ 27303 h 139006"/>
                    <a:gd name="connsiteX5" fmla="*/ 573705 w 573704"/>
                    <a:gd name="connsiteY5" fmla="*/ 0 h 139006"/>
                    <a:gd name="connsiteX6" fmla="*/ 573705 w 573704"/>
                    <a:gd name="connsiteY6" fmla="*/ 3033 h 139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73704" h="139006">
                      <a:moveTo>
                        <a:pt x="573705" y="3033"/>
                      </a:moveTo>
                      <a:cubicBezTo>
                        <a:pt x="573705" y="12135"/>
                        <a:pt x="567637" y="18202"/>
                        <a:pt x="561569" y="24269"/>
                      </a:cubicBezTo>
                      <a:cubicBezTo>
                        <a:pt x="506963" y="63708"/>
                        <a:pt x="397750" y="91011"/>
                        <a:pt x="337076" y="109213"/>
                      </a:cubicBezTo>
                      <a:cubicBezTo>
                        <a:pt x="145951" y="160786"/>
                        <a:pt x="6401" y="136517"/>
                        <a:pt x="333" y="103146"/>
                      </a:cubicBezTo>
                      <a:cubicBezTo>
                        <a:pt x="-5735" y="69775"/>
                        <a:pt x="73143" y="27303"/>
                        <a:pt x="73143" y="27303"/>
                      </a:cubicBezTo>
                      <a:cubicBezTo>
                        <a:pt x="73143" y="27303"/>
                        <a:pt x="136850" y="75843"/>
                        <a:pt x="573705" y="0"/>
                      </a:cubicBezTo>
                      <a:lnTo>
                        <a:pt x="573705" y="3033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6E408BBF-A306-4E26-A71B-35E245C5A03A}"/>
                  </a:ext>
                </a:extLst>
              </p:cNvPr>
              <p:cNvSpPr/>
              <p:nvPr/>
            </p:nvSpPr>
            <p:spPr>
              <a:xfrm>
                <a:off x="23529563" y="7631077"/>
                <a:ext cx="511937" cy="48539"/>
              </a:xfrm>
              <a:custGeom>
                <a:avLst/>
                <a:gdLst>
                  <a:gd name="connsiteX0" fmla="*/ 99354 w 511937"/>
                  <a:gd name="connsiteY0" fmla="*/ 48540 h 48539"/>
                  <a:gd name="connsiteX1" fmla="*/ 2275 w 511937"/>
                  <a:gd name="connsiteY1" fmla="*/ 36405 h 48539"/>
                  <a:gd name="connsiteX2" fmla="*/ 2275 w 511937"/>
                  <a:gd name="connsiteY2" fmla="*/ 27304 h 48539"/>
                  <a:gd name="connsiteX3" fmla="*/ 8343 w 511937"/>
                  <a:gd name="connsiteY3" fmla="*/ 27304 h 48539"/>
                  <a:gd name="connsiteX4" fmla="*/ 505870 w 511937"/>
                  <a:gd name="connsiteY4" fmla="*/ 0 h 48539"/>
                  <a:gd name="connsiteX5" fmla="*/ 511937 w 511937"/>
                  <a:gd name="connsiteY5" fmla="*/ 6068 h 48539"/>
                  <a:gd name="connsiteX6" fmla="*/ 505870 w 511937"/>
                  <a:gd name="connsiteY6" fmla="*/ 12135 h 48539"/>
                  <a:gd name="connsiteX7" fmla="*/ 99354 w 511937"/>
                  <a:gd name="connsiteY7" fmla="*/ 48540 h 4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1937" h="48539">
                    <a:moveTo>
                      <a:pt x="99354" y="48540"/>
                    </a:moveTo>
                    <a:cubicBezTo>
                      <a:pt x="17443" y="48540"/>
                      <a:pt x="5308" y="36405"/>
                      <a:pt x="2275" y="36405"/>
                    </a:cubicBezTo>
                    <a:cubicBezTo>
                      <a:pt x="-758" y="33371"/>
                      <a:pt x="-758" y="30337"/>
                      <a:pt x="2275" y="27304"/>
                    </a:cubicBezTo>
                    <a:cubicBezTo>
                      <a:pt x="5308" y="24270"/>
                      <a:pt x="8343" y="24270"/>
                      <a:pt x="8343" y="27304"/>
                    </a:cubicBezTo>
                    <a:cubicBezTo>
                      <a:pt x="11375" y="30337"/>
                      <a:pt x="59916" y="60674"/>
                      <a:pt x="505870" y="0"/>
                    </a:cubicBezTo>
                    <a:cubicBezTo>
                      <a:pt x="508904" y="0"/>
                      <a:pt x="511937" y="3034"/>
                      <a:pt x="511937" y="6068"/>
                    </a:cubicBezTo>
                    <a:cubicBezTo>
                      <a:pt x="511937" y="9101"/>
                      <a:pt x="508904" y="12135"/>
                      <a:pt x="505870" y="12135"/>
                    </a:cubicBezTo>
                    <a:cubicBezTo>
                      <a:pt x="293510" y="39438"/>
                      <a:pt x="169129" y="48540"/>
                      <a:pt x="99354" y="4854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9AE754E2-4D2B-4136-ADB5-9C43216C3F9B}"/>
                  </a:ext>
                </a:extLst>
              </p:cNvPr>
              <p:cNvSpPr/>
              <p:nvPr/>
            </p:nvSpPr>
            <p:spPr>
              <a:xfrm>
                <a:off x="23624421" y="7409836"/>
                <a:ext cx="274494" cy="263713"/>
              </a:xfrm>
              <a:custGeom>
                <a:avLst/>
                <a:gdLst>
                  <a:gd name="connsiteX0" fmla="*/ 10563 w 274494"/>
                  <a:gd name="connsiteY0" fmla="*/ 263713 h 263713"/>
                  <a:gd name="connsiteX1" fmla="*/ 4495 w 274494"/>
                  <a:gd name="connsiteY1" fmla="*/ 257646 h 263713"/>
                  <a:gd name="connsiteX2" fmla="*/ 62135 w 274494"/>
                  <a:gd name="connsiteY2" fmla="*/ 17983 h 263713"/>
                  <a:gd name="connsiteX3" fmla="*/ 65169 w 274494"/>
                  <a:gd name="connsiteY3" fmla="*/ 17983 h 263713"/>
                  <a:gd name="connsiteX4" fmla="*/ 271461 w 274494"/>
                  <a:gd name="connsiteY4" fmla="*/ 24050 h 263713"/>
                  <a:gd name="connsiteX5" fmla="*/ 274494 w 274494"/>
                  <a:gd name="connsiteY5" fmla="*/ 27084 h 263713"/>
                  <a:gd name="connsiteX6" fmla="*/ 271461 w 274494"/>
                  <a:gd name="connsiteY6" fmla="*/ 33151 h 263713"/>
                  <a:gd name="connsiteX7" fmla="*/ 165281 w 274494"/>
                  <a:gd name="connsiteY7" fmla="*/ 251578 h 263713"/>
                  <a:gd name="connsiteX8" fmla="*/ 159214 w 274494"/>
                  <a:gd name="connsiteY8" fmla="*/ 257646 h 263713"/>
                  <a:gd name="connsiteX9" fmla="*/ 153146 w 274494"/>
                  <a:gd name="connsiteY9" fmla="*/ 251578 h 263713"/>
                  <a:gd name="connsiteX10" fmla="*/ 256293 w 274494"/>
                  <a:gd name="connsiteY10" fmla="*/ 27084 h 263713"/>
                  <a:gd name="connsiteX11" fmla="*/ 68202 w 274494"/>
                  <a:gd name="connsiteY11" fmla="*/ 24050 h 263713"/>
                  <a:gd name="connsiteX12" fmla="*/ 13596 w 274494"/>
                  <a:gd name="connsiteY12" fmla="*/ 251578 h 263713"/>
                  <a:gd name="connsiteX13" fmla="*/ 10563 w 274494"/>
                  <a:gd name="connsiteY13" fmla="*/ 263713 h 263713"/>
                  <a:gd name="connsiteX14" fmla="*/ 10563 w 274494"/>
                  <a:gd name="connsiteY14" fmla="*/ 263713 h 263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74494" h="263713">
                    <a:moveTo>
                      <a:pt x="10563" y="263713"/>
                    </a:moveTo>
                    <a:cubicBezTo>
                      <a:pt x="7528" y="263713"/>
                      <a:pt x="4495" y="260680"/>
                      <a:pt x="4495" y="257646"/>
                    </a:cubicBezTo>
                    <a:cubicBezTo>
                      <a:pt x="-19774" y="112028"/>
                      <a:pt x="62135" y="21017"/>
                      <a:pt x="62135" y="17983"/>
                    </a:cubicBezTo>
                    <a:cubicBezTo>
                      <a:pt x="62135" y="17983"/>
                      <a:pt x="62135" y="17983"/>
                      <a:pt x="65169" y="17983"/>
                    </a:cubicBezTo>
                    <a:cubicBezTo>
                      <a:pt x="68202" y="14949"/>
                      <a:pt x="174382" y="-24489"/>
                      <a:pt x="271461" y="24050"/>
                    </a:cubicBezTo>
                    <a:cubicBezTo>
                      <a:pt x="274494" y="24050"/>
                      <a:pt x="274494" y="27084"/>
                      <a:pt x="274494" y="27084"/>
                    </a:cubicBezTo>
                    <a:cubicBezTo>
                      <a:pt x="274494" y="30118"/>
                      <a:pt x="274494" y="30118"/>
                      <a:pt x="271461" y="33151"/>
                    </a:cubicBezTo>
                    <a:cubicBezTo>
                      <a:pt x="271461" y="33151"/>
                      <a:pt x="150113" y="127197"/>
                      <a:pt x="165281" y="251578"/>
                    </a:cubicBezTo>
                    <a:cubicBezTo>
                      <a:pt x="165281" y="254612"/>
                      <a:pt x="162248" y="257646"/>
                      <a:pt x="159214" y="257646"/>
                    </a:cubicBezTo>
                    <a:cubicBezTo>
                      <a:pt x="156181" y="257646"/>
                      <a:pt x="153146" y="254612"/>
                      <a:pt x="153146" y="251578"/>
                    </a:cubicBezTo>
                    <a:cubicBezTo>
                      <a:pt x="137977" y="139331"/>
                      <a:pt x="228989" y="51354"/>
                      <a:pt x="256293" y="27084"/>
                    </a:cubicBezTo>
                    <a:cubicBezTo>
                      <a:pt x="174382" y="-9320"/>
                      <a:pt x="80338" y="21017"/>
                      <a:pt x="68202" y="24050"/>
                    </a:cubicBezTo>
                    <a:cubicBezTo>
                      <a:pt x="59102" y="33151"/>
                      <a:pt x="-10673" y="121129"/>
                      <a:pt x="13596" y="251578"/>
                    </a:cubicBezTo>
                    <a:cubicBezTo>
                      <a:pt x="16629" y="260680"/>
                      <a:pt x="13596" y="263713"/>
                      <a:pt x="10563" y="263713"/>
                    </a:cubicBezTo>
                    <a:cubicBezTo>
                      <a:pt x="10563" y="263713"/>
                      <a:pt x="10563" y="263713"/>
                      <a:pt x="10563" y="26371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1" name="图形 1">
              <a:extLst>
                <a:ext uri="{FF2B5EF4-FFF2-40B4-BE49-F238E27FC236}">
                  <a16:creationId xmlns:a16="http://schemas.microsoft.com/office/drawing/2014/main" id="{5E0A95A0-5F2A-4A25-9F89-F84FBDF58FEE}"/>
                </a:ext>
              </a:extLst>
            </p:cNvPr>
            <p:cNvGrpSpPr/>
            <p:nvPr/>
          </p:nvGrpSpPr>
          <p:grpSpPr>
            <a:xfrm>
              <a:off x="23128355" y="9984428"/>
              <a:ext cx="191123" cy="194964"/>
              <a:chOff x="23128355" y="9984428"/>
              <a:chExt cx="191123" cy="194964"/>
            </a:xfrm>
          </p:grpSpPr>
          <p:grpSp>
            <p:nvGrpSpPr>
              <p:cNvPr id="103" name="图形 1">
                <a:extLst>
                  <a:ext uri="{FF2B5EF4-FFF2-40B4-BE49-F238E27FC236}">
                    <a16:creationId xmlns:a16="http://schemas.microsoft.com/office/drawing/2014/main" id="{0442C082-5C98-4756-B426-AAE70DC12C68}"/>
                  </a:ext>
                </a:extLst>
              </p:cNvPr>
              <p:cNvGrpSpPr/>
              <p:nvPr/>
            </p:nvGrpSpPr>
            <p:grpSpPr>
              <a:xfrm>
                <a:off x="23128355" y="9993509"/>
                <a:ext cx="179466" cy="185882"/>
                <a:chOff x="23128355" y="9993509"/>
                <a:chExt cx="179466" cy="185882"/>
              </a:xfrm>
            </p:grpSpPr>
            <p:sp>
              <p:nvSpPr>
                <p:cNvPr id="105" name="任意多边形: 形状 104">
                  <a:extLst>
                    <a:ext uri="{FF2B5EF4-FFF2-40B4-BE49-F238E27FC236}">
                      <a16:creationId xmlns:a16="http://schemas.microsoft.com/office/drawing/2014/main" id="{139646DE-07E8-4A63-888A-EA830290236A}"/>
                    </a:ext>
                  </a:extLst>
                </p:cNvPr>
                <p:cNvSpPr/>
                <p:nvPr/>
              </p:nvSpPr>
              <p:spPr>
                <a:xfrm>
                  <a:off x="23128355" y="10068525"/>
                  <a:ext cx="101745" cy="107833"/>
                </a:xfrm>
                <a:custGeom>
                  <a:avLst/>
                  <a:gdLst>
                    <a:gd name="connsiteX0" fmla="*/ 0 w 101745"/>
                    <a:gd name="connsiteY0" fmla="*/ 31990 h 107833"/>
                    <a:gd name="connsiteX1" fmla="*/ 48539 w 101745"/>
                    <a:gd name="connsiteY1" fmla="*/ 92665 h 107833"/>
                    <a:gd name="connsiteX2" fmla="*/ 54606 w 101745"/>
                    <a:gd name="connsiteY2" fmla="*/ 101766 h 107833"/>
                    <a:gd name="connsiteX3" fmla="*/ 66742 w 101745"/>
                    <a:gd name="connsiteY3" fmla="*/ 107833 h 107833"/>
                    <a:gd name="connsiteX4" fmla="*/ 100112 w 101745"/>
                    <a:gd name="connsiteY4" fmla="*/ 83564 h 107833"/>
                    <a:gd name="connsiteX5" fmla="*/ 84943 w 101745"/>
                    <a:gd name="connsiteY5" fmla="*/ 47159 h 107833"/>
                    <a:gd name="connsiteX6" fmla="*/ 51573 w 101745"/>
                    <a:gd name="connsiteY6" fmla="*/ 13789 h 107833"/>
                    <a:gd name="connsiteX7" fmla="*/ 18202 w 101745"/>
                    <a:gd name="connsiteY7" fmla="*/ 1653 h 107833"/>
                    <a:gd name="connsiteX8" fmla="*/ 0 w 101745"/>
                    <a:gd name="connsiteY8" fmla="*/ 31990 h 107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1745" h="107833">
                      <a:moveTo>
                        <a:pt x="0" y="31990"/>
                      </a:moveTo>
                      <a:cubicBezTo>
                        <a:pt x="3033" y="59295"/>
                        <a:pt x="27302" y="71429"/>
                        <a:pt x="48539" y="92665"/>
                      </a:cubicBezTo>
                      <a:cubicBezTo>
                        <a:pt x="51573" y="95699"/>
                        <a:pt x="54606" y="101766"/>
                        <a:pt x="54606" y="101766"/>
                      </a:cubicBezTo>
                      <a:cubicBezTo>
                        <a:pt x="57639" y="104800"/>
                        <a:pt x="60674" y="104800"/>
                        <a:pt x="66742" y="107833"/>
                      </a:cubicBezTo>
                      <a:cubicBezTo>
                        <a:pt x="78876" y="107833"/>
                        <a:pt x="94044" y="98732"/>
                        <a:pt x="100112" y="83564"/>
                      </a:cubicBezTo>
                      <a:cubicBezTo>
                        <a:pt x="106180" y="65361"/>
                        <a:pt x="94044" y="56261"/>
                        <a:pt x="84943" y="47159"/>
                      </a:cubicBezTo>
                      <a:cubicBezTo>
                        <a:pt x="75843" y="35024"/>
                        <a:pt x="63707" y="22890"/>
                        <a:pt x="51573" y="13789"/>
                      </a:cubicBezTo>
                      <a:cubicBezTo>
                        <a:pt x="42471" y="7721"/>
                        <a:pt x="33370" y="-4413"/>
                        <a:pt x="18202" y="1653"/>
                      </a:cubicBezTo>
                      <a:cubicBezTo>
                        <a:pt x="9101" y="4687"/>
                        <a:pt x="0" y="19856"/>
                        <a:pt x="0" y="31990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6" name="任意多边形: 形状 105">
                  <a:extLst>
                    <a:ext uri="{FF2B5EF4-FFF2-40B4-BE49-F238E27FC236}">
                      <a16:creationId xmlns:a16="http://schemas.microsoft.com/office/drawing/2014/main" id="{721546B5-3F1B-4FD5-8F3D-56BB53181B7F}"/>
                    </a:ext>
                  </a:extLst>
                </p:cNvPr>
                <p:cNvSpPr/>
                <p:nvPr/>
              </p:nvSpPr>
              <p:spPr>
                <a:xfrm>
                  <a:off x="23167792" y="10041222"/>
                  <a:ext cx="101745" cy="107833"/>
                </a:xfrm>
                <a:custGeom>
                  <a:avLst/>
                  <a:gdLst>
                    <a:gd name="connsiteX0" fmla="*/ 0 w 101745"/>
                    <a:gd name="connsiteY0" fmla="*/ 31990 h 107833"/>
                    <a:gd name="connsiteX1" fmla="*/ 48539 w 101745"/>
                    <a:gd name="connsiteY1" fmla="*/ 98732 h 107833"/>
                    <a:gd name="connsiteX2" fmla="*/ 54606 w 101745"/>
                    <a:gd name="connsiteY2" fmla="*/ 101766 h 107833"/>
                    <a:gd name="connsiteX3" fmla="*/ 66742 w 101745"/>
                    <a:gd name="connsiteY3" fmla="*/ 107833 h 107833"/>
                    <a:gd name="connsiteX4" fmla="*/ 100112 w 101745"/>
                    <a:gd name="connsiteY4" fmla="*/ 83564 h 107833"/>
                    <a:gd name="connsiteX5" fmla="*/ 84943 w 101745"/>
                    <a:gd name="connsiteY5" fmla="*/ 47159 h 107833"/>
                    <a:gd name="connsiteX6" fmla="*/ 51573 w 101745"/>
                    <a:gd name="connsiteY6" fmla="*/ 13788 h 107833"/>
                    <a:gd name="connsiteX7" fmla="*/ 18202 w 101745"/>
                    <a:gd name="connsiteY7" fmla="*/ 1653 h 107833"/>
                    <a:gd name="connsiteX8" fmla="*/ 0 w 101745"/>
                    <a:gd name="connsiteY8" fmla="*/ 31990 h 107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1745" h="107833">
                      <a:moveTo>
                        <a:pt x="0" y="31990"/>
                      </a:moveTo>
                      <a:cubicBezTo>
                        <a:pt x="0" y="68395"/>
                        <a:pt x="30337" y="77496"/>
                        <a:pt x="48539" y="98732"/>
                      </a:cubicBezTo>
                      <a:cubicBezTo>
                        <a:pt x="51573" y="101766"/>
                        <a:pt x="51573" y="101766"/>
                        <a:pt x="54606" y="101766"/>
                      </a:cubicBezTo>
                      <a:cubicBezTo>
                        <a:pt x="57641" y="104799"/>
                        <a:pt x="60674" y="104799"/>
                        <a:pt x="66742" y="107833"/>
                      </a:cubicBezTo>
                      <a:cubicBezTo>
                        <a:pt x="78876" y="107833"/>
                        <a:pt x="94044" y="98732"/>
                        <a:pt x="100112" y="83564"/>
                      </a:cubicBezTo>
                      <a:cubicBezTo>
                        <a:pt x="106180" y="65361"/>
                        <a:pt x="94044" y="56261"/>
                        <a:pt x="84943" y="47159"/>
                      </a:cubicBezTo>
                      <a:cubicBezTo>
                        <a:pt x="75843" y="35024"/>
                        <a:pt x="63707" y="22890"/>
                        <a:pt x="51573" y="13788"/>
                      </a:cubicBezTo>
                      <a:cubicBezTo>
                        <a:pt x="42473" y="7721"/>
                        <a:pt x="33370" y="-4413"/>
                        <a:pt x="18202" y="1653"/>
                      </a:cubicBezTo>
                      <a:cubicBezTo>
                        <a:pt x="6068" y="4687"/>
                        <a:pt x="0" y="19856"/>
                        <a:pt x="0" y="31990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7" name="任意多边形: 形状 106">
                  <a:extLst>
                    <a:ext uri="{FF2B5EF4-FFF2-40B4-BE49-F238E27FC236}">
                      <a16:creationId xmlns:a16="http://schemas.microsoft.com/office/drawing/2014/main" id="{18C26C11-7856-4FA2-9F4C-C38437C20F5D}"/>
                    </a:ext>
                  </a:extLst>
                </p:cNvPr>
                <p:cNvSpPr/>
                <p:nvPr/>
              </p:nvSpPr>
              <p:spPr>
                <a:xfrm>
                  <a:off x="23201162" y="10011935"/>
                  <a:ext cx="89632" cy="97681"/>
                </a:xfrm>
                <a:custGeom>
                  <a:avLst/>
                  <a:gdLst>
                    <a:gd name="connsiteX0" fmla="*/ 0 w 89632"/>
                    <a:gd name="connsiteY0" fmla="*/ 30940 h 97681"/>
                    <a:gd name="connsiteX1" fmla="*/ 42473 w 89632"/>
                    <a:gd name="connsiteY1" fmla="*/ 91614 h 97681"/>
                    <a:gd name="connsiteX2" fmla="*/ 48540 w 89632"/>
                    <a:gd name="connsiteY2" fmla="*/ 94648 h 97681"/>
                    <a:gd name="connsiteX3" fmla="*/ 57641 w 89632"/>
                    <a:gd name="connsiteY3" fmla="*/ 97682 h 97681"/>
                    <a:gd name="connsiteX4" fmla="*/ 87978 w 89632"/>
                    <a:gd name="connsiteY4" fmla="*/ 76445 h 97681"/>
                    <a:gd name="connsiteX5" fmla="*/ 75843 w 89632"/>
                    <a:gd name="connsiteY5" fmla="*/ 43074 h 97681"/>
                    <a:gd name="connsiteX6" fmla="*/ 45506 w 89632"/>
                    <a:gd name="connsiteY6" fmla="*/ 12737 h 97681"/>
                    <a:gd name="connsiteX7" fmla="*/ 18203 w 89632"/>
                    <a:gd name="connsiteY7" fmla="*/ 603 h 97681"/>
                    <a:gd name="connsiteX8" fmla="*/ 0 w 89632"/>
                    <a:gd name="connsiteY8" fmla="*/ 30940 h 97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9632" h="97681">
                      <a:moveTo>
                        <a:pt x="0" y="30940"/>
                      </a:moveTo>
                      <a:cubicBezTo>
                        <a:pt x="0" y="64311"/>
                        <a:pt x="24271" y="73411"/>
                        <a:pt x="42473" y="91614"/>
                      </a:cubicBezTo>
                      <a:cubicBezTo>
                        <a:pt x="42473" y="94648"/>
                        <a:pt x="45506" y="94648"/>
                        <a:pt x="48540" y="94648"/>
                      </a:cubicBezTo>
                      <a:cubicBezTo>
                        <a:pt x="51573" y="97682"/>
                        <a:pt x="54608" y="97682"/>
                        <a:pt x="57641" y="97682"/>
                      </a:cubicBezTo>
                      <a:cubicBezTo>
                        <a:pt x="66742" y="97682"/>
                        <a:pt x="81910" y="91614"/>
                        <a:pt x="87978" y="76445"/>
                      </a:cubicBezTo>
                      <a:cubicBezTo>
                        <a:pt x="94046" y="61277"/>
                        <a:pt x="81910" y="52176"/>
                        <a:pt x="75843" y="43074"/>
                      </a:cubicBezTo>
                      <a:cubicBezTo>
                        <a:pt x="66742" y="30940"/>
                        <a:pt x="57641" y="21839"/>
                        <a:pt x="45506" y="12737"/>
                      </a:cubicBezTo>
                      <a:cubicBezTo>
                        <a:pt x="39440" y="6670"/>
                        <a:pt x="30337" y="-2431"/>
                        <a:pt x="18203" y="603"/>
                      </a:cubicBezTo>
                      <a:cubicBezTo>
                        <a:pt x="6068" y="6670"/>
                        <a:pt x="0" y="18805"/>
                        <a:pt x="0" y="30940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8" name="任意多边形: 形状 107">
                  <a:extLst>
                    <a:ext uri="{FF2B5EF4-FFF2-40B4-BE49-F238E27FC236}">
                      <a16:creationId xmlns:a16="http://schemas.microsoft.com/office/drawing/2014/main" id="{C918486B-866D-4039-85C0-6B15AC18277B}"/>
                    </a:ext>
                  </a:extLst>
                </p:cNvPr>
                <p:cNvSpPr/>
                <p:nvPr/>
              </p:nvSpPr>
              <p:spPr>
                <a:xfrm>
                  <a:off x="23225434" y="9993509"/>
                  <a:ext cx="82387" cy="73636"/>
                </a:xfrm>
                <a:custGeom>
                  <a:avLst/>
                  <a:gdLst>
                    <a:gd name="connsiteX0" fmla="*/ 0 w 82387"/>
                    <a:gd name="connsiteY0" fmla="*/ 22063 h 73636"/>
                    <a:gd name="connsiteX1" fmla="*/ 42471 w 82387"/>
                    <a:gd name="connsiteY1" fmla="*/ 67568 h 73636"/>
                    <a:gd name="connsiteX2" fmla="*/ 45506 w 82387"/>
                    <a:gd name="connsiteY2" fmla="*/ 70602 h 73636"/>
                    <a:gd name="connsiteX3" fmla="*/ 51572 w 82387"/>
                    <a:gd name="connsiteY3" fmla="*/ 73636 h 73636"/>
                    <a:gd name="connsiteX4" fmla="*/ 81909 w 82387"/>
                    <a:gd name="connsiteY4" fmla="*/ 58468 h 73636"/>
                    <a:gd name="connsiteX5" fmla="*/ 66740 w 82387"/>
                    <a:gd name="connsiteY5" fmla="*/ 28131 h 73636"/>
                    <a:gd name="connsiteX6" fmla="*/ 42471 w 82387"/>
                    <a:gd name="connsiteY6" fmla="*/ 6894 h 73636"/>
                    <a:gd name="connsiteX7" fmla="*/ 18202 w 82387"/>
                    <a:gd name="connsiteY7" fmla="*/ 827 h 73636"/>
                    <a:gd name="connsiteX8" fmla="*/ 0 w 82387"/>
                    <a:gd name="connsiteY8" fmla="*/ 22063 h 73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2387" h="73636">
                      <a:moveTo>
                        <a:pt x="0" y="22063"/>
                      </a:moveTo>
                      <a:cubicBezTo>
                        <a:pt x="0" y="46332"/>
                        <a:pt x="30337" y="55434"/>
                        <a:pt x="42471" y="67568"/>
                      </a:cubicBezTo>
                      <a:cubicBezTo>
                        <a:pt x="42471" y="67568"/>
                        <a:pt x="45506" y="70602"/>
                        <a:pt x="45506" y="70602"/>
                      </a:cubicBezTo>
                      <a:cubicBezTo>
                        <a:pt x="48539" y="73636"/>
                        <a:pt x="48539" y="73636"/>
                        <a:pt x="51572" y="73636"/>
                      </a:cubicBezTo>
                      <a:cubicBezTo>
                        <a:pt x="60674" y="73636"/>
                        <a:pt x="78876" y="67568"/>
                        <a:pt x="81909" y="58468"/>
                      </a:cubicBezTo>
                      <a:cubicBezTo>
                        <a:pt x="84943" y="46332"/>
                        <a:pt x="72808" y="34197"/>
                        <a:pt x="66740" y="28131"/>
                      </a:cubicBezTo>
                      <a:cubicBezTo>
                        <a:pt x="60674" y="19029"/>
                        <a:pt x="48539" y="12962"/>
                        <a:pt x="42471" y="6894"/>
                      </a:cubicBezTo>
                      <a:cubicBezTo>
                        <a:pt x="36403" y="3860"/>
                        <a:pt x="27302" y="-2206"/>
                        <a:pt x="18202" y="827"/>
                      </a:cubicBezTo>
                      <a:cubicBezTo>
                        <a:pt x="9101" y="3860"/>
                        <a:pt x="0" y="15995"/>
                        <a:pt x="0" y="22063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9" name="任意多边形: 形状 108">
                  <a:extLst>
                    <a:ext uri="{FF2B5EF4-FFF2-40B4-BE49-F238E27FC236}">
                      <a16:creationId xmlns:a16="http://schemas.microsoft.com/office/drawing/2014/main" id="{37E1E38C-6B8F-443E-B13B-F77DA58CADD4}"/>
                    </a:ext>
                  </a:extLst>
                </p:cNvPr>
                <p:cNvSpPr/>
                <p:nvPr/>
              </p:nvSpPr>
              <p:spPr>
                <a:xfrm>
                  <a:off x="23139140" y="10039841"/>
                  <a:ext cx="131940" cy="139550"/>
                </a:xfrm>
                <a:custGeom>
                  <a:avLst/>
                  <a:gdLst>
                    <a:gd name="connsiteX0" fmla="*/ 65057 w 131940"/>
                    <a:gd name="connsiteY0" fmla="*/ 139551 h 139550"/>
                    <a:gd name="connsiteX1" fmla="*/ 1348 w 131940"/>
                    <a:gd name="connsiteY1" fmla="*/ 91011 h 139550"/>
                    <a:gd name="connsiteX2" fmla="*/ 1348 w 131940"/>
                    <a:gd name="connsiteY2" fmla="*/ 81910 h 139550"/>
                    <a:gd name="connsiteX3" fmla="*/ 10451 w 131940"/>
                    <a:gd name="connsiteY3" fmla="*/ 81910 h 139550"/>
                    <a:gd name="connsiteX4" fmla="*/ 65057 w 131940"/>
                    <a:gd name="connsiteY4" fmla="*/ 127416 h 139550"/>
                    <a:gd name="connsiteX5" fmla="*/ 65057 w 131940"/>
                    <a:gd name="connsiteY5" fmla="*/ 127416 h 139550"/>
                    <a:gd name="connsiteX6" fmla="*/ 74158 w 131940"/>
                    <a:gd name="connsiteY6" fmla="*/ 121348 h 139550"/>
                    <a:gd name="connsiteX7" fmla="*/ 22584 w 131940"/>
                    <a:gd name="connsiteY7" fmla="*/ 39439 h 139550"/>
                    <a:gd name="connsiteX8" fmla="*/ 16517 w 131940"/>
                    <a:gd name="connsiteY8" fmla="*/ 30337 h 139550"/>
                    <a:gd name="connsiteX9" fmla="*/ 28652 w 131940"/>
                    <a:gd name="connsiteY9" fmla="*/ 9102 h 139550"/>
                    <a:gd name="connsiteX10" fmla="*/ 49888 w 131940"/>
                    <a:gd name="connsiteY10" fmla="*/ 0 h 139550"/>
                    <a:gd name="connsiteX11" fmla="*/ 107528 w 131940"/>
                    <a:gd name="connsiteY11" fmla="*/ 39439 h 139550"/>
                    <a:gd name="connsiteX12" fmla="*/ 125731 w 131940"/>
                    <a:gd name="connsiteY12" fmla="*/ 97079 h 139550"/>
                    <a:gd name="connsiteX13" fmla="*/ 89326 w 131940"/>
                    <a:gd name="connsiteY13" fmla="*/ 118315 h 139550"/>
                    <a:gd name="connsiteX14" fmla="*/ 83258 w 131940"/>
                    <a:gd name="connsiteY14" fmla="*/ 130450 h 139550"/>
                    <a:gd name="connsiteX15" fmla="*/ 65057 w 131940"/>
                    <a:gd name="connsiteY15" fmla="*/ 139551 h 139550"/>
                    <a:gd name="connsiteX16" fmla="*/ 65057 w 131940"/>
                    <a:gd name="connsiteY16" fmla="*/ 139551 h 139550"/>
                    <a:gd name="connsiteX17" fmla="*/ 52921 w 131940"/>
                    <a:gd name="connsiteY17" fmla="*/ 12136 h 139550"/>
                    <a:gd name="connsiteX18" fmla="*/ 40788 w 131940"/>
                    <a:gd name="connsiteY18" fmla="*/ 18202 h 139550"/>
                    <a:gd name="connsiteX19" fmla="*/ 34720 w 131940"/>
                    <a:gd name="connsiteY19" fmla="*/ 30337 h 139550"/>
                    <a:gd name="connsiteX20" fmla="*/ 95394 w 131940"/>
                    <a:gd name="connsiteY20" fmla="*/ 103147 h 139550"/>
                    <a:gd name="connsiteX21" fmla="*/ 122696 w 131940"/>
                    <a:gd name="connsiteY21" fmla="*/ 87978 h 139550"/>
                    <a:gd name="connsiteX22" fmla="*/ 104495 w 131940"/>
                    <a:gd name="connsiteY22" fmla="*/ 45506 h 139550"/>
                    <a:gd name="connsiteX23" fmla="*/ 52921 w 131940"/>
                    <a:gd name="connsiteY23" fmla="*/ 12136 h 139550"/>
                    <a:gd name="connsiteX24" fmla="*/ 52921 w 131940"/>
                    <a:gd name="connsiteY24" fmla="*/ 12136 h 139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31940" h="139550">
                      <a:moveTo>
                        <a:pt x="65057" y="139551"/>
                      </a:moveTo>
                      <a:cubicBezTo>
                        <a:pt x="37753" y="139551"/>
                        <a:pt x="4383" y="94045"/>
                        <a:pt x="1348" y="91011"/>
                      </a:cubicBezTo>
                      <a:cubicBezTo>
                        <a:pt x="-1685" y="87978"/>
                        <a:pt x="1348" y="84944"/>
                        <a:pt x="1348" y="81910"/>
                      </a:cubicBezTo>
                      <a:cubicBezTo>
                        <a:pt x="4383" y="78877"/>
                        <a:pt x="7416" y="81910"/>
                        <a:pt x="10451" y="81910"/>
                      </a:cubicBezTo>
                      <a:cubicBezTo>
                        <a:pt x="19551" y="94045"/>
                        <a:pt x="46854" y="127416"/>
                        <a:pt x="65057" y="127416"/>
                      </a:cubicBezTo>
                      <a:lnTo>
                        <a:pt x="65057" y="127416"/>
                      </a:lnTo>
                      <a:cubicBezTo>
                        <a:pt x="68090" y="127416"/>
                        <a:pt x="71125" y="124382"/>
                        <a:pt x="74158" y="121348"/>
                      </a:cubicBezTo>
                      <a:cubicBezTo>
                        <a:pt x="80226" y="109214"/>
                        <a:pt x="95394" y="91011"/>
                        <a:pt x="22584" y="39439"/>
                      </a:cubicBezTo>
                      <a:cubicBezTo>
                        <a:pt x="22584" y="39439"/>
                        <a:pt x="16517" y="36405"/>
                        <a:pt x="16517" y="30337"/>
                      </a:cubicBezTo>
                      <a:cubicBezTo>
                        <a:pt x="16517" y="24270"/>
                        <a:pt x="19551" y="18202"/>
                        <a:pt x="28652" y="9102"/>
                      </a:cubicBezTo>
                      <a:cubicBezTo>
                        <a:pt x="34720" y="3034"/>
                        <a:pt x="40788" y="0"/>
                        <a:pt x="49888" y="0"/>
                      </a:cubicBezTo>
                      <a:cubicBezTo>
                        <a:pt x="65057" y="0"/>
                        <a:pt x="86293" y="12136"/>
                        <a:pt x="107528" y="39439"/>
                      </a:cubicBezTo>
                      <a:cubicBezTo>
                        <a:pt x="125731" y="60674"/>
                        <a:pt x="140900" y="78877"/>
                        <a:pt x="125731" y="97079"/>
                      </a:cubicBezTo>
                      <a:cubicBezTo>
                        <a:pt x="113596" y="112248"/>
                        <a:pt x="92359" y="115281"/>
                        <a:pt x="89326" y="118315"/>
                      </a:cubicBezTo>
                      <a:cubicBezTo>
                        <a:pt x="86293" y="121348"/>
                        <a:pt x="86293" y="127416"/>
                        <a:pt x="83258" y="130450"/>
                      </a:cubicBezTo>
                      <a:cubicBezTo>
                        <a:pt x="80226" y="133484"/>
                        <a:pt x="74158" y="136517"/>
                        <a:pt x="65057" y="139551"/>
                      </a:cubicBezTo>
                      <a:cubicBezTo>
                        <a:pt x="68090" y="139551"/>
                        <a:pt x="68090" y="139551"/>
                        <a:pt x="65057" y="139551"/>
                      </a:cubicBezTo>
                      <a:close/>
                      <a:moveTo>
                        <a:pt x="52921" y="12136"/>
                      </a:moveTo>
                      <a:cubicBezTo>
                        <a:pt x="49888" y="12136"/>
                        <a:pt x="43821" y="15169"/>
                        <a:pt x="40788" y="18202"/>
                      </a:cubicBezTo>
                      <a:cubicBezTo>
                        <a:pt x="34720" y="24270"/>
                        <a:pt x="31685" y="30337"/>
                        <a:pt x="34720" y="30337"/>
                      </a:cubicBezTo>
                      <a:cubicBezTo>
                        <a:pt x="80226" y="66742"/>
                        <a:pt x="95394" y="87978"/>
                        <a:pt x="95394" y="103147"/>
                      </a:cubicBezTo>
                      <a:cubicBezTo>
                        <a:pt x="101462" y="103147"/>
                        <a:pt x="113596" y="97079"/>
                        <a:pt x="122696" y="87978"/>
                      </a:cubicBezTo>
                      <a:cubicBezTo>
                        <a:pt x="128764" y="78877"/>
                        <a:pt x="125731" y="66742"/>
                        <a:pt x="104495" y="45506"/>
                      </a:cubicBezTo>
                      <a:cubicBezTo>
                        <a:pt x="77191" y="18202"/>
                        <a:pt x="62022" y="12136"/>
                        <a:pt x="52921" y="12136"/>
                      </a:cubicBezTo>
                      <a:cubicBezTo>
                        <a:pt x="52921" y="12136"/>
                        <a:pt x="52921" y="12136"/>
                        <a:pt x="52921" y="12136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" name="任意多边形: 形状 109">
                  <a:extLst>
                    <a:ext uri="{FF2B5EF4-FFF2-40B4-BE49-F238E27FC236}">
                      <a16:creationId xmlns:a16="http://schemas.microsoft.com/office/drawing/2014/main" id="{72F0E686-8758-4F78-8ADC-C3BF3101FC06}"/>
                    </a:ext>
                  </a:extLst>
                </p:cNvPr>
                <p:cNvSpPr/>
                <p:nvPr/>
              </p:nvSpPr>
              <p:spPr>
                <a:xfrm>
                  <a:off x="23192062" y="10007512"/>
                  <a:ext cx="96038" cy="111205"/>
                </a:xfrm>
                <a:custGeom>
                  <a:avLst/>
                  <a:gdLst>
                    <a:gd name="connsiteX0" fmla="*/ 75843 w 96038"/>
                    <a:gd name="connsiteY0" fmla="*/ 111206 h 111205"/>
                    <a:gd name="connsiteX1" fmla="*/ 69775 w 96038"/>
                    <a:gd name="connsiteY1" fmla="*/ 108172 h 111205"/>
                    <a:gd name="connsiteX2" fmla="*/ 72810 w 96038"/>
                    <a:gd name="connsiteY2" fmla="*/ 99071 h 111205"/>
                    <a:gd name="connsiteX3" fmla="*/ 87978 w 96038"/>
                    <a:gd name="connsiteY3" fmla="*/ 80869 h 111205"/>
                    <a:gd name="connsiteX4" fmla="*/ 84943 w 96038"/>
                    <a:gd name="connsiteY4" fmla="*/ 62666 h 111205"/>
                    <a:gd name="connsiteX5" fmla="*/ 30337 w 96038"/>
                    <a:gd name="connsiteY5" fmla="*/ 11094 h 111205"/>
                    <a:gd name="connsiteX6" fmla="*/ 24269 w 96038"/>
                    <a:gd name="connsiteY6" fmla="*/ 14128 h 111205"/>
                    <a:gd name="connsiteX7" fmla="*/ 12136 w 96038"/>
                    <a:gd name="connsiteY7" fmla="*/ 35363 h 111205"/>
                    <a:gd name="connsiteX8" fmla="*/ 6068 w 96038"/>
                    <a:gd name="connsiteY8" fmla="*/ 41431 h 111205"/>
                    <a:gd name="connsiteX9" fmla="*/ 0 w 96038"/>
                    <a:gd name="connsiteY9" fmla="*/ 35363 h 111205"/>
                    <a:gd name="connsiteX10" fmla="*/ 15169 w 96038"/>
                    <a:gd name="connsiteY10" fmla="*/ 5026 h 111205"/>
                    <a:gd name="connsiteX11" fmla="*/ 30337 w 96038"/>
                    <a:gd name="connsiteY11" fmla="*/ 1992 h 111205"/>
                    <a:gd name="connsiteX12" fmla="*/ 91011 w 96038"/>
                    <a:gd name="connsiteY12" fmla="*/ 59633 h 111205"/>
                    <a:gd name="connsiteX13" fmla="*/ 94046 w 96038"/>
                    <a:gd name="connsiteY13" fmla="*/ 86937 h 111205"/>
                    <a:gd name="connsiteX14" fmla="*/ 75843 w 96038"/>
                    <a:gd name="connsiteY14" fmla="*/ 111206 h 111205"/>
                    <a:gd name="connsiteX15" fmla="*/ 75843 w 96038"/>
                    <a:gd name="connsiteY15" fmla="*/ 111206 h 1112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96038" h="111205">
                      <a:moveTo>
                        <a:pt x="75843" y="111206"/>
                      </a:moveTo>
                      <a:cubicBezTo>
                        <a:pt x="72810" y="111206"/>
                        <a:pt x="72810" y="111206"/>
                        <a:pt x="69775" y="108172"/>
                      </a:cubicBezTo>
                      <a:cubicBezTo>
                        <a:pt x="69775" y="105139"/>
                        <a:pt x="69775" y="102105"/>
                        <a:pt x="72810" y="99071"/>
                      </a:cubicBezTo>
                      <a:cubicBezTo>
                        <a:pt x="72810" y="99071"/>
                        <a:pt x="84943" y="93003"/>
                        <a:pt x="87978" y="80869"/>
                      </a:cubicBezTo>
                      <a:cubicBezTo>
                        <a:pt x="91011" y="74802"/>
                        <a:pt x="87978" y="68734"/>
                        <a:pt x="84943" y="62666"/>
                      </a:cubicBezTo>
                      <a:cubicBezTo>
                        <a:pt x="69775" y="35363"/>
                        <a:pt x="39438" y="14128"/>
                        <a:pt x="30337" y="11094"/>
                      </a:cubicBezTo>
                      <a:cubicBezTo>
                        <a:pt x="30337" y="11094"/>
                        <a:pt x="27304" y="11094"/>
                        <a:pt x="24269" y="14128"/>
                      </a:cubicBezTo>
                      <a:cubicBezTo>
                        <a:pt x="18203" y="20195"/>
                        <a:pt x="12136" y="32329"/>
                        <a:pt x="12136" y="35363"/>
                      </a:cubicBezTo>
                      <a:cubicBezTo>
                        <a:pt x="12136" y="38397"/>
                        <a:pt x="9101" y="41431"/>
                        <a:pt x="6068" y="41431"/>
                      </a:cubicBezTo>
                      <a:cubicBezTo>
                        <a:pt x="3035" y="41431"/>
                        <a:pt x="0" y="38397"/>
                        <a:pt x="0" y="35363"/>
                      </a:cubicBezTo>
                      <a:cubicBezTo>
                        <a:pt x="0" y="26262"/>
                        <a:pt x="6068" y="11094"/>
                        <a:pt x="15169" y="5026"/>
                      </a:cubicBezTo>
                      <a:cubicBezTo>
                        <a:pt x="21236" y="-1041"/>
                        <a:pt x="27304" y="-1041"/>
                        <a:pt x="30337" y="1992"/>
                      </a:cubicBezTo>
                      <a:cubicBezTo>
                        <a:pt x="45506" y="5026"/>
                        <a:pt x="75843" y="29296"/>
                        <a:pt x="91011" y="59633"/>
                      </a:cubicBezTo>
                      <a:cubicBezTo>
                        <a:pt x="97079" y="68734"/>
                        <a:pt x="97079" y="77835"/>
                        <a:pt x="94046" y="86937"/>
                      </a:cubicBezTo>
                      <a:cubicBezTo>
                        <a:pt x="97079" y="102105"/>
                        <a:pt x="78878" y="111206"/>
                        <a:pt x="75843" y="111206"/>
                      </a:cubicBezTo>
                      <a:cubicBezTo>
                        <a:pt x="78878" y="111206"/>
                        <a:pt x="75843" y="111206"/>
                        <a:pt x="75843" y="111206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2FFBB675-1FDB-4431-B870-4F341E078814}"/>
                  </a:ext>
                </a:extLst>
              </p:cNvPr>
              <p:cNvSpPr/>
              <p:nvPr/>
            </p:nvSpPr>
            <p:spPr>
              <a:xfrm>
                <a:off x="23221142" y="9984428"/>
                <a:ext cx="98335" cy="88784"/>
              </a:xfrm>
              <a:custGeom>
                <a:avLst/>
                <a:gdLst>
                  <a:gd name="connsiteX0" fmla="*/ 61930 w 98335"/>
                  <a:gd name="connsiteY0" fmla="*/ 88784 h 88784"/>
                  <a:gd name="connsiteX1" fmla="*/ 55863 w 98335"/>
                  <a:gd name="connsiteY1" fmla="*/ 82717 h 88784"/>
                  <a:gd name="connsiteX2" fmla="*/ 61930 w 98335"/>
                  <a:gd name="connsiteY2" fmla="*/ 76650 h 88784"/>
                  <a:gd name="connsiteX3" fmla="*/ 83167 w 98335"/>
                  <a:gd name="connsiteY3" fmla="*/ 58447 h 88784"/>
                  <a:gd name="connsiteX4" fmla="*/ 49797 w 98335"/>
                  <a:gd name="connsiteY4" fmla="*/ 22043 h 88784"/>
                  <a:gd name="connsiteX5" fmla="*/ 28560 w 98335"/>
                  <a:gd name="connsiteY5" fmla="*/ 12942 h 88784"/>
                  <a:gd name="connsiteX6" fmla="*/ 10357 w 98335"/>
                  <a:gd name="connsiteY6" fmla="*/ 28110 h 88784"/>
                  <a:gd name="connsiteX7" fmla="*/ 4291 w 98335"/>
                  <a:gd name="connsiteY7" fmla="*/ 31144 h 88784"/>
                  <a:gd name="connsiteX8" fmla="*/ 1256 w 98335"/>
                  <a:gd name="connsiteY8" fmla="*/ 25076 h 88784"/>
                  <a:gd name="connsiteX9" fmla="*/ 28560 w 98335"/>
                  <a:gd name="connsiteY9" fmla="*/ 807 h 88784"/>
                  <a:gd name="connsiteX10" fmla="*/ 58897 w 98335"/>
                  <a:gd name="connsiteY10" fmla="*/ 9908 h 88784"/>
                  <a:gd name="connsiteX11" fmla="*/ 98335 w 98335"/>
                  <a:gd name="connsiteY11" fmla="*/ 55413 h 88784"/>
                  <a:gd name="connsiteX12" fmla="*/ 83167 w 98335"/>
                  <a:gd name="connsiteY12" fmla="*/ 82717 h 88784"/>
                  <a:gd name="connsiteX13" fmla="*/ 61930 w 98335"/>
                  <a:gd name="connsiteY13" fmla="*/ 88784 h 88784"/>
                  <a:gd name="connsiteX14" fmla="*/ 61930 w 98335"/>
                  <a:gd name="connsiteY14" fmla="*/ 88784 h 88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8335" h="88784">
                    <a:moveTo>
                      <a:pt x="61930" y="88784"/>
                    </a:moveTo>
                    <a:cubicBezTo>
                      <a:pt x="58897" y="88784"/>
                      <a:pt x="55863" y="85750"/>
                      <a:pt x="55863" y="82717"/>
                    </a:cubicBezTo>
                    <a:cubicBezTo>
                      <a:pt x="55863" y="79684"/>
                      <a:pt x="58897" y="76650"/>
                      <a:pt x="61930" y="76650"/>
                    </a:cubicBezTo>
                    <a:cubicBezTo>
                      <a:pt x="61930" y="76650"/>
                      <a:pt x="86200" y="73616"/>
                      <a:pt x="83167" y="58447"/>
                    </a:cubicBezTo>
                    <a:cubicBezTo>
                      <a:pt x="83167" y="52380"/>
                      <a:pt x="67998" y="34178"/>
                      <a:pt x="49797" y="22043"/>
                    </a:cubicBezTo>
                    <a:cubicBezTo>
                      <a:pt x="37661" y="15976"/>
                      <a:pt x="31593" y="12942"/>
                      <a:pt x="28560" y="12942"/>
                    </a:cubicBezTo>
                    <a:cubicBezTo>
                      <a:pt x="16425" y="15976"/>
                      <a:pt x="10357" y="28110"/>
                      <a:pt x="10357" y="28110"/>
                    </a:cubicBezTo>
                    <a:cubicBezTo>
                      <a:pt x="10357" y="31144"/>
                      <a:pt x="7324" y="34178"/>
                      <a:pt x="4291" y="31144"/>
                    </a:cubicBezTo>
                    <a:cubicBezTo>
                      <a:pt x="1256" y="31144"/>
                      <a:pt x="-1777" y="28110"/>
                      <a:pt x="1256" y="25076"/>
                    </a:cubicBezTo>
                    <a:cubicBezTo>
                      <a:pt x="1256" y="25076"/>
                      <a:pt x="7324" y="6875"/>
                      <a:pt x="28560" y="807"/>
                    </a:cubicBezTo>
                    <a:cubicBezTo>
                      <a:pt x="34628" y="-2227"/>
                      <a:pt x="46762" y="3841"/>
                      <a:pt x="58897" y="9908"/>
                    </a:cubicBezTo>
                    <a:cubicBezTo>
                      <a:pt x="74066" y="19009"/>
                      <a:pt x="95302" y="40245"/>
                      <a:pt x="98335" y="55413"/>
                    </a:cubicBezTo>
                    <a:cubicBezTo>
                      <a:pt x="98335" y="67549"/>
                      <a:pt x="95302" y="76650"/>
                      <a:pt x="83167" y="82717"/>
                    </a:cubicBezTo>
                    <a:cubicBezTo>
                      <a:pt x="71031" y="88784"/>
                      <a:pt x="64965" y="88784"/>
                      <a:pt x="61930" y="88784"/>
                    </a:cubicBezTo>
                    <a:cubicBezTo>
                      <a:pt x="61930" y="88784"/>
                      <a:pt x="61930" y="88784"/>
                      <a:pt x="61930" y="8878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D37B4A55-A209-4963-ACA3-BC06B37B1F1F}"/>
                </a:ext>
              </a:extLst>
            </p:cNvPr>
            <p:cNvSpPr/>
            <p:nvPr/>
          </p:nvSpPr>
          <p:spPr>
            <a:xfrm>
              <a:off x="23132484" y="9933661"/>
              <a:ext cx="82390" cy="183399"/>
            </a:xfrm>
            <a:custGeom>
              <a:avLst/>
              <a:gdLst>
                <a:gd name="connsiteX0" fmla="*/ 11039 w 82390"/>
                <a:gd name="connsiteY0" fmla="*/ 30337 h 183399"/>
                <a:gd name="connsiteX1" fmla="*/ 38341 w 82390"/>
                <a:gd name="connsiteY1" fmla="*/ 0 h 183399"/>
                <a:gd name="connsiteX2" fmla="*/ 71713 w 82390"/>
                <a:gd name="connsiteY2" fmla="*/ 0 h 183399"/>
                <a:gd name="connsiteX3" fmla="*/ 68678 w 82390"/>
                <a:gd name="connsiteY3" fmla="*/ 63708 h 183399"/>
                <a:gd name="connsiteX4" fmla="*/ 56545 w 82390"/>
                <a:gd name="connsiteY4" fmla="*/ 160787 h 183399"/>
                <a:gd name="connsiteX5" fmla="*/ 32275 w 82390"/>
                <a:gd name="connsiteY5" fmla="*/ 178990 h 183399"/>
                <a:gd name="connsiteX6" fmla="*/ 4971 w 82390"/>
                <a:gd name="connsiteY6" fmla="*/ 121348 h 183399"/>
                <a:gd name="connsiteX7" fmla="*/ 11039 w 82390"/>
                <a:gd name="connsiteY7" fmla="*/ 30337 h 18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390" h="183399">
                  <a:moveTo>
                    <a:pt x="11039" y="30337"/>
                  </a:moveTo>
                  <a:cubicBezTo>
                    <a:pt x="14072" y="21236"/>
                    <a:pt x="29240" y="9102"/>
                    <a:pt x="38341" y="0"/>
                  </a:cubicBezTo>
                  <a:cubicBezTo>
                    <a:pt x="41376" y="0"/>
                    <a:pt x="68678" y="0"/>
                    <a:pt x="71713" y="0"/>
                  </a:cubicBezTo>
                  <a:cubicBezTo>
                    <a:pt x="95982" y="21236"/>
                    <a:pt x="71713" y="45506"/>
                    <a:pt x="68678" y="63708"/>
                  </a:cubicBezTo>
                  <a:cubicBezTo>
                    <a:pt x="62612" y="84944"/>
                    <a:pt x="41376" y="139551"/>
                    <a:pt x="56545" y="160787"/>
                  </a:cubicBezTo>
                  <a:cubicBezTo>
                    <a:pt x="65645" y="175956"/>
                    <a:pt x="44409" y="191124"/>
                    <a:pt x="32275" y="178990"/>
                  </a:cubicBezTo>
                  <a:cubicBezTo>
                    <a:pt x="17107" y="163821"/>
                    <a:pt x="4971" y="142585"/>
                    <a:pt x="4971" y="121348"/>
                  </a:cubicBezTo>
                  <a:cubicBezTo>
                    <a:pt x="-1097" y="97079"/>
                    <a:pt x="-4130" y="69776"/>
                    <a:pt x="11039" y="30337"/>
                  </a:cubicBezTo>
                  <a:close/>
                </a:path>
              </a:pathLst>
            </a:custGeom>
            <a:solidFill>
              <a:srgbClr val="F49F84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EDA36761-724E-46DF-8C74-FCD3081E5DA4}"/>
                </a:ext>
              </a:extLst>
            </p:cNvPr>
            <p:cNvSpPr/>
            <p:nvPr/>
          </p:nvSpPr>
          <p:spPr>
            <a:xfrm>
              <a:off x="23123100" y="10008248"/>
              <a:ext cx="73252" cy="113503"/>
            </a:xfrm>
            <a:custGeom>
              <a:avLst/>
              <a:gdLst>
                <a:gd name="connsiteX0" fmla="*/ 50760 w 73252"/>
                <a:gd name="connsiteY0" fmla="*/ 113504 h 113503"/>
                <a:gd name="connsiteX1" fmla="*/ 23456 w 73252"/>
                <a:gd name="connsiteY1" fmla="*/ 98335 h 113503"/>
                <a:gd name="connsiteX2" fmla="*/ 2220 w 73252"/>
                <a:gd name="connsiteY2" fmla="*/ 4290 h 113503"/>
                <a:gd name="connsiteX3" fmla="*/ 8288 w 73252"/>
                <a:gd name="connsiteY3" fmla="*/ 1256 h 113503"/>
                <a:gd name="connsiteX4" fmla="*/ 11322 w 73252"/>
                <a:gd name="connsiteY4" fmla="*/ 7324 h 113503"/>
                <a:gd name="connsiteX5" fmla="*/ 29524 w 73252"/>
                <a:gd name="connsiteY5" fmla="*/ 92268 h 113503"/>
                <a:gd name="connsiteX6" fmla="*/ 50760 w 73252"/>
                <a:gd name="connsiteY6" fmla="*/ 101369 h 113503"/>
                <a:gd name="connsiteX7" fmla="*/ 53793 w 73252"/>
                <a:gd name="connsiteY7" fmla="*/ 89235 h 113503"/>
                <a:gd name="connsiteX8" fmla="*/ 62894 w 73252"/>
                <a:gd name="connsiteY8" fmla="*/ 4290 h 113503"/>
                <a:gd name="connsiteX9" fmla="*/ 68962 w 73252"/>
                <a:gd name="connsiteY9" fmla="*/ 1256 h 113503"/>
                <a:gd name="connsiteX10" fmla="*/ 71997 w 73252"/>
                <a:gd name="connsiteY10" fmla="*/ 7324 h 113503"/>
                <a:gd name="connsiteX11" fmla="*/ 62894 w 73252"/>
                <a:gd name="connsiteY11" fmla="*/ 86201 h 113503"/>
                <a:gd name="connsiteX12" fmla="*/ 53793 w 73252"/>
                <a:gd name="connsiteY12" fmla="*/ 113504 h 113503"/>
                <a:gd name="connsiteX13" fmla="*/ 50760 w 73252"/>
                <a:gd name="connsiteY13" fmla="*/ 113504 h 113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252" h="113503">
                  <a:moveTo>
                    <a:pt x="50760" y="113504"/>
                  </a:moveTo>
                  <a:cubicBezTo>
                    <a:pt x="41660" y="113504"/>
                    <a:pt x="29524" y="107436"/>
                    <a:pt x="23456" y="98335"/>
                  </a:cubicBezTo>
                  <a:cubicBezTo>
                    <a:pt x="14355" y="83167"/>
                    <a:pt x="-6881" y="46762"/>
                    <a:pt x="2220" y="4290"/>
                  </a:cubicBezTo>
                  <a:cubicBezTo>
                    <a:pt x="2220" y="1256"/>
                    <a:pt x="5255" y="-1777"/>
                    <a:pt x="8288" y="1256"/>
                  </a:cubicBezTo>
                  <a:cubicBezTo>
                    <a:pt x="11322" y="1256"/>
                    <a:pt x="14355" y="4290"/>
                    <a:pt x="11322" y="7324"/>
                  </a:cubicBezTo>
                  <a:cubicBezTo>
                    <a:pt x="2220" y="37661"/>
                    <a:pt x="17388" y="67998"/>
                    <a:pt x="29524" y="92268"/>
                  </a:cubicBezTo>
                  <a:cubicBezTo>
                    <a:pt x="35592" y="101369"/>
                    <a:pt x="44692" y="104403"/>
                    <a:pt x="50760" y="101369"/>
                  </a:cubicBezTo>
                  <a:cubicBezTo>
                    <a:pt x="53793" y="98335"/>
                    <a:pt x="53793" y="92268"/>
                    <a:pt x="53793" y="89235"/>
                  </a:cubicBezTo>
                  <a:cubicBezTo>
                    <a:pt x="44692" y="61930"/>
                    <a:pt x="62894" y="7324"/>
                    <a:pt x="62894" y="4290"/>
                  </a:cubicBezTo>
                  <a:cubicBezTo>
                    <a:pt x="62894" y="1256"/>
                    <a:pt x="65929" y="-1777"/>
                    <a:pt x="68962" y="1256"/>
                  </a:cubicBezTo>
                  <a:cubicBezTo>
                    <a:pt x="71997" y="1256"/>
                    <a:pt x="75030" y="4290"/>
                    <a:pt x="71997" y="7324"/>
                  </a:cubicBezTo>
                  <a:cubicBezTo>
                    <a:pt x="65929" y="22493"/>
                    <a:pt x="56828" y="64964"/>
                    <a:pt x="62894" y="86201"/>
                  </a:cubicBezTo>
                  <a:cubicBezTo>
                    <a:pt x="68962" y="101369"/>
                    <a:pt x="62894" y="110470"/>
                    <a:pt x="53793" y="113504"/>
                  </a:cubicBezTo>
                  <a:cubicBezTo>
                    <a:pt x="56828" y="110470"/>
                    <a:pt x="53793" y="113504"/>
                    <a:pt x="50760" y="113504"/>
                  </a:cubicBezTo>
                  <a:close/>
                </a:path>
              </a:pathLst>
            </a:custGeom>
            <a:solidFill>
              <a:srgbClr val="E87952"/>
            </a:solidFill>
            <a:ln w="303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4" name="图形 1">
              <a:extLst>
                <a:ext uri="{FF2B5EF4-FFF2-40B4-BE49-F238E27FC236}">
                  <a16:creationId xmlns:a16="http://schemas.microsoft.com/office/drawing/2014/main" id="{76A3A249-0902-4759-B8BD-BE86CCD4EFFD}"/>
                </a:ext>
              </a:extLst>
            </p:cNvPr>
            <p:cNvGrpSpPr/>
            <p:nvPr/>
          </p:nvGrpSpPr>
          <p:grpSpPr>
            <a:xfrm>
              <a:off x="25075995" y="11104582"/>
              <a:ext cx="779813" cy="1146833"/>
              <a:chOff x="25075995" y="11104582"/>
              <a:chExt cx="779813" cy="1146833"/>
            </a:xfrm>
          </p:grpSpPr>
          <p:grpSp>
            <p:nvGrpSpPr>
              <p:cNvPr id="95" name="图形 1">
                <a:extLst>
                  <a:ext uri="{FF2B5EF4-FFF2-40B4-BE49-F238E27FC236}">
                    <a16:creationId xmlns:a16="http://schemas.microsoft.com/office/drawing/2014/main" id="{4EBB5170-F430-42A2-AAE2-383F8CAADDDF}"/>
                  </a:ext>
                </a:extLst>
              </p:cNvPr>
              <p:cNvGrpSpPr/>
              <p:nvPr/>
            </p:nvGrpSpPr>
            <p:grpSpPr>
              <a:xfrm>
                <a:off x="25075995" y="11486920"/>
                <a:ext cx="779813" cy="764494"/>
                <a:chOff x="25075995" y="11486920"/>
                <a:chExt cx="779813" cy="764494"/>
              </a:xfrm>
            </p:grpSpPr>
            <p:sp>
              <p:nvSpPr>
                <p:cNvPr id="98" name="任意多边形: 形状 97">
                  <a:extLst>
                    <a:ext uri="{FF2B5EF4-FFF2-40B4-BE49-F238E27FC236}">
                      <a16:creationId xmlns:a16="http://schemas.microsoft.com/office/drawing/2014/main" id="{92882AC7-3DE9-4A5B-BD9E-4DFE078190E9}"/>
                    </a:ext>
                  </a:extLst>
                </p:cNvPr>
                <p:cNvSpPr/>
                <p:nvPr/>
              </p:nvSpPr>
              <p:spPr>
                <a:xfrm>
                  <a:off x="25075995" y="11520291"/>
                  <a:ext cx="776628" cy="731123"/>
                </a:xfrm>
                <a:custGeom>
                  <a:avLst/>
                  <a:gdLst>
                    <a:gd name="connsiteX0" fmla="*/ 0 w 776628"/>
                    <a:gd name="connsiteY0" fmla="*/ 0 h 731123"/>
                    <a:gd name="connsiteX1" fmla="*/ 12134 w 776628"/>
                    <a:gd name="connsiteY1" fmla="*/ 288202 h 731123"/>
                    <a:gd name="connsiteX2" fmla="*/ 12134 w 776628"/>
                    <a:gd name="connsiteY2" fmla="*/ 315505 h 731123"/>
                    <a:gd name="connsiteX3" fmla="*/ 30337 w 776628"/>
                    <a:gd name="connsiteY3" fmla="*/ 694719 h 731123"/>
                    <a:gd name="connsiteX4" fmla="*/ 388314 w 776628"/>
                    <a:gd name="connsiteY4" fmla="*/ 731124 h 731123"/>
                    <a:gd name="connsiteX5" fmla="*/ 746291 w 776628"/>
                    <a:gd name="connsiteY5" fmla="*/ 694719 h 731123"/>
                    <a:gd name="connsiteX6" fmla="*/ 764493 w 776628"/>
                    <a:gd name="connsiteY6" fmla="*/ 315505 h 731123"/>
                    <a:gd name="connsiteX7" fmla="*/ 764493 w 776628"/>
                    <a:gd name="connsiteY7" fmla="*/ 288202 h 731123"/>
                    <a:gd name="connsiteX8" fmla="*/ 776629 w 776628"/>
                    <a:gd name="connsiteY8" fmla="*/ 0 h 731123"/>
                    <a:gd name="connsiteX9" fmla="*/ 0 w 776628"/>
                    <a:gd name="connsiteY9" fmla="*/ 0 h 7311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76628" h="731123">
                      <a:moveTo>
                        <a:pt x="0" y="0"/>
                      </a:moveTo>
                      <a:cubicBezTo>
                        <a:pt x="0" y="0"/>
                        <a:pt x="6066" y="136517"/>
                        <a:pt x="12134" y="288202"/>
                      </a:cubicBezTo>
                      <a:cubicBezTo>
                        <a:pt x="12134" y="297303"/>
                        <a:pt x="12134" y="306405"/>
                        <a:pt x="12134" y="315505"/>
                      </a:cubicBezTo>
                      <a:cubicBezTo>
                        <a:pt x="21234" y="497528"/>
                        <a:pt x="30337" y="694719"/>
                        <a:pt x="30337" y="694719"/>
                      </a:cubicBezTo>
                      <a:cubicBezTo>
                        <a:pt x="30337" y="712921"/>
                        <a:pt x="172920" y="731124"/>
                        <a:pt x="388314" y="731124"/>
                      </a:cubicBezTo>
                      <a:cubicBezTo>
                        <a:pt x="603707" y="731124"/>
                        <a:pt x="746291" y="715955"/>
                        <a:pt x="746291" y="694719"/>
                      </a:cubicBezTo>
                      <a:cubicBezTo>
                        <a:pt x="746291" y="694719"/>
                        <a:pt x="755392" y="500562"/>
                        <a:pt x="764493" y="315505"/>
                      </a:cubicBezTo>
                      <a:cubicBezTo>
                        <a:pt x="764493" y="306405"/>
                        <a:pt x="764493" y="297303"/>
                        <a:pt x="764493" y="288202"/>
                      </a:cubicBezTo>
                      <a:cubicBezTo>
                        <a:pt x="770561" y="136517"/>
                        <a:pt x="776629" y="0"/>
                        <a:pt x="77662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99" name="图形 1">
                  <a:extLst>
                    <a:ext uri="{FF2B5EF4-FFF2-40B4-BE49-F238E27FC236}">
                      <a16:creationId xmlns:a16="http://schemas.microsoft.com/office/drawing/2014/main" id="{5236E35C-52BF-4D03-A5A7-7C05D19E6CFA}"/>
                    </a:ext>
                  </a:extLst>
                </p:cNvPr>
                <p:cNvGrpSpPr/>
                <p:nvPr/>
              </p:nvGrpSpPr>
              <p:grpSpPr>
                <a:xfrm>
                  <a:off x="25075995" y="11486920"/>
                  <a:ext cx="779813" cy="69774"/>
                  <a:chOff x="25075995" y="11486920"/>
                  <a:chExt cx="779813" cy="69774"/>
                </a:xfrm>
              </p:grpSpPr>
              <p:sp>
                <p:nvSpPr>
                  <p:cNvPr id="101" name="任意多边形: 形状 100">
                    <a:extLst>
                      <a:ext uri="{FF2B5EF4-FFF2-40B4-BE49-F238E27FC236}">
                        <a16:creationId xmlns:a16="http://schemas.microsoft.com/office/drawing/2014/main" id="{47C0E569-2EA0-4CFB-ACB6-A358F3BECF84}"/>
                      </a:ext>
                    </a:extLst>
                  </p:cNvPr>
                  <p:cNvSpPr/>
                  <p:nvPr/>
                </p:nvSpPr>
                <p:spPr>
                  <a:xfrm>
                    <a:off x="25075995" y="11486920"/>
                    <a:ext cx="779813" cy="69774"/>
                  </a:xfrm>
                  <a:custGeom>
                    <a:avLst/>
                    <a:gdLst>
                      <a:gd name="connsiteX0" fmla="*/ 667416 w 779813"/>
                      <a:gd name="connsiteY0" fmla="*/ 9101 h 69774"/>
                      <a:gd name="connsiteX1" fmla="*/ 391347 w 779813"/>
                      <a:gd name="connsiteY1" fmla="*/ 0 h 69774"/>
                      <a:gd name="connsiteX2" fmla="*/ 115281 w 779813"/>
                      <a:gd name="connsiteY2" fmla="*/ 9101 h 69774"/>
                      <a:gd name="connsiteX3" fmla="*/ 0 w 779813"/>
                      <a:gd name="connsiteY3" fmla="*/ 33371 h 69774"/>
                      <a:gd name="connsiteX4" fmla="*/ 9101 w 779813"/>
                      <a:gd name="connsiteY4" fmla="*/ 42472 h 69774"/>
                      <a:gd name="connsiteX5" fmla="*/ 36403 w 779813"/>
                      <a:gd name="connsiteY5" fmla="*/ 48540 h 69774"/>
                      <a:gd name="connsiteX6" fmla="*/ 178988 w 779813"/>
                      <a:gd name="connsiteY6" fmla="*/ 63708 h 69774"/>
                      <a:gd name="connsiteX7" fmla="*/ 391347 w 779813"/>
                      <a:gd name="connsiteY7" fmla="*/ 69775 h 69774"/>
                      <a:gd name="connsiteX8" fmla="*/ 424719 w 779813"/>
                      <a:gd name="connsiteY8" fmla="*/ 69775 h 69774"/>
                      <a:gd name="connsiteX9" fmla="*/ 455056 w 779813"/>
                      <a:gd name="connsiteY9" fmla="*/ 69775 h 69774"/>
                      <a:gd name="connsiteX10" fmla="*/ 458089 w 779813"/>
                      <a:gd name="connsiteY10" fmla="*/ 69775 h 69774"/>
                      <a:gd name="connsiteX11" fmla="*/ 515730 w 779813"/>
                      <a:gd name="connsiteY11" fmla="*/ 69775 h 69774"/>
                      <a:gd name="connsiteX12" fmla="*/ 567302 w 779813"/>
                      <a:gd name="connsiteY12" fmla="*/ 66742 h 69774"/>
                      <a:gd name="connsiteX13" fmla="*/ 658313 w 779813"/>
                      <a:gd name="connsiteY13" fmla="*/ 60674 h 69774"/>
                      <a:gd name="connsiteX14" fmla="*/ 691685 w 779813"/>
                      <a:gd name="connsiteY14" fmla="*/ 57640 h 69774"/>
                      <a:gd name="connsiteX15" fmla="*/ 718987 w 779813"/>
                      <a:gd name="connsiteY15" fmla="*/ 54606 h 69774"/>
                      <a:gd name="connsiteX16" fmla="*/ 737191 w 779813"/>
                      <a:gd name="connsiteY16" fmla="*/ 51573 h 69774"/>
                      <a:gd name="connsiteX17" fmla="*/ 752359 w 779813"/>
                      <a:gd name="connsiteY17" fmla="*/ 48540 h 69774"/>
                      <a:gd name="connsiteX18" fmla="*/ 758427 w 779813"/>
                      <a:gd name="connsiteY18" fmla="*/ 48540 h 69774"/>
                      <a:gd name="connsiteX19" fmla="*/ 764493 w 779813"/>
                      <a:gd name="connsiteY19" fmla="*/ 45506 h 69774"/>
                      <a:gd name="connsiteX20" fmla="*/ 773596 w 779813"/>
                      <a:gd name="connsiteY20" fmla="*/ 42472 h 69774"/>
                      <a:gd name="connsiteX21" fmla="*/ 776629 w 779813"/>
                      <a:gd name="connsiteY21" fmla="*/ 39438 h 69774"/>
                      <a:gd name="connsiteX22" fmla="*/ 779661 w 779813"/>
                      <a:gd name="connsiteY22" fmla="*/ 33371 h 69774"/>
                      <a:gd name="connsiteX23" fmla="*/ 667416 w 779813"/>
                      <a:gd name="connsiteY23" fmla="*/ 9101 h 697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</a:cxnLst>
                    <a:rect l="l" t="t" r="r" b="b"/>
                    <a:pathLst>
                      <a:path w="779813" h="69774">
                        <a:moveTo>
                          <a:pt x="667416" y="9101"/>
                        </a:moveTo>
                        <a:cubicBezTo>
                          <a:pt x="597639" y="3034"/>
                          <a:pt x="497527" y="0"/>
                          <a:pt x="391347" y="0"/>
                        </a:cubicBezTo>
                        <a:cubicBezTo>
                          <a:pt x="285167" y="0"/>
                          <a:pt x="185055" y="3034"/>
                          <a:pt x="115281" y="9101"/>
                        </a:cubicBezTo>
                        <a:cubicBezTo>
                          <a:pt x="45506" y="15169"/>
                          <a:pt x="0" y="24269"/>
                          <a:pt x="0" y="33371"/>
                        </a:cubicBezTo>
                        <a:cubicBezTo>
                          <a:pt x="0" y="36405"/>
                          <a:pt x="3033" y="39438"/>
                          <a:pt x="9101" y="42472"/>
                        </a:cubicBezTo>
                        <a:cubicBezTo>
                          <a:pt x="15169" y="45506"/>
                          <a:pt x="24269" y="48540"/>
                          <a:pt x="36403" y="48540"/>
                        </a:cubicBezTo>
                        <a:cubicBezTo>
                          <a:pt x="66740" y="54606"/>
                          <a:pt x="118314" y="60674"/>
                          <a:pt x="178988" y="63708"/>
                        </a:cubicBezTo>
                        <a:cubicBezTo>
                          <a:pt x="239662" y="66742"/>
                          <a:pt x="312472" y="69775"/>
                          <a:pt x="391347" y="69775"/>
                        </a:cubicBezTo>
                        <a:cubicBezTo>
                          <a:pt x="403483" y="69775"/>
                          <a:pt x="415617" y="69775"/>
                          <a:pt x="424719" y="69775"/>
                        </a:cubicBezTo>
                        <a:cubicBezTo>
                          <a:pt x="436853" y="69775"/>
                          <a:pt x="445954" y="69775"/>
                          <a:pt x="455056" y="69775"/>
                        </a:cubicBezTo>
                        <a:lnTo>
                          <a:pt x="458089" y="69775"/>
                        </a:lnTo>
                        <a:cubicBezTo>
                          <a:pt x="476291" y="69775"/>
                          <a:pt x="497527" y="69775"/>
                          <a:pt x="515730" y="69775"/>
                        </a:cubicBezTo>
                        <a:cubicBezTo>
                          <a:pt x="533932" y="69775"/>
                          <a:pt x="552133" y="69775"/>
                          <a:pt x="567302" y="66742"/>
                        </a:cubicBezTo>
                        <a:cubicBezTo>
                          <a:pt x="600674" y="63708"/>
                          <a:pt x="631011" y="63708"/>
                          <a:pt x="658313" y="60674"/>
                        </a:cubicBezTo>
                        <a:cubicBezTo>
                          <a:pt x="670449" y="60674"/>
                          <a:pt x="682584" y="57640"/>
                          <a:pt x="691685" y="57640"/>
                        </a:cubicBezTo>
                        <a:cubicBezTo>
                          <a:pt x="700786" y="57640"/>
                          <a:pt x="712921" y="54606"/>
                          <a:pt x="718987" y="54606"/>
                        </a:cubicBezTo>
                        <a:cubicBezTo>
                          <a:pt x="725055" y="54606"/>
                          <a:pt x="731123" y="51573"/>
                          <a:pt x="737191" y="51573"/>
                        </a:cubicBezTo>
                        <a:cubicBezTo>
                          <a:pt x="743258" y="51573"/>
                          <a:pt x="746291" y="48540"/>
                          <a:pt x="752359" y="48540"/>
                        </a:cubicBezTo>
                        <a:cubicBezTo>
                          <a:pt x="755392" y="48540"/>
                          <a:pt x="755392" y="48540"/>
                          <a:pt x="758427" y="48540"/>
                        </a:cubicBezTo>
                        <a:cubicBezTo>
                          <a:pt x="761460" y="48540"/>
                          <a:pt x="764493" y="48540"/>
                          <a:pt x="764493" y="45506"/>
                        </a:cubicBezTo>
                        <a:cubicBezTo>
                          <a:pt x="767528" y="45506"/>
                          <a:pt x="770561" y="42472"/>
                          <a:pt x="773596" y="42472"/>
                        </a:cubicBezTo>
                        <a:cubicBezTo>
                          <a:pt x="773596" y="42472"/>
                          <a:pt x="776629" y="42472"/>
                          <a:pt x="776629" y="39438"/>
                        </a:cubicBezTo>
                        <a:cubicBezTo>
                          <a:pt x="779661" y="36405"/>
                          <a:pt x="779661" y="36405"/>
                          <a:pt x="779661" y="33371"/>
                        </a:cubicBezTo>
                        <a:cubicBezTo>
                          <a:pt x="782696" y="24269"/>
                          <a:pt x="740224" y="15169"/>
                          <a:pt x="667416" y="9101"/>
                        </a:cubicBezTo>
                        <a:close/>
                      </a:path>
                    </a:pathLst>
                  </a:custGeom>
                  <a:solidFill>
                    <a:srgbClr val="38333D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" name="任意多边形: 形状 101">
                    <a:extLst>
                      <a:ext uri="{FF2B5EF4-FFF2-40B4-BE49-F238E27FC236}">
                        <a16:creationId xmlns:a16="http://schemas.microsoft.com/office/drawing/2014/main" id="{AAF9BDF5-D0F1-4FE6-85EC-73EE1F7C19F0}"/>
                      </a:ext>
                    </a:extLst>
                  </p:cNvPr>
                  <p:cNvSpPr/>
                  <p:nvPr/>
                </p:nvSpPr>
                <p:spPr>
                  <a:xfrm>
                    <a:off x="25075995" y="11486920"/>
                    <a:ext cx="779813" cy="69774"/>
                  </a:xfrm>
                  <a:custGeom>
                    <a:avLst/>
                    <a:gdLst>
                      <a:gd name="connsiteX0" fmla="*/ 667416 w 779813"/>
                      <a:gd name="connsiteY0" fmla="*/ 9101 h 69774"/>
                      <a:gd name="connsiteX1" fmla="*/ 391347 w 779813"/>
                      <a:gd name="connsiteY1" fmla="*/ 0 h 69774"/>
                      <a:gd name="connsiteX2" fmla="*/ 115281 w 779813"/>
                      <a:gd name="connsiteY2" fmla="*/ 9101 h 69774"/>
                      <a:gd name="connsiteX3" fmla="*/ 0 w 779813"/>
                      <a:gd name="connsiteY3" fmla="*/ 33371 h 69774"/>
                      <a:gd name="connsiteX4" fmla="*/ 9101 w 779813"/>
                      <a:gd name="connsiteY4" fmla="*/ 42472 h 69774"/>
                      <a:gd name="connsiteX5" fmla="*/ 36403 w 779813"/>
                      <a:gd name="connsiteY5" fmla="*/ 48540 h 69774"/>
                      <a:gd name="connsiteX6" fmla="*/ 178988 w 779813"/>
                      <a:gd name="connsiteY6" fmla="*/ 63708 h 69774"/>
                      <a:gd name="connsiteX7" fmla="*/ 391347 w 779813"/>
                      <a:gd name="connsiteY7" fmla="*/ 69775 h 69774"/>
                      <a:gd name="connsiteX8" fmla="*/ 424719 w 779813"/>
                      <a:gd name="connsiteY8" fmla="*/ 69775 h 69774"/>
                      <a:gd name="connsiteX9" fmla="*/ 455056 w 779813"/>
                      <a:gd name="connsiteY9" fmla="*/ 69775 h 69774"/>
                      <a:gd name="connsiteX10" fmla="*/ 458089 w 779813"/>
                      <a:gd name="connsiteY10" fmla="*/ 69775 h 69774"/>
                      <a:gd name="connsiteX11" fmla="*/ 515730 w 779813"/>
                      <a:gd name="connsiteY11" fmla="*/ 69775 h 69774"/>
                      <a:gd name="connsiteX12" fmla="*/ 567302 w 779813"/>
                      <a:gd name="connsiteY12" fmla="*/ 66742 h 69774"/>
                      <a:gd name="connsiteX13" fmla="*/ 658313 w 779813"/>
                      <a:gd name="connsiteY13" fmla="*/ 60674 h 69774"/>
                      <a:gd name="connsiteX14" fmla="*/ 691685 w 779813"/>
                      <a:gd name="connsiteY14" fmla="*/ 57640 h 69774"/>
                      <a:gd name="connsiteX15" fmla="*/ 718987 w 779813"/>
                      <a:gd name="connsiteY15" fmla="*/ 54606 h 69774"/>
                      <a:gd name="connsiteX16" fmla="*/ 737191 w 779813"/>
                      <a:gd name="connsiteY16" fmla="*/ 51573 h 69774"/>
                      <a:gd name="connsiteX17" fmla="*/ 752359 w 779813"/>
                      <a:gd name="connsiteY17" fmla="*/ 48540 h 69774"/>
                      <a:gd name="connsiteX18" fmla="*/ 758427 w 779813"/>
                      <a:gd name="connsiteY18" fmla="*/ 48540 h 69774"/>
                      <a:gd name="connsiteX19" fmla="*/ 764493 w 779813"/>
                      <a:gd name="connsiteY19" fmla="*/ 45506 h 69774"/>
                      <a:gd name="connsiteX20" fmla="*/ 773596 w 779813"/>
                      <a:gd name="connsiteY20" fmla="*/ 42472 h 69774"/>
                      <a:gd name="connsiteX21" fmla="*/ 776629 w 779813"/>
                      <a:gd name="connsiteY21" fmla="*/ 39438 h 69774"/>
                      <a:gd name="connsiteX22" fmla="*/ 779661 w 779813"/>
                      <a:gd name="connsiteY22" fmla="*/ 33371 h 69774"/>
                      <a:gd name="connsiteX23" fmla="*/ 667416 w 779813"/>
                      <a:gd name="connsiteY23" fmla="*/ 9101 h 69774"/>
                      <a:gd name="connsiteX24" fmla="*/ 737191 w 779813"/>
                      <a:gd name="connsiteY24" fmla="*/ 36405 h 69774"/>
                      <a:gd name="connsiteX25" fmla="*/ 718987 w 779813"/>
                      <a:gd name="connsiteY25" fmla="*/ 39438 h 69774"/>
                      <a:gd name="connsiteX26" fmla="*/ 691685 w 779813"/>
                      <a:gd name="connsiteY26" fmla="*/ 42472 h 69774"/>
                      <a:gd name="connsiteX27" fmla="*/ 658313 w 779813"/>
                      <a:gd name="connsiteY27" fmla="*/ 45506 h 69774"/>
                      <a:gd name="connsiteX28" fmla="*/ 567302 w 779813"/>
                      <a:gd name="connsiteY28" fmla="*/ 51573 h 69774"/>
                      <a:gd name="connsiteX29" fmla="*/ 458089 w 779813"/>
                      <a:gd name="connsiteY29" fmla="*/ 54606 h 69774"/>
                      <a:gd name="connsiteX30" fmla="*/ 452021 w 779813"/>
                      <a:gd name="connsiteY30" fmla="*/ 54606 h 69774"/>
                      <a:gd name="connsiteX31" fmla="*/ 424719 w 779813"/>
                      <a:gd name="connsiteY31" fmla="*/ 54606 h 69774"/>
                      <a:gd name="connsiteX32" fmla="*/ 391347 w 779813"/>
                      <a:gd name="connsiteY32" fmla="*/ 54606 h 69774"/>
                      <a:gd name="connsiteX33" fmla="*/ 178988 w 779813"/>
                      <a:gd name="connsiteY33" fmla="*/ 48540 h 69774"/>
                      <a:gd name="connsiteX34" fmla="*/ 39438 w 779813"/>
                      <a:gd name="connsiteY34" fmla="*/ 33371 h 69774"/>
                      <a:gd name="connsiteX35" fmla="*/ 24269 w 779813"/>
                      <a:gd name="connsiteY35" fmla="*/ 30337 h 69774"/>
                      <a:gd name="connsiteX36" fmla="*/ 115281 w 779813"/>
                      <a:gd name="connsiteY36" fmla="*/ 18202 h 69774"/>
                      <a:gd name="connsiteX37" fmla="*/ 391347 w 779813"/>
                      <a:gd name="connsiteY37" fmla="*/ 9101 h 69774"/>
                      <a:gd name="connsiteX38" fmla="*/ 667416 w 779813"/>
                      <a:gd name="connsiteY38" fmla="*/ 18202 h 69774"/>
                      <a:gd name="connsiteX39" fmla="*/ 758427 w 779813"/>
                      <a:gd name="connsiteY39" fmla="*/ 30337 h 69774"/>
                      <a:gd name="connsiteX40" fmla="*/ 752359 w 779813"/>
                      <a:gd name="connsiteY40" fmla="*/ 30337 h 69774"/>
                      <a:gd name="connsiteX41" fmla="*/ 746291 w 779813"/>
                      <a:gd name="connsiteY41" fmla="*/ 30337 h 69774"/>
                      <a:gd name="connsiteX42" fmla="*/ 737191 w 779813"/>
                      <a:gd name="connsiteY42" fmla="*/ 36405 h 697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</a:cxnLst>
                    <a:rect l="l" t="t" r="r" b="b"/>
                    <a:pathLst>
                      <a:path w="779813" h="69774">
                        <a:moveTo>
                          <a:pt x="667416" y="9101"/>
                        </a:moveTo>
                        <a:cubicBezTo>
                          <a:pt x="597639" y="3034"/>
                          <a:pt x="497527" y="0"/>
                          <a:pt x="391347" y="0"/>
                        </a:cubicBezTo>
                        <a:cubicBezTo>
                          <a:pt x="285167" y="0"/>
                          <a:pt x="185055" y="3034"/>
                          <a:pt x="115281" y="9101"/>
                        </a:cubicBezTo>
                        <a:cubicBezTo>
                          <a:pt x="45506" y="15169"/>
                          <a:pt x="0" y="24269"/>
                          <a:pt x="0" y="33371"/>
                        </a:cubicBezTo>
                        <a:cubicBezTo>
                          <a:pt x="0" y="36405"/>
                          <a:pt x="3033" y="39438"/>
                          <a:pt x="9101" y="42472"/>
                        </a:cubicBezTo>
                        <a:cubicBezTo>
                          <a:pt x="15169" y="45506"/>
                          <a:pt x="24269" y="48540"/>
                          <a:pt x="36403" y="48540"/>
                        </a:cubicBezTo>
                        <a:cubicBezTo>
                          <a:pt x="66740" y="54606"/>
                          <a:pt x="118314" y="60674"/>
                          <a:pt x="178988" y="63708"/>
                        </a:cubicBezTo>
                        <a:cubicBezTo>
                          <a:pt x="239662" y="66742"/>
                          <a:pt x="312472" y="69775"/>
                          <a:pt x="391347" y="69775"/>
                        </a:cubicBezTo>
                        <a:cubicBezTo>
                          <a:pt x="403483" y="69775"/>
                          <a:pt x="415617" y="69775"/>
                          <a:pt x="424719" y="69775"/>
                        </a:cubicBezTo>
                        <a:cubicBezTo>
                          <a:pt x="436853" y="69775"/>
                          <a:pt x="445954" y="69775"/>
                          <a:pt x="455056" y="69775"/>
                        </a:cubicBezTo>
                        <a:lnTo>
                          <a:pt x="458089" y="69775"/>
                        </a:lnTo>
                        <a:cubicBezTo>
                          <a:pt x="476291" y="69775"/>
                          <a:pt x="497527" y="69775"/>
                          <a:pt x="515730" y="69775"/>
                        </a:cubicBezTo>
                        <a:cubicBezTo>
                          <a:pt x="533932" y="69775"/>
                          <a:pt x="552133" y="69775"/>
                          <a:pt x="567302" y="66742"/>
                        </a:cubicBezTo>
                        <a:cubicBezTo>
                          <a:pt x="600674" y="63708"/>
                          <a:pt x="631011" y="63708"/>
                          <a:pt x="658313" y="60674"/>
                        </a:cubicBezTo>
                        <a:cubicBezTo>
                          <a:pt x="670449" y="60674"/>
                          <a:pt x="682584" y="57640"/>
                          <a:pt x="691685" y="57640"/>
                        </a:cubicBezTo>
                        <a:cubicBezTo>
                          <a:pt x="700786" y="57640"/>
                          <a:pt x="712921" y="54606"/>
                          <a:pt x="718987" y="54606"/>
                        </a:cubicBezTo>
                        <a:cubicBezTo>
                          <a:pt x="725055" y="54606"/>
                          <a:pt x="731123" y="51573"/>
                          <a:pt x="737191" y="51573"/>
                        </a:cubicBezTo>
                        <a:cubicBezTo>
                          <a:pt x="743258" y="51573"/>
                          <a:pt x="746291" y="48540"/>
                          <a:pt x="752359" y="48540"/>
                        </a:cubicBezTo>
                        <a:cubicBezTo>
                          <a:pt x="755392" y="48540"/>
                          <a:pt x="755392" y="48540"/>
                          <a:pt x="758427" y="48540"/>
                        </a:cubicBezTo>
                        <a:cubicBezTo>
                          <a:pt x="761460" y="48540"/>
                          <a:pt x="764493" y="48540"/>
                          <a:pt x="764493" y="45506"/>
                        </a:cubicBezTo>
                        <a:cubicBezTo>
                          <a:pt x="767528" y="45506"/>
                          <a:pt x="770561" y="42472"/>
                          <a:pt x="773596" y="42472"/>
                        </a:cubicBezTo>
                        <a:cubicBezTo>
                          <a:pt x="773596" y="42472"/>
                          <a:pt x="776629" y="42472"/>
                          <a:pt x="776629" y="39438"/>
                        </a:cubicBezTo>
                        <a:cubicBezTo>
                          <a:pt x="779661" y="36405"/>
                          <a:pt x="779661" y="36405"/>
                          <a:pt x="779661" y="33371"/>
                        </a:cubicBezTo>
                        <a:cubicBezTo>
                          <a:pt x="782696" y="24269"/>
                          <a:pt x="740224" y="15169"/>
                          <a:pt x="667416" y="9101"/>
                        </a:cubicBezTo>
                        <a:close/>
                        <a:moveTo>
                          <a:pt x="737191" y="36405"/>
                        </a:moveTo>
                        <a:cubicBezTo>
                          <a:pt x="731123" y="36405"/>
                          <a:pt x="725055" y="39438"/>
                          <a:pt x="718987" y="39438"/>
                        </a:cubicBezTo>
                        <a:cubicBezTo>
                          <a:pt x="709887" y="39438"/>
                          <a:pt x="700786" y="42472"/>
                          <a:pt x="691685" y="42472"/>
                        </a:cubicBezTo>
                        <a:cubicBezTo>
                          <a:pt x="682584" y="42472"/>
                          <a:pt x="670449" y="45506"/>
                          <a:pt x="658313" y="45506"/>
                        </a:cubicBezTo>
                        <a:cubicBezTo>
                          <a:pt x="631011" y="48540"/>
                          <a:pt x="600674" y="48540"/>
                          <a:pt x="567302" y="51573"/>
                        </a:cubicBezTo>
                        <a:cubicBezTo>
                          <a:pt x="533932" y="54606"/>
                          <a:pt x="494494" y="54606"/>
                          <a:pt x="458089" y="54606"/>
                        </a:cubicBezTo>
                        <a:cubicBezTo>
                          <a:pt x="455056" y="54606"/>
                          <a:pt x="452021" y="54606"/>
                          <a:pt x="452021" y="54606"/>
                        </a:cubicBezTo>
                        <a:cubicBezTo>
                          <a:pt x="442921" y="54606"/>
                          <a:pt x="433820" y="54606"/>
                          <a:pt x="424719" y="54606"/>
                        </a:cubicBezTo>
                        <a:cubicBezTo>
                          <a:pt x="412584" y="54606"/>
                          <a:pt x="403483" y="54606"/>
                          <a:pt x="391347" y="54606"/>
                        </a:cubicBezTo>
                        <a:cubicBezTo>
                          <a:pt x="315505" y="54606"/>
                          <a:pt x="242697" y="51573"/>
                          <a:pt x="178988" y="48540"/>
                        </a:cubicBezTo>
                        <a:cubicBezTo>
                          <a:pt x="118314" y="45506"/>
                          <a:pt x="69775" y="39438"/>
                          <a:pt x="39438" y="33371"/>
                        </a:cubicBezTo>
                        <a:cubicBezTo>
                          <a:pt x="33370" y="33371"/>
                          <a:pt x="30337" y="30337"/>
                          <a:pt x="24269" y="30337"/>
                        </a:cubicBezTo>
                        <a:cubicBezTo>
                          <a:pt x="39438" y="27303"/>
                          <a:pt x="63707" y="21236"/>
                          <a:pt x="115281" y="18202"/>
                        </a:cubicBezTo>
                        <a:cubicBezTo>
                          <a:pt x="188088" y="12135"/>
                          <a:pt x="285167" y="9101"/>
                          <a:pt x="391347" y="9101"/>
                        </a:cubicBezTo>
                        <a:cubicBezTo>
                          <a:pt x="497527" y="9101"/>
                          <a:pt x="594606" y="12135"/>
                          <a:pt x="667416" y="18202"/>
                        </a:cubicBezTo>
                        <a:cubicBezTo>
                          <a:pt x="715954" y="21236"/>
                          <a:pt x="743258" y="27303"/>
                          <a:pt x="758427" y="30337"/>
                        </a:cubicBezTo>
                        <a:cubicBezTo>
                          <a:pt x="758427" y="30337"/>
                          <a:pt x="755392" y="30337"/>
                          <a:pt x="752359" y="30337"/>
                        </a:cubicBezTo>
                        <a:cubicBezTo>
                          <a:pt x="749324" y="30337"/>
                          <a:pt x="749324" y="30337"/>
                          <a:pt x="746291" y="30337"/>
                        </a:cubicBezTo>
                        <a:cubicBezTo>
                          <a:pt x="743258" y="36405"/>
                          <a:pt x="740224" y="36405"/>
                          <a:pt x="737191" y="36405"/>
                        </a:cubicBezTo>
                        <a:close/>
                      </a:path>
                    </a:pathLst>
                  </a:custGeom>
                  <a:solidFill>
                    <a:srgbClr val="7F95BC"/>
                  </a:solidFill>
                  <a:ln w="303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100" name="任意多边形: 形状 99">
                  <a:extLst>
                    <a:ext uri="{FF2B5EF4-FFF2-40B4-BE49-F238E27FC236}">
                      <a16:creationId xmlns:a16="http://schemas.microsoft.com/office/drawing/2014/main" id="{91A5BE93-8600-4E3A-934F-CAA47D518BBE}"/>
                    </a:ext>
                  </a:extLst>
                </p:cNvPr>
                <p:cNvSpPr/>
                <p:nvPr/>
              </p:nvSpPr>
              <p:spPr>
                <a:xfrm>
                  <a:off x="25094197" y="11917707"/>
                  <a:ext cx="743258" cy="60674"/>
                </a:xfrm>
                <a:custGeom>
                  <a:avLst/>
                  <a:gdLst>
                    <a:gd name="connsiteX0" fmla="*/ 0 w 743258"/>
                    <a:gd name="connsiteY0" fmla="*/ 0 h 60674"/>
                    <a:gd name="connsiteX1" fmla="*/ 0 w 743258"/>
                    <a:gd name="connsiteY1" fmla="*/ 27303 h 60674"/>
                    <a:gd name="connsiteX2" fmla="*/ 351909 w 743258"/>
                    <a:gd name="connsiteY2" fmla="*/ 60674 h 60674"/>
                    <a:gd name="connsiteX3" fmla="*/ 743258 w 743258"/>
                    <a:gd name="connsiteY3" fmla="*/ 27303 h 60674"/>
                    <a:gd name="connsiteX4" fmla="*/ 743258 w 743258"/>
                    <a:gd name="connsiteY4" fmla="*/ 0 h 60674"/>
                    <a:gd name="connsiteX5" fmla="*/ 740226 w 743258"/>
                    <a:gd name="connsiteY5" fmla="*/ 0 h 60674"/>
                    <a:gd name="connsiteX6" fmla="*/ 3033 w 743258"/>
                    <a:gd name="connsiteY6" fmla="*/ 0 h 60674"/>
                    <a:gd name="connsiteX7" fmla="*/ 0 w 743258"/>
                    <a:gd name="connsiteY7" fmla="*/ 0 h 60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43258" h="60674">
                      <a:moveTo>
                        <a:pt x="0" y="0"/>
                      </a:moveTo>
                      <a:cubicBezTo>
                        <a:pt x="0" y="9101"/>
                        <a:pt x="0" y="18202"/>
                        <a:pt x="0" y="27303"/>
                      </a:cubicBezTo>
                      <a:cubicBezTo>
                        <a:pt x="121348" y="51572"/>
                        <a:pt x="242697" y="60674"/>
                        <a:pt x="351909" y="60674"/>
                      </a:cubicBezTo>
                      <a:cubicBezTo>
                        <a:pt x="555168" y="60674"/>
                        <a:pt x="715954" y="33370"/>
                        <a:pt x="743258" y="27303"/>
                      </a:cubicBezTo>
                      <a:cubicBezTo>
                        <a:pt x="743258" y="18202"/>
                        <a:pt x="743258" y="9101"/>
                        <a:pt x="743258" y="0"/>
                      </a:cubicBezTo>
                      <a:cubicBezTo>
                        <a:pt x="743258" y="0"/>
                        <a:pt x="740226" y="0"/>
                        <a:pt x="740226" y="0"/>
                      </a:cubicBezTo>
                      <a:cubicBezTo>
                        <a:pt x="737191" y="0"/>
                        <a:pt x="357977" y="75843"/>
                        <a:pt x="3033" y="0"/>
                      </a:cubicBezTo>
                      <a:cubicBezTo>
                        <a:pt x="3033" y="0"/>
                        <a:pt x="3033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3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0CE79558-5B09-4FBA-88ED-D02649B27465}"/>
                  </a:ext>
                </a:extLst>
              </p:cNvPr>
              <p:cNvSpPr/>
              <p:nvPr/>
            </p:nvSpPr>
            <p:spPr>
              <a:xfrm>
                <a:off x="25230714" y="11420178"/>
                <a:ext cx="464156" cy="122653"/>
              </a:xfrm>
              <a:custGeom>
                <a:avLst/>
                <a:gdLst>
                  <a:gd name="connsiteX0" fmla="*/ 464157 w 464156"/>
                  <a:gd name="connsiteY0" fmla="*/ 115281 h 122653"/>
                  <a:gd name="connsiteX1" fmla="*/ 248764 w 464156"/>
                  <a:gd name="connsiteY1" fmla="*/ 0 h 122653"/>
                  <a:gd name="connsiteX2" fmla="*/ 0 w 464156"/>
                  <a:gd name="connsiteY2" fmla="*/ 112248 h 122653"/>
                  <a:gd name="connsiteX3" fmla="*/ 464157 w 464156"/>
                  <a:gd name="connsiteY3" fmla="*/ 115281 h 122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4156" h="122653">
                    <a:moveTo>
                      <a:pt x="464157" y="115281"/>
                    </a:moveTo>
                    <a:cubicBezTo>
                      <a:pt x="464157" y="115281"/>
                      <a:pt x="364045" y="0"/>
                      <a:pt x="248764" y="0"/>
                    </a:cubicBezTo>
                    <a:cubicBezTo>
                      <a:pt x="78876" y="0"/>
                      <a:pt x="0" y="112248"/>
                      <a:pt x="0" y="112248"/>
                    </a:cubicBezTo>
                    <a:cubicBezTo>
                      <a:pt x="0" y="112248"/>
                      <a:pt x="270001" y="133484"/>
                      <a:pt x="464157" y="115281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44170BD5-CCA0-409A-A7EA-2C97896FCFC0}"/>
                  </a:ext>
                </a:extLst>
              </p:cNvPr>
              <p:cNvSpPr/>
              <p:nvPr/>
            </p:nvSpPr>
            <p:spPr>
              <a:xfrm>
                <a:off x="25079028" y="11104582"/>
                <a:ext cx="770562" cy="427844"/>
              </a:xfrm>
              <a:custGeom>
                <a:avLst/>
                <a:gdLst>
                  <a:gd name="connsiteX0" fmla="*/ 6068 w 770562"/>
                  <a:gd name="connsiteY0" fmla="*/ 427844 h 427844"/>
                  <a:gd name="connsiteX1" fmla="*/ 6068 w 770562"/>
                  <a:gd name="connsiteY1" fmla="*/ 427844 h 427844"/>
                  <a:gd name="connsiteX2" fmla="*/ 0 w 770562"/>
                  <a:gd name="connsiteY2" fmla="*/ 421776 h 427844"/>
                  <a:gd name="connsiteX3" fmla="*/ 103147 w 770562"/>
                  <a:gd name="connsiteY3" fmla="*/ 209417 h 427844"/>
                  <a:gd name="connsiteX4" fmla="*/ 385281 w 770562"/>
                  <a:gd name="connsiteY4" fmla="*/ 91 h 427844"/>
                  <a:gd name="connsiteX5" fmla="*/ 667416 w 770562"/>
                  <a:gd name="connsiteY5" fmla="*/ 209417 h 427844"/>
                  <a:gd name="connsiteX6" fmla="*/ 770563 w 770562"/>
                  <a:gd name="connsiteY6" fmla="*/ 412676 h 427844"/>
                  <a:gd name="connsiteX7" fmla="*/ 767528 w 770562"/>
                  <a:gd name="connsiteY7" fmla="*/ 418743 h 427844"/>
                  <a:gd name="connsiteX8" fmla="*/ 761460 w 770562"/>
                  <a:gd name="connsiteY8" fmla="*/ 415709 h 427844"/>
                  <a:gd name="connsiteX9" fmla="*/ 385281 w 770562"/>
                  <a:gd name="connsiteY9" fmla="*/ 12226 h 427844"/>
                  <a:gd name="connsiteX10" fmla="*/ 379214 w 770562"/>
                  <a:gd name="connsiteY10" fmla="*/ 12226 h 427844"/>
                  <a:gd name="connsiteX11" fmla="*/ 9101 w 770562"/>
                  <a:gd name="connsiteY11" fmla="*/ 424810 h 427844"/>
                  <a:gd name="connsiteX12" fmla="*/ 6068 w 770562"/>
                  <a:gd name="connsiteY12" fmla="*/ 427844 h 427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0562" h="427844">
                    <a:moveTo>
                      <a:pt x="6068" y="427844"/>
                    </a:moveTo>
                    <a:cubicBezTo>
                      <a:pt x="6068" y="427844"/>
                      <a:pt x="6068" y="427844"/>
                      <a:pt x="6068" y="427844"/>
                    </a:cubicBezTo>
                    <a:cubicBezTo>
                      <a:pt x="0" y="427844"/>
                      <a:pt x="0" y="421776"/>
                      <a:pt x="0" y="421776"/>
                    </a:cubicBezTo>
                    <a:cubicBezTo>
                      <a:pt x="0" y="421776"/>
                      <a:pt x="39438" y="312564"/>
                      <a:pt x="103147" y="209417"/>
                    </a:cubicBezTo>
                    <a:cubicBezTo>
                      <a:pt x="191123" y="69867"/>
                      <a:pt x="288202" y="-2943"/>
                      <a:pt x="385281" y="91"/>
                    </a:cubicBezTo>
                    <a:cubicBezTo>
                      <a:pt x="482360" y="3125"/>
                      <a:pt x="579438" y="75934"/>
                      <a:pt x="667416" y="209417"/>
                    </a:cubicBezTo>
                    <a:cubicBezTo>
                      <a:pt x="734158" y="309530"/>
                      <a:pt x="770563" y="409642"/>
                      <a:pt x="770563" y="412676"/>
                    </a:cubicBezTo>
                    <a:cubicBezTo>
                      <a:pt x="770563" y="415709"/>
                      <a:pt x="770563" y="418743"/>
                      <a:pt x="767528" y="418743"/>
                    </a:cubicBezTo>
                    <a:cubicBezTo>
                      <a:pt x="764495" y="418743"/>
                      <a:pt x="761460" y="418743"/>
                      <a:pt x="761460" y="415709"/>
                    </a:cubicBezTo>
                    <a:cubicBezTo>
                      <a:pt x="761460" y="412676"/>
                      <a:pt x="609775" y="18294"/>
                      <a:pt x="385281" y="12226"/>
                    </a:cubicBezTo>
                    <a:cubicBezTo>
                      <a:pt x="382246" y="12226"/>
                      <a:pt x="382246" y="12226"/>
                      <a:pt x="379214" y="12226"/>
                    </a:cubicBezTo>
                    <a:cubicBezTo>
                      <a:pt x="157753" y="12226"/>
                      <a:pt x="9101" y="421776"/>
                      <a:pt x="9101" y="424810"/>
                    </a:cubicBezTo>
                    <a:cubicBezTo>
                      <a:pt x="12136" y="427844"/>
                      <a:pt x="9101" y="427844"/>
                      <a:pt x="6068" y="42784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3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271601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图形 1">
            <a:extLst>
              <a:ext uri="{FF2B5EF4-FFF2-40B4-BE49-F238E27FC236}">
                <a16:creationId xmlns:a16="http://schemas.microsoft.com/office/drawing/2014/main" id="{DBCC3E69-EC3B-4908-9F60-A59751869900}"/>
              </a:ext>
            </a:extLst>
          </p:cNvPr>
          <p:cNvGrpSpPr/>
          <p:nvPr/>
        </p:nvGrpSpPr>
        <p:grpSpPr>
          <a:xfrm>
            <a:off x="2161539" y="1884536"/>
            <a:ext cx="6845978" cy="4760467"/>
            <a:chOff x="2161539" y="1884536"/>
            <a:chExt cx="6845978" cy="4760467"/>
          </a:xfrm>
        </p:grpSpPr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972F005F-E30C-4A70-986E-6220808D2EA7}"/>
                </a:ext>
              </a:extLst>
            </p:cNvPr>
            <p:cNvSpPr/>
            <p:nvPr/>
          </p:nvSpPr>
          <p:spPr>
            <a:xfrm>
              <a:off x="4414406" y="6041025"/>
              <a:ext cx="2186776" cy="564640"/>
            </a:xfrm>
            <a:custGeom>
              <a:avLst/>
              <a:gdLst>
                <a:gd name="connsiteX0" fmla="*/ 2186777 w 2186776"/>
                <a:gd name="connsiteY0" fmla="*/ 547450 h 564640"/>
                <a:gd name="connsiteX1" fmla="*/ 1121653 w 2186776"/>
                <a:gd name="connsiteY1" fmla="*/ 12 h 564640"/>
                <a:gd name="connsiteX2" fmla="*/ 0 w 2186776"/>
                <a:gd name="connsiteY2" fmla="*/ 547450 h 564640"/>
                <a:gd name="connsiteX3" fmla="*/ 2186777 w 2186776"/>
                <a:gd name="connsiteY3" fmla="*/ 547450 h 564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6776" h="564640">
                  <a:moveTo>
                    <a:pt x="2186777" y="547450"/>
                  </a:moveTo>
                  <a:cubicBezTo>
                    <a:pt x="2186777" y="547450"/>
                    <a:pt x="1588761" y="-2963"/>
                    <a:pt x="1121653" y="12"/>
                  </a:cubicBezTo>
                  <a:cubicBezTo>
                    <a:pt x="654545" y="2987"/>
                    <a:pt x="0" y="547450"/>
                    <a:pt x="0" y="547450"/>
                  </a:cubicBezTo>
                  <a:cubicBezTo>
                    <a:pt x="0" y="547450"/>
                    <a:pt x="1758347" y="586128"/>
                    <a:pt x="2186777" y="547450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74CAC282-BC28-4AE8-B801-9CA74A73A55E}"/>
                </a:ext>
              </a:extLst>
            </p:cNvPr>
            <p:cNvSpPr/>
            <p:nvPr/>
          </p:nvSpPr>
          <p:spPr>
            <a:xfrm>
              <a:off x="5881183" y="6124343"/>
              <a:ext cx="1862479" cy="481652"/>
            </a:xfrm>
            <a:custGeom>
              <a:avLst/>
              <a:gdLst>
                <a:gd name="connsiteX0" fmla="*/ 1862480 w 1862479"/>
                <a:gd name="connsiteY0" fmla="*/ 467107 h 481652"/>
                <a:gd name="connsiteX1" fmla="*/ 955042 w 1862479"/>
                <a:gd name="connsiteY1" fmla="*/ 0 h 481652"/>
                <a:gd name="connsiteX2" fmla="*/ 0 w 1862479"/>
                <a:gd name="connsiteY2" fmla="*/ 467107 h 481652"/>
                <a:gd name="connsiteX3" fmla="*/ 1862480 w 1862479"/>
                <a:gd name="connsiteY3" fmla="*/ 467107 h 48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2479" h="481652">
                  <a:moveTo>
                    <a:pt x="1862480" y="467107"/>
                  </a:moveTo>
                  <a:cubicBezTo>
                    <a:pt x="1862480" y="467107"/>
                    <a:pt x="1350744" y="0"/>
                    <a:pt x="955042" y="0"/>
                  </a:cubicBezTo>
                  <a:cubicBezTo>
                    <a:pt x="559339" y="2975"/>
                    <a:pt x="0" y="467107"/>
                    <a:pt x="0" y="467107"/>
                  </a:cubicBezTo>
                  <a:cubicBezTo>
                    <a:pt x="0" y="467107"/>
                    <a:pt x="1499504" y="499835"/>
                    <a:pt x="1862480" y="467107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68A5BB75-B426-44E0-9EF9-BE0456EE8BEC}"/>
                </a:ext>
              </a:extLst>
            </p:cNvPr>
            <p:cNvSpPr/>
            <p:nvPr/>
          </p:nvSpPr>
          <p:spPr>
            <a:xfrm>
              <a:off x="2418636" y="3994095"/>
              <a:ext cx="81986" cy="215498"/>
            </a:xfrm>
            <a:custGeom>
              <a:avLst/>
              <a:gdLst>
                <a:gd name="connsiteX0" fmla="*/ 11307 w 81986"/>
                <a:gd name="connsiteY0" fmla="*/ 0 h 215498"/>
                <a:gd name="connsiteX1" fmla="*/ 79737 w 81986"/>
                <a:gd name="connsiteY1" fmla="*/ 124959 h 215498"/>
                <a:gd name="connsiteX2" fmla="*/ 67836 w 81986"/>
                <a:gd name="connsiteY2" fmla="*/ 214215 h 215498"/>
                <a:gd name="connsiteX3" fmla="*/ 5357 w 81986"/>
                <a:gd name="connsiteY3" fmla="*/ 95207 h 215498"/>
                <a:gd name="connsiteX4" fmla="*/ 11307 w 81986"/>
                <a:gd name="connsiteY4" fmla="*/ 0 h 215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986" h="215498">
                  <a:moveTo>
                    <a:pt x="11307" y="0"/>
                  </a:moveTo>
                  <a:cubicBezTo>
                    <a:pt x="11307" y="0"/>
                    <a:pt x="76762" y="92231"/>
                    <a:pt x="79737" y="124959"/>
                  </a:cubicBezTo>
                  <a:cubicBezTo>
                    <a:pt x="82712" y="160661"/>
                    <a:pt x="85688" y="208264"/>
                    <a:pt x="67836" y="214215"/>
                  </a:cubicBezTo>
                  <a:cubicBezTo>
                    <a:pt x="23208" y="229091"/>
                    <a:pt x="44035" y="110083"/>
                    <a:pt x="5357" y="95207"/>
                  </a:cubicBezTo>
                  <a:cubicBezTo>
                    <a:pt x="-9519" y="86281"/>
                    <a:pt x="11307" y="0"/>
                    <a:pt x="11307" y="0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DBCC3E69-EC3B-4908-9F60-A59751869900}"/>
                </a:ext>
              </a:extLst>
            </p:cNvPr>
            <p:cNvGrpSpPr/>
            <p:nvPr/>
          </p:nvGrpSpPr>
          <p:grpSpPr>
            <a:xfrm>
              <a:off x="2223698" y="5582186"/>
              <a:ext cx="238972" cy="500228"/>
              <a:chOff x="2223698" y="5582186"/>
              <a:chExt cx="238972" cy="500228"/>
            </a:xfrm>
          </p:grpSpPr>
          <p:sp>
            <p:nvSpPr>
              <p:cNvPr id="9" name="任意多边形: 形状 8">
                <a:extLst>
                  <a:ext uri="{FF2B5EF4-FFF2-40B4-BE49-F238E27FC236}">
                    <a16:creationId xmlns:a16="http://schemas.microsoft.com/office/drawing/2014/main" id="{DD8DAFF7-4B9F-4657-8B6E-CBD50219F2FD}"/>
                  </a:ext>
                </a:extLst>
              </p:cNvPr>
              <p:cNvSpPr/>
              <p:nvPr/>
            </p:nvSpPr>
            <p:spPr>
              <a:xfrm>
                <a:off x="2263332" y="5582186"/>
                <a:ext cx="199338" cy="488602"/>
              </a:xfrm>
              <a:custGeom>
                <a:avLst/>
                <a:gdLst>
                  <a:gd name="connsiteX0" fmla="*/ 107107 w 199338"/>
                  <a:gd name="connsiteY0" fmla="*/ 669 h 488602"/>
                  <a:gd name="connsiteX1" fmla="*/ 199339 w 199338"/>
                  <a:gd name="connsiteY1" fmla="*/ 164305 h 488602"/>
                  <a:gd name="connsiteX2" fmla="*/ 184463 w 199338"/>
                  <a:gd name="connsiteY2" fmla="*/ 304140 h 488602"/>
                  <a:gd name="connsiteX3" fmla="*/ 127934 w 199338"/>
                  <a:gd name="connsiteY3" fmla="*/ 488603 h 488602"/>
                  <a:gd name="connsiteX4" fmla="*/ 0 w 199338"/>
                  <a:gd name="connsiteY4" fmla="*/ 30421 h 488602"/>
                  <a:gd name="connsiteX5" fmla="*/ 107107 w 199338"/>
                  <a:gd name="connsiteY5" fmla="*/ 669 h 488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9338" h="488602">
                    <a:moveTo>
                      <a:pt x="107107" y="669"/>
                    </a:moveTo>
                    <a:cubicBezTo>
                      <a:pt x="107107" y="669"/>
                      <a:pt x="121983" y="122653"/>
                      <a:pt x="199339" y="164305"/>
                    </a:cubicBezTo>
                    <a:cubicBezTo>
                      <a:pt x="199339" y="164305"/>
                      <a:pt x="187438" y="253562"/>
                      <a:pt x="184463" y="304140"/>
                    </a:cubicBezTo>
                    <a:cubicBezTo>
                      <a:pt x="181488" y="348768"/>
                      <a:pt x="193388" y="458851"/>
                      <a:pt x="127934" y="488603"/>
                    </a:cubicBezTo>
                    <a:lnTo>
                      <a:pt x="0" y="30421"/>
                    </a:lnTo>
                    <a:cubicBezTo>
                      <a:pt x="0" y="30421"/>
                      <a:pt x="53554" y="-5281"/>
                      <a:pt x="107107" y="669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" name="任意多边形: 形状 9">
                <a:extLst>
                  <a:ext uri="{FF2B5EF4-FFF2-40B4-BE49-F238E27FC236}">
                    <a16:creationId xmlns:a16="http://schemas.microsoft.com/office/drawing/2014/main" id="{CC60DB89-2F8A-4BB8-83A4-CDCDBA91ABEF}"/>
                  </a:ext>
                </a:extLst>
              </p:cNvPr>
              <p:cNvSpPr/>
              <p:nvPr/>
            </p:nvSpPr>
            <p:spPr>
              <a:xfrm rot="-941991">
                <a:off x="2287273" y="5609220"/>
                <a:ext cx="44628" cy="476036"/>
              </a:xfrm>
              <a:custGeom>
                <a:avLst/>
                <a:gdLst>
                  <a:gd name="connsiteX0" fmla="*/ 0 w 44628"/>
                  <a:gd name="connsiteY0" fmla="*/ 0 h 476036"/>
                  <a:gd name="connsiteX1" fmla="*/ 44628 w 44628"/>
                  <a:gd name="connsiteY1" fmla="*/ 0 h 476036"/>
                  <a:gd name="connsiteX2" fmla="*/ 44628 w 44628"/>
                  <a:gd name="connsiteY2" fmla="*/ 476037 h 476036"/>
                  <a:gd name="connsiteX3" fmla="*/ 0 w 44628"/>
                  <a:gd name="connsiteY3" fmla="*/ 476037 h 476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28" h="476036">
                    <a:moveTo>
                      <a:pt x="0" y="0"/>
                    </a:moveTo>
                    <a:lnTo>
                      <a:pt x="44628" y="0"/>
                    </a:lnTo>
                    <a:lnTo>
                      <a:pt x="44628" y="476037"/>
                    </a:lnTo>
                    <a:lnTo>
                      <a:pt x="0" y="476037"/>
                    </a:lnTo>
                    <a:close/>
                  </a:path>
                </a:pathLst>
              </a:custGeom>
              <a:solidFill>
                <a:srgbClr val="38333D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982BCF93-20D2-4B88-9341-78F358E5BCF6}"/>
                </a:ext>
              </a:extLst>
            </p:cNvPr>
            <p:cNvSpPr/>
            <p:nvPr/>
          </p:nvSpPr>
          <p:spPr>
            <a:xfrm>
              <a:off x="4914241" y="3586811"/>
              <a:ext cx="354170" cy="205212"/>
            </a:xfrm>
            <a:custGeom>
              <a:avLst/>
              <a:gdLst>
                <a:gd name="connsiteX0" fmla="*/ 264793 w 354170"/>
                <a:gd name="connsiteY0" fmla="*/ 193069 h 205212"/>
                <a:gd name="connsiteX1" fmla="*/ 258843 w 354170"/>
                <a:gd name="connsiteY1" fmla="*/ 172243 h 205212"/>
                <a:gd name="connsiteX2" fmla="*/ 252893 w 354170"/>
                <a:gd name="connsiteY2" fmla="*/ 169268 h 205212"/>
                <a:gd name="connsiteX3" fmla="*/ 279669 w 354170"/>
                <a:gd name="connsiteY3" fmla="*/ 175218 h 205212"/>
                <a:gd name="connsiteX4" fmla="*/ 327273 w 354170"/>
                <a:gd name="connsiteY4" fmla="*/ 163317 h 205212"/>
                <a:gd name="connsiteX5" fmla="*/ 327273 w 354170"/>
                <a:gd name="connsiteY5" fmla="*/ 157367 h 205212"/>
                <a:gd name="connsiteX6" fmla="*/ 324298 w 354170"/>
                <a:gd name="connsiteY6" fmla="*/ 154391 h 205212"/>
                <a:gd name="connsiteX7" fmla="*/ 351074 w 354170"/>
                <a:gd name="connsiteY7" fmla="*/ 136540 h 205212"/>
                <a:gd name="connsiteX8" fmla="*/ 345124 w 354170"/>
                <a:gd name="connsiteY8" fmla="*/ 106788 h 205212"/>
                <a:gd name="connsiteX9" fmla="*/ 291570 w 354170"/>
                <a:gd name="connsiteY9" fmla="*/ 91912 h 205212"/>
                <a:gd name="connsiteX10" fmla="*/ 214215 w 354170"/>
                <a:gd name="connsiteY10" fmla="*/ 74061 h 205212"/>
                <a:gd name="connsiteX11" fmla="*/ 276694 w 354170"/>
                <a:gd name="connsiteY11" fmla="*/ 68110 h 205212"/>
                <a:gd name="connsiteX12" fmla="*/ 324298 w 354170"/>
                <a:gd name="connsiteY12" fmla="*/ 62160 h 205212"/>
                <a:gd name="connsiteX13" fmla="*/ 306446 w 354170"/>
                <a:gd name="connsiteY13" fmla="*/ 35383 h 205212"/>
                <a:gd name="connsiteX14" fmla="*/ 0 w 354170"/>
                <a:gd name="connsiteY14" fmla="*/ 38358 h 205212"/>
                <a:gd name="connsiteX15" fmla="*/ 23802 w 354170"/>
                <a:gd name="connsiteY15" fmla="*/ 154391 h 205212"/>
                <a:gd name="connsiteX16" fmla="*/ 145785 w 354170"/>
                <a:gd name="connsiteY16" fmla="*/ 193069 h 205212"/>
                <a:gd name="connsiteX17" fmla="*/ 226116 w 354170"/>
                <a:gd name="connsiteY17" fmla="*/ 204970 h 205212"/>
                <a:gd name="connsiteX18" fmla="*/ 264793 w 354170"/>
                <a:gd name="connsiteY18" fmla="*/ 193069 h 205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4170" h="205212">
                  <a:moveTo>
                    <a:pt x="264793" y="193069"/>
                  </a:moveTo>
                  <a:cubicBezTo>
                    <a:pt x="270744" y="184144"/>
                    <a:pt x="264793" y="178193"/>
                    <a:pt x="258843" y="172243"/>
                  </a:cubicBezTo>
                  <a:cubicBezTo>
                    <a:pt x="255868" y="169268"/>
                    <a:pt x="255868" y="169268"/>
                    <a:pt x="252893" y="169268"/>
                  </a:cubicBezTo>
                  <a:cubicBezTo>
                    <a:pt x="261818" y="172243"/>
                    <a:pt x="270744" y="172243"/>
                    <a:pt x="279669" y="175218"/>
                  </a:cubicBezTo>
                  <a:cubicBezTo>
                    <a:pt x="297521" y="178193"/>
                    <a:pt x="315372" y="175218"/>
                    <a:pt x="327273" y="163317"/>
                  </a:cubicBezTo>
                  <a:cubicBezTo>
                    <a:pt x="327273" y="163317"/>
                    <a:pt x="327273" y="157367"/>
                    <a:pt x="327273" y="157367"/>
                  </a:cubicBezTo>
                  <a:cubicBezTo>
                    <a:pt x="327273" y="157367"/>
                    <a:pt x="327273" y="157367"/>
                    <a:pt x="324298" y="154391"/>
                  </a:cubicBezTo>
                  <a:cubicBezTo>
                    <a:pt x="336198" y="151416"/>
                    <a:pt x="348099" y="148441"/>
                    <a:pt x="351074" y="136540"/>
                  </a:cubicBezTo>
                  <a:cubicBezTo>
                    <a:pt x="357025" y="124639"/>
                    <a:pt x="354050" y="115714"/>
                    <a:pt x="345124" y="106788"/>
                  </a:cubicBezTo>
                  <a:cubicBezTo>
                    <a:pt x="330248" y="97863"/>
                    <a:pt x="306446" y="94887"/>
                    <a:pt x="291570" y="91912"/>
                  </a:cubicBezTo>
                  <a:cubicBezTo>
                    <a:pt x="264793" y="85962"/>
                    <a:pt x="240992" y="80011"/>
                    <a:pt x="214215" y="74061"/>
                  </a:cubicBezTo>
                  <a:cubicBezTo>
                    <a:pt x="235041" y="71086"/>
                    <a:pt x="255868" y="71086"/>
                    <a:pt x="276694" y="68110"/>
                  </a:cubicBezTo>
                  <a:cubicBezTo>
                    <a:pt x="288595" y="68110"/>
                    <a:pt x="312397" y="71086"/>
                    <a:pt x="324298" y="62160"/>
                  </a:cubicBezTo>
                  <a:cubicBezTo>
                    <a:pt x="342149" y="50259"/>
                    <a:pt x="315372" y="38358"/>
                    <a:pt x="306446" y="35383"/>
                  </a:cubicBezTo>
                  <a:cubicBezTo>
                    <a:pt x="243967" y="17532"/>
                    <a:pt x="38678" y="-36022"/>
                    <a:pt x="0" y="38358"/>
                  </a:cubicBezTo>
                  <a:cubicBezTo>
                    <a:pt x="0" y="38358"/>
                    <a:pt x="2975" y="127615"/>
                    <a:pt x="23802" y="154391"/>
                  </a:cubicBezTo>
                  <a:cubicBezTo>
                    <a:pt x="53554" y="190094"/>
                    <a:pt x="101157" y="190094"/>
                    <a:pt x="145785" y="193069"/>
                  </a:cubicBezTo>
                  <a:cubicBezTo>
                    <a:pt x="172562" y="196044"/>
                    <a:pt x="199339" y="199020"/>
                    <a:pt x="226116" y="204970"/>
                  </a:cubicBezTo>
                  <a:cubicBezTo>
                    <a:pt x="238017" y="204970"/>
                    <a:pt x="258843" y="207945"/>
                    <a:pt x="264793" y="193069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B56461B8-B1A5-41BF-99BD-CE564F006B37}"/>
                </a:ext>
              </a:extLst>
            </p:cNvPr>
            <p:cNvSpPr/>
            <p:nvPr/>
          </p:nvSpPr>
          <p:spPr>
            <a:xfrm>
              <a:off x="3740949" y="2722762"/>
              <a:ext cx="1201240" cy="1114421"/>
            </a:xfrm>
            <a:custGeom>
              <a:avLst/>
              <a:gdLst>
                <a:gd name="connsiteX0" fmla="*/ 75440 w 1201240"/>
                <a:gd name="connsiteY0" fmla="*/ 6870 h 1114421"/>
                <a:gd name="connsiteX1" fmla="*/ 459242 w 1201240"/>
                <a:gd name="connsiteY1" fmla="*/ 337118 h 1114421"/>
                <a:gd name="connsiteX2" fmla="*/ 652630 w 1201240"/>
                <a:gd name="connsiteY2" fmla="*/ 744721 h 1114421"/>
                <a:gd name="connsiteX3" fmla="*/ 1194118 w 1201240"/>
                <a:gd name="connsiteY3" fmla="*/ 860754 h 1114421"/>
                <a:gd name="connsiteX4" fmla="*/ 1197093 w 1201240"/>
                <a:gd name="connsiteY4" fmla="*/ 1024391 h 1114421"/>
                <a:gd name="connsiteX5" fmla="*/ 465192 w 1201240"/>
                <a:gd name="connsiteY5" fmla="*/ 1051167 h 1114421"/>
                <a:gd name="connsiteX6" fmla="*/ 75440 w 1201240"/>
                <a:gd name="connsiteY6" fmla="*/ 6870 h 1114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1240" h="1114421">
                  <a:moveTo>
                    <a:pt x="75440" y="6870"/>
                  </a:moveTo>
                  <a:cubicBezTo>
                    <a:pt x="197424" y="-46684"/>
                    <a:pt x="396763" y="227035"/>
                    <a:pt x="459242" y="337118"/>
                  </a:cubicBezTo>
                  <a:cubicBezTo>
                    <a:pt x="515771" y="435299"/>
                    <a:pt x="652630" y="744721"/>
                    <a:pt x="652630" y="744721"/>
                  </a:cubicBezTo>
                  <a:cubicBezTo>
                    <a:pt x="652630" y="744721"/>
                    <a:pt x="1161391" y="753647"/>
                    <a:pt x="1194118" y="860754"/>
                  </a:cubicBezTo>
                  <a:cubicBezTo>
                    <a:pt x="1203044" y="920258"/>
                    <a:pt x="1203044" y="985713"/>
                    <a:pt x="1197093" y="1024391"/>
                  </a:cubicBezTo>
                  <a:cubicBezTo>
                    <a:pt x="1089986" y="1173151"/>
                    <a:pt x="578250" y="1104721"/>
                    <a:pt x="465192" y="1051167"/>
                  </a:cubicBezTo>
                  <a:cubicBezTo>
                    <a:pt x="340234" y="994638"/>
                    <a:pt x="-195304" y="125878"/>
                    <a:pt x="75440" y="6870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53F0EFE0-0560-4AA1-8003-26E513111779}"/>
                </a:ext>
              </a:extLst>
            </p:cNvPr>
            <p:cNvSpPr/>
            <p:nvPr/>
          </p:nvSpPr>
          <p:spPr>
            <a:xfrm>
              <a:off x="3364158" y="2372607"/>
              <a:ext cx="65454" cy="136859"/>
            </a:xfrm>
            <a:custGeom>
              <a:avLst/>
              <a:gdLst>
                <a:gd name="connsiteX0" fmla="*/ 0 w 65454"/>
                <a:gd name="connsiteY0" fmla="*/ 0 h 136859"/>
                <a:gd name="connsiteX1" fmla="*/ 62479 w 65454"/>
                <a:gd name="connsiteY1" fmla="*/ 136860 h 136859"/>
                <a:gd name="connsiteX2" fmla="*/ 65454 w 65454"/>
                <a:gd name="connsiteY2" fmla="*/ 53554 h 136859"/>
                <a:gd name="connsiteX3" fmla="*/ 0 w 65454"/>
                <a:gd name="connsiteY3" fmla="*/ 0 h 13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454" h="136859">
                  <a:moveTo>
                    <a:pt x="0" y="0"/>
                  </a:moveTo>
                  <a:cubicBezTo>
                    <a:pt x="0" y="0"/>
                    <a:pt x="11901" y="116033"/>
                    <a:pt x="62479" y="136860"/>
                  </a:cubicBezTo>
                  <a:lnTo>
                    <a:pt x="65454" y="535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BFCC146-704B-4CC5-9822-595078CD3171}"/>
                </a:ext>
              </a:extLst>
            </p:cNvPr>
            <p:cNvSpPr/>
            <p:nvPr/>
          </p:nvSpPr>
          <p:spPr>
            <a:xfrm>
              <a:off x="3714327" y="2173268"/>
              <a:ext cx="99284" cy="232045"/>
            </a:xfrm>
            <a:custGeom>
              <a:avLst/>
              <a:gdLst>
                <a:gd name="connsiteX0" fmla="*/ 93137 w 99284"/>
                <a:gd name="connsiteY0" fmla="*/ 0 h 232045"/>
                <a:gd name="connsiteX1" fmla="*/ 51484 w 99284"/>
                <a:gd name="connsiteY1" fmla="*/ 229091 h 232045"/>
                <a:gd name="connsiteX2" fmla="*/ 906 w 99284"/>
                <a:gd name="connsiteY2" fmla="*/ 11901 h 232045"/>
                <a:gd name="connsiteX3" fmla="*/ 93137 w 99284"/>
                <a:gd name="connsiteY3" fmla="*/ 0 h 232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284" h="232045">
                  <a:moveTo>
                    <a:pt x="93137" y="0"/>
                  </a:moveTo>
                  <a:cubicBezTo>
                    <a:pt x="93137" y="0"/>
                    <a:pt x="122889" y="190413"/>
                    <a:pt x="51484" y="229091"/>
                  </a:cubicBezTo>
                  <a:cubicBezTo>
                    <a:pt x="-10995" y="261818"/>
                    <a:pt x="906" y="11901"/>
                    <a:pt x="906" y="11901"/>
                  </a:cubicBezTo>
                  <a:lnTo>
                    <a:pt x="93137" y="0"/>
                  </a:ln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692CC206-AB94-488F-8933-971ED3638C52}"/>
                </a:ext>
              </a:extLst>
            </p:cNvPr>
            <p:cNvSpPr/>
            <p:nvPr/>
          </p:nvSpPr>
          <p:spPr>
            <a:xfrm>
              <a:off x="3367133" y="2038516"/>
              <a:ext cx="410909" cy="554844"/>
            </a:xfrm>
            <a:custGeom>
              <a:avLst/>
              <a:gdLst>
                <a:gd name="connsiteX0" fmla="*/ 401653 w 410909"/>
                <a:gd name="connsiteY0" fmla="*/ 179381 h 554844"/>
                <a:gd name="connsiteX1" fmla="*/ 401653 w 410909"/>
                <a:gd name="connsiteY1" fmla="*/ 423348 h 554844"/>
                <a:gd name="connsiteX2" fmla="*/ 246942 w 410909"/>
                <a:gd name="connsiteY2" fmla="*/ 554257 h 554844"/>
                <a:gd name="connsiteX3" fmla="*/ 35703 w 410909"/>
                <a:gd name="connsiteY3" fmla="*/ 414422 h 554844"/>
                <a:gd name="connsiteX4" fmla="*/ 0 w 410909"/>
                <a:gd name="connsiteY4" fmla="*/ 194257 h 554844"/>
                <a:gd name="connsiteX5" fmla="*/ 208264 w 410909"/>
                <a:gd name="connsiteY5" fmla="*/ 868 h 554844"/>
                <a:gd name="connsiteX6" fmla="*/ 401653 w 410909"/>
                <a:gd name="connsiteY6" fmla="*/ 179381 h 55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0909" h="554844">
                  <a:moveTo>
                    <a:pt x="401653" y="179381"/>
                  </a:moveTo>
                  <a:cubicBezTo>
                    <a:pt x="401653" y="179381"/>
                    <a:pt x="422479" y="351943"/>
                    <a:pt x="401653" y="423348"/>
                  </a:cubicBezTo>
                  <a:cubicBezTo>
                    <a:pt x="383802" y="488802"/>
                    <a:pt x="294546" y="551282"/>
                    <a:pt x="246942" y="554257"/>
                  </a:cubicBezTo>
                  <a:cubicBezTo>
                    <a:pt x="181488" y="560207"/>
                    <a:pt x="65455" y="521529"/>
                    <a:pt x="35703" y="414422"/>
                  </a:cubicBezTo>
                  <a:cubicBezTo>
                    <a:pt x="14876" y="343017"/>
                    <a:pt x="0" y="244835"/>
                    <a:pt x="0" y="194257"/>
                  </a:cubicBezTo>
                  <a:cubicBezTo>
                    <a:pt x="2975" y="102025"/>
                    <a:pt x="26777" y="24670"/>
                    <a:pt x="208264" y="868"/>
                  </a:cubicBezTo>
                  <a:cubicBezTo>
                    <a:pt x="288595" y="-11033"/>
                    <a:pt x="380826" y="102025"/>
                    <a:pt x="401653" y="179381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991EFBBE-C4F1-4494-AE8D-D522F673BD12}"/>
                </a:ext>
              </a:extLst>
            </p:cNvPr>
            <p:cNvSpPr/>
            <p:nvPr/>
          </p:nvSpPr>
          <p:spPr>
            <a:xfrm>
              <a:off x="3584323" y="2295252"/>
              <a:ext cx="56528" cy="133884"/>
            </a:xfrm>
            <a:custGeom>
              <a:avLst/>
              <a:gdLst>
                <a:gd name="connsiteX0" fmla="*/ 29752 w 56528"/>
                <a:gd name="connsiteY0" fmla="*/ 133884 h 133884"/>
                <a:gd name="connsiteX1" fmla="*/ 5950 w 56528"/>
                <a:gd name="connsiteY1" fmla="*/ 130909 h 133884"/>
                <a:gd name="connsiteX2" fmla="*/ 0 w 56528"/>
                <a:gd name="connsiteY2" fmla="*/ 124959 h 133884"/>
                <a:gd name="connsiteX3" fmla="*/ 5950 w 56528"/>
                <a:gd name="connsiteY3" fmla="*/ 119008 h 133884"/>
                <a:gd name="connsiteX4" fmla="*/ 44628 w 56528"/>
                <a:gd name="connsiteY4" fmla="*/ 119008 h 133884"/>
                <a:gd name="connsiteX5" fmla="*/ 44628 w 56528"/>
                <a:gd name="connsiteY5" fmla="*/ 116033 h 133884"/>
                <a:gd name="connsiteX6" fmla="*/ 29752 w 56528"/>
                <a:gd name="connsiteY6" fmla="*/ 5950 h 133884"/>
                <a:gd name="connsiteX7" fmla="*/ 35703 w 56528"/>
                <a:gd name="connsiteY7" fmla="*/ 0 h 133884"/>
                <a:gd name="connsiteX8" fmla="*/ 41653 w 56528"/>
                <a:gd name="connsiteY8" fmla="*/ 5950 h 133884"/>
                <a:gd name="connsiteX9" fmla="*/ 56529 w 56528"/>
                <a:gd name="connsiteY9" fmla="*/ 116033 h 133884"/>
                <a:gd name="connsiteX10" fmla="*/ 50579 w 56528"/>
                <a:gd name="connsiteY10" fmla="*/ 127934 h 133884"/>
                <a:gd name="connsiteX11" fmla="*/ 29752 w 56528"/>
                <a:gd name="connsiteY11" fmla="*/ 133884 h 13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528" h="133884">
                  <a:moveTo>
                    <a:pt x="29752" y="133884"/>
                  </a:moveTo>
                  <a:cubicBezTo>
                    <a:pt x="17851" y="133884"/>
                    <a:pt x="8926" y="130909"/>
                    <a:pt x="5950" y="130909"/>
                  </a:cubicBezTo>
                  <a:cubicBezTo>
                    <a:pt x="2975" y="130909"/>
                    <a:pt x="0" y="127934"/>
                    <a:pt x="0" y="124959"/>
                  </a:cubicBezTo>
                  <a:cubicBezTo>
                    <a:pt x="0" y="121983"/>
                    <a:pt x="2975" y="119008"/>
                    <a:pt x="5950" y="119008"/>
                  </a:cubicBezTo>
                  <a:cubicBezTo>
                    <a:pt x="17851" y="121983"/>
                    <a:pt x="38678" y="121983"/>
                    <a:pt x="44628" y="119008"/>
                  </a:cubicBezTo>
                  <a:cubicBezTo>
                    <a:pt x="44628" y="119008"/>
                    <a:pt x="44628" y="116033"/>
                    <a:pt x="44628" y="116033"/>
                  </a:cubicBezTo>
                  <a:cubicBezTo>
                    <a:pt x="44628" y="98182"/>
                    <a:pt x="29752" y="8926"/>
                    <a:pt x="29752" y="5950"/>
                  </a:cubicBezTo>
                  <a:cubicBezTo>
                    <a:pt x="29752" y="2975"/>
                    <a:pt x="32727" y="0"/>
                    <a:pt x="35703" y="0"/>
                  </a:cubicBezTo>
                  <a:cubicBezTo>
                    <a:pt x="38678" y="0"/>
                    <a:pt x="41653" y="2975"/>
                    <a:pt x="41653" y="5950"/>
                  </a:cubicBezTo>
                  <a:cubicBezTo>
                    <a:pt x="41653" y="8926"/>
                    <a:pt x="56529" y="98182"/>
                    <a:pt x="56529" y="116033"/>
                  </a:cubicBezTo>
                  <a:cubicBezTo>
                    <a:pt x="56529" y="121983"/>
                    <a:pt x="53554" y="124959"/>
                    <a:pt x="50579" y="127934"/>
                  </a:cubicBezTo>
                  <a:cubicBezTo>
                    <a:pt x="47603" y="130909"/>
                    <a:pt x="38678" y="133884"/>
                    <a:pt x="29752" y="133884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C4CAEA28-AA07-40C7-8B7C-D099966ECADE}"/>
                </a:ext>
              </a:extLst>
            </p:cNvPr>
            <p:cNvSpPr/>
            <p:nvPr/>
          </p:nvSpPr>
          <p:spPr>
            <a:xfrm>
              <a:off x="3672821" y="2273667"/>
              <a:ext cx="40194" cy="40194"/>
            </a:xfrm>
            <a:custGeom>
              <a:avLst/>
              <a:gdLst>
                <a:gd name="connsiteX0" fmla="*/ 758 w 40194"/>
                <a:gd name="connsiteY0" fmla="*/ 24560 h 40194"/>
                <a:gd name="connsiteX1" fmla="*/ 24560 w 40194"/>
                <a:gd name="connsiteY1" fmla="*/ 39436 h 40194"/>
                <a:gd name="connsiteX2" fmla="*/ 39436 w 40194"/>
                <a:gd name="connsiteY2" fmla="*/ 15634 h 40194"/>
                <a:gd name="connsiteX3" fmla="*/ 15634 w 40194"/>
                <a:gd name="connsiteY3" fmla="*/ 758 h 40194"/>
                <a:gd name="connsiteX4" fmla="*/ 758 w 40194"/>
                <a:gd name="connsiteY4" fmla="*/ 24560 h 4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94" h="40194">
                  <a:moveTo>
                    <a:pt x="758" y="24560"/>
                  </a:moveTo>
                  <a:cubicBezTo>
                    <a:pt x="3733" y="36461"/>
                    <a:pt x="12659" y="42411"/>
                    <a:pt x="24560" y="39436"/>
                  </a:cubicBezTo>
                  <a:cubicBezTo>
                    <a:pt x="36461" y="36461"/>
                    <a:pt x="42411" y="27535"/>
                    <a:pt x="39436" y="15634"/>
                  </a:cubicBezTo>
                  <a:cubicBezTo>
                    <a:pt x="36461" y="3733"/>
                    <a:pt x="27535" y="-2217"/>
                    <a:pt x="15634" y="758"/>
                  </a:cubicBezTo>
                  <a:cubicBezTo>
                    <a:pt x="3733" y="3733"/>
                    <a:pt x="-2217" y="12659"/>
                    <a:pt x="758" y="2456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35EDFC2-F6B5-484A-80F9-5605A809F1B0}"/>
                </a:ext>
              </a:extLst>
            </p:cNvPr>
            <p:cNvSpPr/>
            <p:nvPr/>
          </p:nvSpPr>
          <p:spPr>
            <a:xfrm>
              <a:off x="3494309" y="2288543"/>
              <a:ext cx="40194" cy="40019"/>
            </a:xfrm>
            <a:custGeom>
              <a:avLst/>
              <a:gdLst>
                <a:gd name="connsiteX0" fmla="*/ 758 w 40194"/>
                <a:gd name="connsiteY0" fmla="*/ 24560 h 40019"/>
                <a:gd name="connsiteX1" fmla="*/ 24560 w 40194"/>
                <a:gd name="connsiteY1" fmla="*/ 39436 h 40019"/>
                <a:gd name="connsiteX2" fmla="*/ 39436 w 40194"/>
                <a:gd name="connsiteY2" fmla="*/ 15634 h 40019"/>
                <a:gd name="connsiteX3" fmla="*/ 15634 w 40194"/>
                <a:gd name="connsiteY3" fmla="*/ 758 h 40019"/>
                <a:gd name="connsiteX4" fmla="*/ 758 w 40194"/>
                <a:gd name="connsiteY4" fmla="*/ 24560 h 4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94" h="40019">
                  <a:moveTo>
                    <a:pt x="758" y="24560"/>
                  </a:moveTo>
                  <a:cubicBezTo>
                    <a:pt x="3733" y="33485"/>
                    <a:pt x="12659" y="42411"/>
                    <a:pt x="24560" y="39436"/>
                  </a:cubicBezTo>
                  <a:cubicBezTo>
                    <a:pt x="36461" y="36461"/>
                    <a:pt x="42411" y="27535"/>
                    <a:pt x="39436" y="15634"/>
                  </a:cubicBezTo>
                  <a:cubicBezTo>
                    <a:pt x="36461" y="3733"/>
                    <a:pt x="27535" y="-2217"/>
                    <a:pt x="15634" y="758"/>
                  </a:cubicBezTo>
                  <a:cubicBezTo>
                    <a:pt x="3733" y="3733"/>
                    <a:pt x="-2217" y="15634"/>
                    <a:pt x="758" y="2456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19E553A6-AAC4-4C90-AF03-68E8460E3E5D}"/>
                </a:ext>
              </a:extLst>
            </p:cNvPr>
            <p:cNvSpPr/>
            <p:nvPr/>
          </p:nvSpPr>
          <p:spPr>
            <a:xfrm>
              <a:off x="3648545" y="2229797"/>
              <a:ext cx="89744" cy="29752"/>
            </a:xfrm>
            <a:custGeom>
              <a:avLst/>
              <a:gdLst>
                <a:gd name="connsiteX0" fmla="*/ 81563 w 89744"/>
                <a:gd name="connsiteY0" fmla="*/ 29752 h 29752"/>
                <a:gd name="connsiteX1" fmla="*/ 75613 w 89744"/>
                <a:gd name="connsiteY1" fmla="*/ 26777 h 29752"/>
                <a:gd name="connsiteX2" fmla="*/ 10158 w 89744"/>
                <a:gd name="connsiteY2" fmla="*/ 20826 h 29752"/>
                <a:gd name="connsiteX3" fmla="*/ 1232 w 89744"/>
                <a:gd name="connsiteY3" fmla="*/ 17851 h 29752"/>
                <a:gd name="connsiteX4" fmla="*/ 4208 w 89744"/>
                <a:gd name="connsiteY4" fmla="*/ 8926 h 29752"/>
                <a:gd name="connsiteX5" fmla="*/ 87513 w 89744"/>
                <a:gd name="connsiteY5" fmla="*/ 17851 h 29752"/>
                <a:gd name="connsiteX6" fmla="*/ 87513 w 89744"/>
                <a:gd name="connsiteY6" fmla="*/ 29752 h 29752"/>
                <a:gd name="connsiteX7" fmla="*/ 81563 w 89744"/>
                <a:gd name="connsiteY7" fmla="*/ 29752 h 29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29752">
                  <a:moveTo>
                    <a:pt x="81563" y="29752"/>
                  </a:moveTo>
                  <a:cubicBezTo>
                    <a:pt x="78588" y="29752"/>
                    <a:pt x="78588" y="29752"/>
                    <a:pt x="75613" y="26777"/>
                  </a:cubicBezTo>
                  <a:cubicBezTo>
                    <a:pt x="51811" y="0"/>
                    <a:pt x="10158" y="20826"/>
                    <a:pt x="10158" y="20826"/>
                  </a:cubicBezTo>
                  <a:cubicBezTo>
                    <a:pt x="7183" y="23802"/>
                    <a:pt x="1232" y="20826"/>
                    <a:pt x="1232" y="17851"/>
                  </a:cubicBezTo>
                  <a:cubicBezTo>
                    <a:pt x="-1743" y="14876"/>
                    <a:pt x="1232" y="8926"/>
                    <a:pt x="4208" y="8926"/>
                  </a:cubicBezTo>
                  <a:cubicBezTo>
                    <a:pt x="22059" y="0"/>
                    <a:pt x="60736" y="-8926"/>
                    <a:pt x="87513" y="17851"/>
                  </a:cubicBezTo>
                  <a:cubicBezTo>
                    <a:pt x="90489" y="20826"/>
                    <a:pt x="90489" y="26777"/>
                    <a:pt x="87513" y="29752"/>
                  </a:cubicBezTo>
                  <a:cubicBezTo>
                    <a:pt x="84538" y="26777"/>
                    <a:pt x="81563" y="29752"/>
                    <a:pt x="81563" y="29752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8D437967-A5BF-427C-95D5-04780FFA8C53}"/>
                </a:ext>
              </a:extLst>
            </p:cNvPr>
            <p:cNvSpPr/>
            <p:nvPr/>
          </p:nvSpPr>
          <p:spPr>
            <a:xfrm>
              <a:off x="3460108" y="2224839"/>
              <a:ext cx="89744" cy="34710"/>
            </a:xfrm>
            <a:custGeom>
              <a:avLst/>
              <a:gdLst>
                <a:gd name="connsiteX0" fmla="*/ 8182 w 89744"/>
                <a:gd name="connsiteY0" fmla="*/ 34711 h 34710"/>
                <a:gd name="connsiteX1" fmla="*/ 2231 w 89744"/>
                <a:gd name="connsiteY1" fmla="*/ 31736 h 34710"/>
                <a:gd name="connsiteX2" fmla="*/ 2231 w 89744"/>
                <a:gd name="connsiteY2" fmla="*/ 19835 h 34710"/>
                <a:gd name="connsiteX3" fmla="*/ 85537 w 89744"/>
                <a:gd name="connsiteY3" fmla="*/ 10909 h 34710"/>
                <a:gd name="connsiteX4" fmla="*/ 88512 w 89744"/>
                <a:gd name="connsiteY4" fmla="*/ 22810 h 34710"/>
                <a:gd name="connsiteX5" fmla="*/ 76612 w 89744"/>
                <a:gd name="connsiteY5" fmla="*/ 25785 h 34710"/>
                <a:gd name="connsiteX6" fmla="*/ 11157 w 89744"/>
                <a:gd name="connsiteY6" fmla="*/ 31736 h 34710"/>
                <a:gd name="connsiteX7" fmla="*/ 8182 w 89744"/>
                <a:gd name="connsiteY7" fmla="*/ 34711 h 3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4710">
                  <a:moveTo>
                    <a:pt x="8182" y="34711"/>
                  </a:moveTo>
                  <a:cubicBezTo>
                    <a:pt x="5207" y="34711"/>
                    <a:pt x="5207" y="34711"/>
                    <a:pt x="2231" y="31736"/>
                  </a:cubicBezTo>
                  <a:cubicBezTo>
                    <a:pt x="-744" y="28760"/>
                    <a:pt x="-744" y="22810"/>
                    <a:pt x="2231" y="19835"/>
                  </a:cubicBezTo>
                  <a:cubicBezTo>
                    <a:pt x="14132" y="7934"/>
                    <a:pt x="49835" y="-12893"/>
                    <a:pt x="85537" y="10909"/>
                  </a:cubicBezTo>
                  <a:cubicBezTo>
                    <a:pt x="88512" y="13884"/>
                    <a:pt x="91488" y="16860"/>
                    <a:pt x="88512" y="22810"/>
                  </a:cubicBezTo>
                  <a:cubicBezTo>
                    <a:pt x="85537" y="25785"/>
                    <a:pt x="82562" y="28760"/>
                    <a:pt x="76612" y="25785"/>
                  </a:cubicBezTo>
                  <a:cubicBezTo>
                    <a:pt x="40909" y="1983"/>
                    <a:pt x="14132" y="31736"/>
                    <a:pt x="11157" y="31736"/>
                  </a:cubicBezTo>
                  <a:cubicBezTo>
                    <a:pt x="14132" y="34711"/>
                    <a:pt x="11157" y="34711"/>
                    <a:pt x="8182" y="34711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403E0893-1665-41C3-B498-38A94C1F8B38}"/>
                </a:ext>
              </a:extLst>
            </p:cNvPr>
            <p:cNvSpPr/>
            <p:nvPr/>
          </p:nvSpPr>
          <p:spPr>
            <a:xfrm>
              <a:off x="3327125" y="2287853"/>
              <a:ext cx="75710" cy="111296"/>
            </a:xfrm>
            <a:custGeom>
              <a:avLst/>
              <a:gdLst>
                <a:gd name="connsiteX0" fmla="*/ 63810 w 75710"/>
                <a:gd name="connsiteY0" fmla="*/ 16325 h 111296"/>
                <a:gd name="connsiteX1" fmla="*/ 7281 w 75710"/>
                <a:gd name="connsiteY1" fmla="*/ 7399 h 111296"/>
                <a:gd name="connsiteX2" fmla="*/ 63810 w 75710"/>
                <a:gd name="connsiteY2" fmla="*/ 108556 h 111296"/>
                <a:gd name="connsiteX3" fmla="*/ 63810 w 75710"/>
                <a:gd name="connsiteY3" fmla="*/ 16325 h 111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710" h="111296">
                  <a:moveTo>
                    <a:pt x="63810" y="16325"/>
                  </a:moveTo>
                  <a:cubicBezTo>
                    <a:pt x="63810" y="16325"/>
                    <a:pt x="31082" y="-13427"/>
                    <a:pt x="7281" y="7399"/>
                  </a:cubicBezTo>
                  <a:cubicBezTo>
                    <a:pt x="-16521" y="25251"/>
                    <a:pt x="22157" y="129383"/>
                    <a:pt x="63810" y="108556"/>
                  </a:cubicBezTo>
                  <a:cubicBezTo>
                    <a:pt x="90586" y="87730"/>
                    <a:pt x="63810" y="16325"/>
                    <a:pt x="63810" y="16325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1256EE0-6D05-460F-A9A5-DE7DA0796AFC}"/>
                </a:ext>
              </a:extLst>
            </p:cNvPr>
            <p:cNvSpPr/>
            <p:nvPr/>
          </p:nvSpPr>
          <p:spPr>
            <a:xfrm>
              <a:off x="3328089" y="1930367"/>
              <a:ext cx="506678" cy="391662"/>
            </a:xfrm>
            <a:custGeom>
              <a:avLst/>
              <a:gdLst>
                <a:gd name="connsiteX0" fmla="*/ 6317 w 506678"/>
                <a:gd name="connsiteY0" fmla="*/ 293480 h 391662"/>
                <a:gd name="connsiteX1" fmla="*/ 62846 w 506678"/>
                <a:gd name="connsiteY1" fmla="*/ 391662 h 391662"/>
                <a:gd name="connsiteX2" fmla="*/ 113425 w 506678"/>
                <a:gd name="connsiteY2" fmla="*/ 254803 h 391662"/>
                <a:gd name="connsiteX3" fmla="*/ 122350 w 506678"/>
                <a:gd name="connsiteY3" fmla="*/ 251827 h 391662"/>
                <a:gd name="connsiteX4" fmla="*/ 196730 w 506678"/>
                <a:gd name="connsiteY4" fmla="*/ 225051 h 391662"/>
                <a:gd name="connsiteX5" fmla="*/ 208631 w 506678"/>
                <a:gd name="connsiteY5" fmla="*/ 222075 h 391662"/>
                <a:gd name="connsiteX6" fmla="*/ 244334 w 506678"/>
                <a:gd name="connsiteY6" fmla="*/ 242902 h 391662"/>
                <a:gd name="connsiteX7" fmla="*/ 259210 w 506678"/>
                <a:gd name="connsiteY7" fmla="*/ 233976 h 391662"/>
                <a:gd name="connsiteX8" fmla="*/ 309788 w 506678"/>
                <a:gd name="connsiteY8" fmla="*/ 248852 h 391662"/>
                <a:gd name="connsiteX9" fmla="*/ 345491 w 506678"/>
                <a:gd name="connsiteY9" fmla="*/ 257778 h 391662"/>
                <a:gd name="connsiteX10" fmla="*/ 357392 w 506678"/>
                <a:gd name="connsiteY10" fmla="*/ 257778 h 391662"/>
                <a:gd name="connsiteX11" fmla="*/ 369292 w 506678"/>
                <a:gd name="connsiteY11" fmla="*/ 254803 h 391662"/>
                <a:gd name="connsiteX12" fmla="*/ 378218 w 506678"/>
                <a:gd name="connsiteY12" fmla="*/ 260753 h 391662"/>
                <a:gd name="connsiteX13" fmla="*/ 384168 w 506678"/>
                <a:gd name="connsiteY13" fmla="*/ 263728 h 391662"/>
                <a:gd name="connsiteX14" fmla="*/ 390119 w 506678"/>
                <a:gd name="connsiteY14" fmla="*/ 263728 h 391662"/>
                <a:gd name="connsiteX15" fmla="*/ 396069 w 506678"/>
                <a:gd name="connsiteY15" fmla="*/ 266703 h 391662"/>
                <a:gd name="connsiteX16" fmla="*/ 402020 w 506678"/>
                <a:gd name="connsiteY16" fmla="*/ 275629 h 391662"/>
                <a:gd name="connsiteX17" fmla="*/ 419871 w 506678"/>
                <a:gd name="connsiteY17" fmla="*/ 296455 h 391662"/>
                <a:gd name="connsiteX18" fmla="*/ 449623 w 506678"/>
                <a:gd name="connsiteY18" fmla="*/ 308356 h 391662"/>
                <a:gd name="connsiteX19" fmla="*/ 467474 w 506678"/>
                <a:gd name="connsiteY19" fmla="*/ 361910 h 391662"/>
                <a:gd name="connsiteX20" fmla="*/ 476400 w 506678"/>
                <a:gd name="connsiteY20" fmla="*/ 332158 h 391662"/>
                <a:gd name="connsiteX21" fmla="*/ 485325 w 506678"/>
                <a:gd name="connsiteY21" fmla="*/ 329183 h 391662"/>
                <a:gd name="connsiteX22" fmla="*/ 503177 w 506678"/>
                <a:gd name="connsiteY22" fmla="*/ 233976 h 391662"/>
                <a:gd name="connsiteX23" fmla="*/ 485325 w 506678"/>
                <a:gd name="connsiteY23" fmla="*/ 192323 h 391662"/>
                <a:gd name="connsiteX24" fmla="*/ 488301 w 506678"/>
                <a:gd name="connsiteY24" fmla="*/ 159596 h 391662"/>
                <a:gd name="connsiteX25" fmla="*/ 482350 w 506678"/>
                <a:gd name="connsiteY25" fmla="*/ 123893 h 391662"/>
                <a:gd name="connsiteX26" fmla="*/ 464499 w 506678"/>
                <a:gd name="connsiteY26" fmla="*/ 97117 h 391662"/>
                <a:gd name="connsiteX27" fmla="*/ 449623 w 506678"/>
                <a:gd name="connsiteY27" fmla="*/ 55464 h 391662"/>
                <a:gd name="connsiteX28" fmla="*/ 381193 w 506678"/>
                <a:gd name="connsiteY28" fmla="*/ 37612 h 391662"/>
                <a:gd name="connsiteX29" fmla="*/ 259210 w 506678"/>
                <a:gd name="connsiteY29" fmla="*/ 1910 h 391662"/>
                <a:gd name="connsiteX30" fmla="*/ 247309 w 506678"/>
                <a:gd name="connsiteY30" fmla="*/ 7860 h 391662"/>
                <a:gd name="connsiteX31" fmla="*/ 193755 w 506678"/>
                <a:gd name="connsiteY31" fmla="*/ 22736 h 391662"/>
                <a:gd name="connsiteX32" fmla="*/ 161028 w 506678"/>
                <a:gd name="connsiteY32" fmla="*/ 25712 h 391662"/>
                <a:gd name="connsiteX33" fmla="*/ 131276 w 506678"/>
                <a:gd name="connsiteY33" fmla="*/ 58439 h 391662"/>
                <a:gd name="connsiteX34" fmla="*/ 119375 w 506678"/>
                <a:gd name="connsiteY34" fmla="*/ 76290 h 391662"/>
                <a:gd name="connsiteX35" fmla="*/ 89623 w 506678"/>
                <a:gd name="connsiteY35" fmla="*/ 97117 h 391662"/>
                <a:gd name="connsiteX36" fmla="*/ 77722 w 506678"/>
                <a:gd name="connsiteY36" fmla="*/ 94141 h 391662"/>
                <a:gd name="connsiteX37" fmla="*/ 59871 w 506678"/>
                <a:gd name="connsiteY37" fmla="*/ 132819 h 391662"/>
                <a:gd name="connsiteX38" fmla="*/ 6317 w 506678"/>
                <a:gd name="connsiteY38" fmla="*/ 293480 h 391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06678" h="391662">
                  <a:moveTo>
                    <a:pt x="6317" y="293480"/>
                  </a:moveTo>
                  <a:cubicBezTo>
                    <a:pt x="21193" y="347034"/>
                    <a:pt x="62846" y="391662"/>
                    <a:pt x="62846" y="391662"/>
                  </a:cubicBezTo>
                  <a:cubicBezTo>
                    <a:pt x="56896" y="361910"/>
                    <a:pt x="113425" y="254803"/>
                    <a:pt x="113425" y="254803"/>
                  </a:cubicBezTo>
                  <a:cubicBezTo>
                    <a:pt x="113425" y="254803"/>
                    <a:pt x="116400" y="254803"/>
                    <a:pt x="122350" y="251827"/>
                  </a:cubicBezTo>
                  <a:cubicBezTo>
                    <a:pt x="149127" y="251827"/>
                    <a:pt x="175904" y="242902"/>
                    <a:pt x="196730" y="225051"/>
                  </a:cubicBezTo>
                  <a:cubicBezTo>
                    <a:pt x="199706" y="225051"/>
                    <a:pt x="205656" y="222075"/>
                    <a:pt x="208631" y="222075"/>
                  </a:cubicBezTo>
                  <a:cubicBezTo>
                    <a:pt x="217557" y="233976"/>
                    <a:pt x="226482" y="245877"/>
                    <a:pt x="244334" y="242902"/>
                  </a:cubicBezTo>
                  <a:cubicBezTo>
                    <a:pt x="253259" y="242902"/>
                    <a:pt x="256235" y="233976"/>
                    <a:pt x="259210" y="233976"/>
                  </a:cubicBezTo>
                  <a:cubicBezTo>
                    <a:pt x="280036" y="225051"/>
                    <a:pt x="291937" y="239927"/>
                    <a:pt x="309788" y="248852"/>
                  </a:cubicBezTo>
                  <a:cubicBezTo>
                    <a:pt x="321689" y="254803"/>
                    <a:pt x="333590" y="257778"/>
                    <a:pt x="345491" y="257778"/>
                  </a:cubicBezTo>
                  <a:cubicBezTo>
                    <a:pt x="348466" y="257778"/>
                    <a:pt x="354416" y="254803"/>
                    <a:pt x="357392" y="257778"/>
                  </a:cubicBezTo>
                  <a:cubicBezTo>
                    <a:pt x="363342" y="254803"/>
                    <a:pt x="366317" y="254803"/>
                    <a:pt x="369292" y="254803"/>
                  </a:cubicBezTo>
                  <a:cubicBezTo>
                    <a:pt x="372268" y="257778"/>
                    <a:pt x="375243" y="257778"/>
                    <a:pt x="378218" y="260753"/>
                  </a:cubicBezTo>
                  <a:cubicBezTo>
                    <a:pt x="381193" y="260753"/>
                    <a:pt x="381193" y="263728"/>
                    <a:pt x="384168" y="263728"/>
                  </a:cubicBezTo>
                  <a:cubicBezTo>
                    <a:pt x="387144" y="263728"/>
                    <a:pt x="387144" y="263728"/>
                    <a:pt x="390119" y="263728"/>
                  </a:cubicBezTo>
                  <a:cubicBezTo>
                    <a:pt x="393094" y="263728"/>
                    <a:pt x="396069" y="266703"/>
                    <a:pt x="396069" y="266703"/>
                  </a:cubicBezTo>
                  <a:cubicBezTo>
                    <a:pt x="399044" y="269679"/>
                    <a:pt x="402020" y="272654"/>
                    <a:pt x="402020" y="275629"/>
                  </a:cubicBezTo>
                  <a:cubicBezTo>
                    <a:pt x="407970" y="284555"/>
                    <a:pt x="410945" y="290505"/>
                    <a:pt x="419871" y="296455"/>
                  </a:cubicBezTo>
                  <a:cubicBezTo>
                    <a:pt x="425821" y="302406"/>
                    <a:pt x="437722" y="302406"/>
                    <a:pt x="449623" y="308356"/>
                  </a:cubicBezTo>
                  <a:cubicBezTo>
                    <a:pt x="464499" y="326208"/>
                    <a:pt x="470449" y="344059"/>
                    <a:pt x="467474" y="361910"/>
                  </a:cubicBezTo>
                  <a:cubicBezTo>
                    <a:pt x="467474" y="361910"/>
                    <a:pt x="470449" y="350009"/>
                    <a:pt x="476400" y="332158"/>
                  </a:cubicBezTo>
                  <a:cubicBezTo>
                    <a:pt x="479375" y="335133"/>
                    <a:pt x="482350" y="335133"/>
                    <a:pt x="485325" y="329183"/>
                  </a:cubicBezTo>
                  <a:cubicBezTo>
                    <a:pt x="503177" y="299431"/>
                    <a:pt x="512102" y="266703"/>
                    <a:pt x="503177" y="233976"/>
                  </a:cubicBezTo>
                  <a:cubicBezTo>
                    <a:pt x="500202" y="219100"/>
                    <a:pt x="491276" y="207199"/>
                    <a:pt x="485325" y="192323"/>
                  </a:cubicBezTo>
                  <a:cubicBezTo>
                    <a:pt x="476400" y="174472"/>
                    <a:pt x="485325" y="174472"/>
                    <a:pt x="488301" y="159596"/>
                  </a:cubicBezTo>
                  <a:cubicBezTo>
                    <a:pt x="491276" y="147695"/>
                    <a:pt x="485325" y="135794"/>
                    <a:pt x="482350" y="123893"/>
                  </a:cubicBezTo>
                  <a:cubicBezTo>
                    <a:pt x="476400" y="114968"/>
                    <a:pt x="470449" y="106042"/>
                    <a:pt x="464499" y="97117"/>
                  </a:cubicBezTo>
                  <a:cubicBezTo>
                    <a:pt x="452598" y="82241"/>
                    <a:pt x="455573" y="70340"/>
                    <a:pt x="449623" y="55464"/>
                  </a:cubicBezTo>
                  <a:cubicBezTo>
                    <a:pt x="428797" y="31662"/>
                    <a:pt x="404995" y="37612"/>
                    <a:pt x="381193" y="37612"/>
                  </a:cubicBezTo>
                  <a:cubicBezTo>
                    <a:pt x="339540" y="37612"/>
                    <a:pt x="303838" y="-9991"/>
                    <a:pt x="259210" y="1910"/>
                  </a:cubicBezTo>
                  <a:cubicBezTo>
                    <a:pt x="253259" y="1910"/>
                    <a:pt x="250284" y="4885"/>
                    <a:pt x="247309" y="7860"/>
                  </a:cubicBezTo>
                  <a:cubicBezTo>
                    <a:pt x="229458" y="16786"/>
                    <a:pt x="211606" y="22736"/>
                    <a:pt x="193755" y="22736"/>
                  </a:cubicBezTo>
                  <a:cubicBezTo>
                    <a:pt x="181854" y="22736"/>
                    <a:pt x="172929" y="19761"/>
                    <a:pt x="161028" y="25712"/>
                  </a:cubicBezTo>
                  <a:cubicBezTo>
                    <a:pt x="146152" y="31662"/>
                    <a:pt x="140202" y="46538"/>
                    <a:pt x="131276" y="58439"/>
                  </a:cubicBezTo>
                  <a:cubicBezTo>
                    <a:pt x="128301" y="64389"/>
                    <a:pt x="122350" y="70340"/>
                    <a:pt x="119375" y="76290"/>
                  </a:cubicBezTo>
                  <a:cubicBezTo>
                    <a:pt x="107474" y="82241"/>
                    <a:pt x="98549" y="91166"/>
                    <a:pt x="89623" y="97117"/>
                  </a:cubicBezTo>
                  <a:cubicBezTo>
                    <a:pt x="89623" y="94141"/>
                    <a:pt x="92598" y="82241"/>
                    <a:pt x="77722" y="94141"/>
                  </a:cubicBezTo>
                  <a:cubicBezTo>
                    <a:pt x="62846" y="103067"/>
                    <a:pt x="59871" y="117943"/>
                    <a:pt x="59871" y="132819"/>
                  </a:cubicBezTo>
                  <a:cubicBezTo>
                    <a:pt x="367" y="150670"/>
                    <a:pt x="-8559" y="236951"/>
                    <a:pt x="6317" y="293480"/>
                  </a:cubicBez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ECC29020-F18F-4F48-A170-CB14CDACB75A}"/>
                </a:ext>
              </a:extLst>
            </p:cNvPr>
            <p:cNvSpPr/>
            <p:nvPr/>
          </p:nvSpPr>
          <p:spPr>
            <a:xfrm>
              <a:off x="3384984" y="2179963"/>
              <a:ext cx="58760" cy="130165"/>
            </a:xfrm>
            <a:custGeom>
              <a:avLst/>
              <a:gdLst>
                <a:gd name="connsiteX0" fmla="*/ 5950 w 58760"/>
                <a:gd name="connsiteY0" fmla="*/ 130165 h 130165"/>
                <a:gd name="connsiteX1" fmla="*/ 5950 w 58760"/>
                <a:gd name="connsiteY1" fmla="*/ 130165 h 130165"/>
                <a:gd name="connsiteX2" fmla="*/ 0 w 58760"/>
                <a:gd name="connsiteY2" fmla="*/ 124215 h 130165"/>
                <a:gd name="connsiteX3" fmla="*/ 47603 w 58760"/>
                <a:gd name="connsiteY3" fmla="*/ 2231 h 130165"/>
                <a:gd name="connsiteX4" fmla="*/ 56529 w 58760"/>
                <a:gd name="connsiteY4" fmla="*/ 2231 h 130165"/>
                <a:gd name="connsiteX5" fmla="*/ 56529 w 58760"/>
                <a:gd name="connsiteY5" fmla="*/ 11157 h 130165"/>
                <a:gd name="connsiteX6" fmla="*/ 8926 w 58760"/>
                <a:gd name="connsiteY6" fmla="*/ 130165 h 130165"/>
                <a:gd name="connsiteX7" fmla="*/ 5950 w 58760"/>
                <a:gd name="connsiteY7" fmla="*/ 130165 h 130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760" h="130165">
                  <a:moveTo>
                    <a:pt x="5950" y="130165"/>
                  </a:moveTo>
                  <a:cubicBezTo>
                    <a:pt x="5950" y="130165"/>
                    <a:pt x="5950" y="130165"/>
                    <a:pt x="5950" y="130165"/>
                  </a:cubicBezTo>
                  <a:cubicBezTo>
                    <a:pt x="2975" y="130165"/>
                    <a:pt x="0" y="127190"/>
                    <a:pt x="0" y="124215"/>
                  </a:cubicBezTo>
                  <a:cubicBezTo>
                    <a:pt x="5950" y="61736"/>
                    <a:pt x="47603" y="2231"/>
                    <a:pt x="47603" y="2231"/>
                  </a:cubicBezTo>
                  <a:cubicBezTo>
                    <a:pt x="50579" y="-744"/>
                    <a:pt x="53554" y="-744"/>
                    <a:pt x="56529" y="2231"/>
                  </a:cubicBezTo>
                  <a:cubicBezTo>
                    <a:pt x="59504" y="5207"/>
                    <a:pt x="59504" y="8182"/>
                    <a:pt x="56529" y="11157"/>
                  </a:cubicBezTo>
                  <a:cubicBezTo>
                    <a:pt x="56529" y="11157"/>
                    <a:pt x="14876" y="67686"/>
                    <a:pt x="8926" y="130165"/>
                  </a:cubicBezTo>
                  <a:cubicBezTo>
                    <a:pt x="11901" y="127190"/>
                    <a:pt x="8926" y="130165"/>
                    <a:pt x="5950" y="130165"/>
                  </a:cubicBezTo>
                  <a:close/>
                </a:path>
              </a:pathLst>
            </a:custGeom>
            <a:solidFill>
              <a:srgbClr val="D3977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B8D3CAAE-6F85-4116-87F0-0887425AA366}"/>
                </a:ext>
              </a:extLst>
            </p:cNvPr>
            <p:cNvSpPr/>
            <p:nvPr/>
          </p:nvSpPr>
          <p:spPr>
            <a:xfrm>
              <a:off x="3531513" y="2483434"/>
              <a:ext cx="112314" cy="34958"/>
            </a:xfrm>
            <a:custGeom>
              <a:avLst/>
              <a:gdLst>
                <a:gd name="connsiteX0" fmla="*/ 76612 w 112314"/>
                <a:gd name="connsiteY0" fmla="*/ 34959 h 34958"/>
                <a:gd name="connsiteX1" fmla="*/ 2231 w 112314"/>
                <a:gd name="connsiteY1" fmla="*/ 11157 h 34958"/>
                <a:gd name="connsiteX2" fmla="*/ 2231 w 112314"/>
                <a:gd name="connsiteY2" fmla="*/ 2231 h 34958"/>
                <a:gd name="connsiteX3" fmla="*/ 11157 w 112314"/>
                <a:gd name="connsiteY3" fmla="*/ 2231 h 34958"/>
                <a:gd name="connsiteX4" fmla="*/ 106364 w 112314"/>
                <a:gd name="connsiteY4" fmla="*/ 20083 h 34958"/>
                <a:gd name="connsiteX5" fmla="*/ 112314 w 112314"/>
                <a:gd name="connsiteY5" fmla="*/ 23058 h 34958"/>
                <a:gd name="connsiteX6" fmla="*/ 109339 w 112314"/>
                <a:gd name="connsiteY6" fmla="*/ 29008 h 34958"/>
                <a:gd name="connsiteX7" fmla="*/ 76612 w 112314"/>
                <a:gd name="connsiteY7" fmla="*/ 34959 h 34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314" h="34958">
                  <a:moveTo>
                    <a:pt x="76612" y="34959"/>
                  </a:moveTo>
                  <a:cubicBezTo>
                    <a:pt x="52810" y="34959"/>
                    <a:pt x="23058" y="29008"/>
                    <a:pt x="2231" y="11157"/>
                  </a:cubicBezTo>
                  <a:cubicBezTo>
                    <a:pt x="-744" y="8182"/>
                    <a:pt x="-744" y="5207"/>
                    <a:pt x="2231" y="2231"/>
                  </a:cubicBezTo>
                  <a:cubicBezTo>
                    <a:pt x="5207" y="-744"/>
                    <a:pt x="8182" y="-744"/>
                    <a:pt x="11157" y="2231"/>
                  </a:cubicBezTo>
                  <a:cubicBezTo>
                    <a:pt x="43884" y="34959"/>
                    <a:pt x="106364" y="20083"/>
                    <a:pt x="106364" y="20083"/>
                  </a:cubicBezTo>
                  <a:cubicBezTo>
                    <a:pt x="109339" y="20083"/>
                    <a:pt x="112314" y="20083"/>
                    <a:pt x="112314" y="23058"/>
                  </a:cubicBezTo>
                  <a:cubicBezTo>
                    <a:pt x="112314" y="26033"/>
                    <a:pt x="112314" y="29008"/>
                    <a:pt x="109339" y="29008"/>
                  </a:cubicBezTo>
                  <a:cubicBezTo>
                    <a:pt x="112314" y="31983"/>
                    <a:pt x="97438" y="34959"/>
                    <a:pt x="76612" y="34959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FDA13EEC-150E-49A3-BBD5-46862CEB6A4F}"/>
                </a:ext>
              </a:extLst>
            </p:cNvPr>
            <p:cNvSpPr/>
            <p:nvPr/>
          </p:nvSpPr>
          <p:spPr>
            <a:xfrm>
              <a:off x="2465646" y="4133930"/>
              <a:ext cx="1602482" cy="2240330"/>
            </a:xfrm>
            <a:custGeom>
              <a:avLst/>
              <a:gdLst>
                <a:gd name="connsiteX0" fmla="*/ 1594711 w 1602482"/>
                <a:gd name="connsiteY0" fmla="*/ 20826 h 2240330"/>
                <a:gd name="connsiteX1" fmla="*/ 1582810 w 1602482"/>
                <a:gd name="connsiteY1" fmla="*/ 1371570 h 2240330"/>
                <a:gd name="connsiteX2" fmla="*/ 1514380 w 1602482"/>
                <a:gd name="connsiteY2" fmla="*/ 2240331 h 2240330"/>
                <a:gd name="connsiteX3" fmla="*/ 1225785 w 1602482"/>
                <a:gd name="connsiteY3" fmla="*/ 2240331 h 2240330"/>
                <a:gd name="connsiteX4" fmla="*/ 1190083 w 1602482"/>
                <a:gd name="connsiteY4" fmla="*/ 1395372 h 2240330"/>
                <a:gd name="connsiteX5" fmla="*/ 1109752 w 1602482"/>
                <a:gd name="connsiteY5" fmla="*/ 490909 h 2240330"/>
                <a:gd name="connsiteX6" fmla="*/ 865785 w 1602482"/>
                <a:gd name="connsiteY6" fmla="*/ 1422149 h 2240330"/>
                <a:gd name="connsiteX7" fmla="*/ 68430 w 1602482"/>
                <a:gd name="connsiteY7" fmla="*/ 1669091 h 2240330"/>
                <a:gd name="connsiteX8" fmla="*/ 0 w 1602482"/>
                <a:gd name="connsiteY8" fmla="*/ 1407273 h 2240330"/>
                <a:gd name="connsiteX9" fmla="*/ 520661 w 1602482"/>
                <a:gd name="connsiteY9" fmla="*/ 1121653 h 2240330"/>
                <a:gd name="connsiteX10" fmla="*/ 598017 w 1602482"/>
                <a:gd name="connsiteY10" fmla="*/ 0 h 2240330"/>
                <a:gd name="connsiteX11" fmla="*/ 1594711 w 1602482"/>
                <a:gd name="connsiteY11" fmla="*/ 20826 h 2240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02482" h="2240330">
                  <a:moveTo>
                    <a:pt x="1594711" y="20826"/>
                  </a:moveTo>
                  <a:cubicBezTo>
                    <a:pt x="1594711" y="20826"/>
                    <a:pt x="1618512" y="1068099"/>
                    <a:pt x="1582810" y="1371570"/>
                  </a:cubicBezTo>
                  <a:cubicBezTo>
                    <a:pt x="1553058" y="1636364"/>
                    <a:pt x="1514380" y="2240331"/>
                    <a:pt x="1514380" y="2240331"/>
                  </a:cubicBezTo>
                  <a:lnTo>
                    <a:pt x="1225785" y="2240331"/>
                  </a:lnTo>
                  <a:cubicBezTo>
                    <a:pt x="1225785" y="2240331"/>
                    <a:pt x="1193058" y="1490578"/>
                    <a:pt x="1190083" y="1395372"/>
                  </a:cubicBezTo>
                  <a:cubicBezTo>
                    <a:pt x="1184132" y="1258512"/>
                    <a:pt x="1124628" y="520661"/>
                    <a:pt x="1109752" y="490909"/>
                  </a:cubicBezTo>
                  <a:cubicBezTo>
                    <a:pt x="1097851" y="467107"/>
                    <a:pt x="978843" y="1237686"/>
                    <a:pt x="865785" y="1422149"/>
                  </a:cubicBezTo>
                  <a:cubicBezTo>
                    <a:pt x="833058" y="1475702"/>
                    <a:pt x="68430" y="1669091"/>
                    <a:pt x="68430" y="1669091"/>
                  </a:cubicBezTo>
                  <a:lnTo>
                    <a:pt x="0" y="1407273"/>
                  </a:lnTo>
                  <a:lnTo>
                    <a:pt x="520661" y="1121653"/>
                  </a:lnTo>
                  <a:cubicBezTo>
                    <a:pt x="520661" y="1121653"/>
                    <a:pt x="553388" y="98182"/>
                    <a:pt x="598017" y="0"/>
                  </a:cubicBezTo>
                  <a:cubicBezTo>
                    <a:pt x="1279339" y="35702"/>
                    <a:pt x="1594711" y="20826"/>
                    <a:pt x="1594711" y="20826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71AFCBC2-E08C-49CA-AAE3-D8F3916C7E2C}"/>
                </a:ext>
              </a:extLst>
            </p:cNvPr>
            <p:cNvSpPr/>
            <p:nvPr/>
          </p:nvSpPr>
          <p:spPr>
            <a:xfrm>
              <a:off x="3569447" y="4276739"/>
              <a:ext cx="68429" cy="357024"/>
            </a:xfrm>
            <a:custGeom>
              <a:avLst/>
              <a:gdLst>
                <a:gd name="connsiteX0" fmla="*/ 5950 w 68429"/>
                <a:gd name="connsiteY0" fmla="*/ 357025 h 357024"/>
                <a:gd name="connsiteX1" fmla="*/ 5950 w 68429"/>
                <a:gd name="connsiteY1" fmla="*/ 357025 h 357024"/>
                <a:gd name="connsiteX2" fmla="*/ 0 w 68429"/>
                <a:gd name="connsiteY2" fmla="*/ 348099 h 357024"/>
                <a:gd name="connsiteX3" fmla="*/ 56529 w 68429"/>
                <a:gd name="connsiteY3" fmla="*/ 5951 h 357024"/>
                <a:gd name="connsiteX4" fmla="*/ 62479 w 68429"/>
                <a:gd name="connsiteY4" fmla="*/ 0 h 357024"/>
                <a:gd name="connsiteX5" fmla="*/ 68430 w 68429"/>
                <a:gd name="connsiteY5" fmla="*/ 5951 h 357024"/>
                <a:gd name="connsiteX6" fmla="*/ 11901 w 68429"/>
                <a:gd name="connsiteY6" fmla="*/ 351074 h 357024"/>
                <a:gd name="connsiteX7" fmla="*/ 5950 w 68429"/>
                <a:gd name="connsiteY7" fmla="*/ 357025 h 35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429" h="357024">
                  <a:moveTo>
                    <a:pt x="5950" y="357025"/>
                  </a:moveTo>
                  <a:cubicBezTo>
                    <a:pt x="5950" y="357025"/>
                    <a:pt x="5950" y="357025"/>
                    <a:pt x="5950" y="357025"/>
                  </a:cubicBezTo>
                  <a:cubicBezTo>
                    <a:pt x="0" y="354050"/>
                    <a:pt x="0" y="351074"/>
                    <a:pt x="0" y="348099"/>
                  </a:cubicBezTo>
                  <a:cubicBezTo>
                    <a:pt x="47603" y="238017"/>
                    <a:pt x="56529" y="8926"/>
                    <a:pt x="56529" y="5951"/>
                  </a:cubicBezTo>
                  <a:cubicBezTo>
                    <a:pt x="56529" y="2975"/>
                    <a:pt x="59504" y="0"/>
                    <a:pt x="62479" y="0"/>
                  </a:cubicBezTo>
                  <a:cubicBezTo>
                    <a:pt x="65455" y="0"/>
                    <a:pt x="68430" y="2975"/>
                    <a:pt x="68430" y="5951"/>
                  </a:cubicBezTo>
                  <a:cubicBezTo>
                    <a:pt x="68430" y="14876"/>
                    <a:pt x="59504" y="238017"/>
                    <a:pt x="11901" y="351074"/>
                  </a:cubicBezTo>
                  <a:cubicBezTo>
                    <a:pt x="8926" y="354050"/>
                    <a:pt x="8926" y="357025"/>
                    <a:pt x="5950" y="357025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755160C0-179D-44DA-B150-B76F4006F322}"/>
                </a:ext>
              </a:extLst>
            </p:cNvPr>
            <p:cNvSpPr/>
            <p:nvPr/>
          </p:nvSpPr>
          <p:spPr>
            <a:xfrm>
              <a:off x="3597967" y="4208310"/>
              <a:ext cx="152967" cy="348099"/>
            </a:xfrm>
            <a:custGeom>
              <a:avLst/>
              <a:gdLst>
                <a:gd name="connsiteX0" fmla="*/ 7183 w 152967"/>
                <a:gd name="connsiteY0" fmla="*/ 348099 h 348099"/>
                <a:gd name="connsiteX1" fmla="*/ 1232 w 152967"/>
                <a:gd name="connsiteY1" fmla="*/ 345124 h 348099"/>
                <a:gd name="connsiteX2" fmla="*/ 4208 w 152967"/>
                <a:gd name="connsiteY2" fmla="*/ 336198 h 348099"/>
                <a:gd name="connsiteX3" fmla="*/ 108340 w 152967"/>
                <a:gd name="connsiteY3" fmla="*/ 261818 h 348099"/>
                <a:gd name="connsiteX4" fmla="*/ 141067 w 152967"/>
                <a:gd name="connsiteY4" fmla="*/ 5950 h 348099"/>
                <a:gd name="connsiteX5" fmla="*/ 147018 w 152967"/>
                <a:gd name="connsiteY5" fmla="*/ 0 h 348099"/>
                <a:gd name="connsiteX6" fmla="*/ 152968 w 152967"/>
                <a:gd name="connsiteY6" fmla="*/ 5950 h 348099"/>
                <a:gd name="connsiteX7" fmla="*/ 120241 w 152967"/>
                <a:gd name="connsiteY7" fmla="*/ 267769 h 348099"/>
                <a:gd name="connsiteX8" fmla="*/ 13133 w 152967"/>
                <a:gd name="connsiteY8" fmla="*/ 345124 h 348099"/>
                <a:gd name="connsiteX9" fmla="*/ 7183 w 152967"/>
                <a:gd name="connsiteY9" fmla="*/ 348099 h 34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967" h="348099">
                  <a:moveTo>
                    <a:pt x="7183" y="348099"/>
                  </a:moveTo>
                  <a:cubicBezTo>
                    <a:pt x="4208" y="348099"/>
                    <a:pt x="4208" y="348099"/>
                    <a:pt x="1232" y="345124"/>
                  </a:cubicBezTo>
                  <a:cubicBezTo>
                    <a:pt x="-1743" y="342149"/>
                    <a:pt x="1232" y="339173"/>
                    <a:pt x="4208" y="336198"/>
                  </a:cubicBezTo>
                  <a:cubicBezTo>
                    <a:pt x="42885" y="312397"/>
                    <a:pt x="99414" y="270744"/>
                    <a:pt x="108340" y="261818"/>
                  </a:cubicBezTo>
                  <a:cubicBezTo>
                    <a:pt x="117265" y="249917"/>
                    <a:pt x="132141" y="98182"/>
                    <a:pt x="141067" y="5950"/>
                  </a:cubicBezTo>
                  <a:cubicBezTo>
                    <a:pt x="141067" y="2975"/>
                    <a:pt x="144042" y="0"/>
                    <a:pt x="147018" y="0"/>
                  </a:cubicBezTo>
                  <a:cubicBezTo>
                    <a:pt x="149993" y="0"/>
                    <a:pt x="152968" y="2975"/>
                    <a:pt x="152968" y="5950"/>
                  </a:cubicBezTo>
                  <a:cubicBezTo>
                    <a:pt x="149993" y="47603"/>
                    <a:pt x="129166" y="252893"/>
                    <a:pt x="120241" y="267769"/>
                  </a:cubicBezTo>
                  <a:cubicBezTo>
                    <a:pt x="108340" y="282645"/>
                    <a:pt x="22059" y="339173"/>
                    <a:pt x="13133" y="345124"/>
                  </a:cubicBezTo>
                  <a:cubicBezTo>
                    <a:pt x="7183" y="348099"/>
                    <a:pt x="7183" y="348099"/>
                    <a:pt x="7183" y="348099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AED04398-2C03-4919-B410-E10104F2FD4C}"/>
                </a:ext>
              </a:extLst>
            </p:cNvPr>
            <p:cNvSpPr/>
            <p:nvPr/>
          </p:nvSpPr>
          <p:spPr>
            <a:xfrm>
              <a:off x="3441513" y="2503516"/>
              <a:ext cx="243966" cy="252010"/>
            </a:xfrm>
            <a:custGeom>
              <a:avLst/>
              <a:gdLst>
                <a:gd name="connsiteX0" fmla="*/ 243967 w 243966"/>
                <a:gd name="connsiteY0" fmla="*/ 38678 h 252010"/>
                <a:gd name="connsiteX1" fmla="*/ 238017 w 243966"/>
                <a:gd name="connsiteY1" fmla="*/ 208264 h 252010"/>
                <a:gd name="connsiteX2" fmla="*/ 0 w 243966"/>
                <a:gd name="connsiteY2" fmla="*/ 199339 h 252010"/>
                <a:gd name="connsiteX3" fmla="*/ 14876 w 243966"/>
                <a:gd name="connsiteY3" fmla="*/ 0 h 252010"/>
                <a:gd name="connsiteX4" fmla="*/ 243967 w 243966"/>
                <a:gd name="connsiteY4" fmla="*/ 38678 h 252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966" h="252010">
                  <a:moveTo>
                    <a:pt x="243967" y="38678"/>
                  </a:moveTo>
                  <a:cubicBezTo>
                    <a:pt x="243967" y="38678"/>
                    <a:pt x="238017" y="136860"/>
                    <a:pt x="238017" y="208264"/>
                  </a:cubicBezTo>
                  <a:cubicBezTo>
                    <a:pt x="238017" y="208264"/>
                    <a:pt x="145785" y="312397"/>
                    <a:pt x="0" y="199339"/>
                  </a:cubicBezTo>
                  <a:cubicBezTo>
                    <a:pt x="0" y="139835"/>
                    <a:pt x="11901" y="62479"/>
                    <a:pt x="14876" y="0"/>
                  </a:cubicBezTo>
                  <a:cubicBezTo>
                    <a:pt x="11901" y="0"/>
                    <a:pt x="193388" y="50579"/>
                    <a:pt x="243967" y="38678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1CF7AEDB-8F2A-418F-9ABB-1B9C23B88A9B}"/>
                </a:ext>
              </a:extLst>
            </p:cNvPr>
            <p:cNvSpPr/>
            <p:nvPr/>
          </p:nvSpPr>
          <p:spPr>
            <a:xfrm>
              <a:off x="3036885" y="2664177"/>
              <a:ext cx="1045095" cy="1529076"/>
            </a:xfrm>
            <a:custGeom>
              <a:avLst/>
              <a:gdLst>
                <a:gd name="connsiteX0" fmla="*/ 386777 w 1045095"/>
                <a:gd name="connsiteY0" fmla="*/ 0 h 1529076"/>
                <a:gd name="connsiteX1" fmla="*/ 669422 w 1045095"/>
                <a:gd name="connsiteY1" fmla="*/ 0 h 1529076"/>
                <a:gd name="connsiteX2" fmla="*/ 960992 w 1045095"/>
                <a:gd name="connsiteY2" fmla="*/ 127934 h 1529076"/>
                <a:gd name="connsiteX3" fmla="*/ 1044298 w 1045095"/>
                <a:gd name="connsiteY3" fmla="*/ 1499504 h 1529076"/>
                <a:gd name="connsiteX4" fmla="*/ 0 w 1045095"/>
                <a:gd name="connsiteY4" fmla="*/ 1475702 h 1529076"/>
                <a:gd name="connsiteX5" fmla="*/ 113058 w 1045095"/>
                <a:gd name="connsiteY5" fmla="*/ 101157 h 1529076"/>
                <a:gd name="connsiteX6" fmla="*/ 386777 w 1045095"/>
                <a:gd name="connsiteY6" fmla="*/ 0 h 1529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5095" h="1529076">
                  <a:moveTo>
                    <a:pt x="386777" y="0"/>
                  </a:moveTo>
                  <a:cubicBezTo>
                    <a:pt x="386777" y="0"/>
                    <a:pt x="556364" y="53554"/>
                    <a:pt x="669422" y="0"/>
                  </a:cubicBezTo>
                  <a:cubicBezTo>
                    <a:pt x="669422" y="0"/>
                    <a:pt x="937190" y="95207"/>
                    <a:pt x="960992" y="127934"/>
                  </a:cubicBezTo>
                  <a:cubicBezTo>
                    <a:pt x="984793" y="157686"/>
                    <a:pt x="1053223" y="1434050"/>
                    <a:pt x="1044298" y="1499504"/>
                  </a:cubicBezTo>
                  <a:cubicBezTo>
                    <a:pt x="1044298" y="1499504"/>
                    <a:pt x="565289" y="1579835"/>
                    <a:pt x="0" y="1475702"/>
                  </a:cubicBezTo>
                  <a:cubicBezTo>
                    <a:pt x="0" y="1127603"/>
                    <a:pt x="71405" y="130909"/>
                    <a:pt x="113058" y="101157"/>
                  </a:cubicBezTo>
                  <a:cubicBezTo>
                    <a:pt x="154711" y="68430"/>
                    <a:pt x="386777" y="0"/>
                    <a:pt x="386777" y="0"/>
                  </a:cubicBezTo>
                  <a:close/>
                </a:path>
              </a:pathLst>
            </a:custGeom>
            <a:solidFill>
              <a:srgbClr val="70868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EDA11707-A179-4BED-9AF6-8D3A2575849C}"/>
                </a:ext>
              </a:extLst>
            </p:cNvPr>
            <p:cNvSpPr/>
            <p:nvPr/>
          </p:nvSpPr>
          <p:spPr>
            <a:xfrm>
              <a:off x="2989282" y="2664177"/>
              <a:ext cx="685510" cy="1558824"/>
            </a:xfrm>
            <a:custGeom>
              <a:avLst/>
              <a:gdLst>
                <a:gd name="connsiteX0" fmla="*/ 574215 w 685510"/>
                <a:gd name="connsiteY0" fmla="*/ 0 h 1558824"/>
                <a:gd name="connsiteX1" fmla="*/ 124959 w 685510"/>
                <a:gd name="connsiteY1" fmla="*/ 92231 h 1558824"/>
                <a:gd name="connsiteX2" fmla="*/ 0 w 685510"/>
                <a:gd name="connsiteY2" fmla="*/ 1487603 h 1558824"/>
                <a:gd name="connsiteX3" fmla="*/ 684298 w 685510"/>
                <a:gd name="connsiteY3" fmla="*/ 1544132 h 1558824"/>
                <a:gd name="connsiteX4" fmla="*/ 574215 w 685510"/>
                <a:gd name="connsiteY4" fmla="*/ 0 h 1558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510" h="1558824">
                  <a:moveTo>
                    <a:pt x="574215" y="0"/>
                  </a:moveTo>
                  <a:cubicBezTo>
                    <a:pt x="574215" y="0"/>
                    <a:pt x="321322" y="0"/>
                    <a:pt x="124959" y="92231"/>
                  </a:cubicBezTo>
                  <a:cubicBezTo>
                    <a:pt x="65455" y="119008"/>
                    <a:pt x="0" y="1487603"/>
                    <a:pt x="0" y="1487603"/>
                  </a:cubicBezTo>
                  <a:cubicBezTo>
                    <a:pt x="0" y="1487603"/>
                    <a:pt x="407603" y="1597686"/>
                    <a:pt x="684298" y="1544132"/>
                  </a:cubicBezTo>
                  <a:cubicBezTo>
                    <a:pt x="684298" y="1544132"/>
                    <a:pt x="705124" y="446281"/>
                    <a:pt x="574215" y="0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F5C3A43-0263-4813-B2CA-30D2F01E3F1C}"/>
                </a:ext>
              </a:extLst>
            </p:cNvPr>
            <p:cNvSpPr/>
            <p:nvPr/>
          </p:nvSpPr>
          <p:spPr>
            <a:xfrm>
              <a:off x="2983332" y="5249632"/>
              <a:ext cx="126191" cy="68429"/>
            </a:xfrm>
            <a:custGeom>
              <a:avLst/>
              <a:gdLst>
                <a:gd name="connsiteX0" fmla="*/ 26777 w 126191"/>
                <a:gd name="connsiteY0" fmla="*/ 68430 h 68429"/>
                <a:gd name="connsiteX1" fmla="*/ 20826 w 126191"/>
                <a:gd name="connsiteY1" fmla="*/ 65454 h 68429"/>
                <a:gd name="connsiteX2" fmla="*/ 0 w 126191"/>
                <a:gd name="connsiteY2" fmla="*/ 8925 h 68429"/>
                <a:gd name="connsiteX3" fmla="*/ 0 w 126191"/>
                <a:gd name="connsiteY3" fmla="*/ 2975 h 68429"/>
                <a:gd name="connsiteX4" fmla="*/ 5950 w 126191"/>
                <a:gd name="connsiteY4" fmla="*/ 0 h 68429"/>
                <a:gd name="connsiteX5" fmla="*/ 121983 w 126191"/>
                <a:gd name="connsiteY5" fmla="*/ 35702 h 68429"/>
                <a:gd name="connsiteX6" fmla="*/ 124959 w 126191"/>
                <a:gd name="connsiteY6" fmla="*/ 41653 h 68429"/>
                <a:gd name="connsiteX7" fmla="*/ 119008 w 126191"/>
                <a:gd name="connsiteY7" fmla="*/ 44628 h 68429"/>
                <a:gd name="connsiteX8" fmla="*/ 14876 w 126191"/>
                <a:gd name="connsiteY8" fmla="*/ 11901 h 68429"/>
                <a:gd name="connsiteX9" fmla="*/ 32727 w 126191"/>
                <a:gd name="connsiteY9" fmla="*/ 56529 h 68429"/>
                <a:gd name="connsiteX10" fmla="*/ 26777 w 126191"/>
                <a:gd name="connsiteY10" fmla="*/ 68430 h 68429"/>
                <a:gd name="connsiteX11" fmla="*/ 26777 w 126191"/>
                <a:gd name="connsiteY11" fmla="*/ 68430 h 6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6191" h="68429">
                  <a:moveTo>
                    <a:pt x="26777" y="68430"/>
                  </a:moveTo>
                  <a:cubicBezTo>
                    <a:pt x="23802" y="68430"/>
                    <a:pt x="23802" y="68430"/>
                    <a:pt x="20826" y="65454"/>
                  </a:cubicBezTo>
                  <a:lnTo>
                    <a:pt x="0" y="8925"/>
                  </a:lnTo>
                  <a:cubicBezTo>
                    <a:pt x="0" y="5950"/>
                    <a:pt x="0" y="5950"/>
                    <a:pt x="0" y="2975"/>
                  </a:cubicBezTo>
                  <a:cubicBezTo>
                    <a:pt x="0" y="0"/>
                    <a:pt x="2975" y="0"/>
                    <a:pt x="5950" y="0"/>
                  </a:cubicBezTo>
                  <a:lnTo>
                    <a:pt x="121983" y="35702"/>
                  </a:lnTo>
                  <a:cubicBezTo>
                    <a:pt x="124959" y="35702"/>
                    <a:pt x="127934" y="38678"/>
                    <a:pt x="124959" y="41653"/>
                  </a:cubicBezTo>
                  <a:cubicBezTo>
                    <a:pt x="124959" y="44628"/>
                    <a:pt x="121983" y="44628"/>
                    <a:pt x="119008" y="44628"/>
                  </a:cubicBezTo>
                  <a:lnTo>
                    <a:pt x="14876" y="11901"/>
                  </a:lnTo>
                  <a:lnTo>
                    <a:pt x="32727" y="56529"/>
                  </a:lnTo>
                  <a:cubicBezTo>
                    <a:pt x="32727" y="62479"/>
                    <a:pt x="32727" y="65454"/>
                    <a:pt x="26777" y="68430"/>
                  </a:cubicBezTo>
                  <a:cubicBezTo>
                    <a:pt x="26777" y="68430"/>
                    <a:pt x="26777" y="68430"/>
                    <a:pt x="26777" y="68430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3F0FAD66-97AA-44DE-A81D-3A1C5064E6EE}"/>
                </a:ext>
              </a:extLst>
            </p:cNvPr>
            <p:cNvSpPr/>
            <p:nvPr/>
          </p:nvSpPr>
          <p:spPr>
            <a:xfrm>
              <a:off x="3679530" y="2664177"/>
              <a:ext cx="452231" cy="1562406"/>
            </a:xfrm>
            <a:custGeom>
              <a:avLst/>
              <a:gdLst>
                <a:gd name="connsiteX0" fmla="*/ 0 w 452231"/>
                <a:gd name="connsiteY0" fmla="*/ 0 h 1562406"/>
                <a:gd name="connsiteX1" fmla="*/ 113058 w 452231"/>
                <a:gd name="connsiteY1" fmla="*/ 1561984 h 1562406"/>
                <a:gd name="connsiteX2" fmla="*/ 452231 w 452231"/>
                <a:gd name="connsiteY2" fmla="*/ 1535207 h 1562406"/>
                <a:gd name="connsiteX3" fmla="*/ 318347 w 452231"/>
                <a:gd name="connsiteY3" fmla="*/ 127934 h 1562406"/>
                <a:gd name="connsiteX4" fmla="*/ 0 w 452231"/>
                <a:gd name="connsiteY4" fmla="*/ 0 h 1562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2231" h="1562406">
                  <a:moveTo>
                    <a:pt x="0" y="0"/>
                  </a:moveTo>
                  <a:cubicBezTo>
                    <a:pt x="0" y="0"/>
                    <a:pt x="157686" y="761653"/>
                    <a:pt x="113058" y="1561984"/>
                  </a:cubicBezTo>
                  <a:cubicBezTo>
                    <a:pt x="113058" y="1561984"/>
                    <a:pt x="374876" y="1567934"/>
                    <a:pt x="452231" y="1535207"/>
                  </a:cubicBezTo>
                  <a:cubicBezTo>
                    <a:pt x="452231" y="1535207"/>
                    <a:pt x="362975" y="178512"/>
                    <a:pt x="318347" y="127934"/>
                  </a:cubicBezTo>
                  <a:cubicBezTo>
                    <a:pt x="273719" y="7438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786E356F-5E62-4EC1-93DD-EB0B0E9201A6}"/>
                </a:ext>
              </a:extLst>
            </p:cNvPr>
            <p:cNvSpPr/>
            <p:nvPr/>
          </p:nvSpPr>
          <p:spPr>
            <a:xfrm>
              <a:off x="3988951" y="2786161"/>
              <a:ext cx="120962" cy="1056198"/>
            </a:xfrm>
            <a:custGeom>
              <a:avLst/>
              <a:gdLst>
                <a:gd name="connsiteX0" fmla="*/ 116033 w 120962"/>
                <a:gd name="connsiteY0" fmla="*/ 1056198 h 1056198"/>
                <a:gd name="connsiteX1" fmla="*/ 110083 w 120962"/>
                <a:gd name="connsiteY1" fmla="*/ 1050248 h 1056198"/>
                <a:gd name="connsiteX2" fmla="*/ 71405 w 120962"/>
                <a:gd name="connsiteY2" fmla="*/ 580165 h 1056198"/>
                <a:gd name="connsiteX3" fmla="*/ 0 w 120962"/>
                <a:gd name="connsiteY3" fmla="*/ 5950 h 1056198"/>
                <a:gd name="connsiteX4" fmla="*/ 2975 w 120962"/>
                <a:gd name="connsiteY4" fmla="*/ 0 h 1056198"/>
                <a:gd name="connsiteX5" fmla="*/ 8926 w 120962"/>
                <a:gd name="connsiteY5" fmla="*/ 2975 h 1056198"/>
                <a:gd name="connsiteX6" fmla="*/ 80330 w 120962"/>
                <a:gd name="connsiteY6" fmla="*/ 577190 h 1056198"/>
                <a:gd name="connsiteX7" fmla="*/ 119008 w 120962"/>
                <a:gd name="connsiteY7" fmla="*/ 1047273 h 1056198"/>
                <a:gd name="connsiteX8" fmla="*/ 116033 w 120962"/>
                <a:gd name="connsiteY8" fmla="*/ 1056198 h 1056198"/>
                <a:gd name="connsiteX9" fmla="*/ 116033 w 120962"/>
                <a:gd name="connsiteY9" fmla="*/ 1056198 h 105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962" h="1056198">
                  <a:moveTo>
                    <a:pt x="116033" y="1056198"/>
                  </a:moveTo>
                  <a:cubicBezTo>
                    <a:pt x="113058" y="1056198"/>
                    <a:pt x="110083" y="1053223"/>
                    <a:pt x="110083" y="1050248"/>
                  </a:cubicBezTo>
                  <a:cubicBezTo>
                    <a:pt x="110083" y="1047273"/>
                    <a:pt x="80330" y="684298"/>
                    <a:pt x="71405" y="580165"/>
                  </a:cubicBezTo>
                  <a:cubicBezTo>
                    <a:pt x="71405" y="574215"/>
                    <a:pt x="5950" y="44628"/>
                    <a:pt x="0" y="5950"/>
                  </a:cubicBezTo>
                  <a:cubicBezTo>
                    <a:pt x="0" y="2975"/>
                    <a:pt x="0" y="0"/>
                    <a:pt x="2975" y="0"/>
                  </a:cubicBezTo>
                  <a:cubicBezTo>
                    <a:pt x="5950" y="0"/>
                    <a:pt x="8926" y="0"/>
                    <a:pt x="8926" y="2975"/>
                  </a:cubicBezTo>
                  <a:cubicBezTo>
                    <a:pt x="17851" y="41653"/>
                    <a:pt x="77355" y="556364"/>
                    <a:pt x="80330" y="577190"/>
                  </a:cubicBezTo>
                  <a:cubicBezTo>
                    <a:pt x="89256" y="681322"/>
                    <a:pt x="119008" y="1044298"/>
                    <a:pt x="119008" y="1047273"/>
                  </a:cubicBezTo>
                  <a:cubicBezTo>
                    <a:pt x="121983" y="1053223"/>
                    <a:pt x="121983" y="1056198"/>
                    <a:pt x="116033" y="1056198"/>
                  </a:cubicBezTo>
                  <a:lnTo>
                    <a:pt x="116033" y="1056198"/>
                  </a:ln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CE671FBB-3F25-4D89-95B7-E65234B6FD7D}"/>
                </a:ext>
              </a:extLst>
            </p:cNvPr>
            <p:cNvSpPr/>
            <p:nvPr/>
          </p:nvSpPr>
          <p:spPr>
            <a:xfrm>
              <a:off x="3456389" y="2536244"/>
              <a:ext cx="239248" cy="62479"/>
            </a:xfrm>
            <a:custGeom>
              <a:avLst/>
              <a:gdLst>
                <a:gd name="connsiteX0" fmla="*/ 133884 w 239248"/>
                <a:gd name="connsiteY0" fmla="*/ 62479 h 62479"/>
                <a:gd name="connsiteX1" fmla="*/ 121983 w 239248"/>
                <a:gd name="connsiteY1" fmla="*/ 62479 h 62479"/>
                <a:gd name="connsiteX2" fmla="*/ 50579 w 239248"/>
                <a:gd name="connsiteY2" fmla="*/ 35702 h 62479"/>
                <a:gd name="connsiteX3" fmla="*/ 2975 w 239248"/>
                <a:gd name="connsiteY3" fmla="*/ 11901 h 62479"/>
                <a:gd name="connsiteX4" fmla="*/ 0 w 239248"/>
                <a:gd name="connsiteY4" fmla="*/ 2975 h 62479"/>
                <a:gd name="connsiteX5" fmla="*/ 8926 w 239248"/>
                <a:gd name="connsiteY5" fmla="*/ 0 h 62479"/>
                <a:gd name="connsiteX6" fmla="*/ 56529 w 239248"/>
                <a:gd name="connsiteY6" fmla="*/ 23802 h 62479"/>
                <a:gd name="connsiteX7" fmla="*/ 145785 w 239248"/>
                <a:gd name="connsiteY7" fmla="*/ 50578 h 62479"/>
                <a:gd name="connsiteX8" fmla="*/ 145785 w 239248"/>
                <a:gd name="connsiteY8" fmla="*/ 50578 h 62479"/>
                <a:gd name="connsiteX9" fmla="*/ 157686 w 239248"/>
                <a:gd name="connsiteY9" fmla="*/ 50578 h 62479"/>
                <a:gd name="connsiteX10" fmla="*/ 205289 w 239248"/>
                <a:gd name="connsiteY10" fmla="*/ 32727 h 62479"/>
                <a:gd name="connsiteX11" fmla="*/ 214215 w 239248"/>
                <a:gd name="connsiteY11" fmla="*/ 26777 h 62479"/>
                <a:gd name="connsiteX12" fmla="*/ 220165 w 239248"/>
                <a:gd name="connsiteY12" fmla="*/ 26777 h 62479"/>
                <a:gd name="connsiteX13" fmla="*/ 229091 w 239248"/>
                <a:gd name="connsiteY13" fmla="*/ 20826 h 62479"/>
                <a:gd name="connsiteX14" fmla="*/ 238017 w 239248"/>
                <a:gd name="connsiteY14" fmla="*/ 23802 h 62479"/>
                <a:gd name="connsiteX15" fmla="*/ 235041 w 239248"/>
                <a:gd name="connsiteY15" fmla="*/ 32727 h 62479"/>
                <a:gd name="connsiteX16" fmla="*/ 211240 w 239248"/>
                <a:gd name="connsiteY16" fmla="*/ 44628 h 62479"/>
                <a:gd name="connsiteX17" fmla="*/ 157686 w 239248"/>
                <a:gd name="connsiteY17" fmla="*/ 62479 h 62479"/>
                <a:gd name="connsiteX18" fmla="*/ 133884 w 239248"/>
                <a:gd name="connsiteY18" fmla="*/ 62479 h 62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9248" h="62479">
                  <a:moveTo>
                    <a:pt x="133884" y="62479"/>
                  </a:moveTo>
                  <a:cubicBezTo>
                    <a:pt x="127934" y="62479"/>
                    <a:pt x="124959" y="62479"/>
                    <a:pt x="121983" y="62479"/>
                  </a:cubicBezTo>
                  <a:cubicBezTo>
                    <a:pt x="104132" y="59504"/>
                    <a:pt x="74380" y="47603"/>
                    <a:pt x="50579" y="35702"/>
                  </a:cubicBezTo>
                  <a:cubicBezTo>
                    <a:pt x="23802" y="23802"/>
                    <a:pt x="2975" y="11901"/>
                    <a:pt x="2975" y="11901"/>
                  </a:cubicBezTo>
                  <a:cubicBezTo>
                    <a:pt x="0" y="8926"/>
                    <a:pt x="0" y="5950"/>
                    <a:pt x="0" y="2975"/>
                  </a:cubicBezTo>
                  <a:cubicBezTo>
                    <a:pt x="2975" y="0"/>
                    <a:pt x="5950" y="0"/>
                    <a:pt x="8926" y="0"/>
                  </a:cubicBezTo>
                  <a:cubicBezTo>
                    <a:pt x="8926" y="0"/>
                    <a:pt x="29752" y="11901"/>
                    <a:pt x="56529" y="23802"/>
                  </a:cubicBezTo>
                  <a:cubicBezTo>
                    <a:pt x="86281" y="35702"/>
                    <a:pt x="121983" y="50578"/>
                    <a:pt x="145785" y="50578"/>
                  </a:cubicBezTo>
                  <a:lnTo>
                    <a:pt x="145785" y="50578"/>
                  </a:lnTo>
                  <a:cubicBezTo>
                    <a:pt x="148760" y="50578"/>
                    <a:pt x="154711" y="50578"/>
                    <a:pt x="157686" y="50578"/>
                  </a:cubicBezTo>
                  <a:cubicBezTo>
                    <a:pt x="175537" y="47603"/>
                    <a:pt x="193388" y="38678"/>
                    <a:pt x="205289" y="32727"/>
                  </a:cubicBezTo>
                  <a:cubicBezTo>
                    <a:pt x="211240" y="29752"/>
                    <a:pt x="214215" y="26777"/>
                    <a:pt x="214215" y="26777"/>
                  </a:cubicBezTo>
                  <a:cubicBezTo>
                    <a:pt x="217190" y="26777"/>
                    <a:pt x="217190" y="23802"/>
                    <a:pt x="220165" y="26777"/>
                  </a:cubicBezTo>
                  <a:cubicBezTo>
                    <a:pt x="226116" y="23802"/>
                    <a:pt x="229091" y="20826"/>
                    <a:pt x="229091" y="20826"/>
                  </a:cubicBezTo>
                  <a:cubicBezTo>
                    <a:pt x="232066" y="20826"/>
                    <a:pt x="235041" y="20826"/>
                    <a:pt x="238017" y="23802"/>
                  </a:cubicBezTo>
                  <a:cubicBezTo>
                    <a:pt x="240992" y="26777"/>
                    <a:pt x="238017" y="29752"/>
                    <a:pt x="235041" y="32727"/>
                  </a:cubicBezTo>
                  <a:cubicBezTo>
                    <a:pt x="235041" y="32727"/>
                    <a:pt x="226116" y="38678"/>
                    <a:pt x="211240" y="44628"/>
                  </a:cubicBezTo>
                  <a:cubicBezTo>
                    <a:pt x="199339" y="50578"/>
                    <a:pt x="181488" y="59504"/>
                    <a:pt x="157686" y="62479"/>
                  </a:cubicBezTo>
                  <a:cubicBezTo>
                    <a:pt x="148760" y="62479"/>
                    <a:pt x="139835" y="62479"/>
                    <a:pt x="133884" y="62479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C7843B4A-8864-4056-B84B-553C1627487E}"/>
                </a:ext>
              </a:extLst>
            </p:cNvPr>
            <p:cNvSpPr/>
            <p:nvPr/>
          </p:nvSpPr>
          <p:spPr>
            <a:xfrm>
              <a:off x="3133745" y="3815582"/>
              <a:ext cx="209586" cy="243967"/>
            </a:xfrm>
            <a:custGeom>
              <a:avLst/>
              <a:gdLst>
                <a:gd name="connsiteX0" fmla="*/ 37025 w 209586"/>
                <a:gd name="connsiteY0" fmla="*/ 243967 h 243967"/>
                <a:gd name="connsiteX1" fmla="*/ 37025 w 209586"/>
                <a:gd name="connsiteY1" fmla="*/ 243967 h 243967"/>
                <a:gd name="connsiteX2" fmla="*/ 34050 w 209586"/>
                <a:gd name="connsiteY2" fmla="*/ 240992 h 243967"/>
                <a:gd name="connsiteX3" fmla="*/ 1322 w 209586"/>
                <a:gd name="connsiteY3" fmla="*/ 196364 h 243967"/>
                <a:gd name="connsiteX4" fmla="*/ 1322 w 209586"/>
                <a:gd name="connsiteY4" fmla="*/ 190413 h 243967"/>
                <a:gd name="connsiteX5" fmla="*/ 147107 w 209586"/>
                <a:gd name="connsiteY5" fmla="*/ 2975 h 243967"/>
                <a:gd name="connsiteX6" fmla="*/ 150083 w 209586"/>
                <a:gd name="connsiteY6" fmla="*/ 0 h 243967"/>
                <a:gd name="connsiteX7" fmla="*/ 156033 w 209586"/>
                <a:gd name="connsiteY7" fmla="*/ 0 h 243967"/>
                <a:gd name="connsiteX8" fmla="*/ 206612 w 209586"/>
                <a:gd name="connsiteY8" fmla="*/ 29752 h 243967"/>
                <a:gd name="connsiteX9" fmla="*/ 209587 w 209586"/>
                <a:gd name="connsiteY9" fmla="*/ 35703 h 243967"/>
                <a:gd name="connsiteX10" fmla="*/ 42975 w 209586"/>
                <a:gd name="connsiteY10" fmla="*/ 240992 h 243967"/>
                <a:gd name="connsiteX11" fmla="*/ 37025 w 209586"/>
                <a:gd name="connsiteY11" fmla="*/ 243967 h 243967"/>
                <a:gd name="connsiteX12" fmla="*/ 13223 w 209586"/>
                <a:gd name="connsiteY12" fmla="*/ 196364 h 243967"/>
                <a:gd name="connsiteX13" fmla="*/ 40000 w 209586"/>
                <a:gd name="connsiteY13" fmla="*/ 232066 h 243967"/>
                <a:gd name="connsiteX14" fmla="*/ 194711 w 209586"/>
                <a:gd name="connsiteY14" fmla="*/ 38678 h 243967"/>
                <a:gd name="connsiteX15" fmla="*/ 156033 w 209586"/>
                <a:gd name="connsiteY15" fmla="*/ 14876 h 243967"/>
                <a:gd name="connsiteX16" fmla="*/ 13223 w 209586"/>
                <a:gd name="connsiteY16" fmla="*/ 196364 h 243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9586" h="243967">
                  <a:moveTo>
                    <a:pt x="37025" y="243967"/>
                  </a:moveTo>
                  <a:cubicBezTo>
                    <a:pt x="37025" y="243967"/>
                    <a:pt x="37025" y="243967"/>
                    <a:pt x="37025" y="243967"/>
                  </a:cubicBezTo>
                  <a:cubicBezTo>
                    <a:pt x="34050" y="243967"/>
                    <a:pt x="34050" y="243967"/>
                    <a:pt x="34050" y="240992"/>
                  </a:cubicBezTo>
                  <a:lnTo>
                    <a:pt x="1322" y="196364"/>
                  </a:lnTo>
                  <a:cubicBezTo>
                    <a:pt x="-1653" y="193388"/>
                    <a:pt x="1322" y="190413"/>
                    <a:pt x="1322" y="190413"/>
                  </a:cubicBezTo>
                  <a:cubicBezTo>
                    <a:pt x="1322" y="190413"/>
                    <a:pt x="132231" y="53554"/>
                    <a:pt x="147107" y="2975"/>
                  </a:cubicBezTo>
                  <a:cubicBezTo>
                    <a:pt x="147107" y="0"/>
                    <a:pt x="150083" y="0"/>
                    <a:pt x="150083" y="0"/>
                  </a:cubicBezTo>
                  <a:cubicBezTo>
                    <a:pt x="150083" y="0"/>
                    <a:pt x="153058" y="0"/>
                    <a:pt x="156033" y="0"/>
                  </a:cubicBezTo>
                  <a:lnTo>
                    <a:pt x="206612" y="29752"/>
                  </a:lnTo>
                  <a:cubicBezTo>
                    <a:pt x="209587" y="29752"/>
                    <a:pt x="209587" y="35703"/>
                    <a:pt x="209587" y="35703"/>
                  </a:cubicBezTo>
                  <a:cubicBezTo>
                    <a:pt x="209587" y="35703"/>
                    <a:pt x="150083" y="157686"/>
                    <a:pt x="42975" y="240992"/>
                  </a:cubicBezTo>
                  <a:cubicBezTo>
                    <a:pt x="40000" y="243967"/>
                    <a:pt x="37025" y="243967"/>
                    <a:pt x="37025" y="243967"/>
                  </a:cubicBezTo>
                  <a:close/>
                  <a:moveTo>
                    <a:pt x="13223" y="196364"/>
                  </a:moveTo>
                  <a:lnTo>
                    <a:pt x="40000" y="232066"/>
                  </a:lnTo>
                  <a:cubicBezTo>
                    <a:pt x="129256" y="160661"/>
                    <a:pt x="182810" y="62479"/>
                    <a:pt x="194711" y="38678"/>
                  </a:cubicBezTo>
                  <a:lnTo>
                    <a:pt x="156033" y="14876"/>
                  </a:lnTo>
                  <a:cubicBezTo>
                    <a:pt x="132231" y="65455"/>
                    <a:pt x="31074" y="175537"/>
                    <a:pt x="13223" y="196364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CBFE9CE2-F6C0-4588-9267-33B15541895B}"/>
                </a:ext>
              </a:extLst>
            </p:cNvPr>
            <p:cNvSpPr/>
            <p:nvPr/>
          </p:nvSpPr>
          <p:spPr>
            <a:xfrm>
              <a:off x="4039530" y="3845334"/>
              <a:ext cx="76611" cy="130909"/>
            </a:xfrm>
            <a:custGeom>
              <a:avLst/>
              <a:gdLst>
                <a:gd name="connsiteX0" fmla="*/ 71405 w 76611"/>
                <a:gd name="connsiteY0" fmla="*/ 130909 h 130909"/>
                <a:gd name="connsiteX1" fmla="*/ 71405 w 76611"/>
                <a:gd name="connsiteY1" fmla="*/ 130909 h 130909"/>
                <a:gd name="connsiteX2" fmla="*/ 0 w 76611"/>
                <a:gd name="connsiteY2" fmla="*/ 74380 h 130909"/>
                <a:gd name="connsiteX3" fmla="*/ 0 w 76611"/>
                <a:gd name="connsiteY3" fmla="*/ 71405 h 130909"/>
                <a:gd name="connsiteX4" fmla="*/ 0 w 76611"/>
                <a:gd name="connsiteY4" fmla="*/ 5951 h 130909"/>
                <a:gd name="connsiteX5" fmla="*/ 2975 w 76611"/>
                <a:gd name="connsiteY5" fmla="*/ 0 h 130909"/>
                <a:gd name="connsiteX6" fmla="*/ 8926 w 76611"/>
                <a:gd name="connsiteY6" fmla="*/ 2975 h 130909"/>
                <a:gd name="connsiteX7" fmla="*/ 74380 w 76611"/>
                <a:gd name="connsiteY7" fmla="*/ 71405 h 130909"/>
                <a:gd name="connsiteX8" fmla="*/ 74380 w 76611"/>
                <a:gd name="connsiteY8" fmla="*/ 80331 h 130909"/>
                <a:gd name="connsiteX9" fmla="*/ 65455 w 76611"/>
                <a:gd name="connsiteY9" fmla="*/ 80331 h 130909"/>
                <a:gd name="connsiteX10" fmla="*/ 8926 w 76611"/>
                <a:gd name="connsiteY10" fmla="*/ 20827 h 130909"/>
                <a:gd name="connsiteX11" fmla="*/ 8926 w 76611"/>
                <a:gd name="connsiteY11" fmla="*/ 68430 h 130909"/>
                <a:gd name="connsiteX12" fmla="*/ 71405 w 76611"/>
                <a:gd name="connsiteY12" fmla="*/ 121983 h 130909"/>
                <a:gd name="connsiteX13" fmla="*/ 74380 w 76611"/>
                <a:gd name="connsiteY13" fmla="*/ 127934 h 130909"/>
                <a:gd name="connsiteX14" fmla="*/ 71405 w 76611"/>
                <a:gd name="connsiteY14" fmla="*/ 130909 h 13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611" h="130909">
                  <a:moveTo>
                    <a:pt x="71405" y="130909"/>
                  </a:moveTo>
                  <a:cubicBezTo>
                    <a:pt x="71405" y="130909"/>
                    <a:pt x="68430" y="130909"/>
                    <a:pt x="71405" y="130909"/>
                  </a:cubicBezTo>
                  <a:cubicBezTo>
                    <a:pt x="38678" y="119008"/>
                    <a:pt x="2975" y="74380"/>
                    <a:pt x="0" y="74380"/>
                  </a:cubicBezTo>
                  <a:cubicBezTo>
                    <a:pt x="0" y="74380"/>
                    <a:pt x="0" y="71405"/>
                    <a:pt x="0" y="71405"/>
                  </a:cubicBezTo>
                  <a:lnTo>
                    <a:pt x="0" y="5951"/>
                  </a:lnTo>
                  <a:cubicBezTo>
                    <a:pt x="0" y="2975"/>
                    <a:pt x="2975" y="0"/>
                    <a:pt x="2975" y="0"/>
                  </a:cubicBezTo>
                  <a:cubicBezTo>
                    <a:pt x="5950" y="0"/>
                    <a:pt x="8926" y="0"/>
                    <a:pt x="8926" y="2975"/>
                  </a:cubicBezTo>
                  <a:cubicBezTo>
                    <a:pt x="8926" y="2975"/>
                    <a:pt x="41653" y="47603"/>
                    <a:pt x="74380" y="71405"/>
                  </a:cubicBezTo>
                  <a:cubicBezTo>
                    <a:pt x="77355" y="74380"/>
                    <a:pt x="77355" y="77355"/>
                    <a:pt x="74380" y="80331"/>
                  </a:cubicBezTo>
                  <a:cubicBezTo>
                    <a:pt x="71405" y="83306"/>
                    <a:pt x="68430" y="83306"/>
                    <a:pt x="65455" y="80331"/>
                  </a:cubicBezTo>
                  <a:cubicBezTo>
                    <a:pt x="41653" y="62479"/>
                    <a:pt x="20826" y="35703"/>
                    <a:pt x="8926" y="20827"/>
                  </a:cubicBezTo>
                  <a:lnTo>
                    <a:pt x="8926" y="68430"/>
                  </a:lnTo>
                  <a:cubicBezTo>
                    <a:pt x="14876" y="77355"/>
                    <a:pt x="44628" y="110083"/>
                    <a:pt x="71405" y="121983"/>
                  </a:cubicBezTo>
                  <a:cubicBezTo>
                    <a:pt x="74380" y="121983"/>
                    <a:pt x="74380" y="124959"/>
                    <a:pt x="74380" y="127934"/>
                  </a:cubicBezTo>
                  <a:cubicBezTo>
                    <a:pt x="74380" y="127934"/>
                    <a:pt x="74380" y="130909"/>
                    <a:pt x="71405" y="130909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7" name="图形 1">
              <a:extLst>
                <a:ext uri="{FF2B5EF4-FFF2-40B4-BE49-F238E27FC236}">
                  <a16:creationId xmlns:a16="http://schemas.microsoft.com/office/drawing/2014/main" id="{DBCC3E69-EC3B-4908-9F60-A59751869900}"/>
                </a:ext>
              </a:extLst>
            </p:cNvPr>
            <p:cNvGrpSpPr/>
            <p:nvPr/>
          </p:nvGrpSpPr>
          <p:grpSpPr>
            <a:xfrm>
              <a:off x="2218703" y="3886336"/>
              <a:ext cx="245619" cy="339824"/>
              <a:chOff x="2218703" y="3886336"/>
              <a:chExt cx="245619" cy="339824"/>
            </a:xfrm>
          </p:grpSpPr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E667FAC7-C6A3-4B09-9E54-BFBAF6D6EBAC}"/>
                  </a:ext>
                </a:extLst>
              </p:cNvPr>
              <p:cNvSpPr/>
              <p:nvPr/>
            </p:nvSpPr>
            <p:spPr>
              <a:xfrm>
                <a:off x="2218703" y="3886336"/>
                <a:ext cx="240436" cy="334059"/>
              </a:xfrm>
              <a:custGeom>
                <a:avLst/>
                <a:gdLst>
                  <a:gd name="connsiteX0" fmla="*/ 41653 w 240436"/>
                  <a:gd name="connsiteY0" fmla="*/ 48254 h 334059"/>
                  <a:gd name="connsiteX1" fmla="*/ 26777 w 240436"/>
                  <a:gd name="connsiteY1" fmla="*/ 158337 h 334059"/>
                  <a:gd name="connsiteX2" fmla="*/ 0 w 240436"/>
                  <a:gd name="connsiteY2" fmla="*/ 244618 h 334059"/>
                  <a:gd name="connsiteX3" fmla="*/ 50579 w 240436"/>
                  <a:gd name="connsiteY3" fmla="*/ 274370 h 334059"/>
                  <a:gd name="connsiteX4" fmla="*/ 74380 w 240436"/>
                  <a:gd name="connsiteY4" fmla="*/ 313048 h 334059"/>
                  <a:gd name="connsiteX5" fmla="*/ 110083 w 240436"/>
                  <a:gd name="connsiteY5" fmla="*/ 310073 h 334059"/>
                  <a:gd name="connsiteX6" fmla="*/ 169587 w 240436"/>
                  <a:gd name="connsiteY6" fmla="*/ 318998 h 334059"/>
                  <a:gd name="connsiteX7" fmla="*/ 208264 w 240436"/>
                  <a:gd name="connsiteY7" fmla="*/ 333874 h 334059"/>
                  <a:gd name="connsiteX8" fmla="*/ 238017 w 240436"/>
                  <a:gd name="connsiteY8" fmla="*/ 271395 h 334059"/>
                  <a:gd name="connsiteX9" fmla="*/ 211240 w 240436"/>
                  <a:gd name="connsiteY9" fmla="*/ 24453 h 334059"/>
                  <a:gd name="connsiteX10" fmla="*/ 77355 w 240436"/>
                  <a:gd name="connsiteY10" fmla="*/ 3626 h 334059"/>
                  <a:gd name="connsiteX11" fmla="*/ 41653 w 240436"/>
                  <a:gd name="connsiteY11" fmla="*/ 48254 h 334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0436" h="334059">
                    <a:moveTo>
                      <a:pt x="41653" y="48254"/>
                    </a:moveTo>
                    <a:cubicBezTo>
                      <a:pt x="35702" y="83957"/>
                      <a:pt x="32727" y="122634"/>
                      <a:pt x="26777" y="158337"/>
                    </a:cubicBezTo>
                    <a:cubicBezTo>
                      <a:pt x="20826" y="197015"/>
                      <a:pt x="0" y="208915"/>
                      <a:pt x="0" y="244618"/>
                    </a:cubicBezTo>
                    <a:cubicBezTo>
                      <a:pt x="0" y="274370"/>
                      <a:pt x="26777" y="283296"/>
                      <a:pt x="50579" y="274370"/>
                    </a:cubicBezTo>
                    <a:cubicBezTo>
                      <a:pt x="47603" y="295196"/>
                      <a:pt x="56529" y="304122"/>
                      <a:pt x="74380" y="313048"/>
                    </a:cubicBezTo>
                    <a:cubicBezTo>
                      <a:pt x="83306" y="316023"/>
                      <a:pt x="104132" y="316023"/>
                      <a:pt x="110083" y="310073"/>
                    </a:cubicBezTo>
                    <a:cubicBezTo>
                      <a:pt x="110083" y="327924"/>
                      <a:pt x="154711" y="339825"/>
                      <a:pt x="169587" y="318998"/>
                    </a:cubicBezTo>
                    <a:cubicBezTo>
                      <a:pt x="175537" y="336849"/>
                      <a:pt x="196364" y="333874"/>
                      <a:pt x="208264" y="333874"/>
                    </a:cubicBezTo>
                    <a:cubicBezTo>
                      <a:pt x="246942" y="327924"/>
                      <a:pt x="235041" y="289246"/>
                      <a:pt x="238017" y="271395"/>
                    </a:cubicBezTo>
                    <a:cubicBezTo>
                      <a:pt x="249917" y="170238"/>
                      <a:pt x="214215" y="125610"/>
                      <a:pt x="211240" y="24453"/>
                    </a:cubicBezTo>
                    <a:cubicBezTo>
                      <a:pt x="214215" y="24453"/>
                      <a:pt x="124959" y="-11250"/>
                      <a:pt x="77355" y="3626"/>
                    </a:cubicBezTo>
                    <a:cubicBezTo>
                      <a:pt x="47603" y="9577"/>
                      <a:pt x="44628" y="18502"/>
                      <a:pt x="41653" y="48254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1ACC4972-6176-4710-A883-4642FACE4EA1}"/>
                  </a:ext>
                </a:extLst>
              </p:cNvPr>
              <p:cNvSpPr/>
              <p:nvPr/>
            </p:nvSpPr>
            <p:spPr>
              <a:xfrm>
                <a:off x="2380108" y="4056574"/>
                <a:ext cx="84214" cy="169586"/>
              </a:xfrm>
              <a:custGeom>
                <a:avLst/>
                <a:gdLst>
                  <a:gd name="connsiteX0" fmla="*/ 43884 w 84214"/>
                  <a:gd name="connsiteY0" fmla="*/ 169587 h 169586"/>
                  <a:gd name="connsiteX1" fmla="*/ 2231 w 84214"/>
                  <a:gd name="connsiteY1" fmla="*/ 151736 h 169586"/>
                  <a:gd name="connsiteX2" fmla="*/ 2231 w 84214"/>
                  <a:gd name="connsiteY2" fmla="*/ 142810 h 169586"/>
                  <a:gd name="connsiteX3" fmla="*/ 11157 w 84214"/>
                  <a:gd name="connsiteY3" fmla="*/ 142810 h 169586"/>
                  <a:gd name="connsiteX4" fmla="*/ 49835 w 84214"/>
                  <a:gd name="connsiteY4" fmla="*/ 157686 h 169586"/>
                  <a:gd name="connsiteX5" fmla="*/ 64711 w 84214"/>
                  <a:gd name="connsiteY5" fmla="*/ 145785 h 169586"/>
                  <a:gd name="connsiteX6" fmla="*/ 64711 w 84214"/>
                  <a:gd name="connsiteY6" fmla="*/ 5951 h 169586"/>
                  <a:gd name="connsiteX7" fmla="*/ 67686 w 84214"/>
                  <a:gd name="connsiteY7" fmla="*/ 0 h 169586"/>
                  <a:gd name="connsiteX8" fmla="*/ 73636 w 84214"/>
                  <a:gd name="connsiteY8" fmla="*/ 2975 h 169586"/>
                  <a:gd name="connsiteX9" fmla="*/ 73636 w 84214"/>
                  <a:gd name="connsiteY9" fmla="*/ 148760 h 169586"/>
                  <a:gd name="connsiteX10" fmla="*/ 49835 w 84214"/>
                  <a:gd name="connsiteY10" fmla="*/ 166612 h 169586"/>
                  <a:gd name="connsiteX11" fmla="*/ 43884 w 84214"/>
                  <a:gd name="connsiteY11" fmla="*/ 169587 h 169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4214" h="169586">
                    <a:moveTo>
                      <a:pt x="43884" y="169587"/>
                    </a:moveTo>
                    <a:cubicBezTo>
                      <a:pt x="23058" y="169587"/>
                      <a:pt x="5207" y="151736"/>
                      <a:pt x="2231" y="151736"/>
                    </a:cubicBezTo>
                    <a:cubicBezTo>
                      <a:pt x="-744" y="148760"/>
                      <a:pt x="-744" y="145785"/>
                      <a:pt x="2231" y="142810"/>
                    </a:cubicBezTo>
                    <a:cubicBezTo>
                      <a:pt x="5207" y="142810"/>
                      <a:pt x="8182" y="142810"/>
                      <a:pt x="11157" y="142810"/>
                    </a:cubicBezTo>
                    <a:cubicBezTo>
                      <a:pt x="11157" y="142810"/>
                      <a:pt x="31983" y="160661"/>
                      <a:pt x="49835" y="157686"/>
                    </a:cubicBezTo>
                    <a:cubicBezTo>
                      <a:pt x="55785" y="157686"/>
                      <a:pt x="61736" y="151736"/>
                      <a:pt x="64711" y="145785"/>
                    </a:cubicBezTo>
                    <a:cubicBezTo>
                      <a:pt x="85537" y="104132"/>
                      <a:pt x="64711" y="8926"/>
                      <a:pt x="64711" y="5951"/>
                    </a:cubicBezTo>
                    <a:cubicBezTo>
                      <a:pt x="64711" y="2975"/>
                      <a:pt x="64711" y="0"/>
                      <a:pt x="67686" y="0"/>
                    </a:cubicBezTo>
                    <a:cubicBezTo>
                      <a:pt x="70661" y="0"/>
                      <a:pt x="73636" y="0"/>
                      <a:pt x="73636" y="2975"/>
                    </a:cubicBezTo>
                    <a:cubicBezTo>
                      <a:pt x="73636" y="5951"/>
                      <a:pt x="97438" y="107108"/>
                      <a:pt x="73636" y="148760"/>
                    </a:cubicBezTo>
                    <a:cubicBezTo>
                      <a:pt x="67686" y="157686"/>
                      <a:pt x="61736" y="163636"/>
                      <a:pt x="49835" y="166612"/>
                    </a:cubicBezTo>
                    <a:cubicBezTo>
                      <a:pt x="46859" y="169587"/>
                      <a:pt x="46859" y="169587"/>
                      <a:pt x="43884" y="169587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9C50B3DB-5201-437B-A411-F530964B2F0D}"/>
                  </a:ext>
                </a:extLst>
              </p:cNvPr>
              <p:cNvSpPr/>
              <p:nvPr/>
            </p:nvSpPr>
            <p:spPr>
              <a:xfrm>
                <a:off x="2278208" y="4122029"/>
                <a:ext cx="96438" cy="44628"/>
              </a:xfrm>
              <a:custGeom>
                <a:avLst/>
                <a:gdLst>
                  <a:gd name="connsiteX0" fmla="*/ 92231 w 96438"/>
                  <a:gd name="connsiteY0" fmla="*/ 44628 h 44628"/>
                  <a:gd name="connsiteX1" fmla="*/ 92231 w 96438"/>
                  <a:gd name="connsiteY1" fmla="*/ 44628 h 44628"/>
                  <a:gd name="connsiteX2" fmla="*/ 2975 w 96438"/>
                  <a:gd name="connsiteY2" fmla="*/ 8925 h 44628"/>
                  <a:gd name="connsiteX3" fmla="*/ 0 w 96438"/>
                  <a:gd name="connsiteY3" fmla="*/ 2975 h 44628"/>
                  <a:gd name="connsiteX4" fmla="*/ 5950 w 96438"/>
                  <a:gd name="connsiteY4" fmla="*/ 0 h 44628"/>
                  <a:gd name="connsiteX5" fmla="*/ 89256 w 96438"/>
                  <a:gd name="connsiteY5" fmla="*/ 32727 h 44628"/>
                  <a:gd name="connsiteX6" fmla="*/ 95207 w 96438"/>
                  <a:gd name="connsiteY6" fmla="*/ 38678 h 44628"/>
                  <a:gd name="connsiteX7" fmla="*/ 92231 w 96438"/>
                  <a:gd name="connsiteY7" fmla="*/ 44628 h 4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6438" h="44628">
                    <a:moveTo>
                      <a:pt x="92231" y="44628"/>
                    </a:moveTo>
                    <a:cubicBezTo>
                      <a:pt x="92231" y="44628"/>
                      <a:pt x="92231" y="44628"/>
                      <a:pt x="92231" y="44628"/>
                    </a:cubicBezTo>
                    <a:cubicBezTo>
                      <a:pt x="68430" y="41653"/>
                      <a:pt x="5950" y="11901"/>
                      <a:pt x="2975" y="8925"/>
                    </a:cubicBezTo>
                    <a:cubicBezTo>
                      <a:pt x="0" y="8925"/>
                      <a:pt x="0" y="2975"/>
                      <a:pt x="0" y="2975"/>
                    </a:cubicBezTo>
                    <a:cubicBezTo>
                      <a:pt x="0" y="0"/>
                      <a:pt x="5950" y="0"/>
                      <a:pt x="5950" y="0"/>
                    </a:cubicBezTo>
                    <a:cubicBezTo>
                      <a:pt x="5950" y="0"/>
                      <a:pt x="68430" y="32727"/>
                      <a:pt x="89256" y="32727"/>
                    </a:cubicBezTo>
                    <a:cubicBezTo>
                      <a:pt x="92231" y="32727"/>
                      <a:pt x="95207" y="35702"/>
                      <a:pt x="95207" y="38678"/>
                    </a:cubicBezTo>
                    <a:cubicBezTo>
                      <a:pt x="98182" y="41653"/>
                      <a:pt x="95207" y="44628"/>
                      <a:pt x="92231" y="44628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5257A9B3-06E6-4F44-A8A0-86BB0CF4A580}"/>
                </a:ext>
              </a:extLst>
            </p:cNvPr>
            <p:cNvSpPr/>
            <p:nvPr/>
          </p:nvSpPr>
          <p:spPr>
            <a:xfrm>
              <a:off x="2161539" y="2757998"/>
              <a:ext cx="1129094" cy="1229330"/>
            </a:xfrm>
            <a:custGeom>
              <a:avLst/>
              <a:gdLst>
                <a:gd name="connsiteX0" fmla="*/ 1122289 w 1129094"/>
                <a:gd name="connsiteY0" fmla="*/ 75766 h 1229330"/>
                <a:gd name="connsiteX1" fmla="*/ 789065 w 1129094"/>
                <a:gd name="connsiteY1" fmla="*/ 456593 h 1229330"/>
                <a:gd name="connsiteX2" fmla="*/ 378487 w 1129094"/>
                <a:gd name="connsiteY2" fmla="*/ 649981 h 1229330"/>
                <a:gd name="connsiteX3" fmla="*/ 274355 w 1129094"/>
                <a:gd name="connsiteY3" fmla="*/ 1206345 h 1229330"/>
                <a:gd name="connsiteX4" fmla="*/ 77991 w 1129094"/>
                <a:gd name="connsiteY4" fmla="*/ 1221221 h 1229330"/>
                <a:gd name="connsiteX5" fmla="*/ 72041 w 1129094"/>
                <a:gd name="connsiteY5" fmla="*/ 459568 h 1229330"/>
                <a:gd name="connsiteX6" fmla="*/ 1122289 w 1129094"/>
                <a:gd name="connsiteY6" fmla="*/ 75766 h 1229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9094" h="1229330">
                  <a:moveTo>
                    <a:pt x="1122289" y="75766"/>
                  </a:moveTo>
                  <a:cubicBezTo>
                    <a:pt x="1175842" y="197750"/>
                    <a:pt x="899148" y="394113"/>
                    <a:pt x="789065" y="456593"/>
                  </a:cubicBezTo>
                  <a:cubicBezTo>
                    <a:pt x="690884" y="513122"/>
                    <a:pt x="378487" y="649981"/>
                    <a:pt x="378487" y="649981"/>
                  </a:cubicBezTo>
                  <a:cubicBezTo>
                    <a:pt x="378487" y="649981"/>
                    <a:pt x="372536" y="1102212"/>
                    <a:pt x="274355" y="1206345"/>
                  </a:cubicBezTo>
                  <a:cubicBezTo>
                    <a:pt x="226751" y="1230146"/>
                    <a:pt x="152371" y="1236097"/>
                    <a:pt x="77991" y="1221221"/>
                  </a:cubicBezTo>
                  <a:cubicBezTo>
                    <a:pt x="-61844" y="1143865"/>
                    <a:pt x="18487" y="572626"/>
                    <a:pt x="72041" y="459568"/>
                  </a:cubicBezTo>
                  <a:cubicBezTo>
                    <a:pt x="131545" y="337584"/>
                    <a:pt x="1003280" y="-194978"/>
                    <a:pt x="1122289" y="75766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F5ABCDF7-8276-4684-93B0-FF1FF4ED4AB8}"/>
                </a:ext>
              </a:extLst>
            </p:cNvPr>
            <p:cNvSpPr/>
            <p:nvPr/>
          </p:nvSpPr>
          <p:spPr>
            <a:xfrm>
              <a:off x="2944654" y="2771285"/>
              <a:ext cx="346115" cy="449256"/>
            </a:xfrm>
            <a:custGeom>
              <a:avLst/>
              <a:gdLst>
                <a:gd name="connsiteX0" fmla="*/ 5950 w 346115"/>
                <a:gd name="connsiteY0" fmla="*/ 449256 h 449256"/>
                <a:gd name="connsiteX1" fmla="*/ 0 w 346115"/>
                <a:gd name="connsiteY1" fmla="*/ 446281 h 449256"/>
                <a:gd name="connsiteX2" fmla="*/ 2975 w 346115"/>
                <a:gd name="connsiteY2" fmla="*/ 440331 h 449256"/>
                <a:gd name="connsiteX3" fmla="*/ 288595 w 346115"/>
                <a:gd name="connsiteY3" fmla="*/ 208264 h 449256"/>
                <a:gd name="connsiteX4" fmla="*/ 333223 w 346115"/>
                <a:gd name="connsiteY4" fmla="*/ 68430 h 449256"/>
                <a:gd name="connsiteX5" fmla="*/ 285620 w 346115"/>
                <a:gd name="connsiteY5" fmla="*/ 11901 h 449256"/>
                <a:gd name="connsiteX6" fmla="*/ 282645 w 346115"/>
                <a:gd name="connsiteY6" fmla="*/ 5950 h 449256"/>
                <a:gd name="connsiteX7" fmla="*/ 288595 w 346115"/>
                <a:gd name="connsiteY7" fmla="*/ 0 h 449256"/>
                <a:gd name="connsiteX8" fmla="*/ 342149 w 346115"/>
                <a:gd name="connsiteY8" fmla="*/ 65455 h 449256"/>
                <a:gd name="connsiteX9" fmla="*/ 297521 w 346115"/>
                <a:gd name="connsiteY9" fmla="*/ 214215 h 449256"/>
                <a:gd name="connsiteX10" fmla="*/ 5950 w 346115"/>
                <a:gd name="connsiteY10" fmla="*/ 449256 h 449256"/>
                <a:gd name="connsiteX11" fmla="*/ 5950 w 346115"/>
                <a:gd name="connsiteY11" fmla="*/ 449256 h 449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6115" h="449256">
                  <a:moveTo>
                    <a:pt x="5950" y="449256"/>
                  </a:moveTo>
                  <a:cubicBezTo>
                    <a:pt x="2975" y="449256"/>
                    <a:pt x="2975" y="449256"/>
                    <a:pt x="0" y="446281"/>
                  </a:cubicBezTo>
                  <a:cubicBezTo>
                    <a:pt x="0" y="443306"/>
                    <a:pt x="0" y="440331"/>
                    <a:pt x="2975" y="440331"/>
                  </a:cubicBezTo>
                  <a:cubicBezTo>
                    <a:pt x="5950" y="440331"/>
                    <a:pt x="184463" y="351074"/>
                    <a:pt x="288595" y="208264"/>
                  </a:cubicBezTo>
                  <a:cubicBezTo>
                    <a:pt x="327273" y="154711"/>
                    <a:pt x="342149" y="107107"/>
                    <a:pt x="333223" y="68430"/>
                  </a:cubicBezTo>
                  <a:cubicBezTo>
                    <a:pt x="321322" y="26777"/>
                    <a:pt x="285620" y="11901"/>
                    <a:pt x="285620" y="11901"/>
                  </a:cubicBezTo>
                  <a:cubicBezTo>
                    <a:pt x="282645" y="11901"/>
                    <a:pt x="282645" y="8926"/>
                    <a:pt x="282645" y="5950"/>
                  </a:cubicBezTo>
                  <a:cubicBezTo>
                    <a:pt x="282645" y="0"/>
                    <a:pt x="288595" y="0"/>
                    <a:pt x="288595" y="0"/>
                  </a:cubicBezTo>
                  <a:cubicBezTo>
                    <a:pt x="291570" y="0"/>
                    <a:pt x="330248" y="17851"/>
                    <a:pt x="342149" y="65455"/>
                  </a:cubicBezTo>
                  <a:cubicBezTo>
                    <a:pt x="354050" y="107107"/>
                    <a:pt x="339174" y="157686"/>
                    <a:pt x="297521" y="214215"/>
                  </a:cubicBezTo>
                  <a:cubicBezTo>
                    <a:pt x="193388" y="360000"/>
                    <a:pt x="11901" y="449256"/>
                    <a:pt x="5950" y="449256"/>
                  </a:cubicBezTo>
                  <a:cubicBezTo>
                    <a:pt x="8926" y="449256"/>
                    <a:pt x="8926" y="449256"/>
                    <a:pt x="5950" y="449256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88327D9D-00BB-4DBA-AC51-441EC9B3C036}"/>
                </a:ext>
              </a:extLst>
            </p:cNvPr>
            <p:cNvSpPr/>
            <p:nvPr/>
          </p:nvSpPr>
          <p:spPr>
            <a:xfrm>
              <a:off x="2468621" y="3301615"/>
              <a:ext cx="77355" cy="112314"/>
            </a:xfrm>
            <a:custGeom>
              <a:avLst/>
              <a:gdLst>
                <a:gd name="connsiteX0" fmla="*/ 74380 w 77355"/>
                <a:gd name="connsiteY0" fmla="*/ 112314 h 112314"/>
                <a:gd name="connsiteX1" fmla="*/ 71405 w 77355"/>
                <a:gd name="connsiteY1" fmla="*/ 112314 h 112314"/>
                <a:gd name="connsiteX2" fmla="*/ 5950 w 77355"/>
                <a:gd name="connsiteY2" fmla="*/ 79587 h 112314"/>
                <a:gd name="connsiteX3" fmla="*/ 0 w 77355"/>
                <a:gd name="connsiteY3" fmla="*/ 73636 h 112314"/>
                <a:gd name="connsiteX4" fmla="*/ 5950 w 77355"/>
                <a:gd name="connsiteY4" fmla="*/ 67686 h 112314"/>
                <a:gd name="connsiteX5" fmla="*/ 56529 w 77355"/>
                <a:gd name="connsiteY5" fmla="*/ 91488 h 112314"/>
                <a:gd name="connsiteX6" fmla="*/ 5950 w 77355"/>
                <a:gd name="connsiteY6" fmla="*/ 11157 h 112314"/>
                <a:gd name="connsiteX7" fmla="*/ 5950 w 77355"/>
                <a:gd name="connsiteY7" fmla="*/ 2231 h 112314"/>
                <a:gd name="connsiteX8" fmla="*/ 14876 w 77355"/>
                <a:gd name="connsiteY8" fmla="*/ 2231 h 112314"/>
                <a:gd name="connsiteX9" fmla="*/ 77355 w 77355"/>
                <a:gd name="connsiteY9" fmla="*/ 106364 h 112314"/>
                <a:gd name="connsiteX10" fmla="*/ 77355 w 77355"/>
                <a:gd name="connsiteY10" fmla="*/ 112314 h 112314"/>
                <a:gd name="connsiteX11" fmla="*/ 74380 w 77355"/>
                <a:gd name="connsiteY11" fmla="*/ 112314 h 112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355" h="112314">
                  <a:moveTo>
                    <a:pt x="74380" y="112314"/>
                  </a:moveTo>
                  <a:cubicBezTo>
                    <a:pt x="74380" y="112314"/>
                    <a:pt x="71405" y="112314"/>
                    <a:pt x="71405" y="112314"/>
                  </a:cubicBezTo>
                  <a:cubicBezTo>
                    <a:pt x="71405" y="112314"/>
                    <a:pt x="32727" y="85537"/>
                    <a:pt x="5950" y="79587"/>
                  </a:cubicBezTo>
                  <a:cubicBezTo>
                    <a:pt x="2975" y="79587"/>
                    <a:pt x="0" y="76612"/>
                    <a:pt x="0" y="73636"/>
                  </a:cubicBezTo>
                  <a:cubicBezTo>
                    <a:pt x="0" y="70661"/>
                    <a:pt x="2975" y="67686"/>
                    <a:pt x="5950" y="67686"/>
                  </a:cubicBezTo>
                  <a:cubicBezTo>
                    <a:pt x="23802" y="70661"/>
                    <a:pt x="44628" y="82562"/>
                    <a:pt x="56529" y="91488"/>
                  </a:cubicBezTo>
                  <a:cubicBezTo>
                    <a:pt x="41653" y="61736"/>
                    <a:pt x="17851" y="20083"/>
                    <a:pt x="5950" y="11157"/>
                  </a:cubicBezTo>
                  <a:cubicBezTo>
                    <a:pt x="2975" y="8182"/>
                    <a:pt x="2975" y="5207"/>
                    <a:pt x="5950" y="2231"/>
                  </a:cubicBezTo>
                  <a:cubicBezTo>
                    <a:pt x="8926" y="-744"/>
                    <a:pt x="11901" y="-744"/>
                    <a:pt x="14876" y="2231"/>
                  </a:cubicBezTo>
                  <a:cubicBezTo>
                    <a:pt x="35702" y="17107"/>
                    <a:pt x="71405" y="97438"/>
                    <a:pt x="77355" y="106364"/>
                  </a:cubicBezTo>
                  <a:cubicBezTo>
                    <a:pt x="77355" y="109339"/>
                    <a:pt x="77355" y="112314"/>
                    <a:pt x="77355" y="112314"/>
                  </a:cubicBezTo>
                  <a:cubicBezTo>
                    <a:pt x="77355" y="112314"/>
                    <a:pt x="74380" y="112314"/>
                    <a:pt x="74380" y="112314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A6A0E6C3-155A-4DB1-8484-5F4D7A8080FA}"/>
                </a:ext>
              </a:extLst>
            </p:cNvPr>
            <p:cNvSpPr/>
            <p:nvPr/>
          </p:nvSpPr>
          <p:spPr>
            <a:xfrm>
              <a:off x="7791265" y="2693930"/>
              <a:ext cx="285620" cy="267768"/>
            </a:xfrm>
            <a:custGeom>
              <a:avLst/>
              <a:gdLst>
                <a:gd name="connsiteX0" fmla="*/ 0 w 285620"/>
                <a:gd name="connsiteY0" fmla="*/ 267769 h 267768"/>
                <a:gd name="connsiteX1" fmla="*/ 273719 w 285620"/>
                <a:gd name="connsiteY1" fmla="*/ 264793 h 267768"/>
                <a:gd name="connsiteX2" fmla="*/ 285620 w 285620"/>
                <a:gd name="connsiteY2" fmla="*/ 124959 h 267768"/>
                <a:gd name="connsiteX3" fmla="*/ 276694 w 285620"/>
                <a:gd name="connsiteY3" fmla="*/ 17851 h 267768"/>
                <a:gd name="connsiteX4" fmla="*/ 205290 w 285620"/>
                <a:gd name="connsiteY4" fmla="*/ 0 h 267768"/>
                <a:gd name="connsiteX5" fmla="*/ 50578 w 285620"/>
                <a:gd name="connsiteY5" fmla="*/ 86281 h 267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620" h="267768">
                  <a:moveTo>
                    <a:pt x="0" y="267769"/>
                  </a:moveTo>
                  <a:lnTo>
                    <a:pt x="273719" y="264793"/>
                  </a:lnTo>
                  <a:lnTo>
                    <a:pt x="285620" y="124959"/>
                  </a:lnTo>
                  <a:lnTo>
                    <a:pt x="276694" y="17851"/>
                  </a:lnTo>
                  <a:lnTo>
                    <a:pt x="205290" y="0"/>
                  </a:lnTo>
                  <a:lnTo>
                    <a:pt x="50578" y="86281"/>
                  </a:lnTo>
                  <a:close/>
                </a:path>
              </a:pathLst>
            </a:custGeom>
            <a:solidFill>
              <a:srgbClr val="664241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3D91FC7A-BF2C-4D1F-A1B4-D4071DB5F055}"/>
                </a:ext>
              </a:extLst>
            </p:cNvPr>
            <p:cNvSpPr/>
            <p:nvPr/>
          </p:nvSpPr>
          <p:spPr>
            <a:xfrm>
              <a:off x="7443166" y="2336874"/>
              <a:ext cx="458560" cy="646983"/>
            </a:xfrm>
            <a:custGeom>
              <a:avLst/>
              <a:gdLst>
                <a:gd name="connsiteX0" fmla="*/ 392727 w 458560"/>
                <a:gd name="connsiteY0" fmla="*/ 458213 h 646983"/>
                <a:gd name="connsiteX1" fmla="*/ 383801 w 458560"/>
                <a:gd name="connsiteY1" fmla="*/ 300527 h 646983"/>
                <a:gd name="connsiteX2" fmla="*/ 425455 w 458560"/>
                <a:gd name="connsiteY2" fmla="*/ 157717 h 646983"/>
                <a:gd name="connsiteX3" fmla="*/ 458182 w 458560"/>
                <a:gd name="connsiteY3" fmla="*/ 8956 h 646983"/>
                <a:gd name="connsiteX4" fmla="*/ 139835 w 458560"/>
                <a:gd name="connsiteY4" fmla="*/ 172593 h 646983"/>
                <a:gd name="connsiteX5" fmla="*/ 0 w 458560"/>
                <a:gd name="connsiteY5" fmla="*/ 568295 h 646983"/>
                <a:gd name="connsiteX6" fmla="*/ 413554 w 458560"/>
                <a:gd name="connsiteY6" fmla="*/ 621849 h 646983"/>
                <a:gd name="connsiteX7" fmla="*/ 392727 w 458560"/>
                <a:gd name="connsiteY7" fmla="*/ 458213 h 646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8560" h="646983">
                  <a:moveTo>
                    <a:pt x="392727" y="458213"/>
                  </a:moveTo>
                  <a:cubicBezTo>
                    <a:pt x="383801" y="407634"/>
                    <a:pt x="377851" y="354080"/>
                    <a:pt x="383801" y="300527"/>
                  </a:cubicBezTo>
                  <a:cubicBezTo>
                    <a:pt x="389752" y="249948"/>
                    <a:pt x="404628" y="202345"/>
                    <a:pt x="425455" y="157717"/>
                  </a:cubicBezTo>
                  <a:cubicBezTo>
                    <a:pt x="446281" y="110113"/>
                    <a:pt x="461157" y="8956"/>
                    <a:pt x="458182" y="8956"/>
                  </a:cubicBezTo>
                  <a:cubicBezTo>
                    <a:pt x="345124" y="-26746"/>
                    <a:pt x="166612" y="47634"/>
                    <a:pt x="139835" y="172593"/>
                  </a:cubicBezTo>
                  <a:cubicBezTo>
                    <a:pt x="127934" y="235072"/>
                    <a:pt x="119008" y="404659"/>
                    <a:pt x="0" y="568295"/>
                  </a:cubicBezTo>
                  <a:cubicBezTo>
                    <a:pt x="101157" y="642675"/>
                    <a:pt x="404628" y="672428"/>
                    <a:pt x="413554" y="621849"/>
                  </a:cubicBezTo>
                  <a:cubicBezTo>
                    <a:pt x="422479" y="583171"/>
                    <a:pt x="398678" y="499866"/>
                    <a:pt x="392727" y="458213"/>
                  </a:cubicBezTo>
                  <a:close/>
                </a:path>
              </a:pathLst>
            </a:custGeom>
            <a:solidFill>
              <a:srgbClr val="664241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122D1CB6-2542-49BA-8679-AB8211AEC37F}"/>
                </a:ext>
              </a:extLst>
            </p:cNvPr>
            <p:cNvSpPr/>
            <p:nvPr/>
          </p:nvSpPr>
          <p:spPr>
            <a:xfrm>
              <a:off x="6338510" y="2692986"/>
              <a:ext cx="220012" cy="280612"/>
            </a:xfrm>
            <a:custGeom>
              <a:avLst/>
              <a:gdLst>
                <a:gd name="connsiteX0" fmla="*/ 12756 w 220012"/>
                <a:gd name="connsiteY0" fmla="*/ 167555 h 280612"/>
                <a:gd name="connsiteX1" fmla="*/ 81185 w 220012"/>
                <a:gd name="connsiteY1" fmla="*/ 256811 h 280612"/>
                <a:gd name="connsiteX2" fmla="*/ 149615 w 220012"/>
                <a:gd name="connsiteY2" fmla="*/ 280613 h 280612"/>
                <a:gd name="connsiteX3" fmla="*/ 206144 w 220012"/>
                <a:gd name="connsiteY3" fmla="*/ 203257 h 280612"/>
                <a:gd name="connsiteX4" fmla="*/ 116888 w 220012"/>
                <a:gd name="connsiteY4" fmla="*/ 943 h 280612"/>
                <a:gd name="connsiteX5" fmla="*/ 78210 w 220012"/>
                <a:gd name="connsiteY5" fmla="*/ 27720 h 280612"/>
                <a:gd name="connsiteX6" fmla="*/ 30607 w 220012"/>
                <a:gd name="connsiteY6" fmla="*/ 54497 h 280612"/>
                <a:gd name="connsiteX7" fmla="*/ 18706 w 220012"/>
                <a:gd name="connsiteY7" fmla="*/ 87224 h 280612"/>
                <a:gd name="connsiteX8" fmla="*/ 9780 w 220012"/>
                <a:gd name="connsiteY8" fmla="*/ 134827 h 280612"/>
                <a:gd name="connsiteX9" fmla="*/ 12756 w 220012"/>
                <a:gd name="connsiteY9" fmla="*/ 167555 h 280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012" h="280612">
                  <a:moveTo>
                    <a:pt x="12756" y="167555"/>
                  </a:moveTo>
                  <a:cubicBezTo>
                    <a:pt x="33582" y="197307"/>
                    <a:pt x="36557" y="253836"/>
                    <a:pt x="81185" y="256811"/>
                  </a:cubicBezTo>
                  <a:cubicBezTo>
                    <a:pt x="90111" y="256811"/>
                    <a:pt x="125814" y="256811"/>
                    <a:pt x="149615" y="280613"/>
                  </a:cubicBezTo>
                  <a:cubicBezTo>
                    <a:pt x="188293" y="265736"/>
                    <a:pt x="206144" y="203257"/>
                    <a:pt x="206144" y="203257"/>
                  </a:cubicBezTo>
                  <a:cubicBezTo>
                    <a:pt x="256722" y="140778"/>
                    <a:pt x="155566" y="39621"/>
                    <a:pt x="116888" y="943"/>
                  </a:cubicBezTo>
                  <a:cubicBezTo>
                    <a:pt x="110937" y="-5007"/>
                    <a:pt x="75235" y="18794"/>
                    <a:pt x="78210" y="27720"/>
                  </a:cubicBezTo>
                  <a:cubicBezTo>
                    <a:pt x="84160" y="42596"/>
                    <a:pt x="39532" y="45571"/>
                    <a:pt x="30607" y="54497"/>
                  </a:cubicBezTo>
                  <a:cubicBezTo>
                    <a:pt x="21681" y="63422"/>
                    <a:pt x="18706" y="84249"/>
                    <a:pt x="18706" y="87224"/>
                  </a:cubicBezTo>
                  <a:cubicBezTo>
                    <a:pt x="12756" y="102100"/>
                    <a:pt x="12756" y="125902"/>
                    <a:pt x="9780" y="134827"/>
                  </a:cubicBezTo>
                  <a:cubicBezTo>
                    <a:pt x="-5096" y="143753"/>
                    <a:pt x="-2120" y="149703"/>
                    <a:pt x="12756" y="167555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7" name="图形 1">
              <a:extLst>
                <a:ext uri="{FF2B5EF4-FFF2-40B4-BE49-F238E27FC236}">
                  <a16:creationId xmlns:a16="http://schemas.microsoft.com/office/drawing/2014/main" id="{DBCC3E69-EC3B-4908-9F60-A59751869900}"/>
                </a:ext>
              </a:extLst>
            </p:cNvPr>
            <p:cNvGrpSpPr/>
            <p:nvPr/>
          </p:nvGrpSpPr>
          <p:grpSpPr>
            <a:xfrm>
              <a:off x="6299876" y="2666589"/>
              <a:ext cx="170397" cy="189644"/>
              <a:chOff x="6299876" y="2666589"/>
              <a:chExt cx="170397" cy="189644"/>
            </a:xfrm>
          </p:grpSpPr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ED45F746-3067-4971-B6CB-B5B0F6792106}"/>
                  </a:ext>
                </a:extLst>
              </p:cNvPr>
              <p:cNvSpPr/>
              <p:nvPr/>
            </p:nvSpPr>
            <p:spPr>
              <a:xfrm>
                <a:off x="6373105" y="2666589"/>
                <a:ext cx="94193" cy="116373"/>
              </a:xfrm>
              <a:custGeom>
                <a:avLst/>
                <a:gdLst>
                  <a:gd name="connsiteX0" fmla="*/ 34690 w 94193"/>
                  <a:gd name="connsiteY0" fmla="*/ 564 h 116373"/>
                  <a:gd name="connsiteX1" fmla="*/ 82293 w 94193"/>
                  <a:gd name="connsiteY1" fmla="*/ 54117 h 116373"/>
                  <a:gd name="connsiteX2" fmla="*/ 91219 w 94193"/>
                  <a:gd name="connsiteY2" fmla="*/ 63043 h 116373"/>
                  <a:gd name="connsiteX3" fmla="*/ 94194 w 94193"/>
                  <a:gd name="connsiteY3" fmla="*/ 74944 h 116373"/>
                  <a:gd name="connsiteX4" fmla="*/ 70392 w 94193"/>
                  <a:gd name="connsiteY4" fmla="*/ 113622 h 116373"/>
                  <a:gd name="connsiteX5" fmla="*/ 37665 w 94193"/>
                  <a:gd name="connsiteY5" fmla="*/ 98746 h 116373"/>
                  <a:gd name="connsiteX6" fmla="*/ 10888 w 94193"/>
                  <a:gd name="connsiteY6" fmla="*/ 60068 h 116373"/>
                  <a:gd name="connsiteX7" fmla="*/ 1963 w 94193"/>
                  <a:gd name="connsiteY7" fmla="*/ 24365 h 116373"/>
                  <a:gd name="connsiteX8" fmla="*/ 34690 w 94193"/>
                  <a:gd name="connsiteY8" fmla="*/ 564 h 116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193" h="116373">
                    <a:moveTo>
                      <a:pt x="34690" y="564"/>
                    </a:moveTo>
                    <a:cubicBezTo>
                      <a:pt x="58491" y="6514"/>
                      <a:pt x="67417" y="33291"/>
                      <a:pt x="82293" y="54117"/>
                    </a:cubicBezTo>
                    <a:cubicBezTo>
                      <a:pt x="82293" y="57093"/>
                      <a:pt x="91219" y="60068"/>
                      <a:pt x="91219" y="63043"/>
                    </a:cubicBezTo>
                    <a:cubicBezTo>
                      <a:pt x="94194" y="66018"/>
                      <a:pt x="94194" y="71969"/>
                      <a:pt x="94194" y="74944"/>
                    </a:cubicBezTo>
                    <a:cubicBezTo>
                      <a:pt x="94194" y="89820"/>
                      <a:pt x="85268" y="107671"/>
                      <a:pt x="70392" y="113622"/>
                    </a:cubicBezTo>
                    <a:cubicBezTo>
                      <a:pt x="55516" y="122547"/>
                      <a:pt x="46591" y="107671"/>
                      <a:pt x="37665" y="98746"/>
                    </a:cubicBezTo>
                    <a:cubicBezTo>
                      <a:pt x="28739" y="86845"/>
                      <a:pt x="19813" y="74944"/>
                      <a:pt x="10888" y="60068"/>
                    </a:cubicBezTo>
                    <a:cubicBezTo>
                      <a:pt x="4937" y="51142"/>
                      <a:pt x="-3988" y="39241"/>
                      <a:pt x="1963" y="24365"/>
                    </a:cubicBezTo>
                    <a:cubicBezTo>
                      <a:pt x="7913" y="6514"/>
                      <a:pt x="22789" y="-2411"/>
                      <a:pt x="34690" y="564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F6364D17-FFF4-4D59-AFEA-DB0FC48A478E}"/>
                  </a:ext>
                </a:extLst>
              </p:cNvPr>
              <p:cNvSpPr/>
              <p:nvPr/>
            </p:nvSpPr>
            <p:spPr>
              <a:xfrm>
                <a:off x="6343353" y="2708806"/>
                <a:ext cx="94193" cy="112834"/>
              </a:xfrm>
              <a:custGeom>
                <a:avLst/>
                <a:gdLst>
                  <a:gd name="connsiteX0" fmla="*/ 34690 w 94193"/>
                  <a:gd name="connsiteY0" fmla="*/ 0 h 112834"/>
                  <a:gd name="connsiteX1" fmla="*/ 88243 w 94193"/>
                  <a:gd name="connsiteY1" fmla="*/ 53554 h 112834"/>
                  <a:gd name="connsiteX2" fmla="*/ 91219 w 94193"/>
                  <a:gd name="connsiteY2" fmla="*/ 59504 h 112834"/>
                  <a:gd name="connsiteX3" fmla="*/ 94194 w 94193"/>
                  <a:gd name="connsiteY3" fmla="*/ 71405 h 112834"/>
                  <a:gd name="connsiteX4" fmla="*/ 70392 w 94193"/>
                  <a:gd name="connsiteY4" fmla="*/ 110083 h 112834"/>
                  <a:gd name="connsiteX5" fmla="*/ 37665 w 94193"/>
                  <a:gd name="connsiteY5" fmla="*/ 95207 h 112834"/>
                  <a:gd name="connsiteX6" fmla="*/ 10888 w 94193"/>
                  <a:gd name="connsiteY6" fmla="*/ 56529 h 112834"/>
                  <a:gd name="connsiteX7" fmla="*/ 1963 w 94193"/>
                  <a:gd name="connsiteY7" fmla="*/ 20826 h 112834"/>
                  <a:gd name="connsiteX8" fmla="*/ 34690 w 94193"/>
                  <a:gd name="connsiteY8" fmla="*/ 0 h 112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193" h="112834">
                    <a:moveTo>
                      <a:pt x="34690" y="0"/>
                    </a:moveTo>
                    <a:cubicBezTo>
                      <a:pt x="67417" y="0"/>
                      <a:pt x="73367" y="32727"/>
                      <a:pt x="88243" y="53554"/>
                    </a:cubicBezTo>
                    <a:cubicBezTo>
                      <a:pt x="88243" y="56529"/>
                      <a:pt x="91219" y="56529"/>
                      <a:pt x="91219" y="59504"/>
                    </a:cubicBezTo>
                    <a:cubicBezTo>
                      <a:pt x="94194" y="62479"/>
                      <a:pt x="94194" y="68430"/>
                      <a:pt x="94194" y="71405"/>
                    </a:cubicBezTo>
                    <a:cubicBezTo>
                      <a:pt x="94194" y="86281"/>
                      <a:pt x="85268" y="104132"/>
                      <a:pt x="70392" y="110083"/>
                    </a:cubicBezTo>
                    <a:cubicBezTo>
                      <a:pt x="55516" y="119008"/>
                      <a:pt x="46591" y="104132"/>
                      <a:pt x="37665" y="95207"/>
                    </a:cubicBezTo>
                    <a:cubicBezTo>
                      <a:pt x="28739" y="83306"/>
                      <a:pt x="19813" y="71405"/>
                      <a:pt x="10888" y="56529"/>
                    </a:cubicBezTo>
                    <a:cubicBezTo>
                      <a:pt x="4937" y="47603"/>
                      <a:pt x="-3988" y="35702"/>
                      <a:pt x="1963" y="20826"/>
                    </a:cubicBezTo>
                    <a:cubicBezTo>
                      <a:pt x="10888" y="8926"/>
                      <a:pt x="25764" y="0"/>
                      <a:pt x="34690" y="0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D1F7BBB3-B13F-42FD-B9A9-331958A115FA}"/>
                  </a:ext>
                </a:extLst>
              </p:cNvPr>
              <p:cNvSpPr/>
              <p:nvPr/>
            </p:nvSpPr>
            <p:spPr>
              <a:xfrm>
                <a:off x="6319551" y="2747483"/>
                <a:ext cx="85268" cy="99803"/>
              </a:xfrm>
              <a:custGeom>
                <a:avLst/>
                <a:gdLst>
                  <a:gd name="connsiteX0" fmla="*/ 28739 w 85268"/>
                  <a:gd name="connsiteY0" fmla="*/ 0 h 99803"/>
                  <a:gd name="connsiteX1" fmla="*/ 79317 w 85268"/>
                  <a:gd name="connsiteY1" fmla="*/ 47603 h 99803"/>
                  <a:gd name="connsiteX2" fmla="*/ 82293 w 85268"/>
                  <a:gd name="connsiteY2" fmla="*/ 53554 h 99803"/>
                  <a:gd name="connsiteX3" fmla="*/ 85268 w 85268"/>
                  <a:gd name="connsiteY3" fmla="*/ 65455 h 99803"/>
                  <a:gd name="connsiteX4" fmla="*/ 64441 w 85268"/>
                  <a:gd name="connsiteY4" fmla="*/ 98182 h 99803"/>
                  <a:gd name="connsiteX5" fmla="*/ 34689 w 85268"/>
                  <a:gd name="connsiteY5" fmla="*/ 86281 h 99803"/>
                  <a:gd name="connsiteX6" fmla="*/ 10888 w 85268"/>
                  <a:gd name="connsiteY6" fmla="*/ 53554 h 99803"/>
                  <a:gd name="connsiteX7" fmla="*/ 1962 w 85268"/>
                  <a:gd name="connsiteY7" fmla="*/ 23802 h 99803"/>
                  <a:gd name="connsiteX8" fmla="*/ 28739 w 85268"/>
                  <a:gd name="connsiteY8" fmla="*/ 0 h 99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268" h="99803">
                    <a:moveTo>
                      <a:pt x="28739" y="0"/>
                    </a:moveTo>
                    <a:cubicBezTo>
                      <a:pt x="58491" y="0"/>
                      <a:pt x="64441" y="26777"/>
                      <a:pt x="79317" y="47603"/>
                    </a:cubicBezTo>
                    <a:cubicBezTo>
                      <a:pt x="79317" y="50579"/>
                      <a:pt x="82293" y="50579"/>
                      <a:pt x="82293" y="53554"/>
                    </a:cubicBezTo>
                    <a:cubicBezTo>
                      <a:pt x="85268" y="56529"/>
                      <a:pt x="85268" y="59504"/>
                      <a:pt x="85268" y="65455"/>
                    </a:cubicBezTo>
                    <a:cubicBezTo>
                      <a:pt x="85268" y="77355"/>
                      <a:pt x="76343" y="92231"/>
                      <a:pt x="64441" y="98182"/>
                    </a:cubicBezTo>
                    <a:cubicBezTo>
                      <a:pt x="49565" y="104132"/>
                      <a:pt x="43615" y="92231"/>
                      <a:pt x="34689" y="86281"/>
                    </a:cubicBezTo>
                    <a:cubicBezTo>
                      <a:pt x="25764" y="77355"/>
                      <a:pt x="16838" y="65455"/>
                      <a:pt x="10888" y="53554"/>
                    </a:cubicBezTo>
                    <a:cubicBezTo>
                      <a:pt x="4937" y="44628"/>
                      <a:pt x="-3988" y="35703"/>
                      <a:pt x="1962" y="23802"/>
                    </a:cubicBezTo>
                    <a:cubicBezTo>
                      <a:pt x="7913" y="5950"/>
                      <a:pt x="19813" y="0"/>
                      <a:pt x="28739" y="0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43E09EFF-2291-4743-A547-E60476F37068}"/>
                  </a:ext>
                </a:extLst>
              </p:cNvPr>
              <p:cNvSpPr/>
              <p:nvPr/>
            </p:nvSpPr>
            <p:spPr>
              <a:xfrm>
                <a:off x="6299876" y="2786161"/>
                <a:ext cx="60315" cy="70072"/>
              </a:xfrm>
              <a:custGeom>
                <a:avLst/>
                <a:gdLst>
                  <a:gd name="connsiteX0" fmla="*/ 21637 w 60315"/>
                  <a:gd name="connsiteY0" fmla="*/ 0 h 70072"/>
                  <a:gd name="connsiteX1" fmla="*/ 57340 w 60315"/>
                  <a:gd name="connsiteY1" fmla="*/ 32727 h 70072"/>
                  <a:gd name="connsiteX2" fmla="*/ 57340 w 60315"/>
                  <a:gd name="connsiteY2" fmla="*/ 35703 h 70072"/>
                  <a:gd name="connsiteX3" fmla="*/ 60315 w 60315"/>
                  <a:gd name="connsiteY3" fmla="*/ 44628 h 70072"/>
                  <a:gd name="connsiteX4" fmla="*/ 45439 w 60315"/>
                  <a:gd name="connsiteY4" fmla="*/ 68430 h 70072"/>
                  <a:gd name="connsiteX5" fmla="*/ 24612 w 60315"/>
                  <a:gd name="connsiteY5" fmla="*/ 59504 h 70072"/>
                  <a:gd name="connsiteX6" fmla="*/ 6761 w 60315"/>
                  <a:gd name="connsiteY6" fmla="*/ 35703 h 70072"/>
                  <a:gd name="connsiteX7" fmla="*/ 811 w 60315"/>
                  <a:gd name="connsiteY7" fmla="*/ 11901 h 70072"/>
                  <a:gd name="connsiteX8" fmla="*/ 21637 w 60315"/>
                  <a:gd name="connsiteY8" fmla="*/ 0 h 70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315" h="70072">
                    <a:moveTo>
                      <a:pt x="21637" y="0"/>
                    </a:moveTo>
                    <a:cubicBezTo>
                      <a:pt x="42464" y="0"/>
                      <a:pt x="48414" y="20826"/>
                      <a:pt x="57340" y="32727"/>
                    </a:cubicBezTo>
                    <a:cubicBezTo>
                      <a:pt x="57340" y="32727"/>
                      <a:pt x="57340" y="35703"/>
                      <a:pt x="57340" y="35703"/>
                    </a:cubicBezTo>
                    <a:cubicBezTo>
                      <a:pt x="57340" y="38678"/>
                      <a:pt x="60315" y="41653"/>
                      <a:pt x="60315" y="44628"/>
                    </a:cubicBezTo>
                    <a:cubicBezTo>
                      <a:pt x="60315" y="53554"/>
                      <a:pt x="54364" y="65455"/>
                      <a:pt x="45439" y="68430"/>
                    </a:cubicBezTo>
                    <a:cubicBezTo>
                      <a:pt x="36513" y="74380"/>
                      <a:pt x="30563" y="62479"/>
                      <a:pt x="24612" y="59504"/>
                    </a:cubicBezTo>
                    <a:cubicBezTo>
                      <a:pt x="18662" y="53554"/>
                      <a:pt x="12712" y="44628"/>
                      <a:pt x="6761" y="35703"/>
                    </a:cubicBezTo>
                    <a:cubicBezTo>
                      <a:pt x="3786" y="29752"/>
                      <a:pt x="-2164" y="23802"/>
                      <a:pt x="811" y="11901"/>
                    </a:cubicBezTo>
                    <a:cubicBezTo>
                      <a:pt x="6761" y="5950"/>
                      <a:pt x="15687" y="0"/>
                      <a:pt x="21637" y="0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A01BAF07-7586-4D5D-AD35-86161CDDB6D2}"/>
                  </a:ext>
                </a:extLst>
              </p:cNvPr>
              <p:cNvSpPr/>
              <p:nvPr/>
            </p:nvSpPr>
            <p:spPr>
              <a:xfrm>
                <a:off x="6346402" y="2679797"/>
                <a:ext cx="123871" cy="148016"/>
              </a:xfrm>
              <a:custGeom>
                <a:avLst/>
                <a:gdLst>
                  <a:gd name="connsiteX0" fmla="*/ 64368 w 123871"/>
                  <a:gd name="connsiteY0" fmla="*/ 148017 h 148016"/>
                  <a:gd name="connsiteX1" fmla="*/ 28665 w 123871"/>
                  <a:gd name="connsiteY1" fmla="*/ 121240 h 148016"/>
                  <a:gd name="connsiteX2" fmla="*/ 7839 w 123871"/>
                  <a:gd name="connsiteY2" fmla="*/ 34959 h 148016"/>
                  <a:gd name="connsiteX3" fmla="*/ 28665 w 123871"/>
                  <a:gd name="connsiteY3" fmla="*/ 23058 h 148016"/>
                  <a:gd name="connsiteX4" fmla="*/ 37591 w 123871"/>
                  <a:gd name="connsiteY4" fmla="*/ 29008 h 148016"/>
                  <a:gd name="connsiteX5" fmla="*/ 88170 w 123871"/>
                  <a:gd name="connsiteY5" fmla="*/ 91488 h 148016"/>
                  <a:gd name="connsiteX6" fmla="*/ 106021 w 123871"/>
                  <a:gd name="connsiteY6" fmla="*/ 85537 h 148016"/>
                  <a:gd name="connsiteX7" fmla="*/ 111971 w 123871"/>
                  <a:gd name="connsiteY7" fmla="*/ 73636 h 148016"/>
                  <a:gd name="connsiteX8" fmla="*/ 76268 w 123871"/>
                  <a:gd name="connsiteY8" fmla="*/ 11157 h 148016"/>
                  <a:gd name="connsiteX9" fmla="*/ 76268 w 123871"/>
                  <a:gd name="connsiteY9" fmla="*/ 2231 h 148016"/>
                  <a:gd name="connsiteX10" fmla="*/ 85194 w 123871"/>
                  <a:gd name="connsiteY10" fmla="*/ 2231 h 148016"/>
                  <a:gd name="connsiteX11" fmla="*/ 123872 w 123871"/>
                  <a:gd name="connsiteY11" fmla="*/ 73636 h 148016"/>
                  <a:gd name="connsiteX12" fmla="*/ 111971 w 123871"/>
                  <a:gd name="connsiteY12" fmla="*/ 94463 h 148016"/>
                  <a:gd name="connsiteX13" fmla="*/ 100070 w 123871"/>
                  <a:gd name="connsiteY13" fmla="*/ 103388 h 148016"/>
                  <a:gd name="connsiteX14" fmla="*/ 100070 w 123871"/>
                  <a:gd name="connsiteY14" fmla="*/ 103388 h 148016"/>
                  <a:gd name="connsiteX15" fmla="*/ 79244 w 123871"/>
                  <a:gd name="connsiteY15" fmla="*/ 145041 h 148016"/>
                  <a:gd name="connsiteX16" fmla="*/ 64368 w 123871"/>
                  <a:gd name="connsiteY16" fmla="*/ 148017 h 148016"/>
                  <a:gd name="connsiteX17" fmla="*/ 28665 w 123871"/>
                  <a:gd name="connsiteY17" fmla="*/ 31983 h 148016"/>
                  <a:gd name="connsiteX18" fmla="*/ 16764 w 123871"/>
                  <a:gd name="connsiteY18" fmla="*/ 40909 h 148016"/>
                  <a:gd name="connsiteX19" fmla="*/ 37591 w 123871"/>
                  <a:gd name="connsiteY19" fmla="*/ 112314 h 148016"/>
                  <a:gd name="connsiteX20" fmla="*/ 73294 w 123871"/>
                  <a:gd name="connsiteY20" fmla="*/ 133141 h 148016"/>
                  <a:gd name="connsiteX21" fmla="*/ 88170 w 123871"/>
                  <a:gd name="connsiteY21" fmla="*/ 103388 h 148016"/>
                  <a:gd name="connsiteX22" fmla="*/ 85194 w 123871"/>
                  <a:gd name="connsiteY22" fmla="*/ 103388 h 148016"/>
                  <a:gd name="connsiteX23" fmla="*/ 28665 w 123871"/>
                  <a:gd name="connsiteY23" fmla="*/ 31983 h 148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3871" h="148016">
                    <a:moveTo>
                      <a:pt x="64368" y="148017"/>
                    </a:moveTo>
                    <a:cubicBezTo>
                      <a:pt x="49492" y="148017"/>
                      <a:pt x="37591" y="133141"/>
                      <a:pt x="28665" y="121240"/>
                    </a:cubicBezTo>
                    <a:cubicBezTo>
                      <a:pt x="-1087" y="85537"/>
                      <a:pt x="-7037" y="55785"/>
                      <a:pt x="7839" y="34959"/>
                    </a:cubicBezTo>
                    <a:cubicBezTo>
                      <a:pt x="16764" y="26033"/>
                      <a:pt x="22715" y="23058"/>
                      <a:pt x="28665" y="23058"/>
                    </a:cubicBezTo>
                    <a:cubicBezTo>
                      <a:pt x="34616" y="23058"/>
                      <a:pt x="37591" y="26033"/>
                      <a:pt x="37591" y="29008"/>
                    </a:cubicBezTo>
                    <a:cubicBezTo>
                      <a:pt x="58417" y="67686"/>
                      <a:pt x="76268" y="88512"/>
                      <a:pt x="88170" y="91488"/>
                    </a:cubicBezTo>
                    <a:cubicBezTo>
                      <a:pt x="94120" y="91488"/>
                      <a:pt x="100070" y="88512"/>
                      <a:pt x="106021" y="85537"/>
                    </a:cubicBezTo>
                    <a:cubicBezTo>
                      <a:pt x="108996" y="82562"/>
                      <a:pt x="111971" y="76612"/>
                      <a:pt x="111971" y="73636"/>
                    </a:cubicBezTo>
                    <a:cubicBezTo>
                      <a:pt x="111971" y="52810"/>
                      <a:pt x="88170" y="23058"/>
                      <a:pt x="76268" y="11157"/>
                    </a:cubicBezTo>
                    <a:cubicBezTo>
                      <a:pt x="73294" y="8182"/>
                      <a:pt x="73294" y="5207"/>
                      <a:pt x="76268" y="2231"/>
                    </a:cubicBezTo>
                    <a:cubicBezTo>
                      <a:pt x="79244" y="-744"/>
                      <a:pt x="82219" y="-744"/>
                      <a:pt x="85194" y="2231"/>
                    </a:cubicBezTo>
                    <a:cubicBezTo>
                      <a:pt x="88170" y="5207"/>
                      <a:pt x="123872" y="43884"/>
                      <a:pt x="123872" y="73636"/>
                    </a:cubicBezTo>
                    <a:cubicBezTo>
                      <a:pt x="123872" y="82562"/>
                      <a:pt x="120897" y="88512"/>
                      <a:pt x="111971" y="94463"/>
                    </a:cubicBezTo>
                    <a:cubicBezTo>
                      <a:pt x="108996" y="97438"/>
                      <a:pt x="106021" y="100413"/>
                      <a:pt x="100070" y="103388"/>
                    </a:cubicBezTo>
                    <a:cubicBezTo>
                      <a:pt x="100070" y="103388"/>
                      <a:pt x="100070" y="103388"/>
                      <a:pt x="100070" y="103388"/>
                    </a:cubicBezTo>
                    <a:cubicBezTo>
                      <a:pt x="100070" y="103388"/>
                      <a:pt x="94120" y="133141"/>
                      <a:pt x="79244" y="145041"/>
                    </a:cubicBezTo>
                    <a:cubicBezTo>
                      <a:pt x="76268" y="145041"/>
                      <a:pt x="70318" y="148017"/>
                      <a:pt x="64368" y="148017"/>
                    </a:cubicBezTo>
                    <a:close/>
                    <a:moveTo>
                      <a:pt x="28665" y="31983"/>
                    </a:moveTo>
                    <a:cubicBezTo>
                      <a:pt x="28665" y="31983"/>
                      <a:pt x="25690" y="31983"/>
                      <a:pt x="16764" y="40909"/>
                    </a:cubicBezTo>
                    <a:cubicBezTo>
                      <a:pt x="-1087" y="61736"/>
                      <a:pt x="22715" y="94463"/>
                      <a:pt x="37591" y="112314"/>
                    </a:cubicBezTo>
                    <a:cubicBezTo>
                      <a:pt x="58417" y="136116"/>
                      <a:pt x="64368" y="139091"/>
                      <a:pt x="73294" y="133141"/>
                    </a:cubicBezTo>
                    <a:cubicBezTo>
                      <a:pt x="82219" y="124215"/>
                      <a:pt x="88170" y="109339"/>
                      <a:pt x="88170" y="103388"/>
                    </a:cubicBezTo>
                    <a:cubicBezTo>
                      <a:pt x="88170" y="103388"/>
                      <a:pt x="85194" y="103388"/>
                      <a:pt x="85194" y="103388"/>
                    </a:cubicBezTo>
                    <a:cubicBezTo>
                      <a:pt x="67343" y="97438"/>
                      <a:pt x="49492" y="76612"/>
                      <a:pt x="28665" y="31983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7FE89692-99C3-476C-9C57-B21898C463AF}"/>
                  </a:ext>
                </a:extLst>
              </p:cNvPr>
              <p:cNvSpPr/>
              <p:nvPr/>
            </p:nvSpPr>
            <p:spPr>
              <a:xfrm>
                <a:off x="6312588" y="2741533"/>
                <a:ext cx="98181" cy="107107"/>
              </a:xfrm>
              <a:custGeom>
                <a:avLst/>
                <a:gdLst>
                  <a:gd name="connsiteX0" fmla="*/ 62480 w 98181"/>
                  <a:gd name="connsiteY0" fmla="*/ 107107 h 107107"/>
                  <a:gd name="connsiteX1" fmla="*/ 44628 w 98181"/>
                  <a:gd name="connsiteY1" fmla="*/ 101157 h 107107"/>
                  <a:gd name="connsiteX2" fmla="*/ 0 w 98181"/>
                  <a:gd name="connsiteY2" fmla="*/ 32727 h 107107"/>
                  <a:gd name="connsiteX3" fmla="*/ 8926 w 98181"/>
                  <a:gd name="connsiteY3" fmla="*/ 14876 h 107107"/>
                  <a:gd name="connsiteX4" fmla="*/ 35702 w 98181"/>
                  <a:gd name="connsiteY4" fmla="*/ 0 h 107107"/>
                  <a:gd name="connsiteX5" fmla="*/ 41653 w 98181"/>
                  <a:gd name="connsiteY5" fmla="*/ 5950 h 107107"/>
                  <a:gd name="connsiteX6" fmla="*/ 35702 w 98181"/>
                  <a:gd name="connsiteY6" fmla="*/ 11901 h 107107"/>
                  <a:gd name="connsiteX7" fmla="*/ 35702 w 98181"/>
                  <a:gd name="connsiteY7" fmla="*/ 11901 h 107107"/>
                  <a:gd name="connsiteX8" fmla="*/ 17851 w 98181"/>
                  <a:gd name="connsiteY8" fmla="*/ 23802 h 107107"/>
                  <a:gd name="connsiteX9" fmla="*/ 11901 w 98181"/>
                  <a:gd name="connsiteY9" fmla="*/ 32727 h 107107"/>
                  <a:gd name="connsiteX10" fmla="*/ 53554 w 98181"/>
                  <a:gd name="connsiteY10" fmla="*/ 92231 h 107107"/>
                  <a:gd name="connsiteX11" fmla="*/ 65454 w 98181"/>
                  <a:gd name="connsiteY11" fmla="*/ 95207 h 107107"/>
                  <a:gd name="connsiteX12" fmla="*/ 86281 w 98181"/>
                  <a:gd name="connsiteY12" fmla="*/ 74380 h 107107"/>
                  <a:gd name="connsiteX13" fmla="*/ 95207 w 98181"/>
                  <a:gd name="connsiteY13" fmla="*/ 71405 h 107107"/>
                  <a:gd name="connsiteX14" fmla="*/ 98182 w 98181"/>
                  <a:gd name="connsiteY14" fmla="*/ 80331 h 107107"/>
                  <a:gd name="connsiteX15" fmla="*/ 71405 w 98181"/>
                  <a:gd name="connsiteY15" fmla="*/ 107107 h 107107"/>
                  <a:gd name="connsiteX16" fmla="*/ 62480 w 98181"/>
                  <a:gd name="connsiteY16" fmla="*/ 107107 h 107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8181" h="107107">
                    <a:moveTo>
                      <a:pt x="62480" y="107107"/>
                    </a:moveTo>
                    <a:cubicBezTo>
                      <a:pt x="56529" y="107107"/>
                      <a:pt x="50578" y="104132"/>
                      <a:pt x="44628" y="101157"/>
                    </a:cubicBezTo>
                    <a:cubicBezTo>
                      <a:pt x="20826" y="83306"/>
                      <a:pt x="2975" y="47603"/>
                      <a:pt x="0" y="32727"/>
                    </a:cubicBezTo>
                    <a:cubicBezTo>
                      <a:pt x="0" y="26777"/>
                      <a:pt x="2975" y="20826"/>
                      <a:pt x="8926" y="14876"/>
                    </a:cubicBezTo>
                    <a:cubicBezTo>
                      <a:pt x="14876" y="8926"/>
                      <a:pt x="26777" y="0"/>
                      <a:pt x="35702" y="0"/>
                    </a:cubicBezTo>
                    <a:cubicBezTo>
                      <a:pt x="38678" y="0"/>
                      <a:pt x="41653" y="2975"/>
                      <a:pt x="41653" y="5950"/>
                    </a:cubicBezTo>
                    <a:cubicBezTo>
                      <a:pt x="41653" y="8926"/>
                      <a:pt x="38678" y="11901"/>
                      <a:pt x="35702" y="11901"/>
                    </a:cubicBezTo>
                    <a:lnTo>
                      <a:pt x="35702" y="11901"/>
                    </a:lnTo>
                    <a:cubicBezTo>
                      <a:pt x="32727" y="11901"/>
                      <a:pt x="23802" y="14876"/>
                      <a:pt x="17851" y="23802"/>
                    </a:cubicBezTo>
                    <a:cubicBezTo>
                      <a:pt x="14876" y="26777"/>
                      <a:pt x="11901" y="29752"/>
                      <a:pt x="11901" y="32727"/>
                    </a:cubicBezTo>
                    <a:cubicBezTo>
                      <a:pt x="14876" y="44628"/>
                      <a:pt x="29752" y="74380"/>
                      <a:pt x="53554" y="92231"/>
                    </a:cubicBezTo>
                    <a:cubicBezTo>
                      <a:pt x="59504" y="95207"/>
                      <a:pt x="62480" y="98182"/>
                      <a:pt x="65454" y="95207"/>
                    </a:cubicBezTo>
                    <a:cubicBezTo>
                      <a:pt x="74380" y="92231"/>
                      <a:pt x="83306" y="80331"/>
                      <a:pt x="86281" y="74380"/>
                    </a:cubicBezTo>
                    <a:cubicBezTo>
                      <a:pt x="86281" y="71405"/>
                      <a:pt x="92232" y="71405"/>
                      <a:pt x="95207" y="71405"/>
                    </a:cubicBezTo>
                    <a:cubicBezTo>
                      <a:pt x="98182" y="71405"/>
                      <a:pt x="98182" y="77355"/>
                      <a:pt x="98182" y="80331"/>
                    </a:cubicBezTo>
                    <a:cubicBezTo>
                      <a:pt x="98182" y="80331"/>
                      <a:pt x="86281" y="101157"/>
                      <a:pt x="71405" y="107107"/>
                    </a:cubicBezTo>
                    <a:cubicBezTo>
                      <a:pt x="68430" y="107107"/>
                      <a:pt x="65454" y="107107"/>
                      <a:pt x="62480" y="10710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A6C8F55B-AF6B-442C-824E-E9E543324C56}"/>
                </a:ext>
              </a:extLst>
            </p:cNvPr>
            <p:cNvSpPr/>
            <p:nvPr/>
          </p:nvSpPr>
          <p:spPr>
            <a:xfrm>
              <a:off x="6455168" y="2828874"/>
              <a:ext cx="1310751" cy="554271"/>
            </a:xfrm>
            <a:custGeom>
              <a:avLst/>
              <a:gdLst>
                <a:gd name="connsiteX0" fmla="*/ 904692 w 1310751"/>
                <a:gd name="connsiteY0" fmla="*/ 225056 h 554271"/>
                <a:gd name="connsiteX1" fmla="*/ 526841 w 1310751"/>
                <a:gd name="connsiteY1" fmla="*/ 281585 h 554271"/>
                <a:gd name="connsiteX2" fmla="*/ 110312 w 1310751"/>
                <a:gd name="connsiteY2" fmla="*/ 4891 h 554271"/>
                <a:gd name="connsiteX3" fmla="*/ 6180 w 1310751"/>
                <a:gd name="connsiteY3" fmla="*/ 132825 h 554271"/>
                <a:gd name="connsiteX4" fmla="*/ 464361 w 1310751"/>
                <a:gd name="connsiteY4" fmla="*/ 549354 h 554271"/>
                <a:gd name="connsiteX5" fmla="*/ 1136758 w 1310751"/>
                <a:gd name="connsiteY5" fmla="*/ 495800 h 554271"/>
                <a:gd name="connsiteX6" fmla="*/ 1309320 w 1310751"/>
                <a:gd name="connsiteY6" fmla="*/ 263734 h 554271"/>
                <a:gd name="connsiteX7" fmla="*/ 904692 w 1310751"/>
                <a:gd name="connsiteY7" fmla="*/ 225056 h 554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10751" h="554271">
                  <a:moveTo>
                    <a:pt x="904692" y="225056"/>
                  </a:moveTo>
                  <a:cubicBezTo>
                    <a:pt x="818411" y="239932"/>
                    <a:pt x="616097" y="287535"/>
                    <a:pt x="526841" y="281585"/>
                  </a:cubicBezTo>
                  <a:cubicBezTo>
                    <a:pt x="398907" y="272659"/>
                    <a:pt x="199568" y="-42713"/>
                    <a:pt x="110312" y="4891"/>
                  </a:cubicBezTo>
                  <a:cubicBezTo>
                    <a:pt x="53783" y="55469"/>
                    <a:pt x="35932" y="82246"/>
                    <a:pt x="6180" y="132825"/>
                  </a:cubicBezTo>
                  <a:cubicBezTo>
                    <a:pt x="-47374" y="210180"/>
                    <a:pt x="259072" y="483899"/>
                    <a:pt x="464361" y="549354"/>
                  </a:cubicBezTo>
                  <a:cubicBezTo>
                    <a:pt x="526841" y="570180"/>
                    <a:pt x="993948" y="519601"/>
                    <a:pt x="1136758" y="495800"/>
                  </a:cubicBezTo>
                  <a:cubicBezTo>
                    <a:pt x="1220064" y="483899"/>
                    <a:pt x="1324197" y="326213"/>
                    <a:pt x="1309320" y="263734"/>
                  </a:cubicBezTo>
                  <a:cubicBezTo>
                    <a:pt x="1285519" y="165552"/>
                    <a:pt x="1071304" y="192329"/>
                    <a:pt x="904692" y="225056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C0C980A7-C56E-4F22-9C37-479A54A2AD23}"/>
                </a:ext>
              </a:extLst>
            </p:cNvPr>
            <p:cNvSpPr/>
            <p:nvPr/>
          </p:nvSpPr>
          <p:spPr>
            <a:xfrm>
              <a:off x="7450928" y="3937566"/>
              <a:ext cx="1342981" cy="2442644"/>
            </a:xfrm>
            <a:custGeom>
              <a:avLst/>
              <a:gdLst>
                <a:gd name="connsiteX0" fmla="*/ 768767 w 1342981"/>
                <a:gd name="connsiteY0" fmla="*/ 0 h 2442644"/>
                <a:gd name="connsiteX1" fmla="*/ 117197 w 1342981"/>
                <a:gd name="connsiteY1" fmla="*/ 0 h 2442644"/>
                <a:gd name="connsiteX2" fmla="*/ 1164 w 1342981"/>
                <a:gd name="connsiteY2" fmla="*/ 449256 h 2442644"/>
                <a:gd name="connsiteX3" fmla="*/ 176701 w 1342981"/>
                <a:gd name="connsiteY3" fmla="*/ 2424794 h 2442644"/>
                <a:gd name="connsiteX4" fmla="*/ 370089 w 1342981"/>
                <a:gd name="connsiteY4" fmla="*/ 2442645 h 2442644"/>
                <a:gd name="connsiteX5" fmla="*/ 450420 w 1342981"/>
                <a:gd name="connsiteY5" fmla="*/ 791405 h 2442644"/>
                <a:gd name="connsiteX6" fmla="*/ 530751 w 1342981"/>
                <a:gd name="connsiteY6" fmla="*/ 1657190 h 2442644"/>
                <a:gd name="connsiteX7" fmla="*/ 581329 w 1342981"/>
                <a:gd name="connsiteY7" fmla="*/ 1746446 h 2442644"/>
                <a:gd name="connsiteX8" fmla="*/ 1241825 w 1342981"/>
                <a:gd name="connsiteY8" fmla="*/ 2219504 h 2442644"/>
                <a:gd name="connsiteX9" fmla="*/ 1342982 w 1342981"/>
                <a:gd name="connsiteY9" fmla="*/ 2035042 h 2442644"/>
                <a:gd name="connsiteX10" fmla="*/ 860999 w 1342981"/>
                <a:gd name="connsiteY10" fmla="*/ 1615537 h 2442644"/>
                <a:gd name="connsiteX11" fmla="*/ 896701 w 1342981"/>
                <a:gd name="connsiteY11" fmla="*/ 404628 h 2442644"/>
                <a:gd name="connsiteX12" fmla="*/ 768767 w 1342981"/>
                <a:gd name="connsiteY12" fmla="*/ 0 h 2442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2981" h="2442644">
                  <a:moveTo>
                    <a:pt x="768767" y="0"/>
                  </a:moveTo>
                  <a:lnTo>
                    <a:pt x="117197" y="0"/>
                  </a:lnTo>
                  <a:cubicBezTo>
                    <a:pt x="117197" y="0"/>
                    <a:pt x="21990" y="297521"/>
                    <a:pt x="1164" y="449256"/>
                  </a:cubicBezTo>
                  <a:cubicBezTo>
                    <a:pt x="-16687" y="598017"/>
                    <a:pt x="176701" y="2424794"/>
                    <a:pt x="176701" y="2424794"/>
                  </a:cubicBezTo>
                  <a:lnTo>
                    <a:pt x="370089" y="2442645"/>
                  </a:lnTo>
                  <a:lnTo>
                    <a:pt x="450420" y="791405"/>
                  </a:lnTo>
                  <a:cubicBezTo>
                    <a:pt x="450420" y="791405"/>
                    <a:pt x="509924" y="1457851"/>
                    <a:pt x="530751" y="1657190"/>
                  </a:cubicBezTo>
                  <a:cubicBezTo>
                    <a:pt x="533726" y="1692893"/>
                    <a:pt x="554552" y="1725620"/>
                    <a:pt x="581329" y="1746446"/>
                  </a:cubicBezTo>
                  <a:lnTo>
                    <a:pt x="1241825" y="2219504"/>
                  </a:lnTo>
                  <a:lnTo>
                    <a:pt x="1342982" y="2035042"/>
                  </a:lnTo>
                  <a:lnTo>
                    <a:pt x="860999" y="1615537"/>
                  </a:lnTo>
                  <a:cubicBezTo>
                    <a:pt x="860999" y="1615537"/>
                    <a:pt x="890751" y="467108"/>
                    <a:pt x="896701" y="404628"/>
                  </a:cubicBezTo>
                  <a:cubicBezTo>
                    <a:pt x="908602" y="288595"/>
                    <a:pt x="768767" y="0"/>
                    <a:pt x="768767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CFA71FAC-3F7B-419F-A72C-BAC7B09A8A5B}"/>
                </a:ext>
              </a:extLst>
            </p:cNvPr>
            <p:cNvSpPr/>
            <p:nvPr/>
          </p:nvSpPr>
          <p:spPr>
            <a:xfrm>
              <a:off x="7853745" y="4318392"/>
              <a:ext cx="847190" cy="1847603"/>
            </a:xfrm>
            <a:custGeom>
              <a:avLst/>
              <a:gdLst>
                <a:gd name="connsiteX0" fmla="*/ 839008 w 847190"/>
                <a:gd name="connsiteY0" fmla="*/ 1847604 h 1847603"/>
                <a:gd name="connsiteX1" fmla="*/ 836033 w 847190"/>
                <a:gd name="connsiteY1" fmla="*/ 1847604 h 1847603"/>
                <a:gd name="connsiteX2" fmla="*/ 175537 w 847190"/>
                <a:gd name="connsiteY2" fmla="*/ 1374545 h 1847603"/>
                <a:gd name="connsiteX3" fmla="*/ 121983 w 847190"/>
                <a:gd name="connsiteY3" fmla="*/ 1282314 h 1847603"/>
                <a:gd name="connsiteX4" fmla="*/ 41653 w 847190"/>
                <a:gd name="connsiteY4" fmla="*/ 413554 h 1847603"/>
                <a:gd name="connsiteX5" fmla="*/ 0 w 847190"/>
                <a:gd name="connsiteY5" fmla="*/ 5950 h 1847603"/>
                <a:gd name="connsiteX6" fmla="*/ 5950 w 847190"/>
                <a:gd name="connsiteY6" fmla="*/ 0 h 1847603"/>
                <a:gd name="connsiteX7" fmla="*/ 11901 w 847190"/>
                <a:gd name="connsiteY7" fmla="*/ 5950 h 1847603"/>
                <a:gd name="connsiteX8" fmla="*/ 53554 w 847190"/>
                <a:gd name="connsiteY8" fmla="*/ 413554 h 1847603"/>
                <a:gd name="connsiteX9" fmla="*/ 133884 w 847190"/>
                <a:gd name="connsiteY9" fmla="*/ 1279339 h 1847603"/>
                <a:gd name="connsiteX10" fmla="*/ 184463 w 847190"/>
                <a:gd name="connsiteY10" fmla="*/ 1362645 h 1847603"/>
                <a:gd name="connsiteX11" fmla="*/ 844959 w 847190"/>
                <a:gd name="connsiteY11" fmla="*/ 1835702 h 1847603"/>
                <a:gd name="connsiteX12" fmla="*/ 844959 w 847190"/>
                <a:gd name="connsiteY12" fmla="*/ 1844628 h 1847603"/>
                <a:gd name="connsiteX13" fmla="*/ 839008 w 847190"/>
                <a:gd name="connsiteY13" fmla="*/ 1847604 h 1847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47190" h="1847603">
                  <a:moveTo>
                    <a:pt x="839008" y="1847604"/>
                  </a:moveTo>
                  <a:cubicBezTo>
                    <a:pt x="839008" y="1847604"/>
                    <a:pt x="836033" y="1847604"/>
                    <a:pt x="836033" y="1847604"/>
                  </a:cubicBezTo>
                  <a:lnTo>
                    <a:pt x="175537" y="1374545"/>
                  </a:lnTo>
                  <a:cubicBezTo>
                    <a:pt x="145785" y="1353719"/>
                    <a:pt x="124959" y="1318017"/>
                    <a:pt x="121983" y="1282314"/>
                  </a:cubicBezTo>
                  <a:cubicBezTo>
                    <a:pt x="101157" y="1082975"/>
                    <a:pt x="41653" y="422479"/>
                    <a:pt x="41653" y="413554"/>
                  </a:cubicBezTo>
                  <a:lnTo>
                    <a:pt x="0" y="5950"/>
                  </a:lnTo>
                  <a:cubicBezTo>
                    <a:pt x="0" y="2975"/>
                    <a:pt x="2975" y="0"/>
                    <a:pt x="5950" y="0"/>
                  </a:cubicBezTo>
                  <a:cubicBezTo>
                    <a:pt x="8926" y="0"/>
                    <a:pt x="11901" y="2975"/>
                    <a:pt x="11901" y="5950"/>
                  </a:cubicBezTo>
                  <a:lnTo>
                    <a:pt x="53554" y="413554"/>
                  </a:lnTo>
                  <a:cubicBezTo>
                    <a:pt x="53554" y="419504"/>
                    <a:pt x="113058" y="1082975"/>
                    <a:pt x="133884" y="1279339"/>
                  </a:cubicBezTo>
                  <a:cubicBezTo>
                    <a:pt x="136859" y="1312066"/>
                    <a:pt x="154711" y="1344793"/>
                    <a:pt x="184463" y="1362645"/>
                  </a:cubicBezTo>
                  <a:lnTo>
                    <a:pt x="844959" y="1835702"/>
                  </a:lnTo>
                  <a:cubicBezTo>
                    <a:pt x="847934" y="1838678"/>
                    <a:pt x="847934" y="1841653"/>
                    <a:pt x="844959" y="1844628"/>
                  </a:cubicBezTo>
                  <a:cubicBezTo>
                    <a:pt x="844959" y="1847604"/>
                    <a:pt x="841984" y="1847604"/>
                    <a:pt x="839008" y="1847604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4EEB76E5-04A1-47FC-BEE6-CD2437DFFB39}"/>
                </a:ext>
              </a:extLst>
            </p:cNvPr>
            <p:cNvSpPr/>
            <p:nvPr/>
          </p:nvSpPr>
          <p:spPr>
            <a:xfrm>
              <a:off x="7740687" y="2830789"/>
              <a:ext cx="300496" cy="318347"/>
            </a:xfrm>
            <a:custGeom>
              <a:avLst/>
              <a:gdLst>
                <a:gd name="connsiteX0" fmla="*/ 53554 w 300496"/>
                <a:gd name="connsiteY0" fmla="*/ 59504 h 318347"/>
                <a:gd name="connsiteX1" fmla="*/ 0 w 300496"/>
                <a:gd name="connsiteY1" fmla="*/ 196364 h 318347"/>
                <a:gd name="connsiteX2" fmla="*/ 38678 w 300496"/>
                <a:gd name="connsiteY2" fmla="*/ 318347 h 318347"/>
                <a:gd name="connsiteX3" fmla="*/ 300496 w 300496"/>
                <a:gd name="connsiteY3" fmla="*/ 181488 h 318347"/>
                <a:gd name="connsiteX4" fmla="*/ 249917 w 300496"/>
                <a:gd name="connsiteY4" fmla="*/ 0 h 318347"/>
                <a:gd name="connsiteX5" fmla="*/ 53554 w 300496"/>
                <a:gd name="connsiteY5" fmla="*/ 59504 h 318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0496" h="318347">
                  <a:moveTo>
                    <a:pt x="53554" y="59504"/>
                  </a:moveTo>
                  <a:cubicBezTo>
                    <a:pt x="53554" y="59504"/>
                    <a:pt x="59504" y="166612"/>
                    <a:pt x="0" y="196364"/>
                  </a:cubicBezTo>
                  <a:lnTo>
                    <a:pt x="38678" y="318347"/>
                  </a:lnTo>
                  <a:cubicBezTo>
                    <a:pt x="38678" y="318347"/>
                    <a:pt x="249917" y="211240"/>
                    <a:pt x="300496" y="181488"/>
                  </a:cubicBezTo>
                  <a:cubicBezTo>
                    <a:pt x="246942" y="139835"/>
                    <a:pt x="249917" y="59504"/>
                    <a:pt x="249917" y="0"/>
                  </a:cubicBezTo>
                  <a:cubicBezTo>
                    <a:pt x="252893" y="0"/>
                    <a:pt x="107108" y="65455"/>
                    <a:pt x="53554" y="59504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69D0372E-E6A5-488D-9775-45579F69A0B3}"/>
                </a:ext>
              </a:extLst>
            </p:cNvPr>
            <p:cNvSpPr/>
            <p:nvPr/>
          </p:nvSpPr>
          <p:spPr>
            <a:xfrm>
              <a:off x="7466161" y="3104508"/>
              <a:ext cx="98988" cy="541487"/>
            </a:xfrm>
            <a:custGeom>
              <a:avLst/>
              <a:gdLst>
                <a:gd name="connsiteX0" fmla="*/ 54361 w 98988"/>
                <a:gd name="connsiteY0" fmla="*/ 541488 h 541487"/>
                <a:gd name="connsiteX1" fmla="*/ 48410 w 98988"/>
                <a:gd name="connsiteY1" fmla="*/ 538512 h 541487"/>
                <a:gd name="connsiteX2" fmla="*/ 33534 w 98988"/>
                <a:gd name="connsiteY2" fmla="*/ 484959 h 541487"/>
                <a:gd name="connsiteX3" fmla="*/ 807 w 98988"/>
                <a:gd name="connsiteY3" fmla="*/ 339174 h 541487"/>
                <a:gd name="connsiteX4" fmla="*/ 87088 w 98988"/>
                <a:gd name="connsiteY4" fmla="*/ 2975 h 541487"/>
                <a:gd name="connsiteX5" fmla="*/ 96014 w 98988"/>
                <a:gd name="connsiteY5" fmla="*/ 0 h 541487"/>
                <a:gd name="connsiteX6" fmla="*/ 98989 w 98988"/>
                <a:gd name="connsiteY6" fmla="*/ 8926 h 541487"/>
                <a:gd name="connsiteX7" fmla="*/ 12708 w 98988"/>
                <a:gd name="connsiteY7" fmla="*/ 339174 h 541487"/>
                <a:gd name="connsiteX8" fmla="*/ 45435 w 98988"/>
                <a:gd name="connsiteY8" fmla="*/ 484959 h 541487"/>
                <a:gd name="connsiteX9" fmla="*/ 60311 w 98988"/>
                <a:gd name="connsiteY9" fmla="*/ 538512 h 541487"/>
                <a:gd name="connsiteX10" fmla="*/ 54361 w 98988"/>
                <a:gd name="connsiteY10" fmla="*/ 541488 h 541487"/>
                <a:gd name="connsiteX11" fmla="*/ 54361 w 98988"/>
                <a:gd name="connsiteY11" fmla="*/ 541488 h 54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8988" h="541487">
                  <a:moveTo>
                    <a:pt x="54361" y="541488"/>
                  </a:moveTo>
                  <a:cubicBezTo>
                    <a:pt x="51385" y="541488"/>
                    <a:pt x="48410" y="538512"/>
                    <a:pt x="48410" y="538512"/>
                  </a:cubicBezTo>
                  <a:cubicBezTo>
                    <a:pt x="42460" y="520661"/>
                    <a:pt x="39485" y="502810"/>
                    <a:pt x="33534" y="484959"/>
                  </a:cubicBezTo>
                  <a:cubicBezTo>
                    <a:pt x="18658" y="434380"/>
                    <a:pt x="3782" y="383802"/>
                    <a:pt x="807" y="339174"/>
                  </a:cubicBezTo>
                  <a:cubicBezTo>
                    <a:pt x="-5143" y="217190"/>
                    <a:pt x="21633" y="104132"/>
                    <a:pt x="87088" y="2975"/>
                  </a:cubicBezTo>
                  <a:cubicBezTo>
                    <a:pt x="90063" y="0"/>
                    <a:pt x="93038" y="0"/>
                    <a:pt x="96014" y="0"/>
                  </a:cubicBezTo>
                  <a:cubicBezTo>
                    <a:pt x="98989" y="2975"/>
                    <a:pt x="98989" y="5950"/>
                    <a:pt x="98989" y="8926"/>
                  </a:cubicBezTo>
                  <a:cubicBezTo>
                    <a:pt x="36509" y="110083"/>
                    <a:pt x="6757" y="220165"/>
                    <a:pt x="12708" y="339174"/>
                  </a:cubicBezTo>
                  <a:cubicBezTo>
                    <a:pt x="15683" y="383802"/>
                    <a:pt x="30559" y="434380"/>
                    <a:pt x="45435" y="484959"/>
                  </a:cubicBezTo>
                  <a:cubicBezTo>
                    <a:pt x="51385" y="502810"/>
                    <a:pt x="57336" y="520661"/>
                    <a:pt x="60311" y="538512"/>
                  </a:cubicBezTo>
                  <a:cubicBezTo>
                    <a:pt x="60311" y="535537"/>
                    <a:pt x="57336" y="538512"/>
                    <a:pt x="54361" y="541488"/>
                  </a:cubicBezTo>
                  <a:cubicBezTo>
                    <a:pt x="54361" y="541488"/>
                    <a:pt x="54361" y="541488"/>
                    <a:pt x="54361" y="541488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DE516C56-97DD-46B1-A6D5-4D2743B9C48C}"/>
                </a:ext>
              </a:extLst>
            </p:cNvPr>
            <p:cNvSpPr/>
            <p:nvPr/>
          </p:nvSpPr>
          <p:spPr>
            <a:xfrm>
              <a:off x="7383649" y="3000376"/>
              <a:ext cx="1106790" cy="1484002"/>
            </a:xfrm>
            <a:custGeom>
              <a:avLst/>
              <a:gdLst>
                <a:gd name="connsiteX0" fmla="*/ 901501 w 1106790"/>
                <a:gd name="connsiteY0" fmla="*/ 839008 h 1484002"/>
                <a:gd name="connsiteX1" fmla="*/ 901501 w 1106790"/>
                <a:gd name="connsiteY1" fmla="*/ 380826 h 1484002"/>
                <a:gd name="connsiteX2" fmla="*/ 901501 w 1106790"/>
                <a:gd name="connsiteY2" fmla="*/ 116033 h 1484002"/>
                <a:gd name="connsiteX3" fmla="*/ 645633 w 1106790"/>
                <a:gd name="connsiteY3" fmla="*/ 0 h 1484002"/>
                <a:gd name="connsiteX4" fmla="*/ 377864 w 1106790"/>
                <a:gd name="connsiteY4" fmla="*/ 5950 h 1484002"/>
                <a:gd name="connsiteX5" fmla="*/ 53567 w 1106790"/>
                <a:gd name="connsiteY5" fmla="*/ 484959 h 1484002"/>
                <a:gd name="connsiteX6" fmla="*/ 83319 w 1106790"/>
                <a:gd name="connsiteY6" fmla="*/ 711074 h 1484002"/>
                <a:gd name="connsiteX7" fmla="*/ 80344 w 1106790"/>
                <a:gd name="connsiteY7" fmla="*/ 937190 h 1484002"/>
                <a:gd name="connsiteX8" fmla="*/ 13 w 1106790"/>
                <a:gd name="connsiteY8" fmla="*/ 1416198 h 1484002"/>
                <a:gd name="connsiteX9" fmla="*/ 1106790 w 1106790"/>
                <a:gd name="connsiteY9" fmla="*/ 1347769 h 1484002"/>
                <a:gd name="connsiteX10" fmla="*/ 901501 w 1106790"/>
                <a:gd name="connsiteY10" fmla="*/ 839008 h 1484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06790" h="1484002">
                  <a:moveTo>
                    <a:pt x="901501" y="839008"/>
                  </a:moveTo>
                  <a:cubicBezTo>
                    <a:pt x="871749" y="687273"/>
                    <a:pt x="862823" y="532562"/>
                    <a:pt x="901501" y="380826"/>
                  </a:cubicBezTo>
                  <a:cubicBezTo>
                    <a:pt x="925303" y="291570"/>
                    <a:pt x="961005" y="199339"/>
                    <a:pt x="901501" y="116033"/>
                  </a:cubicBezTo>
                  <a:cubicBezTo>
                    <a:pt x="850923" y="47603"/>
                    <a:pt x="722989" y="11901"/>
                    <a:pt x="645633" y="0"/>
                  </a:cubicBezTo>
                  <a:cubicBezTo>
                    <a:pt x="645633" y="0"/>
                    <a:pt x="374890" y="11901"/>
                    <a:pt x="377864" y="5950"/>
                  </a:cubicBezTo>
                  <a:cubicBezTo>
                    <a:pt x="127947" y="11901"/>
                    <a:pt x="29765" y="279669"/>
                    <a:pt x="53567" y="484959"/>
                  </a:cubicBezTo>
                  <a:cubicBezTo>
                    <a:pt x="62493" y="562314"/>
                    <a:pt x="80344" y="633719"/>
                    <a:pt x="83319" y="711074"/>
                  </a:cubicBezTo>
                  <a:cubicBezTo>
                    <a:pt x="86294" y="785455"/>
                    <a:pt x="83319" y="862810"/>
                    <a:pt x="80344" y="937190"/>
                  </a:cubicBezTo>
                  <a:cubicBezTo>
                    <a:pt x="74393" y="1097851"/>
                    <a:pt x="17865" y="1258512"/>
                    <a:pt x="13" y="1416198"/>
                  </a:cubicBezTo>
                  <a:cubicBezTo>
                    <a:pt x="-2962" y="1434050"/>
                    <a:pt x="493898" y="1594711"/>
                    <a:pt x="1106790" y="1347769"/>
                  </a:cubicBezTo>
                  <a:cubicBezTo>
                    <a:pt x="1050261" y="1225785"/>
                    <a:pt x="928278" y="975868"/>
                    <a:pt x="901501" y="839008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37CC954A-13B8-443E-9B07-EE19E6777660}"/>
                </a:ext>
              </a:extLst>
            </p:cNvPr>
            <p:cNvSpPr/>
            <p:nvPr/>
          </p:nvSpPr>
          <p:spPr>
            <a:xfrm>
              <a:off x="7429760" y="3187814"/>
              <a:ext cx="63984" cy="734875"/>
            </a:xfrm>
            <a:custGeom>
              <a:avLst/>
              <a:gdLst>
                <a:gd name="connsiteX0" fmla="*/ 40183 w 63984"/>
                <a:gd name="connsiteY0" fmla="*/ 734876 h 734875"/>
                <a:gd name="connsiteX1" fmla="*/ 40183 w 63984"/>
                <a:gd name="connsiteY1" fmla="*/ 734876 h 734875"/>
                <a:gd name="connsiteX2" fmla="*/ 34232 w 63984"/>
                <a:gd name="connsiteY2" fmla="*/ 728926 h 734875"/>
                <a:gd name="connsiteX3" fmla="*/ 10431 w 63984"/>
                <a:gd name="connsiteY3" fmla="*/ 321322 h 734875"/>
                <a:gd name="connsiteX4" fmla="*/ 1505 w 63984"/>
                <a:gd name="connsiteY4" fmla="*/ 258843 h 734875"/>
                <a:gd name="connsiteX5" fmla="*/ 55059 w 63984"/>
                <a:gd name="connsiteY5" fmla="*/ 2975 h 734875"/>
                <a:gd name="connsiteX6" fmla="*/ 61010 w 63984"/>
                <a:gd name="connsiteY6" fmla="*/ 0 h 734875"/>
                <a:gd name="connsiteX7" fmla="*/ 63984 w 63984"/>
                <a:gd name="connsiteY7" fmla="*/ 5950 h 734875"/>
                <a:gd name="connsiteX8" fmla="*/ 10431 w 63984"/>
                <a:gd name="connsiteY8" fmla="*/ 255868 h 734875"/>
                <a:gd name="connsiteX9" fmla="*/ 19356 w 63984"/>
                <a:gd name="connsiteY9" fmla="*/ 318347 h 734875"/>
                <a:gd name="connsiteX10" fmla="*/ 43158 w 63984"/>
                <a:gd name="connsiteY10" fmla="*/ 728926 h 734875"/>
                <a:gd name="connsiteX11" fmla="*/ 40183 w 63984"/>
                <a:gd name="connsiteY11" fmla="*/ 734876 h 73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3984" h="734875">
                  <a:moveTo>
                    <a:pt x="40183" y="734876"/>
                  </a:moveTo>
                  <a:cubicBezTo>
                    <a:pt x="40183" y="734876"/>
                    <a:pt x="37208" y="734876"/>
                    <a:pt x="40183" y="734876"/>
                  </a:cubicBezTo>
                  <a:cubicBezTo>
                    <a:pt x="37208" y="734876"/>
                    <a:pt x="34232" y="731901"/>
                    <a:pt x="34232" y="728926"/>
                  </a:cubicBezTo>
                  <a:cubicBezTo>
                    <a:pt x="46134" y="612893"/>
                    <a:pt x="25307" y="437355"/>
                    <a:pt x="10431" y="321322"/>
                  </a:cubicBezTo>
                  <a:cubicBezTo>
                    <a:pt x="7456" y="297521"/>
                    <a:pt x="4480" y="276694"/>
                    <a:pt x="1505" y="258843"/>
                  </a:cubicBezTo>
                  <a:cubicBezTo>
                    <a:pt x="-10396" y="154711"/>
                    <a:pt x="52084" y="8926"/>
                    <a:pt x="55059" y="2975"/>
                  </a:cubicBezTo>
                  <a:cubicBezTo>
                    <a:pt x="55059" y="0"/>
                    <a:pt x="58034" y="0"/>
                    <a:pt x="61010" y="0"/>
                  </a:cubicBezTo>
                  <a:cubicBezTo>
                    <a:pt x="63984" y="0"/>
                    <a:pt x="63984" y="2975"/>
                    <a:pt x="63984" y="5950"/>
                  </a:cubicBezTo>
                  <a:cubicBezTo>
                    <a:pt x="63984" y="5950"/>
                    <a:pt x="-1470" y="154711"/>
                    <a:pt x="10431" y="255868"/>
                  </a:cubicBezTo>
                  <a:cubicBezTo>
                    <a:pt x="13406" y="273719"/>
                    <a:pt x="16381" y="294546"/>
                    <a:pt x="19356" y="318347"/>
                  </a:cubicBezTo>
                  <a:cubicBezTo>
                    <a:pt x="34232" y="434380"/>
                    <a:pt x="58034" y="609917"/>
                    <a:pt x="43158" y="728926"/>
                  </a:cubicBezTo>
                  <a:cubicBezTo>
                    <a:pt x="43158" y="731901"/>
                    <a:pt x="43158" y="734876"/>
                    <a:pt x="40183" y="734876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D0A6F748-5F99-4415-80A0-8EEE9AD0254A}"/>
                </a:ext>
              </a:extLst>
            </p:cNvPr>
            <p:cNvSpPr/>
            <p:nvPr/>
          </p:nvSpPr>
          <p:spPr>
            <a:xfrm>
              <a:off x="7809117" y="2824839"/>
              <a:ext cx="104132" cy="53553"/>
            </a:xfrm>
            <a:custGeom>
              <a:avLst/>
              <a:gdLst>
                <a:gd name="connsiteX0" fmla="*/ 104132 w 104132"/>
                <a:gd name="connsiteY0" fmla="*/ 0 h 53553"/>
                <a:gd name="connsiteX1" fmla="*/ 0 w 104132"/>
                <a:gd name="connsiteY1" fmla="*/ 0 h 53553"/>
                <a:gd name="connsiteX2" fmla="*/ 50578 w 104132"/>
                <a:gd name="connsiteY2" fmla="*/ 53554 h 53553"/>
                <a:gd name="connsiteX3" fmla="*/ 104132 w 104132"/>
                <a:gd name="connsiteY3" fmla="*/ 0 h 5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132" h="53553">
                  <a:moveTo>
                    <a:pt x="104132" y="0"/>
                  </a:moveTo>
                  <a:cubicBezTo>
                    <a:pt x="50578" y="23802"/>
                    <a:pt x="0" y="0"/>
                    <a:pt x="0" y="0"/>
                  </a:cubicBezTo>
                  <a:cubicBezTo>
                    <a:pt x="0" y="0"/>
                    <a:pt x="14876" y="53554"/>
                    <a:pt x="50578" y="53554"/>
                  </a:cubicBezTo>
                  <a:cubicBezTo>
                    <a:pt x="92231" y="53554"/>
                    <a:pt x="104132" y="0"/>
                    <a:pt x="104132" y="0"/>
                  </a:cubicBezTo>
                  <a:close/>
                </a:path>
              </a:pathLst>
            </a:custGeom>
            <a:solidFill>
              <a:srgbClr val="FFFFFF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70BB86C5-B940-42AD-9D85-E1A2DB8F141F}"/>
                </a:ext>
              </a:extLst>
            </p:cNvPr>
            <p:cNvSpPr/>
            <p:nvPr/>
          </p:nvSpPr>
          <p:spPr>
            <a:xfrm>
              <a:off x="8762041" y="4077401"/>
              <a:ext cx="106248" cy="168967"/>
            </a:xfrm>
            <a:custGeom>
              <a:avLst/>
              <a:gdLst>
                <a:gd name="connsiteX0" fmla="*/ 106249 w 106248"/>
                <a:gd name="connsiteY0" fmla="*/ 0 h 168967"/>
                <a:gd name="connsiteX1" fmla="*/ 11042 w 106248"/>
                <a:gd name="connsiteY1" fmla="*/ 98182 h 168967"/>
                <a:gd name="connsiteX2" fmla="*/ 5092 w 106248"/>
                <a:gd name="connsiteY2" fmla="*/ 166612 h 168967"/>
                <a:gd name="connsiteX3" fmla="*/ 70546 w 106248"/>
                <a:gd name="connsiteY3" fmla="*/ 89256 h 168967"/>
                <a:gd name="connsiteX4" fmla="*/ 106249 w 106248"/>
                <a:gd name="connsiteY4" fmla="*/ 0 h 168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248" h="168967">
                  <a:moveTo>
                    <a:pt x="106249" y="0"/>
                  </a:moveTo>
                  <a:cubicBezTo>
                    <a:pt x="106249" y="0"/>
                    <a:pt x="28894" y="38678"/>
                    <a:pt x="11042" y="98182"/>
                  </a:cubicBezTo>
                  <a:cubicBezTo>
                    <a:pt x="5092" y="124959"/>
                    <a:pt x="-6809" y="157686"/>
                    <a:pt x="5092" y="166612"/>
                  </a:cubicBezTo>
                  <a:cubicBezTo>
                    <a:pt x="34844" y="184463"/>
                    <a:pt x="40794" y="95207"/>
                    <a:pt x="70546" y="89256"/>
                  </a:cubicBezTo>
                  <a:cubicBezTo>
                    <a:pt x="85423" y="86281"/>
                    <a:pt x="106249" y="0"/>
                    <a:pt x="106249" y="0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3" name="图形 1">
              <a:extLst>
                <a:ext uri="{FF2B5EF4-FFF2-40B4-BE49-F238E27FC236}">
                  <a16:creationId xmlns:a16="http://schemas.microsoft.com/office/drawing/2014/main" id="{DBCC3E69-EC3B-4908-9F60-A59751869900}"/>
                </a:ext>
              </a:extLst>
            </p:cNvPr>
            <p:cNvGrpSpPr/>
            <p:nvPr/>
          </p:nvGrpSpPr>
          <p:grpSpPr>
            <a:xfrm>
              <a:off x="8818092" y="4019317"/>
              <a:ext cx="189424" cy="247406"/>
              <a:chOff x="8818092" y="4019317"/>
              <a:chExt cx="189424" cy="247406"/>
            </a:xfrm>
          </p:grpSpPr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24443B8A-5CC0-4CE5-A42F-0CCE46EEE35F}"/>
                  </a:ext>
                </a:extLst>
              </p:cNvPr>
              <p:cNvSpPr/>
              <p:nvPr/>
            </p:nvSpPr>
            <p:spPr>
              <a:xfrm>
                <a:off x="8822517" y="4019317"/>
                <a:ext cx="185000" cy="247406"/>
              </a:xfrm>
              <a:custGeom>
                <a:avLst/>
                <a:gdLst>
                  <a:gd name="connsiteX0" fmla="*/ 10071 w 185000"/>
                  <a:gd name="connsiteY0" fmla="*/ 1555 h 247406"/>
                  <a:gd name="connsiteX1" fmla="*/ 4121 w 185000"/>
                  <a:gd name="connsiteY1" fmla="*/ 188993 h 247406"/>
                  <a:gd name="connsiteX2" fmla="*/ 16021 w 185000"/>
                  <a:gd name="connsiteY2" fmla="*/ 239571 h 247406"/>
                  <a:gd name="connsiteX3" fmla="*/ 45774 w 185000"/>
                  <a:gd name="connsiteY3" fmla="*/ 233621 h 247406"/>
                  <a:gd name="connsiteX4" fmla="*/ 90402 w 185000"/>
                  <a:gd name="connsiteY4" fmla="*/ 236596 h 247406"/>
                  <a:gd name="connsiteX5" fmla="*/ 117179 w 185000"/>
                  <a:gd name="connsiteY5" fmla="*/ 245522 h 247406"/>
                  <a:gd name="connsiteX6" fmla="*/ 140981 w 185000"/>
                  <a:gd name="connsiteY6" fmla="*/ 221720 h 247406"/>
                  <a:gd name="connsiteX7" fmla="*/ 182633 w 185000"/>
                  <a:gd name="connsiteY7" fmla="*/ 206844 h 247406"/>
                  <a:gd name="connsiteX8" fmla="*/ 117179 w 185000"/>
                  <a:gd name="connsiteY8" fmla="*/ 13456 h 247406"/>
                  <a:gd name="connsiteX9" fmla="*/ 10071 w 185000"/>
                  <a:gd name="connsiteY9" fmla="*/ 1555 h 24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5000" h="247406">
                    <a:moveTo>
                      <a:pt x="10071" y="1555"/>
                    </a:moveTo>
                    <a:cubicBezTo>
                      <a:pt x="-7780" y="75935"/>
                      <a:pt x="13047" y="111637"/>
                      <a:pt x="4121" y="188993"/>
                    </a:cubicBezTo>
                    <a:cubicBezTo>
                      <a:pt x="4121" y="200893"/>
                      <a:pt x="-10755" y="230645"/>
                      <a:pt x="16021" y="239571"/>
                    </a:cubicBezTo>
                    <a:cubicBezTo>
                      <a:pt x="21972" y="242546"/>
                      <a:pt x="39823" y="248497"/>
                      <a:pt x="45774" y="233621"/>
                    </a:cubicBezTo>
                    <a:cubicBezTo>
                      <a:pt x="54699" y="251472"/>
                      <a:pt x="87427" y="251472"/>
                      <a:pt x="90402" y="236596"/>
                    </a:cubicBezTo>
                    <a:cubicBezTo>
                      <a:pt x="93377" y="242546"/>
                      <a:pt x="111228" y="245522"/>
                      <a:pt x="117179" y="245522"/>
                    </a:cubicBezTo>
                    <a:cubicBezTo>
                      <a:pt x="132055" y="242546"/>
                      <a:pt x="138005" y="236596"/>
                      <a:pt x="140981" y="221720"/>
                    </a:cubicBezTo>
                    <a:cubicBezTo>
                      <a:pt x="155857" y="230645"/>
                      <a:pt x="176683" y="227670"/>
                      <a:pt x="182633" y="206844"/>
                    </a:cubicBezTo>
                    <a:cubicBezTo>
                      <a:pt x="188584" y="180067"/>
                      <a:pt x="188584" y="75935"/>
                      <a:pt x="117179" y="13456"/>
                    </a:cubicBezTo>
                    <a:cubicBezTo>
                      <a:pt x="102303" y="-1421"/>
                      <a:pt x="10071" y="-1421"/>
                      <a:pt x="10071" y="1555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B586AE27-0D09-4ABB-9A5E-BD97F02BA5A6}"/>
                  </a:ext>
                </a:extLst>
              </p:cNvPr>
              <p:cNvSpPr/>
              <p:nvPr/>
            </p:nvSpPr>
            <p:spPr>
              <a:xfrm>
                <a:off x="8818092" y="4130954"/>
                <a:ext cx="63331" cy="133884"/>
              </a:xfrm>
              <a:custGeom>
                <a:avLst/>
                <a:gdLst>
                  <a:gd name="connsiteX0" fmla="*/ 29372 w 63331"/>
                  <a:gd name="connsiteY0" fmla="*/ 133884 h 133884"/>
                  <a:gd name="connsiteX1" fmla="*/ 17471 w 63331"/>
                  <a:gd name="connsiteY1" fmla="*/ 130909 h 133884"/>
                  <a:gd name="connsiteX2" fmla="*/ 2595 w 63331"/>
                  <a:gd name="connsiteY2" fmla="*/ 113058 h 133884"/>
                  <a:gd name="connsiteX3" fmla="*/ 26397 w 63331"/>
                  <a:gd name="connsiteY3" fmla="*/ 2975 h 133884"/>
                  <a:gd name="connsiteX4" fmla="*/ 35322 w 63331"/>
                  <a:gd name="connsiteY4" fmla="*/ 0 h 133884"/>
                  <a:gd name="connsiteX5" fmla="*/ 38297 w 63331"/>
                  <a:gd name="connsiteY5" fmla="*/ 8926 h 133884"/>
                  <a:gd name="connsiteX6" fmla="*/ 14496 w 63331"/>
                  <a:gd name="connsiteY6" fmla="*/ 110083 h 133884"/>
                  <a:gd name="connsiteX7" fmla="*/ 23421 w 63331"/>
                  <a:gd name="connsiteY7" fmla="*/ 121984 h 133884"/>
                  <a:gd name="connsiteX8" fmla="*/ 53173 w 63331"/>
                  <a:gd name="connsiteY8" fmla="*/ 116033 h 133884"/>
                  <a:gd name="connsiteX9" fmla="*/ 62099 w 63331"/>
                  <a:gd name="connsiteY9" fmla="*/ 119008 h 133884"/>
                  <a:gd name="connsiteX10" fmla="*/ 59124 w 63331"/>
                  <a:gd name="connsiteY10" fmla="*/ 127934 h 133884"/>
                  <a:gd name="connsiteX11" fmla="*/ 29372 w 63331"/>
                  <a:gd name="connsiteY11" fmla="*/ 133884 h 13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3331" h="133884">
                    <a:moveTo>
                      <a:pt x="29372" y="133884"/>
                    </a:moveTo>
                    <a:cubicBezTo>
                      <a:pt x="26397" y="133884"/>
                      <a:pt x="20446" y="133884"/>
                      <a:pt x="17471" y="130909"/>
                    </a:cubicBezTo>
                    <a:cubicBezTo>
                      <a:pt x="11521" y="127934"/>
                      <a:pt x="5570" y="121984"/>
                      <a:pt x="2595" y="113058"/>
                    </a:cubicBezTo>
                    <a:cubicBezTo>
                      <a:pt x="-9306" y="77356"/>
                      <a:pt x="23421" y="5951"/>
                      <a:pt x="26397" y="2975"/>
                    </a:cubicBezTo>
                    <a:cubicBezTo>
                      <a:pt x="26397" y="0"/>
                      <a:pt x="32347" y="0"/>
                      <a:pt x="35322" y="0"/>
                    </a:cubicBezTo>
                    <a:cubicBezTo>
                      <a:pt x="38297" y="0"/>
                      <a:pt x="38297" y="5951"/>
                      <a:pt x="38297" y="8926"/>
                    </a:cubicBezTo>
                    <a:cubicBezTo>
                      <a:pt x="38297" y="8926"/>
                      <a:pt x="5570" y="77356"/>
                      <a:pt x="14496" y="110083"/>
                    </a:cubicBezTo>
                    <a:cubicBezTo>
                      <a:pt x="17471" y="116033"/>
                      <a:pt x="17471" y="119008"/>
                      <a:pt x="23421" y="121984"/>
                    </a:cubicBezTo>
                    <a:cubicBezTo>
                      <a:pt x="32347" y="124959"/>
                      <a:pt x="47223" y="119008"/>
                      <a:pt x="53173" y="116033"/>
                    </a:cubicBezTo>
                    <a:cubicBezTo>
                      <a:pt x="56149" y="113058"/>
                      <a:pt x="59124" y="116033"/>
                      <a:pt x="62099" y="119008"/>
                    </a:cubicBezTo>
                    <a:cubicBezTo>
                      <a:pt x="65074" y="121984"/>
                      <a:pt x="62099" y="124959"/>
                      <a:pt x="59124" y="127934"/>
                    </a:cubicBezTo>
                    <a:cubicBezTo>
                      <a:pt x="56149" y="127934"/>
                      <a:pt x="41273" y="133884"/>
                      <a:pt x="29372" y="133884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09C71544-AB28-4A01-90CF-3C3547C447EE}"/>
                  </a:ext>
                </a:extLst>
              </p:cNvPr>
              <p:cNvSpPr/>
              <p:nvPr/>
            </p:nvSpPr>
            <p:spPr>
              <a:xfrm>
                <a:off x="8880191" y="4205334"/>
                <a:ext cx="77355" cy="23801"/>
              </a:xfrm>
              <a:custGeom>
                <a:avLst/>
                <a:gdLst>
                  <a:gd name="connsiteX0" fmla="*/ 11901 w 77355"/>
                  <a:gd name="connsiteY0" fmla="*/ 23802 h 23801"/>
                  <a:gd name="connsiteX1" fmla="*/ 5950 w 77355"/>
                  <a:gd name="connsiteY1" fmla="*/ 23802 h 23801"/>
                  <a:gd name="connsiteX2" fmla="*/ 0 w 77355"/>
                  <a:gd name="connsiteY2" fmla="*/ 17851 h 23801"/>
                  <a:gd name="connsiteX3" fmla="*/ 5950 w 77355"/>
                  <a:gd name="connsiteY3" fmla="*/ 11901 h 23801"/>
                  <a:gd name="connsiteX4" fmla="*/ 71405 w 77355"/>
                  <a:gd name="connsiteY4" fmla="*/ 0 h 23801"/>
                  <a:gd name="connsiteX5" fmla="*/ 77355 w 77355"/>
                  <a:gd name="connsiteY5" fmla="*/ 2975 h 23801"/>
                  <a:gd name="connsiteX6" fmla="*/ 74380 w 77355"/>
                  <a:gd name="connsiteY6" fmla="*/ 8926 h 23801"/>
                  <a:gd name="connsiteX7" fmla="*/ 11901 w 77355"/>
                  <a:gd name="connsiteY7" fmla="*/ 23802 h 23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7355" h="23801">
                    <a:moveTo>
                      <a:pt x="11901" y="23802"/>
                    </a:moveTo>
                    <a:cubicBezTo>
                      <a:pt x="8926" y="23802"/>
                      <a:pt x="8926" y="23802"/>
                      <a:pt x="5950" y="23802"/>
                    </a:cubicBezTo>
                    <a:cubicBezTo>
                      <a:pt x="2975" y="23802"/>
                      <a:pt x="0" y="20827"/>
                      <a:pt x="0" y="17851"/>
                    </a:cubicBezTo>
                    <a:cubicBezTo>
                      <a:pt x="0" y="14876"/>
                      <a:pt x="2975" y="11901"/>
                      <a:pt x="5950" y="11901"/>
                    </a:cubicBezTo>
                    <a:cubicBezTo>
                      <a:pt x="17851" y="14876"/>
                      <a:pt x="59504" y="2975"/>
                      <a:pt x="71405" y="0"/>
                    </a:cubicBezTo>
                    <a:cubicBezTo>
                      <a:pt x="74380" y="0"/>
                      <a:pt x="77355" y="0"/>
                      <a:pt x="77355" y="2975"/>
                    </a:cubicBezTo>
                    <a:cubicBezTo>
                      <a:pt x="77355" y="5951"/>
                      <a:pt x="77355" y="8926"/>
                      <a:pt x="74380" y="8926"/>
                    </a:cubicBezTo>
                    <a:cubicBezTo>
                      <a:pt x="74380" y="11901"/>
                      <a:pt x="32727" y="23802"/>
                      <a:pt x="11901" y="2380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016DD14C-039E-4D42-B019-2370B1677827}"/>
                </a:ext>
              </a:extLst>
            </p:cNvPr>
            <p:cNvSpPr/>
            <p:nvPr/>
          </p:nvSpPr>
          <p:spPr>
            <a:xfrm>
              <a:off x="8076839" y="3054227"/>
              <a:ext cx="890989" cy="1026229"/>
            </a:xfrm>
            <a:custGeom>
              <a:avLst/>
              <a:gdLst>
                <a:gd name="connsiteX0" fmla="*/ 110129 w 890989"/>
                <a:gd name="connsiteY0" fmla="*/ 362677 h 1026229"/>
                <a:gd name="connsiteX1" fmla="*/ 446327 w 890989"/>
                <a:gd name="connsiteY1" fmla="*/ 597719 h 1026229"/>
                <a:gd name="connsiteX2" fmla="*/ 734922 w 890989"/>
                <a:gd name="connsiteY2" fmla="*/ 1026148 h 1026229"/>
                <a:gd name="connsiteX3" fmla="*/ 877732 w 890989"/>
                <a:gd name="connsiteY3" fmla="*/ 981520 h 1026229"/>
                <a:gd name="connsiteX4" fmla="*/ 705170 w 890989"/>
                <a:gd name="connsiteY4" fmla="*/ 434082 h 1026229"/>
                <a:gd name="connsiteX5" fmla="*/ 279715 w 890989"/>
                <a:gd name="connsiteY5" fmla="*/ 74082 h 1026229"/>
                <a:gd name="connsiteX6" fmla="*/ 23848 w 890989"/>
                <a:gd name="connsiteY6" fmla="*/ 17553 h 1026229"/>
                <a:gd name="connsiteX7" fmla="*/ 110129 w 890989"/>
                <a:gd name="connsiteY7" fmla="*/ 362677 h 1026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0989" h="1026229">
                  <a:moveTo>
                    <a:pt x="110129" y="362677"/>
                  </a:moveTo>
                  <a:cubicBezTo>
                    <a:pt x="166657" y="428132"/>
                    <a:pt x="401699" y="520363"/>
                    <a:pt x="446327" y="597719"/>
                  </a:cubicBezTo>
                  <a:cubicBezTo>
                    <a:pt x="511782" y="707801"/>
                    <a:pt x="657567" y="1032099"/>
                    <a:pt x="734922" y="1026148"/>
                  </a:cubicBezTo>
                  <a:cubicBezTo>
                    <a:pt x="797402" y="1014248"/>
                    <a:pt x="815253" y="1008297"/>
                    <a:pt x="877732" y="981520"/>
                  </a:cubicBezTo>
                  <a:cubicBezTo>
                    <a:pt x="931286" y="886314"/>
                    <a:pt x="812278" y="606644"/>
                    <a:pt x="705170" y="434082"/>
                  </a:cubicBezTo>
                  <a:cubicBezTo>
                    <a:pt x="669468" y="377553"/>
                    <a:pt x="431451" y="169289"/>
                    <a:pt x="279715" y="74082"/>
                  </a:cubicBezTo>
                  <a:cubicBezTo>
                    <a:pt x="208311" y="29454"/>
                    <a:pt x="68476" y="-30050"/>
                    <a:pt x="23848" y="17553"/>
                  </a:cubicBezTo>
                  <a:cubicBezTo>
                    <a:pt x="-38632" y="88958"/>
                    <a:pt x="32773" y="273421"/>
                    <a:pt x="110129" y="362677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38BBCEAF-4CA3-4D71-AB7A-B02E2153945E}"/>
                </a:ext>
              </a:extLst>
            </p:cNvPr>
            <p:cNvSpPr/>
            <p:nvPr/>
          </p:nvSpPr>
          <p:spPr>
            <a:xfrm>
              <a:off x="8077238" y="3060624"/>
              <a:ext cx="190060" cy="418760"/>
            </a:xfrm>
            <a:custGeom>
              <a:avLst/>
              <a:gdLst>
                <a:gd name="connsiteX0" fmla="*/ 187086 w 190060"/>
                <a:gd name="connsiteY0" fmla="*/ 418760 h 418760"/>
                <a:gd name="connsiteX1" fmla="*/ 187086 w 190060"/>
                <a:gd name="connsiteY1" fmla="*/ 418760 h 418760"/>
                <a:gd name="connsiteX2" fmla="*/ 29400 w 190060"/>
                <a:gd name="connsiteY2" fmla="*/ 231322 h 418760"/>
                <a:gd name="connsiteX3" fmla="*/ 23450 w 190060"/>
                <a:gd name="connsiteY3" fmla="*/ 2231 h 418760"/>
                <a:gd name="connsiteX4" fmla="*/ 32375 w 190060"/>
                <a:gd name="connsiteY4" fmla="*/ 2231 h 418760"/>
                <a:gd name="connsiteX5" fmla="*/ 32375 w 190060"/>
                <a:gd name="connsiteY5" fmla="*/ 11157 h 418760"/>
                <a:gd name="connsiteX6" fmla="*/ 38326 w 190060"/>
                <a:gd name="connsiteY6" fmla="*/ 228347 h 418760"/>
                <a:gd name="connsiteX7" fmla="*/ 187086 w 190060"/>
                <a:gd name="connsiteY7" fmla="*/ 406860 h 418760"/>
                <a:gd name="connsiteX8" fmla="*/ 190061 w 190060"/>
                <a:gd name="connsiteY8" fmla="*/ 412810 h 418760"/>
                <a:gd name="connsiteX9" fmla="*/ 187086 w 190060"/>
                <a:gd name="connsiteY9" fmla="*/ 418760 h 418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060" h="418760">
                  <a:moveTo>
                    <a:pt x="187086" y="418760"/>
                  </a:moveTo>
                  <a:cubicBezTo>
                    <a:pt x="184111" y="418760"/>
                    <a:pt x="184111" y="418760"/>
                    <a:pt x="187086" y="418760"/>
                  </a:cubicBezTo>
                  <a:cubicBezTo>
                    <a:pt x="181135" y="415785"/>
                    <a:pt x="91879" y="383058"/>
                    <a:pt x="29400" y="231322"/>
                  </a:cubicBezTo>
                  <a:cubicBezTo>
                    <a:pt x="-33080" y="82562"/>
                    <a:pt x="23450" y="5207"/>
                    <a:pt x="23450" y="2231"/>
                  </a:cubicBezTo>
                  <a:cubicBezTo>
                    <a:pt x="26425" y="-744"/>
                    <a:pt x="29400" y="-744"/>
                    <a:pt x="32375" y="2231"/>
                  </a:cubicBezTo>
                  <a:cubicBezTo>
                    <a:pt x="35350" y="5207"/>
                    <a:pt x="35350" y="8182"/>
                    <a:pt x="32375" y="11157"/>
                  </a:cubicBezTo>
                  <a:cubicBezTo>
                    <a:pt x="32375" y="11157"/>
                    <a:pt x="-21178" y="85537"/>
                    <a:pt x="38326" y="228347"/>
                  </a:cubicBezTo>
                  <a:cubicBezTo>
                    <a:pt x="100805" y="374132"/>
                    <a:pt x="187086" y="406860"/>
                    <a:pt x="187086" y="406860"/>
                  </a:cubicBezTo>
                  <a:cubicBezTo>
                    <a:pt x="190061" y="406860"/>
                    <a:pt x="190061" y="409835"/>
                    <a:pt x="190061" y="412810"/>
                  </a:cubicBezTo>
                  <a:cubicBezTo>
                    <a:pt x="190061" y="415785"/>
                    <a:pt x="187086" y="418760"/>
                    <a:pt x="187086" y="418760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2FF826C4-FD86-4009-B4CA-3C515B48B740}"/>
                </a:ext>
              </a:extLst>
            </p:cNvPr>
            <p:cNvSpPr/>
            <p:nvPr/>
          </p:nvSpPr>
          <p:spPr>
            <a:xfrm>
              <a:off x="7666209" y="2381047"/>
              <a:ext cx="406444" cy="553949"/>
            </a:xfrm>
            <a:custGeom>
              <a:avLst/>
              <a:gdLst>
                <a:gd name="connsiteX0" fmla="*/ 3074 w 406444"/>
                <a:gd name="connsiteY0" fmla="*/ 184949 h 553949"/>
                <a:gd name="connsiteX1" fmla="*/ 23900 w 406444"/>
                <a:gd name="connsiteY1" fmla="*/ 434866 h 553949"/>
                <a:gd name="connsiteX2" fmla="*/ 172660 w 406444"/>
                <a:gd name="connsiteY2" fmla="*/ 553874 h 553949"/>
                <a:gd name="connsiteX3" fmla="*/ 377949 w 406444"/>
                <a:gd name="connsiteY3" fmla="*/ 405114 h 553949"/>
                <a:gd name="connsiteX4" fmla="*/ 404726 w 406444"/>
                <a:gd name="connsiteY4" fmla="*/ 184949 h 553949"/>
                <a:gd name="connsiteX5" fmla="*/ 187536 w 406444"/>
                <a:gd name="connsiteY5" fmla="*/ 486 h 553949"/>
                <a:gd name="connsiteX6" fmla="*/ 3074 w 406444"/>
                <a:gd name="connsiteY6" fmla="*/ 184949 h 553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6444" h="553949">
                  <a:moveTo>
                    <a:pt x="3074" y="184949"/>
                  </a:moveTo>
                  <a:cubicBezTo>
                    <a:pt x="3074" y="184949"/>
                    <a:pt x="-11802" y="369412"/>
                    <a:pt x="23900" y="434866"/>
                  </a:cubicBezTo>
                  <a:cubicBezTo>
                    <a:pt x="62578" y="500321"/>
                    <a:pt x="125057" y="553874"/>
                    <a:pt x="172660" y="553874"/>
                  </a:cubicBezTo>
                  <a:cubicBezTo>
                    <a:pt x="238115" y="556850"/>
                    <a:pt x="345222" y="470569"/>
                    <a:pt x="377949" y="405114"/>
                  </a:cubicBezTo>
                  <a:cubicBezTo>
                    <a:pt x="410677" y="339659"/>
                    <a:pt x="407701" y="232552"/>
                    <a:pt x="404726" y="184949"/>
                  </a:cubicBezTo>
                  <a:cubicBezTo>
                    <a:pt x="398776" y="92717"/>
                    <a:pt x="369024" y="18337"/>
                    <a:pt x="187536" y="486"/>
                  </a:cubicBezTo>
                  <a:cubicBezTo>
                    <a:pt x="104230" y="-8440"/>
                    <a:pt x="17950" y="107593"/>
                    <a:pt x="3074" y="184949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B5486750-6FEA-4E9A-892C-FB6125FD4B34}"/>
                </a:ext>
              </a:extLst>
            </p:cNvPr>
            <p:cNvSpPr/>
            <p:nvPr/>
          </p:nvSpPr>
          <p:spPr>
            <a:xfrm>
              <a:off x="7800191" y="2645094"/>
              <a:ext cx="56528" cy="129166"/>
            </a:xfrm>
            <a:custGeom>
              <a:avLst/>
              <a:gdLst>
                <a:gd name="connsiteX0" fmla="*/ 26777 w 56528"/>
                <a:gd name="connsiteY0" fmla="*/ 129166 h 129166"/>
                <a:gd name="connsiteX1" fmla="*/ 5950 w 56528"/>
                <a:gd name="connsiteY1" fmla="*/ 123216 h 129166"/>
                <a:gd name="connsiteX2" fmla="*/ 0 w 56528"/>
                <a:gd name="connsiteY2" fmla="*/ 111315 h 129166"/>
                <a:gd name="connsiteX3" fmla="*/ 23802 w 56528"/>
                <a:gd name="connsiteY3" fmla="*/ 4208 h 129166"/>
                <a:gd name="connsiteX4" fmla="*/ 29752 w 56528"/>
                <a:gd name="connsiteY4" fmla="*/ 1232 h 129166"/>
                <a:gd name="connsiteX5" fmla="*/ 32727 w 56528"/>
                <a:gd name="connsiteY5" fmla="*/ 7183 h 129166"/>
                <a:gd name="connsiteX6" fmla="*/ 8926 w 56528"/>
                <a:gd name="connsiteY6" fmla="*/ 111315 h 129166"/>
                <a:gd name="connsiteX7" fmla="*/ 11901 w 56528"/>
                <a:gd name="connsiteY7" fmla="*/ 114290 h 129166"/>
                <a:gd name="connsiteX8" fmla="*/ 50578 w 56528"/>
                <a:gd name="connsiteY8" fmla="*/ 114290 h 129166"/>
                <a:gd name="connsiteX9" fmla="*/ 56529 w 56528"/>
                <a:gd name="connsiteY9" fmla="*/ 117265 h 129166"/>
                <a:gd name="connsiteX10" fmla="*/ 53554 w 56528"/>
                <a:gd name="connsiteY10" fmla="*/ 123216 h 129166"/>
                <a:gd name="connsiteX11" fmla="*/ 26777 w 56528"/>
                <a:gd name="connsiteY11" fmla="*/ 129166 h 129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528" h="129166">
                  <a:moveTo>
                    <a:pt x="26777" y="129166"/>
                  </a:moveTo>
                  <a:cubicBezTo>
                    <a:pt x="17851" y="129166"/>
                    <a:pt x="11901" y="129166"/>
                    <a:pt x="5950" y="123216"/>
                  </a:cubicBezTo>
                  <a:cubicBezTo>
                    <a:pt x="2975" y="120241"/>
                    <a:pt x="0" y="117265"/>
                    <a:pt x="0" y="111315"/>
                  </a:cubicBezTo>
                  <a:cubicBezTo>
                    <a:pt x="0" y="90489"/>
                    <a:pt x="20826" y="7183"/>
                    <a:pt x="23802" y="4208"/>
                  </a:cubicBezTo>
                  <a:cubicBezTo>
                    <a:pt x="23802" y="1232"/>
                    <a:pt x="26777" y="-1743"/>
                    <a:pt x="29752" y="1232"/>
                  </a:cubicBezTo>
                  <a:cubicBezTo>
                    <a:pt x="32727" y="1232"/>
                    <a:pt x="35702" y="4208"/>
                    <a:pt x="32727" y="7183"/>
                  </a:cubicBezTo>
                  <a:cubicBezTo>
                    <a:pt x="26777" y="30984"/>
                    <a:pt x="8926" y="96439"/>
                    <a:pt x="8926" y="111315"/>
                  </a:cubicBezTo>
                  <a:cubicBezTo>
                    <a:pt x="8926" y="111315"/>
                    <a:pt x="8926" y="114290"/>
                    <a:pt x="11901" y="114290"/>
                  </a:cubicBezTo>
                  <a:cubicBezTo>
                    <a:pt x="17851" y="120241"/>
                    <a:pt x="38678" y="117265"/>
                    <a:pt x="50578" y="114290"/>
                  </a:cubicBezTo>
                  <a:cubicBezTo>
                    <a:pt x="53554" y="114290"/>
                    <a:pt x="56529" y="114290"/>
                    <a:pt x="56529" y="117265"/>
                  </a:cubicBezTo>
                  <a:cubicBezTo>
                    <a:pt x="56529" y="120241"/>
                    <a:pt x="56529" y="123216"/>
                    <a:pt x="53554" y="123216"/>
                  </a:cubicBezTo>
                  <a:cubicBezTo>
                    <a:pt x="50578" y="126191"/>
                    <a:pt x="38678" y="129166"/>
                    <a:pt x="26777" y="129166"/>
                  </a:cubicBezTo>
                  <a:close/>
                </a:path>
              </a:pathLst>
            </a:custGeom>
            <a:solidFill>
              <a:srgbClr val="E58777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4112E14F-BE62-4AFA-81B6-D6E86B299989}"/>
                </a:ext>
              </a:extLst>
            </p:cNvPr>
            <p:cNvSpPr/>
            <p:nvPr/>
          </p:nvSpPr>
          <p:spPr>
            <a:xfrm>
              <a:off x="7785315" y="2818888"/>
              <a:ext cx="104132" cy="53673"/>
            </a:xfrm>
            <a:custGeom>
              <a:avLst/>
              <a:gdLst>
                <a:gd name="connsiteX0" fmla="*/ 104132 w 104132"/>
                <a:gd name="connsiteY0" fmla="*/ 0 h 53673"/>
                <a:gd name="connsiteX1" fmla="*/ 0 w 104132"/>
                <a:gd name="connsiteY1" fmla="*/ 2975 h 53673"/>
                <a:gd name="connsiteX2" fmla="*/ 50578 w 104132"/>
                <a:gd name="connsiteY2" fmla="*/ 53554 h 53673"/>
                <a:gd name="connsiteX3" fmla="*/ 104132 w 104132"/>
                <a:gd name="connsiteY3" fmla="*/ 0 h 53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132" h="53673">
                  <a:moveTo>
                    <a:pt x="104132" y="0"/>
                  </a:moveTo>
                  <a:cubicBezTo>
                    <a:pt x="50578" y="26777"/>
                    <a:pt x="0" y="2975"/>
                    <a:pt x="0" y="2975"/>
                  </a:cubicBezTo>
                  <a:cubicBezTo>
                    <a:pt x="0" y="2975"/>
                    <a:pt x="14876" y="56529"/>
                    <a:pt x="50578" y="53554"/>
                  </a:cubicBezTo>
                  <a:cubicBezTo>
                    <a:pt x="92232" y="53554"/>
                    <a:pt x="104132" y="0"/>
                    <a:pt x="104132" y="0"/>
                  </a:cubicBezTo>
                  <a:close/>
                </a:path>
              </a:pathLst>
            </a:custGeom>
            <a:solidFill>
              <a:srgbClr val="FFFFFF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802D37A6-5FEC-4567-9ADA-FB7D223902F2}"/>
                </a:ext>
              </a:extLst>
            </p:cNvPr>
            <p:cNvSpPr/>
            <p:nvPr/>
          </p:nvSpPr>
          <p:spPr>
            <a:xfrm>
              <a:off x="7725053" y="2618791"/>
              <a:ext cx="40019" cy="40194"/>
            </a:xfrm>
            <a:custGeom>
              <a:avLst/>
              <a:gdLst>
                <a:gd name="connsiteX0" fmla="*/ 39436 w 40019"/>
                <a:gd name="connsiteY0" fmla="*/ 24560 h 40194"/>
                <a:gd name="connsiteX1" fmla="*/ 15634 w 40019"/>
                <a:gd name="connsiteY1" fmla="*/ 39436 h 40194"/>
                <a:gd name="connsiteX2" fmla="*/ 758 w 40019"/>
                <a:gd name="connsiteY2" fmla="*/ 15634 h 40194"/>
                <a:gd name="connsiteX3" fmla="*/ 24560 w 40019"/>
                <a:gd name="connsiteY3" fmla="*/ 758 h 40194"/>
                <a:gd name="connsiteX4" fmla="*/ 39436 w 40019"/>
                <a:gd name="connsiteY4" fmla="*/ 24560 h 4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19" h="40194">
                  <a:moveTo>
                    <a:pt x="39436" y="24560"/>
                  </a:moveTo>
                  <a:cubicBezTo>
                    <a:pt x="36461" y="36461"/>
                    <a:pt x="27535" y="42411"/>
                    <a:pt x="15634" y="39436"/>
                  </a:cubicBezTo>
                  <a:cubicBezTo>
                    <a:pt x="3734" y="36461"/>
                    <a:pt x="-2217" y="27535"/>
                    <a:pt x="758" y="15634"/>
                  </a:cubicBezTo>
                  <a:cubicBezTo>
                    <a:pt x="3734" y="3733"/>
                    <a:pt x="12659" y="-2217"/>
                    <a:pt x="24560" y="758"/>
                  </a:cubicBezTo>
                  <a:cubicBezTo>
                    <a:pt x="33486" y="3733"/>
                    <a:pt x="42411" y="15634"/>
                    <a:pt x="39436" y="2456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D1F3512E-EBE5-40D0-A1D3-EF8D755760D9}"/>
                </a:ext>
              </a:extLst>
            </p:cNvPr>
            <p:cNvSpPr/>
            <p:nvPr/>
          </p:nvSpPr>
          <p:spPr>
            <a:xfrm>
              <a:off x="7912491" y="2618791"/>
              <a:ext cx="39436" cy="40194"/>
            </a:xfrm>
            <a:custGeom>
              <a:avLst/>
              <a:gdLst>
                <a:gd name="connsiteX0" fmla="*/ 39436 w 39436"/>
                <a:gd name="connsiteY0" fmla="*/ 24560 h 40194"/>
                <a:gd name="connsiteX1" fmla="*/ 15634 w 39436"/>
                <a:gd name="connsiteY1" fmla="*/ 39436 h 40194"/>
                <a:gd name="connsiteX2" fmla="*/ 758 w 39436"/>
                <a:gd name="connsiteY2" fmla="*/ 15634 h 40194"/>
                <a:gd name="connsiteX3" fmla="*/ 24560 w 39436"/>
                <a:gd name="connsiteY3" fmla="*/ 758 h 40194"/>
                <a:gd name="connsiteX4" fmla="*/ 39436 w 39436"/>
                <a:gd name="connsiteY4" fmla="*/ 24560 h 4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36" h="40194">
                  <a:moveTo>
                    <a:pt x="39436" y="24560"/>
                  </a:moveTo>
                  <a:cubicBezTo>
                    <a:pt x="36461" y="36461"/>
                    <a:pt x="27535" y="42411"/>
                    <a:pt x="15634" y="39436"/>
                  </a:cubicBezTo>
                  <a:cubicBezTo>
                    <a:pt x="3733" y="36461"/>
                    <a:pt x="-2217" y="27535"/>
                    <a:pt x="758" y="15634"/>
                  </a:cubicBezTo>
                  <a:cubicBezTo>
                    <a:pt x="3733" y="3733"/>
                    <a:pt x="12659" y="-2217"/>
                    <a:pt x="24560" y="758"/>
                  </a:cubicBezTo>
                  <a:cubicBezTo>
                    <a:pt x="33485" y="3733"/>
                    <a:pt x="39436" y="12659"/>
                    <a:pt x="39436" y="2456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C9923785-48DA-4027-8750-BD8D298FFC20}"/>
                </a:ext>
              </a:extLst>
            </p:cNvPr>
            <p:cNvSpPr/>
            <p:nvPr/>
          </p:nvSpPr>
          <p:spPr>
            <a:xfrm>
              <a:off x="7699778" y="2571850"/>
              <a:ext cx="89744" cy="35798"/>
            </a:xfrm>
            <a:custGeom>
              <a:avLst/>
              <a:gdLst>
                <a:gd name="connsiteX0" fmla="*/ 8182 w 89744"/>
                <a:gd name="connsiteY0" fmla="*/ 35799 h 35798"/>
                <a:gd name="connsiteX1" fmla="*/ 2231 w 89744"/>
                <a:gd name="connsiteY1" fmla="*/ 32824 h 35798"/>
                <a:gd name="connsiteX2" fmla="*/ 2231 w 89744"/>
                <a:gd name="connsiteY2" fmla="*/ 20923 h 35798"/>
                <a:gd name="connsiteX3" fmla="*/ 85537 w 89744"/>
                <a:gd name="connsiteY3" fmla="*/ 6047 h 35798"/>
                <a:gd name="connsiteX4" fmla="*/ 88512 w 89744"/>
                <a:gd name="connsiteY4" fmla="*/ 14972 h 35798"/>
                <a:gd name="connsiteX5" fmla="*/ 79587 w 89744"/>
                <a:gd name="connsiteY5" fmla="*/ 17947 h 35798"/>
                <a:gd name="connsiteX6" fmla="*/ 14132 w 89744"/>
                <a:gd name="connsiteY6" fmla="*/ 26873 h 35798"/>
                <a:gd name="connsiteX7" fmla="*/ 8182 w 89744"/>
                <a:gd name="connsiteY7" fmla="*/ 35799 h 3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5798">
                  <a:moveTo>
                    <a:pt x="8182" y="35799"/>
                  </a:moveTo>
                  <a:cubicBezTo>
                    <a:pt x="5207" y="35799"/>
                    <a:pt x="5207" y="35799"/>
                    <a:pt x="2231" y="32824"/>
                  </a:cubicBezTo>
                  <a:cubicBezTo>
                    <a:pt x="-744" y="29848"/>
                    <a:pt x="-744" y="23898"/>
                    <a:pt x="2231" y="20923"/>
                  </a:cubicBezTo>
                  <a:cubicBezTo>
                    <a:pt x="26033" y="-8829"/>
                    <a:pt x="67686" y="96"/>
                    <a:pt x="85537" y="6047"/>
                  </a:cubicBezTo>
                  <a:cubicBezTo>
                    <a:pt x="88512" y="9022"/>
                    <a:pt x="91487" y="11997"/>
                    <a:pt x="88512" y="14972"/>
                  </a:cubicBezTo>
                  <a:cubicBezTo>
                    <a:pt x="85537" y="17947"/>
                    <a:pt x="82562" y="20923"/>
                    <a:pt x="79587" y="17947"/>
                  </a:cubicBezTo>
                  <a:cubicBezTo>
                    <a:pt x="76611" y="17947"/>
                    <a:pt x="37934" y="96"/>
                    <a:pt x="14132" y="26873"/>
                  </a:cubicBezTo>
                  <a:cubicBezTo>
                    <a:pt x="11157" y="35799"/>
                    <a:pt x="11157" y="35799"/>
                    <a:pt x="8182" y="35799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9D5B8AA5-04F3-4BE4-89E3-CAF8C351C8D5}"/>
                </a:ext>
              </a:extLst>
            </p:cNvPr>
            <p:cNvSpPr/>
            <p:nvPr/>
          </p:nvSpPr>
          <p:spPr>
            <a:xfrm>
              <a:off x="7881543" y="2564090"/>
              <a:ext cx="90466" cy="34633"/>
            </a:xfrm>
            <a:custGeom>
              <a:avLst/>
              <a:gdLst>
                <a:gd name="connsiteX0" fmla="*/ 85260 w 90466"/>
                <a:gd name="connsiteY0" fmla="*/ 34633 h 34633"/>
                <a:gd name="connsiteX1" fmla="*/ 79310 w 90466"/>
                <a:gd name="connsiteY1" fmla="*/ 31658 h 34633"/>
                <a:gd name="connsiteX2" fmla="*/ 13855 w 90466"/>
                <a:gd name="connsiteY2" fmla="*/ 28683 h 34633"/>
                <a:gd name="connsiteX3" fmla="*/ 1954 w 90466"/>
                <a:gd name="connsiteY3" fmla="*/ 25708 h 34633"/>
                <a:gd name="connsiteX4" fmla="*/ 4929 w 90466"/>
                <a:gd name="connsiteY4" fmla="*/ 13807 h 34633"/>
                <a:gd name="connsiteX5" fmla="*/ 88235 w 90466"/>
                <a:gd name="connsiteY5" fmla="*/ 19757 h 34633"/>
                <a:gd name="connsiteX6" fmla="*/ 88235 w 90466"/>
                <a:gd name="connsiteY6" fmla="*/ 31658 h 34633"/>
                <a:gd name="connsiteX7" fmla="*/ 85260 w 90466"/>
                <a:gd name="connsiteY7" fmla="*/ 34633 h 34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466" h="34633">
                  <a:moveTo>
                    <a:pt x="85260" y="34633"/>
                  </a:moveTo>
                  <a:cubicBezTo>
                    <a:pt x="82285" y="34633"/>
                    <a:pt x="82285" y="34633"/>
                    <a:pt x="79310" y="31658"/>
                  </a:cubicBezTo>
                  <a:cubicBezTo>
                    <a:pt x="79310" y="31658"/>
                    <a:pt x="49557" y="4881"/>
                    <a:pt x="13855" y="28683"/>
                  </a:cubicBezTo>
                  <a:cubicBezTo>
                    <a:pt x="10880" y="31658"/>
                    <a:pt x="4929" y="31658"/>
                    <a:pt x="1954" y="25708"/>
                  </a:cubicBezTo>
                  <a:cubicBezTo>
                    <a:pt x="-1021" y="22732"/>
                    <a:pt x="-1021" y="16782"/>
                    <a:pt x="4929" y="13807"/>
                  </a:cubicBezTo>
                  <a:cubicBezTo>
                    <a:pt x="40632" y="-12970"/>
                    <a:pt x="76335" y="4881"/>
                    <a:pt x="88235" y="19757"/>
                  </a:cubicBezTo>
                  <a:cubicBezTo>
                    <a:pt x="91211" y="22732"/>
                    <a:pt x="91211" y="28683"/>
                    <a:pt x="88235" y="31658"/>
                  </a:cubicBezTo>
                  <a:cubicBezTo>
                    <a:pt x="91211" y="31658"/>
                    <a:pt x="88235" y="34633"/>
                    <a:pt x="85260" y="34633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D458DF54-0FE3-4DDD-9E2A-7CE391C22B3B}"/>
                </a:ext>
              </a:extLst>
            </p:cNvPr>
            <p:cNvSpPr/>
            <p:nvPr/>
          </p:nvSpPr>
          <p:spPr>
            <a:xfrm>
              <a:off x="7644596" y="2347977"/>
              <a:ext cx="260999" cy="259671"/>
            </a:xfrm>
            <a:custGeom>
              <a:avLst/>
              <a:gdLst>
                <a:gd name="connsiteX0" fmla="*/ 256752 w 260999"/>
                <a:gd name="connsiteY0" fmla="*/ 828 h 259671"/>
                <a:gd name="connsiteX1" fmla="*/ 227000 w 260999"/>
                <a:gd name="connsiteY1" fmla="*/ 125787 h 259671"/>
                <a:gd name="connsiteX2" fmla="*/ 884 w 260999"/>
                <a:gd name="connsiteY2" fmla="*/ 259671 h 259671"/>
                <a:gd name="connsiteX3" fmla="*/ 256752 w 260999"/>
                <a:gd name="connsiteY3" fmla="*/ 828 h 25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0999" h="259671">
                  <a:moveTo>
                    <a:pt x="256752" y="828"/>
                  </a:moveTo>
                  <a:cubicBezTo>
                    <a:pt x="256752" y="828"/>
                    <a:pt x="277579" y="87109"/>
                    <a:pt x="227000" y="125787"/>
                  </a:cubicBezTo>
                  <a:cubicBezTo>
                    <a:pt x="227000" y="125787"/>
                    <a:pt x="24686" y="176365"/>
                    <a:pt x="884" y="259671"/>
                  </a:cubicBezTo>
                  <a:cubicBezTo>
                    <a:pt x="884" y="259671"/>
                    <a:pt x="-28868" y="-17023"/>
                    <a:pt x="256752" y="828"/>
                  </a:cubicBezTo>
                  <a:close/>
                </a:path>
              </a:pathLst>
            </a:custGeom>
            <a:solidFill>
              <a:srgbClr val="664241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5DE1DC1D-E377-43A4-8945-0954AFA8B57D}"/>
                </a:ext>
              </a:extLst>
            </p:cNvPr>
            <p:cNvSpPr/>
            <p:nvPr/>
          </p:nvSpPr>
          <p:spPr>
            <a:xfrm>
              <a:off x="7871596" y="2348806"/>
              <a:ext cx="226514" cy="300216"/>
            </a:xfrm>
            <a:custGeom>
              <a:avLst/>
              <a:gdLst>
                <a:gd name="connsiteX0" fmla="*/ 0 w 226514"/>
                <a:gd name="connsiteY0" fmla="*/ 124959 h 300216"/>
                <a:gd name="connsiteX1" fmla="*/ 139835 w 226514"/>
                <a:gd name="connsiteY1" fmla="*/ 172562 h 300216"/>
                <a:gd name="connsiteX2" fmla="*/ 202314 w 226514"/>
                <a:gd name="connsiteY2" fmla="*/ 288595 h 300216"/>
                <a:gd name="connsiteX3" fmla="*/ 226116 w 226514"/>
                <a:gd name="connsiteY3" fmla="*/ 282645 h 300216"/>
                <a:gd name="connsiteX4" fmla="*/ 29752 w 226514"/>
                <a:gd name="connsiteY4" fmla="*/ 0 h 300216"/>
                <a:gd name="connsiteX5" fmla="*/ 0 w 226514"/>
                <a:gd name="connsiteY5" fmla="*/ 124959 h 30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6514" h="300216">
                  <a:moveTo>
                    <a:pt x="0" y="124959"/>
                  </a:moveTo>
                  <a:cubicBezTo>
                    <a:pt x="0" y="124959"/>
                    <a:pt x="89256" y="166612"/>
                    <a:pt x="139835" y="172562"/>
                  </a:cubicBezTo>
                  <a:cubicBezTo>
                    <a:pt x="190414" y="175537"/>
                    <a:pt x="202314" y="288595"/>
                    <a:pt x="202314" y="288595"/>
                  </a:cubicBezTo>
                  <a:cubicBezTo>
                    <a:pt x="202314" y="288595"/>
                    <a:pt x="223141" y="318347"/>
                    <a:pt x="226116" y="282645"/>
                  </a:cubicBezTo>
                  <a:cubicBezTo>
                    <a:pt x="229091" y="205289"/>
                    <a:pt x="220166" y="11901"/>
                    <a:pt x="29752" y="0"/>
                  </a:cubicBezTo>
                  <a:cubicBezTo>
                    <a:pt x="29752" y="0"/>
                    <a:pt x="23802" y="119008"/>
                    <a:pt x="0" y="124959"/>
                  </a:cubicBezTo>
                  <a:close/>
                </a:path>
              </a:pathLst>
            </a:custGeom>
            <a:solidFill>
              <a:srgbClr val="664241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45A754C1-BC45-4459-B216-82F690C551B5}"/>
                </a:ext>
              </a:extLst>
            </p:cNvPr>
            <p:cNvSpPr/>
            <p:nvPr/>
          </p:nvSpPr>
          <p:spPr>
            <a:xfrm>
              <a:off x="7612753" y="2515417"/>
              <a:ext cx="136859" cy="166611"/>
            </a:xfrm>
            <a:custGeom>
              <a:avLst/>
              <a:gdLst>
                <a:gd name="connsiteX0" fmla="*/ 5950 w 136859"/>
                <a:gd name="connsiteY0" fmla="*/ 166612 h 166611"/>
                <a:gd name="connsiteX1" fmla="*/ 5950 w 136859"/>
                <a:gd name="connsiteY1" fmla="*/ 166612 h 166611"/>
                <a:gd name="connsiteX2" fmla="*/ 0 w 136859"/>
                <a:gd name="connsiteY2" fmla="*/ 160661 h 166611"/>
                <a:gd name="connsiteX3" fmla="*/ 130909 w 136859"/>
                <a:gd name="connsiteY3" fmla="*/ 0 h 166611"/>
                <a:gd name="connsiteX4" fmla="*/ 136860 w 136859"/>
                <a:gd name="connsiteY4" fmla="*/ 2975 h 166611"/>
                <a:gd name="connsiteX5" fmla="*/ 133884 w 136859"/>
                <a:gd name="connsiteY5" fmla="*/ 8926 h 166611"/>
                <a:gd name="connsiteX6" fmla="*/ 11901 w 136859"/>
                <a:gd name="connsiteY6" fmla="*/ 160661 h 166611"/>
                <a:gd name="connsiteX7" fmla="*/ 5950 w 136859"/>
                <a:gd name="connsiteY7" fmla="*/ 166612 h 16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6859" h="166611">
                  <a:moveTo>
                    <a:pt x="5950" y="166612"/>
                  </a:moveTo>
                  <a:cubicBezTo>
                    <a:pt x="5950" y="166612"/>
                    <a:pt x="5950" y="166612"/>
                    <a:pt x="5950" y="166612"/>
                  </a:cubicBezTo>
                  <a:cubicBezTo>
                    <a:pt x="2975" y="166612"/>
                    <a:pt x="0" y="163636"/>
                    <a:pt x="0" y="160661"/>
                  </a:cubicBezTo>
                  <a:cubicBezTo>
                    <a:pt x="20826" y="35703"/>
                    <a:pt x="127934" y="0"/>
                    <a:pt x="130909" y="0"/>
                  </a:cubicBezTo>
                  <a:cubicBezTo>
                    <a:pt x="133884" y="0"/>
                    <a:pt x="136860" y="0"/>
                    <a:pt x="136860" y="2975"/>
                  </a:cubicBezTo>
                  <a:cubicBezTo>
                    <a:pt x="136860" y="5950"/>
                    <a:pt x="136860" y="8926"/>
                    <a:pt x="133884" y="8926"/>
                  </a:cubicBezTo>
                  <a:cubicBezTo>
                    <a:pt x="133884" y="8926"/>
                    <a:pt x="29752" y="41653"/>
                    <a:pt x="11901" y="160661"/>
                  </a:cubicBezTo>
                  <a:cubicBezTo>
                    <a:pt x="11901" y="166612"/>
                    <a:pt x="8926" y="166612"/>
                    <a:pt x="5950" y="166612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A5F6A20D-359E-4BA1-9B9D-F53E5BB25663}"/>
                </a:ext>
              </a:extLst>
            </p:cNvPr>
            <p:cNvSpPr/>
            <p:nvPr/>
          </p:nvSpPr>
          <p:spPr>
            <a:xfrm>
              <a:off x="7509365" y="2720706"/>
              <a:ext cx="85537" cy="184462"/>
            </a:xfrm>
            <a:custGeom>
              <a:avLst/>
              <a:gdLst>
                <a:gd name="connsiteX0" fmla="*/ 5206 w 85537"/>
                <a:gd name="connsiteY0" fmla="*/ 184463 h 184462"/>
                <a:gd name="connsiteX1" fmla="*/ 2232 w 85537"/>
                <a:gd name="connsiteY1" fmla="*/ 181488 h 184462"/>
                <a:gd name="connsiteX2" fmla="*/ 2232 w 85537"/>
                <a:gd name="connsiteY2" fmla="*/ 172562 h 184462"/>
                <a:gd name="connsiteX3" fmla="*/ 73636 w 85537"/>
                <a:gd name="connsiteY3" fmla="*/ 5950 h 184462"/>
                <a:gd name="connsiteX4" fmla="*/ 79587 w 85537"/>
                <a:gd name="connsiteY4" fmla="*/ 0 h 184462"/>
                <a:gd name="connsiteX5" fmla="*/ 85537 w 85537"/>
                <a:gd name="connsiteY5" fmla="*/ 5950 h 184462"/>
                <a:gd name="connsiteX6" fmla="*/ 14132 w 85537"/>
                <a:gd name="connsiteY6" fmla="*/ 175537 h 184462"/>
                <a:gd name="connsiteX7" fmla="*/ 5206 w 85537"/>
                <a:gd name="connsiteY7" fmla="*/ 184463 h 18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537" h="184462">
                  <a:moveTo>
                    <a:pt x="5206" y="184463"/>
                  </a:moveTo>
                  <a:cubicBezTo>
                    <a:pt x="5206" y="184463"/>
                    <a:pt x="2232" y="184463"/>
                    <a:pt x="2232" y="181488"/>
                  </a:cubicBezTo>
                  <a:cubicBezTo>
                    <a:pt x="-744" y="178512"/>
                    <a:pt x="-744" y="175537"/>
                    <a:pt x="2232" y="172562"/>
                  </a:cubicBezTo>
                  <a:cubicBezTo>
                    <a:pt x="52810" y="119008"/>
                    <a:pt x="70661" y="8926"/>
                    <a:pt x="73636" y="5950"/>
                  </a:cubicBezTo>
                  <a:cubicBezTo>
                    <a:pt x="73636" y="2975"/>
                    <a:pt x="76612" y="0"/>
                    <a:pt x="79587" y="0"/>
                  </a:cubicBezTo>
                  <a:cubicBezTo>
                    <a:pt x="82562" y="0"/>
                    <a:pt x="85537" y="2975"/>
                    <a:pt x="85537" y="5950"/>
                  </a:cubicBezTo>
                  <a:cubicBezTo>
                    <a:pt x="85537" y="11901"/>
                    <a:pt x="64711" y="121984"/>
                    <a:pt x="14132" y="175537"/>
                  </a:cubicBezTo>
                  <a:cubicBezTo>
                    <a:pt x="8182" y="184463"/>
                    <a:pt x="8182" y="184463"/>
                    <a:pt x="5206" y="184463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6126A41F-3D19-4F08-87E5-A552EECDCD2F}"/>
                </a:ext>
              </a:extLst>
            </p:cNvPr>
            <p:cNvSpPr/>
            <p:nvPr/>
          </p:nvSpPr>
          <p:spPr>
            <a:xfrm>
              <a:off x="7553993" y="2801037"/>
              <a:ext cx="68918" cy="124958"/>
            </a:xfrm>
            <a:custGeom>
              <a:avLst/>
              <a:gdLst>
                <a:gd name="connsiteX0" fmla="*/ 5206 w 68918"/>
                <a:gd name="connsiteY0" fmla="*/ 124959 h 124958"/>
                <a:gd name="connsiteX1" fmla="*/ 2232 w 68918"/>
                <a:gd name="connsiteY1" fmla="*/ 121983 h 124958"/>
                <a:gd name="connsiteX2" fmla="*/ 2232 w 68918"/>
                <a:gd name="connsiteY2" fmla="*/ 113058 h 124958"/>
                <a:gd name="connsiteX3" fmla="*/ 58760 w 68918"/>
                <a:gd name="connsiteY3" fmla="*/ 2975 h 124958"/>
                <a:gd name="connsiteX4" fmla="*/ 64711 w 68918"/>
                <a:gd name="connsiteY4" fmla="*/ 0 h 124958"/>
                <a:gd name="connsiteX5" fmla="*/ 67686 w 68918"/>
                <a:gd name="connsiteY5" fmla="*/ 5950 h 124958"/>
                <a:gd name="connsiteX6" fmla="*/ 5206 w 68918"/>
                <a:gd name="connsiteY6" fmla="*/ 121983 h 124958"/>
                <a:gd name="connsiteX7" fmla="*/ 5206 w 68918"/>
                <a:gd name="connsiteY7" fmla="*/ 124959 h 124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918" h="124958">
                  <a:moveTo>
                    <a:pt x="5206" y="124959"/>
                  </a:moveTo>
                  <a:cubicBezTo>
                    <a:pt x="2232" y="124959"/>
                    <a:pt x="2232" y="124959"/>
                    <a:pt x="2232" y="121983"/>
                  </a:cubicBezTo>
                  <a:cubicBezTo>
                    <a:pt x="-744" y="119008"/>
                    <a:pt x="-744" y="116033"/>
                    <a:pt x="2232" y="113058"/>
                  </a:cubicBezTo>
                  <a:cubicBezTo>
                    <a:pt x="31984" y="86281"/>
                    <a:pt x="58760" y="2975"/>
                    <a:pt x="58760" y="2975"/>
                  </a:cubicBezTo>
                  <a:cubicBezTo>
                    <a:pt x="58760" y="0"/>
                    <a:pt x="61736" y="0"/>
                    <a:pt x="64711" y="0"/>
                  </a:cubicBezTo>
                  <a:cubicBezTo>
                    <a:pt x="67686" y="0"/>
                    <a:pt x="70661" y="2975"/>
                    <a:pt x="67686" y="5950"/>
                  </a:cubicBezTo>
                  <a:cubicBezTo>
                    <a:pt x="67686" y="8926"/>
                    <a:pt x="40909" y="95207"/>
                    <a:pt x="5206" y="121983"/>
                  </a:cubicBezTo>
                  <a:cubicBezTo>
                    <a:pt x="8182" y="124959"/>
                    <a:pt x="8182" y="124959"/>
                    <a:pt x="5206" y="124959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D297EB22-FA0F-49F3-AD14-930DBA0C2143}"/>
                </a:ext>
              </a:extLst>
            </p:cNvPr>
            <p:cNvSpPr/>
            <p:nvPr/>
          </p:nvSpPr>
          <p:spPr>
            <a:xfrm>
              <a:off x="7776389" y="2855334"/>
              <a:ext cx="213471" cy="85537"/>
            </a:xfrm>
            <a:custGeom>
              <a:avLst/>
              <a:gdLst>
                <a:gd name="connsiteX0" fmla="*/ 71405 w 213471"/>
                <a:gd name="connsiteY0" fmla="*/ 85537 h 85537"/>
                <a:gd name="connsiteX1" fmla="*/ 62480 w 213471"/>
                <a:gd name="connsiteY1" fmla="*/ 85537 h 85537"/>
                <a:gd name="connsiteX2" fmla="*/ 2975 w 213471"/>
                <a:gd name="connsiteY2" fmla="*/ 64711 h 85537"/>
                <a:gd name="connsiteX3" fmla="*/ 0 w 213471"/>
                <a:gd name="connsiteY3" fmla="*/ 55785 h 85537"/>
                <a:gd name="connsiteX4" fmla="*/ 8926 w 213471"/>
                <a:gd name="connsiteY4" fmla="*/ 52810 h 85537"/>
                <a:gd name="connsiteX5" fmla="*/ 65454 w 213471"/>
                <a:gd name="connsiteY5" fmla="*/ 70661 h 85537"/>
                <a:gd name="connsiteX6" fmla="*/ 71405 w 213471"/>
                <a:gd name="connsiteY6" fmla="*/ 70661 h 85537"/>
                <a:gd name="connsiteX7" fmla="*/ 202314 w 213471"/>
                <a:gd name="connsiteY7" fmla="*/ 2231 h 85537"/>
                <a:gd name="connsiteX8" fmla="*/ 211240 w 213471"/>
                <a:gd name="connsiteY8" fmla="*/ 2231 h 85537"/>
                <a:gd name="connsiteX9" fmla="*/ 211240 w 213471"/>
                <a:gd name="connsiteY9" fmla="*/ 11157 h 85537"/>
                <a:gd name="connsiteX10" fmla="*/ 71405 w 213471"/>
                <a:gd name="connsiteY10" fmla="*/ 85537 h 85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3471" h="85537">
                  <a:moveTo>
                    <a:pt x="71405" y="85537"/>
                  </a:moveTo>
                  <a:cubicBezTo>
                    <a:pt x="68430" y="85537"/>
                    <a:pt x="65454" y="85537"/>
                    <a:pt x="62480" y="85537"/>
                  </a:cubicBezTo>
                  <a:cubicBezTo>
                    <a:pt x="41653" y="82562"/>
                    <a:pt x="20826" y="76612"/>
                    <a:pt x="2975" y="64711"/>
                  </a:cubicBezTo>
                  <a:cubicBezTo>
                    <a:pt x="0" y="61736"/>
                    <a:pt x="0" y="58760"/>
                    <a:pt x="0" y="55785"/>
                  </a:cubicBezTo>
                  <a:cubicBezTo>
                    <a:pt x="2975" y="52810"/>
                    <a:pt x="5950" y="52810"/>
                    <a:pt x="8926" y="52810"/>
                  </a:cubicBezTo>
                  <a:cubicBezTo>
                    <a:pt x="26777" y="64711"/>
                    <a:pt x="44628" y="70661"/>
                    <a:pt x="65454" y="70661"/>
                  </a:cubicBezTo>
                  <a:cubicBezTo>
                    <a:pt x="68430" y="70661"/>
                    <a:pt x="71405" y="70661"/>
                    <a:pt x="71405" y="70661"/>
                  </a:cubicBezTo>
                  <a:cubicBezTo>
                    <a:pt x="130909" y="70661"/>
                    <a:pt x="199339" y="2231"/>
                    <a:pt x="202314" y="2231"/>
                  </a:cubicBezTo>
                  <a:cubicBezTo>
                    <a:pt x="205290" y="-744"/>
                    <a:pt x="208264" y="-744"/>
                    <a:pt x="211240" y="2231"/>
                  </a:cubicBezTo>
                  <a:cubicBezTo>
                    <a:pt x="214215" y="5207"/>
                    <a:pt x="214215" y="8182"/>
                    <a:pt x="211240" y="11157"/>
                  </a:cubicBezTo>
                  <a:cubicBezTo>
                    <a:pt x="205290" y="17107"/>
                    <a:pt x="133884" y="85537"/>
                    <a:pt x="71405" y="85537"/>
                  </a:cubicBezTo>
                  <a:close/>
                </a:path>
              </a:pathLst>
            </a:custGeom>
            <a:solidFill>
              <a:srgbClr val="E58777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2" name="图形 1">
              <a:extLst>
                <a:ext uri="{FF2B5EF4-FFF2-40B4-BE49-F238E27FC236}">
                  <a16:creationId xmlns:a16="http://schemas.microsoft.com/office/drawing/2014/main" id="{DBCC3E69-EC3B-4908-9F60-A59751869900}"/>
                </a:ext>
              </a:extLst>
            </p:cNvPr>
            <p:cNvGrpSpPr/>
            <p:nvPr/>
          </p:nvGrpSpPr>
          <p:grpSpPr>
            <a:xfrm>
              <a:off x="3101774" y="1884536"/>
              <a:ext cx="732466" cy="309558"/>
              <a:chOff x="3101774" y="1884536"/>
              <a:chExt cx="732466" cy="309558"/>
            </a:xfrm>
          </p:grpSpPr>
          <p:grpSp>
            <p:nvGrpSpPr>
              <p:cNvPr id="83" name="图形 1">
                <a:extLst>
                  <a:ext uri="{FF2B5EF4-FFF2-40B4-BE49-F238E27FC236}">
                    <a16:creationId xmlns:a16="http://schemas.microsoft.com/office/drawing/2014/main" id="{DBCC3E69-EC3B-4908-9F60-A59751869900}"/>
                  </a:ext>
                </a:extLst>
              </p:cNvPr>
              <p:cNvGrpSpPr/>
              <p:nvPr/>
            </p:nvGrpSpPr>
            <p:grpSpPr>
              <a:xfrm>
                <a:off x="3101774" y="1884536"/>
                <a:ext cx="732466" cy="306315"/>
                <a:chOff x="3101774" y="1884536"/>
                <a:chExt cx="732466" cy="306315"/>
              </a:xfrm>
            </p:grpSpPr>
            <p:sp>
              <p:nvSpPr>
                <p:cNvPr id="84" name="任意多边形: 形状 83">
                  <a:extLst>
                    <a:ext uri="{FF2B5EF4-FFF2-40B4-BE49-F238E27FC236}">
                      <a16:creationId xmlns:a16="http://schemas.microsoft.com/office/drawing/2014/main" id="{8866B7CD-7AB6-4714-9E6F-A3D74D911D8A}"/>
                    </a:ext>
                  </a:extLst>
                </p:cNvPr>
                <p:cNvSpPr/>
                <p:nvPr/>
              </p:nvSpPr>
              <p:spPr>
                <a:xfrm>
                  <a:off x="3254075" y="1884536"/>
                  <a:ext cx="580165" cy="306315"/>
                </a:xfrm>
                <a:custGeom>
                  <a:avLst/>
                  <a:gdLst>
                    <a:gd name="connsiteX0" fmla="*/ 413554 w 580165"/>
                    <a:gd name="connsiteY0" fmla="*/ 17989 h 306315"/>
                    <a:gd name="connsiteX1" fmla="*/ 2975 w 580165"/>
                    <a:gd name="connsiteY1" fmla="*/ 131046 h 306315"/>
                    <a:gd name="connsiteX2" fmla="*/ 0 w 580165"/>
                    <a:gd name="connsiteY2" fmla="*/ 139972 h 306315"/>
                    <a:gd name="connsiteX3" fmla="*/ 71405 w 580165"/>
                    <a:gd name="connsiteY3" fmla="*/ 196501 h 306315"/>
                    <a:gd name="connsiteX4" fmla="*/ 50579 w 580165"/>
                    <a:gd name="connsiteY4" fmla="*/ 276832 h 306315"/>
                    <a:gd name="connsiteX5" fmla="*/ 50579 w 580165"/>
                    <a:gd name="connsiteY5" fmla="*/ 282782 h 306315"/>
                    <a:gd name="connsiteX6" fmla="*/ 56529 w 580165"/>
                    <a:gd name="connsiteY6" fmla="*/ 285757 h 306315"/>
                    <a:gd name="connsiteX7" fmla="*/ 371901 w 580165"/>
                    <a:gd name="connsiteY7" fmla="*/ 303608 h 306315"/>
                    <a:gd name="connsiteX8" fmla="*/ 574215 w 580165"/>
                    <a:gd name="connsiteY8" fmla="*/ 264931 h 306315"/>
                    <a:gd name="connsiteX9" fmla="*/ 580165 w 580165"/>
                    <a:gd name="connsiteY9" fmla="*/ 258980 h 306315"/>
                    <a:gd name="connsiteX10" fmla="*/ 413554 w 580165"/>
                    <a:gd name="connsiteY10" fmla="*/ 17989 h 306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80165" h="306315">
                      <a:moveTo>
                        <a:pt x="413554" y="17989"/>
                      </a:moveTo>
                      <a:cubicBezTo>
                        <a:pt x="261818" y="-26640"/>
                        <a:pt x="110083" y="12038"/>
                        <a:pt x="2975" y="131046"/>
                      </a:cubicBezTo>
                      <a:cubicBezTo>
                        <a:pt x="0" y="134022"/>
                        <a:pt x="0" y="136997"/>
                        <a:pt x="0" y="139972"/>
                      </a:cubicBezTo>
                      <a:cubicBezTo>
                        <a:pt x="0" y="142947"/>
                        <a:pt x="20826" y="187575"/>
                        <a:pt x="71405" y="196501"/>
                      </a:cubicBezTo>
                      <a:cubicBezTo>
                        <a:pt x="56529" y="235179"/>
                        <a:pt x="50579" y="273856"/>
                        <a:pt x="50579" y="276832"/>
                      </a:cubicBezTo>
                      <a:cubicBezTo>
                        <a:pt x="50579" y="279807"/>
                        <a:pt x="50579" y="279807"/>
                        <a:pt x="50579" y="282782"/>
                      </a:cubicBezTo>
                      <a:cubicBezTo>
                        <a:pt x="50579" y="285757"/>
                        <a:pt x="53554" y="285757"/>
                        <a:pt x="56529" y="285757"/>
                      </a:cubicBezTo>
                      <a:cubicBezTo>
                        <a:pt x="187438" y="306584"/>
                        <a:pt x="291570" y="309559"/>
                        <a:pt x="371901" y="303608"/>
                      </a:cubicBezTo>
                      <a:cubicBezTo>
                        <a:pt x="502810" y="294683"/>
                        <a:pt x="568264" y="264931"/>
                        <a:pt x="574215" y="264931"/>
                      </a:cubicBezTo>
                      <a:cubicBezTo>
                        <a:pt x="577190" y="264931"/>
                        <a:pt x="580165" y="261955"/>
                        <a:pt x="580165" y="258980"/>
                      </a:cubicBezTo>
                      <a:cubicBezTo>
                        <a:pt x="577190" y="253030"/>
                        <a:pt x="583140" y="68567"/>
                        <a:pt x="413554" y="1798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: 形状 84">
                  <a:extLst>
                    <a:ext uri="{FF2B5EF4-FFF2-40B4-BE49-F238E27FC236}">
                      <a16:creationId xmlns:a16="http://schemas.microsoft.com/office/drawing/2014/main" id="{B190D8EA-581A-4925-9374-E9C0ED614425}"/>
                    </a:ext>
                  </a:extLst>
                </p:cNvPr>
                <p:cNvSpPr/>
                <p:nvPr/>
              </p:nvSpPr>
              <p:spPr>
                <a:xfrm>
                  <a:off x="3107724" y="1913858"/>
                  <a:ext cx="205855" cy="202880"/>
                </a:xfrm>
                <a:custGeom>
                  <a:avLst/>
                  <a:gdLst>
                    <a:gd name="connsiteX0" fmla="*/ 182054 w 205855"/>
                    <a:gd name="connsiteY0" fmla="*/ 36269 h 202880"/>
                    <a:gd name="connsiteX1" fmla="*/ 113624 w 205855"/>
                    <a:gd name="connsiteY1" fmla="*/ 567 h 202880"/>
                    <a:gd name="connsiteX2" fmla="*/ 566 w 205855"/>
                    <a:gd name="connsiteY2" fmla="*/ 89823 h 202880"/>
                    <a:gd name="connsiteX3" fmla="*/ 92798 w 205855"/>
                    <a:gd name="connsiteY3" fmla="*/ 202881 h 202880"/>
                    <a:gd name="connsiteX4" fmla="*/ 110649 w 205855"/>
                    <a:gd name="connsiteY4" fmla="*/ 202881 h 202880"/>
                    <a:gd name="connsiteX5" fmla="*/ 170153 w 205855"/>
                    <a:gd name="connsiteY5" fmla="*/ 179079 h 202880"/>
                    <a:gd name="connsiteX6" fmla="*/ 205855 w 205855"/>
                    <a:gd name="connsiteY6" fmla="*/ 110650 h 202880"/>
                    <a:gd name="connsiteX7" fmla="*/ 182054 w 205855"/>
                    <a:gd name="connsiteY7" fmla="*/ 36269 h 202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5855" h="202880">
                      <a:moveTo>
                        <a:pt x="182054" y="36269"/>
                      </a:moveTo>
                      <a:cubicBezTo>
                        <a:pt x="164202" y="15443"/>
                        <a:pt x="140401" y="567"/>
                        <a:pt x="113624" y="567"/>
                      </a:cubicBezTo>
                      <a:cubicBezTo>
                        <a:pt x="57095" y="-5384"/>
                        <a:pt x="6517" y="36269"/>
                        <a:pt x="566" y="89823"/>
                      </a:cubicBezTo>
                      <a:cubicBezTo>
                        <a:pt x="-5384" y="146352"/>
                        <a:pt x="36269" y="196931"/>
                        <a:pt x="92798" y="202881"/>
                      </a:cubicBezTo>
                      <a:cubicBezTo>
                        <a:pt x="98748" y="202881"/>
                        <a:pt x="104698" y="202881"/>
                        <a:pt x="110649" y="202881"/>
                      </a:cubicBezTo>
                      <a:cubicBezTo>
                        <a:pt x="131475" y="202881"/>
                        <a:pt x="152302" y="193955"/>
                        <a:pt x="170153" y="179079"/>
                      </a:cubicBezTo>
                      <a:cubicBezTo>
                        <a:pt x="190979" y="161228"/>
                        <a:pt x="205855" y="137426"/>
                        <a:pt x="205855" y="110650"/>
                      </a:cubicBezTo>
                      <a:cubicBezTo>
                        <a:pt x="205855" y="83873"/>
                        <a:pt x="196930" y="57096"/>
                        <a:pt x="182054" y="3626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: 形状 85">
                  <a:extLst>
                    <a:ext uri="{FF2B5EF4-FFF2-40B4-BE49-F238E27FC236}">
                      <a16:creationId xmlns:a16="http://schemas.microsoft.com/office/drawing/2014/main" id="{514A7B54-8C02-4EC4-8F74-94C3D827E66E}"/>
                    </a:ext>
                  </a:extLst>
                </p:cNvPr>
                <p:cNvSpPr/>
                <p:nvPr/>
              </p:nvSpPr>
              <p:spPr>
                <a:xfrm>
                  <a:off x="3101774" y="1907911"/>
                  <a:ext cx="215344" cy="214778"/>
                </a:xfrm>
                <a:custGeom>
                  <a:avLst/>
                  <a:gdLst>
                    <a:gd name="connsiteX0" fmla="*/ 107673 w 215344"/>
                    <a:gd name="connsiteY0" fmla="*/ 214779 h 214778"/>
                    <a:gd name="connsiteX1" fmla="*/ 95772 w 215344"/>
                    <a:gd name="connsiteY1" fmla="*/ 214779 h 214778"/>
                    <a:gd name="connsiteX2" fmla="*/ 565 w 215344"/>
                    <a:gd name="connsiteY2" fmla="*/ 95770 h 214778"/>
                    <a:gd name="connsiteX3" fmla="*/ 39243 w 215344"/>
                    <a:gd name="connsiteY3" fmla="*/ 24365 h 214778"/>
                    <a:gd name="connsiteX4" fmla="*/ 119574 w 215344"/>
                    <a:gd name="connsiteY4" fmla="*/ 564 h 214778"/>
                    <a:gd name="connsiteX5" fmla="*/ 190979 w 215344"/>
                    <a:gd name="connsiteY5" fmla="*/ 39241 h 214778"/>
                    <a:gd name="connsiteX6" fmla="*/ 190979 w 215344"/>
                    <a:gd name="connsiteY6" fmla="*/ 39241 h 214778"/>
                    <a:gd name="connsiteX7" fmla="*/ 214780 w 215344"/>
                    <a:gd name="connsiteY7" fmla="*/ 119572 h 214778"/>
                    <a:gd name="connsiteX8" fmla="*/ 176103 w 215344"/>
                    <a:gd name="connsiteY8" fmla="*/ 190977 h 214778"/>
                    <a:gd name="connsiteX9" fmla="*/ 113623 w 215344"/>
                    <a:gd name="connsiteY9" fmla="*/ 214779 h 214778"/>
                    <a:gd name="connsiteX10" fmla="*/ 107673 w 215344"/>
                    <a:gd name="connsiteY10" fmla="*/ 214779 h 214778"/>
                    <a:gd name="connsiteX11" fmla="*/ 107673 w 215344"/>
                    <a:gd name="connsiteY11" fmla="*/ 9489 h 214778"/>
                    <a:gd name="connsiteX12" fmla="*/ 48169 w 215344"/>
                    <a:gd name="connsiteY12" fmla="*/ 30316 h 214778"/>
                    <a:gd name="connsiteX13" fmla="*/ 12466 w 215344"/>
                    <a:gd name="connsiteY13" fmla="*/ 95770 h 214778"/>
                    <a:gd name="connsiteX14" fmla="*/ 98747 w 215344"/>
                    <a:gd name="connsiteY14" fmla="*/ 202878 h 214778"/>
                    <a:gd name="connsiteX15" fmla="*/ 113623 w 215344"/>
                    <a:gd name="connsiteY15" fmla="*/ 202878 h 214778"/>
                    <a:gd name="connsiteX16" fmla="*/ 170152 w 215344"/>
                    <a:gd name="connsiteY16" fmla="*/ 182051 h 214778"/>
                    <a:gd name="connsiteX17" fmla="*/ 205855 w 215344"/>
                    <a:gd name="connsiteY17" fmla="*/ 116597 h 214778"/>
                    <a:gd name="connsiteX18" fmla="*/ 185028 w 215344"/>
                    <a:gd name="connsiteY18" fmla="*/ 45192 h 214778"/>
                    <a:gd name="connsiteX19" fmla="*/ 119574 w 215344"/>
                    <a:gd name="connsiteY19" fmla="*/ 9489 h 214778"/>
                    <a:gd name="connsiteX20" fmla="*/ 107673 w 215344"/>
                    <a:gd name="connsiteY20" fmla="*/ 9489 h 214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15344" h="214778">
                      <a:moveTo>
                        <a:pt x="107673" y="214779"/>
                      </a:moveTo>
                      <a:cubicBezTo>
                        <a:pt x="104698" y="214779"/>
                        <a:pt x="101722" y="214779"/>
                        <a:pt x="95772" y="214779"/>
                      </a:cubicBezTo>
                      <a:cubicBezTo>
                        <a:pt x="36268" y="208828"/>
                        <a:pt x="-5385" y="155275"/>
                        <a:pt x="565" y="95770"/>
                      </a:cubicBezTo>
                      <a:cubicBezTo>
                        <a:pt x="3541" y="66018"/>
                        <a:pt x="18417" y="42217"/>
                        <a:pt x="39243" y="24365"/>
                      </a:cubicBezTo>
                      <a:cubicBezTo>
                        <a:pt x="63045" y="6514"/>
                        <a:pt x="89821" y="-2411"/>
                        <a:pt x="119574" y="564"/>
                      </a:cubicBezTo>
                      <a:cubicBezTo>
                        <a:pt x="149326" y="3539"/>
                        <a:pt x="173127" y="18415"/>
                        <a:pt x="190979" y="39241"/>
                      </a:cubicBezTo>
                      <a:lnTo>
                        <a:pt x="190979" y="39241"/>
                      </a:lnTo>
                      <a:cubicBezTo>
                        <a:pt x="208830" y="60068"/>
                        <a:pt x="217755" y="89820"/>
                        <a:pt x="214780" y="119572"/>
                      </a:cubicBezTo>
                      <a:cubicBezTo>
                        <a:pt x="211805" y="149324"/>
                        <a:pt x="196929" y="173126"/>
                        <a:pt x="176103" y="190977"/>
                      </a:cubicBezTo>
                      <a:cubicBezTo>
                        <a:pt x="158251" y="205853"/>
                        <a:pt x="137425" y="214779"/>
                        <a:pt x="113623" y="214779"/>
                      </a:cubicBezTo>
                      <a:cubicBezTo>
                        <a:pt x="113623" y="214779"/>
                        <a:pt x="110648" y="214779"/>
                        <a:pt x="107673" y="214779"/>
                      </a:cubicBezTo>
                      <a:close/>
                      <a:moveTo>
                        <a:pt x="107673" y="9489"/>
                      </a:moveTo>
                      <a:cubicBezTo>
                        <a:pt x="86846" y="9489"/>
                        <a:pt x="63045" y="18415"/>
                        <a:pt x="48169" y="30316"/>
                      </a:cubicBezTo>
                      <a:cubicBezTo>
                        <a:pt x="27342" y="48167"/>
                        <a:pt x="15441" y="68994"/>
                        <a:pt x="12466" y="95770"/>
                      </a:cubicBezTo>
                      <a:cubicBezTo>
                        <a:pt x="6516" y="149324"/>
                        <a:pt x="45193" y="196927"/>
                        <a:pt x="98747" y="202878"/>
                      </a:cubicBezTo>
                      <a:cubicBezTo>
                        <a:pt x="104698" y="202878"/>
                        <a:pt x="110648" y="202878"/>
                        <a:pt x="113623" y="202878"/>
                      </a:cubicBezTo>
                      <a:cubicBezTo>
                        <a:pt x="134450" y="202878"/>
                        <a:pt x="152301" y="193952"/>
                        <a:pt x="170152" y="182051"/>
                      </a:cubicBezTo>
                      <a:cubicBezTo>
                        <a:pt x="190979" y="164200"/>
                        <a:pt x="202879" y="143374"/>
                        <a:pt x="205855" y="116597"/>
                      </a:cubicBezTo>
                      <a:cubicBezTo>
                        <a:pt x="208830" y="89820"/>
                        <a:pt x="199904" y="66018"/>
                        <a:pt x="185028" y="45192"/>
                      </a:cubicBezTo>
                      <a:cubicBezTo>
                        <a:pt x="167177" y="24365"/>
                        <a:pt x="146350" y="12465"/>
                        <a:pt x="119574" y="9489"/>
                      </a:cubicBezTo>
                      <a:cubicBezTo>
                        <a:pt x="113623" y="9489"/>
                        <a:pt x="110648" y="9489"/>
                        <a:pt x="107673" y="9489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99AC5748-4F7A-4842-96F0-ECDFA953C2B0}"/>
                  </a:ext>
                </a:extLst>
              </p:cNvPr>
              <p:cNvSpPr/>
              <p:nvPr/>
            </p:nvSpPr>
            <p:spPr>
              <a:xfrm>
                <a:off x="3319530" y="2075087"/>
                <a:ext cx="511735" cy="56528"/>
              </a:xfrm>
              <a:custGeom>
                <a:avLst/>
                <a:gdLst>
                  <a:gd name="connsiteX0" fmla="*/ 220165 w 511735"/>
                  <a:gd name="connsiteY0" fmla="*/ 56529 h 56528"/>
                  <a:gd name="connsiteX1" fmla="*/ 0 w 511735"/>
                  <a:gd name="connsiteY1" fmla="*/ 41653 h 56528"/>
                  <a:gd name="connsiteX2" fmla="*/ 2975 w 511735"/>
                  <a:gd name="connsiteY2" fmla="*/ 29752 h 56528"/>
                  <a:gd name="connsiteX3" fmla="*/ 505785 w 511735"/>
                  <a:gd name="connsiteY3" fmla="*/ 0 h 56528"/>
                  <a:gd name="connsiteX4" fmla="*/ 511735 w 511735"/>
                  <a:gd name="connsiteY4" fmla="*/ 8926 h 56528"/>
                  <a:gd name="connsiteX5" fmla="*/ 220165 w 511735"/>
                  <a:gd name="connsiteY5" fmla="*/ 56529 h 56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1735" h="56528">
                    <a:moveTo>
                      <a:pt x="220165" y="56529"/>
                    </a:moveTo>
                    <a:cubicBezTo>
                      <a:pt x="101157" y="56529"/>
                      <a:pt x="2975" y="41653"/>
                      <a:pt x="0" y="41653"/>
                    </a:cubicBezTo>
                    <a:lnTo>
                      <a:pt x="2975" y="29752"/>
                    </a:lnTo>
                    <a:cubicBezTo>
                      <a:pt x="5950" y="29752"/>
                      <a:pt x="339174" y="77355"/>
                      <a:pt x="505785" y="0"/>
                    </a:cubicBezTo>
                    <a:lnTo>
                      <a:pt x="511735" y="8926"/>
                    </a:lnTo>
                    <a:cubicBezTo>
                      <a:pt x="431405" y="44628"/>
                      <a:pt x="318347" y="56529"/>
                      <a:pt x="220165" y="56529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91F5BD23-D3F2-4290-8F4A-836CC67A037C}"/>
                  </a:ext>
                </a:extLst>
              </p:cNvPr>
              <p:cNvSpPr/>
              <p:nvPr/>
            </p:nvSpPr>
            <p:spPr>
              <a:xfrm>
                <a:off x="3301487" y="2048310"/>
                <a:ext cx="529777" cy="145785"/>
              </a:xfrm>
              <a:custGeom>
                <a:avLst/>
                <a:gdLst>
                  <a:gd name="connsiteX0" fmla="*/ 226307 w 529777"/>
                  <a:gd name="connsiteY0" fmla="*/ 145785 h 145785"/>
                  <a:gd name="connsiteX1" fmla="*/ 3166 w 529777"/>
                  <a:gd name="connsiteY1" fmla="*/ 121983 h 145785"/>
                  <a:gd name="connsiteX2" fmla="*/ 191 w 529777"/>
                  <a:gd name="connsiteY2" fmla="*/ 121983 h 145785"/>
                  <a:gd name="connsiteX3" fmla="*/ 191 w 529777"/>
                  <a:gd name="connsiteY3" fmla="*/ 119008 h 145785"/>
                  <a:gd name="connsiteX4" fmla="*/ 29943 w 529777"/>
                  <a:gd name="connsiteY4" fmla="*/ 2975 h 145785"/>
                  <a:gd name="connsiteX5" fmla="*/ 35894 w 529777"/>
                  <a:gd name="connsiteY5" fmla="*/ 0 h 145785"/>
                  <a:gd name="connsiteX6" fmla="*/ 38869 w 529777"/>
                  <a:gd name="connsiteY6" fmla="*/ 5950 h 145785"/>
                  <a:gd name="connsiteX7" fmla="*/ 9117 w 529777"/>
                  <a:gd name="connsiteY7" fmla="*/ 113058 h 145785"/>
                  <a:gd name="connsiteX8" fmla="*/ 523828 w 529777"/>
                  <a:gd name="connsiteY8" fmla="*/ 95207 h 145785"/>
                  <a:gd name="connsiteX9" fmla="*/ 529778 w 529777"/>
                  <a:gd name="connsiteY9" fmla="*/ 98182 h 145785"/>
                  <a:gd name="connsiteX10" fmla="*/ 526803 w 529777"/>
                  <a:gd name="connsiteY10" fmla="*/ 104132 h 145785"/>
                  <a:gd name="connsiteX11" fmla="*/ 226307 w 529777"/>
                  <a:gd name="connsiteY11" fmla="*/ 145785 h 145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9777" h="145785">
                    <a:moveTo>
                      <a:pt x="226307" y="145785"/>
                    </a:moveTo>
                    <a:cubicBezTo>
                      <a:pt x="92423" y="145785"/>
                      <a:pt x="6142" y="121983"/>
                      <a:pt x="3166" y="121983"/>
                    </a:cubicBezTo>
                    <a:lnTo>
                      <a:pt x="191" y="121983"/>
                    </a:lnTo>
                    <a:lnTo>
                      <a:pt x="191" y="119008"/>
                    </a:lnTo>
                    <a:cubicBezTo>
                      <a:pt x="-2784" y="83306"/>
                      <a:pt x="29943" y="5950"/>
                      <a:pt x="29943" y="2975"/>
                    </a:cubicBezTo>
                    <a:cubicBezTo>
                      <a:pt x="29943" y="0"/>
                      <a:pt x="32919" y="0"/>
                      <a:pt x="35894" y="0"/>
                    </a:cubicBezTo>
                    <a:cubicBezTo>
                      <a:pt x="38869" y="0"/>
                      <a:pt x="38869" y="2975"/>
                      <a:pt x="38869" y="5950"/>
                    </a:cubicBezTo>
                    <a:cubicBezTo>
                      <a:pt x="38869" y="5950"/>
                      <a:pt x="9117" y="80331"/>
                      <a:pt x="9117" y="113058"/>
                    </a:cubicBezTo>
                    <a:cubicBezTo>
                      <a:pt x="38869" y="121983"/>
                      <a:pt x="256059" y="172562"/>
                      <a:pt x="523828" y="95207"/>
                    </a:cubicBezTo>
                    <a:cubicBezTo>
                      <a:pt x="526803" y="95207"/>
                      <a:pt x="529778" y="95207"/>
                      <a:pt x="529778" y="98182"/>
                    </a:cubicBezTo>
                    <a:cubicBezTo>
                      <a:pt x="529778" y="101157"/>
                      <a:pt x="529778" y="104132"/>
                      <a:pt x="526803" y="104132"/>
                    </a:cubicBezTo>
                    <a:cubicBezTo>
                      <a:pt x="413745" y="136859"/>
                      <a:pt x="309613" y="145785"/>
                      <a:pt x="226307" y="14578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6F4B7205-8D18-4A14-8C3F-50C3CD7A7EA8}"/>
                </a:ext>
              </a:extLst>
            </p:cNvPr>
            <p:cNvSpPr/>
            <p:nvPr/>
          </p:nvSpPr>
          <p:spPr>
            <a:xfrm>
              <a:off x="3367713" y="2610521"/>
              <a:ext cx="389172" cy="128780"/>
            </a:xfrm>
            <a:custGeom>
              <a:avLst/>
              <a:gdLst>
                <a:gd name="connsiteX0" fmla="*/ 389172 w 389172"/>
                <a:gd name="connsiteY0" fmla="*/ 74483 h 128780"/>
                <a:gd name="connsiteX1" fmla="*/ 368346 w 389172"/>
                <a:gd name="connsiteY1" fmla="*/ 9028 h 128780"/>
                <a:gd name="connsiteX2" fmla="*/ 356445 w 389172"/>
                <a:gd name="connsiteY2" fmla="*/ 3078 h 128780"/>
                <a:gd name="connsiteX3" fmla="*/ 47023 w 389172"/>
                <a:gd name="connsiteY3" fmla="*/ 103 h 128780"/>
                <a:gd name="connsiteX4" fmla="*/ 2395 w 389172"/>
                <a:gd name="connsiteY4" fmla="*/ 74483 h 128780"/>
                <a:gd name="connsiteX5" fmla="*/ 11321 w 389172"/>
                <a:gd name="connsiteY5" fmla="*/ 95309 h 128780"/>
                <a:gd name="connsiteX6" fmla="*/ 383222 w 389172"/>
                <a:gd name="connsiteY6" fmla="*/ 95309 h 128780"/>
                <a:gd name="connsiteX7" fmla="*/ 389172 w 389172"/>
                <a:gd name="connsiteY7" fmla="*/ 74483 h 128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9172" h="128780">
                  <a:moveTo>
                    <a:pt x="389172" y="74483"/>
                  </a:moveTo>
                  <a:cubicBezTo>
                    <a:pt x="383222" y="50681"/>
                    <a:pt x="377271" y="29855"/>
                    <a:pt x="368346" y="9028"/>
                  </a:cubicBezTo>
                  <a:cubicBezTo>
                    <a:pt x="365370" y="6053"/>
                    <a:pt x="359420" y="103"/>
                    <a:pt x="356445" y="3078"/>
                  </a:cubicBezTo>
                  <a:cubicBezTo>
                    <a:pt x="252313" y="17954"/>
                    <a:pt x="148180" y="29855"/>
                    <a:pt x="47023" y="103"/>
                  </a:cubicBezTo>
                  <a:cubicBezTo>
                    <a:pt x="35123" y="-2872"/>
                    <a:pt x="11321" y="59607"/>
                    <a:pt x="2395" y="74483"/>
                  </a:cubicBezTo>
                  <a:cubicBezTo>
                    <a:pt x="-3555" y="83409"/>
                    <a:pt x="2395" y="92334"/>
                    <a:pt x="11321" y="95309"/>
                  </a:cubicBezTo>
                  <a:cubicBezTo>
                    <a:pt x="133304" y="139937"/>
                    <a:pt x="261238" y="139937"/>
                    <a:pt x="383222" y="95309"/>
                  </a:cubicBezTo>
                  <a:cubicBezTo>
                    <a:pt x="386197" y="89359"/>
                    <a:pt x="389172" y="83409"/>
                    <a:pt x="389172" y="74483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0" name="图形 1">
              <a:extLst>
                <a:ext uri="{FF2B5EF4-FFF2-40B4-BE49-F238E27FC236}">
                  <a16:creationId xmlns:a16="http://schemas.microsoft.com/office/drawing/2014/main" id="{DBCC3E69-EC3B-4908-9F60-A59751869900}"/>
                </a:ext>
              </a:extLst>
            </p:cNvPr>
            <p:cNvGrpSpPr/>
            <p:nvPr/>
          </p:nvGrpSpPr>
          <p:grpSpPr>
            <a:xfrm>
              <a:off x="3393136" y="2604118"/>
              <a:ext cx="385989" cy="883611"/>
              <a:chOff x="3393136" y="2604118"/>
              <a:chExt cx="385989" cy="883611"/>
            </a:xfrm>
          </p:grpSpPr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BAC85E4C-88B2-4376-8A5C-BBE76839C867}"/>
                  </a:ext>
                </a:extLst>
              </p:cNvPr>
              <p:cNvSpPr/>
              <p:nvPr/>
            </p:nvSpPr>
            <p:spPr>
              <a:xfrm>
                <a:off x="3393136" y="2604118"/>
                <a:ext cx="385989" cy="883611"/>
              </a:xfrm>
              <a:custGeom>
                <a:avLst/>
                <a:gdLst>
                  <a:gd name="connsiteX0" fmla="*/ 384576 w 385989"/>
                  <a:gd name="connsiteY0" fmla="*/ 348654 h 883611"/>
                  <a:gd name="connsiteX1" fmla="*/ 328047 w 385989"/>
                  <a:gd name="connsiteY1" fmla="*/ 54109 h 883611"/>
                  <a:gd name="connsiteX2" fmla="*/ 223914 w 385989"/>
                  <a:gd name="connsiteY2" fmla="*/ 12456 h 883611"/>
                  <a:gd name="connsiteX3" fmla="*/ 214989 w 385989"/>
                  <a:gd name="connsiteY3" fmla="*/ 21381 h 883611"/>
                  <a:gd name="connsiteX4" fmla="*/ 212014 w 385989"/>
                  <a:gd name="connsiteY4" fmla="*/ 36257 h 883611"/>
                  <a:gd name="connsiteX5" fmla="*/ 194162 w 385989"/>
                  <a:gd name="connsiteY5" fmla="*/ 509315 h 883611"/>
                  <a:gd name="connsiteX6" fmla="*/ 774 w 385989"/>
                  <a:gd name="connsiteY6" fmla="*/ 821712 h 883611"/>
                  <a:gd name="connsiteX7" fmla="*/ 12675 w 385989"/>
                  <a:gd name="connsiteY7" fmla="*/ 842538 h 883611"/>
                  <a:gd name="connsiteX8" fmla="*/ 116807 w 385989"/>
                  <a:gd name="connsiteY8" fmla="*/ 881216 h 883611"/>
                  <a:gd name="connsiteX9" fmla="*/ 140609 w 385989"/>
                  <a:gd name="connsiteY9" fmla="*/ 872291 h 883611"/>
                  <a:gd name="connsiteX10" fmla="*/ 331022 w 385989"/>
                  <a:gd name="connsiteY10" fmla="*/ 604522 h 883611"/>
                  <a:gd name="connsiteX11" fmla="*/ 384576 w 385989"/>
                  <a:gd name="connsiteY11" fmla="*/ 348654 h 883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5989" h="883611">
                    <a:moveTo>
                      <a:pt x="384576" y="348654"/>
                    </a:moveTo>
                    <a:cubicBezTo>
                      <a:pt x="378625" y="250472"/>
                      <a:pt x="354824" y="149315"/>
                      <a:pt x="328047" y="54109"/>
                    </a:cubicBezTo>
                    <a:cubicBezTo>
                      <a:pt x="310195" y="-8371"/>
                      <a:pt x="289369" y="-8371"/>
                      <a:pt x="223914" y="12456"/>
                    </a:cubicBezTo>
                    <a:cubicBezTo>
                      <a:pt x="217964" y="15431"/>
                      <a:pt x="214989" y="18406"/>
                      <a:pt x="214989" y="21381"/>
                    </a:cubicBezTo>
                    <a:cubicBezTo>
                      <a:pt x="212014" y="24357"/>
                      <a:pt x="212014" y="30307"/>
                      <a:pt x="212014" y="36257"/>
                    </a:cubicBezTo>
                    <a:cubicBezTo>
                      <a:pt x="256642" y="187993"/>
                      <a:pt x="289369" y="372456"/>
                      <a:pt x="194162" y="509315"/>
                    </a:cubicBezTo>
                    <a:cubicBezTo>
                      <a:pt x="122757" y="613448"/>
                      <a:pt x="30526" y="696753"/>
                      <a:pt x="774" y="821712"/>
                    </a:cubicBezTo>
                    <a:cubicBezTo>
                      <a:pt x="-2201" y="830638"/>
                      <a:pt x="3749" y="839563"/>
                      <a:pt x="12675" y="842538"/>
                    </a:cubicBezTo>
                    <a:cubicBezTo>
                      <a:pt x="51352" y="851464"/>
                      <a:pt x="84080" y="863365"/>
                      <a:pt x="116807" y="881216"/>
                    </a:cubicBezTo>
                    <a:cubicBezTo>
                      <a:pt x="125733" y="887167"/>
                      <a:pt x="137633" y="881216"/>
                      <a:pt x="140609" y="872291"/>
                    </a:cubicBezTo>
                    <a:cubicBezTo>
                      <a:pt x="176311" y="762208"/>
                      <a:pt x="274493" y="699729"/>
                      <a:pt x="331022" y="604522"/>
                    </a:cubicBezTo>
                    <a:cubicBezTo>
                      <a:pt x="378625" y="524191"/>
                      <a:pt x="390526" y="434935"/>
                      <a:pt x="384576" y="348654"/>
                    </a:cubicBezTo>
                    <a:close/>
                  </a:path>
                </a:pathLst>
              </a:custGeom>
              <a:solidFill>
                <a:srgbClr val="DB6963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E68454AA-FBCD-406E-A6F7-FF1EADCA9523}"/>
                  </a:ext>
                </a:extLst>
              </p:cNvPr>
              <p:cNvSpPr/>
              <p:nvPr/>
            </p:nvSpPr>
            <p:spPr>
              <a:xfrm>
                <a:off x="3398628" y="3391871"/>
                <a:ext cx="155199" cy="66686"/>
              </a:xfrm>
              <a:custGeom>
                <a:avLst/>
                <a:gdLst>
                  <a:gd name="connsiteX0" fmla="*/ 147018 w 155199"/>
                  <a:gd name="connsiteY0" fmla="*/ 63712 h 66686"/>
                  <a:gd name="connsiteX1" fmla="*/ 144042 w 155199"/>
                  <a:gd name="connsiteY1" fmla="*/ 63712 h 66686"/>
                  <a:gd name="connsiteX2" fmla="*/ 4208 w 155199"/>
                  <a:gd name="connsiteY2" fmla="*/ 10158 h 66686"/>
                  <a:gd name="connsiteX3" fmla="*/ 1232 w 155199"/>
                  <a:gd name="connsiteY3" fmla="*/ 4208 h 66686"/>
                  <a:gd name="connsiteX4" fmla="*/ 7183 w 155199"/>
                  <a:gd name="connsiteY4" fmla="*/ 1232 h 66686"/>
                  <a:gd name="connsiteX5" fmla="*/ 152968 w 155199"/>
                  <a:gd name="connsiteY5" fmla="*/ 57761 h 66686"/>
                  <a:gd name="connsiteX6" fmla="*/ 152968 w 155199"/>
                  <a:gd name="connsiteY6" fmla="*/ 66687 h 66686"/>
                  <a:gd name="connsiteX7" fmla="*/ 147018 w 155199"/>
                  <a:gd name="connsiteY7" fmla="*/ 63712 h 6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5199" h="66686">
                    <a:moveTo>
                      <a:pt x="147018" y="63712"/>
                    </a:moveTo>
                    <a:cubicBezTo>
                      <a:pt x="147018" y="63712"/>
                      <a:pt x="144042" y="63712"/>
                      <a:pt x="144042" y="63712"/>
                    </a:cubicBezTo>
                    <a:cubicBezTo>
                      <a:pt x="90489" y="25034"/>
                      <a:pt x="4208" y="10158"/>
                      <a:pt x="4208" y="10158"/>
                    </a:cubicBezTo>
                    <a:cubicBezTo>
                      <a:pt x="1232" y="10158"/>
                      <a:pt x="-1743" y="7183"/>
                      <a:pt x="1232" y="4208"/>
                    </a:cubicBezTo>
                    <a:cubicBezTo>
                      <a:pt x="1232" y="1232"/>
                      <a:pt x="4208" y="-1743"/>
                      <a:pt x="7183" y="1232"/>
                    </a:cubicBezTo>
                    <a:cubicBezTo>
                      <a:pt x="10158" y="1232"/>
                      <a:pt x="96439" y="16108"/>
                      <a:pt x="152968" y="57761"/>
                    </a:cubicBezTo>
                    <a:cubicBezTo>
                      <a:pt x="155943" y="60737"/>
                      <a:pt x="155943" y="63712"/>
                      <a:pt x="152968" y="66687"/>
                    </a:cubicBezTo>
                    <a:cubicBezTo>
                      <a:pt x="149993" y="63712"/>
                      <a:pt x="149993" y="63712"/>
                      <a:pt x="147018" y="63712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62CD13E3-B4CE-4895-BB35-E99770E462FD}"/>
                  </a:ext>
                </a:extLst>
              </p:cNvPr>
              <p:cNvSpPr/>
              <p:nvPr/>
            </p:nvSpPr>
            <p:spPr>
              <a:xfrm>
                <a:off x="3416479" y="3350218"/>
                <a:ext cx="155199" cy="66686"/>
              </a:xfrm>
              <a:custGeom>
                <a:avLst/>
                <a:gdLst>
                  <a:gd name="connsiteX0" fmla="*/ 147017 w 155199"/>
                  <a:gd name="connsiteY0" fmla="*/ 63712 h 66686"/>
                  <a:gd name="connsiteX1" fmla="*/ 144042 w 155199"/>
                  <a:gd name="connsiteY1" fmla="*/ 63712 h 66686"/>
                  <a:gd name="connsiteX2" fmla="*/ 4208 w 155199"/>
                  <a:gd name="connsiteY2" fmla="*/ 10158 h 66686"/>
                  <a:gd name="connsiteX3" fmla="*/ 1232 w 155199"/>
                  <a:gd name="connsiteY3" fmla="*/ 4208 h 66686"/>
                  <a:gd name="connsiteX4" fmla="*/ 7183 w 155199"/>
                  <a:gd name="connsiteY4" fmla="*/ 1232 h 66686"/>
                  <a:gd name="connsiteX5" fmla="*/ 152968 w 155199"/>
                  <a:gd name="connsiteY5" fmla="*/ 57761 h 66686"/>
                  <a:gd name="connsiteX6" fmla="*/ 152968 w 155199"/>
                  <a:gd name="connsiteY6" fmla="*/ 66687 h 66686"/>
                  <a:gd name="connsiteX7" fmla="*/ 147017 w 155199"/>
                  <a:gd name="connsiteY7" fmla="*/ 63712 h 6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5199" h="66686">
                    <a:moveTo>
                      <a:pt x="147017" y="63712"/>
                    </a:moveTo>
                    <a:cubicBezTo>
                      <a:pt x="147017" y="63712"/>
                      <a:pt x="144042" y="63712"/>
                      <a:pt x="144042" y="63712"/>
                    </a:cubicBezTo>
                    <a:cubicBezTo>
                      <a:pt x="90489" y="25034"/>
                      <a:pt x="4208" y="10158"/>
                      <a:pt x="4208" y="10158"/>
                    </a:cubicBezTo>
                    <a:cubicBezTo>
                      <a:pt x="1232" y="10158"/>
                      <a:pt x="-1743" y="7183"/>
                      <a:pt x="1232" y="4208"/>
                    </a:cubicBezTo>
                    <a:cubicBezTo>
                      <a:pt x="1232" y="1232"/>
                      <a:pt x="4208" y="-1743"/>
                      <a:pt x="7183" y="1232"/>
                    </a:cubicBezTo>
                    <a:cubicBezTo>
                      <a:pt x="10158" y="1232"/>
                      <a:pt x="96439" y="16108"/>
                      <a:pt x="152968" y="57761"/>
                    </a:cubicBezTo>
                    <a:cubicBezTo>
                      <a:pt x="155943" y="60736"/>
                      <a:pt x="155943" y="63712"/>
                      <a:pt x="152968" y="66687"/>
                    </a:cubicBezTo>
                    <a:cubicBezTo>
                      <a:pt x="149993" y="63712"/>
                      <a:pt x="149993" y="63712"/>
                      <a:pt x="147017" y="63712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A859A13C-4315-46AF-B4CA-D80B7072025C}"/>
                </a:ext>
              </a:extLst>
            </p:cNvPr>
            <p:cNvSpPr/>
            <p:nvPr/>
          </p:nvSpPr>
          <p:spPr>
            <a:xfrm>
              <a:off x="2263332" y="5505500"/>
              <a:ext cx="330247" cy="321322"/>
            </a:xfrm>
            <a:custGeom>
              <a:avLst/>
              <a:gdLst>
                <a:gd name="connsiteX0" fmla="*/ 0 w 330247"/>
                <a:gd name="connsiteY0" fmla="*/ 107107 h 321322"/>
                <a:gd name="connsiteX1" fmla="*/ 258843 w 330247"/>
                <a:gd name="connsiteY1" fmla="*/ 0 h 321322"/>
                <a:gd name="connsiteX2" fmla="*/ 330248 w 330247"/>
                <a:gd name="connsiteY2" fmla="*/ 321322 h 321322"/>
                <a:gd name="connsiteX3" fmla="*/ 166612 w 330247"/>
                <a:gd name="connsiteY3" fmla="*/ 321322 h 321322"/>
                <a:gd name="connsiteX4" fmla="*/ 0 w 330247"/>
                <a:gd name="connsiteY4" fmla="*/ 107107 h 321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0247" h="321322">
                  <a:moveTo>
                    <a:pt x="0" y="107107"/>
                  </a:moveTo>
                  <a:cubicBezTo>
                    <a:pt x="0" y="107107"/>
                    <a:pt x="74380" y="44628"/>
                    <a:pt x="258843" y="0"/>
                  </a:cubicBezTo>
                  <a:lnTo>
                    <a:pt x="330248" y="321322"/>
                  </a:lnTo>
                  <a:lnTo>
                    <a:pt x="166612" y="321322"/>
                  </a:lnTo>
                  <a:lnTo>
                    <a:pt x="0" y="107107"/>
                  </a:ln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5" name="图形 1">
              <a:extLst>
                <a:ext uri="{FF2B5EF4-FFF2-40B4-BE49-F238E27FC236}">
                  <a16:creationId xmlns:a16="http://schemas.microsoft.com/office/drawing/2014/main" id="{DBCC3E69-EC3B-4908-9F60-A59751869900}"/>
                </a:ext>
              </a:extLst>
            </p:cNvPr>
            <p:cNvGrpSpPr/>
            <p:nvPr/>
          </p:nvGrpSpPr>
          <p:grpSpPr>
            <a:xfrm>
              <a:off x="3675973" y="6299880"/>
              <a:ext cx="512317" cy="321322"/>
              <a:chOff x="3675973" y="6299880"/>
              <a:chExt cx="512317" cy="321322"/>
            </a:xfrm>
          </p:grpSpPr>
          <p:grpSp>
            <p:nvGrpSpPr>
              <p:cNvPr id="96" name="图形 1">
                <a:extLst>
                  <a:ext uri="{FF2B5EF4-FFF2-40B4-BE49-F238E27FC236}">
                    <a16:creationId xmlns:a16="http://schemas.microsoft.com/office/drawing/2014/main" id="{DBCC3E69-EC3B-4908-9F60-A59751869900}"/>
                  </a:ext>
                </a:extLst>
              </p:cNvPr>
              <p:cNvGrpSpPr/>
              <p:nvPr/>
            </p:nvGrpSpPr>
            <p:grpSpPr>
              <a:xfrm>
                <a:off x="3704323" y="6424839"/>
                <a:ext cx="483966" cy="196363"/>
                <a:chOff x="3704323" y="6424839"/>
                <a:chExt cx="483966" cy="196363"/>
              </a:xfrm>
            </p:grpSpPr>
            <p:sp>
              <p:nvSpPr>
                <p:cNvPr id="97" name="任意多边形: 形状 96">
                  <a:extLst>
                    <a:ext uri="{FF2B5EF4-FFF2-40B4-BE49-F238E27FC236}">
                      <a16:creationId xmlns:a16="http://schemas.microsoft.com/office/drawing/2014/main" id="{2D4D2692-5A6C-4915-BD2F-8464AFE6F545}"/>
                    </a:ext>
                  </a:extLst>
                </p:cNvPr>
                <p:cNvSpPr/>
                <p:nvPr/>
              </p:nvSpPr>
              <p:spPr>
                <a:xfrm>
                  <a:off x="3704323" y="6424839"/>
                  <a:ext cx="483966" cy="157686"/>
                </a:xfrm>
                <a:custGeom>
                  <a:avLst/>
                  <a:gdLst>
                    <a:gd name="connsiteX0" fmla="*/ 7934 w 483966"/>
                    <a:gd name="connsiteY0" fmla="*/ 44628 h 157686"/>
                    <a:gd name="connsiteX1" fmla="*/ 189422 w 483966"/>
                    <a:gd name="connsiteY1" fmla="*/ 0 h 157686"/>
                    <a:gd name="connsiteX2" fmla="*/ 320331 w 483966"/>
                    <a:gd name="connsiteY2" fmla="*/ 53554 h 157686"/>
                    <a:gd name="connsiteX3" fmla="*/ 483967 w 483966"/>
                    <a:gd name="connsiteY3" fmla="*/ 157686 h 157686"/>
                    <a:gd name="connsiteX4" fmla="*/ 7934 w 483966"/>
                    <a:gd name="connsiteY4" fmla="*/ 157686 h 157686"/>
                    <a:gd name="connsiteX5" fmla="*/ 7934 w 483966"/>
                    <a:gd name="connsiteY5" fmla="*/ 44628 h 157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3966" h="157686">
                      <a:moveTo>
                        <a:pt x="7934" y="44628"/>
                      </a:moveTo>
                      <a:cubicBezTo>
                        <a:pt x="7934" y="44628"/>
                        <a:pt x="129917" y="62479"/>
                        <a:pt x="189422" y="0"/>
                      </a:cubicBezTo>
                      <a:cubicBezTo>
                        <a:pt x="189422" y="0"/>
                        <a:pt x="272727" y="35702"/>
                        <a:pt x="320331" y="53554"/>
                      </a:cubicBezTo>
                      <a:cubicBezTo>
                        <a:pt x="361984" y="68430"/>
                        <a:pt x="472066" y="86281"/>
                        <a:pt x="483967" y="157686"/>
                      </a:cubicBezTo>
                      <a:lnTo>
                        <a:pt x="7934" y="157686"/>
                      </a:lnTo>
                      <a:cubicBezTo>
                        <a:pt x="7934" y="151735"/>
                        <a:pt x="-9917" y="92231"/>
                        <a:pt x="7934" y="44628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" name="任意多边形: 形状 97">
                  <a:extLst>
                    <a:ext uri="{FF2B5EF4-FFF2-40B4-BE49-F238E27FC236}">
                      <a16:creationId xmlns:a16="http://schemas.microsoft.com/office/drawing/2014/main" id="{7D552D22-8169-4D62-BDCB-144B79409439}"/>
                    </a:ext>
                  </a:extLst>
                </p:cNvPr>
                <p:cNvSpPr/>
                <p:nvPr/>
              </p:nvSpPr>
              <p:spPr>
                <a:xfrm>
                  <a:off x="3712257" y="6576574"/>
                  <a:ext cx="476033" cy="44628"/>
                </a:xfrm>
                <a:custGeom>
                  <a:avLst/>
                  <a:gdLst>
                    <a:gd name="connsiteX0" fmla="*/ 0 w 476033"/>
                    <a:gd name="connsiteY0" fmla="*/ 0 h 44628"/>
                    <a:gd name="connsiteX1" fmla="*/ 476033 w 476033"/>
                    <a:gd name="connsiteY1" fmla="*/ 0 h 44628"/>
                    <a:gd name="connsiteX2" fmla="*/ 476033 w 476033"/>
                    <a:gd name="connsiteY2" fmla="*/ 44628 h 44628"/>
                    <a:gd name="connsiteX3" fmla="*/ 0 w 476033"/>
                    <a:gd name="connsiteY3" fmla="*/ 44628 h 4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033" h="44628">
                      <a:moveTo>
                        <a:pt x="0" y="0"/>
                      </a:moveTo>
                      <a:lnTo>
                        <a:pt x="476033" y="0"/>
                      </a:lnTo>
                      <a:lnTo>
                        <a:pt x="476033" y="44628"/>
                      </a:lnTo>
                      <a:lnTo>
                        <a:pt x="0" y="44628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9E62CAE4-96B6-42CC-AB3F-7053F470F7FE}"/>
                  </a:ext>
                </a:extLst>
              </p:cNvPr>
              <p:cNvSpPr/>
              <p:nvPr/>
            </p:nvSpPr>
            <p:spPr>
              <a:xfrm>
                <a:off x="3675973" y="6299880"/>
                <a:ext cx="330829" cy="276693"/>
              </a:xfrm>
              <a:custGeom>
                <a:avLst/>
                <a:gdLst>
                  <a:gd name="connsiteX0" fmla="*/ 36284 w 330829"/>
                  <a:gd name="connsiteY0" fmla="*/ 276694 h 276693"/>
                  <a:gd name="connsiteX1" fmla="*/ 582 w 330829"/>
                  <a:gd name="connsiteY1" fmla="*/ 0 h 276693"/>
                  <a:gd name="connsiteX2" fmla="*/ 330830 w 330829"/>
                  <a:gd name="connsiteY2" fmla="*/ 17851 h 276693"/>
                  <a:gd name="connsiteX3" fmla="*/ 286202 w 330829"/>
                  <a:gd name="connsiteY3" fmla="*/ 175537 h 276693"/>
                  <a:gd name="connsiteX4" fmla="*/ 36284 w 330829"/>
                  <a:gd name="connsiteY4" fmla="*/ 276694 h 276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29" h="276693">
                    <a:moveTo>
                      <a:pt x="36284" y="276694"/>
                    </a:moveTo>
                    <a:cubicBezTo>
                      <a:pt x="36284" y="276694"/>
                      <a:pt x="-5369" y="187438"/>
                      <a:pt x="582" y="0"/>
                    </a:cubicBezTo>
                    <a:lnTo>
                      <a:pt x="330830" y="17851"/>
                    </a:lnTo>
                    <a:lnTo>
                      <a:pt x="286202" y="175537"/>
                    </a:lnTo>
                    <a:lnTo>
                      <a:pt x="36284" y="276694"/>
                    </a:ln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0" name="图形 1">
              <a:extLst>
                <a:ext uri="{FF2B5EF4-FFF2-40B4-BE49-F238E27FC236}">
                  <a16:creationId xmlns:a16="http://schemas.microsoft.com/office/drawing/2014/main" id="{DBCC3E69-EC3B-4908-9F60-A59751869900}"/>
                </a:ext>
              </a:extLst>
            </p:cNvPr>
            <p:cNvGrpSpPr/>
            <p:nvPr/>
          </p:nvGrpSpPr>
          <p:grpSpPr>
            <a:xfrm>
              <a:off x="7365811" y="6323681"/>
              <a:ext cx="491142" cy="321322"/>
              <a:chOff x="7365811" y="6323681"/>
              <a:chExt cx="491142" cy="321322"/>
            </a:xfrm>
          </p:grpSpPr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061086BF-F866-4D44-9D60-FC2187F09D8C}"/>
                  </a:ext>
                </a:extLst>
              </p:cNvPr>
              <p:cNvSpPr/>
              <p:nvPr/>
            </p:nvSpPr>
            <p:spPr>
              <a:xfrm>
                <a:off x="7365811" y="6600376"/>
                <a:ext cx="476033" cy="44628"/>
              </a:xfrm>
              <a:custGeom>
                <a:avLst/>
                <a:gdLst>
                  <a:gd name="connsiteX0" fmla="*/ 0 w 476033"/>
                  <a:gd name="connsiteY0" fmla="*/ 0 h 44628"/>
                  <a:gd name="connsiteX1" fmla="*/ 476033 w 476033"/>
                  <a:gd name="connsiteY1" fmla="*/ 0 h 44628"/>
                  <a:gd name="connsiteX2" fmla="*/ 476033 w 476033"/>
                  <a:gd name="connsiteY2" fmla="*/ 44628 h 44628"/>
                  <a:gd name="connsiteX3" fmla="*/ 0 w 476033"/>
                  <a:gd name="connsiteY3" fmla="*/ 44628 h 4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033" h="44628">
                    <a:moveTo>
                      <a:pt x="0" y="0"/>
                    </a:moveTo>
                    <a:lnTo>
                      <a:pt x="476033" y="0"/>
                    </a:lnTo>
                    <a:lnTo>
                      <a:pt x="476033" y="44628"/>
                    </a:lnTo>
                    <a:lnTo>
                      <a:pt x="0" y="44628"/>
                    </a:lnTo>
                    <a:close/>
                  </a:path>
                </a:pathLst>
              </a:custGeom>
              <a:solidFill>
                <a:srgbClr val="38333D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F941F6B5-C06B-411D-B73C-50A4552AAAE0}"/>
                  </a:ext>
                </a:extLst>
              </p:cNvPr>
              <p:cNvSpPr/>
              <p:nvPr/>
            </p:nvSpPr>
            <p:spPr>
              <a:xfrm>
                <a:off x="7368786" y="6323681"/>
                <a:ext cx="488167" cy="276694"/>
              </a:xfrm>
              <a:custGeom>
                <a:avLst/>
                <a:gdLst>
                  <a:gd name="connsiteX0" fmla="*/ 481983 w 488167"/>
                  <a:gd name="connsiteY0" fmla="*/ 0 h 276694"/>
                  <a:gd name="connsiteX1" fmla="*/ 217190 w 488167"/>
                  <a:gd name="connsiteY1" fmla="*/ 14876 h 276694"/>
                  <a:gd name="connsiteX2" fmla="*/ 255868 w 488167"/>
                  <a:gd name="connsiteY2" fmla="*/ 151736 h 276694"/>
                  <a:gd name="connsiteX3" fmla="*/ 163636 w 488167"/>
                  <a:gd name="connsiteY3" fmla="*/ 172562 h 276694"/>
                  <a:gd name="connsiteX4" fmla="*/ 0 w 488167"/>
                  <a:gd name="connsiteY4" fmla="*/ 276694 h 276694"/>
                  <a:gd name="connsiteX5" fmla="*/ 476033 w 488167"/>
                  <a:gd name="connsiteY5" fmla="*/ 276694 h 276694"/>
                  <a:gd name="connsiteX6" fmla="*/ 481983 w 488167"/>
                  <a:gd name="connsiteY6" fmla="*/ 0 h 276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8167" h="276694">
                    <a:moveTo>
                      <a:pt x="481983" y="0"/>
                    </a:moveTo>
                    <a:lnTo>
                      <a:pt x="217190" y="14876"/>
                    </a:lnTo>
                    <a:lnTo>
                      <a:pt x="255868" y="151736"/>
                    </a:lnTo>
                    <a:cubicBezTo>
                      <a:pt x="235041" y="160661"/>
                      <a:pt x="178512" y="166612"/>
                      <a:pt x="163636" y="172562"/>
                    </a:cubicBezTo>
                    <a:cubicBezTo>
                      <a:pt x="121984" y="187438"/>
                      <a:pt x="11901" y="205290"/>
                      <a:pt x="0" y="276694"/>
                    </a:cubicBezTo>
                    <a:lnTo>
                      <a:pt x="476033" y="276694"/>
                    </a:lnTo>
                    <a:cubicBezTo>
                      <a:pt x="473058" y="276694"/>
                      <a:pt x="499835" y="214215"/>
                      <a:pt x="481983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3" name="图形 1">
              <a:extLst>
                <a:ext uri="{FF2B5EF4-FFF2-40B4-BE49-F238E27FC236}">
                  <a16:creationId xmlns:a16="http://schemas.microsoft.com/office/drawing/2014/main" id="{DBCC3E69-EC3B-4908-9F60-A59751869900}"/>
                </a:ext>
              </a:extLst>
            </p:cNvPr>
            <p:cNvGrpSpPr/>
            <p:nvPr/>
          </p:nvGrpSpPr>
          <p:grpSpPr>
            <a:xfrm>
              <a:off x="8591596" y="5913103"/>
              <a:ext cx="397446" cy="577834"/>
              <a:chOff x="8591596" y="5913103"/>
              <a:chExt cx="397446" cy="577834"/>
            </a:xfrm>
          </p:grpSpPr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4934DB97-E722-41B2-9129-E7DE23DB4586}"/>
                  </a:ext>
                </a:extLst>
              </p:cNvPr>
              <p:cNvSpPr/>
              <p:nvPr/>
            </p:nvSpPr>
            <p:spPr>
              <a:xfrm rot="-3025003">
                <a:off x="8582165" y="6270966"/>
                <a:ext cx="476033" cy="44628"/>
              </a:xfrm>
              <a:custGeom>
                <a:avLst/>
                <a:gdLst>
                  <a:gd name="connsiteX0" fmla="*/ 0 w 476033"/>
                  <a:gd name="connsiteY0" fmla="*/ 0 h 44628"/>
                  <a:gd name="connsiteX1" fmla="*/ 476034 w 476033"/>
                  <a:gd name="connsiteY1" fmla="*/ 0 h 44628"/>
                  <a:gd name="connsiteX2" fmla="*/ 476034 w 476033"/>
                  <a:gd name="connsiteY2" fmla="*/ 44628 h 44628"/>
                  <a:gd name="connsiteX3" fmla="*/ 0 w 476033"/>
                  <a:gd name="connsiteY3" fmla="*/ 44628 h 4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033" h="44628">
                    <a:moveTo>
                      <a:pt x="0" y="0"/>
                    </a:moveTo>
                    <a:lnTo>
                      <a:pt x="476034" y="0"/>
                    </a:lnTo>
                    <a:lnTo>
                      <a:pt x="476034" y="44628"/>
                    </a:lnTo>
                    <a:lnTo>
                      <a:pt x="0" y="44628"/>
                    </a:lnTo>
                    <a:close/>
                  </a:path>
                </a:pathLst>
              </a:custGeom>
              <a:solidFill>
                <a:srgbClr val="38333D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68303AF2-3C7F-448F-8544-6999EED28387}"/>
                  </a:ext>
                </a:extLst>
              </p:cNvPr>
              <p:cNvSpPr/>
              <p:nvPr/>
            </p:nvSpPr>
            <p:spPr>
              <a:xfrm>
                <a:off x="8591596" y="5913103"/>
                <a:ext cx="362975" cy="547437"/>
              </a:xfrm>
              <a:custGeom>
                <a:avLst/>
                <a:gdLst>
                  <a:gd name="connsiteX0" fmla="*/ 157686 w 362975"/>
                  <a:gd name="connsiteY0" fmla="*/ 0 h 547437"/>
                  <a:gd name="connsiteX1" fmla="*/ 0 w 362975"/>
                  <a:gd name="connsiteY1" fmla="*/ 214215 h 547437"/>
                  <a:gd name="connsiteX2" fmla="*/ 127934 w 362975"/>
                  <a:gd name="connsiteY2" fmla="*/ 270744 h 547437"/>
                  <a:gd name="connsiteX3" fmla="*/ 83305 w 362975"/>
                  <a:gd name="connsiteY3" fmla="*/ 357025 h 547437"/>
                  <a:gd name="connsiteX4" fmla="*/ 59504 w 362975"/>
                  <a:gd name="connsiteY4" fmla="*/ 547438 h 547437"/>
                  <a:gd name="connsiteX5" fmla="*/ 362975 w 362975"/>
                  <a:gd name="connsiteY5" fmla="*/ 181487 h 547437"/>
                  <a:gd name="connsiteX6" fmla="*/ 157686 w 362975"/>
                  <a:gd name="connsiteY6" fmla="*/ 0 h 547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2975" h="547437">
                    <a:moveTo>
                      <a:pt x="157686" y="0"/>
                    </a:moveTo>
                    <a:lnTo>
                      <a:pt x="0" y="214215"/>
                    </a:lnTo>
                    <a:lnTo>
                      <a:pt x="127934" y="270744"/>
                    </a:lnTo>
                    <a:cubicBezTo>
                      <a:pt x="121983" y="291570"/>
                      <a:pt x="89256" y="339173"/>
                      <a:pt x="83305" y="357025"/>
                    </a:cubicBezTo>
                    <a:cubicBezTo>
                      <a:pt x="65454" y="398678"/>
                      <a:pt x="11901" y="493884"/>
                      <a:pt x="59504" y="547438"/>
                    </a:cubicBezTo>
                    <a:lnTo>
                      <a:pt x="362975" y="181487"/>
                    </a:lnTo>
                    <a:cubicBezTo>
                      <a:pt x="362975" y="181487"/>
                      <a:pt x="333223" y="124959"/>
                      <a:pt x="157686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A0375642-00D4-4FE0-8E9F-642F1375F5D1}"/>
                </a:ext>
              </a:extLst>
            </p:cNvPr>
            <p:cNvSpPr/>
            <p:nvPr/>
          </p:nvSpPr>
          <p:spPr>
            <a:xfrm>
              <a:off x="5039199" y="3553764"/>
              <a:ext cx="297520" cy="297520"/>
            </a:xfrm>
            <a:custGeom>
              <a:avLst/>
              <a:gdLst>
                <a:gd name="connsiteX0" fmla="*/ 297521 w 297520"/>
                <a:gd name="connsiteY0" fmla="*/ 148760 h 297520"/>
                <a:gd name="connsiteX1" fmla="*/ 148760 w 297520"/>
                <a:gd name="connsiteY1" fmla="*/ 297521 h 297520"/>
                <a:gd name="connsiteX2" fmla="*/ 0 w 297520"/>
                <a:gd name="connsiteY2" fmla="*/ 148760 h 297520"/>
                <a:gd name="connsiteX3" fmla="*/ 148760 w 297520"/>
                <a:gd name="connsiteY3" fmla="*/ 0 h 297520"/>
                <a:gd name="connsiteX4" fmla="*/ 297521 w 297520"/>
                <a:gd name="connsiteY4" fmla="*/ 148760 h 297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520" h="297520">
                  <a:moveTo>
                    <a:pt x="297521" y="148760"/>
                  </a:moveTo>
                  <a:cubicBezTo>
                    <a:pt x="297521" y="232066"/>
                    <a:pt x="232066" y="297521"/>
                    <a:pt x="148760" y="297521"/>
                  </a:cubicBezTo>
                  <a:cubicBezTo>
                    <a:pt x="65455" y="297521"/>
                    <a:pt x="0" y="232066"/>
                    <a:pt x="0" y="148760"/>
                  </a:cubicBezTo>
                  <a:cubicBezTo>
                    <a:pt x="0" y="65455"/>
                    <a:pt x="65455" y="0"/>
                    <a:pt x="148760" y="0"/>
                  </a:cubicBezTo>
                  <a:cubicBezTo>
                    <a:pt x="232066" y="0"/>
                    <a:pt x="297521" y="65455"/>
                    <a:pt x="297521" y="148760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349BD63A-040C-4552-A39B-3C59AE448F3C}"/>
                </a:ext>
              </a:extLst>
            </p:cNvPr>
            <p:cNvSpPr/>
            <p:nvPr/>
          </p:nvSpPr>
          <p:spPr>
            <a:xfrm>
              <a:off x="6226526" y="2598942"/>
              <a:ext cx="296507" cy="297082"/>
            </a:xfrm>
            <a:custGeom>
              <a:avLst/>
              <a:gdLst>
                <a:gd name="connsiteX0" fmla="*/ 216971 w 296507"/>
                <a:gd name="connsiteY0" fmla="*/ 279450 h 297082"/>
                <a:gd name="connsiteX1" fmla="*/ 17632 w 296507"/>
                <a:gd name="connsiteY1" fmla="*/ 216971 h 297082"/>
                <a:gd name="connsiteX2" fmla="*/ 80111 w 296507"/>
                <a:gd name="connsiteY2" fmla="*/ 17632 h 297082"/>
                <a:gd name="connsiteX3" fmla="*/ 279450 w 296507"/>
                <a:gd name="connsiteY3" fmla="*/ 80111 h 297082"/>
                <a:gd name="connsiteX4" fmla="*/ 216971 w 296507"/>
                <a:gd name="connsiteY4" fmla="*/ 279450 h 297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6507" h="297082">
                  <a:moveTo>
                    <a:pt x="216971" y="279450"/>
                  </a:moveTo>
                  <a:cubicBezTo>
                    <a:pt x="145566" y="318128"/>
                    <a:pt x="53334" y="291351"/>
                    <a:pt x="17632" y="216971"/>
                  </a:cubicBezTo>
                  <a:cubicBezTo>
                    <a:pt x="-21046" y="145566"/>
                    <a:pt x="5731" y="53334"/>
                    <a:pt x="80111" y="17632"/>
                  </a:cubicBezTo>
                  <a:cubicBezTo>
                    <a:pt x="151516" y="-21046"/>
                    <a:pt x="243748" y="5731"/>
                    <a:pt x="279450" y="80111"/>
                  </a:cubicBezTo>
                  <a:cubicBezTo>
                    <a:pt x="318128" y="151516"/>
                    <a:pt x="288376" y="240772"/>
                    <a:pt x="216971" y="279450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212079BF-F8DC-4622-9BA7-651AFD48A6A2}"/>
                </a:ext>
              </a:extLst>
            </p:cNvPr>
            <p:cNvSpPr/>
            <p:nvPr/>
          </p:nvSpPr>
          <p:spPr>
            <a:xfrm>
              <a:off x="4970321" y="3591548"/>
              <a:ext cx="138259" cy="106083"/>
            </a:xfrm>
            <a:custGeom>
              <a:avLst/>
              <a:gdLst>
                <a:gd name="connsiteX0" fmla="*/ 125407 w 138259"/>
                <a:gd name="connsiteY0" fmla="*/ 27670 h 106083"/>
                <a:gd name="connsiteX1" fmla="*/ 18299 w 138259"/>
                <a:gd name="connsiteY1" fmla="*/ 3869 h 106083"/>
                <a:gd name="connsiteX2" fmla="*/ 3423 w 138259"/>
                <a:gd name="connsiteY2" fmla="*/ 96100 h 106083"/>
                <a:gd name="connsiteX3" fmla="*/ 48051 w 138259"/>
                <a:gd name="connsiteY3" fmla="*/ 57423 h 106083"/>
                <a:gd name="connsiteX4" fmla="*/ 104580 w 138259"/>
                <a:gd name="connsiteY4" fmla="*/ 84199 h 106083"/>
                <a:gd name="connsiteX5" fmla="*/ 125407 w 138259"/>
                <a:gd name="connsiteY5" fmla="*/ 105026 h 106083"/>
                <a:gd name="connsiteX6" fmla="*/ 125407 w 138259"/>
                <a:gd name="connsiteY6" fmla="*/ 27670 h 106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259" h="106083">
                  <a:moveTo>
                    <a:pt x="125407" y="27670"/>
                  </a:moveTo>
                  <a:cubicBezTo>
                    <a:pt x="104580" y="894"/>
                    <a:pt x="48051" y="-5057"/>
                    <a:pt x="18299" y="3869"/>
                  </a:cubicBezTo>
                  <a:cubicBezTo>
                    <a:pt x="-2527" y="9819"/>
                    <a:pt x="-2527" y="96100"/>
                    <a:pt x="3423" y="96100"/>
                  </a:cubicBezTo>
                  <a:cubicBezTo>
                    <a:pt x="48051" y="90150"/>
                    <a:pt x="33175" y="57423"/>
                    <a:pt x="48051" y="57423"/>
                  </a:cubicBezTo>
                  <a:cubicBezTo>
                    <a:pt x="74828" y="57423"/>
                    <a:pt x="89704" y="69323"/>
                    <a:pt x="104580" y="84199"/>
                  </a:cubicBezTo>
                  <a:cubicBezTo>
                    <a:pt x="110531" y="90150"/>
                    <a:pt x="113506" y="110976"/>
                    <a:pt x="125407" y="105026"/>
                  </a:cubicBezTo>
                  <a:cubicBezTo>
                    <a:pt x="149209" y="102051"/>
                    <a:pt x="134333" y="42546"/>
                    <a:pt x="125407" y="27670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F3C85775-34B2-4AF2-A815-B839F543ECCF}"/>
                </a:ext>
              </a:extLst>
            </p:cNvPr>
            <p:cNvSpPr/>
            <p:nvPr/>
          </p:nvSpPr>
          <p:spPr>
            <a:xfrm>
              <a:off x="4979695" y="3595810"/>
              <a:ext cx="137443" cy="112665"/>
            </a:xfrm>
            <a:custGeom>
              <a:avLst/>
              <a:gdLst>
                <a:gd name="connsiteX0" fmla="*/ 116033 w 137443"/>
                <a:gd name="connsiteY0" fmla="*/ 112665 h 112665"/>
                <a:gd name="connsiteX1" fmla="*/ 92232 w 137443"/>
                <a:gd name="connsiteY1" fmla="*/ 94814 h 112665"/>
                <a:gd name="connsiteX2" fmla="*/ 41653 w 137443"/>
                <a:gd name="connsiteY2" fmla="*/ 62087 h 112665"/>
                <a:gd name="connsiteX3" fmla="*/ 5951 w 137443"/>
                <a:gd name="connsiteY3" fmla="*/ 97789 h 112665"/>
                <a:gd name="connsiteX4" fmla="*/ 0 w 137443"/>
                <a:gd name="connsiteY4" fmla="*/ 94814 h 112665"/>
                <a:gd name="connsiteX5" fmla="*/ 2975 w 137443"/>
                <a:gd name="connsiteY5" fmla="*/ 88864 h 112665"/>
                <a:gd name="connsiteX6" fmla="*/ 32727 w 137443"/>
                <a:gd name="connsiteY6" fmla="*/ 56136 h 112665"/>
                <a:gd name="connsiteX7" fmla="*/ 38678 w 137443"/>
                <a:gd name="connsiteY7" fmla="*/ 53161 h 112665"/>
                <a:gd name="connsiteX8" fmla="*/ 101157 w 137443"/>
                <a:gd name="connsiteY8" fmla="*/ 88864 h 112665"/>
                <a:gd name="connsiteX9" fmla="*/ 116033 w 137443"/>
                <a:gd name="connsiteY9" fmla="*/ 103740 h 112665"/>
                <a:gd name="connsiteX10" fmla="*/ 121984 w 137443"/>
                <a:gd name="connsiteY10" fmla="*/ 100764 h 112665"/>
                <a:gd name="connsiteX11" fmla="*/ 113058 w 137443"/>
                <a:gd name="connsiteY11" fmla="*/ 32335 h 112665"/>
                <a:gd name="connsiteX12" fmla="*/ 11901 w 137443"/>
                <a:gd name="connsiteY12" fmla="*/ 11508 h 112665"/>
                <a:gd name="connsiteX13" fmla="*/ 5951 w 137443"/>
                <a:gd name="connsiteY13" fmla="*/ 8533 h 112665"/>
                <a:gd name="connsiteX14" fmla="*/ 8926 w 137443"/>
                <a:gd name="connsiteY14" fmla="*/ 2583 h 112665"/>
                <a:gd name="connsiteX15" fmla="*/ 121984 w 137443"/>
                <a:gd name="connsiteY15" fmla="*/ 29359 h 112665"/>
                <a:gd name="connsiteX16" fmla="*/ 133884 w 137443"/>
                <a:gd name="connsiteY16" fmla="*/ 109690 h 112665"/>
                <a:gd name="connsiteX17" fmla="*/ 116033 w 137443"/>
                <a:gd name="connsiteY17" fmla="*/ 112665 h 112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7443" h="112665">
                  <a:moveTo>
                    <a:pt x="116033" y="112665"/>
                  </a:moveTo>
                  <a:cubicBezTo>
                    <a:pt x="107108" y="112665"/>
                    <a:pt x="101157" y="103740"/>
                    <a:pt x="92232" y="94814"/>
                  </a:cubicBezTo>
                  <a:cubicBezTo>
                    <a:pt x="80331" y="79938"/>
                    <a:pt x="68430" y="62087"/>
                    <a:pt x="41653" y="62087"/>
                  </a:cubicBezTo>
                  <a:cubicBezTo>
                    <a:pt x="38678" y="71012"/>
                    <a:pt x="26777" y="91839"/>
                    <a:pt x="5951" y="97789"/>
                  </a:cubicBezTo>
                  <a:cubicBezTo>
                    <a:pt x="2975" y="97789"/>
                    <a:pt x="0" y="97789"/>
                    <a:pt x="0" y="94814"/>
                  </a:cubicBezTo>
                  <a:cubicBezTo>
                    <a:pt x="0" y="91839"/>
                    <a:pt x="0" y="88864"/>
                    <a:pt x="2975" y="88864"/>
                  </a:cubicBezTo>
                  <a:cubicBezTo>
                    <a:pt x="20827" y="82913"/>
                    <a:pt x="32727" y="56136"/>
                    <a:pt x="32727" y="56136"/>
                  </a:cubicBezTo>
                  <a:cubicBezTo>
                    <a:pt x="32727" y="53161"/>
                    <a:pt x="35703" y="53161"/>
                    <a:pt x="38678" y="53161"/>
                  </a:cubicBezTo>
                  <a:cubicBezTo>
                    <a:pt x="71405" y="53161"/>
                    <a:pt x="89256" y="73988"/>
                    <a:pt x="101157" y="88864"/>
                  </a:cubicBezTo>
                  <a:cubicBezTo>
                    <a:pt x="107108" y="94814"/>
                    <a:pt x="113058" y="103740"/>
                    <a:pt x="116033" y="103740"/>
                  </a:cubicBezTo>
                  <a:cubicBezTo>
                    <a:pt x="116033" y="103740"/>
                    <a:pt x="119008" y="103740"/>
                    <a:pt x="121984" y="100764"/>
                  </a:cubicBezTo>
                  <a:cubicBezTo>
                    <a:pt x="127934" y="88864"/>
                    <a:pt x="127934" y="59112"/>
                    <a:pt x="113058" y="32335"/>
                  </a:cubicBezTo>
                  <a:cubicBezTo>
                    <a:pt x="92232" y="-3368"/>
                    <a:pt x="11901" y="11508"/>
                    <a:pt x="11901" y="11508"/>
                  </a:cubicBezTo>
                  <a:cubicBezTo>
                    <a:pt x="8926" y="11508"/>
                    <a:pt x="5951" y="11508"/>
                    <a:pt x="5951" y="8533"/>
                  </a:cubicBezTo>
                  <a:cubicBezTo>
                    <a:pt x="5951" y="5558"/>
                    <a:pt x="5951" y="2583"/>
                    <a:pt x="8926" y="2583"/>
                  </a:cubicBezTo>
                  <a:cubicBezTo>
                    <a:pt x="11901" y="2583"/>
                    <a:pt x="98182" y="-12293"/>
                    <a:pt x="121984" y="29359"/>
                  </a:cubicBezTo>
                  <a:cubicBezTo>
                    <a:pt x="139835" y="59112"/>
                    <a:pt x="139835" y="94814"/>
                    <a:pt x="133884" y="109690"/>
                  </a:cubicBezTo>
                  <a:cubicBezTo>
                    <a:pt x="127934" y="106715"/>
                    <a:pt x="121984" y="112665"/>
                    <a:pt x="116033" y="112665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4CCA527D-FCCC-4F9F-BDE4-F8F22DEDEF71}"/>
                </a:ext>
              </a:extLst>
            </p:cNvPr>
            <p:cNvSpPr/>
            <p:nvPr/>
          </p:nvSpPr>
          <p:spPr>
            <a:xfrm>
              <a:off x="7585976" y="3533127"/>
              <a:ext cx="390984" cy="35513"/>
            </a:xfrm>
            <a:custGeom>
              <a:avLst/>
              <a:gdLst>
                <a:gd name="connsiteX0" fmla="*/ 5950 w 390984"/>
                <a:gd name="connsiteY0" fmla="*/ 35513 h 35513"/>
                <a:gd name="connsiteX1" fmla="*/ 0 w 390984"/>
                <a:gd name="connsiteY1" fmla="*/ 32538 h 35513"/>
                <a:gd name="connsiteX2" fmla="*/ 2975 w 390984"/>
                <a:gd name="connsiteY2" fmla="*/ 26588 h 35513"/>
                <a:gd name="connsiteX3" fmla="*/ 386777 w 390984"/>
                <a:gd name="connsiteY3" fmla="*/ 14687 h 35513"/>
                <a:gd name="connsiteX4" fmla="*/ 389752 w 390984"/>
                <a:gd name="connsiteY4" fmla="*/ 20637 h 35513"/>
                <a:gd name="connsiteX5" fmla="*/ 383801 w 390984"/>
                <a:gd name="connsiteY5" fmla="*/ 23612 h 35513"/>
                <a:gd name="connsiteX6" fmla="*/ 5950 w 390984"/>
                <a:gd name="connsiteY6" fmla="*/ 35513 h 35513"/>
                <a:gd name="connsiteX7" fmla="*/ 5950 w 390984"/>
                <a:gd name="connsiteY7" fmla="*/ 35513 h 35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984" h="35513">
                  <a:moveTo>
                    <a:pt x="5950" y="35513"/>
                  </a:moveTo>
                  <a:cubicBezTo>
                    <a:pt x="2975" y="35513"/>
                    <a:pt x="2975" y="35513"/>
                    <a:pt x="0" y="32538"/>
                  </a:cubicBezTo>
                  <a:cubicBezTo>
                    <a:pt x="0" y="29563"/>
                    <a:pt x="0" y="26588"/>
                    <a:pt x="2975" y="26588"/>
                  </a:cubicBezTo>
                  <a:cubicBezTo>
                    <a:pt x="86281" y="-3165"/>
                    <a:pt x="288595" y="-9115"/>
                    <a:pt x="386777" y="14687"/>
                  </a:cubicBezTo>
                  <a:cubicBezTo>
                    <a:pt x="389752" y="14687"/>
                    <a:pt x="392727" y="17662"/>
                    <a:pt x="389752" y="20637"/>
                  </a:cubicBezTo>
                  <a:cubicBezTo>
                    <a:pt x="389752" y="23612"/>
                    <a:pt x="386777" y="26588"/>
                    <a:pt x="383801" y="23612"/>
                  </a:cubicBezTo>
                  <a:cubicBezTo>
                    <a:pt x="288595" y="-189"/>
                    <a:pt x="86281" y="5761"/>
                    <a:pt x="5950" y="35513"/>
                  </a:cubicBezTo>
                  <a:cubicBezTo>
                    <a:pt x="5950" y="35513"/>
                    <a:pt x="5950" y="35513"/>
                    <a:pt x="5950" y="35513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8FF5B9E7-8FAB-44CC-B52B-3DC75CD624A5}"/>
                </a:ext>
              </a:extLst>
            </p:cNvPr>
            <p:cNvSpPr/>
            <p:nvPr/>
          </p:nvSpPr>
          <p:spPr>
            <a:xfrm>
              <a:off x="7687013" y="2946719"/>
              <a:ext cx="392267" cy="128780"/>
            </a:xfrm>
            <a:custGeom>
              <a:avLst/>
              <a:gdLst>
                <a:gd name="connsiteX0" fmla="*/ 9046 w 392267"/>
                <a:gd name="connsiteY0" fmla="*/ 95309 h 128780"/>
                <a:gd name="connsiteX1" fmla="*/ 380947 w 392267"/>
                <a:gd name="connsiteY1" fmla="*/ 95309 h 128780"/>
                <a:gd name="connsiteX2" fmla="*/ 389873 w 392267"/>
                <a:gd name="connsiteY2" fmla="*/ 74483 h 128780"/>
                <a:gd name="connsiteX3" fmla="*/ 345245 w 392267"/>
                <a:gd name="connsiteY3" fmla="*/ 103 h 128780"/>
                <a:gd name="connsiteX4" fmla="*/ 35823 w 392267"/>
                <a:gd name="connsiteY4" fmla="*/ 3078 h 128780"/>
                <a:gd name="connsiteX5" fmla="*/ 23922 w 392267"/>
                <a:gd name="connsiteY5" fmla="*/ 9028 h 128780"/>
                <a:gd name="connsiteX6" fmla="*/ 3096 w 392267"/>
                <a:gd name="connsiteY6" fmla="*/ 74483 h 128780"/>
                <a:gd name="connsiteX7" fmla="*/ 9046 w 392267"/>
                <a:gd name="connsiteY7" fmla="*/ 95309 h 128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2267" h="128780">
                  <a:moveTo>
                    <a:pt x="9046" y="95309"/>
                  </a:moveTo>
                  <a:cubicBezTo>
                    <a:pt x="131030" y="139937"/>
                    <a:pt x="258963" y="139937"/>
                    <a:pt x="380947" y="95309"/>
                  </a:cubicBezTo>
                  <a:cubicBezTo>
                    <a:pt x="389873" y="92334"/>
                    <a:pt x="395823" y="83409"/>
                    <a:pt x="389873" y="74483"/>
                  </a:cubicBezTo>
                  <a:cubicBezTo>
                    <a:pt x="380947" y="59607"/>
                    <a:pt x="357145" y="-2872"/>
                    <a:pt x="345245" y="103"/>
                  </a:cubicBezTo>
                  <a:cubicBezTo>
                    <a:pt x="241112" y="29855"/>
                    <a:pt x="139955" y="17954"/>
                    <a:pt x="35823" y="3078"/>
                  </a:cubicBezTo>
                  <a:cubicBezTo>
                    <a:pt x="29872" y="3078"/>
                    <a:pt x="23922" y="6053"/>
                    <a:pt x="23922" y="9028"/>
                  </a:cubicBezTo>
                  <a:cubicBezTo>
                    <a:pt x="12021" y="29855"/>
                    <a:pt x="6071" y="50681"/>
                    <a:pt x="3096" y="74483"/>
                  </a:cubicBezTo>
                  <a:cubicBezTo>
                    <a:pt x="-2855" y="83409"/>
                    <a:pt x="120" y="92334"/>
                    <a:pt x="9046" y="95309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EC52A971-4C6A-44D3-BC84-E422658F3E06}"/>
                </a:ext>
              </a:extLst>
            </p:cNvPr>
            <p:cNvSpPr/>
            <p:nvPr/>
          </p:nvSpPr>
          <p:spPr>
            <a:xfrm>
              <a:off x="7957877" y="2470085"/>
              <a:ext cx="249917" cy="530030"/>
            </a:xfrm>
            <a:custGeom>
              <a:avLst/>
              <a:gdLst>
                <a:gd name="connsiteX0" fmla="*/ 47603 w 249917"/>
                <a:gd name="connsiteY0" fmla="*/ 57233 h 530030"/>
                <a:gd name="connsiteX1" fmla="*/ 0 w 249917"/>
                <a:gd name="connsiteY1" fmla="*/ 509465 h 530030"/>
                <a:gd name="connsiteX2" fmla="*/ 249917 w 249917"/>
                <a:gd name="connsiteY2" fmla="*/ 491613 h 530030"/>
                <a:gd name="connsiteX3" fmla="*/ 119008 w 249917"/>
                <a:gd name="connsiteY3" fmla="*/ 3679 h 530030"/>
                <a:gd name="connsiteX4" fmla="*/ 47603 w 249917"/>
                <a:gd name="connsiteY4" fmla="*/ 57233 h 530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917" h="530030">
                  <a:moveTo>
                    <a:pt x="47603" y="57233"/>
                  </a:moveTo>
                  <a:cubicBezTo>
                    <a:pt x="47603" y="57233"/>
                    <a:pt x="157686" y="244671"/>
                    <a:pt x="0" y="509465"/>
                  </a:cubicBezTo>
                  <a:cubicBezTo>
                    <a:pt x="0" y="509465"/>
                    <a:pt x="133884" y="565994"/>
                    <a:pt x="249917" y="491613"/>
                  </a:cubicBezTo>
                  <a:cubicBezTo>
                    <a:pt x="249917" y="491613"/>
                    <a:pt x="240991" y="247646"/>
                    <a:pt x="119008" y="3679"/>
                  </a:cubicBezTo>
                  <a:cubicBezTo>
                    <a:pt x="107107" y="-17147"/>
                    <a:pt x="47603" y="57233"/>
                    <a:pt x="47603" y="57233"/>
                  </a:cubicBezTo>
                  <a:close/>
                </a:path>
              </a:pathLst>
            </a:custGeom>
            <a:solidFill>
              <a:srgbClr val="664241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74D80B00-9A1E-48DD-BACD-FF32947A60BC}"/>
                </a:ext>
              </a:extLst>
            </p:cNvPr>
            <p:cNvSpPr/>
            <p:nvPr/>
          </p:nvSpPr>
          <p:spPr>
            <a:xfrm>
              <a:off x="7954902" y="2511120"/>
              <a:ext cx="93917" cy="468429"/>
            </a:xfrm>
            <a:custGeom>
              <a:avLst/>
              <a:gdLst>
                <a:gd name="connsiteX0" fmla="*/ 5950 w 93917"/>
                <a:gd name="connsiteY0" fmla="*/ 468430 h 468429"/>
                <a:gd name="connsiteX1" fmla="*/ 5950 w 93917"/>
                <a:gd name="connsiteY1" fmla="*/ 468430 h 468429"/>
                <a:gd name="connsiteX2" fmla="*/ 0 w 93917"/>
                <a:gd name="connsiteY2" fmla="*/ 459504 h 468429"/>
                <a:gd name="connsiteX3" fmla="*/ 77356 w 93917"/>
                <a:gd name="connsiteY3" fmla="*/ 129256 h 468429"/>
                <a:gd name="connsiteX4" fmla="*/ 35702 w 93917"/>
                <a:gd name="connsiteY4" fmla="*/ 10248 h 468429"/>
                <a:gd name="connsiteX5" fmla="*/ 35702 w 93917"/>
                <a:gd name="connsiteY5" fmla="*/ 1322 h 468429"/>
                <a:gd name="connsiteX6" fmla="*/ 44628 w 93917"/>
                <a:gd name="connsiteY6" fmla="*/ 1322 h 468429"/>
                <a:gd name="connsiteX7" fmla="*/ 89256 w 93917"/>
                <a:gd name="connsiteY7" fmla="*/ 123306 h 468429"/>
                <a:gd name="connsiteX8" fmla="*/ 11901 w 93917"/>
                <a:gd name="connsiteY8" fmla="*/ 462479 h 468429"/>
                <a:gd name="connsiteX9" fmla="*/ 5950 w 93917"/>
                <a:gd name="connsiteY9" fmla="*/ 468430 h 46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917" h="468429">
                  <a:moveTo>
                    <a:pt x="5950" y="468430"/>
                  </a:moveTo>
                  <a:cubicBezTo>
                    <a:pt x="2975" y="468430"/>
                    <a:pt x="2975" y="468430"/>
                    <a:pt x="5950" y="468430"/>
                  </a:cubicBezTo>
                  <a:cubicBezTo>
                    <a:pt x="0" y="465455"/>
                    <a:pt x="0" y="462479"/>
                    <a:pt x="0" y="459504"/>
                  </a:cubicBezTo>
                  <a:cubicBezTo>
                    <a:pt x="80330" y="313719"/>
                    <a:pt x="86281" y="197686"/>
                    <a:pt x="77356" y="129256"/>
                  </a:cubicBezTo>
                  <a:cubicBezTo>
                    <a:pt x="65454" y="51901"/>
                    <a:pt x="35702" y="10248"/>
                    <a:pt x="35702" y="10248"/>
                  </a:cubicBezTo>
                  <a:cubicBezTo>
                    <a:pt x="32727" y="7273"/>
                    <a:pt x="35702" y="4298"/>
                    <a:pt x="35702" y="1322"/>
                  </a:cubicBezTo>
                  <a:cubicBezTo>
                    <a:pt x="38678" y="-1653"/>
                    <a:pt x="41653" y="1322"/>
                    <a:pt x="44628" y="1322"/>
                  </a:cubicBezTo>
                  <a:cubicBezTo>
                    <a:pt x="44628" y="4298"/>
                    <a:pt x="77356" y="45950"/>
                    <a:pt x="89256" y="123306"/>
                  </a:cubicBezTo>
                  <a:cubicBezTo>
                    <a:pt x="101157" y="194711"/>
                    <a:pt x="95207" y="313719"/>
                    <a:pt x="11901" y="462479"/>
                  </a:cubicBezTo>
                  <a:cubicBezTo>
                    <a:pt x="8926" y="468430"/>
                    <a:pt x="5950" y="468430"/>
                    <a:pt x="5950" y="468430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4" name="图形 1">
              <a:extLst>
                <a:ext uri="{FF2B5EF4-FFF2-40B4-BE49-F238E27FC236}">
                  <a16:creationId xmlns:a16="http://schemas.microsoft.com/office/drawing/2014/main" id="{DBCC3E69-EC3B-4908-9F60-A59751869900}"/>
                </a:ext>
              </a:extLst>
            </p:cNvPr>
            <p:cNvGrpSpPr/>
            <p:nvPr/>
          </p:nvGrpSpPr>
          <p:grpSpPr>
            <a:xfrm>
              <a:off x="7571097" y="2235610"/>
              <a:ext cx="726519" cy="312533"/>
              <a:chOff x="7571097" y="2235610"/>
              <a:chExt cx="726519" cy="312533"/>
            </a:xfrm>
          </p:grpSpPr>
          <p:grpSp>
            <p:nvGrpSpPr>
              <p:cNvPr id="115" name="图形 1">
                <a:extLst>
                  <a:ext uri="{FF2B5EF4-FFF2-40B4-BE49-F238E27FC236}">
                    <a16:creationId xmlns:a16="http://schemas.microsoft.com/office/drawing/2014/main" id="{DBCC3E69-EC3B-4908-9F60-A59751869900}"/>
                  </a:ext>
                </a:extLst>
              </p:cNvPr>
              <p:cNvGrpSpPr/>
              <p:nvPr/>
            </p:nvGrpSpPr>
            <p:grpSpPr>
              <a:xfrm>
                <a:off x="7571097" y="2235610"/>
                <a:ext cx="726519" cy="306315"/>
                <a:chOff x="7571097" y="2235610"/>
                <a:chExt cx="726519" cy="306315"/>
              </a:xfrm>
            </p:grpSpPr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522E8120-E4D4-442C-BCD1-29E8BFE409E7}"/>
                    </a:ext>
                  </a:extLst>
                </p:cNvPr>
                <p:cNvSpPr/>
                <p:nvPr/>
              </p:nvSpPr>
              <p:spPr>
                <a:xfrm>
                  <a:off x="7571097" y="2235610"/>
                  <a:ext cx="580168" cy="306315"/>
                </a:xfrm>
                <a:custGeom>
                  <a:avLst/>
                  <a:gdLst>
                    <a:gd name="connsiteX0" fmla="*/ 166615 w 580168"/>
                    <a:gd name="connsiteY0" fmla="*/ 17989 h 306315"/>
                    <a:gd name="connsiteX1" fmla="*/ 577193 w 580168"/>
                    <a:gd name="connsiteY1" fmla="*/ 131046 h 306315"/>
                    <a:gd name="connsiteX2" fmla="*/ 580169 w 580168"/>
                    <a:gd name="connsiteY2" fmla="*/ 139972 h 306315"/>
                    <a:gd name="connsiteX3" fmla="*/ 508764 w 580168"/>
                    <a:gd name="connsiteY3" fmla="*/ 196501 h 306315"/>
                    <a:gd name="connsiteX4" fmla="*/ 529590 w 580168"/>
                    <a:gd name="connsiteY4" fmla="*/ 276831 h 306315"/>
                    <a:gd name="connsiteX5" fmla="*/ 529590 w 580168"/>
                    <a:gd name="connsiteY5" fmla="*/ 282782 h 306315"/>
                    <a:gd name="connsiteX6" fmla="*/ 523640 w 580168"/>
                    <a:gd name="connsiteY6" fmla="*/ 285757 h 306315"/>
                    <a:gd name="connsiteX7" fmla="*/ 208268 w 580168"/>
                    <a:gd name="connsiteY7" fmla="*/ 303608 h 306315"/>
                    <a:gd name="connsiteX8" fmla="*/ 5954 w 580168"/>
                    <a:gd name="connsiteY8" fmla="*/ 264931 h 306315"/>
                    <a:gd name="connsiteX9" fmla="*/ 3 w 580168"/>
                    <a:gd name="connsiteY9" fmla="*/ 258980 h 306315"/>
                    <a:gd name="connsiteX10" fmla="*/ 166615 w 580168"/>
                    <a:gd name="connsiteY10" fmla="*/ 17989 h 306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80168" h="306315">
                      <a:moveTo>
                        <a:pt x="166615" y="17989"/>
                      </a:moveTo>
                      <a:cubicBezTo>
                        <a:pt x="318350" y="-26640"/>
                        <a:pt x="470086" y="12038"/>
                        <a:pt x="577193" y="131046"/>
                      </a:cubicBezTo>
                      <a:cubicBezTo>
                        <a:pt x="580169" y="134022"/>
                        <a:pt x="580169" y="136997"/>
                        <a:pt x="580169" y="139972"/>
                      </a:cubicBezTo>
                      <a:cubicBezTo>
                        <a:pt x="580169" y="142947"/>
                        <a:pt x="559342" y="187575"/>
                        <a:pt x="508764" y="196501"/>
                      </a:cubicBezTo>
                      <a:cubicBezTo>
                        <a:pt x="523640" y="235179"/>
                        <a:pt x="529590" y="273856"/>
                        <a:pt x="529590" y="276831"/>
                      </a:cubicBezTo>
                      <a:cubicBezTo>
                        <a:pt x="529590" y="279807"/>
                        <a:pt x="529590" y="279807"/>
                        <a:pt x="529590" y="282782"/>
                      </a:cubicBezTo>
                      <a:cubicBezTo>
                        <a:pt x="529590" y="285757"/>
                        <a:pt x="526615" y="285757"/>
                        <a:pt x="523640" y="285757"/>
                      </a:cubicBezTo>
                      <a:cubicBezTo>
                        <a:pt x="392731" y="306584"/>
                        <a:pt x="288598" y="309559"/>
                        <a:pt x="208268" y="303608"/>
                      </a:cubicBezTo>
                      <a:cubicBezTo>
                        <a:pt x="77359" y="294683"/>
                        <a:pt x="11904" y="264931"/>
                        <a:pt x="5954" y="264931"/>
                      </a:cubicBezTo>
                      <a:cubicBezTo>
                        <a:pt x="2978" y="264931"/>
                        <a:pt x="3" y="261955"/>
                        <a:pt x="3" y="258980"/>
                      </a:cubicBezTo>
                      <a:cubicBezTo>
                        <a:pt x="3" y="256005"/>
                        <a:pt x="-2972" y="68567"/>
                        <a:pt x="166615" y="1798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6C53DA1C-FD90-43DC-86FB-6A8C12FB6E20}"/>
                    </a:ext>
                  </a:extLst>
                </p:cNvPr>
                <p:cNvSpPr/>
                <p:nvPr/>
              </p:nvSpPr>
              <p:spPr>
                <a:xfrm>
                  <a:off x="8091198" y="2264934"/>
                  <a:ext cx="206419" cy="205855"/>
                </a:xfrm>
                <a:custGeom>
                  <a:avLst/>
                  <a:gdLst>
                    <a:gd name="connsiteX0" fmla="*/ 24366 w 206419"/>
                    <a:gd name="connsiteY0" fmla="*/ 36269 h 205855"/>
                    <a:gd name="connsiteX1" fmla="*/ 92795 w 206419"/>
                    <a:gd name="connsiteY1" fmla="*/ 566 h 205855"/>
                    <a:gd name="connsiteX2" fmla="*/ 205853 w 206419"/>
                    <a:gd name="connsiteY2" fmla="*/ 92798 h 205855"/>
                    <a:gd name="connsiteX3" fmla="*/ 113622 w 206419"/>
                    <a:gd name="connsiteY3" fmla="*/ 205855 h 205855"/>
                    <a:gd name="connsiteX4" fmla="*/ 95770 w 206419"/>
                    <a:gd name="connsiteY4" fmla="*/ 205855 h 205855"/>
                    <a:gd name="connsiteX5" fmla="*/ 36266 w 206419"/>
                    <a:gd name="connsiteY5" fmla="*/ 182054 h 205855"/>
                    <a:gd name="connsiteX6" fmla="*/ 564 w 206419"/>
                    <a:gd name="connsiteY6" fmla="*/ 113624 h 205855"/>
                    <a:gd name="connsiteX7" fmla="*/ 24366 w 206419"/>
                    <a:gd name="connsiteY7" fmla="*/ 36269 h 205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6419" h="205855">
                      <a:moveTo>
                        <a:pt x="24366" y="36269"/>
                      </a:moveTo>
                      <a:cubicBezTo>
                        <a:pt x="42217" y="15442"/>
                        <a:pt x="66018" y="566"/>
                        <a:pt x="92795" y="566"/>
                      </a:cubicBezTo>
                      <a:cubicBezTo>
                        <a:pt x="149324" y="-5384"/>
                        <a:pt x="199903" y="36269"/>
                        <a:pt x="205853" y="92798"/>
                      </a:cubicBezTo>
                      <a:cubicBezTo>
                        <a:pt x="211803" y="149326"/>
                        <a:pt x="170151" y="199905"/>
                        <a:pt x="113622" y="205855"/>
                      </a:cubicBezTo>
                      <a:cubicBezTo>
                        <a:pt x="107671" y="205855"/>
                        <a:pt x="101721" y="205855"/>
                        <a:pt x="95770" y="205855"/>
                      </a:cubicBezTo>
                      <a:cubicBezTo>
                        <a:pt x="74944" y="205855"/>
                        <a:pt x="54118" y="196930"/>
                        <a:pt x="36266" y="182054"/>
                      </a:cubicBezTo>
                      <a:cubicBezTo>
                        <a:pt x="15440" y="164202"/>
                        <a:pt x="564" y="140401"/>
                        <a:pt x="564" y="113624"/>
                      </a:cubicBezTo>
                      <a:cubicBezTo>
                        <a:pt x="-2412" y="86847"/>
                        <a:pt x="6514" y="60070"/>
                        <a:pt x="24366" y="3626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FAD8F63D-C365-4FC3-A7B9-B1B3C059B2AD}"/>
                    </a:ext>
                  </a:extLst>
                </p:cNvPr>
                <p:cNvSpPr/>
                <p:nvPr/>
              </p:nvSpPr>
              <p:spPr>
                <a:xfrm>
                  <a:off x="8085247" y="2258986"/>
                  <a:ext cx="212336" cy="214778"/>
                </a:xfrm>
                <a:custGeom>
                  <a:avLst/>
                  <a:gdLst>
                    <a:gd name="connsiteX0" fmla="*/ 107671 w 212336"/>
                    <a:gd name="connsiteY0" fmla="*/ 214779 h 214778"/>
                    <a:gd name="connsiteX1" fmla="*/ 101721 w 212336"/>
                    <a:gd name="connsiteY1" fmla="*/ 214779 h 214778"/>
                    <a:gd name="connsiteX2" fmla="*/ 39241 w 212336"/>
                    <a:gd name="connsiteY2" fmla="*/ 190977 h 214778"/>
                    <a:gd name="connsiteX3" fmla="*/ 564 w 212336"/>
                    <a:gd name="connsiteY3" fmla="*/ 119572 h 214778"/>
                    <a:gd name="connsiteX4" fmla="*/ 24365 w 212336"/>
                    <a:gd name="connsiteY4" fmla="*/ 39242 h 214778"/>
                    <a:gd name="connsiteX5" fmla="*/ 95770 w 212336"/>
                    <a:gd name="connsiteY5" fmla="*/ 564 h 214778"/>
                    <a:gd name="connsiteX6" fmla="*/ 173125 w 212336"/>
                    <a:gd name="connsiteY6" fmla="*/ 24365 h 214778"/>
                    <a:gd name="connsiteX7" fmla="*/ 211803 w 212336"/>
                    <a:gd name="connsiteY7" fmla="*/ 95770 h 214778"/>
                    <a:gd name="connsiteX8" fmla="*/ 116597 w 212336"/>
                    <a:gd name="connsiteY8" fmla="*/ 214779 h 214778"/>
                    <a:gd name="connsiteX9" fmla="*/ 107671 w 212336"/>
                    <a:gd name="connsiteY9" fmla="*/ 214779 h 214778"/>
                    <a:gd name="connsiteX10" fmla="*/ 107671 w 212336"/>
                    <a:gd name="connsiteY10" fmla="*/ 12465 h 214778"/>
                    <a:gd name="connsiteX11" fmla="*/ 98745 w 212336"/>
                    <a:gd name="connsiteY11" fmla="*/ 12465 h 214778"/>
                    <a:gd name="connsiteX12" fmla="*/ 33291 w 212336"/>
                    <a:gd name="connsiteY12" fmla="*/ 48167 h 214778"/>
                    <a:gd name="connsiteX13" fmla="*/ 12465 w 212336"/>
                    <a:gd name="connsiteY13" fmla="*/ 119572 h 214778"/>
                    <a:gd name="connsiteX14" fmla="*/ 48167 w 212336"/>
                    <a:gd name="connsiteY14" fmla="*/ 185027 h 214778"/>
                    <a:gd name="connsiteX15" fmla="*/ 101721 w 212336"/>
                    <a:gd name="connsiteY15" fmla="*/ 205853 h 214778"/>
                    <a:gd name="connsiteX16" fmla="*/ 116597 w 212336"/>
                    <a:gd name="connsiteY16" fmla="*/ 205853 h 214778"/>
                    <a:gd name="connsiteX17" fmla="*/ 202878 w 212336"/>
                    <a:gd name="connsiteY17" fmla="*/ 98746 h 214778"/>
                    <a:gd name="connsiteX18" fmla="*/ 167175 w 212336"/>
                    <a:gd name="connsiteY18" fmla="*/ 33291 h 214778"/>
                    <a:gd name="connsiteX19" fmla="*/ 107671 w 212336"/>
                    <a:gd name="connsiteY19" fmla="*/ 12465 h 214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12336" h="214778">
                      <a:moveTo>
                        <a:pt x="107671" y="214779"/>
                      </a:moveTo>
                      <a:cubicBezTo>
                        <a:pt x="104696" y="214779"/>
                        <a:pt x="101721" y="214779"/>
                        <a:pt x="101721" y="214779"/>
                      </a:cubicBezTo>
                      <a:cubicBezTo>
                        <a:pt x="77919" y="214779"/>
                        <a:pt x="57093" y="205853"/>
                        <a:pt x="39241" y="190977"/>
                      </a:cubicBezTo>
                      <a:cubicBezTo>
                        <a:pt x="18415" y="173126"/>
                        <a:pt x="3539" y="146349"/>
                        <a:pt x="564" y="119572"/>
                      </a:cubicBezTo>
                      <a:cubicBezTo>
                        <a:pt x="-2412" y="89820"/>
                        <a:pt x="6514" y="63043"/>
                        <a:pt x="24365" y="39242"/>
                      </a:cubicBezTo>
                      <a:cubicBezTo>
                        <a:pt x="42217" y="18415"/>
                        <a:pt x="68993" y="3539"/>
                        <a:pt x="95770" y="564"/>
                      </a:cubicBezTo>
                      <a:cubicBezTo>
                        <a:pt x="125522" y="-2411"/>
                        <a:pt x="152299" y="6514"/>
                        <a:pt x="173125" y="24365"/>
                      </a:cubicBezTo>
                      <a:cubicBezTo>
                        <a:pt x="196927" y="42217"/>
                        <a:pt x="208828" y="68994"/>
                        <a:pt x="211803" y="95770"/>
                      </a:cubicBezTo>
                      <a:cubicBezTo>
                        <a:pt x="217754" y="155275"/>
                        <a:pt x="173125" y="208828"/>
                        <a:pt x="116597" y="214779"/>
                      </a:cubicBezTo>
                      <a:cubicBezTo>
                        <a:pt x="116597" y="214779"/>
                        <a:pt x="113621" y="214779"/>
                        <a:pt x="107671" y="214779"/>
                      </a:cubicBezTo>
                      <a:close/>
                      <a:moveTo>
                        <a:pt x="107671" y="12465"/>
                      </a:moveTo>
                      <a:cubicBezTo>
                        <a:pt x="104696" y="12465"/>
                        <a:pt x="101721" y="12465"/>
                        <a:pt x="98745" y="12465"/>
                      </a:cubicBezTo>
                      <a:cubicBezTo>
                        <a:pt x="71969" y="15440"/>
                        <a:pt x="51142" y="27341"/>
                        <a:pt x="33291" y="48167"/>
                      </a:cubicBezTo>
                      <a:cubicBezTo>
                        <a:pt x="18415" y="68994"/>
                        <a:pt x="9489" y="92795"/>
                        <a:pt x="12465" y="119572"/>
                      </a:cubicBezTo>
                      <a:cubicBezTo>
                        <a:pt x="15440" y="146349"/>
                        <a:pt x="27341" y="167175"/>
                        <a:pt x="48167" y="185027"/>
                      </a:cubicBezTo>
                      <a:cubicBezTo>
                        <a:pt x="63043" y="196927"/>
                        <a:pt x="83869" y="205853"/>
                        <a:pt x="101721" y="205853"/>
                      </a:cubicBezTo>
                      <a:cubicBezTo>
                        <a:pt x="107671" y="205853"/>
                        <a:pt x="113621" y="205853"/>
                        <a:pt x="116597" y="205853"/>
                      </a:cubicBezTo>
                      <a:cubicBezTo>
                        <a:pt x="170151" y="199903"/>
                        <a:pt x="208828" y="152299"/>
                        <a:pt x="202878" y="98746"/>
                      </a:cubicBezTo>
                      <a:cubicBezTo>
                        <a:pt x="199903" y="71969"/>
                        <a:pt x="188002" y="51142"/>
                        <a:pt x="167175" y="33291"/>
                      </a:cubicBezTo>
                      <a:cubicBezTo>
                        <a:pt x="152299" y="18415"/>
                        <a:pt x="131473" y="12465"/>
                        <a:pt x="107671" y="12465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16B8DA76-D69A-437D-B4F8-54749B98A897}"/>
                  </a:ext>
                </a:extLst>
              </p:cNvPr>
              <p:cNvSpPr/>
              <p:nvPr/>
            </p:nvSpPr>
            <p:spPr>
              <a:xfrm>
                <a:off x="7577051" y="2429136"/>
                <a:ext cx="511735" cy="53553"/>
              </a:xfrm>
              <a:custGeom>
                <a:avLst/>
                <a:gdLst>
                  <a:gd name="connsiteX0" fmla="*/ 288595 w 511735"/>
                  <a:gd name="connsiteY0" fmla="*/ 53554 h 53553"/>
                  <a:gd name="connsiteX1" fmla="*/ 0 w 511735"/>
                  <a:gd name="connsiteY1" fmla="*/ 8926 h 53553"/>
                  <a:gd name="connsiteX2" fmla="*/ 5950 w 511735"/>
                  <a:gd name="connsiteY2" fmla="*/ 0 h 53553"/>
                  <a:gd name="connsiteX3" fmla="*/ 508761 w 511735"/>
                  <a:gd name="connsiteY3" fmla="*/ 29752 h 53553"/>
                  <a:gd name="connsiteX4" fmla="*/ 511735 w 511735"/>
                  <a:gd name="connsiteY4" fmla="*/ 41653 h 53553"/>
                  <a:gd name="connsiteX5" fmla="*/ 288595 w 511735"/>
                  <a:gd name="connsiteY5" fmla="*/ 53554 h 53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1735" h="53553">
                    <a:moveTo>
                      <a:pt x="288595" y="53554"/>
                    </a:moveTo>
                    <a:cubicBezTo>
                      <a:pt x="190413" y="53554"/>
                      <a:pt x="77356" y="44628"/>
                      <a:pt x="0" y="8926"/>
                    </a:cubicBezTo>
                    <a:lnTo>
                      <a:pt x="5950" y="0"/>
                    </a:lnTo>
                    <a:cubicBezTo>
                      <a:pt x="172562" y="77355"/>
                      <a:pt x="505785" y="29752"/>
                      <a:pt x="508761" y="29752"/>
                    </a:cubicBezTo>
                    <a:lnTo>
                      <a:pt x="511735" y="41653"/>
                    </a:lnTo>
                    <a:cubicBezTo>
                      <a:pt x="505785" y="38678"/>
                      <a:pt x="407603" y="53554"/>
                      <a:pt x="288595" y="53554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D582B8F1-19E7-4B8F-8EFA-1C5BBD27CF9E}"/>
                  </a:ext>
                </a:extLst>
              </p:cNvPr>
              <p:cNvSpPr/>
              <p:nvPr/>
            </p:nvSpPr>
            <p:spPr>
              <a:xfrm>
                <a:off x="7572843" y="2402359"/>
                <a:ext cx="531010" cy="145785"/>
              </a:xfrm>
              <a:custGeom>
                <a:avLst/>
                <a:gdLst>
                  <a:gd name="connsiteX0" fmla="*/ 304704 w 531010"/>
                  <a:gd name="connsiteY0" fmla="*/ 145785 h 145785"/>
                  <a:gd name="connsiteX1" fmla="*/ 4208 w 531010"/>
                  <a:gd name="connsiteY1" fmla="*/ 104132 h 145785"/>
                  <a:gd name="connsiteX2" fmla="*/ 1232 w 531010"/>
                  <a:gd name="connsiteY2" fmla="*/ 98182 h 145785"/>
                  <a:gd name="connsiteX3" fmla="*/ 7183 w 531010"/>
                  <a:gd name="connsiteY3" fmla="*/ 95207 h 145785"/>
                  <a:gd name="connsiteX4" fmla="*/ 521893 w 531010"/>
                  <a:gd name="connsiteY4" fmla="*/ 113058 h 145785"/>
                  <a:gd name="connsiteX5" fmla="*/ 492141 w 531010"/>
                  <a:gd name="connsiteY5" fmla="*/ 5950 h 145785"/>
                  <a:gd name="connsiteX6" fmla="*/ 495117 w 531010"/>
                  <a:gd name="connsiteY6" fmla="*/ 0 h 145785"/>
                  <a:gd name="connsiteX7" fmla="*/ 501067 w 531010"/>
                  <a:gd name="connsiteY7" fmla="*/ 2975 h 145785"/>
                  <a:gd name="connsiteX8" fmla="*/ 530819 w 531010"/>
                  <a:gd name="connsiteY8" fmla="*/ 119008 h 145785"/>
                  <a:gd name="connsiteX9" fmla="*/ 530819 w 531010"/>
                  <a:gd name="connsiteY9" fmla="*/ 121983 h 145785"/>
                  <a:gd name="connsiteX10" fmla="*/ 527844 w 531010"/>
                  <a:gd name="connsiteY10" fmla="*/ 121983 h 145785"/>
                  <a:gd name="connsiteX11" fmla="*/ 304704 w 531010"/>
                  <a:gd name="connsiteY11" fmla="*/ 145785 h 145785"/>
                  <a:gd name="connsiteX12" fmla="*/ 524869 w 531010"/>
                  <a:gd name="connsiteY12" fmla="*/ 116033 h 145785"/>
                  <a:gd name="connsiteX13" fmla="*/ 524869 w 531010"/>
                  <a:gd name="connsiteY13" fmla="*/ 116033 h 145785"/>
                  <a:gd name="connsiteX14" fmla="*/ 524869 w 531010"/>
                  <a:gd name="connsiteY14" fmla="*/ 116033 h 145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31010" h="145785">
                    <a:moveTo>
                      <a:pt x="304704" y="145785"/>
                    </a:moveTo>
                    <a:cubicBezTo>
                      <a:pt x="218422" y="145785"/>
                      <a:pt x="114290" y="136860"/>
                      <a:pt x="4208" y="104132"/>
                    </a:cubicBezTo>
                    <a:cubicBezTo>
                      <a:pt x="1232" y="104132"/>
                      <a:pt x="-1743" y="101157"/>
                      <a:pt x="1232" y="98182"/>
                    </a:cubicBezTo>
                    <a:cubicBezTo>
                      <a:pt x="1232" y="95207"/>
                      <a:pt x="4208" y="92231"/>
                      <a:pt x="7183" y="95207"/>
                    </a:cubicBezTo>
                    <a:cubicBezTo>
                      <a:pt x="271976" y="172562"/>
                      <a:pt x="489166" y="121983"/>
                      <a:pt x="521893" y="113058"/>
                    </a:cubicBezTo>
                    <a:cubicBezTo>
                      <a:pt x="521893" y="77355"/>
                      <a:pt x="492141" y="5950"/>
                      <a:pt x="492141" y="5950"/>
                    </a:cubicBezTo>
                    <a:cubicBezTo>
                      <a:pt x="492141" y="2975"/>
                      <a:pt x="492141" y="0"/>
                      <a:pt x="495117" y="0"/>
                    </a:cubicBezTo>
                    <a:cubicBezTo>
                      <a:pt x="498092" y="0"/>
                      <a:pt x="501067" y="0"/>
                      <a:pt x="501067" y="2975"/>
                    </a:cubicBezTo>
                    <a:cubicBezTo>
                      <a:pt x="501067" y="5950"/>
                      <a:pt x="533795" y="83306"/>
                      <a:pt x="530819" y="119008"/>
                    </a:cubicBezTo>
                    <a:lnTo>
                      <a:pt x="530819" y="121983"/>
                    </a:lnTo>
                    <a:lnTo>
                      <a:pt x="527844" y="121983"/>
                    </a:lnTo>
                    <a:cubicBezTo>
                      <a:pt x="524869" y="121983"/>
                      <a:pt x="438588" y="145785"/>
                      <a:pt x="304704" y="145785"/>
                    </a:cubicBezTo>
                    <a:close/>
                    <a:moveTo>
                      <a:pt x="524869" y="116033"/>
                    </a:moveTo>
                    <a:lnTo>
                      <a:pt x="524869" y="116033"/>
                    </a:lnTo>
                    <a:lnTo>
                      <a:pt x="524869" y="116033"/>
                    </a:lnTo>
                    <a:close/>
                  </a:path>
                </a:pathLst>
              </a:custGeom>
              <a:solidFill>
                <a:srgbClr val="38343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786AFF09-04E1-4C3C-B851-C3772BF987F3}"/>
                </a:ext>
              </a:extLst>
            </p:cNvPr>
            <p:cNvSpPr/>
            <p:nvPr/>
          </p:nvSpPr>
          <p:spPr>
            <a:xfrm>
              <a:off x="7711277" y="3085424"/>
              <a:ext cx="97453" cy="1405530"/>
            </a:xfrm>
            <a:custGeom>
              <a:avLst/>
              <a:gdLst>
                <a:gd name="connsiteX0" fmla="*/ 71063 w 97453"/>
                <a:gd name="connsiteY0" fmla="*/ 1405530 h 1405530"/>
                <a:gd name="connsiteX1" fmla="*/ 71063 w 97453"/>
                <a:gd name="connsiteY1" fmla="*/ 1405530 h 1405530"/>
                <a:gd name="connsiteX2" fmla="*/ 65113 w 97453"/>
                <a:gd name="connsiteY2" fmla="*/ 1396604 h 1405530"/>
                <a:gd name="connsiteX3" fmla="*/ 8584 w 97453"/>
                <a:gd name="connsiteY3" fmla="*/ 551646 h 1405530"/>
                <a:gd name="connsiteX4" fmla="*/ 47262 w 97453"/>
                <a:gd name="connsiteY4" fmla="*/ 4208 h 1405530"/>
                <a:gd name="connsiteX5" fmla="*/ 53212 w 97453"/>
                <a:gd name="connsiteY5" fmla="*/ 1232 h 1405530"/>
                <a:gd name="connsiteX6" fmla="*/ 56187 w 97453"/>
                <a:gd name="connsiteY6" fmla="*/ 7183 h 1405530"/>
                <a:gd name="connsiteX7" fmla="*/ 17510 w 97453"/>
                <a:gd name="connsiteY7" fmla="*/ 551646 h 1405530"/>
                <a:gd name="connsiteX8" fmla="*/ 74038 w 97453"/>
                <a:gd name="connsiteY8" fmla="*/ 1402555 h 1405530"/>
                <a:gd name="connsiteX9" fmla="*/ 71063 w 97453"/>
                <a:gd name="connsiteY9" fmla="*/ 1405530 h 1405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453" h="1405530">
                  <a:moveTo>
                    <a:pt x="71063" y="1405530"/>
                  </a:moveTo>
                  <a:cubicBezTo>
                    <a:pt x="68088" y="1405530"/>
                    <a:pt x="68088" y="1405530"/>
                    <a:pt x="71063" y="1405530"/>
                  </a:cubicBezTo>
                  <a:cubicBezTo>
                    <a:pt x="65113" y="1405530"/>
                    <a:pt x="65113" y="1399580"/>
                    <a:pt x="65113" y="1396604"/>
                  </a:cubicBezTo>
                  <a:cubicBezTo>
                    <a:pt x="109741" y="1283546"/>
                    <a:pt x="88914" y="983051"/>
                    <a:pt x="8584" y="551646"/>
                  </a:cubicBezTo>
                  <a:cubicBezTo>
                    <a:pt x="-24144" y="373133"/>
                    <a:pt x="47262" y="7183"/>
                    <a:pt x="47262" y="4208"/>
                  </a:cubicBezTo>
                  <a:cubicBezTo>
                    <a:pt x="47262" y="1232"/>
                    <a:pt x="50237" y="-1743"/>
                    <a:pt x="53212" y="1232"/>
                  </a:cubicBezTo>
                  <a:cubicBezTo>
                    <a:pt x="56187" y="1232"/>
                    <a:pt x="59162" y="4208"/>
                    <a:pt x="56187" y="7183"/>
                  </a:cubicBezTo>
                  <a:cubicBezTo>
                    <a:pt x="56187" y="10158"/>
                    <a:pt x="-15218" y="376108"/>
                    <a:pt x="17510" y="551646"/>
                  </a:cubicBezTo>
                  <a:cubicBezTo>
                    <a:pt x="74038" y="858092"/>
                    <a:pt x="130567" y="1253794"/>
                    <a:pt x="74038" y="1402555"/>
                  </a:cubicBezTo>
                  <a:cubicBezTo>
                    <a:pt x="74038" y="1405530"/>
                    <a:pt x="71063" y="1405530"/>
                    <a:pt x="71063" y="1405530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E9625454-EFAB-4695-8E95-0EA15B2B3CC3}"/>
                </a:ext>
              </a:extLst>
            </p:cNvPr>
            <p:cNvSpPr/>
            <p:nvPr/>
          </p:nvSpPr>
          <p:spPr>
            <a:xfrm>
              <a:off x="8097712" y="4089301"/>
              <a:ext cx="255867" cy="240991"/>
            </a:xfrm>
            <a:custGeom>
              <a:avLst/>
              <a:gdLst>
                <a:gd name="connsiteX0" fmla="*/ 211240 w 255867"/>
                <a:gd name="connsiteY0" fmla="*/ 240992 h 240991"/>
                <a:gd name="connsiteX1" fmla="*/ 208264 w 255867"/>
                <a:gd name="connsiteY1" fmla="*/ 240992 h 240991"/>
                <a:gd name="connsiteX2" fmla="*/ 0 w 255867"/>
                <a:gd name="connsiteY2" fmla="*/ 38678 h 240991"/>
                <a:gd name="connsiteX3" fmla="*/ 0 w 255867"/>
                <a:gd name="connsiteY3" fmla="*/ 35702 h 240991"/>
                <a:gd name="connsiteX4" fmla="*/ 83306 w 255867"/>
                <a:gd name="connsiteY4" fmla="*/ 0 h 240991"/>
                <a:gd name="connsiteX5" fmla="*/ 86281 w 255867"/>
                <a:gd name="connsiteY5" fmla="*/ 5950 h 240991"/>
                <a:gd name="connsiteX6" fmla="*/ 249917 w 255867"/>
                <a:gd name="connsiteY6" fmla="*/ 178512 h 240991"/>
                <a:gd name="connsiteX7" fmla="*/ 255868 w 255867"/>
                <a:gd name="connsiteY7" fmla="*/ 181488 h 240991"/>
                <a:gd name="connsiteX8" fmla="*/ 211240 w 255867"/>
                <a:gd name="connsiteY8" fmla="*/ 240992 h 240991"/>
                <a:gd name="connsiteX9" fmla="*/ 8926 w 255867"/>
                <a:gd name="connsiteY9" fmla="*/ 38678 h 240991"/>
                <a:gd name="connsiteX10" fmla="*/ 205289 w 255867"/>
                <a:gd name="connsiteY10" fmla="*/ 226116 h 240991"/>
                <a:gd name="connsiteX11" fmla="*/ 235041 w 255867"/>
                <a:gd name="connsiteY11" fmla="*/ 181488 h 240991"/>
                <a:gd name="connsiteX12" fmla="*/ 74380 w 255867"/>
                <a:gd name="connsiteY12" fmla="*/ 11901 h 240991"/>
                <a:gd name="connsiteX13" fmla="*/ 8926 w 255867"/>
                <a:gd name="connsiteY13" fmla="*/ 38678 h 24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5867" h="240991">
                  <a:moveTo>
                    <a:pt x="211240" y="240992"/>
                  </a:moveTo>
                  <a:lnTo>
                    <a:pt x="208264" y="240992"/>
                  </a:lnTo>
                  <a:cubicBezTo>
                    <a:pt x="20826" y="181488"/>
                    <a:pt x="0" y="41653"/>
                    <a:pt x="0" y="38678"/>
                  </a:cubicBezTo>
                  <a:lnTo>
                    <a:pt x="0" y="35702"/>
                  </a:lnTo>
                  <a:lnTo>
                    <a:pt x="83306" y="0"/>
                  </a:lnTo>
                  <a:lnTo>
                    <a:pt x="86281" y="5950"/>
                  </a:lnTo>
                  <a:cubicBezTo>
                    <a:pt x="86281" y="5950"/>
                    <a:pt x="139835" y="148760"/>
                    <a:pt x="249917" y="178512"/>
                  </a:cubicBezTo>
                  <a:lnTo>
                    <a:pt x="255868" y="181488"/>
                  </a:lnTo>
                  <a:lnTo>
                    <a:pt x="211240" y="240992"/>
                  </a:lnTo>
                  <a:close/>
                  <a:moveTo>
                    <a:pt x="8926" y="38678"/>
                  </a:moveTo>
                  <a:cubicBezTo>
                    <a:pt x="14876" y="62479"/>
                    <a:pt x="47603" y="172562"/>
                    <a:pt x="205289" y="226116"/>
                  </a:cubicBezTo>
                  <a:lnTo>
                    <a:pt x="235041" y="181488"/>
                  </a:lnTo>
                  <a:cubicBezTo>
                    <a:pt x="136860" y="148760"/>
                    <a:pt x="86281" y="35702"/>
                    <a:pt x="74380" y="11901"/>
                  </a:cubicBezTo>
                  <a:lnTo>
                    <a:pt x="8926" y="38678"/>
                  </a:ln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3" name="图形 1">
              <a:extLst>
                <a:ext uri="{FF2B5EF4-FFF2-40B4-BE49-F238E27FC236}">
                  <a16:creationId xmlns:a16="http://schemas.microsoft.com/office/drawing/2014/main" id="{DBCC3E69-EC3B-4908-9F60-A59751869900}"/>
                </a:ext>
              </a:extLst>
            </p:cNvPr>
            <p:cNvGrpSpPr/>
            <p:nvPr/>
          </p:nvGrpSpPr>
          <p:grpSpPr>
            <a:xfrm>
              <a:off x="7660356" y="2940317"/>
              <a:ext cx="384575" cy="883611"/>
              <a:chOff x="7660356" y="2940317"/>
              <a:chExt cx="384575" cy="883611"/>
            </a:xfrm>
          </p:grpSpPr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D7BCEFE1-23BF-4463-97FD-3CB5A70356A3}"/>
                  </a:ext>
                </a:extLst>
              </p:cNvPr>
              <p:cNvSpPr/>
              <p:nvPr/>
            </p:nvSpPr>
            <p:spPr>
              <a:xfrm>
                <a:off x="7660356" y="2940317"/>
                <a:ext cx="384575" cy="883611"/>
              </a:xfrm>
              <a:custGeom>
                <a:avLst/>
                <a:gdLst>
                  <a:gd name="connsiteX0" fmla="*/ 53554 w 384575"/>
                  <a:gd name="connsiteY0" fmla="*/ 604522 h 883611"/>
                  <a:gd name="connsiteX1" fmla="*/ 243967 w 384575"/>
                  <a:gd name="connsiteY1" fmla="*/ 872291 h 883611"/>
                  <a:gd name="connsiteX2" fmla="*/ 267769 w 384575"/>
                  <a:gd name="connsiteY2" fmla="*/ 881216 h 883611"/>
                  <a:gd name="connsiteX3" fmla="*/ 371901 w 384575"/>
                  <a:gd name="connsiteY3" fmla="*/ 842538 h 883611"/>
                  <a:gd name="connsiteX4" fmla="*/ 383801 w 384575"/>
                  <a:gd name="connsiteY4" fmla="*/ 821712 h 883611"/>
                  <a:gd name="connsiteX5" fmla="*/ 190413 w 384575"/>
                  <a:gd name="connsiteY5" fmla="*/ 509315 h 883611"/>
                  <a:gd name="connsiteX6" fmla="*/ 172562 w 384575"/>
                  <a:gd name="connsiteY6" fmla="*/ 36257 h 883611"/>
                  <a:gd name="connsiteX7" fmla="*/ 169587 w 384575"/>
                  <a:gd name="connsiteY7" fmla="*/ 21381 h 883611"/>
                  <a:gd name="connsiteX8" fmla="*/ 160661 w 384575"/>
                  <a:gd name="connsiteY8" fmla="*/ 12456 h 883611"/>
                  <a:gd name="connsiteX9" fmla="*/ 56529 w 384575"/>
                  <a:gd name="connsiteY9" fmla="*/ 54109 h 883611"/>
                  <a:gd name="connsiteX10" fmla="*/ 0 w 384575"/>
                  <a:gd name="connsiteY10" fmla="*/ 348654 h 883611"/>
                  <a:gd name="connsiteX11" fmla="*/ 53554 w 384575"/>
                  <a:gd name="connsiteY11" fmla="*/ 604522 h 883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4575" h="883611">
                    <a:moveTo>
                      <a:pt x="53554" y="604522"/>
                    </a:moveTo>
                    <a:cubicBezTo>
                      <a:pt x="110083" y="699728"/>
                      <a:pt x="208264" y="762208"/>
                      <a:pt x="243967" y="872291"/>
                    </a:cubicBezTo>
                    <a:cubicBezTo>
                      <a:pt x="246942" y="881216"/>
                      <a:pt x="258843" y="887167"/>
                      <a:pt x="267769" y="881216"/>
                    </a:cubicBezTo>
                    <a:cubicBezTo>
                      <a:pt x="300496" y="863365"/>
                      <a:pt x="336198" y="848489"/>
                      <a:pt x="371901" y="842538"/>
                    </a:cubicBezTo>
                    <a:cubicBezTo>
                      <a:pt x="380827" y="839563"/>
                      <a:pt x="386777" y="830638"/>
                      <a:pt x="383801" y="821712"/>
                    </a:cubicBezTo>
                    <a:cubicBezTo>
                      <a:pt x="354049" y="693778"/>
                      <a:pt x="261818" y="613448"/>
                      <a:pt x="190413" y="509315"/>
                    </a:cubicBezTo>
                    <a:cubicBezTo>
                      <a:pt x="95207" y="372456"/>
                      <a:pt x="127934" y="187993"/>
                      <a:pt x="172562" y="36257"/>
                    </a:cubicBezTo>
                    <a:cubicBezTo>
                      <a:pt x="175537" y="30307"/>
                      <a:pt x="172562" y="27332"/>
                      <a:pt x="169587" y="21381"/>
                    </a:cubicBezTo>
                    <a:cubicBezTo>
                      <a:pt x="166611" y="18406"/>
                      <a:pt x="163636" y="15431"/>
                      <a:pt x="160661" y="12456"/>
                    </a:cubicBezTo>
                    <a:cubicBezTo>
                      <a:pt x="95207" y="-8371"/>
                      <a:pt x="74380" y="-8371"/>
                      <a:pt x="56529" y="54109"/>
                    </a:cubicBezTo>
                    <a:cubicBezTo>
                      <a:pt x="29752" y="149315"/>
                      <a:pt x="8926" y="250472"/>
                      <a:pt x="0" y="348654"/>
                    </a:cubicBezTo>
                    <a:cubicBezTo>
                      <a:pt x="0" y="434935"/>
                      <a:pt x="8926" y="527167"/>
                      <a:pt x="53554" y="604522"/>
                    </a:cubicBezTo>
                    <a:close/>
                  </a:path>
                </a:pathLst>
              </a:custGeom>
              <a:solidFill>
                <a:srgbClr val="F1DDB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9B070463-DD0B-4294-A173-5F89AA69ECC9}"/>
                  </a:ext>
                </a:extLst>
              </p:cNvPr>
              <p:cNvSpPr/>
              <p:nvPr/>
            </p:nvSpPr>
            <p:spPr>
              <a:xfrm>
                <a:off x="7888125" y="3726326"/>
                <a:ext cx="153058" cy="68429"/>
              </a:xfrm>
              <a:custGeom>
                <a:avLst/>
                <a:gdLst>
                  <a:gd name="connsiteX0" fmla="*/ 7273 w 153058"/>
                  <a:gd name="connsiteY0" fmla="*/ 68430 h 68429"/>
                  <a:gd name="connsiteX1" fmla="*/ 1322 w 153058"/>
                  <a:gd name="connsiteY1" fmla="*/ 65455 h 68429"/>
                  <a:gd name="connsiteX2" fmla="*/ 1322 w 153058"/>
                  <a:gd name="connsiteY2" fmla="*/ 56529 h 68429"/>
                  <a:gd name="connsiteX3" fmla="*/ 147107 w 153058"/>
                  <a:gd name="connsiteY3" fmla="*/ 0 h 68429"/>
                  <a:gd name="connsiteX4" fmla="*/ 153058 w 153058"/>
                  <a:gd name="connsiteY4" fmla="*/ 2975 h 68429"/>
                  <a:gd name="connsiteX5" fmla="*/ 150083 w 153058"/>
                  <a:gd name="connsiteY5" fmla="*/ 8926 h 68429"/>
                  <a:gd name="connsiteX6" fmla="*/ 10248 w 153058"/>
                  <a:gd name="connsiteY6" fmla="*/ 62479 h 68429"/>
                  <a:gd name="connsiteX7" fmla="*/ 7273 w 153058"/>
                  <a:gd name="connsiteY7" fmla="*/ 68430 h 6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058" h="68429">
                    <a:moveTo>
                      <a:pt x="7273" y="68430"/>
                    </a:moveTo>
                    <a:cubicBezTo>
                      <a:pt x="4298" y="68430"/>
                      <a:pt x="4298" y="68430"/>
                      <a:pt x="1322" y="65455"/>
                    </a:cubicBezTo>
                    <a:cubicBezTo>
                      <a:pt x="-1653" y="62479"/>
                      <a:pt x="1322" y="59504"/>
                      <a:pt x="1322" y="56529"/>
                    </a:cubicBezTo>
                    <a:cubicBezTo>
                      <a:pt x="57851" y="17851"/>
                      <a:pt x="141157" y="2975"/>
                      <a:pt x="147107" y="0"/>
                    </a:cubicBezTo>
                    <a:cubicBezTo>
                      <a:pt x="150083" y="0"/>
                      <a:pt x="153058" y="0"/>
                      <a:pt x="153058" y="2975"/>
                    </a:cubicBezTo>
                    <a:cubicBezTo>
                      <a:pt x="153058" y="5951"/>
                      <a:pt x="153058" y="8926"/>
                      <a:pt x="150083" y="8926"/>
                    </a:cubicBezTo>
                    <a:cubicBezTo>
                      <a:pt x="150083" y="8926"/>
                      <a:pt x="63802" y="23802"/>
                      <a:pt x="10248" y="62479"/>
                    </a:cubicBezTo>
                    <a:cubicBezTo>
                      <a:pt x="10248" y="68430"/>
                      <a:pt x="10248" y="68430"/>
                      <a:pt x="7273" y="68430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7F53C490-A80E-484F-8B8F-839EC6E4B21F}"/>
                  </a:ext>
                </a:extLst>
              </p:cNvPr>
              <p:cNvSpPr/>
              <p:nvPr/>
            </p:nvSpPr>
            <p:spPr>
              <a:xfrm>
                <a:off x="7870274" y="3684673"/>
                <a:ext cx="153057" cy="68429"/>
              </a:xfrm>
              <a:custGeom>
                <a:avLst/>
                <a:gdLst>
                  <a:gd name="connsiteX0" fmla="*/ 7273 w 153057"/>
                  <a:gd name="connsiteY0" fmla="*/ 68430 h 68429"/>
                  <a:gd name="connsiteX1" fmla="*/ 1322 w 153057"/>
                  <a:gd name="connsiteY1" fmla="*/ 65455 h 68429"/>
                  <a:gd name="connsiteX2" fmla="*/ 1322 w 153057"/>
                  <a:gd name="connsiteY2" fmla="*/ 56529 h 68429"/>
                  <a:gd name="connsiteX3" fmla="*/ 147108 w 153057"/>
                  <a:gd name="connsiteY3" fmla="*/ 0 h 68429"/>
                  <a:gd name="connsiteX4" fmla="*/ 153058 w 153057"/>
                  <a:gd name="connsiteY4" fmla="*/ 2975 h 68429"/>
                  <a:gd name="connsiteX5" fmla="*/ 150083 w 153057"/>
                  <a:gd name="connsiteY5" fmla="*/ 8926 h 68429"/>
                  <a:gd name="connsiteX6" fmla="*/ 10248 w 153057"/>
                  <a:gd name="connsiteY6" fmla="*/ 62480 h 68429"/>
                  <a:gd name="connsiteX7" fmla="*/ 7273 w 153057"/>
                  <a:gd name="connsiteY7" fmla="*/ 68430 h 68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057" h="68429">
                    <a:moveTo>
                      <a:pt x="7273" y="68430"/>
                    </a:moveTo>
                    <a:cubicBezTo>
                      <a:pt x="4298" y="68430"/>
                      <a:pt x="4298" y="68430"/>
                      <a:pt x="1322" y="65455"/>
                    </a:cubicBezTo>
                    <a:cubicBezTo>
                      <a:pt x="-1653" y="62480"/>
                      <a:pt x="1322" y="59504"/>
                      <a:pt x="1322" y="56529"/>
                    </a:cubicBezTo>
                    <a:cubicBezTo>
                      <a:pt x="57851" y="17851"/>
                      <a:pt x="141157" y="2975"/>
                      <a:pt x="147108" y="0"/>
                    </a:cubicBezTo>
                    <a:cubicBezTo>
                      <a:pt x="150083" y="0"/>
                      <a:pt x="153058" y="0"/>
                      <a:pt x="153058" y="2975"/>
                    </a:cubicBezTo>
                    <a:cubicBezTo>
                      <a:pt x="153058" y="5951"/>
                      <a:pt x="153058" y="8926"/>
                      <a:pt x="150083" y="8926"/>
                    </a:cubicBezTo>
                    <a:cubicBezTo>
                      <a:pt x="150083" y="8926"/>
                      <a:pt x="63802" y="23802"/>
                      <a:pt x="10248" y="62480"/>
                    </a:cubicBezTo>
                    <a:cubicBezTo>
                      <a:pt x="10248" y="68430"/>
                      <a:pt x="10248" y="68430"/>
                      <a:pt x="7273" y="68430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5E42B64A-7A33-4EF7-AE0E-6C70B0FAA8D9}"/>
                </a:ext>
              </a:extLst>
            </p:cNvPr>
            <p:cNvSpPr/>
            <p:nvPr/>
          </p:nvSpPr>
          <p:spPr>
            <a:xfrm>
              <a:off x="7806141" y="2954515"/>
              <a:ext cx="33959" cy="120240"/>
            </a:xfrm>
            <a:custGeom>
              <a:avLst/>
              <a:gdLst>
                <a:gd name="connsiteX0" fmla="*/ 5950 w 33959"/>
                <a:gd name="connsiteY0" fmla="*/ 120241 h 120240"/>
                <a:gd name="connsiteX1" fmla="*/ 5950 w 33959"/>
                <a:gd name="connsiteY1" fmla="*/ 120241 h 120240"/>
                <a:gd name="connsiteX2" fmla="*/ 0 w 33959"/>
                <a:gd name="connsiteY2" fmla="*/ 114290 h 120240"/>
                <a:gd name="connsiteX3" fmla="*/ 23802 w 33959"/>
                <a:gd name="connsiteY3" fmla="*/ 4208 h 120240"/>
                <a:gd name="connsiteX4" fmla="*/ 29752 w 33959"/>
                <a:gd name="connsiteY4" fmla="*/ 1232 h 120240"/>
                <a:gd name="connsiteX5" fmla="*/ 32727 w 33959"/>
                <a:gd name="connsiteY5" fmla="*/ 7183 h 120240"/>
                <a:gd name="connsiteX6" fmla="*/ 8926 w 33959"/>
                <a:gd name="connsiteY6" fmla="*/ 114290 h 120240"/>
                <a:gd name="connsiteX7" fmla="*/ 5950 w 33959"/>
                <a:gd name="connsiteY7" fmla="*/ 120241 h 12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959" h="120240">
                  <a:moveTo>
                    <a:pt x="5950" y="120241"/>
                  </a:moveTo>
                  <a:lnTo>
                    <a:pt x="5950" y="120241"/>
                  </a:lnTo>
                  <a:cubicBezTo>
                    <a:pt x="2975" y="120241"/>
                    <a:pt x="0" y="117265"/>
                    <a:pt x="0" y="114290"/>
                  </a:cubicBezTo>
                  <a:cubicBezTo>
                    <a:pt x="5950" y="69662"/>
                    <a:pt x="20826" y="7183"/>
                    <a:pt x="23802" y="4208"/>
                  </a:cubicBezTo>
                  <a:cubicBezTo>
                    <a:pt x="23802" y="1232"/>
                    <a:pt x="26777" y="-1743"/>
                    <a:pt x="29752" y="1232"/>
                  </a:cubicBezTo>
                  <a:cubicBezTo>
                    <a:pt x="32727" y="1232"/>
                    <a:pt x="35702" y="4208"/>
                    <a:pt x="32727" y="7183"/>
                  </a:cubicBezTo>
                  <a:cubicBezTo>
                    <a:pt x="32727" y="7183"/>
                    <a:pt x="14876" y="69662"/>
                    <a:pt x="8926" y="114290"/>
                  </a:cubicBezTo>
                  <a:cubicBezTo>
                    <a:pt x="8926" y="117265"/>
                    <a:pt x="8926" y="120241"/>
                    <a:pt x="5950" y="120241"/>
                  </a:cubicBezTo>
                  <a:close/>
                </a:path>
              </a:pathLst>
            </a:custGeom>
            <a:solidFill>
              <a:srgbClr val="D3977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BC2E0888-8436-4532-A9F6-69FDA3B79467}"/>
                </a:ext>
              </a:extLst>
            </p:cNvPr>
            <p:cNvSpPr/>
            <p:nvPr/>
          </p:nvSpPr>
          <p:spPr>
            <a:xfrm>
              <a:off x="6404819" y="2759384"/>
              <a:ext cx="133971" cy="134343"/>
            </a:xfrm>
            <a:custGeom>
              <a:avLst/>
              <a:gdLst>
                <a:gd name="connsiteX0" fmla="*/ 0 w 133971"/>
                <a:gd name="connsiteY0" fmla="*/ 38678 h 134343"/>
                <a:gd name="connsiteX1" fmla="*/ 26777 w 133971"/>
                <a:gd name="connsiteY1" fmla="*/ 41653 h 134343"/>
                <a:gd name="connsiteX2" fmla="*/ 74380 w 133971"/>
                <a:gd name="connsiteY2" fmla="*/ 71405 h 134343"/>
                <a:gd name="connsiteX3" fmla="*/ 62479 w 133971"/>
                <a:gd name="connsiteY3" fmla="*/ 133884 h 134343"/>
                <a:gd name="connsiteX4" fmla="*/ 133884 w 133971"/>
                <a:gd name="connsiteY4" fmla="*/ 68430 h 134343"/>
                <a:gd name="connsiteX5" fmla="*/ 71405 w 133971"/>
                <a:gd name="connsiteY5" fmla="*/ 0 h 134343"/>
                <a:gd name="connsiteX6" fmla="*/ 0 w 133971"/>
                <a:gd name="connsiteY6" fmla="*/ 38678 h 13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971" h="134343">
                  <a:moveTo>
                    <a:pt x="0" y="38678"/>
                  </a:moveTo>
                  <a:cubicBezTo>
                    <a:pt x="0" y="47603"/>
                    <a:pt x="17851" y="41653"/>
                    <a:pt x="26777" y="41653"/>
                  </a:cubicBezTo>
                  <a:cubicBezTo>
                    <a:pt x="47603" y="44628"/>
                    <a:pt x="65454" y="50579"/>
                    <a:pt x="74380" y="71405"/>
                  </a:cubicBezTo>
                  <a:cubicBezTo>
                    <a:pt x="80330" y="83306"/>
                    <a:pt x="38677" y="101157"/>
                    <a:pt x="62479" y="133884"/>
                  </a:cubicBezTo>
                  <a:cubicBezTo>
                    <a:pt x="62479" y="139835"/>
                    <a:pt x="136859" y="86281"/>
                    <a:pt x="133884" y="68430"/>
                  </a:cubicBezTo>
                  <a:cubicBezTo>
                    <a:pt x="130909" y="41653"/>
                    <a:pt x="104132" y="2975"/>
                    <a:pt x="71405" y="0"/>
                  </a:cubicBezTo>
                  <a:cubicBezTo>
                    <a:pt x="56529" y="0"/>
                    <a:pt x="0" y="17851"/>
                    <a:pt x="0" y="38678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F3EE7309-D88C-42A8-942F-1EEFD9696768}"/>
                </a:ext>
              </a:extLst>
            </p:cNvPr>
            <p:cNvSpPr/>
            <p:nvPr/>
          </p:nvSpPr>
          <p:spPr>
            <a:xfrm>
              <a:off x="6399612" y="2753343"/>
              <a:ext cx="145041" cy="145875"/>
            </a:xfrm>
            <a:custGeom>
              <a:avLst/>
              <a:gdLst>
                <a:gd name="connsiteX0" fmla="*/ 67686 w 145041"/>
                <a:gd name="connsiteY0" fmla="*/ 145876 h 145875"/>
                <a:gd name="connsiteX1" fmla="*/ 64711 w 145041"/>
                <a:gd name="connsiteY1" fmla="*/ 142900 h 145875"/>
                <a:gd name="connsiteX2" fmla="*/ 73636 w 145041"/>
                <a:gd name="connsiteY2" fmla="*/ 77446 h 145875"/>
                <a:gd name="connsiteX3" fmla="*/ 29008 w 145041"/>
                <a:gd name="connsiteY3" fmla="*/ 56619 h 145875"/>
                <a:gd name="connsiteX4" fmla="*/ 2232 w 145041"/>
                <a:gd name="connsiteY4" fmla="*/ 47694 h 145875"/>
                <a:gd name="connsiteX5" fmla="*/ 2232 w 145041"/>
                <a:gd name="connsiteY5" fmla="*/ 32818 h 145875"/>
                <a:gd name="connsiteX6" fmla="*/ 79587 w 145041"/>
                <a:gd name="connsiteY6" fmla="*/ 90 h 145875"/>
                <a:gd name="connsiteX7" fmla="*/ 145042 w 145041"/>
                <a:gd name="connsiteY7" fmla="*/ 71495 h 145875"/>
                <a:gd name="connsiteX8" fmla="*/ 142066 w 145041"/>
                <a:gd name="connsiteY8" fmla="*/ 77446 h 145875"/>
                <a:gd name="connsiteX9" fmla="*/ 136116 w 145041"/>
                <a:gd name="connsiteY9" fmla="*/ 74471 h 145875"/>
                <a:gd name="connsiteX10" fmla="*/ 82562 w 145041"/>
                <a:gd name="connsiteY10" fmla="*/ 11991 h 145875"/>
                <a:gd name="connsiteX11" fmla="*/ 82562 w 145041"/>
                <a:gd name="connsiteY11" fmla="*/ 11991 h 145875"/>
                <a:gd name="connsiteX12" fmla="*/ 17108 w 145041"/>
                <a:gd name="connsiteY12" fmla="*/ 38768 h 145875"/>
                <a:gd name="connsiteX13" fmla="*/ 17108 w 145041"/>
                <a:gd name="connsiteY13" fmla="*/ 41743 h 145875"/>
                <a:gd name="connsiteX14" fmla="*/ 34959 w 145041"/>
                <a:gd name="connsiteY14" fmla="*/ 44719 h 145875"/>
                <a:gd name="connsiteX15" fmla="*/ 91488 w 145041"/>
                <a:gd name="connsiteY15" fmla="*/ 74471 h 145875"/>
                <a:gd name="connsiteX16" fmla="*/ 91488 w 145041"/>
                <a:gd name="connsiteY16" fmla="*/ 80421 h 145875"/>
                <a:gd name="connsiteX17" fmla="*/ 79587 w 145041"/>
                <a:gd name="connsiteY17" fmla="*/ 133975 h 145875"/>
                <a:gd name="connsiteX18" fmla="*/ 79587 w 145041"/>
                <a:gd name="connsiteY18" fmla="*/ 142900 h 145875"/>
                <a:gd name="connsiteX19" fmla="*/ 67686 w 145041"/>
                <a:gd name="connsiteY19" fmla="*/ 145876 h 14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5041" h="145875">
                  <a:moveTo>
                    <a:pt x="67686" y="145876"/>
                  </a:moveTo>
                  <a:cubicBezTo>
                    <a:pt x="67686" y="145876"/>
                    <a:pt x="64711" y="145876"/>
                    <a:pt x="64711" y="142900"/>
                  </a:cubicBezTo>
                  <a:cubicBezTo>
                    <a:pt x="40909" y="122074"/>
                    <a:pt x="64711" y="86371"/>
                    <a:pt x="73636" y="77446"/>
                  </a:cubicBezTo>
                  <a:cubicBezTo>
                    <a:pt x="64711" y="59595"/>
                    <a:pt x="43884" y="59595"/>
                    <a:pt x="29008" y="56619"/>
                  </a:cubicBezTo>
                  <a:cubicBezTo>
                    <a:pt x="17108" y="56619"/>
                    <a:pt x="5207" y="53644"/>
                    <a:pt x="2232" y="47694"/>
                  </a:cubicBezTo>
                  <a:cubicBezTo>
                    <a:pt x="-744" y="44719"/>
                    <a:pt x="-744" y="38768"/>
                    <a:pt x="2232" y="32818"/>
                  </a:cubicBezTo>
                  <a:cubicBezTo>
                    <a:pt x="11157" y="17942"/>
                    <a:pt x="40909" y="3066"/>
                    <a:pt x="79587" y="90"/>
                  </a:cubicBezTo>
                  <a:cubicBezTo>
                    <a:pt x="127190" y="-2885"/>
                    <a:pt x="145042" y="68520"/>
                    <a:pt x="145042" y="71495"/>
                  </a:cubicBezTo>
                  <a:cubicBezTo>
                    <a:pt x="145042" y="74471"/>
                    <a:pt x="145042" y="77446"/>
                    <a:pt x="142066" y="77446"/>
                  </a:cubicBezTo>
                  <a:cubicBezTo>
                    <a:pt x="139091" y="77446"/>
                    <a:pt x="136116" y="77446"/>
                    <a:pt x="136116" y="74471"/>
                  </a:cubicBezTo>
                  <a:cubicBezTo>
                    <a:pt x="136116" y="74471"/>
                    <a:pt x="118264" y="11991"/>
                    <a:pt x="82562" y="11991"/>
                  </a:cubicBezTo>
                  <a:cubicBezTo>
                    <a:pt x="82562" y="11991"/>
                    <a:pt x="82562" y="11991"/>
                    <a:pt x="82562" y="11991"/>
                  </a:cubicBezTo>
                  <a:cubicBezTo>
                    <a:pt x="49835" y="11991"/>
                    <a:pt x="23058" y="26867"/>
                    <a:pt x="17108" y="38768"/>
                  </a:cubicBezTo>
                  <a:cubicBezTo>
                    <a:pt x="17108" y="38768"/>
                    <a:pt x="17108" y="41743"/>
                    <a:pt x="17108" y="41743"/>
                  </a:cubicBezTo>
                  <a:cubicBezTo>
                    <a:pt x="17108" y="44719"/>
                    <a:pt x="29008" y="44719"/>
                    <a:pt x="34959" y="44719"/>
                  </a:cubicBezTo>
                  <a:cubicBezTo>
                    <a:pt x="52810" y="44719"/>
                    <a:pt x="79587" y="47694"/>
                    <a:pt x="91488" y="74471"/>
                  </a:cubicBezTo>
                  <a:cubicBezTo>
                    <a:pt x="91488" y="77446"/>
                    <a:pt x="91488" y="77446"/>
                    <a:pt x="91488" y="80421"/>
                  </a:cubicBezTo>
                  <a:cubicBezTo>
                    <a:pt x="91488" y="80421"/>
                    <a:pt x="61736" y="116123"/>
                    <a:pt x="79587" y="133975"/>
                  </a:cubicBezTo>
                  <a:cubicBezTo>
                    <a:pt x="82562" y="136950"/>
                    <a:pt x="82562" y="139925"/>
                    <a:pt x="79587" y="142900"/>
                  </a:cubicBezTo>
                  <a:cubicBezTo>
                    <a:pt x="70661" y="142900"/>
                    <a:pt x="67686" y="145876"/>
                    <a:pt x="67686" y="145876"/>
                  </a:cubicBezTo>
                  <a:close/>
                </a:path>
              </a:pathLst>
            </a:custGeom>
            <a:solidFill>
              <a:srgbClr val="E58777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10748051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B1D13286-FD49-41F2-A9FE-13C91B1135D7}"/>
              </a:ext>
            </a:extLst>
          </p:cNvPr>
          <p:cNvGrpSpPr/>
          <p:nvPr/>
        </p:nvGrpSpPr>
        <p:grpSpPr>
          <a:xfrm>
            <a:off x="2585135" y="1816106"/>
            <a:ext cx="6878856" cy="4947011"/>
            <a:chOff x="9923730" y="1816106"/>
            <a:chExt cx="6878856" cy="4947011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DAE8C350-DF70-46E4-B2A0-65D7CA82C982}"/>
                </a:ext>
              </a:extLst>
            </p:cNvPr>
            <p:cNvSpPr/>
            <p:nvPr/>
          </p:nvSpPr>
          <p:spPr>
            <a:xfrm>
              <a:off x="15563028" y="2320710"/>
              <a:ext cx="550214" cy="736314"/>
            </a:xfrm>
            <a:custGeom>
              <a:avLst/>
              <a:gdLst>
                <a:gd name="connsiteX0" fmla="*/ 463610 w 550214"/>
                <a:gd name="connsiteY0" fmla="*/ 453550 h 736314"/>
                <a:gd name="connsiteX1" fmla="*/ 463610 w 550214"/>
                <a:gd name="connsiteY1" fmla="*/ 295864 h 736314"/>
                <a:gd name="connsiteX2" fmla="*/ 511213 w 550214"/>
                <a:gd name="connsiteY2" fmla="*/ 156029 h 736314"/>
                <a:gd name="connsiteX3" fmla="*/ 549891 w 550214"/>
                <a:gd name="connsiteY3" fmla="*/ 10244 h 736314"/>
                <a:gd name="connsiteX4" fmla="*/ 240469 w 550214"/>
                <a:gd name="connsiteY4" fmla="*/ 173880 h 736314"/>
                <a:gd name="connsiteX5" fmla="*/ 237494 w 550214"/>
                <a:gd name="connsiteY5" fmla="*/ 230409 h 736314"/>
                <a:gd name="connsiteX6" fmla="*/ 189890 w 550214"/>
                <a:gd name="connsiteY6" fmla="*/ 283963 h 736314"/>
                <a:gd name="connsiteX7" fmla="*/ 136337 w 550214"/>
                <a:gd name="connsiteY7" fmla="*/ 349417 h 736314"/>
                <a:gd name="connsiteX8" fmla="*/ 133362 w 550214"/>
                <a:gd name="connsiteY8" fmla="*/ 435698 h 736314"/>
                <a:gd name="connsiteX9" fmla="*/ 109560 w 550214"/>
                <a:gd name="connsiteY9" fmla="*/ 507103 h 736314"/>
                <a:gd name="connsiteX10" fmla="*/ 56006 w 550214"/>
                <a:gd name="connsiteY10" fmla="*/ 539831 h 736314"/>
                <a:gd name="connsiteX11" fmla="*/ 17329 w 550214"/>
                <a:gd name="connsiteY11" fmla="*/ 658839 h 736314"/>
                <a:gd name="connsiteX12" fmla="*/ 216668 w 550214"/>
                <a:gd name="connsiteY12" fmla="*/ 691566 h 736314"/>
                <a:gd name="connsiteX13" fmla="*/ 288073 w 550214"/>
                <a:gd name="connsiteY13" fmla="*/ 733219 h 736314"/>
                <a:gd name="connsiteX14" fmla="*/ 380304 w 550214"/>
                <a:gd name="connsiteY14" fmla="*/ 727269 h 736314"/>
                <a:gd name="connsiteX15" fmla="*/ 475510 w 550214"/>
                <a:gd name="connsiteY15" fmla="*/ 575533 h 736314"/>
                <a:gd name="connsiteX16" fmla="*/ 463610 w 550214"/>
                <a:gd name="connsiteY16" fmla="*/ 453550 h 736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50214" h="736314">
                  <a:moveTo>
                    <a:pt x="463610" y="453550"/>
                  </a:moveTo>
                  <a:cubicBezTo>
                    <a:pt x="457659" y="402971"/>
                    <a:pt x="454684" y="349417"/>
                    <a:pt x="463610" y="295864"/>
                  </a:cubicBezTo>
                  <a:cubicBezTo>
                    <a:pt x="472535" y="245285"/>
                    <a:pt x="487411" y="200657"/>
                    <a:pt x="511213" y="156029"/>
                  </a:cubicBezTo>
                  <a:cubicBezTo>
                    <a:pt x="535015" y="108426"/>
                    <a:pt x="552866" y="10244"/>
                    <a:pt x="549891" y="10244"/>
                  </a:cubicBezTo>
                  <a:cubicBezTo>
                    <a:pt x="439808" y="-28434"/>
                    <a:pt x="240469" y="45946"/>
                    <a:pt x="240469" y="173880"/>
                  </a:cubicBezTo>
                  <a:cubicBezTo>
                    <a:pt x="240469" y="191731"/>
                    <a:pt x="243445" y="212558"/>
                    <a:pt x="237494" y="230409"/>
                  </a:cubicBezTo>
                  <a:cubicBezTo>
                    <a:pt x="231544" y="260161"/>
                    <a:pt x="210717" y="269087"/>
                    <a:pt x="189890" y="283963"/>
                  </a:cubicBezTo>
                  <a:cubicBezTo>
                    <a:pt x="166089" y="298839"/>
                    <a:pt x="145262" y="319665"/>
                    <a:pt x="136337" y="349417"/>
                  </a:cubicBezTo>
                  <a:cubicBezTo>
                    <a:pt x="124436" y="379169"/>
                    <a:pt x="130386" y="405946"/>
                    <a:pt x="133362" y="435698"/>
                  </a:cubicBezTo>
                  <a:cubicBezTo>
                    <a:pt x="139312" y="468426"/>
                    <a:pt x="136337" y="489252"/>
                    <a:pt x="109560" y="507103"/>
                  </a:cubicBezTo>
                  <a:cubicBezTo>
                    <a:pt x="91709" y="519004"/>
                    <a:pt x="73857" y="527930"/>
                    <a:pt x="56006" y="539831"/>
                  </a:cubicBezTo>
                  <a:cubicBezTo>
                    <a:pt x="17329" y="563632"/>
                    <a:pt x="-24324" y="617186"/>
                    <a:pt x="17329" y="658839"/>
                  </a:cubicBezTo>
                  <a:cubicBezTo>
                    <a:pt x="70882" y="715368"/>
                    <a:pt x="157164" y="652888"/>
                    <a:pt x="216668" y="691566"/>
                  </a:cubicBezTo>
                  <a:cubicBezTo>
                    <a:pt x="240469" y="706442"/>
                    <a:pt x="258321" y="727269"/>
                    <a:pt x="288073" y="733219"/>
                  </a:cubicBezTo>
                  <a:cubicBezTo>
                    <a:pt x="314849" y="739169"/>
                    <a:pt x="353527" y="736194"/>
                    <a:pt x="380304" y="727269"/>
                  </a:cubicBezTo>
                  <a:cubicBezTo>
                    <a:pt x="433858" y="709417"/>
                    <a:pt x="466585" y="626112"/>
                    <a:pt x="475510" y="575533"/>
                  </a:cubicBezTo>
                  <a:cubicBezTo>
                    <a:pt x="478486" y="536855"/>
                    <a:pt x="469561" y="495203"/>
                    <a:pt x="463610" y="453550"/>
                  </a:cubicBezTo>
                  <a:close/>
                </a:path>
              </a:pathLst>
            </a:custGeom>
            <a:solidFill>
              <a:srgbClr val="D3977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CC37F795-5B8B-4BD3-B113-430CE895D025}"/>
                </a:ext>
              </a:extLst>
            </p:cNvPr>
            <p:cNvSpPr/>
            <p:nvPr/>
          </p:nvSpPr>
          <p:spPr>
            <a:xfrm>
              <a:off x="16089578" y="2631330"/>
              <a:ext cx="270881" cy="433512"/>
            </a:xfrm>
            <a:custGeom>
              <a:avLst/>
              <a:gdLst>
                <a:gd name="connsiteX0" fmla="*/ 261357 w 270881"/>
                <a:gd name="connsiteY0" fmla="*/ 339294 h 433512"/>
                <a:gd name="connsiteX1" fmla="*/ 210779 w 270881"/>
                <a:gd name="connsiteY1" fmla="*/ 282765 h 433512"/>
                <a:gd name="connsiteX2" fmla="*/ 219704 w 270881"/>
                <a:gd name="connsiteY2" fmla="*/ 190534 h 433512"/>
                <a:gd name="connsiteX3" fmla="*/ 186977 w 270881"/>
                <a:gd name="connsiteY3" fmla="*/ 20947 h 433512"/>
                <a:gd name="connsiteX4" fmla="*/ 189952 w 270881"/>
                <a:gd name="connsiteY4" fmla="*/ 9046 h 433512"/>
                <a:gd name="connsiteX5" fmla="*/ 178052 w 270881"/>
                <a:gd name="connsiteY5" fmla="*/ 3096 h 433512"/>
                <a:gd name="connsiteX6" fmla="*/ 169125 w 270881"/>
                <a:gd name="connsiteY6" fmla="*/ 12021 h 433512"/>
                <a:gd name="connsiteX7" fmla="*/ 172101 w 270881"/>
                <a:gd name="connsiteY7" fmla="*/ 23922 h 433512"/>
                <a:gd name="connsiteX8" fmla="*/ 121523 w 270881"/>
                <a:gd name="connsiteY8" fmla="*/ 89377 h 433512"/>
                <a:gd name="connsiteX9" fmla="*/ 82845 w 270881"/>
                <a:gd name="connsiteY9" fmla="*/ 157806 h 433512"/>
                <a:gd name="connsiteX10" fmla="*/ 5489 w 270881"/>
                <a:gd name="connsiteY10" fmla="*/ 309542 h 433512"/>
                <a:gd name="connsiteX11" fmla="*/ 118547 w 270881"/>
                <a:gd name="connsiteY11" fmla="*/ 428550 h 433512"/>
                <a:gd name="connsiteX12" fmla="*/ 213753 w 270881"/>
                <a:gd name="connsiteY12" fmla="*/ 431526 h 433512"/>
                <a:gd name="connsiteX13" fmla="*/ 255407 w 270881"/>
                <a:gd name="connsiteY13" fmla="*/ 413674 h 433512"/>
                <a:gd name="connsiteX14" fmla="*/ 261357 w 270881"/>
                <a:gd name="connsiteY14" fmla="*/ 339294 h 433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0881" h="433512">
                  <a:moveTo>
                    <a:pt x="261357" y="339294"/>
                  </a:moveTo>
                  <a:cubicBezTo>
                    <a:pt x="249456" y="318468"/>
                    <a:pt x="222680" y="306567"/>
                    <a:pt x="210779" y="282765"/>
                  </a:cubicBezTo>
                  <a:cubicBezTo>
                    <a:pt x="198877" y="253013"/>
                    <a:pt x="219704" y="220286"/>
                    <a:pt x="219704" y="190534"/>
                  </a:cubicBezTo>
                  <a:cubicBezTo>
                    <a:pt x="225655" y="136980"/>
                    <a:pt x="201853" y="74501"/>
                    <a:pt x="186977" y="20947"/>
                  </a:cubicBezTo>
                  <a:cubicBezTo>
                    <a:pt x="186977" y="17972"/>
                    <a:pt x="189952" y="12021"/>
                    <a:pt x="189952" y="9046"/>
                  </a:cubicBezTo>
                  <a:cubicBezTo>
                    <a:pt x="189952" y="121"/>
                    <a:pt x="181027" y="-2855"/>
                    <a:pt x="178052" y="3096"/>
                  </a:cubicBezTo>
                  <a:cubicBezTo>
                    <a:pt x="172101" y="3096"/>
                    <a:pt x="166151" y="6071"/>
                    <a:pt x="169125" y="12021"/>
                  </a:cubicBezTo>
                  <a:cubicBezTo>
                    <a:pt x="169125" y="14997"/>
                    <a:pt x="172101" y="17972"/>
                    <a:pt x="172101" y="23922"/>
                  </a:cubicBezTo>
                  <a:cubicBezTo>
                    <a:pt x="163176" y="50699"/>
                    <a:pt x="139373" y="68550"/>
                    <a:pt x="121523" y="89377"/>
                  </a:cubicBezTo>
                  <a:cubicBezTo>
                    <a:pt x="103671" y="110203"/>
                    <a:pt x="94745" y="134005"/>
                    <a:pt x="82845" y="157806"/>
                  </a:cubicBezTo>
                  <a:cubicBezTo>
                    <a:pt x="59043" y="208385"/>
                    <a:pt x="20365" y="255988"/>
                    <a:pt x="5489" y="309542"/>
                  </a:cubicBezTo>
                  <a:cubicBezTo>
                    <a:pt x="-18312" y="386897"/>
                    <a:pt x="38216" y="452352"/>
                    <a:pt x="118547" y="428550"/>
                  </a:cubicBezTo>
                  <a:cubicBezTo>
                    <a:pt x="157225" y="416649"/>
                    <a:pt x="178052" y="431526"/>
                    <a:pt x="213753" y="431526"/>
                  </a:cubicBezTo>
                  <a:cubicBezTo>
                    <a:pt x="228630" y="431526"/>
                    <a:pt x="243506" y="425575"/>
                    <a:pt x="255407" y="413674"/>
                  </a:cubicBezTo>
                  <a:cubicBezTo>
                    <a:pt x="273258" y="389873"/>
                    <a:pt x="276233" y="360121"/>
                    <a:pt x="261357" y="339294"/>
                  </a:cubicBezTo>
                  <a:close/>
                </a:path>
              </a:pathLst>
            </a:custGeom>
            <a:solidFill>
              <a:srgbClr val="D3977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23C3BA13-2D5C-4500-84E9-15EAB76CAB94}"/>
                </a:ext>
              </a:extLst>
            </p:cNvPr>
            <p:cNvSpPr/>
            <p:nvPr/>
          </p:nvSpPr>
          <p:spPr>
            <a:xfrm>
              <a:off x="15635721" y="3997070"/>
              <a:ext cx="1042486" cy="2460495"/>
            </a:xfrm>
            <a:custGeom>
              <a:avLst/>
              <a:gdLst>
                <a:gd name="connsiteX0" fmla="*/ 768768 w 1042486"/>
                <a:gd name="connsiteY0" fmla="*/ 0 h 2460495"/>
                <a:gd name="connsiteX1" fmla="*/ 117197 w 1042486"/>
                <a:gd name="connsiteY1" fmla="*/ 0 h 2460495"/>
                <a:gd name="connsiteX2" fmla="*/ 1164 w 1042486"/>
                <a:gd name="connsiteY2" fmla="*/ 449256 h 2460495"/>
                <a:gd name="connsiteX3" fmla="*/ 176701 w 1042486"/>
                <a:gd name="connsiteY3" fmla="*/ 2424794 h 2460495"/>
                <a:gd name="connsiteX4" fmla="*/ 346288 w 1042486"/>
                <a:gd name="connsiteY4" fmla="*/ 2460496 h 2460495"/>
                <a:gd name="connsiteX5" fmla="*/ 450420 w 1042486"/>
                <a:gd name="connsiteY5" fmla="*/ 791405 h 2460495"/>
                <a:gd name="connsiteX6" fmla="*/ 518850 w 1042486"/>
                <a:gd name="connsiteY6" fmla="*/ 1582810 h 2460495"/>
                <a:gd name="connsiteX7" fmla="*/ 530751 w 1042486"/>
                <a:gd name="connsiteY7" fmla="*/ 1633389 h 2460495"/>
                <a:gd name="connsiteX8" fmla="*/ 852073 w 1042486"/>
                <a:gd name="connsiteY8" fmla="*/ 2448595 h 2460495"/>
                <a:gd name="connsiteX9" fmla="*/ 1042486 w 1042486"/>
                <a:gd name="connsiteY9" fmla="*/ 2448595 h 2460495"/>
                <a:gd name="connsiteX10" fmla="*/ 863974 w 1042486"/>
                <a:gd name="connsiteY10" fmla="*/ 1615537 h 2460495"/>
                <a:gd name="connsiteX11" fmla="*/ 899677 w 1042486"/>
                <a:gd name="connsiteY11" fmla="*/ 404628 h 2460495"/>
                <a:gd name="connsiteX12" fmla="*/ 768768 w 1042486"/>
                <a:gd name="connsiteY12" fmla="*/ 0 h 2460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42486" h="2460495">
                  <a:moveTo>
                    <a:pt x="768768" y="0"/>
                  </a:moveTo>
                  <a:lnTo>
                    <a:pt x="117197" y="0"/>
                  </a:lnTo>
                  <a:cubicBezTo>
                    <a:pt x="117197" y="0"/>
                    <a:pt x="21991" y="297521"/>
                    <a:pt x="1164" y="449256"/>
                  </a:cubicBezTo>
                  <a:cubicBezTo>
                    <a:pt x="-16687" y="598017"/>
                    <a:pt x="176701" y="2424794"/>
                    <a:pt x="176701" y="2424794"/>
                  </a:cubicBezTo>
                  <a:lnTo>
                    <a:pt x="346288" y="2460496"/>
                  </a:lnTo>
                  <a:lnTo>
                    <a:pt x="450420" y="791405"/>
                  </a:lnTo>
                  <a:lnTo>
                    <a:pt x="518850" y="1582810"/>
                  </a:lnTo>
                  <a:cubicBezTo>
                    <a:pt x="521825" y="1600661"/>
                    <a:pt x="524801" y="1618513"/>
                    <a:pt x="530751" y="1633389"/>
                  </a:cubicBezTo>
                  <a:lnTo>
                    <a:pt x="852073" y="2448595"/>
                  </a:lnTo>
                  <a:lnTo>
                    <a:pt x="1042486" y="2448595"/>
                  </a:lnTo>
                  <a:lnTo>
                    <a:pt x="863974" y="1615537"/>
                  </a:lnTo>
                  <a:cubicBezTo>
                    <a:pt x="863974" y="1615537"/>
                    <a:pt x="893726" y="467108"/>
                    <a:pt x="899677" y="404628"/>
                  </a:cubicBezTo>
                  <a:cubicBezTo>
                    <a:pt x="908602" y="288595"/>
                    <a:pt x="768768" y="0"/>
                    <a:pt x="768768" y="0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016F3E74-0530-45E0-B2D7-90061BD4A8E3}"/>
                </a:ext>
              </a:extLst>
            </p:cNvPr>
            <p:cNvSpPr/>
            <p:nvPr/>
          </p:nvSpPr>
          <p:spPr>
            <a:xfrm>
              <a:off x="16038538" y="4377896"/>
              <a:ext cx="456374" cy="2076694"/>
            </a:xfrm>
            <a:custGeom>
              <a:avLst/>
              <a:gdLst>
                <a:gd name="connsiteX0" fmla="*/ 449256 w 456374"/>
                <a:gd name="connsiteY0" fmla="*/ 2076694 h 2076694"/>
                <a:gd name="connsiteX1" fmla="*/ 443306 w 456374"/>
                <a:gd name="connsiteY1" fmla="*/ 2073719 h 2076694"/>
                <a:gd name="connsiteX2" fmla="*/ 121984 w 456374"/>
                <a:gd name="connsiteY2" fmla="*/ 1258513 h 2076694"/>
                <a:gd name="connsiteX3" fmla="*/ 110083 w 456374"/>
                <a:gd name="connsiteY3" fmla="*/ 1204959 h 2076694"/>
                <a:gd name="connsiteX4" fmla="*/ 41653 w 456374"/>
                <a:gd name="connsiteY4" fmla="*/ 413554 h 2076694"/>
                <a:gd name="connsiteX5" fmla="*/ 0 w 456374"/>
                <a:gd name="connsiteY5" fmla="*/ 5950 h 2076694"/>
                <a:gd name="connsiteX6" fmla="*/ 5951 w 456374"/>
                <a:gd name="connsiteY6" fmla="*/ 0 h 2076694"/>
                <a:gd name="connsiteX7" fmla="*/ 11901 w 456374"/>
                <a:gd name="connsiteY7" fmla="*/ 5950 h 2076694"/>
                <a:gd name="connsiteX8" fmla="*/ 53554 w 456374"/>
                <a:gd name="connsiteY8" fmla="*/ 413554 h 2076694"/>
                <a:gd name="connsiteX9" fmla="*/ 121984 w 456374"/>
                <a:gd name="connsiteY9" fmla="*/ 1204959 h 2076694"/>
                <a:gd name="connsiteX10" fmla="*/ 133884 w 456374"/>
                <a:gd name="connsiteY10" fmla="*/ 1255537 h 2076694"/>
                <a:gd name="connsiteX11" fmla="*/ 455207 w 456374"/>
                <a:gd name="connsiteY11" fmla="*/ 2070744 h 2076694"/>
                <a:gd name="connsiteX12" fmla="*/ 449256 w 456374"/>
                <a:gd name="connsiteY12" fmla="*/ 2076694 h 2076694"/>
                <a:gd name="connsiteX13" fmla="*/ 449256 w 456374"/>
                <a:gd name="connsiteY13" fmla="*/ 2076694 h 2076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56374" h="2076694">
                  <a:moveTo>
                    <a:pt x="449256" y="2076694"/>
                  </a:moveTo>
                  <a:cubicBezTo>
                    <a:pt x="446281" y="2076694"/>
                    <a:pt x="446281" y="2076694"/>
                    <a:pt x="443306" y="2073719"/>
                  </a:cubicBezTo>
                  <a:lnTo>
                    <a:pt x="121984" y="1258513"/>
                  </a:lnTo>
                  <a:cubicBezTo>
                    <a:pt x="116033" y="1240661"/>
                    <a:pt x="110083" y="1222810"/>
                    <a:pt x="110083" y="1204959"/>
                  </a:cubicBezTo>
                  <a:lnTo>
                    <a:pt x="41653" y="413554"/>
                  </a:lnTo>
                  <a:lnTo>
                    <a:pt x="0" y="5950"/>
                  </a:lnTo>
                  <a:cubicBezTo>
                    <a:pt x="0" y="2975"/>
                    <a:pt x="2975" y="0"/>
                    <a:pt x="5951" y="0"/>
                  </a:cubicBezTo>
                  <a:cubicBezTo>
                    <a:pt x="8926" y="0"/>
                    <a:pt x="11901" y="2975"/>
                    <a:pt x="11901" y="5950"/>
                  </a:cubicBezTo>
                  <a:lnTo>
                    <a:pt x="53554" y="413554"/>
                  </a:lnTo>
                  <a:lnTo>
                    <a:pt x="121984" y="1204959"/>
                  </a:lnTo>
                  <a:cubicBezTo>
                    <a:pt x="121984" y="1222810"/>
                    <a:pt x="127934" y="1237686"/>
                    <a:pt x="133884" y="1255537"/>
                  </a:cubicBezTo>
                  <a:lnTo>
                    <a:pt x="455207" y="2070744"/>
                  </a:lnTo>
                  <a:cubicBezTo>
                    <a:pt x="458182" y="2070744"/>
                    <a:pt x="455207" y="2073719"/>
                    <a:pt x="449256" y="2076694"/>
                  </a:cubicBezTo>
                  <a:cubicBezTo>
                    <a:pt x="452232" y="2076694"/>
                    <a:pt x="452232" y="2076694"/>
                    <a:pt x="449256" y="2076694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70D4F2F6-5792-4406-A209-8BFC20389551}"/>
                </a:ext>
              </a:extLst>
            </p:cNvPr>
            <p:cNvGrpSpPr/>
            <p:nvPr/>
          </p:nvGrpSpPr>
          <p:grpSpPr>
            <a:xfrm>
              <a:off x="15523828" y="6308805"/>
              <a:ext cx="491142" cy="321322"/>
              <a:chOff x="15523828" y="6308805"/>
              <a:chExt cx="491142" cy="321322"/>
            </a:xfrm>
          </p:grpSpPr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6FCB864C-9E80-4A7B-B053-DE3C9EAF00A8}"/>
                  </a:ext>
                </a:extLst>
              </p:cNvPr>
              <p:cNvSpPr/>
              <p:nvPr/>
            </p:nvSpPr>
            <p:spPr>
              <a:xfrm>
                <a:off x="15523828" y="6585500"/>
                <a:ext cx="476033" cy="44628"/>
              </a:xfrm>
              <a:custGeom>
                <a:avLst/>
                <a:gdLst>
                  <a:gd name="connsiteX0" fmla="*/ 0 w 476033"/>
                  <a:gd name="connsiteY0" fmla="*/ 0 h 44628"/>
                  <a:gd name="connsiteX1" fmla="*/ 476033 w 476033"/>
                  <a:gd name="connsiteY1" fmla="*/ 0 h 44628"/>
                  <a:gd name="connsiteX2" fmla="*/ 476033 w 476033"/>
                  <a:gd name="connsiteY2" fmla="*/ 44628 h 44628"/>
                  <a:gd name="connsiteX3" fmla="*/ 0 w 476033"/>
                  <a:gd name="connsiteY3" fmla="*/ 44628 h 4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033" h="44628">
                    <a:moveTo>
                      <a:pt x="0" y="0"/>
                    </a:moveTo>
                    <a:lnTo>
                      <a:pt x="476033" y="0"/>
                    </a:lnTo>
                    <a:lnTo>
                      <a:pt x="476033" y="44628"/>
                    </a:lnTo>
                    <a:lnTo>
                      <a:pt x="0" y="44628"/>
                    </a:lnTo>
                    <a:close/>
                  </a:path>
                </a:pathLst>
              </a:custGeom>
              <a:solidFill>
                <a:srgbClr val="38333D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4BA56914-5124-4D35-991A-F1128F7AE26F}"/>
                  </a:ext>
                </a:extLst>
              </p:cNvPr>
              <p:cNvSpPr/>
              <p:nvPr/>
            </p:nvSpPr>
            <p:spPr>
              <a:xfrm>
                <a:off x="15526803" y="6308805"/>
                <a:ext cx="488166" cy="276694"/>
              </a:xfrm>
              <a:custGeom>
                <a:avLst/>
                <a:gdLst>
                  <a:gd name="connsiteX0" fmla="*/ 481983 w 488166"/>
                  <a:gd name="connsiteY0" fmla="*/ 0 h 276694"/>
                  <a:gd name="connsiteX1" fmla="*/ 217190 w 488166"/>
                  <a:gd name="connsiteY1" fmla="*/ 14876 h 276694"/>
                  <a:gd name="connsiteX2" fmla="*/ 255867 w 488166"/>
                  <a:gd name="connsiteY2" fmla="*/ 151736 h 276694"/>
                  <a:gd name="connsiteX3" fmla="*/ 163636 w 488166"/>
                  <a:gd name="connsiteY3" fmla="*/ 172562 h 276694"/>
                  <a:gd name="connsiteX4" fmla="*/ 0 w 488166"/>
                  <a:gd name="connsiteY4" fmla="*/ 276694 h 276694"/>
                  <a:gd name="connsiteX5" fmla="*/ 476033 w 488166"/>
                  <a:gd name="connsiteY5" fmla="*/ 276694 h 276694"/>
                  <a:gd name="connsiteX6" fmla="*/ 481983 w 488166"/>
                  <a:gd name="connsiteY6" fmla="*/ 0 h 276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8166" h="276694">
                    <a:moveTo>
                      <a:pt x="481983" y="0"/>
                    </a:moveTo>
                    <a:lnTo>
                      <a:pt x="217190" y="14876"/>
                    </a:lnTo>
                    <a:lnTo>
                      <a:pt x="255867" y="151736"/>
                    </a:lnTo>
                    <a:cubicBezTo>
                      <a:pt x="235041" y="160661"/>
                      <a:pt x="178512" y="166612"/>
                      <a:pt x="163636" y="172562"/>
                    </a:cubicBezTo>
                    <a:cubicBezTo>
                      <a:pt x="121983" y="187438"/>
                      <a:pt x="11901" y="205290"/>
                      <a:pt x="0" y="276694"/>
                    </a:cubicBezTo>
                    <a:lnTo>
                      <a:pt x="476033" y="276694"/>
                    </a:lnTo>
                    <a:cubicBezTo>
                      <a:pt x="473058" y="276694"/>
                      <a:pt x="499834" y="214215"/>
                      <a:pt x="481983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2A913FA2-0827-4685-8C7F-36608787BF71}"/>
                </a:ext>
              </a:extLst>
            </p:cNvPr>
            <p:cNvGrpSpPr/>
            <p:nvPr/>
          </p:nvGrpSpPr>
          <p:grpSpPr>
            <a:xfrm>
              <a:off x="16225977" y="6249301"/>
              <a:ext cx="476992" cy="397405"/>
              <a:chOff x="16225977" y="6249301"/>
              <a:chExt cx="476992" cy="397405"/>
            </a:xfrm>
          </p:grpSpPr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98C8F20A-5E20-41CD-919C-FAACF94FE41F}"/>
                  </a:ext>
                </a:extLst>
              </p:cNvPr>
              <p:cNvSpPr/>
              <p:nvPr/>
            </p:nvSpPr>
            <p:spPr>
              <a:xfrm rot="-586898">
                <a:off x="16226587" y="6561962"/>
                <a:ext cx="476051" cy="44629"/>
              </a:xfrm>
              <a:custGeom>
                <a:avLst/>
                <a:gdLst>
                  <a:gd name="connsiteX0" fmla="*/ 0 w 476051"/>
                  <a:gd name="connsiteY0" fmla="*/ 0 h 44629"/>
                  <a:gd name="connsiteX1" fmla="*/ 476052 w 476051"/>
                  <a:gd name="connsiteY1" fmla="*/ 0 h 44629"/>
                  <a:gd name="connsiteX2" fmla="*/ 476052 w 476051"/>
                  <a:gd name="connsiteY2" fmla="*/ 44630 h 44629"/>
                  <a:gd name="connsiteX3" fmla="*/ 0 w 476051"/>
                  <a:gd name="connsiteY3" fmla="*/ 44630 h 44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051" h="44629">
                    <a:moveTo>
                      <a:pt x="0" y="0"/>
                    </a:moveTo>
                    <a:lnTo>
                      <a:pt x="476052" y="0"/>
                    </a:lnTo>
                    <a:lnTo>
                      <a:pt x="476052" y="44630"/>
                    </a:lnTo>
                    <a:lnTo>
                      <a:pt x="0" y="44630"/>
                    </a:lnTo>
                    <a:close/>
                  </a:path>
                </a:pathLst>
              </a:custGeom>
              <a:solidFill>
                <a:srgbClr val="38333D"/>
              </a:solidFill>
              <a:ln w="297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DADA88F5-2E12-415E-A7C6-F8B62F49BC8F}"/>
                  </a:ext>
                </a:extLst>
              </p:cNvPr>
              <p:cNvSpPr/>
              <p:nvPr/>
            </p:nvSpPr>
            <p:spPr>
              <a:xfrm>
                <a:off x="16225977" y="6249301"/>
                <a:ext cx="471979" cy="354049"/>
              </a:xfrm>
              <a:custGeom>
                <a:avLst/>
                <a:gdLst>
                  <a:gd name="connsiteX0" fmla="*/ 431405 w 471979"/>
                  <a:gd name="connsiteY0" fmla="*/ 0 h 354049"/>
                  <a:gd name="connsiteX1" fmla="*/ 172562 w 471979"/>
                  <a:gd name="connsiteY1" fmla="*/ 59504 h 354049"/>
                  <a:gd name="connsiteX2" fmla="*/ 232066 w 471979"/>
                  <a:gd name="connsiteY2" fmla="*/ 187438 h 354049"/>
                  <a:gd name="connsiteX3" fmla="*/ 142810 w 471979"/>
                  <a:gd name="connsiteY3" fmla="*/ 223141 h 354049"/>
                  <a:gd name="connsiteX4" fmla="*/ 0 w 471979"/>
                  <a:gd name="connsiteY4" fmla="*/ 354050 h 354049"/>
                  <a:gd name="connsiteX5" fmla="*/ 470082 w 471979"/>
                  <a:gd name="connsiteY5" fmla="*/ 273719 h 354049"/>
                  <a:gd name="connsiteX6" fmla="*/ 431405 w 471979"/>
                  <a:gd name="connsiteY6" fmla="*/ 0 h 354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1979" h="354049">
                    <a:moveTo>
                      <a:pt x="431405" y="0"/>
                    </a:moveTo>
                    <a:lnTo>
                      <a:pt x="172562" y="59504"/>
                    </a:lnTo>
                    <a:lnTo>
                      <a:pt x="232066" y="187438"/>
                    </a:lnTo>
                    <a:cubicBezTo>
                      <a:pt x="214214" y="199339"/>
                      <a:pt x="157686" y="217190"/>
                      <a:pt x="142810" y="223141"/>
                    </a:cubicBezTo>
                    <a:cubicBezTo>
                      <a:pt x="104132" y="243967"/>
                      <a:pt x="0" y="282645"/>
                      <a:pt x="0" y="354050"/>
                    </a:cubicBezTo>
                    <a:lnTo>
                      <a:pt x="470082" y="273719"/>
                    </a:lnTo>
                    <a:cubicBezTo>
                      <a:pt x="470082" y="273719"/>
                      <a:pt x="484958" y="208264"/>
                      <a:pt x="431405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8A5B8EA0-38EC-4406-BBDD-8D4E028159DF}"/>
                </a:ext>
              </a:extLst>
            </p:cNvPr>
            <p:cNvSpPr/>
            <p:nvPr/>
          </p:nvSpPr>
          <p:spPr>
            <a:xfrm>
              <a:off x="11120060" y="2708821"/>
              <a:ext cx="1003105" cy="1067252"/>
            </a:xfrm>
            <a:custGeom>
              <a:avLst/>
              <a:gdLst>
                <a:gd name="connsiteX0" fmla="*/ 116494 w 1003105"/>
                <a:gd name="connsiteY0" fmla="*/ 2960 h 1067252"/>
                <a:gd name="connsiteX1" fmla="*/ 369387 w 1003105"/>
                <a:gd name="connsiteY1" fmla="*/ 336183 h 1067252"/>
                <a:gd name="connsiteX2" fmla="*/ 494346 w 1003105"/>
                <a:gd name="connsiteY2" fmla="*/ 770563 h 1067252"/>
                <a:gd name="connsiteX3" fmla="*/ 1003106 w 1003105"/>
                <a:gd name="connsiteY3" fmla="*/ 705108 h 1067252"/>
                <a:gd name="connsiteX4" fmla="*/ 979304 w 1003105"/>
                <a:gd name="connsiteY4" fmla="*/ 868745 h 1067252"/>
                <a:gd name="connsiteX5" fmla="*/ 259304 w 1003105"/>
                <a:gd name="connsiteY5" fmla="*/ 1047257 h 1067252"/>
                <a:gd name="connsiteX6" fmla="*/ 116494 w 1003105"/>
                <a:gd name="connsiteY6" fmla="*/ 2960 h 1067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3105" h="1067252">
                  <a:moveTo>
                    <a:pt x="116494" y="2960"/>
                  </a:moveTo>
                  <a:cubicBezTo>
                    <a:pt x="244428" y="-29768"/>
                    <a:pt x="324759" y="217175"/>
                    <a:pt x="369387" y="336183"/>
                  </a:cubicBezTo>
                  <a:cubicBezTo>
                    <a:pt x="408064" y="443290"/>
                    <a:pt x="494346" y="770563"/>
                    <a:pt x="494346" y="770563"/>
                  </a:cubicBezTo>
                  <a:cubicBezTo>
                    <a:pt x="494346" y="770563"/>
                    <a:pt x="988230" y="592051"/>
                    <a:pt x="1003106" y="705108"/>
                  </a:cubicBezTo>
                  <a:cubicBezTo>
                    <a:pt x="1003106" y="764613"/>
                    <a:pt x="991205" y="830067"/>
                    <a:pt x="979304" y="868745"/>
                  </a:cubicBezTo>
                  <a:cubicBezTo>
                    <a:pt x="851371" y="996679"/>
                    <a:pt x="363436" y="1115687"/>
                    <a:pt x="259304" y="1047257"/>
                  </a:cubicBezTo>
                  <a:cubicBezTo>
                    <a:pt x="146246" y="966927"/>
                    <a:pt x="-169126" y="77340"/>
                    <a:pt x="116494" y="296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0FB0E7D4-D539-4A11-BEF9-01F29410E9E6}"/>
                </a:ext>
              </a:extLst>
            </p:cNvPr>
            <p:cNvSpPr/>
            <p:nvPr/>
          </p:nvSpPr>
          <p:spPr>
            <a:xfrm>
              <a:off x="10373745" y="4080376"/>
              <a:ext cx="1139495" cy="2261157"/>
            </a:xfrm>
            <a:custGeom>
              <a:avLst/>
              <a:gdLst>
                <a:gd name="connsiteX0" fmla="*/ 1032397 w 1139495"/>
                <a:gd name="connsiteY0" fmla="*/ 23802 h 2261157"/>
                <a:gd name="connsiteX1" fmla="*/ 1133554 w 1139495"/>
                <a:gd name="connsiteY1" fmla="*/ 1386446 h 2261157"/>
                <a:gd name="connsiteX2" fmla="*/ 984794 w 1139495"/>
                <a:gd name="connsiteY2" fmla="*/ 2243306 h 2261157"/>
                <a:gd name="connsiteX3" fmla="*/ 696198 w 1139495"/>
                <a:gd name="connsiteY3" fmla="*/ 2243306 h 2261157"/>
                <a:gd name="connsiteX4" fmla="*/ 740826 w 1139495"/>
                <a:gd name="connsiteY4" fmla="*/ 1410248 h 2261157"/>
                <a:gd name="connsiteX5" fmla="*/ 550413 w 1139495"/>
                <a:gd name="connsiteY5" fmla="*/ 493884 h 2261157"/>
                <a:gd name="connsiteX6" fmla="*/ 535537 w 1139495"/>
                <a:gd name="connsiteY6" fmla="*/ 1407273 h 2261157"/>
                <a:gd name="connsiteX7" fmla="*/ 526612 w 1139495"/>
                <a:gd name="connsiteY7" fmla="*/ 1457851 h 2261157"/>
                <a:gd name="connsiteX8" fmla="*/ 285620 w 1139495"/>
                <a:gd name="connsiteY8" fmla="*/ 2237355 h 2261157"/>
                <a:gd name="connsiteX9" fmla="*/ 0 w 1139495"/>
                <a:gd name="connsiteY9" fmla="*/ 2261157 h 2261157"/>
                <a:gd name="connsiteX10" fmla="*/ 142810 w 1139495"/>
                <a:gd name="connsiteY10" fmla="*/ 1413223 h 2261157"/>
                <a:gd name="connsiteX11" fmla="*/ 38677 w 1139495"/>
                <a:gd name="connsiteY11" fmla="*/ 0 h 2261157"/>
                <a:gd name="connsiteX12" fmla="*/ 1032397 w 1139495"/>
                <a:gd name="connsiteY12" fmla="*/ 23802 h 226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9495" h="2261157">
                  <a:moveTo>
                    <a:pt x="1032397" y="23802"/>
                  </a:moveTo>
                  <a:cubicBezTo>
                    <a:pt x="1032397" y="23802"/>
                    <a:pt x="1169256" y="1082975"/>
                    <a:pt x="1133554" y="1386446"/>
                  </a:cubicBezTo>
                  <a:cubicBezTo>
                    <a:pt x="1103802" y="1651240"/>
                    <a:pt x="984794" y="2243306"/>
                    <a:pt x="984794" y="2243306"/>
                  </a:cubicBezTo>
                  <a:lnTo>
                    <a:pt x="696198" y="2243306"/>
                  </a:lnTo>
                  <a:cubicBezTo>
                    <a:pt x="696198" y="2243306"/>
                    <a:pt x="746777" y="1505455"/>
                    <a:pt x="740826" y="1410248"/>
                  </a:cubicBezTo>
                  <a:cubicBezTo>
                    <a:pt x="734876" y="1273389"/>
                    <a:pt x="562314" y="523636"/>
                    <a:pt x="550413" y="493884"/>
                  </a:cubicBezTo>
                  <a:cubicBezTo>
                    <a:pt x="538513" y="467107"/>
                    <a:pt x="535537" y="1255537"/>
                    <a:pt x="535537" y="1407273"/>
                  </a:cubicBezTo>
                  <a:cubicBezTo>
                    <a:pt x="535537" y="1425124"/>
                    <a:pt x="532562" y="1440000"/>
                    <a:pt x="526612" y="1457851"/>
                  </a:cubicBezTo>
                  <a:lnTo>
                    <a:pt x="285620" y="2237355"/>
                  </a:lnTo>
                  <a:lnTo>
                    <a:pt x="0" y="2261157"/>
                  </a:lnTo>
                  <a:cubicBezTo>
                    <a:pt x="0" y="2261157"/>
                    <a:pt x="145785" y="1508430"/>
                    <a:pt x="142810" y="1413223"/>
                  </a:cubicBezTo>
                  <a:cubicBezTo>
                    <a:pt x="133884" y="1264463"/>
                    <a:pt x="-5951" y="95207"/>
                    <a:pt x="38677" y="0"/>
                  </a:cubicBezTo>
                  <a:cubicBezTo>
                    <a:pt x="717025" y="35702"/>
                    <a:pt x="1032397" y="23802"/>
                    <a:pt x="1032397" y="23802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84509701-42B4-4EF8-A5B0-2281F4274FDC}"/>
                </a:ext>
              </a:extLst>
            </p:cNvPr>
            <p:cNvSpPr/>
            <p:nvPr/>
          </p:nvSpPr>
          <p:spPr>
            <a:xfrm>
              <a:off x="10915233" y="4223186"/>
              <a:ext cx="68429" cy="357024"/>
            </a:xfrm>
            <a:custGeom>
              <a:avLst/>
              <a:gdLst>
                <a:gd name="connsiteX0" fmla="*/ 5950 w 68429"/>
                <a:gd name="connsiteY0" fmla="*/ 357025 h 357024"/>
                <a:gd name="connsiteX1" fmla="*/ 5950 w 68429"/>
                <a:gd name="connsiteY1" fmla="*/ 357025 h 357024"/>
                <a:gd name="connsiteX2" fmla="*/ 0 w 68429"/>
                <a:gd name="connsiteY2" fmla="*/ 348099 h 357024"/>
                <a:gd name="connsiteX3" fmla="*/ 56529 w 68429"/>
                <a:gd name="connsiteY3" fmla="*/ 5950 h 357024"/>
                <a:gd name="connsiteX4" fmla="*/ 62479 w 68429"/>
                <a:gd name="connsiteY4" fmla="*/ 0 h 357024"/>
                <a:gd name="connsiteX5" fmla="*/ 62479 w 68429"/>
                <a:gd name="connsiteY5" fmla="*/ 0 h 357024"/>
                <a:gd name="connsiteX6" fmla="*/ 68429 w 68429"/>
                <a:gd name="connsiteY6" fmla="*/ 5950 h 357024"/>
                <a:gd name="connsiteX7" fmla="*/ 11901 w 68429"/>
                <a:gd name="connsiteY7" fmla="*/ 351074 h 357024"/>
                <a:gd name="connsiteX8" fmla="*/ 5950 w 68429"/>
                <a:gd name="connsiteY8" fmla="*/ 357025 h 35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429" h="357024">
                  <a:moveTo>
                    <a:pt x="5950" y="357025"/>
                  </a:moveTo>
                  <a:cubicBezTo>
                    <a:pt x="5950" y="357025"/>
                    <a:pt x="5950" y="357025"/>
                    <a:pt x="5950" y="357025"/>
                  </a:cubicBezTo>
                  <a:cubicBezTo>
                    <a:pt x="0" y="354049"/>
                    <a:pt x="0" y="351074"/>
                    <a:pt x="0" y="348099"/>
                  </a:cubicBezTo>
                  <a:cubicBezTo>
                    <a:pt x="47603" y="238017"/>
                    <a:pt x="56529" y="8925"/>
                    <a:pt x="56529" y="5950"/>
                  </a:cubicBezTo>
                  <a:cubicBezTo>
                    <a:pt x="56529" y="2975"/>
                    <a:pt x="59504" y="0"/>
                    <a:pt x="62479" y="0"/>
                  </a:cubicBezTo>
                  <a:lnTo>
                    <a:pt x="62479" y="0"/>
                  </a:lnTo>
                  <a:cubicBezTo>
                    <a:pt x="65454" y="0"/>
                    <a:pt x="68429" y="2975"/>
                    <a:pt x="68429" y="5950"/>
                  </a:cubicBezTo>
                  <a:cubicBezTo>
                    <a:pt x="68429" y="14876"/>
                    <a:pt x="59504" y="238017"/>
                    <a:pt x="11901" y="351074"/>
                  </a:cubicBezTo>
                  <a:cubicBezTo>
                    <a:pt x="11901" y="357025"/>
                    <a:pt x="8925" y="357025"/>
                    <a:pt x="5950" y="357025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1C113B90-810F-44B7-AD1B-E707BD8E180B}"/>
                </a:ext>
              </a:extLst>
            </p:cNvPr>
            <p:cNvSpPr/>
            <p:nvPr/>
          </p:nvSpPr>
          <p:spPr>
            <a:xfrm>
              <a:off x="10943752" y="4154756"/>
              <a:ext cx="152967" cy="348099"/>
            </a:xfrm>
            <a:custGeom>
              <a:avLst/>
              <a:gdLst>
                <a:gd name="connsiteX0" fmla="*/ 7182 w 152967"/>
                <a:gd name="connsiteY0" fmla="*/ 348099 h 348099"/>
                <a:gd name="connsiteX1" fmla="*/ 1232 w 152967"/>
                <a:gd name="connsiteY1" fmla="*/ 345124 h 348099"/>
                <a:gd name="connsiteX2" fmla="*/ 4207 w 152967"/>
                <a:gd name="connsiteY2" fmla="*/ 336198 h 348099"/>
                <a:gd name="connsiteX3" fmla="*/ 108339 w 152967"/>
                <a:gd name="connsiteY3" fmla="*/ 261818 h 348099"/>
                <a:gd name="connsiteX4" fmla="*/ 141067 w 152967"/>
                <a:gd name="connsiteY4" fmla="*/ 5950 h 348099"/>
                <a:gd name="connsiteX5" fmla="*/ 147017 w 152967"/>
                <a:gd name="connsiteY5" fmla="*/ 0 h 348099"/>
                <a:gd name="connsiteX6" fmla="*/ 152967 w 152967"/>
                <a:gd name="connsiteY6" fmla="*/ 5950 h 348099"/>
                <a:gd name="connsiteX7" fmla="*/ 120241 w 152967"/>
                <a:gd name="connsiteY7" fmla="*/ 267769 h 348099"/>
                <a:gd name="connsiteX8" fmla="*/ 13133 w 152967"/>
                <a:gd name="connsiteY8" fmla="*/ 345124 h 348099"/>
                <a:gd name="connsiteX9" fmla="*/ 7182 w 152967"/>
                <a:gd name="connsiteY9" fmla="*/ 348099 h 34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967" h="348099">
                  <a:moveTo>
                    <a:pt x="7182" y="348099"/>
                  </a:moveTo>
                  <a:cubicBezTo>
                    <a:pt x="4207" y="348099"/>
                    <a:pt x="4207" y="348099"/>
                    <a:pt x="1232" y="345124"/>
                  </a:cubicBezTo>
                  <a:cubicBezTo>
                    <a:pt x="-1743" y="342149"/>
                    <a:pt x="1232" y="339174"/>
                    <a:pt x="4207" y="336198"/>
                  </a:cubicBezTo>
                  <a:cubicBezTo>
                    <a:pt x="42885" y="312397"/>
                    <a:pt x="99414" y="270744"/>
                    <a:pt x="108339" y="261818"/>
                  </a:cubicBezTo>
                  <a:cubicBezTo>
                    <a:pt x="117265" y="249917"/>
                    <a:pt x="132141" y="98182"/>
                    <a:pt x="141067" y="5950"/>
                  </a:cubicBezTo>
                  <a:cubicBezTo>
                    <a:pt x="141067" y="2975"/>
                    <a:pt x="144042" y="0"/>
                    <a:pt x="147017" y="0"/>
                  </a:cubicBezTo>
                  <a:cubicBezTo>
                    <a:pt x="149993" y="0"/>
                    <a:pt x="152967" y="2975"/>
                    <a:pt x="152967" y="5950"/>
                  </a:cubicBezTo>
                  <a:cubicBezTo>
                    <a:pt x="149993" y="47603"/>
                    <a:pt x="129166" y="252893"/>
                    <a:pt x="120241" y="267769"/>
                  </a:cubicBezTo>
                  <a:cubicBezTo>
                    <a:pt x="108339" y="282645"/>
                    <a:pt x="22058" y="339174"/>
                    <a:pt x="13133" y="345124"/>
                  </a:cubicBezTo>
                  <a:cubicBezTo>
                    <a:pt x="10158" y="348099"/>
                    <a:pt x="7182" y="348099"/>
                    <a:pt x="7182" y="348099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19086F50-8701-491F-8045-D26A214FCB35}"/>
                </a:ext>
              </a:extLst>
            </p:cNvPr>
            <p:cNvSpPr/>
            <p:nvPr/>
          </p:nvSpPr>
          <p:spPr>
            <a:xfrm>
              <a:off x="13900109" y="4286409"/>
              <a:ext cx="573586" cy="400909"/>
            </a:xfrm>
            <a:custGeom>
              <a:avLst/>
              <a:gdLst>
                <a:gd name="connsiteX0" fmla="*/ 567521 w 573586"/>
                <a:gd name="connsiteY0" fmla="*/ 133141 h 400909"/>
                <a:gd name="connsiteX1" fmla="*/ 519917 w 573586"/>
                <a:gd name="connsiteY1" fmla="*/ 121240 h 400909"/>
                <a:gd name="connsiteX2" fmla="*/ 445537 w 573586"/>
                <a:gd name="connsiteY2" fmla="*/ 162893 h 400909"/>
                <a:gd name="connsiteX3" fmla="*/ 308677 w 573586"/>
                <a:gd name="connsiteY3" fmla="*/ 106364 h 400909"/>
                <a:gd name="connsiteX4" fmla="*/ 344380 w 573586"/>
                <a:gd name="connsiteY4" fmla="*/ 76612 h 400909"/>
                <a:gd name="connsiteX5" fmla="*/ 356281 w 573586"/>
                <a:gd name="connsiteY5" fmla="*/ 52810 h 400909"/>
                <a:gd name="connsiteX6" fmla="*/ 347356 w 573586"/>
                <a:gd name="connsiteY6" fmla="*/ 29008 h 400909"/>
                <a:gd name="connsiteX7" fmla="*/ 323554 w 573586"/>
                <a:gd name="connsiteY7" fmla="*/ 17107 h 400909"/>
                <a:gd name="connsiteX8" fmla="*/ 299752 w 573586"/>
                <a:gd name="connsiteY8" fmla="*/ 26033 h 400909"/>
                <a:gd name="connsiteX9" fmla="*/ 237273 w 573586"/>
                <a:gd name="connsiteY9" fmla="*/ 79587 h 400909"/>
                <a:gd name="connsiteX10" fmla="*/ 46860 w 573586"/>
                <a:gd name="connsiteY10" fmla="*/ 2231 h 400909"/>
                <a:gd name="connsiteX11" fmla="*/ 2232 w 573586"/>
                <a:gd name="connsiteY11" fmla="*/ 20083 h 400909"/>
                <a:gd name="connsiteX12" fmla="*/ 2232 w 573586"/>
                <a:gd name="connsiteY12" fmla="*/ 46859 h 400909"/>
                <a:gd name="connsiteX13" fmla="*/ 20083 w 573586"/>
                <a:gd name="connsiteY13" fmla="*/ 64711 h 400909"/>
                <a:gd name="connsiteX14" fmla="*/ 338430 w 573586"/>
                <a:gd name="connsiteY14" fmla="*/ 195620 h 400909"/>
                <a:gd name="connsiteX15" fmla="*/ 368182 w 573586"/>
                <a:gd name="connsiteY15" fmla="*/ 371157 h 400909"/>
                <a:gd name="connsiteX16" fmla="*/ 406860 w 573586"/>
                <a:gd name="connsiteY16" fmla="*/ 400909 h 400909"/>
                <a:gd name="connsiteX17" fmla="*/ 406860 w 573586"/>
                <a:gd name="connsiteY17" fmla="*/ 400909 h 400909"/>
                <a:gd name="connsiteX18" fmla="*/ 436612 w 573586"/>
                <a:gd name="connsiteY18" fmla="*/ 362231 h 400909"/>
                <a:gd name="connsiteX19" fmla="*/ 415785 w 573586"/>
                <a:gd name="connsiteY19" fmla="*/ 228347 h 400909"/>
                <a:gd name="connsiteX20" fmla="*/ 496116 w 573586"/>
                <a:gd name="connsiteY20" fmla="*/ 261074 h 400909"/>
                <a:gd name="connsiteX21" fmla="*/ 540744 w 573586"/>
                <a:gd name="connsiteY21" fmla="*/ 243223 h 400909"/>
                <a:gd name="connsiteX22" fmla="*/ 525868 w 573586"/>
                <a:gd name="connsiteY22" fmla="*/ 201570 h 400909"/>
                <a:gd name="connsiteX23" fmla="*/ 552645 w 573586"/>
                <a:gd name="connsiteY23" fmla="*/ 186694 h 400909"/>
                <a:gd name="connsiteX24" fmla="*/ 567521 w 573586"/>
                <a:gd name="connsiteY24" fmla="*/ 133141 h 40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73586" h="400909">
                  <a:moveTo>
                    <a:pt x="567521" y="133141"/>
                  </a:moveTo>
                  <a:cubicBezTo>
                    <a:pt x="558595" y="115289"/>
                    <a:pt x="537769" y="109339"/>
                    <a:pt x="519917" y="121240"/>
                  </a:cubicBezTo>
                  <a:lnTo>
                    <a:pt x="445537" y="162893"/>
                  </a:lnTo>
                  <a:lnTo>
                    <a:pt x="308677" y="106364"/>
                  </a:lnTo>
                  <a:lnTo>
                    <a:pt x="344380" y="76612"/>
                  </a:lnTo>
                  <a:cubicBezTo>
                    <a:pt x="350330" y="70661"/>
                    <a:pt x="356281" y="61736"/>
                    <a:pt x="356281" y="52810"/>
                  </a:cubicBezTo>
                  <a:cubicBezTo>
                    <a:pt x="356281" y="43884"/>
                    <a:pt x="353306" y="34959"/>
                    <a:pt x="347356" y="29008"/>
                  </a:cubicBezTo>
                  <a:cubicBezTo>
                    <a:pt x="341405" y="23058"/>
                    <a:pt x="332480" y="17107"/>
                    <a:pt x="323554" y="17107"/>
                  </a:cubicBezTo>
                  <a:cubicBezTo>
                    <a:pt x="314628" y="17107"/>
                    <a:pt x="305702" y="20083"/>
                    <a:pt x="299752" y="26033"/>
                  </a:cubicBezTo>
                  <a:lnTo>
                    <a:pt x="237273" y="79587"/>
                  </a:lnTo>
                  <a:lnTo>
                    <a:pt x="46860" y="2231"/>
                  </a:lnTo>
                  <a:cubicBezTo>
                    <a:pt x="29008" y="-3719"/>
                    <a:pt x="8181" y="2231"/>
                    <a:pt x="2232" y="20083"/>
                  </a:cubicBezTo>
                  <a:cubicBezTo>
                    <a:pt x="-744" y="29008"/>
                    <a:pt x="-744" y="37934"/>
                    <a:pt x="2232" y="46859"/>
                  </a:cubicBezTo>
                  <a:cubicBezTo>
                    <a:pt x="5207" y="55785"/>
                    <a:pt x="11157" y="61736"/>
                    <a:pt x="20083" y="64711"/>
                  </a:cubicBezTo>
                  <a:lnTo>
                    <a:pt x="338430" y="195620"/>
                  </a:lnTo>
                  <a:lnTo>
                    <a:pt x="368182" y="371157"/>
                  </a:lnTo>
                  <a:cubicBezTo>
                    <a:pt x="371157" y="389008"/>
                    <a:pt x="389008" y="400909"/>
                    <a:pt x="406860" y="400909"/>
                  </a:cubicBezTo>
                  <a:lnTo>
                    <a:pt x="406860" y="400909"/>
                  </a:lnTo>
                  <a:cubicBezTo>
                    <a:pt x="424710" y="397934"/>
                    <a:pt x="439586" y="380083"/>
                    <a:pt x="436612" y="362231"/>
                  </a:cubicBezTo>
                  <a:lnTo>
                    <a:pt x="415785" y="228347"/>
                  </a:lnTo>
                  <a:lnTo>
                    <a:pt x="496116" y="261074"/>
                  </a:lnTo>
                  <a:cubicBezTo>
                    <a:pt x="513967" y="267025"/>
                    <a:pt x="534793" y="258099"/>
                    <a:pt x="540744" y="243223"/>
                  </a:cubicBezTo>
                  <a:cubicBezTo>
                    <a:pt x="546694" y="228347"/>
                    <a:pt x="540744" y="207521"/>
                    <a:pt x="525868" y="201570"/>
                  </a:cubicBezTo>
                  <a:lnTo>
                    <a:pt x="552645" y="186694"/>
                  </a:lnTo>
                  <a:cubicBezTo>
                    <a:pt x="573471" y="168843"/>
                    <a:pt x="579421" y="148017"/>
                    <a:pt x="567521" y="133141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4" name="图形 1">
              <a:extLst>
                <a:ext uri="{FF2B5EF4-FFF2-40B4-BE49-F238E27FC236}">
                  <a16:creationId xmlns:a16="http://schemas.microsoft.com/office/drawing/2014/main" id="{65384A9D-A705-4BF4-85E6-53022C0069BD}"/>
                </a:ext>
              </a:extLst>
            </p:cNvPr>
            <p:cNvGrpSpPr/>
            <p:nvPr/>
          </p:nvGrpSpPr>
          <p:grpSpPr>
            <a:xfrm>
              <a:off x="10349362" y="6270128"/>
              <a:ext cx="512317" cy="321322"/>
              <a:chOff x="10349362" y="6270128"/>
              <a:chExt cx="512317" cy="321322"/>
            </a:xfrm>
          </p:grpSpPr>
          <p:grpSp>
            <p:nvGrpSpPr>
              <p:cNvPr id="137" name="图形 1">
                <a:extLst>
                  <a:ext uri="{FF2B5EF4-FFF2-40B4-BE49-F238E27FC236}">
                    <a16:creationId xmlns:a16="http://schemas.microsoft.com/office/drawing/2014/main" id="{F3E8724F-7B6B-4714-BF4F-EC75879CE0F5}"/>
                  </a:ext>
                </a:extLst>
              </p:cNvPr>
              <p:cNvGrpSpPr/>
              <p:nvPr/>
            </p:nvGrpSpPr>
            <p:grpSpPr>
              <a:xfrm>
                <a:off x="10377712" y="6392111"/>
                <a:ext cx="483967" cy="199338"/>
                <a:chOff x="10377712" y="6392111"/>
                <a:chExt cx="483967" cy="199338"/>
              </a:xfrm>
            </p:grpSpPr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645B8341-49EA-41F3-9184-B1AE5F0E9A1C}"/>
                    </a:ext>
                  </a:extLst>
                </p:cNvPr>
                <p:cNvSpPr/>
                <p:nvPr/>
              </p:nvSpPr>
              <p:spPr>
                <a:xfrm>
                  <a:off x="10377712" y="6392111"/>
                  <a:ext cx="483967" cy="157686"/>
                </a:xfrm>
                <a:custGeom>
                  <a:avLst/>
                  <a:gdLst>
                    <a:gd name="connsiteX0" fmla="*/ 7934 w 483967"/>
                    <a:gd name="connsiteY0" fmla="*/ 44628 h 157686"/>
                    <a:gd name="connsiteX1" fmla="*/ 189422 w 483967"/>
                    <a:gd name="connsiteY1" fmla="*/ 0 h 157686"/>
                    <a:gd name="connsiteX2" fmla="*/ 320331 w 483967"/>
                    <a:gd name="connsiteY2" fmla="*/ 53554 h 157686"/>
                    <a:gd name="connsiteX3" fmla="*/ 483967 w 483967"/>
                    <a:gd name="connsiteY3" fmla="*/ 157686 h 157686"/>
                    <a:gd name="connsiteX4" fmla="*/ 7934 w 483967"/>
                    <a:gd name="connsiteY4" fmla="*/ 157686 h 157686"/>
                    <a:gd name="connsiteX5" fmla="*/ 7934 w 483967"/>
                    <a:gd name="connsiteY5" fmla="*/ 44628 h 157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3967" h="157686">
                      <a:moveTo>
                        <a:pt x="7934" y="44628"/>
                      </a:moveTo>
                      <a:cubicBezTo>
                        <a:pt x="7934" y="44628"/>
                        <a:pt x="129918" y="62480"/>
                        <a:pt x="189422" y="0"/>
                      </a:cubicBezTo>
                      <a:cubicBezTo>
                        <a:pt x="189422" y="0"/>
                        <a:pt x="272727" y="35702"/>
                        <a:pt x="320331" y="53554"/>
                      </a:cubicBezTo>
                      <a:cubicBezTo>
                        <a:pt x="361983" y="68430"/>
                        <a:pt x="472066" y="86281"/>
                        <a:pt x="483967" y="157686"/>
                      </a:cubicBezTo>
                      <a:lnTo>
                        <a:pt x="7934" y="157686"/>
                      </a:lnTo>
                      <a:cubicBezTo>
                        <a:pt x="7934" y="154711"/>
                        <a:pt x="-9917" y="95207"/>
                        <a:pt x="7934" y="44628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0" name="任意多边形: 形状 139">
                  <a:extLst>
                    <a:ext uri="{FF2B5EF4-FFF2-40B4-BE49-F238E27FC236}">
                      <a16:creationId xmlns:a16="http://schemas.microsoft.com/office/drawing/2014/main" id="{AE80C065-D500-48A7-ADE3-08C9A3F790FC}"/>
                    </a:ext>
                  </a:extLst>
                </p:cNvPr>
                <p:cNvSpPr/>
                <p:nvPr/>
              </p:nvSpPr>
              <p:spPr>
                <a:xfrm>
                  <a:off x="10385646" y="6546822"/>
                  <a:ext cx="476033" cy="44628"/>
                </a:xfrm>
                <a:custGeom>
                  <a:avLst/>
                  <a:gdLst>
                    <a:gd name="connsiteX0" fmla="*/ 0 w 476033"/>
                    <a:gd name="connsiteY0" fmla="*/ 0 h 44628"/>
                    <a:gd name="connsiteX1" fmla="*/ 476033 w 476033"/>
                    <a:gd name="connsiteY1" fmla="*/ 0 h 44628"/>
                    <a:gd name="connsiteX2" fmla="*/ 476033 w 476033"/>
                    <a:gd name="connsiteY2" fmla="*/ 44628 h 44628"/>
                    <a:gd name="connsiteX3" fmla="*/ 0 w 476033"/>
                    <a:gd name="connsiteY3" fmla="*/ 44628 h 4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033" h="44628">
                      <a:moveTo>
                        <a:pt x="0" y="0"/>
                      </a:moveTo>
                      <a:lnTo>
                        <a:pt x="476033" y="0"/>
                      </a:lnTo>
                      <a:lnTo>
                        <a:pt x="476033" y="44628"/>
                      </a:lnTo>
                      <a:lnTo>
                        <a:pt x="0" y="44628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E5CAC0F5-1DB7-447D-BDDA-69BEC5A44252}"/>
                  </a:ext>
                </a:extLst>
              </p:cNvPr>
              <p:cNvSpPr/>
              <p:nvPr/>
            </p:nvSpPr>
            <p:spPr>
              <a:xfrm>
                <a:off x="10349362" y="6270128"/>
                <a:ext cx="330829" cy="276693"/>
              </a:xfrm>
              <a:custGeom>
                <a:avLst/>
                <a:gdLst>
                  <a:gd name="connsiteX0" fmla="*/ 36284 w 330829"/>
                  <a:gd name="connsiteY0" fmla="*/ 276694 h 276693"/>
                  <a:gd name="connsiteX1" fmla="*/ 582 w 330829"/>
                  <a:gd name="connsiteY1" fmla="*/ 0 h 276693"/>
                  <a:gd name="connsiteX2" fmla="*/ 330829 w 330829"/>
                  <a:gd name="connsiteY2" fmla="*/ 17851 h 276693"/>
                  <a:gd name="connsiteX3" fmla="*/ 286201 w 330829"/>
                  <a:gd name="connsiteY3" fmla="*/ 175537 h 276693"/>
                  <a:gd name="connsiteX4" fmla="*/ 36284 w 330829"/>
                  <a:gd name="connsiteY4" fmla="*/ 276694 h 276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29" h="276693">
                    <a:moveTo>
                      <a:pt x="36284" y="276694"/>
                    </a:moveTo>
                    <a:cubicBezTo>
                      <a:pt x="36284" y="276694"/>
                      <a:pt x="-5369" y="187438"/>
                      <a:pt x="582" y="0"/>
                    </a:cubicBezTo>
                    <a:lnTo>
                      <a:pt x="330829" y="17851"/>
                    </a:lnTo>
                    <a:lnTo>
                      <a:pt x="286201" y="175537"/>
                    </a:lnTo>
                    <a:lnTo>
                      <a:pt x="36284" y="276694"/>
                    </a:ln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5" name="图形 1">
              <a:extLst>
                <a:ext uri="{FF2B5EF4-FFF2-40B4-BE49-F238E27FC236}">
                  <a16:creationId xmlns:a16="http://schemas.microsoft.com/office/drawing/2014/main" id="{3DCE18DC-F285-4D55-BBC7-5332990C7EC4}"/>
                </a:ext>
              </a:extLst>
            </p:cNvPr>
            <p:cNvGrpSpPr/>
            <p:nvPr/>
          </p:nvGrpSpPr>
          <p:grpSpPr>
            <a:xfrm>
              <a:off x="11051510" y="6270128"/>
              <a:ext cx="512317" cy="321322"/>
              <a:chOff x="11051510" y="6270128"/>
              <a:chExt cx="512317" cy="321322"/>
            </a:xfrm>
          </p:grpSpPr>
          <p:grpSp>
            <p:nvGrpSpPr>
              <p:cNvPr id="133" name="图形 1">
                <a:extLst>
                  <a:ext uri="{FF2B5EF4-FFF2-40B4-BE49-F238E27FC236}">
                    <a16:creationId xmlns:a16="http://schemas.microsoft.com/office/drawing/2014/main" id="{2C43247A-08BC-4F20-BDF4-724CF2190E9E}"/>
                  </a:ext>
                </a:extLst>
              </p:cNvPr>
              <p:cNvGrpSpPr/>
              <p:nvPr/>
            </p:nvGrpSpPr>
            <p:grpSpPr>
              <a:xfrm>
                <a:off x="11079861" y="6392111"/>
                <a:ext cx="483967" cy="199338"/>
                <a:chOff x="11079861" y="6392111"/>
                <a:chExt cx="483967" cy="199338"/>
              </a:xfrm>
            </p:grpSpPr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D0B16442-5A55-46C3-BD75-2630D187A463}"/>
                    </a:ext>
                  </a:extLst>
                </p:cNvPr>
                <p:cNvSpPr/>
                <p:nvPr/>
              </p:nvSpPr>
              <p:spPr>
                <a:xfrm>
                  <a:off x="11079861" y="6392111"/>
                  <a:ext cx="483967" cy="157686"/>
                </a:xfrm>
                <a:custGeom>
                  <a:avLst/>
                  <a:gdLst>
                    <a:gd name="connsiteX0" fmla="*/ 7934 w 483967"/>
                    <a:gd name="connsiteY0" fmla="*/ 44628 h 157686"/>
                    <a:gd name="connsiteX1" fmla="*/ 189422 w 483967"/>
                    <a:gd name="connsiteY1" fmla="*/ 0 h 157686"/>
                    <a:gd name="connsiteX2" fmla="*/ 320331 w 483967"/>
                    <a:gd name="connsiteY2" fmla="*/ 53554 h 157686"/>
                    <a:gd name="connsiteX3" fmla="*/ 483967 w 483967"/>
                    <a:gd name="connsiteY3" fmla="*/ 157686 h 157686"/>
                    <a:gd name="connsiteX4" fmla="*/ 7934 w 483967"/>
                    <a:gd name="connsiteY4" fmla="*/ 157686 h 157686"/>
                    <a:gd name="connsiteX5" fmla="*/ 7934 w 483967"/>
                    <a:gd name="connsiteY5" fmla="*/ 44628 h 157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3967" h="157686">
                      <a:moveTo>
                        <a:pt x="7934" y="44628"/>
                      </a:moveTo>
                      <a:cubicBezTo>
                        <a:pt x="7934" y="44628"/>
                        <a:pt x="129918" y="62480"/>
                        <a:pt x="189422" y="0"/>
                      </a:cubicBezTo>
                      <a:cubicBezTo>
                        <a:pt x="189422" y="0"/>
                        <a:pt x="272727" y="35702"/>
                        <a:pt x="320331" y="53554"/>
                      </a:cubicBezTo>
                      <a:cubicBezTo>
                        <a:pt x="361983" y="68430"/>
                        <a:pt x="472066" y="86281"/>
                        <a:pt x="483967" y="157686"/>
                      </a:cubicBezTo>
                      <a:lnTo>
                        <a:pt x="7934" y="157686"/>
                      </a:lnTo>
                      <a:cubicBezTo>
                        <a:pt x="7934" y="154711"/>
                        <a:pt x="-9917" y="95207"/>
                        <a:pt x="7934" y="44628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6BD64C0D-42E2-4B0B-AFA1-10490AECF8FC}"/>
                    </a:ext>
                  </a:extLst>
                </p:cNvPr>
                <p:cNvSpPr/>
                <p:nvPr/>
              </p:nvSpPr>
              <p:spPr>
                <a:xfrm>
                  <a:off x="11087794" y="6546822"/>
                  <a:ext cx="476033" cy="44628"/>
                </a:xfrm>
                <a:custGeom>
                  <a:avLst/>
                  <a:gdLst>
                    <a:gd name="connsiteX0" fmla="*/ 0 w 476033"/>
                    <a:gd name="connsiteY0" fmla="*/ 0 h 44628"/>
                    <a:gd name="connsiteX1" fmla="*/ 476033 w 476033"/>
                    <a:gd name="connsiteY1" fmla="*/ 0 h 44628"/>
                    <a:gd name="connsiteX2" fmla="*/ 476033 w 476033"/>
                    <a:gd name="connsiteY2" fmla="*/ 44628 h 44628"/>
                    <a:gd name="connsiteX3" fmla="*/ 0 w 476033"/>
                    <a:gd name="connsiteY3" fmla="*/ 44628 h 4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033" h="44628">
                      <a:moveTo>
                        <a:pt x="0" y="0"/>
                      </a:moveTo>
                      <a:lnTo>
                        <a:pt x="476033" y="0"/>
                      </a:lnTo>
                      <a:lnTo>
                        <a:pt x="476033" y="44628"/>
                      </a:lnTo>
                      <a:lnTo>
                        <a:pt x="0" y="44628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7CCFE383-A13F-4927-8A29-87DDC3A07B68}"/>
                  </a:ext>
                </a:extLst>
              </p:cNvPr>
              <p:cNvSpPr/>
              <p:nvPr/>
            </p:nvSpPr>
            <p:spPr>
              <a:xfrm>
                <a:off x="11051510" y="6270128"/>
                <a:ext cx="330829" cy="276693"/>
              </a:xfrm>
              <a:custGeom>
                <a:avLst/>
                <a:gdLst>
                  <a:gd name="connsiteX0" fmla="*/ 36285 w 330829"/>
                  <a:gd name="connsiteY0" fmla="*/ 276694 h 276693"/>
                  <a:gd name="connsiteX1" fmla="*/ 582 w 330829"/>
                  <a:gd name="connsiteY1" fmla="*/ 0 h 276693"/>
                  <a:gd name="connsiteX2" fmla="*/ 330830 w 330829"/>
                  <a:gd name="connsiteY2" fmla="*/ 17851 h 276693"/>
                  <a:gd name="connsiteX3" fmla="*/ 286202 w 330829"/>
                  <a:gd name="connsiteY3" fmla="*/ 175537 h 276693"/>
                  <a:gd name="connsiteX4" fmla="*/ 36285 w 330829"/>
                  <a:gd name="connsiteY4" fmla="*/ 276694 h 276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29" h="276693">
                    <a:moveTo>
                      <a:pt x="36285" y="276694"/>
                    </a:moveTo>
                    <a:cubicBezTo>
                      <a:pt x="36285" y="276694"/>
                      <a:pt x="-5368" y="187438"/>
                      <a:pt x="582" y="0"/>
                    </a:cubicBezTo>
                    <a:lnTo>
                      <a:pt x="330830" y="17851"/>
                    </a:lnTo>
                    <a:lnTo>
                      <a:pt x="286202" y="175537"/>
                    </a:lnTo>
                    <a:lnTo>
                      <a:pt x="36285" y="276694"/>
                    </a:ln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64F8F4D8-2350-40A7-A7B4-3CC19D00C585}"/>
                </a:ext>
              </a:extLst>
            </p:cNvPr>
            <p:cNvSpPr/>
            <p:nvPr/>
          </p:nvSpPr>
          <p:spPr>
            <a:xfrm>
              <a:off x="10712918" y="2325004"/>
              <a:ext cx="65454" cy="136859"/>
            </a:xfrm>
            <a:custGeom>
              <a:avLst/>
              <a:gdLst>
                <a:gd name="connsiteX0" fmla="*/ 0 w 65454"/>
                <a:gd name="connsiteY0" fmla="*/ 0 h 136859"/>
                <a:gd name="connsiteX1" fmla="*/ 62480 w 65454"/>
                <a:gd name="connsiteY1" fmla="*/ 136860 h 136859"/>
                <a:gd name="connsiteX2" fmla="*/ 65455 w 65454"/>
                <a:gd name="connsiteY2" fmla="*/ 53554 h 136859"/>
                <a:gd name="connsiteX3" fmla="*/ 0 w 65454"/>
                <a:gd name="connsiteY3" fmla="*/ 0 h 13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454" h="136859">
                  <a:moveTo>
                    <a:pt x="0" y="0"/>
                  </a:moveTo>
                  <a:cubicBezTo>
                    <a:pt x="0" y="0"/>
                    <a:pt x="11901" y="116033"/>
                    <a:pt x="62480" y="136860"/>
                  </a:cubicBezTo>
                  <a:lnTo>
                    <a:pt x="65455" y="535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AD9825A3-CE7C-4D50-83FC-8E377A8A3A56}"/>
                </a:ext>
              </a:extLst>
            </p:cNvPr>
            <p:cNvSpPr/>
            <p:nvPr/>
          </p:nvSpPr>
          <p:spPr>
            <a:xfrm>
              <a:off x="11066062" y="2128640"/>
              <a:ext cx="99284" cy="232045"/>
            </a:xfrm>
            <a:custGeom>
              <a:avLst/>
              <a:gdLst>
                <a:gd name="connsiteX0" fmla="*/ 93137 w 99284"/>
                <a:gd name="connsiteY0" fmla="*/ 0 h 232045"/>
                <a:gd name="connsiteX1" fmla="*/ 51484 w 99284"/>
                <a:gd name="connsiteY1" fmla="*/ 229091 h 232045"/>
                <a:gd name="connsiteX2" fmla="*/ 906 w 99284"/>
                <a:gd name="connsiteY2" fmla="*/ 11901 h 232045"/>
                <a:gd name="connsiteX3" fmla="*/ 93137 w 99284"/>
                <a:gd name="connsiteY3" fmla="*/ 0 h 232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284" h="232045">
                  <a:moveTo>
                    <a:pt x="93137" y="0"/>
                  </a:moveTo>
                  <a:cubicBezTo>
                    <a:pt x="93137" y="0"/>
                    <a:pt x="122889" y="190413"/>
                    <a:pt x="51484" y="229091"/>
                  </a:cubicBezTo>
                  <a:cubicBezTo>
                    <a:pt x="-10995" y="261818"/>
                    <a:pt x="906" y="11901"/>
                    <a:pt x="906" y="11901"/>
                  </a:cubicBezTo>
                  <a:lnTo>
                    <a:pt x="93137" y="0"/>
                  </a:ln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EF350CF1-7772-4548-A42C-3716853BC7A4}"/>
                </a:ext>
              </a:extLst>
            </p:cNvPr>
            <p:cNvSpPr/>
            <p:nvPr/>
          </p:nvSpPr>
          <p:spPr>
            <a:xfrm>
              <a:off x="10715894" y="1990912"/>
              <a:ext cx="410909" cy="554844"/>
            </a:xfrm>
            <a:custGeom>
              <a:avLst/>
              <a:gdLst>
                <a:gd name="connsiteX0" fmla="*/ 401653 w 410909"/>
                <a:gd name="connsiteY0" fmla="*/ 179381 h 554844"/>
                <a:gd name="connsiteX1" fmla="*/ 401653 w 410909"/>
                <a:gd name="connsiteY1" fmla="*/ 423348 h 554844"/>
                <a:gd name="connsiteX2" fmla="*/ 246942 w 410909"/>
                <a:gd name="connsiteY2" fmla="*/ 554257 h 554844"/>
                <a:gd name="connsiteX3" fmla="*/ 35703 w 410909"/>
                <a:gd name="connsiteY3" fmla="*/ 414422 h 554844"/>
                <a:gd name="connsiteX4" fmla="*/ 0 w 410909"/>
                <a:gd name="connsiteY4" fmla="*/ 194257 h 554844"/>
                <a:gd name="connsiteX5" fmla="*/ 208264 w 410909"/>
                <a:gd name="connsiteY5" fmla="*/ 868 h 554844"/>
                <a:gd name="connsiteX6" fmla="*/ 401653 w 410909"/>
                <a:gd name="connsiteY6" fmla="*/ 179381 h 55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0909" h="554844">
                  <a:moveTo>
                    <a:pt x="401653" y="179381"/>
                  </a:moveTo>
                  <a:cubicBezTo>
                    <a:pt x="401653" y="179381"/>
                    <a:pt x="422480" y="351943"/>
                    <a:pt x="401653" y="423348"/>
                  </a:cubicBezTo>
                  <a:cubicBezTo>
                    <a:pt x="383801" y="488802"/>
                    <a:pt x="294545" y="551281"/>
                    <a:pt x="246942" y="554257"/>
                  </a:cubicBezTo>
                  <a:cubicBezTo>
                    <a:pt x="181488" y="560207"/>
                    <a:pt x="65455" y="521529"/>
                    <a:pt x="35703" y="414422"/>
                  </a:cubicBezTo>
                  <a:cubicBezTo>
                    <a:pt x="14876" y="343017"/>
                    <a:pt x="0" y="244835"/>
                    <a:pt x="0" y="194257"/>
                  </a:cubicBezTo>
                  <a:cubicBezTo>
                    <a:pt x="2975" y="102025"/>
                    <a:pt x="26777" y="24670"/>
                    <a:pt x="208264" y="868"/>
                  </a:cubicBezTo>
                  <a:cubicBezTo>
                    <a:pt x="291570" y="-11033"/>
                    <a:pt x="383801" y="102025"/>
                    <a:pt x="401653" y="179381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B2394DDD-70BB-4E9D-A919-8F0630B58F78}"/>
                </a:ext>
              </a:extLst>
            </p:cNvPr>
            <p:cNvSpPr/>
            <p:nvPr/>
          </p:nvSpPr>
          <p:spPr>
            <a:xfrm>
              <a:off x="10936059" y="2247649"/>
              <a:ext cx="56528" cy="133884"/>
            </a:xfrm>
            <a:custGeom>
              <a:avLst/>
              <a:gdLst>
                <a:gd name="connsiteX0" fmla="*/ 29752 w 56528"/>
                <a:gd name="connsiteY0" fmla="*/ 133884 h 133884"/>
                <a:gd name="connsiteX1" fmla="*/ 5951 w 56528"/>
                <a:gd name="connsiteY1" fmla="*/ 130909 h 133884"/>
                <a:gd name="connsiteX2" fmla="*/ 0 w 56528"/>
                <a:gd name="connsiteY2" fmla="*/ 124959 h 133884"/>
                <a:gd name="connsiteX3" fmla="*/ 5951 w 56528"/>
                <a:gd name="connsiteY3" fmla="*/ 119008 h 133884"/>
                <a:gd name="connsiteX4" fmla="*/ 44628 w 56528"/>
                <a:gd name="connsiteY4" fmla="*/ 119008 h 133884"/>
                <a:gd name="connsiteX5" fmla="*/ 44628 w 56528"/>
                <a:gd name="connsiteY5" fmla="*/ 116033 h 133884"/>
                <a:gd name="connsiteX6" fmla="*/ 29752 w 56528"/>
                <a:gd name="connsiteY6" fmla="*/ 5950 h 133884"/>
                <a:gd name="connsiteX7" fmla="*/ 35703 w 56528"/>
                <a:gd name="connsiteY7" fmla="*/ 0 h 133884"/>
                <a:gd name="connsiteX8" fmla="*/ 41653 w 56528"/>
                <a:gd name="connsiteY8" fmla="*/ 5950 h 133884"/>
                <a:gd name="connsiteX9" fmla="*/ 56529 w 56528"/>
                <a:gd name="connsiteY9" fmla="*/ 116033 h 133884"/>
                <a:gd name="connsiteX10" fmla="*/ 50579 w 56528"/>
                <a:gd name="connsiteY10" fmla="*/ 127934 h 133884"/>
                <a:gd name="connsiteX11" fmla="*/ 29752 w 56528"/>
                <a:gd name="connsiteY11" fmla="*/ 133884 h 13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528" h="133884">
                  <a:moveTo>
                    <a:pt x="29752" y="133884"/>
                  </a:moveTo>
                  <a:cubicBezTo>
                    <a:pt x="17851" y="133884"/>
                    <a:pt x="8926" y="130909"/>
                    <a:pt x="5951" y="130909"/>
                  </a:cubicBezTo>
                  <a:cubicBezTo>
                    <a:pt x="2975" y="130909"/>
                    <a:pt x="0" y="127934"/>
                    <a:pt x="0" y="124959"/>
                  </a:cubicBezTo>
                  <a:cubicBezTo>
                    <a:pt x="0" y="121983"/>
                    <a:pt x="2975" y="119008"/>
                    <a:pt x="5951" y="119008"/>
                  </a:cubicBezTo>
                  <a:cubicBezTo>
                    <a:pt x="17851" y="121983"/>
                    <a:pt x="38678" y="121983"/>
                    <a:pt x="44628" y="119008"/>
                  </a:cubicBezTo>
                  <a:cubicBezTo>
                    <a:pt x="44628" y="119008"/>
                    <a:pt x="44628" y="116033"/>
                    <a:pt x="44628" y="116033"/>
                  </a:cubicBezTo>
                  <a:cubicBezTo>
                    <a:pt x="44628" y="98182"/>
                    <a:pt x="29752" y="8926"/>
                    <a:pt x="29752" y="5950"/>
                  </a:cubicBezTo>
                  <a:cubicBezTo>
                    <a:pt x="29752" y="2975"/>
                    <a:pt x="32727" y="0"/>
                    <a:pt x="35703" y="0"/>
                  </a:cubicBezTo>
                  <a:cubicBezTo>
                    <a:pt x="38678" y="0"/>
                    <a:pt x="41653" y="2975"/>
                    <a:pt x="41653" y="5950"/>
                  </a:cubicBezTo>
                  <a:cubicBezTo>
                    <a:pt x="41653" y="8926"/>
                    <a:pt x="56529" y="98182"/>
                    <a:pt x="56529" y="116033"/>
                  </a:cubicBezTo>
                  <a:cubicBezTo>
                    <a:pt x="56529" y="121983"/>
                    <a:pt x="53554" y="124959"/>
                    <a:pt x="50579" y="127934"/>
                  </a:cubicBezTo>
                  <a:cubicBezTo>
                    <a:pt x="47603" y="133884"/>
                    <a:pt x="38678" y="133884"/>
                    <a:pt x="29752" y="133884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8922565E-ACF4-4676-B39B-5BC5B4E7F363}"/>
                </a:ext>
              </a:extLst>
            </p:cNvPr>
            <p:cNvSpPr/>
            <p:nvPr/>
          </p:nvSpPr>
          <p:spPr>
            <a:xfrm>
              <a:off x="11024557" y="2226238"/>
              <a:ext cx="40194" cy="40019"/>
            </a:xfrm>
            <a:custGeom>
              <a:avLst/>
              <a:gdLst>
                <a:gd name="connsiteX0" fmla="*/ 758 w 40194"/>
                <a:gd name="connsiteY0" fmla="*/ 24385 h 40019"/>
                <a:gd name="connsiteX1" fmla="*/ 24560 w 40194"/>
                <a:gd name="connsiteY1" fmla="*/ 39261 h 40019"/>
                <a:gd name="connsiteX2" fmla="*/ 39436 w 40194"/>
                <a:gd name="connsiteY2" fmla="*/ 15460 h 40019"/>
                <a:gd name="connsiteX3" fmla="*/ 15634 w 40194"/>
                <a:gd name="connsiteY3" fmla="*/ 584 h 40019"/>
                <a:gd name="connsiteX4" fmla="*/ 758 w 40194"/>
                <a:gd name="connsiteY4" fmla="*/ 24385 h 4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94" h="40019">
                  <a:moveTo>
                    <a:pt x="758" y="24385"/>
                  </a:moveTo>
                  <a:cubicBezTo>
                    <a:pt x="3734" y="36286"/>
                    <a:pt x="12659" y="42236"/>
                    <a:pt x="24560" y="39261"/>
                  </a:cubicBezTo>
                  <a:cubicBezTo>
                    <a:pt x="36461" y="36286"/>
                    <a:pt x="42411" y="27360"/>
                    <a:pt x="39436" y="15460"/>
                  </a:cubicBezTo>
                  <a:cubicBezTo>
                    <a:pt x="36461" y="6534"/>
                    <a:pt x="27535" y="-2392"/>
                    <a:pt x="15634" y="584"/>
                  </a:cubicBezTo>
                  <a:cubicBezTo>
                    <a:pt x="3734" y="3559"/>
                    <a:pt x="-2217" y="12484"/>
                    <a:pt x="758" y="24385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CD19273A-C507-437B-ACE9-7C0E0FFADC45}"/>
                </a:ext>
              </a:extLst>
            </p:cNvPr>
            <p:cNvSpPr/>
            <p:nvPr/>
          </p:nvSpPr>
          <p:spPr>
            <a:xfrm>
              <a:off x="10846044" y="2243915"/>
              <a:ext cx="40194" cy="40019"/>
            </a:xfrm>
            <a:custGeom>
              <a:avLst/>
              <a:gdLst>
                <a:gd name="connsiteX0" fmla="*/ 758 w 40194"/>
                <a:gd name="connsiteY0" fmla="*/ 24560 h 40019"/>
                <a:gd name="connsiteX1" fmla="*/ 24560 w 40194"/>
                <a:gd name="connsiteY1" fmla="*/ 39436 h 40019"/>
                <a:gd name="connsiteX2" fmla="*/ 39436 w 40194"/>
                <a:gd name="connsiteY2" fmla="*/ 15634 h 40019"/>
                <a:gd name="connsiteX3" fmla="*/ 15634 w 40194"/>
                <a:gd name="connsiteY3" fmla="*/ 758 h 40019"/>
                <a:gd name="connsiteX4" fmla="*/ 758 w 40194"/>
                <a:gd name="connsiteY4" fmla="*/ 24560 h 4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94" h="40019">
                  <a:moveTo>
                    <a:pt x="758" y="24560"/>
                  </a:moveTo>
                  <a:cubicBezTo>
                    <a:pt x="3734" y="33485"/>
                    <a:pt x="12659" y="42411"/>
                    <a:pt x="24560" y="39436"/>
                  </a:cubicBezTo>
                  <a:cubicBezTo>
                    <a:pt x="36461" y="36461"/>
                    <a:pt x="42411" y="27535"/>
                    <a:pt x="39436" y="15634"/>
                  </a:cubicBezTo>
                  <a:cubicBezTo>
                    <a:pt x="36461" y="3733"/>
                    <a:pt x="27535" y="-2217"/>
                    <a:pt x="15634" y="758"/>
                  </a:cubicBezTo>
                  <a:cubicBezTo>
                    <a:pt x="3734" y="3733"/>
                    <a:pt x="-2217" y="12659"/>
                    <a:pt x="758" y="2456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29735FDC-CBD4-4ADE-B630-01295A38AAA0}"/>
                </a:ext>
              </a:extLst>
            </p:cNvPr>
            <p:cNvSpPr/>
            <p:nvPr/>
          </p:nvSpPr>
          <p:spPr>
            <a:xfrm>
              <a:off x="11000281" y="2182194"/>
              <a:ext cx="89744" cy="29752"/>
            </a:xfrm>
            <a:custGeom>
              <a:avLst/>
              <a:gdLst>
                <a:gd name="connsiteX0" fmla="*/ 81562 w 89744"/>
                <a:gd name="connsiteY0" fmla="*/ 29752 h 29752"/>
                <a:gd name="connsiteX1" fmla="*/ 75613 w 89744"/>
                <a:gd name="connsiteY1" fmla="*/ 26777 h 29752"/>
                <a:gd name="connsiteX2" fmla="*/ 10158 w 89744"/>
                <a:gd name="connsiteY2" fmla="*/ 20826 h 29752"/>
                <a:gd name="connsiteX3" fmla="*/ 1232 w 89744"/>
                <a:gd name="connsiteY3" fmla="*/ 17851 h 29752"/>
                <a:gd name="connsiteX4" fmla="*/ 4208 w 89744"/>
                <a:gd name="connsiteY4" fmla="*/ 8926 h 29752"/>
                <a:gd name="connsiteX5" fmla="*/ 87513 w 89744"/>
                <a:gd name="connsiteY5" fmla="*/ 17851 h 29752"/>
                <a:gd name="connsiteX6" fmla="*/ 87513 w 89744"/>
                <a:gd name="connsiteY6" fmla="*/ 29752 h 29752"/>
                <a:gd name="connsiteX7" fmla="*/ 81562 w 89744"/>
                <a:gd name="connsiteY7" fmla="*/ 29752 h 29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29752">
                  <a:moveTo>
                    <a:pt x="81562" y="29752"/>
                  </a:moveTo>
                  <a:cubicBezTo>
                    <a:pt x="78588" y="29752"/>
                    <a:pt x="78588" y="29752"/>
                    <a:pt x="75613" y="26777"/>
                  </a:cubicBezTo>
                  <a:cubicBezTo>
                    <a:pt x="51810" y="0"/>
                    <a:pt x="10158" y="20826"/>
                    <a:pt x="10158" y="20826"/>
                  </a:cubicBezTo>
                  <a:cubicBezTo>
                    <a:pt x="7182" y="23802"/>
                    <a:pt x="1232" y="20826"/>
                    <a:pt x="1232" y="17851"/>
                  </a:cubicBezTo>
                  <a:cubicBezTo>
                    <a:pt x="-1743" y="14876"/>
                    <a:pt x="1232" y="8926"/>
                    <a:pt x="4208" y="8926"/>
                  </a:cubicBezTo>
                  <a:cubicBezTo>
                    <a:pt x="22058" y="0"/>
                    <a:pt x="60737" y="-8926"/>
                    <a:pt x="87513" y="17851"/>
                  </a:cubicBezTo>
                  <a:cubicBezTo>
                    <a:pt x="90489" y="20826"/>
                    <a:pt x="90489" y="26777"/>
                    <a:pt x="87513" y="29752"/>
                  </a:cubicBezTo>
                  <a:cubicBezTo>
                    <a:pt x="84538" y="29752"/>
                    <a:pt x="81562" y="29752"/>
                    <a:pt x="81562" y="29752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966C1D4B-3C0A-497E-81C8-2B2EE6E97C21}"/>
                </a:ext>
              </a:extLst>
            </p:cNvPr>
            <p:cNvSpPr/>
            <p:nvPr/>
          </p:nvSpPr>
          <p:spPr>
            <a:xfrm>
              <a:off x="10811844" y="2177235"/>
              <a:ext cx="89744" cy="34710"/>
            </a:xfrm>
            <a:custGeom>
              <a:avLst/>
              <a:gdLst>
                <a:gd name="connsiteX0" fmla="*/ 8182 w 89744"/>
                <a:gd name="connsiteY0" fmla="*/ 34711 h 34710"/>
                <a:gd name="connsiteX1" fmla="*/ 2231 w 89744"/>
                <a:gd name="connsiteY1" fmla="*/ 31736 h 34710"/>
                <a:gd name="connsiteX2" fmla="*/ 2231 w 89744"/>
                <a:gd name="connsiteY2" fmla="*/ 19835 h 34710"/>
                <a:gd name="connsiteX3" fmla="*/ 85537 w 89744"/>
                <a:gd name="connsiteY3" fmla="*/ 10909 h 34710"/>
                <a:gd name="connsiteX4" fmla="*/ 88513 w 89744"/>
                <a:gd name="connsiteY4" fmla="*/ 22810 h 34710"/>
                <a:gd name="connsiteX5" fmla="*/ 76611 w 89744"/>
                <a:gd name="connsiteY5" fmla="*/ 25785 h 34710"/>
                <a:gd name="connsiteX6" fmla="*/ 11157 w 89744"/>
                <a:gd name="connsiteY6" fmla="*/ 31736 h 34710"/>
                <a:gd name="connsiteX7" fmla="*/ 8182 w 89744"/>
                <a:gd name="connsiteY7" fmla="*/ 34711 h 3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4710">
                  <a:moveTo>
                    <a:pt x="8182" y="34711"/>
                  </a:moveTo>
                  <a:cubicBezTo>
                    <a:pt x="5206" y="34711"/>
                    <a:pt x="5206" y="34711"/>
                    <a:pt x="2231" y="31736"/>
                  </a:cubicBezTo>
                  <a:cubicBezTo>
                    <a:pt x="-744" y="28760"/>
                    <a:pt x="-744" y="22810"/>
                    <a:pt x="2231" y="19835"/>
                  </a:cubicBezTo>
                  <a:cubicBezTo>
                    <a:pt x="14132" y="7934"/>
                    <a:pt x="49834" y="-12893"/>
                    <a:pt x="85537" y="10909"/>
                  </a:cubicBezTo>
                  <a:cubicBezTo>
                    <a:pt x="88513" y="13884"/>
                    <a:pt x="91487" y="16860"/>
                    <a:pt x="88513" y="22810"/>
                  </a:cubicBezTo>
                  <a:cubicBezTo>
                    <a:pt x="85537" y="25785"/>
                    <a:pt x="82562" y="28760"/>
                    <a:pt x="76611" y="25785"/>
                  </a:cubicBezTo>
                  <a:cubicBezTo>
                    <a:pt x="40909" y="1983"/>
                    <a:pt x="14132" y="31736"/>
                    <a:pt x="11157" y="31736"/>
                  </a:cubicBezTo>
                  <a:cubicBezTo>
                    <a:pt x="14132" y="34711"/>
                    <a:pt x="11157" y="34711"/>
                    <a:pt x="8182" y="34711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CC0B24BC-8F57-45DC-A3CB-8E3D3B359DBB}"/>
                </a:ext>
              </a:extLst>
            </p:cNvPr>
            <p:cNvSpPr/>
            <p:nvPr/>
          </p:nvSpPr>
          <p:spPr>
            <a:xfrm>
              <a:off x="10678861" y="2240249"/>
              <a:ext cx="75709" cy="111296"/>
            </a:xfrm>
            <a:custGeom>
              <a:avLst/>
              <a:gdLst>
                <a:gd name="connsiteX0" fmla="*/ 63809 w 75709"/>
                <a:gd name="connsiteY0" fmla="*/ 16325 h 111296"/>
                <a:gd name="connsiteX1" fmla="*/ 7280 w 75709"/>
                <a:gd name="connsiteY1" fmla="*/ 7399 h 111296"/>
                <a:gd name="connsiteX2" fmla="*/ 63809 w 75709"/>
                <a:gd name="connsiteY2" fmla="*/ 108556 h 111296"/>
                <a:gd name="connsiteX3" fmla="*/ 63809 w 75709"/>
                <a:gd name="connsiteY3" fmla="*/ 16325 h 111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709" h="111296">
                  <a:moveTo>
                    <a:pt x="63809" y="16325"/>
                  </a:moveTo>
                  <a:cubicBezTo>
                    <a:pt x="63809" y="16325"/>
                    <a:pt x="31082" y="-13427"/>
                    <a:pt x="7280" y="7399"/>
                  </a:cubicBezTo>
                  <a:cubicBezTo>
                    <a:pt x="-16521" y="25250"/>
                    <a:pt x="22156" y="129383"/>
                    <a:pt x="63809" y="108556"/>
                  </a:cubicBezTo>
                  <a:cubicBezTo>
                    <a:pt x="90586" y="90705"/>
                    <a:pt x="63809" y="16325"/>
                    <a:pt x="63809" y="16325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AB255A30-880A-4511-980C-0F9379336201}"/>
                </a:ext>
              </a:extLst>
            </p:cNvPr>
            <p:cNvSpPr/>
            <p:nvPr/>
          </p:nvSpPr>
          <p:spPr>
            <a:xfrm>
              <a:off x="10685715" y="1885739"/>
              <a:ext cx="495200" cy="391662"/>
            </a:xfrm>
            <a:custGeom>
              <a:avLst/>
              <a:gdLst>
                <a:gd name="connsiteX0" fmla="*/ 491336 w 495200"/>
                <a:gd name="connsiteY0" fmla="*/ 236951 h 391662"/>
                <a:gd name="connsiteX1" fmla="*/ 473485 w 495200"/>
                <a:gd name="connsiteY1" fmla="*/ 195298 h 391662"/>
                <a:gd name="connsiteX2" fmla="*/ 476460 w 495200"/>
                <a:gd name="connsiteY2" fmla="*/ 162571 h 391662"/>
                <a:gd name="connsiteX3" fmla="*/ 470509 w 495200"/>
                <a:gd name="connsiteY3" fmla="*/ 126869 h 391662"/>
                <a:gd name="connsiteX4" fmla="*/ 452659 w 495200"/>
                <a:gd name="connsiteY4" fmla="*/ 100092 h 391662"/>
                <a:gd name="connsiteX5" fmla="*/ 437783 w 495200"/>
                <a:gd name="connsiteY5" fmla="*/ 58439 h 391662"/>
                <a:gd name="connsiteX6" fmla="*/ 378279 w 495200"/>
                <a:gd name="connsiteY6" fmla="*/ 37612 h 391662"/>
                <a:gd name="connsiteX7" fmla="*/ 256295 w 495200"/>
                <a:gd name="connsiteY7" fmla="*/ 1910 h 391662"/>
                <a:gd name="connsiteX8" fmla="*/ 244394 w 495200"/>
                <a:gd name="connsiteY8" fmla="*/ 7860 h 391662"/>
                <a:gd name="connsiteX9" fmla="*/ 190840 w 495200"/>
                <a:gd name="connsiteY9" fmla="*/ 22736 h 391662"/>
                <a:gd name="connsiteX10" fmla="*/ 158113 w 495200"/>
                <a:gd name="connsiteY10" fmla="*/ 25712 h 391662"/>
                <a:gd name="connsiteX11" fmla="*/ 128361 w 495200"/>
                <a:gd name="connsiteY11" fmla="*/ 58439 h 391662"/>
                <a:gd name="connsiteX12" fmla="*/ 116460 w 495200"/>
                <a:gd name="connsiteY12" fmla="*/ 76290 h 391662"/>
                <a:gd name="connsiteX13" fmla="*/ 86708 w 495200"/>
                <a:gd name="connsiteY13" fmla="*/ 97117 h 391662"/>
                <a:gd name="connsiteX14" fmla="*/ 74807 w 495200"/>
                <a:gd name="connsiteY14" fmla="*/ 94141 h 391662"/>
                <a:gd name="connsiteX15" fmla="*/ 56956 w 495200"/>
                <a:gd name="connsiteY15" fmla="*/ 132819 h 391662"/>
                <a:gd name="connsiteX16" fmla="*/ 6378 w 495200"/>
                <a:gd name="connsiteY16" fmla="*/ 293480 h 391662"/>
                <a:gd name="connsiteX17" fmla="*/ 62907 w 495200"/>
                <a:gd name="connsiteY17" fmla="*/ 391662 h 391662"/>
                <a:gd name="connsiteX18" fmla="*/ 113485 w 495200"/>
                <a:gd name="connsiteY18" fmla="*/ 254803 h 391662"/>
                <a:gd name="connsiteX19" fmla="*/ 122411 w 495200"/>
                <a:gd name="connsiteY19" fmla="*/ 251827 h 391662"/>
                <a:gd name="connsiteX20" fmla="*/ 196791 w 495200"/>
                <a:gd name="connsiteY20" fmla="*/ 225051 h 391662"/>
                <a:gd name="connsiteX21" fmla="*/ 208692 w 495200"/>
                <a:gd name="connsiteY21" fmla="*/ 222075 h 391662"/>
                <a:gd name="connsiteX22" fmla="*/ 244394 w 495200"/>
                <a:gd name="connsiteY22" fmla="*/ 242902 h 391662"/>
                <a:gd name="connsiteX23" fmla="*/ 259270 w 495200"/>
                <a:gd name="connsiteY23" fmla="*/ 233976 h 391662"/>
                <a:gd name="connsiteX24" fmla="*/ 309848 w 495200"/>
                <a:gd name="connsiteY24" fmla="*/ 248852 h 391662"/>
                <a:gd name="connsiteX25" fmla="*/ 345551 w 495200"/>
                <a:gd name="connsiteY25" fmla="*/ 257778 h 391662"/>
                <a:gd name="connsiteX26" fmla="*/ 357452 w 495200"/>
                <a:gd name="connsiteY26" fmla="*/ 257778 h 391662"/>
                <a:gd name="connsiteX27" fmla="*/ 360427 w 495200"/>
                <a:gd name="connsiteY27" fmla="*/ 257778 h 391662"/>
                <a:gd name="connsiteX28" fmla="*/ 381253 w 495200"/>
                <a:gd name="connsiteY28" fmla="*/ 275629 h 391662"/>
                <a:gd name="connsiteX29" fmla="*/ 405055 w 495200"/>
                <a:gd name="connsiteY29" fmla="*/ 281579 h 391662"/>
                <a:gd name="connsiteX30" fmla="*/ 422907 w 495200"/>
                <a:gd name="connsiteY30" fmla="*/ 302406 h 391662"/>
                <a:gd name="connsiteX31" fmla="*/ 452659 w 495200"/>
                <a:gd name="connsiteY31" fmla="*/ 314307 h 391662"/>
                <a:gd name="connsiteX32" fmla="*/ 470509 w 495200"/>
                <a:gd name="connsiteY32" fmla="*/ 367860 h 391662"/>
                <a:gd name="connsiteX33" fmla="*/ 479435 w 495200"/>
                <a:gd name="connsiteY33" fmla="*/ 338108 h 391662"/>
                <a:gd name="connsiteX34" fmla="*/ 488361 w 495200"/>
                <a:gd name="connsiteY34" fmla="*/ 335133 h 391662"/>
                <a:gd name="connsiteX35" fmla="*/ 491336 w 495200"/>
                <a:gd name="connsiteY35" fmla="*/ 236951 h 391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95200" h="391662">
                  <a:moveTo>
                    <a:pt x="491336" y="236951"/>
                  </a:moveTo>
                  <a:cubicBezTo>
                    <a:pt x="488361" y="222075"/>
                    <a:pt x="479435" y="210174"/>
                    <a:pt x="473485" y="195298"/>
                  </a:cubicBezTo>
                  <a:cubicBezTo>
                    <a:pt x="464559" y="177447"/>
                    <a:pt x="473485" y="177447"/>
                    <a:pt x="476460" y="162571"/>
                  </a:cubicBezTo>
                  <a:cubicBezTo>
                    <a:pt x="479435" y="150670"/>
                    <a:pt x="473485" y="138770"/>
                    <a:pt x="470509" y="126869"/>
                  </a:cubicBezTo>
                  <a:cubicBezTo>
                    <a:pt x="464559" y="117943"/>
                    <a:pt x="458609" y="109017"/>
                    <a:pt x="452659" y="100092"/>
                  </a:cubicBezTo>
                  <a:cubicBezTo>
                    <a:pt x="440757" y="85216"/>
                    <a:pt x="443733" y="73315"/>
                    <a:pt x="437783" y="58439"/>
                  </a:cubicBezTo>
                  <a:cubicBezTo>
                    <a:pt x="425881" y="31662"/>
                    <a:pt x="402080" y="37612"/>
                    <a:pt x="378279" y="37612"/>
                  </a:cubicBezTo>
                  <a:cubicBezTo>
                    <a:pt x="336625" y="37612"/>
                    <a:pt x="300923" y="-9991"/>
                    <a:pt x="256295" y="1910"/>
                  </a:cubicBezTo>
                  <a:cubicBezTo>
                    <a:pt x="250344" y="1910"/>
                    <a:pt x="247369" y="4885"/>
                    <a:pt x="244394" y="7860"/>
                  </a:cubicBezTo>
                  <a:cubicBezTo>
                    <a:pt x="226543" y="16786"/>
                    <a:pt x="208692" y="22736"/>
                    <a:pt x="190840" y="22736"/>
                  </a:cubicBezTo>
                  <a:cubicBezTo>
                    <a:pt x="178939" y="22736"/>
                    <a:pt x="170014" y="19761"/>
                    <a:pt x="158113" y="25712"/>
                  </a:cubicBezTo>
                  <a:cubicBezTo>
                    <a:pt x="143237" y="31662"/>
                    <a:pt x="137287" y="46538"/>
                    <a:pt x="128361" y="58439"/>
                  </a:cubicBezTo>
                  <a:cubicBezTo>
                    <a:pt x="125386" y="64389"/>
                    <a:pt x="119435" y="70340"/>
                    <a:pt x="116460" y="76290"/>
                  </a:cubicBezTo>
                  <a:cubicBezTo>
                    <a:pt x="104559" y="82241"/>
                    <a:pt x="95634" y="91166"/>
                    <a:pt x="86708" y="97117"/>
                  </a:cubicBezTo>
                  <a:cubicBezTo>
                    <a:pt x="86708" y="94141"/>
                    <a:pt x="89683" y="82241"/>
                    <a:pt x="74807" y="94141"/>
                  </a:cubicBezTo>
                  <a:cubicBezTo>
                    <a:pt x="59931" y="103067"/>
                    <a:pt x="56956" y="117943"/>
                    <a:pt x="56956" y="132819"/>
                  </a:cubicBezTo>
                  <a:cubicBezTo>
                    <a:pt x="427" y="153646"/>
                    <a:pt x="-8498" y="236951"/>
                    <a:pt x="6378" y="293480"/>
                  </a:cubicBezTo>
                  <a:cubicBezTo>
                    <a:pt x="21254" y="347034"/>
                    <a:pt x="62907" y="391662"/>
                    <a:pt x="62907" y="391662"/>
                  </a:cubicBezTo>
                  <a:cubicBezTo>
                    <a:pt x="56956" y="361910"/>
                    <a:pt x="113485" y="254803"/>
                    <a:pt x="113485" y="254803"/>
                  </a:cubicBezTo>
                  <a:cubicBezTo>
                    <a:pt x="113485" y="254803"/>
                    <a:pt x="116460" y="254803"/>
                    <a:pt x="122411" y="251827"/>
                  </a:cubicBezTo>
                  <a:cubicBezTo>
                    <a:pt x="149187" y="251827"/>
                    <a:pt x="175964" y="242902"/>
                    <a:pt x="196791" y="225051"/>
                  </a:cubicBezTo>
                  <a:cubicBezTo>
                    <a:pt x="199766" y="225051"/>
                    <a:pt x="205716" y="222075"/>
                    <a:pt x="208692" y="222075"/>
                  </a:cubicBezTo>
                  <a:cubicBezTo>
                    <a:pt x="217617" y="233976"/>
                    <a:pt x="226543" y="245877"/>
                    <a:pt x="244394" y="242902"/>
                  </a:cubicBezTo>
                  <a:cubicBezTo>
                    <a:pt x="253320" y="242902"/>
                    <a:pt x="256295" y="233976"/>
                    <a:pt x="259270" y="233976"/>
                  </a:cubicBezTo>
                  <a:cubicBezTo>
                    <a:pt x="280096" y="225051"/>
                    <a:pt x="291997" y="239927"/>
                    <a:pt x="309848" y="248852"/>
                  </a:cubicBezTo>
                  <a:cubicBezTo>
                    <a:pt x="321749" y="254803"/>
                    <a:pt x="333651" y="257778"/>
                    <a:pt x="345551" y="257778"/>
                  </a:cubicBezTo>
                  <a:cubicBezTo>
                    <a:pt x="348527" y="257778"/>
                    <a:pt x="354476" y="254803"/>
                    <a:pt x="357452" y="257778"/>
                  </a:cubicBezTo>
                  <a:cubicBezTo>
                    <a:pt x="357452" y="257778"/>
                    <a:pt x="360427" y="257778"/>
                    <a:pt x="360427" y="257778"/>
                  </a:cubicBezTo>
                  <a:cubicBezTo>
                    <a:pt x="366377" y="266703"/>
                    <a:pt x="372328" y="272654"/>
                    <a:pt x="381253" y="275629"/>
                  </a:cubicBezTo>
                  <a:cubicBezTo>
                    <a:pt x="387204" y="278604"/>
                    <a:pt x="396129" y="278604"/>
                    <a:pt x="405055" y="281579"/>
                  </a:cubicBezTo>
                  <a:cubicBezTo>
                    <a:pt x="411005" y="287530"/>
                    <a:pt x="413981" y="296455"/>
                    <a:pt x="422907" y="302406"/>
                  </a:cubicBezTo>
                  <a:cubicBezTo>
                    <a:pt x="428857" y="308356"/>
                    <a:pt x="440757" y="308356"/>
                    <a:pt x="452659" y="314307"/>
                  </a:cubicBezTo>
                  <a:cubicBezTo>
                    <a:pt x="467535" y="332158"/>
                    <a:pt x="473485" y="350009"/>
                    <a:pt x="470509" y="367860"/>
                  </a:cubicBezTo>
                  <a:cubicBezTo>
                    <a:pt x="470509" y="367860"/>
                    <a:pt x="473485" y="355960"/>
                    <a:pt x="479435" y="338108"/>
                  </a:cubicBezTo>
                  <a:cubicBezTo>
                    <a:pt x="482411" y="341084"/>
                    <a:pt x="485385" y="341084"/>
                    <a:pt x="488361" y="335133"/>
                  </a:cubicBezTo>
                  <a:cubicBezTo>
                    <a:pt x="491336" y="302406"/>
                    <a:pt x="500261" y="269679"/>
                    <a:pt x="491336" y="236951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53BD8B12-EE9A-4993-A6B7-5CBADF6B78A0}"/>
                </a:ext>
              </a:extLst>
            </p:cNvPr>
            <p:cNvSpPr/>
            <p:nvPr/>
          </p:nvSpPr>
          <p:spPr>
            <a:xfrm>
              <a:off x="10883249" y="2438806"/>
              <a:ext cx="112313" cy="34958"/>
            </a:xfrm>
            <a:custGeom>
              <a:avLst/>
              <a:gdLst>
                <a:gd name="connsiteX0" fmla="*/ 76612 w 112313"/>
                <a:gd name="connsiteY0" fmla="*/ 34959 h 34958"/>
                <a:gd name="connsiteX1" fmla="*/ 2232 w 112313"/>
                <a:gd name="connsiteY1" fmla="*/ 11157 h 34958"/>
                <a:gd name="connsiteX2" fmla="*/ 2232 w 112313"/>
                <a:gd name="connsiteY2" fmla="*/ 2231 h 34958"/>
                <a:gd name="connsiteX3" fmla="*/ 11157 w 112313"/>
                <a:gd name="connsiteY3" fmla="*/ 2231 h 34958"/>
                <a:gd name="connsiteX4" fmla="*/ 106364 w 112313"/>
                <a:gd name="connsiteY4" fmla="*/ 20083 h 34958"/>
                <a:gd name="connsiteX5" fmla="*/ 112314 w 112313"/>
                <a:gd name="connsiteY5" fmla="*/ 23058 h 34958"/>
                <a:gd name="connsiteX6" fmla="*/ 109338 w 112313"/>
                <a:gd name="connsiteY6" fmla="*/ 29008 h 34958"/>
                <a:gd name="connsiteX7" fmla="*/ 76612 w 112313"/>
                <a:gd name="connsiteY7" fmla="*/ 34959 h 34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313" h="34958">
                  <a:moveTo>
                    <a:pt x="76612" y="34959"/>
                  </a:moveTo>
                  <a:cubicBezTo>
                    <a:pt x="52810" y="34959"/>
                    <a:pt x="23057" y="29008"/>
                    <a:pt x="2232" y="11157"/>
                  </a:cubicBezTo>
                  <a:cubicBezTo>
                    <a:pt x="-744" y="8182"/>
                    <a:pt x="-744" y="5207"/>
                    <a:pt x="2232" y="2231"/>
                  </a:cubicBezTo>
                  <a:cubicBezTo>
                    <a:pt x="5206" y="-744"/>
                    <a:pt x="8181" y="-744"/>
                    <a:pt x="11157" y="2231"/>
                  </a:cubicBezTo>
                  <a:cubicBezTo>
                    <a:pt x="43884" y="34959"/>
                    <a:pt x="106364" y="20083"/>
                    <a:pt x="106364" y="20083"/>
                  </a:cubicBezTo>
                  <a:cubicBezTo>
                    <a:pt x="109338" y="20083"/>
                    <a:pt x="112314" y="20083"/>
                    <a:pt x="112314" y="23058"/>
                  </a:cubicBezTo>
                  <a:cubicBezTo>
                    <a:pt x="112314" y="26033"/>
                    <a:pt x="112314" y="29008"/>
                    <a:pt x="109338" y="29008"/>
                  </a:cubicBezTo>
                  <a:cubicBezTo>
                    <a:pt x="109338" y="31983"/>
                    <a:pt x="97438" y="34959"/>
                    <a:pt x="76612" y="34959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9C0CEA5E-8542-42A0-AC96-3BFA70F822CB}"/>
                </a:ext>
              </a:extLst>
            </p:cNvPr>
            <p:cNvSpPr/>
            <p:nvPr/>
          </p:nvSpPr>
          <p:spPr>
            <a:xfrm>
              <a:off x="10793249" y="2458888"/>
              <a:ext cx="243966" cy="252010"/>
            </a:xfrm>
            <a:custGeom>
              <a:avLst/>
              <a:gdLst>
                <a:gd name="connsiteX0" fmla="*/ 243966 w 243966"/>
                <a:gd name="connsiteY0" fmla="*/ 38678 h 252010"/>
                <a:gd name="connsiteX1" fmla="*/ 238017 w 243966"/>
                <a:gd name="connsiteY1" fmla="*/ 208264 h 252010"/>
                <a:gd name="connsiteX2" fmla="*/ 0 w 243966"/>
                <a:gd name="connsiteY2" fmla="*/ 199339 h 252010"/>
                <a:gd name="connsiteX3" fmla="*/ 14876 w 243966"/>
                <a:gd name="connsiteY3" fmla="*/ 0 h 252010"/>
                <a:gd name="connsiteX4" fmla="*/ 243966 w 243966"/>
                <a:gd name="connsiteY4" fmla="*/ 38678 h 252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966" h="252010">
                  <a:moveTo>
                    <a:pt x="243966" y="38678"/>
                  </a:moveTo>
                  <a:cubicBezTo>
                    <a:pt x="243966" y="38678"/>
                    <a:pt x="238017" y="136860"/>
                    <a:pt x="238017" y="208264"/>
                  </a:cubicBezTo>
                  <a:cubicBezTo>
                    <a:pt x="238017" y="208264"/>
                    <a:pt x="145785" y="312397"/>
                    <a:pt x="0" y="199339"/>
                  </a:cubicBezTo>
                  <a:cubicBezTo>
                    <a:pt x="0" y="139835"/>
                    <a:pt x="11901" y="62479"/>
                    <a:pt x="14876" y="0"/>
                  </a:cubicBezTo>
                  <a:cubicBezTo>
                    <a:pt x="11901" y="0"/>
                    <a:pt x="190413" y="50579"/>
                    <a:pt x="243966" y="38678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CA61CE6F-440B-499B-BCA3-577FADB04F98}"/>
                </a:ext>
              </a:extLst>
            </p:cNvPr>
            <p:cNvSpPr/>
            <p:nvPr/>
          </p:nvSpPr>
          <p:spPr>
            <a:xfrm>
              <a:off x="10388621" y="2619549"/>
              <a:ext cx="1045095" cy="1529076"/>
            </a:xfrm>
            <a:custGeom>
              <a:avLst/>
              <a:gdLst>
                <a:gd name="connsiteX0" fmla="*/ 386777 w 1045095"/>
                <a:gd name="connsiteY0" fmla="*/ 0 h 1529076"/>
                <a:gd name="connsiteX1" fmla="*/ 669422 w 1045095"/>
                <a:gd name="connsiteY1" fmla="*/ 0 h 1529076"/>
                <a:gd name="connsiteX2" fmla="*/ 960991 w 1045095"/>
                <a:gd name="connsiteY2" fmla="*/ 127934 h 1529076"/>
                <a:gd name="connsiteX3" fmla="*/ 1044298 w 1045095"/>
                <a:gd name="connsiteY3" fmla="*/ 1499504 h 1529076"/>
                <a:gd name="connsiteX4" fmla="*/ 0 w 1045095"/>
                <a:gd name="connsiteY4" fmla="*/ 1475703 h 1529076"/>
                <a:gd name="connsiteX5" fmla="*/ 113057 w 1045095"/>
                <a:gd name="connsiteY5" fmla="*/ 101157 h 1529076"/>
                <a:gd name="connsiteX6" fmla="*/ 386777 w 1045095"/>
                <a:gd name="connsiteY6" fmla="*/ 0 h 1529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5095" h="1529076">
                  <a:moveTo>
                    <a:pt x="386777" y="0"/>
                  </a:moveTo>
                  <a:cubicBezTo>
                    <a:pt x="386777" y="0"/>
                    <a:pt x="556364" y="53554"/>
                    <a:pt x="669422" y="0"/>
                  </a:cubicBezTo>
                  <a:cubicBezTo>
                    <a:pt x="669422" y="0"/>
                    <a:pt x="937190" y="95207"/>
                    <a:pt x="960991" y="127934"/>
                  </a:cubicBezTo>
                  <a:cubicBezTo>
                    <a:pt x="984794" y="157686"/>
                    <a:pt x="1053223" y="1434050"/>
                    <a:pt x="1044298" y="1499504"/>
                  </a:cubicBezTo>
                  <a:cubicBezTo>
                    <a:pt x="1044298" y="1499504"/>
                    <a:pt x="565289" y="1579835"/>
                    <a:pt x="0" y="1475703"/>
                  </a:cubicBezTo>
                  <a:cubicBezTo>
                    <a:pt x="0" y="1127603"/>
                    <a:pt x="71405" y="130909"/>
                    <a:pt x="113057" y="101157"/>
                  </a:cubicBezTo>
                  <a:cubicBezTo>
                    <a:pt x="151736" y="68430"/>
                    <a:pt x="386777" y="0"/>
                    <a:pt x="386777" y="0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1CB1919B-0500-4333-B9F7-5656E49AF25F}"/>
                </a:ext>
              </a:extLst>
            </p:cNvPr>
            <p:cNvSpPr/>
            <p:nvPr/>
          </p:nvSpPr>
          <p:spPr>
            <a:xfrm>
              <a:off x="10341017" y="2619549"/>
              <a:ext cx="685511" cy="1558824"/>
            </a:xfrm>
            <a:custGeom>
              <a:avLst/>
              <a:gdLst>
                <a:gd name="connsiteX0" fmla="*/ 574215 w 685511"/>
                <a:gd name="connsiteY0" fmla="*/ 0 h 1558824"/>
                <a:gd name="connsiteX1" fmla="*/ 124959 w 685511"/>
                <a:gd name="connsiteY1" fmla="*/ 92231 h 1558824"/>
                <a:gd name="connsiteX2" fmla="*/ 0 w 685511"/>
                <a:gd name="connsiteY2" fmla="*/ 1487603 h 1558824"/>
                <a:gd name="connsiteX3" fmla="*/ 684298 w 685511"/>
                <a:gd name="connsiteY3" fmla="*/ 1544132 h 1558824"/>
                <a:gd name="connsiteX4" fmla="*/ 574215 w 685511"/>
                <a:gd name="connsiteY4" fmla="*/ 0 h 1558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511" h="1558824">
                  <a:moveTo>
                    <a:pt x="574215" y="0"/>
                  </a:moveTo>
                  <a:cubicBezTo>
                    <a:pt x="574215" y="0"/>
                    <a:pt x="321323" y="0"/>
                    <a:pt x="124959" y="92231"/>
                  </a:cubicBezTo>
                  <a:cubicBezTo>
                    <a:pt x="65455" y="119008"/>
                    <a:pt x="0" y="1487603"/>
                    <a:pt x="0" y="1487603"/>
                  </a:cubicBezTo>
                  <a:cubicBezTo>
                    <a:pt x="0" y="1487603"/>
                    <a:pt x="407604" y="1597686"/>
                    <a:pt x="684298" y="1544132"/>
                  </a:cubicBezTo>
                  <a:cubicBezTo>
                    <a:pt x="684298" y="1544132"/>
                    <a:pt x="705124" y="446281"/>
                    <a:pt x="574215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FD84D234-3A4D-4074-9C76-9A44ACC7B08B}"/>
                </a:ext>
              </a:extLst>
            </p:cNvPr>
            <p:cNvSpPr/>
            <p:nvPr/>
          </p:nvSpPr>
          <p:spPr>
            <a:xfrm>
              <a:off x="11028290" y="2604673"/>
              <a:ext cx="452231" cy="1577282"/>
            </a:xfrm>
            <a:custGeom>
              <a:avLst/>
              <a:gdLst>
                <a:gd name="connsiteX0" fmla="*/ 0 w 452231"/>
                <a:gd name="connsiteY0" fmla="*/ 0 h 1577282"/>
                <a:gd name="connsiteX1" fmla="*/ 113057 w 452231"/>
                <a:gd name="connsiteY1" fmla="*/ 1576860 h 1577282"/>
                <a:gd name="connsiteX2" fmla="*/ 452232 w 452231"/>
                <a:gd name="connsiteY2" fmla="*/ 1550083 h 1577282"/>
                <a:gd name="connsiteX3" fmla="*/ 318347 w 452231"/>
                <a:gd name="connsiteY3" fmla="*/ 142810 h 1577282"/>
                <a:gd name="connsiteX4" fmla="*/ 0 w 452231"/>
                <a:gd name="connsiteY4" fmla="*/ 0 h 1577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2231" h="1577282">
                  <a:moveTo>
                    <a:pt x="0" y="0"/>
                  </a:moveTo>
                  <a:cubicBezTo>
                    <a:pt x="0" y="0"/>
                    <a:pt x="157686" y="776529"/>
                    <a:pt x="113057" y="1576860"/>
                  </a:cubicBezTo>
                  <a:cubicBezTo>
                    <a:pt x="113057" y="1576860"/>
                    <a:pt x="374876" y="1582810"/>
                    <a:pt x="452232" y="1550083"/>
                  </a:cubicBezTo>
                  <a:cubicBezTo>
                    <a:pt x="452232" y="1550083"/>
                    <a:pt x="362976" y="193388"/>
                    <a:pt x="318347" y="142810"/>
                  </a:cubicBezTo>
                  <a:cubicBezTo>
                    <a:pt x="276694" y="8925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B39EBBE1-774E-4C7E-A652-45AACF524277}"/>
                </a:ext>
              </a:extLst>
            </p:cNvPr>
            <p:cNvSpPr/>
            <p:nvPr/>
          </p:nvSpPr>
          <p:spPr>
            <a:xfrm>
              <a:off x="11340687" y="2738558"/>
              <a:ext cx="120240" cy="1056198"/>
            </a:xfrm>
            <a:custGeom>
              <a:avLst/>
              <a:gdLst>
                <a:gd name="connsiteX0" fmla="*/ 116033 w 120240"/>
                <a:gd name="connsiteY0" fmla="*/ 1056198 h 1056198"/>
                <a:gd name="connsiteX1" fmla="*/ 110083 w 120240"/>
                <a:gd name="connsiteY1" fmla="*/ 1050248 h 1056198"/>
                <a:gd name="connsiteX2" fmla="*/ 71405 w 120240"/>
                <a:gd name="connsiteY2" fmla="*/ 580165 h 1056198"/>
                <a:gd name="connsiteX3" fmla="*/ 0 w 120240"/>
                <a:gd name="connsiteY3" fmla="*/ 5950 h 1056198"/>
                <a:gd name="connsiteX4" fmla="*/ 2975 w 120240"/>
                <a:gd name="connsiteY4" fmla="*/ 0 h 1056198"/>
                <a:gd name="connsiteX5" fmla="*/ 8925 w 120240"/>
                <a:gd name="connsiteY5" fmla="*/ 2975 h 1056198"/>
                <a:gd name="connsiteX6" fmla="*/ 80331 w 120240"/>
                <a:gd name="connsiteY6" fmla="*/ 577190 h 1056198"/>
                <a:gd name="connsiteX7" fmla="*/ 119008 w 120240"/>
                <a:gd name="connsiteY7" fmla="*/ 1047273 h 1056198"/>
                <a:gd name="connsiteX8" fmla="*/ 116033 w 120240"/>
                <a:gd name="connsiteY8" fmla="*/ 1056198 h 1056198"/>
                <a:gd name="connsiteX9" fmla="*/ 116033 w 120240"/>
                <a:gd name="connsiteY9" fmla="*/ 1056198 h 105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240" h="1056198">
                  <a:moveTo>
                    <a:pt x="116033" y="1056198"/>
                  </a:moveTo>
                  <a:cubicBezTo>
                    <a:pt x="113057" y="1056198"/>
                    <a:pt x="110083" y="1053223"/>
                    <a:pt x="110083" y="1050248"/>
                  </a:cubicBezTo>
                  <a:cubicBezTo>
                    <a:pt x="110083" y="1047273"/>
                    <a:pt x="80331" y="684298"/>
                    <a:pt x="71405" y="580165"/>
                  </a:cubicBezTo>
                  <a:cubicBezTo>
                    <a:pt x="71405" y="574215"/>
                    <a:pt x="5951" y="44628"/>
                    <a:pt x="0" y="5950"/>
                  </a:cubicBezTo>
                  <a:cubicBezTo>
                    <a:pt x="0" y="2975"/>
                    <a:pt x="0" y="0"/>
                    <a:pt x="2975" y="0"/>
                  </a:cubicBezTo>
                  <a:cubicBezTo>
                    <a:pt x="5951" y="0"/>
                    <a:pt x="8925" y="0"/>
                    <a:pt x="8925" y="2975"/>
                  </a:cubicBezTo>
                  <a:cubicBezTo>
                    <a:pt x="17851" y="41653"/>
                    <a:pt x="77356" y="556364"/>
                    <a:pt x="80331" y="577190"/>
                  </a:cubicBezTo>
                  <a:cubicBezTo>
                    <a:pt x="89256" y="681322"/>
                    <a:pt x="119008" y="1044298"/>
                    <a:pt x="119008" y="1047273"/>
                  </a:cubicBezTo>
                  <a:cubicBezTo>
                    <a:pt x="121984" y="1053223"/>
                    <a:pt x="119008" y="1056198"/>
                    <a:pt x="116033" y="1056198"/>
                  </a:cubicBezTo>
                  <a:cubicBezTo>
                    <a:pt x="116033" y="1056198"/>
                    <a:pt x="116033" y="1056198"/>
                    <a:pt x="116033" y="1056198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5BD484B3-CB77-42CE-BA32-6B68515207C5}"/>
                </a:ext>
              </a:extLst>
            </p:cNvPr>
            <p:cNvSpPr/>
            <p:nvPr/>
          </p:nvSpPr>
          <p:spPr>
            <a:xfrm>
              <a:off x="10808125" y="2491615"/>
              <a:ext cx="239248" cy="62479"/>
            </a:xfrm>
            <a:custGeom>
              <a:avLst/>
              <a:gdLst>
                <a:gd name="connsiteX0" fmla="*/ 133884 w 239248"/>
                <a:gd name="connsiteY0" fmla="*/ 62479 h 62479"/>
                <a:gd name="connsiteX1" fmla="*/ 121984 w 239248"/>
                <a:gd name="connsiteY1" fmla="*/ 62479 h 62479"/>
                <a:gd name="connsiteX2" fmla="*/ 50578 w 239248"/>
                <a:gd name="connsiteY2" fmla="*/ 35702 h 62479"/>
                <a:gd name="connsiteX3" fmla="*/ 2975 w 239248"/>
                <a:gd name="connsiteY3" fmla="*/ 11901 h 62479"/>
                <a:gd name="connsiteX4" fmla="*/ 0 w 239248"/>
                <a:gd name="connsiteY4" fmla="*/ 2975 h 62479"/>
                <a:gd name="connsiteX5" fmla="*/ 8925 w 239248"/>
                <a:gd name="connsiteY5" fmla="*/ 0 h 62479"/>
                <a:gd name="connsiteX6" fmla="*/ 56529 w 239248"/>
                <a:gd name="connsiteY6" fmla="*/ 23802 h 62479"/>
                <a:gd name="connsiteX7" fmla="*/ 145785 w 239248"/>
                <a:gd name="connsiteY7" fmla="*/ 50578 h 62479"/>
                <a:gd name="connsiteX8" fmla="*/ 145785 w 239248"/>
                <a:gd name="connsiteY8" fmla="*/ 50578 h 62479"/>
                <a:gd name="connsiteX9" fmla="*/ 157686 w 239248"/>
                <a:gd name="connsiteY9" fmla="*/ 50578 h 62479"/>
                <a:gd name="connsiteX10" fmla="*/ 205289 w 239248"/>
                <a:gd name="connsiteY10" fmla="*/ 32727 h 62479"/>
                <a:gd name="connsiteX11" fmla="*/ 214214 w 239248"/>
                <a:gd name="connsiteY11" fmla="*/ 26777 h 62479"/>
                <a:gd name="connsiteX12" fmla="*/ 220165 w 239248"/>
                <a:gd name="connsiteY12" fmla="*/ 26777 h 62479"/>
                <a:gd name="connsiteX13" fmla="*/ 229090 w 239248"/>
                <a:gd name="connsiteY13" fmla="*/ 20826 h 62479"/>
                <a:gd name="connsiteX14" fmla="*/ 238017 w 239248"/>
                <a:gd name="connsiteY14" fmla="*/ 23802 h 62479"/>
                <a:gd name="connsiteX15" fmla="*/ 235041 w 239248"/>
                <a:gd name="connsiteY15" fmla="*/ 32727 h 62479"/>
                <a:gd name="connsiteX16" fmla="*/ 211240 w 239248"/>
                <a:gd name="connsiteY16" fmla="*/ 44628 h 62479"/>
                <a:gd name="connsiteX17" fmla="*/ 157686 w 239248"/>
                <a:gd name="connsiteY17" fmla="*/ 62479 h 62479"/>
                <a:gd name="connsiteX18" fmla="*/ 133884 w 239248"/>
                <a:gd name="connsiteY18" fmla="*/ 62479 h 62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9248" h="62479">
                  <a:moveTo>
                    <a:pt x="133884" y="62479"/>
                  </a:moveTo>
                  <a:cubicBezTo>
                    <a:pt x="127934" y="62479"/>
                    <a:pt x="124958" y="62479"/>
                    <a:pt x="121984" y="62479"/>
                  </a:cubicBezTo>
                  <a:cubicBezTo>
                    <a:pt x="104132" y="59504"/>
                    <a:pt x="74380" y="47603"/>
                    <a:pt x="50578" y="35702"/>
                  </a:cubicBezTo>
                  <a:cubicBezTo>
                    <a:pt x="23801" y="23802"/>
                    <a:pt x="2975" y="11901"/>
                    <a:pt x="2975" y="11901"/>
                  </a:cubicBezTo>
                  <a:cubicBezTo>
                    <a:pt x="0" y="8926"/>
                    <a:pt x="0" y="5950"/>
                    <a:pt x="0" y="2975"/>
                  </a:cubicBezTo>
                  <a:cubicBezTo>
                    <a:pt x="2975" y="0"/>
                    <a:pt x="5950" y="0"/>
                    <a:pt x="8925" y="0"/>
                  </a:cubicBezTo>
                  <a:cubicBezTo>
                    <a:pt x="8925" y="0"/>
                    <a:pt x="29752" y="11901"/>
                    <a:pt x="56529" y="23802"/>
                  </a:cubicBezTo>
                  <a:cubicBezTo>
                    <a:pt x="86281" y="35702"/>
                    <a:pt x="121984" y="50578"/>
                    <a:pt x="145785" y="50578"/>
                  </a:cubicBezTo>
                  <a:cubicBezTo>
                    <a:pt x="145785" y="50578"/>
                    <a:pt x="145785" y="50578"/>
                    <a:pt x="145785" y="50578"/>
                  </a:cubicBezTo>
                  <a:cubicBezTo>
                    <a:pt x="148760" y="50578"/>
                    <a:pt x="154710" y="50578"/>
                    <a:pt x="157686" y="50578"/>
                  </a:cubicBezTo>
                  <a:cubicBezTo>
                    <a:pt x="175537" y="47603"/>
                    <a:pt x="193388" y="38678"/>
                    <a:pt x="205289" y="32727"/>
                  </a:cubicBezTo>
                  <a:cubicBezTo>
                    <a:pt x="211240" y="29752"/>
                    <a:pt x="214214" y="26777"/>
                    <a:pt x="214214" y="26777"/>
                  </a:cubicBezTo>
                  <a:cubicBezTo>
                    <a:pt x="217190" y="26777"/>
                    <a:pt x="217190" y="23802"/>
                    <a:pt x="220165" y="26777"/>
                  </a:cubicBezTo>
                  <a:cubicBezTo>
                    <a:pt x="226116" y="23802"/>
                    <a:pt x="229090" y="20826"/>
                    <a:pt x="229090" y="20826"/>
                  </a:cubicBezTo>
                  <a:cubicBezTo>
                    <a:pt x="232066" y="17851"/>
                    <a:pt x="235041" y="20826"/>
                    <a:pt x="238017" y="23802"/>
                  </a:cubicBezTo>
                  <a:cubicBezTo>
                    <a:pt x="240992" y="26777"/>
                    <a:pt x="238017" y="29752"/>
                    <a:pt x="235041" y="32727"/>
                  </a:cubicBezTo>
                  <a:cubicBezTo>
                    <a:pt x="235041" y="32727"/>
                    <a:pt x="226116" y="38678"/>
                    <a:pt x="211240" y="44628"/>
                  </a:cubicBezTo>
                  <a:cubicBezTo>
                    <a:pt x="199338" y="50578"/>
                    <a:pt x="181488" y="59504"/>
                    <a:pt x="157686" y="62479"/>
                  </a:cubicBezTo>
                  <a:cubicBezTo>
                    <a:pt x="145785" y="59504"/>
                    <a:pt x="139834" y="62479"/>
                    <a:pt x="133884" y="62479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13AF56BC-475D-4938-9E7D-B8B5F65E6056}"/>
                </a:ext>
              </a:extLst>
            </p:cNvPr>
            <p:cNvSpPr/>
            <p:nvPr/>
          </p:nvSpPr>
          <p:spPr>
            <a:xfrm>
              <a:off x="10485480" y="3767979"/>
              <a:ext cx="209586" cy="243966"/>
            </a:xfrm>
            <a:custGeom>
              <a:avLst/>
              <a:gdLst>
                <a:gd name="connsiteX0" fmla="*/ 37025 w 209586"/>
                <a:gd name="connsiteY0" fmla="*/ 243967 h 243966"/>
                <a:gd name="connsiteX1" fmla="*/ 37025 w 209586"/>
                <a:gd name="connsiteY1" fmla="*/ 243967 h 243966"/>
                <a:gd name="connsiteX2" fmla="*/ 34049 w 209586"/>
                <a:gd name="connsiteY2" fmla="*/ 240992 h 243966"/>
                <a:gd name="connsiteX3" fmla="*/ 1322 w 209586"/>
                <a:gd name="connsiteY3" fmla="*/ 196364 h 243966"/>
                <a:gd name="connsiteX4" fmla="*/ 1322 w 209586"/>
                <a:gd name="connsiteY4" fmla="*/ 190413 h 243966"/>
                <a:gd name="connsiteX5" fmla="*/ 147108 w 209586"/>
                <a:gd name="connsiteY5" fmla="*/ 2975 h 243966"/>
                <a:gd name="connsiteX6" fmla="*/ 150082 w 209586"/>
                <a:gd name="connsiteY6" fmla="*/ 0 h 243966"/>
                <a:gd name="connsiteX7" fmla="*/ 156033 w 209586"/>
                <a:gd name="connsiteY7" fmla="*/ 0 h 243966"/>
                <a:gd name="connsiteX8" fmla="*/ 206612 w 209586"/>
                <a:gd name="connsiteY8" fmla="*/ 29752 h 243966"/>
                <a:gd name="connsiteX9" fmla="*/ 209586 w 209586"/>
                <a:gd name="connsiteY9" fmla="*/ 35702 h 243966"/>
                <a:gd name="connsiteX10" fmla="*/ 42976 w 209586"/>
                <a:gd name="connsiteY10" fmla="*/ 240992 h 243966"/>
                <a:gd name="connsiteX11" fmla="*/ 37025 w 209586"/>
                <a:gd name="connsiteY11" fmla="*/ 243967 h 243966"/>
                <a:gd name="connsiteX12" fmla="*/ 10248 w 209586"/>
                <a:gd name="connsiteY12" fmla="*/ 196364 h 243966"/>
                <a:gd name="connsiteX13" fmla="*/ 37025 w 209586"/>
                <a:gd name="connsiteY13" fmla="*/ 232066 h 243966"/>
                <a:gd name="connsiteX14" fmla="*/ 191736 w 209586"/>
                <a:gd name="connsiteY14" fmla="*/ 38678 h 243966"/>
                <a:gd name="connsiteX15" fmla="*/ 153058 w 209586"/>
                <a:gd name="connsiteY15" fmla="*/ 14876 h 243966"/>
                <a:gd name="connsiteX16" fmla="*/ 10248 w 209586"/>
                <a:gd name="connsiteY16" fmla="*/ 196364 h 24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9586" h="243966">
                  <a:moveTo>
                    <a:pt x="37025" y="243967"/>
                  </a:moveTo>
                  <a:cubicBezTo>
                    <a:pt x="37025" y="243967"/>
                    <a:pt x="37025" y="243967"/>
                    <a:pt x="37025" y="243967"/>
                  </a:cubicBezTo>
                  <a:cubicBezTo>
                    <a:pt x="34049" y="243967"/>
                    <a:pt x="34049" y="243967"/>
                    <a:pt x="34049" y="240992"/>
                  </a:cubicBezTo>
                  <a:lnTo>
                    <a:pt x="1322" y="196364"/>
                  </a:lnTo>
                  <a:cubicBezTo>
                    <a:pt x="-1652" y="193388"/>
                    <a:pt x="1322" y="190413"/>
                    <a:pt x="1322" y="190413"/>
                  </a:cubicBezTo>
                  <a:cubicBezTo>
                    <a:pt x="1322" y="190413"/>
                    <a:pt x="132232" y="53554"/>
                    <a:pt x="147108" y="2975"/>
                  </a:cubicBezTo>
                  <a:cubicBezTo>
                    <a:pt x="147108" y="0"/>
                    <a:pt x="150082" y="0"/>
                    <a:pt x="150082" y="0"/>
                  </a:cubicBezTo>
                  <a:cubicBezTo>
                    <a:pt x="153058" y="0"/>
                    <a:pt x="153058" y="0"/>
                    <a:pt x="156033" y="0"/>
                  </a:cubicBezTo>
                  <a:lnTo>
                    <a:pt x="206612" y="29752"/>
                  </a:lnTo>
                  <a:cubicBezTo>
                    <a:pt x="209586" y="29752"/>
                    <a:pt x="209586" y="35702"/>
                    <a:pt x="209586" y="35702"/>
                  </a:cubicBezTo>
                  <a:cubicBezTo>
                    <a:pt x="209586" y="35702"/>
                    <a:pt x="150082" y="157686"/>
                    <a:pt x="42976" y="240992"/>
                  </a:cubicBezTo>
                  <a:cubicBezTo>
                    <a:pt x="40000" y="243967"/>
                    <a:pt x="37025" y="243967"/>
                    <a:pt x="37025" y="243967"/>
                  </a:cubicBezTo>
                  <a:close/>
                  <a:moveTo>
                    <a:pt x="10248" y="196364"/>
                  </a:moveTo>
                  <a:lnTo>
                    <a:pt x="37025" y="232066"/>
                  </a:lnTo>
                  <a:cubicBezTo>
                    <a:pt x="126281" y="160661"/>
                    <a:pt x="179834" y="62479"/>
                    <a:pt x="191736" y="38678"/>
                  </a:cubicBezTo>
                  <a:lnTo>
                    <a:pt x="153058" y="14876"/>
                  </a:lnTo>
                  <a:cubicBezTo>
                    <a:pt x="132232" y="68430"/>
                    <a:pt x="31074" y="175537"/>
                    <a:pt x="10248" y="196364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3EAD2C40-8CE4-4B6E-85D7-09912ABAE8A7}"/>
                </a:ext>
              </a:extLst>
            </p:cNvPr>
            <p:cNvGrpSpPr/>
            <p:nvPr/>
          </p:nvGrpSpPr>
          <p:grpSpPr>
            <a:xfrm>
              <a:off x="10459460" y="1816106"/>
              <a:ext cx="732466" cy="309558"/>
              <a:chOff x="10459460" y="1816106"/>
              <a:chExt cx="732466" cy="309558"/>
            </a:xfrm>
          </p:grpSpPr>
          <p:grpSp>
            <p:nvGrpSpPr>
              <p:cNvPr id="127" name="图形 1">
                <a:extLst>
                  <a:ext uri="{FF2B5EF4-FFF2-40B4-BE49-F238E27FC236}">
                    <a16:creationId xmlns:a16="http://schemas.microsoft.com/office/drawing/2014/main" id="{1927675B-7B85-46AA-A950-629CB52BFDF2}"/>
                  </a:ext>
                </a:extLst>
              </p:cNvPr>
              <p:cNvGrpSpPr/>
              <p:nvPr/>
            </p:nvGrpSpPr>
            <p:grpSpPr>
              <a:xfrm>
                <a:off x="10459460" y="1816106"/>
                <a:ext cx="732466" cy="303340"/>
                <a:chOff x="10459460" y="1816106"/>
                <a:chExt cx="732466" cy="303340"/>
              </a:xfrm>
            </p:grpSpPr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707FE77C-A4E6-4F3A-9775-1439FDE8F4EC}"/>
                    </a:ext>
                  </a:extLst>
                </p:cNvPr>
                <p:cNvSpPr/>
                <p:nvPr/>
              </p:nvSpPr>
              <p:spPr>
                <a:xfrm>
                  <a:off x="10611761" y="1816106"/>
                  <a:ext cx="580165" cy="303340"/>
                </a:xfrm>
                <a:custGeom>
                  <a:avLst/>
                  <a:gdLst>
                    <a:gd name="connsiteX0" fmla="*/ 413554 w 580165"/>
                    <a:gd name="connsiteY0" fmla="*/ 17989 h 303340"/>
                    <a:gd name="connsiteX1" fmla="*/ 2975 w 580165"/>
                    <a:gd name="connsiteY1" fmla="*/ 131046 h 303340"/>
                    <a:gd name="connsiteX2" fmla="*/ 0 w 580165"/>
                    <a:gd name="connsiteY2" fmla="*/ 136997 h 303340"/>
                    <a:gd name="connsiteX3" fmla="*/ 71405 w 580165"/>
                    <a:gd name="connsiteY3" fmla="*/ 193526 h 303340"/>
                    <a:gd name="connsiteX4" fmla="*/ 50579 w 580165"/>
                    <a:gd name="connsiteY4" fmla="*/ 273856 h 303340"/>
                    <a:gd name="connsiteX5" fmla="*/ 50579 w 580165"/>
                    <a:gd name="connsiteY5" fmla="*/ 279807 h 303340"/>
                    <a:gd name="connsiteX6" fmla="*/ 56529 w 580165"/>
                    <a:gd name="connsiteY6" fmla="*/ 282782 h 303340"/>
                    <a:gd name="connsiteX7" fmla="*/ 371901 w 580165"/>
                    <a:gd name="connsiteY7" fmla="*/ 300633 h 303340"/>
                    <a:gd name="connsiteX8" fmla="*/ 574215 w 580165"/>
                    <a:gd name="connsiteY8" fmla="*/ 261955 h 303340"/>
                    <a:gd name="connsiteX9" fmla="*/ 580165 w 580165"/>
                    <a:gd name="connsiteY9" fmla="*/ 256005 h 303340"/>
                    <a:gd name="connsiteX10" fmla="*/ 413554 w 580165"/>
                    <a:gd name="connsiteY10" fmla="*/ 17989 h 3033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80165" h="303340">
                      <a:moveTo>
                        <a:pt x="413554" y="17989"/>
                      </a:moveTo>
                      <a:cubicBezTo>
                        <a:pt x="261818" y="-26640"/>
                        <a:pt x="110083" y="12038"/>
                        <a:pt x="2975" y="131046"/>
                      </a:cubicBezTo>
                      <a:cubicBezTo>
                        <a:pt x="0" y="131046"/>
                        <a:pt x="0" y="134022"/>
                        <a:pt x="0" y="136997"/>
                      </a:cubicBezTo>
                      <a:cubicBezTo>
                        <a:pt x="0" y="139972"/>
                        <a:pt x="20827" y="184600"/>
                        <a:pt x="71405" y="193526"/>
                      </a:cubicBezTo>
                      <a:cubicBezTo>
                        <a:pt x="56529" y="232203"/>
                        <a:pt x="50579" y="270881"/>
                        <a:pt x="50579" y="273856"/>
                      </a:cubicBezTo>
                      <a:cubicBezTo>
                        <a:pt x="50579" y="276832"/>
                        <a:pt x="50579" y="276832"/>
                        <a:pt x="50579" y="279807"/>
                      </a:cubicBezTo>
                      <a:cubicBezTo>
                        <a:pt x="50579" y="282782"/>
                        <a:pt x="53553" y="282782"/>
                        <a:pt x="56529" y="282782"/>
                      </a:cubicBezTo>
                      <a:cubicBezTo>
                        <a:pt x="187438" y="303608"/>
                        <a:pt x="291570" y="306584"/>
                        <a:pt x="371901" y="300633"/>
                      </a:cubicBezTo>
                      <a:cubicBezTo>
                        <a:pt x="502810" y="291708"/>
                        <a:pt x="568265" y="261955"/>
                        <a:pt x="574215" y="261955"/>
                      </a:cubicBezTo>
                      <a:cubicBezTo>
                        <a:pt x="577190" y="261955"/>
                        <a:pt x="580165" y="258980"/>
                        <a:pt x="580165" y="256005"/>
                      </a:cubicBezTo>
                      <a:cubicBezTo>
                        <a:pt x="577190" y="253030"/>
                        <a:pt x="583141" y="68567"/>
                        <a:pt x="413554" y="1798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46DE9995-FA89-42B0-8393-8B14453A5DA6}"/>
                    </a:ext>
                  </a:extLst>
                </p:cNvPr>
                <p:cNvSpPr/>
                <p:nvPr/>
              </p:nvSpPr>
              <p:spPr>
                <a:xfrm>
                  <a:off x="10465410" y="1845430"/>
                  <a:ext cx="205855" cy="205855"/>
                </a:xfrm>
                <a:custGeom>
                  <a:avLst/>
                  <a:gdLst>
                    <a:gd name="connsiteX0" fmla="*/ 182054 w 205855"/>
                    <a:gd name="connsiteY0" fmla="*/ 36269 h 205855"/>
                    <a:gd name="connsiteX1" fmla="*/ 113624 w 205855"/>
                    <a:gd name="connsiteY1" fmla="*/ 566 h 205855"/>
                    <a:gd name="connsiteX2" fmla="*/ 566 w 205855"/>
                    <a:gd name="connsiteY2" fmla="*/ 92798 h 205855"/>
                    <a:gd name="connsiteX3" fmla="*/ 92798 w 205855"/>
                    <a:gd name="connsiteY3" fmla="*/ 205855 h 205855"/>
                    <a:gd name="connsiteX4" fmla="*/ 110648 w 205855"/>
                    <a:gd name="connsiteY4" fmla="*/ 205855 h 205855"/>
                    <a:gd name="connsiteX5" fmla="*/ 170152 w 205855"/>
                    <a:gd name="connsiteY5" fmla="*/ 182054 h 205855"/>
                    <a:gd name="connsiteX6" fmla="*/ 205855 w 205855"/>
                    <a:gd name="connsiteY6" fmla="*/ 113624 h 205855"/>
                    <a:gd name="connsiteX7" fmla="*/ 182054 w 205855"/>
                    <a:gd name="connsiteY7" fmla="*/ 36269 h 205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5855" h="205855">
                      <a:moveTo>
                        <a:pt x="182054" y="36269"/>
                      </a:moveTo>
                      <a:cubicBezTo>
                        <a:pt x="164203" y="15442"/>
                        <a:pt x="140400" y="566"/>
                        <a:pt x="113624" y="566"/>
                      </a:cubicBezTo>
                      <a:cubicBezTo>
                        <a:pt x="57095" y="-5384"/>
                        <a:pt x="6516" y="36269"/>
                        <a:pt x="566" y="92798"/>
                      </a:cubicBezTo>
                      <a:cubicBezTo>
                        <a:pt x="-5385" y="149326"/>
                        <a:pt x="36268" y="199905"/>
                        <a:pt x="92798" y="205855"/>
                      </a:cubicBezTo>
                      <a:cubicBezTo>
                        <a:pt x="98748" y="205855"/>
                        <a:pt x="104698" y="205855"/>
                        <a:pt x="110648" y="205855"/>
                      </a:cubicBezTo>
                      <a:cubicBezTo>
                        <a:pt x="131475" y="205855"/>
                        <a:pt x="152302" y="196930"/>
                        <a:pt x="170152" y="182054"/>
                      </a:cubicBezTo>
                      <a:cubicBezTo>
                        <a:pt x="190979" y="164202"/>
                        <a:pt x="205855" y="140401"/>
                        <a:pt x="205855" y="113624"/>
                      </a:cubicBezTo>
                      <a:cubicBezTo>
                        <a:pt x="205855" y="83872"/>
                        <a:pt x="199904" y="57095"/>
                        <a:pt x="182054" y="3626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2" name="任意多边形: 形状 131">
                  <a:extLst>
                    <a:ext uri="{FF2B5EF4-FFF2-40B4-BE49-F238E27FC236}">
                      <a16:creationId xmlns:a16="http://schemas.microsoft.com/office/drawing/2014/main" id="{E2897DB4-FB67-4078-8EAD-D8EBC88CA0F5}"/>
                    </a:ext>
                  </a:extLst>
                </p:cNvPr>
                <p:cNvSpPr/>
                <p:nvPr/>
              </p:nvSpPr>
              <p:spPr>
                <a:xfrm>
                  <a:off x="10459460" y="1839481"/>
                  <a:ext cx="215344" cy="214778"/>
                </a:xfrm>
                <a:custGeom>
                  <a:avLst/>
                  <a:gdLst>
                    <a:gd name="connsiteX0" fmla="*/ 107673 w 215344"/>
                    <a:gd name="connsiteY0" fmla="*/ 214779 h 214778"/>
                    <a:gd name="connsiteX1" fmla="*/ 95772 w 215344"/>
                    <a:gd name="connsiteY1" fmla="*/ 214779 h 214778"/>
                    <a:gd name="connsiteX2" fmla="*/ 565 w 215344"/>
                    <a:gd name="connsiteY2" fmla="*/ 95770 h 214778"/>
                    <a:gd name="connsiteX3" fmla="*/ 39243 w 215344"/>
                    <a:gd name="connsiteY3" fmla="*/ 24365 h 214778"/>
                    <a:gd name="connsiteX4" fmla="*/ 119574 w 215344"/>
                    <a:gd name="connsiteY4" fmla="*/ 564 h 214778"/>
                    <a:gd name="connsiteX5" fmla="*/ 190978 w 215344"/>
                    <a:gd name="connsiteY5" fmla="*/ 39241 h 214778"/>
                    <a:gd name="connsiteX6" fmla="*/ 190978 w 215344"/>
                    <a:gd name="connsiteY6" fmla="*/ 39241 h 214778"/>
                    <a:gd name="connsiteX7" fmla="*/ 214780 w 215344"/>
                    <a:gd name="connsiteY7" fmla="*/ 119572 h 214778"/>
                    <a:gd name="connsiteX8" fmla="*/ 176102 w 215344"/>
                    <a:gd name="connsiteY8" fmla="*/ 190977 h 214778"/>
                    <a:gd name="connsiteX9" fmla="*/ 113624 w 215344"/>
                    <a:gd name="connsiteY9" fmla="*/ 214779 h 214778"/>
                    <a:gd name="connsiteX10" fmla="*/ 107673 w 215344"/>
                    <a:gd name="connsiteY10" fmla="*/ 214779 h 214778"/>
                    <a:gd name="connsiteX11" fmla="*/ 107673 w 215344"/>
                    <a:gd name="connsiteY11" fmla="*/ 9489 h 214778"/>
                    <a:gd name="connsiteX12" fmla="*/ 48169 w 215344"/>
                    <a:gd name="connsiteY12" fmla="*/ 30316 h 214778"/>
                    <a:gd name="connsiteX13" fmla="*/ 12466 w 215344"/>
                    <a:gd name="connsiteY13" fmla="*/ 95770 h 214778"/>
                    <a:gd name="connsiteX14" fmla="*/ 98748 w 215344"/>
                    <a:gd name="connsiteY14" fmla="*/ 202878 h 214778"/>
                    <a:gd name="connsiteX15" fmla="*/ 113624 w 215344"/>
                    <a:gd name="connsiteY15" fmla="*/ 202878 h 214778"/>
                    <a:gd name="connsiteX16" fmla="*/ 170152 w 215344"/>
                    <a:gd name="connsiteY16" fmla="*/ 182051 h 214778"/>
                    <a:gd name="connsiteX17" fmla="*/ 205854 w 215344"/>
                    <a:gd name="connsiteY17" fmla="*/ 116597 h 214778"/>
                    <a:gd name="connsiteX18" fmla="*/ 185028 w 215344"/>
                    <a:gd name="connsiteY18" fmla="*/ 45192 h 214778"/>
                    <a:gd name="connsiteX19" fmla="*/ 185028 w 215344"/>
                    <a:gd name="connsiteY19" fmla="*/ 45192 h 214778"/>
                    <a:gd name="connsiteX20" fmla="*/ 119574 w 215344"/>
                    <a:gd name="connsiteY20" fmla="*/ 9489 h 214778"/>
                    <a:gd name="connsiteX21" fmla="*/ 107673 w 215344"/>
                    <a:gd name="connsiteY21" fmla="*/ 9489 h 214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15344" h="214778">
                      <a:moveTo>
                        <a:pt x="107673" y="214779"/>
                      </a:moveTo>
                      <a:cubicBezTo>
                        <a:pt x="104697" y="214779"/>
                        <a:pt x="101722" y="214779"/>
                        <a:pt x="95772" y="214779"/>
                      </a:cubicBezTo>
                      <a:cubicBezTo>
                        <a:pt x="36268" y="208828"/>
                        <a:pt x="-5385" y="155275"/>
                        <a:pt x="565" y="95770"/>
                      </a:cubicBezTo>
                      <a:cubicBezTo>
                        <a:pt x="3541" y="66018"/>
                        <a:pt x="18417" y="42217"/>
                        <a:pt x="39243" y="24365"/>
                      </a:cubicBezTo>
                      <a:cubicBezTo>
                        <a:pt x="63045" y="6514"/>
                        <a:pt x="89821" y="-2411"/>
                        <a:pt x="119574" y="564"/>
                      </a:cubicBezTo>
                      <a:cubicBezTo>
                        <a:pt x="149326" y="3539"/>
                        <a:pt x="173128" y="18415"/>
                        <a:pt x="190978" y="39241"/>
                      </a:cubicBezTo>
                      <a:lnTo>
                        <a:pt x="190978" y="39241"/>
                      </a:lnTo>
                      <a:cubicBezTo>
                        <a:pt x="208830" y="63043"/>
                        <a:pt x="217756" y="89820"/>
                        <a:pt x="214780" y="119572"/>
                      </a:cubicBezTo>
                      <a:cubicBezTo>
                        <a:pt x="211805" y="149324"/>
                        <a:pt x="196929" y="173126"/>
                        <a:pt x="176102" y="190977"/>
                      </a:cubicBezTo>
                      <a:cubicBezTo>
                        <a:pt x="158252" y="205853"/>
                        <a:pt x="137425" y="214779"/>
                        <a:pt x="113624" y="214779"/>
                      </a:cubicBezTo>
                      <a:cubicBezTo>
                        <a:pt x="113624" y="214779"/>
                        <a:pt x="110648" y="214779"/>
                        <a:pt x="107673" y="214779"/>
                      </a:cubicBezTo>
                      <a:close/>
                      <a:moveTo>
                        <a:pt x="107673" y="9489"/>
                      </a:moveTo>
                      <a:cubicBezTo>
                        <a:pt x="86846" y="9489"/>
                        <a:pt x="63045" y="18415"/>
                        <a:pt x="48169" y="30316"/>
                      </a:cubicBezTo>
                      <a:cubicBezTo>
                        <a:pt x="27342" y="48167"/>
                        <a:pt x="15441" y="68994"/>
                        <a:pt x="12466" y="95770"/>
                      </a:cubicBezTo>
                      <a:cubicBezTo>
                        <a:pt x="6516" y="149324"/>
                        <a:pt x="45193" y="196927"/>
                        <a:pt x="98748" y="202878"/>
                      </a:cubicBezTo>
                      <a:cubicBezTo>
                        <a:pt x="104697" y="202878"/>
                        <a:pt x="110648" y="202878"/>
                        <a:pt x="113624" y="202878"/>
                      </a:cubicBezTo>
                      <a:cubicBezTo>
                        <a:pt x="134450" y="202878"/>
                        <a:pt x="152301" y="193952"/>
                        <a:pt x="170152" y="182051"/>
                      </a:cubicBezTo>
                      <a:cubicBezTo>
                        <a:pt x="190978" y="167175"/>
                        <a:pt x="202880" y="143374"/>
                        <a:pt x="205854" y="116597"/>
                      </a:cubicBezTo>
                      <a:cubicBezTo>
                        <a:pt x="208830" y="89820"/>
                        <a:pt x="199904" y="66018"/>
                        <a:pt x="185028" y="45192"/>
                      </a:cubicBezTo>
                      <a:lnTo>
                        <a:pt x="185028" y="45192"/>
                      </a:lnTo>
                      <a:cubicBezTo>
                        <a:pt x="167177" y="24365"/>
                        <a:pt x="146350" y="12465"/>
                        <a:pt x="119574" y="9489"/>
                      </a:cubicBezTo>
                      <a:cubicBezTo>
                        <a:pt x="113624" y="9489"/>
                        <a:pt x="110648" y="9489"/>
                        <a:pt x="107673" y="9489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5882D535-63E4-4FB2-9C4B-AE46FA1A61EE}"/>
                  </a:ext>
                </a:extLst>
              </p:cNvPr>
              <p:cNvSpPr/>
              <p:nvPr/>
            </p:nvSpPr>
            <p:spPr>
              <a:xfrm>
                <a:off x="10677216" y="2006657"/>
                <a:ext cx="511735" cy="56528"/>
              </a:xfrm>
              <a:custGeom>
                <a:avLst/>
                <a:gdLst>
                  <a:gd name="connsiteX0" fmla="*/ 220165 w 511735"/>
                  <a:gd name="connsiteY0" fmla="*/ 56529 h 56528"/>
                  <a:gd name="connsiteX1" fmla="*/ 0 w 511735"/>
                  <a:gd name="connsiteY1" fmla="*/ 41653 h 56528"/>
                  <a:gd name="connsiteX2" fmla="*/ 2974 w 511735"/>
                  <a:gd name="connsiteY2" fmla="*/ 29752 h 56528"/>
                  <a:gd name="connsiteX3" fmla="*/ 505785 w 511735"/>
                  <a:gd name="connsiteY3" fmla="*/ 0 h 56528"/>
                  <a:gd name="connsiteX4" fmla="*/ 511735 w 511735"/>
                  <a:gd name="connsiteY4" fmla="*/ 8926 h 56528"/>
                  <a:gd name="connsiteX5" fmla="*/ 220165 w 511735"/>
                  <a:gd name="connsiteY5" fmla="*/ 56529 h 56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1735" h="56528">
                    <a:moveTo>
                      <a:pt x="220165" y="56529"/>
                    </a:moveTo>
                    <a:cubicBezTo>
                      <a:pt x="101157" y="56529"/>
                      <a:pt x="2974" y="41653"/>
                      <a:pt x="0" y="41653"/>
                    </a:cubicBezTo>
                    <a:lnTo>
                      <a:pt x="2974" y="29752"/>
                    </a:lnTo>
                    <a:cubicBezTo>
                      <a:pt x="5950" y="29752"/>
                      <a:pt x="339173" y="77355"/>
                      <a:pt x="505785" y="0"/>
                    </a:cubicBezTo>
                    <a:lnTo>
                      <a:pt x="511735" y="8926"/>
                    </a:lnTo>
                    <a:cubicBezTo>
                      <a:pt x="431405" y="44628"/>
                      <a:pt x="318347" y="56529"/>
                      <a:pt x="220165" y="56529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A3DC9302-4310-4464-8476-48476C70725C}"/>
                  </a:ext>
                </a:extLst>
              </p:cNvPr>
              <p:cNvSpPr/>
              <p:nvPr/>
            </p:nvSpPr>
            <p:spPr>
              <a:xfrm>
                <a:off x="10659174" y="1979880"/>
                <a:ext cx="529777" cy="145785"/>
              </a:xfrm>
              <a:custGeom>
                <a:avLst/>
                <a:gdLst>
                  <a:gd name="connsiteX0" fmla="*/ 226307 w 529777"/>
                  <a:gd name="connsiteY0" fmla="*/ 145785 h 145785"/>
                  <a:gd name="connsiteX1" fmla="*/ 3167 w 529777"/>
                  <a:gd name="connsiteY1" fmla="*/ 121983 h 145785"/>
                  <a:gd name="connsiteX2" fmla="*/ 191 w 529777"/>
                  <a:gd name="connsiteY2" fmla="*/ 121983 h 145785"/>
                  <a:gd name="connsiteX3" fmla="*/ 191 w 529777"/>
                  <a:gd name="connsiteY3" fmla="*/ 119008 h 145785"/>
                  <a:gd name="connsiteX4" fmla="*/ 29943 w 529777"/>
                  <a:gd name="connsiteY4" fmla="*/ 2975 h 145785"/>
                  <a:gd name="connsiteX5" fmla="*/ 35893 w 529777"/>
                  <a:gd name="connsiteY5" fmla="*/ 0 h 145785"/>
                  <a:gd name="connsiteX6" fmla="*/ 38869 w 529777"/>
                  <a:gd name="connsiteY6" fmla="*/ 5950 h 145785"/>
                  <a:gd name="connsiteX7" fmla="*/ 9117 w 529777"/>
                  <a:gd name="connsiteY7" fmla="*/ 113058 h 145785"/>
                  <a:gd name="connsiteX8" fmla="*/ 523828 w 529777"/>
                  <a:gd name="connsiteY8" fmla="*/ 95207 h 145785"/>
                  <a:gd name="connsiteX9" fmla="*/ 529778 w 529777"/>
                  <a:gd name="connsiteY9" fmla="*/ 98182 h 145785"/>
                  <a:gd name="connsiteX10" fmla="*/ 526802 w 529777"/>
                  <a:gd name="connsiteY10" fmla="*/ 104132 h 145785"/>
                  <a:gd name="connsiteX11" fmla="*/ 226307 w 529777"/>
                  <a:gd name="connsiteY11" fmla="*/ 145785 h 145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9777" h="145785">
                    <a:moveTo>
                      <a:pt x="226307" y="145785"/>
                    </a:moveTo>
                    <a:cubicBezTo>
                      <a:pt x="92423" y="145785"/>
                      <a:pt x="6141" y="121983"/>
                      <a:pt x="3167" y="121983"/>
                    </a:cubicBezTo>
                    <a:lnTo>
                      <a:pt x="191" y="121983"/>
                    </a:lnTo>
                    <a:lnTo>
                      <a:pt x="191" y="119008"/>
                    </a:lnTo>
                    <a:cubicBezTo>
                      <a:pt x="-2784" y="83306"/>
                      <a:pt x="29943" y="5950"/>
                      <a:pt x="29943" y="2975"/>
                    </a:cubicBezTo>
                    <a:cubicBezTo>
                      <a:pt x="29943" y="0"/>
                      <a:pt x="32919" y="0"/>
                      <a:pt x="35893" y="0"/>
                    </a:cubicBezTo>
                    <a:cubicBezTo>
                      <a:pt x="38869" y="0"/>
                      <a:pt x="38869" y="2975"/>
                      <a:pt x="38869" y="5950"/>
                    </a:cubicBezTo>
                    <a:cubicBezTo>
                      <a:pt x="38869" y="5950"/>
                      <a:pt x="9117" y="80331"/>
                      <a:pt x="9117" y="113058"/>
                    </a:cubicBezTo>
                    <a:cubicBezTo>
                      <a:pt x="38869" y="121983"/>
                      <a:pt x="256059" y="172562"/>
                      <a:pt x="523828" y="95207"/>
                    </a:cubicBezTo>
                    <a:cubicBezTo>
                      <a:pt x="526802" y="95207"/>
                      <a:pt x="529778" y="95207"/>
                      <a:pt x="529778" y="98182"/>
                    </a:cubicBezTo>
                    <a:cubicBezTo>
                      <a:pt x="529778" y="101157"/>
                      <a:pt x="529778" y="104132"/>
                      <a:pt x="526802" y="104132"/>
                    </a:cubicBezTo>
                    <a:cubicBezTo>
                      <a:pt x="413745" y="136860"/>
                      <a:pt x="309613" y="145785"/>
                      <a:pt x="226307" y="14578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A7A63C16-FBC8-48CB-A6E7-2D939532745E}"/>
                </a:ext>
              </a:extLst>
            </p:cNvPr>
            <p:cNvSpPr/>
            <p:nvPr/>
          </p:nvSpPr>
          <p:spPr>
            <a:xfrm>
              <a:off x="10719449" y="2562918"/>
              <a:ext cx="389172" cy="128780"/>
            </a:xfrm>
            <a:custGeom>
              <a:avLst/>
              <a:gdLst>
                <a:gd name="connsiteX0" fmla="*/ 389172 w 389172"/>
                <a:gd name="connsiteY0" fmla="*/ 74483 h 128780"/>
                <a:gd name="connsiteX1" fmla="*/ 368345 w 389172"/>
                <a:gd name="connsiteY1" fmla="*/ 9028 h 128780"/>
                <a:gd name="connsiteX2" fmla="*/ 356445 w 389172"/>
                <a:gd name="connsiteY2" fmla="*/ 3078 h 128780"/>
                <a:gd name="connsiteX3" fmla="*/ 47023 w 389172"/>
                <a:gd name="connsiteY3" fmla="*/ 103 h 128780"/>
                <a:gd name="connsiteX4" fmla="*/ 2395 w 389172"/>
                <a:gd name="connsiteY4" fmla="*/ 74483 h 128780"/>
                <a:gd name="connsiteX5" fmla="*/ 11321 w 389172"/>
                <a:gd name="connsiteY5" fmla="*/ 95309 h 128780"/>
                <a:gd name="connsiteX6" fmla="*/ 383221 w 389172"/>
                <a:gd name="connsiteY6" fmla="*/ 95309 h 128780"/>
                <a:gd name="connsiteX7" fmla="*/ 389172 w 389172"/>
                <a:gd name="connsiteY7" fmla="*/ 74483 h 128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9172" h="128780">
                  <a:moveTo>
                    <a:pt x="389172" y="74483"/>
                  </a:moveTo>
                  <a:cubicBezTo>
                    <a:pt x="383221" y="50681"/>
                    <a:pt x="377271" y="29855"/>
                    <a:pt x="368345" y="9028"/>
                  </a:cubicBezTo>
                  <a:cubicBezTo>
                    <a:pt x="365370" y="6053"/>
                    <a:pt x="359420" y="103"/>
                    <a:pt x="356445" y="3078"/>
                  </a:cubicBezTo>
                  <a:cubicBezTo>
                    <a:pt x="252313" y="17954"/>
                    <a:pt x="148180" y="29855"/>
                    <a:pt x="47023" y="103"/>
                  </a:cubicBezTo>
                  <a:cubicBezTo>
                    <a:pt x="35122" y="-2872"/>
                    <a:pt x="11321" y="59607"/>
                    <a:pt x="2395" y="74483"/>
                  </a:cubicBezTo>
                  <a:cubicBezTo>
                    <a:pt x="-3555" y="83409"/>
                    <a:pt x="2395" y="92334"/>
                    <a:pt x="11321" y="95309"/>
                  </a:cubicBezTo>
                  <a:cubicBezTo>
                    <a:pt x="133304" y="139938"/>
                    <a:pt x="261238" y="139938"/>
                    <a:pt x="383221" y="95309"/>
                  </a:cubicBezTo>
                  <a:cubicBezTo>
                    <a:pt x="386197" y="89359"/>
                    <a:pt x="389172" y="83409"/>
                    <a:pt x="389172" y="74483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DE65514F-2300-48BC-864C-46DE8002A288}"/>
                </a:ext>
              </a:extLst>
            </p:cNvPr>
            <p:cNvSpPr/>
            <p:nvPr/>
          </p:nvSpPr>
          <p:spPr>
            <a:xfrm rot="-4602852">
              <a:off x="12520553" y="4816499"/>
              <a:ext cx="1767207" cy="1767207"/>
            </a:xfrm>
            <a:custGeom>
              <a:avLst/>
              <a:gdLst>
                <a:gd name="connsiteX0" fmla="*/ 1767208 w 1767207"/>
                <a:gd name="connsiteY0" fmla="*/ 883604 h 1767207"/>
                <a:gd name="connsiteX1" fmla="*/ 883604 w 1767207"/>
                <a:gd name="connsiteY1" fmla="*/ 1767207 h 1767207"/>
                <a:gd name="connsiteX2" fmla="*/ -1 w 1767207"/>
                <a:gd name="connsiteY2" fmla="*/ 883604 h 1767207"/>
                <a:gd name="connsiteX3" fmla="*/ 883604 w 1767207"/>
                <a:gd name="connsiteY3" fmla="*/ 0 h 1767207"/>
                <a:gd name="connsiteX4" fmla="*/ 1767208 w 1767207"/>
                <a:gd name="connsiteY4" fmla="*/ 883604 h 176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7207" h="1767207">
                  <a:moveTo>
                    <a:pt x="1767208" y="883604"/>
                  </a:moveTo>
                  <a:cubicBezTo>
                    <a:pt x="1767208" y="1371605"/>
                    <a:pt x="1371605" y="1767207"/>
                    <a:pt x="883604" y="1767207"/>
                  </a:cubicBezTo>
                  <a:cubicBezTo>
                    <a:pt x="395603" y="1767207"/>
                    <a:pt x="-1" y="1371604"/>
                    <a:pt x="-1" y="883604"/>
                  </a:cubicBezTo>
                  <a:cubicBezTo>
                    <a:pt x="-1" y="395603"/>
                    <a:pt x="395603" y="0"/>
                    <a:pt x="883604" y="0"/>
                  </a:cubicBezTo>
                  <a:cubicBezTo>
                    <a:pt x="1371605" y="0"/>
                    <a:pt x="1767208" y="395603"/>
                    <a:pt x="1767208" y="883604"/>
                  </a:cubicBezTo>
                  <a:close/>
                </a:path>
              </a:pathLst>
            </a:custGeom>
            <a:solidFill>
              <a:srgbClr val="F6EBEB"/>
            </a:solidFill>
            <a:ln w="297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6A316361-076D-41DE-9D85-CE747D82A41C}"/>
                </a:ext>
              </a:extLst>
            </p:cNvPr>
            <p:cNvSpPr/>
            <p:nvPr/>
          </p:nvSpPr>
          <p:spPr>
            <a:xfrm rot="-1350026">
              <a:off x="12778184" y="3770564"/>
              <a:ext cx="1255568" cy="1255568"/>
            </a:xfrm>
            <a:custGeom>
              <a:avLst/>
              <a:gdLst>
                <a:gd name="connsiteX0" fmla="*/ 1255569 w 1255568"/>
                <a:gd name="connsiteY0" fmla="*/ 627784 h 1255568"/>
                <a:gd name="connsiteX1" fmla="*/ 627784 w 1255568"/>
                <a:gd name="connsiteY1" fmla="*/ 1255569 h 1255568"/>
                <a:gd name="connsiteX2" fmla="*/ 0 w 1255568"/>
                <a:gd name="connsiteY2" fmla="*/ 627784 h 1255568"/>
                <a:gd name="connsiteX3" fmla="*/ 627784 w 1255568"/>
                <a:gd name="connsiteY3" fmla="*/ 0 h 1255568"/>
                <a:gd name="connsiteX4" fmla="*/ 1255569 w 1255568"/>
                <a:gd name="connsiteY4" fmla="*/ 627784 h 125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5568" h="1255568">
                  <a:moveTo>
                    <a:pt x="1255569" y="627784"/>
                  </a:moveTo>
                  <a:cubicBezTo>
                    <a:pt x="1255569" y="974500"/>
                    <a:pt x="974501" y="1255569"/>
                    <a:pt x="627784" y="1255569"/>
                  </a:cubicBezTo>
                  <a:cubicBezTo>
                    <a:pt x="281069" y="1255569"/>
                    <a:pt x="0" y="974500"/>
                    <a:pt x="0" y="627784"/>
                  </a:cubicBezTo>
                  <a:cubicBezTo>
                    <a:pt x="0" y="281069"/>
                    <a:pt x="281068" y="0"/>
                    <a:pt x="627784" y="0"/>
                  </a:cubicBezTo>
                  <a:cubicBezTo>
                    <a:pt x="974500" y="0"/>
                    <a:pt x="1255569" y="281069"/>
                    <a:pt x="1255569" y="627784"/>
                  </a:cubicBezTo>
                  <a:close/>
                </a:path>
              </a:pathLst>
            </a:custGeom>
            <a:solidFill>
              <a:srgbClr val="F6EBEB"/>
            </a:solidFill>
            <a:ln w="297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0FFFD11B-15AE-4AA2-A51E-91EA4EE35159}"/>
                </a:ext>
              </a:extLst>
            </p:cNvPr>
            <p:cNvSpPr/>
            <p:nvPr/>
          </p:nvSpPr>
          <p:spPr>
            <a:xfrm>
              <a:off x="13494736" y="4119054"/>
              <a:ext cx="101156" cy="101156"/>
            </a:xfrm>
            <a:custGeom>
              <a:avLst/>
              <a:gdLst>
                <a:gd name="connsiteX0" fmla="*/ 50579 w 101156"/>
                <a:gd name="connsiteY0" fmla="*/ 0 h 101156"/>
                <a:gd name="connsiteX1" fmla="*/ 0 w 101156"/>
                <a:gd name="connsiteY1" fmla="*/ 50578 h 101156"/>
                <a:gd name="connsiteX2" fmla="*/ 50579 w 101156"/>
                <a:gd name="connsiteY2" fmla="*/ 101157 h 101156"/>
                <a:gd name="connsiteX3" fmla="*/ 101157 w 101156"/>
                <a:gd name="connsiteY3" fmla="*/ 50578 h 101156"/>
                <a:gd name="connsiteX4" fmla="*/ 50579 w 101156"/>
                <a:gd name="connsiteY4" fmla="*/ 0 h 101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156" h="101156">
                  <a:moveTo>
                    <a:pt x="50579" y="0"/>
                  </a:moveTo>
                  <a:cubicBezTo>
                    <a:pt x="23802" y="0"/>
                    <a:pt x="0" y="23802"/>
                    <a:pt x="0" y="50578"/>
                  </a:cubicBezTo>
                  <a:cubicBezTo>
                    <a:pt x="0" y="77355"/>
                    <a:pt x="23802" y="101157"/>
                    <a:pt x="50579" y="101157"/>
                  </a:cubicBezTo>
                  <a:cubicBezTo>
                    <a:pt x="77356" y="101157"/>
                    <a:pt x="101157" y="77355"/>
                    <a:pt x="101157" y="50578"/>
                  </a:cubicBezTo>
                  <a:cubicBezTo>
                    <a:pt x="101157" y="20826"/>
                    <a:pt x="80331" y="0"/>
                    <a:pt x="50579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B2BDB965-1908-488B-B715-C5DDEA09E72B}"/>
                </a:ext>
              </a:extLst>
            </p:cNvPr>
            <p:cNvSpPr/>
            <p:nvPr/>
          </p:nvSpPr>
          <p:spPr>
            <a:xfrm>
              <a:off x="13473911" y="5068144"/>
              <a:ext cx="101156" cy="101157"/>
            </a:xfrm>
            <a:custGeom>
              <a:avLst/>
              <a:gdLst>
                <a:gd name="connsiteX0" fmla="*/ 50578 w 101156"/>
                <a:gd name="connsiteY0" fmla="*/ 0 h 101157"/>
                <a:gd name="connsiteX1" fmla="*/ 0 w 101156"/>
                <a:gd name="connsiteY1" fmla="*/ 50579 h 101157"/>
                <a:gd name="connsiteX2" fmla="*/ 50578 w 101156"/>
                <a:gd name="connsiteY2" fmla="*/ 101157 h 101157"/>
                <a:gd name="connsiteX3" fmla="*/ 101157 w 101156"/>
                <a:gd name="connsiteY3" fmla="*/ 50579 h 101157"/>
                <a:gd name="connsiteX4" fmla="*/ 50578 w 101156"/>
                <a:gd name="connsiteY4" fmla="*/ 0 h 10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156" h="101157">
                  <a:moveTo>
                    <a:pt x="50578" y="0"/>
                  </a:moveTo>
                  <a:cubicBezTo>
                    <a:pt x="23801" y="0"/>
                    <a:pt x="0" y="23802"/>
                    <a:pt x="0" y="50579"/>
                  </a:cubicBezTo>
                  <a:cubicBezTo>
                    <a:pt x="0" y="77356"/>
                    <a:pt x="23801" y="101157"/>
                    <a:pt x="50578" y="101157"/>
                  </a:cubicBezTo>
                  <a:cubicBezTo>
                    <a:pt x="77355" y="101157"/>
                    <a:pt x="101157" y="77356"/>
                    <a:pt x="101157" y="50579"/>
                  </a:cubicBezTo>
                  <a:cubicBezTo>
                    <a:pt x="101157" y="23802"/>
                    <a:pt x="80330" y="0"/>
                    <a:pt x="50578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31F04209-8D43-4316-96F3-2A3DAA771C13}"/>
                </a:ext>
              </a:extLst>
            </p:cNvPr>
            <p:cNvSpPr/>
            <p:nvPr/>
          </p:nvSpPr>
          <p:spPr>
            <a:xfrm>
              <a:off x="13515563" y="4577235"/>
              <a:ext cx="101156" cy="101157"/>
            </a:xfrm>
            <a:custGeom>
              <a:avLst/>
              <a:gdLst>
                <a:gd name="connsiteX0" fmla="*/ 50578 w 101156"/>
                <a:gd name="connsiteY0" fmla="*/ 0 h 101157"/>
                <a:gd name="connsiteX1" fmla="*/ 0 w 101156"/>
                <a:gd name="connsiteY1" fmla="*/ 50579 h 101157"/>
                <a:gd name="connsiteX2" fmla="*/ 50578 w 101156"/>
                <a:gd name="connsiteY2" fmla="*/ 101157 h 101157"/>
                <a:gd name="connsiteX3" fmla="*/ 101157 w 101156"/>
                <a:gd name="connsiteY3" fmla="*/ 50579 h 101157"/>
                <a:gd name="connsiteX4" fmla="*/ 50578 w 101156"/>
                <a:gd name="connsiteY4" fmla="*/ 0 h 10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156" h="101157">
                  <a:moveTo>
                    <a:pt x="50578" y="0"/>
                  </a:moveTo>
                  <a:cubicBezTo>
                    <a:pt x="23801" y="0"/>
                    <a:pt x="0" y="23802"/>
                    <a:pt x="0" y="50579"/>
                  </a:cubicBezTo>
                  <a:cubicBezTo>
                    <a:pt x="0" y="77356"/>
                    <a:pt x="23801" y="101157"/>
                    <a:pt x="50578" y="101157"/>
                  </a:cubicBezTo>
                  <a:cubicBezTo>
                    <a:pt x="77356" y="101157"/>
                    <a:pt x="101157" y="77356"/>
                    <a:pt x="101157" y="50579"/>
                  </a:cubicBezTo>
                  <a:cubicBezTo>
                    <a:pt x="101157" y="20827"/>
                    <a:pt x="77356" y="0"/>
                    <a:pt x="50578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D0005575-4C99-4CB8-A8A9-0C199FCBE09A}"/>
                </a:ext>
              </a:extLst>
            </p:cNvPr>
            <p:cNvSpPr/>
            <p:nvPr/>
          </p:nvSpPr>
          <p:spPr>
            <a:xfrm>
              <a:off x="13563167" y="5359715"/>
              <a:ext cx="101156" cy="101157"/>
            </a:xfrm>
            <a:custGeom>
              <a:avLst/>
              <a:gdLst>
                <a:gd name="connsiteX0" fmla="*/ 50578 w 101156"/>
                <a:gd name="connsiteY0" fmla="*/ 0 h 101157"/>
                <a:gd name="connsiteX1" fmla="*/ 0 w 101156"/>
                <a:gd name="connsiteY1" fmla="*/ 50578 h 101157"/>
                <a:gd name="connsiteX2" fmla="*/ 50578 w 101156"/>
                <a:gd name="connsiteY2" fmla="*/ 101157 h 101157"/>
                <a:gd name="connsiteX3" fmla="*/ 101157 w 101156"/>
                <a:gd name="connsiteY3" fmla="*/ 50578 h 101157"/>
                <a:gd name="connsiteX4" fmla="*/ 50578 w 101156"/>
                <a:gd name="connsiteY4" fmla="*/ 0 h 10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156" h="101157">
                  <a:moveTo>
                    <a:pt x="50578" y="0"/>
                  </a:moveTo>
                  <a:cubicBezTo>
                    <a:pt x="23801" y="0"/>
                    <a:pt x="0" y="23802"/>
                    <a:pt x="0" y="50578"/>
                  </a:cubicBezTo>
                  <a:cubicBezTo>
                    <a:pt x="0" y="77355"/>
                    <a:pt x="23801" y="101157"/>
                    <a:pt x="50578" y="101157"/>
                  </a:cubicBezTo>
                  <a:cubicBezTo>
                    <a:pt x="77355" y="101157"/>
                    <a:pt x="101157" y="77355"/>
                    <a:pt x="101157" y="50578"/>
                  </a:cubicBezTo>
                  <a:cubicBezTo>
                    <a:pt x="101157" y="23802"/>
                    <a:pt x="80330" y="0"/>
                    <a:pt x="50578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6282C835-8C0D-4531-8EBC-F1DA9BEFCFA2}"/>
                </a:ext>
              </a:extLst>
            </p:cNvPr>
            <p:cNvSpPr/>
            <p:nvPr/>
          </p:nvSpPr>
          <p:spPr>
            <a:xfrm>
              <a:off x="13563167" y="5698888"/>
              <a:ext cx="101156" cy="101157"/>
            </a:xfrm>
            <a:custGeom>
              <a:avLst/>
              <a:gdLst>
                <a:gd name="connsiteX0" fmla="*/ 50578 w 101156"/>
                <a:gd name="connsiteY0" fmla="*/ 0 h 101157"/>
                <a:gd name="connsiteX1" fmla="*/ 0 w 101156"/>
                <a:gd name="connsiteY1" fmla="*/ 50579 h 101157"/>
                <a:gd name="connsiteX2" fmla="*/ 50578 w 101156"/>
                <a:gd name="connsiteY2" fmla="*/ 101157 h 101157"/>
                <a:gd name="connsiteX3" fmla="*/ 101157 w 101156"/>
                <a:gd name="connsiteY3" fmla="*/ 50579 h 101157"/>
                <a:gd name="connsiteX4" fmla="*/ 50578 w 101156"/>
                <a:gd name="connsiteY4" fmla="*/ 0 h 10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156" h="101157">
                  <a:moveTo>
                    <a:pt x="50578" y="0"/>
                  </a:moveTo>
                  <a:cubicBezTo>
                    <a:pt x="23801" y="0"/>
                    <a:pt x="0" y="23802"/>
                    <a:pt x="0" y="50579"/>
                  </a:cubicBezTo>
                  <a:cubicBezTo>
                    <a:pt x="0" y="77356"/>
                    <a:pt x="23801" y="101157"/>
                    <a:pt x="50578" y="101157"/>
                  </a:cubicBezTo>
                  <a:cubicBezTo>
                    <a:pt x="77355" y="101157"/>
                    <a:pt x="101157" y="77356"/>
                    <a:pt x="101157" y="50579"/>
                  </a:cubicBezTo>
                  <a:cubicBezTo>
                    <a:pt x="101157" y="23802"/>
                    <a:pt x="80330" y="0"/>
                    <a:pt x="50578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7EB4D9F6-55CF-40DF-AF33-B264004A794C}"/>
                </a:ext>
              </a:extLst>
            </p:cNvPr>
            <p:cNvSpPr/>
            <p:nvPr/>
          </p:nvSpPr>
          <p:spPr>
            <a:xfrm>
              <a:off x="13554241" y="4348144"/>
              <a:ext cx="101156" cy="101157"/>
            </a:xfrm>
            <a:custGeom>
              <a:avLst/>
              <a:gdLst>
                <a:gd name="connsiteX0" fmla="*/ 50579 w 101156"/>
                <a:gd name="connsiteY0" fmla="*/ 0 h 101157"/>
                <a:gd name="connsiteX1" fmla="*/ 0 w 101156"/>
                <a:gd name="connsiteY1" fmla="*/ 50578 h 101157"/>
                <a:gd name="connsiteX2" fmla="*/ 50579 w 101156"/>
                <a:gd name="connsiteY2" fmla="*/ 101157 h 101157"/>
                <a:gd name="connsiteX3" fmla="*/ 101157 w 101156"/>
                <a:gd name="connsiteY3" fmla="*/ 50578 h 101157"/>
                <a:gd name="connsiteX4" fmla="*/ 50579 w 101156"/>
                <a:gd name="connsiteY4" fmla="*/ 0 h 10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156" h="101157">
                  <a:moveTo>
                    <a:pt x="50579" y="0"/>
                  </a:moveTo>
                  <a:cubicBezTo>
                    <a:pt x="23802" y="0"/>
                    <a:pt x="0" y="23802"/>
                    <a:pt x="0" y="50578"/>
                  </a:cubicBezTo>
                  <a:cubicBezTo>
                    <a:pt x="0" y="77355"/>
                    <a:pt x="23802" y="101157"/>
                    <a:pt x="50579" y="101157"/>
                  </a:cubicBezTo>
                  <a:cubicBezTo>
                    <a:pt x="77356" y="101157"/>
                    <a:pt x="101157" y="77355"/>
                    <a:pt x="101157" y="50578"/>
                  </a:cubicBezTo>
                  <a:cubicBezTo>
                    <a:pt x="101157" y="20826"/>
                    <a:pt x="77356" y="0"/>
                    <a:pt x="50579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49653431-AEE7-45AF-90EB-03B0694A1048}"/>
                </a:ext>
              </a:extLst>
            </p:cNvPr>
            <p:cNvSpPr/>
            <p:nvPr/>
          </p:nvSpPr>
          <p:spPr>
            <a:xfrm>
              <a:off x="14826155" y="3012589"/>
              <a:ext cx="1116873" cy="751063"/>
            </a:xfrm>
            <a:custGeom>
              <a:avLst/>
              <a:gdLst>
                <a:gd name="connsiteX0" fmla="*/ 727425 w 1116873"/>
                <a:gd name="connsiteY0" fmla="*/ 213903 h 751063"/>
                <a:gd name="connsiteX1" fmla="*/ 447756 w 1116873"/>
                <a:gd name="connsiteY1" fmla="*/ 472746 h 751063"/>
                <a:gd name="connsiteX2" fmla="*/ 16351 w 1116873"/>
                <a:gd name="connsiteY2" fmla="*/ 445969 h 751063"/>
                <a:gd name="connsiteX3" fmla="*/ 1475 w 1116873"/>
                <a:gd name="connsiteY3" fmla="*/ 609605 h 751063"/>
                <a:gd name="connsiteX4" fmla="*/ 545938 w 1116873"/>
                <a:gd name="connsiteY4" fmla="*/ 728614 h 751063"/>
                <a:gd name="connsiteX5" fmla="*/ 1069574 w 1116873"/>
                <a:gd name="connsiteY5" fmla="*/ 306134 h 751063"/>
                <a:gd name="connsiteX6" fmla="*/ 1081475 w 1116873"/>
                <a:gd name="connsiteY6" fmla="*/ 17539 h 751063"/>
                <a:gd name="connsiteX7" fmla="*/ 727425 w 1116873"/>
                <a:gd name="connsiteY7" fmla="*/ 213903 h 751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16873" h="751063">
                  <a:moveTo>
                    <a:pt x="727425" y="213903"/>
                  </a:moveTo>
                  <a:cubicBezTo>
                    <a:pt x="664946" y="276382"/>
                    <a:pt x="525111" y="428118"/>
                    <a:pt x="447756" y="472746"/>
                  </a:cubicBezTo>
                  <a:cubicBezTo>
                    <a:pt x="334698" y="538200"/>
                    <a:pt x="63954" y="356713"/>
                    <a:pt x="16351" y="445969"/>
                  </a:cubicBezTo>
                  <a:cubicBezTo>
                    <a:pt x="-1500" y="520349"/>
                    <a:pt x="-1500" y="550101"/>
                    <a:pt x="1475" y="609605"/>
                  </a:cubicBezTo>
                  <a:cubicBezTo>
                    <a:pt x="1475" y="704812"/>
                    <a:pt x="340648" y="794068"/>
                    <a:pt x="545938" y="728614"/>
                  </a:cubicBezTo>
                  <a:cubicBezTo>
                    <a:pt x="608417" y="707787"/>
                    <a:pt x="965442" y="404316"/>
                    <a:pt x="1069574" y="306134"/>
                  </a:cubicBezTo>
                  <a:cubicBezTo>
                    <a:pt x="1132054" y="246630"/>
                    <a:pt x="1129078" y="62167"/>
                    <a:pt x="1081475" y="17539"/>
                  </a:cubicBezTo>
                  <a:cubicBezTo>
                    <a:pt x="1007095" y="-50891"/>
                    <a:pt x="846434" y="94895"/>
                    <a:pt x="727425" y="213903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F407E7D4-E8DF-46FD-9B14-988AFE8E63AC}"/>
                </a:ext>
              </a:extLst>
            </p:cNvPr>
            <p:cNvSpPr/>
            <p:nvPr/>
          </p:nvSpPr>
          <p:spPr>
            <a:xfrm>
              <a:off x="15916555" y="2815913"/>
              <a:ext cx="300496" cy="318347"/>
            </a:xfrm>
            <a:custGeom>
              <a:avLst/>
              <a:gdLst>
                <a:gd name="connsiteX0" fmla="*/ 53554 w 300496"/>
                <a:gd name="connsiteY0" fmla="*/ 59504 h 318347"/>
                <a:gd name="connsiteX1" fmla="*/ 0 w 300496"/>
                <a:gd name="connsiteY1" fmla="*/ 196364 h 318347"/>
                <a:gd name="connsiteX2" fmla="*/ 38678 w 300496"/>
                <a:gd name="connsiteY2" fmla="*/ 318347 h 318347"/>
                <a:gd name="connsiteX3" fmla="*/ 300496 w 300496"/>
                <a:gd name="connsiteY3" fmla="*/ 181488 h 318347"/>
                <a:gd name="connsiteX4" fmla="*/ 249918 w 300496"/>
                <a:gd name="connsiteY4" fmla="*/ 0 h 318347"/>
                <a:gd name="connsiteX5" fmla="*/ 53554 w 300496"/>
                <a:gd name="connsiteY5" fmla="*/ 59504 h 318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0496" h="318347">
                  <a:moveTo>
                    <a:pt x="53554" y="59504"/>
                  </a:moveTo>
                  <a:cubicBezTo>
                    <a:pt x="53554" y="59504"/>
                    <a:pt x="59504" y="166612"/>
                    <a:pt x="0" y="196364"/>
                  </a:cubicBezTo>
                  <a:lnTo>
                    <a:pt x="38678" y="318347"/>
                  </a:lnTo>
                  <a:cubicBezTo>
                    <a:pt x="38678" y="318347"/>
                    <a:pt x="249918" y="211240"/>
                    <a:pt x="300496" y="181488"/>
                  </a:cubicBezTo>
                  <a:cubicBezTo>
                    <a:pt x="246943" y="139835"/>
                    <a:pt x="249918" y="59504"/>
                    <a:pt x="249918" y="0"/>
                  </a:cubicBezTo>
                  <a:cubicBezTo>
                    <a:pt x="249918" y="0"/>
                    <a:pt x="104132" y="65455"/>
                    <a:pt x="53554" y="59504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A1F5E90F-9214-4B58-AB09-817477983B19}"/>
                </a:ext>
              </a:extLst>
            </p:cNvPr>
            <p:cNvSpPr/>
            <p:nvPr/>
          </p:nvSpPr>
          <p:spPr>
            <a:xfrm>
              <a:off x="15639054" y="3086657"/>
              <a:ext cx="98988" cy="544462"/>
            </a:xfrm>
            <a:custGeom>
              <a:avLst/>
              <a:gdLst>
                <a:gd name="connsiteX0" fmla="*/ 54360 w 98988"/>
                <a:gd name="connsiteY0" fmla="*/ 544463 h 544462"/>
                <a:gd name="connsiteX1" fmla="*/ 48411 w 98988"/>
                <a:gd name="connsiteY1" fmla="*/ 541488 h 544462"/>
                <a:gd name="connsiteX2" fmla="*/ 33535 w 98988"/>
                <a:gd name="connsiteY2" fmla="*/ 487934 h 544462"/>
                <a:gd name="connsiteX3" fmla="*/ 807 w 98988"/>
                <a:gd name="connsiteY3" fmla="*/ 339174 h 544462"/>
                <a:gd name="connsiteX4" fmla="*/ 87088 w 98988"/>
                <a:gd name="connsiteY4" fmla="*/ 2975 h 544462"/>
                <a:gd name="connsiteX5" fmla="*/ 96014 w 98988"/>
                <a:gd name="connsiteY5" fmla="*/ 0 h 544462"/>
                <a:gd name="connsiteX6" fmla="*/ 98989 w 98988"/>
                <a:gd name="connsiteY6" fmla="*/ 8926 h 544462"/>
                <a:gd name="connsiteX7" fmla="*/ 12708 w 98988"/>
                <a:gd name="connsiteY7" fmla="*/ 339174 h 544462"/>
                <a:gd name="connsiteX8" fmla="*/ 45435 w 98988"/>
                <a:gd name="connsiteY8" fmla="*/ 484959 h 544462"/>
                <a:gd name="connsiteX9" fmla="*/ 60311 w 98988"/>
                <a:gd name="connsiteY9" fmla="*/ 538512 h 544462"/>
                <a:gd name="connsiteX10" fmla="*/ 54360 w 98988"/>
                <a:gd name="connsiteY10" fmla="*/ 544463 h 544462"/>
                <a:gd name="connsiteX11" fmla="*/ 54360 w 98988"/>
                <a:gd name="connsiteY11" fmla="*/ 544463 h 54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8988" h="544462">
                  <a:moveTo>
                    <a:pt x="54360" y="544463"/>
                  </a:moveTo>
                  <a:cubicBezTo>
                    <a:pt x="51386" y="544463"/>
                    <a:pt x="48411" y="541488"/>
                    <a:pt x="48411" y="541488"/>
                  </a:cubicBezTo>
                  <a:cubicBezTo>
                    <a:pt x="42460" y="523636"/>
                    <a:pt x="39484" y="505785"/>
                    <a:pt x="33535" y="487934"/>
                  </a:cubicBezTo>
                  <a:cubicBezTo>
                    <a:pt x="18658" y="437355"/>
                    <a:pt x="3782" y="386777"/>
                    <a:pt x="807" y="339174"/>
                  </a:cubicBezTo>
                  <a:cubicBezTo>
                    <a:pt x="-5144" y="217190"/>
                    <a:pt x="21634" y="104132"/>
                    <a:pt x="87088" y="2975"/>
                  </a:cubicBezTo>
                  <a:cubicBezTo>
                    <a:pt x="90063" y="0"/>
                    <a:pt x="93039" y="0"/>
                    <a:pt x="96014" y="0"/>
                  </a:cubicBezTo>
                  <a:cubicBezTo>
                    <a:pt x="98989" y="2975"/>
                    <a:pt x="98989" y="5950"/>
                    <a:pt x="98989" y="8926"/>
                  </a:cubicBezTo>
                  <a:cubicBezTo>
                    <a:pt x="36510" y="110083"/>
                    <a:pt x="6758" y="220165"/>
                    <a:pt x="12708" y="339174"/>
                  </a:cubicBezTo>
                  <a:cubicBezTo>
                    <a:pt x="15683" y="383802"/>
                    <a:pt x="30559" y="434380"/>
                    <a:pt x="45435" y="484959"/>
                  </a:cubicBezTo>
                  <a:cubicBezTo>
                    <a:pt x="51386" y="502810"/>
                    <a:pt x="57336" y="520661"/>
                    <a:pt x="60311" y="538512"/>
                  </a:cubicBezTo>
                  <a:cubicBezTo>
                    <a:pt x="60311" y="541488"/>
                    <a:pt x="60311" y="544463"/>
                    <a:pt x="54360" y="544463"/>
                  </a:cubicBezTo>
                  <a:cubicBezTo>
                    <a:pt x="54360" y="544463"/>
                    <a:pt x="54360" y="544463"/>
                    <a:pt x="54360" y="544463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7E0D153F-6627-4BF1-9DB3-D89F926A11D7}"/>
                </a:ext>
              </a:extLst>
            </p:cNvPr>
            <p:cNvSpPr/>
            <p:nvPr/>
          </p:nvSpPr>
          <p:spPr>
            <a:xfrm>
              <a:off x="15606417" y="2985500"/>
              <a:ext cx="927608" cy="1289063"/>
            </a:xfrm>
            <a:custGeom>
              <a:avLst/>
              <a:gdLst>
                <a:gd name="connsiteX0" fmla="*/ 854601 w 927608"/>
                <a:gd name="connsiteY0" fmla="*/ 380826 h 1289063"/>
                <a:gd name="connsiteX1" fmla="*/ 854601 w 927608"/>
                <a:gd name="connsiteY1" fmla="*/ 116033 h 1289063"/>
                <a:gd name="connsiteX2" fmla="*/ 598733 w 927608"/>
                <a:gd name="connsiteY2" fmla="*/ 0 h 1289063"/>
                <a:gd name="connsiteX3" fmla="*/ 330964 w 927608"/>
                <a:gd name="connsiteY3" fmla="*/ 5950 h 1289063"/>
                <a:gd name="connsiteX4" fmla="*/ 6667 w 927608"/>
                <a:gd name="connsiteY4" fmla="*/ 484959 h 1289063"/>
                <a:gd name="connsiteX5" fmla="*/ 36419 w 927608"/>
                <a:gd name="connsiteY5" fmla="*/ 711074 h 1289063"/>
                <a:gd name="connsiteX6" fmla="*/ 72121 w 927608"/>
                <a:gd name="connsiteY6" fmla="*/ 1255537 h 1289063"/>
                <a:gd name="connsiteX7" fmla="*/ 881378 w 927608"/>
                <a:gd name="connsiteY7" fmla="*/ 1139504 h 1289063"/>
                <a:gd name="connsiteX8" fmla="*/ 854601 w 927608"/>
                <a:gd name="connsiteY8" fmla="*/ 380826 h 1289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7608" h="1289063">
                  <a:moveTo>
                    <a:pt x="854601" y="380826"/>
                  </a:moveTo>
                  <a:cubicBezTo>
                    <a:pt x="887328" y="294545"/>
                    <a:pt x="914105" y="199339"/>
                    <a:pt x="854601" y="116033"/>
                  </a:cubicBezTo>
                  <a:cubicBezTo>
                    <a:pt x="804022" y="47603"/>
                    <a:pt x="676089" y="11901"/>
                    <a:pt x="598733" y="0"/>
                  </a:cubicBezTo>
                  <a:cubicBezTo>
                    <a:pt x="598733" y="0"/>
                    <a:pt x="327989" y="11901"/>
                    <a:pt x="330964" y="5950"/>
                  </a:cubicBezTo>
                  <a:cubicBezTo>
                    <a:pt x="81047" y="11901"/>
                    <a:pt x="-17135" y="279669"/>
                    <a:pt x="6667" y="484959"/>
                  </a:cubicBezTo>
                  <a:cubicBezTo>
                    <a:pt x="15592" y="562314"/>
                    <a:pt x="33444" y="633719"/>
                    <a:pt x="36419" y="711074"/>
                  </a:cubicBezTo>
                  <a:cubicBezTo>
                    <a:pt x="39395" y="785455"/>
                    <a:pt x="-67713" y="1074050"/>
                    <a:pt x="72121" y="1255537"/>
                  </a:cubicBezTo>
                  <a:cubicBezTo>
                    <a:pt x="81047" y="1267438"/>
                    <a:pt x="438072" y="1371570"/>
                    <a:pt x="881378" y="1139504"/>
                  </a:cubicBezTo>
                  <a:cubicBezTo>
                    <a:pt x="1027163" y="990744"/>
                    <a:pt x="774270" y="592066"/>
                    <a:pt x="854601" y="380826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AE550664-A1D5-4AF1-B874-43348977DCE4}"/>
                </a:ext>
              </a:extLst>
            </p:cNvPr>
            <p:cNvSpPr/>
            <p:nvPr/>
          </p:nvSpPr>
          <p:spPr>
            <a:xfrm>
              <a:off x="15602653" y="3172938"/>
              <a:ext cx="63984" cy="734875"/>
            </a:xfrm>
            <a:custGeom>
              <a:avLst/>
              <a:gdLst>
                <a:gd name="connsiteX0" fmla="*/ 40184 w 63984"/>
                <a:gd name="connsiteY0" fmla="*/ 734876 h 734875"/>
                <a:gd name="connsiteX1" fmla="*/ 40184 w 63984"/>
                <a:gd name="connsiteY1" fmla="*/ 734876 h 734875"/>
                <a:gd name="connsiteX2" fmla="*/ 34233 w 63984"/>
                <a:gd name="connsiteY2" fmla="*/ 728926 h 734875"/>
                <a:gd name="connsiteX3" fmla="*/ 10431 w 63984"/>
                <a:gd name="connsiteY3" fmla="*/ 321322 h 734875"/>
                <a:gd name="connsiteX4" fmla="*/ 1505 w 63984"/>
                <a:gd name="connsiteY4" fmla="*/ 258843 h 734875"/>
                <a:gd name="connsiteX5" fmla="*/ 55060 w 63984"/>
                <a:gd name="connsiteY5" fmla="*/ 2975 h 734875"/>
                <a:gd name="connsiteX6" fmla="*/ 61009 w 63984"/>
                <a:gd name="connsiteY6" fmla="*/ 0 h 734875"/>
                <a:gd name="connsiteX7" fmla="*/ 63985 w 63984"/>
                <a:gd name="connsiteY7" fmla="*/ 5950 h 734875"/>
                <a:gd name="connsiteX8" fmla="*/ 10431 w 63984"/>
                <a:gd name="connsiteY8" fmla="*/ 255868 h 734875"/>
                <a:gd name="connsiteX9" fmla="*/ 19357 w 63984"/>
                <a:gd name="connsiteY9" fmla="*/ 318347 h 734875"/>
                <a:gd name="connsiteX10" fmla="*/ 43159 w 63984"/>
                <a:gd name="connsiteY10" fmla="*/ 728926 h 734875"/>
                <a:gd name="connsiteX11" fmla="*/ 40184 w 63984"/>
                <a:gd name="connsiteY11" fmla="*/ 734876 h 73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3984" h="734875">
                  <a:moveTo>
                    <a:pt x="40184" y="734876"/>
                  </a:moveTo>
                  <a:cubicBezTo>
                    <a:pt x="40184" y="734876"/>
                    <a:pt x="40184" y="734876"/>
                    <a:pt x="40184" y="734876"/>
                  </a:cubicBezTo>
                  <a:cubicBezTo>
                    <a:pt x="37208" y="734876"/>
                    <a:pt x="34233" y="731901"/>
                    <a:pt x="34233" y="728926"/>
                  </a:cubicBezTo>
                  <a:cubicBezTo>
                    <a:pt x="46133" y="612893"/>
                    <a:pt x="25307" y="437355"/>
                    <a:pt x="10431" y="321322"/>
                  </a:cubicBezTo>
                  <a:cubicBezTo>
                    <a:pt x="7456" y="297521"/>
                    <a:pt x="4481" y="276694"/>
                    <a:pt x="1505" y="258843"/>
                  </a:cubicBezTo>
                  <a:cubicBezTo>
                    <a:pt x="-10395" y="154711"/>
                    <a:pt x="52084" y="8926"/>
                    <a:pt x="55060" y="2975"/>
                  </a:cubicBezTo>
                  <a:cubicBezTo>
                    <a:pt x="55060" y="0"/>
                    <a:pt x="58035" y="0"/>
                    <a:pt x="61009" y="0"/>
                  </a:cubicBezTo>
                  <a:cubicBezTo>
                    <a:pt x="63985" y="0"/>
                    <a:pt x="63985" y="2975"/>
                    <a:pt x="63985" y="5950"/>
                  </a:cubicBezTo>
                  <a:cubicBezTo>
                    <a:pt x="63985" y="5950"/>
                    <a:pt x="-1469" y="154711"/>
                    <a:pt x="10431" y="255868"/>
                  </a:cubicBezTo>
                  <a:cubicBezTo>
                    <a:pt x="13407" y="273719"/>
                    <a:pt x="16381" y="294546"/>
                    <a:pt x="19357" y="318347"/>
                  </a:cubicBezTo>
                  <a:cubicBezTo>
                    <a:pt x="34233" y="434380"/>
                    <a:pt x="58035" y="609917"/>
                    <a:pt x="43159" y="728926"/>
                  </a:cubicBezTo>
                  <a:cubicBezTo>
                    <a:pt x="46133" y="734876"/>
                    <a:pt x="43159" y="734876"/>
                    <a:pt x="40184" y="734876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C2BE1475-44C0-45B1-B490-016D23F9EE72}"/>
                </a:ext>
              </a:extLst>
            </p:cNvPr>
            <p:cNvSpPr/>
            <p:nvPr/>
          </p:nvSpPr>
          <p:spPr>
            <a:xfrm>
              <a:off x="15860536" y="2931843"/>
              <a:ext cx="391637" cy="128780"/>
            </a:xfrm>
            <a:custGeom>
              <a:avLst/>
              <a:gdLst>
                <a:gd name="connsiteX0" fmla="*/ 8416 w 391637"/>
                <a:gd name="connsiteY0" fmla="*/ 95309 h 128780"/>
                <a:gd name="connsiteX1" fmla="*/ 380317 w 391637"/>
                <a:gd name="connsiteY1" fmla="*/ 95309 h 128780"/>
                <a:gd name="connsiteX2" fmla="*/ 389242 w 391637"/>
                <a:gd name="connsiteY2" fmla="*/ 74483 h 128780"/>
                <a:gd name="connsiteX3" fmla="*/ 344614 w 391637"/>
                <a:gd name="connsiteY3" fmla="*/ 103 h 128780"/>
                <a:gd name="connsiteX4" fmla="*/ 35192 w 391637"/>
                <a:gd name="connsiteY4" fmla="*/ 3078 h 128780"/>
                <a:gd name="connsiteX5" fmla="*/ 23292 w 391637"/>
                <a:gd name="connsiteY5" fmla="*/ 9028 h 128780"/>
                <a:gd name="connsiteX6" fmla="*/ 2465 w 391637"/>
                <a:gd name="connsiteY6" fmla="*/ 74483 h 128780"/>
                <a:gd name="connsiteX7" fmla="*/ 8416 w 391637"/>
                <a:gd name="connsiteY7" fmla="*/ 95309 h 128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1637" h="128780">
                  <a:moveTo>
                    <a:pt x="8416" y="95309"/>
                  </a:moveTo>
                  <a:cubicBezTo>
                    <a:pt x="130398" y="139937"/>
                    <a:pt x="258333" y="139937"/>
                    <a:pt x="380317" y="95309"/>
                  </a:cubicBezTo>
                  <a:cubicBezTo>
                    <a:pt x="389242" y="92334"/>
                    <a:pt x="395193" y="83409"/>
                    <a:pt x="389242" y="74483"/>
                  </a:cubicBezTo>
                  <a:cubicBezTo>
                    <a:pt x="380317" y="59607"/>
                    <a:pt x="356514" y="-2872"/>
                    <a:pt x="344614" y="103"/>
                  </a:cubicBezTo>
                  <a:cubicBezTo>
                    <a:pt x="240481" y="29855"/>
                    <a:pt x="139325" y="17954"/>
                    <a:pt x="35192" y="3078"/>
                  </a:cubicBezTo>
                  <a:cubicBezTo>
                    <a:pt x="29242" y="3078"/>
                    <a:pt x="23292" y="6053"/>
                    <a:pt x="23292" y="9028"/>
                  </a:cubicBezTo>
                  <a:cubicBezTo>
                    <a:pt x="11390" y="29855"/>
                    <a:pt x="5440" y="50681"/>
                    <a:pt x="2465" y="74483"/>
                  </a:cubicBezTo>
                  <a:cubicBezTo>
                    <a:pt x="-3486" y="83409"/>
                    <a:pt x="2465" y="92334"/>
                    <a:pt x="8416" y="95309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21194292-26BD-4931-AF77-6BC438DF92E3}"/>
                </a:ext>
              </a:extLst>
            </p:cNvPr>
            <p:cNvSpPr/>
            <p:nvPr/>
          </p:nvSpPr>
          <p:spPr>
            <a:xfrm>
              <a:off x="15884169" y="3073524"/>
              <a:ext cx="106588" cy="1206190"/>
            </a:xfrm>
            <a:custGeom>
              <a:avLst/>
              <a:gdLst>
                <a:gd name="connsiteX0" fmla="*/ 100815 w 106588"/>
                <a:gd name="connsiteY0" fmla="*/ 1206191 h 1206190"/>
                <a:gd name="connsiteX1" fmla="*/ 100815 w 106588"/>
                <a:gd name="connsiteY1" fmla="*/ 1206191 h 1206190"/>
                <a:gd name="connsiteX2" fmla="*/ 94865 w 106588"/>
                <a:gd name="connsiteY2" fmla="*/ 1200241 h 1206190"/>
                <a:gd name="connsiteX3" fmla="*/ 26435 w 106588"/>
                <a:gd name="connsiteY3" fmla="*/ 643877 h 1206190"/>
                <a:gd name="connsiteX4" fmla="*/ 8584 w 106588"/>
                <a:gd name="connsiteY4" fmla="*/ 551646 h 1206190"/>
                <a:gd name="connsiteX5" fmla="*/ 47261 w 106588"/>
                <a:gd name="connsiteY5" fmla="*/ 4208 h 1206190"/>
                <a:gd name="connsiteX6" fmla="*/ 53212 w 106588"/>
                <a:gd name="connsiteY6" fmla="*/ 1232 h 1206190"/>
                <a:gd name="connsiteX7" fmla="*/ 56187 w 106588"/>
                <a:gd name="connsiteY7" fmla="*/ 7183 h 1206190"/>
                <a:gd name="connsiteX8" fmla="*/ 17509 w 106588"/>
                <a:gd name="connsiteY8" fmla="*/ 551646 h 1206190"/>
                <a:gd name="connsiteX9" fmla="*/ 35361 w 106588"/>
                <a:gd name="connsiteY9" fmla="*/ 643877 h 1206190"/>
                <a:gd name="connsiteX10" fmla="*/ 103791 w 106588"/>
                <a:gd name="connsiteY10" fmla="*/ 1203216 h 1206190"/>
                <a:gd name="connsiteX11" fmla="*/ 100815 w 106588"/>
                <a:gd name="connsiteY11" fmla="*/ 1206191 h 1206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6588" h="1206190">
                  <a:moveTo>
                    <a:pt x="100815" y="1206191"/>
                  </a:moveTo>
                  <a:cubicBezTo>
                    <a:pt x="100815" y="1206191"/>
                    <a:pt x="100815" y="1206191"/>
                    <a:pt x="100815" y="1206191"/>
                  </a:cubicBezTo>
                  <a:cubicBezTo>
                    <a:pt x="97840" y="1206191"/>
                    <a:pt x="94865" y="1203216"/>
                    <a:pt x="94865" y="1200241"/>
                  </a:cubicBezTo>
                  <a:cubicBezTo>
                    <a:pt x="109741" y="1072307"/>
                    <a:pt x="62137" y="825365"/>
                    <a:pt x="26435" y="643877"/>
                  </a:cubicBezTo>
                  <a:cubicBezTo>
                    <a:pt x="20484" y="611150"/>
                    <a:pt x="14535" y="578422"/>
                    <a:pt x="8584" y="551646"/>
                  </a:cubicBezTo>
                  <a:cubicBezTo>
                    <a:pt x="-24144" y="373133"/>
                    <a:pt x="47261" y="7183"/>
                    <a:pt x="47261" y="4208"/>
                  </a:cubicBezTo>
                  <a:cubicBezTo>
                    <a:pt x="47261" y="1232"/>
                    <a:pt x="50237" y="-1743"/>
                    <a:pt x="53212" y="1232"/>
                  </a:cubicBezTo>
                  <a:cubicBezTo>
                    <a:pt x="56187" y="1232"/>
                    <a:pt x="59163" y="4208"/>
                    <a:pt x="56187" y="7183"/>
                  </a:cubicBezTo>
                  <a:cubicBezTo>
                    <a:pt x="56187" y="10158"/>
                    <a:pt x="-15217" y="376108"/>
                    <a:pt x="17509" y="551646"/>
                  </a:cubicBezTo>
                  <a:cubicBezTo>
                    <a:pt x="23460" y="578422"/>
                    <a:pt x="29411" y="611150"/>
                    <a:pt x="35361" y="643877"/>
                  </a:cubicBezTo>
                  <a:cubicBezTo>
                    <a:pt x="71063" y="825365"/>
                    <a:pt x="118667" y="1072307"/>
                    <a:pt x="103791" y="1203216"/>
                  </a:cubicBezTo>
                  <a:cubicBezTo>
                    <a:pt x="103791" y="1206191"/>
                    <a:pt x="103791" y="1206191"/>
                    <a:pt x="100815" y="1206191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1" name="图形 1">
              <a:extLst>
                <a:ext uri="{FF2B5EF4-FFF2-40B4-BE49-F238E27FC236}">
                  <a16:creationId xmlns:a16="http://schemas.microsoft.com/office/drawing/2014/main" id="{CAA7716B-7C63-4279-8CAC-DE98BA3F25BB}"/>
                </a:ext>
              </a:extLst>
            </p:cNvPr>
            <p:cNvGrpSpPr/>
            <p:nvPr/>
          </p:nvGrpSpPr>
          <p:grpSpPr>
            <a:xfrm>
              <a:off x="16042815" y="2923582"/>
              <a:ext cx="759772" cy="429647"/>
              <a:chOff x="16042815" y="2923582"/>
              <a:chExt cx="759772" cy="429647"/>
            </a:xfrm>
          </p:grpSpPr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B0DF1C20-48DC-4C6C-83B3-5FEB9EE478FF}"/>
                  </a:ext>
                </a:extLst>
              </p:cNvPr>
              <p:cNvSpPr/>
              <p:nvPr/>
            </p:nvSpPr>
            <p:spPr>
              <a:xfrm>
                <a:off x="16042815" y="2923582"/>
                <a:ext cx="759772" cy="429647"/>
              </a:xfrm>
              <a:custGeom>
                <a:avLst/>
                <a:gdLst>
                  <a:gd name="connsiteX0" fmla="*/ 492583 w 759772"/>
                  <a:gd name="connsiteY0" fmla="*/ 91670 h 429647"/>
                  <a:gd name="connsiteX1" fmla="*/ 748451 w 759772"/>
                  <a:gd name="connsiteY1" fmla="*/ 302910 h 429647"/>
                  <a:gd name="connsiteX2" fmla="*/ 757377 w 759772"/>
                  <a:gd name="connsiteY2" fmla="*/ 326712 h 429647"/>
                  <a:gd name="connsiteX3" fmla="*/ 715724 w 759772"/>
                  <a:gd name="connsiteY3" fmla="*/ 421918 h 429647"/>
                  <a:gd name="connsiteX4" fmla="*/ 700848 w 759772"/>
                  <a:gd name="connsiteY4" fmla="*/ 427869 h 429647"/>
                  <a:gd name="connsiteX5" fmla="*/ 427129 w 759772"/>
                  <a:gd name="connsiteY5" fmla="*/ 201753 h 429647"/>
                  <a:gd name="connsiteX6" fmla="*/ 37376 w 759772"/>
                  <a:gd name="connsiteY6" fmla="*/ 109521 h 429647"/>
                  <a:gd name="connsiteX7" fmla="*/ 25476 w 759772"/>
                  <a:gd name="connsiteY7" fmla="*/ 106546 h 429647"/>
                  <a:gd name="connsiteX8" fmla="*/ 16550 w 759772"/>
                  <a:gd name="connsiteY8" fmla="*/ 94645 h 429647"/>
                  <a:gd name="connsiteX9" fmla="*/ 40352 w 759772"/>
                  <a:gd name="connsiteY9" fmla="*/ 8365 h 429647"/>
                  <a:gd name="connsiteX10" fmla="*/ 278368 w 759772"/>
                  <a:gd name="connsiteY10" fmla="*/ 5389 h 429647"/>
                  <a:gd name="connsiteX11" fmla="*/ 492583 w 759772"/>
                  <a:gd name="connsiteY11" fmla="*/ 91670 h 429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59772" h="429647">
                    <a:moveTo>
                      <a:pt x="492583" y="91670"/>
                    </a:moveTo>
                    <a:cubicBezTo>
                      <a:pt x="575889" y="157125"/>
                      <a:pt x="656220" y="252331"/>
                      <a:pt x="748451" y="302910"/>
                    </a:cubicBezTo>
                    <a:cubicBezTo>
                      <a:pt x="757377" y="308860"/>
                      <a:pt x="763327" y="317786"/>
                      <a:pt x="757377" y="326712"/>
                    </a:cubicBezTo>
                    <a:cubicBezTo>
                      <a:pt x="745476" y="353488"/>
                      <a:pt x="718699" y="389191"/>
                      <a:pt x="715724" y="421918"/>
                    </a:cubicBezTo>
                    <a:cubicBezTo>
                      <a:pt x="715724" y="430844"/>
                      <a:pt x="706798" y="430844"/>
                      <a:pt x="700848" y="427869"/>
                    </a:cubicBezTo>
                    <a:cubicBezTo>
                      <a:pt x="593740" y="380265"/>
                      <a:pt x="519360" y="282083"/>
                      <a:pt x="427129" y="201753"/>
                    </a:cubicBezTo>
                    <a:cubicBezTo>
                      <a:pt x="305145" y="91670"/>
                      <a:pt x="159360" y="94645"/>
                      <a:pt x="37376" y="109521"/>
                    </a:cubicBezTo>
                    <a:cubicBezTo>
                      <a:pt x="34402" y="109521"/>
                      <a:pt x="28451" y="109521"/>
                      <a:pt x="25476" y="106546"/>
                    </a:cubicBezTo>
                    <a:cubicBezTo>
                      <a:pt x="22500" y="103571"/>
                      <a:pt x="19526" y="100596"/>
                      <a:pt x="16550" y="94645"/>
                    </a:cubicBezTo>
                    <a:cubicBezTo>
                      <a:pt x="-7252" y="32166"/>
                      <a:pt x="-10226" y="14315"/>
                      <a:pt x="40352" y="8365"/>
                    </a:cubicBezTo>
                    <a:cubicBezTo>
                      <a:pt x="117707" y="-561"/>
                      <a:pt x="198038" y="-3536"/>
                      <a:pt x="278368" y="5389"/>
                    </a:cubicBezTo>
                    <a:cubicBezTo>
                      <a:pt x="349773" y="14315"/>
                      <a:pt x="427129" y="38117"/>
                      <a:pt x="492583" y="91670"/>
                    </a:cubicBezTo>
                    <a:close/>
                  </a:path>
                </a:pathLst>
              </a:custGeom>
              <a:solidFill>
                <a:srgbClr val="F1DDB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4E128A6A-4E57-444D-96F9-F119E72C7898}"/>
                  </a:ext>
                </a:extLst>
              </p:cNvPr>
              <p:cNvSpPr/>
              <p:nvPr/>
            </p:nvSpPr>
            <p:spPr>
              <a:xfrm>
                <a:off x="16713910" y="3208640"/>
                <a:ext cx="65454" cy="136859"/>
              </a:xfrm>
              <a:custGeom>
                <a:avLst/>
                <a:gdLst>
                  <a:gd name="connsiteX0" fmla="*/ 5950 w 65454"/>
                  <a:gd name="connsiteY0" fmla="*/ 136859 h 136859"/>
                  <a:gd name="connsiteX1" fmla="*/ 5950 w 65454"/>
                  <a:gd name="connsiteY1" fmla="*/ 136859 h 136859"/>
                  <a:gd name="connsiteX2" fmla="*/ 0 w 65454"/>
                  <a:gd name="connsiteY2" fmla="*/ 130909 h 136859"/>
                  <a:gd name="connsiteX3" fmla="*/ 53553 w 65454"/>
                  <a:gd name="connsiteY3" fmla="*/ 2975 h 136859"/>
                  <a:gd name="connsiteX4" fmla="*/ 62480 w 65454"/>
                  <a:gd name="connsiteY4" fmla="*/ 0 h 136859"/>
                  <a:gd name="connsiteX5" fmla="*/ 65454 w 65454"/>
                  <a:gd name="connsiteY5" fmla="*/ 8926 h 136859"/>
                  <a:gd name="connsiteX6" fmla="*/ 14876 w 65454"/>
                  <a:gd name="connsiteY6" fmla="*/ 133884 h 136859"/>
                  <a:gd name="connsiteX7" fmla="*/ 5950 w 65454"/>
                  <a:gd name="connsiteY7" fmla="*/ 136859 h 136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5454" h="136859">
                    <a:moveTo>
                      <a:pt x="5950" y="136859"/>
                    </a:moveTo>
                    <a:cubicBezTo>
                      <a:pt x="5950" y="136859"/>
                      <a:pt x="5950" y="136859"/>
                      <a:pt x="5950" y="136859"/>
                    </a:cubicBezTo>
                    <a:cubicBezTo>
                      <a:pt x="0" y="136859"/>
                      <a:pt x="0" y="133884"/>
                      <a:pt x="0" y="130909"/>
                    </a:cubicBezTo>
                    <a:cubicBezTo>
                      <a:pt x="0" y="127934"/>
                      <a:pt x="26777" y="47603"/>
                      <a:pt x="53553" y="2975"/>
                    </a:cubicBezTo>
                    <a:cubicBezTo>
                      <a:pt x="56529" y="0"/>
                      <a:pt x="59504" y="0"/>
                      <a:pt x="62480" y="0"/>
                    </a:cubicBezTo>
                    <a:cubicBezTo>
                      <a:pt x="65454" y="2975"/>
                      <a:pt x="65454" y="5950"/>
                      <a:pt x="65454" y="8926"/>
                    </a:cubicBezTo>
                    <a:cubicBezTo>
                      <a:pt x="38677" y="50579"/>
                      <a:pt x="14876" y="133884"/>
                      <a:pt x="14876" y="133884"/>
                    </a:cubicBezTo>
                    <a:cubicBezTo>
                      <a:pt x="11901" y="136859"/>
                      <a:pt x="8925" y="136859"/>
                      <a:pt x="5950" y="136859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8AADE880-6891-41FD-A4B7-E82197800045}"/>
                  </a:ext>
                </a:extLst>
              </p:cNvPr>
              <p:cNvSpPr/>
              <p:nvPr/>
            </p:nvSpPr>
            <p:spPr>
              <a:xfrm>
                <a:off x="16678208" y="3184839"/>
                <a:ext cx="65454" cy="136859"/>
              </a:xfrm>
              <a:custGeom>
                <a:avLst/>
                <a:gdLst>
                  <a:gd name="connsiteX0" fmla="*/ 5951 w 65454"/>
                  <a:gd name="connsiteY0" fmla="*/ 136859 h 136859"/>
                  <a:gd name="connsiteX1" fmla="*/ 5951 w 65454"/>
                  <a:gd name="connsiteY1" fmla="*/ 136859 h 136859"/>
                  <a:gd name="connsiteX2" fmla="*/ 0 w 65454"/>
                  <a:gd name="connsiteY2" fmla="*/ 130909 h 136859"/>
                  <a:gd name="connsiteX3" fmla="*/ 53554 w 65454"/>
                  <a:gd name="connsiteY3" fmla="*/ 2975 h 136859"/>
                  <a:gd name="connsiteX4" fmla="*/ 62480 w 65454"/>
                  <a:gd name="connsiteY4" fmla="*/ 0 h 136859"/>
                  <a:gd name="connsiteX5" fmla="*/ 65455 w 65454"/>
                  <a:gd name="connsiteY5" fmla="*/ 8926 h 136859"/>
                  <a:gd name="connsiteX6" fmla="*/ 14876 w 65454"/>
                  <a:gd name="connsiteY6" fmla="*/ 133884 h 136859"/>
                  <a:gd name="connsiteX7" fmla="*/ 5951 w 65454"/>
                  <a:gd name="connsiteY7" fmla="*/ 136859 h 136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5454" h="136859">
                    <a:moveTo>
                      <a:pt x="5951" y="136859"/>
                    </a:moveTo>
                    <a:cubicBezTo>
                      <a:pt x="5951" y="136859"/>
                      <a:pt x="5951" y="136859"/>
                      <a:pt x="5951" y="136859"/>
                    </a:cubicBezTo>
                    <a:cubicBezTo>
                      <a:pt x="0" y="136859"/>
                      <a:pt x="0" y="133884"/>
                      <a:pt x="0" y="130909"/>
                    </a:cubicBezTo>
                    <a:cubicBezTo>
                      <a:pt x="0" y="127934"/>
                      <a:pt x="26777" y="47603"/>
                      <a:pt x="53554" y="2975"/>
                    </a:cubicBezTo>
                    <a:cubicBezTo>
                      <a:pt x="56529" y="0"/>
                      <a:pt x="59504" y="0"/>
                      <a:pt x="62480" y="0"/>
                    </a:cubicBezTo>
                    <a:cubicBezTo>
                      <a:pt x="65455" y="2975"/>
                      <a:pt x="65455" y="5950"/>
                      <a:pt x="65455" y="8926"/>
                    </a:cubicBezTo>
                    <a:cubicBezTo>
                      <a:pt x="38678" y="50578"/>
                      <a:pt x="14876" y="133884"/>
                      <a:pt x="14876" y="133884"/>
                    </a:cubicBezTo>
                    <a:cubicBezTo>
                      <a:pt x="11901" y="136859"/>
                      <a:pt x="8926" y="136859"/>
                      <a:pt x="5951" y="136859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CC44FD2E-EA2D-4383-9145-32DBAB4D847D}"/>
                </a:ext>
              </a:extLst>
            </p:cNvPr>
            <p:cNvSpPr/>
            <p:nvPr/>
          </p:nvSpPr>
          <p:spPr>
            <a:xfrm>
              <a:off x="16038419" y="2943847"/>
              <a:ext cx="208383" cy="89256"/>
            </a:xfrm>
            <a:custGeom>
              <a:avLst/>
              <a:gdLst>
                <a:gd name="connsiteX0" fmla="*/ 71524 w 208383"/>
                <a:gd name="connsiteY0" fmla="*/ 89256 h 89256"/>
                <a:gd name="connsiteX1" fmla="*/ 20946 w 208383"/>
                <a:gd name="connsiteY1" fmla="*/ 71405 h 89256"/>
                <a:gd name="connsiteX2" fmla="*/ 119 w 208383"/>
                <a:gd name="connsiteY2" fmla="*/ 5950 h 89256"/>
                <a:gd name="connsiteX3" fmla="*/ 6070 w 208383"/>
                <a:gd name="connsiteY3" fmla="*/ 0 h 89256"/>
                <a:gd name="connsiteX4" fmla="*/ 12020 w 208383"/>
                <a:gd name="connsiteY4" fmla="*/ 5950 h 89256"/>
                <a:gd name="connsiteX5" fmla="*/ 29871 w 208383"/>
                <a:gd name="connsiteY5" fmla="*/ 62479 h 89256"/>
                <a:gd name="connsiteX6" fmla="*/ 80450 w 208383"/>
                <a:gd name="connsiteY6" fmla="*/ 77355 h 89256"/>
                <a:gd name="connsiteX7" fmla="*/ 202434 w 208383"/>
                <a:gd name="connsiteY7" fmla="*/ 77355 h 89256"/>
                <a:gd name="connsiteX8" fmla="*/ 208383 w 208383"/>
                <a:gd name="connsiteY8" fmla="*/ 83306 h 89256"/>
                <a:gd name="connsiteX9" fmla="*/ 202434 w 208383"/>
                <a:gd name="connsiteY9" fmla="*/ 89256 h 89256"/>
                <a:gd name="connsiteX10" fmla="*/ 202434 w 208383"/>
                <a:gd name="connsiteY10" fmla="*/ 89256 h 89256"/>
                <a:gd name="connsiteX11" fmla="*/ 80450 w 208383"/>
                <a:gd name="connsiteY11" fmla="*/ 89256 h 89256"/>
                <a:gd name="connsiteX12" fmla="*/ 71524 w 208383"/>
                <a:gd name="connsiteY12" fmla="*/ 89256 h 89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8383" h="89256">
                  <a:moveTo>
                    <a:pt x="71524" y="89256"/>
                  </a:moveTo>
                  <a:cubicBezTo>
                    <a:pt x="50698" y="89256"/>
                    <a:pt x="32846" y="83306"/>
                    <a:pt x="20946" y="71405"/>
                  </a:cubicBezTo>
                  <a:cubicBezTo>
                    <a:pt x="-2856" y="47603"/>
                    <a:pt x="119" y="5950"/>
                    <a:pt x="119" y="5950"/>
                  </a:cubicBezTo>
                  <a:cubicBezTo>
                    <a:pt x="119" y="2975"/>
                    <a:pt x="3094" y="0"/>
                    <a:pt x="6070" y="0"/>
                  </a:cubicBezTo>
                  <a:cubicBezTo>
                    <a:pt x="9045" y="0"/>
                    <a:pt x="12020" y="2975"/>
                    <a:pt x="12020" y="5950"/>
                  </a:cubicBezTo>
                  <a:cubicBezTo>
                    <a:pt x="12020" y="5950"/>
                    <a:pt x="9045" y="41653"/>
                    <a:pt x="29871" y="62479"/>
                  </a:cubicBezTo>
                  <a:cubicBezTo>
                    <a:pt x="41772" y="74380"/>
                    <a:pt x="59623" y="80331"/>
                    <a:pt x="80450" y="77355"/>
                  </a:cubicBezTo>
                  <a:cubicBezTo>
                    <a:pt x="95326" y="77355"/>
                    <a:pt x="193507" y="77355"/>
                    <a:pt x="202434" y="77355"/>
                  </a:cubicBezTo>
                  <a:cubicBezTo>
                    <a:pt x="205408" y="77355"/>
                    <a:pt x="208383" y="80331"/>
                    <a:pt x="208383" y="83306"/>
                  </a:cubicBezTo>
                  <a:cubicBezTo>
                    <a:pt x="208383" y="86281"/>
                    <a:pt x="205408" y="89256"/>
                    <a:pt x="202434" y="89256"/>
                  </a:cubicBezTo>
                  <a:lnTo>
                    <a:pt x="202434" y="89256"/>
                  </a:lnTo>
                  <a:cubicBezTo>
                    <a:pt x="193507" y="89256"/>
                    <a:pt x="95326" y="89256"/>
                    <a:pt x="80450" y="89256"/>
                  </a:cubicBezTo>
                  <a:cubicBezTo>
                    <a:pt x="77475" y="89256"/>
                    <a:pt x="74499" y="89256"/>
                    <a:pt x="71524" y="89256"/>
                  </a:cubicBezTo>
                  <a:close/>
                </a:path>
              </a:pathLst>
            </a:custGeom>
            <a:solidFill>
              <a:srgbClr val="D3977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3" name="图形 1">
              <a:extLst>
                <a:ext uri="{FF2B5EF4-FFF2-40B4-BE49-F238E27FC236}">
                  <a16:creationId xmlns:a16="http://schemas.microsoft.com/office/drawing/2014/main" id="{9C8E14B9-8522-4454-A5C2-58C49E1F63C2}"/>
                </a:ext>
              </a:extLst>
            </p:cNvPr>
            <p:cNvGrpSpPr/>
            <p:nvPr/>
          </p:nvGrpSpPr>
          <p:grpSpPr>
            <a:xfrm>
              <a:off x="11625994" y="3154740"/>
              <a:ext cx="617413" cy="550760"/>
              <a:chOff x="11625994" y="3154740"/>
              <a:chExt cx="617413" cy="550760"/>
            </a:xfrm>
          </p:grpSpPr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F65F2373-904D-4113-B71F-F235DA687A23}"/>
                  </a:ext>
                </a:extLst>
              </p:cNvPr>
              <p:cNvSpPr/>
              <p:nvPr/>
            </p:nvSpPr>
            <p:spPr>
              <a:xfrm>
                <a:off x="11626307" y="3164012"/>
                <a:ext cx="617099" cy="533014"/>
              </a:xfrm>
              <a:custGeom>
                <a:avLst/>
                <a:gdLst>
                  <a:gd name="connsiteX0" fmla="*/ 0 w 617099"/>
                  <a:gd name="connsiteY0" fmla="*/ 113058 h 533014"/>
                  <a:gd name="connsiteX1" fmla="*/ 8925 w 617099"/>
                  <a:gd name="connsiteY1" fmla="*/ 101157 h 533014"/>
                  <a:gd name="connsiteX2" fmla="*/ 434380 w 617099"/>
                  <a:gd name="connsiteY2" fmla="*/ 0 h 533014"/>
                  <a:gd name="connsiteX3" fmla="*/ 446281 w 617099"/>
                  <a:gd name="connsiteY3" fmla="*/ 5950 h 533014"/>
                  <a:gd name="connsiteX4" fmla="*/ 615867 w 617099"/>
                  <a:gd name="connsiteY4" fmla="*/ 386777 h 533014"/>
                  <a:gd name="connsiteX5" fmla="*/ 612893 w 617099"/>
                  <a:gd name="connsiteY5" fmla="*/ 398678 h 533014"/>
                  <a:gd name="connsiteX6" fmla="*/ 345124 w 617099"/>
                  <a:gd name="connsiteY6" fmla="*/ 502810 h 533014"/>
                  <a:gd name="connsiteX7" fmla="*/ 62480 w 617099"/>
                  <a:gd name="connsiteY7" fmla="*/ 532562 h 533014"/>
                  <a:gd name="connsiteX8" fmla="*/ 50578 w 617099"/>
                  <a:gd name="connsiteY8" fmla="*/ 523636 h 533014"/>
                  <a:gd name="connsiteX9" fmla="*/ 0 w 617099"/>
                  <a:gd name="connsiteY9" fmla="*/ 113058 h 533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7099" h="533014">
                    <a:moveTo>
                      <a:pt x="0" y="113058"/>
                    </a:moveTo>
                    <a:cubicBezTo>
                      <a:pt x="0" y="107107"/>
                      <a:pt x="2975" y="101157"/>
                      <a:pt x="8925" y="101157"/>
                    </a:cubicBezTo>
                    <a:lnTo>
                      <a:pt x="434380" y="0"/>
                    </a:lnTo>
                    <a:cubicBezTo>
                      <a:pt x="440330" y="0"/>
                      <a:pt x="443306" y="0"/>
                      <a:pt x="446281" y="5950"/>
                    </a:cubicBezTo>
                    <a:lnTo>
                      <a:pt x="615867" y="386777"/>
                    </a:lnTo>
                    <a:cubicBezTo>
                      <a:pt x="618843" y="392727"/>
                      <a:pt x="615867" y="395702"/>
                      <a:pt x="612893" y="398678"/>
                    </a:cubicBezTo>
                    <a:cubicBezTo>
                      <a:pt x="580165" y="422479"/>
                      <a:pt x="476033" y="473058"/>
                      <a:pt x="345124" y="502810"/>
                    </a:cubicBezTo>
                    <a:cubicBezTo>
                      <a:pt x="258842" y="523636"/>
                      <a:pt x="160661" y="535537"/>
                      <a:pt x="62480" y="532562"/>
                    </a:cubicBezTo>
                    <a:cubicBezTo>
                      <a:pt x="56529" y="532562"/>
                      <a:pt x="53553" y="529587"/>
                      <a:pt x="50578" y="523636"/>
                    </a:cubicBezTo>
                    <a:lnTo>
                      <a:pt x="0" y="113058"/>
                    </a:lnTo>
                    <a:close/>
                  </a:path>
                </a:pathLst>
              </a:custGeom>
              <a:solidFill>
                <a:srgbClr val="7F95BC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C64086F8-10CF-4C5D-9C95-D57FB6407224}"/>
                  </a:ext>
                </a:extLst>
              </p:cNvPr>
              <p:cNvSpPr/>
              <p:nvPr/>
            </p:nvSpPr>
            <p:spPr>
              <a:xfrm>
                <a:off x="11625994" y="3154740"/>
                <a:ext cx="449882" cy="143503"/>
              </a:xfrm>
              <a:custGeom>
                <a:avLst/>
                <a:gdLst>
                  <a:gd name="connsiteX0" fmla="*/ 214528 w 449882"/>
                  <a:gd name="connsiteY0" fmla="*/ 27124 h 143503"/>
                  <a:gd name="connsiteX1" fmla="*/ 449570 w 449882"/>
                  <a:gd name="connsiteY1" fmla="*/ 18198 h 143503"/>
                  <a:gd name="connsiteX2" fmla="*/ 235354 w 449882"/>
                  <a:gd name="connsiteY2" fmla="*/ 116380 h 143503"/>
                  <a:gd name="connsiteX3" fmla="*/ 313 w 449882"/>
                  <a:gd name="connsiteY3" fmla="*/ 125306 h 143503"/>
                  <a:gd name="connsiteX4" fmla="*/ 214528 w 449882"/>
                  <a:gd name="connsiteY4" fmla="*/ 27124 h 143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9882" h="143503">
                    <a:moveTo>
                      <a:pt x="214528" y="27124"/>
                    </a:moveTo>
                    <a:cubicBezTo>
                      <a:pt x="253206" y="18198"/>
                      <a:pt x="437668" y="-23455"/>
                      <a:pt x="449570" y="18198"/>
                    </a:cubicBezTo>
                    <a:cubicBezTo>
                      <a:pt x="458495" y="59851"/>
                      <a:pt x="274032" y="107454"/>
                      <a:pt x="235354" y="116380"/>
                    </a:cubicBezTo>
                    <a:cubicBezTo>
                      <a:pt x="196677" y="125306"/>
                      <a:pt x="12214" y="166959"/>
                      <a:pt x="313" y="125306"/>
                    </a:cubicBezTo>
                    <a:cubicBezTo>
                      <a:pt x="-8613" y="80678"/>
                      <a:pt x="175850" y="36049"/>
                      <a:pt x="214528" y="27124"/>
                    </a:cubicBezTo>
                    <a:close/>
                  </a:path>
                </a:pathLst>
              </a:custGeom>
              <a:solidFill>
                <a:srgbClr val="748BAD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3819ADEB-C5C0-46A1-8399-8985F858E7CD}"/>
                  </a:ext>
                </a:extLst>
              </p:cNvPr>
              <p:cNvSpPr/>
              <p:nvPr/>
            </p:nvSpPr>
            <p:spPr>
              <a:xfrm>
                <a:off x="11855397" y="3169963"/>
                <a:ext cx="220909" cy="107107"/>
              </a:xfrm>
              <a:custGeom>
                <a:avLst/>
                <a:gdLst>
                  <a:gd name="connsiteX0" fmla="*/ 5951 w 220909"/>
                  <a:gd name="connsiteY0" fmla="*/ 107107 h 107107"/>
                  <a:gd name="connsiteX1" fmla="*/ 0 w 220909"/>
                  <a:gd name="connsiteY1" fmla="*/ 104132 h 107107"/>
                  <a:gd name="connsiteX2" fmla="*/ 2975 w 220909"/>
                  <a:gd name="connsiteY2" fmla="*/ 98182 h 107107"/>
                  <a:gd name="connsiteX3" fmla="*/ 211240 w 220909"/>
                  <a:gd name="connsiteY3" fmla="*/ 5950 h 107107"/>
                  <a:gd name="connsiteX4" fmla="*/ 214215 w 220909"/>
                  <a:gd name="connsiteY4" fmla="*/ 0 h 107107"/>
                  <a:gd name="connsiteX5" fmla="*/ 220166 w 220909"/>
                  <a:gd name="connsiteY5" fmla="*/ 2975 h 107107"/>
                  <a:gd name="connsiteX6" fmla="*/ 217191 w 220909"/>
                  <a:gd name="connsiteY6" fmla="*/ 17851 h 107107"/>
                  <a:gd name="connsiteX7" fmla="*/ 5951 w 220909"/>
                  <a:gd name="connsiteY7" fmla="*/ 107107 h 107107"/>
                  <a:gd name="connsiteX8" fmla="*/ 5951 w 220909"/>
                  <a:gd name="connsiteY8" fmla="*/ 107107 h 107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0909" h="107107">
                    <a:moveTo>
                      <a:pt x="5951" y="107107"/>
                    </a:moveTo>
                    <a:cubicBezTo>
                      <a:pt x="2975" y="107107"/>
                      <a:pt x="0" y="104132"/>
                      <a:pt x="0" y="104132"/>
                    </a:cubicBezTo>
                    <a:cubicBezTo>
                      <a:pt x="0" y="101157"/>
                      <a:pt x="0" y="98182"/>
                      <a:pt x="2975" y="98182"/>
                    </a:cubicBezTo>
                    <a:cubicBezTo>
                      <a:pt x="217191" y="50578"/>
                      <a:pt x="211240" y="5950"/>
                      <a:pt x="211240" y="5950"/>
                    </a:cubicBezTo>
                    <a:cubicBezTo>
                      <a:pt x="211240" y="2975"/>
                      <a:pt x="211240" y="0"/>
                      <a:pt x="214215" y="0"/>
                    </a:cubicBezTo>
                    <a:cubicBezTo>
                      <a:pt x="217191" y="0"/>
                      <a:pt x="220166" y="0"/>
                      <a:pt x="220166" y="2975"/>
                    </a:cubicBezTo>
                    <a:cubicBezTo>
                      <a:pt x="220166" y="2975"/>
                      <a:pt x="223141" y="8926"/>
                      <a:pt x="217191" y="17851"/>
                    </a:cubicBezTo>
                    <a:cubicBezTo>
                      <a:pt x="208264" y="38678"/>
                      <a:pt x="163636" y="71405"/>
                      <a:pt x="5951" y="107107"/>
                    </a:cubicBezTo>
                    <a:cubicBezTo>
                      <a:pt x="5951" y="107107"/>
                      <a:pt x="5951" y="107107"/>
                      <a:pt x="5951" y="1071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705ACADB-1535-4108-AB21-8A5B60E9D1E0}"/>
                  </a:ext>
                </a:extLst>
              </p:cNvPr>
              <p:cNvSpPr/>
              <p:nvPr/>
            </p:nvSpPr>
            <p:spPr>
              <a:xfrm>
                <a:off x="11653084" y="3541863"/>
                <a:ext cx="226115" cy="163636"/>
              </a:xfrm>
              <a:custGeom>
                <a:avLst/>
                <a:gdLst>
                  <a:gd name="connsiteX0" fmla="*/ 74380 w 226115"/>
                  <a:gd name="connsiteY0" fmla="*/ 163636 h 163636"/>
                  <a:gd name="connsiteX1" fmla="*/ 32727 w 226115"/>
                  <a:gd name="connsiteY1" fmla="*/ 163636 h 163636"/>
                  <a:gd name="connsiteX2" fmla="*/ 17851 w 226115"/>
                  <a:gd name="connsiteY2" fmla="*/ 148760 h 163636"/>
                  <a:gd name="connsiteX3" fmla="*/ 0 w 226115"/>
                  <a:gd name="connsiteY3" fmla="*/ 5950 h 163636"/>
                  <a:gd name="connsiteX4" fmla="*/ 5951 w 226115"/>
                  <a:gd name="connsiteY4" fmla="*/ 0 h 163636"/>
                  <a:gd name="connsiteX5" fmla="*/ 11901 w 226115"/>
                  <a:gd name="connsiteY5" fmla="*/ 5950 h 163636"/>
                  <a:gd name="connsiteX6" fmla="*/ 29752 w 226115"/>
                  <a:gd name="connsiteY6" fmla="*/ 148760 h 163636"/>
                  <a:gd name="connsiteX7" fmla="*/ 35703 w 226115"/>
                  <a:gd name="connsiteY7" fmla="*/ 154711 h 163636"/>
                  <a:gd name="connsiteX8" fmla="*/ 220165 w 226115"/>
                  <a:gd name="connsiteY8" fmla="*/ 145785 h 163636"/>
                  <a:gd name="connsiteX9" fmla="*/ 226116 w 226115"/>
                  <a:gd name="connsiteY9" fmla="*/ 148760 h 163636"/>
                  <a:gd name="connsiteX10" fmla="*/ 223141 w 226115"/>
                  <a:gd name="connsiteY10" fmla="*/ 154711 h 163636"/>
                  <a:gd name="connsiteX11" fmla="*/ 74380 w 226115"/>
                  <a:gd name="connsiteY11" fmla="*/ 163636 h 163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6115" h="163636">
                    <a:moveTo>
                      <a:pt x="74380" y="163636"/>
                    </a:moveTo>
                    <a:cubicBezTo>
                      <a:pt x="56529" y="163636"/>
                      <a:pt x="41653" y="163636"/>
                      <a:pt x="32727" y="163636"/>
                    </a:cubicBezTo>
                    <a:cubicBezTo>
                      <a:pt x="20827" y="163636"/>
                      <a:pt x="17851" y="154711"/>
                      <a:pt x="17851" y="148760"/>
                    </a:cubicBezTo>
                    <a:lnTo>
                      <a:pt x="0" y="5950"/>
                    </a:lnTo>
                    <a:cubicBezTo>
                      <a:pt x="0" y="2975"/>
                      <a:pt x="2975" y="0"/>
                      <a:pt x="5951" y="0"/>
                    </a:cubicBezTo>
                    <a:cubicBezTo>
                      <a:pt x="8925" y="0"/>
                      <a:pt x="11901" y="2975"/>
                      <a:pt x="11901" y="5950"/>
                    </a:cubicBezTo>
                    <a:lnTo>
                      <a:pt x="29752" y="148760"/>
                    </a:lnTo>
                    <a:cubicBezTo>
                      <a:pt x="29752" y="151735"/>
                      <a:pt x="29752" y="154711"/>
                      <a:pt x="35703" y="154711"/>
                    </a:cubicBezTo>
                    <a:cubicBezTo>
                      <a:pt x="59504" y="154711"/>
                      <a:pt x="145785" y="157686"/>
                      <a:pt x="220165" y="145785"/>
                    </a:cubicBezTo>
                    <a:cubicBezTo>
                      <a:pt x="223141" y="145785"/>
                      <a:pt x="226116" y="145785"/>
                      <a:pt x="226116" y="148760"/>
                    </a:cubicBezTo>
                    <a:cubicBezTo>
                      <a:pt x="226116" y="151735"/>
                      <a:pt x="226116" y="154711"/>
                      <a:pt x="223141" y="154711"/>
                    </a:cubicBezTo>
                    <a:cubicBezTo>
                      <a:pt x="169587" y="160661"/>
                      <a:pt x="113057" y="163636"/>
                      <a:pt x="74380" y="16363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C6DE92A0-FA7E-40D2-A057-3E0B9DEA27E5}"/>
                </a:ext>
              </a:extLst>
            </p:cNvPr>
            <p:cNvSpPr/>
            <p:nvPr/>
          </p:nvSpPr>
          <p:spPr>
            <a:xfrm>
              <a:off x="14774075" y="3161037"/>
              <a:ext cx="767603" cy="767603"/>
            </a:xfrm>
            <a:custGeom>
              <a:avLst/>
              <a:gdLst>
                <a:gd name="connsiteX0" fmla="*/ 383801 w 767603"/>
                <a:gd name="connsiteY0" fmla="*/ 0 h 767603"/>
                <a:gd name="connsiteX1" fmla="*/ 767604 w 767603"/>
                <a:gd name="connsiteY1" fmla="*/ 383802 h 767603"/>
                <a:gd name="connsiteX2" fmla="*/ 598017 w 767603"/>
                <a:gd name="connsiteY2" fmla="*/ 702149 h 767603"/>
                <a:gd name="connsiteX3" fmla="*/ 383801 w 767603"/>
                <a:gd name="connsiteY3" fmla="*/ 767603 h 767603"/>
                <a:gd name="connsiteX4" fmla="*/ 130909 w 767603"/>
                <a:gd name="connsiteY4" fmla="*/ 672397 h 767603"/>
                <a:gd name="connsiteX5" fmla="*/ 0 w 767603"/>
                <a:gd name="connsiteY5" fmla="*/ 383802 h 767603"/>
                <a:gd name="connsiteX6" fmla="*/ 383801 w 767603"/>
                <a:gd name="connsiteY6" fmla="*/ 0 h 767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7603" h="767603">
                  <a:moveTo>
                    <a:pt x="383801" y="0"/>
                  </a:moveTo>
                  <a:cubicBezTo>
                    <a:pt x="595041" y="0"/>
                    <a:pt x="767604" y="172562"/>
                    <a:pt x="767604" y="383802"/>
                  </a:cubicBezTo>
                  <a:cubicBezTo>
                    <a:pt x="767604" y="511736"/>
                    <a:pt x="705124" y="630744"/>
                    <a:pt x="598017" y="702149"/>
                  </a:cubicBezTo>
                  <a:cubicBezTo>
                    <a:pt x="535537" y="743802"/>
                    <a:pt x="461157" y="767603"/>
                    <a:pt x="383801" y="767603"/>
                  </a:cubicBezTo>
                  <a:cubicBezTo>
                    <a:pt x="291571" y="767603"/>
                    <a:pt x="199339" y="734876"/>
                    <a:pt x="130909" y="672397"/>
                  </a:cubicBezTo>
                  <a:cubicBezTo>
                    <a:pt x="47603" y="598017"/>
                    <a:pt x="0" y="493884"/>
                    <a:pt x="0" y="383802"/>
                  </a:cubicBezTo>
                  <a:cubicBezTo>
                    <a:pt x="0" y="172562"/>
                    <a:pt x="172563" y="0"/>
                    <a:pt x="383801" y="0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7FCA9775-0D74-4234-9A0E-ED73D333B63E}"/>
                </a:ext>
              </a:extLst>
            </p:cNvPr>
            <p:cNvSpPr/>
            <p:nvPr/>
          </p:nvSpPr>
          <p:spPr>
            <a:xfrm>
              <a:off x="15243700" y="3410954"/>
              <a:ext cx="48061" cy="47603"/>
            </a:xfrm>
            <a:custGeom>
              <a:avLst/>
              <a:gdLst>
                <a:gd name="connsiteX0" fmla="*/ 24260 w 48061"/>
                <a:gd name="connsiteY0" fmla="*/ 0 h 47603"/>
                <a:gd name="connsiteX1" fmla="*/ 48062 w 48061"/>
                <a:gd name="connsiteY1" fmla="*/ 23802 h 47603"/>
                <a:gd name="connsiteX2" fmla="*/ 24260 w 48061"/>
                <a:gd name="connsiteY2" fmla="*/ 47603 h 47603"/>
                <a:gd name="connsiteX3" fmla="*/ 459 w 48061"/>
                <a:gd name="connsiteY3" fmla="*/ 23802 h 47603"/>
                <a:gd name="connsiteX4" fmla="*/ 24260 w 48061"/>
                <a:gd name="connsiteY4" fmla="*/ 0 h 47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061" h="47603">
                  <a:moveTo>
                    <a:pt x="24260" y="0"/>
                  </a:moveTo>
                  <a:cubicBezTo>
                    <a:pt x="39136" y="0"/>
                    <a:pt x="48062" y="11901"/>
                    <a:pt x="48062" y="23802"/>
                  </a:cubicBezTo>
                  <a:cubicBezTo>
                    <a:pt x="48062" y="38678"/>
                    <a:pt x="36161" y="47603"/>
                    <a:pt x="24260" y="47603"/>
                  </a:cubicBezTo>
                  <a:cubicBezTo>
                    <a:pt x="9384" y="47603"/>
                    <a:pt x="459" y="35703"/>
                    <a:pt x="459" y="23802"/>
                  </a:cubicBezTo>
                  <a:cubicBezTo>
                    <a:pt x="-2516" y="11901"/>
                    <a:pt x="9384" y="0"/>
                    <a:pt x="24260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EA718B7D-DF42-4E12-ACE9-847484B47616}"/>
                </a:ext>
              </a:extLst>
            </p:cNvPr>
            <p:cNvSpPr/>
            <p:nvPr/>
          </p:nvSpPr>
          <p:spPr>
            <a:xfrm>
              <a:off x="14972956" y="3381202"/>
              <a:ext cx="48062" cy="47603"/>
            </a:xfrm>
            <a:custGeom>
              <a:avLst/>
              <a:gdLst>
                <a:gd name="connsiteX0" fmla="*/ 24260 w 48062"/>
                <a:gd name="connsiteY0" fmla="*/ 0 h 47603"/>
                <a:gd name="connsiteX1" fmla="*/ 48063 w 48062"/>
                <a:gd name="connsiteY1" fmla="*/ 23802 h 47603"/>
                <a:gd name="connsiteX2" fmla="*/ 24260 w 48062"/>
                <a:gd name="connsiteY2" fmla="*/ 47603 h 47603"/>
                <a:gd name="connsiteX3" fmla="*/ 459 w 48062"/>
                <a:gd name="connsiteY3" fmla="*/ 23802 h 47603"/>
                <a:gd name="connsiteX4" fmla="*/ 24260 w 48062"/>
                <a:gd name="connsiteY4" fmla="*/ 0 h 47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062" h="47603">
                  <a:moveTo>
                    <a:pt x="24260" y="0"/>
                  </a:moveTo>
                  <a:cubicBezTo>
                    <a:pt x="39136" y="0"/>
                    <a:pt x="48063" y="11901"/>
                    <a:pt x="48063" y="23802"/>
                  </a:cubicBezTo>
                  <a:cubicBezTo>
                    <a:pt x="48063" y="38678"/>
                    <a:pt x="36161" y="47603"/>
                    <a:pt x="24260" y="47603"/>
                  </a:cubicBezTo>
                  <a:cubicBezTo>
                    <a:pt x="9384" y="47603"/>
                    <a:pt x="459" y="35703"/>
                    <a:pt x="459" y="23802"/>
                  </a:cubicBezTo>
                  <a:cubicBezTo>
                    <a:pt x="-2516" y="11901"/>
                    <a:pt x="9384" y="0"/>
                    <a:pt x="24260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93985BA2-A0D6-4883-AD03-D9D621D5F701}"/>
                </a:ext>
              </a:extLst>
            </p:cNvPr>
            <p:cNvSpPr/>
            <p:nvPr/>
          </p:nvSpPr>
          <p:spPr>
            <a:xfrm>
              <a:off x="14974435" y="3751149"/>
              <a:ext cx="304404" cy="64433"/>
            </a:xfrm>
            <a:custGeom>
              <a:avLst/>
              <a:gdLst>
                <a:gd name="connsiteX0" fmla="*/ 150715 w 304404"/>
                <a:gd name="connsiteY0" fmla="*/ 64434 h 64433"/>
                <a:gd name="connsiteX1" fmla="*/ 299475 w 304404"/>
                <a:gd name="connsiteY1" fmla="*/ 19805 h 64433"/>
                <a:gd name="connsiteX2" fmla="*/ 302450 w 304404"/>
                <a:gd name="connsiteY2" fmla="*/ 4929 h 64433"/>
                <a:gd name="connsiteX3" fmla="*/ 287574 w 304404"/>
                <a:gd name="connsiteY3" fmla="*/ 1954 h 64433"/>
                <a:gd name="connsiteX4" fmla="*/ 16830 w 304404"/>
                <a:gd name="connsiteY4" fmla="*/ 1954 h 64433"/>
                <a:gd name="connsiteX5" fmla="*/ 1954 w 304404"/>
                <a:gd name="connsiteY5" fmla="*/ 4929 h 64433"/>
                <a:gd name="connsiteX6" fmla="*/ 4929 w 304404"/>
                <a:gd name="connsiteY6" fmla="*/ 19805 h 64433"/>
                <a:gd name="connsiteX7" fmla="*/ 150715 w 304404"/>
                <a:gd name="connsiteY7" fmla="*/ 64434 h 6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4404" h="64433">
                  <a:moveTo>
                    <a:pt x="150715" y="64434"/>
                  </a:moveTo>
                  <a:cubicBezTo>
                    <a:pt x="239971" y="64434"/>
                    <a:pt x="299475" y="19805"/>
                    <a:pt x="299475" y="19805"/>
                  </a:cubicBezTo>
                  <a:cubicBezTo>
                    <a:pt x="305425" y="16830"/>
                    <a:pt x="305425" y="7905"/>
                    <a:pt x="302450" y="4929"/>
                  </a:cubicBezTo>
                  <a:cubicBezTo>
                    <a:pt x="299475" y="-1021"/>
                    <a:pt x="290549" y="-1021"/>
                    <a:pt x="287574" y="1954"/>
                  </a:cubicBezTo>
                  <a:cubicBezTo>
                    <a:pt x="281624" y="4929"/>
                    <a:pt x="162615" y="94186"/>
                    <a:pt x="16830" y="1954"/>
                  </a:cubicBezTo>
                  <a:cubicBezTo>
                    <a:pt x="10880" y="-1021"/>
                    <a:pt x="4929" y="-1021"/>
                    <a:pt x="1954" y="4929"/>
                  </a:cubicBezTo>
                  <a:cubicBezTo>
                    <a:pt x="-1021" y="10880"/>
                    <a:pt x="-1021" y="16830"/>
                    <a:pt x="4929" y="19805"/>
                  </a:cubicBezTo>
                  <a:cubicBezTo>
                    <a:pt x="55508" y="55508"/>
                    <a:pt x="106087" y="64434"/>
                    <a:pt x="150715" y="64434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8" name="图形 1">
              <a:extLst>
                <a:ext uri="{FF2B5EF4-FFF2-40B4-BE49-F238E27FC236}">
                  <a16:creationId xmlns:a16="http://schemas.microsoft.com/office/drawing/2014/main" id="{97ADF30C-5550-4EB8-A9A4-454A59E5378C}"/>
                </a:ext>
              </a:extLst>
            </p:cNvPr>
            <p:cNvGrpSpPr/>
            <p:nvPr/>
          </p:nvGrpSpPr>
          <p:grpSpPr>
            <a:xfrm>
              <a:off x="11419716" y="3483721"/>
              <a:ext cx="382697" cy="249139"/>
              <a:chOff x="11419716" y="3483721"/>
              <a:chExt cx="382697" cy="249139"/>
            </a:xfrm>
          </p:grpSpPr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A5A1294A-2F2B-41E8-A242-BBA0330D0980}"/>
                  </a:ext>
                </a:extLst>
              </p:cNvPr>
              <p:cNvSpPr/>
              <p:nvPr/>
            </p:nvSpPr>
            <p:spPr>
              <a:xfrm>
                <a:off x="11419716" y="3486239"/>
                <a:ext cx="382697" cy="246621"/>
              </a:xfrm>
              <a:custGeom>
                <a:avLst/>
                <a:gdLst>
                  <a:gd name="connsiteX0" fmla="*/ 69731 w 382697"/>
                  <a:gd name="connsiteY0" fmla="*/ 243063 h 246621"/>
                  <a:gd name="connsiteX1" fmla="*/ 161963 w 382697"/>
                  <a:gd name="connsiteY1" fmla="*/ 219261 h 246621"/>
                  <a:gd name="connsiteX2" fmla="*/ 260144 w 382697"/>
                  <a:gd name="connsiteY2" fmla="*/ 207360 h 246621"/>
                  <a:gd name="connsiteX3" fmla="*/ 310723 w 382697"/>
                  <a:gd name="connsiteY3" fmla="*/ 186534 h 246621"/>
                  <a:gd name="connsiteX4" fmla="*/ 248244 w 382697"/>
                  <a:gd name="connsiteY4" fmla="*/ 165707 h 246621"/>
                  <a:gd name="connsiteX5" fmla="*/ 301797 w 382697"/>
                  <a:gd name="connsiteY5" fmla="*/ 150831 h 246621"/>
                  <a:gd name="connsiteX6" fmla="*/ 367252 w 382697"/>
                  <a:gd name="connsiteY6" fmla="*/ 115129 h 246621"/>
                  <a:gd name="connsiteX7" fmla="*/ 361301 w 382697"/>
                  <a:gd name="connsiteY7" fmla="*/ 100253 h 246621"/>
                  <a:gd name="connsiteX8" fmla="*/ 382128 w 382697"/>
                  <a:gd name="connsiteY8" fmla="*/ 76451 h 246621"/>
                  <a:gd name="connsiteX9" fmla="*/ 322624 w 382697"/>
                  <a:gd name="connsiteY9" fmla="*/ 52650 h 246621"/>
                  <a:gd name="connsiteX10" fmla="*/ 263120 w 382697"/>
                  <a:gd name="connsiteY10" fmla="*/ 55625 h 246621"/>
                  <a:gd name="connsiteX11" fmla="*/ 301797 w 382697"/>
                  <a:gd name="connsiteY11" fmla="*/ 34798 h 246621"/>
                  <a:gd name="connsiteX12" fmla="*/ 313698 w 382697"/>
                  <a:gd name="connsiteY12" fmla="*/ 16947 h 246621"/>
                  <a:gd name="connsiteX13" fmla="*/ 239318 w 382697"/>
                  <a:gd name="connsiteY13" fmla="*/ 8021 h 246621"/>
                  <a:gd name="connsiteX14" fmla="*/ 1302 w 382697"/>
                  <a:gd name="connsiteY14" fmla="*/ 106203 h 246621"/>
                  <a:gd name="connsiteX15" fmla="*/ 25103 w 382697"/>
                  <a:gd name="connsiteY15" fmla="*/ 231162 h 246621"/>
                  <a:gd name="connsiteX16" fmla="*/ 69731 w 382697"/>
                  <a:gd name="connsiteY16" fmla="*/ 243063 h 246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82697" h="246621">
                    <a:moveTo>
                      <a:pt x="69731" y="243063"/>
                    </a:moveTo>
                    <a:cubicBezTo>
                      <a:pt x="99483" y="237112"/>
                      <a:pt x="132211" y="225211"/>
                      <a:pt x="161963" y="219261"/>
                    </a:cubicBezTo>
                    <a:cubicBezTo>
                      <a:pt x="194690" y="213311"/>
                      <a:pt x="227417" y="213311"/>
                      <a:pt x="260144" y="207360"/>
                    </a:cubicBezTo>
                    <a:cubicBezTo>
                      <a:pt x="272045" y="204385"/>
                      <a:pt x="304772" y="201410"/>
                      <a:pt x="310723" y="186534"/>
                    </a:cubicBezTo>
                    <a:cubicBezTo>
                      <a:pt x="319648" y="165707"/>
                      <a:pt x="280971" y="162732"/>
                      <a:pt x="248244" y="165707"/>
                    </a:cubicBezTo>
                    <a:cubicBezTo>
                      <a:pt x="266095" y="162732"/>
                      <a:pt x="283946" y="156782"/>
                      <a:pt x="301797" y="150831"/>
                    </a:cubicBezTo>
                    <a:cubicBezTo>
                      <a:pt x="319648" y="144881"/>
                      <a:pt x="361301" y="132980"/>
                      <a:pt x="367252" y="115129"/>
                    </a:cubicBezTo>
                    <a:cubicBezTo>
                      <a:pt x="370227" y="109178"/>
                      <a:pt x="367252" y="103228"/>
                      <a:pt x="361301" y="100253"/>
                    </a:cubicBezTo>
                    <a:cubicBezTo>
                      <a:pt x="376177" y="94302"/>
                      <a:pt x="385103" y="85377"/>
                      <a:pt x="382128" y="76451"/>
                    </a:cubicBezTo>
                    <a:cubicBezTo>
                      <a:pt x="376177" y="55625"/>
                      <a:pt x="337500" y="52650"/>
                      <a:pt x="322624" y="52650"/>
                    </a:cubicBezTo>
                    <a:cubicBezTo>
                      <a:pt x="301797" y="52650"/>
                      <a:pt x="280971" y="52650"/>
                      <a:pt x="263120" y="55625"/>
                    </a:cubicBezTo>
                    <a:cubicBezTo>
                      <a:pt x="277996" y="49674"/>
                      <a:pt x="289896" y="43724"/>
                      <a:pt x="301797" y="34798"/>
                    </a:cubicBezTo>
                    <a:cubicBezTo>
                      <a:pt x="307748" y="31823"/>
                      <a:pt x="316673" y="25873"/>
                      <a:pt x="313698" y="16947"/>
                    </a:cubicBezTo>
                    <a:cubicBezTo>
                      <a:pt x="310723" y="-12805"/>
                      <a:pt x="251219" y="5046"/>
                      <a:pt x="239318" y="8021"/>
                    </a:cubicBezTo>
                    <a:cubicBezTo>
                      <a:pt x="156012" y="28848"/>
                      <a:pt x="78656" y="73476"/>
                      <a:pt x="1302" y="106203"/>
                    </a:cubicBezTo>
                    <a:cubicBezTo>
                      <a:pt x="-1674" y="103228"/>
                      <a:pt x="-1674" y="198435"/>
                      <a:pt x="25103" y="231162"/>
                    </a:cubicBezTo>
                    <a:cubicBezTo>
                      <a:pt x="37004" y="249013"/>
                      <a:pt x="42954" y="249013"/>
                      <a:pt x="69731" y="24306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63361185-9099-4E1B-A9B7-EC2F70FB3C06}"/>
                  </a:ext>
                </a:extLst>
              </p:cNvPr>
              <p:cNvSpPr/>
              <p:nvPr/>
            </p:nvSpPr>
            <p:spPr>
              <a:xfrm>
                <a:off x="11554902" y="3483721"/>
                <a:ext cx="181486" cy="87894"/>
              </a:xfrm>
              <a:custGeom>
                <a:avLst/>
                <a:gdLst>
                  <a:gd name="connsiteX0" fmla="*/ 44628 w 181486"/>
                  <a:gd name="connsiteY0" fmla="*/ 84920 h 87894"/>
                  <a:gd name="connsiteX1" fmla="*/ 41653 w 181486"/>
                  <a:gd name="connsiteY1" fmla="*/ 84920 h 87894"/>
                  <a:gd name="connsiteX2" fmla="*/ 41653 w 181486"/>
                  <a:gd name="connsiteY2" fmla="*/ 75994 h 87894"/>
                  <a:gd name="connsiteX3" fmla="*/ 121983 w 181486"/>
                  <a:gd name="connsiteY3" fmla="*/ 49217 h 87894"/>
                  <a:gd name="connsiteX4" fmla="*/ 169586 w 181486"/>
                  <a:gd name="connsiteY4" fmla="*/ 16490 h 87894"/>
                  <a:gd name="connsiteX5" fmla="*/ 166611 w 181486"/>
                  <a:gd name="connsiteY5" fmla="*/ 13515 h 87894"/>
                  <a:gd name="connsiteX6" fmla="*/ 5950 w 181486"/>
                  <a:gd name="connsiteY6" fmla="*/ 49217 h 87894"/>
                  <a:gd name="connsiteX7" fmla="*/ 0 w 181486"/>
                  <a:gd name="connsiteY7" fmla="*/ 46242 h 87894"/>
                  <a:gd name="connsiteX8" fmla="*/ 2974 w 181486"/>
                  <a:gd name="connsiteY8" fmla="*/ 40291 h 87894"/>
                  <a:gd name="connsiteX9" fmla="*/ 175537 w 181486"/>
                  <a:gd name="connsiteY9" fmla="*/ 7564 h 87894"/>
                  <a:gd name="connsiteX10" fmla="*/ 181487 w 181486"/>
                  <a:gd name="connsiteY10" fmla="*/ 22440 h 87894"/>
                  <a:gd name="connsiteX11" fmla="*/ 124958 w 181486"/>
                  <a:gd name="connsiteY11" fmla="*/ 64093 h 87894"/>
                  <a:gd name="connsiteX12" fmla="*/ 50578 w 181486"/>
                  <a:gd name="connsiteY12" fmla="*/ 87895 h 87894"/>
                  <a:gd name="connsiteX13" fmla="*/ 44628 w 181486"/>
                  <a:gd name="connsiteY13" fmla="*/ 84920 h 87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1486" h="87894">
                    <a:moveTo>
                      <a:pt x="44628" y="84920"/>
                    </a:moveTo>
                    <a:cubicBezTo>
                      <a:pt x="44628" y="84920"/>
                      <a:pt x="41653" y="84920"/>
                      <a:pt x="41653" y="84920"/>
                    </a:cubicBezTo>
                    <a:cubicBezTo>
                      <a:pt x="38677" y="81944"/>
                      <a:pt x="38677" y="78969"/>
                      <a:pt x="41653" y="75994"/>
                    </a:cubicBezTo>
                    <a:cubicBezTo>
                      <a:pt x="50578" y="67068"/>
                      <a:pt x="107107" y="52192"/>
                      <a:pt x="121983" y="49217"/>
                    </a:cubicBezTo>
                    <a:cubicBezTo>
                      <a:pt x="133884" y="46242"/>
                      <a:pt x="166611" y="34341"/>
                      <a:pt x="169586" y="16490"/>
                    </a:cubicBezTo>
                    <a:cubicBezTo>
                      <a:pt x="169586" y="16490"/>
                      <a:pt x="169586" y="13515"/>
                      <a:pt x="166611" y="13515"/>
                    </a:cubicBezTo>
                    <a:cubicBezTo>
                      <a:pt x="154710" y="4589"/>
                      <a:pt x="95206" y="7564"/>
                      <a:pt x="5950" y="49217"/>
                    </a:cubicBezTo>
                    <a:cubicBezTo>
                      <a:pt x="2974" y="49217"/>
                      <a:pt x="0" y="49217"/>
                      <a:pt x="0" y="46242"/>
                    </a:cubicBezTo>
                    <a:cubicBezTo>
                      <a:pt x="0" y="43267"/>
                      <a:pt x="0" y="40291"/>
                      <a:pt x="2974" y="40291"/>
                    </a:cubicBezTo>
                    <a:cubicBezTo>
                      <a:pt x="80330" y="4589"/>
                      <a:pt x="154710" y="-10287"/>
                      <a:pt x="175537" y="7564"/>
                    </a:cubicBezTo>
                    <a:cubicBezTo>
                      <a:pt x="181487" y="10539"/>
                      <a:pt x="181487" y="16490"/>
                      <a:pt x="181487" y="22440"/>
                    </a:cubicBezTo>
                    <a:cubicBezTo>
                      <a:pt x="178512" y="49217"/>
                      <a:pt x="130909" y="61118"/>
                      <a:pt x="124958" y="64093"/>
                    </a:cubicBezTo>
                    <a:cubicBezTo>
                      <a:pt x="92231" y="70044"/>
                      <a:pt x="53553" y="81944"/>
                      <a:pt x="50578" y="87895"/>
                    </a:cubicBezTo>
                    <a:cubicBezTo>
                      <a:pt x="47603" y="84920"/>
                      <a:pt x="47603" y="84920"/>
                      <a:pt x="44628" y="8492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F3090523-C99F-481B-A783-67C1AFA2C004}"/>
                  </a:ext>
                </a:extLst>
              </p:cNvPr>
              <p:cNvSpPr/>
              <p:nvPr/>
            </p:nvSpPr>
            <p:spPr>
              <a:xfrm>
                <a:off x="11614406" y="3583516"/>
                <a:ext cx="169586" cy="26776"/>
              </a:xfrm>
              <a:custGeom>
                <a:avLst/>
                <a:gdLst>
                  <a:gd name="connsiteX0" fmla="*/ 5950 w 169586"/>
                  <a:gd name="connsiteY0" fmla="*/ 26777 h 26776"/>
                  <a:gd name="connsiteX1" fmla="*/ 0 w 169586"/>
                  <a:gd name="connsiteY1" fmla="*/ 23802 h 26776"/>
                  <a:gd name="connsiteX2" fmla="*/ 2974 w 169586"/>
                  <a:gd name="connsiteY2" fmla="*/ 17851 h 26776"/>
                  <a:gd name="connsiteX3" fmla="*/ 163636 w 169586"/>
                  <a:gd name="connsiteY3" fmla="*/ 0 h 26776"/>
                  <a:gd name="connsiteX4" fmla="*/ 163636 w 169586"/>
                  <a:gd name="connsiteY4" fmla="*/ 0 h 26776"/>
                  <a:gd name="connsiteX5" fmla="*/ 169586 w 169586"/>
                  <a:gd name="connsiteY5" fmla="*/ 5950 h 26776"/>
                  <a:gd name="connsiteX6" fmla="*/ 163636 w 169586"/>
                  <a:gd name="connsiteY6" fmla="*/ 11901 h 26776"/>
                  <a:gd name="connsiteX7" fmla="*/ 5950 w 169586"/>
                  <a:gd name="connsiteY7" fmla="*/ 26777 h 26776"/>
                  <a:gd name="connsiteX8" fmla="*/ 5950 w 169586"/>
                  <a:gd name="connsiteY8" fmla="*/ 26777 h 26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9586" h="26776">
                    <a:moveTo>
                      <a:pt x="5950" y="26777"/>
                    </a:moveTo>
                    <a:cubicBezTo>
                      <a:pt x="2974" y="26777"/>
                      <a:pt x="2974" y="26777"/>
                      <a:pt x="0" y="23802"/>
                    </a:cubicBezTo>
                    <a:cubicBezTo>
                      <a:pt x="0" y="20826"/>
                      <a:pt x="0" y="17851"/>
                      <a:pt x="2974" y="17851"/>
                    </a:cubicBezTo>
                    <a:cubicBezTo>
                      <a:pt x="35702" y="0"/>
                      <a:pt x="160661" y="0"/>
                      <a:pt x="163636" y="0"/>
                    </a:cubicBezTo>
                    <a:cubicBezTo>
                      <a:pt x="163636" y="0"/>
                      <a:pt x="163636" y="0"/>
                      <a:pt x="163636" y="0"/>
                    </a:cubicBezTo>
                    <a:cubicBezTo>
                      <a:pt x="166611" y="0"/>
                      <a:pt x="169586" y="2975"/>
                      <a:pt x="169586" y="5950"/>
                    </a:cubicBezTo>
                    <a:cubicBezTo>
                      <a:pt x="169586" y="8926"/>
                      <a:pt x="166611" y="11901"/>
                      <a:pt x="163636" y="11901"/>
                    </a:cubicBezTo>
                    <a:cubicBezTo>
                      <a:pt x="163636" y="8926"/>
                      <a:pt x="38677" y="8926"/>
                      <a:pt x="5950" y="26777"/>
                    </a:cubicBezTo>
                    <a:cubicBezTo>
                      <a:pt x="8925" y="26777"/>
                      <a:pt x="5950" y="26777"/>
                      <a:pt x="5950" y="26777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5355E589-5E55-497A-AB4B-E7DE1833FD81}"/>
                  </a:ext>
                </a:extLst>
              </p:cNvPr>
              <p:cNvSpPr/>
              <p:nvPr/>
            </p:nvSpPr>
            <p:spPr>
              <a:xfrm>
                <a:off x="11608456" y="3648971"/>
                <a:ext cx="59504" cy="20826"/>
              </a:xfrm>
              <a:custGeom>
                <a:avLst/>
                <a:gdLst>
                  <a:gd name="connsiteX0" fmla="*/ 5951 w 59504"/>
                  <a:gd name="connsiteY0" fmla="*/ 20826 h 20826"/>
                  <a:gd name="connsiteX1" fmla="*/ 0 w 59504"/>
                  <a:gd name="connsiteY1" fmla="*/ 17851 h 20826"/>
                  <a:gd name="connsiteX2" fmla="*/ 2975 w 59504"/>
                  <a:gd name="connsiteY2" fmla="*/ 11901 h 20826"/>
                  <a:gd name="connsiteX3" fmla="*/ 53553 w 59504"/>
                  <a:gd name="connsiteY3" fmla="*/ 0 h 20826"/>
                  <a:gd name="connsiteX4" fmla="*/ 59504 w 59504"/>
                  <a:gd name="connsiteY4" fmla="*/ 2975 h 20826"/>
                  <a:gd name="connsiteX5" fmla="*/ 56529 w 59504"/>
                  <a:gd name="connsiteY5" fmla="*/ 8926 h 20826"/>
                  <a:gd name="connsiteX6" fmla="*/ 5951 w 59504"/>
                  <a:gd name="connsiteY6" fmla="*/ 20826 h 20826"/>
                  <a:gd name="connsiteX7" fmla="*/ 5951 w 59504"/>
                  <a:gd name="connsiteY7" fmla="*/ 20826 h 20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504" h="20826">
                    <a:moveTo>
                      <a:pt x="5951" y="20826"/>
                    </a:moveTo>
                    <a:cubicBezTo>
                      <a:pt x="2975" y="20826"/>
                      <a:pt x="0" y="17851"/>
                      <a:pt x="0" y="17851"/>
                    </a:cubicBezTo>
                    <a:cubicBezTo>
                      <a:pt x="0" y="14876"/>
                      <a:pt x="0" y="11901"/>
                      <a:pt x="2975" y="11901"/>
                    </a:cubicBezTo>
                    <a:lnTo>
                      <a:pt x="53553" y="0"/>
                    </a:lnTo>
                    <a:cubicBezTo>
                      <a:pt x="56529" y="0"/>
                      <a:pt x="59504" y="0"/>
                      <a:pt x="59504" y="2975"/>
                    </a:cubicBezTo>
                    <a:cubicBezTo>
                      <a:pt x="59504" y="5950"/>
                      <a:pt x="59504" y="8926"/>
                      <a:pt x="56529" y="8926"/>
                    </a:cubicBezTo>
                    <a:lnTo>
                      <a:pt x="5951" y="20826"/>
                    </a:lnTo>
                    <a:cubicBezTo>
                      <a:pt x="8925" y="20826"/>
                      <a:pt x="5951" y="20826"/>
                      <a:pt x="5951" y="2082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41C5493F-7440-4FDD-A8FA-4BF7820B5B5D}"/>
                  </a:ext>
                </a:extLst>
              </p:cNvPr>
              <p:cNvSpPr/>
              <p:nvPr/>
            </p:nvSpPr>
            <p:spPr>
              <a:xfrm>
                <a:off x="11534819" y="3575334"/>
                <a:ext cx="41577" cy="106363"/>
              </a:xfrm>
              <a:custGeom>
                <a:avLst/>
                <a:gdLst>
                  <a:gd name="connsiteX0" fmla="*/ 34959 w 41577"/>
                  <a:gd name="connsiteY0" fmla="*/ 106364 h 106363"/>
                  <a:gd name="connsiteX1" fmla="*/ 34959 w 41577"/>
                  <a:gd name="connsiteY1" fmla="*/ 106364 h 106363"/>
                  <a:gd name="connsiteX2" fmla="*/ 29008 w 41577"/>
                  <a:gd name="connsiteY2" fmla="*/ 100413 h 106363"/>
                  <a:gd name="connsiteX3" fmla="*/ 2232 w 41577"/>
                  <a:gd name="connsiteY3" fmla="*/ 11157 h 106363"/>
                  <a:gd name="connsiteX4" fmla="*/ 2232 w 41577"/>
                  <a:gd name="connsiteY4" fmla="*/ 2231 h 106363"/>
                  <a:gd name="connsiteX5" fmla="*/ 11157 w 41577"/>
                  <a:gd name="connsiteY5" fmla="*/ 2231 h 106363"/>
                  <a:gd name="connsiteX6" fmla="*/ 40909 w 41577"/>
                  <a:gd name="connsiteY6" fmla="*/ 100413 h 106363"/>
                  <a:gd name="connsiteX7" fmla="*/ 34959 w 41577"/>
                  <a:gd name="connsiteY7" fmla="*/ 106364 h 10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77" h="106363">
                    <a:moveTo>
                      <a:pt x="34959" y="106364"/>
                    </a:moveTo>
                    <a:cubicBezTo>
                      <a:pt x="34959" y="106364"/>
                      <a:pt x="34959" y="106364"/>
                      <a:pt x="34959" y="106364"/>
                    </a:cubicBezTo>
                    <a:cubicBezTo>
                      <a:pt x="31984" y="106364"/>
                      <a:pt x="29008" y="103388"/>
                      <a:pt x="29008" y="100413"/>
                    </a:cubicBezTo>
                    <a:cubicBezTo>
                      <a:pt x="34959" y="49835"/>
                      <a:pt x="2232" y="11157"/>
                      <a:pt x="2232" y="11157"/>
                    </a:cubicBezTo>
                    <a:cubicBezTo>
                      <a:pt x="-744" y="8182"/>
                      <a:pt x="-744" y="5207"/>
                      <a:pt x="2232" y="2231"/>
                    </a:cubicBezTo>
                    <a:cubicBezTo>
                      <a:pt x="5207" y="-744"/>
                      <a:pt x="8181" y="-744"/>
                      <a:pt x="11157" y="2231"/>
                    </a:cubicBezTo>
                    <a:cubicBezTo>
                      <a:pt x="11157" y="5207"/>
                      <a:pt x="46860" y="43884"/>
                      <a:pt x="40909" y="100413"/>
                    </a:cubicBezTo>
                    <a:cubicBezTo>
                      <a:pt x="40909" y="103388"/>
                      <a:pt x="37933" y="106364"/>
                      <a:pt x="34959" y="106364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9" name="图形 1">
              <a:extLst>
                <a:ext uri="{FF2B5EF4-FFF2-40B4-BE49-F238E27FC236}">
                  <a16:creationId xmlns:a16="http://schemas.microsoft.com/office/drawing/2014/main" id="{C9623912-AD9A-4511-AF0F-7CCCE5719AC5}"/>
                </a:ext>
              </a:extLst>
            </p:cNvPr>
            <p:cNvGrpSpPr/>
            <p:nvPr/>
          </p:nvGrpSpPr>
          <p:grpSpPr>
            <a:xfrm>
              <a:off x="12111583" y="3377394"/>
              <a:ext cx="145467" cy="191246"/>
              <a:chOff x="12111583" y="3377394"/>
              <a:chExt cx="145467" cy="191246"/>
            </a:xfrm>
          </p:grpSpPr>
          <p:grpSp>
            <p:nvGrpSpPr>
              <p:cNvPr id="107" name="图形 1">
                <a:extLst>
                  <a:ext uri="{FF2B5EF4-FFF2-40B4-BE49-F238E27FC236}">
                    <a16:creationId xmlns:a16="http://schemas.microsoft.com/office/drawing/2014/main" id="{59AE6B67-21F5-4DEF-8029-4BD30D09BC1C}"/>
                  </a:ext>
                </a:extLst>
              </p:cNvPr>
              <p:cNvGrpSpPr/>
              <p:nvPr/>
            </p:nvGrpSpPr>
            <p:grpSpPr>
              <a:xfrm>
                <a:off x="12111583" y="3377394"/>
                <a:ext cx="145467" cy="179345"/>
                <a:chOff x="12111583" y="3377394"/>
                <a:chExt cx="145467" cy="179345"/>
              </a:xfrm>
            </p:grpSpPr>
            <p:sp>
              <p:nvSpPr>
                <p:cNvPr id="109" name="任意多边形: 形状 108">
                  <a:extLst>
                    <a:ext uri="{FF2B5EF4-FFF2-40B4-BE49-F238E27FC236}">
                      <a16:creationId xmlns:a16="http://schemas.microsoft.com/office/drawing/2014/main" id="{16079192-B658-4737-B1B0-921B1484BCC1}"/>
                    </a:ext>
                  </a:extLst>
                </p:cNvPr>
                <p:cNvSpPr/>
                <p:nvPr/>
              </p:nvSpPr>
              <p:spPr>
                <a:xfrm>
                  <a:off x="12111583" y="3377394"/>
                  <a:ext cx="116473" cy="73413"/>
                </a:xfrm>
                <a:custGeom>
                  <a:avLst/>
                  <a:gdLst>
                    <a:gd name="connsiteX0" fmla="*/ 5634 w 116473"/>
                    <a:gd name="connsiteY0" fmla="*/ 27610 h 73413"/>
                    <a:gd name="connsiteX1" fmla="*/ 77038 w 116473"/>
                    <a:gd name="connsiteY1" fmla="*/ 3808 h 73413"/>
                    <a:gd name="connsiteX2" fmla="*/ 88939 w 116473"/>
                    <a:gd name="connsiteY2" fmla="*/ 833 h 73413"/>
                    <a:gd name="connsiteX3" fmla="*/ 100840 w 116473"/>
                    <a:gd name="connsiteY3" fmla="*/ 3808 h 73413"/>
                    <a:gd name="connsiteX4" fmla="*/ 115716 w 116473"/>
                    <a:gd name="connsiteY4" fmla="*/ 42486 h 73413"/>
                    <a:gd name="connsiteX5" fmla="*/ 85964 w 116473"/>
                    <a:gd name="connsiteY5" fmla="*/ 63312 h 73413"/>
                    <a:gd name="connsiteX6" fmla="*/ 38361 w 116473"/>
                    <a:gd name="connsiteY6" fmla="*/ 72238 h 73413"/>
                    <a:gd name="connsiteX7" fmla="*/ 5634 w 116473"/>
                    <a:gd name="connsiteY7" fmla="*/ 63312 h 73413"/>
                    <a:gd name="connsiteX8" fmla="*/ 5634 w 116473"/>
                    <a:gd name="connsiteY8" fmla="*/ 27610 h 73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6473" h="73413">
                      <a:moveTo>
                        <a:pt x="5634" y="27610"/>
                      </a:moveTo>
                      <a:cubicBezTo>
                        <a:pt x="23485" y="9759"/>
                        <a:pt x="50262" y="9759"/>
                        <a:pt x="77038" y="3808"/>
                      </a:cubicBezTo>
                      <a:cubicBezTo>
                        <a:pt x="80014" y="3808"/>
                        <a:pt x="85964" y="-2142"/>
                        <a:pt x="88939" y="833"/>
                      </a:cubicBezTo>
                      <a:cubicBezTo>
                        <a:pt x="91914" y="833"/>
                        <a:pt x="97865" y="833"/>
                        <a:pt x="100840" y="3808"/>
                      </a:cubicBezTo>
                      <a:cubicBezTo>
                        <a:pt x="112741" y="9759"/>
                        <a:pt x="118691" y="24635"/>
                        <a:pt x="115716" y="42486"/>
                      </a:cubicBezTo>
                      <a:cubicBezTo>
                        <a:pt x="112741" y="60337"/>
                        <a:pt x="94890" y="60337"/>
                        <a:pt x="85964" y="63312"/>
                      </a:cubicBezTo>
                      <a:cubicBezTo>
                        <a:pt x="71088" y="66288"/>
                        <a:pt x="56212" y="69263"/>
                        <a:pt x="38361" y="72238"/>
                      </a:cubicBezTo>
                      <a:cubicBezTo>
                        <a:pt x="29435" y="72238"/>
                        <a:pt x="14559" y="78188"/>
                        <a:pt x="5634" y="63312"/>
                      </a:cubicBezTo>
                      <a:cubicBezTo>
                        <a:pt x="-3293" y="54387"/>
                        <a:pt x="-317" y="36535"/>
                        <a:pt x="5634" y="27610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" name="任意多边形: 形状 109">
                  <a:extLst>
                    <a:ext uri="{FF2B5EF4-FFF2-40B4-BE49-F238E27FC236}">
                      <a16:creationId xmlns:a16="http://schemas.microsoft.com/office/drawing/2014/main" id="{2F08E41D-9B0D-49C0-AB8D-FC8C8D904F09}"/>
                    </a:ext>
                  </a:extLst>
                </p:cNvPr>
                <p:cNvSpPr/>
                <p:nvPr/>
              </p:nvSpPr>
              <p:spPr>
                <a:xfrm>
                  <a:off x="12128849" y="3419880"/>
                  <a:ext cx="117059" cy="72580"/>
                </a:xfrm>
                <a:custGeom>
                  <a:avLst/>
                  <a:gdLst>
                    <a:gd name="connsiteX0" fmla="*/ 6219 w 117059"/>
                    <a:gd name="connsiteY0" fmla="*/ 26777 h 72580"/>
                    <a:gd name="connsiteX1" fmla="*/ 83574 w 117059"/>
                    <a:gd name="connsiteY1" fmla="*/ 0 h 72580"/>
                    <a:gd name="connsiteX2" fmla="*/ 89524 w 117059"/>
                    <a:gd name="connsiteY2" fmla="*/ 0 h 72580"/>
                    <a:gd name="connsiteX3" fmla="*/ 101425 w 117059"/>
                    <a:gd name="connsiteY3" fmla="*/ 2975 h 72580"/>
                    <a:gd name="connsiteX4" fmla="*/ 116301 w 117059"/>
                    <a:gd name="connsiteY4" fmla="*/ 41653 h 72580"/>
                    <a:gd name="connsiteX5" fmla="*/ 83574 w 117059"/>
                    <a:gd name="connsiteY5" fmla="*/ 62479 h 72580"/>
                    <a:gd name="connsiteX6" fmla="*/ 35971 w 117059"/>
                    <a:gd name="connsiteY6" fmla="*/ 71405 h 72580"/>
                    <a:gd name="connsiteX7" fmla="*/ 3244 w 117059"/>
                    <a:gd name="connsiteY7" fmla="*/ 62479 h 72580"/>
                    <a:gd name="connsiteX8" fmla="*/ 6219 w 117059"/>
                    <a:gd name="connsiteY8" fmla="*/ 26777 h 72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7059" h="72580">
                      <a:moveTo>
                        <a:pt x="6219" y="26777"/>
                      </a:moveTo>
                      <a:cubicBezTo>
                        <a:pt x="27045" y="-2975"/>
                        <a:pt x="56797" y="5950"/>
                        <a:pt x="83574" y="0"/>
                      </a:cubicBezTo>
                      <a:cubicBezTo>
                        <a:pt x="86549" y="0"/>
                        <a:pt x="86549" y="0"/>
                        <a:pt x="89524" y="0"/>
                      </a:cubicBezTo>
                      <a:cubicBezTo>
                        <a:pt x="92500" y="0"/>
                        <a:pt x="98450" y="0"/>
                        <a:pt x="101425" y="2975"/>
                      </a:cubicBezTo>
                      <a:cubicBezTo>
                        <a:pt x="113326" y="8926"/>
                        <a:pt x="119277" y="23802"/>
                        <a:pt x="116301" y="41653"/>
                      </a:cubicBezTo>
                      <a:cubicBezTo>
                        <a:pt x="113326" y="59504"/>
                        <a:pt x="95475" y="59504"/>
                        <a:pt x="83574" y="62479"/>
                      </a:cubicBezTo>
                      <a:cubicBezTo>
                        <a:pt x="68698" y="65455"/>
                        <a:pt x="53822" y="68430"/>
                        <a:pt x="35971" y="71405"/>
                      </a:cubicBezTo>
                      <a:cubicBezTo>
                        <a:pt x="27045" y="71405"/>
                        <a:pt x="12169" y="77355"/>
                        <a:pt x="3244" y="62479"/>
                      </a:cubicBezTo>
                      <a:cubicBezTo>
                        <a:pt x="-2707" y="53554"/>
                        <a:pt x="268" y="38678"/>
                        <a:pt x="6219" y="26777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" name="任意多边形: 形状 110">
                  <a:extLst>
                    <a:ext uri="{FF2B5EF4-FFF2-40B4-BE49-F238E27FC236}">
                      <a16:creationId xmlns:a16="http://schemas.microsoft.com/office/drawing/2014/main" id="{CE4ABB6F-66C8-473D-BAD7-EAE9C6AA41E0}"/>
                    </a:ext>
                  </a:extLst>
                </p:cNvPr>
                <p:cNvSpPr/>
                <p:nvPr/>
              </p:nvSpPr>
              <p:spPr>
                <a:xfrm>
                  <a:off x="12139850" y="3464508"/>
                  <a:ext cx="100123" cy="66942"/>
                </a:xfrm>
                <a:custGeom>
                  <a:avLst/>
                  <a:gdLst>
                    <a:gd name="connsiteX0" fmla="*/ 7118 w 100123"/>
                    <a:gd name="connsiteY0" fmla="*/ 26777 h 66942"/>
                    <a:gd name="connsiteX1" fmla="*/ 72572 w 100123"/>
                    <a:gd name="connsiteY1" fmla="*/ 0 h 66942"/>
                    <a:gd name="connsiteX2" fmla="*/ 78523 w 100123"/>
                    <a:gd name="connsiteY2" fmla="*/ 0 h 66942"/>
                    <a:gd name="connsiteX3" fmla="*/ 87448 w 100123"/>
                    <a:gd name="connsiteY3" fmla="*/ 2975 h 66942"/>
                    <a:gd name="connsiteX4" fmla="*/ 99350 w 100123"/>
                    <a:gd name="connsiteY4" fmla="*/ 35703 h 66942"/>
                    <a:gd name="connsiteX5" fmla="*/ 72572 w 100123"/>
                    <a:gd name="connsiteY5" fmla="*/ 56529 h 66942"/>
                    <a:gd name="connsiteX6" fmla="*/ 30919 w 100123"/>
                    <a:gd name="connsiteY6" fmla="*/ 65455 h 66942"/>
                    <a:gd name="connsiteX7" fmla="*/ 1167 w 100123"/>
                    <a:gd name="connsiteY7" fmla="*/ 59504 h 66942"/>
                    <a:gd name="connsiteX8" fmla="*/ 7118 w 100123"/>
                    <a:gd name="connsiteY8" fmla="*/ 26777 h 669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123" h="66942">
                      <a:moveTo>
                        <a:pt x="7118" y="26777"/>
                      </a:moveTo>
                      <a:cubicBezTo>
                        <a:pt x="24969" y="0"/>
                        <a:pt x="51746" y="5950"/>
                        <a:pt x="72572" y="0"/>
                      </a:cubicBezTo>
                      <a:cubicBezTo>
                        <a:pt x="75547" y="0"/>
                        <a:pt x="75547" y="0"/>
                        <a:pt x="78523" y="0"/>
                      </a:cubicBezTo>
                      <a:cubicBezTo>
                        <a:pt x="81498" y="0"/>
                        <a:pt x="84474" y="0"/>
                        <a:pt x="87448" y="2975"/>
                      </a:cubicBezTo>
                      <a:cubicBezTo>
                        <a:pt x="96374" y="8926"/>
                        <a:pt x="102324" y="20826"/>
                        <a:pt x="99350" y="35703"/>
                      </a:cubicBezTo>
                      <a:cubicBezTo>
                        <a:pt x="96374" y="50579"/>
                        <a:pt x="81498" y="53554"/>
                        <a:pt x="72572" y="56529"/>
                      </a:cubicBezTo>
                      <a:cubicBezTo>
                        <a:pt x="60671" y="59504"/>
                        <a:pt x="45795" y="62479"/>
                        <a:pt x="30919" y="65455"/>
                      </a:cubicBezTo>
                      <a:cubicBezTo>
                        <a:pt x="21994" y="65455"/>
                        <a:pt x="10093" y="71405"/>
                        <a:pt x="1167" y="59504"/>
                      </a:cubicBezTo>
                      <a:cubicBezTo>
                        <a:pt x="-1808" y="47603"/>
                        <a:pt x="1167" y="35703"/>
                        <a:pt x="7118" y="26777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A6789AFD-95E1-4BE0-B8BC-8B3EB5D875D6}"/>
                    </a:ext>
                  </a:extLst>
                </p:cNvPr>
                <p:cNvSpPr/>
                <p:nvPr/>
              </p:nvSpPr>
              <p:spPr>
                <a:xfrm>
                  <a:off x="12148711" y="3509136"/>
                  <a:ext cx="87982" cy="47603"/>
                </a:xfrm>
                <a:custGeom>
                  <a:avLst/>
                  <a:gdLst>
                    <a:gd name="connsiteX0" fmla="*/ 1232 w 87982"/>
                    <a:gd name="connsiteY0" fmla="*/ 14876 h 47603"/>
                    <a:gd name="connsiteX1" fmla="*/ 60737 w 87982"/>
                    <a:gd name="connsiteY1" fmla="*/ 0 h 47603"/>
                    <a:gd name="connsiteX2" fmla="*/ 63711 w 87982"/>
                    <a:gd name="connsiteY2" fmla="*/ 0 h 47603"/>
                    <a:gd name="connsiteX3" fmla="*/ 72637 w 87982"/>
                    <a:gd name="connsiteY3" fmla="*/ 0 h 47603"/>
                    <a:gd name="connsiteX4" fmla="*/ 87513 w 87982"/>
                    <a:gd name="connsiteY4" fmla="*/ 29752 h 47603"/>
                    <a:gd name="connsiteX5" fmla="*/ 60737 w 87982"/>
                    <a:gd name="connsiteY5" fmla="*/ 44628 h 47603"/>
                    <a:gd name="connsiteX6" fmla="*/ 28009 w 87982"/>
                    <a:gd name="connsiteY6" fmla="*/ 47603 h 47603"/>
                    <a:gd name="connsiteX7" fmla="*/ 4207 w 87982"/>
                    <a:gd name="connsiteY7" fmla="*/ 38678 h 47603"/>
                    <a:gd name="connsiteX8" fmla="*/ 1232 w 87982"/>
                    <a:gd name="connsiteY8" fmla="*/ 14876 h 47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7982" h="47603">
                      <a:moveTo>
                        <a:pt x="1232" y="14876"/>
                      </a:moveTo>
                      <a:cubicBezTo>
                        <a:pt x="13133" y="-2975"/>
                        <a:pt x="45861" y="5950"/>
                        <a:pt x="60737" y="0"/>
                      </a:cubicBezTo>
                      <a:cubicBezTo>
                        <a:pt x="60737" y="0"/>
                        <a:pt x="63711" y="0"/>
                        <a:pt x="63711" y="0"/>
                      </a:cubicBezTo>
                      <a:cubicBezTo>
                        <a:pt x="66686" y="0"/>
                        <a:pt x="69662" y="0"/>
                        <a:pt x="72637" y="0"/>
                      </a:cubicBezTo>
                      <a:cubicBezTo>
                        <a:pt x="78587" y="2975"/>
                        <a:pt x="90489" y="17851"/>
                        <a:pt x="87513" y="29752"/>
                      </a:cubicBezTo>
                      <a:cubicBezTo>
                        <a:pt x="84538" y="41653"/>
                        <a:pt x="66686" y="44628"/>
                        <a:pt x="60737" y="44628"/>
                      </a:cubicBezTo>
                      <a:cubicBezTo>
                        <a:pt x="51810" y="47603"/>
                        <a:pt x="36934" y="47603"/>
                        <a:pt x="28009" y="47603"/>
                      </a:cubicBezTo>
                      <a:cubicBezTo>
                        <a:pt x="22058" y="47603"/>
                        <a:pt x="10158" y="47603"/>
                        <a:pt x="4207" y="38678"/>
                      </a:cubicBezTo>
                      <a:cubicBezTo>
                        <a:pt x="1232" y="35703"/>
                        <a:pt x="-1743" y="20826"/>
                        <a:pt x="1232" y="14876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" name="任意多边形: 形状 112">
                  <a:extLst>
                    <a:ext uri="{FF2B5EF4-FFF2-40B4-BE49-F238E27FC236}">
                      <a16:creationId xmlns:a16="http://schemas.microsoft.com/office/drawing/2014/main" id="{AA8DBAE7-0579-45D2-BAFC-920419EA48FE}"/>
                    </a:ext>
                  </a:extLst>
                </p:cNvPr>
                <p:cNvSpPr/>
                <p:nvPr/>
              </p:nvSpPr>
              <p:spPr>
                <a:xfrm>
                  <a:off x="12124909" y="3379325"/>
                  <a:ext cx="132141" cy="114935"/>
                </a:xfrm>
                <a:custGeom>
                  <a:avLst/>
                  <a:gdLst>
                    <a:gd name="connsiteX0" fmla="*/ 39911 w 132141"/>
                    <a:gd name="connsiteY0" fmla="*/ 114935 h 114935"/>
                    <a:gd name="connsiteX1" fmla="*/ 13133 w 132141"/>
                    <a:gd name="connsiteY1" fmla="*/ 108985 h 114935"/>
                    <a:gd name="connsiteX2" fmla="*/ 1232 w 132141"/>
                    <a:gd name="connsiteY2" fmla="*/ 91134 h 114935"/>
                    <a:gd name="connsiteX3" fmla="*/ 4208 w 132141"/>
                    <a:gd name="connsiteY3" fmla="*/ 67332 h 114935"/>
                    <a:gd name="connsiteX4" fmla="*/ 13133 w 132141"/>
                    <a:gd name="connsiteY4" fmla="*/ 61382 h 114935"/>
                    <a:gd name="connsiteX5" fmla="*/ 99415 w 132141"/>
                    <a:gd name="connsiteY5" fmla="*/ 22704 h 114935"/>
                    <a:gd name="connsiteX6" fmla="*/ 93464 w 132141"/>
                    <a:gd name="connsiteY6" fmla="*/ 13778 h 114935"/>
                    <a:gd name="connsiteX7" fmla="*/ 25035 w 132141"/>
                    <a:gd name="connsiteY7" fmla="*/ 19729 h 114935"/>
                    <a:gd name="connsiteX8" fmla="*/ 19084 w 132141"/>
                    <a:gd name="connsiteY8" fmla="*/ 16754 h 114935"/>
                    <a:gd name="connsiteX9" fmla="*/ 22059 w 132141"/>
                    <a:gd name="connsiteY9" fmla="*/ 10803 h 114935"/>
                    <a:gd name="connsiteX10" fmla="*/ 102389 w 132141"/>
                    <a:gd name="connsiteY10" fmla="*/ 7828 h 114935"/>
                    <a:gd name="connsiteX11" fmla="*/ 111315 w 132141"/>
                    <a:gd name="connsiteY11" fmla="*/ 25679 h 114935"/>
                    <a:gd name="connsiteX12" fmla="*/ 111315 w 132141"/>
                    <a:gd name="connsiteY12" fmla="*/ 37580 h 114935"/>
                    <a:gd name="connsiteX13" fmla="*/ 132141 w 132141"/>
                    <a:gd name="connsiteY13" fmla="*/ 73283 h 114935"/>
                    <a:gd name="connsiteX14" fmla="*/ 84539 w 132141"/>
                    <a:gd name="connsiteY14" fmla="*/ 111960 h 114935"/>
                    <a:gd name="connsiteX15" fmla="*/ 39911 w 132141"/>
                    <a:gd name="connsiteY15" fmla="*/ 114935 h 114935"/>
                    <a:gd name="connsiteX16" fmla="*/ 102389 w 132141"/>
                    <a:gd name="connsiteY16" fmla="*/ 46506 h 114935"/>
                    <a:gd name="connsiteX17" fmla="*/ 10159 w 132141"/>
                    <a:gd name="connsiteY17" fmla="*/ 73283 h 114935"/>
                    <a:gd name="connsiteX18" fmla="*/ 10159 w 132141"/>
                    <a:gd name="connsiteY18" fmla="*/ 88159 h 114935"/>
                    <a:gd name="connsiteX19" fmla="*/ 19084 w 132141"/>
                    <a:gd name="connsiteY19" fmla="*/ 100059 h 114935"/>
                    <a:gd name="connsiteX20" fmla="*/ 78588 w 132141"/>
                    <a:gd name="connsiteY20" fmla="*/ 100059 h 114935"/>
                    <a:gd name="connsiteX21" fmla="*/ 117265 w 132141"/>
                    <a:gd name="connsiteY21" fmla="*/ 73283 h 114935"/>
                    <a:gd name="connsiteX22" fmla="*/ 102389 w 132141"/>
                    <a:gd name="connsiteY22" fmla="*/ 46506 h 114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32141" h="114935">
                      <a:moveTo>
                        <a:pt x="39911" y="114935"/>
                      </a:moveTo>
                      <a:cubicBezTo>
                        <a:pt x="28009" y="114935"/>
                        <a:pt x="19084" y="111960"/>
                        <a:pt x="13133" y="108985"/>
                      </a:cubicBezTo>
                      <a:cubicBezTo>
                        <a:pt x="7183" y="106010"/>
                        <a:pt x="1232" y="100059"/>
                        <a:pt x="1232" y="91134"/>
                      </a:cubicBezTo>
                      <a:cubicBezTo>
                        <a:pt x="-1743" y="82208"/>
                        <a:pt x="1232" y="73283"/>
                        <a:pt x="4208" y="67332"/>
                      </a:cubicBezTo>
                      <a:cubicBezTo>
                        <a:pt x="7183" y="61382"/>
                        <a:pt x="13133" y="61382"/>
                        <a:pt x="13133" y="61382"/>
                      </a:cubicBezTo>
                      <a:cubicBezTo>
                        <a:pt x="99415" y="55431"/>
                        <a:pt x="99415" y="34605"/>
                        <a:pt x="99415" y="22704"/>
                      </a:cubicBezTo>
                      <a:cubicBezTo>
                        <a:pt x="99415" y="16754"/>
                        <a:pt x="96439" y="13778"/>
                        <a:pt x="93464" y="13778"/>
                      </a:cubicBezTo>
                      <a:cubicBezTo>
                        <a:pt x="81563" y="4853"/>
                        <a:pt x="42885" y="13778"/>
                        <a:pt x="25035" y="19729"/>
                      </a:cubicBezTo>
                      <a:cubicBezTo>
                        <a:pt x="22059" y="19729"/>
                        <a:pt x="19084" y="19729"/>
                        <a:pt x="19084" y="16754"/>
                      </a:cubicBezTo>
                      <a:cubicBezTo>
                        <a:pt x="19084" y="13778"/>
                        <a:pt x="19084" y="10803"/>
                        <a:pt x="22059" y="10803"/>
                      </a:cubicBezTo>
                      <a:cubicBezTo>
                        <a:pt x="28009" y="7828"/>
                        <a:pt x="81563" y="-10023"/>
                        <a:pt x="102389" y="7828"/>
                      </a:cubicBezTo>
                      <a:cubicBezTo>
                        <a:pt x="108340" y="10803"/>
                        <a:pt x="111315" y="19729"/>
                        <a:pt x="111315" y="25679"/>
                      </a:cubicBezTo>
                      <a:cubicBezTo>
                        <a:pt x="111315" y="28655"/>
                        <a:pt x="111315" y="34605"/>
                        <a:pt x="111315" y="37580"/>
                      </a:cubicBezTo>
                      <a:cubicBezTo>
                        <a:pt x="114291" y="40555"/>
                        <a:pt x="132141" y="55431"/>
                        <a:pt x="132141" y="73283"/>
                      </a:cubicBezTo>
                      <a:cubicBezTo>
                        <a:pt x="132141" y="97084"/>
                        <a:pt x="111315" y="103035"/>
                        <a:pt x="84539" y="111960"/>
                      </a:cubicBezTo>
                      <a:cubicBezTo>
                        <a:pt x="63712" y="114935"/>
                        <a:pt x="51811" y="114935"/>
                        <a:pt x="39911" y="114935"/>
                      </a:cubicBezTo>
                      <a:close/>
                      <a:moveTo>
                        <a:pt x="102389" y="46506"/>
                      </a:moveTo>
                      <a:cubicBezTo>
                        <a:pt x="93464" y="58407"/>
                        <a:pt x="69663" y="70307"/>
                        <a:pt x="10159" y="73283"/>
                      </a:cubicBezTo>
                      <a:cubicBezTo>
                        <a:pt x="10159" y="73283"/>
                        <a:pt x="7183" y="79233"/>
                        <a:pt x="10159" y="88159"/>
                      </a:cubicBezTo>
                      <a:cubicBezTo>
                        <a:pt x="10159" y="94109"/>
                        <a:pt x="13133" y="97084"/>
                        <a:pt x="19084" y="100059"/>
                      </a:cubicBezTo>
                      <a:cubicBezTo>
                        <a:pt x="25035" y="103035"/>
                        <a:pt x="39911" y="108985"/>
                        <a:pt x="78588" y="100059"/>
                      </a:cubicBezTo>
                      <a:cubicBezTo>
                        <a:pt x="108340" y="91134"/>
                        <a:pt x="117265" y="85183"/>
                        <a:pt x="117265" y="73283"/>
                      </a:cubicBezTo>
                      <a:cubicBezTo>
                        <a:pt x="114291" y="61382"/>
                        <a:pt x="105365" y="52456"/>
                        <a:pt x="102389" y="46506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73FC1768-3605-4D48-8E6F-E812F366241F}"/>
                    </a:ext>
                  </a:extLst>
                </p:cNvPr>
                <p:cNvSpPr/>
                <p:nvPr/>
              </p:nvSpPr>
              <p:spPr>
                <a:xfrm>
                  <a:off x="12139785" y="3467483"/>
                  <a:ext cx="110385" cy="68429"/>
                </a:xfrm>
                <a:custGeom>
                  <a:avLst/>
                  <a:gdLst>
                    <a:gd name="connsiteX0" fmla="*/ 25035 w 110385"/>
                    <a:gd name="connsiteY0" fmla="*/ 68430 h 68429"/>
                    <a:gd name="connsiteX1" fmla="*/ 10159 w 110385"/>
                    <a:gd name="connsiteY1" fmla="*/ 65454 h 68429"/>
                    <a:gd name="connsiteX2" fmla="*/ 1232 w 110385"/>
                    <a:gd name="connsiteY2" fmla="*/ 53554 h 68429"/>
                    <a:gd name="connsiteX3" fmla="*/ 4208 w 110385"/>
                    <a:gd name="connsiteY3" fmla="*/ 20826 h 68429"/>
                    <a:gd name="connsiteX4" fmla="*/ 13133 w 110385"/>
                    <a:gd name="connsiteY4" fmla="*/ 20826 h 68429"/>
                    <a:gd name="connsiteX5" fmla="*/ 13133 w 110385"/>
                    <a:gd name="connsiteY5" fmla="*/ 29752 h 68429"/>
                    <a:gd name="connsiteX6" fmla="*/ 10159 w 110385"/>
                    <a:gd name="connsiteY6" fmla="*/ 53554 h 68429"/>
                    <a:gd name="connsiteX7" fmla="*/ 13133 w 110385"/>
                    <a:gd name="connsiteY7" fmla="*/ 56529 h 68429"/>
                    <a:gd name="connsiteX8" fmla="*/ 84539 w 110385"/>
                    <a:gd name="connsiteY8" fmla="*/ 44628 h 68429"/>
                    <a:gd name="connsiteX9" fmla="*/ 96439 w 110385"/>
                    <a:gd name="connsiteY9" fmla="*/ 32727 h 68429"/>
                    <a:gd name="connsiteX10" fmla="*/ 93464 w 110385"/>
                    <a:gd name="connsiteY10" fmla="*/ 8926 h 68429"/>
                    <a:gd name="connsiteX11" fmla="*/ 96439 w 110385"/>
                    <a:gd name="connsiteY11" fmla="*/ 0 h 68429"/>
                    <a:gd name="connsiteX12" fmla="*/ 105365 w 110385"/>
                    <a:gd name="connsiteY12" fmla="*/ 2975 h 68429"/>
                    <a:gd name="connsiteX13" fmla="*/ 108340 w 110385"/>
                    <a:gd name="connsiteY13" fmla="*/ 35702 h 68429"/>
                    <a:gd name="connsiteX14" fmla="*/ 90489 w 110385"/>
                    <a:gd name="connsiteY14" fmla="*/ 56529 h 68429"/>
                    <a:gd name="connsiteX15" fmla="*/ 25035 w 110385"/>
                    <a:gd name="connsiteY15" fmla="*/ 68430 h 68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0385" h="68429">
                      <a:moveTo>
                        <a:pt x="25035" y="68430"/>
                      </a:moveTo>
                      <a:cubicBezTo>
                        <a:pt x="19084" y="68430"/>
                        <a:pt x="13133" y="68430"/>
                        <a:pt x="10159" y="65454"/>
                      </a:cubicBezTo>
                      <a:cubicBezTo>
                        <a:pt x="7183" y="65454"/>
                        <a:pt x="1232" y="62479"/>
                        <a:pt x="1232" y="53554"/>
                      </a:cubicBezTo>
                      <a:cubicBezTo>
                        <a:pt x="-1743" y="41653"/>
                        <a:pt x="1232" y="26777"/>
                        <a:pt x="4208" y="20826"/>
                      </a:cubicBezTo>
                      <a:cubicBezTo>
                        <a:pt x="7183" y="17851"/>
                        <a:pt x="10159" y="17851"/>
                        <a:pt x="13133" y="20826"/>
                      </a:cubicBezTo>
                      <a:cubicBezTo>
                        <a:pt x="16108" y="23802"/>
                        <a:pt x="16108" y="26777"/>
                        <a:pt x="13133" y="29752"/>
                      </a:cubicBezTo>
                      <a:cubicBezTo>
                        <a:pt x="10159" y="32727"/>
                        <a:pt x="7183" y="44628"/>
                        <a:pt x="10159" y="53554"/>
                      </a:cubicBezTo>
                      <a:cubicBezTo>
                        <a:pt x="10159" y="53554"/>
                        <a:pt x="10159" y="56529"/>
                        <a:pt x="13133" y="56529"/>
                      </a:cubicBezTo>
                      <a:cubicBezTo>
                        <a:pt x="22059" y="59504"/>
                        <a:pt x="57761" y="59504"/>
                        <a:pt x="84539" y="44628"/>
                      </a:cubicBezTo>
                      <a:cubicBezTo>
                        <a:pt x="90489" y="41653"/>
                        <a:pt x="96439" y="35702"/>
                        <a:pt x="96439" y="32727"/>
                      </a:cubicBezTo>
                      <a:cubicBezTo>
                        <a:pt x="99415" y="20826"/>
                        <a:pt x="93464" y="8926"/>
                        <a:pt x="93464" y="8926"/>
                      </a:cubicBezTo>
                      <a:cubicBezTo>
                        <a:pt x="90489" y="5950"/>
                        <a:pt x="93464" y="2975"/>
                        <a:pt x="96439" y="0"/>
                      </a:cubicBezTo>
                      <a:cubicBezTo>
                        <a:pt x="99415" y="0"/>
                        <a:pt x="102389" y="0"/>
                        <a:pt x="105365" y="2975"/>
                      </a:cubicBezTo>
                      <a:cubicBezTo>
                        <a:pt x="105365" y="2975"/>
                        <a:pt x="114291" y="20826"/>
                        <a:pt x="108340" y="35702"/>
                      </a:cubicBezTo>
                      <a:cubicBezTo>
                        <a:pt x="105365" y="44628"/>
                        <a:pt x="99415" y="50578"/>
                        <a:pt x="90489" y="56529"/>
                      </a:cubicBezTo>
                      <a:cubicBezTo>
                        <a:pt x="69663" y="62479"/>
                        <a:pt x="42885" y="68430"/>
                        <a:pt x="25035" y="68430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1F36EC16-6F14-4FA4-A36A-633CD4876EDC}"/>
                  </a:ext>
                </a:extLst>
              </p:cNvPr>
              <p:cNvSpPr/>
              <p:nvPr/>
            </p:nvSpPr>
            <p:spPr>
              <a:xfrm>
                <a:off x="12142817" y="3506905"/>
                <a:ext cx="98414" cy="61735"/>
              </a:xfrm>
              <a:custGeom>
                <a:avLst/>
                <a:gdLst>
                  <a:gd name="connsiteX0" fmla="*/ 39853 w 98414"/>
                  <a:gd name="connsiteY0" fmla="*/ 61736 h 61735"/>
                  <a:gd name="connsiteX1" fmla="*/ 10101 w 98414"/>
                  <a:gd name="connsiteY1" fmla="*/ 52810 h 61735"/>
                  <a:gd name="connsiteX2" fmla="*/ 1176 w 98414"/>
                  <a:gd name="connsiteY2" fmla="*/ 20083 h 61735"/>
                  <a:gd name="connsiteX3" fmla="*/ 7126 w 98414"/>
                  <a:gd name="connsiteY3" fmla="*/ 17107 h 61735"/>
                  <a:gd name="connsiteX4" fmla="*/ 10101 w 98414"/>
                  <a:gd name="connsiteY4" fmla="*/ 23058 h 61735"/>
                  <a:gd name="connsiteX5" fmla="*/ 16052 w 98414"/>
                  <a:gd name="connsiteY5" fmla="*/ 46859 h 61735"/>
                  <a:gd name="connsiteX6" fmla="*/ 36878 w 98414"/>
                  <a:gd name="connsiteY6" fmla="*/ 49835 h 61735"/>
                  <a:gd name="connsiteX7" fmla="*/ 84481 w 98414"/>
                  <a:gd name="connsiteY7" fmla="*/ 37934 h 61735"/>
                  <a:gd name="connsiteX8" fmla="*/ 75556 w 98414"/>
                  <a:gd name="connsiteY8" fmla="*/ 11157 h 61735"/>
                  <a:gd name="connsiteX9" fmla="*/ 75556 w 98414"/>
                  <a:gd name="connsiteY9" fmla="*/ 2231 h 61735"/>
                  <a:gd name="connsiteX10" fmla="*/ 84481 w 98414"/>
                  <a:gd name="connsiteY10" fmla="*/ 2231 h 61735"/>
                  <a:gd name="connsiteX11" fmla="*/ 93407 w 98414"/>
                  <a:gd name="connsiteY11" fmla="*/ 43884 h 61735"/>
                  <a:gd name="connsiteX12" fmla="*/ 39853 w 98414"/>
                  <a:gd name="connsiteY12" fmla="*/ 61736 h 61735"/>
                  <a:gd name="connsiteX13" fmla="*/ 39853 w 98414"/>
                  <a:gd name="connsiteY13" fmla="*/ 61736 h 61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8414" h="61735">
                    <a:moveTo>
                      <a:pt x="39853" y="61736"/>
                    </a:moveTo>
                    <a:cubicBezTo>
                      <a:pt x="24977" y="61736"/>
                      <a:pt x="16052" y="58760"/>
                      <a:pt x="10101" y="52810"/>
                    </a:cubicBezTo>
                    <a:cubicBezTo>
                      <a:pt x="-4775" y="37934"/>
                      <a:pt x="1176" y="20083"/>
                      <a:pt x="1176" y="20083"/>
                    </a:cubicBezTo>
                    <a:cubicBezTo>
                      <a:pt x="1176" y="17107"/>
                      <a:pt x="4151" y="14132"/>
                      <a:pt x="7126" y="17107"/>
                    </a:cubicBezTo>
                    <a:cubicBezTo>
                      <a:pt x="10101" y="17107"/>
                      <a:pt x="13076" y="20083"/>
                      <a:pt x="10101" y="23058"/>
                    </a:cubicBezTo>
                    <a:cubicBezTo>
                      <a:pt x="10101" y="23058"/>
                      <a:pt x="7126" y="37934"/>
                      <a:pt x="16052" y="46859"/>
                    </a:cubicBezTo>
                    <a:cubicBezTo>
                      <a:pt x="19027" y="49835"/>
                      <a:pt x="24977" y="49835"/>
                      <a:pt x="36878" y="49835"/>
                    </a:cubicBezTo>
                    <a:cubicBezTo>
                      <a:pt x="57704" y="49835"/>
                      <a:pt x="81506" y="43884"/>
                      <a:pt x="84481" y="37934"/>
                    </a:cubicBezTo>
                    <a:cubicBezTo>
                      <a:pt x="93407" y="26033"/>
                      <a:pt x="78531" y="11157"/>
                      <a:pt x="75556" y="11157"/>
                    </a:cubicBezTo>
                    <a:cubicBezTo>
                      <a:pt x="72580" y="8182"/>
                      <a:pt x="72580" y="5207"/>
                      <a:pt x="75556" y="2231"/>
                    </a:cubicBezTo>
                    <a:cubicBezTo>
                      <a:pt x="78531" y="-744"/>
                      <a:pt x="81506" y="-744"/>
                      <a:pt x="84481" y="2231"/>
                    </a:cubicBezTo>
                    <a:cubicBezTo>
                      <a:pt x="93407" y="11157"/>
                      <a:pt x="105308" y="29008"/>
                      <a:pt x="93407" y="43884"/>
                    </a:cubicBezTo>
                    <a:cubicBezTo>
                      <a:pt x="87456" y="55785"/>
                      <a:pt x="57704" y="61736"/>
                      <a:pt x="39853" y="61736"/>
                    </a:cubicBezTo>
                    <a:cubicBezTo>
                      <a:pt x="39853" y="61736"/>
                      <a:pt x="39853" y="61736"/>
                      <a:pt x="39853" y="6173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77459A61-0502-4122-B85B-0A6B68E07DF6}"/>
                </a:ext>
              </a:extLst>
            </p:cNvPr>
            <p:cNvSpPr/>
            <p:nvPr/>
          </p:nvSpPr>
          <p:spPr>
            <a:xfrm>
              <a:off x="10400465" y="2693208"/>
              <a:ext cx="1071321" cy="1174129"/>
            </a:xfrm>
            <a:custGeom>
              <a:avLst/>
              <a:gdLst>
                <a:gd name="connsiteX0" fmla="*/ 130966 w 1071321"/>
                <a:gd name="connsiteY0" fmla="*/ 721 h 1174129"/>
                <a:gd name="connsiteX1" fmla="*/ 410636 w 1071321"/>
                <a:gd name="connsiteY1" fmla="*/ 423200 h 1174129"/>
                <a:gd name="connsiteX2" fmla="*/ 487990 w 1071321"/>
                <a:gd name="connsiteY2" fmla="*/ 869481 h 1174129"/>
                <a:gd name="connsiteX3" fmla="*/ 1032454 w 1071321"/>
                <a:gd name="connsiteY3" fmla="*/ 893283 h 1174129"/>
                <a:gd name="connsiteX4" fmla="*/ 1071131 w 1071321"/>
                <a:gd name="connsiteY4" fmla="*/ 1056920 h 1174129"/>
                <a:gd name="connsiteX5" fmla="*/ 220222 w 1071321"/>
                <a:gd name="connsiteY5" fmla="*/ 1113449 h 1174129"/>
                <a:gd name="connsiteX6" fmla="*/ 130966 w 1071321"/>
                <a:gd name="connsiteY6" fmla="*/ 721 h 1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1321" h="1174129">
                  <a:moveTo>
                    <a:pt x="130966" y="721"/>
                  </a:moveTo>
                  <a:cubicBezTo>
                    <a:pt x="261875" y="-17130"/>
                    <a:pt x="377908" y="301217"/>
                    <a:pt x="410636" y="423200"/>
                  </a:cubicBezTo>
                  <a:cubicBezTo>
                    <a:pt x="437412" y="533283"/>
                    <a:pt x="487990" y="869481"/>
                    <a:pt x="487990" y="869481"/>
                  </a:cubicBezTo>
                  <a:cubicBezTo>
                    <a:pt x="487990" y="869481"/>
                    <a:pt x="940222" y="789151"/>
                    <a:pt x="1032454" y="893283"/>
                  </a:cubicBezTo>
                  <a:cubicBezTo>
                    <a:pt x="1041379" y="943862"/>
                    <a:pt x="1074106" y="1012291"/>
                    <a:pt x="1071131" y="1056920"/>
                  </a:cubicBezTo>
                  <a:cubicBezTo>
                    <a:pt x="785511" y="1208655"/>
                    <a:pt x="315429" y="1196754"/>
                    <a:pt x="220222" y="1113449"/>
                  </a:cubicBezTo>
                  <a:cubicBezTo>
                    <a:pt x="116090" y="1027168"/>
                    <a:pt x="-163580" y="42374"/>
                    <a:pt x="130966" y="721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04F9652C-E4DD-4CB7-9D0F-27F6A5451032}"/>
                </a:ext>
              </a:extLst>
            </p:cNvPr>
            <p:cNvSpPr/>
            <p:nvPr/>
          </p:nvSpPr>
          <p:spPr>
            <a:xfrm>
              <a:off x="10454819" y="2687979"/>
              <a:ext cx="978559" cy="904462"/>
            </a:xfrm>
            <a:custGeom>
              <a:avLst/>
              <a:gdLst>
                <a:gd name="connsiteX0" fmla="*/ 975124 w 978559"/>
                <a:gd name="connsiteY0" fmla="*/ 904463 h 904462"/>
                <a:gd name="connsiteX1" fmla="*/ 972148 w 978559"/>
                <a:gd name="connsiteY1" fmla="*/ 904463 h 904462"/>
                <a:gd name="connsiteX2" fmla="*/ 430661 w 978559"/>
                <a:gd name="connsiteY2" fmla="*/ 880661 h 904462"/>
                <a:gd name="connsiteX3" fmla="*/ 424711 w 978559"/>
                <a:gd name="connsiteY3" fmla="*/ 880661 h 904462"/>
                <a:gd name="connsiteX4" fmla="*/ 412810 w 978559"/>
                <a:gd name="connsiteY4" fmla="*/ 809256 h 904462"/>
                <a:gd name="connsiteX5" fmla="*/ 347355 w 978559"/>
                <a:gd name="connsiteY5" fmla="*/ 431405 h 904462"/>
                <a:gd name="connsiteX6" fmla="*/ 201570 w 978559"/>
                <a:gd name="connsiteY6" fmla="*/ 95207 h 904462"/>
                <a:gd name="connsiteX7" fmla="*/ 79586 w 978559"/>
                <a:gd name="connsiteY7" fmla="*/ 14876 h 904462"/>
                <a:gd name="connsiteX8" fmla="*/ 79586 w 978559"/>
                <a:gd name="connsiteY8" fmla="*/ 14876 h 904462"/>
                <a:gd name="connsiteX9" fmla="*/ 11157 w 978559"/>
                <a:gd name="connsiteY9" fmla="*/ 44628 h 904462"/>
                <a:gd name="connsiteX10" fmla="*/ 2231 w 978559"/>
                <a:gd name="connsiteY10" fmla="*/ 44628 h 904462"/>
                <a:gd name="connsiteX11" fmla="*/ 2231 w 978559"/>
                <a:gd name="connsiteY11" fmla="*/ 35703 h 904462"/>
                <a:gd name="connsiteX12" fmla="*/ 76611 w 978559"/>
                <a:gd name="connsiteY12" fmla="*/ 0 h 904462"/>
                <a:gd name="connsiteX13" fmla="*/ 76611 w 978559"/>
                <a:gd name="connsiteY13" fmla="*/ 0 h 904462"/>
                <a:gd name="connsiteX14" fmla="*/ 207521 w 978559"/>
                <a:gd name="connsiteY14" fmla="*/ 83306 h 904462"/>
                <a:gd name="connsiteX15" fmla="*/ 356281 w 978559"/>
                <a:gd name="connsiteY15" fmla="*/ 425455 h 904462"/>
                <a:gd name="connsiteX16" fmla="*/ 421735 w 978559"/>
                <a:gd name="connsiteY16" fmla="*/ 803306 h 904462"/>
                <a:gd name="connsiteX17" fmla="*/ 430661 w 978559"/>
                <a:gd name="connsiteY17" fmla="*/ 865785 h 904462"/>
                <a:gd name="connsiteX18" fmla="*/ 975124 w 978559"/>
                <a:gd name="connsiteY18" fmla="*/ 892562 h 904462"/>
                <a:gd name="connsiteX19" fmla="*/ 975124 w 978559"/>
                <a:gd name="connsiteY19" fmla="*/ 901488 h 904462"/>
                <a:gd name="connsiteX20" fmla="*/ 975124 w 978559"/>
                <a:gd name="connsiteY20" fmla="*/ 904463 h 90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78559" h="904462">
                  <a:moveTo>
                    <a:pt x="975124" y="904463"/>
                  </a:moveTo>
                  <a:cubicBezTo>
                    <a:pt x="975124" y="904463"/>
                    <a:pt x="972148" y="904463"/>
                    <a:pt x="972148" y="904463"/>
                  </a:cubicBezTo>
                  <a:cubicBezTo>
                    <a:pt x="841240" y="806281"/>
                    <a:pt x="433636" y="880661"/>
                    <a:pt x="430661" y="880661"/>
                  </a:cubicBezTo>
                  <a:lnTo>
                    <a:pt x="424711" y="880661"/>
                  </a:lnTo>
                  <a:lnTo>
                    <a:pt x="412810" y="809256"/>
                  </a:lnTo>
                  <a:cubicBezTo>
                    <a:pt x="406859" y="770578"/>
                    <a:pt x="362231" y="511736"/>
                    <a:pt x="347355" y="431405"/>
                  </a:cubicBezTo>
                  <a:cubicBezTo>
                    <a:pt x="347355" y="428430"/>
                    <a:pt x="311653" y="232066"/>
                    <a:pt x="201570" y="95207"/>
                  </a:cubicBezTo>
                  <a:cubicBezTo>
                    <a:pt x="159917" y="41653"/>
                    <a:pt x="118265" y="14876"/>
                    <a:pt x="79586" y="14876"/>
                  </a:cubicBezTo>
                  <a:cubicBezTo>
                    <a:pt x="79586" y="14876"/>
                    <a:pt x="79586" y="14876"/>
                    <a:pt x="79586" y="14876"/>
                  </a:cubicBezTo>
                  <a:cubicBezTo>
                    <a:pt x="37934" y="14876"/>
                    <a:pt x="11157" y="44628"/>
                    <a:pt x="11157" y="44628"/>
                  </a:cubicBezTo>
                  <a:cubicBezTo>
                    <a:pt x="8182" y="47603"/>
                    <a:pt x="5206" y="47603"/>
                    <a:pt x="2231" y="44628"/>
                  </a:cubicBezTo>
                  <a:cubicBezTo>
                    <a:pt x="-744" y="41653"/>
                    <a:pt x="-744" y="38678"/>
                    <a:pt x="2231" y="35703"/>
                  </a:cubicBezTo>
                  <a:cubicBezTo>
                    <a:pt x="2231" y="35703"/>
                    <a:pt x="31983" y="0"/>
                    <a:pt x="76611" y="0"/>
                  </a:cubicBezTo>
                  <a:cubicBezTo>
                    <a:pt x="76611" y="0"/>
                    <a:pt x="76611" y="0"/>
                    <a:pt x="76611" y="0"/>
                  </a:cubicBezTo>
                  <a:cubicBezTo>
                    <a:pt x="121239" y="0"/>
                    <a:pt x="162893" y="29752"/>
                    <a:pt x="207521" y="83306"/>
                  </a:cubicBezTo>
                  <a:cubicBezTo>
                    <a:pt x="317603" y="223141"/>
                    <a:pt x="356281" y="422479"/>
                    <a:pt x="356281" y="425455"/>
                  </a:cubicBezTo>
                  <a:cubicBezTo>
                    <a:pt x="374132" y="505785"/>
                    <a:pt x="415785" y="764628"/>
                    <a:pt x="421735" y="803306"/>
                  </a:cubicBezTo>
                  <a:lnTo>
                    <a:pt x="430661" y="865785"/>
                  </a:lnTo>
                  <a:cubicBezTo>
                    <a:pt x="481239" y="856860"/>
                    <a:pt x="847190" y="797355"/>
                    <a:pt x="975124" y="892562"/>
                  </a:cubicBezTo>
                  <a:cubicBezTo>
                    <a:pt x="978099" y="895537"/>
                    <a:pt x="978099" y="898512"/>
                    <a:pt x="975124" y="901488"/>
                  </a:cubicBezTo>
                  <a:cubicBezTo>
                    <a:pt x="981075" y="904463"/>
                    <a:pt x="978099" y="904463"/>
                    <a:pt x="975124" y="904463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98C0E700-DF34-47B8-AB68-3E676E3843ED}"/>
                </a:ext>
              </a:extLst>
            </p:cNvPr>
            <p:cNvSpPr/>
            <p:nvPr/>
          </p:nvSpPr>
          <p:spPr>
            <a:xfrm>
              <a:off x="10803827" y="3556739"/>
              <a:ext cx="84627" cy="65454"/>
            </a:xfrm>
            <a:custGeom>
              <a:avLst/>
              <a:gdLst>
                <a:gd name="connsiteX0" fmla="*/ 34050 w 84627"/>
                <a:gd name="connsiteY0" fmla="*/ 65454 h 65454"/>
                <a:gd name="connsiteX1" fmla="*/ 34050 w 84627"/>
                <a:gd name="connsiteY1" fmla="*/ 65454 h 65454"/>
                <a:gd name="connsiteX2" fmla="*/ 28099 w 84627"/>
                <a:gd name="connsiteY2" fmla="*/ 56529 h 65454"/>
                <a:gd name="connsiteX3" fmla="*/ 63802 w 84627"/>
                <a:gd name="connsiteY3" fmla="*/ 11901 h 65454"/>
                <a:gd name="connsiteX4" fmla="*/ 10248 w 84627"/>
                <a:gd name="connsiteY4" fmla="*/ 29752 h 65454"/>
                <a:gd name="connsiteX5" fmla="*/ 1322 w 84627"/>
                <a:gd name="connsiteY5" fmla="*/ 29752 h 65454"/>
                <a:gd name="connsiteX6" fmla="*/ 1322 w 84627"/>
                <a:gd name="connsiteY6" fmla="*/ 20826 h 65454"/>
                <a:gd name="connsiteX7" fmla="*/ 78678 w 84627"/>
                <a:gd name="connsiteY7" fmla="*/ 0 h 65454"/>
                <a:gd name="connsiteX8" fmla="*/ 84628 w 84627"/>
                <a:gd name="connsiteY8" fmla="*/ 2975 h 65454"/>
                <a:gd name="connsiteX9" fmla="*/ 81653 w 84627"/>
                <a:gd name="connsiteY9" fmla="*/ 8926 h 65454"/>
                <a:gd name="connsiteX10" fmla="*/ 34050 w 84627"/>
                <a:gd name="connsiteY10" fmla="*/ 62479 h 65454"/>
                <a:gd name="connsiteX11" fmla="*/ 34050 w 84627"/>
                <a:gd name="connsiteY11" fmla="*/ 65454 h 65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4627" h="65454">
                  <a:moveTo>
                    <a:pt x="34050" y="65454"/>
                  </a:moveTo>
                  <a:cubicBezTo>
                    <a:pt x="31074" y="65454"/>
                    <a:pt x="31074" y="65454"/>
                    <a:pt x="34050" y="65454"/>
                  </a:cubicBezTo>
                  <a:cubicBezTo>
                    <a:pt x="28099" y="62479"/>
                    <a:pt x="28099" y="59504"/>
                    <a:pt x="28099" y="56529"/>
                  </a:cubicBezTo>
                  <a:cubicBezTo>
                    <a:pt x="34050" y="41653"/>
                    <a:pt x="51901" y="23802"/>
                    <a:pt x="63802" y="11901"/>
                  </a:cubicBezTo>
                  <a:cubicBezTo>
                    <a:pt x="45950" y="14876"/>
                    <a:pt x="22149" y="20826"/>
                    <a:pt x="10248" y="29752"/>
                  </a:cubicBezTo>
                  <a:cubicBezTo>
                    <a:pt x="7273" y="32727"/>
                    <a:pt x="4298" y="29752"/>
                    <a:pt x="1322" y="29752"/>
                  </a:cubicBezTo>
                  <a:cubicBezTo>
                    <a:pt x="-1653" y="26777"/>
                    <a:pt x="1322" y="23802"/>
                    <a:pt x="1322" y="20826"/>
                  </a:cubicBezTo>
                  <a:cubicBezTo>
                    <a:pt x="22149" y="5950"/>
                    <a:pt x="75703" y="0"/>
                    <a:pt x="78678" y="0"/>
                  </a:cubicBezTo>
                  <a:cubicBezTo>
                    <a:pt x="81653" y="0"/>
                    <a:pt x="84628" y="0"/>
                    <a:pt x="84628" y="2975"/>
                  </a:cubicBezTo>
                  <a:cubicBezTo>
                    <a:pt x="84628" y="5950"/>
                    <a:pt x="84628" y="8926"/>
                    <a:pt x="81653" y="8926"/>
                  </a:cubicBezTo>
                  <a:cubicBezTo>
                    <a:pt x="81653" y="8926"/>
                    <a:pt x="45950" y="38678"/>
                    <a:pt x="34050" y="62479"/>
                  </a:cubicBezTo>
                  <a:cubicBezTo>
                    <a:pt x="37025" y="65454"/>
                    <a:pt x="34050" y="65454"/>
                    <a:pt x="34050" y="65454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C941A508-BCE1-42C7-B8A3-7C473716535E}"/>
                </a:ext>
              </a:extLst>
            </p:cNvPr>
            <p:cNvSpPr/>
            <p:nvPr/>
          </p:nvSpPr>
          <p:spPr>
            <a:xfrm>
              <a:off x="10415398" y="3184839"/>
              <a:ext cx="1064380" cy="687272"/>
            </a:xfrm>
            <a:custGeom>
              <a:avLst/>
              <a:gdLst>
                <a:gd name="connsiteX0" fmla="*/ 526612 w 1064380"/>
                <a:gd name="connsiteY0" fmla="*/ 687273 h 687272"/>
                <a:gd name="connsiteX1" fmla="*/ 202315 w 1064380"/>
                <a:gd name="connsiteY1" fmla="*/ 627769 h 687272"/>
                <a:gd name="connsiteX2" fmla="*/ 0 w 1064380"/>
                <a:gd name="connsiteY2" fmla="*/ 5950 h 687272"/>
                <a:gd name="connsiteX3" fmla="*/ 5951 w 1064380"/>
                <a:gd name="connsiteY3" fmla="*/ 0 h 687272"/>
                <a:gd name="connsiteX4" fmla="*/ 11901 w 1064380"/>
                <a:gd name="connsiteY4" fmla="*/ 5950 h 687272"/>
                <a:gd name="connsiteX5" fmla="*/ 208264 w 1064380"/>
                <a:gd name="connsiteY5" fmla="*/ 621818 h 687272"/>
                <a:gd name="connsiteX6" fmla="*/ 880661 w 1064380"/>
                <a:gd name="connsiteY6" fmla="*/ 636694 h 687272"/>
                <a:gd name="connsiteX7" fmla="*/ 1053223 w 1064380"/>
                <a:gd name="connsiteY7" fmla="*/ 565289 h 687272"/>
                <a:gd name="connsiteX8" fmla="*/ 1062149 w 1064380"/>
                <a:gd name="connsiteY8" fmla="*/ 565289 h 687272"/>
                <a:gd name="connsiteX9" fmla="*/ 1062149 w 1064380"/>
                <a:gd name="connsiteY9" fmla="*/ 574215 h 687272"/>
                <a:gd name="connsiteX10" fmla="*/ 883637 w 1064380"/>
                <a:gd name="connsiteY10" fmla="*/ 648595 h 687272"/>
                <a:gd name="connsiteX11" fmla="*/ 526612 w 1064380"/>
                <a:gd name="connsiteY11" fmla="*/ 687273 h 687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64380" h="687272">
                  <a:moveTo>
                    <a:pt x="526612" y="687273"/>
                  </a:moveTo>
                  <a:cubicBezTo>
                    <a:pt x="380827" y="687273"/>
                    <a:pt x="261819" y="663471"/>
                    <a:pt x="202315" y="627769"/>
                  </a:cubicBezTo>
                  <a:cubicBezTo>
                    <a:pt x="95207" y="562314"/>
                    <a:pt x="2975" y="26777"/>
                    <a:pt x="0" y="5950"/>
                  </a:cubicBezTo>
                  <a:cubicBezTo>
                    <a:pt x="0" y="2975"/>
                    <a:pt x="0" y="0"/>
                    <a:pt x="5951" y="0"/>
                  </a:cubicBezTo>
                  <a:cubicBezTo>
                    <a:pt x="8926" y="0"/>
                    <a:pt x="11901" y="2975"/>
                    <a:pt x="11901" y="5950"/>
                  </a:cubicBezTo>
                  <a:cubicBezTo>
                    <a:pt x="11901" y="11901"/>
                    <a:pt x="107108" y="556364"/>
                    <a:pt x="208264" y="621818"/>
                  </a:cubicBezTo>
                  <a:cubicBezTo>
                    <a:pt x="309421" y="684298"/>
                    <a:pt x="595041" y="708099"/>
                    <a:pt x="880661" y="636694"/>
                  </a:cubicBezTo>
                  <a:cubicBezTo>
                    <a:pt x="1014546" y="603967"/>
                    <a:pt x="1053223" y="565289"/>
                    <a:pt x="1053223" y="565289"/>
                  </a:cubicBezTo>
                  <a:cubicBezTo>
                    <a:pt x="1056198" y="562314"/>
                    <a:pt x="1059174" y="562314"/>
                    <a:pt x="1062149" y="565289"/>
                  </a:cubicBezTo>
                  <a:cubicBezTo>
                    <a:pt x="1065125" y="568264"/>
                    <a:pt x="1065125" y="571240"/>
                    <a:pt x="1062149" y="574215"/>
                  </a:cubicBezTo>
                  <a:cubicBezTo>
                    <a:pt x="1059174" y="577190"/>
                    <a:pt x="1020496" y="612893"/>
                    <a:pt x="883637" y="648595"/>
                  </a:cubicBezTo>
                  <a:cubicBezTo>
                    <a:pt x="758678" y="675372"/>
                    <a:pt x="633720" y="687273"/>
                    <a:pt x="526612" y="687273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4" name="图形 1">
              <a:extLst>
                <a:ext uri="{FF2B5EF4-FFF2-40B4-BE49-F238E27FC236}">
                  <a16:creationId xmlns:a16="http://schemas.microsoft.com/office/drawing/2014/main" id="{EDB6EF0A-2A9E-4197-AA48-56EBE4C7E90F}"/>
                </a:ext>
              </a:extLst>
            </p:cNvPr>
            <p:cNvGrpSpPr/>
            <p:nvPr/>
          </p:nvGrpSpPr>
          <p:grpSpPr>
            <a:xfrm>
              <a:off x="9923730" y="2467814"/>
              <a:ext cx="899652" cy="311652"/>
              <a:chOff x="9923730" y="2467814"/>
              <a:chExt cx="899652" cy="311652"/>
            </a:xfrm>
          </p:grpSpPr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8A4CC3A3-7196-404F-8705-A64E4A2A10B4}"/>
                  </a:ext>
                </a:extLst>
              </p:cNvPr>
              <p:cNvSpPr/>
              <p:nvPr/>
            </p:nvSpPr>
            <p:spPr>
              <a:xfrm>
                <a:off x="9923730" y="2467814"/>
                <a:ext cx="899652" cy="311652"/>
              </a:xfrm>
              <a:custGeom>
                <a:avLst/>
                <a:gdLst>
                  <a:gd name="connsiteX0" fmla="*/ 569023 w 899652"/>
                  <a:gd name="connsiteY0" fmla="*/ 294546 h 311652"/>
                  <a:gd name="connsiteX1" fmla="*/ 851668 w 899652"/>
                  <a:gd name="connsiteY1" fmla="*/ 187438 h 311652"/>
                  <a:gd name="connsiteX2" fmla="*/ 887370 w 899652"/>
                  <a:gd name="connsiteY2" fmla="*/ 104132 h 311652"/>
                  <a:gd name="connsiteX3" fmla="*/ 839767 w 899652"/>
                  <a:gd name="connsiteY3" fmla="*/ 92231 h 311652"/>
                  <a:gd name="connsiteX4" fmla="*/ 381585 w 899652"/>
                  <a:gd name="connsiteY4" fmla="*/ 136860 h 311652"/>
                  <a:gd name="connsiteX5" fmla="*/ 39436 w 899652"/>
                  <a:gd name="connsiteY5" fmla="*/ 0 h 311652"/>
                  <a:gd name="connsiteX6" fmla="*/ 21585 w 899652"/>
                  <a:gd name="connsiteY6" fmla="*/ 14876 h 311652"/>
                  <a:gd name="connsiteX7" fmla="*/ 758 w 899652"/>
                  <a:gd name="connsiteY7" fmla="*/ 124959 h 311652"/>
                  <a:gd name="connsiteX8" fmla="*/ 15634 w 899652"/>
                  <a:gd name="connsiteY8" fmla="*/ 148760 h 311652"/>
                  <a:gd name="connsiteX9" fmla="*/ 313155 w 899652"/>
                  <a:gd name="connsiteY9" fmla="*/ 288595 h 311652"/>
                  <a:gd name="connsiteX10" fmla="*/ 569023 w 899652"/>
                  <a:gd name="connsiteY10" fmla="*/ 294546 h 311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9652" h="311652">
                    <a:moveTo>
                      <a:pt x="569023" y="294546"/>
                    </a:moveTo>
                    <a:cubicBezTo>
                      <a:pt x="664230" y="270744"/>
                      <a:pt x="759436" y="229091"/>
                      <a:pt x="851668" y="187438"/>
                    </a:cubicBezTo>
                    <a:cubicBezTo>
                      <a:pt x="911172" y="160661"/>
                      <a:pt x="905221" y="133884"/>
                      <a:pt x="887370" y="104132"/>
                    </a:cubicBezTo>
                    <a:cubicBezTo>
                      <a:pt x="884395" y="98182"/>
                      <a:pt x="860593" y="89256"/>
                      <a:pt x="839767" y="92231"/>
                    </a:cubicBezTo>
                    <a:cubicBezTo>
                      <a:pt x="685056" y="121983"/>
                      <a:pt x="536295" y="208264"/>
                      <a:pt x="381585" y="136860"/>
                    </a:cubicBezTo>
                    <a:cubicBezTo>
                      <a:pt x="268527" y="83306"/>
                      <a:pt x="170345" y="8926"/>
                      <a:pt x="39436" y="0"/>
                    </a:cubicBezTo>
                    <a:cubicBezTo>
                      <a:pt x="30510" y="0"/>
                      <a:pt x="21585" y="5950"/>
                      <a:pt x="21585" y="14876"/>
                    </a:cubicBezTo>
                    <a:cubicBezTo>
                      <a:pt x="21585" y="53554"/>
                      <a:pt x="15634" y="89256"/>
                      <a:pt x="758" y="124959"/>
                    </a:cubicBezTo>
                    <a:cubicBezTo>
                      <a:pt x="-2217" y="136860"/>
                      <a:pt x="3734" y="145785"/>
                      <a:pt x="15634" y="148760"/>
                    </a:cubicBezTo>
                    <a:cubicBezTo>
                      <a:pt x="128693" y="163636"/>
                      <a:pt x="209023" y="249917"/>
                      <a:pt x="313155" y="288595"/>
                    </a:cubicBezTo>
                    <a:cubicBezTo>
                      <a:pt x="393486" y="321322"/>
                      <a:pt x="485717" y="315372"/>
                      <a:pt x="569023" y="294546"/>
                    </a:cubicBezTo>
                    <a:close/>
                  </a:path>
                </a:pathLst>
              </a:custGeom>
              <a:solidFill>
                <a:srgbClr val="DB6963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8ABA0F80-191A-4912-ACDA-C25A6BB43A1A}"/>
                  </a:ext>
                </a:extLst>
              </p:cNvPr>
              <p:cNvSpPr/>
              <p:nvPr/>
            </p:nvSpPr>
            <p:spPr>
              <a:xfrm>
                <a:off x="9954241" y="2467814"/>
                <a:ext cx="38678" cy="160661"/>
              </a:xfrm>
              <a:custGeom>
                <a:avLst/>
                <a:gdLst>
                  <a:gd name="connsiteX0" fmla="*/ 5951 w 38678"/>
                  <a:gd name="connsiteY0" fmla="*/ 160661 h 160661"/>
                  <a:gd name="connsiteX1" fmla="*/ 5951 w 38678"/>
                  <a:gd name="connsiteY1" fmla="*/ 160661 h 160661"/>
                  <a:gd name="connsiteX2" fmla="*/ 0 w 38678"/>
                  <a:gd name="connsiteY2" fmla="*/ 151736 h 160661"/>
                  <a:gd name="connsiteX3" fmla="*/ 26777 w 38678"/>
                  <a:gd name="connsiteY3" fmla="*/ 5950 h 160661"/>
                  <a:gd name="connsiteX4" fmla="*/ 32727 w 38678"/>
                  <a:gd name="connsiteY4" fmla="*/ 0 h 160661"/>
                  <a:gd name="connsiteX5" fmla="*/ 32727 w 38678"/>
                  <a:gd name="connsiteY5" fmla="*/ 0 h 160661"/>
                  <a:gd name="connsiteX6" fmla="*/ 38678 w 38678"/>
                  <a:gd name="connsiteY6" fmla="*/ 5950 h 160661"/>
                  <a:gd name="connsiteX7" fmla="*/ 8926 w 38678"/>
                  <a:gd name="connsiteY7" fmla="*/ 157686 h 160661"/>
                  <a:gd name="connsiteX8" fmla="*/ 5951 w 38678"/>
                  <a:gd name="connsiteY8" fmla="*/ 160661 h 160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678" h="160661">
                    <a:moveTo>
                      <a:pt x="5951" y="160661"/>
                    </a:moveTo>
                    <a:cubicBezTo>
                      <a:pt x="5951" y="160661"/>
                      <a:pt x="5951" y="160661"/>
                      <a:pt x="5951" y="160661"/>
                    </a:cubicBezTo>
                    <a:cubicBezTo>
                      <a:pt x="0" y="157686"/>
                      <a:pt x="0" y="154711"/>
                      <a:pt x="0" y="151736"/>
                    </a:cubicBezTo>
                    <a:cubicBezTo>
                      <a:pt x="26777" y="92231"/>
                      <a:pt x="26777" y="5950"/>
                      <a:pt x="26777" y="5950"/>
                    </a:cubicBezTo>
                    <a:cubicBezTo>
                      <a:pt x="26777" y="2975"/>
                      <a:pt x="29752" y="0"/>
                      <a:pt x="32727" y="0"/>
                    </a:cubicBezTo>
                    <a:lnTo>
                      <a:pt x="32727" y="0"/>
                    </a:lnTo>
                    <a:cubicBezTo>
                      <a:pt x="35703" y="0"/>
                      <a:pt x="38678" y="2975"/>
                      <a:pt x="38678" y="5950"/>
                    </a:cubicBezTo>
                    <a:cubicBezTo>
                      <a:pt x="38678" y="8926"/>
                      <a:pt x="38678" y="95207"/>
                      <a:pt x="8926" y="157686"/>
                    </a:cubicBezTo>
                    <a:cubicBezTo>
                      <a:pt x="11901" y="160661"/>
                      <a:pt x="8926" y="160661"/>
                      <a:pt x="5951" y="160661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921F4804-08B0-4CE6-AF52-04A61192D517}"/>
                  </a:ext>
                </a:extLst>
              </p:cNvPr>
              <p:cNvSpPr/>
              <p:nvPr/>
            </p:nvSpPr>
            <p:spPr>
              <a:xfrm>
                <a:off x="9998869" y="2476739"/>
                <a:ext cx="38678" cy="160661"/>
              </a:xfrm>
              <a:custGeom>
                <a:avLst/>
                <a:gdLst>
                  <a:gd name="connsiteX0" fmla="*/ 5951 w 38678"/>
                  <a:gd name="connsiteY0" fmla="*/ 160661 h 160661"/>
                  <a:gd name="connsiteX1" fmla="*/ 5951 w 38678"/>
                  <a:gd name="connsiteY1" fmla="*/ 160661 h 160661"/>
                  <a:gd name="connsiteX2" fmla="*/ 0 w 38678"/>
                  <a:gd name="connsiteY2" fmla="*/ 151736 h 160661"/>
                  <a:gd name="connsiteX3" fmla="*/ 26777 w 38678"/>
                  <a:gd name="connsiteY3" fmla="*/ 5950 h 160661"/>
                  <a:gd name="connsiteX4" fmla="*/ 32727 w 38678"/>
                  <a:gd name="connsiteY4" fmla="*/ 0 h 160661"/>
                  <a:gd name="connsiteX5" fmla="*/ 32727 w 38678"/>
                  <a:gd name="connsiteY5" fmla="*/ 0 h 160661"/>
                  <a:gd name="connsiteX6" fmla="*/ 38678 w 38678"/>
                  <a:gd name="connsiteY6" fmla="*/ 5950 h 160661"/>
                  <a:gd name="connsiteX7" fmla="*/ 8926 w 38678"/>
                  <a:gd name="connsiteY7" fmla="*/ 157686 h 160661"/>
                  <a:gd name="connsiteX8" fmla="*/ 5951 w 38678"/>
                  <a:gd name="connsiteY8" fmla="*/ 160661 h 160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678" h="160661">
                    <a:moveTo>
                      <a:pt x="5951" y="160661"/>
                    </a:moveTo>
                    <a:cubicBezTo>
                      <a:pt x="5951" y="160661"/>
                      <a:pt x="5951" y="160661"/>
                      <a:pt x="5951" y="160661"/>
                    </a:cubicBezTo>
                    <a:cubicBezTo>
                      <a:pt x="0" y="157686"/>
                      <a:pt x="0" y="154711"/>
                      <a:pt x="0" y="151736"/>
                    </a:cubicBezTo>
                    <a:cubicBezTo>
                      <a:pt x="26777" y="92231"/>
                      <a:pt x="26777" y="5950"/>
                      <a:pt x="26777" y="5950"/>
                    </a:cubicBezTo>
                    <a:cubicBezTo>
                      <a:pt x="26777" y="2975"/>
                      <a:pt x="29752" y="0"/>
                      <a:pt x="32727" y="0"/>
                    </a:cubicBezTo>
                    <a:lnTo>
                      <a:pt x="32727" y="0"/>
                    </a:lnTo>
                    <a:cubicBezTo>
                      <a:pt x="35703" y="0"/>
                      <a:pt x="38678" y="2975"/>
                      <a:pt x="38678" y="5950"/>
                    </a:cubicBezTo>
                    <a:cubicBezTo>
                      <a:pt x="38678" y="8926"/>
                      <a:pt x="38678" y="95207"/>
                      <a:pt x="8926" y="157686"/>
                    </a:cubicBezTo>
                    <a:cubicBezTo>
                      <a:pt x="11901" y="160661"/>
                      <a:pt x="8926" y="160661"/>
                      <a:pt x="5951" y="160661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5" name="图形 1">
              <a:extLst>
                <a:ext uri="{FF2B5EF4-FFF2-40B4-BE49-F238E27FC236}">
                  <a16:creationId xmlns:a16="http://schemas.microsoft.com/office/drawing/2014/main" id="{1B5E578F-1172-47A6-89FC-4D58D1ED3927}"/>
                </a:ext>
              </a:extLst>
            </p:cNvPr>
            <p:cNvGrpSpPr/>
            <p:nvPr/>
          </p:nvGrpSpPr>
          <p:grpSpPr>
            <a:xfrm>
              <a:off x="15321513" y="3674815"/>
              <a:ext cx="298780" cy="181554"/>
              <a:chOff x="15321513" y="3674815"/>
              <a:chExt cx="298780" cy="181554"/>
            </a:xfrm>
          </p:grpSpPr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5EC88C79-3C00-4942-9BEF-E2614B41EC95}"/>
                  </a:ext>
                </a:extLst>
              </p:cNvPr>
              <p:cNvSpPr/>
              <p:nvPr/>
            </p:nvSpPr>
            <p:spPr>
              <a:xfrm>
                <a:off x="15327464" y="3681698"/>
                <a:ext cx="292829" cy="174671"/>
              </a:xfrm>
              <a:custGeom>
                <a:avLst/>
                <a:gdLst>
                  <a:gd name="connsiteX0" fmla="*/ 246942 w 292829"/>
                  <a:gd name="connsiteY0" fmla="*/ 29752 h 174671"/>
                  <a:gd name="connsiteX1" fmla="*/ 172562 w 292829"/>
                  <a:gd name="connsiteY1" fmla="*/ 5951 h 174671"/>
                  <a:gd name="connsiteX2" fmla="*/ 116033 w 292829"/>
                  <a:gd name="connsiteY2" fmla="*/ 2975 h 174671"/>
                  <a:gd name="connsiteX3" fmla="*/ 89256 w 292829"/>
                  <a:gd name="connsiteY3" fmla="*/ 23802 h 174671"/>
                  <a:gd name="connsiteX4" fmla="*/ 136860 w 292829"/>
                  <a:gd name="connsiteY4" fmla="*/ 35703 h 174671"/>
                  <a:gd name="connsiteX5" fmla="*/ 169587 w 292829"/>
                  <a:gd name="connsiteY5" fmla="*/ 71405 h 174671"/>
                  <a:gd name="connsiteX6" fmla="*/ 20827 w 292829"/>
                  <a:gd name="connsiteY6" fmla="*/ 50579 h 174671"/>
                  <a:gd name="connsiteX7" fmla="*/ 5951 w 292829"/>
                  <a:gd name="connsiteY7" fmla="*/ 62479 h 174671"/>
                  <a:gd name="connsiteX8" fmla="*/ 11901 w 292829"/>
                  <a:gd name="connsiteY8" fmla="*/ 65455 h 174671"/>
                  <a:gd name="connsiteX9" fmla="*/ 0 w 292829"/>
                  <a:gd name="connsiteY9" fmla="*/ 77355 h 174671"/>
                  <a:gd name="connsiteX10" fmla="*/ 20827 w 292829"/>
                  <a:gd name="connsiteY10" fmla="*/ 101157 h 174671"/>
                  <a:gd name="connsiteX11" fmla="*/ 62480 w 292829"/>
                  <a:gd name="connsiteY11" fmla="*/ 119008 h 174671"/>
                  <a:gd name="connsiteX12" fmla="*/ 26777 w 292829"/>
                  <a:gd name="connsiteY12" fmla="*/ 110083 h 174671"/>
                  <a:gd name="connsiteX13" fmla="*/ 17851 w 292829"/>
                  <a:gd name="connsiteY13" fmla="*/ 121983 h 174671"/>
                  <a:gd name="connsiteX14" fmla="*/ 136860 w 292829"/>
                  <a:gd name="connsiteY14" fmla="*/ 172562 h 174671"/>
                  <a:gd name="connsiteX15" fmla="*/ 282645 w 292829"/>
                  <a:gd name="connsiteY15" fmla="*/ 136859 h 174671"/>
                  <a:gd name="connsiteX16" fmla="*/ 285620 w 292829"/>
                  <a:gd name="connsiteY16" fmla="*/ 127934 h 174671"/>
                  <a:gd name="connsiteX17" fmla="*/ 246942 w 292829"/>
                  <a:gd name="connsiteY17" fmla="*/ 29752 h 174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92829" h="174671">
                    <a:moveTo>
                      <a:pt x="246942" y="29752"/>
                    </a:moveTo>
                    <a:cubicBezTo>
                      <a:pt x="220165" y="23802"/>
                      <a:pt x="196364" y="14876"/>
                      <a:pt x="172562" y="5951"/>
                    </a:cubicBezTo>
                    <a:cubicBezTo>
                      <a:pt x="142810" y="-2975"/>
                      <a:pt x="151736" y="0"/>
                      <a:pt x="116033" y="2975"/>
                    </a:cubicBezTo>
                    <a:cubicBezTo>
                      <a:pt x="110083" y="2975"/>
                      <a:pt x="89256" y="20827"/>
                      <a:pt x="89256" y="23802"/>
                    </a:cubicBezTo>
                    <a:cubicBezTo>
                      <a:pt x="89256" y="29752"/>
                      <a:pt x="101157" y="41653"/>
                      <a:pt x="136860" y="35703"/>
                    </a:cubicBezTo>
                    <a:cubicBezTo>
                      <a:pt x="151736" y="44628"/>
                      <a:pt x="163636" y="65455"/>
                      <a:pt x="169587" y="71405"/>
                    </a:cubicBezTo>
                    <a:cubicBezTo>
                      <a:pt x="145785" y="101157"/>
                      <a:pt x="32727" y="29752"/>
                      <a:pt x="20827" y="50579"/>
                    </a:cubicBezTo>
                    <a:cubicBezTo>
                      <a:pt x="17851" y="53554"/>
                      <a:pt x="2975" y="59504"/>
                      <a:pt x="5951" y="62479"/>
                    </a:cubicBezTo>
                    <a:cubicBezTo>
                      <a:pt x="5951" y="62479"/>
                      <a:pt x="8925" y="65455"/>
                      <a:pt x="11901" y="65455"/>
                    </a:cubicBezTo>
                    <a:cubicBezTo>
                      <a:pt x="2975" y="65455"/>
                      <a:pt x="0" y="65455"/>
                      <a:pt x="0" y="77355"/>
                    </a:cubicBezTo>
                    <a:cubicBezTo>
                      <a:pt x="0" y="86281"/>
                      <a:pt x="11901" y="92231"/>
                      <a:pt x="20827" y="101157"/>
                    </a:cubicBezTo>
                    <a:cubicBezTo>
                      <a:pt x="32727" y="110083"/>
                      <a:pt x="50579" y="113058"/>
                      <a:pt x="62480" y="119008"/>
                    </a:cubicBezTo>
                    <a:cubicBezTo>
                      <a:pt x="56529" y="119008"/>
                      <a:pt x="29752" y="110083"/>
                      <a:pt x="26777" y="110083"/>
                    </a:cubicBezTo>
                    <a:cubicBezTo>
                      <a:pt x="23801" y="113058"/>
                      <a:pt x="17851" y="119008"/>
                      <a:pt x="17851" y="121983"/>
                    </a:cubicBezTo>
                    <a:cubicBezTo>
                      <a:pt x="20827" y="139835"/>
                      <a:pt x="104132" y="169587"/>
                      <a:pt x="136860" y="172562"/>
                    </a:cubicBezTo>
                    <a:cubicBezTo>
                      <a:pt x="184463" y="181488"/>
                      <a:pt x="243967" y="160661"/>
                      <a:pt x="282645" y="136859"/>
                    </a:cubicBezTo>
                    <a:cubicBezTo>
                      <a:pt x="285620" y="133884"/>
                      <a:pt x="288595" y="130909"/>
                      <a:pt x="285620" y="127934"/>
                    </a:cubicBezTo>
                    <a:cubicBezTo>
                      <a:pt x="300496" y="92231"/>
                      <a:pt x="294545" y="41653"/>
                      <a:pt x="246942" y="29752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1300EBA3-FB84-4BA7-93E7-BEB47E7DDDFF}"/>
                  </a:ext>
                </a:extLst>
              </p:cNvPr>
              <p:cNvSpPr/>
              <p:nvPr/>
            </p:nvSpPr>
            <p:spPr>
              <a:xfrm>
                <a:off x="15321513" y="3735996"/>
                <a:ext cx="130909" cy="91487"/>
              </a:xfrm>
              <a:custGeom>
                <a:avLst/>
                <a:gdLst>
                  <a:gd name="connsiteX0" fmla="*/ 104132 w 130909"/>
                  <a:gd name="connsiteY0" fmla="*/ 91488 h 91487"/>
                  <a:gd name="connsiteX1" fmla="*/ 104132 w 130909"/>
                  <a:gd name="connsiteY1" fmla="*/ 91488 h 91487"/>
                  <a:gd name="connsiteX2" fmla="*/ 26778 w 130909"/>
                  <a:gd name="connsiteY2" fmla="*/ 52810 h 91487"/>
                  <a:gd name="connsiteX3" fmla="*/ 0 w 130909"/>
                  <a:gd name="connsiteY3" fmla="*/ 20083 h 91487"/>
                  <a:gd name="connsiteX4" fmla="*/ 5951 w 130909"/>
                  <a:gd name="connsiteY4" fmla="*/ 2231 h 91487"/>
                  <a:gd name="connsiteX5" fmla="*/ 47603 w 130909"/>
                  <a:gd name="connsiteY5" fmla="*/ 20083 h 91487"/>
                  <a:gd name="connsiteX6" fmla="*/ 124959 w 130909"/>
                  <a:gd name="connsiteY6" fmla="*/ 58760 h 91487"/>
                  <a:gd name="connsiteX7" fmla="*/ 130910 w 130909"/>
                  <a:gd name="connsiteY7" fmla="*/ 64711 h 91487"/>
                  <a:gd name="connsiteX8" fmla="*/ 124959 w 130909"/>
                  <a:gd name="connsiteY8" fmla="*/ 70661 h 91487"/>
                  <a:gd name="connsiteX9" fmla="*/ 41654 w 130909"/>
                  <a:gd name="connsiteY9" fmla="*/ 29008 h 91487"/>
                  <a:gd name="connsiteX10" fmla="*/ 11902 w 130909"/>
                  <a:gd name="connsiteY10" fmla="*/ 11157 h 91487"/>
                  <a:gd name="connsiteX11" fmla="*/ 8926 w 130909"/>
                  <a:gd name="connsiteY11" fmla="*/ 17107 h 91487"/>
                  <a:gd name="connsiteX12" fmla="*/ 32727 w 130909"/>
                  <a:gd name="connsiteY12" fmla="*/ 40909 h 91487"/>
                  <a:gd name="connsiteX13" fmla="*/ 107108 w 130909"/>
                  <a:gd name="connsiteY13" fmla="*/ 76612 h 91487"/>
                  <a:gd name="connsiteX14" fmla="*/ 110083 w 130909"/>
                  <a:gd name="connsiteY14" fmla="*/ 85537 h 91487"/>
                  <a:gd name="connsiteX15" fmla="*/ 104132 w 130909"/>
                  <a:gd name="connsiteY15" fmla="*/ 91488 h 91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0909" h="91487">
                    <a:moveTo>
                      <a:pt x="104132" y="91488"/>
                    </a:moveTo>
                    <a:cubicBezTo>
                      <a:pt x="104132" y="91488"/>
                      <a:pt x="104132" y="91488"/>
                      <a:pt x="104132" y="91488"/>
                    </a:cubicBezTo>
                    <a:cubicBezTo>
                      <a:pt x="98182" y="91488"/>
                      <a:pt x="44628" y="67686"/>
                      <a:pt x="26778" y="52810"/>
                    </a:cubicBezTo>
                    <a:cubicBezTo>
                      <a:pt x="8926" y="40909"/>
                      <a:pt x="0" y="31983"/>
                      <a:pt x="0" y="20083"/>
                    </a:cubicBezTo>
                    <a:cubicBezTo>
                      <a:pt x="0" y="14132"/>
                      <a:pt x="2975" y="8182"/>
                      <a:pt x="5951" y="2231"/>
                    </a:cubicBezTo>
                    <a:cubicBezTo>
                      <a:pt x="11902" y="-3719"/>
                      <a:pt x="20827" y="2231"/>
                      <a:pt x="47603" y="20083"/>
                    </a:cubicBezTo>
                    <a:cubicBezTo>
                      <a:pt x="71406" y="34959"/>
                      <a:pt x="104132" y="58760"/>
                      <a:pt x="124959" y="58760"/>
                    </a:cubicBezTo>
                    <a:cubicBezTo>
                      <a:pt x="127934" y="58760"/>
                      <a:pt x="130910" y="61736"/>
                      <a:pt x="130910" y="64711"/>
                    </a:cubicBezTo>
                    <a:cubicBezTo>
                      <a:pt x="130910" y="67686"/>
                      <a:pt x="127934" y="70661"/>
                      <a:pt x="124959" y="70661"/>
                    </a:cubicBezTo>
                    <a:cubicBezTo>
                      <a:pt x="101158" y="67686"/>
                      <a:pt x="68430" y="46859"/>
                      <a:pt x="41654" y="29008"/>
                    </a:cubicBezTo>
                    <a:cubicBezTo>
                      <a:pt x="29752" y="23058"/>
                      <a:pt x="17851" y="14132"/>
                      <a:pt x="11902" y="11157"/>
                    </a:cubicBezTo>
                    <a:cubicBezTo>
                      <a:pt x="8926" y="14132"/>
                      <a:pt x="8926" y="17107"/>
                      <a:pt x="8926" y="17107"/>
                    </a:cubicBezTo>
                    <a:cubicBezTo>
                      <a:pt x="8926" y="23058"/>
                      <a:pt x="20827" y="31983"/>
                      <a:pt x="32727" y="40909"/>
                    </a:cubicBezTo>
                    <a:cubicBezTo>
                      <a:pt x="50579" y="55785"/>
                      <a:pt x="107108" y="76612"/>
                      <a:pt x="107108" y="76612"/>
                    </a:cubicBezTo>
                    <a:cubicBezTo>
                      <a:pt x="110083" y="76612"/>
                      <a:pt x="110083" y="82562"/>
                      <a:pt x="110083" y="85537"/>
                    </a:cubicBezTo>
                    <a:cubicBezTo>
                      <a:pt x="110083" y="91488"/>
                      <a:pt x="107108" y="91488"/>
                      <a:pt x="104132" y="91488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7D427EF0-6565-4D2C-AF51-DB640AAB226A}"/>
                  </a:ext>
                </a:extLst>
              </p:cNvPr>
              <p:cNvSpPr/>
              <p:nvPr/>
            </p:nvSpPr>
            <p:spPr>
              <a:xfrm>
                <a:off x="15341018" y="3674815"/>
                <a:ext cx="194710" cy="93164"/>
              </a:xfrm>
              <a:custGeom>
                <a:avLst/>
                <a:gdLst>
                  <a:gd name="connsiteX0" fmla="*/ 126281 w 194710"/>
                  <a:gd name="connsiteY0" fmla="*/ 93164 h 93164"/>
                  <a:gd name="connsiteX1" fmla="*/ 126281 w 194710"/>
                  <a:gd name="connsiteY1" fmla="*/ 93164 h 93164"/>
                  <a:gd name="connsiteX2" fmla="*/ 57851 w 194710"/>
                  <a:gd name="connsiteY2" fmla="*/ 69363 h 93164"/>
                  <a:gd name="connsiteX3" fmla="*/ 25124 w 194710"/>
                  <a:gd name="connsiteY3" fmla="*/ 57462 h 93164"/>
                  <a:gd name="connsiteX4" fmla="*/ 13223 w 194710"/>
                  <a:gd name="connsiteY4" fmla="*/ 63412 h 93164"/>
                  <a:gd name="connsiteX5" fmla="*/ 13223 w 194710"/>
                  <a:gd name="connsiteY5" fmla="*/ 69363 h 93164"/>
                  <a:gd name="connsiteX6" fmla="*/ 10248 w 194710"/>
                  <a:gd name="connsiteY6" fmla="*/ 78288 h 93164"/>
                  <a:gd name="connsiteX7" fmla="*/ 1322 w 194710"/>
                  <a:gd name="connsiteY7" fmla="*/ 75313 h 93164"/>
                  <a:gd name="connsiteX8" fmla="*/ 1322 w 194710"/>
                  <a:gd name="connsiteY8" fmla="*/ 60437 h 93164"/>
                  <a:gd name="connsiteX9" fmla="*/ 22149 w 194710"/>
                  <a:gd name="connsiteY9" fmla="*/ 48536 h 93164"/>
                  <a:gd name="connsiteX10" fmla="*/ 63802 w 194710"/>
                  <a:gd name="connsiteY10" fmla="*/ 60437 h 93164"/>
                  <a:gd name="connsiteX11" fmla="*/ 126281 w 194710"/>
                  <a:gd name="connsiteY11" fmla="*/ 81264 h 93164"/>
                  <a:gd name="connsiteX12" fmla="*/ 153058 w 194710"/>
                  <a:gd name="connsiteY12" fmla="*/ 75313 h 93164"/>
                  <a:gd name="connsiteX13" fmla="*/ 126281 w 194710"/>
                  <a:gd name="connsiteY13" fmla="*/ 48536 h 93164"/>
                  <a:gd name="connsiteX14" fmla="*/ 78678 w 194710"/>
                  <a:gd name="connsiteY14" fmla="*/ 33660 h 93164"/>
                  <a:gd name="connsiteX15" fmla="*/ 93554 w 194710"/>
                  <a:gd name="connsiteY15" fmla="*/ 9859 h 93164"/>
                  <a:gd name="connsiteX16" fmla="*/ 191735 w 194710"/>
                  <a:gd name="connsiteY16" fmla="*/ 12834 h 93164"/>
                  <a:gd name="connsiteX17" fmla="*/ 194711 w 194710"/>
                  <a:gd name="connsiteY17" fmla="*/ 21759 h 93164"/>
                  <a:gd name="connsiteX18" fmla="*/ 185786 w 194710"/>
                  <a:gd name="connsiteY18" fmla="*/ 24735 h 93164"/>
                  <a:gd name="connsiteX19" fmla="*/ 99504 w 194710"/>
                  <a:gd name="connsiteY19" fmla="*/ 18784 h 93164"/>
                  <a:gd name="connsiteX20" fmla="*/ 90579 w 194710"/>
                  <a:gd name="connsiteY20" fmla="*/ 30685 h 93164"/>
                  <a:gd name="connsiteX21" fmla="*/ 129256 w 194710"/>
                  <a:gd name="connsiteY21" fmla="*/ 36635 h 93164"/>
                  <a:gd name="connsiteX22" fmla="*/ 132231 w 194710"/>
                  <a:gd name="connsiteY22" fmla="*/ 36635 h 93164"/>
                  <a:gd name="connsiteX23" fmla="*/ 164959 w 194710"/>
                  <a:gd name="connsiteY23" fmla="*/ 75313 h 93164"/>
                  <a:gd name="connsiteX24" fmla="*/ 161983 w 194710"/>
                  <a:gd name="connsiteY24" fmla="*/ 81264 h 93164"/>
                  <a:gd name="connsiteX25" fmla="*/ 126281 w 194710"/>
                  <a:gd name="connsiteY25" fmla="*/ 93164 h 93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94710" h="93164">
                    <a:moveTo>
                      <a:pt x="126281" y="93164"/>
                    </a:moveTo>
                    <a:cubicBezTo>
                      <a:pt x="123306" y="93164"/>
                      <a:pt x="123306" y="93164"/>
                      <a:pt x="126281" y="93164"/>
                    </a:cubicBezTo>
                    <a:cubicBezTo>
                      <a:pt x="96529" y="90189"/>
                      <a:pt x="75703" y="81264"/>
                      <a:pt x="57851" y="69363"/>
                    </a:cubicBezTo>
                    <a:cubicBezTo>
                      <a:pt x="42975" y="63412"/>
                      <a:pt x="31074" y="57462"/>
                      <a:pt x="25124" y="57462"/>
                    </a:cubicBezTo>
                    <a:cubicBezTo>
                      <a:pt x="19174" y="57462"/>
                      <a:pt x="16198" y="60437"/>
                      <a:pt x="13223" y="63412"/>
                    </a:cubicBezTo>
                    <a:cubicBezTo>
                      <a:pt x="13223" y="66388"/>
                      <a:pt x="13223" y="69363"/>
                      <a:pt x="13223" y="69363"/>
                    </a:cubicBezTo>
                    <a:cubicBezTo>
                      <a:pt x="13223" y="72338"/>
                      <a:pt x="13223" y="75313"/>
                      <a:pt x="10248" y="78288"/>
                    </a:cubicBezTo>
                    <a:cubicBezTo>
                      <a:pt x="7273" y="78288"/>
                      <a:pt x="4298" y="78288"/>
                      <a:pt x="1322" y="75313"/>
                    </a:cubicBezTo>
                    <a:cubicBezTo>
                      <a:pt x="1322" y="75313"/>
                      <a:pt x="-1653" y="66388"/>
                      <a:pt x="1322" y="60437"/>
                    </a:cubicBezTo>
                    <a:cubicBezTo>
                      <a:pt x="4298" y="54487"/>
                      <a:pt x="10248" y="51512"/>
                      <a:pt x="22149" y="48536"/>
                    </a:cubicBezTo>
                    <a:cubicBezTo>
                      <a:pt x="34050" y="45561"/>
                      <a:pt x="48926" y="54487"/>
                      <a:pt x="63802" y="60437"/>
                    </a:cubicBezTo>
                    <a:cubicBezTo>
                      <a:pt x="81653" y="69363"/>
                      <a:pt x="102479" y="81264"/>
                      <a:pt x="126281" y="81264"/>
                    </a:cubicBezTo>
                    <a:cubicBezTo>
                      <a:pt x="132231" y="81264"/>
                      <a:pt x="144132" y="78288"/>
                      <a:pt x="153058" y="75313"/>
                    </a:cubicBezTo>
                    <a:cubicBezTo>
                      <a:pt x="150083" y="69363"/>
                      <a:pt x="138182" y="57462"/>
                      <a:pt x="126281" y="48536"/>
                    </a:cubicBezTo>
                    <a:cubicBezTo>
                      <a:pt x="96529" y="45561"/>
                      <a:pt x="81653" y="42586"/>
                      <a:pt x="78678" y="33660"/>
                    </a:cubicBezTo>
                    <a:cubicBezTo>
                      <a:pt x="75703" y="24735"/>
                      <a:pt x="84628" y="15809"/>
                      <a:pt x="93554" y="9859"/>
                    </a:cubicBezTo>
                    <a:cubicBezTo>
                      <a:pt x="123306" y="-13943"/>
                      <a:pt x="188760" y="12834"/>
                      <a:pt x="191735" y="12834"/>
                    </a:cubicBezTo>
                    <a:cubicBezTo>
                      <a:pt x="194711" y="12834"/>
                      <a:pt x="194711" y="18784"/>
                      <a:pt x="194711" y="21759"/>
                    </a:cubicBezTo>
                    <a:cubicBezTo>
                      <a:pt x="194711" y="24735"/>
                      <a:pt x="188760" y="24735"/>
                      <a:pt x="185786" y="24735"/>
                    </a:cubicBezTo>
                    <a:cubicBezTo>
                      <a:pt x="167934" y="18784"/>
                      <a:pt x="120331" y="3908"/>
                      <a:pt x="99504" y="18784"/>
                    </a:cubicBezTo>
                    <a:cubicBezTo>
                      <a:pt x="90579" y="27710"/>
                      <a:pt x="90579" y="30685"/>
                      <a:pt x="90579" y="30685"/>
                    </a:cubicBezTo>
                    <a:cubicBezTo>
                      <a:pt x="90579" y="33660"/>
                      <a:pt x="99504" y="36635"/>
                      <a:pt x="129256" y="36635"/>
                    </a:cubicBezTo>
                    <a:cubicBezTo>
                      <a:pt x="129256" y="36635"/>
                      <a:pt x="132231" y="36635"/>
                      <a:pt x="132231" y="36635"/>
                    </a:cubicBezTo>
                    <a:cubicBezTo>
                      <a:pt x="141157" y="42586"/>
                      <a:pt x="164959" y="63412"/>
                      <a:pt x="164959" y="75313"/>
                    </a:cubicBezTo>
                    <a:cubicBezTo>
                      <a:pt x="164959" y="78288"/>
                      <a:pt x="164959" y="78288"/>
                      <a:pt x="161983" y="81264"/>
                    </a:cubicBezTo>
                    <a:cubicBezTo>
                      <a:pt x="159008" y="84239"/>
                      <a:pt x="138182" y="93164"/>
                      <a:pt x="126281" y="93164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5E9ACECC-6557-4FFD-9024-E6B506813629}"/>
                </a:ext>
              </a:extLst>
            </p:cNvPr>
            <p:cNvSpPr/>
            <p:nvPr/>
          </p:nvSpPr>
          <p:spPr>
            <a:xfrm>
              <a:off x="15551245" y="3042953"/>
              <a:ext cx="947845" cy="891740"/>
            </a:xfrm>
            <a:custGeom>
              <a:avLst/>
              <a:gdLst>
                <a:gd name="connsiteX0" fmla="*/ 603326 w 947845"/>
                <a:gd name="connsiteY0" fmla="*/ 210315 h 891740"/>
                <a:gd name="connsiteX1" fmla="*/ 508120 w 947845"/>
                <a:gd name="connsiteY1" fmla="*/ 608993 h 891740"/>
                <a:gd name="connsiteX2" fmla="*/ 14235 w 947845"/>
                <a:gd name="connsiteY2" fmla="*/ 653621 h 891740"/>
                <a:gd name="connsiteX3" fmla="*/ 2335 w 947845"/>
                <a:gd name="connsiteY3" fmla="*/ 808332 h 891740"/>
                <a:gd name="connsiteX4" fmla="*/ 755061 w 947845"/>
                <a:gd name="connsiteY4" fmla="*/ 790480 h 891740"/>
                <a:gd name="connsiteX5" fmla="*/ 936549 w 947845"/>
                <a:gd name="connsiteY5" fmla="*/ 263869 h 891740"/>
                <a:gd name="connsiteX6" fmla="*/ 897872 w 947845"/>
                <a:gd name="connsiteY6" fmla="*/ 5026 h 891740"/>
                <a:gd name="connsiteX7" fmla="*/ 603326 w 947845"/>
                <a:gd name="connsiteY7" fmla="*/ 210315 h 89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47845" h="891740">
                  <a:moveTo>
                    <a:pt x="603326" y="210315"/>
                  </a:moveTo>
                  <a:cubicBezTo>
                    <a:pt x="561673" y="287670"/>
                    <a:pt x="540847" y="564365"/>
                    <a:pt x="508120" y="608993"/>
                  </a:cubicBezTo>
                  <a:cubicBezTo>
                    <a:pt x="484317" y="641720"/>
                    <a:pt x="82665" y="558414"/>
                    <a:pt x="14235" y="653621"/>
                  </a:cubicBezTo>
                  <a:cubicBezTo>
                    <a:pt x="2335" y="683373"/>
                    <a:pt x="-3616" y="745852"/>
                    <a:pt x="2335" y="808332"/>
                  </a:cubicBezTo>
                  <a:cubicBezTo>
                    <a:pt x="70764" y="888662"/>
                    <a:pt x="633078" y="954117"/>
                    <a:pt x="755061" y="790480"/>
                  </a:cubicBezTo>
                  <a:cubicBezTo>
                    <a:pt x="796714" y="736927"/>
                    <a:pt x="903822" y="439406"/>
                    <a:pt x="936549" y="263869"/>
                  </a:cubicBezTo>
                  <a:cubicBezTo>
                    <a:pt x="954401" y="180563"/>
                    <a:pt x="957376" y="28827"/>
                    <a:pt x="897872" y="5026"/>
                  </a:cubicBezTo>
                  <a:cubicBezTo>
                    <a:pt x="805640" y="-27701"/>
                    <a:pt x="659855" y="106183"/>
                    <a:pt x="603326" y="210315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6A945786-AF06-4824-A426-CDE98996638C}"/>
                </a:ext>
              </a:extLst>
            </p:cNvPr>
            <p:cNvSpPr/>
            <p:nvPr/>
          </p:nvSpPr>
          <p:spPr>
            <a:xfrm>
              <a:off x="15546105" y="3042029"/>
              <a:ext cx="853665" cy="895537"/>
            </a:xfrm>
            <a:custGeom>
              <a:avLst/>
              <a:gdLst>
                <a:gd name="connsiteX0" fmla="*/ 364500 w 853665"/>
                <a:gd name="connsiteY0" fmla="*/ 895537 h 895537"/>
                <a:gd name="connsiteX1" fmla="*/ 302020 w 853665"/>
                <a:gd name="connsiteY1" fmla="*/ 895537 h 895537"/>
                <a:gd name="connsiteX2" fmla="*/ 7475 w 853665"/>
                <a:gd name="connsiteY2" fmla="*/ 815207 h 895537"/>
                <a:gd name="connsiteX3" fmla="*/ 4499 w 853665"/>
                <a:gd name="connsiteY3" fmla="*/ 815207 h 895537"/>
                <a:gd name="connsiteX4" fmla="*/ 4499 w 853665"/>
                <a:gd name="connsiteY4" fmla="*/ 812232 h 895537"/>
                <a:gd name="connsiteX5" fmla="*/ 16400 w 853665"/>
                <a:gd name="connsiteY5" fmla="*/ 654545 h 895537"/>
                <a:gd name="connsiteX6" fmla="*/ 16400 w 853665"/>
                <a:gd name="connsiteY6" fmla="*/ 651570 h 895537"/>
                <a:gd name="connsiteX7" fmla="*/ 516235 w 853665"/>
                <a:gd name="connsiteY7" fmla="*/ 612893 h 895537"/>
                <a:gd name="connsiteX8" fmla="*/ 590615 w 853665"/>
                <a:gd name="connsiteY8" fmla="*/ 345124 h 895537"/>
                <a:gd name="connsiteX9" fmla="*/ 593590 w 853665"/>
                <a:gd name="connsiteY9" fmla="*/ 339174 h 895537"/>
                <a:gd name="connsiteX10" fmla="*/ 694748 w 853665"/>
                <a:gd name="connsiteY10" fmla="*/ 92231 h 895537"/>
                <a:gd name="connsiteX11" fmla="*/ 846483 w 853665"/>
                <a:gd name="connsiteY11" fmla="*/ 0 h 895537"/>
                <a:gd name="connsiteX12" fmla="*/ 852433 w 853665"/>
                <a:gd name="connsiteY12" fmla="*/ 5950 h 895537"/>
                <a:gd name="connsiteX13" fmla="*/ 846483 w 853665"/>
                <a:gd name="connsiteY13" fmla="*/ 11901 h 895537"/>
                <a:gd name="connsiteX14" fmla="*/ 703673 w 853665"/>
                <a:gd name="connsiteY14" fmla="*/ 101157 h 895537"/>
                <a:gd name="connsiteX15" fmla="*/ 605492 w 853665"/>
                <a:gd name="connsiteY15" fmla="*/ 345124 h 895537"/>
                <a:gd name="connsiteX16" fmla="*/ 602516 w 853665"/>
                <a:gd name="connsiteY16" fmla="*/ 351074 h 895537"/>
                <a:gd name="connsiteX17" fmla="*/ 525161 w 853665"/>
                <a:gd name="connsiteY17" fmla="*/ 621818 h 895537"/>
                <a:gd name="connsiteX18" fmla="*/ 525161 w 853665"/>
                <a:gd name="connsiteY18" fmla="*/ 627769 h 895537"/>
                <a:gd name="connsiteX19" fmla="*/ 519210 w 853665"/>
                <a:gd name="connsiteY19" fmla="*/ 627769 h 895537"/>
                <a:gd name="connsiteX20" fmla="*/ 25326 w 853665"/>
                <a:gd name="connsiteY20" fmla="*/ 663471 h 895537"/>
                <a:gd name="connsiteX21" fmla="*/ 13425 w 853665"/>
                <a:gd name="connsiteY21" fmla="*/ 812232 h 895537"/>
                <a:gd name="connsiteX22" fmla="*/ 299045 w 853665"/>
                <a:gd name="connsiteY22" fmla="*/ 889587 h 895537"/>
                <a:gd name="connsiteX23" fmla="*/ 730450 w 853665"/>
                <a:gd name="connsiteY23" fmla="*/ 818182 h 895537"/>
                <a:gd name="connsiteX24" fmla="*/ 843508 w 853665"/>
                <a:gd name="connsiteY24" fmla="*/ 583140 h 895537"/>
                <a:gd name="connsiteX25" fmla="*/ 849458 w 853665"/>
                <a:gd name="connsiteY25" fmla="*/ 580165 h 895537"/>
                <a:gd name="connsiteX26" fmla="*/ 852433 w 853665"/>
                <a:gd name="connsiteY26" fmla="*/ 586116 h 895537"/>
                <a:gd name="connsiteX27" fmla="*/ 733425 w 853665"/>
                <a:gd name="connsiteY27" fmla="*/ 824132 h 895537"/>
                <a:gd name="connsiteX28" fmla="*/ 364500 w 853665"/>
                <a:gd name="connsiteY28" fmla="*/ 895537 h 895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53665" h="895537">
                  <a:moveTo>
                    <a:pt x="364500" y="895537"/>
                  </a:moveTo>
                  <a:cubicBezTo>
                    <a:pt x="343673" y="895537"/>
                    <a:pt x="322847" y="895537"/>
                    <a:pt x="302020" y="895537"/>
                  </a:cubicBezTo>
                  <a:cubicBezTo>
                    <a:pt x="126483" y="895537"/>
                    <a:pt x="7475" y="815207"/>
                    <a:pt x="7475" y="815207"/>
                  </a:cubicBezTo>
                  <a:lnTo>
                    <a:pt x="4499" y="815207"/>
                  </a:lnTo>
                  <a:lnTo>
                    <a:pt x="4499" y="812232"/>
                  </a:lnTo>
                  <a:cubicBezTo>
                    <a:pt x="-10377" y="722975"/>
                    <a:pt x="16400" y="657521"/>
                    <a:pt x="16400" y="654545"/>
                  </a:cubicBezTo>
                  <a:lnTo>
                    <a:pt x="16400" y="651570"/>
                  </a:lnTo>
                  <a:cubicBezTo>
                    <a:pt x="87805" y="571240"/>
                    <a:pt x="465656" y="606942"/>
                    <a:pt x="516235" y="612893"/>
                  </a:cubicBezTo>
                  <a:cubicBezTo>
                    <a:pt x="522185" y="589091"/>
                    <a:pt x="548962" y="470083"/>
                    <a:pt x="590615" y="345124"/>
                  </a:cubicBezTo>
                  <a:lnTo>
                    <a:pt x="593590" y="339174"/>
                  </a:lnTo>
                  <a:cubicBezTo>
                    <a:pt x="620368" y="258843"/>
                    <a:pt x="662020" y="136860"/>
                    <a:pt x="694748" y="92231"/>
                  </a:cubicBezTo>
                  <a:cubicBezTo>
                    <a:pt x="754252" y="11901"/>
                    <a:pt x="843508" y="0"/>
                    <a:pt x="846483" y="0"/>
                  </a:cubicBezTo>
                  <a:cubicBezTo>
                    <a:pt x="849458" y="0"/>
                    <a:pt x="852433" y="2975"/>
                    <a:pt x="852433" y="5950"/>
                  </a:cubicBezTo>
                  <a:cubicBezTo>
                    <a:pt x="852433" y="8926"/>
                    <a:pt x="849458" y="11901"/>
                    <a:pt x="846483" y="11901"/>
                  </a:cubicBezTo>
                  <a:cubicBezTo>
                    <a:pt x="846483" y="11901"/>
                    <a:pt x="757226" y="26777"/>
                    <a:pt x="703673" y="101157"/>
                  </a:cubicBezTo>
                  <a:cubicBezTo>
                    <a:pt x="673921" y="142810"/>
                    <a:pt x="629293" y="267769"/>
                    <a:pt x="605492" y="345124"/>
                  </a:cubicBezTo>
                  <a:lnTo>
                    <a:pt x="602516" y="351074"/>
                  </a:lnTo>
                  <a:cubicBezTo>
                    <a:pt x="554913" y="493884"/>
                    <a:pt x="525161" y="621818"/>
                    <a:pt x="525161" y="621818"/>
                  </a:cubicBezTo>
                  <a:lnTo>
                    <a:pt x="525161" y="627769"/>
                  </a:lnTo>
                  <a:lnTo>
                    <a:pt x="519210" y="627769"/>
                  </a:lnTo>
                  <a:cubicBezTo>
                    <a:pt x="516235" y="627769"/>
                    <a:pt x="96731" y="583140"/>
                    <a:pt x="25326" y="663471"/>
                  </a:cubicBezTo>
                  <a:cubicBezTo>
                    <a:pt x="22351" y="672397"/>
                    <a:pt x="1524" y="731901"/>
                    <a:pt x="13425" y="812232"/>
                  </a:cubicBezTo>
                  <a:cubicBezTo>
                    <a:pt x="28301" y="821157"/>
                    <a:pt x="141359" y="889587"/>
                    <a:pt x="299045" y="889587"/>
                  </a:cubicBezTo>
                  <a:cubicBezTo>
                    <a:pt x="465656" y="889587"/>
                    <a:pt x="653094" y="892562"/>
                    <a:pt x="730450" y="818182"/>
                  </a:cubicBezTo>
                  <a:cubicBezTo>
                    <a:pt x="807805" y="746777"/>
                    <a:pt x="843508" y="586116"/>
                    <a:pt x="843508" y="583140"/>
                  </a:cubicBezTo>
                  <a:cubicBezTo>
                    <a:pt x="843508" y="580165"/>
                    <a:pt x="846483" y="577190"/>
                    <a:pt x="849458" y="580165"/>
                  </a:cubicBezTo>
                  <a:cubicBezTo>
                    <a:pt x="852433" y="580165"/>
                    <a:pt x="855409" y="583140"/>
                    <a:pt x="852433" y="586116"/>
                  </a:cubicBezTo>
                  <a:cubicBezTo>
                    <a:pt x="852433" y="592066"/>
                    <a:pt x="816730" y="749752"/>
                    <a:pt x="733425" y="824132"/>
                  </a:cubicBezTo>
                  <a:cubicBezTo>
                    <a:pt x="667970" y="889587"/>
                    <a:pt x="513260" y="895537"/>
                    <a:pt x="364500" y="895537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8" name="图形 1">
              <a:extLst>
                <a:ext uri="{FF2B5EF4-FFF2-40B4-BE49-F238E27FC236}">
                  <a16:creationId xmlns:a16="http://schemas.microsoft.com/office/drawing/2014/main" id="{DCA21287-085B-4042-B5C3-F272462D43D6}"/>
                </a:ext>
              </a:extLst>
            </p:cNvPr>
            <p:cNvGrpSpPr/>
            <p:nvPr/>
          </p:nvGrpSpPr>
          <p:grpSpPr>
            <a:xfrm>
              <a:off x="14752017" y="3333599"/>
              <a:ext cx="122194" cy="199338"/>
              <a:chOff x="14752017" y="3333599"/>
              <a:chExt cx="122194" cy="199338"/>
            </a:xfrm>
          </p:grpSpPr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AC569A1C-8262-4F85-A3CB-6321934A373F}"/>
                  </a:ext>
                </a:extLst>
              </p:cNvPr>
              <p:cNvSpPr/>
              <p:nvPr/>
            </p:nvSpPr>
            <p:spPr>
              <a:xfrm>
                <a:off x="14757273" y="3333822"/>
                <a:ext cx="113181" cy="83826"/>
              </a:xfrm>
              <a:custGeom>
                <a:avLst/>
                <a:gdLst>
                  <a:gd name="connsiteX0" fmla="*/ 13827 w 113181"/>
                  <a:gd name="connsiteY0" fmla="*/ 2752 h 83826"/>
                  <a:gd name="connsiteX1" fmla="*/ 85233 w 113181"/>
                  <a:gd name="connsiteY1" fmla="*/ 17628 h 83826"/>
                  <a:gd name="connsiteX2" fmla="*/ 97133 w 113181"/>
                  <a:gd name="connsiteY2" fmla="*/ 20603 h 83826"/>
                  <a:gd name="connsiteX3" fmla="*/ 106059 w 113181"/>
                  <a:gd name="connsiteY3" fmla="*/ 29529 h 83826"/>
                  <a:gd name="connsiteX4" fmla="*/ 109034 w 113181"/>
                  <a:gd name="connsiteY4" fmla="*/ 74157 h 83826"/>
                  <a:gd name="connsiteX5" fmla="*/ 73331 w 113181"/>
                  <a:gd name="connsiteY5" fmla="*/ 80108 h 83826"/>
                  <a:gd name="connsiteX6" fmla="*/ 28703 w 113181"/>
                  <a:gd name="connsiteY6" fmla="*/ 62256 h 83826"/>
                  <a:gd name="connsiteX7" fmla="*/ 1926 w 113181"/>
                  <a:gd name="connsiteY7" fmla="*/ 35479 h 83826"/>
                  <a:gd name="connsiteX8" fmla="*/ 13827 w 113181"/>
                  <a:gd name="connsiteY8" fmla="*/ 2752 h 83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3181" h="83826">
                    <a:moveTo>
                      <a:pt x="13827" y="2752"/>
                    </a:moveTo>
                    <a:cubicBezTo>
                      <a:pt x="34654" y="-6173"/>
                      <a:pt x="58455" y="8703"/>
                      <a:pt x="85233" y="17628"/>
                    </a:cubicBezTo>
                    <a:cubicBezTo>
                      <a:pt x="88207" y="17628"/>
                      <a:pt x="94158" y="17628"/>
                      <a:pt x="97133" y="20603"/>
                    </a:cubicBezTo>
                    <a:cubicBezTo>
                      <a:pt x="100109" y="23579"/>
                      <a:pt x="103083" y="26554"/>
                      <a:pt x="106059" y="29529"/>
                    </a:cubicBezTo>
                    <a:cubicBezTo>
                      <a:pt x="114985" y="41430"/>
                      <a:pt x="114985" y="62256"/>
                      <a:pt x="109034" y="74157"/>
                    </a:cubicBezTo>
                    <a:cubicBezTo>
                      <a:pt x="100109" y="89033"/>
                      <a:pt x="85233" y="83083"/>
                      <a:pt x="73331" y="80108"/>
                    </a:cubicBezTo>
                    <a:cubicBezTo>
                      <a:pt x="58455" y="77132"/>
                      <a:pt x="43579" y="71182"/>
                      <a:pt x="28703" y="62256"/>
                    </a:cubicBezTo>
                    <a:cubicBezTo>
                      <a:pt x="19778" y="56306"/>
                      <a:pt x="4902" y="53331"/>
                      <a:pt x="1926" y="35479"/>
                    </a:cubicBezTo>
                    <a:cubicBezTo>
                      <a:pt x="-4023" y="20603"/>
                      <a:pt x="4902" y="5727"/>
                      <a:pt x="13827" y="2752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9535800D-DDA3-46E8-A764-08BA3B4C8A3C}"/>
                  </a:ext>
                </a:extLst>
              </p:cNvPr>
              <p:cNvSpPr/>
              <p:nvPr/>
            </p:nvSpPr>
            <p:spPr>
              <a:xfrm>
                <a:off x="14758425" y="3380682"/>
                <a:ext cx="112028" cy="87544"/>
              </a:xfrm>
              <a:custGeom>
                <a:avLst/>
                <a:gdLst>
                  <a:gd name="connsiteX0" fmla="*/ 12675 w 112028"/>
                  <a:gd name="connsiteY0" fmla="*/ 6470 h 87544"/>
                  <a:gd name="connsiteX1" fmla="*/ 90030 w 112028"/>
                  <a:gd name="connsiteY1" fmla="*/ 21346 h 87544"/>
                  <a:gd name="connsiteX2" fmla="*/ 95981 w 112028"/>
                  <a:gd name="connsiteY2" fmla="*/ 24322 h 87544"/>
                  <a:gd name="connsiteX3" fmla="*/ 104906 w 112028"/>
                  <a:gd name="connsiteY3" fmla="*/ 33247 h 87544"/>
                  <a:gd name="connsiteX4" fmla="*/ 107882 w 112028"/>
                  <a:gd name="connsiteY4" fmla="*/ 77875 h 87544"/>
                  <a:gd name="connsiteX5" fmla="*/ 72179 w 112028"/>
                  <a:gd name="connsiteY5" fmla="*/ 83826 h 87544"/>
                  <a:gd name="connsiteX6" fmla="*/ 27551 w 112028"/>
                  <a:gd name="connsiteY6" fmla="*/ 65974 h 87544"/>
                  <a:gd name="connsiteX7" fmla="*/ 774 w 112028"/>
                  <a:gd name="connsiteY7" fmla="*/ 39198 h 87544"/>
                  <a:gd name="connsiteX8" fmla="*/ 12675 w 112028"/>
                  <a:gd name="connsiteY8" fmla="*/ 6470 h 87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028" h="87544">
                    <a:moveTo>
                      <a:pt x="12675" y="6470"/>
                    </a:moveTo>
                    <a:cubicBezTo>
                      <a:pt x="39452" y="-11381"/>
                      <a:pt x="63254" y="12421"/>
                      <a:pt x="90030" y="21346"/>
                    </a:cubicBezTo>
                    <a:cubicBezTo>
                      <a:pt x="93006" y="21346"/>
                      <a:pt x="93006" y="24322"/>
                      <a:pt x="95981" y="24322"/>
                    </a:cubicBezTo>
                    <a:cubicBezTo>
                      <a:pt x="98956" y="27297"/>
                      <a:pt x="101931" y="30272"/>
                      <a:pt x="104906" y="33247"/>
                    </a:cubicBezTo>
                    <a:cubicBezTo>
                      <a:pt x="113832" y="45148"/>
                      <a:pt x="113832" y="65974"/>
                      <a:pt x="107882" y="77875"/>
                    </a:cubicBezTo>
                    <a:cubicBezTo>
                      <a:pt x="98956" y="92751"/>
                      <a:pt x="84080" y="86801"/>
                      <a:pt x="72179" y="83826"/>
                    </a:cubicBezTo>
                    <a:cubicBezTo>
                      <a:pt x="57303" y="80851"/>
                      <a:pt x="42427" y="74900"/>
                      <a:pt x="27551" y="65974"/>
                    </a:cubicBezTo>
                    <a:cubicBezTo>
                      <a:pt x="18625" y="60024"/>
                      <a:pt x="3749" y="57049"/>
                      <a:pt x="774" y="39198"/>
                    </a:cubicBezTo>
                    <a:cubicBezTo>
                      <a:pt x="-2201" y="27297"/>
                      <a:pt x="3749" y="12421"/>
                      <a:pt x="12675" y="6470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C048A56E-ADBE-4BB1-B793-C6DB43899FDB}"/>
                  </a:ext>
                </a:extLst>
              </p:cNvPr>
              <p:cNvSpPr/>
              <p:nvPr/>
            </p:nvSpPr>
            <p:spPr>
              <a:xfrm>
                <a:off x="14756804" y="3427677"/>
                <a:ext cx="100259" cy="71045"/>
              </a:xfrm>
              <a:custGeom>
                <a:avLst/>
                <a:gdLst>
                  <a:gd name="connsiteX0" fmla="*/ 11321 w 100259"/>
                  <a:gd name="connsiteY0" fmla="*/ 7078 h 71045"/>
                  <a:gd name="connsiteX1" fmla="*/ 79751 w 100259"/>
                  <a:gd name="connsiteY1" fmla="*/ 16004 h 71045"/>
                  <a:gd name="connsiteX2" fmla="*/ 85701 w 100259"/>
                  <a:gd name="connsiteY2" fmla="*/ 18979 h 71045"/>
                  <a:gd name="connsiteX3" fmla="*/ 94627 w 100259"/>
                  <a:gd name="connsiteY3" fmla="*/ 24930 h 71045"/>
                  <a:gd name="connsiteX4" fmla="*/ 94627 w 100259"/>
                  <a:gd name="connsiteY4" fmla="*/ 63607 h 71045"/>
                  <a:gd name="connsiteX5" fmla="*/ 64874 w 100259"/>
                  <a:gd name="connsiteY5" fmla="*/ 69558 h 71045"/>
                  <a:gd name="connsiteX6" fmla="*/ 26197 w 100259"/>
                  <a:gd name="connsiteY6" fmla="*/ 57657 h 71045"/>
                  <a:gd name="connsiteX7" fmla="*/ 2395 w 100259"/>
                  <a:gd name="connsiteY7" fmla="*/ 36831 h 71045"/>
                  <a:gd name="connsiteX8" fmla="*/ 11321 w 100259"/>
                  <a:gd name="connsiteY8" fmla="*/ 7078 h 71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259" h="71045">
                    <a:moveTo>
                      <a:pt x="11321" y="7078"/>
                    </a:moveTo>
                    <a:cubicBezTo>
                      <a:pt x="35122" y="-10773"/>
                      <a:pt x="55949" y="10054"/>
                      <a:pt x="79751" y="16004"/>
                    </a:cubicBezTo>
                    <a:cubicBezTo>
                      <a:pt x="82726" y="16004"/>
                      <a:pt x="82726" y="18979"/>
                      <a:pt x="85701" y="18979"/>
                    </a:cubicBezTo>
                    <a:cubicBezTo>
                      <a:pt x="88676" y="21955"/>
                      <a:pt x="91651" y="21955"/>
                      <a:pt x="94627" y="24930"/>
                    </a:cubicBezTo>
                    <a:cubicBezTo>
                      <a:pt x="100577" y="33855"/>
                      <a:pt x="103552" y="51707"/>
                      <a:pt x="94627" y="63607"/>
                    </a:cubicBezTo>
                    <a:cubicBezTo>
                      <a:pt x="85701" y="75508"/>
                      <a:pt x="73800" y="69558"/>
                      <a:pt x="64874" y="69558"/>
                    </a:cubicBezTo>
                    <a:cubicBezTo>
                      <a:pt x="52974" y="66583"/>
                      <a:pt x="38098" y="63607"/>
                      <a:pt x="26197" y="57657"/>
                    </a:cubicBezTo>
                    <a:cubicBezTo>
                      <a:pt x="17271" y="54682"/>
                      <a:pt x="5370" y="51707"/>
                      <a:pt x="2395" y="36831"/>
                    </a:cubicBezTo>
                    <a:cubicBezTo>
                      <a:pt x="-3555" y="24930"/>
                      <a:pt x="2395" y="13029"/>
                      <a:pt x="11321" y="7078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6DBB4C29-AFD8-4AE3-A45C-0FB8390AE98A}"/>
                  </a:ext>
                </a:extLst>
              </p:cNvPr>
              <p:cNvSpPr/>
              <p:nvPr/>
            </p:nvSpPr>
            <p:spPr>
              <a:xfrm>
                <a:off x="14756224" y="3477811"/>
                <a:ext cx="75868" cy="55126"/>
              </a:xfrm>
              <a:custGeom>
                <a:avLst/>
                <a:gdLst>
                  <a:gd name="connsiteX0" fmla="*/ 11902 w 75868"/>
                  <a:gd name="connsiteY0" fmla="*/ 4548 h 55126"/>
                  <a:gd name="connsiteX1" fmla="*/ 62480 w 75868"/>
                  <a:gd name="connsiteY1" fmla="*/ 10498 h 55126"/>
                  <a:gd name="connsiteX2" fmla="*/ 65455 w 75868"/>
                  <a:gd name="connsiteY2" fmla="*/ 13474 h 55126"/>
                  <a:gd name="connsiteX3" fmla="*/ 71406 w 75868"/>
                  <a:gd name="connsiteY3" fmla="*/ 19424 h 55126"/>
                  <a:gd name="connsiteX4" fmla="*/ 71406 w 75868"/>
                  <a:gd name="connsiteY4" fmla="*/ 49176 h 55126"/>
                  <a:gd name="connsiteX5" fmla="*/ 47603 w 75868"/>
                  <a:gd name="connsiteY5" fmla="*/ 52151 h 55126"/>
                  <a:gd name="connsiteX6" fmla="*/ 17851 w 75868"/>
                  <a:gd name="connsiteY6" fmla="*/ 43226 h 55126"/>
                  <a:gd name="connsiteX7" fmla="*/ 0 w 75868"/>
                  <a:gd name="connsiteY7" fmla="*/ 28350 h 55126"/>
                  <a:gd name="connsiteX8" fmla="*/ 11902 w 75868"/>
                  <a:gd name="connsiteY8" fmla="*/ 4548 h 55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5868" h="55126">
                    <a:moveTo>
                      <a:pt x="11902" y="4548"/>
                    </a:moveTo>
                    <a:cubicBezTo>
                      <a:pt x="29752" y="-7353"/>
                      <a:pt x="44628" y="7523"/>
                      <a:pt x="62480" y="10498"/>
                    </a:cubicBezTo>
                    <a:cubicBezTo>
                      <a:pt x="62480" y="10498"/>
                      <a:pt x="65455" y="10498"/>
                      <a:pt x="65455" y="13474"/>
                    </a:cubicBezTo>
                    <a:cubicBezTo>
                      <a:pt x="68430" y="13474"/>
                      <a:pt x="71406" y="16449"/>
                      <a:pt x="71406" y="19424"/>
                    </a:cubicBezTo>
                    <a:cubicBezTo>
                      <a:pt x="77356" y="25374"/>
                      <a:pt x="77356" y="40250"/>
                      <a:pt x="71406" y="49176"/>
                    </a:cubicBezTo>
                    <a:cubicBezTo>
                      <a:pt x="65455" y="58102"/>
                      <a:pt x="56530" y="55126"/>
                      <a:pt x="47603" y="52151"/>
                    </a:cubicBezTo>
                    <a:cubicBezTo>
                      <a:pt x="38678" y="49176"/>
                      <a:pt x="29752" y="46201"/>
                      <a:pt x="17851" y="43226"/>
                    </a:cubicBezTo>
                    <a:cubicBezTo>
                      <a:pt x="11902" y="40250"/>
                      <a:pt x="2975" y="40250"/>
                      <a:pt x="0" y="28350"/>
                    </a:cubicBezTo>
                    <a:cubicBezTo>
                      <a:pt x="2975" y="16449"/>
                      <a:pt x="5951" y="7523"/>
                      <a:pt x="11902" y="4548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EF6A911F-1177-4B05-908F-A29AEA8A86C9}"/>
                  </a:ext>
                </a:extLst>
              </p:cNvPr>
              <p:cNvSpPr/>
              <p:nvPr/>
            </p:nvSpPr>
            <p:spPr>
              <a:xfrm>
                <a:off x="14753000" y="3333599"/>
                <a:ext cx="121210" cy="136859"/>
              </a:xfrm>
              <a:custGeom>
                <a:avLst/>
                <a:gdLst>
                  <a:gd name="connsiteX0" fmla="*/ 95455 w 121210"/>
                  <a:gd name="connsiteY0" fmla="*/ 136859 h 136859"/>
                  <a:gd name="connsiteX1" fmla="*/ 65703 w 121210"/>
                  <a:gd name="connsiteY1" fmla="*/ 130909 h 136859"/>
                  <a:gd name="connsiteX2" fmla="*/ 249 w 121210"/>
                  <a:gd name="connsiteY2" fmla="*/ 71405 h 136859"/>
                  <a:gd name="connsiteX3" fmla="*/ 9174 w 121210"/>
                  <a:gd name="connsiteY3" fmla="*/ 50578 h 136859"/>
                  <a:gd name="connsiteX4" fmla="*/ 21075 w 121210"/>
                  <a:gd name="connsiteY4" fmla="*/ 50578 h 136859"/>
                  <a:gd name="connsiteX5" fmla="*/ 98430 w 121210"/>
                  <a:gd name="connsiteY5" fmla="*/ 74380 h 136859"/>
                  <a:gd name="connsiteX6" fmla="*/ 110331 w 121210"/>
                  <a:gd name="connsiteY6" fmla="*/ 59504 h 136859"/>
                  <a:gd name="connsiteX7" fmla="*/ 107356 w 121210"/>
                  <a:gd name="connsiteY7" fmla="*/ 44628 h 136859"/>
                  <a:gd name="connsiteX8" fmla="*/ 44877 w 121210"/>
                  <a:gd name="connsiteY8" fmla="*/ 11901 h 136859"/>
                  <a:gd name="connsiteX9" fmla="*/ 38926 w 121210"/>
                  <a:gd name="connsiteY9" fmla="*/ 5950 h 136859"/>
                  <a:gd name="connsiteX10" fmla="*/ 44877 w 121210"/>
                  <a:gd name="connsiteY10" fmla="*/ 0 h 136859"/>
                  <a:gd name="connsiteX11" fmla="*/ 116282 w 121210"/>
                  <a:gd name="connsiteY11" fmla="*/ 35702 h 136859"/>
                  <a:gd name="connsiteX12" fmla="*/ 119257 w 121210"/>
                  <a:gd name="connsiteY12" fmla="*/ 59504 h 136859"/>
                  <a:gd name="connsiteX13" fmla="*/ 113306 w 121210"/>
                  <a:gd name="connsiteY13" fmla="*/ 71405 h 136859"/>
                  <a:gd name="connsiteX14" fmla="*/ 113306 w 121210"/>
                  <a:gd name="connsiteY14" fmla="*/ 71405 h 136859"/>
                  <a:gd name="connsiteX15" fmla="*/ 119257 w 121210"/>
                  <a:gd name="connsiteY15" fmla="*/ 116033 h 136859"/>
                  <a:gd name="connsiteX16" fmla="*/ 95455 w 121210"/>
                  <a:gd name="connsiteY16" fmla="*/ 136859 h 136859"/>
                  <a:gd name="connsiteX17" fmla="*/ 15125 w 121210"/>
                  <a:gd name="connsiteY17" fmla="*/ 59504 h 136859"/>
                  <a:gd name="connsiteX18" fmla="*/ 12150 w 121210"/>
                  <a:gd name="connsiteY18" fmla="*/ 74380 h 136859"/>
                  <a:gd name="connsiteX19" fmla="*/ 68678 w 121210"/>
                  <a:gd name="connsiteY19" fmla="*/ 121983 h 136859"/>
                  <a:gd name="connsiteX20" fmla="*/ 110331 w 121210"/>
                  <a:gd name="connsiteY20" fmla="*/ 119008 h 136859"/>
                  <a:gd name="connsiteX21" fmla="*/ 107356 w 121210"/>
                  <a:gd name="connsiteY21" fmla="*/ 83306 h 136859"/>
                  <a:gd name="connsiteX22" fmla="*/ 104381 w 121210"/>
                  <a:gd name="connsiteY22" fmla="*/ 83306 h 136859"/>
                  <a:gd name="connsiteX23" fmla="*/ 15125 w 121210"/>
                  <a:gd name="connsiteY23" fmla="*/ 59504 h 136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1210" h="136859">
                    <a:moveTo>
                      <a:pt x="95455" y="136859"/>
                    </a:moveTo>
                    <a:cubicBezTo>
                      <a:pt x="86530" y="136859"/>
                      <a:pt x="74629" y="133884"/>
                      <a:pt x="65703" y="130909"/>
                    </a:cubicBezTo>
                    <a:cubicBezTo>
                      <a:pt x="21075" y="119008"/>
                      <a:pt x="-2726" y="98182"/>
                      <a:pt x="249" y="71405"/>
                    </a:cubicBezTo>
                    <a:cubicBezTo>
                      <a:pt x="249" y="59504"/>
                      <a:pt x="6199" y="53554"/>
                      <a:pt x="9174" y="50578"/>
                    </a:cubicBezTo>
                    <a:cubicBezTo>
                      <a:pt x="12150" y="47603"/>
                      <a:pt x="18100" y="47603"/>
                      <a:pt x="21075" y="50578"/>
                    </a:cubicBezTo>
                    <a:cubicBezTo>
                      <a:pt x="59753" y="71405"/>
                      <a:pt x="86530" y="80330"/>
                      <a:pt x="98430" y="74380"/>
                    </a:cubicBezTo>
                    <a:cubicBezTo>
                      <a:pt x="104381" y="71405"/>
                      <a:pt x="107356" y="65454"/>
                      <a:pt x="110331" y="59504"/>
                    </a:cubicBezTo>
                    <a:cubicBezTo>
                      <a:pt x="113306" y="53554"/>
                      <a:pt x="110331" y="50578"/>
                      <a:pt x="107356" y="44628"/>
                    </a:cubicBezTo>
                    <a:cubicBezTo>
                      <a:pt x="95455" y="26777"/>
                      <a:pt x="56778" y="14876"/>
                      <a:pt x="44877" y="11901"/>
                    </a:cubicBezTo>
                    <a:cubicBezTo>
                      <a:pt x="41902" y="11901"/>
                      <a:pt x="38926" y="8926"/>
                      <a:pt x="38926" y="5950"/>
                    </a:cubicBezTo>
                    <a:cubicBezTo>
                      <a:pt x="38926" y="2975"/>
                      <a:pt x="41902" y="0"/>
                      <a:pt x="44877" y="0"/>
                    </a:cubicBezTo>
                    <a:cubicBezTo>
                      <a:pt x="47852" y="0"/>
                      <a:pt x="101406" y="11901"/>
                      <a:pt x="116282" y="35702"/>
                    </a:cubicBezTo>
                    <a:cubicBezTo>
                      <a:pt x="122232" y="44628"/>
                      <a:pt x="122232" y="50578"/>
                      <a:pt x="119257" y="59504"/>
                    </a:cubicBezTo>
                    <a:cubicBezTo>
                      <a:pt x="119257" y="62479"/>
                      <a:pt x="116282" y="68430"/>
                      <a:pt x="113306" y="71405"/>
                    </a:cubicBezTo>
                    <a:cubicBezTo>
                      <a:pt x="113306" y="71405"/>
                      <a:pt x="113306" y="71405"/>
                      <a:pt x="113306" y="71405"/>
                    </a:cubicBezTo>
                    <a:cubicBezTo>
                      <a:pt x="113306" y="71405"/>
                      <a:pt x="125207" y="98182"/>
                      <a:pt x="119257" y="116033"/>
                    </a:cubicBezTo>
                    <a:cubicBezTo>
                      <a:pt x="116282" y="130909"/>
                      <a:pt x="107356" y="136859"/>
                      <a:pt x="95455" y="136859"/>
                    </a:cubicBezTo>
                    <a:close/>
                    <a:moveTo>
                      <a:pt x="15125" y="59504"/>
                    </a:moveTo>
                    <a:cubicBezTo>
                      <a:pt x="15125" y="59504"/>
                      <a:pt x="12150" y="62479"/>
                      <a:pt x="12150" y="74380"/>
                    </a:cubicBezTo>
                    <a:cubicBezTo>
                      <a:pt x="9174" y="101157"/>
                      <a:pt x="47852" y="116033"/>
                      <a:pt x="68678" y="121983"/>
                    </a:cubicBezTo>
                    <a:cubicBezTo>
                      <a:pt x="98430" y="130909"/>
                      <a:pt x="107356" y="127934"/>
                      <a:pt x="110331" y="119008"/>
                    </a:cubicBezTo>
                    <a:cubicBezTo>
                      <a:pt x="113306" y="107107"/>
                      <a:pt x="110331" y="92231"/>
                      <a:pt x="107356" y="83306"/>
                    </a:cubicBezTo>
                    <a:cubicBezTo>
                      <a:pt x="107356" y="83306"/>
                      <a:pt x="104381" y="83306"/>
                      <a:pt x="104381" y="83306"/>
                    </a:cubicBezTo>
                    <a:cubicBezTo>
                      <a:pt x="86530" y="89256"/>
                      <a:pt x="59753" y="80330"/>
                      <a:pt x="15125" y="59504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9918EFFA-B7EF-481C-8722-4EBD5CED3FFB}"/>
                  </a:ext>
                </a:extLst>
              </p:cNvPr>
              <p:cNvSpPr/>
              <p:nvPr/>
            </p:nvSpPr>
            <p:spPr>
              <a:xfrm>
                <a:off x="14752017" y="3430548"/>
                <a:ext cx="111645" cy="78587"/>
              </a:xfrm>
              <a:custGeom>
                <a:avLst/>
                <a:gdLst>
                  <a:gd name="connsiteX0" fmla="*/ 81563 w 111645"/>
                  <a:gd name="connsiteY0" fmla="*/ 78588 h 78587"/>
                  <a:gd name="connsiteX1" fmla="*/ 81563 w 111645"/>
                  <a:gd name="connsiteY1" fmla="*/ 78588 h 78587"/>
                  <a:gd name="connsiteX2" fmla="*/ 4207 w 111645"/>
                  <a:gd name="connsiteY2" fmla="*/ 48836 h 78587"/>
                  <a:gd name="connsiteX3" fmla="*/ 1232 w 111645"/>
                  <a:gd name="connsiteY3" fmla="*/ 28009 h 78587"/>
                  <a:gd name="connsiteX4" fmla="*/ 16109 w 111645"/>
                  <a:gd name="connsiteY4" fmla="*/ 1232 h 78587"/>
                  <a:gd name="connsiteX5" fmla="*/ 25034 w 111645"/>
                  <a:gd name="connsiteY5" fmla="*/ 4208 h 78587"/>
                  <a:gd name="connsiteX6" fmla="*/ 22058 w 111645"/>
                  <a:gd name="connsiteY6" fmla="*/ 13133 h 78587"/>
                  <a:gd name="connsiteX7" fmla="*/ 13133 w 111645"/>
                  <a:gd name="connsiteY7" fmla="*/ 30984 h 78587"/>
                  <a:gd name="connsiteX8" fmla="*/ 13133 w 111645"/>
                  <a:gd name="connsiteY8" fmla="*/ 39910 h 78587"/>
                  <a:gd name="connsiteX9" fmla="*/ 81563 w 111645"/>
                  <a:gd name="connsiteY9" fmla="*/ 66687 h 78587"/>
                  <a:gd name="connsiteX10" fmla="*/ 93463 w 111645"/>
                  <a:gd name="connsiteY10" fmla="*/ 63712 h 78587"/>
                  <a:gd name="connsiteX11" fmla="*/ 99414 w 111645"/>
                  <a:gd name="connsiteY11" fmla="*/ 36935 h 78587"/>
                  <a:gd name="connsiteX12" fmla="*/ 105365 w 111645"/>
                  <a:gd name="connsiteY12" fmla="*/ 30984 h 78587"/>
                  <a:gd name="connsiteX13" fmla="*/ 111315 w 111645"/>
                  <a:gd name="connsiteY13" fmla="*/ 36935 h 78587"/>
                  <a:gd name="connsiteX14" fmla="*/ 102389 w 111645"/>
                  <a:gd name="connsiteY14" fmla="*/ 75613 h 78587"/>
                  <a:gd name="connsiteX15" fmla="*/ 81563 w 111645"/>
                  <a:gd name="connsiteY15" fmla="*/ 78588 h 78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1645" h="78587">
                    <a:moveTo>
                      <a:pt x="81563" y="78588"/>
                    </a:moveTo>
                    <a:cubicBezTo>
                      <a:pt x="81563" y="78588"/>
                      <a:pt x="78587" y="78588"/>
                      <a:pt x="81563" y="78588"/>
                    </a:cubicBezTo>
                    <a:cubicBezTo>
                      <a:pt x="45861" y="75613"/>
                      <a:pt x="13133" y="57761"/>
                      <a:pt x="4207" y="48836"/>
                    </a:cubicBezTo>
                    <a:cubicBezTo>
                      <a:pt x="1232" y="42885"/>
                      <a:pt x="-1743" y="36935"/>
                      <a:pt x="1232" y="28009"/>
                    </a:cubicBezTo>
                    <a:cubicBezTo>
                      <a:pt x="4207" y="19084"/>
                      <a:pt x="10158" y="4208"/>
                      <a:pt x="16109" y="1232"/>
                    </a:cubicBezTo>
                    <a:cubicBezTo>
                      <a:pt x="19083" y="-1743"/>
                      <a:pt x="22058" y="1232"/>
                      <a:pt x="25034" y="4208"/>
                    </a:cubicBezTo>
                    <a:cubicBezTo>
                      <a:pt x="28009" y="7183"/>
                      <a:pt x="25034" y="10158"/>
                      <a:pt x="22058" y="13133"/>
                    </a:cubicBezTo>
                    <a:cubicBezTo>
                      <a:pt x="19083" y="13133"/>
                      <a:pt x="16109" y="22059"/>
                      <a:pt x="13133" y="30984"/>
                    </a:cubicBezTo>
                    <a:cubicBezTo>
                      <a:pt x="13133" y="36935"/>
                      <a:pt x="13133" y="39910"/>
                      <a:pt x="13133" y="39910"/>
                    </a:cubicBezTo>
                    <a:cubicBezTo>
                      <a:pt x="22058" y="48836"/>
                      <a:pt x="51810" y="66687"/>
                      <a:pt x="81563" y="66687"/>
                    </a:cubicBezTo>
                    <a:cubicBezTo>
                      <a:pt x="87513" y="66687"/>
                      <a:pt x="90489" y="66687"/>
                      <a:pt x="93463" y="63712"/>
                    </a:cubicBezTo>
                    <a:cubicBezTo>
                      <a:pt x="99414" y="57761"/>
                      <a:pt x="99414" y="39910"/>
                      <a:pt x="99414" y="36935"/>
                    </a:cubicBezTo>
                    <a:cubicBezTo>
                      <a:pt x="99414" y="33960"/>
                      <a:pt x="102389" y="30984"/>
                      <a:pt x="105365" y="30984"/>
                    </a:cubicBezTo>
                    <a:cubicBezTo>
                      <a:pt x="108339" y="30984"/>
                      <a:pt x="111315" y="33960"/>
                      <a:pt x="111315" y="36935"/>
                    </a:cubicBezTo>
                    <a:cubicBezTo>
                      <a:pt x="111315" y="36935"/>
                      <a:pt x="114290" y="60737"/>
                      <a:pt x="102389" y="75613"/>
                    </a:cubicBezTo>
                    <a:cubicBezTo>
                      <a:pt x="96439" y="75613"/>
                      <a:pt x="90489" y="78588"/>
                      <a:pt x="81563" y="78588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9" name="图形 1">
              <a:extLst>
                <a:ext uri="{FF2B5EF4-FFF2-40B4-BE49-F238E27FC236}">
                  <a16:creationId xmlns:a16="http://schemas.microsoft.com/office/drawing/2014/main" id="{D5296B93-D5F1-4DFA-91D1-3DC14642C1D0}"/>
                </a:ext>
              </a:extLst>
            </p:cNvPr>
            <p:cNvGrpSpPr/>
            <p:nvPr/>
          </p:nvGrpSpPr>
          <p:grpSpPr>
            <a:xfrm>
              <a:off x="14601514" y="3497235"/>
              <a:ext cx="509756" cy="169586"/>
              <a:chOff x="14601514" y="3497235"/>
              <a:chExt cx="509756" cy="169586"/>
            </a:xfrm>
          </p:grpSpPr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D6B79721-7BBF-46E7-A989-D05A252F9784}"/>
                  </a:ext>
                </a:extLst>
              </p:cNvPr>
              <p:cNvSpPr/>
              <p:nvPr/>
            </p:nvSpPr>
            <p:spPr>
              <a:xfrm>
                <a:off x="14601514" y="3503186"/>
                <a:ext cx="509756" cy="163636"/>
              </a:xfrm>
              <a:custGeom>
                <a:avLst/>
                <a:gdLst>
                  <a:gd name="connsiteX0" fmla="*/ 11901 w 509756"/>
                  <a:gd name="connsiteY0" fmla="*/ 0 h 163636"/>
                  <a:gd name="connsiteX1" fmla="*/ 473058 w 509756"/>
                  <a:gd name="connsiteY1" fmla="*/ 0 h 163636"/>
                  <a:gd name="connsiteX2" fmla="*/ 481983 w 509756"/>
                  <a:gd name="connsiteY2" fmla="*/ 2975 h 163636"/>
                  <a:gd name="connsiteX3" fmla="*/ 473058 w 509756"/>
                  <a:gd name="connsiteY3" fmla="*/ 160661 h 163636"/>
                  <a:gd name="connsiteX4" fmla="*/ 467107 w 509756"/>
                  <a:gd name="connsiteY4" fmla="*/ 163636 h 163636"/>
                  <a:gd name="connsiteX5" fmla="*/ 464132 w 509756"/>
                  <a:gd name="connsiteY5" fmla="*/ 163636 h 163636"/>
                  <a:gd name="connsiteX6" fmla="*/ 8925 w 509756"/>
                  <a:gd name="connsiteY6" fmla="*/ 20826 h 163636"/>
                  <a:gd name="connsiteX7" fmla="*/ 0 w 509756"/>
                  <a:gd name="connsiteY7" fmla="*/ 8926 h 163636"/>
                  <a:gd name="connsiteX8" fmla="*/ 11901 w 509756"/>
                  <a:gd name="connsiteY8" fmla="*/ 0 h 163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9756" h="163636">
                    <a:moveTo>
                      <a:pt x="11901" y="0"/>
                    </a:moveTo>
                    <a:lnTo>
                      <a:pt x="473058" y="0"/>
                    </a:lnTo>
                    <a:cubicBezTo>
                      <a:pt x="476033" y="0"/>
                      <a:pt x="479008" y="0"/>
                      <a:pt x="481983" y="2975"/>
                    </a:cubicBezTo>
                    <a:cubicBezTo>
                      <a:pt x="535537" y="62479"/>
                      <a:pt x="499834" y="130909"/>
                      <a:pt x="473058" y="160661"/>
                    </a:cubicBezTo>
                    <a:cubicBezTo>
                      <a:pt x="470082" y="163636"/>
                      <a:pt x="470082" y="163636"/>
                      <a:pt x="467107" y="163636"/>
                    </a:cubicBezTo>
                    <a:cubicBezTo>
                      <a:pt x="467107" y="163636"/>
                      <a:pt x="464132" y="163636"/>
                      <a:pt x="464132" y="163636"/>
                    </a:cubicBezTo>
                    <a:lnTo>
                      <a:pt x="8925" y="20826"/>
                    </a:lnTo>
                    <a:cubicBezTo>
                      <a:pt x="2975" y="17851"/>
                      <a:pt x="0" y="14876"/>
                      <a:pt x="0" y="8926"/>
                    </a:cubicBezTo>
                    <a:cubicBezTo>
                      <a:pt x="0" y="5950"/>
                      <a:pt x="5950" y="0"/>
                      <a:pt x="11901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F07D24EB-E4A2-4AF9-B70D-BAD8DA59F393}"/>
                  </a:ext>
                </a:extLst>
              </p:cNvPr>
              <p:cNvSpPr/>
              <p:nvPr/>
            </p:nvSpPr>
            <p:spPr>
              <a:xfrm>
                <a:off x="14961514" y="3497235"/>
                <a:ext cx="14876" cy="50578"/>
              </a:xfrm>
              <a:custGeom>
                <a:avLst/>
                <a:gdLst>
                  <a:gd name="connsiteX0" fmla="*/ 5950 w 14876"/>
                  <a:gd name="connsiteY0" fmla="*/ 50578 h 50578"/>
                  <a:gd name="connsiteX1" fmla="*/ 5950 w 14876"/>
                  <a:gd name="connsiteY1" fmla="*/ 50578 h 50578"/>
                  <a:gd name="connsiteX2" fmla="*/ 0 w 14876"/>
                  <a:gd name="connsiteY2" fmla="*/ 44628 h 50578"/>
                  <a:gd name="connsiteX3" fmla="*/ 2974 w 14876"/>
                  <a:gd name="connsiteY3" fmla="*/ 5950 h 50578"/>
                  <a:gd name="connsiteX4" fmla="*/ 8925 w 14876"/>
                  <a:gd name="connsiteY4" fmla="*/ 0 h 50578"/>
                  <a:gd name="connsiteX5" fmla="*/ 14876 w 14876"/>
                  <a:gd name="connsiteY5" fmla="*/ 5950 h 50578"/>
                  <a:gd name="connsiteX6" fmla="*/ 11901 w 14876"/>
                  <a:gd name="connsiteY6" fmla="*/ 44628 h 50578"/>
                  <a:gd name="connsiteX7" fmla="*/ 5950 w 14876"/>
                  <a:gd name="connsiteY7" fmla="*/ 50578 h 50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876" h="50578">
                    <a:moveTo>
                      <a:pt x="5950" y="50578"/>
                    </a:moveTo>
                    <a:cubicBezTo>
                      <a:pt x="5950" y="50578"/>
                      <a:pt x="5950" y="50578"/>
                      <a:pt x="5950" y="50578"/>
                    </a:cubicBezTo>
                    <a:cubicBezTo>
                      <a:pt x="2974" y="50578"/>
                      <a:pt x="0" y="47603"/>
                      <a:pt x="0" y="44628"/>
                    </a:cubicBezTo>
                    <a:lnTo>
                      <a:pt x="2974" y="5950"/>
                    </a:lnTo>
                    <a:cubicBezTo>
                      <a:pt x="2974" y="2975"/>
                      <a:pt x="5950" y="0"/>
                      <a:pt x="8925" y="0"/>
                    </a:cubicBezTo>
                    <a:cubicBezTo>
                      <a:pt x="11901" y="0"/>
                      <a:pt x="14876" y="2975"/>
                      <a:pt x="14876" y="5950"/>
                    </a:cubicBezTo>
                    <a:lnTo>
                      <a:pt x="11901" y="44628"/>
                    </a:lnTo>
                    <a:cubicBezTo>
                      <a:pt x="11901" y="50578"/>
                      <a:pt x="8925" y="50578"/>
                      <a:pt x="5950" y="50578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AFEE8E63-D00A-4119-8820-508D974EA853}"/>
                  </a:ext>
                </a:extLst>
              </p:cNvPr>
              <p:cNvSpPr/>
              <p:nvPr/>
            </p:nvSpPr>
            <p:spPr>
              <a:xfrm>
                <a:off x="14878208" y="3559715"/>
                <a:ext cx="14876" cy="59504"/>
              </a:xfrm>
              <a:custGeom>
                <a:avLst/>
                <a:gdLst>
                  <a:gd name="connsiteX0" fmla="*/ 5951 w 14876"/>
                  <a:gd name="connsiteY0" fmla="*/ 59504 h 59504"/>
                  <a:gd name="connsiteX1" fmla="*/ 5951 w 14876"/>
                  <a:gd name="connsiteY1" fmla="*/ 59504 h 59504"/>
                  <a:gd name="connsiteX2" fmla="*/ 0 w 14876"/>
                  <a:gd name="connsiteY2" fmla="*/ 53554 h 59504"/>
                  <a:gd name="connsiteX3" fmla="*/ 2975 w 14876"/>
                  <a:gd name="connsiteY3" fmla="*/ 5950 h 59504"/>
                  <a:gd name="connsiteX4" fmla="*/ 8926 w 14876"/>
                  <a:gd name="connsiteY4" fmla="*/ 0 h 59504"/>
                  <a:gd name="connsiteX5" fmla="*/ 14876 w 14876"/>
                  <a:gd name="connsiteY5" fmla="*/ 5950 h 59504"/>
                  <a:gd name="connsiteX6" fmla="*/ 11901 w 14876"/>
                  <a:gd name="connsiteY6" fmla="*/ 53554 h 59504"/>
                  <a:gd name="connsiteX7" fmla="*/ 5951 w 14876"/>
                  <a:gd name="connsiteY7" fmla="*/ 59504 h 59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876" h="59504">
                    <a:moveTo>
                      <a:pt x="5951" y="59504"/>
                    </a:moveTo>
                    <a:lnTo>
                      <a:pt x="5951" y="59504"/>
                    </a:lnTo>
                    <a:cubicBezTo>
                      <a:pt x="2975" y="59504"/>
                      <a:pt x="0" y="56529"/>
                      <a:pt x="0" y="53554"/>
                    </a:cubicBezTo>
                    <a:lnTo>
                      <a:pt x="2975" y="5950"/>
                    </a:lnTo>
                    <a:cubicBezTo>
                      <a:pt x="2975" y="2975"/>
                      <a:pt x="5951" y="0"/>
                      <a:pt x="8926" y="0"/>
                    </a:cubicBezTo>
                    <a:cubicBezTo>
                      <a:pt x="11901" y="0"/>
                      <a:pt x="14876" y="2975"/>
                      <a:pt x="14876" y="5950"/>
                    </a:cubicBezTo>
                    <a:lnTo>
                      <a:pt x="11901" y="53554"/>
                    </a:lnTo>
                    <a:cubicBezTo>
                      <a:pt x="11901" y="56529"/>
                      <a:pt x="8926" y="59504"/>
                      <a:pt x="5951" y="59504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05B6F151-9E8B-44C0-AE89-3186C09B3633}"/>
                </a:ext>
              </a:extLst>
            </p:cNvPr>
            <p:cNvSpPr/>
            <p:nvPr/>
          </p:nvSpPr>
          <p:spPr>
            <a:xfrm>
              <a:off x="15861180" y="2359375"/>
              <a:ext cx="412399" cy="555031"/>
            </a:xfrm>
            <a:custGeom>
              <a:avLst/>
              <a:gdLst>
                <a:gd name="connsiteX0" fmla="*/ 7772 w 412399"/>
                <a:gd name="connsiteY0" fmla="*/ 176869 h 555031"/>
                <a:gd name="connsiteX1" fmla="*/ 19673 w 412399"/>
                <a:gd name="connsiteY1" fmla="*/ 426786 h 555031"/>
                <a:gd name="connsiteX2" fmla="*/ 165458 w 412399"/>
                <a:gd name="connsiteY2" fmla="*/ 554720 h 555031"/>
                <a:gd name="connsiteX3" fmla="*/ 376698 w 412399"/>
                <a:gd name="connsiteY3" fmla="*/ 414885 h 555031"/>
                <a:gd name="connsiteX4" fmla="*/ 412400 w 412399"/>
                <a:gd name="connsiteY4" fmla="*/ 194720 h 555031"/>
                <a:gd name="connsiteX5" fmla="*/ 204135 w 412399"/>
                <a:gd name="connsiteY5" fmla="*/ 1331 h 555031"/>
                <a:gd name="connsiteX6" fmla="*/ 7772 w 412399"/>
                <a:gd name="connsiteY6" fmla="*/ 176869 h 555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399" h="555031">
                  <a:moveTo>
                    <a:pt x="7772" y="176869"/>
                  </a:moveTo>
                  <a:cubicBezTo>
                    <a:pt x="7772" y="176869"/>
                    <a:pt x="-16030" y="361331"/>
                    <a:pt x="19673" y="426786"/>
                  </a:cubicBezTo>
                  <a:cubicBezTo>
                    <a:pt x="55375" y="492241"/>
                    <a:pt x="114879" y="548769"/>
                    <a:pt x="165458" y="554720"/>
                  </a:cubicBezTo>
                  <a:cubicBezTo>
                    <a:pt x="230913" y="560670"/>
                    <a:pt x="340995" y="480340"/>
                    <a:pt x="376698" y="414885"/>
                  </a:cubicBezTo>
                  <a:cubicBezTo>
                    <a:pt x="412400" y="349431"/>
                    <a:pt x="412400" y="245298"/>
                    <a:pt x="412400" y="194720"/>
                  </a:cubicBezTo>
                  <a:cubicBezTo>
                    <a:pt x="409425" y="102488"/>
                    <a:pt x="385623" y="25133"/>
                    <a:pt x="204135" y="1331"/>
                  </a:cubicBezTo>
                  <a:cubicBezTo>
                    <a:pt x="120830" y="-13545"/>
                    <a:pt x="28598" y="99513"/>
                    <a:pt x="7772" y="176869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E367717E-FF9C-4949-BCEA-990018B53D27}"/>
                </a:ext>
              </a:extLst>
            </p:cNvPr>
            <p:cNvSpPr/>
            <p:nvPr/>
          </p:nvSpPr>
          <p:spPr>
            <a:xfrm>
              <a:off x="15993910" y="2621292"/>
              <a:ext cx="53554" cy="129166"/>
            </a:xfrm>
            <a:custGeom>
              <a:avLst/>
              <a:gdLst>
                <a:gd name="connsiteX0" fmla="*/ 29752 w 53554"/>
                <a:gd name="connsiteY0" fmla="*/ 129166 h 129166"/>
                <a:gd name="connsiteX1" fmla="*/ 5951 w 53554"/>
                <a:gd name="connsiteY1" fmla="*/ 123216 h 129166"/>
                <a:gd name="connsiteX2" fmla="*/ 0 w 53554"/>
                <a:gd name="connsiteY2" fmla="*/ 111315 h 129166"/>
                <a:gd name="connsiteX3" fmla="*/ 26777 w 53554"/>
                <a:gd name="connsiteY3" fmla="*/ 4208 h 129166"/>
                <a:gd name="connsiteX4" fmla="*/ 32727 w 53554"/>
                <a:gd name="connsiteY4" fmla="*/ 1232 h 129166"/>
                <a:gd name="connsiteX5" fmla="*/ 35703 w 53554"/>
                <a:gd name="connsiteY5" fmla="*/ 7183 h 129166"/>
                <a:gd name="connsiteX6" fmla="*/ 8926 w 53554"/>
                <a:gd name="connsiteY6" fmla="*/ 111315 h 129166"/>
                <a:gd name="connsiteX7" fmla="*/ 8926 w 53554"/>
                <a:gd name="connsiteY7" fmla="*/ 114290 h 129166"/>
                <a:gd name="connsiteX8" fmla="*/ 47603 w 53554"/>
                <a:gd name="connsiteY8" fmla="*/ 114290 h 129166"/>
                <a:gd name="connsiteX9" fmla="*/ 53554 w 53554"/>
                <a:gd name="connsiteY9" fmla="*/ 120241 h 129166"/>
                <a:gd name="connsiteX10" fmla="*/ 47603 w 53554"/>
                <a:gd name="connsiteY10" fmla="*/ 126191 h 129166"/>
                <a:gd name="connsiteX11" fmla="*/ 29752 w 53554"/>
                <a:gd name="connsiteY11" fmla="*/ 129166 h 129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554" h="129166">
                  <a:moveTo>
                    <a:pt x="29752" y="129166"/>
                  </a:moveTo>
                  <a:cubicBezTo>
                    <a:pt x="20827" y="129166"/>
                    <a:pt x="11901" y="129166"/>
                    <a:pt x="5951" y="123216"/>
                  </a:cubicBezTo>
                  <a:cubicBezTo>
                    <a:pt x="2975" y="120241"/>
                    <a:pt x="0" y="117265"/>
                    <a:pt x="0" y="111315"/>
                  </a:cubicBezTo>
                  <a:cubicBezTo>
                    <a:pt x="0" y="90489"/>
                    <a:pt x="26777" y="7183"/>
                    <a:pt x="26777" y="4208"/>
                  </a:cubicBezTo>
                  <a:cubicBezTo>
                    <a:pt x="26777" y="1232"/>
                    <a:pt x="29752" y="-1743"/>
                    <a:pt x="32727" y="1232"/>
                  </a:cubicBezTo>
                  <a:cubicBezTo>
                    <a:pt x="35703" y="1232"/>
                    <a:pt x="38678" y="4208"/>
                    <a:pt x="35703" y="7183"/>
                  </a:cubicBezTo>
                  <a:cubicBezTo>
                    <a:pt x="29752" y="30984"/>
                    <a:pt x="8926" y="93464"/>
                    <a:pt x="8926" y="111315"/>
                  </a:cubicBezTo>
                  <a:cubicBezTo>
                    <a:pt x="8926" y="111315"/>
                    <a:pt x="8926" y="114290"/>
                    <a:pt x="8926" y="114290"/>
                  </a:cubicBezTo>
                  <a:cubicBezTo>
                    <a:pt x="14876" y="120241"/>
                    <a:pt x="35703" y="117265"/>
                    <a:pt x="47603" y="114290"/>
                  </a:cubicBezTo>
                  <a:cubicBezTo>
                    <a:pt x="50579" y="114290"/>
                    <a:pt x="53554" y="114290"/>
                    <a:pt x="53554" y="120241"/>
                  </a:cubicBezTo>
                  <a:cubicBezTo>
                    <a:pt x="53554" y="123216"/>
                    <a:pt x="53554" y="126191"/>
                    <a:pt x="47603" y="126191"/>
                  </a:cubicBezTo>
                  <a:cubicBezTo>
                    <a:pt x="50579" y="126191"/>
                    <a:pt x="38678" y="129166"/>
                    <a:pt x="29752" y="129166"/>
                  </a:cubicBezTo>
                  <a:close/>
                </a:path>
              </a:pathLst>
            </a:custGeom>
            <a:solidFill>
              <a:srgbClr val="E58777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399F4D54-00A2-4960-AD39-02CE2C417DC0}"/>
                </a:ext>
              </a:extLst>
            </p:cNvPr>
            <p:cNvSpPr/>
            <p:nvPr/>
          </p:nvSpPr>
          <p:spPr>
            <a:xfrm>
              <a:off x="15970109" y="2789136"/>
              <a:ext cx="117265" cy="26776"/>
            </a:xfrm>
            <a:custGeom>
              <a:avLst/>
              <a:gdLst>
                <a:gd name="connsiteX0" fmla="*/ 59504 w 117265"/>
                <a:gd name="connsiteY0" fmla="*/ 26777 h 26776"/>
                <a:gd name="connsiteX1" fmla="*/ 2975 w 117265"/>
                <a:gd name="connsiteY1" fmla="*/ 11901 h 26776"/>
                <a:gd name="connsiteX2" fmla="*/ 0 w 117265"/>
                <a:gd name="connsiteY2" fmla="*/ 2975 h 26776"/>
                <a:gd name="connsiteX3" fmla="*/ 8925 w 117265"/>
                <a:gd name="connsiteY3" fmla="*/ 0 h 26776"/>
                <a:gd name="connsiteX4" fmla="*/ 107108 w 117265"/>
                <a:gd name="connsiteY4" fmla="*/ 0 h 26776"/>
                <a:gd name="connsiteX5" fmla="*/ 116033 w 117265"/>
                <a:gd name="connsiteY5" fmla="*/ 2975 h 26776"/>
                <a:gd name="connsiteX6" fmla="*/ 113057 w 117265"/>
                <a:gd name="connsiteY6" fmla="*/ 11901 h 26776"/>
                <a:gd name="connsiteX7" fmla="*/ 59504 w 117265"/>
                <a:gd name="connsiteY7" fmla="*/ 26777 h 26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265" h="26776">
                  <a:moveTo>
                    <a:pt x="59504" y="26777"/>
                  </a:moveTo>
                  <a:cubicBezTo>
                    <a:pt x="26777" y="26777"/>
                    <a:pt x="5950" y="14876"/>
                    <a:pt x="2975" y="11901"/>
                  </a:cubicBezTo>
                  <a:cubicBezTo>
                    <a:pt x="0" y="8926"/>
                    <a:pt x="0" y="5950"/>
                    <a:pt x="0" y="2975"/>
                  </a:cubicBezTo>
                  <a:cubicBezTo>
                    <a:pt x="2975" y="0"/>
                    <a:pt x="5950" y="0"/>
                    <a:pt x="8925" y="0"/>
                  </a:cubicBezTo>
                  <a:cubicBezTo>
                    <a:pt x="8925" y="0"/>
                    <a:pt x="59504" y="26777"/>
                    <a:pt x="107108" y="0"/>
                  </a:cubicBezTo>
                  <a:cubicBezTo>
                    <a:pt x="110082" y="0"/>
                    <a:pt x="113057" y="0"/>
                    <a:pt x="116033" y="2975"/>
                  </a:cubicBezTo>
                  <a:cubicBezTo>
                    <a:pt x="119008" y="5950"/>
                    <a:pt x="116033" y="8926"/>
                    <a:pt x="113057" y="11901"/>
                  </a:cubicBezTo>
                  <a:cubicBezTo>
                    <a:pt x="95206" y="23802"/>
                    <a:pt x="77356" y="26777"/>
                    <a:pt x="59504" y="26777"/>
                  </a:cubicBezTo>
                  <a:close/>
                </a:path>
              </a:pathLst>
            </a:custGeom>
            <a:solidFill>
              <a:srgbClr val="E58777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ABC266E4-EC05-4B4E-BCB0-C1168967983D}"/>
                </a:ext>
              </a:extLst>
            </p:cNvPr>
            <p:cNvSpPr/>
            <p:nvPr/>
          </p:nvSpPr>
          <p:spPr>
            <a:xfrm>
              <a:off x="15924722" y="2592189"/>
              <a:ext cx="40019" cy="40019"/>
            </a:xfrm>
            <a:custGeom>
              <a:avLst/>
              <a:gdLst>
                <a:gd name="connsiteX0" fmla="*/ 39436 w 40019"/>
                <a:gd name="connsiteY0" fmla="*/ 24385 h 40019"/>
                <a:gd name="connsiteX1" fmla="*/ 15634 w 40019"/>
                <a:gd name="connsiteY1" fmla="*/ 39261 h 40019"/>
                <a:gd name="connsiteX2" fmla="*/ 758 w 40019"/>
                <a:gd name="connsiteY2" fmla="*/ 15460 h 40019"/>
                <a:gd name="connsiteX3" fmla="*/ 24560 w 40019"/>
                <a:gd name="connsiteY3" fmla="*/ 584 h 40019"/>
                <a:gd name="connsiteX4" fmla="*/ 39436 w 40019"/>
                <a:gd name="connsiteY4" fmla="*/ 24385 h 4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19" h="40019">
                  <a:moveTo>
                    <a:pt x="39436" y="24385"/>
                  </a:moveTo>
                  <a:cubicBezTo>
                    <a:pt x="36460" y="36286"/>
                    <a:pt x="27535" y="42236"/>
                    <a:pt x="15634" y="39261"/>
                  </a:cubicBezTo>
                  <a:cubicBezTo>
                    <a:pt x="3734" y="36286"/>
                    <a:pt x="-2217" y="27360"/>
                    <a:pt x="758" y="15460"/>
                  </a:cubicBezTo>
                  <a:cubicBezTo>
                    <a:pt x="3734" y="6534"/>
                    <a:pt x="12659" y="-2392"/>
                    <a:pt x="24560" y="584"/>
                  </a:cubicBezTo>
                  <a:cubicBezTo>
                    <a:pt x="33486" y="3559"/>
                    <a:pt x="42411" y="15460"/>
                    <a:pt x="39436" y="24385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EE37CCC7-540E-4D5F-A685-EF61CEAEF62D}"/>
                </a:ext>
              </a:extLst>
            </p:cNvPr>
            <p:cNvSpPr/>
            <p:nvPr/>
          </p:nvSpPr>
          <p:spPr>
            <a:xfrm>
              <a:off x="16109360" y="2601115"/>
              <a:ext cx="40019" cy="39844"/>
            </a:xfrm>
            <a:custGeom>
              <a:avLst/>
              <a:gdLst>
                <a:gd name="connsiteX0" fmla="*/ 39262 w 40019"/>
                <a:gd name="connsiteY0" fmla="*/ 24385 h 39844"/>
                <a:gd name="connsiteX1" fmla="*/ 15459 w 40019"/>
                <a:gd name="connsiteY1" fmla="*/ 39261 h 39844"/>
                <a:gd name="connsiteX2" fmla="*/ 583 w 40019"/>
                <a:gd name="connsiteY2" fmla="*/ 15460 h 39844"/>
                <a:gd name="connsiteX3" fmla="*/ 24386 w 40019"/>
                <a:gd name="connsiteY3" fmla="*/ 584 h 39844"/>
                <a:gd name="connsiteX4" fmla="*/ 39262 w 40019"/>
                <a:gd name="connsiteY4" fmla="*/ 24385 h 39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19" h="39844">
                  <a:moveTo>
                    <a:pt x="39262" y="24385"/>
                  </a:moveTo>
                  <a:cubicBezTo>
                    <a:pt x="36286" y="33311"/>
                    <a:pt x="27361" y="42237"/>
                    <a:pt x="15459" y="39261"/>
                  </a:cubicBezTo>
                  <a:cubicBezTo>
                    <a:pt x="6534" y="36286"/>
                    <a:pt x="-2391" y="27360"/>
                    <a:pt x="583" y="15460"/>
                  </a:cubicBezTo>
                  <a:cubicBezTo>
                    <a:pt x="3559" y="6534"/>
                    <a:pt x="12485" y="-2392"/>
                    <a:pt x="24386" y="584"/>
                  </a:cubicBezTo>
                  <a:cubicBezTo>
                    <a:pt x="36286" y="3559"/>
                    <a:pt x="42237" y="12484"/>
                    <a:pt x="39262" y="24385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23F75D16-068A-45A6-A03C-12C1EA30067B}"/>
                </a:ext>
              </a:extLst>
            </p:cNvPr>
            <p:cNvSpPr/>
            <p:nvPr/>
          </p:nvSpPr>
          <p:spPr>
            <a:xfrm>
              <a:off x="15899448" y="2544032"/>
              <a:ext cx="89744" cy="33864"/>
            </a:xfrm>
            <a:custGeom>
              <a:avLst/>
              <a:gdLst>
                <a:gd name="connsiteX0" fmla="*/ 8182 w 89744"/>
                <a:gd name="connsiteY0" fmla="*/ 33864 h 33864"/>
                <a:gd name="connsiteX1" fmla="*/ 2231 w 89744"/>
                <a:gd name="connsiteY1" fmla="*/ 30889 h 33864"/>
                <a:gd name="connsiteX2" fmla="*/ 2231 w 89744"/>
                <a:gd name="connsiteY2" fmla="*/ 18988 h 33864"/>
                <a:gd name="connsiteX3" fmla="*/ 85537 w 89744"/>
                <a:gd name="connsiteY3" fmla="*/ 10062 h 33864"/>
                <a:gd name="connsiteX4" fmla="*/ 88513 w 89744"/>
                <a:gd name="connsiteY4" fmla="*/ 18988 h 33864"/>
                <a:gd name="connsiteX5" fmla="*/ 79586 w 89744"/>
                <a:gd name="connsiteY5" fmla="*/ 21963 h 33864"/>
                <a:gd name="connsiteX6" fmla="*/ 14132 w 89744"/>
                <a:gd name="connsiteY6" fmla="*/ 27914 h 33864"/>
                <a:gd name="connsiteX7" fmla="*/ 8182 w 89744"/>
                <a:gd name="connsiteY7" fmla="*/ 33864 h 33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3864">
                  <a:moveTo>
                    <a:pt x="8182" y="33864"/>
                  </a:moveTo>
                  <a:cubicBezTo>
                    <a:pt x="5206" y="33864"/>
                    <a:pt x="5206" y="33864"/>
                    <a:pt x="2231" y="30889"/>
                  </a:cubicBezTo>
                  <a:cubicBezTo>
                    <a:pt x="-744" y="27914"/>
                    <a:pt x="-744" y="21963"/>
                    <a:pt x="2231" y="18988"/>
                  </a:cubicBezTo>
                  <a:cubicBezTo>
                    <a:pt x="29008" y="-10764"/>
                    <a:pt x="67686" y="1137"/>
                    <a:pt x="85537" y="10062"/>
                  </a:cubicBezTo>
                  <a:cubicBezTo>
                    <a:pt x="88513" y="13038"/>
                    <a:pt x="91487" y="16013"/>
                    <a:pt x="88513" y="18988"/>
                  </a:cubicBezTo>
                  <a:cubicBezTo>
                    <a:pt x="85537" y="21963"/>
                    <a:pt x="82562" y="24939"/>
                    <a:pt x="79586" y="21963"/>
                  </a:cubicBezTo>
                  <a:cubicBezTo>
                    <a:pt x="76611" y="21963"/>
                    <a:pt x="37934" y="1137"/>
                    <a:pt x="14132" y="27914"/>
                  </a:cubicBezTo>
                  <a:cubicBezTo>
                    <a:pt x="11157" y="33864"/>
                    <a:pt x="11157" y="33864"/>
                    <a:pt x="8182" y="33864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3BBFDD68-0275-4045-8A51-D9D18290DAF9}"/>
                </a:ext>
              </a:extLst>
            </p:cNvPr>
            <p:cNvSpPr/>
            <p:nvPr/>
          </p:nvSpPr>
          <p:spPr>
            <a:xfrm>
              <a:off x="16081934" y="2545472"/>
              <a:ext cx="89744" cy="35399"/>
            </a:xfrm>
            <a:custGeom>
              <a:avLst/>
              <a:gdLst>
                <a:gd name="connsiteX0" fmla="*/ 84539 w 89744"/>
                <a:gd name="connsiteY0" fmla="*/ 35400 h 35399"/>
                <a:gd name="connsiteX1" fmla="*/ 78588 w 89744"/>
                <a:gd name="connsiteY1" fmla="*/ 32425 h 35399"/>
                <a:gd name="connsiteX2" fmla="*/ 13133 w 89744"/>
                <a:gd name="connsiteY2" fmla="*/ 26474 h 35399"/>
                <a:gd name="connsiteX3" fmla="*/ 1232 w 89744"/>
                <a:gd name="connsiteY3" fmla="*/ 23499 h 35399"/>
                <a:gd name="connsiteX4" fmla="*/ 4208 w 89744"/>
                <a:gd name="connsiteY4" fmla="*/ 11598 h 35399"/>
                <a:gd name="connsiteX5" fmla="*/ 87513 w 89744"/>
                <a:gd name="connsiteY5" fmla="*/ 20524 h 35399"/>
                <a:gd name="connsiteX6" fmla="*/ 87513 w 89744"/>
                <a:gd name="connsiteY6" fmla="*/ 32425 h 35399"/>
                <a:gd name="connsiteX7" fmla="*/ 84539 w 89744"/>
                <a:gd name="connsiteY7" fmla="*/ 35400 h 3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5399">
                  <a:moveTo>
                    <a:pt x="84539" y="35400"/>
                  </a:moveTo>
                  <a:cubicBezTo>
                    <a:pt x="81563" y="35400"/>
                    <a:pt x="81563" y="35400"/>
                    <a:pt x="78588" y="32425"/>
                  </a:cubicBezTo>
                  <a:cubicBezTo>
                    <a:pt x="78588" y="32425"/>
                    <a:pt x="48836" y="2672"/>
                    <a:pt x="13133" y="26474"/>
                  </a:cubicBezTo>
                  <a:cubicBezTo>
                    <a:pt x="10159" y="29449"/>
                    <a:pt x="4208" y="26474"/>
                    <a:pt x="1232" y="23499"/>
                  </a:cubicBezTo>
                  <a:cubicBezTo>
                    <a:pt x="-1743" y="20524"/>
                    <a:pt x="1232" y="14573"/>
                    <a:pt x="4208" y="11598"/>
                  </a:cubicBezTo>
                  <a:cubicBezTo>
                    <a:pt x="39911" y="-12204"/>
                    <a:pt x="75613" y="5648"/>
                    <a:pt x="87513" y="20524"/>
                  </a:cubicBezTo>
                  <a:cubicBezTo>
                    <a:pt x="90489" y="23499"/>
                    <a:pt x="90489" y="29449"/>
                    <a:pt x="87513" y="32425"/>
                  </a:cubicBezTo>
                  <a:cubicBezTo>
                    <a:pt x="90489" y="35400"/>
                    <a:pt x="87513" y="35400"/>
                    <a:pt x="84539" y="35400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0ED8C9B2-71DF-4BCC-93F8-B50305BA2C80}"/>
                </a:ext>
              </a:extLst>
            </p:cNvPr>
            <p:cNvSpPr/>
            <p:nvPr/>
          </p:nvSpPr>
          <p:spPr>
            <a:xfrm>
              <a:off x="15844929" y="2325763"/>
              <a:ext cx="270029" cy="249182"/>
            </a:xfrm>
            <a:custGeom>
              <a:avLst/>
              <a:gdLst>
                <a:gd name="connsiteX0" fmla="*/ 267989 w 270029"/>
                <a:gd name="connsiteY0" fmla="*/ 2216 h 249182"/>
                <a:gd name="connsiteX1" fmla="*/ 232287 w 270029"/>
                <a:gd name="connsiteY1" fmla="*/ 127175 h 249182"/>
                <a:gd name="connsiteX2" fmla="*/ 220 w 270029"/>
                <a:gd name="connsiteY2" fmla="*/ 249159 h 249182"/>
                <a:gd name="connsiteX3" fmla="*/ 267989 w 270029"/>
                <a:gd name="connsiteY3" fmla="*/ 2216 h 249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029" h="249182">
                  <a:moveTo>
                    <a:pt x="267989" y="2216"/>
                  </a:moveTo>
                  <a:cubicBezTo>
                    <a:pt x="267989" y="2216"/>
                    <a:pt x="282865" y="88497"/>
                    <a:pt x="232287" y="127175"/>
                  </a:cubicBezTo>
                  <a:cubicBezTo>
                    <a:pt x="232287" y="127175"/>
                    <a:pt x="26997" y="168828"/>
                    <a:pt x="220" y="249159"/>
                  </a:cubicBezTo>
                  <a:cubicBezTo>
                    <a:pt x="220" y="252134"/>
                    <a:pt x="-17631" y="-27536"/>
                    <a:pt x="267989" y="2216"/>
                  </a:cubicBezTo>
                  <a:close/>
                </a:path>
              </a:pathLst>
            </a:custGeom>
            <a:solidFill>
              <a:srgbClr val="D3977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A61EDC29-F692-44F8-8AC6-46CC6E7DC482}"/>
                </a:ext>
              </a:extLst>
            </p:cNvPr>
            <p:cNvSpPr/>
            <p:nvPr/>
          </p:nvSpPr>
          <p:spPr>
            <a:xfrm>
              <a:off x="16077216" y="2327979"/>
              <a:ext cx="219848" cy="306929"/>
            </a:xfrm>
            <a:custGeom>
              <a:avLst/>
              <a:gdLst>
                <a:gd name="connsiteX0" fmla="*/ 0 w 219848"/>
                <a:gd name="connsiteY0" fmla="*/ 124959 h 306929"/>
                <a:gd name="connsiteX1" fmla="*/ 136859 w 219848"/>
                <a:gd name="connsiteY1" fmla="*/ 178512 h 306929"/>
                <a:gd name="connsiteX2" fmla="*/ 193388 w 219848"/>
                <a:gd name="connsiteY2" fmla="*/ 294545 h 306929"/>
                <a:gd name="connsiteX3" fmla="*/ 217190 w 219848"/>
                <a:gd name="connsiteY3" fmla="*/ 291570 h 306929"/>
                <a:gd name="connsiteX4" fmla="*/ 32727 w 219848"/>
                <a:gd name="connsiteY4" fmla="*/ 0 h 306929"/>
                <a:gd name="connsiteX5" fmla="*/ 0 w 219848"/>
                <a:gd name="connsiteY5" fmla="*/ 124959 h 306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848" h="306929">
                  <a:moveTo>
                    <a:pt x="0" y="124959"/>
                  </a:moveTo>
                  <a:cubicBezTo>
                    <a:pt x="0" y="124959"/>
                    <a:pt x="86281" y="172562"/>
                    <a:pt x="136859" y="178512"/>
                  </a:cubicBezTo>
                  <a:cubicBezTo>
                    <a:pt x="187438" y="184463"/>
                    <a:pt x="193388" y="294545"/>
                    <a:pt x="193388" y="294545"/>
                  </a:cubicBezTo>
                  <a:cubicBezTo>
                    <a:pt x="193388" y="294545"/>
                    <a:pt x="214214" y="324298"/>
                    <a:pt x="217190" y="291570"/>
                  </a:cubicBezTo>
                  <a:cubicBezTo>
                    <a:pt x="226115" y="214215"/>
                    <a:pt x="223141" y="20826"/>
                    <a:pt x="32727" y="0"/>
                  </a:cubicBezTo>
                  <a:cubicBezTo>
                    <a:pt x="35702" y="0"/>
                    <a:pt x="23801" y="121983"/>
                    <a:pt x="0" y="124959"/>
                  </a:cubicBezTo>
                  <a:close/>
                </a:path>
              </a:pathLst>
            </a:custGeom>
            <a:solidFill>
              <a:srgbClr val="D3977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2F001B68-3843-40CF-896F-4CC20BF36FA8}"/>
                </a:ext>
              </a:extLst>
            </p:cNvPr>
            <p:cNvSpPr/>
            <p:nvPr/>
          </p:nvSpPr>
          <p:spPr>
            <a:xfrm>
              <a:off x="16234902" y="2609175"/>
              <a:ext cx="75710" cy="111296"/>
            </a:xfrm>
            <a:custGeom>
              <a:avLst/>
              <a:gdLst>
                <a:gd name="connsiteX0" fmla="*/ 11901 w 75710"/>
                <a:gd name="connsiteY0" fmla="*/ 16325 h 111296"/>
                <a:gd name="connsiteX1" fmla="*/ 68429 w 75710"/>
                <a:gd name="connsiteY1" fmla="*/ 7399 h 111296"/>
                <a:gd name="connsiteX2" fmla="*/ 11901 w 75710"/>
                <a:gd name="connsiteY2" fmla="*/ 108556 h 111296"/>
                <a:gd name="connsiteX3" fmla="*/ 11901 w 75710"/>
                <a:gd name="connsiteY3" fmla="*/ 16325 h 111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710" h="111296">
                  <a:moveTo>
                    <a:pt x="11901" y="16325"/>
                  </a:moveTo>
                  <a:cubicBezTo>
                    <a:pt x="11901" y="16325"/>
                    <a:pt x="44628" y="-13427"/>
                    <a:pt x="68429" y="7399"/>
                  </a:cubicBezTo>
                  <a:cubicBezTo>
                    <a:pt x="92232" y="25250"/>
                    <a:pt x="53553" y="129383"/>
                    <a:pt x="11901" y="108556"/>
                  </a:cubicBezTo>
                  <a:cubicBezTo>
                    <a:pt x="-14876" y="87730"/>
                    <a:pt x="11901" y="16325"/>
                    <a:pt x="11901" y="16325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EB3CDDB6-B0C5-4502-8508-5C70452A03C6}"/>
                </a:ext>
              </a:extLst>
            </p:cNvPr>
            <p:cNvSpPr/>
            <p:nvPr/>
          </p:nvSpPr>
          <p:spPr>
            <a:xfrm>
              <a:off x="16071266" y="2325004"/>
              <a:ext cx="203546" cy="294545"/>
            </a:xfrm>
            <a:custGeom>
              <a:avLst/>
              <a:gdLst>
                <a:gd name="connsiteX0" fmla="*/ 199339 w 203546"/>
                <a:gd name="connsiteY0" fmla="*/ 294545 h 294545"/>
                <a:gd name="connsiteX1" fmla="*/ 193388 w 203546"/>
                <a:gd name="connsiteY1" fmla="*/ 288595 h 294545"/>
                <a:gd name="connsiteX2" fmla="*/ 142810 w 203546"/>
                <a:gd name="connsiteY2" fmla="*/ 187438 h 294545"/>
                <a:gd name="connsiteX3" fmla="*/ 2975 w 203546"/>
                <a:gd name="connsiteY3" fmla="*/ 130909 h 294545"/>
                <a:gd name="connsiteX4" fmla="*/ 0 w 203546"/>
                <a:gd name="connsiteY4" fmla="*/ 127934 h 294545"/>
                <a:gd name="connsiteX5" fmla="*/ 0 w 203546"/>
                <a:gd name="connsiteY5" fmla="*/ 121983 h 294545"/>
                <a:gd name="connsiteX6" fmla="*/ 17851 w 203546"/>
                <a:gd name="connsiteY6" fmla="*/ 98182 h 294545"/>
                <a:gd name="connsiteX7" fmla="*/ 26777 w 203546"/>
                <a:gd name="connsiteY7" fmla="*/ 59504 h 294545"/>
                <a:gd name="connsiteX8" fmla="*/ 29752 w 203546"/>
                <a:gd name="connsiteY8" fmla="*/ 32727 h 294545"/>
                <a:gd name="connsiteX9" fmla="*/ 32727 w 203546"/>
                <a:gd name="connsiteY9" fmla="*/ 5950 h 294545"/>
                <a:gd name="connsiteX10" fmla="*/ 38677 w 203546"/>
                <a:gd name="connsiteY10" fmla="*/ 0 h 294545"/>
                <a:gd name="connsiteX11" fmla="*/ 44628 w 203546"/>
                <a:gd name="connsiteY11" fmla="*/ 5950 h 294545"/>
                <a:gd name="connsiteX12" fmla="*/ 41653 w 203546"/>
                <a:gd name="connsiteY12" fmla="*/ 32727 h 294545"/>
                <a:gd name="connsiteX13" fmla="*/ 38677 w 203546"/>
                <a:gd name="connsiteY13" fmla="*/ 59504 h 294545"/>
                <a:gd name="connsiteX14" fmla="*/ 26777 w 203546"/>
                <a:gd name="connsiteY14" fmla="*/ 101157 h 294545"/>
                <a:gd name="connsiteX15" fmla="*/ 11901 w 203546"/>
                <a:gd name="connsiteY15" fmla="*/ 121983 h 294545"/>
                <a:gd name="connsiteX16" fmla="*/ 142810 w 203546"/>
                <a:gd name="connsiteY16" fmla="*/ 172562 h 294545"/>
                <a:gd name="connsiteX17" fmla="*/ 202314 w 203546"/>
                <a:gd name="connsiteY17" fmla="*/ 285620 h 294545"/>
                <a:gd name="connsiteX18" fmla="*/ 199339 w 203546"/>
                <a:gd name="connsiteY18" fmla="*/ 294545 h 294545"/>
                <a:gd name="connsiteX19" fmla="*/ 199339 w 203546"/>
                <a:gd name="connsiteY19" fmla="*/ 294545 h 294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3546" h="294545">
                  <a:moveTo>
                    <a:pt x="199339" y="294545"/>
                  </a:moveTo>
                  <a:cubicBezTo>
                    <a:pt x="196364" y="294545"/>
                    <a:pt x="193388" y="291570"/>
                    <a:pt x="193388" y="288595"/>
                  </a:cubicBezTo>
                  <a:cubicBezTo>
                    <a:pt x="193388" y="288595"/>
                    <a:pt x="193388" y="196364"/>
                    <a:pt x="142810" y="187438"/>
                  </a:cubicBezTo>
                  <a:cubicBezTo>
                    <a:pt x="74380" y="178512"/>
                    <a:pt x="5951" y="133884"/>
                    <a:pt x="2975" y="130909"/>
                  </a:cubicBezTo>
                  <a:cubicBezTo>
                    <a:pt x="2975" y="130909"/>
                    <a:pt x="0" y="127934"/>
                    <a:pt x="0" y="127934"/>
                  </a:cubicBezTo>
                  <a:cubicBezTo>
                    <a:pt x="0" y="124959"/>
                    <a:pt x="0" y="124959"/>
                    <a:pt x="0" y="121983"/>
                  </a:cubicBezTo>
                  <a:cubicBezTo>
                    <a:pt x="5951" y="113058"/>
                    <a:pt x="11901" y="107107"/>
                    <a:pt x="17851" y="98182"/>
                  </a:cubicBezTo>
                  <a:cubicBezTo>
                    <a:pt x="23801" y="86281"/>
                    <a:pt x="26777" y="71405"/>
                    <a:pt x="26777" y="59504"/>
                  </a:cubicBezTo>
                  <a:cubicBezTo>
                    <a:pt x="26777" y="53554"/>
                    <a:pt x="29752" y="41653"/>
                    <a:pt x="29752" y="32727"/>
                  </a:cubicBezTo>
                  <a:cubicBezTo>
                    <a:pt x="29752" y="20826"/>
                    <a:pt x="32727" y="11901"/>
                    <a:pt x="32727" y="5950"/>
                  </a:cubicBezTo>
                  <a:cubicBezTo>
                    <a:pt x="32727" y="2975"/>
                    <a:pt x="35703" y="0"/>
                    <a:pt x="38677" y="0"/>
                  </a:cubicBezTo>
                  <a:cubicBezTo>
                    <a:pt x="41653" y="0"/>
                    <a:pt x="44628" y="2975"/>
                    <a:pt x="44628" y="5950"/>
                  </a:cubicBezTo>
                  <a:cubicBezTo>
                    <a:pt x="44628" y="11901"/>
                    <a:pt x="41653" y="23802"/>
                    <a:pt x="41653" y="32727"/>
                  </a:cubicBezTo>
                  <a:cubicBezTo>
                    <a:pt x="41653" y="44628"/>
                    <a:pt x="38677" y="53554"/>
                    <a:pt x="38677" y="59504"/>
                  </a:cubicBezTo>
                  <a:cubicBezTo>
                    <a:pt x="35703" y="74380"/>
                    <a:pt x="35703" y="89256"/>
                    <a:pt x="26777" y="101157"/>
                  </a:cubicBezTo>
                  <a:cubicBezTo>
                    <a:pt x="23801" y="107107"/>
                    <a:pt x="17851" y="116033"/>
                    <a:pt x="11901" y="121983"/>
                  </a:cubicBezTo>
                  <a:cubicBezTo>
                    <a:pt x="29752" y="133884"/>
                    <a:pt x="86281" y="163636"/>
                    <a:pt x="142810" y="172562"/>
                  </a:cubicBezTo>
                  <a:cubicBezTo>
                    <a:pt x="199339" y="181488"/>
                    <a:pt x="202314" y="279669"/>
                    <a:pt x="202314" y="285620"/>
                  </a:cubicBezTo>
                  <a:cubicBezTo>
                    <a:pt x="205289" y="291570"/>
                    <a:pt x="202314" y="294545"/>
                    <a:pt x="199339" y="294545"/>
                  </a:cubicBezTo>
                  <a:lnTo>
                    <a:pt x="199339" y="294545"/>
                  </a:ln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6746691D-F18E-4272-AC6A-59491499E3E1}"/>
                </a:ext>
              </a:extLst>
            </p:cNvPr>
            <p:cNvSpPr/>
            <p:nvPr/>
          </p:nvSpPr>
          <p:spPr>
            <a:xfrm>
              <a:off x="15749618" y="2464839"/>
              <a:ext cx="271068" cy="279669"/>
            </a:xfrm>
            <a:custGeom>
              <a:avLst/>
              <a:gdLst>
                <a:gd name="connsiteX0" fmla="*/ 6275 w 271068"/>
                <a:gd name="connsiteY0" fmla="*/ 279669 h 279669"/>
                <a:gd name="connsiteX1" fmla="*/ 326 w 271068"/>
                <a:gd name="connsiteY1" fmla="*/ 273719 h 279669"/>
                <a:gd name="connsiteX2" fmla="*/ 36028 w 271068"/>
                <a:gd name="connsiteY2" fmla="*/ 211240 h 279669"/>
                <a:gd name="connsiteX3" fmla="*/ 86606 w 271068"/>
                <a:gd name="connsiteY3" fmla="*/ 127934 h 279669"/>
                <a:gd name="connsiteX4" fmla="*/ 265119 w 271068"/>
                <a:gd name="connsiteY4" fmla="*/ 0 h 279669"/>
                <a:gd name="connsiteX5" fmla="*/ 271069 w 271068"/>
                <a:gd name="connsiteY5" fmla="*/ 5950 h 279669"/>
                <a:gd name="connsiteX6" fmla="*/ 265119 w 271068"/>
                <a:gd name="connsiteY6" fmla="*/ 11901 h 279669"/>
                <a:gd name="connsiteX7" fmla="*/ 95532 w 271068"/>
                <a:gd name="connsiteY7" fmla="*/ 130909 h 279669"/>
                <a:gd name="connsiteX8" fmla="*/ 41978 w 271068"/>
                <a:gd name="connsiteY8" fmla="*/ 223141 h 279669"/>
                <a:gd name="connsiteX9" fmla="*/ 12226 w 271068"/>
                <a:gd name="connsiteY9" fmla="*/ 276694 h 279669"/>
                <a:gd name="connsiteX10" fmla="*/ 6275 w 271068"/>
                <a:gd name="connsiteY10" fmla="*/ 279669 h 279669"/>
                <a:gd name="connsiteX11" fmla="*/ 6275 w 271068"/>
                <a:gd name="connsiteY11" fmla="*/ 279669 h 279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1068" h="279669">
                  <a:moveTo>
                    <a:pt x="6275" y="279669"/>
                  </a:moveTo>
                  <a:cubicBezTo>
                    <a:pt x="3300" y="279669"/>
                    <a:pt x="326" y="276694"/>
                    <a:pt x="326" y="273719"/>
                  </a:cubicBezTo>
                  <a:cubicBezTo>
                    <a:pt x="-2650" y="238017"/>
                    <a:pt x="15202" y="226116"/>
                    <a:pt x="36028" y="211240"/>
                  </a:cubicBezTo>
                  <a:cubicBezTo>
                    <a:pt x="56854" y="196364"/>
                    <a:pt x="80656" y="178512"/>
                    <a:pt x="86606" y="127934"/>
                  </a:cubicBezTo>
                  <a:cubicBezTo>
                    <a:pt x="95532" y="23802"/>
                    <a:pt x="259168" y="0"/>
                    <a:pt x="265119" y="0"/>
                  </a:cubicBezTo>
                  <a:cubicBezTo>
                    <a:pt x="268094" y="0"/>
                    <a:pt x="271069" y="2975"/>
                    <a:pt x="271069" y="5950"/>
                  </a:cubicBezTo>
                  <a:cubicBezTo>
                    <a:pt x="271069" y="8926"/>
                    <a:pt x="268094" y="11901"/>
                    <a:pt x="265119" y="11901"/>
                  </a:cubicBezTo>
                  <a:cubicBezTo>
                    <a:pt x="262143" y="11901"/>
                    <a:pt x="104458" y="35702"/>
                    <a:pt x="95532" y="130909"/>
                  </a:cubicBezTo>
                  <a:cubicBezTo>
                    <a:pt x="92556" y="187438"/>
                    <a:pt x="62804" y="208264"/>
                    <a:pt x="41978" y="223141"/>
                  </a:cubicBezTo>
                  <a:cubicBezTo>
                    <a:pt x="24127" y="238017"/>
                    <a:pt x="9251" y="246942"/>
                    <a:pt x="12226" y="276694"/>
                  </a:cubicBezTo>
                  <a:cubicBezTo>
                    <a:pt x="15202" y="276694"/>
                    <a:pt x="12226" y="279669"/>
                    <a:pt x="6275" y="279669"/>
                  </a:cubicBezTo>
                  <a:cubicBezTo>
                    <a:pt x="9251" y="279669"/>
                    <a:pt x="9251" y="279669"/>
                    <a:pt x="6275" y="279669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1F060118-5018-494A-AC8A-BE563914D6D6}"/>
                </a:ext>
              </a:extLst>
            </p:cNvPr>
            <p:cNvSpPr/>
            <p:nvPr/>
          </p:nvSpPr>
          <p:spPr>
            <a:xfrm>
              <a:off x="15622604" y="2843434"/>
              <a:ext cx="117669" cy="115289"/>
            </a:xfrm>
            <a:custGeom>
              <a:avLst/>
              <a:gdLst>
                <a:gd name="connsiteX0" fmla="*/ 8331 w 117669"/>
                <a:gd name="connsiteY0" fmla="*/ 115289 h 115289"/>
                <a:gd name="connsiteX1" fmla="*/ 2380 w 117669"/>
                <a:gd name="connsiteY1" fmla="*/ 112314 h 115289"/>
                <a:gd name="connsiteX2" fmla="*/ 32132 w 117669"/>
                <a:gd name="connsiteY2" fmla="*/ 52810 h 115289"/>
                <a:gd name="connsiteX3" fmla="*/ 106512 w 117669"/>
                <a:gd name="connsiteY3" fmla="*/ 2231 h 115289"/>
                <a:gd name="connsiteX4" fmla="*/ 115438 w 117669"/>
                <a:gd name="connsiteY4" fmla="*/ 2231 h 115289"/>
                <a:gd name="connsiteX5" fmla="*/ 115438 w 117669"/>
                <a:gd name="connsiteY5" fmla="*/ 11157 h 115289"/>
                <a:gd name="connsiteX6" fmla="*/ 38083 w 117669"/>
                <a:gd name="connsiteY6" fmla="*/ 64711 h 115289"/>
                <a:gd name="connsiteX7" fmla="*/ 14281 w 117669"/>
                <a:gd name="connsiteY7" fmla="*/ 109339 h 115289"/>
                <a:gd name="connsiteX8" fmla="*/ 8331 w 117669"/>
                <a:gd name="connsiteY8" fmla="*/ 115289 h 115289"/>
                <a:gd name="connsiteX9" fmla="*/ 8331 w 117669"/>
                <a:gd name="connsiteY9" fmla="*/ 115289 h 11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669" h="115289">
                  <a:moveTo>
                    <a:pt x="8331" y="115289"/>
                  </a:moveTo>
                  <a:cubicBezTo>
                    <a:pt x="5356" y="115289"/>
                    <a:pt x="2380" y="115289"/>
                    <a:pt x="2380" y="112314"/>
                  </a:cubicBezTo>
                  <a:cubicBezTo>
                    <a:pt x="2380" y="112314"/>
                    <a:pt x="-12496" y="70661"/>
                    <a:pt x="32132" y="52810"/>
                  </a:cubicBezTo>
                  <a:cubicBezTo>
                    <a:pt x="70810" y="34959"/>
                    <a:pt x="106512" y="2231"/>
                    <a:pt x="106512" y="2231"/>
                  </a:cubicBezTo>
                  <a:cubicBezTo>
                    <a:pt x="109488" y="-744"/>
                    <a:pt x="112463" y="-744"/>
                    <a:pt x="115438" y="2231"/>
                  </a:cubicBezTo>
                  <a:cubicBezTo>
                    <a:pt x="118413" y="5207"/>
                    <a:pt x="118413" y="8182"/>
                    <a:pt x="115438" y="11157"/>
                  </a:cubicBezTo>
                  <a:cubicBezTo>
                    <a:pt x="112463" y="11157"/>
                    <a:pt x="76760" y="46859"/>
                    <a:pt x="38083" y="64711"/>
                  </a:cubicBezTo>
                  <a:cubicBezTo>
                    <a:pt x="2380" y="79587"/>
                    <a:pt x="14281" y="109339"/>
                    <a:pt x="14281" y="109339"/>
                  </a:cubicBezTo>
                  <a:cubicBezTo>
                    <a:pt x="14281" y="109339"/>
                    <a:pt x="11305" y="112314"/>
                    <a:pt x="8331" y="115289"/>
                  </a:cubicBezTo>
                  <a:cubicBezTo>
                    <a:pt x="8331" y="115289"/>
                    <a:pt x="8331" y="115289"/>
                    <a:pt x="8331" y="115289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4C84079A-BFBF-40AD-9F26-CBE3ACE5D94F}"/>
                </a:ext>
              </a:extLst>
            </p:cNvPr>
            <p:cNvSpPr/>
            <p:nvPr/>
          </p:nvSpPr>
          <p:spPr>
            <a:xfrm>
              <a:off x="15958952" y="2841457"/>
              <a:ext cx="217678" cy="78587"/>
            </a:xfrm>
            <a:custGeom>
              <a:avLst/>
              <a:gdLst>
                <a:gd name="connsiteX0" fmla="*/ 70661 w 217678"/>
                <a:gd name="connsiteY0" fmla="*/ 78588 h 78587"/>
                <a:gd name="connsiteX1" fmla="*/ 2231 w 217678"/>
                <a:gd name="connsiteY1" fmla="*/ 51811 h 78587"/>
                <a:gd name="connsiteX2" fmla="*/ 2231 w 217678"/>
                <a:gd name="connsiteY2" fmla="*/ 42885 h 78587"/>
                <a:gd name="connsiteX3" fmla="*/ 11157 w 217678"/>
                <a:gd name="connsiteY3" fmla="*/ 42885 h 78587"/>
                <a:gd name="connsiteX4" fmla="*/ 79586 w 217678"/>
                <a:gd name="connsiteY4" fmla="*/ 66687 h 78587"/>
                <a:gd name="connsiteX5" fmla="*/ 207521 w 217678"/>
                <a:gd name="connsiteY5" fmla="*/ 1232 h 78587"/>
                <a:gd name="connsiteX6" fmla="*/ 216446 w 217678"/>
                <a:gd name="connsiteY6" fmla="*/ 4208 h 78587"/>
                <a:gd name="connsiteX7" fmla="*/ 213471 w 217678"/>
                <a:gd name="connsiteY7" fmla="*/ 13133 h 78587"/>
                <a:gd name="connsiteX8" fmla="*/ 79586 w 217678"/>
                <a:gd name="connsiteY8" fmla="*/ 78588 h 78587"/>
                <a:gd name="connsiteX9" fmla="*/ 70661 w 217678"/>
                <a:gd name="connsiteY9" fmla="*/ 78588 h 78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678" h="78587">
                  <a:moveTo>
                    <a:pt x="70661" y="78588"/>
                  </a:moveTo>
                  <a:cubicBezTo>
                    <a:pt x="31983" y="78588"/>
                    <a:pt x="5206" y="51811"/>
                    <a:pt x="2231" y="51811"/>
                  </a:cubicBezTo>
                  <a:cubicBezTo>
                    <a:pt x="-744" y="48836"/>
                    <a:pt x="-744" y="45861"/>
                    <a:pt x="2231" y="42885"/>
                  </a:cubicBezTo>
                  <a:cubicBezTo>
                    <a:pt x="5206" y="39910"/>
                    <a:pt x="8182" y="39910"/>
                    <a:pt x="11157" y="42885"/>
                  </a:cubicBezTo>
                  <a:cubicBezTo>
                    <a:pt x="11157" y="42885"/>
                    <a:pt x="40909" y="72637"/>
                    <a:pt x="79586" y="66687"/>
                  </a:cubicBezTo>
                  <a:cubicBezTo>
                    <a:pt x="118265" y="60737"/>
                    <a:pt x="207521" y="1232"/>
                    <a:pt x="207521" y="1232"/>
                  </a:cubicBezTo>
                  <a:cubicBezTo>
                    <a:pt x="210495" y="-1743"/>
                    <a:pt x="213471" y="1232"/>
                    <a:pt x="216446" y="4208"/>
                  </a:cubicBezTo>
                  <a:cubicBezTo>
                    <a:pt x="219421" y="7183"/>
                    <a:pt x="216446" y="10158"/>
                    <a:pt x="213471" y="13133"/>
                  </a:cubicBezTo>
                  <a:cubicBezTo>
                    <a:pt x="210495" y="16108"/>
                    <a:pt x="121239" y="75613"/>
                    <a:pt x="79586" y="78588"/>
                  </a:cubicBezTo>
                  <a:cubicBezTo>
                    <a:pt x="76611" y="78588"/>
                    <a:pt x="73637" y="78588"/>
                    <a:pt x="70661" y="78588"/>
                  </a:cubicBezTo>
                  <a:close/>
                </a:path>
              </a:pathLst>
            </a:custGeom>
            <a:solidFill>
              <a:srgbClr val="E58777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4" name="图形 1">
              <a:extLst>
                <a:ext uri="{FF2B5EF4-FFF2-40B4-BE49-F238E27FC236}">
                  <a16:creationId xmlns:a16="http://schemas.microsoft.com/office/drawing/2014/main" id="{D90D3E41-82FD-4D3D-AEEE-9409E35A9212}"/>
                </a:ext>
              </a:extLst>
            </p:cNvPr>
            <p:cNvGrpSpPr/>
            <p:nvPr/>
          </p:nvGrpSpPr>
          <p:grpSpPr>
            <a:xfrm>
              <a:off x="15803497" y="2223710"/>
              <a:ext cx="732434" cy="312533"/>
              <a:chOff x="15803497" y="2223710"/>
              <a:chExt cx="732434" cy="312533"/>
            </a:xfrm>
          </p:grpSpPr>
          <p:grpSp>
            <p:nvGrpSpPr>
              <p:cNvPr id="86" name="图形 1">
                <a:extLst>
                  <a:ext uri="{FF2B5EF4-FFF2-40B4-BE49-F238E27FC236}">
                    <a16:creationId xmlns:a16="http://schemas.microsoft.com/office/drawing/2014/main" id="{6AFE5649-AF3F-4DEA-BF33-FB85FC3ABC54}"/>
                  </a:ext>
                </a:extLst>
              </p:cNvPr>
              <p:cNvGrpSpPr/>
              <p:nvPr/>
            </p:nvGrpSpPr>
            <p:grpSpPr>
              <a:xfrm>
                <a:off x="15803497" y="2223710"/>
                <a:ext cx="732434" cy="306315"/>
                <a:chOff x="15803497" y="2223710"/>
                <a:chExt cx="732434" cy="306315"/>
              </a:xfrm>
            </p:grpSpPr>
            <p:sp>
              <p:nvSpPr>
                <p:cNvPr id="89" name="任意多边形: 形状 88">
                  <a:extLst>
                    <a:ext uri="{FF2B5EF4-FFF2-40B4-BE49-F238E27FC236}">
                      <a16:creationId xmlns:a16="http://schemas.microsoft.com/office/drawing/2014/main" id="{0329CB6A-9E9A-4638-B63C-5BA87AD4B063}"/>
                    </a:ext>
                  </a:extLst>
                </p:cNvPr>
                <p:cNvSpPr/>
                <p:nvPr/>
              </p:nvSpPr>
              <p:spPr>
                <a:xfrm>
                  <a:off x="15803497" y="2223710"/>
                  <a:ext cx="580165" cy="306315"/>
                </a:xfrm>
                <a:custGeom>
                  <a:avLst/>
                  <a:gdLst>
                    <a:gd name="connsiteX0" fmla="*/ 166612 w 580165"/>
                    <a:gd name="connsiteY0" fmla="*/ 17989 h 306315"/>
                    <a:gd name="connsiteX1" fmla="*/ 577190 w 580165"/>
                    <a:gd name="connsiteY1" fmla="*/ 131046 h 306315"/>
                    <a:gd name="connsiteX2" fmla="*/ 580165 w 580165"/>
                    <a:gd name="connsiteY2" fmla="*/ 139972 h 306315"/>
                    <a:gd name="connsiteX3" fmla="*/ 508761 w 580165"/>
                    <a:gd name="connsiteY3" fmla="*/ 196501 h 306315"/>
                    <a:gd name="connsiteX4" fmla="*/ 529586 w 580165"/>
                    <a:gd name="connsiteY4" fmla="*/ 276831 h 306315"/>
                    <a:gd name="connsiteX5" fmla="*/ 529586 w 580165"/>
                    <a:gd name="connsiteY5" fmla="*/ 282782 h 306315"/>
                    <a:gd name="connsiteX6" fmla="*/ 523637 w 580165"/>
                    <a:gd name="connsiteY6" fmla="*/ 285757 h 306315"/>
                    <a:gd name="connsiteX7" fmla="*/ 208264 w 580165"/>
                    <a:gd name="connsiteY7" fmla="*/ 303608 h 306315"/>
                    <a:gd name="connsiteX8" fmla="*/ 5951 w 580165"/>
                    <a:gd name="connsiteY8" fmla="*/ 264931 h 306315"/>
                    <a:gd name="connsiteX9" fmla="*/ 0 w 580165"/>
                    <a:gd name="connsiteY9" fmla="*/ 258980 h 306315"/>
                    <a:gd name="connsiteX10" fmla="*/ 166612 w 580165"/>
                    <a:gd name="connsiteY10" fmla="*/ 17989 h 306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80165" h="306315">
                      <a:moveTo>
                        <a:pt x="166612" y="17989"/>
                      </a:moveTo>
                      <a:cubicBezTo>
                        <a:pt x="318347" y="-26640"/>
                        <a:pt x="470082" y="12038"/>
                        <a:pt x="577190" y="131046"/>
                      </a:cubicBezTo>
                      <a:cubicBezTo>
                        <a:pt x="580165" y="134022"/>
                        <a:pt x="580165" y="136997"/>
                        <a:pt x="580165" y="139972"/>
                      </a:cubicBezTo>
                      <a:cubicBezTo>
                        <a:pt x="580165" y="142947"/>
                        <a:pt x="559339" y="187575"/>
                        <a:pt x="508761" y="196501"/>
                      </a:cubicBezTo>
                      <a:cubicBezTo>
                        <a:pt x="523637" y="235179"/>
                        <a:pt x="529586" y="273856"/>
                        <a:pt x="529586" y="276831"/>
                      </a:cubicBezTo>
                      <a:cubicBezTo>
                        <a:pt x="529586" y="279807"/>
                        <a:pt x="529586" y="279807"/>
                        <a:pt x="529586" y="282782"/>
                      </a:cubicBezTo>
                      <a:cubicBezTo>
                        <a:pt x="529586" y="285757"/>
                        <a:pt x="526612" y="285757"/>
                        <a:pt x="523637" y="285757"/>
                      </a:cubicBezTo>
                      <a:cubicBezTo>
                        <a:pt x="392728" y="306584"/>
                        <a:pt x="288595" y="309559"/>
                        <a:pt x="208264" y="303608"/>
                      </a:cubicBezTo>
                      <a:cubicBezTo>
                        <a:pt x="77356" y="294683"/>
                        <a:pt x="11901" y="264931"/>
                        <a:pt x="5951" y="264931"/>
                      </a:cubicBezTo>
                      <a:cubicBezTo>
                        <a:pt x="2975" y="264931"/>
                        <a:pt x="0" y="261955"/>
                        <a:pt x="0" y="258980"/>
                      </a:cubicBezTo>
                      <a:cubicBezTo>
                        <a:pt x="2975" y="256005"/>
                        <a:pt x="-2975" y="68567"/>
                        <a:pt x="166612" y="1798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0" name="任意多边形: 形状 89">
                  <a:extLst>
                    <a:ext uri="{FF2B5EF4-FFF2-40B4-BE49-F238E27FC236}">
                      <a16:creationId xmlns:a16="http://schemas.microsoft.com/office/drawing/2014/main" id="{8F65A1D0-2702-4965-88C1-DAB4D07C52B6}"/>
                    </a:ext>
                  </a:extLst>
                </p:cNvPr>
                <p:cNvSpPr/>
                <p:nvPr/>
              </p:nvSpPr>
              <p:spPr>
                <a:xfrm>
                  <a:off x="16324158" y="2256008"/>
                  <a:ext cx="205855" cy="205855"/>
                </a:xfrm>
                <a:custGeom>
                  <a:avLst/>
                  <a:gdLst>
                    <a:gd name="connsiteX0" fmla="*/ 23801 w 205855"/>
                    <a:gd name="connsiteY0" fmla="*/ 36269 h 205855"/>
                    <a:gd name="connsiteX1" fmla="*/ 92232 w 205855"/>
                    <a:gd name="connsiteY1" fmla="*/ 566 h 205855"/>
                    <a:gd name="connsiteX2" fmla="*/ 205289 w 205855"/>
                    <a:gd name="connsiteY2" fmla="*/ 92797 h 205855"/>
                    <a:gd name="connsiteX3" fmla="*/ 113057 w 205855"/>
                    <a:gd name="connsiteY3" fmla="*/ 205855 h 205855"/>
                    <a:gd name="connsiteX4" fmla="*/ 95207 w 205855"/>
                    <a:gd name="connsiteY4" fmla="*/ 205855 h 205855"/>
                    <a:gd name="connsiteX5" fmla="*/ 35703 w 205855"/>
                    <a:gd name="connsiteY5" fmla="*/ 182054 h 205855"/>
                    <a:gd name="connsiteX6" fmla="*/ 0 w 205855"/>
                    <a:gd name="connsiteY6" fmla="*/ 113624 h 205855"/>
                    <a:gd name="connsiteX7" fmla="*/ 23801 w 205855"/>
                    <a:gd name="connsiteY7" fmla="*/ 36269 h 205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5855" h="205855">
                      <a:moveTo>
                        <a:pt x="23801" y="36269"/>
                      </a:moveTo>
                      <a:cubicBezTo>
                        <a:pt x="41653" y="15442"/>
                        <a:pt x="65455" y="566"/>
                        <a:pt x="92232" y="566"/>
                      </a:cubicBezTo>
                      <a:cubicBezTo>
                        <a:pt x="148760" y="-5384"/>
                        <a:pt x="199339" y="36269"/>
                        <a:pt x="205289" y="92797"/>
                      </a:cubicBezTo>
                      <a:cubicBezTo>
                        <a:pt x="211240" y="149326"/>
                        <a:pt x="169587" y="199905"/>
                        <a:pt x="113057" y="205855"/>
                      </a:cubicBezTo>
                      <a:cubicBezTo>
                        <a:pt x="107108" y="205855"/>
                        <a:pt x="101157" y="205855"/>
                        <a:pt x="95207" y="205855"/>
                      </a:cubicBezTo>
                      <a:cubicBezTo>
                        <a:pt x="74380" y="205855"/>
                        <a:pt x="53553" y="196930"/>
                        <a:pt x="35703" y="182054"/>
                      </a:cubicBezTo>
                      <a:cubicBezTo>
                        <a:pt x="14876" y="164202"/>
                        <a:pt x="0" y="140401"/>
                        <a:pt x="0" y="113624"/>
                      </a:cubicBezTo>
                      <a:cubicBezTo>
                        <a:pt x="0" y="83872"/>
                        <a:pt x="5951" y="57095"/>
                        <a:pt x="23801" y="3626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1" name="任意多边形: 形状 90">
                  <a:extLst>
                    <a:ext uri="{FF2B5EF4-FFF2-40B4-BE49-F238E27FC236}">
                      <a16:creationId xmlns:a16="http://schemas.microsoft.com/office/drawing/2014/main" id="{A52629A1-34DE-498E-8E82-B395B18BE09F}"/>
                    </a:ext>
                  </a:extLst>
                </p:cNvPr>
                <p:cNvSpPr/>
                <p:nvPr/>
              </p:nvSpPr>
              <p:spPr>
                <a:xfrm>
                  <a:off x="16320619" y="2250060"/>
                  <a:ext cx="215312" cy="214778"/>
                </a:xfrm>
                <a:custGeom>
                  <a:avLst/>
                  <a:gdLst>
                    <a:gd name="connsiteX0" fmla="*/ 107671 w 215312"/>
                    <a:gd name="connsiteY0" fmla="*/ 214779 h 214778"/>
                    <a:gd name="connsiteX1" fmla="*/ 101721 w 215312"/>
                    <a:gd name="connsiteY1" fmla="*/ 214779 h 214778"/>
                    <a:gd name="connsiteX2" fmla="*/ 39242 w 215312"/>
                    <a:gd name="connsiteY2" fmla="*/ 190977 h 214778"/>
                    <a:gd name="connsiteX3" fmla="*/ 564 w 215312"/>
                    <a:gd name="connsiteY3" fmla="*/ 119572 h 214778"/>
                    <a:gd name="connsiteX4" fmla="*/ 24366 w 215312"/>
                    <a:gd name="connsiteY4" fmla="*/ 39241 h 214778"/>
                    <a:gd name="connsiteX5" fmla="*/ 24366 w 215312"/>
                    <a:gd name="connsiteY5" fmla="*/ 39241 h 214778"/>
                    <a:gd name="connsiteX6" fmla="*/ 95771 w 215312"/>
                    <a:gd name="connsiteY6" fmla="*/ 564 h 214778"/>
                    <a:gd name="connsiteX7" fmla="*/ 176101 w 215312"/>
                    <a:gd name="connsiteY7" fmla="*/ 24365 h 214778"/>
                    <a:gd name="connsiteX8" fmla="*/ 214779 w 215312"/>
                    <a:gd name="connsiteY8" fmla="*/ 95770 h 214778"/>
                    <a:gd name="connsiteX9" fmla="*/ 119572 w 215312"/>
                    <a:gd name="connsiteY9" fmla="*/ 214779 h 214778"/>
                    <a:gd name="connsiteX10" fmla="*/ 107671 w 215312"/>
                    <a:gd name="connsiteY10" fmla="*/ 214779 h 214778"/>
                    <a:gd name="connsiteX11" fmla="*/ 33291 w 215312"/>
                    <a:gd name="connsiteY11" fmla="*/ 45192 h 214778"/>
                    <a:gd name="connsiteX12" fmla="*/ 12464 w 215312"/>
                    <a:gd name="connsiteY12" fmla="*/ 116597 h 214778"/>
                    <a:gd name="connsiteX13" fmla="*/ 48167 w 215312"/>
                    <a:gd name="connsiteY13" fmla="*/ 182051 h 214778"/>
                    <a:gd name="connsiteX14" fmla="*/ 104696 w 215312"/>
                    <a:gd name="connsiteY14" fmla="*/ 202878 h 214778"/>
                    <a:gd name="connsiteX15" fmla="*/ 119572 w 215312"/>
                    <a:gd name="connsiteY15" fmla="*/ 202878 h 214778"/>
                    <a:gd name="connsiteX16" fmla="*/ 205853 w 215312"/>
                    <a:gd name="connsiteY16" fmla="*/ 95770 h 214778"/>
                    <a:gd name="connsiteX17" fmla="*/ 170151 w 215312"/>
                    <a:gd name="connsiteY17" fmla="*/ 30316 h 214778"/>
                    <a:gd name="connsiteX18" fmla="*/ 98746 w 215312"/>
                    <a:gd name="connsiteY18" fmla="*/ 9489 h 214778"/>
                    <a:gd name="connsiteX19" fmla="*/ 33291 w 215312"/>
                    <a:gd name="connsiteY19" fmla="*/ 45192 h 214778"/>
                    <a:gd name="connsiteX20" fmla="*/ 33291 w 215312"/>
                    <a:gd name="connsiteY20" fmla="*/ 45192 h 214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15312" h="214778">
                      <a:moveTo>
                        <a:pt x="107671" y="214779"/>
                      </a:moveTo>
                      <a:cubicBezTo>
                        <a:pt x="104696" y="214779"/>
                        <a:pt x="101721" y="214779"/>
                        <a:pt x="101721" y="214779"/>
                      </a:cubicBezTo>
                      <a:cubicBezTo>
                        <a:pt x="77919" y="214779"/>
                        <a:pt x="57093" y="205853"/>
                        <a:pt x="39242" y="190977"/>
                      </a:cubicBezTo>
                      <a:cubicBezTo>
                        <a:pt x="18415" y="173126"/>
                        <a:pt x="3539" y="146349"/>
                        <a:pt x="564" y="119572"/>
                      </a:cubicBezTo>
                      <a:cubicBezTo>
                        <a:pt x="-2412" y="89820"/>
                        <a:pt x="6515" y="63043"/>
                        <a:pt x="24366" y="39241"/>
                      </a:cubicBezTo>
                      <a:lnTo>
                        <a:pt x="24366" y="39241"/>
                      </a:lnTo>
                      <a:cubicBezTo>
                        <a:pt x="42217" y="18415"/>
                        <a:pt x="68994" y="3539"/>
                        <a:pt x="95771" y="564"/>
                      </a:cubicBezTo>
                      <a:cubicBezTo>
                        <a:pt x="125523" y="-2411"/>
                        <a:pt x="152300" y="6514"/>
                        <a:pt x="176101" y="24365"/>
                      </a:cubicBezTo>
                      <a:cubicBezTo>
                        <a:pt x="199903" y="42217"/>
                        <a:pt x="211804" y="68994"/>
                        <a:pt x="214779" y="95770"/>
                      </a:cubicBezTo>
                      <a:cubicBezTo>
                        <a:pt x="220729" y="155275"/>
                        <a:pt x="176101" y="208828"/>
                        <a:pt x="119572" y="214779"/>
                      </a:cubicBezTo>
                      <a:cubicBezTo>
                        <a:pt x="113622" y="214779"/>
                        <a:pt x="110647" y="214779"/>
                        <a:pt x="107671" y="214779"/>
                      </a:cubicBezTo>
                      <a:close/>
                      <a:moveTo>
                        <a:pt x="33291" y="45192"/>
                      </a:moveTo>
                      <a:cubicBezTo>
                        <a:pt x="18415" y="66018"/>
                        <a:pt x="9490" y="89820"/>
                        <a:pt x="12464" y="116597"/>
                      </a:cubicBezTo>
                      <a:cubicBezTo>
                        <a:pt x="15440" y="143374"/>
                        <a:pt x="27341" y="164200"/>
                        <a:pt x="48167" y="182051"/>
                      </a:cubicBezTo>
                      <a:cubicBezTo>
                        <a:pt x="63043" y="193952"/>
                        <a:pt x="83870" y="202878"/>
                        <a:pt x="104696" y="202878"/>
                      </a:cubicBezTo>
                      <a:cubicBezTo>
                        <a:pt x="110647" y="202878"/>
                        <a:pt x="116597" y="202878"/>
                        <a:pt x="119572" y="202878"/>
                      </a:cubicBezTo>
                      <a:cubicBezTo>
                        <a:pt x="173126" y="196927"/>
                        <a:pt x="211804" y="149324"/>
                        <a:pt x="205853" y="95770"/>
                      </a:cubicBezTo>
                      <a:cubicBezTo>
                        <a:pt x="202878" y="68994"/>
                        <a:pt x="190977" y="48167"/>
                        <a:pt x="170151" y="30316"/>
                      </a:cubicBezTo>
                      <a:cubicBezTo>
                        <a:pt x="149324" y="15440"/>
                        <a:pt x="125523" y="6514"/>
                        <a:pt x="98746" y="9489"/>
                      </a:cubicBezTo>
                      <a:cubicBezTo>
                        <a:pt x="71969" y="12465"/>
                        <a:pt x="48167" y="24365"/>
                        <a:pt x="33291" y="45192"/>
                      </a:cubicBezTo>
                      <a:lnTo>
                        <a:pt x="33291" y="45192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0EA8C95A-1507-43DE-BE33-BD38C647E79A}"/>
                  </a:ext>
                </a:extLst>
              </p:cNvPr>
              <p:cNvSpPr/>
              <p:nvPr/>
            </p:nvSpPr>
            <p:spPr>
              <a:xfrm>
                <a:off x="15809448" y="2417235"/>
                <a:ext cx="511735" cy="53553"/>
              </a:xfrm>
              <a:custGeom>
                <a:avLst/>
                <a:gdLst>
                  <a:gd name="connsiteX0" fmla="*/ 288595 w 511735"/>
                  <a:gd name="connsiteY0" fmla="*/ 53554 h 53553"/>
                  <a:gd name="connsiteX1" fmla="*/ 0 w 511735"/>
                  <a:gd name="connsiteY1" fmla="*/ 8926 h 53553"/>
                  <a:gd name="connsiteX2" fmla="*/ 5950 w 511735"/>
                  <a:gd name="connsiteY2" fmla="*/ 0 h 53553"/>
                  <a:gd name="connsiteX3" fmla="*/ 508760 w 511735"/>
                  <a:gd name="connsiteY3" fmla="*/ 29752 h 53553"/>
                  <a:gd name="connsiteX4" fmla="*/ 511735 w 511735"/>
                  <a:gd name="connsiteY4" fmla="*/ 41653 h 53553"/>
                  <a:gd name="connsiteX5" fmla="*/ 288595 w 511735"/>
                  <a:gd name="connsiteY5" fmla="*/ 53554 h 53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1735" h="53553">
                    <a:moveTo>
                      <a:pt x="288595" y="53554"/>
                    </a:moveTo>
                    <a:cubicBezTo>
                      <a:pt x="190413" y="53554"/>
                      <a:pt x="77355" y="44628"/>
                      <a:pt x="0" y="8926"/>
                    </a:cubicBezTo>
                    <a:lnTo>
                      <a:pt x="5950" y="0"/>
                    </a:lnTo>
                    <a:cubicBezTo>
                      <a:pt x="172562" y="77355"/>
                      <a:pt x="505785" y="29752"/>
                      <a:pt x="508760" y="29752"/>
                    </a:cubicBezTo>
                    <a:lnTo>
                      <a:pt x="511735" y="41653"/>
                    </a:lnTo>
                    <a:cubicBezTo>
                      <a:pt x="508760" y="41653"/>
                      <a:pt x="407603" y="53554"/>
                      <a:pt x="288595" y="53554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637620A5-FBB0-4A20-B1AA-0B01B8EE8371}"/>
                  </a:ext>
                </a:extLst>
              </p:cNvPr>
              <p:cNvSpPr/>
              <p:nvPr/>
            </p:nvSpPr>
            <p:spPr>
              <a:xfrm>
                <a:off x="15805240" y="2390458"/>
                <a:ext cx="531010" cy="145785"/>
              </a:xfrm>
              <a:custGeom>
                <a:avLst/>
                <a:gdLst>
                  <a:gd name="connsiteX0" fmla="*/ 304703 w 531010"/>
                  <a:gd name="connsiteY0" fmla="*/ 145785 h 145785"/>
                  <a:gd name="connsiteX1" fmla="*/ 4208 w 531010"/>
                  <a:gd name="connsiteY1" fmla="*/ 104132 h 145785"/>
                  <a:gd name="connsiteX2" fmla="*/ 1232 w 531010"/>
                  <a:gd name="connsiteY2" fmla="*/ 98182 h 145785"/>
                  <a:gd name="connsiteX3" fmla="*/ 7182 w 531010"/>
                  <a:gd name="connsiteY3" fmla="*/ 95207 h 145785"/>
                  <a:gd name="connsiteX4" fmla="*/ 521894 w 531010"/>
                  <a:gd name="connsiteY4" fmla="*/ 113058 h 145785"/>
                  <a:gd name="connsiteX5" fmla="*/ 492142 w 531010"/>
                  <a:gd name="connsiteY5" fmla="*/ 5950 h 145785"/>
                  <a:gd name="connsiteX6" fmla="*/ 495117 w 531010"/>
                  <a:gd name="connsiteY6" fmla="*/ 0 h 145785"/>
                  <a:gd name="connsiteX7" fmla="*/ 501067 w 531010"/>
                  <a:gd name="connsiteY7" fmla="*/ 2975 h 145785"/>
                  <a:gd name="connsiteX8" fmla="*/ 530819 w 531010"/>
                  <a:gd name="connsiteY8" fmla="*/ 119008 h 145785"/>
                  <a:gd name="connsiteX9" fmla="*/ 530819 w 531010"/>
                  <a:gd name="connsiteY9" fmla="*/ 121983 h 145785"/>
                  <a:gd name="connsiteX10" fmla="*/ 527844 w 531010"/>
                  <a:gd name="connsiteY10" fmla="*/ 121983 h 145785"/>
                  <a:gd name="connsiteX11" fmla="*/ 304703 w 531010"/>
                  <a:gd name="connsiteY11" fmla="*/ 145785 h 145785"/>
                  <a:gd name="connsiteX12" fmla="*/ 524869 w 531010"/>
                  <a:gd name="connsiteY12" fmla="*/ 116033 h 145785"/>
                  <a:gd name="connsiteX13" fmla="*/ 524869 w 531010"/>
                  <a:gd name="connsiteY13" fmla="*/ 116033 h 145785"/>
                  <a:gd name="connsiteX14" fmla="*/ 524869 w 531010"/>
                  <a:gd name="connsiteY14" fmla="*/ 116033 h 145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31010" h="145785">
                    <a:moveTo>
                      <a:pt x="304703" y="145785"/>
                    </a:moveTo>
                    <a:cubicBezTo>
                      <a:pt x="218422" y="145785"/>
                      <a:pt x="114290" y="136859"/>
                      <a:pt x="4208" y="104132"/>
                    </a:cubicBezTo>
                    <a:cubicBezTo>
                      <a:pt x="1232" y="104132"/>
                      <a:pt x="-1743" y="101157"/>
                      <a:pt x="1232" y="98182"/>
                    </a:cubicBezTo>
                    <a:cubicBezTo>
                      <a:pt x="1232" y="95207"/>
                      <a:pt x="4208" y="92231"/>
                      <a:pt x="7182" y="95207"/>
                    </a:cubicBezTo>
                    <a:cubicBezTo>
                      <a:pt x="271976" y="172562"/>
                      <a:pt x="489166" y="121983"/>
                      <a:pt x="521894" y="113058"/>
                    </a:cubicBezTo>
                    <a:cubicBezTo>
                      <a:pt x="521894" y="77355"/>
                      <a:pt x="492142" y="5950"/>
                      <a:pt x="492142" y="5950"/>
                    </a:cubicBezTo>
                    <a:cubicBezTo>
                      <a:pt x="492142" y="2975"/>
                      <a:pt x="492142" y="0"/>
                      <a:pt x="495117" y="0"/>
                    </a:cubicBezTo>
                    <a:cubicBezTo>
                      <a:pt x="498091" y="0"/>
                      <a:pt x="501067" y="0"/>
                      <a:pt x="501067" y="2975"/>
                    </a:cubicBezTo>
                    <a:cubicBezTo>
                      <a:pt x="501067" y="5950"/>
                      <a:pt x="533794" y="83306"/>
                      <a:pt x="530819" y="119008"/>
                    </a:cubicBezTo>
                    <a:lnTo>
                      <a:pt x="530819" y="121983"/>
                    </a:lnTo>
                    <a:lnTo>
                      <a:pt x="527844" y="121983"/>
                    </a:lnTo>
                    <a:cubicBezTo>
                      <a:pt x="524869" y="121983"/>
                      <a:pt x="438587" y="145785"/>
                      <a:pt x="304703" y="145785"/>
                    </a:cubicBezTo>
                    <a:close/>
                    <a:moveTo>
                      <a:pt x="524869" y="116033"/>
                    </a:moveTo>
                    <a:lnTo>
                      <a:pt x="524869" y="116033"/>
                    </a:lnTo>
                    <a:lnTo>
                      <a:pt x="524869" y="116033"/>
                    </a:lnTo>
                    <a:close/>
                  </a:path>
                </a:pathLst>
              </a:custGeom>
              <a:solidFill>
                <a:srgbClr val="38343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B57072A1-CB75-46B0-AB09-EB988172F2B3}"/>
                </a:ext>
              </a:extLst>
            </p:cNvPr>
            <p:cNvSpPr/>
            <p:nvPr/>
          </p:nvSpPr>
          <p:spPr>
            <a:xfrm>
              <a:off x="12374014" y="4268558"/>
              <a:ext cx="562509" cy="359813"/>
            </a:xfrm>
            <a:custGeom>
              <a:avLst/>
              <a:gdLst>
                <a:gd name="connsiteX0" fmla="*/ 94277 w 562509"/>
                <a:gd name="connsiteY0" fmla="*/ 359256 h 359813"/>
                <a:gd name="connsiteX1" fmla="*/ 135929 w 562509"/>
                <a:gd name="connsiteY1" fmla="*/ 332479 h 359813"/>
                <a:gd name="connsiteX2" fmla="*/ 153781 w 562509"/>
                <a:gd name="connsiteY2" fmla="*/ 249173 h 359813"/>
                <a:gd name="connsiteX3" fmla="*/ 287665 w 562509"/>
                <a:gd name="connsiteY3" fmla="*/ 186694 h 359813"/>
                <a:gd name="connsiteX4" fmla="*/ 287665 w 562509"/>
                <a:gd name="connsiteY4" fmla="*/ 234297 h 359813"/>
                <a:gd name="connsiteX5" fmla="*/ 296591 w 562509"/>
                <a:gd name="connsiteY5" fmla="*/ 258099 h 359813"/>
                <a:gd name="connsiteX6" fmla="*/ 320392 w 562509"/>
                <a:gd name="connsiteY6" fmla="*/ 270000 h 359813"/>
                <a:gd name="connsiteX7" fmla="*/ 344194 w 562509"/>
                <a:gd name="connsiteY7" fmla="*/ 261074 h 359813"/>
                <a:gd name="connsiteX8" fmla="*/ 356095 w 562509"/>
                <a:gd name="connsiteY8" fmla="*/ 237273 h 359813"/>
                <a:gd name="connsiteX9" fmla="*/ 359070 w 562509"/>
                <a:gd name="connsiteY9" fmla="*/ 153967 h 359813"/>
                <a:gd name="connsiteX10" fmla="*/ 543533 w 562509"/>
                <a:gd name="connsiteY10" fmla="*/ 64711 h 359813"/>
                <a:gd name="connsiteX11" fmla="*/ 558409 w 562509"/>
                <a:gd name="connsiteY11" fmla="*/ 20083 h 359813"/>
                <a:gd name="connsiteX12" fmla="*/ 537582 w 562509"/>
                <a:gd name="connsiteY12" fmla="*/ 2231 h 359813"/>
                <a:gd name="connsiteX13" fmla="*/ 510805 w 562509"/>
                <a:gd name="connsiteY13" fmla="*/ 2231 h 359813"/>
                <a:gd name="connsiteX14" fmla="*/ 201384 w 562509"/>
                <a:gd name="connsiteY14" fmla="*/ 150992 h 359813"/>
                <a:gd name="connsiteX15" fmla="*/ 52624 w 562509"/>
                <a:gd name="connsiteY15" fmla="*/ 55785 h 359813"/>
                <a:gd name="connsiteX16" fmla="*/ 5020 w 562509"/>
                <a:gd name="connsiteY16" fmla="*/ 64711 h 359813"/>
                <a:gd name="connsiteX17" fmla="*/ 5020 w 562509"/>
                <a:gd name="connsiteY17" fmla="*/ 64711 h 359813"/>
                <a:gd name="connsiteX18" fmla="*/ 13946 w 562509"/>
                <a:gd name="connsiteY18" fmla="*/ 112314 h 359813"/>
                <a:gd name="connsiteX19" fmla="*/ 127004 w 562509"/>
                <a:gd name="connsiteY19" fmla="*/ 186694 h 359813"/>
                <a:gd name="connsiteX20" fmla="*/ 46673 w 562509"/>
                <a:gd name="connsiteY20" fmla="*/ 225372 h 359813"/>
                <a:gd name="connsiteX21" fmla="*/ 31797 w 562509"/>
                <a:gd name="connsiteY21" fmla="*/ 270000 h 359813"/>
                <a:gd name="connsiteX22" fmla="*/ 73451 w 562509"/>
                <a:gd name="connsiteY22" fmla="*/ 287851 h 359813"/>
                <a:gd name="connsiteX23" fmla="*/ 67500 w 562509"/>
                <a:gd name="connsiteY23" fmla="*/ 317603 h 359813"/>
                <a:gd name="connsiteX24" fmla="*/ 94277 w 562509"/>
                <a:gd name="connsiteY24" fmla="*/ 359256 h 359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62509" h="359813">
                  <a:moveTo>
                    <a:pt x="94277" y="359256"/>
                  </a:moveTo>
                  <a:cubicBezTo>
                    <a:pt x="112128" y="362231"/>
                    <a:pt x="129979" y="353306"/>
                    <a:pt x="135929" y="332479"/>
                  </a:cubicBezTo>
                  <a:lnTo>
                    <a:pt x="153781" y="249173"/>
                  </a:lnTo>
                  <a:lnTo>
                    <a:pt x="287665" y="186694"/>
                  </a:lnTo>
                  <a:lnTo>
                    <a:pt x="287665" y="234297"/>
                  </a:lnTo>
                  <a:cubicBezTo>
                    <a:pt x="287665" y="243223"/>
                    <a:pt x="290640" y="252149"/>
                    <a:pt x="296591" y="258099"/>
                  </a:cubicBezTo>
                  <a:cubicBezTo>
                    <a:pt x="302541" y="264049"/>
                    <a:pt x="311467" y="267025"/>
                    <a:pt x="320392" y="270000"/>
                  </a:cubicBezTo>
                  <a:cubicBezTo>
                    <a:pt x="329318" y="270000"/>
                    <a:pt x="338244" y="267025"/>
                    <a:pt x="344194" y="261074"/>
                  </a:cubicBezTo>
                  <a:cubicBezTo>
                    <a:pt x="350144" y="255124"/>
                    <a:pt x="353120" y="246198"/>
                    <a:pt x="356095" y="237273"/>
                  </a:cubicBezTo>
                  <a:lnTo>
                    <a:pt x="359070" y="153967"/>
                  </a:lnTo>
                  <a:lnTo>
                    <a:pt x="543533" y="64711"/>
                  </a:lnTo>
                  <a:cubicBezTo>
                    <a:pt x="561384" y="55785"/>
                    <a:pt x="567334" y="34959"/>
                    <a:pt x="558409" y="20083"/>
                  </a:cubicBezTo>
                  <a:cubicBezTo>
                    <a:pt x="555434" y="11157"/>
                    <a:pt x="546508" y="5207"/>
                    <a:pt x="537582" y="2231"/>
                  </a:cubicBezTo>
                  <a:cubicBezTo>
                    <a:pt x="528657" y="-744"/>
                    <a:pt x="519732" y="-744"/>
                    <a:pt x="510805" y="2231"/>
                  </a:cubicBezTo>
                  <a:lnTo>
                    <a:pt x="201384" y="150992"/>
                  </a:lnTo>
                  <a:lnTo>
                    <a:pt x="52624" y="55785"/>
                  </a:lnTo>
                  <a:cubicBezTo>
                    <a:pt x="37748" y="46859"/>
                    <a:pt x="16921" y="49835"/>
                    <a:pt x="5020" y="64711"/>
                  </a:cubicBezTo>
                  <a:cubicBezTo>
                    <a:pt x="5020" y="64711"/>
                    <a:pt x="5020" y="64711"/>
                    <a:pt x="5020" y="64711"/>
                  </a:cubicBezTo>
                  <a:cubicBezTo>
                    <a:pt x="-3905" y="79587"/>
                    <a:pt x="-930" y="103388"/>
                    <a:pt x="13946" y="112314"/>
                  </a:cubicBezTo>
                  <a:lnTo>
                    <a:pt x="127004" y="186694"/>
                  </a:lnTo>
                  <a:lnTo>
                    <a:pt x="46673" y="225372"/>
                  </a:lnTo>
                  <a:cubicBezTo>
                    <a:pt x="28823" y="234297"/>
                    <a:pt x="22872" y="255124"/>
                    <a:pt x="31797" y="270000"/>
                  </a:cubicBezTo>
                  <a:cubicBezTo>
                    <a:pt x="40723" y="284876"/>
                    <a:pt x="58575" y="293801"/>
                    <a:pt x="73451" y="287851"/>
                  </a:cubicBezTo>
                  <a:lnTo>
                    <a:pt x="67500" y="317603"/>
                  </a:lnTo>
                  <a:cubicBezTo>
                    <a:pt x="64524" y="335454"/>
                    <a:pt x="76425" y="353306"/>
                    <a:pt x="94277" y="359256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0582174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B854FE33-3C55-452E-ADD7-70CF7DA02EB2}"/>
              </a:ext>
            </a:extLst>
          </p:cNvPr>
          <p:cNvGrpSpPr/>
          <p:nvPr/>
        </p:nvGrpSpPr>
        <p:grpSpPr>
          <a:xfrm>
            <a:off x="2023435" y="1699480"/>
            <a:ext cx="9197121" cy="4951474"/>
            <a:chOff x="17549185" y="1699480"/>
            <a:chExt cx="9197121" cy="4951474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C8813AA3-D88D-4840-AB02-B94CAD1ABD38}"/>
                </a:ext>
              </a:extLst>
            </p:cNvPr>
            <p:cNvSpPr/>
            <p:nvPr/>
          </p:nvSpPr>
          <p:spPr>
            <a:xfrm>
              <a:off x="24703905" y="3708475"/>
              <a:ext cx="209815" cy="282785"/>
            </a:xfrm>
            <a:custGeom>
              <a:avLst/>
              <a:gdLst>
                <a:gd name="connsiteX0" fmla="*/ 203724 w 209815"/>
                <a:gd name="connsiteY0" fmla="*/ 148760 h 282785"/>
                <a:gd name="connsiteX1" fmla="*/ 165047 w 209815"/>
                <a:gd name="connsiteY1" fmla="*/ 41653 h 282785"/>
                <a:gd name="connsiteX2" fmla="*/ 105543 w 209815"/>
                <a:gd name="connsiteY2" fmla="*/ 0 h 282785"/>
                <a:gd name="connsiteX3" fmla="*/ 28186 w 209815"/>
                <a:gd name="connsiteY3" fmla="*/ 59504 h 282785"/>
                <a:gd name="connsiteX4" fmla="*/ 54964 w 209815"/>
                <a:gd name="connsiteY4" fmla="*/ 279669 h 282785"/>
                <a:gd name="connsiteX5" fmla="*/ 99592 w 209815"/>
                <a:gd name="connsiteY5" fmla="*/ 264793 h 282785"/>
                <a:gd name="connsiteX6" fmla="*/ 153146 w 209815"/>
                <a:gd name="connsiteY6" fmla="*/ 252893 h 282785"/>
                <a:gd name="connsiteX7" fmla="*/ 173972 w 209815"/>
                <a:gd name="connsiteY7" fmla="*/ 226116 h 282785"/>
                <a:gd name="connsiteX8" fmla="*/ 197774 w 209815"/>
                <a:gd name="connsiteY8" fmla="*/ 184463 h 282785"/>
                <a:gd name="connsiteX9" fmla="*/ 203724 w 209815"/>
                <a:gd name="connsiteY9" fmla="*/ 148760 h 282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815" h="282785">
                  <a:moveTo>
                    <a:pt x="203724" y="148760"/>
                  </a:moveTo>
                  <a:cubicBezTo>
                    <a:pt x="191823" y="116033"/>
                    <a:pt x="206699" y="59504"/>
                    <a:pt x="165047" y="41653"/>
                  </a:cubicBezTo>
                  <a:cubicBezTo>
                    <a:pt x="156122" y="38678"/>
                    <a:pt x="123393" y="29752"/>
                    <a:pt x="105543" y="0"/>
                  </a:cubicBezTo>
                  <a:cubicBezTo>
                    <a:pt x="63889" y="2975"/>
                    <a:pt x="28186" y="56529"/>
                    <a:pt x="28186" y="59504"/>
                  </a:cubicBezTo>
                  <a:cubicBezTo>
                    <a:pt x="-37267" y="104132"/>
                    <a:pt x="28186" y="232066"/>
                    <a:pt x="54964" y="279669"/>
                  </a:cubicBezTo>
                  <a:cubicBezTo>
                    <a:pt x="60915" y="288595"/>
                    <a:pt x="99592" y="276694"/>
                    <a:pt x="99592" y="264793"/>
                  </a:cubicBezTo>
                  <a:cubicBezTo>
                    <a:pt x="99592" y="246942"/>
                    <a:pt x="144220" y="258843"/>
                    <a:pt x="153146" y="252893"/>
                  </a:cubicBezTo>
                  <a:cubicBezTo>
                    <a:pt x="162071" y="246942"/>
                    <a:pt x="173972" y="229091"/>
                    <a:pt x="173972" y="226116"/>
                  </a:cubicBezTo>
                  <a:cubicBezTo>
                    <a:pt x="185874" y="211240"/>
                    <a:pt x="188848" y="190413"/>
                    <a:pt x="197774" y="184463"/>
                  </a:cubicBezTo>
                  <a:cubicBezTo>
                    <a:pt x="212650" y="175537"/>
                    <a:pt x="212650" y="169587"/>
                    <a:pt x="203724" y="148760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61BFC416-163D-4034-896E-A66F768B540F}"/>
                </a:ext>
              </a:extLst>
            </p:cNvPr>
            <p:cNvGrpSpPr/>
            <p:nvPr/>
          </p:nvGrpSpPr>
          <p:grpSpPr>
            <a:xfrm>
              <a:off x="24688280" y="2790789"/>
              <a:ext cx="1808110" cy="1205465"/>
              <a:chOff x="24688280" y="2790789"/>
              <a:chExt cx="1808110" cy="1205465"/>
            </a:xfrm>
          </p:grpSpPr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F2C36516-254E-4265-8581-FF4F0A8E2621}"/>
                  </a:ext>
                </a:extLst>
              </p:cNvPr>
              <p:cNvSpPr/>
              <p:nvPr/>
            </p:nvSpPr>
            <p:spPr>
              <a:xfrm>
                <a:off x="24770771" y="2804012"/>
                <a:ext cx="1725619" cy="1136529"/>
              </a:xfrm>
              <a:custGeom>
                <a:avLst/>
                <a:gdLst>
                  <a:gd name="connsiteX0" fmla="*/ 1710744 w 1725619"/>
                  <a:gd name="connsiteY0" fmla="*/ 0 h 1136529"/>
                  <a:gd name="connsiteX1" fmla="*/ 1725620 w 1725619"/>
                  <a:gd name="connsiteY1" fmla="*/ 20826 h 1136529"/>
                  <a:gd name="connsiteX2" fmla="*/ 26776 w 1725619"/>
                  <a:gd name="connsiteY2" fmla="*/ 1136529 h 1136529"/>
                  <a:gd name="connsiteX3" fmla="*/ 0 w 1725619"/>
                  <a:gd name="connsiteY3" fmla="*/ 1094876 h 1136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5619" h="1136529">
                    <a:moveTo>
                      <a:pt x="1710744" y="0"/>
                    </a:moveTo>
                    <a:lnTo>
                      <a:pt x="1725620" y="20826"/>
                    </a:lnTo>
                    <a:lnTo>
                      <a:pt x="26776" y="1136529"/>
                    </a:lnTo>
                    <a:lnTo>
                      <a:pt x="0" y="1094876"/>
                    </a:lnTo>
                    <a:close/>
                  </a:path>
                </a:pathLst>
              </a:custGeom>
              <a:solidFill>
                <a:srgbClr val="F1DDB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A8849BDD-C9D6-409D-B4D8-83729B713E55}"/>
                  </a:ext>
                </a:extLst>
              </p:cNvPr>
              <p:cNvSpPr/>
              <p:nvPr/>
            </p:nvSpPr>
            <p:spPr>
              <a:xfrm>
                <a:off x="26117216" y="2790789"/>
                <a:ext cx="252561" cy="362644"/>
              </a:xfrm>
              <a:custGeom>
                <a:avLst/>
                <a:gdLst>
                  <a:gd name="connsiteX0" fmla="*/ 48925 w 252561"/>
                  <a:gd name="connsiteY0" fmla="*/ 13223 h 362644"/>
                  <a:gd name="connsiteX1" fmla="*/ 248265 w 252561"/>
                  <a:gd name="connsiteY1" fmla="*/ 322645 h 362644"/>
                  <a:gd name="connsiteX2" fmla="*/ 239339 w 252561"/>
                  <a:gd name="connsiteY2" fmla="*/ 358347 h 362644"/>
                  <a:gd name="connsiteX3" fmla="*/ 239339 w 252561"/>
                  <a:gd name="connsiteY3" fmla="*/ 358347 h 362644"/>
                  <a:gd name="connsiteX4" fmla="*/ 203636 w 252561"/>
                  <a:gd name="connsiteY4" fmla="*/ 349422 h 362644"/>
                  <a:gd name="connsiteX5" fmla="*/ 4297 w 252561"/>
                  <a:gd name="connsiteY5" fmla="*/ 40000 h 362644"/>
                  <a:gd name="connsiteX6" fmla="*/ 13222 w 252561"/>
                  <a:gd name="connsiteY6" fmla="*/ 4298 h 362644"/>
                  <a:gd name="connsiteX7" fmla="*/ 13222 w 252561"/>
                  <a:gd name="connsiteY7" fmla="*/ 4298 h 362644"/>
                  <a:gd name="connsiteX8" fmla="*/ 48925 w 252561"/>
                  <a:gd name="connsiteY8" fmla="*/ 13223 h 362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2561" h="362644">
                    <a:moveTo>
                      <a:pt x="48925" y="13223"/>
                    </a:moveTo>
                    <a:lnTo>
                      <a:pt x="248265" y="322645"/>
                    </a:lnTo>
                    <a:cubicBezTo>
                      <a:pt x="257190" y="334546"/>
                      <a:pt x="251239" y="349422"/>
                      <a:pt x="239339" y="358347"/>
                    </a:cubicBezTo>
                    <a:lnTo>
                      <a:pt x="239339" y="358347"/>
                    </a:lnTo>
                    <a:cubicBezTo>
                      <a:pt x="227438" y="367273"/>
                      <a:pt x="212562" y="361322"/>
                      <a:pt x="203636" y="349422"/>
                    </a:cubicBezTo>
                    <a:lnTo>
                      <a:pt x="4297" y="40000"/>
                    </a:lnTo>
                    <a:cubicBezTo>
                      <a:pt x="-4628" y="28099"/>
                      <a:pt x="1323" y="13223"/>
                      <a:pt x="13222" y="4298"/>
                    </a:cubicBezTo>
                    <a:lnTo>
                      <a:pt x="13222" y="4298"/>
                    </a:lnTo>
                    <a:cubicBezTo>
                      <a:pt x="25124" y="-4628"/>
                      <a:pt x="40000" y="1322"/>
                      <a:pt x="48925" y="13223"/>
                    </a:cubicBezTo>
                    <a:close/>
                  </a:path>
                </a:pathLst>
              </a:custGeom>
              <a:solidFill>
                <a:srgbClr val="F1DDB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72370550-D503-4DC7-B2EC-36114F7C6278}"/>
                  </a:ext>
                </a:extLst>
              </p:cNvPr>
              <p:cNvSpPr/>
              <p:nvPr/>
            </p:nvSpPr>
            <p:spPr>
              <a:xfrm>
                <a:off x="24688280" y="3753918"/>
                <a:ext cx="322666" cy="242336"/>
              </a:xfrm>
              <a:custGeom>
                <a:avLst/>
                <a:gdLst>
                  <a:gd name="connsiteX0" fmla="*/ 314557 w 322666"/>
                  <a:gd name="connsiteY0" fmla="*/ 22986 h 242336"/>
                  <a:gd name="connsiteX1" fmla="*/ 314557 w 322666"/>
                  <a:gd name="connsiteY1" fmla="*/ 22986 h 242336"/>
                  <a:gd name="connsiteX2" fmla="*/ 299681 w 322666"/>
                  <a:gd name="connsiteY2" fmla="*/ 91416 h 242336"/>
                  <a:gd name="connsiteX3" fmla="*/ 76540 w 322666"/>
                  <a:gd name="connsiteY3" fmla="*/ 234226 h 242336"/>
                  <a:gd name="connsiteX4" fmla="*/ 8111 w 322666"/>
                  <a:gd name="connsiteY4" fmla="*/ 219350 h 242336"/>
                  <a:gd name="connsiteX5" fmla="*/ 8111 w 322666"/>
                  <a:gd name="connsiteY5" fmla="*/ 219350 h 242336"/>
                  <a:gd name="connsiteX6" fmla="*/ 22987 w 322666"/>
                  <a:gd name="connsiteY6" fmla="*/ 150920 h 242336"/>
                  <a:gd name="connsiteX7" fmla="*/ 246127 w 322666"/>
                  <a:gd name="connsiteY7" fmla="*/ 8110 h 242336"/>
                  <a:gd name="connsiteX8" fmla="*/ 314557 w 322666"/>
                  <a:gd name="connsiteY8" fmla="*/ 22986 h 242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666" h="242336">
                    <a:moveTo>
                      <a:pt x="314557" y="22986"/>
                    </a:moveTo>
                    <a:lnTo>
                      <a:pt x="314557" y="22986"/>
                    </a:lnTo>
                    <a:cubicBezTo>
                      <a:pt x="329433" y="46788"/>
                      <a:pt x="323482" y="76540"/>
                      <a:pt x="299681" y="91416"/>
                    </a:cubicBezTo>
                    <a:lnTo>
                      <a:pt x="76540" y="234226"/>
                    </a:lnTo>
                    <a:cubicBezTo>
                      <a:pt x="52739" y="249102"/>
                      <a:pt x="22987" y="243151"/>
                      <a:pt x="8111" y="219350"/>
                    </a:cubicBezTo>
                    <a:lnTo>
                      <a:pt x="8111" y="219350"/>
                    </a:lnTo>
                    <a:cubicBezTo>
                      <a:pt x="-6765" y="195548"/>
                      <a:pt x="-816" y="165796"/>
                      <a:pt x="22987" y="150920"/>
                    </a:cubicBezTo>
                    <a:lnTo>
                      <a:pt x="246127" y="8110"/>
                    </a:lnTo>
                    <a:cubicBezTo>
                      <a:pt x="269929" y="-6766"/>
                      <a:pt x="299681" y="-815"/>
                      <a:pt x="314557" y="22986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43F52870-41DC-491F-A947-F6C722257F43}"/>
                </a:ext>
              </a:extLst>
            </p:cNvPr>
            <p:cNvGrpSpPr/>
            <p:nvPr/>
          </p:nvGrpSpPr>
          <p:grpSpPr>
            <a:xfrm>
              <a:off x="24758795" y="3854260"/>
              <a:ext cx="182021" cy="174896"/>
              <a:chOff x="24758795" y="3854260"/>
              <a:chExt cx="182021" cy="174896"/>
            </a:xfrm>
          </p:grpSpPr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A281FE95-CE9D-4891-BA16-9A11A663CA3D}"/>
                  </a:ext>
                </a:extLst>
              </p:cNvPr>
              <p:cNvSpPr/>
              <p:nvPr/>
            </p:nvSpPr>
            <p:spPr>
              <a:xfrm>
                <a:off x="24761844" y="3910459"/>
                <a:ext cx="81500" cy="118697"/>
              </a:xfrm>
              <a:custGeom>
                <a:avLst/>
                <a:gdLst>
                  <a:gd name="connsiteX0" fmla="*/ 35703 w 81500"/>
                  <a:gd name="connsiteY0" fmla="*/ 116363 h 118697"/>
                  <a:gd name="connsiteX1" fmla="*/ 5951 w 81500"/>
                  <a:gd name="connsiteY1" fmla="*/ 50909 h 118697"/>
                  <a:gd name="connsiteX2" fmla="*/ 0 w 81500"/>
                  <a:gd name="connsiteY2" fmla="*/ 41983 h 118697"/>
                  <a:gd name="connsiteX3" fmla="*/ 0 w 81500"/>
                  <a:gd name="connsiteY3" fmla="*/ 30083 h 118697"/>
                  <a:gd name="connsiteX4" fmla="*/ 35703 w 81500"/>
                  <a:gd name="connsiteY4" fmla="*/ 331 h 118697"/>
                  <a:gd name="connsiteX5" fmla="*/ 62480 w 81500"/>
                  <a:gd name="connsiteY5" fmla="*/ 24132 h 118697"/>
                  <a:gd name="connsiteX6" fmla="*/ 77356 w 81500"/>
                  <a:gd name="connsiteY6" fmla="*/ 68760 h 118697"/>
                  <a:gd name="connsiteX7" fmla="*/ 74380 w 81500"/>
                  <a:gd name="connsiteY7" fmla="*/ 104463 h 118697"/>
                  <a:gd name="connsiteX8" fmla="*/ 35703 w 81500"/>
                  <a:gd name="connsiteY8" fmla="*/ 116363 h 118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500" h="118697">
                    <a:moveTo>
                      <a:pt x="35703" y="116363"/>
                    </a:moveTo>
                    <a:cubicBezTo>
                      <a:pt x="14876" y="104463"/>
                      <a:pt x="11902" y="77686"/>
                      <a:pt x="5951" y="50909"/>
                    </a:cubicBezTo>
                    <a:cubicBezTo>
                      <a:pt x="5951" y="47934"/>
                      <a:pt x="0" y="41983"/>
                      <a:pt x="0" y="41983"/>
                    </a:cubicBezTo>
                    <a:cubicBezTo>
                      <a:pt x="0" y="39008"/>
                      <a:pt x="0" y="33058"/>
                      <a:pt x="0" y="30083"/>
                    </a:cubicBezTo>
                    <a:cubicBezTo>
                      <a:pt x="2976" y="18182"/>
                      <a:pt x="17852" y="3306"/>
                      <a:pt x="35703" y="331"/>
                    </a:cubicBezTo>
                    <a:cubicBezTo>
                      <a:pt x="53555" y="-2645"/>
                      <a:pt x="56530" y="15207"/>
                      <a:pt x="62480" y="24132"/>
                    </a:cubicBezTo>
                    <a:cubicBezTo>
                      <a:pt x="68431" y="39008"/>
                      <a:pt x="74380" y="53884"/>
                      <a:pt x="77356" y="68760"/>
                    </a:cubicBezTo>
                    <a:cubicBezTo>
                      <a:pt x="80331" y="77686"/>
                      <a:pt x="86282" y="92562"/>
                      <a:pt x="74380" y="104463"/>
                    </a:cubicBezTo>
                    <a:cubicBezTo>
                      <a:pt x="62480" y="116363"/>
                      <a:pt x="44628" y="122314"/>
                      <a:pt x="35703" y="116363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74E82977-D742-4E91-851F-ACC4326D1ED8}"/>
                  </a:ext>
                </a:extLst>
              </p:cNvPr>
              <p:cNvSpPr/>
              <p:nvPr/>
            </p:nvSpPr>
            <p:spPr>
              <a:xfrm>
                <a:off x="24800523" y="3877731"/>
                <a:ext cx="81498" cy="117436"/>
              </a:xfrm>
              <a:custGeom>
                <a:avLst/>
                <a:gdLst>
                  <a:gd name="connsiteX0" fmla="*/ 35701 w 81498"/>
                  <a:gd name="connsiteY0" fmla="*/ 116364 h 117436"/>
                  <a:gd name="connsiteX1" fmla="*/ 0 w 81498"/>
                  <a:gd name="connsiteY1" fmla="*/ 47934 h 117436"/>
                  <a:gd name="connsiteX2" fmla="*/ 0 w 81498"/>
                  <a:gd name="connsiteY2" fmla="*/ 41983 h 117436"/>
                  <a:gd name="connsiteX3" fmla="*/ 0 w 81498"/>
                  <a:gd name="connsiteY3" fmla="*/ 30083 h 117436"/>
                  <a:gd name="connsiteX4" fmla="*/ 35701 w 81498"/>
                  <a:gd name="connsiteY4" fmla="*/ 331 h 117436"/>
                  <a:gd name="connsiteX5" fmla="*/ 62479 w 81498"/>
                  <a:gd name="connsiteY5" fmla="*/ 24132 h 117436"/>
                  <a:gd name="connsiteX6" fmla="*/ 77355 w 81498"/>
                  <a:gd name="connsiteY6" fmla="*/ 68760 h 117436"/>
                  <a:gd name="connsiteX7" fmla="*/ 74380 w 81498"/>
                  <a:gd name="connsiteY7" fmla="*/ 104463 h 117436"/>
                  <a:gd name="connsiteX8" fmla="*/ 35701 w 81498"/>
                  <a:gd name="connsiteY8" fmla="*/ 116364 h 117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498" h="117436">
                    <a:moveTo>
                      <a:pt x="35701" y="116364"/>
                    </a:moveTo>
                    <a:cubicBezTo>
                      <a:pt x="5949" y="107438"/>
                      <a:pt x="8925" y="71736"/>
                      <a:pt x="0" y="47934"/>
                    </a:cubicBezTo>
                    <a:cubicBezTo>
                      <a:pt x="0" y="44959"/>
                      <a:pt x="0" y="44959"/>
                      <a:pt x="0" y="41983"/>
                    </a:cubicBezTo>
                    <a:cubicBezTo>
                      <a:pt x="0" y="39008"/>
                      <a:pt x="0" y="33058"/>
                      <a:pt x="0" y="30083"/>
                    </a:cubicBezTo>
                    <a:cubicBezTo>
                      <a:pt x="2974" y="18182"/>
                      <a:pt x="17851" y="3306"/>
                      <a:pt x="35701" y="331"/>
                    </a:cubicBezTo>
                    <a:cubicBezTo>
                      <a:pt x="53553" y="-2645"/>
                      <a:pt x="56528" y="15207"/>
                      <a:pt x="62479" y="24132"/>
                    </a:cubicBezTo>
                    <a:cubicBezTo>
                      <a:pt x="68429" y="39008"/>
                      <a:pt x="74380" y="53884"/>
                      <a:pt x="77355" y="68760"/>
                    </a:cubicBezTo>
                    <a:cubicBezTo>
                      <a:pt x="80329" y="77686"/>
                      <a:pt x="86280" y="92562"/>
                      <a:pt x="74380" y="104463"/>
                    </a:cubicBezTo>
                    <a:cubicBezTo>
                      <a:pt x="62479" y="116364"/>
                      <a:pt x="47603" y="119339"/>
                      <a:pt x="35701" y="116364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26367D22-37F5-42A0-803A-62458E6F24C9}"/>
                  </a:ext>
                </a:extLst>
              </p:cNvPr>
              <p:cNvSpPr/>
              <p:nvPr/>
            </p:nvSpPr>
            <p:spPr>
              <a:xfrm>
                <a:off x="24842174" y="3862799"/>
                <a:ext cx="72574" cy="103196"/>
              </a:xfrm>
              <a:custGeom>
                <a:avLst/>
                <a:gdLst>
                  <a:gd name="connsiteX0" fmla="*/ 35703 w 72574"/>
                  <a:gd name="connsiteY0" fmla="*/ 101544 h 103196"/>
                  <a:gd name="connsiteX1" fmla="*/ 0 w 72574"/>
                  <a:gd name="connsiteY1" fmla="*/ 42040 h 103196"/>
                  <a:gd name="connsiteX2" fmla="*/ 0 w 72574"/>
                  <a:gd name="connsiteY2" fmla="*/ 36090 h 103196"/>
                  <a:gd name="connsiteX3" fmla="*/ 0 w 72574"/>
                  <a:gd name="connsiteY3" fmla="*/ 24189 h 103196"/>
                  <a:gd name="connsiteX4" fmla="*/ 29752 w 72574"/>
                  <a:gd name="connsiteY4" fmla="*/ 387 h 103196"/>
                  <a:gd name="connsiteX5" fmla="*/ 53553 w 72574"/>
                  <a:gd name="connsiteY5" fmla="*/ 21214 h 103196"/>
                  <a:gd name="connsiteX6" fmla="*/ 68429 w 72574"/>
                  <a:gd name="connsiteY6" fmla="*/ 59891 h 103196"/>
                  <a:gd name="connsiteX7" fmla="*/ 65455 w 72574"/>
                  <a:gd name="connsiteY7" fmla="*/ 92619 h 103196"/>
                  <a:gd name="connsiteX8" fmla="*/ 35703 w 72574"/>
                  <a:gd name="connsiteY8" fmla="*/ 101544 h 103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2574" h="103196">
                    <a:moveTo>
                      <a:pt x="35703" y="101544"/>
                    </a:moveTo>
                    <a:cubicBezTo>
                      <a:pt x="8925" y="92619"/>
                      <a:pt x="8925" y="62866"/>
                      <a:pt x="0" y="42040"/>
                    </a:cubicBezTo>
                    <a:cubicBezTo>
                      <a:pt x="0" y="39065"/>
                      <a:pt x="0" y="39065"/>
                      <a:pt x="0" y="36090"/>
                    </a:cubicBezTo>
                    <a:cubicBezTo>
                      <a:pt x="0" y="33114"/>
                      <a:pt x="0" y="30139"/>
                      <a:pt x="0" y="24189"/>
                    </a:cubicBezTo>
                    <a:cubicBezTo>
                      <a:pt x="2976" y="12288"/>
                      <a:pt x="14876" y="387"/>
                      <a:pt x="29752" y="387"/>
                    </a:cubicBezTo>
                    <a:cubicBezTo>
                      <a:pt x="44628" y="-2588"/>
                      <a:pt x="47604" y="12288"/>
                      <a:pt x="53553" y="21214"/>
                    </a:cubicBezTo>
                    <a:cubicBezTo>
                      <a:pt x="59504" y="33114"/>
                      <a:pt x="65455" y="45015"/>
                      <a:pt x="68429" y="59891"/>
                    </a:cubicBezTo>
                    <a:cubicBezTo>
                      <a:pt x="71406" y="68817"/>
                      <a:pt x="77356" y="80718"/>
                      <a:pt x="65455" y="92619"/>
                    </a:cubicBezTo>
                    <a:cubicBezTo>
                      <a:pt x="56530" y="104519"/>
                      <a:pt x="44628" y="104519"/>
                      <a:pt x="35703" y="101544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81BE250F-1165-4AF8-9E47-4E575AAC7EEA}"/>
                  </a:ext>
                </a:extLst>
              </p:cNvPr>
              <p:cNvSpPr/>
              <p:nvPr/>
            </p:nvSpPr>
            <p:spPr>
              <a:xfrm>
                <a:off x="24886803" y="3859741"/>
                <a:ext cx="54014" cy="75965"/>
              </a:xfrm>
              <a:custGeom>
                <a:avLst/>
                <a:gdLst>
                  <a:gd name="connsiteX0" fmla="*/ 26778 w 54014"/>
                  <a:gd name="connsiteY0" fmla="*/ 74850 h 75965"/>
                  <a:gd name="connsiteX1" fmla="*/ 0 w 54014"/>
                  <a:gd name="connsiteY1" fmla="*/ 30222 h 75965"/>
                  <a:gd name="connsiteX2" fmla="*/ 0 w 54014"/>
                  <a:gd name="connsiteY2" fmla="*/ 27247 h 75965"/>
                  <a:gd name="connsiteX3" fmla="*/ 0 w 54014"/>
                  <a:gd name="connsiteY3" fmla="*/ 18321 h 75965"/>
                  <a:gd name="connsiteX4" fmla="*/ 20827 w 54014"/>
                  <a:gd name="connsiteY4" fmla="*/ 470 h 75965"/>
                  <a:gd name="connsiteX5" fmla="*/ 38677 w 54014"/>
                  <a:gd name="connsiteY5" fmla="*/ 15346 h 75965"/>
                  <a:gd name="connsiteX6" fmla="*/ 50579 w 54014"/>
                  <a:gd name="connsiteY6" fmla="*/ 42123 h 75965"/>
                  <a:gd name="connsiteX7" fmla="*/ 50579 w 54014"/>
                  <a:gd name="connsiteY7" fmla="*/ 65924 h 75965"/>
                  <a:gd name="connsiteX8" fmla="*/ 26778 w 54014"/>
                  <a:gd name="connsiteY8" fmla="*/ 74850 h 75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4014" h="75965">
                    <a:moveTo>
                      <a:pt x="26778" y="74850"/>
                    </a:moveTo>
                    <a:cubicBezTo>
                      <a:pt x="5951" y="68899"/>
                      <a:pt x="8925" y="48073"/>
                      <a:pt x="0" y="30222"/>
                    </a:cubicBezTo>
                    <a:cubicBezTo>
                      <a:pt x="0" y="30222"/>
                      <a:pt x="0" y="27247"/>
                      <a:pt x="0" y="27247"/>
                    </a:cubicBezTo>
                    <a:cubicBezTo>
                      <a:pt x="0" y="24271"/>
                      <a:pt x="0" y="21296"/>
                      <a:pt x="0" y="18321"/>
                    </a:cubicBezTo>
                    <a:cubicBezTo>
                      <a:pt x="2976" y="9395"/>
                      <a:pt x="11902" y="470"/>
                      <a:pt x="20827" y="470"/>
                    </a:cubicBezTo>
                    <a:cubicBezTo>
                      <a:pt x="32728" y="-2506"/>
                      <a:pt x="35703" y="9395"/>
                      <a:pt x="38677" y="15346"/>
                    </a:cubicBezTo>
                    <a:cubicBezTo>
                      <a:pt x="41654" y="24271"/>
                      <a:pt x="47604" y="33197"/>
                      <a:pt x="50579" y="42123"/>
                    </a:cubicBezTo>
                    <a:cubicBezTo>
                      <a:pt x="53553" y="48073"/>
                      <a:pt x="56530" y="56999"/>
                      <a:pt x="50579" y="65924"/>
                    </a:cubicBezTo>
                    <a:cubicBezTo>
                      <a:pt x="44628" y="74850"/>
                      <a:pt x="32728" y="77825"/>
                      <a:pt x="26778" y="74850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457D2D4B-9D6F-4BEC-A21C-FEC4EE6CBBC8}"/>
                  </a:ext>
                </a:extLst>
              </p:cNvPr>
              <p:cNvSpPr/>
              <p:nvPr/>
            </p:nvSpPr>
            <p:spPr>
              <a:xfrm>
                <a:off x="24758795" y="3870183"/>
                <a:ext cx="124853" cy="138787"/>
              </a:xfrm>
              <a:custGeom>
                <a:avLst/>
                <a:gdLst>
                  <a:gd name="connsiteX0" fmla="*/ 23875 w 124853"/>
                  <a:gd name="connsiteY0" fmla="*/ 138788 h 138787"/>
                  <a:gd name="connsiteX1" fmla="*/ 17925 w 124853"/>
                  <a:gd name="connsiteY1" fmla="*/ 135812 h 138787"/>
                  <a:gd name="connsiteX2" fmla="*/ 3049 w 124853"/>
                  <a:gd name="connsiteY2" fmla="*/ 55482 h 138787"/>
                  <a:gd name="connsiteX3" fmla="*/ 20901 w 124853"/>
                  <a:gd name="connsiteY3" fmla="*/ 37631 h 138787"/>
                  <a:gd name="connsiteX4" fmla="*/ 35777 w 124853"/>
                  <a:gd name="connsiteY4" fmla="*/ 34655 h 138787"/>
                  <a:gd name="connsiteX5" fmla="*/ 35777 w 124853"/>
                  <a:gd name="connsiteY5" fmla="*/ 34655 h 138787"/>
                  <a:gd name="connsiteX6" fmla="*/ 68503 w 124853"/>
                  <a:gd name="connsiteY6" fmla="*/ 1928 h 138787"/>
                  <a:gd name="connsiteX7" fmla="*/ 113132 w 124853"/>
                  <a:gd name="connsiteY7" fmla="*/ 37631 h 138787"/>
                  <a:gd name="connsiteX8" fmla="*/ 107181 w 124853"/>
                  <a:gd name="connsiteY8" fmla="*/ 126887 h 138787"/>
                  <a:gd name="connsiteX9" fmla="*/ 83380 w 124853"/>
                  <a:gd name="connsiteY9" fmla="*/ 132837 h 138787"/>
                  <a:gd name="connsiteX10" fmla="*/ 77429 w 124853"/>
                  <a:gd name="connsiteY10" fmla="*/ 123912 h 138787"/>
                  <a:gd name="connsiteX11" fmla="*/ 47677 w 124853"/>
                  <a:gd name="connsiteY11" fmla="*/ 49531 h 138787"/>
                  <a:gd name="connsiteX12" fmla="*/ 29826 w 124853"/>
                  <a:gd name="connsiteY12" fmla="*/ 49531 h 138787"/>
                  <a:gd name="connsiteX13" fmla="*/ 20901 w 124853"/>
                  <a:gd name="connsiteY13" fmla="*/ 61432 h 138787"/>
                  <a:gd name="connsiteX14" fmla="*/ 35777 w 124853"/>
                  <a:gd name="connsiteY14" fmla="*/ 129862 h 138787"/>
                  <a:gd name="connsiteX15" fmla="*/ 23875 w 124853"/>
                  <a:gd name="connsiteY15" fmla="*/ 138788 h 138787"/>
                  <a:gd name="connsiteX16" fmla="*/ 23875 w 124853"/>
                  <a:gd name="connsiteY16" fmla="*/ 138788 h 138787"/>
                  <a:gd name="connsiteX17" fmla="*/ 44702 w 124853"/>
                  <a:gd name="connsiteY17" fmla="*/ 37631 h 138787"/>
                  <a:gd name="connsiteX18" fmla="*/ 44702 w 124853"/>
                  <a:gd name="connsiteY18" fmla="*/ 37631 h 138787"/>
                  <a:gd name="connsiteX19" fmla="*/ 83380 w 124853"/>
                  <a:gd name="connsiteY19" fmla="*/ 120936 h 138787"/>
                  <a:gd name="connsiteX20" fmla="*/ 95281 w 124853"/>
                  <a:gd name="connsiteY20" fmla="*/ 114986 h 138787"/>
                  <a:gd name="connsiteX21" fmla="*/ 98256 w 124853"/>
                  <a:gd name="connsiteY21" fmla="*/ 40606 h 138787"/>
                  <a:gd name="connsiteX22" fmla="*/ 68503 w 124853"/>
                  <a:gd name="connsiteY22" fmla="*/ 10854 h 138787"/>
                  <a:gd name="connsiteX23" fmla="*/ 44702 w 124853"/>
                  <a:gd name="connsiteY23" fmla="*/ 37631 h 138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4853" h="138787">
                    <a:moveTo>
                      <a:pt x="23875" y="138788"/>
                    </a:moveTo>
                    <a:cubicBezTo>
                      <a:pt x="20901" y="138788"/>
                      <a:pt x="20901" y="138788"/>
                      <a:pt x="17925" y="135812"/>
                    </a:cubicBezTo>
                    <a:cubicBezTo>
                      <a:pt x="17925" y="132837"/>
                      <a:pt x="-8851" y="85234"/>
                      <a:pt x="3049" y="55482"/>
                    </a:cubicBezTo>
                    <a:cubicBezTo>
                      <a:pt x="6025" y="46556"/>
                      <a:pt x="11976" y="40606"/>
                      <a:pt x="20901" y="37631"/>
                    </a:cubicBezTo>
                    <a:cubicBezTo>
                      <a:pt x="23875" y="37631"/>
                      <a:pt x="29826" y="34655"/>
                      <a:pt x="35777" y="34655"/>
                    </a:cubicBezTo>
                    <a:cubicBezTo>
                      <a:pt x="35777" y="34655"/>
                      <a:pt x="35777" y="34655"/>
                      <a:pt x="35777" y="34655"/>
                    </a:cubicBezTo>
                    <a:cubicBezTo>
                      <a:pt x="35777" y="34655"/>
                      <a:pt x="47677" y="7879"/>
                      <a:pt x="68503" y="1928"/>
                    </a:cubicBezTo>
                    <a:cubicBezTo>
                      <a:pt x="92305" y="-6998"/>
                      <a:pt x="104206" y="16804"/>
                      <a:pt x="113132" y="37631"/>
                    </a:cubicBezTo>
                    <a:cubicBezTo>
                      <a:pt x="130984" y="79284"/>
                      <a:pt x="128008" y="112011"/>
                      <a:pt x="107181" y="126887"/>
                    </a:cubicBezTo>
                    <a:cubicBezTo>
                      <a:pt x="98256" y="132837"/>
                      <a:pt x="89330" y="135812"/>
                      <a:pt x="83380" y="132837"/>
                    </a:cubicBezTo>
                    <a:cubicBezTo>
                      <a:pt x="80405" y="129862"/>
                      <a:pt x="77429" y="126887"/>
                      <a:pt x="77429" y="123912"/>
                    </a:cubicBezTo>
                    <a:cubicBezTo>
                      <a:pt x="68503" y="79284"/>
                      <a:pt x="59578" y="55482"/>
                      <a:pt x="47677" y="49531"/>
                    </a:cubicBezTo>
                    <a:cubicBezTo>
                      <a:pt x="41728" y="46556"/>
                      <a:pt x="35777" y="46556"/>
                      <a:pt x="29826" y="49531"/>
                    </a:cubicBezTo>
                    <a:cubicBezTo>
                      <a:pt x="23875" y="52507"/>
                      <a:pt x="20901" y="55482"/>
                      <a:pt x="20901" y="61432"/>
                    </a:cubicBezTo>
                    <a:cubicBezTo>
                      <a:pt x="14950" y="82259"/>
                      <a:pt x="29826" y="117961"/>
                      <a:pt x="35777" y="129862"/>
                    </a:cubicBezTo>
                    <a:cubicBezTo>
                      <a:pt x="29826" y="132837"/>
                      <a:pt x="29826" y="135812"/>
                      <a:pt x="23875" y="138788"/>
                    </a:cubicBezTo>
                    <a:cubicBezTo>
                      <a:pt x="23875" y="138788"/>
                      <a:pt x="23875" y="138788"/>
                      <a:pt x="23875" y="138788"/>
                    </a:cubicBezTo>
                    <a:close/>
                    <a:moveTo>
                      <a:pt x="44702" y="37631"/>
                    </a:moveTo>
                    <a:cubicBezTo>
                      <a:pt x="44702" y="37631"/>
                      <a:pt x="47677" y="37631"/>
                      <a:pt x="44702" y="37631"/>
                    </a:cubicBezTo>
                    <a:cubicBezTo>
                      <a:pt x="62553" y="46556"/>
                      <a:pt x="74454" y="73333"/>
                      <a:pt x="83380" y="120936"/>
                    </a:cubicBezTo>
                    <a:cubicBezTo>
                      <a:pt x="83380" y="120936"/>
                      <a:pt x="86356" y="120936"/>
                      <a:pt x="95281" y="114986"/>
                    </a:cubicBezTo>
                    <a:cubicBezTo>
                      <a:pt x="116108" y="100110"/>
                      <a:pt x="107181" y="61432"/>
                      <a:pt x="98256" y="40606"/>
                    </a:cubicBezTo>
                    <a:cubicBezTo>
                      <a:pt x="86356" y="10854"/>
                      <a:pt x="80405" y="7879"/>
                      <a:pt x="68503" y="10854"/>
                    </a:cubicBezTo>
                    <a:cubicBezTo>
                      <a:pt x="59578" y="16804"/>
                      <a:pt x="50653" y="31680"/>
                      <a:pt x="44702" y="37631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5B01E5FE-2FA2-4D35-B223-EF4BD143BC21}"/>
                  </a:ext>
                </a:extLst>
              </p:cNvPr>
              <p:cNvSpPr/>
              <p:nvPr/>
            </p:nvSpPr>
            <p:spPr>
              <a:xfrm>
                <a:off x="24836968" y="3854260"/>
                <a:ext cx="82563" cy="119008"/>
              </a:xfrm>
              <a:custGeom>
                <a:avLst/>
                <a:gdLst>
                  <a:gd name="connsiteX0" fmla="*/ 43884 w 82563"/>
                  <a:gd name="connsiteY0" fmla="*/ 119008 h 119008"/>
                  <a:gd name="connsiteX1" fmla="*/ 37935 w 82563"/>
                  <a:gd name="connsiteY1" fmla="*/ 119008 h 119008"/>
                  <a:gd name="connsiteX2" fmla="*/ 34959 w 82563"/>
                  <a:gd name="connsiteY2" fmla="*/ 110083 h 119008"/>
                  <a:gd name="connsiteX3" fmla="*/ 43884 w 82563"/>
                  <a:gd name="connsiteY3" fmla="*/ 107107 h 119008"/>
                  <a:gd name="connsiteX4" fmla="*/ 64711 w 82563"/>
                  <a:gd name="connsiteY4" fmla="*/ 101157 h 119008"/>
                  <a:gd name="connsiteX5" fmla="*/ 70662 w 82563"/>
                  <a:gd name="connsiteY5" fmla="*/ 92231 h 119008"/>
                  <a:gd name="connsiteX6" fmla="*/ 49835 w 82563"/>
                  <a:gd name="connsiteY6" fmla="*/ 20826 h 119008"/>
                  <a:gd name="connsiteX7" fmla="*/ 37935 w 82563"/>
                  <a:gd name="connsiteY7" fmla="*/ 11901 h 119008"/>
                  <a:gd name="connsiteX8" fmla="*/ 11157 w 82563"/>
                  <a:gd name="connsiteY8" fmla="*/ 23802 h 119008"/>
                  <a:gd name="connsiteX9" fmla="*/ 2232 w 82563"/>
                  <a:gd name="connsiteY9" fmla="*/ 23802 h 119008"/>
                  <a:gd name="connsiteX10" fmla="*/ 2232 w 82563"/>
                  <a:gd name="connsiteY10" fmla="*/ 14876 h 119008"/>
                  <a:gd name="connsiteX11" fmla="*/ 34959 w 82563"/>
                  <a:gd name="connsiteY11" fmla="*/ 0 h 119008"/>
                  <a:gd name="connsiteX12" fmla="*/ 37935 w 82563"/>
                  <a:gd name="connsiteY12" fmla="*/ 0 h 119008"/>
                  <a:gd name="connsiteX13" fmla="*/ 58760 w 82563"/>
                  <a:gd name="connsiteY13" fmla="*/ 11901 h 119008"/>
                  <a:gd name="connsiteX14" fmla="*/ 82563 w 82563"/>
                  <a:gd name="connsiteY14" fmla="*/ 89256 h 119008"/>
                  <a:gd name="connsiteX15" fmla="*/ 70662 w 82563"/>
                  <a:gd name="connsiteY15" fmla="*/ 104132 h 119008"/>
                  <a:gd name="connsiteX16" fmla="*/ 43884 w 82563"/>
                  <a:gd name="connsiteY16" fmla="*/ 119008 h 119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2563" h="119008">
                    <a:moveTo>
                      <a:pt x="43884" y="119008"/>
                    </a:moveTo>
                    <a:cubicBezTo>
                      <a:pt x="40910" y="119008"/>
                      <a:pt x="37935" y="119008"/>
                      <a:pt x="37935" y="119008"/>
                    </a:cubicBezTo>
                    <a:cubicBezTo>
                      <a:pt x="34959" y="119008"/>
                      <a:pt x="34959" y="113058"/>
                      <a:pt x="34959" y="110083"/>
                    </a:cubicBezTo>
                    <a:cubicBezTo>
                      <a:pt x="34959" y="107107"/>
                      <a:pt x="40910" y="107107"/>
                      <a:pt x="43884" y="107107"/>
                    </a:cubicBezTo>
                    <a:cubicBezTo>
                      <a:pt x="46860" y="107107"/>
                      <a:pt x="55786" y="107107"/>
                      <a:pt x="64711" y="101157"/>
                    </a:cubicBezTo>
                    <a:cubicBezTo>
                      <a:pt x="67687" y="98182"/>
                      <a:pt x="70662" y="95207"/>
                      <a:pt x="70662" y="92231"/>
                    </a:cubicBezTo>
                    <a:cubicBezTo>
                      <a:pt x="73636" y="80330"/>
                      <a:pt x="67687" y="44628"/>
                      <a:pt x="49835" y="20826"/>
                    </a:cubicBezTo>
                    <a:cubicBezTo>
                      <a:pt x="46860" y="14876"/>
                      <a:pt x="43884" y="14876"/>
                      <a:pt x="37935" y="11901"/>
                    </a:cubicBezTo>
                    <a:cubicBezTo>
                      <a:pt x="29008" y="11901"/>
                      <a:pt x="17108" y="20826"/>
                      <a:pt x="11157" y="23802"/>
                    </a:cubicBezTo>
                    <a:cubicBezTo>
                      <a:pt x="8183" y="26777"/>
                      <a:pt x="5207" y="26777"/>
                      <a:pt x="2232" y="23802"/>
                    </a:cubicBezTo>
                    <a:cubicBezTo>
                      <a:pt x="-744" y="20826"/>
                      <a:pt x="-744" y="17851"/>
                      <a:pt x="2232" y="14876"/>
                    </a:cubicBezTo>
                    <a:cubicBezTo>
                      <a:pt x="2232" y="14876"/>
                      <a:pt x="17108" y="0"/>
                      <a:pt x="34959" y="0"/>
                    </a:cubicBezTo>
                    <a:cubicBezTo>
                      <a:pt x="34959" y="0"/>
                      <a:pt x="34959" y="0"/>
                      <a:pt x="37935" y="0"/>
                    </a:cubicBezTo>
                    <a:cubicBezTo>
                      <a:pt x="46860" y="0"/>
                      <a:pt x="52811" y="5950"/>
                      <a:pt x="58760" y="11901"/>
                    </a:cubicBezTo>
                    <a:cubicBezTo>
                      <a:pt x="76612" y="38678"/>
                      <a:pt x="82563" y="77355"/>
                      <a:pt x="82563" y="89256"/>
                    </a:cubicBezTo>
                    <a:cubicBezTo>
                      <a:pt x="82563" y="95207"/>
                      <a:pt x="76612" y="101157"/>
                      <a:pt x="70662" y="104132"/>
                    </a:cubicBezTo>
                    <a:cubicBezTo>
                      <a:pt x="61736" y="116033"/>
                      <a:pt x="52811" y="119008"/>
                      <a:pt x="43884" y="119008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FFA12164-CE70-4CEC-903A-2A3E1BF88B5C}"/>
                </a:ext>
              </a:extLst>
            </p:cNvPr>
            <p:cNvSpPr/>
            <p:nvPr/>
          </p:nvSpPr>
          <p:spPr>
            <a:xfrm>
              <a:off x="24722723" y="3791007"/>
              <a:ext cx="116766" cy="128517"/>
            </a:xfrm>
            <a:custGeom>
              <a:avLst/>
              <a:gdLst>
                <a:gd name="connsiteX0" fmla="*/ 116477 w 116766"/>
                <a:gd name="connsiteY0" fmla="*/ 110857 h 128517"/>
                <a:gd name="connsiteX1" fmla="*/ 92676 w 116766"/>
                <a:gd name="connsiteY1" fmla="*/ 98956 h 128517"/>
                <a:gd name="connsiteX2" fmla="*/ 56973 w 116766"/>
                <a:gd name="connsiteY2" fmla="*/ 57303 h 128517"/>
                <a:gd name="connsiteX3" fmla="*/ 86725 w 116766"/>
                <a:gd name="connsiteY3" fmla="*/ 774 h 128517"/>
                <a:gd name="connsiteX4" fmla="*/ 443 w 116766"/>
                <a:gd name="connsiteY4" fmla="*/ 42427 h 128517"/>
                <a:gd name="connsiteX5" fmla="*/ 39121 w 116766"/>
                <a:gd name="connsiteY5" fmla="*/ 125733 h 128517"/>
                <a:gd name="connsiteX6" fmla="*/ 116477 w 116766"/>
                <a:gd name="connsiteY6" fmla="*/ 110857 h 128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6766" h="128517">
                  <a:moveTo>
                    <a:pt x="116477" y="110857"/>
                  </a:moveTo>
                  <a:cubicBezTo>
                    <a:pt x="119451" y="101931"/>
                    <a:pt x="98625" y="101931"/>
                    <a:pt x="92676" y="98956"/>
                  </a:cubicBezTo>
                  <a:cubicBezTo>
                    <a:pt x="71849" y="90030"/>
                    <a:pt x="59947" y="78129"/>
                    <a:pt x="56973" y="57303"/>
                  </a:cubicBezTo>
                  <a:cubicBezTo>
                    <a:pt x="53997" y="45402"/>
                    <a:pt x="98625" y="39452"/>
                    <a:pt x="86725" y="774"/>
                  </a:cubicBezTo>
                  <a:cubicBezTo>
                    <a:pt x="86725" y="-5177"/>
                    <a:pt x="443" y="24575"/>
                    <a:pt x="443" y="42427"/>
                  </a:cubicBezTo>
                  <a:cubicBezTo>
                    <a:pt x="-2531" y="66228"/>
                    <a:pt x="9368" y="113832"/>
                    <a:pt x="39121" y="125733"/>
                  </a:cubicBezTo>
                  <a:cubicBezTo>
                    <a:pt x="48048" y="131683"/>
                    <a:pt x="110526" y="128708"/>
                    <a:pt x="116477" y="110857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24BE2BFB-D9CE-4A94-A8C6-134771119CAD}"/>
                </a:ext>
              </a:extLst>
            </p:cNvPr>
            <p:cNvSpPr/>
            <p:nvPr/>
          </p:nvSpPr>
          <p:spPr>
            <a:xfrm>
              <a:off x="24714200" y="3784598"/>
              <a:ext cx="139876" cy="141067"/>
            </a:xfrm>
            <a:custGeom>
              <a:avLst/>
              <a:gdLst>
                <a:gd name="connsiteX0" fmla="*/ 77396 w 139876"/>
                <a:gd name="connsiteY0" fmla="*/ 141067 h 141067"/>
                <a:gd name="connsiteX1" fmla="*/ 41695 w 139876"/>
                <a:gd name="connsiteY1" fmla="*/ 135117 h 141067"/>
                <a:gd name="connsiteX2" fmla="*/ 41 w 139876"/>
                <a:gd name="connsiteY2" fmla="*/ 48836 h 141067"/>
                <a:gd name="connsiteX3" fmla="*/ 5992 w 139876"/>
                <a:gd name="connsiteY3" fmla="*/ 42885 h 141067"/>
                <a:gd name="connsiteX4" fmla="*/ 5992 w 139876"/>
                <a:gd name="connsiteY4" fmla="*/ 42885 h 141067"/>
                <a:gd name="connsiteX5" fmla="*/ 11943 w 139876"/>
                <a:gd name="connsiteY5" fmla="*/ 48836 h 141067"/>
                <a:gd name="connsiteX6" fmla="*/ 47644 w 139876"/>
                <a:gd name="connsiteY6" fmla="*/ 126191 h 141067"/>
                <a:gd name="connsiteX7" fmla="*/ 119049 w 139876"/>
                <a:gd name="connsiteY7" fmla="*/ 120241 h 141067"/>
                <a:gd name="connsiteX8" fmla="*/ 122024 w 139876"/>
                <a:gd name="connsiteY8" fmla="*/ 117265 h 141067"/>
                <a:gd name="connsiteX9" fmla="*/ 107148 w 139876"/>
                <a:gd name="connsiteY9" fmla="*/ 108340 h 141067"/>
                <a:gd name="connsiteX10" fmla="*/ 62520 w 139876"/>
                <a:gd name="connsiteY10" fmla="*/ 63712 h 141067"/>
                <a:gd name="connsiteX11" fmla="*/ 65496 w 139876"/>
                <a:gd name="connsiteY11" fmla="*/ 57761 h 141067"/>
                <a:gd name="connsiteX12" fmla="*/ 92272 w 139876"/>
                <a:gd name="connsiteY12" fmla="*/ 10158 h 141067"/>
                <a:gd name="connsiteX13" fmla="*/ 95248 w 139876"/>
                <a:gd name="connsiteY13" fmla="*/ 1232 h 141067"/>
                <a:gd name="connsiteX14" fmla="*/ 104173 w 139876"/>
                <a:gd name="connsiteY14" fmla="*/ 4208 h 141067"/>
                <a:gd name="connsiteX15" fmla="*/ 77396 w 139876"/>
                <a:gd name="connsiteY15" fmla="*/ 63712 h 141067"/>
                <a:gd name="connsiteX16" fmla="*/ 116075 w 139876"/>
                <a:gd name="connsiteY16" fmla="*/ 96439 h 141067"/>
                <a:gd name="connsiteX17" fmla="*/ 139876 w 139876"/>
                <a:gd name="connsiteY17" fmla="*/ 114290 h 141067"/>
                <a:gd name="connsiteX18" fmla="*/ 133925 w 139876"/>
                <a:gd name="connsiteY18" fmla="*/ 129166 h 141067"/>
                <a:gd name="connsiteX19" fmla="*/ 77396 w 139876"/>
                <a:gd name="connsiteY19" fmla="*/ 141067 h 14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9876" h="141067">
                  <a:moveTo>
                    <a:pt x="77396" y="141067"/>
                  </a:moveTo>
                  <a:cubicBezTo>
                    <a:pt x="65496" y="141067"/>
                    <a:pt x="53595" y="141067"/>
                    <a:pt x="41695" y="135117"/>
                  </a:cubicBezTo>
                  <a:cubicBezTo>
                    <a:pt x="-2933" y="123216"/>
                    <a:pt x="41" y="51811"/>
                    <a:pt x="41" y="48836"/>
                  </a:cubicBezTo>
                  <a:cubicBezTo>
                    <a:pt x="41" y="45860"/>
                    <a:pt x="3016" y="42885"/>
                    <a:pt x="5992" y="42885"/>
                  </a:cubicBezTo>
                  <a:cubicBezTo>
                    <a:pt x="5992" y="42885"/>
                    <a:pt x="5992" y="42885"/>
                    <a:pt x="5992" y="42885"/>
                  </a:cubicBezTo>
                  <a:cubicBezTo>
                    <a:pt x="8966" y="42885"/>
                    <a:pt x="11943" y="45860"/>
                    <a:pt x="11943" y="48836"/>
                  </a:cubicBezTo>
                  <a:cubicBezTo>
                    <a:pt x="11943" y="48836"/>
                    <a:pt x="11943" y="114290"/>
                    <a:pt x="47644" y="126191"/>
                  </a:cubicBezTo>
                  <a:cubicBezTo>
                    <a:pt x="80372" y="135117"/>
                    <a:pt x="110124" y="129166"/>
                    <a:pt x="119049" y="120241"/>
                  </a:cubicBezTo>
                  <a:cubicBezTo>
                    <a:pt x="119049" y="120241"/>
                    <a:pt x="122024" y="117265"/>
                    <a:pt x="122024" y="117265"/>
                  </a:cubicBezTo>
                  <a:cubicBezTo>
                    <a:pt x="122024" y="114290"/>
                    <a:pt x="113099" y="111315"/>
                    <a:pt x="107148" y="108340"/>
                  </a:cubicBezTo>
                  <a:cubicBezTo>
                    <a:pt x="89297" y="102389"/>
                    <a:pt x="65496" y="90489"/>
                    <a:pt x="62520" y="63712"/>
                  </a:cubicBezTo>
                  <a:cubicBezTo>
                    <a:pt x="62520" y="60736"/>
                    <a:pt x="62520" y="60736"/>
                    <a:pt x="65496" y="57761"/>
                  </a:cubicBezTo>
                  <a:cubicBezTo>
                    <a:pt x="65496" y="57761"/>
                    <a:pt x="104173" y="30984"/>
                    <a:pt x="92272" y="10158"/>
                  </a:cubicBezTo>
                  <a:cubicBezTo>
                    <a:pt x="89297" y="7183"/>
                    <a:pt x="92272" y="4208"/>
                    <a:pt x="95248" y="1232"/>
                  </a:cubicBezTo>
                  <a:cubicBezTo>
                    <a:pt x="98223" y="-1743"/>
                    <a:pt x="101199" y="1232"/>
                    <a:pt x="104173" y="4208"/>
                  </a:cubicBezTo>
                  <a:cubicBezTo>
                    <a:pt x="119049" y="30984"/>
                    <a:pt x="86323" y="57761"/>
                    <a:pt x="77396" y="63712"/>
                  </a:cubicBezTo>
                  <a:cubicBezTo>
                    <a:pt x="80372" y="81563"/>
                    <a:pt x="101199" y="90489"/>
                    <a:pt x="116075" y="96439"/>
                  </a:cubicBezTo>
                  <a:cubicBezTo>
                    <a:pt x="127975" y="102389"/>
                    <a:pt x="136900" y="105365"/>
                    <a:pt x="139876" y="114290"/>
                  </a:cubicBezTo>
                  <a:cubicBezTo>
                    <a:pt x="139876" y="120241"/>
                    <a:pt x="139876" y="123216"/>
                    <a:pt x="133925" y="129166"/>
                  </a:cubicBezTo>
                  <a:cubicBezTo>
                    <a:pt x="116075" y="135117"/>
                    <a:pt x="98223" y="141067"/>
                    <a:pt x="77396" y="141067"/>
                  </a:cubicBezTo>
                  <a:close/>
                </a:path>
              </a:pathLst>
            </a:custGeom>
            <a:solidFill>
              <a:srgbClr val="E58777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8014AAC4-8D39-4D6F-99A0-DC4139ED9BCE}"/>
                </a:ext>
              </a:extLst>
            </p:cNvPr>
            <p:cNvSpPr/>
            <p:nvPr/>
          </p:nvSpPr>
          <p:spPr>
            <a:xfrm>
              <a:off x="23625193" y="3044174"/>
              <a:ext cx="1220401" cy="775030"/>
            </a:xfrm>
            <a:custGeom>
              <a:avLst/>
              <a:gdLst>
                <a:gd name="connsiteX0" fmla="*/ 374998 w 1220401"/>
                <a:gd name="connsiteY0" fmla="*/ 331078 h 775030"/>
                <a:gd name="connsiteX1" fmla="*/ 752850 w 1220401"/>
                <a:gd name="connsiteY1" fmla="*/ 387607 h 775030"/>
                <a:gd name="connsiteX2" fmla="*/ 1068221 w 1220401"/>
                <a:gd name="connsiteY2" fmla="*/ 774384 h 775030"/>
                <a:gd name="connsiteX3" fmla="*/ 1205082 w 1220401"/>
                <a:gd name="connsiteY3" fmla="*/ 682152 h 775030"/>
                <a:gd name="connsiteX4" fmla="*/ 889709 w 1220401"/>
                <a:gd name="connsiteY4" fmla="*/ 149590 h 775030"/>
                <a:gd name="connsiteX5" fmla="*/ 232189 w 1220401"/>
                <a:gd name="connsiteY5" fmla="*/ 830 h 775030"/>
                <a:gd name="connsiteX6" fmla="*/ 123 w 1220401"/>
                <a:gd name="connsiteY6" fmla="*/ 170417 h 775030"/>
                <a:gd name="connsiteX7" fmla="*/ 374998 w 1220401"/>
                <a:gd name="connsiteY7" fmla="*/ 331078 h 775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0401" h="775030">
                  <a:moveTo>
                    <a:pt x="374998" y="331078"/>
                  </a:moveTo>
                  <a:cubicBezTo>
                    <a:pt x="461280" y="340003"/>
                    <a:pt x="669544" y="354879"/>
                    <a:pt x="752850" y="387607"/>
                  </a:cubicBezTo>
                  <a:cubicBezTo>
                    <a:pt x="871858" y="435210"/>
                    <a:pt x="970040" y="792235"/>
                    <a:pt x="1068221" y="774384"/>
                  </a:cubicBezTo>
                  <a:cubicBezTo>
                    <a:pt x="1136651" y="741656"/>
                    <a:pt x="1163428" y="723805"/>
                    <a:pt x="1205082" y="682152"/>
                  </a:cubicBezTo>
                  <a:cubicBezTo>
                    <a:pt x="1279462" y="622648"/>
                    <a:pt x="1068221" y="271574"/>
                    <a:pt x="889709" y="149590"/>
                  </a:cubicBezTo>
                  <a:cubicBezTo>
                    <a:pt x="836155" y="110913"/>
                    <a:pt x="374998" y="21656"/>
                    <a:pt x="232189" y="830"/>
                  </a:cubicBezTo>
                  <a:cubicBezTo>
                    <a:pt x="148883" y="-11071"/>
                    <a:pt x="3097" y="107937"/>
                    <a:pt x="123" y="170417"/>
                  </a:cubicBezTo>
                  <a:cubicBezTo>
                    <a:pt x="-5828" y="274549"/>
                    <a:pt x="205411" y="313227"/>
                    <a:pt x="374998" y="331078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E644E323-57DA-41F7-9E6C-042F41BB6234}"/>
                </a:ext>
              </a:extLst>
            </p:cNvPr>
            <p:cNvSpPr/>
            <p:nvPr/>
          </p:nvSpPr>
          <p:spPr>
            <a:xfrm>
              <a:off x="19147630" y="6160045"/>
              <a:ext cx="1862478" cy="481653"/>
            </a:xfrm>
            <a:custGeom>
              <a:avLst/>
              <a:gdLst>
                <a:gd name="connsiteX0" fmla="*/ 1862479 w 1862478"/>
                <a:gd name="connsiteY0" fmla="*/ 467108 h 481653"/>
                <a:gd name="connsiteX1" fmla="*/ 955041 w 1862478"/>
                <a:gd name="connsiteY1" fmla="*/ 0 h 481653"/>
                <a:gd name="connsiteX2" fmla="*/ 0 w 1862478"/>
                <a:gd name="connsiteY2" fmla="*/ 467108 h 481653"/>
                <a:gd name="connsiteX3" fmla="*/ 1862479 w 1862478"/>
                <a:gd name="connsiteY3" fmla="*/ 467108 h 481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2478" h="481653">
                  <a:moveTo>
                    <a:pt x="1862479" y="467108"/>
                  </a:moveTo>
                  <a:cubicBezTo>
                    <a:pt x="1862479" y="467108"/>
                    <a:pt x="1350743" y="0"/>
                    <a:pt x="955041" y="0"/>
                  </a:cubicBezTo>
                  <a:cubicBezTo>
                    <a:pt x="559339" y="2975"/>
                    <a:pt x="0" y="467108"/>
                    <a:pt x="0" y="467108"/>
                  </a:cubicBezTo>
                  <a:cubicBezTo>
                    <a:pt x="0" y="467108"/>
                    <a:pt x="1499503" y="499835"/>
                    <a:pt x="1862479" y="467108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95DBB2AF-2122-478C-8902-EBD6FA7EDBED}"/>
                </a:ext>
              </a:extLst>
            </p:cNvPr>
            <p:cNvSpPr/>
            <p:nvPr/>
          </p:nvSpPr>
          <p:spPr>
            <a:xfrm>
              <a:off x="20876224" y="6299860"/>
              <a:ext cx="1323966" cy="340846"/>
            </a:xfrm>
            <a:custGeom>
              <a:avLst/>
              <a:gdLst>
                <a:gd name="connsiteX0" fmla="*/ 1323967 w 1323966"/>
                <a:gd name="connsiteY0" fmla="*/ 330267 h 340846"/>
                <a:gd name="connsiteX1" fmla="*/ 678347 w 1323966"/>
                <a:gd name="connsiteY1" fmla="*/ 20 h 340846"/>
                <a:gd name="connsiteX2" fmla="*/ 0 w 1323966"/>
                <a:gd name="connsiteY2" fmla="*/ 330267 h 340846"/>
                <a:gd name="connsiteX3" fmla="*/ 1323967 w 1323966"/>
                <a:gd name="connsiteY3" fmla="*/ 330267 h 340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3966" h="340846">
                  <a:moveTo>
                    <a:pt x="1323967" y="330267"/>
                  </a:moveTo>
                  <a:cubicBezTo>
                    <a:pt x="1323967" y="330267"/>
                    <a:pt x="960991" y="-2956"/>
                    <a:pt x="678347" y="20"/>
                  </a:cubicBezTo>
                  <a:cubicBezTo>
                    <a:pt x="395702" y="20"/>
                    <a:pt x="0" y="330267"/>
                    <a:pt x="0" y="330267"/>
                  </a:cubicBezTo>
                  <a:cubicBezTo>
                    <a:pt x="0" y="330267"/>
                    <a:pt x="1068100" y="354069"/>
                    <a:pt x="1323967" y="330267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55044511-7B0F-4046-8AF8-B255D0DB0BF4}"/>
                </a:ext>
              </a:extLst>
            </p:cNvPr>
            <p:cNvSpPr/>
            <p:nvPr/>
          </p:nvSpPr>
          <p:spPr>
            <a:xfrm>
              <a:off x="18744205" y="2765350"/>
              <a:ext cx="1004415" cy="1067252"/>
            </a:xfrm>
            <a:custGeom>
              <a:avLst/>
              <a:gdLst>
                <a:gd name="connsiteX0" fmla="*/ 117804 w 1004415"/>
                <a:gd name="connsiteY0" fmla="*/ 2960 h 1067252"/>
                <a:gd name="connsiteX1" fmla="*/ 370697 w 1004415"/>
                <a:gd name="connsiteY1" fmla="*/ 336183 h 1067252"/>
                <a:gd name="connsiteX2" fmla="*/ 495656 w 1004415"/>
                <a:gd name="connsiteY2" fmla="*/ 770563 h 1067252"/>
                <a:gd name="connsiteX3" fmla="*/ 1004415 w 1004415"/>
                <a:gd name="connsiteY3" fmla="*/ 705108 h 1067252"/>
                <a:gd name="connsiteX4" fmla="*/ 980614 w 1004415"/>
                <a:gd name="connsiteY4" fmla="*/ 868745 h 1067252"/>
                <a:gd name="connsiteX5" fmla="*/ 260614 w 1004415"/>
                <a:gd name="connsiteY5" fmla="*/ 1047257 h 1067252"/>
                <a:gd name="connsiteX6" fmla="*/ 117804 w 1004415"/>
                <a:gd name="connsiteY6" fmla="*/ 2960 h 1067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4415" h="1067252">
                  <a:moveTo>
                    <a:pt x="117804" y="2960"/>
                  </a:moveTo>
                  <a:cubicBezTo>
                    <a:pt x="245738" y="-29768"/>
                    <a:pt x="326069" y="217175"/>
                    <a:pt x="370697" y="336183"/>
                  </a:cubicBezTo>
                  <a:cubicBezTo>
                    <a:pt x="409374" y="443290"/>
                    <a:pt x="495656" y="770563"/>
                    <a:pt x="495656" y="770563"/>
                  </a:cubicBezTo>
                  <a:cubicBezTo>
                    <a:pt x="495656" y="770563"/>
                    <a:pt x="989539" y="592051"/>
                    <a:pt x="1004415" y="705108"/>
                  </a:cubicBezTo>
                  <a:cubicBezTo>
                    <a:pt x="1004415" y="764613"/>
                    <a:pt x="992516" y="830067"/>
                    <a:pt x="980614" y="868745"/>
                  </a:cubicBezTo>
                  <a:cubicBezTo>
                    <a:pt x="852681" y="996679"/>
                    <a:pt x="364746" y="1115687"/>
                    <a:pt x="260614" y="1047257"/>
                  </a:cubicBezTo>
                  <a:cubicBezTo>
                    <a:pt x="147556" y="969902"/>
                    <a:pt x="-170791" y="80315"/>
                    <a:pt x="117804" y="2960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15CAF571-7BD1-4A22-B888-C08981D4443B}"/>
                </a:ext>
              </a:extLst>
            </p:cNvPr>
            <p:cNvSpPr/>
            <p:nvPr/>
          </p:nvSpPr>
          <p:spPr>
            <a:xfrm>
              <a:off x="17999199" y="4136905"/>
              <a:ext cx="1139496" cy="2261156"/>
            </a:xfrm>
            <a:custGeom>
              <a:avLst/>
              <a:gdLst>
                <a:gd name="connsiteX0" fmla="*/ 1032397 w 1139496"/>
                <a:gd name="connsiteY0" fmla="*/ 23802 h 2261156"/>
                <a:gd name="connsiteX1" fmla="*/ 1133555 w 1139496"/>
                <a:gd name="connsiteY1" fmla="*/ 1386446 h 2261156"/>
                <a:gd name="connsiteX2" fmla="*/ 984795 w 1139496"/>
                <a:gd name="connsiteY2" fmla="*/ 2243306 h 2261156"/>
                <a:gd name="connsiteX3" fmla="*/ 696199 w 1139496"/>
                <a:gd name="connsiteY3" fmla="*/ 2243306 h 2261156"/>
                <a:gd name="connsiteX4" fmla="*/ 740827 w 1139496"/>
                <a:gd name="connsiteY4" fmla="*/ 1410248 h 2261156"/>
                <a:gd name="connsiteX5" fmla="*/ 550413 w 1139496"/>
                <a:gd name="connsiteY5" fmla="*/ 493884 h 2261156"/>
                <a:gd name="connsiteX6" fmla="*/ 535537 w 1139496"/>
                <a:gd name="connsiteY6" fmla="*/ 1407273 h 2261156"/>
                <a:gd name="connsiteX7" fmla="*/ 526612 w 1139496"/>
                <a:gd name="connsiteY7" fmla="*/ 1457851 h 2261156"/>
                <a:gd name="connsiteX8" fmla="*/ 285621 w 1139496"/>
                <a:gd name="connsiteY8" fmla="*/ 2237356 h 2261156"/>
                <a:gd name="connsiteX9" fmla="*/ 0 w 1139496"/>
                <a:gd name="connsiteY9" fmla="*/ 2261157 h 2261156"/>
                <a:gd name="connsiteX10" fmla="*/ 142810 w 1139496"/>
                <a:gd name="connsiteY10" fmla="*/ 1413223 h 2261156"/>
                <a:gd name="connsiteX11" fmla="*/ 38677 w 1139496"/>
                <a:gd name="connsiteY11" fmla="*/ 0 h 2261156"/>
                <a:gd name="connsiteX12" fmla="*/ 1032397 w 1139496"/>
                <a:gd name="connsiteY12" fmla="*/ 23802 h 2261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9496" h="2261156">
                  <a:moveTo>
                    <a:pt x="1032397" y="23802"/>
                  </a:moveTo>
                  <a:cubicBezTo>
                    <a:pt x="1032397" y="23802"/>
                    <a:pt x="1169256" y="1082975"/>
                    <a:pt x="1133555" y="1386446"/>
                  </a:cubicBezTo>
                  <a:cubicBezTo>
                    <a:pt x="1103803" y="1651240"/>
                    <a:pt x="984795" y="2243306"/>
                    <a:pt x="984795" y="2243306"/>
                  </a:cubicBezTo>
                  <a:lnTo>
                    <a:pt x="696199" y="2243306"/>
                  </a:lnTo>
                  <a:cubicBezTo>
                    <a:pt x="696199" y="2243306"/>
                    <a:pt x="746778" y="1505455"/>
                    <a:pt x="740827" y="1410248"/>
                  </a:cubicBezTo>
                  <a:cubicBezTo>
                    <a:pt x="734876" y="1273388"/>
                    <a:pt x="562315" y="523636"/>
                    <a:pt x="550413" y="493884"/>
                  </a:cubicBezTo>
                  <a:cubicBezTo>
                    <a:pt x="538514" y="467107"/>
                    <a:pt x="535537" y="1255537"/>
                    <a:pt x="535537" y="1407273"/>
                  </a:cubicBezTo>
                  <a:cubicBezTo>
                    <a:pt x="535537" y="1425124"/>
                    <a:pt x="532563" y="1440000"/>
                    <a:pt x="526612" y="1457851"/>
                  </a:cubicBezTo>
                  <a:lnTo>
                    <a:pt x="285621" y="2237356"/>
                  </a:lnTo>
                  <a:lnTo>
                    <a:pt x="0" y="2261157"/>
                  </a:lnTo>
                  <a:cubicBezTo>
                    <a:pt x="0" y="2261157"/>
                    <a:pt x="145786" y="1508430"/>
                    <a:pt x="142810" y="1413223"/>
                  </a:cubicBezTo>
                  <a:cubicBezTo>
                    <a:pt x="133884" y="1264463"/>
                    <a:pt x="-5951" y="95207"/>
                    <a:pt x="38677" y="0"/>
                  </a:cubicBezTo>
                  <a:cubicBezTo>
                    <a:pt x="714050" y="35702"/>
                    <a:pt x="1032397" y="23802"/>
                    <a:pt x="1032397" y="23802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91897DCD-659C-4DE1-AABF-DE0F9D956C88}"/>
                </a:ext>
              </a:extLst>
            </p:cNvPr>
            <p:cNvSpPr/>
            <p:nvPr/>
          </p:nvSpPr>
          <p:spPr>
            <a:xfrm>
              <a:off x="18540687" y="4282690"/>
              <a:ext cx="68429" cy="357024"/>
            </a:xfrm>
            <a:custGeom>
              <a:avLst/>
              <a:gdLst>
                <a:gd name="connsiteX0" fmla="*/ 5951 w 68429"/>
                <a:gd name="connsiteY0" fmla="*/ 357025 h 357024"/>
                <a:gd name="connsiteX1" fmla="*/ 5951 w 68429"/>
                <a:gd name="connsiteY1" fmla="*/ 357025 h 357024"/>
                <a:gd name="connsiteX2" fmla="*/ 0 w 68429"/>
                <a:gd name="connsiteY2" fmla="*/ 348099 h 357024"/>
                <a:gd name="connsiteX3" fmla="*/ 56530 w 68429"/>
                <a:gd name="connsiteY3" fmla="*/ 5950 h 357024"/>
                <a:gd name="connsiteX4" fmla="*/ 62479 w 68429"/>
                <a:gd name="connsiteY4" fmla="*/ 0 h 357024"/>
                <a:gd name="connsiteX5" fmla="*/ 68429 w 68429"/>
                <a:gd name="connsiteY5" fmla="*/ 5950 h 357024"/>
                <a:gd name="connsiteX6" fmla="*/ 11902 w 68429"/>
                <a:gd name="connsiteY6" fmla="*/ 351074 h 357024"/>
                <a:gd name="connsiteX7" fmla="*/ 5951 w 68429"/>
                <a:gd name="connsiteY7" fmla="*/ 357025 h 35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429" h="357024">
                  <a:moveTo>
                    <a:pt x="5951" y="357025"/>
                  </a:moveTo>
                  <a:cubicBezTo>
                    <a:pt x="2974" y="357025"/>
                    <a:pt x="2974" y="357025"/>
                    <a:pt x="5951" y="357025"/>
                  </a:cubicBezTo>
                  <a:cubicBezTo>
                    <a:pt x="0" y="354049"/>
                    <a:pt x="0" y="351074"/>
                    <a:pt x="0" y="348099"/>
                  </a:cubicBezTo>
                  <a:cubicBezTo>
                    <a:pt x="47603" y="238017"/>
                    <a:pt x="56530" y="8925"/>
                    <a:pt x="56530" y="5950"/>
                  </a:cubicBezTo>
                  <a:cubicBezTo>
                    <a:pt x="56530" y="2975"/>
                    <a:pt x="59504" y="0"/>
                    <a:pt x="62479" y="0"/>
                  </a:cubicBezTo>
                  <a:cubicBezTo>
                    <a:pt x="65455" y="0"/>
                    <a:pt x="68429" y="2975"/>
                    <a:pt x="68429" y="5950"/>
                  </a:cubicBezTo>
                  <a:cubicBezTo>
                    <a:pt x="68429" y="14876"/>
                    <a:pt x="59504" y="238017"/>
                    <a:pt x="11902" y="351074"/>
                  </a:cubicBezTo>
                  <a:cubicBezTo>
                    <a:pt x="8925" y="354049"/>
                    <a:pt x="5951" y="357025"/>
                    <a:pt x="5951" y="357025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26CACCFA-BC9D-4BCA-AB40-4E8BD71033B6}"/>
                </a:ext>
              </a:extLst>
            </p:cNvPr>
            <p:cNvSpPr/>
            <p:nvPr/>
          </p:nvSpPr>
          <p:spPr>
            <a:xfrm>
              <a:off x="18566232" y="4214260"/>
              <a:ext cx="152967" cy="348099"/>
            </a:xfrm>
            <a:custGeom>
              <a:avLst/>
              <a:gdLst>
                <a:gd name="connsiteX0" fmla="*/ 7182 w 152967"/>
                <a:gd name="connsiteY0" fmla="*/ 348099 h 348099"/>
                <a:gd name="connsiteX1" fmla="*/ 1233 w 152967"/>
                <a:gd name="connsiteY1" fmla="*/ 345124 h 348099"/>
                <a:gd name="connsiteX2" fmla="*/ 4207 w 152967"/>
                <a:gd name="connsiteY2" fmla="*/ 336198 h 348099"/>
                <a:gd name="connsiteX3" fmla="*/ 108340 w 152967"/>
                <a:gd name="connsiteY3" fmla="*/ 261818 h 348099"/>
                <a:gd name="connsiteX4" fmla="*/ 141066 w 152967"/>
                <a:gd name="connsiteY4" fmla="*/ 5950 h 348099"/>
                <a:gd name="connsiteX5" fmla="*/ 147017 w 152967"/>
                <a:gd name="connsiteY5" fmla="*/ 0 h 348099"/>
                <a:gd name="connsiteX6" fmla="*/ 152968 w 152967"/>
                <a:gd name="connsiteY6" fmla="*/ 5950 h 348099"/>
                <a:gd name="connsiteX7" fmla="*/ 120241 w 152967"/>
                <a:gd name="connsiteY7" fmla="*/ 267769 h 348099"/>
                <a:gd name="connsiteX8" fmla="*/ 13133 w 152967"/>
                <a:gd name="connsiteY8" fmla="*/ 345124 h 348099"/>
                <a:gd name="connsiteX9" fmla="*/ 7182 w 152967"/>
                <a:gd name="connsiteY9" fmla="*/ 348099 h 34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967" h="348099">
                  <a:moveTo>
                    <a:pt x="7182" y="348099"/>
                  </a:moveTo>
                  <a:cubicBezTo>
                    <a:pt x="4207" y="348099"/>
                    <a:pt x="4207" y="348099"/>
                    <a:pt x="1233" y="345124"/>
                  </a:cubicBezTo>
                  <a:cubicBezTo>
                    <a:pt x="-1743" y="342149"/>
                    <a:pt x="1233" y="339174"/>
                    <a:pt x="4207" y="336198"/>
                  </a:cubicBezTo>
                  <a:cubicBezTo>
                    <a:pt x="42885" y="312397"/>
                    <a:pt x="99414" y="270744"/>
                    <a:pt x="108340" y="261818"/>
                  </a:cubicBezTo>
                  <a:cubicBezTo>
                    <a:pt x="117265" y="249917"/>
                    <a:pt x="132141" y="98182"/>
                    <a:pt x="141066" y="5950"/>
                  </a:cubicBezTo>
                  <a:cubicBezTo>
                    <a:pt x="141066" y="2975"/>
                    <a:pt x="144042" y="0"/>
                    <a:pt x="147017" y="0"/>
                  </a:cubicBezTo>
                  <a:cubicBezTo>
                    <a:pt x="149993" y="0"/>
                    <a:pt x="152968" y="2975"/>
                    <a:pt x="152968" y="5950"/>
                  </a:cubicBezTo>
                  <a:cubicBezTo>
                    <a:pt x="149993" y="47603"/>
                    <a:pt x="129166" y="252893"/>
                    <a:pt x="120241" y="267769"/>
                  </a:cubicBezTo>
                  <a:cubicBezTo>
                    <a:pt x="108340" y="282645"/>
                    <a:pt x="22058" y="339174"/>
                    <a:pt x="13133" y="345124"/>
                  </a:cubicBezTo>
                  <a:cubicBezTo>
                    <a:pt x="10158" y="348099"/>
                    <a:pt x="10158" y="348099"/>
                    <a:pt x="7182" y="348099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5" name="图形 1">
              <a:extLst>
                <a:ext uri="{FF2B5EF4-FFF2-40B4-BE49-F238E27FC236}">
                  <a16:creationId xmlns:a16="http://schemas.microsoft.com/office/drawing/2014/main" id="{DB03DBC1-CEFF-401B-B6FD-C6133437F5C7}"/>
                </a:ext>
              </a:extLst>
            </p:cNvPr>
            <p:cNvGrpSpPr/>
            <p:nvPr/>
          </p:nvGrpSpPr>
          <p:grpSpPr>
            <a:xfrm>
              <a:off x="17971842" y="6329632"/>
              <a:ext cx="512316" cy="321322"/>
              <a:chOff x="17971842" y="6329632"/>
              <a:chExt cx="512316" cy="321322"/>
            </a:xfrm>
          </p:grpSpPr>
          <p:grpSp>
            <p:nvGrpSpPr>
              <p:cNvPr id="146" name="图形 1">
                <a:extLst>
                  <a:ext uri="{FF2B5EF4-FFF2-40B4-BE49-F238E27FC236}">
                    <a16:creationId xmlns:a16="http://schemas.microsoft.com/office/drawing/2014/main" id="{338E0F9B-F1FA-4154-8883-04D9BB0746E3}"/>
                  </a:ext>
                </a:extLst>
              </p:cNvPr>
              <p:cNvGrpSpPr/>
              <p:nvPr/>
            </p:nvGrpSpPr>
            <p:grpSpPr>
              <a:xfrm>
                <a:off x="18000191" y="6451615"/>
                <a:ext cx="483967" cy="199338"/>
                <a:chOff x="18000191" y="6451615"/>
                <a:chExt cx="483967" cy="199338"/>
              </a:xfrm>
            </p:grpSpPr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E5496240-0B94-4CC5-95A3-B01D109E4213}"/>
                    </a:ext>
                  </a:extLst>
                </p:cNvPr>
                <p:cNvSpPr/>
                <p:nvPr/>
              </p:nvSpPr>
              <p:spPr>
                <a:xfrm>
                  <a:off x="18000191" y="6451615"/>
                  <a:ext cx="483966" cy="157686"/>
                </a:xfrm>
                <a:custGeom>
                  <a:avLst/>
                  <a:gdLst>
                    <a:gd name="connsiteX0" fmla="*/ 7934 w 483966"/>
                    <a:gd name="connsiteY0" fmla="*/ 44628 h 157686"/>
                    <a:gd name="connsiteX1" fmla="*/ 189422 w 483966"/>
                    <a:gd name="connsiteY1" fmla="*/ 0 h 157686"/>
                    <a:gd name="connsiteX2" fmla="*/ 320330 w 483966"/>
                    <a:gd name="connsiteY2" fmla="*/ 53554 h 157686"/>
                    <a:gd name="connsiteX3" fmla="*/ 483967 w 483966"/>
                    <a:gd name="connsiteY3" fmla="*/ 157686 h 157686"/>
                    <a:gd name="connsiteX4" fmla="*/ 7934 w 483966"/>
                    <a:gd name="connsiteY4" fmla="*/ 157686 h 157686"/>
                    <a:gd name="connsiteX5" fmla="*/ 7934 w 483966"/>
                    <a:gd name="connsiteY5" fmla="*/ 44628 h 157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3966" h="157686">
                      <a:moveTo>
                        <a:pt x="7934" y="44628"/>
                      </a:moveTo>
                      <a:cubicBezTo>
                        <a:pt x="7934" y="44628"/>
                        <a:pt x="129918" y="62480"/>
                        <a:pt x="189422" y="0"/>
                      </a:cubicBezTo>
                      <a:cubicBezTo>
                        <a:pt x="189422" y="0"/>
                        <a:pt x="272728" y="35702"/>
                        <a:pt x="320330" y="53554"/>
                      </a:cubicBezTo>
                      <a:cubicBezTo>
                        <a:pt x="361984" y="68430"/>
                        <a:pt x="472067" y="86281"/>
                        <a:pt x="483967" y="157686"/>
                      </a:cubicBezTo>
                      <a:lnTo>
                        <a:pt x="7934" y="157686"/>
                      </a:lnTo>
                      <a:cubicBezTo>
                        <a:pt x="7934" y="154711"/>
                        <a:pt x="-9917" y="95207"/>
                        <a:pt x="7934" y="4462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9" name="任意多边形: 形状 148">
                  <a:extLst>
                    <a:ext uri="{FF2B5EF4-FFF2-40B4-BE49-F238E27FC236}">
                      <a16:creationId xmlns:a16="http://schemas.microsoft.com/office/drawing/2014/main" id="{16BDA441-0C52-4385-829D-F7E6FBC7CDC8}"/>
                    </a:ext>
                  </a:extLst>
                </p:cNvPr>
                <p:cNvSpPr/>
                <p:nvPr/>
              </p:nvSpPr>
              <p:spPr>
                <a:xfrm>
                  <a:off x="18008125" y="6606326"/>
                  <a:ext cx="476033" cy="44628"/>
                </a:xfrm>
                <a:custGeom>
                  <a:avLst/>
                  <a:gdLst>
                    <a:gd name="connsiteX0" fmla="*/ -1 w 476033"/>
                    <a:gd name="connsiteY0" fmla="*/ 0 h 44628"/>
                    <a:gd name="connsiteX1" fmla="*/ 476032 w 476033"/>
                    <a:gd name="connsiteY1" fmla="*/ 0 h 44628"/>
                    <a:gd name="connsiteX2" fmla="*/ 476032 w 476033"/>
                    <a:gd name="connsiteY2" fmla="*/ 44628 h 44628"/>
                    <a:gd name="connsiteX3" fmla="*/ -1 w 476033"/>
                    <a:gd name="connsiteY3" fmla="*/ 44628 h 4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033" h="44628">
                      <a:moveTo>
                        <a:pt x="-1" y="0"/>
                      </a:moveTo>
                      <a:lnTo>
                        <a:pt x="476032" y="0"/>
                      </a:lnTo>
                      <a:lnTo>
                        <a:pt x="476032" y="44628"/>
                      </a:lnTo>
                      <a:lnTo>
                        <a:pt x="-1" y="44628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C759D80E-D412-407A-8A6A-B1422878FF41}"/>
                  </a:ext>
                </a:extLst>
              </p:cNvPr>
              <p:cNvSpPr/>
              <p:nvPr/>
            </p:nvSpPr>
            <p:spPr>
              <a:xfrm>
                <a:off x="17971842" y="6329632"/>
                <a:ext cx="330829" cy="276693"/>
              </a:xfrm>
              <a:custGeom>
                <a:avLst/>
                <a:gdLst>
                  <a:gd name="connsiteX0" fmla="*/ 36283 w 330829"/>
                  <a:gd name="connsiteY0" fmla="*/ 276694 h 276693"/>
                  <a:gd name="connsiteX1" fmla="*/ 582 w 330829"/>
                  <a:gd name="connsiteY1" fmla="*/ 0 h 276693"/>
                  <a:gd name="connsiteX2" fmla="*/ 330829 w 330829"/>
                  <a:gd name="connsiteY2" fmla="*/ 17851 h 276693"/>
                  <a:gd name="connsiteX3" fmla="*/ 286201 w 330829"/>
                  <a:gd name="connsiteY3" fmla="*/ 175537 h 276693"/>
                  <a:gd name="connsiteX4" fmla="*/ 36283 w 330829"/>
                  <a:gd name="connsiteY4" fmla="*/ 276694 h 276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29" h="276693">
                    <a:moveTo>
                      <a:pt x="36283" y="276694"/>
                    </a:moveTo>
                    <a:cubicBezTo>
                      <a:pt x="36283" y="276694"/>
                      <a:pt x="-5369" y="187438"/>
                      <a:pt x="582" y="0"/>
                    </a:cubicBezTo>
                    <a:lnTo>
                      <a:pt x="330829" y="17851"/>
                    </a:lnTo>
                    <a:lnTo>
                      <a:pt x="286201" y="175537"/>
                    </a:lnTo>
                    <a:lnTo>
                      <a:pt x="36283" y="276694"/>
                    </a:lnTo>
                    <a:close/>
                  </a:path>
                </a:pathLst>
              </a:custGeom>
              <a:solidFill>
                <a:srgbClr val="6C5D6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6" name="图形 1">
              <a:extLst>
                <a:ext uri="{FF2B5EF4-FFF2-40B4-BE49-F238E27FC236}">
                  <a16:creationId xmlns:a16="http://schemas.microsoft.com/office/drawing/2014/main" id="{25251514-9558-432B-A0F0-8177975E187D}"/>
                </a:ext>
              </a:extLst>
            </p:cNvPr>
            <p:cNvGrpSpPr/>
            <p:nvPr/>
          </p:nvGrpSpPr>
          <p:grpSpPr>
            <a:xfrm>
              <a:off x="18673990" y="6329632"/>
              <a:ext cx="512317" cy="321322"/>
              <a:chOff x="18673990" y="6329632"/>
              <a:chExt cx="512317" cy="321322"/>
            </a:xfrm>
          </p:grpSpPr>
          <p:grpSp>
            <p:nvGrpSpPr>
              <p:cNvPr id="142" name="图形 1">
                <a:extLst>
                  <a:ext uri="{FF2B5EF4-FFF2-40B4-BE49-F238E27FC236}">
                    <a16:creationId xmlns:a16="http://schemas.microsoft.com/office/drawing/2014/main" id="{95E27C18-35D2-46DC-9BC5-80F456AE8DBF}"/>
                  </a:ext>
                </a:extLst>
              </p:cNvPr>
              <p:cNvGrpSpPr/>
              <p:nvPr/>
            </p:nvGrpSpPr>
            <p:grpSpPr>
              <a:xfrm>
                <a:off x="18702340" y="6451615"/>
                <a:ext cx="483967" cy="199338"/>
                <a:chOff x="18702340" y="6451615"/>
                <a:chExt cx="483967" cy="199338"/>
              </a:xfrm>
            </p:grpSpPr>
            <p:sp>
              <p:nvSpPr>
                <p:cNvPr id="144" name="任意多边形: 形状 143">
                  <a:extLst>
                    <a:ext uri="{FF2B5EF4-FFF2-40B4-BE49-F238E27FC236}">
                      <a16:creationId xmlns:a16="http://schemas.microsoft.com/office/drawing/2014/main" id="{74F68D66-27E8-4DDB-9A99-E28A3352966B}"/>
                    </a:ext>
                  </a:extLst>
                </p:cNvPr>
                <p:cNvSpPr/>
                <p:nvPr/>
              </p:nvSpPr>
              <p:spPr>
                <a:xfrm>
                  <a:off x="18702340" y="6451615"/>
                  <a:ext cx="483967" cy="157686"/>
                </a:xfrm>
                <a:custGeom>
                  <a:avLst/>
                  <a:gdLst>
                    <a:gd name="connsiteX0" fmla="*/ 7934 w 483967"/>
                    <a:gd name="connsiteY0" fmla="*/ 44628 h 157686"/>
                    <a:gd name="connsiteX1" fmla="*/ 189421 w 483967"/>
                    <a:gd name="connsiteY1" fmla="*/ 0 h 157686"/>
                    <a:gd name="connsiteX2" fmla="*/ 320331 w 483967"/>
                    <a:gd name="connsiteY2" fmla="*/ 53554 h 157686"/>
                    <a:gd name="connsiteX3" fmla="*/ 483967 w 483967"/>
                    <a:gd name="connsiteY3" fmla="*/ 157686 h 157686"/>
                    <a:gd name="connsiteX4" fmla="*/ 7934 w 483967"/>
                    <a:gd name="connsiteY4" fmla="*/ 157686 h 157686"/>
                    <a:gd name="connsiteX5" fmla="*/ 7934 w 483967"/>
                    <a:gd name="connsiteY5" fmla="*/ 44628 h 157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3967" h="157686">
                      <a:moveTo>
                        <a:pt x="7934" y="44628"/>
                      </a:moveTo>
                      <a:cubicBezTo>
                        <a:pt x="7934" y="44628"/>
                        <a:pt x="129917" y="62480"/>
                        <a:pt x="189421" y="0"/>
                      </a:cubicBezTo>
                      <a:cubicBezTo>
                        <a:pt x="189421" y="0"/>
                        <a:pt x="272727" y="35702"/>
                        <a:pt x="320331" y="53554"/>
                      </a:cubicBezTo>
                      <a:cubicBezTo>
                        <a:pt x="361983" y="68430"/>
                        <a:pt x="472066" y="86281"/>
                        <a:pt x="483967" y="157686"/>
                      </a:cubicBezTo>
                      <a:lnTo>
                        <a:pt x="7934" y="157686"/>
                      </a:lnTo>
                      <a:cubicBezTo>
                        <a:pt x="7934" y="154711"/>
                        <a:pt x="-9918" y="95207"/>
                        <a:pt x="7934" y="4462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5" name="任意多边形: 形状 144">
                  <a:extLst>
                    <a:ext uri="{FF2B5EF4-FFF2-40B4-BE49-F238E27FC236}">
                      <a16:creationId xmlns:a16="http://schemas.microsoft.com/office/drawing/2014/main" id="{A5EAC181-8166-4CEC-842F-2B8FF91F7DC6}"/>
                    </a:ext>
                  </a:extLst>
                </p:cNvPr>
                <p:cNvSpPr/>
                <p:nvPr/>
              </p:nvSpPr>
              <p:spPr>
                <a:xfrm>
                  <a:off x="18710274" y="6606326"/>
                  <a:ext cx="476033" cy="44628"/>
                </a:xfrm>
                <a:custGeom>
                  <a:avLst/>
                  <a:gdLst>
                    <a:gd name="connsiteX0" fmla="*/ 0 w 476033"/>
                    <a:gd name="connsiteY0" fmla="*/ 0 h 44628"/>
                    <a:gd name="connsiteX1" fmla="*/ 476033 w 476033"/>
                    <a:gd name="connsiteY1" fmla="*/ 0 h 44628"/>
                    <a:gd name="connsiteX2" fmla="*/ 476033 w 476033"/>
                    <a:gd name="connsiteY2" fmla="*/ 44628 h 44628"/>
                    <a:gd name="connsiteX3" fmla="*/ 0 w 476033"/>
                    <a:gd name="connsiteY3" fmla="*/ 44628 h 4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033" h="44628">
                      <a:moveTo>
                        <a:pt x="0" y="0"/>
                      </a:moveTo>
                      <a:lnTo>
                        <a:pt x="476033" y="0"/>
                      </a:lnTo>
                      <a:lnTo>
                        <a:pt x="476033" y="44628"/>
                      </a:lnTo>
                      <a:lnTo>
                        <a:pt x="0" y="44628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4644679D-CD79-4961-8BB5-43001F12AA17}"/>
                  </a:ext>
                </a:extLst>
              </p:cNvPr>
              <p:cNvSpPr/>
              <p:nvPr/>
            </p:nvSpPr>
            <p:spPr>
              <a:xfrm>
                <a:off x="18673990" y="6329632"/>
                <a:ext cx="330829" cy="276693"/>
              </a:xfrm>
              <a:custGeom>
                <a:avLst/>
                <a:gdLst>
                  <a:gd name="connsiteX0" fmla="*/ 36285 w 330829"/>
                  <a:gd name="connsiteY0" fmla="*/ 276694 h 276693"/>
                  <a:gd name="connsiteX1" fmla="*/ 582 w 330829"/>
                  <a:gd name="connsiteY1" fmla="*/ 0 h 276693"/>
                  <a:gd name="connsiteX2" fmla="*/ 330829 w 330829"/>
                  <a:gd name="connsiteY2" fmla="*/ 17851 h 276693"/>
                  <a:gd name="connsiteX3" fmla="*/ 286201 w 330829"/>
                  <a:gd name="connsiteY3" fmla="*/ 175537 h 276693"/>
                  <a:gd name="connsiteX4" fmla="*/ 36285 w 330829"/>
                  <a:gd name="connsiteY4" fmla="*/ 276694 h 276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29" h="276693">
                    <a:moveTo>
                      <a:pt x="36285" y="276694"/>
                    </a:moveTo>
                    <a:cubicBezTo>
                      <a:pt x="36285" y="276694"/>
                      <a:pt x="-5369" y="187438"/>
                      <a:pt x="582" y="0"/>
                    </a:cubicBezTo>
                    <a:lnTo>
                      <a:pt x="330829" y="17851"/>
                    </a:lnTo>
                    <a:lnTo>
                      <a:pt x="286201" y="175537"/>
                    </a:lnTo>
                    <a:lnTo>
                      <a:pt x="36285" y="276694"/>
                    </a:lnTo>
                    <a:close/>
                  </a:path>
                </a:pathLst>
              </a:custGeom>
              <a:solidFill>
                <a:srgbClr val="6C5D6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D5EBA8DC-E06C-41A7-8BBA-FFD368B92366}"/>
                </a:ext>
              </a:extLst>
            </p:cNvPr>
            <p:cNvSpPr/>
            <p:nvPr/>
          </p:nvSpPr>
          <p:spPr>
            <a:xfrm>
              <a:off x="18338373" y="2384508"/>
              <a:ext cx="65454" cy="136859"/>
            </a:xfrm>
            <a:custGeom>
              <a:avLst/>
              <a:gdLst>
                <a:gd name="connsiteX0" fmla="*/ 0 w 65454"/>
                <a:gd name="connsiteY0" fmla="*/ 0 h 136859"/>
                <a:gd name="connsiteX1" fmla="*/ 62479 w 65454"/>
                <a:gd name="connsiteY1" fmla="*/ 136860 h 136859"/>
                <a:gd name="connsiteX2" fmla="*/ 65455 w 65454"/>
                <a:gd name="connsiteY2" fmla="*/ 53554 h 136859"/>
                <a:gd name="connsiteX3" fmla="*/ 0 w 65454"/>
                <a:gd name="connsiteY3" fmla="*/ 0 h 13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454" h="136859">
                  <a:moveTo>
                    <a:pt x="0" y="0"/>
                  </a:moveTo>
                  <a:cubicBezTo>
                    <a:pt x="0" y="0"/>
                    <a:pt x="11900" y="116033"/>
                    <a:pt x="62479" y="136860"/>
                  </a:cubicBezTo>
                  <a:lnTo>
                    <a:pt x="65455" y="535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F0216D5A-1B84-49E8-B0F6-4E85BFFC2383}"/>
                </a:ext>
              </a:extLst>
            </p:cNvPr>
            <p:cNvSpPr/>
            <p:nvPr/>
          </p:nvSpPr>
          <p:spPr>
            <a:xfrm>
              <a:off x="18688542" y="2185169"/>
              <a:ext cx="99283" cy="232045"/>
            </a:xfrm>
            <a:custGeom>
              <a:avLst/>
              <a:gdLst>
                <a:gd name="connsiteX0" fmla="*/ 93136 w 99283"/>
                <a:gd name="connsiteY0" fmla="*/ 0 h 232045"/>
                <a:gd name="connsiteX1" fmla="*/ 51485 w 99283"/>
                <a:gd name="connsiteY1" fmla="*/ 229091 h 232045"/>
                <a:gd name="connsiteX2" fmla="*/ 906 w 99283"/>
                <a:gd name="connsiteY2" fmla="*/ 11901 h 232045"/>
                <a:gd name="connsiteX3" fmla="*/ 93136 w 99283"/>
                <a:gd name="connsiteY3" fmla="*/ 0 h 232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283" h="232045">
                  <a:moveTo>
                    <a:pt x="93136" y="0"/>
                  </a:moveTo>
                  <a:cubicBezTo>
                    <a:pt x="93136" y="0"/>
                    <a:pt x="122889" y="190413"/>
                    <a:pt x="51485" y="229091"/>
                  </a:cubicBezTo>
                  <a:cubicBezTo>
                    <a:pt x="-10996" y="261818"/>
                    <a:pt x="906" y="11901"/>
                    <a:pt x="906" y="11901"/>
                  </a:cubicBezTo>
                  <a:lnTo>
                    <a:pt x="93136" y="0"/>
                  </a:ln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77AC6134-4B59-404B-A691-68907C7BF44A}"/>
                </a:ext>
              </a:extLst>
            </p:cNvPr>
            <p:cNvSpPr/>
            <p:nvPr/>
          </p:nvSpPr>
          <p:spPr>
            <a:xfrm>
              <a:off x="18341348" y="2050417"/>
              <a:ext cx="410909" cy="554844"/>
            </a:xfrm>
            <a:custGeom>
              <a:avLst/>
              <a:gdLst>
                <a:gd name="connsiteX0" fmla="*/ 401653 w 410909"/>
                <a:gd name="connsiteY0" fmla="*/ 179381 h 554844"/>
                <a:gd name="connsiteX1" fmla="*/ 401653 w 410909"/>
                <a:gd name="connsiteY1" fmla="*/ 423348 h 554844"/>
                <a:gd name="connsiteX2" fmla="*/ 246942 w 410909"/>
                <a:gd name="connsiteY2" fmla="*/ 554257 h 554844"/>
                <a:gd name="connsiteX3" fmla="*/ 35703 w 410909"/>
                <a:gd name="connsiteY3" fmla="*/ 414422 h 554844"/>
                <a:gd name="connsiteX4" fmla="*/ 0 w 410909"/>
                <a:gd name="connsiteY4" fmla="*/ 194257 h 554844"/>
                <a:gd name="connsiteX5" fmla="*/ 208264 w 410909"/>
                <a:gd name="connsiteY5" fmla="*/ 868 h 554844"/>
                <a:gd name="connsiteX6" fmla="*/ 401653 w 410909"/>
                <a:gd name="connsiteY6" fmla="*/ 179381 h 55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0909" h="554844">
                  <a:moveTo>
                    <a:pt x="401653" y="179381"/>
                  </a:moveTo>
                  <a:cubicBezTo>
                    <a:pt x="401653" y="179381"/>
                    <a:pt x="422480" y="351943"/>
                    <a:pt x="401653" y="423348"/>
                  </a:cubicBezTo>
                  <a:cubicBezTo>
                    <a:pt x="383802" y="488802"/>
                    <a:pt x="294546" y="551281"/>
                    <a:pt x="246942" y="554257"/>
                  </a:cubicBezTo>
                  <a:cubicBezTo>
                    <a:pt x="181489" y="560207"/>
                    <a:pt x="65455" y="521529"/>
                    <a:pt x="35703" y="414422"/>
                  </a:cubicBezTo>
                  <a:cubicBezTo>
                    <a:pt x="14876" y="343017"/>
                    <a:pt x="0" y="244835"/>
                    <a:pt x="0" y="194257"/>
                  </a:cubicBezTo>
                  <a:cubicBezTo>
                    <a:pt x="2976" y="102025"/>
                    <a:pt x="26778" y="24670"/>
                    <a:pt x="208264" y="868"/>
                  </a:cubicBezTo>
                  <a:cubicBezTo>
                    <a:pt x="288595" y="-11033"/>
                    <a:pt x="380826" y="102025"/>
                    <a:pt x="401653" y="179381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14C4EF56-53AF-4DBF-AD04-3DE96C85DA2C}"/>
                </a:ext>
              </a:extLst>
            </p:cNvPr>
            <p:cNvSpPr/>
            <p:nvPr/>
          </p:nvSpPr>
          <p:spPr>
            <a:xfrm>
              <a:off x="18558538" y="2307153"/>
              <a:ext cx="56529" cy="133884"/>
            </a:xfrm>
            <a:custGeom>
              <a:avLst/>
              <a:gdLst>
                <a:gd name="connsiteX0" fmla="*/ 29752 w 56529"/>
                <a:gd name="connsiteY0" fmla="*/ 133884 h 133884"/>
                <a:gd name="connsiteX1" fmla="*/ 5951 w 56529"/>
                <a:gd name="connsiteY1" fmla="*/ 130909 h 133884"/>
                <a:gd name="connsiteX2" fmla="*/ 0 w 56529"/>
                <a:gd name="connsiteY2" fmla="*/ 124959 h 133884"/>
                <a:gd name="connsiteX3" fmla="*/ 5951 w 56529"/>
                <a:gd name="connsiteY3" fmla="*/ 119008 h 133884"/>
                <a:gd name="connsiteX4" fmla="*/ 44628 w 56529"/>
                <a:gd name="connsiteY4" fmla="*/ 119008 h 133884"/>
                <a:gd name="connsiteX5" fmla="*/ 44628 w 56529"/>
                <a:gd name="connsiteY5" fmla="*/ 116033 h 133884"/>
                <a:gd name="connsiteX6" fmla="*/ 29752 w 56529"/>
                <a:gd name="connsiteY6" fmla="*/ 5950 h 133884"/>
                <a:gd name="connsiteX7" fmla="*/ 35703 w 56529"/>
                <a:gd name="connsiteY7" fmla="*/ 0 h 133884"/>
                <a:gd name="connsiteX8" fmla="*/ 41654 w 56529"/>
                <a:gd name="connsiteY8" fmla="*/ 5950 h 133884"/>
                <a:gd name="connsiteX9" fmla="*/ 56530 w 56529"/>
                <a:gd name="connsiteY9" fmla="*/ 116033 h 133884"/>
                <a:gd name="connsiteX10" fmla="*/ 50579 w 56529"/>
                <a:gd name="connsiteY10" fmla="*/ 127934 h 133884"/>
                <a:gd name="connsiteX11" fmla="*/ 29752 w 56529"/>
                <a:gd name="connsiteY11" fmla="*/ 133884 h 13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529" h="133884">
                  <a:moveTo>
                    <a:pt x="29752" y="133884"/>
                  </a:moveTo>
                  <a:cubicBezTo>
                    <a:pt x="17852" y="133884"/>
                    <a:pt x="8927" y="130909"/>
                    <a:pt x="5951" y="130909"/>
                  </a:cubicBezTo>
                  <a:cubicBezTo>
                    <a:pt x="2976" y="130909"/>
                    <a:pt x="0" y="127934"/>
                    <a:pt x="0" y="124959"/>
                  </a:cubicBezTo>
                  <a:cubicBezTo>
                    <a:pt x="0" y="121983"/>
                    <a:pt x="2976" y="119008"/>
                    <a:pt x="5951" y="119008"/>
                  </a:cubicBezTo>
                  <a:cubicBezTo>
                    <a:pt x="17852" y="121983"/>
                    <a:pt x="38679" y="121983"/>
                    <a:pt x="44628" y="119008"/>
                  </a:cubicBezTo>
                  <a:cubicBezTo>
                    <a:pt x="44628" y="119008"/>
                    <a:pt x="44628" y="116033"/>
                    <a:pt x="44628" y="116033"/>
                  </a:cubicBezTo>
                  <a:cubicBezTo>
                    <a:pt x="44628" y="98182"/>
                    <a:pt x="29752" y="8926"/>
                    <a:pt x="29752" y="5950"/>
                  </a:cubicBezTo>
                  <a:cubicBezTo>
                    <a:pt x="29752" y="2975"/>
                    <a:pt x="32728" y="0"/>
                    <a:pt x="35703" y="0"/>
                  </a:cubicBezTo>
                  <a:cubicBezTo>
                    <a:pt x="38679" y="0"/>
                    <a:pt x="41654" y="2975"/>
                    <a:pt x="41654" y="5950"/>
                  </a:cubicBezTo>
                  <a:cubicBezTo>
                    <a:pt x="41654" y="8926"/>
                    <a:pt x="56530" y="98182"/>
                    <a:pt x="56530" y="116033"/>
                  </a:cubicBezTo>
                  <a:cubicBezTo>
                    <a:pt x="56530" y="121983"/>
                    <a:pt x="53555" y="124959"/>
                    <a:pt x="50579" y="127934"/>
                  </a:cubicBezTo>
                  <a:cubicBezTo>
                    <a:pt x="47604" y="130909"/>
                    <a:pt x="38679" y="133884"/>
                    <a:pt x="29752" y="133884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ED23B0D8-8E49-4E0F-93AD-6E7A92834631}"/>
                </a:ext>
              </a:extLst>
            </p:cNvPr>
            <p:cNvSpPr/>
            <p:nvPr/>
          </p:nvSpPr>
          <p:spPr>
            <a:xfrm>
              <a:off x="18647211" y="2285568"/>
              <a:ext cx="39845" cy="40194"/>
            </a:xfrm>
            <a:custGeom>
              <a:avLst/>
              <a:gdLst>
                <a:gd name="connsiteX0" fmla="*/ 583 w 39845"/>
                <a:gd name="connsiteY0" fmla="*/ 24560 h 40194"/>
                <a:gd name="connsiteX1" fmla="*/ 24386 w 39845"/>
                <a:gd name="connsiteY1" fmla="*/ 39436 h 40194"/>
                <a:gd name="connsiteX2" fmla="*/ 39262 w 39845"/>
                <a:gd name="connsiteY2" fmla="*/ 15634 h 40194"/>
                <a:gd name="connsiteX3" fmla="*/ 15459 w 39845"/>
                <a:gd name="connsiteY3" fmla="*/ 758 h 40194"/>
                <a:gd name="connsiteX4" fmla="*/ 583 w 39845"/>
                <a:gd name="connsiteY4" fmla="*/ 24560 h 4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45" h="40194">
                  <a:moveTo>
                    <a:pt x="583" y="24560"/>
                  </a:moveTo>
                  <a:cubicBezTo>
                    <a:pt x="3560" y="36461"/>
                    <a:pt x="12485" y="42411"/>
                    <a:pt x="24386" y="39436"/>
                  </a:cubicBezTo>
                  <a:cubicBezTo>
                    <a:pt x="33312" y="36461"/>
                    <a:pt x="42237" y="27535"/>
                    <a:pt x="39262" y="15634"/>
                  </a:cubicBezTo>
                  <a:cubicBezTo>
                    <a:pt x="36286" y="3733"/>
                    <a:pt x="27361" y="-2217"/>
                    <a:pt x="15459" y="758"/>
                  </a:cubicBezTo>
                  <a:cubicBezTo>
                    <a:pt x="6534" y="3733"/>
                    <a:pt x="-2391" y="12659"/>
                    <a:pt x="583" y="2456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E607B3A5-10A3-4D58-BBFD-209F7CAF1955}"/>
                </a:ext>
              </a:extLst>
            </p:cNvPr>
            <p:cNvSpPr/>
            <p:nvPr/>
          </p:nvSpPr>
          <p:spPr>
            <a:xfrm>
              <a:off x="18468698" y="2300444"/>
              <a:ext cx="39845" cy="40194"/>
            </a:xfrm>
            <a:custGeom>
              <a:avLst/>
              <a:gdLst>
                <a:gd name="connsiteX0" fmla="*/ 583 w 39845"/>
                <a:gd name="connsiteY0" fmla="*/ 24560 h 40194"/>
                <a:gd name="connsiteX1" fmla="*/ 24386 w 39845"/>
                <a:gd name="connsiteY1" fmla="*/ 39436 h 40194"/>
                <a:gd name="connsiteX2" fmla="*/ 39262 w 39845"/>
                <a:gd name="connsiteY2" fmla="*/ 15634 h 40194"/>
                <a:gd name="connsiteX3" fmla="*/ 15459 w 39845"/>
                <a:gd name="connsiteY3" fmla="*/ 758 h 40194"/>
                <a:gd name="connsiteX4" fmla="*/ 583 w 39845"/>
                <a:gd name="connsiteY4" fmla="*/ 24560 h 4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45" h="40194">
                  <a:moveTo>
                    <a:pt x="583" y="24560"/>
                  </a:moveTo>
                  <a:cubicBezTo>
                    <a:pt x="3560" y="36461"/>
                    <a:pt x="12485" y="42411"/>
                    <a:pt x="24386" y="39436"/>
                  </a:cubicBezTo>
                  <a:cubicBezTo>
                    <a:pt x="33312" y="36461"/>
                    <a:pt x="42237" y="27535"/>
                    <a:pt x="39262" y="15634"/>
                  </a:cubicBezTo>
                  <a:cubicBezTo>
                    <a:pt x="36286" y="3733"/>
                    <a:pt x="27361" y="-2217"/>
                    <a:pt x="15459" y="758"/>
                  </a:cubicBezTo>
                  <a:cubicBezTo>
                    <a:pt x="6534" y="3733"/>
                    <a:pt x="-2391" y="15634"/>
                    <a:pt x="583" y="2456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AC338480-2B48-440D-9FD2-D69CD436A9AB}"/>
                </a:ext>
              </a:extLst>
            </p:cNvPr>
            <p:cNvSpPr/>
            <p:nvPr/>
          </p:nvSpPr>
          <p:spPr>
            <a:xfrm>
              <a:off x="18622761" y="2241698"/>
              <a:ext cx="89744" cy="29752"/>
            </a:xfrm>
            <a:custGeom>
              <a:avLst/>
              <a:gdLst>
                <a:gd name="connsiteX0" fmla="*/ 81563 w 89744"/>
                <a:gd name="connsiteY0" fmla="*/ 29752 h 29752"/>
                <a:gd name="connsiteX1" fmla="*/ 75612 w 89744"/>
                <a:gd name="connsiteY1" fmla="*/ 26777 h 29752"/>
                <a:gd name="connsiteX2" fmla="*/ 10157 w 89744"/>
                <a:gd name="connsiteY2" fmla="*/ 20826 h 29752"/>
                <a:gd name="connsiteX3" fmla="*/ 1232 w 89744"/>
                <a:gd name="connsiteY3" fmla="*/ 17851 h 29752"/>
                <a:gd name="connsiteX4" fmla="*/ 4208 w 89744"/>
                <a:gd name="connsiteY4" fmla="*/ 8926 h 29752"/>
                <a:gd name="connsiteX5" fmla="*/ 87514 w 89744"/>
                <a:gd name="connsiteY5" fmla="*/ 17851 h 29752"/>
                <a:gd name="connsiteX6" fmla="*/ 87514 w 89744"/>
                <a:gd name="connsiteY6" fmla="*/ 29752 h 29752"/>
                <a:gd name="connsiteX7" fmla="*/ 81563 w 89744"/>
                <a:gd name="connsiteY7" fmla="*/ 29752 h 29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29752">
                  <a:moveTo>
                    <a:pt x="81563" y="29752"/>
                  </a:moveTo>
                  <a:cubicBezTo>
                    <a:pt x="78588" y="29752"/>
                    <a:pt x="78588" y="29752"/>
                    <a:pt x="75612" y="26777"/>
                  </a:cubicBezTo>
                  <a:cubicBezTo>
                    <a:pt x="51811" y="0"/>
                    <a:pt x="13134" y="17851"/>
                    <a:pt x="10157" y="20826"/>
                  </a:cubicBezTo>
                  <a:cubicBezTo>
                    <a:pt x="7183" y="23802"/>
                    <a:pt x="1232" y="20826"/>
                    <a:pt x="1232" y="17851"/>
                  </a:cubicBezTo>
                  <a:cubicBezTo>
                    <a:pt x="-1742" y="14876"/>
                    <a:pt x="1232" y="8926"/>
                    <a:pt x="4208" y="8926"/>
                  </a:cubicBezTo>
                  <a:cubicBezTo>
                    <a:pt x="22059" y="0"/>
                    <a:pt x="60736" y="-8926"/>
                    <a:pt x="87514" y="17851"/>
                  </a:cubicBezTo>
                  <a:cubicBezTo>
                    <a:pt x="90488" y="20826"/>
                    <a:pt x="90488" y="26777"/>
                    <a:pt x="87514" y="29752"/>
                  </a:cubicBezTo>
                  <a:cubicBezTo>
                    <a:pt x="84537" y="26777"/>
                    <a:pt x="84537" y="29752"/>
                    <a:pt x="81563" y="29752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8EDFBA89-D7A7-4E81-B5B9-FBF00CC0033E}"/>
                </a:ext>
              </a:extLst>
            </p:cNvPr>
            <p:cNvSpPr/>
            <p:nvPr/>
          </p:nvSpPr>
          <p:spPr>
            <a:xfrm>
              <a:off x="18437299" y="2236050"/>
              <a:ext cx="89744" cy="35399"/>
            </a:xfrm>
            <a:custGeom>
              <a:avLst/>
              <a:gdLst>
                <a:gd name="connsiteX0" fmla="*/ 8182 w 89744"/>
                <a:gd name="connsiteY0" fmla="*/ 35400 h 35399"/>
                <a:gd name="connsiteX1" fmla="*/ 2231 w 89744"/>
                <a:gd name="connsiteY1" fmla="*/ 32425 h 35399"/>
                <a:gd name="connsiteX2" fmla="*/ 2231 w 89744"/>
                <a:gd name="connsiteY2" fmla="*/ 20524 h 35399"/>
                <a:gd name="connsiteX3" fmla="*/ 85538 w 89744"/>
                <a:gd name="connsiteY3" fmla="*/ 11598 h 35399"/>
                <a:gd name="connsiteX4" fmla="*/ 88513 w 89744"/>
                <a:gd name="connsiteY4" fmla="*/ 23499 h 35399"/>
                <a:gd name="connsiteX5" fmla="*/ 76611 w 89744"/>
                <a:gd name="connsiteY5" fmla="*/ 26474 h 35399"/>
                <a:gd name="connsiteX6" fmla="*/ 11158 w 89744"/>
                <a:gd name="connsiteY6" fmla="*/ 32425 h 35399"/>
                <a:gd name="connsiteX7" fmla="*/ 8182 w 89744"/>
                <a:gd name="connsiteY7" fmla="*/ 35400 h 3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5399">
                  <a:moveTo>
                    <a:pt x="8182" y="35400"/>
                  </a:moveTo>
                  <a:cubicBezTo>
                    <a:pt x="5207" y="35400"/>
                    <a:pt x="5207" y="35400"/>
                    <a:pt x="2231" y="32425"/>
                  </a:cubicBezTo>
                  <a:cubicBezTo>
                    <a:pt x="-744" y="29449"/>
                    <a:pt x="-744" y="23499"/>
                    <a:pt x="2231" y="20524"/>
                  </a:cubicBezTo>
                  <a:cubicBezTo>
                    <a:pt x="14132" y="5648"/>
                    <a:pt x="49835" y="-12204"/>
                    <a:pt x="85538" y="11598"/>
                  </a:cubicBezTo>
                  <a:cubicBezTo>
                    <a:pt x="88513" y="14573"/>
                    <a:pt x="91487" y="17549"/>
                    <a:pt x="88513" y="23499"/>
                  </a:cubicBezTo>
                  <a:cubicBezTo>
                    <a:pt x="85538" y="26474"/>
                    <a:pt x="82562" y="29449"/>
                    <a:pt x="76611" y="26474"/>
                  </a:cubicBezTo>
                  <a:cubicBezTo>
                    <a:pt x="40910" y="2672"/>
                    <a:pt x="14132" y="32425"/>
                    <a:pt x="11158" y="32425"/>
                  </a:cubicBezTo>
                  <a:cubicBezTo>
                    <a:pt x="11158" y="35400"/>
                    <a:pt x="8182" y="35400"/>
                    <a:pt x="8182" y="35400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60D501F9-6D6F-4063-9CED-7977D51A7334}"/>
                </a:ext>
              </a:extLst>
            </p:cNvPr>
            <p:cNvSpPr/>
            <p:nvPr/>
          </p:nvSpPr>
          <p:spPr>
            <a:xfrm>
              <a:off x="18301341" y="2299753"/>
              <a:ext cx="75709" cy="111296"/>
            </a:xfrm>
            <a:custGeom>
              <a:avLst/>
              <a:gdLst>
                <a:gd name="connsiteX0" fmla="*/ 63808 w 75709"/>
                <a:gd name="connsiteY0" fmla="*/ 16325 h 111296"/>
                <a:gd name="connsiteX1" fmla="*/ 7280 w 75709"/>
                <a:gd name="connsiteY1" fmla="*/ 7399 h 111296"/>
                <a:gd name="connsiteX2" fmla="*/ 63808 w 75709"/>
                <a:gd name="connsiteY2" fmla="*/ 108556 h 111296"/>
                <a:gd name="connsiteX3" fmla="*/ 63808 w 75709"/>
                <a:gd name="connsiteY3" fmla="*/ 16325 h 111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709" h="111296">
                  <a:moveTo>
                    <a:pt x="63808" y="16325"/>
                  </a:moveTo>
                  <a:cubicBezTo>
                    <a:pt x="63808" y="16325"/>
                    <a:pt x="31082" y="-13427"/>
                    <a:pt x="7280" y="7399"/>
                  </a:cubicBezTo>
                  <a:cubicBezTo>
                    <a:pt x="-16521" y="25250"/>
                    <a:pt x="22157" y="129383"/>
                    <a:pt x="63808" y="108556"/>
                  </a:cubicBezTo>
                  <a:cubicBezTo>
                    <a:pt x="90586" y="87730"/>
                    <a:pt x="63808" y="16325"/>
                    <a:pt x="63808" y="16325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FC8A1E7F-5F4B-4A14-8691-3BE4310A8C08}"/>
                </a:ext>
              </a:extLst>
            </p:cNvPr>
            <p:cNvSpPr/>
            <p:nvPr/>
          </p:nvSpPr>
          <p:spPr>
            <a:xfrm>
              <a:off x="18308194" y="1942267"/>
              <a:ext cx="495200" cy="391662"/>
            </a:xfrm>
            <a:custGeom>
              <a:avLst/>
              <a:gdLst>
                <a:gd name="connsiteX0" fmla="*/ 491336 w 495200"/>
                <a:gd name="connsiteY0" fmla="*/ 236951 h 391662"/>
                <a:gd name="connsiteX1" fmla="*/ 473484 w 495200"/>
                <a:gd name="connsiteY1" fmla="*/ 195298 h 391662"/>
                <a:gd name="connsiteX2" fmla="*/ 476460 w 495200"/>
                <a:gd name="connsiteY2" fmla="*/ 162571 h 391662"/>
                <a:gd name="connsiteX3" fmla="*/ 470509 w 495200"/>
                <a:gd name="connsiteY3" fmla="*/ 126869 h 391662"/>
                <a:gd name="connsiteX4" fmla="*/ 452659 w 495200"/>
                <a:gd name="connsiteY4" fmla="*/ 100092 h 391662"/>
                <a:gd name="connsiteX5" fmla="*/ 437783 w 495200"/>
                <a:gd name="connsiteY5" fmla="*/ 58439 h 391662"/>
                <a:gd name="connsiteX6" fmla="*/ 378279 w 495200"/>
                <a:gd name="connsiteY6" fmla="*/ 37612 h 391662"/>
                <a:gd name="connsiteX7" fmla="*/ 256294 w 495200"/>
                <a:gd name="connsiteY7" fmla="*/ 1910 h 391662"/>
                <a:gd name="connsiteX8" fmla="*/ 244394 w 495200"/>
                <a:gd name="connsiteY8" fmla="*/ 7860 h 391662"/>
                <a:gd name="connsiteX9" fmla="*/ 190839 w 495200"/>
                <a:gd name="connsiteY9" fmla="*/ 22736 h 391662"/>
                <a:gd name="connsiteX10" fmla="*/ 158113 w 495200"/>
                <a:gd name="connsiteY10" fmla="*/ 25712 h 391662"/>
                <a:gd name="connsiteX11" fmla="*/ 128361 w 495200"/>
                <a:gd name="connsiteY11" fmla="*/ 58439 h 391662"/>
                <a:gd name="connsiteX12" fmla="*/ 116459 w 495200"/>
                <a:gd name="connsiteY12" fmla="*/ 76290 h 391662"/>
                <a:gd name="connsiteX13" fmla="*/ 86707 w 495200"/>
                <a:gd name="connsiteY13" fmla="*/ 97117 h 391662"/>
                <a:gd name="connsiteX14" fmla="*/ 74807 w 495200"/>
                <a:gd name="connsiteY14" fmla="*/ 94141 h 391662"/>
                <a:gd name="connsiteX15" fmla="*/ 56955 w 495200"/>
                <a:gd name="connsiteY15" fmla="*/ 132819 h 391662"/>
                <a:gd name="connsiteX16" fmla="*/ 6378 w 495200"/>
                <a:gd name="connsiteY16" fmla="*/ 293480 h 391662"/>
                <a:gd name="connsiteX17" fmla="*/ 62906 w 495200"/>
                <a:gd name="connsiteY17" fmla="*/ 391662 h 391662"/>
                <a:gd name="connsiteX18" fmla="*/ 113485 w 495200"/>
                <a:gd name="connsiteY18" fmla="*/ 254803 h 391662"/>
                <a:gd name="connsiteX19" fmla="*/ 122410 w 495200"/>
                <a:gd name="connsiteY19" fmla="*/ 251827 h 391662"/>
                <a:gd name="connsiteX20" fmla="*/ 196790 w 495200"/>
                <a:gd name="connsiteY20" fmla="*/ 225051 h 391662"/>
                <a:gd name="connsiteX21" fmla="*/ 208692 w 495200"/>
                <a:gd name="connsiteY21" fmla="*/ 222075 h 391662"/>
                <a:gd name="connsiteX22" fmla="*/ 244394 w 495200"/>
                <a:gd name="connsiteY22" fmla="*/ 242902 h 391662"/>
                <a:gd name="connsiteX23" fmla="*/ 259270 w 495200"/>
                <a:gd name="connsiteY23" fmla="*/ 233976 h 391662"/>
                <a:gd name="connsiteX24" fmla="*/ 309847 w 495200"/>
                <a:gd name="connsiteY24" fmla="*/ 248852 h 391662"/>
                <a:gd name="connsiteX25" fmla="*/ 345550 w 495200"/>
                <a:gd name="connsiteY25" fmla="*/ 257778 h 391662"/>
                <a:gd name="connsiteX26" fmla="*/ 357452 w 495200"/>
                <a:gd name="connsiteY26" fmla="*/ 257778 h 391662"/>
                <a:gd name="connsiteX27" fmla="*/ 360426 w 495200"/>
                <a:gd name="connsiteY27" fmla="*/ 257778 h 391662"/>
                <a:gd name="connsiteX28" fmla="*/ 381253 w 495200"/>
                <a:gd name="connsiteY28" fmla="*/ 275629 h 391662"/>
                <a:gd name="connsiteX29" fmla="*/ 405054 w 495200"/>
                <a:gd name="connsiteY29" fmla="*/ 281579 h 391662"/>
                <a:gd name="connsiteX30" fmla="*/ 422907 w 495200"/>
                <a:gd name="connsiteY30" fmla="*/ 302406 h 391662"/>
                <a:gd name="connsiteX31" fmla="*/ 452659 w 495200"/>
                <a:gd name="connsiteY31" fmla="*/ 314307 h 391662"/>
                <a:gd name="connsiteX32" fmla="*/ 470509 w 495200"/>
                <a:gd name="connsiteY32" fmla="*/ 367860 h 391662"/>
                <a:gd name="connsiteX33" fmla="*/ 479435 w 495200"/>
                <a:gd name="connsiteY33" fmla="*/ 338108 h 391662"/>
                <a:gd name="connsiteX34" fmla="*/ 488360 w 495200"/>
                <a:gd name="connsiteY34" fmla="*/ 335133 h 391662"/>
                <a:gd name="connsiteX35" fmla="*/ 491336 w 495200"/>
                <a:gd name="connsiteY35" fmla="*/ 236951 h 391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95200" h="391662">
                  <a:moveTo>
                    <a:pt x="491336" y="236951"/>
                  </a:moveTo>
                  <a:cubicBezTo>
                    <a:pt x="488360" y="222075"/>
                    <a:pt x="479435" y="210174"/>
                    <a:pt x="473484" y="195298"/>
                  </a:cubicBezTo>
                  <a:cubicBezTo>
                    <a:pt x="464559" y="177447"/>
                    <a:pt x="473484" y="177447"/>
                    <a:pt x="476460" y="162571"/>
                  </a:cubicBezTo>
                  <a:cubicBezTo>
                    <a:pt x="479435" y="150670"/>
                    <a:pt x="473484" y="138770"/>
                    <a:pt x="470509" y="126869"/>
                  </a:cubicBezTo>
                  <a:cubicBezTo>
                    <a:pt x="464559" y="117943"/>
                    <a:pt x="458608" y="109017"/>
                    <a:pt x="452659" y="100092"/>
                  </a:cubicBezTo>
                  <a:cubicBezTo>
                    <a:pt x="440757" y="85216"/>
                    <a:pt x="443732" y="73315"/>
                    <a:pt x="437783" y="58439"/>
                  </a:cubicBezTo>
                  <a:cubicBezTo>
                    <a:pt x="425881" y="31662"/>
                    <a:pt x="402080" y="37612"/>
                    <a:pt x="378279" y="37612"/>
                  </a:cubicBezTo>
                  <a:cubicBezTo>
                    <a:pt x="336625" y="37612"/>
                    <a:pt x="300922" y="-9991"/>
                    <a:pt x="256294" y="1910"/>
                  </a:cubicBezTo>
                  <a:cubicBezTo>
                    <a:pt x="250343" y="1910"/>
                    <a:pt x="247369" y="4885"/>
                    <a:pt x="244394" y="7860"/>
                  </a:cubicBezTo>
                  <a:cubicBezTo>
                    <a:pt x="226542" y="16786"/>
                    <a:pt x="208692" y="22736"/>
                    <a:pt x="190839" y="22736"/>
                  </a:cubicBezTo>
                  <a:cubicBezTo>
                    <a:pt x="178939" y="22736"/>
                    <a:pt x="170014" y="19761"/>
                    <a:pt x="158113" y="25712"/>
                  </a:cubicBezTo>
                  <a:cubicBezTo>
                    <a:pt x="143237" y="31662"/>
                    <a:pt x="137286" y="46538"/>
                    <a:pt x="128361" y="58439"/>
                  </a:cubicBezTo>
                  <a:cubicBezTo>
                    <a:pt x="125386" y="64389"/>
                    <a:pt x="119435" y="70340"/>
                    <a:pt x="116459" y="76290"/>
                  </a:cubicBezTo>
                  <a:cubicBezTo>
                    <a:pt x="104559" y="82241"/>
                    <a:pt x="95634" y="91166"/>
                    <a:pt x="86707" y="97117"/>
                  </a:cubicBezTo>
                  <a:cubicBezTo>
                    <a:pt x="86707" y="94141"/>
                    <a:pt x="89683" y="82241"/>
                    <a:pt x="74807" y="94141"/>
                  </a:cubicBezTo>
                  <a:cubicBezTo>
                    <a:pt x="59931" y="103067"/>
                    <a:pt x="56955" y="117943"/>
                    <a:pt x="56955" y="132819"/>
                  </a:cubicBezTo>
                  <a:cubicBezTo>
                    <a:pt x="427" y="153646"/>
                    <a:pt x="-8498" y="236951"/>
                    <a:pt x="6378" y="293480"/>
                  </a:cubicBezTo>
                  <a:cubicBezTo>
                    <a:pt x="21254" y="347034"/>
                    <a:pt x="62906" y="391662"/>
                    <a:pt x="62906" y="391662"/>
                  </a:cubicBezTo>
                  <a:cubicBezTo>
                    <a:pt x="56955" y="361910"/>
                    <a:pt x="113485" y="254803"/>
                    <a:pt x="113485" y="254803"/>
                  </a:cubicBezTo>
                  <a:cubicBezTo>
                    <a:pt x="113485" y="254803"/>
                    <a:pt x="116459" y="254803"/>
                    <a:pt x="122410" y="251827"/>
                  </a:cubicBezTo>
                  <a:cubicBezTo>
                    <a:pt x="149187" y="251827"/>
                    <a:pt x="175963" y="242902"/>
                    <a:pt x="196790" y="225051"/>
                  </a:cubicBezTo>
                  <a:cubicBezTo>
                    <a:pt x="199766" y="225051"/>
                    <a:pt x="205715" y="222075"/>
                    <a:pt x="208692" y="222075"/>
                  </a:cubicBezTo>
                  <a:cubicBezTo>
                    <a:pt x="217617" y="233976"/>
                    <a:pt x="226542" y="245877"/>
                    <a:pt x="244394" y="242902"/>
                  </a:cubicBezTo>
                  <a:cubicBezTo>
                    <a:pt x="253320" y="242902"/>
                    <a:pt x="256294" y="233976"/>
                    <a:pt x="259270" y="233976"/>
                  </a:cubicBezTo>
                  <a:cubicBezTo>
                    <a:pt x="280095" y="225051"/>
                    <a:pt x="291997" y="239927"/>
                    <a:pt x="309847" y="248852"/>
                  </a:cubicBezTo>
                  <a:cubicBezTo>
                    <a:pt x="321749" y="254803"/>
                    <a:pt x="333651" y="257778"/>
                    <a:pt x="345550" y="257778"/>
                  </a:cubicBezTo>
                  <a:cubicBezTo>
                    <a:pt x="348527" y="257778"/>
                    <a:pt x="354476" y="254803"/>
                    <a:pt x="357452" y="257778"/>
                  </a:cubicBezTo>
                  <a:cubicBezTo>
                    <a:pt x="357452" y="257778"/>
                    <a:pt x="360426" y="257778"/>
                    <a:pt x="360426" y="257778"/>
                  </a:cubicBezTo>
                  <a:cubicBezTo>
                    <a:pt x="366377" y="266703"/>
                    <a:pt x="372328" y="272654"/>
                    <a:pt x="381253" y="275629"/>
                  </a:cubicBezTo>
                  <a:cubicBezTo>
                    <a:pt x="387204" y="278604"/>
                    <a:pt x="396129" y="278604"/>
                    <a:pt x="405054" y="281579"/>
                  </a:cubicBezTo>
                  <a:cubicBezTo>
                    <a:pt x="411005" y="287530"/>
                    <a:pt x="413980" y="296455"/>
                    <a:pt x="422907" y="302406"/>
                  </a:cubicBezTo>
                  <a:cubicBezTo>
                    <a:pt x="428856" y="308356"/>
                    <a:pt x="440757" y="308356"/>
                    <a:pt x="452659" y="314307"/>
                  </a:cubicBezTo>
                  <a:cubicBezTo>
                    <a:pt x="467535" y="332158"/>
                    <a:pt x="473484" y="350009"/>
                    <a:pt x="470509" y="367860"/>
                  </a:cubicBezTo>
                  <a:cubicBezTo>
                    <a:pt x="470509" y="367860"/>
                    <a:pt x="473484" y="355960"/>
                    <a:pt x="479435" y="338108"/>
                  </a:cubicBezTo>
                  <a:cubicBezTo>
                    <a:pt x="482411" y="341084"/>
                    <a:pt x="485385" y="341084"/>
                    <a:pt x="488360" y="335133"/>
                  </a:cubicBezTo>
                  <a:cubicBezTo>
                    <a:pt x="491336" y="305381"/>
                    <a:pt x="500261" y="272654"/>
                    <a:pt x="491336" y="236951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55C860FA-686B-4E9A-823C-BEE13686E254}"/>
                </a:ext>
              </a:extLst>
            </p:cNvPr>
            <p:cNvSpPr/>
            <p:nvPr/>
          </p:nvSpPr>
          <p:spPr>
            <a:xfrm>
              <a:off x="18508704" y="2495334"/>
              <a:ext cx="112313" cy="34958"/>
            </a:xfrm>
            <a:custGeom>
              <a:avLst/>
              <a:gdLst>
                <a:gd name="connsiteX0" fmla="*/ 76611 w 112313"/>
                <a:gd name="connsiteY0" fmla="*/ 34959 h 34958"/>
                <a:gd name="connsiteX1" fmla="*/ 2231 w 112313"/>
                <a:gd name="connsiteY1" fmla="*/ 11157 h 34958"/>
                <a:gd name="connsiteX2" fmla="*/ 2231 w 112313"/>
                <a:gd name="connsiteY2" fmla="*/ 2231 h 34958"/>
                <a:gd name="connsiteX3" fmla="*/ 11156 w 112313"/>
                <a:gd name="connsiteY3" fmla="*/ 2231 h 34958"/>
                <a:gd name="connsiteX4" fmla="*/ 106363 w 112313"/>
                <a:gd name="connsiteY4" fmla="*/ 20083 h 34958"/>
                <a:gd name="connsiteX5" fmla="*/ 112314 w 112313"/>
                <a:gd name="connsiteY5" fmla="*/ 23058 h 34958"/>
                <a:gd name="connsiteX6" fmla="*/ 109338 w 112313"/>
                <a:gd name="connsiteY6" fmla="*/ 29008 h 34958"/>
                <a:gd name="connsiteX7" fmla="*/ 76611 w 112313"/>
                <a:gd name="connsiteY7" fmla="*/ 34959 h 34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313" h="34958">
                  <a:moveTo>
                    <a:pt x="76611" y="34959"/>
                  </a:moveTo>
                  <a:cubicBezTo>
                    <a:pt x="52810" y="34959"/>
                    <a:pt x="23058" y="29008"/>
                    <a:pt x="2231" y="11157"/>
                  </a:cubicBezTo>
                  <a:cubicBezTo>
                    <a:pt x="-744" y="8182"/>
                    <a:pt x="-744" y="5207"/>
                    <a:pt x="2231" y="2231"/>
                  </a:cubicBezTo>
                  <a:cubicBezTo>
                    <a:pt x="5205" y="-744"/>
                    <a:pt x="8182" y="-744"/>
                    <a:pt x="11156" y="2231"/>
                  </a:cubicBezTo>
                  <a:cubicBezTo>
                    <a:pt x="43884" y="34959"/>
                    <a:pt x="106363" y="20083"/>
                    <a:pt x="106363" y="20083"/>
                  </a:cubicBezTo>
                  <a:cubicBezTo>
                    <a:pt x="109338" y="20083"/>
                    <a:pt x="112314" y="20083"/>
                    <a:pt x="112314" y="23058"/>
                  </a:cubicBezTo>
                  <a:cubicBezTo>
                    <a:pt x="112314" y="26033"/>
                    <a:pt x="112314" y="29008"/>
                    <a:pt x="109338" y="29008"/>
                  </a:cubicBezTo>
                  <a:cubicBezTo>
                    <a:pt x="109338" y="31983"/>
                    <a:pt x="94462" y="34959"/>
                    <a:pt x="76611" y="34959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25109FC7-D07E-4450-82B1-06620046E4B9}"/>
                </a:ext>
              </a:extLst>
            </p:cNvPr>
            <p:cNvSpPr/>
            <p:nvPr/>
          </p:nvSpPr>
          <p:spPr>
            <a:xfrm>
              <a:off x="18415728" y="2515417"/>
              <a:ext cx="243967" cy="252010"/>
            </a:xfrm>
            <a:custGeom>
              <a:avLst/>
              <a:gdLst>
                <a:gd name="connsiteX0" fmla="*/ 243967 w 243967"/>
                <a:gd name="connsiteY0" fmla="*/ 38678 h 252010"/>
                <a:gd name="connsiteX1" fmla="*/ 238017 w 243967"/>
                <a:gd name="connsiteY1" fmla="*/ 208265 h 252010"/>
                <a:gd name="connsiteX2" fmla="*/ 0 w 243967"/>
                <a:gd name="connsiteY2" fmla="*/ 199339 h 252010"/>
                <a:gd name="connsiteX3" fmla="*/ 14876 w 243967"/>
                <a:gd name="connsiteY3" fmla="*/ 0 h 252010"/>
                <a:gd name="connsiteX4" fmla="*/ 243967 w 243967"/>
                <a:gd name="connsiteY4" fmla="*/ 38678 h 252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967" h="252010">
                  <a:moveTo>
                    <a:pt x="243967" y="38678"/>
                  </a:moveTo>
                  <a:cubicBezTo>
                    <a:pt x="243967" y="38678"/>
                    <a:pt x="238017" y="136860"/>
                    <a:pt x="238017" y="208265"/>
                  </a:cubicBezTo>
                  <a:cubicBezTo>
                    <a:pt x="238017" y="208265"/>
                    <a:pt x="145786" y="312397"/>
                    <a:pt x="0" y="199339"/>
                  </a:cubicBezTo>
                  <a:cubicBezTo>
                    <a:pt x="0" y="139835"/>
                    <a:pt x="11902" y="62479"/>
                    <a:pt x="14876" y="0"/>
                  </a:cubicBezTo>
                  <a:cubicBezTo>
                    <a:pt x="11902" y="0"/>
                    <a:pt x="193388" y="50579"/>
                    <a:pt x="243967" y="38678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22760D89-080F-4A95-B4B8-3A3529B9F2EC}"/>
                </a:ext>
              </a:extLst>
            </p:cNvPr>
            <p:cNvSpPr/>
            <p:nvPr/>
          </p:nvSpPr>
          <p:spPr>
            <a:xfrm>
              <a:off x="17963496" y="2661202"/>
              <a:ext cx="817868" cy="1589960"/>
            </a:xfrm>
            <a:custGeom>
              <a:avLst/>
              <a:gdLst>
                <a:gd name="connsiteX0" fmla="*/ 690248 w 817868"/>
                <a:gd name="connsiteY0" fmla="*/ 0 h 1589960"/>
                <a:gd name="connsiteX1" fmla="*/ 124959 w 817868"/>
                <a:gd name="connsiteY1" fmla="*/ 107108 h 1589960"/>
                <a:gd name="connsiteX2" fmla="*/ 0 w 817868"/>
                <a:gd name="connsiteY2" fmla="*/ 1502480 h 1589960"/>
                <a:gd name="connsiteX3" fmla="*/ 803306 w 817868"/>
                <a:gd name="connsiteY3" fmla="*/ 1576860 h 1589960"/>
                <a:gd name="connsiteX4" fmla="*/ 690248 w 817868"/>
                <a:gd name="connsiteY4" fmla="*/ 0 h 1589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868" h="1589960">
                  <a:moveTo>
                    <a:pt x="690248" y="0"/>
                  </a:moveTo>
                  <a:cubicBezTo>
                    <a:pt x="690248" y="0"/>
                    <a:pt x="324298" y="14876"/>
                    <a:pt x="124959" y="107108"/>
                  </a:cubicBezTo>
                  <a:cubicBezTo>
                    <a:pt x="65455" y="133884"/>
                    <a:pt x="0" y="1502480"/>
                    <a:pt x="0" y="1502480"/>
                  </a:cubicBezTo>
                  <a:cubicBezTo>
                    <a:pt x="0" y="1502480"/>
                    <a:pt x="526612" y="1630413"/>
                    <a:pt x="803306" y="1576860"/>
                  </a:cubicBezTo>
                  <a:cubicBezTo>
                    <a:pt x="803306" y="1576860"/>
                    <a:pt x="877686" y="603967"/>
                    <a:pt x="690248" y="0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5FFF45B4-04E4-4110-A7CB-40752E663210}"/>
                </a:ext>
              </a:extLst>
            </p:cNvPr>
            <p:cNvSpPr/>
            <p:nvPr/>
          </p:nvSpPr>
          <p:spPr>
            <a:xfrm>
              <a:off x="18653745" y="2661202"/>
              <a:ext cx="452231" cy="1576942"/>
            </a:xfrm>
            <a:custGeom>
              <a:avLst/>
              <a:gdLst>
                <a:gd name="connsiteX0" fmla="*/ 0 w 452231"/>
                <a:gd name="connsiteY0" fmla="*/ 0 h 1576942"/>
                <a:gd name="connsiteX1" fmla="*/ 113057 w 452231"/>
                <a:gd name="connsiteY1" fmla="*/ 1576860 h 1576942"/>
                <a:gd name="connsiteX2" fmla="*/ 452232 w 452231"/>
                <a:gd name="connsiteY2" fmla="*/ 1550083 h 1576942"/>
                <a:gd name="connsiteX3" fmla="*/ 318347 w 452231"/>
                <a:gd name="connsiteY3" fmla="*/ 142810 h 1576942"/>
                <a:gd name="connsiteX4" fmla="*/ 0 w 452231"/>
                <a:gd name="connsiteY4" fmla="*/ 0 h 1576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2231" h="1576942">
                  <a:moveTo>
                    <a:pt x="0" y="0"/>
                  </a:moveTo>
                  <a:cubicBezTo>
                    <a:pt x="0" y="0"/>
                    <a:pt x="157686" y="776529"/>
                    <a:pt x="113057" y="1576860"/>
                  </a:cubicBezTo>
                  <a:cubicBezTo>
                    <a:pt x="113057" y="1576860"/>
                    <a:pt x="374877" y="1579835"/>
                    <a:pt x="452232" y="1550083"/>
                  </a:cubicBezTo>
                  <a:cubicBezTo>
                    <a:pt x="452232" y="1550083"/>
                    <a:pt x="362976" y="193388"/>
                    <a:pt x="318347" y="142810"/>
                  </a:cubicBezTo>
                  <a:cubicBezTo>
                    <a:pt x="273719" y="8925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EE584059-821C-4D4A-B1B9-117CAD226F53}"/>
                </a:ext>
              </a:extLst>
            </p:cNvPr>
            <p:cNvSpPr/>
            <p:nvPr/>
          </p:nvSpPr>
          <p:spPr>
            <a:xfrm>
              <a:off x="18966141" y="2798062"/>
              <a:ext cx="120241" cy="1056198"/>
            </a:xfrm>
            <a:custGeom>
              <a:avLst/>
              <a:gdLst>
                <a:gd name="connsiteX0" fmla="*/ 116034 w 120241"/>
                <a:gd name="connsiteY0" fmla="*/ 1056198 h 1056198"/>
                <a:gd name="connsiteX1" fmla="*/ 110083 w 120241"/>
                <a:gd name="connsiteY1" fmla="*/ 1050248 h 1056198"/>
                <a:gd name="connsiteX2" fmla="*/ 71406 w 120241"/>
                <a:gd name="connsiteY2" fmla="*/ 580165 h 1056198"/>
                <a:gd name="connsiteX3" fmla="*/ 0 w 120241"/>
                <a:gd name="connsiteY3" fmla="*/ 5950 h 1056198"/>
                <a:gd name="connsiteX4" fmla="*/ 2976 w 120241"/>
                <a:gd name="connsiteY4" fmla="*/ 0 h 1056198"/>
                <a:gd name="connsiteX5" fmla="*/ 8925 w 120241"/>
                <a:gd name="connsiteY5" fmla="*/ 2975 h 1056198"/>
                <a:gd name="connsiteX6" fmla="*/ 80331 w 120241"/>
                <a:gd name="connsiteY6" fmla="*/ 577190 h 1056198"/>
                <a:gd name="connsiteX7" fmla="*/ 119008 w 120241"/>
                <a:gd name="connsiteY7" fmla="*/ 1047273 h 1056198"/>
                <a:gd name="connsiteX8" fmla="*/ 116034 w 120241"/>
                <a:gd name="connsiteY8" fmla="*/ 1056198 h 1056198"/>
                <a:gd name="connsiteX9" fmla="*/ 116034 w 120241"/>
                <a:gd name="connsiteY9" fmla="*/ 1056198 h 105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241" h="1056198">
                  <a:moveTo>
                    <a:pt x="116034" y="1056198"/>
                  </a:moveTo>
                  <a:cubicBezTo>
                    <a:pt x="113057" y="1056198"/>
                    <a:pt x="110083" y="1053223"/>
                    <a:pt x="110083" y="1050248"/>
                  </a:cubicBezTo>
                  <a:cubicBezTo>
                    <a:pt x="110083" y="1047273"/>
                    <a:pt x="80331" y="684298"/>
                    <a:pt x="71406" y="580165"/>
                  </a:cubicBezTo>
                  <a:cubicBezTo>
                    <a:pt x="71406" y="574215"/>
                    <a:pt x="5951" y="44628"/>
                    <a:pt x="0" y="5950"/>
                  </a:cubicBezTo>
                  <a:cubicBezTo>
                    <a:pt x="0" y="2975"/>
                    <a:pt x="0" y="0"/>
                    <a:pt x="2976" y="0"/>
                  </a:cubicBezTo>
                  <a:cubicBezTo>
                    <a:pt x="5951" y="0"/>
                    <a:pt x="8925" y="0"/>
                    <a:pt x="8925" y="2975"/>
                  </a:cubicBezTo>
                  <a:cubicBezTo>
                    <a:pt x="17852" y="41653"/>
                    <a:pt x="77356" y="556364"/>
                    <a:pt x="80331" y="577190"/>
                  </a:cubicBezTo>
                  <a:cubicBezTo>
                    <a:pt x="89256" y="681322"/>
                    <a:pt x="119008" y="1044298"/>
                    <a:pt x="119008" y="1047273"/>
                  </a:cubicBezTo>
                  <a:cubicBezTo>
                    <a:pt x="121985" y="1053223"/>
                    <a:pt x="119008" y="1056198"/>
                    <a:pt x="116034" y="1056198"/>
                  </a:cubicBezTo>
                  <a:lnTo>
                    <a:pt x="116034" y="1056198"/>
                  </a:ln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B5F68149-3177-4829-B7F1-B696F2959A16}"/>
                </a:ext>
              </a:extLst>
            </p:cNvPr>
            <p:cNvSpPr/>
            <p:nvPr/>
          </p:nvSpPr>
          <p:spPr>
            <a:xfrm>
              <a:off x="18430604" y="2548144"/>
              <a:ext cx="239249" cy="62479"/>
            </a:xfrm>
            <a:custGeom>
              <a:avLst/>
              <a:gdLst>
                <a:gd name="connsiteX0" fmla="*/ 133884 w 239249"/>
                <a:gd name="connsiteY0" fmla="*/ 62479 h 62479"/>
                <a:gd name="connsiteX1" fmla="*/ 121985 w 239249"/>
                <a:gd name="connsiteY1" fmla="*/ 62479 h 62479"/>
                <a:gd name="connsiteX2" fmla="*/ 50579 w 239249"/>
                <a:gd name="connsiteY2" fmla="*/ 35703 h 62479"/>
                <a:gd name="connsiteX3" fmla="*/ 2976 w 239249"/>
                <a:gd name="connsiteY3" fmla="*/ 11901 h 62479"/>
                <a:gd name="connsiteX4" fmla="*/ 0 w 239249"/>
                <a:gd name="connsiteY4" fmla="*/ 2975 h 62479"/>
                <a:gd name="connsiteX5" fmla="*/ 8925 w 239249"/>
                <a:gd name="connsiteY5" fmla="*/ 0 h 62479"/>
                <a:gd name="connsiteX6" fmla="*/ 56530 w 239249"/>
                <a:gd name="connsiteY6" fmla="*/ 23802 h 62479"/>
                <a:gd name="connsiteX7" fmla="*/ 145786 w 239249"/>
                <a:gd name="connsiteY7" fmla="*/ 50579 h 62479"/>
                <a:gd name="connsiteX8" fmla="*/ 157686 w 239249"/>
                <a:gd name="connsiteY8" fmla="*/ 50579 h 62479"/>
                <a:gd name="connsiteX9" fmla="*/ 205290 w 239249"/>
                <a:gd name="connsiteY9" fmla="*/ 32727 h 62479"/>
                <a:gd name="connsiteX10" fmla="*/ 214215 w 239249"/>
                <a:gd name="connsiteY10" fmla="*/ 26777 h 62479"/>
                <a:gd name="connsiteX11" fmla="*/ 220166 w 239249"/>
                <a:gd name="connsiteY11" fmla="*/ 26777 h 62479"/>
                <a:gd name="connsiteX12" fmla="*/ 229091 w 239249"/>
                <a:gd name="connsiteY12" fmla="*/ 20826 h 62479"/>
                <a:gd name="connsiteX13" fmla="*/ 238017 w 239249"/>
                <a:gd name="connsiteY13" fmla="*/ 23802 h 62479"/>
                <a:gd name="connsiteX14" fmla="*/ 235042 w 239249"/>
                <a:gd name="connsiteY14" fmla="*/ 32727 h 62479"/>
                <a:gd name="connsiteX15" fmla="*/ 211241 w 239249"/>
                <a:gd name="connsiteY15" fmla="*/ 44628 h 62479"/>
                <a:gd name="connsiteX16" fmla="*/ 157686 w 239249"/>
                <a:gd name="connsiteY16" fmla="*/ 62479 h 62479"/>
                <a:gd name="connsiteX17" fmla="*/ 133884 w 239249"/>
                <a:gd name="connsiteY17" fmla="*/ 62479 h 62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9249" h="62479">
                  <a:moveTo>
                    <a:pt x="133884" y="62479"/>
                  </a:moveTo>
                  <a:cubicBezTo>
                    <a:pt x="127934" y="62479"/>
                    <a:pt x="124959" y="62479"/>
                    <a:pt x="121985" y="62479"/>
                  </a:cubicBezTo>
                  <a:cubicBezTo>
                    <a:pt x="104132" y="59504"/>
                    <a:pt x="74380" y="47603"/>
                    <a:pt x="50579" y="35703"/>
                  </a:cubicBezTo>
                  <a:cubicBezTo>
                    <a:pt x="23801" y="23802"/>
                    <a:pt x="2976" y="11901"/>
                    <a:pt x="2976" y="11901"/>
                  </a:cubicBezTo>
                  <a:cubicBezTo>
                    <a:pt x="0" y="8926"/>
                    <a:pt x="0" y="5950"/>
                    <a:pt x="0" y="2975"/>
                  </a:cubicBezTo>
                  <a:cubicBezTo>
                    <a:pt x="2976" y="0"/>
                    <a:pt x="5951" y="0"/>
                    <a:pt x="8925" y="0"/>
                  </a:cubicBezTo>
                  <a:cubicBezTo>
                    <a:pt x="8925" y="0"/>
                    <a:pt x="29752" y="11901"/>
                    <a:pt x="56530" y="23802"/>
                  </a:cubicBezTo>
                  <a:cubicBezTo>
                    <a:pt x="86282" y="35703"/>
                    <a:pt x="121985" y="50579"/>
                    <a:pt x="145786" y="50579"/>
                  </a:cubicBezTo>
                  <a:cubicBezTo>
                    <a:pt x="148760" y="50579"/>
                    <a:pt x="154711" y="50579"/>
                    <a:pt x="157686" y="50579"/>
                  </a:cubicBezTo>
                  <a:cubicBezTo>
                    <a:pt x="175538" y="47603"/>
                    <a:pt x="193388" y="38678"/>
                    <a:pt x="205290" y="32727"/>
                  </a:cubicBezTo>
                  <a:cubicBezTo>
                    <a:pt x="211241" y="29752"/>
                    <a:pt x="214215" y="26777"/>
                    <a:pt x="214215" y="26777"/>
                  </a:cubicBezTo>
                  <a:cubicBezTo>
                    <a:pt x="217190" y="26777"/>
                    <a:pt x="217190" y="23802"/>
                    <a:pt x="220166" y="26777"/>
                  </a:cubicBezTo>
                  <a:cubicBezTo>
                    <a:pt x="226117" y="23802"/>
                    <a:pt x="229091" y="20826"/>
                    <a:pt x="229091" y="20826"/>
                  </a:cubicBezTo>
                  <a:cubicBezTo>
                    <a:pt x="232066" y="17851"/>
                    <a:pt x="235042" y="20826"/>
                    <a:pt x="238017" y="23802"/>
                  </a:cubicBezTo>
                  <a:cubicBezTo>
                    <a:pt x="240993" y="26777"/>
                    <a:pt x="238017" y="29752"/>
                    <a:pt x="235042" y="32727"/>
                  </a:cubicBezTo>
                  <a:cubicBezTo>
                    <a:pt x="235042" y="32727"/>
                    <a:pt x="226117" y="38678"/>
                    <a:pt x="211241" y="44628"/>
                  </a:cubicBezTo>
                  <a:cubicBezTo>
                    <a:pt x="199339" y="50579"/>
                    <a:pt x="181489" y="59504"/>
                    <a:pt x="157686" y="62479"/>
                  </a:cubicBezTo>
                  <a:cubicBezTo>
                    <a:pt x="148760" y="62479"/>
                    <a:pt x="139835" y="62479"/>
                    <a:pt x="133884" y="62479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FB19091D-2F49-48B7-B034-C9154CEFE5A4}"/>
                </a:ext>
              </a:extLst>
            </p:cNvPr>
            <p:cNvSpPr/>
            <p:nvPr/>
          </p:nvSpPr>
          <p:spPr>
            <a:xfrm>
              <a:off x="18107960" y="3827483"/>
              <a:ext cx="209586" cy="243966"/>
            </a:xfrm>
            <a:custGeom>
              <a:avLst/>
              <a:gdLst>
                <a:gd name="connsiteX0" fmla="*/ 37025 w 209586"/>
                <a:gd name="connsiteY0" fmla="*/ 243967 h 243966"/>
                <a:gd name="connsiteX1" fmla="*/ 37025 w 209586"/>
                <a:gd name="connsiteY1" fmla="*/ 243967 h 243966"/>
                <a:gd name="connsiteX2" fmla="*/ 34049 w 209586"/>
                <a:gd name="connsiteY2" fmla="*/ 240992 h 243966"/>
                <a:gd name="connsiteX3" fmla="*/ 1322 w 209586"/>
                <a:gd name="connsiteY3" fmla="*/ 196364 h 243966"/>
                <a:gd name="connsiteX4" fmla="*/ 1322 w 209586"/>
                <a:gd name="connsiteY4" fmla="*/ 190413 h 243966"/>
                <a:gd name="connsiteX5" fmla="*/ 147108 w 209586"/>
                <a:gd name="connsiteY5" fmla="*/ 2975 h 243966"/>
                <a:gd name="connsiteX6" fmla="*/ 150082 w 209586"/>
                <a:gd name="connsiteY6" fmla="*/ 0 h 243966"/>
                <a:gd name="connsiteX7" fmla="*/ 156033 w 209586"/>
                <a:gd name="connsiteY7" fmla="*/ 0 h 243966"/>
                <a:gd name="connsiteX8" fmla="*/ 206612 w 209586"/>
                <a:gd name="connsiteY8" fmla="*/ 29752 h 243966"/>
                <a:gd name="connsiteX9" fmla="*/ 209586 w 209586"/>
                <a:gd name="connsiteY9" fmla="*/ 35702 h 243966"/>
                <a:gd name="connsiteX10" fmla="*/ 42976 w 209586"/>
                <a:gd name="connsiteY10" fmla="*/ 240992 h 243966"/>
                <a:gd name="connsiteX11" fmla="*/ 37025 w 209586"/>
                <a:gd name="connsiteY11" fmla="*/ 243967 h 243966"/>
                <a:gd name="connsiteX12" fmla="*/ 13224 w 209586"/>
                <a:gd name="connsiteY12" fmla="*/ 196364 h 243966"/>
                <a:gd name="connsiteX13" fmla="*/ 39999 w 209586"/>
                <a:gd name="connsiteY13" fmla="*/ 232066 h 243966"/>
                <a:gd name="connsiteX14" fmla="*/ 194710 w 209586"/>
                <a:gd name="connsiteY14" fmla="*/ 38678 h 243966"/>
                <a:gd name="connsiteX15" fmla="*/ 156033 w 209586"/>
                <a:gd name="connsiteY15" fmla="*/ 14876 h 243966"/>
                <a:gd name="connsiteX16" fmla="*/ 13224 w 209586"/>
                <a:gd name="connsiteY16" fmla="*/ 196364 h 24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9586" h="243966">
                  <a:moveTo>
                    <a:pt x="37025" y="243967"/>
                  </a:moveTo>
                  <a:cubicBezTo>
                    <a:pt x="37025" y="243967"/>
                    <a:pt x="37025" y="243967"/>
                    <a:pt x="37025" y="243967"/>
                  </a:cubicBezTo>
                  <a:cubicBezTo>
                    <a:pt x="34049" y="243967"/>
                    <a:pt x="34049" y="243967"/>
                    <a:pt x="34049" y="240992"/>
                  </a:cubicBezTo>
                  <a:lnTo>
                    <a:pt x="1322" y="196364"/>
                  </a:lnTo>
                  <a:cubicBezTo>
                    <a:pt x="-1652" y="193388"/>
                    <a:pt x="1322" y="190413"/>
                    <a:pt x="1322" y="190413"/>
                  </a:cubicBezTo>
                  <a:cubicBezTo>
                    <a:pt x="1322" y="190413"/>
                    <a:pt x="132232" y="53554"/>
                    <a:pt x="147108" y="2975"/>
                  </a:cubicBezTo>
                  <a:cubicBezTo>
                    <a:pt x="147108" y="0"/>
                    <a:pt x="150082" y="0"/>
                    <a:pt x="150082" y="0"/>
                  </a:cubicBezTo>
                  <a:cubicBezTo>
                    <a:pt x="150082" y="0"/>
                    <a:pt x="153057" y="0"/>
                    <a:pt x="156033" y="0"/>
                  </a:cubicBezTo>
                  <a:lnTo>
                    <a:pt x="206612" y="29752"/>
                  </a:lnTo>
                  <a:cubicBezTo>
                    <a:pt x="209586" y="29752"/>
                    <a:pt x="209586" y="35702"/>
                    <a:pt x="209586" y="35702"/>
                  </a:cubicBezTo>
                  <a:cubicBezTo>
                    <a:pt x="209586" y="35702"/>
                    <a:pt x="150082" y="157686"/>
                    <a:pt x="42976" y="240992"/>
                  </a:cubicBezTo>
                  <a:cubicBezTo>
                    <a:pt x="39999" y="243967"/>
                    <a:pt x="39999" y="243967"/>
                    <a:pt x="37025" y="243967"/>
                  </a:cubicBezTo>
                  <a:close/>
                  <a:moveTo>
                    <a:pt x="13224" y="196364"/>
                  </a:moveTo>
                  <a:lnTo>
                    <a:pt x="39999" y="232066"/>
                  </a:lnTo>
                  <a:cubicBezTo>
                    <a:pt x="129256" y="160661"/>
                    <a:pt x="182809" y="62479"/>
                    <a:pt x="194710" y="38678"/>
                  </a:cubicBezTo>
                  <a:lnTo>
                    <a:pt x="156033" y="14876"/>
                  </a:lnTo>
                  <a:cubicBezTo>
                    <a:pt x="132232" y="65454"/>
                    <a:pt x="31074" y="175537"/>
                    <a:pt x="13224" y="196364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21A1E860-0D02-468C-B602-E4A4362E4A6A}"/>
                </a:ext>
              </a:extLst>
            </p:cNvPr>
            <p:cNvSpPr/>
            <p:nvPr/>
          </p:nvSpPr>
          <p:spPr>
            <a:xfrm>
              <a:off x="22150315" y="6314756"/>
              <a:ext cx="2287232" cy="297520"/>
            </a:xfrm>
            <a:custGeom>
              <a:avLst/>
              <a:gdLst>
                <a:gd name="connsiteX0" fmla="*/ 618140 w 2287232"/>
                <a:gd name="connsiteY0" fmla="*/ 297521 h 297520"/>
                <a:gd name="connsiteX1" fmla="*/ 2287233 w 2287232"/>
                <a:gd name="connsiteY1" fmla="*/ 297521 h 297520"/>
                <a:gd name="connsiteX2" fmla="*/ 2287233 w 2287232"/>
                <a:gd name="connsiteY2" fmla="*/ 246942 h 297520"/>
                <a:gd name="connsiteX3" fmla="*/ 618140 w 2287232"/>
                <a:gd name="connsiteY3" fmla="*/ 246942 h 297520"/>
                <a:gd name="connsiteX4" fmla="*/ 267066 w 2287232"/>
                <a:gd name="connsiteY4" fmla="*/ 166611 h 297520"/>
                <a:gd name="connsiteX5" fmla="*/ 5249 w 2287232"/>
                <a:gd name="connsiteY5" fmla="*/ 0 h 297520"/>
                <a:gd name="connsiteX6" fmla="*/ 5249 w 2287232"/>
                <a:gd name="connsiteY6" fmla="*/ 0 h 297520"/>
                <a:gd name="connsiteX7" fmla="*/ 26075 w 2287232"/>
                <a:gd name="connsiteY7" fmla="*/ 71405 h 297520"/>
                <a:gd name="connsiteX8" fmla="*/ 246240 w 2287232"/>
                <a:gd name="connsiteY8" fmla="*/ 211239 h 297520"/>
                <a:gd name="connsiteX9" fmla="*/ 618140 w 2287232"/>
                <a:gd name="connsiteY9" fmla="*/ 297521 h 297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7232" h="297520">
                  <a:moveTo>
                    <a:pt x="618140" y="297521"/>
                  </a:moveTo>
                  <a:lnTo>
                    <a:pt x="2287233" y="297521"/>
                  </a:lnTo>
                  <a:lnTo>
                    <a:pt x="2287233" y="246942"/>
                  </a:lnTo>
                  <a:lnTo>
                    <a:pt x="618140" y="246942"/>
                  </a:lnTo>
                  <a:cubicBezTo>
                    <a:pt x="499132" y="246942"/>
                    <a:pt x="374175" y="226115"/>
                    <a:pt x="267066" y="166611"/>
                  </a:cubicBezTo>
                  <a:cubicBezTo>
                    <a:pt x="198637" y="127934"/>
                    <a:pt x="5249" y="0"/>
                    <a:pt x="5249" y="0"/>
                  </a:cubicBezTo>
                  <a:lnTo>
                    <a:pt x="5249" y="0"/>
                  </a:lnTo>
                  <a:cubicBezTo>
                    <a:pt x="-6653" y="26777"/>
                    <a:pt x="2274" y="56529"/>
                    <a:pt x="26075" y="71405"/>
                  </a:cubicBezTo>
                  <a:cubicBezTo>
                    <a:pt x="26075" y="71405"/>
                    <a:pt x="189712" y="178512"/>
                    <a:pt x="246240" y="211239"/>
                  </a:cubicBezTo>
                  <a:cubicBezTo>
                    <a:pt x="356323" y="273719"/>
                    <a:pt x="490207" y="297521"/>
                    <a:pt x="618140" y="297521"/>
                  </a:cubicBezTo>
                  <a:close/>
                </a:path>
              </a:pathLst>
            </a:custGeom>
            <a:solidFill>
              <a:srgbClr val="C45651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1192BA58-7F72-43DB-BFCD-B2642433C9F2}"/>
                </a:ext>
              </a:extLst>
            </p:cNvPr>
            <p:cNvSpPr/>
            <p:nvPr/>
          </p:nvSpPr>
          <p:spPr>
            <a:xfrm>
              <a:off x="22804860" y="6314756"/>
              <a:ext cx="2287232" cy="297520"/>
            </a:xfrm>
            <a:custGeom>
              <a:avLst/>
              <a:gdLst>
                <a:gd name="connsiteX0" fmla="*/ 618140 w 2287232"/>
                <a:gd name="connsiteY0" fmla="*/ 297521 h 297520"/>
                <a:gd name="connsiteX1" fmla="*/ 2287233 w 2287232"/>
                <a:gd name="connsiteY1" fmla="*/ 297521 h 297520"/>
                <a:gd name="connsiteX2" fmla="*/ 2287233 w 2287232"/>
                <a:gd name="connsiteY2" fmla="*/ 246942 h 297520"/>
                <a:gd name="connsiteX3" fmla="*/ 618140 w 2287232"/>
                <a:gd name="connsiteY3" fmla="*/ 246942 h 297520"/>
                <a:gd name="connsiteX4" fmla="*/ 267066 w 2287232"/>
                <a:gd name="connsiteY4" fmla="*/ 166611 h 297520"/>
                <a:gd name="connsiteX5" fmla="*/ 5249 w 2287232"/>
                <a:gd name="connsiteY5" fmla="*/ 0 h 297520"/>
                <a:gd name="connsiteX6" fmla="*/ 5249 w 2287232"/>
                <a:gd name="connsiteY6" fmla="*/ 0 h 297520"/>
                <a:gd name="connsiteX7" fmla="*/ 26075 w 2287232"/>
                <a:gd name="connsiteY7" fmla="*/ 71405 h 297520"/>
                <a:gd name="connsiteX8" fmla="*/ 246240 w 2287232"/>
                <a:gd name="connsiteY8" fmla="*/ 211239 h 297520"/>
                <a:gd name="connsiteX9" fmla="*/ 618140 w 2287232"/>
                <a:gd name="connsiteY9" fmla="*/ 297521 h 297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7232" h="297520">
                  <a:moveTo>
                    <a:pt x="618140" y="297521"/>
                  </a:moveTo>
                  <a:lnTo>
                    <a:pt x="2287233" y="297521"/>
                  </a:lnTo>
                  <a:lnTo>
                    <a:pt x="2287233" y="246942"/>
                  </a:lnTo>
                  <a:lnTo>
                    <a:pt x="618140" y="246942"/>
                  </a:lnTo>
                  <a:cubicBezTo>
                    <a:pt x="499132" y="246942"/>
                    <a:pt x="374175" y="226115"/>
                    <a:pt x="267066" y="166611"/>
                  </a:cubicBezTo>
                  <a:cubicBezTo>
                    <a:pt x="198637" y="127934"/>
                    <a:pt x="5249" y="0"/>
                    <a:pt x="5249" y="0"/>
                  </a:cubicBezTo>
                  <a:lnTo>
                    <a:pt x="5249" y="0"/>
                  </a:lnTo>
                  <a:cubicBezTo>
                    <a:pt x="-6653" y="26777"/>
                    <a:pt x="2274" y="56529"/>
                    <a:pt x="26075" y="71405"/>
                  </a:cubicBezTo>
                  <a:cubicBezTo>
                    <a:pt x="26075" y="71405"/>
                    <a:pt x="189712" y="178512"/>
                    <a:pt x="246240" y="211239"/>
                  </a:cubicBezTo>
                  <a:cubicBezTo>
                    <a:pt x="359299" y="273719"/>
                    <a:pt x="490207" y="297521"/>
                    <a:pt x="618140" y="297521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A72C34EB-F693-4627-A79F-EF87771ED5BA}"/>
                </a:ext>
              </a:extLst>
            </p:cNvPr>
            <p:cNvGrpSpPr/>
            <p:nvPr/>
          </p:nvGrpSpPr>
          <p:grpSpPr>
            <a:xfrm>
              <a:off x="24941172" y="3003351"/>
              <a:ext cx="1805134" cy="1204143"/>
              <a:chOff x="24941172" y="3003351"/>
              <a:chExt cx="1805134" cy="1204143"/>
            </a:xfrm>
          </p:grpSpPr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F500F235-4593-4A4E-833C-2807F10156B7}"/>
                  </a:ext>
                </a:extLst>
              </p:cNvPr>
              <p:cNvSpPr/>
              <p:nvPr/>
            </p:nvSpPr>
            <p:spPr>
              <a:xfrm>
                <a:off x="25020687" y="3015252"/>
                <a:ext cx="1725619" cy="1136528"/>
              </a:xfrm>
              <a:custGeom>
                <a:avLst/>
                <a:gdLst>
                  <a:gd name="connsiteX0" fmla="*/ 1710744 w 1725619"/>
                  <a:gd name="connsiteY0" fmla="*/ 0 h 1136528"/>
                  <a:gd name="connsiteX1" fmla="*/ 1725620 w 1725619"/>
                  <a:gd name="connsiteY1" fmla="*/ 20826 h 1136528"/>
                  <a:gd name="connsiteX2" fmla="*/ 26778 w 1725619"/>
                  <a:gd name="connsiteY2" fmla="*/ 1136529 h 1136528"/>
                  <a:gd name="connsiteX3" fmla="*/ 0 w 1725619"/>
                  <a:gd name="connsiteY3" fmla="*/ 1094876 h 1136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5619" h="1136528">
                    <a:moveTo>
                      <a:pt x="1710744" y="0"/>
                    </a:moveTo>
                    <a:lnTo>
                      <a:pt x="1725620" y="20826"/>
                    </a:lnTo>
                    <a:lnTo>
                      <a:pt x="26778" y="1136529"/>
                    </a:lnTo>
                    <a:lnTo>
                      <a:pt x="0" y="1094876"/>
                    </a:lnTo>
                    <a:close/>
                  </a:path>
                </a:pathLst>
              </a:custGeom>
              <a:solidFill>
                <a:srgbClr val="F1DDB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6F31BFBC-71A9-4955-AC6A-55FFC3529D26}"/>
                  </a:ext>
                </a:extLst>
              </p:cNvPr>
              <p:cNvSpPr/>
              <p:nvPr/>
            </p:nvSpPr>
            <p:spPr>
              <a:xfrm>
                <a:off x="26370109" y="3003351"/>
                <a:ext cx="252561" cy="361322"/>
              </a:xfrm>
              <a:custGeom>
                <a:avLst/>
                <a:gdLst>
                  <a:gd name="connsiteX0" fmla="*/ 48925 w 252561"/>
                  <a:gd name="connsiteY0" fmla="*/ 11901 h 361322"/>
                  <a:gd name="connsiteX1" fmla="*/ 248265 w 252561"/>
                  <a:gd name="connsiteY1" fmla="*/ 321322 h 361322"/>
                  <a:gd name="connsiteX2" fmla="*/ 239339 w 252561"/>
                  <a:gd name="connsiteY2" fmla="*/ 357025 h 361322"/>
                  <a:gd name="connsiteX3" fmla="*/ 239339 w 252561"/>
                  <a:gd name="connsiteY3" fmla="*/ 357025 h 361322"/>
                  <a:gd name="connsiteX4" fmla="*/ 203636 w 252561"/>
                  <a:gd name="connsiteY4" fmla="*/ 348099 h 361322"/>
                  <a:gd name="connsiteX5" fmla="*/ 4297 w 252561"/>
                  <a:gd name="connsiteY5" fmla="*/ 38678 h 361322"/>
                  <a:gd name="connsiteX6" fmla="*/ 13222 w 252561"/>
                  <a:gd name="connsiteY6" fmla="*/ 2975 h 361322"/>
                  <a:gd name="connsiteX7" fmla="*/ 13222 w 252561"/>
                  <a:gd name="connsiteY7" fmla="*/ 2975 h 361322"/>
                  <a:gd name="connsiteX8" fmla="*/ 48925 w 252561"/>
                  <a:gd name="connsiteY8" fmla="*/ 11901 h 361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2561" h="361322">
                    <a:moveTo>
                      <a:pt x="48925" y="11901"/>
                    </a:moveTo>
                    <a:lnTo>
                      <a:pt x="248265" y="321322"/>
                    </a:lnTo>
                    <a:cubicBezTo>
                      <a:pt x="257190" y="333223"/>
                      <a:pt x="251239" y="348099"/>
                      <a:pt x="239339" y="357025"/>
                    </a:cubicBezTo>
                    <a:lnTo>
                      <a:pt x="239339" y="357025"/>
                    </a:lnTo>
                    <a:cubicBezTo>
                      <a:pt x="227438" y="365950"/>
                      <a:pt x="212562" y="360000"/>
                      <a:pt x="203636" y="348099"/>
                    </a:cubicBezTo>
                    <a:lnTo>
                      <a:pt x="4297" y="38678"/>
                    </a:lnTo>
                    <a:cubicBezTo>
                      <a:pt x="-4628" y="26777"/>
                      <a:pt x="1323" y="11901"/>
                      <a:pt x="13222" y="2975"/>
                    </a:cubicBezTo>
                    <a:lnTo>
                      <a:pt x="13222" y="2975"/>
                    </a:lnTo>
                    <a:cubicBezTo>
                      <a:pt x="25124" y="-2975"/>
                      <a:pt x="40000" y="0"/>
                      <a:pt x="48925" y="11901"/>
                    </a:cubicBezTo>
                    <a:close/>
                  </a:path>
                </a:pathLst>
              </a:custGeom>
              <a:solidFill>
                <a:srgbClr val="F1DDB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3BEF6AFD-E02A-4D87-B69A-222EBC646128}"/>
                  </a:ext>
                </a:extLst>
              </p:cNvPr>
              <p:cNvSpPr/>
              <p:nvPr/>
            </p:nvSpPr>
            <p:spPr>
              <a:xfrm>
                <a:off x="24941172" y="3965881"/>
                <a:ext cx="322666" cy="241613"/>
              </a:xfrm>
              <a:custGeom>
                <a:avLst/>
                <a:gdLst>
                  <a:gd name="connsiteX0" fmla="*/ 314557 w 322666"/>
                  <a:gd name="connsiteY0" fmla="*/ 22263 h 241613"/>
                  <a:gd name="connsiteX1" fmla="*/ 314557 w 322666"/>
                  <a:gd name="connsiteY1" fmla="*/ 22263 h 241613"/>
                  <a:gd name="connsiteX2" fmla="*/ 299681 w 322666"/>
                  <a:gd name="connsiteY2" fmla="*/ 90693 h 241613"/>
                  <a:gd name="connsiteX3" fmla="*/ 76540 w 322666"/>
                  <a:gd name="connsiteY3" fmla="*/ 233503 h 241613"/>
                  <a:gd name="connsiteX4" fmla="*/ 8111 w 322666"/>
                  <a:gd name="connsiteY4" fmla="*/ 218627 h 241613"/>
                  <a:gd name="connsiteX5" fmla="*/ 8111 w 322666"/>
                  <a:gd name="connsiteY5" fmla="*/ 218627 h 241613"/>
                  <a:gd name="connsiteX6" fmla="*/ 22987 w 322666"/>
                  <a:gd name="connsiteY6" fmla="*/ 150197 h 241613"/>
                  <a:gd name="connsiteX7" fmla="*/ 246127 w 322666"/>
                  <a:gd name="connsiteY7" fmla="*/ 7387 h 241613"/>
                  <a:gd name="connsiteX8" fmla="*/ 314557 w 322666"/>
                  <a:gd name="connsiteY8" fmla="*/ 22263 h 241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2666" h="241613">
                    <a:moveTo>
                      <a:pt x="314557" y="22263"/>
                    </a:moveTo>
                    <a:lnTo>
                      <a:pt x="314557" y="22263"/>
                    </a:lnTo>
                    <a:cubicBezTo>
                      <a:pt x="329433" y="46065"/>
                      <a:pt x="323482" y="75817"/>
                      <a:pt x="299681" y="90693"/>
                    </a:cubicBezTo>
                    <a:lnTo>
                      <a:pt x="76540" y="233503"/>
                    </a:lnTo>
                    <a:cubicBezTo>
                      <a:pt x="52739" y="248379"/>
                      <a:pt x="22987" y="242428"/>
                      <a:pt x="8111" y="218627"/>
                    </a:cubicBezTo>
                    <a:lnTo>
                      <a:pt x="8111" y="218627"/>
                    </a:lnTo>
                    <a:cubicBezTo>
                      <a:pt x="-6765" y="194825"/>
                      <a:pt x="-816" y="165073"/>
                      <a:pt x="22987" y="150197"/>
                    </a:cubicBezTo>
                    <a:lnTo>
                      <a:pt x="246127" y="7387"/>
                    </a:lnTo>
                    <a:cubicBezTo>
                      <a:pt x="269929" y="-7489"/>
                      <a:pt x="299681" y="1437"/>
                      <a:pt x="314557" y="22263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B6CF1919-EA80-43D0-AE74-38CEA46A4310}"/>
                </a:ext>
              </a:extLst>
            </p:cNvPr>
            <p:cNvSpPr/>
            <p:nvPr/>
          </p:nvSpPr>
          <p:spPr>
            <a:xfrm>
              <a:off x="19857578" y="4334012"/>
              <a:ext cx="571621" cy="397933"/>
            </a:xfrm>
            <a:custGeom>
              <a:avLst/>
              <a:gdLst>
                <a:gd name="connsiteX0" fmla="*/ 4102 w 571621"/>
                <a:gd name="connsiteY0" fmla="*/ 133141 h 397933"/>
                <a:gd name="connsiteX1" fmla="*/ 51704 w 571621"/>
                <a:gd name="connsiteY1" fmla="*/ 121240 h 397933"/>
                <a:gd name="connsiteX2" fmla="*/ 126084 w 571621"/>
                <a:gd name="connsiteY2" fmla="*/ 162893 h 397933"/>
                <a:gd name="connsiteX3" fmla="*/ 262943 w 571621"/>
                <a:gd name="connsiteY3" fmla="*/ 106364 h 397933"/>
                <a:gd name="connsiteX4" fmla="*/ 227242 w 571621"/>
                <a:gd name="connsiteY4" fmla="*/ 76612 h 397933"/>
                <a:gd name="connsiteX5" fmla="*/ 215341 w 571621"/>
                <a:gd name="connsiteY5" fmla="*/ 52810 h 397933"/>
                <a:gd name="connsiteX6" fmla="*/ 224266 w 571621"/>
                <a:gd name="connsiteY6" fmla="*/ 29008 h 397933"/>
                <a:gd name="connsiteX7" fmla="*/ 248067 w 571621"/>
                <a:gd name="connsiteY7" fmla="*/ 17107 h 397933"/>
                <a:gd name="connsiteX8" fmla="*/ 271870 w 571621"/>
                <a:gd name="connsiteY8" fmla="*/ 26033 h 397933"/>
                <a:gd name="connsiteX9" fmla="*/ 334349 w 571621"/>
                <a:gd name="connsiteY9" fmla="*/ 79587 h 397933"/>
                <a:gd name="connsiteX10" fmla="*/ 524763 w 571621"/>
                <a:gd name="connsiteY10" fmla="*/ 2231 h 397933"/>
                <a:gd name="connsiteX11" fmla="*/ 569391 w 571621"/>
                <a:gd name="connsiteY11" fmla="*/ 20083 h 397933"/>
                <a:gd name="connsiteX12" fmla="*/ 569391 w 571621"/>
                <a:gd name="connsiteY12" fmla="*/ 46859 h 397933"/>
                <a:gd name="connsiteX13" fmla="*/ 551539 w 571621"/>
                <a:gd name="connsiteY13" fmla="*/ 64711 h 397933"/>
                <a:gd name="connsiteX14" fmla="*/ 230217 w 571621"/>
                <a:gd name="connsiteY14" fmla="*/ 192645 h 397933"/>
                <a:gd name="connsiteX15" fmla="*/ 200464 w 571621"/>
                <a:gd name="connsiteY15" fmla="*/ 368182 h 397933"/>
                <a:gd name="connsiteX16" fmla="*/ 161787 w 571621"/>
                <a:gd name="connsiteY16" fmla="*/ 397934 h 397933"/>
                <a:gd name="connsiteX17" fmla="*/ 161787 w 571621"/>
                <a:gd name="connsiteY17" fmla="*/ 397934 h 397933"/>
                <a:gd name="connsiteX18" fmla="*/ 132035 w 571621"/>
                <a:gd name="connsiteY18" fmla="*/ 359256 h 397933"/>
                <a:gd name="connsiteX19" fmla="*/ 155836 w 571621"/>
                <a:gd name="connsiteY19" fmla="*/ 222397 h 397933"/>
                <a:gd name="connsiteX20" fmla="*/ 75505 w 571621"/>
                <a:gd name="connsiteY20" fmla="*/ 255124 h 397933"/>
                <a:gd name="connsiteX21" fmla="*/ 30877 w 571621"/>
                <a:gd name="connsiteY21" fmla="*/ 237273 h 397933"/>
                <a:gd name="connsiteX22" fmla="*/ 45753 w 571621"/>
                <a:gd name="connsiteY22" fmla="*/ 195620 h 397933"/>
                <a:gd name="connsiteX23" fmla="*/ 18978 w 571621"/>
                <a:gd name="connsiteY23" fmla="*/ 180744 h 397933"/>
                <a:gd name="connsiteX24" fmla="*/ 4102 w 571621"/>
                <a:gd name="connsiteY24" fmla="*/ 133141 h 397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71621" h="397933">
                  <a:moveTo>
                    <a:pt x="4102" y="133141"/>
                  </a:moveTo>
                  <a:cubicBezTo>
                    <a:pt x="13027" y="115289"/>
                    <a:pt x="33854" y="109339"/>
                    <a:pt x="51704" y="121240"/>
                  </a:cubicBezTo>
                  <a:lnTo>
                    <a:pt x="126084" y="162893"/>
                  </a:lnTo>
                  <a:lnTo>
                    <a:pt x="262943" y="106364"/>
                  </a:lnTo>
                  <a:lnTo>
                    <a:pt x="227242" y="76612"/>
                  </a:lnTo>
                  <a:cubicBezTo>
                    <a:pt x="221291" y="70661"/>
                    <a:pt x="215341" y="61736"/>
                    <a:pt x="215341" y="52810"/>
                  </a:cubicBezTo>
                  <a:cubicBezTo>
                    <a:pt x="215341" y="43884"/>
                    <a:pt x="218315" y="34959"/>
                    <a:pt x="224266" y="29008"/>
                  </a:cubicBezTo>
                  <a:cubicBezTo>
                    <a:pt x="230217" y="23058"/>
                    <a:pt x="239142" y="17107"/>
                    <a:pt x="248067" y="17107"/>
                  </a:cubicBezTo>
                  <a:cubicBezTo>
                    <a:pt x="256994" y="17107"/>
                    <a:pt x="265919" y="20083"/>
                    <a:pt x="271870" y="26033"/>
                  </a:cubicBezTo>
                  <a:lnTo>
                    <a:pt x="334349" y="79587"/>
                  </a:lnTo>
                  <a:lnTo>
                    <a:pt x="524763" y="2231"/>
                  </a:lnTo>
                  <a:cubicBezTo>
                    <a:pt x="542613" y="-3719"/>
                    <a:pt x="563440" y="2231"/>
                    <a:pt x="569391" y="20083"/>
                  </a:cubicBezTo>
                  <a:cubicBezTo>
                    <a:pt x="572365" y="29008"/>
                    <a:pt x="572365" y="37934"/>
                    <a:pt x="569391" y="46859"/>
                  </a:cubicBezTo>
                  <a:cubicBezTo>
                    <a:pt x="566415" y="55785"/>
                    <a:pt x="560464" y="61736"/>
                    <a:pt x="551539" y="64711"/>
                  </a:cubicBezTo>
                  <a:lnTo>
                    <a:pt x="230217" y="192645"/>
                  </a:lnTo>
                  <a:lnTo>
                    <a:pt x="200464" y="368182"/>
                  </a:lnTo>
                  <a:cubicBezTo>
                    <a:pt x="197490" y="386033"/>
                    <a:pt x="179638" y="397934"/>
                    <a:pt x="161787" y="397934"/>
                  </a:cubicBezTo>
                  <a:lnTo>
                    <a:pt x="161787" y="397934"/>
                  </a:lnTo>
                  <a:cubicBezTo>
                    <a:pt x="143935" y="394959"/>
                    <a:pt x="129059" y="377107"/>
                    <a:pt x="132035" y="359256"/>
                  </a:cubicBezTo>
                  <a:lnTo>
                    <a:pt x="155836" y="222397"/>
                  </a:lnTo>
                  <a:lnTo>
                    <a:pt x="75505" y="255124"/>
                  </a:lnTo>
                  <a:cubicBezTo>
                    <a:pt x="57655" y="261074"/>
                    <a:pt x="36828" y="252149"/>
                    <a:pt x="30877" y="237273"/>
                  </a:cubicBezTo>
                  <a:cubicBezTo>
                    <a:pt x="24927" y="222397"/>
                    <a:pt x="30877" y="201570"/>
                    <a:pt x="45753" y="195620"/>
                  </a:cubicBezTo>
                  <a:lnTo>
                    <a:pt x="18978" y="180744"/>
                  </a:lnTo>
                  <a:cubicBezTo>
                    <a:pt x="1125" y="171818"/>
                    <a:pt x="-4826" y="150992"/>
                    <a:pt x="4102" y="133141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78B8B209-92BA-4F5D-B866-75CA4736394C}"/>
                </a:ext>
              </a:extLst>
            </p:cNvPr>
            <p:cNvSpPr/>
            <p:nvPr/>
          </p:nvSpPr>
          <p:spPr>
            <a:xfrm>
              <a:off x="20043167" y="4865830"/>
              <a:ext cx="1767273" cy="1767272"/>
            </a:xfrm>
            <a:custGeom>
              <a:avLst/>
              <a:gdLst>
                <a:gd name="connsiteX0" fmla="*/ 0 w 1767273"/>
                <a:gd name="connsiteY0" fmla="*/ 883637 h 1767272"/>
                <a:gd name="connsiteX1" fmla="*/ 883637 w 1767273"/>
                <a:gd name="connsiteY1" fmla="*/ 1767273 h 1767272"/>
                <a:gd name="connsiteX2" fmla="*/ 1767274 w 1767273"/>
                <a:gd name="connsiteY2" fmla="*/ 883637 h 1767272"/>
                <a:gd name="connsiteX3" fmla="*/ 883637 w 1767273"/>
                <a:gd name="connsiteY3" fmla="*/ 0 h 1767272"/>
                <a:gd name="connsiteX4" fmla="*/ 0 w 1767273"/>
                <a:gd name="connsiteY4" fmla="*/ 883637 h 1767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7273" h="1767272">
                  <a:moveTo>
                    <a:pt x="0" y="883637"/>
                  </a:moveTo>
                  <a:cubicBezTo>
                    <a:pt x="0" y="1371570"/>
                    <a:pt x="395702" y="1767273"/>
                    <a:pt x="883637" y="1767273"/>
                  </a:cubicBezTo>
                  <a:cubicBezTo>
                    <a:pt x="1371570" y="1767273"/>
                    <a:pt x="1767274" y="1371570"/>
                    <a:pt x="1767274" y="883637"/>
                  </a:cubicBezTo>
                  <a:cubicBezTo>
                    <a:pt x="1767274" y="395702"/>
                    <a:pt x="1371570" y="0"/>
                    <a:pt x="883637" y="0"/>
                  </a:cubicBezTo>
                  <a:cubicBezTo>
                    <a:pt x="395702" y="0"/>
                    <a:pt x="0" y="395702"/>
                    <a:pt x="0" y="883637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9F00CDA3-984E-4E78-9B35-9F89C0995E52}"/>
                </a:ext>
              </a:extLst>
            </p:cNvPr>
            <p:cNvSpPr/>
            <p:nvPr/>
          </p:nvSpPr>
          <p:spPr>
            <a:xfrm>
              <a:off x="20299034" y="3818558"/>
              <a:ext cx="1255537" cy="1255537"/>
            </a:xfrm>
            <a:custGeom>
              <a:avLst/>
              <a:gdLst>
                <a:gd name="connsiteX0" fmla="*/ 0 w 1255537"/>
                <a:gd name="connsiteY0" fmla="*/ 627769 h 1255537"/>
                <a:gd name="connsiteX1" fmla="*/ 627770 w 1255537"/>
                <a:gd name="connsiteY1" fmla="*/ 1255537 h 1255537"/>
                <a:gd name="connsiteX2" fmla="*/ 1255538 w 1255537"/>
                <a:gd name="connsiteY2" fmla="*/ 627769 h 1255537"/>
                <a:gd name="connsiteX3" fmla="*/ 627770 w 1255537"/>
                <a:gd name="connsiteY3" fmla="*/ 0 h 1255537"/>
                <a:gd name="connsiteX4" fmla="*/ 0 w 1255537"/>
                <a:gd name="connsiteY4" fmla="*/ 627769 h 1255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5537" h="1255537">
                  <a:moveTo>
                    <a:pt x="0" y="627769"/>
                  </a:moveTo>
                  <a:cubicBezTo>
                    <a:pt x="0" y="975868"/>
                    <a:pt x="279670" y="1255537"/>
                    <a:pt x="627770" y="1255537"/>
                  </a:cubicBezTo>
                  <a:cubicBezTo>
                    <a:pt x="975869" y="1255537"/>
                    <a:pt x="1255538" y="975868"/>
                    <a:pt x="1255538" y="627769"/>
                  </a:cubicBezTo>
                  <a:cubicBezTo>
                    <a:pt x="1255538" y="279669"/>
                    <a:pt x="975869" y="0"/>
                    <a:pt x="627770" y="0"/>
                  </a:cubicBezTo>
                  <a:cubicBezTo>
                    <a:pt x="279670" y="0"/>
                    <a:pt x="0" y="282645"/>
                    <a:pt x="0" y="627769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1D5474CC-AC47-4924-A151-B65680853829}"/>
                </a:ext>
              </a:extLst>
            </p:cNvPr>
            <p:cNvSpPr/>
            <p:nvPr/>
          </p:nvSpPr>
          <p:spPr>
            <a:xfrm>
              <a:off x="20733415" y="4166657"/>
              <a:ext cx="101155" cy="101157"/>
            </a:xfrm>
            <a:custGeom>
              <a:avLst/>
              <a:gdLst>
                <a:gd name="connsiteX0" fmla="*/ 50579 w 101155"/>
                <a:gd name="connsiteY0" fmla="*/ 0 h 101157"/>
                <a:gd name="connsiteX1" fmla="*/ 101156 w 101155"/>
                <a:gd name="connsiteY1" fmla="*/ 50578 h 101157"/>
                <a:gd name="connsiteX2" fmla="*/ 50579 w 101155"/>
                <a:gd name="connsiteY2" fmla="*/ 101157 h 101157"/>
                <a:gd name="connsiteX3" fmla="*/ 0 w 101155"/>
                <a:gd name="connsiteY3" fmla="*/ 50578 h 101157"/>
                <a:gd name="connsiteX4" fmla="*/ 50579 w 101155"/>
                <a:gd name="connsiteY4" fmla="*/ 0 h 10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155" h="101157">
                  <a:moveTo>
                    <a:pt x="50579" y="0"/>
                  </a:moveTo>
                  <a:cubicBezTo>
                    <a:pt x="77355" y="0"/>
                    <a:pt x="101156" y="23802"/>
                    <a:pt x="101156" y="50578"/>
                  </a:cubicBezTo>
                  <a:cubicBezTo>
                    <a:pt x="101156" y="77355"/>
                    <a:pt x="77355" y="101157"/>
                    <a:pt x="50579" y="101157"/>
                  </a:cubicBezTo>
                  <a:cubicBezTo>
                    <a:pt x="23801" y="101157"/>
                    <a:pt x="0" y="77355"/>
                    <a:pt x="0" y="50578"/>
                  </a:cubicBezTo>
                  <a:cubicBezTo>
                    <a:pt x="0" y="23802"/>
                    <a:pt x="23801" y="0"/>
                    <a:pt x="50579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F5C78AC3-3317-49D5-A83F-5042CD6AC365}"/>
                </a:ext>
              </a:extLst>
            </p:cNvPr>
            <p:cNvSpPr/>
            <p:nvPr/>
          </p:nvSpPr>
          <p:spPr>
            <a:xfrm>
              <a:off x="20754242" y="5118723"/>
              <a:ext cx="101155" cy="101157"/>
            </a:xfrm>
            <a:custGeom>
              <a:avLst/>
              <a:gdLst>
                <a:gd name="connsiteX0" fmla="*/ 50577 w 101155"/>
                <a:gd name="connsiteY0" fmla="*/ 0 h 101157"/>
                <a:gd name="connsiteX1" fmla="*/ 101156 w 101155"/>
                <a:gd name="connsiteY1" fmla="*/ 50578 h 101157"/>
                <a:gd name="connsiteX2" fmla="*/ 50577 w 101155"/>
                <a:gd name="connsiteY2" fmla="*/ 101157 h 101157"/>
                <a:gd name="connsiteX3" fmla="*/ 0 w 101155"/>
                <a:gd name="connsiteY3" fmla="*/ 50578 h 101157"/>
                <a:gd name="connsiteX4" fmla="*/ 50577 w 101155"/>
                <a:gd name="connsiteY4" fmla="*/ 0 h 10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155" h="101157">
                  <a:moveTo>
                    <a:pt x="50577" y="0"/>
                  </a:moveTo>
                  <a:cubicBezTo>
                    <a:pt x="77355" y="0"/>
                    <a:pt x="101156" y="23802"/>
                    <a:pt x="101156" y="50578"/>
                  </a:cubicBezTo>
                  <a:cubicBezTo>
                    <a:pt x="101156" y="77355"/>
                    <a:pt x="77355" y="101157"/>
                    <a:pt x="50577" y="101157"/>
                  </a:cubicBezTo>
                  <a:cubicBezTo>
                    <a:pt x="23801" y="101157"/>
                    <a:pt x="0" y="77355"/>
                    <a:pt x="0" y="50578"/>
                  </a:cubicBezTo>
                  <a:cubicBezTo>
                    <a:pt x="0" y="20826"/>
                    <a:pt x="23801" y="0"/>
                    <a:pt x="50577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C51ADA22-C7F1-4417-9CED-8E9E321313C6}"/>
                </a:ext>
              </a:extLst>
            </p:cNvPr>
            <p:cNvSpPr/>
            <p:nvPr/>
          </p:nvSpPr>
          <p:spPr>
            <a:xfrm>
              <a:off x="20715562" y="4624839"/>
              <a:ext cx="101157" cy="101156"/>
            </a:xfrm>
            <a:custGeom>
              <a:avLst/>
              <a:gdLst>
                <a:gd name="connsiteX0" fmla="*/ 50579 w 101157"/>
                <a:gd name="connsiteY0" fmla="*/ 0 h 101156"/>
                <a:gd name="connsiteX1" fmla="*/ 101158 w 101157"/>
                <a:gd name="connsiteY1" fmla="*/ 50578 h 101156"/>
                <a:gd name="connsiteX2" fmla="*/ 50579 w 101157"/>
                <a:gd name="connsiteY2" fmla="*/ 101157 h 101156"/>
                <a:gd name="connsiteX3" fmla="*/ 0 w 101157"/>
                <a:gd name="connsiteY3" fmla="*/ 50578 h 101156"/>
                <a:gd name="connsiteX4" fmla="*/ 50579 w 101157"/>
                <a:gd name="connsiteY4" fmla="*/ 0 h 101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157" h="101156">
                  <a:moveTo>
                    <a:pt x="50579" y="0"/>
                  </a:moveTo>
                  <a:cubicBezTo>
                    <a:pt x="77356" y="0"/>
                    <a:pt x="101158" y="23802"/>
                    <a:pt x="101158" y="50578"/>
                  </a:cubicBezTo>
                  <a:cubicBezTo>
                    <a:pt x="101158" y="77355"/>
                    <a:pt x="77356" y="101157"/>
                    <a:pt x="50579" y="101157"/>
                  </a:cubicBezTo>
                  <a:cubicBezTo>
                    <a:pt x="23803" y="101157"/>
                    <a:pt x="0" y="77355"/>
                    <a:pt x="0" y="50578"/>
                  </a:cubicBezTo>
                  <a:cubicBezTo>
                    <a:pt x="0" y="23802"/>
                    <a:pt x="20827" y="0"/>
                    <a:pt x="50579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AA5DF89B-3810-499C-AF6D-32E3546BA406}"/>
                </a:ext>
              </a:extLst>
            </p:cNvPr>
            <p:cNvSpPr/>
            <p:nvPr/>
          </p:nvSpPr>
          <p:spPr>
            <a:xfrm>
              <a:off x="20664985" y="5410293"/>
              <a:ext cx="101155" cy="101157"/>
            </a:xfrm>
            <a:custGeom>
              <a:avLst/>
              <a:gdLst>
                <a:gd name="connsiteX0" fmla="*/ 50577 w 101155"/>
                <a:gd name="connsiteY0" fmla="*/ 0 h 101157"/>
                <a:gd name="connsiteX1" fmla="*/ 101156 w 101155"/>
                <a:gd name="connsiteY1" fmla="*/ 50579 h 101157"/>
                <a:gd name="connsiteX2" fmla="*/ 50577 w 101155"/>
                <a:gd name="connsiteY2" fmla="*/ 101157 h 101157"/>
                <a:gd name="connsiteX3" fmla="*/ 0 w 101155"/>
                <a:gd name="connsiteY3" fmla="*/ 50579 h 101157"/>
                <a:gd name="connsiteX4" fmla="*/ 50577 w 101155"/>
                <a:gd name="connsiteY4" fmla="*/ 0 h 10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155" h="101157">
                  <a:moveTo>
                    <a:pt x="50577" y="0"/>
                  </a:moveTo>
                  <a:cubicBezTo>
                    <a:pt x="77355" y="0"/>
                    <a:pt x="101156" y="23802"/>
                    <a:pt x="101156" y="50579"/>
                  </a:cubicBezTo>
                  <a:cubicBezTo>
                    <a:pt x="101156" y="77356"/>
                    <a:pt x="77355" y="101157"/>
                    <a:pt x="50577" y="101157"/>
                  </a:cubicBezTo>
                  <a:cubicBezTo>
                    <a:pt x="23801" y="101157"/>
                    <a:pt x="0" y="77356"/>
                    <a:pt x="0" y="50579"/>
                  </a:cubicBezTo>
                  <a:cubicBezTo>
                    <a:pt x="0" y="20827"/>
                    <a:pt x="23801" y="0"/>
                    <a:pt x="50577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12093AA7-0AF1-41C5-848A-2BD39F49DC55}"/>
                </a:ext>
              </a:extLst>
            </p:cNvPr>
            <p:cNvSpPr/>
            <p:nvPr/>
          </p:nvSpPr>
          <p:spPr>
            <a:xfrm>
              <a:off x="20664985" y="5749467"/>
              <a:ext cx="101157" cy="101157"/>
            </a:xfrm>
            <a:custGeom>
              <a:avLst/>
              <a:gdLst>
                <a:gd name="connsiteX0" fmla="*/ 101157 w 101157"/>
                <a:gd name="connsiteY0" fmla="*/ 50579 h 101157"/>
                <a:gd name="connsiteX1" fmla="*/ 50578 w 101157"/>
                <a:gd name="connsiteY1" fmla="*/ 101157 h 101157"/>
                <a:gd name="connsiteX2" fmla="*/ -1 w 101157"/>
                <a:gd name="connsiteY2" fmla="*/ 50579 h 101157"/>
                <a:gd name="connsiteX3" fmla="*/ 50578 w 101157"/>
                <a:gd name="connsiteY3" fmla="*/ 0 h 101157"/>
                <a:gd name="connsiteX4" fmla="*/ 101157 w 101157"/>
                <a:gd name="connsiteY4" fmla="*/ 50579 h 10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157" h="101157">
                  <a:moveTo>
                    <a:pt x="101157" y="50579"/>
                  </a:moveTo>
                  <a:cubicBezTo>
                    <a:pt x="101157" y="78512"/>
                    <a:pt x="78512" y="101157"/>
                    <a:pt x="50578" y="101157"/>
                  </a:cubicBezTo>
                  <a:cubicBezTo>
                    <a:pt x="22643" y="101157"/>
                    <a:pt x="-1" y="78512"/>
                    <a:pt x="-1" y="50579"/>
                  </a:cubicBezTo>
                  <a:cubicBezTo>
                    <a:pt x="-1" y="22645"/>
                    <a:pt x="22643" y="0"/>
                    <a:pt x="50578" y="0"/>
                  </a:cubicBezTo>
                  <a:cubicBezTo>
                    <a:pt x="78512" y="0"/>
                    <a:pt x="101157" y="22645"/>
                    <a:pt x="101157" y="50579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E149631F-E7FA-48A6-A1DF-FD12D7F8EB98}"/>
                </a:ext>
              </a:extLst>
            </p:cNvPr>
            <p:cNvSpPr/>
            <p:nvPr/>
          </p:nvSpPr>
          <p:spPr>
            <a:xfrm>
              <a:off x="20676885" y="4395748"/>
              <a:ext cx="101157" cy="101157"/>
            </a:xfrm>
            <a:custGeom>
              <a:avLst/>
              <a:gdLst>
                <a:gd name="connsiteX0" fmla="*/ 50579 w 101157"/>
                <a:gd name="connsiteY0" fmla="*/ 0 h 101157"/>
                <a:gd name="connsiteX1" fmla="*/ 101158 w 101157"/>
                <a:gd name="connsiteY1" fmla="*/ 50579 h 101157"/>
                <a:gd name="connsiteX2" fmla="*/ 50579 w 101157"/>
                <a:gd name="connsiteY2" fmla="*/ 101157 h 101157"/>
                <a:gd name="connsiteX3" fmla="*/ 0 w 101157"/>
                <a:gd name="connsiteY3" fmla="*/ 50579 h 101157"/>
                <a:gd name="connsiteX4" fmla="*/ 50579 w 101157"/>
                <a:gd name="connsiteY4" fmla="*/ 0 h 10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157" h="101157">
                  <a:moveTo>
                    <a:pt x="50579" y="0"/>
                  </a:moveTo>
                  <a:cubicBezTo>
                    <a:pt x="77356" y="0"/>
                    <a:pt x="101158" y="23802"/>
                    <a:pt x="101158" y="50579"/>
                  </a:cubicBezTo>
                  <a:cubicBezTo>
                    <a:pt x="101158" y="77355"/>
                    <a:pt x="77356" y="101157"/>
                    <a:pt x="50579" y="101157"/>
                  </a:cubicBezTo>
                  <a:cubicBezTo>
                    <a:pt x="23801" y="101157"/>
                    <a:pt x="0" y="77355"/>
                    <a:pt x="0" y="50579"/>
                  </a:cubicBezTo>
                  <a:cubicBezTo>
                    <a:pt x="0" y="23802"/>
                    <a:pt x="20827" y="0"/>
                    <a:pt x="50579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7859EF89-FDCE-40AC-ACD9-A535743698B3}"/>
                </a:ext>
              </a:extLst>
            </p:cNvPr>
            <p:cNvSpPr/>
            <p:nvPr/>
          </p:nvSpPr>
          <p:spPr>
            <a:xfrm>
              <a:off x="21392785" y="4316161"/>
              <a:ext cx="562509" cy="359814"/>
            </a:xfrm>
            <a:custGeom>
              <a:avLst/>
              <a:gdLst>
                <a:gd name="connsiteX0" fmla="*/ 468232 w 562509"/>
                <a:gd name="connsiteY0" fmla="*/ 359256 h 359814"/>
                <a:gd name="connsiteX1" fmla="*/ 426580 w 562509"/>
                <a:gd name="connsiteY1" fmla="*/ 332479 h 359814"/>
                <a:gd name="connsiteX2" fmla="*/ 408728 w 562509"/>
                <a:gd name="connsiteY2" fmla="*/ 249174 h 359814"/>
                <a:gd name="connsiteX3" fmla="*/ 274843 w 562509"/>
                <a:gd name="connsiteY3" fmla="*/ 186694 h 359814"/>
                <a:gd name="connsiteX4" fmla="*/ 274843 w 562509"/>
                <a:gd name="connsiteY4" fmla="*/ 234298 h 359814"/>
                <a:gd name="connsiteX5" fmla="*/ 265918 w 562509"/>
                <a:gd name="connsiteY5" fmla="*/ 258099 h 359814"/>
                <a:gd name="connsiteX6" fmla="*/ 242117 w 562509"/>
                <a:gd name="connsiteY6" fmla="*/ 270000 h 359814"/>
                <a:gd name="connsiteX7" fmla="*/ 218316 w 562509"/>
                <a:gd name="connsiteY7" fmla="*/ 261074 h 359814"/>
                <a:gd name="connsiteX8" fmla="*/ 206414 w 562509"/>
                <a:gd name="connsiteY8" fmla="*/ 237273 h 359814"/>
                <a:gd name="connsiteX9" fmla="*/ 203440 w 562509"/>
                <a:gd name="connsiteY9" fmla="*/ 153967 h 359814"/>
                <a:gd name="connsiteX10" fmla="*/ 18976 w 562509"/>
                <a:gd name="connsiteY10" fmla="*/ 64711 h 359814"/>
                <a:gd name="connsiteX11" fmla="*/ 4100 w 562509"/>
                <a:gd name="connsiteY11" fmla="*/ 20083 h 359814"/>
                <a:gd name="connsiteX12" fmla="*/ 24927 w 562509"/>
                <a:gd name="connsiteY12" fmla="*/ 2231 h 359814"/>
                <a:gd name="connsiteX13" fmla="*/ 51703 w 562509"/>
                <a:gd name="connsiteY13" fmla="*/ 2231 h 359814"/>
                <a:gd name="connsiteX14" fmla="*/ 361125 w 562509"/>
                <a:gd name="connsiteY14" fmla="*/ 150992 h 359814"/>
                <a:gd name="connsiteX15" fmla="*/ 509886 w 562509"/>
                <a:gd name="connsiteY15" fmla="*/ 55785 h 359814"/>
                <a:gd name="connsiteX16" fmla="*/ 557488 w 562509"/>
                <a:gd name="connsiteY16" fmla="*/ 64711 h 359814"/>
                <a:gd name="connsiteX17" fmla="*/ 557488 w 562509"/>
                <a:gd name="connsiteY17" fmla="*/ 64711 h 359814"/>
                <a:gd name="connsiteX18" fmla="*/ 548563 w 562509"/>
                <a:gd name="connsiteY18" fmla="*/ 112314 h 359814"/>
                <a:gd name="connsiteX19" fmla="*/ 435505 w 562509"/>
                <a:gd name="connsiteY19" fmla="*/ 186694 h 359814"/>
                <a:gd name="connsiteX20" fmla="*/ 515836 w 562509"/>
                <a:gd name="connsiteY20" fmla="*/ 225372 h 359814"/>
                <a:gd name="connsiteX21" fmla="*/ 530712 w 562509"/>
                <a:gd name="connsiteY21" fmla="*/ 270000 h 359814"/>
                <a:gd name="connsiteX22" fmla="*/ 489059 w 562509"/>
                <a:gd name="connsiteY22" fmla="*/ 287851 h 359814"/>
                <a:gd name="connsiteX23" fmla="*/ 495010 w 562509"/>
                <a:gd name="connsiteY23" fmla="*/ 317603 h 359814"/>
                <a:gd name="connsiteX24" fmla="*/ 468232 w 562509"/>
                <a:gd name="connsiteY24" fmla="*/ 359256 h 359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62509" h="359814">
                  <a:moveTo>
                    <a:pt x="468232" y="359256"/>
                  </a:moveTo>
                  <a:cubicBezTo>
                    <a:pt x="450381" y="362231"/>
                    <a:pt x="432531" y="353306"/>
                    <a:pt x="426580" y="332479"/>
                  </a:cubicBezTo>
                  <a:lnTo>
                    <a:pt x="408728" y="249174"/>
                  </a:lnTo>
                  <a:lnTo>
                    <a:pt x="274843" y="186694"/>
                  </a:lnTo>
                  <a:lnTo>
                    <a:pt x="274843" y="234298"/>
                  </a:lnTo>
                  <a:cubicBezTo>
                    <a:pt x="274843" y="243223"/>
                    <a:pt x="271869" y="252149"/>
                    <a:pt x="265918" y="258099"/>
                  </a:cubicBezTo>
                  <a:cubicBezTo>
                    <a:pt x="259967" y="264050"/>
                    <a:pt x="251042" y="267025"/>
                    <a:pt x="242117" y="270000"/>
                  </a:cubicBezTo>
                  <a:cubicBezTo>
                    <a:pt x="233192" y="270000"/>
                    <a:pt x="224266" y="267025"/>
                    <a:pt x="218316" y="261074"/>
                  </a:cubicBezTo>
                  <a:cubicBezTo>
                    <a:pt x="212365" y="255124"/>
                    <a:pt x="209390" y="246198"/>
                    <a:pt x="206414" y="237273"/>
                  </a:cubicBezTo>
                  <a:lnTo>
                    <a:pt x="203440" y="153967"/>
                  </a:lnTo>
                  <a:lnTo>
                    <a:pt x="18976" y="64711"/>
                  </a:lnTo>
                  <a:cubicBezTo>
                    <a:pt x="1126" y="55785"/>
                    <a:pt x="-4825" y="34959"/>
                    <a:pt x="4100" y="20083"/>
                  </a:cubicBezTo>
                  <a:cubicBezTo>
                    <a:pt x="7075" y="11157"/>
                    <a:pt x="16002" y="5207"/>
                    <a:pt x="24927" y="2231"/>
                  </a:cubicBezTo>
                  <a:cubicBezTo>
                    <a:pt x="33852" y="-744"/>
                    <a:pt x="42778" y="-744"/>
                    <a:pt x="51703" y="2231"/>
                  </a:cubicBezTo>
                  <a:lnTo>
                    <a:pt x="361125" y="150992"/>
                  </a:lnTo>
                  <a:lnTo>
                    <a:pt x="509886" y="55785"/>
                  </a:lnTo>
                  <a:cubicBezTo>
                    <a:pt x="524762" y="46859"/>
                    <a:pt x="545588" y="49835"/>
                    <a:pt x="557488" y="64711"/>
                  </a:cubicBezTo>
                  <a:cubicBezTo>
                    <a:pt x="557488" y="64711"/>
                    <a:pt x="557488" y="64711"/>
                    <a:pt x="557488" y="64711"/>
                  </a:cubicBezTo>
                  <a:cubicBezTo>
                    <a:pt x="566415" y="79587"/>
                    <a:pt x="563439" y="103388"/>
                    <a:pt x="548563" y="112314"/>
                  </a:cubicBezTo>
                  <a:lnTo>
                    <a:pt x="435505" y="186694"/>
                  </a:lnTo>
                  <a:lnTo>
                    <a:pt x="515836" y="225372"/>
                  </a:lnTo>
                  <a:cubicBezTo>
                    <a:pt x="533687" y="234298"/>
                    <a:pt x="539638" y="255124"/>
                    <a:pt x="530712" y="270000"/>
                  </a:cubicBezTo>
                  <a:cubicBezTo>
                    <a:pt x="521787" y="284876"/>
                    <a:pt x="503935" y="293802"/>
                    <a:pt x="489059" y="287851"/>
                  </a:cubicBezTo>
                  <a:lnTo>
                    <a:pt x="495010" y="317603"/>
                  </a:lnTo>
                  <a:cubicBezTo>
                    <a:pt x="500960" y="338430"/>
                    <a:pt x="489059" y="356281"/>
                    <a:pt x="468232" y="359256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FE9CEE88-1CB9-447C-A192-8D9CC05390D4}"/>
                </a:ext>
              </a:extLst>
            </p:cNvPr>
            <p:cNvSpPr/>
            <p:nvPr/>
          </p:nvSpPr>
          <p:spPr>
            <a:xfrm>
              <a:off x="23482045" y="3904839"/>
              <a:ext cx="1129393" cy="2496198"/>
            </a:xfrm>
            <a:custGeom>
              <a:avLst/>
              <a:gdLst>
                <a:gd name="connsiteX0" fmla="*/ 1000130 w 1129393"/>
                <a:gd name="connsiteY0" fmla="*/ 0 h 2496198"/>
                <a:gd name="connsiteX1" fmla="*/ 318807 w 1129393"/>
                <a:gd name="connsiteY1" fmla="*/ 32727 h 2496198"/>
                <a:gd name="connsiteX2" fmla="*/ 202775 w 1129393"/>
                <a:gd name="connsiteY2" fmla="*/ 481984 h 2496198"/>
                <a:gd name="connsiteX3" fmla="*/ 3436 w 1129393"/>
                <a:gd name="connsiteY3" fmla="*/ 1499504 h 2496198"/>
                <a:gd name="connsiteX4" fmla="*/ 3436 w 1129393"/>
                <a:gd name="connsiteY4" fmla="*/ 1564959 h 2496198"/>
                <a:gd name="connsiteX5" fmla="*/ 161122 w 1129393"/>
                <a:gd name="connsiteY5" fmla="*/ 2463471 h 2496198"/>
                <a:gd name="connsiteX6" fmla="*/ 342608 w 1129393"/>
                <a:gd name="connsiteY6" fmla="*/ 2496199 h 2496198"/>
                <a:gd name="connsiteX7" fmla="*/ 289055 w 1129393"/>
                <a:gd name="connsiteY7" fmla="*/ 1544132 h 2496198"/>
                <a:gd name="connsiteX8" fmla="*/ 574676 w 1129393"/>
                <a:gd name="connsiteY8" fmla="*/ 865785 h 2496198"/>
                <a:gd name="connsiteX9" fmla="*/ 509221 w 1129393"/>
                <a:gd name="connsiteY9" fmla="*/ 1523306 h 2496198"/>
                <a:gd name="connsiteX10" fmla="*/ 518146 w 1129393"/>
                <a:gd name="connsiteY10" fmla="*/ 1603636 h 2496198"/>
                <a:gd name="connsiteX11" fmla="*/ 848394 w 1129393"/>
                <a:gd name="connsiteY11" fmla="*/ 2490248 h 2496198"/>
                <a:gd name="connsiteX12" fmla="*/ 1038808 w 1129393"/>
                <a:gd name="connsiteY12" fmla="*/ 2490248 h 2496198"/>
                <a:gd name="connsiteX13" fmla="*/ 848394 w 1129393"/>
                <a:gd name="connsiteY13" fmla="*/ 1535207 h 2496198"/>
                <a:gd name="connsiteX14" fmla="*/ 1128064 w 1129393"/>
                <a:gd name="connsiteY14" fmla="*/ 422479 h 2496198"/>
                <a:gd name="connsiteX15" fmla="*/ 1000130 w 1129393"/>
                <a:gd name="connsiteY15" fmla="*/ 0 h 249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29393" h="2496198">
                  <a:moveTo>
                    <a:pt x="1000130" y="0"/>
                  </a:moveTo>
                  <a:lnTo>
                    <a:pt x="318807" y="32727"/>
                  </a:lnTo>
                  <a:cubicBezTo>
                    <a:pt x="318807" y="32727"/>
                    <a:pt x="223600" y="330248"/>
                    <a:pt x="202775" y="481984"/>
                  </a:cubicBezTo>
                  <a:cubicBezTo>
                    <a:pt x="193848" y="556364"/>
                    <a:pt x="36163" y="1329918"/>
                    <a:pt x="3436" y="1499504"/>
                  </a:cubicBezTo>
                  <a:cubicBezTo>
                    <a:pt x="460" y="1520331"/>
                    <a:pt x="-2515" y="1544132"/>
                    <a:pt x="3436" y="1564959"/>
                  </a:cubicBezTo>
                  <a:lnTo>
                    <a:pt x="161122" y="2463471"/>
                  </a:lnTo>
                  <a:lnTo>
                    <a:pt x="342608" y="2496199"/>
                  </a:lnTo>
                  <a:lnTo>
                    <a:pt x="289055" y="1544132"/>
                  </a:lnTo>
                  <a:lnTo>
                    <a:pt x="574676" y="865785"/>
                  </a:lnTo>
                  <a:lnTo>
                    <a:pt x="509221" y="1523306"/>
                  </a:lnTo>
                  <a:cubicBezTo>
                    <a:pt x="506245" y="1550083"/>
                    <a:pt x="509221" y="1576860"/>
                    <a:pt x="518146" y="1603636"/>
                  </a:cubicBezTo>
                  <a:lnTo>
                    <a:pt x="848394" y="2490248"/>
                  </a:lnTo>
                  <a:lnTo>
                    <a:pt x="1038808" y="2490248"/>
                  </a:lnTo>
                  <a:lnTo>
                    <a:pt x="848394" y="1535207"/>
                  </a:lnTo>
                  <a:cubicBezTo>
                    <a:pt x="848394" y="1535207"/>
                    <a:pt x="1151865" y="684298"/>
                    <a:pt x="1128064" y="422479"/>
                  </a:cubicBezTo>
                  <a:cubicBezTo>
                    <a:pt x="1113188" y="300496"/>
                    <a:pt x="1000130" y="0"/>
                    <a:pt x="1000130" y="0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7159268B-4AAC-4D1E-92B5-251AE8EE738C}"/>
                </a:ext>
              </a:extLst>
            </p:cNvPr>
            <p:cNvSpPr/>
            <p:nvPr/>
          </p:nvSpPr>
          <p:spPr>
            <a:xfrm>
              <a:off x="23979365" y="4318392"/>
              <a:ext cx="119008" cy="1091900"/>
            </a:xfrm>
            <a:custGeom>
              <a:avLst/>
              <a:gdLst>
                <a:gd name="connsiteX0" fmla="*/ 5951 w 119008"/>
                <a:gd name="connsiteY0" fmla="*/ 1091901 h 1091900"/>
                <a:gd name="connsiteX1" fmla="*/ 5951 w 119008"/>
                <a:gd name="connsiteY1" fmla="*/ 1091901 h 1091900"/>
                <a:gd name="connsiteX2" fmla="*/ 0 w 119008"/>
                <a:gd name="connsiteY2" fmla="*/ 1085950 h 1091900"/>
                <a:gd name="connsiteX3" fmla="*/ 68429 w 119008"/>
                <a:gd name="connsiteY3" fmla="*/ 452231 h 1091900"/>
                <a:gd name="connsiteX4" fmla="*/ 107109 w 119008"/>
                <a:gd name="connsiteY4" fmla="*/ 5950 h 1091900"/>
                <a:gd name="connsiteX5" fmla="*/ 113057 w 119008"/>
                <a:gd name="connsiteY5" fmla="*/ 0 h 1091900"/>
                <a:gd name="connsiteX6" fmla="*/ 119008 w 119008"/>
                <a:gd name="connsiteY6" fmla="*/ 5950 h 1091900"/>
                <a:gd name="connsiteX7" fmla="*/ 80331 w 119008"/>
                <a:gd name="connsiteY7" fmla="*/ 452231 h 1091900"/>
                <a:gd name="connsiteX8" fmla="*/ 11902 w 119008"/>
                <a:gd name="connsiteY8" fmla="*/ 1085950 h 1091900"/>
                <a:gd name="connsiteX9" fmla="*/ 5951 w 119008"/>
                <a:gd name="connsiteY9" fmla="*/ 1091901 h 1091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008" h="1091900">
                  <a:moveTo>
                    <a:pt x="5951" y="1091901"/>
                  </a:moveTo>
                  <a:cubicBezTo>
                    <a:pt x="5951" y="1091901"/>
                    <a:pt x="5951" y="1091901"/>
                    <a:pt x="5951" y="1091901"/>
                  </a:cubicBezTo>
                  <a:cubicBezTo>
                    <a:pt x="2976" y="1091901"/>
                    <a:pt x="0" y="1088926"/>
                    <a:pt x="0" y="1085950"/>
                  </a:cubicBezTo>
                  <a:lnTo>
                    <a:pt x="68429" y="452231"/>
                  </a:lnTo>
                  <a:lnTo>
                    <a:pt x="107109" y="5950"/>
                  </a:lnTo>
                  <a:cubicBezTo>
                    <a:pt x="107109" y="2975"/>
                    <a:pt x="110083" y="0"/>
                    <a:pt x="113057" y="0"/>
                  </a:cubicBezTo>
                  <a:cubicBezTo>
                    <a:pt x="116034" y="0"/>
                    <a:pt x="119008" y="2975"/>
                    <a:pt x="119008" y="5950"/>
                  </a:cubicBezTo>
                  <a:lnTo>
                    <a:pt x="80331" y="452231"/>
                  </a:lnTo>
                  <a:lnTo>
                    <a:pt x="11902" y="1085950"/>
                  </a:lnTo>
                  <a:cubicBezTo>
                    <a:pt x="8925" y="1088926"/>
                    <a:pt x="8925" y="1091901"/>
                    <a:pt x="5951" y="1091901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E3D0B980-78DD-48B5-BFA1-F7E2F6A91E6C}"/>
                </a:ext>
              </a:extLst>
            </p:cNvPr>
            <p:cNvSpPr/>
            <p:nvPr/>
          </p:nvSpPr>
          <p:spPr>
            <a:xfrm>
              <a:off x="23881183" y="2789136"/>
              <a:ext cx="297520" cy="330248"/>
            </a:xfrm>
            <a:custGeom>
              <a:avLst/>
              <a:gdLst>
                <a:gd name="connsiteX0" fmla="*/ 47603 w 297520"/>
                <a:gd name="connsiteY0" fmla="*/ 71405 h 330248"/>
                <a:gd name="connsiteX1" fmla="*/ 0 w 297520"/>
                <a:gd name="connsiteY1" fmla="*/ 211240 h 330248"/>
                <a:gd name="connsiteX2" fmla="*/ 41654 w 297520"/>
                <a:gd name="connsiteY2" fmla="*/ 330248 h 330248"/>
                <a:gd name="connsiteX3" fmla="*/ 297521 w 297520"/>
                <a:gd name="connsiteY3" fmla="*/ 181488 h 330248"/>
                <a:gd name="connsiteX4" fmla="*/ 240991 w 297520"/>
                <a:gd name="connsiteY4" fmla="*/ 0 h 330248"/>
                <a:gd name="connsiteX5" fmla="*/ 47603 w 297520"/>
                <a:gd name="connsiteY5" fmla="*/ 71405 h 330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520" h="330248">
                  <a:moveTo>
                    <a:pt x="47603" y="71405"/>
                  </a:moveTo>
                  <a:cubicBezTo>
                    <a:pt x="47603" y="71405"/>
                    <a:pt x="56530" y="178512"/>
                    <a:pt x="0" y="211240"/>
                  </a:cubicBezTo>
                  <a:lnTo>
                    <a:pt x="41654" y="330248"/>
                  </a:lnTo>
                  <a:cubicBezTo>
                    <a:pt x="41654" y="330248"/>
                    <a:pt x="246942" y="214215"/>
                    <a:pt x="297521" y="181488"/>
                  </a:cubicBezTo>
                  <a:cubicBezTo>
                    <a:pt x="240991" y="142810"/>
                    <a:pt x="240991" y="62479"/>
                    <a:pt x="240991" y="0"/>
                  </a:cubicBezTo>
                  <a:cubicBezTo>
                    <a:pt x="243967" y="2975"/>
                    <a:pt x="101158" y="77355"/>
                    <a:pt x="47603" y="71405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E398821D-19DA-49A0-ABF4-8754F58F8BA5}"/>
                </a:ext>
              </a:extLst>
            </p:cNvPr>
            <p:cNvSpPr/>
            <p:nvPr/>
          </p:nvSpPr>
          <p:spPr>
            <a:xfrm>
              <a:off x="23619379" y="3080706"/>
              <a:ext cx="89242" cy="547438"/>
            </a:xfrm>
            <a:custGeom>
              <a:avLst/>
              <a:gdLst>
                <a:gd name="connsiteX0" fmla="*/ 65442 w 89242"/>
                <a:gd name="connsiteY0" fmla="*/ 547438 h 547438"/>
                <a:gd name="connsiteX1" fmla="*/ 59491 w 89242"/>
                <a:gd name="connsiteY1" fmla="*/ 544463 h 547438"/>
                <a:gd name="connsiteX2" fmla="*/ 41638 w 89242"/>
                <a:gd name="connsiteY2" fmla="*/ 490909 h 547438"/>
                <a:gd name="connsiteX3" fmla="*/ 2961 w 89242"/>
                <a:gd name="connsiteY3" fmla="*/ 345124 h 547438"/>
                <a:gd name="connsiteX4" fmla="*/ 77341 w 89242"/>
                <a:gd name="connsiteY4" fmla="*/ 2975 h 547438"/>
                <a:gd name="connsiteX5" fmla="*/ 86267 w 89242"/>
                <a:gd name="connsiteY5" fmla="*/ 0 h 547438"/>
                <a:gd name="connsiteX6" fmla="*/ 89243 w 89242"/>
                <a:gd name="connsiteY6" fmla="*/ 8926 h 547438"/>
                <a:gd name="connsiteX7" fmla="*/ 17837 w 89242"/>
                <a:gd name="connsiteY7" fmla="*/ 342149 h 547438"/>
                <a:gd name="connsiteX8" fmla="*/ 56515 w 89242"/>
                <a:gd name="connsiteY8" fmla="*/ 484959 h 547438"/>
                <a:gd name="connsiteX9" fmla="*/ 74367 w 89242"/>
                <a:gd name="connsiteY9" fmla="*/ 538512 h 547438"/>
                <a:gd name="connsiteX10" fmla="*/ 65442 w 89242"/>
                <a:gd name="connsiteY10" fmla="*/ 547438 h 547438"/>
                <a:gd name="connsiteX11" fmla="*/ 65442 w 89242"/>
                <a:gd name="connsiteY11" fmla="*/ 547438 h 547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9242" h="547438">
                  <a:moveTo>
                    <a:pt x="65442" y="547438"/>
                  </a:moveTo>
                  <a:cubicBezTo>
                    <a:pt x="62465" y="547438"/>
                    <a:pt x="59491" y="544463"/>
                    <a:pt x="59491" y="544463"/>
                  </a:cubicBezTo>
                  <a:cubicBezTo>
                    <a:pt x="53540" y="526612"/>
                    <a:pt x="47589" y="508760"/>
                    <a:pt x="41638" y="490909"/>
                  </a:cubicBezTo>
                  <a:cubicBezTo>
                    <a:pt x="23788" y="440331"/>
                    <a:pt x="5937" y="389752"/>
                    <a:pt x="2961" y="345124"/>
                  </a:cubicBezTo>
                  <a:cubicBezTo>
                    <a:pt x="-8939" y="223141"/>
                    <a:pt x="14863" y="110083"/>
                    <a:pt x="77341" y="2975"/>
                  </a:cubicBezTo>
                  <a:cubicBezTo>
                    <a:pt x="80318" y="0"/>
                    <a:pt x="83292" y="0"/>
                    <a:pt x="86267" y="0"/>
                  </a:cubicBezTo>
                  <a:cubicBezTo>
                    <a:pt x="89243" y="2975"/>
                    <a:pt x="89243" y="5950"/>
                    <a:pt x="89243" y="8926"/>
                  </a:cubicBezTo>
                  <a:cubicBezTo>
                    <a:pt x="29739" y="113058"/>
                    <a:pt x="5937" y="226116"/>
                    <a:pt x="17837" y="342149"/>
                  </a:cubicBezTo>
                  <a:cubicBezTo>
                    <a:pt x="20813" y="386777"/>
                    <a:pt x="38664" y="437355"/>
                    <a:pt x="56515" y="484959"/>
                  </a:cubicBezTo>
                  <a:cubicBezTo>
                    <a:pt x="62465" y="502810"/>
                    <a:pt x="68416" y="520661"/>
                    <a:pt x="74367" y="538512"/>
                  </a:cubicBezTo>
                  <a:cubicBezTo>
                    <a:pt x="71391" y="541488"/>
                    <a:pt x="68416" y="544463"/>
                    <a:pt x="65442" y="547438"/>
                  </a:cubicBezTo>
                  <a:cubicBezTo>
                    <a:pt x="65442" y="547438"/>
                    <a:pt x="65442" y="547438"/>
                    <a:pt x="65442" y="547438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CD595C07-F228-47B3-A6D7-49AB4D66FFFF}"/>
                </a:ext>
              </a:extLst>
            </p:cNvPr>
            <p:cNvSpPr/>
            <p:nvPr/>
          </p:nvSpPr>
          <p:spPr>
            <a:xfrm>
              <a:off x="23580688" y="2961698"/>
              <a:ext cx="1103800" cy="1494896"/>
            </a:xfrm>
            <a:custGeom>
              <a:avLst/>
              <a:gdLst>
                <a:gd name="connsiteX0" fmla="*/ 877686 w 1103800"/>
                <a:gd name="connsiteY0" fmla="*/ 827107 h 1494896"/>
                <a:gd name="connsiteX1" fmla="*/ 859834 w 1103800"/>
                <a:gd name="connsiteY1" fmla="*/ 368926 h 1494896"/>
                <a:gd name="connsiteX2" fmla="*/ 850908 w 1103800"/>
                <a:gd name="connsiteY2" fmla="*/ 104132 h 1494896"/>
                <a:gd name="connsiteX3" fmla="*/ 592065 w 1103800"/>
                <a:gd name="connsiteY3" fmla="*/ 0 h 1494896"/>
                <a:gd name="connsiteX4" fmla="*/ 324296 w 1103800"/>
                <a:gd name="connsiteY4" fmla="*/ 17851 h 1494896"/>
                <a:gd name="connsiteX5" fmla="*/ 17851 w 1103800"/>
                <a:gd name="connsiteY5" fmla="*/ 508760 h 1494896"/>
                <a:gd name="connsiteX6" fmla="*/ 56528 w 1103800"/>
                <a:gd name="connsiteY6" fmla="*/ 734876 h 1494896"/>
                <a:gd name="connsiteX7" fmla="*/ 62479 w 1103800"/>
                <a:gd name="connsiteY7" fmla="*/ 960992 h 1494896"/>
                <a:gd name="connsiteX8" fmla="*/ 0 w 1103800"/>
                <a:gd name="connsiteY8" fmla="*/ 1442975 h 1494896"/>
                <a:gd name="connsiteX9" fmla="*/ 1103801 w 1103800"/>
                <a:gd name="connsiteY9" fmla="*/ 1329917 h 1494896"/>
                <a:gd name="connsiteX10" fmla="*/ 877686 w 1103800"/>
                <a:gd name="connsiteY10" fmla="*/ 827107 h 1494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03800" h="1494896">
                  <a:moveTo>
                    <a:pt x="877686" y="827107"/>
                  </a:moveTo>
                  <a:cubicBezTo>
                    <a:pt x="841983" y="678347"/>
                    <a:pt x="827107" y="523636"/>
                    <a:pt x="859834" y="368926"/>
                  </a:cubicBezTo>
                  <a:cubicBezTo>
                    <a:pt x="880660" y="279669"/>
                    <a:pt x="913387" y="184463"/>
                    <a:pt x="850908" y="104132"/>
                  </a:cubicBezTo>
                  <a:cubicBezTo>
                    <a:pt x="797355" y="35702"/>
                    <a:pt x="669422" y="5950"/>
                    <a:pt x="592065" y="0"/>
                  </a:cubicBezTo>
                  <a:cubicBezTo>
                    <a:pt x="592065" y="0"/>
                    <a:pt x="321322" y="23802"/>
                    <a:pt x="324296" y="17851"/>
                  </a:cubicBezTo>
                  <a:cubicBezTo>
                    <a:pt x="74380" y="32727"/>
                    <a:pt x="-11902" y="303471"/>
                    <a:pt x="17851" y="508760"/>
                  </a:cubicBezTo>
                  <a:cubicBezTo>
                    <a:pt x="29752" y="583140"/>
                    <a:pt x="50577" y="657521"/>
                    <a:pt x="56528" y="734876"/>
                  </a:cubicBezTo>
                  <a:cubicBezTo>
                    <a:pt x="62479" y="809256"/>
                    <a:pt x="62479" y="886611"/>
                    <a:pt x="62479" y="960992"/>
                  </a:cubicBezTo>
                  <a:cubicBezTo>
                    <a:pt x="62479" y="1121653"/>
                    <a:pt x="14876" y="1282314"/>
                    <a:pt x="0" y="1442975"/>
                  </a:cubicBezTo>
                  <a:cubicBezTo>
                    <a:pt x="0" y="1460826"/>
                    <a:pt x="499834" y="1600661"/>
                    <a:pt x="1103801" y="1329917"/>
                  </a:cubicBezTo>
                  <a:cubicBezTo>
                    <a:pt x="1041322" y="1207934"/>
                    <a:pt x="910413" y="960992"/>
                    <a:pt x="877686" y="827107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41F168E9-E14E-4FB1-9BCC-A948E3A52298}"/>
                </a:ext>
              </a:extLst>
            </p:cNvPr>
            <p:cNvSpPr/>
            <p:nvPr/>
          </p:nvSpPr>
          <p:spPr>
            <a:xfrm>
              <a:off x="23581168" y="3172938"/>
              <a:ext cx="66600" cy="734875"/>
            </a:xfrm>
            <a:custGeom>
              <a:avLst/>
              <a:gdLst>
                <a:gd name="connsiteX0" fmla="*/ 61998 w 66600"/>
                <a:gd name="connsiteY0" fmla="*/ 734876 h 734875"/>
                <a:gd name="connsiteX1" fmla="*/ 61998 w 66600"/>
                <a:gd name="connsiteY1" fmla="*/ 734876 h 734875"/>
                <a:gd name="connsiteX2" fmla="*/ 56047 w 66600"/>
                <a:gd name="connsiteY2" fmla="*/ 728926 h 734875"/>
                <a:gd name="connsiteX3" fmla="*/ 14396 w 66600"/>
                <a:gd name="connsiteY3" fmla="*/ 324298 h 734875"/>
                <a:gd name="connsiteX4" fmla="*/ 2494 w 66600"/>
                <a:gd name="connsiteY4" fmla="*/ 261818 h 734875"/>
                <a:gd name="connsiteX5" fmla="*/ 44148 w 66600"/>
                <a:gd name="connsiteY5" fmla="*/ 2975 h 734875"/>
                <a:gd name="connsiteX6" fmla="*/ 50097 w 66600"/>
                <a:gd name="connsiteY6" fmla="*/ 0 h 734875"/>
                <a:gd name="connsiteX7" fmla="*/ 53073 w 66600"/>
                <a:gd name="connsiteY7" fmla="*/ 5950 h 734875"/>
                <a:gd name="connsiteX8" fmla="*/ 11419 w 66600"/>
                <a:gd name="connsiteY8" fmla="*/ 258843 h 734875"/>
                <a:gd name="connsiteX9" fmla="*/ 23321 w 66600"/>
                <a:gd name="connsiteY9" fmla="*/ 321322 h 734875"/>
                <a:gd name="connsiteX10" fmla="*/ 64973 w 66600"/>
                <a:gd name="connsiteY10" fmla="*/ 728926 h 734875"/>
                <a:gd name="connsiteX11" fmla="*/ 61998 w 66600"/>
                <a:gd name="connsiteY11" fmla="*/ 734876 h 73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600" h="734875">
                  <a:moveTo>
                    <a:pt x="61998" y="734876"/>
                  </a:moveTo>
                  <a:lnTo>
                    <a:pt x="61998" y="734876"/>
                  </a:lnTo>
                  <a:cubicBezTo>
                    <a:pt x="59024" y="734876"/>
                    <a:pt x="56047" y="731901"/>
                    <a:pt x="56047" y="728926"/>
                  </a:cubicBezTo>
                  <a:cubicBezTo>
                    <a:pt x="64973" y="612893"/>
                    <a:pt x="35221" y="437355"/>
                    <a:pt x="14396" y="324298"/>
                  </a:cubicBezTo>
                  <a:cubicBezTo>
                    <a:pt x="11419" y="300496"/>
                    <a:pt x="5469" y="279669"/>
                    <a:pt x="2494" y="261818"/>
                  </a:cubicBezTo>
                  <a:cubicBezTo>
                    <a:pt x="-12382" y="157686"/>
                    <a:pt x="44148" y="8926"/>
                    <a:pt x="44148" y="2975"/>
                  </a:cubicBezTo>
                  <a:cubicBezTo>
                    <a:pt x="44148" y="0"/>
                    <a:pt x="47122" y="0"/>
                    <a:pt x="50097" y="0"/>
                  </a:cubicBezTo>
                  <a:cubicBezTo>
                    <a:pt x="53073" y="0"/>
                    <a:pt x="53073" y="2975"/>
                    <a:pt x="53073" y="5950"/>
                  </a:cubicBezTo>
                  <a:cubicBezTo>
                    <a:pt x="53073" y="5950"/>
                    <a:pt x="-3457" y="157686"/>
                    <a:pt x="11419" y="258843"/>
                  </a:cubicBezTo>
                  <a:cubicBezTo>
                    <a:pt x="14396" y="276694"/>
                    <a:pt x="17370" y="297521"/>
                    <a:pt x="23321" y="321322"/>
                  </a:cubicBezTo>
                  <a:cubicBezTo>
                    <a:pt x="44148" y="437355"/>
                    <a:pt x="73900" y="612893"/>
                    <a:pt x="64973" y="728926"/>
                  </a:cubicBezTo>
                  <a:cubicBezTo>
                    <a:pt x="67949" y="731901"/>
                    <a:pt x="64973" y="734876"/>
                    <a:pt x="61998" y="734876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7B305303-EAFE-4825-A3D8-53255FA2386C}"/>
                </a:ext>
              </a:extLst>
            </p:cNvPr>
            <p:cNvSpPr/>
            <p:nvPr/>
          </p:nvSpPr>
          <p:spPr>
            <a:xfrm>
              <a:off x="24952342" y="4005996"/>
              <a:ext cx="98097" cy="171256"/>
            </a:xfrm>
            <a:custGeom>
              <a:avLst/>
              <a:gdLst>
                <a:gd name="connsiteX0" fmla="*/ 98097 w 98097"/>
                <a:gd name="connsiteY0" fmla="*/ 0 h 171256"/>
                <a:gd name="connsiteX1" fmla="*/ 8841 w 98097"/>
                <a:gd name="connsiteY1" fmla="*/ 101157 h 171256"/>
                <a:gd name="connsiteX2" fmla="*/ 5867 w 98097"/>
                <a:gd name="connsiteY2" fmla="*/ 169587 h 171256"/>
                <a:gd name="connsiteX3" fmla="*/ 68345 w 98097"/>
                <a:gd name="connsiteY3" fmla="*/ 89256 h 171256"/>
                <a:gd name="connsiteX4" fmla="*/ 98097 w 98097"/>
                <a:gd name="connsiteY4" fmla="*/ 0 h 17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097" h="171256">
                  <a:moveTo>
                    <a:pt x="98097" y="0"/>
                  </a:moveTo>
                  <a:cubicBezTo>
                    <a:pt x="98097" y="0"/>
                    <a:pt x="23717" y="41653"/>
                    <a:pt x="8841" y="101157"/>
                  </a:cubicBezTo>
                  <a:cubicBezTo>
                    <a:pt x="2890" y="127934"/>
                    <a:pt x="-6035" y="163636"/>
                    <a:pt x="5867" y="169587"/>
                  </a:cubicBezTo>
                  <a:cubicBezTo>
                    <a:pt x="35619" y="184463"/>
                    <a:pt x="38593" y="95207"/>
                    <a:pt x="68345" y="89256"/>
                  </a:cubicBezTo>
                  <a:cubicBezTo>
                    <a:pt x="77271" y="83306"/>
                    <a:pt x="98097" y="0"/>
                    <a:pt x="98097" y="0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4" name="图形 1">
              <a:extLst>
                <a:ext uri="{FF2B5EF4-FFF2-40B4-BE49-F238E27FC236}">
                  <a16:creationId xmlns:a16="http://schemas.microsoft.com/office/drawing/2014/main" id="{F865122C-BA85-455E-B439-832E9F8930B3}"/>
                </a:ext>
              </a:extLst>
            </p:cNvPr>
            <p:cNvGrpSpPr/>
            <p:nvPr/>
          </p:nvGrpSpPr>
          <p:grpSpPr>
            <a:xfrm>
              <a:off x="25005977" y="3945316"/>
              <a:ext cx="188999" cy="248117"/>
              <a:chOff x="25005977" y="3945316"/>
              <a:chExt cx="188999" cy="248117"/>
            </a:xfrm>
          </p:grpSpPr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40F97F66-8436-40B5-9982-C6E0C437025B}"/>
                  </a:ext>
                </a:extLst>
              </p:cNvPr>
              <p:cNvSpPr/>
              <p:nvPr/>
            </p:nvSpPr>
            <p:spPr>
              <a:xfrm>
                <a:off x="25006349" y="3945316"/>
                <a:ext cx="188627" cy="245886"/>
              </a:xfrm>
              <a:custGeom>
                <a:avLst/>
                <a:gdLst>
                  <a:gd name="connsiteX0" fmla="*/ 5413 w 188627"/>
                  <a:gd name="connsiteY0" fmla="*/ 1175 h 245886"/>
                  <a:gd name="connsiteX1" fmla="*/ 8387 w 188627"/>
                  <a:gd name="connsiteY1" fmla="*/ 188613 h 245886"/>
                  <a:gd name="connsiteX2" fmla="*/ 20289 w 188627"/>
                  <a:gd name="connsiteY2" fmla="*/ 239192 h 245886"/>
                  <a:gd name="connsiteX3" fmla="*/ 50041 w 188627"/>
                  <a:gd name="connsiteY3" fmla="*/ 233242 h 245886"/>
                  <a:gd name="connsiteX4" fmla="*/ 94669 w 188627"/>
                  <a:gd name="connsiteY4" fmla="*/ 236217 h 245886"/>
                  <a:gd name="connsiteX5" fmla="*/ 121447 w 188627"/>
                  <a:gd name="connsiteY5" fmla="*/ 242167 h 245886"/>
                  <a:gd name="connsiteX6" fmla="*/ 145248 w 188627"/>
                  <a:gd name="connsiteY6" fmla="*/ 215390 h 245886"/>
                  <a:gd name="connsiteX7" fmla="*/ 186900 w 188627"/>
                  <a:gd name="connsiteY7" fmla="*/ 200514 h 245886"/>
                  <a:gd name="connsiteX8" fmla="*/ 112520 w 188627"/>
                  <a:gd name="connsiteY8" fmla="*/ 10101 h 245886"/>
                  <a:gd name="connsiteX9" fmla="*/ 5413 w 188627"/>
                  <a:gd name="connsiteY9" fmla="*/ 1175 h 245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8627" h="245886">
                    <a:moveTo>
                      <a:pt x="5413" y="1175"/>
                    </a:moveTo>
                    <a:cubicBezTo>
                      <a:pt x="-9463" y="75556"/>
                      <a:pt x="11364" y="111258"/>
                      <a:pt x="8387" y="188613"/>
                    </a:cubicBezTo>
                    <a:cubicBezTo>
                      <a:pt x="8387" y="200514"/>
                      <a:pt x="-6489" y="230266"/>
                      <a:pt x="20289" y="239192"/>
                    </a:cubicBezTo>
                    <a:cubicBezTo>
                      <a:pt x="29214" y="242167"/>
                      <a:pt x="44090" y="245142"/>
                      <a:pt x="50041" y="233242"/>
                    </a:cubicBezTo>
                    <a:cubicBezTo>
                      <a:pt x="58966" y="251093"/>
                      <a:pt x="94669" y="248118"/>
                      <a:pt x="94669" y="236217"/>
                    </a:cubicBezTo>
                    <a:cubicBezTo>
                      <a:pt x="97643" y="242167"/>
                      <a:pt x="115496" y="245142"/>
                      <a:pt x="121447" y="242167"/>
                    </a:cubicBezTo>
                    <a:cubicBezTo>
                      <a:pt x="136323" y="239192"/>
                      <a:pt x="142272" y="233242"/>
                      <a:pt x="145248" y="215390"/>
                    </a:cubicBezTo>
                    <a:cubicBezTo>
                      <a:pt x="163098" y="224316"/>
                      <a:pt x="183925" y="221341"/>
                      <a:pt x="186900" y="200514"/>
                    </a:cubicBezTo>
                    <a:cubicBezTo>
                      <a:pt x="192850" y="170762"/>
                      <a:pt x="186900" y="69605"/>
                      <a:pt x="112520" y="10101"/>
                    </a:cubicBezTo>
                    <a:cubicBezTo>
                      <a:pt x="97643" y="-4775"/>
                      <a:pt x="2438" y="1175"/>
                      <a:pt x="5413" y="1175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1DD5FB16-EBFA-4FF7-92B3-B6A0D0138A04}"/>
                  </a:ext>
                </a:extLst>
              </p:cNvPr>
              <p:cNvSpPr/>
              <p:nvPr/>
            </p:nvSpPr>
            <p:spPr>
              <a:xfrm>
                <a:off x="25005977" y="4059549"/>
                <a:ext cx="63546" cy="133884"/>
              </a:xfrm>
              <a:custGeom>
                <a:avLst/>
                <a:gdLst>
                  <a:gd name="connsiteX0" fmla="*/ 26612 w 63546"/>
                  <a:gd name="connsiteY0" fmla="*/ 133884 h 133884"/>
                  <a:gd name="connsiteX1" fmla="*/ 17686 w 63546"/>
                  <a:gd name="connsiteY1" fmla="*/ 130909 h 133884"/>
                  <a:gd name="connsiteX2" fmla="*/ 2810 w 63546"/>
                  <a:gd name="connsiteY2" fmla="*/ 113058 h 133884"/>
                  <a:gd name="connsiteX3" fmla="*/ 20661 w 63546"/>
                  <a:gd name="connsiteY3" fmla="*/ 2975 h 133884"/>
                  <a:gd name="connsiteX4" fmla="*/ 29586 w 63546"/>
                  <a:gd name="connsiteY4" fmla="*/ 0 h 133884"/>
                  <a:gd name="connsiteX5" fmla="*/ 32562 w 63546"/>
                  <a:gd name="connsiteY5" fmla="*/ 8925 h 133884"/>
                  <a:gd name="connsiteX6" fmla="*/ 14710 w 63546"/>
                  <a:gd name="connsiteY6" fmla="*/ 110083 h 133884"/>
                  <a:gd name="connsiteX7" fmla="*/ 23635 w 63546"/>
                  <a:gd name="connsiteY7" fmla="*/ 119008 h 133884"/>
                  <a:gd name="connsiteX8" fmla="*/ 53387 w 63546"/>
                  <a:gd name="connsiteY8" fmla="*/ 113058 h 133884"/>
                  <a:gd name="connsiteX9" fmla="*/ 62314 w 63546"/>
                  <a:gd name="connsiteY9" fmla="*/ 116033 h 133884"/>
                  <a:gd name="connsiteX10" fmla="*/ 59338 w 63546"/>
                  <a:gd name="connsiteY10" fmla="*/ 124959 h 133884"/>
                  <a:gd name="connsiteX11" fmla="*/ 26612 w 63546"/>
                  <a:gd name="connsiteY11" fmla="*/ 133884 h 13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3546" h="133884">
                    <a:moveTo>
                      <a:pt x="26612" y="133884"/>
                    </a:moveTo>
                    <a:cubicBezTo>
                      <a:pt x="23635" y="133884"/>
                      <a:pt x="20661" y="133884"/>
                      <a:pt x="17686" y="130909"/>
                    </a:cubicBezTo>
                    <a:cubicBezTo>
                      <a:pt x="8759" y="127934"/>
                      <a:pt x="5785" y="121983"/>
                      <a:pt x="2810" y="113058"/>
                    </a:cubicBezTo>
                    <a:cubicBezTo>
                      <a:pt x="-9091" y="77355"/>
                      <a:pt x="20661" y="5950"/>
                      <a:pt x="20661" y="2975"/>
                    </a:cubicBezTo>
                    <a:cubicBezTo>
                      <a:pt x="20661" y="0"/>
                      <a:pt x="26612" y="0"/>
                      <a:pt x="29586" y="0"/>
                    </a:cubicBezTo>
                    <a:cubicBezTo>
                      <a:pt x="32562" y="0"/>
                      <a:pt x="32562" y="5950"/>
                      <a:pt x="32562" y="8925"/>
                    </a:cubicBezTo>
                    <a:cubicBezTo>
                      <a:pt x="32562" y="8925"/>
                      <a:pt x="2810" y="77355"/>
                      <a:pt x="14710" y="110083"/>
                    </a:cubicBezTo>
                    <a:cubicBezTo>
                      <a:pt x="17686" y="116033"/>
                      <a:pt x="20661" y="119008"/>
                      <a:pt x="23635" y="119008"/>
                    </a:cubicBezTo>
                    <a:cubicBezTo>
                      <a:pt x="32562" y="121983"/>
                      <a:pt x="47438" y="116033"/>
                      <a:pt x="53387" y="113058"/>
                    </a:cubicBezTo>
                    <a:cubicBezTo>
                      <a:pt x="56364" y="110083"/>
                      <a:pt x="59338" y="113058"/>
                      <a:pt x="62314" y="116033"/>
                    </a:cubicBezTo>
                    <a:cubicBezTo>
                      <a:pt x="65289" y="119008"/>
                      <a:pt x="62314" y="121983"/>
                      <a:pt x="59338" y="124959"/>
                    </a:cubicBezTo>
                    <a:cubicBezTo>
                      <a:pt x="53387" y="124959"/>
                      <a:pt x="41488" y="133884"/>
                      <a:pt x="26612" y="133884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A3864DB7-FC06-42FB-B1EC-DD8971D734FF}"/>
                  </a:ext>
                </a:extLst>
              </p:cNvPr>
              <p:cNvSpPr/>
              <p:nvPr/>
            </p:nvSpPr>
            <p:spPr>
              <a:xfrm>
                <a:off x="25068291" y="4127979"/>
                <a:ext cx="77354" cy="26776"/>
              </a:xfrm>
              <a:custGeom>
                <a:avLst/>
                <a:gdLst>
                  <a:gd name="connsiteX0" fmla="*/ 8925 w 77354"/>
                  <a:gd name="connsiteY0" fmla="*/ 26777 h 26776"/>
                  <a:gd name="connsiteX1" fmla="*/ 8925 w 77354"/>
                  <a:gd name="connsiteY1" fmla="*/ 26777 h 26776"/>
                  <a:gd name="connsiteX2" fmla="*/ 0 w 77354"/>
                  <a:gd name="connsiteY2" fmla="*/ 20827 h 26776"/>
                  <a:gd name="connsiteX3" fmla="*/ 5949 w 77354"/>
                  <a:gd name="connsiteY3" fmla="*/ 14876 h 26776"/>
                  <a:gd name="connsiteX4" fmla="*/ 71404 w 77354"/>
                  <a:gd name="connsiteY4" fmla="*/ 0 h 26776"/>
                  <a:gd name="connsiteX5" fmla="*/ 77355 w 77354"/>
                  <a:gd name="connsiteY5" fmla="*/ 2975 h 26776"/>
                  <a:gd name="connsiteX6" fmla="*/ 74380 w 77354"/>
                  <a:gd name="connsiteY6" fmla="*/ 8926 h 26776"/>
                  <a:gd name="connsiteX7" fmla="*/ 8925 w 77354"/>
                  <a:gd name="connsiteY7" fmla="*/ 26777 h 26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7354" h="26776">
                    <a:moveTo>
                      <a:pt x="8925" y="26777"/>
                    </a:moveTo>
                    <a:cubicBezTo>
                      <a:pt x="8925" y="26777"/>
                      <a:pt x="5949" y="26777"/>
                      <a:pt x="8925" y="26777"/>
                    </a:cubicBezTo>
                    <a:cubicBezTo>
                      <a:pt x="2974" y="26777"/>
                      <a:pt x="0" y="23802"/>
                      <a:pt x="0" y="20827"/>
                    </a:cubicBezTo>
                    <a:cubicBezTo>
                      <a:pt x="0" y="17851"/>
                      <a:pt x="2974" y="14876"/>
                      <a:pt x="5949" y="14876"/>
                    </a:cubicBezTo>
                    <a:cubicBezTo>
                      <a:pt x="20825" y="14876"/>
                      <a:pt x="59504" y="5951"/>
                      <a:pt x="71404" y="0"/>
                    </a:cubicBezTo>
                    <a:cubicBezTo>
                      <a:pt x="74380" y="0"/>
                      <a:pt x="77355" y="0"/>
                      <a:pt x="77355" y="2975"/>
                    </a:cubicBezTo>
                    <a:cubicBezTo>
                      <a:pt x="77355" y="5951"/>
                      <a:pt x="77355" y="8926"/>
                      <a:pt x="74380" y="8926"/>
                    </a:cubicBezTo>
                    <a:cubicBezTo>
                      <a:pt x="71404" y="11901"/>
                      <a:pt x="29752" y="26777"/>
                      <a:pt x="8925" y="2677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C2B2725E-AAF3-4439-B385-4B43D8130549}"/>
                </a:ext>
              </a:extLst>
            </p:cNvPr>
            <p:cNvSpPr/>
            <p:nvPr/>
          </p:nvSpPr>
          <p:spPr>
            <a:xfrm>
              <a:off x="24222634" y="3012542"/>
              <a:ext cx="922295" cy="996612"/>
            </a:xfrm>
            <a:custGeom>
              <a:avLst/>
              <a:gdLst>
                <a:gd name="connsiteX0" fmla="*/ 119707 w 922295"/>
                <a:gd name="connsiteY0" fmla="*/ 359734 h 996612"/>
                <a:gd name="connsiteX1" fmla="*/ 464830 w 922295"/>
                <a:gd name="connsiteY1" fmla="*/ 579900 h 996612"/>
                <a:gd name="connsiteX2" fmla="*/ 771278 w 922295"/>
                <a:gd name="connsiteY2" fmla="*/ 996428 h 996612"/>
                <a:gd name="connsiteX3" fmla="*/ 911111 w 922295"/>
                <a:gd name="connsiteY3" fmla="*/ 945850 h 996612"/>
                <a:gd name="connsiteX4" fmla="*/ 717722 w 922295"/>
                <a:gd name="connsiteY4" fmla="*/ 407338 h 996612"/>
                <a:gd name="connsiteX5" fmla="*/ 280368 w 922295"/>
                <a:gd name="connsiteY5" fmla="*/ 65189 h 996612"/>
                <a:gd name="connsiteX6" fmla="*/ 24500 w 922295"/>
                <a:gd name="connsiteY6" fmla="*/ 20561 h 996612"/>
                <a:gd name="connsiteX7" fmla="*/ 119707 w 922295"/>
                <a:gd name="connsiteY7" fmla="*/ 359734 h 99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295" h="996612">
                  <a:moveTo>
                    <a:pt x="119707" y="359734"/>
                  </a:moveTo>
                  <a:cubicBezTo>
                    <a:pt x="179211" y="422214"/>
                    <a:pt x="417227" y="505519"/>
                    <a:pt x="464830" y="579900"/>
                  </a:cubicBezTo>
                  <a:cubicBezTo>
                    <a:pt x="536236" y="687007"/>
                    <a:pt x="693921" y="1005354"/>
                    <a:pt x="771278" y="996428"/>
                  </a:cubicBezTo>
                  <a:cubicBezTo>
                    <a:pt x="833756" y="981552"/>
                    <a:pt x="851607" y="975602"/>
                    <a:pt x="911111" y="945850"/>
                  </a:cubicBezTo>
                  <a:cubicBezTo>
                    <a:pt x="961690" y="850643"/>
                    <a:pt x="830782" y="573949"/>
                    <a:pt x="717722" y="407338"/>
                  </a:cubicBezTo>
                  <a:cubicBezTo>
                    <a:pt x="682021" y="350809"/>
                    <a:pt x="435078" y="154445"/>
                    <a:pt x="280368" y="65189"/>
                  </a:cubicBezTo>
                  <a:cubicBezTo>
                    <a:pt x="205988" y="23536"/>
                    <a:pt x="63177" y="-30018"/>
                    <a:pt x="24500" y="20561"/>
                  </a:cubicBezTo>
                  <a:cubicBezTo>
                    <a:pt x="-40955" y="91966"/>
                    <a:pt x="36401" y="273453"/>
                    <a:pt x="119707" y="359734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477F019B-78F4-4585-B1AF-FFAF9BB5EFB8}"/>
                </a:ext>
              </a:extLst>
            </p:cNvPr>
            <p:cNvSpPr/>
            <p:nvPr/>
          </p:nvSpPr>
          <p:spPr>
            <a:xfrm>
              <a:off x="24218270" y="3018971"/>
              <a:ext cx="580765" cy="757933"/>
            </a:xfrm>
            <a:custGeom>
              <a:avLst/>
              <a:gdLst>
                <a:gd name="connsiteX0" fmla="*/ 576302 w 580765"/>
                <a:gd name="connsiteY0" fmla="*/ 757934 h 757933"/>
                <a:gd name="connsiteX1" fmla="*/ 570352 w 580765"/>
                <a:gd name="connsiteY1" fmla="*/ 754959 h 757933"/>
                <a:gd name="connsiteX2" fmla="*/ 463245 w 580765"/>
                <a:gd name="connsiteY2" fmla="*/ 573471 h 757933"/>
                <a:gd name="connsiteX3" fmla="*/ 195476 w 580765"/>
                <a:gd name="connsiteY3" fmla="*/ 409835 h 757933"/>
                <a:gd name="connsiteX4" fmla="*/ 34814 w 580765"/>
                <a:gd name="connsiteY4" fmla="*/ 231322 h 757933"/>
                <a:gd name="connsiteX5" fmla="*/ 19938 w 580765"/>
                <a:gd name="connsiteY5" fmla="*/ 2231 h 757933"/>
                <a:gd name="connsiteX6" fmla="*/ 28864 w 580765"/>
                <a:gd name="connsiteY6" fmla="*/ 2231 h 757933"/>
                <a:gd name="connsiteX7" fmla="*/ 28864 w 580765"/>
                <a:gd name="connsiteY7" fmla="*/ 11157 h 757933"/>
                <a:gd name="connsiteX8" fmla="*/ 43740 w 580765"/>
                <a:gd name="connsiteY8" fmla="*/ 228347 h 757933"/>
                <a:gd name="connsiteX9" fmla="*/ 198451 w 580765"/>
                <a:gd name="connsiteY9" fmla="*/ 400909 h 757933"/>
                <a:gd name="connsiteX10" fmla="*/ 469194 w 580765"/>
                <a:gd name="connsiteY10" fmla="*/ 570496 h 757933"/>
                <a:gd name="connsiteX11" fmla="*/ 576302 w 580765"/>
                <a:gd name="connsiteY11" fmla="*/ 751983 h 757933"/>
                <a:gd name="connsiteX12" fmla="*/ 576302 w 580765"/>
                <a:gd name="connsiteY12" fmla="*/ 757934 h 757933"/>
                <a:gd name="connsiteX13" fmla="*/ 576302 w 580765"/>
                <a:gd name="connsiteY13" fmla="*/ 757934 h 757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80765" h="757933">
                  <a:moveTo>
                    <a:pt x="576302" y="757934"/>
                  </a:moveTo>
                  <a:cubicBezTo>
                    <a:pt x="573326" y="757934"/>
                    <a:pt x="573326" y="757934"/>
                    <a:pt x="570352" y="754959"/>
                  </a:cubicBezTo>
                  <a:cubicBezTo>
                    <a:pt x="570352" y="754959"/>
                    <a:pt x="484070" y="606198"/>
                    <a:pt x="463245" y="573471"/>
                  </a:cubicBezTo>
                  <a:cubicBezTo>
                    <a:pt x="448369" y="549669"/>
                    <a:pt x="311508" y="469339"/>
                    <a:pt x="195476" y="409835"/>
                  </a:cubicBezTo>
                  <a:cubicBezTo>
                    <a:pt x="192500" y="409835"/>
                    <a:pt x="103244" y="377107"/>
                    <a:pt x="34814" y="231322"/>
                  </a:cubicBezTo>
                  <a:cubicBezTo>
                    <a:pt x="-33615" y="82562"/>
                    <a:pt x="19938" y="8182"/>
                    <a:pt x="19938" y="2231"/>
                  </a:cubicBezTo>
                  <a:cubicBezTo>
                    <a:pt x="22913" y="-744"/>
                    <a:pt x="25889" y="-744"/>
                    <a:pt x="28864" y="2231"/>
                  </a:cubicBezTo>
                  <a:cubicBezTo>
                    <a:pt x="31840" y="5207"/>
                    <a:pt x="31840" y="8182"/>
                    <a:pt x="28864" y="11157"/>
                  </a:cubicBezTo>
                  <a:cubicBezTo>
                    <a:pt x="28864" y="11157"/>
                    <a:pt x="-21715" y="85537"/>
                    <a:pt x="43740" y="228347"/>
                  </a:cubicBezTo>
                  <a:cubicBezTo>
                    <a:pt x="109194" y="371157"/>
                    <a:pt x="198451" y="400909"/>
                    <a:pt x="198451" y="400909"/>
                  </a:cubicBezTo>
                  <a:cubicBezTo>
                    <a:pt x="257955" y="433636"/>
                    <a:pt x="448369" y="537769"/>
                    <a:pt x="469194" y="570496"/>
                  </a:cubicBezTo>
                  <a:cubicBezTo>
                    <a:pt x="490021" y="603223"/>
                    <a:pt x="576302" y="749008"/>
                    <a:pt x="576302" y="751983"/>
                  </a:cubicBezTo>
                  <a:cubicBezTo>
                    <a:pt x="582253" y="754959"/>
                    <a:pt x="582253" y="757934"/>
                    <a:pt x="576302" y="757934"/>
                  </a:cubicBezTo>
                  <a:cubicBezTo>
                    <a:pt x="579277" y="757934"/>
                    <a:pt x="579277" y="757934"/>
                    <a:pt x="576302" y="757934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0435232A-F486-4171-A925-40783AAC4246}"/>
                </a:ext>
              </a:extLst>
            </p:cNvPr>
            <p:cNvSpPr/>
            <p:nvPr/>
          </p:nvSpPr>
          <p:spPr>
            <a:xfrm>
              <a:off x="23744324" y="3502500"/>
              <a:ext cx="390983" cy="45313"/>
            </a:xfrm>
            <a:custGeom>
              <a:avLst/>
              <a:gdLst>
                <a:gd name="connsiteX0" fmla="*/ 5949 w 390983"/>
                <a:gd name="connsiteY0" fmla="*/ 45314 h 45313"/>
                <a:gd name="connsiteX1" fmla="*/ 0 w 390983"/>
                <a:gd name="connsiteY1" fmla="*/ 42339 h 45313"/>
                <a:gd name="connsiteX2" fmla="*/ 2974 w 390983"/>
                <a:gd name="connsiteY2" fmla="*/ 36388 h 45313"/>
                <a:gd name="connsiteX3" fmla="*/ 386777 w 390983"/>
                <a:gd name="connsiteY3" fmla="*/ 9612 h 45313"/>
                <a:gd name="connsiteX4" fmla="*/ 389751 w 390983"/>
                <a:gd name="connsiteY4" fmla="*/ 15562 h 45313"/>
                <a:gd name="connsiteX5" fmla="*/ 383801 w 390983"/>
                <a:gd name="connsiteY5" fmla="*/ 18537 h 45313"/>
                <a:gd name="connsiteX6" fmla="*/ 5949 w 390983"/>
                <a:gd name="connsiteY6" fmla="*/ 45314 h 45313"/>
                <a:gd name="connsiteX7" fmla="*/ 5949 w 390983"/>
                <a:gd name="connsiteY7" fmla="*/ 45314 h 45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983" h="45313">
                  <a:moveTo>
                    <a:pt x="5949" y="45314"/>
                  </a:moveTo>
                  <a:cubicBezTo>
                    <a:pt x="2974" y="45314"/>
                    <a:pt x="2974" y="45314"/>
                    <a:pt x="0" y="42339"/>
                  </a:cubicBezTo>
                  <a:cubicBezTo>
                    <a:pt x="0" y="39364"/>
                    <a:pt x="0" y="36388"/>
                    <a:pt x="2974" y="36388"/>
                  </a:cubicBezTo>
                  <a:cubicBezTo>
                    <a:pt x="83305" y="3661"/>
                    <a:pt x="288594" y="-11215"/>
                    <a:pt x="386777" y="9612"/>
                  </a:cubicBezTo>
                  <a:cubicBezTo>
                    <a:pt x="389751" y="9612"/>
                    <a:pt x="392726" y="12587"/>
                    <a:pt x="389751" y="15562"/>
                  </a:cubicBezTo>
                  <a:cubicBezTo>
                    <a:pt x="389751" y="18537"/>
                    <a:pt x="386777" y="21512"/>
                    <a:pt x="383801" y="18537"/>
                  </a:cubicBezTo>
                  <a:cubicBezTo>
                    <a:pt x="288594" y="-2289"/>
                    <a:pt x="89256" y="12587"/>
                    <a:pt x="5949" y="45314"/>
                  </a:cubicBezTo>
                  <a:cubicBezTo>
                    <a:pt x="8925" y="45314"/>
                    <a:pt x="8925" y="45314"/>
                    <a:pt x="5949" y="45314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683B5F80-5872-4175-9738-C3B14A890F2B}"/>
                </a:ext>
              </a:extLst>
            </p:cNvPr>
            <p:cNvSpPr/>
            <p:nvPr/>
          </p:nvSpPr>
          <p:spPr>
            <a:xfrm>
              <a:off x="23827509" y="2907746"/>
              <a:ext cx="390988" cy="133874"/>
            </a:xfrm>
            <a:custGeom>
              <a:avLst/>
              <a:gdLst>
                <a:gd name="connsiteX0" fmla="*/ 9047 w 390988"/>
                <a:gd name="connsiteY0" fmla="*/ 107506 h 133874"/>
                <a:gd name="connsiteX1" fmla="*/ 380947 w 390988"/>
                <a:gd name="connsiteY1" fmla="*/ 92630 h 133874"/>
                <a:gd name="connsiteX2" fmla="*/ 389873 w 390988"/>
                <a:gd name="connsiteY2" fmla="*/ 71803 h 133874"/>
                <a:gd name="connsiteX3" fmla="*/ 342270 w 390988"/>
                <a:gd name="connsiteY3" fmla="*/ 398 h 133874"/>
                <a:gd name="connsiteX4" fmla="*/ 32848 w 390988"/>
                <a:gd name="connsiteY4" fmla="*/ 18249 h 133874"/>
                <a:gd name="connsiteX5" fmla="*/ 20948 w 390988"/>
                <a:gd name="connsiteY5" fmla="*/ 27175 h 133874"/>
                <a:gd name="connsiteX6" fmla="*/ 3096 w 390988"/>
                <a:gd name="connsiteY6" fmla="*/ 92630 h 133874"/>
                <a:gd name="connsiteX7" fmla="*/ 9047 w 390988"/>
                <a:gd name="connsiteY7" fmla="*/ 107506 h 133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988" h="133874">
                  <a:moveTo>
                    <a:pt x="9047" y="107506"/>
                  </a:moveTo>
                  <a:cubicBezTo>
                    <a:pt x="134006" y="146183"/>
                    <a:pt x="258965" y="143208"/>
                    <a:pt x="380947" y="92630"/>
                  </a:cubicBezTo>
                  <a:cubicBezTo>
                    <a:pt x="389873" y="89654"/>
                    <a:pt x="392849" y="77754"/>
                    <a:pt x="389873" y="71803"/>
                  </a:cubicBezTo>
                  <a:cubicBezTo>
                    <a:pt x="380947" y="56927"/>
                    <a:pt x="354170" y="-5552"/>
                    <a:pt x="342270" y="398"/>
                  </a:cubicBezTo>
                  <a:cubicBezTo>
                    <a:pt x="241112" y="33126"/>
                    <a:pt x="136980" y="27175"/>
                    <a:pt x="32848" y="18249"/>
                  </a:cubicBezTo>
                  <a:cubicBezTo>
                    <a:pt x="26897" y="18249"/>
                    <a:pt x="20948" y="21225"/>
                    <a:pt x="20948" y="27175"/>
                  </a:cubicBezTo>
                  <a:cubicBezTo>
                    <a:pt x="12021" y="50977"/>
                    <a:pt x="6072" y="68828"/>
                    <a:pt x="3096" y="92630"/>
                  </a:cubicBezTo>
                  <a:cubicBezTo>
                    <a:pt x="-2855" y="98580"/>
                    <a:pt x="121" y="104530"/>
                    <a:pt x="9047" y="107506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20723D8B-26ED-4259-A500-67DFF9329DF6}"/>
                </a:ext>
              </a:extLst>
            </p:cNvPr>
            <p:cNvSpPr/>
            <p:nvPr/>
          </p:nvSpPr>
          <p:spPr>
            <a:xfrm>
              <a:off x="23866384" y="3056905"/>
              <a:ext cx="135592" cy="1404297"/>
            </a:xfrm>
            <a:custGeom>
              <a:avLst/>
              <a:gdLst>
                <a:gd name="connsiteX0" fmla="*/ 112980 w 135592"/>
                <a:gd name="connsiteY0" fmla="*/ 1404298 h 1404297"/>
                <a:gd name="connsiteX1" fmla="*/ 112980 w 135592"/>
                <a:gd name="connsiteY1" fmla="*/ 1404298 h 1404297"/>
                <a:gd name="connsiteX2" fmla="*/ 107030 w 135592"/>
                <a:gd name="connsiteY2" fmla="*/ 1398347 h 1404297"/>
                <a:gd name="connsiteX3" fmla="*/ 14799 w 135592"/>
                <a:gd name="connsiteY3" fmla="*/ 556364 h 1404297"/>
                <a:gd name="connsiteX4" fmla="*/ 32649 w 135592"/>
                <a:gd name="connsiteY4" fmla="*/ 5950 h 1404297"/>
                <a:gd name="connsiteX5" fmla="*/ 38600 w 135592"/>
                <a:gd name="connsiteY5" fmla="*/ 0 h 1404297"/>
                <a:gd name="connsiteX6" fmla="*/ 44551 w 135592"/>
                <a:gd name="connsiteY6" fmla="*/ 5950 h 1404297"/>
                <a:gd name="connsiteX7" fmla="*/ 26700 w 135592"/>
                <a:gd name="connsiteY7" fmla="*/ 550413 h 1404297"/>
                <a:gd name="connsiteX8" fmla="*/ 118931 w 135592"/>
                <a:gd name="connsiteY8" fmla="*/ 1398347 h 1404297"/>
                <a:gd name="connsiteX9" fmla="*/ 112980 w 135592"/>
                <a:gd name="connsiteY9" fmla="*/ 1404298 h 1404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592" h="1404297">
                  <a:moveTo>
                    <a:pt x="112980" y="1404298"/>
                  </a:moveTo>
                  <a:cubicBezTo>
                    <a:pt x="112980" y="1404298"/>
                    <a:pt x="112980" y="1404298"/>
                    <a:pt x="112980" y="1404298"/>
                  </a:cubicBezTo>
                  <a:cubicBezTo>
                    <a:pt x="107030" y="1404298"/>
                    <a:pt x="107030" y="1401322"/>
                    <a:pt x="107030" y="1398347"/>
                  </a:cubicBezTo>
                  <a:cubicBezTo>
                    <a:pt x="145709" y="1282314"/>
                    <a:pt x="112980" y="984793"/>
                    <a:pt x="14799" y="556364"/>
                  </a:cubicBezTo>
                  <a:cubicBezTo>
                    <a:pt x="-26855" y="380827"/>
                    <a:pt x="32649" y="8926"/>
                    <a:pt x="32649" y="5950"/>
                  </a:cubicBezTo>
                  <a:cubicBezTo>
                    <a:pt x="32649" y="2975"/>
                    <a:pt x="35626" y="0"/>
                    <a:pt x="38600" y="0"/>
                  </a:cubicBezTo>
                  <a:cubicBezTo>
                    <a:pt x="41577" y="0"/>
                    <a:pt x="44551" y="2975"/>
                    <a:pt x="44551" y="5950"/>
                  </a:cubicBezTo>
                  <a:cubicBezTo>
                    <a:pt x="44551" y="8926"/>
                    <a:pt x="-11979" y="377851"/>
                    <a:pt x="26700" y="550413"/>
                  </a:cubicBezTo>
                  <a:cubicBezTo>
                    <a:pt x="95130" y="853884"/>
                    <a:pt x="169510" y="1246612"/>
                    <a:pt x="118931" y="1398347"/>
                  </a:cubicBezTo>
                  <a:cubicBezTo>
                    <a:pt x="115957" y="1404298"/>
                    <a:pt x="115957" y="1404298"/>
                    <a:pt x="112980" y="1404298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3361E9C9-A0A6-4029-AAF0-A245A6177940}"/>
                </a:ext>
              </a:extLst>
            </p:cNvPr>
            <p:cNvSpPr/>
            <p:nvPr/>
          </p:nvSpPr>
          <p:spPr>
            <a:xfrm>
              <a:off x="24279862" y="4041698"/>
              <a:ext cx="261817" cy="235041"/>
            </a:xfrm>
            <a:custGeom>
              <a:avLst/>
              <a:gdLst>
                <a:gd name="connsiteX0" fmla="*/ 220164 w 261817"/>
                <a:gd name="connsiteY0" fmla="*/ 235041 h 235041"/>
                <a:gd name="connsiteX1" fmla="*/ 217190 w 261817"/>
                <a:gd name="connsiteY1" fmla="*/ 235041 h 235041"/>
                <a:gd name="connsiteX2" fmla="*/ 0 w 261817"/>
                <a:gd name="connsiteY2" fmla="*/ 41653 h 235041"/>
                <a:gd name="connsiteX3" fmla="*/ 0 w 261817"/>
                <a:gd name="connsiteY3" fmla="*/ 38678 h 235041"/>
                <a:gd name="connsiteX4" fmla="*/ 83305 w 261817"/>
                <a:gd name="connsiteY4" fmla="*/ 0 h 235041"/>
                <a:gd name="connsiteX5" fmla="*/ 86280 w 261817"/>
                <a:gd name="connsiteY5" fmla="*/ 5951 h 235041"/>
                <a:gd name="connsiteX6" fmla="*/ 255867 w 261817"/>
                <a:gd name="connsiteY6" fmla="*/ 169587 h 235041"/>
                <a:gd name="connsiteX7" fmla="*/ 261818 w 261817"/>
                <a:gd name="connsiteY7" fmla="*/ 172562 h 235041"/>
                <a:gd name="connsiteX8" fmla="*/ 220164 w 261817"/>
                <a:gd name="connsiteY8" fmla="*/ 235041 h 235041"/>
                <a:gd name="connsiteX9" fmla="*/ 8925 w 261817"/>
                <a:gd name="connsiteY9" fmla="*/ 44628 h 235041"/>
                <a:gd name="connsiteX10" fmla="*/ 214213 w 261817"/>
                <a:gd name="connsiteY10" fmla="*/ 223141 h 235041"/>
                <a:gd name="connsiteX11" fmla="*/ 240991 w 261817"/>
                <a:gd name="connsiteY11" fmla="*/ 178512 h 235041"/>
                <a:gd name="connsiteX12" fmla="*/ 74380 w 261817"/>
                <a:gd name="connsiteY12" fmla="*/ 14876 h 235041"/>
                <a:gd name="connsiteX13" fmla="*/ 8925 w 261817"/>
                <a:gd name="connsiteY13" fmla="*/ 44628 h 235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1817" h="235041">
                  <a:moveTo>
                    <a:pt x="220164" y="235041"/>
                  </a:moveTo>
                  <a:lnTo>
                    <a:pt x="217190" y="235041"/>
                  </a:lnTo>
                  <a:cubicBezTo>
                    <a:pt x="26776" y="181488"/>
                    <a:pt x="0" y="44628"/>
                    <a:pt x="0" y="41653"/>
                  </a:cubicBezTo>
                  <a:lnTo>
                    <a:pt x="0" y="38678"/>
                  </a:lnTo>
                  <a:lnTo>
                    <a:pt x="83305" y="0"/>
                  </a:lnTo>
                  <a:lnTo>
                    <a:pt x="86280" y="5951"/>
                  </a:lnTo>
                  <a:cubicBezTo>
                    <a:pt x="86280" y="5951"/>
                    <a:pt x="145784" y="145785"/>
                    <a:pt x="255867" y="169587"/>
                  </a:cubicBezTo>
                  <a:lnTo>
                    <a:pt x="261818" y="172562"/>
                  </a:lnTo>
                  <a:lnTo>
                    <a:pt x="220164" y="235041"/>
                  </a:lnTo>
                  <a:close/>
                  <a:moveTo>
                    <a:pt x="8925" y="44628"/>
                  </a:moveTo>
                  <a:cubicBezTo>
                    <a:pt x="14876" y="68430"/>
                    <a:pt x="53553" y="175537"/>
                    <a:pt x="214213" y="223141"/>
                  </a:cubicBezTo>
                  <a:lnTo>
                    <a:pt x="240991" y="178512"/>
                  </a:lnTo>
                  <a:cubicBezTo>
                    <a:pt x="139833" y="151736"/>
                    <a:pt x="86280" y="41653"/>
                    <a:pt x="74380" y="14876"/>
                  </a:cubicBezTo>
                  <a:lnTo>
                    <a:pt x="8925" y="44628"/>
                  </a:ln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1" name="图形 1">
              <a:extLst>
                <a:ext uri="{FF2B5EF4-FFF2-40B4-BE49-F238E27FC236}">
                  <a16:creationId xmlns:a16="http://schemas.microsoft.com/office/drawing/2014/main" id="{DFBA4DF4-B393-4486-8165-D0FF197A38BF}"/>
                </a:ext>
              </a:extLst>
            </p:cNvPr>
            <p:cNvGrpSpPr/>
            <p:nvPr/>
          </p:nvGrpSpPr>
          <p:grpSpPr>
            <a:xfrm>
              <a:off x="24133521" y="2868944"/>
              <a:ext cx="883610" cy="340811"/>
              <a:chOff x="24133521" y="2868944"/>
              <a:chExt cx="883610" cy="340811"/>
            </a:xfrm>
          </p:grpSpPr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D0530E49-D1ED-4BD3-8753-EA0698F69086}"/>
                  </a:ext>
                </a:extLst>
              </p:cNvPr>
              <p:cNvSpPr/>
              <p:nvPr/>
            </p:nvSpPr>
            <p:spPr>
              <a:xfrm>
                <a:off x="24133521" y="2868944"/>
                <a:ext cx="883610" cy="340811"/>
              </a:xfrm>
              <a:custGeom>
                <a:avLst/>
                <a:gdLst>
                  <a:gd name="connsiteX0" fmla="*/ 607497 w 883610"/>
                  <a:gd name="connsiteY0" fmla="*/ 48126 h 340811"/>
                  <a:gd name="connsiteX1" fmla="*/ 872290 w 883610"/>
                  <a:gd name="connsiteY1" fmla="*/ 217713 h 340811"/>
                  <a:gd name="connsiteX2" fmla="*/ 881215 w 883610"/>
                  <a:gd name="connsiteY2" fmla="*/ 238539 h 340811"/>
                  <a:gd name="connsiteX3" fmla="*/ 839563 w 883610"/>
                  <a:gd name="connsiteY3" fmla="*/ 330771 h 340811"/>
                  <a:gd name="connsiteX4" fmla="*/ 818736 w 883610"/>
                  <a:gd name="connsiteY4" fmla="*/ 339696 h 340811"/>
                  <a:gd name="connsiteX5" fmla="*/ 509314 w 883610"/>
                  <a:gd name="connsiteY5" fmla="*/ 167134 h 340811"/>
                  <a:gd name="connsiteX6" fmla="*/ 36257 w 883610"/>
                  <a:gd name="connsiteY6" fmla="*/ 146308 h 340811"/>
                  <a:gd name="connsiteX7" fmla="*/ 21381 w 883610"/>
                  <a:gd name="connsiteY7" fmla="*/ 143333 h 340811"/>
                  <a:gd name="connsiteX8" fmla="*/ 12456 w 883610"/>
                  <a:gd name="connsiteY8" fmla="*/ 134407 h 340811"/>
                  <a:gd name="connsiteX9" fmla="*/ 54108 w 883610"/>
                  <a:gd name="connsiteY9" fmla="*/ 45151 h 340811"/>
                  <a:gd name="connsiteX10" fmla="*/ 351629 w 883610"/>
                  <a:gd name="connsiteY10" fmla="*/ 523 h 340811"/>
                  <a:gd name="connsiteX11" fmla="*/ 607497 w 883610"/>
                  <a:gd name="connsiteY11" fmla="*/ 48126 h 340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3610" h="340811">
                    <a:moveTo>
                      <a:pt x="607497" y="48126"/>
                    </a:moveTo>
                    <a:cubicBezTo>
                      <a:pt x="702703" y="98704"/>
                      <a:pt x="762207" y="184986"/>
                      <a:pt x="872290" y="217713"/>
                    </a:cubicBezTo>
                    <a:cubicBezTo>
                      <a:pt x="881215" y="220688"/>
                      <a:pt x="887166" y="229614"/>
                      <a:pt x="881215" y="238539"/>
                    </a:cubicBezTo>
                    <a:cubicBezTo>
                      <a:pt x="860390" y="268291"/>
                      <a:pt x="848488" y="298043"/>
                      <a:pt x="839563" y="330771"/>
                    </a:cubicBezTo>
                    <a:cubicBezTo>
                      <a:pt x="836587" y="339696"/>
                      <a:pt x="827662" y="342671"/>
                      <a:pt x="818736" y="339696"/>
                    </a:cubicBezTo>
                    <a:cubicBezTo>
                      <a:pt x="693777" y="312919"/>
                      <a:pt x="610472" y="229614"/>
                      <a:pt x="509314" y="167134"/>
                    </a:cubicBezTo>
                    <a:cubicBezTo>
                      <a:pt x="372455" y="83828"/>
                      <a:pt x="187992" y="110605"/>
                      <a:pt x="36257" y="146308"/>
                    </a:cubicBezTo>
                    <a:cubicBezTo>
                      <a:pt x="30307" y="146308"/>
                      <a:pt x="27332" y="146308"/>
                      <a:pt x="21381" y="143333"/>
                    </a:cubicBezTo>
                    <a:cubicBezTo>
                      <a:pt x="18405" y="140357"/>
                      <a:pt x="15431" y="137382"/>
                      <a:pt x="12456" y="134407"/>
                    </a:cubicBezTo>
                    <a:cubicBezTo>
                      <a:pt x="-8371" y="77878"/>
                      <a:pt x="-8371" y="60027"/>
                      <a:pt x="54108" y="45151"/>
                    </a:cubicBezTo>
                    <a:cubicBezTo>
                      <a:pt x="149315" y="24324"/>
                      <a:pt x="250473" y="6473"/>
                      <a:pt x="351629" y="523"/>
                    </a:cubicBezTo>
                    <a:cubicBezTo>
                      <a:pt x="440885" y="-2452"/>
                      <a:pt x="530141" y="6473"/>
                      <a:pt x="607497" y="48126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A4A5EA42-3D27-4B97-84D8-0CE3AC4B6162}"/>
                  </a:ext>
                </a:extLst>
              </p:cNvPr>
              <p:cNvSpPr/>
              <p:nvPr/>
            </p:nvSpPr>
            <p:spPr>
              <a:xfrm>
                <a:off x="24922505" y="3074756"/>
                <a:ext cx="65454" cy="127933"/>
              </a:xfrm>
              <a:custGeom>
                <a:avLst/>
                <a:gdLst>
                  <a:gd name="connsiteX0" fmla="*/ 11902 w 65454"/>
                  <a:gd name="connsiteY0" fmla="*/ 127934 h 127933"/>
                  <a:gd name="connsiteX1" fmla="*/ 0 w 65454"/>
                  <a:gd name="connsiteY1" fmla="*/ 124959 h 127933"/>
                  <a:gd name="connsiteX2" fmla="*/ 56530 w 65454"/>
                  <a:gd name="connsiteY2" fmla="*/ 0 h 127933"/>
                  <a:gd name="connsiteX3" fmla="*/ 65455 w 65454"/>
                  <a:gd name="connsiteY3" fmla="*/ 5950 h 127933"/>
                  <a:gd name="connsiteX4" fmla="*/ 11902 w 65454"/>
                  <a:gd name="connsiteY4" fmla="*/ 127934 h 127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454" h="127933">
                    <a:moveTo>
                      <a:pt x="11902" y="127934"/>
                    </a:moveTo>
                    <a:lnTo>
                      <a:pt x="0" y="124959"/>
                    </a:lnTo>
                    <a:cubicBezTo>
                      <a:pt x="0" y="121983"/>
                      <a:pt x="17851" y="47603"/>
                      <a:pt x="56530" y="0"/>
                    </a:cubicBezTo>
                    <a:lnTo>
                      <a:pt x="65455" y="5950"/>
                    </a:lnTo>
                    <a:cubicBezTo>
                      <a:pt x="26778" y="53554"/>
                      <a:pt x="11902" y="127934"/>
                      <a:pt x="11902" y="127934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95EB3E06-3B42-46AC-8CB8-BC5EB1BC898A}"/>
                  </a:ext>
                </a:extLst>
              </p:cNvPr>
              <p:cNvSpPr/>
              <p:nvPr/>
            </p:nvSpPr>
            <p:spPr>
              <a:xfrm>
                <a:off x="24880852" y="3056905"/>
                <a:ext cx="65454" cy="127933"/>
              </a:xfrm>
              <a:custGeom>
                <a:avLst/>
                <a:gdLst>
                  <a:gd name="connsiteX0" fmla="*/ 11902 w 65454"/>
                  <a:gd name="connsiteY0" fmla="*/ 127934 h 127933"/>
                  <a:gd name="connsiteX1" fmla="*/ 0 w 65454"/>
                  <a:gd name="connsiteY1" fmla="*/ 124959 h 127933"/>
                  <a:gd name="connsiteX2" fmla="*/ 56530 w 65454"/>
                  <a:gd name="connsiteY2" fmla="*/ 0 h 127933"/>
                  <a:gd name="connsiteX3" fmla="*/ 65455 w 65454"/>
                  <a:gd name="connsiteY3" fmla="*/ 5950 h 127933"/>
                  <a:gd name="connsiteX4" fmla="*/ 11902 w 65454"/>
                  <a:gd name="connsiteY4" fmla="*/ 127934 h 127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454" h="127933">
                    <a:moveTo>
                      <a:pt x="11902" y="127934"/>
                    </a:moveTo>
                    <a:lnTo>
                      <a:pt x="0" y="124959"/>
                    </a:lnTo>
                    <a:cubicBezTo>
                      <a:pt x="0" y="121984"/>
                      <a:pt x="17852" y="47603"/>
                      <a:pt x="56530" y="0"/>
                    </a:cubicBezTo>
                    <a:lnTo>
                      <a:pt x="65455" y="5950"/>
                    </a:lnTo>
                    <a:cubicBezTo>
                      <a:pt x="26778" y="53554"/>
                      <a:pt x="11902" y="127934"/>
                      <a:pt x="11902" y="127934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2" name="图形 1">
              <a:extLst>
                <a:ext uri="{FF2B5EF4-FFF2-40B4-BE49-F238E27FC236}">
                  <a16:creationId xmlns:a16="http://schemas.microsoft.com/office/drawing/2014/main" id="{C026FE33-A990-4BD3-B6A1-D9FB42A452CF}"/>
                </a:ext>
              </a:extLst>
            </p:cNvPr>
            <p:cNvGrpSpPr/>
            <p:nvPr/>
          </p:nvGrpSpPr>
          <p:grpSpPr>
            <a:xfrm>
              <a:off x="24080291" y="2696314"/>
              <a:ext cx="759499" cy="271334"/>
              <a:chOff x="24080291" y="2696314"/>
              <a:chExt cx="759499" cy="271334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12C5AD8F-6CE9-4CAE-AB5B-DD2FCE1CD873}"/>
                  </a:ext>
                </a:extLst>
              </p:cNvPr>
              <p:cNvSpPr/>
              <p:nvPr/>
            </p:nvSpPr>
            <p:spPr>
              <a:xfrm>
                <a:off x="24080291" y="2696314"/>
                <a:ext cx="759499" cy="271334"/>
              </a:xfrm>
              <a:custGeom>
                <a:avLst/>
                <a:gdLst>
                  <a:gd name="connsiteX0" fmla="*/ 231 w 759499"/>
                  <a:gd name="connsiteY0" fmla="*/ 241583 h 271334"/>
                  <a:gd name="connsiteX1" fmla="*/ 21058 w 759499"/>
                  <a:gd name="connsiteY1" fmla="*/ 208855 h 271334"/>
                  <a:gd name="connsiteX2" fmla="*/ 169819 w 759499"/>
                  <a:gd name="connsiteY2" fmla="*/ 92822 h 271334"/>
                  <a:gd name="connsiteX3" fmla="*/ 410810 w 759499"/>
                  <a:gd name="connsiteY3" fmla="*/ 591 h 271334"/>
                  <a:gd name="connsiteX4" fmla="*/ 726181 w 759499"/>
                  <a:gd name="connsiteY4" fmla="*/ 6541 h 271334"/>
                  <a:gd name="connsiteX5" fmla="*/ 747008 w 759499"/>
                  <a:gd name="connsiteY5" fmla="*/ 18442 h 271334"/>
                  <a:gd name="connsiteX6" fmla="*/ 758909 w 759499"/>
                  <a:gd name="connsiteY6" fmla="*/ 116624 h 271334"/>
                  <a:gd name="connsiteX7" fmla="*/ 747008 w 759499"/>
                  <a:gd name="connsiteY7" fmla="*/ 134475 h 271334"/>
                  <a:gd name="connsiteX8" fmla="*/ 392959 w 759499"/>
                  <a:gd name="connsiteY8" fmla="*/ 149351 h 271334"/>
                  <a:gd name="connsiteX9" fmla="*/ 98413 w 759499"/>
                  <a:gd name="connsiteY9" fmla="*/ 271335 h 271334"/>
                  <a:gd name="connsiteX10" fmla="*/ 231 w 759499"/>
                  <a:gd name="connsiteY10" fmla="*/ 241583 h 271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59499" h="271334">
                    <a:moveTo>
                      <a:pt x="231" y="241583"/>
                    </a:moveTo>
                    <a:cubicBezTo>
                      <a:pt x="-2745" y="241583"/>
                      <a:pt x="24033" y="208855"/>
                      <a:pt x="21058" y="208855"/>
                    </a:cubicBezTo>
                    <a:cubicBezTo>
                      <a:pt x="68661" y="167203"/>
                      <a:pt x="116263" y="125550"/>
                      <a:pt x="169819" y="92822"/>
                    </a:cubicBezTo>
                    <a:cubicBezTo>
                      <a:pt x="241222" y="45219"/>
                      <a:pt x="324528" y="6541"/>
                      <a:pt x="410810" y="591"/>
                    </a:cubicBezTo>
                    <a:cubicBezTo>
                      <a:pt x="517916" y="-5359"/>
                      <a:pt x="616100" y="36293"/>
                      <a:pt x="726181" y="6541"/>
                    </a:cubicBezTo>
                    <a:cubicBezTo>
                      <a:pt x="735108" y="3566"/>
                      <a:pt x="747008" y="9517"/>
                      <a:pt x="747008" y="18442"/>
                    </a:cubicBezTo>
                    <a:cubicBezTo>
                      <a:pt x="744033" y="54145"/>
                      <a:pt x="749984" y="83897"/>
                      <a:pt x="758909" y="116624"/>
                    </a:cubicBezTo>
                    <a:cubicBezTo>
                      <a:pt x="761884" y="125550"/>
                      <a:pt x="752958" y="134475"/>
                      <a:pt x="747008" y="134475"/>
                    </a:cubicBezTo>
                    <a:cubicBezTo>
                      <a:pt x="625025" y="176128"/>
                      <a:pt x="511967" y="149351"/>
                      <a:pt x="392959" y="149351"/>
                    </a:cubicBezTo>
                    <a:cubicBezTo>
                      <a:pt x="285850" y="149351"/>
                      <a:pt x="184695" y="202905"/>
                      <a:pt x="98413" y="271335"/>
                    </a:cubicBezTo>
                    <a:cubicBezTo>
                      <a:pt x="77586" y="247533"/>
                      <a:pt x="27007" y="253484"/>
                      <a:pt x="231" y="241583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71915797-DC75-47F7-B6FD-190E7E10A6C6}"/>
                  </a:ext>
                </a:extLst>
              </p:cNvPr>
              <p:cNvSpPr/>
              <p:nvPr/>
            </p:nvSpPr>
            <p:spPr>
              <a:xfrm>
                <a:off x="24771924" y="2705830"/>
                <a:ext cx="28599" cy="136859"/>
              </a:xfrm>
              <a:custGeom>
                <a:avLst/>
                <a:gdLst>
                  <a:gd name="connsiteX0" fmla="*/ 19672 w 28599"/>
                  <a:gd name="connsiteY0" fmla="*/ 136860 h 136859"/>
                  <a:gd name="connsiteX1" fmla="*/ 1821 w 28599"/>
                  <a:gd name="connsiteY1" fmla="*/ 0 h 136859"/>
                  <a:gd name="connsiteX2" fmla="*/ 13723 w 28599"/>
                  <a:gd name="connsiteY2" fmla="*/ 2975 h 136859"/>
                  <a:gd name="connsiteX3" fmla="*/ 28599 w 28599"/>
                  <a:gd name="connsiteY3" fmla="*/ 133884 h 136859"/>
                  <a:gd name="connsiteX4" fmla="*/ 19672 w 28599"/>
                  <a:gd name="connsiteY4" fmla="*/ 136860 h 136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99" h="136859">
                    <a:moveTo>
                      <a:pt x="19672" y="136860"/>
                    </a:moveTo>
                    <a:cubicBezTo>
                      <a:pt x="19672" y="133884"/>
                      <a:pt x="-7104" y="62479"/>
                      <a:pt x="1821" y="0"/>
                    </a:cubicBezTo>
                    <a:lnTo>
                      <a:pt x="13723" y="2975"/>
                    </a:lnTo>
                    <a:cubicBezTo>
                      <a:pt x="4796" y="62479"/>
                      <a:pt x="28599" y="133884"/>
                      <a:pt x="28599" y="133884"/>
                    </a:cubicBezTo>
                    <a:lnTo>
                      <a:pt x="19672" y="136860"/>
                    </a:ln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13E5E08F-5CDA-49FD-A629-B5D1E4E1989D}"/>
                  </a:ext>
                </a:extLst>
              </p:cNvPr>
              <p:cNvSpPr/>
              <p:nvPr/>
            </p:nvSpPr>
            <p:spPr>
              <a:xfrm>
                <a:off x="24727296" y="2714756"/>
                <a:ext cx="28599" cy="136859"/>
              </a:xfrm>
              <a:custGeom>
                <a:avLst/>
                <a:gdLst>
                  <a:gd name="connsiteX0" fmla="*/ 19672 w 28599"/>
                  <a:gd name="connsiteY0" fmla="*/ 136860 h 136859"/>
                  <a:gd name="connsiteX1" fmla="*/ 1821 w 28599"/>
                  <a:gd name="connsiteY1" fmla="*/ 0 h 136859"/>
                  <a:gd name="connsiteX2" fmla="*/ 13723 w 28599"/>
                  <a:gd name="connsiteY2" fmla="*/ 2975 h 136859"/>
                  <a:gd name="connsiteX3" fmla="*/ 28599 w 28599"/>
                  <a:gd name="connsiteY3" fmla="*/ 133884 h 136859"/>
                  <a:gd name="connsiteX4" fmla="*/ 19672 w 28599"/>
                  <a:gd name="connsiteY4" fmla="*/ 136860 h 136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99" h="136859">
                    <a:moveTo>
                      <a:pt x="19672" y="136860"/>
                    </a:moveTo>
                    <a:cubicBezTo>
                      <a:pt x="19672" y="133884"/>
                      <a:pt x="-7104" y="62479"/>
                      <a:pt x="1821" y="0"/>
                    </a:cubicBezTo>
                    <a:lnTo>
                      <a:pt x="13723" y="2975"/>
                    </a:lnTo>
                    <a:cubicBezTo>
                      <a:pt x="4796" y="62479"/>
                      <a:pt x="28599" y="133884"/>
                      <a:pt x="28599" y="133884"/>
                    </a:cubicBezTo>
                    <a:lnTo>
                      <a:pt x="19672" y="136860"/>
                    </a:ln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35B656E7-65C3-42CE-A948-909C1B10AFF0}"/>
                </a:ext>
              </a:extLst>
            </p:cNvPr>
            <p:cNvSpPr/>
            <p:nvPr/>
          </p:nvSpPr>
          <p:spPr>
            <a:xfrm>
              <a:off x="23800764" y="2330086"/>
              <a:ext cx="408874" cy="554558"/>
            </a:xfrm>
            <a:custGeom>
              <a:avLst/>
              <a:gdLst>
                <a:gd name="connsiteX0" fmla="*/ 6039 w 408874"/>
                <a:gd name="connsiteY0" fmla="*/ 179381 h 554558"/>
                <a:gd name="connsiteX1" fmla="*/ 20915 w 408874"/>
                <a:gd name="connsiteY1" fmla="*/ 429298 h 554558"/>
                <a:gd name="connsiteX2" fmla="*/ 166700 w 408874"/>
                <a:gd name="connsiteY2" fmla="*/ 554257 h 554558"/>
                <a:gd name="connsiteX3" fmla="*/ 374965 w 408874"/>
                <a:gd name="connsiteY3" fmla="*/ 411447 h 554558"/>
                <a:gd name="connsiteX4" fmla="*/ 407691 w 408874"/>
                <a:gd name="connsiteY4" fmla="*/ 191281 h 554558"/>
                <a:gd name="connsiteX5" fmla="*/ 196453 w 408874"/>
                <a:gd name="connsiteY5" fmla="*/ 868 h 554558"/>
                <a:gd name="connsiteX6" fmla="*/ 6039 w 408874"/>
                <a:gd name="connsiteY6" fmla="*/ 179381 h 554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874" h="554558">
                  <a:moveTo>
                    <a:pt x="6039" y="179381"/>
                  </a:moveTo>
                  <a:cubicBezTo>
                    <a:pt x="6039" y="179381"/>
                    <a:pt x="-14788" y="363844"/>
                    <a:pt x="20915" y="429298"/>
                  </a:cubicBezTo>
                  <a:cubicBezTo>
                    <a:pt x="56617" y="494753"/>
                    <a:pt x="119096" y="551282"/>
                    <a:pt x="166700" y="554257"/>
                  </a:cubicBezTo>
                  <a:cubicBezTo>
                    <a:pt x="232154" y="560207"/>
                    <a:pt x="339262" y="476901"/>
                    <a:pt x="374965" y="411447"/>
                  </a:cubicBezTo>
                  <a:cubicBezTo>
                    <a:pt x="410666" y="345992"/>
                    <a:pt x="410666" y="241860"/>
                    <a:pt x="407691" y="191281"/>
                  </a:cubicBezTo>
                  <a:cubicBezTo>
                    <a:pt x="404717" y="99050"/>
                    <a:pt x="377939" y="21695"/>
                    <a:pt x="196453" y="868"/>
                  </a:cubicBezTo>
                  <a:cubicBezTo>
                    <a:pt x="116122" y="-11033"/>
                    <a:pt x="23889" y="102025"/>
                    <a:pt x="6039" y="179381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8C772549-EB90-4E60-A69D-924664003AD9}"/>
                </a:ext>
              </a:extLst>
            </p:cNvPr>
            <p:cNvSpPr/>
            <p:nvPr/>
          </p:nvSpPr>
          <p:spPr>
            <a:xfrm>
              <a:off x="23931762" y="2591540"/>
              <a:ext cx="53553" cy="129166"/>
            </a:xfrm>
            <a:custGeom>
              <a:avLst/>
              <a:gdLst>
                <a:gd name="connsiteX0" fmla="*/ 29752 w 53553"/>
                <a:gd name="connsiteY0" fmla="*/ 129166 h 129166"/>
                <a:gd name="connsiteX1" fmla="*/ 5951 w 53553"/>
                <a:gd name="connsiteY1" fmla="*/ 123216 h 129166"/>
                <a:gd name="connsiteX2" fmla="*/ 0 w 53553"/>
                <a:gd name="connsiteY2" fmla="*/ 111315 h 129166"/>
                <a:gd name="connsiteX3" fmla="*/ 26776 w 53553"/>
                <a:gd name="connsiteY3" fmla="*/ 4208 h 129166"/>
                <a:gd name="connsiteX4" fmla="*/ 32727 w 53553"/>
                <a:gd name="connsiteY4" fmla="*/ 1232 h 129166"/>
                <a:gd name="connsiteX5" fmla="*/ 35703 w 53553"/>
                <a:gd name="connsiteY5" fmla="*/ 7183 h 129166"/>
                <a:gd name="connsiteX6" fmla="*/ 8925 w 53553"/>
                <a:gd name="connsiteY6" fmla="*/ 111315 h 129166"/>
                <a:gd name="connsiteX7" fmla="*/ 8925 w 53553"/>
                <a:gd name="connsiteY7" fmla="*/ 114290 h 129166"/>
                <a:gd name="connsiteX8" fmla="*/ 47603 w 53553"/>
                <a:gd name="connsiteY8" fmla="*/ 114290 h 129166"/>
                <a:gd name="connsiteX9" fmla="*/ 53553 w 53553"/>
                <a:gd name="connsiteY9" fmla="*/ 120241 h 129166"/>
                <a:gd name="connsiteX10" fmla="*/ 47603 w 53553"/>
                <a:gd name="connsiteY10" fmla="*/ 126191 h 129166"/>
                <a:gd name="connsiteX11" fmla="*/ 29752 w 53553"/>
                <a:gd name="connsiteY11" fmla="*/ 129166 h 129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553" h="129166">
                  <a:moveTo>
                    <a:pt x="29752" y="129166"/>
                  </a:moveTo>
                  <a:cubicBezTo>
                    <a:pt x="20827" y="129166"/>
                    <a:pt x="11900" y="129166"/>
                    <a:pt x="5951" y="123216"/>
                  </a:cubicBezTo>
                  <a:cubicBezTo>
                    <a:pt x="2974" y="120241"/>
                    <a:pt x="0" y="117265"/>
                    <a:pt x="0" y="111315"/>
                  </a:cubicBezTo>
                  <a:cubicBezTo>
                    <a:pt x="0" y="90489"/>
                    <a:pt x="23801" y="7183"/>
                    <a:pt x="26776" y="4208"/>
                  </a:cubicBezTo>
                  <a:cubicBezTo>
                    <a:pt x="26776" y="1232"/>
                    <a:pt x="29752" y="-1743"/>
                    <a:pt x="32727" y="1232"/>
                  </a:cubicBezTo>
                  <a:cubicBezTo>
                    <a:pt x="35703" y="1232"/>
                    <a:pt x="38677" y="4208"/>
                    <a:pt x="35703" y="7183"/>
                  </a:cubicBezTo>
                  <a:cubicBezTo>
                    <a:pt x="29752" y="30984"/>
                    <a:pt x="8925" y="93464"/>
                    <a:pt x="8925" y="111315"/>
                  </a:cubicBezTo>
                  <a:cubicBezTo>
                    <a:pt x="8925" y="111315"/>
                    <a:pt x="8925" y="114290"/>
                    <a:pt x="8925" y="114290"/>
                  </a:cubicBezTo>
                  <a:cubicBezTo>
                    <a:pt x="14876" y="120241"/>
                    <a:pt x="35703" y="117265"/>
                    <a:pt x="47603" y="114290"/>
                  </a:cubicBezTo>
                  <a:cubicBezTo>
                    <a:pt x="50579" y="114290"/>
                    <a:pt x="53553" y="114290"/>
                    <a:pt x="53553" y="120241"/>
                  </a:cubicBezTo>
                  <a:cubicBezTo>
                    <a:pt x="53553" y="123216"/>
                    <a:pt x="53553" y="126191"/>
                    <a:pt x="47603" y="126191"/>
                  </a:cubicBezTo>
                  <a:cubicBezTo>
                    <a:pt x="50579" y="126191"/>
                    <a:pt x="41652" y="129166"/>
                    <a:pt x="29752" y="129166"/>
                  </a:cubicBezTo>
                  <a:close/>
                </a:path>
              </a:pathLst>
            </a:custGeom>
            <a:solidFill>
              <a:srgbClr val="E58777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72565E16-67A9-457D-ACDE-7E9052190EC4}"/>
                </a:ext>
              </a:extLst>
            </p:cNvPr>
            <p:cNvSpPr/>
            <p:nvPr/>
          </p:nvSpPr>
          <p:spPr>
            <a:xfrm>
              <a:off x="23916886" y="2768310"/>
              <a:ext cx="104132" cy="53553"/>
            </a:xfrm>
            <a:custGeom>
              <a:avLst/>
              <a:gdLst>
                <a:gd name="connsiteX0" fmla="*/ 104132 w 104132"/>
                <a:gd name="connsiteY0" fmla="*/ 0 h 53553"/>
                <a:gd name="connsiteX1" fmla="*/ 0 w 104132"/>
                <a:gd name="connsiteY1" fmla="*/ 0 h 53553"/>
                <a:gd name="connsiteX2" fmla="*/ 50579 w 104132"/>
                <a:gd name="connsiteY2" fmla="*/ 53554 h 53553"/>
                <a:gd name="connsiteX3" fmla="*/ 104132 w 104132"/>
                <a:gd name="connsiteY3" fmla="*/ 0 h 5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132" h="53553">
                  <a:moveTo>
                    <a:pt x="104132" y="0"/>
                  </a:moveTo>
                  <a:cubicBezTo>
                    <a:pt x="50579" y="23802"/>
                    <a:pt x="0" y="0"/>
                    <a:pt x="0" y="0"/>
                  </a:cubicBezTo>
                  <a:cubicBezTo>
                    <a:pt x="0" y="0"/>
                    <a:pt x="14876" y="53554"/>
                    <a:pt x="50579" y="53554"/>
                  </a:cubicBezTo>
                  <a:cubicBezTo>
                    <a:pt x="92231" y="53554"/>
                    <a:pt x="104132" y="0"/>
                    <a:pt x="104132" y="0"/>
                  </a:cubicBezTo>
                  <a:close/>
                </a:path>
              </a:pathLst>
            </a:custGeom>
            <a:solidFill>
              <a:srgbClr val="FFFFFF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2B3FF6EF-A760-4CE9-BF1C-CC0DF147443C}"/>
                </a:ext>
              </a:extLst>
            </p:cNvPr>
            <p:cNvSpPr/>
            <p:nvPr/>
          </p:nvSpPr>
          <p:spPr>
            <a:xfrm>
              <a:off x="23862574" y="2565237"/>
              <a:ext cx="40019" cy="40194"/>
            </a:xfrm>
            <a:custGeom>
              <a:avLst/>
              <a:gdLst>
                <a:gd name="connsiteX0" fmla="*/ 39436 w 40019"/>
                <a:gd name="connsiteY0" fmla="*/ 24560 h 40194"/>
                <a:gd name="connsiteX1" fmla="*/ 15635 w 40019"/>
                <a:gd name="connsiteY1" fmla="*/ 39436 h 40194"/>
                <a:gd name="connsiteX2" fmla="*/ 759 w 40019"/>
                <a:gd name="connsiteY2" fmla="*/ 15634 h 40194"/>
                <a:gd name="connsiteX3" fmla="*/ 24560 w 40019"/>
                <a:gd name="connsiteY3" fmla="*/ 758 h 40194"/>
                <a:gd name="connsiteX4" fmla="*/ 39436 w 40019"/>
                <a:gd name="connsiteY4" fmla="*/ 24560 h 4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19" h="40194">
                  <a:moveTo>
                    <a:pt x="39436" y="24560"/>
                  </a:moveTo>
                  <a:cubicBezTo>
                    <a:pt x="36460" y="36461"/>
                    <a:pt x="27534" y="42411"/>
                    <a:pt x="15635" y="39436"/>
                  </a:cubicBezTo>
                  <a:cubicBezTo>
                    <a:pt x="3733" y="36461"/>
                    <a:pt x="-2218" y="27535"/>
                    <a:pt x="759" y="15634"/>
                  </a:cubicBezTo>
                  <a:cubicBezTo>
                    <a:pt x="3733" y="3733"/>
                    <a:pt x="12658" y="-2217"/>
                    <a:pt x="24560" y="758"/>
                  </a:cubicBezTo>
                  <a:cubicBezTo>
                    <a:pt x="33485" y="3733"/>
                    <a:pt x="42410" y="12659"/>
                    <a:pt x="39436" y="2456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029DD449-E1BA-446A-B659-57AF32D18C07}"/>
                </a:ext>
              </a:extLst>
            </p:cNvPr>
            <p:cNvSpPr/>
            <p:nvPr/>
          </p:nvSpPr>
          <p:spPr>
            <a:xfrm>
              <a:off x="24047036" y="2568213"/>
              <a:ext cx="40194" cy="40194"/>
            </a:xfrm>
            <a:custGeom>
              <a:avLst/>
              <a:gdLst>
                <a:gd name="connsiteX0" fmla="*/ 39437 w 40194"/>
                <a:gd name="connsiteY0" fmla="*/ 24560 h 40194"/>
                <a:gd name="connsiteX1" fmla="*/ 15634 w 40194"/>
                <a:gd name="connsiteY1" fmla="*/ 39436 h 40194"/>
                <a:gd name="connsiteX2" fmla="*/ 758 w 40194"/>
                <a:gd name="connsiteY2" fmla="*/ 15634 h 40194"/>
                <a:gd name="connsiteX3" fmla="*/ 24561 w 40194"/>
                <a:gd name="connsiteY3" fmla="*/ 758 h 40194"/>
                <a:gd name="connsiteX4" fmla="*/ 39437 w 40194"/>
                <a:gd name="connsiteY4" fmla="*/ 24560 h 4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94" h="40194">
                  <a:moveTo>
                    <a:pt x="39437" y="24560"/>
                  </a:moveTo>
                  <a:cubicBezTo>
                    <a:pt x="36461" y="36461"/>
                    <a:pt x="27535" y="42411"/>
                    <a:pt x="15634" y="39436"/>
                  </a:cubicBezTo>
                  <a:cubicBezTo>
                    <a:pt x="3734" y="36461"/>
                    <a:pt x="-2217" y="27535"/>
                    <a:pt x="758" y="15634"/>
                  </a:cubicBezTo>
                  <a:cubicBezTo>
                    <a:pt x="3734" y="3733"/>
                    <a:pt x="12659" y="-2217"/>
                    <a:pt x="24561" y="758"/>
                  </a:cubicBezTo>
                  <a:cubicBezTo>
                    <a:pt x="36461" y="3733"/>
                    <a:pt x="42411" y="15634"/>
                    <a:pt x="39437" y="2456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2B1A0F43-1218-46F8-93A8-F2455E6ADDC9}"/>
                </a:ext>
              </a:extLst>
            </p:cNvPr>
            <p:cNvSpPr/>
            <p:nvPr/>
          </p:nvSpPr>
          <p:spPr>
            <a:xfrm>
              <a:off x="23837299" y="2515767"/>
              <a:ext cx="89744" cy="35352"/>
            </a:xfrm>
            <a:custGeom>
              <a:avLst/>
              <a:gdLst>
                <a:gd name="connsiteX0" fmla="*/ 8182 w 89744"/>
                <a:gd name="connsiteY0" fmla="*/ 35352 h 35352"/>
                <a:gd name="connsiteX1" fmla="*/ 2231 w 89744"/>
                <a:gd name="connsiteY1" fmla="*/ 32377 h 35352"/>
                <a:gd name="connsiteX2" fmla="*/ 2231 w 89744"/>
                <a:gd name="connsiteY2" fmla="*/ 20476 h 35352"/>
                <a:gd name="connsiteX3" fmla="*/ 85538 w 89744"/>
                <a:gd name="connsiteY3" fmla="*/ 8575 h 35352"/>
                <a:gd name="connsiteX4" fmla="*/ 88513 w 89744"/>
                <a:gd name="connsiteY4" fmla="*/ 17501 h 35352"/>
                <a:gd name="connsiteX5" fmla="*/ 79587 w 89744"/>
                <a:gd name="connsiteY5" fmla="*/ 20476 h 35352"/>
                <a:gd name="connsiteX6" fmla="*/ 14132 w 89744"/>
                <a:gd name="connsiteY6" fmla="*/ 29402 h 35352"/>
                <a:gd name="connsiteX7" fmla="*/ 8182 w 89744"/>
                <a:gd name="connsiteY7" fmla="*/ 35352 h 35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5352">
                  <a:moveTo>
                    <a:pt x="8182" y="35352"/>
                  </a:moveTo>
                  <a:cubicBezTo>
                    <a:pt x="5207" y="35352"/>
                    <a:pt x="5207" y="35352"/>
                    <a:pt x="2231" y="32377"/>
                  </a:cubicBezTo>
                  <a:cubicBezTo>
                    <a:pt x="-744" y="29402"/>
                    <a:pt x="-744" y="23452"/>
                    <a:pt x="2231" y="20476"/>
                  </a:cubicBezTo>
                  <a:cubicBezTo>
                    <a:pt x="29008" y="-9276"/>
                    <a:pt x="67686" y="-350"/>
                    <a:pt x="85538" y="8575"/>
                  </a:cubicBezTo>
                  <a:cubicBezTo>
                    <a:pt x="88513" y="11551"/>
                    <a:pt x="91487" y="14526"/>
                    <a:pt x="88513" y="17501"/>
                  </a:cubicBezTo>
                  <a:cubicBezTo>
                    <a:pt x="85538" y="20476"/>
                    <a:pt x="82562" y="23452"/>
                    <a:pt x="79587" y="20476"/>
                  </a:cubicBezTo>
                  <a:cubicBezTo>
                    <a:pt x="76611" y="20476"/>
                    <a:pt x="37934" y="-350"/>
                    <a:pt x="14132" y="29402"/>
                  </a:cubicBezTo>
                  <a:cubicBezTo>
                    <a:pt x="11158" y="35352"/>
                    <a:pt x="11158" y="35352"/>
                    <a:pt x="8182" y="35352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5FB3979F-E334-4991-BD2E-F6A5994B7EED}"/>
                </a:ext>
              </a:extLst>
            </p:cNvPr>
            <p:cNvSpPr/>
            <p:nvPr/>
          </p:nvSpPr>
          <p:spPr>
            <a:xfrm>
              <a:off x="24019785" y="2515720"/>
              <a:ext cx="89744" cy="35399"/>
            </a:xfrm>
            <a:custGeom>
              <a:avLst/>
              <a:gdLst>
                <a:gd name="connsiteX0" fmla="*/ 84538 w 89744"/>
                <a:gd name="connsiteY0" fmla="*/ 35400 h 35399"/>
                <a:gd name="connsiteX1" fmla="*/ 78588 w 89744"/>
                <a:gd name="connsiteY1" fmla="*/ 32425 h 35399"/>
                <a:gd name="connsiteX2" fmla="*/ 13133 w 89744"/>
                <a:gd name="connsiteY2" fmla="*/ 26474 h 35399"/>
                <a:gd name="connsiteX3" fmla="*/ 1233 w 89744"/>
                <a:gd name="connsiteY3" fmla="*/ 23499 h 35399"/>
                <a:gd name="connsiteX4" fmla="*/ 4207 w 89744"/>
                <a:gd name="connsiteY4" fmla="*/ 11598 h 35399"/>
                <a:gd name="connsiteX5" fmla="*/ 87513 w 89744"/>
                <a:gd name="connsiteY5" fmla="*/ 20524 h 35399"/>
                <a:gd name="connsiteX6" fmla="*/ 87513 w 89744"/>
                <a:gd name="connsiteY6" fmla="*/ 32425 h 35399"/>
                <a:gd name="connsiteX7" fmla="*/ 84538 w 89744"/>
                <a:gd name="connsiteY7" fmla="*/ 35400 h 3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5399">
                  <a:moveTo>
                    <a:pt x="84538" y="35400"/>
                  </a:moveTo>
                  <a:cubicBezTo>
                    <a:pt x="81564" y="35400"/>
                    <a:pt x="81564" y="35400"/>
                    <a:pt x="78588" y="32425"/>
                  </a:cubicBezTo>
                  <a:cubicBezTo>
                    <a:pt x="78588" y="32425"/>
                    <a:pt x="48835" y="2672"/>
                    <a:pt x="13133" y="26474"/>
                  </a:cubicBezTo>
                  <a:cubicBezTo>
                    <a:pt x="10158" y="29449"/>
                    <a:pt x="4207" y="26474"/>
                    <a:pt x="1233" y="23499"/>
                  </a:cubicBezTo>
                  <a:cubicBezTo>
                    <a:pt x="-1743" y="20524"/>
                    <a:pt x="1233" y="14573"/>
                    <a:pt x="4207" y="11598"/>
                  </a:cubicBezTo>
                  <a:cubicBezTo>
                    <a:pt x="39910" y="-12204"/>
                    <a:pt x="75613" y="5648"/>
                    <a:pt x="87513" y="20524"/>
                  </a:cubicBezTo>
                  <a:cubicBezTo>
                    <a:pt x="90489" y="23499"/>
                    <a:pt x="90489" y="29449"/>
                    <a:pt x="87513" y="32425"/>
                  </a:cubicBezTo>
                  <a:cubicBezTo>
                    <a:pt x="90489" y="32425"/>
                    <a:pt x="87513" y="35400"/>
                    <a:pt x="84538" y="35400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35B41E4A-018A-4EE0-8E7F-B93B2B600319}"/>
                </a:ext>
              </a:extLst>
            </p:cNvPr>
            <p:cNvSpPr/>
            <p:nvPr/>
          </p:nvSpPr>
          <p:spPr>
            <a:xfrm>
              <a:off x="23782664" y="2296420"/>
              <a:ext cx="268186" cy="251748"/>
            </a:xfrm>
            <a:custGeom>
              <a:avLst/>
              <a:gdLst>
                <a:gd name="connsiteX0" fmla="*/ 265130 w 268186"/>
                <a:gd name="connsiteY0" fmla="*/ 1807 h 251748"/>
                <a:gd name="connsiteX1" fmla="*/ 232403 w 268186"/>
                <a:gd name="connsiteY1" fmla="*/ 126766 h 251748"/>
                <a:gd name="connsiteX2" fmla="*/ 337 w 268186"/>
                <a:gd name="connsiteY2" fmla="*/ 251725 h 251748"/>
                <a:gd name="connsiteX3" fmla="*/ 265130 w 268186"/>
                <a:gd name="connsiteY3" fmla="*/ 1807 h 251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186" h="251748">
                  <a:moveTo>
                    <a:pt x="265130" y="1807"/>
                  </a:moveTo>
                  <a:cubicBezTo>
                    <a:pt x="265130" y="1807"/>
                    <a:pt x="282982" y="88088"/>
                    <a:pt x="232403" y="126766"/>
                  </a:cubicBezTo>
                  <a:cubicBezTo>
                    <a:pt x="232403" y="126766"/>
                    <a:pt x="27113" y="171394"/>
                    <a:pt x="337" y="251725"/>
                  </a:cubicBezTo>
                  <a:cubicBezTo>
                    <a:pt x="337" y="254700"/>
                    <a:pt x="-20489" y="-24970"/>
                    <a:pt x="265130" y="1807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049D57A8-4BD2-4347-B99A-B9B5F125CA9C}"/>
                </a:ext>
              </a:extLst>
            </p:cNvPr>
            <p:cNvSpPr/>
            <p:nvPr/>
          </p:nvSpPr>
          <p:spPr>
            <a:xfrm>
              <a:off x="24012093" y="2298227"/>
              <a:ext cx="224624" cy="303954"/>
            </a:xfrm>
            <a:custGeom>
              <a:avLst/>
              <a:gdLst>
                <a:gd name="connsiteX0" fmla="*/ 0 w 224624"/>
                <a:gd name="connsiteY0" fmla="*/ 124959 h 303954"/>
                <a:gd name="connsiteX1" fmla="*/ 139833 w 224624"/>
                <a:gd name="connsiteY1" fmla="*/ 175537 h 303954"/>
                <a:gd name="connsiteX2" fmla="*/ 199337 w 224624"/>
                <a:gd name="connsiteY2" fmla="*/ 291570 h 303954"/>
                <a:gd name="connsiteX3" fmla="*/ 223141 w 224624"/>
                <a:gd name="connsiteY3" fmla="*/ 288595 h 303954"/>
                <a:gd name="connsiteX4" fmla="*/ 35701 w 224624"/>
                <a:gd name="connsiteY4" fmla="*/ 0 h 303954"/>
                <a:gd name="connsiteX5" fmla="*/ 0 w 224624"/>
                <a:gd name="connsiteY5" fmla="*/ 124959 h 303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624" h="303954">
                  <a:moveTo>
                    <a:pt x="0" y="124959"/>
                  </a:moveTo>
                  <a:cubicBezTo>
                    <a:pt x="0" y="124959"/>
                    <a:pt x="89256" y="169587"/>
                    <a:pt x="139833" y="175537"/>
                  </a:cubicBezTo>
                  <a:cubicBezTo>
                    <a:pt x="190412" y="181488"/>
                    <a:pt x="199337" y="291570"/>
                    <a:pt x="199337" y="291570"/>
                  </a:cubicBezTo>
                  <a:cubicBezTo>
                    <a:pt x="199337" y="291570"/>
                    <a:pt x="220164" y="321322"/>
                    <a:pt x="223141" y="288595"/>
                  </a:cubicBezTo>
                  <a:cubicBezTo>
                    <a:pt x="229089" y="211240"/>
                    <a:pt x="226115" y="17851"/>
                    <a:pt x="35701" y="0"/>
                  </a:cubicBezTo>
                  <a:cubicBezTo>
                    <a:pt x="35701" y="0"/>
                    <a:pt x="23801" y="119008"/>
                    <a:pt x="0" y="124959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5B033392-9D8B-4DB0-BB52-38E06352426F}"/>
                </a:ext>
              </a:extLst>
            </p:cNvPr>
            <p:cNvSpPr/>
            <p:nvPr/>
          </p:nvSpPr>
          <p:spPr>
            <a:xfrm>
              <a:off x="24006142" y="2342855"/>
              <a:ext cx="149992" cy="136859"/>
            </a:xfrm>
            <a:custGeom>
              <a:avLst/>
              <a:gdLst>
                <a:gd name="connsiteX0" fmla="*/ 145784 w 149992"/>
                <a:gd name="connsiteY0" fmla="*/ 136860 h 136859"/>
                <a:gd name="connsiteX1" fmla="*/ 145784 w 149992"/>
                <a:gd name="connsiteY1" fmla="*/ 136860 h 136859"/>
                <a:gd name="connsiteX2" fmla="*/ 47603 w 149992"/>
                <a:gd name="connsiteY2" fmla="*/ 107107 h 136859"/>
                <a:gd name="connsiteX3" fmla="*/ 2974 w 149992"/>
                <a:gd name="connsiteY3" fmla="*/ 83306 h 136859"/>
                <a:gd name="connsiteX4" fmla="*/ 0 w 149992"/>
                <a:gd name="connsiteY4" fmla="*/ 80331 h 136859"/>
                <a:gd name="connsiteX5" fmla="*/ 0 w 149992"/>
                <a:gd name="connsiteY5" fmla="*/ 74380 h 136859"/>
                <a:gd name="connsiteX6" fmla="*/ 23801 w 149992"/>
                <a:gd name="connsiteY6" fmla="*/ 5950 h 136859"/>
                <a:gd name="connsiteX7" fmla="*/ 29752 w 149992"/>
                <a:gd name="connsiteY7" fmla="*/ 0 h 136859"/>
                <a:gd name="connsiteX8" fmla="*/ 35703 w 149992"/>
                <a:gd name="connsiteY8" fmla="*/ 5950 h 136859"/>
                <a:gd name="connsiteX9" fmla="*/ 11900 w 149992"/>
                <a:gd name="connsiteY9" fmla="*/ 77355 h 136859"/>
                <a:gd name="connsiteX10" fmla="*/ 50579 w 149992"/>
                <a:gd name="connsiteY10" fmla="*/ 98182 h 136859"/>
                <a:gd name="connsiteX11" fmla="*/ 142810 w 149992"/>
                <a:gd name="connsiteY11" fmla="*/ 127934 h 136859"/>
                <a:gd name="connsiteX12" fmla="*/ 148760 w 149992"/>
                <a:gd name="connsiteY12" fmla="*/ 133884 h 136859"/>
                <a:gd name="connsiteX13" fmla="*/ 145784 w 149992"/>
                <a:gd name="connsiteY13" fmla="*/ 136860 h 13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9992" h="136859">
                  <a:moveTo>
                    <a:pt x="145784" y="136860"/>
                  </a:moveTo>
                  <a:cubicBezTo>
                    <a:pt x="145784" y="136860"/>
                    <a:pt x="145784" y="136860"/>
                    <a:pt x="145784" y="136860"/>
                  </a:cubicBezTo>
                  <a:cubicBezTo>
                    <a:pt x="110083" y="130909"/>
                    <a:pt x="74380" y="116033"/>
                    <a:pt x="47603" y="107107"/>
                  </a:cubicBezTo>
                  <a:cubicBezTo>
                    <a:pt x="20827" y="95207"/>
                    <a:pt x="2974" y="83306"/>
                    <a:pt x="2974" y="83306"/>
                  </a:cubicBezTo>
                  <a:cubicBezTo>
                    <a:pt x="2974" y="83306"/>
                    <a:pt x="0" y="80331"/>
                    <a:pt x="0" y="80331"/>
                  </a:cubicBezTo>
                  <a:cubicBezTo>
                    <a:pt x="0" y="77355"/>
                    <a:pt x="0" y="77355"/>
                    <a:pt x="0" y="74380"/>
                  </a:cubicBezTo>
                  <a:cubicBezTo>
                    <a:pt x="5951" y="68430"/>
                    <a:pt x="23801" y="29752"/>
                    <a:pt x="23801" y="5950"/>
                  </a:cubicBezTo>
                  <a:cubicBezTo>
                    <a:pt x="23801" y="2975"/>
                    <a:pt x="26776" y="0"/>
                    <a:pt x="29752" y="0"/>
                  </a:cubicBezTo>
                  <a:cubicBezTo>
                    <a:pt x="32727" y="0"/>
                    <a:pt x="35703" y="2975"/>
                    <a:pt x="35703" y="5950"/>
                  </a:cubicBezTo>
                  <a:cubicBezTo>
                    <a:pt x="35703" y="29752"/>
                    <a:pt x="20827" y="62479"/>
                    <a:pt x="11900" y="77355"/>
                  </a:cubicBezTo>
                  <a:cubicBezTo>
                    <a:pt x="17851" y="80331"/>
                    <a:pt x="32727" y="89256"/>
                    <a:pt x="50579" y="98182"/>
                  </a:cubicBezTo>
                  <a:cubicBezTo>
                    <a:pt x="74380" y="110083"/>
                    <a:pt x="110083" y="121983"/>
                    <a:pt x="142810" y="127934"/>
                  </a:cubicBezTo>
                  <a:cubicBezTo>
                    <a:pt x="145784" y="127934"/>
                    <a:pt x="148760" y="130909"/>
                    <a:pt x="148760" y="133884"/>
                  </a:cubicBezTo>
                  <a:cubicBezTo>
                    <a:pt x="151735" y="136860"/>
                    <a:pt x="148760" y="136860"/>
                    <a:pt x="145784" y="13686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FF00D899-1604-4B39-97A5-350916CF4537}"/>
                </a:ext>
              </a:extLst>
            </p:cNvPr>
            <p:cNvSpPr/>
            <p:nvPr/>
          </p:nvSpPr>
          <p:spPr>
            <a:xfrm>
              <a:off x="23902754" y="2811705"/>
              <a:ext cx="217678" cy="81562"/>
            </a:xfrm>
            <a:custGeom>
              <a:avLst/>
              <a:gdLst>
                <a:gd name="connsiteX0" fmla="*/ 67686 w 217678"/>
                <a:gd name="connsiteY0" fmla="*/ 78588 h 81562"/>
                <a:gd name="connsiteX1" fmla="*/ 2231 w 217678"/>
                <a:gd name="connsiteY1" fmla="*/ 51811 h 81562"/>
                <a:gd name="connsiteX2" fmla="*/ 2231 w 217678"/>
                <a:gd name="connsiteY2" fmla="*/ 42885 h 81562"/>
                <a:gd name="connsiteX3" fmla="*/ 11156 w 217678"/>
                <a:gd name="connsiteY3" fmla="*/ 42885 h 81562"/>
                <a:gd name="connsiteX4" fmla="*/ 79587 w 217678"/>
                <a:gd name="connsiteY4" fmla="*/ 66687 h 81562"/>
                <a:gd name="connsiteX5" fmla="*/ 207521 w 217678"/>
                <a:gd name="connsiteY5" fmla="*/ 1232 h 81562"/>
                <a:gd name="connsiteX6" fmla="*/ 216446 w 217678"/>
                <a:gd name="connsiteY6" fmla="*/ 4208 h 81562"/>
                <a:gd name="connsiteX7" fmla="*/ 213472 w 217678"/>
                <a:gd name="connsiteY7" fmla="*/ 13133 h 81562"/>
                <a:gd name="connsiteX8" fmla="*/ 79587 w 217678"/>
                <a:gd name="connsiteY8" fmla="*/ 81563 h 81562"/>
                <a:gd name="connsiteX9" fmla="*/ 67686 w 217678"/>
                <a:gd name="connsiteY9" fmla="*/ 78588 h 81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678" h="81562">
                  <a:moveTo>
                    <a:pt x="67686" y="78588"/>
                  </a:moveTo>
                  <a:cubicBezTo>
                    <a:pt x="31983" y="78588"/>
                    <a:pt x="2231" y="51811"/>
                    <a:pt x="2231" y="51811"/>
                  </a:cubicBezTo>
                  <a:cubicBezTo>
                    <a:pt x="-744" y="48836"/>
                    <a:pt x="-744" y="45861"/>
                    <a:pt x="2231" y="42885"/>
                  </a:cubicBezTo>
                  <a:cubicBezTo>
                    <a:pt x="5207" y="39910"/>
                    <a:pt x="8182" y="39910"/>
                    <a:pt x="11156" y="42885"/>
                  </a:cubicBezTo>
                  <a:cubicBezTo>
                    <a:pt x="11156" y="42885"/>
                    <a:pt x="43884" y="69662"/>
                    <a:pt x="79587" y="66687"/>
                  </a:cubicBezTo>
                  <a:cubicBezTo>
                    <a:pt x="118265" y="60737"/>
                    <a:pt x="207521" y="1232"/>
                    <a:pt x="207521" y="1232"/>
                  </a:cubicBezTo>
                  <a:cubicBezTo>
                    <a:pt x="210495" y="-1743"/>
                    <a:pt x="213472" y="1232"/>
                    <a:pt x="216446" y="4208"/>
                  </a:cubicBezTo>
                  <a:cubicBezTo>
                    <a:pt x="219421" y="7183"/>
                    <a:pt x="216446" y="10158"/>
                    <a:pt x="213472" y="13133"/>
                  </a:cubicBezTo>
                  <a:cubicBezTo>
                    <a:pt x="210495" y="16108"/>
                    <a:pt x="121239" y="75613"/>
                    <a:pt x="79587" y="81563"/>
                  </a:cubicBezTo>
                  <a:cubicBezTo>
                    <a:pt x="73637" y="78588"/>
                    <a:pt x="70660" y="78588"/>
                    <a:pt x="67686" y="78588"/>
                  </a:cubicBezTo>
                  <a:close/>
                </a:path>
              </a:pathLst>
            </a:custGeom>
            <a:solidFill>
              <a:srgbClr val="E58777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51FBFAA2-E774-453D-AC55-84D7E184C4A2}"/>
                </a:ext>
              </a:extLst>
            </p:cNvPr>
            <p:cNvSpPr/>
            <p:nvPr/>
          </p:nvSpPr>
          <p:spPr>
            <a:xfrm>
              <a:off x="24173588" y="2576448"/>
              <a:ext cx="74904" cy="111296"/>
            </a:xfrm>
            <a:custGeom>
              <a:avLst/>
              <a:gdLst>
                <a:gd name="connsiteX0" fmla="*/ 11066 w 74904"/>
                <a:gd name="connsiteY0" fmla="*/ 16325 h 111296"/>
                <a:gd name="connsiteX1" fmla="*/ 67594 w 74904"/>
                <a:gd name="connsiteY1" fmla="*/ 7399 h 111296"/>
                <a:gd name="connsiteX2" fmla="*/ 14041 w 74904"/>
                <a:gd name="connsiteY2" fmla="*/ 108556 h 111296"/>
                <a:gd name="connsiteX3" fmla="*/ 11066 w 74904"/>
                <a:gd name="connsiteY3" fmla="*/ 16325 h 111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904" h="111296">
                  <a:moveTo>
                    <a:pt x="11066" y="16325"/>
                  </a:moveTo>
                  <a:cubicBezTo>
                    <a:pt x="11066" y="16325"/>
                    <a:pt x="43793" y="-13427"/>
                    <a:pt x="67594" y="7399"/>
                  </a:cubicBezTo>
                  <a:cubicBezTo>
                    <a:pt x="91397" y="25250"/>
                    <a:pt x="52718" y="129383"/>
                    <a:pt x="14041" y="108556"/>
                  </a:cubicBezTo>
                  <a:cubicBezTo>
                    <a:pt x="-15711" y="90705"/>
                    <a:pt x="11066" y="16325"/>
                    <a:pt x="11066" y="16325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CC01C374-3438-4894-B550-4F33551C4505}"/>
                </a:ext>
              </a:extLst>
            </p:cNvPr>
            <p:cNvSpPr/>
            <p:nvPr/>
          </p:nvSpPr>
          <p:spPr>
            <a:xfrm>
              <a:off x="23777051" y="2417235"/>
              <a:ext cx="243967" cy="154710"/>
            </a:xfrm>
            <a:custGeom>
              <a:avLst/>
              <a:gdLst>
                <a:gd name="connsiteX0" fmla="*/ 5951 w 243967"/>
                <a:gd name="connsiteY0" fmla="*/ 154711 h 154710"/>
                <a:gd name="connsiteX1" fmla="*/ 5951 w 243967"/>
                <a:gd name="connsiteY1" fmla="*/ 154711 h 154710"/>
                <a:gd name="connsiteX2" fmla="*/ 0 w 243967"/>
                <a:gd name="connsiteY2" fmla="*/ 148760 h 154710"/>
                <a:gd name="connsiteX3" fmla="*/ 107107 w 243967"/>
                <a:gd name="connsiteY3" fmla="*/ 44628 h 154710"/>
                <a:gd name="connsiteX4" fmla="*/ 235042 w 243967"/>
                <a:gd name="connsiteY4" fmla="*/ 0 h 154710"/>
                <a:gd name="connsiteX5" fmla="*/ 243967 w 243967"/>
                <a:gd name="connsiteY5" fmla="*/ 2975 h 154710"/>
                <a:gd name="connsiteX6" fmla="*/ 240991 w 243967"/>
                <a:gd name="connsiteY6" fmla="*/ 11901 h 154710"/>
                <a:gd name="connsiteX7" fmla="*/ 110083 w 243967"/>
                <a:gd name="connsiteY7" fmla="*/ 56529 h 154710"/>
                <a:gd name="connsiteX8" fmla="*/ 11902 w 243967"/>
                <a:gd name="connsiteY8" fmla="*/ 151736 h 154710"/>
                <a:gd name="connsiteX9" fmla="*/ 5951 w 243967"/>
                <a:gd name="connsiteY9" fmla="*/ 154711 h 15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3967" h="154710">
                  <a:moveTo>
                    <a:pt x="5951" y="154711"/>
                  </a:moveTo>
                  <a:cubicBezTo>
                    <a:pt x="2974" y="154711"/>
                    <a:pt x="2974" y="154711"/>
                    <a:pt x="5951" y="154711"/>
                  </a:cubicBezTo>
                  <a:cubicBezTo>
                    <a:pt x="2974" y="154711"/>
                    <a:pt x="0" y="151736"/>
                    <a:pt x="0" y="148760"/>
                  </a:cubicBezTo>
                  <a:cubicBezTo>
                    <a:pt x="8925" y="80331"/>
                    <a:pt x="56530" y="59504"/>
                    <a:pt x="107107" y="44628"/>
                  </a:cubicBezTo>
                  <a:cubicBezTo>
                    <a:pt x="172562" y="23802"/>
                    <a:pt x="235042" y="0"/>
                    <a:pt x="235042" y="0"/>
                  </a:cubicBezTo>
                  <a:cubicBezTo>
                    <a:pt x="238017" y="0"/>
                    <a:pt x="240991" y="0"/>
                    <a:pt x="243967" y="2975"/>
                  </a:cubicBezTo>
                  <a:cubicBezTo>
                    <a:pt x="243967" y="5950"/>
                    <a:pt x="243967" y="8926"/>
                    <a:pt x="240991" y="11901"/>
                  </a:cubicBezTo>
                  <a:cubicBezTo>
                    <a:pt x="240991" y="11901"/>
                    <a:pt x="175538" y="35702"/>
                    <a:pt x="110083" y="56529"/>
                  </a:cubicBezTo>
                  <a:cubicBezTo>
                    <a:pt x="56530" y="71405"/>
                    <a:pt x="20827" y="95207"/>
                    <a:pt x="11902" y="151736"/>
                  </a:cubicBezTo>
                  <a:cubicBezTo>
                    <a:pt x="8925" y="154711"/>
                    <a:pt x="8925" y="154711"/>
                    <a:pt x="5951" y="154711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E80A9EF4-B604-4511-A58E-31A37C03A090}"/>
                </a:ext>
              </a:extLst>
            </p:cNvPr>
            <p:cNvGrpSpPr/>
            <p:nvPr/>
          </p:nvGrpSpPr>
          <p:grpSpPr>
            <a:xfrm>
              <a:off x="23802596" y="2147429"/>
              <a:ext cx="730723" cy="311459"/>
              <a:chOff x="23802596" y="2147429"/>
              <a:chExt cx="730723" cy="311459"/>
            </a:xfrm>
          </p:grpSpPr>
          <p:grpSp>
            <p:nvGrpSpPr>
              <p:cNvPr id="124" name="图形 1">
                <a:extLst>
                  <a:ext uri="{FF2B5EF4-FFF2-40B4-BE49-F238E27FC236}">
                    <a16:creationId xmlns:a16="http://schemas.microsoft.com/office/drawing/2014/main" id="{C9EFCABE-39A6-4DAE-9EF5-4135C5585F81}"/>
                  </a:ext>
                </a:extLst>
              </p:cNvPr>
              <p:cNvGrpSpPr/>
              <p:nvPr/>
            </p:nvGrpSpPr>
            <p:grpSpPr>
              <a:xfrm>
                <a:off x="23803803" y="2147429"/>
                <a:ext cx="729516" cy="305171"/>
                <a:chOff x="23803803" y="2147429"/>
                <a:chExt cx="729516" cy="305171"/>
              </a:xfrm>
            </p:grpSpPr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44A50CB3-8AFD-47C6-B475-5A33F5143556}"/>
                    </a:ext>
                  </a:extLst>
                </p:cNvPr>
                <p:cNvSpPr/>
                <p:nvPr/>
              </p:nvSpPr>
              <p:spPr>
                <a:xfrm>
                  <a:off x="23803803" y="2147429"/>
                  <a:ext cx="580190" cy="305171"/>
                </a:xfrm>
                <a:custGeom>
                  <a:avLst/>
                  <a:gdLst>
                    <a:gd name="connsiteX0" fmla="*/ 163662 w 580190"/>
                    <a:gd name="connsiteY0" fmla="*/ 19889 h 305171"/>
                    <a:gd name="connsiteX1" fmla="*/ 577215 w 580190"/>
                    <a:gd name="connsiteY1" fmla="*/ 126997 h 305171"/>
                    <a:gd name="connsiteX2" fmla="*/ 580191 w 580190"/>
                    <a:gd name="connsiteY2" fmla="*/ 135923 h 305171"/>
                    <a:gd name="connsiteX3" fmla="*/ 508785 w 580190"/>
                    <a:gd name="connsiteY3" fmla="*/ 192451 h 305171"/>
                    <a:gd name="connsiteX4" fmla="*/ 529612 w 580190"/>
                    <a:gd name="connsiteY4" fmla="*/ 272782 h 305171"/>
                    <a:gd name="connsiteX5" fmla="*/ 529612 w 580190"/>
                    <a:gd name="connsiteY5" fmla="*/ 278732 h 305171"/>
                    <a:gd name="connsiteX6" fmla="*/ 523661 w 580190"/>
                    <a:gd name="connsiteY6" fmla="*/ 281708 h 305171"/>
                    <a:gd name="connsiteX7" fmla="*/ 208290 w 580190"/>
                    <a:gd name="connsiteY7" fmla="*/ 302534 h 305171"/>
                    <a:gd name="connsiteX8" fmla="*/ 5975 w 580190"/>
                    <a:gd name="connsiteY8" fmla="*/ 263856 h 305171"/>
                    <a:gd name="connsiteX9" fmla="*/ 26 w 580190"/>
                    <a:gd name="connsiteY9" fmla="*/ 257906 h 305171"/>
                    <a:gd name="connsiteX10" fmla="*/ 163662 w 580190"/>
                    <a:gd name="connsiteY10" fmla="*/ 19889 h 305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80190" h="305171">
                      <a:moveTo>
                        <a:pt x="163662" y="19889"/>
                      </a:moveTo>
                      <a:cubicBezTo>
                        <a:pt x="315397" y="-27714"/>
                        <a:pt x="467132" y="10964"/>
                        <a:pt x="577215" y="126997"/>
                      </a:cubicBezTo>
                      <a:cubicBezTo>
                        <a:pt x="580191" y="129972"/>
                        <a:pt x="580191" y="132947"/>
                        <a:pt x="580191" y="135923"/>
                      </a:cubicBezTo>
                      <a:cubicBezTo>
                        <a:pt x="580191" y="138898"/>
                        <a:pt x="559364" y="183526"/>
                        <a:pt x="508785" y="192451"/>
                      </a:cubicBezTo>
                      <a:cubicBezTo>
                        <a:pt x="523661" y="231129"/>
                        <a:pt x="529612" y="269807"/>
                        <a:pt x="529612" y="272782"/>
                      </a:cubicBezTo>
                      <a:cubicBezTo>
                        <a:pt x="529612" y="275757"/>
                        <a:pt x="529612" y="275757"/>
                        <a:pt x="529612" y="278732"/>
                      </a:cubicBezTo>
                      <a:cubicBezTo>
                        <a:pt x="529612" y="281708"/>
                        <a:pt x="526636" y="281708"/>
                        <a:pt x="523661" y="281708"/>
                      </a:cubicBezTo>
                      <a:cubicBezTo>
                        <a:pt x="392751" y="305509"/>
                        <a:pt x="288619" y="308484"/>
                        <a:pt x="208290" y="302534"/>
                      </a:cubicBezTo>
                      <a:cubicBezTo>
                        <a:pt x="74406" y="296584"/>
                        <a:pt x="11925" y="266832"/>
                        <a:pt x="5975" y="263856"/>
                      </a:cubicBezTo>
                      <a:cubicBezTo>
                        <a:pt x="3000" y="263856"/>
                        <a:pt x="26" y="260881"/>
                        <a:pt x="26" y="257906"/>
                      </a:cubicBezTo>
                      <a:cubicBezTo>
                        <a:pt x="26" y="257906"/>
                        <a:pt x="-5925" y="70468"/>
                        <a:pt x="163662" y="1988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07B852F0-8DF3-4EA3-9D69-0ABF86EE0C32}"/>
                    </a:ext>
                  </a:extLst>
                </p:cNvPr>
                <p:cNvSpPr/>
                <p:nvPr/>
              </p:nvSpPr>
              <p:spPr>
                <a:xfrm>
                  <a:off x="24321513" y="2172701"/>
                  <a:ext cx="205856" cy="202880"/>
                </a:xfrm>
                <a:custGeom>
                  <a:avLst/>
                  <a:gdLst>
                    <a:gd name="connsiteX0" fmla="*/ 23801 w 205856"/>
                    <a:gd name="connsiteY0" fmla="*/ 39245 h 202880"/>
                    <a:gd name="connsiteX1" fmla="*/ 92232 w 205856"/>
                    <a:gd name="connsiteY1" fmla="*/ 567 h 202880"/>
                    <a:gd name="connsiteX2" fmla="*/ 205290 w 205856"/>
                    <a:gd name="connsiteY2" fmla="*/ 89823 h 202880"/>
                    <a:gd name="connsiteX3" fmla="*/ 116034 w 205856"/>
                    <a:gd name="connsiteY3" fmla="*/ 202881 h 202880"/>
                    <a:gd name="connsiteX4" fmla="*/ 98181 w 205856"/>
                    <a:gd name="connsiteY4" fmla="*/ 202881 h 202880"/>
                    <a:gd name="connsiteX5" fmla="*/ 38677 w 205856"/>
                    <a:gd name="connsiteY5" fmla="*/ 179079 h 202880"/>
                    <a:gd name="connsiteX6" fmla="*/ 0 w 205856"/>
                    <a:gd name="connsiteY6" fmla="*/ 110650 h 202880"/>
                    <a:gd name="connsiteX7" fmla="*/ 23801 w 205856"/>
                    <a:gd name="connsiteY7" fmla="*/ 39245 h 202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5856" h="202880">
                      <a:moveTo>
                        <a:pt x="23801" y="39245"/>
                      </a:moveTo>
                      <a:cubicBezTo>
                        <a:pt x="41654" y="18418"/>
                        <a:pt x="65455" y="3542"/>
                        <a:pt x="92232" y="567"/>
                      </a:cubicBezTo>
                      <a:cubicBezTo>
                        <a:pt x="148760" y="-5384"/>
                        <a:pt x="199339" y="36269"/>
                        <a:pt x="205290" y="89823"/>
                      </a:cubicBezTo>
                      <a:cubicBezTo>
                        <a:pt x="211241" y="146352"/>
                        <a:pt x="169587" y="196931"/>
                        <a:pt x="116034" y="202881"/>
                      </a:cubicBezTo>
                      <a:cubicBezTo>
                        <a:pt x="110083" y="202881"/>
                        <a:pt x="104132" y="202881"/>
                        <a:pt x="98181" y="202881"/>
                      </a:cubicBezTo>
                      <a:cubicBezTo>
                        <a:pt x="77356" y="202881"/>
                        <a:pt x="56530" y="193955"/>
                        <a:pt x="38677" y="179079"/>
                      </a:cubicBezTo>
                      <a:cubicBezTo>
                        <a:pt x="17852" y="161228"/>
                        <a:pt x="2976" y="137426"/>
                        <a:pt x="0" y="110650"/>
                      </a:cubicBezTo>
                      <a:cubicBezTo>
                        <a:pt x="0" y="86848"/>
                        <a:pt x="5951" y="60071"/>
                        <a:pt x="23801" y="39245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1D7B54DE-6899-42B9-AF67-DFE9301F856C}"/>
                    </a:ext>
                  </a:extLst>
                </p:cNvPr>
                <p:cNvSpPr/>
                <p:nvPr/>
              </p:nvSpPr>
              <p:spPr>
                <a:xfrm>
                  <a:off x="24317975" y="2166754"/>
                  <a:ext cx="215344" cy="214778"/>
                </a:xfrm>
                <a:custGeom>
                  <a:avLst/>
                  <a:gdLst>
                    <a:gd name="connsiteX0" fmla="*/ 107671 w 215344"/>
                    <a:gd name="connsiteY0" fmla="*/ 214779 h 214778"/>
                    <a:gd name="connsiteX1" fmla="*/ 101720 w 215344"/>
                    <a:gd name="connsiteY1" fmla="*/ 214779 h 214778"/>
                    <a:gd name="connsiteX2" fmla="*/ 39241 w 215344"/>
                    <a:gd name="connsiteY2" fmla="*/ 190977 h 214778"/>
                    <a:gd name="connsiteX3" fmla="*/ 564 w 215344"/>
                    <a:gd name="connsiteY3" fmla="*/ 119572 h 214778"/>
                    <a:gd name="connsiteX4" fmla="*/ 24365 w 215344"/>
                    <a:gd name="connsiteY4" fmla="*/ 39241 h 214778"/>
                    <a:gd name="connsiteX5" fmla="*/ 24365 w 215344"/>
                    <a:gd name="connsiteY5" fmla="*/ 39241 h 214778"/>
                    <a:gd name="connsiteX6" fmla="*/ 95771 w 215344"/>
                    <a:gd name="connsiteY6" fmla="*/ 564 h 214778"/>
                    <a:gd name="connsiteX7" fmla="*/ 176100 w 215344"/>
                    <a:gd name="connsiteY7" fmla="*/ 24365 h 214778"/>
                    <a:gd name="connsiteX8" fmla="*/ 214779 w 215344"/>
                    <a:gd name="connsiteY8" fmla="*/ 95770 h 214778"/>
                    <a:gd name="connsiteX9" fmla="*/ 119572 w 215344"/>
                    <a:gd name="connsiteY9" fmla="*/ 214779 h 214778"/>
                    <a:gd name="connsiteX10" fmla="*/ 107671 w 215344"/>
                    <a:gd name="connsiteY10" fmla="*/ 214779 h 214778"/>
                    <a:gd name="connsiteX11" fmla="*/ 33291 w 215344"/>
                    <a:gd name="connsiteY11" fmla="*/ 48167 h 214778"/>
                    <a:gd name="connsiteX12" fmla="*/ 12464 w 215344"/>
                    <a:gd name="connsiteY12" fmla="*/ 119572 h 214778"/>
                    <a:gd name="connsiteX13" fmla="*/ 48167 w 215344"/>
                    <a:gd name="connsiteY13" fmla="*/ 185027 h 214778"/>
                    <a:gd name="connsiteX14" fmla="*/ 104696 w 215344"/>
                    <a:gd name="connsiteY14" fmla="*/ 205853 h 214778"/>
                    <a:gd name="connsiteX15" fmla="*/ 119572 w 215344"/>
                    <a:gd name="connsiteY15" fmla="*/ 205853 h 214778"/>
                    <a:gd name="connsiteX16" fmla="*/ 205852 w 215344"/>
                    <a:gd name="connsiteY16" fmla="*/ 98746 h 214778"/>
                    <a:gd name="connsiteX17" fmla="*/ 170151 w 215344"/>
                    <a:gd name="connsiteY17" fmla="*/ 33291 h 214778"/>
                    <a:gd name="connsiteX18" fmla="*/ 98746 w 215344"/>
                    <a:gd name="connsiteY18" fmla="*/ 12465 h 214778"/>
                    <a:gd name="connsiteX19" fmla="*/ 33291 w 215344"/>
                    <a:gd name="connsiteY19" fmla="*/ 48167 h 214778"/>
                    <a:gd name="connsiteX20" fmla="*/ 33291 w 215344"/>
                    <a:gd name="connsiteY20" fmla="*/ 48167 h 214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15344" h="214778">
                      <a:moveTo>
                        <a:pt x="107671" y="214779"/>
                      </a:moveTo>
                      <a:cubicBezTo>
                        <a:pt x="104696" y="214779"/>
                        <a:pt x="104696" y="214779"/>
                        <a:pt x="101720" y="214779"/>
                      </a:cubicBezTo>
                      <a:cubicBezTo>
                        <a:pt x="77919" y="214779"/>
                        <a:pt x="57092" y="205853"/>
                        <a:pt x="39241" y="190977"/>
                      </a:cubicBezTo>
                      <a:cubicBezTo>
                        <a:pt x="15440" y="173126"/>
                        <a:pt x="3539" y="146349"/>
                        <a:pt x="564" y="119572"/>
                      </a:cubicBezTo>
                      <a:cubicBezTo>
                        <a:pt x="-2412" y="89820"/>
                        <a:pt x="6515" y="63043"/>
                        <a:pt x="24365" y="39241"/>
                      </a:cubicBezTo>
                      <a:lnTo>
                        <a:pt x="24365" y="39241"/>
                      </a:lnTo>
                      <a:cubicBezTo>
                        <a:pt x="42216" y="15440"/>
                        <a:pt x="68993" y="3539"/>
                        <a:pt x="95771" y="564"/>
                      </a:cubicBezTo>
                      <a:cubicBezTo>
                        <a:pt x="125523" y="-2411"/>
                        <a:pt x="152299" y="6514"/>
                        <a:pt x="176100" y="24365"/>
                      </a:cubicBezTo>
                      <a:cubicBezTo>
                        <a:pt x="199903" y="42217"/>
                        <a:pt x="211803" y="68994"/>
                        <a:pt x="214779" y="95770"/>
                      </a:cubicBezTo>
                      <a:cubicBezTo>
                        <a:pt x="220728" y="155275"/>
                        <a:pt x="179077" y="208828"/>
                        <a:pt x="119572" y="214779"/>
                      </a:cubicBezTo>
                      <a:cubicBezTo>
                        <a:pt x="116596" y="214779"/>
                        <a:pt x="110647" y="214779"/>
                        <a:pt x="107671" y="214779"/>
                      </a:cubicBezTo>
                      <a:close/>
                      <a:moveTo>
                        <a:pt x="33291" y="48167"/>
                      </a:moveTo>
                      <a:cubicBezTo>
                        <a:pt x="18415" y="68994"/>
                        <a:pt x="9489" y="92795"/>
                        <a:pt x="12464" y="119572"/>
                      </a:cubicBezTo>
                      <a:cubicBezTo>
                        <a:pt x="15440" y="146349"/>
                        <a:pt x="27340" y="167175"/>
                        <a:pt x="48167" y="185027"/>
                      </a:cubicBezTo>
                      <a:cubicBezTo>
                        <a:pt x="63043" y="196927"/>
                        <a:pt x="83870" y="205853"/>
                        <a:pt x="104696" y="205853"/>
                      </a:cubicBezTo>
                      <a:cubicBezTo>
                        <a:pt x="110647" y="205853"/>
                        <a:pt x="116596" y="205853"/>
                        <a:pt x="119572" y="205853"/>
                      </a:cubicBezTo>
                      <a:cubicBezTo>
                        <a:pt x="173126" y="199903"/>
                        <a:pt x="211803" y="152299"/>
                        <a:pt x="205852" y="98746"/>
                      </a:cubicBezTo>
                      <a:cubicBezTo>
                        <a:pt x="202878" y="71969"/>
                        <a:pt x="190976" y="51142"/>
                        <a:pt x="170151" y="33291"/>
                      </a:cubicBezTo>
                      <a:cubicBezTo>
                        <a:pt x="149324" y="18415"/>
                        <a:pt x="125523" y="9489"/>
                        <a:pt x="98746" y="12465"/>
                      </a:cubicBezTo>
                      <a:cubicBezTo>
                        <a:pt x="71968" y="15440"/>
                        <a:pt x="48167" y="27341"/>
                        <a:pt x="33291" y="48167"/>
                      </a:cubicBezTo>
                      <a:lnTo>
                        <a:pt x="33291" y="48167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D4D30351-64BF-46CA-B844-DB062E1FA37C}"/>
                  </a:ext>
                </a:extLst>
              </p:cNvPr>
              <p:cNvSpPr/>
              <p:nvPr/>
            </p:nvSpPr>
            <p:spPr>
              <a:xfrm>
                <a:off x="23809777" y="2342855"/>
                <a:ext cx="511735" cy="50578"/>
              </a:xfrm>
              <a:custGeom>
                <a:avLst/>
                <a:gdLst>
                  <a:gd name="connsiteX0" fmla="*/ 273719 w 511735"/>
                  <a:gd name="connsiteY0" fmla="*/ 50578 h 50578"/>
                  <a:gd name="connsiteX1" fmla="*/ 0 w 511735"/>
                  <a:gd name="connsiteY1" fmla="*/ 8926 h 50578"/>
                  <a:gd name="connsiteX2" fmla="*/ 5951 w 511735"/>
                  <a:gd name="connsiteY2" fmla="*/ 0 h 50578"/>
                  <a:gd name="connsiteX3" fmla="*/ 508761 w 511735"/>
                  <a:gd name="connsiteY3" fmla="*/ 23802 h 50578"/>
                  <a:gd name="connsiteX4" fmla="*/ 511736 w 511735"/>
                  <a:gd name="connsiteY4" fmla="*/ 35702 h 50578"/>
                  <a:gd name="connsiteX5" fmla="*/ 273719 w 511735"/>
                  <a:gd name="connsiteY5" fmla="*/ 50578 h 50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1735" h="50578">
                    <a:moveTo>
                      <a:pt x="273719" y="50578"/>
                    </a:moveTo>
                    <a:cubicBezTo>
                      <a:pt x="178512" y="50578"/>
                      <a:pt x="74380" y="41653"/>
                      <a:pt x="0" y="8926"/>
                    </a:cubicBezTo>
                    <a:lnTo>
                      <a:pt x="5951" y="0"/>
                    </a:lnTo>
                    <a:cubicBezTo>
                      <a:pt x="175538" y="74380"/>
                      <a:pt x="505785" y="26777"/>
                      <a:pt x="508761" y="23802"/>
                    </a:cubicBezTo>
                    <a:lnTo>
                      <a:pt x="511736" y="35702"/>
                    </a:lnTo>
                    <a:cubicBezTo>
                      <a:pt x="505785" y="35702"/>
                      <a:pt x="398678" y="50578"/>
                      <a:pt x="273719" y="50578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7BCEA82C-0309-41BC-8567-01DD8218A513}"/>
                  </a:ext>
                </a:extLst>
              </p:cNvPr>
              <p:cNvSpPr/>
              <p:nvPr/>
            </p:nvSpPr>
            <p:spPr>
              <a:xfrm>
                <a:off x="23802596" y="2313103"/>
                <a:ext cx="533970" cy="145785"/>
              </a:xfrm>
              <a:custGeom>
                <a:avLst/>
                <a:gdLst>
                  <a:gd name="connsiteX0" fmla="*/ 295777 w 533970"/>
                  <a:gd name="connsiteY0" fmla="*/ 145785 h 145785"/>
                  <a:gd name="connsiteX1" fmla="*/ 4207 w 533970"/>
                  <a:gd name="connsiteY1" fmla="*/ 107107 h 145785"/>
                  <a:gd name="connsiteX2" fmla="*/ 1233 w 533970"/>
                  <a:gd name="connsiteY2" fmla="*/ 101157 h 145785"/>
                  <a:gd name="connsiteX3" fmla="*/ 7182 w 533970"/>
                  <a:gd name="connsiteY3" fmla="*/ 98182 h 145785"/>
                  <a:gd name="connsiteX4" fmla="*/ 521894 w 533970"/>
                  <a:gd name="connsiteY4" fmla="*/ 113058 h 145785"/>
                  <a:gd name="connsiteX5" fmla="*/ 492142 w 533970"/>
                  <a:gd name="connsiteY5" fmla="*/ 5950 h 145785"/>
                  <a:gd name="connsiteX6" fmla="*/ 495116 w 533970"/>
                  <a:gd name="connsiteY6" fmla="*/ 0 h 145785"/>
                  <a:gd name="connsiteX7" fmla="*/ 501067 w 533970"/>
                  <a:gd name="connsiteY7" fmla="*/ 2975 h 145785"/>
                  <a:gd name="connsiteX8" fmla="*/ 533794 w 533970"/>
                  <a:gd name="connsiteY8" fmla="*/ 119008 h 145785"/>
                  <a:gd name="connsiteX9" fmla="*/ 533794 w 533970"/>
                  <a:gd name="connsiteY9" fmla="*/ 121983 h 145785"/>
                  <a:gd name="connsiteX10" fmla="*/ 530819 w 533970"/>
                  <a:gd name="connsiteY10" fmla="*/ 121983 h 145785"/>
                  <a:gd name="connsiteX11" fmla="*/ 295777 w 533970"/>
                  <a:gd name="connsiteY11" fmla="*/ 145785 h 145785"/>
                  <a:gd name="connsiteX12" fmla="*/ 527843 w 533970"/>
                  <a:gd name="connsiteY12" fmla="*/ 113058 h 145785"/>
                  <a:gd name="connsiteX13" fmla="*/ 527843 w 533970"/>
                  <a:gd name="connsiteY13" fmla="*/ 113058 h 145785"/>
                  <a:gd name="connsiteX14" fmla="*/ 527843 w 533970"/>
                  <a:gd name="connsiteY14" fmla="*/ 113058 h 145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33970" h="145785">
                    <a:moveTo>
                      <a:pt x="295777" y="145785"/>
                    </a:moveTo>
                    <a:cubicBezTo>
                      <a:pt x="212472" y="145785"/>
                      <a:pt x="111314" y="136860"/>
                      <a:pt x="4207" y="107107"/>
                    </a:cubicBezTo>
                    <a:cubicBezTo>
                      <a:pt x="1233" y="107107"/>
                      <a:pt x="-1743" y="104132"/>
                      <a:pt x="1233" y="101157"/>
                    </a:cubicBezTo>
                    <a:cubicBezTo>
                      <a:pt x="1233" y="98182"/>
                      <a:pt x="4207" y="95207"/>
                      <a:pt x="7182" y="98182"/>
                    </a:cubicBezTo>
                    <a:cubicBezTo>
                      <a:pt x="271976" y="172562"/>
                      <a:pt x="489166" y="119008"/>
                      <a:pt x="521894" y="113058"/>
                    </a:cubicBezTo>
                    <a:cubicBezTo>
                      <a:pt x="521894" y="77355"/>
                      <a:pt x="492142" y="5950"/>
                      <a:pt x="492142" y="5950"/>
                    </a:cubicBezTo>
                    <a:cubicBezTo>
                      <a:pt x="492142" y="2975"/>
                      <a:pt x="492142" y="0"/>
                      <a:pt x="495116" y="0"/>
                    </a:cubicBezTo>
                    <a:cubicBezTo>
                      <a:pt x="498091" y="0"/>
                      <a:pt x="501067" y="0"/>
                      <a:pt x="501067" y="2975"/>
                    </a:cubicBezTo>
                    <a:cubicBezTo>
                      <a:pt x="501067" y="5950"/>
                      <a:pt x="536770" y="83306"/>
                      <a:pt x="533794" y="119008"/>
                    </a:cubicBezTo>
                    <a:lnTo>
                      <a:pt x="533794" y="121983"/>
                    </a:lnTo>
                    <a:lnTo>
                      <a:pt x="530819" y="121983"/>
                    </a:lnTo>
                    <a:cubicBezTo>
                      <a:pt x="527843" y="119008"/>
                      <a:pt x="435612" y="145785"/>
                      <a:pt x="295777" y="145785"/>
                    </a:cubicBezTo>
                    <a:close/>
                    <a:moveTo>
                      <a:pt x="527843" y="113058"/>
                    </a:moveTo>
                    <a:lnTo>
                      <a:pt x="527843" y="113058"/>
                    </a:lnTo>
                    <a:lnTo>
                      <a:pt x="527843" y="113058"/>
                    </a:lnTo>
                    <a:close/>
                  </a:path>
                </a:pathLst>
              </a:custGeom>
              <a:solidFill>
                <a:srgbClr val="38343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E4A84B61-C97B-4EA8-B675-CA1D14291AE5}"/>
                </a:ext>
              </a:extLst>
            </p:cNvPr>
            <p:cNvGrpSpPr/>
            <p:nvPr/>
          </p:nvGrpSpPr>
          <p:grpSpPr>
            <a:xfrm>
              <a:off x="18287795" y="1699480"/>
              <a:ext cx="511735" cy="536267"/>
              <a:chOff x="18287795" y="1699480"/>
              <a:chExt cx="511735" cy="536267"/>
            </a:xfrm>
          </p:grpSpPr>
          <p:grpSp>
            <p:nvGrpSpPr>
              <p:cNvPr id="119" name="图形 1">
                <a:extLst>
                  <a:ext uri="{FF2B5EF4-FFF2-40B4-BE49-F238E27FC236}">
                    <a16:creationId xmlns:a16="http://schemas.microsoft.com/office/drawing/2014/main" id="{829F4AB1-1285-478E-B256-63C9A672B901}"/>
                  </a:ext>
                </a:extLst>
              </p:cNvPr>
              <p:cNvGrpSpPr/>
              <p:nvPr/>
            </p:nvGrpSpPr>
            <p:grpSpPr>
              <a:xfrm>
                <a:off x="18293001" y="1699480"/>
                <a:ext cx="506529" cy="536267"/>
                <a:chOff x="18293001" y="1699480"/>
                <a:chExt cx="506529" cy="536267"/>
              </a:xfrm>
            </p:grpSpPr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C4BCE4F5-2154-42FC-80F5-9A2B2F4806D5}"/>
                    </a:ext>
                  </a:extLst>
                </p:cNvPr>
                <p:cNvSpPr/>
                <p:nvPr/>
              </p:nvSpPr>
              <p:spPr>
                <a:xfrm>
                  <a:off x="18293001" y="1846222"/>
                  <a:ext cx="506529" cy="389525"/>
                </a:xfrm>
                <a:custGeom>
                  <a:avLst/>
                  <a:gdLst>
                    <a:gd name="connsiteX0" fmla="*/ 339917 w 506529"/>
                    <a:gd name="connsiteY0" fmla="*/ 41426 h 389525"/>
                    <a:gd name="connsiteX1" fmla="*/ 122727 w 506529"/>
                    <a:gd name="connsiteY1" fmla="*/ 8699 h 389525"/>
                    <a:gd name="connsiteX2" fmla="*/ 3719 w 506529"/>
                    <a:gd name="connsiteY2" fmla="*/ 303245 h 389525"/>
                    <a:gd name="connsiteX3" fmla="*/ 744 w 506529"/>
                    <a:gd name="connsiteY3" fmla="*/ 380600 h 389525"/>
                    <a:gd name="connsiteX4" fmla="*/ 3719 w 506529"/>
                    <a:gd name="connsiteY4" fmla="*/ 386550 h 389525"/>
                    <a:gd name="connsiteX5" fmla="*/ 9670 w 506529"/>
                    <a:gd name="connsiteY5" fmla="*/ 389526 h 389525"/>
                    <a:gd name="connsiteX6" fmla="*/ 325041 w 506529"/>
                    <a:gd name="connsiteY6" fmla="*/ 335972 h 389525"/>
                    <a:gd name="connsiteX7" fmla="*/ 503553 w 506529"/>
                    <a:gd name="connsiteY7" fmla="*/ 255641 h 389525"/>
                    <a:gd name="connsiteX8" fmla="*/ 506529 w 506529"/>
                    <a:gd name="connsiteY8" fmla="*/ 246716 h 389525"/>
                    <a:gd name="connsiteX9" fmla="*/ 339917 w 506529"/>
                    <a:gd name="connsiteY9" fmla="*/ 41426 h 38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06529" h="389525">
                      <a:moveTo>
                        <a:pt x="339917" y="41426"/>
                      </a:moveTo>
                      <a:cubicBezTo>
                        <a:pt x="298265" y="14650"/>
                        <a:pt x="161404" y="-15103"/>
                        <a:pt x="122727" y="8699"/>
                      </a:cubicBezTo>
                      <a:cubicBezTo>
                        <a:pt x="15620" y="77129"/>
                        <a:pt x="9670" y="202088"/>
                        <a:pt x="3719" y="303245"/>
                      </a:cubicBezTo>
                      <a:cubicBezTo>
                        <a:pt x="-2232" y="341922"/>
                        <a:pt x="744" y="377625"/>
                        <a:pt x="744" y="380600"/>
                      </a:cubicBezTo>
                      <a:cubicBezTo>
                        <a:pt x="744" y="383575"/>
                        <a:pt x="744" y="383575"/>
                        <a:pt x="3719" y="386550"/>
                      </a:cubicBezTo>
                      <a:cubicBezTo>
                        <a:pt x="6695" y="386550"/>
                        <a:pt x="6695" y="389526"/>
                        <a:pt x="9670" y="389526"/>
                      </a:cubicBezTo>
                      <a:cubicBezTo>
                        <a:pt x="134629" y="380600"/>
                        <a:pt x="253637" y="356798"/>
                        <a:pt x="325041" y="335972"/>
                      </a:cubicBezTo>
                      <a:cubicBezTo>
                        <a:pt x="447025" y="300269"/>
                        <a:pt x="497604" y="258616"/>
                        <a:pt x="503553" y="255641"/>
                      </a:cubicBezTo>
                      <a:cubicBezTo>
                        <a:pt x="506529" y="252666"/>
                        <a:pt x="506529" y="249691"/>
                        <a:pt x="506529" y="246716"/>
                      </a:cubicBezTo>
                      <a:cubicBezTo>
                        <a:pt x="506529" y="246716"/>
                        <a:pt x="467852" y="121757"/>
                        <a:pt x="339917" y="41426"/>
                      </a:cubicBezTo>
                      <a:close/>
                    </a:path>
                  </a:pathLst>
                </a:custGeom>
                <a:solidFill>
                  <a:srgbClr val="F1DDB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4162D7DC-C46E-4375-85A6-18246DCBD33D}"/>
                    </a:ext>
                  </a:extLst>
                </p:cNvPr>
                <p:cNvSpPr/>
                <p:nvPr/>
              </p:nvSpPr>
              <p:spPr>
                <a:xfrm>
                  <a:off x="18299050" y="1707272"/>
                  <a:ext cx="192922" cy="195898"/>
                </a:xfrm>
                <a:custGeom>
                  <a:avLst/>
                  <a:gdLst>
                    <a:gd name="connsiteX0" fmla="*/ 155356 w 192922"/>
                    <a:gd name="connsiteY0" fmla="*/ 19715 h 195898"/>
                    <a:gd name="connsiteX1" fmla="*/ 83952 w 192922"/>
                    <a:gd name="connsiteY1" fmla="*/ 1864 h 195898"/>
                    <a:gd name="connsiteX2" fmla="*/ 647 w 192922"/>
                    <a:gd name="connsiteY2" fmla="*/ 111947 h 195898"/>
                    <a:gd name="connsiteX3" fmla="*/ 110728 w 192922"/>
                    <a:gd name="connsiteY3" fmla="*/ 195252 h 195898"/>
                    <a:gd name="connsiteX4" fmla="*/ 125604 w 192922"/>
                    <a:gd name="connsiteY4" fmla="*/ 192277 h 195898"/>
                    <a:gd name="connsiteX5" fmla="*/ 173208 w 192922"/>
                    <a:gd name="connsiteY5" fmla="*/ 159550 h 195898"/>
                    <a:gd name="connsiteX6" fmla="*/ 191059 w 192922"/>
                    <a:gd name="connsiteY6" fmla="*/ 88145 h 195898"/>
                    <a:gd name="connsiteX7" fmla="*/ 155356 w 192922"/>
                    <a:gd name="connsiteY7" fmla="*/ 19715 h 195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92922" h="195898">
                      <a:moveTo>
                        <a:pt x="155356" y="19715"/>
                      </a:moveTo>
                      <a:cubicBezTo>
                        <a:pt x="134531" y="4839"/>
                        <a:pt x="107753" y="-4087"/>
                        <a:pt x="83952" y="1864"/>
                      </a:cubicBezTo>
                      <a:cubicBezTo>
                        <a:pt x="30399" y="7814"/>
                        <a:pt x="-5304" y="58393"/>
                        <a:pt x="647" y="111947"/>
                      </a:cubicBezTo>
                      <a:cubicBezTo>
                        <a:pt x="6596" y="165500"/>
                        <a:pt x="57174" y="201203"/>
                        <a:pt x="110728" y="195252"/>
                      </a:cubicBezTo>
                      <a:cubicBezTo>
                        <a:pt x="116679" y="195252"/>
                        <a:pt x="122629" y="192277"/>
                        <a:pt x="125604" y="192277"/>
                      </a:cubicBezTo>
                      <a:cubicBezTo>
                        <a:pt x="143456" y="186327"/>
                        <a:pt x="161307" y="174426"/>
                        <a:pt x="173208" y="159550"/>
                      </a:cubicBezTo>
                      <a:cubicBezTo>
                        <a:pt x="188084" y="138723"/>
                        <a:pt x="197009" y="111947"/>
                        <a:pt x="191059" y="88145"/>
                      </a:cubicBezTo>
                      <a:cubicBezTo>
                        <a:pt x="191059" y="58393"/>
                        <a:pt x="176183" y="34591"/>
                        <a:pt x="155356" y="19715"/>
                      </a:cubicBezTo>
                      <a:close/>
                    </a:path>
                  </a:pathLst>
                </a:custGeom>
                <a:solidFill>
                  <a:srgbClr val="F1DDB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CF10CC1D-6042-45DB-A7EB-C2A282BE1CEE}"/>
                    </a:ext>
                  </a:extLst>
                </p:cNvPr>
                <p:cNvSpPr/>
                <p:nvPr/>
              </p:nvSpPr>
              <p:spPr>
                <a:xfrm>
                  <a:off x="18295990" y="1699480"/>
                  <a:ext cx="206750" cy="206019"/>
                </a:xfrm>
                <a:custGeom>
                  <a:avLst/>
                  <a:gdLst>
                    <a:gd name="connsiteX0" fmla="*/ 101888 w 206750"/>
                    <a:gd name="connsiteY0" fmla="*/ 206020 h 206019"/>
                    <a:gd name="connsiteX1" fmla="*/ 730 w 206750"/>
                    <a:gd name="connsiteY1" fmla="*/ 116764 h 206019"/>
                    <a:gd name="connsiteX2" fmla="*/ 21557 w 206750"/>
                    <a:gd name="connsiteY2" fmla="*/ 39408 h 206019"/>
                    <a:gd name="connsiteX3" fmla="*/ 89986 w 206750"/>
                    <a:gd name="connsiteY3" fmla="*/ 731 h 206019"/>
                    <a:gd name="connsiteX4" fmla="*/ 167343 w 206750"/>
                    <a:gd name="connsiteY4" fmla="*/ 21557 h 206019"/>
                    <a:gd name="connsiteX5" fmla="*/ 167343 w 206750"/>
                    <a:gd name="connsiteY5" fmla="*/ 21557 h 206019"/>
                    <a:gd name="connsiteX6" fmla="*/ 206020 w 206750"/>
                    <a:gd name="connsiteY6" fmla="*/ 89987 h 206019"/>
                    <a:gd name="connsiteX7" fmla="*/ 185193 w 206750"/>
                    <a:gd name="connsiteY7" fmla="*/ 167342 h 206019"/>
                    <a:gd name="connsiteX8" fmla="*/ 134615 w 206750"/>
                    <a:gd name="connsiteY8" fmla="*/ 203045 h 206019"/>
                    <a:gd name="connsiteX9" fmla="*/ 116764 w 206750"/>
                    <a:gd name="connsiteY9" fmla="*/ 206020 h 206019"/>
                    <a:gd name="connsiteX10" fmla="*/ 101888 w 206750"/>
                    <a:gd name="connsiteY10" fmla="*/ 206020 h 206019"/>
                    <a:gd name="connsiteX11" fmla="*/ 101888 w 206750"/>
                    <a:gd name="connsiteY11" fmla="*/ 12631 h 206019"/>
                    <a:gd name="connsiteX12" fmla="*/ 89986 w 206750"/>
                    <a:gd name="connsiteY12" fmla="*/ 12631 h 206019"/>
                    <a:gd name="connsiteX13" fmla="*/ 30482 w 206750"/>
                    <a:gd name="connsiteY13" fmla="*/ 48334 h 206019"/>
                    <a:gd name="connsiteX14" fmla="*/ 12632 w 206750"/>
                    <a:gd name="connsiteY14" fmla="*/ 116764 h 206019"/>
                    <a:gd name="connsiteX15" fmla="*/ 116764 w 206750"/>
                    <a:gd name="connsiteY15" fmla="*/ 194119 h 206019"/>
                    <a:gd name="connsiteX16" fmla="*/ 131640 w 206750"/>
                    <a:gd name="connsiteY16" fmla="*/ 191144 h 206019"/>
                    <a:gd name="connsiteX17" fmla="*/ 176268 w 206750"/>
                    <a:gd name="connsiteY17" fmla="*/ 158417 h 206019"/>
                    <a:gd name="connsiteX18" fmla="*/ 194119 w 206750"/>
                    <a:gd name="connsiteY18" fmla="*/ 89987 h 206019"/>
                    <a:gd name="connsiteX19" fmla="*/ 158416 w 206750"/>
                    <a:gd name="connsiteY19" fmla="*/ 30483 h 206019"/>
                    <a:gd name="connsiteX20" fmla="*/ 158416 w 206750"/>
                    <a:gd name="connsiteY20" fmla="*/ 30483 h 206019"/>
                    <a:gd name="connsiteX21" fmla="*/ 101888 w 206750"/>
                    <a:gd name="connsiteY21" fmla="*/ 12631 h 2060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06750" h="206019">
                      <a:moveTo>
                        <a:pt x="101888" y="206020"/>
                      </a:moveTo>
                      <a:cubicBezTo>
                        <a:pt x="51309" y="206020"/>
                        <a:pt x="6681" y="167342"/>
                        <a:pt x="730" y="116764"/>
                      </a:cubicBezTo>
                      <a:cubicBezTo>
                        <a:pt x="-2244" y="89987"/>
                        <a:pt x="3707" y="63210"/>
                        <a:pt x="21557" y="39408"/>
                      </a:cubicBezTo>
                      <a:cubicBezTo>
                        <a:pt x="39408" y="18582"/>
                        <a:pt x="63211" y="3706"/>
                        <a:pt x="89986" y="731"/>
                      </a:cubicBezTo>
                      <a:cubicBezTo>
                        <a:pt x="116764" y="-2245"/>
                        <a:pt x="143540" y="3706"/>
                        <a:pt x="167343" y="21557"/>
                      </a:cubicBezTo>
                      <a:lnTo>
                        <a:pt x="167343" y="21557"/>
                      </a:lnTo>
                      <a:cubicBezTo>
                        <a:pt x="188168" y="39408"/>
                        <a:pt x="203044" y="63210"/>
                        <a:pt x="206020" y="89987"/>
                      </a:cubicBezTo>
                      <a:cubicBezTo>
                        <a:pt x="208995" y="116764"/>
                        <a:pt x="203044" y="143541"/>
                        <a:pt x="185193" y="167342"/>
                      </a:cubicBezTo>
                      <a:cubicBezTo>
                        <a:pt x="173292" y="185193"/>
                        <a:pt x="155441" y="197094"/>
                        <a:pt x="134615" y="203045"/>
                      </a:cubicBezTo>
                      <a:cubicBezTo>
                        <a:pt x="128664" y="206020"/>
                        <a:pt x="122715" y="206020"/>
                        <a:pt x="116764" y="206020"/>
                      </a:cubicBezTo>
                      <a:cubicBezTo>
                        <a:pt x="110813" y="206020"/>
                        <a:pt x="104862" y="206020"/>
                        <a:pt x="101888" y="206020"/>
                      </a:cubicBezTo>
                      <a:close/>
                      <a:moveTo>
                        <a:pt x="101888" y="12631"/>
                      </a:moveTo>
                      <a:cubicBezTo>
                        <a:pt x="98912" y="12631"/>
                        <a:pt x="92963" y="12631"/>
                        <a:pt x="89986" y="12631"/>
                      </a:cubicBezTo>
                      <a:cubicBezTo>
                        <a:pt x="66185" y="15607"/>
                        <a:pt x="45358" y="27507"/>
                        <a:pt x="30482" y="48334"/>
                      </a:cubicBezTo>
                      <a:cubicBezTo>
                        <a:pt x="15606" y="69160"/>
                        <a:pt x="9656" y="92962"/>
                        <a:pt x="12632" y="116764"/>
                      </a:cubicBezTo>
                      <a:cubicBezTo>
                        <a:pt x="18583" y="167342"/>
                        <a:pt x="66185" y="203045"/>
                        <a:pt x="116764" y="194119"/>
                      </a:cubicBezTo>
                      <a:cubicBezTo>
                        <a:pt x="122715" y="194119"/>
                        <a:pt x="125689" y="191144"/>
                        <a:pt x="131640" y="191144"/>
                      </a:cubicBezTo>
                      <a:cubicBezTo>
                        <a:pt x="149491" y="185193"/>
                        <a:pt x="164367" y="173293"/>
                        <a:pt x="176268" y="158417"/>
                      </a:cubicBezTo>
                      <a:cubicBezTo>
                        <a:pt x="191144" y="137590"/>
                        <a:pt x="197095" y="113788"/>
                        <a:pt x="194119" y="89987"/>
                      </a:cubicBezTo>
                      <a:cubicBezTo>
                        <a:pt x="191144" y="66185"/>
                        <a:pt x="179243" y="45359"/>
                        <a:pt x="158416" y="30483"/>
                      </a:cubicBezTo>
                      <a:lnTo>
                        <a:pt x="158416" y="30483"/>
                      </a:lnTo>
                      <a:cubicBezTo>
                        <a:pt x="140565" y="18582"/>
                        <a:pt x="119739" y="12631"/>
                        <a:pt x="101888" y="12631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3132C6E0-A03E-41CB-8FA4-9F99E12901F8}"/>
                  </a:ext>
                </a:extLst>
              </p:cNvPr>
              <p:cNvSpPr/>
              <p:nvPr/>
            </p:nvSpPr>
            <p:spPr>
              <a:xfrm>
                <a:off x="18287795" y="2034177"/>
                <a:ext cx="499090" cy="150991"/>
              </a:xfrm>
              <a:custGeom>
                <a:avLst/>
                <a:gdLst>
                  <a:gd name="connsiteX0" fmla="*/ 5951 w 499090"/>
                  <a:gd name="connsiteY0" fmla="*/ 150992 h 150991"/>
                  <a:gd name="connsiteX1" fmla="*/ 0 w 499090"/>
                  <a:gd name="connsiteY1" fmla="*/ 145041 h 150991"/>
                  <a:gd name="connsiteX2" fmla="*/ 5951 w 499090"/>
                  <a:gd name="connsiteY2" fmla="*/ 139091 h 150991"/>
                  <a:gd name="connsiteX3" fmla="*/ 487935 w 499090"/>
                  <a:gd name="connsiteY3" fmla="*/ 2231 h 150991"/>
                  <a:gd name="connsiteX4" fmla="*/ 496860 w 499090"/>
                  <a:gd name="connsiteY4" fmla="*/ 2231 h 150991"/>
                  <a:gd name="connsiteX5" fmla="*/ 496860 w 499090"/>
                  <a:gd name="connsiteY5" fmla="*/ 11157 h 150991"/>
                  <a:gd name="connsiteX6" fmla="*/ 5951 w 499090"/>
                  <a:gd name="connsiteY6" fmla="*/ 150992 h 150991"/>
                  <a:gd name="connsiteX7" fmla="*/ 5951 w 499090"/>
                  <a:gd name="connsiteY7" fmla="*/ 150992 h 150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9090" h="150991">
                    <a:moveTo>
                      <a:pt x="5951" y="150992"/>
                    </a:moveTo>
                    <a:cubicBezTo>
                      <a:pt x="2974" y="150992"/>
                      <a:pt x="0" y="148017"/>
                      <a:pt x="0" y="145041"/>
                    </a:cubicBezTo>
                    <a:cubicBezTo>
                      <a:pt x="0" y="142066"/>
                      <a:pt x="2974" y="139091"/>
                      <a:pt x="5951" y="139091"/>
                    </a:cubicBezTo>
                    <a:cubicBezTo>
                      <a:pt x="8925" y="139091"/>
                      <a:pt x="351074" y="109339"/>
                      <a:pt x="487935" y="2231"/>
                    </a:cubicBezTo>
                    <a:cubicBezTo>
                      <a:pt x="490909" y="-744"/>
                      <a:pt x="493884" y="-744"/>
                      <a:pt x="496860" y="2231"/>
                    </a:cubicBezTo>
                    <a:cubicBezTo>
                      <a:pt x="499834" y="5207"/>
                      <a:pt x="499834" y="8182"/>
                      <a:pt x="496860" y="11157"/>
                    </a:cubicBezTo>
                    <a:cubicBezTo>
                      <a:pt x="354050" y="121240"/>
                      <a:pt x="20827" y="150992"/>
                      <a:pt x="5951" y="150992"/>
                    </a:cubicBezTo>
                    <a:lnTo>
                      <a:pt x="5951" y="150992"/>
                    </a:lnTo>
                    <a:close/>
                  </a:path>
                </a:pathLst>
              </a:custGeom>
              <a:solidFill>
                <a:srgbClr val="D3977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D7168E10-B840-4B5A-8F1D-AD24879868DF}"/>
                </a:ext>
              </a:extLst>
            </p:cNvPr>
            <p:cNvSpPr/>
            <p:nvPr/>
          </p:nvSpPr>
          <p:spPr>
            <a:xfrm>
              <a:off x="18623993" y="2687979"/>
              <a:ext cx="154049" cy="1556033"/>
            </a:xfrm>
            <a:custGeom>
              <a:avLst/>
              <a:gdLst>
                <a:gd name="connsiteX0" fmla="*/ 142810 w 154049"/>
                <a:gd name="connsiteY0" fmla="*/ 1556033 h 1556033"/>
                <a:gd name="connsiteX1" fmla="*/ 142810 w 154049"/>
                <a:gd name="connsiteY1" fmla="*/ 1556033 h 1556033"/>
                <a:gd name="connsiteX2" fmla="*/ 136861 w 154049"/>
                <a:gd name="connsiteY2" fmla="*/ 1550083 h 1556033"/>
                <a:gd name="connsiteX3" fmla="*/ 136861 w 154049"/>
                <a:gd name="connsiteY3" fmla="*/ 937190 h 1556033"/>
                <a:gd name="connsiteX4" fmla="*/ 0 w 154049"/>
                <a:gd name="connsiteY4" fmla="*/ 5950 h 1556033"/>
                <a:gd name="connsiteX5" fmla="*/ 2976 w 154049"/>
                <a:gd name="connsiteY5" fmla="*/ 0 h 1556033"/>
                <a:gd name="connsiteX6" fmla="*/ 8925 w 154049"/>
                <a:gd name="connsiteY6" fmla="*/ 2975 h 1556033"/>
                <a:gd name="connsiteX7" fmla="*/ 148760 w 154049"/>
                <a:gd name="connsiteY7" fmla="*/ 940165 h 1556033"/>
                <a:gd name="connsiteX8" fmla="*/ 148760 w 154049"/>
                <a:gd name="connsiteY8" fmla="*/ 1553058 h 1556033"/>
                <a:gd name="connsiteX9" fmla="*/ 142810 w 154049"/>
                <a:gd name="connsiteY9" fmla="*/ 1556033 h 1556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4049" h="1556033">
                  <a:moveTo>
                    <a:pt x="142810" y="1556033"/>
                  </a:moveTo>
                  <a:lnTo>
                    <a:pt x="142810" y="1556033"/>
                  </a:lnTo>
                  <a:cubicBezTo>
                    <a:pt x="139835" y="1556033"/>
                    <a:pt x="136861" y="1553058"/>
                    <a:pt x="136861" y="1550083"/>
                  </a:cubicBezTo>
                  <a:cubicBezTo>
                    <a:pt x="136861" y="1547107"/>
                    <a:pt x="148760" y="1267438"/>
                    <a:pt x="136861" y="937190"/>
                  </a:cubicBezTo>
                  <a:cubicBezTo>
                    <a:pt x="127934" y="633719"/>
                    <a:pt x="95207" y="226116"/>
                    <a:pt x="0" y="5950"/>
                  </a:cubicBezTo>
                  <a:cubicBezTo>
                    <a:pt x="0" y="2975"/>
                    <a:pt x="0" y="0"/>
                    <a:pt x="2976" y="0"/>
                  </a:cubicBezTo>
                  <a:cubicBezTo>
                    <a:pt x="5951" y="0"/>
                    <a:pt x="8925" y="0"/>
                    <a:pt x="8925" y="2975"/>
                  </a:cubicBezTo>
                  <a:cubicBezTo>
                    <a:pt x="104132" y="223141"/>
                    <a:pt x="136861" y="633719"/>
                    <a:pt x="148760" y="940165"/>
                  </a:cubicBezTo>
                  <a:cubicBezTo>
                    <a:pt x="160662" y="1270413"/>
                    <a:pt x="148760" y="1550083"/>
                    <a:pt x="148760" y="1553058"/>
                  </a:cubicBezTo>
                  <a:cubicBezTo>
                    <a:pt x="148760" y="1553058"/>
                    <a:pt x="145786" y="1556033"/>
                    <a:pt x="142810" y="1556033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D1A207B2-E134-4222-9F14-FF61D58068DC}"/>
                </a:ext>
              </a:extLst>
            </p:cNvPr>
            <p:cNvSpPr/>
            <p:nvPr/>
          </p:nvSpPr>
          <p:spPr>
            <a:xfrm>
              <a:off x="18341929" y="2622422"/>
              <a:ext cx="389172" cy="128780"/>
            </a:xfrm>
            <a:custGeom>
              <a:avLst/>
              <a:gdLst>
                <a:gd name="connsiteX0" fmla="*/ 389172 w 389172"/>
                <a:gd name="connsiteY0" fmla="*/ 74483 h 128780"/>
                <a:gd name="connsiteX1" fmla="*/ 368345 w 389172"/>
                <a:gd name="connsiteY1" fmla="*/ 9028 h 128780"/>
                <a:gd name="connsiteX2" fmla="*/ 356444 w 389172"/>
                <a:gd name="connsiteY2" fmla="*/ 3078 h 128780"/>
                <a:gd name="connsiteX3" fmla="*/ 47023 w 389172"/>
                <a:gd name="connsiteY3" fmla="*/ 103 h 128780"/>
                <a:gd name="connsiteX4" fmla="*/ 2395 w 389172"/>
                <a:gd name="connsiteY4" fmla="*/ 74483 h 128780"/>
                <a:gd name="connsiteX5" fmla="*/ 11321 w 389172"/>
                <a:gd name="connsiteY5" fmla="*/ 95309 h 128780"/>
                <a:gd name="connsiteX6" fmla="*/ 383221 w 389172"/>
                <a:gd name="connsiteY6" fmla="*/ 95309 h 128780"/>
                <a:gd name="connsiteX7" fmla="*/ 389172 w 389172"/>
                <a:gd name="connsiteY7" fmla="*/ 74483 h 128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9172" h="128780">
                  <a:moveTo>
                    <a:pt x="389172" y="74483"/>
                  </a:moveTo>
                  <a:cubicBezTo>
                    <a:pt x="383221" y="50681"/>
                    <a:pt x="377271" y="29855"/>
                    <a:pt x="368345" y="9028"/>
                  </a:cubicBezTo>
                  <a:cubicBezTo>
                    <a:pt x="365369" y="6053"/>
                    <a:pt x="359420" y="103"/>
                    <a:pt x="356444" y="3078"/>
                  </a:cubicBezTo>
                  <a:cubicBezTo>
                    <a:pt x="252312" y="17954"/>
                    <a:pt x="148179" y="29855"/>
                    <a:pt x="47023" y="103"/>
                  </a:cubicBezTo>
                  <a:cubicBezTo>
                    <a:pt x="35122" y="-2872"/>
                    <a:pt x="11321" y="59607"/>
                    <a:pt x="2395" y="74483"/>
                  </a:cubicBezTo>
                  <a:cubicBezTo>
                    <a:pt x="-3555" y="83409"/>
                    <a:pt x="2395" y="92334"/>
                    <a:pt x="11321" y="95309"/>
                  </a:cubicBezTo>
                  <a:cubicBezTo>
                    <a:pt x="133303" y="139938"/>
                    <a:pt x="261237" y="139938"/>
                    <a:pt x="383221" y="95309"/>
                  </a:cubicBezTo>
                  <a:cubicBezTo>
                    <a:pt x="386196" y="89359"/>
                    <a:pt x="389172" y="83409"/>
                    <a:pt x="389172" y="74483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82F705DC-3B21-4D51-92BF-3DF52B35B027}"/>
                </a:ext>
              </a:extLst>
            </p:cNvPr>
            <p:cNvSpPr/>
            <p:nvPr/>
          </p:nvSpPr>
          <p:spPr>
            <a:xfrm>
              <a:off x="19153579" y="3107483"/>
              <a:ext cx="767604" cy="767603"/>
            </a:xfrm>
            <a:custGeom>
              <a:avLst/>
              <a:gdLst>
                <a:gd name="connsiteX0" fmla="*/ 383802 w 767604"/>
                <a:gd name="connsiteY0" fmla="*/ 0 h 767603"/>
                <a:gd name="connsiteX1" fmla="*/ 0 w 767604"/>
                <a:gd name="connsiteY1" fmla="*/ 383802 h 767603"/>
                <a:gd name="connsiteX2" fmla="*/ 169587 w 767604"/>
                <a:gd name="connsiteY2" fmla="*/ 702149 h 767603"/>
                <a:gd name="connsiteX3" fmla="*/ 383802 w 767604"/>
                <a:gd name="connsiteY3" fmla="*/ 767603 h 767603"/>
                <a:gd name="connsiteX4" fmla="*/ 636695 w 767604"/>
                <a:gd name="connsiteY4" fmla="*/ 672397 h 767603"/>
                <a:gd name="connsiteX5" fmla="*/ 767605 w 767604"/>
                <a:gd name="connsiteY5" fmla="*/ 383802 h 767603"/>
                <a:gd name="connsiteX6" fmla="*/ 383802 w 767604"/>
                <a:gd name="connsiteY6" fmla="*/ 0 h 767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7604" h="767603">
                  <a:moveTo>
                    <a:pt x="383802" y="0"/>
                  </a:moveTo>
                  <a:cubicBezTo>
                    <a:pt x="172563" y="0"/>
                    <a:pt x="0" y="172562"/>
                    <a:pt x="0" y="383802"/>
                  </a:cubicBezTo>
                  <a:cubicBezTo>
                    <a:pt x="0" y="511736"/>
                    <a:pt x="62480" y="630744"/>
                    <a:pt x="169587" y="702149"/>
                  </a:cubicBezTo>
                  <a:cubicBezTo>
                    <a:pt x="232068" y="743802"/>
                    <a:pt x="306448" y="767603"/>
                    <a:pt x="383802" y="767603"/>
                  </a:cubicBezTo>
                  <a:cubicBezTo>
                    <a:pt x="476033" y="767603"/>
                    <a:pt x="568266" y="734876"/>
                    <a:pt x="636695" y="672397"/>
                  </a:cubicBezTo>
                  <a:cubicBezTo>
                    <a:pt x="720000" y="598017"/>
                    <a:pt x="767605" y="493884"/>
                    <a:pt x="767605" y="383802"/>
                  </a:cubicBezTo>
                  <a:cubicBezTo>
                    <a:pt x="767605" y="172562"/>
                    <a:pt x="595041" y="0"/>
                    <a:pt x="383802" y="0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180CD661-E525-4622-8F6A-AA58866F252B}"/>
                </a:ext>
              </a:extLst>
            </p:cNvPr>
            <p:cNvSpPr/>
            <p:nvPr/>
          </p:nvSpPr>
          <p:spPr>
            <a:xfrm>
              <a:off x="19403497" y="3354425"/>
              <a:ext cx="48061" cy="47603"/>
            </a:xfrm>
            <a:custGeom>
              <a:avLst/>
              <a:gdLst>
                <a:gd name="connsiteX0" fmla="*/ 23801 w 48061"/>
                <a:gd name="connsiteY0" fmla="*/ 0 h 47603"/>
                <a:gd name="connsiteX1" fmla="*/ 0 w 48061"/>
                <a:gd name="connsiteY1" fmla="*/ 23802 h 47603"/>
                <a:gd name="connsiteX2" fmla="*/ 23801 w 48061"/>
                <a:gd name="connsiteY2" fmla="*/ 47603 h 47603"/>
                <a:gd name="connsiteX3" fmla="*/ 47603 w 48061"/>
                <a:gd name="connsiteY3" fmla="*/ 23802 h 47603"/>
                <a:gd name="connsiteX4" fmla="*/ 23801 w 48061"/>
                <a:gd name="connsiteY4" fmla="*/ 0 h 47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061" h="47603">
                  <a:moveTo>
                    <a:pt x="23801" y="0"/>
                  </a:moveTo>
                  <a:cubicBezTo>
                    <a:pt x="8925" y="0"/>
                    <a:pt x="0" y="11901"/>
                    <a:pt x="0" y="23802"/>
                  </a:cubicBezTo>
                  <a:cubicBezTo>
                    <a:pt x="0" y="38678"/>
                    <a:pt x="11902" y="47603"/>
                    <a:pt x="23801" y="47603"/>
                  </a:cubicBezTo>
                  <a:cubicBezTo>
                    <a:pt x="38677" y="47603"/>
                    <a:pt x="47603" y="35703"/>
                    <a:pt x="47603" y="23802"/>
                  </a:cubicBezTo>
                  <a:cubicBezTo>
                    <a:pt x="50579" y="11901"/>
                    <a:pt x="38677" y="0"/>
                    <a:pt x="23801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089EEB42-8E6F-47B5-AD1B-C7F9357983DE}"/>
                </a:ext>
              </a:extLst>
            </p:cNvPr>
            <p:cNvSpPr/>
            <p:nvPr/>
          </p:nvSpPr>
          <p:spPr>
            <a:xfrm>
              <a:off x="19674240" y="3327649"/>
              <a:ext cx="47604" cy="47603"/>
            </a:xfrm>
            <a:custGeom>
              <a:avLst/>
              <a:gdLst>
                <a:gd name="connsiteX0" fmla="*/ 23803 w 47604"/>
                <a:gd name="connsiteY0" fmla="*/ 0 h 47603"/>
                <a:gd name="connsiteX1" fmla="*/ 0 w 47604"/>
                <a:gd name="connsiteY1" fmla="*/ 23802 h 47603"/>
                <a:gd name="connsiteX2" fmla="*/ 23803 w 47604"/>
                <a:gd name="connsiteY2" fmla="*/ 47603 h 47603"/>
                <a:gd name="connsiteX3" fmla="*/ 47604 w 47604"/>
                <a:gd name="connsiteY3" fmla="*/ 23802 h 47603"/>
                <a:gd name="connsiteX4" fmla="*/ 23803 w 47604"/>
                <a:gd name="connsiteY4" fmla="*/ 0 h 47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04" h="47603">
                  <a:moveTo>
                    <a:pt x="23803" y="0"/>
                  </a:moveTo>
                  <a:cubicBezTo>
                    <a:pt x="8927" y="0"/>
                    <a:pt x="0" y="11901"/>
                    <a:pt x="0" y="23802"/>
                  </a:cubicBezTo>
                  <a:cubicBezTo>
                    <a:pt x="0" y="38678"/>
                    <a:pt x="11902" y="47603"/>
                    <a:pt x="23803" y="47603"/>
                  </a:cubicBezTo>
                  <a:cubicBezTo>
                    <a:pt x="38679" y="47603"/>
                    <a:pt x="47604" y="35703"/>
                    <a:pt x="47604" y="23802"/>
                  </a:cubicBezTo>
                  <a:cubicBezTo>
                    <a:pt x="47604" y="11901"/>
                    <a:pt x="38679" y="0"/>
                    <a:pt x="23803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329B3441-DD5D-4EE2-9462-F830504C3DFC}"/>
                </a:ext>
              </a:extLst>
            </p:cNvPr>
            <p:cNvSpPr/>
            <p:nvPr/>
          </p:nvSpPr>
          <p:spPr>
            <a:xfrm>
              <a:off x="19416419" y="3697595"/>
              <a:ext cx="304404" cy="64433"/>
            </a:xfrm>
            <a:custGeom>
              <a:avLst/>
              <a:gdLst>
                <a:gd name="connsiteX0" fmla="*/ 153689 w 304404"/>
                <a:gd name="connsiteY0" fmla="*/ 64434 h 64433"/>
                <a:gd name="connsiteX1" fmla="*/ 4928 w 304404"/>
                <a:gd name="connsiteY1" fmla="*/ 19806 h 64433"/>
                <a:gd name="connsiteX2" fmla="*/ 1954 w 304404"/>
                <a:gd name="connsiteY2" fmla="*/ 4930 h 64433"/>
                <a:gd name="connsiteX3" fmla="*/ 16830 w 304404"/>
                <a:gd name="connsiteY3" fmla="*/ 1954 h 64433"/>
                <a:gd name="connsiteX4" fmla="*/ 287573 w 304404"/>
                <a:gd name="connsiteY4" fmla="*/ 1954 h 64433"/>
                <a:gd name="connsiteX5" fmla="*/ 302449 w 304404"/>
                <a:gd name="connsiteY5" fmla="*/ 4930 h 64433"/>
                <a:gd name="connsiteX6" fmla="*/ 299474 w 304404"/>
                <a:gd name="connsiteY6" fmla="*/ 19806 h 64433"/>
                <a:gd name="connsiteX7" fmla="*/ 153689 w 304404"/>
                <a:gd name="connsiteY7" fmla="*/ 64434 h 6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4404" h="64433">
                  <a:moveTo>
                    <a:pt x="153689" y="64434"/>
                  </a:moveTo>
                  <a:cubicBezTo>
                    <a:pt x="64432" y="64434"/>
                    <a:pt x="4928" y="19806"/>
                    <a:pt x="4928" y="19806"/>
                  </a:cubicBezTo>
                  <a:cubicBezTo>
                    <a:pt x="-1021" y="16830"/>
                    <a:pt x="-1021" y="7905"/>
                    <a:pt x="1954" y="4930"/>
                  </a:cubicBezTo>
                  <a:cubicBezTo>
                    <a:pt x="4928" y="-1021"/>
                    <a:pt x="13855" y="-1021"/>
                    <a:pt x="16830" y="1954"/>
                  </a:cubicBezTo>
                  <a:cubicBezTo>
                    <a:pt x="22781" y="4930"/>
                    <a:pt x="141789" y="94186"/>
                    <a:pt x="287573" y="1954"/>
                  </a:cubicBezTo>
                  <a:cubicBezTo>
                    <a:pt x="293524" y="-1021"/>
                    <a:pt x="299474" y="-1021"/>
                    <a:pt x="302449" y="4930"/>
                  </a:cubicBezTo>
                  <a:cubicBezTo>
                    <a:pt x="305425" y="10880"/>
                    <a:pt x="305425" y="16830"/>
                    <a:pt x="299474" y="19806"/>
                  </a:cubicBezTo>
                  <a:cubicBezTo>
                    <a:pt x="248896" y="52533"/>
                    <a:pt x="195342" y="64434"/>
                    <a:pt x="153689" y="64434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4" name="图形 1">
              <a:extLst>
                <a:ext uri="{FF2B5EF4-FFF2-40B4-BE49-F238E27FC236}">
                  <a16:creationId xmlns:a16="http://schemas.microsoft.com/office/drawing/2014/main" id="{AB202389-0753-44DD-897D-121947D9D43F}"/>
                </a:ext>
              </a:extLst>
            </p:cNvPr>
            <p:cNvGrpSpPr/>
            <p:nvPr/>
          </p:nvGrpSpPr>
          <p:grpSpPr>
            <a:xfrm>
              <a:off x="19026285" y="3590835"/>
              <a:ext cx="344485" cy="214755"/>
              <a:chOff x="19026285" y="3590835"/>
              <a:chExt cx="344485" cy="214755"/>
            </a:xfrm>
          </p:grpSpPr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4E61DF53-5848-468C-938E-9B61A766BEBB}"/>
                  </a:ext>
                </a:extLst>
              </p:cNvPr>
              <p:cNvSpPr/>
              <p:nvPr/>
            </p:nvSpPr>
            <p:spPr>
              <a:xfrm>
                <a:off x="19026285" y="3596449"/>
                <a:ext cx="338535" cy="209141"/>
              </a:xfrm>
              <a:custGeom>
                <a:avLst/>
                <a:gdLst>
                  <a:gd name="connsiteX0" fmla="*/ 11262 w 338535"/>
                  <a:gd name="connsiteY0" fmla="*/ 153679 h 209141"/>
                  <a:gd name="connsiteX1" fmla="*/ 14237 w 338535"/>
                  <a:gd name="connsiteY1" fmla="*/ 165579 h 209141"/>
                  <a:gd name="connsiteX2" fmla="*/ 183824 w 338535"/>
                  <a:gd name="connsiteY2" fmla="*/ 207232 h 209141"/>
                  <a:gd name="connsiteX3" fmla="*/ 320683 w 338535"/>
                  <a:gd name="connsiteY3" fmla="*/ 147728 h 209141"/>
                  <a:gd name="connsiteX4" fmla="*/ 308783 w 338535"/>
                  <a:gd name="connsiteY4" fmla="*/ 132852 h 209141"/>
                  <a:gd name="connsiteX5" fmla="*/ 267129 w 338535"/>
                  <a:gd name="connsiteY5" fmla="*/ 141778 h 209141"/>
                  <a:gd name="connsiteX6" fmla="*/ 314734 w 338535"/>
                  <a:gd name="connsiteY6" fmla="*/ 117976 h 209141"/>
                  <a:gd name="connsiteX7" fmla="*/ 338535 w 338535"/>
                  <a:gd name="connsiteY7" fmla="*/ 91199 h 209141"/>
                  <a:gd name="connsiteX8" fmla="*/ 323659 w 338535"/>
                  <a:gd name="connsiteY8" fmla="*/ 79298 h 209141"/>
                  <a:gd name="connsiteX9" fmla="*/ 329610 w 338535"/>
                  <a:gd name="connsiteY9" fmla="*/ 76323 h 209141"/>
                  <a:gd name="connsiteX10" fmla="*/ 311757 w 338535"/>
                  <a:gd name="connsiteY10" fmla="*/ 61447 h 209141"/>
                  <a:gd name="connsiteX11" fmla="*/ 139196 w 338535"/>
                  <a:gd name="connsiteY11" fmla="*/ 85249 h 209141"/>
                  <a:gd name="connsiteX12" fmla="*/ 174899 w 338535"/>
                  <a:gd name="connsiteY12" fmla="*/ 43596 h 209141"/>
                  <a:gd name="connsiteX13" fmla="*/ 231427 w 338535"/>
                  <a:gd name="connsiteY13" fmla="*/ 28720 h 209141"/>
                  <a:gd name="connsiteX14" fmla="*/ 198700 w 338535"/>
                  <a:gd name="connsiteY14" fmla="*/ 1943 h 209141"/>
                  <a:gd name="connsiteX15" fmla="*/ 133245 w 338535"/>
                  <a:gd name="connsiteY15" fmla="*/ 4918 h 209141"/>
                  <a:gd name="connsiteX16" fmla="*/ 46965 w 338535"/>
                  <a:gd name="connsiteY16" fmla="*/ 31695 h 209141"/>
                  <a:gd name="connsiteX17" fmla="*/ 11262 w 338535"/>
                  <a:gd name="connsiteY17" fmla="*/ 153679 h 209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38535" h="209141">
                    <a:moveTo>
                      <a:pt x="11262" y="153679"/>
                    </a:moveTo>
                    <a:cubicBezTo>
                      <a:pt x="11262" y="156654"/>
                      <a:pt x="11262" y="162604"/>
                      <a:pt x="14237" y="165579"/>
                    </a:cubicBezTo>
                    <a:cubicBezTo>
                      <a:pt x="58865" y="192356"/>
                      <a:pt x="130271" y="216158"/>
                      <a:pt x="183824" y="207232"/>
                    </a:cubicBezTo>
                    <a:cubicBezTo>
                      <a:pt x="219527" y="201282"/>
                      <a:pt x="320683" y="165579"/>
                      <a:pt x="320683" y="147728"/>
                    </a:cubicBezTo>
                    <a:cubicBezTo>
                      <a:pt x="320683" y="144753"/>
                      <a:pt x="314734" y="135827"/>
                      <a:pt x="308783" y="132852"/>
                    </a:cubicBezTo>
                    <a:cubicBezTo>
                      <a:pt x="302832" y="129877"/>
                      <a:pt x="273080" y="141778"/>
                      <a:pt x="267129" y="141778"/>
                    </a:cubicBezTo>
                    <a:cubicBezTo>
                      <a:pt x="282005" y="132852"/>
                      <a:pt x="302832" y="129877"/>
                      <a:pt x="314734" y="117976"/>
                    </a:cubicBezTo>
                    <a:cubicBezTo>
                      <a:pt x="326633" y="109050"/>
                      <a:pt x="338535" y="100125"/>
                      <a:pt x="338535" y="91199"/>
                    </a:cubicBezTo>
                    <a:cubicBezTo>
                      <a:pt x="338535" y="76323"/>
                      <a:pt x="332584" y="79298"/>
                      <a:pt x="323659" y="79298"/>
                    </a:cubicBezTo>
                    <a:cubicBezTo>
                      <a:pt x="323659" y="79298"/>
                      <a:pt x="329610" y="76323"/>
                      <a:pt x="329610" y="76323"/>
                    </a:cubicBezTo>
                    <a:cubicBezTo>
                      <a:pt x="332584" y="73348"/>
                      <a:pt x="311757" y="67398"/>
                      <a:pt x="311757" y="61447"/>
                    </a:cubicBezTo>
                    <a:cubicBezTo>
                      <a:pt x="299858" y="37645"/>
                      <a:pt x="165973" y="120951"/>
                      <a:pt x="139196" y="85249"/>
                    </a:cubicBezTo>
                    <a:cubicBezTo>
                      <a:pt x="142170" y="79298"/>
                      <a:pt x="157046" y="52522"/>
                      <a:pt x="174899" y="43596"/>
                    </a:cubicBezTo>
                    <a:cubicBezTo>
                      <a:pt x="216550" y="46571"/>
                      <a:pt x="231427" y="34670"/>
                      <a:pt x="231427" y="28720"/>
                    </a:cubicBezTo>
                    <a:cubicBezTo>
                      <a:pt x="231427" y="22769"/>
                      <a:pt x="204651" y="4918"/>
                      <a:pt x="198700" y="1943"/>
                    </a:cubicBezTo>
                    <a:cubicBezTo>
                      <a:pt x="157046" y="1943"/>
                      <a:pt x="165973" y="-4007"/>
                      <a:pt x="133245" y="4918"/>
                    </a:cubicBezTo>
                    <a:cubicBezTo>
                      <a:pt x="106469" y="13844"/>
                      <a:pt x="76717" y="25745"/>
                      <a:pt x="46965" y="31695"/>
                    </a:cubicBezTo>
                    <a:cubicBezTo>
                      <a:pt x="-3614" y="49546"/>
                      <a:pt x="-9565" y="109050"/>
                      <a:pt x="11262" y="15367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EF0AF766-DAB1-41D0-86BB-479CD372EBD0}"/>
                  </a:ext>
                </a:extLst>
              </p:cNvPr>
              <p:cNvSpPr/>
              <p:nvPr/>
            </p:nvSpPr>
            <p:spPr>
              <a:xfrm>
                <a:off x="19216059" y="3664635"/>
                <a:ext cx="154711" cy="103343"/>
              </a:xfrm>
              <a:custGeom>
                <a:avLst/>
                <a:gdLst>
                  <a:gd name="connsiteX0" fmla="*/ 32727 w 154711"/>
                  <a:gd name="connsiteY0" fmla="*/ 103344 h 103343"/>
                  <a:gd name="connsiteX1" fmla="*/ 26776 w 154711"/>
                  <a:gd name="connsiteY1" fmla="*/ 100369 h 103343"/>
                  <a:gd name="connsiteX2" fmla="*/ 29752 w 154711"/>
                  <a:gd name="connsiteY2" fmla="*/ 91443 h 103343"/>
                  <a:gd name="connsiteX3" fmla="*/ 116032 w 154711"/>
                  <a:gd name="connsiteY3" fmla="*/ 49790 h 103343"/>
                  <a:gd name="connsiteX4" fmla="*/ 142810 w 154711"/>
                  <a:gd name="connsiteY4" fmla="*/ 23014 h 103343"/>
                  <a:gd name="connsiteX5" fmla="*/ 139835 w 154711"/>
                  <a:gd name="connsiteY5" fmla="*/ 14088 h 103343"/>
                  <a:gd name="connsiteX6" fmla="*/ 104132 w 154711"/>
                  <a:gd name="connsiteY6" fmla="*/ 34914 h 103343"/>
                  <a:gd name="connsiteX7" fmla="*/ 5951 w 154711"/>
                  <a:gd name="connsiteY7" fmla="*/ 82518 h 103343"/>
                  <a:gd name="connsiteX8" fmla="*/ 0 w 154711"/>
                  <a:gd name="connsiteY8" fmla="*/ 76567 h 103343"/>
                  <a:gd name="connsiteX9" fmla="*/ 5951 w 154711"/>
                  <a:gd name="connsiteY9" fmla="*/ 70617 h 103343"/>
                  <a:gd name="connsiteX10" fmla="*/ 98181 w 154711"/>
                  <a:gd name="connsiteY10" fmla="*/ 23014 h 103343"/>
                  <a:gd name="connsiteX11" fmla="*/ 145784 w 154711"/>
                  <a:gd name="connsiteY11" fmla="*/ 2187 h 103343"/>
                  <a:gd name="connsiteX12" fmla="*/ 154711 w 154711"/>
                  <a:gd name="connsiteY12" fmla="*/ 20038 h 103343"/>
                  <a:gd name="connsiteX13" fmla="*/ 121983 w 154711"/>
                  <a:gd name="connsiteY13" fmla="*/ 55741 h 103343"/>
                  <a:gd name="connsiteX14" fmla="*/ 32727 w 154711"/>
                  <a:gd name="connsiteY14" fmla="*/ 103344 h 103343"/>
                  <a:gd name="connsiteX15" fmla="*/ 32727 w 154711"/>
                  <a:gd name="connsiteY15" fmla="*/ 103344 h 103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4711" h="103343">
                    <a:moveTo>
                      <a:pt x="32727" y="103344"/>
                    </a:moveTo>
                    <a:cubicBezTo>
                      <a:pt x="29752" y="103344"/>
                      <a:pt x="29752" y="103344"/>
                      <a:pt x="26776" y="100369"/>
                    </a:cubicBezTo>
                    <a:cubicBezTo>
                      <a:pt x="26776" y="97394"/>
                      <a:pt x="26776" y="94418"/>
                      <a:pt x="29752" y="91443"/>
                    </a:cubicBezTo>
                    <a:cubicBezTo>
                      <a:pt x="29752" y="91443"/>
                      <a:pt x="92231" y="64666"/>
                      <a:pt x="116032" y="49790"/>
                    </a:cubicBezTo>
                    <a:cubicBezTo>
                      <a:pt x="127934" y="40865"/>
                      <a:pt x="142810" y="28964"/>
                      <a:pt x="142810" y="23014"/>
                    </a:cubicBezTo>
                    <a:cubicBezTo>
                      <a:pt x="142810" y="23014"/>
                      <a:pt x="142810" y="20038"/>
                      <a:pt x="139835" y="14088"/>
                    </a:cubicBezTo>
                    <a:cubicBezTo>
                      <a:pt x="133884" y="17063"/>
                      <a:pt x="119008" y="25989"/>
                      <a:pt x="104132" y="34914"/>
                    </a:cubicBezTo>
                    <a:cubicBezTo>
                      <a:pt x="71404" y="55741"/>
                      <a:pt x="32727" y="82518"/>
                      <a:pt x="5951" y="82518"/>
                    </a:cubicBezTo>
                    <a:cubicBezTo>
                      <a:pt x="2974" y="82518"/>
                      <a:pt x="0" y="79542"/>
                      <a:pt x="0" y="76567"/>
                    </a:cubicBezTo>
                    <a:cubicBezTo>
                      <a:pt x="0" y="73592"/>
                      <a:pt x="2974" y="70617"/>
                      <a:pt x="5951" y="70617"/>
                    </a:cubicBezTo>
                    <a:cubicBezTo>
                      <a:pt x="29752" y="67642"/>
                      <a:pt x="68429" y="43840"/>
                      <a:pt x="98181" y="23014"/>
                    </a:cubicBezTo>
                    <a:cubicBezTo>
                      <a:pt x="130908" y="2187"/>
                      <a:pt x="139835" y="-3763"/>
                      <a:pt x="145784" y="2187"/>
                    </a:cubicBezTo>
                    <a:cubicBezTo>
                      <a:pt x="151735" y="8137"/>
                      <a:pt x="154711" y="14088"/>
                      <a:pt x="154711" y="20038"/>
                    </a:cubicBezTo>
                    <a:cubicBezTo>
                      <a:pt x="154711" y="31939"/>
                      <a:pt x="139835" y="43840"/>
                      <a:pt x="121983" y="55741"/>
                    </a:cubicBezTo>
                    <a:cubicBezTo>
                      <a:pt x="101156" y="73592"/>
                      <a:pt x="38677" y="100369"/>
                      <a:pt x="32727" y="103344"/>
                    </a:cubicBezTo>
                    <a:cubicBezTo>
                      <a:pt x="35703" y="103344"/>
                      <a:pt x="35703" y="103344"/>
                      <a:pt x="32727" y="103344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2E57A9AC-3836-4049-89EB-433B69CF446C}"/>
                  </a:ext>
                </a:extLst>
              </p:cNvPr>
              <p:cNvSpPr/>
              <p:nvPr/>
            </p:nvSpPr>
            <p:spPr>
              <a:xfrm>
                <a:off x="19129778" y="3590835"/>
                <a:ext cx="220625" cy="105738"/>
              </a:xfrm>
              <a:custGeom>
                <a:avLst/>
                <a:gdLst>
                  <a:gd name="connsiteX0" fmla="*/ 74380 w 220625"/>
                  <a:gd name="connsiteY0" fmla="*/ 105739 h 105738"/>
                  <a:gd name="connsiteX1" fmla="*/ 35703 w 220625"/>
                  <a:gd name="connsiteY1" fmla="*/ 96813 h 105738"/>
                  <a:gd name="connsiteX2" fmla="*/ 32728 w 220625"/>
                  <a:gd name="connsiteY2" fmla="*/ 90863 h 105738"/>
                  <a:gd name="connsiteX3" fmla="*/ 71406 w 220625"/>
                  <a:gd name="connsiteY3" fmla="*/ 46235 h 105738"/>
                  <a:gd name="connsiteX4" fmla="*/ 74380 w 220625"/>
                  <a:gd name="connsiteY4" fmla="*/ 46235 h 105738"/>
                  <a:gd name="connsiteX5" fmla="*/ 121985 w 220625"/>
                  <a:gd name="connsiteY5" fmla="*/ 37309 h 105738"/>
                  <a:gd name="connsiteX6" fmla="*/ 110083 w 220625"/>
                  <a:gd name="connsiteY6" fmla="*/ 22433 h 105738"/>
                  <a:gd name="connsiteX7" fmla="*/ 8925 w 220625"/>
                  <a:gd name="connsiteY7" fmla="*/ 28384 h 105738"/>
                  <a:gd name="connsiteX8" fmla="*/ 0 w 220625"/>
                  <a:gd name="connsiteY8" fmla="*/ 25408 h 105738"/>
                  <a:gd name="connsiteX9" fmla="*/ 2976 w 220625"/>
                  <a:gd name="connsiteY9" fmla="*/ 16483 h 105738"/>
                  <a:gd name="connsiteX10" fmla="*/ 116034 w 220625"/>
                  <a:gd name="connsiteY10" fmla="*/ 10532 h 105738"/>
                  <a:gd name="connsiteX11" fmla="*/ 130910 w 220625"/>
                  <a:gd name="connsiteY11" fmla="*/ 37309 h 105738"/>
                  <a:gd name="connsiteX12" fmla="*/ 74380 w 220625"/>
                  <a:gd name="connsiteY12" fmla="*/ 55161 h 105738"/>
                  <a:gd name="connsiteX13" fmla="*/ 41654 w 220625"/>
                  <a:gd name="connsiteY13" fmla="*/ 87888 h 105738"/>
                  <a:gd name="connsiteX14" fmla="*/ 74380 w 220625"/>
                  <a:gd name="connsiteY14" fmla="*/ 96813 h 105738"/>
                  <a:gd name="connsiteX15" fmla="*/ 148760 w 220625"/>
                  <a:gd name="connsiteY15" fmla="*/ 73012 h 105738"/>
                  <a:gd name="connsiteX16" fmla="*/ 196365 w 220625"/>
                  <a:gd name="connsiteY16" fmla="*/ 58136 h 105738"/>
                  <a:gd name="connsiteX17" fmla="*/ 217190 w 220625"/>
                  <a:gd name="connsiteY17" fmla="*/ 70037 h 105738"/>
                  <a:gd name="connsiteX18" fmla="*/ 217190 w 220625"/>
                  <a:gd name="connsiteY18" fmla="*/ 87888 h 105738"/>
                  <a:gd name="connsiteX19" fmla="*/ 208264 w 220625"/>
                  <a:gd name="connsiteY19" fmla="*/ 90863 h 105738"/>
                  <a:gd name="connsiteX20" fmla="*/ 205290 w 220625"/>
                  <a:gd name="connsiteY20" fmla="*/ 81937 h 105738"/>
                  <a:gd name="connsiteX21" fmla="*/ 205290 w 220625"/>
                  <a:gd name="connsiteY21" fmla="*/ 81937 h 105738"/>
                  <a:gd name="connsiteX22" fmla="*/ 205290 w 220625"/>
                  <a:gd name="connsiteY22" fmla="*/ 73012 h 105738"/>
                  <a:gd name="connsiteX23" fmla="*/ 190414 w 220625"/>
                  <a:gd name="connsiteY23" fmla="*/ 67061 h 105738"/>
                  <a:gd name="connsiteX24" fmla="*/ 148760 w 220625"/>
                  <a:gd name="connsiteY24" fmla="*/ 81937 h 105738"/>
                  <a:gd name="connsiteX25" fmla="*/ 74380 w 220625"/>
                  <a:gd name="connsiteY25" fmla="*/ 105739 h 105738"/>
                  <a:gd name="connsiteX26" fmla="*/ 74380 w 220625"/>
                  <a:gd name="connsiteY26" fmla="*/ 105739 h 105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20625" h="105738">
                    <a:moveTo>
                      <a:pt x="74380" y="105739"/>
                    </a:moveTo>
                    <a:cubicBezTo>
                      <a:pt x="59504" y="105739"/>
                      <a:pt x="35703" y="96813"/>
                      <a:pt x="35703" y="96813"/>
                    </a:cubicBezTo>
                    <a:cubicBezTo>
                      <a:pt x="32728" y="96813"/>
                      <a:pt x="32728" y="93838"/>
                      <a:pt x="32728" y="90863"/>
                    </a:cubicBezTo>
                    <a:cubicBezTo>
                      <a:pt x="32728" y="73012"/>
                      <a:pt x="65455" y="49210"/>
                      <a:pt x="71406" y="46235"/>
                    </a:cubicBezTo>
                    <a:cubicBezTo>
                      <a:pt x="71406" y="46235"/>
                      <a:pt x="74380" y="46235"/>
                      <a:pt x="74380" y="46235"/>
                    </a:cubicBezTo>
                    <a:cubicBezTo>
                      <a:pt x="113057" y="43260"/>
                      <a:pt x="121985" y="40285"/>
                      <a:pt x="121985" y="37309"/>
                    </a:cubicBezTo>
                    <a:cubicBezTo>
                      <a:pt x="121985" y="37309"/>
                      <a:pt x="121985" y="34334"/>
                      <a:pt x="110083" y="22433"/>
                    </a:cubicBezTo>
                    <a:cubicBezTo>
                      <a:pt x="80331" y="-1368"/>
                      <a:pt x="8925" y="28384"/>
                      <a:pt x="8925" y="28384"/>
                    </a:cubicBezTo>
                    <a:cubicBezTo>
                      <a:pt x="5951" y="28384"/>
                      <a:pt x="2976" y="28384"/>
                      <a:pt x="0" y="25408"/>
                    </a:cubicBezTo>
                    <a:cubicBezTo>
                      <a:pt x="0" y="22433"/>
                      <a:pt x="0" y="19458"/>
                      <a:pt x="2976" y="16483"/>
                    </a:cubicBezTo>
                    <a:cubicBezTo>
                      <a:pt x="5951" y="16483"/>
                      <a:pt x="83305" y="-16244"/>
                      <a:pt x="116034" y="10532"/>
                    </a:cubicBezTo>
                    <a:cubicBezTo>
                      <a:pt x="124959" y="16483"/>
                      <a:pt x="133884" y="25408"/>
                      <a:pt x="130910" y="37309"/>
                    </a:cubicBezTo>
                    <a:cubicBezTo>
                      <a:pt x="127934" y="49210"/>
                      <a:pt x="110083" y="52185"/>
                      <a:pt x="74380" y="55161"/>
                    </a:cubicBezTo>
                    <a:cubicBezTo>
                      <a:pt x="59504" y="64086"/>
                      <a:pt x="47604" y="78962"/>
                      <a:pt x="41654" y="87888"/>
                    </a:cubicBezTo>
                    <a:cubicBezTo>
                      <a:pt x="50579" y="90863"/>
                      <a:pt x="62480" y="96813"/>
                      <a:pt x="74380" y="96813"/>
                    </a:cubicBezTo>
                    <a:cubicBezTo>
                      <a:pt x="104132" y="93838"/>
                      <a:pt x="127934" y="81937"/>
                      <a:pt x="148760" y="73012"/>
                    </a:cubicBezTo>
                    <a:cubicBezTo>
                      <a:pt x="166613" y="64086"/>
                      <a:pt x="181489" y="55161"/>
                      <a:pt x="196365" y="58136"/>
                    </a:cubicBezTo>
                    <a:cubicBezTo>
                      <a:pt x="208264" y="61111"/>
                      <a:pt x="214215" y="64086"/>
                      <a:pt x="217190" y="70037"/>
                    </a:cubicBezTo>
                    <a:cubicBezTo>
                      <a:pt x="223141" y="78962"/>
                      <a:pt x="220166" y="87888"/>
                      <a:pt x="217190" y="87888"/>
                    </a:cubicBezTo>
                    <a:cubicBezTo>
                      <a:pt x="217190" y="90863"/>
                      <a:pt x="211241" y="90863"/>
                      <a:pt x="208264" y="90863"/>
                    </a:cubicBezTo>
                    <a:cubicBezTo>
                      <a:pt x="205290" y="90863"/>
                      <a:pt x="205290" y="84913"/>
                      <a:pt x="205290" y="81937"/>
                    </a:cubicBezTo>
                    <a:lnTo>
                      <a:pt x="205290" y="81937"/>
                    </a:lnTo>
                    <a:cubicBezTo>
                      <a:pt x="205290" y="81937"/>
                      <a:pt x="205290" y="78962"/>
                      <a:pt x="205290" y="73012"/>
                    </a:cubicBezTo>
                    <a:cubicBezTo>
                      <a:pt x="202314" y="70037"/>
                      <a:pt x="199339" y="67061"/>
                      <a:pt x="190414" y="67061"/>
                    </a:cubicBezTo>
                    <a:cubicBezTo>
                      <a:pt x="181489" y="64086"/>
                      <a:pt x="166613" y="73012"/>
                      <a:pt x="148760" y="81937"/>
                    </a:cubicBezTo>
                    <a:cubicBezTo>
                      <a:pt x="133884" y="90863"/>
                      <a:pt x="107109" y="105739"/>
                      <a:pt x="74380" y="105739"/>
                    </a:cubicBezTo>
                    <a:cubicBezTo>
                      <a:pt x="77356" y="105739"/>
                      <a:pt x="74380" y="105739"/>
                      <a:pt x="74380" y="105739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5" name="图形 1">
              <a:extLst>
                <a:ext uri="{FF2B5EF4-FFF2-40B4-BE49-F238E27FC236}">
                  <a16:creationId xmlns:a16="http://schemas.microsoft.com/office/drawing/2014/main" id="{C7BFEBB1-1B92-46C6-BCE0-CAE0C73E2976}"/>
                </a:ext>
              </a:extLst>
            </p:cNvPr>
            <p:cNvGrpSpPr/>
            <p:nvPr/>
          </p:nvGrpSpPr>
          <p:grpSpPr>
            <a:xfrm>
              <a:off x="19583989" y="3443682"/>
              <a:ext cx="509756" cy="169586"/>
              <a:chOff x="19583989" y="3443682"/>
              <a:chExt cx="509756" cy="169586"/>
            </a:xfrm>
          </p:grpSpPr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2F89D9E8-1F6E-4DE3-9487-1872054095B0}"/>
                  </a:ext>
                </a:extLst>
              </p:cNvPr>
              <p:cNvSpPr/>
              <p:nvPr/>
            </p:nvSpPr>
            <p:spPr>
              <a:xfrm>
                <a:off x="19583989" y="3449632"/>
                <a:ext cx="509756" cy="163636"/>
              </a:xfrm>
              <a:custGeom>
                <a:avLst/>
                <a:gdLst>
                  <a:gd name="connsiteX0" fmla="*/ 497855 w 509756"/>
                  <a:gd name="connsiteY0" fmla="*/ 0 h 163636"/>
                  <a:gd name="connsiteX1" fmla="*/ 36698 w 509756"/>
                  <a:gd name="connsiteY1" fmla="*/ 0 h 163636"/>
                  <a:gd name="connsiteX2" fmla="*/ 27773 w 509756"/>
                  <a:gd name="connsiteY2" fmla="*/ 2975 h 163636"/>
                  <a:gd name="connsiteX3" fmla="*/ 36698 w 509756"/>
                  <a:gd name="connsiteY3" fmla="*/ 160661 h 163636"/>
                  <a:gd name="connsiteX4" fmla="*/ 42649 w 509756"/>
                  <a:gd name="connsiteY4" fmla="*/ 163636 h 163636"/>
                  <a:gd name="connsiteX5" fmla="*/ 45623 w 509756"/>
                  <a:gd name="connsiteY5" fmla="*/ 163636 h 163636"/>
                  <a:gd name="connsiteX6" fmla="*/ 500831 w 509756"/>
                  <a:gd name="connsiteY6" fmla="*/ 20826 h 163636"/>
                  <a:gd name="connsiteX7" fmla="*/ 509757 w 509756"/>
                  <a:gd name="connsiteY7" fmla="*/ 8926 h 163636"/>
                  <a:gd name="connsiteX8" fmla="*/ 497855 w 509756"/>
                  <a:gd name="connsiteY8" fmla="*/ 0 h 163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9756" h="163636">
                    <a:moveTo>
                      <a:pt x="497855" y="0"/>
                    </a:moveTo>
                    <a:lnTo>
                      <a:pt x="36698" y="0"/>
                    </a:lnTo>
                    <a:cubicBezTo>
                      <a:pt x="33723" y="0"/>
                      <a:pt x="30747" y="0"/>
                      <a:pt x="27773" y="2975"/>
                    </a:cubicBezTo>
                    <a:cubicBezTo>
                      <a:pt x="-25781" y="62479"/>
                      <a:pt x="9922" y="130909"/>
                      <a:pt x="36698" y="160661"/>
                    </a:cubicBezTo>
                    <a:cubicBezTo>
                      <a:pt x="39674" y="163636"/>
                      <a:pt x="39674" y="163636"/>
                      <a:pt x="42649" y="163636"/>
                    </a:cubicBezTo>
                    <a:cubicBezTo>
                      <a:pt x="42649" y="163636"/>
                      <a:pt x="45623" y="163636"/>
                      <a:pt x="45623" y="163636"/>
                    </a:cubicBezTo>
                    <a:lnTo>
                      <a:pt x="500831" y="20826"/>
                    </a:lnTo>
                    <a:cubicBezTo>
                      <a:pt x="506780" y="17851"/>
                      <a:pt x="509757" y="14876"/>
                      <a:pt x="509757" y="8926"/>
                    </a:cubicBezTo>
                    <a:cubicBezTo>
                      <a:pt x="506780" y="2975"/>
                      <a:pt x="503806" y="0"/>
                      <a:pt x="497855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67DCDE5A-B781-4EF1-9040-68DA22CCC26B}"/>
                  </a:ext>
                </a:extLst>
              </p:cNvPr>
              <p:cNvSpPr/>
              <p:nvPr/>
            </p:nvSpPr>
            <p:spPr>
              <a:xfrm>
                <a:off x="19718868" y="3443682"/>
                <a:ext cx="14876" cy="50578"/>
              </a:xfrm>
              <a:custGeom>
                <a:avLst/>
                <a:gdLst>
                  <a:gd name="connsiteX0" fmla="*/ 8927 w 14876"/>
                  <a:gd name="connsiteY0" fmla="*/ 50579 h 50578"/>
                  <a:gd name="connsiteX1" fmla="*/ 2976 w 14876"/>
                  <a:gd name="connsiteY1" fmla="*/ 44628 h 50578"/>
                  <a:gd name="connsiteX2" fmla="*/ 0 w 14876"/>
                  <a:gd name="connsiteY2" fmla="*/ 5950 h 50578"/>
                  <a:gd name="connsiteX3" fmla="*/ 5951 w 14876"/>
                  <a:gd name="connsiteY3" fmla="*/ 0 h 50578"/>
                  <a:gd name="connsiteX4" fmla="*/ 5951 w 14876"/>
                  <a:gd name="connsiteY4" fmla="*/ 0 h 50578"/>
                  <a:gd name="connsiteX5" fmla="*/ 11902 w 14876"/>
                  <a:gd name="connsiteY5" fmla="*/ 5950 h 50578"/>
                  <a:gd name="connsiteX6" fmla="*/ 14876 w 14876"/>
                  <a:gd name="connsiteY6" fmla="*/ 44628 h 50578"/>
                  <a:gd name="connsiteX7" fmla="*/ 8927 w 14876"/>
                  <a:gd name="connsiteY7" fmla="*/ 50579 h 50578"/>
                  <a:gd name="connsiteX8" fmla="*/ 8927 w 14876"/>
                  <a:gd name="connsiteY8" fmla="*/ 50579 h 50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76" h="50578">
                    <a:moveTo>
                      <a:pt x="8927" y="50579"/>
                    </a:moveTo>
                    <a:cubicBezTo>
                      <a:pt x="5951" y="50579"/>
                      <a:pt x="2976" y="47603"/>
                      <a:pt x="2976" y="44628"/>
                    </a:cubicBezTo>
                    <a:lnTo>
                      <a:pt x="0" y="5950"/>
                    </a:lnTo>
                    <a:cubicBezTo>
                      <a:pt x="0" y="2975"/>
                      <a:pt x="2976" y="0"/>
                      <a:pt x="5951" y="0"/>
                    </a:cubicBezTo>
                    <a:lnTo>
                      <a:pt x="5951" y="0"/>
                    </a:lnTo>
                    <a:cubicBezTo>
                      <a:pt x="8927" y="0"/>
                      <a:pt x="11902" y="2975"/>
                      <a:pt x="11902" y="5950"/>
                    </a:cubicBezTo>
                    <a:lnTo>
                      <a:pt x="14876" y="44628"/>
                    </a:lnTo>
                    <a:cubicBezTo>
                      <a:pt x="11902" y="47603"/>
                      <a:pt x="11902" y="50579"/>
                      <a:pt x="8927" y="50579"/>
                    </a:cubicBezTo>
                    <a:lnTo>
                      <a:pt x="8927" y="50579"/>
                    </a:lnTo>
                    <a:close/>
                  </a:path>
                </a:pathLst>
              </a:custGeom>
              <a:solidFill>
                <a:srgbClr val="38343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E1982646-FEF0-47CE-B70A-52C68B9BEB9A}"/>
                  </a:ext>
                </a:extLst>
              </p:cNvPr>
              <p:cNvSpPr/>
              <p:nvPr/>
            </p:nvSpPr>
            <p:spPr>
              <a:xfrm>
                <a:off x="19802176" y="3503186"/>
                <a:ext cx="14876" cy="59504"/>
              </a:xfrm>
              <a:custGeom>
                <a:avLst/>
                <a:gdLst>
                  <a:gd name="connsiteX0" fmla="*/ 8925 w 14876"/>
                  <a:gd name="connsiteY0" fmla="*/ 59504 h 59504"/>
                  <a:gd name="connsiteX1" fmla="*/ 2974 w 14876"/>
                  <a:gd name="connsiteY1" fmla="*/ 53554 h 59504"/>
                  <a:gd name="connsiteX2" fmla="*/ 0 w 14876"/>
                  <a:gd name="connsiteY2" fmla="*/ 5950 h 59504"/>
                  <a:gd name="connsiteX3" fmla="*/ 5949 w 14876"/>
                  <a:gd name="connsiteY3" fmla="*/ 0 h 59504"/>
                  <a:gd name="connsiteX4" fmla="*/ 11900 w 14876"/>
                  <a:gd name="connsiteY4" fmla="*/ 5950 h 59504"/>
                  <a:gd name="connsiteX5" fmla="*/ 14876 w 14876"/>
                  <a:gd name="connsiteY5" fmla="*/ 53554 h 59504"/>
                  <a:gd name="connsiteX6" fmla="*/ 8925 w 14876"/>
                  <a:gd name="connsiteY6" fmla="*/ 59504 h 59504"/>
                  <a:gd name="connsiteX7" fmla="*/ 8925 w 14876"/>
                  <a:gd name="connsiteY7" fmla="*/ 59504 h 59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876" h="59504">
                    <a:moveTo>
                      <a:pt x="8925" y="59504"/>
                    </a:moveTo>
                    <a:cubicBezTo>
                      <a:pt x="5949" y="59504"/>
                      <a:pt x="2974" y="56529"/>
                      <a:pt x="2974" y="53554"/>
                    </a:cubicBezTo>
                    <a:lnTo>
                      <a:pt x="0" y="5950"/>
                    </a:lnTo>
                    <a:cubicBezTo>
                      <a:pt x="0" y="2975"/>
                      <a:pt x="2974" y="0"/>
                      <a:pt x="5949" y="0"/>
                    </a:cubicBezTo>
                    <a:cubicBezTo>
                      <a:pt x="8925" y="0"/>
                      <a:pt x="11900" y="2975"/>
                      <a:pt x="11900" y="5950"/>
                    </a:cubicBezTo>
                    <a:lnTo>
                      <a:pt x="14876" y="53554"/>
                    </a:lnTo>
                    <a:cubicBezTo>
                      <a:pt x="14876" y="56529"/>
                      <a:pt x="11900" y="59504"/>
                      <a:pt x="8925" y="59504"/>
                    </a:cubicBezTo>
                    <a:cubicBezTo>
                      <a:pt x="8925" y="59504"/>
                      <a:pt x="8925" y="59504"/>
                      <a:pt x="8925" y="59504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6" name="图形 1">
              <a:extLst>
                <a:ext uri="{FF2B5EF4-FFF2-40B4-BE49-F238E27FC236}">
                  <a16:creationId xmlns:a16="http://schemas.microsoft.com/office/drawing/2014/main" id="{056E17FC-FD2D-4246-BD54-583387A81B91}"/>
                </a:ext>
              </a:extLst>
            </p:cNvPr>
            <p:cNvGrpSpPr/>
            <p:nvPr/>
          </p:nvGrpSpPr>
          <p:grpSpPr>
            <a:xfrm>
              <a:off x="19810356" y="3249460"/>
              <a:ext cx="143554" cy="191246"/>
              <a:chOff x="19810356" y="3249460"/>
              <a:chExt cx="143554" cy="191246"/>
            </a:xfrm>
          </p:grpSpPr>
          <p:grpSp>
            <p:nvGrpSpPr>
              <p:cNvPr id="105" name="图形 1">
                <a:extLst>
                  <a:ext uri="{FF2B5EF4-FFF2-40B4-BE49-F238E27FC236}">
                    <a16:creationId xmlns:a16="http://schemas.microsoft.com/office/drawing/2014/main" id="{66ACB60C-1DE9-4DD3-A95F-2A0C388F7E6D}"/>
                  </a:ext>
                </a:extLst>
              </p:cNvPr>
              <p:cNvGrpSpPr/>
              <p:nvPr/>
            </p:nvGrpSpPr>
            <p:grpSpPr>
              <a:xfrm>
                <a:off x="19810356" y="3249460"/>
                <a:ext cx="143554" cy="179345"/>
                <a:chOff x="19810356" y="3249460"/>
                <a:chExt cx="143554" cy="179345"/>
              </a:xfrm>
            </p:grpSpPr>
            <p:sp>
              <p:nvSpPr>
                <p:cNvPr id="107" name="任意多边形: 形状 106">
                  <a:extLst>
                    <a:ext uri="{FF2B5EF4-FFF2-40B4-BE49-F238E27FC236}">
                      <a16:creationId xmlns:a16="http://schemas.microsoft.com/office/drawing/2014/main" id="{8746D426-2058-4DE9-A24F-AF4C82969578}"/>
                    </a:ext>
                  </a:extLst>
                </p:cNvPr>
                <p:cNvSpPr/>
                <p:nvPr/>
              </p:nvSpPr>
              <p:spPr>
                <a:xfrm>
                  <a:off x="19810356" y="3249460"/>
                  <a:ext cx="117535" cy="73413"/>
                </a:xfrm>
                <a:custGeom>
                  <a:avLst/>
                  <a:gdLst>
                    <a:gd name="connsiteX0" fmla="*/ 6695 w 117535"/>
                    <a:gd name="connsiteY0" fmla="*/ 27610 h 73413"/>
                    <a:gd name="connsiteX1" fmla="*/ 78099 w 117535"/>
                    <a:gd name="connsiteY1" fmla="*/ 3808 h 73413"/>
                    <a:gd name="connsiteX2" fmla="*/ 90001 w 117535"/>
                    <a:gd name="connsiteY2" fmla="*/ 833 h 73413"/>
                    <a:gd name="connsiteX3" fmla="*/ 101900 w 117535"/>
                    <a:gd name="connsiteY3" fmla="*/ 3808 h 73413"/>
                    <a:gd name="connsiteX4" fmla="*/ 116777 w 117535"/>
                    <a:gd name="connsiteY4" fmla="*/ 42486 h 73413"/>
                    <a:gd name="connsiteX5" fmla="*/ 87024 w 117535"/>
                    <a:gd name="connsiteY5" fmla="*/ 63312 h 73413"/>
                    <a:gd name="connsiteX6" fmla="*/ 39422 w 117535"/>
                    <a:gd name="connsiteY6" fmla="*/ 72238 h 73413"/>
                    <a:gd name="connsiteX7" fmla="*/ 6695 w 117535"/>
                    <a:gd name="connsiteY7" fmla="*/ 63312 h 73413"/>
                    <a:gd name="connsiteX8" fmla="*/ 6695 w 117535"/>
                    <a:gd name="connsiteY8" fmla="*/ 27610 h 73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7535" h="73413">
                      <a:moveTo>
                        <a:pt x="6695" y="27610"/>
                      </a:moveTo>
                      <a:cubicBezTo>
                        <a:pt x="24546" y="9759"/>
                        <a:pt x="51323" y="9759"/>
                        <a:pt x="78099" y="3808"/>
                      </a:cubicBezTo>
                      <a:cubicBezTo>
                        <a:pt x="81075" y="3808"/>
                        <a:pt x="87024" y="-2142"/>
                        <a:pt x="90001" y="833"/>
                      </a:cubicBezTo>
                      <a:cubicBezTo>
                        <a:pt x="92975" y="833"/>
                        <a:pt x="98926" y="833"/>
                        <a:pt x="101900" y="3808"/>
                      </a:cubicBezTo>
                      <a:cubicBezTo>
                        <a:pt x="113802" y="9759"/>
                        <a:pt x="119753" y="24635"/>
                        <a:pt x="116777" y="42486"/>
                      </a:cubicBezTo>
                      <a:cubicBezTo>
                        <a:pt x="113802" y="60337"/>
                        <a:pt x="95952" y="60337"/>
                        <a:pt x="87024" y="63312"/>
                      </a:cubicBezTo>
                      <a:cubicBezTo>
                        <a:pt x="72148" y="66288"/>
                        <a:pt x="57272" y="69263"/>
                        <a:pt x="39422" y="72238"/>
                      </a:cubicBezTo>
                      <a:cubicBezTo>
                        <a:pt x="30497" y="72238"/>
                        <a:pt x="15621" y="78188"/>
                        <a:pt x="6695" y="63312"/>
                      </a:cubicBezTo>
                      <a:cubicBezTo>
                        <a:pt x="-2232" y="54387"/>
                        <a:pt x="-2232" y="36536"/>
                        <a:pt x="6695" y="27610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8" name="任意多边形: 形状 107">
                  <a:extLst>
                    <a:ext uri="{FF2B5EF4-FFF2-40B4-BE49-F238E27FC236}">
                      <a16:creationId xmlns:a16="http://schemas.microsoft.com/office/drawing/2014/main" id="{83A2BC2B-4101-4873-ADB5-CFE829DE1E2E}"/>
                    </a:ext>
                  </a:extLst>
                </p:cNvPr>
                <p:cNvSpPr/>
                <p:nvPr/>
              </p:nvSpPr>
              <p:spPr>
                <a:xfrm>
                  <a:off x="19828208" y="3294921"/>
                  <a:ext cx="117534" cy="72580"/>
                </a:xfrm>
                <a:custGeom>
                  <a:avLst/>
                  <a:gdLst>
                    <a:gd name="connsiteX0" fmla="*/ 6694 w 117534"/>
                    <a:gd name="connsiteY0" fmla="*/ 26777 h 72580"/>
                    <a:gd name="connsiteX1" fmla="*/ 84049 w 117534"/>
                    <a:gd name="connsiteY1" fmla="*/ 0 h 72580"/>
                    <a:gd name="connsiteX2" fmla="*/ 89999 w 117534"/>
                    <a:gd name="connsiteY2" fmla="*/ 0 h 72580"/>
                    <a:gd name="connsiteX3" fmla="*/ 101901 w 117534"/>
                    <a:gd name="connsiteY3" fmla="*/ 2975 h 72580"/>
                    <a:gd name="connsiteX4" fmla="*/ 116777 w 117534"/>
                    <a:gd name="connsiteY4" fmla="*/ 41653 h 72580"/>
                    <a:gd name="connsiteX5" fmla="*/ 87025 w 117534"/>
                    <a:gd name="connsiteY5" fmla="*/ 62479 h 72580"/>
                    <a:gd name="connsiteX6" fmla="*/ 39420 w 117534"/>
                    <a:gd name="connsiteY6" fmla="*/ 71405 h 72580"/>
                    <a:gd name="connsiteX7" fmla="*/ 6694 w 117534"/>
                    <a:gd name="connsiteY7" fmla="*/ 62479 h 72580"/>
                    <a:gd name="connsiteX8" fmla="*/ 6694 w 117534"/>
                    <a:gd name="connsiteY8" fmla="*/ 26777 h 72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7534" h="72580">
                      <a:moveTo>
                        <a:pt x="6694" y="26777"/>
                      </a:moveTo>
                      <a:cubicBezTo>
                        <a:pt x="27521" y="-2975"/>
                        <a:pt x="57273" y="5950"/>
                        <a:pt x="84049" y="0"/>
                      </a:cubicBezTo>
                      <a:cubicBezTo>
                        <a:pt x="87025" y="0"/>
                        <a:pt x="87025" y="0"/>
                        <a:pt x="89999" y="0"/>
                      </a:cubicBezTo>
                      <a:cubicBezTo>
                        <a:pt x="92976" y="0"/>
                        <a:pt x="98925" y="0"/>
                        <a:pt x="101901" y="2975"/>
                      </a:cubicBezTo>
                      <a:cubicBezTo>
                        <a:pt x="113801" y="8926"/>
                        <a:pt x="119751" y="23802"/>
                        <a:pt x="116777" y="41653"/>
                      </a:cubicBezTo>
                      <a:cubicBezTo>
                        <a:pt x="113801" y="59504"/>
                        <a:pt x="95950" y="59504"/>
                        <a:pt x="87025" y="62479"/>
                      </a:cubicBezTo>
                      <a:cubicBezTo>
                        <a:pt x="72149" y="65455"/>
                        <a:pt x="57273" y="68430"/>
                        <a:pt x="39420" y="71405"/>
                      </a:cubicBezTo>
                      <a:cubicBezTo>
                        <a:pt x="30495" y="71405"/>
                        <a:pt x="15619" y="77355"/>
                        <a:pt x="6694" y="62479"/>
                      </a:cubicBezTo>
                      <a:cubicBezTo>
                        <a:pt x="-2231" y="50579"/>
                        <a:pt x="-2231" y="35703"/>
                        <a:pt x="6694" y="26777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9" name="任意多边形: 形状 108">
                  <a:extLst>
                    <a:ext uri="{FF2B5EF4-FFF2-40B4-BE49-F238E27FC236}">
                      <a16:creationId xmlns:a16="http://schemas.microsoft.com/office/drawing/2014/main" id="{0E75EF38-871A-4D1D-A3B8-0FC4F3D6FC10}"/>
                    </a:ext>
                  </a:extLst>
                </p:cNvPr>
                <p:cNvSpPr/>
                <p:nvPr/>
              </p:nvSpPr>
              <p:spPr>
                <a:xfrm>
                  <a:off x="19837877" y="3336574"/>
                  <a:ext cx="98956" cy="66942"/>
                </a:xfrm>
                <a:custGeom>
                  <a:avLst/>
                  <a:gdLst>
                    <a:gd name="connsiteX0" fmla="*/ 5951 w 98956"/>
                    <a:gd name="connsiteY0" fmla="*/ 26777 h 66942"/>
                    <a:gd name="connsiteX1" fmla="*/ 71406 w 98956"/>
                    <a:gd name="connsiteY1" fmla="*/ 0 h 66942"/>
                    <a:gd name="connsiteX2" fmla="*/ 77356 w 98956"/>
                    <a:gd name="connsiteY2" fmla="*/ 0 h 66942"/>
                    <a:gd name="connsiteX3" fmla="*/ 86282 w 98956"/>
                    <a:gd name="connsiteY3" fmla="*/ 2975 h 66942"/>
                    <a:gd name="connsiteX4" fmla="*/ 98183 w 98956"/>
                    <a:gd name="connsiteY4" fmla="*/ 35703 h 66942"/>
                    <a:gd name="connsiteX5" fmla="*/ 71406 w 98956"/>
                    <a:gd name="connsiteY5" fmla="*/ 56529 h 66942"/>
                    <a:gd name="connsiteX6" fmla="*/ 29752 w 98956"/>
                    <a:gd name="connsiteY6" fmla="*/ 65455 h 66942"/>
                    <a:gd name="connsiteX7" fmla="*/ 0 w 98956"/>
                    <a:gd name="connsiteY7" fmla="*/ 59504 h 66942"/>
                    <a:gd name="connsiteX8" fmla="*/ 5951 w 98956"/>
                    <a:gd name="connsiteY8" fmla="*/ 26777 h 669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8956" h="66942">
                      <a:moveTo>
                        <a:pt x="5951" y="26777"/>
                      </a:moveTo>
                      <a:cubicBezTo>
                        <a:pt x="23803" y="0"/>
                        <a:pt x="50579" y="5950"/>
                        <a:pt x="71406" y="0"/>
                      </a:cubicBezTo>
                      <a:cubicBezTo>
                        <a:pt x="74380" y="0"/>
                        <a:pt x="74380" y="0"/>
                        <a:pt x="77356" y="0"/>
                      </a:cubicBezTo>
                      <a:cubicBezTo>
                        <a:pt x="80331" y="0"/>
                        <a:pt x="83307" y="0"/>
                        <a:pt x="86282" y="2975"/>
                      </a:cubicBezTo>
                      <a:cubicBezTo>
                        <a:pt x="95207" y="8926"/>
                        <a:pt x="101158" y="20826"/>
                        <a:pt x="98183" y="35703"/>
                      </a:cubicBezTo>
                      <a:cubicBezTo>
                        <a:pt x="95207" y="50579"/>
                        <a:pt x="80331" y="53554"/>
                        <a:pt x="71406" y="56529"/>
                      </a:cubicBezTo>
                      <a:cubicBezTo>
                        <a:pt x="59504" y="59504"/>
                        <a:pt x="44628" y="62479"/>
                        <a:pt x="29752" y="65455"/>
                      </a:cubicBezTo>
                      <a:cubicBezTo>
                        <a:pt x="20827" y="65455"/>
                        <a:pt x="8927" y="71405"/>
                        <a:pt x="0" y="59504"/>
                      </a:cubicBezTo>
                      <a:cubicBezTo>
                        <a:pt x="0" y="50579"/>
                        <a:pt x="0" y="35703"/>
                        <a:pt x="5951" y="26777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" name="任意多边形: 形状 109">
                  <a:extLst>
                    <a:ext uri="{FF2B5EF4-FFF2-40B4-BE49-F238E27FC236}">
                      <a16:creationId xmlns:a16="http://schemas.microsoft.com/office/drawing/2014/main" id="{77C98C45-1A19-4603-928E-137BD5109D54}"/>
                    </a:ext>
                  </a:extLst>
                </p:cNvPr>
                <p:cNvSpPr/>
                <p:nvPr/>
              </p:nvSpPr>
              <p:spPr>
                <a:xfrm>
                  <a:off x="19846535" y="3381202"/>
                  <a:ext cx="89994" cy="47603"/>
                </a:xfrm>
                <a:custGeom>
                  <a:avLst/>
                  <a:gdLst>
                    <a:gd name="connsiteX0" fmla="*/ 3243 w 89994"/>
                    <a:gd name="connsiteY0" fmla="*/ 14876 h 47603"/>
                    <a:gd name="connsiteX1" fmla="*/ 62748 w 89994"/>
                    <a:gd name="connsiteY1" fmla="*/ 0 h 47603"/>
                    <a:gd name="connsiteX2" fmla="*/ 65722 w 89994"/>
                    <a:gd name="connsiteY2" fmla="*/ 0 h 47603"/>
                    <a:gd name="connsiteX3" fmla="*/ 74649 w 89994"/>
                    <a:gd name="connsiteY3" fmla="*/ 0 h 47603"/>
                    <a:gd name="connsiteX4" fmla="*/ 89525 w 89994"/>
                    <a:gd name="connsiteY4" fmla="*/ 29752 h 47603"/>
                    <a:gd name="connsiteX5" fmla="*/ 62748 w 89994"/>
                    <a:gd name="connsiteY5" fmla="*/ 44628 h 47603"/>
                    <a:gd name="connsiteX6" fmla="*/ 30021 w 89994"/>
                    <a:gd name="connsiteY6" fmla="*/ 47603 h 47603"/>
                    <a:gd name="connsiteX7" fmla="*/ 6218 w 89994"/>
                    <a:gd name="connsiteY7" fmla="*/ 38678 h 47603"/>
                    <a:gd name="connsiteX8" fmla="*/ 3243 w 89994"/>
                    <a:gd name="connsiteY8" fmla="*/ 14876 h 47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9994" h="47603">
                      <a:moveTo>
                        <a:pt x="3243" y="14876"/>
                      </a:moveTo>
                      <a:cubicBezTo>
                        <a:pt x="15145" y="-2975"/>
                        <a:pt x="47872" y="5950"/>
                        <a:pt x="62748" y="0"/>
                      </a:cubicBezTo>
                      <a:cubicBezTo>
                        <a:pt x="62748" y="0"/>
                        <a:pt x="65722" y="0"/>
                        <a:pt x="65722" y="0"/>
                      </a:cubicBezTo>
                      <a:cubicBezTo>
                        <a:pt x="68698" y="0"/>
                        <a:pt x="71673" y="0"/>
                        <a:pt x="74649" y="0"/>
                      </a:cubicBezTo>
                      <a:cubicBezTo>
                        <a:pt x="80598" y="2975"/>
                        <a:pt x="92500" y="17851"/>
                        <a:pt x="89525" y="29752"/>
                      </a:cubicBezTo>
                      <a:cubicBezTo>
                        <a:pt x="86549" y="41653"/>
                        <a:pt x="68698" y="44628"/>
                        <a:pt x="62748" y="44628"/>
                      </a:cubicBezTo>
                      <a:cubicBezTo>
                        <a:pt x="53822" y="47603"/>
                        <a:pt x="38946" y="47603"/>
                        <a:pt x="30021" y="47603"/>
                      </a:cubicBezTo>
                      <a:cubicBezTo>
                        <a:pt x="24070" y="47603"/>
                        <a:pt x="12169" y="47603"/>
                        <a:pt x="6218" y="38678"/>
                      </a:cubicBezTo>
                      <a:cubicBezTo>
                        <a:pt x="269" y="38678"/>
                        <a:pt x="-2707" y="23802"/>
                        <a:pt x="3243" y="14876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" name="任意多边形: 形状 110">
                  <a:extLst>
                    <a:ext uri="{FF2B5EF4-FFF2-40B4-BE49-F238E27FC236}">
                      <a16:creationId xmlns:a16="http://schemas.microsoft.com/office/drawing/2014/main" id="{A6C92622-1B96-4E54-9BB5-B4962A513423}"/>
                    </a:ext>
                  </a:extLst>
                </p:cNvPr>
                <p:cNvSpPr/>
                <p:nvPr/>
              </p:nvSpPr>
              <p:spPr>
                <a:xfrm>
                  <a:off x="19821768" y="3251391"/>
                  <a:ext cx="132141" cy="114935"/>
                </a:xfrm>
                <a:custGeom>
                  <a:avLst/>
                  <a:gdLst>
                    <a:gd name="connsiteX0" fmla="*/ 39911 w 132141"/>
                    <a:gd name="connsiteY0" fmla="*/ 114935 h 114935"/>
                    <a:gd name="connsiteX1" fmla="*/ 13134 w 132141"/>
                    <a:gd name="connsiteY1" fmla="*/ 108985 h 114935"/>
                    <a:gd name="connsiteX2" fmla="*/ 1232 w 132141"/>
                    <a:gd name="connsiteY2" fmla="*/ 91134 h 114935"/>
                    <a:gd name="connsiteX3" fmla="*/ 4208 w 132141"/>
                    <a:gd name="connsiteY3" fmla="*/ 67332 h 114935"/>
                    <a:gd name="connsiteX4" fmla="*/ 13134 w 132141"/>
                    <a:gd name="connsiteY4" fmla="*/ 61382 h 114935"/>
                    <a:gd name="connsiteX5" fmla="*/ 99415 w 132141"/>
                    <a:gd name="connsiteY5" fmla="*/ 22704 h 114935"/>
                    <a:gd name="connsiteX6" fmla="*/ 93465 w 132141"/>
                    <a:gd name="connsiteY6" fmla="*/ 13778 h 114935"/>
                    <a:gd name="connsiteX7" fmla="*/ 25035 w 132141"/>
                    <a:gd name="connsiteY7" fmla="*/ 19729 h 114935"/>
                    <a:gd name="connsiteX8" fmla="*/ 19084 w 132141"/>
                    <a:gd name="connsiteY8" fmla="*/ 16754 h 114935"/>
                    <a:gd name="connsiteX9" fmla="*/ 22059 w 132141"/>
                    <a:gd name="connsiteY9" fmla="*/ 10803 h 114935"/>
                    <a:gd name="connsiteX10" fmla="*/ 102390 w 132141"/>
                    <a:gd name="connsiteY10" fmla="*/ 7828 h 114935"/>
                    <a:gd name="connsiteX11" fmla="*/ 111315 w 132141"/>
                    <a:gd name="connsiteY11" fmla="*/ 25679 h 114935"/>
                    <a:gd name="connsiteX12" fmla="*/ 111315 w 132141"/>
                    <a:gd name="connsiteY12" fmla="*/ 37580 h 114935"/>
                    <a:gd name="connsiteX13" fmla="*/ 132142 w 132141"/>
                    <a:gd name="connsiteY13" fmla="*/ 73282 h 114935"/>
                    <a:gd name="connsiteX14" fmla="*/ 84539 w 132141"/>
                    <a:gd name="connsiteY14" fmla="*/ 111960 h 114935"/>
                    <a:gd name="connsiteX15" fmla="*/ 39911 w 132141"/>
                    <a:gd name="connsiteY15" fmla="*/ 114935 h 114935"/>
                    <a:gd name="connsiteX16" fmla="*/ 102390 w 132141"/>
                    <a:gd name="connsiteY16" fmla="*/ 46506 h 114935"/>
                    <a:gd name="connsiteX17" fmla="*/ 10159 w 132141"/>
                    <a:gd name="connsiteY17" fmla="*/ 73282 h 114935"/>
                    <a:gd name="connsiteX18" fmla="*/ 10159 w 132141"/>
                    <a:gd name="connsiteY18" fmla="*/ 88159 h 114935"/>
                    <a:gd name="connsiteX19" fmla="*/ 19084 w 132141"/>
                    <a:gd name="connsiteY19" fmla="*/ 100059 h 114935"/>
                    <a:gd name="connsiteX20" fmla="*/ 78588 w 132141"/>
                    <a:gd name="connsiteY20" fmla="*/ 100059 h 114935"/>
                    <a:gd name="connsiteX21" fmla="*/ 117266 w 132141"/>
                    <a:gd name="connsiteY21" fmla="*/ 73282 h 114935"/>
                    <a:gd name="connsiteX22" fmla="*/ 102390 w 132141"/>
                    <a:gd name="connsiteY22" fmla="*/ 46506 h 114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32141" h="114935">
                      <a:moveTo>
                        <a:pt x="39911" y="114935"/>
                      </a:moveTo>
                      <a:cubicBezTo>
                        <a:pt x="28010" y="114935"/>
                        <a:pt x="19084" y="111960"/>
                        <a:pt x="13134" y="108985"/>
                      </a:cubicBezTo>
                      <a:cubicBezTo>
                        <a:pt x="7183" y="106010"/>
                        <a:pt x="1232" y="100059"/>
                        <a:pt x="1232" y="91134"/>
                      </a:cubicBezTo>
                      <a:cubicBezTo>
                        <a:pt x="-1742" y="82208"/>
                        <a:pt x="1232" y="73282"/>
                        <a:pt x="4208" y="67332"/>
                      </a:cubicBezTo>
                      <a:cubicBezTo>
                        <a:pt x="7183" y="61382"/>
                        <a:pt x="13134" y="61382"/>
                        <a:pt x="13134" y="61382"/>
                      </a:cubicBezTo>
                      <a:cubicBezTo>
                        <a:pt x="99415" y="55431"/>
                        <a:pt x="99415" y="34605"/>
                        <a:pt x="99415" y="22704"/>
                      </a:cubicBezTo>
                      <a:cubicBezTo>
                        <a:pt x="99415" y="16754"/>
                        <a:pt x="96439" y="13778"/>
                        <a:pt x="93465" y="13778"/>
                      </a:cubicBezTo>
                      <a:cubicBezTo>
                        <a:pt x="81563" y="4853"/>
                        <a:pt x="42886" y="13778"/>
                        <a:pt x="25035" y="19729"/>
                      </a:cubicBezTo>
                      <a:cubicBezTo>
                        <a:pt x="22059" y="19729"/>
                        <a:pt x="19084" y="19729"/>
                        <a:pt x="19084" y="16754"/>
                      </a:cubicBezTo>
                      <a:cubicBezTo>
                        <a:pt x="19084" y="13778"/>
                        <a:pt x="19084" y="10803"/>
                        <a:pt x="22059" y="10803"/>
                      </a:cubicBezTo>
                      <a:cubicBezTo>
                        <a:pt x="28010" y="7828"/>
                        <a:pt x="81563" y="-10023"/>
                        <a:pt x="102390" y="7828"/>
                      </a:cubicBezTo>
                      <a:cubicBezTo>
                        <a:pt x="108341" y="10803"/>
                        <a:pt x="111315" y="19729"/>
                        <a:pt x="111315" y="25679"/>
                      </a:cubicBezTo>
                      <a:cubicBezTo>
                        <a:pt x="111315" y="28654"/>
                        <a:pt x="111315" y="34605"/>
                        <a:pt x="111315" y="37580"/>
                      </a:cubicBezTo>
                      <a:cubicBezTo>
                        <a:pt x="114291" y="40555"/>
                        <a:pt x="132142" y="55431"/>
                        <a:pt x="132142" y="73282"/>
                      </a:cubicBezTo>
                      <a:cubicBezTo>
                        <a:pt x="132142" y="97084"/>
                        <a:pt x="111315" y="103035"/>
                        <a:pt x="84539" y="111960"/>
                      </a:cubicBezTo>
                      <a:cubicBezTo>
                        <a:pt x="63712" y="114935"/>
                        <a:pt x="51811" y="114935"/>
                        <a:pt x="39911" y="114935"/>
                      </a:cubicBezTo>
                      <a:close/>
                      <a:moveTo>
                        <a:pt x="102390" y="46506"/>
                      </a:moveTo>
                      <a:cubicBezTo>
                        <a:pt x="93465" y="58406"/>
                        <a:pt x="69663" y="70307"/>
                        <a:pt x="10159" y="73282"/>
                      </a:cubicBezTo>
                      <a:cubicBezTo>
                        <a:pt x="10159" y="73282"/>
                        <a:pt x="7183" y="79233"/>
                        <a:pt x="10159" y="88159"/>
                      </a:cubicBezTo>
                      <a:cubicBezTo>
                        <a:pt x="10159" y="94109"/>
                        <a:pt x="13134" y="97084"/>
                        <a:pt x="19084" y="100059"/>
                      </a:cubicBezTo>
                      <a:cubicBezTo>
                        <a:pt x="25035" y="103035"/>
                        <a:pt x="39911" y="108985"/>
                        <a:pt x="78588" y="100059"/>
                      </a:cubicBezTo>
                      <a:cubicBezTo>
                        <a:pt x="108341" y="91134"/>
                        <a:pt x="117266" y="85183"/>
                        <a:pt x="117266" y="73282"/>
                      </a:cubicBezTo>
                      <a:cubicBezTo>
                        <a:pt x="117266" y="61382"/>
                        <a:pt x="108341" y="52456"/>
                        <a:pt x="102390" y="46506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FF5E42B3-C141-4A79-A2D7-36CF3B5206D9}"/>
                    </a:ext>
                  </a:extLst>
                </p:cNvPr>
                <p:cNvSpPr/>
                <p:nvPr/>
              </p:nvSpPr>
              <p:spPr>
                <a:xfrm>
                  <a:off x="19836645" y="3338317"/>
                  <a:ext cx="110385" cy="69662"/>
                </a:xfrm>
                <a:custGeom>
                  <a:avLst/>
                  <a:gdLst>
                    <a:gd name="connsiteX0" fmla="*/ 25035 w 110385"/>
                    <a:gd name="connsiteY0" fmla="*/ 69662 h 69662"/>
                    <a:gd name="connsiteX1" fmla="*/ 10159 w 110385"/>
                    <a:gd name="connsiteY1" fmla="*/ 66687 h 69662"/>
                    <a:gd name="connsiteX2" fmla="*/ 1232 w 110385"/>
                    <a:gd name="connsiteY2" fmla="*/ 54786 h 69662"/>
                    <a:gd name="connsiteX3" fmla="*/ 4208 w 110385"/>
                    <a:gd name="connsiteY3" fmla="*/ 22059 h 69662"/>
                    <a:gd name="connsiteX4" fmla="*/ 13134 w 110385"/>
                    <a:gd name="connsiteY4" fmla="*/ 22059 h 69662"/>
                    <a:gd name="connsiteX5" fmla="*/ 13134 w 110385"/>
                    <a:gd name="connsiteY5" fmla="*/ 30984 h 69662"/>
                    <a:gd name="connsiteX6" fmla="*/ 10159 w 110385"/>
                    <a:gd name="connsiteY6" fmla="*/ 54786 h 69662"/>
                    <a:gd name="connsiteX7" fmla="*/ 13134 w 110385"/>
                    <a:gd name="connsiteY7" fmla="*/ 57761 h 69662"/>
                    <a:gd name="connsiteX8" fmla="*/ 84539 w 110385"/>
                    <a:gd name="connsiteY8" fmla="*/ 45860 h 69662"/>
                    <a:gd name="connsiteX9" fmla="*/ 96439 w 110385"/>
                    <a:gd name="connsiteY9" fmla="*/ 33960 h 69662"/>
                    <a:gd name="connsiteX10" fmla="*/ 93465 w 110385"/>
                    <a:gd name="connsiteY10" fmla="*/ 10158 h 69662"/>
                    <a:gd name="connsiteX11" fmla="*/ 96439 w 110385"/>
                    <a:gd name="connsiteY11" fmla="*/ 1232 h 69662"/>
                    <a:gd name="connsiteX12" fmla="*/ 105364 w 110385"/>
                    <a:gd name="connsiteY12" fmla="*/ 4208 h 69662"/>
                    <a:gd name="connsiteX13" fmla="*/ 108341 w 110385"/>
                    <a:gd name="connsiteY13" fmla="*/ 36935 h 69662"/>
                    <a:gd name="connsiteX14" fmla="*/ 90488 w 110385"/>
                    <a:gd name="connsiteY14" fmla="*/ 57761 h 69662"/>
                    <a:gd name="connsiteX15" fmla="*/ 25035 w 110385"/>
                    <a:gd name="connsiteY15" fmla="*/ 69662 h 69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0385" h="69662">
                      <a:moveTo>
                        <a:pt x="25035" y="69662"/>
                      </a:moveTo>
                      <a:cubicBezTo>
                        <a:pt x="19084" y="69662"/>
                        <a:pt x="13134" y="69662"/>
                        <a:pt x="10159" y="66687"/>
                      </a:cubicBezTo>
                      <a:cubicBezTo>
                        <a:pt x="7183" y="66687"/>
                        <a:pt x="1232" y="63712"/>
                        <a:pt x="1232" y="54786"/>
                      </a:cubicBezTo>
                      <a:cubicBezTo>
                        <a:pt x="-1742" y="42885"/>
                        <a:pt x="1232" y="28009"/>
                        <a:pt x="4208" y="22059"/>
                      </a:cubicBezTo>
                      <a:cubicBezTo>
                        <a:pt x="7183" y="19084"/>
                        <a:pt x="10159" y="19084"/>
                        <a:pt x="13134" y="22059"/>
                      </a:cubicBezTo>
                      <a:cubicBezTo>
                        <a:pt x="16108" y="25034"/>
                        <a:pt x="16108" y="28009"/>
                        <a:pt x="13134" y="30984"/>
                      </a:cubicBezTo>
                      <a:cubicBezTo>
                        <a:pt x="10159" y="33960"/>
                        <a:pt x="7183" y="45860"/>
                        <a:pt x="10159" y="54786"/>
                      </a:cubicBezTo>
                      <a:cubicBezTo>
                        <a:pt x="10159" y="54786"/>
                        <a:pt x="10159" y="57761"/>
                        <a:pt x="13134" y="57761"/>
                      </a:cubicBezTo>
                      <a:cubicBezTo>
                        <a:pt x="22059" y="60736"/>
                        <a:pt x="57762" y="60736"/>
                        <a:pt x="84539" y="45860"/>
                      </a:cubicBezTo>
                      <a:cubicBezTo>
                        <a:pt x="90488" y="42885"/>
                        <a:pt x="96439" y="36935"/>
                        <a:pt x="96439" y="33960"/>
                      </a:cubicBezTo>
                      <a:cubicBezTo>
                        <a:pt x="99415" y="22059"/>
                        <a:pt x="93465" y="10158"/>
                        <a:pt x="93465" y="10158"/>
                      </a:cubicBezTo>
                      <a:cubicBezTo>
                        <a:pt x="90488" y="7183"/>
                        <a:pt x="93465" y="4208"/>
                        <a:pt x="96439" y="1232"/>
                      </a:cubicBezTo>
                      <a:cubicBezTo>
                        <a:pt x="99415" y="-1743"/>
                        <a:pt x="102390" y="1232"/>
                        <a:pt x="105364" y="4208"/>
                      </a:cubicBezTo>
                      <a:cubicBezTo>
                        <a:pt x="105364" y="4208"/>
                        <a:pt x="114291" y="22059"/>
                        <a:pt x="108341" y="36935"/>
                      </a:cubicBezTo>
                      <a:cubicBezTo>
                        <a:pt x="105364" y="45860"/>
                        <a:pt x="99415" y="51811"/>
                        <a:pt x="90488" y="57761"/>
                      </a:cubicBezTo>
                      <a:cubicBezTo>
                        <a:pt x="69663" y="66687"/>
                        <a:pt x="42886" y="69662"/>
                        <a:pt x="25035" y="69662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6C075466-B6A2-4CB7-B9A7-761600579410}"/>
                  </a:ext>
                </a:extLst>
              </p:cNvPr>
              <p:cNvSpPr/>
              <p:nvPr/>
            </p:nvSpPr>
            <p:spPr>
              <a:xfrm>
                <a:off x="19839677" y="3378971"/>
                <a:ext cx="98413" cy="61735"/>
              </a:xfrm>
              <a:custGeom>
                <a:avLst/>
                <a:gdLst>
                  <a:gd name="connsiteX0" fmla="*/ 39853 w 98413"/>
                  <a:gd name="connsiteY0" fmla="*/ 61736 h 61735"/>
                  <a:gd name="connsiteX1" fmla="*/ 10101 w 98413"/>
                  <a:gd name="connsiteY1" fmla="*/ 52810 h 61735"/>
                  <a:gd name="connsiteX2" fmla="*/ 1176 w 98413"/>
                  <a:gd name="connsiteY2" fmla="*/ 20083 h 61735"/>
                  <a:gd name="connsiteX3" fmla="*/ 7126 w 98413"/>
                  <a:gd name="connsiteY3" fmla="*/ 17107 h 61735"/>
                  <a:gd name="connsiteX4" fmla="*/ 10101 w 98413"/>
                  <a:gd name="connsiteY4" fmla="*/ 23058 h 61735"/>
                  <a:gd name="connsiteX5" fmla="*/ 16052 w 98413"/>
                  <a:gd name="connsiteY5" fmla="*/ 46859 h 61735"/>
                  <a:gd name="connsiteX6" fmla="*/ 36878 w 98413"/>
                  <a:gd name="connsiteY6" fmla="*/ 49835 h 61735"/>
                  <a:gd name="connsiteX7" fmla="*/ 84481 w 98413"/>
                  <a:gd name="connsiteY7" fmla="*/ 37934 h 61735"/>
                  <a:gd name="connsiteX8" fmla="*/ 75556 w 98413"/>
                  <a:gd name="connsiteY8" fmla="*/ 11157 h 61735"/>
                  <a:gd name="connsiteX9" fmla="*/ 75556 w 98413"/>
                  <a:gd name="connsiteY9" fmla="*/ 2231 h 61735"/>
                  <a:gd name="connsiteX10" fmla="*/ 84481 w 98413"/>
                  <a:gd name="connsiteY10" fmla="*/ 2231 h 61735"/>
                  <a:gd name="connsiteX11" fmla="*/ 93406 w 98413"/>
                  <a:gd name="connsiteY11" fmla="*/ 43884 h 61735"/>
                  <a:gd name="connsiteX12" fmla="*/ 39853 w 98413"/>
                  <a:gd name="connsiteY12" fmla="*/ 61736 h 61735"/>
                  <a:gd name="connsiteX13" fmla="*/ 39853 w 98413"/>
                  <a:gd name="connsiteY13" fmla="*/ 61736 h 61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8413" h="61735">
                    <a:moveTo>
                      <a:pt x="39853" y="61736"/>
                    </a:moveTo>
                    <a:cubicBezTo>
                      <a:pt x="24977" y="61736"/>
                      <a:pt x="16052" y="58760"/>
                      <a:pt x="10101" y="52810"/>
                    </a:cubicBezTo>
                    <a:cubicBezTo>
                      <a:pt x="-4775" y="37934"/>
                      <a:pt x="1176" y="20083"/>
                      <a:pt x="1176" y="20083"/>
                    </a:cubicBezTo>
                    <a:cubicBezTo>
                      <a:pt x="1176" y="17107"/>
                      <a:pt x="4150" y="14132"/>
                      <a:pt x="7126" y="17107"/>
                    </a:cubicBezTo>
                    <a:cubicBezTo>
                      <a:pt x="10101" y="17107"/>
                      <a:pt x="13075" y="20083"/>
                      <a:pt x="10101" y="23058"/>
                    </a:cubicBezTo>
                    <a:cubicBezTo>
                      <a:pt x="10101" y="23058"/>
                      <a:pt x="7126" y="37934"/>
                      <a:pt x="16052" y="46859"/>
                    </a:cubicBezTo>
                    <a:cubicBezTo>
                      <a:pt x="19026" y="49835"/>
                      <a:pt x="24977" y="52810"/>
                      <a:pt x="36878" y="49835"/>
                    </a:cubicBezTo>
                    <a:cubicBezTo>
                      <a:pt x="57703" y="49835"/>
                      <a:pt x="81506" y="43884"/>
                      <a:pt x="84481" y="37934"/>
                    </a:cubicBezTo>
                    <a:cubicBezTo>
                      <a:pt x="93406" y="26033"/>
                      <a:pt x="78530" y="11157"/>
                      <a:pt x="75556" y="11157"/>
                    </a:cubicBezTo>
                    <a:cubicBezTo>
                      <a:pt x="72579" y="8182"/>
                      <a:pt x="72579" y="5207"/>
                      <a:pt x="75556" y="2231"/>
                    </a:cubicBezTo>
                    <a:cubicBezTo>
                      <a:pt x="78530" y="-744"/>
                      <a:pt x="81506" y="-744"/>
                      <a:pt x="84481" y="2231"/>
                    </a:cubicBezTo>
                    <a:cubicBezTo>
                      <a:pt x="93406" y="11157"/>
                      <a:pt x="105308" y="29008"/>
                      <a:pt x="93406" y="43884"/>
                    </a:cubicBezTo>
                    <a:cubicBezTo>
                      <a:pt x="90432" y="55785"/>
                      <a:pt x="60680" y="61736"/>
                      <a:pt x="39853" y="61736"/>
                    </a:cubicBezTo>
                    <a:cubicBezTo>
                      <a:pt x="39853" y="61736"/>
                      <a:pt x="39853" y="61736"/>
                      <a:pt x="39853" y="6173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90B9317E-F419-441D-8EA0-8A431AF97C51}"/>
                </a:ext>
              </a:extLst>
            </p:cNvPr>
            <p:cNvSpPr/>
            <p:nvPr/>
          </p:nvSpPr>
          <p:spPr>
            <a:xfrm>
              <a:off x="18022944" y="2752712"/>
              <a:ext cx="1071321" cy="1174129"/>
            </a:xfrm>
            <a:custGeom>
              <a:avLst/>
              <a:gdLst>
                <a:gd name="connsiteX0" fmla="*/ 130966 w 1071321"/>
                <a:gd name="connsiteY0" fmla="*/ 721 h 1174129"/>
                <a:gd name="connsiteX1" fmla="*/ 410636 w 1071321"/>
                <a:gd name="connsiteY1" fmla="*/ 423200 h 1174129"/>
                <a:gd name="connsiteX2" fmla="*/ 487991 w 1071321"/>
                <a:gd name="connsiteY2" fmla="*/ 869481 h 1174129"/>
                <a:gd name="connsiteX3" fmla="*/ 1032453 w 1071321"/>
                <a:gd name="connsiteY3" fmla="*/ 893283 h 1174129"/>
                <a:gd name="connsiteX4" fmla="*/ 1071131 w 1071321"/>
                <a:gd name="connsiteY4" fmla="*/ 1056920 h 1174129"/>
                <a:gd name="connsiteX5" fmla="*/ 220222 w 1071321"/>
                <a:gd name="connsiteY5" fmla="*/ 1113449 h 1174129"/>
                <a:gd name="connsiteX6" fmla="*/ 130966 w 1071321"/>
                <a:gd name="connsiteY6" fmla="*/ 721 h 1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1321" h="1174129">
                  <a:moveTo>
                    <a:pt x="130966" y="721"/>
                  </a:moveTo>
                  <a:cubicBezTo>
                    <a:pt x="261876" y="-17130"/>
                    <a:pt x="377908" y="301217"/>
                    <a:pt x="410636" y="423200"/>
                  </a:cubicBezTo>
                  <a:cubicBezTo>
                    <a:pt x="437412" y="533283"/>
                    <a:pt x="487991" y="869481"/>
                    <a:pt x="487991" y="869481"/>
                  </a:cubicBezTo>
                  <a:cubicBezTo>
                    <a:pt x="487991" y="869481"/>
                    <a:pt x="943197" y="789151"/>
                    <a:pt x="1032453" y="893283"/>
                  </a:cubicBezTo>
                  <a:cubicBezTo>
                    <a:pt x="1041378" y="943862"/>
                    <a:pt x="1074107" y="1012291"/>
                    <a:pt x="1071131" y="1056920"/>
                  </a:cubicBezTo>
                  <a:cubicBezTo>
                    <a:pt x="785511" y="1208655"/>
                    <a:pt x="315429" y="1196754"/>
                    <a:pt x="220222" y="1113449"/>
                  </a:cubicBezTo>
                  <a:cubicBezTo>
                    <a:pt x="116090" y="1024192"/>
                    <a:pt x="-163580" y="42374"/>
                    <a:pt x="130966" y="721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CDB03132-9E4D-4771-A9FD-2BF5F372B20C}"/>
                </a:ext>
              </a:extLst>
            </p:cNvPr>
            <p:cNvSpPr/>
            <p:nvPr/>
          </p:nvSpPr>
          <p:spPr>
            <a:xfrm>
              <a:off x="18426307" y="3616244"/>
              <a:ext cx="84628" cy="65454"/>
            </a:xfrm>
            <a:custGeom>
              <a:avLst/>
              <a:gdLst>
                <a:gd name="connsiteX0" fmla="*/ 34049 w 84628"/>
                <a:gd name="connsiteY0" fmla="*/ 65454 h 65454"/>
                <a:gd name="connsiteX1" fmla="*/ 34049 w 84628"/>
                <a:gd name="connsiteY1" fmla="*/ 65454 h 65454"/>
                <a:gd name="connsiteX2" fmla="*/ 28099 w 84628"/>
                <a:gd name="connsiteY2" fmla="*/ 56529 h 65454"/>
                <a:gd name="connsiteX3" fmla="*/ 63801 w 84628"/>
                <a:gd name="connsiteY3" fmla="*/ 11901 h 65454"/>
                <a:gd name="connsiteX4" fmla="*/ 10248 w 84628"/>
                <a:gd name="connsiteY4" fmla="*/ 29752 h 65454"/>
                <a:gd name="connsiteX5" fmla="*/ 1323 w 84628"/>
                <a:gd name="connsiteY5" fmla="*/ 29752 h 65454"/>
                <a:gd name="connsiteX6" fmla="*/ 1323 w 84628"/>
                <a:gd name="connsiteY6" fmla="*/ 20826 h 65454"/>
                <a:gd name="connsiteX7" fmla="*/ 78677 w 84628"/>
                <a:gd name="connsiteY7" fmla="*/ 0 h 65454"/>
                <a:gd name="connsiteX8" fmla="*/ 84628 w 84628"/>
                <a:gd name="connsiteY8" fmla="*/ 2975 h 65454"/>
                <a:gd name="connsiteX9" fmla="*/ 81654 w 84628"/>
                <a:gd name="connsiteY9" fmla="*/ 8925 h 65454"/>
                <a:gd name="connsiteX10" fmla="*/ 34049 w 84628"/>
                <a:gd name="connsiteY10" fmla="*/ 62479 h 65454"/>
                <a:gd name="connsiteX11" fmla="*/ 34049 w 84628"/>
                <a:gd name="connsiteY11" fmla="*/ 65454 h 65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4628" h="65454">
                  <a:moveTo>
                    <a:pt x="34049" y="65454"/>
                  </a:moveTo>
                  <a:cubicBezTo>
                    <a:pt x="34049" y="65454"/>
                    <a:pt x="31075" y="65454"/>
                    <a:pt x="34049" y="65454"/>
                  </a:cubicBezTo>
                  <a:cubicBezTo>
                    <a:pt x="28099" y="62479"/>
                    <a:pt x="28099" y="59504"/>
                    <a:pt x="28099" y="56529"/>
                  </a:cubicBezTo>
                  <a:cubicBezTo>
                    <a:pt x="34049" y="41653"/>
                    <a:pt x="51902" y="23802"/>
                    <a:pt x="63801" y="11901"/>
                  </a:cubicBezTo>
                  <a:cubicBezTo>
                    <a:pt x="45951" y="14876"/>
                    <a:pt x="22150" y="20826"/>
                    <a:pt x="10248" y="29752"/>
                  </a:cubicBezTo>
                  <a:cubicBezTo>
                    <a:pt x="7274" y="32727"/>
                    <a:pt x="4297" y="29752"/>
                    <a:pt x="1323" y="29752"/>
                  </a:cubicBezTo>
                  <a:cubicBezTo>
                    <a:pt x="-1653" y="26777"/>
                    <a:pt x="1323" y="23802"/>
                    <a:pt x="1323" y="20826"/>
                  </a:cubicBezTo>
                  <a:cubicBezTo>
                    <a:pt x="22150" y="5950"/>
                    <a:pt x="75703" y="0"/>
                    <a:pt x="78677" y="0"/>
                  </a:cubicBezTo>
                  <a:cubicBezTo>
                    <a:pt x="81654" y="0"/>
                    <a:pt x="84628" y="0"/>
                    <a:pt x="84628" y="2975"/>
                  </a:cubicBezTo>
                  <a:cubicBezTo>
                    <a:pt x="84628" y="5950"/>
                    <a:pt x="84628" y="8925"/>
                    <a:pt x="81654" y="8925"/>
                  </a:cubicBezTo>
                  <a:cubicBezTo>
                    <a:pt x="81654" y="8925"/>
                    <a:pt x="45951" y="38678"/>
                    <a:pt x="34049" y="62479"/>
                  </a:cubicBezTo>
                  <a:cubicBezTo>
                    <a:pt x="37026" y="65454"/>
                    <a:pt x="37026" y="65454"/>
                    <a:pt x="34049" y="65454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D741FBA7-782D-49E9-A22F-99033263C4BB}"/>
                </a:ext>
              </a:extLst>
            </p:cNvPr>
            <p:cNvSpPr/>
            <p:nvPr/>
          </p:nvSpPr>
          <p:spPr>
            <a:xfrm>
              <a:off x="18037877" y="3244343"/>
              <a:ext cx="1064381" cy="687272"/>
            </a:xfrm>
            <a:custGeom>
              <a:avLst/>
              <a:gdLst>
                <a:gd name="connsiteX0" fmla="*/ 526612 w 1064381"/>
                <a:gd name="connsiteY0" fmla="*/ 687273 h 687272"/>
                <a:gd name="connsiteX1" fmla="*/ 202316 w 1064381"/>
                <a:gd name="connsiteY1" fmla="*/ 627769 h 687272"/>
                <a:gd name="connsiteX2" fmla="*/ 0 w 1064381"/>
                <a:gd name="connsiteY2" fmla="*/ 5950 h 687272"/>
                <a:gd name="connsiteX3" fmla="*/ 5951 w 1064381"/>
                <a:gd name="connsiteY3" fmla="*/ 0 h 687272"/>
                <a:gd name="connsiteX4" fmla="*/ 11902 w 1064381"/>
                <a:gd name="connsiteY4" fmla="*/ 5950 h 687272"/>
                <a:gd name="connsiteX5" fmla="*/ 208264 w 1064381"/>
                <a:gd name="connsiteY5" fmla="*/ 621818 h 687272"/>
                <a:gd name="connsiteX6" fmla="*/ 880662 w 1064381"/>
                <a:gd name="connsiteY6" fmla="*/ 636694 h 687272"/>
                <a:gd name="connsiteX7" fmla="*/ 1053224 w 1064381"/>
                <a:gd name="connsiteY7" fmla="*/ 565289 h 687272"/>
                <a:gd name="connsiteX8" fmla="*/ 1062149 w 1064381"/>
                <a:gd name="connsiteY8" fmla="*/ 565289 h 687272"/>
                <a:gd name="connsiteX9" fmla="*/ 1062149 w 1064381"/>
                <a:gd name="connsiteY9" fmla="*/ 574215 h 687272"/>
                <a:gd name="connsiteX10" fmla="*/ 883637 w 1064381"/>
                <a:gd name="connsiteY10" fmla="*/ 648595 h 687272"/>
                <a:gd name="connsiteX11" fmla="*/ 526612 w 1064381"/>
                <a:gd name="connsiteY11" fmla="*/ 687273 h 687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64381" h="687272">
                  <a:moveTo>
                    <a:pt x="526612" y="687273"/>
                  </a:moveTo>
                  <a:cubicBezTo>
                    <a:pt x="380828" y="687273"/>
                    <a:pt x="261820" y="663471"/>
                    <a:pt x="202316" y="627769"/>
                  </a:cubicBezTo>
                  <a:cubicBezTo>
                    <a:pt x="95207" y="562314"/>
                    <a:pt x="2976" y="26777"/>
                    <a:pt x="0" y="5950"/>
                  </a:cubicBezTo>
                  <a:cubicBezTo>
                    <a:pt x="0" y="2975"/>
                    <a:pt x="0" y="0"/>
                    <a:pt x="5951" y="0"/>
                  </a:cubicBezTo>
                  <a:cubicBezTo>
                    <a:pt x="8927" y="0"/>
                    <a:pt x="11902" y="2975"/>
                    <a:pt x="11902" y="5950"/>
                  </a:cubicBezTo>
                  <a:cubicBezTo>
                    <a:pt x="11902" y="11901"/>
                    <a:pt x="107109" y="556364"/>
                    <a:pt x="208264" y="621818"/>
                  </a:cubicBezTo>
                  <a:cubicBezTo>
                    <a:pt x="309422" y="684298"/>
                    <a:pt x="595041" y="708099"/>
                    <a:pt x="880662" y="636694"/>
                  </a:cubicBezTo>
                  <a:cubicBezTo>
                    <a:pt x="1014547" y="603967"/>
                    <a:pt x="1053224" y="565289"/>
                    <a:pt x="1053224" y="565289"/>
                  </a:cubicBezTo>
                  <a:cubicBezTo>
                    <a:pt x="1056198" y="562314"/>
                    <a:pt x="1059175" y="562314"/>
                    <a:pt x="1062149" y="565289"/>
                  </a:cubicBezTo>
                  <a:cubicBezTo>
                    <a:pt x="1065125" y="568264"/>
                    <a:pt x="1065125" y="571240"/>
                    <a:pt x="1062149" y="574215"/>
                  </a:cubicBezTo>
                  <a:cubicBezTo>
                    <a:pt x="1059175" y="577190"/>
                    <a:pt x="1020497" y="612893"/>
                    <a:pt x="883637" y="648595"/>
                  </a:cubicBezTo>
                  <a:cubicBezTo>
                    <a:pt x="758678" y="672397"/>
                    <a:pt x="636695" y="687273"/>
                    <a:pt x="526612" y="687273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22DEDF9C-DBC3-463D-883E-85A58107404C}"/>
                </a:ext>
              </a:extLst>
            </p:cNvPr>
            <p:cNvSpPr/>
            <p:nvPr/>
          </p:nvSpPr>
          <p:spPr>
            <a:xfrm>
              <a:off x="18083249" y="2744508"/>
              <a:ext cx="977356" cy="907438"/>
            </a:xfrm>
            <a:custGeom>
              <a:avLst/>
              <a:gdLst>
                <a:gd name="connsiteX0" fmla="*/ 972149 w 977356"/>
                <a:gd name="connsiteY0" fmla="*/ 907438 h 907438"/>
                <a:gd name="connsiteX1" fmla="*/ 969174 w 977356"/>
                <a:gd name="connsiteY1" fmla="*/ 907438 h 907438"/>
                <a:gd name="connsiteX2" fmla="*/ 427686 w 977356"/>
                <a:gd name="connsiteY2" fmla="*/ 883637 h 907438"/>
                <a:gd name="connsiteX3" fmla="*/ 421736 w 977356"/>
                <a:gd name="connsiteY3" fmla="*/ 883637 h 907438"/>
                <a:gd name="connsiteX4" fmla="*/ 421736 w 977356"/>
                <a:gd name="connsiteY4" fmla="*/ 877686 h 907438"/>
                <a:gd name="connsiteX5" fmla="*/ 412810 w 977356"/>
                <a:gd name="connsiteY5" fmla="*/ 809256 h 907438"/>
                <a:gd name="connsiteX6" fmla="*/ 347355 w 977356"/>
                <a:gd name="connsiteY6" fmla="*/ 431405 h 907438"/>
                <a:gd name="connsiteX7" fmla="*/ 201571 w 977356"/>
                <a:gd name="connsiteY7" fmla="*/ 95207 h 907438"/>
                <a:gd name="connsiteX8" fmla="*/ 79587 w 977356"/>
                <a:gd name="connsiteY8" fmla="*/ 14876 h 907438"/>
                <a:gd name="connsiteX9" fmla="*/ 79587 w 977356"/>
                <a:gd name="connsiteY9" fmla="*/ 14876 h 907438"/>
                <a:gd name="connsiteX10" fmla="*/ 11157 w 977356"/>
                <a:gd name="connsiteY10" fmla="*/ 44628 h 907438"/>
                <a:gd name="connsiteX11" fmla="*/ 2232 w 977356"/>
                <a:gd name="connsiteY11" fmla="*/ 44628 h 907438"/>
                <a:gd name="connsiteX12" fmla="*/ 2232 w 977356"/>
                <a:gd name="connsiteY12" fmla="*/ 35703 h 907438"/>
                <a:gd name="connsiteX13" fmla="*/ 76612 w 977356"/>
                <a:gd name="connsiteY13" fmla="*/ 0 h 907438"/>
                <a:gd name="connsiteX14" fmla="*/ 76612 w 977356"/>
                <a:gd name="connsiteY14" fmla="*/ 0 h 907438"/>
                <a:gd name="connsiteX15" fmla="*/ 207520 w 977356"/>
                <a:gd name="connsiteY15" fmla="*/ 83306 h 907438"/>
                <a:gd name="connsiteX16" fmla="*/ 356281 w 977356"/>
                <a:gd name="connsiteY16" fmla="*/ 425455 h 907438"/>
                <a:gd name="connsiteX17" fmla="*/ 421736 w 977356"/>
                <a:gd name="connsiteY17" fmla="*/ 803306 h 907438"/>
                <a:gd name="connsiteX18" fmla="*/ 430661 w 977356"/>
                <a:gd name="connsiteY18" fmla="*/ 865785 h 907438"/>
                <a:gd name="connsiteX19" fmla="*/ 975125 w 977356"/>
                <a:gd name="connsiteY19" fmla="*/ 892562 h 907438"/>
                <a:gd name="connsiteX20" fmla="*/ 975125 w 977356"/>
                <a:gd name="connsiteY20" fmla="*/ 901488 h 907438"/>
                <a:gd name="connsiteX21" fmla="*/ 972149 w 977356"/>
                <a:gd name="connsiteY21" fmla="*/ 907438 h 907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77356" h="907438">
                  <a:moveTo>
                    <a:pt x="972149" y="907438"/>
                  </a:moveTo>
                  <a:cubicBezTo>
                    <a:pt x="972149" y="907438"/>
                    <a:pt x="969174" y="907438"/>
                    <a:pt x="969174" y="907438"/>
                  </a:cubicBezTo>
                  <a:cubicBezTo>
                    <a:pt x="838265" y="809256"/>
                    <a:pt x="430661" y="883637"/>
                    <a:pt x="427686" y="883637"/>
                  </a:cubicBezTo>
                  <a:lnTo>
                    <a:pt x="421736" y="883637"/>
                  </a:lnTo>
                  <a:lnTo>
                    <a:pt x="421736" y="877686"/>
                  </a:lnTo>
                  <a:cubicBezTo>
                    <a:pt x="421736" y="877686"/>
                    <a:pt x="418761" y="850909"/>
                    <a:pt x="412810" y="809256"/>
                  </a:cubicBezTo>
                  <a:cubicBezTo>
                    <a:pt x="406860" y="770579"/>
                    <a:pt x="362232" y="511736"/>
                    <a:pt x="347355" y="431405"/>
                  </a:cubicBezTo>
                  <a:cubicBezTo>
                    <a:pt x="347355" y="428430"/>
                    <a:pt x="311653" y="232066"/>
                    <a:pt x="201571" y="95207"/>
                  </a:cubicBezTo>
                  <a:cubicBezTo>
                    <a:pt x="159918" y="41653"/>
                    <a:pt x="118264" y="14876"/>
                    <a:pt x="79587" y="14876"/>
                  </a:cubicBezTo>
                  <a:cubicBezTo>
                    <a:pt x="79587" y="14876"/>
                    <a:pt x="79587" y="14876"/>
                    <a:pt x="79587" y="14876"/>
                  </a:cubicBezTo>
                  <a:cubicBezTo>
                    <a:pt x="37935" y="14876"/>
                    <a:pt x="11157" y="44628"/>
                    <a:pt x="11157" y="44628"/>
                  </a:cubicBezTo>
                  <a:cubicBezTo>
                    <a:pt x="8183" y="47603"/>
                    <a:pt x="5207" y="47603"/>
                    <a:pt x="2232" y="44628"/>
                  </a:cubicBezTo>
                  <a:cubicBezTo>
                    <a:pt x="-744" y="41653"/>
                    <a:pt x="-744" y="38678"/>
                    <a:pt x="2232" y="35703"/>
                  </a:cubicBezTo>
                  <a:cubicBezTo>
                    <a:pt x="2232" y="35703"/>
                    <a:pt x="31984" y="0"/>
                    <a:pt x="76612" y="0"/>
                  </a:cubicBezTo>
                  <a:cubicBezTo>
                    <a:pt x="76612" y="0"/>
                    <a:pt x="76612" y="0"/>
                    <a:pt x="76612" y="0"/>
                  </a:cubicBezTo>
                  <a:cubicBezTo>
                    <a:pt x="121240" y="0"/>
                    <a:pt x="162892" y="29752"/>
                    <a:pt x="207520" y="83306"/>
                  </a:cubicBezTo>
                  <a:cubicBezTo>
                    <a:pt x="317603" y="223141"/>
                    <a:pt x="356281" y="422479"/>
                    <a:pt x="356281" y="425455"/>
                  </a:cubicBezTo>
                  <a:cubicBezTo>
                    <a:pt x="374133" y="505785"/>
                    <a:pt x="415785" y="764628"/>
                    <a:pt x="421736" y="803306"/>
                  </a:cubicBezTo>
                  <a:cubicBezTo>
                    <a:pt x="427686" y="833058"/>
                    <a:pt x="430661" y="853884"/>
                    <a:pt x="430661" y="865785"/>
                  </a:cubicBezTo>
                  <a:cubicBezTo>
                    <a:pt x="481240" y="856860"/>
                    <a:pt x="847190" y="797355"/>
                    <a:pt x="975125" y="892562"/>
                  </a:cubicBezTo>
                  <a:cubicBezTo>
                    <a:pt x="978100" y="895537"/>
                    <a:pt x="978100" y="898513"/>
                    <a:pt x="975125" y="901488"/>
                  </a:cubicBezTo>
                  <a:cubicBezTo>
                    <a:pt x="975125" y="904463"/>
                    <a:pt x="972149" y="907438"/>
                    <a:pt x="972149" y="907438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1" name="图形 1">
              <a:extLst>
                <a:ext uri="{FF2B5EF4-FFF2-40B4-BE49-F238E27FC236}">
                  <a16:creationId xmlns:a16="http://schemas.microsoft.com/office/drawing/2014/main" id="{B934A8B2-7A03-4C9A-9C0C-58955E657EEC}"/>
                </a:ext>
              </a:extLst>
            </p:cNvPr>
            <p:cNvGrpSpPr/>
            <p:nvPr/>
          </p:nvGrpSpPr>
          <p:grpSpPr>
            <a:xfrm>
              <a:off x="17549185" y="2524343"/>
              <a:ext cx="899652" cy="313528"/>
              <a:chOff x="17549185" y="2524343"/>
              <a:chExt cx="899652" cy="313528"/>
            </a:xfrm>
          </p:grpSpPr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807C3380-C198-4BB5-8C1D-324581A9ED4C}"/>
                  </a:ext>
                </a:extLst>
              </p:cNvPr>
              <p:cNvSpPr/>
              <p:nvPr/>
            </p:nvSpPr>
            <p:spPr>
              <a:xfrm>
                <a:off x="17549185" y="2527318"/>
                <a:ext cx="899652" cy="310553"/>
              </a:xfrm>
              <a:custGeom>
                <a:avLst/>
                <a:gdLst>
                  <a:gd name="connsiteX0" fmla="*/ 569022 w 899652"/>
                  <a:gd name="connsiteY0" fmla="*/ 294546 h 310553"/>
                  <a:gd name="connsiteX1" fmla="*/ 851667 w 899652"/>
                  <a:gd name="connsiteY1" fmla="*/ 187438 h 310553"/>
                  <a:gd name="connsiteX2" fmla="*/ 887370 w 899652"/>
                  <a:gd name="connsiteY2" fmla="*/ 104132 h 310553"/>
                  <a:gd name="connsiteX3" fmla="*/ 839767 w 899652"/>
                  <a:gd name="connsiteY3" fmla="*/ 92231 h 310553"/>
                  <a:gd name="connsiteX4" fmla="*/ 381585 w 899652"/>
                  <a:gd name="connsiteY4" fmla="*/ 136860 h 310553"/>
                  <a:gd name="connsiteX5" fmla="*/ 39436 w 899652"/>
                  <a:gd name="connsiteY5" fmla="*/ 0 h 310553"/>
                  <a:gd name="connsiteX6" fmla="*/ 21585 w 899652"/>
                  <a:gd name="connsiteY6" fmla="*/ 14876 h 310553"/>
                  <a:gd name="connsiteX7" fmla="*/ 759 w 899652"/>
                  <a:gd name="connsiteY7" fmla="*/ 124959 h 310553"/>
                  <a:gd name="connsiteX8" fmla="*/ 15635 w 899652"/>
                  <a:gd name="connsiteY8" fmla="*/ 148760 h 310553"/>
                  <a:gd name="connsiteX9" fmla="*/ 313155 w 899652"/>
                  <a:gd name="connsiteY9" fmla="*/ 288595 h 310553"/>
                  <a:gd name="connsiteX10" fmla="*/ 569022 w 899652"/>
                  <a:gd name="connsiteY10" fmla="*/ 294546 h 310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9652" h="310553">
                    <a:moveTo>
                      <a:pt x="569022" y="294546"/>
                    </a:moveTo>
                    <a:cubicBezTo>
                      <a:pt x="664229" y="270744"/>
                      <a:pt x="759436" y="229091"/>
                      <a:pt x="851667" y="187438"/>
                    </a:cubicBezTo>
                    <a:cubicBezTo>
                      <a:pt x="911171" y="160661"/>
                      <a:pt x="905220" y="133884"/>
                      <a:pt x="887370" y="104132"/>
                    </a:cubicBezTo>
                    <a:cubicBezTo>
                      <a:pt x="884395" y="98182"/>
                      <a:pt x="860592" y="89256"/>
                      <a:pt x="839767" y="92231"/>
                    </a:cubicBezTo>
                    <a:cubicBezTo>
                      <a:pt x="685056" y="121983"/>
                      <a:pt x="536296" y="208264"/>
                      <a:pt x="381585" y="136860"/>
                    </a:cubicBezTo>
                    <a:cubicBezTo>
                      <a:pt x="268527" y="83306"/>
                      <a:pt x="170346" y="8926"/>
                      <a:pt x="39436" y="0"/>
                    </a:cubicBezTo>
                    <a:cubicBezTo>
                      <a:pt x="30511" y="0"/>
                      <a:pt x="21585" y="5950"/>
                      <a:pt x="21585" y="14876"/>
                    </a:cubicBezTo>
                    <a:cubicBezTo>
                      <a:pt x="21585" y="53554"/>
                      <a:pt x="15635" y="89256"/>
                      <a:pt x="759" y="124959"/>
                    </a:cubicBezTo>
                    <a:cubicBezTo>
                      <a:pt x="-2218" y="133884"/>
                      <a:pt x="3733" y="145785"/>
                      <a:pt x="15635" y="148760"/>
                    </a:cubicBezTo>
                    <a:cubicBezTo>
                      <a:pt x="128692" y="163636"/>
                      <a:pt x="209023" y="249917"/>
                      <a:pt x="313155" y="288595"/>
                    </a:cubicBezTo>
                    <a:cubicBezTo>
                      <a:pt x="393486" y="318347"/>
                      <a:pt x="482742" y="315372"/>
                      <a:pt x="569022" y="294546"/>
                    </a:cubicBezTo>
                    <a:close/>
                  </a:path>
                </a:pathLst>
              </a:custGeom>
              <a:solidFill>
                <a:srgbClr val="DB6963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E0A6BE8D-F377-4C6A-9AD2-2AE888233C04}"/>
                  </a:ext>
                </a:extLst>
              </p:cNvPr>
              <p:cNvSpPr/>
              <p:nvPr/>
            </p:nvSpPr>
            <p:spPr>
              <a:xfrm>
                <a:off x="17579696" y="2524343"/>
                <a:ext cx="38677" cy="160661"/>
              </a:xfrm>
              <a:custGeom>
                <a:avLst/>
                <a:gdLst>
                  <a:gd name="connsiteX0" fmla="*/ 5951 w 38677"/>
                  <a:gd name="connsiteY0" fmla="*/ 160661 h 160661"/>
                  <a:gd name="connsiteX1" fmla="*/ 5951 w 38677"/>
                  <a:gd name="connsiteY1" fmla="*/ 160661 h 160661"/>
                  <a:gd name="connsiteX2" fmla="*/ 0 w 38677"/>
                  <a:gd name="connsiteY2" fmla="*/ 151735 h 160661"/>
                  <a:gd name="connsiteX3" fmla="*/ 26776 w 38677"/>
                  <a:gd name="connsiteY3" fmla="*/ 5950 h 160661"/>
                  <a:gd name="connsiteX4" fmla="*/ 32727 w 38677"/>
                  <a:gd name="connsiteY4" fmla="*/ 0 h 160661"/>
                  <a:gd name="connsiteX5" fmla="*/ 32727 w 38677"/>
                  <a:gd name="connsiteY5" fmla="*/ 0 h 160661"/>
                  <a:gd name="connsiteX6" fmla="*/ 38677 w 38677"/>
                  <a:gd name="connsiteY6" fmla="*/ 5950 h 160661"/>
                  <a:gd name="connsiteX7" fmla="*/ 8925 w 38677"/>
                  <a:gd name="connsiteY7" fmla="*/ 157686 h 160661"/>
                  <a:gd name="connsiteX8" fmla="*/ 5951 w 38677"/>
                  <a:gd name="connsiteY8" fmla="*/ 160661 h 160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677" h="160661">
                    <a:moveTo>
                      <a:pt x="5951" y="160661"/>
                    </a:moveTo>
                    <a:cubicBezTo>
                      <a:pt x="5951" y="160661"/>
                      <a:pt x="2974" y="160661"/>
                      <a:pt x="5951" y="160661"/>
                    </a:cubicBezTo>
                    <a:cubicBezTo>
                      <a:pt x="0" y="157686"/>
                      <a:pt x="0" y="154711"/>
                      <a:pt x="0" y="151735"/>
                    </a:cubicBezTo>
                    <a:cubicBezTo>
                      <a:pt x="26776" y="92231"/>
                      <a:pt x="26776" y="5950"/>
                      <a:pt x="26776" y="5950"/>
                    </a:cubicBezTo>
                    <a:cubicBezTo>
                      <a:pt x="26776" y="2975"/>
                      <a:pt x="29752" y="0"/>
                      <a:pt x="32727" y="0"/>
                    </a:cubicBezTo>
                    <a:lnTo>
                      <a:pt x="32727" y="0"/>
                    </a:lnTo>
                    <a:cubicBezTo>
                      <a:pt x="35703" y="0"/>
                      <a:pt x="38677" y="2975"/>
                      <a:pt x="38677" y="5950"/>
                    </a:cubicBezTo>
                    <a:cubicBezTo>
                      <a:pt x="38677" y="8926"/>
                      <a:pt x="38677" y="95207"/>
                      <a:pt x="8925" y="157686"/>
                    </a:cubicBezTo>
                    <a:cubicBezTo>
                      <a:pt x="8925" y="160661"/>
                      <a:pt x="5951" y="160661"/>
                      <a:pt x="5951" y="160661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0E3D09AD-DC26-4A35-8E33-1AEF531D3BE0}"/>
                  </a:ext>
                </a:extLst>
              </p:cNvPr>
              <p:cNvSpPr/>
              <p:nvPr/>
            </p:nvSpPr>
            <p:spPr>
              <a:xfrm>
                <a:off x="17624324" y="2536244"/>
                <a:ext cx="38677" cy="160661"/>
              </a:xfrm>
              <a:custGeom>
                <a:avLst/>
                <a:gdLst>
                  <a:gd name="connsiteX0" fmla="*/ 5951 w 38677"/>
                  <a:gd name="connsiteY0" fmla="*/ 160661 h 160661"/>
                  <a:gd name="connsiteX1" fmla="*/ 5951 w 38677"/>
                  <a:gd name="connsiteY1" fmla="*/ 160661 h 160661"/>
                  <a:gd name="connsiteX2" fmla="*/ 0 w 38677"/>
                  <a:gd name="connsiteY2" fmla="*/ 151736 h 160661"/>
                  <a:gd name="connsiteX3" fmla="*/ 26776 w 38677"/>
                  <a:gd name="connsiteY3" fmla="*/ 5950 h 160661"/>
                  <a:gd name="connsiteX4" fmla="*/ 32727 w 38677"/>
                  <a:gd name="connsiteY4" fmla="*/ 0 h 160661"/>
                  <a:gd name="connsiteX5" fmla="*/ 32727 w 38677"/>
                  <a:gd name="connsiteY5" fmla="*/ 0 h 160661"/>
                  <a:gd name="connsiteX6" fmla="*/ 38677 w 38677"/>
                  <a:gd name="connsiteY6" fmla="*/ 5950 h 160661"/>
                  <a:gd name="connsiteX7" fmla="*/ 8925 w 38677"/>
                  <a:gd name="connsiteY7" fmla="*/ 157686 h 160661"/>
                  <a:gd name="connsiteX8" fmla="*/ 5951 w 38677"/>
                  <a:gd name="connsiteY8" fmla="*/ 160661 h 160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677" h="160661">
                    <a:moveTo>
                      <a:pt x="5951" y="160661"/>
                    </a:moveTo>
                    <a:cubicBezTo>
                      <a:pt x="5951" y="160661"/>
                      <a:pt x="2974" y="160661"/>
                      <a:pt x="5951" y="160661"/>
                    </a:cubicBezTo>
                    <a:cubicBezTo>
                      <a:pt x="0" y="157686"/>
                      <a:pt x="0" y="154711"/>
                      <a:pt x="0" y="151736"/>
                    </a:cubicBezTo>
                    <a:cubicBezTo>
                      <a:pt x="26776" y="92231"/>
                      <a:pt x="26776" y="5950"/>
                      <a:pt x="26776" y="5950"/>
                    </a:cubicBezTo>
                    <a:cubicBezTo>
                      <a:pt x="26776" y="2975"/>
                      <a:pt x="29752" y="0"/>
                      <a:pt x="32727" y="0"/>
                    </a:cubicBezTo>
                    <a:lnTo>
                      <a:pt x="32727" y="0"/>
                    </a:lnTo>
                    <a:cubicBezTo>
                      <a:pt x="35703" y="0"/>
                      <a:pt x="38677" y="2975"/>
                      <a:pt x="38677" y="5950"/>
                    </a:cubicBezTo>
                    <a:cubicBezTo>
                      <a:pt x="38677" y="8926"/>
                      <a:pt x="38677" y="95207"/>
                      <a:pt x="8925" y="157686"/>
                    </a:cubicBezTo>
                    <a:cubicBezTo>
                      <a:pt x="8925" y="160661"/>
                      <a:pt x="5951" y="160661"/>
                      <a:pt x="5951" y="160661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2" name="图形 1">
              <a:extLst>
                <a:ext uri="{FF2B5EF4-FFF2-40B4-BE49-F238E27FC236}">
                  <a16:creationId xmlns:a16="http://schemas.microsoft.com/office/drawing/2014/main" id="{58A55A6A-9C74-47EB-8DF8-46FCA21E3604}"/>
                </a:ext>
              </a:extLst>
            </p:cNvPr>
            <p:cNvGrpSpPr/>
            <p:nvPr/>
          </p:nvGrpSpPr>
          <p:grpSpPr>
            <a:xfrm>
              <a:off x="24065646" y="6264177"/>
              <a:ext cx="473679" cy="297520"/>
              <a:chOff x="24065646" y="6264177"/>
              <a:chExt cx="473679" cy="297520"/>
            </a:xfrm>
          </p:grpSpPr>
          <p:grpSp>
            <p:nvGrpSpPr>
              <p:cNvPr id="98" name="图形 1">
                <a:extLst>
                  <a:ext uri="{FF2B5EF4-FFF2-40B4-BE49-F238E27FC236}">
                    <a16:creationId xmlns:a16="http://schemas.microsoft.com/office/drawing/2014/main" id="{D08A644C-8E84-4E34-BB99-C475F20D039C}"/>
                  </a:ext>
                </a:extLst>
              </p:cNvPr>
              <p:cNvGrpSpPr/>
              <p:nvPr/>
            </p:nvGrpSpPr>
            <p:grpSpPr>
              <a:xfrm>
                <a:off x="24065646" y="6377235"/>
                <a:ext cx="446836" cy="184462"/>
                <a:chOff x="24065646" y="6377235"/>
                <a:chExt cx="446836" cy="184462"/>
              </a:xfrm>
            </p:grpSpPr>
            <p:sp>
              <p:nvSpPr>
                <p:cNvPr id="100" name="任意多边形: 形状 99">
                  <a:extLst>
                    <a:ext uri="{FF2B5EF4-FFF2-40B4-BE49-F238E27FC236}">
                      <a16:creationId xmlns:a16="http://schemas.microsoft.com/office/drawing/2014/main" id="{C34E8171-8220-435B-9F45-3F57FED3A416}"/>
                    </a:ext>
                  </a:extLst>
                </p:cNvPr>
                <p:cNvSpPr/>
                <p:nvPr/>
              </p:nvSpPr>
              <p:spPr>
                <a:xfrm>
                  <a:off x="24065646" y="6377235"/>
                  <a:ext cx="446836" cy="142810"/>
                </a:xfrm>
                <a:custGeom>
                  <a:avLst/>
                  <a:gdLst>
                    <a:gd name="connsiteX0" fmla="*/ 440330 w 446836"/>
                    <a:gd name="connsiteY0" fmla="*/ 41653 h 142810"/>
                    <a:gd name="connsiteX1" fmla="*/ 273719 w 446836"/>
                    <a:gd name="connsiteY1" fmla="*/ 0 h 142810"/>
                    <a:gd name="connsiteX2" fmla="*/ 151735 w 446836"/>
                    <a:gd name="connsiteY2" fmla="*/ 47603 h 142810"/>
                    <a:gd name="connsiteX3" fmla="*/ 0 w 446836"/>
                    <a:gd name="connsiteY3" fmla="*/ 142810 h 142810"/>
                    <a:gd name="connsiteX4" fmla="*/ 437356 w 446836"/>
                    <a:gd name="connsiteY4" fmla="*/ 142810 h 142810"/>
                    <a:gd name="connsiteX5" fmla="*/ 440330 w 446836"/>
                    <a:gd name="connsiteY5" fmla="*/ 41653 h 1428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6836" h="142810">
                      <a:moveTo>
                        <a:pt x="440330" y="41653"/>
                      </a:moveTo>
                      <a:cubicBezTo>
                        <a:pt x="440330" y="41653"/>
                        <a:pt x="327273" y="59504"/>
                        <a:pt x="273719" y="0"/>
                      </a:cubicBezTo>
                      <a:cubicBezTo>
                        <a:pt x="273719" y="0"/>
                        <a:pt x="196363" y="32727"/>
                        <a:pt x="151735" y="47603"/>
                      </a:cubicBezTo>
                      <a:cubicBezTo>
                        <a:pt x="113057" y="59504"/>
                        <a:pt x="11900" y="77356"/>
                        <a:pt x="0" y="142810"/>
                      </a:cubicBezTo>
                      <a:lnTo>
                        <a:pt x="437356" y="142810"/>
                      </a:lnTo>
                      <a:cubicBezTo>
                        <a:pt x="440330" y="142810"/>
                        <a:pt x="455206" y="89256"/>
                        <a:pt x="440330" y="4165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1" name="任意多边形: 形状 100">
                  <a:extLst>
                    <a:ext uri="{FF2B5EF4-FFF2-40B4-BE49-F238E27FC236}">
                      <a16:creationId xmlns:a16="http://schemas.microsoft.com/office/drawing/2014/main" id="{CE95356E-CD56-4EA3-94B6-2864425EB1A0}"/>
                    </a:ext>
                  </a:extLst>
                </p:cNvPr>
                <p:cNvSpPr/>
                <p:nvPr/>
              </p:nvSpPr>
              <p:spPr>
                <a:xfrm>
                  <a:off x="24068621" y="6520045"/>
                  <a:ext cx="437355" cy="41652"/>
                </a:xfrm>
                <a:custGeom>
                  <a:avLst/>
                  <a:gdLst>
                    <a:gd name="connsiteX0" fmla="*/ 0 w 437355"/>
                    <a:gd name="connsiteY0" fmla="*/ 0 h 41652"/>
                    <a:gd name="connsiteX1" fmla="*/ 437355 w 437355"/>
                    <a:gd name="connsiteY1" fmla="*/ 0 h 41652"/>
                    <a:gd name="connsiteX2" fmla="*/ 437355 w 437355"/>
                    <a:gd name="connsiteY2" fmla="*/ 41653 h 41652"/>
                    <a:gd name="connsiteX3" fmla="*/ 0 w 437355"/>
                    <a:gd name="connsiteY3" fmla="*/ 41653 h 41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7355" h="41652">
                      <a:moveTo>
                        <a:pt x="0" y="0"/>
                      </a:moveTo>
                      <a:lnTo>
                        <a:pt x="437355" y="0"/>
                      </a:lnTo>
                      <a:lnTo>
                        <a:pt x="437355" y="41653"/>
                      </a:lnTo>
                      <a:lnTo>
                        <a:pt x="0" y="41653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32C96B4A-D6FD-4449-A66B-9E1FC29452F2}"/>
                  </a:ext>
                </a:extLst>
              </p:cNvPr>
              <p:cNvSpPr/>
              <p:nvPr/>
            </p:nvSpPr>
            <p:spPr>
              <a:xfrm>
                <a:off x="24235233" y="6264177"/>
                <a:ext cx="304092" cy="255867"/>
              </a:xfrm>
              <a:custGeom>
                <a:avLst/>
                <a:gdLst>
                  <a:gd name="connsiteX0" fmla="*/ 270743 w 304092"/>
                  <a:gd name="connsiteY0" fmla="*/ 255868 h 255867"/>
                  <a:gd name="connsiteX1" fmla="*/ 303470 w 304092"/>
                  <a:gd name="connsiteY1" fmla="*/ 0 h 255867"/>
                  <a:gd name="connsiteX2" fmla="*/ 0 w 304092"/>
                  <a:gd name="connsiteY2" fmla="*/ 14876 h 255867"/>
                  <a:gd name="connsiteX3" fmla="*/ 41652 w 304092"/>
                  <a:gd name="connsiteY3" fmla="*/ 160661 h 255867"/>
                  <a:gd name="connsiteX4" fmla="*/ 270743 w 304092"/>
                  <a:gd name="connsiteY4" fmla="*/ 255868 h 255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4092" h="255867">
                    <a:moveTo>
                      <a:pt x="270743" y="255868"/>
                    </a:moveTo>
                    <a:cubicBezTo>
                      <a:pt x="270743" y="255868"/>
                      <a:pt x="309420" y="172562"/>
                      <a:pt x="303470" y="0"/>
                    </a:cubicBezTo>
                    <a:lnTo>
                      <a:pt x="0" y="14876"/>
                    </a:lnTo>
                    <a:lnTo>
                      <a:pt x="41652" y="160661"/>
                    </a:lnTo>
                    <a:lnTo>
                      <a:pt x="270743" y="255868"/>
                    </a:ln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3" name="图形 1">
              <a:extLst>
                <a:ext uri="{FF2B5EF4-FFF2-40B4-BE49-F238E27FC236}">
                  <a16:creationId xmlns:a16="http://schemas.microsoft.com/office/drawing/2014/main" id="{EDBEC6BD-D7A4-4BEA-8AA0-2FB38A33595A}"/>
                </a:ext>
              </a:extLst>
            </p:cNvPr>
            <p:cNvGrpSpPr/>
            <p:nvPr/>
          </p:nvGrpSpPr>
          <p:grpSpPr>
            <a:xfrm>
              <a:off x="23396225" y="6264177"/>
              <a:ext cx="473679" cy="297520"/>
              <a:chOff x="23396225" y="6264177"/>
              <a:chExt cx="473679" cy="297520"/>
            </a:xfrm>
          </p:grpSpPr>
          <p:grpSp>
            <p:nvGrpSpPr>
              <p:cNvPr id="94" name="图形 1">
                <a:extLst>
                  <a:ext uri="{FF2B5EF4-FFF2-40B4-BE49-F238E27FC236}">
                    <a16:creationId xmlns:a16="http://schemas.microsoft.com/office/drawing/2014/main" id="{49C48537-544D-492C-89DA-59440D21B692}"/>
                  </a:ext>
                </a:extLst>
              </p:cNvPr>
              <p:cNvGrpSpPr/>
              <p:nvPr/>
            </p:nvGrpSpPr>
            <p:grpSpPr>
              <a:xfrm>
                <a:off x="23396225" y="6377235"/>
                <a:ext cx="448157" cy="184462"/>
                <a:chOff x="23396225" y="6377235"/>
                <a:chExt cx="448157" cy="184462"/>
              </a:xfrm>
            </p:grpSpPr>
            <p:sp>
              <p:nvSpPr>
                <p:cNvPr id="96" name="任意多边形: 形状 95">
                  <a:extLst>
                    <a:ext uri="{FF2B5EF4-FFF2-40B4-BE49-F238E27FC236}">
                      <a16:creationId xmlns:a16="http://schemas.microsoft.com/office/drawing/2014/main" id="{2AC76B86-AF8C-48AA-AE9A-3265AA24E7A9}"/>
                    </a:ext>
                  </a:extLst>
                </p:cNvPr>
                <p:cNvSpPr/>
                <p:nvPr/>
              </p:nvSpPr>
              <p:spPr>
                <a:xfrm>
                  <a:off x="23396225" y="6377235"/>
                  <a:ext cx="448157" cy="142810"/>
                </a:xfrm>
                <a:custGeom>
                  <a:avLst/>
                  <a:gdLst>
                    <a:gd name="connsiteX0" fmla="*/ 440330 w 448157"/>
                    <a:gd name="connsiteY0" fmla="*/ 41653 h 142810"/>
                    <a:gd name="connsiteX1" fmla="*/ 273719 w 448157"/>
                    <a:gd name="connsiteY1" fmla="*/ 0 h 142810"/>
                    <a:gd name="connsiteX2" fmla="*/ 151735 w 448157"/>
                    <a:gd name="connsiteY2" fmla="*/ 47603 h 142810"/>
                    <a:gd name="connsiteX3" fmla="*/ 0 w 448157"/>
                    <a:gd name="connsiteY3" fmla="*/ 142810 h 142810"/>
                    <a:gd name="connsiteX4" fmla="*/ 437356 w 448157"/>
                    <a:gd name="connsiteY4" fmla="*/ 142810 h 142810"/>
                    <a:gd name="connsiteX5" fmla="*/ 440330 w 448157"/>
                    <a:gd name="connsiteY5" fmla="*/ 41653 h 1428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8157" h="142810">
                      <a:moveTo>
                        <a:pt x="440330" y="41653"/>
                      </a:moveTo>
                      <a:cubicBezTo>
                        <a:pt x="440330" y="41653"/>
                        <a:pt x="327273" y="59504"/>
                        <a:pt x="273719" y="0"/>
                      </a:cubicBezTo>
                      <a:cubicBezTo>
                        <a:pt x="273719" y="0"/>
                        <a:pt x="196363" y="32727"/>
                        <a:pt x="151735" y="47603"/>
                      </a:cubicBezTo>
                      <a:cubicBezTo>
                        <a:pt x="113057" y="59504"/>
                        <a:pt x="11900" y="77356"/>
                        <a:pt x="0" y="142810"/>
                      </a:cubicBezTo>
                      <a:lnTo>
                        <a:pt x="437356" y="142810"/>
                      </a:lnTo>
                      <a:cubicBezTo>
                        <a:pt x="440330" y="142810"/>
                        <a:pt x="458181" y="89256"/>
                        <a:pt x="440330" y="4165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7" name="任意多边形: 形状 96">
                  <a:extLst>
                    <a:ext uri="{FF2B5EF4-FFF2-40B4-BE49-F238E27FC236}">
                      <a16:creationId xmlns:a16="http://schemas.microsoft.com/office/drawing/2014/main" id="{5BD19903-6435-49A3-BEF9-FC72CAB071C0}"/>
                    </a:ext>
                  </a:extLst>
                </p:cNvPr>
                <p:cNvSpPr/>
                <p:nvPr/>
              </p:nvSpPr>
              <p:spPr>
                <a:xfrm>
                  <a:off x="23399200" y="6520045"/>
                  <a:ext cx="437355" cy="41652"/>
                </a:xfrm>
                <a:custGeom>
                  <a:avLst/>
                  <a:gdLst>
                    <a:gd name="connsiteX0" fmla="*/ 0 w 437355"/>
                    <a:gd name="connsiteY0" fmla="*/ 0 h 41652"/>
                    <a:gd name="connsiteX1" fmla="*/ 437355 w 437355"/>
                    <a:gd name="connsiteY1" fmla="*/ 0 h 41652"/>
                    <a:gd name="connsiteX2" fmla="*/ 437355 w 437355"/>
                    <a:gd name="connsiteY2" fmla="*/ 41653 h 41652"/>
                    <a:gd name="connsiteX3" fmla="*/ 0 w 437355"/>
                    <a:gd name="connsiteY3" fmla="*/ 41653 h 41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7355" h="41652">
                      <a:moveTo>
                        <a:pt x="0" y="0"/>
                      </a:moveTo>
                      <a:lnTo>
                        <a:pt x="437355" y="0"/>
                      </a:lnTo>
                      <a:lnTo>
                        <a:pt x="437355" y="41653"/>
                      </a:lnTo>
                      <a:lnTo>
                        <a:pt x="0" y="41653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07137E6C-D739-4B59-BCEB-F8DFEE02C296}"/>
                  </a:ext>
                </a:extLst>
              </p:cNvPr>
              <p:cNvSpPr/>
              <p:nvPr/>
            </p:nvSpPr>
            <p:spPr>
              <a:xfrm>
                <a:off x="23565812" y="6264177"/>
                <a:ext cx="304092" cy="255867"/>
              </a:xfrm>
              <a:custGeom>
                <a:avLst/>
                <a:gdLst>
                  <a:gd name="connsiteX0" fmla="*/ 270743 w 304092"/>
                  <a:gd name="connsiteY0" fmla="*/ 255868 h 255867"/>
                  <a:gd name="connsiteX1" fmla="*/ 303470 w 304092"/>
                  <a:gd name="connsiteY1" fmla="*/ 0 h 255867"/>
                  <a:gd name="connsiteX2" fmla="*/ 0 w 304092"/>
                  <a:gd name="connsiteY2" fmla="*/ 14876 h 255867"/>
                  <a:gd name="connsiteX3" fmla="*/ 41652 w 304092"/>
                  <a:gd name="connsiteY3" fmla="*/ 160661 h 255867"/>
                  <a:gd name="connsiteX4" fmla="*/ 270743 w 304092"/>
                  <a:gd name="connsiteY4" fmla="*/ 255868 h 255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4092" h="255867">
                    <a:moveTo>
                      <a:pt x="270743" y="255868"/>
                    </a:moveTo>
                    <a:cubicBezTo>
                      <a:pt x="270743" y="255868"/>
                      <a:pt x="309420" y="172562"/>
                      <a:pt x="303470" y="0"/>
                    </a:cubicBezTo>
                    <a:lnTo>
                      <a:pt x="0" y="14876"/>
                    </a:lnTo>
                    <a:lnTo>
                      <a:pt x="41652" y="160661"/>
                    </a:lnTo>
                    <a:lnTo>
                      <a:pt x="270743" y="255868"/>
                    </a:ln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2737727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4186DE8D-95AE-4E88-A58C-DD43B8D38DDF}"/>
              </a:ext>
            </a:extLst>
          </p:cNvPr>
          <p:cNvGrpSpPr/>
          <p:nvPr/>
        </p:nvGrpSpPr>
        <p:grpSpPr>
          <a:xfrm>
            <a:off x="2860957" y="1838984"/>
            <a:ext cx="6617250" cy="5019016"/>
            <a:chOff x="2860957" y="7488640"/>
            <a:chExt cx="6617250" cy="5019016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5910AD0D-41A1-43F3-9E8F-D2BA704780A5}"/>
                </a:ext>
              </a:extLst>
            </p:cNvPr>
            <p:cNvSpPr/>
            <p:nvPr/>
          </p:nvSpPr>
          <p:spPr>
            <a:xfrm>
              <a:off x="3839655" y="8123477"/>
              <a:ext cx="463592" cy="781235"/>
            </a:xfrm>
            <a:custGeom>
              <a:avLst/>
              <a:gdLst>
                <a:gd name="connsiteX0" fmla="*/ 455743 w 463592"/>
                <a:gd name="connsiteY0" fmla="*/ 696403 h 781235"/>
                <a:gd name="connsiteX1" fmla="*/ 443842 w 463592"/>
                <a:gd name="connsiteY1" fmla="*/ 669626 h 781235"/>
                <a:gd name="connsiteX2" fmla="*/ 437892 w 463592"/>
                <a:gd name="connsiteY2" fmla="*/ 580370 h 781235"/>
                <a:gd name="connsiteX3" fmla="*/ 414090 w 463592"/>
                <a:gd name="connsiteY3" fmla="*/ 461361 h 781235"/>
                <a:gd name="connsiteX4" fmla="*/ 393264 w 463592"/>
                <a:gd name="connsiteY4" fmla="*/ 339378 h 781235"/>
                <a:gd name="connsiteX5" fmla="*/ 375413 w 463592"/>
                <a:gd name="connsiteY5" fmla="*/ 253097 h 781235"/>
                <a:gd name="connsiteX6" fmla="*/ 381363 w 463592"/>
                <a:gd name="connsiteY6" fmla="*/ 238221 h 781235"/>
                <a:gd name="connsiteX7" fmla="*/ 277231 w 463592"/>
                <a:gd name="connsiteY7" fmla="*/ 166816 h 781235"/>
                <a:gd name="connsiteX8" fmla="*/ 173099 w 463592"/>
                <a:gd name="connsiteY8" fmla="*/ 95411 h 781235"/>
                <a:gd name="connsiteX9" fmla="*/ 214751 w 463592"/>
                <a:gd name="connsiteY9" fmla="*/ 24006 h 781235"/>
                <a:gd name="connsiteX10" fmla="*/ 152272 w 463592"/>
                <a:gd name="connsiteY10" fmla="*/ 204 h 781235"/>
                <a:gd name="connsiteX11" fmla="*/ 12437 w 463592"/>
                <a:gd name="connsiteY11" fmla="*/ 74584 h 781235"/>
                <a:gd name="connsiteX12" fmla="*/ 6487 w 463592"/>
                <a:gd name="connsiteY12" fmla="*/ 101362 h 781235"/>
                <a:gd name="connsiteX13" fmla="*/ 42189 w 463592"/>
                <a:gd name="connsiteY13" fmla="*/ 119213 h 781235"/>
                <a:gd name="connsiteX14" fmla="*/ 68966 w 463592"/>
                <a:gd name="connsiteY14" fmla="*/ 196568 h 781235"/>
                <a:gd name="connsiteX15" fmla="*/ 116570 w 463592"/>
                <a:gd name="connsiteY15" fmla="*/ 336403 h 781235"/>
                <a:gd name="connsiteX16" fmla="*/ 68966 w 463592"/>
                <a:gd name="connsiteY16" fmla="*/ 595246 h 781235"/>
                <a:gd name="connsiteX17" fmla="*/ 152272 w 463592"/>
                <a:gd name="connsiteY17" fmla="*/ 553593 h 781235"/>
                <a:gd name="connsiteX18" fmla="*/ 235578 w 463592"/>
                <a:gd name="connsiteY18" fmla="*/ 755907 h 781235"/>
                <a:gd name="connsiteX19" fmla="*/ 455743 w 463592"/>
                <a:gd name="connsiteY19" fmla="*/ 744006 h 781235"/>
                <a:gd name="connsiteX20" fmla="*/ 455743 w 463592"/>
                <a:gd name="connsiteY20" fmla="*/ 696403 h 781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63592" h="781235">
                  <a:moveTo>
                    <a:pt x="455743" y="696403"/>
                  </a:moveTo>
                  <a:cubicBezTo>
                    <a:pt x="455743" y="687477"/>
                    <a:pt x="452768" y="675577"/>
                    <a:pt x="443842" y="669626"/>
                  </a:cubicBezTo>
                  <a:cubicBezTo>
                    <a:pt x="464669" y="639874"/>
                    <a:pt x="470619" y="601196"/>
                    <a:pt x="437892" y="580370"/>
                  </a:cubicBezTo>
                  <a:cubicBezTo>
                    <a:pt x="455743" y="535741"/>
                    <a:pt x="455743" y="488138"/>
                    <a:pt x="414090" y="461361"/>
                  </a:cubicBezTo>
                  <a:cubicBezTo>
                    <a:pt x="437892" y="422684"/>
                    <a:pt x="434917" y="357229"/>
                    <a:pt x="393264" y="339378"/>
                  </a:cubicBezTo>
                  <a:cubicBezTo>
                    <a:pt x="408140" y="306651"/>
                    <a:pt x="399214" y="276899"/>
                    <a:pt x="375413" y="253097"/>
                  </a:cubicBezTo>
                  <a:cubicBezTo>
                    <a:pt x="375413" y="250122"/>
                    <a:pt x="378388" y="247146"/>
                    <a:pt x="381363" y="238221"/>
                  </a:cubicBezTo>
                  <a:cubicBezTo>
                    <a:pt x="393264" y="193593"/>
                    <a:pt x="321859" y="166816"/>
                    <a:pt x="277231" y="166816"/>
                  </a:cubicBezTo>
                  <a:cubicBezTo>
                    <a:pt x="283181" y="107312"/>
                    <a:pt x="232603" y="89460"/>
                    <a:pt x="173099" y="95411"/>
                  </a:cubicBezTo>
                  <a:cubicBezTo>
                    <a:pt x="167148" y="83510"/>
                    <a:pt x="223677" y="29956"/>
                    <a:pt x="214751" y="24006"/>
                  </a:cubicBezTo>
                  <a:cubicBezTo>
                    <a:pt x="193925" y="9130"/>
                    <a:pt x="167148" y="204"/>
                    <a:pt x="152272" y="204"/>
                  </a:cubicBezTo>
                  <a:cubicBezTo>
                    <a:pt x="95743" y="-2771"/>
                    <a:pt x="33264" y="26981"/>
                    <a:pt x="12437" y="74584"/>
                  </a:cubicBezTo>
                  <a:cubicBezTo>
                    <a:pt x="537" y="77560"/>
                    <a:pt x="-5414" y="95411"/>
                    <a:pt x="6487" y="101362"/>
                  </a:cubicBezTo>
                  <a:cubicBezTo>
                    <a:pt x="18388" y="107312"/>
                    <a:pt x="30289" y="113262"/>
                    <a:pt x="42189" y="119213"/>
                  </a:cubicBezTo>
                  <a:cubicBezTo>
                    <a:pt x="48140" y="145990"/>
                    <a:pt x="57065" y="175742"/>
                    <a:pt x="68966" y="196568"/>
                  </a:cubicBezTo>
                  <a:cubicBezTo>
                    <a:pt x="89793" y="241196"/>
                    <a:pt x="107644" y="288800"/>
                    <a:pt x="116570" y="336403"/>
                  </a:cubicBezTo>
                  <a:cubicBezTo>
                    <a:pt x="125495" y="386981"/>
                    <a:pt x="63016" y="553593"/>
                    <a:pt x="68966" y="595246"/>
                  </a:cubicBezTo>
                  <a:cubicBezTo>
                    <a:pt x="77892" y="642849"/>
                    <a:pt x="68966" y="624998"/>
                    <a:pt x="152272" y="553593"/>
                  </a:cubicBezTo>
                  <a:cubicBezTo>
                    <a:pt x="131446" y="630948"/>
                    <a:pt x="146322" y="711279"/>
                    <a:pt x="235578" y="755907"/>
                  </a:cubicBezTo>
                  <a:cubicBezTo>
                    <a:pt x="286156" y="782684"/>
                    <a:pt x="420041" y="800535"/>
                    <a:pt x="455743" y="744006"/>
                  </a:cubicBezTo>
                  <a:cubicBezTo>
                    <a:pt x="467644" y="720205"/>
                    <a:pt x="464669" y="705329"/>
                    <a:pt x="455743" y="696403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9AAAB1E9-0989-4F13-AA3F-6C43A3092AA4}"/>
                </a:ext>
              </a:extLst>
            </p:cNvPr>
            <p:cNvSpPr/>
            <p:nvPr/>
          </p:nvSpPr>
          <p:spPr>
            <a:xfrm>
              <a:off x="3362062" y="8171453"/>
              <a:ext cx="588387" cy="894578"/>
            </a:xfrm>
            <a:custGeom>
              <a:avLst/>
              <a:gdLst>
                <a:gd name="connsiteX0" fmla="*/ 540608 w 588387"/>
                <a:gd name="connsiteY0" fmla="*/ 208096 h 894578"/>
                <a:gd name="connsiteX1" fmla="*/ 519781 w 588387"/>
                <a:gd name="connsiteY1" fmla="*/ 38509 h 894578"/>
                <a:gd name="connsiteX2" fmla="*/ 522757 w 588387"/>
                <a:gd name="connsiteY2" fmla="*/ 23633 h 894578"/>
                <a:gd name="connsiteX3" fmla="*/ 275815 w 588387"/>
                <a:gd name="connsiteY3" fmla="*/ 109914 h 894578"/>
                <a:gd name="connsiteX4" fmla="*/ 275815 w 588387"/>
                <a:gd name="connsiteY4" fmla="*/ 109914 h 894578"/>
                <a:gd name="connsiteX5" fmla="*/ 198459 w 588387"/>
                <a:gd name="connsiteY5" fmla="*/ 199170 h 894578"/>
                <a:gd name="connsiteX6" fmla="*/ 162757 w 588387"/>
                <a:gd name="connsiteY6" fmla="*/ 231898 h 894578"/>
                <a:gd name="connsiteX7" fmla="*/ 171682 w 588387"/>
                <a:gd name="connsiteY7" fmla="*/ 282476 h 894578"/>
                <a:gd name="connsiteX8" fmla="*/ 130029 w 588387"/>
                <a:gd name="connsiteY8" fmla="*/ 347931 h 894578"/>
                <a:gd name="connsiteX9" fmla="*/ 135980 w 588387"/>
                <a:gd name="connsiteY9" fmla="*/ 389584 h 894578"/>
                <a:gd name="connsiteX10" fmla="*/ 55649 w 588387"/>
                <a:gd name="connsiteY10" fmla="*/ 463964 h 894578"/>
                <a:gd name="connsiteX11" fmla="*/ 82426 w 588387"/>
                <a:gd name="connsiteY11" fmla="*/ 532394 h 894578"/>
                <a:gd name="connsiteX12" fmla="*/ 40773 w 588387"/>
                <a:gd name="connsiteY12" fmla="*/ 699005 h 894578"/>
                <a:gd name="connsiteX13" fmla="*/ 16972 w 588387"/>
                <a:gd name="connsiteY13" fmla="*/ 820989 h 894578"/>
                <a:gd name="connsiteX14" fmla="*/ 88377 w 588387"/>
                <a:gd name="connsiteY14" fmla="*/ 823964 h 894578"/>
                <a:gd name="connsiteX15" fmla="*/ 192509 w 588387"/>
                <a:gd name="connsiteY15" fmla="*/ 892394 h 894578"/>
                <a:gd name="connsiteX16" fmla="*/ 257963 w 588387"/>
                <a:gd name="connsiteY16" fmla="*/ 764460 h 894578"/>
                <a:gd name="connsiteX17" fmla="*/ 293666 w 588387"/>
                <a:gd name="connsiteY17" fmla="*/ 731733 h 894578"/>
                <a:gd name="connsiteX18" fmla="*/ 329368 w 588387"/>
                <a:gd name="connsiteY18" fmla="*/ 716857 h 894578"/>
                <a:gd name="connsiteX19" fmla="*/ 490029 w 588387"/>
                <a:gd name="connsiteY19" fmla="*/ 654377 h 894578"/>
                <a:gd name="connsiteX20" fmla="*/ 558459 w 588387"/>
                <a:gd name="connsiteY20" fmla="*/ 600823 h 894578"/>
                <a:gd name="connsiteX21" fmla="*/ 540608 w 588387"/>
                <a:gd name="connsiteY21" fmla="*/ 431237 h 894578"/>
                <a:gd name="connsiteX22" fmla="*/ 540608 w 588387"/>
                <a:gd name="connsiteY22" fmla="*/ 208096 h 894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8387" h="894578">
                  <a:moveTo>
                    <a:pt x="540608" y="208096"/>
                  </a:moveTo>
                  <a:cubicBezTo>
                    <a:pt x="597137" y="163468"/>
                    <a:pt x="549534" y="89088"/>
                    <a:pt x="519781" y="38509"/>
                  </a:cubicBezTo>
                  <a:cubicBezTo>
                    <a:pt x="522757" y="35534"/>
                    <a:pt x="525732" y="29584"/>
                    <a:pt x="522757" y="23633"/>
                  </a:cubicBezTo>
                  <a:cubicBezTo>
                    <a:pt x="501930" y="-56697"/>
                    <a:pt x="263914" y="92063"/>
                    <a:pt x="275815" y="109914"/>
                  </a:cubicBezTo>
                  <a:cubicBezTo>
                    <a:pt x="275815" y="109914"/>
                    <a:pt x="275815" y="109914"/>
                    <a:pt x="275815" y="109914"/>
                  </a:cubicBezTo>
                  <a:cubicBezTo>
                    <a:pt x="231186" y="121815"/>
                    <a:pt x="192509" y="148592"/>
                    <a:pt x="198459" y="199170"/>
                  </a:cubicBezTo>
                  <a:cubicBezTo>
                    <a:pt x="180608" y="202146"/>
                    <a:pt x="168707" y="211072"/>
                    <a:pt x="162757" y="231898"/>
                  </a:cubicBezTo>
                  <a:cubicBezTo>
                    <a:pt x="156806" y="249749"/>
                    <a:pt x="174658" y="270576"/>
                    <a:pt x="171682" y="282476"/>
                  </a:cubicBezTo>
                  <a:cubicBezTo>
                    <a:pt x="144905" y="291402"/>
                    <a:pt x="133005" y="318179"/>
                    <a:pt x="130029" y="347931"/>
                  </a:cubicBezTo>
                  <a:cubicBezTo>
                    <a:pt x="127054" y="365782"/>
                    <a:pt x="130029" y="377683"/>
                    <a:pt x="135980" y="389584"/>
                  </a:cubicBezTo>
                  <a:cubicBezTo>
                    <a:pt x="100277" y="401485"/>
                    <a:pt x="61600" y="422311"/>
                    <a:pt x="55649" y="463964"/>
                  </a:cubicBezTo>
                  <a:cubicBezTo>
                    <a:pt x="49699" y="493716"/>
                    <a:pt x="61600" y="517517"/>
                    <a:pt x="82426" y="532394"/>
                  </a:cubicBezTo>
                  <a:cubicBezTo>
                    <a:pt x="37798" y="577022"/>
                    <a:pt x="-21706" y="669253"/>
                    <a:pt x="40773" y="699005"/>
                  </a:cubicBezTo>
                  <a:cubicBezTo>
                    <a:pt x="8046" y="731733"/>
                    <a:pt x="-18731" y="782311"/>
                    <a:pt x="16972" y="820989"/>
                  </a:cubicBezTo>
                  <a:cubicBezTo>
                    <a:pt x="40773" y="844790"/>
                    <a:pt x="70525" y="841815"/>
                    <a:pt x="88377" y="823964"/>
                  </a:cubicBezTo>
                  <a:cubicBezTo>
                    <a:pt x="109203" y="865617"/>
                    <a:pt x="141930" y="904294"/>
                    <a:pt x="192509" y="892394"/>
                  </a:cubicBezTo>
                  <a:cubicBezTo>
                    <a:pt x="252013" y="877518"/>
                    <a:pt x="263914" y="818014"/>
                    <a:pt x="257963" y="764460"/>
                  </a:cubicBezTo>
                  <a:cubicBezTo>
                    <a:pt x="272839" y="758509"/>
                    <a:pt x="284740" y="746609"/>
                    <a:pt x="293666" y="731733"/>
                  </a:cubicBezTo>
                  <a:cubicBezTo>
                    <a:pt x="305567" y="728757"/>
                    <a:pt x="317467" y="722807"/>
                    <a:pt x="329368" y="716857"/>
                  </a:cubicBezTo>
                  <a:cubicBezTo>
                    <a:pt x="376972" y="800162"/>
                    <a:pt x="501930" y="752559"/>
                    <a:pt x="490029" y="654377"/>
                  </a:cubicBezTo>
                  <a:cubicBezTo>
                    <a:pt x="528707" y="651402"/>
                    <a:pt x="543583" y="651402"/>
                    <a:pt x="558459" y="600823"/>
                  </a:cubicBezTo>
                  <a:cubicBezTo>
                    <a:pt x="573335" y="544295"/>
                    <a:pt x="564410" y="484790"/>
                    <a:pt x="540608" y="431237"/>
                  </a:cubicBezTo>
                  <a:cubicBezTo>
                    <a:pt x="620939" y="374708"/>
                    <a:pt x="585236" y="288427"/>
                    <a:pt x="540608" y="208096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AC803537-367D-43DE-9652-491B129B70BE}"/>
                </a:ext>
              </a:extLst>
            </p:cNvPr>
            <p:cNvSpPr/>
            <p:nvPr/>
          </p:nvSpPr>
          <p:spPr>
            <a:xfrm>
              <a:off x="6597464" y="9700545"/>
              <a:ext cx="337603" cy="238076"/>
            </a:xfrm>
            <a:custGeom>
              <a:avLst/>
              <a:gdLst>
                <a:gd name="connsiteX0" fmla="*/ 146529 w 337603"/>
                <a:gd name="connsiteY0" fmla="*/ 232063 h 238076"/>
                <a:gd name="connsiteX1" fmla="*/ 220909 w 337603"/>
                <a:gd name="connsiteY1" fmla="*/ 205285 h 238076"/>
                <a:gd name="connsiteX2" fmla="*/ 330992 w 337603"/>
                <a:gd name="connsiteY2" fmla="*/ 139831 h 238076"/>
                <a:gd name="connsiteX3" fmla="*/ 330992 w 337603"/>
                <a:gd name="connsiteY3" fmla="*/ 20823 h 238076"/>
                <a:gd name="connsiteX4" fmla="*/ 30496 w 337603"/>
                <a:gd name="connsiteY4" fmla="*/ 83302 h 238076"/>
                <a:gd name="connsiteX5" fmla="*/ 18595 w 337603"/>
                <a:gd name="connsiteY5" fmla="*/ 116029 h 238076"/>
                <a:gd name="connsiteX6" fmla="*/ 66198 w 337603"/>
                <a:gd name="connsiteY6" fmla="*/ 113054 h 238076"/>
                <a:gd name="connsiteX7" fmla="*/ 128677 w 337603"/>
                <a:gd name="connsiteY7" fmla="*/ 104128 h 238076"/>
                <a:gd name="connsiteX8" fmla="*/ 57273 w 337603"/>
                <a:gd name="connsiteY8" fmla="*/ 136856 h 238076"/>
                <a:gd name="connsiteX9" fmla="*/ 6694 w 337603"/>
                <a:gd name="connsiteY9" fmla="*/ 163632 h 238076"/>
                <a:gd name="connsiteX10" fmla="*/ 6694 w 337603"/>
                <a:gd name="connsiteY10" fmla="*/ 193384 h 238076"/>
                <a:gd name="connsiteX11" fmla="*/ 36446 w 337603"/>
                <a:gd name="connsiteY11" fmla="*/ 205285 h 238076"/>
                <a:gd name="connsiteX12" fmla="*/ 36446 w 337603"/>
                <a:gd name="connsiteY12" fmla="*/ 208260 h 238076"/>
                <a:gd name="connsiteX13" fmla="*/ 36446 w 337603"/>
                <a:gd name="connsiteY13" fmla="*/ 214211 h 238076"/>
                <a:gd name="connsiteX14" fmla="*/ 87025 w 337603"/>
                <a:gd name="connsiteY14" fmla="*/ 217186 h 238076"/>
                <a:gd name="connsiteX15" fmla="*/ 113801 w 337603"/>
                <a:gd name="connsiteY15" fmla="*/ 205285 h 238076"/>
                <a:gd name="connsiteX16" fmla="*/ 107851 w 337603"/>
                <a:gd name="connsiteY16" fmla="*/ 211236 h 238076"/>
                <a:gd name="connsiteX17" fmla="*/ 107851 w 337603"/>
                <a:gd name="connsiteY17" fmla="*/ 232063 h 238076"/>
                <a:gd name="connsiteX18" fmla="*/ 146529 w 337603"/>
                <a:gd name="connsiteY18" fmla="*/ 232063 h 238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7603" h="238076">
                  <a:moveTo>
                    <a:pt x="146529" y="232063"/>
                  </a:moveTo>
                  <a:cubicBezTo>
                    <a:pt x="170331" y="223136"/>
                    <a:pt x="197107" y="214211"/>
                    <a:pt x="220909" y="205285"/>
                  </a:cubicBezTo>
                  <a:cubicBezTo>
                    <a:pt x="262562" y="190409"/>
                    <a:pt x="310165" y="181484"/>
                    <a:pt x="330992" y="139831"/>
                  </a:cubicBezTo>
                  <a:cubicBezTo>
                    <a:pt x="345868" y="110079"/>
                    <a:pt x="330992" y="23798"/>
                    <a:pt x="330992" y="20823"/>
                  </a:cubicBezTo>
                  <a:cubicBezTo>
                    <a:pt x="277438" y="-41657"/>
                    <a:pt x="87025" y="53550"/>
                    <a:pt x="30496" y="83302"/>
                  </a:cubicBezTo>
                  <a:cubicBezTo>
                    <a:pt x="21570" y="89252"/>
                    <a:pt x="-2231" y="107103"/>
                    <a:pt x="18595" y="116029"/>
                  </a:cubicBezTo>
                  <a:cubicBezTo>
                    <a:pt x="30496" y="121979"/>
                    <a:pt x="51322" y="113054"/>
                    <a:pt x="66198" y="113054"/>
                  </a:cubicBezTo>
                  <a:cubicBezTo>
                    <a:pt x="87025" y="110079"/>
                    <a:pt x="107851" y="107103"/>
                    <a:pt x="128677" y="104128"/>
                  </a:cubicBezTo>
                  <a:cubicBezTo>
                    <a:pt x="104876" y="116029"/>
                    <a:pt x="81074" y="127930"/>
                    <a:pt x="57273" y="136856"/>
                  </a:cubicBezTo>
                  <a:cubicBezTo>
                    <a:pt x="42397" y="142806"/>
                    <a:pt x="18595" y="148756"/>
                    <a:pt x="6694" y="163632"/>
                  </a:cubicBezTo>
                  <a:cubicBezTo>
                    <a:pt x="-2231" y="172558"/>
                    <a:pt x="-2231" y="184459"/>
                    <a:pt x="6694" y="193384"/>
                  </a:cubicBezTo>
                  <a:cubicBezTo>
                    <a:pt x="15620" y="202310"/>
                    <a:pt x="27521" y="205285"/>
                    <a:pt x="36446" y="205285"/>
                  </a:cubicBezTo>
                  <a:cubicBezTo>
                    <a:pt x="36446" y="205285"/>
                    <a:pt x="36446" y="208260"/>
                    <a:pt x="36446" y="208260"/>
                  </a:cubicBezTo>
                  <a:cubicBezTo>
                    <a:pt x="36446" y="211236"/>
                    <a:pt x="36446" y="214211"/>
                    <a:pt x="36446" y="214211"/>
                  </a:cubicBezTo>
                  <a:cubicBezTo>
                    <a:pt x="51322" y="223136"/>
                    <a:pt x="69173" y="223136"/>
                    <a:pt x="87025" y="217186"/>
                  </a:cubicBezTo>
                  <a:cubicBezTo>
                    <a:pt x="95950" y="214211"/>
                    <a:pt x="104876" y="211236"/>
                    <a:pt x="113801" y="205285"/>
                  </a:cubicBezTo>
                  <a:cubicBezTo>
                    <a:pt x="110827" y="208260"/>
                    <a:pt x="110827" y="208260"/>
                    <a:pt x="107851" y="211236"/>
                  </a:cubicBezTo>
                  <a:cubicBezTo>
                    <a:pt x="101901" y="217186"/>
                    <a:pt x="101901" y="226112"/>
                    <a:pt x="107851" y="232063"/>
                  </a:cubicBezTo>
                  <a:cubicBezTo>
                    <a:pt x="116777" y="243963"/>
                    <a:pt x="134628" y="235037"/>
                    <a:pt x="146529" y="232063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66DDD228-B9AF-4D07-9DB0-1578BE971591}"/>
                </a:ext>
              </a:extLst>
            </p:cNvPr>
            <p:cNvSpPr/>
            <p:nvPr/>
          </p:nvSpPr>
          <p:spPr>
            <a:xfrm>
              <a:off x="6747426" y="9712120"/>
              <a:ext cx="137561" cy="125569"/>
            </a:xfrm>
            <a:custGeom>
              <a:avLst/>
              <a:gdLst>
                <a:gd name="connsiteX0" fmla="*/ 20368 w 137561"/>
                <a:gd name="connsiteY0" fmla="*/ 125281 h 125569"/>
                <a:gd name="connsiteX1" fmla="*/ 35244 w 137561"/>
                <a:gd name="connsiteY1" fmla="*/ 98504 h 125569"/>
                <a:gd name="connsiteX2" fmla="*/ 85823 w 137561"/>
                <a:gd name="connsiteY2" fmla="*/ 59826 h 125569"/>
                <a:gd name="connsiteX3" fmla="*/ 136401 w 137561"/>
                <a:gd name="connsiteY3" fmla="*/ 86604 h 125569"/>
                <a:gd name="connsiteX4" fmla="*/ 103674 w 137561"/>
                <a:gd name="connsiteY4" fmla="*/ 322 h 125569"/>
                <a:gd name="connsiteX5" fmla="*/ 5492 w 137561"/>
                <a:gd name="connsiteY5" fmla="*/ 44950 h 125569"/>
                <a:gd name="connsiteX6" fmla="*/ 20368 w 137561"/>
                <a:gd name="connsiteY6" fmla="*/ 125281 h 12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561" h="125569">
                  <a:moveTo>
                    <a:pt x="20368" y="125281"/>
                  </a:moveTo>
                  <a:cubicBezTo>
                    <a:pt x="32269" y="128256"/>
                    <a:pt x="29294" y="107430"/>
                    <a:pt x="35244" y="98504"/>
                  </a:cubicBezTo>
                  <a:cubicBezTo>
                    <a:pt x="47145" y="77678"/>
                    <a:pt x="59046" y="62801"/>
                    <a:pt x="85823" y="59826"/>
                  </a:cubicBezTo>
                  <a:cubicBezTo>
                    <a:pt x="100699" y="56852"/>
                    <a:pt x="91773" y="92554"/>
                    <a:pt x="136401" y="86604"/>
                  </a:cubicBezTo>
                  <a:cubicBezTo>
                    <a:pt x="142352" y="86604"/>
                    <a:pt x="124501" y="322"/>
                    <a:pt x="103674" y="322"/>
                  </a:cubicBezTo>
                  <a:cubicBezTo>
                    <a:pt x="73922" y="-2653"/>
                    <a:pt x="20368" y="15198"/>
                    <a:pt x="5492" y="44950"/>
                  </a:cubicBezTo>
                  <a:cubicBezTo>
                    <a:pt x="-3433" y="59826"/>
                    <a:pt x="-3433" y="119330"/>
                    <a:pt x="20368" y="125281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D9854E32-77EB-4E7E-9286-96D3325C3543}"/>
                </a:ext>
              </a:extLst>
            </p:cNvPr>
            <p:cNvSpPr/>
            <p:nvPr/>
          </p:nvSpPr>
          <p:spPr>
            <a:xfrm>
              <a:off x="6737506" y="9709467"/>
              <a:ext cx="140371" cy="139834"/>
            </a:xfrm>
            <a:custGeom>
              <a:avLst/>
              <a:gdLst>
                <a:gd name="connsiteX0" fmla="*/ 27313 w 140371"/>
                <a:gd name="connsiteY0" fmla="*/ 133884 h 139834"/>
                <a:gd name="connsiteX1" fmla="*/ 12437 w 140371"/>
                <a:gd name="connsiteY1" fmla="*/ 127934 h 139834"/>
                <a:gd name="connsiteX2" fmla="*/ 6487 w 140371"/>
                <a:gd name="connsiteY2" fmla="*/ 47603 h 139834"/>
                <a:gd name="connsiteX3" fmla="*/ 110619 w 140371"/>
                <a:gd name="connsiteY3" fmla="*/ 0 h 139834"/>
                <a:gd name="connsiteX4" fmla="*/ 110619 w 140371"/>
                <a:gd name="connsiteY4" fmla="*/ 0 h 139834"/>
                <a:gd name="connsiteX5" fmla="*/ 116569 w 140371"/>
                <a:gd name="connsiteY5" fmla="*/ 5950 h 139834"/>
                <a:gd name="connsiteX6" fmla="*/ 110619 w 140371"/>
                <a:gd name="connsiteY6" fmla="*/ 11901 h 139834"/>
                <a:gd name="connsiteX7" fmla="*/ 15413 w 140371"/>
                <a:gd name="connsiteY7" fmla="*/ 53553 h 139834"/>
                <a:gd name="connsiteX8" fmla="*/ 21363 w 140371"/>
                <a:gd name="connsiteY8" fmla="*/ 121983 h 139834"/>
                <a:gd name="connsiteX9" fmla="*/ 27313 w 140371"/>
                <a:gd name="connsiteY9" fmla="*/ 124958 h 139834"/>
                <a:gd name="connsiteX10" fmla="*/ 39214 w 140371"/>
                <a:gd name="connsiteY10" fmla="*/ 107107 h 139834"/>
                <a:gd name="connsiteX11" fmla="*/ 92768 w 140371"/>
                <a:gd name="connsiteY11" fmla="*/ 59504 h 139834"/>
                <a:gd name="connsiteX12" fmla="*/ 98718 w 140371"/>
                <a:gd name="connsiteY12" fmla="*/ 62479 h 139834"/>
                <a:gd name="connsiteX13" fmla="*/ 134421 w 140371"/>
                <a:gd name="connsiteY13" fmla="*/ 89256 h 139834"/>
                <a:gd name="connsiteX14" fmla="*/ 140371 w 140371"/>
                <a:gd name="connsiteY14" fmla="*/ 95206 h 139834"/>
                <a:gd name="connsiteX15" fmla="*/ 134421 w 140371"/>
                <a:gd name="connsiteY15" fmla="*/ 101157 h 139834"/>
                <a:gd name="connsiteX16" fmla="*/ 134421 w 140371"/>
                <a:gd name="connsiteY16" fmla="*/ 101157 h 139834"/>
                <a:gd name="connsiteX17" fmla="*/ 92768 w 140371"/>
                <a:gd name="connsiteY17" fmla="*/ 74380 h 139834"/>
                <a:gd name="connsiteX18" fmla="*/ 51115 w 140371"/>
                <a:gd name="connsiteY18" fmla="*/ 116033 h 139834"/>
                <a:gd name="connsiteX19" fmla="*/ 33264 w 140371"/>
                <a:gd name="connsiteY19" fmla="*/ 139834 h 139834"/>
                <a:gd name="connsiteX20" fmla="*/ 27313 w 140371"/>
                <a:gd name="connsiteY20" fmla="*/ 133884 h 13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0371" h="139834">
                  <a:moveTo>
                    <a:pt x="27313" y="133884"/>
                  </a:moveTo>
                  <a:cubicBezTo>
                    <a:pt x="21363" y="133884"/>
                    <a:pt x="18388" y="130909"/>
                    <a:pt x="12437" y="127934"/>
                  </a:cubicBezTo>
                  <a:cubicBezTo>
                    <a:pt x="537" y="116033"/>
                    <a:pt x="-5414" y="80330"/>
                    <a:pt x="6487" y="47603"/>
                  </a:cubicBezTo>
                  <a:cubicBezTo>
                    <a:pt x="21363" y="2974"/>
                    <a:pt x="107644" y="0"/>
                    <a:pt x="110619" y="0"/>
                  </a:cubicBezTo>
                  <a:cubicBezTo>
                    <a:pt x="110619" y="0"/>
                    <a:pt x="110619" y="0"/>
                    <a:pt x="110619" y="0"/>
                  </a:cubicBezTo>
                  <a:cubicBezTo>
                    <a:pt x="113594" y="0"/>
                    <a:pt x="116569" y="2974"/>
                    <a:pt x="116569" y="5950"/>
                  </a:cubicBezTo>
                  <a:cubicBezTo>
                    <a:pt x="116569" y="8925"/>
                    <a:pt x="113594" y="11901"/>
                    <a:pt x="110619" y="11901"/>
                  </a:cubicBezTo>
                  <a:cubicBezTo>
                    <a:pt x="110619" y="11901"/>
                    <a:pt x="30289" y="14876"/>
                    <a:pt x="15413" y="53553"/>
                  </a:cubicBezTo>
                  <a:cubicBezTo>
                    <a:pt x="6487" y="83305"/>
                    <a:pt x="9462" y="113057"/>
                    <a:pt x="21363" y="121983"/>
                  </a:cubicBezTo>
                  <a:cubicBezTo>
                    <a:pt x="24338" y="124958"/>
                    <a:pt x="27313" y="124958"/>
                    <a:pt x="27313" y="124958"/>
                  </a:cubicBezTo>
                  <a:cubicBezTo>
                    <a:pt x="30289" y="124958"/>
                    <a:pt x="36239" y="116033"/>
                    <a:pt x="39214" y="107107"/>
                  </a:cubicBezTo>
                  <a:cubicBezTo>
                    <a:pt x="48140" y="89256"/>
                    <a:pt x="60041" y="65454"/>
                    <a:pt x="92768" y="59504"/>
                  </a:cubicBezTo>
                  <a:cubicBezTo>
                    <a:pt x="95743" y="59504"/>
                    <a:pt x="95743" y="59504"/>
                    <a:pt x="98718" y="62479"/>
                  </a:cubicBezTo>
                  <a:cubicBezTo>
                    <a:pt x="98718" y="62479"/>
                    <a:pt x="116569" y="86281"/>
                    <a:pt x="134421" y="89256"/>
                  </a:cubicBezTo>
                  <a:cubicBezTo>
                    <a:pt x="137396" y="89256"/>
                    <a:pt x="140371" y="92231"/>
                    <a:pt x="140371" y="95206"/>
                  </a:cubicBezTo>
                  <a:cubicBezTo>
                    <a:pt x="140371" y="98181"/>
                    <a:pt x="137396" y="101157"/>
                    <a:pt x="134421" y="101157"/>
                  </a:cubicBezTo>
                  <a:cubicBezTo>
                    <a:pt x="134421" y="101157"/>
                    <a:pt x="134421" y="101157"/>
                    <a:pt x="134421" y="101157"/>
                  </a:cubicBezTo>
                  <a:cubicBezTo>
                    <a:pt x="113594" y="98181"/>
                    <a:pt x="98718" y="80330"/>
                    <a:pt x="92768" y="74380"/>
                  </a:cubicBezTo>
                  <a:cubicBezTo>
                    <a:pt x="68966" y="80330"/>
                    <a:pt x="60041" y="98181"/>
                    <a:pt x="51115" y="116033"/>
                  </a:cubicBezTo>
                  <a:cubicBezTo>
                    <a:pt x="45165" y="127934"/>
                    <a:pt x="42189" y="136859"/>
                    <a:pt x="33264" y="139834"/>
                  </a:cubicBezTo>
                  <a:cubicBezTo>
                    <a:pt x="30289" y="133884"/>
                    <a:pt x="30289" y="133884"/>
                    <a:pt x="27313" y="133884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75648FA9-EC60-42EB-8AFA-B7E06FDDC778}"/>
                </a:ext>
              </a:extLst>
            </p:cNvPr>
            <p:cNvSpPr/>
            <p:nvPr/>
          </p:nvSpPr>
          <p:spPr>
            <a:xfrm>
              <a:off x="7479909" y="9997231"/>
              <a:ext cx="1793009" cy="2214383"/>
            </a:xfrm>
            <a:custGeom>
              <a:avLst/>
              <a:gdLst>
                <a:gd name="connsiteX0" fmla="*/ 436315 w 1793009"/>
                <a:gd name="connsiteY0" fmla="*/ 39509 h 2214383"/>
                <a:gd name="connsiteX1" fmla="*/ 1935 w 1793009"/>
                <a:gd name="connsiteY1" fmla="*/ 1193888 h 2214383"/>
                <a:gd name="connsiteX2" fmla="*/ 189373 w 1793009"/>
                <a:gd name="connsiteY2" fmla="*/ 2214384 h 2214383"/>
                <a:gd name="connsiteX3" fmla="*/ 477968 w 1793009"/>
                <a:gd name="connsiteY3" fmla="*/ 2214384 h 2214383"/>
                <a:gd name="connsiteX4" fmla="*/ 394663 w 1793009"/>
                <a:gd name="connsiteY4" fmla="*/ 1217690 h 2214383"/>
                <a:gd name="connsiteX5" fmla="*/ 921274 w 1793009"/>
                <a:gd name="connsiteY5" fmla="*/ 509591 h 2214383"/>
                <a:gd name="connsiteX6" fmla="*/ 799291 w 1793009"/>
                <a:gd name="connsiteY6" fmla="*/ 1411078 h 2214383"/>
                <a:gd name="connsiteX7" fmla="*/ 1647225 w 1793009"/>
                <a:gd name="connsiteY7" fmla="*/ 2214384 h 2214383"/>
                <a:gd name="connsiteX8" fmla="*/ 1793010 w 1793009"/>
                <a:gd name="connsiteY8" fmla="*/ 2009095 h 2214383"/>
                <a:gd name="connsiteX9" fmla="*/ 1281274 w 1793009"/>
                <a:gd name="connsiteY9" fmla="*/ 1342649 h 2214383"/>
                <a:gd name="connsiteX10" fmla="*/ 1492514 w 1793009"/>
                <a:gd name="connsiteY10" fmla="*/ 27607 h 2214383"/>
                <a:gd name="connsiteX11" fmla="*/ 436315 w 1793009"/>
                <a:gd name="connsiteY11" fmla="*/ 39509 h 2214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93009" h="2214383">
                  <a:moveTo>
                    <a:pt x="436315" y="39509"/>
                  </a:moveTo>
                  <a:cubicBezTo>
                    <a:pt x="436315" y="39509"/>
                    <a:pt x="-33767" y="890417"/>
                    <a:pt x="1935" y="1193888"/>
                  </a:cubicBezTo>
                  <a:cubicBezTo>
                    <a:pt x="31687" y="1458682"/>
                    <a:pt x="189373" y="2214384"/>
                    <a:pt x="189373" y="2214384"/>
                  </a:cubicBezTo>
                  <a:lnTo>
                    <a:pt x="477968" y="2214384"/>
                  </a:lnTo>
                  <a:cubicBezTo>
                    <a:pt x="477968" y="2214384"/>
                    <a:pt x="388712" y="1312897"/>
                    <a:pt x="394663" y="1217690"/>
                  </a:cubicBezTo>
                  <a:cubicBezTo>
                    <a:pt x="400613" y="1080831"/>
                    <a:pt x="906398" y="539343"/>
                    <a:pt x="921274" y="509591"/>
                  </a:cubicBezTo>
                  <a:cubicBezTo>
                    <a:pt x="936150" y="479839"/>
                    <a:pt x="739787" y="1250417"/>
                    <a:pt x="799291" y="1411078"/>
                  </a:cubicBezTo>
                  <a:cubicBezTo>
                    <a:pt x="849869" y="1550913"/>
                    <a:pt x="1647225" y="2214384"/>
                    <a:pt x="1647225" y="2214384"/>
                  </a:cubicBezTo>
                  <a:lnTo>
                    <a:pt x="1793010" y="2009095"/>
                  </a:lnTo>
                  <a:cubicBezTo>
                    <a:pt x="1793010" y="2009095"/>
                    <a:pt x="1275324" y="1440830"/>
                    <a:pt x="1281274" y="1342649"/>
                  </a:cubicBezTo>
                  <a:cubicBezTo>
                    <a:pt x="1290200" y="1193888"/>
                    <a:pt x="1578795" y="161491"/>
                    <a:pt x="1492514" y="27607"/>
                  </a:cubicBezTo>
                  <a:cubicBezTo>
                    <a:pt x="823092" y="-40822"/>
                    <a:pt x="436315" y="39509"/>
                    <a:pt x="436315" y="39509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AC3F3373-B9AE-4CDD-BB77-013E0800423B}"/>
                </a:ext>
              </a:extLst>
            </p:cNvPr>
            <p:cNvSpPr/>
            <p:nvPr/>
          </p:nvSpPr>
          <p:spPr>
            <a:xfrm>
              <a:off x="8338704" y="10158723"/>
              <a:ext cx="68429" cy="354050"/>
            </a:xfrm>
            <a:custGeom>
              <a:avLst/>
              <a:gdLst>
                <a:gd name="connsiteX0" fmla="*/ 62479 w 68429"/>
                <a:gd name="connsiteY0" fmla="*/ 354050 h 354050"/>
                <a:gd name="connsiteX1" fmla="*/ 56529 w 68429"/>
                <a:gd name="connsiteY1" fmla="*/ 351075 h 354050"/>
                <a:gd name="connsiteX2" fmla="*/ 0 w 68429"/>
                <a:gd name="connsiteY2" fmla="*/ 5951 h 354050"/>
                <a:gd name="connsiteX3" fmla="*/ 5950 w 68429"/>
                <a:gd name="connsiteY3" fmla="*/ 0 h 354050"/>
                <a:gd name="connsiteX4" fmla="*/ 11901 w 68429"/>
                <a:gd name="connsiteY4" fmla="*/ 5951 h 354050"/>
                <a:gd name="connsiteX5" fmla="*/ 68429 w 68429"/>
                <a:gd name="connsiteY5" fmla="*/ 348100 h 354050"/>
                <a:gd name="connsiteX6" fmla="*/ 62479 w 68429"/>
                <a:gd name="connsiteY6" fmla="*/ 354050 h 354050"/>
                <a:gd name="connsiteX7" fmla="*/ 62479 w 68429"/>
                <a:gd name="connsiteY7" fmla="*/ 354050 h 3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429" h="354050">
                  <a:moveTo>
                    <a:pt x="62479" y="354050"/>
                  </a:moveTo>
                  <a:cubicBezTo>
                    <a:pt x="59504" y="354050"/>
                    <a:pt x="59504" y="354050"/>
                    <a:pt x="56529" y="351075"/>
                  </a:cubicBezTo>
                  <a:cubicBezTo>
                    <a:pt x="8925" y="238017"/>
                    <a:pt x="0" y="14876"/>
                    <a:pt x="0" y="5951"/>
                  </a:cubicBezTo>
                  <a:cubicBezTo>
                    <a:pt x="0" y="2975"/>
                    <a:pt x="2975" y="0"/>
                    <a:pt x="5950" y="0"/>
                  </a:cubicBezTo>
                  <a:cubicBezTo>
                    <a:pt x="8925" y="0"/>
                    <a:pt x="11901" y="2975"/>
                    <a:pt x="11901" y="5951"/>
                  </a:cubicBezTo>
                  <a:cubicBezTo>
                    <a:pt x="11901" y="8926"/>
                    <a:pt x="20826" y="238017"/>
                    <a:pt x="68429" y="348100"/>
                  </a:cubicBezTo>
                  <a:cubicBezTo>
                    <a:pt x="68429" y="348100"/>
                    <a:pt x="68429" y="354050"/>
                    <a:pt x="62479" y="354050"/>
                  </a:cubicBezTo>
                  <a:cubicBezTo>
                    <a:pt x="65454" y="354050"/>
                    <a:pt x="65454" y="354050"/>
                    <a:pt x="62479" y="354050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5C1A1548-0D8E-4266-A3F7-BD009EAA0E45}"/>
                </a:ext>
              </a:extLst>
            </p:cNvPr>
            <p:cNvSpPr/>
            <p:nvPr/>
          </p:nvSpPr>
          <p:spPr>
            <a:xfrm>
              <a:off x="8231596" y="10090293"/>
              <a:ext cx="151735" cy="345124"/>
            </a:xfrm>
            <a:custGeom>
              <a:avLst/>
              <a:gdLst>
                <a:gd name="connsiteX0" fmla="*/ 142810 w 151735"/>
                <a:gd name="connsiteY0" fmla="*/ 345124 h 345124"/>
                <a:gd name="connsiteX1" fmla="*/ 139835 w 151735"/>
                <a:gd name="connsiteY1" fmla="*/ 345124 h 345124"/>
                <a:gd name="connsiteX2" fmla="*/ 32727 w 151735"/>
                <a:gd name="connsiteY2" fmla="*/ 267769 h 345124"/>
                <a:gd name="connsiteX3" fmla="*/ 0 w 151735"/>
                <a:gd name="connsiteY3" fmla="*/ 5951 h 345124"/>
                <a:gd name="connsiteX4" fmla="*/ 5950 w 151735"/>
                <a:gd name="connsiteY4" fmla="*/ 0 h 345124"/>
                <a:gd name="connsiteX5" fmla="*/ 5950 w 151735"/>
                <a:gd name="connsiteY5" fmla="*/ 0 h 345124"/>
                <a:gd name="connsiteX6" fmla="*/ 11901 w 151735"/>
                <a:gd name="connsiteY6" fmla="*/ 5951 h 345124"/>
                <a:gd name="connsiteX7" fmla="*/ 44628 w 151735"/>
                <a:gd name="connsiteY7" fmla="*/ 261818 h 345124"/>
                <a:gd name="connsiteX8" fmla="*/ 148760 w 151735"/>
                <a:gd name="connsiteY8" fmla="*/ 336198 h 345124"/>
                <a:gd name="connsiteX9" fmla="*/ 151736 w 151735"/>
                <a:gd name="connsiteY9" fmla="*/ 345124 h 345124"/>
                <a:gd name="connsiteX10" fmla="*/ 142810 w 151735"/>
                <a:gd name="connsiteY10" fmla="*/ 345124 h 34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1735" h="345124">
                  <a:moveTo>
                    <a:pt x="142810" y="345124"/>
                  </a:moveTo>
                  <a:cubicBezTo>
                    <a:pt x="142810" y="345124"/>
                    <a:pt x="139835" y="345124"/>
                    <a:pt x="139835" y="345124"/>
                  </a:cubicBezTo>
                  <a:cubicBezTo>
                    <a:pt x="130909" y="339173"/>
                    <a:pt x="44628" y="282645"/>
                    <a:pt x="32727" y="267769"/>
                  </a:cubicBezTo>
                  <a:cubicBezTo>
                    <a:pt x="20826" y="252893"/>
                    <a:pt x="2975" y="47603"/>
                    <a:pt x="0" y="5951"/>
                  </a:cubicBezTo>
                  <a:cubicBezTo>
                    <a:pt x="0" y="2975"/>
                    <a:pt x="2975" y="0"/>
                    <a:pt x="5950" y="0"/>
                  </a:cubicBezTo>
                  <a:cubicBezTo>
                    <a:pt x="5950" y="0"/>
                    <a:pt x="5950" y="0"/>
                    <a:pt x="5950" y="0"/>
                  </a:cubicBezTo>
                  <a:cubicBezTo>
                    <a:pt x="8926" y="0"/>
                    <a:pt x="11901" y="2975"/>
                    <a:pt x="11901" y="5951"/>
                  </a:cubicBezTo>
                  <a:cubicBezTo>
                    <a:pt x="20826" y="98181"/>
                    <a:pt x="35702" y="249917"/>
                    <a:pt x="44628" y="261818"/>
                  </a:cubicBezTo>
                  <a:cubicBezTo>
                    <a:pt x="53554" y="270744"/>
                    <a:pt x="110083" y="312397"/>
                    <a:pt x="148760" y="336198"/>
                  </a:cubicBezTo>
                  <a:cubicBezTo>
                    <a:pt x="151736" y="339173"/>
                    <a:pt x="151736" y="342149"/>
                    <a:pt x="151736" y="345124"/>
                  </a:cubicBezTo>
                  <a:cubicBezTo>
                    <a:pt x="145785" y="345124"/>
                    <a:pt x="142810" y="345124"/>
                    <a:pt x="142810" y="345124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E6623B18-1480-45FE-8D4A-CE1F6E6A5D1D}"/>
                </a:ext>
              </a:extLst>
            </p:cNvPr>
            <p:cNvSpPr/>
            <p:nvPr/>
          </p:nvSpPr>
          <p:spPr>
            <a:xfrm>
              <a:off x="3439800" y="9774921"/>
              <a:ext cx="1049063" cy="2496198"/>
            </a:xfrm>
            <a:custGeom>
              <a:avLst/>
              <a:gdLst>
                <a:gd name="connsiteX0" fmla="*/ 126672 w 1049063"/>
                <a:gd name="connsiteY0" fmla="*/ 0 h 2496198"/>
                <a:gd name="connsiteX1" fmla="*/ 807994 w 1049063"/>
                <a:gd name="connsiteY1" fmla="*/ 32727 h 2496198"/>
                <a:gd name="connsiteX2" fmla="*/ 924027 w 1049063"/>
                <a:gd name="connsiteY2" fmla="*/ 481984 h 2496198"/>
                <a:gd name="connsiteX3" fmla="*/ 1048986 w 1049063"/>
                <a:gd name="connsiteY3" fmla="*/ 1713719 h 2496198"/>
                <a:gd name="connsiteX4" fmla="*/ 968655 w 1049063"/>
                <a:gd name="connsiteY4" fmla="*/ 2463472 h 2496198"/>
                <a:gd name="connsiteX5" fmla="*/ 787168 w 1049063"/>
                <a:gd name="connsiteY5" fmla="*/ 2496198 h 2496198"/>
                <a:gd name="connsiteX6" fmla="*/ 757416 w 1049063"/>
                <a:gd name="connsiteY6" fmla="*/ 1728595 h 2496198"/>
                <a:gd name="connsiteX7" fmla="*/ 516424 w 1049063"/>
                <a:gd name="connsiteY7" fmla="*/ 877686 h 2496198"/>
                <a:gd name="connsiteX8" fmla="*/ 519399 w 1049063"/>
                <a:gd name="connsiteY8" fmla="*/ 1686943 h 2496198"/>
                <a:gd name="connsiteX9" fmla="*/ 281383 w 1049063"/>
                <a:gd name="connsiteY9" fmla="*/ 2487273 h 2496198"/>
                <a:gd name="connsiteX10" fmla="*/ 90969 w 1049063"/>
                <a:gd name="connsiteY10" fmla="*/ 2487273 h 2496198"/>
                <a:gd name="connsiteX11" fmla="*/ 209978 w 1049063"/>
                <a:gd name="connsiteY11" fmla="*/ 1624463 h 2496198"/>
                <a:gd name="connsiteX12" fmla="*/ 1713 w 1049063"/>
                <a:gd name="connsiteY12" fmla="*/ 419504 h 2496198"/>
                <a:gd name="connsiteX13" fmla="*/ 126672 w 1049063"/>
                <a:gd name="connsiteY13" fmla="*/ 0 h 249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49063" h="2496198">
                  <a:moveTo>
                    <a:pt x="126672" y="0"/>
                  </a:moveTo>
                  <a:lnTo>
                    <a:pt x="807994" y="32727"/>
                  </a:lnTo>
                  <a:cubicBezTo>
                    <a:pt x="807994" y="32727"/>
                    <a:pt x="903201" y="330248"/>
                    <a:pt x="924027" y="481984"/>
                  </a:cubicBezTo>
                  <a:cubicBezTo>
                    <a:pt x="935928" y="568265"/>
                    <a:pt x="1043036" y="1187107"/>
                    <a:pt x="1048986" y="1713719"/>
                  </a:cubicBezTo>
                  <a:cubicBezTo>
                    <a:pt x="1051961" y="2112397"/>
                    <a:pt x="968655" y="2463472"/>
                    <a:pt x="968655" y="2463472"/>
                  </a:cubicBezTo>
                  <a:lnTo>
                    <a:pt x="787168" y="2496198"/>
                  </a:lnTo>
                  <a:lnTo>
                    <a:pt x="757416" y="1728595"/>
                  </a:lnTo>
                  <a:lnTo>
                    <a:pt x="516424" y="877686"/>
                  </a:lnTo>
                  <a:lnTo>
                    <a:pt x="519399" y="1686943"/>
                  </a:lnTo>
                  <a:lnTo>
                    <a:pt x="281383" y="2487273"/>
                  </a:lnTo>
                  <a:lnTo>
                    <a:pt x="90969" y="2487273"/>
                  </a:lnTo>
                  <a:lnTo>
                    <a:pt x="209978" y="1624463"/>
                  </a:lnTo>
                  <a:cubicBezTo>
                    <a:pt x="209978" y="1624463"/>
                    <a:pt x="-22088" y="681322"/>
                    <a:pt x="1713" y="419504"/>
                  </a:cubicBezTo>
                  <a:cubicBezTo>
                    <a:pt x="13614" y="300496"/>
                    <a:pt x="126672" y="0"/>
                    <a:pt x="126672" y="0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B3770978-A181-4689-ACDF-7F0B77EA23AE}"/>
                </a:ext>
              </a:extLst>
            </p:cNvPr>
            <p:cNvSpPr/>
            <p:nvPr/>
          </p:nvSpPr>
          <p:spPr>
            <a:xfrm>
              <a:off x="3950274" y="10185500"/>
              <a:ext cx="14876" cy="1216859"/>
            </a:xfrm>
            <a:custGeom>
              <a:avLst/>
              <a:gdLst>
                <a:gd name="connsiteX0" fmla="*/ 8926 w 14876"/>
                <a:gd name="connsiteY0" fmla="*/ 1216859 h 1216859"/>
                <a:gd name="connsiteX1" fmla="*/ 2975 w 14876"/>
                <a:gd name="connsiteY1" fmla="*/ 1210909 h 1216859"/>
                <a:gd name="connsiteX2" fmla="*/ 0 w 14876"/>
                <a:gd name="connsiteY2" fmla="*/ 464132 h 1216859"/>
                <a:gd name="connsiteX3" fmla="*/ 0 w 14876"/>
                <a:gd name="connsiteY3" fmla="*/ 5950 h 1216859"/>
                <a:gd name="connsiteX4" fmla="*/ 5950 w 14876"/>
                <a:gd name="connsiteY4" fmla="*/ 0 h 1216859"/>
                <a:gd name="connsiteX5" fmla="*/ 11901 w 14876"/>
                <a:gd name="connsiteY5" fmla="*/ 5950 h 1216859"/>
                <a:gd name="connsiteX6" fmla="*/ 11901 w 14876"/>
                <a:gd name="connsiteY6" fmla="*/ 464132 h 1216859"/>
                <a:gd name="connsiteX7" fmla="*/ 14876 w 14876"/>
                <a:gd name="connsiteY7" fmla="*/ 1210909 h 1216859"/>
                <a:gd name="connsiteX8" fmla="*/ 8926 w 14876"/>
                <a:gd name="connsiteY8" fmla="*/ 1216859 h 1216859"/>
                <a:gd name="connsiteX9" fmla="*/ 8926 w 14876"/>
                <a:gd name="connsiteY9" fmla="*/ 1216859 h 121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876" h="1216859">
                  <a:moveTo>
                    <a:pt x="8926" y="1216859"/>
                  </a:moveTo>
                  <a:cubicBezTo>
                    <a:pt x="5950" y="1216859"/>
                    <a:pt x="2975" y="1213884"/>
                    <a:pt x="2975" y="1210909"/>
                  </a:cubicBezTo>
                  <a:lnTo>
                    <a:pt x="0" y="464132"/>
                  </a:lnTo>
                  <a:lnTo>
                    <a:pt x="0" y="5950"/>
                  </a:lnTo>
                  <a:cubicBezTo>
                    <a:pt x="0" y="2974"/>
                    <a:pt x="2975" y="0"/>
                    <a:pt x="5950" y="0"/>
                  </a:cubicBezTo>
                  <a:cubicBezTo>
                    <a:pt x="8926" y="0"/>
                    <a:pt x="11901" y="2974"/>
                    <a:pt x="11901" y="5950"/>
                  </a:cubicBezTo>
                  <a:lnTo>
                    <a:pt x="11901" y="464132"/>
                  </a:lnTo>
                  <a:lnTo>
                    <a:pt x="14876" y="1210909"/>
                  </a:lnTo>
                  <a:cubicBezTo>
                    <a:pt x="11901" y="1213884"/>
                    <a:pt x="11901" y="1216859"/>
                    <a:pt x="8926" y="1216859"/>
                  </a:cubicBezTo>
                  <a:lnTo>
                    <a:pt x="8926" y="1216859"/>
                  </a:ln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FAF22813-B8CF-4634-AC8D-6525C9B5701D}"/>
                </a:ext>
              </a:extLst>
            </p:cNvPr>
            <p:cNvSpPr/>
            <p:nvPr/>
          </p:nvSpPr>
          <p:spPr>
            <a:xfrm>
              <a:off x="4244819" y="12268145"/>
              <a:ext cx="395329" cy="222127"/>
            </a:xfrm>
            <a:custGeom>
              <a:avLst/>
              <a:gdLst>
                <a:gd name="connsiteX0" fmla="*/ 107107 w 395329"/>
                <a:gd name="connsiteY0" fmla="*/ 0 h 222127"/>
                <a:gd name="connsiteX1" fmla="*/ 0 w 395329"/>
                <a:gd name="connsiteY1" fmla="*/ 14876 h 222127"/>
                <a:gd name="connsiteX2" fmla="*/ 11901 w 395329"/>
                <a:gd name="connsiteY2" fmla="*/ 154710 h 222127"/>
                <a:gd name="connsiteX3" fmla="*/ 243967 w 395329"/>
                <a:gd name="connsiteY3" fmla="*/ 220165 h 222127"/>
                <a:gd name="connsiteX4" fmla="*/ 377851 w 395329"/>
                <a:gd name="connsiteY4" fmla="*/ 211239 h 222127"/>
                <a:gd name="connsiteX5" fmla="*/ 380827 w 395329"/>
                <a:gd name="connsiteY5" fmla="*/ 154710 h 222127"/>
                <a:gd name="connsiteX6" fmla="*/ 107107 w 395329"/>
                <a:gd name="connsiteY6" fmla="*/ 0 h 222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5329" h="222127">
                  <a:moveTo>
                    <a:pt x="107107" y="0"/>
                  </a:moveTo>
                  <a:lnTo>
                    <a:pt x="0" y="14876"/>
                  </a:lnTo>
                  <a:cubicBezTo>
                    <a:pt x="0" y="14876"/>
                    <a:pt x="0" y="130909"/>
                    <a:pt x="11901" y="154710"/>
                  </a:cubicBezTo>
                  <a:cubicBezTo>
                    <a:pt x="83306" y="187438"/>
                    <a:pt x="172562" y="211239"/>
                    <a:pt x="243967" y="220165"/>
                  </a:cubicBezTo>
                  <a:cubicBezTo>
                    <a:pt x="288595" y="226115"/>
                    <a:pt x="368926" y="217190"/>
                    <a:pt x="377851" y="211239"/>
                  </a:cubicBezTo>
                  <a:cubicBezTo>
                    <a:pt x="386777" y="208264"/>
                    <a:pt x="410579" y="181487"/>
                    <a:pt x="380827" y="154710"/>
                  </a:cubicBezTo>
                  <a:cubicBezTo>
                    <a:pt x="318347" y="98181"/>
                    <a:pt x="107107" y="0"/>
                    <a:pt x="107107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6A99A02E-A14E-4972-8494-503DC56EC0D6}"/>
                </a:ext>
              </a:extLst>
            </p:cNvPr>
            <p:cNvSpPr/>
            <p:nvPr/>
          </p:nvSpPr>
          <p:spPr>
            <a:xfrm>
              <a:off x="4205480" y="12175913"/>
              <a:ext cx="231089" cy="120302"/>
            </a:xfrm>
            <a:custGeom>
              <a:avLst/>
              <a:gdLst>
                <a:gd name="connsiteX0" fmla="*/ 6612 w 231089"/>
                <a:gd name="connsiteY0" fmla="*/ 17851 h 120302"/>
                <a:gd name="connsiteX1" fmla="*/ 6612 w 231089"/>
                <a:gd name="connsiteY1" fmla="*/ 113057 h 120302"/>
                <a:gd name="connsiteX2" fmla="*/ 200000 w 231089"/>
                <a:gd name="connsiteY2" fmla="*/ 98181 h 120302"/>
                <a:gd name="connsiteX3" fmla="*/ 229752 w 231089"/>
                <a:gd name="connsiteY3" fmla="*/ 0 h 120302"/>
                <a:gd name="connsiteX4" fmla="*/ 6612 w 231089"/>
                <a:gd name="connsiteY4" fmla="*/ 17851 h 120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089" h="120302">
                  <a:moveTo>
                    <a:pt x="6612" y="17851"/>
                  </a:moveTo>
                  <a:cubicBezTo>
                    <a:pt x="6612" y="17851"/>
                    <a:pt x="-8264" y="68429"/>
                    <a:pt x="6612" y="113057"/>
                  </a:cubicBezTo>
                  <a:cubicBezTo>
                    <a:pt x="6612" y="113057"/>
                    <a:pt x="45289" y="136860"/>
                    <a:pt x="200000" y="98181"/>
                  </a:cubicBezTo>
                  <a:cubicBezTo>
                    <a:pt x="200000" y="98181"/>
                    <a:pt x="238678" y="44628"/>
                    <a:pt x="229752" y="0"/>
                  </a:cubicBezTo>
                  <a:cubicBezTo>
                    <a:pt x="229752" y="0"/>
                    <a:pt x="101818" y="41653"/>
                    <a:pt x="6612" y="17851"/>
                  </a:cubicBezTo>
                  <a:close/>
                </a:path>
              </a:pathLst>
            </a:custGeom>
            <a:solidFill>
              <a:srgbClr val="9DB3D1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1D53A879-C0BF-435A-925B-E65D54CBE396}"/>
                </a:ext>
              </a:extLst>
            </p:cNvPr>
            <p:cNvSpPr/>
            <p:nvPr/>
          </p:nvSpPr>
          <p:spPr>
            <a:xfrm>
              <a:off x="4390604" y="12304591"/>
              <a:ext cx="49834" cy="73636"/>
            </a:xfrm>
            <a:custGeom>
              <a:avLst/>
              <a:gdLst>
                <a:gd name="connsiteX0" fmla="*/ 5950 w 49834"/>
                <a:gd name="connsiteY0" fmla="*/ 73636 h 73636"/>
                <a:gd name="connsiteX1" fmla="*/ 5950 w 49834"/>
                <a:gd name="connsiteY1" fmla="*/ 73636 h 73636"/>
                <a:gd name="connsiteX2" fmla="*/ 0 w 49834"/>
                <a:gd name="connsiteY2" fmla="*/ 67686 h 73636"/>
                <a:gd name="connsiteX3" fmla="*/ 38678 w 49834"/>
                <a:gd name="connsiteY3" fmla="*/ 2232 h 73636"/>
                <a:gd name="connsiteX4" fmla="*/ 47603 w 49834"/>
                <a:gd name="connsiteY4" fmla="*/ 2232 h 73636"/>
                <a:gd name="connsiteX5" fmla="*/ 47603 w 49834"/>
                <a:gd name="connsiteY5" fmla="*/ 11157 h 73636"/>
                <a:gd name="connsiteX6" fmla="*/ 11901 w 49834"/>
                <a:gd name="connsiteY6" fmla="*/ 70661 h 73636"/>
                <a:gd name="connsiteX7" fmla="*/ 5950 w 49834"/>
                <a:gd name="connsiteY7" fmla="*/ 73636 h 73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834" h="73636">
                  <a:moveTo>
                    <a:pt x="5950" y="73636"/>
                  </a:moveTo>
                  <a:cubicBezTo>
                    <a:pt x="5950" y="73636"/>
                    <a:pt x="5950" y="73636"/>
                    <a:pt x="5950" y="73636"/>
                  </a:cubicBezTo>
                  <a:cubicBezTo>
                    <a:pt x="2975" y="73636"/>
                    <a:pt x="0" y="70661"/>
                    <a:pt x="0" y="67686"/>
                  </a:cubicBezTo>
                  <a:cubicBezTo>
                    <a:pt x="8925" y="31984"/>
                    <a:pt x="38678" y="2232"/>
                    <a:pt x="38678" y="2232"/>
                  </a:cubicBezTo>
                  <a:cubicBezTo>
                    <a:pt x="41653" y="-744"/>
                    <a:pt x="44628" y="-744"/>
                    <a:pt x="47603" y="2232"/>
                  </a:cubicBezTo>
                  <a:cubicBezTo>
                    <a:pt x="50578" y="5207"/>
                    <a:pt x="50578" y="8182"/>
                    <a:pt x="47603" y="11157"/>
                  </a:cubicBezTo>
                  <a:cubicBezTo>
                    <a:pt x="47603" y="11157"/>
                    <a:pt x="17851" y="40909"/>
                    <a:pt x="11901" y="70661"/>
                  </a:cubicBezTo>
                  <a:cubicBezTo>
                    <a:pt x="11901" y="70661"/>
                    <a:pt x="8925" y="73636"/>
                    <a:pt x="5950" y="73636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B81B65F5-B969-4904-9545-5B54D3BE2FD3}"/>
                </a:ext>
              </a:extLst>
            </p:cNvPr>
            <p:cNvSpPr/>
            <p:nvPr/>
          </p:nvSpPr>
          <p:spPr>
            <a:xfrm>
              <a:off x="4459034" y="12338227"/>
              <a:ext cx="45950" cy="69751"/>
            </a:xfrm>
            <a:custGeom>
              <a:avLst/>
              <a:gdLst>
                <a:gd name="connsiteX0" fmla="*/ 5951 w 45950"/>
                <a:gd name="connsiteY0" fmla="*/ 69752 h 69751"/>
                <a:gd name="connsiteX1" fmla="*/ 5951 w 45950"/>
                <a:gd name="connsiteY1" fmla="*/ 69752 h 69751"/>
                <a:gd name="connsiteX2" fmla="*/ 0 w 45950"/>
                <a:gd name="connsiteY2" fmla="*/ 63802 h 69751"/>
                <a:gd name="connsiteX3" fmla="*/ 35703 w 45950"/>
                <a:gd name="connsiteY3" fmla="*/ 1322 h 69751"/>
                <a:gd name="connsiteX4" fmla="*/ 44628 w 45950"/>
                <a:gd name="connsiteY4" fmla="*/ 1322 h 69751"/>
                <a:gd name="connsiteX5" fmla="*/ 44628 w 45950"/>
                <a:gd name="connsiteY5" fmla="*/ 10248 h 69751"/>
                <a:gd name="connsiteX6" fmla="*/ 11901 w 45950"/>
                <a:gd name="connsiteY6" fmla="*/ 66776 h 69751"/>
                <a:gd name="connsiteX7" fmla="*/ 5951 w 45950"/>
                <a:gd name="connsiteY7" fmla="*/ 69752 h 69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950" h="69751">
                  <a:moveTo>
                    <a:pt x="5951" y="69752"/>
                  </a:moveTo>
                  <a:cubicBezTo>
                    <a:pt x="5951" y="69752"/>
                    <a:pt x="5951" y="69752"/>
                    <a:pt x="5951" y="69752"/>
                  </a:cubicBezTo>
                  <a:cubicBezTo>
                    <a:pt x="2975" y="69752"/>
                    <a:pt x="0" y="66776"/>
                    <a:pt x="0" y="63802"/>
                  </a:cubicBezTo>
                  <a:cubicBezTo>
                    <a:pt x="11901" y="19174"/>
                    <a:pt x="32727" y="1322"/>
                    <a:pt x="35703" y="1322"/>
                  </a:cubicBezTo>
                  <a:cubicBezTo>
                    <a:pt x="38678" y="-1653"/>
                    <a:pt x="41653" y="1322"/>
                    <a:pt x="44628" y="1322"/>
                  </a:cubicBezTo>
                  <a:cubicBezTo>
                    <a:pt x="47603" y="4298"/>
                    <a:pt x="44628" y="7272"/>
                    <a:pt x="44628" y="10248"/>
                  </a:cubicBezTo>
                  <a:cubicBezTo>
                    <a:pt x="44628" y="10248"/>
                    <a:pt x="23802" y="28099"/>
                    <a:pt x="11901" y="66776"/>
                  </a:cubicBezTo>
                  <a:cubicBezTo>
                    <a:pt x="11901" y="66776"/>
                    <a:pt x="8926" y="69752"/>
                    <a:pt x="5951" y="69752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D98849EF-AC9A-48E4-9AC4-8CFA8B68DC10}"/>
                </a:ext>
              </a:extLst>
            </p:cNvPr>
            <p:cNvSpPr/>
            <p:nvPr/>
          </p:nvSpPr>
          <p:spPr>
            <a:xfrm>
              <a:off x="4250769" y="12375251"/>
              <a:ext cx="389752" cy="125584"/>
            </a:xfrm>
            <a:custGeom>
              <a:avLst/>
              <a:gdLst>
                <a:gd name="connsiteX0" fmla="*/ 0 w 389752"/>
                <a:gd name="connsiteY0" fmla="*/ 0 h 125584"/>
                <a:gd name="connsiteX1" fmla="*/ 2975 w 389752"/>
                <a:gd name="connsiteY1" fmla="*/ 50579 h 125584"/>
                <a:gd name="connsiteX2" fmla="*/ 17851 w 389752"/>
                <a:gd name="connsiteY2" fmla="*/ 71406 h 125584"/>
                <a:gd name="connsiteX3" fmla="*/ 383802 w 389752"/>
                <a:gd name="connsiteY3" fmla="*/ 121984 h 125584"/>
                <a:gd name="connsiteX4" fmla="*/ 389752 w 389752"/>
                <a:gd name="connsiteY4" fmla="*/ 89256 h 125584"/>
                <a:gd name="connsiteX5" fmla="*/ 0 w 389752"/>
                <a:gd name="connsiteY5" fmla="*/ 0 h 125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9752" h="125584">
                  <a:moveTo>
                    <a:pt x="0" y="0"/>
                  </a:moveTo>
                  <a:lnTo>
                    <a:pt x="2975" y="50579"/>
                  </a:lnTo>
                  <a:cubicBezTo>
                    <a:pt x="2975" y="59504"/>
                    <a:pt x="8926" y="68430"/>
                    <a:pt x="17851" y="71406"/>
                  </a:cubicBezTo>
                  <a:cubicBezTo>
                    <a:pt x="71405" y="86282"/>
                    <a:pt x="252893" y="139835"/>
                    <a:pt x="383802" y="121984"/>
                  </a:cubicBezTo>
                  <a:lnTo>
                    <a:pt x="389752" y="89256"/>
                  </a:lnTo>
                  <a:cubicBezTo>
                    <a:pt x="389752" y="86282"/>
                    <a:pt x="32727" y="71406"/>
                    <a:pt x="0" y="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B97CD07E-7936-46BE-BFD4-C6F5E8C7414D}"/>
                </a:ext>
              </a:extLst>
            </p:cNvPr>
            <p:cNvSpPr/>
            <p:nvPr/>
          </p:nvSpPr>
          <p:spPr>
            <a:xfrm>
              <a:off x="3562009" y="12265169"/>
              <a:ext cx="388708" cy="230829"/>
            </a:xfrm>
            <a:custGeom>
              <a:avLst/>
              <a:gdLst>
                <a:gd name="connsiteX0" fmla="*/ 108595 w 388708"/>
                <a:gd name="connsiteY0" fmla="*/ 0 h 230829"/>
                <a:gd name="connsiteX1" fmla="*/ 1488 w 388708"/>
                <a:gd name="connsiteY1" fmla="*/ 8925 h 230829"/>
                <a:gd name="connsiteX2" fmla="*/ 7438 w 388708"/>
                <a:gd name="connsiteY2" fmla="*/ 148760 h 230829"/>
                <a:gd name="connsiteX3" fmla="*/ 236529 w 388708"/>
                <a:gd name="connsiteY3" fmla="*/ 226116 h 230829"/>
                <a:gd name="connsiteX4" fmla="*/ 370413 w 388708"/>
                <a:gd name="connsiteY4" fmla="*/ 226116 h 230829"/>
                <a:gd name="connsiteX5" fmla="*/ 376364 w 388708"/>
                <a:gd name="connsiteY5" fmla="*/ 172562 h 230829"/>
                <a:gd name="connsiteX6" fmla="*/ 108595 w 388708"/>
                <a:gd name="connsiteY6" fmla="*/ 0 h 23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8708" h="230829">
                  <a:moveTo>
                    <a:pt x="108595" y="0"/>
                  </a:moveTo>
                  <a:lnTo>
                    <a:pt x="1488" y="8925"/>
                  </a:lnTo>
                  <a:cubicBezTo>
                    <a:pt x="1488" y="8925"/>
                    <a:pt x="-4463" y="124958"/>
                    <a:pt x="7438" y="148760"/>
                  </a:cubicBezTo>
                  <a:cubicBezTo>
                    <a:pt x="78843" y="184462"/>
                    <a:pt x="165124" y="214214"/>
                    <a:pt x="236529" y="226116"/>
                  </a:cubicBezTo>
                  <a:cubicBezTo>
                    <a:pt x="281157" y="235041"/>
                    <a:pt x="361488" y="229090"/>
                    <a:pt x="370413" y="226116"/>
                  </a:cubicBezTo>
                  <a:cubicBezTo>
                    <a:pt x="379339" y="223141"/>
                    <a:pt x="403140" y="199338"/>
                    <a:pt x="376364" y="172562"/>
                  </a:cubicBezTo>
                  <a:cubicBezTo>
                    <a:pt x="316860" y="107108"/>
                    <a:pt x="108595" y="0"/>
                    <a:pt x="108595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517225FE-EBF9-452C-9E06-212FD51E3641}"/>
                </a:ext>
              </a:extLst>
            </p:cNvPr>
            <p:cNvSpPr/>
            <p:nvPr/>
          </p:nvSpPr>
          <p:spPr>
            <a:xfrm>
              <a:off x="3523703" y="12175913"/>
              <a:ext cx="227900" cy="111472"/>
            </a:xfrm>
            <a:custGeom>
              <a:avLst/>
              <a:gdLst>
                <a:gd name="connsiteX0" fmla="*/ 10041 w 227900"/>
                <a:gd name="connsiteY0" fmla="*/ 0 h 111472"/>
                <a:gd name="connsiteX1" fmla="*/ 4091 w 227900"/>
                <a:gd name="connsiteY1" fmla="*/ 101157 h 111472"/>
                <a:gd name="connsiteX2" fmla="*/ 197479 w 227900"/>
                <a:gd name="connsiteY2" fmla="*/ 95206 h 111472"/>
                <a:gd name="connsiteX3" fmla="*/ 227231 w 227900"/>
                <a:gd name="connsiteY3" fmla="*/ 5950 h 111472"/>
                <a:gd name="connsiteX4" fmla="*/ 10041 w 227900"/>
                <a:gd name="connsiteY4" fmla="*/ 0 h 111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900" h="111472">
                  <a:moveTo>
                    <a:pt x="10041" y="0"/>
                  </a:moveTo>
                  <a:cubicBezTo>
                    <a:pt x="10041" y="0"/>
                    <a:pt x="-7810" y="56529"/>
                    <a:pt x="4091" y="101157"/>
                  </a:cubicBezTo>
                  <a:cubicBezTo>
                    <a:pt x="4091" y="101157"/>
                    <a:pt x="42769" y="127934"/>
                    <a:pt x="197479" y="95206"/>
                  </a:cubicBezTo>
                  <a:cubicBezTo>
                    <a:pt x="197479" y="95206"/>
                    <a:pt x="233182" y="50578"/>
                    <a:pt x="227231" y="5950"/>
                  </a:cubicBezTo>
                  <a:cubicBezTo>
                    <a:pt x="227231" y="8925"/>
                    <a:pt x="105248" y="29752"/>
                    <a:pt x="10041" y="0"/>
                  </a:cubicBezTo>
                  <a:close/>
                </a:path>
              </a:pathLst>
            </a:custGeom>
            <a:solidFill>
              <a:srgbClr val="9DB3D1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1BC96CCA-51E6-4122-86AD-B272FC7750C1}"/>
                </a:ext>
              </a:extLst>
            </p:cNvPr>
            <p:cNvSpPr/>
            <p:nvPr/>
          </p:nvSpPr>
          <p:spPr>
            <a:xfrm>
              <a:off x="3703332" y="12304591"/>
              <a:ext cx="55785" cy="70660"/>
            </a:xfrm>
            <a:custGeom>
              <a:avLst/>
              <a:gdLst>
                <a:gd name="connsiteX0" fmla="*/ 5950 w 55785"/>
                <a:gd name="connsiteY0" fmla="*/ 70661 h 70660"/>
                <a:gd name="connsiteX1" fmla="*/ 5950 w 55785"/>
                <a:gd name="connsiteY1" fmla="*/ 70661 h 70660"/>
                <a:gd name="connsiteX2" fmla="*/ 0 w 55785"/>
                <a:gd name="connsiteY2" fmla="*/ 64711 h 70660"/>
                <a:gd name="connsiteX3" fmla="*/ 44628 w 55785"/>
                <a:gd name="connsiteY3" fmla="*/ 2232 h 70660"/>
                <a:gd name="connsiteX4" fmla="*/ 53554 w 55785"/>
                <a:gd name="connsiteY4" fmla="*/ 2232 h 70660"/>
                <a:gd name="connsiteX5" fmla="*/ 53554 w 55785"/>
                <a:gd name="connsiteY5" fmla="*/ 11157 h 70660"/>
                <a:gd name="connsiteX6" fmla="*/ 14876 w 55785"/>
                <a:gd name="connsiteY6" fmla="*/ 70661 h 70660"/>
                <a:gd name="connsiteX7" fmla="*/ 5950 w 55785"/>
                <a:gd name="connsiteY7" fmla="*/ 70661 h 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785" h="70660">
                  <a:moveTo>
                    <a:pt x="5950" y="70661"/>
                  </a:moveTo>
                  <a:cubicBezTo>
                    <a:pt x="5950" y="70661"/>
                    <a:pt x="5950" y="70661"/>
                    <a:pt x="5950" y="70661"/>
                  </a:cubicBezTo>
                  <a:cubicBezTo>
                    <a:pt x="2975" y="70661"/>
                    <a:pt x="0" y="67686"/>
                    <a:pt x="0" y="64711"/>
                  </a:cubicBezTo>
                  <a:cubicBezTo>
                    <a:pt x="8926" y="29008"/>
                    <a:pt x="41653" y="2232"/>
                    <a:pt x="44628" y="2232"/>
                  </a:cubicBezTo>
                  <a:cubicBezTo>
                    <a:pt x="47603" y="-744"/>
                    <a:pt x="50579" y="-744"/>
                    <a:pt x="53554" y="2232"/>
                  </a:cubicBezTo>
                  <a:cubicBezTo>
                    <a:pt x="56529" y="5207"/>
                    <a:pt x="56529" y="8182"/>
                    <a:pt x="53554" y="11157"/>
                  </a:cubicBezTo>
                  <a:cubicBezTo>
                    <a:pt x="53554" y="11157"/>
                    <a:pt x="23802" y="37934"/>
                    <a:pt x="14876" y="70661"/>
                  </a:cubicBezTo>
                  <a:cubicBezTo>
                    <a:pt x="11901" y="70661"/>
                    <a:pt x="8926" y="70661"/>
                    <a:pt x="5950" y="70661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3DCB66C5-B005-4B85-BE12-3FF15FDFEA1D}"/>
                </a:ext>
              </a:extLst>
            </p:cNvPr>
            <p:cNvSpPr/>
            <p:nvPr/>
          </p:nvSpPr>
          <p:spPr>
            <a:xfrm>
              <a:off x="3771761" y="12341203"/>
              <a:ext cx="48925" cy="66776"/>
            </a:xfrm>
            <a:custGeom>
              <a:avLst/>
              <a:gdLst>
                <a:gd name="connsiteX0" fmla="*/ 5950 w 48925"/>
                <a:gd name="connsiteY0" fmla="*/ 66776 h 66776"/>
                <a:gd name="connsiteX1" fmla="*/ 5950 w 48925"/>
                <a:gd name="connsiteY1" fmla="*/ 66776 h 66776"/>
                <a:gd name="connsiteX2" fmla="*/ 0 w 48925"/>
                <a:gd name="connsiteY2" fmla="*/ 60827 h 66776"/>
                <a:gd name="connsiteX3" fmla="*/ 38678 w 48925"/>
                <a:gd name="connsiteY3" fmla="*/ 1322 h 66776"/>
                <a:gd name="connsiteX4" fmla="*/ 47603 w 48925"/>
                <a:gd name="connsiteY4" fmla="*/ 1322 h 66776"/>
                <a:gd name="connsiteX5" fmla="*/ 47603 w 48925"/>
                <a:gd name="connsiteY5" fmla="*/ 10248 h 66776"/>
                <a:gd name="connsiteX6" fmla="*/ 11901 w 48925"/>
                <a:gd name="connsiteY6" fmla="*/ 63801 h 66776"/>
                <a:gd name="connsiteX7" fmla="*/ 5950 w 48925"/>
                <a:gd name="connsiteY7" fmla="*/ 66776 h 66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925" h="66776">
                  <a:moveTo>
                    <a:pt x="5950" y="66776"/>
                  </a:moveTo>
                  <a:cubicBezTo>
                    <a:pt x="5950" y="66776"/>
                    <a:pt x="5950" y="66776"/>
                    <a:pt x="5950" y="66776"/>
                  </a:cubicBezTo>
                  <a:cubicBezTo>
                    <a:pt x="0" y="66776"/>
                    <a:pt x="0" y="63801"/>
                    <a:pt x="0" y="60827"/>
                  </a:cubicBezTo>
                  <a:cubicBezTo>
                    <a:pt x="14876" y="19173"/>
                    <a:pt x="38678" y="1322"/>
                    <a:pt x="38678" y="1322"/>
                  </a:cubicBezTo>
                  <a:cubicBezTo>
                    <a:pt x="41653" y="-1653"/>
                    <a:pt x="44628" y="1322"/>
                    <a:pt x="47603" y="1322"/>
                  </a:cubicBezTo>
                  <a:cubicBezTo>
                    <a:pt x="50579" y="4297"/>
                    <a:pt x="47603" y="7272"/>
                    <a:pt x="47603" y="10248"/>
                  </a:cubicBezTo>
                  <a:cubicBezTo>
                    <a:pt x="47603" y="10248"/>
                    <a:pt x="26777" y="25124"/>
                    <a:pt x="11901" y="63801"/>
                  </a:cubicBezTo>
                  <a:cubicBezTo>
                    <a:pt x="11901" y="66776"/>
                    <a:pt x="8926" y="66776"/>
                    <a:pt x="5950" y="66776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BA66B2CD-3051-4DFF-8896-A16B037C307F}"/>
                </a:ext>
              </a:extLst>
            </p:cNvPr>
            <p:cNvSpPr/>
            <p:nvPr/>
          </p:nvSpPr>
          <p:spPr>
            <a:xfrm>
              <a:off x="3563497" y="12366326"/>
              <a:ext cx="386776" cy="141330"/>
            </a:xfrm>
            <a:custGeom>
              <a:avLst/>
              <a:gdLst>
                <a:gd name="connsiteX0" fmla="*/ 0 w 386776"/>
                <a:gd name="connsiteY0" fmla="*/ 0 h 141330"/>
                <a:gd name="connsiteX1" fmla="*/ 0 w 386776"/>
                <a:gd name="connsiteY1" fmla="*/ 50579 h 141330"/>
                <a:gd name="connsiteX2" fmla="*/ 14876 w 386776"/>
                <a:gd name="connsiteY2" fmla="*/ 71405 h 141330"/>
                <a:gd name="connsiteX3" fmla="*/ 377851 w 386776"/>
                <a:gd name="connsiteY3" fmla="*/ 139835 h 141330"/>
                <a:gd name="connsiteX4" fmla="*/ 386777 w 386776"/>
                <a:gd name="connsiteY4" fmla="*/ 107108 h 141330"/>
                <a:gd name="connsiteX5" fmla="*/ 0 w 386776"/>
                <a:gd name="connsiteY5" fmla="*/ 0 h 141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6776" h="141330">
                  <a:moveTo>
                    <a:pt x="0" y="0"/>
                  </a:moveTo>
                  <a:lnTo>
                    <a:pt x="0" y="50579"/>
                  </a:lnTo>
                  <a:cubicBezTo>
                    <a:pt x="0" y="59504"/>
                    <a:pt x="5950" y="68429"/>
                    <a:pt x="14876" y="71405"/>
                  </a:cubicBezTo>
                  <a:cubicBezTo>
                    <a:pt x="65455" y="89256"/>
                    <a:pt x="243967" y="151736"/>
                    <a:pt x="377851" y="139835"/>
                  </a:cubicBezTo>
                  <a:lnTo>
                    <a:pt x="386777" y="107108"/>
                  </a:lnTo>
                  <a:cubicBezTo>
                    <a:pt x="386777" y="107108"/>
                    <a:pt x="29752" y="71405"/>
                    <a:pt x="0" y="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08681CD1-B366-43E8-9BF2-92A4C540C2F8}"/>
                </a:ext>
              </a:extLst>
            </p:cNvPr>
            <p:cNvSpPr/>
            <p:nvPr/>
          </p:nvSpPr>
          <p:spPr>
            <a:xfrm>
              <a:off x="5744323" y="9635087"/>
              <a:ext cx="1255537" cy="1255536"/>
            </a:xfrm>
            <a:custGeom>
              <a:avLst/>
              <a:gdLst>
                <a:gd name="connsiteX0" fmla="*/ 0 w 1255537"/>
                <a:gd name="connsiteY0" fmla="*/ 627768 h 1255536"/>
                <a:gd name="connsiteX1" fmla="*/ 627769 w 1255537"/>
                <a:gd name="connsiteY1" fmla="*/ 1255537 h 1255536"/>
                <a:gd name="connsiteX2" fmla="*/ 1255537 w 1255537"/>
                <a:gd name="connsiteY2" fmla="*/ 627768 h 1255536"/>
                <a:gd name="connsiteX3" fmla="*/ 627769 w 1255537"/>
                <a:gd name="connsiteY3" fmla="*/ 0 h 1255536"/>
                <a:gd name="connsiteX4" fmla="*/ 0 w 1255537"/>
                <a:gd name="connsiteY4" fmla="*/ 627768 h 125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5537" h="1255536">
                  <a:moveTo>
                    <a:pt x="0" y="627768"/>
                  </a:moveTo>
                  <a:cubicBezTo>
                    <a:pt x="0" y="975867"/>
                    <a:pt x="279669" y="1255537"/>
                    <a:pt x="627769" y="1255537"/>
                  </a:cubicBezTo>
                  <a:cubicBezTo>
                    <a:pt x="975868" y="1255537"/>
                    <a:pt x="1255537" y="975867"/>
                    <a:pt x="1255537" y="627768"/>
                  </a:cubicBezTo>
                  <a:cubicBezTo>
                    <a:pt x="1255537" y="279669"/>
                    <a:pt x="975868" y="0"/>
                    <a:pt x="627769" y="0"/>
                  </a:cubicBezTo>
                  <a:cubicBezTo>
                    <a:pt x="279669" y="0"/>
                    <a:pt x="0" y="279669"/>
                    <a:pt x="0" y="627768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43D9C05B-19DA-46DB-81F3-CE0063B0BF05}"/>
                </a:ext>
              </a:extLst>
            </p:cNvPr>
            <p:cNvSpPr/>
            <p:nvPr/>
          </p:nvSpPr>
          <p:spPr>
            <a:xfrm>
              <a:off x="5488456" y="10729963"/>
              <a:ext cx="1767272" cy="1767272"/>
            </a:xfrm>
            <a:custGeom>
              <a:avLst/>
              <a:gdLst>
                <a:gd name="connsiteX0" fmla="*/ 1767273 w 1767272"/>
                <a:gd name="connsiteY0" fmla="*/ 883637 h 1767272"/>
                <a:gd name="connsiteX1" fmla="*/ 883636 w 1767272"/>
                <a:gd name="connsiteY1" fmla="*/ 1767274 h 1767272"/>
                <a:gd name="connsiteX2" fmla="*/ 0 w 1767272"/>
                <a:gd name="connsiteY2" fmla="*/ 883637 h 1767272"/>
                <a:gd name="connsiteX3" fmla="*/ 883636 w 1767272"/>
                <a:gd name="connsiteY3" fmla="*/ 0 h 1767272"/>
                <a:gd name="connsiteX4" fmla="*/ 1767273 w 1767272"/>
                <a:gd name="connsiteY4" fmla="*/ 883637 h 1767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7272" h="1767272">
                  <a:moveTo>
                    <a:pt x="1767273" y="883637"/>
                  </a:moveTo>
                  <a:cubicBezTo>
                    <a:pt x="1767273" y="1371656"/>
                    <a:pt x="1371655" y="1767274"/>
                    <a:pt x="883636" y="1767274"/>
                  </a:cubicBezTo>
                  <a:cubicBezTo>
                    <a:pt x="395618" y="1767274"/>
                    <a:pt x="0" y="1371656"/>
                    <a:pt x="0" y="883637"/>
                  </a:cubicBezTo>
                  <a:cubicBezTo>
                    <a:pt x="0" y="395618"/>
                    <a:pt x="395618" y="0"/>
                    <a:pt x="883636" y="0"/>
                  </a:cubicBezTo>
                  <a:cubicBezTo>
                    <a:pt x="1371655" y="0"/>
                    <a:pt x="1767273" y="395618"/>
                    <a:pt x="1767273" y="883637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A2B5018D-9FF9-46DE-A2CC-DE8AB64F4A18}"/>
                </a:ext>
              </a:extLst>
            </p:cNvPr>
            <p:cNvSpPr/>
            <p:nvPr/>
          </p:nvSpPr>
          <p:spPr>
            <a:xfrm>
              <a:off x="6202505" y="10979880"/>
              <a:ext cx="101156" cy="101156"/>
            </a:xfrm>
            <a:custGeom>
              <a:avLst/>
              <a:gdLst>
                <a:gd name="connsiteX0" fmla="*/ 50578 w 101156"/>
                <a:gd name="connsiteY0" fmla="*/ 0 h 101156"/>
                <a:gd name="connsiteX1" fmla="*/ 101157 w 101156"/>
                <a:gd name="connsiteY1" fmla="*/ 50579 h 101156"/>
                <a:gd name="connsiteX2" fmla="*/ 50578 w 101156"/>
                <a:gd name="connsiteY2" fmla="*/ 101157 h 101156"/>
                <a:gd name="connsiteX3" fmla="*/ 0 w 101156"/>
                <a:gd name="connsiteY3" fmla="*/ 50579 h 101156"/>
                <a:gd name="connsiteX4" fmla="*/ 50578 w 101156"/>
                <a:gd name="connsiteY4" fmla="*/ 0 h 101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156" h="101156">
                  <a:moveTo>
                    <a:pt x="50578" y="0"/>
                  </a:moveTo>
                  <a:cubicBezTo>
                    <a:pt x="77355" y="0"/>
                    <a:pt x="101157" y="23802"/>
                    <a:pt x="101157" y="50579"/>
                  </a:cubicBezTo>
                  <a:cubicBezTo>
                    <a:pt x="101157" y="77356"/>
                    <a:pt x="77355" y="101157"/>
                    <a:pt x="50578" y="101157"/>
                  </a:cubicBezTo>
                  <a:cubicBezTo>
                    <a:pt x="23802" y="101157"/>
                    <a:pt x="0" y="77356"/>
                    <a:pt x="0" y="50579"/>
                  </a:cubicBezTo>
                  <a:cubicBezTo>
                    <a:pt x="0" y="23802"/>
                    <a:pt x="20826" y="0"/>
                    <a:pt x="50578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F76CA0BF-6409-48E4-8B99-065F78F28796}"/>
                </a:ext>
              </a:extLst>
            </p:cNvPr>
            <p:cNvSpPr/>
            <p:nvPr/>
          </p:nvSpPr>
          <p:spPr>
            <a:xfrm>
              <a:off x="6113249" y="11271451"/>
              <a:ext cx="101156" cy="101156"/>
            </a:xfrm>
            <a:custGeom>
              <a:avLst/>
              <a:gdLst>
                <a:gd name="connsiteX0" fmla="*/ 50578 w 101156"/>
                <a:gd name="connsiteY0" fmla="*/ 0 h 101156"/>
                <a:gd name="connsiteX1" fmla="*/ 101157 w 101156"/>
                <a:gd name="connsiteY1" fmla="*/ 50578 h 101156"/>
                <a:gd name="connsiteX2" fmla="*/ 50578 w 101156"/>
                <a:gd name="connsiteY2" fmla="*/ 101157 h 101156"/>
                <a:gd name="connsiteX3" fmla="*/ 0 w 101156"/>
                <a:gd name="connsiteY3" fmla="*/ 50578 h 101156"/>
                <a:gd name="connsiteX4" fmla="*/ 50578 w 101156"/>
                <a:gd name="connsiteY4" fmla="*/ 0 h 101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156" h="101156">
                  <a:moveTo>
                    <a:pt x="50578" y="0"/>
                  </a:moveTo>
                  <a:cubicBezTo>
                    <a:pt x="77355" y="0"/>
                    <a:pt x="101157" y="23801"/>
                    <a:pt x="101157" y="50578"/>
                  </a:cubicBezTo>
                  <a:cubicBezTo>
                    <a:pt x="101157" y="77355"/>
                    <a:pt x="77355" y="101157"/>
                    <a:pt x="50578" y="101157"/>
                  </a:cubicBezTo>
                  <a:cubicBezTo>
                    <a:pt x="23802" y="101157"/>
                    <a:pt x="0" y="77355"/>
                    <a:pt x="0" y="50578"/>
                  </a:cubicBezTo>
                  <a:cubicBezTo>
                    <a:pt x="0" y="23801"/>
                    <a:pt x="20826" y="0"/>
                    <a:pt x="50578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524B1FA8-3CC5-4A9C-936D-9CE02F21DD36}"/>
                </a:ext>
              </a:extLst>
            </p:cNvPr>
            <p:cNvSpPr/>
            <p:nvPr/>
          </p:nvSpPr>
          <p:spPr>
            <a:xfrm>
              <a:off x="6113249" y="11613599"/>
              <a:ext cx="101156" cy="101156"/>
            </a:xfrm>
            <a:custGeom>
              <a:avLst/>
              <a:gdLst>
                <a:gd name="connsiteX0" fmla="*/ 50578 w 101156"/>
                <a:gd name="connsiteY0" fmla="*/ 0 h 101156"/>
                <a:gd name="connsiteX1" fmla="*/ 101157 w 101156"/>
                <a:gd name="connsiteY1" fmla="*/ 50578 h 101156"/>
                <a:gd name="connsiteX2" fmla="*/ 50578 w 101156"/>
                <a:gd name="connsiteY2" fmla="*/ 101157 h 101156"/>
                <a:gd name="connsiteX3" fmla="*/ 0 w 101156"/>
                <a:gd name="connsiteY3" fmla="*/ 50578 h 101156"/>
                <a:gd name="connsiteX4" fmla="*/ 50578 w 101156"/>
                <a:gd name="connsiteY4" fmla="*/ 0 h 101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156" h="101156">
                  <a:moveTo>
                    <a:pt x="50578" y="0"/>
                  </a:moveTo>
                  <a:cubicBezTo>
                    <a:pt x="77355" y="0"/>
                    <a:pt x="101157" y="23801"/>
                    <a:pt x="101157" y="50578"/>
                  </a:cubicBezTo>
                  <a:cubicBezTo>
                    <a:pt x="101157" y="77355"/>
                    <a:pt x="77355" y="101157"/>
                    <a:pt x="50578" y="101157"/>
                  </a:cubicBezTo>
                  <a:cubicBezTo>
                    <a:pt x="23802" y="101157"/>
                    <a:pt x="0" y="77355"/>
                    <a:pt x="0" y="50578"/>
                  </a:cubicBezTo>
                  <a:cubicBezTo>
                    <a:pt x="0" y="20826"/>
                    <a:pt x="20826" y="0"/>
                    <a:pt x="50578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239B0F03-E3F5-42EA-81E2-102243D3D37E}"/>
                </a:ext>
              </a:extLst>
            </p:cNvPr>
            <p:cNvSpPr/>
            <p:nvPr/>
          </p:nvSpPr>
          <p:spPr>
            <a:xfrm>
              <a:off x="5227996" y="9215583"/>
              <a:ext cx="233682" cy="244951"/>
            </a:xfrm>
            <a:custGeom>
              <a:avLst/>
              <a:gdLst>
                <a:gd name="connsiteX0" fmla="*/ 212856 w 233682"/>
                <a:gd name="connsiteY0" fmla="*/ 169586 h 244951"/>
                <a:gd name="connsiteX1" fmla="*/ 227732 w 233682"/>
                <a:gd name="connsiteY1" fmla="*/ 124958 h 244951"/>
                <a:gd name="connsiteX2" fmla="*/ 233682 w 233682"/>
                <a:gd name="connsiteY2" fmla="*/ 92231 h 244951"/>
                <a:gd name="connsiteX3" fmla="*/ 206906 w 233682"/>
                <a:gd name="connsiteY3" fmla="*/ 44628 h 244951"/>
                <a:gd name="connsiteX4" fmla="*/ 186079 w 233682"/>
                <a:gd name="connsiteY4" fmla="*/ 0 h 244951"/>
                <a:gd name="connsiteX5" fmla="*/ 4591 w 233682"/>
                <a:gd name="connsiteY5" fmla="*/ 127934 h 244951"/>
                <a:gd name="connsiteX6" fmla="*/ 13517 w 233682"/>
                <a:gd name="connsiteY6" fmla="*/ 223141 h 244951"/>
                <a:gd name="connsiteX7" fmla="*/ 84922 w 233682"/>
                <a:gd name="connsiteY7" fmla="*/ 240992 h 244951"/>
                <a:gd name="connsiteX8" fmla="*/ 189054 w 233682"/>
                <a:gd name="connsiteY8" fmla="*/ 199338 h 244951"/>
                <a:gd name="connsiteX9" fmla="*/ 212856 w 233682"/>
                <a:gd name="connsiteY9" fmla="*/ 169586 h 244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3682" h="244951">
                  <a:moveTo>
                    <a:pt x="212856" y="169586"/>
                  </a:moveTo>
                  <a:cubicBezTo>
                    <a:pt x="212856" y="160661"/>
                    <a:pt x="224757" y="142810"/>
                    <a:pt x="227732" y="124958"/>
                  </a:cubicBezTo>
                  <a:cubicBezTo>
                    <a:pt x="227732" y="121984"/>
                    <a:pt x="233682" y="104132"/>
                    <a:pt x="233682" y="92231"/>
                  </a:cubicBezTo>
                  <a:cubicBezTo>
                    <a:pt x="230707" y="80330"/>
                    <a:pt x="192029" y="56529"/>
                    <a:pt x="206906" y="44628"/>
                  </a:cubicBezTo>
                  <a:cubicBezTo>
                    <a:pt x="215831" y="38677"/>
                    <a:pt x="195005" y="0"/>
                    <a:pt x="186079" y="0"/>
                  </a:cubicBezTo>
                  <a:cubicBezTo>
                    <a:pt x="132525" y="11901"/>
                    <a:pt x="-4334" y="47603"/>
                    <a:pt x="4591" y="127934"/>
                  </a:cubicBezTo>
                  <a:cubicBezTo>
                    <a:pt x="4591" y="127934"/>
                    <a:pt x="-10285" y="190413"/>
                    <a:pt x="13517" y="223141"/>
                  </a:cubicBezTo>
                  <a:cubicBezTo>
                    <a:pt x="46244" y="217190"/>
                    <a:pt x="75996" y="235041"/>
                    <a:pt x="84922" y="240992"/>
                  </a:cubicBezTo>
                  <a:cubicBezTo>
                    <a:pt x="123600" y="258842"/>
                    <a:pt x="156327" y="211240"/>
                    <a:pt x="189054" y="199338"/>
                  </a:cubicBezTo>
                  <a:cubicBezTo>
                    <a:pt x="209881" y="187438"/>
                    <a:pt x="215831" y="184462"/>
                    <a:pt x="212856" y="169586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BFD580C1-037A-46B3-B66F-296E5A3EB6FE}"/>
                </a:ext>
              </a:extLst>
            </p:cNvPr>
            <p:cNvSpPr/>
            <p:nvPr/>
          </p:nvSpPr>
          <p:spPr>
            <a:xfrm>
              <a:off x="4056477" y="8869791"/>
              <a:ext cx="1215506" cy="708340"/>
            </a:xfrm>
            <a:custGeom>
              <a:avLst/>
              <a:gdLst>
                <a:gd name="connsiteX0" fmla="*/ 393631 w 1215506"/>
                <a:gd name="connsiteY0" fmla="*/ 191080 h 708340"/>
                <a:gd name="connsiteX1" fmla="*/ 691152 w 1215506"/>
                <a:gd name="connsiteY1" fmla="*/ 432072 h 708340"/>
                <a:gd name="connsiteX2" fmla="*/ 1190987 w 1215506"/>
                <a:gd name="connsiteY2" fmla="*/ 405295 h 708340"/>
                <a:gd name="connsiteX3" fmla="*/ 1214789 w 1215506"/>
                <a:gd name="connsiteY3" fmla="*/ 568932 h 708340"/>
                <a:gd name="connsiteX4" fmla="*/ 607846 w 1215506"/>
                <a:gd name="connsiteY4" fmla="*/ 693890 h 708340"/>
                <a:gd name="connsiteX5" fmla="*/ 57433 w 1215506"/>
                <a:gd name="connsiteY5" fmla="*/ 307114 h 708340"/>
                <a:gd name="connsiteX6" fmla="*/ 27681 w 1215506"/>
                <a:gd name="connsiteY6" fmla="*/ 21493 h 708340"/>
                <a:gd name="connsiteX7" fmla="*/ 393631 w 1215506"/>
                <a:gd name="connsiteY7" fmla="*/ 191080 h 708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5506" h="708340">
                  <a:moveTo>
                    <a:pt x="393631" y="191080"/>
                  </a:moveTo>
                  <a:cubicBezTo>
                    <a:pt x="459086" y="247609"/>
                    <a:pt x="610821" y="393394"/>
                    <a:pt x="691152" y="432072"/>
                  </a:cubicBezTo>
                  <a:cubicBezTo>
                    <a:pt x="807185" y="488601"/>
                    <a:pt x="1137433" y="321990"/>
                    <a:pt x="1190987" y="405295"/>
                  </a:cubicBezTo>
                  <a:cubicBezTo>
                    <a:pt x="1211813" y="476700"/>
                    <a:pt x="1217764" y="509428"/>
                    <a:pt x="1214789" y="568932"/>
                  </a:cubicBezTo>
                  <a:cubicBezTo>
                    <a:pt x="1220739" y="664138"/>
                    <a:pt x="819086" y="741493"/>
                    <a:pt x="607846" y="693890"/>
                  </a:cubicBezTo>
                  <a:cubicBezTo>
                    <a:pt x="542392" y="679014"/>
                    <a:pt x="167516" y="399345"/>
                    <a:pt x="57433" y="307114"/>
                  </a:cubicBezTo>
                  <a:cubicBezTo>
                    <a:pt x="-8021" y="253560"/>
                    <a:pt x="-16947" y="66122"/>
                    <a:pt x="27681" y="21493"/>
                  </a:cubicBezTo>
                  <a:cubicBezTo>
                    <a:pt x="99086" y="-52887"/>
                    <a:pt x="268673" y="80998"/>
                    <a:pt x="393631" y="191080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CEC1D88D-17D1-4DD0-B86D-80033E96B85A}"/>
                </a:ext>
              </a:extLst>
            </p:cNvPr>
            <p:cNvSpPr/>
            <p:nvPr/>
          </p:nvSpPr>
          <p:spPr>
            <a:xfrm>
              <a:off x="3774737" y="8659219"/>
              <a:ext cx="300495" cy="309421"/>
            </a:xfrm>
            <a:custGeom>
              <a:avLst/>
              <a:gdLst>
                <a:gd name="connsiteX0" fmla="*/ 240992 w 300495"/>
                <a:gd name="connsiteY0" fmla="*/ 53554 h 309421"/>
                <a:gd name="connsiteX1" fmla="*/ 300496 w 300495"/>
                <a:gd name="connsiteY1" fmla="*/ 187438 h 309421"/>
                <a:gd name="connsiteX2" fmla="*/ 267769 w 300495"/>
                <a:gd name="connsiteY2" fmla="*/ 309422 h 309421"/>
                <a:gd name="connsiteX3" fmla="*/ 0 w 300495"/>
                <a:gd name="connsiteY3" fmla="*/ 184463 h 309421"/>
                <a:gd name="connsiteX4" fmla="*/ 41653 w 300495"/>
                <a:gd name="connsiteY4" fmla="*/ 0 h 309421"/>
                <a:gd name="connsiteX5" fmla="*/ 240992 w 300495"/>
                <a:gd name="connsiteY5" fmla="*/ 53554 h 309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0495" h="309421">
                  <a:moveTo>
                    <a:pt x="240992" y="53554"/>
                  </a:moveTo>
                  <a:cubicBezTo>
                    <a:pt x="240992" y="53554"/>
                    <a:pt x="240992" y="160661"/>
                    <a:pt x="300496" y="187438"/>
                  </a:cubicBezTo>
                  <a:lnTo>
                    <a:pt x="267769" y="309422"/>
                  </a:lnTo>
                  <a:cubicBezTo>
                    <a:pt x="267769" y="309422"/>
                    <a:pt x="50579" y="214215"/>
                    <a:pt x="0" y="184463"/>
                  </a:cubicBezTo>
                  <a:cubicBezTo>
                    <a:pt x="50579" y="139835"/>
                    <a:pt x="44628" y="59504"/>
                    <a:pt x="41653" y="0"/>
                  </a:cubicBezTo>
                  <a:cubicBezTo>
                    <a:pt x="41653" y="2975"/>
                    <a:pt x="190413" y="62480"/>
                    <a:pt x="240992" y="53554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EF1AA0B7-F2E8-42AC-9A18-6759782510B7}"/>
                </a:ext>
              </a:extLst>
            </p:cNvPr>
            <p:cNvSpPr/>
            <p:nvPr/>
          </p:nvSpPr>
          <p:spPr>
            <a:xfrm>
              <a:off x="4255398" y="8910789"/>
              <a:ext cx="111576" cy="542810"/>
            </a:xfrm>
            <a:custGeom>
              <a:avLst/>
              <a:gdLst>
                <a:gd name="connsiteX0" fmla="*/ 69752 w 111576"/>
                <a:gd name="connsiteY0" fmla="*/ 542810 h 542810"/>
                <a:gd name="connsiteX1" fmla="*/ 69752 w 111576"/>
                <a:gd name="connsiteY1" fmla="*/ 542810 h 542810"/>
                <a:gd name="connsiteX2" fmla="*/ 63802 w 111576"/>
                <a:gd name="connsiteY2" fmla="*/ 536859 h 542810"/>
                <a:gd name="connsiteX3" fmla="*/ 75702 w 111576"/>
                <a:gd name="connsiteY3" fmla="*/ 483306 h 542810"/>
                <a:gd name="connsiteX4" fmla="*/ 102479 w 111576"/>
                <a:gd name="connsiteY4" fmla="*/ 337521 h 542810"/>
                <a:gd name="connsiteX5" fmla="*/ 1322 w 111576"/>
                <a:gd name="connsiteY5" fmla="*/ 10248 h 542810"/>
                <a:gd name="connsiteX6" fmla="*/ 1322 w 111576"/>
                <a:gd name="connsiteY6" fmla="*/ 1322 h 542810"/>
                <a:gd name="connsiteX7" fmla="*/ 10248 w 111576"/>
                <a:gd name="connsiteY7" fmla="*/ 1322 h 542810"/>
                <a:gd name="connsiteX8" fmla="*/ 111405 w 111576"/>
                <a:gd name="connsiteY8" fmla="*/ 334546 h 542810"/>
                <a:gd name="connsiteX9" fmla="*/ 84628 w 111576"/>
                <a:gd name="connsiteY9" fmla="*/ 483306 h 542810"/>
                <a:gd name="connsiteX10" fmla="*/ 72727 w 111576"/>
                <a:gd name="connsiteY10" fmla="*/ 536859 h 542810"/>
                <a:gd name="connsiteX11" fmla="*/ 69752 w 111576"/>
                <a:gd name="connsiteY11" fmla="*/ 542810 h 54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1576" h="542810">
                  <a:moveTo>
                    <a:pt x="69752" y="542810"/>
                  </a:moveTo>
                  <a:cubicBezTo>
                    <a:pt x="69752" y="542810"/>
                    <a:pt x="66777" y="542810"/>
                    <a:pt x="69752" y="542810"/>
                  </a:cubicBezTo>
                  <a:cubicBezTo>
                    <a:pt x="66777" y="542810"/>
                    <a:pt x="63802" y="539835"/>
                    <a:pt x="63802" y="536859"/>
                  </a:cubicBezTo>
                  <a:cubicBezTo>
                    <a:pt x="66777" y="519008"/>
                    <a:pt x="72727" y="501157"/>
                    <a:pt x="75702" y="483306"/>
                  </a:cubicBezTo>
                  <a:cubicBezTo>
                    <a:pt x="87603" y="432727"/>
                    <a:pt x="102479" y="382149"/>
                    <a:pt x="102479" y="337521"/>
                  </a:cubicBezTo>
                  <a:cubicBezTo>
                    <a:pt x="105455" y="218512"/>
                    <a:pt x="69752" y="108430"/>
                    <a:pt x="1322" y="10248"/>
                  </a:cubicBezTo>
                  <a:cubicBezTo>
                    <a:pt x="-1653" y="7273"/>
                    <a:pt x="1322" y="4298"/>
                    <a:pt x="1322" y="1322"/>
                  </a:cubicBezTo>
                  <a:cubicBezTo>
                    <a:pt x="4297" y="-1653"/>
                    <a:pt x="7273" y="1322"/>
                    <a:pt x="10248" y="1322"/>
                  </a:cubicBezTo>
                  <a:cubicBezTo>
                    <a:pt x="78678" y="102479"/>
                    <a:pt x="114380" y="212562"/>
                    <a:pt x="111405" y="334546"/>
                  </a:cubicBezTo>
                  <a:cubicBezTo>
                    <a:pt x="111405" y="379174"/>
                    <a:pt x="96529" y="432727"/>
                    <a:pt x="84628" y="483306"/>
                  </a:cubicBezTo>
                  <a:cubicBezTo>
                    <a:pt x="78678" y="501157"/>
                    <a:pt x="75702" y="521983"/>
                    <a:pt x="72727" y="536859"/>
                  </a:cubicBezTo>
                  <a:cubicBezTo>
                    <a:pt x="72727" y="542810"/>
                    <a:pt x="72727" y="542810"/>
                    <a:pt x="69752" y="542810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AD71370C-60CB-48BB-932A-AEE15F32C29B}"/>
                </a:ext>
              </a:extLst>
            </p:cNvPr>
            <p:cNvSpPr/>
            <p:nvPr/>
          </p:nvSpPr>
          <p:spPr>
            <a:xfrm>
              <a:off x="3384984" y="8828706"/>
              <a:ext cx="1109765" cy="1483450"/>
            </a:xfrm>
            <a:custGeom>
              <a:avLst/>
              <a:gdLst>
                <a:gd name="connsiteX0" fmla="*/ 184463 w 1109765"/>
                <a:gd name="connsiteY0" fmla="*/ 853983 h 1483450"/>
                <a:gd name="connsiteX1" fmla="*/ 163636 w 1109765"/>
                <a:gd name="connsiteY1" fmla="*/ 398777 h 1483450"/>
                <a:gd name="connsiteX2" fmla="*/ 151736 w 1109765"/>
                <a:gd name="connsiteY2" fmla="*/ 133984 h 1483450"/>
                <a:gd name="connsiteX3" fmla="*/ 401653 w 1109765"/>
                <a:gd name="connsiteY3" fmla="*/ 6050 h 1483450"/>
                <a:gd name="connsiteX4" fmla="*/ 669422 w 1109765"/>
                <a:gd name="connsiteY4" fmla="*/ 100 h 1483450"/>
                <a:gd name="connsiteX5" fmla="*/ 1017521 w 1109765"/>
                <a:gd name="connsiteY5" fmla="*/ 464232 h 1483450"/>
                <a:gd name="connsiteX6" fmla="*/ 996694 w 1109765"/>
                <a:gd name="connsiteY6" fmla="*/ 693322 h 1483450"/>
                <a:gd name="connsiteX7" fmla="*/ 1008595 w 1109765"/>
                <a:gd name="connsiteY7" fmla="*/ 919438 h 1483450"/>
                <a:gd name="connsiteX8" fmla="*/ 1109752 w 1109765"/>
                <a:gd name="connsiteY8" fmla="*/ 1395471 h 1483450"/>
                <a:gd name="connsiteX9" fmla="*/ 0 w 1109765"/>
                <a:gd name="connsiteY9" fmla="*/ 1377620 h 1483450"/>
                <a:gd name="connsiteX10" fmla="*/ 184463 w 1109765"/>
                <a:gd name="connsiteY10" fmla="*/ 853983 h 1483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09765" h="1483450">
                  <a:moveTo>
                    <a:pt x="184463" y="853983"/>
                  </a:moveTo>
                  <a:cubicBezTo>
                    <a:pt x="208264" y="702249"/>
                    <a:pt x="208264" y="544562"/>
                    <a:pt x="163636" y="398777"/>
                  </a:cubicBezTo>
                  <a:cubicBezTo>
                    <a:pt x="136860" y="312496"/>
                    <a:pt x="95207" y="220265"/>
                    <a:pt x="151736" y="133984"/>
                  </a:cubicBezTo>
                  <a:cubicBezTo>
                    <a:pt x="199339" y="62579"/>
                    <a:pt x="324298" y="20926"/>
                    <a:pt x="401653" y="6050"/>
                  </a:cubicBezTo>
                  <a:cubicBezTo>
                    <a:pt x="401653" y="6050"/>
                    <a:pt x="675372" y="6050"/>
                    <a:pt x="669422" y="100"/>
                  </a:cubicBezTo>
                  <a:cubicBezTo>
                    <a:pt x="919339" y="-5851"/>
                    <a:pt x="1029421" y="255967"/>
                    <a:pt x="1017521" y="464232"/>
                  </a:cubicBezTo>
                  <a:cubicBezTo>
                    <a:pt x="1011570" y="541587"/>
                    <a:pt x="996694" y="615967"/>
                    <a:pt x="996694" y="693322"/>
                  </a:cubicBezTo>
                  <a:cubicBezTo>
                    <a:pt x="996694" y="767703"/>
                    <a:pt x="1002645" y="845058"/>
                    <a:pt x="1008595" y="919438"/>
                  </a:cubicBezTo>
                  <a:cubicBezTo>
                    <a:pt x="1020496" y="1080099"/>
                    <a:pt x="1082975" y="1237786"/>
                    <a:pt x="1109752" y="1395471"/>
                  </a:cubicBezTo>
                  <a:cubicBezTo>
                    <a:pt x="1112727" y="1413323"/>
                    <a:pt x="624793" y="1594811"/>
                    <a:pt x="0" y="1377620"/>
                  </a:cubicBezTo>
                  <a:cubicBezTo>
                    <a:pt x="53554" y="1246711"/>
                    <a:pt x="163636" y="990843"/>
                    <a:pt x="184463" y="853983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CC4D9BE8-C1B3-4227-B019-C3B416109C65}"/>
                </a:ext>
              </a:extLst>
            </p:cNvPr>
            <p:cNvSpPr/>
            <p:nvPr/>
          </p:nvSpPr>
          <p:spPr>
            <a:xfrm>
              <a:off x="4331100" y="8995417"/>
              <a:ext cx="74746" cy="734875"/>
            </a:xfrm>
            <a:custGeom>
              <a:avLst/>
              <a:gdLst>
                <a:gd name="connsiteX0" fmla="*/ 56529 w 74746"/>
                <a:gd name="connsiteY0" fmla="*/ 734876 h 734875"/>
                <a:gd name="connsiteX1" fmla="*/ 50578 w 74746"/>
                <a:gd name="connsiteY1" fmla="*/ 728926 h 734875"/>
                <a:gd name="connsiteX2" fmla="*/ 56529 w 74746"/>
                <a:gd name="connsiteY2" fmla="*/ 318347 h 734875"/>
                <a:gd name="connsiteX3" fmla="*/ 62479 w 74746"/>
                <a:gd name="connsiteY3" fmla="*/ 252893 h 734875"/>
                <a:gd name="connsiteX4" fmla="*/ 0 w 74746"/>
                <a:gd name="connsiteY4" fmla="*/ 5950 h 734875"/>
                <a:gd name="connsiteX5" fmla="*/ 2975 w 74746"/>
                <a:gd name="connsiteY5" fmla="*/ 0 h 734875"/>
                <a:gd name="connsiteX6" fmla="*/ 8925 w 74746"/>
                <a:gd name="connsiteY6" fmla="*/ 2975 h 734875"/>
                <a:gd name="connsiteX7" fmla="*/ 74380 w 74746"/>
                <a:gd name="connsiteY7" fmla="*/ 255868 h 734875"/>
                <a:gd name="connsiteX8" fmla="*/ 68430 w 74746"/>
                <a:gd name="connsiteY8" fmla="*/ 321322 h 734875"/>
                <a:gd name="connsiteX9" fmla="*/ 62479 w 74746"/>
                <a:gd name="connsiteY9" fmla="*/ 728926 h 734875"/>
                <a:gd name="connsiteX10" fmla="*/ 56529 w 74746"/>
                <a:gd name="connsiteY10" fmla="*/ 734876 h 734875"/>
                <a:gd name="connsiteX11" fmla="*/ 56529 w 74746"/>
                <a:gd name="connsiteY11" fmla="*/ 734876 h 73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746" h="734875">
                  <a:moveTo>
                    <a:pt x="56529" y="734876"/>
                  </a:moveTo>
                  <a:cubicBezTo>
                    <a:pt x="53554" y="734876"/>
                    <a:pt x="50578" y="731901"/>
                    <a:pt x="50578" y="728926"/>
                  </a:cubicBezTo>
                  <a:cubicBezTo>
                    <a:pt x="32727" y="612892"/>
                    <a:pt x="47603" y="434380"/>
                    <a:pt x="56529" y="318347"/>
                  </a:cubicBezTo>
                  <a:cubicBezTo>
                    <a:pt x="59504" y="294546"/>
                    <a:pt x="59504" y="273719"/>
                    <a:pt x="62479" y="252893"/>
                  </a:cubicBezTo>
                  <a:cubicBezTo>
                    <a:pt x="68430" y="151736"/>
                    <a:pt x="0" y="5950"/>
                    <a:pt x="0" y="5950"/>
                  </a:cubicBezTo>
                  <a:cubicBezTo>
                    <a:pt x="0" y="2975"/>
                    <a:pt x="0" y="0"/>
                    <a:pt x="2975" y="0"/>
                  </a:cubicBezTo>
                  <a:cubicBezTo>
                    <a:pt x="5950" y="0"/>
                    <a:pt x="8925" y="0"/>
                    <a:pt x="8925" y="2975"/>
                  </a:cubicBezTo>
                  <a:cubicBezTo>
                    <a:pt x="11901" y="8926"/>
                    <a:pt x="80330" y="151736"/>
                    <a:pt x="74380" y="255868"/>
                  </a:cubicBezTo>
                  <a:cubicBezTo>
                    <a:pt x="74380" y="273719"/>
                    <a:pt x="71405" y="294546"/>
                    <a:pt x="68430" y="321322"/>
                  </a:cubicBezTo>
                  <a:cubicBezTo>
                    <a:pt x="59504" y="437355"/>
                    <a:pt x="44628" y="612892"/>
                    <a:pt x="62479" y="728926"/>
                  </a:cubicBezTo>
                  <a:cubicBezTo>
                    <a:pt x="62479" y="731901"/>
                    <a:pt x="62479" y="734876"/>
                    <a:pt x="56529" y="734876"/>
                  </a:cubicBezTo>
                  <a:cubicBezTo>
                    <a:pt x="59504" y="734876"/>
                    <a:pt x="56529" y="734876"/>
                    <a:pt x="56529" y="734876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1AAAA740-D902-42CE-BB90-E5A218B5759F}"/>
                </a:ext>
              </a:extLst>
            </p:cNvPr>
            <p:cNvSpPr/>
            <p:nvPr/>
          </p:nvSpPr>
          <p:spPr>
            <a:xfrm>
              <a:off x="2998208" y="9947484"/>
              <a:ext cx="112114" cy="165994"/>
            </a:xfrm>
            <a:custGeom>
              <a:avLst/>
              <a:gdLst>
                <a:gd name="connsiteX0" fmla="*/ 0 w 112114"/>
                <a:gd name="connsiteY0" fmla="*/ 0 h 165994"/>
                <a:gd name="connsiteX1" fmla="*/ 98182 w 112114"/>
                <a:gd name="connsiteY1" fmla="*/ 95206 h 165994"/>
                <a:gd name="connsiteX2" fmla="*/ 107107 w 112114"/>
                <a:gd name="connsiteY2" fmla="*/ 163636 h 165994"/>
                <a:gd name="connsiteX3" fmla="*/ 38678 w 112114"/>
                <a:gd name="connsiteY3" fmla="*/ 89256 h 165994"/>
                <a:gd name="connsiteX4" fmla="*/ 0 w 112114"/>
                <a:gd name="connsiteY4" fmla="*/ 0 h 165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14" h="165994">
                  <a:moveTo>
                    <a:pt x="0" y="0"/>
                  </a:moveTo>
                  <a:cubicBezTo>
                    <a:pt x="0" y="0"/>
                    <a:pt x="80331" y="35702"/>
                    <a:pt x="98182" y="95206"/>
                  </a:cubicBezTo>
                  <a:cubicBezTo>
                    <a:pt x="107107" y="119008"/>
                    <a:pt x="119008" y="154710"/>
                    <a:pt x="107107" y="163636"/>
                  </a:cubicBezTo>
                  <a:cubicBezTo>
                    <a:pt x="77355" y="181487"/>
                    <a:pt x="68430" y="92231"/>
                    <a:pt x="38678" y="89256"/>
                  </a:cubicBezTo>
                  <a:cubicBezTo>
                    <a:pt x="23802" y="8628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5" name="图形 1">
              <a:extLst>
                <a:ext uri="{FF2B5EF4-FFF2-40B4-BE49-F238E27FC236}">
                  <a16:creationId xmlns:a16="http://schemas.microsoft.com/office/drawing/2014/main" id="{270E8709-48BB-4D39-A3B2-4F61EDD16C16}"/>
                </a:ext>
              </a:extLst>
            </p:cNvPr>
            <p:cNvGrpSpPr/>
            <p:nvPr/>
          </p:nvGrpSpPr>
          <p:grpSpPr>
            <a:xfrm>
              <a:off x="2860957" y="9887979"/>
              <a:ext cx="196199" cy="250516"/>
              <a:chOff x="2860957" y="9887979"/>
              <a:chExt cx="196199" cy="250516"/>
            </a:xfrm>
          </p:grpSpPr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FF167228-96D4-4672-B973-30ADC32642FF}"/>
                  </a:ext>
                </a:extLst>
              </p:cNvPr>
              <p:cNvSpPr/>
              <p:nvPr/>
            </p:nvSpPr>
            <p:spPr>
              <a:xfrm>
                <a:off x="2860957" y="9887979"/>
                <a:ext cx="185703" cy="250516"/>
              </a:xfrm>
              <a:custGeom>
                <a:avLst/>
                <a:gdLst>
                  <a:gd name="connsiteX0" fmla="*/ 59895 w 185703"/>
                  <a:gd name="connsiteY0" fmla="*/ 17851 h 250516"/>
                  <a:gd name="connsiteX1" fmla="*/ 3366 w 185703"/>
                  <a:gd name="connsiteY1" fmla="*/ 214214 h 250516"/>
                  <a:gd name="connsiteX2" fmla="*/ 45019 w 185703"/>
                  <a:gd name="connsiteY2" fmla="*/ 226115 h 250516"/>
                  <a:gd name="connsiteX3" fmla="*/ 68821 w 185703"/>
                  <a:gd name="connsiteY3" fmla="*/ 249917 h 250516"/>
                  <a:gd name="connsiteX4" fmla="*/ 95597 w 185703"/>
                  <a:gd name="connsiteY4" fmla="*/ 240991 h 250516"/>
                  <a:gd name="connsiteX5" fmla="*/ 140226 w 185703"/>
                  <a:gd name="connsiteY5" fmla="*/ 235041 h 250516"/>
                  <a:gd name="connsiteX6" fmla="*/ 169978 w 185703"/>
                  <a:gd name="connsiteY6" fmla="*/ 238017 h 250516"/>
                  <a:gd name="connsiteX7" fmla="*/ 178903 w 185703"/>
                  <a:gd name="connsiteY7" fmla="*/ 187438 h 250516"/>
                  <a:gd name="connsiteX8" fmla="*/ 167002 w 185703"/>
                  <a:gd name="connsiteY8" fmla="*/ 0 h 250516"/>
                  <a:gd name="connsiteX9" fmla="*/ 59895 w 185703"/>
                  <a:gd name="connsiteY9" fmla="*/ 17851 h 250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5703" h="250516">
                    <a:moveTo>
                      <a:pt x="59895" y="17851"/>
                    </a:moveTo>
                    <a:cubicBezTo>
                      <a:pt x="-8535" y="83305"/>
                      <a:pt x="-2584" y="187438"/>
                      <a:pt x="3366" y="214214"/>
                    </a:cubicBezTo>
                    <a:cubicBezTo>
                      <a:pt x="9316" y="235041"/>
                      <a:pt x="30143" y="238017"/>
                      <a:pt x="45019" y="226115"/>
                    </a:cubicBezTo>
                    <a:cubicBezTo>
                      <a:pt x="47994" y="240991"/>
                      <a:pt x="53945" y="246942"/>
                      <a:pt x="68821" y="249917"/>
                    </a:cubicBezTo>
                    <a:cubicBezTo>
                      <a:pt x="74771" y="249917"/>
                      <a:pt x="89647" y="243966"/>
                      <a:pt x="95597" y="240991"/>
                    </a:cubicBezTo>
                    <a:cubicBezTo>
                      <a:pt x="98573" y="255867"/>
                      <a:pt x="134275" y="252893"/>
                      <a:pt x="140226" y="235041"/>
                    </a:cubicBezTo>
                    <a:cubicBezTo>
                      <a:pt x="149151" y="246942"/>
                      <a:pt x="164027" y="240991"/>
                      <a:pt x="169978" y="238017"/>
                    </a:cubicBezTo>
                    <a:cubicBezTo>
                      <a:pt x="196755" y="226115"/>
                      <a:pt x="181878" y="199338"/>
                      <a:pt x="178903" y="187438"/>
                    </a:cubicBezTo>
                    <a:cubicBezTo>
                      <a:pt x="169978" y="113057"/>
                      <a:pt x="187829" y="74380"/>
                      <a:pt x="167002" y="0"/>
                    </a:cubicBezTo>
                    <a:cubicBezTo>
                      <a:pt x="169978" y="0"/>
                      <a:pt x="77746" y="2974"/>
                      <a:pt x="59895" y="17851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F5404BA7-1CAF-4319-AA06-2AAA16A16E0B}"/>
                  </a:ext>
                </a:extLst>
              </p:cNvPr>
              <p:cNvSpPr/>
              <p:nvPr/>
            </p:nvSpPr>
            <p:spPr>
              <a:xfrm>
                <a:off x="2995232" y="9996829"/>
                <a:ext cx="61924" cy="138092"/>
              </a:xfrm>
              <a:custGeom>
                <a:avLst/>
                <a:gdLst>
                  <a:gd name="connsiteX0" fmla="*/ 29752 w 61924"/>
                  <a:gd name="connsiteY0" fmla="*/ 138092 h 138092"/>
                  <a:gd name="connsiteX1" fmla="*/ 2975 w 61924"/>
                  <a:gd name="connsiteY1" fmla="*/ 132141 h 138092"/>
                  <a:gd name="connsiteX2" fmla="*/ 0 w 61924"/>
                  <a:gd name="connsiteY2" fmla="*/ 123216 h 138092"/>
                  <a:gd name="connsiteX3" fmla="*/ 8926 w 61924"/>
                  <a:gd name="connsiteY3" fmla="*/ 120241 h 138092"/>
                  <a:gd name="connsiteX4" fmla="*/ 38678 w 61924"/>
                  <a:gd name="connsiteY4" fmla="*/ 123216 h 138092"/>
                  <a:gd name="connsiteX5" fmla="*/ 47603 w 61924"/>
                  <a:gd name="connsiteY5" fmla="*/ 111315 h 138092"/>
                  <a:gd name="connsiteX6" fmla="*/ 20826 w 61924"/>
                  <a:gd name="connsiteY6" fmla="*/ 10159 h 138092"/>
                  <a:gd name="connsiteX7" fmla="*/ 23802 w 61924"/>
                  <a:gd name="connsiteY7" fmla="*/ 1232 h 138092"/>
                  <a:gd name="connsiteX8" fmla="*/ 32727 w 61924"/>
                  <a:gd name="connsiteY8" fmla="*/ 4208 h 138092"/>
                  <a:gd name="connsiteX9" fmla="*/ 59504 w 61924"/>
                  <a:gd name="connsiteY9" fmla="*/ 111315 h 138092"/>
                  <a:gd name="connsiteX10" fmla="*/ 44628 w 61924"/>
                  <a:gd name="connsiteY10" fmla="*/ 129167 h 138092"/>
                  <a:gd name="connsiteX11" fmla="*/ 29752 w 61924"/>
                  <a:gd name="connsiteY11" fmla="*/ 138092 h 138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1924" h="138092">
                    <a:moveTo>
                      <a:pt x="29752" y="138092"/>
                    </a:moveTo>
                    <a:cubicBezTo>
                      <a:pt x="17851" y="138092"/>
                      <a:pt x="5950" y="132141"/>
                      <a:pt x="2975" y="132141"/>
                    </a:cubicBezTo>
                    <a:cubicBezTo>
                      <a:pt x="0" y="132141"/>
                      <a:pt x="0" y="126191"/>
                      <a:pt x="0" y="123216"/>
                    </a:cubicBezTo>
                    <a:cubicBezTo>
                      <a:pt x="0" y="120241"/>
                      <a:pt x="5950" y="120241"/>
                      <a:pt x="8926" y="120241"/>
                    </a:cubicBezTo>
                    <a:cubicBezTo>
                      <a:pt x="14876" y="123216"/>
                      <a:pt x="29752" y="129167"/>
                      <a:pt x="38678" y="123216"/>
                    </a:cubicBezTo>
                    <a:cubicBezTo>
                      <a:pt x="41653" y="120241"/>
                      <a:pt x="44628" y="117265"/>
                      <a:pt x="47603" y="111315"/>
                    </a:cubicBezTo>
                    <a:cubicBezTo>
                      <a:pt x="56529" y="78588"/>
                      <a:pt x="20826" y="13133"/>
                      <a:pt x="20826" y="10159"/>
                    </a:cubicBezTo>
                    <a:cubicBezTo>
                      <a:pt x="17851" y="7183"/>
                      <a:pt x="20826" y="4208"/>
                      <a:pt x="23802" y="1232"/>
                    </a:cubicBezTo>
                    <a:cubicBezTo>
                      <a:pt x="26777" y="-1743"/>
                      <a:pt x="29752" y="1232"/>
                      <a:pt x="32727" y="4208"/>
                    </a:cubicBezTo>
                    <a:cubicBezTo>
                      <a:pt x="35703" y="7183"/>
                      <a:pt x="71405" y="75613"/>
                      <a:pt x="59504" y="111315"/>
                    </a:cubicBezTo>
                    <a:cubicBezTo>
                      <a:pt x="56529" y="120241"/>
                      <a:pt x="53554" y="126191"/>
                      <a:pt x="44628" y="129167"/>
                    </a:cubicBezTo>
                    <a:cubicBezTo>
                      <a:pt x="38678" y="135117"/>
                      <a:pt x="35703" y="138092"/>
                      <a:pt x="29752" y="13809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42289472-61E5-4190-82BF-14C537EE599B}"/>
                  </a:ext>
                </a:extLst>
              </p:cNvPr>
              <p:cNvSpPr/>
              <p:nvPr/>
            </p:nvSpPr>
            <p:spPr>
              <a:xfrm>
                <a:off x="2910694" y="10080135"/>
                <a:ext cx="78587" cy="22058"/>
              </a:xfrm>
              <a:custGeom>
                <a:avLst/>
                <a:gdLst>
                  <a:gd name="connsiteX0" fmla="*/ 66687 w 78587"/>
                  <a:gd name="connsiteY0" fmla="*/ 19083 h 22058"/>
                  <a:gd name="connsiteX1" fmla="*/ 4208 w 78587"/>
                  <a:gd name="connsiteY1" fmla="*/ 10158 h 22058"/>
                  <a:gd name="connsiteX2" fmla="*/ 1232 w 78587"/>
                  <a:gd name="connsiteY2" fmla="*/ 4207 h 22058"/>
                  <a:gd name="connsiteX3" fmla="*/ 7183 w 78587"/>
                  <a:gd name="connsiteY3" fmla="*/ 1232 h 22058"/>
                  <a:gd name="connsiteX4" fmla="*/ 72637 w 78587"/>
                  <a:gd name="connsiteY4" fmla="*/ 10158 h 22058"/>
                  <a:gd name="connsiteX5" fmla="*/ 78588 w 78587"/>
                  <a:gd name="connsiteY5" fmla="*/ 16109 h 22058"/>
                  <a:gd name="connsiteX6" fmla="*/ 72637 w 78587"/>
                  <a:gd name="connsiteY6" fmla="*/ 22058 h 22058"/>
                  <a:gd name="connsiteX7" fmla="*/ 66687 w 78587"/>
                  <a:gd name="connsiteY7" fmla="*/ 19083 h 2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8587" h="22058">
                    <a:moveTo>
                      <a:pt x="66687" y="19083"/>
                    </a:moveTo>
                    <a:cubicBezTo>
                      <a:pt x="45860" y="19083"/>
                      <a:pt x="7183" y="10158"/>
                      <a:pt x="4208" y="10158"/>
                    </a:cubicBezTo>
                    <a:cubicBezTo>
                      <a:pt x="1232" y="10158"/>
                      <a:pt x="-1743" y="7182"/>
                      <a:pt x="1232" y="4207"/>
                    </a:cubicBezTo>
                    <a:cubicBezTo>
                      <a:pt x="1232" y="1232"/>
                      <a:pt x="4208" y="-1743"/>
                      <a:pt x="7183" y="1232"/>
                    </a:cubicBezTo>
                    <a:cubicBezTo>
                      <a:pt x="22059" y="4207"/>
                      <a:pt x="60737" y="13133"/>
                      <a:pt x="72637" y="10158"/>
                    </a:cubicBezTo>
                    <a:cubicBezTo>
                      <a:pt x="75613" y="10158"/>
                      <a:pt x="78588" y="13133"/>
                      <a:pt x="78588" y="16109"/>
                    </a:cubicBezTo>
                    <a:cubicBezTo>
                      <a:pt x="78588" y="19083"/>
                      <a:pt x="75613" y="22058"/>
                      <a:pt x="72637" y="22058"/>
                    </a:cubicBezTo>
                    <a:cubicBezTo>
                      <a:pt x="72637" y="19083"/>
                      <a:pt x="69662" y="19083"/>
                      <a:pt x="66687" y="19083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66A763BC-9719-451F-8629-5EC31C091275}"/>
                </a:ext>
              </a:extLst>
            </p:cNvPr>
            <p:cNvSpPr/>
            <p:nvPr/>
          </p:nvSpPr>
          <p:spPr>
            <a:xfrm>
              <a:off x="2892974" y="8891276"/>
              <a:ext cx="851715" cy="1056227"/>
            </a:xfrm>
            <a:custGeom>
              <a:avLst/>
              <a:gdLst>
                <a:gd name="connsiteX0" fmla="*/ 753829 w 851715"/>
                <a:gd name="connsiteY0" fmla="*/ 365960 h 1056227"/>
                <a:gd name="connsiteX1" fmla="*/ 429531 w 851715"/>
                <a:gd name="connsiteY1" fmla="*/ 615877 h 1056227"/>
                <a:gd name="connsiteX2" fmla="*/ 158788 w 851715"/>
                <a:gd name="connsiteY2" fmla="*/ 1056208 h 1056227"/>
                <a:gd name="connsiteX3" fmla="*/ 15978 w 851715"/>
                <a:gd name="connsiteY3" fmla="*/ 1017530 h 1056227"/>
                <a:gd name="connsiteX4" fmla="*/ 161763 w 851715"/>
                <a:gd name="connsiteY4" fmla="*/ 464141 h 1056227"/>
                <a:gd name="connsiteX5" fmla="*/ 569366 w 851715"/>
                <a:gd name="connsiteY5" fmla="*/ 83315 h 1056227"/>
                <a:gd name="connsiteX6" fmla="*/ 822259 w 851715"/>
                <a:gd name="connsiteY6" fmla="*/ 14885 h 1056227"/>
                <a:gd name="connsiteX7" fmla="*/ 753829 w 851715"/>
                <a:gd name="connsiteY7" fmla="*/ 365960 h 1056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1715" h="1056227">
                  <a:moveTo>
                    <a:pt x="753829" y="365960"/>
                  </a:moveTo>
                  <a:cubicBezTo>
                    <a:pt x="700275" y="434389"/>
                    <a:pt x="471184" y="535547"/>
                    <a:pt x="429531" y="615877"/>
                  </a:cubicBezTo>
                  <a:cubicBezTo>
                    <a:pt x="370027" y="728935"/>
                    <a:pt x="239118" y="1059183"/>
                    <a:pt x="158788" y="1056208"/>
                  </a:cubicBezTo>
                  <a:cubicBezTo>
                    <a:pt x="96308" y="1047282"/>
                    <a:pt x="78457" y="1041332"/>
                    <a:pt x="15978" y="1017530"/>
                  </a:cubicBezTo>
                  <a:cubicBezTo>
                    <a:pt x="-40551" y="925298"/>
                    <a:pt x="63581" y="639679"/>
                    <a:pt x="161763" y="464141"/>
                  </a:cubicBezTo>
                  <a:cubicBezTo>
                    <a:pt x="194490" y="404637"/>
                    <a:pt x="420606" y="187447"/>
                    <a:pt x="569366" y="83315"/>
                  </a:cubicBezTo>
                  <a:cubicBezTo>
                    <a:pt x="637796" y="35712"/>
                    <a:pt x="777631" y="-29743"/>
                    <a:pt x="822259" y="14885"/>
                  </a:cubicBezTo>
                  <a:cubicBezTo>
                    <a:pt x="890688" y="86290"/>
                    <a:pt x="828209" y="270753"/>
                    <a:pt x="753829" y="365960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B7AB21D6-AAC8-4082-8C09-9408747BA5B9}"/>
                </a:ext>
              </a:extLst>
            </p:cNvPr>
            <p:cNvSpPr/>
            <p:nvPr/>
          </p:nvSpPr>
          <p:spPr>
            <a:xfrm>
              <a:off x="3569447" y="8897979"/>
              <a:ext cx="178987" cy="424711"/>
            </a:xfrm>
            <a:custGeom>
              <a:avLst/>
              <a:gdLst>
                <a:gd name="connsiteX0" fmla="*/ 5950 w 178987"/>
                <a:gd name="connsiteY0" fmla="*/ 424711 h 424711"/>
                <a:gd name="connsiteX1" fmla="*/ 0 w 178987"/>
                <a:gd name="connsiteY1" fmla="*/ 421736 h 424711"/>
                <a:gd name="connsiteX2" fmla="*/ 2975 w 178987"/>
                <a:gd name="connsiteY2" fmla="*/ 415785 h 424711"/>
                <a:gd name="connsiteX3" fmla="*/ 142810 w 178987"/>
                <a:gd name="connsiteY3" fmla="*/ 228347 h 424711"/>
                <a:gd name="connsiteX4" fmla="*/ 139835 w 178987"/>
                <a:gd name="connsiteY4" fmla="*/ 11157 h 424711"/>
                <a:gd name="connsiteX5" fmla="*/ 139835 w 178987"/>
                <a:gd name="connsiteY5" fmla="*/ 2232 h 424711"/>
                <a:gd name="connsiteX6" fmla="*/ 148760 w 178987"/>
                <a:gd name="connsiteY6" fmla="*/ 2232 h 424711"/>
                <a:gd name="connsiteX7" fmla="*/ 154711 w 178987"/>
                <a:gd name="connsiteY7" fmla="*/ 231322 h 424711"/>
                <a:gd name="connsiteX8" fmla="*/ 5950 w 178987"/>
                <a:gd name="connsiteY8" fmla="*/ 424711 h 424711"/>
                <a:gd name="connsiteX9" fmla="*/ 5950 w 178987"/>
                <a:gd name="connsiteY9" fmla="*/ 424711 h 424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8987" h="424711">
                  <a:moveTo>
                    <a:pt x="5950" y="424711"/>
                  </a:moveTo>
                  <a:cubicBezTo>
                    <a:pt x="2975" y="424711"/>
                    <a:pt x="2975" y="424711"/>
                    <a:pt x="0" y="421736"/>
                  </a:cubicBezTo>
                  <a:cubicBezTo>
                    <a:pt x="0" y="418760"/>
                    <a:pt x="0" y="415785"/>
                    <a:pt x="2975" y="415785"/>
                  </a:cubicBezTo>
                  <a:cubicBezTo>
                    <a:pt x="2975" y="415785"/>
                    <a:pt x="89256" y="377108"/>
                    <a:pt x="142810" y="228347"/>
                  </a:cubicBezTo>
                  <a:cubicBezTo>
                    <a:pt x="196364" y="82562"/>
                    <a:pt x="139835" y="11157"/>
                    <a:pt x="139835" y="11157"/>
                  </a:cubicBezTo>
                  <a:cubicBezTo>
                    <a:pt x="136860" y="8182"/>
                    <a:pt x="136860" y="5207"/>
                    <a:pt x="139835" y="2232"/>
                  </a:cubicBezTo>
                  <a:cubicBezTo>
                    <a:pt x="142810" y="-744"/>
                    <a:pt x="145785" y="-744"/>
                    <a:pt x="148760" y="2232"/>
                  </a:cubicBezTo>
                  <a:cubicBezTo>
                    <a:pt x="151736" y="5207"/>
                    <a:pt x="211240" y="76612"/>
                    <a:pt x="154711" y="231322"/>
                  </a:cubicBezTo>
                  <a:cubicBezTo>
                    <a:pt x="98182" y="383058"/>
                    <a:pt x="11901" y="421736"/>
                    <a:pt x="5950" y="424711"/>
                  </a:cubicBezTo>
                  <a:cubicBezTo>
                    <a:pt x="5950" y="424711"/>
                    <a:pt x="5950" y="424711"/>
                    <a:pt x="5950" y="424711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1628B6DC-3E6A-41EB-BBC4-51FA6A5337AB}"/>
                </a:ext>
              </a:extLst>
            </p:cNvPr>
            <p:cNvSpPr/>
            <p:nvPr/>
          </p:nvSpPr>
          <p:spPr>
            <a:xfrm>
              <a:off x="3863993" y="9354913"/>
              <a:ext cx="390984" cy="33230"/>
            </a:xfrm>
            <a:custGeom>
              <a:avLst/>
              <a:gdLst>
                <a:gd name="connsiteX0" fmla="*/ 5950 w 390984"/>
                <a:gd name="connsiteY0" fmla="*/ 33231 h 33230"/>
                <a:gd name="connsiteX1" fmla="*/ 0 w 390984"/>
                <a:gd name="connsiteY1" fmla="*/ 30255 h 33230"/>
                <a:gd name="connsiteX2" fmla="*/ 2975 w 390984"/>
                <a:gd name="connsiteY2" fmla="*/ 24306 h 33230"/>
                <a:gd name="connsiteX3" fmla="*/ 386777 w 390984"/>
                <a:gd name="connsiteY3" fmla="*/ 18355 h 33230"/>
                <a:gd name="connsiteX4" fmla="*/ 389752 w 390984"/>
                <a:gd name="connsiteY4" fmla="*/ 24306 h 33230"/>
                <a:gd name="connsiteX5" fmla="*/ 383802 w 390984"/>
                <a:gd name="connsiteY5" fmla="*/ 27281 h 33230"/>
                <a:gd name="connsiteX6" fmla="*/ 5950 w 390984"/>
                <a:gd name="connsiteY6" fmla="*/ 33231 h 33230"/>
                <a:gd name="connsiteX7" fmla="*/ 5950 w 390984"/>
                <a:gd name="connsiteY7" fmla="*/ 33231 h 33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984" h="33230">
                  <a:moveTo>
                    <a:pt x="5950" y="33231"/>
                  </a:moveTo>
                  <a:cubicBezTo>
                    <a:pt x="2975" y="33231"/>
                    <a:pt x="0" y="30255"/>
                    <a:pt x="0" y="30255"/>
                  </a:cubicBezTo>
                  <a:cubicBezTo>
                    <a:pt x="0" y="27281"/>
                    <a:pt x="0" y="24306"/>
                    <a:pt x="2975" y="24306"/>
                  </a:cubicBezTo>
                  <a:cubicBezTo>
                    <a:pt x="98182" y="-5446"/>
                    <a:pt x="303471" y="-8422"/>
                    <a:pt x="386777" y="18355"/>
                  </a:cubicBezTo>
                  <a:cubicBezTo>
                    <a:pt x="389752" y="18355"/>
                    <a:pt x="392727" y="21330"/>
                    <a:pt x="389752" y="24306"/>
                  </a:cubicBezTo>
                  <a:cubicBezTo>
                    <a:pt x="389752" y="27281"/>
                    <a:pt x="386777" y="27281"/>
                    <a:pt x="383802" y="27281"/>
                  </a:cubicBezTo>
                  <a:cubicBezTo>
                    <a:pt x="303471" y="503"/>
                    <a:pt x="101157" y="3479"/>
                    <a:pt x="5950" y="33231"/>
                  </a:cubicBezTo>
                  <a:cubicBezTo>
                    <a:pt x="5950" y="33231"/>
                    <a:pt x="5950" y="33231"/>
                    <a:pt x="5950" y="33231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BF9E5E0C-8872-4F14-A601-8B80089DDFD3}"/>
                </a:ext>
              </a:extLst>
            </p:cNvPr>
            <p:cNvSpPr/>
            <p:nvPr/>
          </p:nvSpPr>
          <p:spPr>
            <a:xfrm>
              <a:off x="3743869" y="8768491"/>
              <a:ext cx="387892" cy="133058"/>
            </a:xfrm>
            <a:custGeom>
              <a:avLst/>
              <a:gdLst>
                <a:gd name="connsiteX0" fmla="*/ 387892 w 387892"/>
                <a:gd name="connsiteY0" fmla="*/ 72216 h 133058"/>
                <a:gd name="connsiteX1" fmla="*/ 364091 w 387892"/>
                <a:gd name="connsiteY1" fmla="*/ 6761 h 133058"/>
                <a:gd name="connsiteX2" fmla="*/ 352190 w 387892"/>
                <a:gd name="connsiteY2" fmla="*/ 811 h 133058"/>
                <a:gd name="connsiteX3" fmla="*/ 42769 w 387892"/>
                <a:gd name="connsiteY3" fmla="*/ 9736 h 133058"/>
                <a:gd name="connsiteX4" fmla="*/ 1116 w 387892"/>
                <a:gd name="connsiteY4" fmla="*/ 87092 h 133058"/>
                <a:gd name="connsiteX5" fmla="*/ 10041 w 387892"/>
                <a:gd name="connsiteY5" fmla="*/ 107918 h 133058"/>
                <a:gd name="connsiteX6" fmla="*/ 381942 w 387892"/>
                <a:gd name="connsiteY6" fmla="*/ 90067 h 133058"/>
                <a:gd name="connsiteX7" fmla="*/ 387892 w 387892"/>
                <a:gd name="connsiteY7" fmla="*/ 72216 h 13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892" h="133058">
                  <a:moveTo>
                    <a:pt x="387892" y="72216"/>
                  </a:moveTo>
                  <a:cubicBezTo>
                    <a:pt x="381942" y="48414"/>
                    <a:pt x="375992" y="27588"/>
                    <a:pt x="364091" y="6761"/>
                  </a:cubicBezTo>
                  <a:cubicBezTo>
                    <a:pt x="361116" y="3786"/>
                    <a:pt x="355165" y="-2164"/>
                    <a:pt x="352190" y="811"/>
                  </a:cubicBezTo>
                  <a:cubicBezTo>
                    <a:pt x="248058" y="18662"/>
                    <a:pt x="146901" y="36513"/>
                    <a:pt x="42769" y="9736"/>
                  </a:cubicBezTo>
                  <a:cubicBezTo>
                    <a:pt x="30868" y="6761"/>
                    <a:pt x="10041" y="69240"/>
                    <a:pt x="1116" y="87092"/>
                  </a:cubicBezTo>
                  <a:cubicBezTo>
                    <a:pt x="-1860" y="96017"/>
                    <a:pt x="1116" y="104943"/>
                    <a:pt x="10041" y="107918"/>
                  </a:cubicBezTo>
                  <a:cubicBezTo>
                    <a:pt x="135000" y="146596"/>
                    <a:pt x="259959" y="140646"/>
                    <a:pt x="381942" y="90067"/>
                  </a:cubicBezTo>
                  <a:cubicBezTo>
                    <a:pt x="384917" y="87092"/>
                    <a:pt x="387892" y="81141"/>
                    <a:pt x="387892" y="72216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22A2DEE7-8B65-4A23-ABA1-39E780BBBC1A}"/>
                </a:ext>
              </a:extLst>
            </p:cNvPr>
            <p:cNvSpPr/>
            <p:nvPr/>
          </p:nvSpPr>
          <p:spPr>
            <a:xfrm>
              <a:off x="4048456" y="8912111"/>
              <a:ext cx="78415" cy="1401322"/>
            </a:xfrm>
            <a:custGeom>
              <a:avLst/>
              <a:gdLst>
                <a:gd name="connsiteX0" fmla="*/ 53554 w 78415"/>
                <a:gd name="connsiteY0" fmla="*/ 1401323 h 1401322"/>
                <a:gd name="connsiteX1" fmla="*/ 47603 w 78415"/>
                <a:gd name="connsiteY1" fmla="*/ 1398347 h 1401322"/>
                <a:gd name="connsiteX2" fmla="*/ 65454 w 78415"/>
                <a:gd name="connsiteY2" fmla="*/ 547438 h 1401322"/>
                <a:gd name="connsiteX3" fmla="*/ 0 w 78415"/>
                <a:gd name="connsiteY3" fmla="*/ 5951 h 1401322"/>
                <a:gd name="connsiteX4" fmla="*/ 2975 w 78415"/>
                <a:gd name="connsiteY4" fmla="*/ 0 h 1401322"/>
                <a:gd name="connsiteX5" fmla="*/ 8926 w 78415"/>
                <a:gd name="connsiteY5" fmla="*/ 2975 h 1401322"/>
                <a:gd name="connsiteX6" fmla="*/ 74380 w 78415"/>
                <a:gd name="connsiteY6" fmla="*/ 550413 h 1401322"/>
                <a:gd name="connsiteX7" fmla="*/ 56529 w 78415"/>
                <a:gd name="connsiteY7" fmla="*/ 1395372 h 1401322"/>
                <a:gd name="connsiteX8" fmla="*/ 53554 w 78415"/>
                <a:gd name="connsiteY8" fmla="*/ 1401323 h 1401322"/>
                <a:gd name="connsiteX9" fmla="*/ 53554 w 78415"/>
                <a:gd name="connsiteY9" fmla="*/ 1401323 h 1401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415" h="1401322">
                  <a:moveTo>
                    <a:pt x="53554" y="1401323"/>
                  </a:moveTo>
                  <a:cubicBezTo>
                    <a:pt x="50578" y="1401323"/>
                    <a:pt x="50578" y="1401323"/>
                    <a:pt x="47603" y="1398347"/>
                  </a:cubicBezTo>
                  <a:cubicBezTo>
                    <a:pt x="-14876" y="1252562"/>
                    <a:pt x="23802" y="853885"/>
                    <a:pt x="65454" y="547438"/>
                  </a:cubicBezTo>
                  <a:cubicBezTo>
                    <a:pt x="89256" y="371901"/>
                    <a:pt x="2975" y="8926"/>
                    <a:pt x="0" y="5951"/>
                  </a:cubicBezTo>
                  <a:cubicBezTo>
                    <a:pt x="0" y="2975"/>
                    <a:pt x="0" y="0"/>
                    <a:pt x="2975" y="0"/>
                  </a:cubicBezTo>
                  <a:cubicBezTo>
                    <a:pt x="5950" y="0"/>
                    <a:pt x="8926" y="0"/>
                    <a:pt x="8926" y="2975"/>
                  </a:cubicBezTo>
                  <a:cubicBezTo>
                    <a:pt x="8926" y="5951"/>
                    <a:pt x="98182" y="368926"/>
                    <a:pt x="74380" y="550413"/>
                  </a:cubicBezTo>
                  <a:cubicBezTo>
                    <a:pt x="11901" y="990744"/>
                    <a:pt x="5950" y="1282314"/>
                    <a:pt x="56529" y="1395372"/>
                  </a:cubicBezTo>
                  <a:cubicBezTo>
                    <a:pt x="59504" y="1395372"/>
                    <a:pt x="59504" y="1398347"/>
                    <a:pt x="53554" y="1401323"/>
                  </a:cubicBezTo>
                  <a:cubicBezTo>
                    <a:pt x="56529" y="1401323"/>
                    <a:pt x="53554" y="1401323"/>
                    <a:pt x="53554" y="1401323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6821308B-4432-4019-81D0-0F964D3304CC}"/>
                </a:ext>
              </a:extLst>
            </p:cNvPr>
            <p:cNvSpPr/>
            <p:nvPr/>
          </p:nvSpPr>
          <p:spPr>
            <a:xfrm>
              <a:off x="3524819" y="9923681"/>
              <a:ext cx="249917" cy="249917"/>
            </a:xfrm>
            <a:custGeom>
              <a:avLst/>
              <a:gdLst>
                <a:gd name="connsiteX0" fmla="*/ 44628 w 249917"/>
                <a:gd name="connsiteY0" fmla="*/ 249917 h 249917"/>
                <a:gd name="connsiteX1" fmla="*/ 0 w 249917"/>
                <a:gd name="connsiteY1" fmla="*/ 187439 h 249917"/>
                <a:gd name="connsiteX2" fmla="*/ 5950 w 249917"/>
                <a:gd name="connsiteY2" fmla="*/ 184463 h 249917"/>
                <a:gd name="connsiteX3" fmla="*/ 160661 w 249917"/>
                <a:gd name="connsiteY3" fmla="*/ 5951 h 249917"/>
                <a:gd name="connsiteX4" fmla="*/ 163636 w 249917"/>
                <a:gd name="connsiteY4" fmla="*/ 0 h 249917"/>
                <a:gd name="connsiteX5" fmla="*/ 249917 w 249917"/>
                <a:gd name="connsiteY5" fmla="*/ 32727 h 249917"/>
                <a:gd name="connsiteX6" fmla="*/ 249917 w 249917"/>
                <a:gd name="connsiteY6" fmla="*/ 35703 h 249917"/>
                <a:gd name="connsiteX7" fmla="*/ 50579 w 249917"/>
                <a:gd name="connsiteY7" fmla="*/ 246943 h 249917"/>
                <a:gd name="connsiteX8" fmla="*/ 44628 w 249917"/>
                <a:gd name="connsiteY8" fmla="*/ 249917 h 249917"/>
                <a:gd name="connsiteX9" fmla="*/ 17851 w 249917"/>
                <a:gd name="connsiteY9" fmla="*/ 193388 h 249917"/>
                <a:gd name="connsiteX10" fmla="*/ 47603 w 249917"/>
                <a:gd name="connsiteY10" fmla="*/ 235041 h 249917"/>
                <a:gd name="connsiteX11" fmla="*/ 235041 w 249917"/>
                <a:gd name="connsiteY11" fmla="*/ 38678 h 249917"/>
                <a:gd name="connsiteX12" fmla="*/ 169587 w 249917"/>
                <a:gd name="connsiteY12" fmla="*/ 11901 h 249917"/>
                <a:gd name="connsiteX13" fmla="*/ 17851 w 249917"/>
                <a:gd name="connsiteY13" fmla="*/ 193388 h 24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9917" h="249917">
                  <a:moveTo>
                    <a:pt x="44628" y="249917"/>
                  </a:moveTo>
                  <a:lnTo>
                    <a:pt x="0" y="187439"/>
                  </a:lnTo>
                  <a:lnTo>
                    <a:pt x="5950" y="184463"/>
                  </a:lnTo>
                  <a:cubicBezTo>
                    <a:pt x="113058" y="148760"/>
                    <a:pt x="160661" y="5951"/>
                    <a:pt x="160661" y="5951"/>
                  </a:cubicBezTo>
                  <a:lnTo>
                    <a:pt x="163636" y="0"/>
                  </a:lnTo>
                  <a:lnTo>
                    <a:pt x="249917" y="32727"/>
                  </a:lnTo>
                  <a:lnTo>
                    <a:pt x="249917" y="35703"/>
                  </a:lnTo>
                  <a:cubicBezTo>
                    <a:pt x="249917" y="35703"/>
                    <a:pt x="235041" y="178512"/>
                    <a:pt x="50579" y="246943"/>
                  </a:cubicBezTo>
                  <a:lnTo>
                    <a:pt x="44628" y="249917"/>
                  </a:lnTo>
                  <a:close/>
                  <a:moveTo>
                    <a:pt x="17851" y="193388"/>
                  </a:moveTo>
                  <a:lnTo>
                    <a:pt x="47603" y="235041"/>
                  </a:lnTo>
                  <a:cubicBezTo>
                    <a:pt x="205289" y="175537"/>
                    <a:pt x="232066" y="62480"/>
                    <a:pt x="235041" y="38678"/>
                  </a:cubicBezTo>
                  <a:lnTo>
                    <a:pt x="169587" y="11901"/>
                  </a:lnTo>
                  <a:cubicBezTo>
                    <a:pt x="160661" y="41653"/>
                    <a:pt x="113058" y="157687"/>
                    <a:pt x="17851" y="193388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2" name="图形 1">
              <a:extLst>
                <a:ext uri="{FF2B5EF4-FFF2-40B4-BE49-F238E27FC236}">
                  <a16:creationId xmlns:a16="http://schemas.microsoft.com/office/drawing/2014/main" id="{493932CF-D29C-4A50-9488-F3D603549EF2}"/>
                </a:ext>
              </a:extLst>
            </p:cNvPr>
            <p:cNvGrpSpPr/>
            <p:nvPr/>
          </p:nvGrpSpPr>
          <p:grpSpPr>
            <a:xfrm>
              <a:off x="2950604" y="8768725"/>
              <a:ext cx="864913" cy="379543"/>
              <a:chOff x="2950604" y="8768725"/>
              <a:chExt cx="864913" cy="379543"/>
            </a:xfrm>
          </p:grpSpPr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D97EAF34-AE97-4FFF-81D0-1D3D4DD72E32}"/>
                  </a:ext>
                </a:extLst>
              </p:cNvPr>
              <p:cNvSpPr/>
              <p:nvPr/>
            </p:nvSpPr>
            <p:spPr>
              <a:xfrm>
                <a:off x="2950604" y="8768725"/>
                <a:ext cx="864913" cy="379543"/>
              </a:xfrm>
              <a:custGeom>
                <a:avLst/>
                <a:gdLst>
                  <a:gd name="connsiteX0" fmla="*/ 508760 w 864913"/>
                  <a:gd name="connsiteY0" fmla="*/ 577 h 379543"/>
                  <a:gd name="connsiteX1" fmla="*/ 806281 w 864913"/>
                  <a:gd name="connsiteY1" fmla="*/ 18428 h 379543"/>
                  <a:gd name="connsiteX2" fmla="*/ 856860 w 864913"/>
                  <a:gd name="connsiteY2" fmla="*/ 104709 h 379543"/>
                  <a:gd name="connsiteX3" fmla="*/ 847934 w 864913"/>
                  <a:gd name="connsiteY3" fmla="*/ 113634 h 379543"/>
                  <a:gd name="connsiteX4" fmla="*/ 836033 w 864913"/>
                  <a:gd name="connsiteY4" fmla="*/ 116610 h 379543"/>
                  <a:gd name="connsiteX5" fmla="*/ 365950 w 864913"/>
                  <a:gd name="connsiteY5" fmla="*/ 179089 h 379543"/>
                  <a:gd name="connsiteX6" fmla="*/ 71405 w 864913"/>
                  <a:gd name="connsiteY6" fmla="*/ 378428 h 379543"/>
                  <a:gd name="connsiteX7" fmla="*/ 50579 w 864913"/>
                  <a:gd name="connsiteY7" fmla="*/ 369502 h 379543"/>
                  <a:gd name="connsiteX8" fmla="*/ 2975 w 864913"/>
                  <a:gd name="connsiteY8" fmla="*/ 283221 h 379543"/>
                  <a:gd name="connsiteX9" fmla="*/ 11901 w 864913"/>
                  <a:gd name="connsiteY9" fmla="*/ 262395 h 379543"/>
                  <a:gd name="connsiteX10" fmla="*/ 261818 w 864913"/>
                  <a:gd name="connsiteY10" fmla="*/ 71981 h 379543"/>
                  <a:gd name="connsiteX11" fmla="*/ 508760 w 864913"/>
                  <a:gd name="connsiteY11" fmla="*/ 577 h 379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64913" h="379543">
                    <a:moveTo>
                      <a:pt x="508760" y="577"/>
                    </a:moveTo>
                    <a:cubicBezTo>
                      <a:pt x="606942" y="-2399"/>
                      <a:pt x="711074" y="6527"/>
                      <a:pt x="806281" y="18428"/>
                    </a:cubicBezTo>
                    <a:cubicBezTo>
                      <a:pt x="871736" y="27353"/>
                      <a:pt x="871736" y="45205"/>
                      <a:pt x="856860" y="104709"/>
                    </a:cubicBezTo>
                    <a:cubicBezTo>
                      <a:pt x="856860" y="110659"/>
                      <a:pt x="853884" y="113634"/>
                      <a:pt x="847934" y="113634"/>
                    </a:cubicBezTo>
                    <a:cubicBezTo>
                      <a:pt x="844959" y="116610"/>
                      <a:pt x="839008" y="116610"/>
                      <a:pt x="836033" y="116610"/>
                    </a:cubicBezTo>
                    <a:cubicBezTo>
                      <a:pt x="681322" y="92808"/>
                      <a:pt x="496860" y="80907"/>
                      <a:pt x="365950" y="179089"/>
                    </a:cubicBezTo>
                    <a:cubicBezTo>
                      <a:pt x="267769" y="250494"/>
                      <a:pt x="196364" y="339750"/>
                      <a:pt x="71405" y="378428"/>
                    </a:cubicBezTo>
                    <a:cubicBezTo>
                      <a:pt x="62479" y="381403"/>
                      <a:pt x="53554" y="378428"/>
                      <a:pt x="50579" y="369502"/>
                    </a:cubicBezTo>
                    <a:cubicBezTo>
                      <a:pt x="38678" y="336775"/>
                      <a:pt x="23802" y="309998"/>
                      <a:pt x="2975" y="283221"/>
                    </a:cubicBezTo>
                    <a:cubicBezTo>
                      <a:pt x="-2975" y="274296"/>
                      <a:pt x="0" y="265370"/>
                      <a:pt x="11901" y="262395"/>
                    </a:cubicBezTo>
                    <a:cubicBezTo>
                      <a:pt x="119008" y="220742"/>
                      <a:pt x="169587" y="128510"/>
                      <a:pt x="261818" y="71981"/>
                    </a:cubicBezTo>
                    <a:cubicBezTo>
                      <a:pt x="333223" y="21403"/>
                      <a:pt x="422479" y="3552"/>
                      <a:pt x="508760" y="577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CDF45E02-FB38-456B-93A9-61C2315FA87F}"/>
                  </a:ext>
                </a:extLst>
              </p:cNvPr>
              <p:cNvSpPr/>
              <p:nvPr/>
            </p:nvSpPr>
            <p:spPr>
              <a:xfrm>
                <a:off x="2975150" y="9014012"/>
                <a:ext cx="79586" cy="130165"/>
              </a:xfrm>
              <a:custGeom>
                <a:avLst/>
                <a:gdLst>
                  <a:gd name="connsiteX0" fmla="*/ 73636 w 79586"/>
                  <a:gd name="connsiteY0" fmla="*/ 130165 h 130165"/>
                  <a:gd name="connsiteX1" fmla="*/ 67686 w 79586"/>
                  <a:gd name="connsiteY1" fmla="*/ 127190 h 130165"/>
                  <a:gd name="connsiteX2" fmla="*/ 2231 w 79586"/>
                  <a:gd name="connsiteY2" fmla="*/ 11157 h 130165"/>
                  <a:gd name="connsiteX3" fmla="*/ 2231 w 79586"/>
                  <a:gd name="connsiteY3" fmla="*/ 2231 h 130165"/>
                  <a:gd name="connsiteX4" fmla="*/ 11157 w 79586"/>
                  <a:gd name="connsiteY4" fmla="*/ 2231 h 130165"/>
                  <a:gd name="connsiteX5" fmla="*/ 79587 w 79586"/>
                  <a:gd name="connsiteY5" fmla="*/ 121239 h 130165"/>
                  <a:gd name="connsiteX6" fmla="*/ 73636 w 79586"/>
                  <a:gd name="connsiteY6" fmla="*/ 130165 h 130165"/>
                  <a:gd name="connsiteX7" fmla="*/ 73636 w 79586"/>
                  <a:gd name="connsiteY7" fmla="*/ 130165 h 130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586" h="130165">
                    <a:moveTo>
                      <a:pt x="73636" y="130165"/>
                    </a:moveTo>
                    <a:cubicBezTo>
                      <a:pt x="70661" y="130165"/>
                      <a:pt x="67686" y="127190"/>
                      <a:pt x="67686" y="127190"/>
                    </a:cubicBezTo>
                    <a:cubicBezTo>
                      <a:pt x="67686" y="127190"/>
                      <a:pt x="43884" y="52810"/>
                      <a:pt x="2231" y="11157"/>
                    </a:cubicBezTo>
                    <a:cubicBezTo>
                      <a:pt x="-744" y="8182"/>
                      <a:pt x="-744" y="5207"/>
                      <a:pt x="2231" y="2231"/>
                    </a:cubicBezTo>
                    <a:cubicBezTo>
                      <a:pt x="5207" y="-744"/>
                      <a:pt x="8182" y="-744"/>
                      <a:pt x="11157" y="2231"/>
                    </a:cubicBezTo>
                    <a:cubicBezTo>
                      <a:pt x="55785" y="46859"/>
                      <a:pt x="76612" y="118265"/>
                      <a:pt x="79587" y="121239"/>
                    </a:cubicBezTo>
                    <a:cubicBezTo>
                      <a:pt x="79587" y="124215"/>
                      <a:pt x="79587" y="127190"/>
                      <a:pt x="73636" y="130165"/>
                    </a:cubicBezTo>
                    <a:cubicBezTo>
                      <a:pt x="73636" y="130165"/>
                      <a:pt x="73636" y="130165"/>
                      <a:pt x="73636" y="130165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BD89E340-10FF-446A-B4A2-85EF00BDC6B8}"/>
                  </a:ext>
                </a:extLst>
              </p:cNvPr>
              <p:cNvSpPr/>
              <p:nvPr/>
            </p:nvSpPr>
            <p:spPr>
              <a:xfrm>
                <a:off x="3024984" y="8998392"/>
                <a:ext cx="65454" cy="119008"/>
              </a:xfrm>
              <a:custGeom>
                <a:avLst/>
                <a:gdLst>
                  <a:gd name="connsiteX0" fmla="*/ 65455 w 65454"/>
                  <a:gd name="connsiteY0" fmla="*/ 119008 h 119008"/>
                  <a:gd name="connsiteX1" fmla="*/ 0 w 65454"/>
                  <a:gd name="connsiteY1" fmla="*/ 0 h 119008"/>
                  <a:gd name="connsiteX2" fmla="*/ 65455 w 65454"/>
                  <a:gd name="connsiteY2" fmla="*/ 119008 h 119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454" h="119008">
                    <a:moveTo>
                      <a:pt x="65455" y="119008"/>
                    </a:moveTo>
                    <a:cubicBezTo>
                      <a:pt x="65455" y="119008"/>
                      <a:pt x="41653" y="44628"/>
                      <a:pt x="0" y="0"/>
                    </a:cubicBezTo>
                    <a:lnTo>
                      <a:pt x="65455" y="119008"/>
                    </a:lnTo>
                    <a:close/>
                  </a:path>
                </a:pathLst>
              </a:custGeom>
              <a:solidFill>
                <a:srgbClr val="F1DDB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32793AB4-12E8-446F-A9AD-AE43FCFF5810}"/>
                </a:ext>
              </a:extLst>
            </p:cNvPr>
            <p:cNvGrpSpPr/>
            <p:nvPr/>
          </p:nvGrpSpPr>
          <p:grpSpPr>
            <a:xfrm>
              <a:off x="3110682" y="8596552"/>
              <a:ext cx="762445" cy="244154"/>
              <a:chOff x="3110682" y="8596552"/>
              <a:chExt cx="762445" cy="244154"/>
            </a:xfrm>
          </p:grpSpPr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E9698342-557E-4A78-AA42-E0DAAD58D449}"/>
                  </a:ext>
                </a:extLst>
              </p:cNvPr>
              <p:cNvSpPr/>
              <p:nvPr/>
            </p:nvSpPr>
            <p:spPr>
              <a:xfrm>
                <a:off x="3110682" y="8596552"/>
                <a:ext cx="762445" cy="244154"/>
              </a:xfrm>
              <a:custGeom>
                <a:avLst/>
                <a:gdLst>
                  <a:gd name="connsiteX0" fmla="*/ 762237 w 762445"/>
                  <a:gd name="connsiteY0" fmla="*/ 205477 h 244154"/>
                  <a:gd name="connsiteX1" fmla="*/ 738435 w 762445"/>
                  <a:gd name="connsiteY1" fmla="*/ 175725 h 244154"/>
                  <a:gd name="connsiteX2" fmla="*/ 580749 w 762445"/>
                  <a:gd name="connsiteY2" fmla="*/ 71593 h 244154"/>
                  <a:gd name="connsiteX3" fmla="*/ 333807 w 762445"/>
                  <a:gd name="connsiteY3" fmla="*/ 188 h 244154"/>
                  <a:gd name="connsiteX4" fmla="*/ 21410 w 762445"/>
                  <a:gd name="connsiteY4" fmla="*/ 32915 h 244154"/>
                  <a:gd name="connsiteX5" fmla="*/ 3559 w 762445"/>
                  <a:gd name="connsiteY5" fmla="*/ 47791 h 244154"/>
                  <a:gd name="connsiteX6" fmla="*/ 584 w 762445"/>
                  <a:gd name="connsiteY6" fmla="*/ 148948 h 244154"/>
                  <a:gd name="connsiteX7" fmla="*/ 15460 w 762445"/>
                  <a:gd name="connsiteY7" fmla="*/ 166799 h 244154"/>
                  <a:gd name="connsiteX8" fmla="*/ 369509 w 762445"/>
                  <a:gd name="connsiteY8" fmla="*/ 148948 h 244154"/>
                  <a:gd name="connsiteX9" fmla="*/ 672980 w 762445"/>
                  <a:gd name="connsiteY9" fmla="*/ 244155 h 244154"/>
                  <a:gd name="connsiteX10" fmla="*/ 762237 w 762445"/>
                  <a:gd name="connsiteY10" fmla="*/ 205477 h 244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62445" h="244154">
                    <a:moveTo>
                      <a:pt x="762237" y="205477"/>
                    </a:moveTo>
                    <a:cubicBezTo>
                      <a:pt x="765212" y="202502"/>
                      <a:pt x="735460" y="175725"/>
                      <a:pt x="738435" y="175725"/>
                    </a:cubicBezTo>
                    <a:cubicBezTo>
                      <a:pt x="687856" y="137047"/>
                      <a:pt x="634303" y="101345"/>
                      <a:pt x="580749" y="71593"/>
                    </a:cubicBezTo>
                    <a:cubicBezTo>
                      <a:pt x="506369" y="29940"/>
                      <a:pt x="420088" y="-2787"/>
                      <a:pt x="333807" y="188"/>
                    </a:cubicBezTo>
                    <a:cubicBezTo>
                      <a:pt x="226699" y="3163"/>
                      <a:pt x="134468" y="53742"/>
                      <a:pt x="21410" y="32915"/>
                    </a:cubicBezTo>
                    <a:cubicBezTo>
                      <a:pt x="9509" y="29940"/>
                      <a:pt x="584" y="38866"/>
                      <a:pt x="3559" y="47791"/>
                    </a:cubicBezTo>
                    <a:cubicBezTo>
                      <a:pt x="9509" y="83494"/>
                      <a:pt x="6534" y="113246"/>
                      <a:pt x="584" y="148948"/>
                    </a:cubicBezTo>
                    <a:cubicBezTo>
                      <a:pt x="-2392" y="157874"/>
                      <a:pt x="6534" y="163824"/>
                      <a:pt x="15460" y="166799"/>
                    </a:cubicBezTo>
                    <a:cubicBezTo>
                      <a:pt x="140418" y="199527"/>
                      <a:pt x="250501" y="160849"/>
                      <a:pt x="369509" y="148948"/>
                    </a:cubicBezTo>
                    <a:cubicBezTo>
                      <a:pt x="476617" y="140023"/>
                      <a:pt x="580749" y="184651"/>
                      <a:pt x="672980" y="244155"/>
                    </a:cubicBezTo>
                    <a:cubicBezTo>
                      <a:pt x="684881" y="217378"/>
                      <a:pt x="735460" y="220353"/>
                      <a:pt x="762237" y="205477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468D85CA-1607-40C8-AC3B-EF2F3C39C362}"/>
                  </a:ext>
                </a:extLst>
              </p:cNvPr>
              <p:cNvSpPr/>
              <p:nvPr/>
            </p:nvSpPr>
            <p:spPr>
              <a:xfrm>
                <a:off x="3143993" y="8626492"/>
                <a:ext cx="20722" cy="145784"/>
              </a:xfrm>
              <a:custGeom>
                <a:avLst/>
                <a:gdLst>
                  <a:gd name="connsiteX0" fmla="*/ 5950 w 20722"/>
                  <a:gd name="connsiteY0" fmla="*/ 145785 h 145784"/>
                  <a:gd name="connsiteX1" fmla="*/ 5950 w 20722"/>
                  <a:gd name="connsiteY1" fmla="*/ 145785 h 145784"/>
                  <a:gd name="connsiteX2" fmla="*/ 0 w 20722"/>
                  <a:gd name="connsiteY2" fmla="*/ 139835 h 145784"/>
                  <a:gd name="connsiteX3" fmla="*/ 5950 w 20722"/>
                  <a:gd name="connsiteY3" fmla="*/ 5950 h 145784"/>
                  <a:gd name="connsiteX4" fmla="*/ 8926 w 20722"/>
                  <a:gd name="connsiteY4" fmla="*/ 0 h 145784"/>
                  <a:gd name="connsiteX5" fmla="*/ 14876 w 20722"/>
                  <a:gd name="connsiteY5" fmla="*/ 2975 h 145784"/>
                  <a:gd name="connsiteX6" fmla="*/ 8926 w 20722"/>
                  <a:gd name="connsiteY6" fmla="*/ 139835 h 145784"/>
                  <a:gd name="connsiteX7" fmla="*/ 5950 w 20722"/>
                  <a:gd name="connsiteY7" fmla="*/ 145785 h 145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722" h="145784">
                    <a:moveTo>
                      <a:pt x="5950" y="145785"/>
                    </a:moveTo>
                    <a:cubicBezTo>
                      <a:pt x="2975" y="145785"/>
                      <a:pt x="2975" y="145785"/>
                      <a:pt x="5950" y="145785"/>
                    </a:cubicBezTo>
                    <a:cubicBezTo>
                      <a:pt x="2975" y="145785"/>
                      <a:pt x="0" y="142810"/>
                      <a:pt x="0" y="139835"/>
                    </a:cubicBezTo>
                    <a:cubicBezTo>
                      <a:pt x="0" y="139835"/>
                      <a:pt x="17851" y="65454"/>
                      <a:pt x="5950" y="5950"/>
                    </a:cubicBezTo>
                    <a:cubicBezTo>
                      <a:pt x="5950" y="2975"/>
                      <a:pt x="5950" y="0"/>
                      <a:pt x="8926" y="0"/>
                    </a:cubicBezTo>
                    <a:cubicBezTo>
                      <a:pt x="11901" y="0"/>
                      <a:pt x="14876" y="0"/>
                      <a:pt x="14876" y="2975"/>
                    </a:cubicBezTo>
                    <a:cubicBezTo>
                      <a:pt x="29752" y="62479"/>
                      <a:pt x="11901" y="136859"/>
                      <a:pt x="8926" y="139835"/>
                    </a:cubicBezTo>
                    <a:cubicBezTo>
                      <a:pt x="8926" y="145785"/>
                      <a:pt x="5950" y="145785"/>
                      <a:pt x="5950" y="145785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3925D265-5E6E-4DED-9154-4E56AD6626E3}"/>
                  </a:ext>
                </a:extLst>
              </p:cNvPr>
              <p:cNvSpPr/>
              <p:nvPr/>
            </p:nvSpPr>
            <p:spPr>
              <a:xfrm>
                <a:off x="3188621" y="8632442"/>
                <a:ext cx="20722" cy="145784"/>
              </a:xfrm>
              <a:custGeom>
                <a:avLst/>
                <a:gdLst>
                  <a:gd name="connsiteX0" fmla="*/ 5950 w 20722"/>
                  <a:gd name="connsiteY0" fmla="*/ 145785 h 145784"/>
                  <a:gd name="connsiteX1" fmla="*/ 5950 w 20722"/>
                  <a:gd name="connsiteY1" fmla="*/ 145785 h 145784"/>
                  <a:gd name="connsiteX2" fmla="*/ 0 w 20722"/>
                  <a:gd name="connsiteY2" fmla="*/ 139835 h 145784"/>
                  <a:gd name="connsiteX3" fmla="*/ 5950 w 20722"/>
                  <a:gd name="connsiteY3" fmla="*/ 5950 h 145784"/>
                  <a:gd name="connsiteX4" fmla="*/ 8926 w 20722"/>
                  <a:gd name="connsiteY4" fmla="*/ 0 h 145784"/>
                  <a:gd name="connsiteX5" fmla="*/ 14876 w 20722"/>
                  <a:gd name="connsiteY5" fmla="*/ 2975 h 145784"/>
                  <a:gd name="connsiteX6" fmla="*/ 8926 w 20722"/>
                  <a:gd name="connsiteY6" fmla="*/ 139835 h 145784"/>
                  <a:gd name="connsiteX7" fmla="*/ 5950 w 20722"/>
                  <a:gd name="connsiteY7" fmla="*/ 145785 h 145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722" h="145784">
                    <a:moveTo>
                      <a:pt x="5950" y="145785"/>
                    </a:moveTo>
                    <a:cubicBezTo>
                      <a:pt x="2975" y="145785"/>
                      <a:pt x="2975" y="145785"/>
                      <a:pt x="5950" y="145785"/>
                    </a:cubicBezTo>
                    <a:cubicBezTo>
                      <a:pt x="2975" y="145785"/>
                      <a:pt x="0" y="142810"/>
                      <a:pt x="0" y="139835"/>
                    </a:cubicBezTo>
                    <a:cubicBezTo>
                      <a:pt x="0" y="139835"/>
                      <a:pt x="17851" y="65454"/>
                      <a:pt x="5950" y="5950"/>
                    </a:cubicBezTo>
                    <a:cubicBezTo>
                      <a:pt x="5950" y="2975"/>
                      <a:pt x="5950" y="0"/>
                      <a:pt x="8926" y="0"/>
                    </a:cubicBezTo>
                    <a:cubicBezTo>
                      <a:pt x="11901" y="0"/>
                      <a:pt x="14876" y="0"/>
                      <a:pt x="14876" y="2975"/>
                    </a:cubicBezTo>
                    <a:cubicBezTo>
                      <a:pt x="29752" y="62480"/>
                      <a:pt x="11901" y="136860"/>
                      <a:pt x="8926" y="139835"/>
                    </a:cubicBezTo>
                    <a:cubicBezTo>
                      <a:pt x="8926" y="142810"/>
                      <a:pt x="5950" y="145785"/>
                      <a:pt x="5950" y="145785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3B8AB8F7-3D24-4714-B10B-410DD49AF188}"/>
                </a:ext>
              </a:extLst>
            </p:cNvPr>
            <p:cNvSpPr/>
            <p:nvPr/>
          </p:nvSpPr>
          <p:spPr>
            <a:xfrm>
              <a:off x="6898703" y="8662738"/>
              <a:ext cx="1056030" cy="1255873"/>
            </a:xfrm>
            <a:custGeom>
              <a:avLst/>
              <a:gdLst>
                <a:gd name="connsiteX0" fmla="*/ 949091 w 1056030"/>
                <a:gd name="connsiteY0" fmla="*/ 2431 h 1255873"/>
                <a:gd name="connsiteX1" fmla="*/ 630744 w 1056030"/>
                <a:gd name="connsiteY1" fmla="*/ 395158 h 1255873"/>
                <a:gd name="connsiteX2" fmla="*/ 511735 w 1056030"/>
                <a:gd name="connsiteY2" fmla="*/ 832514 h 1255873"/>
                <a:gd name="connsiteX3" fmla="*/ 0 w 1056030"/>
                <a:gd name="connsiteY3" fmla="*/ 1043754 h 1255873"/>
                <a:gd name="connsiteX4" fmla="*/ 26777 w 1056030"/>
                <a:gd name="connsiteY4" fmla="*/ 1207390 h 1255873"/>
                <a:gd name="connsiteX5" fmla="*/ 752727 w 1056030"/>
                <a:gd name="connsiteY5" fmla="*/ 1106233 h 1255873"/>
                <a:gd name="connsiteX6" fmla="*/ 949091 w 1056030"/>
                <a:gd name="connsiteY6" fmla="*/ 2431 h 125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6030" h="1255873">
                  <a:moveTo>
                    <a:pt x="949091" y="2431"/>
                  </a:moveTo>
                  <a:cubicBezTo>
                    <a:pt x="821157" y="-30296"/>
                    <a:pt x="672397" y="276150"/>
                    <a:pt x="630744" y="395158"/>
                  </a:cubicBezTo>
                  <a:cubicBezTo>
                    <a:pt x="592066" y="502266"/>
                    <a:pt x="511735" y="832514"/>
                    <a:pt x="511735" y="832514"/>
                  </a:cubicBezTo>
                  <a:cubicBezTo>
                    <a:pt x="511735" y="832514"/>
                    <a:pt x="11901" y="930695"/>
                    <a:pt x="0" y="1043754"/>
                  </a:cubicBezTo>
                  <a:cubicBezTo>
                    <a:pt x="0" y="1103258"/>
                    <a:pt x="14876" y="1168712"/>
                    <a:pt x="26777" y="1207390"/>
                  </a:cubicBezTo>
                  <a:cubicBezTo>
                    <a:pt x="157686" y="1335323"/>
                    <a:pt x="651571" y="1177638"/>
                    <a:pt x="752727" y="1106233"/>
                  </a:cubicBezTo>
                  <a:cubicBezTo>
                    <a:pt x="862810" y="1022927"/>
                    <a:pt x="1237686" y="73836"/>
                    <a:pt x="949091" y="2431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F82FFACA-811F-40A5-B7C4-11B37132CB9A}"/>
                </a:ext>
              </a:extLst>
            </p:cNvPr>
            <p:cNvSpPr/>
            <p:nvPr/>
          </p:nvSpPr>
          <p:spPr>
            <a:xfrm>
              <a:off x="8204819" y="8201037"/>
              <a:ext cx="57192" cy="145784"/>
            </a:xfrm>
            <a:custGeom>
              <a:avLst/>
              <a:gdLst>
                <a:gd name="connsiteX0" fmla="*/ 56529 w 57192"/>
                <a:gd name="connsiteY0" fmla="*/ 0 h 145784"/>
                <a:gd name="connsiteX1" fmla="*/ 17851 w 57192"/>
                <a:gd name="connsiteY1" fmla="*/ 145785 h 145784"/>
                <a:gd name="connsiteX2" fmla="*/ 0 w 57192"/>
                <a:gd name="connsiteY2" fmla="*/ 65454 h 145784"/>
                <a:gd name="connsiteX3" fmla="*/ 56529 w 57192"/>
                <a:gd name="connsiteY3" fmla="*/ 0 h 145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92" h="145784">
                  <a:moveTo>
                    <a:pt x="56529" y="0"/>
                  </a:moveTo>
                  <a:cubicBezTo>
                    <a:pt x="56529" y="0"/>
                    <a:pt x="65454" y="116033"/>
                    <a:pt x="17851" y="145785"/>
                  </a:cubicBezTo>
                  <a:lnTo>
                    <a:pt x="0" y="65454"/>
                  </a:lnTo>
                  <a:lnTo>
                    <a:pt x="56529" y="0"/>
                  </a:ln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26785B81-59D1-43B7-9E91-457EC6DCC522}"/>
                </a:ext>
              </a:extLst>
            </p:cNvPr>
            <p:cNvSpPr/>
            <p:nvPr/>
          </p:nvSpPr>
          <p:spPr>
            <a:xfrm>
              <a:off x="7791265" y="8079053"/>
              <a:ext cx="117143" cy="221441"/>
            </a:xfrm>
            <a:custGeom>
              <a:avLst/>
              <a:gdLst>
                <a:gd name="connsiteX0" fmla="*/ 0 w 117143"/>
                <a:gd name="connsiteY0" fmla="*/ 2975 h 221441"/>
                <a:gd name="connsiteX1" fmla="*/ 83306 w 117143"/>
                <a:gd name="connsiteY1" fmla="*/ 220166 h 221441"/>
                <a:gd name="connsiteX2" fmla="*/ 95207 w 117143"/>
                <a:gd name="connsiteY2" fmla="*/ 0 h 221441"/>
                <a:gd name="connsiteX3" fmla="*/ 0 w 117143"/>
                <a:gd name="connsiteY3" fmla="*/ 2975 h 221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143" h="221441">
                  <a:moveTo>
                    <a:pt x="0" y="2975"/>
                  </a:moveTo>
                  <a:cubicBezTo>
                    <a:pt x="0" y="2975"/>
                    <a:pt x="2975" y="196364"/>
                    <a:pt x="83306" y="220166"/>
                  </a:cubicBezTo>
                  <a:cubicBezTo>
                    <a:pt x="151736" y="240992"/>
                    <a:pt x="95207" y="0"/>
                    <a:pt x="95207" y="0"/>
                  </a:cubicBezTo>
                  <a:lnTo>
                    <a:pt x="0" y="2975"/>
                  </a:ln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3853B01E-E770-4362-84B9-EA8A50AC1247}"/>
                </a:ext>
              </a:extLst>
            </p:cNvPr>
            <p:cNvSpPr/>
            <p:nvPr/>
          </p:nvSpPr>
          <p:spPr>
            <a:xfrm>
              <a:off x="7835894" y="7906131"/>
              <a:ext cx="402824" cy="554251"/>
            </a:xfrm>
            <a:custGeom>
              <a:avLst/>
              <a:gdLst>
                <a:gd name="connsiteX0" fmla="*/ 0 w 402824"/>
                <a:gd name="connsiteY0" fmla="*/ 211600 h 554251"/>
                <a:gd name="connsiteX1" fmla="*/ 41653 w 402824"/>
                <a:gd name="connsiteY1" fmla="*/ 452592 h 554251"/>
                <a:gd name="connsiteX2" fmla="*/ 217190 w 402824"/>
                <a:gd name="connsiteY2" fmla="*/ 553749 h 554251"/>
                <a:gd name="connsiteX3" fmla="*/ 398678 w 402824"/>
                <a:gd name="connsiteY3" fmla="*/ 378212 h 554251"/>
                <a:gd name="connsiteX4" fmla="*/ 395703 w 402824"/>
                <a:gd name="connsiteY4" fmla="*/ 155071 h 554251"/>
                <a:gd name="connsiteX5" fmla="*/ 157686 w 402824"/>
                <a:gd name="connsiteY5" fmla="*/ 360 h 554251"/>
                <a:gd name="connsiteX6" fmla="*/ 0 w 402824"/>
                <a:gd name="connsiteY6" fmla="*/ 211600 h 554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824" h="554251">
                  <a:moveTo>
                    <a:pt x="0" y="211600"/>
                  </a:moveTo>
                  <a:cubicBezTo>
                    <a:pt x="0" y="211600"/>
                    <a:pt x="8926" y="384162"/>
                    <a:pt x="41653" y="452592"/>
                  </a:cubicBezTo>
                  <a:cubicBezTo>
                    <a:pt x="71405" y="512096"/>
                    <a:pt x="169587" y="559699"/>
                    <a:pt x="217190" y="553749"/>
                  </a:cubicBezTo>
                  <a:cubicBezTo>
                    <a:pt x="282645" y="547798"/>
                    <a:pt x="389752" y="488294"/>
                    <a:pt x="398678" y="378212"/>
                  </a:cubicBezTo>
                  <a:cubicBezTo>
                    <a:pt x="404628" y="303831"/>
                    <a:pt x="404628" y="205649"/>
                    <a:pt x="395703" y="155071"/>
                  </a:cubicBezTo>
                  <a:cubicBezTo>
                    <a:pt x="377851" y="62839"/>
                    <a:pt x="339174" y="-5590"/>
                    <a:pt x="157686" y="360"/>
                  </a:cubicBezTo>
                  <a:cubicBezTo>
                    <a:pt x="77356" y="6311"/>
                    <a:pt x="5950" y="134245"/>
                    <a:pt x="0" y="211600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809D2F19-30FD-4FB4-9C66-5775A4E5B0E7}"/>
                </a:ext>
              </a:extLst>
            </p:cNvPr>
            <p:cNvSpPr/>
            <p:nvPr/>
          </p:nvSpPr>
          <p:spPr>
            <a:xfrm>
              <a:off x="7987629" y="8168309"/>
              <a:ext cx="65454" cy="133884"/>
            </a:xfrm>
            <a:custGeom>
              <a:avLst/>
              <a:gdLst>
                <a:gd name="connsiteX0" fmla="*/ 26777 w 65454"/>
                <a:gd name="connsiteY0" fmla="*/ 133884 h 133884"/>
                <a:gd name="connsiteX1" fmla="*/ 11901 w 65454"/>
                <a:gd name="connsiteY1" fmla="*/ 130909 h 133884"/>
                <a:gd name="connsiteX2" fmla="*/ 2975 w 65454"/>
                <a:gd name="connsiteY2" fmla="*/ 119008 h 133884"/>
                <a:gd name="connsiteX3" fmla="*/ 0 w 65454"/>
                <a:gd name="connsiteY3" fmla="*/ 5951 h 133884"/>
                <a:gd name="connsiteX4" fmla="*/ 5950 w 65454"/>
                <a:gd name="connsiteY4" fmla="*/ 0 h 133884"/>
                <a:gd name="connsiteX5" fmla="*/ 5950 w 65454"/>
                <a:gd name="connsiteY5" fmla="*/ 0 h 133884"/>
                <a:gd name="connsiteX6" fmla="*/ 11901 w 65454"/>
                <a:gd name="connsiteY6" fmla="*/ 5951 h 133884"/>
                <a:gd name="connsiteX7" fmla="*/ 14876 w 65454"/>
                <a:gd name="connsiteY7" fmla="*/ 116033 h 133884"/>
                <a:gd name="connsiteX8" fmla="*/ 17851 w 65454"/>
                <a:gd name="connsiteY8" fmla="*/ 119008 h 133884"/>
                <a:gd name="connsiteX9" fmla="*/ 56529 w 65454"/>
                <a:gd name="connsiteY9" fmla="*/ 113058 h 133884"/>
                <a:gd name="connsiteX10" fmla="*/ 65454 w 65454"/>
                <a:gd name="connsiteY10" fmla="*/ 116033 h 133884"/>
                <a:gd name="connsiteX11" fmla="*/ 62479 w 65454"/>
                <a:gd name="connsiteY11" fmla="*/ 124959 h 133884"/>
                <a:gd name="connsiteX12" fmla="*/ 26777 w 65454"/>
                <a:gd name="connsiteY12" fmla="*/ 133884 h 13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454" h="133884">
                  <a:moveTo>
                    <a:pt x="26777" y="133884"/>
                  </a:moveTo>
                  <a:cubicBezTo>
                    <a:pt x="20826" y="133884"/>
                    <a:pt x="17851" y="133884"/>
                    <a:pt x="11901" y="130909"/>
                  </a:cubicBezTo>
                  <a:cubicBezTo>
                    <a:pt x="8926" y="127934"/>
                    <a:pt x="5950" y="124959"/>
                    <a:pt x="2975" y="119008"/>
                  </a:cubicBezTo>
                  <a:cubicBezTo>
                    <a:pt x="0" y="98182"/>
                    <a:pt x="0" y="11901"/>
                    <a:pt x="0" y="5951"/>
                  </a:cubicBezTo>
                  <a:cubicBezTo>
                    <a:pt x="0" y="2975"/>
                    <a:pt x="2975" y="0"/>
                    <a:pt x="5950" y="0"/>
                  </a:cubicBezTo>
                  <a:lnTo>
                    <a:pt x="5950" y="0"/>
                  </a:lnTo>
                  <a:cubicBezTo>
                    <a:pt x="8926" y="0"/>
                    <a:pt x="11901" y="2975"/>
                    <a:pt x="11901" y="5951"/>
                  </a:cubicBezTo>
                  <a:cubicBezTo>
                    <a:pt x="11901" y="5951"/>
                    <a:pt x="11901" y="98182"/>
                    <a:pt x="14876" y="116033"/>
                  </a:cubicBezTo>
                  <a:cubicBezTo>
                    <a:pt x="14876" y="116033"/>
                    <a:pt x="14876" y="119008"/>
                    <a:pt x="17851" y="119008"/>
                  </a:cubicBezTo>
                  <a:cubicBezTo>
                    <a:pt x="23802" y="121984"/>
                    <a:pt x="44628" y="119008"/>
                    <a:pt x="56529" y="113058"/>
                  </a:cubicBezTo>
                  <a:cubicBezTo>
                    <a:pt x="59504" y="113058"/>
                    <a:pt x="62479" y="113058"/>
                    <a:pt x="65454" y="116033"/>
                  </a:cubicBezTo>
                  <a:cubicBezTo>
                    <a:pt x="65454" y="119008"/>
                    <a:pt x="65454" y="121984"/>
                    <a:pt x="62479" y="124959"/>
                  </a:cubicBezTo>
                  <a:cubicBezTo>
                    <a:pt x="56529" y="127934"/>
                    <a:pt x="38678" y="133884"/>
                    <a:pt x="26777" y="133884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19C52D10-90AB-4FD9-A3E4-552BFEF14346}"/>
                </a:ext>
              </a:extLst>
            </p:cNvPr>
            <p:cNvSpPr/>
            <p:nvPr/>
          </p:nvSpPr>
          <p:spPr>
            <a:xfrm>
              <a:off x="7904323" y="8159384"/>
              <a:ext cx="38677" cy="38677"/>
            </a:xfrm>
            <a:custGeom>
              <a:avLst/>
              <a:gdLst>
                <a:gd name="connsiteX0" fmla="*/ 38678 w 38677"/>
                <a:gd name="connsiteY0" fmla="*/ 20826 h 38677"/>
                <a:gd name="connsiteX1" fmla="*/ 17851 w 38677"/>
                <a:gd name="connsiteY1" fmla="*/ 38677 h 38677"/>
                <a:gd name="connsiteX2" fmla="*/ 0 w 38677"/>
                <a:gd name="connsiteY2" fmla="*/ 17851 h 38677"/>
                <a:gd name="connsiteX3" fmla="*/ 20826 w 38677"/>
                <a:gd name="connsiteY3" fmla="*/ 0 h 38677"/>
                <a:gd name="connsiteX4" fmla="*/ 38678 w 38677"/>
                <a:gd name="connsiteY4" fmla="*/ 20826 h 3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677" h="38677">
                  <a:moveTo>
                    <a:pt x="38678" y="20826"/>
                  </a:moveTo>
                  <a:cubicBezTo>
                    <a:pt x="38678" y="32727"/>
                    <a:pt x="29752" y="38677"/>
                    <a:pt x="17851" y="38677"/>
                  </a:cubicBezTo>
                  <a:cubicBezTo>
                    <a:pt x="5950" y="38677"/>
                    <a:pt x="0" y="29752"/>
                    <a:pt x="0" y="17851"/>
                  </a:cubicBezTo>
                  <a:cubicBezTo>
                    <a:pt x="0" y="5950"/>
                    <a:pt x="8926" y="0"/>
                    <a:pt x="20826" y="0"/>
                  </a:cubicBezTo>
                  <a:cubicBezTo>
                    <a:pt x="29752" y="2975"/>
                    <a:pt x="38678" y="11901"/>
                    <a:pt x="38678" y="20826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3EDBD3C7-DEE0-4249-8C0B-D882A65504F8}"/>
                </a:ext>
              </a:extLst>
            </p:cNvPr>
            <p:cNvSpPr/>
            <p:nvPr/>
          </p:nvSpPr>
          <p:spPr>
            <a:xfrm>
              <a:off x="8082836" y="8144508"/>
              <a:ext cx="38677" cy="38677"/>
            </a:xfrm>
            <a:custGeom>
              <a:avLst/>
              <a:gdLst>
                <a:gd name="connsiteX0" fmla="*/ 38678 w 38677"/>
                <a:gd name="connsiteY0" fmla="*/ 20826 h 38677"/>
                <a:gd name="connsiteX1" fmla="*/ 17851 w 38677"/>
                <a:gd name="connsiteY1" fmla="*/ 38677 h 38677"/>
                <a:gd name="connsiteX2" fmla="*/ 0 w 38677"/>
                <a:gd name="connsiteY2" fmla="*/ 17851 h 38677"/>
                <a:gd name="connsiteX3" fmla="*/ 20826 w 38677"/>
                <a:gd name="connsiteY3" fmla="*/ 0 h 38677"/>
                <a:gd name="connsiteX4" fmla="*/ 38678 w 38677"/>
                <a:gd name="connsiteY4" fmla="*/ 20826 h 3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677" h="38677">
                  <a:moveTo>
                    <a:pt x="38678" y="20826"/>
                  </a:moveTo>
                  <a:cubicBezTo>
                    <a:pt x="38678" y="32727"/>
                    <a:pt x="29752" y="38677"/>
                    <a:pt x="17851" y="38677"/>
                  </a:cubicBezTo>
                  <a:cubicBezTo>
                    <a:pt x="5950" y="38677"/>
                    <a:pt x="0" y="29752"/>
                    <a:pt x="0" y="17851"/>
                  </a:cubicBezTo>
                  <a:cubicBezTo>
                    <a:pt x="0" y="5950"/>
                    <a:pt x="8926" y="0"/>
                    <a:pt x="20826" y="0"/>
                  </a:cubicBezTo>
                  <a:cubicBezTo>
                    <a:pt x="29752" y="2975"/>
                    <a:pt x="38678" y="11901"/>
                    <a:pt x="38678" y="20826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7EEC48A2-BBE3-4450-9719-45601C2639E1}"/>
                </a:ext>
              </a:extLst>
            </p:cNvPr>
            <p:cNvSpPr/>
            <p:nvPr/>
          </p:nvSpPr>
          <p:spPr>
            <a:xfrm>
              <a:off x="7873339" y="8113979"/>
              <a:ext cx="87513" cy="39454"/>
            </a:xfrm>
            <a:custGeom>
              <a:avLst/>
              <a:gdLst>
                <a:gd name="connsiteX0" fmla="*/ 7183 w 87513"/>
                <a:gd name="connsiteY0" fmla="*/ 39455 h 39454"/>
                <a:gd name="connsiteX1" fmla="*/ 4208 w 87513"/>
                <a:gd name="connsiteY1" fmla="*/ 39455 h 39454"/>
                <a:gd name="connsiteX2" fmla="*/ 1232 w 87513"/>
                <a:gd name="connsiteY2" fmla="*/ 27554 h 39454"/>
                <a:gd name="connsiteX3" fmla="*/ 81563 w 87513"/>
                <a:gd name="connsiteY3" fmla="*/ 3752 h 39454"/>
                <a:gd name="connsiteX4" fmla="*/ 87513 w 87513"/>
                <a:gd name="connsiteY4" fmla="*/ 12678 h 39454"/>
                <a:gd name="connsiteX5" fmla="*/ 78588 w 87513"/>
                <a:gd name="connsiteY5" fmla="*/ 18628 h 39454"/>
                <a:gd name="connsiteX6" fmla="*/ 16108 w 87513"/>
                <a:gd name="connsiteY6" fmla="*/ 36480 h 39454"/>
                <a:gd name="connsiteX7" fmla="*/ 7183 w 87513"/>
                <a:gd name="connsiteY7" fmla="*/ 39455 h 39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513" h="39454">
                  <a:moveTo>
                    <a:pt x="7183" y="39455"/>
                  </a:moveTo>
                  <a:cubicBezTo>
                    <a:pt x="7183" y="39455"/>
                    <a:pt x="4208" y="39455"/>
                    <a:pt x="4208" y="39455"/>
                  </a:cubicBezTo>
                  <a:cubicBezTo>
                    <a:pt x="1232" y="36480"/>
                    <a:pt x="-1743" y="33504"/>
                    <a:pt x="1232" y="27554"/>
                  </a:cubicBezTo>
                  <a:cubicBezTo>
                    <a:pt x="22059" y="-5173"/>
                    <a:pt x="63712" y="-2198"/>
                    <a:pt x="81563" y="3752"/>
                  </a:cubicBezTo>
                  <a:cubicBezTo>
                    <a:pt x="84538" y="3752"/>
                    <a:pt x="87513" y="9703"/>
                    <a:pt x="87513" y="12678"/>
                  </a:cubicBezTo>
                  <a:cubicBezTo>
                    <a:pt x="87513" y="15653"/>
                    <a:pt x="81563" y="18628"/>
                    <a:pt x="78588" y="18628"/>
                  </a:cubicBezTo>
                  <a:cubicBezTo>
                    <a:pt x="75613" y="18628"/>
                    <a:pt x="36935" y="6728"/>
                    <a:pt x="16108" y="36480"/>
                  </a:cubicBezTo>
                  <a:cubicBezTo>
                    <a:pt x="10158" y="36480"/>
                    <a:pt x="10158" y="39455"/>
                    <a:pt x="7183" y="39455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E2B53316-3F2B-4E7E-A74A-7EFB05E649C1}"/>
                </a:ext>
              </a:extLst>
            </p:cNvPr>
            <p:cNvSpPr/>
            <p:nvPr/>
          </p:nvSpPr>
          <p:spPr>
            <a:xfrm>
              <a:off x="8053828" y="8081207"/>
              <a:ext cx="88512" cy="33549"/>
            </a:xfrm>
            <a:custGeom>
              <a:avLst/>
              <a:gdLst>
                <a:gd name="connsiteX0" fmla="*/ 8182 w 88512"/>
                <a:gd name="connsiteY0" fmla="*/ 33549 h 33549"/>
                <a:gd name="connsiteX1" fmla="*/ 2232 w 88512"/>
                <a:gd name="connsiteY1" fmla="*/ 30574 h 33549"/>
                <a:gd name="connsiteX2" fmla="*/ 2232 w 88512"/>
                <a:gd name="connsiteY2" fmla="*/ 18673 h 33549"/>
                <a:gd name="connsiteX3" fmla="*/ 85537 w 88512"/>
                <a:gd name="connsiteY3" fmla="*/ 12722 h 33549"/>
                <a:gd name="connsiteX4" fmla="*/ 88512 w 88512"/>
                <a:gd name="connsiteY4" fmla="*/ 24623 h 33549"/>
                <a:gd name="connsiteX5" fmla="*/ 76612 w 88512"/>
                <a:gd name="connsiteY5" fmla="*/ 27598 h 33549"/>
                <a:gd name="connsiteX6" fmla="*/ 11157 w 88512"/>
                <a:gd name="connsiteY6" fmla="*/ 33549 h 33549"/>
                <a:gd name="connsiteX7" fmla="*/ 8182 w 88512"/>
                <a:gd name="connsiteY7" fmla="*/ 33549 h 33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12" h="33549">
                  <a:moveTo>
                    <a:pt x="8182" y="33549"/>
                  </a:moveTo>
                  <a:cubicBezTo>
                    <a:pt x="5206" y="33549"/>
                    <a:pt x="5206" y="33549"/>
                    <a:pt x="2232" y="30574"/>
                  </a:cubicBezTo>
                  <a:cubicBezTo>
                    <a:pt x="-744" y="27598"/>
                    <a:pt x="-744" y="21648"/>
                    <a:pt x="2232" y="18673"/>
                  </a:cubicBezTo>
                  <a:cubicBezTo>
                    <a:pt x="34959" y="-11079"/>
                    <a:pt x="70661" y="822"/>
                    <a:pt x="85537" y="12722"/>
                  </a:cubicBezTo>
                  <a:cubicBezTo>
                    <a:pt x="88512" y="15698"/>
                    <a:pt x="88512" y="18673"/>
                    <a:pt x="88512" y="24623"/>
                  </a:cubicBezTo>
                  <a:cubicBezTo>
                    <a:pt x="85537" y="27598"/>
                    <a:pt x="82562" y="27598"/>
                    <a:pt x="76612" y="27598"/>
                  </a:cubicBezTo>
                  <a:cubicBezTo>
                    <a:pt x="76612" y="27598"/>
                    <a:pt x="40909" y="3797"/>
                    <a:pt x="11157" y="33549"/>
                  </a:cubicBezTo>
                  <a:cubicBezTo>
                    <a:pt x="11157" y="33549"/>
                    <a:pt x="8182" y="33549"/>
                    <a:pt x="8182" y="33549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0CB82138-03D3-4148-9E72-9FDB75A0EB7B}"/>
                </a:ext>
              </a:extLst>
            </p:cNvPr>
            <p:cNvSpPr/>
            <p:nvPr/>
          </p:nvSpPr>
          <p:spPr>
            <a:xfrm>
              <a:off x="8219597" y="8115126"/>
              <a:ext cx="71579" cy="111664"/>
            </a:xfrm>
            <a:custGeom>
              <a:avLst/>
              <a:gdLst>
                <a:gd name="connsiteX0" fmla="*/ 3074 w 71579"/>
                <a:gd name="connsiteY0" fmla="*/ 23432 h 111664"/>
                <a:gd name="connsiteX1" fmla="*/ 59603 w 71579"/>
                <a:gd name="connsiteY1" fmla="*/ 2605 h 111664"/>
                <a:gd name="connsiteX2" fmla="*/ 23900 w 71579"/>
                <a:gd name="connsiteY2" fmla="*/ 109713 h 111664"/>
                <a:gd name="connsiteX3" fmla="*/ 3074 w 71579"/>
                <a:gd name="connsiteY3" fmla="*/ 23432 h 111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579" h="111664">
                  <a:moveTo>
                    <a:pt x="3074" y="23432"/>
                  </a:moveTo>
                  <a:cubicBezTo>
                    <a:pt x="3074" y="23432"/>
                    <a:pt x="29851" y="-9295"/>
                    <a:pt x="59603" y="2605"/>
                  </a:cubicBezTo>
                  <a:cubicBezTo>
                    <a:pt x="86379" y="17481"/>
                    <a:pt x="65553" y="127564"/>
                    <a:pt x="23900" y="109713"/>
                  </a:cubicBezTo>
                  <a:cubicBezTo>
                    <a:pt x="-11802" y="100787"/>
                    <a:pt x="3074" y="23432"/>
                    <a:pt x="3074" y="23432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9944DE37-0D7B-414B-83ED-9626C1B3DFCE}"/>
                </a:ext>
              </a:extLst>
            </p:cNvPr>
            <p:cNvSpPr/>
            <p:nvPr/>
          </p:nvSpPr>
          <p:spPr>
            <a:xfrm>
              <a:off x="7772954" y="7807872"/>
              <a:ext cx="492256" cy="393165"/>
            </a:xfrm>
            <a:custGeom>
              <a:avLst/>
              <a:gdLst>
                <a:gd name="connsiteX0" fmla="*/ 414014 w 492256"/>
                <a:gd name="connsiteY0" fmla="*/ 89694 h 393165"/>
                <a:gd name="connsiteX1" fmla="*/ 390212 w 492256"/>
                <a:gd name="connsiteY1" fmla="*/ 53992 h 393165"/>
                <a:gd name="connsiteX2" fmla="*/ 378312 w 492256"/>
                <a:gd name="connsiteY2" fmla="*/ 59942 h 393165"/>
                <a:gd name="connsiteX3" fmla="*/ 345584 w 492256"/>
                <a:gd name="connsiteY3" fmla="*/ 45066 h 393165"/>
                <a:gd name="connsiteX4" fmla="*/ 330708 w 492256"/>
                <a:gd name="connsiteY4" fmla="*/ 30190 h 393165"/>
                <a:gd name="connsiteX5" fmla="*/ 295006 w 492256"/>
                <a:gd name="connsiteY5" fmla="*/ 3413 h 393165"/>
                <a:gd name="connsiteX6" fmla="*/ 262278 w 492256"/>
                <a:gd name="connsiteY6" fmla="*/ 6388 h 393165"/>
                <a:gd name="connsiteX7" fmla="*/ 205750 w 492256"/>
                <a:gd name="connsiteY7" fmla="*/ 3413 h 393165"/>
                <a:gd name="connsiteX8" fmla="*/ 190873 w 492256"/>
                <a:gd name="connsiteY8" fmla="*/ 438 h 393165"/>
                <a:gd name="connsiteX9" fmla="*/ 77816 w 492256"/>
                <a:gd name="connsiteY9" fmla="*/ 56967 h 393165"/>
                <a:gd name="connsiteX10" fmla="*/ 24262 w 492256"/>
                <a:gd name="connsiteY10" fmla="*/ 89694 h 393165"/>
                <a:gd name="connsiteX11" fmla="*/ 15336 w 492256"/>
                <a:gd name="connsiteY11" fmla="*/ 134322 h 393165"/>
                <a:gd name="connsiteX12" fmla="*/ 3435 w 492256"/>
                <a:gd name="connsiteY12" fmla="*/ 164074 h 393165"/>
                <a:gd name="connsiteX13" fmla="*/ 3435 w 492256"/>
                <a:gd name="connsiteY13" fmla="*/ 199777 h 393165"/>
                <a:gd name="connsiteX14" fmla="*/ 12361 w 492256"/>
                <a:gd name="connsiteY14" fmla="*/ 232504 h 393165"/>
                <a:gd name="connsiteX15" fmla="*/ 460 w 492256"/>
                <a:gd name="connsiteY15" fmla="*/ 277132 h 393165"/>
                <a:gd name="connsiteX16" fmla="*/ 33187 w 492256"/>
                <a:gd name="connsiteY16" fmla="*/ 366389 h 393165"/>
                <a:gd name="connsiteX17" fmla="*/ 42113 w 492256"/>
                <a:gd name="connsiteY17" fmla="*/ 366389 h 393165"/>
                <a:gd name="connsiteX18" fmla="*/ 54014 w 492256"/>
                <a:gd name="connsiteY18" fmla="*/ 393165 h 393165"/>
                <a:gd name="connsiteX19" fmla="*/ 62939 w 492256"/>
                <a:gd name="connsiteY19" fmla="*/ 336637 h 393165"/>
                <a:gd name="connsiteX20" fmla="*/ 89717 w 492256"/>
                <a:gd name="connsiteY20" fmla="*/ 321761 h 393165"/>
                <a:gd name="connsiteX21" fmla="*/ 104593 w 492256"/>
                <a:gd name="connsiteY21" fmla="*/ 297959 h 393165"/>
                <a:gd name="connsiteX22" fmla="*/ 107568 w 492256"/>
                <a:gd name="connsiteY22" fmla="*/ 289033 h 393165"/>
                <a:gd name="connsiteX23" fmla="*/ 113518 w 492256"/>
                <a:gd name="connsiteY23" fmla="*/ 283083 h 393165"/>
                <a:gd name="connsiteX24" fmla="*/ 119469 w 492256"/>
                <a:gd name="connsiteY24" fmla="*/ 280107 h 393165"/>
                <a:gd name="connsiteX25" fmla="*/ 122444 w 492256"/>
                <a:gd name="connsiteY25" fmla="*/ 274157 h 393165"/>
                <a:gd name="connsiteX26" fmla="*/ 131369 w 492256"/>
                <a:gd name="connsiteY26" fmla="*/ 268207 h 393165"/>
                <a:gd name="connsiteX27" fmla="*/ 146245 w 492256"/>
                <a:gd name="connsiteY27" fmla="*/ 268207 h 393165"/>
                <a:gd name="connsiteX28" fmla="*/ 158146 w 492256"/>
                <a:gd name="connsiteY28" fmla="*/ 268207 h 393165"/>
                <a:gd name="connsiteX29" fmla="*/ 190873 w 492256"/>
                <a:gd name="connsiteY29" fmla="*/ 253331 h 393165"/>
                <a:gd name="connsiteX30" fmla="*/ 235502 w 492256"/>
                <a:gd name="connsiteY30" fmla="*/ 229529 h 393165"/>
                <a:gd name="connsiteX31" fmla="*/ 253353 w 492256"/>
                <a:gd name="connsiteY31" fmla="*/ 235479 h 393165"/>
                <a:gd name="connsiteX32" fmla="*/ 283105 w 492256"/>
                <a:gd name="connsiteY32" fmla="*/ 208703 h 393165"/>
                <a:gd name="connsiteX33" fmla="*/ 295006 w 492256"/>
                <a:gd name="connsiteY33" fmla="*/ 208703 h 393165"/>
                <a:gd name="connsiteX34" fmla="*/ 375336 w 492256"/>
                <a:gd name="connsiteY34" fmla="*/ 220603 h 393165"/>
                <a:gd name="connsiteX35" fmla="*/ 384262 w 492256"/>
                <a:gd name="connsiteY35" fmla="*/ 223579 h 393165"/>
                <a:gd name="connsiteX36" fmla="*/ 455667 w 492256"/>
                <a:gd name="connsiteY36" fmla="*/ 348537 h 393165"/>
                <a:gd name="connsiteX37" fmla="*/ 491370 w 492256"/>
                <a:gd name="connsiteY37" fmla="*/ 241430 h 393165"/>
                <a:gd name="connsiteX38" fmla="*/ 414014 w 492256"/>
                <a:gd name="connsiteY38" fmla="*/ 89694 h 393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92256" h="393165">
                  <a:moveTo>
                    <a:pt x="414014" y="89694"/>
                  </a:moveTo>
                  <a:cubicBezTo>
                    <a:pt x="411039" y="74818"/>
                    <a:pt x="405088" y="59942"/>
                    <a:pt x="390212" y="53992"/>
                  </a:cubicBezTo>
                  <a:cubicBezTo>
                    <a:pt x="372361" y="45066"/>
                    <a:pt x="378312" y="53992"/>
                    <a:pt x="378312" y="59942"/>
                  </a:cubicBezTo>
                  <a:cubicBezTo>
                    <a:pt x="369386" y="53992"/>
                    <a:pt x="357485" y="48041"/>
                    <a:pt x="345584" y="45066"/>
                  </a:cubicBezTo>
                  <a:cubicBezTo>
                    <a:pt x="339634" y="39116"/>
                    <a:pt x="333683" y="33165"/>
                    <a:pt x="330708" y="30190"/>
                  </a:cubicBezTo>
                  <a:cubicBezTo>
                    <a:pt x="321782" y="21264"/>
                    <a:pt x="309882" y="9364"/>
                    <a:pt x="295006" y="3413"/>
                  </a:cubicBezTo>
                  <a:cubicBezTo>
                    <a:pt x="283105" y="438"/>
                    <a:pt x="274179" y="3413"/>
                    <a:pt x="262278" y="6388"/>
                  </a:cubicBezTo>
                  <a:cubicBezTo>
                    <a:pt x="241452" y="12339"/>
                    <a:pt x="226576" y="9364"/>
                    <a:pt x="205750" y="3413"/>
                  </a:cubicBezTo>
                  <a:cubicBezTo>
                    <a:pt x="199799" y="3413"/>
                    <a:pt x="196824" y="438"/>
                    <a:pt x="190873" y="438"/>
                  </a:cubicBezTo>
                  <a:cubicBezTo>
                    <a:pt x="146245" y="-5512"/>
                    <a:pt x="119469" y="51017"/>
                    <a:pt x="77816" y="56967"/>
                  </a:cubicBezTo>
                  <a:cubicBezTo>
                    <a:pt x="54014" y="59942"/>
                    <a:pt x="30212" y="59942"/>
                    <a:pt x="24262" y="89694"/>
                  </a:cubicBezTo>
                  <a:cubicBezTo>
                    <a:pt x="21287" y="107545"/>
                    <a:pt x="24262" y="116471"/>
                    <a:pt x="15336" y="134322"/>
                  </a:cubicBezTo>
                  <a:cubicBezTo>
                    <a:pt x="12361" y="143248"/>
                    <a:pt x="6411" y="155149"/>
                    <a:pt x="3435" y="164074"/>
                  </a:cubicBezTo>
                  <a:cubicBezTo>
                    <a:pt x="460" y="175975"/>
                    <a:pt x="-2515" y="187876"/>
                    <a:pt x="3435" y="199777"/>
                  </a:cubicBezTo>
                  <a:cubicBezTo>
                    <a:pt x="9386" y="214653"/>
                    <a:pt x="18311" y="214653"/>
                    <a:pt x="12361" y="232504"/>
                  </a:cubicBezTo>
                  <a:cubicBezTo>
                    <a:pt x="9386" y="247380"/>
                    <a:pt x="3435" y="259281"/>
                    <a:pt x="460" y="277132"/>
                  </a:cubicBezTo>
                  <a:cubicBezTo>
                    <a:pt x="-2515" y="312835"/>
                    <a:pt x="12361" y="342587"/>
                    <a:pt x="33187" y="366389"/>
                  </a:cubicBezTo>
                  <a:cubicBezTo>
                    <a:pt x="36163" y="369364"/>
                    <a:pt x="39138" y="369364"/>
                    <a:pt x="42113" y="366389"/>
                  </a:cubicBezTo>
                  <a:cubicBezTo>
                    <a:pt x="48063" y="381265"/>
                    <a:pt x="54014" y="393165"/>
                    <a:pt x="54014" y="393165"/>
                  </a:cubicBezTo>
                  <a:cubicBezTo>
                    <a:pt x="48063" y="375314"/>
                    <a:pt x="51039" y="357463"/>
                    <a:pt x="62939" y="336637"/>
                  </a:cubicBezTo>
                  <a:cubicBezTo>
                    <a:pt x="71865" y="330686"/>
                    <a:pt x="83766" y="327711"/>
                    <a:pt x="89717" y="321761"/>
                  </a:cubicBezTo>
                  <a:cubicBezTo>
                    <a:pt x="98642" y="312835"/>
                    <a:pt x="98642" y="306884"/>
                    <a:pt x="104593" y="297959"/>
                  </a:cubicBezTo>
                  <a:cubicBezTo>
                    <a:pt x="104593" y="294983"/>
                    <a:pt x="107568" y="292008"/>
                    <a:pt x="107568" y="289033"/>
                  </a:cubicBezTo>
                  <a:cubicBezTo>
                    <a:pt x="110543" y="286058"/>
                    <a:pt x="110543" y="286058"/>
                    <a:pt x="113518" y="283083"/>
                  </a:cubicBezTo>
                  <a:cubicBezTo>
                    <a:pt x="116493" y="283083"/>
                    <a:pt x="116493" y="280107"/>
                    <a:pt x="119469" y="280107"/>
                  </a:cubicBezTo>
                  <a:cubicBezTo>
                    <a:pt x="119469" y="277132"/>
                    <a:pt x="122444" y="277132"/>
                    <a:pt x="122444" y="274157"/>
                  </a:cubicBezTo>
                  <a:cubicBezTo>
                    <a:pt x="125419" y="271182"/>
                    <a:pt x="128394" y="271182"/>
                    <a:pt x="131369" y="268207"/>
                  </a:cubicBezTo>
                  <a:cubicBezTo>
                    <a:pt x="134345" y="268207"/>
                    <a:pt x="140295" y="265231"/>
                    <a:pt x="146245" y="268207"/>
                  </a:cubicBezTo>
                  <a:cubicBezTo>
                    <a:pt x="149221" y="268207"/>
                    <a:pt x="155171" y="268207"/>
                    <a:pt x="158146" y="268207"/>
                  </a:cubicBezTo>
                  <a:cubicBezTo>
                    <a:pt x="170047" y="265231"/>
                    <a:pt x="181948" y="262256"/>
                    <a:pt x="190873" y="253331"/>
                  </a:cubicBezTo>
                  <a:cubicBezTo>
                    <a:pt x="205750" y="241430"/>
                    <a:pt x="214675" y="223579"/>
                    <a:pt x="235502" y="229529"/>
                  </a:cubicBezTo>
                  <a:cubicBezTo>
                    <a:pt x="241452" y="229529"/>
                    <a:pt x="244427" y="235479"/>
                    <a:pt x="253353" y="235479"/>
                  </a:cubicBezTo>
                  <a:cubicBezTo>
                    <a:pt x="271204" y="235479"/>
                    <a:pt x="280130" y="223579"/>
                    <a:pt x="283105" y="208703"/>
                  </a:cubicBezTo>
                  <a:cubicBezTo>
                    <a:pt x="286080" y="208703"/>
                    <a:pt x="292030" y="208703"/>
                    <a:pt x="295006" y="208703"/>
                  </a:cubicBezTo>
                  <a:cubicBezTo>
                    <a:pt x="318807" y="220603"/>
                    <a:pt x="345584" y="223579"/>
                    <a:pt x="375336" y="220603"/>
                  </a:cubicBezTo>
                  <a:cubicBezTo>
                    <a:pt x="381287" y="220603"/>
                    <a:pt x="384262" y="223579"/>
                    <a:pt x="384262" y="223579"/>
                  </a:cubicBezTo>
                  <a:cubicBezTo>
                    <a:pt x="384262" y="223579"/>
                    <a:pt x="458642" y="318785"/>
                    <a:pt x="455667" y="348537"/>
                  </a:cubicBezTo>
                  <a:cubicBezTo>
                    <a:pt x="455667" y="348537"/>
                    <a:pt x="488394" y="297959"/>
                    <a:pt x="491370" y="241430"/>
                  </a:cubicBezTo>
                  <a:cubicBezTo>
                    <a:pt x="497320" y="181925"/>
                    <a:pt x="473518" y="101595"/>
                    <a:pt x="414014" y="89694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F41CF562-32D9-42C4-A463-CD5A031F5901}"/>
                </a:ext>
              </a:extLst>
            </p:cNvPr>
            <p:cNvSpPr/>
            <p:nvPr/>
          </p:nvSpPr>
          <p:spPr>
            <a:xfrm>
              <a:off x="8149034" y="8023268"/>
              <a:ext cx="82562" cy="121239"/>
            </a:xfrm>
            <a:custGeom>
              <a:avLst/>
              <a:gdLst>
                <a:gd name="connsiteX0" fmla="*/ 73636 w 82562"/>
                <a:gd name="connsiteY0" fmla="*/ 121240 h 121239"/>
                <a:gd name="connsiteX1" fmla="*/ 67686 w 82562"/>
                <a:gd name="connsiteY1" fmla="*/ 118264 h 121239"/>
                <a:gd name="connsiteX2" fmla="*/ 2232 w 82562"/>
                <a:gd name="connsiteY2" fmla="*/ 11157 h 121239"/>
                <a:gd name="connsiteX3" fmla="*/ 2232 w 82562"/>
                <a:gd name="connsiteY3" fmla="*/ 2232 h 121239"/>
                <a:gd name="connsiteX4" fmla="*/ 11157 w 82562"/>
                <a:gd name="connsiteY4" fmla="*/ 2232 h 121239"/>
                <a:gd name="connsiteX5" fmla="*/ 82562 w 82562"/>
                <a:gd name="connsiteY5" fmla="*/ 115289 h 121239"/>
                <a:gd name="connsiteX6" fmla="*/ 73636 w 82562"/>
                <a:gd name="connsiteY6" fmla="*/ 121240 h 121239"/>
                <a:gd name="connsiteX7" fmla="*/ 73636 w 82562"/>
                <a:gd name="connsiteY7" fmla="*/ 121240 h 121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562" h="121239">
                  <a:moveTo>
                    <a:pt x="73636" y="121240"/>
                  </a:moveTo>
                  <a:cubicBezTo>
                    <a:pt x="70661" y="121240"/>
                    <a:pt x="67686" y="118264"/>
                    <a:pt x="67686" y="118264"/>
                  </a:cubicBezTo>
                  <a:cubicBezTo>
                    <a:pt x="52810" y="61736"/>
                    <a:pt x="2232" y="11157"/>
                    <a:pt x="2232" y="11157"/>
                  </a:cubicBezTo>
                  <a:cubicBezTo>
                    <a:pt x="-744" y="8182"/>
                    <a:pt x="-744" y="5206"/>
                    <a:pt x="2232" y="2232"/>
                  </a:cubicBezTo>
                  <a:cubicBezTo>
                    <a:pt x="5206" y="-744"/>
                    <a:pt x="8182" y="-744"/>
                    <a:pt x="11157" y="2232"/>
                  </a:cubicBezTo>
                  <a:cubicBezTo>
                    <a:pt x="14132" y="5206"/>
                    <a:pt x="64711" y="52810"/>
                    <a:pt x="82562" y="115289"/>
                  </a:cubicBezTo>
                  <a:cubicBezTo>
                    <a:pt x="79587" y="115289"/>
                    <a:pt x="79587" y="121240"/>
                    <a:pt x="73636" y="121240"/>
                  </a:cubicBezTo>
                  <a:cubicBezTo>
                    <a:pt x="76612" y="121240"/>
                    <a:pt x="73636" y="121240"/>
                    <a:pt x="73636" y="121240"/>
                  </a:cubicBezTo>
                  <a:close/>
                </a:path>
              </a:pathLst>
            </a:custGeom>
            <a:solidFill>
              <a:srgbClr val="D3977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C5B00CE6-3625-4F4F-B99A-DF6553A8D1D9}"/>
                </a:ext>
              </a:extLst>
            </p:cNvPr>
            <p:cNvSpPr/>
            <p:nvPr/>
          </p:nvSpPr>
          <p:spPr>
            <a:xfrm>
              <a:off x="7999530" y="8328971"/>
              <a:ext cx="95206" cy="67728"/>
            </a:xfrm>
            <a:custGeom>
              <a:avLst/>
              <a:gdLst>
                <a:gd name="connsiteX0" fmla="*/ 95207 w 95206"/>
                <a:gd name="connsiteY0" fmla="*/ 0 h 67728"/>
                <a:gd name="connsiteX1" fmla="*/ 8926 w 95206"/>
                <a:gd name="connsiteY1" fmla="*/ 38678 h 67728"/>
                <a:gd name="connsiteX2" fmla="*/ 0 w 95206"/>
                <a:gd name="connsiteY2" fmla="*/ 38678 h 67728"/>
                <a:gd name="connsiteX3" fmla="*/ 62480 w 95206"/>
                <a:gd name="connsiteY3" fmla="*/ 65454 h 67728"/>
                <a:gd name="connsiteX4" fmla="*/ 95207 w 95206"/>
                <a:gd name="connsiteY4" fmla="*/ 0 h 6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06" h="67728">
                  <a:moveTo>
                    <a:pt x="95207" y="0"/>
                  </a:moveTo>
                  <a:cubicBezTo>
                    <a:pt x="62480" y="26777"/>
                    <a:pt x="29752" y="35702"/>
                    <a:pt x="8926" y="38678"/>
                  </a:cubicBezTo>
                  <a:cubicBezTo>
                    <a:pt x="2975" y="38678"/>
                    <a:pt x="0" y="38678"/>
                    <a:pt x="0" y="38678"/>
                  </a:cubicBezTo>
                  <a:cubicBezTo>
                    <a:pt x="0" y="38678"/>
                    <a:pt x="35702" y="77355"/>
                    <a:pt x="62480" y="65454"/>
                  </a:cubicBezTo>
                  <a:cubicBezTo>
                    <a:pt x="89256" y="53554"/>
                    <a:pt x="92232" y="20826"/>
                    <a:pt x="95207" y="0"/>
                  </a:cubicBezTo>
                  <a:close/>
                </a:path>
              </a:pathLst>
            </a:custGeom>
            <a:solidFill>
              <a:srgbClr val="FFFFFF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5CC3645C-3590-4B1B-902F-802C8179A691}"/>
                </a:ext>
              </a:extLst>
            </p:cNvPr>
            <p:cNvSpPr/>
            <p:nvPr/>
          </p:nvSpPr>
          <p:spPr>
            <a:xfrm>
              <a:off x="7975728" y="8343847"/>
              <a:ext cx="270743" cy="273268"/>
            </a:xfrm>
            <a:custGeom>
              <a:avLst/>
              <a:gdLst>
                <a:gd name="connsiteX0" fmla="*/ 0 w 270743"/>
                <a:gd name="connsiteY0" fmla="*/ 80330 h 273268"/>
                <a:gd name="connsiteX1" fmla="*/ 35703 w 270743"/>
                <a:gd name="connsiteY1" fmla="*/ 246942 h 273268"/>
                <a:gd name="connsiteX2" fmla="*/ 270744 w 270743"/>
                <a:gd name="connsiteY2" fmla="*/ 193388 h 273268"/>
                <a:gd name="connsiteX3" fmla="*/ 220166 w 270743"/>
                <a:gd name="connsiteY3" fmla="*/ 0 h 273268"/>
                <a:gd name="connsiteX4" fmla="*/ 0 w 270743"/>
                <a:gd name="connsiteY4" fmla="*/ 80330 h 27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743" h="273268">
                  <a:moveTo>
                    <a:pt x="0" y="80330"/>
                  </a:moveTo>
                  <a:cubicBezTo>
                    <a:pt x="0" y="80330"/>
                    <a:pt x="23802" y="175537"/>
                    <a:pt x="35703" y="246942"/>
                  </a:cubicBezTo>
                  <a:cubicBezTo>
                    <a:pt x="35703" y="246942"/>
                    <a:pt x="145785" y="333223"/>
                    <a:pt x="270744" y="193388"/>
                  </a:cubicBezTo>
                  <a:cubicBezTo>
                    <a:pt x="258843" y="133884"/>
                    <a:pt x="235042" y="59504"/>
                    <a:pt x="220166" y="0"/>
                  </a:cubicBezTo>
                  <a:cubicBezTo>
                    <a:pt x="220166" y="2975"/>
                    <a:pt x="50579" y="83306"/>
                    <a:pt x="0" y="80330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DEDFAD1D-637F-4C54-825B-EE6EEAC7F88E}"/>
                </a:ext>
              </a:extLst>
            </p:cNvPr>
            <p:cNvSpPr/>
            <p:nvPr/>
          </p:nvSpPr>
          <p:spPr>
            <a:xfrm>
              <a:off x="8038243" y="8516029"/>
              <a:ext cx="996581" cy="1595161"/>
            </a:xfrm>
            <a:custGeom>
              <a:avLst/>
              <a:gdLst>
                <a:gd name="connsiteX0" fmla="*/ 32692 w 996581"/>
                <a:gd name="connsiteY0" fmla="*/ 39057 h 1595161"/>
                <a:gd name="connsiteX1" fmla="*/ 538477 w 996581"/>
                <a:gd name="connsiteY1" fmla="*/ 21206 h 1595161"/>
                <a:gd name="connsiteX2" fmla="*/ 931205 w 996581"/>
                <a:gd name="connsiteY2" fmla="*/ 1511784 h 1595161"/>
                <a:gd name="connsiteX3" fmla="*/ 160626 w 996581"/>
                <a:gd name="connsiteY3" fmla="*/ 1559388 h 1595161"/>
                <a:gd name="connsiteX4" fmla="*/ 32692 w 996581"/>
                <a:gd name="connsiteY4" fmla="*/ 39057 h 1595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6581" h="1595161">
                  <a:moveTo>
                    <a:pt x="32692" y="39057"/>
                  </a:moveTo>
                  <a:cubicBezTo>
                    <a:pt x="32692" y="39057"/>
                    <a:pt x="327238" y="-35323"/>
                    <a:pt x="538477" y="21206"/>
                  </a:cubicBezTo>
                  <a:cubicBezTo>
                    <a:pt x="600957" y="39057"/>
                    <a:pt x="1190048" y="1202363"/>
                    <a:pt x="931205" y="1511784"/>
                  </a:cubicBezTo>
                  <a:cubicBezTo>
                    <a:pt x="806246" y="1663520"/>
                    <a:pt x="440296" y="1562363"/>
                    <a:pt x="160626" y="1559388"/>
                  </a:cubicBezTo>
                  <a:cubicBezTo>
                    <a:pt x="157651" y="1556412"/>
                    <a:pt x="-86316" y="580545"/>
                    <a:pt x="32692" y="39057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98A43D2E-F5CC-458F-BA08-06F4AC63AECF}"/>
                </a:ext>
              </a:extLst>
            </p:cNvPr>
            <p:cNvSpPr/>
            <p:nvPr/>
          </p:nvSpPr>
          <p:spPr>
            <a:xfrm>
              <a:off x="7709206" y="8555086"/>
              <a:ext cx="489662" cy="1579534"/>
            </a:xfrm>
            <a:custGeom>
              <a:avLst/>
              <a:gdLst>
                <a:gd name="connsiteX0" fmla="*/ 361729 w 489662"/>
                <a:gd name="connsiteY0" fmla="*/ 0 h 1579534"/>
                <a:gd name="connsiteX1" fmla="*/ 489663 w 489662"/>
                <a:gd name="connsiteY1" fmla="*/ 1517355 h 1579534"/>
                <a:gd name="connsiteX2" fmla="*/ 120737 w 489662"/>
                <a:gd name="connsiteY2" fmla="*/ 1576860 h 1579534"/>
                <a:gd name="connsiteX3" fmla="*/ 4704 w 489662"/>
                <a:gd name="connsiteY3" fmla="*/ 166612 h 1579534"/>
                <a:gd name="connsiteX4" fmla="*/ 361729 w 489662"/>
                <a:gd name="connsiteY4" fmla="*/ 0 h 1579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662" h="1579534">
                  <a:moveTo>
                    <a:pt x="361729" y="0"/>
                  </a:moveTo>
                  <a:cubicBezTo>
                    <a:pt x="361729" y="0"/>
                    <a:pt x="305200" y="737851"/>
                    <a:pt x="489663" y="1517355"/>
                  </a:cubicBezTo>
                  <a:cubicBezTo>
                    <a:pt x="489663" y="1517355"/>
                    <a:pt x="201068" y="1594711"/>
                    <a:pt x="120737" y="1576860"/>
                  </a:cubicBezTo>
                  <a:cubicBezTo>
                    <a:pt x="120737" y="1576860"/>
                    <a:pt x="-28023" y="226116"/>
                    <a:pt x="4704" y="166612"/>
                  </a:cubicBezTo>
                  <a:cubicBezTo>
                    <a:pt x="37431" y="110083"/>
                    <a:pt x="361729" y="0"/>
                    <a:pt x="361729" y="0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9568C376-58E1-4A54-9CA2-C36C0A639F4C}"/>
                </a:ext>
              </a:extLst>
            </p:cNvPr>
            <p:cNvSpPr/>
            <p:nvPr/>
          </p:nvSpPr>
          <p:spPr>
            <a:xfrm>
              <a:off x="7707960" y="8715748"/>
              <a:ext cx="86281" cy="1062148"/>
            </a:xfrm>
            <a:custGeom>
              <a:avLst/>
              <a:gdLst>
                <a:gd name="connsiteX0" fmla="*/ 80331 w 86281"/>
                <a:gd name="connsiteY0" fmla="*/ 1062149 h 1062148"/>
                <a:gd name="connsiteX1" fmla="*/ 74380 w 86281"/>
                <a:gd name="connsiteY1" fmla="*/ 1056198 h 1062148"/>
                <a:gd name="connsiteX2" fmla="*/ 29752 w 86281"/>
                <a:gd name="connsiteY2" fmla="*/ 586116 h 1062148"/>
                <a:gd name="connsiteX3" fmla="*/ 0 w 86281"/>
                <a:gd name="connsiteY3" fmla="*/ 5950 h 1062148"/>
                <a:gd name="connsiteX4" fmla="*/ 5951 w 86281"/>
                <a:gd name="connsiteY4" fmla="*/ 0 h 1062148"/>
                <a:gd name="connsiteX5" fmla="*/ 11901 w 86281"/>
                <a:gd name="connsiteY5" fmla="*/ 5950 h 1062148"/>
                <a:gd name="connsiteX6" fmla="*/ 41653 w 86281"/>
                <a:gd name="connsiteY6" fmla="*/ 583140 h 1062148"/>
                <a:gd name="connsiteX7" fmla="*/ 86281 w 86281"/>
                <a:gd name="connsiteY7" fmla="*/ 1053223 h 1062148"/>
                <a:gd name="connsiteX8" fmla="*/ 80331 w 86281"/>
                <a:gd name="connsiteY8" fmla="*/ 1062149 h 1062148"/>
                <a:gd name="connsiteX9" fmla="*/ 80331 w 86281"/>
                <a:gd name="connsiteY9" fmla="*/ 1062149 h 1062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6281" h="1062148">
                  <a:moveTo>
                    <a:pt x="80331" y="1062149"/>
                  </a:moveTo>
                  <a:cubicBezTo>
                    <a:pt x="77356" y="1062149"/>
                    <a:pt x="74380" y="1059173"/>
                    <a:pt x="74380" y="1056198"/>
                  </a:cubicBezTo>
                  <a:cubicBezTo>
                    <a:pt x="74380" y="1053223"/>
                    <a:pt x="38678" y="690248"/>
                    <a:pt x="29752" y="586116"/>
                  </a:cubicBezTo>
                  <a:cubicBezTo>
                    <a:pt x="29752" y="565289"/>
                    <a:pt x="0" y="47603"/>
                    <a:pt x="0" y="5950"/>
                  </a:cubicBezTo>
                  <a:cubicBezTo>
                    <a:pt x="0" y="2975"/>
                    <a:pt x="2975" y="0"/>
                    <a:pt x="5951" y="0"/>
                  </a:cubicBezTo>
                  <a:cubicBezTo>
                    <a:pt x="8926" y="0"/>
                    <a:pt x="11901" y="2975"/>
                    <a:pt x="11901" y="5950"/>
                  </a:cubicBezTo>
                  <a:cubicBezTo>
                    <a:pt x="11901" y="44628"/>
                    <a:pt x="41653" y="577190"/>
                    <a:pt x="41653" y="583140"/>
                  </a:cubicBezTo>
                  <a:cubicBezTo>
                    <a:pt x="50579" y="687272"/>
                    <a:pt x="86281" y="1047273"/>
                    <a:pt x="86281" y="1053223"/>
                  </a:cubicBezTo>
                  <a:cubicBezTo>
                    <a:pt x="86281" y="1059173"/>
                    <a:pt x="83306" y="1062149"/>
                    <a:pt x="80331" y="1062149"/>
                  </a:cubicBezTo>
                  <a:cubicBezTo>
                    <a:pt x="80331" y="1062149"/>
                    <a:pt x="80331" y="1062149"/>
                    <a:pt x="80331" y="1062149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CED65C2D-D125-4F6A-8D17-DE9661370109}"/>
                </a:ext>
              </a:extLst>
            </p:cNvPr>
            <p:cNvSpPr/>
            <p:nvPr/>
          </p:nvSpPr>
          <p:spPr>
            <a:xfrm>
              <a:off x="7974496" y="8374343"/>
              <a:ext cx="232554" cy="91487"/>
            </a:xfrm>
            <a:custGeom>
              <a:avLst/>
              <a:gdLst>
                <a:gd name="connsiteX0" fmla="*/ 75612 w 232554"/>
                <a:gd name="connsiteY0" fmla="*/ 91487 h 91487"/>
                <a:gd name="connsiteX1" fmla="*/ 28009 w 232554"/>
                <a:gd name="connsiteY1" fmla="*/ 82562 h 91487"/>
                <a:gd name="connsiteX2" fmla="*/ 4208 w 232554"/>
                <a:gd name="connsiteY2" fmla="*/ 73636 h 91487"/>
                <a:gd name="connsiteX3" fmla="*/ 1232 w 232554"/>
                <a:gd name="connsiteY3" fmla="*/ 64711 h 91487"/>
                <a:gd name="connsiteX4" fmla="*/ 10158 w 232554"/>
                <a:gd name="connsiteY4" fmla="*/ 61735 h 91487"/>
                <a:gd name="connsiteX5" fmla="*/ 19084 w 232554"/>
                <a:gd name="connsiteY5" fmla="*/ 64711 h 91487"/>
                <a:gd name="connsiteX6" fmla="*/ 25034 w 232554"/>
                <a:gd name="connsiteY6" fmla="*/ 64711 h 91487"/>
                <a:gd name="connsiteX7" fmla="*/ 33960 w 232554"/>
                <a:gd name="connsiteY7" fmla="*/ 67686 h 91487"/>
                <a:gd name="connsiteX8" fmla="*/ 84538 w 232554"/>
                <a:gd name="connsiteY8" fmla="*/ 76611 h 91487"/>
                <a:gd name="connsiteX9" fmla="*/ 96439 w 232554"/>
                <a:gd name="connsiteY9" fmla="*/ 76611 h 91487"/>
                <a:gd name="connsiteX10" fmla="*/ 179745 w 232554"/>
                <a:gd name="connsiteY10" fmla="*/ 34959 h 91487"/>
                <a:gd name="connsiteX11" fmla="*/ 221398 w 232554"/>
                <a:gd name="connsiteY11" fmla="*/ 2231 h 91487"/>
                <a:gd name="connsiteX12" fmla="*/ 230324 w 232554"/>
                <a:gd name="connsiteY12" fmla="*/ 2231 h 91487"/>
                <a:gd name="connsiteX13" fmla="*/ 230324 w 232554"/>
                <a:gd name="connsiteY13" fmla="*/ 11157 h 91487"/>
                <a:gd name="connsiteX14" fmla="*/ 185695 w 232554"/>
                <a:gd name="connsiteY14" fmla="*/ 43884 h 91487"/>
                <a:gd name="connsiteX15" fmla="*/ 120241 w 232554"/>
                <a:gd name="connsiteY15" fmla="*/ 82562 h 91487"/>
                <a:gd name="connsiteX16" fmla="*/ 87514 w 232554"/>
                <a:gd name="connsiteY16" fmla="*/ 88512 h 91487"/>
                <a:gd name="connsiteX17" fmla="*/ 75612 w 232554"/>
                <a:gd name="connsiteY17" fmla="*/ 91487 h 9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2554" h="91487">
                  <a:moveTo>
                    <a:pt x="75612" y="91487"/>
                  </a:moveTo>
                  <a:cubicBezTo>
                    <a:pt x="54786" y="91487"/>
                    <a:pt x="36935" y="85537"/>
                    <a:pt x="28009" y="82562"/>
                  </a:cubicBezTo>
                  <a:cubicBezTo>
                    <a:pt x="13133" y="79587"/>
                    <a:pt x="4208" y="76611"/>
                    <a:pt x="4208" y="73636"/>
                  </a:cubicBezTo>
                  <a:cubicBezTo>
                    <a:pt x="1232" y="73636"/>
                    <a:pt x="-1743" y="67686"/>
                    <a:pt x="1232" y="64711"/>
                  </a:cubicBezTo>
                  <a:cubicBezTo>
                    <a:pt x="1232" y="61735"/>
                    <a:pt x="7183" y="61735"/>
                    <a:pt x="10158" y="61735"/>
                  </a:cubicBezTo>
                  <a:cubicBezTo>
                    <a:pt x="10158" y="61735"/>
                    <a:pt x="13133" y="61735"/>
                    <a:pt x="19084" y="64711"/>
                  </a:cubicBezTo>
                  <a:cubicBezTo>
                    <a:pt x="22059" y="64711"/>
                    <a:pt x="22059" y="64711"/>
                    <a:pt x="25034" y="64711"/>
                  </a:cubicBezTo>
                  <a:cubicBezTo>
                    <a:pt x="25034" y="64711"/>
                    <a:pt x="28009" y="67686"/>
                    <a:pt x="33960" y="67686"/>
                  </a:cubicBezTo>
                  <a:cubicBezTo>
                    <a:pt x="48836" y="70661"/>
                    <a:pt x="66687" y="76611"/>
                    <a:pt x="84538" y="76611"/>
                  </a:cubicBezTo>
                  <a:cubicBezTo>
                    <a:pt x="87514" y="76611"/>
                    <a:pt x="93464" y="76611"/>
                    <a:pt x="96439" y="76611"/>
                  </a:cubicBezTo>
                  <a:cubicBezTo>
                    <a:pt x="120241" y="73636"/>
                    <a:pt x="152968" y="52810"/>
                    <a:pt x="179745" y="34959"/>
                  </a:cubicBezTo>
                  <a:cubicBezTo>
                    <a:pt x="203546" y="17107"/>
                    <a:pt x="221398" y="2231"/>
                    <a:pt x="221398" y="2231"/>
                  </a:cubicBezTo>
                  <a:cubicBezTo>
                    <a:pt x="224373" y="-744"/>
                    <a:pt x="227348" y="-744"/>
                    <a:pt x="230324" y="2231"/>
                  </a:cubicBezTo>
                  <a:cubicBezTo>
                    <a:pt x="233298" y="5207"/>
                    <a:pt x="233298" y="8182"/>
                    <a:pt x="230324" y="11157"/>
                  </a:cubicBezTo>
                  <a:cubicBezTo>
                    <a:pt x="227348" y="11157"/>
                    <a:pt x="209497" y="29008"/>
                    <a:pt x="185695" y="43884"/>
                  </a:cubicBezTo>
                  <a:cubicBezTo>
                    <a:pt x="164869" y="58760"/>
                    <a:pt x="138092" y="76611"/>
                    <a:pt x="120241" y="82562"/>
                  </a:cubicBezTo>
                  <a:cubicBezTo>
                    <a:pt x="111315" y="85537"/>
                    <a:pt x="99414" y="88512"/>
                    <a:pt x="87514" y="88512"/>
                  </a:cubicBezTo>
                  <a:cubicBezTo>
                    <a:pt x="81563" y="91487"/>
                    <a:pt x="78588" y="91487"/>
                    <a:pt x="75612" y="91487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D234CEAA-84E0-4FF9-8FD0-3AF09DB8B996}"/>
                </a:ext>
              </a:extLst>
            </p:cNvPr>
            <p:cNvSpPr/>
            <p:nvPr/>
          </p:nvSpPr>
          <p:spPr>
            <a:xfrm>
              <a:off x="8542670" y="9609962"/>
              <a:ext cx="233388" cy="218513"/>
            </a:xfrm>
            <a:custGeom>
              <a:avLst/>
              <a:gdLst>
                <a:gd name="connsiteX0" fmla="*/ 203637 w 233388"/>
                <a:gd name="connsiteY0" fmla="*/ 218513 h 218513"/>
                <a:gd name="connsiteX1" fmla="*/ 203637 w 233388"/>
                <a:gd name="connsiteY1" fmla="*/ 218513 h 218513"/>
                <a:gd name="connsiteX2" fmla="*/ 1322 w 233388"/>
                <a:gd name="connsiteY2" fmla="*/ 45950 h 218513"/>
                <a:gd name="connsiteX3" fmla="*/ 1322 w 233388"/>
                <a:gd name="connsiteY3" fmla="*/ 40001 h 218513"/>
                <a:gd name="connsiteX4" fmla="*/ 45950 w 233388"/>
                <a:gd name="connsiteY4" fmla="*/ 1322 h 218513"/>
                <a:gd name="connsiteX5" fmla="*/ 51901 w 233388"/>
                <a:gd name="connsiteY5" fmla="*/ 1322 h 218513"/>
                <a:gd name="connsiteX6" fmla="*/ 54876 w 233388"/>
                <a:gd name="connsiteY6" fmla="*/ 4298 h 218513"/>
                <a:gd name="connsiteX7" fmla="*/ 230413 w 233388"/>
                <a:gd name="connsiteY7" fmla="*/ 161983 h 218513"/>
                <a:gd name="connsiteX8" fmla="*/ 233389 w 233388"/>
                <a:gd name="connsiteY8" fmla="*/ 167934 h 218513"/>
                <a:gd name="connsiteX9" fmla="*/ 209587 w 233388"/>
                <a:gd name="connsiteY9" fmla="*/ 215538 h 218513"/>
                <a:gd name="connsiteX10" fmla="*/ 203637 w 233388"/>
                <a:gd name="connsiteY10" fmla="*/ 218513 h 218513"/>
                <a:gd name="connsiteX11" fmla="*/ 203637 w 233388"/>
                <a:gd name="connsiteY11" fmla="*/ 218513 h 218513"/>
                <a:gd name="connsiteX12" fmla="*/ 13223 w 233388"/>
                <a:gd name="connsiteY12" fmla="*/ 42975 h 218513"/>
                <a:gd name="connsiteX13" fmla="*/ 200661 w 233388"/>
                <a:gd name="connsiteY13" fmla="*/ 203637 h 218513"/>
                <a:gd name="connsiteX14" fmla="*/ 221488 w 233388"/>
                <a:gd name="connsiteY14" fmla="*/ 164959 h 218513"/>
                <a:gd name="connsiteX15" fmla="*/ 48926 w 233388"/>
                <a:gd name="connsiteY15" fmla="*/ 10249 h 218513"/>
                <a:gd name="connsiteX16" fmla="*/ 13223 w 233388"/>
                <a:gd name="connsiteY16" fmla="*/ 42975 h 218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3388" h="218513">
                  <a:moveTo>
                    <a:pt x="203637" y="218513"/>
                  </a:moveTo>
                  <a:cubicBezTo>
                    <a:pt x="203637" y="218513"/>
                    <a:pt x="200661" y="218513"/>
                    <a:pt x="203637" y="218513"/>
                  </a:cubicBezTo>
                  <a:cubicBezTo>
                    <a:pt x="81653" y="156034"/>
                    <a:pt x="4298" y="45950"/>
                    <a:pt x="1322" y="45950"/>
                  </a:cubicBezTo>
                  <a:cubicBezTo>
                    <a:pt x="-1653" y="42975"/>
                    <a:pt x="1322" y="40001"/>
                    <a:pt x="1322" y="40001"/>
                  </a:cubicBezTo>
                  <a:lnTo>
                    <a:pt x="45950" y="1322"/>
                  </a:lnTo>
                  <a:cubicBezTo>
                    <a:pt x="45950" y="1322"/>
                    <a:pt x="48926" y="-1653"/>
                    <a:pt x="51901" y="1322"/>
                  </a:cubicBezTo>
                  <a:cubicBezTo>
                    <a:pt x="54876" y="1322"/>
                    <a:pt x="54876" y="1322"/>
                    <a:pt x="54876" y="4298"/>
                  </a:cubicBezTo>
                  <a:cubicBezTo>
                    <a:pt x="78678" y="51901"/>
                    <a:pt x="230413" y="161983"/>
                    <a:pt x="230413" y="161983"/>
                  </a:cubicBezTo>
                  <a:cubicBezTo>
                    <a:pt x="233389" y="164959"/>
                    <a:pt x="233389" y="167934"/>
                    <a:pt x="233389" y="167934"/>
                  </a:cubicBezTo>
                  <a:lnTo>
                    <a:pt x="209587" y="215538"/>
                  </a:lnTo>
                  <a:cubicBezTo>
                    <a:pt x="206611" y="215538"/>
                    <a:pt x="206611" y="215538"/>
                    <a:pt x="203637" y="218513"/>
                  </a:cubicBezTo>
                  <a:cubicBezTo>
                    <a:pt x="203637" y="218513"/>
                    <a:pt x="203637" y="218513"/>
                    <a:pt x="203637" y="218513"/>
                  </a:cubicBezTo>
                  <a:close/>
                  <a:moveTo>
                    <a:pt x="13223" y="42975"/>
                  </a:moveTo>
                  <a:cubicBezTo>
                    <a:pt x="28099" y="63802"/>
                    <a:pt x="99504" y="150083"/>
                    <a:pt x="200661" y="203637"/>
                  </a:cubicBezTo>
                  <a:lnTo>
                    <a:pt x="221488" y="164959"/>
                  </a:lnTo>
                  <a:cubicBezTo>
                    <a:pt x="197686" y="147107"/>
                    <a:pt x="81653" y="57851"/>
                    <a:pt x="48926" y="10249"/>
                  </a:cubicBezTo>
                  <a:lnTo>
                    <a:pt x="13223" y="42975"/>
                  </a:ln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3" name="图形 1">
              <a:extLst>
                <a:ext uri="{FF2B5EF4-FFF2-40B4-BE49-F238E27FC236}">
                  <a16:creationId xmlns:a16="http://schemas.microsoft.com/office/drawing/2014/main" id="{D0343AB9-F371-49BD-A663-D082F56A5E72}"/>
                </a:ext>
              </a:extLst>
            </p:cNvPr>
            <p:cNvGrpSpPr/>
            <p:nvPr/>
          </p:nvGrpSpPr>
          <p:grpSpPr>
            <a:xfrm>
              <a:off x="7755563" y="7488640"/>
              <a:ext cx="535537" cy="584462"/>
              <a:chOff x="7755563" y="7488640"/>
              <a:chExt cx="535537" cy="584462"/>
            </a:xfrm>
          </p:grpSpPr>
          <p:grpSp>
            <p:nvGrpSpPr>
              <p:cNvPr id="120" name="图形 1">
                <a:extLst>
                  <a:ext uri="{FF2B5EF4-FFF2-40B4-BE49-F238E27FC236}">
                    <a16:creationId xmlns:a16="http://schemas.microsoft.com/office/drawing/2014/main" id="{2432E4EB-C711-4094-AD51-DE8E4B7A00E9}"/>
                  </a:ext>
                </a:extLst>
              </p:cNvPr>
              <p:cNvGrpSpPr/>
              <p:nvPr/>
            </p:nvGrpSpPr>
            <p:grpSpPr>
              <a:xfrm>
                <a:off x="7757982" y="7488640"/>
                <a:ext cx="524192" cy="581456"/>
                <a:chOff x="7757982" y="7488640"/>
                <a:chExt cx="524192" cy="581456"/>
              </a:xfrm>
            </p:grpSpPr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8781664F-FF16-42D0-AD20-AB3627224061}"/>
                    </a:ext>
                  </a:extLst>
                </p:cNvPr>
                <p:cNvSpPr/>
                <p:nvPr/>
              </p:nvSpPr>
              <p:spPr>
                <a:xfrm>
                  <a:off x="7757982" y="7670740"/>
                  <a:ext cx="524192" cy="399356"/>
                </a:xfrm>
                <a:custGeom>
                  <a:avLst/>
                  <a:gdLst>
                    <a:gd name="connsiteX0" fmla="*/ 74937 w 524192"/>
                    <a:gd name="connsiteY0" fmla="*/ 113768 h 399356"/>
                    <a:gd name="connsiteX1" fmla="*/ 235598 w 524192"/>
                    <a:gd name="connsiteY1" fmla="*/ 710 h 399356"/>
                    <a:gd name="connsiteX2" fmla="*/ 488490 w 524192"/>
                    <a:gd name="connsiteY2" fmla="*/ 235752 h 399356"/>
                    <a:gd name="connsiteX3" fmla="*/ 524193 w 524192"/>
                    <a:gd name="connsiteY3" fmla="*/ 310132 h 399356"/>
                    <a:gd name="connsiteX4" fmla="*/ 524193 w 524192"/>
                    <a:gd name="connsiteY4" fmla="*/ 316082 h 399356"/>
                    <a:gd name="connsiteX5" fmla="*/ 518242 w 524192"/>
                    <a:gd name="connsiteY5" fmla="*/ 319057 h 399356"/>
                    <a:gd name="connsiteX6" fmla="*/ 211796 w 524192"/>
                    <a:gd name="connsiteY6" fmla="*/ 393437 h 399356"/>
                    <a:gd name="connsiteX7" fmla="*/ 6507 w 524192"/>
                    <a:gd name="connsiteY7" fmla="*/ 390462 h 399356"/>
                    <a:gd name="connsiteX8" fmla="*/ 556 w 524192"/>
                    <a:gd name="connsiteY8" fmla="*/ 384512 h 399356"/>
                    <a:gd name="connsiteX9" fmla="*/ 74937 w 524192"/>
                    <a:gd name="connsiteY9" fmla="*/ 113768 h 399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24192" h="399356">
                      <a:moveTo>
                        <a:pt x="74937" y="113768"/>
                      </a:moveTo>
                      <a:cubicBezTo>
                        <a:pt x="104689" y="69140"/>
                        <a:pt x="187994" y="-8216"/>
                        <a:pt x="235598" y="710"/>
                      </a:cubicBezTo>
                      <a:cubicBezTo>
                        <a:pt x="366506" y="21536"/>
                        <a:pt x="431961" y="140545"/>
                        <a:pt x="488490" y="235752"/>
                      </a:cubicBezTo>
                      <a:cubicBezTo>
                        <a:pt x="509316" y="271454"/>
                        <a:pt x="521218" y="307156"/>
                        <a:pt x="524193" y="310132"/>
                      </a:cubicBezTo>
                      <a:cubicBezTo>
                        <a:pt x="524193" y="313107"/>
                        <a:pt x="524193" y="313107"/>
                        <a:pt x="524193" y="316082"/>
                      </a:cubicBezTo>
                      <a:cubicBezTo>
                        <a:pt x="524193" y="319057"/>
                        <a:pt x="521218" y="319057"/>
                        <a:pt x="518242" y="319057"/>
                      </a:cubicBezTo>
                      <a:cubicBezTo>
                        <a:pt x="393284" y="363685"/>
                        <a:pt x="292126" y="384512"/>
                        <a:pt x="211796" y="393437"/>
                      </a:cubicBezTo>
                      <a:cubicBezTo>
                        <a:pt x="80887" y="408313"/>
                        <a:pt x="12457" y="390462"/>
                        <a:pt x="6507" y="390462"/>
                      </a:cubicBezTo>
                      <a:cubicBezTo>
                        <a:pt x="3531" y="390462"/>
                        <a:pt x="556" y="387487"/>
                        <a:pt x="556" y="384512"/>
                      </a:cubicBezTo>
                      <a:cubicBezTo>
                        <a:pt x="556" y="381536"/>
                        <a:pt x="-11345" y="244677"/>
                        <a:pt x="74937" y="11376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F40303CE-741C-4FF5-9E5C-410587176E6A}"/>
                    </a:ext>
                  </a:extLst>
                </p:cNvPr>
                <p:cNvSpPr/>
                <p:nvPr/>
              </p:nvSpPr>
              <p:spPr>
                <a:xfrm>
                  <a:off x="7898475" y="7498057"/>
                  <a:ext cx="206018" cy="203918"/>
                </a:xfrm>
                <a:custGeom>
                  <a:avLst/>
                  <a:gdLst>
                    <a:gd name="connsiteX0" fmla="*/ 14774 w 206018"/>
                    <a:gd name="connsiteY0" fmla="*/ 51410 h 203918"/>
                    <a:gd name="connsiteX1" fmla="*/ 77253 w 206018"/>
                    <a:gd name="connsiteY1" fmla="*/ 3806 h 203918"/>
                    <a:gd name="connsiteX2" fmla="*/ 202212 w 206018"/>
                    <a:gd name="connsiteY2" fmla="*/ 75211 h 203918"/>
                    <a:gd name="connsiteX3" fmla="*/ 130807 w 206018"/>
                    <a:gd name="connsiteY3" fmla="*/ 200170 h 203918"/>
                    <a:gd name="connsiteX4" fmla="*/ 112956 w 206018"/>
                    <a:gd name="connsiteY4" fmla="*/ 203145 h 203918"/>
                    <a:gd name="connsiteX5" fmla="*/ 50477 w 206018"/>
                    <a:gd name="connsiteY5" fmla="*/ 191244 h 203918"/>
                    <a:gd name="connsiteX6" fmla="*/ 2873 w 206018"/>
                    <a:gd name="connsiteY6" fmla="*/ 128765 h 203918"/>
                    <a:gd name="connsiteX7" fmla="*/ 14774 w 206018"/>
                    <a:gd name="connsiteY7" fmla="*/ 51410 h 203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6018" h="203918">
                      <a:moveTo>
                        <a:pt x="14774" y="51410"/>
                      </a:moveTo>
                      <a:cubicBezTo>
                        <a:pt x="26675" y="27608"/>
                        <a:pt x="50477" y="9756"/>
                        <a:pt x="77253" y="3806"/>
                      </a:cubicBezTo>
                      <a:cubicBezTo>
                        <a:pt x="130807" y="-11070"/>
                        <a:pt x="187336" y="18682"/>
                        <a:pt x="202212" y="75211"/>
                      </a:cubicBezTo>
                      <a:cubicBezTo>
                        <a:pt x="217088" y="128765"/>
                        <a:pt x="187336" y="185294"/>
                        <a:pt x="130807" y="200170"/>
                      </a:cubicBezTo>
                      <a:cubicBezTo>
                        <a:pt x="124857" y="203145"/>
                        <a:pt x="118907" y="203145"/>
                        <a:pt x="112956" y="203145"/>
                      </a:cubicBezTo>
                      <a:cubicBezTo>
                        <a:pt x="92129" y="206120"/>
                        <a:pt x="71303" y="200170"/>
                        <a:pt x="50477" y="191244"/>
                      </a:cubicBezTo>
                      <a:cubicBezTo>
                        <a:pt x="26675" y="179343"/>
                        <a:pt x="8824" y="155542"/>
                        <a:pt x="2873" y="128765"/>
                      </a:cubicBezTo>
                      <a:cubicBezTo>
                        <a:pt x="-3077" y="104963"/>
                        <a:pt x="-102" y="75211"/>
                        <a:pt x="14774" y="51410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21242571-7125-4AB7-91E4-274E8A6F2790}"/>
                    </a:ext>
                  </a:extLst>
                </p:cNvPr>
                <p:cNvSpPr/>
                <p:nvPr/>
              </p:nvSpPr>
              <p:spPr>
                <a:xfrm>
                  <a:off x="7894075" y="7488640"/>
                  <a:ext cx="213169" cy="218512"/>
                </a:xfrm>
                <a:custGeom>
                  <a:avLst/>
                  <a:gdLst>
                    <a:gd name="connsiteX0" fmla="*/ 108430 w 213169"/>
                    <a:gd name="connsiteY0" fmla="*/ 218512 h 218512"/>
                    <a:gd name="connsiteX1" fmla="*/ 54876 w 213169"/>
                    <a:gd name="connsiteY1" fmla="*/ 203636 h 218512"/>
                    <a:gd name="connsiteX2" fmla="*/ 4298 w 213169"/>
                    <a:gd name="connsiteY2" fmla="*/ 138182 h 218512"/>
                    <a:gd name="connsiteX3" fmla="*/ 13223 w 213169"/>
                    <a:gd name="connsiteY3" fmla="*/ 54876 h 218512"/>
                    <a:gd name="connsiteX4" fmla="*/ 13223 w 213169"/>
                    <a:gd name="connsiteY4" fmla="*/ 54876 h 218512"/>
                    <a:gd name="connsiteX5" fmla="*/ 78678 w 213169"/>
                    <a:gd name="connsiteY5" fmla="*/ 4297 h 218512"/>
                    <a:gd name="connsiteX6" fmla="*/ 159008 w 213169"/>
                    <a:gd name="connsiteY6" fmla="*/ 13223 h 218512"/>
                    <a:gd name="connsiteX7" fmla="*/ 209587 w 213169"/>
                    <a:gd name="connsiteY7" fmla="*/ 78678 h 218512"/>
                    <a:gd name="connsiteX8" fmla="*/ 135207 w 213169"/>
                    <a:gd name="connsiteY8" fmla="*/ 212562 h 218512"/>
                    <a:gd name="connsiteX9" fmla="*/ 117356 w 213169"/>
                    <a:gd name="connsiteY9" fmla="*/ 215537 h 218512"/>
                    <a:gd name="connsiteX10" fmla="*/ 108430 w 213169"/>
                    <a:gd name="connsiteY10" fmla="*/ 218512 h 218512"/>
                    <a:gd name="connsiteX11" fmla="*/ 22149 w 213169"/>
                    <a:gd name="connsiteY11" fmla="*/ 63802 h 218512"/>
                    <a:gd name="connsiteX12" fmla="*/ 13223 w 213169"/>
                    <a:gd name="connsiteY12" fmla="*/ 138182 h 218512"/>
                    <a:gd name="connsiteX13" fmla="*/ 57851 w 213169"/>
                    <a:gd name="connsiteY13" fmla="*/ 197686 h 218512"/>
                    <a:gd name="connsiteX14" fmla="*/ 117356 w 213169"/>
                    <a:gd name="connsiteY14" fmla="*/ 209587 h 218512"/>
                    <a:gd name="connsiteX15" fmla="*/ 132232 w 213169"/>
                    <a:gd name="connsiteY15" fmla="*/ 206612 h 218512"/>
                    <a:gd name="connsiteX16" fmla="*/ 197686 w 213169"/>
                    <a:gd name="connsiteY16" fmla="*/ 87603 h 218512"/>
                    <a:gd name="connsiteX17" fmla="*/ 153058 w 213169"/>
                    <a:gd name="connsiteY17" fmla="*/ 28099 h 218512"/>
                    <a:gd name="connsiteX18" fmla="*/ 78678 w 213169"/>
                    <a:gd name="connsiteY18" fmla="*/ 19174 h 218512"/>
                    <a:gd name="connsiteX19" fmla="*/ 22149 w 213169"/>
                    <a:gd name="connsiteY19" fmla="*/ 63802 h 218512"/>
                    <a:gd name="connsiteX20" fmla="*/ 22149 w 213169"/>
                    <a:gd name="connsiteY20" fmla="*/ 63802 h 218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13169" h="218512">
                      <a:moveTo>
                        <a:pt x="108430" y="218512"/>
                      </a:moveTo>
                      <a:cubicBezTo>
                        <a:pt x="90578" y="218512"/>
                        <a:pt x="72727" y="212562"/>
                        <a:pt x="54876" y="203636"/>
                      </a:cubicBezTo>
                      <a:cubicBezTo>
                        <a:pt x="31074" y="188760"/>
                        <a:pt x="10248" y="167934"/>
                        <a:pt x="4298" y="138182"/>
                      </a:cubicBezTo>
                      <a:cubicBezTo>
                        <a:pt x="-4628" y="111405"/>
                        <a:pt x="1322" y="81653"/>
                        <a:pt x="13223" y="54876"/>
                      </a:cubicBezTo>
                      <a:lnTo>
                        <a:pt x="13223" y="54876"/>
                      </a:lnTo>
                      <a:cubicBezTo>
                        <a:pt x="28099" y="31075"/>
                        <a:pt x="48926" y="10248"/>
                        <a:pt x="78678" y="4297"/>
                      </a:cubicBezTo>
                      <a:cubicBezTo>
                        <a:pt x="105454" y="-4628"/>
                        <a:pt x="135207" y="1323"/>
                        <a:pt x="159008" y="13223"/>
                      </a:cubicBezTo>
                      <a:cubicBezTo>
                        <a:pt x="182810" y="28099"/>
                        <a:pt x="203636" y="48926"/>
                        <a:pt x="209587" y="78678"/>
                      </a:cubicBezTo>
                      <a:cubicBezTo>
                        <a:pt x="224463" y="135207"/>
                        <a:pt x="191736" y="194711"/>
                        <a:pt x="135207" y="212562"/>
                      </a:cubicBezTo>
                      <a:cubicBezTo>
                        <a:pt x="129256" y="215537"/>
                        <a:pt x="123306" y="215537"/>
                        <a:pt x="117356" y="215537"/>
                      </a:cubicBezTo>
                      <a:cubicBezTo>
                        <a:pt x="114380" y="218512"/>
                        <a:pt x="111405" y="218512"/>
                        <a:pt x="108430" y="218512"/>
                      </a:cubicBezTo>
                      <a:close/>
                      <a:moveTo>
                        <a:pt x="22149" y="63802"/>
                      </a:moveTo>
                      <a:cubicBezTo>
                        <a:pt x="10248" y="87603"/>
                        <a:pt x="7273" y="111405"/>
                        <a:pt x="13223" y="138182"/>
                      </a:cubicBezTo>
                      <a:cubicBezTo>
                        <a:pt x="19174" y="161984"/>
                        <a:pt x="37025" y="182810"/>
                        <a:pt x="57851" y="197686"/>
                      </a:cubicBezTo>
                      <a:cubicBezTo>
                        <a:pt x="75702" y="206612"/>
                        <a:pt x="96529" y="212562"/>
                        <a:pt x="117356" y="209587"/>
                      </a:cubicBezTo>
                      <a:cubicBezTo>
                        <a:pt x="123306" y="209587"/>
                        <a:pt x="129256" y="206612"/>
                        <a:pt x="132232" y="206612"/>
                      </a:cubicBezTo>
                      <a:cubicBezTo>
                        <a:pt x="182810" y="191736"/>
                        <a:pt x="212562" y="138182"/>
                        <a:pt x="197686" y="87603"/>
                      </a:cubicBezTo>
                      <a:cubicBezTo>
                        <a:pt x="191736" y="63802"/>
                        <a:pt x="173884" y="42975"/>
                        <a:pt x="153058" y="28099"/>
                      </a:cubicBezTo>
                      <a:cubicBezTo>
                        <a:pt x="129256" y="16199"/>
                        <a:pt x="105454" y="13223"/>
                        <a:pt x="78678" y="19174"/>
                      </a:cubicBezTo>
                      <a:cubicBezTo>
                        <a:pt x="57851" y="25124"/>
                        <a:pt x="37025" y="42975"/>
                        <a:pt x="22149" y="63802"/>
                      </a:cubicBezTo>
                      <a:lnTo>
                        <a:pt x="22149" y="63802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5FE94299-31BE-42BA-AFA1-B1C381186922}"/>
                  </a:ext>
                </a:extLst>
              </p:cNvPr>
              <p:cNvSpPr/>
              <p:nvPr/>
            </p:nvSpPr>
            <p:spPr>
              <a:xfrm>
                <a:off x="7755563" y="7927318"/>
                <a:ext cx="505785" cy="83305"/>
              </a:xfrm>
              <a:custGeom>
                <a:avLst/>
                <a:gdLst>
                  <a:gd name="connsiteX0" fmla="*/ 110083 w 505785"/>
                  <a:gd name="connsiteY0" fmla="*/ 83306 h 83305"/>
                  <a:gd name="connsiteX1" fmla="*/ 0 w 505785"/>
                  <a:gd name="connsiteY1" fmla="*/ 71405 h 83305"/>
                  <a:gd name="connsiteX2" fmla="*/ 2975 w 505785"/>
                  <a:gd name="connsiteY2" fmla="*/ 59504 h 83305"/>
                  <a:gd name="connsiteX3" fmla="*/ 502810 w 505785"/>
                  <a:gd name="connsiteY3" fmla="*/ 0 h 83305"/>
                  <a:gd name="connsiteX4" fmla="*/ 505785 w 505785"/>
                  <a:gd name="connsiteY4" fmla="*/ 11901 h 83305"/>
                  <a:gd name="connsiteX5" fmla="*/ 110083 w 505785"/>
                  <a:gd name="connsiteY5" fmla="*/ 83306 h 83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5785" h="83305">
                    <a:moveTo>
                      <a:pt x="110083" y="83306"/>
                    </a:moveTo>
                    <a:cubicBezTo>
                      <a:pt x="71405" y="83306"/>
                      <a:pt x="32727" y="80330"/>
                      <a:pt x="0" y="71405"/>
                    </a:cubicBezTo>
                    <a:lnTo>
                      <a:pt x="2975" y="59504"/>
                    </a:lnTo>
                    <a:cubicBezTo>
                      <a:pt x="181488" y="104132"/>
                      <a:pt x="499835" y="2975"/>
                      <a:pt x="502810" y="0"/>
                    </a:cubicBezTo>
                    <a:lnTo>
                      <a:pt x="505785" y="11901"/>
                    </a:lnTo>
                    <a:cubicBezTo>
                      <a:pt x="502810" y="14876"/>
                      <a:pt x="288595" y="83306"/>
                      <a:pt x="110083" y="83306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62147AE4-42FA-478D-BDB8-28159FD9F95F}"/>
                  </a:ext>
                </a:extLst>
              </p:cNvPr>
              <p:cNvSpPr/>
              <p:nvPr/>
            </p:nvSpPr>
            <p:spPr>
              <a:xfrm>
                <a:off x="7761513" y="7872532"/>
                <a:ext cx="529586" cy="200571"/>
              </a:xfrm>
              <a:custGeom>
                <a:avLst/>
                <a:gdLst>
                  <a:gd name="connsiteX0" fmla="*/ 119008 w 529586"/>
                  <a:gd name="connsiteY0" fmla="*/ 200571 h 200571"/>
                  <a:gd name="connsiteX1" fmla="*/ 5950 w 529586"/>
                  <a:gd name="connsiteY1" fmla="*/ 194621 h 200571"/>
                  <a:gd name="connsiteX2" fmla="*/ 0 w 529586"/>
                  <a:gd name="connsiteY2" fmla="*/ 188671 h 200571"/>
                  <a:gd name="connsiteX3" fmla="*/ 5950 w 529586"/>
                  <a:gd name="connsiteY3" fmla="*/ 182720 h 200571"/>
                  <a:gd name="connsiteX4" fmla="*/ 514711 w 529586"/>
                  <a:gd name="connsiteY4" fmla="*/ 111315 h 200571"/>
                  <a:gd name="connsiteX5" fmla="*/ 467107 w 529586"/>
                  <a:gd name="connsiteY5" fmla="*/ 10158 h 200571"/>
                  <a:gd name="connsiteX6" fmla="*/ 470083 w 529586"/>
                  <a:gd name="connsiteY6" fmla="*/ 1232 h 200571"/>
                  <a:gd name="connsiteX7" fmla="*/ 479008 w 529586"/>
                  <a:gd name="connsiteY7" fmla="*/ 4208 h 200571"/>
                  <a:gd name="connsiteX8" fmla="*/ 529587 w 529586"/>
                  <a:gd name="connsiteY8" fmla="*/ 114290 h 200571"/>
                  <a:gd name="connsiteX9" fmla="*/ 529587 w 529586"/>
                  <a:gd name="connsiteY9" fmla="*/ 117265 h 200571"/>
                  <a:gd name="connsiteX10" fmla="*/ 526612 w 529586"/>
                  <a:gd name="connsiteY10" fmla="*/ 120241 h 200571"/>
                  <a:gd name="connsiteX11" fmla="*/ 119008 w 529586"/>
                  <a:gd name="connsiteY11" fmla="*/ 200571 h 200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9586" h="200571">
                    <a:moveTo>
                      <a:pt x="119008" y="200571"/>
                    </a:moveTo>
                    <a:cubicBezTo>
                      <a:pt x="83306" y="200571"/>
                      <a:pt x="44628" y="197596"/>
                      <a:pt x="5950" y="194621"/>
                    </a:cubicBezTo>
                    <a:cubicBezTo>
                      <a:pt x="2975" y="194621"/>
                      <a:pt x="0" y="191645"/>
                      <a:pt x="0" y="188671"/>
                    </a:cubicBezTo>
                    <a:cubicBezTo>
                      <a:pt x="0" y="185695"/>
                      <a:pt x="2975" y="182720"/>
                      <a:pt x="5950" y="182720"/>
                    </a:cubicBezTo>
                    <a:cubicBezTo>
                      <a:pt x="279670" y="212472"/>
                      <a:pt x="484959" y="123216"/>
                      <a:pt x="514711" y="111315"/>
                    </a:cubicBezTo>
                    <a:cubicBezTo>
                      <a:pt x="508761" y="75613"/>
                      <a:pt x="467107" y="10158"/>
                      <a:pt x="467107" y="10158"/>
                    </a:cubicBezTo>
                    <a:cubicBezTo>
                      <a:pt x="464132" y="7183"/>
                      <a:pt x="467107" y="4208"/>
                      <a:pt x="470083" y="1232"/>
                    </a:cubicBezTo>
                    <a:cubicBezTo>
                      <a:pt x="473058" y="-1743"/>
                      <a:pt x="476033" y="1232"/>
                      <a:pt x="479008" y="4208"/>
                    </a:cubicBezTo>
                    <a:cubicBezTo>
                      <a:pt x="481983" y="7183"/>
                      <a:pt x="526612" y="78588"/>
                      <a:pt x="529587" y="114290"/>
                    </a:cubicBezTo>
                    <a:lnTo>
                      <a:pt x="529587" y="117265"/>
                    </a:lnTo>
                    <a:lnTo>
                      <a:pt x="526612" y="120241"/>
                    </a:lnTo>
                    <a:cubicBezTo>
                      <a:pt x="520661" y="120241"/>
                      <a:pt x="357025" y="200571"/>
                      <a:pt x="119008" y="200571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712D69D3-5E35-4D5F-BE2A-943003532B82}"/>
                </a:ext>
              </a:extLst>
            </p:cNvPr>
            <p:cNvSpPr/>
            <p:nvPr/>
          </p:nvSpPr>
          <p:spPr>
            <a:xfrm>
              <a:off x="8048323" y="8546161"/>
              <a:ext cx="153521" cy="1532231"/>
            </a:xfrm>
            <a:custGeom>
              <a:avLst/>
              <a:gdLst>
                <a:gd name="connsiteX0" fmla="*/ 147571 w 153521"/>
                <a:gd name="connsiteY0" fmla="*/ 1532231 h 1532231"/>
                <a:gd name="connsiteX1" fmla="*/ 141621 w 153521"/>
                <a:gd name="connsiteY1" fmla="*/ 1526281 h 1532231"/>
                <a:gd name="connsiteX2" fmla="*/ 13687 w 153521"/>
                <a:gd name="connsiteY2" fmla="*/ 5950 h 1532231"/>
                <a:gd name="connsiteX3" fmla="*/ 19637 w 153521"/>
                <a:gd name="connsiteY3" fmla="*/ 0 h 1532231"/>
                <a:gd name="connsiteX4" fmla="*/ 25587 w 153521"/>
                <a:gd name="connsiteY4" fmla="*/ 5950 h 1532231"/>
                <a:gd name="connsiteX5" fmla="*/ 153521 w 153521"/>
                <a:gd name="connsiteY5" fmla="*/ 1523305 h 1532231"/>
                <a:gd name="connsiteX6" fmla="*/ 147571 w 153521"/>
                <a:gd name="connsiteY6" fmla="*/ 1532231 h 1532231"/>
                <a:gd name="connsiteX7" fmla="*/ 147571 w 153521"/>
                <a:gd name="connsiteY7" fmla="*/ 1532231 h 1532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3521" h="1532231">
                  <a:moveTo>
                    <a:pt x="147571" y="1532231"/>
                  </a:moveTo>
                  <a:cubicBezTo>
                    <a:pt x="144596" y="1532231"/>
                    <a:pt x="141621" y="1529256"/>
                    <a:pt x="141621" y="1526281"/>
                  </a:cubicBezTo>
                  <a:cubicBezTo>
                    <a:pt x="138645" y="1514380"/>
                    <a:pt x="-51768" y="455206"/>
                    <a:pt x="13687" y="5950"/>
                  </a:cubicBezTo>
                  <a:cubicBezTo>
                    <a:pt x="13687" y="2975"/>
                    <a:pt x="16662" y="0"/>
                    <a:pt x="19637" y="0"/>
                  </a:cubicBezTo>
                  <a:cubicBezTo>
                    <a:pt x="22612" y="0"/>
                    <a:pt x="25587" y="2975"/>
                    <a:pt x="25587" y="5950"/>
                  </a:cubicBezTo>
                  <a:cubicBezTo>
                    <a:pt x="-39867" y="455206"/>
                    <a:pt x="150546" y="1511405"/>
                    <a:pt x="153521" y="1523305"/>
                  </a:cubicBezTo>
                  <a:cubicBezTo>
                    <a:pt x="153521" y="1529256"/>
                    <a:pt x="153521" y="1532231"/>
                    <a:pt x="147571" y="1532231"/>
                  </a:cubicBezTo>
                  <a:cubicBezTo>
                    <a:pt x="147571" y="1532231"/>
                    <a:pt x="147571" y="1532231"/>
                    <a:pt x="147571" y="1532231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8A990208-4F2E-40E6-A755-D2DAB8F90857}"/>
                </a:ext>
              </a:extLst>
            </p:cNvPr>
            <p:cNvSpPr/>
            <p:nvPr/>
          </p:nvSpPr>
          <p:spPr>
            <a:xfrm>
              <a:off x="7931100" y="8438616"/>
              <a:ext cx="386897" cy="162911"/>
            </a:xfrm>
            <a:custGeom>
              <a:avLst/>
              <a:gdLst>
                <a:gd name="connsiteX0" fmla="*/ 11901 w 386897"/>
                <a:gd name="connsiteY0" fmla="*/ 155148 h 162911"/>
                <a:gd name="connsiteX1" fmla="*/ 377852 w 386897"/>
                <a:gd name="connsiteY1" fmla="*/ 89693 h 162911"/>
                <a:gd name="connsiteX2" fmla="*/ 383802 w 386897"/>
                <a:gd name="connsiteY2" fmla="*/ 65891 h 162911"/>
                <a:gd name="connsiteX3" fmla="*/ 324298 w 386897"/>
                <a:gd name="connsiteY3" fmla="*/ 437 h 162911"/>
                <a:gd name="connsiteX4" fmla="*/ 20827 w 386897"/>
                <a:gd name="connsiteY4" fmla="*/ 59941 h 162911"/>
                <a:gd name="connsiteX5" fmla="*/ 8926 w 386897"/>
                <a:gd name="connsiteY5" fmla="*/ 68867 h 162911"/>
                <a:gd name="connsiteX6" fmla="*/ 0 w 386897"/>
                <a:gd name="connsiteY6" fmla="*/ 137297 h 162911"/>
                <a:gd name="connsiteX7" fmla="*/ 11901 w 386897"/>
                <a:gd name="connsiteY7" fmla="*/ 155148 h 16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6897" h="162911">
                  <a:moveTo>
                    <a:pt x="11901" y="155148"/>
                  </a:moveTo>
                  <a:cubicBezTo>
                    <a:pt x="139835" y="175974"/>
                    <a:pt x="264794" y="155148"/>
                    <a:pt x="377852" y="89693"/>
                  </a:cubicBezTo>
                  <a:cubicBezTo>
                    <a:pt x="386777" y="83743"/>
                    <a:pt x="389752" y="74817"/>
                    <a:pt x="383802" y="65891"/>
                  </a:cubicBezTo>
                  <a:cubicBezTo>
                    <a:pt x="371901" y="51015"/>
                    <a:pt x="336198" y="-5513"/>
                    <a:pt x="324298" y="437"/>
                  </a:cubicBezTo>
                  <a:cubicBezTo>
                    <a:pt x="229091" y="48040"/>
                    <a:pt x="124959" y="53991"/>
                    <a:pt x="20827" y="59941"/>
                  </a:cubicBezTo>
                  <a:cubicBezTo>
                    <a:pt x="14876" y="59941"/>
                    <a:pt x="11901" y="65891"/>
                    <a:pt x="8926" y="68867"/>
                  </a:cubicBezTo>
                  <a:cubicBezTo>
                    <a:pt x="2975" y="92669"/>
                    <a:pt x="0" y="113495"/>
                    <a:pt x="0" y="137297"/>
                  </a:cubicBezTo>
                  <a:cubicBezTo>
                    <a:pt x="0" y="146222"/>
                    <a:pt x="2975" y="152173"/>
                    <a:pt x="11901" y="155148"/>
                  </a:cubicBez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6E9FF548-005D-41B0-AFCD-5749C39D5CAA}"/>
                </a:ext>
              </a:extLst>
            </p:cNvPr>
            <p:cNvSpPr/>
            <p:nvPr/>
          </p:nvSpPr>
          <p:spPr>
            <a:xfrm>
              <a:off x="6868027" y="9659461"/>
              <a:ext cx="98715" cy="229179"/>
            </a:xfrm>
            <a:custGeom>
              <a:avLst/>
              <a:gdLst>
                <a:gd name="connsiteX0" fmla="*/ 925 w 98715"/>
                <a:gd name="connsiteY0" fmla="*/ 26204 h 229179"/>
                <a:gd name="connsiteX1" fmla="*/ 60429 w 98715"/>
                <a:gd name="connsiteY1" fmla="*/ 32155 h 229179"/>
                <a:gd name="connsiteX2" fmla="*/ 96131 w 98715"/>
                <a:gd name="connsiteY2" fmla="*/ 186865 h 229179"/>
                <a:gd name="connsiteX3" fmla="*/ 42578 w 98715"/>
                <a:gd name="connsiteY3" fmla="*/ 213642 h 229179"/>
                <a:gd name="connsiteX4" fmla="*/ 925 w 98715"/>
                <a:gd name="connsiteY4" fmla="*/ 26204 h 229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715" h="229179">
                  <a:moveTo>
                    <a:pt x="925" y="26204"/>
                  </a:moveTo>
                  <a:cubicBezTo>
                    <a:pt x="3900" y="-12473"/>
                    <a:pt x="63404" y="-6524"/>
                    <a:pt x="60429" y="32155"/>
                  </a:cubicBezTo>
                  <a:cubicBezTo>
                    <a:pt x="54479" y="88683"/>
                    <a:pt x="75305" y="136287"/>
                    <a:pt x="96131" y="186865"/>
                  </a:cubicBezTo>
                  <a:cubicBezTo>
                    <a:pt x="111007" y="222568"/>
                    <a:pt x="57454" y="246369"/>
                    <a:pt x="42578" y="213642"/>
                  </a:cubicBezTo>
                  <a:cubicBezTo>
                    <a:pt x="18776" y="154138"/>
                    <a:pt x="-5026" y="94634"/>
                    <a:pt x="925" y="26204"/>
                  </a:cubicBez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C5365BF4-55FF-42AB-9F0F-8721B05C782C}"/>
                </a:ext>
              </a:extLst>
            </p:cNvPr>
            <p:cNvSpPr/>
            <p:nvPr/>
          </p:nvSpPr>
          <p:spPr>
            <a:xfrm>
              <a:off x="7761526" y="8519304"/>
              <a:ext cx="953531" cy="1229028"/>
            </a:xfrm>
            <a:custGeom>
              <a:avLst/>
              <a:gdLst>
                <a:gd name="connsiteX0" fmla="*/ 800318 w 953531"/>
                <a:gd name="connsiteY0" fmla="*/ 80 h 1229028"/>
                <a:gd name="connsiteX1" fmla="*/ 562302 w 953531"/>
                <a:gd name="connsiteY1" fmla="*/ 446361 h 1229028"/>
                <a:gd name="connsiteX2" fmla="*/ 520649 w 953531"/>
                <a:gd name="connsiteY2" fmla="*/ 800411 h 1229028"/>
                <a:gd name="connsiteX3" fmla="*/ 5938 w 953531"/>
                <a:gd name="connsiteY3" fmla="*/ 1020576 h 1229028"/>
                <a:gd name="connsiteX4" fmla="*/ 20814 w 953531"/>
                <a:gd name="connsiteY4" fmla="*/ 1193138 h 1229028"/>
                <a:gd name="connsiteX5" fmla="*/ 690235 w 953531"/>
                <a:gd name="connsiteY5" fmla="*/ 1121733 h 1229028"/>
                <a:gd name="connsiteX6" fmla="*/ 800318 w 953531"/>
                <a:gd name="connsiteY6" fmla="*/ 80 h 1229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3531" h="1229028">
                  <a:moveTo>
                    <a:pt x="800318" y="80"/>
                  </a:moveTo>
                  <a:cubicBezTo>
                    <a:pt x="669409" y="-5870"/>
                    <a:pt x="580153" y="321402"/>
                    <a:pt x="562302" y="446361"/>
                  </a:cubicBezTo>
                  <a:cubicBezTo>
                    <a:pt x="544450" y="559419"/>
                    <a:pt x="520649" y="800411"/>
                    <a:pt x="520649" y="800411"/>
                  </a:cubicBezTo>
                  <a:cubicBezTo>
                    <a:pt x="520649" y="800411"/>
                    <a:pt x="44616" y="901568"/>
                    <a:pt x="5938" y="1020576"/>
                  </a:cubicBezTo>
                  <a:cubicBezTo>
                    <a:pt x="-20839" y="1047353"/>
                    <a:pt x="53541" y="1112808"/>
                    <a:pt x="20814" y="1193138"/>
                  </a:cubicBezTo>
                  <a:cubicBezTo>
                    <a:pt x="187426" y="1288345"/>
                    <a:pt x="574202" y="1169336"/>
                    <a:pt x="690235" y="1121733"/>
                  </a:cubicBezTo>
                  <a:cubicBezTo>
                    <a:pt x="907426" y="1032477"/>
                    <a:pt x="1097839" y="17931"/>
                    <a:pt x="800318" y="80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8DB51071-7748-469D-977E-EAFE24126851}"/>
                </a:ext>
              </a:extLst>
            </p:cNvPr>
            <p:cNvSpPr/>
            <p:nvPr/>
          </p:nvSpPr>
          <p:spPr>
            <a:xfrm>
              <a:off x="7776389" y="8518661"/>
              <a:ext cx="865041" cy="1021219"/>
            </a:xfrm>
            <a:custGeom>
              <a:avLst/>
              <a:gdLst>
                <a:gd name="connsiteX0" fmla="*/ 5950 w 865041"/>
                <a:gd name="connsiteY0" fmla="*/ 1021219 h 1021219"/>
                <a:gd name="connsiteX1" fmla="*/ 5950 w 865041"/>
                <a:gd name="connsiteY1" fmla="*/ 1021219 h 1021219"/>
                <a:gd name="connsiteX2" fmla="*/ 0 w 865041"/>
                <a:gd name="connsiteY2" fmla="*/ 1015268 h 1021219"/>
                <a:gd name="connsiteX3" fmla="*/ 499835 w 865041"/>
                <a:gd name="connsiteY3" fmla="*/ 801054 h 1021219"/>
                <a:gd name="connsiteX4" fmla="*/ 541488 w 865041"/>
                <a:gd name="connsiteY4" fmla="*/ 449980 h 1021219"/>
                <a:gd name="connsiteX5" fmla="*/ 657521 w 865041"/>
                <a:gd name="connsiteY5" fmla="*/ 95930 h 1021219"/>
                <a:gd name="connsiteX6" fmla="*/ 782479 w 865041"/>
                <a:gd name="connsiteY6" fmla="*/ 723 h 1021219"/>
                <a:gd name="connsiteX7" fmla="*/ 862810 w 865041"/>
                <a:gd name="connsiteY7" fmla="*/ 27500 h 1021219"/>
                <a:gd name="connsiteX8" fmla="*/ 862810 w 865041"/>
                <a:gd name="connsiteY8" fmla="*/ 36426 h 1021219"/>
                <a:gd name="connsiteX9" fmla="*/ 853884 w 865041"/>
                <a:gd name="connsiteY9" fmla="*/ 36426 h 1021219"/>
                <a:gd name="connsiteX10" fmla="*/ 782479 w 865041"/>
                <a:gd name="connsiteY10" fmla="*/ 12624 h 1021219"/>
                <a:gd name="connsiteX11" fmla="*/ 666447 w 865041"/>
                <a:gd name="connsiteY11" fmla="*/ 101880 h 1021219"/>
                <a:gd name="connsiteX12" fmla="*/ 550413 w 865041"/>
                <a:gd name="connsiteY12" fmla="*/ 449980 h 1021219"/>
                <a:gd name="connsiteX13" fmla="*/ 508761 w 865041"/>
                <a:gd name="connsiteY13" fmla="*/ 804029 h 1021219"/>
                <a:gd name="connsiteX14" fmla="*/ 508761 w 865041"/>
                <a:gd name="connsiteY14" fmla="*/ 807004 h 1021219"/>
                <a:gd name="connsiteX15" fmla="*/ 505785 w 865041"/>
                <a:gd name="connsiteY15" fmla="*/ 807004 h 1021219"/>
                <a:gd name="connsiteX16" fmla="*/ 11901 w 865041"/>
                <a:gd name="connsiteY16" fmla="*/ 1015268 h 1021219"/>
                <a:gd name="connsiteX17" fmla="*/ 5950 w 865041"/>
                <a:gd name="connsiteY17" fmla="*/ 1021219 h 1021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5041" h="1021219">
                  <a:moveTo>
                    <a:pt x="5950" y="1021219"/>
                  </a:moveTo>
                  <a:cubicBezTo>
                    <a:pt x="5950" y="1021219"/>
                    <a:pt x="5950" y="1021219"/>
                    <a:pt x="5950" y="1021219"/>
                  </a:cubicBezTo>
                  <a:cubicBezTo>
                    <a:pt x="0" y="1021219"/>
                    <a:pt x="0" y="1015268"/>
                    <a:pt x="0" y="1015268"/>
                  </a:cubicBezTo>
                  <a:cubicBezTo>
                    <a:pt x="44628" y="893286"/>
                    <a:pt x="449256" y="809979"/>
                    <a:pt x="499835" y="801054"/>
                  </a:cubicBezTo>
                  <a:cubicBezTo>
                    <a:pt x="502810" y="771302"/>
                    <a:pt x="523637" y="571963"/>
                    <a:pt x="541488" y="449980"/>
                  </a:cubicBezTo>
                  <a:cubicBezTo>
                    <a:pt x="541488" y="447004"/>
                    <a:pt x="559339" y="244690"/>
                    <a:pt x="657521" y="95930"/>
                  </a:cubicBezTo>
                  <a:cubicBezTo>
                    <a:pt x="696199" y="36426"/>
                    <a:pt x="737851" y="3699"/>
                    <a:pt x="782479" y="723"/>
                  </a:cubicBezTo>
                  <a:cubicBezTo>
                    <a:pt x="830083" y="-5227"/>
                    <a:pt x="859835" y="27500"/>
                    <a:pt x="862810" y="27500"/>
                  </a:cubicBezTo>
                  <a:cubicBezTo>
                    <a:pt x="865785" y="30475"/>
                    <a:pt x="865785" y="33451"/>
                    <a:pt x="862810" y="36426"/>
                  </a:cubicBezTo>
                  <a:cubicBezTo>
                    <a:pt x="859835" y="39401"/>
                    <a:pt x="856860" y="39401"/>
                    <a:pt x="853884" y="36426"/>
                  </a:cubicBezTo>
                  <a:cubicBezTo>
                    <a:pt x="853884" y="36426"/>
                    <a:pt x="824132" y="6673"/>
                    <a:pt x="782479" y="12624"/>
                  </a:cubicBezTo>
                  <a:cubicBezTo>
                    <a:pt x="743802" y="15599"/>
                    <a:pt x="705124" y="48327"/>
                    <a:pt x="666447" y="101880"/>
                  </a:cubicBezTo>
                  <a:cubicBezTo>
                    <a:pt x="568265" y="250641"/>
                    <a:pt x="550413" y="449980"/>
                    <a:pt x="550413" y="449980"/>
                  </a:cubicBezTo>
                  <a:cubicBezTo>
                    <a:pt x="532562" y="580888"/>
                    <a:pt x="508761" y="801054"/>
                    <a:pt x="508761" y="804029"/>
                  </a:cubicBezTo>
                  <a:lnTo>
                    <a:pt x="508761" y="807004"/>
                  </a:lnTo>
                  <a:lnTo>
                    <a:pt x="505785" y="807004"/>
                  </a:lnTo>
                  <a:cubicBezTo>
                    <a:pt x="499835" y="807004"/>
                    <a:pt x="53554" y="896260"/>
                    <a:pt x="11901" y="1015268"/>
                  </a:cubicBezTo>
                  <a:cubicBezTo>
                    <a:pt x="11901" y="1018244"/>
                    <a:pt x="8926" y="1021219"/>
                    <a:pt x="5950" y="1021219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BD1B1E56-A8AA-4C29-B399-838EB1F73047}"/>
                </a:ext>
              </a:extLst>
            </p:cNvPr>
            <p:cNvSpPr/>
            <p:nvPr/>
          </p:nvSpPr>
          <p:spPr>
            <a:xfrm>
              <a:off x="7778132" y="9010293"/>
              <a:ext cx="935447" cy="737851"/>
            </a:xfrm>
            <a:custGeom>
              <a:avLst/>
              <a:gdLst>
                <a:gd name="connsiteX0" fmla="*/ 227348 w 935447"/>
                <a:gd name="connsiteY0" fmla="*/ 737851 h 737851"/>
                <a:gd name="connsiteX1" fmla="*/ 4207 w 935447"/>
                <a:gd name="connsiteY1" fmla="*/ 711075 h 737851"/>
                <a:gd name="connsiteX2" fmla="*/ 1232 w 935447"/>
                <a:gd name="connsiteY2" fmla="*/ 705124 h 737851"/>
                <a:gd name="connsiteX3" fmla="*/ 7183 w 935447"/>
                <a:gd name="connsiteY3" fmla="*/ 702149 h 737851"/>
                <a:gd name="connsiteX4" fmla="*/ 715282 w 935447"/>
                <a:gd name="connsiteY4" fmla="*/ 600992 h 737851"/>
                <a:gd name="connsiteX5" fmla="*/ 923547 w 935447"/>
                <a:gd name="connsiteY5" fmla="*/ 5950 h 737851"/>
                <a:gd name="connsiteX6" fmla="*/ 929497 w 935447"/>
                <a:gd name="connsiteY6" fmla="*/ 0 h 737851"/>
                <a:gd name="connsiteX7" fmla="*/ 935447 w 935447"/>
                <a:gd name="connsiteY7" fmla="*/ 5950 h 737851"/>
                <a:gd name="connsiteX8" fmla="*/ 890819 w 935447"/>
                <a:gd name="connsiteY8" fmla="*/ 264794 h 737851"/>
                <a:gd name="connsiteX9" fmla="*/ 724208 w 935447"/>
                <a:gd name="connsiteY9" fmla="*/ 609918 h 737851"/>
                <a:gd name="connsiteX10" fmla="*/ 227348 w 935447"/>
                <a:gd name="connsiteY10" fmla="*/ 737851 h 73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35447" h="737851">
                  <a:moveTo>
                    <a:pt x="227348" y="737851"/>
                  </a:moveTo>
                  <a:cubicBezTo>
                    <a:pt x="149993" y="737851"/>
                    <a:pt x="75613" y="728926"/>
                    <a:pt x="4207" y="711075"/>
                  </a:cubicBezTo>
                  <a:cubicBezTo>
                    <a:pt x="1232" y="711075"/>
                    <a:pt x="-1743" y="708099"/>
                    <a:pt x="1232" y="705124"/>
                  </a:cubicBezTo>
                  <a:cubicBezTo>
                    <a:pt x="1232" y="702149"/>
                    <a:pt x="4207" y="699174"/>
                    <a:pt x="7183" y="702149"/>
                  </a:cubicBezTo>
                  <a:cubicBezTo>
                    <a:pt x="260075" y="770579"/>
                    <a:pt x="563546" y="705124"/>
                    <a:pt x="715282" y="600992"/>
                  </a:cubicBezTo>
                  <a:cubicBezTo>
                    <a:pt x="872968" y="493884"/>
                    <a:pt x="923547" y="11901"/>
                    <a:pt x="923547" y="5950"/>
                  </a:cubicBezTo>
                  <a:cubicBezTo>
                    <a:pt x="923547" y="2975"/>
                    <a:pt x="926521" y="0"/>
                    <a:pt x="929497" y="0"/>
                  </a:cubicBezTo>
                  <a:cubicBezTo>
                    <a:pt x="932472" y="0"/>
                    <a:pt x="935447" y="2975"/>
                    <a:pt x="935447" y="5950"/>
                  </a:cubicBezTo>
                  <a:cubicBezTo>
                    <a:pt x="935447" y="5950"/>
                    <a:pt x="923547" y="130909"/>
                    <a:pt x="890819" y="264794"/>
                  </a:cubicBezTo>
                  <a:cubicBezTo>
                    <a:pt x="846191" y="446281"/>
                    <a:pt x="792637" y="562314"/>
                    <a:pt x="724208" y="609918"/>
                  </a:cubicBezTo>
                  <a:cubicBezTo>
                    <a:pt x="611150" y="681323"/>
                    <a:pt x="420736" y="737851"/>
                    <a:pt x="227348" y="737851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0" name="图形 1">
              <a:extLst>
                <a:ext uri="{FF2B5EF4-FFF2-40B4-BE49-F238E27FC236}">
                  <a16:creationId xmlns:a16="http://schemas.microsoft.com/office/drawing/2014/main" id="{93E145A7-2CCC-4FB8-907C-FB8FFF5F99BD}"/>
                </a:ext>
              </a:extLst>
            </p:cNvPr>
            <p:cNvGrpSpPr/>
            <p:nvPr/>
          </p:nvGrpSpPr>
          <p:grpSpPr>
            <a:xfrm>
              <a:off x="7455067" y="12089632"/>
              <a:ext cx="512317" cy="321321"/>
              <a:chOff x="7455067" y="12089632"/>
              <a:chExt cx="512317" cy="321321"/>
            </a:xfrm>
          </p:grpSpPr>
          <p:grpSp>
            <p:nvGrpSpPr>
              <p:cNvPr id="116" name="图形 1">
                <a:extLst>
                  <a:ext uri="{FF2B5EF4-FFF2-40B4-BE49-F238E27FC236}">
                    <a16:creationId xmlns:a16="http://schemas.microsoft.com/office/drawing/2014/main" id="{F091E59D-0411-49A6-8655-0338601320E7}"/>
                  </a:ext>
                </a:extLst>
              </p:cNvPr>
              <p:cNvGrpSpPr/>
              <p:nvPr/>
            </p:nvGrpSpPr>
            <p:grpSpPr>
              <a:xfrm>
                <a:off x="7455067" y="12211615"/>
                <a:ext cx="483967" cy="199339"/>
                <a:chOff x="7455067" y="12211615"/>
                <a:chExt cx="483967" cy="199339"/>
              </a:xfrm>
            </p:grpSpPr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800F36CC-271C-4E61-96B1-0FE29149C556}"/>
                    </a:ext>
                  </a:extLst>
                </p:cNvPr>
                <p:cNvSpPr/>
                <p:nvPr/>
              </p:nvSpPr>
              <p:spPr>
                <a:xfrm>
                  <a:off x="7455067" y="12211615"/>
                  <a:ext cx="483967" cy="157686"/>
                </a:xfrm>
                <a:custGeom>
                  <a:avLst/>
                  <a:gdLst>
                    <a:gd name="connsiteX0" fmla="*/ 476033 w 483967"/>
                    <a:gd name="connsiteY0" fmla="*/ 44628 h 157686"/>
                    <a:gd name="connsiteX1" fmla="*/ 294546 w 483967"/>
                    <a:gd name="connsiteY1" fmla="*/ 0 h 157686"/>
                    <a:gd name="connsiteX2" fmla="*/ 163636 w 483967"/>
                    <a:gd name="connsiteY2" fmla="*/ 53554 h 157686"/>
                    <a:gd name="connsiteX3" fmla="*/ 0 w 483967"/>
                    <a:gd name="connsiteY3" fmla="*/ 157687 h 157686"/>
                    <a:gd name="connsiteX4" fmla="*/ 476033 w 483967"/>
                    <a:gd name="connsiteY4" fmla="*/ 157687 h 157686"/>
                    <a:gd name="connsiteX5" fmla="*/ 476033 w 483967"/>
                    <a:gd name="connsiteY5" fmla="*/ 44628 h 157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3967" h="157686">
                      <a:moveTo>
                        <a:pt x="476033" y="44628"/>
                      </a:moveTo>
                      <a:cubicBezTo>
                        <a:pt x="476033" y="44628"/>
                        <a:pt x="354050" y="62480"/>
                        <a:pt x="294546" y="0"/>
                      </a:cubicBezTo>
                      <a:cubicBezTo>
                        <a:pt x="294546" y="0"/>
                        <a:pt x="211240" y="35703"/>
                        <a:pt x="163636" y="53554"/>
                      </a:cubicBezTo>
                      <a:cubicBezTo>
                        <a:pt x="121984" y="68430"/>
                        <a:pt x="11901" y="86282"/>
                        <a:pt x="0" y="157687"/>
                      </a:cubicBezTo>
                      <a:lnTo>
                        <a:pt x="476033" y="157687"/>
                      </a:lnTo>
                      <a:cubicBezTo>
                        <a:pt x="476033" y="154711"/>
                        <a:pt x="493885" y="95207"/>
                        <a:pt x="476033" y="44628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A4EBB6BD-5314-45B3-9EF0-17DD30F11B9D}"/>
                    </a:ext>
                  </a:extLst>
                </p:cNvPr>
                <p:cNvSpPr/>
                <p:nvPr/>
              </p:nvSpPr>
              <p:spPr>
                <a:xfrm>
                  <a:off x="7455067" y="12366326"/>
                  <a:ext cx="476033" cy="44628"/>
                </a:xfrm>
                <a:custGeom>
                  <a:avLst/>
                  <a:gdLst>
                    <a:gd name="connsiteX0" fmla="*/ 0 w 476033"/>
                    <a:gd name="connsiteY0" fmla="*/ 0 h 44628"/>
                    <a:gd name="connsiteX1" fmla="*/ 476033 w 476033"/>
                    <a:gd name="connsiteY1" fmla="*/ 0 h 44628"/>
                    <a:gd name="connsiteX2" fmla="*/ 476033 w 476033"/>
                    <a:gd name="connsiteY2" fmla="*/ 44628 h 44628"/>
                    <a:gd name="connsiteX3" fmla="*/ 0 w 476033"/>
                    <a:gd name="connsiteY3" fmla="*/ 44628 h 4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033" h="44628">
                      <a:moveTo>
                        <a:pt x="0" y="0"/>
                      </a:moveTo>
                      <a:lnTo>
                        <a:pt x="476033" y="0"/>
                      </a:lnTo>
                      <a:lnTo>
                        <a:pt x="476033" y="44628"/>
                      </a:lnTo>
                      <a:lnTo>
                        <a:pt x="0" y="44628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486F5DF1-1C70-4A5B-BE5C-A5838CBADB2B}"/>
                  </a:ext>
                </a:extLst>
              </p:cNvPr>
              <p:cNvSpPr/>
              <p:nvPr/>
            </p:nvSpPr>
            <p:spPr>
              <a:xfrm>
                <a:off x="7636555" y="12089632"/>
                <a:ext cx="330829" cy="276693"/>
              </a:xfrm>
              <a:custGeom>
                <a:avLst/>
                <a:gdLst>
                  <a:gd name="connsiteX0" fmla="*/ 294545 w 330829"/>
                  <a:gd name="connsiteY0" fmla="*/ 276694 h 276693"/>
                  <a:gd name="connsiteX1" fmla="*/ 330248 w 330829"/>
                  <a:gd name="connsiteY1" fmla="*/ 0 h 276693"/>
                  <a:gd name="connsiteX2" fmla="*/ 0 w 330829"/>
                  <a:gd name="connsiteY2" fmla="*/ 17851 h 276693"/>
                  <a:gd name="connsiteX3" fmla="*/ 44628 w 330829"/>
                  <a:gd name="connsiteY3" fmla="*/ 175537 h 276693"/>
                  <a:gd name="connsiteX4" fmla="*/ 294545 w 330829"/>
                  <a:gd name="connsiteY4" fmla="*/ 276694 h 276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29" h="276693">
                    <a:moveTo>
                      <a:pt x="294545" y="276694"/>
                    </a:moveTo>
                    <a:cubicBezTo>
                      <a:pt x="294545" y="276694"/>
                      <a:pt x="336198" y="187438"/>
                      <a:pt x="330248" y="0"/>
                    </a:cubicBezTo>
                    <a:lnTo>
                      <a:pt x="0" y="17851"/>
                    </a:lnTo>
                    <a:lnTo>
                      <a:pt x="44628" y="175537"/>
                    </a:lnTo>
                    <a:lnTo>
                      <a:pt x="294545" y="276694"/>
                    </a:ln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1" name="图形 1">
              <a:extLst>
                <a:ext uri="{FF2B5EF4-FFF2-40B4-BE49-F238E27FC236}">
                  <a16:creationId xmlns:a16="http://schemas.microsoft.com/office/drawing/2014/main" id="{A8D69567-440E-41AA-B890-0F7BA8C352D5}"/>
                </a:ext>
              </a:extLst>
            </p:cNvPr>
            <p:cNvGrpSpPr/>
            <p:nvPr/>
          </p:nvGrpSpPr>
          <p:grpSpPr>
            <a:xfrm>
              <a:off x="9037877" y="11914094"/>
              <a:ext cx="440330" cy="497901"/>
              <a:chOff x="9037877" y="11914094"/>
              <a:chExt cx="440330" cy="497901"/>
            </a:xfrm>
          </p:grpSpPr>
          <p:grpSp>
            <p:nvGrpSpPr>
              <p:cNvPr id="110" name="图形 1">
                <a:extLst>
                  <a:ext uri="{FF2B5EF4-FFF2-40B4-BE49-F238E27FC236}">
                    <a16:creationId xmlns:a16="http://schemas.microsoft.com/office/drawing/2014/main" id="{3461B81C-7400-40D8-8EC8-80A414165817}"/>
                  </a:ext>
                </a:extLst>
              </p:cNvPr>
              <p:cNvGrpSpPr/>
              <p:nvPr/>
            </p:nvGrpSpPr>
            <p:grpSpPr>
              <a:xfrm>
                <a:off x="9201514" y="12050954"/>
                <a:ext cx="276693" cy="360000"/>
                <a:chOff x="9201514" y="12050954"/>
                <a:chExt cx="276693" cy="360000"/>
              </a:xfrm>
            </p:grpSpPr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3C6B9A28-1015-4B2C-BAA5-9412375212E1}"/>
                    </a:ext>
                  </a:extLst>
                </p:cNvPr>
                <p:cNvSpPr/>
                <p:nvPr/>
              </p:nvSpPr>
              <p:spPr>
                <a:xfrm>
                  <a:off x="9201514" y="12050954"/>
                  <a:ext cx="240991" cy="347768"/>
                </a:xfrm>
                <a:custGeom>
                  <a:avLst/>
                  <a:gdLst>
                    <a:gd name="connsiteX0" fmla="*/ 142810 w 240991"/>
                    <a:gd name="connsiteY0" fmla="*/ 0 h 347768"/>
                    <a:gd name="connsiteX1" fmla="*/ 14876 w 240991"/>
                    <a:gd name="connsiteY1" fmla="*/ 136860 h 347768"/>
                    <a:gd name="connsiteX2" fmla="*/ 20826 w 240991"/>
                    <a:gd name="connsiteY2" fmla="*/ 288595 h 347768"/>
                    <a:gd name="connsiteX3" fmla="*/ 0 w 240991"/>
                    <a:gd name="connsiteY3" fmla="*/ 345124 h 347768"/>
                    <a:gd name="connsiteX4" fmla="*/ 77355 w 240991"/>
                    <a:gd name="connsiteY4" fmla="*/ 345124 h 347768"/>
                    <a:gd name="connsiteX5" fmla="*/ 240991 w 240991"/>
                    <a:gd name="connsiteY5" fmla="*/ 53554 h 347768"/>
                    <a:gd name="connsiteX6" fmla="*/ 142810 w 240991"/>
                    <a:gd name="connsiteY6" fmla="*/ 0 h 3477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40991" h="347768">
                      <a:moveTo>
                        <a:pt x="142810" y="0"/>
                      </a:moveTo>
                      <a:cubicBezTo>
                        <a:pt x="142810" y="0"/>
                        <a:pt x="98181" y="116033"/>
                        <a:pt x="14876" y="136860"/>
                      </a:cubicBezTo>
                      <a:cubicBezTo>
                        <a:pt x="14876" y="136860"/>
                        <a:pt x="32727" y="246943"/>
                        <a:pt x="20826" y="288595"/>
                      </a:cubicBezTo>
                      <a:cubicBezTo>
                        <a:pt x="14876" y="303471"/>
                        <a:pt x="5950" y="324297"/>
                        <a:pt x="0" y="345124"/>
                      </a:cubicBezTo>
                      <a:cubicBezTo>
                        <a:pt x="38677" y="351075"/>
                        <a:pt x="77355" y="345124"/>
                        <a:pt x="77355" y="345124"/>
                      </a:cubicBezTo>
                      <a:lnTo>
                        <a:pt x="240991" y="53554"/>
                      </a:lnTo>
                      <a:cubicBezTo>
                        <a:pt x="240991" y="53554"/>
                        <a:pt x="196363" y="8926"/>
                        <a:pt x="142810" y="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D5DD6026-7F5C-4662-8210-9606C4BD5FDC}"/>
                    </a:ext>
                  </a:extLst>
                </p:cNvPr>
                <p:cNvSpPr/>
                <p:nvPr/>
              </p:nvSpPr>
              <p:spPr>
                <a:xfrm>
                  <a:off x="9269943" y="12104508"/>
                  <a:ext cx="208264" cy="306445"/>
                </a:xfrm>
                <a:custGeom>
                  <a:avLst/>
                  <a:gdLst>
                    <a:gd name="connsiteX0" fmla="*/ 0 w 208264"/>
                    <a:gd name="connsiteY0" fmla="*/ 306446 h 306445"/>
                    <a:gd name="connsiteX1" fmla="*/ 172562 w 208264"/>
                    <a:gd name="connsiteY1" fmla="*/ 0 h 306445"/>
                    <a:gd name="connsiteX2" fmla="*/ 208264 w 208264"/>
                    <a:gd name="connsiteY2" fmla="*/ 20826 h 306445"/>
                    <a:gd name="connsiteX3" fmla="*/ 50579 w 208264"/>
                    <a:gd name="connsiteY3" fmla="*/ 306446 h 3064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08264" h="306445">
                      <a:moveTo>
                        <a:pt x="0" y="306446"/>
                      </a:moveTo>
                      <a:lnTo>
                        <a:pt x="172562" y="0"/>
                      </a:lnTo>
                      <a:lnTo>
                        <a:pt x="208264" y="20826"/>
                      </a:lnTo>
                      <a:lnTo>
                        <a:pt x="50579" y="306446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3E1C7ACB-AB6A-4714-9C85-5633B18B1B59}"/>
                  </a:ext>
                </a:extLst>
              </p:cNvPr>
              <p:cNvSpPr/>
              <p:nvPr/>
            </p:nvSpPr>
            <p:spPr>
              <a:xfrm rot="-10800000">
                <a:off x="9106664" y="12373318"/>
                <a:ext cx="193388" cy="38677"/>
              </a:xfrm>
              <a:custGeom>
                <a:avLst/>
                <a:gdLst>
                  <a:gd name="connsiteX0" fmla="*/ 0 w 193388"/>
                  <a:gd name="connsiteY0" fmla="*/ 0 h 38677"/>
                  <a:gd name="connsiteX1" fmla="*/ 193388 w 193388"/>
                  <a:gd name="connsiteY1" fmla="*/ 0 h 38677"/>
                  <a:gd name="connsiteX2" fmla="*/ 193388 w 193388"/>
                  <a:gd name="connsiteY2" fmla="*/ 38678 h 38677"/>
                  <a:gd name="connsiteX3" fmla="*/ 0 w 193388"/>
                  <a:gd name="connsiteY3" fmla="*/ 38678 h 38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388" h="38677">
                    <a:moveTo>
                      <a:pt x="0" y="0"/>
                    </a:moveTo>
                    <a:lnTo>
                      <a:pt x="193388" y="0"/>
                    </a:lnTo>
                    <a:lnTo>
                      <a:pt x="193388" y="38678"/>
                    </a:lnTo>
                    <a:lnTo>
                      <a:pt x="0" y="38678"/>
                    </a:lnTo>
                    <a:close/>
                  </a:path>
                </a:pathLst>
              </a:custGeom>
              <a:solidFill>
                <a:srgbClr val="38333D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DF7570D0-386F-4012-B5C1-8A7324C4A3EC}"/>
                  </a:ext>
                </a:extLst>
              </p:cNvPr>
              <p:cNvSpPr/>
              <p:nvPr/>
            </p:nvSpPr>
            <p:spPr>
              <a:xfrm>
                <a:off x="9109282" y="12303847"/>
                <a:ext cx="181487" cy="68430"/>
              </a:xfrm>
              <a:custGeom>
                <a:avLst/>
                <a:gdLst>
                  <a:gd name="connsiteX0" fmla="*/ 0 w 181487"/>
                  <a:gd name="connsiteY0" fmla="*/ 68430 h 68430"/>
                  <a:gd name="connsiteX1" fmla="*/ 29752 w 181487"/>
                  <a:gd name="connsiteY1" fmla="*/ 11901 h 68430"/>
                  <a:gd name="connsiteX2" fmla="*/ 181488 w 181487"/>
                  <a:gd name="connsiteY2" fmla="*/ 0 h 68430"/>
                  <a:gd name="connsiteX3" fmla="*/ 181488 w 181487"/>
                  <a:gd name="connsiteY3" fmla="*/ 68430 h 68430"/>
                  <a:gd name="connsiteX4" fmla="*/ 0 w 181487"/>
                  <a:gd name="connsiteY4" fmla="*/ 68430 h 68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487" h="68430">
                    <a:moveTo>
                      <a:pt x="0" y="68430"/>
                    </a:moveTo>
                    <a:cubicBezTo>
                      <a:pt x="0" y="68430"/>
                      <a:pt x="11901" y="20827"/>
                      <a:pt x="29752" y="11901"/>
                    </a:cubicBezTo>
                    <a:cubicBezTo>
                      <a:pt x="47603" y="2975"/>
                      <a:pt x="181488" y="0"/>
                      <a:pt x="181488" y="0"/>
                    </a:cubicBezTo>
                    <a:lnTo>
                      <a:pt x="181488" y="68430"/>
                    </a:lnTo>
                    <a:lnTo>
                      <a:pt x="0" y="68430"/>
                    </a:ln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5EB0D4A4-8DF3-4DDB-A5DA-13269FC20B18}"/>
                  </a:ext>
                </a:extLst>
              </p:cNvPr>
              <p:cNvSpPr/>
              <p:nvPr/>
            </p:nvSpPr>
            <p:spPr>
              <a:xfrm>
                <a:off x="9037877" y="11914094"/>
                <a:ext cx="404627" cy="371900"/>
              </a:xfrm>
              <a:custGeom>
                <a:avLst/>
                <a:gdLst>
                  <a:gd name="connsiteX0" fmla="*/ 404628 w 404627"/>
                  <a:gd name="connsiteY0" fmla="*/ 190414 h 371900"/>
                  <a:gd name="connsiteX1" fmla="*/ 163636 w 404627"/>
                  <a:gd name="connsiteY1" fmla="*/ 0 h 371900"/>
                  <a:gd name="connsiteX2" fmla="*/ 0 w 404627"/>
                  <a:gd name="connsiteY2" fmla="*/ 273719 h 371900"/>
                  <a:gd name="connsiteX3" fmla="*/ 187438 w 404627"/>
                  <a:gd name="connsiteY3" fmla="*/ 371901 h 371900"/>
                  <a:gd name="connsiteX4" fmla="*/ 404628 w 404627"/>
                  <a:gd name="connsiteY4" fmla="*/ 190414 h 371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4627" h="371900">
                    <a:moveTo>
                      <a:pt x="404628" y="190414"/>
                    </a:moveTo>
                    <a:cubicBezTo>
                      <a:pt x="404628" y="190414"/>
                      <a:pt x="318347" y="86282"/>
                      <a:pt x="163636" y="0"/>
                    </a:cubicBezTo>
                    <a:lnTo>
                      <a:pt x="0" y="273719"/>
                    </a:lnTo>
                    <a:lnTo>
                      <a:pt x="187438" y="371901"/>
                    </a:lnTo>
                    <a:lnTo>
                      <a:pt x="404628" y="190414"/>
                    </a:ln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2" name="图形 1">
              <a:extLst>
                <a:ext uri="{FF2B5EF4-FFF2-40B4-BE49-F238E27FC236}">
                  <a16:creationId xmlns:a16="http://schemas.microsoft.com/office/drawing/2014/main" id="{8116B00D-6154-430D-BC95-C0390DFDF4AF}"/>
                </a:ext>
              </a:extLst>
            </p:cNvPr>
            <p:cNvGrpSpPr/>
            <p:nvPr/>
          </p:nvGrpSpPr>
          <p:grpSpPr>
            <a:xfrm>
              <a:off x="7389423" y="9548728"/>
              <a:ext cx="397146" cy="204602"/>
              <a:chOff x="7389423" y="9548728"/>
              <a:chExt cx="397146" cy="204602"/>
            </a:xfrm>
          </p:grpSpPr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8082F803-1718-42B8-A3A8-258E53142D3F}"/>
                  </a:ext>
                </a:extLst>
              </p:cNvPr>
              <p:cNvSpPr/>
              <p:nvPr/>
            </p:nvSpPr>
            <p:spPr>
              <a:xfrm>
                <a:off x="7389423" y="9548728"/>
                <a:ext cx="397146" cy="204602"/>
              </a:xfrm>
              <a:custGeom>
                <a:avLst/>
                <a:gdLst>
                  <a:gd name="connsiteX0" fmla="*/ 395893 w 397146"/>
                  <a:gd name="connsiteY0" fmla="*/ 122061 h 204602"/>
                  <a:gd name="connsiteX1" fmla="*/ 363165 w 397146"/>
                  <a:gd name="connsiteY1" fmla="*/ 78 h 204602"/>
                  <a:gd name="connsiteX2" fmla="*/ 104322 w 397146"/>
                  <a:gd name="connsiteY2" fmla="*/ 14954 h 204602"/>
                  <a:gd name="connsiteX3" fmla="*/ 38868 w 397146"/>
                  <a:gd name="connsiteY3" fmla="*/ 53632 h 204602"/>
                  <a:gd name="connsiteX4" fmla="*/ 56719 w 397146"/>
                  <a:gd name="connsiteY4" fmla="*/ 62557 h 204602"/>
                  <a:gd name="connsiteX5" fmla="*/ 101347 w 397146"/>
                  <a:gd name="connsiteY5" fmla="*/ 62557 h 204602"/>
                  <a:gd name="connsiteX6" fmla="*/ 44818 w 397146"/>
                  <a:gd name="connsiteY6" fmla="*/ 86359 h 204602"/>
                  <a:gd name="connsiteX7" fmla="*/ 190 w 397146"/>
                  <a:gd name="connsiteY7" fmla="*/ 133962 h 204602"/>
                  <a:gd name="connsiteX8" fmla="*/ 29942 w 397146"/>
                  <a:gd name="connsiteY8" fmla="*/ 145863 h 204602"/>
                  <a:gd name="connsiteX9" fmla="*/ 29942 w 397146"/>
                  <a:gd name="connsiteY9" fmla="*/ 160739 h 204602"/>
                  <a:gd name="connsiteX10" fmla="*/ 104322 w 397146"/>
                  <a:gd name="connsiteY10" fmla="*/ 166689 h 204602"/>
                  <a:gd name="connsiteX11" fmla="*/ 157876 w 397146"/>
                  <a:gd name="connsiteY11" fmla="*/ 154789 h 204602"/>
                  <a:gd name="connsiteX12" fmla="*/ 113248 w 397146"/>
                  <a:gd name="connsiteY12" fmla="*/ 199417 h 204602"/>
                  <a:gd name="connsiteX13" fmla="*/ 166802 w 397146"/>
                  <a:gd name="connsiteY13" fmla="*/ 196441 h 204602"/>
                  <a:gd name="connsiteX14" fmla="*/ 259033 w 397146"/>
                  <a:gd name="connsiteY14" fmla="*/ 166689 h 204602"/>
                  <a:gd name="connsiteX15" fmla="*/ 351264 w 397146"/>
                  <a:gd name="connsiteY15" fmla="*/ 145863 h 204602"/>
                  <a:gd name="connsiteX16" fmla="*/ 395893 w 397146"/>
                  <a:gd name="connsiteY16" fmla="*/ 122061 h 204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97146" h="204602">
                    <a:moveTo>
                      <a:pt x="395893" y="122061"/>
                    </a:moveTo>
                    <a:cubicBezTo>
                      <a:pt x="404818" y="80409"/>
                      <a:pt x="363165" y="-2897"/>
                      <a:pt x="363165" y="78"/>
                    </a:cubicBezTo>
                    <a:cubicBezTo>
                      <a:pt x="276884" y="6028"/>
                      <a:pt x="190603" y="-2897"/>
                      <a:pt x="104322" y="14954"/>
                    </a:cubicBezTo>
                    <a:cubicBezTo>
                      <a:pt x="89446" y="17929"/>
                      <a:pt x="29942" y="26855"/>
                      <a:pt x="38868" y="53632"/>
                    </a:cubicBezTo>
                    <a:cubicBezTo>
                      <a:pt x="41843" y="62557"/>
                      <a:pt x="50768" y="62557"/>
                      <a:pt x="56719" y="62557"/>
                    </a:cubicBezTo>
                    <a:cubicBezTo>
                      <a:pt x="71595" y="65532"/>
                      <a:pt x="86471" y="62557"/>
                      <a:pt x="101347" y="62557"/>
                    </a:cubicBezTo>
                    <a:cubicBezTo>
                      <a:pt x="83496" y="68508"/>
                      <a:pt x="62670" y="77433"/>
                      <a:pt x="44818" y="86359"/>
                    </a:cubicBezTo>
                    <a:cubicBezTo>
                      <a:pt x="29942" y="95285"/>
                      <a:pt x="-2785" y="113136"/>
                      <a:pt x="190" y="133962"/>
                    </a:cubicBezTo>
                    <a:cubicBezTo>
                      <a:pt x="3165" y="145863"/>
                      <a:pt x="12091" y="148838"/>
                      <a:pt x="29942" y="145863"/>
                    </a:cubicBezTo>
                    <a:cubicBezTo>
                      <a:pt x="26967" y="151813"/>
                      <a:pt x="26967" y="157764"/>
                      <a:pt x="29942" y="160739"/>
                    </a:cubicBezTo>
                    <a:cubicBezTo>
                      <a:pt x="44818" y="175616"/>
                      <a:pt x="86471" y="169665"/>
                      <a:pt x="104322" y="166689"/>
                    </a:cubicBezTo>
                    <a:cubicBezTo>
                      <a:pt x="122174" y="163714"/>
                      <a:pt x="140025" y="160739"/>
                      <a:pt x="157876" y="154789"/>
                    </a:cubicBezTo>
                    <a:cubicBezTo>
                      <a:pt x="128124" y="166689"/>
                      <a:pt x="95397" y="184541"/>
                      <a:pt x="113248" y="199417"/>
                    </a:cubicBezTo>
                    <a:cubicBezTo>
                      <a:pt x="125149" y="211317"/>
                      <a:pt x="154901" y="199417"/>
                      <a:pt x="166802" y="196441"/>
                    </a:cubicBezTo>
                    <a:cubicBezTo>
                      <a:pt x="199529" y="187516"/>
                      <a:pt x="229281" y="175616"/>
                      <a:pt x="259033" y="166689"/>
                    </a:cubicBezTo>
                    <a:cubicBezTo>
                      <a:pt x="288785" y="157764"/>
                      <a:pt x="321512" y="154789"/>
                      <a:pt x="351264" y="145863"/>
                    </a:cubicBezTo>
                    <a:cubicBezTo>
                      <a:pt x="383992" y="148838"/>
                      <a:pt x="392917" y="148838"/>
                      <a:pt x="395893" y="122061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66A9BB9D-4791-4C11-A60A-5AF0ABC9424D}"/>
                  </a:ext>
                </a:extLst>
              </p:cNvPr>
              <p:cNvSpPr/>
              <p:nvPr/>
            </p:nvSpPr>
            <p:spPr>
              <a:xfrm>
                <a:off x="7426059" y="9548805"/>
                <a:ext cx="177768" cy="74380"/>
              </a:xfrm>
              <a:custGeom>
                <a:avLst/>
                <a:gdLst>
                  <a:gd name="connsiteX0" fmla="*/ 43884 w 177768"/>
                  <a:gd name="connsiteY0" fmla="*/ 74380 h 74380"/>
                  <a:gd name="connsiteX1" fmla="*/ 2232 w 177768"/>
                  <a:gd name="connsiteY1" fmla="*/ 59504 h 74380"/>
                  <a:gd name="connsiteX2" fmla="*/ 2232 w 177768"/>
                  <a:gd name="connsiteY2" fmla="*/ 44628 h 74380"/>
                  <a:gd name="connsiteX3" fmla="*/ 171818 w 177768"/>
                  <a:gd name="connsiteY3" fmla="*/ 0 h 74380"/>
                  <a:gd name="connsiteX4" fmla="*/ 171818 w 177768"/>
                  <a:gd name="connsiteY4" fmla="*/ 0 h 74380"/>
                  <a:gd name="connsiteX5" fmla="*/ 177769 w 177768"/>
                  <a:gd name="connsiteY5" fmla="*/ 5951 h 74380"/>
                  <a:gd name="connsiteX6" fmla="*/ 171818 w 177768"/>
                  <a:gd name="connsiteY6" fmla="*/ 11902 h 74380"/>
                  <a:gd name="connsiteX7" fmla="*/ 11157 w 177768"/>
                  <a:gd name="connsiteY7" fmla="*/ 50579 h 74380"/>
                  <a:gd name="connsiteX8" fmla="*/ 11157 w 177768"/>
                  <a:gd name="connsiteY8" fmla="*/ 56530 h 74380"/>
                  <a:gd name="connsiteX9" fmla="*/ 67686 w 177768"/>
                  <a:gd name="connsiteY9" fmla="*/ 65455 h 74380"/>
                  <a:gd name="connsiteX10" fmla="*/ 150992 w 177768"/>
                  <a:gd name="connsiteY10" fmla="*/ 53554 h 74380"/>
                  <a:gd name="connsiteX11" fmla="*/ 153967 w 177768"/>
                  <a:gd name="connsiteY11" fmla="*/ 59504 h 74380"/>
                  <a:gd name="connsiteX12" fmla="*/ 148016 w 177768"/>
                  <a:gd name="connsiteY12" fmla="*/ 62480 h 74380"/>
                  <a:gd name="connsiteX13" fmla="*/ 70661 w 177768"/>
                  <a:gd name="connsiteY13" fmla="*/ 74380 h 74380"/>
                  <a:gd name="connsiteX14" fmla="*/ 43884 w 177768"/>
                  <a:gd name="connsiteY14" fmla="*/ 74380 h 74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7768" h="74380">
                    <a:moveTo>
                      <a:pt x="43884" y="74380"/>
                    </a:moveTo>
                    <a:cubicBezTo>
                      <a:pt x="29008" y="74380"/>
                      <a:pt x="8182" y="71406"/>
                      <a:pt x="2232" y="59504"/>
                    </a:cubicBezTo>
                    <a:cubicBezTo>
                      <a:pt x="-744" y="53554"/>
                      <a:pt x="-744" y="50579"/>
                      <a:pt x="2232" y="44628"/>
                    </a:cubicBezTo>
                    <a:cubicBezTo>
                      <a:pt x="14132" y="20827"/>
                      <a:pt x="85537" y="2975"/>
                      <a:pt x="171818" y="0"/>
                    </a:cubicBezTo>
                    <a:lnTo>
                      <a:pt x="171818" y="0"/>
                    </a:lnTo>
                    <a:cubicBezTo>
                      <a:pt x="174794" y="0"/>
                      <a:pt x="177769" y="2975"/>
                      <a:pt x="177769" y="5951"/>
                    </a:cubicBezTo>
                    <a:cubicBezTo>
                      <a:pt x="177769" y="8926"/>
                      <a:pt x="174794" y="11902"/>
                      <a:pt x="171818" y="11902"/>
                    </a:cubicBezTo>
                    <a:cubicBezTo>
                      <a:pt x="73636" y="14876"/>
                      <a:pt x="20083" y="35703"/>
                      <a:pt x="11157" y="50579"/>
                    </a:cubicBezTo>
                    <a:cubicBezTo>
                      <a:pt x="11157" y="53554"/>
                      <a:pt x="11157" y="53554"/>
                      <a:pt x="11157" y="56530"/>
                    </a:cubicBezTo>
                    <a:cubicBezTo>
                      <a:pt x="20083" y="71406"/>
                      <a:pt x="55785" y="65455"/>
                      <a:pt x="67686" y="65455"/>
                    </a:cubicBezTo>
                    <a:cubicBezTo>
                      <a:pt x="82562" y="62480"/>
                      <a:pt x="139091" y="47603"/>
                      <a:pt x="150992" y="53554"/>
                    </a:cubicBezTo>
                    <a:cubicBezTo>
                      <a:pt x="153967" y="53554"/>
                      <a:pt x="153967" y="56530"/>
                      <a:pt x="153967" y="59504"/>
                    </a:cubicBezTo>
                    <a:cubicBezTo>
                      <a:pt x="153967" y="62480"/>
                      <a:pt x="150992" y="62480"/>
                      <a:pt x="148016" y="62480"/>
                    </a:cubicBezTo>
                    <a:cubicBezTo>
                      <a:pt x="142066" y="59504"/>
                      <a:pt x="103388" y="65455"/>
                      <a:pt x="70661" y="74380"/>
                    </a:cubicBezTo>
                    <a:cubicBezTo>
                      <a:pt x="67686" y="74380"/>
                      <a:pt x="58760" y="74380"/>
                      <a:pt x="43884" y="7438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ECCD4203-C5C0-41F3-9C52-23FA5AC451A4}"/>
                  </a:ext>
                </a:extLst>
              </p:cNvPr>
              <p:cNvSpPr/>
              <p:nvPr/>
            </p:nvSpPr>
            <p:spPr>
              <a:xfrm>
                <a:off x="7419365" y="9644012"/>
                <a:ext cx="160661" cy="62479"/>
              </a:xfrm>
              <a:custGeom>
                <a:avLst/>
                <a:gdLst>
                  <a:gd name="connsiteX0" fmla="*/ 5950 w 160661"/>
                  <a:gd name="connsiteY0" fmla="*/ 62480 h 62479"/>
                  <a:gd name="connsiteX1" fmla="*/ 0 w 160661"/>
                  <a:gd name="connsiteY1" fmla="*/ 59504 h 62479"/>
                  <a:gd name="connsiteX2" fmla="*/ 2975 w 160661"/>
                  <a:gd name="connsiteY2" fmla="*/ 53553 h 62479"/>
                  <a:gd name="connsiteX3" fmla="*/ 154711 w 160661"/>
                  <a:gd name="connsiteY3" fmla="*/ 0 h 62479"/>
                  <a:gd name="connsiteX4" fmla="*/ 154711 w 160661"/>
                  <a:gd name="connsiteY4" fmla="*/ 0 h 62479"/>
                  <a:gd name="connsiteX5" fmla="*/ 160661 w 160661"/>
                  <a:gd name="connsiteY5" fmla="*/ 5951 h 62479"/>
                  <a:gd name="connsiteX6" fmla="*/ 154711 w 160661"/>
                  <a:gd name="connsiteY6" fmla="*/ 11901 h 62479"/>
                  <a:gd name="connsiteX7" fmla="*/ 154711 w 160661"/>
                  <a:gd name="connsiteY7" fmla="*/ 11901 h 62479"/>
                  <a:gd name="connsiteX8" fmla="*/ 5950 w 160661"/>
                  <a:gd name="connsiteY8" fmla="*/ 62480 h 62479"/>
                  <a:gd name="connsiteX9" fmla="*/ 5950 w 160661"/>
                  <a:gd name="connsiteY9" fmla="*/ 62480 h 6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0661" h="62479">
                    <a:moveTo>
                      <a:pt x="5950" y="62480"/>
                    </a:moveTo>
                    <a:cubicBezTo>
                      <a:pt x="2975" y="62480"/>
                      <a:pt x="2975" y="62480"/>
                      <a:pt x="0" y="59504"/>
                    </a:cubicBezTo>
                    <a:cubicBezTo>
                      <a:pt x="0" y="56529"/>
                      <a:pt x="0" y="53553"/>
                      <a:pt x="2975" y="53553"/>
                    </a:cubicBezTo>
                    <a:cubicBezTo>
                      <a:pt x="8926" y="50579"/>
                      <a:pt x="119008" y="0"/>
                      <a:pt x="154711" y="0"/>
                    </a:cubicBezTo>
                    <a:cubicBezTo>
                      <a:pt x="154711" y="0"/>
                      <a:pt x="154711" y="0"/>
                      <a:pt x="154711" y="0"/>
                    </a:cubicBezTo>
                    <a:cubicBezTo>
                      <a:pt x="157686" y="0"/>
                      <a:pt x="160661" y="2975"/>
                      <a:pt x="160661" y="5951"/>
                    </a:cubicBezTo>
                    <a:cubicBezTo>
                      <a:pt x="160661" y="8925"/>
                      <a:pt x="157686" y="11901"/>
                      <a:pt x="154711" y="11901"/>
                    </a:cubicBezTo>
                    <a:cubicBezTo>
                      <a:pt x="154711" y="11901"/>
                      <a:pt x="154711" y="11901"/>
                      <a:pt x="154711" y="11901"/>
                    </a:cubicBezTo>
                    <a:cubicBezTo>
                      <a:pt x="121984" y="8925"/>
                      <a:pt x="8926" y="62480"/>
                      <a:pt x="5950" y="62480"/>
                    </a:cubicBezTo>
                    <a:cubicBezTo>
                      <a:pt x="5950" y="62480"/>
                      <a:pt x="5950" y="62480"/>
                      <a:pt x="5950" y="6248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B9B70A02-B41A-4F8E-ADE5-BE44C16A9D5E}"/>
                  </a:ext>
                </a:extLst>
              </p:cNvPr>
              <p:cNvSpPr/>
              <p:nvPr/>
            </p:nvSpPr>
            <p:spPr>
              <a:xfrm>
                <a:off x="7550274" y="9697566"/>
                <a:ext cx="59504" cy="20826"/>
              </a:xfrm>
              <a:custGeom>
                <a:avLst/>
                <a:gdLst>
                  <a:gd name="connsiteX0" fmla="*/ 5950 w 59504"/>
                  <a:gd name="connsiteY0" fmla="*/ 20827 h 20826"/>
                  <a:gd name="connsiteX1" fmla="*/ 0 w 59504"/>
                  <a:gd name="connsiteY1" fmla="*/ 17851 h 20826"/>
                  <a:gd name="connsiteX2" fmla="*/ 2975 w 59504"/>
                  <a:gd name="connsiteY2" fmla="*/ 11902 h 20826"/>
                  <a:gd name="connsiteX3" fmla="*/ 53553 w 59504"/>
                  <a:gd name="connsiteY3" fmla="*/ 0 h 20826"/>
                  <a:gd name="connsiteX4" fmla="*/ 59504 w 59504"/>
                  <a:gd name="connsiteY4" fmla="*/ 2975 h 20826"/>
                  <a:gd name="connsiteX5" fmla="*/ 56529 w 59504"/>
                  <a:gd name="connsiteY5" fmla="*/ 8926 h 20826"/>
                  <a:gd name="connsiteX6" fmla="*/ 5950 w 59504"/>
                  <a:gd name="connsiteY6" fmla="*/ 20827 h 20826"/>
                  <a:gd name="connsiteX7" fmla="*/ 5950 w 59504"/>
                  <a:gd name="connsiteY7" fmla="*/ 20827 h 20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504" h="20826">
                    <a:moveTo>
                      <a:pt x="5950" y="20827"/>
                    </a:moveTo>
                    <a:cubicBezTo>
                      <a:pt x="2975" y="20827"/>
                      <a:pt x="0" y="17851"/>
                      <a:pt x="0" y="17851"/>
                    </a:cubicBezTo>
                    <a:cubicBezTo>
                      <a:pt x="0" y="14876"/>
                      <a:pt x="0" y="11902"/>
                      <a:pt x="2975" y="11902"/>
                    </a:cubicBezTo>
                    <a:lnTo>
                      <a:pt x="53553" y="0"/>
                    </a:lnTo>
                    <a:cubicBezTo>
                      <a:pt x="56529" y="0"/>
                      <a:pt x="59504" y="0"/>
                      <a:pt x="59504" y="2975"/>
                    </a:cubicBezTo>
                    <a:cubicBezTo>
                      <a:pt x="59504" y="5951"/>
                      <a:pt x="59504" y="8926"/>
                      <a:pt x="56529" y="8926"/>
                    </a:cubicBezTo>
                    <a:lnTo>
                      <a:pt x="5950" y="20827"/>
                    </a:lnTo>
                    <a:cubicBezTo>
                      <a:pt x="5950" y="20827"/>
                      <a:pt x="5950" y="20827"/>
                      <a:pt x="5950" y="20827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28B78352-F5CC-4311-BC6F-65637EF001AD}"/>
                  </a:ext>
                </a:extLst>
              </p:cNvPr>
              <p:cNvSpPr/>
              <p:nvPr/>
            </p:nvSpPr>
            <p:spPr>
              <a:xfrm>
                <a:off x="7625278" y="9589226"/>
                <a:ext cx="28106" cy="108339"/>
              </a:xfrm>
              <a:custGeom>
                <a:avLst/>
                <a:gdLst>
                  <a:gd name="connsiteX0" fmla="*/ 26152 w 28106"/>
                  <a:gd name="connsiteY0" fmla="*/ 108339 h 108339"/>
                  <a:gd name="connsiteX1" fmla="*/ 20202 w 28106"/>
                  <a:gd name="connsiteY1" fmla="*/ 105365 h 108339"/>
                  <a:gd name="connsiteX2" fmla="*/ 2351 w 28106"/>
                  <a:gd name="connsiteY2" fmla="*/ 4207 h 108339"/>
                  <a:gd name="connsiteX3" fmla="*/ 8301 w 28106"/>
                  <a:gd name="connsiteY3" fmla="*/ 1232 h 108339"/>
                  <a:gd name="connsiteX4" fmla="*/ 11276 w 28106"/>
                  <a:gd name="connsiteY4" fmla="*/ 7182 h 108339"/>
                  <a:gd name="connsiteX5" fmla="*/ 26152 w 28106"/>
                  <a:gd name="connsiteY5" fmla="*/ 99414 h 108339"/>
                  <a:gd name="connsiteX6" fmla="*/ 23177 w 28106"/>
                  <a:gd name="connsiteY6" fmla="*/ 108339 h 108339"/>
                  <a:gd name="connsiteX7" fmla="*/ 26152 w 28106"/>
                  <a:gd name="connsiteY7" fmla="*/ 108339 h 108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106" h="108339">
                    <a:moveTo>
                      <a:pt x="26152" y="108339"/>
                    </a:moveTo>
                    <a:cubicBezTo>
                      <a:pt x="23177" y="108339"/>
                      <a:pt x="23177" y="108339"/>
                      <a:pt x="20202" y="105365"/>
                    </a:cubicBezTo>
                    <a:cubicBezTo>
                      <a:pt x="-9550" y="57761"/>
                      <a:pt x="2351" y="7182"/>
                      <a:pt x="2351" y="4207"/>
                    </a:cubicBezTo>
                    <a:cubicBezTo>
                      <a:pt x="2351" y="1232"/>
                      <a:pt x="5326" y="-1743"/>
                      <a:pt x="8301" y="1232"/>
                    </a:cubicBezTo>
                    <a:cubicBezTo>
                      <a:pt x="11276" y="1232"/>
                      <a:pt x="14252" y="4207"/>
                      <a:pt x="11276" y="7182"/>
                    </a:cubicBezTo>
                    <a:cubicBezTo>
                      <a:pt x="11276" y="7182"/>
                      <a:pt x="-624" y="54786"/>
                      <a:pt x="26152" y="99414"/>
                    </a:cubicBezTo>
                    <a:cubicBezTo>
                      <a:pt x="29128" y="102389"/>
                      <a:pt x="26152" y="105365"/>
                      <a:pt x="23177" y="108339"/>
                    </a:cubicBezTo>
                    <a:cubicBezTo>
                      <a:pt x="29128" y="108339"/>
                      <a:pt x="29128" y="108339"/>
                      <a:pt x="26152" y="108339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F5EFD489-C533-430D-8D34-6EBCC5F9BEE8}"/>
                </a:ext>
              </a:extLst>
            </p:cNvPr>
            <p:cNvSpPr/>
            <p:nvPr/>
          </p:nvSpPr>
          <p:spPr>
            <a:xfrm>
              <a:off x="7738578" y="9480191"/>
              <a:ext cx="98880" cy="280585"/>
            </a:xfrm>
            <a:custGeom>
              <a:avLst/>
              <a:gdLst>
                <a:gd name="connsiteX0" fmla="*/ 61613 w 98880"/>
                <a:gd name="connsiteY0" fmla="*/ 29937 h 280585"/>
                <a:gd name="connsiteX1" fmla="*/ 97316 w 98880"/>
                <a:gd name="connsiteY1" fmla="*/ 247127 h 280585"/>
                <a:gd name="connsiteX2" fmla="*/ 37812 w 98880"/>
                <a:gd name="connsiteY2" fmla="*/ 259029 h 280585"/>
                <a:gd name="connsiteX3" fmla="*/ 2109 w 98880"/>
                <a:gd name="connsiteY3" fmla="*/ 23986 h 280585"/>
                <a:gd name="connsiteX4" fmla="*/ 61613 w 98880"/>
                <a:gd name="connsiteY4" fmla="*/ 29937 h 280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880" h="280585">
                  <a:moveTo>
                    <a:pt x="61613" y="29937"/>
                  </a:moveTo>
                  <a:cubicBezTo>
                    <a:pt x="55663" y="104317"/>
                    <a:pt x="76489" y="178698"/>
                    <a:pt x="97316" y="247127"/>
                  </a:cubicBezTo>
                  <a:cubicBezTo>
                    <a:pt x="109217" y="282830"/>
                    <a:pt x="49713" y="294730"/>
                    <a:pt x="37812" y="259029"/>
                  </a:cubicBezTo>
                  <a:cubicBezTo>
                    <a:pt x="14010" y="184648"/>
                    <a:pt x="-6816" y="104317"/>
                    <a:pt x="2109" y="23986"/>
                  </a:cubicBezTo>
                  <a:cubicBezTo>
                    <a:pt x="5085" y="-11715"/>
                    <a:pt x="64589" y="-5766"/>
                    <a:pt x="61613" y="29937"/>
                  </a:cubicBez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9BE58EC8-FA9A-4423-8A49-EB9F055B76CA}"/>
                </a:ext>
              </a:extLst>
            </p:cNvPr>
            <p:cNvSpPr/>
            <p:nvPr/>
          </p:nvSpPr>
          <p:spPr>
            <a:xfrm>
              <a:off x="7713910" y="8046326"/>
              <a:ext cx="210831" cy="101450"/>
            </a:xfrm>
            <a:custGeom>
              <a:avLst/>
              <a:gdLst>
                <a:gd name="connsiteX0" fmla="*/ 205289 w 210831"/>
                <a:gd name="connsiteY0" fmla="*/ 14876 h 101450"/>
                <a:gd name="connsiteX1" fmla="*/ 104132 w 210831"/>
                <a:gd name="connsiteY1" fmla="*/ 101157 h 101450"/>
                <a:gd name="connsiteX2" fmla="*/ 41653 w 210831"/>
                <a:gd name="connsiteY2" fmla="*/ 74380 h 101450"/>
                <a:gd name="connsiteX3" fmla="*/ 0 w 210831"/>
                <a:gd name="connsiteY3" fmla="*/ 0 h 101450"/>
                <a:gd name="connsiteX4" fmla="*/ 205289 w 210831"/>
                <a:gd name="connsiteY4" fmla="*/ 14876 h 10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831" h="101450">
                  <a:moveTo>
                    <a:pt x="205289" y="14876"/>
                  </a:moveTo>
                  <a:cubicBezTo>
                    <a:pt x="235041" y="20826"/>
                    <a:pt x="136859" y="107107"/>
                    <a:pt x="104132" y="101157"/>
                  </a:cubicBezTo>
                  <a:cubicBezTo>
                    <a:pt x="74380" y="95207"/>
                    <a:pt x="65454" y="95207"/>
                    <a:pt x="41653" y="74380"/>
                  </a:cubicBezTo>
                  <a:cubicBezTo>
                    <a:pt x="17851" y="50578"/>
                    <a:pt x="8925" y="29752"/>
                    <a:pt x="0" y="0"/>
                  </a:cubicBezTo>
                  <a:cubicBezTo>
                    <a:pt x="59504" y="29752"/>
                    <a:pt x="169587" y="5950"/>
                    <a:pt x="205289" y="14876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1F4E59A9-CD1A-4304-9892-36810AE4ABEB}"/>
                </a:ext>
              </a:extLst>
            </p:cNvPr>
            <p:cNvSpPr/>
            <p:nvPr/>
          </p:nvSpPr>
          <p:spPr>
            <a:xfrm>
              <a:off x="5257410" y="8846516"/>
              <a:ext cx="341713" cy="583280"/>
            </a:xfrm>
            <a:custGeom>
              <a:avLst/>
              <a:gdLst>
                <a:gd name="connsiteX0" fmla="*/ 37657 w 341713"/>
                <a:gd name="connsiteY0" fmla="*/ 12042 h 583280"/>
                <a:gd name="connsiteX1" fmla="*/ 40632 w 341713"/>
                <a:gd name="connsiteY1" fmla="*/ 59645 h 583280"/>
                <a:gd name="connsiteX2" fmla="*/ 103111 w 341713"/>
                <a:gd name="connsiteY2" fmla="*/ 116174 h 583280"/>
                <a:gd name="connsiteX3" fmla="*/ 94186 w 341713"/>
                <a:gd name="connsiteY3" fmla="*/ 264934 h 583280"/>
                <a:gd name="connsiteX4" fmla="*/ 52533 w 341713"/>
                <a:gd name="connsiteY4" fmla="*/ 241133 h 583280"/>
                <a:gd name="connsiteX5" fmla="*/ 25756 w 341713"/>
                <a:gd name="connsiteY5" fmla="*/ 238157 h 583280"/>
                <a:gd name="connsiteX6" fmla="*/ 4929 w 341713"/>
                <a:gd name="connsiteY6" fmla="*/ 253033 h 583280"/>
                <a:gd name="connsiteX7" fmla="*/ 1954 w 341713"/>
                <a:gd name="connsiteY7" fmla="*/ 279810 h 583280"/>
                <a:gd name="connsiteX8" fmla="*/ 16830 w 341713"/>
                <a:gd name="connsiteY8" fmla="*/ 300637 h 583280"/>
                <a:gd name="connsiteX9" fmla="*/ 88235 w 341713"/>
                <a:gd name="connsiteY9" fmla="*/ 342290 h 583280"/>
                <a:gd name="connsiteX10" fmla="*/ 76334 w 341713"/>
                <a:gd name="connsiteY10" fmla="*/ 547579 h 583280"/>
                <a:gd name="connsiteX11" fmla="*/ 109062 w 341713"/>
                <a:gd name="connsiteY11" fmla="*/ 583281 h 583280"/>
                <a:gd name="connsiteX12" fmla="*/ 132863 w 341713"/>
                <a:gd name="connsiteY12" fmla="*/ 574356 h 583280"/>
                <a:gd name="connsiteX13" fmla="*/ 144764 w 341713"/>
                <a:gd name="connsiteY13" fmla="*/ 550554 h 583280"/>
                <a:gd name="connsiteX14" fmla="*/ 165591 w 341713"/>
                <a:gd name="connsiteY14" fmla="*/ 208405 h 583280"/>
                <a:gd name="connsiteX15" fmla="*/ 323277 w 341713"/>
                <a:gd name="connsiteY15" fmla="*/ 125099 h 583280"/>
                <a:gd name="connsiteX16" fmla="*/ 338153 w 341713"/>
                <a:gd name="connsiteY16" fmla="*/ 77496 h 583280"/>
                <a:gd name="connsiteX17" fmla="*/ 338153 w 341713"/>
                <a:gd name="connsiteY17" fmla="*/ 77496 h 583280"/>
                <a:gd name="connsiteX18" fmla="*/ 290549 w 341713"/>
                <a:gd name="connsiteY18" fmla="*/ 62620 h 583280"/>
                <a:gd name="connsiteX19" fmla="*/ 171541 w 341713"/>
                <a:gd name="connsiteY19" fmla="*/ 125099 h 583280"/>
                <a:gd name="connsiteX20" fmla="*/ 177491 w 341713"/>
                <a:gd name="connsiteY20" fmla="*/ 35843 h 583280"/>
                <a:gd name="connsiteX21" fmla="*/ 144764 w 341713"/>
                <a:gd name="connsiteY21" fmla="*/ 141 h 583280"/>
                <a:gd name="connsiteX22" fmla="*/ 109062 w 341713"/>
                <a:gd name="connsiteY22" fmla="*/ 26918 h 583280"/>
                <a:gd name="connsiteX23" fmla="*/ 85260 w 341713"/>
                <a:gd name="connsiteY23" fmla="*/ 6091 h 583280"/>
                <a:gd name="connsiteX24" fmla="*/ 37657 w 341713"/>
                <a:gd name="connsiteY24" fmla="*/ 12042 h 58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41713" h="583280">
                  <a:moveTo>
                    <a:pt x="37657" y="12042"/>
                  </a:moveTo>
                  <a:cubicBezTo>
                    <a:pt x="25756" y="26918"/>
                    <a:pt x="25756" y="47744"/>
                    <a:pt x="40632" y="59645"/>
                  </a:cubicBezTo>
                  <a:lnTo>
                    <a:pt x="103111" y="116174"/>
                  </a:lnTo>
                  <a:lnTo>
                    <a:pt x="94186" y="264934"/>
                  </a:lnTo>
                  <a:lnTo>
                    <a:pt x="52533" y="241133"/>
                  </a:lnTo>
                  <a:cubicBezTo>
                    <a:pt x="43607" y="235182"/>
                    <a:pt x="34681" y="235182"/>
                    <a:pt x="25756" y="238157"/>
                  </a:cubicBezTo>
                  <a:cubicBezTo>
                    <a:pt x="16830" y="241133"/>
                    <a:pt x="10880" y="247083"/>
                    <a:pt x="4929" y="253033"/>
                  </a:cubicBezTo>
                  <a:cubicBezTo>
                    <a:pt x="-1021" y="261959"/>
                    <a:pt x="-1021" y="270885"/>
                    <a:pt x="1954" y="279810"/>
                  </a:cubicBezTo>
                  <a:cubicBezTo>
                    <a:pt x="4929" y="288736"/>
                    <a:pt x="10880" y="294686"/>
                    <a:pt x="16830" y="300637"/>
                  </a:cubicBezTo>
                  <a:lnTo>
                    <a:pt x="88235" y="342290"/>
                  </a:lnTo>
                  <a:lnTo>
                    <a:pt x="76334" y="547579"/>
                  </a:lnTo>
                  <a:cubicBezTo>
                    <a:pt x="76334" y="565430"/>
                    <a:pt x="88235" y="583281"/>
                    <a:pt x="109062" y="583281"/>
                  </a:cubicBezTo>
                  <a:cubicBezTo>
                    <a:pt x="117987" y="583281"/>
                    <a:pt x="126913" y="580307"/>
                    <a:pt x="132863" y="574356"/>
                  </a:cubicBezTo>
                  <a:cubicBezTo>
                    <a:pt x="138814" y="568405"/>
                    <a:pt x="144764" y="559480"/>
                    <a:pt x="144764" y="550554"/>
                  </a:cubicBezTo>
                  <a:lnTo>
                    <a:pt x="165591" y="208405"/>
                  </a:lnTo>
                  <a:lnTo>
                    <a:pt x="323277" y="125099"/>
                  </a:lnTo>
                  <a:cubicBezTo>
                    <a:pt x="338153" y="116174"/>
                    <a:pt x="347078" y="98323"/>
                    <a:pt x="338153" y="77496"/>
                  </a:cubicBezTo>
                  <a:lnTo>
                    <a:pt x="338153" y="77496"/>
                  </a:lnTo>
                  <a:cubicBezTo>
                    <a:pt x="329227" y="59645"/>
                    <a:pt x="308401" y="53695"/>
                    <a:pt x="290549" y="62620"/>
                  </a:cubicBezTo>
                  <a:lnTo>
                    <a:pt x="171541" y="125099"/>
                  </a:lnTo>
                  <a:lnTo>
                    <a:pt x="177491" y="35843"/>
                  </a:lnTo>
                  <a:cubicBezTo>
                    <a:pt x="177491" y="17992"/>
                    <a:pt x="162615" y="141"/>
                    <a:pt x="144764" y="141"/>
                  </a:cubicBezTo>
                  <a:cubicBezTo>
                    <a:pt x="126913" y="141"/>
                    <a:pt x="112037" y="12042"/>
                    <a:pt x="109062" y="26918"/>
                  </a:cubicBezTo>
                  <a:lnTo>
                    <a:pt x="85260" y="6091"/>
                  </a:lnTo>
                  <a:cubicBezTo>
                    <a:pt x="73359" y="-2834"/>
                    <a:pt x="49558" y="-2834"/>
                    <a:pt x="37657" y="12042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67149F9E-3C22-4D14-8C23-46DD6D0D983E}"/>
                </a:ext>
              </a:extLst>
            </p:cNvPr>
            <p:cNvGrpSpPr/>
            <p:nvPr/>
          </p:nvGrpSpPr>
          <p:grpSpPr>
            <a:xfrm>
              <a:off x="5367493" y="9213170"/>
              <a:ext cx="128145" cy="200718"/>
              <a:chOff x="5367493" y="9213170"/>
              <a:chExt cx="128145" cy="200718"/>
            </a:xfrm>
          </p:grpSpPr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D25E7894-15BE-403C-8E40-495B60612D6F}"/>
                  </a:ext>
                </a:extLst>
              </p:cNvPr>
              <p:cNvSpPr/>
              <p:nvPr/>
            </p:nvSpPr>
            <p:spPr>
              <a:xfrm>
                <a:off x="5372740" y="9213170"/>
                <a:ext cx="109124" cy="88120"/>
              </a:xfrm>
              <a:custGeom>
                <a:avLst/>
                <a:gdLst>
                  <a:gd name="connsiteX0" fmla="*/ 94889 w 109124"/>
                  <a:gd name="connsiteY0" fmla="*/ 2412 h 88120"/>
                  <a:gd name="connsiteX1" fmla="*/ 26460 w 109124"/>
                  <a:gd name="connsiteY1" fmla="*/ 23239 h 88120"/>
                  <a:gd name="connsiteX2" fmla="*/ 14559 w 109124"/>
                  <a:gd name="connsiteY2" fmla="*/ 26214 h 88120"/>
                  <a:gd name="connsiteX3" fmla="*/ 5633 w 109124"/>
                  <a:gd name="connsiteY3" fmla="*/ 35139 h 88120"/>
                  <a:gd name="connsiteX4" fmla="*/ 5633 w 109124"/>
                  <a:gd name="connsiteY4" fmla="*/ 79767 h 88120"/>
                  <a:gd name="connsiteX5" fmla="*/ 41336 w 109124"/>
                  <a:gd name="connsiteY5" fmla="*/ 82743 h 88120"/>
                  <a:gd name="connsiteX6" fmla="*/ 82988 w 109124"/>
                  <a:gd name="connsiteY6" fmla="*/ 64891 h 88120"/>
                  <a:gd name="connsiteX7" fmla="*/ 106790 w 109124"/>
                  <a:gd name="connsiteY7" fmla="*/ 38115 h 88120"/>
                  <a:gd name="connsiteX8" fmla="*/ 94889 w 109124"/>
                  <a:gd name="connsiteY8" fmla="*/ 2412 h 88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124" h="88120">
                    <a:moveTo>
                      <a:pt x="94889" y="2412"/>
                    </a:moveTo>
                    <a:cubicBezTo>
                      <a:pt x="74063" y="-6513"/>
                      <a:pt x="50261" y="11338"/>
                      <a:pt x="26460" y="23239"/>
                    </a:cubicBezTo>
                    <a:cubicBezTo>
                      <a:pt x="23484" y="23239"/>
                      <a:pt x="17534" y="23239"/>
                      <a:pt x="14559" y="26214"/>
                    </a:cubicBezTo>
                    <a:cubicBezTo>
                      <a:pt x="11584" y="29189"/>
                      <a:pt x="8608" y="32164"/>
                      <a:pt x="5633" y="35139"/>
                    </a:cubicBezTo>
                    <a:cubicBezTo>
                      <a:pt x="-317" y="47040"/>
                      <a:pt x="-3292" y="67867"/>
                      <a:pt x="5633" y="79767"/>
                    </a:cubicBezTo>
                    <a:cubicBezTo>
                      <a:pt x="14559" y="94644"/>
                      <a:pt x="29435" y="85718"/>
                      <a:pt x="41336" y="82743"/>
                    </a:cubicBezTo>
                    <a:cubicBezTo>
                      <a:pt x="56212" y="76793"/>
                      <a:pt x="71088" y="70842"/>
                      <a:pt x="82988" y="64891"/>
                    </a:cubicBezTo>
                    <a:cubicBezTo>
                      <a:pt x="91914" y="58941"/>
                      <a:pt x="106790" y="55966"/>
                      <a:pt x="106790" y="38115"/>
                    </a:cubicBezTo>
                    <a:cubicBezTo>
                      <a:pt x="112741" y="20263"/>
                      <a:pt x="106790" y="5387"/>
                      <a:pt x="94889" y="2412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38E86753-7889-4F16-A98F-DC19B08150A8}"/>
                  </a:ext>
                </a:extLst>
              </p:cNvPr>
              <p:cNvSpPr/>
              <p:nvPr/>
            </p:nvSpPr>
            <p:spPr>
              <a:xfrm>
                <a:off x="5375715" y="9260156"/>
                <a:ext cx="108716" cy="91713"/>
              </a:xfrm>
              <a:custGeom>
                <a:avLst/>
                <a:gdLst>
                  <a:gd name="connsiteX0" fmla="*/ 94889 w 108716"/>
                  <a:gd name="connsiteY0" fmla="*/ 6005 h 91713"/>
                  <a:gd name="connsiteX1" fmla="*/ 20509 w 108716"/>
                  <a:gd name="connsiteY1" fmla="*/ 23856 h 91713"/>
                  <a:gd name="connsiteX2" fmla="*/ 14559 w 108716"/>
                  <a:gd name="connsiteY2" fmla="*/ 26831 h 91713"/>
                  <a:gd name="connsiteX3" fmla="*/ 5633 w 108716"/>
                  <a:gd name="connsiteY3" fmla="*/ 35757 h 91713"/>
                  <a:gd name="connsiteX4" fmla="*/ 5633 w 108716"/>
                  <a:gd name="connsiteY4" fmla="*/ 83360 h 91713"/>
                  <a:gd name="connsiteX5" fmla="*/ 41336 w 108716"/>
                  <a:gd name="connsiteY5" fmla="*/ 86335 h 91713"/>
                  <a:gd name="connsiteX6" fmla="*/ 82989 w 108716"/>
                  <a:gd name="connsiteY6" fmla="*/ 68484 h 91713"/>
                  <a:gd name="connsiteX7" fmla="*/ 106790 w 108716"/>
                  <a:gd name="connsiteY7" fmla="*/ 41707 h 91713"/>
                  <a:gd name="connsiteX8" fmla="*/ 94889 w 108716"/>
                  <a:gd name="connsiteY8" fmla="*/ 6005 h 91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716" h="91713">
                    <a:moveTo>
                      <a:pt x="94889" y="6005"/>
                    </a:moveTo>
                    <a:cubicBezTo>
                      <a:pt x="68113" y="-11846"/>
                      <a:pt x="44311" y="14931"/>
                      <a:pt x="20509" y="23856"/>
                    </a:cubicBezTo>
                    <a:cubicBezTo>
                      <a:pt x="17534" y="23856"/>
                      <a:pt x="17534" y="26831"/>
                      <a:pt x="14559" y="26831"/>
                    </a:cubicBezTo>
                    <a:cubicBezTo>
                      <a:pt x="11584" y="29807"/>
                      <a:pt x="8609" y="32782"/>
                      <a:pt x="5633" y="35757"/>
                    </a:cubicBezTo>
                    <a:cubicBezTo>
                      <a:pt x="-317" y="47658"/>
                      <a:pt x="-3292" y="68484"/>
                      <a:pt x="5633" y="83360"/>
                    </a:cubicBezTo>
                    <a:cubicBezTo>
                      <a:pt x="14559" y="98236"/>
                      <a:pt x="29435" y="89311"/>
                      <a:pt x="41336" y="86335"/>
                    </a:cubicBezTo>
                    <a:cubicBezTo>
                      <a:pt x="56212" y="80385"/>
                      <a:pt x="71088" y="74435"/>
                      <a:pt x="82989" y="68484"/>
                    </a:cubicBezTo>
                    <a:cubicBezTo>
                      <a:pt x="91914" y="62534"/>
                      <a:pt x="106790" y="59559"/>
                      <a:pt x="106790" y="41707"/>
                    </a:cubicBezTo>
                    <a:cubicBezTo>
                      <a:pt x="112741" y="26831"/>
                      <a:pt x="103815" y="11955"/>
                      <a:pt x="94889" y="6005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BBE97752-4D77-4834-8818-9704B3BBD114}"/>
                  </a:ext>
                </a:extLst>
              </p:cNvPr>
              <p:cNvSpPr/>
              <p:nvPr/>
            </p:nvSpPr>
            <p:spPr>
              <a:xfrm>
                <a:off x="5391761" y="9311533"/>
                <a:ext cx="96114" cy="77780"/>
              </a:xfrm>
              <a:custGeom>
                <a:avLst/>
                <a:gdLst>
                  <a:gd name="connsiteX0" fmla="*/ 84793 w 96114"/>
                  <a:gd name="connsiteY0" fmla="*/ 5207 h 77780"/>
                  <a:gd name="connsiteX1" fmla="*/ 19339 w 96114"/>
                  <a:gd name="connsiteY1" fmla="*/ 20083 h 77780"/>
                  <a:gd name="connsiteX2" fmla="*/ 13388 w 96114"/>
                  <a:gd name="connsiteY2" fmla="*/ 23058 h 77780"/>
                  <a:gd name="connsiteX3" fmla="*/ 4463 w 96114"/>
                  <a:gd name="connsiteY3" fmla="*/ 31983 h 77780"/>
                  <a:gd name="connsiteX4" fmla="*/ 4463 w 96114"/>
                  <a:gd name="connsiteY4" fmla="*/ 70661 h 77780"/>
                  <a:gd name="connsiteX5" fmla="*/ 34215 w 96114"/>
                  <a:gd name="connsiteY5" fmla="*/ 73636 h 77780"/>
                  <a:gd name="connsiteX6" fmla="*/ 72893 w 96114"/>
                  <a:gd name="connsiteY6" fmla="*/ 58760 h 77780"/>
                  <a:gd name="connsiteX7" fmla="*/ 93719 w 96114"/>
                  <a:gd name="connsiteY7" fmla="*/ 37934 h 77780"/>
                  <a:gd name="connsiteX8" fmla="*/ 84793 w 96114"/>
                  <a:gd name="connsiteY8" fmla="*/ 5207 h 7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6114" h="77780">
                    <a:moveTo>
                      <a:pt x="84793" y="5207"/>
                    </a:moveTo>
                    <a:cubicBezTo>
                      <a:pt x="60992" y="-9669"/>
                      <a:pt x="40165" y="11157"/>
                      <a:pt x="19339" y="20083"/>
                    </a:cubicBezTo>
                    <a:cubicBezTo>
                      <a:pt x="16364" y="20083"/>
                      <a:pt x="16364" y="23058"/>
                      <a:pt x="13388" y="23058"/>
                    </a:cubicBezTo>
                    <a:cubicBezTo>
                      <a:pt x="10413" y="26033"/>
                      <a:pt x="7438" y="26033"/>
                      <a:pt x="4463" y="31983"/>
                    </a:cubicBezTo>
                    <a:cubicBezTo>
                      <a:pt x="-1488" y="40909"/>
                      <a:pt x="-1488" y="58760"/>
                      <a:pt x="4463" y="70661"/>
                    </a:cubicBezTo>
                    <a:cubicBezTo>
                      <a:pt x="13388" y="82562"/>
                      <a:pt x="25289" y="76611"/>
                      <a:pt x="34215" y="73636"/>
                    </a:cubicBezTo>
                    <a:cubicBezTo>
                      <a:pt x="46116" y="70661"/>
                      <a:pt x="60992" y="64711"/>
                      <a:pt x="72893" y="58760"/>
                    </a:cubicBezTo>
                    <a:cubicBezTo>
                      <a:pt x="81818" y="55785"/>
                      <a:pt x="93719" y="52810"/>
                      <a:pt x="93719" y="37934"/>
                    </a:cubicBezTo>
                    <a:cubicBezTo>
                      <a:pt x="99669" y="20083"/>
                      <a:pt x="93719" y="8182"/>
                      <a:pt x="84793" y="5207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FB5B0BC7-F119-4AC4-8967-F4502871AB46}"/>
                  </a:ext>
                </a:extLst>
              </p:cNvPr>
              <p:cNvSpPr/>
              <p:nvPr/>
            </p:nvSpPr>
            <p:spPr>
              <a:xfrm>
                <a:off x="5415563" y="9356881"/>
                <a:ext cx="73683" cy="57007"/>
              </a:xfrm>
              <a:custGeom>
                <a:avLst/>
                <a:gdLst>
                  <a:gd name="connsiteX0" fmla="*/ 63967 w 73683"/>
                  <a:gd name="connsiteY0" fmla="*/ 4486 h 57007"/>
                  <a:gd name="connsiteX1" fmla="*/ 13388 w 73683"/>
                  <a:gd name="connsiteY1" fmla="*/ 13412 h 57007"/>
                  <a:gd name="connsiteX2" fmla="*/ 10413 w 73683"/>
                  <a:gd name="connsiteY2" fmla="*/ 16387 h 57007"/>
                  <a:gd name="connsiteX3" fmla="*/ 4463 w 73683"/>
                  <a:gd name="connsiteY3" fmla="*/ 22338 h 57007"/>
                  <a:gd name="connsiteX4" fmla="*/ 4463 w 73683"/>
                  <a:gd name="connsiteY4" fmla="*/ 52090 h 57007"/>
                  <a:gd name="connsiteX5" fmla="*/ 28264 w 73683"/>
                  <a:gd name="connsiteY5" fmla="*/ 55065 h 57007"/>
                  <a:gd name="connsiteX6" fmla="*/ 55041 w 73683"/>
                  <a:gd name="connsiteY6" fmla="*/ 43164 h 57007"/>
                  <a:gd name="connsiteX7" fmla="*/ 72893 w 73683"/>
                  <a:gd name="connsiteY7" fmla="*/ 25313 h 57007"/>
                  <a:gd name="connsiteX8" fmla="*/ 63967 w 73683"/>
                  <a:gd name="connsiteY8" fmla="*/ 4486 h 57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3683" h="57007">
                    <a:moveTo>
                      <a:pt x="63967" y="4486"/>
                    </a:moveTo>
                    <a:cubicBezTo>
                      <a:pt x="46116" y="-7414"/>
                      <a:pt x="31240" y="7462"/>
                      <a:pt x="13388" y="13412"/>
                    </a:cubicBezTo>
                    <a:cubicBezTo>
                      <a:pt x="13388" y="13412"/>
                      <a:pt x="10413" y="13412"/>
                      <a:pt x="10413" y="16387"/>
                    </a:cubicBezTo>
                    <a:cubicBezTo>
                      <a:pt x="7438" y="16387"/>
                      <a:pt x="7438" y="19362"/>
                      <a:pt x="4463" y="22338"/>
                    </a:cubicBezTo>
                    <a:cubicBezTo>
                      <a:pt x="-1488" y="28288"/>
                      <a:pt x="-1488" y="43164"/>
                      <a:pt x="4463" y="52090"/>
                    </a:cubicBezTo>
                    <a:cubicBezTo>
                      <a:pt x="10413" y="61015"/>
                      <a:pt x="19339" y="55065"/>
                      <a:pt x="28264" y="55065"/>
                    </a:cubicBezTo>
                    <a:cubicBezTo>
                      <a:pt x="37190" y="52090"/>
                      <a:pt x="46116" y="49114"/>
                      <a:pt x="55041" y="43164"/>
                    </a:cubicBezTo>
                    <a:cubicBezTo>
                      <a:pt x="60992" y="40189"/>
                      <a:pt x="69917" y="37214"/>
                      <a:pt x="72893" y="25313"/>
                    </a:cubicBezTo>
                    <a:cubicBezTo>
                      <a:pt x="75868" y="19362"/>
                      <a:pt x="69917" y="10437"/>
                      <a:pt x="63967" y="4486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67463009-EA36-460F-9AC3-E050C11494DE}"/>
                  </a:ext>
                </a:extLst>
              </p:cNvPr>
              <p:cNvSpPr/>
              <p:nvPr/>
            </p:nvSpPr>
            <p:spPr>
              <a:xfrm>
                <a:off x="5367493" y="9215583"/>
                <a:ext cx="124216" cy="139834"/>
              </a:xfrm>
              <a:custGeom>
                <a:avLst/>
                <a:gdLst>
                  <a:gd name="connsiteX0" fmla="*/ 28731 w 124216"/>
                  <a:gd name="connsiteY0" fmla="*/ 139834 h 139834"/>
                  <a:gd name="connsiteX1" fmla="*/ 4930 w 124216"/>
                  <a:gd name="connsiteY1" fmla="*/ 121984 h 139834"/>
                  <a:gd name="connsiteX2" fmla="*/ 7905 w 124216"/>
                  <a:gd name="connsiteY2" fmla="*/ 77355 h 139834"/>
                  <a:gd name="connsiteX3" fmla="*/ 7905 w 124216"/>
                  <a:gd name="connsiteY3" fmla="*/ 77355 h 139834"/>
                  <a:gd name="connsiteX4" fmla="*/ 1954 w 124216"/>
                  <a:gd name="connsiteY4" fmla="*/ 65454 h 139834"/>
                  <a:gd name="connsiteX5" fmla="*/ 4930 w 124216"/>
                  <a:gd name="connsiteY5" fmla="*/ 41653 h 139834"/>
                  <a:gd name="connsiteX6" fmla="*/ 73359 w 124216"/>
                  <a:gd name="connsiteY6" fmla="*/ 0 h 139834"/>
                  <a:gd name="connsiteX7" fmla="*/ 79310 w 124216"/>
                  <a:gd name="connsiteY7" fmla="*/ 2975 h 139834"/>
                  <a:gd name="connsiteX8" fmla="*/ 76335 w 124216"/>
                  <a:gd name="connsiteY8" fmla="*/ 8925 h 139834"/>
                  <a:gd name="connsiteX9" fmla="*/ 13855 w 124216"/>
                  <a:gd name="connsiteY9" fmla="*/ 44628 h 139834"/>
                  <a:gd name="connsiteX10" fmla="*/ 13855 w 124216"/>
                  <a:gd name="connsiteY10" fmla="*/ 59504 h 139834"/>
                  <a:gd name="connsiteX11" fmla="*/ 25756 w 124216"/>
                  <a:gd name="connsiteY11" fmla="*/ 74380 h 139834"/>
                  <a:gd name="connsiteX12" fmla="*/ 100136 w 124216"/>
                  <a:gd name="connsiteY12" fmla="*/ 47603 h 139834"/>
                  <a:gd name="connsiteX13" fmla="*/ 112037 w 124216"/>
                  <a:gd name="connsiteY13" fmla="*/ 47603 h 139834"/>
                  <a:gd name="connsiteX14" fmla="*/ 123938 w 124216"/>
                  <a:gd name="connsiteY14" fmla="*/ 68429 h 139834"/>
                  <a:gd name="connsiteX15" fmla="*/ 61459 w 124216"/>
                  <a:gd name="connsiteY15" fmla="*/ 130909 h 139834"/>
                  <a:gd name="connsiteX16" fmla="*/ 28731 w 124216"/>
                  <a:gd name="connsiteY16" fmla="*/ 139834 h 139834"/>
                  <a:gd name="connsiteX17" fmla="*/ 16830 w 124216"/>
                  <a:gd name="connsiteY17" fmla="*/ 83305 h 139834"/>
                  <a:gd name="connsiteX18" fmla="*/ 13855 w 124216"/>
                  <a:gd name="connsiteY18" fmla="*/ 119008 h 139834"/>
                  <a:gd name="connsiteX19" fmla="*/ 55508 w 124216"/>
                  <a:gd name="connsiteY19" fmla="*/ 119008 h 139834"/>
                  <a:gd name="connsiteX20" fmla="*/ 109062 w 124216"/>
                  <a:gd name="connsiteY20" fmla="*/ 68429 h 139834"/>
                  <a:gd name="connsiteX21" fmla="*/ 103111 w 124216"/>
                  <a:gd name="connsiteY21" fmla="*/ 56529 h 139834"/>
                  <a:gd name="connsiteX22" fmla="*/ 16830 w 124216"/>
                  <a:gd name="connsiteY22" fmla="*/ 83305 h 139834"/>
                  <a:gd name="connsiteX23" fmla="*/ 16830 w 124216"/>
                  <a:gd name="connsiteY23" fmla="*/ 83305 h 139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4216" h="139834">
                    <a:moveTo>
                      <a:pt x="28731" y="139834"/>
                    </a:moveTo>
                    <a:cubicBezTo>
                      <a:pt x="19806" y="139834"/>
                      <a:pt x="10880" y="136860"/>
                      <a:pt x="4930" y="121984"/>
                    </a:cubicBezTo>
                    <a:cubicBezTo>
                      <a:pt x="-1021" y="101157"/>
                      <a:pt x="7905" y="77355"/>
                      <a:pt x="7905" y="77355"/>
                    </a:cubicBezTo>
                    <a:cubicBezTo>
                      <a:pt x="7905" y="77355"/>
                      <a:pt x="7905" y="77355"/>
                      <a:pt x="7905" y="77355"/>
                    </a:cubicBezTo>
                    <a:cubicBezTo>
                      <a:pt x="4930" y="74380"/>
                      <a:pt x="1954" y="68429"/>
                      <a:pt x="1954" y="65454"/>
                    </a:cubicBezTo>
                    <a:cubicBezTo>
                      <a:pt x="-1021" y="56529"/>
                      <a:pt x="-1021" y="50578"/>
                      <a:pt x="4930" y="41653"/>
                    </a:cubicBezTo>
                    <a:cubicBezTo>
                      <a:pt x="19806" y="14876"/>
                      <a:pt x="70384" y="0"/>
                      <a:pt x="73359" y="0"/>
                    </a:cubicBezTo>
                    <a:cubicBezTo>
                      <a:pt x="76335" y="0"/>
                      <a:pt x="79310" y="0"/>
                      <a:pt x="79310" y="2975"/>
                    </a:cubicBezTo>
                    <a:cubicBezTo>
                      <a:pt x="79310" y="5950"/>
                      <a:pt x="79310" y="8925"/>
                      <a:pt x="76335" y="8925"/>
                    </a:cubicBezTo>
                    <a:cubicBezTo>
                      <a:pt x="61459" y="11901"/>
                      <a:pt x="25756" y="26777"/>
                      <a:pt x="13855" y="44628"/>
                    </a:cubicBezTo>
                    <a:cubicBezTo>
                      <a:pt x="10880" y="50578"/>
                      <a:pt x="10880" y="53553"/>
                      <a:pt x="13855" y="59504"/>
                    </a:cubicBezTo>
                    <a:cubicBezTo>
                      <a:pt x="16830" y="65454"/>
                      <a:pt x="19806" y="71405"/>
                      <a:pt x="25756" y="74380"/>
                    </a:cubicBezTo>
                    <a:cubicBezTo>
                      <a:pt x="37657" y="77355"/>
                      <a:pt x="64434" y="68429"/>
                      <a:pt x="100136" y="47603"/>
                    </a:cubicBezTo>
                    <a:cubicBezTo>
                      <a:pt x="103111" y="47603"/>
                      <a:pt x="106087" y="44628"/>
                      <a:pt x="112037" y="47603"/>
                    </a:cubicBezTo>
                    <a:cubicBezTo>
                      <a:pt x="117987" y="50578"/>
                      <a:pt x="120963" y="56529"/>
                      <a:pt x="123938" y="68429"/>
                    </a:cubicBezTo>
                    <a:cubicBezTo>
                      <a:pt x="126913" y="92231"/>
                      <a:pt x="106087" y="116033"/>
                      <a:pt x="61459" y="130909"/>
                    </a:cubicBezTo>
                    <a:cubicBezTo>
                      <a:pt x="49558" y="136860"/>
                      <a:pt x="37657" y="139834"/>
                      <a:pt x="28731" y="139834"/>
                    </a:cubicBezTo>
                    <a:close/>
                    <a:moveTo>
                      <a:pt x="16830" y="83305"/>
                    </a:moveTo>
                    <a:cubicBezTo>
                      <a:pt x="13855" y="89256"/>
                      <a:pt x="10880" y="107108"/>
                      <a:pt x="13855" y="119008"/>
                    </a:cubicBezTo>
                    <a:cubicBezTo>
                      <a:pt x="16830" y="130909"/>
                      <a:pt x="25756" y="130909"/>
                      <a:pt x="55508" y="119008"/>
                    </a:cubicBezTo>
                    <a:cubicBezTo>
                      <a:pt x="76335" y="110082"/>
                      <a:pt x="115012" y="95207"/>
                      <a:pt x="109062" y="68429"/>
                    </a:cubicBezTo>
                    <a:cubicBezTo>
                      <a:pt x="106087" y="56529"/>
                      <a:pt x="103111" y="56529"/>
                      <a:pt x="103111" y="56529"/>
                    </a:cubicBezTo>
                    <a:cubicBezTo>
                      <a:pt x="64434" y="83305"/>
                      <a:pt x="37657" y="92231"/>
                      <a:pt x="16830" y="83305"/>
                    </a:cubicBezTo>
                    <a:cubicBezTo>
                      <a:pt x="19806" y="86281"/>
                      <a:pt x="19806" y="86281"/>
                      <a:pt x="16830" y="83305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513B61D7-133B-4B42-98EF-325AFD3C7721}"/>
                  </a:ext>
                </a:extLst>
              </p:cNvPr>
              <p:cNvSpPr/>
              <p:nvPr/>
            </p:nvSpPr>
            <p:spPr>
              <a:xfrm>
                <a:off x="5384323" y="9310789"/>
                <a:ext cx="111314" cy="83305"/>
              </a:xfrm>
              <a:custGeom>
                <a:avLst/>
                <a:gdLst>
                  <a:gd name="connsiteX0" fmla="*/ 29752 w 111314"/>
                  <a:gd name="connsiteY0" fmla="*/ 83306 h 83305"/>
                  <a:gd name="connsiteX1" fmla="*/ 11901 w 111314"/>
                  <a:gd name="connsiteY1" fmla="*/ 77355 h 83305"/>
                  <a:gd name="connsiteX2" fmla="*/ 0 w 111314"/>
                  <a:gd name="connsiteY2" fmla="*/ 41653 h 83305"/>
                  <a:gd name="connsiteX3" fmla="*/ 5950 w 111314"/>
                  <a:gd name="connsiteY3" fmla="*/ 35702 h 83305"/>
                  <a:gd name="connsiteX4" fmla="*/ 5950 w 111314"/>
                  <a:gd name="connsiteY4" fmla="*/ 35702 h 83305"/>
                  <a:gd name="connsiteX5" fmla="*/ 11901 w 111314"/>
                  <a:gd name="connsiteY5" fmla="*/ 41653 h 83305"/>
                  <a:gd name="connsiteX6" fmla="*/ 20826 w 111314"/>
                  <a:gd name="connsiteY6" fmla="*/ 68430 h 83305"/>
                  <a:gd name="connsiteX7" fmla="*/ 32727 w 111314"/>
                  <a:gd name="connsiteY7" fmla="*/ 71405 h 83305"/>
                  <a:gd name="connsiteX8" fmla="*/ 98182 w 111314"/>
                  <a:gd name="connsiteY8" fmla="*/ 38678 h 83305"/>
                  <a:gd name="connsiteX9" fmla="*/ 98182 w 111314"/>
                  <a:gd name="connsiteY9" fmla="*/ 29752 h 83305"/>
                  <a:gd name="connsiteX10" fmla="*/ 89256 w 111314"/>
                  <a:gd name="connsiteY10" fmla="*/ 11901 h 83305"/>
                  <a:gd name="connsiteX11" fmla="*/ 86281 w 111314"/>
                  <a:gd name="connsiteY11" fmla="*/ 2975 h 83305"/>
                  <a:gd name="connsiteX12" fmla="*/ 95207 w 111314"/>
                  <a:gd name="connsiteY12" fmla="*/ 0 h 83305"/>
                  <a:gd name="connsiteX13" fmla="*/ 110083 w 111314"/>
                  <a:gd name="connsiteY13" fmla="*/ 26777 h 83305"/>
                  <a:gd name="connsiteX14" fmla="*/ 107107 w 111314"/>
                  <a:gd name="connsiteY14" fmla="*/ 47603 h 83305"/>
                  <a:gd name="connsiteX15" fmla="*/ 32727 w 111314"/>
                  <a:gd name="connsiteY15" fmla="*/ 83306 h 83305"/>
                  <a:gd name="connsiteX16" fmla="*/ 29752 w 111314"/>
                  <a:gd name="connsiteY16" fmla="*/ 83306 h 83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314" h="83305">
                    <a:moveTo>
                      <a:pt x="29752" y="83306"/>
                    </a:moveTo>
                    <a:cubicBezTo>
                      <a:pt x="23802" y="83306"/>
                      <a:pt x="14876" y="80330"/>
                      <a:pt x="11901" y="77355"/>
                    </a:cubicBezTo>
                    <a:cubicBezTo>
                      <a:pt x="0" y="65454"/>
                      <a:pt x="0" y="41653"/>
                      <a:pt x="0" y="41653"/>
                    </a:cubicBezTo>
                    <a:cubicBezTo>
                      <a:pt x="0" y="38678"/>
                      <a:pt x="2975" y="35702"/>
                      <a:pt x="5950" y="35702"/>
                    </a:cubicBezTo>
                    <a:cubicBezTo>
                      <a:pt x="5950" y="35702"/>
                      <a:pt x="5950" y="35702"/>
                      <a:pt x="5950" y="35702"/>
                    </a:cubicBezTo>
                    <a:cubicBezTo>
                      <a:pt x="8925" y="35702"/>
                      <a:pt x="11901" y="38678"/>
                      <a:pt x="11901" y="41653"/>
                    </a:cubicBezTo>
                    <a:cubicBezTo>
                      <a:pt x="11901" y="47603"/>
                      <a:pt x="11901" y="62479"/>
                      <a:pt x="20826" y="68430"/>
                    </a:cubicBezTo>
                    <a:cubicBezTo>
                      <a:pt x="23802" y="71405"/>
                      <a:pt x="29752" y="71405"/>
                      <a:pt x="32727" y="71405"/>
                    </a:cubicBezTo>
                    <a:cubicBezTo>
                      <a:pt x="62479" y="68430"/>
                      <a:pt x="92231" y="47603"/>
                      <a:pt x="98182" y="38678"/>
                    </a:cubicBezTo>
                    <a:cubicBezTo>
                      <a:pt x="101157" y="35702"/>
                      <a:pt x="101157" y="32727"/>
                      <a:pt x="98182" y="29752"/>
                    </a:cubicBezTo>
                    <a:cubicBezTo>
                      <a:pt x="95207" y="20826"/>
                      <a:pt x="89256" y="11901"/>
                      <a:pt x="89256" y="11901"/>
                    </a:cubicBezTo>
                    <a:cubicBezTo>
                      <a:pt x="86281" y="11901"/>
                      <a:pt x="86281" y="5950"/>
                      <a:pt x="86281" y="2975"/>
                    </a:cubicBezTo>
                    <a:cubicBezTo>
                      <a:pt x="86281" y="0"/>
                      <a:pt x="92231" y="0"/>
                      <a:pt x="95207" y="0"/>
                    </a:cubicBezTo>
                    <a:cubicBezTo>
                      <a:pt x="101157" y="2975"/>
                      <a:pt x="110083" y="14876"/>
                      <a:pt x="110083" y="26777"/>
                    </a:cubicBezTo>
                    <a:cubicBezTo>
                      <a:pt x="113058" y="35702"/>
                      <a:pt x="110083" y="41653"/>
                      <a:pt x="107107" y="47603"/>
                    </a:cubicBezTo>
                    <a:cubicBezTo>
                      <a:pt x="98182" y="56529"/>
                      <a:pt x="65454" y="80330"/>
                      <a:pt x="32727" y="83306"/>
                    </a:cubicBezTo>
                    <a:cubicBezTo>
                      <a:pt x="32727" y="83306"/>
                      <a:pt x="32727" y="83306"/>
                      <a:pt x="29752" y="83306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65019E73-B8D0-4ED4-9AE3-74CF6BA72DE9}"/>
                </a:ext>
              </a:extLst>
            </p:cNvPr>
            <p:cNvSpPr/>
            <p:nvPr/>
          </p:nvSpPr>
          <p:spPr>
            <a:xfrm>
              <a:off x="5271973" y="9255175"/>
              <a:ext cx="132317" cy="124124"/>
            </a:xfrm>
            <a:custGeom>
              <a:avLst/>
              <a:gdLst>
                <a:gd name="connsiteX0" fmla="*/ 88548 w 132317"/>
                <a:gd name="connsiteY0" fmla="*/ 5036 h 124124"/>
                <a:gd name="connsiteX1" fmla="*/ 2267 w 132317"/>
                <a:gd name="connsiteY1" fmla="*/ 31813 h 124124"/>
                <a:gd name="connsiteX2" fmla="*/ 32019 w 132317"/>
                <a:gd name="connsiteY2" fmla="*/ 124044 h 124124"/>
                <a:gd name="connsiteX3" fmla="*/ 52846 w 132317"/>
                <a:gd name="connsiteY3" fmla="*/ 64540 h 124124"/>
                <a:gd name="connsiteX4" fmla="*/ 106400 w 132317"/>
                <a:gd name="connsiteY4" fmla="*/ 64540 h 124124"/>
                <a:gd name="connsiteX5" fmla="*/ 130201 w 132317"/>
                <a:gd name="connsiteY5" fmla="*/ 73465 h 124124"/>
                <a:gd name="connsiteX6" fmla="*/ 88548 w 132317"/>
                <a:gd name="connsiteY6" fmla="*/ 5036 h 124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317" h="124124">
                  <a:moveTo>
                    <a:pt x="88548" y="5036"/>
                  </a:moveTo>
                  <a:cubicBezTo>
                    <a:pt x="58796" y="-9840"/>
                    <a:pt x="17143" y="10986"/>
                    <a:pt x="2267" y="31813"/>
                  </a:cubicBezTo>
                  <a:cubicBezTo>
                    <a:pt x="-9633" y="46689"/>
                    <a:pt x="29044" y="127020"/>
                    <a:pt x="32019" y="124044"/>
                  </a:cubicBezTo>
                  <a:cubicBezTo>
                    <a:pt x="67722" y="109168"/>
                    <a:pt x="43920" y="70490"/>
                    <a:pt x="52846" y="64540"/>
                  </a:cubicBezTo>
                  <a:cubicBezTo>
                    <a:pt x="70697" y="52639"/>
                    <a:pt x="85573" y="55615"/>
                    <a:pt x="106400" y="64540"/>
                  </a:cubicBezTo>
                  <a:cubicBezTo>
                    <a:pt x="112350" y="67516"/>
                    <a:pt x="127226" y="82392"/>
                    <a:pt x="130201" y="73465"/>
                  </a:cubicBezTo>
                  <a:cubicBezTo>
                    <a:pt x="142102" y="58589"/>
                    <a:pt x="100449" y="10986"/>
                    <a:pt x="88548" y="5036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44C5160D-BC3D-4F41-B403-A43B366B0147}"/>
                </a:ext>
              </a:extLst>
            </p:cNvPr>
            <p:cNvSpPr/>
            <p:nvPr/>
          </p:nvSpPr>
          <p:spPr>
            <a:xfrm>
              <a:off x="5263084" y="9247619"/>
              <a:ext cx="148016" cy="137549"/>
            </a:xfrm>
            <a:custGeom>
              <a:avLst/>
              <a:gdLst>
                <a:gd name="connsiteX0" fmla="*/ 37934 w 148016"/>
                <a:gd name="connsiteY0" fmla="*/ 137550 h 137549"/>
                <a:gd name="connsiteX1" fmla="*/ 31984 w 148016"/>
                <a:gd name="connsiteY1" fmla="*/ 131600 h 137549"/>
                <a:gd name="connsiteX2" fmla="*/ 34959 w 148016"/>
                <a:gd name="connsiteY2" fmla="*/ 125649 h 137549"/>
                <a:gd name="connsiteX3" fmla="*/ 52810 w 148016"/>
                <a:gd name="connsiteY3" fmla="*/ 72096 h 137549"/>
                <a:gd name="connsiteX4" fmla="*/ 55785 w 148016"/>
                <a:gd name="connsiteY4" fmla="*/ 66145 h 137549"/>
                <a:gd name="connsiteX5" fmla="*/ 118264 w 148016"/>
                <a:gd name="connsiteY5" fmla="*/ 69120 h 137549"/>
                <a:gd name="connsiteX6" fmla="*/ 136116 w 148016"/>
                <a:gd name="connsiteY6" fmla="*/ 75071 h 137549"/>
                <a:gd name="connsiteX7" fmla="*/ 136116 w 148016"/>
                <a:gd name="connsiteY7" fmla="*/ 72096 h 137549"/>
                <a:gd name="connsiteX8" fmla="*/ 91488 w 148016"/>
                <a:gd name="connsiteY8" fmla="*/ 15566 h 137549"/>
                <a:gd name="connsiteX9" fmla="*/ 11157 w 148016"/>
                <a:gd name="connsiteY9" fmla="*/ 42344 h 137549"/>
                <a:gd name="connsiteX10" fmla="*/ 2232 w 148016"/>
                <a:gd name="connsiteY10" fmla="*/ 42344 h 137549"/>
                <a:gd name="connsiteX11" fmla="*/ 2232 w 148016"/>
                <a:gd name="connsiteY11" fmla="*/ 33418 h 137549"/>
                <a:gd name="connsiteX12" fmla="*/ 97438 w 148016"/>
                <a:gd name="connsiteY12" fmla="*/ 6641 h 137549"/>
                <a:gd name="connsiteX13" fmla="*/ 148016 w 148016"/>
                <a:gd name="connsiteY13" fmla="*/ 72096 h 137549"/>
                <a:gd name="connsiteX14" fmla="*/ 142066 w 148016"/>
                <a:gd name="connsiteY14" fmla="*/ 83996 h 137549"/>
                <a:gd name="connsiteX15" fmla="*/ 115289 w 148016"/>
                <a:gd name="connsiteY15" fmla="*/ 78046 h 137549"/>
                <a:gd name="connsiteX16" fmla="*/ 67686 w 148016"/>
                <a:gd name="connsiteY16" fmla="*/ 72096 h 137549"/>
                <a:gd name="connsiteX17" fmla="*/ 37934 w 148016"/>
                <a:gd name="connsiteY17" fmla="*/ 137550 h 137549"/>
                <a:gd name="connsiteX18" fmla="*/ 37934 w 148016"/>
                <a:gd name="connsiteY18" fmla="*/ 137550 h 137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8016" h="137549">
                  <a:moveTo>
                    <a:pt x="37934" y="137550"/>
                  </a:moveTo>
                  <a:cubicBezTo>
                    <a:pt x="34959" y="137550"/>
                    <a:pt x="31984" y="134575"/>
                    <a:pt x="31984" y="131600"/>
                  </a:cubicBezTo>
                  <a:cubicBezTo>
                    <a:pt x="31984" y="128624"/>
                    <a:pt x="31984" y="125649"/>
                    <a:pt x="34959" y="125649"/>
                  </a:cubicBezTo>
                  <a:cubicBezTo>
                    <a:pt x="58760" y="119699"/>
                    <a:pt x="52810" y="75071"/>
                    <a:pt x="52810" y="72096"/>
                  </a:cubicBezTo>
                  <a:cubicBezTo>
                    <a:pt x="52810" y="69120"/>
                    <a:pt x="52810" y="69120"/>
                    <a:pt x="55785" y="66145"/>
                  </a:cubicBezTo>
                  <a:cubicBezTo>
                    <a:pt x="79587" y="48294"/>
                    <a:pt x="103388" y="60195"/>
                    <a:pt x="118264" y="69120"/>
                  </a:cubicBezTo>
                  <a:cubicBezTo>
                    <a:pt x="124215" y="72096"/>
                    <a:pt x="133140" y="75071"/>
                    <a:pt x="136116" y="75071"/>
                  </a:cubicBezTo>
                  <a:cubicBezTo>
                    <a:pt x="136116" y="75071"/>
                    <a:pt x="136116" y="72096"/>
                    <a:pt x="136116" y="72096"/>
                  </a:cubicBezTo>
                  <a:cubicBezTo>
                    <a:pt x="136116" y="60195"/>
                    <a:pt x="118264" y="33418"/>
                    <a:pt x="91488" y="15566"/>
                  </a:cubicBezTo>
                  <a:cubicBezTo>
                    <a:pt x="58760" y="-5260"/>
                    <a:pt x="11157" y="39368"/>
                    <a:pt x="11157" y="42344"/>
                  </a:cubicBezTo>
                  <a:cubicBezTo>
                    <a:pt x="8182" y="45319"/>
                    <a:pt x="5207" y="45319"/>
                    <a:pt x="2232" y="42344"/>
                  </a:cubicBezTo>
                  <a:cubicBezTo>
                    <a:pt x="-744" y="39368"/>
                    <a:pt x="-744" y="36393"/>
                    <a:pt x="2232" y="33418"/>
                  </a:cubicBezTo>
                  <a:cubicBezTo>
                    <a:pt x="5207" y="30442"/>
                    <a:pt x="55785" y="-17161"/>
                    <a:pt x="97438" y="6641"/>
                  </a:cubicBezTo>
                  <a:cubicBezTo>
                    <a:pt x="127190" y="27468"/>
                    <a:pt x="148016" y="57220"/>
                    <a:pt x="148016" y="72096"/>
                  </a:cubicBezTo>
                  <a:cubicBezTo>
                    <a:pt x="148016" y="78046"/>
                    <a:pt x="145041" y="83996"/>
                    <a:pt x="142066" y="83996"/>
                  </a:cubicBezTo>
                  <a:cubicBezTo>
                    <a:pt x="136116" y="89947"/>
                    <a:pt x="124215" y="83996"/>
                    <a:pt x="115289" y="78046"/>
                  </a:cubicBezTo>
                  <a:cubicBezTo>
                    <a:pt x="100413" y="72096"/>
                    <a:pt x="82562" y="63170"/>
                    <a:pt x="67686" y="72096"/>
                  </a:cubicBezTo>
                  <a:cubicBezTo>
                    <a:pt x="67686" y="89947"/>
                    <a:pt x="70661" y="131600"/>
                    <a:pt x="37934" y="137550"/>
                  </a:cubicBezTo>
                  <a:cubicBezTo>
                    <a:pt x="37934" y="137550"/>
                    <a:pt x="37934" y="137550"/>
                    <a:pt x="37934" y="137550"/>
                  </a:cubicBezTo>
                  <a:close/>
                </a:path>
              </a:pathLst>
            </a:custGeom>
            <a:solidFill>
              <a:srgbClr val="E58777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2E8A54DC-BFA0-4863-BC1A-61BA8035C42C}"/>
                </a:ext>
              </a:extLst>
            </p:cNvPr>
            <p:cNvSpPr/>
            <p:nvPr/>
          </p:nvSpPr>
          <p:spPr>
            <a:xfrm>
              <a:off x="3703332" y="8200169"/>
              <a:ext cx="412400" cy="554568"/>
            </a:xfrm>
            <a:custGeom>
              <a:avLst/>
              <a:gdLst>
                <a:gd name="connsiteX0" fmla="*/ 404628 w 412400"/>
                <a:gd name="connsiteY0" fmla="*/ 179381 h 554568"/>
                <a:gd name="connsiteX1" fmla="*/ 392727 w 412400"/>
                <a:gd name="connsiteY1" fmla="*/ 429298 h 554568"/>
                <a:gd name="connsiteX2" fmla="*/ 246942 w 412400"/>
                <a:gd name="connsiteY2" fmla="*/ 554257 h 554568"/>
                <a:gd name="connsiteX3" fmla="*/ 35703 w 412400"/>
                <a:gd name="connsiteY3" fmla="*/ 414422 h 554568"/>
                <a:gd name="connsiteX4" fmla="*/ 0 w 412400"/>
                <a:gd name="connsiteY4" fmla="*/ 194257 h 554568"/>
                <a:gd name="connsiteX5" fmla="*/ 208264 w 412400"/>
                <a:gd name="connsiteY5" fmla="*/ 868 h 554568"/>
                <a:gd name="connsiteX6" fmla="*/ 404628 w 412400"/>
                <a:gd name="connsiteY6" fmla="*/ 179381 h 55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400" h="554568">
                  <a:moveTo>
                    <a:pt x="404628" y="179381"/>
                  </a:moveTo>
                  <a:cubicBezTo>
                    <a:pt x="404628" y="179381"/>
                    <a:pt x="428430" y="363843"/>
                    <a:pt x="392727" y="429298"/>
                  </a:cubicBezTo>
                  <a:cubicBezTo>
                    <a:pt x="357025" y="494753"/>
                    <a:pt x="297521" y="551281"/>
                    <a:pt x="246942" y="554257"/>
                  </a:cubicBezTo>
                  <a:cubicBezTo>
                    <a:pt x="181488" y="560207"/>
                    <a:pt x="71405" y="479877"/>
                    <a:pt x="35703" y="414422"/>
                  </a:cubicBezTo>
                  <a:cubicBezTo>
                    <a:pt x="0" y="348967"/>
                    <a:pt x="0" y="244835"/>
                    <a:pt x="0" y="194257"/>
                  </a:cubicBezTo>
                  <a:cubicBezTo>
                    <a:pt x="2975" y="102025"/>
                    <a:pt x="26777" y="24670"/>
                    <a:pt x="208264" y="868"/>
                  </a:cubicBezTo>
                  <a:cubicBezTo>
                    <a:pt x="294546" y="-11032"/>
                    <a:pt x="386777" y="102025"/>
                    <a:pt x="404628" y="179381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95B87648-0FB1-427A-B788-573449349323}"/>
                </a:ext>
              </a:extLst>
            </p:cNvPr>
            <p:cNvSpPr/>
            <p:nvPr/>
          </p:nvSpPr>
          <p:spPr>
            <a:xfrm>
              <a:off x="3926472" y="8462855"/>
              <a:ext cx="53553" cy="127933"/>
            </a:xfrm>
            <a:custGeom>
              <a:avLst/>
              <a:gdLst>
                <a:gd name="connsiteX0" fmla="*/ 29752 w 53553"/>
                <a:gd name="connsiteY0" fmla="*/ 127934 h 127933"/>
                <a:gd name="connsiteX1" fmla="*/ 5950 w 53553"/>
                <a:gd name="connsiteY1" fmla="*/ 124959 h 127933"/>
                <a:gd name="connsiteX2" fmla="*/ 0 w 53553"/>
                <a:gd name="connsiteY2" fmla="*/ 119008 h 127933"/>
                <a:gd name="connsiteX3" fmla="*/ 5950 w 53553"/>
                <a:gd name="connsiteY3" fmla="*/ 113058 h 127933"/>
                <a:gd name="connsiteX4" fmla="*/ 44628 w 53553"/>
                <a:gd name="connsiteY4" fmla="*/ 113058 h 127933"/>
                <a:gd name="connsiteX5" fmla="*/ 44628 w 53553"/>
                <a:gd name="connsiteY5" fmla="*/ 110083 h 127933"/>
                <a:gd name="connsiteX6" fmla="*/ 17851 w 53553"/>
                <a:gd name="connsiteY6" fmla="*/ 5950 h 127933"/>
                <a:gd name="connsiteX7" fmla="*/ 20826 w 53553"/>
                <a:gd name="connsiteY7" fmla="*/ 0 h 127933"/>
                <a:gd name="connsiteX8" fmla="*/ 26777 w 53553"/>
                <a:gd name="connsiteY8" fmla="*/ 2975 h 127933"/>
                <a:gd name="connsiteX9" fmla="*/ 53554 w 53553"/>
                <a:gd name="connsiteY9" fmla="*/ 110083 h 127933"/>
                <a:gd name="connsiteX10" fmla="*/ 47603 w 53553"/>
                <a:gd name="connsiteY10" fmla="*/ 121983 h 127933"/>
                <a:gd name="connsiteX11" fmla="*/ 29752 w 53553"/>
                <a:gd name="connsiteY11" fmla="*/ 127934 h 127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553" h="127933">
                  <a:moveTo>
                    <a:pt x="29752" y="127934"/>
                  </a:moveTo>
                  <a:cubicBezTo>
                    <a:pt x="17851" y="127934"/>
                    <a:pt x="8926" y="124959"/>
                    <a:pt x="5950" y="124959"/>
                  </a:cubicBezTo>
                  <a:cubicBezTo>
                    <a:pt x="2975" y="124959"/>
                    <a:pt x="0" y="121983"/>
                    <a:pt x="0" y="119008"/>
                  </a:cubicBezTo>
                  <a:cubicBezTo>
                    <a:pt x="0" y="116033"/>
                    <a:pt x="2975" y="113058"/>
                    <a:pt x="5950" y="113058"/>
                  </a:cubicBezTo>
                  <a:cubicBezTo>
                    <a:pt x="17851" y="116033"/>
                    <a:pt x="38678" y="116033"/>
                    <a:pt x="44628" y="113058"/>
                  </a:cubicBezTo>
                  <a:cubicBezTo>
                    <a:pt x="44628" y="113058"/>
                    <a:pt x="44628" y="110083"/>
                    <a:pt x="44628" y="110083"/>
                  </a:cubicBezTo>
                  <a:cubicBezTo>
                    <a:pt x="44628" y="95207"/>
                    <a:pt x="23802" y="29752"/>
                    <a:pt x="17851" y="5950"/>
                  </a:cubicBezTo>
                  <a:cubicBezTo>
                    <a:pt x="17851" y="2975"/>
                    <a:pt x="17851" y="0"/>
                    <a:pt x="20826" y="0"/>
                  </a:cubicBezTo>
                  <a:cubicBezTo>
                    <a:pt x="23802" y="0"/>
                    <a:pt x="26777" y="0"/>
                    <a:pt x="26777" y="2975"/>
                  </a:cubicBezTo>
                  <a:cubicBezTo>
                    <a:pt x="26777" y="5950"/>
                    <a:pt x="53554" y="89256"/>
                    <a:pt x="53554" y="110083"/>
                  </a:cubicBezTo>
                  <a:cubicBezTo>
                    <a:pt x="53554" y="116033"/>
                    <a:pt x="50579" y="119008"/>
                    <a:pt x="47603" y="121983"/>
                  </a:cubicBezTo>
                  <a:cubicBezTo>
                    <a:pt x="47603" y="124959"/>
                    <a:pt x="38678" y="127934"/>
                    <a:pt x="29752" y="127934"/>
                  </a:cubicBezTo>
                  <a:close/>
                </a:path>
              </a:pathLst>
            </a:custGeom>
            <a:solidFill>
              <a:srgbClr val="E58777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317A1CC2-0856-47F5-8AEC-76CDA27CF856}"/>
                </a:ext>
              </a:extLst>
            </p:cNvPr>
            <p:cNvSpPr/>
            <p:nvPr/>
          </p:nvSpPr>
          <p:spPr>
            <a:xfrm>
              <a:off x="3896720" y="8638392"/>
              <a:ext cx="104132" cy="53553"/>
            </a:xfrm>
            <a:custGeom>
              <a:avLst/>
              <a:gdLst>
                <a:gd name="connsiteX0" fmla="*/ 0 w 104132"/>
                <a:gd name="connsiteY0" fmla="*/ 0 h 53553"/>
                <a:gd name="connsiteX1" fmla="*/ 104132 w 104132"/>
                <a:gd name="connsiteY1" fmla="*/ 0 h 53553"/>
                <a:gd name="connsiteX2" fmla="*/ 53554 w 104132"/>
                <a:gd name="connsiteY2" fmla="*/ 53554 h 53553"/>
                <a:gd name="connsiteX3" fmla="*/ 0 w 104132"/>
                <a:gd name="connsiteY3" fmla="*/ 0 h 5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132" h="53553">
                  <a:moveTo>
                    <a:pt x="0" y="0"/>
                  </a:moveTo>
                  <a:cubicBezTo>
                    <a:pt x="53554" y="23802"/>
                    <a:pt x="104132" y="0"/>
                    <a:pt x="104132" y="0"/>
                  </a:cubicBezTo>
                  <a:cubicBezTo>
                    <a:pt x="104132" y="0"/>
                    <a:pt x="89256" y="53554"/>
                    <a:pt x="53554" y="53554"/>
                  </a:cubicBezTo>
                  <a:cubicBezTo>
                    <a:pt x="14876" y="5355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03A3555D-A8A7-43F1-B59D-6D3C0D8CA827}"/>
                </a:ext>
              </a:extLst>
            </p:cNvPr>
            <p:cNvSpPr/>
            <p:nvPr/>
          </p:nvSpPr>
          <p:spPr>
            <a:xfrm>
              <a:off x="4014970" y="8435320"/>
              <a:ext cx="40019" cy="40194"/>
            </a:xfrm>
            <a:custGeom>
              <a:avLst/>
              <a:gdLst>
                <a:gd name="connsiteX0" fmla="*/ 758 w 40019"/>
                <a:gd name="connsiteY0" fmla="*/ 24560 h 40194"/>
                <a:gd name="connsiteX1" fmla="*/ 24560 w 40019"/>
                <a:gd name="connsiteY1" fmla="*/ 39436 h 40194"/>
                <a:gd name="connsiteX2" fmla="*/ 39436 w 40019"/>
                <a:gd name="connsiteY2" fmla="*/ 15634 h 40194"/>
                <a:gd name="connsiteX3" fmla="*/ 15634 w 40019"/>
                <a:gd name="connsiteY3" fmla="*/ 758 h 40194"/>
                <a:gd name="connsiteX4" fmla="*/ 758 w 40019"/>
                <a:gd name="connsiteY4" fmla="*/ 24560 h 4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19" h="40194">
                  <a:moveTo>
                    <a:pt x="758" y="24560"/>
                  </a:moveTo>
                  <a:cubicBezTo>
                    <a:pt x="3733" y="36461"/>
                    <a:pt x="12659" y="42411"/>
                    <a:pt x="24560" y="39436"/>
                  </a:cubicBezTo>
                  <a:cubicBezTo>
                    <a:pt x="33486" y="36461"/>
                    <a:pt x="42411" y="27535"/>
                    <a:pt x="39436" y="15634"/>
                  </a:cubicBezTo>
                  <a:cubicBezTo>
                    <a:pt x="36461" y="3733"/>
                    <a:pt x="27535" y="-2217"/>
                    <a:pt x="15634" y="758"/>
                  </a:cubicBezTo>
                  <a:cubicBezTo>
                    <a:pt x="3733" y="3733"/>
                    <a:pt x="-2217" y="12659"/>
                    <a:pt x="758" y="2456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3A949711-2BAB-4F35-9844-3CDC0A5835D3}"/>
                </a:ext>
              </a:extLst>
            </p:cNvPr>
            <p:cNvSpPr/>
            <p:nvPr/>
          </p:nvSpPr>
          <p:spPr>
            <a:xfrm>
              <a:off x="3828290" y="8441271"/>
              <a:ext cx="39261" cy="40019"/>
            </a:xfrm>
            <a:custGeom>
              <a:avLst/>
              <a:gdLst>
                <a:gd name="connsiteX0" fmla="*/ 0 w 39261"/>
                <a:gd name="connsiteY0" fmla="*/ 24560 h 40019"/>
                <a:gd name="connsiteX1" fmla="*/ 23802 w 39261"/>
                <a:gd name="connsiteY1" fmla="*/ 39436 h 40019"/>
                <a:gd name="connsiteX2" fmla="*/ 38678 w 39261"/>
                <a:gd name="connsiteY2" fmla="*/ 15634 h 40019"/>
                <a:gd name="connsiteX3" fmla="*/ 14876 w 39261"/>
                <a:gd name="connsiteY3" fmla="*/ 758 h 40019"/>
                <a:gd name="connsiteX4" fmla="*/ 0 w 39261"/>
                <a:gd name="connsiteY4" fmla="*/ 24560 h 4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61" h="40019">
                  <a:moveTo>
                    <a:pt x="0" y="24560"/>
                  </a:moveTo>
                  <a:cubicBezTo>
                    <a:pt x="2975" y="33485"/>
                    <a:pt x="11901" y="42411"/>
                    <a:pt x="23802" y="39436"/>
                  </a:cubicBezTo>
                  <a:cubicBezTo>
                    <a:pt x="32727" y="36461"/>
                    <a:pt x="41653" y="27535"/>
                    <a:pt x="38678" y="15634"/>
                  </a:cubicBezTo>
                  <a:cubicBezTo>
                    <a:pt x="35703" y="3733"/>
                    <a:pt x="26777" y="-2217"/>
                    <a:pt x="14876" y="758"/>
                  </a:cubicBezTo>
                  <a:cubicBezTo>
                    <a:pt x="5950" y="3733"/>
                    <a:pt x="0" y="12659"/>
                    <a:pt x="0" y="2456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99F3E5C7-3139-43EF-94C8-BAE8B377ECC9}"/>
                </a:ext>
              </a:extLst>
            </p:cNvPr>
            <p:cNvSpPr/>
            <p:nvPr/>
          </p:nvSpPr>
          <p:spPr>
            <a:xfrm>
              <a:off x="3987719" y="8391800"/>
              <a:ext cx="89744" cy="32377"/>
            </a:xfrm>
            <a:custGeom>
              <a:avLst/>
              <a:gdLst>
                <a:gd name="connsiteX0" fmla="*/ 81563 w 89744"/>
                <a:gd name="connsiteY0" fmla="*/ 29402 h 32377"/>
                <a:gd name="connsiteX1" fmla="*/ 75613 w 89744"/>
                <a:gd name="connsiteY1" fmla="*/ 26427 h 32377"/>
                <a:gd name="connsiteX2" fmla="*/ 10158 w 89744"/>
                <a:gd name="connsiteY2" fmla="*/ 20476 h 32377"/>
                <a:gd name="connsiteX3" fmla="*/ 1232 w 89744"/>
                <a:gd name="connsiteY3" fmla="*/ 17501 h 32377"/>
                <a:gd name="connsiteX4" fmla="*/ 4208 w 89744"/>
                <a:gd name="connsiteY4" fmla="*/ 8575 h 32377"/>
                <a:gd name="connsiteX5" fmla="*/ 87513 w 89744"/>
                <a:gd name="connsiteY5" fmla="*/ 20476 h 32377"/>
                <a:gd name="connsiteX6" fmla="*/ 87513 w 89744"/>
                <a:gd name="connsiteY6" fmla="*/ 32377 h 32377"/>
                <a:gd name="connsiteX7" fmla="*/ 81563 w 89744"/>
                <a:gd name="connsiteY7" fmla="*/ 29402 h 32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2377">
                  <a:moveTo>
                    <a:pt x="81563" y="29402"/>
                  </a:moveTo>
                  <a:cubicBezTo>
                    <a:pt x="78588" y="29402"/>
                    <a:pt x="78588" y="29402"/>
                    <a:pt x="75613" y="26427"/>
                  </a:cubicBezTo>
                  <a:cubicBezTo>
                    <a:pt x="51811" y="-350"/>
                    <a:pt x="13133" y="17501"/>
                    <a:pt x="10158" y="20476"/>
                  </a:cubicBezTo>
                  <a:cubicBezTo>
                    <a:pt x="7183" y="23451"/>
                    <a:pt x="1232" y="20476"/>
                    <a:pt x="1232" y="17501"/>
                  </a:cubicBezTo>
                  <a:cubicBezTo>
                    <a:pt x="-1743" y="14526"/>
                    <a:pt x="1232" y="8575"/>
                    <a:pt x="4208" y="8575"/>
                  </a:cubicBezTo>
                  <a:cubicBezTo>
                    <a:pt x="22059" y="-350"/>
                    <a:pt x="60737" y="-9276"/>
                    <a:pt x="87513" y="20476"/>
                  </a:cubicBezTo>
                  <a:cubicBezTo>
                    <a:pt x="90489" y="23451"/>
                    <a:pt x="90489" y="29402"/>
                    <a:pt x="87513" y="32377"/>
                  </a:cubicBezTo>
                  <a:cubicBezTo>
                    <a:pt x="87513" y="26427"/>
                    <a:pt x="84538" y="29402"/>
                    <a:pt x="81563" y="29402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87685261-CE34-451C-8B63-7BA6115275C7}"/>
                </a:ext>
              </a:extLst>
            </p:cNvPr>
            <p:cNvSpPr/>
            <p:nvPr/>
          </p:nvSpPr>
          <p:spPr>
            <a:xfrm>
              <a:off x="3802257" y="8386492"/>
              <a:ext cx="89744" cy="34710"/>
            </a:xfrm>
            <a:custGeom>
              <a:avLst/>
              <a:gdLst>
                <a:gd name="connsiteX0" fmla="*/ 8182 w 89744"/>
                <a:gd name="connsiteY0" fmla="*/ 34710 h 34710"/>
                <a:gd name="connsiteX1" fmla="*/ 2231 w 89744"/>
                <a:gd name="connsiteY1" fmla="*/ 31736 h 34710"/>
                <a:gd name="connsiteX2" fmla="*/ 2231 w 89744"/>
                <a:gd name="connsiteY2" fmla="*/ 19834 h 34710"/>
                <a:gd name="connsiteX3" fmla="*/ 85537 w 89744"/>
                <a:gd name="connsiteY3" fmla="*/ 10909 h 34710"/>
                <a:gd name="connsiteX4" fmla="*/ 88512 w 89744"/>
                <a:gd name="connsiteY4" fmla="*/ 22810 h 34710"/>
                <a:gd name="connsiteX5" fmla="*/ 76612 w 89744"/>
                <a:gd name="connsiteY5" fmla="*/ 25785 h 34710"/>
                <a:gd name="connsiteX6" fmla="*/ 11157 w 89744"/>
                <a:gd name="connsiteY6" fmla="*/ 31736 h 34710"/>
                <a:gd name="connsiteX7" fmla="*/ 8182 w 89744"/>
                <a:gd name="connsiteY7" fmla="*/ 34710 h 3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4710">
                  <a:moveTo>
                    <a:pt x="8182" y="34710"/>
                  </a:moveTo>
                  <a:cubicBezTo>
                    <a:pt x="5207" y="34710"/>
                    <a:pt x="5207" y="34710"/>
                    <a:pt x="2231" y="31736"/>
                  </a:cubicBezTo>
                  <a:cubicBezTo>
                    <a:pt x="-744" y="28760"/>
                    <a:pt x="-744" y="22810"/>
                    <a:pt x="2231" y="19834"/>
                  </a:cubicBezTo>
                  <a:cubicBezTo>
                    <a:pt x="14132" y="7934"/>
                    <a:pt x="49835" y="-12893"/>
                    <a:pt x="85537" y="10909"/>
                  </a:cubicBezTo>
                  <a:cubicBezTo>
                    <a:pt x="88512" y="13884"/>
                    <a:pt x="91488" y="16860"/>
                    <a:pt x="88512" y="22810"/>
                  </a:cubicBezTo>
                  <a:cubicBezTo>
                    <a:pt x="85537" y="25785"/>
                    <a:pt x="82562" y="28760"/>
                    <a:pt x="76612" y="25785"/>
                  </a:cubicBezTo>
                  <a:cubicBezTo>
                    <a:pt x="40909" y="1983"/>
                    <a:pt x="14132" y="31736"/>
                    <a:pt x="11157" y="31736"/>
                  </a:cubicBezTo>
                  <a:cubicBezTo>
                    <a:pt x="11157" y="34710"/>
                    <a:pt x="11157" y="34710"/>
                    <a:pt x="8182" y="34710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429B98F6-DA70-47CE-B6C0-F0DA3698E5AB}"/>
                </a:ext>
              </a:extLst>
            </p:cNvPr>
            <p:cNvSpPr/>
            <p:nvPr/>
          </p:nvSpPr>
          <p:spPr>
            <a:xfrm>
              <a:off x="3864927" y="8168622"/>
              <a:ext cx="270029" cy="252580"/>
            </a:xfrm>
            <a:custGeom>
              <a:avLst/>
              <a:gdLst>
                <a:gd name="connsiteX0" fmla="*/ 2041 w 270029"/>
                <a:gd name="connsiteY0" fmla="*/ 2663 h 252580"/>
                <a:gd name="connsiteX1" fmla="*/ 37743 w 270029"/>
                <a:gd name="connsiteY1" fmla="*/ 127622 h 252580"/>
                <a:gd name="connsiteX2" fmla="*/ 269809 w 270029"/>
                <a:gd name="connsiteY2" fmla="*/ 252580 h 252580"/>
                <a:gd name="connsiteX3" fmla="*/ 2041 w 270029"/>
                <a:gd name="connsiteY3" fmla="*/ 2663 h 25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029" h="252580">
                  <a:moveTo>
                    <a:pt x="2041" y="2663"/>
                  </a:moveTo>
                  <a:cubicBezTo>
                    <a:pt x="2041" y="2663"/>
                    <a:pt x="-12835" y="88944"/>
                    <a:pt x="37743" y="127622"/>
                  </a:cubicBezTo>
                  <a:cubicBezTo>
                    <a:pt x="37743" y="127622"/>
                    <a:pt x="243032" y="169275"/>
                    <a:pt x="269809" y="252580"/>
                  </a:cubicBezTo>
                  <a:cubicBezTo>
                    <a:pt x="269809" y="249605"/>
                    <a:pt x="287661" y="-30064"/>
                    <a:pt x="2041" y="2663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BC21EBF2-141C-4D3E-A0CE-146B0808E5E2}"/>
                </a:ext>
              </a:extLst>
            </p:cNvPr>
            <p:cNvSpPr/>
            <p:nvPr/>
          </p:nvSpPr>
          <p:spPr>
            <a:xfrm>
              <a:off x="3683827" y="8168309"/>
              <a:ext cx="218843" cy="306929"/>
            </a:xfrm>
            <a:custGeom>
              <a:avLst/>
              <a:gdLst>
                <a:gd name="connsiteX0" fmla="*/ 218844 w 218843"/>
                <a:gd name="connsiteY0" fmla="*/ 124959 h 306929"/>
                <a:gd name="connsiteX1" fmla="*/ 81984 w 218843"/>
                <a:gd name="connsiteY1" fmla="*/ 178512 h 306929"/>
                <a:gd name="connsiteX2" fmla="*/ 25455 w 218843"/>
                <a:gd name="connsiteY2" fmla="*/ 294546 h 306929"/>
                <a:gd name="connsiteX3" fmla="*/ 1653 w 218843"/>
                <a:gd name="connsiteY3" fmla="*/ 291570 h 306929"/>
                <a:gd name="connsiteX4" fmla="*/ 186116 w 218843"/>
                <a:gd name="connsiteY4" fmla="*/ 0 h 306929"/>
                <a:gd name="connsiteX5" fmla="*/ 218844 w 218843"/>
                <a:gd name="connsiteY5" fmla="*/ 124959 h 306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8843" h="306929">
                  <a:moveTo>
                    <a:pt x="218844" y="124959"/>
                  </a:moveTo>
                  <a:cubicBezTo>
                    <a:pt x="218844" y="124959"/>
                    <a:pt x="129587" y="172562"/>
                    <a:pt x="81984" y="178512"/>
                  </a:cubicBezTo>
                  <a:cubicBezTo>
                    <a:pt x="31406" y="184463"/>
                    <a:pt x="25455" y="294546"/>
                    <a:pt x="25455" y="294546"/>
                  </a:cubicBezTo>
                  <a:cubicBezTo>
                    <a:pt x="25455" y="294546"/>
                    <a:pt x="4629" y="324298"/>
                    <a:pt x="1653" y="291570"/>
                  </a:cubicBezTo>
                  <a:cubicBezTo>
                    <a:pt x="-4297" y="214215"/>
                    <a:pt x="-4297" y="20827"/>
                    <a:pt x="186116" y="0"/>
                  </a:cubicBezTo>
                  <a:cubicBezTo>
                    <a:pt x="183141" y="2975"/>
                    <a:pt x="195042" y="121984"/>
                    <a:pt x="218844" y="124959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11618B31-51FB-4731-B7FD-BD8A06534FF7}"/>
                </a:ext>
              </a:extLst>
            </p:cNvPr>
            <p:cNvSpPr/>
            <p:nvPr/>
          </p:nvSpPr>
          <p:spPr>
            <a:xfrm>
              <a:off x="3756885" y="8215913"/>
              <a:ext cx="153057" cy="136859"/>
            </a:xfrm>
            <a:custGeom>
              <a:avLst/>
              <a:gdLst>
                <a:gd name="connsiteX0" fmla="*/ 5950 w 153057"/>
                <a:gd name="connsiteY0" fmla="*/ 136860 h 136859"/>
                <a:gd name="connsiteX1" fmla="*/ 0 w 153057"/>
                <a:gd name="connsiteY1" fmla="*/ 130909 h 136859"/>
                <a:gd name="connsiteX2" fmla="*/ 5950 w 153057"/>
                <a:gd name="connsiteY2" fmla="*/ 124959 h 136859"/>
                <a:gd name="connsiteX3" fmla="*/ 98182 w 153057"/>
                <a:gd name="connsiteY3" fmla="*/ 95207 h 136859"/>
                <a:gd name="connsiteX4" fmla="*/ 136860 w 153057"/>
                <a:gd name="connsiteY4" fmla="*/ 74380 h 136859"/>
                <a:gd name="connsiteX5" fmla="*/ 113058 w 153057"/>
                <a:gd name="connsiteY5" fmla="*/ 5950 h 136859"/>
                <a:gd name="connsiteX6" fmla="*/ 119008 w 153057"/>
                <a:gd name="connsiteY6" fmla="*/ 0 h 136859"/>
                <a:gd name="connsiteX7" fmla="*/ 124959 w 153057"/>
                <a:gd name="connsiteY7" fmla="*/ 5950 h 136859"/>
                <a:gd name="connsiteX8" fmla="*/ 151736 w 153057"/>
                <a:gd name="connsiteY8" fmla="*/ 74380 h 136859"/>
                <a:gd name="connsiteX9" fmla="*/ 151736 w 153057"/>
                <a:gd name="connsiteY9" fmla="*/ 80330 h 136859"/>
                <a:gd name="connsiteX10" fmla="*/ 148760 w 153057"/>
                <a:gd name="connsiteY10" fmla="*/ 83306 h 136859"/>
                <a:gd name="connsiteX11" fmla="*/ 104132 w 153057"/>
                <a:gd name="connsiteY11" fmla="*/ 107108 h 136859"/>
                <a:gd name="connsiteX12" fmla="*/ 5950 w 153057"/>
                <a:gd name="connsiteY12" fmla="*/ 136860 h 136859"/>
                <a:gd name="connsiteX13" fmla="*/ 5950 w 153057"/>
                <a:gd name="connsiteY13" fmla="*/ 136860 h 13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3057" h="136859">
                  <a:moveTo>
                    <a:pt x="5950" y="136860"/>
                  </a:moveTo>
                  <a:cubicBezTo>
                    <a:pt x="2975" y="136860"/>
                    <a:pt x="0" y="133884"/>
                    <a:pt x="0" y="130909"/>
                  </a:cubicBezTo>
                  <a:cubicBezTo>
                    <a:pt x="0" y="127934"/>
                    <a:pt x="2975" y="124959"/>
                    <a:pt x="5950" y="124959"/>
                  </a:cubicBezTo>
                  <a:cubicBezTo>
                    <a:pt x="38678" y="119008"/>
                    <a:pt x="74380" y="104132"/>
                    <a:pt x="98182" y="95207"/>
                  </a:cubicBezTo>
                  <a:cubicBezTo>
                    <a:pt x="116033" y="86281"/>
                    <a:pt x="127934" y="80330"/>
                    <a:pt x="136860" y="74380"/>
                  </a:cubicBezTo>
                  <a:cubicBezTo>
                    <a:pt x="127934" y="59504"/>
                    <a:pt x="113058" y="26777"/>
                    <a:pt x="113058" y="5950"/>
                  </a:cubicBezTo>
                  <a:cubicBezTo>
                    <a:pt x="113058" y="2975"/>
                    <a:pt x="116033" y="0"/>
                    <a:pt x="119008" y="0"/>
                  </a:cubicBezTo>
                  <a:cubicBezTo>
                    <a:pt x="121984" y="0"/>
                    <a:pt x="124959" y="2975"/>
                    <a:pt x="124959" y="5950"/>
                  </a:cubicBezTo>
                  <a:cubicBezTo>
                    <a:pt x="127934" y="29752"/>
                    <a:pt x="145785" y="68430"/>
                    <a:pt x="151736" y="74380"/>
                  </a:cubicBezTo>
                  <a:cubicBezTo>
                    <a:pt x="151736" y="74380"/>
                    <a:pt x="154711" y="77356"/>
                    <a:pt x="151736" y="80330"/>
                  </a:cubicBezTo>
                  <a:cubicBezTo>
                    <a:pt x="151736" y="83306"/>
                    <a:pt x="151736" y="83306"/>
                    <a:pt x="148760" y="83306"/>
                  </a:cubicBezTo>
                  <a:cubicBezTo>
                    <a:pt x="148760" y="83306"/>
                    <a:pt x="130909" y="95207"/>
                    <a:pt x="104132" y="107108"/>
                  </a:cubicBezTo>
                  <a:cubicBezTo>
                    <a:pt x="80331" y="116033"/>
                    <a:pt x="41653" y="130909"/>
                    <a:pt x="5950" y="136860"/>
                  </a:cubicBezTo>
                  <a:cubicBezTo>
                    <a:pt x="5950" y="136860"/>
                    <a:pt x="5950" y="136860"/>
                    <a:pt x="5950" y="13686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2DAAE163-17C0-4A8B-93B9-015939F714DB}"/>
                </a:ext>
              </a:extLst>
            </p:cNvPr>
            <p:cNvSpPr/>
            <p:nvPr/>
          </p:nvSpPr>
          <p:spPr>
            <a:xfrm>
              <a:off x="3801513" y="8683020"/>
              <a:ext cx="216446" cy="77355"/>
            </a:xfrm>
            <a:custGeom>
              <a:avLst/>
              <a:gdLst>
                <a:gd name="connsiteX0" fmla="*/ 145785 w 216446"/>
                <a:gd name="connsiteY0" fmla="*/ 77356 h 77355"/>
                <a:gd name="connsiteX1" fmla="*/ 136860 w 216446"/>
                <a:gd name="connsiteY1" fmla="*/ 77356 h 77355"/>
                <a:gd name="connsiteX2" fmla="*/ 2975 w 216446"/>
                <a:gd name="connsiteY2" fmla="*/ 11901 h 77355"/>
                <a:gd name="connsiteX3" fmla="*/ 0 w 216446"/>
                <a:gd name="connsiteY3" fmla="*/ 2975 h 77355"/>
                <a:gd name="connsiteX4" fmla="*/ 8926 w 216446"/>
                <a:gd name="connsiteY4" fmla="*/ 0 h 77355"/>
                <a:gd name="connsiteX5" fmla="*/ 136860 w 216446"/>
                <a:gd name="connsiteY5" fmla="*/ 65454 h 77355"/>
                <a:gd name="connsiteX6" fmla="*/ 205289 w 216446"/>
                <a:gd name="connsiteY6" fmla="*/ 41653 h 77355"/>
                <a:gd name="connsiteX7" fmla="*/ 214215 w 216446"/>
                <a:gd name="connsiteY7" fmla="*/ 41653 h 77355"/>
                <a:gd name="connsiteX8" fmla="*/ 214215 w 216446"/>
                <a:gd name="connsiteY8" fmla="*/ 50578 h 77355"/>
                <a:gd name="connsiteX9" fmla="*/ 145785 w 216446"/>
                <a:gd name="connsiteY9" fmla="*/ 77356 h 77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446" h="77355">
                  <a:moveTo>
                    <a:pt x="145785" y="77356"/>
                  </a:moveTo>
                  <a:cubicBezTo>
                    <a:pt x="142810" y="77356"/>
                    <a:pt x="139835" y="77356"/>
                    <a:pt x="136860" y="77356"/>
                  </a:cubicBezTo>
                  <a:cubicBezTo>
                    <a:pt x="95207" y="71405"/>
                    <a:pt x="5950" y="11901"/>
                    <a:pt x="2975" y="11901"/>
                  </a:cubicBezTo>
                  <a:cubicBezTo>
                    <a:pt x="0" y="8926"/>
                    <a:pt x="0" y="5950"/>
                    <a:pt x="0" y="2975"/>
                  </a:cubicBezTo>
                  <a:cubicBezTo>
                    <a:pt x="2975" y="0"/>
                    <a:pt x="5950" y="0"/>
                    <a:pt x="8926" y="0"/>
                  </a:cubicBezTo>
                  <a:cubicBezTo>
                    <a:pt x="8926" y="0"/>
                    <a:pt x="101157" y="59504"/>
                    <a:pt x="136860" y="65454"/>
                  </a:cubicBezTo>
                  <a:cubicBezTo>
                    <a:pt x="172562" y="71405"/>
                    <a:pt x="205289" y="41653"/>
                    <a:pt x="205289" y="41653"/>
                  </a:cubicBezTo>
                  <a:cubicBezTo>
                    <a:pt x="208264" y="38678"/>
                    <a:pt x="211240" y="38678"/>
                    <a:pt x="214215" y="41653"/>
                  </a:cubicBezTo>
                  <a:cubicBezTo>
                    <a:pt x="217190" y="44628"/>
                    <a:pt x="217190" y="47603"/>
                    <a:pt x="214215" y="50578"/>
                  </a:cubicBezTo>
                  <a:cubicBezTo>
                    <a:pt x="214215" y="50578"/>
                    <a:pt x="184463" y="77356"/>
                    <a:pt x="145785" y="77356"/>
                  </a:cubicBezTo>
                  <a:close/>
                </a:path>
              </a:pathLst>
            </a:custGeom>
            <a:solidFill>
              <a:srgbClr val="E58777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1A7AB22B-9225-4B1C-AAF5-9AD6A37D2ECA}"/>
                </a:ext>
              </a:extLst>
            </p:cNvPr>
            <p:cNvSpPr/>
            <p:nvPr/>
          </p:nvSpPr>
          <p:spPr>
            <a:xfrm>
              <a:off x="3666299" y="8449505"/>
              <a:ext cx="77032" cy="111296"/>
            </a:xfrm>
            <a:custGeom>
              <a:avLst/>
              <a:gdLst>
                <a:gd name="connsiteX0" fmla="*/ 63810 w 77032"/>
                <a:gd name="connsiteY0" fmla="*/ 16325 h 111296"/>
                <a:gd name="connsiteX1" fmla="*/ 7281 w 77032"/>
                <a:gd name="connsiteY1" fmla="*/ 7399 h 111296"/>
                <a:gd name="connsiteX2" fmla="*/ 63810 w 77032"/>
                <a:gd name="connsiteY2" fmla="*/ 108556 h 111296"/>
                <a:gd name="connsiteX3" fmla="*/ 63810 w 77032"/>
                <a:gd name="connsiteY3" fmla="*/ 16325 h 111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032" h="111296">
                  <a:moveTo>
                    <a:pt x="63810" y="16325"/>
                  </a:moveTo>
                  <a:cubicBezTo>
                    <a:pt x="63810" y="16325"/>
                    <a:pt x="31082" y="-13427"/>
                    <a:pt x="7281" y="7399"/>
                  </a:cubicBezTo>
                  <a:cubicBezTo>
                    <a:pt x="-16521" y="25250"/>
                    <a:pt x="22157" y="129383"/>
                    <a:pt x="63810" y="108556"/>
                  </a:cubicBezTo>
                  <a:cubicBezTo>
                    <a:pt x="93562" y="87730"/>
                    <a:pt x="63810" y="16325"/>
                    <a:pt x="63810" y="16325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A84EA23A-9C4B-4ABA-B449-7D8164980BAF}"/>
                </a:ext>
              </a:extLst>
            </p:cNvPr>
            <p:cNvSpPr/>
            <p:nvPr/>
          </p:nvSpPr>
          <p:spPr>
            <a:xfrm>
              <a:off x="3895488" y="8284343"/>
              <a:ext cx="248174" cy="157686"/>
            </a:xfrm>
            <a:custGeom>
              <a:avLst/>
              <a:gdLst>
                <a:gd name="connsiteX0" fmla="*/ 239249 w 248174"/>
                <a:gd name="connsiteY0" fmla="*/ 157686 h 157686"/>
                <a:gd name="connsiteX1" fmla="*/ 233298 w 248174"/>
                <a:gd name="connsiteY1" fmla="*/ 151735 h 157686"/>
                <a:gd name="connsiteX2" fmla="*/ 135117 w 248174"/>
                <a:gd name="connsiteY2" fmla="*/ 56529 h 157686"/>
                <a:gd name="connsiteX3" fmla="*/ 4208 w 248174"/>
                <a:gd name="connsiteY3" fmla="*/ 11901 h 157686"/>
                <a:gd name="connsiteX4" fmla="*/ 1232 w 248174"/>
                <a:gd name="connsiteY4" fmla="*/ 2975 h 157686"/>
                <a:gd name="connsiteX5" fmla="*/ 10158 w 248174"/>
                <a:gd name="connsiteY5" fmla="*/ 0 h 157686"/>
                <a:gd name="connsiteX6" fmla="*/ 141067 w 248174"/>
                <a:gd name="connsiteY6" fmla="*/ 44628 h 157686"/>
                <a:gd name="connsiteX7" fmla="*/ 248174 w 248174"/>
                <a:gd name="connsiteY7" fmla="*/ 148760 h 157686"/>
                <a:gd name="connsiteX8" fmla="*/ 239249 w 248174"/>
                <a:gd name="connsiteY8" fmla="*/ 157686 h 157686"/>
                <a:gd name="connsiteX9" fmla="*/ 239249 w 248174"/>
                <a:gd name="connsiteY9" fmla="*/ 157686 h 157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8174" h="157686">
                  <a:moveTo>
                    <a:pt x="239249" y="157686"/>
                  </a:moveTo>
                  <a:cubicBezTo>
                    <a:pt x="236274" y="157686"/>
                    <a:pt x="233298" y="154711"/>
                    <a:pt x="233298" y="151735"/>
                  </a:cubicBezTo>
                  <a:cubicBezTo>
                    <a:pt x="224373" y="95207"/>
                    <a:pt x="185695" y="71405"/>
                    <a:pt x="135117" y="56529"/>
                  </a:cubicBezTo>
                  <a:cubicBezTo>
                    <a:pt x="69662" y="35702"/>
                    <a:pt x="4208" y="11901"/>
                    <a:pt x="4208" y="11901"/>
                  </a:cubicBezTo>
                  <a:cubicBezTo>
                    <a:pt x="1232" y="11901"/>
                    <a:pt x="-1743" y="5950"/>
                    <a:pt x="1232" y="2975"/>
                  </a:cubicBezTo>
                  <a:cubicBezTo>
                    <a:pt x="1232" y="0"/>
                    <a:pt x="4208" y="0"/>
                    <a:pt x="10158" y="0"/>
                  </a:cubicBezTo>
                  <a:cubicBezTo>
                    <a:pt x="10158" y="0"/>
                    <a:pt x="75613" y="23802"/>
                    <a:pt x="141067" y="44628"/>
                  </a:cubicBezTo>
                  <a:cubicBezTo>
                    <a:pt x="191646" y="59504"/>
                    <a:pt x="236274" y="83306"/>
                    <a:pt x="248174" y="148760"/>
                  </a:cubicBezTo>
                  <a:cubicBezTo>
                    <a:pt x="245199" y="151735"/>
                    <a:pt x="242224" y="154711"/>
                    <a:pt x="239249" y="157686"/>
                  </a:cubicBezTo>
                  <a:cubicBezTo>
                    <a:pt x="239249" y="157686"/>
                    <a:pt x="239249" y="157686"/>
                    <a:pt x="239249" y="157686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2" name="图形 1">
              <a:extLst>
                <a:ext uri="{FF2B5EF4-FFF2-40B4-BE49-F238E27FC236}">
                  <a16:creationId xmlns:a16="http://schemas.microsoft.com/office/drawing/2014/main" id="{79AB2843-7EAE-4736-96D9-96969404039E}"/>
                </a:ext>
              </a:extLst>
            </p:cNvPr>
            <p:cNvGrpSpPr/>
            <p:nvPr/>
          </p:nvGrpSpPr>
          <p:grpSpPr>
            <a:xfrm>
              <a:off x="3381444" y="8019412"/>
              <a:ext cx="729494" cy="309558"/>
              <a:chOff x="3381444" y="8019412"/>
              <a:chExt cx="729494" cy="309558"/>
            </a:xfrm>
          </p:grpSpPr>
          <p:grpSp>
            <p:nvGrpSpPr>
              <p:cNvPr id="93" name="图形 1">
                <a:extLst>
                  <a:ext uri="{FF2B5EF4-FFF2-40B4-BE49-F238E27FC236}">
                    <a16:creationId xmlns:a16="http://schemas.microsoft.com/office/drawing/2014/main" id="{95E1303B-FAB4-4F61-A31E-24B5F4C0CB2C}"/>
                  </a:ext>
                </a:extLst>
              </p:cNvPr>
              <p:cNvGrpSpPr/>
              <p:nvPr/>
            </p:nvGrpSpPr>
            <p:grpSpPr>
              <a:xfrm>
                <a:off x="3381444" y="8019412"/>
                <a:ext cx="729494" cy="306315"/>
                <a:chOff x="3381444" y="8019412"/>
                <a:chExt cx="729494" cy="306315"/>
              </a:xfrm>
            </p:grpSpPr>
            <p:sp>
              <p:nvSpPr>
                <p:cNvPr id="96" name="任意多边形: 形状 95">
                  <a:extLst>
                    <a:ext uri="{FF2B5EF4-FFF2-40B4-BE49-F238E27FC236}">
                      <a16:creationId xmlns:a16="http://schemas.microsoft.com/office/drawing/2014/main" id="{07161805-C4E5-4F82-AA09-3D0E91E6A8B5}"/>
                    </a:ext>
                  </a:extLst>
                </p:cNvPr>
                <p:cNvSpPr/>
                <p:nvPr/>
              </p:nvSpPr>
              <p:spPr>
                <a:xfrm>
                  <a:off x="3530770" y="8019412"/>
                  <a:ext cx="580168" cy="306315"/>
                </a:xfrm>
                <a:custGeom>
                  <a:avLst/>
                  <a:gdLst>
                    <a:gd name="connsiteX0" fmla="*/ 413554 w 580168"/>
                    <a:gd name="connsiteY0" fmla="*/ 17989 h 306315"/>
                    <a:gd name="connsiteX1" fmla="*/ 2975 w 580168"/>
                    <a:gd name="connsiteY1" fmla="*/ 131046 h 306315"/>
                    <a:gd name="connsiteX2" fmla="*/ 0 w 580168"/>
                    <a:gd name="connsiteY2" fmla="*/ 139972 h 306315"/>
                    <a:gd name="connsiteX3" fmla="*/ 71405 w 580168"/>
                    <a:gd name="connsiteY3" fmla="*/ 196501 h 306315"/>
                    <a:gd name="connsiteX4" fmla="*/ 50579 w 580168"/>
                    <a:gd name="connsiteY4" fmla="*/ 276831 h 306315"/>
                    <a:gd name="connsiteX5" fmla="*/ 50579 w 580168"/>
                    <a:gd name="connsiteY5" fmla="*/ 282782 h 306315"/>
                    <a:gd name="connsiteX6" fmla="*/ 56529 w 580168"/>
                    <a:gd name="connsiteY6" fmla="*/ 285757 h 306315"/>
                    <a:gd name="connsiteX7" fmla="*/ 371901 w 580168"/>
                    <a:gd name="connsiteY7" fmla="*/ 303609 h 306315"/>
                    <a:gd name="connsiteX8" fmla="*/ 574215 w 580168"/>
                    <a:gd name="connsiteY8" fmla="*/ 264931 h 306315"/>
                    <a:gd name="connsiteX9" fmla="*/ 580165 w 580168"/>
                    <a:gd name="connsiteY9" fmla="*/ 258980 h 306315"/>
                    <a:gd name="connsiteX10" fmla="*/ 413554 w 580168"/>
                    <a:gd name="connsiteY10" fmla="*/ 17989 h 306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80168" h="306315">
                      <a:moveTo>
                        <a:pt x="413554" y="17989"/>
                      </a:moveTo>
                      <a:cubicBezTo>
                        <a:pt x="261818" y="-26640"/>
                        <a:pt x="110083" y="12038"/>
                        <a:pt x="2975" y="131046"/>
                      </a:cubicBezTo>
                      <a:cubicBezTo>
                        <a:pt x="0" y="134021"/>
                        <a:pt x="0" y="136997"/>
                        <a:pt x="0" y="139972"/>
                      </a:cubicBezTo>
                      <a:cubicBezTo>
                        <a:pt x="0" y="142947"/>
                        <a:pt x="20826" y="187575"/>
                        <a:pt x="71405" y="196501"/>
                      </a:cubicBezTo>
                      <a:cubicBezTo>
                        <a:pt x="56529" y="235179"/>
                        <a:pt x="50579" y="273856"/>
                        <a:pt x="50579" y="276831"/>
                      </a:cubicBezTo>
                      <a:cubicBezTo>
                        <a:pt x="50579" y="279807"/>
                        <a:pt x="50579" y="279807"/>
                        <a:pt x="50579" y="282782"/>
                      </a:cubicBezTo>
                      <a:cubicBezTo>
                        <a:pt x="50579" y="285757"/>
                        <a:pt x="53554" y="285757"/>
                        <a:pt x="56529" y="285757"/>
                      </a:cubicBezTo>
                      <a:cubicBezTo>
                        <a:pt x="187438" y="306583"/>
                        <a:pt x="291570" y="309559"/>
                        <a:pt x="371901" y="303609"/>
                      </a:cubicBezTo>
                      <a:cubicBezTo>
                        <a:pt x="502810" y="294683"/>
                        <a:pt x="568264" y="264931"/>
                        <a:pt x="574215" y="264931"/>
                      </a:cubicBezTo>
                      <a:cubicBezTo>
                        <a:pt x="577190" y="264931"/>
                        <a:pt x="580165" y="261955"/>
                        <a:pt x="580165" y="258980"/>
                      </a:cubicBezTo>
                      <a:cubicBezTo>
                        <a:pt x="580165" y="253030"/>
                        <a:pt x="583140" y="68567"/>
                        <a:pt x="413554" y="1798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7" name="任意多边形: 形状 96">
                  <a:extLst>
                    <a:ext uri="{FF2B5EF4-FFF2-40B4-BE49-F238E27FC236}">
                      <a16:creationId xmlns:a16="http://schemas.microsoft.com/office/drawing/2014/main" id="{03A14476-BE48-4CA8-9ED3-EADC68EC4020}"/>
                    </a:ext>
                  </a:extLst>
                </p:cNvPr>
                <p:cNvSpPr/>
                <p:nvPr/>
              </p:nvSpPr>
              <p:spPr>
                <a:xfrm>
                  <a:off x="3384418" y="8048735"/>
                  <a:ext cx="206419" cy="205855"/>
                </a:xfrm>
                <a:custGeom>
                  <a:avLst/>
                  <a:gdLst>
                    <a:gd name="connsiteX0" fmla="*/ 182054 w 206419"/>
                    <a:gd name="connsiteY0" fmla="*/ 36269 h 205855"/>
                    <a:gd name="connsiteX1" fmla="*/ 113624 w 206419"/>
                    <a:gd name="connsiteY1" fmla="*/ 566 h 205855"/>
                    <a:gd name="connsiteX2" fmla="*/ 566 w 206419"/>
                    <a:gd name="connsiteY2" fmla="*/ 92798 h 205855"/>
                    <a:gd name="connsiteX3" fmla="*/ 92798 w 206419"/>
                    <a:gd name="connsiteY3" fmla="*/ 205856 h 205855"/>
                    <a:gd name="connsiteX4" fmla="*/ 110649 w 206419"/>
                    <a:gd name="connsiteY4" fmla="*/ 205856 h 205855"/>
                    <a:gd name="connsiteX5" fmla="*/ 170153 w 206419"/>
                    <a:gd name="connsiteY5" fmla="*/ 182054 h 205855"/>
                    <a:gd name="connsiteX6" fmla="*/ 205855 w 206419"/>
                    <a:gd name="connsiteY6" fmla="*/ 113624 h 205855"/>
                    <a:gd name="connsiteX7" fmla="*/ 182054 w 206419"/>
                    <a:gd name="connsiteY7" fmla="*/ 36269 h 205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6419" h="205855">
                      <a:moveTo>
                        <a:pt x="182054" y="36269"/>
                      </a:moveTo>
                      <a:cubicBezTo>
                        <a:pt x="164202" y="15442"/>
                        <a:pt x="140401" y="566"/>
                        <a:pt x="113624" y="566"/>
                      </a:cubicBezTo>
                      <a:cubicBezTo>
                        <a:pt x="57095" y="-5384"/>
                        <a:pt x="6517" y="36269"/>
                        <a:pt x="566" y="92798"/>
                      </a:cubicBezTo>
                      <a:cubicBezTo>
                        <a:pt x="-5384" y="149326"/>
                        <a:pt x="36269" y="199905"/>
                        <a:pt x="92798" y="205856"/>
                      </a:cubicBezTo>
                      <a:cubicBezTo>
                        <a:pt x="98748" y="205856"/>
                        <a:pt x="104698" y="205856"/>
                        <a:pt x="110649" y="205856"/>
                      </a:cubicBezTo>
                      <a:cubicBezTo>
                        <a:pt x="131475" y="205856"/>
                        <a:pt x="152302" y="196930"/>
                        <a:pt x="170153" y="182054"/>
                      </a:cubicBezTo>
                      <a:cubicBezTo>
                        <a:pt x="190979" y="164202"/>
                        <a:pt x="205855" y="140401"/>
                        <a:pt x="205855" y="113624"/>
                      </a:cubicBezTo>
                      <a:cubicBezTo>
                        <a:pt x="208831" y="83872"/>
                        <a:pt x="199905" y="57095"/>
                        <a:pt x="182054" y="3626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" name="任意多边形: 形状 97">
                  <a:extLst>
                    <a:ext uri="{FF2B5EF4-FFF2-40B4-BE49-F238E27FC236}">
                      <a16:creationId xmlns:a16="http://schemas.microsoft.com/office/drawing/2014/main" id="{16B2074E-15AF-4A0C-BA23-E066C85F28B2}"/>
                    </a:ext>
                  </a:extLst>
                </p:cNvPr>
                <p:cNvSpPr/>
                <p:nvPr/>
              </p:nvSpPr>
              <p:spPr>
                <a:xfrm>
                  <a:off x="3381444" y="8042787"/>
                  <a:ext cx="215344" cy="214778"/>
                </a:xfrm>
                <a:custGeom>
                  <a:avLst/>
                  <a:gdLst>
                    <a:gd name="connsiteX0" fmla="*/ 107673 w 215344"/>
                    <a:gd name="connsiteY0" fmla="*/ 214779 h 214778"/>
                    <a:gd name="connsiteX1" fmla="*/ 95772 w 215344"/>
                    <a:gd name="connsiteY1" fmla="*/ 214779 h 214778"/>
                    <a:gd name="connsiteX2" fmla="*/ 565 w 215344"/>
                    <a:gd name="connsiteY2" fmla="*/ 95770 h 214778"/>
                    <a:gd name="connsiteX3" fmla="*/ 39243 w 215344"/>
                    <a:gd name="connsiteY3" fmla="*/ 24365 h 214778"/>
                    <a:gd name="connsiteX4" fmla="*/ 119574 w 215344"/>
                    <a:gd name="connsiteY4" fmla="*/ 564 h 214778"/>
                    <a:gd name="connsiteX5" fmla="*/ 190979 w 215344"/>
                    <a:gd name="connsiteY5" fmla="*/ 39242 h 214778"/>
                    <a:gd name="connsiteX6" fmla="*/ 190979 w 215344"/>
                    <a:gd name="connsiteY6" fmla="*/ 39242 h 214778"/>
                    <a:gd name="connsiteX7" fmla="*/ 214780 w 215344"/>
                    <a:gd name="connsiteY7" fmla="*/ 119572 h 214778"/>
                    <a:gd name="connsiteX8" fmla="*/ 176103 w 215344"/>
                    <a:gd name="connsiteY8" fmla="*/ 190977 h 214778"/>
                    <a:gd name="connsiteX9" fmla="*/ 113623 w 215344"/>
                    <a:gd name="connsiteY9" fmla="*/ 214779 h 214778"/>
                    <a:gd name="connsiteX10" fmla="*/ 107673 w 215344"/>
                    <a:gd name="connsiteY10" fmla="*/ 214779 h 214778"/>
                    <a:gd name="connsiteX11" fmla="*/ 107673 w 215344"/>
                    <a:gd name="connsiteY11" fmla="*/ 9489 h 214778"/>
                    <a:gd name="connsiteX12" fmla="*/ 48169 w 215344"/>
                    <a:gd name="connsiteY12" fmla="*/ 30316 h 214778"/>
                    <a:gd name="connsiteX13" fmla="*/ 12466 w 215344"/>
                    <a:gd name="connsiteY13" fmla="*/ 95770 h 214778"/>
                    <a:gd name="connsiteX14" fmla="*/ 98747 w 215344"/>
                    <a:gd name="connsiteY14" fmla="*/ 202878 h 214778"/>
                    <a:gd name="connsiteX15" fmla="*/ 113623 w 215344"/>
                    <a:gd name="connsiteY15" fmla="*/ 202878 h 214778"/>
                    <a:gd name="connsiteX16" fmla="*/ 170152 w 215344"/>
                    <a:gd name="connsiteY16" fmla="*/ 182052 h 214778"/>
                    <a:gd name="connsiteX17" fmla="*/ 205855 w 215344"/>
                    <a:gd name="connsiteY17" fmla="*/ 116597 h 214778"/>
                    <a:gd name="connsiteX18" fmla="*/ 185028 w 215344"/>
                    <a:gd name="connsiteY18" fmla="*/ 45192 h 214778"/>
                    <a:gd name="connsiteX19" fmla="*/ 119574 w 215344"/>
                    <a:gd name="connsiteY19" fmla="*/ 9489 h 214778"/>
                    <a:gd name="connsiteX20" fmla="*/ 107673 w 215344"/>
                    <a:gd name="connsiteY20" fmla="*/ 9489 h 214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15344" h="214778">
                      <a:moveTo>
                        <a:pt x="107673" y="214779"/>
                      </a:moveTo>
                      <a:cubicBezTo>
                        <a:pt x="104698" y="214779"/>
                        <a:pt x="101722" y="214779"/>
                        <a:pt x="95772" y="214779"/>
                      </a:cubicBezTo>
                      <a:cubicBezTo>
                        <a:pt x="36268" y="208828"/>
                        <a:pt x="-5385" y="155274"/>
                        <a:pt x="565" y="95770"/>
                      </a:cubicBezTo>
                      <a:cubicBezTo>
                        <a:pt x="3541" y="66018"/>
                        <a:pt x="18417" y="42217"/>
                        <a:pt x="39243" y="24365"/>
                      </a:cubicBezTo>
                      <a:cubicBezTo>
                        <a:pt x="63045" y="6514"/>
                        <a:pt x="89822" y="-2411"/>
                        <a:pt x="119574" y="564"/>
                      </a:cubicBezTo>
                      <a:cubicBezTo>
                        <a:pt x="149326" y="3539"/>
                        <a:pt x="173127" y="18415"/>
                        <a:pt x="190979" y="39242"/>
                      </a:cubicBezTo>
                      <a:lnTo>
                        <a:pt x="190979" y="39242"/>
                      </a:lnTo>
                      <a:cubicBezTo>
                        <a:pt x="208830" y="60068"/>
                        <a:pt x="217755" y="89820"/>
                        <a:pt x="214780" y="119572"/>
                      </a:cubicBezTo>
                      <a:cubicBezTo>
                        <a:pt x="211805" y="149324"/>
                        <a:pt x="196929" y="173126"/>
                        <a:pt x="176103" y="190977"/>
                      </a:cubicBezTo>
                      <a:cubicBezTo>
                        <a:pt x="158251" y="205853"/>
                        <a:pt x="137425" y="214779"/>
                        <a:pt x="113623" y="214779"/>
                      </a:cubicBezTo>
                      <a:cubicBezTo>
                        <a:pt x="110648" y="214779"/>
                        <a:pt x="107673" y="214779"/>
                        <a:pt x="107673" y="214779"/>
                      </a:cubicBezTo>
                      <a:close/>
                      <a:moveTo>
                        <a:pt x="107673" y="9489"/>
                      </a:moveTo>
                      <a:cubicBezTo>
                        <a:pt x="86846" y="9489"/>
                        <a:pt x="63045" y="18415"/>
                        <a:pt x="48169" y="30316"/>
                      </a:cubicBezTo>
                      <a:cubicBezTo>
                        <a:pt x="27342" y="48167"/>
                        <a:pt x="15441" y="68994"/>
                        <a:pt x="12466" y="95770"/>
                      </a:cubicBezTo>
                      <a:cubicBezTo>
                        <a:pt x="6516" y="149324"/>
                        <a:pt x="45193" y="196928"/>
                        <a:pt x="98747" y="202878"/>
                      </a:cubicBezTo>
                      <a:cubicBezTo>
                        <a:pt x="104698" y="202878"/>
                        <a:pt x="110648" y="202878"/>
                        <a:pt x="113623" y="202878"/>
                      </a:cubicBezTo>
                      <a:cubicBezTo>
                        <a:pt x="134450" y="202878"/>
                        <a:pt x="152301" y="193952"/>
                        <a:pt x="170152" y="182052"/>
                      </a:cubicBezTo>
                      <a:cubicBezTo>
                        <a:pt x="190979" y="164200"/>
                        <a:pt x="202879" y="143374"/>
                        <a:pt x="205855" y="116597"/>
                      </a:cubicBezTo>
                      <a:cubicBezTo>
                        <a:pt x="208830" y="89820"/>
                        <a:pt x="199904" y="66018"/>
                        <a:pt x="185028" y="45192"/>
                      </a:cubicBezTo>
                      <a:cubicBezTo>
                        <a:pt x="167177" y="24365"/>
                        <a:pt x="146351" y="12465"/>
                        <a:pt x="119574" y="9489"/>
                      </a:cubicBezTo>
                      <a:cubicBezTo>
                        <a:pt x="113623" y="9489"/>
                        <a:pt x="110648" y="9489"/>
                        <a:pt x="107673" y="9489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0DB33FF3-A3C1-4179-BCE9-9270864B58AE}"/>
                  </a:ext>
                </a:extLst>
              </p:cNvPr>
              <p:cNvSpPr/>
              <p:nvPr/>
            </p:nvSpPr>
            <p:spPr>
              <a:xfrm>
                <a:off x="3596224" y="8206987"/>
                <a:ext cx="511735" cy="56529"/>
              </a:xfrm>
              <a:custGeom>
                <a:avLst/>
                <a:gdLst>
                  <a:gd name="connsiteX0" fmla="*/ 220165 w 511735"/>
                  <a:gd name="connsiteY0" fmla="*/ 56529 h 56529"/>
                  <a:gd name="connsiteX1" fmla="*/ 0 w 511735"/>
                  <a:gd name="connsiteY1" fmla="*/ 41653 h 56529"/>
                  <a:gd name="connsiteX2" fmla="*/ 2975 w 511735"/>
                  <a:gd name="connsiteY2" fmla="*/ 29752 h 56529"/>
                  <a:gd name="connsiteX3" fmla="*/ 505785 w 511735"/>
                  <a:gd name="connsiteY3" fmla="*/ 0 h 56529"/>
                  <a:gd name="connsiteX4" fmla="*/ 511736 w 511735"/>
                  <a:gd name="connsiteY4" fmla="*/ 8926 h 56529"/>
                  <a:gd name="connsiteX5" fmla="*/ 220165 w 511735"/>
                  <a:gd name="connsiteY5" fmla="*/ 56529 h 56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1735" h="56529">
                    <a:moveTo>
                      <a:pt x="220165" y="56529"/>
                    </a:moveTo>
                    <a:cubicBezTo>
                      <a:pt x="101157" y="56529"/>
                      <a:pt x="2975" y="41653"/>
                      <a:pt x="0" y="41653"/>
                    </a:cubicBezTo>
                    <a:lnTo>
                      <a:pt x="2975" y="29752"/>
                    </a:lnTo>
                    <a:cubicBezTo>
                      <a:pt x="5950" y="29752"/>
                      <a:pt x="339174" y="77356"/>
                      <a:pt x="505785" y="0"/>
                    </a:cubicBezTo>
                    <a:lnTo>
                      <a:pt x="511736" y="8926"/>
                    </a:lnTo>
                    <a:cubicBezTo>
                      <a:pt x="431405" y="47603"/>
                      <a:pt x="318347" y="56529"/>
                      <a:pt x="220165" y="56529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4764FE41-F25A-40B1-9865-29CD4EE20733}"/>
                  </a:ext>
                </a:extLst>
              </p:cNvPr>
              <p:cNvSpPr/>
              <p:nvPr/>
            </p:nvSpPr>
            <p:spPr>
              <a:xfrm>
                <a:off x="3578182" y="8183186"/>
                <a:ext cx="529778" cy="145785"/>
              </a:xfrm>
              <a:custGeom>
                <a:avLst/>
                <a:gdLst>
                  <a:gd name="connsiteX0" fmla="*/ 226307 w 529778"/>
                  <a:gd name="connsiteY0" fmla="*/ 145785 h 145785"/>
                  <a:gd name="connsiteX1" fmla="*/ 3166 w 529778"/>
                  <a:gd name="connsiteY1" fmla="*/ 121984 h 145785"/>
                  <a:gd name="connsiteX2" fmla="*/ 191 w 529778"/>
                  <a:gd name="connsiteY2" fmla="*/ 121984 h 145785"/>
                  <a:gd name="connsiteX3" fmla="*/ 191 w 529778"/>
                  <a:gd name="connsiteY3" fmla="*/ 119008 h 145785"/>
                  <a:gd name="connsiteX4" fmla="*/ 29943 w 529778"/>
                  <a:gd name="connsiteY4" fmla="*/ 2975 h 145785"/>
                  <a:gd name="connsiteX5" fmla="*/ 35894 w 529778"/>
                  <a:gd name="connsiteY5" fmla="*/ 0 h 145785"/>
                  <a:gd name="connsiteX6" fmla="*/ 38869 w 529778"/>
                  <a:gd name="connsiteY6" fmla="*/ 5951 h 145785"/>
                  <a:gd name="connsiteX7" fmla="*/ 9117 w 529778"/>
                  <a:gd name="connsiteY7" fmla="*/ 113058 h 145785"/>
                  <a:gd name="connsiteX8" fmla="*/ 523828 w 529778"/>
                  <a:gd name="connsiteY8" fmla="*/ 95207 h 145785"/>
                  <a:gd name="connsiteX9" fmla="*/ 529778 w 529778"/>
                  <a:gd name="connsiteY9" fmla="*/ 98182 h 145785"/>
                  <a:gd name="connsiteX10" fmla="*/ 526803 w 529778"/>
                  <a:gd name="connsiteY10" fmla="*/ 104132 h 145785"/>
                  <a:gd name="connsiteX11" fmla="*/ 226307 w 529778"/>
                  <a:gd name="connsiteY11" fmla="*/ 145785 h 145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9778" h="145785">
                    <a:moveTo>
                      <a:pt x="226307" y="145785"/>
                    </a:moveTo>
                    <a:cubicBezTo>
                      <a:pt x="92423" y="145785"/>
                      <a:pt x="6142" y="121984"/>
                      <a:pt x="3166" y="121984"/>
                    </a:cubicBezTo>
                    <a:lnTo>
                      <a:pt x="191" y="121984"/>
                    </a:lnTo>
                    <a:lnTo>
                      <a:pt x="191" y="119008"/>
                    </a:lnTo>
                    <a:cubicBezTo>
                      <a:pt x="-2784" y="83306"/>
                      <a:pt x="29943" y="5951"/>
                      <a:pt x="29943" y="2975"/>
                    </a:cubicBezTo>
                    <a:cubicBezTo>
                      <a:pt x="29943" y="0"/>
                      <a:pt x="32919" y="0"/>
                      <a:pt x="35894" y="0"/>
                    </a:cubicBezTo>
                    <a:cubicBezTo>
                      <a:pt x="38869" y="0"/>
                      <a:pt x="38869" y="2975"/>
                      <a:pt x="38869" y="5951"/>
                    </a:cubicBezTo>
                    <a:cubicBezTo>
                      <a:pt x="38869" y="5951"/>
                      <a:pt x="9117" y="80331"/>
                      <a:pt x="9117" y="113058"/>
                    </a:cubicBezTo>
                    <a:cubicBezTo>
                      <a:pt x="38869" y="121984"/>
                      <a:pt x="256059" y="172562"/>
                      <a:pt x="523828" y="95207"/>
                    </a:cubicBezTo>
                    <a:cubicBezTo>
                      <a:pt x="526803" y="95207"/>
                      <a:pt x="529778" y="95207"/>
                      <a:pt x="529778" y="98182"/>
                    </a:cubicBezTo>
                    <a:cubicBezTo>
                      <a:pt x="529778" y="101157"/>
                      <a:pt x="529778" y="104132"/>
                      <a:pt x="526803" y="104132"/>
                    </a:cubicBezTo>
                    <a:cubicBezTo>
                      <a:pt x="416720" y="136860"/>
                      <a:pt x="312588" y="145785"/>
                      <a:pt x="226307" y="14578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062918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892">
            <a:extLst>
              <a:ext uri="{FF2B5EF4-FFF2-40B4-BE49-F238E27FC236}">
                <a16:creationId xmlns:a16="http://schemas.microsoft.com/office/drawing/2014/main" id="{6DED5948-37FC-4F4B-84E2-F9A3C3686378}"/>
              </a:ext>
            </a:extLst>
          </p:cNvPr>
          <p:cNvGrpSpPr/>
          <p:nvPr/>
        </p:nvGrpSpPr>
        <p:grpSpPr>
          <a:xfrm>
            <a:off x="2158303" y="2022042"/>
            <a:ext cx="6706786" cy="4835958"/>
            <a:chOff x="11911903" y="7659866"/>
            <a:chExt cx="6706786" cy="4835958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357D0905-A988-4CC7-AB50-5A85A8F61BDF}"/>
                </a:ext>
              </a:extLst>
            </p:cNvPr>
            <p:cNvSpPr/>
            <p:nvPr/>
          </p:nvSpPr>
          <p:spPr>
            <a:xfrm>
              <a:off x="12635902" y="9363235"/>
              <a:ext cx="364203" cy="211755"/>
            </a:xfrm>
            <a:custGeom>
              <a:avLst/>
              <a:gdLst>
                <a:gd name="connsiteX0" fmla="*/ 131682 w 364203"/>
                <a:gd name="connsiteY0" fmla="*/ 210777 h 211755"/>
                <a:gd name="connsiteX1" fmla="*/ 214288 w 364203"/>
                <a:gd name="connsiteY1" fmla="*/ 198538 h 211755"/>
                <a:gd name="connsiteX2" fmla="*/ 339728 w 364203"/>
                <a:gd name="connsiteY2" fmla="*/ 158765 h 211755"/>
                <a:gd name="connsiteX3" fmla="*/ 364203 w 364203"/>
                <a:gd name="connsiteY3" fmla="*/ 39445 h 211755"/>
                <a:gd name="connsiteX4" fmla="*/ 49076 w 364203"/>
                <a:gd name="connsiteY4" fmla="*/ 36386 h 211755"/>
                <a:gd name="connsiteX5" fmla="*/ 30719 w 364203"/>
                <a:gd name="connsiteY5" fmla="*/ 63921 h 211755"/>
                <a:gd name="connsiteX6" fmla="*/ 79671 w 364203"/>
                <a:gd name="connsiteY6" fmla="*/ 70040 h 211755"/>
                <a:gd name="connsiteX7" fmla="*/ 143920 w 364203"/>
                <a:gd name="connsiteY7" fmla="*/ 76159 h 211755"/>
                <a:gd name="connsiteX8" fmla="*/ 64373 w 364203"/>
                <a:gd name="connsiteY8" fmla="*/ 94516 h 211755"/>
                <a:gd name="connsiteX9" fmla="*/ 9302 w 364203"/>
                <a:gd name="connsiteY9" fmla="*/ 109813 h 211755"/>
                <a:gd name="connsiteX10" fmla="*/ 3184 w 364203"/>
                <a:gd name="connsiteY10" fmla="*/ 140408 h 211755"/>
                <a:gd name="connsiteX11" fmla="*/ 30719 w 364203"/>
                <a:gd name="connsiteY11" fmla="*/ 158765 h 211755"/>
                <a:gd name="connsiteX12" fmla="*/ 27659 w 364203"/>
                <a:gd name="connsiteY12" fmla="*/ 161825 h 211755"/>
                <a:gd name="connsiteX13" fmla="*/ 27659 w 364203"/>
                <a:gd name="connsiteY13" fmla="*/ 167944 h 211755"/>
                <a:gd name="connsiteX14" fmla="*/ 76611 w 364203"/>
                <a:gd name="connsiteY14" fmla="*/ 180182 h 211755"/>
                <a:gd name="connsiteX15" fmla="*/ 104146 w 364203"/>
                <a:gd name="connsiteY15" fmla="*/ 174063 h 211755"/>
                <a:gd name="connsiteX16" fmla="*/ 98028 w 364203"/>
                <a:gd name="connsiteY16" fmla="*/ 177122 h 211755"/>
                <a:gd name="connsiteX17" fmla="*/ 91909 w 364203"/>
                <a:gd name="connsiteY17" fmla="*/ 198538 h 211755"/>
                <a:gd name="connsiteX18" fmla="*/ 131682 w 364203"/>
                <a:gd name="connsiteY18" fmla="*/ 210777 h 211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64203" h="211755">
                  <a:moveTo>
                    <a:pt x="131682" y="210777"/>
                  </a:moveTo>
                  <a:cubicBezTo>
                    <a:pt x="159218" y="207717"/>
                    <a:pt x="186753" y="204658"/>
                    <a:pt x="214288" y="198538"/>
                  </a:cubicBezTo>
                  <a:cubicBezTo>
                    <a:pt x="257121" y="192420"/>
                    <a:pt x="309133" y="195479"/>
                    <a:pt x="339728" y="158765"/>
                  </a:cubicBezTo>
                  <a:cubicBezTo>
                    <a:pt x="358085" y="134289"/>
                    <a:pt x="364203" y="39445"/>
                    <a:pt x="364203" y="39445"/>
                  </a:cubicBezTo>
                  <a:cubicBezTo>
                    <a:pt x="321370" y="-37042"/>
                    <a:pt x="113326" y="18029"/>
                    <a:pt x="49076" y="36386"/>
                  </a:cubicBezTo>
                  <a:cubicBezTo>
                    <a:pt x="39897" y="39445"/>
                    <a:pt x="12362" y="51683"/>
                    <a:pt x="30719" y="63921"/>
                  </a:cubicBezTo>
                  <a:cubicBezTo>
                    <a:pt x="42957" y="73100"/>
                    <a:pt x="64373" y="70040"/>
                    <a:pt x="79671" y="70040"/>
                  </a:cubicBezTo>
                  <a:cubicBezTo>
                    <a:pt x="101087" y="73100"/>
                    <a:pt x="122504" y="73100"/>
                    <a:pt x="143920" y="76159"/>
                  </a:cubicBezTo>
                  <a:cubicBezTo>
                    <a:pt x="116384" y="82278"/>
                    <a:pt x="91909" y="88397"/>
                    <a:pt x="64373" y="94516"/>
                  </a:cubicBezTo>
                  <a:cubicBezTo>
                    <a:pt x="46016" y="97576"/>
                    <a:pt x="24600" y="100635"/>
                    <a:pt x="9302" y="109813"/>
                  </a:cubicBezTo>
                  <a:cubicBezTo>
                    <a:pt x="124" y="115932"/>
                    <a:pt x="-2936" y="128171"/>
                    <a:pt x="3184" y="140408"/>
                  </a:cubicBezTo>
                  <a:cubicBezTo>
                    <a:pt x="9302" y="152646"/>
                    <a:pt x="21541" y="155706"/>
                    <a:pt x="30719" y="158765"/>
                  </a:cubicBezTo>
                  <a:cubicBezTo>
                    <a:pt x="30719" y="158765"/>
                    <a:pt x="30719" y="158765"/>
                    <a:pt x="27659" y="161825"/>
                  </a:cubicBezTo>
                  <a:cubicBezTo>
                    <a:pt x="27659" y="164884"/>
                    <a:pt x="27659" y="167944"/>
                    <a:pt x="27659" y="167944"/>
                  </a:cubicBezTo>
                  <a:cubicBezTo>
                    <a:pt x="42957" y="183241"/>
                    <a:pt x="58254" y="183241"/>
                    <a:pt x="76611" y="180182"/>
                  </a:cubicBezTo>
                  <a:cubicBezTo>
                    <a:pt x="85789" y="180182"/>
                    <a:pt x="94968" y="177122"/>
                    <a:pt x="104146" y="174063"/>
                  </a:cubicBezTo>
                  <a:cubicBezTo>
                    <a:pt x="101087" y="174063"/>
                    <a:pt x="101087" y="177122"/>
                    <a:pt x="98028" y="177122"/>
                  </a:cubicBezTo>
                  <a:cubicBezTo>
                    <a:pt x="91909" y="183241"/>
                    <a:pt x="88849" y="189360"/>
                    <a:pt x="91909" y="198538"/>
                  </a:cubicBezTo>
                  <a:cubicBezTo>
                    <a:pt x="98028" y="216896"/>
                    <a:pt x="119444" y="210777"/>
                    <a:pt x="131682" y="210777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9B1B5124-FAB2-441D-AF60-759226296B66}"/>
                </a:ext>
              </a:extLst>
            </p:cNvPr>
            <p:cNvSpPr/>
            <p:nvPr/>
          </p:nvSpPr>
          <p:spPr>
            <a:xfrm>
              <a:off x="12941975" y="8474709"/>
              <a:ext cx="1264635" cy="1102606"/>
            </a:xfrm>
            <a:custGeom>
              <a:avLst/>
              <a:gdLst>
                <a:gd name="connsiteX0" fmla="*/ 1187082 w 1264635"/>
                <a:gd name="connsiteY0" fmla="*/ 7064 h 1102606"/>
                <a:gd name="connsiteX1" fmla="*/ 792408 w 1264635"/>
                <a:gd name="connsiteY1" fmla="*/ 346667 h 1102606"/>
                <a:gd name="connsiteX2" fmla="*/ 590481 w 1264635"/>
                <a:gd name="connsiteY2" fmla="*/ 765818 h 1102606"/>
                <a:gd name="connsiteX3" fmla="*/ 33655 w 1264635"/>
                <a:gd name="connsiteY3" fmla="*/ 885138 h 1102606"/>
                <a:gd name="connsiteX4" fmla="*/ 0 w 1264635"/>
                <a:gd name="connsiteY4" fmla="*/ 1068707 h 1102606"/>
                <a:gd name="connsiteX5" fmla="*/ 783230 w 1264635"/>
                <a:gd name="connsiteY5" fmla="*/ 1080945 h 1102606"/>
                <a:gd name="connsiteX6" fmla="*/ 1187082 w 1264635"/>
                <a:gd name="connsiteY6" fmla="*/ 7064 h 110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4635" h="1102606">
                  <a:moveTo>
                    <a:pt x="1187082" y="7064"/>
                  </a:moveTo>
                  <a:cubicBezTo>
                    <a:pt x="1061643" y="-48007"/>
                    <a:pt x="856657" y="233466"/>
                    <a:pt x="792408" y="346667"/>
                  </a:cubicBezTo>
                  <a:cubicBezTo>
                    <a:pt x="734278" y="447631"/>
                    <a:pt x="590481" y="765818"/>
                    <a:pt x="590481" y="765818"/>
                  </a:cubicBezTo>
                  <a:lnTo>
                    <a:pt x="33655" y="885138"/>
                  </a:lnTo>
                  <a:lnTo>
                    <a:pt x="0" y="1068707"/>
                  </a:lnTo>
                  <a:cubicBezTo>
                    <a:pt x="0" y="1068707"/>
                    <a:pt x="666968" y="1136016"/>
                    <a:pt x="783230" y="1080945"/>
                  </a:cubicBezTo>
                  <a:cubicBezTo>
                    <a:pt x="914787" y="1025874"/>
                    <a:pt x="1465496" y="132503"/>
                    <a:pt x="1187082" y="7064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F52EA198-D162-45B8-9EDF-E02FFDF37BCB}"/>
                </a:ext>
              </a:extLst>
            </p:cNvPr>
            <p:cNvSpPr/>
            <p:nvPr/>
          </p:nvSpPr>
          <p:spPr>
            <a:xfrm>
              <a:off x="17001913" y="8264549"/>
              <a:ext cx="247824" cy="367138"/>
            </a:xfrm>
            <a:custGeom>
              <a:avLst/>
              <a:gdLst>
                <a:gd name="connsiteX0" fmla="*/ 7 w 247824"/>
                <a:gd name="connsiteY0" fmla="*/ 0 h 367138"/>
                <a:gd name="connsiteX1" fmla="*/ 122386 w 247824"/>
                <a:gd name="connsiteY1" fmla="*/ 361020 h 367138"/>
                <a:gd name="connsiteX2" fmla="*/ 201932 w 247824"/>
                <a:gd name="connsiteY2" fmla="*/ 367139 h 367138"/>
                <a:gd name="connsiteX3" fmla="*/ 247825 w 247824"/>
                <a:gd name="connsiteY3" fmla="*/ 250878 h 367138"/>
                <a:gd name="connsiteX4" fmla="*/ 156040 w 247824"/>
                <a:gd name="connsiteY4" fmla="*/ 113201 h 367138"/>
                <a:gd name="connsiteX5" fmla="*/ 7 w 247824"/>
                <a:gd name="connsiteY5" fmla="*/ 0 h 367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7824" h="367138">
                  <a:moveTo>
                    <a:pt x="7" y="0"/>
                  </a:moveTo>
                  <a:cubicBezTo>
                    <a:pt x="7" y="0"/>
                    <a:pt x="-3053" y="183569"/>
                    <a:pt x="122386" y="361020"/>
                  </a:cubicBezTo>
                  <a:lnTo>
                    <a:pt x="201932" y="367139"/>
                  </a:lnTo>
                  <a:lnTo>
                    <a:pt x="247825" y="250878"/>
                  </a:lnTo>
                  <a:lnTo>
                    <a:pt x="156040" y="113201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664241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4E30F32C-27E9-4CCF-9D94-5276F3463BE1}"/>
                </a:ext>
              </a:extLst>
            </p:cNvPr>
            <p:cNvSpPr/>
            <p:nvPr/>
          </p:nvSpPr>
          <p:spPr>
            <a:xfrm>
              <a:off x="17577872" y="8929555"/>
              <a:ext cx="445126" cy="686556"/>
            </a:xfrm>
            <a:custGeom>
              <a:avLst/>
              <a:gdLst>
                <a:gd name="connsiteX0" fmla="*/ 5350 w 445126"/>
                <a:gd name="connsiteY0" fmla="*/ 136580 h 686556"/>
                <a:gd name="connsiteX1" fmla="*/ 256228 w 445126"/>
                <a:gd name="connsiteY1" fmla="*/ 84569 h 686556"/>
                <a:gd name="connsiteX2" fmla="*/ 415321 w 445126"/>
                <a:gd name="connsiteY2" fmla="*/ 448648 h 686556"/>
                <a:gd name="connsiteX3" fmla="*/ 320477 w 445126"/>
                <a:gd name="connsiteY3" fmla="*/ 684229 h 686556"/>
                <a:gd name="connsiteX4" fmla="*/ 5350 w 445126"/>
                <a:gd name="connsiteY4" fmla="*/ 136580 h 68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126" h="686556">
                  <a:moveTo>
                    <a:pt x="5350" y="136580"/>
                  </a:moveTo>
                  <a:cubicBezTo>
                    <a:pt x="-37484" y="-43929"/>
                    <a:pt x="188919" y="-28632"/>
                    <a:pt x="256228" y="84569"/>
                  </a:cubicBezTo>
                  <a:cubicBezTo>
                    <a:pt x="320477" y="197770"/>
                    <a:pt x="384727" y="436411"/>
                    <a:pt x="415321" y="448648"/>
                  </a:cubicBezTo>
                  <a:cubicBezTo>
                    <a:pt x="473452" y="433351"/>
                    <a:pt x="448976" y="714824"/>
                    <a:pt x="320477" y="684229"/>
                  </a:cubicBezTo>
                  <a:cubicBezTo>
                    <a:pt x="250109" y="662813"/>
                    <a:pt x="48183" y="326269"/>
                    <a:pt x="5350" y="136580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D13796BD-D598-405E-B640-69583E99A5EC}"/>
                </a:ext>
              </a:extLst>
            </p:cNvPr>
            <p:cNvSpPr/>
            <p:nvPr/>
          </p:nvSpPr>
          <p:spPr>
            <a:xfrm>
              <a:off x="17485742" y="8717357"/>
              <a:ext cx="403429" cy="422206"/>
            </a:xfrm>
            <a:custGeom>
              <a:avLst/>
              <a:gdLst>
                <a:gd name="connsiteX0" fmla="*/ 51588 w 403429"/>
                <a:gd name="connsiteY0" fmla="*/ 422206 h 422206"/>
                <a:gd name="connsiteX1" fmla="*/ 57707 w 403429"/>
                <a:gd name="connsiteY1" fmla="*/ 15294 h 422206"/>
                <a:gd name="connsiteX2" fmla="*/ 403430 w 403429"/>
                <a:gd name="connsiteY2" fmla="*/ 293707 h 422206"/>
                <a:gd name="connsiteX3" fmla="*/ 51588 w 403429"/>
                <a:gd name="connsiteY3" fmla="*/ 422206 h 422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3429" h="422206">
                  <a:moveTo>
                    <a:pt x="51588" y="422206"/>
                  </a:moveTo>
                  <a:cubicBezTo>
                    <a:pt x="-31018" y="256994"/>
                    <a:pt x="-3483" y="64246"/>
                    <a:pt x="57707" y="15294"/>
                  </a:cubicBezTo>
                  <a:cubicBezTo>
                    <a:pt x="140313" y="-48956"/>
                    <a:pt x="333061" y="97900"/>
                    <a:pt x="403430" y="293707"/>
                  </a:cubicBezTo>
                  <a:cubicBezTo>
                    <a:pt x="360596" y="354897"/>
                    <a:pt x="152551" y="406909"/>
                    <a:pt x="51588" y="422206"/>
                  </a:cubicBezTo>
                  <a:close/>
                </a:path>
              </a:pathLst>
            </a:custGeom>
            <a:solidFill>
              <a:srgbClr val="F6EBE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" name="图形 892">
              <a:extLst>
                <a:ext uri="{FF2B5EF4-FFF2-40B4-BE49-F238E27FC236}">
                  <a16:creationId xmlns:a16="http://schemas.microsoft.com/office/drawing/2014/main" id="{128774A5-88FD-441F-8C47-DE8F51B242AE}"/>
                </a:ext>
              </a:extLst>
            </p:cNvPr>
            <p:cNvGrpSpPr/>
            <p:nvPr/>
          </p:nvGrpSpPr>
          <p:grpSpPr>
            <a:xfrm>
              <a:off x="17457783" y="12067495"/>
              <a:ext cx="380141" cy="390565"/>
              <a:chOff x="17457783" y="12067495"/>
              <a:chExt cx="380141" cy="390565"/>
            </a:xfrm>
          </p:grpSpPr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A1BAE217-BF36-4F87-B059-210171B2FC33}"/>
                  </a:ext>
                </a:extLst>
              </p:cNvPr>
              <p:cNvSpPr/>
              <p:nvPr/>
            </p:nvSpPr>
            <p:spPr>
              <a:xfrm>
                <a:off x="17472098" y="12195994"/>
                <a:ext cx="365826" cy="262066"/>
              </a:xfrm>
              <a:custGeom>
                <a:avLst/>
                <a:gdLst>
                  <a:gd name="connsiteX0" fmla="*/ 138659 w 365826"/>
                  <a:gd name="connsiteY0" fmla="*/ 0 h 262066"/>
                  <a:gd name="connsiteX1" fmla="*/ 257979 w 365826"/>
                  <a:gd name="connsiteY1" fmla="*/ 165212 h 262066"/>
                  <a:gd name="connsiteX2" fmla="*/ 40755 w 365826"/>
                  <a:gd name="connsiteY2" fmla="*/ 36714 h 262066"/>
                  <a:gd name="connsiteX3" fmla="*/ 19339 w 365826"/>
                  <a:gd name="connsiteY3" fmla="*/ 21417 h 262066"/>
                  <a:gd name="connsiteX4" fmla="*/ 982 w 365826"/>
                  <a:gd name="connsiteY4" fmla="*/ 97904 h 262066"/>
                  <a:gd name="connsiteX5" fmla="*/ 13220 w 365826"/>
                  <a:gd name="connsiteY5" fmla="*/ 235581 h 262066"/>
                  <a:gd name="connsiteX6" fmla="*/ 40755 w 365826"/>
                  <a:gd name="connsiteY6" fmla="*/ 235581 h 262066"/>
                  <a:gd name="connsiteX7" fmla="*/ 56053 w 365826"/>
                  <a:gd name="connsiteY7" fmla="*/ 125439 h 262066"/>
                  <a:gd name="connsiteX8" fmla="*/ 199849 w 365826"/>
                  <a:gd name="connsiteY8" fmla="*/ 256997 h 262066"/>
                  <a:gd name="connsiteX9" fmla="*/ 358942 w 365826"/>
                  <a:gd name="connsiteY9" fmla="*/ 260057 h 262066"/>
                  <a:gd name="connsiteX10" fmla="*/ 358942 w 365826"/>
                  <a:gd name="connsiteY10" fmla="*/ 214164 h 262066"/>
                  <a:gd name="connsiteX11" fmla="*/ 138659 w 365826"/>
                  <a:gd name="connsiteY11" fmla="*/ 0 h 262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5826" h="262066">
                    <a:moveTo>
                      <a:pt x="138659" y="0"/>
                    </a:moveTo>
                    <a:cubicBezTo>
                      <a:pt x="138659" y="0"/>
                      <a:pt x="273277" y="156034"/>
                      <a:pt x="257979" y="165212"/>
                    </a:cubicBezTo>
                    <a:cubicBezTo>
                      <a:pt x="239622" y="174391"/>
                      <a:pt x="40755" y="36714"/>
                      <a:pt x="40755" y="36714"/>
                    </a:cubicBezTo>
                    <a:lnTo>
                      <a:pt x="19339" y="21417"/>
                    </a:lnTo>
                    <a:cubicBezTo>
                      <a:pt x="19339" y="21417"/>
                      <a:pt x="-5137" y="70368"/>
                      <a:pt x="982" y="97904"/>
                    </a:cubicBezTo>
                    <a:cubicBezTo>
                      <a:pt x="7101" y="125439"/>
                      <a:pt x="13220" y="235581"/>
                      <a:pt x="13220" y="235581"/>
                    </a:cubicBezTo>
                    <a:lnTo>
                      <a:pt x="40755" y="235581"/>
                    </a:lnTo>
                    <a:lnTo>
                      <a:pt x="56053" y="125439"/>
                    </a:lnTo>
                    <a:cubicBezTo>
                      <a:pt x="56053" y="125439"/>
                      <a:pt x="178432" y="253937"/>
                      <a:pt x="199849" y="256997"/>
                    </a:cubicBezTo>
                    <a:cubicBezTo>
                      <a:pt x="221265" y="263116"/>
                      <a:pt x="346704" y="263116"/>
                      <a:pt x="358942" y="260057"/>
                    </a:cubicBezTo>
                    <a:cubicBezTo>
                      <a:pt x="368121" y="260057"/>
                      <a:pt x="368121" y="220284"/>
                      <a:pt x="358942" y="214164"/>
                    </a:cubicBezTo>
                    <a:cubicBezTo>
                      <a:pt x="279396" y="171332"/>
                      <a:pt x="138659" y="0"/>
                      <a:pt x="138659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843396D5-1ECF-4F8C-B1A7-87E2D93012E4}"/>
                  </a:ext>
                </a:extLst>
              </p:cNvPr>
              <p:cNvSpPr/>
              <p:nvPr/>
            </p:nvSpPr>
            <p:spPr>
              <a:xfrm>
                <a:off x="17457783" y="12067495"/>
                <a:ext cx="274512" cy="295459"/>
              </a:xfrm>
              <a:custGeom>
                <a:avLst/>
                <a:gdLst>
                  <a:gd name="connsiteX0" fmla="*/ 104022 w 274512"/>
                  <a:gd name="connsiteY0" fmla="*/ 0 h 295459"/>
                  <a:gd name="connsiteX1" fmla="*/ 152975 w 274512"/>
                  <a:gd name="connsiteY1" fmla="*/ 128499 h 295459"/>
                  <a:gd name="connsiteX2" fmla="*/ 272294 w 274512"/>
                  <a:gd name="connsiteY2" fmla="*/ 293711 h 295459"/>
                  <a:gd name="connsiteX3" fmla="*/ 36713 w 274512"/>
                  <a:gd name="connsiteY3" fmla="*/ 149916 h 295459"/>
                  <a:gd name="connsiteX4" fmla="*/ 0 w 274512"/>
                  <a:gd name="connsiteY4" fmla="*/ 0 h 295459"/>
                  <a:gd name="connsiteX5" fmla="*/ 104022 w 274512"/>
                  <a:gd name="connsiteY5" fmla="*/ 0 h 295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4512" h="295459">
                    <a:moveTo>
                      <a:pt x="104022" y="0"/>
                    </a:moveTo>
                    <a:lnTo>
                      <a:pt x="152975" y="128499"/>
                    </a:lnTo>
                    <a:cubicBezTo>
                      <a:pt x="152975" y="128499"/>
                      <a:pt x="293711" y="278414"/>
                      <a:pt x="272294" y="293711"/>
                    </a:cubicBezTo>
                    <a:cubicBezTo>
                      <a:pt x="250878" y="312068"/>
                      <a:pt x="33655" y="180511"/>
                      <a:pt x="36713" y="149916"/>
                    </a:cubicBezTo>
                    <a:cubicBezTo>
                      <a:pt x="36713" y="100964"/>
                      <a:pt x="0" y="0"/>
                      <a:pt x="0" y="0"/>
                    </a:cubicBezTo>
                    <a:lnTo>
                      <a:pt x="104022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图形 892">
              <a:extLst>
                <a:ext uri="{FF2B5EF4-FFF2-40B4-BE49-F238E27FC236}">
                  <a16:creationId xmlns:a16="http://schemas.microsoft.com/office/drawing/2014/main" id="{C6646E94-BEE2-4108-A204-7D80A39217B5}"/>
                </a:ext>
              </a:extLst>
            </p:cNvPr>
            <p:cNvGrpSpPr/>
            <p:nvPr/>
          </p:nvGrpSpPr>
          <p:grpSpPr>
            <a:xfrm>
              <a:off x="16698047" y="12067495"/>
              <a:ext cx="365826" cy="390565"/>
              <a:chOff x="16698047" y="12067495"/>
              <a:chExt cx="365826" cy="390565"/>
            </a:xfrm>
          </p:grpSpPr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A5ACF449-7B66-46AE-8DEC-A68C20E3EE74}"/>
                  </a:ext>
                </a:extLst>
              </p:cNvPr>
              <p:cNvSpPr/>
              <p:nvPr/>
            </p:nvSpPr>
            <p:spPr>
              <a:xfrm>
                <a:off x="16698047" y="12195994"/>
                <a:ext cx="365826" cy="262066"/>
              </a:xfrm>
              <a:custGeom>
                <a:avLst/>
                <a:gdLst>
                  <a:gd name="connsiteX0" fmla="*/ 138659 w 365826"/>
                  <a:gd name="connsiteY0" fmla="*/ 0 h 262066"/>
                  <a:gd name="connsiteX1" fmla="*/ 257980 w 365826"/>
                  <a:gd name="connsiteY1" fmla="*/ 165212 h 262066"/>
                  <a:gd name="connsiteX2" fmla="*/ 40756 w 365826"/>
                  <a:gd name="connsiteY2" fmla="*/ 36714 h 262066"/>
                  <a:gd name="connsiteX3" fmla="*/ 19339 w 365826"/>
                  <a:gd name="connsiteY3" fmla="*/ 21417 h 262066"/>
                  <a:gd name="connsiteX4" fmla="*/ 982 w 365826"/>
                  <a:gd name="connsiteY4" fmla="*/ 97904 h 262066"/>
                  <a:gd name="connsiteX5" fmla="*/ 13221 w 365826"/>
                  <a:gd name="connsiteY5" fmla="*/ 235581 h 262066"/>
                  <a:gd name="connsiteX6" fmla="*/ 40756 w 365826"/>
                  <a:gd name="connsiteY6" fmla="*/ 235581 h 262066"/>
                  <a:gd name="connsiteX7" fmla="*/ 56053 w 365826"/>
                  <a:gd name="connsiteY7" fmla="*/ 125439 h 262066"/>
                  <a:gd name="connsiteX8" fmla="*/ 199849 w 365826"/>
                  <a:gd name="connsiteY8" fmla="*/ 256997 h 262066"/>
                  <a:gd name="connsiteX9" fmla="*/ 358943 w 365826"/>
                  <a:gd name="connsiteY9" fmla="*/ 260057 h 262066"/>
                  <a:gd name="connsiteX10" fmla="*/ 358943 w 365826"/>
                  <a:gd name="connsiteY10" fmla="*/ 214164 h 262066"/>
                  <a:gd name="connsiteX11" fmla="*/ 138659 w 365826"/>
                  <a:gd name="connsiteY11" fmla="*/ 0 h 262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5826" h="262066">
                    <a:moveTo>
                      <a:pt x="138659" y="0"/>
                    </a:moveTo>
                    <a:cubicBezTo>
                      <a:pt x="138659" y="0"/>
                      <a:pt x="273277" y="156034"/>
                      <a:pt x="257980" y="165212"/>
                    </a:cubicBezTo>
                    <a:cubicBezTo>
                      <a:pt x="239623" y="174391"/>
                      <a:pt x="40756" y="36714"/>
                      <a:pt x="40756" y="36714"/>
                    </a:cubicBezTo>
                    <a:lnTo>
                      <a:pt x="19339" y="21417"/>
                    </a:lnTo>
                    <a:cubicBezTo>
                      <a:pt x="19339" y="21417"/>
                      <a:pt x="-5137" y="70368"/>
                      <a:pt x="982" y="97904"/>
                    </a:cubicBezTo>
                    <a:cubicBezTo>
                      <a:pt x="7101" y="125439"/>
                      <a:pt x="13221" y="235581"/>
                      <a:pt x="13221" y="235581"/>
                    </a:cubicBezTo>
                    <a:lnTo>
                      <a:pt x="40756" y="235581"/>
                    </a:lnTo>
                    <a:lnTo>
                      <a:pt x="56053" y="125439"/>
                    </a:lnTo>
                    <a:cubicBezTo>
                      <a:pt x="56053" y="125439"/>
                      <a:pt x="178433" y="253937"/>
                      <a:pt x="199849" y="256997"/>
                    </a:cubicBezTo>
                    <a:cubicBezTo>
                      <a:pt x="221266" y="263116"/>
                      <a:pt x="346705" y="263116"/>
                      <a:pt x="358943" y="260057"/>
                    </a:cubicBezTo>
                    <a:cubicBezTo>
                      <a:pt x="368121" y="260057"/>
                      <a:pt x="368121" y="220284"/>
                      <a:pt x="358943" y="214164"/>
                    </a:cubicBezTo>
                    <a:cubicBezTo>
                      <a:pt x="279396" y="171332"/>
                      <a:pt x="138659" y="0"/>
                      <a:pt x="138659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39087A69-2919-44AF-952E-37195E148247}"/>
                  </a:ext>
                </a:extLst>
              </p:cNvPr>
              <p:cNvSpPr/>
              <p:nvPr/>
            </p:nvSpPr>
            <p:spPr>
              <a:xfrm>
                <a:off x="16720414" y="12067495"/>
                <a:ext cx="237830" cy="295459"/>
              </a:xfrm>
              <a:custGeom>
                <a:avLst/>
                <a:gdLst>
                  <a:gd name="connsiteX0" fmla="*/ 113234 w 237830"/>
                  <a:gd name="connsiteY0" fmla="*/ 0 h 295459"/>
                  <a:gd name="connsiteX1" fmla="*/ 116292 w 237830"/>
                  <a:gd name="connsiteY1" fmla="*/ 128499 h 295459"/>
                  <a:gd name="connsiteX2" fmla="*/ 235613 w 237830"/>
                  <a:gd name="connsiteY2" fmla="*/ 293711 h 295459"/>
                  <a:gd name="connsiteX3" fmla="*/ 32 w 237830"/>
                  <a:gd name="connsiteY3" fmla="*/ 149916 h 295459"/>
                  <a:gd name="connsiteX4" fmla="*/ 32 w 237830"/>
                  <a:gd name="connsiteY4" fmla="*/ 0 h 295459"/>
                  <a:gd name="connsiteX5" fmla="*/ 113234 w 237830"/>
                  <a:gd name="connsiteY5" fmla="*/ 0 h 295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830" h="295459">
                    <a:moveTo>
                      <a:pt x="113234" y="0"/>
                    </a:moveTo>
                    <a:lnTo>
                      <a:pt x="116292" y="128499"/>
                    </a:lnTo>
                    <a:cubicBezTo>
                      <a:pt x="116292" y="128499"/>
                      <a:pt x="257029" y="278414"/>
                      <a:pt x="235613" y="293711"/>
                    </a:cubicBezTo>
                    <a:cubicBezTo>
                      <a:pt x="214196" y="312068"/>
                      <a:pt x="-3028" y="180511"/>
                      <a:pt x="32" y="149916"/>
                    </a:cubicBezTo>
                    <a:cubicBezTo>
                      <a:pt x="32" y="100964"/>
                      <a:pt x="32" y="0"/>
                      <a:pt x="32" y="0"/>
                    </a:cubicBezTo>
                    <a:lnTo>
                      <a:pt x="113234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3D09276F-25DB-4CB6-8D67-789D5E0DB958}"/>
                </a:ext>
              </a:extLst>
            </p:cNvPr>
            <p:cNvSpPr/>
            <p:nvPr/>
          </p:nvSpPr>
          <p:spPr>
            <a:xfrm>
              <a:off x="16695970" y="9626022"/>
              <a:ext cx="1072018" cy="2530198"/>
            </a:xfrm>
            <a:custGeom>
              <a:avLst/>
              <a:gdLst>
                <a:gd name="connsiteX0" fmla="*/ 281473 w 1072018"/>
                <a:gd name="connsiteY0" fmla="*/ 0 h 2530198"/>
                <a:gd name="connsiteX1" fmla="*/ 951501 w 1072018"/>
                <a:gd name="connsiteY1" fmla="*/ 0 h 2530198"/>
                <a:gd name="connsiteX2" fmla="*/ 1070822 w 1072018"/>
                <a:gd name="connsiteY2" fmla="*/ 461983 h 2530198"/>
                <a:gd name="connsiteX3" fmla="*/ 890311 w 1072018"/>
                <a:gd name="connsiteY3" fmla="*/ 2493485 h 2530198"/>
                <a:gd name="connsiteX4" fmla="*/ 715921 w 1072018"/>
                <a:gd name="connsiteY4" fmla="*/ 2530199 h 2530198"/>
                <a:gd name="connsiteX5" fmla="*/ 608838 w 1072018"/>
                <a:gd name="connsiteY5" fmla="*/ 813825 h 2530198"/>
                <a:gd name="connsiteX6" fmla="*/ 538470 w 1072018"/>
                <a:gd name="connsiteY6" fmla="*/ 1627649 h 2530198"/>
                <a:gd name="connsiteX7" fmla="*/ 526232 w 1072018"/>
                <a:gd name="connsiteY7" fmla="*/ 1679660 h 2530198"/>
                <a:gd name="connsiteX8" fmla="*/ 195807 w 1072018"/>
                <a:gd name="connsiteY8" fmla="*/ 2517960 h 2530198"/>
                <a:gd name="connsiteX9" fmla="*/ 0 w 1072018"/>
                <a:gd name="connsiteY9" fmla="*/ 2517960 h 2530198"/>
                <a:gd name="connsiteX10" fmla="*/ 183569 w 1072018"/>
                <a:gd name="connsiteY10" fmla="*/ 1661303 h 2530198"/>
                <a:gd name="connsiteX11" fmla="*/ 146855 w 1072018"/>
                <a:gd name="connsiteY11" fmla="*/ 416091 h 2530198"/>
                <a:gd name="connsiteX12" fmla="*/ 281473 w 1072018"/>
                <a:gd name="connsiteY12" fmla="*/ 0 h 253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2018" h="2530198">
                  <a:moveTo>
                    <a:pt x="281473" y="0"/>
                  </a:moveTo>
                  <a:lnTo>
                    <a:pt x="951501" y="0"/>
                  </a:lnTo>
                  <a:cubicBezTo>
                    <a:pt x="951501" y="0"/>
                    <a:pt x="1049405" y="305949"/>
                    <a:pt x="1070822" y="461983"/>
                  </a:cubicBezTo>
                  <a:cubicBezTo>
                    <a:pt x="1089178" y="614958"/>
                    <a:pt x="890311" y="2493485"/>
                    <a:pt x="890311" y="2493485"/>
                  </a:cubicBezTo>
                  <a:lnTo>
                    <a:pt x="715921" y="2530199"/>
                  </a:lnTo>
                  <a:lnTo>
                    <a:pt x="608838" y="813825"/>
                  </a:lnTo>
                  <a:lnTo>
                    <a:pt x="538470" y="1627649"/>
                  </a:lnTo>
                  <a:cubicBezTo>
                    <a:pt x="535411" y="1646005"/>
                    <a:pt x="532351" y="1664362"/>
                    <a:pt x="526232" y="1679660"/>
                  </a:cubicBezTo>
                  <a:lnTo>
                    <a:pt x="195807" y="2517960"/>
                  </a:lnTo>
                  <a:lnTo>
                    <a:pt x="0" y="2517960"/>
                  </a:lnTo>
                  <a:lnTo>
                    <a:pt x="183569" y="1661303"/>
                  </a:lnTo>
                  <a:cubicBezTo>
                    <a:pt x="183569" y="1661303"/>
                    <a:pt x="152975" y="480340"/>
                    <a:pt x="146855" y="416091"/>
                  </a:cubicBezTo>
                  <a:cubicBezTo>
                    <a:pt x="137677" y="296771"/>
                    <a:pt x="281473" y="0"/>
                    <a:pt x="281473" y="0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7CBA687-9BBA-4662-99A5-A43255F02A65}"/>
                </a:ext>
              </a:extLst>
            </p:cNvPr>
            <p:cNvSpPr/>
            <p:nvPr/>
          </p:nvSpPr>
          <p:spPr>
            <a:xfrm>
              <a:off x="16885658" y="10014578"/>
              <a:ext cx="468102" cy="2138583"/>
            </a:xfrm>
            <a:custGeom>
              <a:avLst/>
              <a:gdLst>
                <a:gd name="connsiteX0" fmla="*/ 6119 w 468102"/>
                <a:gd name="connsiteY0" fmla="*/ 2138584 h 2138583"/>
                <a:gd name="connsiteX1" fmla="*/ 6119 w 468102"/>
                <a:gd name="connsiteY1" fmla="*/ 2138584 h 2138583"/>
                <a:gd name="connsiteX2" fmla="*/ 0 w 468102"/>
                <a:gd name="connsiteY2" fmla="*/ 2129404 h 2138583"/>
                <a:gd name="connsiteX3" fmla="*/ 330426 w 468102"/>
                <a:gd name="connsiteY3" fmla="*/ 1291104 h 2138583"/>
                <a:gd name="connsiteX4" fmla="*/ 342663 w 468102"/>
                <a:gd name="connsiteY4" fmla="*/ 1239094 h 2138583"/>
                <a:gd name="connsiteX5" fmla="*/ 413031 w 468102"/>
                <a:gd name="connsiteY5" fmla="*/ 425269 h 2138583"/>
                <a:gd name="connsiteX6" fmla="*/ 455864 w 468102"/>
                <a:gd name="connsiteY6" fmla="*/ 6118 h 2138583"/>
                <a:gd name="connsiteX7" fmla="*/ 461983 w 468102"/>
                <a:gd name="connsiteY7" fmla="*/ 0 h 2138583"/>
                <a:gd name="connsiteX8" fmla="*/ 468103 w 468102"/>
                <a:gd name="connsiteY8" fmla="*/ 6118 h 2138583"/>
                <a:gd name="connsiteX9" fmla="*/ 425269 w 468102"/>
                <a:gd name="connsiteY9" fmla="*/ 425269 h 2138583"/>
                <a:gd name="connsiteX10" fmla="*/ 354901 w 468102"/>
                <a:gd name="connsiteY10" fmla="*/ 1239094 h 2138583"/>
                <a:gd name="connsiteX11" fmla="*/ 342663 w 468102"/>
                <a:gd name="connsiteY11" fmla="*/ 1294164 h 2138583"/>
                <a:gd name="connsiteX12" fmla="*/ 12238 w 468102"/>
                <a:gd name="connsiteY12" fmla="*/ 2135524 h 2138583"/>
                <a:gd name="connsiteX13" fmla="*/ 6119 w 468102"/>
                <a:gd name="connsiteY13" fmla="*/ 2138584 h 2138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8102" h="2138583">
                  <a:moveTo>
                    <a:pt x="6119" y="2138584"/>
                  </a:moveTo>
                  <a:cubicBezTo>
                    <a:pt x="6119" y="2138584"/>
                    <a:pt x="3060" y="2138584"/>
                    <a:pt x="6119" y="2138584"/>
                  </a:cubicBezTo>
                  <a:cubicBezTo>
                    <a:pt x="0" y="2135524"/>
                    <a:pt x="0" y="2132464"/>
                    <a:pt x="0" y="2129404"/>
                  </a:cubicBezTo>
                  <a:lnTo>
                    <a:pt x="330426" y="1291104"/>
                  </a:lnTo>
                  <a:cubicBezTo>
                    <a:pt x="336544" y="1275807"/>
                    <a:pt x="339604" y="1257450"/>
                    <a:pt x="342663" y="1239094"/>
                  </a:cubicBezTo>
                  <a:lnTo>
                    <a:pt x="413031" y="425269"/>
                  </a:lnTo>
                  <a:lnTo>
                    <a:pt x="455864" y="6118"/>
                  </a:lnTo>
                  <a:cubicBezTo>
                    <a:pt x="455864" y="3059"/>
                    <a:pt x="458924" y="0"/>
                    <a:pt x="461983" y="0"/>
                  </a:cubicBezTo>
                  <a:cubicBezTo>
                    <a:pt x="465043" y="0"/>
                    <a:pt x="468103" y="3059"/>
                    <a:pt x="468103" y="6118"/>
                  </a:cubicBezTo>
                  <a:lnTo>
                    <a:pt x="425269" y="425269"/>
                  </a:lnTo>
                  <a:lnTo>
                    <a:pt x="354901" y="1239094"/>
                  </a:lnTo>
                  <a:cubicBezTo>
                    <a:pt x="351841" y="1257450"/>
                    <a:pt x="348782" y="1275807"/>
                    <a:pt x="342663" y="1294164"/>
                  </a:cubicBezTo>
                  <a:lnTo>
                    <a:pt x="12238" y="2135524"/>
                  </a:lnTo>
                  <a:cubicBezTo>
                    <a:pt x="9179" y="2135524"/>
                    <a:pt x="9179" y="2138584"/>
                    <a:pt x="6119" y="2138584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AC1B4D22-29EB-4C2F-9F4C-A1358BC95877}"/>
                </a:ext>
              </a:extLst>
            </p:cNvPr>
            <p:cNvSpPr/>
            <p:nvPr/>
          </p:nvSpPr>
          <p:spPr>
            <a:xfrm>
              <a:off x="16845885" y="9782057"/>
              <a:ext cx="180509" cy="189687"/>
            </a:xfrm>
            <a:custGeom>
              <a:avLst/>
              <a:gdLst>
                <a:gd name="connsiteX0" fmla="*/ 6118 w 180509"/>
                <a:gd name="connsiteY0" fmla="*/ 189688 h 189687"/>
                <a:gd name="connsiteX1" fmla="*/ 0 w 180509"/>
                <a:gd name="connsiteY1" fmla="*/ 186629 h 189687"/>
                <a:gd name="connsiteX2" fmla="*/ 3060 w 180509"/>
                <a:gd name="connsiteY2" fmla="*/ 180510 h 189687"/>
                <a:gd name="connsiteX3" fmla="*/ 171332 w 180509"/>
                <a:gd name="connsiteY3" fmla="*/ 3060 h 189687"/>
                <a:gd name="connsiteX4" fmla="*/ 177450 w 180509"/>
                <a:gd name="connsiteY4" fmla="*/ 0 h 189687"/>
                <a:gd name="connsiteX5" fmla="*/ 180510 w 180509"/>
                <a:gd name="connsiteY5" fmla="*/ 6118 h 189687"/>
                <a:gd name="connsiteX6" fmla="*/ 6118 w 180509"/>
                <a:gd name="connsiteY6" fmla="*/ 189688 h 189687"/>
                <a:gd name="connsiteX7" fmla="*/ 6118 w 180509"/>
                <a:gd name="connsiteY7" fmla="*/ 189688 h 189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509" h="189687">
                  <a:moveTo>
                    <a:pt x="6118" y="189688"/>
                  </a:moveTo>
                  <a:cubicBezTo>
                    <a:pt x="3060" y="189688"/>
                    <a:pt x="0" y="186629"/>
                    <a:pt x="0" y="186629"/>
                  </a:cubicBezTo>
                  <a:cubicBezTo>
                    <a:pt x="0" y="183569"/>
                    <a:pt x="0" y="180510"/>
                    <a:pt x="3060" y="180510"/>
                  </a:cubicBezTo>
                  <a:cubicBezTo>
                    <a:pt x="116260" y="149915"/>
                    <a:pt x="168272" y="6118"/>
                    <a:pt x="171332" y="3060"/>
                  </a:cubicBezTo>
                  <a:cubicBezTo>
                    <a:pt x="171332" y="0"/>
                    <a:pt x="174390" y="0"/>
                    <a:pt x="177450" y="0"/>
                  </a:cubicBezTo>
                  <a:cubicBezTo>
                    <a:pt x="180510" y="0"/>
                    <a:pt x="180510" y="3060"/>
                    <a:pt x="180510" y="6118"/>
                  </a:cubicBezTo>
                  <a:cubicBezTo>
                    <a:pt x="180510" y="12238"/>
                    <a:pt x="125439" y="156034"/>
                    <a:pt x="6118" y="189688"/>
                  </a:cubicBezTo>
                  <a:cubicBezTo>
                    <a:pt x="6118" y="189688"/>
                    <a:pt x="6118" y="189688"/>
                    <a:pt x="6118" y="189688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CA07F928-0501-4DB6-B448-2A937E9FF3B5}"/>
                </a:ext>
              </a:extLst>
            </p:cNvPr>
            <p:cNvSpPr/>
            <p:nvPr/>
          </p:nvSpPr>
          <p:spPr>
            <a:xfrm>
              <a:off x="17577103" y="9778997"/>
              <a:ext cx="174391" cy="195807"/>
            </a:xfrm>
            <a:custGeom>
              <a:avLst/>
              <a:gdLst>
                <a:gd name="connsiteX0" fmla="*/ 168272 w 174391"/>
                <a:gd name="connsiteY0" fmla="*/ 195807 h 195807"/>
                <a:gd name="connsiteX1" fmla="*/ 168272 w 174391"/>
                <a:gd name="connsiteY1" fmla="*/ 195807 h 195807"/>
                <a:gd name="connsiteX2" fmla="*/ 0 w 174391"/>
                <a:gd name="connsiteY2" fmla="*/ 9178 h 195807"/>
                <a:gd name="connsiteX3" fmla="*/ 3060 w 174391"/>
                <a:gd name="connsiteY3" fmla="*/ 0 h 195807"/>
                <a:gd name="connsiteX4" fmla="*/ 12238 w 174391"/>
                <a:gd name="connsiteY4" fmla="*/ 3060 h 195807"/>
                <a:gd name="connsiteX5" fmla="*/ 171332 w 174391"/>
                <a:gd name="connsiteY5" fmla="*/ 183569 h 195807"/>
                <a:gd name="connsiteX6" fmla="*/ 174391 w 174391"/>
                <a:gd name="connsiteY6" fmla="*/ 189689 h 195807"/>
                <a:gd name="connsiteX7" fmla="*/ 168272 w 174391"/>
                <a:gd name="connsiteY7" fmla="*/ 195807 h 195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391" h="195807">
                  <a:moveTo>
                    <a:pt x="168272" y="195807"/>
                  </a:moveTo>
                  <a:cubicBezTo>
                    <a:pt x="168272" y="195807"/>
                    <a:pt x="168272" y="195807"/>
                    <a:pt x="168272" y="195807"/>
                  </a:cubicBezTo>
                  <a:cubicBezTo>
                    <a:pt x="85665" y="162153"/>
                    <a:pt x="3060" y="15297"/>
                    <a:pt x="0" y="9178"/>
                  </a:cubicBezTo>
                  <a:cubicBezTo>
                    <a:pt x="0" y="6119"/>
                    <a:pt x="0" y="3060"/>
                    <a:pt x="3060" y="0"/>
                  </a:cubicBezTo>
                  <a:cubicBezTo>
                    <a:pt x="6119" y="0"/>
                    <a:pt x="9178" y="0"/>
                    <a:pt x="12238" y="3060"/>
                  </a:cubicBezTo>
                  <a:cubicBezTo>
                    <a:pt x="12238" y="3060"/>
                    <a:pt x="94844" y="152975"/>
                    <a:pt x="171332" y="183569"/>
                  </a:cubicBezTo>
                  <a:cubicBezTo>
                    <a:pt x="174391" y="183569"/>
                    <a:pt x="174391" y="186629"/>
                    <a:pt x="174391" y="189689"/>
                  </a:cubicBezTo>
                  <a:cubicBezTo>
                    <a:pt x="171332" y="192748"/>
                    <a:pt x="171332" y="195807"/>
                    <a:pt x="168272" y="195807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91AB9ECD-10A9-4BB1-89A1-1D78C907236B}"/>
                </a:ext>
              </a:extLst>
            </p:cNvPr>
            <p:cNvSpPr/>
            <p:nvPr/>
          </p:nvSpPr>
          <p:spPr>
            <a:xfrm>
              <a:off x="14526791" y="8114635"/>
              <a:ext cx="67309" cy="140736"/>
            </a:xfrm>
            <a:custGeom>
              <a:avLst/>
              <a:gdLst>
                <a:gd name="connsiteX0" fmla="*/ 67309 w 67309"/>
                <a:gd name="connsiteY0" fmla="*/ 0 h 140736"/>
                <a:gd name="connsiteX1" fmla="*/ 3060 w 67309"/>
                <a:gd name="connsiteY1" fmla="*/ 140736 h 140736"/>
                <a:gd name="connsiteX2" fmla="*/ 0 w 67309"/>
                <a:gd name="connsiteY2" fmla="*/ 55070 h 140736"/>
                <a:gd name="connsiteX3" fmla="*/ 67309 w 67309"/>
                <a:gd name="connsiteY3" fmla="*/ 0 h 14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309" h="140736">
                  <a:moveTo>
                    <a:pt x="67309" y="0"/>
                  </a:moveTo>
                  <a:cubicBezTo>
                    <a:pt x="67309" y="0"/>
                    <a:pt x="55071" y="119320"/>
                    <a:pt x="3060" y="140736"/>
                  </a:cubicBezTo>
                  <a:lnTo>
                    <a:pt x="0" y="55070"/>
                  </a:lnTo>
                  <a:lnTo>
                    <a:pt x="67309" y="0"/>
                  </a:lnTo>
                  <a:close/>
                </a:path>
              </a:pathLst>
            </a:custGeom>
            <a:solidFill>
              <a:srgbClr val="F1DDBA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71F7B1A7-D931-44CD-929D-1946D3397F7D}"/>
                </a:ext>
              </a:extLst>
            </p:cNvPr>
            <p:cNvSpPr/>
            <p:nvPr/>
          </p:nvSpPr>
          <p:spPr>
            <a:xfrm>
              <a:off x="14131915" y="7912708"/>
              <a:ext cx="102096" cy="238619"/>
            </a:xfrm>
            <a:custGeom>
              <a:avLst/>
              <a:gdLst>
                <a:gd name="connsiteX0" fmla="*/ 6321 w 102096"/>
                <a:gd name="connsiteY0" fmla="*/ 0 h 238619"/>
                <a:gd name="connsiteX1" fmla="*/ 49154 w 102096"/>
                <a:gd name="connsiteY1" fmla="*/ 235581 h 238619"/>
                <a:gd name="connsiteX2" fmla="*/ 101166 w 102096"/>
                <a:gd name="connsiteY2" fmla="*/ 12238 h 238619"/>
                <a:gd name="connsiteX3" fmla="*/ 6321 w 102096"/>
                <a:gd name="connsiteY3" fmla="*/ 0 h 238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096" h="238619">
                  <a:moveTo>
                    <a:pt x="6321" y="0"/>
                  </a:moveTo>
                  <a:cubicBezTo>
                    <a:pt x="6321" y="0"/>
                    <a:pt x="-24274" y="195807"/>
                    <a:pt x="49154" y="235581"/>
                  </a:cubicBezTo>
                  <a:cubicBezTo>
                    <a:pt x="113403" y="269235"/>
                    <a:pt x="101166" y="12238"/>
                    <a:pt x="101166" y="12238"/>
                  </a:cubicBezTo>
                  <a:lnTo>
                    <a:pt x="6321" y="0"/>
                  </a:lnTo>
                  <a:close/>
                </a:path>
              </a:pathLst>
            </a:custGeom>
            <a:solidFill>
              <a:srgbClr val="F1DDBA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67A984FA-5E24-4379-9A67-C677FA6FB998}"/>
                </a:ext>
              </a:extLst>
            </p:cNvPr>
            <p:cNvSpPr/>
            <p:nvPr/>
          </p:nvSpPr>
          <p:spPr>
            <a:xfrm>
              <a:off x="14168491" y="7771078"/>
              <a:ext cx="422549" cy="570562"/>
            </a:xfrm>
            <a:custGeom>
              <a:avLst/>
              <a:gdLst>
                <a:gd name="connsiteX0" fmla="*/ 9518 w 422549"/>
                <a:gd name="connsiteY0" fmla="*/ 184462 h 570562"/>
                <a:gd name="connsiteX1" fmla="*/ 9518 w 422549"/>
                <a:gd name="connsiteY1" fmla="*/ 435341 h 570562"/>
                <a:gd name="connsiteX2" fmla="*/ 168612 w 422549"/>
                <a:gd name="connsiteY2" fmla="*/ 569958 h 570562"/>
                <a:gd name="connsiteX3" fmla="*/ 385836 w 422549"/>
                <a:gd name="connsiteY3" fmla="*/ 426162 h 570562"/>
                <a:gd name="connsiteX4" fmla="*/ 422549 w 422549"/>
                <a:gd name="connsiteY4" fmla="*/ 199760 h 570562"/>
                <a:gd name="connsiteX5" fmla="*/ 208385 w 422549"/>
                <a:gd name="connsiteY5" fmla="*/ 893 h 570562"/>
                <a:gd name="connsiteX6" fmla="*/ 9518 w 422549"/>
                <a:gd name="connsiteY6" fmla="*/ 184462 h 570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2549" h="570562">
                  <a:moveTo>
                    <a:pt x="9518" y="184462"/>
                  </a:moveTo>
                  <a:cubicBezTo>
                    <a:pt x="9518" y="184462"/>
                    <a:pt x="-11898" y="361913"/>
                    <a:pt x="9518" y="435341"/>
                  </a:cubicBezTo>
                  <a:cubicBezTo>
                    <a:pt x="27875" y="502649"/>
                    <a:pt x="119660" y="566899"/>
                    <a:pt x="168612" y="569958"/>
                  </a:cubicBezTo>
                  <a:cubicBezTo>
                    <a:pt x="235920" y="576077"/>
                    <a:pt x="355241" y="536304"/>
                    <a:pt x="385836" y="426162"/>
                  </a:cubicBezTo>
                  <a:cubicBezTo>
                    <a:pt x="407252" y="352734"/>
                    <a:pt x="422549" y="251771"/>
                    <a:pt x="422549" y="199760"/>
                  </a:cubicBezTo>
                  <a:cubicBezTo>
                    <a:pt x="419490" y="104916"/>
                    <a:pt x="395014" y="25369"/>
                    <a:pt x="208385" y="893"/>
                  </a:cubicBezTo>
                  <a:cubicBezTo>
                    <a:pt x="122720" y="-11345"/>
                    <a:pt x="27875" y="104916"/>
                    <a:pt x="9518" y="184462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58419768-FC2D-4155-825A-23F370B07B09}"/>
                </a:ext>
              </a:extLst>
            </p:cNvPr>
            <p:cNvSpPr/>
            <p:nvPr/>
          </p:nvSpPr>
          <p:spPr>
            <a:xfrm>
              <a:off x="14306508" y="8035088"/>
              <a:ext cx="58130" cy="137677"/>
            </a:xfrm>
            <a:custGeom>
              <a:avLst/>
              <a:gdLst>
                <a:gd name="connsiteX0" fmla="*/ 30595 w 58130"/>
                <a:gd name="connsiteY0" fmla="*/ 137677 h 137677"/>
                <a:gd name="connsiteX1" fmla="*/ 6118 w 58130"/>
                <a:gd name="connsiteY1" fmla="*/ 131558 h 137677"/>
                <a:gd name="connsiteX2" fmla="*/ 0 w 58130"/>
                <a:gd name="connsiteY2" fmla="*/ 119320 h 137677"/>
                <a:gd name="connsiteX3" fmla="*/ 15297 w 58130"/>
                <a:gd name="connsiteY3" fmla="*/ 6119 h 137677"/>
                <a:gd name="connsiteX4" fmla="*/ 21416 w 58130"/>
                <a:gd name="connsiteY4" fmla="*/ 0 h 137677"/>
                <a:gd name="connsiteX5" fmla="*/ 27535 w 58130"/>
                <a:gd name="connsiteY5" fmla="*/ 6119 h 137677"/>
                <a:gd name="connsiteX6" fmla="*/ 12238 w 58130"/>
                <a:gd name="connsiteY6" fmla="*/ 119320 h 137677"/>
                <a:gd name="connsiteX7" fmla="*/ 12238 w 58130"/>
                <a:gd name="connsiteY7" fmla="*/ 122380 h 137677"/>
                <a:gd name="connsiteX8" fmla="*/ 52011 w 58130"/>
                <a:gd name="connsiteY8" fmla="*/ 122380 h 137677"/>
                <a:gd name="connsiteX9" fmla="*/ 58130 w 58130"/>
                <a:gd name="connsiteY9" fmla="*/ 128498 h 137677"/>
                <a:gd name="connsiteX10" fmla="*/ 52011 w 58130"/>
                <a:gd name="connsiteY10" fmla="*/ 134617 h 137677"/>
                <a:gd name="connsiteX11" fmla="*/ 30595 w 58130"/>
                <a:gd name="connsiteY11" fmla="*/ 137677 h 137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130" h="137677">
                  <a:moveTo>
                    <a:pt x="30595" y="137677"/>
                  </a:moveTo>
                  <a:cubicBezTo>
                    <a:pt x="21416" y="137677"/>
                    <a:pt x="12238" y="137677"/>
                    <a:pt x="6118" y="131558"/>
                  </a:cubicBezTo>
                  <a:cubicBezTo>
                    <a:pt x="3060" y="128498"/>
                    <a:pt x="0" y="125439"/>
                    <a:pt x="0" y="119320"/>
                  </a:cubicBezTo>
                  <a:cubicBezTo>
                    <a:pt x="0" y="97904"/>
                    <a:pt x="15297" y="9179"/>
                    <a:pt x="15297" y="6119"/>
                  </a:cubicBezTo>
                  <a:cubicBezTo>
                    <a:pt x="15297" y="3060"/>
                    <a:pt x="18357" y="0"/>
                    <a:pt x="21416" y="0"/>
                  </a:cubicBezTo>
                  <a:cubicBezTo>
                    <a:pt x="24476" y="0"/>
                    <a:pt x="27535" y="3060"/>
                    <a:pt x="27535" y="6119"/>
                  </a:cubicBezTo>
                  <a:cubicBezTo>
                    <a:pt x="27535" y="6119"/>
                    <a:pt x="12238" y="97904"/>
                    <a:pt x="12238" y="119320"/>
                  </a:cubicBezTo>
                  <a:cubicBezTo>
                    <a:pt x="12238" y="119320"/>
                    <a:pt x="12238" y="122380"/>
                    <a:pt x="12238" y="122380"/>
                  </a:cubicBezTo>
                  <a:cubicBezTo>
                    <a:pt x="18357" y="128498"/>
                    <a:pt x="39773" y="125439"/>
                    <a:pt x="52011" y="122380"/>
                  </a:cubicBezTo>
                  <a:cubicBezTo>
                    <a:pt x="55070" y="122380"/>
                    <a:pt x="58130" y="122380"/>
                    <a:pt x="58130" y="128498"/>
                  </a:cubicBezTo>
                  <a:cubicBezTo>
                    <a:pt x="58130" y="131558"/>
                    <a:pt x="58130" y="134617"/>
                    <a:pt x="52011" y="134617"/>
                  </a:cubicBezTo>
                  <a:cubicBezTo>
                    <a:pt x="52011" y="137677"/>
                    <a:pt x="39773" y="137677"/>
                    <a:pt x="30595" y="137677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0D1981BA-8C9E-454F-9E7D-6719EF73C473}"/>
                </a:ext>
              </a:extLst>
            </p:cNvPr>
            <p:cNvSpPr/>
            <p:nvPr/>
          </p:nvSpPr>
          <p:spPr>
            <a:xfrm>
              <a:off x="14235360" y="8012892"/>
              <a:ext cx="40553" cy="41153"/>
            </a:xfrm>
            <a:custGeom>
              <a:avLst/>
              <a:gdLst>
                <a:gd name="connsiteX0" fmla="*/ 40553 w 40553"/>
                <a:gd name="connsiteY0" fmla="*/ 25256 h 41153"/>
                <a:gd name="connsiteX1" fmla="*/ 16077 w 40553"/>
                <a:gd name="connsiteY1" fmla="*/ 40553 h 41153"/>
                <a:gd name="connsiteX2" fmla="*/ 779 w 40553"/>
                <a:gd name="connsiteY2" fmla="*/ 16077 h 41153"/>
                <a:gd name="connsiteX3" fmla="*/ 25256 w 40553"/>
                <a:gd name="connsiteY3" fmla="*/ 780 h 41153"/>
                <a:gd name="connsiteX4" fmla="*/ 40553 w 40553"/>
                <a:gd name="connsiteY4" fmla="*/ 25256 h 4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53" h="41153">
                  <a:moveTo>
                    <a:pt x="40553" y="25256"/>
                  </a:moveTo>
                  <a:cubicBezTo>
                    <a:pt x="37494" y="34434"/>
                    <a:pt x="28316" y="43612"/>
                    <a:pt x="16077" y="40553"/>
                  </a:cubicBezTo>
                  <a:cubicBezTo>
                    <a:pt x="3839" y="37494"/>
                    <a:pt x="-2279" y="28315"/>
                    <a:pt x="779" y="16077"/>
                  </a:cubicBezTo>
                  <a:cubicBezTo>
                    <a:pt x="3839" y="3839"/>
                    <a:pt x="13018" y="-2280"/>
                    <a:pt x="25256" y="780"/>
                  </a:cubicBezTo>
                  <a:cubicBezTo>
                    <a:pt x="34434" y="3839"/>
                    <a:pt x="40553" y="16077"/>
                    <a:pt x="40553" y="2525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84D5FAF1-7990-478A-AC61-A5E230D287F0}"/>
                </a:ext>
              </a:extLst>
            </p:cNvPr>
            <p:cNvSpPr/>
            <p:nvPr/>
          </p:nvSpPr>
          <p:spPr>
            <a:xfrm>
              <a:off x="14419109" y="8031428"/>
              <a:ext cx="40373" cy="41153"/>
            </a:xfrm>
            <a:custGeom>
              <a:avLst/>
              <a:gdLst>
                <a:gd name="connsiteX0" fmla="*/ 40374 w 40373"/>
                <a:gd name="connsiteY0" fmla="*/ 25076 h 41153"/>
                <a:gd name="connsiteX1" fmla="*/ 15897 w 40373"/>
                <a:gd name="connsiteY1" fmla="*/ 40373 h 41153"/>
                <a:gd name="connsiteX2" fmla="*/ 600 w 40373"/>
                <a:gd name="connsiteY2" fmla="*/ 15897 h 41153"/>
                <a:gd name="connsiteX3" fmla="*/ 25076 w 40373"/>
                <a:gd name="connsiteY3" fmla="*/ 600 h 41153"/>
                <a:gd name="connsiteX4" fmla="*/ 40374 w 40373"/>
                <a:gd name="connsiteY4" fmla="*/ 25076 h 4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73" h="41153">
                  <a:moveTo>
                    <a:pt x="40374" y="25076"/>
                  </a:moveTo>
                  <a:cubicBezTo>
                    <a:pt x="37314" y="37314"/>
                    <a:pt x="28136" y="43433"/>
                    <a:pt x="15897" y="40373"/>
                  </a:cubicBezTo>
                  <a:cubicBezTo>
                    <a:pt x="6719" y="37314"/>
                    <a:pt x="-2459" y="28136"/>
                    <a:pt x="600" y="15897"/>
                  </a:cubicBezTo>
                  <a:cubicBezTo>
                    <a:pt x="3660" y="6719"/>
                    <a:pt x="12839" y="-2459"/>
                    <a:pt x="25076" y="600"/>
                  </a:cubicBezTo>
                  <a:cubicBezTo>
                    <a:pt x="34254" y="3660"/>
                    <a:pt x="40374" y="12838"/>
                    <a:pt x="40374" y="2507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FFE3C063-DA8F-488C-B803-FB2EDEF3576A}"/>
                </a:ext>
              </a:extLst>
            </p:cNvPr>
            <p:cNvSpPr/>
            <p:nvPr/>
          </p:nvSpPr>
          <p:spPr>
            <a:xfrm>
              <a:off x="14209369" y="7963550"/>
              <a:ext cx="92287" cy="34823"/>
            </a:xfrm>
            <a:custGeom>
              <a:avLst/>
              <a:gdLst>
                <a:gd name="connsiteX0" fmla="*/ 8414 w 92287"/>
                <a:gd name="connsiteY0" fmla="*/ 34824 h 34823"/>
                <a:gd name="connsiteX1" fmla="*/ 2295 w 92287"/>
                <a:gd name="connsiteY1" fmla="*/ 31764 h 34823"/>
                <a:gd name="connsiteX2" fmla="*/ 2295 w 92287"/>
                <a:gd name="connsiteY2" fmla="*/ 19526 h 34823"/>
                <a:gd name="connsiteX3" fmla="*/ 87960 w 92287"/>
                <a:gd name="connsiteY3" fmla="*/ 10348 h 34823"/>
                <a:gd name="connsiteX4" fmla="*/ 91020 w 92287"/>
                <a:gd name="connsiteY4" fmla="*/ 19526 h 34823"/>
                <a:gd name="connsiteX5" fmla="*/ 81842 w 92287"/>
                <a:gd name="connsiteY5" fmla="*/ 22585 h 34823"/>
                <a:gd name="connsiteX6" fmla="*/ 14533 w 92287"/>
                <a:gd name="connsiteY6" fmla="*/ 28705 h 34823"/>
                <a:gd name="connsiteX7" fmla="*/ 8414 w 92287"/>
                <a:gd name="connsiteY7" fmla="*/ 34824 h 34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87" h="34823">
                  <a:moveTo>
                    <a:pt x="8414" y="34824"/>
                  </a:moveTo>
                  <a:cubicBezTo>
                    <a:pt x="5354" y="34824"/>
                    <a:pt x="5354" y="34824"/>
                    <a:pt x="2295" y="31764"/>
                  </a:cubicBezTo>
                  <a:cubicBezTo>
                    <a:pt x="-765" y="28705"/>
                    <a:pt x="-765" y="22585"/>
                    <a:pt x="2295" y="19526"/>
                  </a:cubicBezTo>
                  <a:cubicBezTo>
                    <a:pt x="29830" y="-11069"/>
                    <a:pt x="69604" y="1169"/>
                    <a:pt x="87960" y="10348"/>
                  </a:cubicBezTo>
                  <a:cubicBezTo>
                    <a:pt x="91020" y="13407"/>
                    <a:pt x="94079" y="16466"/>
                    <a:pt x="91020" y="19526"/>
                  </a:cubicBezTo>
                  <a:cubicBezTo>
                    <a:pt x="87960" y="22585"/>
                    <a:pt x="84901" y="25645"/>
                    <a:pt x="81842" y="22585"/>
                  </a:cubicBezTo>
                  <a:cubicBezTo>
                    <a:pt x="78782" y="22585"/>
                    <a:pt x="39009" y="1169"/>
                    <a:pt x="14533" y="28705"/>
                  </a:cubicBezTo>
                  <a:cubicBezTo>
                    <a:pt x="11473" y="34824"/>
                    <a:pt x="11473" y="34824"/>
                    <a:pt x="8414" y="34824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C601949A-BFB9-4EC1-A701-7C63DEE4563F}"/>
                </a:ext>
              </a:extLst>
            </p:cNvPr>
            <p:cNvSpPr/>
            <p:nvPr/>
          </p:nvSpPr>
          <p:spPr>
            <a:xfrm>
              <a:off x="14397026" y="7965031"/>
              <a:ext cx="92287" cy="36402"/>
            </a:xfrm>
            <a:custGeom>
              <a:avLst/>
              <a:gdLst>
                <a:gd name="connsiteX0" fmla="*/ 86933 w 92287"/>
                <a:gd name="connsiteY0" fmla="*/ 36402 h 36402"/>
                <a:gd name="connsiteX1" fmla="*/ 80814 w 92287"/>
                <a:gd name="connsiteY1" fmla="*/ 33343 h 36402"/>
                <a:gd name="connsiteX2" fmla="*/ 13505 w 92287"/>
                <a:gd name="connsiteY2" fmla="*/ 27224 h 36402"/>
                <a:gd name="connsiteX3" fmla="*/ 1267 w 92287"/>
                <a:gd name="connsiteY3" fmla="*/ 24165 h 36402"/>
                <a:gd name="connsiteX4" fmla="*/ 4327 w 92287"/>
                <a:gd name="connsiteY4" fmla="*/ 11927 h 36402"/>
                <a:gd name="connsiteX5" fmla="*/ 89992 w 92287"/>
                <a:gd name="connsiteY5" fmla="*/ 21105 h 36402"/>
                <a:gd name="connsiteX6" fmla="*/ 89992 w 92287"/>
                <a:gd name="connsiteY6" fmla="*/ 33343 h 36402"/>
                <a:gd name="connsiteX7" fmla="*/ 86933 w 92287"/>
                <a:gd name="connsiteY7" fmla="*/ 36402 h 3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87" h="36402">
                  <a:moveTo>
                    <a:pt x="86933" y="36402"/>
                  </a:moveTo>
                  <a:cubicBezTo>
                    <a:pt x="83873" y="36402"/>
                    <a:pt x="83873" y="36402"/>
                    <a:pt x="80814" y="33343"/>
                  </a:cubicBezTo>
                  <a:cubicBezTo>
                    <a:pt x="80814" y="33343"/>
                    <a:pt x="50219" y="2748"/>
                    <a:pt x="13505" y="27224"/>
                  </a:cubicBezTo>
                  <a:cubicBezTo>
                    <a:pt x="10445" y="30283"/>
                    <a:pt x="4327" y="27224"/>
                    <a:pt x="1267" y="24165"/>
                  </a:cubicBezTo>
                  <a:cubicBezTo>
                    <a:pt x="-1792" y="21105"/>
                    <a:pt x="1267" y="14986"/>
                    <a:pt x="4327" y="11927"/>
                  </a:cubicBezTo>
                  <a:cubicBezTo>
                    <a:pt x="41040" y="-12549"/>
                    <a:pt x="77755" y="5807"/>
                    <a:pt x="89992" y="21105"/>
                  </a:cubicBezTo>
                  <a:cubicBezTo>
                    <a:pt x="93052" y="24165"/>
                    <a:pt x="93052" y="30283"/>
                    <a:pt x="89992" y="33343"/>
                  </a:cubicBezTo>
                  <a:cubicBezTo>
                    <a:pt x="93052" y="33343"/>
                    <a:pt x="89992" y="36402"/>
                    <a:pt x="86933" y="36402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910B8633-7B88-469E-A212-89B5308C517D}"/>
                </a:ext>
              </a:extLst>
            </p:cNvPr>
            <p:cNvSpPr/>
            <p:nvPr/>
          </p:nvSpPr>
          <p:spPr>
            <a:xfrm>
              <a:off x="14554327" y="8030538"/>
              <a:ext cx="77854" cy="114449"/>
            </a:xfrm>
            <a:custGeom>
              <a:avLst/>
              <a:gdLst>
                <a:gd name="connsiteX0" fmla="*/ 12238 w 77854"/>
                <a:gd name="connsiteY0" fmla="*/ 16787 h 114449"/>
                <a:gd name="connsiteX1" fmla="*/ 70368 w 77854"/>
                <a:gd name="connsiteY1" fmla="*/ 7609 h 114449"/>
                <a:gd name="connsiteX2" fmla="*/ 12238 w 77854"/>
                <a:gd name="connsiteY2" fmla="*/ 111632 h 114449"/>
                <a:gd name="connsiteX3" fmla="*/ 12238 w 77854"/>
                <a:gd name="connsiteY3" fmla="*/ 16787 h 11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54" h="114449">
                  <a:moveTo>
                    <a:pt x="12238" y="16787"/>
                  </a:moveTo>
                  <a:cubicBezTo>
                    <a:pt x="12238" y="16787"/>
                    <a:pt x="45892" y="-13808"/>
                    <a:pt x="70368" y="7609"/>
                  </a:cubicBezTo>
                  <a:cubicBezTo>
                    <a:pt x="94844" y="25966"/>
                    <a:pt x="55071" y="133048"/>
                    <a:pt x="12238" y="111632"/>
                  </a:cubicBezTo>
                  <a:cubicBezTo>
                    <a:pt x="-15297" y="90215"/>
                    <a:pt x="12238" y="16787"/>
                    <a:pt x="12238" y="16787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2018BB1A-9AFF-4497-834A-7312FD49BC88}"/>
                </a:ext>
              </a:extLst>
            </p:cNvPr>
            <p:cNvSpPr/>
            <p:nvPr/>
          </p:nvSpPr>
          <p:spPr>
            <a:xfrm>
              <a:off x="14122397" y="7659866"/>
              <a:ext cx="515052" cy="405816"/>
            </a:xfrm>
            <a:custGeom>
              <a:avLst/>
              <a:gdLst>
                <a:gd name="connsiteX0" fmla="*/ 450286 w 515052"/>
                <a:gd name="connsiteY0" fmla="*/ 136582 h 405816"/>
                <a:gd name="connsiteX1" fmla="*/ 431930 w 515052"/>
                <a:gd name="connsiteY1" fmla="*/ 96808 h 405816"/>
                <a:gd name="connsiteX2" fmla="*/ 419691 w 515052"/>
                <a:gd name="connsiteY2" fmla="*/ 99868 h 405816"/>
                <a:gd name="connsiteX3" fmla="*/ 389096 w 515052"/>
                <a:gd name="connsiteY3" fmla="*/ 78451 h 405816"/>
                <a:gd name="connsiteX4" fmla="*/ 376858 w 515052"/>
                <a:gd name="connsiteY4" fmla="*/ 60094 h 405816"/>
                <a:gd name="connsiteX5" fmla="*/ 346263 w 515052"/>
                <a:gd name="connsiteY5" fmla="*/ 26440 h 405816"/>
                <a:gd name="connsiteX6" fmla="*/ 312609 w 515052"/>
                <a:gd name="connsiteY6" fmla="*/ 23381 h 405816"/>
                <a:gd name="connsiteX7" fmla="*/ 257538 w 515052"/>
                <a:gd name="connsiteY7" fmla="*/ 8083 h 405816"/>
                <a:gd name="connsiteX8" fmla="*/ 245301 w 515052"/>
                <a:gd name="connsiteY8" fmla="*/ 1964 h 405816"/>
                <a:gd name="connsiteX9" fmla="*/ 119861 w 515052"/>
                <a:gd name="connsiteY9" fmla="*/ 38678 h 405816"/>
                <a:gd name="connsiteX10" fmla="*/ 58671 w 515052"/>
                <a:gd name="connsiteY10" fmla="*/ 60094 h 405816"/>
                <a:gd name="connsiteX11" fmla="*/ 43374 w 515052"/>
                <a:gd name="connsiteY11" fmla="*/ 102927 h 405816"/>
                <a:gd name="connsiteX12" fmla="*/ 25017 w 515052"/>
                <a:gd name="connsiteY12" fmla="*/ 130463 h 405816"/>
                <a:gd name="connsiteX13" fmla="*/ 18898 w 515052"/>
                <a:gd name="connsiteY13" fmla="*/ 167176 h 405816"/>
                <a:gd name="connsiteX14" fmla="*/ 21957 w 515052"/>
                <a:gd name="connsiteY14" fmla="*/ 200831 h 405816"/>
                <a:gd name="connsiteX15" fmla="*/ 3601 w 515052"/>
                <a:gd name="connsiteY15" fmla="*/ 243664 h 405816"/>
                <a:gd name="connsiteX16" fmla="*/ 21957 w 515052"/>
                <a:gd name="connsiteY16" fmla="*/ 341567 h 405816"/>
                <a:gd name="connsiteX17" fmla="*/ 31136 w 515052"/>
                <a:gd name="connsiteY17" fmla="*/ 344627 h 405816"/>
                <a:gd name="connsiteX18" fmla="*/ 40314 w 515052"/>
                <a:gd name="connsiteY18" fmla="*/ 375222 h 405816"/>
                <a:gd name="connsiteX19" fmla="*/ 58671 w 515052"/>
                <a:gd name="connsiteY19" fmla="*/ 320151 h 405816"/>
                <a:gd name="connsiteX20" fmla="*/ 89266 w 515052"/>
                <a:gd name="connsiteY20" fmla="*/ 307913 h 405816"/>
                <a:gd name="connsiteX21" fmla="*/ 107623 w 515052"/>
                <a:gd name="connsiteY21" fmla="*/ 286497 h 405816"/>
                <a:gd name="connsiteX22" fmla="*/ 113742 w 515052"/>
                <a:gd name="connsiteY22" fmla="*/ 277318 h 405816"/>
                <a:gd name="connsiteX23" fmla="*/ 119861 w 515052"/>
                <a:gd name="connsiteY23" fmla="*/ 274259 h 405816"/>
                <a:gd name="connsiteX24" fmla="*/ 125981 w 515052"/>
                <a:gd name="connsiteY24" fmla="*/ 274259 h 405816"/>
                <a:gd name="connsiteX25" fmla="*/ 132099 w 515052"/>
                <a:gd name="connsiteY25" fmla="*/ 271199 h 405816"/>
                <a:gd name="connsiteX26" fmla="*/ 141278 w 515052"/>
                <a:gd name="connsiteY26" fmla="*/ 265080 h 405816"/>
                <a:gd name="connsiteX27" fmla="*/ 153516 w 515052"/>
                <a:gd name="connsiteY27" fmla="*/ 268140 h 405816"/>
                <a:gd name="connsiteX28" fmla="*/ 165754 w 515052"/>
                <a:gd name="connsiteY28" fmla="*/ 268140 h 405816"/>
                <a:gd name="connsiteX29" fmla="*/ 202468 w 515052"/>
                <a:gd name="connsiteY29" fmla="*/ 258961 h 405816"/>
                <a:gd name="connsiteX30" fmla="*/ 254479 w 515052"/>
                <a:gd name="connsiteY30" fmla="*/ 243664 h 405816"/>
                <a:gd name="connsiteX31" fmla="*/ 269776 w 515052"/>
                <a:gd name="connsiteY31" fmla="*/ 252842 h 405816"/>
                <a:gd name="connsiteX32" fmla="*/ 306490 w 515052"/>
                <a:gd name="connsiteY32" fmla="*/ 231426 h 405816"/>
                <a:gd name="connsiteX33" fmla="*/ 318728 w 515052"/>
                <a:gd name="connsiteY33" fmla="*/ 234485 h 405816"/>
                <a:gd name="connsiteX34" fmla="*/ 395215 w 515052"/>
                <a:gd name="connsiteY34" fmla="*/ 262021 h 405816"/>
                <a:gd name="connsiteX35" fmla="*/ 404393 w 515052"/>
                <a:gd name="connsiteY35" fmla="*/ 265080 h 405816"/>
                <a:gd name="connsiteX36" fmla="*/ 456405 w 515052"/>
                <a:gd name="connsiteY36" fmla="*/ 405817 h 405816"/>
                <a:gd name="connsiteX37" fmla="*/ 514535 w 515052"/>
                <a:gd name="connsiteY37" fmla="*/ 304854 h 405816"/>
                <a:gd name="connsiteX38" fmla="*/ 450286 w 515052"/>
                <a:gd name="connsiteY38" fmla="*/ 136582 h 405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5052" h="405816">
                  <a:moveTo>
                    <a:pt x="450286" y="136582"/>
                  </a:moveTo>
                  <a:cubicBezTo>
                    <a:pt x="450286" y="121284"/>
                    <a:pt x="447227" y="105987"/>
                    <a:pt x="431930" y="96808"/>
                  </a:cubicBezTo>
                  <a:cubicBezTo>
                    <a:pt x="416632" y="84570"/>
                    <a:pt x="419691" y="96808"/>
                    <a:pt x="419691" y="99868"/>
                  </a:cubicBezTo>
                  <a:cubicBezTo>
                    <a:pt x="410513" y="93749"/>
                    <a:pt x="401335" y="84570"/>
                    <a:pt x="389096" y="78451"/>
                  </a:cubicBezTo>
                  <a:cubicBezTo>
                    <a:pt x="382978" y="72333"/>
                    <a:pt x="379918" y="66213"/>
                    <a:pt x="376858" y="60094"/>
                  </a:cubicBezTo>
                  <a:cubicBezTo>
                    <a:pt x="367680" y="47857"/>
                    <a:pt x="361561" y="35618"/>
                    <a:pt x="346263" y="26440"/>
                  </a:cubicBezTo>
                  <a:cubicBezTo>
                    <a:pt x="334026" y="20321"/>
                    <a:pt x="324847" y="23381"/>
                    <a:pt x="312609" y="23381"/>
                  </a:cubicBezTo>
                  <a:cubicBezTo>
                    <a:pt x="291193" y="23381"/>
                    <a:pt x="275895" y="17262"/>
                    <a:pt x="257538" y="8083"/>
                  </a:cubicBezTo>
                  <a:cubicBezTo>
                    <a:pt x="254479" y="5023"/>
                    <a:pt x="248360" y="1964"/>
                    <a:pt x="245301" y="1964"/>
                  </a:cubicBezTo>
                  <a:cubicBezTo>
                    <a:pt x="199408" y="-10274"/>
                    <a:pt x="165754" y="38678"/>
                    <a:pt x="119861" y="38678"/>
                  </a:cubicBezTo>
                  <a:cubicBezTo>
                    <a:pt x="95386" y="38678"/>
                    <a:pt x="70909" y="35618"/>
                    <a:pt x="58671" y="60094"/>
                  </a:cubicBezTo>
                  <a:cubicBezTo>
                    <a:pt x="52552" y="75392"/>
                    <a:pt x="52552" y="87630"/>
                    <a:pt x="43374" y="102927"/>
                  </a:cubicBezTo>
                  <a:cubicBezTo>
                    <a:pt x="37255" y="112106"/>
                    <a:pt x="28077" y="121284"/>
                    <a:pt x="25017" y="130463"/>
                  </a:cubicBezTo>
                  <a:cubicBezTo>
                    <a:pt x="18898" y="139641"/>
                    <a:pt x="15839" y="154939"/>
                    <a:pt x="18898" y="167176"/>
                  </a:cubicBezTo>
                  <a:cubicBezTo>
                    <a:pt x="21957" y="185534"/>
                    <a:pt x="31136" y="185534"/>
                    <a:pt x="21957" y="200831"/>
                  </a:cubicBezTo>
                  <a:cubicBezTo>
                    <a:pt x="15839" y="216129"/>
                    <a:pt x="6660" y="228366"/>
                    <a:pt x="3601" y="243664"/>
                  </a:cubicBezTo>
                  <a:cubicBezTo>
                    <a:pt x="-5578" y="277318"/>
                    <a:pt x="3601" y="310972"/>
                    <a:pt x="21957" y="341567"/>
                  </a:cubicBezTo>
                  <a:cubicBezTo>
                    <a:pt x="25017" y="344627"/>
                    <a:pt x="28077" y="344627"/>
                    <a:pt x="31136" y="344627"/>
                  </a:cubicBezTo>
                  <a:cubicBezTo>
                    <a:pt x="34196" y="362984"/>
                    <a:pt x="40314" y="375222"/>
                    <a:pt x="40314" y="375222"/>
                  </a:cubicBezTo>
                  <a:cubicBezTo>
                    <a:pt x="37255" y="356865"/>
                    <a:pt x="43374" y="338508"/>
                    <a:pt x="58671" y="320151"/>
                  </a:cubicBezTo>
                  <a:cubicBezTo>
                    <a:pt x="67850" y="317092"/>
                    <a:pt x="80088" y="314032"/>
                    <a:pt x="89266" y="307913"/>
                  </a:cubicBezTo>
                  <a:cubicBezTo>
                    <a:pt x="98444" y="301794"/>
                    <a:pt x="101504" y="292616"/>
                    <a:pt x="107623" y="286497"/>
                  </a:cubicBezTo>
                  <a:cubicBezTo>
                    <a:pt x="107623" y="283437"/>
                    <a:pt x="110683" y="280378"/>
                    <a:pt x="113742" y="277318"/>
                  </a:cubicBezTo>
                  <a:cubicBezTo>
                    <a:pt x="116802" y="277318"/>
                    <a:pt x="119861" y="274259"/>
                    <a:pt x="119861" y="274259"/>
                  </a:cubicBezTo>
                  <a:cubicBezTo>
                    <a:pt x="122921" y="274259"/>
                    <a:pt x="122921" y="274259"/>
                    <a:pt x="125981" y="274259"/>
                  </a:cubicBezTo>
                  <a:cubicBezTo>
                    <a:pt x="129039" y="271199"/>
                    <a:pt x="129039" y="271199"/>
                    <a:pt x="132099" y="271199"/>
                  </a:cubicBezTo>
                  <a:cubicBezTo>
                    <a:pt x="135159" y="268140"/>
                    <a:pt x="138218" y="268140"/>
                    <a:pt x="141278" y="265080"/>
                  </a:cubicBezTo>
                  <a:cubicBezTo>
                    <a:pt x="144337" y="265080"/>
                    <a:pt x="150456" y="265080"/>
                    <a:pt x="153516" y="268140"/>
                  </a:cubicBezTo>
                  <a:cubicBezTo>
                    <a:pt x="156576" y="268140"/>
                    <a:pt x="162694" y="268140"/>
                    <a:pt x="165754" y="268140"/>
                  </a:cubicBezTo>
                  <a:cubicBezTo>
                    <a:pt x="177991" y="268140"/>
                    <a:pt x="190229" y="265080"/>
                    <a:pt x="202468" y="258961"/>
                  </a:cubicBezTo>
                  <a:cubicBezTo>
                    <a:pt x="220824" y="249783"/>
                    <a:pt x="230003" y="234485"/>
                    <a:pt x="254479" y="243664"/>
                  </a:cubicBezTo>
                  <a:cubicBezTo>
                    <a:pt x="260598" y="246723"/>
                    <a:pt x="263658" y="252842"/>
                    <a:pt x="269776" y="252842"/>
                  </a:cubicBezTo>
                  <a:cubicBezTo>
                    <a:pt x="285074" y="255902"/>
                    <a:pt x="297311" y="243664"/>
                    <a:pt x="306490" y="231426"/>
                  </a:cubicBezTo>
                  <a:cubicBezTo>
                    <a:pt x="309550" y="231426"/>
                    <a:pt x="315668" y="234485"/>
                    <a:pt x="318728" y="234485"/>
                  </a:cubicBezTo>
                  <a:cubicBezTo>
                    <a:pt x="340145" y="249783"/>
                    <a:pt x="367680" y="258961"/>
                    <a:pt x="395215" y="262021"/>
                  </a:cubicBezTo>
                  <a:cubicBezTo>
                    <a:pt x="401335" y="265080"/>
                    <a:pt x="404393" y="265080"/>
                    <a:pt x="404393" y="265080"/>
                  </a:cubicBezTo>
                  <a:cubicBezTo>
                    <a:pt x="404393" y="265080"/>
                    <a:pt x="462525" y="375222"/>
                    <a:pt x="456405" y="405817"/>
                  </a:cubicBezTo>
                  <a:cubicBezTo>
                    <a:pt x="456405" y="405817"/>
                    <a:pt x="499238" y="359924"/>
                    <a:pt x="514535" y="304854"/>
                  </a:cubicBezTo>
                  <a:cubicBezTo>
                    <a:pt x="517595" y="243664"/>
                    <a:pt x="508417" y="157998"/>
                    <a:pt x="450286" y="136582"/>
                  </a:cubicBezTo>
                  <a:close/>
                </a:path>
              </a:pathLst>
            </a:custGeom>
            <a:solidFill>
              <a:srgbClr val="F1DDBA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49440714-5B4B-4F3B-9775-95395385A3EA}"/>
                </a:ext>
              </a:extLst>
            </p:cNvPr>
            <p:cNvSpPr/>
            <p:nvPr/>
          </p:nvSpPr>
          <p:spPr>
            <a:xfrm>
              <a:off x="14511494" y="7808686"/>
              <a:ext cx="68074" cy="241699"/>
            </a:xfrm>
            <a:custGeom>
              <a:avLst/>
              <a:gdLst>
                <a:gd name="connsiteX0" fmla="*/ 55071 w 68074"/>
                <a:gd name="connsiteY0" fmla="*/ 241700 h 241699"/>
                <a:gd name="connsiteX1" fmla="*/ 48952 w 68074"/>
                <a:gd name="connsiteY1" fmla="*/ 235581 h 241699"/>
                <a:gd name="connsiteX2" fmla="*/ 0 w 68074"/>
                <a:gd name="connsiteY2" fmla="*/ 113201 h 241699"/>
                <a:gd name="connsiteX3" fmla="*/ 0 w 68074"/>
                <a:gd name="connsiteY3" fmla="*/ 107082 h 241699"/>
                <a:gd name="connsiteX4" fmla="*/ 3060 w 68074"/>
                <a:gd name="connsiteY4" fmla="*/ 104022 h 241699"/>
                <a:gd name="connsiteX5" fmla="*/ 52012 w 68074"/>
                <a:gd name="connsiteY5" fmla="*/ 64249 h 241699"/>
                <a:gd name="connsiteX6" fmla="*/ 52012 w 68074"/>
                <a:gd name="connsiteY6" fmla="*/ 6119 h 241699"/>
                <a:gd name="connsiteX7" fmla="*/ 55071 w 68074"/>
                <a:gd name="connsiteY7" fmla="*/ 0 h 241699"/>
                <a:gd name="connsiteX8" fmla="*/ 61190 w 68074"/>
                <a:gd name="connsiteY8" fmla="*/ 3059 h 241699"/>
                <a:gd name="connsiteX9" fmla="*/ 61190 w 68074"/>
                <a:gd name="connsiteY9" fmla="*/ 70368 h 241699"/>
                <a:gd name="connsiteX10" fmla="*/ 12239 w 68074"/>
                <a:gd name="connsiteY10" fmla="*/ 113201 h 241699"/>
                <a:gd name="connsiteX11" fmla="*/ 58131 w 68074"/>
                <a:gd name="connsiteY11" fmla="*/ 232521 h 241699"/>
                <a:gd name="connsiteX12" fmla="*/ 55071 w 68074"/>
                <a:gd name="connsiteY12" fmla="*/ 241700 h 241699"/>
                <a:gd name="connsiteX13" fmla="*/ 55071 w 68074"/>
                <a:gd name="connsiteY13" fmla="*/ 241700 h 241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074" h="241699">
                  <a:moveTo>
                    <a:pt x="55071" y="241700"/>
                  </a:moveTo>
                  <a:cubicBezTo>
                    <a:pt x="52012" y="241700"/>
                    <a:pt x="48952" y="238640"/>
                    <a:pt x="48952" y="235581"/>
                  </a:cubicBezTo>
                  <a:cubicBezTo>
                    <a:pt x="42834" y="174391"/>
                    <a:pt x="0" y="116260"/>
                    <a:pt x="0" y="113201"/>
                  </a:cubicBezTo>
                  <a:cubicBezTo>
                    <a:pt x="0" y="110141"/>
                    <a:pt x="0" y="110141"/>
                    <a:pt x="0" y="107082"/>
                  </a:cubicBezTo>
                  <a:cubicBezTo>
                    <a:pt x="0" y="104022"/>
                    <a:pt x="3060" y="104022"/>
                    <a:pt x="3060" y="104022"/>
                  </a:cubicBezTo>
                  <a:cubicBezTo>
                    <a:pt x="3060" y="104022"/>
                    <a:pt x="36714" y="91785"/>
                    <a:pt x="52012" y="64249"/>
                  </a:cubicBezTo>
                  <a:cubicBezTo>
                    <a:pt x="61190" y="48952"/>
                    <a:pt x="61190" y="27535"/>
                    <a:pt x="52012" y="6119"/>
                  </a:cubicBezTo>
                  <a:cubicBezTo>
                    <a:pt x="52012" y="3059"/>
                    <a:pt x="52012" y="0"/>
                    <a:pt x="55071" y="0"/>
                  </a:cubicBezTo>
                  <a:cubicBezTo>
                    <a:pt x="58131" y="0"/>
                    <a:pt x="61190" y="0"/>
                    <a:pt x="61190" y="3059"/>
                  </a:cubicBezTo>
                  <a:cubicBezTo>
                    <a:pt x="70369" y="27535"/>
                    <a:pt x="70369" y="52011"/>
                    <a:pt x="61190" y="70368"/>
                  </a:cubicBezTo>
                  <a:cubicBezTo>
                    <a:pt x="48952" y="94844"/>
                    <a:pt x="24476" y="107082"/>
                    <a:pt x="12239" y="113201"/>
                  </a:cubicBezTo>
                  <a:cubicBezTo>
                    <a:pt x="24476" y="131558"/>
                    <a:pt x="52012" y="180510"/>
                    <a:pt x="58131" y="232521"/>
                  </a:cubicBezTo>
                  <a:cubicBezTo>
                    <a:pt x="61190" y="238640"/>
                    <a:pt x="58131" y="241700"/>
                    <a:pt x="55071" y="241700"/>
                  </a:cubicBezTo>
                  <a:cubicBezTo>
                    <a:pt x="55071" y="241700"/>
                    <a:pt x="55071" y="241700"/>
                    <a:pt x="55071" y="241700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E50D1E8F-78C7-4AFC-B992-A9573CF31D92}"/>
                </a:ext>
              </a:extLst>
            </p:cNvPr>
            <p:cNvSpPr/>
            <p:nvPr/>
          </p:nvSpPr>
          <p:spPr>
            <a:xfrm>
              <a:off x="14302181" y="8234719"/>
              <a:ext cx="116762" cy="32889"/>
            </a:xfrm>
            <a:custGeom>
              <a:avLst/>
              <a:gdLst>
                <a:gd name="connsiteX0" fmla="*/ 37982 w 116762"/>
                <a:gd name="connsiteY0" fmla="*/ 32890 h 32889"/>
                <a:gd name="connsiteX1" fmla="*/ 4327 w 116762"/>
                <a:gd name="connsiteY1" fmla="*/ 29830 h 32889"/>
                <a:gd name="connsiteX2" fmla="*/ 1267 w 116762"/>
                <a:gd name="connsiteY2" fmla="*/ 23711 h 32889"/>
                <a:gd name="connsiteX3" fmla="*/ 7387 w 116762"/>
                <a:gd name="connsiteY3" fmla="*/ 20651 h 32889"/>
                <a:gd name="connsiteX4" fmla="*/ 105290 w 116762"/>
                <a:gd name="connsiteY4" fmla="*/ 2295 h 32889"/>
                <a:gd name="connsiteX5" fmla="*/ 114469 w 116762"/>
                <a:gd name="connsiteY5" fmla="*/ 2295 h 32889"/>
                <a:gd name="connsiteX6" fmla="*/ 114469 w 116762"/>
                <a:gd name="connsiteY6" fmla="*/ 11473 h 32889"/>
                <a:gd name="connsiteX7" fmla="*/ 37982 w 116762"/>
                <a:gd name="connsiteY7" fmla="*/ 32890 h 32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762" h="32889">
                  <a:moveTo>
                    <a:pt x="37982" y="32890"/>
                  </a:moveTo>
                  <a:cubicBezTo>
                    <a:pt x="19624" y="32890"/>
                    <a:pt x="4327" y="29830"/>
                    <a:pt x="4327" y="29830"/>
                  </a:cubicBezTo>
                  <a:cubicBezTo>
                    <a:pt x="1267" y="29830"/>
                    <a:pt x="-1792" y="26770"/>
                    <a:pt x="1267" y="23711"/>
                  </a:cubicBezTo>
                  <a:cubicBezTo>
                    <a:pt x="1267" y="20651"/>
                    <a:pt x="4327" y="17592"/>
                    <a:pt x="7387" y="20651"/>
                  </a:cubicBezTo>
                  <a:cubicBezTo>
                    <a:pt x="7387" y="20651"/>
                    <a:pt x="71635" y="35949"/>
                    <a:pt x="105290" y="2295"/>
                  </a:cubicBezTo>
                  <a:cubicBezTo>
                    <a:pt x="108350" y="-765"/>
                    <a:pt x="111409" y="-765"/>
                    <a:pt x="114469" y="2295"/>
                  </a:cubicBezTo>
                  <a:cubicBezTo>
                    <a:pt x="117528" y="5354"/>
                    <a:pt x="117528" y="8414"/>
                    <a:pt x="114469" y="11473"/>
                  </a:cubicBezTo>
                  <a:cubicBezTo>
                    <a:pt x="93052" y="26770"/>
                    <a:pt x="62457" y="32890"/>
                    <a:pt x="37982" y="32890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291355F4-70E9-4F86-BF61-B730955C6BF1}"/>
                </a:ext>
              </a:extLst>
            </p:cNvPr>
            <p:cNvSpPr/>
            <p:nvPr/>
          </p:nvSpPr>
          <p:spPr>
            <a:xfrm>
              <a:off x="14214724" y="7787145"/>
              <a:ext cx="260056" cy="85789"/>
            </a:xfrm>
            <a:custGeom>
              <a:avLst/>
              <a:gdLst>
                <a:gd name="connsiteX0" fmla="*/ 6118 w 260056"/>
                <a:gd name="connsiteY0" fmla="*/ 85790 h 85789"/>
                <a:gd name="connsiteX1" fmla="*/ 0 w 260056"/>
                <a:gd name="connsiteY1" fmla="*/ 79671 h 85789"/>
                <a:gd name="connsiteX2" fmla="*/ 6118 w 260056"/>
                <a:gd name="connsiteY2" fmla="*/ 73552 h 85789"/>
                <a:gd name="connsiteX3" fmla="*/ 52011 w 260056"/>
                <a:gd name="connsiteY3" fmla="*/ 52135 h 85789"/>
                <a:gd name="connsiteX4" fmla="*/ 61190 w 260056"/>
                <a:gd name="connsiteY4" fmla="*/ 42957 h 85789"/>
                <a:gd name="connsiteX5" fmla="*/ 97903 w 260056"/>
                <a:gd name="connsiteY5" fmla="*/ 21541 h 85789"/>
                <a:gd name="connsiteX6" fmla="*/ 128498 w 260056"/>
                <a:gd name="connsiteY6" fmla="*/ 30719 h 85789"/>
                <a:gd name="connsiteX7" fmla="*/ 156034 w 260056"/>
                <a:gd name="connsiteY7" fmla="*/ 36838 h 85789"/>
                <a:gd name="connsiteX8" fmla="*/ 177450 w 260056"/>
                <a:gd name="connsiteY8" fmla="*/ 21541 h 85789"/>
                <a:gd name="connsiteX9" fmla="*/ 198867 w 260056"/>
                <a:gd name="connsiteY9" fmla="*/ 3183 h 85789"/>
                <a:gd name="connsiteX10" fmla="*/ 238640 w 260056"/>
                <a:gd name="connsiteY10" fmla="*/ 9302 h 85789"/>
                <a:gd name="connsiteX11" fmla="*/ 260057 w 260056"/>
                <a:gd name="connsiteY11" fmla="*/ 42957 h 85789"/>
                <a:gd name="connsiteX12" fmla="*/ 256997 w 260056"/>
                <a:gd name="connsiteY12" fmla="*/ 49076 h 85789"/>
                <a:gd name="connsiteX13" fmla="*/ 250878 w 260056"/>
                <a:gd name="connsiteY13" fmla="*/ 46016 h 85789"/>
                <a:gd name="connsiteX14" fmla="*/ 235580 w 260056"/>
                <a:gd name="connsiteY14" fmla="*/ 18481 h 85789"/>
                <a:gd name="connsiteX15" fmla="*/ 208045 w 260056"/>
                <a:gd name="connsiteY15" fmla="*/ 15421 h 85789"/>
                <a:gd name="connsiteX16" fmla="*/ 189688 w 260056"/>
                <a:gd name="connsiteY16" fmla="*/ 30719 h 85789"/>
                <a:gd name="connsiteX17" fmla="*/ 162153 w 260056"/>
                <a:gd name="connsiteY17" fmla="*/ 49076 h 85789"/>
                <a:gd name="connsiteX18" fmla="*/ 128498 w 260056"/>
                <a:gd name="connsiteY18" fmla="*/ 39897 h 85789"/>
                <a:gd name="connsiteX19" fmla="*/ 104022 w 260056"/>
                <a:gd name="connsiteY19" fmla="*/ 33778 h 85789"/>
                <a:gd name="connsiteX20" fmla="*/ 76487 w 260056"/>
                <a:gd name="connsiteY20" fmla="*/ 52135 h 85789"/>
                <a:gd name="connsiteX21" fmla="*/ 67308 w 260056"/>
                <a:gd name="connsiteY21" fmla="*/ 61314 h 85789"/>
                <a:gd name="connsiteX22" fmla="*/ 6118 w 260056"/>
                <a:gd name="connsiteY22" fmla="*/ 85790 h 85789"/>
                <a:gd name="connsiteX23" fmla="*/ 6118 w 260056"/>
                <a:gd name="connsiteY23" fmla="*/ 85790 h 8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0056" h="85789">
                  <a:moveTo>
                    <a:pt x="6118" y="85790"/>
                  </a:moveTo>
                  <a:cubicBezTo>
                    <a:pt x="3060" y="85790"/>
                    <a:pt x="0" y="82730"/>
                    <a:pt x="0" y="79671"/>
                  </a:cubicBezTo>
                  <a:cubicBezTo>
                    <a:pt x="0" y="76611"/>
                    <a:pt x="3060" y="73552"/>
                    <a:pt x="6118" y="73552"/>
                  </a:cubicBezTo>
                  <a:cubicBezTo>
                    <a:pt x="24476" y="70492"/>
                    <a:pt x="39773" y="64373"/>
                    <a:pt x="52011" y="52135"/>
                  </a:cubicBezTo>
                  <a:cubicBezTo>
                    <a:pt x="55070" y="49076"/>
                    <a:pt x="58130" y="46016"/>
                    <a:pt x="61190" y="42957"/>
                  </a:cubicBezTo>
                  <a:cubicBezTo>
                    <a:pt x="70368" y="33778"/>
                    <a:pt x="82606" y="21541"/>
                    <a:pt x="97903" y="21541"/>
                  </a:cubicBezTo>
                  <a:cubicBezTo>
                    <a:pt x="107082" y="21541"/>
                    <a:pt x="119320" y="24600"/>
                    <a:pt x="128498" y="30719"/>
                  </a:cubicBezTo>
                  <a:cubicBezTo>
                    <a:pt x="137677" y="33778"/>
                    <a:pt x="146855" y="39897"/>
                    <a:pt x="156034" y="36838"/>
                  </a:cubicBezTo>
                  <a:cubicBezTo>
                    <a:pt x="165212" y="33778"/>
                    <a:pt x="171332" y="27659"/>
                    <a:pt x="177450" y="21541"/>
                  </a:cubicBezTo>
                  <a:cubicBezTo>
                    <a:pt x="183569" y="15421"/>
                    <a:pt x="189688" y="9302"/>
                    <a:pt x="198867" y="3183"/>
                  </a:cubicBezTo>
                  <a:cubicBezTo>
                    <a:pt x="211105" y="-2935"/>
                    <a:pt x="226402" y="124"/>
                    <a:pt x="238640" y="9302"/>
                  </a:cubicBezTo>
                  <a:cubicBezTo>
                    <a:pt x="247819" y="15421"/>
                    <a:pt x="256997" y="27659"/>
                    <a:pt x="260057" y="42957"/>
                  </a:cubicBezTo>
                  <a:cubicBezTo>
                    <a:pt x="260057" y="46016"/>
                    <a:pt x="260057" y="49076"/>
                    <a:pt x="256997" y="49076"/>
                  </a:cubicBezTo>
                  <a:cubicBezTo>
                    <a:pt x="253937" y="49076"/>
                    <a:pt x="250878" y="49076"/>
                    <a:pt x="250878" y="46016"/>
                  </a:cubicBezTo>
                  <a:cubicBezTo>
                    <a:pt x="247819" y="33778"/>
                    <a:pt x="241700" y="24600"/>
                    <a:pt x="235580" y="18481"/>
                  </a:cubicBezTo>
                  <a:cubicBezTo>
                    <a:pt x="226402" y="12362"/>
                    <a:pt x="217224" y="12362"/>
                    <a:pt x="208045" y="15421"/>
                  </a:cubicBezTo>
                  <a:cubicBezTo>
                    <a:pt x="201927" y="18481"/>
                    <a:pt x="195807" y="24600"/>
                    <a:pt x="189688" y="30719"/>
                  </a:cubicBezTo>
                  <a:cubicBezTo>
                    <a:pt x="183569" y="39897"/>
                    <a:pt x="174390" y="46016"/>
                    <a:pt x="162153" y="49076"/>
                  </a:cubicBezTo>
                  <a:cubicBezTo>
                    <a:pt x="149915" y="52135"/>
                    <a:pt x="137677" y="46016"/>
                    <a:pt x="128498" y="39897"/>
                  </a:cubicBezTo>
                  <a:cubicBezTo>
                    <a:pt x="119320" y="36838"/>
                    <a:pt x="113201" y="30719"/>
                    <a:pt x="104022" y="33778"/>
                  </a:cubicBezTo>
                  <a:cubicBezTo>
                    <a:pt x="91785" y="33778"/>
                    <a:pt x="85665" y="42957"/>
                    <a:pt x="76487" y="52135"/>
                  </a:cubicBezTo>
                  <a:cubicBezTo>
                    <a:pt x="73428" y="55195"/>
                    <a:pt x="70368" y="58254"/>
                    <a:pt x="67308" y="61314"/>
                  </a:cubicBezTo>
                  <a:cubicBezTo>
                    <a:pt x="45892" y="76611"/>
                    <a:pt x="27535" y="85790"/>
                    <a:pt x="6118" y="85790"/>
                  </a:cubicBezTo>
                  <a:cubicBezTo>
                    <a:pt x="6118" y="85790"/>
                    <a:pt x="6118" y="85790"/>
                    <a:pt x="6118" y="85790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009076F2-A751-478F-8FA7-22005D8D1E16}"/>
                </a:ext>
              </a:extLst>
            </p:cNvPr>
            <p:cNvSpPr/>
            <p:nvPr/>
          </p:nvSpPr>
          <p:spPr>
            <a:xfrm>
              <a:off x="14190247" y="7707115"/>
              <a:ext cx="289886" cy="83213"/>
            </a:xfrm>
            <a:custGeom>
              <a:avLst/>
              <a:gdLst>
                <a:gd name="connsiteX0" fmla="*/ 6119 w 289886"/>
                <a:gd name="connsiteY0" fmla="*/ 83214 h 83213"/>
                <a:gd name="connsiteX1" fmla="*/ 6119 w 289886"/>
                <a:gd name="connsiteY1" fmla="*/ 83214 h 83213"/>
                <a:gd name="connsiteX2" fmla="*/ 0 w 289886"/>
                <a:gd name="connsiteY2" fmla="*/ 77095 h 83213"/>
                <a:gd name="connsiteX3" fmla="*/ 15297 w 289886"/>
                <a:gd name="connsiteY3" fmla="*/ 49559 h 83213"/>
                <a:gd name="connsiteX4" fmla="*/ 76487 w 289886"/>
                <a:gd name="connsiteY4" fmla="*/ 34262 h 83213"/>
                <a:gd name="connsiteX5" fmla="*/ 116261 w 289886"/>
                <a:gd name="connsiteY5" fmla="*/ 15905 h 83213"/>
                <a:gd name="connsiteX6" fmla="*/ 143796 w 289886"/>
                <a:gd name="connsiteY6" fmla="*/ 608 h 83213"/>
                <a:gd name="connsiteX7" fmla="*/ 198867 w 289886"/>
                <a:gd name="connsiteY7" fmla="*/ 12846 h 83213"/>
                <a:gd name="connsiteX8" fmla="*/ 226403 w 289886"/>
                <a:gd name="connsiteY8" fmla="*/ 18964 h 83213"/>
                <a:gd name="connsiteX9" fmla="*/ 287593 w 289886"/>
                <a:gd name="connsiteY9" fmla="*/ 40381 h 83213"/>
                <a:gd name="connsiteX10" fmla="*/ 287593 w 289886"/>
                <a:gd name="connsiteY10" fmla="*/ 49559 h 83213"/>
                <a:gd name="connsiteX11" fmla="*/ 278414 w 289886"/>
                <a:gd name="connsiteY11" fmla="*/ 49559 h 83213"/>
                <a:gd name="connsiteX12" fmla="*/ 232521 w 289886"/>
                <a:gd name="connsiteY12" fmla="*/ 31203 h 83213"/>
                <a:gd name="connsiteX13" fmla="*/ 192748 w 289886"/>
                <a:gd name="connsiteY13" fmla="*/ 25084 h 83213"/>
                <a:gd name="connsiteX14" fmla="*/ 146856 w 289886"/>
                <a:gd name="connsiteY14" fmla="*/ 12846 h 83213"/>
                <a:gd name="connsiteX15" fmla="*/ 122380 w 289886"/>
                <a:gd name="connsiteY15" fmla="*/ 28143 h 83213"/>
                <a:gd name="connsiteX16" fmla="*/ 73429 w 289886"/>
                <a:gd name="connsiteY16" fmla="*/ 49559 h 83213"/>
                <a:gd name="connsiteX17" fmla="*/ 21417 w 289886"/>
                <a:gd name="connsiteY17" fmla="*/ 61798 h 83213"/>
                <a:gd name="connsiteX18" fmla="*/ 9179 w 289886"/>
                <a:gd name="connsiteY18" fmla="*/ 80154 h 83213"/>
                <a:gd name="connsiteX19" fmla="*/ 6119 w 289886"/>
                <a:gd name="connsiteY19" fmla="*/ 83214 h 83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886" h="83213">
                  <a:moveTo>
                    <a:pt x="6119" y="83214"/>
                  </a:moveTo>
                  <a:cubicBezTo>
                    <a:pt x="6119" y="83214"/>
                    <a:pt x="6119" y="83214"/>
                    <a:pt x="6119" y="83214"/>
                  </a:cubicBezTo>
                  <a:cubicBezTo>
                    <a:pt x="3060" y="83214"/>
                    <a:pt x="0" y="80154"/>
                    <a:pt x="0" y="77095"/>
                  </a:cubicBezTo>
                  <a:cubicBezTo>
                    <a:pt x="0" y="64857"/>
                    <a:pt x="6119" y="55679"/>
                    <a:pt x="15297" y="49559"/>
                  </a:cubicBezTo>
                  <a:cubicBezTo>
                    <a:pt x="33655" y="34262"/>
                    <a:pt x="61190" y="34262"/>
                    <a:pt x="76487" y="34262"/>
                  </a:cubicBezTo>
                  <a:cubicBezTo>
                    <a:pt x="85666" y="34262"/>
                    <a:pt x="104023" y="25084"/>
                    <a:pt x="116261" y="15905"/>
                  </a:cubicBezTo>
                  <a:cubicBezTo>
                    <a:pt x="128499" y="6727"/>
                    <a:pt x="137677" y="608"/>
                    <a:pt x="143796" y="608"/>
                  </a:cubicBezTo>
                  <a:cubicBezTo>
                    <a:pt x="168272" y="-2452"/>
                    <a:pt x="183569" y="6727"/>
                    <a:pt x="198867" y="12846"/>
                  </a:cubicBezTo>
                  <a:cubicBezTo>
                    <a:pt x="211106" y="18964"/>
                    <a:pt x="217224" y="22024"/>
                    <a:pt x="226403" y="18964"/>
                  </a:cubicBezTo>
                  <a:cubicBezTo>
                    <a:pt x="256998" y="3667"/>
                    <a:pt x="284533" y="37322"/>
                    <a:pt x="287593" y="40381"/>
                  </a:cubicBezTo>
                  <a:cubicBezTo>
                    <a:pt x="290652" y="43440"/>
                    <a:pt x="290652" y="46500"/>
                    <a:pt x="287593" y="49559"/>
                  </a:cubicBezTo>
                  <a:cubicBezTo>
                    <a:pt x="284533" y="52619"/>
                    <a:pt x="281473" y="52619"/>
                    <a:pt x="278414" y="49559"/>
                  </a:cubicBezTo>
                  <a:cubicBezTo>
                    <a:pt x="278414" y="49559"/>
                    <a:pt x="253938" y="22024"/>
                    <a:pt x="232521" y="31203"/>
                  </a:cubicBezTo>
                  <a:cubicBezTo>
                    <a:pt x="217224" y="40381"/>
                    <a:pt x="204986" y="31203"/>
                    <a:pt x="192748" y="25084"/>
                  </a:cubicBezTo>
                  <a:cubicBezTo>
                    <a:pt x="180511" y="18964"/>
                    <a:pt x="168272" y="9786"/>
                    <a:pt x="146856" y="12846"/>
                  </a:cubicBezTo>
                  <a:cubicBezTo>
                    <a:pt x="140737" y="12846"/>
                    <a:pt x="131559" y="18964"/>
                    <a:pt x="122380" y="28143"/>
                  </a:cubicBezTo>
                  <a:cubicBezTo>
                    <a:pt x="107082" y="40381"/>
                    <a:pt x="88726" y="52619"/>
                    <a:pt x="73429" y="49559"/>
                  </a:cubicBezTo>
                  <a:cubicBezTo>
                    <a:pt x="61190" y="46500"/>
                    <a:pt x="36714" y="49559"/>
                    <a:pt x="21417" y="61798"/>
                  </a:cubicBezTo>
                  <a:cubicBezTo>
                    <a:pt x="15297" y="67916"/>
                    <a:pt x="12239" y="74035"/>
                    <a:pt x="9179" y="80154"/>
                  </a:cubicBezTo>
                  <a:cubicBezTo>
                    <a:pt x="12239" y="80154"/>
                    <a:pt x="9179" y="83214"/>
                    <a:pt x="6119" y="83214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70901607-83FA-4C25-BA93-914F71282A08}"/>
                </a:ext>
              </a:extLst>
            </p:cNvPr>
            <p:cNvSpPr/>
            <p:nvPr/>
          </p:nvSpPr>
          <p:spPr>
            <a:xfrm>
              <a:off x="18308322" y="9323133"/>
              <a:ext cx="177450" cy="168271"/>
            </a:xfrm>
            <a:custGeom>
              <a:avLst/>
              <a:gdLst>
                <a:gd name="connsiteX0" fmla="*/ 143795 w 177450"/>
                <a:gd name="connsiteY0" fmla="*/ 0 h 168271"/>
                <a:gd name="connsiteX1" fmla="*/ 0 w 177450"/>
                <a:gd name="connsiteY1" fmla="*/ 24476 h 168271"/>
                <a:gd name="connsiteX2" fmla="*/ 0 w 177450"/>
                <a:gd name="connsiteY2" fmla="*/ 168272 h 168271"/>
                <a:gd name="connsiteX3" fmla="*/ 177450 w 177450"/>
                <a:gd name="connsiteY3" fmla="*/ 149915 h 16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450" h="168271">
                  <a:moveTo>
                    <a:pt x="143795" y="0"/>
                  </a:moveTo>
                  <a:lnTo>
                    <a:pt x="0" y="24476"/>
                  </a:lnTo>
                  <a:lnTo>
                    <a:pt x="0" y="168272"/>
                  </a:lnTo>
                  <a:lnTo>
                    <a:pt x="177450" y="149915"/>
                  </a:ln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10EB9431-3BAD-48CE-9E29-7F8F080D8AA6}"/>
                </a:ext>
              </a:extLst>
            </p:cNvPr>
            <p:cNvSpPr/>
            <p:nvPr/>
          </p:nvSpPr>
          <p:spPr>
            <a:xfrm>
              <a:off x="16926920" y="8663922"/>
              <a:ext cx="823462" cy="989726"/>
            </a:xfrm>
            <a:custGeom>
              <a:avLst/>
              <a:gdLst>
                <a:gd name="connsiteX0" fmla="*/ 44404 w 823462"/>
                <a:gd name="connsiteY0" fmla="*/ 393035 h 989726"/>
                <a:gd name="connsiteX1" fmla="*/ 59702 w 823462"/>
                <a:gd name="connsiteY1" fmla="*/ 68730 h 989726"/>
                <a:gd name="connsiteX2" fmla="*/ 429899 w 823462"/>
                <a:gd name="connsiteY2" fmla="*/ 4480 h 989726"/>
                <a:gd name="connsiteX3" fmla="*/ 732790 w 823462"/>
                <a:gd name="connsiteY3" fmla="*/ 105444 h 989726"/>
                <a:gd name="connsiteX4" fmla="*/ 772563 w 823462"/>
                <a:gd name="connsiteY4" fmla="*/ 656152 h 989726"/>
                <a:gd name="connsiteX5" fmla="*/ 729730 w 823462"/>
                <a:gd name="connsiteY5" fmla="*/ 983518 h 989726"/>
                <a:gd name="connsiteX6" fmla="*/ 50523 w 823462"/>
                <a:gd name="connsiteY6" fmla="*/ 968220 h 989726"/>
                <a:gd name="connsiteX7" fmla="*/ 44404 w 823462"/>
                <a:gd name="connsiteY7" fmla="*/ 393035 h 989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3462" h="989726">
                  <a:moveTo>
                    <a:pt x="44404" y="393035"/>
                  </a:moveTo>
                  <a:cubicBezTo>
                    <a:pt x="35225" y="362441"/>
                    <a:pt x="-59619" y="132979"/>
                    <a:pt x="59702" y="68730"/>
                  </a:cubicBezTo>
                  <a:cubicBezTo>
                    <a:pt x="163724" y="13659"/>
                    <a:pt x="310580" y="-10817"/>
                    <a:pt x="429899" y="4480"/>
                  </a:cubicBezTo>
                  <a:cubicBezTo>
                    <a:pt x="561458" y="19778"/>
                    <a:pt x="693016" y="41194"/>
                    <a:pt x="732790" y="105444"/>
                  </a:cubicBezTo>
                  <a:cubicBezTo>
                    <a:pt x="845990" y="292073"/>
                    <a:pt x="845990" y="457285"/>
                    <a:pt x="772563" y="656152"/>
                  </a:cubicBezTo>
                  <a:cubicBezTo>
                    <a:pt x="751146" y="714282"/>
                    <a:pt x="745027" y="848900"/>
                    <a:pt x="729730" y="983518"/>
                  </a:cubicBezTo>
                  <a:cubicBezTo>
                    <a:pt x="729730" y="983518"/>
                    <a:pt x="445197" y="1004933"/>
                    <a:pt x="50523" y="968220"/>
                  </a:cubicBezTo>
                  <a:cubicBezTo>
                    <a:pt x="81118" y="747936"/>
                    <a:pt x="53583" y="417511"/>
                    <a:pt x="44404" y="393035"/>
                  </a:cubicBezTo>
                  <a:close/>
                </a:path>
              </a:pathLst>
            </a:custGeom>
            <a:solidFill>
              <a:srgbClr val="F6EBE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6F006C6B-8FA4-46AE-942F-1D67FB7AA5BC}"/>
                </a:ext>
              </a:extLst>
            </p:cNvPr>
            <p:cNvSpPr/>
            <p:nvPr/>
          </p:nvSpPr>
          <p:spPr>
            <a:xfrm>
              <a:off x="17267706" y="7968115"/>
              <a:ext cx="322408" cy="592840"/>
            </a:xfrm>
            <a:custGeom>
              <a:avLst/>
              <a:gdLst>
                <a:gd name="connsiteX0" fmla="*/ 144184 w 322408"/>
                <a:gd name="connsiteY0" fmla="*/ 577907 h 592840"/>
                <a:gd name="connsiteX1" fmla="*/ 321634 w 322408"/>
                <a:gd name="connsiteY1" fmla="*/ 232185 h 592840"/>
                <a:gd name="connsiteX2" fmla="*/ 388 w 322408"/>
                <a:gd name="connsiteY2" fmla="*/ 8842 h 592840"/>
                <a:gd name="connsiteX3" fmla="*/ 37102 w 322408"/>
                <a:gd name="connsiteY3" fmla="*/ 177114 h 592840"/>
                <a:gd name="connsiteX4" fmla="*/ 86054 w 322408"/>
                <a:gd name="connsiteY4" fmla="*/ 320910 h 592840"/>
                <a:gd name="connsiteX5" fmla="*/ 144184 w 322408"/>
                <a:gd name="connsiteY5" fmla="*/ 577907 h 59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2408" h="592840">
                  <a:moveTo>
                    <a:pt x="144184" y="577907"/>
                  </a:moveTo>
                  <a:cubicBezTo>
                    <a:pt x="300219" y="547312"/>
                    <a:pt x="327754" y="296434"/>
                    <a:pt x="321634" y="232185"/>
                  </a:cubicBezTo>
                  <a:cubicBezTo>
                    <a:pt x="300219" y="66972"/>
                    <a:pt x="116649" y="-30931"/>
                    <a:pt x="388" y="8842"/>
                  </a:cubicBezTo>
                  <a:cubicBezTo>
                    <a:pt x="-2672" y="8842"/>
                    <a:pt x="12626" y="128162"/>
                    <a:pt x="37102" y="177114"/>
                  </a:cubicBezTo>
                  <a:cubicBezTo>
                    <a:pt x="58518" y="223007"/>
                    <a:pt x="76875" y="271958"/>
                    <a:pt x="86054" y="320910"/>
                  </a:cubicBezTo>
                  <a:cubicBezTo>
                    <a:pt x="95232" y="375981"/>
                    <a:pt x="46280" y="660513"/>
                    <a:pt x="144184" y="577907"/>
                  </a:cubicBezTo>
                  <a:close/>
                </a:path>
              </a:pathLst>
            </a:custGeom>
            <a:solidFill>
              <a:srgbClr val="664241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7FFE0C0-DA0A-4E01-8252-7C42717F455A}"/>
                </a:ext>
              </a:extLst>
            </p:cNvPr>
            <p:cNvSpPr/>
            <p:nvPr/>
          </p:nvSpPr>
          <p:spPr>
            <a:xfrm>
              <a:off x="17099822" y="8025016"/>
              <a:ext cx="424082" cy="570279"/>
            </a:xfrm>
            <a:custGeom>
              <a:avLst/>
              <a:gdLst>
                <a:gd name="connsiteX0" fmla="*/ 416091 w 424082"/>
                <a:gd name="connsiteY0" fmla="*/ 184462 h 570279"/>
                <a:gd name="connsiteX1" fmla="*/ 403853 w 424082"/>
                <a:gd name="connsiteY1" fmla="*/ 441460 h 570279"/>
                <a:gd name="connsiteX2" fmla="*/ 253938 w 424082"/>
                <a:gd name="connsiteY2" fmla="*/ 569958 h 570279"/>
                <a:gd name="connsiteX3" fmla="*/ 36714 w 424082"/>
                <a:gd name="connsiteY3" fmla="*/ 426162 h 570279"/>
                <a:gd name="connsiteX4" fmla="*/ 0 w 424082"/>
                <a:gd name="connsiteY4" fmla="*/ 199760 h 570279"/>
                <a:gd name="connsiteX5" fmla="*/ 214164 w 424082"/>
                <a:gd name="connsiteY5" fmla="*/ 893 h 570279"/>
                <a:gd name="connsiteX6" fmla="*/ 416091 w 424082"/>
                <a:gd name="connsiteY6" fmla="*/ 184462 h 570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082" h="570279">
                  <a:moveTo>
                    <a:pt x="416091" y="184462"/>
                  </a:moveTo>
                  <a:cubicBezTo>
                    <a:pt x="416091" y="184462"/>
                    <a:pt x="440566" y="374151"/>
                    <a:pt x="403853" y="441460"/>
                  </a:cubicBezTo>
                  <a:cubicBezTo>
                    <a:pt x="367139" y="508768"/>
                    <a:pt x="305949" y="566899"/>
                    <a:pt x="253938" y="569958"/>
                  </a:cubicBezTo>
                  <a:cubicBezTo>
                    <a:pt x="186629" y="576077"/>
                    <a:pt x="73428" y="493471"/>
                    <a:pt x="36714" y="426162"/>
                  </a:cubicBezTo>
                  <a:cubicBezTo>
                    <a:pt x="0" y="358853"/>
                    <a:pt x="0" y="251771"/>
                    <a:pt x="0" y="199760"/>
                  </a:cubicBezTo>
                  <a:cubicBezTo>
                    <a:pt x="3060" y="104916"/>
                    <a:pt x="30595" y="25369"/>
                    <a:pt x="214164" y="893"/>
                  </a:cubicBezTo>
                  <a:cubicBezTo>
                    <a:pt x="299831" y="-11345"/>
                    <a:pt x="394674" y="104916"/>
                    <a:pt x="416091" y="184462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64BE2E60-6154-4B67-ADBC-036948CA7297}"/>
                </a:ext>
              </a:extLst>
            </p:cNvPr>
            <p:cNvSpPr/>
            <p:nvPr/>
          </p:nvSpPr>
          <p:spPr>
            <a:xfrm>
              <a:off x="17326224" y="8298204"/>
              <a:ext cx="55071" cy="131557"/>
            </a:xfrm>
            <a:custGeom>
              <a:avLst/>
              <a:gdLst>
                <a:gd name="connsiteX0" fmla="*/ 30595 w 55071"/>
                <a:gd name="connsiteY0" fmla="*/ 131558 h 131557"/>
                <a:gd name="connsiteX1" fmla="*/ 6119 w 55071"/>
                <a:gd name="connsiteY1" fmla="*/ 128498 h 131557"/>
                <a:gd name="connsiteX2" fmla="*/ 0 w 55071"/>
                <a:gd name="connsiteY2" fmla="*/ 122380 h 131557"/>
                <a:gd name="connsiteX3" fmla="*/ 6119 w 55071"/>
                <a:gd name="connsiteY3" fmla="*/ 116260 h 131557"/>
                <a:gd name="connsiteX4" fmla="*/ 45892 w 55071"/>
                <a:gd name="connsiteY4" fmla="*/ 116260 h 131557"/>
                <a:gd name="connsiteX5" fmla="*/ 45892 w 55071"/>
                <a:gd name="connsiteY5" fmla="*/ 113201 h 131557"/>
                <a:gd name="connsiteX6" fmla="*/ 18357 w 55071"/>
                <a:gd name="connsiteY6" fmla="*/ 6119 h 131557"/>
                <a:gd name="connsiteX7" fmla="*/ 21417 w 55071"/>
                <a:gd name="connsiteY7" fmla="*/ 0 h 131557"/>
                <a:gd name="connsiteX8" fmla="*/ 27536 w 55071"/>
                <a:gd name="connsiteY8" fmla="*/ 3059 h 131557"/>
                <a:gd name="connsiteX9" fmla="*/ 55071 w 55071"/>
                <a:gd name="connsiteY9" fmla="*/ 113201 h 131557"/>
                <a:gd name="connsiteX10" fmla="*/ 48952 w 55071"/>
                <a:gd name="connsiteY10" fmla="*/ 125439 h 131557"/>
                <a:gd name="connsiteX11" fmla="*/ 30595 w 55071"/>
                <a:gd name="connsiteY11" fmla="*/ 131558 h 131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071" h="131557">
                  <a:moveTo>
                    <a:pt x="30595" y="131558"/>
                  </a:moveTo>
                  <a:cubicBezTo>
                    <a:pt x="18357" y="131558"/>
                    <a:pt x="9179" y="128498"/>
                    <a:pt x="6119" y="128498"/>
                  </a:cubicBezTo>
                  <a:cubicBezTo>
                    <a:pt x="3060" y="128498"/>
                    <a:pt x="0" y="125439"/>
                    <a:pt x="0" y="122380"/>
                  </a:cubicBezTo>
                  <a:cubicBezTo>
                    <a:pt x="0" y="119320"/>
                    <a:pt x="3060" y="116260"/>
                    <a:pt x="6119" y="116260"/>
                  </a:cubicBezTo>
                  <a:cubicBezTo>
                    <a:pt x="18357" y="119320"/>
                    <a:pt x="39774" y="119320"/>
                    <a:pt x="45892" y="116260"/>
                  </a:cubicBezTo>
                  <a:cubicBezTo>
                    <a:pt x="45892" y="116260"/>
                    <a:pt x="45892" y="113201"/>
                    <a:pt x="45892" y="113201"/>
                  </a:cubicBezTo>
                  <a:cubicBezTo>
                    <a:pt x="45892" y="97904"/>
                    <a:pt x="24476" y="30595"/>
                    <a:pt x="18357" y="6119"/>
                  </a:cubicBezTo>
                  <a:cubicBezTo>
                    <a:pt x="18357" y="3059"/>
                    <a:pt x="18357" y="0"/>
                    <a:pt x="21417" y="0"/>
                  </a:cubicBezTo>
                  <a:cubicBezTo>
                    <a:pt x="24476" y="0"/>
                    <a:pt x="27536" y="0"/>
                    <a:pt x="27536" y="3059"/>
                  </a:cubicBezTo>
                  <a:cubicBezTo>
                    <a:pt x="27536" y="6119"/>
                    <a:pt x="55071" y="91785"/>
                    <a:pt x="55071" y="113201"/>
                  </a:cubicBezTo>
                  <a:cubicBezTo>
                    <a:pt x="55071" y="119320"/>
                    <a:pt x="52012" y="122380"/>
                    <a:pt x="48952" y="125439"/>
                  </a:cubicBezTo>
                  <a:cubicBezTo>
                    <a:pt x="48952" y="128498"/>
                    <a:pt x="39774" y="131558"/>
                    <a:pt x="30595" y="131558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68181297-928E-472C-8940-4CE811C9EC15}"/>
                </a:ext>
              </a:extLst>
            </p:cNvPr>
            <p:cNvSpPr/>
            <p:nvPr/>
          </p:nvSpPr>
          <p:spPr>
            <a:xfrm>
              <a:off x="17298689" y="8478714"/>
              <a:ext cx="107082" cy="55070"/>
            </a:xfrm>
            <a:custGeom>
              <a:avLst/>
              <a:gdLst>
                <a:gd name="connsiteX0" fmla="*/ 0 w 107082"/>
                <a:gd name="connsiteY0" fmla="*/ 0 h 55070"/>
                <a:gd name="connsiteX1" fmla="*/ 107082 w 107082"/>
                <a:gd name="connsiteY1" fmla="*/ 0 h 55070"/>
                <a:gd name="connsiteX2" fmla="*/ 55071 w 107082"/>
                <a:gd name="connsiteY2" fmla="*/ 55071 h 55070"/>
                <a:gd name="connsiteX3" fmla="*/ 0 w 107082"/>
                <a:gd name="connsiteY3" fmla="*/ 0 h 5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082" h="55070">
                  <a:moveTo>
                    <a:pt x="0" y="0"/>
                  </a:moveTo>
                  <a:cubicBezTo>
                    <a:pt x="55071" y="24476"/>
                    <a:pt x="107082" y="0"/>
                    <a:pt x="107082" y="0"/>
                  </a:cubicBezTo>
                  <a:cubicBezTo>
                    <a:pt x="107082" y="0"/>
                    <a:pt x="91785" y="55071"/>
                    <a:pt x="55071" y="55071"/>
                  </a:cubicBezTo>
                  <a:cubicBezTo>
                    <a:pt x="12238" y="5201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06B40064-B762-4913-A769-30963DA0969E}"/>
                </a:ext>
              </a:extLst>
            </p:cNvPr>
            <p:cNvSpPr/>
            <p:nvPr/>
          </p:nvSpPr>
          <p:spPr>
            <a:xfrm>
              <a:off x="17417230" y="8267009"/>
              <a:ext cx="41333" cy="40973"/>
            </a:xfrm>
            <a:custGeom>
              <a:avLst/>
              <a:gdLst>
                <a:gd name="connsiteX0" fmla="*/ 779 w 41333"/>
                <a:gd name="connsiteY0" fmla="*/ 25076 h 40973"/>
                <a:gd name="connsiteX1" fmla="*/ 25256 w 41333"/>
                <a:gd name="connsiteY1" fmla="*/ 40373 h 40973"/>
                <a:gd name="connsiteX2" fmla="*/ 40553 w 41333"/>
                <a:gd name="connsiteY2" fmla="*/ 15898 h 40973"/>
                <a:gd name="connsiteX3" fmla="*/ 16077 w 41333"/>
                <a:gd name="connsiteY3" fmla="*/ 600 h 40973"/>
                <a:gd name="connsiteX4" fmla="*/ 779 w 41333"/>
                <a:gd name="connsiteY4" fmla="*/ 25076 h 40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33" h="40973">
                  <a:moveTo>
                    <a:pt x="779" y="25076"/>
                  </a:moveTo>
                  <a:cubicBezTo>
                    <a:pt x="3839" y="34254"/>
                    <a:pt x="13018" y="43433"/>
                    <a:pt x="25256" y="40373"/>
                  </a:cubicBezTo>
                  <a:cubicBezTo>
                    <a:pt x="37494" y="37314"/>
                    <a:pt x="43613" y="28135"/>
                    <a:pt x="40553" y="15898"/>
                  </a:cubicBezTo>
                  <a:cubicBezTo>
                    <a:pt x="37494" y="6719"/>
                    <a:pt x="28316" y="-2459"/>
                    <a:pt x="16077" y="600"/>
                  </a:cubicBezTo>
                  <a:cubicBezTo>
                    <a:pt x="3839" y="3659"/>
                    <a:pt x="-2279" y="15898"/>
                    <a:pt x="779" y="2507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E0101F52-7B78-4AC6-8359-CD6A81733F16}"/>
                </a:ext>
              </a:extLst>
            </p:cNvPr>
            <p:cNvSpPr/>
            <p:nvPr/>
          </p:nvSpPr>
          <p:spPr>
            <a:xfrm>
              <a:off x="17227542" y="8273128"/>
              <a:ext cx="41332" cy="41153"/>
            </a:xfrm>
            <a:custGeom>
              <a:avLst/>
              <a:gdLst>
                <a:gd name="connsiteX0" fmla="*/ 780 w 41332"/>
                <a:gd name="connsiteY0" fmla="*/ 25076 h 41153"/>
                <a:gd name="connsiteX1" fmla="*/ 25255 w 41332"/>
                <a:gd name="connsiteY1" fmla="*/ 40374 h 41153"/>
                <a:gd name="connsiteX2" fmla="*/ 40553 w 41332"/>
                <a:gd name="connsiteY2" fmla="*/ 15898 h 41153"/>
                <a:gd name="connsiteX3" fmla="*/ 16077 w 41332"/>
                <a:gd name="connsiteY3" fmla="*/ 600 h 41153"/>
                <a:gd name="connsiteX4" fmla="*/ 780 w 41332"/>
                <a:gd name="connsiteY4" fmla="*/ 25076 h 4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32" h="41153">
                  <a:moveTo>
                    <a:pt x="780" y="25076"/>
                  </a:moveTo>
                  <a:cubicBezTo>
                    <a:pt x="3839" y="37314"/>
                    <a:pt x="13017" y="43433"/>
                    <a:pt x="25255" y="40374"/>
                  </a:cubicBezTo>
                  <a:cubicBezTo>
                    <a:pt x="37493" y="37314"/>
                    <a:pt x="43612" y="28135"/>
                    <a:pt x="40553" y="15898"/>
                  </a:cubicBezTo>
                  <a:cubicBezTo>
                    <a:pt x="37493" y="6719"/>
                    <a:pt x="28315" y="-2459"/>
                    <a:pt x="16077" y="600"/>
                  </a:cubicBezTo>
                  <a:cubicBezTo>
                    <a:pt x="3839" y="3659"/>
                    <a:pt x="-2280" y="15898"/>
                    <a:pt x="780" y="2507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64E81749-DFCD-4B63-B5E4-CDD3D99450D5}"/>
                </a:ext>
              </a:extLst>
            </p:cNvPr>
            <p:cNvSpPr/>
            <p:nvPr/>
          </p:nvSpPr>
          <p:spPr>
            <a:xfrm>
              <a:off x="17392266" y="8221717"/>
              <a:ext cx="92287" cy="30595"/>
            </a:xfrm>
            <a:custGeom>
              <a:avLst/>
              <a:gdLst>
                <a:gd name="connsiteX0" fmla="*/ 83874 w 92287"/>
                <a:gd name="connsiteY0" fmla="*/ 30595 h 30595"/>
                <a:gd name="connsiteX1" fmla="*/ 77755 w 92287"/>
                <a:gd name="connsiteY1" fmla="*/ 27535 h 30595"/>
                <a:gd name="connsiteX2" fmla="*/ 10445 w 92287"/>
                <a:gd name="connsiteY2" fmla="*/ 21416 h 30595"/>
                <a:gd name="connsiteX3" fmla="*/ 1267 w 92287"/>
                <a:gd name="connsiteY3" fmla="*/ 18357 h 30595"/>
                <a:gd name="connsiteX4" fmla="*/ 4327 w 92287"/>
                <a:gd name="connsiteY4" fmla="*/ 9178 h 30595"/>
                <a:gd name="connsiteX5" fmla="*/ 89992 w 92287"/>
                <a:gd name="connsiteY5" fmla="*/ 18357 h 30595"/>
                <a:gd name="connsiteX6" fmla="*/ 89992 w 92287"/>
                <a:gd name="connsiteY6" fmla="*/ 30595 h 30595"/>
                <a:gd name="connsiteX7" fmla="*/ 83874 w 92287"/>
                <a:gd name="connsiteY7" fmla="*/ 30595 h 30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87" h="30595">
                  <a:moveTo>
                    <a:pt x="83874" y="30595"/>
                  </a:moveTo>
                  <a:cubicBezTo>
                    <a:pt x="80814" y="30595"/>
                    <a:pt x="80814" y="30595"/>
                    <a:pt x="77755" y="27535"/>
                  </a:cubicBezTo>
                  <a:cubicBezTo>
                    <a:pt x="53279" y="0"/>
                    <a:pt x="10445" y="21416"/>
                    <a:pt x="10445" y="21416"/>
                  </a:cubicBezTo>
                  <a:cubicBezTo>
                    <a:pt x="7387" y="24476"/>
                    <a:pt x="1267" y="21416"/>
                    <a:pt x="1267" y="18357"/>
                  </a:cubicBezTo>
                  <a:cubicBezTo>
                    <a:pt x="-1792" y="15298"/>
                    <a:pt x="1267" y="9178"/>
                    <a:pt x="4327" y="9178"/>
                  </a:cubicBezTo>
                  <a:cubicBezTo>
                    <a:pt x="22684" y="0"/>
                    <a:pt x="62457" y="-9178"/>
                    <a:pt x="89992" y="18357"/>
                  </a:cubicBezTo>
                  <a:cubicBezTo>
                    <a:pt x="93052" y="21416"/>
                    <a:pt x="93052" y="27535"/>
                    <a:pt x="89992" y="30595"/>
                  </a:cubicBezTo>
                  <a:cubicBezTo>
                    <a:pt x="86933" y="30595"/>
                    <a:pt x="83874" y="30595"/>
                    <a:pt x="83874" y="30595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8CF601E3-1BD3-4297-B897-99008CABDCCA}"/>
                </a:ext>
              </a:extLst>
            </p:cNvPr>
            <p:cNvSpPr/>
            <p:nvPr/>
          </p:nvSpPr>
          <p:spPr>
            <a:xfrm>
              <a:off x="17198491" y="8219677"/>
              <a:ext cx="92287" cy="35693"/>
            </a:xfrm>
            <a:custGeom>
              <a:avLst/>
              <a:gdLst>
                <a:gd name="connsiteX0" fmla="*/ 8413 w 92287"/>
                <a:gd name="connsiteY0" fmla="*/ 35694 h 35693"/>
                <a:gd name="connsiteX1" fmla="*/ 2295 w 92287"/>
                <a:gd name="connsiteY1" fmla="*/ 32635 h 35693"/>
                <a:gd name="connsiteX2" fmla="*/ 2295 w 92287"/>
                <a:gd name="connsiteY2" fmla="*/ 20396 h 35693"/>
                <a:gd name="connsiteX3" fmla="*/ 87960 w 92287"/>
                <a:gd name="connsiteY3" fmla="*/ 11218 h 35693"/>
                <a:gd name="connsiteX4" fmla="*/ 91020 w 92287"/>
                <a:gd name="connsiteY4" fmla="*/ 23456 h 35693"/>
                <a:gd name="connsiteX5" fmla="*/ 78782 w 92287"/>
                <a:gd name="connsiteY5" fmla="*/ 26515 h 35693"/>
                <a:gd name="connsiteX6" fmla="*/ 11473 w 92287"/>
                <a:gd name="connsiteY6" fmla="*/ 32635 h 35693"/>
                <a:gd name="connsiteX7" fmla="*/ 8413 w 92287"/>
                <a:gd name="connsiteY7" fmla="*/ 35694 h 3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87" h="35693">
                  <a:moveTo>
                    <a:pt x="8413" y="35694"/>
                  </a:moveTo>
                  <a:cubicBezTo>
                    <a:pt x="5354" y="35694"/>
                    <a:pt x="5354" y="35694"/>
                    <a:pt x="2295" y="32635"/>
                  </a:cubicBezTo>
                  <a:cubicBezTo>
                    <a:pt x="-765" y="29575"/>
                    <a:pt x="-765" y="23456"/>
                    <a:pt x="2295" y="20396"/>
                  </a:cubicBezTo>
                  <a:cubicBezTo>
                    <a:pt x="14533" y="8159"/>
                    <a:pt x="51246" y="-13258"/>
                    <a:pt x="87960" y="11218"/>
                  </a:cubicBezTo>
                  <a:cubicBezTo>
                    <a:pt x="91020" y="14278"/>
                    <a:pt x="94079" y="17337"/>
                    <a:pt x="91020" y="23456"/>
                  </a:cubicBezTo>
                  <a:cubicBezTo>
                    <a:pt x="87960" y="26515"/>
                    <a:pt x="84900" y="29575"/>
                    <a:pt x="78782" y="26515"/>
                  </a:cubicBezTo>
                  <a:cubicBezTo>
                    <a:pt x="42068" y="2040"/>
                    <a:pt x="14533" y="32635"/>
                    <a:pt x="11473" y="32635"/>
                  </a:cubicBezTo>
                  <a:cubicBezTo>
                    <a:pt x="14533" y="32635"/>
                    <a:pt x="11473" y="35694"/>
                    <a:pt x="8413" y="35694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89AC515A-31EB-4381-9267-992479B3CE70}"/>
                </a:ext>
              </a:extLst>
            </p:cNvPr>
            <p:cNvSpPr/>
            <p:nvPr/>
          </p:nvSpPr>
          <p:spPr>
            <a:xfrm>
              <a:off x="17264951" y="7974807"/>
              <a:ext cx="275784" cy="277504"/>
            </a:xfrm>
            <a:custGeom>
              <a:avLst/>
              <a:gdLst>
                <a:gd name="connsiteX0" fmla="*/ 3143 w 275784"/>
                <a:gd name="connsiteY0" fmla="*/ 2151 h 277504"/>
                <a:gd name="connsiteX1" fmla="*/ 36798 w 275784"/>
                <a:gd name="connsiteY1" fmla="*/ 149006 h 277504"/>
                <a:gd name="connsiteX2" fmla="*/ 275438 w 275784"/>
                <a:gd name="connsiteY2" fmla="*/ 277505 h 277504"/>
                <a:gd name="connsiteX3" fmla="*/ 3143 w 275784"/>
                <a:gd name="connsiteY3" fmla="*/ 2151 h 277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784" h="277504">
                  <a:moveTo>
                    <a:pt x="3143" y="2151"/>
                  </a:moveTo>
                  <a:cubicBezTo>
                    <a:pt x="3143" y="2151"/>
                    <a:pt x="-15214" y="109233"/>
                    <a:pt x="36798" y="149006"/>
                  </a:cubicBezTo>
                  <a:cubicBezTo>
                    <a:pt x="36798" y="149006"/>
                    <a:pt x="247902" y="191839"/>
                    <a:pt x="275438" y="277505"/>
                  </a:cubicBezTo>
                  <a:cubicBezTo>
                    <a:pt x="275438" y="277505"/>
                    <a:pt x="296854" y="-28444"/>
                    <a:pt x="3143" y="2151"/>
                  </a:cubicBezTo>
                  <a:close/>
                </a:path>
              </a:pathLst>
            </a:custGeom>
            <a:solidFill>
              <a:srgbClr val="664241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2230D9D7-F6A0-4B69-8588-A29E5215D8A2}"/>
                </a:ext>
              </a:extLst>
            </p:cNvPr>
            <p:cNvSpPr/>
            <p:nvPr/>
          </p:nvSpPr>
          <p:spPr>
            <a:xfrm>
              <a:off x="17003582" y="7976957"/>
              <a:ext cx="298166" cy="352302"/>
            </a:xfrm>
            <a:custGeom>
              <a:avLst/>
              <a:gdLst>
                <a:gd name="connsiteX0" fmla="*/ 298167 w 298166"/>
                <a:gd name="connsiteY0" fmla="*/ 146855 h 352302"/>
                <a:gd name="connsiteX1" fmla="*/ 157430 w 298166"/>
                <a:gd name="connsiteY1" fmla="*/ 201926 h 352302"/>
                <a:gd name="connsiteX2" fmla="*/ 99300 w 298166"/>
                <a:gd name="connsiteY2" fmla="*/ 321246 h 352302"/>
                <a:gd name="connsiteX3" fmla="*/ 10575 w 298166"/>
                <a:gd name="connsiteY3" fmla="*/ 342663 h 352302"/>
                <a:gd name="connsiteX4" fmla="*/ 267572 w 298166"/>
                <a:gd name="connsiteY4" fmla="*/ 0 h 352302"/>
                <a:gd name="connsiteX5" fmla="*/ 298167 w 298166"/>
                <a:gd name="connsiteY5" fmla="*/ 146855 h 35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8166" h="352302">
                  <a:moveTo>
                    <a:pt x="298167" y="146855"/>
                  </a:moveTo>
                  <a:cubicBezTo>
                    <a:pt x="298167" y="146855"/>
                    <a:pt x="206382" y="195807"/>
                    <a:pt x="157430" y="201926"/>
                  </a:cubicBezTo>
                  <a:cubicBezTo>
                    <a:pt x="105419" y="208045"/>
                    <a:pt x="99300" y="321246"/>
                    <a:pt x="99300" y="321246"/>
                  </a:cubicBezTo>
                  <a:cubicBezTo>
                    <a:pt x="99300" y="321246"/>
                    <a:pt x="25872" y="373258"/>
                    <a:pt x="10575" y="342663"/>
                  </a:cubicBezTo>
                  <a:cubicBezTo>
                    <a:pt x="-23080" y="275354"/>
                    <a:pt x="13634" y="0"/>
                    <a:pt x="267572" y="0"/>
                  </a:cubicBezTo>
                  <a:cubicBezTo>
                    <a:pt x="264512" y="0"/>
                    <a:pt x="273691" y="140736"/>
                    <a:pt x="298167" y="146855"/>
                  </a:cubicBezTo>
                  <a:close/>
                </a:path>
              </a:pathLst>
            </a:custGeom>
            <a:solidFill>
              <a:srgbClr val="664241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185B52FE-4335-4A2A-9365-3B3FACD17E62}"/>
                </a:ext>
              </a:extLst>
            </p:cNvPr>
            <p:cNvSpPr/>
            <p:nvPr/>
          </p:nvSpPr>
          <p:spPr>
            <a:xfrm>
              <a:off x="17154894" y="7973898"/>
              <a:ext cx="156033" cy="211104"/>
            </a:xfrm>
            <a:custGeom>
              <a:avLst/>
              <a:gdLst>
                <a:gd name="connsiteX0" fmla="*/ 6118 w 156033"/>
                <a:gd name="connsiteY0" fmla="*/ 211105 h 211104"/>
                <a:gd name="connsiteX1" fmla="*/ 0 w 156033"/>
                <a:gd name="connsiteY1" fmla="*/ 204986 h 211104"/>
                <a:gd name="connsiteX2" fmla="*/ 6118 w 156033"/>
                <a:gd name="connsiteY2" fmla="*/ 198867 h 211104"/>
                <a:gd name="connsiteX3" fmla="*/ 100963 w 156033"/>
                <a:gd name="connsiteY3" fmla="*/ 168272 h 211104"/>
                <a:gd name="connsiteX4" fmla="*/ 140736 w 156033"/>
                <a:gd name="connsiteY4" fmla="*/ 146856 h 211104"/>
                <a:gd name="connsiteX5" fmla="*/ 125438 w 156033"/>
                <a:gd name="connsiteY5" fmla="*/ 125439 h 211104"/>
                <a:gd name="connsiteX6" fmla="*/ 113201 w 156033"/>
                <a:gd name="connsiteY6" fmla="*/ 82606 h 211104"/>
                <a:gd name="connsiteX7" fmla="*/ 110141 w 156033"/>
                <a:gd name="connsiteY7" fmla="*/ 42833 h 211104"/>
                <a:gd name="connsiteX8" fmla="*/ 107082 w 156033"/>
                <a:gd name="connsiteY8" fmla="*/ 6119 h 211104"/>
                <a:gd name="connsiteX9" fmla="*/ 113201 w 156033"/>
                <a:gd name="connsiteY9" fmla="*/ 0 h 211104"/>
                <a:gd name="connsiteX10" fmla="*/ 119320 w 156033"/>
                <a:gd name="connsiteY10" fmla="*/ 6119 h 211104"/>
                <a:gd name="connsiteX11" fmla="*/ 122380 w 156033"/>
                <a:gd name="connsiteY11" fmla="*/ 45892 h 211104"/>
                <a:gd name="connsiteX12" fmla="*/ 125438 w 156033"/>
                <a:gd name="connsiteY12" fmla="*/ 82606 h 211104"/>
                <a:gd name="connsiteX13" fmla="*/ 134617 w 156033"/>
                <a:gd name="connsiteY13" fmla="*/ 122380 h 211104"/>
                <a:gd name="connsiteX14" fmla="*/ 152975 w 156033"/>
                <a:gd name="connsiteY14" fmla="*/ 146856 h 211104"/>
                <a:gd name="connsiteX15" fmla="*/ 156033 w 156033"/>
                <a:gd name="connsiteY15" fmla="*/ 152975 h 211104"/>
                <a:gd name="connsiteX16" fmla="*/ 149915 w 156033"/>
                <a:gd name="connsiteY16" fmla="*/ 156034 h 211104"/>
                <a:gd name="connsiteX17" fmla="*/ 104022 w 156033"/>
                <a:gd name="connsiteY17" fmla="*/ 180510 h 211104"/>
                <a:gd name="connsiteX18" fmla="*/ 6118 w 156033"/>
                <a:gd name="connsiteY18" fmla="*/ 211105 h 211104"/>
                <a:gd name="connsiteX19" fmla="*/ 6118 w 156033"/>
                <a:gd name="connsiteY19" fmla="*/ 211105 h 21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6033" h="211104">
                  <a:moveTo>
                    <a:pt x="6118" y="211105"/>
                  </a:moveTo>
                  <a:cubicBezTo>
                    <a:pt x="3059" y="211105"/>
                    <a:pt x="0" y="208045"/>
                    <a:pt x="0" y="204986"/>
                  </a:cubicBezTo>
                  <a:cubicBezTo>
                    <a:pt x="0" y="201927"/>
                    <a:pt x="3059" y="198867"/>
                    <a:pt x="6118" y="198867"/>
                  </a:cubicBezTo>
                  <a:cubicBezTo>
                    <a:pt x="39773" y="192748"/>
                    <a:pt x="76487" y="177451"/>
                    <a:pt x="100963" y="168272"/>
                  </a:cubicBezTo>
                  <a:cubicBezTo>
                    <a:pt x="119320" y="159093"/>
                    <a:pt x="131558" y="152975"/>
                    <a:pt x="140736" y="146856"/>
                  </a:cubicBezTo>
                  <a:cubicBezTo>
                    <a:pt x="134617" y="140737"/>
                    <a:pt x="128498" y="134617"/>
                    <a:pt x="125438" y="125439"/>
                  </a:cubicBezTo>
                  <a:cubicBezTo>
                    <a:pt x="119320" y="110142"/>
                    <a:pt x="116260" y="94844"/>
                    <a:pt x="113201" y="82606"/>
                  </a:cubicBezTo>
                  <a:cubicBezTo>
                    <a:pt x="113201" y="76487"/>
                    <a:pt x="113201" y="61190"/>
                    <a:pt x="110141" y="42833"/>
                  </a:cubicBezTo>
                  <a:cubicBezTo>
                    <a:pt x="110141" y="27535"/>
                    <a:pt x="110141" y="12238"/>
                    <a:pt x="107082" y="6119"/>
                  </a:cubicBezTo>
                  <a:cubicBezTo>
                    <a:pt x="107082" y="3060"/>
                    <a:pt x="110141" y="0"/>
                    <a:pt x="113201" y="0"/>
                  </a:cubicBezTo>
                  <a:cubicBezTo>
                    <a:pt x="116260" y="0"/>
                    <a:pt x="119320" y="3060"/>
                    <a:pt x="119320" y="6119"/>
                  </a:cubicBezTo>
                  <a:cubicBezTo>
                    <a:pt x="119320" y="12238"/>
                    <a:pt x="119320" y="27535"/>
                    <a:pt x="122380" y="45892"/>
                  </a:cubicBezTo>
                  <a:cubicBezTo>
                    <a:pt x="122380" y="61190"/>
                    <a:pt x="122380" y="76487"/>
                    <a:pt x="125438" y="82606"/>
                  </a:cubicBezTo>
                  <a:cubicBezTo>
                    <a:pt x="128498" y="97904"/>
                    <a:pt x="128498" y="110142"/>
                    <a:pt x="134617" y="122380"/>
                  </a:cubicBezTo>
                  <a:cubicBezTo>
                    <a:pt x="137677" y="131558"/>
                    <a:pt x="146855" y="137677"/>
                    <a:pt x="152975" y="146856"/>
                  </a:cubicBezTo>
                  <a:lnTo>
                    <a:pt x="156033" y="152975"/>
                  </a:lnTo>
                  <a:lnTo>
                    <a:pt x="149915" y="156034"/>
                  </a:lnTo>
                  <a:cubicBezTo>
                    <a:pt x="149915" y="156034"/>
                    <a:pt x="131558" y="168272"/>
                    <a:pt x="104022" y="180510"/>
                  </a:cubicBezTo>
                  <a:cubicBezTo>
                    <a:pt x="79546" y="189688"/>
                    <a:pt x="42833" y="204986"/>
                    <a:pt x="6118" y="211105"/>
                  </a:cubicBezTo>
                  <a:cubicBezTo>
                    <a:pt x="6118" y="208045"/>
                    <a:pt x="6118" y="211105"/>
                    <a:pt x="6118" y="211105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91D5569D-7EA0-464E-A3F6-8ABBAB30C594}"/>
                </a:ext>
              </a:extLst>
            </p:cNvPr>
            <p:cNvSpPr/>
            <p:nvPr/>
          </p:nvSpPr>
          <p:spPr>
            <a:xfrm>
              <a:off x="17154894" y="8484833"/>
              <a:ext cx="312067" cy="327365"/>
            </a:xfrm>
            <a:custGeom>
              <a:avLst/>
              <a:gdLst>
                <a:gd name="connsiteX0" fmla="*/ 256997 w 312067"/>
                <a:gd name="connsiteY0" fmla="*/ 61190 h 327365"/>
                <a:gd name="connsiteX1" fmla="*/ 312067 w 312067"/>
                <a:gd name="connsiteY1" fmla="*/ 201927 h 327365"/>
                <a:gd name="connsiteX2" fmla="*/ 195807 w 312067"/>
                <a:gd name="connsiteY2" fmla="*/ 327365 h 327365"/>
                <a:gd name="connsiteX3" fmla="*/ 0 w 312067"/>
                <a:gd name="connsiteY3" fmla="*/ 186629 h 327365"/>
                <a:gd name="connsiteX4" fmla="*/ 52011 w 312067"/>
                <a:gd name="connsiteY4" fmla="*/ 0 h 327365"/>
                <a:gd name="connsiteX5" fmla="*/ 256997 w 312067"/>
                <a:gd name="connsiteY5" fmla="*/ 61190 h 32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067" h="327365">
                  <a:moveTo>
                    <a:pt x="256997" y="61190"/>
                  </a:moveTo>
                  <a:cubicBezTo>
                    <a:pt x="256997" y="61190"/>
                    <a:pt x="250878" y="171332"/>
                    <a:pt x="312067" y="201927"/>
                  </a:cubicBezTo>
                  <a:lnTo>
                    <a:pt x="195807" y="327365"/>
                  </a:lnTo>
                  <a:cubicBezTo>
                    <a:pt x="195807" y="327365"/>
                    <a:pt x="55070" y="217224"/>
                    <a:pt x="0" y="186629"/>
                  </a:cubicBezTo>
                  <a:cubicBezTo>
                    <a:pt x="55070" y="143796"/>
                    <a:pt x="52011" y="61190"/>
                    <a:pt x="52011" y="0"/>
                  </a:cubicBezTo>
                  <a:cubicBezTo>
                    <a:pt x="55070" y="0"/>
                    <a:pt x="204985" y="70368"/>
                    <a:pt x="256997" y="61190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ACC71A88-624E-4512-A8DA-EC1E886D2595}"/>
                </a:ext>
              </a:extLst>
            </p:cNvPr>
            <p:cNvSpPr/>
            <p:nvPr/>
          </p:nvSpPr>
          <p:spPr>
            <a:xfrm>
              <a:off x="17200786" y="8524606"/>
              <a:ext cx="222577" cy="79546"/>
            </a:xfrm>
            <a:custGeom>
              <a:avLst/>
              <a:gdLst>
                <a:gd name="connsiteX0" fmla="*/ 149915 w 222577"/>
                <a:gd name="connsiteY0" fmla="*/ 79547 h 79546"/>
                <a:gd name="connsiteX1" fmla="*/ 140736 w 222577"/>
                <a:gd name="connsiteY1" fmla="*/ 79547 h 79546"/>
                <a:gd name="connsiteX2" fmla="*/ 3059 w 222577"/>
                <a:gd name="connsiteY2" fmla="*/ 12238 h 79546"/>
                <a:gd name="connsiteX3" fmla="*/ 0 w 222577"/>
                <a:gd name="connsiteY3" fmla="*/ 3060 h 79546"/>
                <a:gd name="connsiteX4" fmla="*/ 9178 w 222577"/>
                <a:gd name="connsiteY4" fmla="*/ 0 h 79546"/>
                <a:gd name="connsiteX5" fmla="*/ 140736 w 222577"/>
                <a:gd name="connsiteY5" fmla="*/ 67309 h 79546"/>
                <a:gd name="connsiteX6" fmla="*/ 211105 w 222577"/>
                <a:gd name="connsiteY6" fmla="*/ 42833 h 79546"/>
                <a:gd name="connsiteX7" fmla="*/ 220283 w 222577"/>
                <a:gd name="connsiteY7" fmla="*/ 42833 h 79546"/>
                <a:gd name="connsiteX8" fmla="*/ 220283 w 222577"/>
                <a:gd name="connsiteY8" fmla="*/ 52011 h 79546"/>
                <a:gd name="connsiteX9" fmla="*/ 149915 w 222577"/>
                <a:gd name="connsiteY9" fmla="*/ 79547 h 79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577" h="79546">
                  <a:moveTo>
                    <a:pt x="149915" y="79547"/>
                  </a:moveTo>
                  <a:cubicBezTo>
                    <a:pt x="146855" y="79547"/>
                    <a:pt x="143795" y="79547"/>
                    <a:pt x="140736" y="79547"/>
                  </a:cubicBezTo>
                  <a:cubicBezTo>
                    <a:pt x="97903" y="73428"/>
                    <a:pt x="6118" y="12238"/>
                    <a:pt x="3059" y="12238"/>
                  </a:cubicBezTo>
                  <a:cubicBezTo>
                    <a:pt x="0" y="9179"/>
                    <a:pt x="0" y="6119"/>
                    <a:pt x="0" y="3060"/>
                  </a:cubicBezTo>
                  <a:cubicBezTo>
                    <a:pt x="3059" y="0"/>
                    <a:pt x="6118" y="0"/>
                    <a:pt x="9178" y="0"/>
                  </a:cubicBezTo>
                  <a:cubicBezTo>
                    <a:pt x="9178" y="0"/>
                    <a:pt x="104022" y="61190"/>
                    <a:pt x="140736" y="67309"/>
                  </a:cubicBezTo>
                  <a:cubicBezTo>
                    <a:pt x="177450" y="73428"/>
                    <a:pt x="211105" y="42833"/>
                    <a:pt x="211105" y="42833"/>
                  </a:cubicBezTo>
                  <a:cubicBezTo>
                    <a:pt x="214164" y="39773"/>
                    <a:pt x="217223" y="39773"/>
                    <a:pt x="220283" y="42833"/>
                  </a:cubicBezTo>
                  <a:cubicBezTo>
                    <a:pt x="223342" y="45892"/>
                    <a:pt x="223342" y="48952"/>
                    <a:pt x="220283" y="52011"/>
                  </a:cubicBezTo>
                  <a:cubicBezTo>
                    <a:pt x="217223" y="52011"/>
                    <a:pt x="186628" y="79547"/>
                    <a:pt x="149915" y="79547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53331AAE-FCCD-467E-B301-9167B5344826}"/>
                </a:ext>
              </a:extLst>
            </p:cNvPr>
            <p:cNvSpPr/>
            <p:nvPr/>
          </p:nvSpPr>
          <p:spPr>
            <a:xfrm>
              <a:off x="17649263" y="8761979"/>
              <a:ext cx="103824" cy="561154"/>
            </a:xfrm>
            <a:custGeom>
              <a:avLst/>
              <a:gdLst>
                <a:gd name="connsiteX0" fmla="*/ 47160 w 103824"/>
                <a:gd name="connsiteY0" fmla="*/ 561154 h 561154"/>
                <a:gd name="connsiteX1" fmla="*/ 47160 w 103824"/>
                <a:gd name="connsiteY1" fmla="*/ 561154 h 561154"/>
                <a:gd name="connsiteX2" fmla="*/ 41041 w 103824"/>
                <a:gd name="connsiteY2" fmla="*/ 555035 h 561154"/>
                <a:gd name="connsiteX3" fmla="*/ 56339 w 103824"/>
                <a:gd name="connsiteY3" fmla="*/ 499964 h 561154"/>
                <a:gd name="connsiteX4" fmla="*/ 89992 w 103824"/>
                <a:gd name="connsiteY4" fmla="*/ 350049 h 561154"/>
                <a:gd name="connsiteX5" fmla="*/ 1267 w 103824"/>
                <a:gd name="connsiteY5" fmla="*/ 10446 h 561154"/>
                <a:gd name="connsiteX6" fmla="*/ 4327 w 103824"/>
                <a:gd name="connsiteY6" fmla="*/ 1267 h 561154"/>
                <a:gd name="connsiteX7" fmla="*/ 13505 w 103824"/>
                <a:gd name="connsiteY7" fmla="*/ 4327 h 561154"/>
                <a:gd name="connsiteX8" fmla="*/ 102231 w 103824"/>
                <a:gd name="connsiteY8" fmla="*/ 350049 h 561154"/>
                <a:gd name="connsiteX9" fmla="*/ 68577 w 103824"/>
                <a:gd name="connsiteY9" fmla="*/ 503024 h 561154"/>
                <a:gd name="connsiteX10" fmla="*/ 53279 w 103824"/>
                <a:gd name="connsiteY10" fmla="*/ 558095 h 561154"/>
                <a:gd name="connsiteX11" fmla="*/ 47160 w 103824"/>
                <a:gd name="connsiteY11" fmla="*/ 561154 h 561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3824" h="561154">
                  <a:moveTo>
                    <a:pt x="47160" y="561154"/>
                  </a:moveTo>
                  <a:cubicBezTo>
                    <a:pt x="47160" y="561154"/>
                    <a:pt x="47160" y="561154"/>
                    <a:pt x="47160" y="561154"/>
                  </a:cubicBezTo>
                  <a:cubicBezTo>
                    <a:pt x="44100" y="561154"/>
                    <a:pt x="41041" y="558095"/>
                    <a:pt x="41041" y="555035"/>
                  </a:cubicBezTo>
                  <a:cubicBezTo>
                    <a:pt x="47160" y="536678"/>
                    <a:pt x="50219" y="518321"/>
                    <a:pt x="56339" y="499964"/>
                  </a:cubicBezTo>
                  <a:cubicBezTo>
                    <a:pt x="71636" y="447953"/>
                    <a:pt x="86934" y="395941"/>
                    <a:pt x="89992" y="350049"/>
                  </a:cubicBezTo>
                  <a:cubicBezTo>
                    <a:pt x="96112" y="227669"/>
                    <a:pt x="68577" y="114468"/>
                    <a:pt x="1267" y="10446"/>
                  </a:cubicBezTo>
                  <a:cubicBezTo>
                    <a:pt x="-1792" y="7386"/>
                    <a:pt x="1267" y="4327"/>
                    <a:pt x="4327" y="1267"/>
                  </a:cubicBezTo>
                  <a:cubicBezTo>
                    <a:pt x="7387" y="-1792"/>
                    <a:pt x="10446" y="1267"/>
                    <a:pt x="13505" y="4327"/>
                  </a:cubicBezTo>
                  <a:cubicBezTo>
                    <a:pt x="80814" y="111409"/>
                    <a:pt x="111409" y="227669"/>
                    <a:pt x="102231" y="350049"/>
                  </a:cubicBezTo>
                  <a:cubicBezTo>
                    <a:pt x="99171" y="395941"/>
                    <a:pt x="83874" y="451012"/>
                    <a:pt x="68577" y="503024"/>
                  </a:cubicBezTo>
                  <a:cubicBezTo>
                    <a:pt x="62457" y="521381"/>
                    <a:pt x="56339" y="539737"/>
                    <a:pt x="53279" y="558095"/>
                  </a:cubicBezTo>
                  <a:cubicBezTo>
                    <a:pt x="50219" y="561154"/>
                    <a:pt x="50219" y="561154"/>
                    <a:pt x="47160" y="561154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ACA291A3-BFA3-47C3-B1C1-0A8F8B724CD2}"/>
                </a:ext>
              </a:extLst>
            </p:cNvPr>
            <p:cNvSpPr/>
            <p:nvPr/>
          </p:nvSpPr>
          <p:spPr>
            <a:xfrm>
              <a:off x="17225262" y="9207067"/>
              <a:ext cx="402060" cy="36519"/>
            </a:xfrm>
            <a:custGeom>
              <a:avLst/>
              <a:gdLst>
                <a:gd name="connsiteX0" fmla="*/ 397734 w 402060"/>
                <a:gd name="connsiteY0" fmla="*/ 36519 h 36519"/>
                <a:gd name="connsiteX1" fmla="*/ 397734 w 402060"/>
                <a:gd name="connsiteY1" fmla="*/ 36519 h 36519"/>
                <a:gd name="connsiteX2" fmla="*/ 6119 w 402060"/>
                <a:gd name="connsiteY2" fmla="*/ 24281 h 36519"/>
                <a:gd name="connsiteX3" fmla="*/ 0 w 402060"/>
                <a:gd name="connsiteY3" fmla="*/ 21222 h 36519"/>
                <a:gd name="connsiteX4" fmla="*/ 3060 w 402060"/>
                <a:gd name="connsiteY4" fmla="*/ 15103 h 36519"/>
                <a:gd name="connsiteX5" fmla="*/ 397734 w 402060"/>
                <a:gd name="connsiteY5" fmla="*/ 27341 h 36519"/>
                <a:gd name="connsiteX6" fmla="*/ 400793 w 402060"/>
                <a:gd name="connsiteY6" fmla="*/ 33460 h 36519"/>
                <a:gd name="connsiteX7" fmla="*/ 397734 w 402060"/>
                <a:gd name="connsiteY7" fmla="*/ 36519 h 36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2060" h="36519">
                  <a:moveTo>
                    <a:pt x="397734" y="36519"/>
                  </a:moveTo>
                  <a:cubicBezTo>
                    <a:pt x="397734" y="36519"/>
                    <a:pt x="397734" y="36519"/>
                    <a:pt x="397734" y="36519"/>
                  </a:cubicBezTo>
                  <a:cubicBezTo>
                    <a:pt x="312068" y="5924"/>
                    <a:pt x="107082" y="-195"/>
                    <a:pt x="6119" y="24281"/>
                  </a:cubicBezTo>
                  <a:cubicBezTo>
                    <a:pt x="3060" y="24281"/>
                    <a:pt x="0" y="24281"/>
                    <a:pt x="0" y="21222"/>
                  </a:cubicBezTo>
                  <a:cubicBezTo>
                    <a:pt x="0" y="18162"/>
                    <a:pt x="0" y="15103"/>
                    <a:pt x="3060" y="15103"/>
                  </a:cubicBezTo>
                  <a:cubicBezTo>
                    <a:pt x="104022" y="-9373"/>
                    <a:pt x="312068" y="-3254"/>
                    <a:pt x="397734" y="27341"/>
                  </a:cubicBezTo>
                  <a:cubicBezTo>
                    <a:pt x="400793" y="27341"/>
                    <a:pt x="400793" y="30400"/>
                    <a:pt x="400793" y="33460"/>
                  </a:cubicBezTo>
                  <a:cubicBezTo>
                    <a:pt x="403853" y="36519"/>
                    <a:pt x="400793" y="36519"/>
                    <a:pt x="397734" y="36519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F824982E-BAFB-45A9-ADC6-EF1BF9B3167F}"/>
                </a:ext>
              </a:extLst>
            </p:cNvPr>
            <p:cNvSpPr/>
            <p:nvPr/>
          </p:nvSpPr>
          <p:spPr>
            <a:xfrm>
              <a:off x="17061741" y="8284476"/>
              <a:ext cx="77855" cy="114450"/>
            </a:xfrm>
            <a:custGeom>
              <a:avLst/>
              <a:gdLst>
                <a:gd name="connsiteX0" fmla="*/ 65617 w 77855"/>
                <a:gd name="connsiteY0" fmla="*/ 16787 h 114450"/>
                <a:gd name="connsiteX1" fmla="*/ 7487 w 77855"/>
                <a:gd name="connsiteY1" fmla="*/ 7609 h 114450"/>
                <a:gd name="connsiteX2" fmla="*/ 65617 w 77855"/>
                <a:gd name="connsiteY2" fmla="*/ 111632 h 114450"/>
                <a:gd name="connsiteX3" fmla="*/ 65617 w 77855"/>
                <a:gd name="connsiteY3" fmla="*/ 16787 h 1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55" h="114450">
                  <a:moveTo>
                    <a:pt x="65617" y="16787"/>
                  </a:moveTo>
                  <a:cubicBezTo>
                    <a:pt x="65617" y="16787"/>
                    <a:pt x="31963" y="-13808"/>
                    <a:pt x="7487" y="7609"/>
                  </a:cubicBezTo>
                  <a:cubicBezTo>
                    <a:pt x="-16989" y="25966"/>
                    <a:pt x="22784" y="133048"/>
                    <a:pt x="65617" y="111632"/>
                  </a:cubicBezTo>
                  <a:cubicBezTo>
                    <a:pt x="93153" y="90215"/>
                    <a:pt x="65617" y="16787"/>
                    <a:pt x="65617" y="16787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B20F817F-65B8-46DE-91E7-EA3FC53E008E}"/>
                </a:ext>
              </a:extLst>
            </p:cNvPr>
            <p:cNvSpPr/>
            <p:nvPr/>
          </p:nvSpPr>
          <p:spPr>
            <a:xfrm>
              <a:off x="17425921" y="8162319"/>
              <a:ext cx="148122" cy="163420"/>
            </a:xfrm>
            <a:custGeom>
              <a:avLst/>
              <a:gdLst>
                <a:gd name="connsiteX0" fmla="*/ 142004 w 148122"/>
                <a:gd name="connsiteY0" fmla="*/ 163420 h 163420"/>
                <a:gd name="connsiteX1" fmla="*/ 135885 w 148122"/>
                <a:gd name="connsiteY1" fmla="*/ 160361 h 163420"/>
                <a:gd name="connsiteX2" fmla="*/ 4327 w 148122"/>
                <a:gd name="connsiteY2" fmla="*/ 10446 h 163420"/>
                <a:gd name="connsiteX3" fmla="*/ 1267 w 148122"/>
                <a:gd name="connsiteY3" fmla="*/ 4327 h 163420"/>
                <a:gd name="connsiteX4" fmla="*/ 7386 w 148122"/>
                <a:gd name="connsiteY4" fmla="*/ 1267 h 163420"/>
                <a:gd name="connsiteX5" fmla="*/ 148123 w 148122"/>
                <a:gd name="connsiteY5" fmla="*/ 160361 h 163420"/>
                <a:gd name="connsiteX6" fmla="*/ 142004 w 148122"/>
                <a:gd name="connsiteY6" fmla="*/ 163420 h 163420"/>
                <a:gd name="connsiteX7" fmla="*/ 142004 w 148122"/>
                <a:gd name="connsiteY7" fmla="*/ 163420 h 163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122" h="163420">
                  <a:moveTo>
                    <a:pt x="142004" y="163420"/>
                  </a:moveTo>
                  <a:cubicBezTo>
                    <a:pt x="138944" y="163420"/>
                    <a:pt x="135885" y="160361"/>
                    <a:pt x="135885" y="160361"/>
                  </a:cubicBezTo>
                  <a:cubicBezTo>
                    <a:pt x="111409" y="37981"/>
                    <a:pt x="4327" y="10446"/>
                    <a:pt x="4327" y="10446"/>
                  </a:cubicBezTo>
                  <a:cubicBezTo>
                    <a:pt x="1267" y="10446"/>
                    <a:pt x="-1792" y="7386"/>
                    <a:pt x="1267" y="4327"/>
                  </a:cubicBezTo>
                  <a:cubicBezTo>
                    <a:pt x="1267" y="1267"/>
                    <a:pt x="4327" y="-1792"/>
                    <a:pt x="7386" y="1267"/>
                  </a:cubicBezTo>
                  <a:cubicBezTo>
                    <a:pt x="7386" y="1267"/>
                    <a:pt x="123647" y="31862"/>
                    <a:pt x="148123" y="160361"/>
                  </a:cubicBezTo>
                  <a:cubicBezTo>
                    <a:pt x="148123" y="160361"/>
                    <a:pt x="148123" y="163420"/>
                    <a:pt x="142004" y="163420"/>
                  </a:cubicBezTo>
                  <a:cubicBezTo>
                    <a:pt x="142004" y="163420"/>
                    <a:pt x="142004" y="163420"/>
                    <a:pt x="142004" y="163420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30CE6215-E039-4114-9B0B-0B2E63AE7F5C}"/>
                </a:ext>
              </a:extLst>
            </p:cNvPr>
            <p:cNvSpPr/>
            <p:nvPr/>
          </p:nvSpPr>
          <p:spPr>
            <a:xfrm>
              <a:off x="17096763" y="8108515"/>
              <a:ext cx="110141" cy="186629"/>
            </a:xfrm>
            <a:custGeom>
              <a:avLst/>
              <a:gdLst>
                <a:gd name="connsiteX0" fmla="*/ 6119 w 110141"/>
                <a:gd name="connsiteY0" fmla="*/ 186629 h 186629"/>
                <a:gd name="connsiteX1" fmla="*/ 6119 w 110141"/>
                <a:gd name="connsiteY1" fmla="*/ 186629 h 186629"/>
                <a:gd name="connsiteX2" fmla="*/ 0 w 110141"/>
                <a:gd name="connsiteY2" fmla="*/ 180510 h 186629"/>
                <a:gd name="connsiteX3" fmla="*/ 52012 w 110141"/>
                <a:gd name="connsiteY3" fmla="*/ 67309 h 186629"/>
                <a:gd name="connsiteX4" fmla="*/ 100964 w 110141"/>
                <a:gd name="connsiteY4" fmla="*/ 3060 h 186629"/>
                <a:gd name="connsiteX5" fmla="*/ 107082 w 110141"/>
                <a:gd name="connsiteY5" fmla="*/ 0 h 186629"/>
                <a:gd name="connsiteX6" fmla="*/ 110142 w 110141"/>
                <a:gd name="connsiteY6" fmla="*/ 6119 h 186629"/>
                <a:gd name="connsiteX7" fmla="*/ 55071 w 110141"/>
                <a:gd name="connsiteY7" fmla="*/ 73428 h 186629"/>
                <a:gd name="connsiteX8" fmla="*/ 9179 w 110141"/>
                <a:gd name="connsiteY8" fmla="*/ 180510 h 186629"/>
                <a:gd name="connsiteX9" fmla="*/ 6119 w 110141"/>
                <a:gd name="connsiteY9" fmla="*/ 186629 h 186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41" h="186629">
                  <a:moveTo>
                    <a:pt x="6119" y="186629"/>
                  </a:moveTo>
                  <a:cubicBezTo>
                    <a:pt x="6119" y="186629"/>
                    <a:pt x="6119" y="186629"/>
                    <a:pt x="6119" y="186629"/>
                  </a:cubicBezTo>
                  <a:cubicBezTo>
                    <a:pt x="3060" y="186629"/>
                    <a:pt x="0" y="183569"/>
                    <a:pt x="0" y="180510"/>
                  </a:cubicBezTo>
                  <a:cubicBezTo>
                    <a:pt x="0" y="165213"/>
                    <a:pt x="12239" y="94844"/>
                    <a:pt x="52012" y="67309"/>
                  </a:cubicBezTo>
                  <a:cubicBezTo>
                    <a:pt x="82607" y="45892"/>
                    <a:pt x="100964" y="3060"/>
                    <a:pt x="100964" y="3060"/>
                  </a:cubicBezTo>
                  <a:cubicBezTo>
                    <a:pt x="100964" y="0"/>
                    <a:pt x="107082" y="0"/>
                    <a:pt x="107082" y="0"/>
                  </a:cubicBezTo>
                  <a:cubicBezTo>
                    <a:pt x="110142" y="0"/>
                    <a:pt x="110142" y="6119"/>
                    <a:pt x="110142" y="6119"/>
                  </a:cubicBezTo>
                  <a:cubicBezTo>
                    <a:pt x="110142" y="9179"/>
                    <a:pt x="88726" y="48952"/>
                    <a:pt x="55071" y="73428"/>
                  </a:cubicBezTo>
                  <a:cubicBezTo>
                    <a:pt x="18357" y="97904"/>
                    <a:pt x="9179" y="165213"/>
                    <a:pt x="9179" y="180510"/>
                  </a:cubicBezTo>
                  <a:cubicBezTo>
                    <a:pt x="9179" y="183569"/>
                    <a:pt x="9179" y="186629"/>
                    <a:pt x="6119" y="186629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93BEE18B-3B67-4B80-9B32-C69A5B24D313}"/>
                </a:ext>
              </a:extLst>
            </p:cNvPr>
            <p:cNvSpPr/>
            <p:nvPr/>
          </p:nvSpPr>
          <p:spPr>
            <a:xfrm>
              <a:off x="17261976" y="8012356"/>
              <a:ext cx="119319" cy="19672"/>
            </a:xfrm>
            <a:custGeom>
              <a:avLst/>
              <a:gdLst>
                <a:gd name="connsiteX0" fmla="*/ 6118 w 119319"/>
                <a:gd name="connsiteY0" fmla="*/ 19672 h 19672"/>
                <a:gd name="connsiteX1" fmla="*/ 0 w 119319"/>
                <a:gd name="connsiteY1" fmla="*/ 16613 h 19672"/>
                <a:gd name="connsiteX2" fmla="*/ 3059 w 119319"/>
                <a:gd name="connsiteY2" fmla="*/ 10494 h 19672"/>
                <a:gd name="connsiteX3" fmla="*/ 116260 w 119319"/>
                <a:gd name="connsiteY3" fmla="*/ 7435 h 19672"/>
                <a:gd name="connsiteX4" fmla="*/ 119320 w 119319"/>
                <a:gd name="connsiteY4" fmla="*/ 13553 h 19672"/>
                <a:gd name="connsiteX5" fmla="*/ 113201 w 119319"/>
                <a:gd name="connsiteY5" fmla="*/ 16613 h 19672"/>
                <a:gd name="connsiteX6" fmla="*/ 6118 w 119319"/>
                <a:gd name="connsiteY6" fmla="*/ 19672 h 19672"/>
                <a:gd name="connsiteX7" fmla="*/ 6118 w 119319"/>
                <a:gd name="connsiteY7" fmla="*/ 19672 h 19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319" h="19672">
                  <a:moveTo>
                    <a:pt x="6118" y="19672"/>
                  </a:moveTo>
                  <a:cubicBezTo>
                    <a:pt x="3059" y="19672"/>
                    <a:pt x="3059" y="19672"/>
                    <a:pt x="0" y="16613"/>
                  </a:cubicBezTo>
                  <a:cubicBezTo>
                    <a:pt x="0" y="13553"/>
                    <a:pt x="0" y="10494"/>
                    <a:pt x="3059" y="10494"/>
                  </a:cubicBezTo>
                  <a:cubicBezTo>
                    <a:pt x="6118" y="10494"/>
                    <a:pt x="67308" y="-10923"/>
                    <a:pt x="116260" y="7435"/>
                  </a:cubicBezTo>
                  <a:cubicBezTo>
                    <a:pt x="119320" y="7435"/>
                    <a:pt x="119320" y="10494"/>
                    <a:pt x="119320" y="13553"/>
                  </a:cubicBezTo>
                  <a:cubicBezTo>
                    <a:pt x="119320" y="16613"/>
                    <a:pt x="116260" y="16613"/>
                    <a:pt x="113201" y="16613"/>
                  </a:cubicBezTo>
                  <a:cubicBezTo>
                    <a:pt x="70368" y="-1744"/>
                    <a:pt x="9178" y="19672"/>
                    <a:pt x="6118" y="19672"/>
                  </a:cubicBezTo>
                  <a:cubicBezTo>
                    <a:pt x="6118" y="19672"/>
                    <a:pt x="6118" y="19672"/>
                    <a:pt x="6118" y="19672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7275C6F5-3156-45E3-970F-C66B7DF08779}"/>
                </a:ext>
              </a:extLst>
            </p:cNvPr>
            <p:cNvSpPr/>
            <p:nvPr/>
          </p:nvSpPr>
          <p:spPr>
            <a:xfrm>
              <a:off x="17133477" y="8674521"/>
              <a:ext cx="361019" cy="156034"/>
            </a:xfrm>
            <a:custGeom>
              <a:avLst/>
              <a:gdLst>
                <a:gd name="connsiteX0" fmla="*/ 324306 w 361019"/>
                <a:gd name="connsiteY0" fmla="*/ 6119 h 156034"/>
                <a:gd name="connsiteX1" fmla="*/ 220284 w 361019"/>
                <a:gd name="connsiteY1" fmla="*/ 122380 h 156034"/>
                <a:gd name="connsiteX2" fmla="*/ 24476 w 361019"/>
                <a:gd name="connsiteY2" fmla="*/ 0 h 156034"/>
                <a:gd name="connsiteX3" fmla="*/ 0 w 361019"/>
                <a:gd name="connsiteY3" fmla="*/ 9179 h 156034"/>
                <a:gd name="connsiteX4" fmla="*/ 223342 w 361019"/>
                <a:gd name="connsiteY4" fmla="*/ 156034 h 156034"/>
                <a:gd name="connsiteX5" fmla="*/ 361019 w 361019"/>
                <a:gd name="connsiteY5" fmla="*/ 15297 h 156034"/>
                <a:gd name="connsiteX6" fmla="*/ 324306 w 361019"/>
                <a:gd name="connsiteY6" fmla="*/ 6119 h 15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019" h="156034">
                  <a:moveTo>
                    <a:pt x="324306" y="6119"/>
                  </a:moveTo>
                  <a:lnTo>
                    <a:pt x="220284" y="122380"/>
                  </a:lnTo>
                  <a:cubicBezTo>
                    <a:pt x="220284" y="122380"/>
                    <a:pt x="88725" y="21417"/>
                    <a:pt x="24476" y="0"/>
                  </a:cubicBezTo>
                  <a:lnTo>
                    <a:pt x="0" y="9179"/>
                  </a:lnTo>
                  <a:lnTo>
                    <a:pt x="223342" y="156034"/>
                  </a:lnTo>
                  <a:lnTo>
                    <a:pt x="361019" y="15297"/>
                  </a:lnTo>
                  <a:cubicBezTo>
                    <a:pt x="361019" y="12238"/>
                    <a:pt x="345722" y="6119"/>
                    <a:pt x="324306" y="6119"/>
                  </a:cubicBezTo>
                  <a:close/>
                </a:path>
              </a:pathLst>
            </a:custGeom>
            <a:solidFill>
              <a:srgbClr val="D16156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A96D1AFC-FE98-4C59-B096-44A2CCDA0734}"/>
                </a:ext>
              </a:extLst>
            </p:cNvPr>
            <p:cNvSpPr/>
            <p:nvPr/>
          </p:nvSpPr>
          <p:spPr>
            <a:xfrm>
              <a:off x="18461296" y="9347609"/>
              <a:ext cx="49815" cy="58130"/>
            </a:xfrm>
            <a:custGeom>
              <a:avLst/>
              <a:gdLst>
                <a:gd name="connsiteX0" fmla="*/ 6117 w 49815"/>
                <a:gd name="connsiteY0" fmla="*/ 58131 h 58130"/>
                <a:gd name="connsiteX1" fmla="*/ 0 w 49815"/>
                <a:gd name="connsiteY1" fmla="*/ 55071 h 58130"/>
                <a:gd name="connsiteX2" fmla="*/ 3059 w 49815"/>
                <a:gd name="connsiteY2" fmla="*/ 48952 h 58130"/>
                <a:gd name="connsiteX3" fmla="*/ 36712 w 49815"/>
                <a:gd name="connsiteY3" fmla="*/ 6119 h 58130"/>
                <a:gd name="connsiteX4" fmla="*/ 42832 w 49815"/>
                <a:gd name="connsiteY4" fmla="*/ 0 h 58130"/>
                <a:gd name="connsiteX5" fmla="*/ 48951 w 49815"/>
                <a:gd name="connsiteY5" fmla="*/ 6119 h 58130"/>
                <a:gd name="connsiteX6" fmla="*/ 6117 w 49815"/>
                <a:gd name="connsiteY6" fmla="*/ 58131 h 58130"/>
                <a:gd name="connsiteX7" fmla="*/ 6117 w 49815"/>
                <a:gd name="connsiteY7" fmla="*/ 58131 h 58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815" h="58130">
                  <a:moveTo>
                    <a:pt x="6117" y="58131"/>
                  </a:moveTo>
                  <a:cubicBezTo>
                    <a:pt x="3059" y="58131"/>
                    <a:pt x="0" y="55071"/>
                    <a:pt x="0" y="55071"/>
                  </a:cubicBezTo>
                  <a:cubicBezTo>
                    <a:pt x="0" y="52012"/>
                    <a:pt x="0" y="48952"/>
                    <a:pt x="3059" y="48952"/>
                  </a:cubicBezTo>
                  <a:cubicBezTo>
                    <a:pt x="33654" y="39773"/>
                    <a:pt x="36712" y="6119"/>
                    <a:pt x="36712" y="6119"/>
                  </a:cubicBezTo>
                  <a:cubicBezTo>
                    <a:pt x="36712" y="3060"/>
                    <a:pt x="39773" y="0"/>
                    <a:pt x="42832" y="0"/>
                  </a:cubicBezTo>
                  <a:cubicBezTo>
                    <a:pt x="45892" y="0"/>
                    <a:pt x="48951" y="3060"/>
                    <a:pt x="48951" y="6119"/>
                  </a:cubicBezTo>
                  <a:cubicBezTo>
                    <a:pt x="52010" y="6119"/>
                    <a:pt x="48951" y="48952"/>
                    <a:pt x="6117" y="58131"/>
                  </a:cubicBezTo>
                  <a:cubicBezTo>
                    <a:pt x="9178" y="58131"/>
                    <a:pt x="9178" y="58131"/>
                    <a:pt x="6117" y="58131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1" name="图形 892">
              <a:extLst>
                <a:ext uri="{FF2B5EF4-FFF2-40B4-BE49-F238E27FC236}">
                  <a16:creationId xmlns:a16="http://schemas.microsoft.com/office/drawing/2014/main" id="{2B59996C-3467-443A-B80E-9227D692A2D1}"/>
                </a:ext>
              </a:extLst>
            </p:cNvPr>
            <p:cNvGrpSpPr/>
            <p:nvPr/>
          </p:nvGrpSpPr>
          <p:grpSpPr>
            <a:xfrm>
              <a:off x="15016429" y="11804380"/>
              <a:ext cx="434940" cy="554586"/>
              <a:chOff x="15016429" y="11804380"/>
              <a:chExt cx="434940" cy="554586"/>
            </a:xfrm>
          </p:grpSpPr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A0C958F8-CEDB-4E83-B68D-624491E703FF}"/>
                  </a:ext>
                </a:extLst>
              </p:cNvPr>
              <p:cNvSpPr/>
              <p:nvPr/>
            </p:nvSpPr>
            <p:spPr>
              <a:xfrm>
                <a:off x="15098916" y="11804380"/>
                <a:ext cx="263116" cy="256996"/>
              </a:xfrm>
              <a:custGeom>
                <a:avLst/>
                <a:gdLst>
                  <a:gd name="connsiteX0" fmla="*/ 250879 w 263116"/>
                  <a:gd name="connsiteY0" fmla="*/ 152975 h 256996"/>
                  <a:gd name="connsiteX1" fmla="*/ 149915 w 263116"/>
                  <a:gd name="connsiteY1" fmla="*/ 0 h 256996"/>
                  <a:gd name="connsiteX2" fmla="*/ 0 w 263116"/>
                  <a:gd name="connsiteY2" fmla="*/ 104022 h 256996"/>
                  <a:gd name="connsiteX3" fmla="*/ 122380 w 263116"/>
                  <a:gd name="connsiteY3" fmla="*/ 256997 h 256996"/>
                  <a:gd name="connsiteX4" fmla="*/ 263116 w 263116"/>
                  <a:gd name="connsiteY4" fmla="*/ 192748 h 256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3116" h="256996">
                    <a:moveTo>
                      <a:pt x="250879" y="152975"/>
                    </a:moveTo>
                    <a:lnTo>
                      <a:pt x="149915" y="0"/>
                    </a:lnTo>
                    <a:lnTo>
                      <a:pt x="0" y="104022"/>
                    </a:lnTo>
                    <a:lnTo>
                      <a:pt x="122380" y="256997"/>
                    </a:lnTo>
                    <a:lnTo>
                      <a:pt x="263116" y="192748"/>
                    </a:ln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1101AFCD-3BF4-49B7-92AE-948F4CE86004}"/>
                  </a:ext>
                </a:extLst>
              </p:cNvPr>
              <p:cNvSpPr/>
              <p:nvPr/>
            </p:nvSpPr>
            <p:spPr>
              <a:xfrm>
                <a:off x="15016429" y="11951235"/>
                <a:ext cx="409852" cy="373258"/>
              </a:xfrm>
              <a:custGeom>
                <a:avLst/>
                <a:gdLst>
                  <a:gd name="connsiteX0" fmla="*/ 345603 w 409852"/>
                  <a:gd name="connsiteY0" fmla="*/ 0 h 373258"/>
                  <a:gd name="connsiteX1" fmla="*/ 165093 w 409852"/>
                  <a:gd name="connsiteY1" fmla="*/ 67309 h 373258"/>
                  <a:gd name="connsiteX2" fmla="*/ 100844 w 409852"/>
                  <a:gd name="connsiteY2" fmla="*/ 211105 h 373258"/>
                  <a:gd name="connsiteX3" fmla="*/ 6000 w 409852"/>
                  <a:gd name="connsiteY3" fmla="*/ 373258 h 373258"/>
                  <a:gd name="connsiteX4" fmla="*/ 409853 w 409852"/>
                  <a:gd name="connsiteY4" fmla="*/ 94844 h 373258"/>
                  <a:gd name="connsiteX5" fmla="*/ 345603 w 409852"/>
                  <a:gd name="connsiteY5" fmla="*/ 0 h 373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9852" h="373258">
                    <a:moveTo>
                      <a:pt x="345603" y="0"/>
                    </a:moveTo>
                    <a:cubicBezTo>
                      <a:pt x="345603" y="0"/>
                      <a:pt x="253818" y="85665"/>
                      <a:pt x="165093" y="67309"/>
                    </a:cubicBezTo>
                    <a:cubicBezTo>
                      <a:pt x="165093" y="67309"/>
                      <a:pt x="134498" y="177450"/>
                      <a:pt x="100844" y="211105"/>
                    </a:cubicBezTo>
                    <a:cubicBezTo>
                      <a:pt x="70249" y="244759"/>
                      <a:pt x="-24595" y="305949"/>
                      <a:pt x="6000" y="373258"/>
                    </a:cubicBezTo>
                    <a:lnTo>
                      <a:pt x="409853" y="94844"/>
                    </a:lnTo>
                    <a:cubicBezTo>
                      <a:pt x="409853" y="91785"/>
                      <a:pt x="388436" y="30595"/>
                      <a:pt x="345603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A08EE802-B3BC-4DEB-BB27-03D3E6E073FB}"/>
                  </a:ext>
                </a:extLst>
              </p:cNvPr>
              <p:cNvSpPr/>
              <p:nvPr/>
            </p:nvSpPr>
            <p:spPr>
              <a:xfrm rot="-2080709">
                <a:off x="14992251" y="12177880"/>
                <a:ext cx="489543" cy="45894"/>
              </a:xfrm>
              <a:custGeom>
                <a:avLst/>
                <a:gdLst>
                  <a:gd name="connsiteX0" fmla="*/ 0 w 489543"/>
                  <a:gd name="connsiteY0" fmla="*/ 0 h 45894"/>
                  <a:gd name="connsiteX1" fmla="*/ 489544 w 489543"/>
                  <a:gd name="connsiteY1" fmla="*/ 0 h 45894"/>
                  <a:gd name="connsiteX2" fmla="*/ 489544 w 489543"/>
                  <a:gd name="connsiteY2" fmla="*/ 45895 h 45894"/>
                  <a:gd name="connsiteX3" fmla="*/ 0 w 489543"/>
                  <a:gd name="connsiteY3" fmla="*/ 45895 h 45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9543" h="45894">
                    <a:moveTo>
                      <a:pt x="0" y="0"/>
                    </a:moveTo>
                    <a:lnTo>
                      <a:pt x="489544" y="0"/>
                    </a:lnTo>
                    <a:lnTo>
                      <a:pt x="489544" y="45895"/>
                    </a:lnTo>
                    <a:lnTo>
                      <a:pt x="0" y="45895"/>
                    </a:lnTo>
                    <a:close/>
                  </a:path>
                </a:pathLst>
              </a:custGeom>
              <a:solidFill>
                <a:srgbClr val="38333D"/>
              </a:solidFill>
              <a:ln w="305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76346273-40FB-4FEE-B1D2-7DA0F592C34D}"/>
                  </a:ext>
                </a:extLst>
              </p:cNvPr>
              <p:cNvSpPr/>
              <p:nvPr/>
            </p:nvSpPr>
            <p:spPr>
              <a:xfrm>
                <a:off x="15172344" y="11942822"/>
                <a:ext cx="191983" cy="81840"/>
              </a:xfrm>
              <a:custGeom>
                <a:avLst/>
                <a:gdLst>
                  <a:gd name="connsiteX0" fmla="*/ 27535 w 191983"/>
                  <a:gd name="connsiteY0" fmla="*/ 81841 h 81840"/>
                  <a:gd name="connsiteX1" fmla="*/ 6119 w 191983"/>
                  <a:gd name="connsiteY1" fmla="*/ 81841 h 81840"/>
                  <a:gd name="connsiteX2" fmla="*/ 0 w 191983"/>
                  <a:gd name="connsiteY2" fmla="*/ 75723 h 81840"/>
                  <a:gd name="connsiteX3" fmla="*/ 6119 w 191983"/>
                  <a:gd name="connsiteY3" fmla="*/ 69603 h 81840"/>
                  <a:gd name="connsiteX4" fmla="*/ 180510 w 191983"/>
                  <a:gd name="connsiteY4" fmla="*/ 2294 h 81840"/>
                  <a:gd name="connsiteX5" fmla="*/ 189689 w 191983"/>
                  <a:gd name="connsiteY5" fmla="*/ 2294 h 81840"/>
                  <a:gd name="connsiteX6" fmla="*/ 189689 w 191983"/>
                  <a:gd name="connsiteY6" fmla="*/ 11473 h 81840"/>
                  <a:gd name="connsiteX7" fmla="*/ 27535 w 191983"/>
                  <a:gd name="connsiteY7" fmla="*/ 81841 h 81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1983" h="81840">
                    <a:moveTo>
                      <a:pt x="27535" y="81841"/>
                    </a:moveTo>
                    <a:cubicBezTo>
                      <a:pt x="21417" y="81841"/>
                      <a:pt x="15297" y="81841"/>
                      <a:pt x="6119" y="81841"/>
                    </a:cubicBezTo>
                    <a:cubicBezTo>
                      <a:pt x="3060" y="81841"/>
                      <a:pt x="0" y="78781"/>
                      <a:pt x="0" y="75723"/>
                    </a:cubicBezTo>
                    <a:cubicBezTo>
                      <a:pt x="0" y="72663"/>
                      <a:pt x="3060" y="69603"/>
                      <a:pt x="6119" y="69603"/>
                    </a:cubicBezTo>
                    <a:cubicBezTo>
                      <a:pt x="97904" y="81841"/>
                      <a:pt x="180510" y="5354"/>
                      <a:pt x="180510" y="2294"/>
                    </a:cubicBezTo>
                    <a:cubicBezTo>
                      <a:pt x="183569" y="-765"/>
                      <a:pt x="186629" y="-765"/>
                      <a:pt x="189689" y="2294"/>
                    </a:cubicBezTo>
                    <a:cubicBezTo>
                      <a:pt x="192748" y="5354"/>
                      <a:pt x="192748" y="8413"/>
                      <a:pt x="189689" y="11473"/>
                    </a:cubicBezTo>
                    <a:cubicBezTo>
                      <a:pt x="189689" y="14533"/>
                      <a:pt x="116261" y="81841"/>
                      <a:pt x="27535" y="8184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F6337526-F82F-4A1C-B079-7B437F895B64}"/>
                  </a:ext>
                </a:extLst>
              </p:cNvPr>
              <p:cNvSpPr/>
              <p:nvPr/>
            </p:nvSpPr>
            <p:spPr>
              <a:xfrm>
                <a:off x="15161898" y="12057050"/>
                <a:ext cx="48427" cy="16564"/>
              </a:xfrm>
              <a:custGeom>
                <a:avLst/>
                <a:gdLst>
                  <a:gd name="connsiteX0" fmla="*/ 41040 w 48427"/>
                  <a:gd name="connsiteY0" fmla="*/ 16565 h 16564"/>
                  <a:gd name="connsiteX1" fmla="*/ 41040 w 48427"/>
                  <a:gd name="connsiteY1" fmla="*/ 16565 h 16564"/>
                  <a:gd name="connsiteX2" fmla="*/ 4327 w 48427"/>
                  <a:gd name="connsiteY2" fmla="*/ 10445 h 16564"/>
                  <a:gd name="connsiteX3" fmla="*/ 1267 w 48427"/>
                  <a:gd name="connsiteY3" fmla="*/ 4327 h 16564"/>
                  <a:gd name="connsiteX4" fmla="*/ 7386 w 48427"/>
                  <a:gd name="connsiteY4" fmla="*/ 1267 h 16564"/>
                  <a:gd name="connsiteX5" fmla="*/ 44100 w 48427"/>
                  <a:gd name="connsiteY5" fmla="*/ 7387 h 16564"/>
                  <a:gd name="connsiteX6" fmla="*/ 47160 w 48427"/>
                  <a:gd name="connsiteY6" fmla="*/ 13505 h 16564"/>
                  <a:gd name="connsiteX7" fmla="*/ 41040 w 48427"/>
                  <a:gd name="connsiteY7" fmla="*/ 16565 h 16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427" h="16564">
                    <a:moveTo>
                      <a:pt x="41040" y="16565"/>
                    </a:moveTo>
                    <a:cubicBezTo>
                      <a:pt x="41040" y="16565"/>
                      <a:pt x="41040" y="16565"/>
                      <a:pt x="41040" y="16565"/>
                    </a:cubicBezTo>
                    <a:lnTo>
                      <a:pt x="4327" y="10445"/>
                    </a:lnTo>
                    <a:cubicBezTo>
                      <a:pt x="1267" y="10445"/>
                      <a:pt x="-1792" y="7387"/>
                      <a:pt x="1267" y="4327"/>
                    </a:cubicBezTo>
                    <a:cubicBezTo>
                      <a:pt x="1267" y="1267"/>
                      <a:pt x="4327" y="-1792"/>
                      <a:pt x="7386" y="1267"/>
                    </a:cubicBezTo>
                    <a:lnTo>
                      <a:pt x="44100" y="7387"/>
                    </a:lnTo>
                    <a:cubicBezTo>
                      <a:pt x="47160" y="7387"/>
                      <a:pt x="50219" y="10445"/>
                      <a:pt x="47160" y="13505"/>
                    </a:cubicBezTo>
                    <a:cubicBezTo>
                      <a:pt x="47160" y="13505"/>
                      <a:pt x="44100" y="16565"/>
                      <a:pt x="41040" y="1656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B2F9AD9F-A178-4658-9100-1FE25B38B8AD}"/>
                  </a:ext>
                </a:extLst>
              </p:cNvPr>
              <p:cNvSpPr/>
              <p:nvPr/>
            </p:nvSpPr>
            <p:spPr>
              <a:xfrm>
                <a:off x="15146601" y="12099882"/>
                <a:ext cx="48427" cy="16564"/>
              </a:xfrm>
              <a:custGeom>
                <a:avLst/>
                <a:gdLst>
                  <a:gd name="connsiteX0" fmla="*/ 41040 w 48427"/>
                  <a:gd name="connsiteY0" fmla="*/ 16565 h 16564"/>
                  <a:gd name="connsiteX1" fmla="*/ 41040 w 48427"/>
                  <a:gd name="connsiteY1" fmla="*/ 16565 h 16564"/>
                  <a:gd name="connsiteX2" fmla="*/ 4327 w 48427"/>
                  <a:gd name="connsiteY2" fmla="*/ 10446 h 16564"/>
                  <a:gd name="connsiteX3" fmla="*/ 1267 w 48427"/>
                  <a:gd name="connsiteY3" fmla="*/ 4327 h 16564"/>
                  <a:gd name="connsiteX4" fmla="*/ 7386 w 48427"/>
                  <a:gd name="connsiteY4" fmla="*/ 1267 h 16564"/>
                  <a:gd name="connsiteX5" fmla="*/ 44100 w 48427"/>
                  <a:gd name="connsiteY5" fmla="*/ 7387 h 16564"/>
                  <a:gd name="connsiteX6" fmla="*/ 47160 w 48427"/>
                  <a:gd name="connsiteY6" fmla="*/ 13505 h 16564"/>
                  <a:gd name="connsiteX7" fmla="*/ 41040 w 48427"/>
                  <a:gd name="connsiteY7" fmla="*/ 16565 h 16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427" h="16564">
                    <a:moveTo>
                      <a:pt x="41040" y="16565"/>
                    </a:moveTo>
                    <a:cubicBezTo>
                      <a:pt x="41040" y="16565"/>
                      <a:pt x="41040" y="16565"/>
                      <a:pt x="41040" y="16565"/>
                    </a:cubicBezTo>
                    <a:lnTo>
                      <a:pt x="4327" y="10446"/>
                    </a:lnTo>
                    <a:cubicBezTo>
                      <a:pt x="1267" y="10446"/>
                      <a:pt x="-1792" y="7387"/>
                      <a:pt x="1267" y="4327"/>
                    </a:cubicBezTo>
                    <a:cubicBezTo>
                      <a:pt x="1267" y="1267"/>
                      <a:pt x="4327" y="-1792"/>
                      <a:pt x="7386" y="1267"/>
                    </a:cubicBezTo>
                    <a:lnTo>
                      <a:pt x="44100" y="7387"/>
                    </a:lnTo>
                    <a:cubicBezTo>
                      <a:pt x="47160" y="7387"/>
                      <a:pt x="50219" y="10446"/>
                      <a:pt x="47160" y="13505"/>
                    </a:cubicBezTo>
                    <a:cubicBezTo>
                      <a:pt x="47160" y="16565"/>
                      <a:pt x="44100" y="16565"/>
                      <a:pt x="41040" y="1656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2" name="图形 892">
              <a:extLst>
                <a:ext uri="{FF2B5EF4-FFF2-40B4-BE49-F238E27FC236}">
                  <a16:creationId xmlns:a16="http://schemas.microsoft.com/office/drawing/2014/main" id="{E20A2889-A99E-4500-86C7-134BA0D10714}"/>
                </a:ext>
              </a:extLst>
            </p:cNvPr>
            <p:cNvGrpSpPr/>
            <p:nvPr/>
          </p:nvGrpSpPr>
          <p:grpSpPr>
            <a:xfrm>
              <a:off x="13719086" y="12153161"/>
              <a:ext cx="497677" cy="342662"/>
              <a:chOff x="13719086" y="12153161"/>
              <a:chExt cx="497677" cy="342662"/>
            </a:xfrm>
          </p:grpSpPr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C6F067F2-4362-49CC-A9B8-C22A73D0A1AD}"/>
                  </a:ext>
                </a:extLst>
              </p:cNvPr>
              <p:cNvSpPr/>
              <p:nvPr/>
            </p:nvSpPr>
            <p:spPr>
              <a:xfrm>
                <a:off x="14015857" y="12153161"/>
                <a:ext cx="183569" cy="223342"/>
              </a:xfrm>
              <a:custGeom>
                <a:avLst/>
                <a:gdLst>
                  <a:gd name="connsiteX0" fmla="*/ 177450 w 183569"/>
                  <a:gd name="connsiteY0" fmla="*/ 183569 h 223342"/>
                  <a:gd name="connsiteX1" fmla="*/ 183569 w 183569"/>
                  <a:gd name="connsiteY1" fmla="*/ 0 h 223342"/>
                  <a:gd name="connsiteX2" fmla="*/ 0 w 183569"/>
                  <a:gd name="connsiteY2" fmla="*/ 0 h 223342"/>
                  <a:gd name="connsiteX3" fmla="*/ 15297 w 183569"/>
                  <a:gd name="connsiteY3" fmla="*/ 195807 h 223342"/>
                  <a:gd name="connsiteX4" fmla="*/ 165212 w 183569"/>
                  <a:gd name="connsiteY4" fmla="*/ 223342 h 223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3569" h="223342">
                    <a:moveTo>
                      <a:pt x="177450" y="183569"/>
                    </a:moveTo>
                    <a:lnTo>
                      <a:pt x="183569" y="0"/>
                    </a:lnTo>
                    <a:lnTo>
                      <a:pt x="0" y="0"/>
                    </a:lnTo>
                    <a:lnTo>
                      <a:pt x="15297" y="195807"/>
                    </a:lnTo>
                    <a:lnTo>
                      <a:pt x="165212" y="223342"/>
                    </a:ln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8DD61F6E-594D-42E9-8CCE-72DF6D8498DB}"/>
                  </a:ext>
                </a:extLst>
              </p:cNvPr>
              <p:cNvSpPr/>
              <p:nvPr/>
            </p:nvSpPr>
            <p:spPr>
              <a:xfrm>
                <a:off x="13719086" y="12290839"/>
                <a:ext cx="497677" cy="159092"/>
              </a:xfrm>
              <a:custGeom>
                <a:avLst/>
                <a:gdLst>
                  <a:gd name="connsiteX0" fmla="*/ 489518 w 497677"/>
                  <a:gd name="connsiteY0" fmla="*/ 45892 h 159092"/>
                  <a:gd name="connsiteX1" fmla="*/ 302889 w 497677"/>
                  <a:gd name="connsiteY1" fmla="*/ 0 h 159092"/>
                  <a:gd name="connsiteX2" fmla="*/ 168272 w 497677"/>
                  <a:gd name="connsiteY2" fmla="*/ 79547 h 159092"/>
                  <a:gd name="connsiteX3" fmla="*/ 0 w 497677"/>
                  <a:gd name="connsiteY3" fmla="*/ 159093 h 159092"/>
                  <a:gd name="connsiteX4" fmla="*/ 489518 w 497677"/>
                  <a:gd name="connsiteY4" fmla="*/ 159093 h 159092"/>
                  <a:gd name="connsiteX5" fmla="*/ 489518 w 497677"/>
                  <a:gd name="connsiteY5" fmla="*/ 45892 h 15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7677" h="159092">
                    <a:moveTo>
                      <a:pt x="489518" y="45892"/>
                    </a:moveTo>
                    <a:cubicBezTo>
                      <a:pt x="489518" y="45892"/>
                      <a:pt x="364079" y="64249"/>
                      <a:pt x="302889" y="0"/>
                    </a:cubicBezTo>
                    <a:cubicBezTo>
                      <a:pt x="302889" y="0"/>
                      <a:pt x="214164" y="70368"/>
                      <a:pt x="168272" y="79547"/>
                    </a:cubicBezTo>
                    <a:cubicBezTo>
                      <a:pt x="122380" y="88725"/>
                      <a:pt x="12238" y="85665"/>
                      <a:pt x="0" y="159093"/>
                    </a:cubicBezTo>
                    <a:lnTo>
                      <a:pt x="489518" y="159093"/>
                    </a:lnTo>
                    <a:cubicBezTo>
                      <a:pt x="489518" y="159093"/>
                      <a:pt x="507876" y="97903"/>
                      <a:pt x="489518" y="45892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1E16F4FF-1BE4-4A33-AF3D-FAF7DC2AAFBE}"/>
                  </a:ext>
                </a:extLst>
              </p:cNvPr>
              <p:cNvSpPr/>
              <p:nvPr/>
            </p:nvSpPr>
            <p:spPr>
              <a:xfrm>
                <a:off x="13719086" y="12449932"/>
                <a:ext cx="489518" cy="45892"/>
              </a:xfrm>
              <a:custGeom>
                <a:avLst/>
                <a:gdLst>
                  <a:gd name="connsiteX0" fmla="*/ 0 w 489518"/>
                  <a:gd name="connsiteY0" fmla="*/ 0 h 45892"/>
                  <a:gd name="connsiteX1" fmla="*/ 489518 w 489518"/>
                  <a:gd name="connsiteY1" fmla="*/ 0 h 45892"/>
                  <a:gd name="connsiteX2" fmla="*/ 489518 w 489518"/>
                  <a:gd name="connsiteY2" fmla="*/ 45892 h 45892"/>
                  <a:gd name="connsiteX3" fmla="*/ 0 w 489518"/>
                  <a:gd name="connsiteY3" fmla="*/ 45892 h 45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9518" h="45892">
                    <a:moveTo>
                      <a:pt x="0" y="0"/>
                    </a:moveTo>
                    <a:lnTo>
                      <a:pt x="489518" y="0"/>
                    </a:lnTo>
                    <a:lnTo>
                      <a:pt x="489518" y="45892"/>
                    </a:lnTo>
                    <a:lnTo>
                      <a:pt x="0" y="45892"/>
                    </a:ln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B6395512-664F-46A1-B550-686BF49C55FD}"/>
                  </a:ext>
                </a:extLst>
              </p:cNvPr>
              <p:cNvSpPr/>
              <p:nvPr/>
            </p:nvSpPr>
            <p:spPr>
              <a:xfrm>
                <a:off x="14013562" y="12282424"/>
                <a:ext cx="201161" cy="63484"/>
              </a:xfrm>
              <a:custGeom>
                <a:avLst/>
                <a:gdLst>
                  <a:gd name="connsiteX0" fmla="*/ 158329 w 201161"/>
                  <a:gd name="connsiteY0" fmla="*/ 63485 h 63484"/>
                  <a:gd name="connsiteX1" fmla="*/ 2295 w 201161"/>
                  <a:gd name="connsiteY1" fmla="*/ 11474 h 63484"/>
                  <a:gd name="connsiteX2" fmla="*/ 2295 w 201161"/>
                  <a:gd name="connsiteY2" fmla="*/ 2295 h 63484"/>
                  <a:gd name="connsiteX3" fmla="*/ 11473 w 201161"/>
                  <a:gd name="connsiteY3" fmla="*/ 2295 h 63484"/>
                  <a:gd name="connsiteX4" fmla="*/ 195042 w 201161"/>
                  <a:gd name="connsiteY4" fmla="*/ 48187 h 63484"/>
                  <a:gd name="connsiteX5" fmla="*/ 201162 w 201161"/>
                  <a:gd name="connsiteY5" fmla="*/ 54306 h 63484"/>
                  <a:gd name="connsiteX6" fmla="*/ 195042 w 201161"/>
                  <a:gd name="connsiteY6" fmla="*/ 60425 h 63484"/>
                  <a:gd name="connsiteX7" fmla="*/ 158329 w 201161"/>
                  <a:gd name="connsiteY7" fmla="*/ 63485 h 63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161" h="63484">
                    <a:moveTo>
                      <a:pt x="158329" y="63485"/>
                    </a:moveTo>
                    <a:cubicBezTo>
                      <a:pt x="118555" y="63485"/>
                      <a:pt x="51247" y="57366"/>
                      <a:pt x="2295" y="11474"/>
                    </a:cubicBezTo>
                    <a:cubicBezTo>
                      <a:pt x="-765" y="8414"/>
                      <a:pt x="-765" y="5354"/>
                      <a:pt x="2295" y="2295"/>
                    </a:cubicBezTo>
                    <a:cubicBezTo>
                      <a:pt x="5354" y="-765"/>
                      <a:pt x="8413" y="-765"/>
                      <a:pt x="11473" y="2295"/>
                    </a:cubicBezTo>
                    <a:cubicBezTo>
                      <a:pt x="78782" y="63485"/>
                      <a:pt x="191983" y="48187"/>
                      <a:pt x="195042" y="48187"/>
                    </a:cubicBezTo>
                    <a:cubicBezTo>
                      <a:pt x="198102" y="48187"/>
                      <a:pt x="201162" y="51247"/>
                      <a:pt x="201162" y="54306"/>
                    </a:cubicBezTo>
                    <a:cubicBezTo>
                      <a:pt x="201162" y="57366"/>
                      <a:pt x="198102" y="60425"/>
                      <a:pt x="195042" y="60425"/>
                    </a:cubicBezTo>
                    <a:cubicBezTo>
                      <a:pt x="191983" y="60425"/>
                      <a:pt x="179745" y="63485"/>
                      <a:pt x="158329" y="6348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115482FE-D06F-49DC-ACD8-672947CFA642}"/>
                  </a:ext>
                </a:extLst>
              </p:cNvPr>
              <p:cNvSpPr/>
              <p:nvPr/>
            </p:nvSpPr>
            <p:spPr>
              <a:xfrm>
                <a:off x="13982967" y="12306901"/>
                <a:ext cx="38243" cy="42067"/>
              </a:xfrm>
              <a:custGeom>
                <a:avLst/>
                <a:gdLst>
                  <a:gd name="connsiteX0" fmla="*/ 29830 w 38243"/>
                  <a:gd name="connsiteY0" fmla="*/ 42068 h 42067"/>
                  <a:gd name="connsiteX1" fmla="*/ 26770 w 38243"/>
                  <a:gd name="connsiteY1" fmla="*/ 39008 h 42067"/>
                  <a:gd name="connsiteX2" fmla="*/ 2295 w 38243"/>
                  <a:gd name="connsiteY2" fmla="*/ 11473 h 42067"/>
                  <a:gd name="connsiteX3" fmla="*/ 2295 w 38243"/>
                  <a:gd name="connsiteY3" fmla="*/ 2295 h 42067"/>
                  <a:gd name="connsiteX4" fmla="*/ 11473 w 38243"/>
                  <a:gd name="connsiteY4" fmla="*/ 2295 h 42067"/>
                  <a:gd name="connsiteX5" fmla="*/ 35949 w 38243"/>
                  <a:gd name="connsiteY5" fmla="*/ 29830 h 42067"/>
                  <a:gd name="connsiteX6" fmla="*/ 35949 w 38243"/>
                  <a:gd name="connsiteY6" fmla="*/ 39008 h 42067"/>
                  <a:gd name="connsiteX7" fmla="*/ 29830 w 38243"/>
                  <a:gd name="connsiteY7" fmla="*/ 42068 h 42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243" h="42067">
                    <a:moveTo>
                      <a:pt x="29830" y="42068"/>
                    </a:moveTo>
                    <a:cubicBezTo>
                      <a:pt x="29830" y="42068"/>
                      <a:pt x="26770" y="42068"/>
                      <a:pt x="26770" y="39008"/>
                    </a:cubicBezTo>
                    <a:lnTo>
                      <a:pt x="2295" y="11473"/>
                    </a:lnTo>
                    <a:cubicBezTo>
                      <a:pt x="-765" y="8413"/>
                      <a:pt x="-765" y="5354"/>
                      <a:pt x="2295" y="2295"/>
                    </a:cubicBezTo>
                    <a:cubicBezTo>
                      <a:pt x="5354" y="-765"/>
                      <a:pt x="8413" y="-765"/>
                      <a:pt x="11473" y="2295"/>
                    </a:cubicBezTo>
                    <a:lnTo>
                      <a:pt x="35949" y="29830"/>
                    </a:lnTo>
                    <a:cubicBezTo>
                      <a:pt x="39008" y="32890"/>
                      <a:pt x="39008" y="35948"/>
                      <a:pt x="35949" y="39008"/>
                    </a:cubicBezTo>
                    <a:cubicBezTo>
                      <a:pt x="29830" y="42068"/>
                      <a:pt x="29830" y="42068"/>
                      <a:pt x="29830" y="420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C7FFAFC7-9555-4DE9-BFDA-43D75E119CF2}"/>
                  </a:ext>
                </a:extLst>
              </p:cNvPr>
              <p:cNvSpPr/>
              <p:nvPr/>
            </p:nvSpPr>
            <p:spPr>
              <a:xfrm>
                <a:off x="13940134" y="12334436"/>
                <a:ext cx="41302" cy="42067"/>
              </a:xfrm>
              <a:custGeom>
                <a:avLst/>
                <a:gdLst>
                  <a:gd name="connsiteX0" fmla="*/ 32890 w 41302"/>
                  <a:gd name="connsiteY0" fmla="*/ 42068 h 42067"/>
                  <a:gd name="connsiteX1" fmla="*/ 29830 w 41302"/>
                  <a:gd name="connsiteY1" fmla="*/ 39008 h 42067"/>
                  <a:gd name="connsiteX2" fmla="*/ 2295 w 41302"/>
                  <a:gd name="connsiteY2" fmla="*/ 11473 h 42067"/>
                  <a:gd name="connsiteX3" fmla="*/ 2295 w 41302"/>
                  <a:gd name="connsiteY3" fmla="*/ 2295 h 42067"/>
                  <a:gd name="connsiteX4" fmla="*/ 11473 w 41302"/>
                  <a:gd name="connsiteY4" fmla="*/ 2295 h 42067"/>
                  <a:gd name="connsiteX5" fmla="*/ 39008 w 41302"/>
                  <a:gd name="connsiteY5" fmla="*/ 29830 h 42067"/>
                  <a:gd name="connsiteX6" fmla="*/ 39008 w 41302"/>
                  <a:gd name="connsiteY6" fmla="*/ 39008 h 42067"/>
                  <a:gd name="connsiteX7" fmla="*/ 32890 w 41302"/>
                  <a:gd name="connsiteY7" fmla="*/ 42068 h 42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302" h="42067">
                    <a:moveTo>
                      <a:pt x="32890" y="42068"/>
                    </a:moveTo>
                    <a:cubicBezTo>
                      <a:pt x="32890" y="42068"/>
                      <a:pt x="29830" y="42068"/>
                      <a:pt x="29830" y="39008"/>
                    </a:cubicBezTo>
                    <a:lnTo>
                      <a:pt x="2295" y="11473"/>
                    </a:lnTo>
                    <a:cubicBezTo>
                      <a:pt x="-765" y="8413"/>
                      <a:pt x="-765" y="5354"/>
                      <a:pt x="2295" y="2295"/>
                    </a:cubicBezTo>
                    <a:cubicBezTo>
                      <a:pt x="5354" y="-765"/>
                      <a:pt x="8413" y="-765"/>
                      <a:pt x="11473" y="2295"/>
                    </a:cubicBezTo>
                    <a:lnTo>
                      <a:pt x="39008" y="29830"/>
                    </a:lnTo>
                    <a:cubicBezTo>
                      <a:pt x="42068" y="32890"/>
                      <a:pt x="42068" y="35949"/>
                      <a:pt x="39008" y="39008"/>
                    </a:cubicBezTo>
                    <a:cubicBezTo>
                      <a:pt x="35948" y="42068"/>
                      <a:pt x="32890" y="42068"/>
                      <a:pt x="32890" y="420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1A4134A6-B510-4F7B-9D2F-E2C4116FBC91}"/>
                </a:ext>
              </a:extLst>
            </p:cNvPr>
            <p:cNvSpPr/>
            <p:nvPr/>
          </p:nvSpPr>
          <p:spPr>
            <a:xfrm>
              <a:off x="13870187" y="9931971"/>
              <a:ext cx="1488785" cy="2300736"/>
            </a:xfrm>
            <a:custGeom>
              <a:avLst/>
              <a:gdLst>
                <a:gd name="connsiteX0" fmla="*/ 7992 w 1488785"/>
                <a:gd name="connsiteY0" fmla="*/ 18357 h 2300736"/>
                <a:gd name="connsiteX1" fmla="*/ 20230 w 1488785"/>
                <a:gd name="connsiteY1" fmla="*/ 1407366 h 2300736"/>
                <a:gd name="connsiteX2" fmla="*/ 90598 w 1488785"/>
                <a:gd name="connsiteY2" fmla="*/ 2300737 h 2300736"/>
                <a:gd name="connsiteX3" fmla="*/ 387369 w 1488785"/>
                <a:gd name="connsiteY3" fmla="*/ 2300737 h 2300736"/>
                <a:gd name="connsiteX4" fmla="*/ 427142 w 1488785"/>
                <a:gd name="connsiteY4" fmla="*/ 1431841 h 2300736"/>
                <a:gd name="connsiteX5" fmla="*/ 509749 w 1488785"/>
                <a:gd name="connsiteY5" fmla="*/ 501756 h 2300736"/>
                <a:gd name="connsiteX6" fmla="*/ 730032 w 1488785"/>
                <a:gd name="connsiteY6" fmla="*/ 1306403 h 2300736"/>
                <a:gd name="connsiteX7" fmla="*/ 812638 w 1488785"/>
                <a:gd name="connsiteY7" fmla="*/ 1483853 h 2300736"/>
                <a:gd name="connsiteX8" fmla="*/ 1231789 w 1488785"/>
                <a:gd name="connsiteY8" fmla="*/ 2074334 h 2300736"/>
                <a:gd name="connsiteX9" fmla="*/ 1488785 w 1488785"/>
                <a:gd name="connsiteY9" fmla="*/ 1896884 h 2300736"/>
                <a:gd name="connsiteX10" fmla="*/ 1127766 w 1488785"/>
                <a:gd name="connsiteY10" fmla="*/ 1269688 h 2300736"/>
                <a:gd name="connsiteX11" fmla="*/ 1029862 w 1488785"/>
                <a:gd name="connsiteY11" fmla="*/ 0 h 2300736"/>
                <a:gd name="connsiteX12" fmla="*/ 7992 w 1488785"/>
                <a:gd name="connsiteY12" fmla="*/ 18357 h 230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88785" h="2300736">
                  <a:moveTo>
                    <a:pt x="7992" y="18357"/>
                  </a:moveTo>
                  <a:cubicBezTo>
                    <a:pt x="7992" y="18357"/>
                    <a:pt x="-16484" y="1095297"/>
                    <a:pt x="20230" y="1407366"/>
                  </a:cubicBezTo>
                  <a:cubicBezTo>
                    <a:pt x="50825" y="1679660"/>
                    <a:pt x="90598" y="2300737"/>
                    <a:pt x="90598" y="2300737"/>
                  </a:cubicBezTo>
                  <a:lnTo>
                    <a:pt x="387369" y="2300737"/>
                  </a:lnTo>
                  <a:cubicBezTo>
                    <a:pt x="387369" y="2300737"/>
                    <a:pt x="421024" y="1529745"/>
                    <a:pt x="427142" y="1431841"/>
                  </a:cubicBezTo>
                  <a:cubicBezTo>
                    <a:pt x="433261" y="1291105"/>
                    <a:pt x="494451" y="532351"/>
                    <a:pt x="509749" y="501756"/>
                  </a:cubicBezTo>
                  <a:cubicBezTo>
                    <a:pt x="521986" y="477281"/>
                    <a:pt x="671901" y="1067762"/>
                    <a:pt x="730032" y="1306403"/>
                  </a:cubicBezTo>
                  <a:cubicBezTo>
                    <a:pt x="745330" y="1370651"/>
                    <a:pt x="772865" y="1428782"/>
                    <a:pt x="812638" y="1483853"/>
                  </a:cubicBezTo>
                  <a:lnTo>
                    <a:pt x="1231789" y="2074334"/>
                  </a:lnTo>
                  <a:lnTo>
                    <a:pt x="1488785" y="1896884"/>
                  </a:lnTo>
                  <a:lnTo>
                    <a:pt x="1127766" y="1269688"/>
                  </a:lnTo>
                  <a:cubicBezTo>
                    <a:pt x="1127766" y="1269688"/>
                    <a:pt x="1075754" y="97904"/>
                    <a:pt x="1029862" y="0"/>
                  </a:cubicBezTo>
                  <a:cubicBezTo>
                    <a:pt x="332299" y="30595"/>
                    <a:pt x="7992" y="18357"/>
                    <a:pt x="7992" y="18357"/>
                  </a:cubicBezTo>
                  <a:close/>
                </a:path>
              </a:pathLst>
            </a:custGeom>
            <a:solidFill>
              <a:srgbClr val="7F95BC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6C4A0F30-3C8E-41BD-B61D-BEA23E7C2673}"/>
                </a:ext>
              </a:extLst>
            </p:cNvPr>
            <p:cNvSpPr/>
            <p:nvPr/>
          </p:nvSpPr>
          <p:spPr>
            <a:xfrm>
              <a:off x="14312627" y="10075768"/>
              <a:ext cx="70368" cy="364079"/>
            </a:xfrm>
            <a:custGeom>
              <a:avLst/>
              <a:gdLst>
                <a:gd name="connsiteX0" fmla="*/ 64249 w 70368"/>
                <a:gd name="connsiteY0" fmla="*/ 364079 h 364079"/>
                <a:gd name="connsiteX1" fmla="*/ 58131 w 70368"/>
                <a:gd name="connsiteY1" fmla="*/ 361019 h 364079"/>
                <a:gd name="connsiteX2" fmla="*/ 0 w 70368"/>
                <a:gd name="connsiteY2" fmla="*/ 6118 h 364079"/>
                <a:gd name="connsiteX3" fmla="*/ 6119 w 70368"/>
                <a:gd name="connsiteY3" fmla="*/ 0 h 364079"/>
                <a:gd name="connsiteX4" fmla="*/ 6119 w 70368"/>
                <a:gd name="connsiteY4" fmla="*/ 0 h 364079"/>
                <a:gd name="connsiteX5" fmla="*/ 12239 w 70368"/>
                <a:gd name="connsiteY5" fmla="*/ 6118 h 364079"/>
                <a:gd name="connsiteX6" fmla="*/ 70369 w 70368"/>
                <a:gd name="connsiteY6" fmla="*/ 357960 h 364079"/>
                <a:gd name="connsiteX7" fmla="*/ 64249 w 70368"/>
                <a:gd name="connsiteY7" fmla="*/ 364079 h 364079"/>
                <a:gd name="connsiteX8" fmla="*/ 64249 w 70368"/>
                <a:gd name="connsiteY8" fmla="*/ 364079 h 364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368" h="364079">
                  <a:moveTo>
                    <a:pt x="64249" y="364079"/>
                  </a:moveTo>
                  <a:cubicBezTo>
                    <a:pt x="61190" y="364079"/>
                    <a:pt x="61190" y="364079"/>
                    <a:pt x="58131" y="361019"/>
                  </a:cubicBezTo>
                  <a:cubicBezTo>
                    <a:pt x="9179" y="244759"/>
                    <a:pt x="0" y="15297"/>
                    <a:pt x="0" y="6118"/>
                  </a:cubicBezTo>
                  <a:cubicBezTo>
                    <a:pt x="0" y="3059"/>
                    <a:pt x="3060" y="0"/>
                    <a:pt x="6119" y="0"/>
                  </a:cubicBezTo>
                  <a:cubicBezTo>
                    <a:pt x="6119" y="0"/>
                    <a:pt x="6119" y="0"/>
                    <a:pt x="6119" y="0"/>
                  </a:cubicBezTo>
                  <a:cubicBezTo>
                    <a:pt x="9179" y="0"/>
                    <a:pt x="12239" y="3059"/>
                    <a:pt x="12239" y="6118"/>
                  </a:cubicBezTo>
                  <a:cubicBezTo>
                    <a:pt x="12239" y="9178"/>
                    <a:pt x="21417" y="244759"/>
                    <a:pt x="70369" y="357960"/>
                  </a:cubicBezTo>
                  <a:cubicBezTo>
                    <a:pt x="70369" y="361019"/>
                    <a:pt x="67309" y="364079"/>
                    <a:pt x="64249" y="364079"/>
                  </a:cubicBezTo>
                  <a:cubicBezTo>
                    <a:pt x="64249" y="364079"/>
                    <a:pt x="64249" y="364079"/>
                    <a:pt x="64249" y="364079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8978AE91-9535-4117-B384-46C6B4B62FF4}"/>
                </a:ext>
              </a:extLst>
            </p:cNvPr>
            <p:cNvSpPr/>
            <p:nvPr/>
          </p:nvSpPr>
          <p:spPr>
            <a:xfrm>
              <a:off x="14199426" y="10008459"/>
              <a:ext cx="156034" cy="354901"/>
            </a:xfrm>
            <a:custGeom>
              <a:avLst/>
              <a:gdLst>
                <a:gd name="connsiteX0" fmla="*/ 146855 w 156034"/>
                <a:gd name="connsiteY0" fmla="*/ 354901 h 354901"/>
                <a:gd name="connsiteX1" fmla="*/ 143795 w 156034"/>
                <a:gd name="connsiteY1" fmla="*/ 354901 h 354901"/>
                <a:gd name="connsiteX2" fmla="*/ 33655 w 156034"/>
                <a:gd name="connsiteY2" fmla="*/ 275354 h 354901"/>
                <a:gd name="connsiteX3" fmla="*/ 0 w 156034"/>
                <a:gd name="connsiteY3" fmla="*/ 6119 h 354901"/>
                <a:gd name="connsiteX4" fmla="*/ 6118 w 156034"/>
                <a:gd name="connsiteY4" fmla="*/ 0 h 354901"/>
                <a:gd name="connsiteX5" fmla="*/ 12238 w 156034"/>
                <a:gd name="connsiteY5" fmla="*/ 6119 h 354901"/>
                <a:gd name="connsiteX6" fmla="*/ 45892 w 156034"/>
                <a:gd name="connsiteY6" fmla="*/ 269235 h 354901"/>
                <a:gd name="connsiteX7" fmla="*/ 152975 w 156034"/>
                <a:gd name="connsiteY7" fmla="*/ 345722 h 354901"/>
                <a:gd name="connsiteX8" fmla="*/ 156034 w 156034"/>
                <a:gd name="connsiteY8" fmla="*/ 354901 h 354901"/>
                <a:gd name="connsiteX9" fmla="*/ 146855 w 156034"/>
                <a:gd name="connsiteY9" fmla="*/ 354901 h 354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034" h="354901">
                  <a:moveTo>
                    <a:pt x="146855" y="354901"/>
                  </a:moveTo>
                  <a:cubicBezTo>
                    <a:pt x="146855" y="354901"/>
                    <a:pt x="143795" y="354901"/>
                    <a:pt x="143795" y="354901"/>
                  </a:cubicBezTo>
                  <a:cubicBezTo>
                    <a:pt x="134617" y="348782"/>
                    <a:pt x="45892" y="290652"/>
                    <a:pt x="33655" y="275354"/>
                  </a:cubicBezTo>
                  <a:cubicBezTo>
                    <a:pt x="21416" y="260057"/>
                    <a:pt x="3060" y="48952"/>
                    <a:pt x="0" y="6119"/>
                  </a:cubicBezTo>
                  <a:cubicBezTo>
                    <a:pt x="0" y="3060"/>
                    <a:pt x="3060" y="0"/>
                    <a:pt x="6118" y="0"/>
                  </a:cubicBezTo>
                  <a:cubicBezTo>
                    <a:pt x="9178" y="0"/>
                    <a:pt x="12238" y="3060"/>
                    <a:pt x="12238" y="6119"/>
                  </a:cubicBezTo>
                  <a:cubicBezTo>
                    <a:pt x="21416" y="100963"/>
                    <a:pt x="36713" y="256997"/>
                    <a:pt x="45892" y="269235"/>
                  </a:cubicBezTo>
                  <a:cubicBezTo>
                    <a:pt x="55070" y="278414"/>
                    <a:pt x="113201" y="321246"/>
                    <a:pt x="152975" y="345722"/>
                  </a:cubicBezTo>
                  <a:cubicBezTo>
                    <a:pt x="156034" y="348782"/>
                    <a:pt x="156034" y="351841"/>
                    <a:pt x="156034" y="354901"/>
                  </a:cubicBezTo>
                  <a:cubicBezTo>
                    <a:pt x="149915" y="351841"/>
                    <a:pt x="149915" y="354901"/>
                    <a:pt x="146855" y="354901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CFD363B1-A481-4ABC-B934-B4E6BEA4A700}"/>
                </a:ext>
              </a:extLst>
            </p:cNvPr>
            <p:cNvSpPr/>
            <p:nvPr/>
          </p:nvSpPr>
          <p:spPr>
            <a:xfrm>
              <a:off x="14263676" y="8252312"/>
              <a:ext cx="250877" cy="259149"/>
            </a:xfrm>
            <a:custGeom>
              <a:avLst/>
              <a:gdLst>
                <a:gd name="connsiteX0" fmla="*/ 0 w 250877"/>
                <a:gd name="connsiteY0" fmla="*/ 39773 h 259149"/>
                <a:gd name="connsiteX1" fmla="*/ 6118 w 250877"/>
                <a:gd name="connsiteY1" fmla="*/ 214164 h 259149"/>
                <a:gd name="connsiteX2" fmla="*/ 250878 w 250877"/>
                <a:gd name="connsiteY2" fmla="*/ 204986 h 259149"/>
                <a:gd name="connsiteX3" fmla="*/ 235580 w 250877"/>
                <a:gd name="connsiteY3" fmla="*/ 0 h 259149"/>
                <a:gd name="connsiteX4" fmla="*/ 0 w 250877"/>
                <a:gd name="connsiteY4" fmla="*/ 39773 h 25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877" h="259149">
                  <a:moveTo>
                    <a:pt x="0" y="39773"/>
                  </a:moveTo>
                  <a:cubicBezTo>
                    <a:pt x="0" y="39773"/>
                    <a:pt x="6118" y="140736"/>
                    <a:pt x="6118" y="214164"/>
                  </a:cubicBezTo>
                  <a:cubicBezTo>
                    <a:pt x="6118" y="214164"/>
                    <a:pt x="100963" y="321246"/>
                    <a:pt x="250878" y="204986"/>
                  </a:cubicBezTo>
                  <a:cubicBezTo>
                    <a:pt x="250878" y="143796"/>
                    <a:pt x="238640" y="64249"/>
                    <a:pt x="235580" y="0"/>
                  </a:cubicBezTo>
                  <a:cubicBezTo>
                    <a:pt x="235580" y="0"/>
                    <a:pt x="52011" y="52011"/>
                    <a:pt x="0" y="39773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6629AB71-1355-4619-AE73-DBC55EBA7B9B}"/>
                </a:ext>
              </a:extLst>
            </p:cNvPr>
            <p:cNvSpPr/>
            <p:nvPr/>
          </p:nvSpPr>
          <p:spPr>
            <a:xfrm>
              <a:off x="13855943" y="8417524"/>
              <a:ext cx="1074701" cy="1572393"/>
            </a:xfrm>
            <a:custGeom>
              <a:avLst/>
              <a:gdLst>
                <a:gd name="connsiteX0" fmla="*/ 676968 w 1074701"/>
                <a:gd name="connsiteY0" fmla="*/ 0 h 1572393"/>
                <a:gd name="connsiteX1" fmla="*/ 386316 w 1074701"/>
                <a:gd name="connsiteY1" fmla="*/ 0 h 1572393"/>
                <a:gd name="connsiteX2" fmla="*/ 86486 w 1074701"/>
                <a:gd name="connsiteY2" fmla="*/ 131558 h 1572393"/>
                <a:gd name="connsiteX3" fmla="*/ 820 w 1074701"/>
                <a:gd name="connsiteY3" fmla="*/ 1541983 h 1572393"/>
                <a:gd name="connsiteX4" fmla="*/ 1074701 w 1074701"/>
                <a:gd name="connsiteY4" fmla="*/ 1517507 h 1572393"/>
                <a:gd name="connsiteX5" fmla="*/ 958441 w 1074701"/>
                <a:gd name="connsiteY5" fmla="*/ 104022 h 1572393"/>
                <a:gd name="connsiteX6" fmla="*/ 676968 w 1074701"/>
                <a:gd name="connsiteY6" fmla="*/ 0 h 1572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4701" h="1572393">
                  <a:moveTo>
                    <a:pt x="676968" y="0"/>
                  </a:moveTo>
                  <a:cubicBezTo>
                    <a:pt x="676968" y="0"/>
                    <a:pt x="502576" y="55071"/>
                    <a:pt x="386316" y="0"/>
                  </a:cubicBezTo>
                  <a:cubicBezTo>
                    <a:pt x="386316" y="0"/>
                    <a:pt x="110962" y="97904"/>
                    <a:pt x="86486" y="131558"/>
                  </a:cubicBezTo>
                  <a:cubicBezTo>
                    <a:pt x="62010" y="162153"/>
                    <a:pt x="-8358" y="1474675"/>
                    <a:pt x="820" y="1541983"/>
                  </a:cubicBezTo>
                  <a:cubicBezTo>
                    <a:pt x="820" y="1541983"/>
                    <a:pt x="493398" y="1624589"/>
                    <a:pt x="1074701" y="1517507"/>
                  </a:cubicBezTo>
                  <a:cubicBezTo>
                    <a:pt x="1074701" y="1159547"/>
                    <a:pt x="1001274" y="134617"/>
                    <a:pt x="958441" y="104022"/>
                  </a:cubicBezTo>
                  <a:cubicBezTo>
                    <a:pt x="915608" y="70368"/>
                    <a:pt x="676968" y="0"/>
                    <a:pt x="676968" y="0"/>
                  </a:cubicBezTo>
                  <a:close/>
                </a:path>
              </a:pathLst>
            </a:custGeom>
            <a:solidFill>
              <a:srgbClr val="F1DDBA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971A6DE8-954D-42F0-AC67-CD424800DE53}"/>
                </a:ext>
              </a:extLst>
            </p:cNvPr>
            <p:cNvSpPr/>
            <p:nvPr/>
          </p:nvSpPr>
          <p:spPr>
            <a:xfrm>
              <a:off x="14352401" y="8417524"/>
              <a:ext cx="180509" cy="119319"/>
            </a:xfrm>
            <a:custGeom>
              <a:avLst/>
              <a:gdLst>
                <a:gd name="connsiteX0" fmla="*/ 0 w 180509"/>
                <a:gd name="connsiteY0" fmla="*/ 21416 h 119319"/>
                <a:gd name="connsiteX1" fmla="*/ 27535 w 180509"/>
                <a:gd name="connsiteY1" fmla="*/ 119320 h 119319"/>
                <a:gd name="connsiteX2" fmla="*/ 180510 w 180509"/>
                <a:gd name="connsiteY2" fmla="*/ 0 h 119319"/>
                <a:gd name="connsiteX3" fmla="*/ 0 w 180509"/>
                <a:gd name="connsiteY3" fmla="*/ 21416 h 119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509" h="119319">
                  <a:moveTo>
                    <a:pt x="0" y="21416"/>
                  </a:moveTo>
                  <a:lnTo>
                    <a:pt x="27535" y="119320"/>
                  </a:lnTo>
                  <a:lnTo>
                    <a:pt x="180510" y="0"/>
                  </a:lnTo>
                  <a:cubicBezTo>
                    <a:pt x="180510" y="0"/>
                    <a:pt x="42833" y="21416"/>
                    <a:pt x="0" y="21416"/>
                  </a:cubicBezTo>
                  <a:close/>
                </a:path>
              </a:pathLst>
            </a:custGeom>
            <a:solidFill>
              <a:srgbClr val="FFFFFF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A2A413F1-16E2-4CF8-99BB-41E28CE3A006}"/>
                </a:ext>
              </a:extLst>
            </p:cNvPr>
            <p:cNvSpPr/>
            <p:nvPr/>
          </p:nvSpPr>
          <p:spPr>
            <a:xfrm>
              <a:off x="14242259" y="8417524"/>
              <a:ext cx="110141" cy="116260"/>
            </a:xfrm>
            <a:custGeom>
              <a:avLst/>
              <a:gdLst>
                <a:gd name="connsiteX0" fmla="*/ 110142 w 110141"/>
                <a:gd name="connsiteY0" fmla="*/ 21416 h 116260"/>
                <a:gd name="connsiteX1" fmla="*/ 73428 w 110141"/>
                <a:gd name="connsiteY1" fmla="*/ 116261 h 116260"/>
                <a:gd name="connsiteX2" fmla="*/ 0 w 110141"/>
                <a:gd name="connsiteY2" fmla="*/ 0 h 116260"/>
                <a:gd name="connsiteX3" fmla="*/ 110142 w 110141"/>
                <a:gd name="connsiteY3" fmla="*/ 21416 h 11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41" h="116260">
                  <a:moveTo>
                    <a:pt x="110142" y="21416"/>
                  </a:moveTo>
                  <a:lnTo>
                    <a:pt x="73428" y="116261"/>
                  </a:lnTo>
                  <a:lnTo>
                    <a:pt x="0" y="0"/>
                  </a:lnTo>
                  <a:cubicBezTo>
                    <a:pt x="0" y="0"/>
                    <a:pt x="70368" y="21416"/>
                    <a:pt x="110142" y="21416"/>
                  </a:cubicBezTo>
                  <a:close/>
                </a:path>
              </a:pathLst>
            </a:custGeom>
            <a:solidFill>
              <a:srgbClr val="FFFFFF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0" name="图形 892">
              <a:extLst>
                <a:ext uri="{FF2B5EF4-FFF2-40B4-BE49-F238E27FC236}">
                  <a16:creationId xmlns:a16="http://schemas.microsoft.com/office/drawing/2014/main" id="{F6AB699D-31B5-4765-A775-497255FAEEAE}"/>
                </a:ext>
              </a:extLst>
            </p:cNvPr>
            <p:cNvGrpSpPr/>
            <p:nvPr/>
          </p:nvGrpSpPr>
          <p:grpSpPr>
            <a:xfrm>
              <a:off x="17469620" y="9335371"/>
              <a:ext cx="303762" cy="179468"/>
              <a:chOff x="17469620" y="9335371"/>
              <a:chExt cx="303762" cy="179468"/>
            </a:xfrm>
          </p:grpSpPr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92B79E86-BD13-4665-906F-8D18E4C3CD5D}"/>
                  </a:ext>
                </a:extLst>
              </p:cNvPr>
              <p:cNvSpPr/>
              <p:nvPr/>
            </p:nvSpPr>
            <p:spPr>
              <a:xfrm>
                <a:off x="17469620" y="9340292"/>
                <a:ext cx="303762" cy="174547"/>
              </a:xfrm>
              <a:custGeom>
                <a:avLst/>
                <a:gdLst>
                  <a:gd name="connsiteX0" fmla="*/ 43233 w 303762"/>
                  <a:gd name="connsiteY0" fmla="*/ 172530 h 174547"/>
                  <a:gd name="connsiteX1" fmla="*/ 101363 w 303762"/>
                  <a:gd name="connsiteY1" fmla="*/ 163351 h 174547"/>
                  <a:gd name="connsiteX2" fmla="*/ 156435 w 303762"/>
                  <a:gd name="connsiteY2" fmla="*/ 160292 h 174547"/>
                  <a:gd name="connsiteX3" fmla="*/ 165613 w 303762"/>
                  <a:gd name="connsiteY3" fmla="*/ 135816 h 174547"/>
                  <a:gd name="connsiteX4" fmla="*/ 183970 w 303762"/>
                  <a:gd name="connsiteY4" fmla="*/ 99102 h 174547"/>
                  <a:gd name="connsiteX5" fmla="*/ 193148 w 303762"/>
                  <a:gd name="connsiteY5" fmla="*/ 62388 h 174547"/>
                  <a:gd name="connsiteX6" fmla="*/ 239040 w 303762"/>
                  <a:gd name="connsiteY6" fmla="*/ 68507 h 174547"/>
                  <a:gd name="connsiteX7" fmla="*/ 303290 w 303762"/>
                  <a:gd name="connsiteY7" fmla="*/ 74626 h 174547"/>
                  <a:gd name="connsiteX8" fmla="*/ 239040 w 303762"/>
                  <a:gd name="connsiteY8" fmla="*/ 25674 h 174547"/>
                  <a:gd name="connsiteX9" fmla="*/ 147256 w 303762"/>
                  <a:gd name="connsiteY9" fmla="*/ 1198 h 174547"/>
                  <a:gd name="connsiteX10" fmla="*/ 15698 w 303762"/>
                  <a:gd name="connsiteY10" fmla="*/ 59329 h 174547"/>
                  <a:gd name="connsiteX11" fmla="*/ 12638 w 303762"/>
                  <a:gd name="connsiteY11" fmla="*/ 68507 h 174547"/>
                  <a:gd name="connsiteX12" fmla="*/ 43233 w 303762"/>
                  <a:gd name="connsiteY12" fmla="*/ 172530 h 174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3762" h="174547">
                    <a:moveTo>
                      <a:pt x="43233" y="172530"/>
                    </a:moveTo>
                    <a:cubicBezTo>
                      <a:pt x="67710" y="178649"/>
                      <a:pt x="76888" y="169470"/>
                      <a:pt x="101363" y="163351"/>
                    </a:cubicBezTo>
                    <a:cubicBezTo>
                      <a:pt x="119720" y="160292"/>
                      <a:pt x="135018" y="166411"/>
                      <a:pt x="156435" y="160292"/>
                    </a:cubicBezTo>
                    <a:cubicBezTo>
                      <a:pt x="159494" y="160292"/>
                      <a:pt x="168672" y="141935"/>
                      <a:pt x="165613" y="135816"/>
                    </a:cubicBezTo>
                    <a:cubicBezTo>
                      <a:pt x="205387" y="126637"/>
                      <a:pt x="187029" y="102161"/>
                      <a:pt x="183970" y="99102"/>
                    </a:cubicBezTo>
                    <a:cubicBezTo>
                      <a:pt x="183970" y="99102"/>
                      <a:pt x="217624" y="80745"/>
                      <a:pt x="193148" y="62388"/>
                    </a:cubicBezTo>
                    <a:cubicBezTo>
                      <a:pt x="187029" y="59329"/>
                      <a:pt x="211505" y="62388"/>
                      <a:pt x="239040" y="68507"/>
                    </a:cubicBezTo>
                    <a:cubicBezTo>
                      <a:pt x="266576" y="74626"/>
                      <a:pt x="300230" y="86864"/>
                      <a:pt x="303290" y="74626"/>
                    </a:cubicBezTo>
                    <a:cubicBezTo>
                      <a:pt x="309409" y="59329"/>
                      <a:pt x="254338" y="31793"/>
                      <a:pt x="239040" y="25674"/>
                    </a:cubicBezTo>
                    <a:cubicBezTo>
                      <a:pt x="208445" y="16496"/>
                      <a:pt x="177850" y="7317"/>
                      <a:pt x="147256" y="1198"/>
                    </a:cubicBezTo>
                    <a:cubicBezTo>
                      <a:pt x="101363" y="-7980"/>
                      <a:pt x="52412" y="37912"/>
                      <a:pt x="15698" y="59329"/>
                    </a:cubicBezTo>
                    <a:cubicBezTo>
                      <a:pt x="12638" y="62388"/>
                      <a:pt x="9579" y="65448"/>
                      <a:pt x="12638" y="68507"/>
                    </a:cubicBezTo>
                    <a:cubicBezTo>
                      <a:pt x="-8778" y="111340"/>
                      <a:pt x="-5719" y="160292"/>
                      <a:pt x="43233" y="172530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1D6045FF-6EE8-4EB5-A59F-87D73710651C}"/>
                  </a:ext>
                </a:extLst>
              </p:cNvPr>
              <p:cNvSpPr/>
              <p:nvPr/>
            </p:nvSpPr>
            <p:spPr>
              <a:xfrm>
                <a:off x="17595460" y="9335371"/>
                <a:ext cx="175750" cy="91784"/>
              </a:xfrm>
              <a:custGeom>
                <a:avLst/>
                <a:gdLst>
                  <a:gd name="connsiteX0" fmla="*/ 165212 w 175750"/>
                  <a:gd name="connsiteY0" fmla="*/ 91785 h 91784"/>
                  <a:gd name="connsiteX1" fmla="*/ 137677 w 175750"/>
                  <a:gd name="connsiteY1" fmla="*/ 85666 h 91784"/>
                  <a:gd name="connsiteX2" fmla="*/ 110142 w 175750"/>
                  <a:gd name="connsiteY2" fmla="*/ 79547 h 91784"/>
                  <a:gd name="connsiteX3" fmla="*/ 61190 w 175750"/>
                  <a:gd name="connsiteY3" fmla="*/ 73428 h 91784"/>
                  <a:gd name="connsiteX4" fmla="*/ 55070 w 175750"/>
                  <a:gd name="connsiteY4" fmla="*/ 67309 h 91784"/>
                  <a:gd name="connsiteX5" fmla="*/ 61190 w 175750"/>
                  <a:gd name="connsiteY5" fmla="*/ 61190 h 91784"/>
                  <a:gd name="connsiteX6" fmla="*/ 61190 w 175750"/>
                  <a:gd name="connsiteY6" fmla="*/ 61190 h 91784"/>
                  <a:gd name="connsiteX7" fmla="*/ 110142 w 175750"/>
                  <a:gd name="connsiteY7" fmla="*/ 67309 h 91784"/>
                  <a:gd name="connsiteX8" fmla="*/ 137677 w 175750"/>
                  <a:gd name="connsiteY8" fmla="*/ 73428 h 91784"/>
                  <a:gd name="connsiteX9" fmla="*/ 165212 w 175750"/>
                  <a:gd name="connsiteY9" fmla="*/ 76487 h 91784"/>
                  <a:gd name="connsiteX10" fmla="*/ 165212 w 175750"/>
                  <a:gd name="connsiteY10" fmla="*/ 76487 h 91784"/>
                  <a:gd name="connsiteX11" fmla="*/ 104022 w 175750"/>
                  <a:gd name="connsiteY11" fmla="*/ 36714 h 91784"/>
                  <a:gd name="connsiteX12" fmla="*/ 6118 w 175750"/>
                  <a:gd name="connsiteY12" fmla="*/ 12238 h 91784"/>
                  <a:gd name="connsiteX13" fmla="*/ 0 w 175750"/>
                  <a:gd name="connsiteY13" fmla="*/ 6119 h 91784"/>
                  <a:gd name="connsiteX14" fmla="*/ 6118 w 175750"/>
                  <a:gd name="connsiteY14" fmla="*/ 0 h 91784"/>
                  <a:gd name="connsiteX15" fmla="*/ 107082 w 175750"/>
                  <a:gd name="connsiteY15" fmla="*/ 24476 h 91784"/>
                  <a:gd name="connsiteX16" fmla="*/ 174390 w 175750"/>
                  <a:gd name="connsiteY16" fmla="*/ 70368 h 91784"/>
                  <a:gd name="connsiteX17" fmla="*/ 174390 w 175750"/>
                  <a:gd name="connsiteY17" fmla="*/ 82606 h 91784"/>
                  <a:gd name="connsiteX18" fmla="*/ 165212 w 175750"/>
                  <a:gd name="connsiteY18" fmla="*/ 91785 h 91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75750" h="91784">
                    <a:moveTo>
                      <a:pt x="165212" y="91785"/>
                    </a:moveTo>
                    <a:cubicBezTo>
                      <a:pt x="159093" y="91785"/>
                      <a:pt x="149915" y="88725"/>
                      <a:pt x="137677" y="85666"/>
                    </a:cubicBezTo>
                    <a:cubicBezTo>
                      <a:pt x="128498" y="82606"/>
                      <a:pt x="119320" y="79547"/>
                      <a:pt x="110142" y="79547"/>
                    </a:cubicBezTo>
                    <a:cubicBezTo>
                      <a:pt x="85665" y="76487"/>
                      <a:pt x="61190" y="73428"/>
                      <a:pt x="61190" y="73428"/>
                    </a:cubicBezTo>
                    <a:cubicBezTo>
                      <a:pt x="58130" y="73428"/>
                      <a:pt x="55070" y="70368"/>
                      <a:pt x="55070" y="67309"/>
                    </a:cubicBezTo>
                    <a:cubicBezTo>
                      <a:pt x="55070" y="64249"/>
                      <a:pt x="58130" y="61190"/>
                      <a:pt x="61190" y="61190"/>
                    </a:cubicBezTo>
                    <a:cubicBezTo>
                      <a:pt x="61190" y="61190"/>
                      <a:pt x="61190" y="61190"/>
                      <a:pt x="61190" y="61190"/>
                    </a:cubicBezTo>
                    <a:cubicBezTo>
                      <a:pt x="61190" y="61190"/>
                      <a:pt x="85665" y="61190"/>
                      <a:pt x="110142" y="67309"/>
                    </a:cubicBezTo>
                    <a:cubicBezTo>
                      <a:pt x="119320" y="70368"/>
                      <a:pt x="128498" y="70368"/>
                      <a:pt x="137677" y="73428"/>
                    </a:cubicBezTo>
                    <a:cubicBezTo>
                      <a:pt x="149915" y="76487"/>
                      <a:pt x="162153" y="79547"/>
                      <a:pt x="165212" y="76487"/>
                    </a:cubicBezTo>
                    <a:cubicBezTo>
                      <a:pt x="165212" y="76487"/>
                      <a:pt x="165212" y="76487"/>
                      <a:pt x="165212" y="76487"/>
                    </a:cubicBezTo>
                    <a:cubicBezTo>
                      <a:pt x="162153" y="67309"/>
                      <a:pt x="137677" y="52011"/>
                      <a:pt x="104022" y="36714"/>
                    </a:cubicBezTo>
                    <a:cubicBezTo>
                      <a:pt x="58130" y="18357"/>
                      <a:pt x="6118" y="12238"/>
                      <a:pt x="6118" y="12238"/>
                    </a:cubicBezTo>
                    <a:cubicBezTo>
                      <a:pt x="3060" y="12238"/>
                      <a:pt x="0" y="9179"/>
                      <a:pt x="0" y="6119"/>
                    </a:cubicBezTo>
                    <a:cubicBezTo>
                      <a:pt x="0" y="3060"/>
                      <a:pt x="3060" y="0"/>
                      <a:pt x="6118" y="0"/>
                    </a:cubicBezTo>
                    <a:cubicBezTo>
                      <a:pt x="9178" y="0"/>
                      <a:pt x="61190" y="6119"/>
                      <a:pt x="107082" y="24476"/>
                    </a:cubicBezTo>
                    <a:cubicBezTo>
                      <a:pt x="134617" y="33655"/>
                      <a:pt x="168272" y="55071"/>
                      <a:pt x="174390" y="70368"/>
                    </a:cubicBezTo>
                    <a:cubicBezTo>
                      <a:pt x="177450" y="76487"/>
                      <a:pt x="174390" y="79547"/>
                      <a:pt x="174390" y="82606"/>
                    </a:cubicBezTo>
                    <a:cubicBezTo>
                      <a:pt x="174390" y="91785"/>
                      <a:pt x="171332" y="91785"/>
                      <a:pt x="165212" y="9178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DFFA8C93-A555-43E2-A9DE-60A9396B8D95}"/>
                  </a:ext>
                </a:extLst>
              </p:cNvPr>
              <p:cNvSpPr/>
              <p:nvPr/>
            </p:nvSpPr>
            <p:spPr>
              <a:xfrm>
                <a:off x="17630906" y="9399620"/>
                <a:ext cx="44399" cy="48951"/>
              </a:xfrm>
              <a:custGeom>
                <a:avLst/>
                <a:gdLst>
                  <a:gd name="connsiteX0" fmla="*/ 13506 w 44399"/>
                  <a:gd name="connsiteY0" fmla="*/ 48952 h 48951"/>
                  <a:gd name="connsiteX1" fmla="*/ 4327 w 44399"/>
                  <a:gd name="connsiteY1" fmla="*/ 48952 h 48951"/>
                  <a:gd name="connsiteX2" fmla="*/ 1267 w 44399"/>
                  <a:gd name="connsiteY2" fmla="*/ 42833 h 48951"/>
                  <a:gd name="connsiteX3" fmla="*/ 7386 w 44399"/>
                  <a:gd name="connsiteY3" fmla="*/ 39773 h 48951"/>
                  <a:gd name="connsiteX4" fmla="*/ 25743 w 44399"/>
                  <a:gd name="connsiteY4" fmla="*/ 36714 h 48951"/>
                  <a:gd name="connsiteX5" fmla="*/ 31862 w 44399"/>
                  <a:gd name="connsiteY5" fmla="*/ 27535 h 48951"/>
                  <a:gd name="connsiteX6" fmla="*/ 19624 w 44399"/>
                  <a:gd name="connsiteY6" fmla="*/ 12238 h 48951"/>
                  <a:gd name="connsiteX7" fmla="*/ 16564 w 44399"/>
                  <a:gd name="connsiteY7" fmla="*/ 3059 h 48951"/>
                  <a:gd name="connsiteX8" fmla="*/ 25743 w 44399"/>
                  <a:gd name="connsiteY8" fmla="*/ 0 h 48951"/>
                  <a:gd name="connsiteX9" fmla="*/ 44101 w 44399"/>
                  <a:gd name="connsiteY9" fmla="*/ 30595 h 48951"/>
                  <a:gd name="connsiteX10" fmla="*/ 31862 w 44399"/>
                  <a:gd name="connsiteY10" fmla="*/ 48952 h 48951"/>
                  <a:gd name="connsiteX11" fmla="*/ 13506 w 44399"/>
                  <a:gd name="connsiteY11" fmla="*/ 48952 h 48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4399" h="48951">
                    <a:moveTo>
                      <a:pt x="13506" y="48952"/>
                    </a:moveTo>
                    <a:cubicBezTo>
                      <a:pt x="7386" y="48952"/>
                      <a:pt x="4327" y="48952"/>
                      <a:pt x="4327" y="48952"/>
                    </a:cubicBezTo>
                    <a:cubicBezTo>
                      <a:pt x="1267" y="48952"/>
                      <a:pt x="-1792" y="45892"/>
                      <a:pt x="1267" y="42833"/>
                    </a:cubicBezTo>
                    <a:cubicBezTo>
                      <a:pt x="1267" y="39773"/>
                      <a:pt x="4327" y="36714"/>
                      <a:pt x="7386" y="39773"/>
                    </a:cubicBezTo>
                    <a:cubicBezTo>
                      <a:pt x="7386" y="39773"/>
                      <a:pt x="19624" y="42833"/>
                      <a:pt x="25743" y="36714"/>
                    </a:cubicBezTo>
                    <a:cubicBezTo>
                      <a:pt x="28803" y="33654"/>
                      <a:pt x="31862" y="30595"/>
                      <a:pt x="31862" y="27535"/>
                    </a:cubicBezTo>
                    <a:cubicBezTo>
                      <a:pt x="34922" y="18357"/>
                      <a:pt x="19624" y="12238"/>
                      <a:pt x="19624" y="12238"/>
                    </a:cubicBezTo>
                    <a:cubicBezTo>
                      <a:pt x="16564" y="12238"/>
                      <a:pt x="16564" y="6119"/>
                      <a:pt x="16564" y="3059"/>
                    </a:cubicBezTo>
                    <a:cubicBezTo>
                      <a:pt x="16564" y="0"/>
                      <a:pt x="22684" y="0"/>
                      <a:pt x="25743" y="0"/>
                    </a:cubicBezTo>
                    <a:cubicBezTo>
                      <a:pt x="25743" y="0"/>
                      <a:pt x="47159" y="9178"/>
                      <a:pt x="44101" y="30595"/>
                    </a:cubicBezTo>
                    <a:cubicBezTo>
                      <a:pt x="44101" y="39773"/>
                      <a:pt x="37981" y="45892"/>
                      <a:pt x="31862" y="48952"/>
                    </a:cubicBezTo>
                    <a:cubicBezTo>
                      <a:pt x="25743" y="45892"/>
                      <a:pt x="19624" y="48952"/>
                      <a:pt x="13506" y="4895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A6851EE4-2EDF-4A7D-BDA1-5E5ED522FC64}"/>
                  </a:ext>
                </a:extLst>
              </p:cNvPr>
              <p:cNvSpPr/>
              <p:nvPr/>
            </p:nvSpPr>
            <p:spPr>
              <a:xfrm>
                <a:off x="17583222" y="9387382"/>
                <a:ext cx="36713" cy="91784"/>
              </a:xfrm>
              <a:custGeom>
                <a:avLst/>
                <a:gdLst>
                  <a:gd name="connsiteX0" fmla="*/ 6118 w 36713"/>
                  <a:gd name="connsiteY0" fmla="*/ 91785 h 91784"/>
                  <a:gd name="connsiteX1" fmla="*/ 3059 w 36713"/>
                  <a:gd name="connsiteY1" fmla="*/ 91785 h 91784"/>
                  <a:gd name="connsiteX2" fmla="*/ 0 w 36713"/>
                  <a:gd name="connsiteY2" fmla="*/ 82606 h 91784"/>
                  <a:gd name="connsiteX3" fmla="*/ 24476 w 36713"/>
                  <a:gd name="connsiteY3" fmla="*/ 6119 h 91784"/>
                  <a:gd name="connsiteX4" fmla="*/ 30595 w 36713"/>
                  <a:gd name="connsiteY4" fmla="*/ 0 h 91784"/>
                  <a:gd name="connsiteX5" fmla="*/ 36713 w 36713"/>
                  <a:gd name="connsiteY5" fmla="*/ 6119 h 91784"/>
                  <a:gd name="connsiteX6" fmla="*/ 9178 w 36713"/>
                  <a:gd name="connsiteY6" fmla="*/ 85666 h 91784"/>
                  <a:gd name="connsiteX7" fmla="*/ 6118 w 36713"/>
                  <a:gd name="connsiteY7" fmla="*/ 91785 h 91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713" h="91784">
                    <a:moveTo>
                      <a:pt x="6118" y="91785"/>
                    </a:moveTo>
                    <a:cubicBezTo>
                      <a:pt x="6118" y="91785"/>
                      <a:pt x="3059" y="91785"/>
                      <a:pt x="3059" y="91785"/>
                    </a:cubicBezTo>
                    <a:cubicBezTo>
                      <a:pt x="0" y="88725"/>
                      <a:pt x="0" y="85666"/>
                      <a:pt x="0" y="82606"/>
                    </a:cubicBezTo>
                    <a:cubicBezTo>
                      <a:pt x="15297" y="58131"/>
                      <a:pt x="24476" y="6119"/>
                      <a:pt x="24476" y="6119"/>
                    </a:cubicBezTo>
                    <a:cubicBezTo>
                      <a:pt x="24476" y="3060"/>
                      <a:pt x="27535" y="0"/>
                      <a:pt x="30595" y="0"/>
                    </a:cubicBezTo>
                    <a:cubicBezTo>
                      <a:pt x="33654" y="0"/>
                      <a:pt x="36713" y="3060"/>
                      <a:pt x="36713" y="6119"/>
                    </a:cubicBezTo>
                    <a:cubicBezTo>
                      <a:pt x="36713" y="9179"/>
                      <a:pt x="27535" y="58131"/>
                      <a:pt x="9178" y="85666"/>
                    </a:cubicBezTo>
                    <a:cubicBezTo>
                      <a:pt x="9178" y="91785"/>
                      <a:pt x="9178" y="91785"/>
                      <a:pt x="6118" y="9178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96AC3BC6-E03B-44E4-9FDD-869E46C76CFF}"/>
                  </a:ext>
                </a:extLst>
              </p:cNvPr>
              <p:cNvSpPr/>
              <p:nvPr/>
            </p:nvSpPr>
            <p:spPr>
              <a:xfrm>
                <a:off x="17564865" y="9434039"/>
                <a:ext cx="98527" cy="75722"/>
              </a:xfrm>
              <a:custGeom>
                <a:avLst/>
                <a:gdLst>
                  <a:gd name="connsiteX0" fmla="*/ 45892 w 98527"/>
                  <a:gd name="connsiteY0" fmla="*/ 75722 h 75722"/>
                  <a:gd name="connsiteX1" fmla="*/ 45892 w 98527"/>
                  <a:gd name="connsiteY1" fmla="*/ 75722 h 75722"/>
                  <a:gd name="connsiteX2" fmla="*/ 6118 w 98527"/>
                  <a:gd name="connsiteY2" fmla="*/ 75722 h 75722"/>
                  <a:gd name="connsiteX3" fmla="*/ 0 w 98527"/>
                  <a:gd name="connsiteY3" fmla="*/ 69603 h 75722"/>
                  <a:gd name="connsiteX4" fmla="*/ 6118 w 98527"/>
                  <a:gd name="connsiteY4" fmla="*/ 63485 h 75722"/>
                  <a:gd name="connsiteX5" fmla="*/ 45892 w 98527"/>
                  <a:gd name="connsiteY5" fmla="*/ 63485 h 75722"/>
                  <a:gd name="connsiteX6" fmla="*/ 58130 w 98527"/>
                  <a:gd name="connsiteY6" fmla="*/ 60425 h 75722"/>
                  <a:gd name="connsiteX7" fmla="*/ 64249 w 98527"/>
                  <a:gd name="connsiteY7" fmla="*/ 45127 h 75722"/>
                  <a:gd name="connsiteX8" fmla="*/ 67308 w 98527"/>
                  <a:gd name="connsiteY8" fmla="*/ 39009 h 75722"/>
                  <a:gd name="connsiteX9" fmla="*/ 85665 w 98527"/>
                  <a:gd name="connsiteY9" fmla="*/ 23711 h 75722"/>
                  <a:gd name="connsiteX10" fmla="*/ 82606 w 98527"/>
                  <a:gd name="connsiteY10" fmla="*/ 11473 h 75722"/>
                  <a:gd name="connsiteX11" fmla="*/ 82606 w 98527"/>
                  <a:gd name="connsiteY11" fmla="*/ 2295 h 75722"/>
                  <a:gd name="connsiteX12" fmla="*/ 91785 w 98527"/>
                  <a:gd name="connsiteY12" fmla="*/ 2295 h 75722"/>
                  <a:gd name="connsiteX13" fmla="*/ 97903 w 98527"/>
                  <a:gd name="connsiteY13" fmla="*/ 23711 h 75722"/>
                  <a:gd name="connsiteX14" fmla="*/ 73428 w 98527"/>
                  <a:gd name="connsiteY14" fmla="*/ 45127 h 75722"/>
                  <a:gd name="connsiteX15" fmla="*/ 64249 w 98527"/>
                  <a:gd name="connsiteY15" fmla="*/ 66544 h 75722"/>
                  <a:gd name="connsiteX16" fmla="*/ 45892 w 98527"/>
                  <a:gd name="connsiteY16" fmla="*/ 75722 h 75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8527" h="75722">
                    <a:moveTo>
                      <a:pt x="45892" y="75722"/>
                    </a:moveTo>
                    <a:cubicBezTo>
                      <a:pt x="45892" y="75722"/>
                      <a:pt x="45892" y="75722"/>
                      <a:pt x="45892" y="75722"/>
                    </a:cubicBezTo>
                    <a:cubicBezTo>
                      <a:pt x="18357" y="75722"/>
                      <a:pt x="6118" y="75722"/>
                      <a:pt x="6118" y="75722"/>
                    </a:cubicBezTo>
                    <a:cubicBezTo>
                      <a:pt x="3060" y="75722"/>
                      <a:pt x="0" y="72663"/>
                      <a:pt x="0" y="69603"/>
                    </a:cubicBezTo>
                    <a:cubicBezTo>
                      <a:pt x="0" y="66544"/>
                      <a:pt x="3060" y="63485"/>
                      <a:pt x="6118" y="63485"/>
                    </a:cubicBezTo>
                    <a:cubicBezTo>
                      <a:pt x="6118" y="63485"/>
                      <a:pt x="18357" y="63485"/>
                      <a:pt x="45892" y="63485"/>
                    </a:cubicBezTo>
                    <a:cubicBezTo>
                      <a:pt x="52011" y="63485"/>
                      <a:pt x="55070" y="63485"/>
                      <a:pt x="58130" y="60425"/>
                    </a:cubicBezTo>
                    <a:cubicBezTo>
                      <a:pt x="64249" y="54306"/>
                      <a:pt x="64249" y="45127"/>
                      <a:pt x="64249" y="45127"/>
                    </a:cubicBezTo>
                    <a:cubicBezTo>
                      <a:pt x="64249" y="42068"/>
                      <a:pt x="64249" y="39009"/>
                      <a:pt x="67308" y="39009"/>
                    </a:cubicBezTo>
                    <a:cubicBezTo>
                      <a:pt x="79547" y="35949"/>
                      <a:pt x="85665" y="29830"/>
                      <a:pt x="85665" y="23711"/>
                    </a:cubicBezTo>
                    <a:cubicBezTo>
                      <a:pt x="85665" y="17592"/>
                      <a:pt x="82606" y="11473"/>
                      <a:pt x="82606" y="11473"/>
                    </a:cubicBezTo>
                    <a:cubicBezTo>
                      <a:pt x="79547" y="8414"/>
                      <a:pt x="79547" y="5354"/>
                      <a:pt x="82606" y="2295"/>
                    </a:cubicBezTo>
                    <a:cubicBezTo>
                      <a:pt x="85665" y="-765"/>
                      <a:pt x="88725" y="-765"/>
                      <a:pt x="91785" y="2295"/>
                    </a:cubicBezTo>
                    <a:cubicBezTo>
                      <a:pt x="91785" y="2295"/>
                      <a:pt x="100963" y="11473"/>
                      <a:pt x="97903" y="23711"/>
                    </a:cubicBezTo>
                    <a:cubicBezTo>
                      <a:pt x="94844" y="32890"/>
                      <a:pt x="88725" y="39009"/>
                      <a:pt x="73428" y="45127"/>
                    </a:cubicBezTo>
                    <a:cubicBezTo>
                      <a:pt x="73428" y="51246"/>
                      <a:pt x="70368" y="60425"/>
                      <a:pt x="64249" y="66544"/>
                    </a:cubicBezTo>
                    <a:cubicBezTo>
                      <a:pt x="61190" y="72663"/>
                      <a:pt x="55070" y="75722"/>
                      <a:pt x="45892" y="7572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06103D5B-11E0-4D3A-A84E-E66A11B2F6DA}"/>
                </a:ext>
              </a:extLst>
            </p:cNvPr>
            <p:cNvSpPr/>
            <p:nvPr/>
          </p:nvSpPr>
          <p:spPr>
            <a:xfrm>
              <a:off x="16849588" y="8821526"/>
              <a:ext cx="672444" cy="749337"/>
            </a:xfrm>
            <a:custGeom>
              <a:avLst/>
              <a:gdLst>
                <a:gd name="connsiteX0" fmla="*/ 48307 w 672444"/>
                <a:gd name="connsiteY0" fmla="*/ 85517 h 749337"/>
                <a:gd name="connsiteX1" fmla="*/ 290008 w 672444"/>
                <a:gd name="connsiteY1" fmla="*/ 168123 h 749337"/>
                <a:gd name="connsiteX2" fmla="*/ 241056 w 672444"/>
                <a:gd name="connsiteY2" fmla="*/ 559738 h 749337"/>
                <a:gd name="connsiteX3" fmla="*/ 635730 w 672444"/>
                <a:gd name="connsiteY3" fmla="*/ 581154 h 749337"/>
                <a:gd name="connsiteX4" fmla="*/ 672444 w 672444"/>
                <a:gd name="connsiteY4" fmla="*/ 688236 h 749337"/>
                <a:gd name="connsiteX5" fmla="*/ 39129 w 672444"/>
                <a:gd name="connsiteY5" fmla="*/ 712712 h 749337"/>
                <a:gd name="connsiteX6" fmla="*/ 48307 w 672444"/>
                <a:gd name="connsiteY6" fmla="*/ 85517 h 74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2444" h="749337">
                  <a:moveTo>
                    <a:pt x="48307" y="85517"/>
                  </a:moveTo>
                  <a:cubicBezTo>
                    <a:pt x="106438" y="-88874"/>
                    <a:pt x="290008" y="36565"/>
                    <a:pt x="290008" y="168123"/>
                  </a:cubicBezTo>
                  <a:cubicBezTo>
                    <a:pt x="286948" y="296621"/>
                    <a:pt x="219639" y="535262"/>
                    <a:pt x="241056" y="559738"/>
                  </a:cubicBezTo>
                  <a:cubicBezTo>
                    <a:pt x="299186" y="578095"/>
                    <a:pt x="635730" y="581154"/>
                    <a:pt x="635730" y="581154"/>
                  </a:cubicBezTo>
                  <a:cubicBezTo>
                    <a:pt x="620432" y="608690"/>
                    <a:pt x="672444" y="688236"/>
                    <a:pt x="672444" y="688236"/>
                  </a:cubicBezTo>
                  <a:cubicBezTo>
                    <a:pt x="672444" y="688236"/>
                    <a:pt x="133974" y="807557"/>
                    <a:pt x="39129" y="712712"/>
                  </a:cubicBezTo>
                  <a:cubicBezTo>
                    <a:pt x="-15941" y="663760"/>
                    <a:pt x="-12882" y="269086"/>
                    <a:pt x="48307" y="85517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91BD3CBC-044E-42FF-B4E2-7459637B8C70}"/>
                </a:ext>
              </a:extLst>
            </p:cNvPr>
            <p:cNvSpPr/>
            <p:nvPr/>
          </p:nvSpPr>
          <p:spPr>
            <a:xfrm>
              <a:off x="16812230" y="8722008"/>
              <a:ext cx="376016" cy="414556"/>
            </a:xfrm>
            <a:custGeom>
              <a:avLst/>
              <a:gdLst>
                <a:gd name="connsiteX0" fmla="*/ 0 w 376016"/>
                <a:gd name="connsiteY0" fmla="*/ 362485 h 414556"/>
                <a:gd name="connsiteX1" fmla="*/ 183569 w 376016"/>
                <a:gd name="connsiteY1" fmla="*/ 1465 h 414556"/>
                <a:gd name="connsiteX2" fmla="*/ 373258 w 376016"/>
                <a:gd name="connsiteY2" fmla="*/ 402258 h 414556"/>
                <a:gd name="connsiteX3" fmla="*/ 0 w 376016"/>
                <a:gd name="connsiteY3" fmla="*/ 362485 h 414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016" h="414556">
                  <a:moveTo>
                    <a:pt x="0" y="362485"/>
                  </a:moveTo>
                  <a:cubicBezTo>
                    <a:pt x="0" y="178916"/>
                    <a:pt x="104022" y="16762"/>
                    <a:pt x="183569" y="1465"/>
                  </a:cubicBezTo>
                  <a:cubicBezTo>
                    <a:pt x="287592" y="-19951"/>
                    <a:pt x="394674" y="197272"/>
                    <a:pt x="373258" y="402258"/>
                  </a:cubicBezTo>
                  <a:cubicBezTo>
                    <a:pt x="305949" y="435913"/>
                    <a:pt x="97904" y="393080"/>
                    <a:pt x="0" y="362485"/>
                  </a:cubicBezTo>
                  <a:close/>
                </a:path>
              </a:pathLst>
            </a:custGeom>
            <a:solidFill>
              <a:srgbClr val="F6EBE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79778FAB-4524-4048-AAC5-8934792CD33B}"/>
                </a:ext>
              </a:extLst>
            </p:cNvPr>
            <p:cNvSpPr/>
            <p:nvPr/>
          </p:nvSpPr>
          <p:spPr>
            <a:xfrm>
              <a:off x="17001919" y="8711235"/>
              <a:ext cx="187069" cy="428328"/>
            </a:xfrm>
            <a:custGeom>
              <a:avLst/>
              <a:gdLst>
                <a:gd name="connsiteX0" fmla="*/ 107082 w 187069"/>
                <a:gd name="connsiteY0" fmla="*/ 428329 h 428328"/>
                <a:gd name="connsiteX1" fmla="*/ 36713 w 187069"/>
                <a:gd name="connsiteY1" fmla="*/ 425269 h 428328"/>
                <a:gd name="connsiteX2" fmla="*/ 30595 w 187069"/>
                <a:gd name="connsiteY2" fmla="*/ 419150 h 428328"/>
                <a:gd name="connsiteX3" fmla="*/ 36713 w 187069"/>
                <a:gd name="connsiteY3" fmla="*/ 413031 h 428328"/>
                <a:gd name="connsiteX4" fmla="*/ 177450 w 187069"/>
                <a:gd name="connsiteY4" fmla="*/ 406912 h 428328"/>
                <a:gd name="connsiteX5" fmla="*/ 125438 w 187069"/>
                <a:gd name="connsiteY5" fmla="*/ 119320 h 428328"/>
                <a:gd name="connsiteX6" fmla="*/ 119320 w 187069"/>
                <a:gd name="connsiteY6" fmla="*/ 110141 h 428328"/>
                <a:gd name="connsiteX7" fmla="*/ 6118 w 187069"/>
                <a:gd name="connsiteY7" fmla="*/ 12238 h 428328"/>
                <a:gd name="connsiteX8" fmla="*/ 0 w 187069"/>
                <a:gd name="connsiteY8" fmla="*/ 6119 h 428328"/>
                <a:gd name="connsiteX9" fmla="*/ 6118 w 187069"/>
                <a:gd name="connsiteY9" fmla="*/ 0 h 428328"/>
                <a:gd name="connsiteX10" fmla="*/ 125438 w 187069"/>
                <a:gd name="connsiteY10" fmla="*/ 104022 h 428328"/>
                <a:gd name="connsiteX11" fmla="*/ 131558 w 187069"/>
                <a:gd name="connsiteY11" fmla="*/ 113201 h 428328"/>
                <a:gd name="connsiteX12" fmla="*/ 183569 w 187069"/>
                <a:gd name="connsiteY12" fmla="*/ 413031 h 428328"/>
                <a:gd name="connsiteX13" fmla="*/ 183569 w 187069"/>
                <a:gd name="connsiteY13" fmla="*/ 416090 h 428328"/>
                <a:gd name="connsiteX14" fmla="*/ 180510 w 187069"/>
                <a:gd name="connsiteY14" fmla="*/ 416090 h 428328"/>
                <a:gd name="connsiteX15" fmla="*/ 107082 w 187069"/>
                <a:gd name="connsiteY15" fmla="*/ 428329 h 428328"/>
                <a:gd name="connsiteX16" fmla="*/ 183569 w 187069"/>
                <a:gd name="connsiteY16" fmla="*/ 413031 h 428328"/>
                <a:gd name="connsiteX17" fmla="*/ 183569 w 187069"/>
                <a:gd name="connsiteY17" fmla="*/ 413031 h 428328"/>
                <a:gd name="connsiteX18" fmla="*/ 183569 w 187069"/>
                <a:gd name="connsiteY18" fmla="*/ 413031 h 428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7069" h="428328">
                  <a:moveTo>
                    <a:pt x="107082" y="428329"/>
                  </a:moveTo>
                  <a:cubicBezTo>
                    <a:pt x="88725" y="428329"/>
                    <a:pt x="64249" y="428329"/>
                    <a:pt x="36713" y="425269"/>
                  </a:cubicBezTo>
                  <a:cubicBezTo>
                    <a:pt x="33654" y="425269"/>
                    <a:pt x="30595" y="422209"/>
                    <a:pt x="30595" y="419150"/>
                  </a:cubicBezTo>
                  <a:cubicBezTo>
                    <a:pt x="30595" y="416090"/>
                    <a:pt x="33654" y="413031"/>
                    <a:pt x="36713" y="413031"/>
                  </a:cubicBezTo>
                  <a:cubicBezTo>
                    <a:pt x="107082" y="416090"/>
                    <a:pt x="152975" y="416090"/>
                    <a:pt x="177450" y="406912"/>
                  </a:cubicBezTo>
                  <a:cubicBezTo>
                    <a:pt x="183569" y="370198"/>
                    <a:pt x="177450" y="204986"/>
                    <a:pt x="125438" y="119320"/>
                  </a:cubicBezTo>
                  <a:cubicBezTo>
                    <a:pt x="125438" y="116260"/>
                    <a:pt x="122380" y="113201"/>
                    <a:pt x="119320" y="110141"/>
                  </a:cubicBezTo>
                  <a:cubicBezTo>
                    <a:pt x="104022" y="79546"/>
                    <a:pt x="67308" y="21416"/>
                    <a:pt x="6118" y="12238"/>
                  </a:cubicBezTo>
                  <a:cubicBezTo>
                    <a:pt x="3059" y="12238"/>
                    <a:pt x="0" y="9178"/>
                    <a:pt x="0" y="6119"/>
                  </a:cubicBezTo>
                  <a:cubicBezTo>
                    <a:pt x="0" y="3059"/>
                    <a:pt x="3059" y="0"/>
                    <a:pt x="6118" y="0"/>
                  </a:cubicBezTo>
                  <a:cubicBezTo>
                    <a:pt x="73428" y="9178"/>
                    <a:pt x="110141" y="73428"/>
                    <a:pt x="125438" y="104022"/>
                  </a:cubicBezTo>
                  <a:cubicBezTo>
                    <a:pt x="128498" y="107082"/>
                    <a:pt x="128498" y="110141"/>
                    <a:pt x="131558" y="113201"/>
                  </a:cubicBezTo>
                  <a:cubicBezTo>
                    <a:pt x="186628" y="208045"/>
                    <a:pt x="192748" y="379377"/>
                    <a:pt x="183569" y="413031"/>
                  </a:cubicBezTo>
                  <a:lnTo>
                    <a:pt x="183569" y="416090"/>
                  </a:lnTo>
                  <a:lnTo>
                    <a:pt x="180510" y="416090"/>
                  </a:lnTo>
                  <a:cubicBezTo>
                    <a:pt x="171331" y="425269"/>
                    <a:pt x="143795" y="428329"/>
                    <a:pt x="107082" y="428329"/>
                  </a:cubicBezTo>
                  <a:close/>
                  <a:moveTo>
                    <a:pt x="183569" y="413031"/>
                  </a:moveTo>
                  <a:lnTo>
                    <a:pt x="183569" y="413031"/>
                  </a:lnTo>
                  <a:lnTo>
                    <a:pt x="183569" y="413031"/>
                  </a:ln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53C6F1AD-C896-48ED-AF0C-5C9AAE61D898}"/>
                </a:ext>
              </a:extLst>
            </p:cNvPr>
            <p:cNvSpPr/>
            <p:nvPr/>
          </p:nvSpPr>
          <p:spPr>
            <a:xfrm>
              <a:off x="16852003" y="9604606"/>
              <a:ext cx="930085" cy="191388"/>
            </a:xfrm>
            <a:custGeom>
              <a:avLst/>
              <a:gdLst>
                <a:gd name="connsiteX0" fmla="*/ 125439 w 930085"/>
                <a:gd name="connsiteY0" fmla="*/ 0 h 191388"/>
                <a:gd name="connsiteX1" fmla="*/ 0 w 930085"/>
                <a:gd name="connsiteY1" fmla="*/ 131559 h 191388"/>
                <a:gd name="connsiteX2" fmla="*/ 930086 w 930085"/>
                <a:gd name="connsiteY2" fmla="*/ 131559 h 191388"/>
                <a:gd name="connsiteX3" fmla="*/ 801587 w 930085"/>
                <a:gd name="connsiteY3" fmla="*/ 42834 h 191388"/>
                <a:gd name="connsiteX4" fmla="*/ 125439 w 930085"/>
                <a:gd name="connsiteY4" fmla="*/ 0 h 191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0085" h="191388">
                  <a:moveTo>
                    <a:pt x="125439" y="0"/>
                  </a:moveTo>
                  <a:lnTo>
                    <a:pt x="0" y="131559"/>
                  </a:lnTo>
                  <a:cubicBezTo>
                    <a:pt x="0" y="131559"/>
                    <a:pt x="425270" y="266176"/>
                    <a:pt x="930086" y="131559"/>
                  </a:cubicBezTo>
                  <a:lnTo>
                    <a:pt x="801587" y="42834"/>
                  </a:lnTo>
                  <a:cubicBezTo>
                    <a:pt x="801587" y="39774"/>
                    <a:pt x="217224" y="21417"/>
                    <a:pt x="125439" y="0"/>
                  </a:cubicBezTo>
                  <a:close/>
                </a:path>
              </a:pathLst>
            </a:custGeom>
            <a:solidFill>
              <a:srgbClr val="F6EBE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5" name="图形 892">
              <a:extLst>
                <a:ext uri="{FF2B5EF4-FFF2-40B4-BE49-F238E27FC236}">
                  <a16:creationId xmlns:a16="http://schemas.microsoft.com/office/drawing/2014/main" id="{04F6D09C-47E8-41A3-AF02-57785B744463}"/>
                </a:ext>
              </a:extLst>
            </p:cNvPr>
            <p:cNvGrpSpPr/>
            <p:nvPr/>
          </p:nvGrpSpPr>
          <p:grpSpPr>
            <a:xfrm>
              <a:off x="17699150" y="9142623"/>
              <a:ext cx="918511" cy="593541"/>
              <a:chOff x="17699150" y="9142623"/>
              <a:chExt cx="918511" cy="593541"/>
            </a:xfrm>
          </p:grpSpPr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737CDC9E-C0FD-4511-BAC9-8A03FAF49175}"/>
                  </a:ext>
                </a:extLst>
              </p:cNvPr>
              <p:cNvSpPr/>
              <p:nvPr/>
            </p:nvSpPr>
            <p:spPr>
              <a:xfrm>
                <a:off x="17699150" y="9142623"/>
                <a:ext cx="878738" cy="593541"/>
              </a:xfrm>
              <a:custGeom>
                <a:avLst/>
                <a:gdLst>
                  <a:gd name="connsiteX0" fmla="*/ 43165 w 878738"/>
                  <a:gd name="connsiteY0" fmla="*/ 593541 h 593541"/>
                  <a:gd name="connsiteX1" fmla="*/ 756027 w 878738"/>
                  <a:gd name="connsiteY1" fmla="*/ 593541 h 593541"/>
                  <a:gd name="connsiteX2" fmla="*/ 798859 w 878738"/>
                  <a:gd name="connsiteY2" fmla="*/ 556827 h 593541"/>
                  <a:gd name="connsiteX3" fmla="*/ 878406 w 878738"/>
                  <a:gd name="connsiteY3" fmla="*/ 48952 h 593541"/>
                  <a:gd name="connsiteX4" fmla="*/ 835573 w 878738"/>
                  <a:gd name="connsiteY4" fmla="*/ 0 h 593541"/>
                  <a:gd name="connsiteX5" fmla="*/ 122712 w 878738"/>
                  <a:gd name="connsiteY5" fmla="*/ 0 h 593541"/>
                  <a:gd name="connsiteX6" fmla="*/ 79879 w 878738"/>
                  <a:gd name="connsiteY6" fmla="*/ 36714 h 593541"/>
                  <a:gd name="connsiteX7" fmla="*/ 332 w 878738"/>
                  <a:gd name="connsiteY7" fmla="*/ 544589 h 593541"/>
                  <a:gd name="connsiteX8" fmla="*/ 43165 w 878738"/>
                  <a:gd name="connsiteY8" fmla="*/ 593541 h 593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78738" h="593541">
                    <a:moveTo>
                      <a:pt x="43165" y="593541"/>
                    </a:moveTo>
                    <a:lnTo>
                      <a:pt x="756027" y="593541"/>
                    </a:lnTo>
                    <a:cubicBezTo>
                      <a:pt x="777444" y="593541"/>
                      <a:pt x="795800" y="578244"/>
                      <a:pt x="798859" y="556827"/>
                    </a:cubicBezTo>
                    <a:lnTo>
                      <a:pt x="878406" y="48952"/>
                    </a:lnTo>
                    <a:cubicBezTo>
                      <a:pt x="881465" y="21416"/>
                      <a:pt x="863109" y="0"/>
                      <a:pt x="835573" y="0"/>
                    </a:cubicBezTo>
                    <a:lnTo>
                      <a:pt x="122712" y="0"/>
                    </a:lnTo>
                    <a:cubicBezTo>
                      <a:pt x="101295" y="0"/>
                      <a:pt x="82939" y="15297"/>
                      <a:pt x="79879" y="36714"/>
                    </a:cubicBezTo>
                    <a:lnTo>
                      <a:pt x="332" y="544589"/>
                    </a:lnTo>
                    <a:cubicBezTo>
                      <a:pt x="-2727" y="569065"/>
                      <a:pt x="15630" y="593541"/>
                      <a:pt x="43165" y="593541"/>
                    </a:cubicBezTo>
                    <a:close/>
                  </a:path>
                </a:pathLst>
              </a:custGeom>
              <a:solidFill>
                <a:srgbClr val="6A83A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EAEB49A0-0962-4A15-BB2D-C3E16F624D08}"/>
                  </a:ext>
                </a:extLst>
              </p:cNvPr>
              <p:cNvSpPr/>
              <p:nvPr/>
            </p:nvSpPr>
            <p:spPr>
              <a:xfrm>
                <a:off x="17738923" y="9142623"/>
                <a:ext cx="878738" cy="593541"/>
              </a:xfrm>
              <a:custGeom>
                <a:avLst/>
                <a:gdLst>
                  <a:gd name="connsiteX0" fmla="*/ 43166 w 878738"/>
                  <a:gd name="connsiteY0" fmla="*/ 593541 h 593541"/>
                  <a:gd name="connsiteX1" fmla="*/ 756027 w 878738"/>
                  <a:gd name="connsiteY1" fmla="*/ 593541 h 593541"/>
                  <a:gd name="connsiteX2" fmla="*/ 798860 w 878738"/>
                  <a:gd name="connsiteY2" fmla="*/ 556827 h 593541"/>
                  <a:gd name="connsiteX3" fmla="*/ 878406 w 878738"/>
                  <a:gd name="connsiteY3" fmla="*/ 48952 h 593541"/>
                  <a:gd name="connsiteX4" fmla="*/ 835573 w 878738"/>
                  <a:gd name="connsiteY4" fmla="*/ 0 h 593541"/>
                  <a:gd name="connsiteX5" fmla="*/ 122712 w 878738"/>
                  <a:gd name="connsiteY5" fmla="*/ 0 h 593541"/>
                  <a:gd name="connsiteX6" fmla="*/ 79879 w 878738"/>
                  <a:gd name="connsiteY6" fmla="*/ 36714 h 593541"/>
                  <a:gd name="connsiteX7" fmla="*/ 332 w 878738"/>
                  <a:gd name="connsiteY7" fmla="*/ 544589 h 593541"/>
                  <a:gd name="connsiteX8" fmla="*/ 43166 w 878738"/>
                  <a:gd name="connsiteY8" fmla="*/ 593541 h 593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78738" h="593541">
                    <a:moveTo>
                      <a:pt x="43166" y="593541"/>
                    </a:moveTo>
                    <a:lnTo>
                      <a:pt x="756027" y="593541"/>
                    </a:lnTo>
                    <a:cubicBezTo>
                      <a:pt x="777444" y="593541"/>
                      <a:pt x="795800" y="578244"/>
                      <a:pt x="798860" y="556827"/>
                    </a:cubicBezTo>
                    <a:lnTo>
                      <a:pt x="878406" y="48952"/>
                    </a:lnTo>
                    <a:cubicBezTo>
                      <a:pt x="881465" y="21416"/>
                      <a:pt x="863109" y="0"/>
                      <a:pt x="835573" y="0"/>
                    </a:cubicBezTo>
                    <a:lnTo>
                      <a:pt x="122712" y="0"/>
                    </a:lnTo>
                    <a:cubicBezTo>
                      <a:pt x="101296" y="0"/>
                      <a:pt x="82939" y="15297"/>
                      <a:pt x="79879" y="36714"/>
                    </a:cubicBezTo>
                    <a:lnTo>
                      <a:pt x="332" y="544589"/>
                    </a:lnTo>
                    <a:cubicBezTo>
                      <a:pt x="-2726" y="569065"/>
                      <a:pt x="15630" y="593541"/>
                      <a:pt x="43166" y="593541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6" name="图形 892">
              <a:extLst>
                <a:ext uri="{FF2B5EF4-FFF2-40B4-BE49-F238E27FC236}">
                  <a16:creationId xmlns:a16="http://schemas.microsoft.com/office/drawing/2014/main" id="{ED322A06-D507-494C-8162-EB3DC74A529A}"/>
                </a:ext>
              </a:extLst>
            </p:cNvPr>
            <p:cNvGrpSpPr/>
            <p:nvPr/>
          </p:nvGrpSpPr>
          <p:grpSpPr>
            <a:xfrm>
              <a:off x="18444581" y="9387382"/>
              <a:ext cx="174108" cy="171821"/>
              <a:chOff x="18444581" y="9387382"/>
              <a:chExt cx="174108" cy="171821"/>
            </a:xfrm>
          </p:grpSpPr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3CB891EC-01AD-4D5C-9452-66A581A63905}"/>
                  </a:ext>
                </a:extLst>
              </p:cNvPr>
              <p:cNvSpPr/>
              <p:nvPr/>
            </p:nvSpPr>
            <p:spPr>
              <a:xfrm>
                <a:off x="18462995" y="9392586"/>
                <a:ext cx="155694" cy="63313"/>
              </a:xfrm>
              <a:custGeom>
                <a:avLst/>
                <a:gdLst>
                  <a:gd name="connsiteX0" fmla="*/ 142096 w 155694"/>
                  <a:gd name="connsiteY0" fmla="*/ 3974 h 63313"/>
                  <a:gd name="connsiteX1" fmla="*/ 44194 w 155694"/>
                  <a:gd name="connsiteY1" fmla="*/ 7034 h 63313"/>
                  <a:gd name="connsiteX2" fmla="*/ 28896 w 155694"/>
                  <a:gd name="connsiteY2" fmla="*/ 7034 h 63313"/>
                  <a:gd name="connsiteX3" fmla="*/ 13599 w 155694"/>
                  <a:gd name="connsiteY3" fmla="*/ 13153 h 63313"/>
                  <a:gd name="connsiteX4" fmla="*/ 4419 w 155694"/>
                  <a:gd name="connsiteY4" fmla="*/ 52926 h 63313"/>
                  <a:gd name="connsiteX5" fmla="*/ 50311 w 155694"/>
                  <a:gd name="connsiteY5" fmla="*/ 62105 h 63313"/>
                  <a:gd name="connsiteX6" fmla="*/ 111501 w 155694"/>
                  <a:gd name="connsiteY6" fmla="*/ 52926 h 63313"/>
                  <a:gd name="connsiteX7" fmla="*/ 151276 w 155694"/>
                  <a:gd name="connsiteY7" fmla="*/ 34569 h 63313"/>
                  <a:gd name="connsiteX8" fmla="*/ 142096 w 155694"/>
                  <a:gd name="connsiteY8" fmla="*/ 3974 h 63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5694" h="63313">
                    <a:moveTo>
                      <a:pt x="142096" y="3974"/>
                    </a:moveTo>
                    <a:cubicBezTo>
                      <a:pt x="114562" y="-5204"/>
                      <a:pt x="77847" y="3974"/>
                      <a:pt x="44194" y="7034"/>
                    </a:cubicBezTo>
                    <a:cubicBezTo>
                      <a:pt x="41133" y="7034"/>
                      <a:pt x="31955" y="7034"/>
                      <a:pt x="28896" y="7034"/>
                    </a:cubicBezTo>
                    <a:cubicBezTo>
                      <a:pt x="22777" y="7034"/>
                      <a:pt x="19716" y="10093"/>
                      <a:pt x="13599" y="13153"/>
                    </a:cubicBezTo>
                    <a:cubicBezTo>
                      <a:pt x="1360" y="22332"/>
                      <a:pt x="-4759" y="37629"/>
                      <a:pt x="4419" y="52926"/>
                    </a:cubicBezTo>
                    <a:cubicBezTo>
                      <a:pt x="13599" y="68224"/>
                      <a:pt x="35014" y="62105"/>
                      <a:pt x="50311" y="62105"/>
                    </a:cubicBezTo>
                    <a:cubicBezTo>
                      <a:pt x="71728" y="62105"/>
                      <a:pt x="93145" y="59045"/>
                      <a:pt x="111501" y="52926"/>
                    </a:cubicBezTo>
                    <a:cubicBezTo>
                      <a:pt x="123740" y="49867"/>
                      <a:pt x="145157" y="49867"/>
                      <a:pt x="151276" y="34569"/>
                    </a:cubicBezTo>
                    <a:cubicBezTo>
                      <a:pt x="160454" y="22332"/>
                      <a:pt x="154335" y="10093"/>
                      <a:pt x="142096" y="397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0ED7BB39-B2EA-440F-89AA-168927B8382D}"/>
                  </a:ext>
                </a:extLst>
              </p:cNvPr>
              <p:cNvSpPr/>
              <p:nvPr/>
            </p:nvSpPr>
            <p:spPr>
              <a:xfrm>
                <a:off x="18447697" y="9430650"/>
                <a:ext cx="157945" cy="71141"/>
              </a:xfrm>
              <a:custGeom>
                <a:avLst/>
                <a:gdLst>
                  <a:gd name="connsiteX0" fmla="*/ 145157 w 157945"/>
                  <a:gd name="connsiteY0" fmla="*/ 8743 h 71141"/>
                  <a:gd name="connsiteX1" fmla="*/ 38074 w 157945"/>
                  <a:gd name="connsiteY1" fmla="*/ 11803 h 71141"/>
                  <a:gd name="connsiteX2" fmla="*/ 28896 w 157945"/>
                  <a:gd name="connsiteY2" fmla="*/ 14862 h 71141"/>
                  <a:gd name="connsiteX3" fmla="*/ 13599 w 157945"/>
                  <a:gd name="connsiteY3" fmla="*/ 20981 h 71141"/>
                  <a:gd name="connsiteX4" fmla="*/ 4419 w 157945"/>
                  <a:gd name="connsiteY4" fmla="*/ 60755 h 71141"/>
                  <a:gd name="connsiteX5" fmla="*/ 50311 w 157945"/>
                  <a:gd name="connsiteY5" fmla="*/ 69933 h 71141"/>
                  <a:gd name="connsiteX6" fmla="*/ 111501 w 157945"/>
                  <a:gd name="connsiteY6" fmla="*/ 60755 h 71141"/>
                  <a:gd name="connsiteX7" fmla="*/ 151276 w 157945"/>
                  <a:gd name="connsiteY7" fmla="*/ 42398 h 71141"/>
                  <a:gd name="connsiteX8" fmla="*/ 145157 w 157945"/>
                  <a:gd name="connsiteY8" fmla="*/ 8743 h 71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7945" h="71141">
                    <a:moveTo>
                      <a:pt x="145157" y="8743"/>
                    </a:moveTo>
                    <a:cubicBezTo>
                      <a:pt x="111501" y="-9614"/>
                      <a:pt x="74789" y="5684"/>
                      <a:pt x="38074" y="11803"/>
                    </a:cubicBezTo>
                    <a:cubicBezTo>
                      <a:pt x="35014" y="11803"/>
                      <a:pt x="31955" y="11803"/>
                      <a:pt x="28896" y="14862"/>
                    </a:cubicBezTo>
                    <a:cubicBezTo>
                      <a:pt x="22777" y="14862"/>
                      <a:pt x="19716" y="17922"/>
                      <a:pt x="13599" y="20981"/>
                    </a:cubicBezTo>
                    <a:cubicBezTo>
                      <a:pt x="1360" y="30160"/>
                      <a:pt x="-4759" y="45457"/>
                      <a:pt x="4419" y="60755"/>
                    </a:cubicBezTo>
                    <a:cubicBezTo>
                      <a:pt x="13599" y="76052"/>
                      <a:pt x="35014" y="69933"/>
                      <a:pt x="50311" y="69933"/>
                    </a:cubicBezTo>
                    <a:cubicBezTo>
                      <a:pt x="71728" y="69933"/>
                      <a:pt x="93145" y="66874"/>
                      <a:pt x="111501" y="60755"/>
                    </a:cubicBezTo>
                    <a:cubicBezTo>
                      <a:pt x="123740" y="57695"/>
                      <a:pt x="145157" y="57695"/>
                      <a:pt x="151276" y="42398"/>
                    </a:cubicBezTo>
                    <a:cubicBezTo>
                      <a:pt x="163513" y="27100"/>
                      <a:pt x="157393" y="14862"/>
                      <a:pt x="145157" y="8743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09EDE475-3C94-4832-9B05-7FEF1282D9DC}"/>
                  </a:ext>
                </a:extLst>
              </p:cNvPr>
              <p:cNvSpPr/>
              <p:nvPr/>
            </p:nvSpPr>
            <p:spPr>
              <a:xfrm>
                <a:off x="18468993" y="9473344"/>
                <a:ext cx="139158" cy="61233"/>
              </a:xfrm>
              <a:custGeom>
                <a:avLst/>
                <a:gdLst>
                  <a:gd name="connsiteX0" fmla="*/ 123861 w 139158"/>
                  <a:gd name="connsiteY0" fmla="*/ 8882 h 61233"/>
                  <a:gd name="connsiteX1" fmla="*/ 29016 w 139158"/>
                  <a:gd name="connsiteY1" fmla="*/ 8882 h 61233"/>
                  <a:gd name="connsiteX2" fmla="*/ 22898 w 139158"/>
                  <a:gd name="connsiteY2" fmla="*/ 11941 h 61233"/>
                  <a:gd name="connsiteX3" fmla="*/ 10659 w 139158"/>
                  <a:gd name="connsiteY3" fmla="*/ 18061 h 61233"/>
                  <a:gd name="connsiteX4" fmla="*/ 4540 w 139158"/>
                  <a:gd name="connsiteY4" fmla="*/ 51715 h 61233"/>
                  <a:gd name="connsiteX5" fmla="*/ 47374 w 139158"/>
                  <a:gd name="connsiteY5" fmla="*/ 60893 h 61233"/>
                  <a:gd name="connsiteX6" fmla="*/ 102444 w 139158"/>
                  <a:gd name="connsiteY6" fmla="*/ 54775 h 61233"/>
                  <a:gd name="connsiteX7" fmla="*/ 139158 w 139158"/>
                  <a:gd name="connsiteY7" fmla="*/ 39477 h 61233"/>
                  <a:gd name="connsiteX8" fmla="*/ 123861 w 139158"/>
                  <a:gd name="connsiteY8" fmla="*/ 8882 h 61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158" h="61233">
                    <a:moveTo>
                      <a:pt x="123861" y="8882"/>
                    </a:moveTo>
                    <a:cubicBezTo>
                      <a:pt x="93266" y="-9475"/>
                      <a:pt x="59610" y="5823"/>
                      <a:pt x="29016" y="8882"/>
                    </a:cubicBezTo>
                    <a:cubicBezTo>
                      <a:pt x="25957" y="8882"/>
                      <a:pt x="22898" y="8882"/>
                      <a:pt x="22898" y="11941"/>
                    </a:cubicBezTo>
                    <a:cubicBezTo>
                      <a:pt x="19837" y="11941"/>
                      <a:pt x="13718" y="15001"/>
                      <a:pt x="10659" y="18061"/>
                    </a:cubicBezTo>
                    <a:cubicBezTo>
                      <a:pt x="1481" y="24180"/>
                      <a:pt x="-4638" y="39477"/>
                      <a:pt x="4540" y="51715"/>
                    </a:cubicBezTo>
                    <a:cubicBezTo>
                      <a:pt x="13718" y="63953"/>
                      <a:pt x="32076" y="60893"/>
                      <a:pt x="47374" y="60893"/>
                    </a:cubicBezTo>
                    <a:cubicBezTo>
                      <a:pt x="65730" y="60893"/>
                      <a:pt x="84088" y="57834"/>
                      <a:pt x="102444" y="54775"/>
                    </a:cubicBezTo>
                    <a:cubicBezTo>
                      <a:pt x="114683" y="51715"/>
                      <a:pt x="129980" y="51715"/>
                      <a:pt x="139158" y="39477"/>
                    </a:cubicBezTo>
                    <a:cubicBezTo>
                      <a:pt x="139158" y="24180"/>
                      <a:pt x="133039" y="15001"/>
                      <a:pt x="123861" y="888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5D8630A2-56A3-435F-B04A-6AB3F270BD0C}"/>
                  </a:ext>
                </a:extLst>
              </p:cNvPr>
              <p:cNvSpPr/>
              <p:nvPr/>
            </p:nvSpPr>
            <p:spPr>
              <a:xfrm>
                <a:off x="18488707" y="9515815"/>
                <a:ext cx="103620" cy="43388"/>
              </a:xfrm>
              <a:custGeom>
                <a:avLst/>
                <a:gdLst>
                  <a:gd name="connsiteX0" fmla="*/ 94969 w 103620"/>
                  <a:gd name="connsiteY0" fmla="*/ 6185 h 43388"/>
                  <a:gd name="connsiteX1" fmla="*/ 24599 w 103620"/>
                  <a:gd name="connsiteY1" fmla="*/ 6185 h 43388"/>
                  <a:gd name="connsiteX2" fmla="*/ 18481 w 103620"/>
                  <a:gd name="connsiteY2" fmla="*/ 9244 h 43388"/>
                  <a:gd name="connsiteX3" fmla="*/ 9301 w 103620"/>
                  <a:gd name="connsiteY3" fmla="*/ 12304 h 43388"/>
                  <a:gd name="connsiteX4" fmla="*/ 3184 w 103620"/>
                  <a:gd name="connsiteY4" fmla="*/ 36780 h 43388"/>
                  <a:gd name="connsiteX5" fmla="*/ 33779 w 103620"/>
                  <a:gd name="connsiteY5" fmla="*/ 42899 h 43388"/>
                  <a:gd name="connsiteX6" fmla="*/ 73552 w 103620"/>
                  <a:gd name="connsiteY6" fmla="*/ 39839 h 43388"/>
                  <a:gd name="connsiteX7" fmla="*/ 101086 w 103620"/>
                  <a:gd name="connsiteY7" fmla="*/ 30661 h 43388"/>
                  <a:gd name="connsiteX8" fmla="*/ 94969 w 103620"/>
                  <a:gd name="connsiteY8" fmla="*/ 6185 h 43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3620" h="43388">
                    <a:moveTo>
                      <a:pt x="94969" y="6185"/>
                    </a:moveTo>
                    <a:cubicBezTo>
                      <a:pt x="73552" y="-6053"/>
                      <a:pt x="49076" y="3125"/>
                      <a:pt x="24599" y="6185"/>
                    </a:cubicBezTo>
                    <a:cubicBezTo>
                      <a:pt x="21540" y="6185"/>
                      <a:pt x="21540" y="6185"/>
                      <a:pt x="18481" y="9244"/>
                    </a:cubicBezTo>
                    <a:cubicBezTo>
                      <a:pt x="15421" y="9244"/>
                      <a:pt x="12362" y="12304"/>
                      <a:pt x="9301" y="12304"/>
                    </a:cubicBezTo>
                    <a:cubicBezTo>
                      <a:pt x="123" y="18423"/>
                      <a:pt x="-2935" y="27601"/>
                      <a:pt x="3184" y="36780"/>
                    </a:cubicBezTo>
                    <a:cubicBezTo>
                      <a:pt x="9301" y="45958"/>
                      <a:pt x="24599" y="42899"/>
                      <a:pt x="33779" y="42899"/>
                    </a:cubicBezTo>
                    <a:cubicBezTo>
                      <a:pt x="46016" y="42899"/>
                      <a:pt x="61313" y="39839"/>
                      <a:pt x="73552" y="39839"/>
                    </a:cubicBezTo>
                    <a:cubicBezTo>
                      <a:pt x="82730" y="39839"/>
                      <a:pt x="94969" y="36780"/>
                      <a:pt x="101086" y="30661"/>
                    </a:cubicBezTo>
                    <a:cubicBezTo>
                      <a:pt x="107206" y="18423"/>
                      <a:pt x="101086" y="9244"/>
                      <a:pt x="94969" y="6185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45EF2881-A6D2-41C8-B5E5-464D9ABE6D1E}"/>
                  </a:ext>
                </a:extLst>
              </p:cNvPr>
              <p:cNvSpPr/>
              <p:nvPr/>
            </p:nvSpPr>
            <p:spPr>
              <a:xfrm>
                <a:off x="18444581" y="9387382"/>
                <a:ext cx="169689" cy="113201"/>
              </a:xfrm>
              <a:custGeom>
                <a:avLst/>
                <a:gdLst>
                  <a:gd name="connsiteX0" fmla="*/ 41191 w 169689"/>
                  <a:gd name="connsiteY0" fmla="*/ 113201 h 113201"/>
                  <a:gd name="connsiteX1" fmla="*/ 1418 w 169689"/>
                  <a:gd name="connsiteY1" fmla="*/ 94844 h 113201"/>
                  <a:gd name="connsiteX2" fmla="*/ 16715 w 169689"/>
                  <a:gd name="connsiteY2" fmla="*/ 55071 h 113201"/>
                  <a:gd name="connsiteX3" fmla="*/ 10596 w 169689"/>
                  <a:gd name="connsiteY3" fmla="*/ 45892 h 113201"/>
                  <a:gd name="connsiteX4" fmla="*/ 13655 w 169689"/>
                  <a:gd name="connsiteY4" fmla="*/ 27536 h 113201"/>
                  <a:gd name="connsiteX5" fmla="*/ 120737 w 169689"/>
                  <a:gd name="connsiteY5" fmla="*/ 0 h 113201"/>
                  <a:gd name="connsiteX6" fmla="*/ 120737 w 169689"/>
                  <a:gd name="connsiteY6" fmla="*/ 0 h 113201"/>
                  <a:gd name="connsiteX7" fmla="*/ 126856 w 169689"/>
                  <a:gd name="connsiteY7" fmla="*/ 6119 h 113201"/>
                  <a:gd name="connsiteX8" fmla="*/ 120737 w 169689"/>
                  <a:gd name="connsiteY8" fmla="*/ 12238 h 113201"/>
                  <a:gd name="connsiteX9" fmla="*/ 22833 w 169689"/>
                  <a:gd name="connsiteY9" fmla="*/ 33655 h 113201"/>
                  <a:gd name="connsiteX10" fmla="*/ 22833 w 169689"/>
                  <a:gd name="connsiteY10" fmla="*/ 39773 h 113201"/>
                  <a:gd name="connsiteX11" fmla="*/ 148273 w 169689"/>
                  <a:gd name="connsiteY11" fmla="*/ 45892 h 113201"/>
                  <a:gd name="connsiteX12" fmla="*/ 163571 w 169689"/>
                  <a:gd name="connsiteY12" fmla="*/ 48952 h 113201"/>
                  <a:gd name="connsiteX13" fmla="*/ 169690 w 169689"/>
                  <a:gd name="connsiteY13" fmla="*/ 67309 h 113201"/>
                  <a:gd name="connsiteX14" fmla="*/ 71786 w 169689"/>
                  <a:gd name="connsiteY14" fmla="*/ 110142 h 113201"/>
                  <a:gd name="connsiteX15" fmla="*/ 41191 w 169689"/>
                  <a:gd name="connsiteY15" fmla="*/ 113201 h 113201"/>
                  <a:gd name="connsiteX16" fmla="*/ 25893 w 169689"/>
                  <a:gd name="connsiteY16" fmla="*/ 64249 h 113201"/>
                  <a:gd name="connsiteX17" fmla="*/ 13655 w 169689"/>
                  <a:gd name="connsiteY17" fmla="*/ 91785 h 113201"/>
                  <a:gd name="connsiteX18" fmla="*/ 71786 w 169689"/>
                  <a:gd name="connsiteY18" fmla="*/ 100963 h 113201"/>
                  <a:gd name="connsiteX19" fmla="*/ 157451 w 169689"/>
                  <a:gd name="connsiteY19" fmla="*/ 70368 h 113201"/>
                  <a:gd name="connsiteX20" fmla="*/ 154392 w 169689"/>
                  <a:gd name="connsiteY20" fmla="*/ 61190 h 113201"/>
                  <a:gd name="connsiteX21" fmla="*/ 148273 w 169689"/>
                  <a:gd name="connsiteY21" fmla="*/ 61190 h 113201"/>
                  <a:gd name="connsiteX22" fmla="*/ 25893 w 169689"/>
                  <a:gd name="connsiteY22" fmla="*/ 64249 h 113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69689" h="113201">
                    <a:moveTo>
                      <a:pt x="41191" y="113201"/>
                    </a:moveTo>
                    <a:cubicBezTo>
                      <a:pt x="19774" y="113201"/>
                      <a:pt x="4477" y="110142"/>
                      <a:pt x="1418" y="94844"/>
                    </a:cubicBezTo>
                    <a:cubicBezTo>
                      <a:pt x="-4701" y="79547"/>
                      <a:pt x="10596" y="61190"/>
                      <a:pt x="16715" y="55071"/>
                    </a:cubicBezTo>
                    <a:cubicBezTo>
                      <a:pt x="13655" y="52011"/>
                      <a:pt x="13655" y="48952"/>
                      <a:pt x="10596" y="45892"/>
                    </a:cubicBezTo>
                    <a:cubicBezTo>
                      <a:pt x="7535" y="39773"/>
                      <a:pt x="10596" y="33655"/>
                      <a:pt x="13655" y="27536"/>
                    </a:cubicBezTo>
                    <a:cubicBezTo>
                      <a:pt x="32013" y="3060"/>
                      <a:pt x="111559" y="0"/>
                      <a:pt x="120737" y="0"/>
                    </a:cubicBezTo>
                    <a:cubicBezTo>
                      <a:pt x="120737" y="0"/>
                      <a:pt x="120737" y="0"/>
                      <a:pt x="120737" y="0"/>
                    </a:cubicBezTo>
                    <a:cubicBezTo>
                      <a:pt x="123798" y="0"/>
                      <a:pt x="126856" y="3060"/>
                      <a:pt x="126856" y="6119"/>
                    </a:cubicBezTo>
                    <a:cubicBezTo>
                      <a:pt x="126856" y="9179"/>
                      <a:pt x="123798" y="12238"/>
                      <a:pt x="120737" y="12238"/>
                    </a:cubicBezTo>
                    <a:cubicBezTo>
                      <a:pt x="90142" y="12238"/>
                      <a:pt x="35072" y="18357"/>
                      <a:pt x="22833" y="33655"/>
                    </a:cubicBezTo>
                    <a:cubicBezTo>
                      <a:pt x="22833" y="36714"/>
                      <a:pt x="19774" y="36714"/>
                      <a:pt x="22833" y="39773"/>
                    </a:cubicBezTo>
                    <a:cubicBezTo>
                      <a:pt x="25893" y="48952"/>
                      <a:pt x="32013" y="70368"/>
                      <a:pt x="148273" y="45892"/>
                    </a:cubicBezTo>
                    <a:cubicBezTo>
                      <a:pt x="148273" y="45892"/>
                      <a:pt x="157451" y="45892"/>
                      <a:pt x="163571" y="48952"/>
                    </a:cubicBezTo>
                    <a:cubicBezTo>
                      <a:pt x="169690" y="52011"/>
                      <a:pt x="169690" y="58131"/>
                      <a:pt x="169690" y="67309"/>
                    </a:cubicBezTo>
                    <a:cubicBezTo>
                      <a:pt x="169690" y="91785"/>
                      <a:pt x="136034" y="104023"/>
                      <a:pt x="71786" y="110142"/>
                    </a:cubicBezTo>
                    <a:cubicBezTo>
                      <a:pt x="62608" y="113201"/>
                      <a:pt x="50369" y="113201"/>
                      <a:pt x="41191" y="113201"/>
                    </a:cubicBezTo>
                    <a:close/>
                    <a:moveTo>
                      <a:pt x="25893" y="64249"/>
                    </a:moveTo>
                    <a:cubicBezTo>
                      <a:pt x="19774" y="70368"/>
                      <a:pt x="10596" y="82606"/>
                      <a:pt x="13655" y="91785"/>
                    </a:cubicBezTo>
                    <a:cubicBezTo>
                      <a:pt x="16715" y="104023"/>
                      <a:pt x="35072" y="104023"/>
                      <a:pt x="71786" y="100963"/>
                    </a:cubicBezTo>
                    <a:cubicBezTo>
                      <a:pt x="126856" y="97904"/>
                      <a:pt x="157451" y="85666"/>
                      <a:pt x="157451" y="70368"/>
                    </a:cubicBezTo>
                    <a:cubicBezTo>
                      <a:pt x="157451" y="67309"/>
                      <a:pt x="157451" y="64249"/>
                      <a:pt x="154392" y="61190"/>
                    </a:cubicBezTo>
                    <a:cubicBezTo>
                      <a:pt x="151332" y="58131"/>
                      <a:pt x="148273" y="61190"/>
                      <a:pt x="148273" y="61190"/>
                    </a:cubicBezTo>
                    <a:cubicBezTo>
                      <a:pt x="74845" y="76487"/>
                      <a:pt x="41191" y="73428"/>
                      <a:pt x="25893" y="6424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165F8FB4-606B-4028-B1B0-DEBE423A3110}"/>
                  </a:ext>
                </a:extLst>
              </p:cNvPr>
              <p:cNvSpPr/>
              <p:nvPr/>
            </p:nvSpPr>
            <p:spPr>
              <a:xfrm>
                <a:off x="18459298" y="9476108"/>
                <a:ext cx="151912" cy="61189"/>
              </a:xfrm>
              <a:custGeom>
                <a:avLst/>
                <a:gdLst>
                  <a:gd name="connsiteX0" fmla="*/ 47891 w 151912"/>
                  <a:gd name="connsiteY0" fmla="*/ 61190 h 61189"/>
                  <a:gd name="connsiteX1" fmla="*/ 35652 w 151912"/>
                  <a:gd name="connsiteY1" fmla="*/ 61190 h 61189"/>
                  <a:gd name="connsiteX2" fmla="*/ 5057 w 151912"/>
                  <a:gd name="connsiteY2" fmla="*/ 45892 h 61189"/>
                  <a:gd name="connsiteX3" fmla="*/ 1998 w 151912"/>
                  <a:gd name="connsiteY3" fmla="*/ 15297 h 61189"/>
                  <a:gd name="connsiteX4" fmla="*/ 11176 w 151912"/>
                  <a:gd name="connsiteY4" fmla="*/ 12238 h 61189"/>
                  <a:gd name="connsiteX5" fmla="*/ 14235 w 151912"/>
                  <a:gd name="connsiteY5" fmla="*/ 21416 h 61189"/>
                  <a:gd name="connsiteX6" fmla="*/ 14235 w 151912"/>
                  <a:gd name="connsiteY6" fmla="*/ 39773 h 61189"/>
                  <a:gd name="connsiteX7" fmla="*/ 35652 w 151912"/>
                  <a:gd name="connsiteY7" fmla="*/ 48952 h 61189"/>
                  <a:gd name="connsiteX8" fmla="*/ 136615 w 151912"/>
                  <a:gd name="connsiteY8" fmla="*/ 33654 h 61189"/>
                  <a:gd name="connsiteX9" fmla="*/ 139675 w 151912"/>
                  <a:gd name="connsiteY9" fmla="*/ 27535 h 61189"/>
                  <a:gd name="connsiteX10" fmla="*/ 130495 w 151912"/>
                  <a:gd name="connsiteY10" fmla="*/ 12238 h 61189"/>
                  <a:gd name="connsiteX11" fmla="*/ 127437 w 151912"/>
                  <a:gd name="connsiteY11" fmla="*/ 3059 h 61189"/>
                  <a:gd name="connsiteX12" fmla="*/ 136615 w 151912"/>
                  <a:gd name="connsiteY12" fmla="*/ 0 h 61189"/>
                  <a:gd name="connsiteX13" fmla="*/ 151912 w 151912"/>
                  <a:gd name="connsiteY13" fmla="*/ 27535 h 61189"/>
                  <a:gd name="connsiteX14" fmla="*/ 142734 w 151912"/>
                  <a:gd name="connsiteY14" fmla="*/ 42833 h 61189"/>
                  <a:gd name="connsiteX15" fmla="*/ 47891 w 151912"/>
                  <a:gd name="connsiteY15" fmla="*/ 61190 h 6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1912" h="61189">
                    <a:moveTo>
                      <a:pt x="47891" y="61190"/>
                    </a:moveTo>
                    <a:cubicBezTo>
                      <a:pt x="44830" y="61190"/>
                      <a:pt x="38711" y="61190"/>
                      <a:pt x="35652" y="61190"/>
                    </a:cubicBezTo>
                    <a:cubicBezTo>
                      <a:pt x="20355" y="61190"/>
                      <a:pt x="8116" y="55070"/>
                      <a:pt x="5057" y="45892"/>
                    </a:cubicBezTo>
                    <a:cubicBezTo>
                      <a:pt x="-4121" y="33654"/>
                      <a:pt x="1998" y="18357"/>
                      <a:pt x="1998" y="15297"/>
                    </a:cubicBezTo>
                    <a:cubicBezTo>
                      <a:pt x="1998" y="12238"/>
                      <a:pt x="8116" y="9178"/>
                      <a:pt x="11176" y="12238"/>
                    </a:cubicBezTo>
                    <a:cubicBezTo>
                      <a:pt x="14235" y="12238"/>
                      <a:pt x="14235" y="18357"/>
                      <a:pt x="14235" y="21416"/>
                    </a:cubicBezTo>
                    <a:cubicBezTo>
                      <a:pt x="14235" y="21416"/>
                      <a:pt x="11176" y="33654"/>
                      <a:pt x="14235" y="39773"/>
                    </a:cubicBezTo>
                    <a:cubicBezTo>
                      <a:pt x="17296" y="45892"/>
                      <a:pt x="26474" y="48952"/>
                      <a:pt x="35652" y="48952"/>
                    </a:cubicBezTo>
                    <a:cubicBezTo>
                      <a:pt x="78486" y="52011"/>
                      <a:pt x="124378" y="39773"/>
                      <a:pt x="136615" y="33654"/>
                    </a:cubicBezTo>
                    <a:cubicBezTo>
                      <a:pt x="136615" y="33654"/>
                      <a:pt x="139675" y="30595"/>
                      <a:pt x="139675" y="27535"/>
                    </a:cubicBezTo>
                    <a:cubicBezTo>
                      <a:pt x="139675" y="21416"/>
                      <a:pt x="133556" y="12238"/>
                      <a:pt x="130495" y="12238"/>
                    </a:cubicBezTo>
                    <a:cubicBezTo>
                      <a:pt x="127437" y="12238"/>
                      <a:pt x="127437" y="6119"/>
                      <a:pt x="127437" y="3059"/>
                    </a:cubicBezTo>
                    <a:cubicBezTo>
                      <a:pt x="127437" y="0"/>
                      <a:pt x="133556" y="0"/>
                      <a:pt x="136615" y="0"/>
                    </a:cubicBezTo>
                    <a:cubicBezTo>
                      <a:pt x="145793" y="3059"/>
                      <a:pt x="151912" y="15297"/>
                      <a:pt x="151912" y="27535"/>
                    </a:cubicBezTo>
                    <a:cubicBezTo>
                      <a:pt x="151912" y="33654"/>
                      <a:pt x="148853" y="39773"/>
                      <a:pt x="142734" y="42833"/>
                    </a:cubicBezTo>
                    <a:cubicBezTo>
                      <a:pt x="130495" y="48952"/>
                      <a:pt x="87664" y="61190"/>
                      <a:pt x="47891" y="6119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BABD161E-92D5-40D2-8E21-8270884A5417}"/>
                </a:ext>
              </a:extLst>
            </p:cNvPr>
            <p:cNvSpPr/>
            <p:nvPr/>
          </p:nvSpPr>
          <p:spPr>
            <a:xfrm>
              <a:off x="17343314" y="9621695"/>
              <a:ext cx="316395" cy="28802"/>
            </a:xfrm>
            <a:custGeom>
              <a:avLst/>
              <a:gdLst>
                <a:gd name="connsiteX0" fmla="*/ 310276 w 316395"/>
                <a:gd name="connsiteY0" fmla="*/ 28803 h 28802"/>
                <a:gd name="connsiteX1" fmla="*/ 310276 w 316395"/>
                <a:gd name="connsiteY1" fmla="*/ 28803 h 28802"/>
                <a:gd name="connsiteX2" fmla="*/ 4327 w 316395"/>
                <a:gd name="connsiteY2" fmla="*/ 10446 h 28802"/>
                <a:gd name="connsiteX3" fmla="*/ 1267 w 316395"/>
                <a:gd name="connsiteY3" fmla="*/ 4327 h 28802"/>
                <a:gd name="connsiteX4" fmla="*/ 7387 w 316395"/>
                <a:gd name="connsiteY4" fmla="*/ 1267 h 28802"/>
                <a:gd name="connsiteX5" fmla="*/ 310276 w 316395"/>
                <a:gd name="connsiteY5" fmla="*/ 19624 h 28802"/>
                <a:gd name="connsiteX6" fmla="*/ 316395 w 316395"/>
                <a:gd name="connsiteY6" fmla="*/ 25744 h 28802"/>
                <a:gd name="connsiteX7" fmla="*/ 310276 w 316395"/>
                <a:gd name="connsiteY7" fmla="*/ 28803 h 2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395" h="28802">
                  <a:moveTo>
                    <a:pt x="310276" y="28803"/>
                  </a:moveTo>
                  <a:cubicBezTo>
                    <a:pt x="310276" y="28803"/>
                    <a:pt x="310276" y="28803"/>
                    <a:pt x="310276" y="28803"/>
                  </a:cubicBezTo>
                  <a:cubicBezTo>
                    <a:pt x="307216" y="28803"/>
                    <a:pt x="99171" y="25744"/>
                    <a:pt x="4327" y="10446"/>
                  </a:cubicBezTo>
                  <a:cubicBezTo>
                    <a:pt x="1267" y="10446"/>
                    <a:pt x="-1792" y="7387"/>
                    <a:pt x="1267" y="4327"/>
                  </a:cubicBezTo>
                  <a:cubicBezTo>
                    <a:pt x="1267" y="1267"/>
                    <a:pt x="4327" y="-1792"/>
                    <a:pt x="7387" y="1267"/>
                  </a:cubicBezTo>
                  <a:cubicBezTo>
                    <a:pt x="102231" y="19624"/>
                    <a:pt x="310276" y="19624"/>
                    <a:pt x="310276" y="19624"/>
                  </a:cubicBezTo>
                  <a:cubicBezTo>
                    <a:pt x="313336" y="19624"/>
                    <a:pt x="316395" y="22684"/>
                    <a:pt x="316395" y="25744"/>
                  </a:cubicBezTo>
                  <a:cubicBezTo>
                    <a:pt x="313336" y="25744"/>
                    <a:pt x="313336" y="28803"/>
                    <a:pt x="310276" y="28803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8E2EDE65-31AA-41D6-8B17-D7CE77AE7DDB}"/>
                </a:ext>
              </a:extLst>
            </p:cNvPr>
            <p:cNvSpPr/>
            <p:nvPr/>
          </p:nvSpPr>
          <p:spPr>
            <a:xfrm>
              <a:off x="17127358" y="8585796"/>
              <a:ext cx="240221" cy="413031"/>
            </a:xfrm>
            <a:custGeom>
              <a:avLst/>
              <a:gdLst>
                <a:gd name="connsiteX0" fmla="*/ 33655 w 240221"/>
                <a:gd name="connsiteY0" fmla="*/ 0 h 413031"/>
                <a:gd name="connsiteX1" fmla="*/ 211106 w 240221"/>
                <a:gd name="connsiteY1" fmla="*/ 195807 h 413031"/>
                <a:gd name="connsiteX2" fmla="*/ 229462 w 240221"/>
                <a:gd name="connsiteY2" fmla="*/ 391615 h 413031"/>
                <a:gd name="connsiteX3" fmla="*/ 183569 w 240221"/>
                <a:gd name="connsiteY3" fmla="*/ 391615 h 413031"/>
                <a:gd name="connsiteX4" fmla="*/ 107082 w 240221"/>
                <a:gd name="connsiteY4" fmla="*/ 413031 h 413031"/>
                <a:gd name="connsiteX5" fmla="*/ 64249 w 240221"/>
                <a:gd name="connsiteY5" fmla="*/ 385496 h 413031"/>
                <a:gd name="connsiteX6" fmla="*/ 0 w 240221"/>
                <a:gd name="connsiteY6" fmla="*/ 36714 h 413031"/>
                <a:gd name="connsiteX7" fmla="*/ 33655 w 240221"/>
                <a:gd name="connsiteY7" fmla="*/ 0 h 413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0221" h="413031">
                  <a:moveTo>
                    <a:pt x="33655" y="0"/>
                  </a:moveTo>
                  <a:cubicBezTo>
                    <a:pt x="33655" y="0"/>
                    <a:pt x="174391" y="91785"/>
                    <a:pt x="211106" y="195807"/>
                  </a:cubicBezTo>
                  <a:cubicBezTo>
                    <a:pt x="247819" y="302889"/>
                    <a:pt x="244759" y="382436"/>
                    <a:pt x="229462" y="391615"/>
                  </a:cubicBezTo>
                  <a:cubicBezTo>
                    <a:pt x="217224" y="400793"/>
                    <a:pt x="201927" y="382436"/>
                    <a:pt x="183569" y="391615"/>
                  </a:cubicBezTo>
                  <a:cubicBezTo>
                    <a:pt x="165213" y="400793"/>
                    <a:pt x="119321" y="413031"/>
                    <a:pt x="107082" y="413031"/>
                  </a:cubicBezTo>
                  <a:cubicBezTo>
                    <a:pt x="91785" y="413031"/>
                    <a:pt x="58131" y="397734"/>
                    <a:pt x="64249" y="385496"/>
                  </a:cubicBezTo>
                  <a:cubicBezTo>
                    <a:pt x="70369" y="373258"/>
                    <a:pt x="24476" y="64249"/>
                    <a:pt x="0" y="36714"/>
                  </a:cubicBezTo>
                  <a:lnTo>
                    <a:pt x="33655" y="0"/>
                  </a:lnTo>
                  <a:close/>
                </a:path>
              </a:pathLst>
            </a:custGeom>
            <a:solidFill>
              <a:srgbClr val="664241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BF752DBF-A39C-40A6-9D1A-80EDD4995025}"/>
                </a:ext>
              </a:extLst>
            </p:cNvPr>
            <p:cNvSpPr/>
            <p:nvPr/>
          </p:nvSpPr>
          <p:spPr>
            <a:xfrm>
              <a:off x="17170956" y="8623275"/>
              <a:ext cx="149150" cy="268470"/>
            </a:xfrm>
            <a:custGeom>
              <a:avLst/>
              <a:gdLst>
                <a:gd name="connsiteX0" fmla="*/ 143031 w 149150"/>
                <a:gd name="connsiteY0" fmla="*/ 268470 h 268470"/>
                <a:gd name="connsiteX1" fmla="*/ 136912 w 149150"/>
                <a:gd name="connsiteY1" fmla="*/ 262351 h 268470"/>
                <a:gd name="connsiteX2" fmla="*/ 2294 w 149150"/>
                <a:gd name="connsiteY2" fmla="*/ 11473 h 268470"/>
                <a:gd name="connsiteX3" fmla="*/ 2294 w 149150"/>
                <a:gd name="connsiteY3" fmla="*/ 2295 h 268470"/>
                <a:gd name="connsiteX4" fmla="*/ 11473 w 149150"/>
                <a:gd name="connsiteY4" fmla="*/ 2295 h 268470"/>
                <a:gd name="connsiteX5" fmla="*/ 149150 w 149150"/>
                <a:gd name="connsiteY5" fmla="*/ 259292 h 268470"/>
                <a:gd name="connsiteX6" fmla="*/ 143031 w 149150"/>
                <a:gd name="connsiteY6" fmla="*/ 268470 h 268470"/>
                <a:gd name="connsiteX7" fmla="*/ 143031 w 149150"/>
                <a:gd name="connsiteY7" fmla="*/ 268470 h 268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50" h="268470">
                  <a:moveTo>
                    <a:pt x="143031" y="268470"/>
                  </a:moveTo>
                  <a:cubicBezTo>
                    <a:pt x="139971" y="268470"/>
                    <a:pt x="136912" y="265411"/>
                    <a:pt x="136912" y="262351"/>
                  </a:cubicBezTo>
                  <a:cubicBezTo>
                    <a:pt x="130793" y="146091"/>
                    <a:pt x="5354" y="11473"/>
                    <a:pt x="2294" y="11473"/>
                  </a:cubicBezTo>
                  <a:cubicBezTo>
                    <a:pt x="-765" y="8414"/>
                    <a:pt x="-765" y="5354"/>
                    <a:pt x="2294" y="2295"/>
                  </a:cubicBezTo>
                  <a:cubicBezTo>
                    <a:pt x="5354" y="-765"/>
                    <a:pt x="8413" y="-765"/>
                    <a:pt x="11473" y="2295"/>
                  </a:cubicBezTo>
                  <a:cubicBezTo>
                    <a:pt x="17592" y="8414"/>
                    <a:pt x="143031" y="139972"/>
                    <a:pt x="149150" y="259292"/>
                  </a:cubicBezTo>
                  <a:cubicBezTo>
                    <a:pt x="149150" y="265411"/>
                    <a:pt x="146090" y="268470"/>
                    <a:pt x="143031" y="268470"/>
                  </a:cubicBezTo>
                  <a:cubicBezTo>
                    <a:pt x="143031" y="268470"/>
                    <a:pt x="143031" y="268470"/>
                    <a:pt x="143031" y="268470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B811A623-F914-4D78-B1F4-1C2035AC8DDF}"/>
                </a:ext>
              </a:extLst>
            </p:cNvPr>
            <p:cNvSpPr/>
            <p:nvPr/>
          </p:nvSpPr>
          <p:spPr>
            <a:xfrm>
              <a:off x="17110673" y="8572958"/>
              <a:ext cx="105410" cy="79112"/>
            </a:xfrm>
            <a:custGeom>
              <a:avLst/>
              <a:gdLst>
                <a:gd name="connsiteX0" fmla="*/ 105411 w 105410"/>
                <a:gd name="connsiteY0" fmla="*/ 15898 h 79112"/>
                <a:gd name="connsiteX1" fmla="*/ 87054 w 105410"/>
                <a:gd name="connsiteY1" fmla="*/ 600 h 79112"/>
                <a:gd name="connsiteX2" fmla="*/ 10566 w 105410"/>
                <a:gd name="connsiteY2" fmla="*/ 25076 h 79112"/>
                <a:gd name="connsiteX3" fmla="*/ 4447 w 105410"/>
                <a:gd name="connsiteY3" fmla="*/ 52611 h 79112"/>
                <a:gd name="connsiteX4" fmla="*/ 22804 w 105410"/>
                <a:gd name="connsiteY4" fmla="*/ 77087 h 79112"/>
                <a:gd name="connsiteX5" fmla="*/ 90113 w 105410"/>
                <a:gd name="connsiteY5" fmla="*/ 55671 h 79112"/>
                <a:gd name="connsiteX6" fmla="*/ 99291 w 105410"/>
                <a:gd name="connsiteY6" fmla="*/ 40373 h 79112"/>
                <a:gd name="connsiteX7" fmla="*/ 105411 w 105410"/>
                <a:gd name="connsiteY7" fmla="*/ 15898 h 79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410" h="79112">
                  <a:moveTo>
                    <a:pt x="105411" y="15898"/>
                  </a:moveTo>
                  <a:cubicBezTo>
                    <a:pt x="105411" y="6719"/>
                    <a:pt x="96232" y="-2459"/>
                    <a:pt x="87054" y="600"/>
                  </a:cubicBezTo>
                  <a:cubicBezTo>
                    <a:pt x="62577" y="9778"/>
                    <a:pt x="35042" y="15898"/>
                    <a:pt x="10566" y="25076"/>
                  </a:cubicBezTo>
                  <a:cubicBezTo>
                    <a:pt x="-1671" y="28135"/>
                    <a:pt x="-1671" y="46493"/>
                    <a:pt x="4447" y="52611"/>
                  </a:cubicBezTo>
                  <a:cubicBezTo>
                    <a:pt x="-7791" y="61790"/>
                    <a:pt x="7507" y="86266"/>
                    <a:pt x="22804" y="77087"/>
                  </a:cubicBezTo>
                  <a:cubicBezTo>
                    <a:pt x="44221" y="64849"/>
                    <a:pt x="65637" y="58730"/>
                    <a:pt x="90113" y="55671"/>
                  </a:cubicBezTo>
                  <a:cubicBezTo>
                    <a:pt x="99291" y="55671"/>
                    <a:pt x="102351" y="46493"/>
                    <a:pt x="99291" y="40373"/>
                  </a:cubicBezTo>
                  <a:cubicBezTo>
                    <a:pt x="102351" y="31195"/>
                    <a:pt x="105411" y="25076"/>
                    <a:pt x="105411" y="15898"/>
                  </a:cubicBezTo>
                  <a:close/>
                </a:path>
              </a:pathLst>
            </a:custGeom>
            <a:solidFill>
              <a:srgbClr val="7F95BC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6D5A49AB-0FFC-4C0D-814D-B259A07C807C}"/>
                </a:ext>
              </a:extLst>
            </p:cNvPr>
            <p:cNvSpPr/>
            <p:nvPr/>
          </p:nvSpPr>
          <p:spPr>
            <a:xfrm>
              <a:off x="14457094" y="8417524"/>
              <a:ext cx="522502" cy="1593994"/>
            </a:xfrm>
            <a:custGeom>
              <a:avLst/>
              <a:gdLst>
                <a:gd name="connsiteX0" fmla="*/ 75817 w 522502"/>
                <a:gd name="connsiteY0" fmla="*/ 0 h 1593994"/>
                <a:gd name="connsiteX1" fmla="*/ 394003 w 522502"/>
                <a:gd name="connsiteY1" fmla="*/ 94844 h 1593994"/>
                <a:gd name="connsiteX2" fmla="*/ 522502 w 522502"/>
                <a:gd name="connsiteY2" fmla="*/ 1529745 h 1593994"/>
                <a:gd name="connsiteX3" fmla="*/ 26865 w 522502"/>
                <a:gd name="connsiteY3" fmla="*/ 1593995 h 1593994"/>
                <a:gd name="connsiteX4" fmla="*/ 75817 w 522502"/>
                <a:gd name="connsiteY4" fmla="*/ 0 h 159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502" h="1593994">
                  <a:moveTo>
                    <a:pt x="75817" y="0"/>
                  </a:moveTo>
                  <a:cubicBezTo>
                    <a:pt x="75817" y="0"/>
                    <a:pt x="329754" y="79547"/>
                    <a:pt x="394003" y="94844"/>
                  </a:cubicBezTo>
                  <a:cubicBezTo>
                    <a:pt x="458253" y="110142"/>
                    <a:pt x="522502" y="1529745"/>
                    <a:pt x="522502" y="1529745"/>
                  </a:cubicBezTo>
                  <a:cubicBezTo>
                    <a:pt x="522502" y="1529745"/>
                    <a:pt x="155364" y="1587875"/>
                    <a:pt x="26865" y="1593995"/>
                  </a:cubicBezTo>
                  <a:cubicBezTo>
                    <a:pt x="26865" y="1593995"/>
                    <a:pt x="-58801" y="458924"/>
                    <a:pt x="75817" y="0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2" name="图形 892">
              <a:extLst>
                <a:ext uri="{FF2B5EF4-FFF2-40B4-BE49-F238E27FC236}">
                  <a16:creationId xmlns:a16="http://schemas.microsoft.com/office/drawing/2014/main" id="{2650A70D-58BC-49F9-B8A3-980F793E8E19}"/>
                </a:ext>
              </a:extLst>
            </p:cNvPr>
            <p:cNvGrpSpPr/>
            <p:nvPr/>
          </p:nvGrpSpPr>
          <p:grpSpPr>
            <a:xfrm>
              <a:off x="14919165" y="9950329"/>
              <a:ext cx="293096" cy="387412"/>
              <a:chOff x="14919165" y="9950329"/>
              <a:chExt cx="293096" cy="387412"/>
            </a:xfrm>
          </p:grpSpPr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D7175259-7CE6-43B3-A375-D48EB03A4A82}"/>
                  </a:ext>
                </a:extLst>
              </p:cNvPr>
              <p:cNvSpPr/>
              <p:nvPr/>
            </p:nvSpPr>
            <p:spPr>
              <a:xfrm>
                <a:off x="14929485" y="9980924"/>
                <a:ext cx="138836" cy="206824"/>
              </a:xfrm>
              <a:custGeom>
                <a:avLst/>
                <a:gdLst>
                  <a:gd name="connsiteX0" fmla="*/ 138836 w 138836"/>
                  <a:gd name="connsiteY0" fmla="*/ 0 h 206824"/>
                  <a:gd name="connsiteX1" fmla="*/ 37873 w 138836"/>
                  <a:gd name="connsiteY1" fmla="*/ 61190 h 206824"/>
                  <a:gd name="connsiteX2" fmla="*/ 7278 w 138836"/>
                  <a:gd name="connsiteY2" fmla="*/ 195807 h 206824"/>
                  <a:gd name="connsiteX3" fmla="*/ 43992 w 138836"/>
                  <a:gd name="connsiteY3" fmla="*/ 183569 h 206824"/>
                  <a:gd name="connsiteX4" fmla="*/ 138836 w 138836"/>
                  <a:gd name="connsiteY4" fmla="*/ 0 h 20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836" h="206824">
                    <a:moveTo>
                      <a:pt x="138836" y="0"/>
                    </a:moveTo>
                    <a:cubicBezTo>
                      <a:pt x="138836" y="0"/>
                      <a:pt x="62349" y="24476"/>
                      <a:pt x="37873" y="61190"/>
                    </a:cubicBezTo>
                    <a:cubicBezTo>
                      <a:pt x="16456" y="97903"/>
                      <a:pt x="-14138" y="165212"/>
                      <a:pt x="7278" y="195807"/>
                    </a:cubicBezTo>
                    <a:cubicBezTo>
                      <a:pt x="28694" y="226402"/>
                      <a:pt x="43992" y="183569"/>
                      <a:pt x="43992" y="183569"/>
                    </a:cubicBezTo>
                    <a:lnTo>
                      <a:pt x="138836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91FAC74C-4284-46F5-9CF2-964A5E5D79E3}"/>
                  </a:ext>
                </a:extLst>
              </p:cNvPr>
              <p:cNvSpPr/>
              <p:nvPr/>
            </p:nvSpPr>
            <p:spPr>
              <a:xfrm>
                <a:off x="14921681" y="9950329"/>
                <a:ext cx="290580" cy="387412"/>
              </a:xfrm>
              <a:custGeom>
                <a:avLst/>
                <a:gdLst>
                  <a:gd name="connsiteX0" fmla="*/ 278198 w 290580"/>
                  <a:gd name="connsiteY0" fmla="*/ 45892 h 387412"/>
                  <a:gd name="connsiteX1" fmla="*/ 155818 w 290580"/>
                  <a:gd name="connsiteY1" fmla="*/ 0 h 387412"/>
                  <a:gd name="connsiteX2" fmla="*/ 18141 w 290580"/>
                  <a:gd name="connsiteY2" fmla="*/ 226402 h 387412"/>
                  <a:gd name="connsiteX3" fmla="*/ 12023 w 290580"/>
                  <a:gd name="connsiteY3" fmla="*/ 302889 h 387412"/>
                  <a:gd name="connsiteX4" fmla="*/ 30380 w 290580"/>
                  <a:gd name="connsiteY4" fmla="*/ 293711 h 387412"/>
                  <a:gd name="connsiteX5" fmla="*/ 57915 w 290580"/>
                  <a:gd name="connsiteY5" fmla="*/ 256997 h 387412"/>
                  <a:gd name="connsiteX6" fmla="*/ 45677 w 290580"/>
                  <a:gd name="connsiteY6" fmla="*/ 318187 h 387412"/>
                  <a:gd name="connsiteX7" fmla="*/ 60975 w 290580"/>
                  <a:gd name="connsiteY7" fmla="*/ 385496 h 387412"/>
                  <a:gd name="connsiteX8" fmla="*/ 88510 w 290580"/>
                  <a:gd name="connsiteY8" fmla="*/ 367139 h 387412"/>
                  <a:gd name="connsiteX9" fmla="*/ 103808 w 290580"/>
                  <a:gd name="connsiteY9" fmla="*/ 376317 h 387412"/>
                  <a:gd name="connsiteX10" fmla="*/ 152760 w 290580"/>
                  <a:gd name="connsiteY10" fmla="*/ 315127 h 387412"/>
                  <a:gd name="connsiteX11" fmla="*/ 174175 w 290580"/>
                  <a:gd name="connsiteY11" fmla="*/ 263116 h 387412"/>
                  <a:gd name="connsiteX12" fmla="*/ 186413 w 290580"/>
                  <a:gd name="connsiteY12" fmla="*/ 330425 h 387412"/>
                  <a:gd name="connsiteX13" fmla="*/ 213949 w 290580"/>
                  <a:gd name="connsiteY13" fmla="*/ 281473 h 387412"/>
                  <a:gd name="connsiteX14" fmla="*/ 244544 w 290580"/>
                  <a:gd name="connsiteY14" fmla="*/ 186629 h 387412"/>
                  <a:gd name="connsiteX15" fmla="*/ 284317 w 290580"/>
                  <a:gd name="connsiteY15" fmla="*/ 97903 h 387412"/>
                  <a:gd name="connsiteX16" fmla="*/ 278198 w 290580"/>
                  <a:gd name="connsiteY16" fmla="*/ 45892 h 387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0580" h="387412">
                    <a:moveTo>
                      <a:pt x="278198" y="45892"/>
                    </a:moveTo>
                    <a:cubicBezTo>
                      <a:pt x="250663" y="15297"/>
                      <a:pt x="155818" y="0"/>
                      <a:pt x="155818" y="0"/>
                    </a:cubicBezTo>
                    <a:cubicBezTo>
                      <a:pt x="109926" y="76487"/>
                      <a:pt x="51796" y="143795"/>
                      <a:pt x="18141" y="226402"/>
                    </a:cubicBezTo>
                    <a:cubicBezTo>
                      <a:pt x="12023" y="238640"/>
                      <a:pt x="-15512" y="296770"/>
                      <a:pt x="12023" y="302889"/>
                    </a:cubicBezTo>
                    <a:cubicBezTo>
                      <a:pt x="21201" y="305949"/>
                      <a:pt x="27320" y="299830"/>
                      <a:pt x="30380" y="293711"/>
                    </a:cubicBezTo>
                    <a:cubicBezTo>
                      <a:pt x="39558" y="281473"/>
                      <a:pt x="48736" y="269235"/>
                      <a:pt x="57915" y="256997"/>
                    </a:cubicBezTo>
                    <a:cubicBezTo>
                      <a:pt x="51796" y="278414"/>
                      <a:pt x="48736" y="296770"/>
                      <a:pt x="45677" y="318187"/>
                    </a:cubicBezTo>
                    <a:cubicBezTo>
                      <a:pt x="42618" y="333484"/>
                      <a:pt x="42618" y="373257"/>
                      <a:pt x="60975" y="385496"/>
                    </a:cubicBezTo>
                    <a:cubicBezTo>
                      <a:pt x="70153" y="391614"/>
                      <a:pt x="79331" y="382436"/>
                      <a:pt x="88510" y="367139"/>
                    </a:cubicBezTo>
                    <a:cubicBezTo>
                      <a:pt x="91570" y="373257"/>
                      <a:pt x="94629" y="376317"/>
                      <a:pt x="103808" y="376317"/>
                    </a:cubicBezTo>
                    <a:cubicBezTo>
                      <a:pt x="125223" y="373257"/>
                      <a:pt x="143581" y="333484"/>
                      <a:pt x="152760" y="315127"/>
                    </a:cubicBezTo>
                    <a:cubicBezTo>
                      <a:pt x="161938" y="296770"/>
                      <a:pt x="168057" y="281473"/>
                      <a:pt x="174175" y="263116"/>
                    </a:cubicBezTo>
                    <a:cubicBezTo>
                      <a:pt x="168057" y="296770"/>
                      <a:pt x="164997" y="333484"/>
                      <a:pt x="186413" y="330425"/>
                    </a:cubicBezTo>
                    <a:cubicBezTo>
                      <a:pt x="201711" y="327365"/>
                      <a:pt x="210890" y="293711"/>
                      <a:pt x="213949" y="281473"/>
                    </a:cubicBezTo>
                    <a:cubicBezTo>
                      <a:pt x="226187" y="250878"/>
                      <a:pt x="232306" y="217224"/>
                      <a:pt x="244544" y="186629"/>
                    </a:cubicBezTo>
                    <a:cubicBezTo>
                      <a:pt x="256782" y="156034"/>
                      <a:pt x="272080" y="128498"/>
                      <a:pt x="284317" y="97903"/>
                    </a:cubicBezTo>
                    <a:cubicBezTo>
                      <a:pt x="293495" y="70368"/>
                      <a:pt x="293495" y="64249"/>
                      <a:pt x="278198" y="4589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914725C7-AEF3-4D26-A96D-74141B27F6BD}"/>
                  </a:ext>
                </a:extLst>
              </p:cNvPr>
              <p:cNvSpPr/>
              <p:nvPr/>
            </p:nvSpPr>
            <p:spPr>
              <a:xfrm>
                <a:off x="15004072" y="10153020"/>
                <a:ext cx="57365" cy="170566"/>
              </a:xfrm>
              <a:custGeom>
                <a:avLst/>
                <a:gdLst>
                  <a:gd name="connsiteX0" fmla="*/ 6119 w 57365"/>
                  <a:gd name="connsiteY0" fmla="*/ 170566 h 170566"/>
                  <a:gd name="connsiteX1" fmla="*/ 6119 w 57365"/>
                  <a:gd name="connsiteY1" fmla="*/ 170566 h 170566"/>
                  <a:gd name="connsiteX2" fmla="*/ 0 w 57365"/>
                  <a:gd name="connsiteY2" fmla="*/ 164448 h 170566"/>
                  <a:gd name="connsiteX3" fmla="*/ 45892 w 57365"/>
                  <a:gd name="connsiteY3" fmla="*/ 2294 h 170566"/>
                  <a:gd name="connsiteX4" fmla="*/ 55071 w 57365"/>
                  <a:gd name="connsiteY4" fmla="*/ 2294 h 170566"/>
                  <a:gd name="connsiteX5" fmla="*/ 55071 w 57365"/>
                  <a:gd name="connsiteY5" fmla="*/ 11473 h 170566"/>
                  <a:gd name="connsiteX6" fmla="*/ 12238 w 57365"/>
                  <a:gd name="connsiteY6" fmla="*/ 167507 h 170566"/>
                  <a:gd name="connsiteX7" fmla="*/ 6119 w 57365"/>
                  <a:gd name="connsiteY7" fmla="*/ 170566 h 170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365" h="170566">
                    <a:moveTo>
                      <a:pt x="6119" y="170566"/>
                    </a:moveTo>
                    <a:cubicBezTo>
                      <a:pt x="6119" y="170566"/>
                      <a:pt x="6119" y="170566"/>
                      <a:pt x="6119" y="170566"/>
                    </a:cubicBezTo>
                    <a:cubicBezTo>
                      <a:pt x="3060" y="170566"/>
                      <a:pt x="0" y="167507"/>
                      <a:pt x="0" y="164448"/>
                    </a:cubicBezTo>
                    <a:cubicBezTo>
                      <a:pt x="0" y="158328"/>
                      <a:pt x="24476" y="32889"/>
                      <a:pt x="45892" y="2294"/>
                    </a:cubicBezTo>
                    <a:cubicBezTo>
                      <a:pt x="48952" y="-765"/>
                      <a:pt x="52012" y="-765"/>
                      <a:pt x="55071" y="2294"/>
                    </a:cubicBezTo>
                    <a:cubicBezTo>
                      <a:pt x="58130" y="5354"/>
                      <a:pt x="58130" y="8413"/>
                      <a:pt x="55071" y="11473"/>
                    </a:cubicBezTo>
                    <a:cubicBezTo>
                      <a:pt x="33655" y="39008"/>
                      <a:pt x="12238" y="167507"/>
                      <a:pt x="12238" y="167507"/>
                    </a:cubicBezTo>
                    <a:cubicBezTo>
                      <a:pt x="12238" y="167507"/>
                      <a:pt x="9179" y="170566"/>
                      <a:pt x="6119" y="17056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AB6AF8B4-03D8-4575-9EC4-12F7B2D114E6}"/>
                  </a:ext>
                </a:extLst>
              </p:cNvPr>
              <p:cNvSpPr/>
              <p:nvPr/>
            </p:nvSpPr>
            <p:spPr>
              <a:xfrm>
                <a:off x="15089738" y="10158374"/>
                <a:ext cx="30594" cy="61189"/>
              </a:xfrm>
              <a:custGeom>
                <a:avLst/>
                <a:gdLst>
                  <a:gd name="connsiteX0" fmla="*/ 6118 w 30594"/>
                  <a:gd name="connsiteY0" fmla="*/ 61190 h 61189"/>
                  <a:gd name="connsiteX1" fmla="*/ 6118 w 30594"/>
                  <a:gd name="connsiteY1" fmla="*/ 61190 h 61189"/>
                  <a:gd name="connsiteX2" fmla="*/ 0 w 30594"/>
                  <a:gd name="connsiteY2" fmla="*/ 52012 h 61189"/>
                  <a:gd name="connsiteX3" fmla="*/ 21416 w 30594"/>
                  <a:gd name="connsiteY3" fmla="*/ 3060 h 61189"/>
                  <a:gd name="connsiteX4" fmla="*/ 27535 w 30594"/>
                  <a:gd name="connsiteY4" fmla="*/ 0 h 61189"/>
                  <a:gd name="connsiteX5" fmla="*/ 30595 w 30594"/>
                  <a:gd name="connsiteY5" fmla="*/ 6119 h 61189"/>
                  <a:gd name="connsiteX6" fmla="*/ 9178 w 30594"/>
                  <a:gd name="connsiteY6" fmla="*/ 55071 h 61189"/>
                  <a:gd name="connsiteX7" fmla="*/ 6118 w 30594"/>
                  <a:gd name="connsiteY7" fmla="*/ 61190 h 6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594" h="61189">
                    <a:moveTo>
                      <a:pt x="6118" y="61190"/>
                    </a:moveTo>
                    <a:cubicBezTo>
                      <a:pt x="6118" y="61190"/>
                      <a:pt x="6118" y="61190"/>
                      <a:pt x="6118" y="61190"/>
                    </a:cubicBezTo>
                    <a:cubicBezTo>
                      <a:pt x="0" y="58130"/>
                      <a:pt x="0" y="55071"/>
                      <a:pt x="0" y="52012"/>
                    </a:cubicBezTo>
                    <a:lnTo>
                      <a:pt x="21416" y="3060"/>
                    </a:lnTo>
                    <a:cubicBezTo>
                      <a:pt x="21416" y="0"/>
                      <a:pt x="24476" y="0"/>
                      <a:pt x="27535" y="0"/>
                    </a:cubicBezTo>
                    <a:cubicBezTo>
                      <a:pt x="30595" y="0"/>
                      <a:pt x="30595" y="3060"/>
                      <a:pt x="30595" y="6119"/>
                    </a:cubicBezTo>
                    <a:lnTo>
                      <a:pt x="9178" y="55071"/>
                    </a:lnTo>
                    <a:cubicBezTo>
                      <a:pt x="12238" y="58130"/>
                      <a:pt x="9178" y="61190"/>
                      <a:pt x="6118" y="6119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6753E554-29BB-4D90-875E-4ABC11DFFB83}"/>
                  </a:ext>
                </a:extLst>
              </p:cNvPr>
              <p:cNvSpPr/>
              <p:nvPr/>
            </p:nvSpPr>
            <p:spPr>
              <a:xfrm>
                <a:off x="15038491" y="10067354"/>
                <a:ext cx="103257" cy="57365"/>
              </a:xfrm>
              <a:custGeom>
                <a:avLst/>
                <a:gdLst>
                  <a:gd name="connsiteX0" fmla="*/ 97139 w 103257"/>
                  <a:gd name="connsiteY0" fmla="*/ 57365 h 57365"/>
                  <a:gd name="connsiteX1" fmla="*/ 97139 w 103257"/>
                  <a:gd name="connsiteY1" fmla="*/ 57365 h 57365"/>
                  <a:gd name="connsiteX2" fmla="*/ 2295 w 103257"/>
                  <a:gd name="connsiteY2" fmla="*/ 11473 h 57365"/>
                  <a:gd name="connsiteX3" fmla="*/ 2295 w 103257"/>
                  <a:gd name="connsiteY3" fmla="*/ 2295 h 57365"/>
                  <a:gd name="connsiteX4" fmla="*/ 11473 w 103257"/>
                  <a:gd name="connsiteY4" fmla="*/ 2295 h 57365"/>
                  <a:gd name="connsiteX5" fmla="*/ 97139 w 103257"/>
                  <a:gd name="connsiteY5" fmla="*/ 45127 h 57365"/>
                  <a:gd name="connsiteX6" fmla="*/ 103258 w 103257"/>
                  <a:gd name="connsiteY6" fmla="*/ 51247 h 57365"/>
                  <a:gd name="connsiteX7" fmla="*/ 97139 w 103257"/>
                  <a:gd name="connsiteY7" fmla="*/ 57365 h 57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257" h="57365">
                    <a:moveTo>
                      <a:pt x="97139" y="57365"/>
                    </a:moveTo>
                    <a:cubicBezTo>
                      <a:pt x="97139" y="57365"/>
                      <a:pt x="97139" y="57365"/>
                      <a:pt x="97139" y="57365"/>
                    </a:cubicBezTo>
                    <a:cubicBezTo>
                      <a:pt x="39008" y="54306"/>
                      <a:pt x="2295" y="14533"/>
                      <a:pt x="2295" y="11473"/>
                    </a:cubicBezTo>
                    <a:cubicBezTo>
                      <a:pt x="-765" y="8414"/>
                      <a:pt x="-765" y="5354"/>
                      <a:pt x="2295" y="2295"/>
                    </a:cubicBezTo>
                    <a:cubicBezTo>
                      <a:pt x="5354" y="-765"/>
                      <a:pt x="8413" y="-765"/>
                      <a:pt x="11473" y="2295"/>
                    </a:cubicBezTo>
                    <a:cubicBezTo>
                      <a:pt x="11473" y="2295"/>
                      <a:pt x="45127" y="42068"/>
                      <a:pt x="97139" y="45127"/>
                    </a:cubicBezTo>
                    <a:cubicBezTo>
                      <a:pt x="100198" y="45127"/>
                      <a:pt x="103258" y="48187"/>
                      <a:pt x="103258" y="51247"/>
                    </a:cubicBezTo>
                    <a:cubicBezTo>
                      <a:pt x="103258" y="54306"/>
                      <a:pt x="100198" y="57365"/>
                      <a:pt x="97139" y="5736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9008A62B-EE84-40DB-AB17-51C8DF976F4C}"/>
                  </a:ext>
                </a:extLst>
              </p:cNvPr>
              <p:cNvSpPr/>
              <p:nvPr/>
            </p:nvSpPr>
            <p:spPr>
              <a:xfrm>
                <a:off x="14919165" y="10012283"/>
                <a:ext cx="120855" cy="247053"/>
              </a:xfrm>
              <a:custGeom>
                <a:avLst/>
                <a:gdLst>
                  <a:gd name="connsiteX0" fmla="*/ 14539 w 120855"/>
                  <a:gd name="connsiteY0" fmla="*/ 247054 h 247053"/>
                  <a:gd name="connsiteX1" fmla="*/ 14539 w 120855"/>
                  <a:gd name="connsiteY1" fmla="*/ 247054 h 247053"/>
                  <a:gd name="connsiteX2" fmla="*/ 2301 w 120855"/>
                  <a:gd name="connsiteY2" fmla="*/ 237875 h 247053"/>
                  <a:gd name="connsiteX3" fmla="*/ 109383 w 120855"/>
                  <a:gd name="connsiteY3" fmla="*/ 2295 h 247053"/>
                  <a:gd name="connsiteX4" fmla="*/ 118561 w 120855"/>
                  <a:gd name="connsiteY4" fmla="*/ 2295 h 247053"/>
                  <a:gd name="connsiteX5" fmla="*/ 118561 w 120855"/>
                  <a:gd name="connsiteY5" fmla="*/ 11473 h 247053"/>
                  <a:gd name="connsiteX6" fmla="*/ 14539 w 120855"/>
                  <a:gd name="connsiteY6" fmla="*/ 234815 h 247053"/>
                  <a:gd name="connsiteX7" fmla="*/ 17598 w 120855"/>
                  <a:gd name="connsiteY7" fmla="*/ 237875 h 247053"/>
                  <a:gd name="connsiteX8" fmla="*/ 57371 w 120855"/>
                  <a:gd name="connsiteY8" fmla="*/ 195042 h 247053"/>
                  <a:gd name="connsiteX9" fmla="*/ 94086 w 120855"/>
                  <a:gd name="connsiteY9" fmla="*/ 112436 h 247053"/>
                  <a:gd name="connsiteX10" fmla="*/ 103264 w 120855"/>
                  <a:gd name="connsiteY10" fmla="*/ 109377 h 247053"/>
                  <a:gd name="connsiteX11" fmla="*/ 106323 w 120855"/>
                  <a:gd name="connsiteY11" fmla="*/ 118555 h 247053"/>
                  <a:gd name="connsiteX12" fmla="*/ 72669 w 120855"/>
                  <a:gd name="connsiteY12" fmla="*/ 198102 h 247053"/>
                  <a:gd name="connsiteX13" fmla="*/ 72669 w 120855"/>
                  <a:gd name="connsiteY13" fmla="*/ 201162 h 247053"/>
                  <a:gd name="connsiteX14" fmla="*/ 14539 w 120855"/>
                  <a:gd name="connsiteY14" fmla="*/ 247054 h 247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0855" h="247053">
                    <a:moveTo>
                      <a:pt x="14539" y="247054"/>
                    </a:moveTo>
                    <a:cubicBezTo>
                      <a:pt x="14539" y="247054"/>
                      <a:pt x="14539" y="247054"/>
                      <a:pt x="14539" y="247054"/>
                    </a:cubicBezTo>
                    <a:cubicBezTo>
                      <a:pt x="8419" y="247054"/>
                      <a:pt x="5360" y="243994"/>
                      <a:pt x="2301" y="237875"/>
                    </a:cubicBezTo>
                    <a:cubicBezTo>
                      <a:pt x="-9938" y="210340"/>
                      <a:pt x="26776" y="115495"/>
                      <a:pt x="109383" y="2295"/>
                    </a:cubicBezTo>
                    <a:cubicBezTo>
                      <a:pt x="112442" y="-765"/>
                      <a:pt x="115501" y="-765"/>
                      <a:pt x="118561" y="2295"/>
                    </a:cubicBezTo>
                    <a:cubicBezTo>
                      <a:pt x="121621" y="5354"/>
                      <a:pt x="121621" y="8413"/>
                      <a:pt x="118561" y="11473"/>
                    </a:cubicBezTo>
                    <a:cubicBezTo>
                      <a:pt x="26776" y="136912"/>
                      <a:pt x="5360" y="219518"/>
                      <a:pt x="14539" y="234815"/>
                    </a:cubicBezTo>
                    <a:cubicBezTo>
                      <a:pt x="14539" y="237875"/>
                      <a:pt x="17598" y="237875"/>
                      <a:pt x="17598" y="237875"/>
                    </a:cubicBezTo>
                    <a:cubicBezTo>
                      <a:pt x="32896" y="237875"/>
                      <a:pt x="51252" y="207280"/>
                      <a:pt x="57371" y="195042"/>
                    </a:cubicBezTo>
                    <a:cubicBezTo>
                      <a:pt x="60431" y="176685"/>
                      <a:pt x="84907" y="121615"/>
                      <a:pt x="94086" y="112436"/>
                    </a:cubicBezTo>
                    <a:cubicBezTo>
                      <a:pt x="97144" y="109377"/>
                      <a:pt x="100204" y="109377"/>
                      <a:pt x="103264" y="109377"/>
                    </a:cubicBezTo>
                    <a:cubicBezTo>
                      <a:pt x="106323" y="112436"/>
                      <a:pt x="106323" y="115495"/>
                      <a:pt x="106323" y="118555"/>
                    </a:cubicBezTo>
                    <a:cubicBezTo>
                      <a:pt x="91026" y="143031"/>
                      <a:pt x="72669" y="188923"/>
                      <a:pt x="72669" y="198102"/>
                    </a:cubicBezTo>
                    <a:cubicBezTo>
                      <a:pt x="72669" y="198102"/>
                      <a:pt x="72669" y="201162"/>
                      <a:pt x="72669" y="201162"/>
                    </a:cubicBezTo>
                    <a:cubicBezTo>
                      <a:pt x="63491" y="201162"/>
                      <a:pt x="42074" y="247054"/>
                      <a:pt x="14539" y="24705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132AE900-05C0-493D-9594-EEAB007F1C85}"/>
                </a:ext>
              </a:extLst>
            </p:cNvPr>
            <p:cNvSpPr/>
            <p:nvPr/>
          </p:nvSpPr>
          <p:spPr>
            <a:xfrm>
              <a:off x="14743817" y="8514881"/>
              <a:ext cx="826272" cy="1560887"/>
            </a:xfrm>
            <a:custGeom>
              <a:avLst/>
              <a:gdLst>
                <a:gd name="connsiteX0" fmla="*/ 33852 w 826272"/>
                <a:gd name="connsiteY0" fmla="*/ 28082 h 1560887"/>
                <a:gd name="connsiteX1" fmla="*/ 165410 w 826272"/>
                <a:gd name="connsiteY1" fmla="*/ 532898 h 1560887"/>
                <a:gd name="connsiteX2" fmla="*/ 456061 w 826272"/>
                <a:gd name="connsiteY2" fmla="*/ 896977 h 1560887"/>
                <a:gd name="connsiteX3" fmla="*/ 318384 w 826272"/>
                <a:gd name="connsiteY3" fmla="*/ 1450745 h 1560887"/>
                <a:gd name="connsiteX4" fmla="*/ 471359 w 826272"/>
                <a:gd name="connsiteY4" fmla="*/ 1560887 h 1560887"/>
                <a:gd name="connsiteX5" fmla="*/ 826260 w 826272"/>
                <a:gd name="connsiteY5" fmla="*/ 863323 h 1560887"/>
                <a:gd name="connsiteX6" fmla="*/ 33852 w 826272"/>
                <a:gd name="connsiteY6" fmla="*/ 28082 h 1560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6272" h="1560887">
                  <a:moveTo>
                    <a:pt x="33852" y="28082"/>
                  </a:moveTo>
                  <a:cubicBezTo>
                    <a:pt x="-70170" y="113748"/>
                    <a:pt x="91982" y="422756"/>
                    <a:pt x="165410" y="532898"/>
                  </a:cubicBezTo>
                  <a:cubicBezTo>
                    <a:pt x="229659" y="630802"/>
                    <a:pt x="456061" y="896977"/>
                    <a:pt x="456061" y="896977"/>
                  </a:cubicBezTo>
                  <a:lnTo>
                    <a:pt x="318384" y="1450745"/>
                  </a:lnTo>
                  <a:lnTo>
                    <a:pt x="471359" y="1560887"/>
                  </a:lnTo>
                  <a:cubicBezTo>
                    <a:pt x="471359" y="1560887"/>
                    <a:pt x="826260" y="991822"/>
                    <a:pt x="826260" y="863323"/>
                  </a:cubicBezTo>
                  <a:cubicBezTo>
                    <a:pt x="829320" y="719527"/>
                    <a:pt x="266374" y="-167725"/>
                    <a:pt x="33852" y="28082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9AC6DEA4-21A9-46F2-9243-53D1224D9F58}"/>
                </a:ext>
              </a:extLst>
            </p:cNvPr>
            <p:cNvSpPr/>
            <p:nvPr/>
          </p:nvSpPr>
          <p:spPr>
            <a:xfrm>
              <a:off x="14741830" y="8506186"/>
              <a:ext cx="174876" cy="544651"/>
            </a:xfrm>
            <a:custGeom>
              <a:avLst/>
              <a:gdLst>
                <a:gd name="connsiteX0" fmla="*/ 167397 w 174876"/>
                <a:gd name="connsiteY0" fmla="*/ 544652 h 544651"/>
                <a:gd name="connsiteX1" fmla="*/ 164339 w 174876"/>
                <a:gd name="connsiteY1" fmla="*/ 541593 h 544651"/>
                <a:gd name="connsiteX2" fmla="*/ 5245 w 174876"/>
                <a:gd name="connsiteY2" fmla="*/ 192810 h 544651"/>
                <a:gd name="connsiteX3" fmla="*/ 32780 w 174876"/>
                <a:gd name="connsiteY3" fmla="*/ 33717 h 544651"/>
                <a:gd name="connsiteX4" fmla="*/ 112327 w 174876"/>
                <a:gd name="connsiteY4" fmla="*/ 62 h 544651"/>
                <a:gd name="connsiteX5" fmla="*/ 118446 w 174876"/>
                <a:gd name="connsiteY5" fmla="*/ 6182 h 544651"/>
                <a:gd name="connsiteX6" fmla="*/ 112327 w 174876"/>
                <a:gd name="connsiteY6" fmla="*/ 12301 h 544651"/>
                <a:gd name="connsiteX7" fmla="*/ 41959 w 174876"/>
                <a:gd name="connsiteY7" fmla="*/ 42896 h 544651"/>
                <a:gd name="connsiteX8" fmla="*/ 17483 w 174876"/>
                <a:gd name="connsiteY8" fmla="*/ 192810 h 544651"/>
                <a:gd name="connsiteX9" fmla="*/ 173517 w 174876"/>
                <a:gd name="connsiteY9" fmla="*/ 535473 h 544651"/>
                <a:gd name="connsiteX10" fmla="*/ 173517 w 174876"/>
                <a:gd name="connsiteY10" fmla="*/ 544652 h 544651"/>
                <a:gd name="connsiteX11" fmla="*/ 167397 w 174876"/>
                <a:gd name="connsiteY11" fmla="*/ 544652 h 544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4876" h="544651">
                  <a:moveTo>
                    <a:pt x="167397" y="544652"/>
                  </a:moveTo>
                  <a:cubicBezTo>
                    <a:pt x="164339" y="544652"/>
                    <a:pt x="164339" y="544652"/>
                    <a:pt x="164339" y="541593"/>
                  </a:cubicBezTo>
                  <a:cubicBezTo>
                    <a:pt x="164339" y="538533"/>
                    <a:pt x="35840" y="373321"/>
                    <a:pt x="5245" y="192810"/>
                  </a:cubicBezTo>
                  <a:cubicBezTo>
                    <a:pt x="-6993" y="122442"/>
                    <a:pt x="2185" y="67372"/>
                    <a:pt x="32780" y="33717"/>
                  </a:cubicBezTo>
                  <a:cubicBezTo>
                    <a:pt x="66435" y="-2997"/>
                    <a:pt x="109267" y="62"/>
                    <a:pt x="112327" y="62"/>
                  </a:cubicBezTo>
                  <a:cubicBezTo>
                    <a:pt x="115387" y="62"/>
                    <a:pt x="118446" y="3122"/>
                    <a:pt x="118446" y="6182"/>
                  </a:cubicBezTo>
                  <a:cubicBezTo>
                    <a:pt x="118446" y="9241"/>
                    <a:pt x="115387" y="12301"/>
                    <a:pt x="112327" y="12301"/>
                  </a:cubicBezTo>
                  <a:cubicBezTo>
                    <a:pt x="112327" y="12301"/>
                    <a:pt x="69494" y="12301"/>
                    <a:pt x="41959" y="42896"/>
                  </a:cubicBezTo>
                  <a:cubicBezTo>
                    <a:pt x="14423" y="73490"/>
                    <a:pt x="8304" y="122442"/>
                    <a:pt x="17483" y="192810"/>
                  </a:cubicBezTo>
                  <a:cubicBezTo>
                    <a:pt x="48077" y="370261"/>
                    <a:pt x="173517" y="535473"/>
                    <a:pt x="173517" y="535473"/>
                  </a:cubicBezTo>
                  <a:cubicBezTo>
                    <a:pt x="176576" y="538533"/>
                    <a:pt x="173517" y="541593"/>
                    <a:pt x="173517" y="544652"/>
                  </a:cubicBezTo>
                  <a:cubicBezTo>
                    <a:pt x="170457" y="544652"/>
                    <a:pt x="167397" y="544652"/>
                    <a:pt x="167397" y="544652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4D7A918C-0B7A-4CEC-B851-9CF71690D04D}"/>
                </a:ext>
              </a:extLst>
            </p:cNvPr>
            <p:cNvSpPr/>
            <p:nvPr/>
          </p:nvSpPr>
          <p:spPr>
            <a:xfrm>
              <a:off x="15190701" y="9338431"/>
              <a:ext cx="113201" cy="76487"/>
            </a:xfrm>
            <a:custGeom>
              <a:avLst/>
              <a:gdLst>
                <a:gd name="connsiteX0" fmla="*/ 82607 w 113201"/>
                <a:gd name="connsiteY0" fmla="*/ 76487 h 76487"/>
                <a:gd name="connsiteX1" fmla="*/ 82607 w 113201"/>
                <a:gd name="connsiteY1" fmla="*/ 76487 h 76487"/>
                <a:gd name="connsiteX2" fmla="*/ 6119 w 113201"/>
                <a:gd name="connsiteY2" fmla="*/ 76487 h 76487"/>
                <a:gd name="connsiteX3" fmla="*/ 0 w 113201"/>
                <a:gd name="connsiteY3" fmla="*/ 73428 h 76487"/>
                <a:gd name="connsiteX4" fmla="*/ 3060 w 113201"/>
                <a:gd name="connsiteY4" fmla="*/ 67309 h 76487"/>
                <a:gd name="connsiteX5" fmla="*/ 107082 w 113201"/>
                <a:gd name="connsiteY5" fmla="*/ 0 h 76487"/>
                <a:gd name="connsiteX6" fmla="*/ 113202 w 113201"/>
                <a:gd name="connsiteY6" fmla="*/ 3059 h 76487"/>
                <a:gd name="connsiteX7" fmla="*/ 110142 w 113201"/>
                <a:gd name="connsiteY7" fmla="*/ 9178 h 76487"/>
                <a:gd name="connsiteX8" fmla="*/ 27535 w 113201"/>
                <a:gd name="connsiteY8" fmla="*/ 61190 h 76487"/>
                <a:gd name="connsiteX9" fmla="*/ 85665 w 113201"/>
                <a:gd name="connsiteY9" fmla="*/ 64249 h 76487"/>
                <a:gd name="connsiteX10" fmla="*/ 88725 w 113201"/>
                <a:gd name="connsiteY10" fmla="*/ 70368 h 76487"/>
                <a:gd name="connsiteX11" fmla="*/ 82607 w 113201"/>
                <a:gd name="connsiteY11" fmla="*/ 76487 h 7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3201" h="76487">
                  <a:moveTo>
                    <a:pt x="82607" y="76487"/>
                  </a:moveTo>
                  <a:cubicBezTo>
                    <a:pt x="82607" y="76487"/>
                    <a:pt x="82607" y="76487"/>
                    <a:pt x="82607" y="76487"/>
                  </a:cubicBezTo>
                  <a:cubicBezTo>
                    <a:pt x="55070" y="67309"/>
                    <a:pt x="9178" y="76487"/>
                    <a:pt x="6119" y="76487"/>
                  </a:cubicBezTo>
                  <a:cubicBezTo>
                    <a:pt x="3060" y="76487"/>
                    <a:pt x="0" y="76487"/>
                    <a:pt x="0" y="73428"/>
                  </a:cubicBezTo>
                  <a:cubicBezTo>
                    <a:pt x="0" y="70368"/>
                    <a:pt x="0" y="67309"/>
                    <a:pt x="3060" y="67309"/>
                  </a:cubicBezTo>
                  <a:cubicBezTo>
                    <a:pt x="12238" y="61190"/>
                    <a:pt x="79547" y="6119"/>
                    <a:pt x="107082" y="0"/>
                  </a:cubicBezTo>
                  <a:cubicBezTo>
                    <a:pt x="110142" y="0"/>
                    <a:pt x="113202" y="0"/>
                    <a:pt x="113202" y="3059"/>
                  </a:cubicBezTo>
                  <a:cubicBezTo>
                    <a:pt x="113202" y="6119"/>
                    <a:pt x="113202" y="9178"/>
                    <a:pt x="110142" y="9178"/>
                  </a:cubicBezTo>
                  <a:cubicBezTo>
                    <a:pt x="94844" y="12238"/>
                    <a:pt x="52012" y="42833"/>
                    <a:pt x="27535" y="61190"/>
                  </a:cubicBezTo>
                  <a:cubicBezTo>
                    <a:pt x="45892" y="61190"/>
                    <a:pt x="70368" y="58130"/>
                    <a:pt x="85665" y="64249"/>
                  </a:cubicBezTo>
                  <a:cubicBezTo>
                    <a:pt x="88725" y="64249"/>
                    <a:pt x="91785" y="67309"/>
                    <a:pt x="88725" y="70368"/>
                  </a:cubicBezTo>
                  <a:cubicBezTo>
                    <a:pt x="88725" y="76487"/>
                    <a:pt x="85665" y="76487"/>
                    <a:pt x="82607" y="76487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1327E5D7-6EEE-4F2A-8393-C5DE2BB44AB5}"/>
                </a:ext>
              </a:extLst>
            </p:cNvPr>
            <p:cNvSpPr/>
            <p:nvPr/>
          </p:nvSpPr>
          <p:spPr>
            <a:xfrm>
              <a:off x="14603278" y="9616844"/>
              <a:ext cx="302890" cy="296769"/>
            </a:xfrm>
            <a:custGeom>
              <a:avLst/>
              <a:gdLst>
                <a:gd name="connsiteX0" fmla="*/ 180511 w 302890"/>
                <a:gd name="connsiteY0" fmla="*/ 296770 h 296769"/>
                <a:gd name="connsiteX1" fmla="*/ 180511 w 302890"/>
                <a:gd name="connsiteY1" fmla="*/ 296770 h 296769"/>
                <a:gd name="connsiteX2" fmla="*/ 24476 w 302890"/>
                <a:gd name="connsiteY2" fmla="*/ 260057 h 296769"/>
                <a:gd name="connsiteX3" fmla="*/ 24476 w 302890"/>
                <a:gd name="connsiteY3" fmla="*/ 256997 h 296769"/>
                <a:gd name="connsiteX4" fmla="*/ 0 w 302890"/>
                <a:gd name="connsiteY4" fmla="*/ 33654 h 296769"/>
                <a:gd name="connsiteX5" fmla="*/ 6119 w 302890"/>
                <a:gd name="connsiteY5" fmla="*/ 33654 h 296769"/>
                <a:gd name="connsiteX6" fmla="*/ 275354 w 302890"/>
                <a:gd name="connsiteY6" fmla="*/ 0 h 296769"/>
                <a:gd name="connsiteX7" fmla="*/ 281473 w 302890"/>
                <a:gd name="connsiteY7" fmla="*/ 0 h 296769"/>
                <a:gd name="connsiteX8" fmla="*/ 302890 w 302890"/>
                <a:gd name="connsiteY8" fmla="*/ 211105 h 296769"/>
                <a:gd name="connsiteX9" fmla="*/ 180511 w 302890"/>
                <a:gd name="connsiteY9" fmla="*/ 296770 h 296769"/>
                <a:gd name="connsiteX10" fmla="*/ 36714 w 302890"/>
                <a:gd name="connsiteY10" fmla="*/ 253937 h 296769"/>
                <a:gd name="connsiteX11" fmla="*/ 180511 w 302890"/>
                <a:gd name="connsiteY11" fmla="*/ 287592 h 296769"/>
                <a:gd name="connsiteX12" fmla="*/ 293711 w 302890"/>
                <a:gd name="connsiteY12" fmla="*/ 204985 h 296769"/>
                <a:gd name="connsiteX13" fmla="*/ 275354 w 302890"/>
                <a:gd name="connsiteY13" fmla="*/ 12238 h 296769"/>
                <a:gd name="connsiteX14" fmla="*/ 15297 w 302890"/>
                <a:gd name="connsiteY14" fmla="*/ 45892 h 296769"/>
                <a:gd name="connsiteX15" fmla="*/ 36714 w 302890"/>
                <a:gd name="connsiteY15" fmla="*/ 253937 h 296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2890" h="296769">
                  <a:moveTo>
                    <a:pt x="180511" y="296770"/>
                  </a:moveTo>
                  <a:lnTo>
                    <a:pt x="180511" y="296770"/>
                  </a:lnTo>
                  <a:lnTo>
                    <a:pt x="24476" y="260057"/>
                  </a:lnTo>
                  <a:lnTo>
                    <a:pt x="24476" y="256997"/>
                  </a:lnTo>
                  <a:lnTo>
                    <a:pt x="0" y="33654"/>
                  </a:lnTo>
                  <a:lnTo>
                    <a:pt x="6119" y="33654"/>
                  </a:lnTo>
                  <a:cubicBezTo>
                    <a:pt x="6119" y="33654"/>
                    <a:pt x="220284" y="6118"/>
                    <a:pt x="275354" y="0"/>
                  </a:cubicBezTo>
                  <a:lnTo>
                    <a:pt x="281473" y="0"/>
                  </a:lnTo>
                  <a:lnTo>
                    <a:pt x="302890" y="211105"/>
                  </a:lnTo>
                  <a:lnTo>
                    <a:pt x="180511" y="296770"/>
                  </a:lnTo>
                  <a:close/>
                  <a:moveTo>
                    <a:pt x="36714" y="253937"/>
                  </a:moveTo>
                  <a:lnTo>
                    <a:pt x="180511" y="287592"/>
                  </a:lnTo>
                  <a:lnTo>
                    <a:pt x="293711" y="204985"/>
                  </a:lnTo>
                  <a:lnTo>
                    <a:pt x="275354" y="12238"/>
                  </a:lnTo>
                  <a:cubicBezTo>
                    <a:pt x="217224" y="18356"/>
                    <a:pt x="48952" y="39773"/>
                    <a:pt x="15297" y="45892"/>
                  </a:cubicBezTo>
                  <a:lnTo>
                    <a:pt x="36714" y="253937"/>
                  </a:ln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A8B4464B-8477-43F9-B395-62B9EC2F2C93}"/>
                </a:ext>
              </a:extLst>
            </p:cNvPr>
            <p:cNvSpPr/>
            <p:nvPr/>
          </p:nvSpPr>
          <p:spPr>
            <a:xfrm>
              <a:off x="14857216" y="11192482"/>
              <a:ext cx="152974" cy="64248"/>
            </a:xfrm>
            <a:custGeom>
              <a:avLst/>
              <a:gdLst>
                <a:gd name="connsiteX0" fmla="*/ 107082 w 152974"/>
                <a:gd name="connsiteY0" fmla="*/ 64249 h 64248"/>
                <a:gd name="connsiteX1" fmla="*/ 104022 w 152974"/>
                <a:gd name="connsiteY1" fmla="*/ 64249 h 64248"/>
                <a:gd name="connsiteX2" fmla="*/ 104022 w 152974"/>
                <a:gd name="connsiteY2" fmla="*/ 55070 h 64248"/>
                <a:gd name="connsiteX3" fmla="*/ 131558 w 152974"/>
                <a:gd name="connsiteY3" fmla="*/ 15297 h 64248"/>
                <a:gd name="connsiteX4" fmla="*/ 6118 w 152974"/>
                <a:gd name="connsiteY4" fmla="*/ 36713 h 64248"/>
                <a:gd name="connsiteX5" fmla="*/ 0 w 152974"/>
                <a:gd name="connsiteY5" fmla="*/ 33654 h 64248"/>
                <a:gd name="connsiteX6" fmla="*/ 3060 w 152974"/>
                <a:gd name="connsiteY6" fmla="*/ 27535 h 64248"/>
                <a:gd name="connsiteX7" fmla="*/ 152975 w 152974"/>
                <a:gd name="connsiteY7" fmla="*/ 0 h 64248"/>
                <a:gd name="connsiteX8" fmla="*/ 110142 w 152974"/>
                <a:gd name="connsiteY8" fmla="*/ 61190 h 64248"/>
                <a:gd name="connsiteX9" fmla="*/ 107082 w 152974"/>
                <a:gd name="connsiteY9" fmla="*/ 64249 h 6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974" h="64248">
                  <a:moveTo>
                    <a:pt x="107082" y="64249"/>
                  </a:moveTo>
                  <a:cubicBezTo>
                    <a:pt x="107082" y="64249"/>
                    <a:pt x="104022" y="64249"/>
                    <a:pt x="104022" y="64249"/>
                  </a:cubicBezTo>
                  <a:cubicBezTo>
                    <a:pt x="100963" y="61190"/>
                    <a:pt x="100963" y="58130"/>
                    <a:pt x="104022" y="55070"/>
                  </a:cubicBezTo>
                  <a:lnTo>
                    <a:pt x="131558" y="15297"/>
                  </a:lnTo>
                  <a:lnTo>
                    <a:pt x="6118" y="36713"/>
                  </a:lnTo>
                  <a:cubicBezTo>
                    <a:pt x="3060" y="36713"/>
                    <a:pt x="0" y="36713"/>
                    <a:pt x="0" y="33654"/>
                  </a:cubicBezTo>
                  <a:cubicBezTo>
                    <a:pt x="0" y="30595"/>
                    <a:pt x="0" y="27535"/>
                    <a:pt x="3060" y="27535"/>
                  </a:cubicBezTo>
                  <a:lnTo>
                    <a:pt x="152975" y="0"/>
                  </a:lnTo>
                  <a:lnTo>
                    <a:pt x="110142" y="61190"/>
                  </a:lnTo>
                  <a:cubicBezTo>
                    <a:pt x="110142" y="64249"/>
                    <a:pt x="107082" y="64249"/>
                    <a:pt x="107082" y="64249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8" name="图形 892">
              <a:extLst>
                <a:ext uri="{FF2B5EF4-FFF2-40B4-BE49-F238E27FC236}">
                  <a16:creationId xmlns:a16="http://schemas.microsoft.com/office/drawing/2014/main" id="{682BA3D9-5EF9-4C80-BEFC-09550931F7B4}"/>
                </a:ext>
              </a:extLst>
            </p:cNvPr>
            <p:cNvGrpSpPr/>
            <p:nvPr/>
          </p:nvGrpSpPr>
          <p:grpSpPr>
            <a:xfrm>
              <a:off x="11911903" y="9131361"/>
              <a:ext cx="1225695" cy="1243261"/>
              <a:chOff x="11911903" y="9131361"/>
              <a:chExt cx="1225695" cy="1243261"/>
            </a:xfrm>
          </p:grpSpPr>
          <p:grpSp>
            <p:nvGrpSpPr>
              <p:cNvPr id="85" name="图形 892">
                <a:extLst>
                  <a:ext uri="{FF2B5EF4-FFF2-40B4-BE49-F238E27FC236}">
                    <a16:creationId xmlns:a16="http://schemas.microsoft.com/office/drawing/2014/main" id="{88DB0A5D-0206-48CC-BFAF-2FEC4AB853EC}"/>
                  </a:ext>
                </a:extLst>
              </p:cNvPr>
              <p:cNvGrpSpPr/>
              <p:nvPr/>
            </p:nvGrpSpPr>
            <p:grpSpPr>
              <a:xfrm>
                <a:off x="11911903" y="9131361"/>
                <a:ext cx="1225695" cy="1243261"/>
                <a:chOff x="11911903" y="9131361"/>
                <a:chExt cx="1225695" cy="1243261"/>
              </a:xfrm>
            </p:grpSpPr>
            <p:sp>
              <p:nvSpPr>
                <p:cNvPr id="88" name="任意多边形: 形状 87">
                  <a:extLst>
                    <a:ext uri="{FF2B5EF4-FFF2-40B4-BE49-F238E27FC236}">
                      <a16:creationId xmlns:a16="http://schemas.microsoft.com/office/drawing/2014/main" id="{486FF795-CF0B-48BD-8CDB-DFFFA4D10E35}"/>
                    </a:ext>
                  </a:extLst>
                </p:cNvPr>
                <p:cNvSpPr/>
                <p:nvPr/>
              </p:nvSpPr>
              <p:spPr>
                <a:xfrm>
                  <a:off x="12541182" y="9315076"/>
                  <a:ext cx="473099" cy="479218"/>
                </a:xfrm>
                <a:custGeom>
                  <a:avLst/>
                  <a:gdLst>
                    <a:gd name="connsiteX0" fmla="*/ 177451 w 473099"/>
                    <a:gd name="connsiteY0" fmla="*/ 11117 h 479218"/>
                    <a:gd name="connsiteX1" fmla="*/ 0 w 473099"/>
                    <a:gd name="connsiteY1" fmla="*/ 167151 h 479218"/>
                    <a:gd name="connsiteX2" fmla="*/ 278414 w 473099"/>
                    <a:gd name="connsiteY2" fmla="*/ 479219 h 479218"/>
                    <a:gd name="connsiteX3" fmla="*/ 458924 w 473099"/>
                    <a:gd name="connsiteY3" fmla="*/ 320125 h 479218"/>
                    <a:gd name="connsiteX4" fmla="*/ 461983 w 473099"/>
                    <a:gd name="connsiteY4" fmla="*/ 261995 h 479218"/>
                    <a:gd name="connsiteX5" fmla="*/ 244759 w 473099"/>
                    <a:gd name="connsiteY5" fmla="*/ 14176 h 479218"/>
                    <a:gd name="connsiteX6" fmla="*/ 177451 w 473099"/>
                    <a:gd name="connsiteY6" fmla="*/ 11117 h 479218"/>
                    <a:gd name="connsiteX7" fmla="*/ 174391 w 473099"/>
                    <a:gd name="connsiteY7" fmla="*/ 66188 h 479218"/>
                    <a:gd name="connsiteX8" fmla="*/ 226402 w 473099"/>
                    <a:gd name="connsiteY8" fmla="*/ 69247 h 479218"/>
                    <a:gd name="connsiteX9" fmla="*/ 400793 w 473099"/>
                    <a:gd name="connsiteY9" fmla="*/ 265055 h 479218"/>
                    <a:gd name="connsiteX10" fmla="*/ 397734 w 473099"/>
                    <a:gd name="connsiteY10" fmla="*/ 310947 h 479218"/>
                    <a:gd name="connsiteX11" fmla="*/ 253938 w 473099"/>
                    <a:gd name="connsiteY11" fmla="*/ 439446 h 479218"/>
                    <a:gd name="connsiteX12" fmla="*/ 33655 w 473099"/>
                    <a:gd name="connsiteY12" fmla="*/ 191627 h 479218"/>
                    <a:gd name="connsiteX13" fmla="*/ 174391 w 473099"/>
                    <a:gd name="connsiteY13" fmla="*/ 66188 h 479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73099" h="479218">
                      <a:moveTo>
                        <a:pt x="177451" y="11117"/>
                      </a:moveTo>
                      <a:lnTo>
                        <a:pt x="0" y="167151"/>
                      </a:lnTo>
                      <a:lnTo>
                        <a:pt x="278414" y="479219"/>
                      </a:lnTo>
                      <a:lnTo>
                        <a:pt x="458924" y="320125"/>
                      </a:lnTo>
                      <a:cubicBezTo>
                        <a:pt x="477281" y="304828"/>
                        <a:pt x="477281" y="280352"/>
                        <a:pt x="461983" y="261995"/>
                      </a:cubicBezTo>
                      <a:lnTo>
                        <a:pt x="244759" y="14176"/>
                      </a:lnTo>
                      <a:cubicBezTo>
                        <a:pt x="226402" y="-4181"/>
                        <a:pt x="195807" y="-4181"/>
                        <a:pt x="177451" y="11117"/>
                      </a:cubicBezTo>
                      <a:close/>
                      <a:moveTo>
                        <a:pt x="174391" y="66188"/>
                      </a:moveTo>
                      <a:cubicBezTo>
                        <a:pt x="189689" y="53950"/>
                        <a:pt x="214164" y="53950"/>
                        <a:pt x="226402" y="69247"/>
                      </a:cubicBezTo>
                      <a:lnTo>
                        <a:pt x="400793" y="265055"/>
                      </a:lnTo>
                      <a:cubicBezTo>
                        <a:pt x="413031" y="280352"/>
                        <a:pt x="413031" y="298709"/>
                        <a:pt x="397734" y="310947"/>
                      </a:cubicBezTo>
                      <a:lnTo>
                        <a:pt x="253938" y="439446"/>
                      </a:lnTo>
                      <a:lnTo>
                        <a:pt x="33655" y="191627"/>
                      </a:lnTo>
                      <a:lnTo>
                        <a:pt x="174391" y="66188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9" name="任意多边形: 形状 88">
                  <a:extLst>
                    <a:ext uri="{FF2B5EF4-FFF2-40B4-BE49-F238E27FC236}">
                      <a16:creationId xmlns:a16="http://schemas.microsoft.com/office/drawing/2014/main" id="{7CD671D2-DA89-4449-BA0A-E2A13FB638BC}"/>
                    </a:ext>
                  </a:extLst>
                </p:cNvPr>
                <p:cNvSpPr/>
                <p:nvPr/>
              </p:nvSpPr>
              <p:spPr>
                <a:xfrm>
                  <a:off x="11911903" y="9131361"/>
                  <a:ext cx="1170624" cy="1182071"/>
                </a:xfrm>
                <a:custGeom>
                  <a:avLst/>
                  <a:gdLst>
                    <a:gd name="connsiteX0" fmla="*/ 14321 w 1170624"/>
                    <a:gd name="connsiteY0" fmla="*/ 482424 h 1182071"/>
                    <a:gd name="connsiteX1" fmla="*/ 617041 w 1170624"/>
                    <a:gd name="connsiteY1" fmla="*/ 1161630 h 1182071"/>
                    <a:gd name="connsiteX2" fmla="*/ 699648 w 1170624"/>
                    <a:gd name="connsiteY2" fmla="*/ 1167750 h 1182071"/>
                    <a:gd name="connsiteX3" fmla="*/ 1152452 w 1170624"/>
                    <a:gd name="connsiteY3" fmla="*/ 773076 h 1182071"/>
                    <a:gd name="connsiteX4" fmla="*/ 1158571 w 1170624"/>
                    <a:gd name="connsiteY4" fmla="*/ 699648 h 1182071"/>
                    <a:gd name="connsiteX5" fmla="*/ 555851 w 1170624"/>
                    <a:gd name="connsiteY5" fmla="*/ 20441 h 1182071"/>
                    <a:gd name="connsiteX6" fmla="*/ 473245 w 1170624"/>
                    <a:gd name="connsiteY6" fmla="*/ 14322 h 1182071"/>
                    <a:gd name="connsiteX7" fmla="*/ 20441 w 1170624"/>
                    <a:gd name="connsiteY7" fmla="*/ 408996 h 1182071"/>
                    <a:gd name="connsiteX8" fmla="*/ 14321 w 1170624"/>
                    <a:gd name="connsiteY8" fmla="*/ 482424 h 1182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70624" h="1182071">
                      <a:moveTo>
                        <a:pt x="14321" y="482424"/>
                      </a:moveTo>
                      <a:lnTo>
                        <a:pt x="617041" y="1161630"/>
                      </a:lnTo>
                      <a:cubicBezTo>
                        <a:pt x="638458" y="1186107"/>
                        <a:pt x="678231" y="1189166"/>
                        <a:pt x="699648" y="1167750"/>
                      </a:cubicBezTo>
                      <a:lnTo>
                        <a:pt x="1152452" y="773076"/>
                      </a:lnTo>
                      <a:cubicBezTo>
                        <a:pt x="1173869" y="754718"/>
                        <a:pt x="1176928" y="721064"/>
                        <a:pt x="1158571" y="699648"/>
                      </a:cubicBezTo>
                      <a:lnTo>
                        <a:pt x="555851" y="20441"/>
                      </a:lnTo>
                      <a:cubicBezTo>
                        <a:pt x="534435" y="-4035"/>
                        <a:pt x="494662" y="-7094"/>
                        <a:pt x="473245" y="14322"/>
                      </a:cubicBezTo>
                      <a:lnTo>
                        <a:pt x="20441" y="408996"/>
                      </a:lnTo>
                      <a:cubicBezTo>
                        <a:pt x="-4035" y="427353"/>
                        <a:pt x="-7095" y="457948"/>
                        <a:pt x="14321" y="482424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0" name="任意多边形: 形状 89">
                  <a:extLst>
                    <a:ext uri="{FF2B5EF4-FFF2-40B4-BE49-F238E27FC236}">
                      <a16:creationId xmlns:a16="http://schemas.microsoft.com/office/drawing/2014/main" id="{7435A288-F19A-4416-A8FA-F9978CCE5E94}"/>
                    </a:ext>
                  </a:extLst>
                </p:cNvPr>
                <p:cNvSpPr/>
                <p:nvPr/>
              </p:nvSpPr>
              <p:spPr>
                <a:xfrm>
                  <a:off x="11966974" y="9192551"/>
                  <a:ext cx="1170624" cy="1182071"/>
                </a:xfrm>
                <a:custGeom>
                  <a:avLst/>
                  <a:gdLst>
                    <a:gd name="connsiteX0" fmla="*/ 14322 w 1170624"/>
                    <a:gd name="connsiteY0" fmla="*/ 482424 h 1182071"/>
                    <a:gd name="connsiteX1" fmla="*/ 617041 w 1170624"/>
                    <a:gd name="connsiteY1" fmla="*/ 1161630 h 1182071"/>
                    <a:gd name="connsiteX2" fmla="*/ 699648 w 1170624"/>
                    <a:gd name="connsiteY2" fmla="*/ 1167750 h 1182071"/>
                    <a:gd name="connsiteX3" fmla="*/ 1152452 w 1170624"/>
                    <a:gd name="connsiteY3" fmla="*/ 773076 h 1182071"/>
                    <a:gd name="connsiteX4" fmla="*/ 1158571 w 1170624"/>
                    <a:gd name="connsiteY4" fmla="*/ 699648 h 1182071"/>
                    <a:gd name="connsiteX5" fmla="*/ 555851 w 1170624"/>
                    <a:gd name="connsiteY5" fmla="*/ 20441 h 1182071"/>
                    <a:gd name="connsiteX6" fmla="*/ 473246 w 1170624"/>
                    <a:gd name="connsiteY6" fmla="*/ 14322 h 1182071"/>
                    <a:gd name="connsiteX7" fmla="*/ 20441 w 1170624"/>
                    <a:gd name="connsiteY7" fmla="*/ 408996 h 1182071"/>
                    <a:gd name="connsiteX8" fmla="*/ 14322 w 1170624"/>
                    <a:gd name="connsiteY8" fmla="*/ 482424 h 1182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70624" h="1182071">
                      <a:moveTo>
                        <a:pt x="14322" y="482424"/>
                      </a:moveTo>
                      <a:lnTo>
                        <a:pt x="617041" y="1161630"/>
                      </a:lnTo>
                      <a:cubicBezTo>
                        <a:pt x="638458" y="1186107"/>
                        <a:pt x="678231" y="1189166"/>
                        <a:pt x="699648" y="1167750"/>
                      </a:cubicBezTo>
                      <a:lnTo>
                        <a:pt x="1152452" y="773076"/>
                      </a:lnTo>
                      <a:cubicBezTo>
                        <a:pt x="1173869" y="754718"/>
                        <a:pt x="1176928" y="721064"/>
                        <a:pt x="1158571" y="699648"/>
                      </a:cubicBezTo>
                      <a:lnTo>
                        <a:pt x="555851" y="20441"/>
                      </a:lnTo>
                      <a:cubicBezTo>
                        <a:pt x="534435" y="-4035"/>
                        <a:pt x="494662" y="-7094"/>
                        <a:pt x="473246" y="14322"/>
                      </a:cubicBezTo>
                      <a:lnTo>
                        <a:pt x="20441" y="408996"/>
                      </a:lnTo>
                      <a:cubicBezTo>
                        <a:pt x="-4035" y="427353"/>
                        <a:pt x="-7095" y="457948"/>
                        <a:pt x="14322" y="482424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1" name="任意多边形: 形状 90">
                  <a:extLst>
                    <a:ext uri="{FF2B5EF4-FFF2-40B4-BE49-F238E27FC236}">
                      <a16:creationId xmlns:a16="http://schemas.microsoft.com/office/drawing/2014/main" id="{6E3B8724-8001-4E82-9F98-FC450AD243A4}"/>
                    </a:ext>
                  </a:extLst>
                </p:cNvPr>
                <p:cNvSpPr/>
                <p:nvPr/>
              </p:nvSpPr>
              <p:spPr>
                <a:xfrm>
                  <a:off x="12242117" y="9363671"/>
                  <a:ext cx="689915" cy="776345"/>
                </a:xfrm>
                <a:custGeom>
                  <a:avLst/>
                  <a:gdLst>
                    <a:gd name="connsiteX0" fmla="*/ 681501 w 689915"/>
                    <a:gd name="connsiteY0" fmla="*/ 776345 h 776345"/>
                    <a:gd name="connsiteX1" fmla="*/ 678441 w 689915"/>
                    <a:gd name="connsiteY1" fmla="*/ 773287 h 776345"/>
                    <a:gd name="connsiteX2" fmla="*/ 2295 w 689915"/>
                    <a:gd name="connsiteY2" fmla="*/ 11473 h 776345"/>
                    <a:gd name="connsiteX3" fmla="*/ 2295 w 689915"/>
                    <a:gd name="connsiteY3" fmla="*/ 2295 h 776345"/>
                    <a:gd name="connsiteX4" fmla="*/ 11473 w 689915"/>
                    <a:gd name="connsiteY4" fmla="*/ 2295 h 776345"/>
                    <a:gd name="connsiteX5" fmla="*/ 687620 w 689915"/>
                    <a:gd name="connsiteY5" fmla="*/ 764108 h 776345"/>
                    <a:gd name="connsiteX6" fmla="*/ 687620 w 689915"/>
                    <a:gd name="connsiteY6" fmla="*/ 773287 h 776345"/>
                    <a:gd name="connsiteX7" fmla="*/ 681501 w 689915"/>
                    <a:gd name="connsiteY7" fmla="*/ 776345 h 776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89915" h="776345">
                      <a:moveTo>
                        <a:pt x="681501" y="776345"/>
                      </a:moveTo>
                      <a:cubicBezTo>
                        <a:pt x="678441" y="776345"/>
                        <a:pt x="678441" y="776345"/>
                        <a:pt x="678441" y="773287"/>
                      </a:cubicBezTo>
                      <a:lnTo>
                        <a:pt x="2295" y="11473"/>
                      </a:lnTo>
                      <a:cubicBezTo>
                        <a:pt x="-765" y="8414"/>
                        <a:pt x="-765" y="5354"/>
                        <a:pt x="2295" y="2295"/>
                      </a:cubicBezTo>
                      <a:cubicBezTo>
                        <a:pt x="5354" y="-765"/>
                        <a:pt x="8413" y="-765"/>
                        <a:pt x="11473" y="2295"/>
                      </a:cubicBezTo>
                      <a:lnTo>
                        <a:pt x="687620" y="764108"/>
                      </a:lnTo>
                      <a:cubicBezTo>
                        <a:pt x="690680" y="767167"/>
                        <a:pt x="690680" y="770227"/>
                        <a:pt x="687620" y="773287"/>
                      </a:cubicBezTo>
                      <a:cubicBezTo>
                        <a:pt x="684561" y="773287"/>
                        <a:pt x="684561" y="776345"/>
                        <a:pt x="681501" y="776345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2" name="任意多边形: 形状 91">
                  <a:extLst>
                    <a:ext uri="{FF2B5EF4-FFF2-40B4-BE49-F238E27FC236}">
                      <a16:creationId xmlns:a16="http://schemas.microsoft.com/office/drawing/2014/main" id="{EEA688BB-629D-4BFA-8B64-0AF18648074D}"/>
                    </a:ext>
                  </a:extLst>
                </p:cNvPr>
                <p:cNvSpPr/>
                <p:nvPr/>
              </p:nvSpPr>
              <p:spPr>
                <a:xfrm>
                  <a:off x="12043250" y="9232113"/>
                  <a:ext cx="356430" cy="317421"/>
                </a:xfrm>
                <a:custGeom>
                  <a:avLst/>
                  <a:gdLst>
                    <a:gd name="connsiteX0" fmla="*/ 5354 w 356430"/>
                    <a:gd name="connsiteY0" fmla="*/ 317422 h 317421"/>
                    <a:gd name="connsiteX1" fmla="*/ 2295 w 356430"/>
                    <a:gd name="connsiteY1" fmla="*/ 314362 h 317421"/>
                    <a:gd name="connsiteX2" fmla="*/ 2295 w 356430"/>
                    <a:gd name="connsiteY2" fmla="*/ 305184 h 317421"/>
                    <a:gd name="connsiteX3" fmla="*/ 344957 w 356430"/>
                    <a:gd name="connsiteY3" fmla="*/ 2294 h 317421"/>
                    <a:gd name="connsiteX4" fmla="*/ 354136 w 356430"/>
                    <a:gd name="connsiteY4" fmla="*/ 2294 h 317421"/>
                    <a:gd name="connsiteX5" fmla="*/ 354136 w 356430"/>
                    <a:gd name="connsiteY5" fmla="*/ 11473 h 317421"/>
                    <a:gd name="connsiteX6" fmla="*/ 11473 w 356430"/>
                    <a:gd name="connsiteY6" fmla="*/ 314362 h 317421"/>
                    <a:gd name="connsiteX7" fmla="*/ 5354 w 356430"/>
                    <a:gd name="connsiteY7" fmla="*/ 317422 h 3174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56430" h="317421">
                      <a:moveTo>
                        <a:pt x="5354" y="317422"/>
                      </a:moveTo>
                      <a:cubicBezTo>
                        <a:pt x="2295" y="317422"/>
                        <a:pt x="2295" y="317422"/>
                        <a:pt x="2295" y="314362"/>
                      </a:cubicBezTo>
                      <a:cubicBezTo>
                        <a:pt x="-765" y="311303"/>
                        <a:pt x="-765" y="308243"/>
                        <a:pt x="2295" y="305184"/>
                      </a:cubicBezTo>
                      <a:lnTo>
                        <a:pt x="344957" y="2294"/>
                      </a:lnTo>
                      <a:cubicBezTo>
                        <a:pt x="348017" y="-765"/>
                        <a:pt x="351076" y="-765"/>
                        <a:pt x="354136" y="2294"/>
                      </a:cubicBezTo>
                      <a:cubicBezTo>
                        <a:pt x="357195" y="5354"/>
                        <a:pt x="357195" y="8413"/>
                        <a:pt x="354136" y="11473"/>
                      </a:cubicBezTo>
                      <a:lnTo>
                        <a:pt x="11473" y="314362"/>
                      </a:lnTo>
                      <a:cubicBezTo>
                        <a:pt x="8413" y="317422"/>
                        <a:pt x="8413" y="317422"/>
                        <a:pt x="5354" y="317422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5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8716A3B4-61D2-4A55-9E23-63866206603A}"/>
                  </a:ext>
                </a:extLst>
              </p:cNvPr>
              <p:cNvSpPr/>
              <p:nvPr/>
            </p:nvSpPr>
            <p:spPr>
              <a:xfrm>
                <a:off x="12304397" y="9453486"/>
                <a:ext cx="201276" cy="195157"/>
              </a:xfrm>
              <a:custGeom>
                <a:avLst/>
                <a:gdLst>
                  <a:gd name="connsiteX0" fmla="*/ 65454 w 201276"/>
                  <a:gd name="connsiteY0" fmla="*/ 187834 h 195157"/>
                  <a:gd name="connsiteX1" fmla="*/ 4264 w 201276"/>
                  <a:gd name="connsiteY1" fmla="*/ 120525 h 195157"/>
                  <a:gd name="connsiteX2" fmla="*/ 7324 w 201276"/>
                  <a:gd name="connsiteY2" fmla="*/ 92989 h 195157"/>
                  <a:gd name="connsiteX3" fmla="*/ 108288 w 201276"/>
                  <a:gd name="connsiteY3" fmla="*/ 4264 h 195157"/>
                  <a:gd name="connsiteX4" fmla="*/ 135823 w 201276"/>
                  <a:gd name="connsiteY4" fmla="*/ 7324 h 195157"/>
                  <a:gd name="connsiteX5" fmla="*/ 197013 w 201276"/>
                  <a:gd name="connsiteY5" fmla="*/ 74633 h 195157"/>
                  <a:gd name="connsiteX6" fmla="*/ 193953 w 201276"/>
                  <a:gd name="connsiteY6" fmla="*/ 102168 h 195157"/>
                  <a:gd name="connsiteX7" fmla="*/ 92990 w 201276"/>
                  <a:gd name="connsiteY7" fmla="*/ 190894 h 195157"/>
                  <a:gd name="connsiteX8" fmla="*/ 65454 w 201276"/>
                  <a:gd name="connsiteY8" fmla="*/ 187834 h 195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1276" h="195157">
                    <a:moveTo>
                      <a:pt x="65454" y="187834"/>
                    </a:moveTo>
                    <a:lnTo>
                      <a:pt x="4264" y="120525"/>
                    </a:lnTo>
                    <a:cubicBezTo>
                      <a:pt x="-1854" y="111347"/>
                      <a:pt x="-1854" y="99109"/>
                      <a:pt x="7324" y="92989"/>
                    </a:cubicBezTo>
                    <a:lnTo>
                      <a:pt x="108288" y="4264"/>
                    </a:lnTo>
                    <a:cubicBezTo>
                      <a:pt x="117466" y="-1854"/>
                      <a:pt x="129703" y="-1854"/>
                      <a:pt x="135823" y="7324"/>
                    </a:cubicBezTo>
                    <a:lnTo>
                      <a:pt x="197013" y="74633"/>
                    </a:lnTo>
                    <a:cubicBezTo>
                      <a:pt x="203131" y="83811"/>
                      <a:pt x="203131" y="96049"/>
                      <a:pt x="193953" y="102168"/>
                    </a:cubicBezTo>
                    <a:lnTo>
                      <a:pt x="92990" y="190894"/>
                    </a:lnTo>
                    <a:cubicBezTo>
                      <a:pt x="86871" y="197012"/>
                      <a:pt x="74633" y="197012"/>
                      <a:pt x="65454" y="187834"/>
                    </a:cubicBezTo>
                    <a:close/>
                  </a:path>
                </a:pathLst>
              </a:custGeom>
              <a:solidFill>
                <a:srgbClr val="F1DDB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2CC36A69-976B-4FCA-9A5D-05C97F45ABBF}"/>
                  </a:ext>
                </a:extLst>
              </p:cNvPr>
              <p:cNvSpPr/>
              <p:nvPr/>
            </p:nvSpPr>
            <p:spPr>
              <a:xfrm>
                <a:off x="12680714" y="9875696"/>
                <a:ext cx="201277" cy="195158"/>
              </a:xfrm>
              <a:custGeom>
                <a:avLst/>
                <a:gdLst>
                  <a:gd name="connsiteX0" fmla="*/ 65455 w 201277"/>
                  <a:gd name="connsiteY0" fmla="*/ 187834 h 195158"/>
                  <a:gd name="connsiteX1" fmla="*/ 4265 w 201277"/>
                  <a:gd name="connsiteY1" fmla="*/ 120525 h 195158"/>
                  <a:gd name="connsiteX2" fmla="*/ 7324 w 201277"/>
                  <a:gd name="connsiteY2" fmla="*/ 92990 h 195158"/>
                  <a:gd name="connsiteX3" fmla="*/ 108287 w 201277"/>
                  <a:gd name="connsiteY3" fmla="*/ 4264 h 195158"/>
                  <a:gd name="connsiteX4" fmla="*/ 135823 w 201277"/>
                  <a:gd name="connsiteY4" fmla="*/ 7324 h 195158"/>
                  <a:gd name="connsiteX5" fmla="*/ 197012 w 201277"/>
                  <a:gd name="connsiteY5" fmla="*/ 74633 h 195158"/>
                  <a:gd name="connsiteX6" fmla="*/ 193953 w 201277"/>
                  <a:gd name="connsiteY6" fmla="*/ 102168 h 195158"/>
                  <a:gd name="connsiteX7" fmla="*/ 92990 w 201277"/>
                  <a:gd name="connsiteY7" fmla="*/ 190893 h 195158"/>
                  <a:gd name="connsiteX8" fmla="*/ 65455 w 201277"/>
                  <a:gd name="connsiteY8" fmla="*/ 187834 h 195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1277" h="195158">
                    <a:moveTo>
                      <a:pt x="65455" y="187834"/>
                    </a:moveTo>
                    <a:lnTo>
                      <a:pt x="4265" y="120525"/>
                    </a:lnTo>
                    <a:cubicBezTo>
                      <a:pt x="-1855" y="111346"/>
                      <a:pt x="-1855" y="99109"/>
                      <a:pt x="7324" y="92990"/>
                    </a:cubicBezTo>
                    <a:lnTo>
                      <a:pt x="108287" y="4264"/>
                    </a:lnTo>
                    <a:cubicBezTo>
                      <a:pt x="117465" y="-1854"/>
                      <a:pt x="129704" y="-1854"/>
                      <a:pt x="135823" y="7324"/>
                    </a:cubicBezTo>
                    <a:lnTo>
                      <a:pt x="197012" y="74633"/>
                    </a:lnTo>
                    <a:cubicBezTo>
                      <a:pt x="203132" y="83811"/>
                      <a:pt x="203132" y="96049"/>
                      <a:pt x="193953" y="102168"/>
                    </a:cubicBezTo>
                    <a:lnTo>
                      <a:pt x="92990" y="190893"/>
                    </a:lnTo>
                    <a:cubicBezTo>
                      <a:pt x="83812" y="197013"/>
                      <a:pt x="71573" y="197013"/>
                      <a:pt x="65455" y="187834"/>
                    </a:cubicBezTo>
                    <a:close/>
                  </a:path>
                </a:pathLst>
              </a:custGeom>
              <a:solidFill>
                <a:srgbClr val="F1DDB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143D5D70-92F7-49A9-A69D-A9780F0D729C}"/>
                </a:ext>
              </a:extLst>
            </p:cNvPr>
            <p:cNvSpPr/>
            <p:nvPr/>
          </p:nvSpPr>
          <p:spPr>
            <a:xfrm>
              <a:off x="13804752" y="8417524"/>
              <a:ext cx="437506" cy="1606667"/>
            </a:xfrm>
            <a:custGeom>
              <a:avLst/>
              <a:gdLst>
                <a:gd name="connsiteX0" fmla="*/ 437507 w 437506"/>
                <a:gd name="connsiteY0" fmla="*/ 0 h 1606667"/>
                <a:gd name="connsiteX1" fmla="*/ 278413 w 437506"/>
                <a:gd name="connsiteY1" fmla="*/ 1606232 h 1606667"/>
                <a:gd name="connsiteX2" fmla="*/ 0 w 437506"/>
                <a:gd name="connsiteY2" fmla="*/ 1578697 h 1606667"/>
                <a:gd name="connsiteX3" fmla="*/ 137677 w 437506"/>
                <a:gd name="connsiteY3" fmla="*/ 131558 h 1606667"/>
                <a:gd name="connsiteX4" fmla="*/ 437507 w 437506"/>
                <a:gd name="connsiteY4" fmla="*/ 0 h 160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7506" h="1606667">
                  <a:moveTo>
                    <a:pt x="437507" y="0"/>
                  </a:moveTo>
                  <a:cubicBezTo>
                    <a:pt x="437507" y="0"/>
                    <a:pt x="232521" y="783230"/>
                    <a:pt x="278413" y="1606232"/>
                  </a:cubicBezTo>
                  <a:cubicBezTo>
                    <a:pt x="278413" y="1606232"/>
                    <a:pt x="79546" y="1612352"/>
                    <a:pt x="0" y="1578697"/>
                  </a:cubicBezTo>
                  <a:cubicBezTo>
                    <a:pt x="0" y="1578697"/>
                    <a:pt x="91785" y="183569"/>
                    <a:pt x="137677" y="131558"/>
                  </a:cubicBezTo>
                  <a:cubicBezTo>
                    <a:pt x="183569" y="76487"/>
                    <a:pt x="437507" y="0"/>
                    <a:pt x="437507" y="0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3628F0E9-0745-4128-A0EA-97AEF8A16187}"/>
                </a:ext>
              </a:extLst>
            </p:cNvPr>
            <p:cNvSpPr/>
            <p:nvPr/>
          </p:nvSpPr>
          <p:spPr>
            <a:xfrm>
              <a:off x="13823108" y="8541696"/>
              <a:ext cx="123646" cy="1084326"/>
            </a:xfrm>
            <a:custGeom>
              <a:avLst/>
              <a:gdLst>
                <a:gd name="connsiteX0" fmla="*/ 6119 w 123646"/>
                <a:gd name="connsiteY0" fmla="*/ 1084327 h 1084326"/>
                <a:gd name="connsiteX1" fmla="*/ 6119 w 123646"/>
                <a:gd name="connsiteY1" fmla="*/ 1084327 h 1084326"/>
                <a:gd name="connsiteX2" fmla="*/ 0 w 123646"/>
                <a:gd name="connsiteY2" fmla="*/ 1078207 h 1084326"/>
                <a:gd name="connsiteX3" fmla="*/ 39774 w 123646"/>
                <a:gd name="connsiteY3" fmla="*/ 594808 h 1084326"/>
                <a:gd name="connsiteX4" fmla="*/ 113202 w 123646"/>
                <a:gd name="connsiteY4" fmla="*/ 4327 h 1084326"/>
                <a:gd name="connsiteX5" fmla="*/ 119321 w 123646"/>
                <a:gd name="connsiteY5" fmla="*/ 1267 h 1084326"/>
                <a:gd name="connsiteX6" fmla="*/ 122380 w 123646"/>
                <a:gd name="connsiteY6" fmla="*/ 7386 h 1084326"/>
                <a:gd name="connsiteX7" fmla="*/ 48952 w 123646"/>
                <a:gd name="connsiteY7" fmla="*/ 597868 h 1084326"/>
                <a:gd name="connsiteX8" fmla="*/ 9179 w 123646"/>
                <a:gd name="connsiteY8" fmla="*/ 1081267 h 1084326"/>
                <a:gd name="connsiteX9" fmla="*/ 6119 w 123646"/>
                <a:gd name="connsiteY9" fmla="*/ 1084327 h 1084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646" h="1084326">
                  <a:moveTo>
                    <a:pt x="6119" y="1084327"/>
                  </a:moveTo>
                  <a:cubicBezTo>
                    <a:pt x="6119" y="1084327"/>
                    <a:pt x="6119" y="1084327"/>
                    <a:pt x="6119" y="1084327"/>
                  </a:cubicBezTo>
                  <a:cubicBezTo>
                    <a:pt x="3060" y="1084327"/>
                    <a:pt x="0" y="1081267"/>
                    <a:pt x="0" y="1078207"/>
                  </a:cubicBezTo>
                  <a:cubicBezTo>
                    <a:pt x="0" y="1075149"/>
                    <a:pt x="30595" y="701890"/>
                    <a:pt x="39774" y="594808"/>
                  </a:cubicBezTo>
                  <a:cubicBezTo>
                    <a:pt x="42834" y="573392"/>
                    <a:pt x="107082" y="44100"/>
                    <a:pt x="113202" y="4327"/>
                  </a:cubicBezTo>
                  <a:cubicBezTo>
                    <a:pt x="113202" y="1267"/>
                    <a:pt x="116261" y="-1792"/>
                    <a:pt x="119321" y="1267"/>
                  </a:cubicBezTo>
                  <a:cubicBezTo>
                    <a:pt x="122380" y="1267"/>
                    <a:pt x="125439" y="4327"/>
                    <a:pt x="122380" y="7386"/>
                  </a:cubicBezTo>
                  <a:cubicBezTo>
                    <a:pt x="113202" y="47160"/>
                    <a:pt x="48952" y="591749"/>
                    <a:pt x="48952" y="597868"/>
                  </a:cubicBezTo>
                  <a:cubicBezTo>
                    <a:pt x="39774" y="704950"/>
                    <a:pt x="9179" y="1078207"/>
                    <a:pt x="9179" y="1081267"/>
                  </a:cubicBezTo>
                  <a:cubicBezTo>
                    <a:pt x="12239" y="1084327"/>
                    <a:pt x="9179" y="1084327"/>
                    <a:pt x="6119" y="1084327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A110702F-1316-481B-BED3-F34B681F04FC}"/>
                </a:ext>
              </a:extLst>
            </p:cNvPr>
            <p:cNvSpPr/>
            <p:nvPr/>
          </p:nvSpPr>
          <p:spPr>
            <a:xfrm>
              <a:off x="13807811" y="9674974"/>
              <a:ext cx="183569" cy="238639"/>
            </a:xfrm>
            <a:custGeom>
              <a:avLst/>
              <a:gdLst>
                <a:gd name="connsiteX0" fmla="*/ 79547 w 183569"/>
                <a:gd name="connsiteY0" fmla="*/ 238640 h 238639"/>
                <a:gd name="connsiteX1" fmla="*/ 79547 w 183569"/>
                <a:gd name="connsiteY1" fmla="*/ 238640 h 238639"/>
                <a:gd name="connsiteX2" fmla="*/ 3060 w 183569"/>
                <a:gd name="connsiteY2" fmla="*/ 208045 h 238639"/>
                <a:gd name="connsiteX3" fmla="*/ 0 w 183569"/>
                <a:gd name="connsiteY3" fmla="*/ 201927 h 238639"/>
                <a:gd name="connsiteX4" fmla="*/ 6119 w 183569"/>
                <a:gd name="connsiteY4" fmla="*/ 198867 h 238639"/>
                <a:gd name="connsiteX5" fmla="*/ 79547 w 183569"/>
                <a:gd name="connsiteY5" fmla="*/ 226402 h 238639"/>
                <a:gd name="connsiteX6" fmla="*/ 174391 w 183569"/>
                <a:gd name="connsiteY6" fmla="*/ 168272 h 238639"/>
                <a:gd name="connsiteX7" fmla="*/ 174391 w 183569"/>
                <a:gd name="connsiteY7" fmla="*/ 12238 h 238639"/>
                <a:gd name="connsiteX8" fmla="*/ 21417 w 183569"/>
                <a:gd name="connsiteY8" fmla="*/ 12238 h 238639"/>
                <a:gd name="connsiteX9" fmla="*/ 15297 w 183569"/>
                <a:gd name="connsiteY9" fmla="*/ 6118 h 238639"/>
                <a:gd name="connsiteX10" fmla="*/ 21417 w 183569"/>
                <a:gd name="connsiteY10" fmla="*/ 0 h 238639"/>
                <a:gd name="connsiteX11" fmla="*/ 183569 w 183569"/>
                <a:gd name="connsiteY11" fmla="*/ 0 h 238639"/>
                <a:gd name="connsiteX12" fmla="*/ 183569 w 183569"/>
                <a:gd name="connsiteY12" fmla="*/ 174390 h 238639"/>
                <a:gd name="connsiteX13" fmla="*/ 79547 w 183569"/>
                <a:gd name="connsiteY13" fmla="*/ 238640 h 238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569" h="238639">
                  <a:moveTo>
                    <a:pt x="79547" y="238640"/>
                  </a:moveTo>
                  <a:lnTo>
                    <a:pt x="79547" y="238640"/>
                  </a:lnTo>
                  <a:lnTo>
                    <a:pt x="3060" y="208045"/>
                  </a:lnTo>
                  <a:cubicBezTo>
                    <a:pt x="0" y="208045"/>
                    <a:pt x="0" y="204985"/>
                    <a:pt x="0" y="201927"/>
                  </a:cubicBezTo>
                  <a:cubicBezTo>
                    <a:pt x="0" y="198867"/>
                    <a:pt x="3060" y="198867"/>
                    <a:pt x="6119" y="198867"/>
                  </a:cubicBezTo>
                  <a:lnTo>
                    <a:pt x="79547" y="226402"/>
                  </a:lnTo>
                  <a:lnTo>
                    <a:pt x="174391" y="168272"/>
                  </a:lnTo>
                  <a:lnTo>
                    <a:pt x="174391" y="12238"/>
                  </a:lnTo>
                  <a:lnTo>
                    <a:pt x="21417" y="12238"/>
                  </a:lnTo>
                  <a:cubicBezTo>
                    <a:pt x="18357" y="12238"/>
                    <a:pt x="15297" y="9178"/>
                    <a:pt x="15297" y="6118"/>
                  </a:cubicBezTo>
                  <a:cubicBezTo>
                    <a:pt x="15297" y="3060"/>
                    <a:pt x="18357" y="0"/>
                    <a:pt x="21417" y="0"/>
                  </a:cubicBezTo>
                  <a:lnTo>
                    <a:pt x="183569" y="0"/>
                  </a:lnTo>
                  <a:lnTo>
                    <a:pt x="183569" y="174390"/>
                  </a:lnTo>
                  <a:lnTo>
                    <a:pt x="79547" y="238640"/>
                  </a:ln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435F3295-6BD8-41C6-9736-9FF4137A6D24}"/>
                </a:ext>
              </a:extLst>
            </p:cNvPr>
            <p:cNvSpPr/>
            <p:nvPr/>
          </p:nvSpPr>
          <p:spPr>
            <a:xfrm>
              <a:off x="12797200" y="9370592"/>
              <a:ext cx="155312" cy="103064"/>
            </a:xfrm>
            <a:custGeom>
              <a:avLst/>
              <a:gdLst>
                <a:gd name="connsiteX0" fmla="*/ 13217 w 155312"/>
                <a:gd name="connsiteY0" fmla="*/ 102456 h 103064"/>
                <a:gd name="connsiteX1" fmla="*/ 34633 w 155312"/>
                <a:gd name="connsiteY1" fmla="*/ 90219 h 103064"/>
                <a:gd name="connsiteX2" fmla="*/ 92763 w 155312"/>
                <a:gd name="connsiteY2" fmla="*/ 62683 h 103064"/>
                <a:gd name="connsiteX3" fmla="*/ 153953 w 155312"/>
                <a:gd name="connsiteY3" fmla="*/ 81040 h 103064"/>
                <a:gd name="connsiteX4" fmla="*/ 123358 w 155312"/>
                <a:gd name="connsiteY4" fmla="*/ 4553 h 103064"/>
                <a:gd name="connsiteX5" fmla="*/ 13217 w 155312"/>
                <a:gd name="connsiteY5" fmla="*/ 29029 h 103064"/>
                <a:gd name="connsiteX6" fmla="*/ 13217 w 155312"/>
                <a:gd name="connsiteY6" fmla="*/ 102456 h 103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312" h="103064">
                  <a:moveTo>
                    <a:pt x="13217" y="102456"/>
                  </a:moveTo>
                  <a:cubicBezTo>
                    <a:pt x="22395" y="105516"/>
                    <a:pt x="28515" y="96337"/>
                    <a:pt x="34633" y="90219"/>
                  </a:cubicBezTo>
                  <a:cubicBezTo>
                    <a:pt x="49931" y="71861"/>
                    <a:pt x="68288" y="59624"/>
                    <a:pt x="92763" y="62683"/>
                  </a:cubicBezTo>
                  <a:cubicBezTo>
                    <a:pt x="108061" y="62683"/>
                    <a:pt x="138656" y="77980"/>
                    <a:pt x="153953" y="81040"/>
                  </a:cubicBezTo>
                  <a:cubicBezTo>
                    <a:pt x="160073" y="81040"/>
                    <a:pt x="144775" y="10672"/>
                    <a:pt x="123358" y="4553"/>
                  </a:cubicBezTo>
                  <a:cubicBezTo>
                    <a:pt x="92763" y="-4626"/>
                    <a:pt x="34633" y="-1566"/>
                    <a:pt x="13217" y="29029"/>
                  </a:cubicBezTo>
                  <a:cubicBezTo>
                    <a:pt x="4038" y="41267"/>
                    <a:pt x="-11259" y="93278"/>
                    <a:pt x="13217" y="102456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BA86219C-DB19-47D9-AB0A-9C31A9CA3088}"/>
                </a:ext>
              </a:extLst>
            </p:cNvPr>
            <p:cNvSpPr/>
            <p:nvPr/>
          </p:nvSpPr>
          <p:spPr>
            <a:xfrm>
              <a:off x="12789957" y="9366370"/>
              <a:ext cx="141047" cy="121975"/>
            </a:xfrm>
            <a:custGeom>
              <a:avLst/>
              <a:gdLst>
                <a:gd name="connsiteX0" fmla="*/ 20461 w 141047"/>
                <a:gd name="connsiteY0" fmla="*/ 121976 h 121975"/>
                <a:gd name="connsiteX1" fmla="*/ 5163 w 141047"/>
                <a:gd name="connsiteY1" fmla="*/ 112797 h 121975"/>
                <a:gd name="connsiteX2" fmla="*/ 14341 w 141047"/>
                <a:gd name="connsiteY2" fmla="*/ 30191 h 121975"/>
                <a:gd name="connsiteX3" fmla="*/ 130602 w 141047"/>
                <a:gd name="connsiteY3" fmla="*/ 2656 h 121975"/>
                <a:gd name="connsiteX4" fmla="*/ 133661 w 141047"/>
                <a:gd name="connsiteY4" fmla="*/ 8775 h 121975"/>
                <a:gd name="connsiteX5" fmla="*/ 127543 w 141047"/>
                <a:gd name="connsiteY5" fmla="*/ 11834 h 121975"/>
                <a:gd name="connsiteX6" fmla="*/ 23519 w 141047"/>
                <a:gd name="connsiteY6" fmla="*/ 33251 h 121975"/>
                <a:gd name="connsiteX7" fmla="*/ 14341 w 141047"/>
                <a:gd name="connsiteY7" fmla="*/ 103619 h 121975"/>
                <a:gd name="connsiteX8" fmla="*/ 20461 w 141047"/>
                <a:gd name="connsiteY8" fmla="*/ 106678 h 121975"/>
                <a:gd name="connsiteX9" fmla="*/ 35758 w 141047"/>
                <a:gd name="connsiteY9" fmla="*/ 91381 h 121975"/>
                <a:gd name="connsiteX10" fmla="*/ 96948 w 141047"/>
                <a:gd name="connsiteY10" fmla="*/ 54667 h 121975"/>
                <a:gd name="connsiteX11" fmla="*/ 100007 w 141047"/>
                <a:gd name="connsiteY11" fmla="*/ 54667 h 121975"/>
                <a:gd name="connsiteX12" fmla="*/ 106126 w 141047"/>
                <a:gd name="connsiteY12" fmla="*/ 57726 h 121975"/>
                <a:gd name="connsiteX13" fmla="*/ 136721 w 141047"/>
                <a:gd name="connsiteY13" fmla="*/ 91381 h 121975"/>
                <a:gd name="connsiteX14" fmla="*/ 139781 w 141047"/>
                <a:gd name="connsiteY14" fmla="*/ 97500 h 121975"/>
                <a:gd name="connsiteX15" fmla="*/ 133661 w 141047"/>
                <a:gd name="connsiteY15" fmla="*/ 100559 h 121975"/>
                <a:gd name="connsiteX16" fmla="*/ 96948 w 141047"/>
                <a:gd name="connsiteY16" fmla="*/ 63846 h 121975"/>
                <a:gd name="connsiteX17" fmla="*/ 44936 w 141047"/>
                <a:gd name="connsiteY17" fmla="*/ 97500 h 121975"/>
                <a:gd name="connsiteX18" fmla="*/ 20461 w 141047"/>
                <a:gd name="connsiteY18" fmla="*/ 121976 h 12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1047" h="121975">
                  <a:moveTo>
                    <a:pt x="20461" y="121976"/>
                  </a:moveTo>
                  <a:cubicBezTo>
                    <a:pt x="14341" y="121976"/>
                    <a:pt x="8222" y="118916"/>
                    <a:pt x="5163" y="112797"/>
                  </a:cubicBezTo>
                  <a:cubicBezTo>
                    <a:pt x="-4016" y="97500"/>
                    <a:pt x="-956" y="60786"/>
                    <a:pt x="14341" y="30191"/>
                  </a:cubicBezTo>
                  <a:cubicBezTo>
                    <a:pt x="38817" y="-12642"/>
                    <a:pt x="124483" y="2656"/>
                    <a:pt x="130602" y="2656"/>
                  </a:cubicBezTo>
                  <a:cubicBezTo>
                    <a:pt x="133661" y="2656"/>
                    <a:pt x="136721" y="5715"/>
                    <a:pt x="133661" y="8775"/>
                  </a:cubicBezTo>
                  <a:cubicBezTo>
                    <a:pt x="133661" y="11834"/>
                    <a:pt x="130602" y="14894"/>
                    <a:pt x="127543" y="11834"/>
                  </a:cubicBezTo>
                  <a:cubicBezTo>
                    <a:pt x="127543" y="11834"/>
                    <a:pt x="44936" y="-3464"/>
                    <a:pt x="23519" y="33251"/>
                  </a:cubicBezTo>
                  <a:cubicBezTo>
                    <a:pt x="8222" y="60786"/>
                    <a:pt x="5163" y="91381"/>
                    <a:pt x="14341" y="103619"/>
                  </a:cubicBezTo>
                  <a:cubicBezTo>
                    <a:pt x="17401" y="106678"/>
                    <a:pt x="20461" y="106678"/>
                    <a:pt x="20461" y="106678"/>
                  </a:cubicBezTo>
                  <a:cubicBezTo>
                    <a:pt x="23519" y="106678"/>
                    <a:pt x="29639" y="100559"/>
                    <a:pt x="35758" y="91381"/>
                  </a:cubicBezTo>
                  <a:cubicBezTo>
                    <a:pt x="47996" y="76083"/>
                    <a:pt x="63293" y="54667"/>
                    <a:pt x="96948" y="54667"/>
                  </a:cubicBezTo>
                  <a:cubicBezTo>
                    <a:pt x="96948" y="54667"/>
                    <a:pt x="100007" y="54667"/>
                    <a:pt x="100007" y="54667"/>
                  </a:cubicBezTo>
                  <a:cubicBezTo>
                    <a:pt x="103066" y="54667"/>
                    <a:pt x="103066" y="54667"/>
                    <a:pt x="106126" y="57726"/>
                  </a:cubicBezTo>
                  <a:cubicBezTo>
                    <a:pt x="106126" y="57726"/>
                    <a:pt x="118364" y="85262"/>
                    <a:pt x="136721" y="91381"/>
                  </a:cubicBezTo>
                  <a:cubicBezTo>
                    <a:pt x="139781" y="91381"/>
                    <a:pt x="142840" y="94441"/>
                    <a:pt x="139781" y="97500"/>
                  </a:cubicBezTo>
                  <a:cubicBezTo>
                    <a:pt x="139781" y="100559"/>
                    <a:pt x="136721" y="103619"/>
                    <a:pt x="133661" y="100559"/>
                  </a:cubicBezTo>
                  <a:cubicBezTo>
                    <a:pt x="115304" y="94441"/>
                    <a:pt x="103066" y="73024"/>
                    <a:pt x="96948" y="63846"/>
                  </a:cubicBezTo>
                  <a:cubicBezTo>
                    <a:pt x="72471" y="63846"/>
                    <a:pt x="57174" y="82202"/>
                    <a:pt x="44936" y="97500"/>
                  </a:cubicBezTo>
                  <a:cubicBezTo>
                    <a:pt x="38817" y="112797"/>
                    <a:pt x="32698" y="121976"/>
                    <a:pt x="20461" y="121976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7F145A0D-5C8A-470D-8C8D-F7C09493F4AF}"/>
                </a:ext>
              </a:extLst>
            </p:cNvPr>
            <p:cNvSpPr/>
            <p:nvPr/>
          </p:nvSpPr>
          <p:spPr>
            <a:xfrm>
              <a:off x="14257556" y="8281639"/>
              <a:ext cx="246026" cy="68576"/>
            </a:xfrm>
            <a:custGeom>
              <a:avLst/>
              <a:gdLst>
                <a:gd name="connsiteX0" fmla="*/ 104022 w 246026"/>
                <a:gd name="connsiteY0" fmla="*/ 68576 h 68576"/>
                <a:gd name="connsiteX1" fmla="*/ 82607 w 246026"/>
                <a:gd name="connsiteY1" fmla="*/ 65516 h 68576"/>
                <a:gd name="connsiteX2" fmla="*/ 27535 w 246026"/>
                <a:gd name="connsiteY2" fmla="*/ 47160 h 68576"/>
                <a:gd name="connsiteX3" fmla="*/ 3060 w 246026"/>
                <a:gd name="connsiteY3" fmla="*/ 34921 h 68576"/>
                <a:gd name="connsiteX4" fmla="*/ 0 w 246026"/>
                <a:gd name="connsiteY4" fmla="*/ 25743 h 68576"/>
                <a:gd name="connsiteX5" fmla="*/ 9178 w 246026"/>
                <a:gd name="connsiteY5" fmla="*/ 22684 h 68576"/>
                <a:gd name="connsiteX6" fmla="*/ 18357 w 246026"/>
                <a:gd name="connsiteY6" fmla="*/ 28803 h 68576"/>
                <a:gd name="connsiteX7" fmla="*/ 24476 w 246026"/>
                <a:gd name="connsiteY7" fmla="*/ 28803 h 68576"/>
                <a:gd name="connsiteX8" fmla="*/ 33655 w 246026"/>
                <a:gd name="connsiteY8" fmla="*/ 34921 h 68576"/>
                <a:gd name="connsiteX9" fmla="*/ 82607 w 246026"/>
                <a:gd name="connsiteY9" fmla="*/ 53279 h 68576"/>
                <a:gd name="connsiteX10" fmla="*/ 94844 w 246026"/>
                <a:gd name="connsiteY10" fmla="*/ 53279 h 68576"/>
                <a:gd name="connsiteX11" fmla="*/ 186629 w 246026"/>
                <a:gd name="connsiteY11" fmla="*/ 25743 h 68576"/>
                <a:gd name="connsiteX12" fmla="*/ 235581 w 246026"/>
                <a:gd name="connsiteY12" fmla="*/ 1267 h 68576"/>
                <a:gd name="connsiteX13" fmla="*/ 244759 w 246026"/>
                <a:gd name="connsiteY13" fmla="*/ 4327 h 68576"/>
                <a:gd name="connsiteX14" fmla="*/ 241700 w 246026"/>
                <a:gd name="connsiteY14" fmla="*/ 13505 h 68576"/>
                <a:gd name="connsiteX15" fmla="*/ 192748 w 246026"/>
                <a:gd name="connsiteY15" fmla="*/ 37981 h 68576"/>
                <a:gd name="connsiteX16" fmla="*/ 119320 w 246026"/>
                <a:gd name="connsiteY16" fmla="*/ 65516 h 68576"/>
                <a:gd name="connsiteX17" fmla="*/ 104022 w 246026"/>
                <a:gd name="connsiteY17" fmla="*/ 68576 h 68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6026" h="68576">
                  <a:moveTo>
                    <a:pt x="104022" y="68576"/>
                  </a:moveTo>
                  <a:cubicBezTo>
                    <a:pt x="97904" y="68576"/>
                    <a:pt x="88725" y="68576"/>
                    <a:pt x="82607" y="65516"/>
                  </a:cubicBezTo>
                  <a:cubicBezTo>
                    <a:pt x="58130" y="62457"/>
                    <a:pt x="39773" y="53279"/>
                    <a:pt x="27535" y="47160"/>
                  </a:cubicBezTo>
                  <a:cubicBezTo>
                    <a:pt x="15297" y="41040"/>
                    <a:pt x="6119" y="34921"/>
                    <a:pt x="3060" y="34921"/>
                  </a:cubicBezTo>
                  <a:cubicBezTo>
                    <a:pt x="0" y="31862"/>
                    <a:pt x="0" y="28803"/>
                    <a:pt x="0" y="25743"/>
                  </a:cubicBezTo>
                  <a:cubicBezTo>
                    <a:pt x="3060" y="22684"/>
                    <a:pt x="6119" y="22684"/>
                    <a:pt x="9178" y="22684"/>
                  </a:cubicBezTo>
                  <a:cubicBezTo>
                    <a:pt x="9178" y="22684"/>
                    <a:pt x="12238" y="25743"/>
                    <a:pt x="18357" y="28803"/>
                  </a:cubicBezTo>
                  <a:cubicBezTo>
                    <a:pt x="21417" y="28803"/>
                    <a:pt x="21417" y="28803"/>
                    <a:pt x="24476" y="28803"/>
                  </a:cubicBezTo>
                  <a:cubicBezTo>
                    <a:pt x="24476" y="28803"/>
                    <a:pt x="27535" y="31862"/>
                    <a:pt x="33655" y="34921"/>
                  </a:cubicBezTo>
                  <a:cubicBezTo>
                    <a:pt x="48952" y="41040"/>
                    <a:pt x="67309" y="50219"/>
                    <a:pt x="82607" y="53279"/>
                  </a:cubicBezTo>
                  <a:cubicBezTo>
                    <a:pt x="85665" y="53279"/>
                    <a:pt x="91785" y="53279"/>
                    <a:pt x="94844" y="53279"/>
                  </a:cubicBezTo>
                  <a:cubicBezTo>
                    <a:pt x="119320" y="53279"/>
                    <a:pt x="156034" y="37981"/>
                    <a:pt x="186629" y="25743"/>
                  </a:cubicBezTo>
                  <a:cubicBezTo>
                    <a:pt x="214164" y="13505"/>
                    <a:pt x="235581" y="1267"/>
                    <a:pt x="235581" y="1267"/>
                  </a:cubicBezTo>
                  <a:cubicBezTo>
                    <a:pt x="238640" y="-1792"/>
                    <a:pt x="241700" y="1267"/>
                    <a:pt x="244759" y="4327"/>
                  </a:cubicBezTo>
                  <a:cubicBezTo>
                    <a:pt x="247819" y="7386"/>
                    <a:pt x="244759" y="10445"/>
                    <a:pt x="241700" y="13505"/>
                  </a:cubicBezTo>
                  <a:cubicBezTo>
                    <a:pt x="238640" y="13505"/>
                    <a:pt x="217224" y="25743"/>
                    <a:pt x="192748" y="37981"/>
                  </a:cubicBezTo>
                  <a:cubicBezTo>
                    <a:pt x="168272" y="50219"/>
                    <a:pt x="137677" y="62457"/>
                    <a:pt x="119320" y="65516"/>
                  </a:cubicBezTo>
                  <a:cubicBezTo>
                    <a:pt x="113202" y="68576"/>
                    <a:pt x="107082" y="68576"/>
                    <a:pt x="104022" y="68576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12304262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90804E20-92E4-4846-9555-C99E0A0AFD7B}"/>
              </a:ext>
            </a:extLst>
          </p:cNvPr>
          <p:cNvGrpSpPr/>
          <p:nvPr/>
        </p:nvGrpSpPr>
        <p:grpSpPr>
          <a:xfrm>
            <a:off x="2075371" y="1663260"/>
            <a:ext cx="8698483" cy="5061390"/>
            <a:chOff x="10243857" y="7400143"/>
            <a:chExt cx="8698483" cy="5061390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A722633B-F55F-4D14-B428-F91DBF477620}"/>
                </a:ext>
              </a:extLst>
            </p:cNvPr>
            <p:cNvSpPr/>
            <p:nvPr/>
          </p:nvSpPr>
          <p:spPr>
            <a:xfrm>
              <a:off x="15613084" y="11854578"/>
              <a:ext cx="2186775" cy="564640"/>
            </a:xfrm>
            <a:custGeom>
              <a:avLst/>
              <a:gdLst>
                <a:gd name="connsiteX0" fmla="*/ 2186776 w 2186775"/>
                <a:gd name="connsiteY0" fmla="*/ 547451 h 564640"/>
                <a:gd name="connsiteX1" fmla="*/ 1121652 w 2186775"/>
                <a:gd name="connsiteY1" fmla="*/ 12 h 564640"/>
                <a:gd name="connsiteX2" fmla="*/ 0 w 2186775"/>
                <a:gd name="connsiteY2" fmla="*/ 547451 h 564640"/>
                <a:gd name="connsiteX3" fmla="*/ 2186776 w 2186775"/>
                <a:gd name="connsiteY3" fmla="*/ 547451 h 564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6775" h="564640">
                  <a:moveTo>
                    <a:pt x="2186776" y="547451"/>
                  </a:moveTo>
                  <a:cubicBezTo>
                    <a:pt x="2186776" y="547451"/>
                    <a:pt x="1588760" y="-2962"/>
                    <a:pt x="1121652" y="12"/>
                  </a:cubicBezTo>
                  <a:cubicBezTo>
                    <a:pt x="657521" y="2987"/>
                    <a:pt x="0" y="547451"/>
                    <a:pt x="0" y="547451"/>
                  </a:cubicBezTo>
                  <a:cubicBezTo>
                    <a:pt x="0" y="547451"/>
                    <a:pt x="1758347" y="586128"/>
                    <a:pt x="2186776" y="547451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F51E60FA-454D-43B0-A4AD-D11BB3C46185}"/>
                </a:ext>
              </a:extLst>
            </p:cNvPr>
            <p:cNvSpPr/>
            <p:nvPr/>
          </p:nvSpPr>
          <p:spPr>
            <a:xfrm>
              <a:off x="17079861" y="11937897"/>
              <a:ext cx="1862479" cy="481652"/>
            </a:xfrm>
            <a:custGeom>
              <a:avLst/>
              <a:gdLst>
                <a:gd name="connsiteX0" fmla="*/ 1862480 w 1862479"/>
                <a:gd name="connsiteY0" fmla="*/ 467107 h 481652"/>
                <a:gd name="connsiteX1" fmla="*/ 955042 w 1862479"/>
                <a:gd name="connsiteY1" fmla="*/ 0 h 481652"/>
                <a:gd name="connsiteX2" fmla="*/ 0 w 1862479"/>
                <a:gd name="connsiteY2" fmla="*/ 467107 h 481652"/>
                <a:gd name="connsiteX3" fmla="*/ 1862480 w 1862479"/>
                <a:gd name="connsiteY3" fmla="*/ 467107 h 48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2479" h="481652">
                  <a:moveTo>
                    <a:pt x="1862480" y="467107"/>
                  </a:moveTo>
                  <a:cubicBezTo>
                    <a:pt x="1862480" y="467107"/>
                    <a:pt x="1350744" y="0"/>
                    <a:pt x="955042" y="0"/>
                  </a:cubicBezTo>
                  <a:cubicBezTo>
                    <a:pt x="559339" y="2975"/>
                    <a:pt x="0" y="467107"/>
                    <a:pt x="0" y="467107"/>
                  </a:cubicBezTo>
                  <a:cubicBezTo>
                    <a:pt x="0" y="467107"/>
                    <a:pt x="1499504" y="499834"/>
                    <a:pt x="1862480" y="467107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B5CF9768-E736-4E44-BA13-6E8EAE172193}"/>
                </a:ext>
              </a:extLst>
            </p:cNvPr>
            <p:cNvSpPr/>
            <p:nvPr/>
          </p:nvSpPr>
          <p:spPr>
            <a:xfrm>
              <a:off x="10582009" y="9554756"/>
              <a:ext cx="1390908" cy="2525950"/>
            </a:xfrm>
            <a:custGeom>
              <a:avLst/>
              <a:gdLst>
                <a:gd name="connsiteX0" fmla="*/ 621818 w 1390908"/>
                <a:gd name="connsiteY0" fmla="*/ 0 h 2525950"/>
                <a:gd name="connsiteX1" fmla="*/ 1273388 w 1390908"/>
                <a:gd name="connsiteY1" fmla="*/ 0 h 2525950"/>
                <a:gd name="connsiteX2" fmla="*/ 1389422 w 1390908"/>
                <a:gd name="connsiteY2" fmla="*/ 449256 h 2525950"/>
                <a:gd name="connsiteX3" fmla="*/ 1258512 w 1390908"/>
                <a:gd name="connsiteY3" fmla="*/ 2496198 h 2525950"/>
                <a:gd name="connsiteX4" fmla="*/ 1103802 w 1390908"/>
                <a:gd name="connsiteY4" fmla="*/ 2525950 h 2525950"/>
                <a:gd name="connsiteX5" fmla="*/ 937190 w 1390908"/>
                <a:gd name="connsiteY5" fmla="*/ 797355 h 2525950"/>
                <a:gd name="connsiteX6" fmla="*/ 868761 w 1390908"/>
                <a:gd name="connsiteY6" fmla="*/ 1588760 h 2525950"/>
                <a:gd name="connsiteX7" fmla="*/ 856859 w 1390908"/>
                <a:gd name="connsiteY7" fmla="*/ 1639339 h 2525950"/>
                <a:gd name="connsiteX8" fmla="*/ 101157 w 1390908"/>
                <a:gd name="connsiteY8" fmla="*/ 2222480 h 2525950"/>
                <a:gd name="connsiteX9" fmla="*/ 0 w 1390908"/>
                <a:gd name="connsiteY9" fmla="*/ 2082645 h 2525950"/>
                <a:gd name="connsiteX10" fmla="*/ 547438 w 1390908"/>
                <a:gd name="connsiteY10" fmla="*/ 1576860 h 2525950"/>
                <a:gd name="connsiteX11" fmla="*/ 487934 w 1390908"/>
                <a:gd name="connsiteY11" fmla="*/ 413554 h 2525950"/>
                <a:gd name="connsiteX12" fmla="*/ 621818 w 1390908"/>
                <a:gd name="connsiteY12" fmla="*/ 0 h 252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90908" h="2525950">
                  <a:moveTo>
                    <a:pt x="621818" y="0"/>
                  </a:moveTo>
                  <a:lnTo>
                    <a:pt x="1273388" y="0"/>
                  </a:lnTo>
                  <a:cubicBezTo>
                    <a:pt x="1273388" y="0"/>
                    <a:pt x="1368595" y="297521"/>
                    <a:pt x="1389422" y="449256"/>
                  </a:cubicBezTo>
                  <a:cubicBezTo>
                    <a:pt x="1407272" y="598017"/>
                    <a:pt x="1258512" y="2496198"/>
                    <a:pt x="1258512" y="2496198"/>
                  </a:cubicBezTo>
                  <a:lnTo>
                    <a:pt x="1103802" y="2525950"/>
                  </a:lnTo>
                  <a:lnTo>
                    <a:pt x="937190" y="797355"/>
                  </a:lnTo>
                  <a:lnTo>
                    <a:pt x="868761" y="1588760"/>
                  </a:lnTo>
                  <a:cubicBezTo>
                    <a:pt x="865785" y="1606612"/>
                    <a:pt x="868761" y="1627438"/>
                    <a:pt x="856859" y="1639339"/>
                  </a:cubicBezTo>
                  <a:cubicBezTo>
                    <a:pt x="714050" y="1829752"/>
                    <a:pt x="101157" y="2222480"/>
                    <a:pt x="101157" y="2222480"/>
                  </a:cubicBezTo>
                  <a:lnTo>
                    <a:pt x="0" y="2082645"/>
                  </a:lnTo>
                  <a:lnTo>
                    <a:pt x="547438" y="1576860"/>
                  </a:lnTo>
                  <a:cubicBezTo>
                    <a:pt x="547438" y="1576860"/>
                    <a:pt x="493885" y="479008"/>
                    <a:pt x="487934" y="413554"/>
                  </a:cubicBezTo>
                  <a:cubicBezTo>
                    <a:pt x="481984" y="288595"/>
                    <a:pt x="621818" y="0"/>
                    <a:pt x="621818" y="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11BFAF21-3691-4312-89CE-DA6744A23554}"/>
                </a:ext>
              </a:extLst>
            </p:cNvPr>
            <p:cNvSpPr/>
            <p:nvPr/>
          </p:nvSpPr>
          <p:spPr>
            <a:xfrm>
              <a:off x="10763497" y="9551781"/>
              <a:ext cx="1448925" cy="1326580"/>
            </a:xfrm>
            <a:custGeom>
              <a:avLst/>
              <a:gdLst>
                <a:gd name="connsiteX0" fmla="*/ 1448925 w 1448925"/>
                <a:gd name="connsiteY0" fmla="*/ 1261487 h 1326580"/>
                <a:gd name="connsiteX1" fmla="*/ 1163306 w 1448925"/>
                <a:gd name="connsiteY1" fmla="*/ 199339 h 1326580"/>
                <a:gd name="connsiteX2" fmla="*/ 1154380 w 1448925"/>
                <a:gd name="connsiteY2" fmla="*/ 169587 h 1326580"/>
                <a:gd name="connsiteX3" fmla="*/ 1094876 w 1448925"/>
                <a:gd name="connsiteY3" fmla="*/ 17851 h 1326580"/>
                <a:gd name="connsiteX4" fmla="*/ 440330 w 1448925"/>
                <a:gd name="connsiteY4" fmla="*/ 0 h 1326580"/>
                <a:gd name="connsiteX5" fmla="*/ 368925 w 1448925"/>
                <a:gd name="connsiteY5" fmla="*/ 98182 h 1326580"/>
                <a:gd name="connsiteX6" fmla="*/ 354049 w 1448925"/>
                <a:gd name="connsiteY6" fmla="*/ 121984 h 1326580"/>
                <a:gd name="connsiteX7" fmla="*/ 354049 w 1448925"/>
                <a:gd name="connsiteY7" fmla="*/ 121984 h 1326580"/>
                <a:gd name="connsiteX8" fmla="*/ 196364 w 1448925"/>
                <a:gd name="connsiteY8" fmla="*/ 449256 h 1326580"/>
                <a:gd name="connsiteX9" fmla="*/ 184462 w 1448925"/>
                <a:gd name="connsiteY9" fmla="*/ 476033 h 1326580"/>
                <a:gd name="connsiteX10" fmla="*/ 0 w 1448925"/>
                <a:gd name="connsiteY10" fmla="*/ 1184133 h 1326580"/>
                <a:gd name="connsiteX11" fmla="*/ 1448925 w 1448925"/>
                <a:gd name="connsiteY11" fmla="*/ 1261487 h 1326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48925" h="1326580">
                  <a:moveTo>
                    <a:pt x="1448925" y="1261487"/>
                  </a:moveTo>
                  <a:cubicBezTo>
                    <a:pt x="1389421" y="1157355"/>
                    <a:pt x="1184132" y="273719"/>
                    <a:pt x="1163306" y="199339"/>
                  </a:cubicBezTo>
                  <a:cubicBezTo>
                    <a:pt x="1160331" y="190413"/>
                    <a:pt x="1157355" y="178512"/>
                    <a:pt x="1154380" y="169587"/>
                  </a:cubicBezTo>
                  <a:cubicBezTo>
                    <a:pt x="1124628" y="68430"/>
                    <a:pt x="1094876" y="17851"/>
                    <a:pt x="1094876" y="17851"/>
                  </a:cubicBezTo>
                  <a:cubicBezTo>
                    <a:pt x="1094876" y="17851"/>
                    <a:pt x="812231" y="38678"/>
                    <a:pt x="440330" y="0"/>
                  </a:cubicBezTo>
                  <a:cubicBezTo>
                    <a:pt x="416529" y="29752"/>
                    <a:pt x="392727" y="65455"/>
                    <a:pt x="368925" y="98182"/>
                  </a:cubicBezTo>
                  <a:cubicBezTo>
                    <a:pt x="362975" y="107108"/>
                    <a:pt x="357025" y="116033"/>
                    <a:pt x="354049" y="121984"/>
                  </a:cubicBezTo>
                  <a:lnTo>
                    <a:pt x="354049" y="121984"/>
                  </a:lnTo>
                  <a:cubicBezTo>
                    <a:pt x="294545" y="220165"/>
                    <a:pt x="240992" y="333224"/>
                    <a:pt x="196364" y="449256"/>
                  </a:cubicBezTo>
                  <a:cubicBezTo>
                    <a:pt x="193388" y="458182"/>
                    <a:pt x="190413" y="467108"/>
                    <a:pt x="184462" y="476033"/>
                  </a:cubicBezTo>
                  <a:cubicBezTo>
                    <a:pt x="133884" y="603968"/>
                    <a:pt x="0" y="1184133"/>
                    <a:pt x="0" y="1184133"/>
                  </a:cubicBezTo>
                  <a:cubicBezTo>
                    <a:pt x="0" y="1196033"/>
                    <a:pt x="752727" y="1440000"/>
                    <a:pt x="1448925" y="1261487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6965F451-9F00-4D5A-8D35-13220A7DACA4}"/>
                </a:ext>
              </a:extLst>
            </p:cNvPr>
            <p:cNvGrpSpPr/>
            <p:nvPr/>
          </p:nvGrpSpPr>
          <p:grpSpPr>
            <a:xfrm>
              <a:off x="11596555" y="11996285"/>
              <a:ext cx="589333" cy="444421"/>
              <a:chOff x="11596555" y="11996285"/>
              <a:chExt cx="589333" cy="444421"/>
            </a:xfrm>
          </p:grpSpPr>
          <p:grpSp>
            <p:nvGrpSpPr>
              <p:cNvPr id="144" name="图形 1">
                <a:extLst>
                  <a:ext uri="{FF2B5EF4-FFF2-40B4-BE49-F238E27FC236}">
                    <a16:creationId xmlns:a16="http://schemas.microsoft.com/office/drawing/2014/main" id="{E4939437-F56B-474B-86D1-EE120F13CA06}"/>
                  </a:ext>
                </a:extLst>
              </p:cNvPr>
              <p:cNvGrpSpPr/>
              <p:nvPr/>
            </p:nvGrpSpPr>
            <p:grpSpPr>
              <a:xfrm>
                <a:off x="11596555" y="12006326"/>
                <a:ext cx="589333" cy="434380"/>
                <a:chOff x="11596555" y="12006326"/>
                <a:chExt cx="589333" cy="434380"/>
              </a:xfrm>
            </p:grpSpPr>
            <p:sp>
              <p:nvSpPr>
                <p:cNvPr id="146" name="任意多边形: 形状 145">
                  <a:extLst>
                    <a:ext uri="{FF2B5EF4-FFF2-40B4-BE49-F238E27FC236}">
                      <a16:creationId xmlns:a16="http://schemas.microsoft.com/office/drawing/2014/main" id="{C2AC4E4B-C5F3-4920-BA8E-729FB20D9AAA}"/>
                    </a:ext>
                  </a:extLst>
                </p:cNvPr>
                <p:cNvSpPr/>
                <p:nvPr/>
              </p:nvSpPr>
              <p:spPr>
                <a:xfrm>
                  <a:off x="11596555" y="12244343"/>
                  <a:ext cx="589333" cy="196363"/>
                </a:xfrm>
                <a:custGeom>
                  <a:avLst/>
                  <a:gdLst>
                    <a:gd name="connsiteX0" fmla="*/ 374876 w 589333"/>
                    <a:gd name="connsiteY0" fmla="*/ 196364 h 196363"/>
                    <a:gd name="connsiteX1" fmla="*/ 11901 w 589333"/>
                    <a:gd name="connsiteY1" fmla="*/ 190413 h 196363"/>
                    <a:gd name="connsiteX2" fmla="*/ 0 w 589333"/>
                    <a:gd name="connsiteY2" fmla="*/ 178512 h 196363"/>
                    <a:gd name="connsiteX3" fmla="*/ 11901 w 589333"/>
                    <a:gd name="connsiteY3" fmla="*/ 166612 h 196363"/>
                    <a:gd name="connsiteX4" fmla="*/ 422479 w 589333"/>
                    <a:gd name="connsiteY4" fmla="*/ 172563 h 196363"/>
                    <a:gd name="connsiteX5" fmla="*/ 556363 w 589333"/>
                    <a:gd name="connsiteY5" fmla="*/ 107108 h 196363"/>
                    <a:gd name="connsiteX6" fmla="*/ 568265 w 589333"/>
                    <a:gd name="connsiteY6" fmla="*/ 11901 h 196363"/>
                    <a:gd name="connsiteX7" fmla="*/ 577190 w 589333"/>
                    <a:gd name="connsiteY7" fmla="*/ 0 h 196363"/>
                    <a:gd name="connsiteX8" fmla="*/ 589091 w 589333"/>
                    <a:gd name="connsiteY8" fmla="*/ 8926 h 196363"/>
                    <a:gd name="connsiteX9" fmla="*/ 577190 w 589333"/>
                    <a:gd name="connsiteY9" fmla="*/ 113058 h 196363"/>
                    <a:gd name="connsiteX10" fmla="*/ 422479 w 589333"/>
                    <a:gd name="connsiteY10" fmla="*/ 193388 h 196363"/>
                    <a:gd name="connsiteX11" fmla="*/ 374876 w 589333"/>
                    <a:gd name="connsiteY11" fmla="*/ 196364 h 196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89333" h="196363">
                      <a:moveTo>
                        <a:pt x="374876" y="196364"/>
                      </a:moveTo>
                      <a:cubicBezTo>
                        <a:pt x="246942" y="196364"/>
                        <a:pt x="14876" y="190413"/>
                        <a:pt x="11901" y="190413"/>
                      </a:cubicBezTo>
                      <a:cubicBezTo>
                        <a:pt x="5950" y="190413"/>
                        <a:pt x="0" y="184463"/>
                        <a:pt x="0" y="178512"/>
                      </a:cubicBezTo>
                      <a:cubicBezTo>
                        <a:pt x="0" y="172563"/>
                        <a:pt x="5950" y="169587"/>
                        <a:pt x="11901" y="166612"/>
                      </a:cubicBezTo>
                      <a:cubicBezTo>
                        <a:pt x="14876" y="166612"/>
                        <a:pt x="324297" y="175537"/>
                        <a:pt x="422479" y="172563"/>
                      </a:cubicBezTo>
                      <a:cubicBezTo>
                        <a:pt x="473058" y="172563"/>
                        <a:pt x="538513" y="151736"/>
                        <a:pt x="556363" y="107108"/>
                      </a:cubicBezTo>
                      <a:cubicBezTo>
                        <a:pt x="571239" y="65455"/>
                        <a:pt x="568265" y="11901"/>
                        <a:pt x="568265" y="11901"/>
                      </a:cubicBezTo>
                      <a:cubicBezTo>
                        <a:pt x="568265" y="5951"/>
                        <a:pt x="571239" y="0"/>
                        <a:pt x="577190" y="0"/>
                      </a:cubicBezTo>
                      <a:cubicBezTo>
                        <a:pt x="583141" y="0"/>
                        <a:pt x="589091" y="2975"/>
                        <a:pt x="589091" y="8926"/>
                      </a:cubicBezTo>
                      <a:cubicBezTo>
                        <a:pt x="589091" y="11901"/>
                        <a:pt x="592066" y="68430"/>
                        <a:pt x="577190" y="113058"/>
                      </a:cubicBezTo>
                      <a:cubicBezTo>
                        <a:pt x="556363" y="169587"/>
                        <a:pt x="481983" y="193388"/>
                        <a:pt x="422479" y="193388"/>
                      </a:cubicBezTo>
                      <a:cubicBezTo>
                        <a:pt x="410578" y="193388"/>
                        <a:pt x="392727" y="196364"/>
                        <a:pt x="374876" y="196364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7" name="任意多边形: 形状 146">
                  <a:extLst>
                    <a:ext uri="{FF2B5EF4-FFF2-40B4-BE49-F238E27FC236}">
                      <a16:creationId xmlns:a16="http://schemas.microsoft.com/office/drawing/2014/main" id="{7AB704A9-AE2E-467D-BC36-94E2D4C4AC12}"/>
                    </a:ext>
                  </a:extLst>
                </p:cNvPr>
                <p:cNvSpPr/>
                <p:nvPr/>
              </p:nvSpPr>
              <p:spPr>
                <a:xfrm>
                  <a:off x="11712588" y="12312773"/>
                  <a:ext cx="23801" cy="113057"/>
                </a:xfrm>
                <a:custGeom>
                  <a:avLst/>
                  <a:gdLst>
                    <a:gd name="connsiteX0" fmla="*/ 11901 w 23801"/>
                    <a:gd name="connsiteY0" fmla="*/ 113057 h 113057"/>
                    <a:gd name="connsiteX1" fmla="*/ 0 w 23801"/>
                    <a:gd name="connsiteY1" fmla="*/ 101157 h 113057"/>
                    <a:gd name="connsiteX2" fmla="*/ 0 w 23801"/>
                    <a:gd name="connsiteY2" fmla="*/ 11901 h 113057"/>
                    <a:gd name="connsiteX3" fmla="*/ 11901 w 23801"/>
                    <a:gd name="connsiteY3" fmla="*/ 0 h 113057"/>
                    <a:gd name="connsiteX4" fmla="*/ 23801 w 23801"/>
                    <a:gd name="connsiteY4" fmla="*/ 11901 h 113057"/>
                    <a:gd name="connsiteX5" fmla="*/ 23801 w 23801"/>
                    <a:gd name="connsiteY5" fmla="*/ 101157 h 113057"/>
                    <a:gd name="connsiteX6" fmla="*/ 11901 w 23801"/>
                    <a:gd name="connsiteY6" fmla="*/ 113057 h 113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801" h="113057">
                      <a:moveTo>
                        <a:pt x="11901" y="113057"/>
                      </a:moveTo>
                      <a:cubicBezTo>
                        <a:pt x="5951" y="113057"/>
                        <a:pt x="0" y="107107"/>
                        <a:pt x="0" y="101157"/>
                      </a:cubicBezTo>
                      <a:lnTo>
                        <a:pt x="0" y="11901"/>
                      </a:lnTo>
                      <a:cubicBezTo>
                        <a:pt x="0" y="5950"/>
                        <a:pt x="5951" y="0"/>
                        <a:pt x="11901" y="0"/>
                      </a:cubicBezTo>
                      <a:cubicBezTo>
                        <a:pt x="17851" y="0"/>
                        <a:pt x="23801" y="5950"/>
                        <a:pt x="23801" y="11901"/>
                      </a:cubicBezTo>
                      <a:lnTo>
                        <a:pt x="23801" y="101157"/>
                      </a:lnTo>
                      <a:cubicBezTo>
                        <a:pt x="23801" y="107107"/>
                        <a:pt x="17851" y="113057"/>
                        <a:pt x="11901" y="113057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C20EF429-D17C-4CE7-BAE1-D62FE2B07D17}"/>
                    </a:ext>
                  </a:extLst>
                </p:cNvPr>
                <p:cNvSpPr/>
                <p:nvPr/>
              </p:nvSpPr>
              <p:spPr>
                <a:xfrm>
                  <a:off x="11929778" y="12312773"/>
                  <a:ext cx="23802" cy="127933"/>
                </a:xfrm>
                <a:custGeom>
                  <a:avLst/>
                  <a:gdLst>
                    <a:gd name="connsiteX0" fmla="*/ 11902 w 23802"/>
                    <a:gd name="connsiteY0" fmla="*/ 127934 h 127933"/>
                    <a:gd name="connsiteX1" fmla="*/ 0 w 23802"/>
                    <a:gd name="connsiteY1" fmla="*/ 116033 h 127933"/>
                    <a:gd name="connsiteX2" fmla="*/ 0 w 23802"/>
                    <a:gd name="connsiteY2" fmla="*/ 11901 h 127933"/>
                    <a:gd name="connsiteX3" fmla="*/ 11902 w 23802"/>
                    <a:gd name="connsiteY3" fmla="*/ 0 h 127933"/>
                    <a:gd name="connsiteX4" fmla="*/ 23802 w 23802"/>
                    <a:gd name="connsiteY4" fmla="*/ 11901 h 127933"/>
                    <a:gd name="connsiteX5" fmla="*/ 23802 w 23802"/>
                    <a:gd name="connsiteY5" fmla="*/ 116033 h 127933"/>
                    <a:gd name="connsiteX6" fmla="*/ 11902 w 23802"/>
                    <a:gd name="connsiteY6" fmla="*/ 127934 h 127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802" h="127933">
                      <a:moveTo>
                        <a:pt x="11902" y="127934"/>
                      </a:moveTo>
                      <a:cubicBezTo>
                        <a:pt x="5951" y="127934"/>
                        <a:pt x="0" y="121983"/>
                        <a:pt x="0" y="116033"/>
                      </a:cubicBezTo>
                      <a:lnTo>
                        <a:pt x="0" y="11901"/>
                      </a:lnTo>
                      <a:cubicBezTo>
                        <a:pt x="0" y="5950"/>
                        <a:pt x="5951" y="0"/>
                        <a:pt x="11902" y="0"/>
                      </a:cubicBezTo>
                      <a:cubicBezTo>
                        <a:pt x="17851" y="0"/>
                        <a:pt x="23802" y="5950"/>
                        <a:pt x="23802" y="11901"/>
                      </a:cubicBezTo>
                      <a:lnTo>
                        <a:pt x="23802" y="116033"/>
                      </a:lnTo>
                      <a:cubicBezTo>
                        <a:pt x="20827" y="121983"/>
                        <a:pt x="17851" y="127934"/>
                        <a:pt x="11902" y="127934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9" name="任意多边形: 形状 148">
                  <a:extLst>
                    <a:ext uri="{FF2B5EF4-FFF2-40B4-BE49-F238E27FC236}">
                      <a16:creationId xmlns:a16="http://schemas.microsoft.com/office/drawing/2014/main" id="{63C22F0F-EBE6-4103-9A97-95D2507D2BC0}"/>
                    </a:ext>
                  </a:extLst>
                </p:cNvPr>
                <p:cNvSpPr/>
                <p:nvPr/>
              </p:nvSpPr>
              <p:spPr>
                <a:xfrm>
                  <a:off x="12069613" y="12312773"/>
                  <a:ext cx="26776" cy="113057"/>
                </a:xfrm>
                <a:custGeom>
                  <a:avLst/>
                  <a:gdLst>
                    <a:gd name="connsiteX0" fmla="*/ 14876 w 26776"/>
                    <a:gd name="connsiteY0" fmla="*/ 113057 h 113057"/>
                    <a:gd name="connsiteX1" fmla="*/ 2975 w 26776"/>
                    <a:gd name="connsiteY1" fmla="*/ 101157 h 113057"/>
                    <a:gd name="connsiteX2" fmla="*/ 0 w 26776"/>
                    <a:gd name="connsiteY2" fmla="*/ 11901 h 113057"/>
                    <a:gd name="connsiteX3" fmla="*/ 11901 w 26776"/>
                    <a:gd name="connsiteY3" fmla="*/ 0 h 113057"/>
                    <a:gd name="connsiteX4" fmla="*/ 23801 w 26776"/>
                    <a:gd name="connsiteY4" fmla="*/ 11901 h 113057"/>
                    <a:gd name="connsiteX5" fmla="*/ 26777 w 26776"/>
                    <a:gd name="connsiteY5" fmla="*/ 101157 h 113057"/>
                    <a:gd name="connsiteX6" fmla="*/ 14876 w 26776"/>
                    <a:gd name="connsiteY6" fmla="*/ 113057 h 113057"/>
                    <a:gd name="connsiteX7" fmla="*/ 14876 w 26776"/>
                    <a:gd name="connsiteY7" fmla="*/ 113057 h 113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776" h="113057">
                      <a:moveTo>
                        <a:pt x="14876" y="113057"/>
                      </a:moveTo>
                      <a:cubicBezTo>
                        <a:pt x="8925" y="113057"/>
                        <a:pt x="2975" y="107107"/>
                        <a:pt x="2975" y="101157"/>
                      </a:cubicBezTo>
                      <a:lnTo>
                        <a:pt x="0" y="11901"/>
                      </a:lnTo>
                      <a:cubicBezTo>
                        <a:pt x="0" y="5950"/>
                        <a:pt x="5951" y="0"/>
                        <a:pt x="11901" y="0"/>
                      </a:cubicBezTo>
                      <a:cubicBezTo>
                        <a:pt x="17851" y="0"/>
                        <a:pt x="23801" y="5950"/>
                        <a:pt x="23801" y="11901"/>
                      </a:cubicBezTo>
                      <a:lnTo>
                        <a:pt x="26777" y="101157"/>
                      </a:lnTo>
                      <a:cubicBezTo>
                        <a:pt x="26777" y="107107"/>
                        <a:pt x="20827" y="113057"/>
                        <a:pt x="14876" y="113057"/>
                      </a:cubicBezTo>
                      <a:cubicBezTo>
                        <a:pt x="14876" y="113057"/>
                        <a:pt x="14876" y="113057"/>
                        <a:pt x="14876" y="113057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0" name="任意多边形: 形状 149">
                  <a:extLst>
                    <a:ext uri="{FF2B5EF4-FFF2-40B4-BE49-F238E27FC236}">
                      <a16:creationId xmlns:a16="http://schemas.microsoft.com/office/drawing/2014/main" id="{6D8B19DD-80F0-44D9-8ABE-F7F8D6380E03}"/>
                    </a:ext>
                  </a:extLst>
                </p:cNvPr>
                <p:cNvSpPr/>
                <p:nvPr/>
              </p:nvSpPr>
              <p:spPr>
                <a:xfrm>
                  <a:off x="11653084" y="12244343"/>
                  <a:ext cx="464132" cy="113411"/>
                </a:xfrm>
                <a:custGeom>
                  <a:avLst/>
                  <a:gdLst>
                    <a:gd name="connsiteX0" fmla="*/ 8925 w 464132"/>
                    <a:gd name="connsiteY0" fmla="*/ 98182 h 113411"/>
                    <a:gd name="connsiteX1" fmla="*/ 0 w 464132"/>
                    <a:gd name="connsiteY1" fmla="*/ 56529 h 113411"/>
                    <a:gd name="connsiteX2" fmla="*/ 56529 w 464132"/>
                    <a:gd name="connsiteY2" fmla="*/ 0 h 113411"/>
                    <a:gd name="connsiteX3" fmla="*/ 232066 w 464132"/>
                    <a:gd name="connsiteY3" fmla="*/ 0 h 113411"/>
                    <a:gd name="connsiteX4" fmla="*/ 383801 w 464132"/>
                    <a:gd name="connsiteY4" fmla="*/ 20827 h 113411"/>
                    <a:gd name="connsiteX5" fmla="*/ 464132 w 464132"/>
                    <a:gd name="connsiteY5" fmla="*/ 41653 h 113411"/>
                    <a:gd name="connsiteX6" fmla="*/ 455206 w 464132"/>
                    <a:gd name="connsiteY6" fmla="*/ 98182 h 113411"/>
                    <a:gd name="connsiteX7" fmla="*/ 8925 w 464132"/>
                    <a:gd name="connsiteY7" fmla="*/ 98182 h 1134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4132" h="113411">
                      <a:moveTo>
                        <a:pt x="8925" y="98182"/>
                      </a:moveTo>
                      <a:cubicBezTo>
                        <a:pt x="0" y="92232"/>
                        <a:pt x="0" y="56529"/>
                        <a:pt x="0" y="56529"/>
                      </a:cubicBezTo>
                      <a:lnTo>
                        <a:pt x="56529" y="0"/>
                      </a:lnTo>
                      <a:lnTo>
                        <a:pt x="232066" y="0"/>
                      </a:lnTo>
                      <a:lnTo>
                        <a:pt x="383801" y="20827"/>
                      </a:lnTo>
                      <a:lnTo>
                        <a:pt x="464132" y="41653"/>
                      </a:lnTo>
                      <a:cubicBezTo>
                        <a:pt x="464132" y="41653"/>
                        <a:pt x="461157" y="95207"/>
                        <a:pt x="455206" y="98182"/>
                      </a:cubicBezTo>
                      <a:cubicBezTo>
                        <a:pt x="449256" y="101157"/>
                        <a:pt x="196364" y="130909"/>
                        <a:pt x="8925" y="98182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1" name="任意多边形: 形状 150">
                  <a:extLst>
                    <a:ext uri="{FF2B5EF4-FFF2-40B4-BE49-F238E27FC236}">
                      <a16:creationId xmlns:a16="http://schemas.microsoft.com/office/drawing/2014/main" id="{DC9B89FA-9A96-4615-856A-F15A12DDE107}"/>
                    </a:ext>
                  </a:extLst>
                </p:cNvPr>
                <p:cNvSpPr/>
                <p:nvPr/>
              </p:nvSpPr>
              <p:spPr>
                <a:xfrm>
                  <a:off x="11640576" y="12006326"/>
                  <a:ext cx="473664" cy="297520"/>
                </a:xfrm>
                <a:custGeom>
                  <a:avLst/>
                  <a:gdLst>
                    <a:gd name="connsiteX0" fmla="*/ 24409 w 473664"/>
                    <a:gd name="connsiteY0" fmla="*/ 17851 h 297520"/>
                    <a:gd name="connsiteX1" fmla="*/ 223748 w 473664"/>
                    <a:gd name="connsiteY1" fmla="*/ 0 h 297520"/>
                    <a:gd name="connsiteX2" fmla="*/ 283252 w 473664"/>
                    <a:gd name="connsiteY2" fmla="*/ 139835 h 297520"/>
                    <a:gd name="connsiteX3" fmla="*/ 473665 w 473664"/>
                    <a:gd name="connsiteY3" fmla="*/ 276695 h 297520"/>
                    <a:gd name="connsiteX4" fmla="*/ 208872 w 473664"/>
                    <a:gd name="connsiteY4" fmla="*/ 297521 h 297520"/>
                    <a:gd name="connsiteX5" fmla="*/ 6557 w 473664"/>
                    <a:gd name="connsiteY5" fmla="*/ 291571 h 297520"/>
                    <a:gd name="connsiteX6" fmla="*/ 607 w 473664"/>
                    <a:gd name="connsiteY6" fmla="*/ 169587 h 297520"/>
                    <a:gd name="connsiteX7" fmla="*/ 24409 w 473664"/>
                    <a:gd name="connsiteY7" fmla="*/ 17851 h 297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73664" h="297520">
                      <a:moveTo>
                        <a:pt x="24409" y="17851"/>
                      </a:moveTo>
                      <a:cubicBezTo>
                        <a:pt x="24409" y="17851"/>
                        <a:pt x="179120" y="32727"/>
                        <a:pt x="223748" y="0"/>
                      </a:cubicBezTo>
                      <a:cubicBezTo>
                        <a:pt x="223748" y="0"/>
                        <a:pt x="208872" y="107108"/>
                        <a:pt x="283252" y="139835"/>
                      </a:cubicBezTo>
                      <a:cubicBezTo>
                        <a:pt x="357632" y="172563"/>
                        <a:pt x="470690" y="208264"/>
                        <a:pt x="473665" y="276695"/>
                      </a:cubicBezTo>
                      <a:cubicBezTo>
                        <a:pt x="473665" y="276695"/>
                        <a:pt x="345731" y="297521"/>
                        <a:pt x="208872" y="297521"/>
                      </a:cubicBezTo>
                      <a:cubicBezTo>
                        <a:pt x="128541" y="297521"/>
                        <a:pt x="30359" y="285620"/>
                        <a:pt x="6557" y="291571"/>
                      </a:cubicBezTo>
                      <a:cubicBezTo>
                        <a:pt x="6557" y="291571"/>
                        <a:pt x="-2368" y="208264"/>
                        <a:pt x="607" y="169587"/>
                      </a:cubicBezTo>
                      <a:cubicBezTo>
                        <a:pt x="12508" y="121984"/>
                        <a:pt x="24409" y="17851"/>
                        <a:pt x="24409" y="17851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2" name="任意多边形: 形状 151">
                  <a:extLst>
                    <a:ext uri="{FF2B5EF4-FFF2-40B4-BE49-F238E27FC236}">
                      <a16:creationId xmlns:a16="http://schemas.microsoft.com/office/drawing/2014/main" id="{672BDD2C-3E78-436E-A5AC-20D5309501DF}"/>
                    </a:ext>
                  </a:extLst>
                </p:cNvPr>
                <p:cNvSpPr/>
                <p:nvPr/>
              </p:nvSpPr>
              <p:spPr>
                <a:xfrm>
                  <a:off x="11807021" y="12065056"/>
                  <a:ext cx="81878" cy="42426"/>
                </a:xfrm>
                <a:custGeom>
                  <a:avLst/>
                  <a:gdLst>
                    <a:gd name="connsiteX0" fmla="*/ 15650 w 81878"/>
                    <a:gd name="connsiteY0" fmla="*/ 42427 h 42426"/>
                    <a:gd name="connsiteX1" fmla="*/ 774 w 81878"/>
                    <a:gd name="connsiteY1" fmla="*/ 30526 h 42426"/>
                    <a:gd name="connsiteX2" fmla="*/ 12675 w 81878"/>
                    <a:gd name="connsiteY2" fmla="*/ 12675 h 42426"/>
                    <a:gd name="connsiteX3" fmla="*/ 63253 w 81878"/>
                    <a:gd name="connsiteY3" fmla="*/ 774 h 42426"/>
                    <a:gd name="connsiteX4" fmla="*/ 81104 w 81878"/>
                    <a:gd name="connsiteY4" fmla="*/ 12675 h 42426"/>
                    <a:gd name="connsiteX5" fmla="*/ 69203 w 81878"/>
                    <a:gd name="connsiteY5" fmla="*/ 30526 h 42426"/>
                    <a:gd name="connsiteX6" fmla="*/ 18625 w 81878"/>
                    <a:gd name="connsiteY6" fmla="*/ 42427 h 42426"/>
                    <a:gd name="connsiteX7" fmla="*/ 15650 w 81878"/>
                    <a:gd name="connsiteY7" fmla="*/ 42427 h 424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878" h="42426">
                      <a:moveTo>
                        <a:pt x="15650" y="42427"/>
                      </a:moveTo>
                      <a:cubicBezTo>
                        <a:pt x="9699" y="42427"/>
                        <a:pt x="3749" y="36477"/>
                        <a:pt x="774" y="30526"/>
                      </a:cubicBezTo>
                      <a:cubicBezTo>
                        <a:pt x="-2201" y="21601"/>
                        <a:pt x="3749" y="15650"/>
                        <a:pt x="12675" y="12675"/>
                      </a:cubicBezTo>
                      <a:lnTo>
                        <a:pt x="63253" y="774"/>
                      </a:lnTo>
                      <a:cubicBezTo>
                        <a:pt x="72179" y="-2201"/>
                        <a:pt x="78129" y="3749"/>
                        <a:pt x="81104" y="12675"/>
                      </a:cubicBezTo>
                      <a:cubicBezTo>
                        <a:pt x="84079" y="21601"/>
                        <a:pt x="78129" y="27551"/>
                        <a:pt x="69203" y="30526"/>
                      </a:cubicBezTo>
                      <a:lnTo>
                        <a:pt x="18625" y="42427"/>
                      </a:lnTo>
                      <a:cubicBezTo>
                        <a:pt x="18625" y="42427"/>
                        <a:pt x="15650" y="42427"/>
                        <a:pt x="15650" y="4242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3" name="任意多边形: 形状 152">
                  <a:extLst>
                    <a:ext uri="{FF2B5EF4-FFF2-40B4-BE49-F238E27FC236}">
                      <a16:creationId xmlns:a16="http://schemas.microsoft.com/office/drawing/2014/main" id="{3C396AB4-5B80-4C09-A5D6-93DD7B698533}"/>
                    </a:ext>
                  </a:extLst>
                </p:cNvPr>
                <p:cNvSpPr/>
                <p:nvPr/>
              </p:nvSpPr>
              <p:spPr>
                <a:xfrm>
                  <a:off x="11827847" y="12100759"/>
                  <a:ext cx="81878" cy="42426"/>
                </a:xfrm>
                <a:custGeom>
                  <a:avLst/>
                  <a:gdLst>
                    <a:gd name="connsiteX0" fmla="*/ 15650 w 81878"/>
                    <a:gd name="connsiteY0" fmla="*/ 42427 h 42426"/>
                    <a:gd name="connsiteX1" fmla="*/ 774 w 81878"/>
                    <a:gd name="connsiteY1" fmla="*/ 30526 h 42426"/>
                    <a:gd name="connsiteX2" fmla="*/ 12675 w 81878"/>
                    <a:gd name="connsiteY2" fmla="*/ 12675 h 42426"/>
                    <a:gd name="connsiteX3" fmla="*/ 63254 w 81878"/>
                    <a:gd name="connsiteY3" fmla="*/ 774 h 42426"/>
                    <a:gd name="connsiteX4" fmla="*/ 81105 w 81878"/>
                    <a:gd name="connsiteY4" fmla="*/ 12675 h 42426"/>
                    <a:gd name="connsiteX5" fmla="*/ 69204 w 81878"/>
                    <a:gd name="connsiteY5" fmla="*/ 30526 h 42426"/>
                    <a:gd name="connsiteX6" fmla="*/ 18625 w 81878"/>
                    <a:gd name="connsiteY6" fmla="*/ 42427 h 42426"/>
                    <a:gd name="connsiteX7" fmla="*/ 15650 w 81878"/>
                    <a:gd name="connsiteY7" fmla="*/ 42427 h 424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878" h="42426">
                      <a:moveTo>
                        <a:pt x="15650" y="42427"/>
                      </a:moveTo>
                      <a:cubicBezTo>
                        <a:pt x="9700" y="42427"/>
                        <a:pt x="3749" y="36476"/>
                        <a:pt x="774" y="30526"/>
                      </a:cubicBezTo>
                      <a:cubicBezTo>
                        <a:pt x="-2201" y="21600"/>
                        <a:pt x="3749" y="15650"/>
                        <a:pt x="12675" y="12675"/>
                      </a:cubicBezTo>
                      <a:lnTo>
                        <a:pt x="63254" y="774"/>
                      </a:lnTo>
                      <a:cubicBezTo>
                        <a:pt x="72179" y="-2201"/>
                        <a:pt x="78130" y="3749"/>
                        <a:pt x="81105" y="12675"/>
                      </a:cubicBezTo>
                      <a:cubicBezTo>
                        <a:pt x="84080" y="21600"/>
                        <a:pt x="78130" y="27551"/>
                        <a:pt x="69204" y="30526"/>
                      </a:cubicBezTo>
                      <a:lnTo>
                        <a:pt x="18625" y="42427"/>
                      </a:lnTo>
                      <a:cubicBezTo>
                        <a:pt x="15650" y="42427"/>
                        <a:pt x="15650" y="42427"/>
                        <a:pt x="15650" y="4242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4" name="任意多边形: 形状 153">
                  <a:extLst>
                    <a:ext uri="{FF2B5EF4-FFF2-40B4-BE49-F238E27FC236}">
                      <a16:creationId xmlns:a16="http://schemas.microsoft.com/office/drawing/2014/main" id="{26479DAB-0EBD-457E-9717-BB259E191B5B}"/>
                    </a:ext>
                  </a:extLst>
                </p:cNvPr>
                <p:cNvSpPr/>
                <p:nvPr/>
              </p:nvSpPr>
              <p:spPr>
                <a:xfrm>
                  <a:off x="11857599" y="12133486"/>
                  <a:ext cx="81878" cy="42426"/>
                </a:xfrm>
                <a:custGeom>
                  <a:avLst/>
                  <a:gdLst>
                    <a:gd name="connsiteX0" fmla="*/ 15650 w 81878"/>
                    <a:gd name="connsiteY0" fmla="*/ 42427 h 42426"/>
                    <a:gd name="connsiteX1" fmla="*/ 774 w 81878"/>
                    <a:gd name="connsiteY1" fmla="*/ 30526 h 42426"/>
                    <a:gd name="connsiteX2" fmla="*/ 12675 w 81878"/>
                    <a:gd name="connsiteY2" fmla="*/ 12675 h 42426"/>
                    <a:gd name="connsiteX3" fmla="*/ 63254 w 81878"/>
                    <a:gd name="connsiteY3" fmla="*/ 774 h 42426"/>
                    <a:gd name="connsiteX4" fmla="*/ 81105 w 81878"/>
                    <a:gd name="connsiteY4" fmla="*/ 12675 h 42426"/>
                    <a:gd name="connsiteX5" fmla="*/ 69204 w 81878"/>
                    <a:gd name="connsiteY5" fmla="*/ 30526 h 42426"/>
                    <a:gd name="connsiteX6" fmla="*/ 18625 w 81878"/>
                    <a:gd name="connsiteY6" fmla="*/ 42427 h 42426"/>
                    <a:gd name="connsiteX7" fmla="*/ 15650 w 81878"/>
                    <a:gd name="connsiteY7" fmla="*/ 42427 h 424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878" h="42426">
                      <a:moveTo>
                        <a:pt x="15650" y="42427"/>
                      </a:moveTo>
                      <a:cubicBezTo>
                        <a:pt x="9700" y="42427"/>
                        <a:pt x="3749" y="36476"/>
                        <a:pt x="774" y="30526"/>
                      </a:cubicBezTo>
                      <a:cubicBezTo>
                        <a:pt x="-2201" y="21600"/>
                        <a:pt x="3749" y="15650"/>
                        <a:pt x="12675" y="12675"/>
                      </a:cubicBezTo>
                      <a:lnTo>
                        <a:pt x="63254" y="774"/>
                      </a:lnTo>
                      <a:cubicBezTo>
                        <a:pt x="72179" y="-2201"/>
                        <a:pt x="78130" y="3749"/>
                        <a:pt x="81105" y="12675"/>
                      </a:cubicBezTo>
                      <a:cubicBezTo>
                        <a:pt x="84080" y="21600"/>
                        <a:pt x="78130" y="27551"/>
                        <a:pt x="69204" y="30526"/>
                      </a:cubicBezTo>
                      <a:lnTo>
                        <a:pt x="18625" y="42427"/>
                      </a:lnTo>
                      <a:cubicBezTo>
                        <a:pt x="18625" y="42427"/>
                        <a:pt x="18625" y="42427"/>
                        <a:pt x="15650" y="4242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EEE5D102-BD2E-42F9-8711-E02418C07165}"/>
                  </a:ext>
                </a:extLst>
              </p:cNvPr>
              <p:cNvSpPr/>
              <p:nvPr/>
            </p:nvSpPr>
            <p:spPr>
              <a:xfrm>
                <a:off x="11650108" y="11996285"/>
                <a:ext cx="227231" cy="45743"/>
              </a:xfrm>
              <a:custGeom>
                <a:avLst/>
                <a:gdLst>
                  <a:gd name="connsiteX0" fmla="*/ 62480 w 227231"/>
                  <a:gd name="connsiteY0" fmla="*/ 45744 h 45743"/>
                  <a:gd name="connsiteX1" fmla="*/ 14876 w 227231"/>
                  <a:gd name="connsiteY1" fmla="*/ 45744 h 45743"/>
                  <a:gd name="connsiteX2" fmla="*/ 0 w 227231"/>
                  <a:gd name="connsiteY2" fmla="*/ 30868 h 45743"/>
                  <a:gd name="connsiteX3" fmla="*/ 14876 w 227231"/>
                  <a:gd name="connsiteY3" fmla="*/ 15992 h 45743"/>
                  <a:gd name="connsiteX4" fmla="*/ 208264 w 227231"/>
                  <a:gd name="connsiteY4" fmla="*/ 1116 h 45743"/>
                  <a:gd name="connsiteX5" fmla="*/ 226116 w 227231"/>
                  <a:gd name="connsiteY5" fmla="*/ 10041 h 45743"/>
                  <a:gd name="connsiteX6" fmla="*/ 217191 w 227231"/>
                  <a:gd name="connsiteY6" fmla="*/ 27892 h 45743"/>
                  <a:gd name="connsiteX7" fmla="*/ 62480 w 227231"/>
                  <a:gd name="connsiteY7" fmla="*/ 45744 h 45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7231" h="45743">
                    <a:moveTo>
                      <a:pt x="62480" y="45744"/>
                    </a:moveTo>
                    <a:cubicBezTo>
                      <a:pt x="35703" y="45744"/>
                      <a:pt x="14876" y="45744"/>
                      <a:pt x="14876" y="45744"/>
                    </a:cubicBezTo>
                    <a:cubicBezTo>
                      <a:pt x="5951" y="45744"/>
                      <a:pt x="0" y="36818"/>
                      <a:pt x="0" y="30868"/>
                    </a:cubicBezTo>
                    <a:cubicBezTo>
                      <a:pt x="0" y="21942"/>
                      <a:pt x="8926" y="15992"/>
                      <a:pt x="14876" y="15992"/>
                    </a:cubicBezTo>
                    <a:cubicBezTo>
                      <a:pt x="14876" y="15992"/>
                      <a:pt x="148760" y="21942"/>
                      <a:pt x="208264" y="1116"/>
                    </a:cubicBezTo>
                    <a:cubicBezTo>
                      <a:pt x="217191" y="-1860"/>
                      <a:pt x="223141" y="1116"/>
                      <a:pt x="226116" y="10041"/>
                    </a:cubicBezTo>
                    <a:cubicBezTo>
                      <a:pt x="229091" y="18967"/>
                      <a:pt x="226116" y="24917"/>
                      <a:pt x="217191" y="27892"/>
                    </a:cubicBezTo>
                    <a:cubicBezTo>
                      <a:pt x="181488" y="42768"/>
                      <a:pt x="110083" y="45744"/>
                      <a:pt x="62480" y="45744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4513A2C7-01C7-4DD7-AE08-96AD7F2E86FA}"/>
                </a:ext>
              </a:extLst>
            </p:cNvPr>
            <p:cNvGrpSpPr/>
            <p:nvPr/>
          </p:nvGrpSpPr>
          <p:grpSpPr>
            <a:xfrm>
              <a:off x="10243857" y="11592504"/>
              <a:ext cx="512945" cy="625061"/>
              <a:chOff x="10243857" y="11592504"/>
              <a:chExt cx="512945" cy="625061"/>
            </a:xfrm>
          </p:grpSpPr>
          <p:grpSp>
            <p:nvGrpSpPr>
              <p:cNvPr id="133" name="图形 1">
                <a:extLst>
                  <a:ext uri="{FF2B5EF4-FFF2-40B4-BE49-F238E27FC236}">
                    <a16:creationId xmlns:a16="http://schemas.microsoft.com/office/drawing/2014/main" id="{8FBBDD1B-65FD-4AB3-83E8-E1B35D389B1F}"/>
                  </a:ext>
                </a:extLst>
              </p:cNvPr>
              <p:cNvGrpSpPr/>
              <p:nvPr/>
            </p:nvGrpSpPr>
            <p:grpSpPr>
              <a:xfrm>
                <a:off x="10243857" y="11607649"/>
                <a:ext cx="512945" cy="609917"/>
                <a:chOff x="10243857" y="11607649"/>
                <a:chExt cx="512945" cy="609917"/>
              </a:xfrm>
            </p:grpSpPr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5F640711-2FCC-483E-BDFF-A9DED7B13AEA}"/>
                    </a:ext>
                  </a:extLst>
                </p:cNvPr>
                <p:cNvSpPr/>
                <p:nvPr/>
              </p:nvSpPr>
              <p:spPr>
                <a:xfrm>
                  <a:off x="10243857" y="11808008"/>
                  <a:ext cx="512945" cy="409557"/>
                </a:xfrm>
                <a:custGeom>
                  <a:avLst/>
                  <a:gdLst>
                    <a:gd name="connsiteX0" fmla="*/ 391706 w 512945"/>
                    <a:gd name="connsiteY0" fmla="*/ 409557 h 409557"/>
                    <a:gd name="connsiteX1" fmla="*/ 260797 w 512945"/>
                    <a:gd name="connsiteY1" fmla="*/ 338153 h 409557"/>
                    <a:gd name="connsiteX2" fmla="*/ 1954 w 512945"/>
                    <a:gd name="connsiteY2" fmla="*/ 16830 h 409557"/>
                    <a:gd name="connsiteX3" fmla="*/ 4929 w 512945"/>
                    <a:gd name="connsiteY3" fmla="*/ 1954 h 409557"/>
                    <a:gd name="connsiteX4" fmla="*/ 19805 w 512945"/>
                    <a:gd name="connsiteY4" fmla="*/ 4929 h 409557"/>
                    <a:gd name="connsiteX5" fmla="*/ 278648 w 512945"/>
                    <a:gd name="connsiteY5" fmla="*/ 326252 h 409557"/>
                    <a:gd name="connsiteX6" fmla="*/ 415508 w 512945"/>
                    <a:gd name="connsiteY6" fmla="*/ 388731 h 409557"/>
                    <a:gd name="connsiteX7" fmla="*/ 495838 w 512945"/>
                    <a:gd name="connsiteY7" fmla="*/ 335177 h 409557"/>
                    <a:gd name="connsiteX8" fmla="*/ 510714 w 512945"/>
                    <a:gd name="connsiteY8" fmla="*/ 335177 h 409557"/>
                    <a:gd name="connsiteX9" fmla="*/ 510714 w 512945"/>
                    <a:gd name="connsiteY9" fmla="*/ 350053 h 409557"/>
                    <a:gd name="connsiteX10" fmla="*/ 421458 w 512945"/>
                    <a:gd name="connsiteY10" fmla="*/ 406582 h 409557"/>
                    <a:gd name="connsiteX11" fmla="*/ 391706 w 512945"/>
                    <a:gd name="connsiteY11" fmla="*/ 409557 h 409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12945" h="409557">
                      <a:moveTo>
                        <a:pt x="391706" y="409557"/>
                      </a:moveTo>
                      <a:cubicBezTo>
                        <a:pt x="344103" y="409557"/>
                        <a:pt x="293524" y="373855"/>
                        <a:pt x="260797" y="338153"/>
                      </a:cubicBezTo>
                      <a:cubicBezTo>
                        <a:pt x="192368" y="260797"/>
                        <a:pt x="4929" y="19805"/>
                        <a:pt x="1954" y="16830"/>
                      </a:cubicBezTo>
                      <a:cubicBezTo>
                        <a:pt x="-1021" y="10880"/>
                        <a:pt x="-1021" y="4929"/>
                        <a:pt x="4929" y="1954"/>
                      </a:cubicBezTo>
                      <a:cubicBezTo>
                        <a:pt x="10880" y="-1021"/>
                        <a:pt x="16830" y="-1021"/>
                        <a:pt x="19805" y="4929"/>
                      </a:cubicBezTo>
                      <a:cubicBezTo>
                        <a:pt x="22780" y="7905"/>
                        <a:pt x="210219" y="251872"/>
                        <a:pt x="278648" y="326252"/>
                      </a:cubicBezTo>
                      <a:cubicBezTo>
                        <a:pt x="311376" y="364929"/>
                        <a:pt x="367905" y="403607"/>
                        <a:pt x="415508" y="388731"/>
                      </a:cubicBezTo>
                      <a:cubicBezTo>
                        <a:pt x="457161" y="373855"/>
                        <a:pt x="495838" y="338153"/>
                        <a:pt x="495838" y="335177"/>
                      </a:cubicBezTo>
                      <a:cubicBezTo>
                        <a:pt x="501789" y="332202"/>
                        <a:pt x="507740" y="332202"/>
                        <a:pt x="510714" y="335177"/>
                      </a:cubicBezTo>
                      <a:cubicBezTo>
                        <a:pt x="513689" y="338153"/>
                        <a:pt x="513689" y="347078"/>
                        <a:pt x="510714" y="350053"/>
                      </a:cubicBezTo>
                      <a:cubicBezTo>
                        <a:pt x="507740" y="353029"/>
                        <a:pt x="466086" y="391706"/>
                        <a:pt x="421458" y="406582"/>
                      </a:cubicBezTo>
                      <a:cubicBezTo>
                        <a:pt x="409557" y="406582"/>
                        <a:pt x="400632" y="409557"/>
                        <a:pt x="391706" y="409557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5FD335AA-A4EB-4499-84C3-5E00FE0F504E}"/>
                    </a:ext>
                  </a:extLst>
                </p:cNvPr>
                <p:cNvSpPr/>
                <p:nvPr/>
              </p:nvSpPr>
              <p:spPr>
                <a:xfrm>
                  <a:off x="10323910" y="11834508"/>
                  <a:ext cx="87768" cy="76611"/>
                </a:xfrm>
                <a:custGeom>
                  <a:avLst/>
                  <a:gdLst>
                    <a:gd name="connsiteX0" fmla="*/ 11158 w 87768"/>
                    <a:gd name="connsiteY0" fmla="*/ 76612 h 76611"/>
                    <a:gd name="connsiteX1" fmla="*/ 2232 w 87768"/>
                    <a:gd name="connsiteY1" fmla="*/ 73636 h 76611"/>
                    <a:gd name="connsiteX2" fmla="*/ 2232 w 87768"/>
                    <a:gd name="connsiteY2" fmla="*/ 58760 h 76611"/>
                    <a:gd name="connsiteX3" fmla="*/ 70662 w 87768"/>
                    <a:gd name="connsiteY3" fmla="*/ 2232 h 76611"/>
                    <a:gd name="connsiteX4" fmla="*/ 85538 w 87768"/>
                    <a:gd name="connsiteY4" fmla="*/ 2232 h 76611"/>
                    <a:gd name="connsiteX5" fmla="*/ 85538 w 87768"/>
                    <a:gd name="connsiteY5" fmla="*/ 17108 h 76611"/>
                    <a:gd name="connsiteX6" fmla="*/ 17108 w 87768"/>
                    <a:gd name="connsiteY6" fmla="*/ 73636 h 76611"/>
                    <a:gd name="connsiteX7" fmla="*/ 11158 w 87768"/>
                    <a:gd name="connsiteY7" fmla="*/ 76612 h 76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7768" h="76611">
                      <a:moveTo>
                        <a:pt x="11158" y="76612"/>
                      </a:moveTo>
                      <a:cubicBezTo>
                        <a:pt x="8182" y="76612"/>
                        <a:pt x="5207" y="76612"/>
                        <a:pt x="2232" y="73636"/>
                      </a:cubicBezTo>
                      <a:cubicBezTo>
                        <a:pt x="-744" y="67686"/>
                        <a:pt x="-744" y="61736"/>
                        <a:pt x="2232" y="58760"/>
                      </a:cubicBezTo>
                      <a:lnTo>
                        <a:pt x="70662" y="2232"/>
                      </a:lnTo>
                      <a:cubicBezTo>
                        <a:pt x="76612" y="-744"/>
                        <a:pt x="82562" y="-744"/>
                        <a:pt x="85538" y="2232"/>
                      </a:cubicBezTo>
                      <a:cubicBezTo>
                        <a:pt x="88512" y="8181"/>
                        <a:pt x="88512" y="14132"/>
                        <a:pt x="85538" y="17108"/>
                      </a:cubicBezTo>
                      <a:lnTo>
                        <a:pt x="17108" y="73636"/>
                      </a:lnTo>
                      <a:cubicBezTo>
                        <a:pt x="14132" y="76612"/>
                        <a:pt x="14132" y="76612"/>
                        <a:pt x="11158" y="76612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7" name="任意多边形: 形状 136">
                  <a:extLst>
                    <a:ext uri="{FF2B5EF4-FFF2-40B4-BE49-F238E27FC236}">
                      <a16:creationId xmlns:a16="http://schemas.microsoft.com/office/drawing/2014/main" id="{DCEFBF4C-24D7-4E76-80A2-FB834AECE91D}"/>
                    </a:ext>
                  </a:extLst>
                </p:cNvPr>
                <p:cNvSpPr/>
                <p:nvPr/>
              </p:nvSpPr>
              <p:spPr>
                <a:xfrm>
                  <a:off x="10448869" y="12001120"/>
                  <a:ext cx="99669" cy="85537"/>
                </a:xfrm>
                <a:custGeom>
                  <a:avLst/>
                  <a:gdLst>
                    <a:gd name="connsiteX0" fmla="*/ 11157 w 99669"/>
                    <a:gd name="connsiteY0" fmla="*/ 85537 h 85537"/>
                    <a:gd name="connsiteX1" fmla="*/ 2232 w 99669"/>
                    <a:gd name="connsiteY1" fmla="*/ 82562 h 85537"/>
                    <a:gd name="connsiteX2" fmla="*/ 2232 w 99669"/>
                    <a:gd name="connsiteY2" fmla="*/ 67686 h 85537"/>
                    <a:gd name="connsiteX3" fmla="*/ 82562 w 99669"/>
                    <a:gd name="connsiteY3" fmla="*/ 2231 h 85537"/>
                    <a:gd name="connsiteX4" fmla="*/ 97438 w 99669"/>
                    <a:gd name="connsiteY4" fmla="*/ 2231 h 85537"/>
                    <a:gd name="connsiteX5" fmla="*/ 97438 w 99669"/>
                    <a:gd name="connsiteY5" fmla="*/ 17107 h 85537"/>
                    <a:gd name="connsiteX6" fmla="*/ 17108 w 99669"/>
                    <a:gd name="connsiteY6" fmla="*/ 82562 h 85537"/>
                    <a:gd name="connsiteX7" fmla="*/ 11157 w 99669"/>
                    <a:gd name="connsiteY7" fmla="*/ 85537 h 855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9669" h="85537">
                      <a:moveTo>
                        <a:pt x="11157" y="85537"/>
                      </a:moveTo>
                      <a:cubicBezTo>
                        <a:pt x="8181" y="85537"/>
                        <a:pt x="5207" y="85537"/>
                        <a:pt x="2232" y="82562"/>
                      </a:cubicBezTo>
                      <a:cubicBezTo>
                        <a:pt x="-744" y="76611"/>
                        <a:pt x="-744" y="70661"/>
                        <a:pt x="2232" y="67686"/>
                      </a:cubicBezTo>
                      <a:lnTo>
                        <a:pt x="82562" y="2231"/>
                      </a:lnTo>
                      <a:cubicBezTo>
                        <a:pt x="88512" y="-744"/>
                        <a:pt x="94463" y="-744"/>
                        <a:pt x="97438" y="2231"/>
                      </a:cubicBezTo>
                      <a:cubicBezTo>
                        <a:pt x="100413" y="8182"/>
                        <a:pt x="100413" y="14132"/>
                        <a:pt x="97438" y="17107"/>
                      </a:cubicBezTo>
                      <a:lnTo>
                        <a:pt x="17108" y="82562"/>
                      </a:lnTo>
                      <a:cubicBezTo>
                        <a:pt x="17108" y="85537"/>
                        <a:pt x="14132" y="85537"/>
                        <a:pt x="11157" y="85537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DA633F1B-91A8-4909-9BC9-FE3D6C786829}"/>
                    </a:ext>
                  </a:extLst>
                </p:cNvPr>
                <p:cNvSpPr/>
                <p:nvPr/>
              </p:nvSpPr>
              <p:spPr>
                <a:xfrm>
                  <a:off x="10553001" y="12111202"/>
                  <a:ext cx="84793" cy="79587"/>
                </a:xfrm>
                <a:custGeom>
                  <a:avLst/>
                  <a:gdLst>
                    <a:gd name="connsiteX0" fmla="*/ 11157 w 84793"/>
                    <a:gd name="connsiteY0" fmla="*/ 79587 h 79587"/>
                    <a:gd name="connsiteX1" fmla="*/ 2232 w 84793"/>
                    <a:gd name="connsiteY1" fmla="*/ 76612 h 79587"/>
                    <a:gd name="connsiteX2" fmla="*/ 2232 w 84793"/>
                    <a:gd name="connsiteY2" fmla="*/ 61736 h 79587"/>
                    <a:gd name="connsiteX3" fmla="*/ 67686 w 84793"/>
                    <a:gd name="connsiteY3" fmla="*/ 2232 h 79587"/>
                    <a:gd name="connsiteX4" fmla="*/ 82562 w 84793"/>
                    <a:gd name="connsiteY4" fmla="*/ 2232 h 79587"/>
                    <a:gd name="connsiteX5" fmla="*/ 82562 w 84793"/>
                    <a:gd name="connsiteY5" fmla="*/ 17108 h 79587"/>
                    <a:gd name="connsiteX6" fmla="*/ 17108 w 84793"/>
                    <a:gd name="connsiteY6" fmla="*/ 76612 h 79587"/>
                    <a:gd name="connsiteX7" fmla="*/ 11157 w 84793"/>
                    <a:gd name="connsiteY7" fmla="*/ 79587 h 79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4793" h="79587">
                      <a:moveTo>
                        <a:pt x="11157" y="79587"/>
                      </a:moveTo>
                      <a:cubicBezTo>
                        <a:pt x="8181" y="79587"/>
                        <a:pt x="5207" y="79587"/>
                        <a:pt x="2232" y="76612"/>
                      </a:cubicBezTo>
                      <a:cubicBezTo>
                        <a:pt x="-744" y="70661"/>
                        <a:pt x="-744" y="64711"/>
                        <a:pt x="2232" y="61736"/>
                      </a:cubicBezTo>
                      <a:lnTo>
                        <a:pt x="67686" y="2232"/>
                      </a:lnTo>
                      <a:cubicBezTo>
                        <a:pt x="73636" y="-744"/>
                        <a:pt x="79587" y="-744"/>
                        <a:pt x="82562" y="2232"/>
                      </a:cubicBezTo>
                      <a:cubicBezTo>
                        <a:pt x="85537" y="8182"/>
                        <a:pt x="85537" y="14132"/>
                        <a:pt x="82562" y="17108"/>
                      </a:cubicBezTo>
                      <a:lnTo>
                        <a:pt x="17108" y="76612"/>
                      </a:lnTo>
                      <a:cubicBezTo>
                        <a:pt x="17108" y="76612"/>
                        <a:pt x="14132" y="79587"/>
                        <a:pt x="11157" y="79587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F694F0A8-52CF-41B0-A35E-7645A71EDB81}"/>
                    </a:ext>
                  </a:extLst>
                </p:cNvPr>
                <p:cNvSpPr/>
                <p:nvPr/>
              </p:nvSpPr>
              <p:spPr>
                <a:xfrm>
                  <a:off x="10349944" y="11774260"/>
                  <a:ext cx="336197" cy="378041"/>
                </a:xfrm>
                <a:custGeom>
                  <a:avLst/>
                  <a:gdLst>
                    <a:gd name="connsiteX0" fmla="*/ 0 w 336197"/>
                    <a:gd name="connsiteY0" fmla="*/ 32727 h 378041"/>
                    <a:gd name="connsiteX1" fmla="*/ 26777 w 336197"/>
                    <a:gd name="connsiteY1" fmla="*/ 0 h 378041"/>
                    <a:gd name="connsiteX2" fmla="*/ 107107 w 336197"/>
                    <a:gd name="connsiteY2" fmla="*/ 8925 h 378041"/>
                    <a:gd name="connsiteX3" fmla="*/ 220165 w 336197"/>
                    <a:gd name="connsiteY3" fmla="*/ 145785 h 378041"/>
                    <a:gd name="connsiteX4" fmla="*/ 300495 w 336197"/>
                    <a:gd name="connsiteY4" fmla="*/ 273718 h 378041"/>
                    <a:gd name="connsiteX5" fmla="*/ 336198 w 336197"/>
                    <a:gd name="connsiteY5" fmla="*/ 348099 h 378041"/>
                    <a:gd name="connsiteX6" fmla="*/ 285619 w 336197"/>
                    <a:gd name="connsiteY6" fmla="*/ 377851 h 378041"/>
                    <a:gd name="connsiteX7" fmla="*/ 0 w 336197"/>
                    <a:gd name="connsiteY7" fmla="*/ 32727 h 3780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6197" h="378041">
                      <a:moveTo>
                        <a:pt x="0" y="32727"/>
                      </a:moveTo>
                      <a:cubicBezTo>
                        <a:pt x="0" y="20826"/>
                        <a:pt x="26777" y="0"/>
                        <a:pt x="26777" y="0"/>
                      </a:cubicBezTo>
                      <a:lnTo>
                        <a:pt x="107107" y="8925"/>
                      </a:lnTo>
                      <a:lnTo>
                        <a:pt x="220165" y="145785"/>
                      </a:lnTo>
                      <a:lnTo>
                        <a:pt x="300495" y="273718"/>
                      </a:lnTo>
                      <a:lnTo>
                        <a:pt x="336198" y="348099"/>
                      </a:lnTo>
                      <a:cubicBezTo>
                        <a:pt x="336198" y="348099"/>
                        <a:pt x="291570" y="380826"/>
                        <a:pt x="285619" y="377851"/>
                      </a:cubicBezTo>
                      <a:cubicBezTo>
                        <a:pt x="276694" y="374876"/>
                        <a:pt x="95206" y="196364"/>
                        <a:pt x="0" y="32727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0" name="任意多边形: 形状 139">
                  <a:extLst>
                    <a:ext uri="{FF2B5EF4-FFF2-40B4-BE49-F238E27FC236}">
                      <a16:creationId xmlns:a16="http://schemas.microsoft.com/office/drawing/2014/main" id="{1EEF3CA4-CF2E-4D7C-8BE5-1C2CCABBF713}"/>
                    </a:ext>
                  </a:extLst>
                </p:cNvPr>
                <p:cNvSpPr/>
                <p:nvPr/>
              </p:nvSpPr>
              <p:spPr>
                <a:xfrm>
                  <a:off x="10376720" y="11607649"/>
                  <a:ext cx="360000" cy="514710"/>
                </a:xfrm>
                <a:custGeom>
                  <a:avLst/>
                  <a:gdLst>
                    <a:gd name="connsiteX0" fmla="*/ 220165 w 360000"/>
                    <a:gd name="connsiteY0" fmla="*/ 0 h 514710"/>
                    <a:gd name="connsiteX1" fmla="*/ 360000 w 360000"/>
                    <a:gd name="connsiteY1" fmla="*/ 142810 h 514710"/>
                    <a:gd name="connsiteX2" fmla="*/ 291570 w 360000"/>
                    <a:gd name="connsiteY2" fmla="*/ 279669 h 514710"/>
                    <a:gd name="connsiteX3" fmla="*/ 309421 w 360000"/>
                    <a:gd name="connsiteY3" fmla="*/ 514710 h 514710"/>
                    <a:gd name="connsiteX4" fmla="*/ 124958 w 360000"/>
                    <a:gd name="connsiteY4" fmla="*/ 324297 h 514710"/>
                    <a:gd name="connsiteX5" fmla="*/ 0 w 360000"/>
                    <a:gd name="connsiteY5" fmla="*/ 166612 h 514710"/>
                    <a:gd name="connsiteX6" fmla="*/ 92232 w 360000"/>
                    <a:gd name="connsiteY6" fmla="*/ 86281 h 514710"/>
                    <a:gd name="connsiteX7" fmla="*/ 220165 w 360000"/>
                    <a:gd name="connsiteY7" fmla="*/ 0 h 5147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60000" h="514710">
                      <a:moveTo>
                        <a:pt x="220165" y="0"/>
                      </a:moveTo>
                      <a:cubicBezTo>
                        <a:pt x="220165" y="0"/>
                        <a:pt x="309421" y="127934"/>
                        <a:pt x="360000" y="142810"/>
                      </a:cubicBezTo>
                      <a:cubicBezTo>
                        <a:pt x="360000" y="142810"/>
                        <a:pt x="267769" y="199339"/>
                        <a:pt x="291570" y="279669"/>
                      </a:cubicBezTo>
                      <a:cubicBezTo>
                        <a:pt x="315372" y="360000"/>
                        <a:pt x="357025" y="467108"/>
                        <a:pt x="309421" y="514710"/>
                      </a:cubicBezTo>
                      <a:cubicBezTo>
                        <a:pt x="309421" y="514710"/>
                        <a:pt x="211240" y="431405"/>
                        <a:pt x="124958" y="324297"/>
                      </a:cubicBezTo>
                      <a:cubicBezTo>
                        <a:pt x="74380" y="261818"/>
                        <a:pt x="17851" y="178512"/>
                        <a:pt x="0" y="166612"/>
                      </a:cubicBezTo>
                      <a:cubicBezTo>
                        <a:pt x="0" y="166612"/>
                        <a:pt x="59504" y="107108"/>
                        <a:pt x="92232" y="86281"/>
                      </a:cubicBezTo>
                      <a:cubicBezTo>
                        <a:pt x="130909" y="56529"/>
                        <a:pt x="220165" y="0"/>
                        <a:pt x="220165" y="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1" name="任意多边形: 形状 140">
                  <a:extLst>
                    <a:ext uri="{FF2B5EF4-FFF2-40B4-BE49-F238E27FC236}">
                      <a16:creationId xmlns:a16="http://schemas.microsoft.com/office/drawing/2014/main" id="{CCB0ABD6-8038-4291-8552-E388905A61F7}"/>
                    </a:ext>
                  </a:extLst>
                </p:cNvPr>
                <p:cNvSpPr/>
                <p:nvPr/>
              </p:nvSpPr>
              <p:spPr>
                <a:xfrm>
                  <a:off x="10626369" y="11756141"/>
                  <a:ext cx="71941" cy="59772"/>
                </a:xfrm>
                <a:custGeom>
                  <a:avLst/>
                  <a:gdLst>
                    <a:gd name="connsiteX0" fmla="*/ 56797 w 71941"/>
                    <a:gd name="connsiteY0" fmla="*/ 59772 h 59772"/>
                    <a:gd name="connsiteX1" fmla="*/ 47872 w 71941"/>
                    <a:gd name="connsiteY1" fmla="*/ 56797 h 59772"/>
                    <a:gd name="connsiteX2" fmla="*/ 6219 w 71941"/>
                    <a:gd name="connsiteY2" fmla="*/ 27045 h 59772"/>
                    <a:gd name="connsiteX3" fmla="*/ 3244 w 71941"/>
                    <a:gd name="connsiteY3" fmla="*/ 6219 h 59772"/>
                    <a:gd name="connsiteX4" fmla="*/ 24070 w 71941"/>
                    <a:gd name="connsiteY4" fmla="*/ 3244 h 59772"/>
                    <a:gd name="connsiteX5" fmla="*/ 65723 w 71941"/>
                    <a:gd name="connsiteY5" fmla="*/ 32996 h 59772"/>
                    <a:gd name="connsiteX6" fmla="*/ 68698 w 71941"/>
                    <a:gd name="connsiteY6" fmla="*/ 53822 h 59772"/>
                    <a:gd name="connsiteX7" fmla="*/ 56797 w 71941"/>
                    <a:gd name="connsiteY7" fmla="*/ 59772 h 597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1941" h="59772">
                      <a:moveTo>
                        <a:pt x="56797" y="59772"/>
                      </a:moveTo>
                      <a:cubicBezTo>
                        <a:pt x="53822" y="59772"/>
                        <a:pt x="50847" y="59772"/>
                        <a:pt x="47872" y="56797"/>
                      </a:cubicBezTo>
                      <a:lnTo>
                        <a:pt x="6219" y="27045"/>
                      </a:lnTo>
                      <a:cubicBezTo>
                        <a:pt x="268" y="21095"/>
                        <a:pt x="-2707" y="12169"/>
                        <a:pt x="3244" y="6219"/>
                      </a:cubicBezTo>
                      <a:cubicBezTo>
                        <a:pt x="9194" y="268"/>
                        <a:pt x="18120" y="-2707"/>
                        <a:pt x="24070" y="3244"/>
                      </a:cubicBezTo>
                      <a:lnTo>
                        <a:pt x="65723" y="32996"/>
                      </a:lnTo>
                      <a:cubicBezTo>
                        <a:pt x="71673" y="38946"/>
                        <a:pt x="74648" y="47872"/>
                        <a:pt x="68698" y="53822"/>
                      </a:cubicBezTo>
                      <a:cubicBezTo>
                        <a:pt x="65723" y="59772"/>
                        <a:pt x="62748" y="59772"/>
                        <a:pt x="56797" y="59772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2" name="任意多边形: 形状 141">
                  <a:extLst>
                    <a:ext uri="{FF2B5EF4-FFF2-40B4-BE49-F238E27FC236}">
                      <a16:creationId xmlns:a16="http://schemas.microsoft.com/office/drawing/2014/main" id="{80730F99-DA2A-439F-92B2-E18E959303B1}"/>
                    </a:ext>
                  </a:extLst>
                </p:cNvPr>
                <p:cNvSpPr/>
                <p:nvPr/>
              </p:nvSpPr>
              <p:spPr>
                <a:xfrm>
                  <a:off x="10611493" y="11797793"/>
                  <a:ext cx="71941" cy="59772"/>
                </a:xfrm>
                <a:custGeom>
                  <a:avLst/>
                  <a:gdLst>
                    <a:gd name="connsiteX0" fmla="*/ 56797 w 71941"/>
                    <a:gd name="connsiteY0" fmla="*/ 59772 h 59772"/>
                    <a:gd name="connsiteX1" fmla="*/ 47872 w 71941"/>
                    <a:gd name="connsiteY1" fmla="*/ 56797 h 59772"/>
                    <a:gd name="connsiteX2" fmla="*/ 6219 w 71941"/>
                    <a:gd name="connsiteY2" fmla="*/ 27045 h 59772"/>
                    <a:gd name="connsiteX3" fmla="*/ 3244 w 71941"/>
                    <a:gd name="connsiteY3" fmla="*/ 6219 h 59772"/>
                    <a:gd name="connsiteX4" fmla="*/ 24070 w 71941"/>
                    <a:gd name="connsiteY4" fmla="*/ 3244 h 59772"/>
                    <a:gd name="connsiteX5" fmla="*/ 65723 w 71941"/>
                    <a:gd name="connsiteY5" fmla="*/ 32996 h 59772"/>
                    <a:gd name="connsiteX6" fmla="*/ 68698 w 71941"/>
                    <a:gd name="connsiteY6" fmla="*/ 53823 h 59772"/>
                    <a:gd name="connsiteX7" fmla="*/ 56797 w 71941"/>
                    <a:gd name="connsiteY7" fmla="*/ 59772 h 597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1941" h="59772">
                      <a:moveTo>
                        <a:pt x="56797" y="59772"/>
                      </a:moveTo>
                      <a:cubicBezTo>
                        <a:pt x="53822" y="59772"/>
                        <a:pt x="50847" y="59772"/>
                        <a:pt x="47872" y="56797"/>
                      </a:cubicBezTo>
                      <a:lnTo>
                        <a:pt x="6219" y="27045"/>
                      </a:lnTo>
                      <a:cubicBezTo>
                        <a:pt x="268" y="21095"/>
                        <a:pt x="-2707" y="12169"/>
                        <a:pt x="3244" y="6219"/>
                      </a:cubicBezTo>
                      <a:cubicBezTo>
                        <a:pt x="9194" y="268"/>
                        <a:pt x="18120" y="-2707"/>
                        <a:pt x="24070" y="3244"/>
                      </a:cubicBezTo>
                      <a:lnTo>
                        <a:pt x="65723" y="32996"/>
                      </a:lnTo>
                      <a:cubicBezTo>
                        <a:pt x="71673" y="38947"/>
                        <a:pt x="74648" y="47872"/>
                        <a:pt x="68698" y="53823"/>
                      </a:cubicBezTo>
                      <a:cubicBezTo>
                        <a:pt x="65723" y="56797"/>
                        <a:pt x="62748" y="59772"/>
                        <a:pt x="56797" y="59772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3" name="任意多边形: 形状 142">
                  <a:extLst>
                    <a:ext uri="{FF2B5EF4-FFF2-40B4-BE49-F238E27FC236}">
                      <a16:creationId xmlns:a16="http://schemas.microsoft.com/office/drawing/2014/main" id="{54A5DE8E-411F-4471-8C4E-53712422AAFB}"/>
                    </a:ext>
                  </a:extLst>
                </p:cNvPr>
                <p:cNvSpPr/>
                <p:nvPr/>
              </p:nvSpPr>
              <p:spPr>
                <a:xfrm>
                  <a:off x="10608518" y="11842421"/>
                  <a:ext cx="71941" cy="59772"/>
                </a:xfrm>
                <a:custGeom>
                  <a:avLst/>
                  <a:gdLst>
                    <a:gd name="connsiteX0" fmla="*/ 56797 w 71941"/>
                    <a:gd name="connsiteY0" fmla="*/ 59772 h 59772"/>
                    <a:gd name="connsiteX1" fmla="*/ 47872 w 71941"/>
                    <a:gd name="connsiteY1" fmla="*/ 56797 h 59772"/>
                    <a:gd name="connsiteX2" fmla="*/ 6219 w 71941"/>
                    <a:gd name="connsiteY2" fmla="*/ 27045 h 59772"/>
                    <a:gd name="connsiteX3" fmla="*/ 3244 w 71941"/>
                    <a:gd name="connsiteY3" fmla="*/ 6219 h 59772"/>
                    <a:gd name="connsiteX4" fmla="*/ 24070 w 71941"/>
                    <a:gd name="connsiteY4" fmla="*/ 3244 h 59772"/>
                    <a:gd name="connsiteX5" fmla="*/ 65723 w 71941"/>
                    <a:gd name="connsiteY5" fmla="*/ 32996 h 59772"/>
                    <a:gd name="connsiteX6" fmla="*/ 68699 w 71941"/>
                    <a:gd name="connsiteY6" fmla="*/ 53823 h 59772"/>
                    <a:gd name="connsiteX7" fmla="*/ 56797 w 71941"/>
                    <a:gd name="connsiteY7" fmla="*/ 59772 h 597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1941" h="59772">
                      <a:moveTo>
                        <a:pt x="56797" y="59772"/>
                      </a:moveTo>
                      <a:cubicBezTo>
                        <a:pt x="53823" y="59772"/>
                        <a:pt x="50847" y="59772"/>
                        <a:pt x="47872" y="56797"/>
                      </a:cubicBezTo>
                      <a:lnTo>
                        <a:pt x="6219" y="27045"/>
                      </a:lnTo>
                      <a:cubicBezTo>
                        <a:pt x="268" y="21095"/>
                        <a:pt x="-2707" y="12169"/>
                        <a:pt x="3244" y="6219"/>
                      </a:cubicBezTo>
                      <a:cubicBezTo>
                        <a:pt x="9194" y="268"/>
                        <a:pt x="18120" y="-2707"/>
                        <a:pt x="24070" y="3244"/>
                      </a:cubicBezTo>
                      <a:lnTo>
                        <a:pt x="65723" y="32996"/>
                      </a:lnTo>
                      <a:cubicBezTo>
                        <a:pt x="71673" y="38947"/>
                        <a:pt x="74648" y="47872"/>
                        <a:pt x="68699" y="53823"/>
                      </a:cubicBezTo>
                      <a:cubicBezTo>
                        <a:pt x="65723" y="56797"/>
                        <a:pt x="59772" y="59772"/>
                        <a:pt x="56797" y="59772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59F9DB22-F353-458B-9A85-ABA7C0C46C13}"/>
                  </a:ext>
                </a:extLst>
              </p:cNvPr>
              <p:cNvSpPr/>
              <p:nvPr/>
            </p:nvSpPr>
            <p:spPr>
              <a:xfrm>
                <a:off x="10581741" y="11592504"/>
                <a:ext cx="171022" cy="172829"/>
              </a:xfrm>
              <a:custGeom>
                <a:avLst/>
                <a:gdLst>
                  <a:gd name="connsiteX0" fmla="*/ 154979 w 171022"/>
                  <a:gd name="connsiteY0" fmla="*/ 172830 h 172829"/>
                  <a:gd name="connsiteX1" fmla="*/ 149029 w 171022"/>
                  <a:gd name="connsiteY1" fmla="*/ 169855 h 172829"/>
                  <a:gd name="connsiteX2" fmla="*/ 3244 w 171022"/>
                  <a:gd name="connsiteY2" fmla="*/ 24070 h 172829"/>
                  <a:gd name="connsiteX3" fmla="*/ 6219 w 171022"/>
                  <a:gd name="connsiteY3" fmla="*/ 3244 h 172829"/>
                  <a:gd name="connsiteX4" fmla="*/ 27045 w 171022"/>
                  <a:gd name="connsiteY4" fmla="*/ 6219 h 172829"/>
                  <a:gd name="connsiteX5" fmla="*/ 163905 w 171022"/>
                  <a:gd name="connsiteY5" fmla="*/ 146053 h 172829"/>
                  <a:gd name="connsiteX6" fmla="*/ 169855 w 171022"/>
                  <a:gd name="connsiteY6" fmla="*/ 166880 h 172829"/>
                  <a:gd name="connsiteX7" fmla="*/ 154979 w 171022"/>
                  <a:gd name="connsiteY7" fmla="*/ 172830 h 172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1022" h="172829">
                    <a:moveTo>
                      <a:pt x="154979" y="172830"/>
                    </a:moveTo>
                    <a:cubicBezTo>
                      <a:pt x="152004" y="172830"/>
                      <a:pt x="149029" y="172830"/>
                      <a:pt x="149029" y="169855"/>
                    </a:cubicBezTo>
                    <a:cubicBezTo>
                      <a:pt x="89524" y="137128"/>
                      <a:pt x="6219" y="27045"/>
                      <a:pt x="3244" y="24070"/>
                    </a:cubicBezTo>
                    <a:cubicBezTo>
                      <a:pt x="-2707" y="18120"/>
                      <a:pt x="268" y="9194"/>
                      <a:pt x="6219" y="3244"/>
                    </a:cubicBezTo>
                    <a:cubicBezTo>
                      <a:pt x="12169" y="-2707"/>
                      <a:pt x="21095" y="268"/>
                      <a:pt x="27045" y="6219"/>
                    </a:cubicBezTo>
                    <a:cubicBezTo>
                      <a:pt x="27045" y="6219"/>
                      <a:pt x="107376" y="113326"/>
                      <a:pt x="163905" y="146053"/>
                    </a:cubicBezTo>
                    <a:cubicBezTo>
                      <a:pt x="169855" y="149029"/>
                      <a:pt x="172830" y="157954"/>
                      <a:pt x="169855" y="166880"/>
                    </a:cubicBezTo>
                    <a:cubicBezTo>
                      <a:pt x="163905" y="169855"/>
                      <a:pt x="160929" y="172830"/>
                      <a:pt x="154979" y="172830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图形 1">
              <a:extLst>
                <a:ext uri="{FF2B5EF4-FFF2-40B4-BE49-F238E27FC236}">
                  <a16:creationId xmlns:a16="http://schemas.microsoft.com/office/drawing/2014/main" id="{562166DA-364A-45AD-ABBD-D34F0D242A2C}"/>
                </a:ext>
              </a:extLst>
            </p:cNvPr>
            <p:cNvGrpSpPr/>
            <p:nvPr/>
          </p:nvGrpSpPr>
          <p:grpSpPr>
            <a:xfrm>
              <a:off x="12761797" y="8986491"/>
              <a:ext cx="321340" cy="216553"/>
              <a:chOff x="12761797" y="8986491"/>
              <a:chExt cx="321340" cy="216553"/>
            </a:xfrm>
          </p:grpSpPr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F521676C-BD24-4290-BFF1-D6D9EE6D2677}"/>
                  </a:ext>
                </a:extLst>
              </p:cNvPr>
              <p:cNvSpPr/>
              <p:nvPr/>
            </p:nvSpPr>
            <p:spPr>
              <a:xfrm>
                <a:off x="12761797" y="8986491"/>
                <a:ext cx="320160" cy="216553"/>
              </a:xfrm>
              <a:custGeom>
                <a:avLst/>
                <a:gdLst>
                  <a:gd name="connsiteX0" fmla="*/ 218229 w 320160"/>
                  <a:gd name="connsiteY0" fmla="*/ 199339 h 216553"/>
                  <a:gd name="connsiteX1" fmla="*/ 149799 w 320160"/>
                  <a:gd name="connsiteY1" fmla="*/ 208264 h 216553"/>
                  <a:gd name="connsiteX2" fmla="*/ 39717 w 320160"/>
                  <a:gd name="connsiteY2" fmla="*/ 202314 h 216553"/>
                  <a:gd name="connsiteX3" fmla="*/ 4014 w 320160"/>
                  <a:gd name="connsiteY3" fmla="*/ 130909 h 216553"/>
                  <a:gd name="connsiteX4" fmla="*/ 6989 w 320160"/>
                  <a:gd name="connsiteY4" fmla="*/ 127934 h 216553"/>
                  <a:gd name="connsiteX5" fmla="*/ 6989 w 320160"/>
                  <a:gd name="connsiteY5" fmla="*/ 124959 h 216553"/>
                  <a:gd name="connsiteX6" fmla="*/ 143849 w 320160"/>
                  <a:gd name="connsiteY6" fmla="*/ 0 h 216553"/>
                  <a:gd name="connsiteX7" fmla="*/ 152774 w 320160"/>
                  <a:gd name="connsiteY7" fmla="*/ 14876 h 216553"/>
                  <a:gd name="connsiteX8" fmla="*/ 96246 w 320160"/>
                  <a:gd name="connsiteY8" fmla="*/ 80331 h 216553"/>
                  <a:gd name="connsiteX9" fmla="*/ 259882 w 320160"/>
                  <a:gd name="connsiteY9" fmla="*/ 35703 h 216553"/>
                  <a:gd name="connsiteX10" fmla="*/ 280709 w 320160"/>
                  <a:gd name="connsiteY10" fmla="*/ 53554 h 216553"/>
                  <a:gd name="connsiteX11" fmla="*/ 242030 w 320160"/>
                  <a:gd name="connsiteY11" fmla="*/ 68430 h 216553"/>
                  <a:gd name="connsiteX12" fmla="*/ 191452 w 320160"/>
                  <a:gd name="connsiteY12" fmla="*/ 86281 h 216553"/>
                  <a:gd name="connsiteX13" fmla="*/ 259882 w 320160"/>
                  <a:gd name="connsiteY13" fmla="*/ 83306 h 216553"/>
                  <a:gd name="connsiteX14" fmla="*/ 307485 w 320160"/>
                  <a:gd name="connsiteY14" fmla="*/ 83306 h 216553"/>
                  <a:gd name="connsiteX15" fmla="*/ 319386 w 320160"/>
                  <a:gd name="connsiteY15" fmla="*/ 104132 h 216553"/>
                  <a:gd name="connsiteX16" fmla="*/ 298559 w 320160"/>
                  <a:gd name="connsiteY16" fmla="*/ 124959 h 216553"/>
                  <a:gd name="connsiteX17" fmla="*/ 301535 w 320160"/>
                  <a:gd name="connsiteY17" fmla="*/ 124959 h 216553"/>
                  <a:gd name="connsiteX18" fmla="*/ 301535 w 320160"/>
                  <a:gd name="connsiteY18" fmla="*/ 130909 h 216553"/>
                  <a:gd name="connsiteX19" fmla="*/ 262857 w 320160"/>
                  <a:gd name="connsiteY19" fmla="*/ 151736 h 216553"/>
                  <a:gd name="connsiteX20" fmla="*/ 239055 w 320160"/>
                  <a:gd name="connsiteY20" fmla="*/ 154711 h 216553"/>
                  <a:gd name="connsiteX21" fmla="*/ 245006 w 320160"/>
                  <a:gd name="connsiteY21" fmla="*/ 157686 h 216553"/>
                  <a:gd name="connsiteX22" fmla="*/ 253931 w 320160"/>
                  <a:gd name="connsiteY22" fmla="*/ 172562 h 216553"/>
                  <a:gd name="connsiteX23" fmla="*/ 218229 w 320160"/>
                  <a:gd name="connsiteY23" fmla="*/ 199339 h 216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20160" h="216553">
                    <a:moveTo>
                      <a:pt x="218229" y="199339"/>
                    </a:moveTo>
                    <a:cubicBezTo>
                      <a:pt x="194427" y="202314"/>
                      <a:pt x="170626" y="205290"/>
                      <a:pt x="149799" y="208264"/>
                    </a:cubicBezTo>
                    <a:cubicBezTo>
                      <a:pt x="111122" y="214215"/>
                      <a:pt x="72444" y="226116"/>
                      <a:pt x="39717" y="202314"/>
                    </a:cubicBezTo>
                    <a:cubicBezTo>
                      <a:pt x="18890" y="187438"/>
                      <a:pt x="-10862" y="160661"/>
                      <a:pt x="4014" y="130909"/>
                    </a:cubicBezTo>
                    <a:cubicBezTo>
                      <a:pt x="4014" y="127934"/>
                      <a:pt x="6989" y="127934"/>
                      <a:pt x="6989" y="127934"/>
                    </a:cubicBezTo>
                    <a:cubicBezTo>
                      <a:pt x="6989" y="127934"/>
                      <a:pt x="6989" y="127934"/>
                      <a:pt x="6989" y="124959"/>
                    </a:cubicBezTo>
                    <a:cubicBezTo>
                      <a:pt x="27816" y="56529"/>
                      <a:pt x="90295" y="0"/>
                      <a:pt x="143849" y="0"/>
                    </a:cubicBezTo>
                    <a:cubicBezTo>
                      <a:pt x="146824" y="0"/>
                      <a:pt x="155750" y="11901"/>
                      <a:pt x="152774" y="14876"/>
                    </a:cubicBezTo>
                    <a:cubicBezTo>
                      <a:pt x="134923" y="38678"/>
                      <a:pt x="96246" y="50579"/>
                      <a:pt x="96246" y="80331"/>
                    </a:cubicBezTo>
                    <a:cubicBezTo>
                      <a:pt x="152774" y="71405"/>
                      <a:pt x="203353" y="35703"/>
                      <a:pt x="259882" y="35703"/>
                    </a:cubicBezTo>
                    <a:cubicBezTo>
                      <a:pt x="268807" y="35703"/>
                      <a:pt x="292609" y="38678"/>
                      <a:pt x="280709" y="53554"/>
                    </a:cubicBezTo>
                    <a:cubicBezTo>
                      <a:pt x="271783" y="62480"/>
                      <a:pt x="253931" y="65455"/>
                      <a:pt x="242030" y="68430"/>
                    </a:cubicBezTo>
                    <a:cubicBezTo>
                      <a:pt x="224179" y="74380"/>
                      <a:pt x="209303" y="80331"/>
                      <a:pt x="191452" y="86281"/>
                    </a:cubicBezTo>
                    <a:cubicBezTo>
                      <a:pt x="215254" y="86281"/>
                      <a:pt x="236081" y="83306"/>
                      <a:pt x="259882" y="83306"/>
                    </a:cubicBezTo>
                    <a:cubicBezTo>
                      <a:pt x="274758" y="83306"/>
                      <a:pt x="295585" y="77356"/>
                      <a:pt x="307485" y="83306"/>
                    </a:cubicBezTo>
                    <a:cubicBezTo>
                      <a:pt x="316411" y="86281"/>
                      <a:pt x="322361" y="95207"/>
                      <a:pt x="319386" y="104132"/>
                    </a:cubicBezTo>
                    <a:cubicBezTo>
                      <a:pt x="316411" y="116033"/>
                      <a:pt x="307485" y="121984"/>
                      <a:pt x="298559" y="124959"/>
                    </a:cubicBezTo>
                    <a:cubicBezTo>
                      <a:pt x="298559" y="124959"/>
                      <a:pt x="298559" y="124959"/>
                      <a:pt x="301535" y="124959"/>
                    </a:cubicBezTo>
                    <a:cubicBezTo>
                      <a:pt x="301535" y="124959"/>
                      <a:pt x="304510" y="127934"/>
                      <a:pt x="301535" y="130909"/>
                    </a:cubicBezTo>
                    <a:cubicBezTo>
                      <a:pt x="292609" y="145785"/>
                      <a:pt x="280709" y="148760"/>
                      <a:pt x="262857" y="151736"/>
                    </a:cubicBezTo>
                    <a:cubicBezTo>
                      <a:pt x="253931" y="151736"/>
                      <a:pt x="247981" y="154711"/>
                      <a:pt x="239055" y="154711"/>
                    </a:cubicBezTo>
                    <a:cubicBezTo>
                      <a:pt x="242030" y="154711"/>
                      <a:pt x="242030" y="154711"/>
                      <a:pt x="245006" y="157686"/>
                    </a:cubicBezTo>
                    <a:cubicBezTo>
                      <a:pt x="250957" y="160661"/>
                      <a:pt x="256906" y="166612"/>
                      <a:pt x="253931" y="172562"/>
                    </a:cubicBezTo>
                    <a:cubicBezTo>
                      <a:pt x="247981" y="196364"/>
                      <a:pt x="230130" y="196364"/>
                      <a:pt x="218229" y="199339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C4EB8680-B835-4339-8478-CEAFC9D375EA}"/>
                  </a:ext>
                </a:extLst>
              </p:cNvPr>
              <p:cNvSpPr/>
              <p:nvPr/>
            </p:nvSpPr>
            <p:spPr>
              <a:xfrm>
                <a:off x="12822340" y="9090624"/>
                <a:ext cx="41653" cy="56529"/>
              </a:xfrm>
              <a:custGeom>
                <a:avLst/>
                <a:gdLst>
                  <a:gd name="connsiteX0" fmla="*/ 5951 w 41653"/>
                  <a:gd name="connsiteY0" fmla="*/ 56529 h 56529"/>
                  <a:gd name="connsiteX1" fmla="*/ 0 w 41653"/>
                  <a:gd name="connsiteY1" fmla="*/ 53554 h 56529"/>
                  <a:gd name="connsiteX2" fmla="*/ 2975 w 41653"/>
                  <a:gd name="connsiteY2" fmla="*/ 44628 h 56529"/>
                  <a:gd name="connsiteX3" fmla="*/ 29752 w 41653"/>
                  <a:gd name="connsiteY3" fmla="*/ 5951 h 56529"/>
                  <a:gd name="connsiteX4" fmla="*/ 35703 w 41653"/>
                  <a:gd name="connsiteY4" fmla="*/ 0 h 56529"/>
                  <a:gd name="connsiteX5" fmla="*/ 41654 w 41653"/>
                  <a:gd name="connsiteY5" fmla="*/ 5951 h 56529"/>
                  <a:gd name="connsiteX6" fmla="*/ 5951 w 41653"/>
                  <a:gd name="connsiteY6" fmla="*/ 56529 h 56529"/>
                  <a:gd name="connsiteX7" fmla="*/ 5951 w 41653"/>
                  <a:gd name="connsiteY7" fmla="*/ 56529 h 56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3" h="56529">
                    <a:moveTo>
                      <a:pt x="5951" y="56529"/>
                    </a:moveTo>
                    <a:cubicBezTo>
                      <a:pt x="2975" y="56529"/>
                      <a:pt x="0" y="56529"/>
                      <a:pt x="0" y="53554"/>
                    </a:cubicBezTo>
                    <a:cubicBezTo>
                      <a:pt x="0" y="50579"/>
                      <a:pt x="0" y="47603"/>
                      <a:pt x="2975" y="44628"/>
                    </a:cubicBezTo>
                    <a:cubicBezTo>
                      <a:pt x="26778" y="35703"/>
                      <a:pt x="29752" y="5951"/>
                      <a:pt x="29752" y="5951"/>
                    </a:cubicBezTo>
                    <a:cubicBezTo>
                      <a:pt x="29752" y="2975"/>
                      <a:pt x="32727" y="0"/>
                      <a:pt x="35703" y="0"/>
                    </a:cubicBezTo>
                    <a:cubicBezTo>
                      <a:pt x="38678" y="0"/>
                      <a:pt x="41654" y="2975"/>
                      <a:pt x="41654" y="5951"/>
                    </a:cubicBezTo>
                    <a:cubicBezTo>
                      <a:pt x="41654" y="8926"/>
                      <a:pt x="38678" y="44628"/>
                      <a:pt x="5951" y="56529"/>
                    </a:cubicBezTo>
                    <a:cubicBezTo>
                      <a:pt x="5951" y="56529"/>
                      <a:pt x="5951" y="56529"/>
                      <a:pt x="5951" y="56529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CB113469-9A1B-4BCC-8B44-3260113D5F73}"/>
                  </a:ext>
                </a:extLst>
              </p:cNvPr>
              <p:cNvSpPr/>
              <p:nvPr/>
            </p:nvSpPr>
            <p:spPr>
              <a:xfrm>
                <a:off x="12944323" y="9040045"/>
                <a:ext cx="138814" cy="95206"/>
              </a:xfrm>
              <a:custGeom>
                <a:avLst/>
                <a:gdLst>
                  <a:gd name="connsiteX0" fmla="*/ 17851 w 138814"/>
                  <a:gd name="connsiteY0" fmla="*/ 95207 h 95206"/>
                  <a:gd name="connsiteX1" fmla="*/ 11901 w 138814"/>
                  <a:gd name="connsiteY1" fmla="*/ 89256 h 95206"/>
                  <a:gd name="connsiteX2" fmla="*/ 17851 w 138814"/>
                  <a:gd name="connsiteY2" fmla="*/ 83306 h 95206"/>
                  <a:gd name="connsiteX3" fmla="*/ 113058 w 138814"/>
                  <a:gd name="connsiteY3" fmla="*/ 68430 h 95206"/>
                  <a:gd name="connsiteX4" fmla="*/ 127934 w 138814"/>
                  <a:gd name="connsiteY4" fmla="*/ 56529 h 95206"/>
                  <a:gd name="connsiteX5" fmla="*/ 124959 w 138814"/>
                  <a:gd name="connsiteY5" fmla="*/ 44628 h 95206"/>
                  <a:gd name="connsiteX6" fmla="*/ 5951 w 138814"/>
                  <a:gd name="connsiteY6" fmla="*/ 47603 h 95206"/>
                  <a:gd name="connsiteX7" fmla="*/ 0 w 138814"/>
                  <a:gd name="connsiteY7" fmla="*/ 41653 h 95206"/>
                  <a:gd name="connsiteX8" fmla="*/ 2975 w 138814"/>
                  <a:gd name="connsiteY8" fmla="*/ 35702 h 95206"/>
                  <a:gd name="connsiteX9" fmla="*/ 92232 w 138814"/>
                  <a:gd name="connsiteY9" fmla="*/ 0 h 95206"/>
                  <a:gd name="connsiteX10" fmla="*/ 101157 w 138814"/>
                  <a:gd name="connsiteY10" fmla="*/ 2975 h 95206"/>
                  <a:gd name="connsiteX11" fmla="*/ 98182 w 138814"/>
                  <a:gd name="connsiteY11" fmla="*/ 11901 h 95206"/>
                  <a:gd name="connsiteX12" fmla="*/ 50579 w 138814"/>
                  <a:gd name="connsiteY12" fmla="*/ 32727 h 95206"/>
                  <a:gd name="connsiteX13" fmla="*/ 133884 w 138814"/>
                  <a:gd name="connsiteY13" fmla="*/ 38678 h 95206"/>
                  <a:gd name="connsiteX14" fmla="*/ 136860 w 138814"/>
                  <a:gd name="connsiteY14" fmla="*/ 62480 h 95206"/>
                  <a:gd name="connsiteX15" fmla="*/ 113058 w 138814"/>
                  <a:gd name="connsiteY15" fmla="*/ 83306 h 95206"/>
                  <a:gd name="connsiteX16" fmla="*/ 17851 w 138814"/>
                  <a:gd name="connsiteY16" fmla="*/ 95207 h 95206"/>
                  <a:gd name="connsiteX17" fmla="*/ 17851 w 138814"/>
                  <a:gd name="connsiteY17" fmla="*/ 95207 h 95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38814" h="95206">
                    <a:moveTo>
                      <a:pt x="17851" y="95207"/>
                    </a:moveTo>
                    <a:cubicBezTo>
                      <a:pt x="14876" y="95207"/>
                      <a:pt x="11901" y="92232"/>
                      <a:pt x="11901" y="89256"/>
                    </a:cubicBezTo>
                    <a:cubicBezTo>
                      <a:pt x="11901" y="86281"/>
                      <a:pt x="14876" y="83306"/>
                      <a:pt x="17851" y="83306"/>
                    </a:cubicBezTo>
                    <a:cubicBezTo>
                      <a:pt x="17851" y="83306"/>
                      <a:pt x="98182" y="74380"/>
                      <a:pt x="113058" y="68430"/>
                    </a:cubicBezTo>
                    <a:cubicBezTo>
                      <a:pt x="119008" y="65454"/>
                      <a:pt x="124959" y="62480"/>
                      <a:pt x="127934" y="56529"/>
                    </a:cubicBezTo>
                    <a:cubicBezTo>
                      <a:pt x="127934" y="53554"/>
                      <a:pt x="127934" y="47603"/>
                      <a:pt x="124959" y="44628"/>
                    </a:cubicBezTo>
                    <a:cubicBezTo>
                      <a:pt x="119008" y="38678"/>
                      <a:pt x="56529" y="41653"/>
                      <a:pt x="5951" y="47603"/>
                    </a:cubicBezTo>
                    <a:cubicBezTo>
                      <a:pt x="2975" y="47603"/>
                      <a:pt x="0" y="44628"/>
                      <a:pt x="0" y="41653"/>
                    </a:cubicBezTo>
                    <a:cubicBezTo>
                      <a:pt x="0" y="38678"/>
                      <a:pt x="0" y="35702"/>
                      <a:pt x="2975" y="35702"/>
                    </a:cubicBezTo>
                    <a:cubicBezTo>
                      <a:pt x="35703" y="26777"/>
                      <a:pt x="92232" y="0"/>
                      <a:pt x="92232" y="0"/>
                    </a:cubicBezTo>
                    <a:cubicBezTo>
                      <a:pt x="95207" y="0"/>
                      <a:pt x="98182" y="0"/>
                      <a:pt x="101157" y="2975"/>
                    </a:cubicBezTo>
                    <a:cubicBezTo>
                      <a:pt x="101157" y="5950"/>
                      <a:pt x="101157" y="8926"/>
                      <a:pt x="98182" y="11901"/>
                    </a:cubicBezTo>
                    <a:cubicBezTo>
                      <a:pt x="98182" y="11901"/>
                      <a:pt x="74380" y="23802"/>
                      <a:pt x="50579" y="32727"/>
                    </a:cubicBezTo>
                    <a:cubicBezTo>
                      <a:pt x="89256" y="29752"/>
                      <a:pt x="127934" y="29752"/>
                      <a:pt x="133884" y="38678"/>
                    </a:cubicBezTo>
                    <a:cubicBezTo>
                      <a:pt x="139835" y="44628"/>
                      <a:pt x="139835" y="53554"/>
                      <a:pt x="136860" y="62480"/>
                    </a:cubicBezTo>
                    <a:cubicBezTo>
                      <a:pt x="133884" y="71405"/>
                      <a:pt x="124959" y="80330"/>
                      <a:pt x="113058" y="83306"/>
                    </a:cubicBezTo>
                    <a:cubicBezTo>
                      <a:pt x="98182" y="86281"/>
                      <a:pt x="23802" y="95207"/>
                      <a:pt x="17851" y="95207"/>
                    </a:cubicBezTo>
                    <a:cubicBezTo>
                      <a:pt x="20827" y="95207"/>
                      <a:pt x="17851" y="95207"/>
                      <a:pt x="17851" y="9520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63DD323F-963F-4769-AD64-72707F4EA919}"/>
                  </a:ext>
                </a:extLst>
              </p:cNvPr>
              <p:cNvSpPr/>
              <p:nvPr/>
            </p:nvSpPr>
            <p:spPr>
              <a:xfrm>
                <a:off x="12935398" y="9110218"/>
                <a:ext cx="135053" cy="51810"/>
              </a:xfrm>
              <a:custGeom>
                <a:avLst/>
                <a:gdLst>
                  <a:gd name="connsiteX0" fmla="*/ 0 w 135053"/>
                  <a:gd name="connsiteY0" fmla="*/ 51811 h 51810"/>
                  <a:gd name="connsiteX1" fmla="*/ 0 w 135053"/>
                  <a:gd name="connsiteY1" fmla="*/ 39910 h 51810"/>
                  <a:gd name="connsiteX2" fmla="*/ 62480 w 135053"/>
                  <a:gd name="connsiteY2" fmla="*/ 36935 h 51810"/>
                  <a:gd name="connsiteX3" fmla="*/ 119008 w 135053"/>
                  <a:gd name="connsiteY3" fmla="*/ 25034 h 51810"/>
                  <a:gd name="connsiteX4" fmla="*/ 119008 w 135053"/>
                  <a:gd name="connsiteY4" fmla="*/ 10158 h 51810"/>
                  <a:gd name="connsiteX5" fmla="*/ 121984 w 135053"/>
                  <a:gd name="connsiteY5" fmla="*/ 1232 h 51810"/>
                  <a:gd name="connsiteX6" fmla="*/ 130909 w 135053"/>
                  <a:gd name="connsiteY6" fmla="*/ 4207 h 51810"/>
                  <a:gd name="connsiteX7" fmla="*/ 127934 w 135053"/>
                  <a:gd name="connsiteY7" fmla="*/ 33959 h 51810"/>
                  <a:gd name="connsiteX8" fmla="*/ 62480 w 135053"/>
                  <a:gd name="connsiteY8" fmla="*/ 48835 h 51810"/>
                  <a:gd name="connsiteX9" fmla="*/ 0 w 135053"/>
                  <a:gd name="connsiteY9" fmla="*/ 51811 h 51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5053" h="51810">
                    <a:moveTo>
                      <a:pt x="0" y="51811"/>
                    </a:moveTo>
                    <a:lnTo>
                      <a:pt x="0" y="39910"/>
                    </a:lnTo>
                    <a:cubicBezTo>
                      <a:pt x="0" y="39910"/>
                      <a:pt x="50578" y="36935"/>
                      <a:pt x="62480" y="36935"/>
                    </a:cubicBezTo>
                    <a:cubicBezTo>
                      <a:pt x="74380" y="36935"/>
                      <a:pt x="113057" y="30985"/>
                      <a:pt x="119008" y="25034"/>
                    </a:cubicBezTo>
                    <a:cubicBezTo>
                      <a:pt x="124958" y="22059"/>
                      <a:pt x="119008" y="10158"/>
                      <a:pt x="119008" y="10158"/>
                    </a:cubicBezTo>
                    <a:cubicBezTo>
                      <a:pt x="116033" y="7183"/>
                      <a:pt x="119008" y="4207"/>
                      <a:pt x="121984" y="1232"/>
                    </a:cubicBezTo>
                    <a:cubicBezTo>
                      <a:pt x="124958" y="-1743"/>
                      <a:pt x="127934" y="1232"/>
                      <a:pt x="130909" y="4207"/>
                    </a:cubicBezTo>
                    <a:cubicBezTo>
                      <a:pt x="133884" y="10158"/>
                      <a:pt x="139834" y="25034"/>
                      <a:pt x="127934" y="33959"/>
                    </a:cubicBezTo>
                    <a:cubicBezTo>
                      <a:pt x="116033" y="42885"/>
                      <a:pt x="71405" y="48835"/>
                      <a:pt x="62480" y="48835"/>
                    </a:cubicBezTo>
                    <a:cubicBezTo>
                      <a:pt x="50578" y="48835"/>
                      <a:pt x="0" y="51811"/>
                      <a:pt x="0" y="51811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9351C9CE-8013-4300-9F6C-CFA7BFCBE6C4}"/>
                </a:ext>
              </a:extLst>
            </p:cNvPr>
            <p:cNvSpPr/>
            <p:nvPr/>
          </p:nvSpPr>
          <p:spPr>
            <a:xfrm>
              <a:off x="11400191" y="8391450"/>
              <a:ext cx="303471" cy="318347"/>
            </a:xfrm>
            <a:custGeom>
              <a:avLst/>
              <a:gdLst>
                <a:gd name="connsiteX0" fmla="*/ 249917 w 303471"/>
                <a:gd name="connsiteY0" fmla="*/ 59504 h 318347"/>
                <a:gd name="connsiteX1" fmla="*/ 303471 w 303471"/>
                <a:gd name="connsiteY1" fmla="*/ 196364 h 318347"/>
                <a:gd name="connsiteX2" fmla="*/ 190413 w 303471"/>
                <a:gd name="connsiteY2" fmla="*/ 318347 h 318347"/>
                <a:gd name="connsiteX3" fmla="*/ 0 w 303471"/>
                <a:gd name="connsiteY3" fmla="*/ 181488 h 318347"/>
                <a:gd name="connsiteX4" fmla="*/ 50579 w 303471"/>
                <a:gd name="connsiteY4" fmla="*/ 0 h 318347"/>
                <a:gd name="connsiteX5" fmla="*/ 249917 w 303471"/>
                <a:gd name="connsiteY5" fmla="*/ 59504 h 318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3471" h="318347">
                  <a:moveTo>
                    <a:pt x="249917" y="59504"/>
                  </a:moveTo>
                  <a:cubicBezTo>
                    <a:pt x="249917" y="59504"/>
                    <a:pt x="243967" y="166612"/>
                    <a:pt x="303471" y="196364"/>
                  </a:cubicBezTo>
                  <a:lnTo>
                    <a:pt x="190413" y="318347"/>
                  </a:lnTo>
                  <a:cubicBezTo>
                    <a:pt x="190413" y="318347"/>
                    <a:pt x="53553" y="211240"/>
                    <a:pt x="0" y="181488"/>
                  </a:cubicBezTo>
                  <a:cubicBezTo>
                    <a:pt x="53553" y="139835"/>
                    <a:pt x="50579" y="59504"/>
                    <a:pt x="50579" y="0"/>
                  </a:cubicBezTo>
                  <a:cubicBezTo>
                    <a:pt x="53553" y="0"/>
                    <a:pt x="199339" y="68430"/>
                    <a:pt x="249917" y="59504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2237A503-FAA6-47F2-8A7B-60F2B1B26F82}"/>
                </a:ext>
              </a:extLst>
            </p:cNvPr>
            <p:cNvSpPr/>
            <p:nvPr/>
          </p:nvSpPr>
          <p:spPr>
            <a:xfrm>
              <a:off x="14151728" y="12107483"/>
              <a:ext cx="2752595" cy="354050"/>
            </a:xfrm>
            <a:custGeom>
              <a:avLst/>
              <a:gdLst>
                <a:gd name="connsiteX0" fmla="*/ 744331 w 2752595"/>
                <a:gd name="connsiteY0" fmla="*/ 354050 h 354050"/>
                <a:gd name="connsiteX1" fmla="*/ 2752596 w 2752595"/>
                <a:gd name="connsiteY1" fmla="*/ 354050 h 354050"/>
                <a:gd name="connsiteX2" fmla="*/ 2752596 w 2752595"/>
                <a:gd name="connsiteY2" fmla="*/ 294546 h 354050"/>
                <a:gd name="connsiteX3" fmla="*/ 744331 w 2752595"/>
                <a:gd name="connsiteY3" fmla="*/ 294546 h 354050"/>
                <a:gd name="connsiteX4" fmla="*/ 321852 w 2752595"/>
                <a:gd name="connsiteY4" fmla="*/ 199339 h 354050"/>
                <a:gd name="connsiteX5" fmla="*/ 6481 w 2752595"/>
                <a:gd name="connsiteY5" fmla="*/ 0 h 354050"/>
                <a:gd name="connsiteX6" fmla="*/ 6481 w 2752595"/>
                <a:gd name="connsiteY6" fmla="*/ 0 h 354050"/>
                <a:gd name="connsiteX7" fmla="*/ 30282 w 2752595"/>
                <a:gd name="connsiteY7" fmla="*/ 86282 h 354050"/>
                <a:gd name="connsiteX8" fmla="*/ 295075 w 2752595"/>
                <a:gd name="connsiteY8" fmla="*/ 252893 h 354050"/>
                <a:gd name="connsiteX9" fmla="*/ 744331 w 2752595"/>
                <a:gd name="connsiteY9" fmla="*/ 354050 h 3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52595" h="354050">
                  <a:moveTo>
                    <a:pt x="744331" y="354050"/>
                  </a:moveTo>
                  <a:lnTo>
                    <a:pt x="2752596" y="354050"/>
                  </a:lnTo>
                  <a:lnTo>
                    <a:pt x="2752596" y="294546"/>
                  </a:lnTo>
                  <a:lnTo>
                    <a:pt x="744331" y="294546"/>
                  </a:lnTo>
                  <a:cubicBezTo>
                    <a:pt x="598546" y="294546"/>
                    <a:pt x="449786" y="270744"/>
                    <a:pt x="321852" y="199339"/>
                  </a:cubicBezTo>
                  <a:cubicBezTo>
                    <a:pt x="241522" y="154711"/>
                    <a:pt x="6481" y="0"/>
                    <a:pt x="6481" y="0"/>
                  </a:cubicBezTo>
                  <a:lnTo>
                    <a:pt x="6481" y="0"/>
                  </a:lnTo>
                  <a:cubicBezTo>
                    <a:pt x="-8396" y="29752"/>
                    <a:pt x="3505" y="68430"/>
                    <a:pt x="30282" y="86282"/>
                  </a:cubicBezTo>
                  <a:cubicBezTo>
                    <a:pt x="30282" y="86282"/>
                    <a:pt x="226646" y="217191"/>
                    <a:pt x="295075" y="252893"/>
                  </a:cubicBezTo>
                  <a:cubicBezTo>
                    <a:pt x="431935" y="327273"/>
                    <a:pt x="592596" y="354050"/>
                    <a:pt x="744331" y="354050"/>
                  </a:cubicBezTo>
                  <a:close/>
                </a:path>
              </a:pathLst>
            </a:custGeom>
            <a:solidFill>
              <a:srgbClr val="C45651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DB98C712-93D2-4152-A0F1-E70FE205BA27}"/>
                </a:ext>
              </a:extLst>
            </p:cNvPr>
            <p:cNvSpPr/>
            <p:nvPr/>
          </p:nvSpPr>
          <p:spPr>
            <a:xfrm>
              <a:off x="15134098" y="9896905"/>
              <a:ext cx="1603613" cy="2240330"/>
            </a:xfrm>
            <a:custGeom>
              <a:avLst/>
              <a:gdLst>
                <a:gd name="connsiteX0" fmla="*/ 318325 w 1603613"/>
                <a:gd name="connsiteY0" fmla="*/ 20827 h 2240330"/>
                <a:gd name="connsiteX1" fmla="*/ 2953 w 1603613"/>
                <a:gd name="connsiteY1" fmla="*/ 1383471 h 2240330"/>
                <a:gd name="connsiteX2" fmla="*/ 151713 w 1603613"/>
                <a:gd name="connsiteY2" fmla="*/ 2240330 h 2240330"/>
                <a:gd name="connsiteX3" fmla="*/ 440308 w 1603613"/>
                <a:gd name="connsiteY3" fmla="*/ 2240330 h 2240330"/>
                <a:gd name="connsiteX4" fmla="*/ 395680 w 1603613"/>
                <a:gd name="connsiteY4" fmla="*/ 1407272 h 2240330"/>
                <a:gd name="connsiteX5" fmla="*/ 803283 w 1603613"/>
                <a:gd name="connsiteY5" fmla="*/ 490909 h 2240330"/>
                <a:gd name="connsiteX6" fmla="*/ 850887 w 1603613"/>
                <a:gd name="connsiteY6" fmla="*/ 1306116 h 2240330"/>
                <a:gd name="connsiteX7" fmla="*/ 895515 w 1603613"/>
                <a:gd name="connsiteY7" fmla="*/ 1445951 h 2240330"/>
                <a:gd name="connsiteX8" fmla="*/ 1323945 w 1603613"/>
                <a:gd name="connsiteY8" fmla="*/ 2219504 h 2240330"/>
                <a:gd name="connsiteX9" fmla="*/ 1603614 w 1603613"/>
                <a:gd name="connsiteY9" fmla="*/ 2207604 h 2240330"/>
                <a:gd name="connsiteX10" fmla="*/ 1297168 w 1603613"/>
                <a:gd name="connsiteY10" fmla="*/ 1329918 h 2240330"/>
                <a:gd name="connsiteX11" fmla="*/ 1315019 w 1603613"/>
                <a:gd name="connsiteY11" fmla="*/ 0 h 2240330"/>
                <a:gd name="connsiteX12" fmla="*/ 318325 w 1603613"/>
                <a:gd name="connsiteY12" fmla="*/ 20827 h 2240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03613" h="2240330">
                  <a:moveTo>
                    <a:pt x="318325" y="20827"/>
                  </a:moveTo>
                  <a:cubicBezTo>
                    <a:pt x="318325" y="20827"/>
                    <a:pt x="-35725" y="1080000"/>
                    <a:pt x="2953" y="1383471"/>
                  </a:cubicBezTo>
                  <a:cubicBezTo>
                    <a:pt x="32705" y="1648264"/>
                    <a:pt x="151713" y="2240330"/>
                    <a:pt x="151713" y="2240330"/>
                  </a:cubicBezTo>
                  <a:lnTo>
                    <a:pt x="440308" y="2240330"/>
                  </a:lnTo>
                  <a:cubicBezTo>
                    <a:pt x="440308" y="2240330"/>
                    <a:pt x="389730" y="1502479"/>
                    <a:pt x="395680" y="1407272"/>
                  </a:cubicBezTo>
                  <a:cubicBezTo>
                    <a:pt x="401631" y="1270414"/>
                    <a:pt x="788407" y="520661"/>
                    <a:pt x="803283" y="490909"/>
                  </a:cubicBezTo>
                  <a:cubicBezTo>
                    <a:pt x="815184" y="467108"/>
                    <a:pt x="821135" y="1151405"/>
                    <a:pt x="850887" y="1306116"/>
                  </a:cubicBezTo>
                  <a:cubicBezTo>
                    <a:pt x="859812" y="1359670"/>
                    <a:pt x="865763" y="1401323"/>
                    <a:pt x="895515" y="1445951"/>
                  </a:cubicBezTo>
                  <a:lnTo>
                    <a:pt x="1323945" y="2219504"/>
                  </a:lnTo>
                  <a:lnTo>
                    <a:pt x="1603614" y="2207604"/>
                  </a:lnTo>
                  <a:cubicBezTo>
                    <a:pt x="1603614" y="2207604"/>
                    <a:pt x="1320969" y="1440000"/>
                    <a:pt x="1297168" y="1329918"/>
                  </a:cubicBezTo>
                  <a:cubicBezTo>
                    <a:pt x="1264441" y="1184132"/>
                    <a:pt x="1359648" y="95207"/>
                    <a:pt x="1315019" y="0"/>
                  </a:cubicBezTo>
                  <a:cubicBezTo>
                    <a:pt x="636672" y="32727"/>
                    <a:pt x="318325" y="20827"/>
                    <a:pt x="318325" y="20827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9888C338-3B8E-4377-95B3-69C7C1E5A1B4}"/>
                </a:ext>
              </a:extLst>
            </p:cNvPr>
            <p:cNvSpPr/>
            <p:nvPr/>
          </p:nvSpPr>
          <p:spPr>
            <a:xfrm>
              <a:off x="15874902" y="10039714"/>
              <a:ext cx="68430" cy="354050"/>
            </a:xfrm>
            <a:custGeom>
              <a:avLst/>
              <a:gdLst>
                <a:gd name="connsiteX0" fmla="*/ 62480 w 68430"/>
                <a:gd name="connsiteY0" fmla="*/ 354050 h 354050"/>
                <a:gd name="connsiteX1" fmla="*/ 56529 w 68430"/>
                <a:gd name="connsiteY1" fmla="*/ 351075 h 354050"/>
                <a:gd name="connsiteX2" fmla="*/ 0 w 68430"/>
                <a:gd name="connsiteY2" fmla="*/ 5951 h 354050"/>
                <a:gd name="connsiteX3" fmla="*/ 5951 w 68430"/>
                <a:gd name="connsiteY3" fmla="*/ 0 h 354050"/>
                <a:gd name="connsiteX4" fmla="*/ 11901 w 68430"/>
                <a:gd name="connsiteY4" fmla="*/ 5951 h 354050"/>
                <a:gd name="connsiteX5" fmla="*/ 68430 w 68430"/>
                <a:gd name="connsiteY5" fmla="*/ 348100 h 354050"/>
                <a:gd name="connsiteX6" fmla="*/ 62480 w 68430"/>
                <a:gd name="connsiteY6" fmla="*/ 354050 h 354050"/>
                <a:gd name="connsiteX7" fmla="*/ 62480 w 68430"/>
                <a:gd name="connsiteY7" fmla="*/ 354050 h 3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430" h="354050">
                  <a:moveTo>
                    <a:pt x="62480" y="354050"/>
                  </a:moveTo>
                  <a:cubicBezTo>
                    <a:pt x="59504" y="354050"/>
                    <a:pt x="59504" y="354050"/>
                    <a:pt x="56529" y="351075"/>
                  </a:cubicBezTo>
                  <a:cubicBezTo>
                    <a:pt x="8926" y="238017"/>
                    <a:pt x="0" y="14876"/>
                    <a:pt x="0" y="5951"/>
                  </a:cubicBezTo>
                  <a:cubicBezTo>
                    <a:pt x="0" y="2975"/>
                    <a:pt x="2975" y="0"/>
                    <a:pt x="5951" y="0"/>
                  </a:cubicBezTo>
                  <a:cubicBezTo>
                    <a:pt x="8926" y="0"/>
                    <a:pt x="11901" y="2975"/>
                    <a:pt x="11901" y="5951"/>
                  </a:cubicBezTo>
                  <a:cubicBezTo>
                    <a:pt x="11901" y="8926"/>
                    <a:pt x="20827" y="238017"/>
                    <a:pt x="68430" y="348100"/>
                  </a:cubicBezTo>
                  <a:cubicBezTo>
                    <a:pt x="68430" y="348100"/>
                    <a:pt x="68430" y="354050"/>
                    <a:pt x="62480" y="354050"/>
                  </a:cubicBezTo>
                  <a:cubicBezTo>
                    <a:pt x="65455" y="354050"/>
                    <a:pt x="65455" y="354050"/>
                    <a:pt x="62480" y="354050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C9B71D37-16F8-4C57-A82A-8E3FAE52B289}"/>
                </a:ext>
              </a:extLst>
            </p:cNvPr>
            <p:cNvSpPr/>
            <p:nvPr/>
          </p:nvSpPr>
          <p:spPr>
            <a:xfrm>
              <a:off x="15767794" y="9971285"/>
              <a:ext cx="151735" cy="345124"/>
            </a:xfrm>
            <a:custGeom>
              <a:avLst/>
              <a:gdLst>
                <a:gd name="connsiteX0" fmla="*/ 142810 w 151735"/>
                <a:gd name="connsiteY0" fmla="*/ 345124 h 345124"/>
                <a:gd name="connsiteX1" fmla="*/ 139835 w 151735"/>
                <a:gd name="connsiteY1" fmla="*/ 345124 h 345124"/>
                <a:gd name="connsiteX2" fmla="*/ 32727 w 151735"/>
                <a:gd name="connsiteY2" fmla="*/ 267769 h 345124"/>
                <a:gd name="connsiteX3" fmla="*/ 0 w 151735"/>
                <a:gd name="connsiteY3" fmla="*/ 5951 h 345124"/>
                <a:gd name="connsiteX4" fmla="*/ 5951 w 151735"/>
                <a:gd name="connsiteY4" fmla="*/ 0 h 345124"/>
                <a:gd name="connsiteX5" fmla="*/ 5951 w 151735"/>
                <a:gd name="connsiteY5" fmla="*/ 0 h 345124"/>
                <a:gd name="connsiteX6" fmla="*/ 11902 w 151735"/>
                <a:gd name="connsiteY6" fmla="*/ 5951 h 345124"/>
                <a:gd name="connsiteX7" fmla="*/ 44628 w 151735"/>
                <a:gd name="connsiteY7" fmla="*/ 261818 h 345124"/>
                <a:gd name="connsiteX8" fmla="*/ 148760 w 151735"/>
                <a:gd name="connsiteY8" fmla="*/ 336198 h 345124"/>
                <a:gd name="connsiteX9" fmla="*/ 151736 w 151735"/>
                <a:gd name="connsiteY9" fmla="*/ 345124 h 345124"/>
                <a:gd name="connsiteX10" fmla="*/ 142810 w 151735"/>
                <a:gd name="connsiteY10" fmla="*/ 345124 h 34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1735" h="345124">
                  <a:moveTo>
                    <a:pt x="142810" y="345124"/>
                  </a:moveTo>
                  <a:cubicBezTo>
                    <a:pt x="142810" y="345124"/>
                    <a:pt x="139835" y="345124"/>
                    <a:pt x="139835" y="345124"/>
                  </a:cubicBezTo>
                  <a:cubicBezTo>
                    <a:pt x="130910" y="339173"/>
                    <a:pt x="44628" y="282645"/>
                    <a:pt x="32727" y="267769"/>
                  </a:cubicBezTo>
                  <a:cubicBezTo>
                    <a:pt x="20827" y="252893"/>
                    <a:pt x="2975" y="47603"/>
                    <a:pt x="0" y="5951"/>
                  </a:cubicBezTo>
                  <a:cubicBezTo>
                    <a:pt x="0" y="2975"/>
                    <a:pt x="2975" y="0"/>
                    <a:pt x="5951" y="0"/>
                  </a:cubicBezTo>
                  <a:cubicBezTo>
                    <a:pt x="5951" y="0"/>
                    <a:pt x="5951" y="0"/>
                    <a:pt x="5951" y="0"/>
                  </a:cubicBezTo>
                  <a:cubicBezTo>
                    <a:pt x="8926" y="0"/>
                    <a:pt x="11902" y="2975"/>
                    <a:pt x="11902" y="5951"/>
                  </a:cubicBezTo>
                  <a:cubicBezTo>
                    <a:pt x="20827" y="98181"/>
                    <a:pt x="35703" y="249917"/>
                    <a:pt x="44628" y="261818"/>
                  </a:cubicBezTo>
                  <a:cubicBezTo>
                    <a:pt x="53554" y="270744"/>
                    <a:pt x="110083" y="312397"/>
                    <a:pt x="148760" y="336198"/>
                  </a:cubicBezTo>
                  <a:cubicBezTo>
                    <a:pt x="151736" y="339173"/>
                    <a:pt x="151736" y="342149"/>
                    <a:pt x="151736" y="345124"/>
                  </a:cubicBezTo>
                  <a:cubicBezTo>
                    <a:pt x="145786" y="345124"/>
                    <a:pt x="142810" y="345124"/>
                    <a:pt x="142810" y="345124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5" name="图形 1">
              <a:extLst>
                <a:ext uri="{FF2B5EF4-FFF2-40B4-BE49-F238E27FC236}">
                  <a16:creationId xmlns:a16="http://schemas.microsoft.com/office/drawing/2014/main" id="{49C5FBFF-1DF5-403E-A1A9-CB59671E9B79}"/>
                </a:ext>
              </a:extLst>
            </p:cNvPr>
            <p:cNvGrpSpPr/>
            <p:nvPr/>
          </p:nvGrpSpPr>
          <p:grpSpPr>
            <a:xfrm>
              <a:off x="16282505" y="12074756"/>
              <a:ext cx="483967" cy="330247"/>
              <a:chOff x="16282505" y="12074756"/>
              <a:chExt cx="483967" cy="330247"/>
            </a:xfrm>
          </p:grpSpPr>
          <p:grpSp>
            <p:nvGrpSpPr>
              <p:cNvPr id="125" name="图形 1">
                <a:extLst>
                  <a:ext uri="{FF2B5EF4-FFF2-40B4-BE49-F238E27FC236}">
                    <a16:creationId xmlns:a16="http://schemas.microsoft.com/office/drawing/2014/main" id="{D1641A3D-84E2-4675-8648-F45910409590}"/>
                  </a:ext>
                </a:extLst>
              </p:cNvPr>
              <p:cNvGrpSpPr/>
              <p:nvPr/>
            </p:nvGrpSpPr>
            <p:grpSpPr>
              <a:xfrm>
                <a:off x="16282505" y="12205665"/>
                <a:ext cx="483967" cy="199338"/>
                <a:chOff x="16282505" y="12205665"/>
                <a:chExt cx="483967" cy="199338"/>
              </a:xfrm>
            </p:grpSpPr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065EECEA-CE7B-40F9-A28D-58075F46C737}"/>
                    </a:ext>
                  </a:extLst>
                </p:cNvPr>
                <p:cNvSpPr/>
                <p:nvPr/>
              </p:nvSpPr>
              <p:spPr>
                <a:xfrm>
                  <a:off x="16282505" y="12205665"/>
                  <a:ext cx="483967" cy="157685"/>
                </a:xfrm>
                <a:custGeom>
                  <a:avLst/>
                  <a:gdLst>
                    <a:gd name="connsiteX0" fmla="*/ 476033 w 483967"/>
                    <a:gd name="connsiteY0" fmla="*/ 44628 h 157685"/>
                    <a:gd name="connsiteX1" fmla="*/ 294545 w 483967"/>
                    <a:gd name="connsiteY1" fmla="*/ 0 h 157685"/>
                    <a:gd name="connsiteX2" fmla="*/ 163636 w 483967"/>
                    <a:gd name="connsiteY2" fmla="*/ 53553 h 157685"/>
                    <a:gd name="connsiteX3" fmla="*/ 0 w 483967"/>
                    <a:gd name="connsiteY3" fmla="*/ 157686 h 157685"/>
                    <a:gd name="connsiteX4" fmla="*/ 476033 w 483967"/>
                    <a:gd name="connsiteY4" fmla="*/ 157686 h 157685"/>
                    <a:gd name="connsiteX5" fmla="*/ 476033 w 483967"/>
                    <a:gd name="connsiteY5" fmla="*/ 44628 h 157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3967" h="157685">
                      <a:moveTo>
                        <a:pt x="476033" y="44628"/>
                      </a:moveTo>
                      <a:cubicBezTo>
                        <a:pt x="476033" y="44628"/>
                        <a:pt x="354049" y="62480"/>
                        <a:pt x="294545" y="0"/>
                      </a:cubicBezTo>
                      <a:cubicBezTo>
                        <a:pt x="294545" y="0"/>
                        <a:pt x="211240" y="35702"/>
                        <a:pt x="163636" y="53553"/>
                      </a:cubicBezTo>
                      <a:cubicBezTo>
                        <a:pt x="121984" y="68429"/>
                        <a:pt x="11901" y="86281"/>
                        <a:pt x="0" y="157686"/>
                      </a:cubicBezTo>
                      <a:lnTo>
                        <a:pt x="476033" y="157686"/>
                      </a:lnTo>
                      <a:cubicBezTo>
                        <a:pt x="476033" y="154710"/>
                        <a:pt x="493885" y="95206"/>
                        <a:pt x="476033" y="4462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A202DE8B-74B1-4C96-A03D-9BA80B5D3C8C}"/>
                    </a:ext>
                  </a:extLst>
                </p:cNvPr>
                <p:cNvSpPr/>
                <p:nvPr/>
              </p:nvSpPr>
              <p:spPr>
                <a:xfrm>
                  <a:off x="16282505" y="12360376"/>
                  <a:ext cx="476033" cy="44628"/>
                </a:xfrm>
                <a:custGeom>
                  <a:avLst/>
                  <a:gdLst>
                    <a:gd name="connsiteX0" fmla="*/ 0 w 476033"/>
                    <a:gd name="connsiteY0" fmla="*/ 0 h 44628"/>
                    <a:gd name="connsiteX1" fmla="*/ 476033 w 476033"/>
                    <a:gd name="connsiteY1" fmla="*/ 0 h 44628"/>
                    <a:gd name="connsiteX2" fmla="*/ 476033 w 476033"/>
                    <a:gd name="connsiteY2" fmla="*/ 44628 h 44628"/>
                    <a:gd name="connsiteX3" fmla="*/ 0 w 476033"/>
                    <a:gd name="connsiteY3" fmla="*/ 44628 h 4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033" h="44628">
                      <a:moveTo>
                        <a:pt x="0" y="0"/>
                      </a:moveTo>
                      <a:lnTo>
                        <a:pt x="476033" y="0"/>
                      </a:lnTo>
                      <a:lnTo>
                        <a:pt x="476033" y="44628"/>
                      </a:lnTo>
                      <a:lnTo>
                        <a:pt x="0" y="44628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06F323AD-C181-4073-800F-B0876F24D5C5}"/>
                  </a:ext>
                </a:extLst>
              </p:cNvPr>
              <p:cNvSpPr/>
              <p:nvPr/>
            </p:nvSpPr>
            <p:spPr>
              <a:xfrm>
                <a:off x="16428290" y="12074756"/>
                <a:ext cx="332892" cy="285619"/>
              </a:xfrm>
              <a:custGeom>
                <a:avLst/>
                <a:gdLst>
                  <a:gd name="connsiteX0" fmla="*/ 330248 w 332892"/>
                  <a:gd name="connsiteY0" fmla="*/ 285619 h 285619"/>
                  <a:gd name="connsiteX1" fmla="*/ 330248 w 332892"/>
                  <a:gd name="connsiteY1" fmla="*/ 0 h 285619"/>
                  <a:gd name="connsiteX2" fmla="*/ 0 w 332892"/>
                  <a:gd name="connsiteY2" fmla="*/ 17851 h 285619"/>
                  <a:gd name="connsiteX3" fmla="*/ 80331 w 332892"/>
                  <a:gd name="connsiteY3" fmla="*/ 184462 h 285619"/>
                  <a:gd name="connsiteX4" fmla="*/ 330248 w 332892"/>
                  <a:gd name="connsiteY4" fmla="*/ 285619 h 28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2892" h="285619">
                    <a:moveTo>
                      <a:pt x="330248" y="285619"/>
                    </a:moveTo>
                    <a:cubicBezTo>
                      <a:pt x="330248" y="285619"/>
                      <a:pt x="336198" y="187438"/>
                      <a:pt x="330248" y="0"/>
                    </a:cubicBezTo>
                    <a:lnTo>
                      <a:pt x="0" y="17851"/>
                    </a:lnTo>
                    <a:lnTo>
                      <a:pt x="80331" y="184462"/>
                    </a:lnTo>
                    <a:lnTo>
                      <a:pt x="330248" y="285619"/>
                    </a:lnTo>
                    <a:close/>
                  </a:path>
                </a:pathLst>
              </a:custGeom>
              <a:solidFill>
                <a:srgbClr val="6C5D6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6" name="图形 1">
              <a:extLst>
                <a:ext uri="{FF2B5EF4-FFF2-40B4-BE49-F238E27FC236}">
                  <a16:creationId xmlns:a16="http://schemas.microsoft.com/office/drawing/2014/main" id="{64AD25C2-B0FB-431A-82C8-B765812F241C}"/>
                </a:ext>
              </a:extLst>
            </p:cNvPr>
            <p:cNvGrpSpPr/>
            <p:nvPr/>
          </p:nvGrpSpPr>
          <p:grpSpPr>
            <a:xfrm>
              <a:off x="15080522" y="12083682"/>
              <a:ext cx="512317" cy="321322"/>
              <a:chOff x="15080522" y="12083682"/>
              <a:chExt cx="512317" cy="321322"/>
            </a:xfrm>
          </p:grpSpPr>
          <p:grpSp>
            <p:nvGrpSpPr>
              <p:cNvPr id="121" name="图形 1">
                <a:extLst>
                  <a:ext uri="{FF2B5EF4-FFF2-40B4-BE49-F238E27FC236}">
                    <a16:creationId xmlns:a16="http://schemas.microsoft.com/office/drawing/2014/main" id="{0AE6FACA-48BD-40F4-A686-570EB89429C0}"/>
                  </a:ext>
                </a:extLst>
              </p:cNvPr>
              <p:cNvGrpSpPr/>
              <p:nvPr/>
            </p:nvGrpSpPr>
            <p:grpSpPr>
              <a:xfrm>
                <a:off x="15080522" y="12205665"/>
                <a:ext cx="483966" cy="199338"/>
                <a:chOff x="15080522" y="12205665"/>
                <a:chExt cx="483966" cy="199338"/>
              </a:xfrm>
            </p:grpSpPr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E927973E-EC22-4B2E-96FE-8950E0986B71}"/>
                    </a:ext>
                  </a:extLst>
                </p:cNvPr>
                <p:cNvSpPr/>
                <p:nvPr/>
              </p:nvSpPr>
              <p:spPr>
                <a:xfrm>
                  <a:off x="15080522" y="12205665"/>
                  <a:ext cx="483966" cy="157685"/>
                </a:xfrm>
                <a:custGeom>
                  <a:avLst/>
                  <a:gdLst>
                    <a:gd name="connsiteX0" fmla="*/ 476033 w 483966"/>
                    <a:gd name="connsiteY0" fmla="*/ 44628 h 157685"/>
                    <a:gd name="connsiteX1" fmla="*/ 294545 w 483966"/>
                    <a:gd name="connsiteY1" fmla="*/ 0 h 157685"/>
                    <a:gd name="connsiteX2" fmla="*/ 163636 w 483966"/>
                    <a:gd name="connsiteY2" fmla="*/ 53553 h 157685"/>
                    <a:gd name="connsiteX3" fmla="*/ 0 w 483966"/>
                    <a:gd name="connsiteY3" fmla="*/ 157686 h 157685"/>
                    <a:gd name="connsiteX4" fmla="*/ 476033 w 483966"/>
                    <a:gd name="connsiteY4" fmla="*/ 157686 h 157685"/>
                    <a:gd name="connsiteX5" fmla="*/ 476033 w 483966"/>
                    <a:gd name="connsiteY5" fmla="*/ 44628 h 157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3966" h="157685">
                      <a:moveTo>
                        <a:pt x="476033" y="44628"/>
                      </a:moveTo>
                      <a:cubicBezTo>
                        <a:pt x="476033" y="44628"/>
                        <a:pt x="354049" y="62480"/>
                        <a:pt x="294545" y="0"/>
                      </a:cubicBezTo>
                      <a:cubicBezTo>
                        <a:pt x="294545" y="0"/>
                        <a:pt x="211239" y="35702"/>
                        <a:pt x="163636" y="53553"/>
                      </a:cubicBezTo>
                      <a:cubicBezTo>
                        <a:pt x="121983" y="68429"/>
                        <a:pt x="11901" y="86281"/>
                        <a:pt x="0" y="157686"/>
                      </a:cubicBezTo>
                      <a:lnTo>
                        <a:pt x="476033" y="157686"/>
                      </a:lnTo>
                      <a:cubicBezTo>
                        <a:pt x="476033" y="154710"/>
                        <a:pt x="493884" y="95206"/>
                        <a:pt x="476033" y="4462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D7D039FC-1622-4B57-B59E-6D9C3C742109}"/>
                    </a:ext>
                  </a:extLst>
                </p:cNvPr>
                <p:cNvSpPr/>
                <p:nvPr/>
              </p:nvSpPr>
              <p:spPr>
                <a:xfrm>
                  <a:off x="15080522" y="12360376"/>
                  <a:ext cx="476033" cy="44628"/>
                </a:xfrm>
                <a:custGeom>
                  <a:avLst/>
                  <a:gdLst>
                    <a:gd name="connsiteX0" fmla="*/ 0 w 476033"/>
                    <a:gd name="connsiteY0" fmla="*/ 0 h 44628"/>
                    <a:gd name="connsiteX1" fmla="*/ 476033 w 476033"/>
                    <a:gd name="connsiteY1" fmla="*/ 0 h 44628"/>
                    <a:gd name="connsiteX2" fmla="*/ 476033 w 476033"/>
                    <a:gd name="connsiteY2" fmla="*/ 44628 h 44628"/>
                    <a:gd name="connsiteX3" fmla="*/ 0 w 476033"/>
                    <a:gd name="connsiteY3" fmla="*/ 44628 h 4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033" h="44628">
                      <a:moveTo>
                        <a:pt x="0" y="0"/>
                      </a:moveTo>
                      <a:lnTo>
                        <a:pt x="476033" y="0"/>
                      </a:lnTo>
                      <a:lnTo>
                        <a:pt x="476033" y="44628"/>
                      </a:lnTo>
                      <a:lnTo>
                        <a:pt x="0" y="44628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83ED9FEF-7CEC-41B6-A811-B4E721847EFA}"/>
                  </a:ext>
                </a:extLst>
              </p:cNvPr>
              <p:cNvSpPr/>
              <p:nvPr/>
            </p:nvSpPr>
            <p:spPr>
              <a:xfrm>
                <a:off x="15262009" y="12083682"/>
                <a:ext cx="330830" cy="276693"/>
              </a:xfrm>
              <a:custGeom>
                <a:avLst/>
                <a:gdLst>
                  <a:gd name="connsiteX0" fmla="*/ 294546 w 330830"/>
                  <a:gd name="connsiteY0" fmla="*/ 276694 h 276693"/>
                  <a:gd name="connsiteX1" fmla="*/ 330248 w 330830"/>
                  <a:gd name="connsiteY1" fmla="*/ 0 h 276693"/>
                  <a:gd name="connsiteX2" fmla="*/ 0 w 330830"/>
                  <a:gd name="connsiteY2" fmla="*/ 17851 h 276693"/>
                  <a:gd name="connsiteX3" fmla="*/ 44628 w 330830"/>
                  <a:gd name="connsiteY3" fmla="*/ 175537 h 276693"/>
                  <a:gd name="connsiteX4" fmla="*/ 294546 w 330830"/>
                  <a:gd name="connsiteY4" fmla="*/ 276694 h 276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30" h="276693">
                    <a:moveTo>
                      <a:pt x="294546" y="276694"/>
                    </a:moveTo>
                    <a:cubicBezTo>
                      <a:pt x="294546" y="276694"/>
                      <a:pt x="336199" y="187438"/>
                      <a:pt x="330248" y="0"/>
                    </a:cubicBezTo>
                    <a:lnTo>
                      <a:pt x="0" y="17851"/>
                    </a:lnTo>
                    <a:lnTo>
                      <a:pt x="44628" y="175537"/>
                    </a:lnTo>
                    <a:lnTo>
                      <a:pt x="294546" y="276694"/>
                    </a:lnTo>
                    <a:close/>
                  </a:path>
                </a:pathLst>
              </a:custGeom>
              <a:solidFill>
                <a:srgbClr val="6C5D6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8617A803-2DA8-4478-9269-64CCE48B7E85}"/>
                </a:ext>
              </a:extLst>
            </p:cNvPr>
            <p:cNvSpPr/>
            <p:nvPr/>
          </p:nvSpPr>
          <p:spPr>
            <a:xfrm>
              <a:off x="14293900" y="9382998"/>
              <a:ext cx="265960" cy="205660"/>
            </a:xfrm>
            <a:custGeom>
              <a:avLst/>
              <a:gdLst>
                <a:gd name="connsiteX0" fmla="*/ 39845 w 265960"/>
                <a:gd name="connsiteY0" fmla="*/ 204486 h 205660"/>
                <a:gd name="connsiteX1" fmla="*/ 120175 w 265960"/>
                <a:gd name="connsiteY1" fmla="*/ 192585 h 205660"/>
                <a:gd name="connsiteX2" fmla="*/ 242159 w 265960"/>
                <a:gd name="connsiteY2" fmla="*/ 153907 h 205660"/>
                <a:gd name="connsiteX3" fmla="*/ 265961 w 265960"/>
                <a:gd name="connsiteY3" fmla="*/ 37874 h 205660"/>
                <a:gd name="connsiteX4" fmla="*/ 45795 w 265960"/>
                <a:gd name="connsiteY4" fmla="*/ 14073 h 205660"/>
                <a:gd name="connsiteX5" fmla="*/ 13068 w 265960"/>
                <a:gd name="connsiteY5" fmla="*/ 171758 h 205660"/>
                <a:gd name="connsiteX6" fmla="*/ 7118 w 265960"/>
                <a:gd name="connsiteY6" fmla="*/ 174733 h 205660"/>
                <a:gd name="connsiteX7" fmla="*/ 1167 w 265960"/>
                <a:gd name="connsiteY7" fmla="*/ 195559 h 205660"/>
                <a:gd name="connsiteX8" fmla="*/ 39845 w 265960"/>
                <a:gd name="connsiteY8" fmla="*/ 204486 h 205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5960" h="205660">
                  <a:moveTo>
                    <a:pt x="39845" y="204486"/>
                  </a:moveTo>
                  <a:cubicBezTo>
                    <a:pt x="66622" y="201510"/>
                    <a:pt x="93398" y="198535"/>
                    <a:pt x="120175" y="192585"/>
                  </a:cubicBezTo>
                  <a:cubicBezTo>
                    <a:pt x="161829" y="186634"/>
                    <a:pt x="212407" y="189610"/>
                    <a:pt x="242159" y="153907"/>
                  </a:cubicBezTo>
                  <a:cubicBezTo>
                    <a:pt x="260010" y="130105"/>
                    <a:pt x="265961" y="37874"/>
                    <a:pt x="265961" y="37874"/>
                  </a:cubicBezTo>
                  <a:cubicBezTo>
                    <a:pt x="239183" y="-12705"/>
                    <a:pt x="129101" y="-3779"/>
                    <a:pt x="45795" y="14073"/>
                  </a:cubicBezTo>
                  <a:cubicBezTo>
                    <a:pt x="10093" y="22998"/>
                    <a:pt x="4142" y="171758"/>
                    <a:pt x="13068" y="171758"/>
                  </a:cubicBezTo>
                  <a:cubicBezTo>
                    <a:pt x="10093" y="171758"/>
                    <a:pt x="10093" y="174733"/>
                    <a:pt x="7118" y="174733"/>
                  </a:cubicBezTo>
                  <a:cubicBezTo>
                    <a:pt x="1167" y="180683"/>
                    <a:pt x="-1808" y="186634"/>
                    <a:pt x="1167" y="195559"/>
                  </a:cubicBezTo>
                  <a:cubicBezTo>
                    <a:pt x="7118" y="210435"/>
                    <a:pt x="27944" y="204486"/>
                    <a:pt x="39845" y="204486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8620A123-03B8-47BC-B3FB-A9C177E84BDA}"/>
                </a:ext>
              </a:extLst>
            </p:cNvPr>
            <p:cNvSpPr/>
            <p:nvPr/>
          </p:nvSpPr>
          <p:spPr>
            <a:xfrm>
              <a:off x="14528937" y="8518465"/>
              <a:ext cx="1204192" cy="1114421"/>
            </a:xfrm>
            <a:custGeom>
              <a:avLst/>
              <a:gdLst>
                <a:gd name="connsiteX0" fmla="*/ 1128775 w 1204192"/>
                <a:gd name="connsiteY0" fmla="*/ 6870 h 1114421"/>
                <a:gd name="connsiteX1" fmla="*/ 744974 w 1204192"/>
                <a:gd name="connsiteY1" fmla="*/ 337118 h 1114421"/>
                <a:gd name="connsiteX2" fmla="*/ 548610 w 1204192"/>
                <a:gd name="connsiteY2" fmla="*/ 744721 h 1114421"/>
                <a:gd name="connsiteX3" fmla="*/ 7122 w 1204192"/>
                <a:gd name="connsiteY3" fmla="*/ 860754 h 1114421"/>
                <a:gd name="connsiteX4" fmla="*/ 4147 w 1204192"/>
                <a:gd name="connsiteY4" fmla="*/ 1024391 h 1114421"/>
                <a:gd name="connsiteX5" fmla="*/ 736048 w 1204192"/>
                <a:gd name="connsiteY5" fmla="*/ 1051167 h 1114421"/>
                <a:gd name="connsiteX6" fmla="*/ 1128775 w 1204192"/>
                <a:gd name="connsiteY6" fmla="*/ 6870 h 1114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4192" h="1114421">
                  <a:moveTo>
                    <a:pt x="1128775" y="6870"/>
                  </a:moveTo>
                  <a:cubicBezTo>
                    <a:pt x="1006792" y="-46684"/>
                    <a:pt x="807452" y="227035"/>
                    <a:pt x="744974" y="337118"/>
                  </a:cubicBezTo>
                  <a:cubicBezTo>
                    <a:pt x="688444" y="435300"/>
                    <a:pt x="548610" y="744721"/>
                    <a:pt x="548610" y="744721"/>
                  </a:cubicBezTo>
                  <a:cubicBezTo>
                    <a:pt x="548610" y="744721"/>
                    <a:pt x="39849" y="753647"/>
                    <a:pt x="7122" y="860754"/>
                  </a:cubicBezTo>
                  <a:cubicBezTo>
                    <a:pt x="-1803" y="920258"/>
                    <a:pt x="-1803" y="985712"/>
                    <a:pt x="4147" y="1024391"/>
                  </a:cubicBezTo>
                  <a:cubicBezTo>
                    <a:pt x="111254" y="1173151"/>
                    <a:pt x="622990" y="1104721"/>
                    <a:pt x="736048" y="1051167"/>
                  </a:cubicBezTo>
                  <a:cubicBezTo>
                    <a:pt x="863982" y="997614"/>
                    <a:pt x="1399519" y="128853"/>
                    <a:pt x="1128775" y="6870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33C777B2-B70E-4BDB-850A-282FEDACA12D}"/>
                </a:ext>
              </a:extLst>
            </p:cNvPr>
            <p:cNvSpPr/>
            <p:nvPr/>
          </p:nvSpPr>
          <p:spPr>
            <a:xfrm>
              <a:off x="16080191" y="8141533"/>
              <a:ext cx="65454" cy="136859"/>
            </a:xfrm>
            <a:custGeom>
              <a:avLst/>
              <a:gdLst>
                <a:gd name="connsiteX0" fmla="*/ 65455 w 65454"/>
                <a:gd name="connsiteY0" fmla="*/ 0 h 136859"/>
                <a:gd name="connsiteX1" fmla="*/ 2975 w 65454"/>
                <a:gd name="connsiteY1" fmla="*/ 136860 h 136859"/>
                <a:gd name="connsiteX2" fmla="*/ 0 w 65454"/>
                <a:gd name="connsiteY2" fmla="*/ 53554 h 136859"/>
                <a:gd name="connsiteX3" fmla="*/ 65455 w 65454"/>
                <a:gd name="connsiteY3" fmla="*/ 0 h 13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454" h="136859">
                  <a:moveTo>
                    <a:pt x="65455" y="0"/>
                  </a:moveTo>
                  <a:cubicBezTo>
                    <a:pt x="65455" y="0"/>
                    <a:pt x="53554" y="116033"/>
                    <a:pt x="2975" y="136860"/>
                  </a:cubicBezTo>
                  <a:lnTo>
                    <a:pt x="0" y="53554"/>
                  </a:lnTo>
                  <a:lnTo>
                    <a:pt x="65455" y="0"/>
                  </a:ln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E11F6028-F0EE-49D9-9DB8-265CF640D092}"/>
                </a:ext>
              </a:extLst>
            </p:cNvPr>
            <p:cNvSpPr/>
            <p:nvPr/>
          </p:nvSpPr>
          <p:spPr>
            <a:xfrm>
              <a:off x="15696193" y="7945169"/>
              <a:ext cx="99284" cy="232046"/>
            </a:xfrm>
            <a:custGeom>
              <a:avLst/>
              <a:gdLst>
                <a:gd name="connsiteX0" fmla="*/ 6147 w 99284"/>
                <a:gd name="connsiteY0" fmla="*/ 0 h 232046"/>
                <a:gd name="connsiteX1" fmla="*/ 47800 w 99284"/>
                <a:gd name="connsiteY1" fmla="*/ 229091 h 232046"/>
                <a:gd name="connsiteX2" fmla="*/ 98379 w 99284"/>
                <a:gd name="connsiteY2" fmla="*/ 11901 h 232046"/>
                <a:gd name="connsiteX3" fmla="*/ 6147 w 99284"/>
                <a:gd name="connsiteY3" fmla="*/ 0 h 232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284" h="232046">
                  <a:moveTo>
                    <a:pt x="6147" y="0"/>
                  </a:moveTo>
                  <a:cubicBezTo>
                    <a:pt x="6147" y="0"/>
                    <a:pt x="-23605" y="190414"/>
                    <a:pt x="47800" y="229091"/>
                  </a:cubicBezTo>
                  <a:cubicBezTo>
                    <a:pt x="110279" y="261818"/>
                    <a:pt x="98379" y="11901"/>
                    <a:pt x="98379" y="11901"/>
                  </a:cubicBezTo>
                  <a:lnTo>
                    <a:pt x="6147" y="0"/>
                  </a:ln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CFD05AF6-3485-4EF1-AF7F-A58DFFB92B2F}"/>
                </a:ext>
              </a:extLst>
            </p:cNvPr>
            <p:cNvSpPr/>
            <p:nvPr/>
          </p:nvSpPr>
          <p:spPr>
            <a:xfrm>
              <a:off x="15731762" y="7807441"/>
              <a:ext cx="410908" cy="554844"/>
            </a:xfrm>
            <a:custGeom>
              <a:avLst/>
              <a:gdLst>
                <a:gd name="connsiteX0" fmla="*/ 9256 w 410908"/>
                <a:gd name="connsiteY0" fmla="*/ 179381 h 554844"/>
                <a:gd name="connsiteX1" fmla="*/ 9256 w 410908"/>
                <a:gd name="connsiteY1" fmla="*/ 423348 h 554844"/>
                <a:gd name="connsiteX2" fmla="*/ 163967 w 410908"/>
                <a:gd name="connsiteY2" fmla="*/ 554256 h 554844"/>
                <a:gd name="connsiteX3" fmla="*/ 375207 w 410908"/>
                <a:gd name="connsiteY3" fmla="*/ 414422 h 554844"/>
                <a:gd name="connsiteX4" fmla="*/ 410909 w 410908"/>
                <a:gd name="connsiteY4" fmla="*/ 194257 h 554844"/>
                <a:gd name="connsiteX5" fmla="*/ 202644 w 410908"/>
                <a:gd name="connsiteY5" fmla="*/ 868 h 554844"/>
                <a:gd name="connsiteX6" fmla="*/ 9256 w 410908"/>
                <a:gd name="connsiteY6" fmla="*/ 179381 h 55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0908" h="554844">
                  <a:moveTo>
                    <a:pt x="9256" y="179381"/>
                  </a:moveTo>
                  <a:cubicBezTo>
                    <a:pt x="9256" y="179381"/>
                    <a:pt x="-11570" y="351943"/>
                    <a:pt x="9256" y="423348"/>
                  </a:cubicBezTo>
                  <a:cubicBezTo>
                    <a:pt x="27107" y="488802"/>
                    <a:pt x="116364" y="551282"/>
                    <a:pt x="163967" y="554256"/>
                  </a:cubicBezTo>
                  <a:cubicBezTo>
                    <a:pt x="229421" y="560207"/>
                    <a:pt x="345455" y="521529"/>
                    <a:pt x="375207" y="414422"/>
                  </a:cubicBezTo>
                  <a:cubicBezTo>
                    <a:pt x="396033" y="343017"/>
                    <a:pt x="410909" y="244835"/>
                    <a:pt x="410909" y="194257"/>
                  </a:cubicBezTo>
                  <a:cubicBezTo>
                    <a:pt x="407933" y="102025"/>
                    <a:pt x="384132" y="24670"/>
                    <a:pt x="202644" y="868"/>
                  </a:cubicBezTo>
                  <a:cubicBezTo>
                    <a:pt x="122314" y="-11033"/>
                    <a:pt x="30083" y="102025"/>
                    <a:pt x="9256" y="179381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E6885758-4CC5-444A-84FC-61D0F59CFC7E}"/>
                </a:ext>
              </a:extLst>
            </p:cNvPr>
            <p:cNvSpPr/>
            <p:nvPr/>
          </p:nvSpPr>
          <p:spPr>
            <a:xfrm>
              <a:off x="15865977" y="8064177"/>
              <a:ext cx="56528" cy="133884"/>
            </a:xfrm>
            <a:custGeom>
              <a:avLst/>
              <a:gdLst>
                <a:gd name="connsiteX0" fmla="*/ 29752 w 56528"/>
                <a:gd name="connsiteY0" fmla="*/ 133884 h 133884"/>
                <a:gd name="connsiteX1" fmla="*/ 5950 w 56528"/>
                <a:gd name="connsiteY1" fmla="*/ 127934 h 133884"/>
                <a:gd name="connsiteX2" fmla="*/ 0 w 56528"/>
                <a:gd name="connsiteY2" fmla="*/ 116033 h 133884"/>
                <a:gd name="connsiteX3" fmla="*/ 14876 w 56528"/>
                <a:gd name="connsiteY3" fmla="*/ 5951 h 133884"/>
                <a:gd name="connsiteX4" fmla="*/ 20826 w 56528"/>
                <a:gd name="connsiteY4" fmla="*/ 0 h 133884"/>
                <a:gd name="connsiteX5" fmla="*/ 26777 w 56528"/>
                <a:gd name="connsiteY5" fmla="*/ 5951 h 133884"/>
                <a:gd name="connsiteX6" fmla="*/ 11901 w 56528"/>
                <a:gd name="connsiteY6" fmla="*/ 116033 h 133884"/>
                <a:gd name="connsiteX7" fmla="*/ 11901 w 56528"/>
                <a:gd name="connsiteY7" fmla="*/ 119008 h 133884"/>
                <a:gd name="connsiteX8" fmla="*/ 50578 w 56528"/>
                <a:gd name="connsiteY8" fmla="*/ 119008 h 133884"/>
                <a:gd name="connsiteX9" fmla="*/ 56529 w 56528"/>
                <a:gd name="connsiteY9" fmla="*/ 124959 h 133884"/>
                <a:gd name="connsiteX10" fmla="*/ 50578 w 56528"/>
                <a:gd name="connsiteY10" fmla="*/ 130909 h 133884"/>
                <a:gd name="connsiteX11" fmla="*/ 29752 w 56528"/>
                <a:gd name="connsiteY11" fmla="*/ 133884 h 13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528" h="133884">
                  <a:moveTo>
                    <a:pt x="29752" y="133884"/>
                  </a:moveTo>
                  <a:cubicBezTo>
                    <a:pt x="20826" y="133884"/>
                    <a:pt x="11901" y="133884"/>
                    <a:pt x="5950" y="127934"/>
                  </a:cubicBezTo>
                  <a:cubicBezTo>
                    <a:pt x="2975" y="124959"/>
                    <a:pt x="0" y="121984"/>
                    <a:pt x="0" y="116033"/>
                  </a:cubicBezTo>
                  <a:cubicBezTo>
                    <a:pt x="0" y="95207"/>
                    <a:pt x="14876" y="8926"/>
                    <a:pt x="14876" y="5951"/>
                  </a:cubicBezTo>
                  <a:cubicBezTo>
                    <a:pt x="14876" y="2975"/>
                    <a:pt x="17851" y="0"/>
                    <a:pt x="20826" y="0"/>
                  </a:cubicBezTo>
                  <a:cubicBezTo>
                    <a:pt x="23801" y="0"/>
                    <a:pt x="26777" y="2975"/>
                    <a:pt x="26777" y="5951"/>
                  </a:cubicBezTo>
                  <a:cubicBezTo>
                    <a:pt x="26777" y="5951"/>
                    <a:pt x="11901" y="95207"/>
                    <a:pt x="11901" y="116033"/>
                  </a:cubicBezTo>
                  <a:cubicBezTo>
                    <a:pt x="11901" y="116033"/>
                    <a:pt x="11901" y="119008"/>
                    <a:pt x="11901" y="119008"/>
                  </a:cubicBezTo>
                  <a:cubicBezTo>
                    <a:pt x="17851" y="124959"/>
                    <a:pt x="38677" y="121984"/>
                    <a:pt x="50578" y="119008"/>
                  </a:cubicBezTo>
                  <a:cubicBezTo>
                    <a:pt x="53553" y="119008"/>
                    <a:pt x="56529" y="119008"/>
                    <a:pt x="56529" y="124959"/>
                  </a:cubicBezTo>
                  <a:cubicBezTo>
                    <a:pt x="56529" y="127934"/>
                    <a:pt x="56529" y="130909"/>
                    <a:pt x="50578" y="130909"/>
                  </a:cubicBezTo>
                  <a:cubicBezTo>
                    <a:pt x="50578" y="133884"/>
                    <a:pt x="41653" y="133884"/>
                    <a:pt x="29752" y="133884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A9AE3445-4699-45D1-8A78-175EF518C1D3}"/>
                </a:ext>
              </a:extLst>
            </p:cNvPr>
            <p:cNvSpPr/>
            <p:nvPr/>
          </p:nvSpPr>
          <p:spPr>
            <a:xfrm>
              <a:off x="15796788" y="8042593"/>
              <a:ext cx="40019" cy="40019"/>
            </a:xfrm>
            <a:custGeom>
              <a:avLst/>
              <a:gdLst>
                <a:gd name="connsiteX0" fmla="*/ 39436 w 40019"/>
                <a:gd name="connsiteY0" fmla="*/ 24560 h 40019"/>
                <a:gd name="connsiteX1" fmla="*/ 15634 w 40019"/>
                <a:gd name="connsiteY1" fmla="*/ 39436 h 40019"/>
                <a:gd name="connsiteX2" fmla="*/ 758 w 40019"/>
                <a:gd name="connsiteY2" fmla="*/ 15634 h 40019"/>
                <a:gd name="connsiteX3" fmla="*/ 24560 w 40019"/>
                <a:gd name="connsiteY3" fmla="*/ 758 h 40019"/>
                <a:gd name="connsiteX4" fmla="*/ 39436 w 40019"/>
                <a:gd name="connsiteY4" fmla="*/ 24560 h 4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19" h="40019">
                  <a:moveTo>
                    <a:pt x="39436" y="24560"/>
                  </a:moveTo>
                  <a:cubicBezTo>
                    <a:pt x="36461" y="33486"/>
                    <a:pt x="27536" y="42411"/>
                    <a:pt x="15634" y="39436"/>
                  </a:cubicBezTo>
                  <a:cubicBezTo>
                    <a:pt x="3733" y="36460"/>
                    <a:pt x="-2217" y="27535"/>
                    <a:pt x="758" y="15634"/>
                  </a:cubicBezTo>
                  <a:cubicBezTo>
                    <a:pt x="3733" y="3733"/>
                    <a:pt x="12659" y="-2217"/>
                    <a:pt x="24560" y="758"/>
                  </a:cubicBezTo>
                  <a:cubicBezTo>
                    <a:pt x="33485" y="3733"/>
                    <a:pt x="42412" y="15634"/>
                    <a:pt x="39436" y="2456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1A1F2A31-14E4-4F88-AE03-28E690E6ADE0}"/>
                </a:ext>
              </a:extLst>
            </p:cNvPr>
            <p:cNvSpPr/>
            <p:nvPr/>
          </p:nvSpPr>
          <p:spPr>
            <a:xfrm>
              <a:off x="15975301" y="8060444"/>
              <a:ext cx="40194" cy="40194"/>
            </a:xfrm>
            <a:custGeom>
              <a:avLst/>
              <a:gdLst>
                <a:gd name="connsiteX0" fmla="*/ 39436 w 40194"/>
                <a:gd name="connsiteY0" fmla="*/ 24560 h 40194"/>
                <a:gd name="connsiteX1" fmla="*/ 15634 w 40194"/>
                <a:gd name="connsiteY1" fmla="*/ 39436 h 40194"/>
                <a:gd name="connsiteX2" fmla="*/ 758 w 40194"/>
                <a:gd name="connsiteY2" fmla="*/ 15634 h 40194"/>
                <a:gd name="connsiteX3" fmla="*/ 24560 w 40194"/>
                <a:gd name="connsiteY3" fmla="*/ 758 h 40194"/>
                <a:gd name="connsiteX4" fmla="*/ 39436 w 40194"/>
                <a:gd name="connsiteY4" fmla="*/ 24560 h 4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94" h="40194">
                  <a:moveTo>
                    <a:pt x="39436" y="24560"/>
                  </a:moveTo>
                  <a:cubicBezTo>
                    <a:pt x="36461" y="36461"/>
                    <a:pt x="27536" y="42411"/>
                    <a:pt x="15634" y="39436"/>
                  </a:cubicBezTo>
                  <a:cubicBezTo>
                    <a:pt x="3733" y="36461"/>
                    <a:pt x="-2217" y="27535"/>
                    <a:pt x="758" y="15634"/>
                  </a:cubicBezTo>
                  <a:cubicBezTo>
                    <a:pt x="3733" y="3733"/>
                    <a:pt x="12659" y="-2217"/>
                    <a:pt x="24560" y="758"/>
                  </a:cubicBezTo>
                  <a:cubicBezTo>
                    <a:pt x="36461" y="3733"/>
                    <a:pt x="42412" y="12659"/>
                    <a:pt x="39436" y="2456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983FB047-56F0-4B7E-828C-5D52367ECE58}"/>
                </a:ext>
              </a:extLst>
            </p:cNvPr>
            <p:cNvSpPr/>
            <p:nvPr/>
          </p:nvSpPr>
          <p:spPr>
            <a:xfrm>
              <a:off x="15771513" y="7994611"/>
              <a:ext cx="89744" cy="33864"/>
            </a:xfrm>
            <a:custGeom>
              <a:avLst/>
              <a:gdLst>
                <a:gd name="connsiteX0" fmla="*/ 8182 w 89744"/>
                <a:gd name="connsiteY0" fmla="*/ 33864 h 33864"/>
                <a:gd name="connsiteX1" fmla="*/ 2232 w 89744"/>
                <a:gd name="connsiteY1" fmla="*/ 30889 h 33864"/>
                <a:gd name="connsiteX2" fmla="*/ 2232 w 89744"/>
                <a:gd name="connsiteY2" fmla="*/ 18988 h 33864"/>
                <a:gd name="connsiteX3" fmla="*/ 85537 w 89744"/>
                <a:gd name="connsiteY3" fmla="*/ 10062 h 33864"/>
                <a:gd name="connsiteX4" fmla="*/ 88512 w 89744"/>
                <a:gd name="connsiteY4" fmla="*/ 18988 h 33864"/>
                <a:gd name="connsiteX5" fmla="*/ 79587 w 89744"/>
                <a:gd name="connsiteY5" fmla="*/ 21963 h 33864"/>
                <a:gd name="connsiteX6" fmla="*/ 14132 w 89744"/>
                <a:gd name="connsiteY6" fmla="*/ 27914 h 33864"/>
                <a:gd name="connsiteX7" fmla="*/ 8182 w 89744"/>
                <a:gd name="connsiteY7" fmla="*/ 33864 h 33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3864">
                  <a:moveTo>
                    <a:pt x="8182" y="33864"/>
                  </a:moveTo>
                  <a:cubicBezTo>
                    <a:pt x="5207" y="33864"/>
                    <a:pt x="5207" y="33864"/>
                    <a:pt x="2232" y="30889"/>
                  </a:cubicBezTo>
                  <a:cubicBezTo>
                    <a:pt x="-744" y="27914"/>
                    <a:pt x="-744" y="21963"/>
                    <a:pt x="2232" y="18988"/>
                  </a:cubicBezTo>
                  <a:cubicBezTo>
                    <a:pt x="29008" y="-10764"/>
                    <a:pt x="67686" y="1137"/>
                    <a:pt x="85537" y="10062"/>
                  </a:cubicBezTo>
                  <a:cubicBezTo>
                    <a:pt x="88512" y="13038"/>
                    <a:pt x="91488" y="16013"/>
                    <a:pt x="88512" y="18988"/>
                  </a:cubicBezTo>
                  <a:cubicBezTo>
                    <a:pt x="85537" y="21963"/>
                    <a:pt x="82562" y="24938"/>
                    <a:pt x="79587" y="21963"/>
                  </a:cubicBezTo>
                  <a:cubicBezTo>
                    <a:pt x="76612" y="21963"/>
                    <a:pt x="37934" y="1137"/>
                    <a:pt x="14132" y="27914"/>
                  </a:cubicBezTo>
                  <a:cubicBezTo>
                    <a:pt x="14132" y="33864"/>
                    <a:pt x="11157" y="33864"/>
                    <a:pt x="8182" y="33864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2CE72933-296E-4245-86BE-A4EDCD77872E}"/>
                </a:ext>
              </a:extLst>
            </p:cNvPr>
            <p:cNvSpPr/>
            <p:nvPr/>
          </p:nvSpPr>
          <p:spPr>
            <a:xfrm>
              <a:off x="15956976" y="7993075"/>
              <a:ext cx="89744" cy="35399"/>
            </a:xfrm>
            <a:custGeom>
              <a:avLst/>
              <a:gdLst>
                <a:gd name="connsiteX0" fmla="*/ 84538 w 89744"/>
                <a:gd name="connsiteY0" fmla="*/ 35400 h 35399"/>
                <a:gd name="connsiteX1" fmla="*/ 78587 w 89744"/>
                <a:gd name="connsiteY1" fmla="*/ 32425 h 35399"/>
                <a:gd name="connsiteX2" fmla="*/ 13133 w 89744"/>
                <a:gd name="connsiteY2" fmla="*/ 26474 h 35399"/>
                <a:gd name="connsiteX3" fmla="*/ 1232 w 89744"/>
                <a:gd name="connsiteY3" fmla="*/ 23499 h 35399"/>
                <a:gd name="connsiteX4" fmla="*/ 4207 w 89744"/>
                <a:gd name="connsiteY4" fmla="*/ 11598 h 35399"/>
                <a:gd name="connsiteX5" fmla="*/ 87513 w 89744"/>
                <a:gd name="connsiteY5" fmla="*/ 20524 h 35399"/>
                <a:gd name="connsiteX6" fmla="*/ 87513 w 89744"/>
                <a:gd name="connsiteY6" fmla="*/ 32425 h 35399"/>
                <a:gd name="connsiteX7" fmla="*/ 84538 w 89744"/>
                <a:gd name="connsiteY7" fmla="*/ 35400 h 3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5399">
                  <a:moveTo>
                    <a:pt x="84538" y="35400"/>
                  </a:moveTo>
                  <a:cubicBezTo>
                    <a:pt x="81563" y="35400"/>
                    <a:pt x="81563" y="35400"/>
                    <a:pt x="78587" y="32425"/>
                  </a:cubicBezTo>
                  <a:cubicBezTo>
                    <a:pt x="78587" y="32425"/>
                    <a:pt x="48835" y="2673"/>
                    <a:pt x="13133" y="26474"/>
                  </a:cubicBezTo>
                  <a:cubicBezTo>
                    <a:pt x="10158" y="29449"/>
                    <a:pt x="4207" y="26474"/>
                    <a:pt x="1232" y="23499"/>
                  </a:cubicBezTo>
                  <a:cubicBezTo>
                    <a:pt x="-1743" y="20524"/>
                    <a:pt x="1232" y="14573"/>
                    <a:pt x="4207" y="11598"/>
                  </a:cubicBezTo>
                  <a:cubicBezTo>
                    <a:pt x="39910" y="-12203"/>
                    <a:pt x="75613" y="5648"/>
                    <a:pt x="87513" y="20524"/>
                  </a:cubicBezTo>
                  <a:cubicBezTo>
                    <a:pt x="90489" y="23499"/>
                    <a:pt x="90489" y="29449"/>
                    <a:pt x="87513" y="32425"/>
                  </a:cubicBezTo>
                  <a:cubicBezTo>
                    <a:pt x="87513" y="35400"/>
                    <a:pt x="84538" y="35400"/>
                    <a:pt x="84538" y="35400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EB746826-2024-46A1-B3AE-1DB98ECFF60F}"/>
                </a:ext>
              </a:extLst>
            </p:cNvPr>
            <p:cNvSpPr/>
            <p:nvPr/>
          </p:nvSpPr>
          <p:spPr>
            <a:xfrm>
              <a:off x="16106968" y="8056778"/>
              <a:ext cx="75709" cy="111297"/>
            </a:xfrm>
            <a:custGeom>
              <a:avLst/>
              <a:gdLst>
                <a:gd name="connsiteX0" fmla="*/ 11901 w 75709"/>
                <a:gd name="connsiteY0" fmla="*/ 16325 h 111297"/>
                <a:gd name="connsiteX1" fmla="*/ 68429 w 75709"/>
                <a:gd name="connsiteY1" fmla="*/ 7399 h 111297"/>
                <a:gd name="connsiteX2" fmla="*/ 11901 w 75709"/>
                <a:gd name="connsiteY2" fmla="*/ 108556 h 111297"/>
                <a:gd name="connsiteX3" fmla="*/ 11901 w 75709"/>
                <a:gd name="connsiteY3" fmla="*/ 16325 h 111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709" h="111297">
                  <a:moveTo>
                    <a:pt x="11901" y="16325"/>
                  </a:moveTo>
                  <a:cubicBezTo>
                    <a:pt x="11901" y="16325"/>
                    <a:pt x="44628" y="-13427"/>
                    <a:pt x="68429" y="7399"/>
                  </a:cubicBezTo>
                  <a:cubicBezTo>
                    <a:pt x="92231" y="25251"/>
                    <a:pt x="53553" y="129383"/>
                    <a:pt x="11901" y="108556"/>
                  </a:cubicBezTo>
                  <a:cubicBezTo>
                    <a:pt x="-14876" y="90705"/>
                    <a:pt x="11901" y="16325"/>
                    <a:pt x="11901" y="16325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5AD62207-9A15-45A1-A871-0F02E848E015}"/>
                </a:ext>
              </a:extLst>
            </p:cNvPr>
            <p:cNvSpPr/>
            <p:nvPr/>
          </p:nvSpPr>
          <p:spPr>
            <a:xfrm>
              <a:off x="15686938" y="7699292"/>
              <a:ext cx="500863" cy="394637"/>
            </a:xfrm>
            <a:custGeom>
              <a:avLst/>
              <a:gdLst>
                <a:gd name="connsiteX0" fmla="*/ 437881 w 500863"/>
                <a:gd name="connsiteY0" fmla="*/ 132819 h 394637"/>
                <a:gd name="connsiteX1" fmla="*/ 420031 w 500863"/>
                <a:gd name="connsiteY1" fmla="*/ 94142 h 394637"/>
                <a:gd name="connsiteX2" fmla="*/ 408129 w 500863"/>
                <a:gd name="connsiteY2" fmla="*/ 97116 h 394637"/>
                <a:gd name="connsiteX3" fmla="*/ 378377 w 500863"/>
                <a:gd name="connsiteY3" fmla="*/ 76290 h 394637"/>
                <a:gd name="connsiteX4" fmla="*/ 366476 w 500863"/>
                <a:gd name="connsiteY4" fmla="*/ 58439 h 394637"/>
                <a:gd name="connsiteX5" fmla="*/ 336724 w 500863"/>
                <a:gd name="connsiteY5" fmla="*/ 25712 h 394637"/>
                <a:gd name="connsiteX6" fmla="*/ 303997 w 500863"/>
                <a:gd name="connsiteY6" fmla="*/ 22736 h 394637"/>
                <a:gd name="connsiteX7" fmla="*/ 250444 w 500863"/>
                <a:gd name="connsiteY7" fmla="*/ 7860 h 394637"/>
                <a:gd name="connsiteX8" fmla="*/ 238543 w 500863"/>
                <a:gd name="connsiteY8" fmla="*/ 1910 h 394637"/>
                <a:gd name="connsiteX9" fmla="*/ 116559 w 500863"/>
                <a:gd name="connsiteY9" fmla="*/ 37612 h 394637"/>
                <a:gd name="connsiteX10" fmla="*/ 57055 w 500863"/>
                <a:gd name="connsiteY10" fmla="*/ 58439 h 394637"/>
                <a:gd name="connsiteX11" fmla="*/ 42179 w 500863"/>
                <a:gd name="connsiteY11" fmla="*/ 100092 h 394637"/>
                <a:gd name="connsiteX12" fmla="*/ 24328 w 500863"/>
                <a:gd name="connsiteY12" fmla="*/ 126869 h 394637"/>
                <a:gd name="connsiteX13" fmla="*/ 18378 w 500863"/>
                <a:gd name="connsiteY13" fmla="*/ 162571 h 394637"/>
                <a:gd name="connsiteX14" fmla="*/ 21352 w 500863"/>
                <a:gd name="connsiteY14" fmla="*/ 195298 h 394637"/>
                <a:gd name="connsiteX15" fmla="*/ 3502 w 500863"/>
                <a:gd name="connsiteY15" fmla="*/ 236952 h 394637"/>
                <a:gd name="connsiteX16" fmla="*/ 21352 w 500863"/>
                <a:gd name="connsiteY16" fmla="*/ 332158 h 394637"/>
                <a:gd name="connsiteX17" fmla="*/ 30278 w 500863"/>
                <a:gd name="connsiteY17" fmla="*/ 335133 h 394637"/>
                <a:gd name="connsiteX18" fmla="*/ 39204 w 500863"/>
                <a:gd name="connsiteY18" fmla="*/ 364885 h 394637"/>
                <a:gd name="connsiteX19" fmla="*/ 57055 w 500863"/>
                <a:gd name="connsiteY19" fmla="*/ 311332 h 394637"/>
                <a:gd name="connsiteX20" fmla="*/ 86807 w 500863"/>
                <a:gd name="connsiteY20" fmla="*/ 299431 h 394637"/>
                <a:gd name="connsiteX21" fmla="*/ 104659 w 500863"/>
                <a:gd name="connsiteY21" fmla="*/ 278604 h 394637"/>
                <a:gd name="connsiteX22" fmla="*/ 110609 w 500863"/>
                <a:gd name="connsiteY22" fmla="*/ 269679 h 394637"/>
                <a:gd name="connsiteX23" fmla="*/ 116559 w 500863"/>
                <a:gd name="connsiteY23" fmla="*/ 266704 h 394637"/>
                <a:gd name="connsiteX24" fmla="*/ 122510 w 500863"/>
                <a:gd name="connsiteY24" fmla="*/ 266704 h 394637"/>
                <a:gd name="connsiteX25" fmla="*/ 128460 w 500863"/>
                <a:gd name="connsiteY25" fmla="*/ 263728 h 394637"/>
                <a:gd name="connsiteX26" fmla="*/ 137386 w 500863"/>
                <a:gd name="connsiteY26" fmla="*/ 257778 h 394637"/>
                <a:gd name="connsiteX27" fmla="*/ 149287 w 500863"/>
                <a:gd name="connsiteY27" fmla="*/ 260753 h 394637"/>
                <a:gd name="connsiteX28" fmla="*/ 161187 w 500863"/>
                <a:gd name="connsiteY28" fmla="*/ 260753 h 394637"/>
                <a:gd name="connsiteX29" fmla="*/ 196890 w 500863"/>
                <a:gd name="connsiteY29" fmla="*/ 251828 h 394637"/>
                <a:gd name="connsiteX30" fmla="*/ 247468 w 500863"/>
                <a:gd name="connsiteY30" fmla="*/ 236952 h 394637"/>
                <a:gd name="connsiteX31" fmla="*/ 262344 w 500863"/>
                <a:gd name="connsiteY31" fmla="*/ 245877 h 394637"/>
                <a:gd name="connsiteX32" fmla="*/ 298047 w 500863"/>
                <a:gd name="connsiteY32" fmla="*/ 225050 h 394637"/>
                <a:gd name="connsiteX33" fmla="*/ 309948 w 500863"/>
                <a:gd name="connsiteY33" fmla="*/ 228026 h 394637"/>
                <a:gd name="connsiteX34" fmla="*/ 384328 w 500863"/>
                <a:gd name="connsiteY34" fmla="*/ 254803 h 394637"/>
                <a:gd name="connsiteX35" fmla="*/ 393253 w 500863"/>
                <a:gd name="connsiteY35" fmla="*/ 257778 h 394637"/>
                <a:gd name="connsiteX36" fmla="*/ 443832 w 500863"/>
                <a:gd name="connsiteY36" fmla="*/ 394637 h 394637"/>
                <a:gd name="connsiteX37" fmla="*/ 500361 w 500863"/>
                <a:gd name="connsiteY37" fmla="*/ 296456 h 394637"/>
                <a:gd name="connsiteX38" fmla="*/ 437881 w 500863"/>
                <a:gd name="connsiteY38" fmla="*/ 132819 h 394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00863" h="394637">
                  <a:moveTo>
                    <a:pt x="437881" y="132819"/>
                  </a:moveTo>
                  <a:cubicBezTo>
                    <a:pt x="437881" y="117943"/>
                    <a:pt x="434907" y="103067"/>
                    <a:pt x="420031" y="94142"/>
                  </a:cubicBezTo>
                  <a:cubicBezTo>
                    <a:pt x="405155" y="82240"/>
                    <a:pt x="408129" y="94142"/>
                    <a:pt x="408129" y="97116"/>
                  </a:cubicBezTo>
                  <a:cubicBezTo>
                    <a:pt x="399204" y="91166"/>
                    <a:pt x="390279" y="82240"/>
                    <a:pt x="378377" y="76290"/>
                  </a:cubicBezTo>
                  <a:cubicBezTo>
                    <a:pt x="372427" y="70340"/>
                    <a:pt x="369452" y="64389"/>
                    <a:pt x="366476" y="58439"/>
                  </a:cubicBezTo>
                  <a:cubicBezTo>
                    <a:pt x="357551" y="46538"/>
                    <a:pt x="351600" y="34637"/>
                    <a:pt x="336724" y="25712"/>
                  </a:cubicBezTo>
                  <a:cubicBezTo>
                    <a:pt x="324824" y="19761"/>
                    <a:pt x="315899" y="22736"/>
                    <a:pt x="303997" y="22736"/>
                  </a:cubicBezTo>
                  <a:cubicBezTo>
                    <a:pt x="283171" y="22736"/>
                    <a:pt x="268295" y="16786"/>
                    <a:pt x="250444" y="7860"/>
                  </a:cubicBezTo>
                  <a:cubicBezTo>
                    <a:pt x="247468" y="4885"/>
                    <a:pt x="241518" y="1910"/>
                    <a:pt x="238543" y="1910"/>
                  </a:cubicBezTo>
                  <a:cubicBezTo>
                    <a:pt x="193915" y="-9991"/>
                    <a:pt x="161187" y="37612"/>
                    <a:pt x="116559" y="37612"/>
                  </a:cubicBezTo>
                  <a:cubicBezTo>
                    <a:pt x="92758" y="37612"/>
                    <a:pt x="68956" y="34637"/>
                    <a:pt x="57055" y="58439"/>
                  </a:cubicBezTo>
                  <a:cubicBezTo>
                    <a:pt x="51104" y="73315"/>
                    <a:pt x="51104" y="85216"/>
                    <a:pt x="42179" y="100092"/>
                  </a:cubicBezTo>
                  <a:cubicBezTo>
                    <a:pt x="36228" y="109018"/>
                    <a:pt x="27303" y="117943"/>
                    <a:pt x="24328" y="126869"/>
                  </a:cubicBezTo>
                  <a:cubicBezTo>
                    <a:pt x="18378" y="135794"/>
                    <a:pt x="15402" y="150670"/>
                    <a:pt x="18378" y="162571"/>
                  </a:cubicBezTo>
                  <a:cubicBezTo>
                    <a:pt x="21352" y="180422"/>
                    <a:pt x="30278" y="180422"/>
                    <a:pt x="21352" y="195298"/>
                  </a:cubicBezTo>
                  <a:cubicBezTo>
                    <a:pt x="15402" y="210174"/>
                    <a:pt x="6476" y="222076"/>
                    <a:pt x="3502" y="236952"/>
                  </a:cubicBezTo>
                  <a:cubicBezTo>
                    <a:pt x="-5424" y="269679"/>
                    <a:pt x="3502" y="302406"/>
                    <a:pt x="21352" y="332158"/>
                  </a:cubicBezTo>
                  <a:cubicBezTo>
                    <a:pt x="24328" y="335133"/>
                    <a:pt x="27303" y="335133"/>
                    <a:pt x="30278" y="335133"/>
                  </a:cubicBezTo>
                  <a:cubicBezTo>
                    <a:pt x="33254" y="352984"/>
                    <a:pt x="39204" y="364885"/>
                    <a:pt x="39204" y="364885"/>
                  </a:cubicBezTo>
                  <a:cubicBezTo>
                    <a:pt x="36228" y="347034"/>
                    <a:pt x="42179" y="329183"/>
                    <a:pt x="57055" y="311332"/>
                  </a:cubicBezTo>
                  <a:cubicBezTo>
                    <a:pt x="65980" y="308356"/>
                    <a:pt x="77882" y="305381"/>
                    <a:pt x="86807" y="299431"/>
                  </a:cubicBezTo>
                  <a:cubicBezTo>
                    <a:pt x="95732" y="293480"/>
                    <a:pt x="98708" y="284555"/>
                    <a:pt x="104659" y="278604"/>
                  </a:cubicBezTo>
                  <a:cubicBezTo>
                    <a:pt x="104659" y="275629"/>
                    <a:pt x="107634" y="272654"/>
                    <a:pt x="110609" y="269679"/>
                  </a:cubicBezTo>
                  <a:cubicBezTo>
                    <a:pt x="113584" y="269679"/>
                    <a:pt x="116559" y="266704"/>
                    <a:pt x="116559" y="266704"/>
                  </a:cubicBezTo>
                  <a:cubicBezTo>
                    <a:pt x="119535" y="266704"/>
                    <a:pt x="119535" y="266704"/>
                    <a:pt x="122510" y="266704"/>
                  </a:cubicBezTo>
                  <a:cubicBezTo>
                    <a:pt x="125485" y="263728"/>
                    <a:pt x="125485" y="263728"/>
                    <a:pt x="128460" y="263728"/>
                  </a:cubicBezTo>
                  <a:cubicBezTo>
                    <a:pt x="131435" y="260753"/>
                    <a:pt x="134411" y="260753"/>
                    <a:pt x="137386" y="257778"/>
                  </a:cubicBezTo>
                  <a:cubicBezTo>
                    <a:pt x="140361" y="257778"/>
                    <a:pt x="146311" y="257778"/>
                    <a:pt x="149287" y="260753"/>
                  </a:cubicBezTo>
                  <a:cubicBezTo>
                    <a:pt x="152262" y="260753"/>
                    <a:pt x="158212" y="260753"/>
                    <a:pt x="161187" y="260753"/>
                  </a:cubicBezTo>
                  <a:cubicBezTo>
                    <a:pt x="173088" y="260753"/>
                    <a:pt x="184989" y="257778"/>
                    <a:pt x="196890" y="251828"/>
                  </a:cubicBezTo>
                  <a:cubicBezTo>
                    <a:pt x="214741" y="242902"/>
                    <a:pt x="223667" y="228026"/>
                    <a:pt x="247468" y="236952"/>
                  </a:cubicBezTo>
                  <a:cubicBezTo>
                    <a:pt x="253419" y="239927"/>
                    <a:pt x="256394" y="245877"/>
                    <a:pt x="262344" y="245877"/>
                  </a:cubicBezTo>
                  <a:cubicBezTo>
                    <a:pt x="277220" y="248852"/>
                    <a:pt x="289121" y="236952"/>
                    <a:pt x="298047" y="225050"/>
                  </a:cubicBezTo>
                  <a:cubicBezTo>
                    <a:pt x="301022" y="225050"/>
                    <a:pt x="306972" y="228026"/>
                    <a:pt x="309948" y="228026"/>
                  </a:cubicBezTo>
                  <a:cubicBezTo>
                    <a:pt x="330775" y="242902"/>
                    <a:pt x="357551" y="251828"/>
                    <a:pt x="384328" y="254803"/>
                  </a:cubicBezTo>
                  <a:cubicBezTo>
                    <a:pt x="390279" y="257778"/>
                    <a:pt x="393253" y="257778"/>
                    <a:pt x="393253" y="257778"/>
                  </a:cubicBezTo>
                  <a:cubicBezTo>
                    <a:pt x="393253" y="257778"/>
                    <a:pt x="449783" y="364885"/>
                    <a:pt x="443832" y="394637"/>
                  </a:cubicBezTo>
                  <a:cubicBezTo>
                    <a:pt x="443832" y="394637"/>
                    <a:pt x="485485" y="350009"/>
                    <a:pt x="500361" y="296456"/>
                  </a:cubicBezTo>
                  <a:cubicBezTo>
                    <a:pt x="503336" y="236952"/>
                    <a:pt x="494411" y="153646"/>
                    <a:pt x="437881" y="132819"/>
                  </a:cubicBez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05095881-F5FE-4C3E-9F3F-F708C0663B2E}"/>
                </a:ext>
              </a:extLst>
            </p:cNvPr>
            <p:cNvSpPr/>
            <p:nvPr/>
          </p:nvSpPr>
          <p:spPr>
            <a:xfrm>
              <a:off x="16063993" y="7943847"/>
              <a:ext cx="59083" cy="135206"/>
            </a:xfrm>
            <a:custGeom>
              <a:avLst/>
              <a:gdLst>
                <a:gd name="connsiteX0" fmla="*/ 54876 w 59083"/>
                <a:gd name="connsiteY0" fmla="*/ 135206 h 135206"/>
                <a:gd name="connsiteX1" fmla="*/ 48925 w 59083"/>
                <a:gd name="connsiteY1" fmla="*/ 129256 h 135206"/>
                <a:gd name="connsiteX2" fmla="*/ 1322 w 59083"/>
                <a:gd name="connsiteY2" fmla="*/ 10248 h 135206"/>
                <a:gd name="connsiteX3" fmla="*/ 1322 w 59083"/>
                <a:gd name="connsiteY3" fmla="*/ 1322 h 135206"/>
                <a:gd name="connsiteX4" fmla="*/ 10248 w 59083"/>
                <a:gd name="connsiteY4" fmla="*/ 1322 h 135206"/>
                <a:gd name="connsiteX5" fmla="*/ 57852 w 59083"/>
                <a:gd name="connsiteY5" fmla="*/ 123306 h 135206"/>
                <a:gd name="connsiteX6" fmla="*/ 54876 w 59083"/>
                <a:gd name="connsiteY6" fmla="*/ 135206 h 135206"/>
                <a:gd name="connsiteX7" fmla="*/ 54876 w 59083"/>
                <a:gd name="connsiteY7" fmla="*/ 135206 h 135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083" h="135206">
                  <a:moveTo>
                    <a:pt x="54876" y="135206"/>
                  </a:moveTo>
                  <a:cubicBezTo>
                    <a:pt x="51901" y="135206"/>
                    <a:pt x="48925" y="132232"/>
                    <a:pt x="48925" y="129256"/>
                  </a:cubicBezTo>
                  <a:cubicBezTo>
                    <a:pt x="42976" y="69752"/>
                    <a:pt x="1322" y="13223"/>
                    <a:pt x="1322" y="10248"/>
                  </a:cubicBezTo>
                  <a:cubicBezTo>
                    <a:pt x="-1652" y="7273"/>
                    <a:pt x="1322" y="4298"/>
                    <a:pt x="1322" y="1322"/>
                  </a:cubicBezTo>
                  <a:cubicBezTo>
                    <a:pt x="4297" y="-1653"/>
                    <a:pt x="7273" y="1322"/>
                    <a:pt x="10248" y="1322"/>
                  </a:cubicBezTo>
                  <a:cubicBezTo>
                    <a:pt x="13224" y="4298"/>
                    <a:pt x="54876" y="60826"/>
                    <a:pt x="57852" y="123306"/>
                  </a:cubicBezTo>
                  <a:cubicBezTo>
                    <a:pt x="60826" y="132232"/>
                    <a:pt x="57852" y="135206"/>
                    <a:pt x="54876" y="135206"/>
                  </a:cubicBezTo>
                  <a:cubicBezTo>
                    <a:pt x="54876" y="135206"/>
                    <a:pt x="54876" y="135206"/>
                    <a:pt x="54876" y="135206"/>
                  </a:cubicBezTo>
                  <a:close/>
                </a:path>
              </a:pathLst>
            </a:custGeom>
            <a:solidFill>
              <a:srgbClr val="D3977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85EED06F-A3FD-4E3E-8467-02E51FE85651}"/>
                </a:ext>
              </a:extLst>
            </p:cNvPr>
            <p:cNvSpPr/>
            <p:nvPr/>
          </p:nvSpPr>
          <p:spPr>
            <a:xfrm>
              <a:off x="15861769" y="8258310"/>
              <a:ext cx="113546" cy="31983"/>
            </a:xfrm>
            <a:custGeom>
              <a:avLst/>
              <a:gdLst>
                <a:gd name="connsiteX0" fmla="*/ 36935 w 113546"/>
                <a:gd name="connsiteY0" fmla="*/ 31984 h 31983"/>
                <a:gd name="connsiteX1" fmla="*/ 4208 w 113546"/>
                <a:gd name="connsiteY1" fmla="*/ 29008 h 31983"/>
                <a:gd name="connsiteX2" fmla="*/ 1232 w 113546"/>
                <a:gd name="connsiteY2" fmla="*/ 23058 h 31983"/>
                <a:gd name="connsiteX3" fmla="*/ 7183 w 113546"/>
                <a:gd name="connsiteY3" fmla="*/ 20083 h 31983"/>
                <a:gd name="connsiteX4" fmla="*/ 102389 w 113546"/>
                <a:gd name="connsiteY4" fmla="*/ 2232 h 31983"/>
                <a:gd name="connsiteX5" fmla="*/ 111315 w 113546"/>
                <a:gd name="connsiteY5" fmla="*/ 2232 h 31983"/>
                <a:gd name="connsiteX6" fmla="*/ 111315 w 113546"/>
                <a:gd name="connsiteY6" fmla="*/ 11157 h 31983"/>
                <a:gd name="connsiteX7" fmla="*/ 36935 w 113546"/>
                <a:gd name="connsiteY7" fmla="*/ 31984 h 31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46" h="31983">
                  <a:moveTo>
                    <a:pt x="36935" y="31984"/>
                  </a:moveTo>
                  <a:cubicBezTo>
                    <a:pt x="19084" y="31984"/>
                    <a:pt x="4208" y="29008"/>
                    <a:pt x="4208" y="29008"/>
                  </a:cubicBezTo>
                  <a:cubicBezTo>
                    <a:pt x="1232" y="29008"/>
                    <a:pt x="-1743" y="26033"/>
                    <a:pt x="1232" y="23058"/>
                  </a:cubicBezTo>
                  <a:cubicBezTo>
                    <a:pt x="1232" y="20083"/>
                    <a:pt x="4208" y="17108"/>
                    <a:pt x="7183" y="20083"/>
                  </a:cubicBezTo>
                  <a:cubicBezTo>
                    <a:pt x="7183" y="20083"/>
                    <a:pt x="69662" y="34959"/>
                    <a:pt x="102389" y="2232"/>
                  </a:cubicBezTo>
                  <a:cubicBezTo>
                    <a:pt x="105365" y="-744"/>
                    <a:pt x="108340" y="-744"/>
                    <a:pt x="111315" y="2232"/>
                  </a:cubicBezTo>
                  <a:cubicBezTo>
                    <a:pt x="114290" y="5207"/>
                    <a:pt x="114290" y="8182"/>
                    <a:pt x="111315" y="11157"/>
                  </a:cubicBezTo>
                  <a:cubicBezTo>
                    <a:pt x="90489" y="26033"/>
                    <a:pt x="60737" y="31984"/>
                    <a:pt x="36935" y="31984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A534B6ED-2F0C-4291-BB29-50E009BB4901}"/>
                </a:ext>
              </a:extLst>
            </p:cNvPr>
            <p:cNvSpPr/>
            <p:nvPr/>
          </p:nvSpPr>
          <p:spPr>
            <a:xfrm>
              <a:off x="15824324" y="8275417"/>
              <a:ext cx="243966" cy="252009"/>
            </a:xfrm>
            <a:custGeom>
              <a:avLst/>
              <a:gdLst>
                <a:gd name="connsiteX0" fmla="*/ 0 w 243966"/>
                <a:gd name="connsiteY0" fmla="*/ 38678 h 252009"/>
                <a:gd name="connsiteX1" fmla="*/ 5950 w 243966"/>
                <a:gd name="connsiteY1" fmla="*/ 208264 h 252009"/>
                <a:gd name="connsiteX2" fmla="*/ 243966 w 243966"/>
                <a:gd name="connsiteY2" fmla="*/ 199339 h 252009"/>
                <a:gd name="connsiteX3" fmla="*/ 229090 w 243966"/>
                <a:gd name="connsiteY3" fmla="*/ 0 h 252009"/>
                <a:gd name="connsiteX4" fmla="*/ 0 w 243966"/>
                <a:gd name="connsiteY4" fmla="*/ 38678 h 2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966" h="252009">
                  <a:moveTo>
                    <a:pt x="0" y="38678"/>
                  </a:moveTo>
                  <a:cubicBezTo>
                    <a:pt x="0" y="38678"/>
                    <a:pt x="5950" y="136860"/>
                    <a:pt x="5950" y="208264"/>
                  </a:cubicBezTo>
                  <a:cubicBezTo>
                    <a:pt x="5950" y="208264"/>
                    <a:pt x="98181" y="312397"/>
                    <a:pt x="243966" y="199339"/>
                  </a:cubicBezTo>
                  <a:cubicBezTo>
                    <a:pt x="243966" y="139835"/>
                    <a:pt x="232066" y="62480"/>
                    <a:pt x="229090" y="0"/>
                  </a:cubicBezTo>
                  <a:cubicBezTo>
                    <a:pt x="232066" y="0"/>
                    <a:pt x="50578" y="50578"/>
                    <a:pt x="0" y="38678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0532A82A-595F-4762-96FF-710F28CFADAE}"/>
                </a:ext>
              </a:extLst>
            </p:cNvPr>
            <p:cNvSpPr/>
            <p:nvPr/>
          </p:nvSpPr>
          <p:spPr>
            <a:xfrm>
              <a:off x="15741493" y="8454146"/>
              <a:ext cx="779028" cy="1533972"/>
            </a:xfrm>
            <a:custGeom>
              <a:avLst/>
              <a:gdLst>
                <a:gd name="connsiteX0" fmla="*/ 154235 w 779028"/>
                <a:gd name="connsiteY0" fmla="*/ 2758 h 1533972"/>
                <a:gd name="connsiteX1" fmla="*/ 654070 w 779028"/>
                <a:gd name="connsiteY1" fmla="*/ 71188 h 1533972"/>
                <a:gd name="connsiteX2" fmla="*/ 779029 w 779028"/>
                <a:gd name="connsiteY2" fmla="*/ 1466560 h 1533972"/>
                <a:gd name="connsiteX3" fmla="*/ 11425 w 779028"/>
                <a:gd name="connsiteY3" fmla="*/ 1520114 h 1533972"/>
                <a:gd name="connsiteX4" fmla="*/ 154235 w 779028"/>
                <a:gd name="connsiteY4" fmla="*/ 2758 h 1533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028" h="1533972">
                  <a:moveTo>
                    <a:pt x="154235" y="2758"/>
                  </a:moveTo>
                  <a:cubicBezTo>
                    <a:pt x="154235" y="2758"/>
                    <a:pt x="457706" y="-21043"/>
                    <a:pt x="654070" y="71188"/>
                  </a:cubicBezTo>
                  <a:cubicBezTo>
                    <a:pt x="713574" y="97965"/>
                    <a:pt x="779029" y="1466560"/>
                    <a:pt x="779029" y="1466560"/>
                  </a:cubicBezTo>
                  <a:cubicBezTo>
                    <a:pt x="779029" y="1466560"/>
                    <a:pt x="288119" y="1570692"/>
                    <a:pt x="11425" y="1520114"/>
                  </a:cubicBezTo>
                  <a:cubicBezTo>
                    <a:pt x="11425" y="1520114"/>
                    <a:pt x="-59980" y="514494"/>
                    <a:pt x="154235" y="2758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7DBBCBB4-9215-431B-A6D3-84810D046CF0}"/>
                </a:ext>
              </a:extLst>
            </p:cNvPr>
            <p:cNvSpPr/>
            <p:nvPr/>
          </p:nvSpPr>
          <p:spPr>
            <a:xfrm>
              <a:off x="15378043" y="8456905"/>
              <a:ext cx="517685" cy="1527671"/>
            </a:xfrm>
            <a:custGeom>
              <a:avLst/>
              <a:gdLst>
                <a:gd name="connsiteX0" fmla="*/ 517686 w 517685"/>
                <a:gd name="connsiteY0" fmla="*/ 0 h 1527671"/>
                <a:gd name="connsiteX1" fmla="*/ 374875 w 517685"/>
                <a:gd name="connsiteY1" fmla="*/ 1517355 h 1527671"/>
                <a:gd name="connsiteX2" fmla="*/ 0 w 517685"/>
                <a:gd name="connsiteY2" fmla="*/ 1511405 h 1527671"/>
                <a:gd name="connsiteX3" fmla="*/ 133884 w 517685"/>
                <a:gd name="connsiteY3" fmla="*/ 104132 h 1527671"/>
                <a:gd name="connsiteX4" fmla="*/ 517686 w 517685"/>
                <a:gd name="connsiteY4" fmla="*/ 0 h 152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7685" h="1527671">
                  <a:moveTo>
                    <a:pt x="517686" y="0"/>
                  </a:moveTo>
                  <a:cubicBezTo>
                    <a:pt x="517686" y="0"/>
                    <a:pt x="330247" y="717025"/>
                    <a:pt x="374875" y="1517355"/>
                  </a:cubicBezTo>
                  <a:cubicBezTo>
                    <a:pt x="374875" y="1517355"/>
                    <a:pt x="77355" y="1544132"/>
                    <a:pt x="0" y="1511405"/>
                  </a:cubicBezTo>
                  <a:cubicBezTo>
                    <a:pt x="0" y="1511405"/>
                    <a:pt x="89256" y="154711"/>
                    <a:pt x="133884" y="104132"/>
                  </a:cubicBezTo>
                  <a:cubicBezTo>
                    <a:pt x="178512" y="53553"/>
                    <a:pt x="517686" y="0"/>
                    <a:pt x="517686" y="0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96871D07-A7E2-4F4C-8423-CE2A3A867E98}"/>
                </a:ext>
              </a:extLst>
            </p:cNvPr>
            <p:cNvSpPr/>
            <p:nvPr/>
          </p:nvSpPr>
          <p:spPr>
            <a:xfrm>
              <a:off x="15398869" y="8556829"/>
              <a:ext cx="120240" cy="1054455"/>
            </a:xfrm>
            <a:custGeom>
              <a:avLst/>
              <a:gdLst>
                <a:gd name="connsiteX0" fmla="*/ 5951 w 120240"/>
                <a:gd name="connsiteY0" fmla="*/ 1054455 h 1054455"/>
                <a:gd name="connsiteX1" fmla="*/ 5951 w 120240"/>
                <a:gd name="connsiteY1" fmla="*/ 1054455 h 1054455"/>
                <a:gd name="connsiteX2" fmla="*/ 0 w 120240"/>
                <a:gd name="connsiteY2" fmla="*/ 1048506 h 1054455"/>
                <a:gd name="connsiteX3" fmla="*/ 38678 w 120240"/>
                <a:gd name="connsiteY3" fmla="*/ 578422 h 1054455"/>
                <a:gd name="connsiteX4" fmla="*/ 110083 w 120240"/>
                <a:gd name="connsiteY4" fmla="*/ 4208 h 1054455"/>
                <a:gd name="connsiteX5" fmla="*/ 116033 w 120240"/>
                <a:gd name="connsiteY5" fmla="*/ 1232 h 1054455"/>
                <a:gd name="connsiteX6" fmla="*/ 119008 w 120240"/>
                <a:gd name="connsiteY6" fmla="*/ 7183 h 1054455"/>
                <a:gd name="connsiteX7" fmla="*/ 47603 w 120240"/>
                <a:gd name="connsiteY7" fmla="*/ 581398 h 1054455"/>
                <a:gd name="connsiteX8" fmla="*/ 8926 w 120240"/>
                <a:gd name="connsiteY8" fmla="*/ 1051480 h 1054455"/>
                <a:gd name="connsiteX9" fmla="*/ 5951 w 120240"/>
                <a:gd name="connsiteY9" fmla="*/ 1054455 h 1054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240" h="1054455">
                  <a:moveTo>
                    <a:pt x="5951" y="1054455"/>
                  </a:moveTo>
                  <a:cubicBezTo>
                    <a:pt x="2975" y="1054455"/>
                    <a:pt x="2975" y="1054455"/>
                    <a:pt x="5951" y="1054455"/>
                  </a:cubicBezTo>
                  <a:cubicBezTo>
                    <a:pt x="2975" y="1054455"/>
                    <a:pt x="0" y="1051480"/>
                    <a:pt x="0" y="1048506"/>
                  </a:cubicBezTo>
                  <a:cubicBezTo>
                    <a:pt x="0" y="1045530"/>
                    <a:pt x="29752" y="682555"/>
                    <a:pt x="38678" y="578422"/>
                  </a:cubicBezTo>
                  <a:cubicBezTo>
                    <a:pt x="41653" y="557596"/>
                    <a:pt x="104132" y="42885"/>
                    <a:pt x="110083" y="4208"/>
                  </a:cubicBezTo>
                  <a:cubicBezTo>
                    <a:pt x="110083" y="1232"/>
                    <a:pt x="113058" y="-1743"/>
                    <a:pt x="116033" y="1232"/>
                  </a:cubicBezTo>
                  <a:cubicBezTo>
                    <a:pt x="119008" y="1232"/>
                    <a:pt x="121984" y="4208"/>
                    <a:pt x="119008" y="7183"/>
                  </a:cubicBezTo>
                  <a:cubicBezTo>
                    <a:pt x="110083" y="45861"/>
                    <a:pt x="47603" y="575447"/>
                    <a:pt x="47603" y="581398"/>
                  </a:cubicBezTo>
                  <a:cubicBezTo>
                    <a:pt x="38678" y="685530"/>
                    <a:pt x="8926" y="1048506"/>
                    <a:pt x="8926" y="1051480"/>
                  </a:cubicBezTo>
                  <a:cubicBezTo>
                    <a:pt x="8926" y="1054455"/>
                    <a:pt x="5951" y="1054455"/>
                    <a:pt x="5951" y="1054455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885FB5D6-F97A-4545-B269-123C037540F8}"/>
                </a:ext>
              </a:extLst>
            </p:cNvPr>
            <p:cNvSpPr/>
            <p:nvPr/>
          </p:nvSpPr>
          <p:spPr>
            <a:xfrm>
              <a:off x="15818373" y="8303937"/>
              <a:ext cx="239248" cy="66686"/>
            </a:xfrm>
            <a:custGeom>
              <a:avLst/>
              <a:gdLst>
                <a:gd name="connsiteX0" fmla="*/ 101157 w 239248"/>
                <a:gd name="connsiteY0" fmla="*/ 66687 h 66686"/>
                <a:gd name="connsiteX1" fmla="*/ 80331 w 239248"/>
                <a:gd name="connsiteY1" fmla="*/ 63712 h 66686"/>
                <a:gd name="connsiteX2" fmla="*/ 26777 w 239248"/>
                <a:gd name="connsiteY2" fmla="*/ 45861 h 66686"/>
                <a:gd name="connsiteX3" fmla="*/ 2975 w 239248"/>
                <a:gd name="connsiteY3" fmla="*/ 33960 h 66686"/>
                <a:gd name="connsiteX4" fmla="*/ 0 w 239248"/>
                <a:gd name="connsiteY4" fmla="*/ 25034 h 66686"/>
                <a:gd name="connsiteX5" fmla="*/ 8925 w 239248"/>
                <a:gd name="connsiteY5" fmla="*/ 22059 h 66686"/>
                <a:gd name="connsiteX6" fmla="*/ 17851 w 239248"/>
                <a:gd name="connsiteY6" fmla="*/ 28009 h 66686"/>
                <a:gd name="connsiteX7" fmla="*/ 23801 w 239248"/>
                <a:gd name="connsiteY7" fmla="*/ 28009 h 66686"/>
                <a:gd name="connsiteX8" fmla="*/ 32727 w 239248"/>
                <a:gd name="connsiteY8" fmla="*/ 33960 h 66686"/>
                <a:gd name="connsiteX9" fmla="*/ 80331 w 239248"/>
                <a:gd name="connsiteY9" fmla="*/ 51811 h 66686"/>
                <a:gd name="connsiteX10" fmla="*/ 92232 w 239248"/>
                <a:gd name="connsiteY10" fmla="*/ 51811 h 66686"/>
                <a:gd name="connsiteX11" fmla="*/ 92232 w 239248"/>
                <a:gd name="connsiteY11" fmla="*/ 51811 h 66686"/>
                <a:gd name="connsiteX12" fmla="*/ 181488 w 239248"/>
                <a:gd name="connsiteY12" fmla="*/ 25034 h 66686"/>
                <a:gd name="connsiteX13" fmla="*/ 229091 w 239248"/>
                <a:gd name="connsiteY13" fmla="*/ 1232 h 66686"/>
                <a:gd name="connsiteX14" fmla="*/ 238017 w 239248"/>
                <a:gd name="connsiteY14" fmla="*/ 4208 h 66686"/>
                <a:gd name="connsiteX15" fmla="*/ 235041 w 239248"/>
                <a:gd name="connsiteY15" fmla="*/ 13133 h 66686"/>
                <a:gd name="connsiteX16" fmla="*/ 187438 w 239248"/>
                <a:gd name="connsiteY16" fmla="*/ 36935 h 66686"/>
                <a:gd name="connsiteX17" fmla="*/ 116033 w 239248"/>
                <a:gd name="connsiteY17" fmla="*/ 63712 h 66686"/>
                <a:gd name="connsiteX18" fmla="*/ 101157 w 239248"/>
                <a:gd name="connsiteY18" fmla="*/ 66687 h 66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9248" h="66686">
                  <a:moveTo>
                    <a:pt x="101157" y="66687"/>
                  </a:moveTo>
                  <a:cubicBezTo>
                    <a:pt x="95207" y="66687"/>
                    <a:pt x="86281" y="66687"/>
                    <a:pt x="80331" y="63712"/>
                  </a:cubicBezTo>
                  <a:cubicBezTo>
                    <a:pt x="56529" y="60737"/>
                    <a:pt x="38677" y="51811"/>
                    <a:pt x="26777" y="45861"/>
                  </a:cubicBezTo>
                  <a:cubicBezTo>
                    <a:pt x="14876" y="39910"/>
                    <a:pt x="5951" y="33960"/>
                    <a:pt x="2975" y="33960"/>
                  </a:cubicBezTo>
                  <a:cubicBezTo>
                    <a:pt x="0" y="30985"/>
                    <a:pt x="0" y="28009"/>
                    <a:pt x="0" y="25034"/>
                  </a:cubicBezTo>
                  <a:cubicBezTo>
                    <a:pt x="2975" y="22059"/>
                    <a:pt x="5951" y="22059"/>
                    <a:pt x="8925" y="22059"/>
                  </a:cubicBezTo>
                  <a:cubicBezTo>
                    <a:pt x="8925" y="22059"/>
                    <a:pt x="11901" y="25034"/>
                    <a:pt x="17851" y="28009"/>
                  </a:cubicBezTo>
                  <a:cubicBezTo>
                    <a:pt x="20827" y="28009"/>
                    <a:pt x="20827" y="28009"/>
                    <a:pt x="23801" y="28009"/>
                  </a:cubicBezTo>
                  <a:cubicBezTo>
                    <a:pt x="23801" y="28009"/>
                    <a:pt x="26777" y="30985"/>
                    <a:pt x="32727" y="33960"/>
                  </a:cubicBezTo>
                  <a:cubicBezTo>
                    <a:pt x="47603" y="39910"/>
                    <a:pt x="65455" y="48836"/>
                    <a:pt x="80331" y="51811"/>
                  </a:cubicBezTo>
                  <a:cubicBezTo>
                    <a:pt x="83305" y="51811"/>
                    <a:pt x="89256" y="51811"/>
                    <a:pt x="92232" y="51811"/>
                  </a:cubicBezTo>
                  <a:cubicBezTo>
                    <a:pt x="92232" y="51811"/>
                    <a:pt x="92232" y="51811"/>
                    <a:pt x="92232" y="51811"/>
                  </a:cubicBezTo>
                  <a:cubicBezTo>
                    <a:pt x="116033" y="51811"/>
                    <a:pt x="151736" y="36935"/>
                    <a:pt x="181488" y="25034"/>
                  </a:cubicBezTo>
                  <a:cubicBezTo>
                    <a:pt x="208264" y="13133"/>
                    <a:pt x="229091" y="1232"/>
                    <a:pt x="229091" y="1232"/>
                  </a:cubicBezTo>
                  <a:cubicBezTo>
                    <a:pt x="232066" y="-1743"/>
                    <a:pt x="235041" y="1232"/>
                    <a:pt x="238017" y="4208"/>
                  </a:cubicBezTo>
                  <a:cubicBezTo>
                    <a:pt x="240992" y="7183"/>
                    <a:pt x="238017" y="10158"/>
                    <a:pt x="235041" y="13133"/>
                  </a:cubicBezTo>
                  <a:cubicBezTo>
                    <a:pt x="232066" y="13133"/>
                    <a:pt x="211240" y="25034"/>
                    <a:pt x="187438" y="36935"/>
                  </a:cubicBezTo>
                  <a:cubicBezTo>
                    <a:pt x="163636" y="48836"/>
                    <a:pt x="133884" y="60737"/>
                    <a:pt x="116033" y="63712"/>
                  </a:cubicBezTo>
                  <a:cubicBezTo>
                    <a:pt x="110083" y="66687"/>
                    <a:pt x="107108" y="66687"/>
                    <a:pt x="101157" y="66687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890ADAB0-9144-4F31-87AE-72C970779308}"/>
                </a:ext>
              </a:extLst>
            </p:cNvPr>
            <p:cNvSpPr/>
            <p:nvPr/>
          </p:nvSpPr>
          <p:spPr>
            <a:xfrm>
              <a:off x="16169447" y="9587483"/>
              <a:ext cx="210496" cy="240991"/>
            </a:xfrm>
            <a:custGeom>
              <a:avLst/>
              <a:gdLst>
                <a:gd name="connsiteX0" fmla="*/ 169587 w 210496"/>
                <a:gd name="connsiteY0" fmla="*/ 240992 h 240991"/>
                <a:gd name="connsiteX1" fmla="*/ 166612 w 210496"/>
                <a:gd name="connsiteY1" fmla="*/ 240992 h 240991"/>
                <a:gd name="connsiteX2" fmla="*/ 0 w 210496"/>
                <a:gd name="connsiteY2" fmla="*/ 35702 h 240991"/>
                <a:gd name="connsiteX3" fmla="*/ 2975 w 210496"/>
                <a:gd name="connsiteY3" fmla="*/ 29752 h 240991"/>
                <a:gd name="connsiteX4" fmla="*/ 53554 w 210496"/>
                <a:gd name="connsiteY4" fmla="*/ 0 h 240991"/>
                <a:gd name="connsiteX5" fmla="*/ 59504 w 210496"/>
                <a:gd name="connsiteY5" fmla="*/ 0 h 240991"/>
                <a:gd name="connsiteX6" fmla="*/ 62480 w 210496"/>
                <a:gd name="connsiteY6" fmla="*/ 2975 h 240991"/>
                <a:gd name="connsiteX7" fmla="*/ 208264 w 210496"/>
                <a:gd name="connsiteY7" fmla="*/ 190413 h 240991"/>
                <a:gd name="connsiteX8" fmla="*/ 208264 w 210496"/>
                <a:gd name="connsiteY8" fmla="*/ 196364 h 240991"/>
                <a:gd name="connsiteX9" fmla="*/ 175538 w 210496"/>
                <a:gd name="connsiteY9" fmla="*/ 240992 h 240991"/>
                <a:gd name="connsiteX10" fmla="*/ 169587 w 210496"/>
                <a:gd name="connsiteY10" fmla="*/ 240992 h 240991"/>
                <a:gd name="connsiteX11" fmla="*/ 169587 w 210496"/>
                <a:gd name="connsiteY11" fmla="*/ 240992 h 240991"/>
                <a:gd name="connsiteX12" fmla="*/ 11902 w 210496"/>
                <a:gd name="connsiteY12" fmla="*/ 35702 h 240991"/>
                <a:gd name="connsiteX13" fmla="*/ 166612 w 210496"/>
                <a:gd name="connsiteY13" fmla="*/ 229090 h 240991"/>
                <a:gd name="connsiteX14" fmla="*/ 193388 w 210496"/>
                <a:gd name="connsiteY14" fmla="*/ 193388 h 240991"/>
                <a:gd name="connsiteX15" fmla="*/ 50579 w 210496"/>
                <a:gd name="connsiteY15" fmla="*/ 11901 h 240991"/>
                <a:gd name="connsiteX16" fmla="*/ 11902 w 210496"/>
                <a:gd name="connsiteY16" fmla="*/ 35702 h 24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0496" h="240991">
                  <a:moveTo>
                    <a:pt x="169587" y="240992"/>
                  </a:moveTo>
                  <a:cubicBezTo>
                    <a:pt x="169587" y="240992"/>
                    <a:pt x="166612" y="240992"/>
                    <a:pt x="166612" y="240992"/>
                  </a:cubicBezTo>
                  <a:cubicBezTo>
                    <a:pt x="59504" y="157686"/>
                    <a:pt x="2975" y="38677"/>
                    <a:pt x="0" y="35702"/>
                  </a:cubicBezTo>
                  <a:cubicBezTo>
                    <a:pt x="0" y="32727"/>
                    <a:pt x="0" y="29752"/>
                    <a:pt x="2975" y="29752"/>
                  </a:cubicBezTo>
                  <a:lnTo>
                    <a:pt x="53554" y="0"/>
                  </a:lnTo>
                  <a:cubicBezTo>
                    <a:pt x="53554" y="0"/>
                    <a:pt x="56530" y="0"/>
                    <a:pt x="59504" y="0"/>
                  </a:cubicBezTo>
                  <a:cubicBezTo>
                    <a:pt x="62480" y="0"/>
                    <a:pt x="62480" y="2975"/>
                    <a:pt x="62480" y="2975"/>
                  </a:cubicBezTo>
                  <a:cubicBezTo>
                    <a:pt x="77356" y="53553"/>
                    <a:pt x="205290" y="190413"/>
                    <a:pt x="208264" y="190413"/>
                  </a:cubicBezTo>
                  <a:cubicBezTo>
                    <a:pt x="211240" y="193388"/>
                    <a:pt x="211240" y="196364"/>
                    <a:pt x="208264" y="196364"/>
                  </a:cubicBezTo>
                  <a:lnTo>
                    <a:pt x="175538" y="240992"/>
                  </a:lnTo>
                  <a:cubicBezTo>
                    <a:pt x="172563" y="240992"/>
                    <a:pt x="172563" y="240992"/>
                    <a:pt x="169587" y="240992"/>
                  </a:cubicBezTo>
                  <a:cubicBezTo>
                    <a:pt x="169587" y="240992"/>
                    <a:pt x="169587" y="240992"/>
                    <a:pt x="169587" y="240992"/>
                  </a:cubicBezTo>
                  <a:close/>
                  <a:moveTo>
                    <a:pt x="11902" y="35702"/>
                  </a:moveTo>
                  <a:cubicBezTo>
                    <a:pt x="23802" y="56529"/>
                    <a:pt x="77356" y="154710"/>
                    <a:pt x="166612" y="229090"/>
                  </a:cubicBezTo>
                  <a:lnTo>
                    <a:pt x="193388" y="193388"/>
                  </a:lnTo>
                  <a:cubicBezTo>
                    <a:pt x="172563" y="172562"/>
                    <a:pt x="74380" y="65454"/>
                    <a:pt x="50579" y="11901"/>
                  </a:cubicBezTo>
                  <a:lnTo>
                    <a:pt x="11902" y="35702"/>
                  </a:ln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C46E5D3F-BA42-4A74-B9B9-B5CD9C73EA41}"/>
                </a:ext>
              </a:extLst>
            </p:cNvPr>
            <p:cNvSpPr/>
            <p:nvPr/>
          </p:nvSpPr>
          <p:spPr>
            <a:xfrm>
              <a:off x="15391596" y="9614260"/>
              <a:ext cx="75702" cy="130908"/>
            </a:xfrm>
            <a:custGeom>
              <a:avLst/>
              <a:gdLst>
                <a:gd name="connsiteX0" fmla="*/ 7272 w 75702"/>
                <a:gd name="connsiteY0" fmla="*/ 130909 h 130908"/>
                <a:gd name="connsiteX1" fmla="*/ 1322 w 75702"/>
                <a:gd name="connsiteY1" fmla="*/ 127934 h 130908"/>
                <a:gd name="connsiteX2" fmla="*/ 4297 w 75702"/>
                <a:gd name="connsiteY2" fmla="*/ 121984 h 130908"/>
                <a:gd name="connsiteX3" fmla="*/ 66776 w 75702"/>
                <a:gd name="connsiteY3" fmla="*/ 68429 h 130908"/>
                <a:gd name="connsiteX4" fmla="*/ 66776 w 75702"/>
                <a:gd name="connsiteY4" fmla="*/ 20827 h 130908"/>
                <a:gd name="connsiteX5" fmla="*/ 10248 w 75702"/>
                <a:gd name="connsiteY5" fmla="*/ 80331 h 130908"/>
                <a:gd name="connsiteX6" fmla="*/ 1322 w 75702"/>
                <a:gd name="connsiteY6" fmla="*/ 80331 h 130908"/>
                <a:gd name="connsiteX7" fmla="*/ 1322 w 75702"/>
                <a:gd name="connsiteY7" fmla="*/ 71405 h 130908"/>
                <a:gd name="connsiteX8" fmla="*/ 66776 w 75702"/>
                <a:gd name="connsiteY8" fmla="*/ 2975 h 130908"/>
                <a:gd name="connsiteX9" fmla="*/ 72727 w 75702"/>
                <a:gd name="connsiteY9" fmla="*/ 0 h 130908"/>
                <a:gd name="connsiteX10" fmla="*/ 75703 w 75702"/>
                <a:gd name="connsiteY10" fmla="*/ 5951 h 130908"/>
                <a:gd name="connsiteX11" fmla="*/ 75703 w 75702"/>
                <a:gd name="connsiteY11" fmla="*/ 71405 h 130908"/>
                <a:gd name="connsiteX12" fmla="*/ 75703 w 75702"/>
                <a:gd name="connsiteY12" fmla="*/ 74380 h 130908"/>
                <a:gd name="connsiteX13" fmla="*/ 7272 w 75702"/>
                <a:gd name="connsiteY13" fmla="*/ 130909 h 130908"/>
                <a:gd name="connsiteX14" fmla="*/ 7272 w 75702"/>
                <a:gd name="connsiteY14" fmla="*/ 130909 h 130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5702" h="130908">
                  <a:moveTo>
                    <a:pt x="7272" y="130909"/>
                  </a:moveTo>
                  <a:cubicBezTo>
                    <a:pt x="4297" y="130909"/>
                    <a:pt x="4297" y="130909"/>
                    <a:pt x="1322" y="127934"/>
                  </a:cubicBezTo>
                  <a:cubicBezTo>
                    <a:pt x="1322" y="124959"/>
                    <a:pt x="1322" y="121984"/>
                    <a:pt x="4297" y="121984"/>
                  </a:cubicBezTo>
                  <a:cubicBezTo>
                    <a:pt x="31074" y="110083"/>
                    <a:pt x="60827" y="77356"/>
                    <a:pt x="66776" y="68429"/>
                  </a:cubicBezTo>
                  <a:lnTo>
                    <a:pt x="66776" y="20827"/>
                  </a:lnTo>
                  <a:cubicBezTo>
                    <a:pt x="54876" y="35703"/>
                    <a:pt x="31074" y="62480"/>
                    <a:pt x="10248" y="80331"/>
                  </a:cubicBezTo>
                  <a:cubicBezTo>
                    <a:pt x="7272" y="83305"/>
                    <a:pt x="4297" y="80331"/>
                    <a:pt x="1322" y="80331"/>
                  </a:cubicBezTo>
                  <a:cubicBezTo>
                    <a:pt x="-1653" y="77356"/>
                    <a:pt x="1322" y="74380"/>
                    <a:pt x="1322" y="71405"/>
                  </a:cubicBezTo>
                  <a:cubicBezTo>
                    <a:pt x="34049" y="47603"/>
                    <a:pt x="66776" y="2975"/>
                    <a:pt x="66776" y="2975"/>
                  </a:cubicBezTo>
                  <a:cubicBezTo>
                    <a:pt x="66776" y="0"/>
                    <a:pt x="69752" y="0"/>
                    <a:pt x="72727" y="0"/>
                  </a:cubicBezTo>
                  <a:cubicBezTo>
                    <a:pt x="75703" y="0"/>
                    <a:pt x="75703" y="2975"/>
                    <a:pt x="75703" y="5951"/>
                  </a:cubicBezTo>
                  <a:lnTo>
                    <a:pt x="75703" y="71405"/>
                  </a:lnTo>
                  <a:cubicBezTo>
                    <a:pt x="75703" y="71405"/>
                    <a:pt x="75703" y="74380"/>
                    <a:pt x="75703" y="74380"/>
                  </a:cubicBezTo>
                  <a:cubicBezTo>
                    <a:pt x="75703" y="74380"/>
                    <a:pt x="42975" y="119008"/>
                    <a:pt x="7272" y="130909"/>
                  </a:cubicBezTo>
                  <a:cubicBezTo>
                    <a:pt x="10248" y="130909"/>
                    <a:pt x="7272" y="130909"/>
                    <a:pt x="7272" y="130909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8" name="图形 1">
              <a:extLst>
                <a:ext uri="{FF2B5EF4-FFF2-40B4-BE49-F238E27FC236}">
                  <a16:creationId xmlns:a16="http://schemas.microsoft.com/office/drawing/2014/main" id="{8F4DD5F2-DCC4-43D4-8A49-3EBE71BC9F73}"/>
                </a:ext>
              </a:extLst>
            </p:cNvPr>
            <p:cNvGrpSpPr/>
            <p:nvPr/>
          </p:nvGrpSpPr>
          <p:grpSpPr>
            <a:xfrm>
              <a:off x="15675564" y="7400143"/>
              <a:ext cx="532753" cy="565853"/>
              <a:chOff x="15675564" y="7400143"/>
              <a:chExt cx="532753" cy="565853"/>
            </a:xfrm>
          </p:grpSpPr>
          <p:grpSp>
            <p:nvGrpSpPr>
              <p:cNvPr id="115" name="图形 1">
                <a:extLst>
                  <a:ext uri="{FF2B5EF4-FFF2-40B4-BE49-F238E27FC236}">
                    <a16:creationId xmlns:a16="http://schemas.microsoft.com/office/drawing/2014/main" id="{6EC6A471-6226-4D8E-B07F-02FED7B33381}"/>
                  </a:ext>
                </a:extLst>
              </p:cNvPr>
              <p:cNvGrpSpPr/>
              <p:nvPr/>
            </p:nvGrpSpPr>
            <p:grpSpPr>
              <a:xfrm>
                <a:off x="15675564" y="7400143"/>
                <a:ext cx="529586" cy="559634"/>
                <a:chOff x="15675564" y="7400143"/>
                <a:chExt cx="529586" cy="559634"/>
              </a:xfrm>
            </p:grpSpPr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A8B9CBE2-4537-4FD6-B1AF-768F69E2F661}"/>
                    </a:ext>
                  </a:extLst>
                </p:cNvPr>
                <p:cNvSpPr/>
                <p:nvPr/>
              </p:nvSpPr>
              <p:spPr>
                <a:xfrm>
                  <a:off x="15675564" y="7573107"/>
                  <a:ext cx="529586" cy="386669"/>
                </a:xfrm>
                <a:custGeom>
                  <a:avLst/>
                  <a:gdLst>
                    <a:gd name="connsiteX0" fmla="*/ 121983 w 529586"/>
                    <a:gd name="connsiteY0" fmla="*/ 86442 h 386669"/>
                    <a:gd name="connsiteX1" fmla="*/ 300495 w 529586"/>
                    <a:gd name="connsiteY1" fmla="*/ 3136 h 386669"/>
                    <a:gd name="connsiteX2" fmla="*/ 508760 w 529586"/>
                    <a:gd name="connsiteY2" fmla="*/ 276855 h 386669"/>
                    <a:gd name="connsiteX3" fmla="*/ 529586 w 529586"/>
                    <a:gd name="connsiteY3" fmla="*/ 357186 h 386669"/>
                    <a:gd name="connsiteX4" fmla="*/ 529586 w 529586"/>
                    <a:gd name="connsiteY4" fmla="*/ 363136 h 386669"/>
                    <a:gd name="connsiteX5" fmla="*/ 523636 w 529586"/>
                    <a:gd name="connsiteY5" fmla="*/ 366111 h 386669"/>
                    <a:gd name="connsiteX6" fmla="*/ 208264 w 529586"/>
                    <a:gd name="connsiteY6" fmla="*/ 383963 h 386669"/>
                    <a:gd name="connsiteX7" fmla="*/ 5950 w 529586"/>
                    <a:gd name="connsiteY7" fmla="*/ 345285 h 386669"/>
                    <a:gd name="connsiteX8" fmla="*/ 0 w 529586"/>
                    <a:gd name="connsiteY8" fmla="*/ 339335 h 386669"/>
                    <a:gd name="connsiteX9" fmla="*/ 121983 w 529586"/>
                    <a:gd name="connsiteY9" fmla="*/ 86442 h 386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29586" h="386669">
                      <a:moveTo>
                        <a:pt x="121983" y="86442"/>
                      </a:moveTo>
                      <a:cubicBezTo>
                        <a:pt x="160661" y="47764"/>
                        <a:pt x="255867" y="-14715"/>
                        <a:pt x="300495" y="3136"/>
                      </a:cubicBezTo>
                      <a:cubicBezTo>
                        <a:pt x="425454" y="47764"/>
                        <a:pt x="467107" y="175698"/>
                        <a:pt x="508760" y="276855"/>
                      </a:cubicBezTo>
                      <a:cubicBezTo>
                        <a:pt x="523636" y="315533"/>
                        <a:pt x="529586" y="354211"/>
                        <a:pt x="529586" y="357186"/>
                      </a:cubicBezTo>
                      <a:cubicBezTo>
                        <a:pt x="529586" y="360161"/>
                        <a:pt x="529586" y="360161"/>
                        <a:pt x="529586" y="363136"/>
                      </a:cubicBezTo>
                      <a:cubicBezTo>
                        <a:pt x="529586" y="366111"/>
                        <a:pt x="526611" y="366111"/>
                        <a:pt x="523636" y="366111"/>
                      </a:cubicBezTo>
                      <a:cubicBezTo>
                        <a:pt x="392727" y="386938"/>
                        <a:pt x="288595" y="389913"/>
                        <a:pt x="208264" y="383963"/>
                      </a:cubicBezTo>
                      <a:cubicBezTo>
                        <a:pt x="77355" y="375037"/>
                        <a:pt x="11901" y="345285"/>
                        <a:pt x="5950" y="345285"/>
                      </a:cubicBezTo>
                      <a:cubicBezTo>
                        <a:pt x="2974" y="345285"/>
                        <a:pt x="0" y="342310"/>
                        <a:pt x="0" y="339335"/>
                      </a:cubicBezTo>
                      <a:cubicBezTo>
                        <a:pt x="2974" y="336359"/>
                        <a:pt x="11901" y="199500"/>
                        <a:pt x="121983" y="86442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444ECC45-48E7-42B1-B01B-31E682E5E331}"/>
                    </a:ext>
                  </a:extLst>
                </p:cNvPr>
                <p:cNvSpPr/>
                <p:nvPr/>
              </p:nvSpPr>
              <p:spPr>
                <a:xfrm>
                  <a:off x="15892753" y="7406091"/>
                  <a:ext cx="205855" cy="205855"/>
                </a:xfrm>
                <a:custGeom>
                  <a:avLst/>
                  <a:gdLst>
                    <a:gd name="connsiteX0" fmla="*/ 23801 w 205855"/>
                    <a:gd name="connsiteY0" fmla="*/ 36268 h 205855"/>
                    <a:gd name="connsiteX1" fmla="*/ 92232 w 205855"/>
                    <a:gd name="connsiteY1" fmla="*/ 566 h 205855"/>
                    <a:gd name="connsiteX2" fmla="*/ 205289 w 205855"/>
                    <a:gd name="connsiteY2" fmla="*/ 92797 h 205855"/>
                    <a:gd name="connsiteX3" fmla="*/ 113057 w 205855"/>
                    <a:gd name="connsiteY3" fmla="*/ 205855 h 205855"/>
                    <a:gd name="connsiteX4" fmla="*/ 95207 w 205855"/>
                    <a:gd name="connsiteY4" fmla="*/ 205855 h 205855"/>
                    <a:gd name="connsiteX5" fmla="*/ 35703 w 205855"/>
                    <a:gd name="connsiteY5" fmla="*/ 182053 h 205855"/>
                    <a:gd name="connsiteX6" fmla="*/ 0 w 205855"/>
                    <a:gd name="connsiteY6" fmla="*/ 113624 h 205855"/>
                    <a:gd name="connsiteX7" fmla="*/ 23801 w 205855"/>
                    <a:gd name="connsiteY7" fmla="*/ 36268 h 205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5855" h="205855">
                      <a:moveTo>
                        <a:pt x="23801" y="36268"/>
                      </a:moveTo>
                      <a:cubicBezTo>
                        <a:pt x="41653" y="15442"/>
                        <a:pt x="65455" y="566"/>
                        <a:pt x="92232" y="566"/>
                      </a:cubicBezTo>
                      <a:cubicBezTo>
                        <a:pt x="148760" y="-5384"/>
                        <a:pt x="199339" y="36268"/>
                        <a:pt x="205289" y="92797"/>
                      </a:cubicBezTo>
                      <a:cubicBezTo>
                        <a:pt x="211240" y="149326"/>
                        <a:pt x="169587" y="199905"/>
                        <a:pt x="113057" y="205855"/>
                      </a:cubicBezTo>
                      <a:cubicBezTo>
                        <a:pt x="107108" y="205855"/>
                        <a:pt x="101157" y="205855"/>
                        <a:pt x="95207" y="205855"/>
                      </a:cubicBezTo>
                      <a:cubicBezTo>
                        <a:pt x="74380" y="205855"/>
                        <a:pt x="53553" y="196929"/>
                        <a:pt x="35703" y="182053"/>
                      </a:cubicBezTo>
                      <a:cubicBezTo>
                        <a:pt x="14876" y="164202"/>
                        <a:pt x="0" y="140401"/>
                        <a:pt x="0" y="113624"/>
                      </a:cubicBezTo>
                      <a:cubicBezTo>
                        <a:pt x="0" y="83872"/>
                        <a:pt x="5951" y="57095"/>
                        <a:pt x="23801" y="36268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C4A876DD-194F-4E42-B7FB-864DECABF7D1}"/>
                    </a:ext>
                  </a:extLst>
                </p:cNvPr>
                <p:cNvSpPr/>
                <p:nvPr/>
              </p:nvSpPr>
              <p:spPr>
                <a:xfrm>
                  <a:off x="15889214" y="7400143"/>
                  <a:ext cx="215312" cy="214778"/>
                </a:xfrm>
                <a:custGeom>
                  <a:avLst/>
                  <a:gdLst>
                    <a:gd name="connsiteX0" fmla="*/ 107671 w 215312"/>
                    <a:gd name="connsiteY0" fmla="*/ 214779 h 214778"/>
                    <a:gd name="connsiteX1" fmla="*/ 101721 w 215312"/>
                    <a:gd name="connsiteY1" fmla="*/ 214779 h 214778"/>
                    <a:gd name="connsiteX2" fmla="*/ 39242 w 215312"/>
                    <a:gd name="connsiteY2" fmla="*/ 190977 h 214778"/>
                    <a:gd name="connsiteX3" fmla="*/ 564 w 215312"/>
                    <a:gd name="connsiteY3" fmla="*/ 119572 h 214778"/>
                    <a:gd name="connsiteX4" fmla="*/ 24366 w 215312"/>
                    <a:gd name="connsiteY4" fmla="*/ 39241 h 214778"/>
                    <a:gd name="connsiteX5" fmla="*/ 24366 w 215312"/>
                    <a:gd name="connsiteY5" fmla="*/ 39241 h 214778"/>
                    <a:gd name="connsiteX6" fmla="*/ 95771 w 215312"/>
                    <a:gd name="connsiteY6" fmla="*/ 564 h 214778"/>
                    <a:gd name="connsiteX7" fmla="*/ 176101 w 215312"/>
                    <a:gd name="connsiteY7" fmla="*/ 24365 h 214778"/>
                    <a:gd name="connsiteX8" fmla="*/ 214779 w 215312"/>
                    <a:gd name="connsiteY8" fmla="*/ 95770 h 214778"/>
                    <a:gd name="connsiteX9" fmla="*/ 119572 w 215312"/>
                    <a:gd name="connsiteY9" fmla="*/ 214779 h 214778"/>
                    <a:gd name="connsiteX10" fmla="*/ 107671 w 215312"/>
                    <a:gd name="connsiteY10" fmla="*/ 214779 h 214778"/>
                    <a:gd name="connsiteX11" fmla="*/ 30316 w 215312"/>
                    <a:gd name="connsiteY11" fmla="*/ 45192 h 214778"/>
                    <a:gd name="connsiteX12" fmla="*/ 9490 w 215312"/>
                    <a:gd name="connsiteY12" fmla="*/ 116597 h 214778"/>
                    <a:gd name="connsiteX13" fmla="*/ 45192 w 215312"/>
                    <a:gd name="connsiteY13" fmla="*/ 182051 h 214778"/>
                    <a:gd name="connsiteX14" fmla="*/ 98746 w 215312"/>
                    <a:gd name="connsiteY14" fmla="*/ 202878 h 214778"/>
                    <a:gd name="connsiteX15" fmla="*/ 113622 w 215312"/>
                    <a:gd name="connsiteY15" fmla="*/ 202878 h 214778"/>
                    <a:gd name="connsiteX16" fmla="*/ 199903 w 215312"/>
                    <a:gd name="connsiteY16" fmla="*/ 95770 h 214778"/>
                    <a:gd name="connsiteX17" fmla="*/ 164200 w 215312"/>
                    <a:gd name="connsiteY17" fmla="*/ 30316 h 214778"/>
                    <a:gd name="connsiteX18" fmla="*/ 92795 w 215312"/>
                    <a:gd name="connsiteY18" fmla="*/ 9489 h 214778"/>
                    <a:gd name="connsiteX19" fmla="*/ 30316 w 215312"/>
                    <a:gd name="connsiteY19" fmla="*/ 45192 h 214778"/>
                    <a:gd name="connsiteX20" fmla="*/ 30316 w 215312"/>
                    <a:gd name="connsiteY20" fmla="*/ 45192 h 214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15312" h="214778">
                      <a:moveTo>
                        <a:pt x="107671" y="214779"/>
                      </a:moveTo>
                      <a:cubicBezTo>
                        <a:pt x="104696" y="214779"/>
                        <a:pt x="101721" y="214779"/>
                        <a:pt x="101721" y="214779"/>
                      </a:cubicBezTo>
                      <a:cubicBezTo>
                        <a:pt x="77919" y="214779"/>
                        <a:pt x="57093" y="205853"/>
                        <a:pt x="39242" y="190977"/>
                      </a:cubicBezTo>
                      <a:cubicBezTo>
                        <a:pt x="18415" y="173125"/>
                        <a:pt x="3539" y="146349"/>
                        <a:pt x="564" y="119572"/>
                      </a:cubicBezTo>
                      <a:cubicBezTo>
                        <a:pt x="-2412" y="89820"/>
                        <a:pt x="6515" y="63043"/>
                        <a:pt x="24366" y="39241"/>
                      </a:cubicBezTo>
                      <a:lnTo>
                        <a:pt x="24366" y="39241"/>
                      </a:lnTo>
                      <a:cubicBezTo>
                        <a:pt x="42217" y="18415"/>
                        <a:pt x="68994" y="3539"/>
                        <a:pt x="95771" y="564"/>
                      </a:cubicBezTo>
                      <a:cubicBezTo>
                        <a:pt x="125523" y="-2412"/>
                        <a:pt x="152300" y="6514"/>
                        <a:pt x="176101" y="24365"/>
                      </a:cubicBezTo>
                      <a:cubicBezTo>
                        <a:pt x="199903" y="42217"/>
                        <a:pt x="211804" y="68993"/>
                        <a:pt x="214779" y="95770"/>
                      </a:cubicBezTo>
                      <a:cubicBezTo>
                        <a:pt x="220729" y="155275"/>
                        <a:pt x="176101" y="208828"/>
                        <a:pt x="119572" y="214779"/>
                      </a:cubicBezTo>
                      <a:cubicBezTo>
                        <a:pt x="113622" y="214779"/>
                        <a:pt x="110647" y="214779"/>
                        <a:pt x="107671" y="214779"/>
                      </a:cubicBezTo>
                      <a:close/>
                      <a:moveTo>
                        <a:pt x="30316" y="45192"/>
                      </a:moveTo>
                      <a:cubicBezTo>
                        <a:pt x="15440" y="66018"/>
                        <a:pt x="6515" y="89820"/>
                        <a:pt x="9490" y="116597"/>
                      </a:cubicBezTo>
                      <a:cubicBezTo>
                        <a:pt x="12464" y="143373"/>
                        <a:pt x="24366" y="164200"/>
                        <a:pt x="45192" y="182051"/>
                      </a:cubicBezTo>
                      <a:cubicBezTo>
                        <a:pt x="60068" y="193952"/>
                        <a:pt x="80895" y="202878"/>
                        <a:pt x="98746" y="202878"/>
                      </a:cubicBezTo>
                      <a:cubicBezTo>
                        <a:pt x="104696" y="202878"/>
                        <a:pt x="110647" y="202878"/>
                        <a:pt x="113622" y="202878"/>
                      </a:cubicBezTo>
                      <a:cubicBezTo>
                        <a:pt x="167176" y="196927"/>
                        <a:pt x="205853" y="149324"/>
                        <a:pt x="199903" y="95770"/>
                      </a:cubicBezTo>
                      <a:cubicBezTo>
                        <a:pt x="196928" y="68993"/>
                        <a:pt x="185027" y="48167"/>
                        <a:pt x="164200" y="30316"/>
                      </a:cubicBezTo>
                      <a:cubicBezTo>
                        <a:pt x="143374" y="15440"/>
                        <a:pt x="119572" y="6514"/>
                        <a:pt x="92795" y="9489"/>
                      </a:cubicBezTo>
                      <a:cubicBezTo>
                        <a:pt x="71969" y="12465"/>
                        <a:pt x="48167" y="24365"/>
                        <a:pt x="30316" y="45192"/>
                      </a:cubicBezTo>
                      <a:lnTo>
                        <a:pt x="30316" y="45192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EA6C1997-FBCC-4AA6-ADFB-CC3F4E5DB94E}"/>
                  </a:ext>
                </a:extLst>
              </p:cNvPr>
              <p:cNvSpPr/>
              <p:nvPr/>
            </p:nvSpPr>
            <p:spPr>
              <a:xfrm>
                <a:off x="15681513" y="7846988"/>
                <a:ext cx="511735" cy="53553"/>
              </a:xfrm>
              <a:custGeom>
                <a:avLst/>
                <a:gdLst>
                  <a:gd name="connsiteX0" fmla="*/ 288595 w 511735"/>
                  <a:gd name="connsiteY0" fmla="*/ 53553 h 53553"/>
                  <a:gd name="connsiteX1" fmla="*/ 0 w 511735"/>
                  <a:gd name="connsiteY1" fmla="*/ 8925 h 53553"/>
                  <a:gd name="connsiteX2" fmla="*/ 5951 w 511735"/>
                  <a:gd name="connsiteY2" fmla="*/ 0 h 53553"/>
                  <a:gd name="connsiteX3" fmla="*/ 508761 w 511735"/>
                  <a:gd name="connsiteY3" fmla="*/ 29752 h 53553"/>
                  <a:gd name="connsiteX4" fmla="*/ 511736 w 511735"/>
                  <a:gd name="connsiteY4" fmla="*/ 41653 h 53553"/>
                  <a:gd name="connsiteX5" fmla="*/ 288595 w 511735"/>
                  <a:gd name="connsiteY5" fmla="*/ 53553 h 53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1735" h="53553">
                    <a:moveTo>
                      <a:pt x="288595" y="53553"/>
                    </a:moveTo>
                    <a:cubicBezTo>
                      <a:pt x="190413" y="53553"/>
                      <a:pt x="77356" y="44628"/>
                      <a:pt x="0" y="8925"/>
                    </a:cubicBezTo>
                    <a:lnTo>
                      <a:pt x="5951" y="0"/>
                    </a:lnTo>
                    <a:cubicBezTo>
                      <a:pt x="172563" y="77355"/>
                      <a:pt x="505785" y="29752"/>
                      <a:pt x="508761" y="29752"/>
                    </a:cubicBezTo>
                    <a:lnTo>
                      <a:pt x="511736" y="41653"/>
                    </a:lnTo>
                    <a:cubicBezTo>
                      <a:pt x="508761" y="38677"/>
                      <a:pt x="407604" y="53553"/>
                      <a:pt x="288595" y="53553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49ADFD2C-C51E-4D0E-8015-4BF411B529D8}"/>
                  </a:ext>
                </a:extLst>
              </p:cNvPr>
              <p:cNvSpPr/>
              <p:nvPr/>
            </p:nvSpPr>
            <p:spPr>
              <a:xfrm>
                <a:off x="15677306" y="7820210"/>
                <a:ext cx="531010" cy="145785"/>
              </a:xfrm>
              <a:custGeom>
                <a:avLst/>
                <a:gdLst>
                  <a:gd name="connsiteX0" fmla="*/ 304704 w 531010"/>
                  <a:gd name="connsiteY0" fmla="*/ 145785 h 145785"/>
                  <a:gd name="connsiteX1" fmla="*/ 4207 w 531010"/>
                  <a:gd name="connsiteY1" fmla="*/ 104132 h 145785"/>
                  <a:gd name="connsiteX2" fmla="*/ 1232 w 531010"/>
                  <a:gd name="connsiteY2" fmla="*/ 98182 h 145785"/>
                  <a:gd name="connsiteX3" fmla="*/ 7183 w 531010"/>
                  <a:gd name="connsiteY3" fmla="*/ 95207 h 145785"/>
                  <a:gd name="connsiteX4" fmla="*/ 521893 w 531010"/>
                  <a:gd name="connsiteY4" fmla="*/ 113058 h 145785"/>
                  <a:gd name="connsiteX5" fmla="*/ 492141 w 531010"/>
                  <a:gd name="connsiteY5" fmla="*/ 5950 h 145785"/>
                  <a:gd name="connsiteX6" fmla="*/ 495117 w 531010"/>
                  <a:gd name="connsiteY6" fmla="*/ 0 h 145785"/>
                  <a:gd name="connsiteX7" fmla="*/ 501067 w 531010"/>
                  <a:gd name="connsiteY7" fmla="*/ 2975 h 145785"/>
                  <a:gd name="connsiteX8" fmla="*/ 530819 w 531010"/>
                  <a:gd name="connsiteY8" fmla="*/ 119008 h 145785"/>
                  <a:gd name="connsiteX9" fmla="*/ 530819 w 531010"/>
                  <a:gd name="connsiteY9" fmla="*/ 121984 h 145785"/>
                  <a:gd name="connsiteX10" fmla="*/ 527844 w 531010"/>
                  <a:gd name="connsiteY10" fmla="*/ 121984 h 145785"/>
                  <a:gd name="connsiteX11" fmla="*/ 304704 w 531010"/>
                  <a:gd name="connsiteY11" fmla="*/ 145785 h 145785"/>
                  <a:gd name="connsiteX12" fmla="*/ 524869 w 531010"/>
                  <a:gd name="connsiteY12" fmla="*/ 116033 h 145785"/>
                  <a:gd name="connsiteX13" fmla="*/ 524869 w 531010"/>
                  <a:gd name="connsiteY13" fmla="*/ 116033 h 145785"/>
                  <a:gd name="connsiteX14" fmla="*/ 524869 w 531010"/>
                  <a:gd name="connsiteY14" fmla="*/ 116033 h 145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31010" h="145785">
                    <a:moveTo>
                      <a:pt x="304704" y="145785"/>
                    </a:moveTo>
                    <a:cubicBezTo>
                      <a:pt x="218423" y="145785"/>
                      <a:pt x="114290" y="136860"/>
                      <a:pt x="4207" y="104132"/>
                    </a:cubicBezTo>
                    <a:cubicBezTo>
                      <a:pt x="1232" y="104132"/>
                      <a:pt x="-1742" y="101157"/>
                      <a:pt x="1232" y="98182"/>
                    </a:cubicBezTo>
                    <a:cubicBezTo>
                      <a:pt x="1232" y="95207"/>
                      <a:pt x="4207" y="92232"/>
                      <a:pt x="7183" y="95207"/>
                    </a:cubicBezTo>
                    <a:cubicBezTo>
                      <a:pt x="271976" y="172562"/>
                      <a:pt x="489167" y="121984"/>
                      <a:pt x="521893" y="113058"/>
                    </a:cubicBezTo>
                    <a:cubicBezTo>
                      <a:pt x="521893" y="77356"/>
                      <a:pt x="492141" y="5950"/>
                      <a:pt x="492141" y="5950"/>
                    </a:cubicBezTo>
                    <a:cubicBezTo>
                      <a:pt x="492141" y="2975"/>
                      <a:pt x="492141" y="0"/>
                      <a:pt x="495117" y="0"/>
                    </a:cubicBezTo>
                    <a:cubicBezTo>
                      <a:pt x="498092" y="0"/>
                      <a:pt x="501067" y="0"/>
                      <a:pt x="501067" y="2975"/>
                    </a:cubicBezTo>
                    <a:cubicBezTo>
                      <a:pt x="501067" y="5950"/>
                      <a:pt x="533795" y="83306"/>
                      <a:pt x="530819" y="119008"/>
                    </a:cubicBezTo>
                    <a:lnTo>
                      <a:pt x="530819" y="121984"/>
                    </a:lnTo>
                    <a:lnTo>
                      <a:pt x="527844" y="121984"/>
                    </a:lnTo>
                    <a:cubicBezTo>
                      <a:pt x="524869" y="121984"/>
                      <a:pt x="438588" y="145785"/>
                      <a:pt x="304704" y="145785"/>
                    </a:cubicBezTo>
                    <a:close/>
                    <a:moveTo>
                      <a:pt x="524869" y="116033"/>
                    </a:moveTo>
                    <a:lnTo>
                      <a:pt x="524869" y="116033"/>
                    </a:lnTo>
                    <a:lnTo>
                      <a:pt x="524869" y="116033"/>
                    </a:lnTo>
                    <a:close/>
                  </a:path>
                </a:pathLst>
              </a:custGeom>
              <a:solidFill>
                <a:srgbClr val="38343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5999205E-755A-42D3-802C-4D5F2DEBBB60}"/>
                </a:ext>
              </a:extLst>
            </p:cNvPr>
            <p:cNvSpPr/>
            <p:nvPr/>
          </p:nvSpPr>
          <p:spPr>
            <a:xfrm>
              <a:off x="15746964" y="8453930"/>
              <a:ext cx="151740" cy="1526280"/>
            </a:xfrm>
            <a:custGeom>
              <a:avLst/>
              <a:gdLst>
                <a:gd name="connsiteX0" fmla="*/ 5954 w 151740"/>
                <a:gd name="connsiteY0" fmla="*/ 1526281 h 1526280"/>
                <a:gd name="connsiteX1" fmla="*/ 5 w 151740"/>
                <a:gd name="connsiteY1" fmla="*/ 1520331 h 1526280"/>
                <a:gd name="connsiteX2" fmla="*/ 142814 w 151740"/>
                <a:gd name="connsiteY2" fmla="*/ 2975 h 1526280"/>
                <a:gd name="connsiteX3" fmla="*/ 148765 w 151740"/>
                <a:gd name="connsiteY3" fmla="*/ 0 h 1526280"/>
                <a:gd name="connsiteX4" fmla="*/ 151740 w 151740"/>
                <a:gd name="connsiteY4" fmla="*/ 5950 h 1526280"/>
                <a:gd name="connsiteX5" fmla="*/ 8930 w 151740"/>
                <a:gd name="connsiteY5" fmla="*/ 1520331 h 1526280"/>
                <a:gd name="connsiteX6" fmla="*/ 5954 w 151740"/>
                <a:gd name="connsiteY6" fmla="*/ 1526281 h 1526280"/>
                <a:gd name="connsiteX7" fmla="*/ 5954 w 151740"/>
                <a:gd name="connsiteY7" fmla="*/ 1526281 h 1526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740" h="1526280">
                  <a:moveTo>
                    <a:pt x="5954" y="1526281"/>
                  </a:moveTo>
                  <a:cubicBezTo>
                    <a:pt x="2980" y="1526281"/>
                    <a:pt x="5" y="1523306"/>
                    <a:pt x="5" y="1520331"/>
                  </a:cubicBezTo>
                  <a:cubicBezTo>
                    <a:pt x="5" y="1508430"/>
                    <a:pt x="-2971" y="434380"/>
                    <a:pt x="142814" y="2975"/>
                  </a:cubicBezTo>
                  <a:cubicBezTo>
                    <a:pt x="142814" y="0"/>
                    <a:pt x="145790" y="0"/>
                    <a:pt x="148765" y="0"/>
                  </a:cubicBezTo>
                  <a:cubicBezTo>
                    <a:pt x="151740" y="0"/>
                    <a:pt x="151740" y="2975"/>
                    <a:pt x="151740" y="5950"/>
                  </a:cubicBezTo>
                  <a:cubicBezTo>
                    <a:pt x="8930" y="437355"/>
                    <a:pt x="8930" y="1511405"/>
                    <a:pt x="8930" y="1520331"/>
                  </a:cubicBezTo>
                  <a:cubicBezTo>
                    <a:pt x="11905" y="1523306"/>
                    <a:pt x="8930" y="1526281"/>
                    <a:pt x="5954" y="1526281"/>
                  </a:cubicBezTo>
                  <a:lnTo>
                    <a:pt x="5954" y="1526281"/>
                  </a:ln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DD085702-59D5-49D8-8C7E-5D1020AF9C1D}"/>
                </a:ext>
              </a:extLst>
            </p:cNvPr>
            <p:cNvSpPr/>
            <p:nvPr/>
          </p:nvSpPr>
          <p:spPr>
            <a:xfrm>
              <a:off x="15755773" y="8376471"/>
              <a:ext cx="392268" cy="128780"/>
            </a:xfrm>
            <a:custGeom>
              <a:avLst/>
              <a:gdLst>
                <a:gd name="connsiteX0" fmla="*/ 9047 w 392268"/>
                <a:gd name="connsiteY0" fmla="*/ 95310 h 128780"/>
                <a:gd name="connsiteX1" fmla="*/ 380948 w 392268"/>
                <a:gd name="connsiteY1" fmla="*/ 95310 h 128780"/>
                <a:gd name="connsiteX2" fmla="*/ 389873 w 392268"/>
                <a:gd name="connsiteY2" fmla="*/ 74483 h 128780"/>
                <a:gd name="connsiteX3" fmla="*/ 345245 w 392268"/>
                <a:gd name="connsiteY3" fmla="*/ 103 h 128780"/>
                <a:gd name="connsiteX4" fmla="*/ 35823 w 392268"/>
                <a:gd name="connsiteY4" fmla="*/ 3078 h 128780"/>
                <a:gd name="connsiteX5" fmla="*/ 23923 w 392268"/>
                <a:gd name="connsiteY5" fmla="*/ 9028 h 128780"/>
                <a:gd name="connsiteX6" fmla="*/ 3096 w 392268"/>
                <a:gd name="connsiteY6" fmla="*/ 74483 h 128780"/>
                <a:gd name="connsiteX7" fmla="*/ 9047 w 392268"/>
                <a:gd name="connsiteY7" fmla="*/ 95310 h 128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2268" h="128780">
                  <a:moveTo>
                    <a:pt x="9047" y="95310"/>
                  </a:moveTo>
                  <a:cubicBezTo>
                    <a:pt x="131029" y="139938"/>
                    <a:pt x="258964" y="139938"/>
                    <a:pt x="380948" y="95310"/>
                  </a:cubicBezTo>
                  <a:cubicBezTo>
                    <a:pt x="389873" y="92334"/>
                    <a:pt x="395824" y="83409"/>
                    <a:pt x="389873" y="74483"/>
                  </a:cubicBezTo>
                  <a:cubicBezTo>
                    <a:pt x="380948" y="59607"/>
                    <a:pt x="357145" y="-2872"/>
                    <a:pt x="345245" y="103"/>
                  </a:cubicBezTo>
                  <a:cubicBezTo>
                    <a:pt x="241112" y="29855"/>
                    <a:pt x="139956" y="17954"/>
                    <a:pt x="35823" y="3078"/>
                  </a:cubicBezTo>
                  <a:cubicBezTo>
                    <a:pt x="29873" y="3078"/>
                    <a:pt x="23923" y="6054"/>
                    <a:pt x="23923" y="9028"/>
                  </a:cubicBezTo>
                  <a:cubicBezTo>
                    <a:pt x="12021" y="29855"/>
                    <a:pt x="6071" y="50682"/>
                    <a:pt x="3096" y="74483"/>
                  </a:cubicBezTo>
                  <a:cubicBezTo>
                    <a:pt x="-2855" y="86384"/>
                    <a:pt x="121" y="92334"/>
                    <a:pt x="9047" y="95310"/>
                  </a:cubicBez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C2807349-1576-4737-8364-3786B31CBFE6}"/>
                </a:ext>
              </a:extLst>
            </p:cNvPr>
            <p:cNvSpPr/>
            <p:nvPr/>
          </p:nvSpPr>
          <p:spPr>
            <a:xfrm>
              <a:off x="14506271" y="9340898"/>
              <a:ext cx="75367" cy="230525"/>
            </a:xfrm>
            <a:custGeom>
              <a:avLst/>
              <a:gdLst>
                <a:gd name="connsiteX0" fmla="*/ 8962 w 75367"/>
                <a:gd name="connsiteY0" fmla="*/ 20470 h 230525"/>
                <a:gd name="connsiteX1" fmla="*/ 65490 w 75367"/>
                <a:gd name="connsiteY1" fmla="*/ 35346 h 230525"/>
                <a:gd name="connsiteX2" fmla="*/ 74416 w 75367"/>
                <a:gd name="connsiteY2" fmla="*/ 193031 h 230525"/>
                <a:gd name="connsiteX3" fmla="*/ 17887 w 75367"/>
                <a:gd name="connsiteY3" fmla="*/ 207907 h 230525"/>
                <a:gd name="connsiteX4" fmla="*/ 8962 w 75367"/>
                <a:gd name="connsiteY4" fmla="*/ 20470 h 23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367" h="230525">
                  <a:moveTo>
                    <a:pt x="8962" y="20470"/>
                  </a:moveTo>
                  <a:cubicBezTo>
                    <a:pt x="20862" y="-15233"/>
                    <a:pt x="77391" y="-357"/>
                    <a:pt x="65490" y="35346"/>
                  </a:cubicBezTo>
                  <a:cubicBezTo>
                    <a:pt x="50614" y="88899"/>
                    <a:pt x="62515" y="142453"/>
                    <a:pt x="74416" y="193031"/>
                  </a:cubicBezTo>
                  <a:cubicBezTo>
                    <a:pt x="83342" y="231710"/>
                    <a:pt x="26812" y="246586"/>
                    <a:pt x="17887" y="207907"/>
                  </a:cubicBezTo>
                  <a:cubicBezTo>
                    <a:pt x="3011" y="148403"/>
                    <a:pt x="-8890" y="82949"/>
                    <a:pt x="8962" y="20470"/>
                  </a:cubicBez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4A8871E9-FF28-4CDE-A2CD-B0F5EDC30449}"/>
                </a:ext>
              </a:extLst>
            </p:cNvPr>
            <p:cNvSpPr/>
            <p:nvPr/>
          </p:nvSpPr>
          <p:spPr>
            <a:xfrm>
              <a:off x="14940157" y="12107483"/>
              <a:ext cx="2752595" cy="354050"/>
            </a:xfrm>
            <a:custGeom>
              <a:avLst/>
              <a:gdLst>
                <a:gd name="connsiteX0" fmla="*/ 744331 w 2752595"/>
                <a:gd name="connsiteY0" fmla="*/ 354050 h 354050"/>
                <a:gd name="connsiteX1" fmla="*/ 2752596 w 2752595"/>
                <a:gd name="connsiteY1" fmla="*/ 354050 h 354050"/>
                <a:gd name="connsiteX2" fmla="*/ 2752596 w 2752595"/>
                <a:gd name="connsiteY2" fmla="*/ 294546 h 354050"/>
                <a:gd name="connsiteX3" fmla="*/ 744331 w 2752595"/>
                <a:gd name="connsiteY3" fmla="*/ 294546 h 354050"/>
                <a:gd name="connsiteX4" fmla="*/ 321852 w 2752595"/>
                <a:gd name="connsiteY4" fmla="*/ 199339 h 354050"/>
                <a:gd name="connsiteX5" fmla="*/ 6481 w 2752595"/>
                <a:gd name="connsiteY5" fmla="*/ 0 h 354050"/>
                <a:gd name="connsiteX6" fmla="*/ 6481 w 2752595"/>
                <a:gd name="connsiteY6" fmla="*/ 0 h 354050"/>
                <a:gd name="connsiteX7" fmla="*/ 30282 w 2752595"/>
                <a:gd name="connsiteY7" fmla="*/ 86282 h 354050"/>
                <a:gd name="connsiteX8" fmla="*/ 295075 w 2752595"/>
                <a:gd name="connsiteY8" fmla="*/ 252893 h 354050"/>
                <a:gd name="connsiteX9" fmla="*/ 744331 w 2752595"/>
                <a:gd name="connsiteY9" fmla="*/ 354050 h 3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52595" h="354050">
                  <a:moveTo>
                    <a:pt x="744331" y="354050"/>
                  </a:moveTo>
                  <a:lnTo>
                    <a:pt x="2752596" y="354050"/>
                  </a:lnTo>
                  <a:lnTo>
                    <a:pt x="2752596" y="294546"/>
                  </a:lnTo>
                  <a:lnTo>
                    <a:pt x="744331" y="294546"/>
                  </a:lnTo>
                  <a:cubicBezTo>
                    <a:pt x="598546" y="294546"/>
                    <a:pt x="449786" y="270744"/>
                    <a:pt x="321852" y="199339"/>
                  </a:cubicBezTo>
                  <a:cubicBezTo>
                    <a:pt x="241522" y="154711"/>
                    <a:pt x="6481" y="0"/>
                    <a:pt x="6481" y="0"/>
                  </a:cubicBezTo>
                  <a:lnTo>
                    <a:pt x="6481" y="0"/>
                  </a:lnTo>
                  <a:cubicBezTo>
                    <a:pt x="-8396" y="29752"/>
                    <a:pt x="3505" y="68430"/>
                    <a:pt x="30282" y="86282"/>
                  </a:cubicBezTo>
                  <a:cubicBezTo>
                    <a:pt x="30282" y="86282"/>
                    <a:pt x="226646" y="217191"/>
                    <a:pt x="295075" y="252893"/>
                  </a:cubicBezTo>
                  <a:cubicBezTo>
                    <a:pt x="431935" y="327273"/>
                    <a:pt x="592596" y="354050"/>
                    <a:pt x="744331" y="354050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8374C853-63CE-4002-B889-34FD429512C9}"/>
                </a:ext>
              </a:extLst>
            </p:cNvPr>
            <p:cNvGrpSpPr/>
            <p:nvPr/>
          </p:nvGrpSpPr>
          <p:grpSpPr>
            <a:xfrm>
              <a:off x="13342475" y="9223784"/>
              <a:ext cx="1140754" cy="2770641"/>
              <a:chOff x="13342475" y="9223784"/>
              <a:chExt cx="1140754" cy="2770641"/>
            </a:xfrm>
          </p:grpSpPr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EC143CA1-0E8E-4630-9EDA-8E6D0FB541FB}"/>
                  </a:ext>
                </a:extLst>
              </p:cNvPr>
              <p:cNvSpPr/>
              <p:nvPr/>
            </p:nvSpPr>
            <p:spPr>
              <a:xfrm>
                <a:off x="13450108" y="9334591"/>
                <a:ext cx="981818" cy="2659834"/>
              </a:xfrm>
              <a:custGeom>
                <a:avLst/>
                <a:gdLst>
                  <a:gd name="connsiteX0" fmla="*/ 0 w 981818"/>
                  <a:gd name="connsiteY0" fmla="*/ 2647934 h 2659834"/>
                  <a:gd name="connsiteX1" fmla="*/ 29752 w 981818"/>
                  <a:gd name="connsiteY1" fmla="*/ 2659835 h 2659834"/>
                  <a:gd name="connsiteX2" fmla="*/ 981818 w 981818"/>
                  <a:gd name="connsiteY2" fmla="*/ 20826 h 2659834"/>
                  <a:gd name="connsiteX3" fmla="*/ 925289 w 981818"/>
                  <a:gd name="connsiteY3" fmla="*/ 0 h 2659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1818" h="2659834">
                    <a:moveTo>
                      <a:pt x="0" y="2647934"/>
                    </a:moveTo>
                    <a:lnTo>
                      <a:pt x="29752" y="2659835"/>
                    </a:lnTo>
                    <a:lnTo>
                      <a:pt x="981818" y="20826"/>
                    </a:lnTo>
                    <a:lnTo>
                      <a:pt x="925289" y="0"/>
                    </a:lnTo>
                    <a:close/>
                  </a:path>
                </a:pathLst>
              </a:custGeom>
              <a:solidFill>
                <a:srgbClr val="F1DDB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DD97EF7D-3618-4636-ABE9-EC787B8B51D4}"/>
                  </a:ext>
                </a:extLst>
              </p:cNvPr>
              <p:cNvSpPr/>
              <p:nvPr/>
            </p:nvSpPr>
            <p:spPr>
              <a:xfrm>
                <a:off x="13342475" y="11552231"/>
                <a:ext cx="484373" cy="209016"/>
              </a:xfrm>
              <a:custGeom>
                <a:avLst/>
                <a:gdLst>
                  <a:gd name="connsiteX0" fmla="*/ 21353 w 484373"/>
                  <a:gd name="connsiteY0" fmla="*/ 58393 h 209016"/>
                  <a:gd name="connsiteX1" fmla="*/ 443833 w 484373"/>
                  <a:gd name="connsiteY1" fmla="*/ 207153 h 209016"/>
                  <a:gd name="connsiteX2" fmla="*/ 482510 w 484373"/>
                  <a:gd name="connsiteY2" fmla="*/ 189302 h 209016"/>
                  <a:gd name="connsiteX3" fmla="*/ 482510 w 484373"/>
                  <a:gd name="connsiteY3" fmla="*/ 189302 h 209016"/>
                  <a:gd name="connsiteX4" fmla="*/ 464658 w 484373"/>
                  <a:gd name="connsiteY4" fmla="*/ 150624 h 209016"/>
                  <a:gd name="connsiteX5" fmla="*/ 42180 w 484373"/>
                  <a:gd name="connsiteY5" fmla="*/ 1864 h 209016"/>
                  <a:gd name="connsiteX6" fmla="*/ 3501 w 484373"/>
                  <a:gd name="connsiteY6" fmla="*/ 19715 h 209016"/>
                  <a:gd name="connsiteX7" fmla="*/ 3501 w 484373"/>
                  <a:gd name="connsiteY7" fmla="*/ 19715 h 209016"/>
                  <a:gd name="connsiteX8" fmla="*/ 21353 w 484373"/>
                  <a:gd name="connsiteY8" fmla="*/ 58393 h 209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4373" h="209016">
                    <a:moveTo>
                      <a:pt x="21353" y="58393"/>
                    </a:moveTo>
                    <a:lnTo>
                      <a:pt x="443833" y="207153"/>
                    </a:lnTo>
                    <a:cubicBezTo>
                      <a:pt x="458709" y="213103"/>
                      <a:pt x="479534" y="204178"/>
                      <a:pt x="482510" y="189302"/>
                    </a:cubicBezTo>
                    <a:lnTo>
                      <a:pt x="482510" y="189302"/>
                    </a:lnTo>
                    <a:cubicBezTo>
                      <a:pt x="488461" y="174426"/>
                      <a:pt x="479534" y="153599"/>
                      <a:pt x="464658" y="150624"/>
                    </a:cubicBezTo>
                    <a:lnTo>
                      <a:pt x="42180" y="1864"/>
                    </a:lnTo>
                    <a:cubicBezTo>
                      <a:pt x="27304" y="-4087"/>
                      <a:pt x="6477" y="4839"/>
                      <a:pt x="3501" y="19715"/>
                    </a:cubicBezTo>
                    <a:lnTo>
                      <a:pt x="3501" y="19715"/>
                    </a:lnTo>
                    <a:cubicBezTo>
                      <a:pt x="-5424" y="34591"/>
                      <a:pt x="3501" y="52442"/>
                      <a:pt x="21353" y="58393"/>
                    </a:cubicBezTo>
                    <a:close/>
                  </a:path>
                </a:pathLst>
              </a:custGeom>
              <a:solidFill>
                <a:srgbClr val="F1DDB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C163DF80-50D9-42DF-ADFC-95129D1FD11C}"/>
                  </a:ext>
                </a:extLst>
              </p:cNvPr>
              <p:cNvSpPr/>
              <p:nvPr/>
            </p:nvSpPr>
            <p:spPr>
              <a:xfrm>
                <a:off x="14254084" y="9223784"/>
                <a:ext cx="229145" cy="426902"/>
              </a:xfrm>
              <a:custGeom>
                <a:avLst/>
                <a:gdLst>
                  <a:gd name="connsiteX0" fmla="*/ 40983 w 229145"/>
                  <a:gd name="connsiteY0" fmla="*/ 423203 h 426902"/>
                  <a:gd name="connsiteX1" fmla="*/ 40983 w 229145"/>
                  <a:gd name="connsiteY1" fmla="*/ 423203 h 426902"/>
                  <a:gd name="connsiteX2" fmla="*/ 118338 w 229145"/>
                  <a:gd name="connsiteY2" fmla="*/ 384525 h 426902"/>
                  <a:gd name="connsiteX3" fmla="*/ 225446 w 229145"/>
                  <a:gd name="connsiteY3" fmla="*/ 81055 h 426902"/>
                  <a:gd name="connsiteX4" fmla="*/ 186769 w 229145"/>
                  <a:gd name="connsiteY4" fmla="*/ 3699 h 426902"/>
                  <a:gd name="connsiteX5" fmla="*/ 186769 w 229145"/>
                  <a:gd name="connsiteY5" fmla="*/ 3699 h 426902"/>
                  <a:gd name="connsiteX6" fmla="*/ 109413 w 229145"/>
                  <a:gd name="connsiteY6" fmla="*/ 42377 h 426902"/>
                  <a:gd name="connsiteX7" fmla="*/ 2305 w 229145"/>
                  <a:gd name="connsiteY7" fmla="*/ 345848 h 426902"/>
                  <a:gd name="connsiteX8" fmla="*/ 40983 w 229145"/>
                  <a:gd name="connsiteY8" fmla="*/ 423203 h 426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9145" h="426902">
                    <a:moveTo>
                      <a:pt x="40983" y="423203"/>
                    </a:moveTo>
                    <a:lnTo>
                      <a:pt x="40983" y="423203"/>
                    </a:lnTo>
                    <a:cubicBezTo>
                      <a:pt x="73710" y="435104"/>
                      <a:pt x="109413" y="417253"/>
                      <a:pt x="118338" y="384525"/>
                    </a:cubicBezTo>
                    <a:lnTo>
                      <a:pt x="225446" y="81055"/>
                    </a:lnTo>
                    <a:cubicBezTo>
                      <a:pt x="237347" y="48327"/>
                      <a:pt x="219495" y="12625"/>
                      <a:pt x="186769" y="3699"/>
                    </a:cubicBezTo>
                    <a:lnTo>
                      <a:pt x="186769" y="3699"/>
                    </a:lnTo>
                    <a:cubicBezTo>
                      <a:pt x="154041" y="-8202"/>
                      <a:pt x="118338" y="9649"/>
                      <a:pt x="109413" y="42377"/>
                    </a:cubicBezTo>
                    <a:lnTo>
                      <a:pt x="2305" y="345848"/>
                    </a:lnTo>
                    <a:cubicBezTo>
                      <a:pt x="-6620" y="375600"/>
                      <a:pt x="11231" y="411303"/>
                      <a:pt x="40983" y="423203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4" name="图形 1">
              <a:extLst>
                <a:ext uri="{FF2B5EF4-FFF2-40B4-BE49-F238E27FC236}">
                  <a16:creationId xmlns:a16="http://schemas.microsoft.com/office/drawing/2014/main" id="{93DB0E14-9570-4ED7-A282-6B764161AF70}"/>
                </a:ext>
              </a:extLst>
            </p:cNvPr>
            <p:cNvGrpSpPr/>
            <p:nvPr/>
          </p:nvGrpSpPr>
          <p:grpSpPr>
            <a:xfrm>
              <a:off x="14235563" y="9381361"/>
              <a:ext cx="140578" cy="191246"/>
              <a:chOff x="14235563" y="9381361"/>
              <a:chExt cx="140578" cy="191246"/>
            </a:xfrm>
          </p:grpSpPr>
          <p:grpSp>
            <p:nvGrpSpPr>
              <p:cNvPr id="104" name="图形 1">
                <a:extLst>
                  <a:ext uri="{FF2B5EF4-FFF2-40B4-BE49-F238E27FC236}">
                    <a16:creationId xmlns:a16="http://schemas.microsoft.com/office/drawing/2014/main" id="{3C5517E4-C888-44FD-92B6-1A7ED7D8110D}"/>
                  </a:ext>
                </a:extLst>
              </p:cNvPr>
              <p:cNvGrpSpPr/>
              <p:nvPr/>
            </p:nvGrpSpPr>
            <p:grpSpPr>
              <a:xfrm>
                <a:off x="14235563" y="9381361"/>
                <a:ext cx="140578" cy="182320"/>
                <a:chOff x="14235563" y="9381361"/>
                <a:chExt cx="140578" cy="182320"/>
              </a:xfrm>
            </p:grpSpPr>
            <p:sp>
              <p:nvSpPr>
                <p:cNvPr id="106" name="任意多边形: 形状 105">
                  <a:extLst>
                    <a:ext uri="{FF2B5EF4-FFF2-40B4-BE49-F238E27FC236}">
                      <a16:creationId xmlns:a16="http://schemas.microsoft.com/office/drawing/2014/main" id="{652060AE-750E-4D13-AF61-6DBAB2054D6B}"/>
                    </a:ext>
                  </a:extLst>
                </p:cNvPr>
                <p:cNvSpPr/>
                <p:nvPr/>
              </p:nvSpPr>
              <p:spPr>
                <a:xfrm>
                  <a:off x="14258607" y="9381361"/>
                  <a:ext cx="117534" cy="73413"/>
                </a:xfrm>
                <a:custGeom>
                  <a:avLst/>
                  <a:gdLst>
                    <a:gd name="connsiteX0" fmla="*/ 110840 w 117534"/>
                    <a:gd name="connsiteY0" fmla="*/ 27610 h 73413"/>
                    <a:gd name="connsiteX1" fmla="*/ 39436 w 117534"/>
                    <a:gd name="connsiteY1" fmla="*/ 3808 h 73413"/>
                    <a:gd name="connsiteX2" fmla="*/ 27535 w 117534"/>
                    <a:gd name="connsiteY2" fmla="*/ 833 h 73413"/>
                    <a:gd name="connsiteX3" fmla="*/ 15634 w 117534"/>
                    <a:gd name="connsiteY3" fmla="*/ 3808 h 73413"/>
                    <a:gd name="connsiteX4" fmla="*/ 758 w 117534"/>
                    <a:gd name="connsiteY4" fmla="*/ 42486 h 73413"/>
                    <a:gd name="connsiteX5" fmla="*/ 30510 w 117534"/>
                    <a:gd name="connsiteY5" fmla="*/ 63312 h 73413"/>
                    <a:gd name="connsiteX6" fmla="*/ 78114 w 117534"/>
                    <a:gd name="connsiteY6" fmla="*/ 72238 h 73413"/>
                    <a:gd name="connsiteX7" fmla="*/ 110840 w 117534"/>
                    <a:gd name="connsiteY7" fmla="*/ 63312 h 73413"/>
                    <a:gd name="connsiteX8" fmla="*/ 110840 w 117534"/>
                    <a:gd name="connsiteY8" fmla="*/ 27610 h 73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7534" h="73413">
                      <a:moveTo>
                        <a:pt x="110840" y="27610"/>
                      </a:moveTo>
                      <a:cubicBezTo>
                        <a:pt x="92990" y="9758"/>
                        <a:pt x="66212" y="9758"/>
                        <a:pt x="39436" y="3808"/>
                      </a:cubicBezTo>
                      <a:cubicBezTo>
                        <a:pt x="36460" y="3808"/>
                        <a:pt x="30510" y="-2142"/>
                        <a:pt x="27535" y="833"/>
                      </a:cubicBezTo>
                      <a:cubicBezTo>
                        <a:pt x="24560" y="833"/>
                        <a:pt x="18610" y="833"/>
                        <a:pt x="15634" y="3808"/>
                      </a:cubicBezTo>
                      <a:cubicBezTo>
                        <a:pt x="3734" y="9758"/>
                        <a:pt x="-2217" y="24634"/>
                        <a:pt x="758" y="42486"/>
                      </a:cubicBezTo>
                      <a:cubicBezTo>
                        <a:pt x="3734" y="60337"/>
                        <a:pt x="21584" y="60337"/>
                        <a:pt x="30510" y="63312"/>
                      </a:cubicBezTo>
                      <a:cubicBezTo>
                        <a:pt x="45386" y="66287"/>
                        <a:pt x="60262" y="69263"/>
                        <a:pt x="78114" y="72238"/>
                      </a:cubicBezTo>
                      <a:cubicBezTo>
                        <a:pt x="87039" y="72238"/>
                        <a:pt x="101915" y="78188"/>
                        <a:pt x="110840" y="63312"/>
                      </a:cubicBezTo>
                      <a:cubicBezTo>
                        <a:pt x="119767" y="54387"/>
                        <a:pt x="119767" y="36535"/>
                        <a:pt x="110840" y="27610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7" name="任意多边形: 形状 106">
                  <a:extLst>
                    <a:ext uri="{FF2B5EF4-FFF2-40B4-BE49-F238E27FC236}">
                      <a16:creationId xmlns:a16="http://schemas.microsoft.com/office/drawing/2014/main" id="{5C9440C5-C409-41B6-BD30-6E061F12D20A}"/>
                    </a:ext>
                  </a:extLst>
                </p:cNvPr>
                <p:cNvSpPr/>
                <p:nvPr/>
              </p:nvSpPr>
              <p:spPr>
                <a:xfrm>
                  <a:off x="14240755" y="9426822"/>
                  <a:ext cx="116474" cy="72579"/>
                </a:xfrm>
                <a:custGeom>
                  <a:avLst/>
                  <a:gdLst>
                    <a:gd name="connsiteX0" fmla="*/ 110841 w 116474"/>
                    <a:gd name="connsiteY0" fmla="*/ 26777 h 72579"/>
                    <a:gd name="connsiteX1" fmla="*/ 33486 w 116474"/>
                    <a:gd name="connsiteY1" fmla="*/ 0 h 72579"/>
                    <a:gd name="connsiteX2" fmla="*/ 27535 w 116474"/>
                    <a:gd name="connsiteY2" fmla="*/ 0 h 72579"/>
                    <a:gd name="connsiteX3" fmla="*/ 15634 w 116474"/>
                    <a:gd name="connsiteY3" fmla="*/ 2974 h 72579"/>
                    <a:gd name="connsiteX4" fmla="*/ 758 w 116474"/>
                    <a:gd name="connsiteY4" fmla="*/ 41653 h 72579"/>
                    <a:gd name="connsiteX5" fmla="*/ 30510 w 116474"/>
                    <a:gd name="connsiteY5" fmla="*/ 62479 h 72579"/>
                    <a:gd name="connsiteX6" fmla="*/ 78114 w 116474"/>
                    <a:gd name="connsiteY6" fmla="*/ 71405 h 72579"/>
                    <a:gd name="connsiteX7" fmla="*/ 110841 w 116474"/>
                    <a:gd name="connsiteY7" fmla="*/ 62479 h 72579"/>
                    <a:gd name="connsiteX8" fmla="*/ 110841 w 116474"/>
                    <a:gd name="connsiteY8" fmla="*/ 26777 h 725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6474" h="72579">
                      <a:moveTo>
                        <a:pt x="110841" y="26777"/>
                      </a:moveTo>
                      <a:cubicBezTo>
                        <a:pt x="90014" y="-2975"/>
                        <a:pt x="60262" y="5950"/>
                        <a:pt x="33486" y="0"/>
                      </a:cubicBezTo>
                      <a:cubicBezTo>
                        <a:pt x="30510" y="0"/>
                        <a:pt x="30510" y="0"/>
                        <a:pt x="27535" y="0"/>
                      </a:cubicBezTo>
                      <a:cubicBezTo>
                        <a:pt x="24560" y="0"/>
                        <a:pt x="18610" y="0"/>
                        <a:pt x="15634" y="2974"/>
                      </a:cubicBezTo>
                      <a:cubicBezTo>
                        <a:pt x="3734" y="8925"/>
                        <a:pt x="-2217" y="23801"/>
                        <a:pt x="758" y="41653"/>
                      </a:cubicBezTo>
                      <a:cubicBezTo>
                        <a:pt x="3734" y="59504"/>
                        <a:pt x="21585" y="59504"/>
                        <a:pt x="30510" y="62479"/>
                      </a:cubicBezTo>
                      <a:cubicBezTo>
                        <a:pt x="45386" y="65454"/>
                        <a:pt x="60262" y="68429"/>
                        <a:pt x="78114" y="71405"/>
                      </a:cubicBezTo>
                      <a:cubicBezTo>
                        <a:pt x="87039" y="71405"/>
                        <a:pt x="101915" y="77355"/>
                        <a:pt x="110841" y="62479"/>
                      </a:cubicBezTo>
                      <a:cubicBezTo>
                        <a:pt x="119767" y="50578"/>
                        <a:pt x="116791" y="35702"/>
                        <a:pt x="110841" y="26777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8" name="任意多边形: 形状 107">
                  <a:extLst>
                    <a:ext uri="{FF2B5EF4-FFF2-40B4-BE49-F238E27FC236}">
                      <a16:creationId xmlns:a16="http://schemas.microsoft.com/office/drawing/2014/main" id="{A8E7CB34-D2F0-440E-A1F9-3BD154C4F306}"/>
                    </a:ext>
                  </a:extLst>
                </p:cNvPr>
                <p:cNvSpPr/>
                <p:nvPr/>
              </p:nvSpPr>
              <p:spPr>
                <a:xfrm>
                  <a:off x="14246690" y="9468475"/>
                  <a:ext cx="100122" cy="66941"/>
                </a:xfrm>
                <a:custGeom>
                  <a:avLst/>
                  <a:gdLst>
                    <a:gd name="connsiteX0" fmla="*/ 93005 w 100122"/>
                    <a:gd name="connsiteY0" fmla="*/ 26777 h 66941"/>
                    <a:gd name="connsiteX1" fmla="*/ 27551 w 100122"/>
                    <a:gd name="connsiteY1" fmla="*/ 0 h 66941"/>
                    <a:gd name="connsiteX2" fmla="*/ 21600 w 100122"/>
                    <a:gd name="connsiteY2" fmla="*/ 0 h 66941"/>
                    <a:gd name="connsiteX3" fmla="*/ 12675 w 100122"/>
                    <a:gd name="connsiteY3" fmla="*/ 2975 h 66941"/>
                    <a:gd name="connsiteX4" fmla="*/ 774 w 100122"/>
                    <a:gd name="connsiteY4" fmla="*/ 35702 h 66941"/>
                    <a:gd name="connsiteX5" fmla="*/ 27551 w 100122"/>
                    <a:gd name="connsiteY5" fmla="*/ 56529 h 66941"/>
                    <a:gd name="connsiteX6" fmla="*/ 69203 w 100122"/>
                    <a:gd name="connsiteY6" fmla="*/ 65454 h 66941"/>
                    <a:gd name="connsiteX7" fmla="*/ 98956 w 100122"/>
                    <a:gd name="connsiteY7" fmla="*/ 59504 h 66941"/>
                    <a:gd name="connsiteX8" fmla="*/ 93005 w 100122"/>
                    <a:gd name="connsiteY8" fmla="*/ 26777 h 66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122" h="66941">
                      <a:moveTo>
                        <a:pt x="93005" y="26777"/>
                      </a:moveTo>
                      <a:cubicBezTo>
                        <a:pt x="75154" y="0"/>
                        <a:pt x="48377" y="5950"/>
                        <a:pt x="27551" y="0"/>
                      </a:cubicBezTo>
                      <a:cubicBezTo>
                        <a:pt x="24575" y="0"/>
                        <a:pt x="24575" y="0"/>
                        <a:pt x="21600" y="0"/>
                      </a:cubicBezTo>
                      <a:cubicBezTo>
                        <a:pt x="18625" y="0"/>
                        <a:pt x="15650" y="0"/>
                        <a:pt x="12675" y="2975"/>
                      </a:cubicBezTo>
                      <a:cubicBezTo>
                        <a:pt x="3749" y="8925"/>
                        <a:pt x="-2201" y="20826"/>
                        <a:pt x="774" y="35702"/>
                      </a:cubicBezTo>
                      <a:cubicBezTo>
                        <a:pt x="3749" y="50578"/>
                        <a:pt x="18625" y="53553"/>
                        <a:pt x="27551" y="56529"/>
                      </a:cubicBezTo>
                      <a:cubicBezTo>
                        <a:pt x="39451" y="59504"/>
                        <a:pt x="54327" y="62480"/>
                        <a:pt x="69203" y="65454"/>
                      </a:cubicBezTo>
                      <a:cubicBezTo>
                        <a:pt x="78129" y="65454"/>
                        <a:pt x="90030" y="71405"/>
                        <a:pt x="98956" y="59504"/>
                      </a:cubicBezTo>
                      <a:cubicBezTo>
                        <a:pt x="101931" y="50578"/>
                        <a:pt x="98956" y="35702"/>
                        <a:pt x="93005" y="26777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9" name="任意多边形: 形状 108">
                  <a:extLst>
                    <a:ext uri="{FF2B5EF4-FFF2-40B4-BE49-F238E27FC236}">
                      <a16:creationId xmlns:a16="http://schemas.microsoft.com/office/drawing/2014/main" id="{319520D7-C786-4C4B-92EF-3011E442B268}"/>
                    </a:ext>
                  </a:extLst>
                </p:cNvPr>
                <p:cNvSpPr/>
                <p:nvPr/>
              </p:nvSpPr>
              <p:spPr>
                <a:xfrm>
                  <a:off x="14249969" y="9516079"/>
                  <a:ext cx="87983" cy="47602"/>
                </a:xfrm>
                <a:custGeom>
                  <a:avLst/>
                  <a:gdLst>
                    <a:gd name="connsiteX0" fmla="*/ 86751 w 87983"/>
                    <a:gd name="connsiteY0" fmla="*/ 14876 h 47602"/>
                    <a:gd name="connsiteX1" fmla="*/ 27247 w 87983"/>
                    <a:gd name="connsiteY1" fmla="*/ 0 h 47602"/>
                    <a:gd name="connsiteX2" fmla="*/ 24272 w 87983"/>
                    <a:gd name="connsiteY2" fmla="*/ 0 h 47602"/>
                    <a:gd name="connsiteX3" fmla="*/ 15345 w 87983"/>
                    <a:gd name="connsiteY3" fmla="*/ 0 h 47602"/>
                    <a:gd name="connsiteX4" fmla="*/ 469 w 87983"/>
                    <a:gd name="connsiteY4" fmla="*/ 29752 h 47602"/>
                    <a:gd name="connsiteX5" fmla="*/ 27247 w 87983"/>
                    <a:gd name="connsiteY5" fmla="*/ 44628 h 47602"/>
                    <a:gd name="connsiteX6" fmla="*/ 59974 w 87983"/>
                    <a:gd name="connsiteY6" fmla="*/ 47603 h 47602"/>
                    <a:gd name="connsiteX7" fmla="*/ 83776 w 87983"/>
                    <a:gd name="connsiteY7" fmla="*/ 38677 h 47602"/>
                    <a:gd name="connsiteX8" fmla="*/ 86751 w 87983"/>
                    <a:gd name="connsiteY8" fmla="*/ 14876 h 47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7983" h="47602">
                      <a:moveTo>
                        <a:pt x="86751" y="14876"/>
                      </a:moveTo>
                      <a:cubicBezTo>
                        <a:pt x="74850" y="-2975"/>
                        <a:pt x="42123" y="5950"/>
                        <a:pt x="27247" y="0"/>
                      </a:cubicBezTo>
                      <a:cubicBezTo>
                        <a:pt x="27247" y="0"/>
                        <a:pt x="24272" y="0"/>
                        <a:pt x="24272" y="0"/>
                      </a:cubicBezTo>
                      <a:cubicBezTo>
                        <a:pt x="21296" y="0"/>
                        <a:pt x="18321" y="0"/>
                        <a:pt x="15345" y="0"/>
                      </a:cubicBezTo>
                      <a:cubicBezTo>
                        <a:pt x="9396" y="2974"/>
                        <a:pt x="-2505" y="17851"/>
                        <a:pt x="469" y="29752"/>
                      </a:cubicBezTo>
                      <a:cubicBezTo>
                        <a:pt x="3445" y="41653"/>
                        <a:pt x="21296" y="44628"/>
                        <a:pt x="27247" y="44628"/>
                      </a:cubicBezTo>
                      <a:cubicBezTo>
                        <a:pt x="36172" y="47603"/>
                        <a:pt x="51048" y="47603"/>
                        <a:pt x="59974" y="47603"/>
                      </a:cubicBezTo>
                      <a:cubicBezTo>
                        <a:pt x="65924" y="47603"/>
                        <a:pt x="77825" y="47603"/>
                        <a:pt x="83776" y="38677"/>
                      </a:cubicBezTo>
                      <a:cubicBezTo>
                        <a:pt x="86751" y="35702"/>
                        <a:pt x="89726" y="20826"/>
                        <a:pt x="86751" y="14876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" name="任意多边形: 形状 109">
                  <a:extLst>
                    <a:ext uri="{FF2B5EF4-FFF2-40B4-BE49-F238E27FC236}">
                      <a16:creationId xmlns:a16="http://schemas.microsoft.com/office/drawing/2014/main" id="{39A1CFAC-A2BA-4A70-9BA4-EE6D7F717173}"/>
                    </a:ext>
                  </a:extLst>
                </p:cNvPr>
                <p:cNvSpPr/>
                <p:nvPr/>
              </p:nvSpPr>
              <p:spPr>
                <a:xfrm>
                  <a:off x="14235563" y="9382225"/>
                  <a:ext cx="132141" cy="116002"/>
                </a:xfrm>
                <a:custGeom>
                  <a:avLst/>
                  <a:gdLst>
                    <a:gd name="connsiteX0" fmla="*/ 89256 w 132141"/>
                    <a:gd name="connsiteY0" fmla="*/ 116003 h 116002"/>
                    <a:gd name="connsiteX1" fmla="*/ 47603 w 132141"/>
                    <a:gd name="connsiteY1" fmla="*/ 110052 h 116002"/>
                    <a:gd name="connsiteX2" fmla="*/ 0 w 132141"/>
                    <a:gd name="connsiteY2" fmla="*/ 71374 h 116002"/>
                    <a:gd name="connsiteX3" fmla="*/ 20827 w 132141"/>
                    <a:gd name="connsiteY3" fmla="*/ 35672 h 116002"/>
                    <a:gd name="connsiteX4" fmla="*/ 20827 w 132141"/>
                    <a:gd name="connsiteY4" fmla="*/ 23771 h 116002"/>
                    <a:gd name="connsiteX5" fmla="*/ 29752 w 132141"/>
                    <a:gd name="connsiteY5" fmla="*/ 5919 h 116002"/>
                    <a:gd name="connsiteX6" fmla="*/ 110083 w 132141"/>
                    <a:gd name="connsiteY6" fmla="*/ 8895 h 116002"/>
                    <a:gd name="connsiteX7" fmla="*/ 113058 w 132141"/>
                    <a:gd name="connsiteY7" fmla="*/ 14846 h 116002"/>
                    <a:gd name="connsiteX8" fmla="*/ 107108 w 132141"/>
                    <a:gd name="connsiteY8" fmla="*/ 17820 h 116002"/>
                    <a:gd name="connsiteX9" fmla="*/ 38678 w 132141"/>
                    <a:gd name="connsiteY9" fmla="*/ 11870 h 116002"/>
                    <a:gd name="connsiteX10" fmla="*/ 32727 w 132141"/>
                    <a:gd name="connsiteY10" fmla="*/ 20796 h 116002"/>
                    <a:gd name="connsiteX11" fmla="*/ 119008 w 132141"/>
                    <a:gd name="connsiteY11" fmla="*/ 59474 h 116002"/>
                    <a:gd name="connsiteX12" fmla="*/ 127934 w 132141"/>
                    <a:gd name="connsiteY12" fmla="*/ 65424 h 116002"/>
                    <a:gd name="connsiteX13" fmla="*/ 130910 w 132141"/>
                    <a:gd name="connsiteY13" fmla="*/ 89226 h 116002"/>
                    <a:gd name="connsiteX14" fmla="*/ 119008 w 132141"/>
                    <a:gd name="connsiteY14" fmla="*/ 107076 h 116002"/>
                    <a:gd name="connsiteX15" fmla="*/ 89256 w 132141"/>
                    <a:gd name="connsiteY15" fmla="*/ 116003 h 116002"/>
                    <a:gd name="connsiteX16" fmla="*/ 26778 w 132141"/>
                    <a:gd name="connsiteY16" fmla="*/ 47572 h 116002"/>
                    <a:gd name="connsiteX17" fmla="*/ 14876 w 132141"/>
                    <a:gd name="connsiteY17" fmla="*/ 74350 h 116002"/>
                    <a:gd name="connsiteX18" fmla="*/ 53554 w 132141"/>
                    <a:gd name="connsiteY18" fmla="*/ 101126 h 116002"/>
                    <a:gd name="connsiteX19" fmla="*/ 113058 w 132141"/>
                    <a:gd name="connsiteY19" fmla="*/ 101126 h 116002"/>
                    <a:gd name="connsiteX20" fmla="*/ 121984 w 132141"/>
                    <a:gd name="connsiteY20" fmla="*/ 89226 h 116002"/>
                    <a:gd name="connsiteX21" fmla="*/ 119008 w 132141"/>
                    <a:gd name="connsiteY21" fmla="*/ 74350 h 116002"/>
                    <a:gd name="connsiteX22" fmla="*/ 26778 w 132141"/>
                    <a:gd name="connsiteY22" fmla="*/ 47572 h 116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32141" h="116002">
                      <a:moveTo>
                        <a:pt x="89256" y="116003"/>
                      </a:moveTo>
                      <a:cubicBezTo>
                        <a:pt x="77356" y="116003"/>
                        <a:pt x="65455" y="113027"/>
                        <a:pt x="47603" y="110052"/>
                      </a:cubicBezTo>
                      <a:cubicBezTo>
                        <a:pt x="20827" y="104102"/>
                        <a:pt x="0" y="95176"/>
                        <a:pt x="0" y="71374"/>
                      </a:cubicBezTo>
                      <a:cubicBezTo>
                        <a:pt x="0" y="53523"/>
                        <a:pt x="17851" y="35672"/>
                        <a:pt x="20827" y="35672"/>
                      </a:cubicBezTo>
                      <a:cubicBezTo>
                        <a:pt x="20827" y="32696"/>
                        <a:pt x="20827" y="26746"/>
                        <a:pt x="20827" y="23771"/>
                      </a:cubicBezTo>
                      <a:cubicBezTo>
                        <a:pt x="20827" y="14846"/>
                        <a:pt x="23802" y="8895"/>
                        <a:pt x="29752" y="5919"/>
                      </a:cubicBezTo>
                      <a:cubicBezTo>
                        <a:pt x="50579" y="-8957"/>
                        <a:pt x="104132" y="8895"/>
                        <a:pt x="110083" y="8895"/>
                      </a:cubicBezTo>
                      <a:cubicBezTo>
                        <a:pt x="113058" y="8895"/>
                        <a:pt x="116034" y="11870"/>
                        <a:pt x="113058" y="14846"/>
                      </a:cubicBezTo>
                      <a:cubicBezTo>
                        <a:pt x="113058" y="17820"/>
                        <a:pt x="110083" y="20796"/>
                        <a:pt x="107108" y="17820"/>
                      </a:cubicBezTo>
                      <a:cubicBezTo>
                        <a:pt x="92232" y="11870"/>
                        <a:pt x="50579" y="2944"/>
                        <a:pt x="38678" y="11870"/>
                      </a:cubicBezTo>
                      <a:cubicBezTo>
                        <a:pt x="35703" y="14846"/>
                        <a:pt x="32727" y="17820"/>
                        <a:pt x="32727" y="20796"/>
                      </a:cubicBezTo>
                      <a:cubicBezTo>
                        <a:pt x="32727" y="32696"/>
                        <a:pt x="32727" y="56498"/>
                        <a:pt x="119008" y="59474"/>
                      </a:cubicBezTo>
                      <a:cubicBezTo>
                        <a:pt x="119008" y="59474"/>
                        <a:pt x="124959" y="59474"/>
                        <a:pt x="127934" y="65424"/>
                      </a:cubicBezTo>
                      <a:cubicBezTo>
                        <a:pt x="130910" y="71374"/>
                        <a:pt x="133884" y="77324"/>
                        <a:pt x="130910" y="89226"/>
                      </a:cubicBezTo>
                      <a:cubicBezTo>
                        <a:pt x="127934" y="98151"/>
                        <a:pt x="124959" y="104102"/>
                        <a:pt x="119008" y="107076"/>
                      </a:cubicBezTo>
                      <a:cubicBezTo>
                        <a:pt x="110083" y="116003"/>
                        <a:pt x="101158" y="116003"/>
                        <a:pt x="89256" y="116003"/>
                      </a:cubicBezTo>
                      <a:close/>
                      <a:moveTo>
                        <a:pt x="26778" y="47572"/>
                      </a:moveTo>
                      <a:cubicBezTo>
                        <a:pt x="23802" y="50548"/>
                        <a:pt x="14876" y="62448"/>
                        <a:pt x="14876" y="74350"/>
                      </a:cubicBezTo>
                      <a:cubicBezTo>
                        <a:pt x="14876" y="86250"/>
                        <a:pt x="23802" y="92200"/>
                        <a:pt x="53554" y="101126"/>
                      </a:cubicBezTo>
                      <a:cubicBezTo>
                        <a:pt x="89256" y="110052"/>
                        <a:pt x="104132" y="107076"/>
                        <a:pt x="113058" y="101126"/>
                      </a:cubicBezTo>
                      <a:cubicBezTo>
                        <a:pt x="116034" y="98151"/>
                        <a:pt x="119008" y="95176"/>
                        <a:pt x="121984" y="89226"/>
                      </a:cubicBezTo>
                      <a:cubicBezTo>
                        <a:pt x="124959" y="80300"/>
                        <a:pt x="121984" y="74350"/>
                        <a:pt x="119008" y="74350"/>
                      </a:cubicBezTo>
                      <a:cubicBezTo>
                        <a:pt x="59504" y="71374"/>
                        <a:pt x="35703" y="62448"/>
                        <a:pt x="26778" y="47572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" name="任意多边形: 形状 110">
                  <a:extLst>
                    <a:ext uri="{FF2B5EF4-FFF2-40B4-BE49-F238E27FC236}">
                      <a16:creationId xmlns:a16="http://schemas.microsoft.com/office/drawing/2014/main" id="{3C7A7841-0C30-49B8-8763-26F829038161}"/>
                    </a:ext>
                  </a:extLst>
                </p:cNvPr>
                <p:cNvSpPr/>
                <p:nvPr/>
              </p:nvSpPr>
              <p:spPr>
                <a:xfrm>
                  <a:off x="14239468" y="9468475"/>
                  <a:ext cx="112396" cy="71404"/>
                </a:xfrm>
                <a:custGeom>
                  <a:avLst/>
                  <a:gdLst>
                    <a:gd name="connsiteX0" fmla="*/ 85351 w 112396"/>
                    <a:gd name="connsiteY0" fmla="*/ 71405 h 71404"/>
                    <a:gd name="connsiteX1" fmla="*/ 19897 w 112396"/>
                    <a:gd name="connsiteY1" fmla="*/ 56529 h 71404"/>
                    <a:gd name="connsiteX2" fmla="*/ 2046 w 112396"/>
                    <a:gd name="connsiteY2" fmla="*/ 35702 h 71404"/>
                    <a:gd name="connsiteX3" fmla="*/ 5021 w 112396"/>
                    <a:gd name="connsiteY3" fmla="*/ 2975 h 71404"/>
                    <a:gd name="connsiteX4" fmla="*/ 13946 w 112396"/>
                    <a:gd name="connsiteY4" fmla="*/ 0 h 71404"/>
                    <a:gd name="connsiteX5" fmla="*/ 16922 w 112396"/>
                    <a:gd name="connsiteY5" fmla="*/ 8925 h 71404"/>
                    <a:gd name="connsiteX6" fmla="*/ 13946 w 112396"/>
                    <a:gd name="connsiteY6" fmla="*/ 32727 h 71404"/>
                    <a:gd name="connsiteX7" fmla="*/ 25847 w 112396"/>
                    <a:gd name="connsiteY7" fmla="*/ 44628 h 71404"/>
                    <a:gd name="connsiteX8" fmla="*/ 97253 w 112396"/>
                    <a:gd name="connsiteY8" fmla="*/ 56529 h 71404"/>
                    <a:gd name="connsiteX9" fmla="*/ 100227 w 112396"/>
                    <a:gd name="connsiteY9" fmla="*/ 53553 h 71404"/>
                    <a:gd name="connsiteX10" fmla="*/ 97253 w 112396"/>
                    <a:gd name="connsiteY10" fmla="*/ 29752 h 71404"/>
                    <a:gd name="connsiteX11" fmla="*/ 97253 w 112396"/>
                    <a:gd name="connsiteY11" fmla="*/ 20826 h 71404"/>
                    <a:gd name="connsiteX12" fmla="*/ 106178 w 112396"/>
                    <a:gd name="connsiteY12" fmla="*/ 20826 h 71404"/>
                    <a:gd name="connsiteX13" fmla="*/ 109153 w 112396"/>
                    <a:gd name="connsiteY13" fmla="*/ 53553 h 71404"/>
                    <a:gd name="connsiteX14" fmla="*/ 100227 w 112396"/>
                    <a:gd name="connsiteY14" fmla="*/ 65454 h 71404"/>
                    <a:gd name="connsiteX15" fmla="*/ 85351 w 112396"/>
                    <a:gd name="connsiteY15" fmla="*/ 71405 h 714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2396" h="71404">
                      <a:moveTo>
                        <a:pt x="85351" y="71405"/>
                      </a:moveTo>
                      <a:cubicBezTo>
                        <a:pt x="67500" y="71405"/>
                        <a:pt x="40723" y="68429"/>
                        <a:pt x="19897" y="56529"/>
                      </a:cubicBezTo>
                      <a:cubicBezTo>
                        <a:pt x="10971" y="50578"/>
                        <a:pt x="5021" y="44628"/>
                        <a:pt x="2046" y="35702"/>
                      </a:cubicBezTo>
                      <a:cubicBezTo>
                        <a:pt x="-3905" y="20826"/>
                        <a:pt x="5021" y="2975"/>
                        <a:pt x="5021" y="2975"/>
                      </a:cubicBezTo>
                      <a:cubicBezTo>
                        <a:pt x="7996" y="0"/>
                        <a:pt x="10971" y="0"/>
                        <a:pt x="13946" y="0"/>
                      </a:cubicBezTo>
                      <a:cubicBezTo>
                        <a:pt x="16922" y="2975"/>
                        <a:pt x="16922" y="5950"/>
                        <a:pt x="16922" y="8925"/>
                      </a:cubicBezTo>
                      <a:cubicBezTo>
                        <a:pt x="16922" y="8925"/>
                        <a:pt x="10971" y="20826"/>
                        <a:pt x="13946" y="32727"/>
                      </a:cubicBezTo>
                      <a:cubicBezTo>
                        <a:pt x="16922" y="38677"/>
                        <a:pt x="19897" y="41653"/>
                        <a:pt x="25847" y="44628"/>
                      </a:cubicBezTo>
                      <a:cubicBezTo>
                        <a:pt x="52624" y="59504"/>
                        <a:pt x="88326" y="59504"/>
                        <a:pt x="97253" y="56529"/>
                      </a:cubicBezTo>
                      <a:cubicBezTo>
                        <a:pt x="97253" y="56529"/>
                        <a:pt x="100227" y="53553"/>
                        <a:pt x="100227" y="53553"/>
                      </a:cubicBezTo>
                      <a:cubicBezTo>
                        <a:pt x="103202" y="44628"/>
                        <a:pt x="100227" y="32727"/>
                        <a:pt x="97253" y="29752"/>
                      </a:cubicBezTo>
                      <a:cubicBezTo>
                        <a:pt x="94277" y="26777"/>
                        <a:pt x="94277" y="23801"/>
                        <a:pt x="97253" y="20826"/>
                      </a:cubicBezTo>
                      <a:cubicBezTo>
                        <a:pt x="100227" y="17851"/>
                        <a:pt x="103202" y="17851"/>
                        <a:pt x="106178" y="20826"/>
                      </a:cubicBezTo>
                      <a:cubicBezTo>
                        <a:pt x="112129" y="26777"/>
                        <a:pt x="115103" y="44628"/>
                        <a:pt x="109153" y="53553"/>
                      </a:cubicBezTo>
                      <a:cubicBezTo>
                        <a:pt x="106178" y="62480"/>
                        <a:pt x="103202" y="65454"/>
                        <a:pt x="100227" y="65454"/>
                      </a:cubicBezTo>
                      <a:cubicBezTo>
                        <a:pt x="97253" y="71405"/>
                        <a:pt x="91302" y="71405"/>
                        <a:pt x="85351" y="71405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8B802964-37BE-46B9-A410-3A392A562981}"/>
                  </a:ext>
                </a:extLst>
              </p:cNvPr>
              <p:cNvSpPr/>
              <p:nvPr/>
            </p:nvSpPr>
            <p:spPr>
              <a:xfrm>
                <a:off x="14244117" y="9513847"/>
                <a:ext cx="99728" cy="58760"/>
              </a:xfrm>
              <a:custGeom>
                <a:avLst/>
                <a:gdLst>
                  <a:gd name="connsiteX0" fmla="*/ 62851 w 99728"/>
                  <a:gd name="connsiteY0" fmla="*/ 58760 h 58760"/>
                  <a:gd name="connsiteX1" fmla="*/ 62851 w 99728"/>
                  <a:gd name="connsiteY1" fmla="*/ 58760 h 58760"/>
                  <a:gd name="connsiteX2" fmla="*/ 6322 w 99728"/>
                  <a:gd name="connsiteY2" fmla="*/ 43884 h 58760"/>
                  <a:gd name="connsiteX3" fmla="*/ 15248 w 99728"/>
                  <a:gd name="connsiteY3" fmla="*/ 2232 h 58760"/>
                  <a:gd name="connsiteX4" fmla="*/ 24173 w 99728"/>
                  <a:gd name="connsiteY4" fmla="*/ 2232 h 58760"/>
                  <a:gd name="connsiteX5" fmla="*/ 24173 w 99728"/>
                  <a:gd name="connsiteY5" fmla="*/ 11157 h 58760"/>
                  <a:gd name="connsiteX6" fmla="*/ 15248 w 99728"/>
                  <a:gd name="connsiteY6" fmla="*/ 37933 h 58760"/>
                  <a:gd name="connsiteX7" fmla="*/ 62851 w 99728"/>
                  <a:gd name="connsiteY7" fmla="*/ 49834 h 58760"/>
                  <a:gd name="connsiteX8" fmla="*/ 83677 w 99728"/>
                  <a:gd name="connsiteY8" fmla="*/ 46860 h 58760"/>
                  <a:gd name="connsiteX9" fmla="*/ 89628 w 99728"/>
                  <a:gd name="connsiteY9" fmla="*/ 23057 h 58760"/>
                  <a:gd name="connsiteX10" fmla="*/ 92603 w 99728"/>
                  <a:gd name="connsiteY10" fmla="*/ 17108 h 58760"/>
                  <a:gd name="connsiteX11" fmla="*/ 98553 w 99728"/>
                  <a:gd name="connsiteY11" fmla="*/ 20082 h 58760"/>
                  <a:gd name="connsiteX12" fmla="*/ 89628 w 99728"/>
                  <a:gd name="connsiteY12" fmla="*/ 52810 h 58760"/>
                  <a:gd name="connsiteX13" fmla="*/ 62851 w 99728"/>
                  <a:gd name="connsiteY13" fmla="*/ 58760 h 58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9728" h="58760">
                    <a:moveTo>
                      <a:pt x="62851" y="58760"/>
                    </a:moveTo>
                    <a:cubicBezTo>
                      <a:pt x="62851" y="58760"/>
                      <a:pt x="59876" y="58760"/>
                      <a:pt x="62851" y="58760"/>
                    </a:cubicBezTo>
                    <a:cubicBezTo>
                      <a:pt x="42024" y="58760"/>
                      <a:pt x="12272" y="52810"/>
                      <a:pt x="6322" y="43884"/>
                    </a:cubicBezTo>
                    <a:cubicBezTo>
                      <a:pt x="-8554" y="29008"/>
                      <a:pt x="6322" y="8181"/>
                      <a:pt x="15248" y="2232"/>
                    </a:cubicBezTo>
                    <a:cubicBezTo>
                      <a:pt x="18223" y="-744"/>
                      <a:pt x="21198" y="-744"/>
                      <a:pt x="24173" y="2232"/>
                    </a:cubicBezTo>
                    <a:cubicBezTo>
                      <a:pt x="27148" y="5206"/>
                      <a:pt x="27148" y="8181"/>
                      <a:pt x="24173" y="11157"/>
                    </a:cubicBezTo>
                    <a:cubicBezTo>
                      <a:pt x="24173" y="11157"/>
                      <a:pt x="6322" y="26033"/>
                      <a:pt x="15248" y="37933"/>
                    </a:cubicBezTo>
                    <a:cubicBezTo>
                      <a:pt x="18223" y="40909"/>
                      <a:pt x="42024" y="49834"/>
                      <a:pt x="62851" y="49834"/>
                    </a:cubicBezTo>
                    <a:cubicBezTo>
                      <a:pt x="74752" y="49834"/>
                      <a:pt x="83677" y="46860"/>
                      <a:pt x="83677" y="46860"/>
                    </a:cubicBezTo>
                    <a:cubicBezTo>
                      <a:pt x="92603" y="37933"/>
                      <a:pt x="89628" y="23057"/>
                      <a:pt x="89628" y="23057"/>
                    </a:cubicBezTo>
                    <a:cubicBezTo>
                      <a:pt x="89628" y="20082"/>
                      <a:pt x="89628" y="17108"/>
                      <a:pt x="92603" y="17108"/>
                    </a:cubicBezTo>
                    <a:cubicBezTo>
                      <a:pt x="95578" y="17108"/>
                      <a:pt x="98553" y="17108"/>
                      <a:pt x="98553" y="20082"/>
                    </a:cubicBezTo>
                    <a:cubicBezTo>
                      <a:pt x="98553" y="20082"/>
                      <a:pt x="104504" y="40909"/>
                      <a:pt x="89628" y="52810"/>
                    </a:cubicBezTo>
                    <a:cubicBezTo>
                      <a:pt x="86653" y="55785"/>
                      <a:pt x="74752" y="58760"/>
                      <a:pt x="62851" y="5876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2B1E31CD-5FD5-4767-B5E2-33E5CB983C43}"/>
                </a:ext>
              </a:extLst>
            </p:cNvPr>
            <p:cNvSpPr/>
            <p:nvPr/>
          </p:nvSpPr>
          <p:spPr>
            <a:xfrm>
              <a:off x="14364631" y="9395618"/>
              <a:ext cx="139148" cy="105916"/>
            </a:xfrm>
            <a:custGeom>
              <a:avLst/>
              <a:gdLst>
                <a:gd name="connsiteX0" fmla="*/ 13742 w 139148"/>
                <a:gd name="connsiteY0" fmla="*/ 105585 h 105916"/>
                <a:gd name="connsiteX1" fmla="*/ 34568 w 139148"/>
                <a:gd name="connsiteY1" fmla="*/ 84758 h 105916"/>
                <a:gd name="connsiteX2" fmla="*/ 91098 w 139148"/>
                <a:gd name="connsiteY2" fmla="*/ 57981 h 105916"/>
                <a:gd name="connsiteX3" fmla="*/ 135726 w 139148"/>
                <a:gd name="connsiteY3" fmla="*/ 96659 h 105916"/>
                <a:gd name="connsiteX4" fmla="*/ 120850 w 139148"/>
                <a:gd name="connsiteY4" fmla="*/ 4427 h 105916"/>
                <a:gd name="connsiteX5" fmla="*/ 13742 w 139148"/>
                <a:gd name="connsiteY5" fmla="*/ 28229 h 105916"/>
                <a:gd name="connsiteX6" fmla="*/ 13742 w 139148"/>
                <a:gd name="connsiteY6" fmla="*/ 105585 h 105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148" h="105916">
                  <a:moveTo>
                    <a:pt x="13742" y="105585"/>
                  </a:moveTo>
                  <a:cubicBezTo>
                    <a:pt x="22667" y="108559"/>
                    <a:pt x="28618" y="90709"/>
                    <a:pt x="34568" y="84758"/>
                  </a:cubicBezTo>
                  <a:cubicBezTo>
                    <a:pt x="49444" y="66907"/>
                    <a:pt x="67295" y="55006"/>
                    <a:pt x="91098" y="57981"/>
                  </a:cubicBezTo>
                  <a:cubicBezTo>
                    <a:pt x="105974" y="57981"/>
                    <a:pt x="88122" y="90709"/>
                    <a:pt x="135726" y="96659"/>
                  </a:cubicBezTo>
                  <a:cubicBezTo>
                    <a:pt x="141676" y="96659"/>
                    <a:pt x="141676" y="10378"/>
                    <a:pt x="120850" y="4427"/>
                  </a:cubicBezTo>
                  <a:cubicBezTo>
                    <a:pt x="91098" y="-4498"/>
                    <a:pt x="34568" y="-1523"/>
                    <a:pt x="13742" y="28229"/>
                  </a:cubicBezTo>
                  <a:cubicBezTo>
                    <a:pt x="1841" y="34179"/>
                    <a:pt x="-10060" y="93683"/>
                    <a:pt x="13742" y="105585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7297C692-1EFC-4B40-8325-D8F7C1145684}"/>
                </a:ext>
              </a:extLst>
            </p:cNvPr>
            <p:cNvSpPr/>
            <p:nvPr/>
          </p:nvSpPr>
          <p:spPr>
            <a:xfrm>
              <a:off x="14358623" y="9385562"/>
              <a:ext cx="139990" cy="118615"/>
            </a:xfrm>
            <a:custGeom>
              <a:avLst/>
              <a:gdLst>
                <a:gd name="connsiteX0" fmla="*/ 19750 w 139990"/>
                <a:gd name="connsiteY0" fmla="*/ 118616 h 118615"/>
                <a:gd name="connsiteX1" fmla="*/ 4874 w 139990"/>
                <a:gd name="connsiteY1" fmla="*/ 109690 h 118615"/>
                <a:gd name="connsiteX2" fmla="*/ 16775 w 139990"/>
                <a:gd name="connsiteY2" fmla="*/ 29359 h 118615"/>
                <a:gd name="connsiteX3" fmla="*/ 129832 w 139990"/>
                <a:gd name="connsiteY3" fmla="*/ 2583 h 118615"/>
                <a:gd name="connsiteX4" fmla="*/ 132808 w 139990"/>
                <a:gd name="connsiteY4" fmla="*/ 8533 h 118615"/>
                <a:gd name="connsiteX5" fmla="*/ 126858 w 139990"/>
                <a:gd name="connsiteY5" fmla="*/ 11509 h 118615"/>
                <a:gd name="connsiteX6" fmla="*/ 25700 w 139990"/>
                <a:gd name="connsiteY6" fmla="*/ 32335 h 118615"/>
                <a:gd name="connsiteX7" fmla="*/ 16775 w 139990"/>
                <a:gd name="connsiteY7" fmla="*/ 100765 h 118615"/>
                <a:gd name="connsiteX8" fmla="*/ 22726 w 139990"/>
                <a:gd name="connsiteY8" fmla="*/ 103740 h 118615"/>
                <a:gd name="connsiteX9" fmla="*/ 37602 w 139990"/>
                <a:gd name="connsiteY9" fmla="*/ 88863 h 118615"/>
                <a:gd name="connsiteX10" fmla="*/ 100080 w 139990"/>
                <a:gd name="connsiteY10" fmla="*/ 53162 h 118615"/>
                <a:gd name="connsiteX11" fmla="*/ 106031 w 139990"/>
                <a:gd name="connsiteY11" fmla="*/ 56137 h 118615"/>
                <a:gd name="connsiteX12" fmla="*/ 135783 w 139990"/>
                <a:gd name="connsiteY12" fmla="*/ 88863 h 118615"/>
                <a:gd name="connsiteX13" fmla="*/ 138759 w 139990"/>
                <a:gd name="connsiteY13" fmla="*/ 94814 h 118615"/>
                <a:gd name="connsiteX14" fmla="*/ 132808 w 139990"/>
                <a:gd name="connsiteY14" fmla="*/ 97790 h 118615"/>
                <a:gd name="connsiteX15" fmla="*/ 97106 w 139990"/>
                <a:gd name="connsiteY15" fmla="*/ 62087 h 118615"/>
                <a:gd name="connsiteX16" fmla="*/ 46527 w 139990"/>
                <a:gd name="connsiteY16" fmla="*/ 94814 h 118615"/>
                <a:gd name="connsiteX17" fmla="*/ 19750 w 139990"/>
                <a:gd name="connsiteY17" fmla="*/ 118616 h 118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9990" h="118615">
                  <a:moveTo>
                    <a:pt x="19750" y="118616"/>
                  </a:moveTo>
                  <a:cubicBezTo>
                    <a:pt x="13799" y="118616"/>
                    <a:pt x="7850" y="115641"/>
                    <a:pt x="4874" y="109690"/>
                  </a:cubicBezTo>
                  <a:cubicBezTo>
                    <a:pt x="-4052" y="94814"/>
                    <a:pt x="-1077" y="59111"/>
                    <a:pt x="16775" y="29359"/>
                  </a:cubicBezTo>
                  <a:cubicBezTo>
                    <a:pt x="40576" y="-12293"/>
                    <a:pt x="123882" y="2583"/>
                    <a:pt x="129832" y="2583"/>
                  </a:cubicBezTo>
                  <a:cubicBezTo>
                    <a:pt x="132808" y="2583"/>
                    <a:pt x="135783" y="5558"/>
                    <a:pt x="132808" y="8533"/>
                  </a:cubicBezTo>
                  <a:cubicBezTo>
                    <a:pt x="132808" y="11509"/>
                    <a:pt x="129832" y="14483"/>
                    <a:pt x="126858" y="11509"/>
                  </a:cubicBezTo>
                  <a:cubicBezTo>
                    <a:pt x="126858" y="11509"/>
                    <a:pt x="46527" y="-3367"/>
                    <a:pt x="25700" y="32335"/>
                  </a:cubicBezTo>
                  <a:cubicBezTo>
                    <a:pt x="10824" y="59111"/>
                    <a:pt x="7850" y="88863"/>
                    <a:pt x="16775" y="100765"/>
                  </a:cubicBezTo>
                  <a:cubicBezTo>
                    <a:pt x="19750" y="103740"/>
                    <a:pt x="22726" y="103740"/>
                    <a:pt x="22726" y="103740"/>
                  </a:cubicBezTo>
                  <a:cubicBezTo>
                    <a:pt x="25700" y="103740"/>
                    <a:pt x="31651" y="97790"/>
                    <a:pt x="37602" y="88863"/>
                  </a:cubicBezTo>
                  <a:cubicBezTo>
                    <a:pt x="49502" y="73987"/>
                    <a:pt x="67354" y="53162"/>
                    <a:pt x="100080" y="53162"/>
                  </a:cubicBezTo>
                  <a:cubicBezTo>
                    <a:pt x="103056" y="53162"/>
                    <a:pt x="103056" y="53162"/>
                    <a:pt x="106031" y="56137"/>
                  </a:cubicBezTo>
                  <a:cubicBezTo>
                    <a:pt x="106031" y="56137"/>
                    <a:pt x="117932" y="82914"/>
                    <a:pt x="135783" y="88863"/>
                  </a:cubicBezTo>
                  <a:cubicBezTo>
                    <a:pt x="138759" y="88863"/>
                    <a:pt x="141734" y="91839"/>
                    <a:pt x="138759" y="94814"/>
                  </a:cubicBezTo>
                  <a:cubicBezTo>
                    <a:pt x="138759" y="97790"/>
                    <a:pt x="135783" y="100765"/>
                    <a:pt x="132808" y="97790"/>
                  </a:cubicBezTo>
                  <a:cubicBezTo>
                    <a:pt x="114956" y="91839"/>
                    <a:pt x="103056" y="71013"/>
                    <a:pt x="97106" y="62087"/>
                  </a:cubicBezTo>
                  <a:cubicBezTo>
                    <a:pt x="73304" y="62087"/>
                    <a:pt x="58428" y="79938"/>
                    <a:pt x="46527" y="94814"/>
                  </a:cubicBezTo>
                  <a:cubicBezTo>
                    <a:pt x="34626" y="112666"/>
                    <a:pt x="28675" y="118616"/>
                    <a:pt x="19750" y="118616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9E929E30-0A0F-4558-B30D-9E4682E3EB95}"/>
                </a:ext>
              </a:extLst>
            </p:cNvPr>
            <p:cNvSpPr/>
            <p:nvPr/>
          </p:nvSpPr>
          <p:spPr>
            <a:xfrm>
              <a:off x="16386505" y="9557374"/>
              <a:ext cx="220298" cy="64567"/>
            </a:xfrm>
            <a:custGeom>
              <a:avLst/>
              <a:gdLst>
                <a:gd name="connsiteX0" fmla="*/ 220298 w 220298"/>
                <a:gd name="connsiteY0" fmla="*/ 15233 h 64567"/>
                <a:gd name="connsiteX1" fmla="*/ 77489 w 220298"/>
                <a:gd name="connsiteY1" fmla="*/ 3333 h 64567"/>
                <a:gd name="connsiteX2" fmla="*/ 133 w 220298"/>
                <a:gd name="connsiteY2" fmla="*/ 47961 h 64567"/>
                <a:gd name="connsiteX3" fmla="*/ 134017 w 220298"/>
                <a:gd name="connsiteY3" fmla="*/ 56886 h 64567"/>
                <a:gd name="connsiteX4" fmla="*/ 220298 w 220298"/>
                <a:gd name="connsiteY4" fmla="*/ 15233 h 6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0298" h="64567">
                  <a:moveTo>
                    <a:pt x="220298" y="15233"/>
                  </a:moveTo>
                  <a:cubicBezTo>
                    <a:pt x="220298" y="15233"/>
                    <a:pt x="110215" y="-8569"/>
                    <a:pt x="77489" y="3333"/>
                  </a:cubicBezTo>
                  <a:cubicBezTo>
                    <a:pt x="44761" y="15233"/>
                    <a:pt x="-2842" y="30109"/>
                    <a:pt x="133" y="47961"/>
                  </a:cubicBezTo>
                  <a:cubicBezTo>
                    <a:pt x="3108" y="92589"/>
                    <a:pt x="104265" y="30109"/>
                    <a:pt x="134017" y="56886"/>
                  </a:cubicBezTo>
                  <a:cubicBezTo>
                    <a:pt x="148893" y="71762"/>
                    <a:pt x="220298" y="15233"/>
                    <a:pt x="220298" y="15233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8" name="图形 1">
              <a:extLst>
                <a:ext uri="{FF2B5EF4-FFF2-40B4-BE49-F238E27FC236}">
                  <a16:creationId xmlns:a16="http://schemas.microsoft.com/office/drawing/2014/main" id="{4DD8F4C6-1B89-4452-A167-24093F7AD47C}"/>
                </a:ext>
              </a:extLst>
            </p:cNvPr>
            <p:cNvGrpSpPr/>
            <p:nvPr/>
          </p:nvGrpSpPr>
          <p:grpSpPr>
            <a:xfrm>
              <a:off x="16370204" y="9514521"/>
              <a:ext cx="2042549" cy="2161556"/>
              <a:chOff x="16370204" y="9514521"/>
              <a:chExt cx="2042549" cy="2161556"/>
            </a:xfrm>
          </p:grpSpPr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C959264D-CD42-4062-BD54-B3751C0CA3D2}"/>
                  </a:ext>
                </a:extLst>
              </p:cNvPr>
              <p:cNvSpPr/>
              <p:nvPr/>
            </p:nvSpPr>
            <p:spPr>
              <a:xfrm>
                <a:off x="16455067" y="9602359"/>
                <a:ext cx="1957686" cy="2073718"/>
              </a:xfrm>
              <a:custGeom>
                <a:avLst/>
                <a:gdLst>
                  <a:gd name="connsiteX0" fmla="*/ 1930909 w 1957686"/>
                  <a:gd name="connsiteY0" fmla="*/ 2073719 h 2073718"/>
                  <a:gd name="connsiteX1" fmla="*/ 1957687 w 1957686"/>
                  <a:gd name="connsiteY1" fmla="*/ 2049917 h 2073718"/>
                  <a:gd name="connsiteX2" fmla="*/ 44628 w 1957686"/>
                  <a:gd name="connsiteY2" fmla="*/ 0 h 2073718"/>
                  <a:gd name="connsiteX3" fmla="*/ 0 w 1957686"/>
                  <a:gd name="connsiteY3" fmla="*/ 41653 h 2073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57686" h="2073718">
                    <a:moveTo>
                      <a:pt x="1930909" y="2073719"/>
                    </a:moveTo>
                    <a:lnTo>
                      <a:pt x="1957687" y="2049917"/>
                    </a:lnTo>
                    <a:lnTo>
                      <a:pt x="44628" y="0"/>
                    </a:lnTo>
                    <a:lnTo>
                      <a:pt x="0" y="41653"/>
                    </a:lnTo>
                    <a:close/>
                  </a:path>
                </a:pathLst>
              </a:custGeom>
              <a:solidFill>
                <a:srgbClr val="F1DDB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ED69FF35-1D21-4BD4-B752-E81C0C913790}"/>
                  </a:ext>
                </a:extLst>
              </p:cNvPr>
              <p:cNvSpPr/>
              <p:nvPr/>
            </p:nvSpPr>
            <p:spPr>
              <a:xfrm>
                <a:off x="17960522" y="11217896"/>
                <a:ext cx="389751" cy="371901"/>
              </a:xfrm>
              <a:custGeom>
                <a:avLst/>
                <a:gdLst>
                  <a:gd name="connsiteX0" fmla="*/ 53553 w 389751"/>
                  <a:gd name="connsiteY0" fmla="*/ 362976 h 371901"/>
                  <a:gd name="connsiteX1" fmla="*/ 380826 w 389751"/>
                  <a:gd name="connsiteY1" fmla="*/ 53554 h 371901"/>
                  <a:gd name="connsiteX2" fmla="*/ 380826 w 389751"/>
                  <a:gd name="connsiteY2" fmla="*/ 8926 h 371901"/>
                  <a:gd name="connsiteX3" fmla="*/ 380826 w 389751"/>
                  <a:gd name="connsiteY3" fmla="*/ 8926 h 371901"/>
                  <a:gd name="connsiteX4" fmla="*/ 336198 w 389751"/>
                  <a:gd name="connsiteY4" fmla="*/ 8926 h 371901"/>
                  <a:gd name="connsiteX5" fmla="*/ 8925 w 389751"/>
                  <a:gd name="connsiteY5" fmla="*/ 318347 h 371901"/>
                  <a:gd name="connsiteX6" fmla="*/ 8925 w 389751"/>
                  <a:gd name="connsiteY6" fmla="*/ 362976 h 371901"/>
                  <a:gd name="connsiteX7" fmla="*/ 8925 w 389751"/>
                  <a:gd name="connsiteY7" fmla="*/ 362976 h 371901"/>
                  <a:gd name="connsiteX8" fmla="*/ 53553 w 389751"/>
                  <a:gd name="connsiteY8" fmla="*/ 362976 h 371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9751" h="371901">
                    <a:moveTo>
                      <a:pt x="53553" y="362976"/>
                    </a:moveTo>
                    <a:lnTo>
                      <a:pt x="380826" y="53554"/>
                    </a:lnTo>
                    <a:cubicBezTo>
                      <a:pt x="392727" y="41653"/>
                      <a:pt x="392727" y="20827"/>
                      <a:pt x="380826" y="8926"/>
                    </a:cubicBezTo>
                    <a:lnTo>
                      <a:pt x="380826" y="8926"/>
                    </a:lnTo>
                    <a:cubicBezTo>
                      <a:pt x="368926" y="-2975"/>
                      <a:pt x="348099" y="-2975"/>
                      <a:pt x="336198" y="8926"/>
                    </a:cubicBezTo>
                    <a:lnTo>
                      <a:pt x="8925" y="318347"/>
                    </a:lnTo>
                    <a:cubicBezTo>
                      <a:pt x="-2975" y="330248"/>
                      <a:pt x="-2975" y="351075"/>
                      <a:pt x="8925" y="362976"/>
                    </a:cubicBezTo>
                    <a:lnTo>
                      <a:pt x="8925" y="362976"/>
                    </a:lnTo>
                    <a:cubicBezTo>
                      <a:pt x="23801" y="374876"/>
                      <a:pt x="41653" y="374876"/>
                      <a:pt x="53553" y="362976"/>
                    </a:cubicBezTo>
                    <a:close/>
                  </a:path>
                </a:pathLst>
              </a:custGeom>
              <a:solidFill>
                <a:srgbClr val="F1DDB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A5B256DE-08BA-47BA-B624-F13FD4F367CE}"/>
                  </a:ext>
                </a:extLst>
              </p:cNvPr>
              <p:cNvSpPr/>
              <p:nvPr/>
            </p:nvSpPr>
            <p:spPr>
              <a:xfrm>
                <a:off x="16370204" y="9514521"/>
                <a:ext cx="345263" cy="355997"/>
              </a:xfrm>
              <a:custGeom>
                <a:avLst/>
                <a:gdLst>
                  <a:gd name="connsiteX0" fmla="*/ 325855 w 345263"/>
                  <a:gd name="connsiteY0" fmla="*/ 340731 h 355997"/>
                  <a:gd name="connsiteX1" fmla="*/ 325855 w 345263"/>
                  <a:gd name="connsiteY1" fmla="*/ 340731 h 355997"/>
                  <a:gd name="connsiteX2" fmla="*/ 328830 w 345263"/>
                  <a:gd name="connsiteY2" fmla="*/ 254450 h 355997"/>
                  <a:gd name="connsiteX3" fmla="*/ 105690 w 345263"/>
                  <a:gd name="connsiteY3" fmla="*/ 19408 h 355997"/>
                  <a:gd name="connsiteX4" fmla="*/ 19409 w 345263"/>
                  <a:gd name="connsiteY4" fmla="*/ 16434 h 355997"/>
                  <a:gd name="connsiteX5" fmla="*/ 19409 w 345263"/>
                  <a:gd name="connsiteY5" fmla="*/ 16434 h 355997"/>
                  <a:gd name="connsiteX6" fmla="*/ 16434 w 345263"/>
                  <a:gd name="connsiteY6" fmla="*/ 102714 h 355997"/>
                  <a:gd name="connsiteX7" fmla="*/ 239574 w 345263"/>
                  <a:gd name="connsiteY7" fmla="*/ 337756 h 355997"/>
                  <a:gd name="connsiteX8" fmla="*/ 325855 w 345263"/>
                  <a:gd name="connsiteY8" fmla="*/ 340731 h 355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5263" h="355997">
                    <a:moveTo>
                      <a:pt x="325855" y="340731"/>
                    </a:moveTo>
                    <a:lnTo>
                      <a:pt x="325855" y="340731"/>
                    </a:lnTo>
                    <a:cubicBezTo>
                      <a:pt x="349656" y="316929"/>
                      <a:pt x="352632" y="278251"/>
                      <a:pt x="328830" y="254450"/>
                    </a:cubicBezTo>
                    <a:lnTo>
                      <a:pt x="105690" y="19408"/>
                    </a:lnTo>
                    <a:cubicBezTo>
                      <a:pt x="81888" y="-4393"/>
                      <a:pt x="43210" y="-7369"/>
                      <a:pt x="19409" y="16434"/>
                    </a:cubicBezTo>
                    <a:lnTo>
                      <a:pt x="19409" y="16434"/>
                    </a:lnTo>
                    <a:cubicBezTo>
                      <a:pt x="-4393" y="40235"/>
                      <a:pt x="-7369" y="78912"/>
                      <a:pt x="16434" y="102714"/>
                    </a:cubicBezTo>
                    <a:lnTo>
                      <a:pt x="239574" y="337756"/>
                    </a:lnTo>
                    <a:cubicBezTo>
                      <a:pt x="263375" y="361557"/>
                      <a:pt x="302054" y="361557"/>
                      <a:pt x="325855" y="340731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9" name="图形 1">
              <a:extLst>
                <a:ext uri="{FF2B5EF4-FFF2-40B4-BE49-F238E27FC236}">
                  <a16:creationId xmlns:a16="http://schemas.microsoft.com/office/drawing/2014/main" id="{B9F48BD3-D36F-4EEF-8879-E817CC9FCF53}"/>
                </a:ext>
              </a:extLst>
            </p:cNvPr>
            <p:cNvGrpSpPr/>
            <p:nvPr/>
          </p:nvGrpSpPr>
          <p:grpSpPr>
            <a:xfrm>
              <a:off x="16426059" y="9510009"/>
              <a:ext cx="357322" cy="309546"/>
              <a:chOff x="16426059" y="9510009"/>
              <a:chExt cx="357322" cy="309546"/>
            </a:xfrm>
          </p:grpSpPr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3DAC1AD8-D73E-4B9C-A9F4-B36DF8D894DE}"/>
                  </a:ext>
                </a:extLst>
              </p:cNvPr>
              <p:cNvSpPr/>
              <p:nvPr/>
            </p:nvSpPr>
            <p:spPr>
              <a:xfrm>
                <a:off x="16429609" y="9510009"/>
                <a:ext cx="353771" cy="309546"/>
              </a:xfrm>
              <a:custGeom>
                <a:avLst/>
                <a:gdLst>
                  <a:gd name="connsiteX0" fmla="*/ 349755 w 353771"/>
                  <a:gd name="connsiteY0" fmla="*/ 95326 h 309546"/>
                  <a:gd name="connsiteX1" fmla="*/ 251574 w 353771"/>
                  <a:gd name="connsiteY1" fmla="*/ 119 h 309546"/>
                  <a:gd name="connsiteX2" fmla="*/ 37358 w 353771"/>
                  <a:gd name="connsiteY2" fmla="*/ 125078 h 309546"/>
                  <a:gd name="connsiteX3" fmla="*/ 4632 w 353771"/>
                  <a:gd name="connsiteY3" fmla="*/ 184582 h 309546"/>
                  <a:gd name="connsiteX4" fmla="*/ 40334 w 353771"/>
                  <a:gd name="connsiteY4" fmla="*/ 208383 h 309546"/>
                  <a:gd name="connsiteX5" fmla="*/ 81986 w 353771"/>
                  <a:gd name="connsiteY5" fmla="*/ 253011 h 309546"/>
                  <a:gd name="connsiteX6" fmla="*/ 99838 w 353771"/>
                  <a:gd name="connsiteY6" fmla="*/ 282763 h 309546"/>
                  <a:gd name="connsiteX7" fmla="*/ 144466 w 353771"/>
                  <a:gd name="connsiteY7" fmla="*/ 279788 h 309546"/>
                  <a:gd name="connsiteX8" fmla="*/ 198020 w 353771"/>
                  <a:gd name="connsiteY8" fmla="*/ 303590 h 309546"/>
                  <a:gd name="connsiteX9" fmla="*/ 251574 w 353771"/>
                  <a:gd name="connsiteY9" fmla="*/ 229210 h 309546"/>
                  <a:gd name="connsiteX10" fmla="*/ 331904 w 353771"/>
                  <a:gd name="connsiteY10" fmla="*/ 151854 h 309546"/>
                  <a:gd name="connsiteX11" fmla="*/ 349755 w 353771"/>
                  <a:gd name="connsiteY11" fmla="*/ 95326 h 309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3771" h="309546">
                    <a:moveTo>
                      <a:pt x="349755" y="95326"/>
                    </a:moveTo>
                    <a:cubicBezTo>
                      <a:pt x="334879" y="50698"/>
                      <a:pt x="251574" y="-2857"/>
                      <a:pt x="251574" y="119"/>
                    </a:cubicBezTo>
                    <a:cubicBezTo>
                      <a:pt x="171243" y="59623"/>
                      <a:pt x="108764" y="56647"/>
                      <a:pt x="37358" y="125078"/>
                    </a:cubicBezTo>
                    <a:cubicBezTo>
                      <a:pt x="25458" y="136978"/>
                      <a:pt x="-13220" y="151854"/>
                      <a:pt x="4632" y="184582"/>
                    </a:cubicBezTo>
                    <a:cubicBezTo>
                      <a:pt x="10582" y="193507"/>
                      <a:pt x="19508" y="211359"/>
                      <a:pt x="40334" y="208383"/>
                    </a:cubicBezTo>
                    <a:cubicBezTo>
                      <a:pt x="31408" y="232184"/>
                      <a:pt x="67110" y="261937"/>
                      <a:pt x="81986" y="253011"/>
                    </a:cubicBezTo>
                    <a:cubicBezTo>
                      <a:pt x="81986" y="261937"/>
                      <a:pt x="93888" y="279788"/>
                      <a:pt x="99838" y="282763"/>
                    </a:cubicBezTo>
                    <a:cubicBezTo>
                      <a:pt x="117689" y="291689"/>
                      <a:pt x="129590" y="294664"/>
                      <a:pt x="144466" y="279788"/>
                    </a:cubicBezTo>
                    <a:cubicBezTo>
                      <a:pt x="153392" y="303590"/>
                      <a:pt x="174218" y="318466"/>
                      <a:pt x="198020" y="303590"/>
                    </a:cubicBezTo>
                    <a:cubicBezTo>
                      <a:pt x="227772" y="279788"/>
                      <a:pt x="227772" y="258962"/>
                      <a:pt x="251574" y="229210"/>
                    </a:cubicBezTo>
                    <a:cubicBezTo>
                      <a:pt x="275375" y="202432"/>
                      <a:pt x="305127" y="178631"/>
                      <a:pt x="331904" y="151854"/>
                    </a:cubicBezTo>
                    <a:cubicBezTo>
                      <a:pt x="352730" y="131028"/>
                      <a:pt x="358681" y="122102"/>
                      <a:pt x="349755" y="95326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C0B52A8E-B2FF-4A4F-97BA-804E09DDE9A1}"/>
                  </a:ext>
                </a:extLst>
              </p:cNvPr>
              <p:cNvSpPr/>
              <p:nvPr/>
            </p:nvSpPr>
            <p:spPr>
              <a:xfrm>
                <a:off x="16426059" y="9581533"/>
                <a:ext cx="127190" cy="142810"/>
              </a:xfrm>
              <a:custGeom>
                <a:avLst/>
                <a:gdLst>
                  <a:gd name="connsiteX0" fmla="*/ 43884 w 127190"/>
                  <a:gd name="connsiteY0" fmla="*/ 142810 h 142810"/>
                  <a:gd name="connsiteX1" fmla="*/ 43884 w 127190"/>
                  <a:gd name="connsiteY1" fmla="*/ 142810 h 142810"/>
                  <a:gd name="connsiteX2" fmla="*/ 2232 w 127190"/>
                  <a:gd name="connsiteY2" fmla="*/ 116033 h 142810"/>
                  <a:gd name="connsiteX3" fmla="*/ 2232 w 127190"/>
                  <a:gd name="connsiteY3" fmla="*/ 86281 h 142810"/>
                  <a:gd name="connsiteX4" fmla="*/ 121240 w 127190"/>
                  <a:gd name="connsiteY4" fmla="*/ 0 h 142810"/>
                  <a:gd name="connsiteX5" fmla="*/ 127191 w 127190"/>
                  <a:gd name="connsiteY5" fmla="*/ 2975 h 142810"/>
                  <a:gd name="connsiteX6" fmla="*/ 124215 w 127190"/>
                  <a:gd name="connsiteY6" fmla="*/ 8926 h 142810"/>
                  <a:gd name="connsiteX7" fmla="*/ 11157 w 127190"/>
                  <a:gd name="connsiteY7" fmla="*/ 92232 h 142810"/>
                  <a:gd name="connsiteX8" fmla="*/ 11157 w 127190"/>
                  <a:gd name="connsiteY8" fmla="*/ 113058 h 142810"/>
                  <a:gd name="connsiteX9" fmla="*/ 43884 w 127190"/>
                  <a:gd name="connsiteY9" fmla="*/ 133884 h 142810"/>
                  <a:gd name="connsiteX10" fmla="*/ 46860 w 127190"/>
                  <a:gd name="connsiteY10" fmla="*/ 139835 h 142810"/>
                  <a:gd name="connsiteX11" fmla="*/ 43884 w 127190"/>
                  <a:gd name="connsiteY11" fmla="*/ 142810 h 14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7190" h="142810">
                    <a:moveTo>
                      <a:pt x="43884" y="142810"/>
                    </a:moveTo>
                    <a:cubicBezTo>
                      <a:pt x="43884" y="142810"/>
                      <a:pt x="43884" y="142810"/>
                      <a:pt x="43884" y="142810"/>
                    </a:cubicBezTo>
                    <a:cubicBezTo>
                      <a:pt x="40909" y="142810"/>
                      <a:pt x="11157" y="133884"/>
                      <a:pt x="2232" y="116033"/>
                    </a:cubicBezTo>
                    <a:cubicBezTo>
                      <a:pt x="-744" y="107108"/>
                      <a:pt x="-744" y="98182"/>
                      <a:pt x="2232" y="86281"/>
                    </a:cubicBezTo>
                    <a:cubicBezTo>
                      <a:pt x="23058" y="41653"/>
                      <a:pt x="115289" y="0"/>
                      <a:pt x="121240" y="0"/>
                    </a:cubicBezTo>
                    <a:cubicBezTo>
                      <a:pt x="124215" y="0"/>
                      <a:pt x="127191" y="0"/>
                      <a:pt x="127191" y="2975"/>
                    </a:cubicBezTo>
                    <a:cubicBezTo>
                      <a:pt x="127191" y="5951"/>
                      <a:pt x="127191" y="8926"/>
                      <a:pt x="124215" y="8926"/>
                    </a:cubicBezTo>
                    <a:cubicBezTo>
                      <a:pt x="124215" y="8926"/>
                      <a:pt x="31984" y="50579"/>
                      <a:pt x="11157" y="92232"/>
                    </a:cubicBezTo>
                    <a:cubicBezTo>
                      <a:pt x="8182" y="101157"/>
                      <a:pt x="8182" y="107108"/>
                      <a:pt x="11157" y="113058"/>
                    </a:cubicBezTo>
                    <a:cubicBezTo>
                      <a:pt x="20083" y="127934"/>
                      <a:pt x="43884" y="133884"/>
                      <a:pt x="43884" y="133884"/>
                    </a:cubicBezTo>
                    <a:cubicBezTo>
                      <a:pt x="46860" y="133884"/>
                      <a:pt x="49835" y="136860"/>
                      <a:pt x="46860" y="139835"/>
                    </a:cubicBezTo>
                    <a:cubicBezTo>
                      <a:pt x="49835" y="139835"/>
                      <a:pt x="46860" y="142810"/>
                      <a:pt x="43884" y="14281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193ACB00-0E8B-48B7-9ADC-747403941EB4}"/>
                  </a:ext>
                </a:extLst>
              </p:cNvPr>
              <p:cNvSpPr/>
              <p:nvPr/>
            </p:nvSpPr>
            <p:spPr>
              <a:xfrm>
                <a:off x="16506390" y="9698309"/>
                <a:ext cx="91487" cy="61735"/>
              </a:xfrm>
              <a:custGeom>
                <a:avLst/>
                <a:gdLst>
                  <a:gd name="connsiteX0" fmla="*/ 85537 w 91487"/>
                  <a:gd name="connsiteY0" fmla="*/ 61736 h 61735"/>
                  <a:gd name="connsiteX1" fmla="*/ 85537 w 91487"/>
                  <a:gd name="connsiteY1" fmla="*/ 61736 h 61735"/>
                  <a:gd name="connsiteX2" fmla="*/ 2232 w 91487"/>
                  <a:gd name="connsiteY2" fmla="*/ 11158 h 61735"/>
                  <a:gd name="connsiteX3" fmla="*/ 2232 w 91487"/>
                  <a:gd name="connsiteY3" fmla="*/ 2232 h 61735"/>
                  <a:gd name="connsiteX4" fmla="*/ 11157 w 91487"/>
                  <a:gd name="connsiteY4" fmla="*/ 2232 h 61735"/>
                  <a:gd name="connsiteX5" fmla="*/ 88512 w 91487"/>
                  <a:gd name="connsiteY5" fmla="*/ 49835 h 61735"/>
                  <a:gd name="connsiteX6" fmla="*/ 91488 w 91487"/>
                  <a:gd name="connsiteY6" fmla="*/ 55786 h 61735"/>
                  <a:gd name="connsiteX7" fmla="*/ 85537 w 91487"/>
                  <a:gd name="connsiteY7" fmla="*/ 61736 h 61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487" h="61735">
                    <a:moveTo>
                      <a:pt x="85537" y="61736"/>
                    </a:moveTo>
                    <a:cubicBezTo>
                      <a:pt x="85537" y="61736"/>
                      <a:pt x="85537" y="61736"/>
                      <a:pt x="85537" y="61736"/>
                    </a:cubicBezTo>
                    <a:cubicBezTo>
                      <a:pt x="79586" y="58760"/>
                      <a:pt x="17108" y="29008"/>
                      <a:pt x="2232" y="11158"/>
                    </a:cubicBezTo>
                    <a:cubicBezTo>
                      <a:pt x="-744" y="8182"/>
                      <a:pt x="-744" y="5207"/>
                      <a:pt x="2232" y="2232"/>
                    </a:cubicBezTo>
                    <a:cubicBezTo>
                      <a:pt x="5206" y="-744"/>
                      <a:pt x="8181" y="-744"/>
                      <a:pt x="11157" y="2232"/>
                    </a:cubicBezTo>
                    <a:cubicBezTo>
                      <a:pt x="23057" y="14132"/>
                      <a:pt x="70661" y="40910"/>
                      <a:pt x="88512" y="49835"/>
                    </a:cubicBezTo>
                    <a:cubicBezTo>
                      <a:pt x="91488" y="49835"/>
                      <a:pt x="91488" y="55786"/>
                      <a:pt x="91488" y="55786"/>
                    </a:cubicBezTo>
                    <a:cubicBezTo>
                      <a:pt x="91488" y="58760"/>
                      <a:pt x="88512" y="61736"/>
                      <a:pt x="85537" y="6173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D57BA8A4-AA6F-49A2-8D58-2667A6E23DB1}"/>
                </a:ext>
              </a:extLst>
            </p:cNvPr>
            <p:cNvSpPr/>
            <p:nvPr/>
          </p:nvSpPr>
          <p:spPr>
            <a:xfrm>
              <a:off x="16219171" y="8529921"/>
              <a:ext cx="1018401" cy="1131570"/>
            </a:xfrm>
            <a:custGeom>
              <a:avLst/>
              <a:gdLst>
                <a:gd name="connsiteX0" fmla="*/ 6806 w 1018401"/>
                <a:gd name="connsiteY0" fmla="*/ 75744 h 1131570"/>
                <a:gd name="connsiteX1" fmla="*/ 340029 w 1018401"/>
                <a:gd name="connsiteY1" fmla="*/ 456570 h 1131570"/>
                <a:gd name="connsiteX2" fmla="*/ 655401 w 1018401"/>
                <a:gd name="connsiteY2" fmla="*/ 620206 h 1131570"/>
                <a:gd name="connsiteX3" fmla="*/ 450112 w 1018401"/>
                <a:gd name="connsiteY3" fmla="*/ 1024835 h 1131570"/>
                <a:gd name="connsiteX4" fmla="*/ 545318 w 1018401"/>
                <a:gd name="connsiteY4" fmla="*/ 1128967 h 1131570"/>
                <a:gd name="connsiteX5" fmla="*/ 1018376 w 1018401"/>
                <a:gd name="connsiteY5" fmla="*/ 575578 h 1131570"/>
                <a:gd name="connsiteX6" fmla="*/ 6806 w 1018401"/>
                <a:gd name="connsiteY6" fmla="*/ 75744 h 1131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401" h="1131570">
                  <a:moveTo>
                    <a:pt x="6806" y="75744"/>
                  </a:moveTo>
                  <a:cubicBezTo>
                    <a:pt x="-46748" y="197727"/>
                    <a:pt x="229946" y="394091"/>
                    <a:pt x="340029" y="456570"/>
                  </a:cubicBezTo>
                  <a:cubicBezTo>
                    <a:pt x="438211" y="513099"/>
                    <a:pt x="655401" y="620206"/>
                    <a:pt x="655401" y="620206"/>
                  </a:cubicBezTo>
                  <a:cubicBezTo>
                    <a:pt x="655401" y="620206"/>
                    <a:pt x="387632" y="941529"/>
                    <a:pt x="450112" y="1024835"/>
                  </a:cubicBezTo>
                  <a:cubicBezTo>
                    <a:pt x="464988" y="1060537"/>
                    <a:pt x="479864" y="1072438"/>
                    <a:pt x="545318" y="1128967"/>
                  </a:cubicBezTo>
                  <a:cubicBezTo>
                    <a:pt x="756558" y="1170620"/>
                    <a:pt x="1021351" y="700537"/>
                    <a:pt x="1018376" y="575578"/>
                  </a:cubicBezTo>
                  <a:cubicBezTo>
                    <a:pt x="1009450" y="340537"/>
                    <a:pt x="125814" y="-197976"/>
                    <a:pt x="6806" y="75744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247D574C-059E-4466-83C9-9A08722E84FA}"/>
                </a:ext>
              </a:extLst>
            </p:cNvPr>
            <p:cNvSpPr/>
            <p:nvPr/>
          </p:nvSpPr>
          <p:spPr>
            <a:xfrm>
              <a:off x="16219035" y="8543186"/>
              <a:ext cx="346115" cy="449256"/>
            </a:xfrm>
            <a:custGeom>
              <a:avLst/>
              <a:gdLst>
                <a:gd name="connsiteX0" fmla="*/ 340165 w 346115"/>
                <a:gd name="connsiteY0" fmla="*/ 449256 h 449256"/>
                <a:gd name="connsiteX1" fmla="*/ 340165 w 346115"/>
                <a:gd name="connsiteY1" fmla="*/ 449256 h 449256"/>
                <a:gd name="connsiteX2" fmla="*/ 48595 w 346115"/>
                <a:gd name="connsiteY2" fmla="*/ 214215 h 449256"/>
                <a:gd name="connsiteX3" fmla="*/ 3967 w 346115"/>
                <a:gd name="connsiteY3" fmla="*/ 65454 h 449256"/>
                <a:gd name="connsiteX4" fmla="*/ 57520 w 346115"/>
                <a:gd name="connsiteY4" fmla="*/ 0 h 449256"/>
                <a:gd name="connsiteX5" fmla="*/ 63471 w 346115"/>
                <a:gd name="connsiteY5" fmla="*/ 2975 h 449256"/>
                <a:gd name="connsiteX6" fmla="*/ 60496 w 346115"/>
                <a:gd name="connsiteY6" fmla="*/ 8926 h 449256"/>
                <a:gd name="connsiteX7" fmla="*/ 12892 w 346115"/>
                <a:gd name="connsiteY7" fmla="*/ 65454 h 449256"/>
                <a:gd name="connsiteX8" fmla="*/ 57520 w 346115"/>
                <a:gd name="connsiteY8" fmla="*/ 205289 h 449256"/>
                <a:gd name="connsiteX9" fmla="*/ 343140 w 346115"/>
                <a:gd name="connsiteY9" fmla="*/ 437355 h 449256"/>
                <a:gd name="connsiteX10" fmla="*/ 346116 w 346115"/>
                <a:gd name="connsiteY10" fmla="*/ 443306 h 449256"/>
                <a:gd name="connsiteX11" fmla="*/ 340165 w 346115"/>
                <a:gd name="connsiteY11" fmla="*/ 449256 h 449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6115" h="449256">
                  <a:moveTo>
                    <a:pt x="340165" y="449256"/>
                  </a:moveTo>
                  <a:cubicBezTo>
                    <a:pt x="337189" y="449256"/>
                    <a:pt x="337189" y="449256"/>
                    <a:pt x="340165" y="449256"/>
                  </a:cubicBezTo>
                  <a:cubicBezTo>
                    <a:pt x="337189" y="449256"/>
                    <a:pt x="152727" y="360000"/>
                    <a:pt x="48595" y="214215"/>
                  </a:cubicBezTo>
                  <a:cubicBezTo>
                    <a:pt x="6942" y="157686"/>
                    <a:pt x="-7934" y="107108"/>
                    <a:pt x="3967" y="65454"/>
                  </a:cubicBezTo>
                  <a:cubicBezTo>
                    <a:pt x="15867" y="20826"/>
                    <a:pt x="57520" y="2975"/>
                    <a:pt x="57520" y="0"/>
                  </a:cubicBezTo>
                  <a:cubicBezTo>
                    <a:pt x="60496" y="0"/>
                    <a:pt x="63471" y="0"/>
                    <a:pt x="63471" y="2975"/>
                  </a:cubicBezTo>
                  <a:cubicBezTo>
                    <a:pt x="63471" y="5950"/>
                    <a:pt x="63471" y="8926"/>
                    <a:pt x="60496" y="8926"/>
                  </a:cubicBezTo>
                  <a:cubicBezTo>
                    <a:pt x="60496" y="8926"/>
                    <a:pt x="24793" y="26777"/>
                    <a:pt x="12892" y="65454"/>
                  </a:cubicBezTo>
                  <a:cubicBezTo>
                    <a:pt x="3967" y="104132"/>
                    <a:pt x="15867" y="151736"/>
                    <a:pt x="57520" y="205289"/>
                  </a:cubicBezTo>
                  <a:cubicBezTo>
                    <a:pt x="161652" y="348099"/>
                    <a:pt x="340165" y="437355"/>
                    <a:pt x="343140" y="437355"/>
                  </a:cubicBezTo>
                  <a:cubicBezTo>
                    <a:pt x="346116" y="437355"/>
                    <a:pt x="346116" y="443306"/>
                    <a:pt x="346116" y="443306"/>
                  </a:cubicBezTo>
                  <a:cubicBezTo>
                    <a:pt x="343140" y="446281"/>
                    <a:pt x="340165" y="449256"/>
                    <a:pt x="340165" y="449256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87D5043E-D69D-477E-BEC2-F8D177D0E9CA}"/>
                </a:ext>
              </a:extLst>
            </p:cNvPr>
            <p:cNvSpPr/>
            <p:nvPr/>
          </p:nvSpPr>
          <p:spPr>
            <a:xfrm>
              <a:off x="16868621" y="9101202"/>
              <a:ext cx="74380" cy="63801"/>
            </a:xfrm>
            <a:custGeom>
              <a:avLst/>
              <a:gdLst>
                <a:gd name="connsiteX0" fmla="*/ 50579 w 74380"/>
                <a:gd name="connsiteY0" fmla="*/ 63801 h 63801"/>
                <a:gd name="connsiteX1" fmla="*/ 2975 w 74380"/>
                <a:gd name="connsiteY1" fmla="*/ 54876 h 63801"/>
                <a:gd name="connsiteX2" fmla="*/ 0 w 74380"/>
                <a:gd name="connsiteY2" fmla="*/ 48925 h 63801"/>
                <a:gd name="connsiteX3" fmla="*/ 2975 w 74380"/>
                <a:gd name="connsiteY3" fmla="*/ 42975 h 63801"/>
                <a:gd name="connsiteX4" fmla="*/ 62480 w 74380"/>
                <a:gd name="connsiteY4" fmla="*/ 1322 h 63801"/>
                <a:gd name="connsiteX5" fmla="*/ 71406 w 74380"/>
                <a:gd name="connsiteY5" fmla="*/ 1322 h 63801"/>
                <a:gd name="connsiteX6" fmla="*/ 71406 w 74380"/>
                <a:gd name="connsiteY6" fmla="*/ 10248 h 63801"/>
                <a:gd name="connsiteX7" fmla="*/ 20827 w 74380"/>
                <a:gd name="connsiteY7" fmla="*/ 45950 h 63801"/>
                <a:gd name="connsiteX8" fmla="*/ 68430 w 74380"/>
                <a:gd name="connsiteY8" fmla="*/ 48925 h 63801"/>
                <a:gd name="connsiteX9" fmla="*/ 74380 w 74380"/>
                <a:gd name="connsiteY9" fmla="*/ 54876 h 63801"/>
                <a:gd name="connsiteX10" fmla="*/ 68430 w 74380"/>
                <a:gd name="connsiteY10" fmla="*/ 60827 h 63801"/>
                <a:gd name="connsiteX11" fmla="*/ 50579 w 74380"/>
                <a:gd name="connsiteY11" fmla="*/ 63801 h 63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380" h="63801">
                  <a:moveTo>
                    <a:pt x="50579" y="63801"/>
                  </a:moveTo>
                  <a:cubicBezTo>
                    <a:pt x="26778" y="63801"/>
                    <a:pt x="2975" y="54876"/>
                    <a:pt x="2975" y="54876"/>
                  </a:cubicBezTo>
                  <a:cubicBezTo>
                    <a:pt x="0" y="54876"/>
                    <a:pt x="0" y="51901"/>
                    <a:pt x="0" y="48925"/>
                  </a:cubicBezTo>
                  <a:cubicBezTo>
                    <a:pt x="0" y="45950"/>
                    <a:pt x="0" y="45950"/>
                    <a:pt x="2975" y="42975"/>
                  </a:cubicBezTo>
                  <a:cubicBezTo>
                    <a:pt x="2975" y="42975"/>
                    <a:pt x="41654" y="16198"/>
                    <a:pt x="62480" y="1322"/>
                  </a:cubicBezTo>
                  <a:cubicBezTo>
                    <a:pt x="65455" y="-1653"/>
                    <a:pt x="68430" y="1322"/>
                    <a:pt x="71406" y="1322"/>
                  </a:cubicBezTo>
                  <a:cubicBezTo>
                    <a:pt x="74380" y="4297"/>
                    <a:pt x="71406" y="7273"/>
                    <a:pt x="71406" y="10248"/>
                  </a:cubicBezTo>
                  <a:cubicBezTo>
                    <a:pt x="56530" y="22149"/>
                    <a:pt x="32727" y="37025"/>
                    <a:pt x="20827" y="45950"/>
                  </a:cubicBezTo>
                  <a:cubicBezTo>
                    <a:pt x="32727" y="48925"/>
                    <a:pt x="50579" y="51901"/>
                    <a:pt x="68430" y="48925"/>
                  </a:cubicBezTo>
                  <a:cubicBezTo>
                    <a:pt x="71406" y="48925"/>
                    <a:pt x="74380" y="51901"/>
                    <a:pt x="74380" y="54876"/>
                  </a:cubicBezTo>
                  <a:cubicBezTo>
                    <a:pt x="74380" y="57851"/>
                    <a:pt x="71406" y="60827"/>
                    <a:pt x="68430" y="60827"/>
                  </a:cubicBezTo>
                  <a:cubicBezTo>
                    <a:pt x="62480" y="60827"/>
                    <a:pt x="56530" y="63801"/>
                    <a:pt x="50579" y="63801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D8692E57-C481-436F-B995-A849A45B784C}"/>
                </a:ext>
              </a:extLst>
            </p:cNvPr>
            <p:cNvSpPr/>
            <p:nvPr/>
          </p:nvSpPr>
          <p:spPr>
            <a:xfrm>
              <a:off x="16605092" y="9480438"/>
              <a:ext cx="197060" cy="238512"/>
            </a:xfrm>
            <a:custGeom>
              <a:avLst/>
              <a:gdLst>
                <a:gd name="connsiteX0" fmla="*/ 58240 w 197060"/>
                <a:gd name="connsiteY0" fmla="*/ 17790 h 238512"/>
                <a:gd name="connsiteX1" fmla="*/ 189149 w 197060"/>
                <a:gd name="connsiteY1" fmla="*/ 193327 h 238512"/>
                <a:gd name="connsiteX2" fmla="*/ 141546 w 197060"/>
                <a:gd name="connsiteY2" fmla="*/ 229029 h 238512"/>
                <a:gd name="connsiteX3" fmla="*/ 1711 w 197060"/>
                <a:gd name="connsiteY3" fmla="*/ 38616 h 238512"/>
                <a:gd name="connsiteX4" fmla="*/ 58240 w 197060"/>
                <a:gd name="connsiteY4" fmla="*/ 17790 h 238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060" h="238512">
                  <a:moveTo>
                    <a:pt x="58240" y="17790"/>
                  </a:moveTo>
                  <a:cubicBezTo>
                    <a:pt x="87992" y="86219"/>
                    <a:pt x="138571" y="142748"/>
                    <a:pt x="189149" y="193327"/>
                  </a:cubicBezTo>
                  <a:cubicBezTo>
                    <a:pt x="215926" y="220103"/>
                    <a:pt x="168323" y="255806"/>
                    <a:pt x="141546" y="229029"/>
                  </a:cubicBezTo>
                  <a:cubicBezTo>
                    <a:pt x="85016" y="172500"/>
                    <a:pt x="31463" y="112996"/>
                    <a:pt x="1711" y="38616"/>
                  </a:cubicBezTo>
                  <a:cubicBezTo>
                    <a:pt x="-10190" y="5889"/>
                    <a:pt x="43364" y="-17913"/>
                    <a:pt x="58240" y="17790"/>
                  </a:cubicBez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716FBC66-ADAD-46EA-B14D-7EA4C31117C8}"/>
                </a:ext>
              </a:extLst>
            </p:cNvPr>
            <p:cNvSpPr/>
            <p:nvPr/>
          </p:nvSpPr>
          <p:spPr>
            <a:xfrm>
              <a:off x="11674214" y="8603002"/>
              <a:ext cx="1117630" cy="746169"/>
            </a:xfrm>
            <a:custGeom>
              <a:avLst/>
              <a:gdLst>
                <a:gd name="connsiteX0" fmla="*/ 392423 w 1117630"/>
                <a:gd name="connsiteY0" fmla="*/ 213903 h 746169"/>
                <a:gd name="connsiteX1" fmla="*/ 627464 w 1117630"/>
                <a:gd name="connsiteY1" fmla="*/ 472746 h 746169"/>
                <a:gd name="connsiteX2" fmla="*/ 1097548 w 1117630"/>
                <a:gd name="connsiteY2" fmla="*/ 463820 h 746169"/>
                <a:gd name="connsiteX3" fmla="*/ 1115399 w 1117630"/>
                <a:gd name="connsiteY3" fmla="*/ 609605 h 746169"/>
                <a:gd name="connsiteX4" fmla="*/ 570936 w 1117630"/>
                <a:gd name="connsiteY4" fmla="*/ 728614 h 746169"/>
                <a:gd name="connsiteX5" fmla="*/ 47299 w 1117630"/>
                <a:gd name="connsiteY5" fmla="*/ 306134 h 746169"/>
                <a:gd name="connsiteX6" fmla="*/ 35398 w 1117630"/>
                <a:gd name="connsiteY6" fmla="*/ 17539 h 746169"/>
                <a:gd name="connsiteX7" fmla="*/ 392423 w 1117630"/>
                <a:gd name="connsiteY7" fmla="*/ 213903 h 746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17630" h="746169">
                  <a:moveTo>
                    <a:pt x="392423" y="213903"/>
                  </a:moveTo>
                  <a:cubicBezTo>
                    <a:pt x="454903" y="276382"/>
                    <a:pt x="562010" y="407291"/>
                    <a:pt x="627464" y="472746"/>
                  </a:cubicBezTo>
                  <a:cubicBezTo>
                    <a:pt x="704820" y="493572"/>
                    <a:pt x="1052920" y="377539"/>
                    <a:pt x="1097548" y="463820"/>
                  </a:cubicBezTo>
                  <a:cubicBezTo>
                    <a:pt x="1115399" y="538200"/>
                    <a:pt x="1121349" y="550101"/>
                    <a:pt x="1115399" y="609605"/>
                  </a:cubicBezTo>
                  <a:cubicBezTo>
                    <a:pt x="1115399" y="704812"/>
                    <a:pt x="779200" y="782167"/>
                    <a:pt x="570936" y="728614"/>
                  </a:cubicBezTo>
                  <a:cubicBezTo>
                    <a:pt x="460854" y="698861"/>
                    <a:pt x="151431" y="404316"/>
                    <a:pt x="47299" y="306134"/>
                  </a:cubicBezTo>
                  <a:cubicBezTo>
                    <a:pt x="-15179" y="246630"/>
                    <a:pt x="-12205" y="62167"/>
                    <a:pt x="35398" y="17539"/>
                  </a:cubicBezTo>
                  <a:cubicBezTo>
                    <a:pt x="112754" y="-50891"/>
                    <a:pt x="273415" y="94894"/>
                    <a:pt x="392423" y="213903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30B2AA64-71ED-44A3-B766-7607BC708A71}"/>
                </a:ext>
              </a:extLst>
            </p:cNvPr>
            <p:cNvSpPr/>
            <p:nvPr/>
          </p:nvSpPr>
          <p:spPr>
            <a:xfrm>
              <a:off x="11880943" y="8675838"/>
              <a:ext cx="100963" cy="545695"/>
            </a:xfrm>
            <a:custGeom>
              <a:avLst/>
              <a:gdLst>
                <a:gd name="connsiteX0" fmla="*/ 45861 w 100963"/>
                <a:gd name="connsiteY0" fmla="*/ 545695 h 545695"/>
                <a:gd name="connsiteX1" fmla="*/ 45861 w 100963"/>
                <a:gd name="connsiteY1" fmla="*/ 545695 h 545695"/>
                <a:gd name="connsiteX2" fmla="*/ 39910 w 100963"/>
                <a:gd name="connsiteY2" fmla="*/ 539745 h 545695"/>
                <a:gd name="connsiteX3" fmla="*/ 54786 w 100963"/>
                <a:gd name="connsiteY3" fmla="*/ 486191 h 545695"/>
                <a:gd name="connsiteX4" fmla="*/ 87513 w 100963"/>
                <a:gd name="connsiteY4" fmla="*/ 340406 h 545695"/>
                <a:gd name="connsiteX5" fmla="*/ 1232 w 100963"/>
                <a:gd name="connsiteY5" fmla="*/ 10158 h 545695"/>
                <a:gd name="connsiteX6" fmla="*/ 4207 w 100963"/>
                <a:gd name="connsiteY6" fmla="*/ 1232 h 545695"/>
                <a:gd name="connsiteX7" fmla="*/ 13133 w 100963"/>
                <a:gd name="connsiteY7" fmla="*/ 4208 h 545695"/>
                <a:gd name="connsiteX8" fmla="*/ 99414 w 100963"/>
                <a:gd name="connsiteY8" fmla="*/ 340406 h 545695"/>
                <a:gd name="connsiteX9" fmla="*/ 66686 w 100963"/>
                <a:gd name="connsiteY9" fmla="*/ 486191 h 545695"/>
                <a:gd name="connsiteX10" fmla="*/ 51810 w 100963"/>
                <a:gd name="connsiteY10" fmla="*/ 539745 h 545695"/>
                <a:gd name="connsiteX11" fmla="*/ 45861 w 100963"/>
                <a:gd name="connsiteY11" fmla="*/ 545695 h 545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963" h="545695">
                  <a:moveTo>
                    <a:pt x="45861" y="545695"/>
                  </a:moveTo>
                  <a:cubicBezTo>
                    <a:pt x="42885" y="545695"/>
                    <a:pt x="42885" y="545695"/>
                    <a:pt x="45861" y="545695"/>
                  </a:cubicBezTo>
                  <a:cubicBezTo>
                    <a:pt x="42885" y="545695"/>
                    <a:pt x="39910" y="542720"/>
                    <a:pt x="39910" y="539745"/>
                  </a:cubicBezTo>
                  <a:cubicBezTo>
                    <a:pt x="45861" y="521894"/>
                    <a:pt x="48835" y="504042"/>
                    <a:pt x="54786" y="486191"/>
                  </a:cubicBezTo>
                  <a:cubicBezTo>
                    <a:pt x="69662" y="435613"/>
                    <a:pt x="84538" y="385034"/>
                    <a:pt x="87513" y="340406"/>
                  </a:cubicBezTo>
                  <a:cubicBezTo>
                    <a:pt x="93463" y="221398"/>
                    <a:pt x="66686" y="111315"/>
                    <a:pt x="1232" y="10158"/>
                  </a:cubicBezTo>
                  <a:cubicBezTo>
                    <a:pt x="-1743" y="7183"/>
                    <a:pt x="1232" y="4208"/>
                    <a:pt x="4207" y="1232"/>
                  </a:cubicBezTo>
                  <a:cubicBezTo>
                    <a:pt x="7182" y="-1743"/>
                    <a:pt x="10158" y="1232"/>
                    <a:pt x="13133" y="4208"/>
                  </a:cubicBezTo>
                  <a:cubicBezTo>
                    <a:pt x="78587" y="108340"/>
                    <a:pt x="108339" y="221398"/>
                    <a:pt x="99414" y="340406"/>
                  </a:cubicBezTo>
                  <a:cubicBezTo>
                    <a:pt x="96439" y="385034"/>
                    <a:pt x="81563" y="438588"/>
                    <a:pt x="66686" y="486191"/>
                  </a:cubicBezTo>
                  <a:cubicBezTo>
                    <a:pt x="60737" y="504042"/>
                    <a:pt x="54786" y="521894"/>
                    <a:pt x="51810" y="539745"/>
                  </a:cubicBezTo>
                  <a:cubicBezTo>
                    <a:pt x="48835" y="542720"/>
                    <a:pt x="45861" y="545695"/>
                    <a:pt x="45861" y="545695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829511B6-A77B-483B-BA17-B39FA35A5016}"/>
                </a:ext>
              </a:extLst>
            </p:cNvPr>
            <p:cNvSpPr/>
            <p:nvPr/>
          </p:nvSpPr>
          <p:spPr>
            <a:xfrm>
              <a:off x="11086192" y="8575913"/>
              <a:ext cx="924397" cy="1204766"/>
            </a:xfrm>
            <a:custGeom>
              <a:avLst/>
              <a:gdLst>
                <a:gd name="connsiteX0" fmla="*/ 73007 w 924397"/>
                <a:gd name="connsiteY0" fmla="*/ 380826 h 1204766"/>
                <a:gd name="connsiteX1" fmla="*/ 73007 w 924397"/>
                <a:gd name="connsiteY1" fmla="*/ 116033 h 1204766"/>
                <a:gd name="connsiteX2" fmla="*/ 328875 w 924397"/>
                <a:gd name="connsiteY2" fmla="*/ 0 h 1204766"/>
                <a:gd name="connsiteX3" fmla="*/ 596644 w 924397"/>
                <a:gd name="connsiteY3" fmla="*/ 5950 h 1204766"/>
                <a:gd name="connsiteX4" fmla="*/ 920941 w 924397"/>
                <a:gd name="connsiteY4" fmla="*/ 484958 h 1204766"/>
                <a:gd name="connsiteX5" fmla="*/ 891189 w 924397"/>
                <a:gd name="connsiteY5" fmla="*/ 711074 h 1204766"/>
                <a:gd name="connsiteX6" fmla="*/ 834660 w 924397"/>
                <a:gd name="connsiteY6" fmla="*/ 1145455 h 1204766"/>
                <a:gd name="connsiteX7" fmla="*/ 46231 w 924397"/>
                <a:gd name="connsiteY7" fmla="*/ 1139504 h 1204766"/>
                <a:gd name="connsiteX8" fmla="*/ 73007 w 924397"/>
                <a:gd name="connsiteY8" fmla="*/ 380826 h 120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4397" h="1204766">
                  <a:moveTo>
                    <a:pt x="73007" y="380826"/>
                  </a:moveTo>
                  <a:cubicBezTo>
                    <a:pt x="40280" y="294545"/>
                    <a:pt x="13503" y="199339"/>
                    <a:pt x="73007" y="116033"/>
                  </a:cubicBezTo>
                  <a:cubicBezTo>
                    <a:pt x="123586" y="47603"/>
                    <a:pt x="251520" y="11901"/>
                    <a:pt x="328875" y="0"/>
                  </a:cubicBezTo>
                  <a:cubicBezTo>
                    <a:pt x="328875" y="0"/>
                    <a:pt x="599619" y="11901"/>
                    <a:pt x="596644" y="5950"/>
                  </a:cubicBezTo>
                  <a:cubicBezTo>
                    <a:pt x="846561" y="11901"/>
                    <a:pt x="944743" y="279669"/>
                    <a:pt x="920941" y="484958"/>
                  </a:cubicBezTo>
                  <a:cubicBezTo>
                    <a:pt x="912016" y="562314"/>
                    <a:pt x="894164" y="633719"/>
                    <a:pt x="891189" y="711074"/>
                  </a:cubicBezTo>
                  <a:cubicBezTo>
                    <a:pt x="888214" y="785454"/>
                    <a:pt x="974495" y="963967"/>
                    <a:pt x="834660" y="1145455"/>
                  </a:cubicBezTo>
                  <a:cubicBezTo>
                    <a:pt x="825735" y="1157355"/>
                    <a:pt x="480611" y="1276364"/>
                    <a:pt x="46231" y="1139504"/>
                  </a:cubicBezTo>
                  <a:cubicBezTo>
                    <a:pt x="-99554" y="990743"/>
                    <a:pt x="153338" y="592066"/>
                    <a:pt x="73007" y="380826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D56B9C4D-4FDA-413E-A5FA-13D9AD526626}"/>
                </a:ext>
              </a:extLst>
            </p:cNvPr>
            <p:cNvSpPr/>
            <p:nvPr/>
          </p:nvSpPr>
          <p:spPr>
            <a:xfrm>
              <a:off x="11950604" y="8763351"/>
              <a:ext cx="63984" cy="734876"/>
            </a:xfrm>
            <a:custGeom>
              <a:avLst/>
              <a:gdLst>
                <a:gd name="connsiteX0" fmla="*/ 26777 w 63984"/>
                <a:gd name="connsiteY0" fmla="*/ 734876 h 734876"/>
                <a:gd name="connsiteX1" fmla="*/ 20827 w 63984"/>
                <a:gd name="connsiteY1" fmla="*/ 728926 h 734876"/>
                <a:gd name="connsiteX2" fmla="*/ 44628 w 63984"/>
                <a:gd name="connsiteY2" fmla="*/ 318347 h 734876"/>
                <a:gd name="connsiteX3" fmla="*/ 53553 w 63984"/>
                <a:gd name="connsiteY3" fmla="*/ 255868 h 734876"/>
                <a:gd name="connsiteX4" fmla="*/ 0 w 63984"/>
                <a:gd name="connsiteY4" fmla="*/ 5951 h 734876"/>
                <a:gd name="connsiteX5" fmla="*/ 2975 w 63984"/>
                <a:gd name="connsiteY5" fmla="*/ 0 h 734876"/>
                <a:gd name="connsiteX6" fmla="*/ 8925 w 63984"/>
                <a:gd name="connsiteY6" fmla="*/ 2975 h 734876"/>
                <a:gd name="connsiteX7" fmla="*/ 62480 w 63984"/>
                <a:gd name="connsiteY7" fmla="*/ 258843 h 734876"/>
                <a:gd name="connsiteX8" fmla="*/ 53553 w 63984"/>
                <a:gd name="connsiteY8" fmla="*/ 321322 h 734876"/>
                <a:gd name="connsiteX9" fmla="*/ 29752 w 63984"/>
                <a:gd name="connsiteY9" fmla="*/ 728926 h 734876"/>
                <a:gd name="connsiteX10" fmla="*/ 26777 w 63984"/>
                <a:gd name="connsiteY10" fmla="*/ 734876 h 734876"/>
                <a:gd name="connsiteX11" fmla="*/ 26777 w 63984"/>
                <a:gd name="connsiteY11" fmla="*/ 734876 h 734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3984" h="734876">
                  <a:moveTo>
                    <a:pt x="26777" y="734876"/>
                  </a:moveTo>
                  <a:cubicBezTo>
                    <a:pt x="23801" y="734876"/>
                    <a:pt x="20827" y="731901"/>
                    <a:pt x="20827" y="728926"/>
                  </a:cubicBezTo>
                  <a:cubicBezTo>
                    <a:pt x="5951" y="609917"/>
                    <a:pt x="29752" y="434380"/>
                    <a:pt x="44628" y="318347"/>
                  </a:cubicBezTo>
                  <a:cubicBezTo>
                    <a:pt x="47603" y="294546"/>
                    <a:pt x="50579" y="273719"/>
                    <a:pt x="53553" y="255868"/>
                  </a:cubicBezTo>
                  <a:cubicBezTo>
                    <a:pt x="65455" y="154711"/>
                    <a:pt x="2975" y="5951"/>
                    <a:pt x="0" y="5951"/>
                  </a:cubicBezTo>
                  <a:cubicBezTo>
                    <a:pt x="0" y="2975"/>
                    <a:pt x="0" y="0"/>
                    <a:pt x="2975" y="0"/>
                  </a:cubicBezTo>
                  <a:cubicBezTo>
                    <a:pt x="5951" y="0"/>
                    <a:pt x="8925" y="0"/>
                    <a:pt x="8925" y="2975"/>
                  </a:cubicBezTo>
                  <a:cubicBezTo>
                    <a:pt x="11901" y="8926"/>
                    <a:pt x="74380" y="154711"/>
                    <a:pt x="62480" y="258843"/>
                  </a:cubicBezTo>
                  <a:cubicBezTo>
                    <a:pt x="59504" y="276694"/>
                    <a:pt x="56529" y="297521"/>
                    <a:pt x="53553" y="321322"/>
                  </a:cubicBezTo>
                  <a:cubicBezTo>
                    <a:pt x="38677" y="437356"/>
                    <a:pt x="17851" y="612893"/>
                    <a:pt x="29752" y="728926"/>
                  </a:cubicBezTo>
                  <a:cubicBezTo>
                    <a:pt x="32727" y="731901"/>
                    <a:pt x="29752" y="734876"/>
                    <a:pt x="26777" y="734876"/>
                  </a:cubicBezTo>
                  <a:cubicBezTo>
                    <a:pt x="26777" y="734876"/>
                    <a:pt x="26777" y="734876"/>
                    <a:pt x="26777" y="734876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C288A2F8-2E47-49E7-9A91-E9F408B0A27C}"/>
                </a:ext>
              </a:extLst>
            </p:cNvPr>
            <p:cNvSpPr/>
            <p:nvPr/>
          </p:nvSpPr>
          <p:spPr>
            <a:xfrm>
              <a:off x="11371019" y="8525232"/>
              <a:ext cx="389172" cy="128780"/>
            </a:xfrm>
            <a:custGeom>
              <a:avLst/>
              <a:gdLst>
                <a:gd name="connsiteX0" fmla="*/ 389172 w 389172"/>
                <a:gd name="connsiteY0" fmla="*/ 74483 h 128780"/>
                <a:gd name="connsiteX1" fmla="*/ 368345 w 389172"/>
                <a:gd name="connsiteY1" fmla="*/ 9028 h 128780"/>
                <a:gd name="connsiteX2" fmla="*/ 356445 w 389172"/>
                <a:gd name="connsiteY2" fmla="*/ 3078 h 128780"/>
                <a:gd name="connsiteX3" fmla="*/ 47023 w 389172"/>
                <a:gd name="connsiteY3" fmla="*/ 103 h 128780"/>
                <a:gd name="connsiteX4" fmla="*/ 2395 w 389172"/>
                <a:gd name="connsiteY4" fmla="*/ 74483 h 128780"/>
                <a:gd name="connsiteX5" fmla="*/ 11321 w 389172"/>
                <a:gd name="connsiteY5" fmla="*/ 95310 h 128780"/>
                <a:gd name="connsiteX6" fmla="*/ 383221 w 389172"/>
                <a:gd name="connsiteY6" fmla="*/ 95310 h 128780"/>
                <a:gd name="connsiteX7" fmla="*/ 389172 w 389172"/>
                <a:gd name="connsiteY7" fmla="*/ 74483 h 128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9172" h="128780">
                  <a:moveTo>
                    <a:pt x="389172" y="74483"/>
                  </a:moveTo>
                  <a:cubicBezTo>
                    <a:pt x="383221" y="50682"/>
                    <a:pt x="377272" y="29855"/>
                    <a:pt x="368345" y="9028"/>
                  </a:cubicBezTo>
                  <a:cubicBezTo>
                    <a:pt x="365370" y="6054"/>
                    <a:pt x="359420" y="103"/>
                    <a:pt x="356445" y="3078"/>
                  </a:cubicBezTo>
                  <a:cubicBezTo>
                    <a:pt x="252313" y="17954"/>
                    <a:pt x="148180" y="29855"/>
                    <a:pt x="47023" y="103"/>
                  </a:cubicBezTo>
                  <a:cubicBezTo>
                    <a:pt x="35123" y="-2872"/>
                    <a:pt x="11321" y="59607"/>
                    <a:pt x="2395" y="74483"/>
                  </a:cubicBezTo>
                  <a:cubicBezTo>
                    <a:pt x="-3555" y="83409"/>
                    <a:pt x="2395" y="92334"/>
                    <a:pt x="11321" y="95310"/>
                  </a:cubicBezTo>
                  <a:cubicBezTo>
                    <a:pt x="133304" y="139938"/>
                    <a:pt x="261238" y="139938"/>
                    <a:pt x="383221" y="95310"/>
                  </a:cubicBezTo>
                  <a:cubicBezTo>
                    <a:pt x="386197" y="89359"/>
                    <a:pt x="389172" y="80434"/>
                    <a:pt x="389172" y="74483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F460773D-06B9-4C67-AE27-CB1453D7E8C9}"/>
                </a:ext>
              </a:extLst>
            </p:cNvPr>
            <p:cNvSpPr/>
            <p:nvPr/>
          </p:nvSpPr>
          <p:spPr>
            <a:xfrm>
              <a:off x="11631757" y="8665169"/>
              <a:ext cx="102428" cy="1121652"/>
            </a:xfrm>
            <a:custGeom>
              <a:avLst/>
              <a:gdLst>
                <a:gd name="connsiteX0" fmla="*/ 9426 w 102428"/>
                <a:gd name="connsiteY0" fmla="*/ 1121652 h 1121652"/>
                <a:gd name="connsiteX1" fmla="*/ 3475 w 102428"/>
                <a:gd name="connsiteY1" fmla="*/ 1115703 h 1121652"/>
                <a:gd name="connsiteX2" fmla="*/ 57030 w 102428"/>
                <a:gd name="connsiteY2" fmla="*/ 684298 h 1121652"/>
                <a:gd name="connsiteX3" fmla="*/ 83806 w 102428"/>
                <a:gd name="connsiteY3" fmla="*/ 550413 h 1121652"/>
                <a:gd name="connsiteX4" fmla="*/ 45128 w 102428"/>
                <a:gd name="connsiteY4" fmla="*/ 5950 h 1121652"/>
                <a:gd name="connsiteX5" fmla="*/ 48104 w 102428"/>
                <a:gd name="connsiteY5" fmla="*/ 0 h 1121652"/>
                <a:gd name="connsiteX6" fmla="*/ 54054 w 102428"/>
                <a:gd name="connsiteY6" fmla="*/ 2975 h 1121652"/>
                <a:gd name="connsiteX7" fmla="*/ 92732 w 102428"/>
                <a:gd name="connsiteY7" fmla="*/ 550413 h 1121652"/>
                <a:gd name="connsiteX8" fmla="*/ 65955 w 102428"/>
                <a:gd name="connsiteY8" fmla="*/ 684298 h 1121652"/>
                <a:gd name="connsiteX9" fmla="*/ 12402 w 102428"/>
                <a:gd name="connsiteY9" fmla="*/ 1112727 h 1121652"/>
                <a:gd name="connsiteX10" fmla="*/ 9426 w 102428"/>
                <a:gd name="connsiteY10" fmla="*/ 1121652 h 1121652"/>
                <a:gd name="connsiteX11" fmla="*/ 9426 w 102428"/>
                <a:gd name="connsiteY11" fmla="*/ 1121652 h 112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428" h="1121652">
                  <a:moveTo>
                    <a:pt x="9426" y="1121652"/>
                  </a:moveTo>
                  <a:cubicBezTo>
                    <a:pt x="6451" y="1121652"/>
                    <a:pt x="3475" y="1118678"/>
                    <a:pt x="3475" y="1115703"/>
                  </a:cubicBezTo>
                  <a:cubicBezTo>
                    <a:pt x="-11401" y="996694"/>
                    <a:pt x="24302" y="830082"/>
                    <a:pt x="57030" y="684298"/>
                  </a:cubicBezTo>
                  <a:cubicBezTo>
                    <a:pt x="65955" y="636694"/>
                    <a:pt x="77856" y="592066"/>
                    <a:pt x="83806" y="550413"/>
                  </a:cubicBezTo>
                  <a:cubicBezTo>
                    <a:pt x="116534" y="374876"/>
                    <a:pt x="45128" y="8925"/>
                    <a:pt x="45128" y="5950"/>
                  </a:cubicBezTo>
                  <a:cubicBezTo>
                    <a:pt x="45128" y="2975"/>
                    <a:pt x="45128" y="0"/>
                    <a:pt x="48104" y="0"/>
                  </a:cubicBezTo>
                  <a:cubicBezTo>
                    <a:pt x="51079" y="0"/>
                    <a:pt x="54054" y="0"/>
                    <a:pt x="54054" y="2975"/>
                  </a:cubicBezTo>
                  <a:cubicBezTo>
                    <a:pt x="54054" y="5950"/>
                    <a:pt x="128435" y="374876"/>
                    <a:pt x="92732" y="550413"/>
                  </a:cubicBezTo>
                  <a:cubicBezTo>
                    <a:pt x="83806" y="592066"/>
                    <a:pt x="74880" y="636694"/>
                    <a:pt x="65955" y="684298"/>
                  </a:cubicBezTo>
                  <a:cubicBezTo>
                    <a:pt x="33228" y="830082"/>
                    <a:pt x="-2474" y="996694"/>
                    <a:pt x="12402" y="1112727"/>
                  </a:cubicBezTo>
                  <a:cubicBezTo>
                    <a:pt x="15376" y="1118678"/>
                    <a:pt x="12402" y="1121652"/>
                    <a:pt x="9426" y="1121652"/>
                  </a:cubicBezTo>
                  <a:cubicBezTo>
                    <a:pt x="9426" y="1121652"/>
                    <a:pt x="9426" y="1121652"/>
                    <a:pt x="9426" y="1121652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0" name="图形 1">
              <a:extLst>
                <a:ext uri="{FF2B5EF4-FFF2-40B4-BE49-F238E27FC236}">
                  <a16:creationId xmlns:a16="http://schemas.microsoft.com/office/drawing/2014/main" id="{E2C1CBE9-61FF-4013-822A-A1D44885800C}"/>
                </a:ext>
              </a:extLst>
            </p:cNvPr>
            <p:cNvGrpSpPr/>
            <p:nvPr/>
          </p:nvGrpSpPr>
          <p:grpSpPr>
            <a:xfrm>
              <a:off x="10788579" y="9587001"/>
              <a:ext cx="188157" cy="292052"/>
              <a:chOff x="10788579" y="9587001"/>
              <a:chExt cx="188157" cy="292052"/>
            </a:xfrm>
          </p:grpSpPr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7AB62BE0-FC99-49BC-BEC2-D35096826BC9}"/>
                  </a:ext>
                </a:extLst>
              </p:cNvPr>
              <p:cNvSpPr/>
              <p:nvPr/>
            </p:nvSpPr>
            <p:spPr>
              <a:xfrm>
                <a:off x="10788579" y="9587001"/>
                <a:ext cx="177231" cy="289076"/>
              </a:xfrm>
              <a:custGeom>
                <a:avLst/>
                <a:gdLst>
                  <a:gd name="connsiteX0" fmla="*/ 25496 w 177231"/>
                  <a:gd name="connsiteY0" fmla="*/ 18334 h 289076"/>
                  <a:gd name="connsiteX1" fmla="*/ 16570 w 177231"/>
                  <a:gd name="connsiteY1" fmla="*/ 24284 h 289076"/>
                  <a:gd name="connsiteX2" fmla="*/ 7645 w 177231"/>
                  <a:gd name="connsiteY2" fmla="*/ 173044 h 289076"/>
                  <a:gd name="connsiteX3" fmla="*/ 79050 w 177231"/>
                  <a:gd name="connsiteY3" fmla="*/ 280151 h 289076"/>
                  <a:gd name="connsiteX4" fmla="*/ 87975 w 177231"/>
                  <a:gd name="connsiteY4" fmla="*/ 268251 h 289076"/>
                  <a:gd name="connsiteX5" fmla="*/ 73099 w 177231"/>
                  <a:gd name="connsiteY5" fmla="*/ 235523 h 289076"/>
                  <a:gd name="connsiteX6" fmla="*/ 99876 w 177231"/>
                  <a:gd name="connsiteY6" fmla="*/ 271226 h 289076"/>
                  <a:gd name="connsiteX7" fmla="*/ 126653 w 177231"/>
                  <a:gd name="connsiteY7" fmla="*/ 289077 h 289076"/>
                  <a:gd name="connsiteX8" fmla="*/ 135579 w 177231"/>
                  <a:gd name="connsiteY8" fmla="*/ 274201 h 289076"/>
                  <a:gd name="connsiteX9" fmla="*/ 138554 w 177231"/>
                  <a:gd name="connsiteY9" fmla="*/ 277176 h 289076"/>
                  <a:gd name="connsiteX10" fmla="*/ 147479 w 177231"/>
                  <a:gd name="connsiteY10" fmla="*/ 259325 h 289076"/>
                  <a:gd name="connsiteX11" fmla="*/ 99876 w 177231"/>
                  <a:gd name="connsiteY11" fmla="*/ 116515 h 289076"/>
                  <a:gd name="connsiteX12" fmla="*/ 138554 w 177231"/>
                  <a:gd name="connsiteY12" fmla="*/ 140316 h 289076"/>
                  <a:gd name="connsiteX13" fmla="*/ 159380 w 177231"/>
                  <a:gd name="connsiteY13" fmla="*/ 184945 h 289076"/>
                  <a:gd name="connsiteX14" fmla="*/ 177231 w 177231"/>
                  <a:gd name="connsiteY14" fmla="*/ 155192 h 289076"/>
                  <a:gd name="connsiteX15" fmla="*/ 162355 w 177231"/>
                  <a:gd name="connsiteY15" fmla="*/ 101639 h 289076"/>
                  <a:gd name="connsiteX16" fmla="*/ 126653 w 177231"/>
                  <a:gd name="connsiteY16" fmla="*/ 33210 h 289076"/>
                  <a:gd name="connsiteX17" fmla="*/ 25496 w 177231"/>
                  <a:gd name="connsiteY17" fmla="*/ 18334 h 289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7231" h="289076">
                    <a:moveTo>
                      <a:pt x="25496" y="18334"/>
                    </a:moveTo>
                    <a:cubicBezTo>
                      <a:pt x="22521" y="18334"/>
                      <a:pt x="16570" y="18334"/>
                      <a:pt x="16570" y="24284"/>
                    </a:cubicBezTo>
                    <a:cubicBezTo>
                      <a:pt x="1694" y="65936"/>
                      <a:pt x="-7231" y="128416"/>
                      <a:pt x="7645" y="173044"/>
                    </a:cubicBezTo>
                    <a:cubicBezTo>
                      <a:pt x="19546" y="202796"/>
                      <a:pt x="64174" y="280151"/>
                      <a:pt x="79050" y="280151"/>
                    </a:cubicBezTo>
                    <a:cubicBezTo>
                      <a:pt x="82025" y="280151"/>
                      <a:pt x="87975" y="271226"/>
                      <a:pt x="87975" y="268251"/>
                    </a:cubicBezTo>
                    <a:cubicBezTo>
                      <a:pt x="87975" y="262300"/>
                      <a:pt x="76075" y="241474"/>
                      <a:pt x="73099" y="235523"/>
                    </a:cubicBezTo>
                    <a:cubicBezTo>
                      <a:pt x="82025" y="247424"/>
                      <a:pt x="87975" y="262300"/>
                      <a:pt x="99876" y="271226"/>
                    </a:cubicBezTo>
                    <a:cubicBezTo>
                      <a:pt x="108802" y="280151"/>
                      <a:pt x="117727" y="289077"/>
                      <a:pt x="126653" y="289077"/>
                    </a:cubicBezTo>
                    <a:cubicBezTo>
                      <a:pt x="138554" y="289077"/>
                      <a:pt x="135579" y="283127"/>
                      <a:pt x="135579" y="274201"/>
                    </a:cubicBezTo>
                    <a:cubicBezTo>
                      <a:pt x="135579" y="274201"/>
                      <a:pt x="138554" y="277176"/>
                      <a:pt x="138554" y="277176"/>
                    </a:cubicBezTo>
                    <a:cubicBezTo>
                      <a:pt x="141529" y="280151"/>
                      <a:pt x="144504" y="262300"/>
                      <a:pt x="147479" y="259325"/>
                    </a:cubicBezTo>
                    <a:cubicBezTo>
                      <a:pt x="165331" y="244449"/>
                      <a:pt x="73099" y="146267"/>
                      <a:pt x="99876" y="116515"/>
                    </a:cubicBezTo>
                    <a:cubicBezTo>
                      <a:pt x="105827" y="119491"/>
                      <a:pt x="129628" y="128416"/>
                      <a:pt x="138554" y="140316"/>
                    </a:cubicBezTo>
                    <a:cubicBezTo>
                      <a:pt x="141529" y="176019"/>
                      <a:pt x="156405" y="184945"/>
                      <a:pt x="159380" y="184945"/>
                    </a:cubicBezTo>
                    <a:cubicBezTo>
                      <a:pt x="165331" y="184945"/>
                      <a:pt x="177231" y="158168"/>
                      <a:pt x="177231" y="155192"/>
                    </a:cubicBezTo>
                    <a:cubicBezTo>
                      <a:pt x="171282" y="119491"/>
                      <a:pt x="177231" y="128416"/>
                      <a:pt x="162355" y="101639"/>
                    </a:cubicBezTo>
                    <a:cubicBezTo>
                      <a:pt x="150455" y="80812"/>
                      <a:pt x="135579" y="57011"/>
                      <a:pt x="126653" y="33210"/>
                    </a:cubicBezTo>
                    <a:cubicBezTo>
                      <a:pt x="108802" y="-11418"/>
                      <a:pt x="58223" y="-5469"/>
                      <a:pt x="25496" y="18334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8A1C9E2B-7446-49F5-B76F-E3E41EEB8CF7}"/>
                  </a:ext>
                </a:extLst>
              </p:cNvPr>
              <p:cNvSpPr/>
              <p:nvPr/>
            </p:nvSpPr>
            <p:spPr>
              <a:xfrm>
                <a:off x="10833669" y="9757070"/>
                <a:ext cx="105922" cy="121983"/>
              </a:xfrm>
              <a:custGeom>
                <a:avLst/>
                <a:gdLst>
                  <a:gd name="connsiteX0" fmla="*/ 84538 w 105922"/>
                  <a:gd name="connsiteY0" fmla="*/ 121984 h 121983"/>
                  <a:gd name="connsiteX1" fmla="*/ 51811 w 105922"/>
                  <a:gd name="connsiteY1" fmla="*/ 101158 h 121983"/>
                  <a:gd name="connsiteX2" fmla="*/ 1232 w 105922"/>
                  <a:gd name="connsiteY2" fmla="*/ 32727 h 121983"/>
                  <a:gd name="connsiteX3" fmla="*/ 4208 w 105922"/>
                  <a:gd name="connsiteY3" fmla="*/ 23802 h 121983"/>
                  <a:gd name="connsiteX4" fmla="*/ 13133 w 105922"/>
                  <a:gd name="connsiteY4" fmla="*/ 26778 h 121983"/>
                  <a:gd name="connsiteX5" fmla="*/ 63712 w 105922"/>
                  <a:gd name="connsiteY5" fmla="*/ 92232 h 121983"/>
                  <a:gd name="connsiteX6" fmla="*/ 90489 w 105922"/>
                  <a:gd name="connsiteY6" fmla="*/ 110083 h 121983"/>
                  <a:gd name="connsiteX7" fmla="*/ 90489 w 105922"/>
                  <a:gd name="connsiteY7" fmla="*/ 110083 h 121983"/>
                  <a:gd name="connsiteX8" fmla="*/ 96439 w 105922"/>
                  <a:gd name="connsiteY8" fmla="*/ 107108 h 121983"/>
                  <a:gd name="connsiteX9" fmla="*/ 72637 w 105922"/>
                  <a:gd name="connsiteY9" fmla="*/ 80331 h 121983"/>
                  <a:gd name="connsiteX10" fmla="*/ 16108 w 105922"/>
                  <a:gd name="connsiteY10" fmla="*/ 5951 h 121983"/>
                  <a:gd name="connsiteX11" fmla="*/ 19084 w 105922"/>
                  <a:gd name="connsiteY11" fmla="*/ 0 h 121983"/>
                  <a:gd name="connsiteX12" fmla="*/ 25034 w 105922"/>
                  <a:gd name="connsiteY12" fmla="*/ 2975 h 121983"/>
                  <a:gd name="connsiteX13" fmla="*/ 78588 w 105922"/>
                  <a:gd name="connsiteY13" fmla="*/ 71406 h 121983"/>
                  <a:gd name="connsiteX14" fmla="*/ 105365 w 105922"/>
                  <a:gd name="connsiteY14" fmla="*/ 110083 h 121983"/>
                  <a:gd name="connsiteX15" fmla="*/ 84538 w 105922"/>
                  <a:gd name="connsiteY15" fmla="*/ 121984 h 121983"/>
                  <a:gd name="connsiteX16" fmla="*/ 84538 w 105922"/>
                  <a:gd name="connsiteY16" fmla="*/ 121984 h 121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5922" h="121983">
                    <a:moveTo>
                      <a:pt x="84538" y="121984"/>
                    </a:moveTo>
                    <a:cubicBezTo>
                      <a:pt x="72637" y="121984"/>
                      <a:pt x="60737" y="113058"/>
                      <a:pt x="51811" y="101158"/>
                    </a:cubicBezTo>
                    <a:cubicBezTo>
                      <a:pt x="33960" y="83306"/>
                      <a:pt x="1232" y="35703"/>
                      <a:pt x="1232" y="32727"/>
                    </a:cubicBezTo>
                    <a:cubicBezTo>
                      <a:pt x="-1743" y="29752"/>
                      <a:pt x="1232" y="26778"/>
                      <a:pt x="4208" y="23802"/>
                    </a:cubicBezTo>
                    <a:cubicBezTo>
                      <a:pt x="7183" y="20827"/>
                      <a:pt x="10158" y="23802"/>
                      <a:pt x="13133" y="26778"/>
                    </a:cubicBezTo>
                    <a:cubicBezTo>
                      <a:pt x="13133" y="26778"/>
                      <a:pt x="45861" y="77356"/>
                      <a:pt x="63712" y="92232"/>
                    </a:cubicBezTo>
                    <a:cubicBezTo>
                      <a:pt x="69662" y="98182"/>
                      <a:pt x="81563" y="110083"/>
                      <a:pt x="90489" y="110083"/>
                    </a:cubicBezTo>
                    <a:cubicBezTo>
                      <a:pt x="90489" y="110083"/>
                      <a:pt x="90489" y="110083"/>
                      <a:pt x="90489" y="110083"/>
                    </a:cubicBezTo>
                    <a:cubicBezTo>
                      <a:pt x="90489" y="110083"/>
                      <a:pt x="93464" y="110083"/>
                      <a:pt x="96439" y="107108"/>
                    </a:cubicBezTo>
                    <a:cubicBezTo>
                      <a:pt x="93464" y="101158"/>
                      <a:pt x="81563" y="92232"/>
                      <a:pt x="72637" y="80331"/>
                    </a:cubicBezTo>
                    <a:cubicBezTo>
                      <a:pt x="48836" y="56530"/>
                      <a:pt x="22059" y="29752"/>
                      <a:pt x="16108" y="5951"/>
                    </a:cubicBezTo>
                    <a:cubicBezTo>
                      <a:pt x="16108" y="2975"/>
                      <a:pt x="16108" y="0"/>
                      <a:pt x="19084" y="0"/>
                    </a:cubicBezTo>
                    <a:cubicBezTo>
                      <a:pt x="22059" y="0"/>
                      <a:pt x="25034" y="0"/>
                      <a:pt x="25034" y="2975"/>
                    </a:cubicBezTo>
                    <a:cubicBezTo>
                      <a:pt x="30985" y="23802"/>
                      <a:pt x="57761" y="50579"/>
                      <a:pt x="78588" y="71406"/>
                    </a:cubicBezTo>
                    <a:cubicBezTo>
                      <a:pt x="99414" y="95207"/>
                      <a:pt x="108340" y="104132"/>
                      <a:pt x="105365" y="110083"/>
                    </a:cubicBezTo>
                    <a:cubicBezTo>
                      <a:pt x="96439" y="119008"/>
                      <a:pt x="90489" y="121984"/>
                      <a:pt x="84538" y="121984"/>
                    </a:cubicBezTo>
                    <a:cubicBezTo>
                      <a:pt x="84538" y="121984"/>
                      <a:pt x="84538" y="121984"/>
                      <a:pt x="84538" y="121984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F4E64943-9041-4A05-9850-44A86C4FA3A2}"/>
                  </a:ext>
                </a:extLst>
              </p:cNvPr>
              <p:cNvSpPr/>
              <p:nvPr/>
            </p:nvSpPr>
            <p:spPr>
              <a:xfrm>
                <a:off x="10878697" y="9663606"/>
                <a:ext cx="98039" cy="197595"/>
              </a:xfrm>
              <a:custGeom>
                <a:avLst/>
                <a:gdLst>
                  <a:gd name="connsiteX0" fmla="*/ 48437 w 98039"/>
                  <a:gd name="connsiteY0" fmla="*/ 197595 h 197595"/>
                  <a:gd name="connsiteX1" fmla="*/ 45461 w 98039"/>
                  <a:gd name="connsiteY1" fmla="*/ 197595 h 197595"/>
                  <a:gd name="connsiteX2" fmla="*/ 39510 w 98039"/>
                  <a:gd name="connsiteY2" fmla="*/ 191646 h 197595"/>
                  <a:gd name="connsiteX3" fmla="*/ 45461 w 98039"/>
                  <a:gd name="connsiteY3" fmla="*/ 185695 h 197595"/>
                  <a:gd name="connsiteX4" fmla="*/ 45461 w 98039"/>
                  <a:gd name="connsiteY4" fmla="*/ 185695 h 197595"/>
                  <a:gd name="connsiteX5" fmla="*/ 51412 w 98039"/>
                  <a:gd name="connsiteY5" fmla="*/ 182719 h 197595"/>
                  <a:gd name="connsiteX6" fmla="*/ 54386 w 98039"/>
                  <a:gd name="connsiteY6" fmla="*/ 170819 h 197595"/>
                  <a:gd name="connsiteX7" fmla="*/ 36536 w 98039"/>
                  <a:gd name="connsiteY7" fmla="*/ 138091 h 197595"/>
                  <a:gd name="connsiteX8" fmla="*/ 833 w 98039"/>
                  <a:gd name="connsiteY8" fmla="*/ 75613 h 197595"/>
                  <a:gd name="connsiteX9" fmla="*/ 3808 w 98039"/>
                  <a:gd name="connsiteY9" fmla="*/ 39910 h 197595"/>
                  <a:gd name="connsiteX10" fmla="*/ 9758 w 98039"/>
                  <a:gd name="connsiteY10" fmla="*/ 36934 h 197595"/>
                  <a:gd name="connsiteX11" fmla="*/ 54386 w 98039"/>
                  <a:gd name="connsiteY11" fmla="*/ 63711 h 197595"/>
                  <a:gd name="connsiteX12" fmla="*/ 57362 w 98039"/>
                  <a:gd name="connsiteY12" fmla="*/ 66686 h 197595"/>
                  <a:gd name="connsiteX13" fmla="*/ 72238 w 98039"/>
                  <a:gd name="connsiteY13" fmla="*/ 105365 h 197595"/>
                  <a:gd name="connsiteX14" fmla="*/ 81164 w 98039"/>
                  <a:gd name="connsiteY14" fmla="*/ 93463 h 197595"/>
                  <a:gd name="connsiteX15" fmla="*/ 60337 w 98039"/>
                  <a:gd name="connsiteY15" fmla="*/ 10158 h 197595"/>
                  <a:gd name="connsiteX16" fmla="*/ 63313 w 98039"/>
                  <a:gd name="connsiteY16" fmla="*/ 1232 h 197595"/>
                  <a:gd name="connsiteX17" fmla="*/ 72238 w 98039"/>
                  <a:gd name="connsiteY17" fmla="*/ 4207 h 197595"/>
                  <a:gd name="connsiteX18" fmla="*/ 93065 w 98039"/>
                  <a:gd name="connsiteY18" fmla="*/ 99414 h 197595"/>
                  <a:gd name="connsiteX19" fmla="*/ 72238 w 98039"/>
                  <a:gd name="connsiteY19" fmla="*/ 117265 h 197595"/>
                  <a:gd name="connsiteX20" fmla="*/ 48437 w 98039"/>
                  <a:gd name="connsiteY20" fmla="*/ 72637 h 197595"/>
                  <a:gd name="connsiteX21" fmla="*/ 18685 w 98039"/>
                  <a:gd name="connsiteY21" fmla="*/ 51810 h 197595"/>
                  <a:gd name="connsiteX22" fmla="*/ 18685 w 98039"/>
                  <a:gd name="connsiteY22" fmla="*/ 78587 h 197595"/>
                  <a:gd name="connsiteX23" fmla="*/ 51412 w 98039"/>
                  <a:gd name="connsiteY23" fmla="*/ 138091 h 197595"/>
                  <a:gd name="connsiteX24" fmla="*/ 72238 w 98039"/>
                  <a:gd name="connsiteY24" fmla="*/ 176769 h 197595"/>
                  <a:gd name="connsiteX25" fmla="*/ 63313 w 98039"/>
                  <a:gd name="connsiteY25" fmla="*/ 197595 h 197595"/>
                  <a:gd name="connsiteX26" fmla="*/ 48437 w 98039"/>
                  <a:gd name="connsiteY26" fmla="*/ 197595 h 197595"/>
                  <a:gd name="connsiteX27" fmla="*/ 72238 w 98039"/>
                  <a:gd name="connsiteY27" fmla="*/ 102389 h 197595"/>
                  <a:gd name="connsiteX28" fmla="*/ 72238 w 98039"/>
                  <a:gd name="connsiteY28" fmla="*/ 102389 h 197595"/>
                  <a:gd name="connsiteX29" fmla="*/ 72238 w 98039"/>
                  <a:gd name="connsiteY29" fmla="*/ 102389 h 197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98039" h="197595">
                    <a:moveTo>
                      <a:pt x="48437" y="197595"/>
                    </a:moveTo>
                    <a:cubicBezTo>
                      <a:pt x="45461" y="197595"/>
                      <a:pt x="45461" y="197595"/>
                      <a:pt x="45461" y="197595"/>
                    </a:cubicBezTo>
                    <a:cubicBezTo>
                      <a:pt x="42486" y="197595"/>
                      <a:pt x="39510" y="194621"/>
                      <a:pt x="39510" y="191646"/>
                    </a:cubicBezTo>
                    <a:cubicBezTo>
                      <a:pt x="39510" y="188670"/>
                      <a:pt x="42486" y="185695"/>
                      <a:pt x="45461" y="185695"/>
                    </a:cubicBezTo>
                    <a:lnTo>
                      <a:pt x="45461" y="185695"/>
                    </a:lnTo>
                    <a:cubicBezTo>
                      <a:pt x="45461" y="185695"/>
                      <a:pt x="48437" y="185695"/>
                      <a:pt x="51412" y="182719"/>
                    </a:cubicBezTo>
                    <a:cubicBezTo>
                      <a:pt x="54386" y="179745"/>
                      <a:pt x="54386" y="176769"/>
                      <a:pt x="54386" y="170819"/>
                    </a:cubicBezTo>
                    <a:cubicBezTo>
                      <a:pt x="54386" y="161893"/>
                      <a:pt x="45461" y="152967"/>
                      <a:pt x="36536" y="138091"/>
                    </a:cubicBezTo>
                    <a:cubicBezTo>
                      <a:pt x="24634" y="123215"/>
                      <a:pt x="9758" y="102389"/>
                      <a:pt x="833" y="75613"/>
                    </a:cubicBezTo>
                    <a:cubicBezTo>
                      <a:pt x="-2142" y="60737"/>
                      <a:pt x="3808" y="39910"/>
                      <a:pt x="3808" y="39910"/>
                    </a:cubicBezTo>
                    <a:cubicBezTo>
                      <a:pt x="3808" y="36934"/>
                      <a:pt x="6784" y="36934"/>
                      <a:pt x="9758" y="36934"/>
                    </a:cubicBezTo>
                    <a:cubicBezTo>
                      <a:pt x="24634" y="33959"/>
                      <a:pt x="48437" y="54786"/>
                      <a:pt x="54386" y="63711"/>
                    </a:cubicBezTo>
                    <a:cubicBezTo>
                      <a:pt x="54386" y="63711"/>
                      <a:pt x="54386" y="66686"/>
                      <a:pt x="57362" y="66686"/>
                    </a:cubicBezTo>
                    <a:cubicBezTo>
                      <a:pt x="66288" y="96439"/>
                      <a:pt x="69263" y="102389"/>
                      <a:pt x="72238" y="105365"/>
                    </a:cubicBezTo>
                    <a:cubicBezTo>
                      <a:pt x="72238" y="105365"/>
                      <a:pt x="75213" y="105365"/>
                      <a:pt x="81164" y="93463"/>
                    </a:cubicBezTo>
                    <a:cubicBezTo>
                      <a:pt x="93065" y="69662"/>
                      <a:pt x="69263" y="25034"/>
                      <a:pt x="60337" y="10158"/>
                    </a:cubicBezTo>
                    <a:cubicBezTo>
                      <a:pt x="57362" y="7182"/>
                      <a:pt x="60337" y="4207"/>
                      <a:pt x="63313" y="1232"/>
                    </a:cubicBezTo>
                    <a:cubicBezTo>
                      <a:pt x="66288" y="-1743"/>
                      <a:pt x="69263" y="1232"/>
                      <a:pt x="72238" y="4207"/>
                    </a:cubicBezTo>
                    <a:cubicBezTo>
                      <a:pt x="75213" y="7182"/>
                      <a:pt x="110916" y="66686"/>
                      <a:pt x="93065" y="99414"/>
                    </a:cubicBezTo>
                    <a:cubicBezTo>
                      <a:pt x="87114" y="108339"/>
                      <a:pt x="81164" y="117265"/>
                      <a:pt x="72238" y="117265"/>
                    </a:cubicBezTo>
                    <a:cubicBezTo>
                      <a:pt x="60337" y="117265"/>
                      <a:pt x="54386" y="102389"/>
                      <a:pt x="48437" y="72637"/>
                    </a:cubicBezTo>
                    <a:cubicBezTo>
                      <a:pt x="39510" y="63711"/>
                      <a:pt x="24634" y="54786"/>
                      <a:pt x="18685" y="51810"/>
                    </a:cubicBezTo>
                    <a:cubicBezTo>
                      <a:pt x="18685" y="60737"/>
                      <a:pt x="15709" y="72637"/>
                      <a:pt x="18685" y="78587"/>
                    </a:cubicBezTo>
                    <a:cubicBezTo>
                      <a:pt x="24634" y="102389"/>
                      <a:pt x="39510" y="120241"/>
                      <a:pt x="51412" y="138091"/>
                    </a:cubicBezTo>
                    <a:cubicBezTo>
                      <a:pt x="63313" y="152967"/>
                      <a:pt x="72238" y="164869"/>
                      <a:pt x="72238" y="176769"/>
                    </a:cubicBezTo>
                    <a:cubicBezTo>
                      <a:pt x="72238" y="185695"/>
                      <a:pt x="69263" y="194621"/>
                      <a:pt x="63313" y="197595"/>
                    </a:cubicBezTo>
                    <a:cubicBezTo>
                      <a:pt x="57362" y="194621"/>
                      <a:pt x="51412" y="197595"/>
                      <a:pt x="48437" y="197595"/>
                    </a:cubicBezTo>
                    <a:close/>
                    <a:moveTo>
                      <a:pt x="72238" y="102389"/>
                    </a:moveTo>
                    <a:lnTo>
                      <a:pt x="72238" y="102389"/>
                    </a:lnTo>
                    <a:lnTo>
                      <a:pt x="72238" y="102389"/>
                    </a:ln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4B127015-9566-47E4-8A56-159B11D5C301}"/>
                </a:ext>
              </a:extLst>
            </p:cNvPr>
            <p:cNvSpPr/>
            <p:nvPr/>
          </p:nvSpPr>
          <p:spPr>
            <a:xfrm>
              <a:off x="10610415" y="8605998"/>
              <a:ext cx="808973" cy="1058841"/>
            </a:xfrm>
            <a:custGeom>
              <a:avLst/>
              <a:gdLst>
                <a:gd name="connsiteX0" fmla="*/ 649941 w 808973"/>
                <a:gd name="connsiteY0" fmla="*/ 359667 h 1058841"/>
                <a:gd name="connsiteX1" fmla="*/ 266140 w 808973"/>
                <a:gd name="connsiteY1" fmla="*/ 523304 h 1058841"/>
                <a:gd name="connsiteX2" fmla="*/ 322669 w 808973"/>
                <a:gd name="connsiteY2" fmla="*/ 1020163 h 1058841"/>
                <a:gd name="connsiteX3" fmla="*/ 173908 w 808973"/>
                <a:gd name="connsiteY3" fmla="*/ 1058841 h 1058841"/>
                <a:gd name="connsiteX4" fmla="*/ 51925 w 808973"/>
                <a:gd name="connsiteY4" fmla="*/ 315039 h 1058841"/>
                <a:gd name="connsiteX5" fmla="*/ 533908 w 808973"/>
                <a:gd name="connsiteY5" fmla="*/ 38345 h 1058841"/>
                <a:gd name="connsiteX6" fmla="*/ 795727 w 808973"/>
                <a:gd name="connsiteY6" fmla="*/ 29420 h 1058841"/>
                <a:gd name="connsiteX7" fmla="*/ 649941 w 808973"/>
                <a:gd name="connsiteY7" fmla="*/ 359667 h 1058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8973" h="1058841">
                  <a:moveTo>
                    <a:pt x="649941" y="359667"/>
                  </a:moveTo>
                  <a:cubicBezTo>
                    <a:pt x="581512" y="413221"/>
                    <a:pt x="340520" y="490577"/>
                    <a:pt x="266140" y="523304"/>
                  </a:cubicBezTo>
                  <a:cubicBezTo>
                    <a:pt x="281016" y="573882"/>
                    <a:pt x="403000" y="936858"/>
                    <a:pt x="322669" y="1020163"/>
                  </a:cubicBezTo>
                  <a:cubicBezTo>
                    <a:pt x="295892" y="1038015"/>
                    <a:pt x="236388" y="1055866"/>
                    <a:pt x="173908" y="1058841"/>
                  </a:cubicBezTo>
                  <a:cubicBezTo>
                    <a:pt x="81678" y="1005287"/>
                    <a:pt x="-84934" y="466775"/>
                    <a:pt x="51925" y="315039"/>
                  </a:cubicBezTo>
                  <a:cubicBezTo>
                    <a:pt x="96554" y="264461"/>
                    <a:pt x="367297" y="106775"/>
                    <a:pt x="533908" y="38345"/>
                  </a:cubicBezTo>
                  <a:cubicBezTo>
                    <a:pt x="611264" y="5618"/>
                    <a:pt x="763000" y="-24134"/>
                    <a:pt x="795727" y="29420"/>
                  </a:cubicBezTo>
                  <a:cubicBezTo>
                    <a:pt x="846305" y="118676"/>
                    <a:pt x="742173" y="285287"/>
                    <a:pt x="649941" y="359667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3AD83725-011F-40CE-B23B-F731478A7860}"/>
                </a:ext>
              </a:extLst>
            </p:cNvPr>
            <p:cNvSpPr/>
            <p:nvPr/>
          </p:nvSpPr>
          <p:spPr>
            <a:xfrm>
              <a:off x="10870605" y="8688971"/>
              <a:ext cx="556382" cy="446280"/>
            </a:xfrm>
            <a:custGeom>
              <a:avLst/>
              <a:gdLst>
                <a:gd name="connsiteX0" fmla="*/ 5950 w 556382"/>
                <a:gd name="connsiteY0" fmla="*/ 446281 h 446280"/>
                <a:gd name="connsiteX1" fmla="*/ 0 w 556382"/>
                <a:gd name="connsiteY1" fmla="*/ 443306 h 446280"/>
                <a:gd name="connsiteX2" fmla="*/ 2974 w 556382"/>
                <a:gd name="connsiteY2" fmla="*/ 437356 h 446280"/>
                <a:gd name="connsiteX3" fmla="*/ 285619 w 556382"/>
                <a:gd name="connsiteY3" fmla="*/ 324298 h 446280"/>
                <a:gd name="connsiteX4" fmla="*/ 481983 w 556382"/>
                <a:gd name="connsiteY4" fmla="*/ 163636 h 446280"/>
                <a:gd name="connsiteX5" fmla="*/ 544462 w 556382"/>
                <a:gd name="connsiteY5" fmla="*/ 5951 h 446280"/>
                <a:gd name="connsiteX6" fmla="*/ 550413 w 556382"/>
                <a:gd name="connsiteY6" fmla="*/ 0 h 446280"/>
                <a:gd name="connsiteX7" fmla="*/ 550413 w 556382"/>
                <a:gd name="connsiteY7" fmla="*/ 0 h 446280"/>
                <a:gd name="connsiteX8" fmla="*/ 556363 w 556382"/>
                <a:gd name="connsiteY8" fmla="*/ 5951 h 446280"/>
                <a:gd name="connsiteX9" fmla="*/ 490909 w 556382"/>
                <a:gd name="connsiteY9" fmla="*/ 172562 h 446280"/>
                <a:gd name="connsiteX10" fmla="*/ 291570 w 556382"/>
                <a:gd name="connsiteY10" fmla="*/ 333224 h 446280"/>
                <a:gd name="connsiteX11" fmla="*/ 5950 w 556382"/>
                <a:gd name="connsiteY11" fmla="*/ 446281 h 446280"/>
                <a:gd name="connsiteX12" fmla="*/ 5950 w 556382"/>
                <a:gd name="connsiteY12" fmla="*/ 446281 h 446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6382" h="446280">
                  <a:moveTo>
                    <a:pt x="5950" y="446281"/>
                  </a:moveTo>
                  <a:cubicBezTo>
                    <a:pt x="2974" y="446281"/>
                    <a:pt x="0" y="443306"/>
                    <a:pt x="0" y="443306"/>
                  </a:cubicBezTo>
                  <a:cubicBezTo>
                    <a:pt x="0" y="440331"/>
                    <a:pt x="0" y="437356"/>
                    <a:pt x="2974" y="437356"/>
                  </a:cubicBezTo>
                  <a:cubicBezTo>
                    <a:pt x="2974" y="437356"/>
                    <a:pt x="151735" y="398678"/>
                    <a:pt x="285619" y="324298"/>
                  </a:cubicBezTo>
                  <a:cubicBezTo>
                    <a:pt x="342149" y="294546"/>
                    <a:pt x="443306" y="205290"/>
                    <a:pt x="481983" y="163636"/>
                  </a:cubicBezTo>
                  <a:cubicBezTo>
                    <a:pt x="544462" y="95207"/>
                    <a:pt x="544462" y="5951"/>
                    <a:pt x="544462" y="5951"/>
                  </a:cubicBezTo>
                  <a:cubicBezTo>
                    <a:pt x="544462" y="2975"/>
                    <a:pt x="547438" y="0"/>
                    <a:pt x="550413" y="0"/>
                  </a:cubicBezTo>
                  <a:lnTo>
                    <a:pt x="550413" y="0"/>
                  </a:lnTo>
                  <a:cubicBezTo>
                    <a:pt x="553388" y="0"/>
                    <a:pt x="556363" y="2975"/>
                    <a:pt x="556363" y="5951"/>
                  </a:cubicBezTo>
                  <a:cubicBezTo>
                    <a:pt x="556363" y="8926"/>
                    <a:pt x="559339" y="101157"/>
                    <a:pt x="490909" y="172562"/>
                  </a:cubicBezTo>
                  <a:cubicBezTo>
                    <a:pt x="452231" y="214215"/>
                    <a:pt x="348099" y="303471"/>
                    <a:pt x="291570" y="333224"/>
                  </a:cubicBezTo>
                  <a:cubicBezTo>
                    <a:pt x="157686" y="407604"/>
                    <a:pt x="8925" y="446281"/>
                    <a:pt x="5950" y="446281"/>
                  </a:cubicBezTo>
                  <a:cubicBezTo>
                    <a:pt x="5950" y="446281"/>
                    <a:pt x="5950" y="446281"/>
                    <a:pt x="5950" y="446281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20EA5AD4-AFC6-4B93-B8B0-9B8692A22548}"/>
                </a:ext>
              </a:extLst>
            </p:cNvPr>
            <p:cNvSpPr/>
            <p:nvPr/>
          </p:nvSpPr>
          <p:spPr>
            <a:xfrm>
              <a:off x="11635232" y="8328469"/>
              <a:ext cx="145784" cy="199840"/>
            </a:xfrm>
            <a:custGeom>
              <a:avLst/>
              <a:gdLst>
                <a:gd name="connsiteX0" fmla="*/ 145785 w 145784"/>
                <a:gd name="connsiteY0" fmla="*/ 502 h 199840"/>
                <a:gd name="connsiteX1" fmla="*/ 107108 w 145784"/>
                <a:gd name="connsiteY1" fmla="*/ 184965 h 199840"/>
                <a:gd name="connsiteX2" fmla="*/ 44628 w 145784"/>
                <a:gd name="connsiteY2" fmla="*/ 199841 h 199840"/>
                <a:gd name="connsiteX3" fmla="*/ 0 w 145784"/>
                <a:gd name="connsiteY3" fmla="*/ 104634 h 199840"/>
                <a:gd name="connsiteX4" fmla="*/ 145785 w 145784"/>
                <a:gd name="connsiteY4" fmla="*/ 502 h 199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784" h="199840">
                  <a:moveTo>
                    <a:pt x="145785" y="502"/>
                  </a:moveTo>
                  <a:lnTo>
                    <a:pt x="107108" y="184965"/>
                  </a:lnTo>
                  <a:lnTo>
                    <a:pt x="44628" y="199841"/>
                  </a:lnTo>
                  <a:lnTo>
                    <a:pt x="0" y="104634"/>
                  </a:lnTo>
                  <a:cubicBezTo>
                    <a:pt x="0" y="104634"/>
                    <a:pt x="50579" y="-8424"/>
                    <a:pt x="145785" y="502"/>
                  </a:cubicBez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BFE50F35-F1A0-47BE-BF3A-55C17F71028A}"/>
                </a:ext>
              </a:extLst>
            </p:cNvPr>
            <p:cNvSpPr/>
            <p:nvPr/>
          </p:nvSpPr>
          <p:spPr>
            <a:xfrm>
              <a:off x="11248449" y="8177235"/>
              <a:ext cx="240998" cy="357024"/>
            </a:xfrm>
            <a:custGeom>
              <a:avLst/>
              <a:gdLst>
                <a:gd name="connsiteX0" fmla="*/ 6 w 240998"/>
                <a:gd name="connsiteY0" fmla="*/ 0 h 357024"/>
                <a:gd name="connsiteX1" fmla="*/ 119015 w 240998"/>
                <a:gd name="connsiteY1" fmla="*/ 351074 h 357024"/>
                <a:gd name="connsiteX2" fmla="*/ 196370 w 240998"/>
                <a:gd name="connsiteY2" fmla="*/ 357025 h 357024"/>
                <a:gd name="connsiteX3" fmla="*/ 240998 w 240998"/>
                <a:gd name="connsiteY3" fmla="*/ 243967 h 357024"/>
                <a:gd name="connsiteX4" fmla="*/ 151742 w 240998"/>
                <a:gd name="connsiteY4" fmla="*/ 110083 h 357024"/>
                <a:gd name="connsiteX5" fmla="*/ 6 w 240998"/>
                <a:gd name="connsiteY5" fmla="*/ 0 h 35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0998" h="357024">
                  <a:moveTo>
                    <a:pt x="6" y="0"/>
                  </a:moveTo>
                  <a:cubicBezTo>
                    <a:pt x="6" y="0"/>
                    <a:pt x="-2969" y="178512"/>
                    <a:pt x="119015" y="351074"/>
                  </a:cubicBezTo>
                  <a:lnTo>
                    <a:pt x="196370" y="357025"/>
                  </a:lnTo>
                  <a:lnTo>
                    <a:pt x="240998" y="243967"/>
                  </a:lnTo>
                  <a:lnTo>
                    <a:pt x="151742" y="110083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84AA3270-0E90-48E2-A0FC-611944B5CEB4}"/>
                </a:ext>
              </a:extLst>
            </p:cNvPr>
            <p:cNvSpPr/>
            <p:nvPr/>
          </p:nvSpPr>
          <p:spPr>
            <a:xfrm>
              <a:off x="11509897" y="7888967"/>
              <a:ext cx="313526" cy="576508"/>
            </a:xfrm>
            <a:custGeom>
              <a:avLst/>
              <a:gdLst>
                <a:gd name="connsiteX0" fmla="*/ 140211 w 313526"/>
                <a:gd name="connsiteY0" fmla="*/ 561987 h 576508"/>
                <a:gd name="connsiteX1" fmla="*/ 312774 w 313526"/>
                <a:gd name="connsiteY1" fmla="*/ 225789 h 576508"/>
                <a:gd name="connsiteX2" fmla="*/ 377 w 313526"/>
                <a:gd name="connsiteY2" fmla="*/ 8599 h 576508"/>
                <a:gd name="connsiteX3" fmla="*/ 36079 w 313526"/>
                <a:gd name="connsiteY3" fmla="*/ 172235 h 576508"/>
                <a:gd name="connsiteX4" fmla="*/ 83683 w 313526"/>
                <a:gd name="connsiteY4" fmla="*/ 312070 h 576508"/>
                <a:gd name="connsiteX5" fmla="*/ 140211 w 313526"/>
                <a:gd name="connsiteY5" fmla="*/ 561987 h 576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3526" h="576508">
                  <a:moveTo>
                    <a:pt x="140211" y="561987"/>
                  </a:moveTo>
                  <a:cubicBezTo>
                    <a:pt x="291947" y="532235"/>
                    <a:pt x="318724" y="288268"/>
                    <a:pt x="312774" y="225789"/>
                  </a:cubicBezTo>
                  <a:cubicBezTo>
                    <a:pt x="291947" y="65128"/>
                    <a:pt x="113435" y="-30079"/>
                    <a:pt x="377" y="8599"/>
                  </a:cubicBezTo>
                  <a:cubicBezTo>
                    <a:pt x="-2598" y="8599"/>
                    <a:pt x="12278" y="124632"/>
                    <a:pt x="36079" y="172235"/>
                  </a:cubicBezTo>
                  <a:cubicBezTo>
                    <a:pt x="56906" y="216863"/>
                    <a:pt x="74757" y="264466"/>
                    <a:pt x="83683" y="312070"/>
                  </a:cubicBezTo>
                  <a:cubicBezTo>
                    <a:pt x="92608" y="365624"/>
                    <a:pt x="45005" y="642318"/>
                    <a:pt x="140211" y="561987"/>
                  </a:cubicBez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094CD1A5-D95F-4926-BABD-0AEDD110BB6E}"/>
                </a:ext>
              </a:extLst>
            </p:cNvPr>
            <p:cNvSpPr/>
            <p:nvPr/>
          </p:nvSpPr>
          <p:spPr>
            <a:xfrm>
              <a:off x="11343662" y="7944301"/>
              <a:ext cx="412399" cy="554568"/>
            </a:xfrm>
            <a:custGeom>
              <a:avLst/>
              <a:gdLst>
                <a:gd name="connsiteX0" fmla="*/ 404628 w 412399"/>
                <a:gd name="connsiteY0" fmla="*/ 179381 h 554568"/>
                <a:gd name="connsiteX1" fmla="*/ 392727 w 412399"/>
                <a:gd name="connsiteY1" fmla="*/ 429298 h 554568"/>
                <a:gd name="connsiteX2" fmla="*/ 246942 w 412399"/>
                <a:gd name="connsiteY2" fmla="*/ 554257 h 554568"/>
                <a:gd name="connsiteX3" fmla="*/ 35702 w 412399"/>
                <a:gd name="connsiteY3" fmla="*/ 414422 h 554568"/>
                <a:gd name="connsiteX4" fmla="*/ 0 w 412399"/>
                <a:gd name="connsiteY4" fmla="*/ 194257 h 554568"/>
                <a:gd name="connsiteX5" fmla="*/ 208264 w 412399"/>
                <a:gd name="connsiteY5" fmla="*/ 868 h 554568"/>
                <a:gd name="connsiteX6" fmla="*/ 404628 w 412399"/>
                <a:gd name="connsiteY6" fmla="*/ 179381 h 55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399" h="554568">
                  <a:moveTo>
                    <a:pt x="404628" y="179381"/>
                  </a:moveTo>
                  <a:cubicBezTo>
                    <a:pt x="404628" y="179381"/>
                    <a:pt x="428430" y="363844"/>
                    <a:pt x="392727" y="429298"/>
                  </a:cubicBezTo>
                  <a:cubicBezTo>
                    <a:pt x="357025" y="494753"/>
                    <a:pt x="297521" y="551281"/>
                    <a:pt x="246942" y="554257"/>
                  </a:cubicBezTo>
                  <a:cubicBezTo>
                    <a:pt x="181488" y="560207"/>
                    <a:pt x="71405" y="479877"/>
                    <a:pt x="35702" y="414422"/>
                  </a:cubicBezTo>
                  <a:cubicBezTo>
                    <a:pt x="0" y="348968"/>
                    <a:pt x="0" y="244836"/>
                    <a:pt x="0" y="194257"/>
                  </a:cubicBezTo>
                  <a:cubicBezTo>
                    <a:pt x="2975" y="102026"/>
                    <a:pt x="29752" y="24670"/>
                    <a:pt x="208264" y="868"/>
                  </a:cubicBezTo>
                  <a:cubicBezTo>
                    <a:pt x="294545" y="-11032"/>
                    <a:pt x="386777" y="102026"/>
                    <a:pt x="404628" y="179381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17120F62-D96C-4F4A-A4BB-C2FB3062A5A3}"/>
                </a:ext>
              </a:extLst>
            </p:cNvPr>
            <p:cNvSpPr/>
            <p:nvPr/>
          </p:nvSpPr>
          <p:spPr>
            <a:xfrm>
              <a:off x="11563828" y="8206987"/>
              <a:ext cx="53553" cy="127933"/>
            </a:xfrm>
            <a:custGeom>
              <a:avLst/>
              <a:gdLst>
                <a:gd name="connsiteX0" fmla="*/ 29752 w 53553"/>
                <a:gd name="connsiteY0" fmla="*/ 127934 h 127933"/>
                <a:gd name="connsiteX1" fmla="*/ 5951 w 53553"/>
                <a:gd name="connsiteY1" fmla="*/ 124959 h 127933"/>
                <a:gd name="connsiteX2" fmla="*/ 0 w 53553"/>
                <a:gd name="connsiteY2" fmla="*/ 119008 h 127933"/>
                <a:gd name="connsiteX3" fmla="*/ 5951 w 53553"/>
                <a:gd name="connsiteY3" fmla="*/ 113058 h 127933"/>
                <a:gd name="connsiteX4" fmla="*/ 44628 w 53553"/>
                <a:gd name="connsiteY4" fmla="*/ 113058 h 127933"/>
                <a:gd name="connsiteX5" fmla="*/ 44628 w 53553"/>
                <a:gd name="connsiteY5" fmla="*/ 110083 h 127933"/>
                <a:gd name="connsiteX6" fmla="*/ 17851 w 53553"/>
                <a:gd name="connsiteY6" fmla="*/ 5950 h 127933"/>
                <a:gd name="connsiteX7" fmla="*/ 20827 w 53553"/>
                <a:gd name="connsiteY7" fmla="*/ 0 h 127933"/>
                <a:gd name="connsiteX8" fmla="*/ 26777 w 53553"/>
                <a:gd name="connsiteY8" fmla="*/ 2975 h 127933"/>
                <a:gd name="connsiteX9" fmla="*/ 53553 w 53553"/>
                <a:gd name="connsiteY9" fmla="*/ 110083 h 127933"/>
                <a:gd name="connsiteX10" fmla="*/ 47603 w 53553"/>
                <a:gd name="connsiteY10" fmla="*/ 121984 h 127933"/>
                <a:gd name="connsiteX11" fmla="*/ 29752 w 53553"/>
                <a:gd name="connsiteY11" fmla="*/ 127934 h 127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553" h="127933">
                  <a:moveTo>
                    <a:pt x="29752" y="127934"/>
                  </a:moveTo>
                  <a:cubicBezTo>
                    <a:pt x="17851" y="127934"/>
                    <a:pt x="8925" y="124959"/>
                    <a:pt x="5951" y="124959"/>
                  </a:cubicBezTo>
                  <a:cubicBezTo>
                    <a:pt x="2975" y="124959"/>
                    <a:pt x="0" y="121984"/>
                    <a:pt x="0" y="119008"/>
                  </a:cubicBezTo>
                  <a:cubicBezTo>
                    <a:pt x="0" y="116033"/>
                    <a:pt x="2975" y="113058"/>
                    <a:pt x="5951" y="113058"/>
                  </a:cubicBezTo>
                  <a:cubicBezTo>
                    <a:pt x="17851" y="116033"/>
                    <a:pt x="38677" y="116033"/>
                    <a:pt x="44628" y="113058"/>
                  </a:cubicBezTo>
                  <a:cubicBezTo>
                    <a:pt x="44628" y="113058"/>
                    <a:pt x="44628" y="110083"/>
                    <a:pt x="44628" y="110083"/>
                  </a:cubicBezTo>
                  <a:cubicBezTo>
                    <a:pt x="44628" y="95207"/>
                    <a:pt x="23801" y="29752"/>
                    <a:pt x="17851" y="5950"/>
                  </a:cubicBezTo>
                  <a:cubicBezTo>
                    <a:pt x="17851" y="2975"/>
                    <a:pt x="17851" y="0"/>
                    <a:pt x="20827" y="0"/>
                  </a:cubicBezTo>
                  <a:cubicBezTo>
                    <a:pt x="23801" y="0"/>
                    <a:pt x="26777" y="0"/>
                    <a:pt x="26777" y="2975"/>
                  </a:cubicBezTo>
                  <a:cubicBezTo>
                    <a:pt x="26777" y="5950"/>
                    <a:pt x="53553" y="89256"/>
                    <a:pt x="53553" y="110083"/>
                  </a:cubicBezTo>
                  <a:cubicBezTo>
                    <a:pt x="53553" y="116033"/>
                    <a:pt x="50579" y="119008"/>
                    <a:pt x="47603" y="121984"/>
                  </a:cubicBezTo>
                  <a:cubicBezTo>
                    <a:pt x="50579" y="127934"/>
                    <a:pt x="41653" y="127934"/>
                    <a:pt x="29752" y="127934"/>
                  </a:cubicBezTo>
                  <a:close/>
                </a:path>
              </a:pathLst>
            </a:custGeom>
            <a:solidFill>
              <a:srgbClr val="E58777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2D495414-C6C5-452E-AC4E-2EA76CB1EC35}"/>
                </a:ext>
              </a:extLst>
            </p:cNvPr>
            <p:cNvSpPr/>
            <p:nvPr/>
          </p:nvSpPr>
          <p:spPr>
            <a:xfrm>
              <a:off x="11537051" y="8385500"/>
              <a:ext cx="104132" cy="53553"/>
            </a:xfrm>
            <a:custGeom>
              <a:avLst/>
              <a:gdLst>
                <a:gd name="connsiteX0" fmla="*/ 0 w 104132"/>
                <a:gd name="connsiteY0" fmla="*/ 0 h 53553"/>
                <a:gd name="connsiteX1" fmla="*/ 104132 w 104132"/>
                <a:gd name="connsiteY1" fmla="*/ 0 h 53553"/>
                <a:gd name="connsiteX2" fmla="*/ 53553 w 104132"/>
                <a:gd name="connsiteY2" fmla="*/ 53554 h 53553"/>
                <a:gd name="connsiteX3" fmla="*/ 0 w 104132"/>
                <a:gd name="connsiteY3" fmla="*/ 0 h 5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132" h="53553">
                  <a:moveTo>
                    <a:pt x="0" y="0"/>
                  </a:moveTo>
                  <a:cubicBezTo>
                    <a:pt x="53553" y="23802"/>
                    <a:pt x="104132" y="0"/>
                    <a:pt x="104132" y="0"/>
                  </a:cubicBezTo>
                  <a:cubicBezTo>
                    <a:pt x="104132" y="0"/>
                    <a:pt x="89256" y="53554"/>
                    <a:pt x="53553" y="53554"/>
                  </a:cubicBezTo>
                  <a:cubicBezTo>
                    <a:pt x="14876" y="50578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3B3FD30F-6F7C-4CD1-BB70-C7C43EDD6876}"/>
                </a:ext>
              </a:extLst>
            </p:cNvPr>
            <p:cNvSpPr/>
            <p:nvPr/>
          </p:nvSpPr>
          <p:spPr>
            <a:xfrm>
              <a:off x="11655301" y="8179627"/>
              <a:ext cx="40193" cy="39844"/>
            </a:xfrm>
            <a:custGeom>
              <a:avLst/>
              <a:gdLst>
                <a:gd name="connsiteX0" fmla="*/ 758 w 40193"/>
                <a:gd name="connsiteY0" fmla="*/ 24385 h 39844"/>
                <a:gd name="connsiteX1" fmla="*/ 24560 w 40193"/>
                <a:gd name="connsiteY1" fmla="*/ 39261 h 39844"/>
                <a:gd name="connsiteX2" fmla="*/ 39436 w 40193"/>
                <a:gd name="connsiteY2" fmla="*/ 15460 h 39844"/>
                <a:gd name="connsiteX3" fmla="*/ 15634 w 40193"/>
                <a:gd name="connsiteY3" fmla="*/ 584 h 39844"/>
                <a:gd name="connsiteX4" fmla="*/ 758 w 40193"/>
                <a:gd name="connsiteY4" fmla="*/ 24385 h 39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93" h="39844">
                  <a:moveTo>
                    <a:pt x="758" y="24385"/>
                  </a:moveTo>
                  <a:cubicBezTo>
                    <a:pt x="3734" y="33311"/>
                    <a:pt x="12659" y="42236"/>
                    <a:pt x="24560" y="39261"/>
                  </a:cubicBezTo>
                  <a:cubicBezTo>
                    <a:pt x="36460" y="36286"/>
                    <a:pt x="42411" y="27360"/>
                    <a:pt x="39436" y="15460"/>
                  </a:cubicBezTo>
                  <a:cubicBezTo>
                    <a:pt x="36460" y="6534"/>
                    <a:pt x="27535" y="-2392"/>
                    <a:pt x="15634" y="584"/>
                  </a:cubicBezTo>
                  <a:cubicBezTo>
                    <a:pt x="3734" y="3559"/>
                    <a:pt x="-2217" y="15460"/>
                    <a:pt x="758" y="24385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3FE9D09E-776B-4DA0-BEF9-D75B1A2ED527}"/>
                </a:ext>
              </a:extLst>
            </p:cNvPr>
            <p:cNvSpPr/>
            <p:nvPr/>
          </p:nvSpPr>
          <p:spPr>
            <a:xfrm>
              <a:off x="11468037" y="8185403"/>
              <a:ext cx="40019" cy="40194"/>
            </a:xfrm>
            <a:custGeom>
              <a:avLst/>
              <a:gdLst>
                <a:gd name="connsiteX0" fmla="*/ 583 w 40019"/>
                <a:gd name="connsiteY0" fmla="*/ 24560 h 40194"/>
                <a:gd name="connsiteX1" fmla="*/ 24386 w 40019"/>
                <a:gd name="connsiteY1" fmla="*/ 39436 h 40194"/>
                <a:gd name="connsiteX2" fmla="*/ 39262 w 40019"/>
                <a:gd name="connsiteY2" fmla="*/ 15634 h 40194"/>
                <a:gd name="connsiteX3" fmla="*/ 15459 w 40019"/>
                <a:gd name="connsiteY3" fmla="*/ 758 h 40194"/>
                <a:gd name="connsiteX4" fmla="*/ 583 w 40019"/>
                <a:gd name="connsiteY4" fmla="*/ 24560 h 4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19" h="40194">
                  <a:moveTo>
                    <a:pt x="583" y="24560"/>
                  </a:moveTo>
                  <a:cubicBezTo>
                    <a:pt x="3559" y="36461"/>
                    <a:pt x="12485" y="42411"/>
                    <a:pt x="24386" y="39436"/>
                  </a:cubicBezTo>
                  <a:cubicBezTo>
                    <a:pt x="36286" y="36461"/>
                    <a:pt x="42237" y="27535"/>
                    <a:pt x="39262" y="15634"/>
                  </a:cubicBezTo>
                  <a:cubicBezTo>
                    <a:pt x="36286" y="3734"/>
                    <a:pt x="27361" y="-2217"/>
                    <a:pt x="15459" y="758"/>
                  </a:cubicBezTo>
                  <a:cubicBezTo>
                    <a:pt x="6534" y="3734"/>
                    <a:pt x="-2391" y="15634"/>
                    <a:pt x="583" y="2456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F287AC9C-3A4C-466B-8F6B-2AB74AB83A57}"/>
                </a:ext>
              </a:extLst>
            </p:cNvPr>
            <p:cNvSpPr/>
            <p:nvPr/>
          </p:nvSpPr>
          <p:spPr>
            <a:xfrm>
              <a:off x="11628050" y="8135582"/>
              <a:ext cx="89744" cy="29752"/>
            </a:xfrm>
            <a:custGeom>
              <a:avLst/>
              <a:gdLst>
                <a:gd name="connsiteX0" fmla="*/ 81563 w 89744"/>
                <a:gd name="connsiteY0" fmla="*/ 29752 h 29752"/>
                <a:gd name="connsiteX1" fmla="*/ 75613 w 89744"/>
                <a:gd name="connsiteY1" fmla="*/ 26777 h 29752"/>
                <a:gd name="connsiteX2" fmla="*/ 10158 w 89744"/>
                <a:gd name="connsiteY2" fmla="*/ 20826 h 29752"/>
                <a:gd name="connsiteX3" fmla="*/ 1232 w 89744"/>
                <a:gd name="connsiteY3" fmla="*/ 17851 h 29752"/>
                <a:gd name="connsiteX4" fmla="*/ 4207 w 89744"/>
                <a:gd name="connsiteY4" fmla="*/ 8926 h 29752"/>
                <a:gd name="connsiteX5" fmla="*/ 87513 w 89744"/>
                <a:gd name="connsiteY5" fmla="*/ 17851 h 29752"/>
                <a:gd name="connsiteX6" fmla="*/ 87513 w 89744"/>
                <a:gd name="connsiteY6" fmla="*/ 29752 h 29752"/>
                <a:gd name="connsiteX7" fmla="*/ 81563 w 89744"/>
                <a:gd name="connsiteY7" fmla="*/ 29752 h 29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29752">
                  <a:moveTo>
                    <a:pt x="81563" y="29752"/>
                  </a:moveTo>
                  <a:cubicBezTo>
                    <a:pt x="78587" y="29752"/>
                    <a:pt x="78587" y="29752"/>
                    <a:pt x="75613" y="26777"/>
                  </a:cubicBezTo>
                  <a:cubicBezTo>
                    <a:pt x="51810" y="0"/>
                    <a:pt x="10158" y="20826"/>
                    <a:pt x="10158" y="20826"/>
                  </a:cubicBezTo>
                  <a:cubicBezTo>
                    <a:pt x="7182" y="23802"/>
                    <a:pt x="1232" y="20826"/>
                    <a:pt x="1232" y="17851"/>
                  </a:cubicBezTo>
                  <a:cubicBezTo>
                    <a:pt x="-1743" y="14876"/>
                    <a:pt x="1232" y="8926"/>
                    <a:pt x="4207" y="8926"/>
                  </a:cubicBezTo>
                  <a:cubicBezTo>
                    <a:pt x="22058" y="0"/>
                    <a:pt x="60737" y="-8926"/>
                    <a:pt x="87513" y="17851"/>
                  </a:cubicBezTo>
                  <a:cubicBezTo>
                    <a:pt x="90489" y="20826"/>
                    <a:pt x="90489" y="26777"/>
                    <a:pt x="87513" y="29752"/>
                  </a:cubicBezTo>
                  <a:cubicBezTo>
                    <a:pt x="87513" y="29752"/>
                    <a:pt x="84538" y="29752"/>
                    <a:pt x="81563" y="29752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A8BF5908-3BE2-4A57-9F11-172ED2119B37}"/>
                </a:ext>
              </a:extLst>
            </p:cNvPr>
            <p:cNvSpPr/>
            <p:nvPr/>
          </p:nvSpPr>
          <p:spPr>
            <a:xfrm>
              <a:off x="11442588" y="8133599"/>
              <a:ext cx="89744" cy="34710"/>
            </a:xfrm>
            <a:custGeom>
              <a:avLst/>
              <a:gdLst>
                <a:gd name="connsiteX0" fmla="*/ 8182 w 89744"/>
                <a:gd name="connsiteY0" fmla="*/ 34710 h 34710"/>
                <a:gd name="connsiteX1" fmla="*/ 2232 w 89744"/>
                <a:gd name="connsiteY1" fmla="*/ 31736 h 34710"/>
                <a:gd name="connsiteX2" fmla="*/ 2232 w 89744"/>
                <a:gd name="connsiteY2" fmla="*/ 19834 h 34710"/>
                <a:gd name="connsiteX3" fmla="*/ 85537 w 89744"/>
                <a:gd name="connsiteY3" fmla="*/ 10909 h 34710"/>
                <a:gd name="connsiteX4" fmla="*/ 88512 w 89744"/>
                <a:gd name="connsiteY4" fmla="*/ 22810 h 34710"/>
                <a:gd name="connsiteX5" fmla="*/ 76612 w 89744"/>
                <a:gd name="connsiteY5" fmla="*/ 25785 h 34710"/>
                <a:gd name="connsiteX6" fmla="*/ 11157 w 89744"/>
                <a:gd name="connsiteY6" fmla="*/ 31736 h 34710"/>
                <a:gd name="connsiteX7" fmla="*/ 8182 w 89744"/>
                <a:gd name="connsiteY7" fmla="*/ 34710 h 3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4710">
                  <a:moveTo>
                    <a:pt x="8182" y="34710"/>
                  </a:moveTo>
                  <a:cubicBezTo>
                    <a:pt x="5207" y="34710"/>
                    <a:pt x="5207" y="34710"/>
                    <a:pt x="2232" y="31736"/>
                  </a:cubicBezTo>
                  <a:cubicBezTo>
                    <a:pt x="-744" y="28760"/>
                    <a:pt x="-744" y="22810"/>
                    <a:pt x="2232" y="19834"/>
                  </a:cubicBezTo>
                  <a:cubicBezTo>
                    <a:pt x="14132" y="7934"/>
                    <a:pt x="49835" y="-12893"/>
                    <a:pt x="85537" y="10909"/>
                  </a:cubicBezTo>
                  <a:cubicBezTo>
                    <a:pt x="88512" y="13884"/>
                    <a:pt x="91488" y="16860"/>
                    <a:pt x="88512" y="22810"/>
                  </a:cubicBezTo>
                  <a:cubicBezTo>
                    <a:pt x="85537" y="25785"/>
                    <a:pt x="82562" y="28760"/>
                    <a:pt x="76612" y="25785"/>
                  </a:cubicBezTo>
                  <a:cubicBezTo>
                    <a:pt x="40909" y="1983"/>
                    <a:pt x="14132" y="31736"/>
                    <a:pt x="11157" y="31736"/>
                  </a:cubicBezTo>
                  <a:cubicBezTo>
                    <a:pt x="11157" y="31736"/>
                    <a:pt x="11157" y="34710"/>
                    <a:pt x="8182" y="34710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C48D7C12-6A4A-470E-B81B-AD65C1C42D43}"/>
                </a:ext>
              </a:extLst>
            </p:cNvPr>
            <p:cNvSpPr/>
            <p:nvPr/>
          </p:nvSpPr>
          <p:spPr>
            <a:xfrm>
              <a:off x="11507218" y="7895074"/>
              <a:ext cx="268074" cy="270260"/>
            </a:xfrm>
            <a:custGeom>
              <a:avLst/>
              <a:gdLst>
                <a:gd name="connsiteX0" fmla="*/ 3057 w 268074"/>
                <a:gd name="connsiteY0" fmla="*/ 2492 h 270260"/>
                <a:gd name="connsiteX1" fmla="*/ 35783 w 268074"/>
                <a:gd name="connsiteY1" fmla="*/ 145302 h 270260"/>
                <a:gd name="connsiteX2" fmla="*/ 267850 w 268074"/>
                <a:gd name="connsiteY2" fmla="*/ 270260 h 270260"/>
                <a:gd name="connsiteX3" fmla="*/ 3057 w 268074"/>
                <a:gd name="connsiteY3" fmla="*/ 2492 h 270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74" h="270260">
                  <a:moveTo>
                    <a:pt x="3057" y="2492"/>
                  </a:moveTo>
                  <a:cubicBezTo>
                    <a:pt x="3057" y="2492"/>
                    <a:pt x="-14795" y="106624"/>
                    <a:pt x="35783" y="145302"/>
                  </a:cubicBezTo>
                  <a:cubicBezTo>
                    <a:pt x="35783" y="145302"/>
                    <a:pt x="241073" y="186954"/>
                    <a:pt x="267850" y="270260"/>
                  </a:cubicBezTo>
                  <a:cubicBezTo>
                    <a:pt x="267850" y="270260"/>
                    <a:pt x="285701" y="-30236"/>
                    <a:pt x="3057" y="2492"/>
                  </a:cubicBez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DCC1F874-2A67-4C46-B04B-5162B00D1D5F}"/>
                </a:ext>
              </a:extLst>
            </p:cNvPr>
            <p:cNvSpPr/>
            <p:nvPr/>
          </p:nvSpPr>
          <p:spPr>
            <a:xfrm>
              <a:off x="11253048" y="7897566"/>
              <a:ext cx="289952" cy="342597"/>
            </a:xfrm>
            <a:custGeom>
              <a:avLst/>
              <a:gdLst>
                <a:gd name="connsiteX0" fmla="*/ 289953 w 289952"/>
                <a:gd name="connsiteY0" fmla="*/ 142810 h 342597"/>
                <a:gd name="connsiteX1" fmla="*/ 153094 w 289952"/>
                <a:gd name="connsiteY1" fmla="*/ 196363 h 342597"/>
                <a:gd name="connsiteX2" fmla="*/ 96564 w 289952"/>
                <a:gd name="connsiteY2" fmla="*/ 312397 h 342597"/>
                <a:gd name="connsiteX3" fmla="*/ 10283 w 289952"/>
                <a:gd name="connsiteY3" fmla="*/ 333223 h 342597"/>
                <a:gd name="connsiteX4" fmla="*/ 260201 w 289952"/>
                <a:gd name="connsiteY4" fmla="*/ 0 h 342597"/>
                <a:gd name="connsiteX5" fmla="*/ 289953 w 289952"/>
                <a:gd name="connsiteY5" fmla="*/ 142810 h 34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952" h="342597">
                  <a:moveTo>
                    <a:pt x="289953" y="142810"/>
                  </a:moveTo>
                  <a:cubicBezTo>
                    <a:pt x="289953" y="142810"/>
                    <a:pt x="200696" y="190413"/>
                    <a:pt x="153094" y="196363"/>
                  </a:cubicBezTo>
                  <a:cubicBezTo>
                    <a:pt x="102515" y="202314"/>
                    <a:pt x="96564" y="312397"/>
                    <a:pt x="96564" y="312397"/>
                  </a:cubicBezTo>
                  <a:cubicBezTo>
                    <a:pt x="96564" y="312397"/>
                    <a:pt x="25159" y="362975"/>
                    <a:pt x="10283" y="333223"/>
                  </a:cubicBezTo>
                  <a:cubicBezTo>
                    <a:pt x="-22444" y="267769"/>
                    <a:pt x="13259" y="0"/>
                    <a:pt x="260201" y="0"/>
                  </a:cubicBezTo>
                  <a:cubicBezTo>
                    <a:pt x="257226" y="0"/>
                    <a:pt x="266151" y="136859"/>
                    <a:pt x="289953" y="142810"/>
                  </a:cubicBez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08D3AA29-EA9D-4B6E-823E-100B94BBEC99}"/>
                </a:ext>
              </a:extLst>
            </p:cNvPr>
            <p:cNvSpPr/>
            <p:nvPr/>
          </p:nvSpPr>
          <p:spPr>
            <a:xfrm>
              <a:off x="11441844" y="8427153"/>
              <a:ext cx="216446" cy="77355"/>
            </a:xfrm>
            <a:custGeom>
              <a:avLst/>
              <a:gdLst>
                <a:gd name="connsiteX0" fmla="*/ 145785 w 216446"/>
                <a:gd name="connsiteY0" fmla="*/ 77355 h 77355"/>
                <a:gd name="connsiteX1" fmla="*/ 136860 w 216446"/>
                <a:gd name="connsiteY1" fmla="*/ 77355 h 77355"/>
                <a:gd name="connsiteX2" fmla="*/ 2975 w 216446"/>
                <a:gd name="connsiteY2" fmla="*/ 11901 h 77355"/>
                <a:gd name="connsiteX3" fmla="*/ 0 w 216446"/>
                <a:gd name="connsiteY3" fmla="*/ 2975 h 77355"/>
                <a:gd name="connsiteX4" fmla="*/ 8926 w 216446"/>
                <a:gd name="connsiteY4" fmla="*/ 0 h 77355"/>
                <a:gd name="connsiteX5" fmla="*/ 136860 w 216446"/>
                <a:gd name="connsiteY5" fmla="*/ 65454 h 77355"/>
                <a:gd name="connsiteX6" fmla="*/ 205289 w 216446"/>
                <a:gd name="connsiteY6" fmla="*/ 41653 h 77355"/>
                <a:gd name="connsiteX7" fmla="*/ 214215 w 216446"/>
                <a:gd name="connsiteY7" fmla="*/ 41653 h 77355"/>
                <a:gd name="connsiteX8" fmla="*/ 214215 w 216446"/>
                <a:gd name="connsiteY8" fmla="*/ 50578 h 77355"/>
                <a:gd name="connsiteX9" fmla="*/ 145785 w 216446"/>
                <a:gd name="connsiteY9" fmla="*/ 77355 h 77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446" h="77355">
                  <a:moveTo>
                    <a:pt x="145785" y="77355"/>
                  </a:moveTo>
                  <a:cubicBezTo>
                    <a:pt x="142810" y="77355"/>
                    <a:pt x="139835" y="77355"/>
                    <a:pt x="136860" y="77355"/>
                  </a:cubicBezTo>
                  <a:cubicBezTo>
                    <a:pt x="95207" y="71405"/>
                    <a:pt x="5951" y="11901"/>
                    <a:pt x="2975" y="11901"/>
                  </a:cubicBezTo>
                  <a:cubicBezTo>
                    <a:pt x="0" y="8925"/>
                    <a:pt x="0" y="5950"/>
                    <a:pt x="0" y="2975"/>
                  </a:cubicBezTo>
                  <a:cubicBezTo>
                    <a:pt x="2975" y="0"/>
                    <a:pt x="5951" y="0"/>
                    <a:pt x="8926" y="0"/>
                  </a:cubicBezTo>
                  <a:cubicBezTo>
                    <a:pt x="8926" y="0"/>
                    <a:pt x="101157" y="59504"/>
                    <a:pt x="136860" y="65454"/>
                  </a:cubicBezTo>
                  <a:cubicBezTo>
                    <a:pt x="172563" y="71405"/>
                    <a:pt x="205289" y="41653"/>
                    <a:pt x="205289" y="41653"/>
                  </a:cubicBezTo>
                  <a:cubicBezTo>
                    <a:pt x="208264" y="38677"/>
                    <a:pt x="211240" y="38677"/>
                    <a:pt x="214215" y="41653"/>
                  </a:cubicBezTo>
                  <a:cubicBezTo>
                    <a:pt x="217191" y="44628"/>
                    <a:pt x="217191" y="47603"/>
                    <a:pt x="214215" y="50578"/>
                  </a:cubicBezTo>
                  <a:cubicBezTo>
                    <a:pt x="214215" y="53553"/>
                    <a:pt x="184463" y="77355"/>
                    <a:pt x="145785" y="77355"/>
                  </a:cubicBezTo>
                  <a:close/>
                </a:path>
              </a:pathLst>
            </a:custGeom>
            <a:solidFill>
              <a:srgbClr val="E58777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B94AC20A-DF2C-4B2A-9E36-FA4A95D6D93D}"/>
                </a:ext>
              </a:extLst>
            </p:cNvPr>
            <p:cNvSpPr/>
            <p:nvPr/>
          </p:nvSpPr>
          <p:spPr>
            <a:xfrm>
              <a:off x="11306630" y="8193638"/>
              <a:ext cx="77032" cy="111296"/>
            </a:xfrm>
            <a:custGeom>
              <a:avLst/>
              <a:gdLst>
                <a:gd name="connsiteX0" fmla="*/ 63810 w 77032"/>
                <a:gd name="connsiteY0" fmla="*/ 16325 h 111296"/>
                <a:gd name="connsiteX1" fmla="*/ 7281 w 77032"/>
                <a:gd name="connsiteY1" fmla="*/ 7399 h 111296"/>
                <a:gd name="connsiteX2" fmla="*/ 63810 w 77032"/>
                <a:gd name="connsiteY2" fmla="*/ 108556 h 111296"/>
                <a:gd name="connsiteX3" fmla="*/ 63810 w 77032"/>
                <a:gd name="connsiteY3" fmla="*/ 16325 h 111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032" h="111296">
                  <a:moveTo>
                    <a:pt x="63810" y="16325"/>
                  </a:moveTo>
                  <a:cubicBezTo>
                    <a:pt x="63810" y="16325"/>
                    <a:pt x="31082" y="-13427"/>
                    <a:pt x="7281" y="7399"/>
                  </a:cubicBezTo>
                  <a:cubicBezTo>
                    <a:pt x="-16521" y="25251"/>
                    <a:pt x="22157" y="129383"/>
                    <a:pt x="63810" y="108556"/>
                  </a:cubicBezTo>
                  <a:cubicBezTo>
                    <a:pt x="93562" y="90705"/>
                    <a:pt x="63810" y="16325"/>
                    <a:pt x="63810" y="16325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D7CADDDA-47B5-45E4-8CA7-7A0D48C877E1}"/>
                </a:ext>
              </a:extLst>
            </p:cNvPr>
            <p:cNvSpPr/>
            <p:nvPr/>
          </p:nvSpPr>
          <p:spPr>
            <a:xfrm>
              <a:off x="11663752" y="8074846"/>
              <a:ext cx="144042" cy="161893"/>
            </a:xfrm>
            <a:custGeom>
              <a:avLst/>
              <a:gdLst>
                <a:gd name="connsiteX0" fmla="*/ 138092 w 144042"/>
                <a:gd name="connsiteY0" fmla="*/ 161893 h 161893"/>
                <a:gd name="connsiteX1" fmla="*/ 132141 w 144042"/>
                <a:gd name="connsiteY1" fmla="*/ 155943 h 161893"/>
                <a:gd name="connsiteX2" fmla="*/ 4208 w 144042"/>
                <a:gd name="connsiteY2" fmla="*/ 10158 h 161893"/>
                <a:gd name="connsiteX3" fmla="*/ 1232 w 144042"/>
                <a:gd name="connsiteY3" fmla="*/ 4207 h 161893"/>
                <a:gd name="connsiteX4" fmla="*/ 7183 w 144042"/>
                <a:gd name="connsiteY4" fmla="*/ 1232 h 161893"/>
                <a:gd name="connsiteX5" fmla="*/ 144043 w 144042"/>
                <a:gd name="connsiteY5" fmla="*/ 155943 h 161893"/>
                <a:gd name="connsiteX6" fmla="*/ 138092 w 144042"/>
                <a:gd name="connsiteY6" fmla="*/ 161893 h 161893"/>
                <a:gd name="connsiteX7" fmla="*/ 138092 w 144042"/>
                <a:gd name="connsiteY7" fmla="*/ 161893 h 161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042" h="161893">
                  <a:moveTo>
                    <a:pt x="138092" y="161893"/>
                  </a:moveTo>
                  <a:cubicBezTo>
                    <a:pt x="135117" y="161893"/>
                    <a:pt x="132141" y="158919"/>
                    <a:pt x="132141" y="155943"/>
                  </a:cubicBezTo>
                  <a:cubicBezTo>
                    <a:pt x="108340" y="36935"/>
                    <a:pt x="4208" y="10158"/>
                    <a:pt x="4208" y="10158"/>
                  </a:cubicBezTo>
                  <a:cubicBezTo>
                    <a:pt x="1232" y="10158"/>
                    <a:pt x="-1743" y="7183"/>
                    <a:pt x="1232" y="4207"/>
                  </a:cubicBezTo>
                  <a:cubicBezTo>
                    <a:pt x="1232" y="1232"/>
                    <a:pt x="4208" y="-1743"/>
                    <a:pt x="7183" y="1232"/>
                  </a:cubicBezTo>
                  <a:cubicBezTo>
                    <a:pt x="7183" y="1232"/>
                    <a:pt x="120241" y="30985"/>
                    <a:pt x="144043" y="155943"/>
                  </a:cubicBezTo>
                  <a:cubicBezTo>
                    <a:pt x="144043" y="158919"/>
                    <a:pt x="141068" y="161893"/>
                    <a:pt x="138092" y="161893"/>
                  </a:cubicBezTo>
                  <a:cubicBezTo>
                    <a:pt x="138092" y="161893"/>
                    <a:pt x="138092" y="161893"/>
                    <a:pt x="138092" y="161893"/>
                  </a:cubicBezTo>
                  <a:close/>
                </a:path>
              </a:pathLst>
            </a:custGeom>
            <a:solidFill>
              <a:srgbClr val="D3977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AFF8F35C-3F2C-4CA4-91E8-8E3344733F76}"/>
                </a:ext>
              </a:extLst>
            </p:cNvPr>
            <p:cNvSpPr/>
            <p:nvPr/>
          </p:nvSpPr>
          <p:spPr>
            <a:xfrm>
              <a:off x="11682836" y="8489632"/>
              <a:ext cx="233603" cy="401652"/>
            </a:xfrm>
            <a:custGeom>
              <a:avLst/>
              <a:gdLst>
                <a:gd name="connsiteX0" fmla="*/ 32727 w 233603"/>
                <a:gd name="connsiteY0" fmla="*/ 0 h 401652"/>
                <a:gd name="connsiteX1" fmla="*/ 205289 w 233603"/>
                <a:gd name="connsiteY1" fmla="*/ 190414 h 401652"/>
                <a:gd name="connsiteX2" fmla="*/ 223141 w 233603"/>
                <a:gd name="connsiteY2" fmla="*/ 380827 h 401652"/>
                <a:gd name="connsiteX3" fmla="*/ 178512 w 233603"/>
                <a:gd name="connsiteY3" fmla="*/ 380827 h 401652"/>
                <a:gd name="connsiteX4" fmla="*/ 104132 w 233603"/>
                <a:gd name="connsiteY4" fmla="*/ 401653 h 401652"/>
                <a:gd name="connsiteX5" fmla="*/ 62480 w 233603"/>
                <a:gd name="connsiteY5" fmla="*/ 374876 h 401652"/>
                <a:gd name="connsiteX6" fmla="*/ 0 w 233603"/>
                <a:gd name="connsiteY6" fmla="*/ 35702 h 401652"/>
                <a:gd name="connsiteX7" fmla="*/ 32727 w 233603"/>
                <a:gd name="connsiteY7" fmla="*/ 0 h 40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3603" h="401652">
                  <a:moveTo>
                    <a:pt x="32727" y="0"/>
                  </a:moveTo>
                  <a:cubicBezTo>
                    <a:pt x="32727" y="0"/>
                    <a:pt x="169587" y="89256"/>
                    <a:pt x="205289" y="190414"/>
                  </a:cubicBezTo>
                  <a:cubicBezTo>
                    <a:pt x="240992" y="294546"/>
                    <a:pt x="238017" y="371901"/>
                    <a:pt x="223141" y="380827"/>
                  </a:cubicBezTo>
                  <a:cubicBezTo>
                    <a:pt x="211240" y="389752"/>
                    <a:pt x="196364" y="371901"/>
                    <a:pt x="178512" y="380827"/>
                  </a:cubicBezTo>
                  <a:cubicBezTo>
                    <a:pt x="160661" y="389752"/>
                    <a:pt x="116033" y="401653"/>
                    <a:pt x="104132" y="401653"/>
                  </a:cubicBezTo>
                  <a:cubicBezTo>
                    <a:pt x="89256" y="401653"/>
                    <a:pt x="56529" y="386777"/>
                    <a:pt x="62480" y="374876"/>
                  </a:cubicBezTo>
                  <a:cubicBezTo>
                    <a:pt x="68429" y="362975"/>
                    <a:pt x="23801" y="62480"/>
                    <a:pt x="0" y="35702"/>
                  </a:cubicBezTo>
                  <a:lnTo>
                    <a:pt x="32727" y="0"/>
                  </a:ln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2CF05F7B-FD11-4161-9221-1F9B500A437B}"/>
                </a:ext>
              </a:extLst>
            </p:cNvPr>
            <p:cNvSpPr/>
            <p:nvPr/>
          </p:nvSpPr>
          <p:spPr>
            <a:xfrm>
              <a:off x="11725232" y="8526078"/>
              <a:ext cx="145041" cy="261074"/>
            </a:xfrm>
            <a:custGeom>
              <a:avLst/>
              <a:gdLst>
                <a:gd name="connsiteX0" fmla="*/ 139091 w 145041"/>
                <a:gd name="connsiteY0" fmla="*/ 261074 h 261074"/>
                <a:gd name="connsiteX1" fmla="*/ 133140 w 145041"/>
                <a:gd name="connsiteY1" fmla="*/ 255124 h 261074"/>
                <a:gd name="connsiteX2" fmla="*/ 2232 w 145041"/>
                <a:gd name="connsiteY2" fmla="*/ 11157 h 261074"/>
                <a:gd name="connsiteX3" fmla="*/ 2232 w 145041"/>
                <a:gd name="connsiteY3" fmla="*/ 2232 h 261074"/>
                <a:gd name="connsiteX4" fmla="*/ 11157 w 145041"/>
                <a:gd name="connsiteY4" fmla="*/ 2232 h 261074"/>
                <a:gd name="connsiteX5" fmla="*/ 145041 w 145041"/>
                <a:gd name="connsiteY5" fmla="*/ 252149 h 261074"/>
                <a:gd name="connsiteX6" fmla="*/ 139091 w 145041"/>
                <a:gd name="connsiteY6" fmla="*/ 261074 h 261074"/>
                <a:gd name="connsiteX7" fmla="*/ 139091 w 145041"/>
                <a:gd name="connsiteY7" fmla="*/ 261074 h 261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041" h="261074">
                  <a:moveTo>
                    <a:pt x="139091" y="261074"/>
                  </a:moveTo>
                  <a:cubicBezTo>
                    <a:pt x="136116" y="261074"/>
                    <a:pt x="133140" y="258099"/>
                    <a:pt x="133140" y="255124"/>
                  </a:cubicBezTo>
                  <a:cubicBezTo>
                    <a:pt x="127191" y="142066"/>
                    <a:pt x="5207" y="11157"/>
                    <a:pt x="2232" y="11157"/>
                  </a:cubicBezTo>
                  <a:cubicBezTo>
                    <a:pt x="-744" y="8182"/>
                    <a:pt x="-744" y="5207"/>
                    <a:pt x="2232" y="2232"/>
                  </a:cubicBezTo>
                  <a:cubicBezTo>
                    <a:pt x="5207" y="-744"/>
                    <a:pt x="8182" y="-744"/>
                    <a:pt x="11157" y="2232"/>
                  </a:cubicBezTo>
                  <a:cubicBezTo>
                    <a:pt x="17108" y="8182"/>
                    <a:pt x="139091" y="136116"/>
                    <a:pt x="145041" y="252149"/>
                  </a:cubicBezTo>
                  <a:cubicBezTo>
                    <a:pt x="145041" y="258099"/>
                    <a:pt x="142067" y="261074"/>
                    <a:pt x="139091" y="261074"/>
                  </a:cubicBezTo>
                  <a:lnTo>
                    <a:pt x="139091" y="261074"/>
                  </a:ln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AE26317D-F79C-4129-AB2A-9564B06E4004}"/>
                </a:ext>
              </a:extLst>
            </p:cNvPr>
            <p:cNvSpPr/>
            <p:nvPr/>
          </p:nvSpPr>
          <p:spPr>
            <a:xfrm>
              <a:off x="11666611" y="8477148"/>
              <a:ext cx="103673" cy="76932"/>
            </a:xfrm>
            <a:custGeom>
              <a:avLst/>
              <a:gdLst>
                <a:gd name="connsiteX0" fmla="*/ 102506 w 103673"/>
                <a:gd name="connsiteY0" fmla="*/ 15460 h 76932"/>
                <a:gd name="connsiteX1" fmla="*/ 84655 w 103673"/>
                <a:gd name="connsiteY1" fmla="*/ 584 h 76932"/>
                <a:gd name="connsiteX2" fmla="*/ 10274 w 103673"/>
                <a:gd name="connsiteY2" fmla="*/ 24385 h 76932"/>
                <a:gd name="connsiteX3" fmla="*/ 4325 w 103673"/>
                <a:gd name="connsiteY3" fmla="*/ 51162 h 76932"/>
                <a:gd name="connsiteX4" fmla="*/ 22176 w 103673"/>
                <a:gd name="connsiteY4" fmla="*/ 74964 h 76932"/>
                <a:gd name="connsiteX5" fmla="*/ 87630 w 103673"/>
                <a:gd name="connsiteY5" fmla="*/ 54137 h 76932"/>
                <a:gd name="connsiteX6" fmla="*/ 96556 w 103673"/>
                <a:gd name="connsiteY6" fmla="*/ 39261 h 76932"/>
                <a:gd name="connsiteX7" fmla="*/ 102506 w 103673"/>
                <a:gd name="connsiteY7" fmla="*/ 15460 h 7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673" h="76932">
                  <a:moveTo>
                    <a:pt x="102506" y="15460"/>
                  </a:moveTo>
                  <a:cubicBezTo>
                    <a:pt x="102506" y="6534"/>
                    <a:pt x="93581" y="-2392"/>
                    <a:pt x="84655" y="584"/>
                  </a:cubicBezTo>
                  <a:cubicBezTo>
                    <a:pt x="60853" y="9509"/>
                    <a:pt x="34077" y="15460"/>
                    <a:pt x="10274" y="24385"/>
                  </a:cubicBezTo>
                  <a:cubicBezTo>
                    <a:pt x="-1626" y="27360"/>
                    <a:pt x="-1626" y="45212"/>
                    <a:pt x="4325" y="51162"/>
                  </a:cubicBezTo>
                  <a:cubicBezTo>
                    <a:pt x="-7576" y="60088"/>
                    <a:pt x="7300" y="83890"/>
                    <a:pt x="22176" y="74964"/>
                  </a:cubicBezTo>
                  <a:cubicBezTo>
                    <a:pt x="43002" y="63063"/>
                    <a:pt x="63829" y="57112"/>
                    <a:pt x="87630" y="54137"/>
                  </a:cubicBezTo>
                  <a:cubicBezTo>
                    <a:pt x="96556" y="54137"/>
                    <a:pt x="99531" y="45212"/>
                    <a:pt x="96556" y="39261"/>
                  </a:cubicBezTo>
                  <a:cubicBezTo>
                    <a:pt x="102506" y="30336"/>
                    <a:pt x="105481" y="21410"/>
                    <a:pt x="102506" y="15460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1" name="图形 1">
              <a:extLst>
                <a:ext uri="{FF2B5EF4-FFF2-40B4-BE49-F238E27FC236}">
                  <a16:creationId xmlns:a16="http://schemas.microsoft.com/office/drawing/2014/main" id="{4962ED66-AF93-4C91-87C3-11E79050C2D7}"/>
                </a:ext>
              </a:extLst>
            </p:cNvPr>
            <p:cNvGrpSpPr/>
            <p:nvPr/>
          </p:nvGrpSpPr>
          <p:grpSpPr>
            <a:xfrm>
              <a:off x="11228965" y="7542786"/>
              <a:ext cx="544359" cy="580895"/>
              <a:chOff x="11228965" y="7542786"/>
              <a:chExt cx="544359" cy="580895"/>
            </a:xfrm>
          </p:grpSpPr>
          <p:grpSp>
            <p:nvGrpSpPr>
              <p:cNvPr id="89" name="图形 1">
                <a:extLst>
                  <a:ext uri="{FF2B5EF4-FFF2-40B4-BE49-F238E27FC236}">
                    <a16:creationId xmlns:a16="http://schemas.microsoft.com/office/drawing/2014/main" id="{3F0DBF4C-CF09-463D-8267-CE90B6F184B5}"/>
                  </a:ext>
                </a:extLst>
              </p:cNvPr>
              <p:cNvGrpSpPr/>
              <p:nvPr/>
            </p:nvGrpSpPr>
            <p:grpSpPr>
              <a:xfrm>
                <a:off x="11232836" y="7542786"/>
                <a:ext cx="533305" cy="580895"/>
                <a:chOff x="11232836" y="7542786"/>
                <a:chExt cx="533305" cy="580895"/>
              </a:xfrm>
            </p:grpSpPr>
            <p:sp>
              <p:nvSpPr>
                <p:cNvPr id="92" name="任意多边形: 形状 91">
                  <a:extLst>
                    <a:ext uri="{FF2B5EF4-FFF2-40B4-BE49-F238E27FC236}">
                      <a16:creationId xmlns:a16="http://schemas.microsoft.com/office/drawing/2014/main" id="{34FF9C7C-B360-4B62-8CE4-9B29AF44464A}"/>
                    </a:ext>
                  </a:extLst>
                </p:cNvPr>
                <p:cNvSpPr/>
                <p:nvPr/>
              </p:nvSpPr>
              <p:spPr>
                <a:xfrm>
                  <a:off x="11232836" y="7705327"/>
                  <a:ext cx="533305" cy="418354"/>
                </a:xfrm>
                <a:custGeom>
                  <a:avLst/>
                  <a:gdLst>
                    <a:gd name="connsiteX0" fmla="*/ 357769 w 533305"/>
                    <a:gd name="connsiteY0" fmla="*/ 49429 h 418354"/>
                    <a:gd name="connsiteX1" fmla="*/ 164380 w 533305"/>
                    <a:gd name="connsiteY1" fmla="*/ 7776 h 418354"/>
                    <a:gd name="connsiteX2" fmla="*/ 3719 w 533305"/>
                    <a:gd name="connsiteY2" fmla="*/ 326124 h 418354"/>
                    <a:gd name="connsiteX3" fmla="*/ 744 w 533305"/>
                    <a:gd name="connsiteY3" fmla="*/ 409429 h 418354"/>
                    <a:gd name="connsiteX4" fmla="*/ 3719 w 533305"/>
                    <a:gd name="connsiteY4" fmla="*/ 415380 h 418354"/>
                    <a:gd name="connsiteX5" fmla="*/ 9670 w 533305"/>
                    <a:gd name="connsiteY5" fmla="*/ 418355 h 418354"/>
                    <a:gd name="connsiteX6" fmla="*/ 342893 w 533305"/>
                    <a:gd name="connsiteY6" fmla="*/ 361826 h 418354"/>
                    <a:gd name="connsiteX7" fmla="*/ 530331 w 533305"/>
                    <a:gd name="connsiteY7" fmla="*/ 275545 h 418354"/>
                    <a:gd name="connsiteX8" fmla="*/ 533306 w 533305"/>
                    <a:gd name="connsiteY8" fmla="*/ 266619 h 418354"/>
                    <a:gd name="connsiteX9" fmla="*/ 357769 w 533305"/>
                    <a:gd name="connsiteY9" fmla="*/ 49429 h 4183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33305" h="418354">
                      <a:moveTo>
                        <a:pt x="357769" y="49429"/>
                      </a:moveTo>
                      <a:cubicBezTo>
                        <a:pt x="313141" y="19677"/>
                        <a:pt x="206033" y="-16025"/>
                        <a:pt x="164380" y="7776"/>
                      </a:cubicBezTo>
                      <a:cubicBezTo>
                        <a:pt x="51323" y="79181"/>
                        <a:pt x="18595" y="216041"/>
                        <a:pt x="3719" y="326124"/>
                      </a:cubicBezTo>
                      <a:cubicBezTo>
                        <a:pt x="-2232" y="367776"/>
                        <a:pt x="744" y="406454"/>
                        <a:pt x="744" y="409429"/>
                      </a:cubicBezTo>
                      <a:cubicBezTo>
                        <a:pt x="744" y="412404"/>
                        <a:pt x="744" y="412404"/>
                        <a:pt x="3719" y="415380"/>
                      </a:cubicBezTo>
                      <a:cubicBezTo>
                        <a:pt x="6695" y="415380"/>
                        <a:pt x="6695" y="418355"/>
                        <a:pt x="9670" y="418355"/>
                      </a:cubicBezTo>
                      <a:cubicBezTo>
                        <a:pt x="140579" y="409429"/>
                        <a:pt x="265537" y="385628"/>
                        <a:pt x="342893" y="361826"/>
                      </a:cubicBezTo>
                      <a:cubicBezTo>
                        <a:pt x="470827" y="323148"/>
                        <a:pt x="524380" y="278520"/>
                        <a:pt x="530331" y="275545"/>
                      </a:cubicBezTo>
                      <a:cubicBezTo>
                        <a:pt x="533306" y="272570"/>
                        <a:pt x="533306" y="269594"/>
                        <a:pt x="533306" y="266619"/>
                      </a:cubicBezTo>
                      <a:cubicBezTo>
                        <a:pt x="530331" y="263644"/>
                        <a:pt x="491653" y="132735"/>
                        <a:pt x="357769" y="49429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3" name="任意多边形: 形状 92">
                  <a:extLst>
                    <a:ext uri="{FF2B5EF4-FFF2-40B4-BE49-F238E27FC236}">
                      <a16:creationId xmlns:a16="http://schemas.microsoft.com/office/drawing/2014/main" id="{D90B77E6-23BA-4CA2-AC91-A5CBCBCF571B}"/>
                    </a:ext>
                  </a:extLst>
                </p:cNvPr>
                <p:cNvSpPr/>
                <p:nvPr/>
              </p:nvSpPr>
              <p:spPr>
                <a:xfrm>
                  <a:off x="11262051" y="7548736"/>
                  <a:ext cx="204325" cy="204325"/>
                </a:xfrm>
                <a:custGeom>
                  <a:avLst/>
                  <a:gdLst>
                    <a:gd name="connsiteX0" fmla="*/ 161942 w 204325"/>
                    <a:gd name="connsiteY0" fmla="*/ 21557 h 204325"/>
                    <a:gd name="connsiteX1" fmla="*/ 87562 w 204325"/>
                    <a:gd name="connsiteY1" fmla="*/ 731 h 204325"/>
                    <a:gd name="connsiteX2" fmla="*/ 1281 w 204325"/>
                    <a:gd name="connsiteY2" fmla="*/ 116764 h 204325"/>
                    <a:gd name="connsiteX3" fmla="*/ 117314 w 204325"/>
                    <a:gd name="connsiteY3" fmla="*/ 203044 h 204325"/>
                    <a:gd name="connsiteX4" fmla="*/ 132190 w 204325"/>
                    <a:gd name="connsiteY4" fmla="*/ 200069 h 204325"/>
                    <a:gd name="connsiteX5" fmla="*/ 182769 w 204325"/>
                    <a:gd name="connsiteY5" fmla="*/ 164367 h 204325"/>
                    <a:gd name="connsiteX6" fmla="*/ 203595 w 204325"/>
                    <a:gd name="connsiteY6" fmla="*/ 89987 h 204325"/>
                    <a:gd name="connsiteX7" fmla="*/ 161942 w 204325"/>
                    <a:gd name="connsiteY7" fmla="*/ 21557 h 204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4325" h="204325">
                      <a:moveTo>
                        <a:pt x="161942" y="21557"/>
                      </a:moveTo>
                      <a:cubicBezTo>
                        <a:pt x="141116" y="3706"/>
                        <a:pt x="114339" y="-2245"/>
                        <a:pt x="87562" y="731"/>
                      </a:cubicBezTo>
                      <a:cubicBezTo>
                        <a:pt x="31033" y="6681"/>
                        <a:pt x="-7645" y="60235"/>
                        <a:pt x="1281" y="116764"/>
                      </a:cubicBezTo>
                      <a:cubicBezTo>
                        <a:pt x="10207" y="173292"/>
                        <a:pt x="60785" y="211970"/>
                        <a:pt x="117314" y="203044"/>
                      </a:cubicBezTo>
                      <a:cubicBezTo>
                        <a:pt x="123264" y="203044"/>
                        <a:pt x="129215" y="200069"/>
                        <a:pt x="132190" y="200069"/>
                      </a:cubicBezTo>
                      <a:cubicBezTo>
                        <a:pt x="153016" y="194119"/>
                        <a:pt x="170868" y="182218"/>
                        <a:pt x="182769" y="164367"/>
                      </a:cubicBezTo>
                      <a:cubicBezTo>
                        <a:pt x="200620" y="143540"/>
                        <a:pt x="206570" y="116764"/>
                        <a:pt x="203595" y="89987"/>
                      </a:cubicBezTo>
                      <a:cubicBezTo>
                        <a:pt x="197645" y="60235"/>
                        <a:pt x="182769" y="36433"/>
                        <a:pt x="161942" y="21557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4" name="任意多边形: 形状 93">
                  <a:extLst>
                    <a:ext uri="{FF2B5EF4-FFF2-40B4-BE49-F238E27FC236}">
                      <a16:creationId xmlns:a16="http://schemas.microsoft.com/office/drawing/2014/main" id="{B9970B19-36AD-4869-B3F9-156FAD8A0E36}"/>
                    </a:ext>
                  </a:extLst>
                </p:cNvPr>
                <p:cNvSpPr/>
                <p:nvPr/>
              </p:nvSpPr>
              <p:spPr>
                <a:xfrm>
                  <a:off x="11253676" y="7542786"/>
                  <a:ext cx="215675" cy="214945"/>
                </a:xfrm>
                <a:custGeom>
                  <a:avLst/>
                  <a:gdLst>
                    <a:gd name="connsiteX0" fmla="*/ 107838 w 215675"/>
                    <a:gd name="connsiteY0" fmla="*/ 214946 h 214945"/>
                    <a:gd name="connsiteX1" fmla="*/ 731 w 215675"/>
                    <a:gd name="connsiteY1" fmla="*/ 122714 h 214945"/>
                    <a:gd name="connsiteX2" fmla="*/ 21557 w 215675"/>
                    <a:gd name="connsiteY2" fmla="*/ 42384 h 214945"/>
                    <a:gd name="connsiteX3" fmla="*/ 92962 w 215675"/>
                    <a:gd name="connsiteY3" fmla="*/ 730 h 214945"/>
                    <a:gd name="connsiteX4" fmla="*/ 173292 w 215675"/>
                    <a:gd name="connsiteY4" fmla="*/ 21557 h 214945"/>
                    <a:gd name="connsiteX5" fmla="*/ 173292 w 215675"/>
                    <a:gd name="connsiteY5" fmla="*/ 21557 h 214945"/>
                    <a:gd name="connsiteX6" fmla="*/ 214945 w 215675"/>
                    <a:gd name="connsiteY6" fmla="*/ 92962 h 214945"/>
                    <a:gd name="connsiteX7" fmla="*/ 194119 w 215675"/>
                    <a:gd name="connsiteY7" fmla="*/ 173293 h 214945"/>
                    <a:gd name="connsiteX8" fmla="*/ 140565 w 215675"/>
                    <a:gd name="connsiteY8" fmla="*/ 211970 h 214945"/>
                    <a:gd name="connsiteX9" fmla="*/ 122714 w 215675"/>
                    <a:gd name="connsiteY9" fmla="*/ 214946 h 214945"/>
                    <a:gd name="connsiteX10" fmla="*/ 107838 w 215675"/>
                    <a:gd name="connsiteY10" fmla="*/ 214946 h 214945"/>
                    <a:gd name="connsiteX11" fmla="*/ 107838 w 215675"/>
                    <a:gd name="connsiteY11" fmla="*/ 12632 h 214945"/>
                    <a:gd name="connsiteX12" fmla="*/ 95937 w 215675"/>
                    <a:gd name="connsiteY12" fmla="*/ 12632 h 214945"/>
                    <a:gd name="connsiteX13" fmla="*/ 33458 w 215675"/>
                    <a:gd name="connsiteY13" fmla="*/ 48334 h 214945"/>
                    <a:gd name="connsiteX14" fmla="*/ 15607 w 215675"/>
                    <a:gd name="connsiteY14" fmla="*/ 119739 h 214945"/>
                    <a:gd name="connsiteX15" fmla="*/ 125689 w 215675"/>
                    <a:gd name="connsiteY15" fmla="*/ 203045 h 214945"/>
                    <a:gd name="connsiteX16" fmla="*/ 140565 w 215675"/>
                    <a:gd name="connsiteY16" fmla="*/ 200070 h 214945"/>
                    <a:gd name="connsiteX17" fmla="*/ 188168 w 215675"/>
                    <a:gd name="connsiteY17" fmla="*/ 167342 h 214945"/>
                    <a:gd name="connsiteX18" fmla="*/ 206020 w 215675"/>
                    <a:gd name="connsiteY18" fmla="*/ 95937 h 214945"/>
                    <a:gd name="connsiteX19" fmla="*/ 167342 w 215675"/>
                    <a:gd name="connsiteY19" fmla="*/ 30483 h 214945"/>
                    <a:gd name="connsiteX20" fmla="*/ 167342 w 215675"/>
                    <a:gd name="connsiteY20" fmla="*/ 30483 h 214945"/>
                    <a:gd name="connsiteX21" fmla="*/ 107838 w 215675"/>
                    <a:gd name="connsiteY21" fmla="*/ 12632 h 214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15675" h="214945">
                      <a:moveTo>
                        <a:pt x="107838" y="214946"/>
                      </a:moveTo>
                      <a:cubicBezTo>
                        <a:pt x="54284" y="214946"/>
                        <a:pt x="9656" y="176268"/>
                        <a:pt x="731" y="122714"/>
                      </a:cubicBezTo>
                      <a:cubicBezTo>
                        <a:pt x="-2245" y="92962"/>
                        <a:pt x="3706" y="66185"/>
                        <a:pt x="21557" y="42384"/>
                      </a:cubicBezTo>
                      <a:cubicBezTo>
                        <a:pt x="39408" y="18582"/>
                        <a:pt x="63210" y="3706"/>
                        <a:pt x="92962" y="730"/>
                      </a:cubicBezTo>
                      <a:cubicBezTo>
                        <a:pt x="122714" y="-2244"/>
                        <a:pt x="149491" y="3706"/>
                        <a:pt x="173292" y="21557"/>
                      </a:cubicBezTo>
                      <a:lnTo>
                        <a:pt x="173292" y="21557"/>
                      </a:lnTo>
                      <a:cubicBezTo>
                        <a:pt x="197094" y="39408"/>
                        <a:pt x="211970" y="63210"/>
                        <a:pt x="214945" y="92962"/>
                      </a:cubicBezTo>
                      <a:cubicBezTo>
                        <a:pt x="217920" y="122714"/>
                        <a:pt x="211970" y="149491"/>
                        <a:pt x="194119" y="173293"/>
                      </a:cubicBezTo>
                      <a:cubicBezTo>
                        <a:pt x="179243" y="191144"/>
                        <a:pt x="161392" y="203045"/>
                        <a:pt x="140565" y="211970"/>
                      </a:cubicBezTo>
                      <a:cubicBezTo>
                        <a:pt x="134615" y="214946"/>
                        <a:pt x="128664" y="214946"/>
                        <a:pt x="122714" y="214946"/>
                      </a:cubicBezTo>
                      <a:cubicBezTo>
                        <a:pt x="116764" y="214946"/>
                        <a:pt x="113788" y="214946"/>
                        <a:pt x="107838" y="214946"/>
                      </a:cubicBezTo>
                      <a:close/>
                      <a:moveTo>
                        <a:pt x="107838" y="12632"/>
                      </a:moveTo>
                      <a:cubicBezTo>
                        <a:pt x="104863" y="12632"/>
                        <a:pt x="98912" y="12632"/>
                        <a:pt x="95937" y="12632"/>
                      </a:cubicBezTo>
                      <a:cubicBezTo>
                        <a:pt x="69160" y="15606"/>
                        <a:pt x="48334" y="30483"/>
                        <a:pt x="33458" y="48334"/>
                      </a:cubicBezTo>
                      <a:cubicBezTo>
                        <a:pt x="18582" y="69160"/>
                        <a:pt x="9656" y="92962"/>
                        <a:pt x="15607" y="119739"/>
                      </a:cubicBezTo>
                      <a:cubicBezTo>
                        <a:pt x="21557" y="173293"/>
                        <a:pt x="72135" y="208995"/>
                        <a:pt x="125689" y="203045"/>
                      </a:cubicBezTo>
                      <a:cubicBezTo>
                        <a:pt x="131640" y="203045"/>
                        <a:pt x="134615" y="200070"/>
                        <a:pt x="140565" y="200070"/>
                      </a:cubicBezTo>
                      <a:cubicBezTo>
                        <a:pt x="158416" y="194119"/>
                        <a:pt x="176268" y="182218"/>
                        <a:pt x="188168" y="167342"/>
                      </a:cubicBezTo>
                      <a:cubicBezTo>
                        <a:pt x="203044" y="146516"/>
                        <a:pt x="211970" y="122714"/>
                        <a:pt x="206020" y="95937"/>
                      </a:cubicBezTo>
                      <a:cubicBezTo>
                        <a:pt x="203044" y="69160"/>
                        <a:pt x="188168" y="48334"/>
                        <a:pt x="167342" y="30483"/>
                      </a:cubicBezTo>
                      <a:lnTo>
                        <a:pt x="167342" y="30483"/>
                      </a:lnTo>
                      <a:cubicBezTo>
                        <a:pt x="149491" y="18582"/>
                        <a:pt x="128664" y="12632"/>
                        <a:pt x="107838" y="12632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8AA46DF8-E05F-4314-95B3-2815E552B813}"/>
                  </a:ext>
                </a:extLst>
              </p:cNvPr>
              <p:cNvSpPr/>
              <p:nvPr/>
            </p:nvSpPr>
            <p:spPr>
              <a:xfrm>
                <a:off x="11233579" y="7909467"/>
                <a:ext cx="514711" cy="157686"/>
              </a:xfrm>
              <a:custGeom>
                <a:avLst/>
                <a:gdLst>
                  <a:gd name="connsiteX0" fmla="*/ 0 w 514711"/>
                  <a:gd name="connsiteY0" fmla="*/ 157686 h 157686"/>
                  <a:gd name="connsiteX1" fmla="*/ 0 w 514711"/>
                  <a:gd name="connsiteY1" fmla="*/ 145785 h 157686"/>
                  <a:gd name="connsiteX2" fmla="*/ 508761 w 514711"/>
                  <a:gd name="connsiteY2" fmla="*/ 0 h 157686"/>
                  <a:gd name="connsiteX3" fmla="*/ 514711 w 514711"/>
                  <a:gd name="connsiteY3" fmla="*/ 8926 h 157686"/>
                  <a:gd name="connsiteX4" fmla="*/ 0 w 514711"/>
                  <a:gd name="connsiteY4" fmla="*/ 157686 h 157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4711" h="157686">
                    <a:moveTo>
                      <a:pt x="0" y="157686"/>
                    </a:moveTo>
                    <a:lnTo>
                      <a:pt x="0" y="145785"/>
                    </a:lnTo>
                    <a:cubicBezTo>
                      <a:pt x="2975" y="145785"/>
                      <a:pt x="362976" y="113058"/>
                      <a:pt x="508761" y="0"/>
                    </a:cubicBezTo>
                    <a:lnTo>
                      <a:pt x="514711" y="8926"/>
                    </a:lnTo>
                    <a:cubicBezTo>
                      <a:pt x="365951" y="124959"/>
                      <a:pt x="14876" y="154711"/>
                      <a:pt x="0" y="157686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FBDACF03-DB86-4AA6-8F7E-1ECB242A2ECF}"/>
                  </a:ext>
                </a:extLst>
              </p:cNvPr>
              <p:cNvSpPr/>
              <p:nvPr/>
            </p:nvSpPr>
            <p:spPr>
              <a:xfrm>
                <a:off x="11228965" y="7971946"/>
                <a:ext cx="544359" cy="148760"/>
              </a:xfrm>
              <a:custGeom>
                <a:avLst/>
                <a:gdLst>
                  <a:gd name="connsiteX0" fmla="*/ 19491 w 544359"/>
                  <a:gd name="connsiteY0" fmla="*/ 148760 h 148760"/>
                  <a:gd name="connsiteX1" fmla="*/ 7590 w 544359"/>
                  <a:gd name="connsiteY1" fmla="*/ 148760 h 148760"/>
                  <a:gd name="connsiteX2" fmla="*/ 4614 w 544359"/>
                  <a:gd name="connsiteY2" fmla="*/ 148760 h 148760"/>
                  <a:gd name="connsiteX3" fmla="*/ 4614 w 544359"/>
                  <a:gd name="connsiteY3" fmla="*/ 145785 h 148760"/>
                  <a:gd name="connsiteX4" fmla="*/ 7590 w 544359"/>
                  <a:gd name="connsiteY4" fmla="*/ 23802 h 148760"/>
                  <a:gd name="connsiteX5" fmla="*/ 13541 w 544359"/>
                  <a:gd name="connsiteY5" fmla="*/ 17851 h 148760"/>
                  <a:gd name="connsiteX6" fmla="*/ 19491 w 544359"/>
                  <a:gd name="connsiteY6" fmla="*/ 23802 h 148760"/>
                  <a:gd name="connsiteX7" fmla="*/ 16515 w 544359"/>
                  <a:gd name="connsiteY7" fmla="*/ 136859 h 148760"/>
                  <a:gd name="connsiteX8" fmla="*/ 534202 w 544359"/>
                  <a:gd name="connsiteY8" fmla="*/ 0 h 148760"/>
                  <a:gd name="connsiteX9" fmla="*/ 543127 w 544359"/>
                  <a:gd name="connsiteY9" fmla="*/ 2975 h 148760"/>
                  <a:gd name="connsiteX10" fmla="*/ 540152 w 544359"/>
                  <a:gd name="connsiteY10" fmla="*/ 11901 h 148760"/>
                  <a:gd name="connsiteX11" fmla="*/ 19491 w 544359"/>
                  <a:gd name="connsiteY11" fmla="*/ 148760 h 148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44359" h="148760">
                    <a:moveTo>
                      <a:pt x="19491" y="148760"/>
                    </a:moveTo>
                    <a:cubicBezTo>
                      <a:pt x="10565" y="148760"/>
                      <a:pt x="7590" y="148760"/>
                      <a:pt x="7590" y="148760"/>
                    </a:cubicBezTo>
                    <a:lnTo>
                      <a:pt x="4614" y="148760"/>
                    </a:lnTo>
                    <a:lnTo>
                      <a:pt x="4614" y="145785"/>
                    </a:lnTo>
                    <a:cubicBezTo>
                      <a:pt x="-7286" y="110083"/>
                      <a:pt x="7590" y="29752"/>
                      <a:pt x="7590" y="23802"/>
                    </a:cubicBezTo>
                    <a:cubicBezTo>
                      <a:pt x="7590" y="20826"/>
                      <a:pt x="10565" y="17851"/>
                      <a:pt x="13541" y="17851"/>
                    </a:cubicBezTo>
                    <a:cubicBezTo>
                      <a:pt x="16515" y="17851"/>
                      <a:pt x="19491" y="20826"/>
                      <a:pt x="19491" y="23802"/>
                    </a:cubicBezTo>
                    <a:cubicBezTo>
                      <a:pt x="19491" y="23802"/>
                      <a:pt x="7590" y="101157"/>
                      <a:pt x="16515" y="136859"/>
                    </a:cubicBezTo>
                    <a:cubicBezTo>
                      <a:pt x="49243" y="136859"/>
                      <a:pt x="293210" y="136859"/>
                      <a:pt x="534202" y="0"/>
                    </a:cubicBezTo>
                    <a:cubicBezTo>
                      <a:pt x="537176" y="0"/>
                      <a:pt x="540152" y="0"/>
                      <a:pt x="543127" y="2975"/>
                    </a:cubicBezTo>
                    <a:cubicBezTo>
                      <a:pt x="546102" y="5950"/>
                      <a:pt x="543127" y="8926"/>
                      <a:pt x="540152" y="11901"/>
                    </a:cubicBezTo>
                    <a:cubicBezTo>
                      <a:pt x="305111" y="142810"/>
                      <a:pt x="76019" y="148760"/>
                      <a:pt x="19491" y="148760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2" name="图形 1">
              <a:extLst>
                <a:ext uri="{FF2B5EF4-FFF2-40B4-BE49-F238E27FC236}">
                  <a16:creationId xmlns:a16="http://schemas.microsoft.com/office/drawing/2014/main" id="{86E8A32D-2D4D-4739-9D65-B6818B03D7F2}"/>
                </a:ext>
              </a:extLst>
            </p:cNvPr>
            <p:cNvGrpSpPr/>
            <p:nvPr/>
          </p:nvGrpSpPr>
          <p:grpSpPr>
            <a:xfrm>
              <a:off x="10677216" y="8469751"/>
              <a:ext cx="813306" cy="272773"/>
              <a:chOff x="10677216" y="8469751"/>
              <a:chExt cx="813306" cy="272773"/>
            </a:xfrm>
          </p:grpSpPr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0EFF2563-B395-428F-B58F-09EB1133B3CB}"/>
                  </a:ext>
                </a:extLst>
              </p:cNvPr>
              <p:cNvSpPr/>
              <p:nvPr/>
            </p:nvSpPr>
            <p:spPr>
              <a:xfrm>
                <a:off x="10677216" y="8469751"/>
                <a:ext cx="813306" cy="269798"/>
              </a:xfrm>
              <a:custGeom>
                <a:avLst/>
                <a:gdLst>
                  <a:gd name="connsiteX0" fmla="*/ 559339 w 813306"/>
                  <a:gd name="connsiteY0" fmla="*/ 10955 h 269798"/>
                  <a:gd name="connsiteX1" fmla="*/ 782479 w 813306"/>
                  <a:gd name="connsiteY1" fmla="*/ 91286 h 269798"/>
                  <a:gd name="connsiteX2" fmla="*/ 776528 w 813306"/>
                  <a:gd name="connsiteY2" fmla="*/ 180542 h 269798"/>
                  <a:gd name="connsiteX3" fmla="*/ 764628 w 813306"/>
                  <a:gd name="connsiteY3" fmla="*/ 186493 h 269798"/>
                  <a:gd name="connsiteX4" fmla="*/ 752727 w 813306"/>
                  <a:gd name="connsiteY4" fmla="*/ 186493 h 269798"/>
                  <a:gd name="connsiteX5" fmla="*/ 354049 w 813306"/>
                  <a:gd name="connsiteY5" fmla="*/ 144839 h 269798"/>
                  <a:gd name="connsiteX6" fmla="*/ 20826 w 813306"/>
                  <a:gd name="connsiteY6" fmla="*/ 269798 h 269798"/>
                  <a:gd name="connsiteX7" fmla="*/ 8925 w 813306"/>
                  <a:gd name="connsiteY7" fmla="*/ 257897 h 269798"/>
                  <a:gd name="connsiteX8" fmla="*/ 0 w 813306"/>
                  <a:gd name="connsiteY8" fmla="*/ 153765 h 269798"/>
                  <a:gd name="connsiteX9" fmla="*/ 17851 w 813306"/>
                  <a:gd name="connsiteY9" fmla="*/ 135914 h 269798"/>
                  <a:gd name="connsiteX10" fmla="*/ 330247 w 813306"/>
                  <a:gd name="connsiteY10" fmla="*/ 22856 h 269798"/>
                  <a:gd name="connsiteX11" fmla="*/ 559339 w 813306"/>
                  <a:gd name="connsiteY11" fmla="*/ 10955 h 269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13306" h="269798">
                    <a:moveTo>
                      <a:pt x="559339" y="10955"/>
                    </a:moveTo>
                    <a:cubicBezTo>
                      <a:pt x="639669" y="28806"/>
                      <a:pt x="714050" y="58559"/>
                      <a:pt x="782479" y="91286"/>
                    </a:cubicBezTo>
                    <a:cubicBezTo>
                      <a:pt x="830083" y="112112"/>
                      <a:pt x="818182" y="129963"/>
                      <a:pt x="776528" y="180542"/>
                    </a:cubicBezTo>
                    <a:cubicBezTo>
                      <a:pt x="773554" y="183517"/>
                      <a:pt x="770578" y="186493"/>
                      <a:pt x="764628" y="186493"/>
                    </a:cubicBezTo>
                    <a:cubicBezTo>
                      <a:pt x="761652" y="189467"/>
                      <a:pt x="755702" y="189467"/>
                      <a:pt x="752727" y="186493"/>
                    </a:cubicBezTo>
                    <a:cubicBezTo>
                      <a:pt x="645619" y="129963"/>
                      <a:pt x="505785" y="82360"/>
                      <a:pt x="354049" y="144839"/>
                    </a:cubicBezTo>
                    <a:cubicBezTo>
                      <a:pt x="240991" y="192443"/>
                      <a:pt x="136859" y="257897"/>
                      <a:pt x="20826" y="269798"/>
                    </a:cubicBezTo>
                    <a:cubicBezTo>
                      <a:pt x="11901" y="269798"/>
                      <a:pt x="5950" y="266823"/>
                      <a:pt x="8925" y="257897"/>
                    </a:cubicBezTo>
                    <a:cubicBezTo>
                      <a:pt x="17851" y="225170"/>
                      <a:pt x="2974" y="183517"/>
                      <a:pt x="0" y="153765"/>
                    </a:cubicBezTo>
                    <a:cubicBezTo>
                      <a:pt x="0" y="144839"/>
                      <a:pt x="8925" y="135914"/>
                      <a:pt x="17851" y="135914"/>
                    </a:cubicBezTo>
                    <a:cubicBezTo>
                      <a:pt x="121983" y="121038"/>
                      <a:pt x="229090" y="58559"/>
                      <a:pt x="330247" y="22856"/>
                    </a:cubicBezTo>
                    <a:cubicBezTo>
                      <a:pt x="410578" y="-6896"/>
                      <a:pt x="490909" y="-3921"/>
                      <a:pt x="559339" y="10955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16CEBC03-A66B-43A1-9DB6-52C619DEB06A}"/>
                  </a:ext>
                </a:extLst>
              </p:cNvPr>
              <p:cNvSpPr/>
              <p:nvPr/>
            </p:nvSpPr>
            <p:spPr>
              <a:xfrm>
                <a:off x="10712918" y="8596740"/>
                <a:ext cx="17537" cy="145784"/>
              </a:xfrm>
              <a:custGeom>
                <a:avLst/>
                <a:gdLst>
                  <a:gd name="connsiteX0" fmla="*/ 11901 w 17537"/>
                  <a:gd name="connsiteY0" fmla="*/ 145785 h 145784"/>
                  <a:gd name="connsiteX1" fmla="*/ 11901 w 17537"/>
                  <a:gd name="connsiteY1" fmla="*/ 145785 h 145784"/>
                  <a:gd name="connsiteX2" fmla="*/ 5951 w 17537"/>
                  <a:gd name="connsiteY2" fmla="*/ 139835 h 145784"/>
                  <a:gd name="connsiteX3" fmla="*/ 0 w 17537"/>
                  <a:gd name="connsiteY3" fmla="*/ 5950 h 145784"/>
                  <a:gd name="connsiteX4" fmla="*/ 2975 w 17537"/>
                  <a:gd name="connsiteY4" fmla="*/ 0 h 145784"/>
                  <a:gd name="connsiteX5" fmla="*/ 8926 w 17537"/>
                  <a:gd name="connsiteY5" fmla="*/ 2975 h 145784"/>
                  <a:gd name="connsiteX6" fmla="*/ 14876 w 17537"/>
                  <a:gd name="connsiteY6" fmla="*/ 139835 h 145784"/>
                  <a:gd name="connsiteX7" fmla="*/ 11901 w 17537"/>
                  <a:gd name="connsiteY7" fmla="*/ 145785 h 145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537" h="145784">
                    <a:moveTo>
                      <a:pt x="11901" y="145785"/>
                    </a:moveTo>
                    <a:lnTo>
                      <a:pt x="11901" y="145785"/>
                    </a:lnTo>
                    <a:cubicBezTo>
                      <a:pt x="8926" y="145785"/>
                      <a:pt x="5951" y="142810"/>
                      <a:pt x="5951" y="139835"/>
                    </a:cubicBezTo>
                    <a:cubicBezTo>
                      <a:pt x="5951" y="139835"/>
                      <a:pt x="8926" y="53554"/>
                      <a:pt x="0" y="5950"/>
                    </a:cubicBezTo>
                    <a:cubicBezTo>
                      <a:pt x="0" y="2975"/>
                      <a:pt x="0" y="0"/>
                      <a:pt x="2975" y="0"/>
                    </a:cubicBezTo>
                    <a:cubicBezTo>
                      <a:pt x="5951" y="0"/>
                      <a:pt x="8926" y="0"/>
                      <a:pt x="8926" y="2975"/>
                    </a:cubicBezTo>
                    <a:cubicBezTo>
                      <a:pt x="20827" y="53554"/>
                      <a:pt x="17851" y="136859"/>
                      <a:pt x="14876" y="139835"/>
                    </a:cubicBezTo>
                    <a:cubicBezTo>
                      <a:pt x="17851" y="142810"/>
                      <a:pt x="14876" y="145785"/>
                      <a:pt x="11901" y="145785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13509714-82D0-456F-BCE5-B11A1EA6C169}"/>
                  </a:ext>
                </a:extLst>
              </p:cNvPr>
              <p:cNvSpPr/>
              <p:nvPr/>
            </p:nvSpPr>
            <p:spPr>
              <a:xfrm>
                <a:off x="10754571" y="8584838"/>
                <a:ext cx="17537" cy="145785"/>
              </a:xfrm>
              <a:custGeom>
                <a:avLst/>
                <a:gdLst>
                  <a:gd name="connsiteX0" fmla="*/ 11902 w 17537"/>
                  <a:gd name="connsiteY0" fmla="*/ 145785 h 145785"/>
                  <a:gd name="connsiteX1" fmla="*/ 11902 w 17537"/>
                  <a:gd name="connsiteY1" fmla="*/ 145785 h 145785"/>
                  <a:gd name="connsiteX2" fmla="*/ 5951 w 17537"/>
                  <a:gd name="connsiteY2" fmla="*/ 139835 h 145785"/>
                  <a:gd name="connsiteX3" fmla="*/ 0 w 17537"/>
                  <a:gd name="connsiteY3" fmla="*/ 5951 h 145785"/>
                  <a:gd name="connsiteX4" fmla="*/ 2975 w 17537"/>
                  <a:gd name="connsiteY4" fmla="*/ 0 h 145785"/>
                  <a:gd name="connsiteX5" fmla="*/ 8926 w 17537"/>
                  <a:gd name="connsiteY5" fmla="*/ 2975 h 145785"/>
                  <a:gd name="connsiteX6" fmla="*/ 14876 w 17537"/>
                  <a:gd name="connsiteY6" fmla="*/ 139835 h 145785"/>
                  <a:gd name="connsiteX7" fmla="*/ 11902 w 17537"/>
                  <a:gd name="connsiteY7" fmla="*/ 145785 h 145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537" h="145785">
                    <a:moveTo>
                      <a:pt x="11902" y="145785"/>
                    </a:moveTo>
                    <a:cubicBezTo>
                      <a:pt x="11902" y="145785"/>
                      <a:pt x="11902" y="145785"/>
                      <a:pt x="11902" y="145785"/>
                    </a:cubicBezTo>
                    <a:cubicBezTo>
                      <a:pt x="8926" y="145785"/>
                      <a:pt x="5951" y="142810"/>
                      <a:pt x="5951" y="139835"/>
                    </a:cubicBezTo>
                    <a:cubicBezTo>
                      <a:pt x="5951" y="139835"/>
                      <a:pt x="8926" y="53554"/>
                      <a:pt x="0" y="5951"/>
                    </a:cubicBezTo>
                    <a:cubicBezTo>
                      <a:pt x="0" y="2975"/>
                      <a:pt x="0" y="0"/>
                      <a:pt x="2975" y="0"/>
                    </a:cubicBezTo>
                    <a:cubicBezTo>
                      <a:pt x="5951" y="0"/>
                      <a:pt x="8926" y="0"/>
                      <a:pt x="8926" y="2975"/>
                    </a:cubicBezTo>
                    <a:cubicBezTo>
                      <a:pt x="20827" y="53554"/>
                      <a:pt x="17851" y="136860"/>
                      <a:pt x="14876" y="139835"/>
                    </a:cubicBezTo>
                    <a:cubicBezTo>
                      <a:pt x="17851" y="145785"/>
                      <a:pt x="14876" y="145785"/>
                      <a:pt x="11902" y="145785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092A5ADD-F1EA-47B2-A752-14A64CBE305B}"/>
                </a:ext>
              </a:extLst>
            </p:cNvPr>
            <p:cNvSpPr/>
            <p:nvPr/>
          </p:nvSpPr>
          <p:spPr>
            <a:xfrm>
              <a:off x="11370439" y="8489632"/>
              <a:ext cx="233603" cy="401652"/>
            </a:xfrm>
            <a:custGeom>
              <a:avLst/>
              <a:gdLst>
                <a:gd name="connsiteX0" fmla="*/ 32727 w 233603"/>
                <a:gd name="connsiteY0" fmla="*/ 0 h 401652"/>
                <a:gd name="connsiteX1" fmla="*/ 205289 w 233603"/>
                <a:gd name="connsiteY1" fmla="*/ 190414 h 401652"/>
                <a:gd name="connsiteX2" fmla="*/ 223141 w 233603"/>
                <a:gd name="connsiteY2" fmla="*/ 380827 h 401652"/>
                <a:gd name="connsiteX3" fmla="*/ 178512 w 233603"/>
                <a:gd name="connsiteY3" fmla="*/ 380827 h 401652"/>
                <a:gd name="connsiteX4" fmla="*/ 104132 w 233603"/>
                <a:gd name="connsiteY4" fmla="*/ 401653 h 401652"/>
                <a:gd name="connsiteX5" fmla="*/ 62480 w 233603"/>
                <a:gd name="connsiteY5" fmla="*/ 374876 h 401652"/>
                <a:gd name="connsiteX6" fmla="*/ 0 w 233603"/>
                <a:gd name="connsiteY6" fmla="*/ 35702 h 401652"/>
                <a:gd name="connsiteX7" fmla="*/ 32727 w 233603"/>
                <a:gd name="connsiteY7" fmla="*/ 0 h 40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3603" h="401652">
                  <a:moveTo>
                    <a:pt x="32727" y="0"/>
                  </a:moveTo>
                  <a:cubicBezTo>
                    <a:pt x="32727" y="0"/>
                    <a:pt x="169587" y="89256"/>
                    <a:pt x="205289" y="190414"/>
                  </a:cubicBezTo>
                  <a:cubicBezTo>
                    <a:pt x="240992" y="294546"/>
                    <a:pt x="238017" y="371901"/>
                    <a:pt x="223141" y="380827"/>
                  </a:cubicBezTo>
                  <a:cubicBezTo>
                    <a:pt x="211240" y="389752"/>
                    <a:pt x="196364" y="371901"/>
                    <a:pt x="178512" y="380827"/>
                  </a:cubicBezTo>
                  <a:cubicBezTo>
                    <a:pt x="160661" y="389752"/>
                    <a:pt x="116033" y="401653"/>
                    <a:pt x="104132" y="401653"/>
                  </a:cubicBezTo>
                  <a:cubicBezTo>
                    <a:pt x="89256" y="401653"/>
                    <a:pt x="56529" y="386777"/>
                    <a:pt x="62480" y="374876"/>
                  </a:cubicBezTo>
                  <a:cubicBezTo>
                    <a:pt x="68429" y="362975"/>
                    <a:pt x="23801" y="62480"/>
                    <a:pt x="0" y="35702"/>
                  </a:cubicBezTo>
                  <a:lnTo>
                    <a:pt x="32727" y="0"/>
                  </a:ln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A4C3B7A6-2217-4603-8E8A-4E7E20002C80}"/>
                </a:ext>
              </a:extLst>
            </p:cNvPr>
            <p:cNvSpPr/>
            <p:nvPr/>
          </p:nvSpPr>
          <p:spPr>
            <a:xfrm>
              <a:off x="11412836" y="8526078"/>
              <a:ext cx="145041" cy="261074"/>
            </a:xfrm>
            <a:custGeom>
              <a:avLst/>
              <a:gdLst>
                <a:gd name="connsiteX0" fmla="*/ 139091 w 145041"/>
                <a:gd name="connsiteY0" fmla="*/ 261074 h 261074"/>
                <a:gd name="connsiteX1" fmla="*/ 133140 w 145041"/>
                <a:gd name="connsiteY1" fmla="*/ 255124 h 261074"/>
                <a:gd name="connsiteX2" fmla="*/ 2232 w 145041"/>
                <a:gd name="connsiteY2" fmla="*/ 11157 h 261074"/>
                <a:gd name="connsiteX3" fmla="*/ 2232 w 145041"/>
                <a:gd name="connsiteY3" fmla="*/ 2232 h 261074"/>
                <a:gd name="connsiteX4" fmla="*/ 11157 w 145041"/>
                <a:gd name="connsiteY4" fmla="*/ 2232 h 261074"/>
                <a:gd name="connsiteX5" fmla="*/ 145041 w 145041"/>
                <a:gd name="connsiteY5" fmla="*/ 252149 h 261074"/>
                <a:gd name="connsiteX6" fmla="*/ 139091 w 145041"/>
                <a:gd name="connsiteY6" fmla="*/ 261074 h 261074"/>
                <a:gd name="connsiteX7" fmla="*/ 139091 w 145041"/>
                <a:gd name="connsiteY7" fmla="*/ 261074 h 261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041" h="261074">
                  <a:moveTo>
                    <a:pt x="139091" y="261074"/>
                  </a:moveTo>
                  <a:cubicBezTo>
                    <a:pt x="136116" y="261074"/>
                    <a:pt x="133140" y="258099"/>
                    <a:pt x="133140" y="255124"/>
                  </a:cubicBezTo>
                  <a:cubicBezTo>
                    <a:pt x="127191" y="142066"/>
                    <a:pt x="5207" y="11157"/>
                    <a:pt x="2232" y="11157"/>
                  </a:cubicBezTo>
                  <a:cubicBezTo>
                    <a:pt x="-744" y="8182"/>
                    <a:pt x="-744" y="5207"/>
                    <a:pt x="2232" y="2232"/>
                  </a:cubicBezTo>
                  <a:cubicBezTo>
                    <a:pt x="5207" y="-744"/>
                    <a:pt x="8182" y="-744"/>
                    <a:pt x="11157" y="2232"/>
                  </a:cubicBezTo>
                  <a:cubicBezTo>
                    <a:pt x="17108" y="8182"/>
                    <a:pt x="139091" y="136116"/>
                    <a:pt x="145041" y="252149"/>
                  </a:cubicBezTo>
                  <a:cubicBezTo>
                    <a:pt x="145041" y="258099"/>
                    <a:pt x="142067" y="261074"/>
                    <a:pt x="139091" y="261074"/>
                  </a:cubicBezTo>
                  <a:cubicBezTo>
                    <a:pt x="139091" y="261074"/>
                    <a:pt x="139091" y="261074"/>
                    <a:pt x="139091" y="261074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71C8135E-C6EA-416F-B511-639B6897FF0D}"/>
                </a:ext>
              </a:extLst>
            </p:cNvPr>
            <p:cNvSpPr/>
            <p:nvPr/>
          </p:nvSpPr>
          <p:spPr>
            <a:xfrm>
              <a:off x="11357189" y="8477148"/>
              <a:ext cx="102506" cy="76932"/>
            </a:xfrm>
            <a:custGeom>
              <a:avLst/>
              <a:gdLst>
                <a:gd name="connsiteX0" fmla="*/ 102507 w 102506"/>
                <a:gd name="connsiteY0" fmla="*/ 15460 h 76932"/>
                <a:gd name="connsiteX1" fmla="*/ 84655 w 102506"/>
                <a:gd name="connsiteY1" fmla="*/ 584 h 76932"/>
                <a:gd name="connsiteX2" fmla="*/ 10275 w 102506"/>
                <a:gd name="connsiteY2" fmla="*/ 24385 h 76932"/>
                <a:gd name="connsiteX3" fmla="*/ 4325 w 102506"/>
                <a:gd name="connsiteY3" fmla="*/ 51162 h 76932"/>
                <a:gd name="connsiteX4" fmla="*/ 22176 w 102506"/>
                <a:gd name="connsiteY4" fmla="*/ 74964 h 76932"/>
                <a:gd name="connsiteX5" fmla="*/ 87630 w 102506"/>
                <a:gd name="connsiteY5" fmla="*/ 54137 h 76932"/>
                <a:gd name="connsiteX6" fmla="*/ 96556 w 102506"/>
                <a:gd name="connsiteY6" fmla="*/ 39261 h 76932"/>
                <a:gd name="connsiteX7" fmla="*/ 102507 w 102506"/>
                <a:gd name="connsiteY7" fmla="*/ 15460 h 7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506" h="76932">
                  <a:moveTo>
                    <a:pt x="102507" y="15460"/>
                  </a:moveTo>
                  <a:cubicBezTo>
                    <a:pt x="102507" y="6534"/>
                    <a:pt x="93581" y="-2392"/>
                    <a:pt x="84655" y="584"/>
                  </a:cubicBezTo>
                  <a:cubicBezTo>
                    <a:pt x="60854" y="9509"/>
                    <a:pt x="34077" y="15460"/>
                    <a:pt x="10275" y="24385"/>
                  </a:cubicBezTo>
                  <a:cubicBezTo>
                    <a:pt x="-1626" y="27360"/>
                    <a:pt x="-1626" y="45212"/>
                    <a:pt x="4325" y="51162"/>
                  </a:cubicBezTo>
                  <a:cubicBezTo>
                    <a:pt x="-7576" y="60088"/>
                    <a:pt x="7300" y="83890"/>
                    <a:pt x="22176" y="74964"/>
                  </a:cubicBezTo>
                  <a:cubicBezTo>
                    <a:pt x="43002" y="63063"/>
                    <a:pt x="63829" y="57112"/>
                    <a:pt x="87630" y="54137"/>
                  </a:cubicBezTo>
                  <a:cubicBezTo>
                    <a:pt x="96556" y="54137"/>
                    <a:pt x="99531" y="45212"/>
                    <a:pt x="96556" y="39261"/>
                  </a:cubicBezTo>
                  <a:cubicBezTo>
                    <a:pt x="99531" y="30336"/>
                    <a:pt x="102507" y="21410"/>
                    <a:pt x="102507" y="15460"/>
                  </a:cubicBezTo>
                  <a:close/>
                </a:path>
              </a:pathLst>
            </a:custGeom>
            <a:solidFill>
              <a:srgbClr val="7F95BC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21600324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441C2A8F-0F5B-439D-BD6B-74786A00CA9F}"/>
              </a:ext>
            </a:extLst>
          </p:cNvPr>
          <p:cNvGrpSpPr/>
          <p:nvPr/>
        </p:nvGrpSpPr>
        <p:grpSpPr>
          <a:xfrm>
            <a:off x="2913645" y="2145136"/>
            <a:ext cx="6739515" cy="4712864"/>
            <a:chOff x="19696695" y="7590982"/>
            <a:chExt cx="6739515" cy="4712864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B23B94CC-02E6-4217-8110-97877B68FC77}"/>
                </a:ext>
              </a:extLst>
            </p:cNvPr>
            <p:cNvSpPr/>
            <p:nvPr/>
          </p:nvSpPr>
          <p:spPr>
            <a:xfrm>
              <a:off x="20173358" y="9646988"/>
              <a:ext cx="1218587" cy="2433718"/>
            </a:xfrm>
            <a:custGeom>
              <a:avLst/>
              <a:gdLst>
                <a:gd name="connsiteX0" fmla="*/ 128652 w 1218587"/>
                <a:gd name="connsiteY0" fmla="*/ 0 h 2433718"/>
                <a:gd name="connsiteX1" fmla="*/ 801048 w 1218587"/>
                <a:gd name="connsiteY1" fmla="*/ 50578 h 2433718"/>
                <a:gd name="connsiteX2" fmla="*/ 1199727 w 1218587"/>
                <a:gd name="connsiteY2" fmla="*/ 1163306 h 2433718"/>
                <a:gd name="connsiteX3" fmla="*/ 1211627 w 1218587"/>
                <a:gd name="connsiteY3" fmla="*/ 1270413 h 2433718"/>
                <a:gd name="connsiteX4" fmla="*/ 890305 w 1218587"/>
                <a:gd name="connsiteY4" fmla="*/ 2067769 h 2433718"/>
                <a:gd name="connsiteX5" fmla="*/ 702867 w 1218587"/>
                <a:gd name="connsiteY5" fmla="*/ 1993388 h 2433718"/>
                <a:gd name="connsiteX6" fmla="*/ 857578 w 1218587"/>
                <a:gd name="connsiteY6" fmla="*/ 1300165 h 2433718"/>
                <a:gd name="connsiteX7" fmla="*/ 521380 w 1218587"/>
                <a:gd name="connsiteY7" fmla="*/ 660495 h 2433718"/>
                <a:gd name="connsiteX8" fmla="*/ 307165 w 1218587"/>
                <a:gd name="connsiteY8" fmla="*/ 2433719 h 2433718"/>
                <a:gd name="connsiteX9" fmla="*/ 116751 w 1218587"/>
                <a:gd name="connsiteY9" fmla="*/ 2433719 h 2433718"/>
                <a:gd name="connsiteX10" fmla="*/ 719 w 1218587"/>
                <a:gd name="connsiteY10" fmla="*/ 407603 h 2433718"/>
                <a:gd name="connsiteX11" fmla="*/ 128652 w 1218587"/>
                <a:gd name="connsiteY11" fmla="*/ 0 h 2433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18587" h="2433718">
                  <a:moveTo>
                    <a:pt x="128652" y="0"/>
                  </a:moveTo>
                  <a:lnTo>
                    <a:pt x="801048" y="50578"/>
                  </a:lnTo>
                  <a:lnTo>
                    <a:pt x="1199727" y="1163306"/>
                  </a:lnTo>
                  <a:cubicBezTo>
                    <a:pt x="1220554" y="1196033"/>
                    <a:pt x="1223528" y="1234711"/>
                    <a:pt x="1211627" y="1270413"/>
                  </a:cubicBezTo>
                  <a:lnTo>
                    <a:pt x="890305" y="2067769"/>
                  </a:lnTo>
                  <a:lnTo>
                    <a:pt x="702867" y="1993388"/>
                  </a:lnTo>
                  <a:lnTo>
                    <a:pt x="857578" y="1300165"/>
                  </a:lnTo>
                  <a:lnTo>
                    <a:pt x="521380" y="660495"/>
                  </a:lnTo>
                  <a:lnTo>
                    <a:pt x="307165" y="2433719"/>
                  </a:lnTo>
                  <a:lnTo>
                    <a:pt x="116751" y="2433719"/>
                  </a:lnTo>
                  <a:cubicBezTo>
                    <a:pt x="116751" y="2433719"/>
                    <a:pt x="9644" y="526611"/>
                    <a:pt x="719" y="407603"/>
                  </a:cubicBezTo>
                  <a:cubicBezTo>
                    <a:pt x="-11183" y="288595"/>
                    <a:pt x="128652" y="0"/>
                    <a:pt x="128652" y="0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B5B01FAF-59B1-4F8E-B43A-E715D17521CF}"/>
                </a:ext>
              </a:extLst>
            </p:cNvPr>
            <p:cNvSpPr/>
            <p:nvPr/>
          </p:nvSpPr>
          <p:spPr>
            <a:xfrm>
              <a:off x="20471597" y="10105169"/>
              <a:ext cx="226114" cy="1981487"/>
            </a:xfrm>
            <a:custGeom>
              <a:avLst/>
              <a:gdLst>
                <a:gd name="connsiteX0" fmla="*/ 5949 w 226114"/>
                <a:gd name="connsiteY0" fmla="*/ 1981488 h 1981487"/>
                <a:gd name="connsiteX1" fmla="*/ 5949 w 226114"/>
                <a:gd name="connsiteY1" fmla="*/ 1981488 h 1981487"/>
                <a:gd name="connsiteX2" fmla="*/ 0 w 226114"/>
                <a:gd name="connsiteY2" fmla="*/ 1975537 h 1981487"/>
                <a:gd name="connsiteX3" fmla="*/ 214213 w 226114"/>
                <a:gd name="connsiteY3" fmla="*/ 202314 h 1981487"/>
                <a:gd name="connsiteX4" fmla="*/ 202314 w 226114"/>
                <a:gd name="connsiteY4" fmla="*/ 5951 h 1981487"/>
                <a:gd name="connsiteX5" fmla="*/ 208264 w 226114"/>
                <a:gd name="connsiteY5" fmla="*/ 0 h 1981487"/>
                <a:gd name="connsiteX6" fmla="*/ 208264 w 226114"/>
                <a:gd name="connsiteY6" fmla="*/ 0 h 1981487"/>
                <a:gd name="connsiteX7" fmla="*/ 214213 w 226114"/>
                <a:gd name="connsiteY7" fmla="*/ 5951 h 1981487"/>
                <a:gd name="connsiteX8" fmla="*/ 226115 w 226114"/>
                <a:gd name="connsiteY8" fmla="*/ 202314 h 1981487"/>
                <a:gd name="connsiteX9" fmla="*/ 11900 w 226114"/>
                <a:gd name="connsiteY9" fmla="*/ 1978512 h 1981487"/>
                <a:gd name="connsiteX10" fmla="*/ 5949 w 226114"/>
                <a:gd name="connsiteY10" fmla="*/ 1981488 h 198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6114" h="1981487">
                  <a:moveTo>
                    <a:pt x="5949" y="1981488"/>
                  </a:moveTo>
                  <a:cubicBezTo>
                    <a:pt x="5949" y="1981488"/>
                    <a:pt x="5949" y="1981488"/>
                    <a:pt x="5949" y="1981488"/>
                  </a:cubicBezTo>
                  <a:cubicBezTo>
                    <a:pt x="2974" y="1981488"/>
                    <a:pt x="0" y="1978512"/>
                    <a:pt x="0" y="1975537"/>
                  </a:cubicBezTo>
                  <a:lnTo>
                    <a:pt x="214213" y="202314"/>
                  </a:lnTo>
                  <a:lnTo>
                    <a:pt x="202314" y="5951"/>
                  </a:lnTo>
                  <a:cubicBezTo>
                    <a:pt x="202314" y="2975"/>
                    <a:pt x="205288" y="0"/>
                    <a:pt x="208264" y="0"/>
                  </a:cubicBezTo>
                  <a:cubicBezTo>
                    <a:pt x="208264" y="0"/>
                    <a:pt x="208264" y="0"/>
                    <a:pt x="208264" y="0"/>
                  </a:cubicBezTo>
                  <a:cubicBezTo>
                    <a:pt x="211239" y="0"/>
                    <a:pt x="214213" y="2975"/>
                    <a:pt x="214213" y="5951"/>
                  </a:cubicBezTo>
                  <a:lnTo>
                    <a:pt x="226115" y="202314"/>
                  </a:lnTo>
                  <a:lnTo>
                    <a:pt x="11900" y="1978512"/>
                  </a:lnTo>
                  <a:cubicBezTo>
                    <a:pt x="11900" y="1978512"/>
                    <a:pt x="8925" y="1981488"/>
                    <a:pt x="5949" y="1981488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CC5FE2A5-BF94-4392-B8F0-D6608FC6F2C3}"/>
                </a:ext>
              </a:extLst>
            </p:cNvPr>
            <p:cNvSpPr/>
            <p:nvPr/>
          </p:nvSpPr>
          <p:spPr>
            <a:xfrm>
              <a:off x="21024985" y="10914426"/>
              <a:ext cx="71405" cy="35701"/>
            </a:xfrm>
            <a:custGeom>
              <a:avLst/>
              <a:gdLst>
                <a:gd name="connsiteX0" fmla="*/ 5951 w 71405"/>
                <a:gd name="connsiteY0" fmla="*/ 35702 h 35701"/>
                <a:gd name="connsiteX1" fmla="*/ 0 w 71405"/>
                <a:gd name="connsiteY1" fmla="*/ 32727 h 35701"/>
                <a:gd name="connsiteX2" fmla="*/ 2974 w 71405"/>
                <a:gd name="connsiteY2" fmla="*/ 26777 h 35701"/>
                <a:gd name="connsiteX3" fmla="*/ 65455 w 71405"/>
                <a:gd name="connsiteY3" fmla="*/ 0 h 35701"/>
                <a:gd name="connsiteX4" fmla="*/ 71406 w 71405"/>
                <a:gd name="connsiteY4" fmla="*/ 2974 h 35701"/>
                <a:gd name="connsiteX5" fmla="*/ 68429 w 71405"/>
                <a:gd name="connsiteY5" fmla="*/ 8925 h 35701"/>
                <a:gd name="connsiteX6" fmla="*/ 5951 w 71405"/>
                <a:gd name="connsiteY6" fmla="*/ 35702 h 35701"/>
                <a:gd name="connsiteX7" fmla="*/ 5951 w 71405"/>
                <a:gd name="connsiteY7" fmla="*/ 35702 h 35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405" h="35701">
                  <a:moveTo>
                    <a:pt x="5951" y="35702"/>
                  </a:moveTo>
                  <a:cubicBezTo>
                    <a:pt x="2974" y="35702"/>
                    <a:pt x="2974" y="35702"/>
                    <a:pt x="0" y="32727"/>
                  </a:cubicBezTo>
                  <a:cubicBezTo>
                    <a:pt x="0" y="29752"/>
                    <a:pt x="0" y="26777"/>
                    <a:pt x="2974" y="26777"/>
                  </a:cubicBezTo>
                  <a:lnTo>
                    <a:pt x="65455" y="0"/>
                  </a:lnTo>
                  <a:cubicBezTo>
                    <a:pt x="68429" y="0"/>
                    <a:pt x="71406" y="0"/>
                    <a:pt x="71406" y="2974"/>
                  </a:cubicBezTo>
                  <a:cubicBezTo>
                    <a:pt x="71406" y="5950"/>
                    <a:pt x="71406" y="8925"/>
                    <a:pt x="68429" y="8925"/>
                  </a:cubicBezTo>
                  <a:lnTo>
                    <a:pt x="5951" y="35702"/>
                  </a:lnTo>
                  <a:cubicBezTo>
                    <a:pt x="5951" y="35702"/>
                    <a:pt x="5951" y="35702"/>
                    <a:pt x="5951" y="35702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F8D956C5-0E8E-40BC-8AC5-AE49CF979C49}"/>
                </a:ext>
              </a:extLst>
            </p:cNvPr>
            <p:cNvSpPr/>
            <p:nvPr/>
          </p:nvSpPr>
          <p:spPr>
            <a:xfrm>
              <a:off x="20289411" y="8152868"/>
              <a:ext cx="879222" cy="782233"/>
            </a:xfrm>
            <a:custGeom>
              <a:avLst/>
              <a:gdLst>
                <a:gd name="connsiteX0" fmla="*/ 15573 w 879222"/>
                <a:gd name="connsiteY0" fmla="*/ 726516 h 782233"/>
                <a:gd name="connsiteX1" fmla="*/ 30449 w 879222"/>
                <a:gd name="connsiteY1" fmla="*/ 753293 h 782233"/>
                <a:gd name="connsiteX2" fmla="*/ 348797 w 879222"/>
                <a:gd name="connsiteY2" fmla="*/ 765194 h 782233"/>
                <a:gd name="connsiteX3" fmla="*/ 524335 w 879222"/>
                <a:gd name="connsiteY3" fmla="*/ 774119 h 782233"/>
                <a:gd name="connsiteX4" fmla="*/ 732599 w 879222"/>
                <a:gd name="connsiteY4" fmla="*/ 750318 h 782233"/>
                <a:gd name="connsiteX5" fmla="*/ 795078 w 879222"/>
                <a:gd name="connsiteY5" fmla="*/ 527178 h 782233"/>
                <a:gd name="connsiteX6" fmla="*/ 762351 w 879222"/>
                <a:gd name="connsiteY6" fmla="*/ 405194 h 782233"/>
                <a:gd name="connsiteX7" fmla="*/ 750450 w 879222"/>
                <a:gd name="connsiteY7" fmla="*/ 304037 h 782233"/>
                <a:gd name="connsiteX8" fmla="*/ 670119 w 879222"/>
                <a:gd name="connsiteY8" fmla="*/ 188004 h 782233"/>
                <a:gd name="connsiteX9" fmla="*/ 589788 w 879222"/>
                <a:gd name="connsiteY9" fmla="*/ 57095 h 782233"/>
                <a:gd name="connsiteX10" fmla="*/ 48302 w 879222"/>
                <a:gd name="connsiteY10" fmla="*/ 104698 h 782233"/>
                <a:gd name="connsiteX11" fmla="*/ 42351 w 879222"/>
                <a:gd name="connsiteY11" fmla="*/ 309987 h 782233"/>
                <a:gd name="connsiteX12" fmla="*/ 3674 w 879222"/>
                <a:gd name="connsiteY12" fmla="*/ 485524 h 782233"/>
                <a:gd name="connsiteX13" fmla="*/ 15573 w 879222"/>
                <a:gd name="connsiteY13" fmla="*/ 726516 h 782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9222" h="782233">
                  <a:moveTo>
                    <a:pt x="15573" y="726516"/>
                  </a:moveTo>
                  <a:cubicBezTo>
                    <a:pt x="15573" y="738417"/>
                    <a:pt x="21524" y="747343"/>
                    <a:pt x="30449" y="753293"/>
                  </a:cubicBezTo>
                  <a:cubicBezTo>
                    <a:pt x="116731" y="815773"/>
                    <a:pt x="253590" y="756268"/>
                    <a:pt x="348797" y="765194"/>
                  </a:cubicBezTo>
                  <a:cubicBezTo>
                    <a:pt x="411275" y="771144"/>
                    <a:pt x="461854" y="783045"/>
                    <a:pt x="524335" y="774119"/>
                  </a:cubicBezTo>
                  <a:cubicBezTo>
                    <a:pt x="595739" y="765194"/>
                    <a:pt x="658219" y="747343"/>
                    <a:pt x="732599" y="750318"/>
                  </a:cubicBezTo>
                  <a:cubicBezTo>
                    <a:pt x="911112" y="759243"/>
                    <a:pt x="920037" y="631310"/>
                    <a:pt x="795078" y="527178"/>
                  </a:cubicBezTo>
                  <a:cubicBezTo>
                    <a:pt x="723672" y="467673"/>
                    <a:pt x="753424" y="473624"/>
                    <a:pt x="762351" y="405194"/>
                  </a:cubicBezTo>
                  <a:cubicBezTo>
                    <a:pt x="765326" y="366516"/>
                    <a:pt x="768300" y="339740"/>
                    <a:pt x="750450" y="304037"/>
                  </a:cubicBezTo>
                  <a:cubicBezTo>
                    <a:pt x="732599" y="262384"/>
                    <a:pt x="693920" y="226682"/>
                    <a:pt x="670119" y="188004"/>
                  </a:cubicBezTo>
                  <a:cubicBezTo>
                    <a:pt x="643343" y="146351"/>
                    <a:pt x="628467" y="89822"/>
                    <a:pt x="589788" y="57095"/>
                  </a:cubicBezTo>
                  <a:cubicBezTo>
                    <a:pt x="452929" y="-64889"/>
                    <a:pt x="194086" y="36269"/>
                    <a:pt x="48302" y="104698"/>
                  </a:cubicBezTo>
                  <a:cubicBezTo>
                    <a:pt x="42351" y="104698"/>
                    <a:pt x="39375" y="277260"/>
                    <a:pt x="42351" y="309987"/>
                  </a:cubicBezTo>
                  <a:cubicBezTo>
                    <a:pt x="48302" y="431971"/>
                    <a:pt x="21524" y="411144"/>
                    <a:pt x="3674" y="485524"/>
                  </a:cubicBezTo>
                  <a:cubicBezTo>
                    <a:pt x="-11202" y="568830"/>
                    <a:pt x="24499" y="640235"/>
                    <a:pt x="15573" y="726516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92F1963B-D84A-4A14-B21E-1DAF8D963973}"/>
                </a:ext>
              </a:extLst>
            </p:cNvPr>
            <p:cNvSpPr/>
            <p:nvPr/>
          </p:nvSpPr>
          <p:spPr>
            <a:xfrm>
              <a:off x="21834975" y="8429185"/>
              <a:ext cx="215894" cy="280612"/>
            </a:xfrm>
            <a:custGeom>
              <a:avLst/>
              <a:gdLst>
                <a:gd name="connsiteX0" fmla="*/ 210505 w 215894"/>
                <a:gd name="connsiteY0" fmla="*/ 134827 h 280612"/>
                <a:gd name="connsiteX1" fmla="*/ 201580 w 215894"/>
                <a:gd name="connsiteY1" fmla="*/ 87224 h 280612"/>
                <a:gd name="connsiteX2" fmla="*/ 189678 w 215894"/>
                <a:gd name="connsiteY2" fmla="*/ 54497 h 280612"/>
                <a:gd name="connsiteX3" fmla="*/ 142075 w 215894"/>
                <a:gd name="connsiteY3" fmla="*/ 27720 h 280612"/>
                <a:gd name="connsiteX4" fmla="*/ 103398 w 215894"/>
                <a:gd name="connsiteY4" fmla="*/ 943 h 280612"/>
                <a:gd name="connsiteX5" fmla="*/ 14142 w 215894"/>
                <a:gd name="connsiteY5" fmla="*/ 203257 h 280612"/>
                <a:gd name="connsiteX6" fmla="*/ 70670 w 215894"/>
                <a:gd name="connsiteY6" fmla="*/ 280613 h 280612"/>
                <a:gd name="connsiteX7" fmla="*/ 139101 w 215894"/>
                <a:gd name="connsiteY7" fmla="*/ 256811 h 280612"/>
                <a:gd name="connsiteX8" fmla="*/ 207530 w 215894"/>
                <a:gd name="connsiteY8" fmla="*/ 167555 h 280612"/>
                <a:gd name="connsiteX9" fmla="*/ 210505 w 215894"/>
                <a:gd name="connsiteY9" fmla="*/ 134827 h 280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5894" h="280612">
                  <a:moveTo>
                    <a:pt x="210505" y="134827"/>
                  </a:moveTo>
                  <a:cubicBezTo>
                    <a:pt x="204554" y="128877"/>
                    <a:pt x="207530" y="105075"/>
                    <a:pt x="201580" y="87224"/>
                  </a:cubicBezTo>
                  <a:cubicBezTo>
                    <a:pt x="201580" y="84249"/>
                    <a:pt x="195629" y="66398"/>
                    <a:pt x="189678" y="54497"/>
                  </a:cubicBezTo>
                  <a:cubicBezTo>
                    <a:pt x="180753" y="45571"/>
                    <a:pt x="136125" y="42596"/>
                    <a:pt x="142075" y="27720"/>
                  </a:cubicBezTo>
                  <a:cubicBezTo>
                    <a:pt x="145050" y="18795"/>
                    <a:pt x="109349" y="-5007"/>
                    <a:pt x="103398" y="943"/>
                  </a:cubicBezTo>
                  <a:cubicBezTo>
                    <a:pt x="61745" y="36645"/>
                    <a:pt x="-36437" y="140778"/>
                    <a:pt x="14142" y="203257"/>
                  </a:cubicBezTo>
                  <a:cubicBezTo>
                    <a:pt x="14142" y="203257"/>
                    <a:pt x="31992" y="265737"/>
                    <a:pt x="70670" y="280613"/>
                  </a:cubicBezTo>
                  <a:cubicBezTo>
                    <a:pt x="94473" y="256811"/>
                    <a:pt x="130174" y="259786"/>
                    <a:pt x="139101" y="256811"/>
                  </a:cubicBezTo>
                  <a:cubicBezTo>
                    <a:pt x="183729" y="253836"/>
                    <a:pt x="183729" y="194332"/>
                    <a:pt x="207530" y="167555"/>
                  </a:cubicBezTo>
                  <a:cubicBezTo>
                    <a:pt x="216456" y="152679"/>
                    <a:pt x="219430" y="146729"/>
                    <a:pt x="210505" y="134827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CE57063A-A2B1-42F1-A241-D91ECC7D2AD0}"/>
                </a:ext>
              </a:extLst>
            </p:cNvPr>
            <p:cNvGrpSpPr/>
            <p:nvPr/>
          </p:nvGrpSpPr>
          <p:grpSpPr>
            <a:xfrm>
              <a:off x="21917384" y="8405762"/>
              <a:ext cx="167585" cy="192620"/>
              <a:chOff x="21917384" y="8405762"/>
              <a:chExt cx="167585" cy="192620"/>
            </a:xfrm>
          </p:grpSpPr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EAADE93C-38E6-4FCA-853D-0B6ACF1C0B03}"/>
                  </a:ext>
                </a:extLst>
              </p:cNvPr>
              <p:cNvSpPr/>
              <p:nvPr/>
            </p:nvSpPr>
            <p:spPr>
              <a:xfrm>
                <a:off x="21923497" y="8405762"/>
                <a:ext cx="94193" cy="116373"/>
              </a:xfrm>
              <a:custGeom>
                <a:avLst/>
                <a:gdLst>
                  <a:gd name="connsiteX0" fmla="*/ 59504 w 94193"/>
                  <a:gd name="connsiteY0" fmla="*/ 564 h 116373"/>
                  <a:gd name="connsiteX1" fmla="*/ 11900 w 94193"/>
                  <a:gd name="connsiteY1" fmla="*/ 54118 h 116373"/>
                  <a:gd name="connsiteX2" fmla="*/ 2974 w 94193"/>
                  <a:gd name="connsiteY2" fmla="*/ 63043 h 116373"/>
                  <a:gd name="connsiteX3" fmla="*/ 0 w 94193"/>
                  <a:gd name="connsiteY3" fmla="*/ 74944 h 116373"/>
                  <a:gd name="connsiteX4" fmla="*/ 23801 w 94193"/>
                  <a:gd name="connsiteY4" fmla="*/ 113622 h 116373"/>
                  <a:gd name="connsiteX5" fmla="*/ 56528 w 94193"/>
                  <a:gd name="connsiteY5" fmla="*/ 98746 h 116373"/>
                  <a:gd name="connsiteX6" fmla="*/ 83305 w 94193"/>
                  <a:gd name="connsiteY6" fmla="*/ 60068 h 116373"/>
                  <a:gd name="connsiteX7" fmla="*/ 92231 w 94193"/>
                  <a:gd name="connsiteY7" fmla="*/ 24365 h 116373"/>
                  <a:gd name="connsiteX8" fmla="*/ 59504 w 94193"/>
                  <a:gd name="connsiteY8" fmla="*/ 564 h 116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193" h="116373">
                    <a:moveTo>
                      <a:pt x="59504" y="564"/>
                    </a:moveTo>
                    <a:cubicBezTo>
                      <a:pt x="35703" y="6514"/>
                      <a:pt x="26776" y="33291"/>
                      <a:pt x="11900" y="54118"/>
                    </a:cubicBezTo>
                    <a:cubicBezTo>
                      <a:pt x="11900" y="57093"/>
                      <a:pt x="2974" y="60068"/>
                      <a:pt x="2974" y="63043"/>
                    </a:cubicBezTo>
                    <a:cubicBezTo>
                      <a:pt x="0" y="66019"/>
                      <a:pt x="0" y="71969"/>
                      <a:pt x="0" y="74944"/>
                    </a:cubicBezTo>
                    <a:cubicBezTo>
                      <a:pt x="0" y="89820"/>
                      <a:pt x="8925" y="107671"/>
                      <a:pt x="23801" y="113622"/>
                    </a:cubicBezTo>
                    <a:cubicBezTo>
                      <a:pt x="38677" y="122547"/>
                      <a:pt x="47603" y="107671"/>
                      <a:pt x="56528" y="98746"/>
                    </a:cubicBezTo>
                    <a:cubicBezTo>
                      <a:pt x="65455" y="86845"/>
                      <a:pt x="74380" y="74944"/>
                      <a:pt x="83305" y="60068"/>
                    </a:cubicBezTo>
                    <a:cubicBezTo>
                      <a:pt x="89256" y="51143"/>
                      <a:pt x="98181" y="39241"/>
                      <a:pt x="92231" y="24365"/>
                    </a:cubicBezTo>
                    <a:cubicBezTo>
                      <a:pt x="83305" y="6514"/>
                      <a:pt x="68429" y="-2411"/>
                      <a:pt x="59504" y="564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B1052BB0-6FE8-473A-AD5A-48D215307283}"/>
                  </a:ext>
                </a:extLst>
              </p:cNvPr>
              <p:cNvSpPr/>
              <p:nvPr/>
            </p:nvSpPr>
            <p:spPr>
              <a:xfrm>
                <a:off x="21950273" y="8450954"/>
                <a:ext cx="94194" cy="112835"/>
              </a:xfrm>
              <a:custGeom>
                <a:avLst/>
                <a:gdLst>
                  <a:gd name="connsiteX0" fmla="*/ 59504 w 94194"/>
                  <a:gd name="connsiteY0" fmla="*/ 0 h 112835"/>
                  <a:gd name="connsiteX1" fmla="*/ 5951 w 94194"/>
                  <a:gd name="connsiteY1" fmla="*/ 53554 h 112835"/>
                  <a:gd name="connsiteX2" fmla="*/ 2976 w 94194"/>
                  <a:gd name="connsiteY2" fmla="*/ 59504 h 112835"/>
                  <a:gd name="connsiteX3" fmla="*/ 0 w 94194"/>
                  <a:gd name="connsiteY3" fmla="*/ 71405 h 112835"/>
                  <a:gd name="connsiteX4" fmla="*/ 23803 w 94194"/>
                  <a:gd name="connsiteY4" fmla="*/ 110083 h 112835"/>
                  <a:gd name="connsiteX5" fmla="*/ 56530 w 94194"/>
                  <a:gd name="connsiteY5" fmla="*/ 95207 h 112835"/>
                  <a:gd name="connsiteX6" fmla="*/ 83307 w 94194"/>
                  <a:gd name="connsiteY6" fmla="*/ 56529 h 112835"/>
                  <a:gd name="connsiteX7" fmla="*/ 92232 w 94194"/>
                  <a:gd name="connsiteY7" fmla="*/ 20827 h 112835"/>
                  <a:gd name="connsiteX8" fmla="*/ 59504 w 94194"/>
                  <a:gd name="connsiteY8" fmla="*/ 0 h 112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194" h="112835">
                    <a:moveTo>
                      <a:pt x="59504" y="0"/>
                    </a:moveTo>
                    <a:cubicBezTo>
                      <a:pt x="26778" y="0"/>
                      <a:pt x="20827" y="32727"/>
                      <a:pt x="5951" y="53554"/>
                    </a:cubicBezTo>
                    <a:cubicBezTo>
                      <a:pt x="5951" y="56529"/>
                      <a:pt x="2976" y="56529"/>
                      <a:pt x="2976" y="59504"/>
                    </a:cubicBezTo>
                    <a:cubicBezTo>
                      <a:pt x="0" y="62480"/>
                      <a:pt x="0" y="68430"/>
                      <a:pt x="0" y="71405"/>
                    </a:cubicBezTo>
                    <a:cubicBezTo>
                      <a:pt x="0" y="86281"/>
                      <a:pt x="8927" y="104132"/>
                      <a:pt x="23803" y="110083"/>
                    </a:cubicBezTo>
                    <a:cubicBezTo>
                      <a:pt x="38679" y="119008"/>
                      <a:pt x="47604" y="104132"/>
                      <a:pt x="56530" y="95207"/>
                    </a:cubicBezTo>
                    <a:cubicBezTo>
                      <a:pt x="65455" y="83306"/>
                      <a:pt x="74380" y="71405"/>
                      <a:pt x="83307" y="56529"/>
                    </a:cubicBezTo>
                    <a:cubicBezTo>
                      <a:pt x="89256" y="47603"/>
                      <a:pt x="98183" y="35703"/>
                      <a:pt x="92232" y="20827"/>
                    </a:cubicBezTo>
                    <a:cubicBezTo>
                      <a:pt x="83307" y="5951"/>
                      <a:pt x="71406" y="0"/>
                      <a:pt x="59504" y="0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4D7D97A3-5C67-4B51-A77A-9C166DE26946}"/>
                  </a:ext>
                </a:extLst>
              </p:cNvPr>
              <p:cNvSpPr/>
              <p:nvPr/>
            </p:nvSpPr>
            <p:spPr>
              <a:xfrm>
                <a:off x="21983002" y="8486657"/>
                <a:ext cx="85268" cy="99803"/>
              </a:xfrm>
              <a:custGeom>
                <a:avLst/>
                <a:gdLst>
                  <a:gd name="connsiteX0" fmla="*/ 56528 w 85268"/>
                  <a:gd name="connsiteY0" fmla="*/ 0 h 99803"/>
                  <a:gd name="connsiteX1" fmla="*/ 5951 w 85268"/>
                  <a:gd name="connsiteY1" fmla="*/ 47603 h 99803"/>
                  <a:gd name="connsiteX2" fmla="*/ 2974 w 85268"/>
                  <a:gd name="connsiteY2" fmla="*/ 53553 h 99803"/>
                  <a:gd name="connsiteX3" fmla="*/ 0 w 85268"/>
                  <a:gd name="connsiteY3" fmla="*/ 65454 h 99803"/>
                  <a:gd name="connsiteX4" fmla="*/ 20827 w 85268"/>
                  <a:gd name="connsiteY4" fmla="*/ 98181 h 99803"/>
                  <a:gd name="connsiteX5" fmla="*/ 50579 w 85268"/>
                  <a:gd name="connsiteY5" fmla="*/ 86281 h 99803"/>
                  <a:gd name="connsiteX6" fmla="*/ 74380 w 85268"/>
                  <a:gd name="connsiteY6" fmla="*/ 53553 h 99803"/>
                  <a:gd name="connsiteX7" fmla="*/ 83305 w 85268"/>
                  <a:gd name="connsiteY7" fmla="*/ 23801 h 99803"/>
                  <a:gd name="connsiteX8" fmla="*/ 56528 w 85268"/>
                  <a:gd name="connsiteY8" fmla="*/ 0 h 99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268" h="99803">
                    <a:moveTo>
                      <a:pt x="56528" y="0"/>
                    </a:moveTo>
                    <a:cubicBezTo>
                      <a:pt x="26776" y="0"/>
                      <a:pt x="20827" y="26777"/>
                      <a:pt x="5951" y="47603"/>
                    </a:cubicBezTo>
                    <a:cubicBezTo>
                      <a:pt x="5951" y="50578"/>
                      <a:pt x="2974" y="50578"/>
                      <a:pt x="2974" y="53553"/>
                    </a:cubicBezTo>
                    <a:cubicBezTo>
                      <a:pt x="0" y="56529"/>
                      <a:pt x="0" y="59504"/>
                      <a:pt x="0" y="65454"/>
                    </a:cubicBezTo>
                    <a:cubicBezTo>
                      <a:pt x="0" y="77355"/>
                      <a:pt x="8925" y="92231"/>
                      <a:pt x="20827" y="98181"/>
                    </a:cubicBezTo>
                    <a:cubicBezTo>
                      <a:pt x="35703" y="104132"/>
                      <a:pt x="41652" y="92231"/>
                      <a:pt x="50579" y="86281"/>
                    </a:cubicBezTo>
                    <a:cubicBezTo>
                      <a:pt x="59504" y="77355"/>
                      <a:pt x="68429" y="65454"/>
                      <a:pt x="74380" y="53553"/>
                    </a:cubicBezTo>
                    <a:cubicBezTo>
                      <a:pt x="80331" y="44628"/>
                      <a:pt x="89256" y="35702"/>
                      <a:pt x="83305" y="23801"/>
                    </a:cubicBezTo>
                    <a:cubicBezTo>
                      <a:pt x="80331" y="5950"/>
                      <a:pt x="68429" y="0"/>
                      <a:pt x="56528" y="0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013FE02E-9704-4A25-A5DF-7023B579C2CD}"/>
                  </a:ext>
                </a:extLst>
              </p:cNvPr>
              <p:cNvSpPr/>
              <p:nvPr/>
            </p:nvSpPr>
            <p:spPr>
              <a:xfrm>
                <a:off x="22024653" y="8528310"/>
                <a:ext cx="60315" cy="70072"/>
              </a:xfrm>
              <a:custGeom>
                <a:avLst/>
                <a:gdLst>
                  <a:gd name="connsiteX0" fmla="*/ 41654 w 60315"/>
                  <a:gd name="connsiteY0" fmla="*/ 0 h 70072"/>
                  <a:gd name="connsiteX1" fmla="*/ 5951 w 60315"/>
                  <a:gd name="connsiteY1" fmla="*/ 32727 h 70072"/>
                  <a:gd name="connsiteX2" fmla="*/ 2976 w 60315"/>
                  <a:gd name="connsiteY2" fmla="*/ 35702 h 70072"/>
                  <a:gd name="connsiteX3" fmla="*/ 0 w 60315"/>
                  <a:gd name="connsiteY3" fmla="*/ 44628 h 70072"/>
                  <a:gd name="connsiteX4" fmla="*/ 14876 w 60315"/>
                  <a:gd name="connsiteY4" fmla="*/ 68430 h 70072"/>
                  <a:gd name="connsiteX5" fmla="*/ 35703 w 60315"/>
                  <a:gd name="connsiteY5" fmla="*/ 59504 h 70072"/>
                  <a:gd name="connsiteX6" fmla="*/ 53555 w 60315"/>
                  <a:gd name="connsiteY6" fmla="*/ 35702 h 70072"/>
                  <a:gd name="connsiteX7" fmla="*/ 59504 w 60315"/>
                  <a:gd name="connsiteY7" fmla="*/ 11901 h 70072"/>
                  <a:gd name="connsiteX8" fmla="*/ 41654 w 60315"/>
                  <a:gd name="connsiteY8" fmla="*/ 0 h 70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315" h="70072">
                    <a:moveTo>
                      <a:pt x="41654" y="0"/>
                    </a:moveTo>
                    <a:cubicBezTo>
                      <a:pt x="20827" y="0"/>
                      <a:pt x="14876" y="20826"/>
                      <a:pt x="5951" y="32727"/>
                    </a:cubicBezTo>
                    <a:cubicBezTo>
                      <a:pt x="5951" y="32727"/>
                      <a:pt x="5951" y="35702"/>
                      <a:pt x="2976" y="35702"/>
                    </a:cubicBezTo>
                    <a:cubicBezTo>
                      <a:pt x="2976" y="38678"/>
                      <a:pt x="0" y="41653"/>
                      <a:pt x="0" y="44628"/>
                    </a:cubicBezTo>
                    <a:cubicBezTo>
                      <a:pt x="0" y="53554"/>
                      <a:pt x="5951" y="65454"/>
                      <a:pt x="14876" y="68430"/>
                    </a:cubicBezTo>
                    <a:cubicBezTo>
                      <a:pt x="23803" y="74380"/>
                      <a:pt x="29752" y="62480"/>
                      <a:pt x="35703" y="59504"/>
                    </a:cubicBezTo>
                    <a:cubicBezTo>
                      <a:pt x="41654" y="53554"/>
                      <a:pt x="47604" y="44628"/>
                      <a:pt x="53555" y="35702"/>
                    </a:cubicBezTo>
                    <a:cubicBezTo>
                      <a:pt x="56530" y="29752"/>
                      <a:pt x="62480" y="23802"/>
                      <a:pt x="59504" y="11901"/>
                    </a:cubicBezTo>
                    <a:cubicBezTo>
                      <a:pt x="56530" y="2975"/>
                      <a:pt x="47604" y="0"/>
                      <a:pt x="41654" y="0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1546542C-6CF6-4978-8CB9-3A93DE62110F}"/>
                  </a:ext>
                </a:extLst>
              </p:cNvPr>
              <p:cNvSpPr/>
              <p:nvPr/>
            </p:nvSpPr>
            <p:spPr>
              <a:xfrm>
                <a:off x="21917384" y="8415996"/>
                <a:ext cx="125355" cy="150991"/>
              </a:xfrm>
              <a:custGeom>
                <a:avLst/>
                <a:gdLst>
                  <a:gd name="connsiteX0" fmla="*/ 59667 w 125355"/>
                  <a:gd name="connsiteY0" fmla="*/ 150992 h 150991"/>
                  <a:gd name="connsiteX1" fmla="*/ 44791 w 125355"/>
                  <a:gd name="connsiteY1" fmla="*/ 145042 h 150991"/>
                  <a:gd name="connsiteX2" fmla="*/ 23964 w 125355"/>
                  <a:gd name="connsiteY2" fmla="*/ 103388 h 150991"/>
                  <a:gd name="connsiteX3" fmla="*/ 23964 w 125355"/>
                  <a:gd name="connsiteY3" fmla="*/ 103388 h 150991"/>
                  <a:gd name="connsiteX4" fmla="*/ 12065 w 125355"/>
                  <a:gd name="connsiteY4" fmla="*/ 94463 h 150991"/>
                  <a:gd name="connsiteX5" fmla="*/ 163 w 125355"/>
                  <a:gd name="connsiteY5" fmla="*/ 73636 h 150991"/>
                  <a:gd name="connsiteX6" fmla="*/ 38840 w 125355"/>
                  <a:gd name="connsiteY6" fmla="*/ 2232 h 150991"/>
                  <a:gd name="connsiteX7" fmla="*/ 47766 w 125355"/>
                  <a:gd name="connsiteY7" fmla="*/ 2232 h 150991"/>
                  <a:gd name="connsiteX8" fmla="*/ 47766 w 125355"/>
                  <a:gd name="connsiteY8" fmla="*/ 11157 h 150991"/>
                  <a:gd name="connsiteX9" fmla="*/ 12065 w 125355"/>
                  <a:gd name="connsiteY9" fmla="*/ 73636 h 150991"/>
                  <a:gd name="connsiteX10" fmla="*/ 18014 w 125355"/>
                  <a:gd name="connsiteY10" fmla="*/ 85537 h 150991"/>
                  <a:gd name="connsiteX11" fmla="*/ 35866 w 125355"/>
                  <a:gd name="connsiteY11" fmla="*/ 91488 h 150991"/>
                  <a:gd name="connsiteX12" fmla="*/ 86445 w 125355"/>
                  <a:gd name="connsiteY12" fmla="*/ 29008 h 150991"/>
                  <a:gd name="connsiteX13" fmla="*/ 95370 w 125355"/>
                  <a:gd name="connsiteY13" fmla="*/ 23058 h 150991"/>
                  <a:gd name="connsiteX14" fmla="*/ 116197 w 125355"/>
                  <a:gd name="connsiteY14" fmla="*/ 34959 h 150991"/>
                  <a:gd name="connsiteX15" fmla="*/ 95370 w 125355"/>
                  <a:gd name="connsiteY15" fmla="*/ 121240 h 150991"/>
                  <a:gd name="connsiteX16" fmla="*/ 59667 w 125355"/>
                  <a:gd name="connsiteY16" fmla="*/ 150992 h 150991"/>
                  <a:gd name="connsiteX17" fmla="*/ 35866 w 125355"/>
                  <a:gd name="connsiteY17" fmla="*/ 106364 h 150991"/>
                  <a:gd name="connsiteX18" fmla="*/ 50742 w 125355"/>
                  <a:gd name="connsiteY18" fmla="*/ 136116 h 150991"/>
                  <a:gd name="connsiteX19" fmla="*/ 86445 w 125355"/>
                  <a:gd name="connsiteY19" fmla="*/ 115289 h 150991"/>
                  <a:gd name="connsiteX20" fmla="*/ 107270 w 125355"/>
                  <a:gd name="connsiteY20" fmla="*/ 43884 h 150991"/>
                  <a:gd name="connsiteX21" fmla="*/ 95370 w 125355"/>
                  <a:gd name="connsiteY21" fmla="*/ 34959 h 150991"/>
                  <a:gd name="connsiteX22" fmla="*/ 35866 w 125355"/>
                  <a:gd name="connsiteY22" fmla="*/ 103388 h 150991"/>
                  <a:gd name="connsiteX23" fmla="*/ 35866 w 125355"/>
                  <a:gd name="connsiteY23" fmla="*/ 106364 h 150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5355" h="150991">
                    <a:moveTo>
                      <a:pt x="59667" y="150992"/>
                    </a:moveTo>
                    <a:cubicBezTo>
                      <a:pt x="53716" y="150992"/>
                      <a:pt x="50742" y="148016"/>
                      <a:pt x="44791" y="145042"/>
                    </a:cubicBezTo>
                    <a:cubicBezTo>
                      <a:pt x="29915" y="133140"/>
                      <a:pt x="23964" y="106364"/>
                      <a:pt x="23964" y="103388"/>
                    </a:cubicBezTo>
                    <a:cubicBezTo>
                      <a:pt x="23964" y="103388"/>
                      <a:pt x="23964" y="103388"/>
                      <a:pt x="23964" y="103388"/>
                    </a:cubicBezTo>
                    <a:cubicBezTo>
                      <a:pt x="18014" y="100413"/>
                      <a:pt x="15039" y="97438"/>
                      <a:pt x="12065" y="94463"/>
                    </a:cubicBezTo>
                    <a:cubicBezTo>
                      <a:pt x="6114" y="88512"/>
                      <a:pt x="163" y="82562"/>
                      <a:pt x="163" y="73636"/>
                    </a:cubicBezTo>
                    <a:cubicBezTo>
                      <a:pt x="-2811" y="43884"/>
                      <a:pt x="35866" y="5206"/>
                      <a:pt x="38840" y="2232"/>
                    </a:cubicBezTo>
                    <a:cubicBezTo>
                      <a:pt x="41817" y="-744"/>
                      <a:pt x="44791" y="-744"/>
                      <a:pt x="47766" y="2232"/>
                    </a:cubicBezTo>
                    <a:cubicBezTo>
                      <a:pt x="50742" y="5206"/>
                      <a:pt x="50742" y="8182"/>
                      <a:pt x="47766" y="11157"/>
                    </a:cubicBezTo>
                    <a:cubicBezTo>
                      <a:pt x="38840" y="20083"/>
                      <a:pt x="12065" y="52810"/>
                      <a:pt x="12065" y="73636"/>
                    </a:cubicBezTo>
                    <a:cubicBezTo>
                      <a:pt x="12065" y="79587"/>
                      <a:pt x="15039" y="82562"/>
                      <a:pt x="18014" y="85537"/>
                    </a:cubicBezTo>
                    <a:cubicBezTo>
                      <a:pt x="23964" y="88512"/>
                      <a:pt x="29915" y="94463"/>
                      <a:pt x="35866" y="91488"/>
                    </a:cubicBezTo>
                    <a:cubicBezTo>
                      <a:pt x="47766" y="88512"/>
                      <a:pt x="65618" y="67686"/>
                      <a:pt x="86445" y="29008"/>
                    </a:cubicBezTo>
                    <a:cubicBezTo>
                      <a:pt x="89419" y="26033"/>
                      <a:pt x="92394" y="23058"/>
                      <a:pt x="95370" y="23058"/>
                    </a:cubicBezTo>
                    <a:cubicBezTo>
                      <a:pt x="101321" y="23058"/>
                      <a:pt x="107270" y="26033"/>
                      <a:pt x="116197" y="34959"/>
                    </a:cubicBezTo>
                    <a:cubicBezTo>
                      <a:pt x="134047" y="55785"/>
                      <a:pt x="125122" y="85537"/>
                      <a:pt x="95370" y="121240"/>
                    </a:cubicBezTo>
                    <a:cubicBezTo>
                      <a:pt x="86445" y="136116"/>
                      <a:pt x="74543" y="150992"/>
                      <a:pt x="59667" y="150992"/>
                    </a:cubicBezTo>
                    <a:close/>
                    <a:moveTo>
                      <a:pt x="35866" y="106364"/>
                    </a:moveTo>
                    <a:cubicBezTo>
                      <a:pt x="38840" y="112314"/>
                      <a:pt x="41817" y="130166"/>
                      <a:pt x="50742" y="136116"/>
                    </a:cubicBezTo>
                    <a:cubicBezTo>
                      <a:pt x="59667" y="142066"/>
                      <a:pt x="65618" y="142066"/>
                      <a:pt x="86445" y="115289"/>
                    </a:cubicBezTo>
                    <a:cubicBezTo>
                      <a:pt x="101321" y="97438"/>
                      <a:pt x="125122" y="64711"/>
                      <a:pt x="107270" y="43884"/>
                    </a:cubicBezTo>
                    <a:cubicBezTo>
                      <a:pt x="101321" y="34959"/>
                      <a:pt x="98344" y="34959"/>
                      <a:pt x="95370" y="34959"/>
                    </a:cubicBezTo>
                    <a:cubicBezTo>
                      <a:pt x="71569" y="76612"/>
                      <a:pt x="53716" y="100413"/>
                      <a:pt x="35866" y="103388"/>
                    </a:cubicBezTo>
                    <a:cubicBezTo>
                      <a:pt x="38840" y="103388"/>
                      <a:pt x="35866" y="106364"/>
                      <a:pt x="35866" y="106364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1389B149-FD02-4561-B244-1FFD4FF1113C}"/>
                  </a:ext>
                </a:extLst>
              </p:cNvPr>
              <p:cNvSpPr/>
              <p:nvPr/>
            </p:nvSpPr>
            <p:spPr>
              <a:xfrm>
                <a:off x="21980025" y="8483682"/>
                <a:ext cx="98183" cy="107107"/>
              </a:xfrm>
              <a:custGeom>
                <a:avLst/>
                <a:gdLst>
                  <a:gd name="connsiteX0" fmla="*/ 32728 w 98183"/>
                  <a:gd name="connsiteY0" fmla="*/ 107108 h 107107"/>
                  <a:gd name="connsiteX1" fmla="*/ 26778 w 98183"/>
                  <a:gd name="connsiteY1" fmla="*/ 107108 h 107107"/>
                  <a:gd name="connsiteX2" fmla="*/ 0 w 98183"/>
                  <a:gd name="connsiteY2" fmla="*/ 80330 h 107107"/>
                  <a:gd name="connsiteX3" fmla="*/ 2976 w 98183"/>
                  <a:gd name="connsiteY3" fmla="*/ 71405 h 107107"/>
                  <a:gd name="connsiteX4" fmla="*/ 11902 w 98183"/>
                  <a:gd name="connsiteY4" fmla="*/ 74380 h 107107"/>
                  <a:gd name="connsiteX5" fmla="*/ 32728 w 98183"/>
                  <a:gd name="connsiteY5" fmla="*/ 95207 h 107107"/>
                  <a:gd name="connsiteX6" fmla="*/ 44628 w 98183"/>
                  <a:gd name="connsiteY6" fmla="*/ 92232 h 107107"/>
                  <a:gd name="connsiteX7" fmla="*/ 86282 w 98183"/>
                  <a:gd name="connsiteY7" fmla="*/ 32727 h 107107"/>
                  <a:gd name="connsiteX8" fmla="*/ 80331 w 98183"/>
                  <a:gd name="connsiteY8" fmla="*/ 23802 h 107107"/>
                  <a:gd name="connsiteX9" fmla="*/ 62480 w 98183"/>
                  <a:gd name="connsiteY9" fmla="*/ 11901 h 107107"/>
                  <a:gd name="connsiteX10" fmla="*/ 56530 w 98183"/>
                  <a:gd name="connsiteY10" fmla="*/ 5950 h 107107"/>
                  <a:gd name="connsiteX11" fmla="*/ 62480 w 98183"/>
                  <a:gd name="connsiteY11" fmla="*/ 0 h 107107"/>
                  <a:gd name="connsiteX12" fmla="*/ 89256 w 98183"/>
                  <a:gd name="connsiteY12" fmla="*/ 14876 h 107107"/>
                  <a:gd name="connsiteX13" fmla="*/ 98183 w 98183"/>
                  <a:gd name="connsiteY13" fmla="*/ 32727 h 107107"/>
                  <a:gd name="connsiteX14" fmla="*/ 53555 w 98183"/>
                  <a:gd name="connsiteY14" fmla="*/ 101157 h 107107"/>
                  <a:gd name="connsiteX15" fmla="*/ 32728 w 98183"/>
                  <a:gd name="connsiteY15" fmla="*/ 107108 h 107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8183" h="107107">
                    <a:moveTo>
                      <a:pt x="32728" y="107108"/>
                    </a:moveTo>
                    <a:cubicBezTo>
                      <a:pt x="29752" y="107108"/>
                      <a:pt x="29752" y="107108"/>
                      <a:pt x="26778" y="107108"/>
                    </a:cubicBezTo>
                    <a:cubicBezTo>
                      <a:pt x="8927" y="104132"/>
                      <a:pt x="0" y="83306"/>
                      <a:pt x="0" y="80330"/>
                    </a:cubicBezTo>
                    <a:cubicBezTo>
                      <a:pt x="0" y="77356"/>
                      <a:pt x="0" y="74380"/>
                      <a:pt x="2976" y="71405"/>
                    </a:cubicBezTo>
                    <a:cubicBezTo>
                      <a:pt x="5951" y="71405"/>
                      <a:pt x="8927" y="71405"/>
                      <a:pt x="11902" y="74380"/>
                    </a:cubicBezTo>
                    <a:cubicBezTo>
                      <a:pt x="14876" y="80330"/>
                      <a:pt x="23803" y="92232"/>
                      <a:pt x="32728" y="95207"/>
                    </a:cubicBezTo>
                    <a:cubicBezTo>
                      <a:pt x="38679" y="95207"/>
                      <a:pt x="41654" y="95207"/>
                      <a:pt x="44628" y="92232"/>
                    </a:cubicBezTo>
                    <a:cubicBezTo>
                      <a:pt x="68431" y="74380"/>
                      <a:pt x="83307" y="41653"/>
                      <a:pt x="86282" y="32727"/>
                    </a:cubicBezTo>
                    <a:cubicBezTo>
                      <a:pt x="86282" y="29752"/>
                      <a:pt x="86282" y="26777"/>
                      <a:pt x="80331" y="23802"/>
                    </a:cubicBezTo>
                    <a:cubicBezTo>
                      <a:pt x="74380" y="17851"/>
                      <a:pt x="65455" y="14876"/>
                      <a:pt x="62480" y="11901"/>
                    </a:cubicBezTo>
                    <a:cubicBezTo>
                      <a:pt x="59504" y="11901"/>
                      <a:pt x="56530" y="8926"/>
                      <a:pt x="56530" y="5950"/>
                    </a:cubicBezTo>
                    <a:cubicBezTo>
                      <a:pt x="56530" y="2975"/>
                      <a:pt x="59504" y="0"/>
                      <a:pt x="62480" y="0"/>
                    </a:cubicBezTo>
                    <a:cubicBezTo>
                      <a:pt x="71406" y="0"/>
                      <a:pt x="83307" y="5950"/>
                      <a:pt x="89256" y="14876"/>
                    </a:cubicBezTo>
                    <a:cubicBezTo>
                      <a:pt x="95207" y="20826"/>
                      <a:pt x="98183" y="26777"/>
                      <a:pt x="98183" y="32727"/>
                    </a:cubicBezTo>
                    <a:cubicBezTo>
                      <a:pt x="95207" y="44628"/>
                      <a:pt x="80331" y="80330"/>
                      <a:pt x="53555" y="101157"/>
                    </a:cubicBezTo>
                    <a:cubicBezTo>
                      <a:pt x="44628" y="104132"/>
                      <a:pt x="38679" y="107108"/>
                      <a:pt x="32728" y="107108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31D0B00C-74E6-48B4-8F5A-57CF05931476}"/>
                </a:ext>
              </a:extLst>
            </p:cNvPr>
            <p:cNvSpPr/>
            <p:nvPr/>
          </p:nvSpPr>
          <p:spPr>
            <a:xfrm>
              <a:off x="21867187" y="8338116"/>
              <a:ext cx="297082" cy="297082"/>
            </a:xfrm>
            <a:custGeom>
              <a:avLst/>
              <a:gdLst>
                <a:gd name="connsiteX0" fmla="*/ 80111 w 297082"/>
                <a:gd name="connsiteY0" fmla="*/ 279450 h 297082"/>
                <a:gd name="connsiteX1" fmla="*/ 279451 w 297082"/>
                <a:gd name="connsiteY1" fmla="*/ 216971 h 297082"/>
                <a:gd name="connsiteX2" fmla="*/ 216970 w 297082"/>
                <a:gd name="connsiteY2" fmla="*/ 17632 h 297082"/>
                <a:gd name="connsiteX3" fmla="*/ 17633 w 297082"/>
                <a:gd name="connsiteY3" fmla="*/ 80111 h 297082"/>
                <a:gd name="connsiteX4" fmla="*/ 80111 w 297082"/>
                <a:gd name="connsiteY4" fmla="*/ 279450 h 297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082" h="297082">
                  <a:moveTo>
                    <a:pt x="80111" y="279450"/>
                  </a:moveTo>
                  <a:cubicBezTo>
                    <a:pt x="151517" y="318128"/>
                    <a:pt x="243748" y="291351"/>
                    <a:pt x="279451" y="216971"/>
                  </a:cubicBezTo>
                  <a:cubicBezTo>
                    <a:pt x="318128" y="145566"/>
                    <a:pt x="291350" y="53334"/>
                    <a:pt x="216970" y="17632"/>
                  </a:cubicBezTo>
                  <a:cubicBezTo>
                    <a:pt x="145566" y="-21046"/>
                    <a:pt x="53334" y="5731"/>
                    <a:pt x="17633" y="80111"/>
                  </a:cubicBezTo>
                  <a:cubicBezTo>
                    <a:pt x="-21046" y="151516"/>
                    <a:pt x="5731" y="240772"/>
                    <a:pt x="80111" y="279450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42B319D6-CA40-4F4B-909E-BEC036CC1B3F}"/>
                </a:ext>
              </a:extLst>
            </p:cNvPr>
            <p:cNvSpPr/>
            <p:nvPr/>
          </p:nvSpPr>
          <p:spPr>
            <a:xfrm>
              <a:off x="21849030" y="8498558"/>
              <a:ext cx="133971" cy="134010"/>
            </a:xfrm>
            <a:custGeom>
              <a:avLst/>
              <a:gdLst>
                <a:gd name="connsiteX0" fmla="*/ 62566 w 133971"/>
                <a:gd name="connsiteY0" fmla="*/ 0 h 134010"/>
                <a:gd name="connsiteX1" fmla="*/ 87 w 133971"/>
                <a:gd name="connsiteY1" fmla="*/ 68430 h 134010"/>
                <a:gd name="connsiteX2" fmla="*/ 71491 w 133971"/>
                <a:gd name="connsiteY2" fmla="*/ 133884 h 134010"/>
                <a:gd name="connsiteX3" fmla="*/ 59591 w 133971"/>
                <a:gd name="connsiteY3" fmla="*/ 71405 h 134010"/>
                <a:gd name="connsiteX4" fmla="*/ 107194 w 133971"/>
                <a:gd name="connsiteY4" fmla="*/ 41653 h 134010"/>
                <a:gd name="connsiteX5" fmla="*/ 133971 w 133971"/>
                <a:gd name="connsiteY5" fmla="*/ 38678 h 134010"/>
                <a:gd name="connsiteX6" fmla="*/ 62566 w 133971"/>
                <a:gd name="connsiteY6" fmla="*/ 0 h 13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971" h="134010">
                  <a:moveTo>
                    <a:pt x="62566" y="0"/>
                  </a:moveTo>
                  <a:cubicBezTo>
                    <a:pt x="29839" y="2975"/>
                    <a:pt x="6038" y="41653"/>
                    <a:pt x="87" y="68430"/>
                  </a:cubicBezTo>
                  <a:cubicBezTo>
                    <a:pt x="-2889" y="86281"/>
                    <a:pt x="71491" y="136860"/>
                    <a:pt x="71491" y="133884"/>
                  </a:cubicBezTo>
                  <a:cubicBezTo>
                    <a:pt x="95294" y="101157"/>
                    <a:pt x="53640" y="83306"/>
                    <a:pt x="59591" y="71405"/>
                  </a:cubicBezTo>
                  <a:cubicBezTo>
                    <a:pt x="68516" y="53554"/>
                    <a:pt x="83392" y="47603"/>
                    <a:pt x="107194" y="41653"/>
                  </a:cubicBezTo>
                  <a:cubicBezTo>
                    <a:pt x="116119" y="41653"/>
                    <a:pt x="133971" y="47603"/>
                    <a:pt x="133971" y="38678"/>
                  </a:cubicBezTo>
                  <a:cubicBezTo>
                    <a:pt x="133971" y="17851"/>
                    <a:pt x="77442" y="0"/>
                    <a:pt x="62566" y="0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6D375A69-E924-4850-9DC0-B6D9116F667B}"/>
                </a:ext>
              </a:extLst>
            </p:cNvPr>
            <p:cNvSpPr/>
            <p:nvPr/>
          </p:nvSpPr>
          <p:spPr>
            <a:xfrm>
              <a:off x="21853835" y="8492517"/>
              <a:ext cx="146273" cy="145875"/>
            </a:xfrm>
            <a:custGeom>
              <a:avLst/>
              <a:gdLst>
                <a:gd name="connsiteX0" fmla="*/ 69662 w 146273"/>
                <a:gd name="connsiteY0" fmla="*/ 145875 h 145875"/>
                <a:gd name="connsiteX1" fmla="*/ 66686 w 146273"/>
                <a:gd name="connsiteY1" fmla="*/ 142900 h 145875"/>
                <a:gd name="connsiteX2" fmla="*/ 66686 w 146273"/>
                <a:gd name="connsiteY2" fmla="*/ 133975 h 145875"/>
                <a:gd name="connsiteX3" fmla="*/ 54786 w 146273"/>
                <a:gd name="connsiteY3" fmla="*/ 80421 h 145875"/>
                <a:gd name="connsiteX4" fmla="*/ 54786 w 146273"/>
                <a:gd name="connsiteY4" fmla="*/ 74471 h 145875"/>
                <a:gd name="connsiteX5" fmla="*/ 111314 w 146273"/>
                <a:gd name="connsiteY5" fmla="*/ 44719 h 145875"/>
                <a:gd name="connsiteX6" fmla="*/ 129166 w 146273"/>
                <a:gd name="connsiteY6" fmla="*/ 41743 h 145875"/>
                <a:gd name="connsiteX7" fmla="*/ 129166 w 146273"/>
                <a:gd name="connsiteY7" fmla="*/ 38768 h 145875"/>
                <a:gd name="connsiteX8" fmla="*/ 63711 w 146273"/>
                <a:gd name="connsiteY8" fmla="*/ 11991 h 145875"/>
                <a:gd name="connsiteX9" fmla="*/ 63711 w 146273"/>
                <a:gd name="connsiteY9" fmla="*/ 11991 h 145875"/>
                <a:gd name="connsiteX10" fmla="*/ 10158 w 146273"/>
                <a:gd name="connsiteY10" fmla="*/ 74471 h 145875"/>
                <a:gd name="connsiteX11" fmla="*/ 4207 w 146273"/>
                <a:gd name="connsiteY11" fmla="*/ 77446 h 145875"/>
                <a:gd name="connsiteX12" fmla="*/ 1233 w 146273"/>
                <a:gd name="connsiteY12" fmla="*/ 71495 h 145875"/>
                <a:gd name="connsiteX13" fmla="*/ 66686 w 146273"/>
                <a:gd name="connsiteY13" fmla="*/ 90 h 145875"/>
                <a:gd name="connsiteX14" fmla="*/ 144042 w 146273"/>
                <a:gd name="connsiteY14" fmla="*/ 32817 h 145875"/>
                <a:gd name="connsiteX15" fmla="*/ 144042 w 146273"/>
                <a:gd name="connsiteY15" fmla="*/ 47693 h 145875"/>
                <a:gd name="connsiteX16" fmla="*/ 117265 w 146273"/>
                <a:gd name="connsiteY16" fmla="*/ 56619 h 145875"/>
                <a:gd name="connsiteX17" fmla="*/ 72637 w 146273"/>
                <a:gd name="connsiteY17" fmla="*/ 77446 h 145875"/>
                <a:gd name="connsiteX18" fmla="*/ 81562 w 146273"/>
                <a:gd name="connsiteY18" fmla="*/ 142900 h 145875"/>
                <a:gd name="connsiteX19" fmla="*/ 69662 w 146273"/>
                <a:gd name="connsiteY19" fmla="*/ 145875 h 14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6273" h="145875">
                  <a:moveTo>
                    <a:pt x="69662" y="145875"/>
                  </a:moveTo>
                  <a:cubicBezTo>
                    <a:pt x="66686" y="145875"/>
                    <a:pt x="66686" y="145875"/>
                    <a:pt x="66686" y="142900"/>
                  </a:cubicBezTo>
                  <a:cubicBezTo>
                    <a:pt x="63711" y="139925"/>
                    <a:pt x="63711" y="136950"/>
                    <a:pt x="66686" y="133975"/>
                  </a:cubicBezTo>
                  <a:cubicBezTo>
                    <a:pt x="84538" y="116123"/>
                    <a:pt x="54786" y="80421"/>
                    <a:pt x="54786" y="80421"/>
                  </a:cubicBezTo>
                  <a:cubicBezTo>
                    <a:pt x="54786" y="77446"/>
                    <a:pt x="51810" y="77446"/>
                    <a:pt x="54786" y="74471"/>
                  </a:cubicBezTo>
                  <a:cubicBezTo>
                    <a:pt x="66686" y="47693"/>
                    <a:pt x="93464" y="44719"/>
                    <a:pt x="111314" y="44719"/>
                  </a:cubicBezTo>
                  <a:cubicBezTo>
                    <a:pt x="117265" y="44719"/>
                    <a:pt x="126190" y="44719"/>
                    <a:pt x="129166" y="41743"/>
                  </a:cubicBezTo>
                  <a:cubicBezTo>
                    <a:pt x="129166" y="41743"/>
                    <a:pt x="129166" y="38768"/>
                    <a:pt x="129166" y="38768"/>
                  </a:cubicBezTo>
                  <a:cubicBezTo>
                    <a:pt x="123216" y="29843"/>
                    <a:pt x="96438" y="14966"/>
                    <a:pt x="63711" y="11991"/>
                  </a:cubicBezTo>
                  <a:cubicBezTo>
                    <a:pt x="63711" y="11991"/>
                    <a:pt x="63711" y="11991"/>
                    <a:pt x="63711" y="11991"/>
                  </a:cubicBezTo>
                  <a:cubicBezTo>
                    <a:pt x="28009" y="11991"/>
                    <a:pt x="10158" y="74471"/>
                    <a:pt x="10158" y="74471"/>
                  </a:cubicBezTo>
                  <a:cubicBezTo>
                    <a:pt x="10158" y="77446"/>
                    <a:pt x="7182" y="80421"/>
                    <a:pt x="4207" y="77446"/>
                  </a:cubicBezTo>
                  <a:cubicBezTo>
                    <a:pt x="1233" y="77446"/>
                    <a:pt x="-1743" y="74471"/>
                    <a:pt x="1233" y="71495"/>
                  </a:cubicBezTo>
                  <a:cubicBezTo>
                    <a:pt x="1233" y="68520"/>
                    <a:pt x="22058" y="-2885"/>
                    <a:pt x="66686" y="90"/>
                  </a:cubicBezTo>
                  <a:cubicBezTo>
                    <a:pt x="102389" y="90"/>
                    <a:pt x="135117" y="17941"/>
                    <a:pt x="144042" y="32817"/>
                  </a:cubicBezTo>
                  <a:cubicBezTo>
                    <a:pt x="147017" y="38768"/>
                    <a:pt x="147017" y="41743"/>
                    <a:pt x="144042" y="47693"/>
                  </a:cubicBezTo>
                  <a:cubicBezTo>
                    <a:pt x="141066" y="56619"/>
                    <a:pt x="129166" y="56619"/>
                    <a:pt x="117265" y="56619"/>
                  </a:cubicBezTo>
                  <a:cubicBezTo>
                    <a:pt x="102389" y="56619"/>
                    <a:pt x="81562" y="59595"/>
                    <a:pt x="72637" y="77446"/>
                  </a:cubicBezTo>
                  <a:cubicBezTo>
                    <a:pt x="81562" y="89347"/>
                    <a:pt x="105365" y="122074"/>
                    <a:pt x="81562" y="142900"/>
                  </a:cubicBezTo>
                  <a:cubicBezTo>
                    <a:pt x="72637" y="145875"/>
                    <a:pt x="69662" y="145875"/>
                    <a:pt x="69662" y="145875"/>
                  </a:cubicBezTo>
                  <a:close/>
                </a:path>
              </a:pathLst>
            </a:custGeom>
            <a:solidFill>
              <a:srgbClr val="E58777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C06B9BA6-CB0D-4EB4-BC83-EEB821A06D40}"/>
                </a:ext>
              </a:extLst>
            </p:cNvPr>
            <p:cNvSpPr/>
            <p:nvPr/>
          </p:nvSpPr>
          <p:spPr>
            <a:xfrm>
              <a:off x="20373414" y="11714744"/>
              <a:ext cx="2186776" cy="564639"/>
            </a:xfrm>
            <a:custGeom>
              <a:avLst/>
              <a:gdLst>
                <a:gd name="connsiteX0" fmla="*/ 2186777 w 2186776"/>
                <a:gd name="connsiteY0" fmla="*/ 547450 h 564639"/>
                <a:gd name="connsiteX1" fmla="*/ 1121653 w 2186776"/>
                <a:gd name="connsiteY1" fmla="*/ 12 h 564639"/>
                <a:gd name="connsiteX2" fmla="*/ 0 w 2186776"/>
                <a:gd name="connsiteY2" fmla="*/ 547450 h 564639"/>
                <a:gd name="connsiteX3" fmla="*/ 2186777 w 2186776"/>
                <a:gd name="connsiteY3" fmla="*/ 547450 h 564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6776" h="564639">
                  <a:moveTo>
                    <a:pt x="2186777" y="547450"/>
                  </a:moveTo>
                  <a:cubicBezTo>
                    <a:pt x="2186777" y="547450"/>
                    <a:pt x="1585787" y="-2963"/>
                    <a:pt x="1121653" y="12"/>
                  </a:cubicBezTo>
                  <a:cubicBezTo>
                    <a:pt x="657522" y="2987"/>
                    <a:pt x="0" y="547450"/>
                    <a:pt x="0" y="547450"/>
                  </a:cubicBezTo>
                  <a:cubicBezTo>
                    <a:pt x="0" y="547450"/>
                    <a:pt x="1761323" y="586127"/>
                    <a:pt x="2186777" y="547450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C25FFD89-7730-47A3-B6AA-AA23A6FBEF70}"/>
                </a:ext>
              </a:extLst>
            </p:cNvPr>
            <p:cNvSpPr/>
            <p:nvPr/>
          </p:nvSpPr>
          <p:spPr>
            <a:xfrm>
              <a:off x="21840192" y="11798062"/>
              <a:ext cx="1862478" cy="481653"/>
            </a:xfrm>
            <a:custGeom>
              <a:avLst/>
              <a:gdLst>
                <a:gd name="connsiteX0" fmla="*/ 1862479 w 1862478"/>
                <a:gd name="connsiteY0" fmla="*/ 467108 h 481653"/>
                <a:gd name="connsiteX1" fmla="*/ 955041 w 1862478"/>
                <a:gd name="connsiteY1" fmla="*/ 0 h 481653"/>
                <a:gd name="connsiteX2" fmla="*/ 0 w 1862478"/>
                <a:gd name="connsiteY2" fmla="*/ 467108 h 481653"/>
                <a:gd name="connsiteX3" fmla="*/ 1862479 w 1862478"/>
                <a:gd name="connsiteY3" fmla="*/ 467108 h 481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2478" h="481653">
                  <a:moveTo>
                    <a:pt x="1862479" y="467108"/>
                  </a:moveTo>
                  <a:cubicBezTo>
                    <a:pt x="1862479" y="467108"/>
                    <a:pt x="1350743" y="0"/>
                    <a:pt x="955041" y="0"/>
                  </a:cubicBezTo>
                  <a:cubicBezTo>
                    <a:pt x="559339" y="2975"/>
                    <a:pt x="0" y="467108"/>
                    <a:pt x="0" y="467108"/>
                  </a:cubicBezTo>
                  <a:cubicBezTo>
                    <a:pt x="0" y="467108"/>
                    <a:pt x="1499503" y="499835"/>
                    <a:pt x="1862479" y="467108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4" name="图形 1">
              <a:extLst>
                <a:ext uri="{FF2B5EF4-FFF2-40B4-BE49-F238E27FC236}">
                  <a16:creationId xmlns:a16="http://schemas.microsoft.com/office/drawing/2014/main" id="{571CDC57-630C-46BC-A1CB-A84AF094E1FE}"/>
                </a:ext>
              </a:extLst>
            </p:cNvPr>
            <p:cNvGrpSpPr/>
            <p:nvPr/>
          </p:nvGrpSpPr>
          <p:grpSpPr>
            <a:xfrm>
              <a:off x="20266205" y="12104508"/>
              <a:ext cx="485060" cy="199338"/>
              <a:chOff x="20266205" y="12104508"/>
              <a:chExt cx="485060" cy="199338"/>
            </a:xfrm>
          </p:grpSpPr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53A8FBAA-13A4-47B1-A017-1A1D2480B97F}"/>
                  </a:ext>
                </a:extLst>
              </p:cNvPr>
              <p:cNvSpPr/>
              <p:nvPr/>
            </p:nvSpPr>
            <p:spPr>
              <a:xfrm>
                <a:off x="20266205" y="12104508"/>
                <a:ext cx="485060" cy="157685"/>
              </a:xfrm>
              <a:custGeom>
                <a:avLst/>
                <a:gdLst>
                  <a:gd name="connsiteX0" fmla="*/ 20929 w 485060"/>
                  <a:gd name="connsiteY0" fmla="*/ 0 h 157685"/>
                  <a:gd name="connsiteX1" fmla="*/ 190516 w 485060"/>
                  <a:gd name="connsiteY1" fmla="*/ 0 h 157685"/>
                  <a:gd name="connsiteX2" fmla="*/ 321424 w 485060"/>
                  <a:gd name="connsiteY2" fmla="*/ 53553 h 157685"/>
                  <a:gd name="connsiteX3" fmla="*/ 485060 w 485060"/>
                  <a:gd name="connsiteY3" fmla="*/ 157686 h 157685"/>
                  <a:gd name="connsiteX4" fmla="*/ 9027 w 485060"/>
                  <a:gd name="connsiteY4" fmla="*/ 157686 h 157685"/>
                  <a:gd name="connsiteX5" fmla="*/ 20929 w 485060"/>
                  <a:gd name="connsiteY5" fmla="*/ 0 h 157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5060" h="157685">
                    <a:moveTo>
                      <a:pt x="20929" y="0"/>
                    </a:moveTo>
                    <a:cubicBezTo>
                      <a:pt x="20929" y="0"/>
                      <a:pt x="131012" y="65454"/>
                      <a:pt x="190516" y="0"/>
                    </a:cubicBezTo>
                    <a:cubicBezTo>
                      <a:pt x="190516" y="0"/>
                      <a:pt x="273821" y="35702"/>
                      <a:pt x="321424" y="53553"/>
                    </a:cubicBezTo>
                    <a:cubicBezTo>
                      <a:pt x="363078" y="68429"/>
                      <a:pt x="473161" y="86281"/>
                      <a:pt x="485060" y="157686"/>
                    </a:cubicBezTo>
                    <a:lnTo>
                      <a:pt x="9027" y="157686"/>
                    </a:lnTo>
                    <a:cubicBezTo>
                      <a:pt x="9027" y="154710"/>
                      <a:pt x="-17749" y="56529"/>
                      <a:pt x="20929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03B5DF8C-CC1A-4742-9341-E3EFFBB0586B}"/>
                  </a:ext>
                </a:extLst>
              </p:cNvPr>
              <p:cNvSpPr/>
              <p:nvPr/>
            </p:nvSpPr>
            <p:spPr>
              <a:xfrm>
                <a:off x="20275233" y="12259219"/>
                <a:ext cx="476033" cy="44628"/>
              </a:xfrm>
              <a:custGeom>
                <a:avLst/>
                <a:gdLst>
                  <a:gd name="connsiteX0" fmla="*/ 0 w 476033"/>
                  <a:gd name="connsiteY0" fmla="*/ 0 h 44628"/>
                  <a:gd name="connsiteX1" fmla="*/ 476033 w 476033"/>
                  <a:gd name="connsiteY1" fmla="*/ 0 h 44628"/>
                  <a:gd name="connsiteX2" fmla="*/ 476033 w 476033"/>
                  <a:gd name="connsiteY2" fmla="*/ 44628 h 44628"/>
                  <a:gd name="connsiteX3" fmla="*/ 0 w 476033"/>
                  <a:gd name="connsiteY3" fmla="*/ 44628 h 4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033" h="44628">
                    <a:moveTo>
                      <a:pt x="0" y="0"/>
                    </a:moveTo>
                    <a:lnTo>
                      <a:pt x="476033" y="0"/>
                    </a:lnTo>
                    <a:lnTo>
                      <a:pt x="476033" y="44628"/>
                    </a:lnTo>
                    <a:lnTo>
                      <a:pt x="0" y="44628"/>
                    </a:lnTo>
                    <a:close/>
                  </a:path>
                </a:pathLst>
              </a:custGeom>
              <a:solidFill>
                <a:srgbClr val="38333D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5" name="图形 1">
              <a:extLst>
                <a:ext uri="{FF2B5EF4-FFF2-40B4-BE49-F238E27FC236}">
                  <a16:creationId xmlns:a16="http://schemas.microsoft.com/office/drawing/2014/main" id="{45508070-A96A-4CD5-82B4-7A6AA5848353}"/>
                </a:ext>
              </a:extLst>
            </p:cNvPr>
            <p:cNvGrpSpPr/>
            <p:nvPr/>
          </p:nvGrpSpPr>
          <p:grpSpPr>
            <a:xfrm>
              <a:off x="20774797" y="11679053"/>
              <a:ext cx="454431" cy="367591"/>
              <a:chOff x="20774797" y="11679053"/>
              <a:chExt cx="454431" cy="367591"/>
            </a:xfrm>
          </p:grpSpPr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FF1EBD3F-21F1-4B28-B00D-CB0F69BFEB3D}"/>
                  </a:ext>
                </a:extLst>
              </p:cNvPr>
              <p:cNvSpPr/>
              <p:nvPr/>
            </p:nvSpPr>
            <p:spPr>
              <a:xfrm>
                <a:off x="20789943" y="11679053"/>
                <a:ext cx="438966" cy="330248"/>
              </a:xfrm>
              <a:custGeom>
                <a:avLst/>
                <a:gdLst>
                  <a:gd name="connsiteX0" fmla="*/ 74380 w 438966"/>
                  <a:gd name="connsiteY0" fmla="*/ 0 h 330248"/>
                  <a:gd name="connsiteX1" fmla="*/ 229091 w 438966"/>
                  <a:gd name="connsiteY1" fmla="*/ 68430 h 330248"/>
                  <a:gd name="connsiteX2" fmla="*/ 327273 w 438966"/>
                  <a:gd name="connsiteY2" fmla="*/ 169587 h 330248"/>
                  <a:gd name="connsiteX3" fmla="*/ 437356 w 438966"/>
                  <a:gd name="connsiteY3" fmla="*/ 330248 h 330248"/>
                  <a:gd name="connsiteX4" fmla="*/ 0 w 438966"/>
                  <a:gd name="connsiteY4" fmla="*/ 139835 h 330248"/>
                  <a:gd name="connsiteX5" fmla="*/ 74380 w 438966"/>
                  <a:gd name="connsiteY5" fmla="*/ 0 h 330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8966" h="330248">
                    <a:moveTo>
                      <a:pt x="74380" y="0"/>
                    </a:moveTo>
                    <a:cubicBezTo>
                      <a:pt x="74380" y="0"/>
                      <a:pt x="148760" y="101157"/>
                      <a:pt x="229091" y="68430"/>
                    </a:cubicBezTo>
                    <a:cubicBezTo>
                      <a:pt x="229091" y="68430"/>
                      <a:pt x="291572" y="133884"/>
                      <a:pt x="327273" y="169587"/>
                    </a:cubicBezTo>
                    <a:cubicBezTo>
                      <a:pt x="360001" y="199339"/>
                      <a:pt x="452232" y="261819"/>
                      <a:pt x="437356" y="330248"/>
                    </a:cubicBezTo>
                    <a:lnTo>
                      <a:pt x="0" y="139835"/>
                    </a:lnTo>
                    <a:cubicBezTo>
                      <a:pt x="2976" y="136860"/>
                      <a:pt x="17852" y="38678"/>
                      <a:pt x="74380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385C22C9-B222-4FA9-B748-560172772A67}"/>
                  </a:ext>
                </a:extLst>
              </p:cNvPr>
              <p:cNvSpPr/>
              <p:nvPr/>
            </p:nvSpPr>
            <p:spPr>
              <a:xfrm rot="-3992375">
                <a:off x="20979700" y="11693414"/>
                <a:ext cx="44626" cy="476014"/>
              </a:xfrm>
              <a:custGeom>
                <a:avLst/>
                <a:gdLst>
                  <a:gd name="connsiteX0" fmla="*/ 0 w 44626"/>
                  <a:gd name="connsiteY0" fmla="*/ 0 h 476014"/>
                  <a:gd name="connsiteX1" fmla="*/ 44626 w 44626"/>
                  <a:gd name="connsiteY1" fmla="*/ 0 h 476014"/>
                  <a:gd name="connsiteX2" fmla="*/ 44626 w 44626"/>
                  <a:gd name="connsiteY2" fmla="*/ 476015 h 476014"/>
                  <a:gd name="connsiteX3" fmla="*/ 0 w 44626"/>
                  <a:gd name="connsiteY3" fmla="*/ 476015 h 476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26" h="476014">
                    <a:moveTo>
                      <a:pt x="0" y="0"/>
                    </a:moveTo>
                    <a:lnTo>
                      <a:pt x="44626" y="0"/>
                    </a:lnTo>
                    <a:lnTo>
                      <a:pt x="44626" y="476015"/>
                    </a:lnTo>
                    <a:lnTo>
                      <a:pt x="0" y="476015"/>
                    </a:lnTo>
                    <a:close/>
                  </a:path>
                </a:pathLst>
              </a:custGeom>
              <a:solidFill>
                <a:srgbClr val="38333D"/>
              </a:solidFill>
              <a:ln w="297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D2E81402-ECD6-4F21-8608-073239770651}"/>
                </a:ext>
              </a:extLst>
            </p:cNvPr>
            <p:cNvSpPr/>
            <p:nvPr/>
          </p:nvSpPr>
          <p:spPr>
            <a:xfrm>
              <a:off x="20486473" y="8531285"/>
              <a:ext cx="303469" cy="318347"/>
            </a:xfrm>
            <a:custGeom>
              <a:avLst/>
              <a:gdLst>
                <a:gd name="connsiteX0" fmla="*/ 249916 w 303469"/>
                <a:gd name="connsiteY0" fmla="*/ 59504 h 318347"/>
                <a:gd name="connsiteX1" fmla="*/ 303470 w 303469"/>
                <a:gd name="connsiteY1" fmla="*/ 196363 h 318347"/>
                <a:gd name="connsiteX2" fmla="*/ 190412 w 303469"/>
                <a:gd name="connsiteY2" fmla="*/ 318347 h 318347"/>
                <a:gd name="connsiteX3" fmla="*/ 0 w 303469"/>
                <a:gd name="connsiteY3" fmla="*/ 181487 h 318347"/>
                <a:gd name="connsiteX4" fmla="*/ 50577 w 303469"/>
                <a:gd name="connsiteY4" fmla="*/ 0 h 318347"/>
                <a:gd name="connsiteX5" fmla="*/ 249916 w 303469"/>
                <a:gd name="connsiteY5" fmla="*/ 59504 h 318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3469" h="318347">
                  <a:moveTo>
                    <a:pt x="249916" y="59504"/>
                  </a:moveTo>
                  <a:cubicBezTo>
                    <a:pt x="249916" y="59504"/>
                    <a:pt x="243966" y="166611"/>
                    <a:pt x="303470" y="196363"/>
                  </a:cubicBezTo>
                  <a:lnTo>
                    <a:pt x="190412" y="318347"/>
                  </a:lnTo>
                  <a:cubicBezTo>
                    <a:pt x="190412" y="318347"/>
                    <a:pt x="53553" y="211239"/>
                    <a:pt x="0" y="181487"/>
                  </a:cubicBezTo>
                  <a:cubicBezTo>
                    <a:pt x="53553" y="139835"/>
                    <a:pt x="50577" y="59504"/>
                    <a:pt x="50577" y="0"/>
                  </a:cubicBezTo>
                  <a:cubicBezTo>
                    <a:pt x="53553" y="0"/>
                    <a:pt x="199337" y="68429"/>
                    <a:pt x="249916" y="59504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E341C8B9-B60D-4A46-98C6-9426E4A7BFFC}"/>
                </a:ext>
              </a:extLst>
            </p:cNvPr>
            <p:cNvSpPr/>
            <p:nvPr/>
          </p:nvSpPr>
          <p:spPr>
            <a:xfrm>
              <a:off x="20705726" y="8580327"/>
              <a:ext cx="1230409" cy="580003"/>
            </a:xfrm>
            <a:custGeom>
              <a:avLst/>
              <a:gdLst>
                <a:gd name="connsiteX0" fmla="*/ 402564 w 1230409"/>
                <a:gd name="connsiteY0" fmla="*/ 215752 h 580003"/>
                <a:gd name="connsiteX1" fmla="*/ 744713 w 1230409"/>
                <a:gd name="connsiteY1" fmla="*/ 287157 h 580003"/>
                <a:gd name="connsiteX2" fmla="*/ 1122564 w 1230409"/>
                <a:gd name="connsiteY2" fmla="*/ 4512 h 580003"/>
                <a:gd name="connsiteX3" fmla="*/ 1223722 w 1230409"/>
                <a:gd name="connsiteY3" fmla="*/ 111620 h 580003"/>
                <a:gd name="connsiteX4" fmla="*/ 798266 w 1230409"/>
                <a:gd name="connsiteY4" fmla="*/ 569801 h 580003"/>
                <a:gd name="connsiteX5" fmla="*/ 179424 w 1230409"/>
                <a:gd name="connsiteY5" fmla="*/ 495421 h 580003"/>
                <a:gd name="connsiteX6" fmla="*/ 911 w 1230409"/>
                <a:gd name="connsiteY6" fmla="*/ 269306 h 580003"/>
                <a:gd name="connsiteX7" fmla="*/ 402564 w 1230409"/>
                <a:gd name="connsiteY7" fmla="*/ 215752 h 5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0409" h="580003">
                  <a:moveTo>
                    <a:pt x="402564" y="215752"/>
                  </a:moveTo>
                  <a:cubicBezTo>
                    <a:pt x="488846" y="230628"/>
                    <a:pt x="652482" y="272281"/>
                    <a:pt x="744713" y="287157"/>
                  </a:cubicBezTo>
                  <a:cubicBezTo>
                    <a:pt x="819093" y="260380"/>
                    <a:pt x="1030334" y="-40116"/>
                    <a:pt x="1122564" y="4512"/>
                  </a:cubicBezTo>
                  <a:cubicBezTo>
                    <a:pt x="1179094" y="55091"/>
                    <a:pt x="1190994" y="61041"/>
                    <a:pt x="1223722" y="111620"/>
                  </a:cubicBezTo>
                  <a:cubicBezTo>
                    <a:pt x="1277276" y="188975"/>
                    <a:pt x="997605" y="489471"/>
                    <a:pt x="798266" y="569801"/>
                  </a:cubicBezTo>
                  <a:cubicBezTo>
                    <a:pt x="694134" y="611454"/>
                    <a:pt x="325209" y="513272"/>
                    <a:pt x="179424" y="495421"/>
                  </a:cubicBezTo>
                  <a:cubicBezTo>
                    <a:pt x="96118" y="483520"/>
                    <a:pt x="-10989" y="331785"/>
                    <a:pt x="911" y="269306"/>
                  </a:cubicBezTo>
                  <a:cubicBezTo>
                    <a:pt x="21738" y="168148"/>
                    <a:pt x="235953" y="188975"/>
                    <a:pt x="402564" y="215752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1BB5C3CC-2D3C-44A0-8D81-B90077372E7D}"/>
                </a:ext>
              </a:extLst>
            </p:cNvPr>
            <p:cNvSpPr/>
            <p:nvPr/>
          </p:nvSpPr>
          <p:spPr>
            <a:xfrm>
              <a:off x="20967223" y="8815672"/>
              <a:ext cx="100964" cy="545695"/>
            </a:xfrm>
            <a:custGeom>
              <a:avLst/>
              <a:gdLst>
                <a:gd name="connsiteX0" fmla="*/ 45860 w 100964"/>
                <a:gd name="connsiteY0" fmla="*/ 545695 h 545695"/>
                <a:gd name="connsiteX1" fmla="*/ 45860 w 100964"/>
                <a:gd name="connsiteY1" fmla="*/ 545695 h 545695"/>
                <a:gd name="connsiteX2" fmla="*/ 39911 w 100964"/>
                <a:gd name="connsiteY2" fmla="*/ 539744 h 545695"/>
                <a:gd name="connsiteX3" fmla="*/ 54787 w 100964"/>
                <a:gd name="connsiteY3" fmla="*/ 486191 h 545695"/>
                <a:gd name="connsiteX4" fmla="*/ 87514 w 100964"/>
                <a:gd name="connsiteY4" fmla="*/ 340406 h 545695"/>
                <a:gd name="connsiteX5" fmla="*/ 1232 w 100964"/>
                <a:gd name="connsiteY5" fmla="*/ 10158 h 545695"/>
                <a:gd name="connsiteX6" fmla="*/ 4208 w 100964"/>
                <a:gd name="connsiteY6" fmla="*/ 1232 h 545695"/>
                <a:gd name="connsiteX7" fmla="*/ 13134 w 100964"/>
                <a:gd name="connsiteY7" fmla="*/ 4208 h 545695"/>
                <a:gd name="connsiteX8" fmla="*/ 99415 w 100964"/>
                <a:gd name="connsiteY8" fmla="*/ 340406 h 545695"/>
                <a:gd name="connsiteX9" fmla="*/ 66687 w 100964"/>
                <a:gd name="connsiteY9" fmla="*/ 486191 h 545695"/>
                <a:gd name="connsiteX10" fmla="*/ 51811 w 100964"/>
                <a:gd name="connsiteY10" fmla="*/ 539744 h 545695"/>
                <a:gd name="connsiteX11" fmla="*/ 45860 w 100964"/>
                <a:gd name="connsiteY11" fmla="*/ 545695 h 545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964" h="545695">
                  <a:moveTo>
                    <a:pt x="45860" y="545695"/>
                  </a:moveTo>
                  <a:cubicBezTo>
                    <a:pt x="45860" y="545695"/>
                    <a:pt x="42886" y="545695"/>
                    <a:pt x="45860" y="545695"/>
                  </a:cubicBezTo>
                  <a:cubicBezTo>
                    <a:pt x="42886" y="545695"/>
                    <a:pt x="39911" y="542720"/>
                    <a:pt x="39911" y="539744"/>
                  </a:cubicBezTo>
                  <a:cubicBezTo>
                    <a:pt x="45860" y="521894"/>
                    <a:pt x="48836" y="504042"/>
                    <a:pt x="54787" y="486191"/>
                  </a:cubicBezTo>
                  <a:cubicBezTo>
                    <a:pt x="69663" y="435613"/>
                    <a:pt x="84539" y="385034"/>
                    <a:pt x="87514" y="340406"/>
                  </a:cubicBezTo>
                  <a:cubicBezTo>
                    <a:pt x="93465" y="221398"/>
                    <a:pt x="66687" y="111315"/>
                    <a:pt x="1232" y="10158"/>
                  </a:cubicBezTo>
                  <a:cubicBezTo>
                    <a:pt x="-1742" y="7183"/>
                    <a:pt x="1232" y="4208"/>
                    <a:pt x="4208" y="1232"/>
                  </a:cubicBezTo>
                  <a:cubicBezTo>
                    <a:pt x="7183" y="-1743"/>
                    <a:pt x="10159" y="1232"/>
                    <a:pt x="13134" y="4208"/>
                  </a:cubicBezTo>
                  <a:cubicBezTo>
                    <a:pt x="78588" y="108340"/>
                    <a:pt x="108341" y="221398"/>
                    <a:pt x="99415" y="340406"/>
                  </a:cubicBezTo>
                  <a:cubicBezTo>
                    <a:pt x="96439" y="385034"/>
                    <a:pt x="81563" y="438588"/>
                    <a:pt x="66687" y="486191"/>
                  </a:cubicBezTo>
                  <a:cubicBezTo>
                    <a:pt x="60736" y="504042"/>
                    <a:pt x="54787" y="521894"/>
                    <a:pt x="51811" y="539744"/>
                  </a:cubicBezTo>
                  <a:cubicBezTo>
                    <a:pt x="48836" y="545695"/>
                    <a:pt x="45860" y="545695"/>
                    <a:pt x="45860" y="545695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613A99B9-FF14-4EF7-BFDF-1932F93B7070}"/>
                </a:ext>
              </a:extLst>
            </p:cNvPr>
            <p:cNvSpPr/>
            <p:nvPr/>
          </p:nvSpPr>
          <p:spPr>
            <a:xfrm>
              <a:off x="20172473" y="8718723"/>
              <a:ext cx="924396" cy="1204766"/>
            </a:xfrm>
            <a:custGeom>
              <a:avLst/>
              <a:gdLst>
                <a:gd name="connsiteX0" fmla="*/ 73007 w 924396"/>
                <a:gd name="connsiteY0" fmla="*/ 380827 h 1204766"/>
                <a:gd name="connsiteX1" fmla="*/ 73007 w 924396"/>
                <a:gd name="connsiteY1" fmla="*/ 116033 h 1204766"/>
                <a:gd name="connsiteX2" fmla="*/ 328876 w 924396"/>
                <a:gd name="connsiteY2" fmla="*/ 0 h 1204766"/>
                <a:gd name="connsiteX3" fmla="*/ 596644 w 924396"/>
                <a:gd name="connsiteY3" fmla="*/ 5951 h 1204766"/>
                <a:gd name="connsiteX4" fmla="*/ 920941 w 924396"/>
                <a:gd name="connsiteY4" fmla="*/ 484959 h 1204766"/>
                <a:gd name="connsiteX5" fmla="*/ 891189 w 924396"/>
                <a:gd name="connsiteY5" fmla="*/ 711074 h 1204766"/>
                <a:gd name="connsiteX6" fmla="*/ 834661 w 924396"/>
                <a:gd name="connsiteY6" fmla="*/ 1145455 h 1204766"/>
                <a:gd name="connsiteX7" fmla="*/ 46231 w 924396"/>
                <a:gd name="connsiteY7" fmla="*/ 1139505 h 1204766"/>
                <a:gd name="connsiteX8" fmla="*/ 73007 w 924396"/>
                <a:gd name="connsiteY8" fmla="*/ 380827 h 120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4396" h="1204766">
                  <a:moveTo>
                    <a:pt x="73007" y="380827"/>
                  </a:moveTo>
                  <a:cubicBezTo>
                    <a:pt x="40280" y="294546"/>
                    <a:pt x="13503" y="199339"/>
                    <a:pt x="73007" y="116033"/>
                  </a:cubicBezTo>
                  <a:cubicBezTo>
                    <a:pt x="123586" y="47603"/>
                    <a:pt x="251519" y="11901"/>
                    <a:pt x="328876" y="0"/>
                  </a:cubicBezTo>
                  <a:cubicBezTo>
                    <a:pt x="328876" y="0"/>
                    <a:pt x="599619" y="11901"/>
                    <a:pt x="596644" y="5951"/>
                  </a:cubicBezTo>
                  <a:cubicBezTo>
                    <a:pt x="846561" y="11901"/>
                    <a:pt x="944742" y="279670"/>
                    <a:pt x="920941" y="484959"/>
                  </a:cubicBezTo>
                  <a:cubicBezTo>
                    <a:pt x="912015" y="562314"/>
                    <a:pt x="894165" y="633720"/>
                    <a:pt x="891189" y="711074"/>
                  </a:cubicBezTo>
                  <a:cubicBezTo>
                    <a:pt x="888214" y="785454"/>
                    <a:pt x="974494" y="963967"/>
                    <a:pt x="834661" y="1145455"/>
                  </a:cubicBezTo>
                  <a:cubicBezTo>
                    <a:pt x="825734" y="1157355"/>
                    <a:pt x="480611" y="1276364"/>
                    <a:pt x="46231" y="1139505"/>
                  </a:cubicBezTo>
                  <a:cubicBezTo>
                    <a:pt x="-99555" y="987769"/>
                    <a:pt x="153338" y="589091"/>
                    <a:pt x="73007" y="380827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2C0D8C51-ACBD-47E1-8379-3177920A44AC}"/>
                </a:ext>
              </a:extLst>
            </p:cNvPr>
            <p:cNvSpPr/>
            <p:nvPr/>
          </p:nvSpPr>
          <p:spPr>
            <a:xfrm>
              <a:off x="21036886" y="8900211"/>
              <a:ext cx="63984" cy="737850"/>
            </a:xfrm>
            <a:custGeom>
              <a:avLst/>
              <a:gdLst>
                <a:gd name="connsiteX0" fmla="*/ 26776 w 63984"/>
                <a:gd name="connsiteY0" fmla="*/ 737851 h 737850"/>
                <a:gd name="connsiteX1" fmla="*/ 20825 w 63984"/>
                <a:gd name="connsiteY1" fmla="*/ 731901 h 737850"/>
                <a:gd name="connsiteX2" fmla="*/ 44628 w 63984"/>
                <a:gd name="connsiteY2" fmla="*/ 321322 h 737850"/>
                <a:gd name="connsiteX3" fmla="*/ 53553 w 63984"/>
                <a:gd name="connsiteY3" fmla="*/ 255868 h 737850"/>
                <a:gd name="connsiteX4" fmla="*/ 0 w 63984"/>
                <a:gd name="connsiteY4" fmla="*/ 5950 h 737850"/>
                <a:gd name="connsiteX5" fmla="*/ 2974 w 63984"/>
                <a:gd name="connsiteY5" fmla="*/ 0 h 737850"/>
                <a:gd name="connsiteX6" fmla="*/ 8925 w 63984"/>
                <a:gd name="connsiteY6" fmla="*/ 2975 h 737850"/>
                <a:gd name="connsiteX7" fmla="*/ 62479 w 63984"/>
                <a:gd name="connsiteY7" fmla="*/ 258843 h 737850"/>
                <a:gd name="connsiteX8" fmla="*/ 53553 w 63984"/>
                <a:gd name="connsiteY8" fmla="*/ 324297 h 737850"/>
                <a:gd name="connsiteX9" fmla="*/ 29752 w 63984"/>
                <a:gd name="connsiteY9" fmla="*/ 731901 h 737850"/>
                <a:gd name="connsiteX10" fmla="*/ 26776 w 63984"/>
                <a:gd name="connsiteY10" fmla="*/ 737851 h 737850"/>
                <a:gd name="connsiteX11" fmla="*/ 26776 w 63984"/>
                <a:gd name="connsiteY11" fmla="*/ 737851 h 73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3984" h="737850">
                  <a:moveTo>
                    <a:pt x="26776" y="737851"/>
                  </a:moveTo>
                  <a:cubicBezTo>
                    <a:pt x="23801" y="737851"/>
                    <a:pt x="20825" y="734876"/>
                    <a:pt x="20825" y="731901"/>
                  </a:cubicBezTo>
                  <a:cubicBezTo>
                    <a:pt x="5949" y="612893"/>
                    <a:pt x="29752" y="437356"/>
                    <a:pt x="44628" y="321322"/>
                  </a:cubicBezTo>
                  <a:cubicBezTo>
                    <a:pt x="47603" y="297521"/>
                    <a:pt x="50577" y="276694"/>
                    <a:pt x="53553" y="255868"/>
                  </a:cubicBezTo>
                  <a:cubicBezTo>
                    <a:pt x="65453" y="154711"/>
                    <a:pt x="2974" y="5950"/>
                    <a:pt x="0" y="5950"/>
                  </a:cubicBezTo>
                  <a:cubicBezTo>
                    <a:pt x="0" y="2975"/>
                    <a:pt x="0" y="0"/>
                    <a:pt x="2974" y="0"/>
                  </a:cubicBezTo>
                  <a:cubicBezTo>
                    <a:pt x="5949" y="0"/>
                    <a:pt x="8925" y="0"/>
                    <a:pt x="8925" y="2975"/>
                  </a:cubicBezTo>
                  <a:cubicBezTo>
                    <a:pt x="11900" y="8926"/>
                    <a:pt x="74380" y="154711"/>
                    <a:pt x="62479" y="258843"/>
                  </a:cubicBezTo>
                  <a:cubicBezTo>
                    <a:pt x="59504" y="276694"/>
                    <a:pt x="56528" y="297521"/>
                    <a:pt x="53553" y="324297"/>
                  </a:cubicBezTo>
                  <a:cubicBezTo>
                    <a:pt x="38677" y="440330"/>
                    <a:pt x="17851" y="615868"/>
                    <a:pt x="29752" y="731901"/>
                  </a:cubicBezTo>
                  <a:cubicBezTo>
                    <a:pt x="32727" y="734876"/>
                    <a:pt x="29752" y="737851"/>
                    <a:pt x="26776" y="737851"/>
                  </a:cubicBezTo>
                  <a:cubicBezTo>
                    <a:pt x="26776" y="737851"/>
                    <a:pt x="26776" y="737851"/>
                    <a:pt x="26776" y="737851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91899538-4799-4835-A74B-DC71C94F45D6}"/>
                </a:ext>
              </a:extLst>
            </p:cNvPr>
            <p:cNvSpPr/>
            <p:nvPr/>
          </p:nvSpPr>
          <p:spPr>
            <a:xfrm>
              <a:off x="20457300" y="8665067"/>
              <a:ext cx="389172" cy="128780"/>
            </a:xfrm>
            <a:custGeom>
              <a:avLst/>
              <a:gdLst>
                <a:gd name="connsiteX0" fmla="*/ 389172 w 389172"/>
                <a:gd name="connsiteY0" fmla="*/ 74483 h 128780"/>
                <a:gd name="connsiteX1" fmla="*/ 368345 w 389172"/>
                <a:gd name="connsiteY1" fmla="*/ 9028 h 128780"/>
                <a:gd name="connsiteX2" fmla="*/ 356446 w 389172"/>
                <a:gd name="connsiteY2" fmla="*/ 3078 h 128780"/>
                <a:gd name="connsiteX3" fmla="*/ 47023 w 389172"/>
                <a:gd name="connsiteY3" fmla="*/ 103 h 128780"/>
                <a:gd name="connsiteX4" fmla="*/ 2395 w 389172"/>
                <a:gd name="connsiteY4" fmla="*/ 74483 h 128780"/>
                <a:gd name="connsiteX5" fmla="*/ 11321 w 389172"/>
                <a:gd name="connsiteY5" fmla="*/ 95309 h 128780"/>
                <a:gd name="connsiteX6" fmla="*/ 383221 w 389172"/>
                <a:gd name="connsiteY6" fmla="*/ 95309 h 128780"/>
                <a:gd name="connsiteX7" fmla="*/ 389172 w 389172"/>
                <a:gd name="connsiteY7" fmla="*/ 74483 h 128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9172" h="128780">
                  <a:moveTo>
                    <a:pt x="389172" y="74483"/>
                  </a:moveTo>
                  <a:cubicBezTo>
                    <a:pt x="383221" y="50681"/>
                    <a:pt x="377271" y="29855"/>
                    <a:pt x="368345" y="9028"/>
                  </a:cubicBezTo>
                  <a:cubicBezTo>
                    <a:pt x="365371" y="6053"/>
                    <a:pt x="359420" y="103"/>
                    <a:pt x="356446" y="3078"/>
                  </a:cubicBezTo>
                  <a:cubicBezTo>
                    <a:pt x="252313" y="17954"/>
                    <a:pt x="148181" y="29855"/>
                    <a:pt x="47023" y="103"/>
                  </a:cubicBezTo>
                  <a:cubicBezTo>
                    <a:pt x="35122" y="-2873"/>
                    <a:pt x="11321" y="59607"/>
                    <a:pt x="2395" y="74483"/>
                  </a:cubicBezTo>
                  <a:cubicBezTo>
                    <a:pt x="-3555" y="83408"/>
                    <a:pt x="2395" y="92334"/>
                    <a:pt x="11321" y="95309"/>
                  </a:cubicBezTo>
                  <a:cubicBezTo>
                    <a:pt x="133305" y="139937"/>
                    <a:pt x="261239" y="139937"/>
                    <a:pt x="383221" y="95309"/>
                  </a:cubicBezTo>
                  <a:cubicBezTo>
                    <a:pt x="386198" y="89359"/>
                    <a:pt x="389172" y="83408"/>
                    <a:pt x="389172" y="74483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84F7FAED-EBC6-4A29-85C5-1419185EB4F8}"/>
                </a:ext>
              </a:extLst>
            </p:cNvPr>
            <p:cNvSpPr/>
            <p:nvPr/>
          </p:nvSpPr>
          <p:spPr>
            <a:xfrm>
              <a:off x="20718038" y="8805004"/>
              <a:ext cx="102428" cy="1121652"/>
            </a:xfrm>
            <a:custGeom>
              <a:avLst/>
              <a:gdLst>
                <a:gd name="connsiteX0" fmla="*/ 9426 w 102428"/>
                <a:gd name="connsiteY0" fmla="*/ 1121653 h 1121652"/>
                <a:gd name="connsiteX1" fmla="*/ 3475 w 102428"/>
                <a:gd name="connsiteY1" fmla="*/ 1115702 h 1121652"/>
                <a:gd name="connsiteX2" fmla="*/ 57029 w 102428"/>
                <a:gd name="connsiteY2" fmla="*/ 684297 h 1121652"/>
                <a:gd name="connsiteX3" fmla="*/ 83806 w 102428"/>
                <a:gd name="connsiteY3" fmla="*/ 550413 h 1121652"/>
                <a:gd name="connsiteX4" fmla="*/ 45129 w 102428"/>
                <a:gd name="connsiteY4" fmla="*/ 5950 h 1121652"/>
                <a:gd name="connsiteX5" fmla="*/ 48104 w 102428"/>
                <a:gd name="connsiteY5" fmla="*/ 0 h 1121652"/>
                <a:gd name="connsiteX6" fmla="*/ 54054 w 102428"/>
                <a:gd name="connsiteY6" fmla="*/ 2975 h 1121652"/>
                <a:gd name="connsiteX7" fmla="*/ 92732 w 102428"/>
                <a:gd name="connsiteY7" fmla="*/ 550413 h 1121652"/>
                <a:gd name="connsiteX8" fmla="*/ 65956 w 102428"/>
                <a:gd name="connsiteY8" fmla="*/ 684297 h 1121652"/>
                <a:gd name="connsiteX9" fmla="*/ 12401 w 102428"/>
                <a:gd name="connsiteY9" fmla="*/ 1112728 h 1121652"/>
                <a:gd name="connsiteX10" fmla="*/ 9426 w 102428"/>
                <a:gd name="connsiteY10" fmla="*/ 1121653 h 1121652"/>
                <a:gd name="connsiteX11" fmla="*/ 9426 w 102428"/>
                <a:gd name="connsiteY11" fmla="*/ 1121653 h 112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428" h="1121652">
                  <a:moveTo>
                    <a:pt x="9426" y="1121653"/>
                  </a:moveTo>
                  <a:cubicBezTo>
                    <a:pt x="6452" y="1121653"/>
                    <a:pt x="3475" y="1118677"/>
                    <a:pt x="3475" y="1115702"/>
                  </a:cubicBezTo>
                  <a:cubicBezTo>
                    <a:pt x="-11401" y="996694"/>
                    <a:pt x="24302" y="830083"/>
                    <a:pt x="57029" y="684297"/>
                  </a:cubicBezTo>
                  <a:cubicBezTo>
                    <a:pt x="65956" y="636695"/>
                    <a:pt x="77856" y="592066"/>
                    <a:pt x="83806" y="550413"/>
                  </a:cubicBezTo>
                  <a:cubicBezTo>
                    <a:pt x="116533" y="374876"/>
                    <a:pt x="45129" y="8926"/>
                    <a:pt x="45129" y="5950"/>
                  </a:cubicBezTo>
                  <a:cubicBezTo>
                    <a:pt x="45129" y="2975"/>
                    <a:pt x="45129" y="0"/>
                    <a:pt x="48104" y="0"/>
                  </a:cubicBezTo>
                  <a:cubicBezTo>
                    <a:pt x="51080" y="0"/>
                    <a:pt x="54054" y="0"/>
                    <a:pt x="54054" y="2975"/>
                  </a:cubicBezTo>
                  <a:cubicBezTo>
                    <a:pt x="54054" y="5950"/>
                    <a:pt x="128435" y="374876"/>
                    <a:pt x="92732" y="550413"/>
                  </a:cubicBezTo>
                  <a:cubicBezTo>
                    <a:pt x="83806" y="592066"/>
                    <a:pt x="74881" y="636695"/>
                    <a:pt x="65956" y="684297"/>
                  </a:cubicBezTo>
                  <a:cubicBezTo>
                    <a:pt x="33228" y="830083"/>
                    <a:pt x="-2475" y="996694"/>
                    <a:pt x="12401" y="1112728"/>
                  </a:cubicBezTo>
                  <a:cubicBezTo>
                    <a:pt x="15377" y="1118677"/>
                    <a:pt x="12401" y="1121653"/>
                    <a:pt x="9426" y="1121653"/>
                  </a:cubicBezTo>
                  <a:cubicBezTo>
                    <a:pt x="9426" y="1121653"/>
                    <a:pt x="9426" y="1121653"/>
                    <a:pt x="9426" y="1121653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3" name="图形 1">
              <a:extLst>
                <a:ext uri="{FF2B5EF4-FFF2-40B4-BE49-F238E27FC236}">
                  <a16:creationId xmlns:a16="http://schemas.microsoft.com/office/drawing/2014/main" id="{8A0A2633-D1E6-4E9A-85D9-B87D9650D200}"/>
                </a:ext>
              </a:extLst>
            </p:cNvPr>
            <p:cNvGrpSpPr/>
            <p:nvPr/>
          </p:nvGrpSpPr>
          <p:grpSpPr>
            <a:xfrm>
              <a:off x="19874860" y="9728324"/>
              <a:ext cx="188157" cy="290564"/>
              <a:chOff x="19874860" y="9728324"/>
              <a:chExt cx="188157" cy="290564"/>
            </a:xfrm>
          </p:grpSpPr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89ED157A-E5D1-4969-AA30-D9CAE05795C9}"/>
                  </a:ext>
                </a:extLst>
              </p:cNvPr>
              <p:cNvSpPr/>
              <p:nvPr/>
            </p:nvSpPr>
            <p:spPr>
              <a:xfrm>
                <a:off x="19874860" y="9728324"/>
                <a:ext cx="180208" cy="287589"/>
              </a:xfrm>
              <a:custGeom>
                <a:avLst/>
                <a:gdLst>
                  <a:gd name="connsiteX0" fmla="*/ 25497 w 180208"/>
                  <a:gd name="connsiteY0" fmla="*/ 19821 h 287589"/>
                  <a:gd name="connsiteX1" fmla="*/ 16572 w 180208"/>
                  <a:gd name="connsiteY1" fmla="*/ 25771 h 287589"/>
                  <a:gd name="connsiteX2" fmla="*/ 7645 w 180208"/>
                  <a:gd name="connsiteY2" fmla="*/ 174532 h 287589"/>
                  <a:gd name="connsiteX3" fmla="*/ 79050 w 180208"/>
                  <a:gd name="connsiteY3" fmla="*/ 281638 h 287589"/>
                  <a:gd name="connsiteX4" fmla="*/ 87976 w 180208"/>
                  <a:gd name="connsiteY4" fmla="*/ 269738 h 287589"/>
                  <a:gd name="connsiteX5" fmla="*/ 73100 w 180208"/>
                  <a:gd name="connsiteY5" fmla="*/ 234036 h 287589"/>
                  <a:gd name="connsiteX6" fmla="*/ 99877 w 180208"/>
                  <a:gd name="connsiteY6" fmla="*/ 269738 h 287589"/>
                  <a:gd name="connsiteX7" fmla="*/ 126653 w 180208"/>
                  <a:gd name="connsiteY7" fmla="*/ 287589 h 287589"/>
                  <a:gd name="connsiteX8" fmla="*/ 135580 w 180208"/>
                  <a:gd name="connsiteY8" fmla="*/ 272713 h 287589"/>
                  <a:gd name="connsiteX9" fmla="*/ 138554 w 180208"/>
                  <a:gd name="connsiteY9" fmla="*/ 275689 h 287589"/>
                  <a:gd name="connsiteX10" fmla="*/ 147480 w 180208"/>
                  <a:gd name="connsiteY10" fmla="*/ 257837 h 287589"/>
                  <a:gd name="connsiteX11" fmla="*/ 99877 w 180208"/>
                  <a:gd name="connsiteY11" fmla="*/ 115028 h 287589"/>
                  <a:gd name="connsiteX12" fmla="*/ 141529 w 180208"/>
                  <a:gd name="connsiteY12" fmla="*/ 138829 h 287589"/>
                  <a:gd name="connsiteX13" fmla="*/ 162356 w 180208"/>
                  <a:gd name="connsiteY13" fmla="*/ 183457 h 287589"/>
                  <a:gd name="connsiteX14" fmla="*/ 180208 w 180208"/>
                  <a:gd name="connsiteY14" fmla="*/ 153705 h 287589"/>
                  <a:gd name="connsiteX15" fmla="*/ 165332 w 180208"/>
                  <a:gd name="connsiteY15" fmla="*/ 100152 h 287589"/>
                  <a:gd name="connsiteX16" fmla="*/ 129629 w 180208"/>
                  <a:gd name="connsiteY16" fmla="*/ 31721 h 287589"/>
                  <a:gd name="connsiteX17" fmla="*/ 25497 w 180208"/>
                  <a:gd name="connsiteY17" fmla="*/ 19821 h 287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80208" h="287589">
                    <a:moveTo>
                      <a:pt x="25497" y="19821"/>
                    </a:moveTo>
                    <a:cubicBezTo>
                      <a:pt x="22521" y="19821"/>
                      <a:pt x="16572" y="19821"/>
                      <a:pt x="16572" y="25771"/>
                    </a:cubicBezTo>
                    <a:cubicBezTo>
                      <a:pt x="1696" y="67424"/>
                      <a:pt x="-7231" y="129904"/>
                      <a:pt x="7645" y="174532"/>
                    </a:cubicBezTo>
                    <a:cubicBezTo>
                      <a:pt x="19546" y="204284"/>
                      <a:pt x="64174" y="281638"/>
                      <a:pt x="79050" y="281638"/>
                    </a:cubicBezTo>
                    <a:cubicBezTo>
                      <a:pt x="82025" y="281638"/>
                      <a:pt x="87976" y="272713"/>
                      <a:pt x="87976" y="269738"/>
                    </a:cubicBezTo>
                    <a:cubicBezTo>
                      <a:pt x="87976" y="263788"/>
                      <a:pt x="76076" y="242961"/>
                      <a:pt x="73100" y="234036"/>
                    </a:cubicBezTo>
                    <a:cubicBezTo>
                      <a:pt x="82025" y="245936"/>
                      <a:pt x="87976" y="260812"/>
                      <a:pt x="99877" y="269738"/>
                    </a:cubicBezTo>
                    <a:cubicBezTo>
                      <a:pt x="108802" y="278664"/>
                      <a:pt x="117728" y="287589"/>
                      <a:pt x="126653" y="287589"/>
                    </a:cubicBezTo>
                    <a:cubicBezTo>
                      <a:pt x="138554" y="287589"/>
                      <a:pt x="135580" y="281638"/>
                      <a:pt x="135580" y="272713"/>
                    </a:cubicBezTo>
                    <a:cubicBezTo>
                      <a:pt x="135580" y="272713"/>
                      <a:pt x="138554" y="275689"/>
                      <a:pt x="138554" y="275689"/>
                    </a:cubicBezTo>
                    <a:cubicBezTo>
                      <a:pt x="141529" y="278664"/>
                      <a:pt x="144505" y="260812"/>
                      <a:pt x="147480" y="257837"/>
                    </a:cubicBezTo>
                    <a:cubicBezTo>
                      <a:pt x="165332" y="242961"/>
                      <a:pt x="73100" y="144780"/>
                      <a:pt x="99877" y="115028"/>
                    </a:cubicBezTo>
                    <a:cubicBezTo>
                      <a:pt x="105828" y="118002"/>
                      <a:pt x="129629" y="126928"/>
                      <a:pt x="141529" y="138829"/>
                    </a:cubicBezTo>
                    <a:cubicBezTo>
                      <a:pt x="144505" y="174532"/>
                      <a:pt x="159381" y="183457"/>
                      <a:pt x="162356" y="183457"/>
                    </a:cubicBezTo>
                    <a:cubicBezTo>
                      <a:pt x="168306" y="183457"/>
                      <a:pt x="180208" y="156680"/>
                      <a:pt x="180208" y="153705"/>
                    </a:cubicBezTo>
                    <a:cubicBezTo>
                      <a:pt x="174257" y="118002"/>
                      <a:pt x="180208" y="126928"/>
                      <a:pt x="165332" y="100152"/>
                    </a:cubicBezTo>
                    <a:cubicBezTo>
                      <a:pt x="153430" y="79325"/>
                      <a:pt x="138554" y="55523"/>
                      <a:pt x="129629" y="31721"/>
                    </a:cubicBezTo>
                    <a:cubicBezTo>
                      <a:pt x="108802" y="-9931"/>
                      <a:pt x="58223" y="-6956"/>
                      <a:pt x="25497" y="19821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5D308915-26D7-4B2E-990D-8EEAD68830BC}"/>
                  </a:ext>
                </a:extLst>
              </p:cNvPr>
              <p:cNvSpPr/>
              <p:nvPr/>
            </p:nvSpPr>
            <p:spPr>
              <a:xfrm>
                <a:off x="19919951" y="9896905"/>
                <a:ext cx="105922" cy="121983"/>
              </a:xfrm>
              <a:custGeom>
                <a:avLst/>
                <a:gdLst>
                  <a:gd name="connsiteX0" fmla="*/ 84538 w 105922"/>
                  <a:gd name="connsiteY0" fmla="*/ 121984 h 121983"/>
                  <a:gd name="connsiteX1" fmla="*/ 51810 w 105922"/>
                  <a:gd name="connsiteY1" fmla="*/ 101157 h 121983"/>
                  <a:gd name="connsiteX2" fmla="*/ 1233 w 105922"/>
                  <a:gd name="connsiteY2" fmla="*/ 32727 h 121983"/>
                  <a:gd name="connsiteX3" fmla="*/ 4207 w 105922"/>
                  <a:gd name="connsiteY3" fmla="*/ 23801 h 121983"/>
                  <a:gd name="connsiteX4" fmla="*/ 13133 w 105922"/>
                  <a:gd name="connsiteY4" fmla="*/ 26777 h 121983"/>
                  <a:gd name="connsiteX5" fmla="*/ 63711 w 105922"/>
                  <a:gd name="connsiteY5" fmla="*/ 92232 h 121983"/>
                  <a:gd name="connsiteX6" fmla="*/ 90489 w 105922"/>
                  <a:gd name="connsiteY6" fmla="*/ 110083 h 121983"/>
                  <a:gd name="connsiteX7" fmla="*/ 96438 w 105922"/>
                  <a:gd name="connsiteY7" fmla="*/ 107108 h 121983"/>
                  <a:gd name="connsiteX8" fmla="*/ 72637 w 105922"/>
                  <a:gd name="connsiteY8" fmla="*/ 80331 h 121983"/>
                  <a:gd name="connsiteX9" fmla="*/ 16109 w 105922"/>
                  <a:gd name="connsiteY9" fmla="*/ 5951 h 121983"/>
                  <a:gd name="connsiteX10" fmla="*/ 19083 w 105922"/>
                  <a:gd name="connsiteY10" fmla="*/ 0 h 121983"/>
                  <a:gd name="connsiteX11" fmla="*/ 25034 w 105922"/>
                  <a:gd name="connsiteY11" fmla="*/ 2975 h 121983"/>
                  <a:gd name="connsiteX12" fmla="*/ 78588 w 105922"/>
                  <a:gd name="connsiteY12" fmla="*/ 71405 h 121983"/>
                  <a:gd name="connsiteX13" fmla="*/ 105365 w 105922"/>
                  <a:gd name="connsiteY13" fmla="*/ 110083 h 121983"/>
                  <a:gd name="connsiteX14" fmla="*/ 84538 w 105922"/>
                  <a:gd name="connsiteY14" fmla="*/ 121984 h 121983"/>
                  <a:gd name="connsiteX15" fmla="*/ 84538 w 105922"/>
                  <a:gd name="connsiteY15" fmla="*/ 121984 h 121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5922" h="121983">
                    <a:moveTo>
                      <a:pt x="84538" y="121984"/>
                    </a:moveTo>
                    <a:cubicBezTo>
                      <a:pt x="75613" y="121984"/>
                      <a:pt x="63711" y="113057"/>
                      <a:pt x="51810" y="101157"/>
                    </a:cubicBezTo>
                    <a:cubicBezTo>
                      <a:pt x="33959" y="83305"/>
                      <a:pt x="1233" y="35703"/>
                      <a:pt x="1233" y="32727"/>
                    </a:cubicBezTo>
                    <a:cubicBezTo>
                      <a:pt x="-1743" y="29752"/>
                      <a:pt x="1233" y="26777"/>
                      <a:pt x="4207" y="23801"/>
                    </a:cubicBezTo>
                    <a:cubicBezTo>
                      <a:pt x="7182" y="20827"/>
                      <a:pt x="10158" y="23801"/>
                      <a:pt x="13133" y="26777"/>
                    </a:cubicBezTo>
                    <a:cubicBezTo>
                      <a:pt x="13133" y="26777"/>
                      <a:pt x="45861" y="77356"/>
                      <a:pt x="63711" y="92232"/>
                    </a:cubicBezTo>
                    <a:cubicBezTo>
                      <a:pt x="69662" y="98181"/>
                      <a:pt x="81562" y="110083"/>
                      <a:pt x="90489" y="110083"/>
                    </a:cubicBezTo>
                    <a:cubicBezTo>
                      <a:pt x="90489" y="110083"/>
                      <a:pt x="93464" y="110083"/>
                      <a:pt x="96438" y="107108"/>
                    </a:cubicBezTo>
                    <a:cubicBezTo>
                      <a:pt x="93464" y="101157"/>
                      <a:pt x="81562" y="92232"/>
                      <a:pt x="72637" y="80331"/>
                    </a:cubicBezTo>
                    <a:cubicBezTo>
                      <a:pt x="48835" y="56529"/>
                      <a:pt x="22058" y="29752"/>
                      <a:pt x="16109" y="5951"/>
                    </a:cubicBezTo>
                    <a:cubicBezTo>
                      <a:pt x="16109" y="2975"/>
                      <a:pt x="16109" y="0"/>
                      <a:pt x="19083" y="0"/>
                    </a:cubicBezTo>
                    <a:cubicBezTo>
                      <a:pt x="22058" y="0"/>
                      <a:pt x="25034" y="0"/>
                      <a:pt x="25034" y="2975"/>
                    </a:cubicBezTo>
                    <a:cubicBezTo>
                      <a:pt x="30985" y="23801"/>
                      <a:pt x="57761" y="50579"/>
                      <a:pt x="78588" y="71405"/>
                    </a:cubicBezTo>
                    <a:cubicBezTo>
                      <a:pt x="99414" y="95207"/>
                      <a:pt x="108340" y="104132"/>
                      <a:pt x="105365" y="110083"/>
                    </a:cubicBezTo>
                    <a:cubicBezTo>
                      <a:pt x="96438" y="119008"/>
                      <a:pt x="90489" y="121984"/>
                      <a:pt x="84538" y="121984"/>
                    </a:cubicBezTo>
                    <a:cubicBezTo>
                      <a:pt x="84538" y="121984"/>
                      <a:pt x="84538" y="121984"/>
                      <a:pt x="84538" y="121984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A04DECAB-010F-4A5A-B988-4C85FA0BE82F}"/>
                  </a:ext>
                </a:extLst>
              </p:cNvPr>
              <p:cNvSpPr/>
              <p:nvPr/>
            </p:nvSpPr>
            <p:spPr>
              <a:xfrm>
                <a:off x="19964978" y="9803441"/>
                <a:ext cx="98038" cy="197596"/>
              </a:xfrm>
              <a:custGeom>
                <a:avLst/>
                <a:gdLst>
                  <a:gd name="connsiteX0" fmla="*/ 48436 w 98038"/>
                  <a:gd name="connsiteY0" fmla="*/ 197596 h 197596"/>
                  <a:gd name="connsiteX1" fmla="*/ 45462 w 98038"/>
                  <a:gd name="connsiteY1" fmla="*/ 197596 h 197596"/>
                  <a:gd name="connsiteX2" fmla="*/ 39511 w 98038"/>
                  <a:gd name="connsiteY2" fmla="*/ 191645 h 197596"/>
                  <a:gd name="connsiteX3" fmla="*/ 45462 w 98038"/>
                  <a:gd name="connsiteY3" fmla="*/ 185696 h 197596"/>
                  <a:gd name="connsiteX4" fmla="*/ 45462 w 98038"/>
                  <a:gd name="connsiteY4" fmla="*/ 185696 h 197596"/>
                  <a:gd name="connsiteX5" fmla="*/ 51411 w 98038"/>
                  <a:gd name="connsiteY5" fmla="*/ 182720 h 197596"/>
                  <a:gd name="connsiteX6" fmla="*/ 54387 w 98038"/>
                  <a:gd name="connsiteY6" fmla="*/ 170820 h 197596"/>
                  <a:gd name="connsiteX7" fmla="*/ 36535 w 98038"/>
                  <a:gd name="connsiteY7" fmla="*/ 138092 h 197596"/>
                  <a:gd name="connsiteX8" fmla="*/ 834 w 98038"/>
                  <a:gd name="connsiteY8" fmla="*/ 75613 h 197596"/>
                  <a:gd name="connsiteX9" fmla="*/ 3808 w 98038"/>
                  <a:gd name="connsiteY9" fmla="*/ 39911 h 197596"/>
                  <a:gd name="connsiteX10" fmla="*/ 9759 w 98038"/>
                  <a:gd name="connsiteY10" fmla="*/ 36935 h 197596"/>
                  <a:gd name="connsiteX11" fmla="*/ 54387 w 98038"/>
                  <a:gd name="connsiteY11" fmla="*/ 63712 h 197596"/>
                  <a:gd name="connsiteX12" fmla="*/ 57361 w 98038"/>
                  <a:gd name="connsiteY12" fmla="*/ 66687 h 197596"/>
                  <a:gd name="connsiteX13" fmla="*/ 72237 w 98038"/>
                  <a:gd name="connsiteY13" fmla="*/ 105365 h 197596"/>
                  <a:gd name="connsiteX14" fmla="*/ 81163 w 98038"/>
                  <a:gd name="connsiteY14" fmla="*/ 93464 h 197596"/>
                  <a:gd name="connsiteX15" fmla="*/ 60338 w 98038"/>
                  <a:gd name="connsiteY15" fmla="*/ 10159 h 197596"/>
                  <a:gd name="connsiteX16" fmla="*/ 63312 w 98038"/>
                  <a:gd name="connsiteY16" fmla="*/ 1232 h 197596"/>
                  <a:gd name="connsiteX17" fmla="*/ 72237 w 98038"/>
                  <a:gd name="connsiteY17" fmla="*/ 4208 h 197596"/>
                  <a:gd name="connsiteX18" fmla="*/ 93064 w 98038"/>
                  <a:gd name="connsiteY18" fmla="*/ 99415 h 197596"/>
                  <a:gd name="connsiteX19" fmla="*/ 72237 w 98038"/>
                  <a:gd name="connsiteY19" fmla="*/ 117265 h 197596"/>
                  <a:gd name="connsiteX20" fmla="*/ 48436 w 98038"/>
                  <a:gd name="connsiteY20" fmla="*/ 72637 h 197596"/>
                  <a:gd name="connsiteX21" fmla="*/ 18684 w 98038"/>
                  <a:gd name="connsiteY21" fmla="*/ 51811 h 197596"/>
                  <a:gd name="connsiteX22" fmla="*/ 18684 w 98038"/>
                  <a:gd name="connsiteY22" fmla="*/ 78588 h 197596"/>
                  <a:gd name="connsiteX23" fmla="*/ 51411 w 98038"/>
                  <a:gd name="connsiteY23" fmla="*/ 138092 h 197596"/>
                  <a:gd name="connsiteX24" fmla="*/ 72237 w 98038"/>
                  <a:gd name="connsiteY24" fmla="*/ 176769 h 197596"/>
                  <a:gd name="connsiteX25" fmla="*/ 63312 w 98038"/>
                  <a:gd name="connsiteY25" fmla="*/ 197596 h 197596"/>
                  <a:gd name="connsiteX26" fmla="*/ 48436 w 98038"/>
                  <a:gd name="connsiteY26" fmla="*/ 197596 h 197596"/>
                  <a:gd name="connsiteX27" fmla="*/ 72237 w 98038"/>
                  <a:gd name="connsiteY27" fmla="*/ 102389 h 197596"/>
                  <a:gd name="connsiteX28" fmla="*/ 72237 w 98038"/>
                  <a:gd name="connsiteY28" fmla="*/ 102389 h 197596"/>
                  <a:gd name="connsiteX29" fmla="*/ 72237 w 98038"/>
                  <a:gd name="connsiteY29" fmla="*/ 102389 h 197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98038" h="197596">
                    <a:moveTo>
                      <a:pt x="48436" y="197596"/>
                    </a:moveTo>
                    <a:cubicBezTo>
                      <a:pt x="45462" y="197596"/>
                      <a:pt x="45462" y="197596"/>
                      <a:pt x="45462" y="197596"/>
                    </a:cubicBezTo>
                    <a:cubicBezTo>
                      <a:pt x="42485" y="197596"/>
                      <a:pt x="39511" y="194621"/>
                      <a:pt x="39511" y="191645"/>
                    </a:cubicBezTo>
                    <a:cubicBezTo>
                      <a:pt x="39511" y="188671"/>
                      <a:pt x="42485" y="185696"/>
                      <a:pt x="45462" y="185696"/>
                    </a:cubicBezTo>
                    <a:lnTo>
                      <a:pt x="45462" y="185696"/>
                    </a:lnTo>
                    <a:cubicBezTo>
                      <a:pt x="45462" y="185696"/>
                      <a:pt x="48436" y="185696"/>
                      <a:pt x="51411" y="182720"/>
                    </a:cubicBezTo>
                    <a:cubicBezTo>
                      <a:pt x="54387" y="179745"/>
                      <a:pt x="54387" y="176769"/>
                      <a:pt x="54387" y="170820"/>
                    </a:cubicBezTo>
                    <a:cubicBezTo>
                      <a:pt x="54387" y="161893"/>
                      <a:pt x="45462" y="152968"/>
                      <a:pt x="36535" y="138092"/>
                    </a:cubicBezTo>
                    <a:cubicBezTo>
                      <a:pt x="24635" y="123216"/>
                      <a:pt x="9759" y="102389"/>
                      <a:pt x="834" y="75613"/>
                    </a:cubicBezTo>
                    <a:cubicBezTo>
                      <a:pt x="-2143" y="60737"/>
                      <a:pt x="3808" y="39911"/>
                      <a:pt x="3808" y="39911"/>
                    </a:cubicBezTo>
                    <a:cubicBezTo>
                      <a:pt x="3808" y="36935"/>
                      <a:pt x="6783" y="36935"/>
                      <a:pt x="9759" y="36935"/>
                    </a:cubicBezTo>
                    <a:cubicBezTo>
                      <a:pt x="24635" y="33960"/>
                      <a:pt x="48436" y="54787"/>
                      <a:pt x="54387" y="63712"/>
                    </a:cubicBezTo>
                    <a:cubicBezTo>
                      <a:pt x="54387" y="63712"/>
                      <a:pt x="54387" y="66687"/>
                      <a:pt x="57361" y="66687"/>
                    </a:cubicBezTo>
                    <a:cubicBezTo>
                      <a:pt x="66287" y="96439"/>
                      <a:pt x="69263" y="102389"/>
                      <a:pt x="72237" y="105365"/>
                    </a:cubicBezTo>
                    <a:cubicBezTo>
                      <a:pt x="72237" y="105365"/>
                      <a:pt x="75214" y="105365"/>
                      <a:pt x="81163" y="93464"/>
                    </a:cubicBezTo>
                    <a:cubicBezTo>
                      <a:pt x="93064" y="69663"/>
                      <a:pt x="69263" y="25035"/>
                      <a:pt x="60338" y="10159"/>
                    </a:cubicBezTo>
                    <a:cubicBezTo>
                      <a:pt x="57361" y="7183"/>
                      <a:pt x="60338" y="4208"/>
                      <a:pt x="63312" y="1232"/>
                    </a:cubicBezTo>
                    <a:cubicBezTo>
                      <a:pt x="66287" y="-1743"/>
                      <a:pt x="69263" y="1232"/>
                      <a:pt x="72237" y="4208"/>
                    </a:cubicBezTo>
                    <a:cubicBezTo>
                      <a:pt x="75214" y="7183"/>
                      <a:pt x="110915" y="66687"/>
                      <a:pt x="93064" y="99415"/>
                    </a:cubicBezTo>
                    <a:cubicBezTo>
                      <a:pt x="87113" y="108340"/>
                      <a:pt x="81163" y="120241"/>
                      <a:pt x="72237" y="117265"/>
                    </a:cubicBezTo>
                    <a:cubicBezTo>
                      <a:pt x="60338" y="117265"/>
                      <a:pt x="54387" y="102389"/>
                      <a:pt x="48436" y="72637"/>
                    </a:cubicBezTo>
                    <a:cubicBezTo>
                      <a:pt x="39511" y="63712"/>
                      <a:pt x="24635" y="54787"/>
                      <a:pt x="18684" y="51811"/>
                    </a:cubicBezTo>
                    <a:cubicBezTo>
                      <a:pt x="18684" y="60737"/>
                      <a:pt x="15710" y="72637"/>
                      <a:pt x="18684" y="78588"/>
                    </a:cubicBezTo>
                    <a:cubicBezTo>
                      <a:pt x="24635" y="102389"/>
                      <a:pt x="39511" y="120241"/>
                      <a:pt x="51411" y="138092"/>
                    </a:cubicBezTo>
                    <a:cubicBezTo>
                      <a:pt x="63312" y="152968"/>
                      <a:pt x="72237" y="164869"/>
                      <a:pt x="72237" y="176769"/>
                    </a:cubicBezTo>
                    <a:cubicBezTo>
                      <a:pt x="72237" y="185696"/>
                      <a:pt x="69263" y="194621"/>
                      <a:pt x="63312" y="197596"/>
                    </a:cubicBezTo>
                    <a:cubicBezTo>
                      <a:pt x="57361" y="197596"/>
                      <a:pt x="51411" y="197596"/>
                      <a:pt x="48436" y="197596"/>
                    </a:cubicBezTo>
                    <a:close/>
                    <a:moveTo>
                      <a:pt x="72237" y="102389"/>
                    </a:moveTo>
                    <a:lnTo>
                      <a:pt x="72237" y="102389"/>
                    </a:lnTo>
                    <a:lnTo>
                      <a:pt x="72237" y="102389"/>
                    </a:lnTo>
                    <a:close/>
                  </a:path>
                </a:pathLst>
              </a:custGeom>
              <a:solidFill>
                <a:srgbClr val="E58777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43D69DCC-41CE-4BF4-8E96-EE36D7ECA625}"/>
                </a:ext>
              </a:extLst>
            </p:cNvPr>
            <p:cNvSpPr/>
            <p:nvPr/>
          </p:nvSpPr>
          <p:spPr>
            <a:xfrm>
              <a:off x="19696695" y="8745832"/>
              <a:ext cx="808973" cy="1058840"/>
            </a:xfrm>
            <a:custGeom>
              <a:avLst/>
              <a:gdLst>
                <a:gd name="connsiteX0" fmla="*/ 649943 w 808973"/>
                <a:gd name="connsiteY0" fmla="*/ 359667 h 1058840"/>
                <a:gd name="connsiteX1" fmla="*/ 266140 w 808973"/>
                <a:gd name="connsiteY1" fmla="*/ 523304 h 1058840"/>
                <a:gd name="connsiteX2" fmla="*/ 322670 w 808973"/>
                <a:gd name="connsiteY2" fmla="*/ 1020164 h 1058840"/>
                <a:gd name="connsiteX3" fmla="*/ 173910 w 808973"/>
                <a:gd name="connsiteY3" fmla="*/ 1058841 h 1058840"/>
                <a:gd name="connsiteX4" fmla="*/ 51925 w 808973"/>
                <a:gd name="connsiteY4" fmla="*/ 315039 h 1058840"/>
                <a:gd name="connsiteX5" fmla="*/ 533909 w 808973"/>
                <a:gd name="connsiteY5" fmla="*/ 38345 h 1058840"/>
                <a:gd name="connsiteX6" fmla="*/ 795727 w 808973"/>
                <a:gd name="connsiteY6" fmla="*/ 29420 h 1058840"/>
                <a:gd name="connsiteX7" fmla="*/ 649943 w 808973"/>
                <a:gd name="connsiteY7" fmla="*/ 359667 h 1058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8973" h="1058840">
                  <a:moveTo>
                    <a:pt x="649943" y="359667"/>
                  </a:moveTo>
                  <a:cubicBezTo>
                    <a:pt x="581513" y="413221"/>
                    <a:pt x="340520" y="490577"/>
                    <a:pt x="266140" y="523304"/>
                  </a:cubicBezTo>
                  <a:cubicBezTo>
                    <a:pt x="281016" y="573883"/>
                    <a:pt x="403001" y="936857"/>
                    <a:pt x="322670" y="1020164"/>
                  </a:cubicBezTo>
                  <a:cubicBezTo>
                    <a:pt x="295892" y="1038015"/>
                    <a:pt x="236388" y="1055866"/>
                    <a:pt x="173910" y="1058841"/>
                  </a:cubicBezTo>
                  <a:cubicBezTo>
                    <a:pt x="81677" y="1005288"/>
                    <a:pt x="-84934" y="466775"/>
                    <a:pt x="51925" y="315039"/>
                  </a:cubicBezTo>
                  <a:cubicBezTo>
                    <a:pt x="96553" y="264461"/>
                    <a:pt x="367298" y="106775"/>
                    <a:pt x="533909" y="38345"/>
                  </a:cubicBezTo>
                  <a:cubicBezTo>
                    <a:pt x="611265" y="5618"/>
                    <a:pt x="763000" y="-24134"/>
                    <a:pt x="795727" y="29420"/>
                  </a:cubicBezTo>
                  <a:cubicBezTo>
                    <a:pt x="846306" y="121651"/>
                    <a:pt x="742173" y="285287"/>
                    <a:pt x="649943" y="359667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399EABF5-C405-4FE6-8FD8-D456DE005CCD}"/>
                </a:ext>
              </a:extLst>
            </p:cNvPr>
            <p:cNvSpPr/>
            <p:nvPr/>
          </p:nvSpPr>
          <p:spPr>
            <a:xfrm>
              <a:off x="19956885" y="8828806"/>
              <a:ext cx="556383" cy="446280"/>
            </a:xfrm>
            <a:custGeom>
              <a:avLst/>
              <a:gdLst>
                <a:gd name="connsiteX0" fmla="*/ 5951 w 556383"/>
                <a:gd name="connsiteY0" fmla="*/ 446281 h 446280"/>
                <a:gd name="connsiteX1" fmla="*/ 0 w 556383"/>
                <a:gd name="connsiteY1" fmla="*/ 443306 h 446280"/>
                <a:gd name="connsiteX2" fmla="*/ 2976 w 556383"/>
                <a:gd name="connsiteY2" fmla="*/ 437355 h 446280"/>
                <a:gd name="connsiteX3" fmla="*/ 285621 w 556383"/>
                <a:gd name="connsiteY3" fmla="*/ 324297 h 446280"/>
                <a:gd name="connsiteX4" fmla="*/ 481984 w 556383"/>
                <a:gd name="connsiteY4" fmla="*/ 163636 h 446280"/>
                <a:gd name="connsiteX5" fmla="*/ 544464 w 556383"/>
                <a:gd name="connsiteY5" fmla="*/ 5950 h 446280"/>
                <a:gd name="connsiteX6" fmla="*/ 550413 w 556383"/>
                <a:gd name="connsiteY6" fmla="*/ 0 h 446280"/>
                <a:gd name="connsiteX7" fmla="*/ 556364 w 556383"/>
                <a:gd name="connsiteY7" fmla="*/ 5950 h 446280"/>
                <a:gd name="connsiteX8" fmla="*/ 490909 w 556383"/>
                <a:gd name="connsiteY8" fmla="*/ 172562 h 446280"/>
                <a:gd name="connsiteX9" fmla="*/ 291572 w 556383"/>
                <a:gd name="connsiteY9" fmla="*/ 333223 h 446280"/>
                <a:gd name="connsiteX10" fmla="*/ 5951 w 556383"/>
                <a:gd name="connsiteY10" fmla="*/ 446281 h 446280"/>
                <a:gd name="connsiteX11" fmla="*/ 5951 w 556383"/>
                <a:gd name="connsiteY11" fmla="*/ 446281 h 446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6383" h="446280">
                  <a:moveTo>
                    <a:pt x="5951" y="446281"/>
                  </a:moveTo>
                  <a:cubicBezTo>
                    <a:pt x="2976" y="446281"/>
                    <a:pt x="0" y="443306"/>
                    <a:pt x="0" y="443306"/>
                  </a:cubicBezTo>
                  <a:cubicBezTo>
                    <a:pt x="0" y="440330"/>
                    <a:pt x="0" y="437355"/>
                    <a:pt x="2976" y="437355"/>
                  </a:cubicBezTo>
                  <a:cubicBezTo>
                    <a:pt x="2976" y="437355"/>
                    <a:pt x="151737" y="398678"/>
                    <a:pt x="285621" y="324297"/>
                  </a:cubicBezTo>
                  <a:cubicBezTo>
                    <a:pt x="342149" y="294545"/>
                    <a:pt x="443307" y="205289"/>
                    <a:pt x="481984" y="163636"/>
                  </a:cubicBezTo>
                  <a:cubicBezTo>
                    <a:pt x="547439" y="95207"/>
                    <a:pt x="544464" y="5950"/>
                    <a:pt x="544464" y="5950"/>
                  </a:cubicBezTo>
                  <a:cubicBezTo>
                    <a:pt x="544464" y="2975"/>
                    <a:pt x="547439" y="0"/>
                    <a:pt x="550413" y="0"/>
                  </a:cubicBezTo>
                  <a:cubicBezTo>
                    <a:pt x="553390" y="0"/>
                    <a:pt x="556364" y="2975"/>
                    <a:pt x="556364" y="5950"/>
                  </a:cubicBezTo>
                  <a:cubicBezTo>
                    <a:pt x="556364" y="8925"/>
                    <a:pt x="559340" y="101157"/>
                    <a:pt x="490909" y="172562"/>
                  </a:cubicBezTo>
                  <a:cubicBezTo>
                    <a:pt x="452232" y="214215"/>
                    <a:pt x="348100" y="303471"/>
                    <a:pt x="291572" y="333223"/>
                  </a:cubicBezTo>
                  <a:cubicBezTo>
                    <a:pt x="157687" y="407603"/>
                    <a:pt x="8927" y="446281"/>
                    <a:pt x="5951" y="446281"/>
                  </a:cubicBezTo>
                  <a:cubicBezTo>
                    <a:pt x="5951" y="446281"/>
                    <a:pt x="5951" y="446281"/>
                    <a:pt x="5951" y="446281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8B954874-8A1B-4918-8D36-146A290EADFD}"/>
                </a:ext>
              </a:extLst>
            </p:cNvPr>
            <p:cNvSpPr/>
            <p:nvPr/>
          </p:nvSpPr>
          <p:spPr>
            <a:xfrm>
              <a:off x="20596177" y="8028802"/>
              <a:ext cx="313526" cy="576508"/>
            </a:xfrm>
            <a:custGeom>
              <a:avLst/>
              <a:gdLst>
                <a:gd name="connsiteX0" fmla="*/ 140212 w 313526"/>
                <a:gd name="connsiteY0" fmla="*/ 561987 h 576508"/>
                <a:gd name="connsiteX1" fmla="*/ 312774 w 313526"/>
                <a:gd name="connsiteY1" fmla="*/ 225789 h 576508"/>
                <a:gd name="connsiteX2" fmla="*/ 377 w 313526"/>
                <a:gd name="connsiteY2" fmla="*/ 8599 h 576508"/>
                <a:gd name="connsiteX3" fmla="*/ 36080 w 313526"/>
                <a:gd name="connsiteY3" fmla="*/ 172235 h 576508"/>
                <a:gd name="connsiteX4" fmla="*/ 83684 w 313526"/>
                <a:gd name="connsiteY4" fmla="*/ 312070 h 576508"/>
                <a:gd name="connsiteX5" fmla="*/ 140212 w 313526"/>
                <a:gd name="connsiteY5" fmla="*/ 561987 h 576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3526" h="576508">
                  <a:moveTo>
                    <a:pt x="140212" y="561987"/>
                  </a:moveTo>
                  <a:cubicBezTo>
                    <a:pt x="291949" y="532235"/>
                    <a:pt x="318725" y="288268"/>
                    <a:pt x="312774" y="225789"/>
                  </a:cubicBezTo>
                  <a:cubicBezTo>
                    <a:pt x="291949" y="65128"/>
                    <a:pt x="113436" y="-30079"/>
                    <a:pt x="377" y="8599"/>
                  </a:cubicBezTo>
                  <a:cubicBezTo>
                    <a:pt x="-2597" y="8599"/>
                    <a:pt x="12279" y="124632"/>
                    <a:pt x="36080" y="172235"/>
                  </a:cubicBezTo>
                  <a:cubicBezTo>
                    <a:pt x="56907" y="216863"/>
                    <a:pt x="74757" y="264467"/>
                    <a:pt x="83684" y="312070"/>
                  </a:cubicBezTo>
                  <a:cubicBezTo>
                    <a:pt x="92610" y="365624"/>
                    <a:pt x="45005" y="642318"/>
                    <a:pt x="140212" y="561987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0736D999-AB66-465F-B3CD-0CDAAC088A2B}"/>
                </a:ext>
              </a:extLst>
            </p:cNvPr>
            <p:cNvSpPr/>
            <p:nvPr/>
          </p:nvSpPr>
          <p:spPr>
            <a:xfrm>
              <a:off x="20429943" y="8084136"/>
              <a:ext cx="412400" cy="554568"/>
            </a:xfrm>
            <a:custGeom>
              <a:avLst/>
              <a:gdLst>
                <a:gd name="connsiteX0" fmla="*/ 404627 w 412400"/>
                <a:gd name="connsiteY0" fmla="*/ 179381 h 554568"/>
                <a:gd name="connsiteX1" fmla="*/ 392728 w 412400"/>
                <a:gd name="connsiteY1" fmla="*/ 429298 h 554568"/>
                <a:gd name="connsiteX2" fmla="*/ 246942 w 412400"/>
                <a:gd name="connsiteY2" fmla="*/ 554256 h 554568"/>
                <a:gd name="connsiteX3" fmla="*/ 35703 w 412400"/>
                <a:gd name="connsiteY3" fmla="*/ 414422 h 554568"/>
                <a:gd name="connsiteX4" fmla="*/ 0 w 412400"/>
                <a:gd name="connsiteY4" fmla="*/ 194257 h 554568"/>
                <a:gd name="connsiteX5" fmla="*/ 208264 w 412400"/>
                <a:gd name="connsiteY5" fmla="*/ 868 h 554568"/>
                <a:gd name="connsiteX6" fmla="*/ 404627 w 412400"/>
                <a:gd name="connsiteY6" fmla="*/ 179381 h 55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400" h="554568">
                  <a:moveTo>
                    <a:pt x="404627" y="179381"/>
                  </a:moveTo>
                  <a:cubicBezTo>
                    <a:pt x="404627" y="179381"/>
                    <a:pt x="428431" y="363843"/>
                    <a:pt x="392728" y="429298"/>
                  </a:cubicBezTo>
                  <a:cubicBezTo>
                    <a:pt x="357025" y="494752"/>
                    <a:pt x="297521" y="551282"/>
                    <a:pt x="246942" y="554256"/>
                  </a:cubicBezTo>
                  <a:cubicBezTo>
                    <a:pt x="181487" y="560207"/>
                    <a:pt x="71406" y="479876"/>
                    <a:pt x="35703" y="414422"/>
                  </a:cubicBezTo>
                  <a:cubicBezTo>
                    <a:pt x="0" y="348967"/>
                    <a:pt x="0" y="244835"/>
                    <a:pt x="0" y="194257"/>
                  </a:cubicBezTo>
                  <a:cubicBezTo>
                    <a:pt x="2974" y="102025"/>
                    <a:pt x="29752" y="24670"/>
                    <a:pt x="208264" y="868"/>
                  </a:cubicBezTo>
                  <a:cubicBezTo>
                    <a:pt x="294546" y="-11033"/>
                    <a:pt x="386777" y="102025"/>
                    <a:pt x="404627" y="179381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D654BAD6-0862-4B2B-A741-9AFA712B2183}"/>
                </a:ext>
              </a:extLst>
            </p:cNvPr>
            <p:cNvSpPr/>
            <p:nvPr/>
          </p:nvSpPr>
          <p:spPr>
            <a:xfrm>
              <a:off x="20650109" y="8349797"/>
              <a:ext cx="53553" cy="127933"/>
            </a:xfrm>
            <a:custGeom>
              <a:avLst/>
              <a:gdLst>
                <a:gd name="connsiteX0" fmla="*/ 29752 w 53553"/>
                <a:gd name="connsiteY0" fmla="*/ 127934 h 127933"/>
                <a:gd name="connsiteX1" fmla="*/ 5949 w 53553"/>
                <a:gd name="connsiteY1" fmla="*/ 124959 h 127933"/>
                <a:gd name="connsiteX2" fmla="*/ 0 w 53553"/>
                <a:gd name="connsiteY2" fmla="*/ 119008 h 127933"/>
                <a:gd name="connsiteX3" fmla="*/ 5949 w 53553"/>
                <a:gd name="connsiteY3" fmla="*/ 113058 h 127933"/>
                <a:gd name="connsiteX4" fmla="*/ 44628 w 53553"/>
                <a:gd name="connsiteY4" fmla="*/ 113058 h 127933"/>
                <a:gd name="connsiteX5" fmla="*/ 44628 w 53553"/>
                <a:gd name="connsiteY5" fmla="*/ 110083 h 127933"/>
                <a:gd name="connsiteX6" fmla="*/ 17851 w 53553"/>
                <a:gd name="connsiteY6" fmla="*/ 5950 h 127933"/>
                <a:gd name="connsiteX7" fmla="*/ 20825 w 53553"/>
                <a:gd name="connsiteY7" fmla="*/ 0 h 127933"/>
                <a:gd name="connsiteX8" fmla="*/ 26776 w 53553"/>
                <a:gd name="connsiteY8" fmla="*/ 2975 h 127933"/>
                <a:gd name="connsiteX9" fmla="*/ 53553 w 53553"/>
                <a:gd name="connsiteY9" fmla="*/ 110083 h 127933"/>
                <a:gd name="connsiteX10" fmla="*/ 47603 w 53553"/>
                <a:gd name="connsiteY10" fmla="*/ 121984 h 127933"/>
                <a:gd name="connsiteX11" fmla="*/ 29752 w 53553"/>
                <a:gd name="connsiteY11" fmla="*/ 127934 h 127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553" h="127933">
                  <a:moveTo>
                    <a:pt x="29752" y="127934"/>
                  </a:moveTo>
                  <a:cubicBezTo>
                    <a:pt x="17851" y="127934"/>
                    <a:pt x="8925" y="124959"/>
                    <a:pt x="5949" y="124959"/>
                  </a:cubicBezTo>
                  <a:cubicBezTo>
                    <a:pt x="2974" y="124959"/>
                    <a:pt x="0" y="121984"/>
                    <a:pt x="0" y="119008"/>
                  </a:cubicBezTo>
                  <a:cubicBezTo>
                    <a:pt x="0" y="116033"/>
                    <a:pt x="2974" y="113058"/>
                    <a:pt x="5949" y="113058"/>
                  </a:cubicBezTo>
                  <a:cubicBezTo>
                    <a:pt x="17851" y="116033"/>
                    <a:pt x="38677" y="116033"/>
                    <a:pt x="44628" y="113058"/>
                  </a:cubicBezTo>
                  <a:cubicBezTo>
                    <a:pt x="44628" y="113058"/>
                    <a:pt x="44628" y="110083"/>
                    <a:pt x="44628" y="110083"/>
                  </a:cubicBezTo>
                  <a:cubicBezTo>
                    <a:pt x="44628" y="95207"/>
                    <a:pt x="23801" y="29752"/>
                    <a:pt x="17851" y="5950"/>
                  </a:cubicBezTo>
                  <a:cubicBezTo>
                    <a:pt x="17851" y="2975"/>
                    <a:pt x="17851" y="0"/>
                    <a:pt x="20825" y="0"/>
                  </a:cubicBezTo>
                  <a:cubicBezTo>
                    <a:pt x="23801" y="0"/>
                    <a:pt x="26776" y="0"/>
                    <a:pt x="26776" y="2975"/>
                  </a:cubicBezTo>
                  <a:cubicBezTo>
                    <a:pt x="26776" y="5950"/>
                    <a:pt x="53553" y="89256"/>
                    <a:pt x="53553" y="110083"/>
                  </a:cubicBezTo>
                  <a:cubicBezTo>
                    <a:pt x="53553" y="116033"/>
                    <a:pt x="50577" y="119008"/>
                    <a:pt x="47603" y="121984"/>
                  </a:cubicBezTo>
                  <a:cubicBezTo>
                    <a:pt x="50577" y="124959"/>
                    <a:pt x="41652" y="127934"/>
                    <a:pt x="29752" y="127934"/>
                  </a:cubicBezTo>
                  <a:close/>
                </a:path>
              </a:pathLst>
            </a:custGeom>
            <a:solidFill>
              <a:srgbClr val="E58777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51460494-6492-414A-802E-D8199C4F3BCB}"/>
                </a:ext>
              </a:extLst>
            </p:cNvPr>
            <p:cNvSpPr/>
            <p:nvPr/>
          </p:nvSpPr>
          <p:spPr>
            <a:xfrm>
              <a:off x="20623332" y="8525334"/>
              <a:ext cx="104132" cy="53553"/>
            </a:xfrm>
            <a:custGeom>
              <a:avLst/>
              <a:gdLst>
                <a:gd name="connsiteX0" fmla="*/ 0 w 104132"/>
                <a:gd name="connsiteY0" fmla="*/ 0 h 53553"/>
                <a:gd name="connsiteX1" fmla="*/ 104132 w 104132"/>
                <a:gd name="connsiteY1" fmla="*/ 0 h 53553"/>
                <a:gd name="connsiteX2" fmla="*/ 53553 w 104132"/>
                <a:gd name="connsiteY2" fmla="*/ 53554 h 53553"/>
                <a:gd name="connsiteX3" fmla="*/ 0 w 104132"/>
                <a:gd name="connsiteY3" fmla="*/ 0 h 5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132" h="53553">
                  <a:moveTo>
                    <a:pt x="0" y="0"/>
                  </a:moveTo>
                  <a:cubicBezTo>
                    <a:pt x="53553" y="23802"/>
                    <a:pt x="104132" y="0"/>
                    <a:pt x="104132" y="0"/>
                  </a:cubicBezTo>
                  <a:cubicBezTo>
                    <a:pt x="104132" y="0"/>
                    <a:pt x="89256" y="53554"/>
                    <a:pt x="53553" y="53554"/>
                  </a:cubicBezTo>
                  <a:cubicBezTo>
                    <a:pt x="14876" y="5057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C7AA8157-8444-4803-817F-1D616C56EFB8}"/>
                </a:ext>
              </a:extLst>
            </p:cNvPr>
            <p:cNvSpPr/>
            <p:nvPr/>
          </p:nvSpPr>
          <p:spPr>
            <a:xfrm>
              <a:off x="20741582" y="8319462"/>
              <a:ext cx="40193" cy="39844"/>
            </a:xfrm>
            <a:custGeom>
              <a:avLst/>
              <a:gdLst>
                <a:gd name="connsiteX0" fmla="*/ 758 w 40193"/>
                <a:gd name="connsiteY0" fmla="*/ 24385 h 39844"/>
                <a:gd name="connsiteX1" fmla="*/ 24559 w 40193"/>
                <a:gd name="connsiteY1" fmla="*/ 39261 h 39844"/>
                <a:gd name="connsiteX2" fmla="*/ 39435 w 40193"/>
                <a:gd name="connsiteY2" fmla="*/ 15460 h 39844"/>
                <a:gd name="connsiteX3" fmla="*/ 15634 w 40193"/>
                <a:gd name="connsiteY3" fmla="*/ 584 h 39844"/>
                <a:gd name="connsiteX4" fmla="*/ 758 w 40193"/>
                <a:gd name="connsiteY4" fmla="*/ 24385 h 39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93" h="39844">
                  <a:moveTo>
                    <a:pt x="758" y="24385"/>
                  </a:moveTo>
                  <a:cubicBezTo>
                    <a:pt x="3732" y="33311"/>
                    <a:pt x="12660" y="42236"/>
                    <a:pt x="24559" y="39261"/>
                  </a:cubicBezTo>
                  <a:cubicBezTo>
                    <a:pt x="36461" y="36286"/>
                    <a:pt x="42412" y="27360"/>
                    <a:pt x="39435" y="15460"/>
                  </a:cubicBezTo>
                  <a:cubicBezTo>
                    <a:pt x="36461" y="6534"/>
                    <a:pt x="27536" y="-2392"/>
                    <a:pt x="15634" y="584"/>
                  </a:cubicBezTo>
                  <a:cubicBezTo>
                    <a:pt x="3732" y="3559"/>
                    <a:pt x="-2217" y="15460"/>
                    <a:pt x="758" y="24385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355F4030-80F1-48BD-94E1-0853F34AEFCD}"/>
                </a:ext>
              </a:extLst>
            </p:cNvPr>
            <p:cNvSpPr/>
            <p:nvPr/>
          </p:nvSpPr>
          <p:spPr>
            <a:xfrm>
              <a:off x="20554902" y="8325237"/>
              <a:ext cx="39260" cy="40194"/>
            </a:xfrm>
            <a:custGeom>
              <a:avLst/>
              <a:gdLst>
                <a:gd name="connsiteX0" fmla="*/ 0 w 39260"/>
                <a:gd name="connsiteY0" fmla="*/ 24560 h 40194"/>
                <a:gd name="connsiteX1" fmla="*/ 23801 w 39260"/>
                <a:gd name="connsiteY1" fmla="*/ 39436 h 40194"/>
                <a:gd name="connsiteX2" fmla="*/ 38677 w 39260"/>
                <a:gd name="connsiteY2" fmla="*/ 15634 h 40194"/>
                <a:gd name="connsiteX3" fmla="*/ 14876 w 39260"/>
                <a:gd name="connsiteY3" fmla="*/ 758 h 40194"/>
                <a:gd name="connsiteX4" fmla="*/ 0 w 39260"/>
                <a:gd name="connsiteY4" fmla="*/ 24560 h 4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60" h="40194">
                  <a:moveTo>
                    <a:pt x="0" y="24560"/>
                  </a:moveTo>
                  <a:cubicBezTo>
                    <a:pt x="2974" y="36460"/>
                    <a:pt x="11900" y="42411"/>
                    <a:pt x="23801" y="39436"/>
                  </a:cubicBezTo>
                  <a:cubicBezTo>
                    <a:pt x="32727" y="36460"/>
                    <a:pt x="41652" y="27535"/>
                    <a:pt x="38677" y="15634"/>
                  </a:cubicBezTo>
                  <a:cubicBezTo>
                    <a:pt x="35703" y="3733"/>
                    <a:pt x="26776" y="-2217"/>
                    <a:pt x="14876" y="758"/>
                  </a:cubicBezTo>
                  <a:cubicBezTo>
                    <a:pt x="5951" y="3733"/>
                    <a:pt x="0" y="15634"/>
                    <a:pt x="0" y="24560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F4F16513-E184-4F02-9A68-4EE024352C2F}"/>
                </a:ext>
              </a:extLst>
            </p:cNvPr>
            <p:cNvSpPr/>
            <p:nvPr/>
          </p:nvSpPr>
          <p:spPr>
            <a:xfrm>
              <a:off x="20714330" y="8275417"/>
              <a:ext cx="89744" cy="29752"/>
            </a:xfrm>
            <a:custGeom>
              <a:avLst/>
              <a:gdLst>
                <a:gd name="connsiteX0" fmla="*/ 81563 w 89744"/>
                <a:gd name="connsiteY0" fmla="*/ 29752 h 29752"/>
                <a:gd name="connsiteX1" fmla="*/ 75612 w 89744"/>
                <a:gd name="connsiteY1" fmla="*/ 26777 h 29752"/>
                <a:gd name="connsiteX2" fmla="*/ 10159 w 89744"/>
                <a:gd name="connsiteY2" fmla="*/ 20826 h 29752"/>
                <a:gd name="connsiteX3" fmla="*/ 1232 w 89744"/>
                <a:gd name="connsiteY3" fmla="*/ 17851 h 29752"/>
                <a:gd name="connsiteX4" fmla="*/ 4208 w 89744"/>
                <a:gd name="connsiteY4" fmla="*/ 8926 h 29752"/>
                <a:gd name="connsiteX5" fmla="*/ 87514 w 89744"/>
                <a:gd name="connsiteY5" fmla="*/ 17851 h 29752"/>
                <a:gd name="connsiteX6" fmla="*/ 87514 w 89744"/>
                <a:gd name="connsiteY6" fmla="*/ 29752 h 29752"/>
                <a:gd name="connsiteX7" fmla="*/ 81563 w 89744"/>
                <a:gd name="connsiteY7" fmla="*/ 29752 h 29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29752">
                  <a:moveTo>
                    <a:pt x="81563" y="29752"/>
                  </a:moveTo>
                  <a:cubicBezTo>
                    <a:pt x="78588" y="29752"/>
                    <a:pt x="78588" y="29752"/>
                    <a:pt x="75612" y="26777"/>
                  </a:cubicBezTo>
                  <a:cubicBezTo>
                    <a:pt x="51811" y="0"/>
                    <a:pt x="13134" y="17851"/>
                    <a:pt x="10159" y="20826"/>
                  </a:cubicBezTo>
                  <a:cubicBezTo>
                    <a:pt x="7183" y="23802"/>
                    <a:pt x="1232" y="20826"/>
                    <a:pt x="1232" y="17851"/>
                  </a:cubicBezTo>
                  <a:cubicBezTo>
                    <a:pt x="-1742" y="14876"/>
                    <a:pt x="1232" y="8926"/>
                    <a:pt x="4208" y="8926"/>
                  </a:cubicBezTo>
                  <a:cubicBezTo>
                    <a:pt x="22059" y="0"/>
                    <a:pt x="60736" y="-8926"/>
                    <a:pt x="87514" y="17851"/>
                  </a:cubicBezTo>
                  <a:cubicBezTo>
                    <a:pt x="90488" y="20826"/>
                    <a:pt x="90488" y="26777"/>
                    <a:pt x="87514" y="29752"/>
                  </a:cubicBezTo>
                  <a:cubicBezTo>
                    <a:pt x="87514" y="29752"/>
                    <a:pt x="84539" y="29752"/>
                    <a:pt x="81563" y="29752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74828961-2984-4E1F-87A5-90CD663C5561}"/>
                </a:ext>
              </a:extLst>
            </p:cNvPr>
            <p:cNvSpPr/>
            <p:nvPr/>
          </p:nvSpPr>
          <p:spPr>
            <a:xfrm>
              <a:off x="20528869" y="8272745"/>
              <a:ext cx="89744" cy="35399"/>
            </a:xfrm>
            <a:custGeom>
              <a:avLst/>
              <a:gdLst>
                <a:gd name="connsiteX0" fmla="*/ 8181 w 89744"/>
                <a:gd name="connsiteY0" fmla="*/ 35400 h 35399"/>
                <a:gd name="connsiteX1" fmla="*/ 2232 w 89744"/>
                <a:gd name="connsiteY1" fmla="*/ 32424 h 35399"/>
                <a:gd name="connsiteX2" fmla="*/ 2232 w 89744"/>
                <a:gd name="connsiteY2" fmla="*/ 20524 h 35399"/>
                <a:gd name="connsiteX3" fmla="*/ 85538 w 89744"/>
                <a:gd name="connsiteY3" fmla="*/ 11598 h 35399"/>
                <a:gd name="connsiteX4" fmla="*/ 88512 w 89744"/>
                <a:gd name="connsiteY4" fmla="*/ 23499 h 35399"/>
                <a:gd name="connsiteX5" fmla="*/ 76612 w 89744"/>
                <a:gd name="connsiteY5" fmla="*/ 26474 h 35399"/>
                <a:gd name="connsiteX6" fmla="*/ 11157 w 89744"/>
                <a:gd name="connsiteY6" fmla="*/ 32424 h 35399"/>
                <a:gd name="connsiteX7" fmla="*/ 8181 w 89744"/>
                <a:gd name="connsiteY7" fmla="*/ 35400 h 3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5399">
                  <a:moveTo>
                    <a:pt x="8181" y="35400"/>
                  </a:moveTo>
                  <a:cubicBezTo>
                    <a:pt x="5207" y="35400"/>
                    <a:pt x="5207" y="35400"/>
                    <a:pt x="2232" y="32424"/>
                  </a:cubicBezTo>
                  <a:cubicBezTo>
                    <a:pt x="-744" y="29449"/>
                    <a:pt x="-744" y="23499"/>
                    <a:pt x="2232" y="20524"/>
                  </a:cubicBezTo>
                  <a:cubicBezTo>
                    <a:pt x="14132" y="5648"/>
                    <a:pt x="49835" y="-12204"/>
                    <a:pt x="85538" y="11598"/>
                  </a:cubicBezTo>
                  <a:cubicBezTo>
                    <a:pt x="88512" y="14573"/>
                    <a:pt x="91488" y="17548"/>
                    <a:pt x="88512" y="23499"/>
                  </a:cubicBezTo>
                  <a:cubicBezTo>
                    <a:pt x="85538" y="26474"/>
                    <a:pt x="82561" y="29449"/>
                    <a:pt x="76612" y="26474"/>
                  </a:cubicBezTo>
                  <a:cubicBezTo>
                    <a:pt x="40910" y="2672"/>
                    <a:pt x="14132" y="32424"/>
                    <a:pt x="11157" y="32424"/>
                  </a:cubicBezTo>
                  <a:cubicBezTo>
                    <a:pt x="11157" y="32424"/>
                    <a:pt x="11157" y="35400"/>
                    <a:pt x="8181" y="35400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1D48F861-571B-4663-8646-9E300426BB0F}"/>
                </a:ext>
              </a:extLst>
            </p:cNvPr>
            <p:cNvSpPr/>
            <p:nvPr/>
          </p:nvSpPr>
          <p:spPr>
            <a:xfrm>
              <a:off x="20593498" y="8035309"/>
              <a:ext cx="268074" cy="269860"/>
            </a:xfrm>
            <a:custGeom>
              <a:avLst/>
              <a:gdLst>
                <a:gd name="connsiteX0" fmla="*/ 3056 w 268074"/>
                <a:gd name="connsiteY0" fmla="*/ 2091 h 269860"/>
                <a:gd name="connsiteX1" fmla="*/ 35785 w 268074"/>
                <a:gd name="connsiteY1" fmla="*/ 144901 h 269860"/>
                <a:gd name="connsiteX2" fmla="*/ 267850 w 268074"/>
                <a:gd name="connsiteY2" fmla="*/ 269860 h 269860"/>
                <a:gd name="connsiteX3" fmla="*/ 3056 w 268074"/>
                <a:gd name="connsiteY3" fmla="*/ 2091 h 269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74" h="269860">
                  <a:moveTo>
                    <a:pt x="3056" y="2091"/>
                  </a:moveTo>
                  <a:cubicBezTo>
                    <a:pt x="3056" y="2091"/>
                    <a:pt x="-14794" y="106224"/>
                    <a:pt x="35785" y="144901"/>
                  </a:cubicBezTo>
                  <a:cubicBezTo>
                    <a:pt x="35785" y="144901"/>
                    <a:pt x="241073" y="186554"/>
                    <a:pt x="267850" y="269860"/>
                  </a:cubicBezTo>
                  <a:cubicBezTo>
                    <a:pt x="267850" y="269860"/>
                    <a:pt x="285701" y="-27661"/>
                    <a:pt x="3056" y="2091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3856CCC7-CDD3-4242-933D-902A09B0EF9A}"/>
                </a:ext>
              </a:extLst>
            </p:cNvPr>
            <p:cNvSpPr/>
            <p:nvPr/>
          </p:nvSpPr>
          <p:spPr>
            <a:xfrm>
              <a:off x="20339330" y="8037401"/>
              <a:ext cx="289953" cy="342597"/>
            </a:xfrm>
            <a:custGeom>
              <a:avLst/>
              <a:gdLst>
                <a:gd name="connsiteX0" fmla="*/ 289953 w 289953"/>
                <a:gd name="connsiteY0" fmla="*/ 142810 h 342597"/>
                <a:gd name="connsiteX1" fmla="*/ 153092 w 289953"/>
                <a:gd name="connsiteY1" fmla="*/ 196364 h 342597"/>
                <a:gd name="connsiteX2" fmla="*/ 96565 w 289953"/>
                <a:gd name="connsiteY2" fmla="*/ 312397 h 342597"/>
                <a:gd name="connsiteX3" fmla="*/ 10283 w 289953"/>
                <a:gd name="connsiteY3" fmla="*/ 333223 h 342597"/>
                <a:gd name="connsiteX4" fmla="*/ 260201 w 289953"/>
                <a:gd name="connsiteY4" fmla="*/ 0 h 342597"/>
                <a:gd name="connsiteX5" fmla="*/ 289953 w 289953"/>
                <a:gd name="connsiteY5" fmla="*/ 142810 h 34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953" h="342597">
                  <a:moveTo>
                    <a:pt x="289953" y="142810"/>
                  </a:moveTo>
                  <a:cubicBezTo>
                    <a:pt x="289953" y="142810"/>
                    <a:pt x="200697" y="190413"/>
                    <a:pt x="153092" y="196364"/>
                  </a:cubicBezTo>
                  <a:cubicBezTo>
                    <a:pt x="105490" y="202314"/>
                    <a:pt x="96565" y="312397"/>
                    <a:pt x="96565" y="312397"/>
                  </a:cubicBezTo>
                  <a:cubicBezTo>
                    <a:pt x="96565" y="312397"/>
                    <a:pt x="25159" y="362975"/>
                    <a:pt x="10283" y="333223"/>
                  </a:cubicBezTo>
                  <a:cubicBezTo>
                    <a:pt x="-22444" y="267769"/>
                    <a:pt x="13259" y="0"/>
                    <a:pt x="260201" y="0"/>
                  </a:cubicBezTo>
                  <a:cubicBezTo>
                    <a:pt x="257225" y="0"/>
                    <a:pt x="266152" y="136860"/>
                    <a:pt x="289953" y="14281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B828CA04-D526-4B0D-98A2-5D4064AE9C34}"/>
                </a:ext>
              </a:extLst>
            </p:cNvPr>
            <p:cNvSpPr/>
            <p:nvPr/>
          </p:nvSpPr>
          <p:spPr>
            <a:xfrm>
              <a:off x="20528125" y="8569962"/>
              <a:ext cx="216446" cy="77355"/>
            </a:xfrm>
            <a:custGeom>
              <a:avLst/>
              <a:gdLst>
                <a:gd name="connsiteX0" fmla="*/ 145786 w 216446"/>
                <a:gd name="connsiteY0" fmla="*/ 77356 h 77355"/>
                <a:gd name="connsiteX1" fmla="*/ 136861 w 216446"/>
                <a:gd name="connsiteY1" fmla="*/ 77356 h 77355"/>
                <a:gd name="connsiteX2" fmla="*/ 2976 w 216446"/>
                <a:gd name="connsiteY2" fmla="*/ 11901 h 77355"/>
                <a:gd name="connsiteX3" fmla="*/ 0 w 216446"/>
                <a:gd name="connsiteY3" fmla="*/ 2975 h 77355"/>
                <a:gd name="connsiteX4" fmla="*/ 8925 w 216446"/>
                <a:gd name="connsiteY4" fmla="*/ 0 h 77355"/>
                <a:gd name="connsiteX5" fmla="*/ 136861 w 216446"/>
                <a:gd name="connsiteY5" fmla="*/ 65455 h 77355"/>
                <a:gd name="connsiteX6" fmla="*/ 205290 w 216446"/>
                <a:gd name="connsiteY6" fmla="*/ 41653 h 77355"/>
                <a:gd name="connsiteX7" fmla="*/ 214215 w 216446"/>
                <a:gd name="connsiteY7" fmla="*/ 41653 h 77355"/>
                <a:gd name="connsiteX8" fmla="*/ 214215 w 216446"/>
                <a:gd name="connsiteY8" fmla="*/ 50579 h 77355"/>
                <a:gd name="connsiteX9" fmla="*/ 145786 w 216446"/>
                <a:gd name="connsiteY9" fmla="*/ 77356 h 77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446" h="77355">
                  <a:moveTo>
                    <a:pt x="145786" y="77356"/>
                  </a:moveTo>
                  <a:cubicBezTo>
                    <a:pt x="142810" y="77356"/>
                    <a:pt x="139835" y="77356"/>
                    <a:pt x="136861" y="77356"/>
                  </a:cubicBezTo>
                  <a:cubicBezTo>
                    <a:pt x="95207" y="71405"/>
                    <a:pt x="5951" y="11901"/>
                    <a:pt x="2976" y="11901"/>
                  </a:cubicBezTo>
                  <a:cubicBezTo>
                    <a:pt x="0" y="8926"/>
                    <a:pt x="0" y="5951"/>
                    <a:pt x="0" y="2975"/>
                  </a:cubicBezTo>
                  <a:cubicBezTo>
                    <a:pt x="2976" y="0"/>
                    <a:pt x="5951" y="0"/>
                    <a:pt x="8925" y="0"/>
                  </a:cubicBezTo>
                  <a:cubicBezTo>
                    <a:pt x="8925" y="0"/>
                    <a:pt x="101158" y="59504"/>
                    <a:pt x="136861" y="65455"/>
                  </a:cubicBezTo>
                  <a:cubicBezTo>
                    <a:pt x="172562" y="71405"/>
                    <a:pt x="205290" y="41653"/>
                    <a:pt x="205290" y="41653"/>
                  </a:cubicBezTo>
                  <a:cubicBezTo>
                    <a:pt x="208264" y="38678"/>
                    <a:pt x="211241" y="38678"/>
                    <a:pt x="214215" y="41653"/>
                  </a:cubicBezTo>
                  <a:cubicBezTo>
                    <a:pt x="217190" y="44628"/>
                    <a:pt x="217190" y="47603"/>
                    <a:pt x="214215" y="50579"/>
                  </a:cubicBezTo>
                  <a:cubicBezTo>
                    <a:pt x="214215" y="50579"/>
                    <a:pt x="184463" y="77356"/>
                    <a:pt x="145786" y="77356"/>
                  </a:cubicBezTo>
                  <a:close/>
                </a:path>
              </a:pathLst>
            </a:custGeom>
            <a:solidFill>
              <a:srgbClr val="E58777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B9E6C585-AEFB-4B30-8D8B-627DD28EB243}"/>
                </a:ext>
              </a:extLst>
            </p:cNvPr>
            <p:cNvSpPr/>
            <p:nvPr/>
          </p:nvSpPr>
          <p:spPr>
            <a:xfrm>
              <a:off x="20392911" y="8336448"/>
              <a:ext cx="77033" cy="111296"/>
            </a:xfrm>
            <a:custGeom>
              <a:avLst/>
              <a:gdLst>
                <a:gd name="connsiteX0" fmla="*/ 63810 w 77033"/>
                <a:gd name="connsiteY0" fmla="*/ 16325 h 111296"/>
                <a:gd name="connsiteX1" fmla="*/ 7280 w 77033"/>
                <a:gd name="connsiteY1" fmla="*/ 7399 h 111296"/>
                <a:gd name="connsiteX2" fmla="*/ 63810 w 77033"/>
                <a:gd name="connsiteY2" fmla="*/ 108556 h 111296"/>
                <a:gd name="connsiteX3" fmla="*/ 63810 w 77033"/>
                <a:gd name="connsiteY3" fmla="*/ 16325 h 111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033" h="111296">
                  <a:moveTo>
                    <a:pt x="63810" y="16325"/>
                  </a:moveTo>
                  <a:cubicBezTo>
                    <a:pt x="63810" y="16325"/>
                    <a:pt x="31082" y="-13427"/>
                    <a:pt x="7280" y="7399"/>
                  </a:cubicBezTo>
                  <a:cubicBezTo>
                    <a:pt x="-16521" y="25250"/>
                    <a:pt x="22156" y="129382"/>
                    <a:pt x="63810" y="108556"/>
                  </a:cubicBezTo>
                  <a:cubicBezTo>
                    <a:pt x="93562" y="87730"/>
                    <a:pt x="63810" y="16325"/>
                    <a:pt x="63810" y="16325"/>
                  </a:cubicBezTo>
                  <a:close/>
                </a:path>
              </a:pathLst>
            </a:custGeom>
            <a:solidFill>
              <a:srgbClr val="F5A39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82D1E670-4840-45D5-9AF0-278CE1A5F068}"/>
                </a:ext>
              </a:extLst>
            </p:cNvPr>
            <p:cNvSpPr/>
            <p:nvPr/>
          </p:nvSpPr>
          <p:spPr>
            <a:xfrm>
              <a:off x="20750033" y="8217656"/>
              <a:ext cx="144041" cy="158918"/>
            </a:xfrm>
            <a:custGeom>
              <a:avLst/>
              <a:gdLst>
                <a:gd name="connsiteX0" fmla="*/ 138093 w 144041"/>
                <a:gd name="connsiteY0" fmla="*/ 158918 h 158918"/>
                <a:gd name="connsiteX1" fmla="*/ 132142 w 144041"/>
                <a:gd name="connsiteY1" fmla="*/ 155943 h 158918"/>
                <a:gd name="connsiteX2" fmla="*/ 4208 w 144041"/>
                <a:gd name="connsiteY2" fmla="*/ 10158 h 158918"/>
                <a:gd name="connsiteX3" fmla="*/ 1232 w 144041"/>
                <a:gd name="connsiteY3" fmla="*/ 4207 h 158918"/>
                <a:gd name="connsiteX4" fmla="*/ 7183 w 144041"/>
                <a:gd name="connsiteY4" fmla="*/ 1232 h 158918"/>
                <a:gd name="connsiteX5" fmla="*/ 144042 w 144041"/>
                <a:gd name="connsiteY5" fmla="*/ 155943 h 158918"/>
                <a:gd name="connsiteX6" fmla="*/ 138093 w 144041"/>
                <a:gd name="connsiteY6" fmla="*/ 158918 h 158918"/>
                <a:gd name="connsiteX7" fmla="*/ 138093 w 144041"/>
                <a:gd name="connsiteY7" fmla="*/ 158918 h 158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041" h="158918">
                  <a:moveTo>
                    <a:pt x="138093" y="158918"/>
                  </a:moveTo>
                  <a:cubicBezTo>
                    <a:pt x="135116" y="158918"/>
                    <a:pt x="132142" y="155943"/>
                    <a:pt x="132142" y="155943"/>
                  </a:cubicBezTo>
                  <a:cubicBezTo>
                    <a:pt x="108341" y="36935"/>
                    <a:pt x="4208" y="10158"/>
                    <a:pt x="4208" y="10158"/>
                  </a:cubicBezTo>
                  <a:cubicBezTo>
                    <a:pt x="1232" y="10158"/>
                    <a:pt x="-1742" y="7183"/>
                    <a:pt x="1232" y="4207"/>
                  </a:cubicBezTo>
                  <a:cubicBezTo>
                    <a:pt x="1232" y="1232"/>
                    <a:pt x="4208" y="-1743"/>
                    <a:pt x="7183" y="1232"/>
                  </a:cubicBezTo>
                  <a:cubicBezTo>
                    <a:pt x="7183" y="1232"/>
                    <a:pt x="120240" y="30985"/>
                    <a:pt x="144042" y="155943"/>
                  </a:cubicBezTo>
                  <a:cubicBezTo>
                    <a:pt x="144042" y="155943"/>
                    <a:pt x="141067" y="158918"/>
                    <a:pt x="138093" y="158918"/>
                  </a:cubicBezTo>
                  <a:cubicBezTo>
                    <a:pt x="138093" y="158918"/>
                    <a:pt x="138093" y="158918"/>
                    <a:pt x="138093" y="158918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9" name="图形 1">
              <a:extLst>
                <a:ext uri="{FF2B5EF4-FFF2-40B4-BE49-F238E27FC236}">
                  <a16:creationId xmlns:a16="http://schemas.microsoft.com/office/drawing/2014/main" id="{6FB563BF-CA5B-4BA1-B78F-28C8589F0C0E}"/>
                </a:ext>
              </a:extLst>
            </p:cNvPr>
            <p:cNvGrpSpPr/>
            <p:nvPr/>
          </p:nvGrpSpPr>
          <p:grpSpPr>
            <a:xfrm>
              <a:off x="20158635" y="7912304"/>
              <a:ext cx="732465" cy="312534"/>
              <a:chOff x="20158635" y="7912304"/>
              <a:chExt cx="732465" cy="312534"/>
            </a:xfrm>
          </p:grpSpPr>
          <p:grpSp>
            <p:nvGrpSpPr>
              <p:cNvPr id="96" name="图形 1">
                <a:extLst>
                  <a:ext uri="{FF2B5EF4-FFF2-40B4-BE49-F238E27FC236}">
                    <a16:creationId xmlns:a16="http://schemas.microsoft.com/office/drawing/2014/main" id="{678F16BE-4217-4EF4-B51A-B0F0244D4372}"/>
                  </a:ext>
                </a:extLst>
              </p:cNvPr>
              <p:cNvGrpSpPr/>
              <p:nvPr/>
            </p:nvGrpSpPr>
            <p:grpSpPr>
              <a:xfrm>
                <a:off x="20158635" y="7912304"/>
                <a:ext cx="732465" cy="306315"/>
                <a:chOff x="20158635" y="7912304"/>
                <a:chExt cx="732465" cy="306315"/>
              </a:xfrm>
            </p:grpSpPr>
            <p:sp>
              <p:nvSpPr>
                <p:cNvPr id="99" name="任意多边形: 形状 98">
                  <a:extLst>
                    <a:ext uri="{FF2B5EF4-FFF2-40B4-BE49-F238E27FC236}">
                      <a16:creationId xmlns:a16="http://schemas.microsoft.com/office/drawing/2014/main" id="{3041D640-73C3-495A-B1A9-52C0779135AE}"/>
                    </a:ext>
                  </a:extLst>
                </p:cNvPr>
                <p:cNvSpPr/>
                <p:nvPr/>
              </p:nvSpPr>
              <p:spPr>
                <a:xfrm>
                  <a:off x="20310935" y="7912304"/>
                  <a:ext cx="580165" cy="306315"/>
                </a:xfrm>
                <a:custGeom>
                  <a:avLst/>
                  <a:gdLst>
                    <a:gd name="connsiteX0" fmla="*/ 413554 w 580165"/>
                    <a:gd name="connsiteY0" fmla="*/ 17989 h 306315"/>
                    <a:gd name="connsiteX1" fmla="*/ 2974 w 580165"/>
                    <a:gd name="connsiteY1" fmla="*/ 131046 h 306315"/>
                    <a:gd name="connsiteX2" fmla="*/ 0 w 580165"/>
                    <a:gd name="connsiteY2" fmla="*/ 139972 h 306315"/>
                    <a:gd name="connsiteX3" fmla="*/ 71406 w 580165"/>
                    <a:gd name="connsiteY3" fmla="*/ 196501 h 306315"/>
                    <a:gd name="connsiteX4" fmla="*/ 50579 w 580165"/>
                    <a:gd name="connsiteY4" fmla="*/ 276832 h 306315"/>
                    <a:gd name="connsiteX5" fmla="*/ 50579 w 580165"/>
                    <a:gd name="connsiteY5" fmla="*/ 282782 h 306315"/>
                    <a:gd name="connsiteX6" fmla="*/ 56530 w 580165"/>
                    <a:gd name="connsiteY6" fmla="*/ 285757 h 306315"/>
                    <a:gd name="connsiteX7" fmla="*/ 371901 w 580165"/>
                    <a:gd name="connsiteY7" fmla="*/ 303609 h 306315"/>
                    <a:gd name="connsiteX8" fmla="*/ 574215 w 580165"/>
                    <a:gd name="connsiteY8" fmla="*/ 264931 h 306315"/>
                    <a:gd name="connsiteX9" fmla="*/ 580165 w 580165"/>
                    <a:gd name="connsiteY9" fmla="*/ 258980 h 306315"/>
                    <a:gd name="connsiteX10" fmla="*/ 413554 w 580165"/>
                    <a:gd name="connsiteY10" fmla="*/ 17989 h 306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80165" h="306315">
                      <a:moveTo>
                        <a:pt x="413554" y="17989"/>
                      </a:moveTo>
                      <a:cubicBezTo>
                        <a:pt x="261818" y="-26640"/>
                        <a:pt x="110083" y="12038"/>
                        <a:pt x="2974" y="131046"/>
                      </a:cubicBezTo>
                      <a:cubicBezTo>
                        <a:pt x="0" y="134022"/>
                        <a:pt x="0" y="136997"/>
                        <a:pt x="0" y="139972"/>
                      </a:cubicBezTo>
                      <a:cubicBezTo>
                        <a:pt x="0" y="142948"/>
                        <a:pt x="20827" y="187576"/>
                        <a:pt x="71406" y="196501"/>
                      </a:cubicBezTo>
                      <a:cubicBezTo>
                        <a:pt x="56530" y="235179"/>
                        <a:pt x="50579" y="273856"/>
                        <a:pt x="50579" y="276832"/>
                      </a:cubicBezTo>
                      <a:cubicBezTo>
                        <a:pt x="50579" y="279807"/>
                        <a:pt x="50579" y="279807"/>
                        <a:pt x="50579" y="282782"/>
                      </a:cubicBezTo>
                      <a:cubicBezTo>
                        <a:pt x="50579" y="285757"/>
                        <a:pt x="53553" y="285757"/>
                        <a:pt x="56530" y="285757"/>
                      </a:cubicBezTo>
                      <a:cubicBezTo>
                        <a:pt x="187438" y="306584"/>
                        <a:pt x="291570" y="309559"/>
                        <a:pt x="371901" y="303609"/>
                      </a:cubicBezTo>
                      <a:cubicBezTo>
                        <a:pt x="502811" y="294683"/>
                        <a:pt x="568264" y="264931"/>
                        <a:pt x="574215" y="264931"/>
                      </a:cubicBezTo>
                      <a:cubicBezTo>
                        <a:pt x="577191" y="264931"/>
                        <a:pt x="580165" y="261956"/>
                        <a:pt x="580165" y="258980"/>
                      </a:cubicBezTo>
                      <a:cubicBezTo>
                        <a:pt x="577191" y="253030"/>
                        <a:pt x="583140" y="68567"/>
                        <a:pt x="413554" y="1798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0" name="任意多边形: 形状 99">
                  <a:extLst>
                    <a:ext uri="{FF2B5EF4-FFF2-40B4-BE49-F238E27FC236}">
                      <a16:creationId xmlns:a16="http://schemas.microsoft.com/office/drawing/2014/main" id="{12D2170F-E815-4287-A777-FE770EE9AB40}"/>
                    </a:ext>
                  </a:extLst>
                </p:cNvPr>
                <p:cNvSpPr/>
                <p:nvPr/>
              </p:nvSpPr>
              <p:spPr>
                <a:xfrm>
                  <a:off x="20164583" y="7941628"/>
                  <a:ext cx="205855" cy="205855"/>
                </a:xfrm>
                <a:custGeom>
                  <a:avLst/>
                  <a:gdLst>
                    <a:gd name="connsiteX0" fmla="*/ 182055 w 205855"/>
                    <a:gd name="connsiteY0" fmla="*/ 36268 h 205855"/>
                    <a:gd name="connsiteX1" fmla="*/ 113625 w 205855"/>
                    <a:gd name="connsiteY1" fmla="*/ 566 h 205855"/>
                    <a:gd name="connsiteX2" fmla="*/ 566 w 205855"/>
                    <a:gd name="connsiteY2" fmla="*/ 92797 h 205855"/>
                    <a:gd name="connsiteX3" fmla="*/ 92798 w 205855"/>
                    <a:gd name="connsiteY3" fmla="*/ 205855 h 205855"/>
                    <a:gd name="connsiteX4" fmla="*/ 110649 w 205855"/>
                    <a:gd name="connsiteY4" fmla="*/ 205855 h 205855"/>
                    <a:gd name="connsiteX5" fmla="*/ 170153 w 205855"/>
                    <a:gd name="connsiteY5" fmla="*/ 182053 h 205855"/>
                    <a:gd name="connsiteX6" fmla="*/ 205856 w 205855"/>
                    <a:gd name="connsiteY6" fmla="*/ 113624 h 205855"/>
                    <a:gd name="connsiteX7" fmla="*/ 182055 w 205855"/>
                    <a:gd name="connsiteY7" fmla="*/ 36268 h 205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5855" h="205855">
                      <a:moveTo>
                        <a:pt x="182055" y="36268"/>
                      </a:moveTo>
                      <a:cubicBezTo>
                        <a:pt x="164202" y="15442"/>
                        <a:pt x="140401" y="566"/>
                        <a:pt x="113625" y="566"/>
                      </a:cubicBezTo>
                      <a:cubicBezTo>
                        <a:pt x="57096" y="-5384"/>
                        <a:pt x="6517" y="36268"/>
                        <a:pt x="566" y="92797"/>
                      </a:cubicBezTo>
                      <a:cubicBezTo>
                        <a:pt x="-5383" y="149326"/>
                        <a:pt x="36269" y="199905"/>
                        <a:pt x="92798" y="205855"/>
                      </a:cubicBezTo>
                      <a:cubicBezTo>
                        <a:pt x="98749" y="205855"/>
                        <a:pt x="104698" y="205855"/>
                        <a:pt x="110649" y="205855"/>
                      </a:cubicBezTo>
                      <a:cubicBezTo>
                        <a:pt x="131476" y="205855"/>
                        <a:pt x="152302" y="196929"/>
                        <a:pt x="170153" y="182053"/>
                      </a:cubicBezTo>
                      <a:cubicBezTo>
                        <a:pt x="190980" y="164202"/>
                        <a:pt x="205856" y="140401"/>
                        <a:pt x="205856" y="113624"/>
                      </a:cubicBezTo>
                      <a:cubicBezTo>
                        <a:pt x="205856" y="83872"/>
                        <a:pt x="196931" y="57095"/>
                        <a:pt x="182055" y="36268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1" name="任意多边形: 形状 100">
                  <a:extLst>
                    <a:ext uri="{FF2B5EF4-FFF2-40B4-BE49-F238E27FC236}">
                      <a16:creationId xmlns:a16="http://schemas.microsoft.com/office/drawing/2014/main" id="{C7B2DF2B-ED2F-4301-B5CC-11161F5830B2}"/>
                    </a:ext>
                  </a:extLst>
                </p:cNvPr>
                <p:cNvSpPr/>
                <p:nvPr/>
              </p:nvSpPr>
              <p:spPr>
                <a:xfrm>
                  <a:off x="20158635" y="7935680"/>
                  <a:ext cx="215343" cy="214778"/>
                </a:xfrm>
                <a:custGeom>
                  <a:avLst/>
                  <a:gdLst>
                    <a:gd name="connsiteX0" fmla="*/ 107672 w 215343"/>
                    <a:gd name="connsiteY0" fmla="*/ 214779 h 214778"/>
                    <a:gd name="connsiteX1" fmla="*/ 95771 w 215343"/>
                    <a:gd name="connsiteY1" fmla="*/ 214779 h 214778"/>
                    <a:gd name="connsiteX2" fmla="*/ 565 w 215343"/>
                    <a:gd name="connsiteY2" fmla="*/ 95770 h 214778"/>
                    <a:gd name="connsiteX3" fmla="*/ 39243 w 215343"/>
                    <a:gd name="connsiteY3" fmla="*/ 24365 h 214778"/>
                    <a:gd name="connsiteX4" fmla="*/ 119574 w 215343"/>
                    <a:gd name="connsiteY4" fmla="*/ 564 h 214778"/>
                    <a:gd name="connsiteX5" fmla="*/ 190978 w 215343"/>
                    <a:gd name="connsiteY5" fmla="*/ 39241 h 214778"/>
                    <a:gd name="connsiteX6" fmla="*/ 190978 w 215343"/>
                    <a:gd name="connsiteY6" fmla="*/ 39241 h 214778"/>
                    <a:gd name="connsiteX7" fmla="*/ 214779 w 215343"/>
                    <a:gd name="connsiteY7" fmla="*/ 119572 h 214778"/>
                    <a:gd name="connsiteX8" fmla="*/ 176102 w 215343"/>
                    <a:gd name="connsiteY8" fmla="*/ 190977 h 214778"/>
                    <a:gd name="connsiteX9" fmla="*/ 113623 w 215343"/>
                    <a:gd name="connsiteY9" fmla="*/ 214779 h 214778"/>
                    <a:gd name="connsiteX10" fmla="*/ 107672 w 215343"/>
                    <a:gd name="connsiteY10" fmla="*/ 214779 h 214778"/>
                    <a:gd name="connsiteX11" fmla="*/ 107672 w 215343"/>
                    <a:gd name="connsiteY11" fmla="*/ 12465 h 214778"/>
                    <a:gd name="connsiteX12" fmla="*/ 48168 w 215343"/>
                    <a:gd name="connsiteY12" fmla="*/ 33291 h 214778"/>
                    <a:gd name="connsiteX13" fmla="*/ 12465 w 215343"/>
                    <a:gd name="connsiteY13" fmla="*/ 98745 h 214778"/>
                    <a:gd name="connsiteX14" fmla="*/ 98747 w 215343"/>
                    <a:gd name="connsiteY14" fmla="*/ 205853 h 214778"/>
                    <a:gd name="connsiteX15" fmla="*/ 113623 w 215343"/>
                    <a:gd name="connsiteY15" fmla="*/ 205853 h 214778"/>
                    <a:gd name="connsiteX16" fmla="*/ 170151 w 215343"/>
                    <a:gd name="connsiteY16" fmla="*/ 185027 h 214778"/>
                    <a:gd name="connsiteX17" fmla="*/ 205854 w 215343"/>
                    <a:gd name="connsiteY17" fmla="*/ 119572 h 214778"/>
                    <a:gd name="connsiteX18" fmla="*/ 185027 w 215343"/>
                    <a:gd name="connsiteY18" fmla="*/ 48167 h 214778"/>
                    <a:gd name="connsiteX19" fmla="*/ 185027 w 215343"/>
                    <a:gd name="connsiteY19" fmla="*/ 48167 h 214778"/>
                    <a:gd name="connsiteX20" fmla="*/ 119574 w 215343"/>
                    <a:gd name="connsiteY20" fmla="*/ 12465 h 214778"/>
                    <a:gd name="connsiteX21" fmla="*/ 107672 w 215343"/>
                    <a:gd name="connsiteY21" fmla="*/ 12465 h 214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15343" h="214778">
                      <a:moveTo>
                        <a:pt x="107672" y="214779"/>
                      </a:moveTo>
                      <a:cubicBezTo>
                        <a:pt x="104698" y="214779"/>
                        <a:pt x="101721" y="214779"/>
                        <a:pt x="95771" y="214779"/>
                      </a:cubicBezTo>
                      <a:cubicBezTo>
                        <a:pt x="36266" y="208828"/>
                        <a:pt x="-5385" y="155275"/>
                        <a:pt x="565" y="95770"/>
                      </a:cubicBezTo>
                      <a:cubicBezTo>
                        <a:pt x="3540" y="66018"/>
                        <a:pt x="18416" y="42217"/>
                        <a:pt x="39243" y="24365"/>
                      </a:cubicBezTo>
                      <a:cubicBezTo>
                        <a:pt x="63044" y="6514"/>
                        <a:pt x="89822" y="-2412"/>
                        <a:pt x="119574" y="564"/>
                      </a:cubicBezTo>
                      <a:cubicBezTo>
                        <a:pt x="149326" y="3539"/>
                        <a:pt x="173127" y="18415"/>
                        <a:pt x="190978" y="39241"/>
                      </a:cubicBezTo>
                      <a:lnTo>
                        <a:pt x="190978" y="39241"/>
                      </a:lnTo>
                      <a:cubicBezTo>
                        <a:pt x="208830" y="63043"/>
                        <a:pt x="217755" y="89820"/>
                        <a:pt x="214779" y="119572"/>
                      </a:cubicBezTo>
                      <a:cubicBezTo>
                        <a:pt x="211804" y="149324"/>
                        <a:pt x="196928" y="173125"/>
                        <a:pt x="176102" y="190977"/>
                      </a:cubicBezTo>
                      <a:cubicBezTo>
                        <a:pt x="158251" y="205853"/>
                        <a:pt x="137424" y="214779"/>
                        <a:pt x="113623" y="214779"/>
                      </a:cubicBezTo>
                      <a:cubicBezTo>
                        <a:pt x="113623" y="214779"/>
                        <a:pt x="110647" y="214779"/>
                        <a:pt x="107672" y="214779"/>
                      </a:cubicBezTo>
                      <a:close/>
                      <a:moveTo>
                        <a:pt x="107672" y="12465"/>
                      </a:moveTo>
                      <a:cubicBezTo>
                        <a:pt x="86845" y="12465"/>
                        <a:pt x="63044" y="21390"/>
                        <a:pt x="48168" y="33291"/>
                      </a:cubicBezTo>
                      <a:cubicBezTo>
                        <a:pt x="27341" y="51142"/>
                        <a:pt x="15441" y="71969"/>
                        <a:pt x="12465" y="98745"/>
                      </a:cubicBezTo>
                      <a:cubicBezTo>
                        <a:pt x="6514" y="152299"/>
                        <a:pt x="45194" y="199903"/>
                        <a:pt x="98747" y="205853"/>
                      </a:cubicBezTo>
                      <a:cubicBezTo>
                        <a:pt x="104698" y="205853"/>
                        <a:pt x="110647" y="205853"/>
                        <a:pt x="113623" y="205853"/>
                      </a:cubicBezTo>
                      <a:cubicBezTo>
                        <a:pt x="134450" y="205853"/>
                        <a:pt x="152300" y="196927"/>
                        <a:pt x="170151" y="185027"/>
                      </a:cubicBezTo>
                      <a:cubicBezTo>
                        <a:pt x="190978" y="170151"/>
                        <a:pt x="202879" y="146349"/>
                        <a:pt x="205854" y="119572"/>
                      </a:cubicBezTo>
                      <a:cubicBezTo>
                        <a:pt x="208830" y="92795"/>
                        <a:pt x="199903" y="68993"/>
                        <a:pt x="185027" y="48167"/>
                      </a:cubicBezTo>
                      <a:lnTo>
                        <a:pt x="185027" y="48167"/>
                      </a:lnTo>
                      <a:cubicBezTo>
                        <a:pt x="167176" y="27341"/>
                        <a:pt x="146349" y="15440"/>
                        <a:pt x="119574" y="12465"/>
                      </a:cubicBezTo>
                      <a:cubicBezTo>
                        <a:pt x="113623" y="12465"/>
                        <a:pt x="110647" y="12465"/>
                        <a:pt x="107672" y="12465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A95D39A7-BC18-41B0-A214-BA69D9FDDE62}"/>
                  </a:ext>
                </a:extLst>
              </p:cNvPr>
              <p:cNvSpPr/>
              <p:nvPr/>
            </p:nvSpPr>
            <p:spPr>
              <a:xfrm>
                <a:off x="20373414" y="8102855"/>
                <a:ext cx="511735" cy="56529"/>
              </a:xfrm>
              <a:custGeom>
                <a:avLst/>
                <a:gdLst>
                  <a:gd name="connsiteX0" fmla="*/ 220166 w 511735"/>
                  <a:gd name="connsiteY0" fmla="*/ 56529 h 56529"/>
                  <a:gd name="connsiteX1" fmla="*/ 0 w 511735"/>
                  <a:gd name="connsiteY1" fmla="*/ 41653 h 56529"/>
                  <a:gd name="connsiteX2" fmla="*/ 2976 w 511735"/>
                  <a:gd name="connsiteY2" fmla="*/ 29752 h 56529"/>
                  <a:gd name="connsiteX3" fmla="*/ 505785 w 511735"/>
                  <a:gd name="connsiteY3" fmla="*/ 0 h 56529"/>
                  <a:gd name="connsiteX4" fmla="*/ 511736 w 511735"/>
                  <a:gd name="connsiteY4" fmla="*/ 8926 h 56529"/>
                  <a:gd name="connsiteX5" fmla="*/ 220166 w 511735"/>
                  <a:gd name="connsiteY5" fmla="*/ 56529 h 56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1735" h="56529">
                    <a:moveTo>
                      <a:pt x="220166" y="56529"/>
                    </a:moveTo>
                    <a:cubicBezTo>
                      <a:pt x="101158" y="56529"/>
                      <a:pt x="2976" y="41653"/>
                      <a:pt x="0" y="41653"/>
                    </a:cubicBezTo>
                    <a:lnTo>
                      <a:pt x="2976" y="29752"/>
                    </a:lnTo>
                    <a:cubicBezTo>
                      <a:pt x="5951" y="29752"/>
                      <a:pt x="339174" y="77356"/>
                      <a:pt x="505785" y="0"/>
                    </a:cubicBezTo>
                    <a:lnTo>
                      <a:pt x="511736" y="8926"/>
                    </a:lnTo>
                    <a:cubicBezTo>
                      <a:pt x="431405" y="44628"/>
                      <a:pt x="321324" y="56529"/>
                      <a:pt x="220166" y="56529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37FE4C20-ADE2-4C3D-9B19-66D9EA975B53}"/>
                  </a:ext>
                </a:extLst>
              </p:cNvPr>
              <p:cNvSpPr/>
              <p:nvPr/>
            </p:nvSpPr>
            <p:spPr>
              <a:xfrm>
                <a:off x="20358347" y="8079053"/>
                <a:ext cx="529779" cy="145785"/>
              </a:xfrm>
              <a:custGeom>
                <a:avLst/>
                <a:gdLst>
                  <a:gd name="connsiteX0" fmla="*/ 226308 w 529779"/>
                  <a:gd name="connsiteY0" fmla="*/ 145785 h 145785"/>
                  <a:gd name="connsiteX1" fmla="*/ 3167 w 529779"/>
                  <a:gd name="connsiteY1" fmla="*/ 121984 h 145785"/>
                  <a:gd name="connsiteX2" fmla="*/ 191 w 529779"/>
                  <a:gd name="connsiteY2" fmla="*/ 121984 h 145785"/>
                  <a:gd name="connsiteX3" fmla="*/ 191 w 529779"/>
                  <a:gd name="connsiteY3" fmla="*/ 119008 h 145785"/>
                  <a:gd name="connsiteX4" fmla="*/ 29943 w 529779"/>
                  <a:gd name="connsiteY4" fmla="*/ 2975 h 145785"/>
                  <a:gd name="connsiteX5" fmla="*/ 35894 w 529779"/>
                  <a:gd name="connsiteY5" fmla="*/ 0 h 145785"/>
                  <a:gd name="connsiteX6" fmla="*/ 38870 w 529779"/>
                  <a:gd name="connsiteY6" fmla="*/ 5951 h 145785"/>
                  <a:gd name="connsiteX7" fmla="*/ 9118 w 529779"/>
                  <a:gd name="connsiteY7" fmla="*/ 113058 h 145785"/>
                  <a:gd name="connsiteX8" fmla="*/ 523829 w 529779"/>
                  <a:gd name="connsiteY8" fmla="*/ 95207 h 145785"/>
                  <a:gd name="connsiteX9" fmla="*/ 529779 w 529779"/>
                  <a:gd name="connsiteY9" fmla="*/ 98182 h 145785"/>
                  <a:gd name="connsiteX10" fmla="*/ 526803 w 529779"/>
                  <a:gd name="connsiteY10" fmla="*/ 104132 h 145785"/>
                  <a:gd name="connsiteX11" fmla="*/ 226308 w 529779"/>
                  <a:gd name="connsiteY11" fmla="*/ 145785 h 145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9779" h="145785">
                    <a:moveTo>
                      <a:pt x="226308" y="145785"/>
                    </a:moveTo>
                    <a:cubicBezTo>
                      <a:pt x="92424" y="145785"/>
                      <a:pt x="6142" y="121984"/>
                      <a:pt x="3167" y="121984"/>
                    </a:cubicBezTo>
                    <a:lnTo>
                      <a:pt x="191" y="121984"/>
                    </a:lnTo>
                    <a:lnTo>
                      <a:pt x="191" y="119008"/>
                    </a:lnTo>
                    <a:cubicBezTo>
                      <a:pt x="-2783" y="83306"/>
                      <a:pt x="29943" y="5951"/>
                      <a:pt x="29943" y="2975"/>
                    </a:cubicBezTo>
                    <a:cubicBezTo>
                      <a:pt x="29943" y="0"/>
                      <a:pt x="32920" y="0"/>
                      <a:pt x="35894" y="0"/>
                    </a:cubicBezTo>
                    <a:cubicBezTo>
                      <a:pt x="38870" y="0"/>
                      <a:pt x="38870" y="2975"/>
                      <a:pt x="38870" y="5951"/>
                    </a:cubicBezTo>
                    <a:cubicBezTo>
                      <a:pt x="38870" y="5951"/>
                      <a:pt x="9118" y="80331"/>
                      <a:pt x="9118" y="113058"/>
                    </a:cubicBezTo>
                    <a:cubicBezTo>
                      <a:pt x="38870" y="121984"/>
                      <a:pt x="256060" y="172562"/>
                      <a:pt x="523829" y="95207"/>
                    </a:cubicBezTo>
                    <a:cubicBezTo>
                      <a:pt x="526803" y="95207"/>
                      <a:pt x="529779" y="95207"/>
                      <a:pt x="529779" y="98182"/>
                    </a:cubicBezTo>
                    <a:cubicBezTo>
                      <a:pt x="529779" y="101157"/>
                      <a:pt x="529779" y="104132"/>
                      <a:pt x="526803" y="104132"/>
                    </a:cubicBezTo>
                    <a:cubicBezTo>
                      <a:pt x="413746" y="133884"/>
                      <a:pt x="309613" y="145785"/>
                      <a:pt x="226308" y="14578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A573EF58-311A-4023-B809-7DAF529B6C9B}"/>
                </a:ext>
              </a:extLst>
            </p:cNvPr>
            <p:cNvSpPr/>
            <p:nvPr/>
          </p:nvSpPr>
          <p:spPr>
            <a:xfrm>
              <a:off x="20265191" y="12024177"/>
              <a:ext cx="228636" cy="113540"/>
            </a:xfrm>
            <a:custGeom>
              <a:avLst/>
              <a:gdLst>
                <a:gd name="connsiteX0" fmla="*/ 10041 w 228636"/>
                <a:gd name="connsiteY0" fmla="*/ 0 h 113540"/>
                <a:gd name="connsiteX1" fmla="*/ 4090 w 228636"/>
                <a:gd name="connsiteY1" fmla="*/ 101157 h 113540"/>
                <a:gd name="connsiteX2" fmla="*/ 218306 w 228636"/>
                <a:gd name="connsiteY2" fmla="*/ 98181 h 113540"/>
                <a:gd name="connsiteX3" fmla="*/ 227231 w 228636"/>
                <a:gd name="connsiteY3" fmla="*/ 5951 h 113540"/>
                <a:gd name="connsiteX4" fmla="*/ 10041 w 228636"/>
                <a:gd name="connsiteY4" fmla="*/ 0 h 113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36" h="113540">
                  <a:moveTo>
                    <a:pt x="10041" y="0"/>
                  </a:moveTo>
                  <a:cubicBezTo>
                    <a:pt x="10041" y="0"/>
                    <a:pt x="-7809" y="56529"/>
                    <a:pt x="4090" y="101157"/>
                  </a:cubicBezTo>
                  <a:cubicBezTo>
                    <a:pt x="4090" y="101157"/>
                    <a:pt x="60620" y="130909"/>
                    <a:pt x="218306" y="98181"/>
                  </a:cubicBezTo>
                  <a:cubicBezTo>
                    <a:pt x="218306" y="98181"/>
                    <a:pt x="233182" y="50579"/>
                    <a:pt x="227231" y="5951"/>
                  </a:cubicBezTo>
                  <a:cubicBezTo>
                    <a:pt x="227231" y="5951"/>
                    <a:pt x="105248" y="26777"/>
                    <a:pt x="10041" y="0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E03B37ED-FAE4-4972-A9A8-D8E0FD287CF6}"/>
                </a:ext>
              </a:extLst>
            </p:cNvPr>
            <p:cNvSpPr/>
            <p:nvPr/>
          </p:nvSpPr>
          <p:spPr>
            <a:xfrm>
              <a:off x="20834571" y="11607649"/>
              <a:ext cx="241046" cy="169587"/>
            </a:xfrm>
            <a:custGeom>
              <a:avLst/>
              <a:gdLst>
                <a:gd name="connsiteX0" fmla="*/ 44628 w 241046"/>
                <a:gd name="connsiteY0" fmla="*/ 0 h 169587"/>
                <a:gd name="connsiteX1" fmla="*/ 0 w 241046"/>
                <a:gd name="connsiteY1" fmla="*/ 92232 h 169587"/>
                <a:gd name="connsiteX2" fmla="*/ 199339 w 241046"/>
                <a:gd name="connsiteY2" fmla="*/ 169587 h 169587"/>
                <a:gd name="connsiteX3" fmla="*/ 240993 w 241046"/>
                <a:gd name="connsiteY3" fmla="*/ 86281 h 169587"/>
                <a:gd name="connsiteX4" fmla="*/ 44628 w 241046"/>
                <a:gd name="connsiteY4" fmla="*/ 0 h 169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046" h="169587">
                  <a:moveTo>
                    <a:pt x="44628" y="0"/>
                  </a:moveTo>
                  <a:cubicBezTo>
                    <a:pt x="44628" y="0"/>
                    <a:pt x="5951" y="47603"/>
                    <a:pt x="0" y="92232"/>
                  </a:cubicBezTo>
                  <a:cubicBezTo>
                    <a:pt x="0" y="92232"/>
                    <a:pt x="41654" y="142810"/>
                    <a:pt x="199339" y="169587"/>
                  </a:cubicBezTo>
                  <a:cubicBezTo>
                    <a:pt x="199339" y="169587"/>
                    <a:pt x="232068" y="130909"/>
                    <a:pt x="240993" y="86281"/>
                  </a:cubicBezTo>
                  <a:cubicBezTo>
                    <a:pt x="243967" y="89256"/>
                    <a:pt x="121985" y="62480"/>
                    <a:pt x="44628" y="0"/>
                  </a:cubicBezTo>
                  <a:close/>
                </a:path>
              </a:pathLst>
            </a:custGeom>
            <a:solidFill>
              <a:srgbClr val="F1DDB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8D3A403F-417A-44C0-9267-1DC51DB86599}"/>
                </a:ext>
              </a:extLst>
            </p:cNvPr>
            <p:cNvSpPr/>
            <p:nvPr/>
          </p:nvSpPr>
          <p:spPr>
            <a:xfrm>
              <a:off x="24131101" y="9825500"/>
              <a:ext cx="1489064" cy="2228429"/>
            </a:xfrm>
            <a:custGeom>
              <a:avLst/>
              <a:gdLst>
                <a:gd name="connsiteX0" fmla="*/ 479008 w 1489064"/>
                <a:gd name="connsiteY0" fmla="*/ 17851 h 2228429"/>
                <a:gd name="connsiteX1" fmla="*/ 166611 w 1489064"/>
                <a:gd name="connsiteY1" fmla="*/ 1100827 h 2228429"/>
                <a:gd name="connsiteX2" fmla="*/ 0 w 1489064"/>
                <a:gd name="connsiteY2" fmla="*/ 2076694 h 2228429"/>
                <a:gd name="connsiteX3" fmla="*/ 282645 w 1489064"/>
                <a:gd name="connsiteY3" fmla="*/ 2189752 h 2228429"/>
                <a:gd name="connsiteX4" fmla="*/ 574215 w 1489064"/>
                <a:gd name="connsiteY4" fmla="*/ 1303140 h 2228429"/>
                <a:gd name="connsiteX5" fmla="*/ 963966 w 1489064"/>
                <a:gd name="connsiteY5" fmla="*/ 490909 h 2228429"/>
                <a:gd name="connsiteX6" fmla="*/ 1008594 w 1489064"/>
                <a:gd name="connsiteY6" fmla="*/ 1440000 h 2228429"/>
                <a:gd name="connsiteX7" fmla="*/ 1151404 w 1489064"/>
                <a:gd name="connsiteY7" fmla="*/ 2219504 h 2228429"/>
                <a:gd name="connsiteX8" fmla="*/ 1431074 w 1489064"/>
                <a:gd name="connsiteY8" fmla="*/ 2228430 h 2228429"/>
                <a:gd name="connsiteX9" fmla="*/ 1401322 w 1489064"/>
                <a:gd name="connsiteY9" fmla="*/ 1422148 h 2228429"/>
                <a:gd name="connsiteX10" fmla="*/ 1478676 w 1489064"/>
                <a:gd name="connsiteY10" fmla="*/ 0 h 2228429"/>
                <a:gd name="connsiteX11" fmla="*/ 479008 w 1489064"/>
                <a:gd name="connsiteY11" fmla="*/ 17851 h 222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89064" h="2228429">
                  <a:moveTo>
                    <a:pt x="479008" y="17851"/>
                  </a:moveTo>
                  <a:lnTo>
                    <a:pt x="166611" y="1100827"/>
                  </a:lnTo>
                  <a:lnTo>
                    <a:pt x="0" y="2076694"/>
                  </a:lnTo>
                  <a:lnTo>
                    <a:pt x="282645" y="2189752"/>
                  </a:lnTo>
                  <a:lnTo>
                    <a:pt x="574215" y="1303140"/>
                  </a:lnTo>
                  <a:cubicBezTo>
                    <a:pt x="574215" y="1303140"/>
                    <a:pt x="955041" y="505785"/>
                    <a:pt x="963966" y="490909"/>
                  </a:cubicBezTo>
                  <a:cubicBezTo>
                    <a:pt x="978842" y="461157"/>
                    <a:pt x="1008594" y="1440000"/>
                    <a:pt x="1008594" y="1440000"/>
                  </a:cubicBezTo>
                  <a:lnTo>
                    <a:pt x="1151404" y="2219504"/>
                  </a:lnTo>
                  <a:lnTo>
                    <a:pt x="1431074" y="2228430"/>
                  </a:lnTo>
                  <a:cubicBezTo>
                    <a:pt x="1431074" y="2228430"/>
                    <a:pt x="1395371" y="1520331"/>
                    <a:pt x="1401322" y="1422148"/>
                  </a:cubicBezTo>
                  <a:cubicBezTo>
                    <a:pt x="1410247" y="1273388"/>
                    <a:pt x="1523304" y="95206"/>
                    <a:pt x="1478676" y="0"/>
                  </a:cubicBezTo>
                  <a:cubicBezTo>
                    <a:pt x="794379" y="29752"/>
                    <a:pt x="479008" y="17851"/>
                    <a:pt x="479008" y="17851"/>
                  </a:cubicBezTo>
                  <a:close/>
                </a:path>
              </a:pathLst>
            </a:custGeom>
            <a:solidFill>
              <a:srgbClr val="F1DDBA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D905DC2C-C09E-4349-BA38-306C25417170}"/>
                </a:ext>
              </a:extLst>
            </p:cNvPr>
            <p:cNvSpPr/>
            <p:nvPr/>
          </p:nvSpPr>
          <p:spPr>
            <a:xfrm>
              <a:off x="25032588" y="9965334"/>
              <a:ext cx="68429" cy="354050"/>
            </a:xfrm>
            <a:custGeom>
              <a:avLst/>
              <a:gdLst>
                <a:gd name="connsiteX0" fmla="*/ 62479 w 68429"/>
                <a:gd name="connsiteY0" fmla="*/ 354050 h 354050"/>
                <a:gd name="connsiteX1" fmla="*/ 56528 w 68429"/>
                <a:gd name="connsiteY1" fmla="*/ 351075 h 354050"/>
                <a:gd name="connsiteX2" fmla="*/ 0 w 68429"/>
                <a:gd name="connsiteY2" fmla="*/ 5951 h 354050"/>
                <a:gd name="connsiteX3" fmla="*/ 5951 w 68429"/>
                <a:gd name="connsiteY3" fmla="*/ 0 h 354050"/>
                <a:gd name="connsiteX4" fmla="*/ 11900 w 68429"/>
                <a:gd name="connsiteY4" fmla="*/ 5951 h 354050"/>
                <a:gd name="connsiteX5" fmla="*/ 68429 w 68429"/>
                <a:gd name="connsiteY5" fmla="*/ 348100 h 354050"/>
                <a:gd name="connsiteX6" fmla="*/ 62479 w 68429"/>
                <a:gd name="connsiteY6" fmla="*/ 354050 h 354050"/>
                <a:gd name="connsiteX7" fmla="*/ 62479 w 68429"/>
                <a:gd name="connsiteY7" fmla="*/ 354050 h 3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429" h="354050">
                  <a:moveTo>
                    <a:pt x="62479" y="354050"/>
                  </a:moveTo>
                  <a:cubicBezTo>
                    <a:pt x="59504" y="354050"/>
                    <a:pt x="59504" y="354050"/>
                    <a:pt x="56528" y="351075"/>
                  </a:cubicBezTo>
                  <a:cubicBezTo>
                    <a:pt x="8925" y="238017"/>
                    <a:pt x="0" y="14876"/>
                    <a:pt x="0" y="5951"/>
                  </a:cubicBezTo>
                  <a:cubicBezTo>
                    <a:pt x="0" y="2975"/>
                    <a:pt x="2974" y="0"/>
                    <a:pt x="5951" y="0"/>
                  </a:cubicBezTo>
                  <a:cubicBezTo>
                    <a:pt x="8925" y="0"/>
                    <a:pt x="11900" y="2975"/>
                    <a:pt x="11900" y="5951"/>
                  </a:cubicBezTo>
                  <a:cubicBezTo>
                    <a:pt x="11900" y="8926"/>
                    <a:pt x="20827" y="238017"/>
                    <a:pt x="68429" y="348100"/>
                  </a:cubicBezTo>
                  <a:cubicBezTo>
                    <a:pt x="68429" y="348100"/>
                    <a:pt x="65455" y="351075"/>
                    <a:pt x="62479" y="354050"/>
                  </a:cubicBezTo>
                  <a:cubicBezTo>
                    <a:pt x="62479" y="354050"/>
                    <a:pt x="62479" y="354050"/>
                    <a:pt x="62479" y="354050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F0F2514F-FFE2-48E7-8551-AC7DA9E9BBD6}"/>
                </a:ext>
              </a:extLst>
            </p:cNvPr>
            <p:cNvSpPr/>
            <p:nvPr/>
          </p:nvSpPr>
          <p:spPr>
            <a:xfrm>
              <a:off x="24922505" y="9896905"/>
              <a:ext cx="151734" cy="345124"/>
            </a:xfrm>
            <a:custGeom>
              <a:avLst/>
              <a:gdLst>
                <a:gd name="connsiteX0" fmla="*/ 142810 w 151734"/>
                <a:gd name="connsiteY0" fmla="*/ 345124 h 345124"/>
                <a:gd name="connsiteX1" fmla="*/ 139835 w 151734"/>
                <a:gd name="connsiteY1" fmla="*/ 345124 h 345124"/>
                <a:gd name="connsiteX2" fmla="*/ 32727 w 151734"/>
                <a:gd name="connsiteY2" fmla="*/ 267769 h 345124"/>
                <a:gd name="connsiteX3" fmla="*/ 0 w 151734"/>
                <a:gd name="connsiteY3" fmla="*/ 5951 h 345124"/>
                <a:gd name="connsiteX4" fmla="*/ 5951 w 151734"/>
                <a:gd name="connsiteY4" fmla="*/ 0 h 345124"/>
                <a:gd name="connsiteX5" fmla="*/ 5951 w 151734"/>
                <a:gd name="connsiteY5" fmla="*/ 0 h 345124"/>
                <a:gd name="connsiteX6" fmla="*/ 11902 w 151734"/>
                <a:gd name="connsiteY6" fmla="*/ 5951 h 345124"/>
                <a:gd name="connsiteX7" fmla="*/ 44628 w 151734"/>
                <a:gd name="connsiteY7" fmla="*/ 261818 h 345124"/>
                <a:gd name="connsiteX8" fmla="*/ 148760 w 151734"/>
                <a:gd name="connsiteY8" fmla="*/ 336198 h 345124"/>
                <a:gd name="connsiteX9" fmla="*/ 151735 w 151734"/>
                <a:gd name="connsiteY9" fmla="*/ 345124 h 345124"/>
                <a:gd name="connsiteX10" fmla="*/ 142810 w 151734"/>
                <a:gd name="connsiteY10" fmla="*/ 345124 h 34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1734" h="345124">
                  <a:moveTo>
                    <a:pt x="142810" y="345124"/>
                  </a:moveTo>
                  <a:cubicBezTo>
                    <a:pt x="142810" y="345124"/>
                    <a:pt x="139835" y="345124"/>
                    <a:pt x="139835" y="345124"/>
                  </a:cubicBezTo>
                  <a:cubicBezTo>
                    <a:pt x="130910" y="339173"/>
                    <a:pt x="44628" y="282645"/>
                    <a:pt x="32727" y="267769"/>
                  </a:cubicBezTo>
                  <a:cubicBezTo>
                    <a:pt x="20827" y="252893"/>
                    <a:pt x="2974" y="47603"/>
                    <a:pt x="0" y="5951"/>
                  </a:cubicBezTo>
                  <a:cubicBezTo>
                    <a:pt x="0" y="2975"/>
                    <a:pt x="2974" y="0"/>
                    <a:pt x="5951" y="0"/>
                  </a:cubicBezTo>
                  <a:cubicBezTo>
                    <a:pt x="5951" y="0"/>
                    <a:pt x="5951" y="0"/>
                    <a:pt x="5951" y="0"/>
                  </a:cubicBezTo>
                  <a:cubicBezTo>
                    <a:pt x="8925" y="0"/>
                    <a:pt x="11902" y="2975"/>
                    <a:pt x="11902" y="5951"/>
                  </a:cubicBezTo>
                  <a:cubicBezTo>
                    <a:pt x="20827" y="98181"/>
                    <a:pt x="35703" y="249917"/>
                    <a:pt x="44628" y="261818"/>
                  </a:cubicBezTo>
                  <a:cubicBezTo>
                    <a:pt x="53553" y="270744"/>
                    <a:pt x="110083" y="312397"/>
                    <a:pt x="148760" y="336198"/>
                  </a:cubicBezTo>
                  <a:cubicBezTo>
                    <a:pt x="151735" y="339173"/>
                    <a:pt x="151735" y="342149"/>
                    <a:pt x="151735" y="345124"/>
                  </a:cubicBezTo>
                  <a:cubicBezTo>
                    <a:pt x="145786" y="345124"/>
                    <a:pt x="145786" y="345124"/>
                    <a:pt x="142810" y="345124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5" name="图形 1">
              <a:extLst>
                <a:ext uri="{FF2B5EF4-FFF2-40B4-BE49-F238E27FC236}">
                  <a16:creationId xmlns:a16="http://schemas.microsoft.com/office/drawing/2014/main" id="{88ADFFD7-5BC1-4177-976B-95FC596320F5}"/>
                </a:ext>
              </a:extLst>
            </p:cNvPr>
            <p:cNvGrpSpPr/>
            <p:nvPr/>
          </p:nvGrpSpPr>
          <p:grpSpPr>
            <a:xfrm>
              <a:off x="25065315" y="11937897"/>
              <a:ext cx="512317" cy="321322"/>
              <a:chOff x="25065315" y="11937897"/>
              <a:chExt cx="512317" cy="321322"/>
            </a:xfrm>
          </p:grpSpPr>
          <p:grpSp>
            <p:nvGrpSpPr>
              <p:cNvPr id="92" name="图形 1">
                <a:extLst>
                  <a:ext uri="{FF2B5EF4-FFF2-40B4-BE49-F238E27FC236}">
                    <a16:creationId xmlns:a16="http://schemas.microsoft.com/office/drawing/2014/main" id="{5DCA728F-885A-4EDA-90A7-13E16B7A95A7}"/>
                  </a:ext>
                </a:extLst>
              </p:cNvPr>
              <p:cNvGrpSpPr/>
              <p:nvPr/>
            </p:nvGrpSpPr>
            <p:grpSpPr>
              <a:xfrm>
                <a:off x="25065315" y="12059880"/>
                <a:ext cx="483967" cy="199338"/>
                <a:chOff x="25065315" y="12059880"/>
                <a:chExt cx="483967" cy="199338"/>
              </a:xfrm>
            </p:grpSpPr>
            <p:sp>
              <p:nvSpPr>
                <p:cNvPr id="94" name="任意多边形: 形状 93">
                  <a:extLst>
                    <a:ext uri="{FF2B5EF4-FFF2-40B4-BE49-F238E27FC236}">
                      <a16:creationId xmlns:a16="http://schemas.microsoft.com/office/drawing/2014/main" id="{9FBF73E1-1270-4008-9515-69D2D52FD5A4}"/>
                    </a:ext>
                  </a:extLst>
                </p:cNvPr>
                <p:cNvSpPr/>
                <p:nvPr/>
              </p:nvSpPr>
              <p:spPr>
                <a:xfrm>
                  <a:off x="25065315" y="12059880"/>
                  <a:ext cx="483967" cy="157685"/>
                </a:xfrm>
                <a:custGeom>
                  <a:avLst/>
                  <a:gdLst>
                    <a:gd name="connsiteX0" fmla="*/ 476033 w 483967"/>
                    <a:gd name="connsiteY0" fmla="*/ 44628 h 157685"/>
                    <a:gd name="connsiteX1" fmla="*/ 294546 w 483967"/>
                    <a:gd name="connsiteY1" fmla="*/ 0 h 157685"/>
                    <a:gd name="connsiteX2" fmla="*/ 163636 w 483967"/>
                    <a:gd name="connsiteY2" fmla="*/ 53553 h 157685"/>
                    <a:gd name="connsiteX3" fmla="*/ 0 w 483967"/>
                    <a:gd name="connsiteY3" fmla="*/ 157686 h 157685"/>
                    <a:gd name="connsiteX4" fmla="*/ 476033 w 483967"/>
                    <a:gd name="connsiteY4" fmla="*/ 157686 h 157685"/>
                    <a:gd name="connsiteX5" fmla="*/ 476033 w 483967"/>
                    <a:gd name="connsiteY5" fmla="*/ 44628 h 157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3967" h="157685">
                      <a:moveTo>
                        <a:pt x="476033" y="44628"/>
                      </a:moveTo>
                      <a:cubicBezTo>
                        <a:pt x="476033" y="44628"/>
                        <a:pt x="354050" y="62479"/>
                        <a:pt x="294546" y="0"/>
                      </a:cubicBezTo>
                      <a:cubicBezTo>
                        <a:pt x="294546" y="0"/>
                        <a:pt x="211241" y="35702"/>
                        <a:pt x="163636" y="53553"/>
                      </a:cubicBezTo>
                      <a:cubicBezTo>
                        <a:pt x="121985" y="68429"/>
                        <a:pt x="11902" y="86281"/>
                        <a:pt x="0" y="157686"/>
                      </a:cubicBezTo>
                      <a:lnTo>
                        <a:pt x="476033" y="157686"/>
                      </a:lnTo>
                      <a:cubicBezTo>
                        <a:pt x="476033" y="154710"/>
                        <a:pt x="493885" y="95206"/>
                        <a:pt x="476033" y="44628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5" name="任意多边形: 形状 94">
                  <a:extLst>
                    <a:ext uri="{FF2B5EF4-FFF2-40B4-BE49-F238E27FC236}">
                      <a16:creationId xmlns:a16="http://schemas.microsoft.com/office/drawing/2014/main" id="{7E9713FE-1EC7-4D90-A973-38B647140F60}"/>
                    </a:ext>
                  </a:extLst>
                </p:cNvPr>
                <p:cNvSpPr/>
                <p:nvPr/>
              </p:nvSpPr>
              <p:spPr>
                <a:xfrm>
                  <a:off x="25065315" y="12214591"/>
                  <a:ext cx="476033" cy="44628"/>
                </a:xfrm>
                <a:custGeom>
                  <a:avLst/>
                  <a:gdLst>
                    <a:gd name="connsiteX0" fmla="*/ 0 w 476033"/>
                    <a:gd name="connsiteY0" fmla="*/ 0 h 44628"/>
                    <a:gd name="connsiteX1" fmla="*/ 476033 w 476033"/>
                    <a:gd name="connsiteY1" fmla="*/ 0 h 44628"/>
                    <a:gd name="connsiteX2" fmla="*/ 476033 w 476033"/>
                    <a:gd name="connsiteY2" fmla="*/ 44628 h 44628"/>
                    <a:gd name="connsiteX3" fmla="*/ 0 w 476033"/>
                    <a:gd name="connsiteY3" fmla="*/ 44628 h 4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033" h="44628">
                      <a:moveTo>
                        <a:pt x="0" y="0"/>
                      </a:moveTo>
                      <a:lnTo>
                        <a:pt x="476033" y="0"/>
                      </a:lnTo>
                      <a:lnTo>
                        <a:pt x="476033" y="44628"/>
                      </a:lnTo>
                      <a:lnTo>
                        <a:pt x="0" y="44628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F44901D9-861C-4155-B128-63E227AD9415}"/>
                  </a:ext>
                </a:extLst>
              </p:cNvPr>
              <p:cNvSpPr/>
              <p:nvPr/>
            </p:nvSpPr>
            <p:spPr>
              <a:xfrm>
                <a:off x="25246804" y="11937897"/>
                <a:ext cx="330829" cy="276693"/>
              </a:xfrm>
              <a:custGeom>
                <a:avLst/>
                <a:gdLst>
                  <a:gd name="connsiteX0" fmla="*/ 294544 w 330829"/>
                  <a:gd name="connsiteY0" fmla="*/ 276694 h 276693"/>
                  <a:gd name="connsiteX1" fmla="*/ 330247 w 330829"/>
                  <a:gd name="connsiteY1" fmla="*/ 0 h 276693"/>
                  <a:gd name="connsiteX2" fmla="*/ 0 w 330829"/>
                  <a:gd name="connsiteY2" fmla="*/ 17851 h 276693"/>
                  <a:gd name="connsiteX3" fmla="*/ 44628 w 330829"/>
                  <a:gd name="connsiteY3" fmla="*/ 175537 h 276693"/>
                  <a:gd name="connsiteX4" fmla="*/ 294544 w 330829"/>
                  <a:gd name="connsiteY4" fmla="*/ 276694 h 276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29" h="276693">
                    <a:moveTo>
                      <a:pt x="294544" y="276694"/>
                    </a:moveTo>
                    <a:cubicBezTo>
                      <a:pt x="294544" y="276694"/>
                      <a:pt x="336198" y="187438"/>
                      <a:pt x="330247" y="0"/>
                    </a:cubicBezTo>
                    <a:lnTo>
                      <a:pt x="0" y="17851"/>
                    </a:lnTo>
                    <a:lnTo>
                      <a:pt x="44628" y="175537"/>
                    </a:lnTo>
                    <a:lnTo>
                      <a:pt x="294544" y="276694"/>
                    </a:lnTo>
                    <a:close/>
                  </a:path>
                </a:pathLst>
              </a:custGeom>
              <a:solidFill>
                <a:srgbClr val="70868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6" name="图形 1">
              <a:extLst>
                <a:ext uri="{FF2B5EF4-FFF2-40B4-BE49-F238E27FC236}">
                  <a16:creationId xmlns:a16="http://schemas.microsoft.com/office/drawing/2014/main" id="{5F255414-0C68-4745-82C2-C2767427D0CC}"/>
                </a:ext>
              </a:extLst>
            </p:cNvPr>
            <p:cNvGrpSpPr/>
            <p:nvPr/>
          </p:nvGrpSpPr>
          <p:grpSpPr>
            <a:xfrm>
              <a:off x="23856297" y="11845665"/>
              <a:ext cx="590175" cy="388169"/>
              <a:chOff x="23856297" y="11845665"/>
              <a:chExt cx="590175" cy="388169"/>
            </a:xfrm>
          </p:grpSpPr>
          <p:grpSp>
            <p:nvGrpSpPr>
              <p:cNvPr id="88" name="图形 1">
                <a:extLst>
                  <a:ext uri="{FF2B5EF4-FFF2-40B4-BE49-F238E27FC236}">
                    <a16:creationId xmlns:a16="http://schemas.microsoft.com/office/drawing/2014/main" id="{DCE9A9F4-070B-407F-BD84-77B5FFB5AA59}"/>
                  </a:ext>
                </a:extLst>
              </p:cNvPr>
              <p:cNvGrpSpPr/>
              <p:nvPr/>
            </p:nvGrpSpPr>
            <p:grpSpPr>
              <a:xfrm>
                <a:off x="23856297" y="11980691"/>
                <a:ext cx="500919" cy="253142"/>
                <a:chOff x="23856297" y="11980691"/>
                <a:chExt cx="500919" cy="253142"/>
              </a:xfrm>
            </p:grpSpPr>
            <p:sp>
              <p:nvSpPr>
                <p:cNvPr id="90" name="任意多边形: 形状 89">
                  <a:extLst>
                    <a:ext uri="{FF2B5EF4-FFF2-40B4-BE49-F238E27FC236}">
                      <a16:creationId xmlns:a16="http://schemas.microsoft.com/office/drawing/2014/main" id="{0B3F6D96-FC45-4FEC-8B66-558695BCFFC2}"/>
                    </a:ext>
                  </a:extLst>
                </p:cNvPr>
                <p:cNvSpPr/>
                <p:nvPr/>
              </p:nvSpPr>
              <p:spPr>
                <a:xfrm>
                  <a:off x="23872258" y="11980691"/>
                  <a:ext cx="484958" cy="210097"/>
                </a:xfrm>
                <a:custGeom>
                  <a:avLst/>
                  <a:gdLst>
                    <a:gd name="connsiteX0" fmla="*/ 484958 w 484958"/>
                    <a:gd name="connsiteY0" fmla="*/ 108941 h 210097"/>
                    <a:gd name="connsiteX1" fmla="*/ 330247 w 484958"/>
                    <a:gd name="connsiteY1" fmla="*/ 1833 h 210097"/>
                    <a:gd name="connsiteX2" fmla="*/ 190412 w 484958"/>
                    <a:gd name="connsiteY2" fmla="*/ 4809 h 210097"/>
                    <a:gd name="connsiteX3" fmla="*/ 0 w 484958"/>
                    <a:gd name="connsiteY3" fmla="*/ 43486 h 210097"/>
                    <a:gd name="connsiteX4" fmla="*/ 446281 w 484958"/>
                    <a:gd name="connsiteY4" fmla="*/ 210098 h 210097"/>
                    <a:gd name="connsiteX5" fmla="*/ 484958 w 484958"/>
                    <a:gd name="connsiteY5" fmla="*/ 108941 h 2100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4958" h="210097">
                      <a:moveTo>
                        <a:pt x="484958" y="108941"/>
                      </a:moveTo>
                      <a:cubicBezTo>
                        <a:pt x="484958" y="108941"/>
                        <a:pt x="365950" y="85139"/>
                        <a:pt x="330247" y="1833"/>
                      </a:cubicBezTo>
                      <a:cubicBezTo>
                        <a:pt x="330247" y="1833"/>
                        <a:pt x="240991" y="7783"/>
                        <a:pt x="190412" y="4809"/>
                      </a:cubicBezTo>
                      <a:cubicBezTo>
                        <a:pt x="145784" y="1833"/>
                        <a:pt x="38677" y="-16018"/>
                        <a:pt x="0" y="43486"/>
                      </a:cubicBezTo>
                      <a:lnTo>
                        <a:pt x="446281" y="210098"/>
                      </a:lnTo>
                      <a:cubicBezTo>
                        <a:pt x="446281" y="210098"/>
                        <a:pt x="484958" y="159519"/>
                        <a:pt x="484958" y="108941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1" name="任意多边形: 形状 90">
                  <a:extLst>
                    <a:ext uri="{FF2B5EF4-FFF2-40B4-BE49-F238E27FC236}">
                      <a16:creationId xmlns:a16="http://schemas.microsoft.com/office/drawing/2014/main" id="{8FF7216A-F16E-4D2D-948D-99FA12635D43}"/>
                    </a:ext>
                  </a:extLst>
                </p:cNvPr>
                <p:cNvSpPr/>
                <p:nvPr/>
              </p:nvSpPr>
              <p:spPr>
                <a:xfrm rot="-4173638">
                  <a:off x="24064797" y="11891805"/>
                  <a:ext cx="44626" cy="476011"/>
                </a:xfrm>
                <a:custGeom>
                  <a:avLst/>
                  <a:gdLst>
                    <a:gd name="connsiteX0" fmla="*/ 0 w 44626"/>
                    <a:gd name="connsiteY0" fmla="*/ 0 h 476011"/>
                    <a:gd name="connsiteX1" fmla="*/ 44626 w 44626"/>
                    <a:gd name="connsiteY1" fmla="*/ 0 h 476011"/>
                    <a:gd name="connsiteX2" fmla="*/ 44626 w 44626"/>
                    <a:gd name="connsiteY2" fmla="*/ 476012 h 476011"/>
                    <a:gd name="connsiteX3" fmla="*/ 0 w 44626"/>
                    <a:gd name="connsiteY3" fmla="*/ 476012 h 4760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26" h="476011">
                      <a:moveTo>
                        <a:pt x="0" y="0"/>
                      </a:moveTo>
                      <a:lnTo>
                        <a:pt x="44626" y="0"/>
                      </a:lnTo>
                      <a:lnTo>
                        <a:pt x="44626" y="476012"/>
                      </a:lnTo>
                      <a:lnTo>
                        <a:pt x="0" y="476012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297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D498F143-EE79-456E-B589-41E3AC6EDEED}"/>
                  </a:ext>
                </a:extLst>
              </p:cNvPr>
              <p:cNvSpPr/>
              <p:nvPr/>
            </p:nvSpPr>
            <p:spPr>
              <a:xfrm>
                <a:off x="24116225" y="11845665"/>
                <a:ext cx="330247" cy="345124"/>
              </a:xfrm>
              <a:custGeom>
                <a:avLst/>
                <a:gdLst>
                  <a:gd name="connsiteX0" fmla="*/ 202314 w 330247"/>
                  <a:gd name="connsiteY0" fmla="*/ 345124 h 345124"/>
                  <a:gd name="connsiteX1" fmla="*/ 330247 w 330247"/>
                  <a:gd name="connsiteY1" fmla="*/ 98181 h 345124"/>
                  <a:gd name="connsiteX2" fmla="*/ 14876 w 330247"/>
                  <a:gd name="connsiteY2" fmla="*/ 0 h 345124"/>
                  <a:gd name="connsiteX3" fmla="*/ 0 w 330247"/>
                  <a:gd name="connsiteY3" fmla="*/ 163636 h 345124"/>
                  <a:gd name="connsiteX4" fmla="*/ 202314 w 330247"/>
                  <a:gd name="connsiteY4" fmla="*/ 345124 h 345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247" h="345124">
                    <a:moveTo>
                      <a:pt x="202314" y="345124"/>
                    </a:moveTo>
                    <a:cubicBezTo>
                      <a:pt x="202314" y="345124"/>
                      <a:pt x="270743" y="273719"/>
                      <a:pt x="330247" y="98181"/>
                    </a:cubicBezTo>
                    <a:lnTo>
                      <a:pt x="14876" y="0"/>
                    </a:lnTo>
                    <a:lnTo>
                      <a:pt x="0" y="163636"/>
                    </a:lnTo>
                    <a:lnTo>
                      <a:pt x="202314" y="345124"/>
                    </a:lnTo>
                    <a:close/>
                  </a:path>
                </a:pathLst>
              </a:custGeom>
              <a:solidFill>
                <a:srgbClr val="708686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454475AD-7312-465C-803E-B9AA213B0C98}"/>
                </a:ext>
              </a:extLst>
            </p:cNvPr>
            <p:cNvSpPr/>
            <p:nvPr/>
          </p:nvSpPr>
          <p:spPr>
            <a:xfrm>
              <a:off x="26067960" y="9730293"/>
              <a:ext cx="86942" cy="213059"/>
            </a:xfrm>
            <a:custGeom>
              <a:avLst/>
              <a:gdLst>
                <a:gd name="connsiteX0" fmla="*/ 80331 w 86942"/>
                <a:gd name="connsiteY0" fmla="*/ 0 h 213059"/>
                <a:gd name="connsiteX1" fmla="*/ 5951 w 86942"/>
                <a:gd name="connsiteY1" fmla="*/ 121984 h 213059"/>
                <a:gd name="connsiteX2" fmla="*/ 11902 w 86942"/>
                <a:gd name="connsiteY2" fmla="*/ 211240 h 213059"/>
                <a:gd name="connsiteX3" fmla="*/ 80331 w 86942"/>
                <a:gd name="connsiteY3" fmla="*/ 95207 h 213059"/>
                <a:gd name="connsiteX4" fmla="*/ 80331 w 86942"/>
                <a:gd name="connsiteY4" fmla="*/ 0 h 213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942" h="213059">
                  <a:moveTo>
                    <a:pt x="80331" y="0"/>
                  </a:moveTo>
                  <a:cubicBezTo>
                    <a:pt x="80331" y="0"/>
                    <a:pt x="8925" y="86281"/>
                    <a:pt x="5951" y="121984"/>
                  </a:cubicBezTo>
                  <a:cubicBezTo>
                    <a:pt x="0" y="157687"/>
                    <a:pt x="-5951" y="205289"/>
                    <a:pt x="11902" y="211240"/>
                  </a:cubicBezTo>
                  <a:cubicBezTo>
                    <a:pt x="53553" y="229091"/>
                    <a:pt x="44628" y="110083"/>
                    <a:pt x="80331" y="95207"/>
                  </a:cubicBezTo>
                  <a:cubicBezTo>
                    <a:pt x="95207" y="89256"/>
                    <a:pt x="80331" y="0"/>
                    <a:pt x="80331" y="0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5D0D9202-BF22-4EB6-845B-39F1935069E9}"/>
                </a:ext>
              </a:extLst>
            </p:cNvPr>
            <p:cNvSpPr/>
            <p:nvPr/>
          </p:nvSpPr>
          <p:spPr>
            <a:xfrm>
              <a:off x="23187186" y="8354260"/>
              <a:ext cx="343449" cy="274766"/>
            </a:xfrm>
            <a:custGeom>
              <a:avLst/>
              <a:gdLst>
                <a:gd name="connsiteX0" fmla="*/ 66229 w 343449"/>
                <a:gd name="connsiteY0" fmla="*/ 188926 h 274766"/>
                <a:gd name="connsiteX1" fmla="*/ 134659 w 343449"/>
                <a:gd name="connsiteY1" fmla="*/ 230578 h 274766"/>
                <a:gd name="connsiteX2" fmla="*/ 253667 w 343449"/>
                <a:gd name="connsiteY2" fmla="*/ 272232 h 274766"/>
                <a:gd name="connsiteX3" fmla="*/ 342923 w 343449"/>
                <a:gd name="connsiteY3" fmla="*/ 194876 h 274766"/>
                <a:gd name="connsiteX4" fmla="*/ 101930 w 343449"/>
                <a:gd name="connsiteY4" fmla="*/ 4463 h 274766"/>
                <a:gd name="connsiteX5" fmla="*/ 69204 w 343449"/>
                <a:gd name="connsiteY5" fmla="*/ 13389 h 274766"/>
                <a:gd name="connsiteX6" fmla="*/ 101930 w 343449"/>
                <a:gd name="connsiteY6" fmla="*/ 46116 h 274766"/>
                <a:gd name="connsiteX7" fmla="*/ 146558 w 343449"/>
                <a:gd name="connsiteY7" fmla="*/ 87769 h 274766"/>
                <a:gd name="connsiteX8" fmla="*/ 75155 w 343449"/>
                <a:gd name="connsiteY8" fmla="*/ 55041 h 274766"/>
                <a:gd name="connsiteX9" fmla="*/ 24576 w 343449"/>
                <a:gd name="connsiteY9" fmla="*/ 34215 h 274766"/>
                <a:gd name="connsiteX10" fmla="*/ 774 w 343449"/>
                <a:gd name="connsiteY10" fmla="*/ 52066 h 274766"/>
                <a:gd name="connsiteX11" fmla="*/ 12674 w 343449"/>
                <a:gd name="connsiteY11" fmla="*/ 84793 h 274766"/>
                <a:gd name="connsiteX12" fmla="*/ 9700 w 343449"/>
                <a:gd name="connsiteY12" fmla="*/ 84793 h 274766"/>
                <a:gd name="connsiteX13" fmla="*/ 6725 w 343449"/>
                <a:gd name="connsiteY13" fmla="*/ 90744 h 274766"/>
                <a:gd name="connsiteX14" fmla="*/ 36477 w 343449"/>
                <a:gd name="connsiteY14" fmla="*/ 129422 h 274766"/>
                <a:gd name="connsiteX15" fmla="*/ 60279 w 343449"/>
                <a:gd name="connsiteY15" fmla="*/ 141322 h 274766"/>
                <a:gd name="connsiteX16" fmla="*/ 54328 w 343449"/>
                <a:gd name="connsiteY16" fmla="*/ 141322 h 274766"/>
                <a:gd name="connsiteX17" fmla="*/ 36477 w 343449"/>
                <a:gd name="connsiteY17" fmla="*/ 153223 h 274766"/>
                <a:gd name="connsiteX18" fmla="*/ 66229 w 343449"/>
                <a:gd name="connsiteY18" fmla="*/ 188926 h 27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43449" h="274766">
                  <a:moveTo>
                    <a:pt x="66229" y="188926"/>
                  </a:moveTo>
                  <a:cubicBezTo>
                    <a:pt x="90031" y="203802"/>
                    <a:pt x="113832" y="215702"/>
                    <a:pt x="134659" y="230578"/>
                  </a:cubicBezTo>
                  <a:cubicBezTo>
                    <a:pt x="173336" y="251405"/>
                    <a:pt x="209039" y="284132"/>
                    <a:pt x="253667" y="272232"/>
                  </a:cubicBezTo>
                  <a:cubicBezTo>
                    <a:pt x="283419" y="263306"/>
                    <a:pt x="342923" y="197851"/>
                    <a:pt x="342923" y="194876"/>
                  </a:cubicBezTo>
                  <a:cubicBezTo>
                    <a:pt x="354823" y="111570"/>
                    <a:pt x="161434" y="28265"/>
                    <a:pt x="101930" y="4463"/>
                  </a:cubicBezTo>
                  <a:cubicBezTo>
                    <a:pt x="93005" y="1488"/>
                    <a:pt x="63253" y="-7438"/>
                    <a:pt x="69204" y="13389"/>
                  </a:cubicBezTo>
                  <a:cubicBezTo>
                    <a:pt x="72178" y="25289"/>
                    <a:pt x="93005" y="37190"/>
                    <a:pt x="101930" y="46116"/>
                  </a:cubicBezTo>
                  <a:cubicBezTo>
                    <a:pt x="116806" y="60992"/>
                    <a:pt x="131682" y="72893"/>
                    <a:pt x="146558" y="87769"/>
                  </a:cubicBezTo>
                  <a:cubicBezTo>
                    <a:pt x="122757" y="75868"/>
                    <a:pt x="98956" y="66942"/>
                    <a:pt x="75155" y="55041"/>
                  </a:cubicBezTo>
                  <a:cubicBezTo>
                    <a:pt x="60279" y="49091"/>
                    <a:pt x="42426" y="34215"/>
                    <a:pt x="24576" y="34215"/>
                  </a:cubicBezTo>
                  <a:cubicBezTo>
                    <a:pt x="12674" y="34215"/>
                    <a:pt x="3749" y="40165"/>
                    <a:pt x="774" y="52066"/>
                  </a:cubicBezTo>
                  <a:cubicBezTo>
                    <a:pt x="-2202" y="63967"/>
                    <a:pt x="3749" y="72893"/>
                    <a:pt x="12674" y="84793"/>
                  </a:cubicBezTo>
                  <a:cubicBezTo>
                    <a:pt x="12674" y="84793"/>
                    <a:pt x="9700" y="84793"/>
                    <a:pt x="9700" y="84793"/>
                  </a:cubicBezTo>
                  <a:cubicBezTo>
                    <a:pt x="6725" y="84793"/>
                    <a:pt x="6725" y="87769"/>
                    <a:pt x="6725" y="90744"/>
                  </a:cubicBezTo>
                  <a:cubicBezTo>
                    <a:pt x="9700" y="108595"/>
                    <a:pt x="21601" y="120496"/>
                    <a:pt x="36477" y="129422"/>
                  </a:cubicBezTo>
                  <a:cubicBezTo>
                    <a:pt x="45402" y="135372"/>
                    <a:pt x="51353" y="138347"/>
                    <a:pt x="60279" y="141322"/>
                  </a:cubicBezTo>
                  <a:cubicBezTo>
                    <a:pt x="57302" y="141322"/>
                    <a:pt x="54328" y="141322"/>
                    <a:pt x="54328" y="141322"/>
                  </a:cubicBezTo>
                  <a:cubicBezTo>
                    <a:pt x="45402" y="141322"/>
                    <a:pt x="39452" y="144298"/>
                    <a:pt x="36477" y="153223"/>
                  </a:cubicBezTo>
                  <a:cubicBezTo>
                    <a:pt x="36477" y="174050"/>
                    <a:pt x="57302" y="182975"/>
                    <a:pt x="66229" y="188926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80B105ED-1A78-416B-86C4-81FF6437CD40}"/>
                </a:ext>
              </a:extLst>
            </p:cNvPr>
            <p:cNvSpPr/>
            <p:nvPr/>
          </p:nvSpPr>
          <p:spPr>
            <a:xfrm>
              <a:off x="23437818" y="8464082"/>
              <a:ext cx="1525405" cy="643516"/>
            </a:xfrm>
            <a:custGeom>
              <a:avLst/>
              <a:gdLst>
                <a:gd name="connsiteX0" fmla="*/ 1511465 w 1525405"/>
                <a:gd name="connsiteY0" fmla="*/ 55302 h 643516"/>
                <a:gd name="connsiteX1" fmla="*/ 1005680 w 1525405"/>
                <a:gd name="connsiteY1" fmla="*/ 82079 h 643516"/>
                <a:gd name="connsiteX2" fmla="*/ 601051 w 1525405"/>
                <a:gd name="connsiteY2" fmla="*/ 284393 h 643516"/>
                <a:gd name="connsiteX3" fmla="*/ 101217 w 1525405"/>
                <a:gd name="connsiteY3" fmla="*/ 43401 h 643516"/>
                <a:gd name="connsiteX4" fmla="*/ 59 w 1525405"/>
                <a:gd name="connsiteY4" fmla="*/ 171335 h 643516"/>
                <a:gd name="connsiteX5" fmla="*/ 562374 w 1525405"/>
                <a:gd name="connsiteY5" fmla="*/ 641418 h 643516"/>
                <a:gd name="connsiteX6" fmla="*/ 1511465 w 1525405"/>
                <a:gd name="connsiteY6" fmla="*/ 55302 h 64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5405" h="643516">
                  <a:moveTo>
                    <a:pt x="1511465" y="55302"/>
                  </a:moveTo>
                  <a:cubicBezTo>
                    <a:pt x="1448985" y="-60731"/>
                    <a:pt x="1121712" y="34476"/>
                    <a:pt x="1005680" y="82079"/>
                  </a:cubicBezTo>
                  <a:cubicBezTo>
                    <a:pt x="901548" y="123732"/>
                    <a:pt x="601051" y="284393"/>
                    <a:pt x="601051" y="284393"/>
                  </a:cubicBezTo>
                  <a:cubicBezTo>
                    <a:pt x="601051" y="284393"/>
                    <a:pt x="193447" y="-22053"/>
                    <a:pt x="101217" y="43401"/>
                  </a:cubicBezTo>
                  <a:cubicBezTo>
                    <a:pt x="56589" y="85054"/>
                    <a:pt x="17911" y="135633"/>
                    <a:pt x="59" y="171335"/>
                  </a:cubicBezTo>
                  <a:cubicBezTo>
                    <a:pt x="-5890" y="352823"/>
                    <a:pt x="440391" y="614641"/>
                    <a:pt x="562374" y="641418"/>
                  </a:cubicBezTo>
                  <a:cubicBezTo>
                    <a:pt x="696258" y="674145"/>
                    <a:pt x="1651299" y="317120"/>
                    <a:pt x="1511465" y="55302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E9833BEB-1830-4697-B178-943DDEBE6A28}"/>
                </a:ext>
              </a:extLst>
            </p:cNvPr>
            <p:cNvSpPr/>
            <p:nvPr/>
          </p:nvSpPr>
          <p:spPr>
            <a:xfrm>
              <a:off x="25220026" y="8079053"/>
              <a:ext cx="65454" cy="136859"/>
            </a:xfrm>
            <a:custGeom>
              <a:avLst/>
              <a:gdLst>
                <a:gd name="connsiteX0" fmla="*/ 65455 w 65454"/>
                <a:gd name="connsiteY0" fmla="*/ 0 h 136859"/>
                <a:gd name="connsiteX1" fmla="*/ 2974 w 65454"/>
                <a:gd name="connsiteY1" fmla="*/ 136860 h 136859"/>
                <a:gd name="connsiteX2" fmla="*/ 0 w 65454"/>
                <a:gd name="connsiteY2" fmla="*/ 53554 h 136859"/>
                <a:gd name="connsiteX3" fmla="*/ 65455 w 65454"/>
                <a:gd name="connsiteY3" fmla="*/ 0 h 13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454" h="136859">
                  <a:moveTo>
                    <a:pt x="65455" y="0"/>
                  </a:moveTo>
                  <a:cubicBezTo>
                    <a:pt x="65455" y="0"/>
                    <a:pt x="53553" y="116033"/>
                    <a:pt x="2974" y="136860"/>
                  </a:cubicBezTo>
                  <a:lnTo>
                    <a:pt x="0" y="53554"/>
                  </a:lnTo>
                  <a:lnTo>
                    <a:pt x="65455" y="0"/>
                  </a:ln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C6E5174F-FB00-4EAE-88A4-A040CC7F3066}"/>
                </a:ext>
              </a:extLst>
            </p:cNvPr>
            <p:cNvSpPr/>
            <p:nvPr/>
          </p:nvSpPr>
          <p:spPr>
            <a:xfrm>
              <a:off x="24836027" y="7879715"/>
              <a:ext cx="99285" cy="232045"/>
            </a:xfrm>
            <a:custGeom>
              <a:avLst/>
              <a:gdLst>
                <a:gd name="connsiteX0" fmla="*/ 6147 w 99285"/>
                <a:gd name="connsiteY0" fmla="*/ 0 h 232045"/>
                <a:gd name="connsiteX1" fmla="*/ 47801 w 99285"/>
                <a:gd name="connsiteY1" fmla="*/ 229091 h 232045"/>
                <a:gd name="connsiteX2" fmla="*/ 98380 w 99285"/>
                <a:gd name="connsiteY2" fmla="*/ 11901 h 232045"/>
                <a:gd name="connsiteX3" fmla="*/ 6147 w 99285"/>
                <a:gd name="connsiteY3" fmla="*/ 0 h 232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285" h="232045">
                  <a:moveTo>
                    <a:pt x="6147" y="0"/>
                  </a:moveTo>
                  <a:cubicBezTo>
                    <a:pt x="6147" y="0"/>
                    <a:pt x="-23605" y="190414"/>
                    <a:pt x="47801" y="229091"/>
                  </a:cubicBezTo>
                  <a:cubicBezTo>
                    <a:pt x="110279" y="261818"/>
                    <a:pt x="98380" y="11901"/>
                    <a:pt x="98380" y="11901"/>
                  </a:cubicBezTo>
                  <a:lnTo>
                    <a:pt x="6147" y="0"/>
                  </a:ln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BFBBA06D-7199-47E4-85F9-D2515E4C27EB}"/>
                </a:ext>
              </a:extLst>
            </p:cNvPr>
            <p:cNvSpPr/>
            <p:nvPr/>
          </p:nvSpPr>
          <p:spPr>
            <a:xfrm>
              <a:off x="24871596" y="7742007"/>
              <a:ext cx="410908" cy="554824"/>
            </a:xfrm>
            <a:custGeom>
              <a:avLst/>
              <a:gdLst>
                <a:gd name="connsiteX0" fmla="*/ 9256 w 410908"/>
                <a:gd name="connsiteY0" fmla="*/ 179361 h 554824"/>
                <a:gd name="connsiteX1" fmla="*/ 9256 w 410908"/>
                <a:gd name="connsiteY1" fmla="*/ 423327 h 554824"/>
                <a:gd name="connsiteX2" fmla="*/ 163967 w 410908"/>
                <a:gd name="connsiteY2" fmla="*/ 554236 h 554824"/>
                <a:gd name="connsiteX3" fmla="*/ 375207 w 410908"/>
                <a:gd name="connsiteY3" fmla="*/ 414402 h 554824"/>
                <a:gd name="connsiteX4" fmla="*/ 410908 w 410908"/>
                <a:gd name="connsiteY4" fmla="*/ 194237 h 554824"/>
                <a:gd name="connsiteX5" fmla="*/ 202644 w 410908"/>
                <a:gd name="connsiteY5" fmla="*/ 848 h 554824"/>
                <a:gd name="connsiteX6" fmla="*/ 9256 w 410908"/>
                <a:gd name="connsiteY6" fmla="*/ 179361 h 554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0908" h="554824">
                  <a:moveTo>
                    <a:pt x="9256" y="179361"/>
                  </a:moveTo>
                  <a:cubicBezTo>
                    <a:pt x="9256" y="179361"/>
                    <a:pt x="-11569" y="351922"/>
                    <a:pt x="9256" y="423327"/>
                  </a:cubicBezTo>
                  <a:cubicBezTo>
                    <a:pt x="27108" y="488782"/>
                    <a:pt x="116364" y="551261"/>
                    <a:pt x="163967" y="554236"/>
                  </a:cubicBezTo>
                  <a:cubicBezTo>
                    <a:pt x="229422" y="560187"/>
                    <a:pt x="345455" y="521509"/>
                    <a:pt x="375207" y="414402"/>
                  </a:cubicBezTo>
                  <a:cubicBezTo>
                    <a:pt x="396032" y="342997"/>
                    <a:pt x="410908" y="244815"/>
                    <a:pt x="410908" y="194237"/>
                  </a:cubicBezTo>
                  <a:cubicBezTo>
                    <a:pt x="407934" y="102005"/>
                    <a:pt x="384133" y="24650"/>
                    <a:pt x="202644" y="848"/>
                  </a:cubicBezTo>
                  <a:cubicBezTo>
                    <a:pt x="119339" y="-11053"/>
                    <a:pt x="30082" y="104980"/>
                    <a:pt x="9256" y="179361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909D007B-3E0F-47C6-874C-6123E62D9FC7}"/>
                </a:ext>
              </a:extLst>
            </p:cNvPr>
            <p:cNvSpPr/>
            <p:nvPr/>
          </p:nvSpPr>
          <p:spPr>
            <a:xfrm>
              <a:off x="25005811" y="8001698"/>
              <a:ext cx="56529" cy="133884"/>
            </a:xfrm>
            <a:custGeom>
              <a:avLst/>
              <a:gdLst>
                <a:gd name="connsiteX0" fmla="*/ 29752 w 56529"/>
                <a:gd name="connsiteY0" fmla="*/ 133884 h 133884"/>
                <a:gd name="connsiteX1" fmla="*/ 5951 w 56529"/>
                <a:gd name="connsiteY1" fmla="*/ 127934 h 133884"/>
                <a:gd name="connsiteX2" fmla="*/ 0 w 56529"/>
                <a:gd name="connsiteY2" fmla="*/ 116033 h 133884"/>
                <a:gd name="connsiteX3" fmla="*/ 14876 w 56529"/>
                <a:gd name="connsiteY3" fmla="*/ 5950 h 133884"/>
                <a:gd name="connsiteX4" fmla="*/ 20827 w 56529"/>
                <a:gd name="connsiteY4" fmla="*/ 0 h 133884"/>
                <a:gd name="connsiteX5" fmla="*/ 26778 w 56529"/>
                <a:gd name="connsiteY5" fmla="*/ 5950 h 133884"/>
                <a:gd name="connsiteX6" fmla="*/ 11902 w 56529"/>
                <a:gd name="connsiteY6" fmla="*/ 116033 h 133884"/>
                <a:gd name="connsiteX7" fmla="*/ 11902 w 56529"/>
                <a:gd name="connsiteY7" fmla="*/ 119008 h 133884"/>
                <a:gd name="connsiteX8" fmla="*/ 50579 w 56529"/>
                <a:gd name="connsiteY8" fmla="*/ 119008 h 133884"/>
                <a:gd name="connsiteX9" fmla="*/ 56530 w 56529"/>
                <a:gd name="connsiteY9" fmla="*/ 124959 h 133884"/>
                <a:gd name="connsiteX10" fmla="*/ 50579 w 56529"/>
                <a:gd name="connsiteY10" fmla="*/ 130909 h 133884"/>
                <a:gd name="connsiteX11" fmla="*/ 29752 w 56529"/>
                <a:gd name="connsiteY11" fmla="*/ 133884 h 13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529" h="133884">
                  <a:moveTo>
                    <a:pt x="29752" y="133884"/>
                  </a:moveTo>
                  <a:cubicBezTo>
                    <a:pt x="20827" y="133884"/>
                    <a:pt x="11902" y="133884"/>
                    <a:pt x="5951" y="127934"/>
                  </a:cubicBezTo>
                  <a:cubicBezTo>
                    <a:pt x="2976" y="124959"/>
                    <a:pt x="0" y="121983"/>
                    <a:pt x="0" y="116033"/>
                  </a:cubicBezTo>
                  <a:cubicBezTo>
                    <a:pt x="0" y="95207"/>
                    <a:pt x="14876" y="8926"/>
                    <a:pt x="14876" y="5950"/>
                  </a:cubicBezTo>
                  <a:cubicBezTo>
                    <a:pt x="14876" y="2975"/>
                    <a:pt x="17852" y="0"/>
                    <a:pt x="20827" y="0"/>
                  </a:cubicBezTo>
                  <a:cubicBezTo>
                    <a:pt x="23801" y="0"/>
                    <a:pt x="26778" y="2975"/>
                    <a:pt x="26778" y="5950"/>
                  </a:cubicBezTo>
                  <a:cubicBezTo>
                    <a:pt x="26778" y="5950"/>
                    <a:pt x="11902" y="95207"/>
                    <a:pt x="11902" y="116033"/>
                  </a:cubicBezTo>
                  <a:cubicBezTo>
                    <a:pt x="11902" y="116033"/>
                    <a:pt x="11902" y="119008"/>
                    <a:pt x="11902" y="119008"/>
                  </a:cubicBezTo>
                  <a:cubicBezTo>
                    <a:pt x="17852" y="124959"/>
                    <a:pt x="38677" y="121983"/>
                    <a:pt x="50579" y="119008"/>
                  </a:cubicBezTo>
                  <a:cubicBezTo>
                    <a:pt x="53553" y="119008"/>
                    <a:pt x="56530" y="119008"/>
                    <a:pt x="56530" y="124959"/>
                  </a:cubicBezTo>
                  <a:cubicBezTo>
                    <a:pt x="56530" y="127934"/>
                    <a:pt x="56530" y="130909"/>
                    <a:pt x="50579" y="130909"/>
                  </a:cubicBezTo>
                  <a:cubicBezTo>
                    <a:pt x="50579" y="130909"/>
                    <a:pt x="41654" y="133884"/>
                    <a:pt x="29752" y="133884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54468486-FA1D-477E-8B42-012C27D7CB6D}"/>
                </a:ext>
              </a:extLst>
            </p:cNvPr>
            <p:cNvSpPr/>
            <p:nvPr/>
          </p:nvSpPr>
          <p:spPr>
            <a:xfrm>
              <a:off x="24936798" y="7977313"/>
              <a:ext cx="39260" cy="40019"/>
            </a:xfrm>
            <a:custGeom>
              <a:avLst/>
              <a:gdLst>
                <a:gd name="connsiteX0" fmla="*/ 39261 w 39260"/>
                <a:gd name="connsiteY0" fmla="*/ 24385 h 40019"/>
                <a:gd name="connsiteX1" fmla="*/ 15459 w 39260"/>
                <a:gd name="connsiteY1" fmla="*/ 39261 h 40019"/>
                <a:gd name="connsiteX2" fmla="*/ 583 w 39260"/>
                <a:gd name="connsiteY2" fmla="*/ 15460 h 40019"/>
                <a:gd name="connsiteX3" fmla="*/ 24385 w 39260"/>
                <a:gd name="connsiteY3" fmla="*/ 584 h 40019"/>
                <a:gd name="connsiteX4" fmla="*/ 39261 w 39260"/>
                <a:gd name="connsiteY4" fmla="*/ 24385 h 4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60" h="40019">
                  <a:moveTo>
                    <a:pt x="39261" y="24385"/>
                  </a:moveTo>
                  <a:cubicBezTo>
                    <a:pt x="36286" y="36286"/>
                    <a:pt x="27361" y="42236"/>
                    <a:pt x="15459" y="39261"/>
                  </a:cubicBezTo>
                  <a:cubicBezTo>
                    <a:pt x="6534" y="36286"/>
                    <a:pt x="-2391" y="27360"/>
                    <a:pt x="583" y="15460"/>
                  </a:cubicBezTo>
                  <a:cubicBezTo>
                    <a:pt x="3558" y="6534"/>
                    <a:pt x="12485" y="-2392"/>
                    <a:pt x="24385" y="584"/>
                  </a:cubicBezTo>
                  <a:cubicBezTo>
                    <a:pt x="33310" y="6534"/>
                    <a:pt x="39261" y="15460"/>
                    <a:pt x="39261" y="24385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944DCE47-73BC-4CCF-9406-BB75ABAF9624}"/>
                </a:ext>
              </a:extLst>
            </p:cNvPr>
            <p:cNvSpPr/>
            <p:nvPr/>
          </p:nvSpPr>
          <p:spPr>
            <a:xfrm>
              <a:off x="25115136" y="7995164"/>
              <a:ext cx="40019" cy="40019"/>
            </a:xfrm>
            <a:custGeom>
              <a:avLst/>
              <a:gdLst>
                <a:gd name="connsiteX0" fmla="*/ 39435 w 40019"/>
                <a:gd name="connsiteY0" fmla="*/ 24385 h 40019"/>
                <a:gd name="connsiteX1" fmla="*/ 15634 w 40019"/>
                <a:gd name="connsiteY1" fmla="*/ 39261 h 40019"/>
                <a:gd name="connsiteX2" fmla="*/ 758 w 40019"/>
                <a:gd name="connsiteY2" fmla="*/ 15460 h 40019"/>
                <a:gd name="connsiteX3" fmla="*/ 24559 w 40019"/>
                <a:gd name="connsiteY3" fmla="*/ 584 h 40019"/>
                <a:gd name="connsiteX4" fmla="*/ 39435 w 40019"/>
                <a:gd name="connsiteY4" fmla="*/ 24385 h 4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19" h="40019">
                  <a:moveTo>
                    <a:pt x="39435" y="24385"/>
                  </a:moveTo>
                  <a:cubicBezTo>
                    <a:pt x="36461" y="36286"/>
                    <a:pt x="27536" y="42236"/>
                    <a:pt x="15634" y="39261"/>
                  </a:cubicBezTo>
                  <a:cubicBezTo>
                    <a:pt x="3732" y="36286"/>
                    <a:pt x="-2217" y="27360"/>
                    <a:pt x="758" y="15460"/>
                  </a:cubicBezTo>
                  <a:cubicBezTo>
                    <a:pt x="3732" y="6534"/>
                    <a:pt x="12660" y="-2392"/>
                    <a:pt x="24559" y="584"/>
                  </a:cubicBezTo>
                  <a:cubicBezTo>
                    <a:pt x="33485" y="3559"/>
                    <a:pt x="42412" y="15460"/>
                    <a:pt x="39435" y="24385"/>
                  </a:cubicBezTo>
                  <a:close/>
                </a:path>
              </a:pathLst>
            </a:custGeom>
            <a:solidFill>
              <a:srgbClr val="38333D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2F424665-65B7-4987-BFF5-324C0B62B1D6}"/>
                </a:ext>
              </a:extLst>
            </p:cNvPr>
            <p:cNvSpPr/>
            <p:nvPr/>
          </p:nvSpPr>
          <p:spPr>
            <a:xfrm>
              <a:off x="24911348" y="7929156"/>
              <a:ext cx="89744" cy="33864"/>
            </a:xfrm>
            <a:custGeom>
              <a:avLst/>
              <a:gdLst>
                <a:gd name="connsiteX0" fmla="*/ 8183 w 89744"/>
                <a:gd name="connsiteY0" fmla="*/ 33864 h 33864"/>
                <a:gd name="connsiteX1" fmla="*/ 2232 w 89744"/>
                <a:gd name="connsiteY1" fmla="*/ 30889 h 33864"/>
                <a:gd name="connsiteX2" fmla="*/ 2232 w 89744"/>
                <a:gd name="connsiteY2" fmla="*/ 18988 h 33864"/>
                <a:gd name="connsiteX3" fmla="*/ 85538 w 89744"/>
                <a:gd name="connsiteY3" fmla="*/ 10062 h 33864"/>
                <a:gd name="connsiteX4" fmla="*/ 88512 w 89744"/>
                <a:gd name="connsiteY4" fmla="*/ 18988 h 33864"/>
                <a:gd name="connsiteX5" fmla="*/ 79587 w 89744"/>
                <a:gd name="connsiteY5" fmla="*/ 21964 h 33864"/>
                <a:gd name="connsiteX6" fmla="*/ 14132 w 89744"/>
                <a:gd name="connsiteY6" fmla="*/ 27914 h 33864"/>
                <a:gd name="connsiteX7" fmla="*/ 8183 w 89744"/>
                <a:gd name="connsiteY7" fmla="*/ 33864 h 33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3864">
                  <a:moveTo>
                    <a:pt x="8183" y="33864"/>
                  </a:moveTo>
                  <a:cubicBezTo>
                    <a:pt x="5207" y="33864"/>
                    <a:pt x="5207" y="33864"/>
                    <a:pt x="2232" y="30889"/>
                  </a:cubicBezTo>
                  <a:cubicBezTo>
                    <a:pt x="-744" y="27914"/>
                    <a:pt x="-744" y="21964"/>
                    <a:pt x="2232" y="18988"/>
                  </a:cubicBezTo>
                  <a:cubicBezTo>
                    <a:pt x="29008" y="-10764"/>
                    <a:pt x="67687" y="1137"/>
                    <a:pt x="85538" y="10062"/>
                  </a:cubicBezTo>
                  <a:cubicBezTo>
                    <a:pt x="88512" y="13038"/>
                    <a:pt x="91488" y="16013"/>
                    <a:pt x="88512" y="18988"/>
                  </a:cubicBezTo>
                  <a:cubicBezTo>
                    <a:pt x="85538" y="21964"/>
                    <a:pt x="82563" y="24938"/>
                    <a:pt x="79587" y="21964"/>
                  </a:cubicBezTo>
                  <a:cubicBezTo>
                    <a:pt x="76612" y="21964"/>
                    <a:pt x="37935" y="1137"/>
                    <a:pt x="14132" y="27914"/>
                  </a:cubicBezTo>
                  <a:cubicBezTo>
                    <a:pt x="11157" y="33864"/>
                    <a:pt x="11157" y="33864"/>
                    <a:pt x="8183" y="33864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B0845F74-BFFD-424F-8587-9049E6EE2813}"/>
                </a:ext>
              </a:extLst>
            </p:cNvPr>
            <p:cNvSpPr/>
            <p:nvPr/>
          </p:nvSpPr>
          <p:spPr>
            <a:xfrm>
              <a:off x="25093835" y="7930596"/>
              <a:ext cx="89744" cy="35399"/>
            </a:xfrm>
            <a:custGeom>
              <a:avLst/>
              <a:gdLst>
                <a:gd name="connsiteX0" fmla="*/ 84537 w 89744"/>
                <a:gd name="connsiteY0" fmla="*/ 35400 h 35399"/>
                <a:gd name="connsiteX1" fmla="*/ 78588 w 89744"/>
                <a:gd name="connsiteY1" fmla="*/ 32424 h 35399"/>
                <a:gd name="connsiteX2" fmla="*/ 13134 w 89744"/>
                <a:gd name="connsiteY2" fmla="*/ 26474 h 35399"/>
                <a:gd name="connsiteX3" fmla="*/ 1232 w 89744"/>
                <a:gd name="connsiteY3" fmla="*/ 23499 h 35399"/>
                <a:gd name="connsiteX4" fmla="*/ 4208 w 89744"/>
                <a:gd name="connsiteY4" fmla="*/ 11598 h 35399"/>
                <a:gd name="connsiteX5" fmla="*/ 87514 w 89744"/>
                <a:gd name="connsiteY5" fmla="*/ 20524 h 35399"/>
                <a:gd name="connsiteX6" fmla="*/ 87514 w 89744"/>
                <a:gd name="connsiteY6" fmla="*/ 32424 h 35399"/>
                <a:gd name="connsiteX7" fmla="*/ 84537 w 89744"/>
                <a:gd name="connsiteY7" fmla="*/ 35400 h 3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5399">
                  <a:moveTo>
                    <a:pt x="84537" y="35400"/>
                  </a:moveTo>
                  <a:cubicBezTo>
                    <a:pt x="81563" y="35400"/>
                    <a:pt x="81563" y="35400"/>
                    <a:pt x="78588" y="32424"/>
                  </a:cubicBezTo>
                  <a:cubicBezTo>
                    <a:pt x="78588" y="32424"/>
                    <a:pt x="48836" y="2672"/>
                    <a:pt x="13134" y="26474"/>
                  </a:cubicBezTo>
                  <a:cubicBezTo>
                    <a:pt x="10157" y="29449"/>
                    <a:pt x="4208" y="26474"/>
                    <a:pt x="1232" y="23499"/>
                  </a:cubicBezTo>
                  <a:cubicBezTo>
                    <a:pt x="-1742" y="20524"/>
                    <a:pt x="1232" y="14573"/>
                    <a:pt x="4208" y="11598"/>
                  </a:cubicBezTo>
                  <a:cubicBezTo>
                    <a:pt x="39909" y="-12204"/>
                    <a:pt x="75612" y="5648"/>
                    <a:pt x="87514" y="20524"/>
                  </a:cubicBezTo>
                  <a:cubicBezTo>
                    <a:pt x="90488" y="23499"/>
                    <a:pt x="90488" y="29449"/>
                    <a:pt x="87514" y="32424"/>
                  </a:cubicBezTo>
                  <a:cubicBezTo>
                    <a:pt x="90488" y="35400"/>
                    <a:pt x="87514" y="35400"/>
                    <a:pt x="84537" y="35400"/>
                  </a:cubicBezTo>
                  <a:close/>
                </a:path>
              </a:pathLst>
            </a:custGeom>
            <a:solidFill>
              <a:srgbClr val="664540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4D9846E8-CDDE-4E72-BD34-F8B37384DD1B}"/>
                </a:ext>
              </a:extLst>
            </p:cNvPr>
            <p:cNvSpPr/>
            <p:nvPr/>
          </p:nvSpPr>
          <p:spPr>
            <a:xfrm>
              <a:off x="25246803" y="7994299"/>
              <a:ext cx="75710" cy="111296"/>
            </a:xfrm>
            <a:custGeom>
              <a:avLst/>
              <a:gdLst>
                <a:gd name="connsiteX0" fmla="*/ 11900 w 75710"/>
                <a:gd name="connsiteY0" fmla="*/ 16325 h 111296"/>
                <a:gd name="connsiteX1" fmla="*/ 68430 w 75710"/>
                <a:gd name="connsiteY1" fmla="*/ 7399 h 111296"/>
                <a:gd name="connsiteX2" fmla="*/ 11900 w 75710"/>
                <a:gd name="connsiteY2" fmla="*/ 108556 h 111296"/>
                <a:gd name="connsiteX3" fmla="*/ 11900 w 75710"/>
                <a:gd name="connsiteY3" fmla="*/ 16325 h 111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710" h="111296">
                  <a:moveTo>
                    <a:pt x="11900" y="16325"/>
                  </a:moveTo>
                  <a:cubicBezTo>
                    <a:pt x="11900" y="16325"/>
                    <a:pt x="44629" y="-13427"/>
                    <a:pt x="68430" y="7399"/>
                  </a:cubicBezTo>
                  <a:cubicBezTo>
                    <a:pt x="92231" y="25250"/>
                    <a:pt x="53554" y="129382"/>
                    <a:pt x="11900" y="108556"/>
                  </a:cubicBezTo>
                  <a:cubicBezTo>
                    <a:pt x="-14875" y="87730"/>
                    <a:pt x="11900" y="16325"/>
                    <a:pt x="11900" y="16325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98A91F29-9737-4A61-88A6-4D1C97207AAC}"/>
                </a:ext>
              </a:extLst>
            </p:cNvPr>
            <p:cNvSpPr/>
            <p:nvPr/>
          </p:nvSpPr>
          <p:spPr>
            <a:xfrm>
              <a:off x="24826773" y="7633838"/>
              <a:ext cx="500863" cy="394637"/>
            </a:xfrm>
            <a:custGeom>
              <a:avLst/>
              <a:gdLst>
                <a:gd name="connsiteX0" fmla="*/ 437882 w 500863"/>
                <a:gd name="connsiteY0" fmla="*/ 132819 h 394637"/>
                <a:gd name="connsiteX1" fmla="*/ 420031 w 500863"/>
                <a:gd name="connsiteY1" fmla="*/ 94142 h 394637"/>
                <a:gd name="connsiteX2" fmla="*/ 408130 w 500863"/>
                <a:gd name="connsiteY2" fmla="*/ 97116 h 394637"/>
                <a:gd name="connsiteX3" fmla="*/ 378378 w 500863"/>
                <a:gd name="connsiteY3" fmla="*/ 76290 h 394637"/>
                <a:gd name="connsiteX4" fmla="*/ 366476 w 500863"/>
                <a:gd name="connsiteY4" fmla="*/ 58439 h 394637"/>
                <a:gd name="connsiteX5" fmla="*/ 336724 w 500863"/>
                <a:gd name="connsiteY5" fmla="*/ 25712 h 394637"/>
                <a:gd name="connsiteX6" fmla="*/ 303997 w 500863"/>
                <a:gd name="connsiteY6" fmla="*/ 22736 h 394637"/>
                <a:gd name="connsiteX7" fmla="*/ 250444 w 500863"/>
                <a:gd name="connsiteY7" fmla="*/ 7860 h 394637"/>
                <a:gd name="connsiteX8" fmla="*/ 238542 w 500863"/>
                <a:gd name="connsiteY8" fmla="*/ 1910 h 394637"/>
                <a:gd name="connsiteX9" fmla="*/ 116560 w 500863"/>
                <a:gd name="connsiteY9" fmla="*/ 37612 h 394637"/>
                <a:gd name="connsiteX10" fmla="*/ 57056 w 500863"/>
                <a:gd name="connsiteY10" fmla="*/ 58439 h 394637"/>
                <a:gd name="connsiteX11" fmla="*/ 42180 w 500863"/>
                <a:gd name="connsiteY11" fmla="*/ 100092 h 394637"/>
                <a:gd name="connsiteX12" fmla="*/ 24327 w 500863"/>
                <a:gd name="connsiteY12" fmla="*/ 126869 h 394637"/>
                <a:gd name="connsiteX13" fmla="*/ 18378 w 500863"/>
                <a:gd name="connsiteY13" fmla="*/ 162571 h 394637"/>
                <a:gd name="connsiteX14" fmla="*/ 21353 w 500863"/>
                <a:gd name="connsiteY14" fmla="*/ 195298 h 394637"/>
                <a:gd name="connsiteX15" fmla="*/ 3502 w 500863"/>
                <a:gd name="connsiteY15" fmla="*/ 236951 h 394637"/>
                <a:gd name="connsiteX16" fmla="*/ 21353 w 500863"/>
                <a:gd name="connsiteY16" fmla="*/ 332158 h 394637"/>
                <a:gd name="connsiteX17" fmla="*/ 30278 w 500863"/>
                <a:gd name="connsiteY17" fmla="*/ 335133 h 394637"/>
                <a:gd name="connsiteX18" fmla="*/ 39203 w 500863"/>
                <a:gd name="connsiteY18" fmla="*/ 364885 h 394637"/>
                <a:gd name="connsiteX19" fmla="*/ 57056 w 500863"/>
                <a:gd name="connsiteY19" fmla="*/ 311331 h 394637"/>
                <a:gd name="connsiteX20" fmla="*/ 86808 w 500863"/>
                <a:gd name="connsiteY20" fmla="*/ 299431 h 394637"/>
                <a:gd name="connsiteX21" fmla="*/ 104658 w 500863"/>
                <a:gd name="connsiteY21" fmla="*/ 278604 h 394637"/>
                <a:gd name="connsiteX22" fmla="*/ 110609 w 500863"/>
                <a:gd name="connsiteY22" fmla="*/ 269679 h 394637"/>
                <a:gd name="connsiteX23" fmla="*/ 116560 w 500863"/>
                <a:gd name="connsiteY23" fmla="*/ 266703 h 394637"/>
                <a:gd name="connsiteX24" fmla="*/ 122510 w 500863"/>
                <a:gd name="connsiteY24" fmla="*/ 266703 h 394637"/>
                <a:gd name="connsiteX25" fmla="*/ 128459 w 500863"/>
                <a:gd name="connsiteY25" fmla="*/ 263728 h 394637"/>
                <a:gd name="connsiteX26" fmla="*/ 137387 w 500863"/>
                <a:gd name="connsiteY26" fmla="*/ 257778 h 394637"/>
                <a:gd name="connsiteX27" fmla="*/ 149286 w 500863"/>
                <a:gd name="connsiteY27" fmla="*/ 260753 h 394637"/>
                <a:gd name="connsiteX28" fmla="*/ 161188 w 500863"/>
                <a:gd name="connsiteY28" fmla="*/ 260753 h 394637"/>
                <a:gd name="connsiteX29" fmla="*/ 196891 w 500863"/>
                <a:gd name="connsiteY29" fmla="*/ 251827 h 394637"/>
                <a:gd name="connsiteX30" fmla="*/ 247468 w 500863"/>
                <a:gd name="connsiteY30" fmla="*/ 236951 h 394637"/>
                <a:gd name="connsiteX31" fmla="*/ 262344 w 500863"/>
                <a:gd name="connsiteY31" fmla="*/ 245877 h 394637"/>
                <a:gd name="connsiteX32" fmla="*/ 298047 w 500863"/>
                <a:gd name="connsiteY32" fmla="*/ 225050 h 394637"/>
                <a:gd name="connsiteX33" fmla="*/ 309948 w 500863"/>
                <a:gd name="connsiteY33" fmla="*/ 228026 h 394637"/>
                <a:gd name="connsiteX34" fmla="*/ 384328 w 500863"/>
                <a:gd name="connsiteY34" fmla="*/ 254803 h 394637"/>
                <a:gd name="connsiteX35" fmla="*/ 393254 w 500863"/>
                <a:gd name="connsiteY35" fmla="*/ 257778 h 394637"/>
                <a:gd name="connsiteX36" fmla="*/ 443832 w 500863"/>
                <a:gd name="connsiteY36" fmla="*/ 394637 h 394637"/>
                <a:gd name="connsiteX37" fmla="*/ 500360 w 500863"/>
                <a:gd name="connsiteY37" fmla="*/ 296455 h 394637"/>
                <a:gd name="connsiteX38" fmla="*/ 437882 w 500863"/>
                <a:gd name="connsiteY38" fmla="*/ 132819 h 394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00863" h="394637">
                  <a:moveTo>
                    <a:pt x="437882" y="132819"/>
                  </a:moveTo>
                  <a:cubicBezTo>
                    <a:pt x="437882" y="117943"/>
                    <a:pt x="434907" y="103067"/>
                    <a:pt x="420031" y="94142"/>
                  </a:cubicBezTo>
                  <a:cubicBezTo>
                    <a:pt x="405155" y="82240"/>
                    <a:pt x="408130" y="94142"/>
                    <a:pt x="408130" y="97116"/>
                  </a:cubicBezTo>
                  <a:cubicBezTo>
                    <a:pt x="399204" y="91166"/>
                    <a:pt x="390279" y="82240"/>
                    <a:pt x="378378" y="76290"/>
                  </a:cubicBezTo>
                  <a:cubicBezTo>
                    <a:pt x="372427" y="70340"/>
                    <a:pt x="369452" y="64389"/>
                    <a:pt x="366476" y="58439"/>
                  </a:cubicBezTo>
                  <a:cubicBezTo>
                    <a:pt x="357551" y="46538"/>
                    <a:pt x="351600" y="34637"/>
                    <a:pt x="336724" y="25712"/>
                  </a:cubicBezTo>
                  <a:cubicBezTo>
                    <a:pt x="324824" y="19761"/>
                    <a:pt x="315899" y="22736"/>
                    <a:pt x="303997" y="22736"/>
                  </a:cubicBezTo>
                  <a:cubicBezTo>
                    <a:pt x="283171" y="22736"/>
                    <a:pt x="268295" y="16786"/>
                    <a:pt x="250444" y="7860"/>
                  </a:cubicBezTo>
                  <a:cubicBezTo>
                    <a:pt x="247468" y="4885"/>
                    <a:pt x="241519" y="1910"/>
                    <a:pt x="238542" y="1910"/>
                  </a:cubicBezTo>
                  <a:cubicBezTo>
                    <a:pt x="193914" y="-9991"/>
                    <a:pt x="161188" y="37612"/>
                    <a:pt x="116560" y="37612"/>
                  </a:cubicBezTo>
                  <a:cubicBezTo>
                    <a:pt x="92758" y="37612"/>
                    <a:pt x="68955" y="34637"/>
                    <a:pt x="57056" y="58439"/>
                  </a:cubicBezTo>
                  <a:cubicBezTo>
                    <a:pt x="51105" y="73315"/>
                    <a:pt x="51105" y="85216"/>
                    <a:pt x="42180" y="100092"/>
                  </a:cubicBezTo>
                  <a:cubicBezTo>
                    <a:pt x="36229" y="109018"/>
                    <a:pt x="27303" y="117943"/>
                    <a:pt x="24327" y="126869"/>
                  </a:cubicBezTo>
                  <a:cubicBezTo>
                    <a:pt x="18378" y="135794"/>
                    <a:pt x="15402" y="150670"/>
                    <a:pt x="18378" y="162571"/>
                  </a:cubicBezTo>
                  <a:cubicBezTo>
                    <a:pt x="21353" y="180422"/>
                    <a:pt x="30278" y="180422"/>
                    <a:pt x="21353" y="195298"/>
                  </a:cubicBezTo>
                  <a:cubicBezTo>
                    <a:pt x="15402" y="210174"/>
                    <a:pt x="6477" y="222075"/>
                    <a:pt x="3502" y="236951"/>
                  </a:cubicBezTo>
                  <a:cubicBezTo>
                    <a:pt x="-5425" y="269679"/>
                    <a:pt x="3502" y="302406"/>
                    <a:pt x="21353" y="332158"/>
                  </a:cubicBezTo>
                  <a:cubicBezTo>
                    <a:pt x="24327" y="335133"/>
                    <a:pt x="27303" y="335133"/>
                    <a:pt x="30278" y="335133"/>
                  </a:cubicBezTo>
                  <a:cubicBezTo>
                    <a:pt x="33254" y="352984"/>
                    <a:pt x="39203" y="364885"/>
                    <a:pt x="39203" y="364885"/>
                  </a:cubicBezTo>
                  <a:cubicBezTo>
                    <a:pt x="36229" y="347034"/>
                    <a:pt x="42180" y="329183"/>
                    <a:pt x="57056" y="311331"/>
                  </a:cubicBezTo>
                  <a:cubicBezTo>
                    <a:pt x="65981" y="308356"/>
                    <a:pt x="77882" y="305381"/>
                    <a:pt x="86808" y="299431"/>
                  </a:cubicBezTo>
                  <a:cubicBezTo>
                    <a:pt x="95733" y="293480"/>
                    <a:pt x="98707" y="284555"/>
                    <a:pt x="104658" y="278604"/>
                  </a:cubicBezTo>
                  <a:cubicBezTo>
                    <a:pt x="104658" y="275629"/>
                    <a:pt x="107634" y="272654"/>
                    <a:pt x="110609" y="269679"/>
                  </a:cubicBezTo>
                  <a:cubicBezTo>
                    <a:pt x="113583" y="269679"/>
                    <a:pt x="116560" y="266703"/>
                    <a:pt x="116560" y="266703"/>
                  </a:cubicBezTo>
                  <a:cubicBezTo>
                    <a:pt x="119534" y="266703"/>
                    <a:pt x="119534" y="266703"/>
                    <a:pt x="122510" y="266703"/>
                  </a:cubicBezTo>
                  <a:cubicBezTo>
                    <a:pt x="125485" y="263728"/>
                    <a:pt x="125485" y="263728"/>
                    <a:pt x="128459" y="263728"/>
                  </a:cubicBezTo>
                  <a:cubicBezTo>
                    <a:pt x="131436" y="260753"/>
                    <a:pt x="134410" y="260753"/>
                    <a:pt x="137387" y="257778"/>
                  </a:cubicBezTo>
                  <a:cubicBezTo>
                    <a:pt x="140361" y="257778"/>
                    <a:pt x="146312" y="257778"/>
                    <a:pt x="149286" y="260753"/>
                  </a:cubicBezTo>
                  <a:cubicBezTo>
                    <a:pt x="152263" y="260753"/>
                    <a:pt x="158212" y="260753"/>
                    <a:pt x="161188" y="260753"/>
                  </a:cubicBezTo>
                  <a:cubicBezTo>
                    <a:pt x="173088" y="260753"/>
                    <a:pt x="184989" y="257778"/>
                    <a:pt x="196891" y="251827"/>
                  </a:cubicBezTo>
                  <a:cubicBezTo>
                    <a:pt x="214741" y="242902"/>
                    <a:pt x="223666" y="228026"/>
                    <a:pt x="247468" y="236951"/>
                  </a:cubicBezTo>
                  <a:cubicBezTo>
                    <a:pt x="253418" y="239927"/>
                    <a:pt x="256395" y="245877"/>
                    <a:pt x="262344" y="245877"/>
                  </a:cubicBezTo>
                  <a:cubicBezTo>
                    <a:pt x="277220" y="248852"/>
                    <a:pt x="289121" y="236951"/>
                    <a:pt x="298047" y="225050"/>
                  </a:cubicBezTo>
                  <a:cubicBezTo>
                    <a:pt x="301023" y="225050"/>
                    <a:pt x="306972" y="228026"/>
                    <a:pt x="309948" y="228026"/>
                  </a:cubicBezTo>
                  <a:cubicBezTo>
                    <a:pt x="330775" y="242902"/>
                    <a:pt x="357551" y="251827"/>
                    <a:pt x="384328" y="254803"/>
                  </a:cubicBezTo>
                  <a:cubicBezTo>
                    <a:pt x="390279" y="257778"/>
                    <a:pt x="393254" y="257778"/>
                    <a:pt x="393254" y="257778"/>
                  </a:cubicBezTo>
                  <a:cubicBezTo>
                    <a:pt x="393254" y="257778"/>
                    <a:pt x="449783" y="364885"/>
                    <a:pt x="443832" y="394637"/>
                  </a:cubicBezTo>
                  <a:cubicBezTo>
                    <a:pt x="443832" y="394637"/>
                    <a:pt x="485484" y="350009"/>
                    <a:pt x="500360" y="296455"/>
                  </a:cubicBezTo>
                  <a:cubicBezTo>
                    <a:pt x="503337" y="239927"/>
                    <a:pt x="494411" y="153646"/>
                    <a:pt x="437882" y="132819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6A353995-1D2E-4EFE-93B9-D01803D8B3A2}"/>
                </a:ext>
              </a:extLst>
            </p:cNvPr>
            <p:cNvSpPr/>
            <p:nvPr/>
          </p:nvSpPr>
          <p:spPr>
            <a:xfrm>
              <a:off x="25203828" y="7881368"/>
              <a:ext cx="59083" cy="135206"/>
            </a:xfrm>
            <a:custGeom>
              <a:avLst/>
              <a:gdLst>
                <a:gd name="connsiteX0" fmla="*/ 54875 w 59083"/>
                <a:gd name="connsiteY0" fmla="*/ 135207 h 135206"/>
                <a:gd name="connsiteX1" fmla="*/ 48925 w 59083"/>
                <a:gd name="connsiteY1" fmla="*/ 129256 h 135206"/>
                <a:gd name="connsiteX2" fmla="*/ 1322 w 59083"/>
                <a:gd name="connsiteY2" fmla="*/ 10248 h 135206"/>
                <a:gd name="connsiteX3" fmla="*/ 1322 w 59083"/>
                <a:gd name="connsiteY3" fmla="*/ 1322 h 135206"/>
                <a:gd name="connsiteX4" fmla="*/ 10247 w 59083"/>
                <a:gd name="connsiteY4" fmla="*/ 1322 h 135206"/>
                <a:gd name="connsiteX5" fmla="*/ 57852 w 59083"/>
                <a:gd name="connsiteY5" fmla="*/ 123306 h 135206"/>
                <a:gd name="connsiteX6" fmla="*/ 54875 w 59083"/>
                <a:gd name="connsiteY6" fmla="*/ 135207 h 135206"/>
                <a:gd name="connsiteX7" fmla="*/ 54875 w 59083"/>
                <a:gd name="connsiteY7" fmla="*/ 135207 h 135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083" h="135206">
                  <a:moveTo>
                    <a:pt x="54875" y="135207"/>
                  </a:moveTo>
                  <a:cubicBezTo>
                    <a:pt x="51901" y="135207"/>
                    <a:pt x="48925" y="132231"/>
                    <a:pt x="48925" y="129256"/>
                  </a:cubicBezTo>
                  <a:cubicBezTo>
                    <a:pt x="42976" y="69752"/>
                    <a:pt x="1322" y="13223"/>
                    <a:pt x="1322" y="10248"/>
                  </a:cubicBezTo>
                  <a:cubicBezTo>
                    <a:pt x="-1652" y="7273"/>
                    <a:pt x="1322" y="4297"/>
                    <a:pt x="1322" y="1322"/>
                  </a:cubicBezTo>
                  <a:cubicBezTo>
                    <a:pt x="4296" y="-1653"/>
                    <a:pt x="7273" y="1322"/>
                    <a:pt x="10247" y="1322"/>
                  </a:cubicBezTo>
                  <a:cubicBezTo>
                    <a:pt x="13224" y="4297"/>
                    <a:pt x="54875" y="60827"/>
                    <a:pt x="57852" y="123306"/>
                  </a:cubicBezTo>
                  <a:cubicBezTo>
                    <a:pt x="60826" y="132231"/>
                    <a:pt x="57852" y="135207"/>
                    <a:pt x="54875" y="135207"/>
                  </a:cubicBezTo>
                  <a:cubicBezTo>
                    <a:pt x="54875" y="135207"/>
                    <a:pt x="54875" y="135207"/>
                    <a:pt x="54875" y="135207"/>
                  </a:cubicBezTo>
                  <a:close/>
                </a:path>
              </a:pathLst>
            </a:custGeom>
            <a:solidFill>
              <a:srgbClr val="D3977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AA181B9A-85C9-4DE6-BA58-6E547B0CC122}"/>
                </a:ext>
              </a:extLst>
            </p:cNvPr>
            <p:cNvSpPr/>
            <p:nvPr/>
          </p:nvSpPr>
          <p:spPr>
            <a:xfrm>
              <a:off x="24964159" y="8209963"/>
              <a:ext cx="243965" cy="252009"/>
            </a:xfrm>
            <a:custGeom>
              <a:avLst/>
              <a:gdLst>
                <a:gd name="connsiteX0" fmla="*/ 0 w 243965"/>
                <a:gd name="connsiteY0" fmla="*/ 38678 h 252009"/>
                <a:gd name="connsiteX1" fmla="*/ 5949 w 243965"/>
                <a:gd name="connsiteY1" fmla="*/ 208264 h 252009"/>
                <a:gd name="connsiteX2" fmla="*/ 243966 w 243965"/>
                <a:gd name="connsiteY2" fmla="*/ 199339 h 252009"/>
                <a:gd name="connsiteX3" fmla="*/ 229089 w 243965"/>
                <a:gd name="connsiteY3" fmla="*/ 0 h 252009"/>
                <a:gd name="connsiteX4" fmla="*/ 0 w 243965"/>
                <a:gd name="connsiteY4" fmla="*/ 38678 h 2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965" h="252009">
                  <a:moveTo>
                    <a:pt x="0" y="38678"/>
                  </a:moveTo>
                  <a:cubicBezTo>
                    <a:pt x="0" y="38678"/>
                    <a:pt x="5949" y="136859"/>
                    <a:pt x="5949" y="208264"/>
                  </a:cubicBezTo>
                  <a:cubicBezTo>
                    <a:pt x="5949" y="208264"/>
                    <a:pt x="98181" y="312397"/>
                    <a:pt x="243966" y="199339"/>
                  </a:cubicBezTo>
                  <a:cubicBezTo>
                    <a:pt x="243966" y="139835"/>
                    <a:pt x="232066" y="62479"/>
                    <a:pt x="229089" y="0"/>
                  </a:cubicBezTo>
                  <a:cubicBezTo>
                    <a:pt x="232066" y="0"/>
                    <a:pt x="50577" y="50578"/>
                    <a:pt x="0" y="38678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574E5F24-F3B3-48A2-A04C-A6202651C32A}"/>
                </a:ext>
              </a:extLst>
            </p:cNvPr>
            <p:cNvSpPr/>
            <p:nvPr/>
          </p:nvSpPr>
          <p:spPr>
            <a:xfrm>
              <a:off x="24567658" y="8370624"/>
              <a:ext cx="1045096" cy="1529076"/>
            </a:xfrm>
            <a:custGeom>
              <a:avLst/>
              <a:gdLst>
                <a:gd name="connsiteX0" fmla="*/ 658319 w 1045096"/>
                <a:gd name="connsiteY0" fmla="*/ 0 h 1529076"/>
                <a:gd name="connsiteX1" fmla="*/ 375675 w 1045096"/>
                <a:gd name="connsiteY1" fmla="*/ 0 h 1529076"/>
                <a:gd name="connsiteX2" fmla="*/ 84105 w 1045096"/>
                <a:gd name="connsiteY2" fmla="*/ 127934 h 1529076"/>
                <a:gd name="connsiteX3" fmla="*/ 798 w 1045096"/>
                <a:gd name="connsiteY3" fmla="*/ 1499504 h 1529076"/>
                <a:gd name="connsiteX4" fmla="*/ 1045096 w 1045096"/>
                <a:gd name="connsiteY4" fmla="*/ 1475702 h 1529076"/>
                <a:gd name="connsiteX5" fmla="*/ 932039 w 1045096"/>
                <a:gd name="connsiteY5" fmla="*/ 101157 h 1529076"/>
                <a:gd name="connsiteX6" fmla="*/ 658319 w 1045096"/>
                <a:gd name="connsiteY6" fmla="*/ 0 h 1529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5096" h="1529076">
                  <a:moveTo>
                    <a:pt x="658319" y="0"/>
                  </a:moveTo>
                  <a:cubicBezTo>
                    <a:pt x="658319" y="0"/>
                    <a:pt x="488732" y="53554"/>
                    <a:pt x="375675" y="0"/>
                  </a:cubicBezTo>
                  <a:cubicBezTo>
                    <a:pt x="375675" y="0"/>
                    <a:pt x="107906" y="95207"/>
                    <a:pt x="84105" y="127934"/>
                  </a:cubicBezTo>
                  <a:cubicBezTo>
                    <a:pt x="60302" y="160661"/>
                    <a:pt x="-8128" y="1434050"/>
                    <a:pt x="798" y="1499504"/>
                  </a:cubicBezTo>
                  <a:cubicBezTo>
                    <a:pt x="798" y="1499504"/>
                    <a:pt x="479807" y="1579835"/>
                    <a:pt x="1045096" y="1475702"/>
                  </a:cubicBezTo>
                  <a:cubicBezTo>
                    <a:pt x="1045096" y="1127604"/>
                    <a:pt x="973691" y="130909"/>
                    <a:pt x="932039" y="101157"/>
                  </a:cubicBezTo>
                  <a:cubicBezTo>
                    <a:pt x="890385" y="68430"/>
                    <a:pt x="658319" y="0"/>
                    <a:pt x="658319" y="0"/>
                  </a:cubicBezTo>
                  <a:close/>
                </a:path>
              </a:pathLst>
            </a:custGeom>
            <a:solidFill>
              <a:srgbClr val="D1615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F2C263F2-49B4-4614-B5BA-AE861F794856}"/>
                </a:ext>
              </a:extLst>
            </p:cNvPr>
            <p:cNvSpPr/>
            <p:nvPr/>
          </p:nvSpPr>
          <p:spPr>
            <a:xfrm>
              <a:off x="24974845" y="8370624"/>
              <a:ext cx="685511" cy="1558824"/>
            </a:xfrm>
            <a:custGeom>
              <a:avLst/>
              <a:gdLst>
                <a:gd name="connsiteX0" fmla="*/ 111296 w 685511"/>
                <a:gd name="connsiteY0" fmla="*/ 0 h 1558824"/>
                <a:gd name="connsiteX1" fmla="*/ 560552 w 685511"/>
                <a:gd name="connsiteY1" fmla="*/ 92232 h 1558824"/>
                <a:gd name="connsiteX2" fmla="*/ 685511 w 685511"/>
                <a:gd name="connsiteY2" fmla="*/ 1487604 h 1558824"/>
                <a:gd name="connsiteX3" fmla="*/ 1213 w 685511"/>
                <a:gd name="connsiteY3" fmla="*/ 1544133 h 1558824"/>
                <a:gd name="connsiteX4" fmla="*/ 111296 w 685511"/>
                <a:gd name="connsiteY4" fmla="*/ 0 h 1558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511" h="1558824">
                  <a:moveTo>
                    <a:pt x="111296" y="0"/>
                  </a:moveTo>
                  <a:cubicBezTo>
                    <a:pt x="111296" y="0"/>
                    <a:pt x="364189" y="0"/>
                    <a:pt x="560552" y="92232"/>
                  </a:cubicBezTo>
                  <a:cubicBezTo>
                    <a:pt x="620056" y="119008"/>
                    <a:pt x="685511" y="1487604"/>
                    <a:pt x="685511" y="1487604"/>
                  </a:cubicBezTo>
                  <a:cubicBezTo>
                    <a:pt x="685511" y="1487604"/>
                    <a:pt x="277907" y="1597686"/>
                    <a:pt x="1213" y="1544133"/>
                  </a:cubicBezTo>
                  <a:cubicBezTo>
                    <a:pt x="1213" y="1544133"/>
                    <a:pt x="-19613" y="446281"/>
                    <a:pt x="111296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A0B98996-F5F3-48F9-AAFA-F129DA544FCB}"/>
                </a:ext>
              </a:extLst>
            </p:cNvPr>
            <p:cNvSpPr/>
            <p:nvPr/>
          </p:nvSpPr>
          <p:spPr>
            <a:xfrm>
              <a:off x="24517878" y="8370624"/>
              <a:ext cx="452229" cy="1562406"/>
            </a:xfrm>
            <a:custGeom>
              <a:avLst/>
              <a:gdLst>
                <a:gd name="connsiteX0" fmla="*/ 452230 w 452229"/>
                <a:gd name="connsiteY0" fmla="*/ 0 h 1562406"/>
                <a:gd name="connsiteX1" fmla="*/ 339172 w 452229"/>
                <a:gd name="connsiteY1" fmla="*/ 1561984 h 1562406"/>
                <a:gd name="connsiteX2" fmla="*/ 0 w 452229"/>
                <a:gd name="connsiteY2" fmla="*/ 1535206 h 1562406"/>
                <a:gd name="connsiteX3" fmla="*/ 133884 w 452229"/>
                <a:gd name="connsiteY3" fmla="*/ 127934 h 1562406"/>
                <a:gd name="connsiteX4" fmla="*/ 452230 w 452229"/>
                <a:gd name="connsiteY4" fmla="*/ 0 h 1562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2229" h="1562406">
                  <a:moveTo>
                    <a:pt x="452230" y="0"/>
                  </a:moveTo>
                  <a:cubicBezTo>
                    <a:pt x="452230" y="0"/>
                    <a:pt x="294544" y="761653"/>
                    <a:pt x="339172" y="1561984"/>
                  </a:cubicBezTo>
                  <a:cubicBezTo>
                    <a:pt x="339172" y="1561984"/>
                    <a:pt x="77355" y="1567934"/>
                    <a:pt x="0" y="1535206"/>
                  </a:cubicBezTo>
                  <a:cubicBezTo>
                    <a:pt x="0" y="1535206"/>
                    <a:pt x="89256" y="178512"/>
                    <a:pt x="133884" y="127934"/>
                  </a:cubicBezTo>
                  <a:cubicBezTo>
                    <a:pt x="178512" y="74380"/>
                    <a:pt x="452230" y="0"/>
                    <a:pt x="452230" y="0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28D8D1FB-25D7-4D05-8C4B-CC5A13275679}"/>
                </a:ext>
              </a:extLst>
            </p:cNvPr>
            <p:cNvSpPr/>
            <p:nvPr/>
          </p:nvSpPr>
          <p:spPr>
            <a:xfrm>
              <a:off x="24535729" y="8494350"/>
              <a:ext cx="120240" cy="1054455"/>
            </a:xfrm>
            <a:custGeom>
              <a:avLst/>
              <a:gdLst>
                <a:gd name="connsiteX0" fmla="*/ 5951 w 120240"/>
                <a:gd name="connsiteY0" fmla="*/ 1054455 h 1054455"/>
                <a:gd name="connsiteX1" fmla="*/ 5951 w 120240"/>
                <a:gd name="connsiteY1" fmla="*/ 1054455 h 1054455"/>
                <a:gd name="connsiteX2" fmla="*/ 0 w 120240"/>
                <a:gd name="connsiteY2" fmla="*/ 1048505 h 1054455"/>
                <a:gd name="connsiteX3" fmla="*/ 38677 w 120240"/>
                <a:gd name="connsiteY3" fmla="*/ 578423 h 1054455"/>
                <a:gd name="connsiteX4" fmla="*/ 110083 w 120240"/>
                <a:gd name="connsiteY4" fmla="*/ 4208 h 1054455"/>
                <a:gd name="connsiteX5" fmla="*/ 116034 w 120240"/>
                <a:gd name="connsiteY5" fmla="*/ 1232 h 1054455"/>
                <a:gd name="connsiteX6" fmla="*/ 119008 w 120240"/>
                <a:gd name="connsiteY6" fmla="*/ 7183 h 1054455"/>
                <a:gd name="connsiteX7" fmla="*/ 47603 w 120240"/>
                <a:gd name="connsiteY7" fmla="*/ 581398 h 1054455"/>
                <a:gd name="connsiteX8" fmla="*/ 8925 w 120240"/>
                <a:gd name="connsiteY8" fmla="*/ 1051481 h 1054455"/>
                <a:gd name="connsiteX9" fmla="*/ 5951 w 120240"/>
                <a:gd name="connsiteY9" fmla="*/ 1054455 h 1054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240" h="1054455">
                  <a:moveTo>
                    <a:pt x="5951" y="1054455"/>
                  </a:moveTo>
                  <a:lnTo>
                    <a:pt x="5951" y="1054455"/>
                  </a:lnTo>
                  <a:cubicBezTo>
                    <a:pt x="2974" y="1054455"/>
                    <a:pt x="0" y="1051481"/>
                    <a:pt x="0" y="1048505"/>
                  </a:cubicBezTo>
                  <a:cubicBezTo>
                    <a:pt x="0" y="1045530"/>
                    <a:pt x="29752" y="682555"/>
                    <a:pt x="38677" y="578423"/>
                  </a:cubicBezTo>
                  <a:cubicBezTo>
                    <a:pt x="41654" y="557596"/>
                    <a:pt x="104132" y="42885"/>
                    <a:pt x="110083" y="4208"/>
                  </a:cubicBezTo>
                  <a:cubicBezTo>
                    <a:pt x="110083" y="1232"/>
                    <a:pt x="113057" y="-1743"/>
                    <a:pt x="116034" y="1232"/>
                  </a:cubicBezTo>
                  <a:cubicBezTo>
                    <a:pt x="119008" y="1232"/>
                    <a:pt x="121983" y="4208"/>
                    <a:pt x="119008" y="7183"/>
                  </a:cubicBezTo>
                  <a:cubicBezTo>
                    <a:pt x="110083" y="45860"/>
                    <a:pt x="47603" y="575447"/>
                    <a:pt x="47603" y="581398"/>
                  </a:cubicBezTo>
                  <a:cubicBezTo>
                    <a:pt x="38677" y="685530"/>
                    <a:pt x="8925" y="1048505"/>
                    <a:pt x="8925" y="1051481"/>
                  </a:cubicBezTo>
                  <a:cubicBezTo>
                    <a:pt x="11902" y="1051481"/>
                    <a:pt x="8925" y="1054455"/>
                    <a:pt x="5951" y="1054455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BEBAC520-7307-4C70-8CBC-BDE81DDF8DF7}"/>
                </a:ext>
              </a:extLst>
            </p:cNvPr>
            <p:cNvSpPr/>
            <p:nvPr/>
          </p:nvSpPr>
          <p:spPr>
            <a:xfrm>
              <a:off x="24958208" y="8238482"/>
              <a:ext cx="239248" cy="66686"/>
            </a:xfrm>
            <a:custGeom>
              <a:avLst/>
              <a:gdLst>
                <a:gd name="connsiteX0" fmla="*/ 101156 w 239248"/>
                <a:gd name="connsiteY0" fmla="*/ 66687 h 66686"/>
                <a:gd name="connsiteX1" fmla="*/ 80331 w 239248"/>
                <a:gd name="connsiteY1" fmla="*/ 63712 h 66686"/>
                <a:gd name="connsiteX2" fmla="*/ 26776 w 239248"/>
                <a:gd name="connsiteY2" fmla="*/ 45861 h 66686"/>
                <a:gd name="connsiteX3" fmla="*/ 2974 w 239248"/>
                <a:gd name="connsiteY3" fmla="*/ 33959 h 66686"/>
                <a:gd name="connsiteX4" fmla="*/ 0 w 239248"/>
                <a:gd name="connsiteY4" fmla="*/ 25034 h 66686"/>
                <a:gd name="connsiteX5" fmla="*/ 8925 w 239248"/>
                <a:gd name="connsiteY5" fmla="*/ 22059 h 66686"/>
                <a:gd name="connsiteX6" fmla="*/ 17851 w 239248"/>
                <a:gd name="connsiteY6" fmla="*/ 28009 h 66686"/>
                <a:gd name="connsiteX7" fmla="*/ 23801 w 239248"/>
                <a:gd name="connsiteY7" fmla="*/ 28009 h 66686"/>
                <a:gd name="connsiteX8" fmla="*/ 32727 w 239248"/>
                <a:gd name="connsiteY8" fmla="*/ 33959 h 66686"/>
                <a:gd name="connsiteX9" fmla="*/ 80331 w 239248"/>
                <a:gd name="connsiteY9" fmla="*/ 51811 h 66686"/>
                <a:gd name="connsiteX10" fmla="*/ 92231 w 239248"/>
                <a:gd name="connsiteY10" fmla="*/ 51811 h 66686"/>
                <a:gd name="connsiteX11" fmla="*/ 92231 w 239248"/>
                <a:gd name="connsiteY11" fmla="*/ 51811 h 66686"/>
                <a:gd name="connsiteX12" fmla="*/ 181487 w 239248"/>
                <a:gd name="connsiteY12" fmla="*/ 25034 h 66686"/>
                <a:gd name="connsiteX13" fmla="*/ 229091 w 239248"/>
                <a:gd name="connsiteY13" fmla="*/ 1232 h 66686"/>
                <a:gd name="connsiteX14" fmla="*/ 238017 w 239248"/>
                <a:gd name="connsiteY14" fmla="*/ 4207 h 66686"/>
                <a:gd name="connsiteX15" fmla="*/ 235040 w 239248"/>
                <a:gd name="connsiteY15" fmla="*/ 13133 h 66686"/>
                <a:gd name="connsiteX16" fmla="*/ 187438 w 239248"/>
                <a:gd name="connsiteY16" fmla="*/ 36935 h 66686"/>
                <a:gd name="connsiteX17" fmla="*/ 116032 w 239248"/>
                <a:gd name="connsiteY17" fmla="*/ 63712 h 66686"/>
                <a:gd name="connsiteX18" fmla="*/ 101156 w 239248"/>
                <a:gd name="connsiteY18" fmla="*/ 66687 h 66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9248" h="66686">
                  <a:moveTo>
                    <a:pt x="101156" y="66687"/>
                  </a:moveTo>
                  <a:cubicBezTo>
                    <a:pt x="95207" y="66687"/>
                    <a:pt x="86280" y="66687"/>
                    <a:pt x="80331" y="63712"/>
                  </a:cubicBezTo>
                  <a:cubicBezTo>
                    <a:pt x="56528" y="60737"/>
                    <a:pt x="38677" y="51811"/>
                    <a:pt x="26776" y="45861"/>
                  </a:cubicBezTo>
                  <a:cubicBezTo>
                    <a:pt x="14876" y="39910"/>
                    <a:pt x="5951" y="33959"/>
                    <a:pt x="2974" y="33959"/>
                  </a:cubicBezTo>
                  <a:cubicBezTo>
                    <a:pt x="0" y="30985"/>
                    <a:pt x="0" y="28009"/>
                    <a:pt x="0" y="25034"/>
                  </a:cubicBezTo>
                  <a:cubicBezTo>
                    <a:pt x="2974" y="22059"/>
                    <a:pt x="5951" y="22059"/>
                    <a:pt x="8925" y="22059"/>
                  </a:cubicBezTo>
                  <a:cubicBezTo>
                    <a:pt x="8925" y="22059"/>
                    <a:pt x="11900" y="25034"/>
                    <a:pt x="17851" y="28009"/>
                  </a:cubicBezTo>
                  <a:cubicBezTo>
                    <a:pt x="20827" y="28009"/>
                    <a:pt x="20827" y="28009"/>
                    <a:pt x="23801" y="28009"/>
                  </a:cubicBezTo>
                  <a:cubicBezTo>
                    <a:pt x="23801" y="28009"/>
                    <a:pt x="26776" y="30985"/>
                    <a:pt x="32727" y="33959"/>
                  </a:cubicBezTo>
                  <a:cubicBezTo>
                    <a:pt x="47603" y="39910"/>
                    <a:pt x="62479" y="48835"/>
                    <a:pt x="80331" y="51811"/>
                  </a:cubicBezTo>
                  <a:cubicBezTo>
                    <a:pt x="83305" y="51811"/>
                    <a:pt x="89256" y="51811"/>
                    <a:pt x="92231" y="51811"/>
                  </a:cubicBezTo>
                  <a:lnTo>
                    <a:pt x="92231" y="51811"/>
                  </a:lnTo>
                  <a:cubicBezTo>
                    <a:pt x="116032" y="51811"/>
                    <a:pt x="154711" y="36935"/>
                    <a:pt x="181487" y="25034"/>
                  </a:cubicBezTo>
                  <a:cubicBezTo>
                    <a:pt x="205288" y="13133"/>
                    <a:pt x="226115" y="1232"/>
                    <a:pt x="229091" y="1232"/>
                  </a:cubicBezTo>
                  <a:cubicBezTo>
                    <a:pt x="232066" y="-1743"/>
                    <a:pt x="235040" y="1232"/>
                    <a:pt x="238017" y="4207"/>
                  </a:cubicBezTo>
                  <a:cubicBezTo>
                    <a:pt x="240991" y="7183"/>
                    <a:pt x="238017" y="10158"/>
                    <a:pt x="235040" y="13133"/>
                  </a:cubicBezTo>
                  <a:cubicBezTo>
                    <a:pt x="232066" y="13133"/>
                    <a:pt x="214215" y="25034"/>
                    <a:pt x="187438" y="36935"/>
                  </a:cubicBezTo>
                  <a:cubicBezTo>
                    <a:pt x="163636" y="48835"/>
                    <a:pt x="133884" y="60737"/>
                    <a:pt x="116032" y="63712"/>
                  </a:cubicBezTo>
                  <a:cubicBezTo>
                    <a:pt x="110083" y="66687"/>
                    <a:pt x="104132" y="66687"/>
                    <a:pt x="101156" y="66687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58450E1A-57A4-42D5-A128-CBC8B53813E3}"/>
                </a:ext>
              </a:extLst>
            </p:cNvPr>
            <p:cNvSpPr/>
            <p:nvPr/>
          </p:nvSpPr>
          <p:spPr>
            <a:xfrm>
              <a:off x="25309282" y="9525004"/>
              <a:ext cx="210495" cy="240991"/>
            </a:xfrm>
            <a:custGeom>
              <a:avLst/>
              <a:gdLst>
                <a:gd name="connsiteX0" fmla="*/ 169587 w 210495"/>
                <a:gd name="connsiteY0" fmla="*/ 240992 h 240991"/>
                <a:gd name="connsiteX1" fmla="*/ 166611 w 210495"/>
                <a:gd name="connsiteY1" fmla="*/ 240992 h 240991"/>
                <a:gd name="connsiteX2" fmla="*/ 0 w 210495"/>
                <a:gd name="connsiteY2" fmla="*/ 35703 h 240991"/>
                <a:gd name="connsiteX3" fmla="*/ 2974 w 210495"/>
                <a:gd name="connsiteY3" fmla="*/ 29752 h 240991"/>
                <a:gd name="connsiteX4" fmla="*/ 53553 w 210495"/>
                <a:gd name="connsiteY4" fmla="*/ 0 h 240991"/>
                <a:gd name="connsiteX5" fmla="*/ 59504 w 210495"/>
                <a:gd name="connsiteY5" fmla="*/ 0 h 240991"/>
                <a:gd name="connsiteX6" fmla="*/ 62479 w 210495"/>
                <a:gd name="connsiteY6" fmla="*/ 2975 h 240991"/>
                <a:gd name="connsiteX7" fmla="*/ 208264 w 210495"/>
                <a:gd name="connsiteY7" fmla="*/ 190413 h 240991"/>
                <a:gd name="connsiteX8" fmla="*/ 208264 w 210495"/>
                <a:gd name="connsiteY8" fmla="*/ 196364 h 240991"/>
                <a:gd name="connsiteX9" fmla="*/ 175538 w 210495"/>
                <a:gd name="connsiteY9" fmla="*/ 240992 h 240991"/>
                <a:gd name="connsiteX10" fmla="*/ 169587 w 210495"/>
                <a:gd name="connsiteY10" fmla="*/ 240992 h 240991"/>
                <a:gd name="connsiteX11" fmla="*/ 169587 w 210495"/>
                <a:gd name="connsiteY11" fmla="*/ 240992 h 240991"/>
                <a:gd name="connsiteX12" fmla="*/ 11902 w 210495"/>
                <a:gd name="connsiteY12" fmla="*/ 35703 h 240991"/>
                <a:gd name="connsiteX13" fmla="*/ 166611 w 210495"/>
                <a:gd name="connsiteY13" fmla="*/ 229091 h 240991"/>
                <a:gd name="connsiteX14" fmla="*/ 193388 w 210495"/>
                <a:gd name="connsiteY14" fmla="*/ 193388 h 240991"/>
                <a:gd name="connsiteX15" fmla="*/ 50579 w 210495"/>
                <a:gd name="connsiteY15" fmla="*/ 11901 h 240991"/>
                <a:gd name="connsiteX16" fmla="*/ 11902 w 210495"/>
                <a:gd name="connsiteY16" fmla="*/ 35703 h 24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0495" h="240991">
                  <a:moveTo>
                    <a:pt x="169587" y="240992"/>
                  </a:moveTo>
                  <a:cubicBezTo>
                    <a:pt x="169587" y="240992"/>
                    <a:pt x="166611" y="240992"/>
                    <a:pt x="166611" y="240992"/>
                  </a:cubicBezTo>
                  <a:cubicBezTo>
                    <a:pt x="59504" y="157686"/>
                    <a:pt x="2974" y="38677"/>
                    <a:pt x="0" y="35703"/>
                  </a:cubicBezTo>
                  <a:cubicBezTo>
                    <a:pt x="0" y="32727"/>
                    <a:pt x="0" y="29752"/>
                    <a:pt x="2974" y="29752"/>
                  </a:cubicBezTo>
                  <a:lnTo>
                    <a:pt x="53553" y="0"/>
                  </a:lnTo>
                  <a:cubicBezTo>
                    <a:pt x="53553" y="0"/>
                    <a:pt x="56530" y="0"/>
                    <a:pt x="59504" y="0"/>
                  </a:cubicBezTo>
                  <a:cubicBezTo>
                    <a:pt x="62479" y="0"/>
                    <a:pt x="62479" y="2975"/>
                    <a:pt x="62479" y="2975"/>
                  </a:cubicBezTo>
                  <a:cubicBezTo>
                    <a:pt x="77355" y="53553"/>
                    <a:pt x="205290" y="190413"/>
                    <a:pt x="208264" y="190413"/>
                  </a:cubicBezTo>
                  <a:cubicBezTo>
                    <a:pt x="211239" y="193388"/>
                    <a:pt x="211239" y="196364"/>
                    <a:pt x="208264" y="196364"/>
                  </a:cubicBezTo>
                  <a:lnTo>
                    <a:pt x="175538" y="240992"/>
                  </a:lnTo>
                  <a:cubicBezTo>
                    <a:pt x="172562" y="238017"/>
                    <a:pt x="169587" y="240992"/>
                    <a:pt x="169587" y="240992"/>
                  </a:cubicBezTo>
                  <a:cubicBezTo>
                    <a:pt x="169587" y="240992"/>
                    <a:pt x="169587" y="240992"/>
                    <a:pt x="169587" y="240992"/>
                  </a:cubicBezTo>
                  <a:close/>
                  <a:moveTo>
                    <a:pt x="11902" y="35703"/>
                  </a:moveTo>
                  <a:cubicBezTo>
                    <a:pt x="23801" y="56529"/>
                    <a:pt x="77355" y="154711"/>
                    <a:pt x="166611" y="229091"/>
                  </a:cubicBezTo>
                  <a:lnTo>
                    <a:pt x="193388" y="193388"/>
                  </a:lnTo>
                  <a:cubicBezTo>
                    <a:pt x="172562" y="172562"/>
                    <a:pt x="74380" y="65455"/>
                    <a:pt x="50579" y="11901"/>
                  </a:cubicBezTo>
                  <a:lnTo>
                    <a:pt x="11902" y="35703"/>
                  </a:ln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56199777-FB0A-4E11-8E96-BBB7CE80A967}"/>
                </a:ext>
              </a:extLst>
            </p:cNvPr>
            <p:cNvSpPr/>
            <p:nvPr/>
          </p:nvSpPr>
          <p:spPr>
            <a:xfrm>
              <a:off x="24531431" y="9548805"/>
              <a:ext cx="75702" cy="130909"/>
            </a:xfrm>
            <a:custGeom>
              <a:avLst/>
              <a:gdLst>
                <a:gd name="connsiteX0" fmla="*/ 7272 w 75702"/>
                <a:gd name="connsiteY0" fmla="*/ 130910 h 130909"/>
                <a:gd name="connsiteX1" fmla="*/ 1323 w 75702"/>
                <a:gd name="connsiteY1" fmla="*/ 127934 h 130909"/>
                <a:gd name="connsiteX2" fmla="*/ 4297 w 75702"/>
                <a:gd name="connsiteY2" fmla="*/ 121984 h 130909"/>
                <a:gd name="connsiteX3" fmla="*/ 66776 w 75702"/>
                <a:gd name="connsiteY3" fmla="*/ 68430 h 130909"/>
                <a:gd name="connsiteX4" fmla="*/ 66776 w 75702"/>
                <a:gd name="connsiteY4" fmla="*/ 20827 h 130909"/>
                <a:gd name="connsiteX5" fmla="*/ 10248 w 75702"/>
                <a:gd name="connsiteY5" fmla="*/ 80331 h 130909"/>
                <a:gd name="connsiteX6" fmla="*/ 1323 w 75702"/>
                <a:gd name="connsiteY6" fmla="*/ 80331 h 130909"/>
                <a:gd name="connsiteX7" fmla="*/ 1323 w 75702"/>
                <a:gd name="connsiteY7" fmla="*/ 71406 h 130909"/>
                <a:gd name="connsiteX8" fmla="*/ 66776 w 75702"/>
                <a:gd name="connsiteY8" fmla="*/ 2975 h 130909"/>
                <a:gd name="connsiteX9" fmla="*/ 72727 w 75702"/>
                <a:gd name="connsiteY9" fmla="*/ 0 h 130909"/>
                <a:gd name="connsiteX10" fmla="*/ 75703 w 75702"/>
                <a:gd name="connsiteY10" fmla="*/ 5951 h 130909"/>
                <a:gd name="connsiteX11" fmla="*/ 75703 w 75702"/>
                <a:gd name="connsiteY11" fmla="*/ 71406 h 130909"/>
                <a:gd name="connsiteX12" fmla="*/ 75703 w 75702"/>
                <a:gd name="connsiteY12" fmla="*/ 74380 h 130909"/>
                <a:gd name="connsiteX13" fmla="*/ 7272 w 75702"/>
                <a:gd name="connsiteY13" fmla="*/ 130910 h 130909"/>
                <a:gd name="connsiteX14" fmla="*/ 7272 w 75702"/>
                <a:gd name="connsiteY14" fmla="*/ 130910 h 13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5702" h="130909">
                  <a:moveTo>
                    <a:pt x="7272" y="130910"/>
                  </a:moveTo>
                  <a:cubicBezTo>
                    <a:pt x="4297" y="130910"/>
                    <a:pt x="4297" y="130910"/>
                    <a:pt x="1323" y="127934"/>
                  </a:cubicBezTo>
                  <a:cubicBezTo>
                    <a:pt x="1323" y="124959"/>
                    <a:pt x="1323" y="121984"/>
                    <a:pt x="4297" y="121984"/>
                  </a:cubicBezTo>
                  <a:cubicBezTo>
                    <a:pt x="31075" y="110083"/>
                    <a:pt x="60827" y="77356"/>
                    <a:pt x="66776" y="68430"/>
                  </a:cubicBezTo>
                  <a:lnTo>
                    <a:pt x="66776" y="20827"/>
                  </a:lnTo>
                  <a:cubicBezTo>
                    <a:pt x="54876" y="35703"/>
                    <a:pt x="31075" y="62480"/>
                    <a:pt x="10248" y="80331"/>
                  </a:cubicBezTo>
                  <a:cubicBezTo>
                    <a:pt x="7272" y="83306"/>
                    <a:pt x="4297" y="80331"/>
                    <a:pt x="1323" y="80331"/>
                  </a:cubicBezTo>
                  <a:cubicBezTo>
                    <a:pt x="-1653" y="77356"/>
                    <a:pt x="1323" y="74380"/>
                    <a:pt x="1323" y="71406"/>
                  </a:cubicBezTo>
                  <a:cubicBezTo>
                    <a:pt x="34049" y="47603"/>
                    <a:pt x="66776" y="2975"/>
                    <a:pt x="66776" y="2975"/>
                  </a:cubicBezTo>
                  <a:cubicBezTo>
                    <a:pt x="66776" y="0"/>
                    <a:pt x="69752" y="0"/>
                    <a:pt x="72727" y="0"/>
                  </a:cubicBezTo>
                  <a:cubicBezTo>
                    <a:pt x="75703" y="0"/>
                    <a:pt x="75703" y="2975"/>
                    <a:pt x="75703" y="5951"/>
                  </a:cubicBezTo>
                  <a:lnTo>
                    <a:pt x="75703" y="71406"/>
                  </a:lnTo>
                  <a:cubicBezTo>
                    <a:pt x="75703" y="71406"/>
                    <a:pt x="75703" y="74380"/>
                    <a:pt x="75703" y="74380"/>
                  </a:cubicBezTo>
                  <a:cubicBezTo>
                    <a:pt x="75703" y="77356"/>
                    <a:pt x="40000" y="119008"/>
                    <a:pt x="7272" y="130910"/>
                  </a:cubicBezTo>
                  <a:cubicBezTo>
                    <a:pt x="7272" y="130910"/>
                    <a:pt x="7272" y="130910"/>
                    <a:pt x="7272" y="130910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9" name="图形 1">
              <a:extLst>
                <a:ext uri="{FF2B5EF4-FFF2-40B4-BE49-F238E27FC236}">
                  <a16:creationId xmlns:a16="http://schemas.microsoft.com/office/drawing/2014/main" id="{1F318F69-9DB1-46B8-9918-068925EBA9B3}"/>
                </a:ext>
              </a:extLst>
            </p:cNvPr>
            <p:cNvGrpSpPr/>
            <p:nvPr/>
          </p:nvGrpSpPr>
          <p:grpSpPr>
            <a:xfrm>
              <a:off x="26105189" y="9629383"/>
              <a:ext cx="245705" cy="335951"/>
              <a:chOff x="26105189" y="9629383"/>
              <a:chExt cx="245705" cy="335951"/>
            </a:xfrm>
          </p:grpSpPr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B3185E65-2354-40D8-AE46-13B4E998907E}"/>
                  </a:ext>
                </a:extLst>
              </p:cNvPr>
              <p:cNvSpPr/>
              <p:nvPr/>
            </p:nvSpPr>
            <p:spPr>
              <a:xfrm>
                <a:off x="26113659" y="9629383"/>
                <a:ext cx="237235" cy="326592"/>
              </a:xfrm>
              <a:custGeom>
                <a:avLst/>
                <a:gdLst>
                  <a:gd name="connsiteX0" fmla="*/ 177442 w 237235"/>
                  <a:gd name="connsiteY0" fmla="*/ 5704 h 326592"/>
                  <a:gd name="connsiteX1" fmla="*/ 43557 w 237235"/>
                  <a:gd name="connsiteY1" fmla="*/ 17605 h 326592"/>
                  <a:gd name="connsiteX2" fmla="*/ 1904 w 237235"/>
                  <a:gd name="connsiteY2" fmla="*/ 261571 h 326592"/>
                  <a:gd name="connsiteX3" fmla="*/ 25707 w 237235"/>
                  <a:gd name="connsiteY3" fmla="*/ 324051 h 326592"/>
                  <a:gd name="connsiteX4" fmla="*/ 64384 w 237235"/>
                  <a:gd name="connsiteY4" fmla="*/ 312150 h 326592"/>
                  <a:gd name="connsiteX5" fmla="*/ 123888 w 237235"/>
                  <a:gd name="connsiteY5" fmla="*/ 309175 h 326592"/>
                  <a:gd name="connsiteX6" fmla="*/ 159591 w 237235"/>
                  <a:gd name="connsiteY6" fmla="*/ 315125 h 326592"/>
                  <a:gd name="connsiteX7" fmla="*/ 186367 w 237235"/>
                  <a:gd name="connsiteY7" fmla="*/ 276447 h 326592"/>
                  <a:gd name="connsiteX8" fmla="*/ 236946 w 237235"/>
                  <a:gd name="connsiteY8" fmla="*/ 249670 h 326592"/>
                  <a:gd name="connsiteX9" fmla="*/ 216119 w 237235"/>
                  <a:gd name="connsiteY9" fmla="*/ 160414 h 326592"/>
                  <a:gd name="connsiteX10" fmla="*/ 210168 w 237235"/>
                  <a:gd name="connsiteY10" fmla="*/ 50332 h 326592"/>
                  <a:gd name="connsiteX11" fmla="*/ 177442 w 237235"/>
                  <a:gd name="connsiteY11" fmla="*/ 5704 h 32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7235" h="326592">
                    <a:moveTo>
                      <a:pt x="177442" y="5704"/>
                    </a:moveTo>
                    <a:cubicBezTo>
                      <a:pt x="132814" y="-12147"/>
                      <a:pt x="40583" y="17605"/>
                      <a:pt x="43557" y="17605"/>
                    </a:cubicBezTo>
                    <a:cubicBezTo>
                      <a:pt x="34632" y="118762"/>
                      <a:pt x="-4045" y="160414"/>
                      <a:pt x="1904" y="261571"/>
                    </a:cubicBezTo>
                    <a:cubicBezTo>
                      <a:pt x="1904" y="276447"/>
                      <a:pt x="-9996" y="318101"/>
                      <a:pt x="25707" y="324051"/>
                    </a:cubicBezTo>
                    <a:cubicBezTo>
                      <a:pt x="34632" y="327026"/>
                      <a:pt x="55459" y="330001"/>
                      <a:pt x="64384" y="312150"/>
                    </a:cubicBezTo>
                    <a:cubicBezTo>
                      <a:pt x="79260" y="335951"/>
                      <a:pt x="123888" y="327026"/>
                      <a:pt x="123888" y="309175"/>
                    </a:cubicBezTo>
                    <a:cubicBezTo>
                      <a:pt x="129839" y="315125"/>
                      <a:pt x="150664" y="318101"/>
                      <a:pt x="159591" y="315125"/>
                    </a:cubicBezTo>
                    <a:cubicBezTo>
                      <a:pt x="177442" y="306199"/>
                      <a:pt x="186367" y="300249"/>
                      <a:pt x="186367" y="276447"/>
                    </a:cubicBezTo>
                    <a:cubicBezTo>
                      <a:pt x="210168" y="285373"/>
                      <a:pt x="236946" y="279423"/>
                      <a:pt x="236946" y="249670"/>
                    </a:cubicBezTo>
                    <a:cubicBezTo>
                      <a:pt x="239920" y="210993"/>
                      <a:pt x="219095" y="199092"/>
                      <a:pt x="216119" y="160414"/>
                    </a:cubicBezTo>
                    <a:cubicBezTo>
                      <a:pt x="210168" y="124712"/>
                      <a:pt x="213144" y="86034"/>
                      <a:pt x="210168" y="50332"/>
                    </a:cubicBezTo>
                    <a:cubicBezTo>
                      <a:pt x="207194" y="26530"/>
                      <a:pt x="204219" y="17605"/>
                      <a:pt x="177442" y="5704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7F3A0283-590E-4AED-B1FF-B26581FF3D98}"/>
                  </a:ext>
                </a:extLst>
              </p:cNvPr>
              <p:cNvSpPr/>
              <p:nvPr/>
            </p:nvSpPr>
            <p:spPr>
              <a:xfrm>
                <a:off x="26105189" y="9795748"/>
                <a:ext cx="80127" cy="169586"/>
              </a:xfrm>
              <a:custGeom>
                <a:avLst/>
                <a:gdLst>
                  <a:gd name="connsiteX0" fmla="*/ 37152 w 80127"/>
                  <a:gd name="connsiteY0" fmla="*/ 169586 h 169586"/>
                  <a:gd name="connsiteX1" fmla="*/ 28226 w 80127"/>
                  <a:gd name="connsiteY1" fmla="*/ 169586 h 169586"/>
                  <a:gd name="connsiteX2" fmla="*/ 7399 w 80127"/>
                  <a:gd name="connsiteY2" fmla="*/ 148760 h 169586"/>
                  <a:gd name="connsiteX3" fmla="*/ 16325 w 80127"/>
                  <a:gd name="connsiteY3" fmla="*/ 2975 h 169586"/>
                  <a:gd name="connsiteX4" fmla="*/ 22275 w 80127"/>
                  <a:gd name="connsiteY4" fmla="*/ 0 h 169586"/>
                  <a:gd name="connsiteX5" fmla="*/ 25250 w 80127"/>
                  <a:gd name="connsiteY5" fmla="*/ 5950 h 169586"/>
                  <a:gd name="connsiteX6" fmla="*/ 16325 w 80127"/>
                  <a:gd name="connsiteY6" fmla="*/ 145785 h 169586"/>
                  <a:gd name="connsiteX7" fmla="*/ 31201 w 80127"/>
                  <a:gd name="connsiteY7" fmla="*/ 160661 h 169586"/>
                  <a:gd name="connsiteX8" fmla="*/ 69878 w 80127"/>
                  <a:gd name="connsiteY8" fmla="*/ 148760 h 169586"/>
                  <a:gd name="connsiteX9" fmla="*/ 78805 w 80127"/>
                  <a:gd name="connsiteY9" fmla="*/ 148760 h 169586"/>
                  <a:gd name="connsiteX10" fmla="*/ 78805 w 80127"/>
                  <a:gd name="connsiteY10" fmla="*/ 157686 h 169586"/>
                  <a:gd name="connsiteX11" fmla="*/ 37152 w 80127"/>
                  <a:gd name="connsiteY11" fmla="*/ 169586 h 169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0127" h="169586">
                    <a:moveTo>
                      <a:pt x="37152" y="169586"/>
                    </a:moveTo>
                    <a:cubicBezTo>
                      <a:pt x="34177" y="169586"/>
                      <a:pt x="31201" y="169586"/>
                      <a:pt x="28226" y="169586"/>
                    </a:cubicBezTo>
                    <a:cubicBezTo>
                      <a:pt x="19301" y="166612"/>
                      <a:pt x="10374" y="160661"/>
                      <a:pt x="7399" y="148760"/>
                    </a:cubicBezTo>
                    <a:cubicBezTo>
                      <a:pt x="-13427" y="104132"/>
                      <a:pt x="16325" y="5950"/>
                      <a:pt x="16325" y="2975"/>
                    </a:cubicBezTo>
                    <a:cubicBezTo>
                      <a:pt x="16325" y="0"/>
                      <a:pt x="19301" y="0"/>
                      <a:pt x="22275" y="0"/>
                    </a:cubicBezTo>
                    <a:cubicBezTo>
                      <a:pt x="25250" y="0"/>
                      <a:pt x="28226" y="2975"/>
                      <a:pt x="25250" y="5950"/>
                    </a:cubicBezTo>
                    <a:cubicBezTo>
                      <a:pt x="25250" y="5950"/>
                      <a:pt x="-4502" y="104132"/>
                      <a:pt x="16325" y="145785"/>
                    </a:cubicBezTo>
                    <a:cubicBezTo>
                      <a:pt x="19301" y="154710"/>
                      <a:pt x="25250" y="157686"/>
                      <a:pt x="31201" y="160661"/>
                    </a:cubicBezTo>
                    <a:cubicBezTo>
                      <a:pt x="46077" y="163636"/>
                      <a:pt x="63929" y="151736"/>
                      <a:pt x="69878" y="148760"/>
                    </a:cubicBezTo>
                    <a:cubicBezTo>
                      <a:pt x="72854" y="145785"/>
                      <a:pt x="75829" y="148760"/>
                      <a:pt x="78805" y="148760"/>
                    </a:cubicBezTo>
                    <a:cubicBezTo>
                      <a:pt x="81780" y="151736"/>
                      <a:pt x="78805" y="154710"/>
                      <a:pt x="78805" y="157686"/>
                    </a:cubicBezTo>
                    <a:cubicBezTo>
                      <a:pt x="75829" y="154710"/>
                      <a:pt x="55002" y="169586"/>
                      <a:pt x="37152" y="16958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CC5BCB56-AA9D-48AC-A495-755165942D33}"/>
                  </a:ext>
                </a:extLst>
              </p:cNvPr>
              <p:cNvSpPr/>
              <p:nvPr/>
            </p:nvSpPr>
            <p:spPr>
              <a:xfrm>
                <a:off x="26189943" y="9867153"/>
                <a:ext cx="98183" cy="41652"/>
              </a:xfrm>
              <a:custGeom>
                <a:avLst/>
                <a:gdLst>
                  <a:gd name="connsiteX0" fmla="*/ 5951 w 98183"/>
                  <a:gd name="connsiteY0" fmla="*/ 41653 h 41652"/>
                  <a:gd name="connsiteX1" fmla="*/ 0 w 98183"/>
                  <a:gd name="connsiteY1" fmla="*/ 35703 h 41652"/>
                  <a:gd name="connsiteX2" fmla="*/ 5951 w 98183"/>
                  <a:gd name="connsiteY2" fmla="*/ 29752 h 41652"/>
                  <a:gd name="connsiteX3" fmla="*/ 92232 w 98183"/>
                  <a:gd name="connsiteY3" fmla="*/ 0 h 41652"/>
                  <a:gd name="connsiteX4" fmla="*/ 98183 w 98183"/>
                  <a:gd name="connsiteY4" fmla="*/ 2975 h 41652"/>
                  <a:gd name="connsiteX5" fmla="*/ 95207 w 98183"/>
                  <a:gd name="connsiteY5" fmla="*/ 8925 h 41652"/>
                  <a:gd name="connsiteX6" fmla="*/ 5951 w 98183"/>
                  <a:gd name="connsiteY6" fmla="*/ 41653 h 41652"/>
                  <a:gd name="connsiteX7" fmla="*/ 5951 w 98183"/>
                  <a:gd name="connsiteY7" fmla="*/ 41653 h 41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8183" h="41652">
                    <a:moveTo>
                      <a:pt x="5951" y="41653"/>
                    </a:moveTo>
                    <a:cubicBezTo>
                      <a:pt x="2976" y="41653"/>
                      <a:pt x="0" y="38677"/>
                      <a:pt x="0" y="35703"/>
                    </a:cubicBezTo>
                    <a:cubicBezTo>
                      <a:pt x="0" y="32727"/>
                      <a:pt x="2976" y="29752"/>
                      <a:pt x="5951" y="29752"/>
                    </a:cubicBezTo>
                    <a:cubicBezTo>
                      <a:pt x="23803" y="29752"/>
                      <a:pt x="74380" y="8925"/>
                      <a:pt x="92232" y="0"/>
                    </a:cubicBezTo>
                    <a:cubicBezTo>
                      <a:pt x="95207" y="0"/>
                      <a:pt x="98183" y="0"/>
                      <a:pt x="98183" y="2975"/>
                    </a:cubicBezTo>
                    <a:cubicBezTo>
                      <a:pt x="98183" y="5951"/>
                      <a:pt x="98183" y="8925"/>
                      <a:pt x="95207" y="8925"/>
                    </a:cubicBezTo>
                    <a:cubicBezTo>
                      <a:pt x="92232" y="11901"/>
                      <a:pt x="29752" y="41653"/>
                      <a:pt x="5951" y="41653"/>
                    </a:cubicBezTo>
                    <a:lnTo>
                      <a:pt x="5951" y="41653"/>
                    </a:lnTo>
                    <a:close/>
                  </a:path>
                </a:pathLst>
              </a:custGeom>
              <a:solidFill>
                <a:srgbClr val="E87952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A7DC1A71-28FA-4D83-A9A5-3A01D3052EA3}"/>
                </a:ext>
              </a:extLst>
            </p:cNvPr>
            <p:cNvSpPr/>
            <p:nvPr/>
          </p:nvSpPr>
          <p:spPr>
            <a:xfrm>
              <a:off x="25362251" y="8451741"/>
              <a:ext cx="1073959" cy="1283289"/>
            </a:xfrm>
            <a:custGeom>
              <a:avLst/>
              <a:gdLst>
                <a:gd name="connsiteX0" fmla="*/ 9509 w 1073959"/>
                <a:gd name="connsiteY0" fmla="*/ 67643 h 1283289"/>
                <a:gd name="connsiteX1" fmla="*/ 315957 w 1073959"/>
                <a:gd name="connsiteY1" fmla="*/ 469296 h 1283289"/>
                <a:gd name="connsiteX2" fmla="*/ 711659 w 1073959"/>
                <a:gd name="connsiteY2" fmla="*/ 689461 h 1283289"/>
                <a:gd name="connsiteX3" fmla="*/ 777114 w 1073959"/>
                <a:gd name="connsiteY3" fmla="*/ 1251775 h 1283289"/>
                <a:gd name="connsiteX4" fmla="*/ 970503 w 1073959"/>
                <a:gd name="connsiteY4" fmla="*/ 1281527 h 1283289"/>
                <a:gd name="connsiteX5" fmla="*/ 1030007 w 1073959"/>
                <a:gd name="connsiteY5" fmla="*/ 522849 h 1283289"/>
                <a:gd name="connsiteX6" fmla="*/ 9509 w 1073959"/>
                <a:gd name="connsiteY6" fmla="*/ 67643 h 128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3959" h="1283289">
                  <a:moveTo>
                    <a:pt x="9509" y="67643"/>
                  </a:moveTo>
                  <a:cubicBezTo>
                    <a:pt x="-52969" y="183676"/>
                    <a:pt x="208849" y="400866"/>
                    <a:pt x="315957" y="469296"/>
                  </a:cubicBezTo>
                  <a:cubicBezTo>
                    <a:pt x="411162" y="531775"/>
                    <a:pt x="711659" y="689461"/>
                    <a:pt x="711659" y="689461"/>
                  </a:cubicBezTo>
                  <a:cubicBezTo>
                    <a:pt x="711659" y="689461"/>
                    <a:pt x="687858" y="1141692"/>
                    <a:pt x="777114" y="1251775"/>
                  </a:cubicBezTo>
                  <a:cubicBezTo>
                    <a:pt x="821742" y="1278552"/>
                    <a:pt x="896123" y="1287478"/>
                    <a:pt x="970503" y="1281527"/>
                  </a:cubicBezTo>
                  <a:cubicBezTo>
                    <a:pt x="1122238" y="1213098"/>
                    <a:pt x="1074635" y="638882"/>
                    <a:pt x="1030007" y="522849"/>
                  </a:cubicBezTo>
                  <a:cubicBezTo>
                    <a:pt x="982402" y="391941"/>
                    <a:pt x="149345" y="-197150"/>
                    <a:pt x="9509" y="67643"/>
                  </a:cubicBezTo>
                  <a:close/>
                </a:path>
              </a:pathLst>
            </a:custGeom>
            <a:solidFill>
              <a:srgbClr val="6C5D68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FF80C43C-B7D7-4BD1-8CF7-E983D3E2EBA8}"/>
                </a:ext>
              </a:extLst>
            </p:cNvPr>
            <p:cNvSpPr/>
            <p:nvPr/>
          </p:nvSpPr>
          <p:spPr>
            <a:xfrm>
              <a:off x="25359613" y="8459880"/>
              <a:ext cx="324544" cy="467107"/>
            </a:xfrm>
            <a:custGeom>
              <a:avLst/>
              <a:gdLst>
                <a:gd name="connsiteX0" fmla="*/ 318595 w 324544"/>
                <a:gd name="connsiteY0" fmla="*/ 467107 h 467107"/>
                <a:gd name="connsiteX1" fmla="*/ 318595 w 324544"/>
                <a:gd name="connsiteY1" fmla="*/ 467107 h 467107"/>
                <a:gd name="connsiteX2" fmla="*/ 41900 w 324544"/>
                <a:gd name="connsiteY2" fmla="*/ 211240 h 467107"/>
                <a:gd name="connsiteX3" fmla="*/ 6199 w 324544"/>
                <a:gd name="connsiteY3" fmla="*/ 59504 h 467107"/>
                <a:gd name="connsiteX4" fmla="*/ 65703 w 324544"/>
                <a:gd name="connsiteY4" fmla="*/ 0 h 467107"/>
                <a:gd name="connsiteX5" fmla="*/ 71652 w 324544"/>
                <a:gd name="connsiteY5" fmla="*/ 2975 h 467107"/>
                <a:gd name="connsiteX6" fmla="*/ 68677 w 324544"/>
                <a:gd name="connsiteY6" fmla="*/ 8926 h 467107"/>
                <a:gd name="connsiteX7" fmla="*/ 18098 w 324544"/>
                <a:gd name="connsiteY7" fmla="*/ 62480 h 467107"/>
                <a:gd name="connsiteX8" fmla="*/ 53801 w 324544"/>
                <a:gd name="connsiteY8" fmla="*/ 205290 h 467107"/>
                <a:gd name="connsiteX9" fmla="*/ 321570 w 324544"/>
                <a:gd name="connsiteY9" fmla="*/ 455207 h 467107"/>
                <a:gd name="connsiteX10" fmla="*/ 324544 w 324544"/>
                <a:gd name="connsiteY10" fmla="*/ 464132 h 467107"/>
                <a:gd name="connsiteX11" fmla="*/ 318595 w 324544"/>
                <a:gd name="connsiteY11" fmla="*/ 467107 h 467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4544" h="467107">
                  <a:moveTo>
                    <a:pt x="318595" y="467107"/>
                  </a:moveTo>
                  <a:cubicBezTo>
                    <a:pt x="318595" y="467107"/>
                    <a:pt x="318595" y="467107"/>
                    <a:pt x="318595" y="467107"/>
                  </a:cubicBezTo>
                  <a:cubicBezTo>
                    <a:pt x="312644" y="464132"/>
                    <a:pt x="137107" y="362975"/>
                    <a:pt x="41900" y="211240"/>
                  </a:cubicBezTo>
                  <a:cubicBezTo>
                    <a:pt x="3222" y="151736"/>
                    <a:pt x="-8677" y="101157"/>
                    <a:pt x="6199" y="59504"/>
                  </a:cubicBezTo>
                  <a:cubicBezTo>
                    <a:pt x="21075" y="14876"/>
                    <a:pt x="62726" y="0"/>
                    <a:pt x="65703" y="0"/>
                  </a:cubicBezTo>
                  <a:cubicBezTo>
                    <a:pt x="68677" y="0"/>
                    <a:pt x="71652" y="0"/>
                    <a:pt x="71652" y="2975"/>
                  </a:cubicBezTo>
                  <a:cubicBezTo>
                    <a:pt x="71652" y="5950"/>
                    <a:pt x="71652" y="8926"/>
                    <a:pt x="68677" y="8926"/>
                  </a:cubicBezTo>
                  <a:cubicBezTo>
                    <a:pt x="68677" y="8926"/>
                    <a:pt x="30000" y="23802"/>
                    <a:pt x="18098" y="62480"/>
                  </a:cubicBezTo>
                  <a:cubicBezTo>
                    <a:pt x="6199" y="101157"/>
                    <a:pt x="18098" y="148760"/>
                    <a:pt x="53801" y="205290"/>
                  </a:cubicBezTo>
                  <a:cubicBezTo>
                    <a:pt x="149008" y="354050"/>
                    <a:pt x="321570" y="455207"/>
                    <a:pt x="321570" y="455207"/>
                  </a:cubicBezTo>
                  <a:cubicBezTo>
                    <a:pt x="324544" y="455207"/>
                    <a:pt x="324544" y="461157"/>
                    <a:pt x="324544" y="464132"/>
                  </a:cubicBezTo>
                  <a:cubicBezTo>
                    <a:pt x="321570" y="464132"/>
                    <a:pt x="321570" y="467107"/>
                    <a:pt x="318595" y="467107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CB6B88DE-2951-442C-A672-B57403E3482D}"/>
                </a:ext>
              </a:extLst>
            </p:cNvPr>
            <p:cNvSpPr/>
            <p:nvPr/>
          </p:nvSpPr>
          <p:spPr>
            <a:xfrm>
              <a:off x="26068704" y="9038813"/>
              <a:ext cx="80819" cy="108339"/>
            </a:xfrm>
            <a:custGeom>
              <a:avLst/>
              <a:gdLst>
                <a:gd name="connsiteX0" fmla="*/ 5207 w 80819"/>
                <a:gd name="connsiteY0" fmla="*/ 108340 h 108339"/>
                <a:gd name="connsiteX1" fmla="*/ 2231 w 80819"/>
                <a:gd name="connsiteY1" fmla="*/ 105364 h 108339"/>
                <a:gd name="connsiteX2" fmla="*/ 2231 w 80819"/>
                <a:gd name="connsiteY2" fmla="*/ 99414 h 108339"/>
                <a:gd name="connsiteX3" fmla="*/ 70662 w 80819"/>
                <a:gd name="connsiteY3" fmla="*/ 1232 h 108339"/>
                <a:gd name="connsiteX4" fmla="*/ 79587 w 80819"/>
                <a:gd name="connsiteY4" fmla="*/ 4208 h 108339"/>
                <a:gd name="connsiteX5" fmla="*/ 76611 w 80819"/>
                <a:gd name="connsiteY5" fmla="*/ 13133 h 108339"/>
                <a:gd name="connsiteX6" fmla="*/ 20083 w 80819"/>
                <a:gd name="connsiteY6" fmla="*/ 90488 h 108339"/>
                <a:gd name="connsiteX7" fmla="*/ 73637 w 80819"/>
                <a:gd name="connsiteY7" fmla="*/ 72637 h 108339"/>
                <a:gd name="connsiteX8" fmla="*/ 79587 w 80819"/>
                <a:gd name="connsiteY8" fmla="*/ 78588 h 108339"/>
                <a:gd name="connsiteX9" fmla="*/ 73637 w 80819"/>
                <a:gd name="connsiteY9" fmla="*/ 84538 h 108339"/>
                <a:gd name="connsiteX10" fmla="*/ 5207 w 80819"/>
                <a:gd name="connsiteY10" fmla="*/ 108340 h 108339"/>
                <a:gd name="connsiteX11" fmla="*/ 5207 w 80819"/>
                <a:gd name="connsiteY11" fmla="*/ 108340 h 108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0819" h="108339">
                  <a:moveTo>
                    <a:pt x="5207" y="108340"/>
                  </a:moveTo>
                  <a:cubicBezTo>
                    <a:pt x="5207" y="108340"/>
                    <a:pt x="2231" y="108340"/>
                    <a:pt x="2231" y="105364"/>
                  </a:cubicBezTo>
                  <a:cubicBezTo>
                    <a:pt x="-744" y="102390"/>
                    <a:pt x="-744" y="102390"/>
                    <a:pt x="2231" y="99414"/>
                  </a:cubicBezTo>
                  <a:cubicBezTo>
                    <a:pt x="8182" y="90488"/>
                    <a:pt x="49835" y="16108"/>
                    <a:pt x="70662" y="1232"/>
                  </a:cubicBezTo>
                  <a:cubicBezTo>
                    <a:pt x="73637" y="-1743"/>
                    <a:pt x="76611" y="1232"/>
                    <a:pt x="79587" y="4208"/>
                  </a:cubicBezTo>
                  <a:cubicBezTo>
                    <a:pt x="82562" y="7183"/>
                    <a:pt x="79587" y="10158"/>
                    <a:pt x="76611" y="13133"/>
                  </a:cubicBezTo>
                  <a:cubicBezTo>
                    <a:pt x="64711" y="22059"/>
                    <a:pt x="37934" y="63712"/>
                    <a:pt x="20083" y="90488"/>
                  </a:cubicBezTo>
                  <a:cubicBezTo>
                    <a:pt x="34959" y="81563"/>
                    <a:pt x="55786" y="72637"/>
                    <a:pt x="73637" y="72637"/>
                  </a:cubicBezTo>
                  <a:cubicBezTo>
                    <a:pt x="76611" y="72637"/>
                    <a:pt x="79587" y="75612"/>
                    <a:pt x="79587" y="78588"/>
                  </a:cubicBezTo>
                  <a:cubicBezTo>
                    <a:pt x="79587" y="81563"/>
                    <a:pt x="76611" y="84538"/>
                    <a:pt x="73637" y="84538"/>
                  </a:cubicBezTo>
                  <a:cubicBezTo>
                    <a:pt x="49835" y="81563"/>
                    <a:pt x="8182" y="105364"/>
                    <a:pt x="5207" y="108340"/>
                  </a:cubicBezTo>
                  <a:cubicBezTo>
                    <a:pt x="8182" y="108340"/>
                    <a:pt x="5207" y="108340"/>
                    <a:pt x="5207" y="108340"/>
                  </a:cubicBezTo>
                  <a:close/>
                </a:path>
              </a:pathLst>
            </a:custGeom>
            <a:solidFill>
              <a:srgbClr val="38343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1B72B201-8B6B-421B-8558-55E9F82DA18B}"/>
                </a:ext>
              </a:extLst>
            </p:cNvPr>
            <p:cNvGrpSpPr/>
            <p:nvPr/>
          </p:nvGrpSpPr>
          <p:grpSpPr>
            <a:xfrm>
              <a:off x="24815399" y="7590982"/>
              <a:ext cx="729458" cy="309558"/>
              <a:chOff x="24815399" y="7590982"/>
              <a:chExt cx="729458" cy="309558"/>
            </a:xfrm>
          </p:grpSpPr>
          <p:grpSp>
            <p:nvGrpSpPr>
              <p:cNvPr id="79" name="图形 1">
                <a:extLst>
                  <a:ext uri="{FF2B5EF4-FFF2-40B4-BE49-F238E27FC236}">
                    <a16:creationId xmlns:a16="http://schemas.microsoft.com/office/drawing/2014/main" id="{124273FA-E7BA-4443-946C-5BB1C8093048}"/>
                  </a:ext>
                </a:extLst>
              </p:cNvPr>
              <p:cNvGrpSpPr/>
              <p:nvPr/>
            </p:nvGrpSpPr>
            <p:grpSpPr>
              <a:xfrm>
                <a:off x="24815399" y="7590982"/>
                <a:ext cx="729458" cy="306315"/>
                <a:chOff x="24815399" y="7590982"/>
                <a:chExt cx="729458" cy="306315"/>
              </a:xfrm>
            </p:grpSpPr>
            <p:sp>
              <p:nvSpPr>
                <p:cNvPr id="82" name="任意多边形: 形状 81">
                  <a:extLst>
                    <a:ext uri="{FF2B5EF4-FFF2-40B4-BE49-F238E27FC236}">
                      <a16:creationId xmlns:a16="http://schemas.microsoft.com/office/drawing/2014/main" id="{A0BE15F3-C3B7-4908-B6A6-5D362E5FC35A}"/>
                    </a:ext>
                  </a:extLst>
                </p:cNvPr>
                <p:cNvSpPr/>
                <p:nvPr/>
              </p:nvSpPr>
              <p:spPr>
                <a:xfrm>
                  <a:off x="24815399" y="7590982"/>
                  <a:ext cx="580165" cy="306315"/>
                </a:xfrm>
                <a:custGeom>
                  <a:avLst/>
                  <a:gdLst>
                    <a:gd name="connsiteX0" fmla="*/ 166611 w 580165"/>
                    <a:gd name="connsiteY0" fmla="*/ 17989 h 306315"/>
                    <a:gd name="connsiteX1" fmla="*/ 577189 w 580165"/>
                    <a:gd name="connsiteY1" fmla="*/ 131046 h 306315"/>
                    <a:gd name="connsiteX2" fmla="*/ 580165 w 580165"/>
                    <a:gd name="connsiteY2" fmla="*/ 139972 h 306315"/>
                    <a:gd name="connsiteX3" fmla="*/ 508760 w 580165"/>
                    <a:gd name="connsiteY3" fmla="*/ 196501 h 306315"/>
                    <a:gd name="connsiteX4" fmla="*/ 529586 w 580165"/>
                    <a:gd name="connsiteY4" fmla="*/ 276831 h 306315"/>
                    <a:gd name="connsiteX5" fmla="*/ 529586 w 580165"/>
                    <a:gd name="connsiteY5" fmla="*/ 282782 h 306315"/>
                    <a:gd name="connsiteX6" fmla="*/ 523636 w 580165"/>
                    <a:gd name="connsiteY6" fmla="*/ 285757 h 306315"/>
                    <a:gd name="connsiteX7" fmla="*/ 208264 w 580165"/>
                    <a:gd name="connsiteY7" fmla="*/ 303608 h 306315"/>
                    <a:gd name="connsiteX8" fmla="*/ 5949 w 580165"/>
                    <a:gd name="connsiteY8" fmla="*/ 264930 h 306315"/>
                    <a:gd name="connsiteX9" fmla="*/ 0 w 580165"/>
                    <a:gd name="connsiteY9" fmla="*/ 258980 h 306315"/>
                    <a:gd name="connsiteX10" fmla="*/ 166611 w 580165"/>
                    <a:gd name="connsiteY10" fmla="*/ 17989 h 306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80165" h="306315">
                      <a:moveTo>
                        <a:pt x="166611" y="17989"/>
                      </a:moveTo>
                      <a:cubicBezTo>
                        <a:pt x="318346" y="-26640"/>
                        <a:pt x="470082" y="12038"/>
                        <a:pt x="577189" y="131046"/>
                      </a:cubicBezTo>
                      <a:cubicBezTo>
                        <a:pt x="580165" y="134021"/>
                        <a:pt x="580165" y="136997"/>
                        <a:pt x="580165" y="139972"/>
                      </a:cubicBezTo>
                      <a:cubicBezTo>
                        <a:pt x="580165" y="142947"/>
                        <a:pt x="559339" y="187575"/>
                        <a:pt x="508760" y="196501"/>
                      </a:cubicBezTo>
                      <a:cubicBezTo>
                        <a:pt x="523636" y="235178"/>
                        <a:pt x="529586" y="273856"/>
                        <a:pt x="529586" y="276831"/>
                      </a:cubicBezTo>
                      <a:cubicBezTo>
                        <a:pt x="529586" y="279806"/>
                        <a:pt x="529586" y="279806"/>
                        <a:pt x="529586" y="282782"/>
                      </a:cubicBezTo>
                      <a:cubicBezTo>
                        <a:pt x="529586" y="285757"/>
                        <a:pt x="526610" y="285757"/>
                        <a:pt x="523636" y="285757"/>
                      </a:cubicBezTo>
                      <a:cubicBezTo>
                        <a:pt x="392726" y="306584"/>
                        <a:pt x="288594" y="309558"/>
                        <a:pt x="208264" y="303608"/>
                      </a:cubicBezTo>
                      <a:cubicBezTo>
                        <a:pt x="77355" y="294682"/>
                        <a:pt x="11900" y="264930"/>
                        <a:pt x="5949" y="264930"/>
                      </a:cubicBezTo>
                      <a:cubicBezTo>
                        <a:pt x="2974" y="264930"/>
                        <a:pt x="0" y="261955"/>
                        <a:pt x="0" y="258980"/>
                      </a:cubicBezTo>
                      <a:cubicBezTo>
                        <a:pt x="2974" y="253030"/>
                        <a:pt x="-2976" y="68567"/>
                        <a:pt x="166611" y="17989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: 形状 82">
                  <a:extLst>
                    <a:ext uri="{FF2B5EF4-FFF2-40B4-BE49-F238E27FC236}">
                      <a16:creationId xmlns:a16="http://schemas.microsoft.com/office/drawing/2014/main" id="{01A6FB5C-A136-44E2-96A5-341B941843CB}"/>
                    </a:ext>
                  </a:extLst>
                </p:cNvPr>
                <p:cNvSpPr/>
                <p:nvPr/>
              </p:nvSpPr>
              <p:spPr>
                <a:xfrm>
                  <a:off x="25336060" y="7620306"/>
                  <a:ext cx="205854" cy="205855"/>
                </a:xfrm>
                <a:custGeom>
                  <a:avLst/>
                  <a:gdLst>
                    <a:gd name="connsiteX0" fmla="*/ 23801 w 205854"/>
                    <a:gd name="connsiteY0" fmla="*/ 36268 h 205855"/>
                    <a:gd name="connsiteX1" fmla="*/ 92231 w 205854"/>
                    <a:gd name="connsiteY1" fmla="*/ 566 h 205855"/>
                    <a:gd name="connsiteX2" fmla="*/ 205288 w 205854"/>
                    <a:gd name="connsiteY2" fmla="*/ 92798 h 205855"/>
                    <a:gd name="connsiteX3" fmla="*/ 113057 w 205854"/>
                    <a:gd name="connsiteY3" fmla="*/ 205855 h 205855"/>
                    <a:gd name="connsiteX4" fmla="*/ 95205 w 205854"/>
                    <a:gd name="connsiteY4" fmla="*/ 205855 h 205855"/>
                    <a:gd name="connsiteX5" fmla="*/ 35701 w 205854"/>
                    <a:gd name="connsiteY5" fmla="*/ 182054 h 205855"/>
                    <a:gd name="connsiteX6" fmla="*/ 0 w 205854"/>
                    <a:gd name="connsiteY6" fmla="*/ 113624 h 205855"/>
                    <a:gd name="connsiteX7" fmla="*/ 23801 w 205854"/>
                    <a:gd name="connsiteY7" fmla="*/ 36268 h 205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5854" h="205855">
                      <a:moveTo>
                        <a:pt x="23801" y="36268"/>
                      </a:moveTo>
                      <a:cubicBezTo>
                        <a:pt x="41652" y="15442"/>
                        <a:pt x="65453" y="566"/>
                        <a:pt x="92231" y="566"/>
                      </a:cubicBezTo>
                      <a:cubicBezTo>
                        <a:pt x="148760" y="-5384"/>
                        <a:pt x="199337" y="36268"/>
                        <a:pt x="205288" y="92798"/>
                      </a:cubicBezTo>
                      <a:cubicBezTo>
                        <a:pt x="211239" y="149326"/>
                        <a:pt x="169585" y="199905"/>
                        <a:pt x="113057" y="205855"/>
                      </a:cubicBezTo>
                      <a:cubicBezTo>
                        <a:pt x="107107" y="205855"/>
                        <a:pt x="101156" y="205855"/>
                        <a:pt x="95205" y="205855"/>
                      </a:cubicBezTo>
                      <a:cubicBezTo>
                        <a:pt x="74380" y="205855"/>
                        <a:pt x="53553" y="196930"/>
                        <a:pt x="35701" y="182054"/>
                      </a:cubicBezTo>
                      <a:cubicBezTo>
                        <a:pt x="14876" y="164202"/>
                        <a:pt x="0" y="140401"/>
                        <a:pt x="0" y="113624"/>
                      </a:cubicBezTo>
                      <a:cubicBezTo>
                        <a:pt x="0" y="83872"/>
                        <a:pt x="5949" y="57095"/>
                        <a:pt x="23801" y="36268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: 形状 83">
                  <a:extLst>
                    <a:ext uri="{FF2B5EF4-FFF2-40B4-BE49-F238E27FC236}">
                      <a16:creationId xmlns:a16="http://schemas.microsoft.com/office/drawing/2014/main" id="{237549A3-BFA0-423A-BAE5-8FD51F3A8215}"/>
                    </a:ext>
                  </a:extLst>
                </p:cNvPr>
                <p:cNvSpPr/>
                <p:nvPr/>
              </p:nvSpPr>
              <p:spPr>
                <a:xfrm>
                  <a:off x="25332520" y="7614357"/>
                  <a:ext cx="212337" cy="214778"/>
                </a:xfrm>
                <a:custGeom>
                  <a:avLst/>
                  <a:gdLst>
                    <a:gd name="connsiteX0" fmla="*/ 107672 w 212337"/>
                    <a:gd name="connsiteY0" fmla="*/ 214779 h 214778"/>
                    <a:gd name="connsiteX1" fmla="*/ 101721 w 212337"/>
                    <a:gd name="connsiteY1" fmla="*/ 214779 h 214778"/>
                    <a:gd name="connsiteX2" fmla="*/ 39241 w 212337"/>
                    <a:gd name="connsiteY2" fmla="*/ 190977 h 214778"/>
                    <a:gd name="connsiteX3" fmla="*/ 564 w 212337"/>
                    <a:gd name="connsiteY3" fmla="*/ 119572 h 214778"/>
                    <a:gd name="connsiteX4" fmla="*/ 24365 w 212337"/>
                    <a:gd name="connsiteY4" fmla="*/ 39242 h 214778"/>
                    <a:gd name="connsiteX5" fmla="*/ 95771 w 212337"/>
                    <a:gd name="connsiteY5" fmla="*/ 564 h 214778"/>
                    <a:gd name="connsiteX6" fmla="*/ 173125 w 212337"/>
                    <a:gd name="connsiteY6" fmla="*/ 24366 h 214778"/>
                    <a:gd name="connsiteX7" fmla="*/ 211804 w 212337"/>
                    <a:gd name="connsiteY7" fmla="*/ 95770 h 214778"/>
                    <a:gd name="connsiteX8" fmla="*/ 116597 w 212337"/>
                    <a:gd name="connsiteY8" fmla="*/ 214779 h 214778"/>
                    <a:gd name="connsiteX9" fmla="*/ 107672 w 212337"/>
                    <a:gd name="connsiteY9" fmla="*/ 214779 h 214778"/>
                    <a:gd name="connsiteX10" fmla="*/ 107672 w 212337"/>
                    <a:gd name="connsiteY10" fmla="*/ 9490 h 214778"/>
                    <a:gd name="connsiteX11" fmla="*/ 98745 w 212337"/>
                    <a:gd name="connsiteY11" fmla="*/ 9490 h 214778"/>
                    <a:gd name="connsiteX12" fmla="*/ 33292 w 212337"/>
                    <a:gd name="connsiteY12" fmla="*/ 45192 h 214778"/>
                    <a:gd name="connsiteX13" fmla="*/ 12465 w 212337"/>
                    <a:gd name="connsiteY13" fmla="*/ 116597 h 214778"/>
                    <a:gd name="connsiteX14" fmla="*/ 48168 w 212337"/>
                    <a:gd name="connsiteY14" fmla="*/ 182051 h 214778"/>
                    <a:gd name="connsiteX15" fmla="*/ 101721 w 212337"/>
                    <a:gd name="connsiteY15" fmla="*/ 202878 h 214778"/>
                    <a:gd name="connsiteX16" fmla="*/ 116597 w 212337"/>
                    <a:gd name="connsiteY16" fmla="*/ 202878 h 214778"/>
                    <a:gd name="connsiteX17" fmla="*/ 202877 w 212337"/>
                    <a:gd name="connsiteY17" fmla="*/ 95770 h 214778"/>
                    <a:gd name="connsiteX18" fmla="*/ 167176 w 212337"/>
                    <a:gd name="connsiteY18" fmla="*/ 30316 h 214778"/>
                    <a:gd name="connsiteX19" fmla="*/ 107672 w 212337"/>
                    <a:gd name="connsiteY19" fmla="*/ 9490 h 214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12337" h="214778">
                      <a:moveTo>
                        <a:pt x="107672" y="214779"/>
                      </a:moveTo>
                      <a:cubicBezTo>
                        <a:pt x="104696" y="214779"/>
                        <a:pt x="101721" y="214779"/>
                        <a:pt x="101721" y="214779"/>
                      </a:cubicBezTo>
                      <a:cubicBezTo>
                        <a:pt x="77920" y="214779"/>
                        <a:pt x="57093" y="205853"/>
                        <a:pt x="39241" y="190977"/>
                      </a:cubicBezTo>
                      <a:cubicBezTo>
                        <a:pt x="18416" y="173126"/>
                        <a:pt x="3540" y="146349"/>
                        <a:pt x="564" y="119572"/>
                      </a:cubicBezTo>
                      <a:cubicBezTo>
                        <a:pt x="-2411" y="89820"/>
                        <a:pt x="6514" y="63043"/>
                        <a:pt x="24365" y="39242"/>
                      </a:cubicBezTo>
                      <a:cubicBezTo>
                        <a:pt x="42217" y="18415"/>
                        <a:pt x="68993" y="3539"/>
                        <a:pt x="95771" y="564"/>
                      </a:cubicBezTo>
                      <a:cubicBezTo>
                        <a:pt x="125523" y="-2412"/>
                        <a:pt x="152300" y="6514"/>
                        <a:pt x="173125" y="24366"/>
                      </a:cubicBezTo>
                      <a:cubicBezTo>
                        <a:pt x="196928" y="42217"/>
                        <a:pt x="208828" y="68994"/>
                        <a:pt x="211804" y="95770"/>
                      </a:cubicBezTo>
                      <a:cubicBezTo>
                        <a:pt x="217753" y="155275"/>
                        <a:pt x="173125" y="208828"/>
                        <a:pt x="116597" y="214779"/>
                      </a:cubicBezTo>
                      <a:cubicBezTo>
                        <a:pt x="113621" y="214779"/>
                        <a:pt x="110647" y="214779"/>
                        <a:pt x="107672" y="214779"/>
                      </a:cubicBezTo>
                      <a:close/>
                      <a:moveTo>
                        <a:pt x="107672" y="9490"/>
                      </a:moveTo>
                      <a:cubicBezTo>
                        <a:pt x="104696" y="9490"/>
                        <a:pt x="101721" y="9490"/>
                        <a:pt x="98745" y="9490"/>
                      </a:cubicBezTo>
                      <a:cubicBezTo>
                        <a:pt x="71969" y="12465"/>
                        <a:pt x="51142" y="24366"/>
                        <a:pt x="33292" y="45192"/>
                      </a:cubicBezTo>
                      <a:cubicBezTo>
                        <a:pt x="18416" y="66018"/>
                        <a:pt x="9489" y="89820"/>
                        <a:pt x="12465" y="116597"/>
                      </a:cubicBezTo>
                      <a:cubicBezTo>
                        <a:pt x="15440" y="143374"/>
                        <a:pt x="27341" y="164200"/>
                        <a:pt x="48168" y="182051"/>
                      </a:cubicBezTo>
                      <a:cubicBezTo>
                        <a:pt x="63044" y="193952"/>
                        <a:pt x="83869" y="202878"/>
                        <a:pt x="101721" y="202878"/>
                      </a:cubicBezTo>
                      <a:cubicBezTo>
                        <a:pt x="107672" y="202878"/>
                        <a:pt x="113621" y="202878"/>
                        <a:pt x="116597" y="202878"/>
                      </a:cubicBezTo>
                      <a:cubicBezTo>
                        <a:pt x="170151" y="196927"/>
                        <a:pt x="208828" y="149324"/>
                        <a:pt x="202877" y="95770"/>
                      </a:cubicBezTo>
                      <a:cubicBezTo>
                        <a:pt x="199903" y="68994"/>
                        <a:pt x="188001" y="48167"/>
                        <a:pt x="167176" y="30316"/>
                      </a:cubicBezTo>
                      <a:cubicBezTo>
                        <a:pt x="149324" y="18415"/>
                        <a:pt x="128497" y="9490"/>
                        <a:pt x="107672" y="949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1E174884-9E60-4F68-B970-47F10CAC013C}"/>
                  </a:ext>
                </a:extLst>
              </p:cNvPr>
              <p:cNvSpPr/>
              <p:nvPr/>
            </p:nvSpPr>
            <p:spPr>
              <a:xfrm>
                <a:off x="24821348" y="7781533"/>
                <a:ext cx="511735" cy="53553"/>
              </a:xfrm>
              <a:custGeom>
                <a:avLst/>
                <a:gdLst>
                  <a:gd name="connsiteX0" fmla="*/ 288595 w 511735"/>
                  <a:gd name="connsiteY0" fmla="*/ 53554 h 53553"/>
                  <a:gd name="connsiteX1" fmla="*/ 0 w 511735"/>
                  <a:gd name="connsiteY1" fmla="*/ 8926 h 53553"/>
                  <a:gd name="connsiteX2" fmla="*/ 5951 w 511735"/>
                  <a:gd name="connsiteY2" fmla="*/ 0 h 53553"/>
                  <a:gd name="connsiteX3" fmla="*/ 508761 w 511735"/>
                  <a:gd name="connsiteY3" fmla="*/ 29752 h 53553"/>
                  <a:gd name="connsiteX4" fmla="*/ 511736 w 511735"/>
                  <a:gd name="connsiteY4" fmla="*/ 41653 h 53553"/>
                  <a:gd name="connsiteX5" fmla="*/ 288595 w 511735"/>
                  <a:gd name="connsiteY5" fmla="*/ 53554 h 53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1735" h="53553">
                    <a:moveTo>
                      <a:pt x="288595" y="53554"/>
                    </a:moveTo>
                    <a:cubicBezTo>
                      <a:pt x="190414" y="53554"/>
                      <a:pt x="77356" y="44628"/>
                      <a:pt x="0" y="8926"/>
                    </a:cubicBezTo>
                    <a:lnTo>
                      <a:pt x="5951" y="0"/>
                    </a:lnTo>
                    <a:cubicBezTo>
                      <a:pt x="172563" y="77356"/>
                      <a:pt x="505785" y="29752"/>
                      <a:pt x="508761" y="29752"/>
                    </a:cubicBezTo>
                    <a:lnTo>
                      <a:pt x="511736" y="41653"/>
                    </a:lnTo>
                    <a:cubicBezTo>
                      <a:pt x="508761" y="41653"/>
                      <a:pt x="407604" y="53554"/>
                      <a:pt x="288595" y="53554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C4DEEABF-642D-4A2E-986A-B66A239A5C04}"/>
                  </a:ext>
                </a:extLst>
              </p:cNvPr>
              <p:cNvSpPr/>
              <p:nvPr/>
            </p:nvSpPr>
            <p:spPr>
              <a:xfrm>
                <a:off x="24817141" y="7754756"/>
                <a:ext cx="531009" cy="145784"/>
              </a:xfrm>
              <a:custGeom>
                <a:avLst/>
                <a:gdLst>
                  <a:gd name="connsiteX0" fmla="*/ 304704 w 531009"/>
                  <a:gd name="connsiteY0" fmla="*/ 145785 h 145784"/>
                  <a:gd name="connsiteX1" fmla="*/ 4207 w 531009"/>
                  <a:gd name="connsiteY1" fmla="*/ 104132 h 145784"/>
                  <a:gd name="connsiteX2" fmla="*/ 1232 w 531009"/>
                  <a:gd name="connsiteY2" fmla="*/ 98182 h 145784"/>
                  <a:gd name="connsiteX3" fmla="*/ 7183 w 531009"/>
                  <a:gd name="connsiteY3" fmla="*/ 95207 h 145784"/>
                  <a:gd name="connsiteX4" fmla="*/ 521893 w 531009"/>
                  <a:gd name="connsiteY4" fmla="*/ 113058 h 145784"/>
                  <a:gd name="connsiteX5" fmla="*/ 492141 w 531009"/>
                  <a:gd name="connsiteY5" fmla="*/ 5950 h 145784"/>
                  <a:gd name="connsiteX6" fmla="*/ 495116 w 531009"/>
                  <a:gd name="connsiteY6" fmla="*/ 0 h 145784"/>
                  <a:gd name="connsiteX7" fmla="*/ 501066 w 531009"/>
                  <a:gd name="connsiteY7" fmla="*/ 2975 h 145784"/>
                  <a:gd name="connsiteX8" fmla="*/ 530819 w 531009"/>
                  <a:gd name="connsiteY8" fmla="*/ 119008 h 145784"/>
                  <a:gd name="connsiteX9" fmla="*/ 530819 w 531009"/>
                  <a:gd name="connsiteY9" fmla="*/ 121984 h 145784"/>
                  <a:gd name="connsiteX10" fmla="*/ 527844 w 531009"/>
                  <a:gd name="connsiteY10" fmla="*/ 121984 h 145784"/>
                  <a:gd name="connsiteX11" fmla="*/ 304704 w 531009"/>
                  <a:gd name="connsiteY11" fmla="*/ 145785 h 145784"/>
                  <a:gd name="connsiteX12" fmla="*/ 524868 w 531009"/>
                  <a:gd name="connsiteY12" fmla="*/ 116033 h 145784"/>
                  <a:gd name="connsiteX13" fmla="*/ 524868 w 531009"/>
                  <a:gd name="connsiteY13" fmla="*/ 116033 h 145784"/>
                  <a:gd name="connsiteX14" fmla="*/ 524868 w 531009"/>
                  <a:gd name="connsiteY14" fmla="*/ 116033 h 145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31009" h="145784">
                    <a:moveTo>
                      <a:pt x="304704" y="145785"/>
                    </a:moveTo>
                    <a:cubicBezTo>
                      <a:pt x="218422" y="145785"/>
                      <a:pt x="114290" y="136860"/>
                      <a:pt x="4207" y="104132"/>
                    </a:cubicBezTo>
                    <a:cubicBezTo>
                      <a:pt x="1232" y="104132"/>
                      <a:pt x="-1742" y="101157"/>
                      <a:pt x="1232" y="98182"/>
                    </a:cubicBezTo>
                    <a:cubicBezTo>
                      <a:pt x="1232" y="95207"/>
                      <a:pt x="4207" y="92232"/>
                      <a:pt x="7183" y="95207"/>
                    </a:cubicBezTo>
                    <a:cubicBezTo>
                      <a:pt x="271975" y="172562"/>
                      <a:pt x="489167" y="121984"/>
                      <a:pt x="521893" y="113058"/>
                    </a:cubicBezTo>
                    <a:cubicBezTo>
                      <a:pt x="521893" y="77356"/>
                      <a:pt x="492141" y="5950"/>
                      <a:pt x="492141" y="5950"/>
                    </a:cubicBezTo>
                    <a:cubicBezTo>
                      <a:pt x="492141" y="2975"/>
                      <a:pt x="492141" y="0"/>
                      <a:pt x="495116" y="0"/>
                    </a:cubicBezTo>
                    <a:cubicBezTo>
                      <a:pt x="498092" y="0"/>
                      <a:pt x="501066" y="0"/>
                      <a:pt x="501066" y="2975"/>
                    </a:cubicBezTo>
                    <a:cubicBezTo>
                      <a:pt x="501066" y="5950"/>
                      <a:pt x="533795" y="83306"/>
                      <a:pt x="530819" y="119008"/>
                    </a:cubicBezTo>
                    <a:lnTo>
                      <a:pt x="530819" y="121984"/>
                    </a:lnTo>
                    <a:lnTo>
                      <a:pt x="527844" y="121984"/>
                    </a:lnTo>
                    <a:cubicBezTo>
                      <a:pt x="524868" y="121984"/>
                      <a:pt x="438588" y="145785"/>
                      <a:pt x="304704" y="145785"/>
                    </a:cubicBezTo>
                    <a:close/>
                    <a:moveTo>
                      <a:pt x="524868" y="116033"/>
                    </a:moveTo>
                    <a:lnTo>
                      <a:pt x="524868" y="116033"/>
                    </a:lnTo>
                    <a:lnTo>
                      <a:pt x="524868" y="116033"/>
                    </a:lnTo>
                    <a:close/>
                  </a:path>
                </a:pathLst>
              </a:custGeom>
              <a:solidFill>
                <a:srgbClr val="38343B"/>
              </a:solidFill>
              <a:ln w="297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93CFD341-0353-4E62-B624-7C6AAA76864C}"/>
                </a:ext>
              </a:extLst>
            </p:cNvPr>
            <p:cNvSpPr/>
            <p:nvPr/>
          </p:nvSpPr>
          <p:spPr>
            <a:xfrm>
              <a:off x="24781634" y="8309632"/>
              <a:ext cx="504306" cy="572727"/>
            </a:xfrm>
            <a:custGeom>
              <a:avLst/>
              <a:gdLst>
                <a:gd name="connsiteX0" fmla="*/ 500871 w 504306"/>
                <a:gd name="connsiteY0" fmla="*/ 78843 h 572727"/>
                <a:gd name="connsiteX1" fmla="*/ 456243 w 504306"/>
                <a:gd name="connsiteY1" fmla="*/ 4463 h 572727"/>
                <a:gd name="connsiteX2" fmla="*/ 256905 w 504306"/>
                <a:gd name="connsiteY2" fmla="*/ 19339 h 572727"/>
                <a:gd name="connsiteX3" fmla="*/ 250955 w 504306"/>
                <a:gd name="connsiteY3" fmla="*/ 13389 h 572727"/>
                <a:gd name="connsiteX4" fmla="*/ 221203 w 504306"/>
                <a:gd name="connsiteY4" fmla="*/ 7438 h 572727"/>
                <a:gd name="connsiteX5" fmla="*/ 179549 w 504306"/>
                <a:gd name="connsiteY5" fmla="*/ 10413 h 572727"/>
                <a:gd name="connsiteX6" fmla="*/ 173598 w 504306"/>
                <a:gd name="connsiteY6" fmla="*/ 13389 h 572727"/>
                <a:gd name="connsiteX7" fmla="*/ 146822 w 504306"/>
                <a:gd name="connsiteY7" fmla="*/ 10413 h 572727"/>
                <a:gd name="connsiteX8" fmla="*/ 134921 w 504306"/>
                <a:gd name="connsiteY8" fmla="*/ 16364 h 572727"/>
                <a:gd name="connsiteX9" fmla="*/ 114094 w 504306"/>
                <a:gd name="connsiteY9" fmla="*/ 81818 h 572727"/>
                <a:gd name="connsiteX10" fmla="*/ 123021 w 504306"/>
                <a:gd name="connsiteY10" fmla="*/ 99669 h 572727"/>
                <a:gd name="connsiteX11" fmla="*/ 1036 w 504306"/>
                <a:gd name="connsiteY11" fmla="*/ 403140 h 572727"/>
                <a:gd name="connsiteX12" fmla="*/ 15913 w 504306"/>
                <a:gd name="connsiteY12" fmla="*/ 435868 h 572727"/>
                <a:gd name="connsiteX13" fmla="*/ 158722 w 504306"/>
                <a:gd name="connsiteY13" fmla="*/ 409091 h 572727"/>
                <a:gd name="connsiteX14" fmla="*/ 209301 w 504306"/>
                <a:gd name="connsiteY14" fmla="*/ 123471 h 572727"/>
                <a:gd name="connsiteX15" fmla="*/ 212277 w 504306"/>
                <a:gd name="connsiteY15" fmla="*/ 123471 h 572727"/>
                <a:gd name="connsiteX16" fmla="*/ 268805 w 504306"/>
                <a:gd name="connsiteY16" fmla="*/ 459670 h 572727"/>
                <a:gd name="connsiteX17" fmla="*/ 280707 w 504306"/>
                <a:gd name="connsiteY17" fmla="*/ 551901 h 572727"/>
                <a:gd name="connsiteX18" fmla="*/ 310459 w 504306"/>
                <a:gd name="connsiteY18" fmla="*/ 572727 h 572727"/>
                <a:gd name="connsiteX19" fmla="*/ 417565 w 504306"/>
                <a:gd name="connsiteY19" fmla="*/ 557851 h 572727"/>
                <a:gd name="connsiteX20" fmla="*/ 438392 w 504306"/>
                <a:gd name="connsiteY20" fmla="*/ 522149 h 572727"/>
                <a:gd name="connsiteX21" fmla="*/ 334260 w 504306"/>
                <a:gd name="connsiteY21" fmla="*/ 221653 h 572727"/>
                <a:gd name="connsiteX22" fmla="*/ 310459 w 504306"/>
                <a:gd name="connsiteY22" fmla="*/ 132397 h 572727"/>
                <a:gd name="connsiteX23" fmla="*/ 500871 w 504306"/>
                <a:gd name="connsiteY23" fmla="*/ 99669 h 572727"/>
                <a:gd name="connsiteX24" fmla="*/ 500871 w 504306"/>
                <a:gd name="connsiteY24" fmla="*/ 78843 h 572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04306" h="572727">
                  <a:moveTo>
                    <a:pt x="500871" y="78843"/>
                  </a:moveTo>
                  <a:cubicBezTo>
                    <a:pt x="491946" y="63967"/>
                    <a:pt x="468144" y="1487"/>
                    <a:pt x="456243" y="4463"/>
                  </a:cubicBezTo>
                  <a:cubicBezTo>
                    <a:pt x="390790" y="22314"/>
                    <a:pt x="322358" y="25289"/>
                    <a:pt x="256905" y="19339"/>
                  </a:cubicBezTo>
                  <a:cubicBezTo>
                    <a:pt x="253929" y="16364"/>
                    <a:pt x="253929" y="13389"/>
                    <a:pt x="250955" y="13389"/>
                  </a:cubicBezTo>
                  <a:cubicBezTo>
                    <a:pt x="242029" y="4463"/>
                    <a:pt x="230128" y="4463"/>
                    <a:pt x="221203" y="7438"/>
                  </a:cubicBezTo>
                  <a:cubicBezTo>
                    <a:pt x="209301" y="-1487"/>
                    <a:pt x="191450" y="-4463"/>
                    <a:pt x="179549" y="10413"/>
                  </a:cubicBezTo>
                  <a:cubicBezTo>
                    <a:pt x="176574" y="10413"/>
                    <a:pt x="176574" y="13389"/>
                    <a:pt x="173598" y="13389"/>
                  </a:cubicBezTo>
                  <a:cubicBezTo>
                    <a:pt x="164673" y="13389"/>
                    <a:pt x="155748" y="10413"/>
                    <a:pt x="146822" y="10413"/>
                  </a:cubicBezTo>
                  <a:cubicBezTo>
                    <a:pt x="140872" y="10413"/>
                    <a:pt x="134921" y="13389"/>
                    <a:pt x="134921" y="16364"/>
                  </a:cubicBezTo>
                  <a:cubicBezTo>
                    <a:pt x="123021" y="37190"/>
                    <a:pt x="117070" y="58017"/>
                    <a:pt x="114094" y="81818"/>
                  </a:cubicBezTo>
                  <a:cubicBezTo>
                    <a:pt x="111119" y="90744"/>
                    <a:pt x="117070" y="96694"/>
                    <a:pt x="123021" y="99669"/>
                  </a:cubicBezTo>
                  <a:cubicBezTo>
                    <a:pt x="66491" y="194876"/>
                    <a:pt x="18889" y="293058"/>
                    <a:pt x="1036" y="403140"/>
                  </a:cubicBezTo>
                  <a:cubicBezTo>
                    <a:pt x="-1938" y="415041"/>
                    <a:pt x="1036" y="429918"/>
                    <a:pt x="15913" y="435868"/>
                  </a:cubicBezTo>
                  <a:cubicBezTo>
                    <a:pt x="84342" y="465620"/>
                    <a:pt x="134921" y="489422"/>
                    <a:pt x="158722" y="409091"/>
                  </a:cubicBezTo>
                  <a:cubicBezTo>
                    <a:pt x="185500" y="316860"/>
                    <a:pt x="191450" y="218678"/>
                    <a:pt x="209301" y="123471"/>
                  </a:cubicBezTo>
                  <a:cubicBezTo>
                    <a:pt x="209301" y="123471"/>
                    <a:pt x="212277" y="123471"/>
                    <a:pt x="212277" y="123471"/>
                  </a:cubicBezTo>
                  <a:cubicBezTo>
                    <a:pt x="224177" y="236529"/>
                    <a:pt x="247978" y="346612"/>
                    <a:pt x="268805" y="459670"/>
                  </a:cubicBezTo>
                  <a:cubicBezTo>
                    <a:pt x="268805" y="489422"/>
                    <a:pt x="271781" y="522149"/>
                    <a:pt x="280707" y="551901"/>
                  </a:cubicBezTo>
                  <a:cubicBezTo>
                    <a:pt x="283681" y="563802"/>
                    <a:pt x="295583" y="572727"/>
                    <a:pt x="310459" y="572727"/>
                  </a:cubicBezTo>
                  <a:cubicBezTo>
                    <a:pt x="349136" y="572727"/>
                    <a:pt x="381863" y="566777"/>
                    <a:pt x="417565" y="557851"/>
                  </a:cubicBezTo>
                  <a:cubicBezTo>
                    <a:pt x="432441" y="554876"/>
                    <a:pt x="441367" y="537025"/>
                    <a:pt x="438392" y="522149"/>
                  </a:cubicBezTo>
                  <a:cubicBezTo>
                    <a:pt x="417565" y="418016"/>
                    <a:pt x="369963" y="322810"/>
                    <a:pt x="334260" y="221653"/>
                  </a:cubicBezTo>
                  <a:cubicBezTo>
                    <a:pt x="322358" y="191901"/>
                    <a:pt x="316409" y="162149"/>
                    <a:pt x="310459" y="132397"/>
                  </a:cubicBezTo>
                  <a:cubicBezTo>
                    <a:pt x="372937" y="132397"/>
                    <a:pt x="438392" y="123471"/>
                    <a:pt x="500871" y="99669"/>
                  </a:cubicBezTo>
                  <a:cubicBezTo>
                    <a:pt x="503847" y="96694"/>
                    <a:pt x="506822" y="87769"/>
                    <a:pt x="500871" y="78843"/>
                  </a:cubicBezTo>
                  <a:close/>
                </a:path>
              </a:pathLst>
            </a:custGeom>
            <a:solidFill>
              <a:srgbClr val="708686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FFBFC0A2-287A-42AF-8E4B-87CA69337132}"/>
                </a:ext>
              </a:extLst>
            </p:cNvPr>
            <p:cNvSpPr/>
            <p:nvPr/>
          </p:nvSpPr>
          <p:spPr>
            <a:xfrm>
              <a:off x="23120930" y="8294668"/>
              <a:ext cx="297696" cy="297696"/>
            </a:xfrm>
            <a:custGeom>
              <a:avLst/>
              <a:gdLst>
                <a:gd name="connsiteX0" fmla="*/ 31328 w 297696"/>
                <a:gd name="connsiteY0" fmla="*/ 58105 h 297696"/>
                <a:gd name="connsiteX1" fmla="*/ 58105 w 297696"/>
                <a:gd name="connsiteY1" fmla="*/ 266369 h 297696"/>
                <a:gd name="connsiteX2" fmla="*/ 266370 w 297696"/>
                <a:gd name="connsiteY2" fmla="*/ 239592 h 297696"/>
                <a:gd name="connsiteX3" fmla="*/ 239592 w 297696"/>
                <a:gd name="connsiteY3" fmla="*/ 31327 h 297696"/>
                <a:gd name="connsiteX4" fmla="*/ 31328 w 297696"/>
                <a:gd name="connsiteY4" fmla="*/ 58105 h 297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696" h="297696">
                  <a:moveTo>
                    <a:pt x="31328" y="58105"/>
                  </a:moveTo>
                  <a:cubicBezTo>
                    <a:pt x="-19251" y="123559"/>
                    <a:pt x="-7350" y="215790"/>
                    <a:pt x="58105" y="266369"/>
                  </a:cubicBezTo>
                  <a:cubicBezTo>
                    <a:pt x="123558" y="316948"/>
                    <a:pt x="215791" y="305046"/>
                    <a:pt x="266370" y="239592"/>
                  </a:cubicBezTo>
                  <a:cubicBezTo>
                    <a:pt x="316947" y="174138"/>
                    <a:pt x="305047" y="81906"/>
                    <a:pt x="239592" y="31327"/>
                  </a:cubicBezTo>
                  <a:cubicBezTo>
                    <a:pt x="174137" y="-19251"/>
                    <a:pt x="81906" y="-7350"/>
                    <a:pt x="31328" y="58105"/>
                  </a:cubicBezTo>
                  <a:close/>
                </a:path>
              </a:pathLst>
            </a:custGeom>
            <a:solidFill>
              <a:srgbClr val="F6EBEB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ABF69B60-88BE-4743-A74C-230703BE1628}"/>
                </a:ext>
              </a:extLst>
            </p:cNvPr>
            <p:cNvSpPr/>
            <p:nvPr/>
          </p:nvSpPr>
          <p:spPr>
            <a:xfrm>
              <a:off x="23340682" y="8431599"/>
              <a:ext cx="153239" cy="132506"/>
            </a:xfrm>
            <a:custGeom>
              <a:avLst/>
              <a:gdLst>
                <a:gd name="connsiteX0" fmla="*/ 1990 w 153239"/>
                <a:gd name="connsiteY0" fmla="*/ 69934 h 132506"/>
                <a:gd name="connsiteX1" fmla="*/ 31742 w 153239"/>
                <a:gd name="connsiteY1" fmla="*/ 63983 h 132506"/>
                <a:gd name="connsiteX2" fmla="*/ 94221 w 153239"/>
                <a:gd name="connsiteY2" fmla="*/ 75884 h 132506"/>
                <a:gd name="connsiteX3" fmla="*/ 106122 w 153239"/>
                <a:gd name="connsiteY3" fmla="*/ 132413 h 132506"/>
                <a:gd name="connsiteX4" fmla="*/ 150750 w 153239"/>
                <a:gd name="connsiteY4" fmla="*/ 49107 h 132506"/>
                <a:gd name="connsiteX5" fmla="*/ 52567 w 153239"/>
                <a:gd name="connsiteY5" fmla="*/ 1504 h 132506"/>
                <a:gd name="connsiteX6" fmla="*/ 1990 w 153239"/>
                <a:gd name="connsiteY6" fmla="*/ 69934 h 13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3239" h="132506">
                  <a:moveTo>
                    <a:pt x="1990" y="69934"/>
                  </a:moveTo>
                  <a:cubicBezTo>
                    <a:pt x="7939" y="78859"/>
                    <a:pt x="22815" y="66958"/>
                    <a:pt x="31742" y="63983"/>
                  </a:cubicBezTo>
                  <a:cubicBezTo>
                    <a:pt x="55543" y="61008"/>
                    <a:pt x="73394" y="61008"/>
                    <a:pt x="94221" y="75884"/>
                  </a:cubicBezTo>
                  <a:cubicBezTo>
                    <a:pt x="106122" y="84810"/>
                    <a:pt x="73394" y="99686"/>
                    <a:pt x="106122" y="132413"/>
                  </a:cubicBezTo>
                  <a:cubicBezTo>
                    <a:pt x="109097" y="135388"/>
                    <a:pt x="165626" y="66958"/>
                    <a:pt x="150750" y="49107"/>
                  </a:cubicBezTo>
                  <a:cubicBezTo>
                    <a:pt x="132898" y="25305"/>
                    <a:pt x="85295" y="-7422"/>
                    <a:pt x="52567" y="1504"/>
                  </a:cubicBezTo>
                  <a:cubicBezTo>
                    <a:pt x="34716" y="10429"/>
                    <a:pt x="-9912" y="49107"/>
                    <a:pt x="1990" y="69934"/>
                  </a:cubicBezTo>
                  <a:close/>
                </a:path>
              </a:pathLst>
            </a:custGeom>
            <a:solidFill>
              <a:srgbClr val="F49F84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D088C408-308C-45FC-96A1-17E7D606015B}"/>
                </a:ext>
              </a:extLst>
            </p:cNvPr>
            <p:cNvSpPr/>
            <p:nvPr/>
          </p:nvSpPr>
          <p:spPr>
            <a:xfrm>
              <a:off x="23330770" y="8426926"/>
              <a:ext cx="162892" cy="137086"/>
            </a:xfrm>
            <a:custGeom>
              <a:avLst/>
              <a:gdLst>
                <a:gd name="connsiteX0" fmla="*/ 107107 w 162892"/>
                <a:gd name="connsiteY0" fmla="*/ 137086 h 137086"/>
                <a:gd name="connsiteX1" fmla="*/ 101158 w 162892"/>
                <a:gd name="connsiteY1" fmla="*/ 134111 h 137086"/>
                <a:gd name="connsiteX2" fmla="*/ 95207 w 162892"/>
                <a:gd name="connsiteY2" fmla="*/ 83532 h 137086"/>
                <a:gd name="connsiteX3" fmla="*/ 35703 w 162892"/>
                <a:gd name="connsiteY3" fmla="*/ 77582 h 137086"/>
                <a:gd name="connsiteX4" fmla="*/ 5951 w 162892"/>
                <a:gd name="connsiteY4" fmla="*/ 77582 h 137086"/>
                <a:gd name="connsiteX5" fmla="*/ 0 w 162892"/>
                <a:gd name="connsiteY5" fmla="*/ 59731 h 137086"/>
                <a:gd name="connsiteX6" fmla="*/ 56530 w 162892"/>
                <a:gd name="connsiteY6" fmla="*/ 3202 h 137086"/>
                <a:gd name="connsiteX7" fmla="*/ 160662 w 162892"/>
                <a:gd name="connsiteY7" fmla="*/ 50805 h 137086"/>
                <a:gd name="connsiteX8" fmla="*/ 160662 w 162892"/>
                <a:gd name="connsiteY8" fmla="*/ 59731 h 137086"/>
                <a:gd name="connsiteX9" fmla="*/ 151735 w 162892"/>
                <a:gd name="connsiteY9" fmla="*/ 59731 h 137086"/>
                <a:gd name="connsiteX10" fmla="*/ 59504 w 162892"/>
                <a:gd name="connsiteY10" fmla="*/ 15103 h 137086"/>
                <a:gd name="connsiteX11" fmla="*/ 8925 w 162892"/>
                <a:gd name="connsiteY11" fmla="*/ 62706 h 137086"/>
                <a:gd name="connsiteX12" fmla="*/ 11902 w 162892"/>
                <a:gd name="connsiteY12" fmla="*/ 68656 h 137086"/>
                <a:gd name="connsiteX13" fmla="*/ 32727 w 162892"/>
                <a:gd name="connsiteY13" fmla="*/ 65681 h 137086"/>
                <a:gd name="connsiteX14" fmla="*/ 104132 w 162892"/>
                <a:gd name="connsiteY14" fmla="*/ 74607 h 137086"/>
                <a:gd name="connsiteX15" fmla="*/ 107107 w 162892"/>
                <a:gd name="connsiteY15" fmla="*/ 80557 h 137086"/>
                <a:gd name="connsiteX16" fmla="*/ 110083 w 162892"/>
                <a:gd name="connsiteY16" fmla="*/ 125185 h 137086"/>
                <a:gd name="connsiteX17" fmla="*/ 110083 w 162892"/>
                <a:gd name="connsiteY17" fmla="*/ 134111 h 137086"/>
                <a:gd name="connsiteX18" fmla="*/ 107107 w 162892"/>
                <a:gd name="connsiteY18" fmla="*/ 137086 h 13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2892" h="137086">
                  <a:moveTo>
                    <a:pt x="107107" y="137086"/>
                  </a:moveTo>
                  <a:cubicBezTo>
                    <a:pt x="104132" y="137086"/>
                    <a:pt x="104132" y="137086"/>
                    <a:pt x="101158" y="134111"/>
                  </a:cubicBezTo>
                  <a:cubicBezTo>
                    <a:pt x="89256" y="119235"/>
                    <a:pt x="95207" y="92458"/>
                    <a:pt x="95207" y="83532"/>
                  </a:cubicBezTo>
                  <a:cubicBezTo>
                    <a:pt x="74380" y="68656"/>
                    <a:pt x="53553" y="74607"/>
                    <a:pt x="35703" y="77582"/>
                  </a:cubicBezTo>
                  <a:cubicBezTo>
                    <a:pt x="23801" y="80557"/>
                    <a:pt x="11902" y="83532"/>
                    <a:pt x="5951" y="77582"/>
                  </a:cubicBezTo>
                  <a:cubicBezTo>
                    <a:pt x="0" y="74607"/>
                    <a:pt x="0" y="68656"/>
                    <a:pt x="0" y="59731"/>
                  </a:cubicBezTo>
                  <a:cubicBezTo>
                    <a:pt x="2974" y="41880"/>
                    <a:pt x="23801" y="15103"/>
                    <a:pt x="56530" y="3202"/>
                  </a:cubicBezTo>
                  <a:cubicBezTo>
                    <a:pt x="101158" y="-14649"/>
                    <a:pt x="157686" y="47830"/>
                    <a:pt x="160662" y="50805"/>
                  </a:cubicBezTo>
                  <a:cubicBezTo>
                    <a:pt x="163636" y="53780"/>
                    <a:pt x="163636" y="56756"/>
                    <a:pt x="160662" y="59731"/>
                  </a:cubicBezTo>
                  <a:cubicBezTo>
                    <a:pt x="157686" y="62706"/>
                    <a:pt x="154711" y="62706"/>
                    <a:pt x="151735" y="59731"/>
                  </a:cubicBezTo>
                  <a:cubicBezTo>
                    <a:pt x="151735" y="59731"/>
                    <a:pt x="98181" y="227"/>
                    <a:pt x="59504" y="15103"/>
                  </a:cubicBezTo>
                  <a:cubicBezTo>
                    <a:pt x="29752" y="27004"/>
                    <a:pt x="11902" y="47830"/>
                    <a:pt x="8925" y="62706"/>
                  </a:cubicBezTo>
                  <a:cubicBezTo>
                    <a:pt x="8925" y="68656"/>
                    <a:pt x="8925" y="68656"/>
                    <a:pt x="11902" y="68656"/>
                  </a:cubicBezTo>
                  <a:cubicBezTo>
                    <a:pt x="14876" y="71632"/>
                    <a:pt x="23801" y="68656"/>
                    <a:pt x="32727" y="65681"/>
                  </a:cubicBezTo>
                  <a:cubicBezTo>
                    <a:pt x="53553" y="59731"/>
                    <a:pt x="77355" y="53780"/>
                    <a:pt x="104132" y="74607"/>
                  </a:cubicBezTo>
                  <a:cubicBezTo>
                    <a:pt x="107107" y="74607"/>
                    <a:pt x="107107" y="77582"/>
                    <a:pt x="107107" y="80557"/>
                  </a:cubicBezTo>
                  <a:cubicBezTo>
                    <a:pt x="107107" y="80557"/>
                    <a:pt x="98181" y="110309"/>
                    <a:pt x="110083" y="125185"/>
                  </a:cubicBezTo>
                  <a:cubicBezTo>
                    <a:pt x="113057" y="128160"/>
                    <a:pt x="110083" y="131136"/>
                    <a:pt x="110083" y="134111"/>
                  </a:cubicBezTo>
                  <a:cubicBezTo>
                    <a:pt x="107107" y="137086"/>
                    <a:pt x="107107" y="137086"/>
                    <a:pt x="107107" y="137086"/>
                  </a:cubicBezTo>
                  <a:close/>
                </a:path>
              </a:pathLst>
            </a:custGeom>
            <a:solidFill>
              <a:srgbClr val="E87952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75676E6F-622D-465F-AC91-50B011910286}"/>
                </a:ext>
              </a:extLst>
            </p:cNvPr>
            <p:cNvSpPr/>
            <p:nvPr/>
          </p:nvSpPr>
          <p:spPr>
            <a:xfrm>
              <a:off x="25005811" y="8195087"/>
              <a:ext cx="101157" cy="60050"/>
            </a:xfrm>
            <a:custGeom>
              <a:avLst/>
              <a:gdLst>
                <a:gd name="connsiteX0" fmla="*/ 101158 w 101157"/>
                <a:gd name="connsiteY0" fmla="*/ 0 h 60050"/>
                <a:gd name="connsiteX1" fmla="*/ 0 w 101157"/>
                <a:gd name="connsiteY1" fmla="*/ 20826 h 60050"/>
                <a:gd name="connsiteX2" fmla="*/ 65455 w 101157"/>
                <a:gd name="connsiteY2" fmla="*/ 59504 h 60050"/>
                <a:gd name="connsiteX3" fmla="*/ 101158 w 101157"/>
                <a:gd name="connsiteY3" fmla="*/ 0 h 6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157" h="60050">
                  <a:moveTo>
                    <a:pt x="101158" y="0"/>
                  </a:moveTo>
                  <a:cubicBezTo>
                    <a:pt x="65455" y="35702"/>
                    <a:pt x="0" y="20826"/>
                    <a:pt x="0" y="20826"/>
                  </a:cubicBezTo>
                  <a:cubicBezTo>
                    <a:pt x="0" y="20826"/>
                    <a:pt x="26778" y="65454"/>
                    <a:pt x="65455" y="59504"/>
                  </a:cubicBezTo>
                  <a:cubicBezTo>
                    <a:pt x="101158" y="53554"/>
                    <a:pt x="101158" y="0"/>
                    <a:pt x="101158" y="0"/>
                  </a:cubicBezTo>
                  <a:close/>
                </a:path>
              </a:pathLst>
            </a:custGeom>
            <a:solidFill>
              <a:srgbClr val="FFFFFF"/>
            </a:solidFill>
            <a:ln w="297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60787673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图形 1">
            <a:extLst>
              <a:ext uri="{FF2B5EF4-FFF2-40B4-BE49-F238E27FC236}">
                <a16:creationId xmlns:a16="http://schemas.microsoft.com/office/drawing/2014/main" id="{022DE2CF-4F1C-4C5B-B1AE-3B97CDD4339E}"/>
              </a:ext>
            </a:extLst>
          </p:cNvPr>
          <p:cNvGrpSpPr/>
          <p:nvPr/>
        </p:nvGrpSpPr>
        <p:grpSpPr>
          <a:xfrm>
            <a:off x="2669715" y="1990286"/>
            <a:ext cx="5594718" cy="4684048"/>
            <a:chOff x="2669715" y="1990286"/>
            <a:chExt cx="5594718" cy="4684048"/>
          </a:xfrm>
        </p:grpSpPr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022DE2CF-4F1C-4C5B-B1AE-3B97CDD4339E}"/>
                </a:ext>
              </a:extLst>
            </p:cNvPr>
            <p:cNvGrpSpPr/>
            <p:nvPr/>
          </p:nvGrpSpPr>
          <p:grpSpPr>
            <a:xfrm>
              <a:off x="2669715" y="2269226"/>
              <a:ext cx="3167742" cy="4405108"/>
              <a:chOff x="2669715" y="2269226"/>
              <a:chExt cx="3167742" cy="4405108"/>
            </a:xfrm>
          </p:grpSpPr>
          <p:grpSp>
            <p:nvGrpSpPr>
              <p:cNvPr id="74" name="图形 1">
                <a:extLst>
                  <a:ext uri="{FF2B5EF4-FFF2-40B4-BE49-F238E27FC236}">
                    <a16:creationId xmlns:a16="http://schemas.microsoft.com/office/drawing/2014/main" id="{022DE2CF-4F1C-4C5B-B1AE-3B97CDD4339E}"/>
                  </a:ext>
                </a:extLst>
              </p:cNvPr>
              <p:cNvGrpSpPr/>
              <p:nvPr/>
            </p:nvGrpSpPr>
            <p:grpSpPr>
              <a:xfrm>
                <a:off x="2669715" y="2269226"/>
                <a:ext cx="3167742" cy="4270910"/>
                <a:chOff x="2669715" y="2269226"/>
                <a:chExt cx="3167742" cy="4270910"/>
              </a:xfrm>
            </p:grpSpPr>
            <p:sp>
              <p:nvSpPr>
                <p:cNvPr id="75" name="任意多边形: 形状 74">
                  <a:extLst>
                    <a:ext uri="{FF2B5EF4-FFF2-40B4-BE49-F238E27FC236}">
                      <a16:creationId xmlns:a16="http://schemas.microsoft.com/office/drawing/2014/main" id="{9D88F0E6-3324-46BC-BA26-268491974A06}"/>
                    </a:ext>
                  </a:extLst>
                </p:cNvPr>
                <p:cNvSpPr/>
                <p:nvPr/>
              </p:nvSpPr>
              <p:spPr>
                <a:xfrm>
                  <a:off x="2669715" y="2816430"/>
                  <a:ext cx="3167742" cy="3723705"/>
                </a:xfrm>
                <a:custGeom>
                  <a:avLst/>
                  <a:gdLst>
                    <a:gd name="connsiteX0" fmla="*/ 3155914 w 3167742"/>
                    <a:gd name="connsiteY0" fmla="*/ 3508665 h 3723705"/>
                    <a:gd name="connsiteX1" fmla="*/ 3067871 w 3167742"/>
                    <a:gd name="connsiteY1" fmla="*/ 3408882 h 3723705"/>
                    <a:gd name="connsiteX2" fmla="*/ 2706892 w 3167742"/>
                    <a:gd name="connsiteY2" fmla="*/ 3006817 h 3723705"/>
                    <a:gd name="connsiteX3" fmla="*/ 2803740 w 3167742"/>
                    <a:gd name="connsiteY3" fmla="*/ 2968665 h 3723705"/>
                    <a:gd name="connsiteX4" fmla="*/ 2800805 w 3167742"/>
                    <a:gd name="connsiteY4" fmla="*/ 2956926 h 3723705"/>
                    <a:gd name="connsiteX5" fmla="*/ 2322436 w 3167742"/>
                    <a:gd name="connsiteY5" fmla="*/ 2402252 h 3723705"/>
                    <a:gd name="connsiteX6" fmla="*/ 2463305 w 3167742"/>
                    <a:gd name="connsiteY6" fmla="*/ 2413991 h 3723705"/>
                    <a:gd name="connsiteX7" fmla="*/ 2542544 w 3167742"/>
                    <a:gd name="connsiteY7" fmla="*/ 2419861 h 3723705"/>
                    <a:gd name="connsiteX8" fmla="*/ 2595371 w 3167742"/>
                    <a:gd name="connsiteY8" fmla="*/ 2434535 h 3723705"/>
                    <a:gd name="connsiteX9" fmla="*/ 2674610 w 3167742"/>
                    <a:gd name="connsiteY9" fmla="*/ 2405187 h 3723705"/>
                    <a:gd name="connsiteX10" fmla="*/ 2674610 w 3167742"/>
                    <a:gd name="connsiteY10" fmla="*/ 2393448 h 3723705"/>
                    <a:gd name="connsiteX11" fmla="*/ 2592436 w 3167742"/>
                    <a:gd name="connsiteY11" fmla="*/ 2314208 h 3723705"/>
                    <a:gd name="connsiteX12" fmla="*/ 2659936 w 3167742"/>
                    <a:gd name="connsiteY12" fmla="*/ 2284861 h 3723705"/>
                    <a:gd name="connsiteX13" fmla="*/ 2659936 w 3167742"/>
                    <a:gd name="connsiteY13" fmla="*/ 2273122 h 3723705"/>
                    <a:gd name="connsiteX14" fmla="*/ 2155153 w 3167742"/>
                    <a:gd name="connsiteY14" fmla="*/ 1674426 h 3723705"/>
                    <a:gd name="connsiteX15" fmla="*/ 2252001 w 3167742"/>
                    <a:gd name="connsiteY15" fmla="*/ 1718448 h 3723705"/>
                    <a:gd name="connsiteX16" fmla="*/ 2293088 w 3167742"/>
                    <a:gd name="connsiteY16" fmla="*/ 1686165 h 3723705"/>
                    <a:gd name="connsiteX17" fmla="*/ 2425153 w 3167742"/>
                    <a:gd name="connsiteY17" fmla="*/ 1709643 h 3723705"/>
                    <a:gd name="connsiteX18" fmla="*/ 2351784 w 3167742"/>
                    <a:gd name="connsiteY18" fmla="*/ 1559969 h 3723705"/>
                    <a:gd name="connsiteX19" fmla="*/ 2134610 w 3167742"/>
                    <a:gd name="connsiteY19" fmla="*/ 1360404 h 3723705"/>
                    <a:gd name="connsiteX20" fmla="*/ 1967327 w 3167742"/>
                    <a:gd name="connsiteY20" fmla="*/ 1163774 h 3723705"/>
                    <a:gd name="connsiteX21" fmla="*/ 2005479 w 3167742"/>
                    <a:gd name="connsiteY21" fmla="*/ 1152034 h 3723705"/>
                    <a:gd name="connsiteX22" fmla="*/ 2172762 w 3167742"/>
                    <a:gd name="connsiteY22" fmla="*/ 1243013 h 3723705"/>
                    <a:gd name="connsiteX23" fmla="*/ 2181566 w 3167742"/>
                    <a:gd name="connsiteY23" fmla="*/ 1234208 h 3723705"/>
                    <a:gd name="connsiteX24" fmla="*/ 2175697 w 3167742"/>
                    <a:gd name="connsiteY24" fmla="*/ 1216600 h 3723705"/>
                    <a:gd name="connsiteX25" fmla="*/ 2237327 w 3167742"/>
                    <a:gd name="connsiteY25" fmla="*/ 1196056 h 3723705"/>
                    <a:gd name="connsiteX26" fmla="*/ 2155153 w 3167742"/>
                    <a:gd name="connsiteY26" fmla="*/ 1075730 h 3723705"/>
                    <a:gd name="connsiteX27" fmla="*/ 1864610 w 3167742"/>
                    <a:gd name="connsiteY27" fmla="*/ 744100 h 3723705"/>
                    <a:gd name="connsiteX28" fmla="*/ 1709066 w 3167742"/>
                    <a:gd name="connsiteY28" fmla="*/ 353774 h 3723705"/>
                    <a:gd name="connsiteX29" fmla="*/ 1641566 w 3167742"/>
                    <a:gd name="connsiteY29" fmla="*/ 157143 h 3723705"/>
                    <a:gd name="connsiteX30" fmla="*/ 1559392 w 3167742"/>
                    <a:gd name="connsiteY30" fmla="*/ 1600 h 3723705"/>
                    <a:gd name="connsiteX31" fmla="*/ 1547653 w 3167742"/>
                    <a:gd name="connsiteY31" fmla="*/ 13339 h 3723705"/>
                    <a:gd name="connsiteX32" fmla="*/ 1547653 w 3167742"/>
                    <a:gd name="connsiteY32" fmla="*/ 13339 h 3723705"/>
                    <a:gd name="connsiteX33" fmla="*/ 1544718 w 3167742"/>
                    <a:gd name="connsiteY33" fmla="*/ 16274 h 3723705"/>
                    <a:gd name="connsiteX34" fmla="*/ 1351023 w 3167742"/>
                    <a:gd name="connsiteY34" fmla="*/ 526926 h 3723705"/>
                    <a:gd name="connsiteX35" fmla="*/ 1083958 w 3167742"/>
                    <a:gd name="connsiteY35" fmla="*/ 1002361 h 3723705"/>
                    <a:gd name="connsiteX36" fmla="*/ 775805 w 3167742"/>
                    <a:gd name="connsiteY36" fmla="*/ 1451382 h 3723705"/>
                    <a:gd name="connsiteX37" fmla="*/ 599718 w 3167742"/>
                    <a:gd name="connsiteY37" fmla="*/ 1642143 h 3723705"/>
                    <a:gd name="connsiteX38" fmla="*/ 508740 w 3167742"/>
                    <a:gd name="connsiteY38" fmla="*/ 1736056 h 3723705"/>
                    <a:gd name="connsiteX39" fmla="*/ 467653 w 3167742"/>
                    <a:gd name="connsiteY39" fmla="*/ 1803556 h 3723705"/>
                    <a:gd name="connsiteX40" fmla="*/ 587979 w 3167742"/>
                    <a:gd name="connsiteY40" fmla="*/ 1829969 h 3723705"/>
                    <a:gd name="connsiteX41" fmla="*/ 769936 w 3167742"/>
                    <a:gd name="connsiteY41" fmla="*/ 1718448 h 3723705"/>
                    <a:gd name="connsiteX42" fmla="*/ 799284 w 3167742"/>
                    <a:gd name="connsiteY42" fmla="*/ 1756600 h 3723705"/>
                    <a:gd name="connsiteX43" fmla="*/ 919610 w 3167742"/>
                    <a:gd name="connsiteY43" fmla="*/ 1703774 h 3723705"/>
                    <a:gd name="connsiteX44" fmla="*/ 893197 w 3167742"/>
                    <a:gd name="connsiteY44" fmla="*/ 1812361 h 3723705"/>
                    <a:gd name="connsiteX45" fmla="*/ 893197 w 3167742"/>
                    <a:gd name="connsiteY45" fmla="*/ 1812361 h 3723705"/>
                    <a:gd name="connsiteX46" fmla="*/ 884392 w 3167742"/>
                    <a:gd name="connsiteY46" fmla="*/ 1815295 h 3723705"/>
                    <a:gd name="connsiteX47" fmla="*/ 643740 w 3167742"/>
                    <a:gd name="connsiteY47" fmla="*/ 2179208 h 3723705"/>
                    <a:gd name="connsiteX48" fmla="*/ 347327 w 3167742"/>
                    <a:gd name="connsiteY48" fmla="*/ 2548991 h 3723705"/>
                    <a:gd name="connsiteX49" fmla="*/ 356131 w 3167742"/>
                    <a:gd name="connsiteY49" fmla="*/ 2563665 h 3723705"/>
                    <a:gd name="connsiteX50" fmla="*/ 461784 w 3167742"/>
                    <a:gd name="connsiteY50" fmla="*/ 2519643 h 3723705"/>
                    <a:gd name="connsiteX51" fmla="*/ 429501 w 3167742"/>
                    <a:gd name="connsiteY51" fmla="*/ 2584209 h 3723705"/>
                    <a:gd name="connsiteX52" fmla="*/ 423631 w 3167742"/>
                    <a:gd name="connsiteY52" fmla="*/ 2613556 h 3723705"/>
                    <a:gd name="connsiteX53" fmla="*/ 520479 w 3167742"/>
                    <a:gd name="connsiteY53" fmla="*/ 2619426 h 3723705"/>
                    <a:gd name="connsiteX54" fmla="*/ 743523 w 3167742"/>
                    <a:gd name="connsiteY54" fmla="*/ 2463883 h 3723705"/>
                    <a:gd name="connsiteX55" fmla="*/ 822762 w 3167742"/>
                    <a:gd name="connsiteY55" fmla="*/ 2522578 h 3723705"/>
                    <a:gd name="connsiteX56" fmla="*/ 617327 w 3167742"/>
                    <a:gd name="connsiteY56" fmla="*/ 2804317 h 3723705"/>
                    <a:gd name="connsiteX57" fmla="*/ 364936 w 3167742"/>
                    <a:gd name="connsiteY57" fmla="*/ 3115404 h 3723705"/>
                    <a:gd name="connsiteX58" fmla="*/ 136023 w 3167742"/>
                    <a:gd name="connsiteY58" fmla="*/ 3420621 h 3723705"/>
                    <a:gd name="connsiteX59" fmla="*/ 21566 w 3167742"/>
                    <a:gd name="connsiteY59" fmla="*/ 3582034 h 3723705"/>
                    <a:gd name="connsiteX60" fmla="*/ 15697 w 3167742"/>
                    <a:gd name="connsiteY60" fmla="*/ 3673013 h 3723705"/>
                    <a:gd name="connsiteX61" fmla="*/ 144827 w 3167742"/>
                    <a:gd name="connsiteY61" fmla="*/ 3699426 h 3723705"/>
                    <a:gd name="connsiteX62" fmla="*/ 235805 w 3167742"/>
                    <a:gd name="connsiteY62" fmla="*/ 3658339 h 3723705"/>
                    <a:gd name="connsiteX63" fmla="*/ 385479 w 3167742"/>
                    <a:gd name="connsiteY63" fmla="*/ 3664208 h 3723705"/>
                    <a:gd name="connsiteX64" fmla="*/ 423631 w 3167742"/>
                    <a:gd name="connsiteY64" fmla="*/ 3717035 h 3723705"/>
                    <a:gd name="connsiteX65" fmla="*/ 555697 w 3167742"/>
                    <a:gd name="connsiteY65" fmla="*/ 3693556 h 3723705"/>
                    <a:gd name="connsiteX66" fmla="*/ 717110 w 3167742"/>
                    <a:gd name="connsiteY66" fmla="*/ 3584969 h 3723705"/>
                    <a:gd name="connsiteX67" fmla="*/ 702436 w 3167742"/>
                    <a:gd name="connsiteY67" fmla="*/ 3623122 h 3723705"/>
                    <a:gd name="connsiteX68" fmla="*/ 711240 w 3167742"/>
                    <a:gd name="connsiteY68" fmla="*/ 3631926 h 3723705"/>
                    <a:gd name="connsiteX69" fmla="*/ 822762 w 3167742"/>
                    <a:gd name="connsiteY69" fmla="*/ 3576165 h 3723705"/>
                    <a:gd name="connsiteX70" fmla="*/ 922544 w 3167742"/>
                    <a:gd name="connsiteY70" fmla="*/ 3611382 h 3723705"/>
                    <a:gd name="connsiteX71" fmla="*/ 1154392 w 3167742"/>
                    <a:gd name="connsiteY71" fmla="*/ 3538013 h 3723705"/>
                    <a:gd name="connsiteX72" fmla="*/ 1283523 w 3167742"/>
                    <a:gd name="connsiteY72" fmla="*/ 3652469 h 3723705"/>
                    <a:gd name="connsiteX73" fmla="*/ 1500697 w 3167742"/>
                    <a:gd name="connsiteY73" fmla="*/ 3552687 h 3723705"/>
                    <a:gd name="connsiteX74" fmla="*/ 1712001 w 3167742"/>
                    <a:gd name="connsiteY74" fmla="*/ 3620187 h 3723705"/>
                    <a:gd name="connsiteX75" fmla="*/ 1794175 w 3167742"/>
                    <a:gd name="connsiteY75" fmla="*/ 3620187 h 3723705"/>
                    <a:gd name="connsiteX76" fmla="*/ 1835262 w 3167742"/>
                    <a:gd name="connsiteY76" fmla="*/ 3640730 h 3723705"/>
                    <a:gd name="connsiteX77" fmla="*/ 1923305 w 3167742"/>
                    <a:gd name="connsiteY77" fmla="*/ 3664208 h 3723705"/>
                    <a:gd name="connsiteX78" fmla="*/ 2087653 w 3167742"/>
                    <a:gd name="connsiteY78" fmla="*/ 3637796 h 3723705"/>
                    <a:gd name="connsiteX79" fmla="*/ 2099392 w 3167742"/>
                    <a:gd name="connsiteY79" fmla="*/ 3643665 h 3723705"/>
                    <a:gd name="connsiteX80" fmla="*/ 2122871 w 3167742"/>
                    <a:gd name="connsiteY80" fmla="*/ 3532143 h 3723705"/>
                    <a:gd name="connsiteX81" fmla="*/ 2416349 w 3167742"/>
                    <a:gd name="connsiteY81" fmla="*/ 3576165 h 3723705"/>
                    <a:gd name="connsiteX82" fmla="*/ 2425153 w 3167742"/>
                    <a:gd name="connsiteY82" fmla="*/ 3567360 h 3723705"/>
                    <a:gd name="connsiteX83" fmla="*/ 2407545 w 3167742"/>
                    <a:gd name="connsiteY83" fmla="*/ 3514535 h 3723705"/>
                    <a:gd name="connsiteX84" fmla="*/ 2539610 w 3167742"/>
                    <a:gd name="connsiteY84" fmla="*/ 3555622 h 3723705"/>
                    <a:gd name="connsiteX85" fmla="*/ 2686349 w 3167742"/>
                    <a:gd name="connsiteY85" fmla="*/ 3599643 h 3723705"/>
                    <a:gd name="connsiteX86" fmla="*/ 2803740 w 3167742"/>
                    <a:gd name="connsiteY86" fmla="*/ 3532143 h 3723705"/>
                    <a:gd name="connsiteX87" fmla="*/ 3003305 w 3167742"/>
                    <a:gd name="connsiteY87" fmla="*/ 3611382 h 3723705"/>
                    <a:gd name="connsiteX88" fmla="*/ 3009175 w 3167742"/>
                    <a:gd name="connsiteY88" fmla="*/ 3599643 h 3723705"/>
                    <a:gd name="connsiteX89" fmla="*/ 2994501 w 3167742"/>
                    <a:gd name="connsiteY89" fmla="*/ 3564426 h 3723705"/>
                    <a:gd name="connsiteX90" fmla="*/ 3097218 w 3167742"/>
                    <a:gd name="connsiteY90" fmla="*/ 3582034 h 3723705"/>
                    <a:gd name="connsiteX91" fmla="*/ 3152979 w 3167742"/>
                    <a:gd name="connsiteY91" fmla="*/ 3570295 h 3723705"/>
                    <a:gd name="connsiteX92" fmla="*/ 3155914 w 3167742"/>
                    <a:gd name="connsiteY92" fmla="*/ 3508665 h 3723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</a:cxnLst>
                  <a:rect l="l" t="t" r="r" b="b"/>
                  <a:pathLst>
                    <a:path w="3167742" h="3723705">
                      <a:moveTo>
                        <a:pt x="3155914" y="3508665"/>
                      </a:moveTo>
                      <a:cubicBezTo>
                        <a:pt x="3132436" y="3473448"/>
                        <a:pt x="3097218" y="3441165"/>
                        <a:pt x="3067871" y="3408882"/>
                      </a:cubicBezTo>
                      <a:cubicBezTo>
                        <a:pt x="2947545" y="3273882"/>
                        <a:pt x="2827219" y="3138883"/>
                        <a:pt x="2706892" y="3006817"/>
                      </a:cubicBezTo>
                      <a:cubicBezTo>
                        <a:pt x="2742110" y="3003882"/>
                        <a:pt x="2774392" y="2992143"/>
                        <a:pt x="2803740" y="2968665"/>
                      </a:cubicBezTo>
                      <a:cubicBezTo>
                        <a:pt x="2809610" y="2965730"/>
                        <a:pt x="2806675" y="2959861"/>
                        <a:pt x="2800805" y="2956926"/>
                      </a:cubicBezTo>
                      <a:cubicBezTo>
                        <a:pt x="2601240" y="2810187"/>
                        <a:pt x="2439827" y="2619426"/>
                        <a:pt x="2322436" y="2402252"/>
                      </a:cubicBezTo>
                      <a:cubicBezTo>
                        <a:pt x="2363523" y="2425730"/>
                        <a:pt x="2416349" y="2416926"/>
                        <a:pt x="2463305" y="2413991"/>
                      </a:cubicBezTo>
                      <a:cubicBezTo>
                        <a:pt x="2489719" y="2411056"/>
                        <a:pt x="2516131" y="2411056"/>
                        <a:pt x="2542544" y="2419861"/>
                      </a:cubicBezTo>
                      <a:cubicBezTo>
                        <a:pt x="2560153" y="2425730"/>
                        <a:pt x="2577762" y="2431600"/>
                        <a:pt x="2595371" y="2434535"/>
                      </a:cubicBezTo>
                      <a:cubicBezTo>
                        <a:pt x="2627653" y="2437469"/>
                        <a:pt x="2654066" y="2425730"/>
                        <a:pt x="2674610" y="2405187"/>
                      </a:cubicBezTo>
                      <a:cubicBezTo>
                        <a:pt x="2677544" y="2402252"/>
                        <a:pt x="2677544" y="2396382"/>
                        <a:pt x="2674610" y="2393448"/>
                      </a:cubicBezTo>
                      <a:cubicBezTo>
                        <a:pt x="2645262" y="2369969"/>
                        <a:pt x="2615914" y="2343556"/>
                        <a:pt x="2592436" y="2314208"/>
                      </a:cubicBezTo>
                      <a:cubicBezTo>
                        <a:pt x="2618849" y="2314208"/>
                        <a:pt x="2639392" y="2302469"/>
                        <a:pt x="2659936" y="2284861"/>
                      </a:cubicBezTo>
                      <a:cubicBezTo>
                        <a:pt x="2662871" y="2281926"/>
                        <a:pt x="2662871" y="2276056"/>
                        <a:pt x="2659936" y="2273122"/>
                      </a:cubicBezTo>
                      <a:cubicBezTo>
                        <a:pt x="2466240" y="2097035"/>
                        <a:pt x="2296023" y="1894535"/>
                        <a:pt x="2155153" y="1674426"/>
                      </a:cubicBezTo>
                      <a:cubicBezTo>
                        <a:pt x="2184501" y="1697904"/>
                        <a:pt x="2219718" y="1721382"/>
                        <a:pt x="2252001" y="1718448"/>
                      </a:cubicBezTo>
                      <a:cubicBezTo>
                        <a:pt x="2272545" y="1718448"/>
                        <a:pt x="2290153" y="1703774"/>
                        <a:pt x="2293088" y="1686165"/>
                      </a:cubicBezTo>
                      <a:cubicBezTo>
                        <a:pt x="2328305" y="1718448"/>
                        <a:pt x="2381131" y="1750730"/>
                        <a:pt x="2425153" y="1709643"/>
                      </a:cubicBezTo>
                      <a:cubicBezTo>
                        <a:pt x="2477979" y="1656817"/>
                        <a:pt x="2387001" y="1592252"/>
                        <a:pt x="2351784" y="1559969"/>
                      </a:cubicBezTo>
                      <a:cubicBezTo>
                        <a:pt x="2278414" y="1492469"/>
                        <a:pt x="2207979" y="1424969"/>
                        <a:pt x="2134610" y="1360404"/>
                      </a:cubicBezTo>
                      <a:cubicBezTo>
                        <a:pt x="2072979" y="1301708"/>
                        <a:pt x="2002544" y="1245948"/>
                        <a:pt x="1967327" y="1163774"/>
                      </a:cubicBezTo>
                      <a:cubicBezTo>
                        <a:pt x="1982001" y="1166708"/>
                        <a:pt x="1993740" y="1163774"/>
                        <a:pt x="2005479" y="1152034"/>
                      </a:cubicBezTo>
                      <a:cubicBezTo>
                        <a:pt x="2049501" y="1201926"/>
                        <a:pt x="2108197" y="1231274"/>
                        <a:pt x="2172762" y="1243013"/>
                      </a:cubicBezTo>
                      <a:cubicBezTo>
                        <a:pt x="2178631" y="1243013"/>
                        <a:pt x="2184501" y="1240078"/>
                        <a:pt x="2181566" y="1234208"/>
                      </a:cubicBezTo>
                      <a:cubicBezTo>
                        <a:pt x="2178631" y="1228339"/>
                        <a:pt x="2178631" y="1222469"/>
                        <a:pt x="2175697" y="1216600"/>
                      </a:cubicBezTo>
                      <a:cubicBezTo>
                        <a:pt x="2202110" y="1225404"/>
                        <a:pt x="2231458" y="1228339"/>
                        <a:pt x="2237327" y="1196056"/>
                      </a:cubicBezTo>
                      <a:cubicBezTo>
                        <a:pt x="2246131" y="1152034"/>
                        <a:pt x="2181566" y="1102143"/>
                        <a:pt x="2155153" y="1075730"/>
                      </a:cubicBezTo>
                      <a:cubicBezTo>
                        <a:pt x="2049501" y="970078"/>
                        <a:pt x="1940914" y="873230"/>
                        <a:pt x="1864610" y="744100"/>
                      </a:cubicBezTo>
                      <a:cubicBezTo>
                        <a:pt x="1794175" y="623774"/>
                        <a:pt x="1753088" y="488774"/>
                        <a:pt x="1709066" y="353774"/>
                      </a:cubicBezTo>
                      <a:cubicBezTo>
                        <a:pt x="1688523" y="289208"/>
                        <a:pt x="1667979" y="221708"/>
                        <a:pt x="1641566" y="157143"/>
                      </a:cubicBezTo>
                      <a:cubicBezTo>
                        <a:pt x="1621023" y="104317"/>
                        <a:pt x="1603414" y="39752"/>
                        <a:pt x="1559392" y="1600"/>
                      </a:cubicBezTo>
                      <a:cubicBezTo>
                        <a:pt x="1550588" y="-4270"/>
                        <a:pt x="1538849" y="7469"/>
                        <a:pt x="1547653" y="13339"/>
                      </a:cubicBezTo>
                      <a:cubicBezTo>
                        <a:pt x="1547653" y="13339"/>
                        <a:pt x="1547653" y="13339"/>
                        <a:pt x="1547653" y="13339"/>
                      </a:cubicBezTo>
                      <a:cubicBezTo>
                        <a:pt x="1547653" y="13339"/>
                        <a:pt x="1544718" y="16274"/>
                        <a:pt x="1544718" y="16274"/>
                      </a:cubicBezTo>
                      <a:cubicBezTo>
                        <a:pt x="1471349" y="183556"/>
                        <a:pt x="1430262" y="359643"/>
                        <a:pt x="1351023" y="526926"/>
                      </a:cubicBezTo>
                      <a:cubicBezTo>
                        <a:pt x="1274718" y="691274"/>
                        <a:pt x="1174936" y="843882"/>
                        <a:pt x="1083958" y="1002361"/>
                      </a:cubicBezTo>
                      <a:cubicBezTo>
                        <a:pt x="992979" y="1160839"/>
                        <a:pt x="896131" y="1313448"/>
                        <a:pt x="775805" y="1451382"/>
                      </a:cubicBezTo>
                      <a:cubicBezTo>
                        <a:pt x="720044" y="1515948"/>
                        <a:pt x="658414" y="1580513"/>
                        <a:pt x="599718" y="1642143"/>
                      </a:cubicBezTo>
                      <a:cubicBezTo>
                        <a:pt x="570371" y="1674426"/>
                        <a:pt x="538088" y="1703774"/>
                        <a:pt x="508740" y="1736056"/>
                      </a:cubicBezTo>
                      <a:cubicBezTo>
                        <a:pt x="491131" y="1753665"/>
                        <a:pt x="470588" y="1777143"/>
                        <a:pt x="467653" y="1803556"/>
                      </a:cubicBezTo>
                      <a:cubicBezTo>
                        <a:pt x="464718" y="1865187"/>
                        <a:pt x="555697" y="1838774"/>
                        <a:pt x="587979" y="1829969"/>
                      </a:cubicBezTo>
                      <a:cubicBezTo>
                        <a:pt x="658414" y="1809426"/>
                        <a:pt x="720044" y="1771274"/>
                        <a:pt x="769936" y="1718448"/>
                      </a:cubicBezTo>
                      <a:cubicBezTo>
                        <a:pt x="772871" y="1736056"/>
                        <a:pt x="781675" y="1750730"/>
                        <a:pt x="799284" y="1756600"/>
                      </a:cubicBezTo>
                      <a:cubicBezTo>
                        <a:pt x="846240" y="1777143"/>
                        <a:pt x="887327" y="1733122"/>
                        <a:pt x="919610" y="1703774"/>
                      </a:cubicBezTo>
                      <a:cubicBezTo>
                        <a:pt x="907871" y="1738991"/>
                        <a:pt x="902001" y="1774209"/>
                        <a:pt x="893197" y="1812361"/>
                      </a:cubicBezTo>
                      <a:cubicBezTo>
                        <a:pt x="893197" y="1812361"/>
                        <a:pt x="893197" y="1812361"/>
                        <a:pt x="893197" y="1812361"/>
                      </a:cubicBezTo>
                      <a:cubicBezTo>
                        <a:pt x="890262" y="1812361"/>
                        <a:pt x="887327" y="1812361"/>
                        <a:pt x="884392" y="1815295"/>
                      </a:cubicBezTo>
                      <a:cubicBezTo>
                        <a:pt x="784610" y="1923882"/>
                        <a:pt x="720044" y="2053013"/>
                        <a:pt x="643740" y="2179208"/>
                      </a:cubicBezTo>
                      <a:cubicBezTo>
                        <a:pt x="561566" y="2314208"/>
                        <a:pt x="461784" y="2440404"/>
                        <a:pt x="347327" y="2548991"/>
                      </a:cubicBezTo>
                      <a:cubicBezTo>
                        <a:pt x="341457" y="2554861"/>
                        <a:pt x="347327" y="2563665"/>
                        <a:pt x="356131" y="2563665"/>
                      </a:cubicBezTo>
                      <a:cubicBezTo>
                        <a:pt x="394284" y="2554861"/>
                        <a:pt x="429501" y="2540187"/>
                        <a:pt x="461784" y="2519643"/>
                      </a:cubicBezTo>
                      <a:cubicBezTo>
                        <a:pt x="450044" y="2540187"/>
                        <a:pt x="438305" y="2560730"/>
                        <a:pt x="429501" y="2584209"/>
                      </a:cubicBezTo>
                      <a:cubicBezTo>
                        <a:pt x="426566" y="2593013"/>
                        <a:pt x="420697" y="2601817"/>
                        <a:pt x="423631" y="2613556"/>
                      </a:cubicBezTo>
                      <a:cubicBezTo>
                        <a:pt x="435370" y="2645839"/>
                        <a:pt x="497001" y="2625296"/>
                        <a:pt x="520479" y="2619426"/>
                      </a:cubicBezTo>
                      <a:cubicBezTo>
                        <a:pt x="608523" y="2593013"/>
                        <a:pt x="678957" y="2528448"/>
                        <a:pt x="743523" y="2463883"/>
                      </a:cubicBezTo>
                      <a:cubicBezTo>
                        <a:pt x="740588" y="2504969"/>
                        <a:pt x="781675" y="2537252"/>
                        <a:pt x="822762" y="2522578"/>
                      </a:cubicBezTo>
                      <a:cubicBezTo>
                        <a:pt x="767001" y="2625296"/>
                        <a:pt x="693631" y="2713339"/>
                        <a:pt x="617327" y="2804317"/>
                      </a:cubicBezTo>
                      <a:cubicBezTo>
                        <a:pt x="532218" y="2907034"/>
                        <a:pt x="447110" y="3009752"/>
                        <a:pt x="364936" y="3115404"/>
                      </a:cubicBezTo>
                      <a:cubicBezTo>
                        <a:pt x="285697" y="3215187"/>
                        <a:pt x="209392" y="3317904"/>
                        <a:pt x="136023" y="3420621"/>
                      </a:cubicBezTo>
                      <a:cubicBezTo>
                        <a:pt x="97871" y="3473448"/>
                        <a:pt x="56784" y="3526274"/>
                        <a:pt x="21566" y="3582034"/>
                      </a:cubicBezTo>
                      <a:cubicBezTo>
                        <a:pt x="3957" y="3608448"/>
                        <a:pt x="-13651" y="3646600"/>
                        <a:pt x="15697" y="3673013"/>
                      </a:cubicBezTo>
                      <a:cubicBezTo>
                        <a:pt x="45044" y="3699426"/>
                        <a:pt x="106675" y="3699426"/>
                        <a:pt x="144827" y="3699426"/>
                      </a:cubicBezTo>
                      <a:cubicBezTo>
                        <a:pt x="180044" y="3696491"/>
                        <a:pt x="212327" y="3687687"/>
                        <a:pt x="235805" y="3658339"/>
                      </a:cubicBezTo>
                      <a:cubicBezTo>
                        <a:pt x="265153" y="3714100"/>
                        <a:pt x="338523" y="3690622"/>
                        <a:pt x="385479" y="3664208"/>
                      </a:cubicBezTo>
                      <a:cubicBezTo>
                        <a:pt x="388414" y="3687687"/>
                        <a:pt x="400153" y="3708230"/>
                        <a:pt x="423631" y="3717035"/>
                      </a:cubicBezTo>
                      <a:cubicBezTo>
                        <a:pt x="467653" y="3734643"/>
                        <a:pt x="514610" y="3714100"/>
                        <a:pt x="555697" y="3693556"/>
                      </a:cubicBezTo>
                      <a:cubicBezTo>
                        <a:pt x="614392" y="3667143"/>
                        <a:pt x="670153" y="3628991"/>
                        <a:pt x="717110" y="3584969"/>
                      </a:cubicBezTo>
                      <a:cubicBezTo>
                        <a:pt x="711240" y="3596708"/>
                        <a:pt x="708305" y="3608448"/>
                        <a:pt x="702436" y="3623122"/>
                      </a:cubicBezTo>
                      <a:cubicBezTo>
                        <a:pt x="699501" y="3628991"/>
                        <a:pt x="705371" y="3634861"/>
                        <a:pt x="711240" y="3631926"/>
                      </a:cubicBezTo>
                      <a:cubicBezTo>
                        <a:pt x="755262" y="3626056"/>
                        <a:pt x="793414" y="3608448"/>
                        <a:pt x="822762" y="3576165"/>
                      </a:cubicBezTo>
                      <a:cubicBezTo>
                        <a:pt x="837436" y="3611382"/>
                        <a:pt x="887327" y="3614317"/>
                        <a:pt x="922544" y="3611382"/>
                      </a:cubicBezTo>
                      <a:cubicBezTo>
                        <a:pt x="1001784" y="3599643"/>
                        <a:pt x="1081023" y="3573230"/>
                        <a:pt x="1154392" y="3538013"/>
                      </a:cubicBezTo>
                      <a:cubicBezTo>
                        <a:pt x="1163197" y="3599643"/>
                        <a:pt x="1218958" y="3643665"/>
                        <a:pt x="1283523" y="3652469"/>
                      </a:cubicBezTo>
                      <a:cubicBezTo>
                        <a:pt x="1368631" y="3661274"/>
                        <a:pt x="1442001" y="3605513"/>
                        <a:pt x="1500697" y="3552687"/>
                      </a:cubicBezTo>
                      <a:cubicBezTo>
                        <a:pt x="1532979" y="3631926"/>
                        <a:pt x="1635697" y="3655404"/>
                        <a:pt x="1712001" y="3620187"/>
                      </a:cubicBezTo>
                      <a:cubicBezTo>
                        <a:pt x="1741349" y="3608448"/>
                        <a:pt x="1764827" y="3605513"/>
                        <a:pt x="1794175" y="3620187"/>
                      </a:cubicBezTo>
                      <a:cubicBezTo>
                        <a:pt x="1805914" y="3628991"/>
                        <a:pt x="1820588" y="3634861"/>
                        <a:pt x="1835262" y="3640730"/>
                      </a:cubicBezTo>
                      <a:cubicBezTo>
                        <a:pt x="1861675" y="3652469"/>
                        <a:pt x="1893958" y="3661274"/>
                        <a:pt x="1923305" y="3664208"/>
                      </a:cubicBezTo>
                      <a:cubicBezTo>
                        <a:pt x="1979066" y="3670078"/>
                        <a:pt x="2034827" y="3661274"/>
                        <a:pt x="2087653" y="3637796"/>
                      </a:cubicBezTo>
                      <a:cubicBezTo>
                        <a:pt x="2090588" y="3640730"/>
                        <a:pt x="2093523" y="3643665"/>
                        <a:pt x="2099392" y="3643665"/>
                      </a:cubicBezTo>
                      <a:cubicBezTo>
                        <a:pt x="2146349" y="3623122"/>
                        <a:pt x="2140479" y="3573230"/>
                        <a:pt x="2122871" y="3532143"/>
                      </a:cubicBezTo>
                      <a:cubicBezTo>
                        <a:pt x="2216784" y="3570295"/>
                        <a:pt x="2316566" y="3584969"/>
                        <a:pt x="2416349" y="3576165"/>
                      </a:cubicBezTo>
                      <a:cubicBezTo>
                        <a:pt x="2422218" y="3576165"/>
                        <a:pt x="2425153" y="3570295"/>
                        <a:pt x="2425153" y="3567360"/>
                      </a:cubicBezTo>
                      <a:cubicBezTo>
                        <a:pt x="2419284" y="3549752"/>
                        <a:pt x="2413414" y="3532143"/>
                        <a:pt x="2407545" y="3514535"/>
                      </a:cubicBezTo>
                      <a:cubicBezTo>
                        <a:pt x="2451566" y="3529209"/>
                        <a:pt x="2495588" y="3540948"/>
                        <a:pt x="2539610" y="3555622"/>
                      </a:cubicBezTo>
                      <a:cubicBezTo>
                        <a:pt x="2586566" y="3570295"/>
                        <a:pt x="2636458" y="3590839"/>
                        <a:pt x="2686349" y="3599643"/>
                      </a:cubicBezTo>
                      <a:cubicBezTo>
                        <a:pt x="2736240" y="3605513"/>
                        <a:pt x="2797871" y="3584969"/>
                        <a:pt x="2803740" y="3532143"/>
                      </a:cubicBezTo>
                      <a:cubicBezTo>
                        <a:pt x="2859501" y="3579100"/>
                        <a:pt x="2927001" y="3605513"/>
                        <a:pt x="3003305" y="3611382"/>
                      </a:cubicBezTo>
                      <a:cubicBezTo>
                        <a:pt x="3009175" y="3611382"/>
                        <a:pt x="3012110" y="3605513"/>
                        <a:pt x="3009175" y="3599643"/>
                      </a:cubicBezTo>
                      <a:cubicBezTo>
                        <a:pt x="3003305" y="3587904"/>
                        <a:pt x="2997436" y="3576165"/>
                        <a:pt x="2994501" y="3564426"/>
                      </a:cubicBezTo>
                      <a:cubicBezTo>
                        <a:pt x="3026784" y="3573230"/>
                        <a:pt x="3062001" y="3579100"/>
                        <a:pt x="3097218" y="3582034"/>
                      </a:cubicBezTo>
                      <a:cubicBezTo>
                        <a:pt x="3114827" y="3582034"/>
                        <a:pt x="3141240" y="3584969"/>
                        <a:pt x="3152979" y="3570295"/>
                      </a:cubicBezTo>
                      <a:cubicBezTo>
                        <a:pt x="3176457" y="3543883"/>
                        <a:pt x="3167653" y="3523339"/>
                        <a:pt x="3155914" y="3508665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: 形状 75">
                  <a:extLst>
                    <a:ext uri="{FF2B5EF4-FFF2-40B4-BE49-F238E27FC236}">
                      <a16:creationId xmlns:a16="http://schemas.microsoft.com/office/drawing/2014/main" id="{E5060EEC-E82A-4922-B63E-A8AC055902D0}"/>
                    </a:ext>
                  </a:extLst>
                </p:cNvPr>
                <p:cNvSpPr/>
                <p:nvPr/>
              </p:nvSpPr>
              <p:spPr>
                <a:xfrm>
                  <a:off x="4049908" y="3862813"/>
                  <a:ext cx="488566" cy="267065"/>
                </a:xfrm>
                <a:custGeom>
                  <a:avLst/>
                  <a:gdLst>
                    <a:gd name="connsiteX0" fmla="*/ 349416 w 488566"/>
                    <a:gd name="connsiteY0" fmla="*/ 267065 h 267065"/>
                    <a:gd name="connsiteX1" fmla="*/ 214416 w 488566"/>
                    <a:gd name="connsiteY1" fmla="*/ 149674 h 267065"/>
                    <a:gd name="connsiteX2" fmla="*/ 167460 w 488566"/>
                    <a:gd name="connsiteY2" fmla="*/ 176087 h 267065"/>
                    <a:gd name="connsiteX3" fmla="*/ 117568 w 488566"/>
                    <a:gd name="connsiteY3" fmla="*/ 85109 h 267065"/>
                    <a:gd name="connsiteX4" fmla="*/ 29525 w 488566"/>
                    <a:gd name="connsiteY4" fmla="*/ 140870 h 267065"/>
                    <a:gd name="connsiteX5" fmla="*/ 6047 w 488566"/>
                    <a:gd name="connsiteY5" fmla="*/ 126196 h 267065"/>
                    <a:gd name="connsiteX6" fmla="*/ 26590 w 488566"/>
                    <a:gd name="connsiteY6" fmla="*/ 2935 h 267065"/>
                    <a:gd name="connsiteX7" fmla="*/ 32460 w 488566"/>
                    <a:gd name="connsiteY7" fmla="*/ 0 h 267065"/>
                    <a:gd name="connsiteX8" fmla="*/ 35395 w 488566"/>
                    <a:gd name="connsiteY8" fmla="*/ 5869 h 267065"/>
                    <a:gd name="connsiteX9" fmla="*/ 14851 w 488566"/>
                    <a:gd name="connsiteY9" fmla="*/ 117391 h 267065"/>
                    <a:gd name="connsiteX10" fmla="*/ 29525 w 488566"/>
                    <a:gd name="connsiteY10" fmla="*/ 126196 h 267065"/>
                    <a:gd name="connsiteX11" fmla="*/ 111699 w 488566"/>
                    <a:gd name="connsiteY11" fmla="*/ 64565 h 267065"/>
                    <a:gd name="connsiteX12" fmla="*/ 117568 w 488566"/>
                    <a:gd name="connsiteY12" fmla="*/ 61630 h 267065"/>
                    <a:gd name="connsiteX13" fmla="*/ 123438 w 488566"/>
                    <a:gd name="connsiteY13" fmla="*/ 64565 h 267065"/>
                    <a:gd name="connsiteX14" fmla="*/ 167460 w 488566"/>
                    <a:gd name="connsiteY14" fmla="*/ 161413 h 267065"/>
                    <a:gd name="connsiteX15" fmla="*/ 211481 w 488566"/>
                    <a:gd name="connsiteY15" fmla="*/ 135000 h 267065"/>
                    <a:gd name="connsiteX16" fmla="*/ 214416 w 488566"/>
                    <a:gd name="connsiteY16" fmla="*/ 132065 h 267065"/>
                    <a:gd name="connsiteX17" fmla="*/ 214416 w 488566"/>
                    <a:gd name="connsiteY17" fmla="*/ 132065 h 267065"/>
                    <a:gd name="connsiteX18" fmla="*/ 217351 w 488566"/>
                    <a:gd name="connsiteY18" fmla="*/ 135000 h 267065"/>
                    <a:gd name="connsiteX19" fmla="*/ 349416 w 488566"/>
                    <a:gd name="connsiteY19" fmla="*/ 255326 h 267065"/>
                    <a:gd name="connsiteX20" fmla="*/ 369960 w 488566"/>
                    <a:gd name="connsiteY20" fmla="*/ 38152 h 267065"/>
                    <a:gd name="connsiteX21" fmla="*/ 372894 w 488566"/>
                    <a:gd name="connsiteY21" fmla="*/ 32283 h 267065"/>
                    <a:gd name="connsiteX22" fmla="*/ 378764 w 488566"/>
                    <a:gd name="connsiteY22" fmla="*/ 35217 h 267065"/>
                    <a:gd name="connsiteX23" fmla="*/ 443329 w 488566"/>
                    <a:gd name="connsiteY23" fmla="*/ 85109 h 267065"/>
                    <a:gd name="connsiteX24" fmla="*/ 478547 w 488566"/>
                    <a:gd name="connsiteY24" fmla="*/ 23478 h 267065"/>
                    <a:gd name="connsiteX25" fmla="*/ 484416 w 488566"/>
                    <a:gd name="connsiteY25" fmla="*/ 20543 h 267065"/>
                    <a:gd name="connsiteX26" fmla="*/ 487351 w 488566"/>
                    <a:gd name="connsiteY26" fmla="*/ 26413 h 267065"/>
                    <a:gd name="connsiteX27" fmla="*/ 440395 w 488566"/>
                    <a:gd name="connsiteY27" fmla="*/ 93913 h 267065"/>
                    <a:gd name="connsiteX28" fmla="*/ 378764 w 488566"/>
                    <a:gd name="connsiteY28" fmla="*/ 49891 h 267065"/>
                    <a:gd name="connsiteX29" fmla="*/ 349416 w 488566"/>
                    <a:gd name="connsiteY29" fmla="*/ 261196 h 267065"/>
                    <a:gd name="connsiteX30" fmla="*/ 349416 w 488566"/>
                    <a:gd name="connsiteY30" fmla="*/ 267065 h 2670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488566" h="267065">
                      <a:moveTo>
                        <a:pt x="349416" y="267065"/>
                      </a:moveTo>
                      <a:cubicBezTo>
                        <a:pt x="314199" y="267065"/>
                        <a:pt x="237894" y="176087"/>
                        <a:pt x="214416" y="149674"/>
                      </a:cubicBezTo>
                      <a:cubicBezTo>
                        <a:pt x="205612" y="158478"/>
                        <a:pt x="188003" y="176087"/>
                        <a:pt x="167460" y="176087"/>
                      </a:cubicBezTo>
                      <a:cubicBezTo>
                        <a:pt x="143982" y="176087"/>
                        <a:pt x="126373" y="117391"/>
                        <a:pt x="117568" y="85109"/>
                      </a:cubicBezTo>
                      <a:cubicBezTo>
                        <a:pt x="105829" y="105652"/>
                        <a:pt x="76481" y="143804"/>
                        <a:pt x="29525" y="140870"/>
                      </a:cubicBezTo>
                      <a:cubicBezTo>
                        <a:pt x="17786" y="140870"/>
                        <a:pt x="8981" y="135000"/>
                        <a:pt x="6047" y="126196"/>
                      </a:cubicBezTo>
                      <a:cubicBezTo>
                        <a:pt x="-14497" y="90978"/>
                        <a:pt x="23655" y="5869"/>
                        <a:pt x="26590" y="2935"/>
                      </a:cubicBezTo>
                      <a:cubicBezTo>
                        <a:pt x="26590" y="0"/>
                        <a:pt x="32460" y="0"/>
                        <a:pt x="32460" y="0"/>
                      </a:cubicBezTo>
                      <a:cubicBezTo>
                        <a:pt x="35395" y="0"/>
                        <a:pt x="35395" y="5869"/>
                        <a:pt x="35395" y="5869"/>
                      </a:cubicBezTo>
                      <a:cubicBezTo>
                        <a:pt x="23655" y="29348"/>
                        <a:pt x="177" y="93913"/>
                        <a:pt x="14851" y="117391"/>
                      </a:cubicBezTo>
                      <a:cubicBezTo>
                        <a:pt x="17786" y="123261"/>
                        <a:pt x="23655" y="126196"/>
                        <a:pt x="29525" y="126196"/>
                      </a:cubicBezTo>
                      <a:cubicBezTo>
                        <a:pt x="82351" y="129130"/>
                        <a:pt x="111699" y="64565"/>
                        <a:pt x="111699" y="64565"/>
                      </a:cubicBezTo>
                      <a:cubicBezTo>
                        <a:pt x="111699" y="61630"/>
                        <a:pt x="114634" y="61630"/>
                        <a:pt x="117568" y="61630"/>
                      </a:cubicBezTo>
                      <a:cubicBezTo>
                        <a:pt x="120503" y="61630"/>
                        <a:pt x="120503" y="64565"/>
                        <a:pt x="123438" y="64565"/>
                      </a:cubicBezTo>
                      <a:cubicBezTo>
                        <a:pt x="135177" y="111522"/>
                        <a:pt x="155721" y="161413"/>
                        <a:pt x="167460" y="161413"/>
                      </a:cubicBezTo>
                      <a:cubicBezTo>
                        <a:pt x="188003" y="161413"/>
                        <a:pt x="211481" y="135000"/>
                        <a:pt x="211481" y="135000"/>
                      </a:cubicBezTo>
                      <a:cubicBezTo>
                        <a:pt x="211481" y="135000"/>
                        <a:pt x="214416" y="132065"/>
                        <a:pt x="214416" y="132065"/>
                      </a:cubicBezTo>
                      <a:lnTo>
                        <a:pt x="214416" y="132065"/>
                      </a:lnTo>
                      <a:cubicBezTo>
                        <a:pt x="217351" y="132065"/>
                        <a:pt x="217351" y="132065"/>
                        <a:pt x="217351" y="135000"/>
                      </a:cubicBezTo>
                      <a:cubicBezTo>
                        <a:pt x="258438" y="184891"/>
                        <a:pt x="328873" y="261196"/>
                        <a:pt x="349416" y="255326"/>
                      </a:cubicBezTo>
                      <a:cubicBezTo>
                        <a:pt x="367025" y="252391"/>
                        <a:pt x="372894" y="140870"/>
                        <a:pt x="369960" y="38152"/>
                      </a:cubicBezTo>
                      <a:cubicBezTo>
                        <a:pt x="369960" y="35217"/>
                        <a:pt x="369960" y="32283"/>
                        <a:pt x="372894" y="32283"/>
                      </a:cubicBezTo>
                      <a:cubicBezTo>
                        <a:pt x="375829" y="32283"/>
                        <a:pt x="378764" y="32283"/>
                        <a:pt x="378764" y="35217"/>
                      </a:cubicBezTo>
                      <a:cubicBezTo>
                        <a:pt x="390503" y="49891"/>
                        <a:pt x="425721" y="85109"/>
                        <a:pt x="443329" y="85109"/>
                      </a:cubicBezTo>
                      <a:cubicBezTo>
                        <a:pt x="458003" y="85109"/>
                        <a:pt x="472677" y="49891"/>
                        <a:pt x="478547" y="23478"/>
                      </a:cubicBezTo>
                      <a:cubicBezTo>
                        <a:pt x="478547" y="20543"/>
                        <a:pt x="481482" y="17609"/>
                        <a:pt x="484416" y="20543"/>
                      </a:cubicBezTo>
                      <a:cubicBezTo>
                        <a:pt x="487351" y="20543"/>
                        <a:pt x="490286" y="23478"/>
                        <a:pt x="487351" y="26413"/>
                      </a:cubicBezTo>
                      <a:cubicBezTo>
                        <a:pt x="484416" y="32283"/>
                        <a:pt x="469742" y="93913"/>
                        <a:pt x="440395" y="93913"/>
                      </a:cubicBezTo>
                      <a:cubicBezTo>
                        <a:pt x="419851" y="93913"/>
                        <a:pt x="393438" y="67500"/>
                        <a:pt x="378764" y="49891"/>
                      </a:cubicBezTo>
                      <a:cubicBezTo>
                        <a:pt x="381699" y="111522"/>
                        <a:pt x="381699" y="255326"/>
                        <a:pt x="349416" y="261196"/>
                      </a:cubicBezTo>
                      <a:cubicBezTo>
                        <a:pt x="352351" y="267065"/>
                        <a:pt x="349416" y="267065"/>
                        <a:pt x="349416" y="267065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: 形状 76">
                  <a:extLst>
                    <a:ext uri="{FF2B5EF4-FFF2-40B4-BE49-F238E27FC236}">
                      <a16:creationId xmlns:a16="http://schemas.microsoft.com/office/drawing/2014/main" id="{79C494B9-DBBB-445B-9F8D-441D75B7C821}"/>
                    </a:ext>
                  </a:extLst>
                </p:cNvPr>
                <p:cNvSpPr/>
                <p:nvPr/>
              </p:nvSpPr>
              <p:spPr>
                <a:xfrm>
                  <a:off x="4535058" y="4336046"/>
                  <a:ext cx="581059" cy="216440"/>
                </a:xfrm>
                <a:custGeom>
                  <a:avLst/>
                  <a:gdLst>
                    <a:gd name="connsiteX0" fmla="*/ 515788 w 581059"/>
                    <a:gd name="connsiteY0" fmla="*/ 213506 h 216440"/>
                    <a:gd name="connsiteX1" fmla="*/ 433614 w 581059"/>
                    <a:gd name="connsiteY1" fmla="*/ 169484 h 216440"/>
                    <a:gd name="connsiteX2" fmla="*/ 410136 w 581059"/>
                    <a:gd name="connsiteY2" fmla="*/ 195897 h 216440"/>
                    <a:gd name="connsiteX3" fmla="*/ 289810 w 581059"/>
                    <a:gd name="connsiteY3" fmla="*/ 151875 h 216440"/>
                    <a:gd name="connsiteX4" fmla="*/ 260462 w 581059"/>
                    <a:gd name="connsiteY4" fmla="*/ 125462 h 216440"/>
                    <a:gd name="connsiteX5" fmla="*/ 278071 w 581059"/>
                    <a:gd name="connsiteY5" fmla="*/ 198832 h 216440"/>
                    <a:gd name="connsiteX6" fmla="*/ 269266 w 581059"/>
                    <a:gd name="connsiteY6" fmla="*/ 201766 h 216440"/>
                    <a:gd name="connsiteX7" fmla="*/ 137201 w 581059"/>
                    <a:gd name="connsiteY7" fmla="*/ 148940 h 216440"/>
                    <a:gd name="connsiteX8" fmla="*/ 93179 w 581059"/>
                    <a:gd name="connsiteY8" fmla="*/ 201766 h 216440"/>
                    <a:gd name="connsiteX9" fmla="*/ 93179 w 581059"/>
                    <a:gd name="connsiteY9" fmla="*/ 201766 h 216440"/>
                    <a:gd name="connsiteX10" fmla="*/ 2201 w 581059"/>
                    <a:gd name="connsiteY10" fmla="*/ 154810 h 216440"/>
                    <a:gd name="connsiteX11" fmla="*/ 2201 w 581059"/>
                    <a:gd name="connsiteY11" fmla="*/ 146005 h 216440"/>
                    <a:gd name="connsiteX12" fmla="*/ 11005 w 581059"/>
                    <a:gd name="connsiteY12" fmla="*/ 146005 h 216440"/>
                    <a:gd name="connsiteX13" fmla="*/ 96114 w 581059"/>
                    <a:gd name="connsiteY13" fmla="*/ 190027 h 216440"/>
                    <a:gd name="connsiteX14" fmla="*/ 96114 w 581059"/>
                    <a:gd name="connsiteY14" fmla="*/ 190027 h 216440"/>
                    <a:gd name="connsiteX15" fmla="*/ 131332 w 581059"/>
                    <a:gd name="connsiteY15" fmla="*/ 137201 h 216440"/>
                    <a:gd name="connsiteX16" fmla="*/ 134266 w 581059"/>
                    <a:gd name="connsiteY16" fmla="*/ 134266 h 216440"/>
                    <a:gd name="connsiteX17" fmla="*/ 140136 w 581059"/>
                    <a:gd name="connsiteY17" fmla="*/ 134266 h 216440"/>
                    <a:gd name="connsiteX18" fmla="*/ 275136 w 581059"/>
                    <a:gd name="connsiteY18" fmla="*/ 190027 h 216440"/>
                    <a:gd name="connsiteX19" fmla="*/ 245788 w 581059"/>
                    <a:gd name="connsiteY19" fmla="*/ 104918 h 216440"/>
                    <a:gd name="connsiteX20" fmla="*/ 248723 w 581059"/>
                    <a:gd name="connsiteY20" fmla="*/ 99049 h 216440"/>
                    <a:gd name="connsiteX21" fmla="*/ 254592 w 581059"/>
                    <a:gd name="connsiteY21" fmla="*/ 99049 h 216440"/>
                    <a:gd name="connsiteX22" fmla="*/ 301549 w 581059"/>
                    <a:gd name="connsiteY22" fmla="*/ 143071 h 216440"/>
                    <a:gd name="connsiteX23" fmla="*/ 413071 w 581059"/>
                    <a:gd name="connsiteY23" fmla="*/ 184158 h 216440"/>
                    <a:gd name="connsiteX24" fmla="*/ 433614 w 581059"/>
                    <a:gd name="connsiteY24" fmla="*/ 157745 h 216440"/>
                    <a:gd name="connsiteX25" fmla="*/ 436549 w 581059"/>
                    <a:gd name="connsiteY25" fmla="*/ 154810 h 216440"/>
                    <a:gd name="connsiteX26" fmla="*/ 442418 w 581059"/>
                    <a:gd name="connsiteY26" fmla="*/ 157745 h 216440"/>
                    <a:gd name="connsiteX27" fmla="*/ 527527 w 581059"/>
                    <a:gd name="connsiteY27" fmla="*/ 204701 h 216440"/>
                    <a:gd name="connsiteX28" fmla="*/ 565679 w 581059"/>
                    <a:gd name="connsiteY28" fmla="*/ 181223 h 216440"/>
                    <a:gd name="connsiteX29" fmla="*/ 553940 w 581059"/>
                    <a:gd name="connsiteY29" fmla="*/ 96114 h 216440"/>
                    <a:gd name="connsiteX30" fmla="*/ 454158 w 581059"/>
                    <a:gd name="connsiteY30" fmla="*/ 11005 h 216440"/>
                    <a:gd name="connsiteX31" fmla="*/ 454158 w 581059"/>
                    <a:gd name="connsiteY31" fmla="*/ 2201 h 216440"/>
                    <a:gd name="connsiteX32" fmla="*/ 462962 w 581059"/>
                    <a:gd name="connsiteY32" fmla="*/ 2201 h 216440"/>
                    <a:gd name="connsiteX33" fmla="*/ 553940 w 581059"/>
                    <a:gd name="connsiteY33" fmla="*/ 87310 h 216440"/>
                    <a:gd name="connsiteX34" fmla="*/ 565679 w 581059"/>
                    <a:gd name="connsiteY34" fmla="*/ 187092 h 216440"/>
                    <a:gd name="connsiteX35" fmla="*/ 518723 w 581059"/>
                    <a:gd name="connsiteY35" fmla="*/ 216440 h 216440"/>
                    <a:gd name="connsiteX36" fmla="*/ 515788 w 581059"/>
                    <a:gd name="connsiteY36" fmla="*/ 213506 h 216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581059" h="216440">
                      <a:moveTo>
                        <a:pt x="515788" y="213506"/>
                      </a:moveTo>
                      <a:cubicBezTo>
                        <a:pt x="480571" y="213506"/>
                        <a:pt x="445353" y="184158"/>
                        <a:pt x="433614" y="169484"/>
                      </a:cubicBezTo>
                      <a:cubicBezTo>
                        <a:pt x="427745" y="181223"/>
                        <a:pt x="421875" y="190027"/>
                        <a:pt x="410136" y="195897"/>
                      </a:cubicBezTo>
                      <a:cubicBezTo>
                        <a:pt x="371984" y="210571"/>
                        <a:pt x="307419" y="166549"/>
                        <a:pt x="289810" y="151875"/>
                      </a:cubicBezTo>
                      <a:lnTo>
                        <a:pt x="260462" y="125462"/>
                      </a:lnTo>
                      <a:cubicBezTo>
                        <a:pt x="272201" y="151875"/>
                        <a:pt x="283940" y="187092"/>
                        <a:pt x="278071" y="198832"/>
                      </a:cubicBezTo>
                      <a:cubicBezTo>
                        <a:pt x="275136" y="201766"/>
                        <a:pt x="272201" y="201766"/>
                        <a:pt x="269266" y="201766"/>
                      </a:cubicBezTo>
                      <a:cubicBezTo>
                        <a:pt x="251658" y="198832"/>
                        <a:pt x="163614" y="160679"/>
                        <a:pt x="137201" y="148940"/>
                      </a:cubicBezTo>
                      <a:cubicBezTo>
                        <a:pt x="134266" y="163614"/>
                        <a:pt x="119592" y="201766"/>
                        <a:pt x="93179" y="201766"/>
                      </a:cubicBezTo>
                      <a:cubicBezTo>
                        <a:pt x="93179" y="201766"/>
                        <a:pt x="93179" y="201766"/>
                        <a:pt x="93179" y="201766"/>
                      </a:cubicBezTo>
                      <a:cubicBezTo>
                        <a:pt x="60897" y="201766"/>
                        <a:pt x="2201" y="154810"/>
                        <a:pt x="2201" y="154810"/>
                      </a:cubicBezTo>
                      <a:cubicBezTo>
                        <a:pt x="-734" y="151875"/>
                        <a:pt x="-734" y="148940"/>
                        <a:pt x="2201" y="146005"/>
                      </a:cubicBezTo>
                      <a:cubicBezTo>
                        <a:pt x="5136" y="143071"/>
                        <a:pt x="8071" y="143071"/>
                        <a:pt x="11005" y="146005"/>
                      </a:cubicBezTo>
                      <a:cubicBezTo>
                        <a:pt x="25679" y="157745"/>
                        <a:pt x="72636" y="190027"/>
                        <a:pt x="96114" y="190027"/>
                      </a:cubicBezTo>
                      <a:cubicBezTo>
                        <a:pt x="96114" y="190027"/>
                        <a:pt x="96114" y="190027"/>
                        <a:pt x="96114" y="190027"/>
                      </a:cubicBezTo>
                      <a:cubicBezTo>
                        <a:pt x="116658" y="190027"/>
                        <a:pt x="128397" y="151875"/>
                        <a:pt x="131332" y="137201"/>
                      </a:cubicBezTo>
                      <a:cubicBezTo>
                        <a:pt x="131332" y="134266"/>
                        <a:pt x="131332" y="134266"/>
                        <a:pt x="134266" y="134266"/>
                      </a:cubicBezTo>
                      <a:cubicBezTo>
                        <a:pt x="137201" y="134266"/>
                        <a:pt x="137201" y="134266"/>
                        <a:pt x="140136" y="134266"/>
                      </a:cubicBezTo>
                      <a:cubicBezTo>
                        <a:pt x="172419" y="148940"/>
                        <a:pt x="257527" y="187092"/>
                        <a:pt x="275136" y="190027"/>
                      </a:cubicBezTo>
                      <a:cubicBezTo>
                        <a:pt x="278071" y="181223"/>
                        <a:pt x="263397" y="140136"/>
                        <a:pt x="245788" y="104918"/>
                      </a:cubicBezTo>
                      <a:cubicBezTo>
                        <a:pt x="245788" y="101984"/>
                        <a:pt x="245788" y="99049"/>
                        <a:pt x="248723" y="99049"/>
                      </a:cubicBezTo>
                      <a:cubicBezTo>
                        <a:pt x="251658" y="96114"/>
                        <a:pt x="254592" y="99049"/>
                        <a:pt x="254592" y="99049"/>
                      </a:cubicBezTo>
                      <a:lnTo>
                        <a:pt x="301549" y="143071"/>
                      </a:lnTo>
                      <a:cubicBezTo>
                        <a:pt x="336766" y="169484"/>
                        <a:pt x="386658" y="195897"/>
                        <a:pt x="413071" y="184158"/>
                      </a:cubicBezTo>
                      <a:cubicBezTo>
                        <a:pt x="421875" y="181223"/>
                        <a:pt x="430679" y="172419"/>
                        <a:pt x="433614" y="157745"/>
                      </a:cubicBezTo>
                      <a:cubicBezTo>
                        <a:pt x="433614" y="154810"/>
                        <a:pt x="436549" y="154810"/>
                        <a:pt x="436549" y="154810"/>
                      </a:cubicBezTo>
                      <a:cubicBezTo>
                        <a:pt x="439484" y="154810"/>
                        <a:pt x="439484" y="154810"/>
                        <a:pt x="442418" y="157745"/>
                      </a:cubicBezTo>
                      <a:cubicBezTo>
                        <a:pt x="442418" y="157745"/>
                        <a:pt x="486440" y="207636"/>
                        <a:pt x="527527" y="204701"/>
                      </a:cubicBezTo>
                      <a:cubicBezTo>
                        <a:pt x="542201" y="204701"/>
                        <a:pt x="553940" y="195897"/>
                        <a:pt x="565679" y="181223"/>
                      </a:cubicBezTo>
                      <a:cubicBezTo>
                        <a:pt x="574484" y="166549"/>
                        <a:pt x="597962" y="137201"/>
                        <a:pt x="553940" y="96114"/>
                      </a:cubicBezTo>
                      <a:cubicBezTo>
                        <a:pt x="501114" y="55027"/>
                        <a:pt x="454158" y="11005"/>
                        <a:pt x="454158" y="11005"/>
                      </a:cubicBezTo>
                      <a:cubicBezTo>
                        <a:pt x="451223" y="8071"/>
                        <a:pt x="451223" y="5136"/>
                        <a:pt x="454158" y="2201"/>
                      </a:cubicBezTo>
                      <a:cubicBezTo>
                        <a:pt x="457092" y="-734"/>
                        <a:pt x="460027" y="-734"/>
                        <a:pt x="462962" y="2201"/>
                      </a:cubicBezTo>
                      <a:cubicBezTo>
                        <a:pt x="462962" y="2201"/>
                        <a:pt x="512853" y="46223"/>
                        <a:pt x="553940" y="87310"/>
                      </a:cubicBezTo>
                      <a:cubicBezTo>
                        <a:pt x="600897" y="134266"/>
                        <a:pt x="574484" y="172419"/>
                        <a:pt x="565679" y="187092"/>
                      </a:cubicBezTo>
                      <a:cubicBezTo>
                        <a:pt x="553940" y="204701"/>
                        <a:pt x="539266" y="213506"/>
                        <a:pt x="518723" y="216440"/>
                      </a:cubicBezTo>
                      <a:cubicBezTo>
                        <a:pt x="518723" y="213506"/>
                        <a:pt x="515788" y="213506"/>
                        <a:pt x="515788" y="213506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: 形状 77">
                  <a:extLst>
                    <a:ext uri="{FF2B5EF4-FFF2-40B4-BE49-F238E27FC236}">
                      <a16:creationId xmlns:a16="http://schemas.microsoft.com/office/drawing/2014/main" id="{2D7B2CD6-28E8-4374-B788-B221461C1184}"/>
                    </a:ext>
                  </a:extLst>
                </p:cNvPr>
                <p:cNvSpPr/>
                <p:nvPr/>
              </p:nvSpPr>
              <p:spPr>
                <a:xfrm>
                  <a:off x="3137368" y="4493791"/>
                  <a:ext cx="870896" cy="164347"/>
                </a:xfrm>
                <a:custGeom>
                  <a:avLst/>
                  <a:gdLst>
                    <a:gd name="connsiteX0" fmla="*/ 61630 w 870896"/>
                    <a:gd name="connsiteY0" fmla="*/ 164348 h 164347"/>
                    <a:gd name="connsiteX1" fmla="*/ 11739 w 870896"/>
                    <a:gd name="connsiteY1" fmla="*/ 149674 h 164347"/>
                    <a:gd name="connsiteX2" fmla="*/ 0 w 870896"/>
                    <a:gd name="connsiteY2" fmla="*/ 126196 h 164347"/>
                    <a:gd name="connsiteX3" fmla="*/ 88043 w 870896"/>
                    <a:gd name="connsiteY3" fmla="*/ 5869 h 164347"/>
                    <a:gd name="connsiteX4" fmla="*/ 96848 w 870896"/>
                    <a:gd name="connsiteY4" fmla="*/ 5869 h 164347"/>
                    <a:gd name="connsiteX5" fmla="*/ 96848 w 870896"/>
                    <a:gd name="connsiteY5" fmla="*/ 14674 h 164347"/>
                    <a:gd name="connsiteX6" fmla="*/ 11739 w 870896"/>
                    <a:gd name="connsiteY6" fmla="*/ 126196 h 164347"/>
                    <a:gd name="connsiteX7" fmla="*/ 17609 w 870896"/>
                    <a:gd name="connsiteY7" fmla="*/ 140870 h 164347"/>
                    <a:gd name="connsiteX8" fmla="*/ 308152 w 870896"/>
                    <a:gd name="connsiteY8" fmla="*/ 32283 h 164347"/>
                    <a:gd name="connsiteX9" fmla="*/ 314022 w 870896"/>
                    <a:gd name="connsiteY9" fmla="*/ 32283 h 164347"/>
                    <a:gd name="connsiteX10" fmla="*/ 316957 w 870896"/>
                    <a:gd name="connsiteY10" fmla="*/ 35217 h 164347"/>
                    <a:gd name="connsiteX11" fmla="*/ 352174 w 870896"/>
                    <a:gd name="connsiteY11" fmla="*/ 76304 h 164347"/>
                    <a:gd name="connsiteX12" fmla="*/ 460761 w 870896"/>
                    <a:gd name="connsiteY12" fmla="*/ 17609 h 164347"/>
                    <a:gd name="connsiteX13" fmla="*/ 466630 w 870896"/>
                    <a:gd name="connsiteY13" fmla="*/ 17609 h 164347"/>
                    <a:gd name="connsiteX14" fmla="*/ 469565 w 870896"/>
                    <a:gd name="connsiteY14" fmla="*/ 23478 h 164347"/>
                    <a:gd name="connsiteX15" fmla="*/ 451957 w 870896"/>
                    <a:gd name="connsiteY15" fmla="*/ 137935 h 164347"/>
                    <a:gd name="connsiteX16" fmla="*/ 510652 w 870896"/>
                    <a:gd name="connsiteY16" fmla="*/ 135000 h 164347"/>
                    <a:gd name="connsiteX17" fmla="*/ 689674 w 870896"/>
                    <a:gd name="connsiteY17" fmla="*/ 2935 h 164347"/>
                    <a:gd name="connsiteX18" fmla="*/ 695543 w 870896"/>
                    <a:gd name="connsiteY18" fmla="*/ 0 h 164347"/>
                    <a:gd name="connsiteX19" fmla="*/ 701413 w 870896"/>
                    <a:gd name="connsiteY19" fmla="*/ 2935 h 164347"/>
                    <a:gd name="connsiteX20" fmla="*/ 757174 w 870896"/>
                    <a:gd name="connsiteY20" fmla="*/ 11739 h 164347"/>
                    <a:gd name="connsiteX21" fmla="*/ 763044 w 870896"/>
                    <a:gd name="connsiteY21" fmla="*/ 11739 h 164347"/>
                    <a:gd name="connsiteX22" fmla="*/ 763044 w 870896"/>
                    <a:gd name="connsiteY22" fmla="*/ 17609 h 164347"/>
                    <a:gd name="connsiteX23" fmla="*/ 754239 w 870896"/>
                    <a:gd name="connsiteY23" fmla="*/ 93913 h 164347"/>
                    <a:gd name="connsiteX24" fmla="*/ 757174 w 870896"/>
                    <a:gd name="connsiteY24" fmla="*/ 96848 h 164347"/>
                    <a:gd name="connsiteX25" fmla="*/ 859891 w 870896"/>
                    <a:gd name="connsiteY25" fmla="*/ 23478 h 164347"/>
                    <a:gd name="connsiteX26" fmla="*/ 868696 w 870896"/>
                    <a:gd name="connsiteY26" fmla="*/ 23478 h 164347"/>
                    <a:gd name="connsiteX27" fmla="*/ 868696 w 870896"/>
                    <a:gd name="connsiteY27" fmla="*/ 32283 h 164347"/>
                    <a:gd name="connsiteX28" fmla="*/ 757174 w 870896"/>
                    <a:gd name="connsiteY28" fmla="*/ 108587 h 164347"/>
                    <a:gd name="connsiteX29" fmla="*/ 745435 w 870896"/>
                    <a:gd name="connsiteY29" fmla="*/ 102717 h 164347"/>
                    <a:gd name="connsiteX30" fmla="*/ 751304 w 870896"/>
                    <a:gd name="connsiteY30" fmla="*/ 23478 h 164347"/>
                    <a:gd name="connsiteX31" fmla="*/ 698478 w 870896"/>
                    <a:gd name="connsiteY31" fmla="*/ 11739 h 164347"/>
                    <a:gd name="connsiteX32" fmla="*/ 516522 w 870896"/>
                    <a:gd name="connsiteY32" fmla="*/ 140870 h 164347"/>
                    <a:gd name="connsiteX33" fmla="*/ 446087 w 870896"/>
                    <a:gd name="connsiteY33" fmla="*/ 140870 h 164347"/>
                    <a:gd name="connsiteX34" fmla="*/ 451957 w 870896"/>
                    <a:gd name="connsiteY34" fmla="*/ 38152 h 164347"/>
                    <a:gd name="connsiteX35" fmla="*/ 352174 w 870896"/>
                    <a:gd name="connsiteY35" fmla="*/ 79239 h 164347"/>
                    <a:gd name="connsiteX36" fmla="*/ 314022 w 870896"/>
                    <a:gd name="connsiteY36" fmla="*/ 38152 h 164347"/>
                    <a:gd name="connsiteX37" fmla="*/ 61630 w 870896"/>
                    <a:gd name="connsiteY37" fmla="*/ 164348 h 164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870896" h="164347">
                      <a:moveTo>
                        <a:pt x="61630" y="164348"/>
                      </a:moveTo>
                      <a:cubicBezTo>
                        <a:pt x="41087" y="164348"/>
                        <a:pt x="23478" y="158478"/>
                        <a:pt x="11739" y="149674"/>
                      </a:cubicBezTo>
                      <a:cubicBezTo>
                        <a:pt x="5870" y="143804"/>
                        <a:pt x="0" y="135000"/>
                        <a:pt x="0" y="126196"/>
                      </a:cubicBezTo>
                      <a:cubicBezTo>
                        <a:pt x="0" y="79239"/>
                        <a:pt x="85109" y="8804"/>
                        <a:pt x="88043" y="5869"/>
                      </a:cubicBezTo>
                      <a:cubicBezTo>
                        <a:pt x="90978" y="2935"/>
                        <a:pt x="93913" y="2935"/>
                        <a:pt x="96848" y="5869"/>
                      </a:cubicBezTo>
                      <a:cubicBezTo>
                        <a:pt x="99783" y="8804"/>
                        <a:pt x="99783" y="11739"/>
                        <a:pt x="96848" y="14674"/>
                      </a:cubicBezTo>
                      <a:cubicBezTo>
                        <a:pt x="96848" y="14674"/>
                        <a:pt x="11739" y="85109"/>
                        <a:pt x="11739" y="126196"/>
                      </a:cubicBezTo>
                      <a:cubicBezTo>
                        <a:pt x="11739" y="132065"/>
                        <a:pt x="14674" y="137935"/>
                        <a:pt x="17609" y="140870"/>
                      </a:cubicBezTo>
                      <a:cubicBezTo>
                        <a:pt x="52826" y="173152"/>
                        <a:pt x="167283" y="143804"/>
                        <a:pt x="308152" y="32283"/>
                      </a:cubicBezTo>
                      <a:cubicBezTo>
                        <a:pt x="308152" y="32283"/>
                        <a:pt x="311087" y="29348"/>
                        <a:pt x="314022" y="32283"/>
                      </a:cubicBezTo>
                      <a:cubicBezTo>
                        <a:pt x="316957" y="32283"/>
                        <a:pt x="316957" y="35217"/>
                        <a:pt x="316957" y="35217"/>
                      </a:cubicBezTo>
                      <a:cubicBezTo>
                        <a:pt x="316957" y="35217"/>
                        <a:pt x="325761" y="70435"/>
                        <a:pt x="352174" y="76304"/>
                      </a:cubicBezTo>
                      <a:cubicBezTo>
                        <a:pt x="378587" y="85109"/>
                        <a:pt x="416739" y="64565"/>
                        <a:pt x="460761" y="17609"/>
                      </a:cubicBezTo>
                      <a:cubicBezTo>
                        <a:pt x="463696" y="14674"/>
                        <a:pt x="466630" y="14674"/>
                        <a:pt x="466630" y="17609"/>
                      </a:cubicBezTo>
                      <a:cubicBezTo>
                        <a:pt x="469565" y="20543"/>
                        <a:pt x="469565" y="20543"/>
                        <a:pt x="469565" y="23478"/>
                      </a:cubicBezTo>
                      <a:cubicBezTo>
                        <a:pt x="457826" y="46956"/>
                        <a:pt x="431413" y="117391"/>
                        <a:pt x="451957" y="137935"/>
                      </a:cubicBezTo>
                      <a:cubicBezTo>
                        <a:pt x="460761" y="146739"/>
                        <a:pt x="481304" y="146739"/>
                        <a:pt x="510652" y="135000"/>
                      </a:cubicBezTo>
                      <a:cubicBezTo>
                        <a:pt x="636848" y="85109"/>
                        <a:pt x="689674" y="2935"/>
                        <a:pt x="689674" y="2935"/>
                      </a:cubicBezTo>
                      <a:cubicBezTo>
                        <a:pt x="689674" y="0"/>
                        <a:pt x="692609" y="0"/>
                        <a:pt x="695543" y="0"/>
                      </a:cubicBezTo>
                      <a:cubicBezTo>
                        <a:pt x="698478" y="0"/>
                        <a:pt x="698478" y="0"/>
                        <a:pt x="701413" y="2935"/>
                      </a:cubicBezTo>
                      <a:cubicBezTo>
                        <a:pt x="701413" y="2935"/>
                        <a:pt x="713152" y="23478"/>
                        <a:pt x="757174" y="11739"/>
                      </a:cubicBezTo>
                      <a:cubicBezTo>
                        <a:pt x="760109" y="11739"/>
                        <a:pt x="760109" y="11739"/>
                        <a:pt x="763044" y="11739"/>
                      </a:cubicBezTo>
                      <a:cubicBezTo>
                        <a:pt x="763044" y="11739"/>
                        <a:pt x="765978" y="14674"/>
                        <a:pt x="763044" y="17609"/>
                      </a:cubicBezTo>
                      <a:cubicBezTo>
                        <a:pt x="754239" y="41087"/>
                        <a:pt x="745435" y="85109"/>
                        <a:pt x="754239" y="93913"/>
                      </a:cubicBezTo>
                      <a:cubicBezTo>
                        <a:pt x="754239" y="93913"/>
                        <a:pt x="757174" y="96848"/>
                        <a:pt x="757174" y="96848"/>
                      </a:cubicBezTo>
                      <a:cubicBezTo>
                        <a:pt x="774783" y="96848"/>
                        <a:pt x="830544" y="52826"/>
                        <a:pt x="859891" y="23478"/>
                      </a:cubicBezTo>
                      <a:cubicBezTo>
                        <a:pt x="862826" y="20543"/>
                        <a:pt x="865761" y="20543"/>
                        <a:pt x="868696" y="23478"/>
                      </a:cubicBezTo>
                      <a:cubicBezTo>
                        <a:pt x="871630" y="26413"/>
                        <a:pt x="871630" y="29348"/>
                        <a:pt x="868696" y="32283"/>
                      </a:cubicBezTo>
                      <a:cubicBezTo>
                        <a:pt x="859891" y="41087"/>
                        <a:pt x="786522" y="108587"/>
                        <a:pt x="757174" y="108587"/>
                      </a:cubicBezTo>
                      <a:cubicBezTo>
                        <a:pt x="751304" y="108587"/>
                        <a:pt x="748370" y="105652"/>
                        <a:pt x="745435" y="102717"/>
                      </a:cubicBezTo>
                      <a:cubicBezTo>
                        <a:pt x="733696" y="88043"/>
                        <a:pt x="745435" y="44022"/>
                        <a:pt x="751304" y="23478"/>
                      </a:cubicBezTo>
                      <a:cubicBezTo>
                        <a:pt x="721957" y="29348"/>
                        <a:pt x="704348" y="20543"/>
                        <a:pt x="698478" y="11739"/>
                      </a:cubicBezTo>
                      <a:cubicBezTo>
                        <a:pt x="683804" y="32283"/>
                        <a:pt x="628043" y="96848"/>
                        <a:pt x="516522" y="140870"/>
                      </a:cubicBezTo>
                      <a:cubicBezTo>
                        <a:pt x="484239" y="155544"/>
                        <a:pt x="460761" y="152609"/>
                        <a:pt x="446087" y="140870"/>
                      </a:cubicBezTo>
                      <a:cubicBezTo>
                        <a:pt x="425544" y="117391"/>
                        <a:pt x="440217" y="67500"/>
                        <a:pt x="451957" y="38152"/>
                      </a:cubicBezTo>
                      <a:cubicBezTo>
                        <a:pt x="410870" y="73370"/>
                        <a:pt x="378587" y="88043"/>
                        <a:pt x="352174" y="79239"/>
                      </a:cubicBezTo>
                      <a:cubicBezTo>
                        <a:pt x="328696" y="73370"/>
                        <a:pt x="316957" y="49891"/>
                        <a:pt x="314022" y="38152"/>
                      </a:cubicBezTo>
                      <a:cubicBezTo>
                        <a:pt x="217174" y="120326"/>
                        <a:pt x="123261" y="164348"/>
                        <a:pt x="61630" y="164348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9" name="任意多边形: 形状 78">
                  <a:extLst>
                    <a:ext uri="{FF2B5EF4-FFF2-40B4-BE49-F238E27FC236}">
                      <a16:creationId xmlns:a16="http://schemas.microsoft.com/office/drawing/2014/main" id="{9297DE37-1077-4926-B4AD-726113B35697}"/>
                    </a:ext>
                  </a:extLst>
                </p:cNvPr>
                <p:cNvSpPr/>
                <p:nvPr/>
              </p:nvSpPr>
              <p:spPr>
                <a:xfrm>
                  <a:off x="3025144" y="5254633"/>
                  <a:ext cx="927359" cy="234048"/>
                </a:xfrm>
                <a:custGeom>
                  <a:avLst/>
                  <a:gdLst>
                    <a:gd name="connsiteX0" fmla="*/ 549506 w 927359"/>
                    <a:gd name="connsiteY0" fmla="*/ 231114 h 234048"/>
                    <a:gd name="connsiteX1" fmla="*/ 505485 w 927359"/>
                    <a:gd name="connsiteY1" fmla="*/ 213505 h 234048"/>
                    <a:gd name="connsiteX2" fmla="*/ 479072 w 927359"/>
                    <a:gd name="connsiteY2" fmla="*/ 84375 h 234048"/>
                    <a:gd name="connsiteX3" fmla="*/ 423311 w 927359"/>
                    <a:gd name="connsiteY3" fmla="*/ 72636 h 234048"/>
                    <a:gd name="connsiteX4" fmla="*/ 402767 w 927359"/>
                    <a:gd name="connsiteY4" fmla="*/ 31549 h 234048"/>
                    <a:gd name="connsiteX5" fmla="*/ 229615 w 927359"/>
                    <a:gd name="connsiteY5" fmla="*/ 160679 h 234048"/>
                    <a:gd name="connsiteX6" fmla="*/ 94615 w 927359"/>
                    <a:gd name="connsiteY6" fmla="*/ 184157 h 234048"/>
                    <a:gd name="connsiteX7" fmla="*/ 79941 w 927359"/>
                    <a:gd name="connsiteY7" fmla="*/ 163614 h 234048"/>
                    <a:gd name="connsiteX8" fmla="*/ 103420 w 927359"/>
                    <a:gd name="connsiteY8" fmla="*/ 96114 h 234048"/>
                    <a:gd name="connsiteX9" fmla="*/ 15376 w 927359"/>
                    <a:gd name="connsiteY9" fmla="*/ 125462 h 234048"/>
                    <a:gd name="connsiteX10" fmla="*/ 15376 w 927359"/>
                    <a:gd name="connsiteY10" fmla="*/ 125462 h 234048"/>
                    <a:gd name="connsiteX11" fmla="*/ 702 w 927359"/>
                    <a:gd name="connsiteY11" fmla="*/ 116658 h 234048"/>
                    <a:gd name="connsiteX12" fmla="*/ 100485 w 927359"/>
                    <a:gd name="connsiteY12" fmla="*/ 2201 h 234048"/>
                    <a:gd name="connsiteX13" fmla="*/ 109289 w 927359"/>
                    <a:gd name="connsiteY13" fmla="*/ 2201 h 234048"/>
                    <a:gd name="connsiteX14" fmla="*/ 109289 w 927359"/>
                    <a:gd name="connsiteY14" fmla="*/ 11005 h 234048"/>
                    <a:gd name="connsiteX15" fmla="*/ 12441 w 927359"/>
                    <a:gd name="connsiteY15" fmla="*/ 113723 h 234048"/>
                    <a:gd name="connsiteX16" fmla="*/ 12441 w 927359"/>
                    <a:gd name="connsiteY16" fmla="*/ 113723 h 234048"/>
                    <a:gd name="connsiteX17" fmla="*/ 18311 w 927359"/>
                    <a:gd name="connsiteY17" fmla="*/ 113723 h 234048"/>
                    <a:gd name="connsiteX18" fmla="*/ 121028 w 927359"/>
                    <a:gd name="connsiteY18" fmla="*/ 72636 h 234048"/>
                    <a:gd name="connsiteX19" fmla="*/ 126898 w 927359"/>
                    <a:gd name="connsiteY19" fmla="*/ 72636 h 234048"/>
                    <a:gd name="connsiteX20" fmla="*/ 126898 w 927359"/>
                    <a:gd name="connsiteY20" fmla="*/ 78505 h 234048"/>
                    <a:gd name="connsiteX21" fmla="*/ 91680 w 927359"/>
                    <a:gd name="connsiteY21" fmla="*/ 160679 h 234048"/>
                    <a:gd name="connsiteX22" fmla="*/ 100485 w 927359"/>
                    <a:gd name="connsiteY22" fmla="*/ 175353 h 234048"/>
                    <a:gd name="connsiteX23" fmla="*/ 402767 w 927359"/>
                    <a:gd name="connsiteY23" fmla="*/ 13940 h 234048"/>
                    <a:gd name="connsiteX24" fmla="*/ 408637 w 927359"/>
                    <a:gd name="connsiteY24" fmla="*/ 11005 h 234048"/>
                    <a:gd name="connsiteX25" fmla="*/ 411572 w 927359"/>
                    <a:gd name="connsiteY25" fmla="*/ 16875 h 234048"/>
                    <a:gd name="connsiteX26" fmla="*/ 429180 w 927359"/>
                    <a:gd name="connsiteY26" fmla="*/ 63831 h 234048"/>
                    <a:gd name="connsiteX27" fmla="*/ 482006 w 927359"/>
                    <a:gd name="connsiteY27" fmla="*/ 72636 h 234048"/>
                    <a:gd name="connsiteX28" fmla="*/ 487876 w 927359"/>
                    <a:gd name="connsiteY28" fmla="*/ 72636 h 234048"/>
                    <a:gd name="connsiteX29" fmla="*/ 490811 w 927359"/>
                    <a:gd name="connsiteY29" fmla="*/ 78505 h 234048"/>
                    <a:gd name="connsiteX30" fmla="*/ 511354 w 927359"/>
                    <a:gd name="connsiteY30" fmla="*/ 207636 h 234048"/>
                    <a:gd name="connsiteX31" fmla="*/ 558311 w 927359"/>
                    <a:gd name="connsiteY31" fmla="*/ 222310 h 234048"/>
                    <a:gd name="connsiteX32" fmla="*/ 766680 w 927359"/>
                    <a:gd name="connsiteY32" fmla="*/ 81440 h 234048"/>
                    <a:gd name="connsiteX33" fmla="*/ 772550 w 927359"/>
                    <a:gd name="connsiteY33" fmla="*/ 81440 h 234048"/>
                    <a:gd name="connsiteX34" fmla="*/ 775485 w 927359"/>
                    <a:gd name="connsiteY34" fmla="*/ 87310 h 234048"/>
                    <a:gd name="connsiteX35" fmla="*/ 784289 w 927359"/>
                    <a:gd name="connsiteY35" fmla="*/ 181223 h 234048"/>
                    <a:gd name="connsiteX36" fmla="*/ 796028 w 927359"/>
                    <a:gd name="connsiteY36" fmla="*/ 187092 h 234048"/>
                    <a:gd name="connsiteX37" fmla="*/ 916354 w 927359"/>
                    <a:gd name="connsiteY37" fmla="*/ 113723 h 234048"/>
                    <a:gd name="connsiteX38" fmla="*/ 925159 w 927359"/>
                    <a:gd name="connsiteY38" fmla="*/ 113723 h 234048"/>
                    <a:gd name="connsiteX39" fmla="*/ 925159 w 927359"/>
                    <a:gd name="connsiteY39" fmla="*/ 122527 h 234048"/>
                    <a:gd name="connsiteX40" fmla="*/ 796028 w 927359"/>
                    <a:gd name="connsiteY40" fmla="*/ 198831 h 234048"/>
                    <a:gd name="connsiteX41" fmla="*/ 775485 w 927359"/>
                    <a:gd name="connsiteY41" fmla="*/ 190027 h 234048"/>
                    <a:gd name="connsiteX42" fmla="*/ 763746 w 927359"/>
                    <a:gd name="connsiteY42" fmla="*/ 101984 h 234048"/>
                    <a:gd name="connsiteX43" fmla="*/ 561246 w 927359"/>
                    <a:gd name="connsiteY43" fmla="*/ 234049 h 234048"/>
                    <a:gd name="connsiteX44" fmla="*/ 549506 w 927359"/>
                    <a:gd name="connsiteY44" fmla="*/ 231114 h 234048"/>
                    <a:gd name="connsiteX45" fmla="*/ 12441 w 927359"/>
                    <a:gd name="connsiteY45" fmla="*/ 113723 h 234048"/>
                    <a:gd name="connsiteX46" fmla="*/ 12441 w 927359"/>
                    <a:gd name="connsiteY46" fmla="*/ 113723 h 234048"/>
                    <a:gd name="connsiteX47" fmla="*/ 12441 w 927359"/>
                    <a:gd name="connsiteY47" fmla="*/ 113723 h 234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927359" h="234048">
                      <a:moveTo>
                        <a:pt x="549506" y="231114"/>
                      </a:moveTo>
                      <a:cubicBezTo>
                        <a:pt x="531898" y="231114"/>
                        <a:pt x="517224" y="225245"/>
                        <a:pt x="505485" y="213505"/>
                      </a:cubicBezTo>
                      <a:cubicBezTo>
                        <a:pt x="473202" y="178288"/>
                        <a:pt x="476137" y="107853"/>
                        <a:pt x="479072" y="84375"/>
                      </a:cubicBezTo>
                      <a:cubicBezTo>
                        <a:pt x="455593" y="87310"/>
                        <a:pt x="437985" y="84375"/>
                        <a:pt x="423311" y="72636"/>
                      </a:cubicBezTo>
                      <a:cubicBezTo>
                        <a:pt x="408637" y="60897"/>
                        <a:pt x="402767" y="43288"/>
                        <a:pt x="402767" y="31549"/>
                      </a:cubicBezTo>
                      <a:cubicBezTo>
                        <a:pt x="358746" y="84375"/>
                        <a:pt x="294180" y="128397"/>
                        <a:pt x="229615" y="160679"/>
                      </a:cubicBezTo>
                      <a:cubicBezTo>
                        <a:pt x="167985" y="190027"/>
                        <a:pt x="115159" y="198831"/>
                        <a:pt x="94615" y="184157"/>
                      </a:cubicBezTo>
                      <a:cubicBezTo>
                        <a:pt x="85811" y="178288"/>
                        <a:pt x="82876" y="172419"/>
                        <a:pt x="79941" y="163614"/>
                      </a:cubicBezTo>
                      <a:cubicBezTo>
                        <a:pt x="77006" y="143071"/>
                        <a:pt x="91680" y="113723"/>
                        <a:pt x="103420" y="96114"/>
                      </a:cubicBezTo>
                      <a:cubicBezTo>
                        <a:pt x="82876" y="107853"/>
                        <a:pt x="47659" y="125462"/>
                        <a:pt x="15376" y="125462"/>
                      </a:cubicBezTo>
                      <a:cubicBezTo>
                        <a:pt x="15376" y="125462"/>
                        <a:pt x="15376" y="125462"/>
                        <a:pt x="15376" y="125462"/>
                      </a:cubicBezTo>
                      <a:cubicBezTo>
                        <a:pt x="6572" y="125462"/>
                        <a:pt x="3637" y="122527"/>
                        <a:pt x="702" y="116658"/>
                      </a:cubicBezTo>
                      <a:cubicBezTo>
                        <a:pt x="-8102" y="96114"/>
                        <a:pt x="68202" y="28614"/>
                        <a:pt x="100485" y="2201"/>
                      </a:cubicBezTo>
                      <a:cubicBezTo>
                        <a:pt x="103420" y="-734"/>
                        <a:pt x="106354" y="-734"/>
                        <a:pt x="109289" y="2201"/>
                      </a:cubicBezTo>
                      <a:cubicBezTo>
                        <a:pt x="112224" y="5136"/>
                        <a:pt x="112224" y="8071"/>
                        <a:pt x="109289" y="11005"/>
                      </a:cubicBezTo>
                      <a:cubicBezTo>
                        <a:pt x="53528" y="57962"/>
                        <a:pt x="9506" y="104918"/>
                        <a:pt x="12441" y="113723"/>
                      </a:cubicBezTo>
                      <a:lnTo>
                        <a:pt x="12441" y="113723"/>
                      </a:lnTo>
                      <a:cubicBezTo>
                        <a:pt x="12441" y="113723"/>
                        <a:pt x="12441" y="113723"/>
                        <a:pt x="18311" y="113723"/>
                      </a:cubicBezTo>
                      <a:cubicBezTo>
                        <a:pt x="65267" y="110788"/>
                        <a:pt x="121028" y="72636"/>
                        <a:pt x="121028" y="72636"/>
                      </a:cubicBezTo>
                      <a:cubicBezTo>
                        <a:pt x="123963" y="69701"/>
                        <a:pt x="126898" y="72636"/>
                        <a:pt x="126898" y="72636"/>
                      </a:cubicBezTo>
                      <a:cubicBezTo>
                        <a:pt x="129833" y="75571"/>
                        <a:pt x="129833" y="78505"/>
                        <a:pt x="126898" y="78505"/>
                      </a:cubicBezTo>
                      <a:cubicBezTo>
                        <a:pt x="126898" y="78505"/>
                        <a:pt x="85811" y="128397"/>
                        <a:pt x="91680" y="160679"/>
                      </a:cubicBezTo>
                      <a:cubicBezTo>
                        <a:pt x="91680" y="166549"/>
                        <a:pt x="94615" y="172419"/>
                        <a:pt x="100485" y="175353"/>
                      </a:cubicBezTo>
                      <a:cubicBezTo>
                        <a:pt x="132767" y="198831"/>
                        <a:pt x="302985" y="137201"/>
                        <a:pt x="402767" y="13940"/>
                      </a:cubicBezTo>
                      <a:cubicBezTo>
                        <a:pt x="402767" y="11005"/>
                        <a:pt x="405702" y="11005"/>
                        <a:pt x="408637" y="11005"/>
                      </a:cubicBezTo>
                      <a:cubicBezTo>
                        <a:pt x="411572" y="11005"/>
                        <a:pt x="411572" y="13940"/>
                        <a:pt x="411572" y="16875"/>
                      </a:cubicBezTo>
                      <a:cubicBezTo>
                        <a:pt x="411572" y="16875"/>
                        <a:pt x="411572" y="46223"/>
                        <a:pt x="429180" y="63831"/>
                      </a:cubicBezTo>
                      <a:cubicBezTo>
                        <a:pt x="440919" y="75571"/>
                        <a:pt x="458528" y="78505"/>
                        <a:pt x="482006" y="72636"/>
                      </a:cubicBezTo>
                      <a:cubicBezTo>
                        <a:pt x="484941" y="72636"/>
                        <a:pt x="484941" y="72636"/>
                        <a:pt x="487876" y="72636"/>
                      </a:cubicBezTo>
                      <a:cubicBezTo>
                        <a:pt x="487876" y="72636"/>
                        <a:pt x="490811" y="75571"/>
                        <a:pt x="490811" y="78505"/>
                      </a:cubicBezTo>
                      <a:cubicBezTo>
                        <a:pt x="490811" y="78505"/>
                        <a:pt x="476137" y="169484"/>
                        <a:pt x="511354" y="207636"/>
                      </a:cubicBezTo>
                      <a:cubicBezTo>
                        <a:pt x="523093" y="219375"/>
                        <a:pt x="537767" y="225245"/>
                        <a:pt x="558311" y="222310"/>
                      </a:cubicBezTo>
                      <a:cubicBezTo>
                        <a:pt x="655159" y="210571"/>
                        <a:pt x="766680" y="84375"/>
                        <a:pt x="766680" y="81440"/>
                      </a:cubicBezTo>
                      <a:cubicBezTo>
                        <a:pt x="769615" y="78505"/>
                        <a:pt x="769615" y="78505"/>
                        <a:pt x="772550" y="81440"/>
                      </a:cubicBezTo>
                      <a:cubicBezTo>
                        <a:pt x="775485" y="81440"/>
                        <a:pt x="775485" y="84375"/>
                        <a:pt x="775485" y="87310"/>
                      </a:cubicBezTo>
                      <a:cubicBezTo>
                        <a:pt x="772550" y="107853"/>
                        <a:pt x="766680" y="163614"/>
                        <a:pt x="784289" y="181223"/>
                      </a:cubicBezTo>
                      <a:cubicBezTo>
                        <a:pt x="787224" y="184157"/>
                        <a:pt x="793093" y="187092"/>
                        <a:pt x="796028" y="187092"/>
                      </a:cubicBezTo>
                      <a:cubicBezTo>
                        <a:pt x="837115" y="187092"/>
                        <a:pt x="916354" y="113723"/>
                        <a:pt x="916354" y="113723"/>
                      </a:cubicBezTo>
                      <a:cubicBezTo>
                        <a:pt x="919289" y="110788"/>
                        <a:pt x="922224" y="110788"/>
                        <a:pt x="925159" y="113723"/>
                      </a:cubicBezTo>
                      <a:cubicBezTo>
                        <a:pt x="928093" y="116658"/>
                        <a:pt x="928093" y="119592"/>
                        <a:pt x="925159" y="122527"/>
                      </a:cubicBezTo>
                      <a:cubicBezTo>
                        <a:pt x="922224" y="125462"/>
                        <a:pt x="840050" y="198831"/>
                        <a:pt x="796028" y="198831"/>
                      </a:cubicBezTo>
                      <a:cubicBezTo>
                        <a:pt x="787224" y="198831"/>
                        <a:pt x="781354" y="195897"/>
                        <a:pt x="775485" y="190027"/>
                      </a:cubicBezTo>
                      <a:cubicBezTo>
                        <a:pt x="757876" y="172419"/>
                        <a:pt x="760811" y="128397"/>
                        <a:pt x="763746" y="101984"/>
                      </a:cubicBezTo>
                      <a:cubicBezTo>
                        <a:pt x="731463" y="134266"/>
                        <a:pt x="643420" y="222310"/>
                        <a:pt x="561246" y="234049"/>
                      </a:cubicBezTo>
                      <a:cubicBezTo>
                        <a:pt x="555376" y="231114"/>
                        <a:pt x="552441" y="231114"/>
                        <a:pt x="549506" y="231114"/>
                      </a:cubicBezTo>
                      <a:close/>
                      <a:moveTo>
                        <a:pt x="12441" y="113723"/>
                      </a:moveTo>
                      <a:lnTo>
                        <a:pt x="12441" y="113723"/>
                      </a:lnTo>
                      <a:lnTo>
                        <a:pt x="12441" y="113723"/>
                      </a:lnTo>
                      <a:close/>
                    </a:path>
                  </a:pathLst>
                </a:custGeom>
                <a:solidFill>
                  <a:srgbClr val="38343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0" name="任意多边形: 形状 79">
                  <a:extLst>
                    <a:ext uri="{FF2B5EF4-FFF2-40B4-BE49-F238E27FC236}">
                      <a16:creationId xmlns:a16="http://schemas.microsoft.com/office/drawing/2014/main" id="{173E80BA-2DEE-4239-B2D8-E121886ED570}"/>
                    </a:ext>
                  </a:extLst>
                </p:cNvPr>
                <p:cNvSpPr/>
                <p:nvPr/>
              </p:nvSpPr>
              <p:spPr>
                <a:xfrm>
                  <a:off x="4337694" y="5204008"/>
                  <a:ext cx="351959" cy="366847"/>
                </a:xfrm>
                <a:custGeom>
                  <a:avLst/>
                  <a:gdLst>
                    <a:gd name="connsiteX0" fmla="*/ 246522 w 351959"/>
                    <a:gd name="connsiteY0" fmla="*/ 360978 h 366847"/>
                    <a:gd name="connsiteX1" fmla="*/ 111522 w 351959"/>
                    <a:gd name="connsiteY1" fmla="*/ 284674 h 366847"/>
                    <a:gd name="connsiteX2" fmla="*/ 73370 w 351959"/>
                    <a:gd name="connsiteY2" fmla="*/ 296413 h 366847"/>
                    <a:gd name="connsiteX3" fmla="*/ 0 w 351959"/>
                    <a:gd name="connsiteY3" fmla="*/ 214239 h 366847"/>
                    <a:gd name="connsiteX4" fmla="*/ 2935 w 351959"/>
                    <a:gd name="connsiteY4" fmla="*/ 208370 h 366847"/>
                    <a:gd name="connsiteX5" fmla="*/ 8804 w 351959"/>
                    <a:gd name="connsiteY5" fmla="*/ 211304 h 366847"/>
                    <a:gd name="connsiteX6" fmla="*/ 73370 w 351959"/>
                    <a:gd name="connsiteY6" fmla="*/ 287609 h 366847"/>
                    <a:gd name="connsiteX7" fmla="*/ 105652 w 351959"/>
                    <a:gd name="connsiteY7" fmla="*/ 275870 h 366847"/>
                    <a:gd name="connsiteX8" fmla="*/ 114456 w 351959"/>
                    <a:gd name="connsiteY8" fmla="*/ 275870 h 366847"/>
                    <a:gd name="connsiteX9" fmla="*/ 252391 w 351959"/>
                    <a:gd name="connsiteY9" fmla="*/ 352174 h 366847"/>
                    <a:gd name="connsiteX10" fmla="*/ 270000 w 351959"/>
                    <a:gd name="connsiteY10" fmla="*/ 340435 h 366847"/>
                    <a:gd name="connsiteX11" fmla="*/ 225978 w 351959"/>
                    <a:gd name="connsiteY11" fmla="*/ 220109 h 366847"/>
                    <a:gd name="connsiteX12" fmla="*/ 225978 w 351959"/>
                    <a:gd name="connsiteY12" fmla="*/ 214239 h 366847"/>
                    <a:gd name="connsiteX13" fmla="*/ 231848 w 351959"/>
                    <a:gd name="connsiteY13" fmla="*/ 211304 h 366847"/>
                    <a:gd name="connsiteX14" fmla="*/ 337500 w 351959"/>
                    <a:gd name="connsiteY14" fmla="*/ 228913 h 366847"/>
                    <a:gd name="connsiteX15" fmla="*/ 316956 w 351959"/>
                    <a:gd name="connsiteY15" fmla="*/ 164348 h 366847"/>
                    <a:gd name="connsiteX16" fmla="*/ 261195 w 351959"/>
                    <a:gd name="connsiteY16" fmla="*/ 5870 h 366847"/>
                    <a:gd name="connsiteX17" fmla="*/ 267065 w 351959"/>
                    <a:gd name="connsiteY17" fmla="*/ 0 h 366847"/>
                    <a:gd name="connsiteX18" fmla="*/ 272935 w 351959"/>
                    <a:gd name="connsiteY18" fmla="*/ 5870 h 366847"/>
                    <a:gd name="connsiteX19" fmla="*/ 328696 w 351959"/>
                    <a:gd name="connsiteY19" fmla="*/ 161413 h 366847"/>
                    <a:gd name="connsiteX20" fmla="*/ 343369 w 351959"/>
                    <a:gd name="connsiteY20" fmla="*/ 240652 h 366847"/>
                    <a:gd name="connsiteX21" fmla="*/ 249457 w 351959"/>
                    <a:gd name="connsiteY21" fmla="*/ 231848 h 366847"/>
                    <a:gd name="connsiteX22" fmla="*/ 278804 w 351959"/>
                    <a:gd name="connsiteY22" fmla="*/ 349239 h 366847"/>
                    <a:gd name="connsiteX23" fmla="*/ 255326 w 351959"/>
                    <a:gd name="connsiteY23" fmla="*/ 366848 h 366847"/>
                    <a:gd name="connsiteX24" fmla="*/ 246522 w 351959"/>
                    <a:gd name="connsiteY24" fmla="*/ 360978 h 366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51959" h="366847">
                      <a:moveTo>
                        <a:pt x="246522" y="360978"/>
                      </a:moveTo>
                      <a:cubicBezTo>
                        <a:pt x="199565" y="360978"/>
                        <a:pt x="129130" y="299348"/>
                        <a:pt x="111522" y="284674"/>
                      </a:cubicBezTo>
                      <a:cubicBezTo>
                        <a:pt x="99782" y="293478"/>
                        <a:pt x="88043" y="299348"/>
                        <a:pt x="73370" y="296413"/>
                      </a:cubicBezTo>
                      <a:cubicBezTo>
                        <a:pt x="32283" y="287609"/>
                        <a:pt x="2935" y="217174"/>
                        <a:pt x="0" y="214239"/>
                      </a:cubicBezTo>
                      <a:cubicBezTo>
                        <a:pt x="0" y="211304"/>
                        <a:pt x="0" y="208370"/>
                        <a:pt x="2935" y="208370"/>
                      </a:cubicBezTo>
                      <a:cubicBezTo>
                        <a:pt x="5869" y="208370"/>
                        <a:pt x="8804" y="208370"/>
                        <a:pt x="8804" y="211304"/>
                      </a:cubicBezTo>
                      <a:cubicBezTo>
                        <a:pt x="8804" y="211304"/>
                        <a:pt x="38152" y="278804"/>
                        <a:pt x="73370" y="287609"/>
                      </a:cubicBezTo>
                      <a:cubicBezTo>
                        <a:pt x="85109" y="290544"/>
                        <a:pt x="93913" y="284674"/>
                        <a:pt x="105652" y="275870"/>
                      </a:cubicBezTo>
                      <a:cubicBezTo>
                        <a:pt x="108587" y="272935"/>
                        <a:pt x="111522" y="272935"/>
                        <a:pt x="114456" y="275870"/>
                      </a:cubicBezTo>
                      <a:cubicBezTo>
                        <a:pt x="114456" y="275870"/>
                        <a:pt x="208370" y="360978"/>
                        <a:pt x="252391" y="352174"/>
                      </a:cubicBezTo>
                      <a:cubicBezTo>
                        <a:pt x="261195" y="352174"/>
                        <a:pt x="264130" y="346304"/>
                        <a:pt x="270000" y="340435"/>
                      </a:cubicBezTo>
                      <a:cubicBezTo>
                        <a:pt x="299348" y="287609"/>
                        <a:pt x="228913" y="220109"/>
                        <a:pt x="225978" y="220109"/>
                      </a:cubicBezTo>
                      <a:cubicBezTo>
                        <a:pt x="223043" y="217174"/>
                        <a:pt x="223043" y="214239"/>
                        <a:pt x="225978" y="214239"/>
                      </a:cubicBezTo>
                      <a:cubicBezTo>
                        <a:pt x="225978" y="211304"/>
                        <a:pt x="228913" y="211304"/>
                        <a:pt x="231848" y="211304"/>
                      </a:cubicBezTo>
                      <a:cubicBezTo>
                        <a:pt x="255326" y="220109"/>
                        <a:pt x="319891" y="237718"/>
                        <a:pt x="337500" y="228913"/>
                      </a:cubicBezTo>
                      <a:cubicBezTo>
                        <a:pt x="346304" y="225978"/>
                        <a:pt x="331630" y="196631"/>
                        <a:pt x="316956" y="164348"/>
                      </a:cubicBezTo>
                      <a:cubicBezTo>
                        <a:pt x="296413" y="123261"/>
                        <a:pt x="270000" y="67500"/>
                        <a:pt x="261195" y="5870"/>
                      </a:cubicBezTo>
                      <a:cubicBezTo>
                        <a:pt x="261195" y="2935"/>
                        <a:pt x="264130" y="0"/>
                        <a:pt x="267065" y="0"/>
                      </a:cubicBezTo>
                      <a:cubicBezTo>
                        <a:pt x="270000" y="0"/>
                        <a:pt x="272935" y="2935"/>
                        <a:pt x="272935" y="5870"/>
                      </a:cubicBezTo>
                      <a:cubicBezTo>
                        <a:pt x="281739" y="64565"/>
                        <a:pt x="308152" y="120326"/>
                        <a:pt x="328696" y="161413"/>
                      </a:cubicBezTo>
                      <a:cubicBezTo>
                        <a:pt x="349239" y="205435"/>
                        <a:pt x="360978" y="228913"/>
                        <a:pt x="343369" y="240652"/>
                      </a:cubicBezTo>
                      <a:cubicBezTo>
                        <a:pt x="322826" y="252391"/>
                        <a:pt x="275869" y="240652"/>
                        <a:pt x="249457" y="231848"/>
                      </a:cubicBezTo>
                      <a:cubicBezTo>
                        <a:pt x="270000" y="255326"/>
                        <a:pt x="302282" y="305218"/>
                        <a:pt x="278804" y="349239"/>
                      </a:cubicBezTo>
                      <a:cubicBezTo>
                        <a:pt x="272935" y="358043"/>
                        <a:pt x="264130" y="366848"/>
                        <a:pt x="255326" y="366848"/>
                      </a:cubicBezTo>
                      <a:cubicBezTo>
                        <a:pt x="252391" y="360978"/>
                        <a:pt x="249457" y="360978"/>
                        <a:pt x="246522" y="360978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1" name="任意多边形: 形状 80">
                  <a:extLst>
                    <a:ext uri="{FF2B5EF4-FFF2-40B4-BE49-F238E27FC236}">
                      <a16:creationId xmlns:a16="http://schemas.microsoft.com/office/drawing/2014/main" id="{C935F7D9-9455-4ADF-8963-67E5305323D3}"/>
                    </a:ext>
                  </a:extLst>
                </p:cNvPr>
                <p:cNvSpPr/>
                <p:nvPr/>
              </p:nvSpPr>
              <p:spPr>
                <a:xfrm>
                  <a:off x="3853455" y="2269226"/>
                  <a:ext cx="730760" cy="698478"/>
                </a:xfrm>
                <a:custGeom>
                  <a:avLst/>
                  <a:gdLst>
                    <a:gd name="connsiteX0" fmla="*/ 601631 w 730760"/>
                    <a:gd name="connsiteY0" fmla="*/ 686739 h 698478"/>
                    <a:gd name="connsiteX1" fmla="*/ 375652 w 730760"/>
                    <a:gd name="connsiteY1" fmla="*/ 604565 h 698478"/>
                    <a:gd name="connsiteX2" fmla="*/ 152609 w 730760"/>
                    <a:gd name="connsiteY2" fmla="*/ 698478 h 698478"/>
                    <a:gd name="connsiteX3" fmla="*/ 158478 w 730760"/>
                    <a:gd name="connsiteY3" fmla="*/ 457826 h 698478"/>
                    <a:gd name="connsiteX4" fmla="*/ 0 w 730760"/>
                    <a:gd name="connsiteY4" fmla="*/ 275870 h 698478"/>
                    <a:gd name="connsiteX5" fmla="*/ 231848 w 730760"/>
                    <a:gd name="connsiteY5" fmla="*/ 205435 h 698478"/>
                    <a:gd name="connsiteX6" fmla="*/ 358044 w 730760"/>
                    <a:gd name="connsiteY6" fmla="*/ 0 h 698478"/>
                    <a:gd name="connsiteX7" fmla="*/ 495978 w 730760"/>
                    <a:gd name="connsiteY7" fmla="*/ 199565 h 698478"/>
                    <a:gd name="connsiteX8" fmla="*/ 730761 w 730760"/>
                    <a:gd name="connsiteY8" fmla="*/ 255326 h 698478"/>
                    <a:gd name="connsiteX9" fmla="*/ 581087 w 730760"/>
                    <a:gd name="connsiteY9" fmla="*/ 446087 h 6984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30760" h="698478">
                      <a:moveTo>
                        <a:pt x="601631" y="686739"/>
                      </a:moveTo>
                      <a:lnTo>
                        <a:pt x="375652" y="604565"/>
                      </a:lnTo>
                      <a:lnTo>
                        <a:pt x="152609" y="698478"/>
                      </a:lnTo>
                      <a:lnTo>
                        <a:pt x="158478" y="457826"/>
                      </a:lnTo>
                      <a:lnTo>
                        <a:pt x="0" y="275870"/>
                      </a:lnTo>
                      <a:lnTo>
                        <a:pt x="231848" y="205435"/>
                      </a:lnTo>
                      <a:lnTo>
                        <a:pt x="358044" y="0"/>
                      </a:lnTo>
                      <a:lnTo>
                        <a:pt x="495978" y="199565"/>
                      </a:lnTo>
                      <a:lnTo>
                        <a:pt x="730761" y="255326"/>
                      </a:lnTo>
                      <a:lnTo>
                        <a:pt x="581087" y="446087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82" name="图形 1">
                  <a:extLst>
                    <a:ext uri="{FF2B5EF4-FFF2-40B4-BE49-F238E27FC236}">
                      <a16:creationId xmlns:a16="http://schemas.microsoft.com/office/drawing/2014/main" id="{022DE2CF-4F1C-4C5B-B1AE-3B97CDD4339E}"/>
                    </a:ext>
                  </a:extLst>
                </p:cNvPr>
                <p:cNvGrpSpPr/>
                <p:nvPr/>
              </p:nvGrpSpPr>
              <p:grpSpPr>
                <a:xfrm>
                  <a:off x="3451390" y="4892921"/>
                  <a:ext cx="299347" cy="352173"/>
                  <a:chOff x="3451390" y="4892921"/>
                  <a:chExt cx="299347" cy="352173"/>
                </a:xfrm>
              </p:grpSpPr>
              <p:grpSp>
                <p:nvGrpSpPr>
                  <p:cNvPr id="83" name="图形 1">
                    <a:extLst>
                      <a:ext uri="{FF2B5EF4-FFF2-40B4-BE49-F238E27FC236}">
                        <a16:creationId xmlns:a16="http://schemas.microsoft.com/office/drawing/2014/main" id="{022DE2CF-4F1C-4C5B-B1AE-3B97CDD4339E}"/>
                      </a:ext>
                    </a:extLst>
                  </p:cNvPr>
                  <p:cNvGrpSpPr/>
                  <p:nvPr/>
                </p:nvGrpSpPr>
                <p:grpSpPr>
                  <a:xfrm>
                    <a:off x="3451390" y="4892921"/>
                    <a:ext cx="299347" cy="352173"/>
                    <a:chOff x="3451390" y="4892921"/>
                    <a:chExt cx="299347" cy="352173"/>
                  </a:xfrm>
                </p:grpSpPr>
                <p:sp>
                  <p:nvSpPr>
                    <p:cNvPr id="84" name="任意多边形: 形状 83">
                      <a:extLst>
                        <a:ext uri="{FF2B5EF4-FFF2-40B4-BE49-F238E27FC236}">
                          <a16:creationId xmlns:a16="http://schemas.microsoft.com/office/drawing/2014/main" id="{5C343D43-7C37-41CD-A5AB-C880ADCA766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559977" y="4892921"/>
                      <a:ext cx="85108" cy="132065"/>
                    </a:xfrm>
                    <a:custGeom>
                      <a:avLst/>
                      <a:gdLst>
                        <a:gd name="connsiteX0" fmla="*/ 73370 w 85108"/>
                        <a:gd name="connsiteY0" fmla="*/ 0 h 132065"/>
                        <a:gd name="connsiteX1" fmla="*/ 11739 w 85108"/>
                        <a:gd name="connsiteY1" fmla="*/ 0 h 132065"/>
                        <a:gd name="connsiteX2" fmla="*/ 0 w 85108"/>
                        <a:gd name="connsiteY2" fmla="*/ 11739 h 132065"/>
                        <a:gd name="connsiteX3" fmla="*/ 0 w 85108"/>
                        <a:gd name="connsiteY3" fmla="*/ 120326 h 132065"/>
                        <a:gd name="connsiteX4" fmla="*/ 11739 w 85108"/>
                        <a:gd name="connsiteY4" fmla="*/ 132065 h 132065"/>
                        <a:gd name="connsiteX5" fmla="*/ 73370 w 85108"/>
                        <a:gd name="connsiteY5" fmla="*/ 132065 h 132065"/>
                        <a:gd name="connsiteX6" fmla="*/ 85109 w 85108"/>
                        <a:gd name="connsiteY6" fmla="*/ 120326 h 132065"/>
                        <a:gd name="connsiteX7" fmla="*/ 85109 w 85108"/>
                        <a:gd name="connsiteY7" fmla="*/ 11739 h 132065"/>
                        <a:gd name="connsiteX8" fmla="*/ 73370 w 85108"/>
                        <a:gd name="connsiteY8" fmla="*/ 0 h 13206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5108" h="132065">
                          <a:moveTo>
                            <a:pt x="73370" y="0"/>
                          </a:moveTo>
                          <a:lnTo>
                            <a:pt x="11739" y="0"/>
                          </a:lnTo>
                          <a:cubicBezTo>
                            <a:pt x="5870" y="0"/>
                            <a:pt x="0" y="5870"/>
                            <a:pt x="0" y="11739"/>
                          </a:cubicBezTo>
                          <a:lnTo>
                            <a:pt x="0" y="120326"/>
                          </a:lnTo>
                          <a:cubicBezTo>
                            <a:pt x="0" y="126196"/>
                            <a:pt x="5870" y="132065"/>
                            <a:pt x="11739" y="132065"/>
                          </a:cubicBezTo>
                          <a:lnTo>
                            <a:pt x="73370" y="132065"/>
                          </a:lnTo>
                          <a:cubicBezTo>
                            <a:pt x="79239" y="132065"/>
                            <a:pt x="85109" y="126196"/>
                            <a:pt x="85109" y="120326"/>
                          </a:cubicBezTo>
                          <a:lnTo>
                            <a:pt x="85109" y="11739"/>
                          </a:lnTo>
                          <a:cubicBezTo>
                            <a:pt x="82174" y="2935"/>
                            <a:pt x="79239" y="0"/>
                            <a:pt x="73370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5" name="任意多边形: 形状 84">
                      <a:extLst>
                        <a:ext uri="{FF2B5EF4-FFF2-40B4-BE49-F238E27FC236}">
                          <a16:creationId xmlns:a16="http://schemas.microsoft.com/office/drawing/2014/main" id="{358C0558-475D-405A-8558-2277C4C970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451390" y="4945747"/>
                      <a:ext cx="299347" cy="299347"/>
                    </a:xfrm>
                    <a:custGeom>
                      <a:avLst/>
                      <a:gdLst>
                        <a:gd name="connsiteX0" fmla="*/ 149674 w 299347"/>
                        <a:gd name="connsiteY0" fmla="*/ 0 h 299347"/>
                        <a:gd name="connsiteX1" fmla="*/ 0 w 299347"/>
                        <a:gd name="connsiteY1" fmla="*/ 149674 h 299347"/>
                        <a:gd name="connsiteX2" fmla="*/ 149674 w 299347"/>
                        <a:gd name="connsiteY2" fmla="*/ 299348 h 299347"/>
                        <a:gd name="connsiteX3" fmla="*/ 299348 w 299347"/>
                        <a:gd name="connsiteY3" fmla="*/ 149674 h 299347"/>
                        <a:gd name="connsiteX4" fmla="*/ 149674 w 299347"/>
                        <a:gd name="connsiteY4" fmla="*/ 0 h 2993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9347" h="299347">
                          <a:moveTo>
                            <a:pt x="149674" y="0"/>
                          </a:moveTo>
                          <a:cubicBezTo>
                            <a:pt x="67500" y="0"/>
                            <a:pt x="0" y="67500"/>
                            <a:pt x="0" y="149674"/>
                          </a:cubicBezTo>
                          <a:cubicBezTo>
                            <a:pt x="0" y="231848"/>
                            <a:pt x="67500" y="299348"/>
                            <a:pt x="149674" y="299348"/>
                          </a:cubicBezTo>
                          <a:cubicBezTo>
                            <a:pt x="231848" y="299348"/>
                            <a:pt x="299348" y="231848"/>
                            <a:pt x="299348" y="149674"/>
                          </a:cubicBezTo>
                          <a:cubicBezTo>
                            <a:pt x="299348" y="67500"/>
                            <a:pt x="231848" y="0"/>
                            <a:pt x="149674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86" name="任意多边形: 形状 85">
                    <a:extLst>
                      <a:ext uri="{FF2B5EF4-FFF2-40B4-BE49-F238E27FC236}">
                        <a16:creationId xmlns:a16="http://schemas.microsoft.com/office/drawing/2014/main" id="{4DAF6B37-03A2-4720-96B9-D8A8541A931A}"/>
                      </a:ext>
                    </a:extLst>
                  </p:cNvPr>
                  <p:cNvSpPr/>
                  <p:nvPr/>
                </p:nvSpPr>
                <p:spPr>
                  <a:xfrm>
                    <a:off x="3627212" y="4998309"/>
                    <a:ext cx="79615" cy="126460"/>
                  </a:xfrm>
                  <a:custGeom>
                    <a:avLst/>
                    <a:gdLst>
                      <a:gd name="connsiteX0" fmla="*/ 64830 w 79615"/>
                      <a:gd name="connsiteY0" fmla="*/ 126460 h 126460"/>
                      <a:gd name="connsiteX1" fmla="*/ 64830 w 79615"/>
                      <a:gd name="connsiteY1" fmla="*/ 126460 h 126460"/>
                      <a:gd name="connsiteX2" fmla="*/ 50156 w 79615"/>
                      <a:gd name="connsiteY2" fmla="*/ 111786 h 126460"/>
                      <a:gd name="connsiteX3" fmla="*/ 6134 w 79615"/>
                      <a:gd name="connsiteY3" fmla="*/ 26678 h 126460"/>
                      <a:gd name="connsiteX4" fmla="*/ 3199 w 79615"/>
                      <a:gd name="connsiteY4" fmla="*/ 6134 h 126460"/>
                      <a:gd name="connsiteX5" fmla="*/ 23743 w 79615"/>
                      <a:gd name="connsiteY5" fmla="*/ 3200 h 126460"/>
                      <a:gd name="connsiteX6" fmla="*/ 79504 w 79615"/>
                      <a:gd name="connsiteY6" fmla="*/ 114721 h 126460"/>
                      <a:gd name="connsiteX7" fmla="*/ 64830 w 79615"/>
                      <a:gd name="connsiteY7" fmla="*/ 126460 h 1264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9615" h="126460">
                        <a:moveTo>
                          <a:pt x="64830" y="126460"/>
                        </a:moveTo>
                        <a:cubicBezTo>
                          <a:pt x="64830" y="126460"/>
                          <a:pt x="64830" y="126460"/>
                          <a:pt x="64830" y="126460"/>
                        </a:cubicBezTo>
                        <a:cubicBezTo>
                          <a:pt x="56026" y="126460"/>
                          <a:pt x="50156" y="120591"/>
                          <a:pt x="50156" y="111786"/>
                        </a:cubicBezTo>
                        <a:cubicBezTo>
                          <a:pt x="53091" y="58960"/>
                          <a:pt x="6134" y="26678"/>
                          <a:pt x="6134" y="26678"/>
                        </a:cubicBezTo>
                        <a:cubicBezTo>
                          <a:pt x="265" y="20808"/>
                          <a:pt x="-2670" y="12004"/>
                          <a:pt x="3199" y="6134"/>
                        </a:cubicBezTo>
                        <a:cubicBezTo>
                          <a:pt x="9069" y="265"/>
                          <a:pt x="17873" y="-2670"/>
                          <a:pt x="23743" y="3200"/>
                        </a:cubicBezTo>
                        <a:cubicBezTo>
                          <a:pt x="26678" y="6134"/>
                          <a:pt x="82439" y="44286"/>
                          <a:pt x="79504" y="114721"/>
                        </a:cubicBezTo>
                        <a:cubicBezTo>
                          <a:pt x="79504" y="117656"/>
                          <a:pt x="73634" y="126460"/>
                          <a:pt x="64830" y="126460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87" name="图形 1">
                  <a:extLst>
                    <a:ext uri="{FF2B5EF4-FFF2-40B4-BE49-F238E27FC236}">
                      <a16:creationId xmlns:a16="http://schemas.microsoft.com/office/drawing/2014/main" id="{022DE2CF-4F1C-4C5B-B1AE-3B97CDD4339E}"/>
                    </a:ext>
                  </a:extLst>
                </p:cNvPr>
                <p:cNvGrpSpPr/>
                <p:nvPr/>
              </p:nvGrpSpPr>
              <p:grpSpPr>
                <a:xfrm>
                  <a:off x="4000194" y="5559117"/>
                  <a:ext cx="299347" cy="355108"/>
                  <a:chOff x="4000194" y="5559117"/>
                  <a:chExt cx="299347" cy="355108"/>
                </a:xfrm>
              </p:grpSpPr>
              <p:grpSp>
                <p:nvGrpSpPr>
                  <p:cNvPr id="88" name="图形 1">
                    <a:extLst>
                      <a:ext uri="{FF2B5EF4-FFF2-40B4-BE49-F238E27FC236}">
                        <a16:creationId xmlns:a16="http://schemas.microsoft.com/office/drawing/2014/main" id="{022DE2CF-4F1C-4C5B-B1AE-3B97CDD4339E}"/>
                      </a:ext>
                    </a:extLst>
                  </p:cNvPr>
                  <p:cNvGrpSpPr/>
                  <p:nvPr/>
                </p:nvGrpSpPr>
                <p:grpSpPr>
                  <a:xfrm>
                    <a:off x="4000194" y="5559117"/>
                    <a:ext cx="299347" cy="355108"/>
                    <a:chOff x="4000194" y="5559117"/>
                    <a:chExt cx="299347" cy="355108"/>
                  </a:xfrm>
                </p:grpSpPr>
                <p:sp>
                  <p:nvSpPr>
                    <p:cNvPr id="89" name="任意多边形: 形状 88">
                      <a:extLst>
                        <a:ext uri="{FF2B5EF4-FFF2-40B4-BE49-F238E27FC236}">
                          <a16:creationId xmlns:a16="http://schemas.microsoft.com/office/drawing/2014/main" id="{C8FCD2EE-E972-4785-B8CB-6DDE8C2D82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08781" y="5559117"/>
                      <a:ext cx="85108" cy="132065"/>
                    </a:xfrm>
                    <a:custGeom>
                      <a:avLst/>
                      <a:gdLst>
                        <a:gd name="connsiteX0" fmla="*/ 73370 w 85108"/>
                        <a:gd name="connsiteY0" fmla="*/ 0 h 132065"/>
                        <a:gd name="connsiteX1" fmla="*/ 11739 w 85108"/>
                        <a:gd name="connsiteY1" fmla="*/ 0 h 132065"/>
                        <a:gd name="connsiteX2" fmla="*/ 0 w 85108"/>
                        <a:gd name="connsiteY2" fmla="*/ 11739 h 132065"/>
                        <a:gd name="connsiteX3" fmla="*/ 0 w 85108"/>
                        <a:gd name="connsiteY3" fmla="*/ 120326 h 132065"/>
                        <a:gd name="connsiteX4" fmla="*/ 11739 w 85108"/>
                        <a:gd name="connsiteY4" fmla="*/ 132065 h 132065"/>
                        <a:gd name="connsiteX5" fmla="*/ 73370 w 85108"/>
                        <a:gd name="connsiteY5" fmla="*/ 132065 h 132065"/>
                        <a:gd name="connsiteX6" fmla="*/ 85109 w 85108"/>
                        <a:gd name="connsiteY6" fmla="*/ 120326 h 132065"/>
                        <a:gd name="connsiteX7" fmla="*/ 85109 w 85108"/>
                        <a:gd name="connsiteY7" fmla="*/ 11739 h 132065"/>
                        <a:gd name="connsiteX8" fmla="*/ 73370 w 85108"/>
                        <a:gd name="connsiteY8" fmla="*/ 0 h 13206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5108" h="132065">
                          <a:moveTo>
                            <a:pt x="73370" y="0"/>
                          </a:moveTo>
                          <a:lnTo>
                            <a:pt x="11739" y="0"/>
                          </a:lnTo>
                          <a:cubicBezTo>
                            <a:pt x="5870" y="0"/>
                            <a:pt x="0" y="5869"/>
                            <a:pt x="0" y="11739"/>
                          </a:cubicBezTo>
                          <a:lnTo>
                            <a:pt x="0" y="120326"/>
                          </a:lnTo>
                          <a:cubicBezTo>
                            <a:pt x="0" y="126196"/>
                            <a:pt x="5870" y="132065"/>
                            <a:pt x="11739" y="132065"/>
                          </a:cubicBezTo>
                          <a:lnTo>
                            <a:pt x="73370" y="132065"/>
                          </a:lnTo>
                          <a:cubicBezTo>
                            <a:pt x="79239" y="132065"/>
                            <a:pt x="85109" y="126196"/>
                            <a:pt x="85109" y="120326"/>
                          </a:cubicBezTo>
                          <a:lnTo>
                            <a:pt x="85109" y="11739"/>
                          </a:lnTo>
                          <a:cubicBezTo>
                            <a:pt x="82174" y="5869"/>
                            <a:pt x="79239" y="0"/>
                            <a:pt x="73370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0" name="任意多边形: 形状 89">
                      <a:extLst>
                        <a:ext uri="{FF2B5EF4-FFF2-40B4-BE49-F238E27FC236}">
                          <a16:creationId xmlns:a16="http://schemas.microsoft.com/office/drawing/2014/main" id="{29DCBB45-C676-49D3-99B0-95B85E0AA1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00194" y="5614878"/>
                      <a:ext cx="299347" cy="299347"/>
                    </a:xfrm>
                    <a:custGeom>
                      <a:avLst/>
                      <a:gdLst>
                        <a:gd name="connsiteX0" fmla="*/ 149674 w 299347"/>
                        <a:gd name="connsiteY0" fmla="*/ 0 h 299347"/>
                        <a:gd name="connsiteX1" fmla="*/ 0 w 299347"/>
                        <a:gd name="connsiteY1" fmla="*/ 149674 h 299347"/>
                        <a:gd name="connsiteX2" fmla="*/ 149674 w 299347"/>
                        <a:gd name="connsiteY2" fmla="*/ 299348 h 299347"/>
                        <a:gd name="connsiteX3" fmla="*/ 299348 w 299347"/>
                        <a:gd name="connsiteY3" fmla="*/ 149674 h 299347"/>
                        <a:gd name="connsiteX4" fmla="*/ 149674 w 299347"/>
                        <a:gd name="connsiteY4" fmla="*/ 0 h 2993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9347" h="299347">
                          <a:moveTo>
                            <a:pt x="149674" y="0"/>
                          </a:moveTo>
                          <a:cubicBezTo>
                            <a:pt x="67500" y="0"/>
                            <a:pt x="0" y="67500"/>
                            <a:pt x="0" y="149674"/>
                          </a:cubicBezTo>
                          <a:cubicBezTo>
                            <a:pt x="0" y="231848"/>
                            <a:pt x="67500" y="299348"/>
                            <a:pt x="149674" y="299348"/>
                          </a:cubicBezTo>
                          <a:cubicBezTo>
                            <a:pt x="231848" y="299348"/>
                            <a:pt x="299348" y="231848"/>
                            <a:pt x="299348" y="149674"/>
                          </a:cubicBezTo>
                          <a:cubicBezTo>
                            <a:pt x="299348" y="64565"/>
                            <a:pt x="234783" y="0"/>
                            <a:pt x="149674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91" name="任意多边形: 形状 90">
                    <a:extLst>
                      <a:ext uri="{FF2B5EF4-FFF2-40B4-BE49-F238E27FC236}">
                        <a16:creationId xmlns:a16="http://schemas.microsoft.com/office/drawing/2014/main" id="{53CEE583-3E15-4ED3-B63D-60C22558C1C2}"/>
                      </a:ext>
                    </a:extLst>
                  </p:cNvPr>
                  <p:cNvSpPr/>
                  <p:nvPr/>
                </p:nvSpPr>
                <p:spPr>
                  <a:xfrm>
                    <a:off x="4176016" y="5664504"/>
                    <a:ext cx="79615" cy="126460"/>
                  </a:xfrm>
                  <a:custGeom>
                    <a:avLst/>
                    <a:gdLst>
                      <a:gd name="connsiteX0" fmla="*/ 64830 w 79615"/>
                      <a:gd name="connsiteY0" fmla="*/ 126460 h 126460"/>
                      <a:gd name="connsiteX1" fmla="*/ 64830 w 79615"/>
                      <a:gd name="connsiteY1" fmla="*/ 126460 h 126460"/>
                      <a:gd name="connsiteX2" fmla="*/ 50156 w 79615"/>
                      <a:gd name="connsiteY2" fmla="*/ 111786 h 126460"/>
                      <a:gd name="connsiteX3" fmla="*/ 6134 w 79615"/>
                      <a:gd name="connsiteY3" fmla="*/ 26678 h 126460"/>
                      <a:gd name="connsiteX4" fmla="*/ 3199 w 79615"/>
                      <a:gd name="connsiteY4" fmla="*/ 6134 h 126460"/>
                      <a:gd name="connsiteX5" fmla="*/ 23743 w 79615"/>
                      <a:gd name="connsiteY5" fmla="*/ 3199 h 126460"/>
                      <a:gd name="connsiteX6" fmla="*/ 79504 w 79615"/>
                      <a:gd name="connsiteY6" fmla="*/ 114721 h 126460"/>
                      <a:gd name="connsiteX7" fmla="*/ 64830 w 79615"/>
                      <a:gd name="connsiteY7" fmla="*/ 126460 h 1264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9615" h="126460">
                        <a:moveTo>
                          <a:pt x="64830" y="126460"/>
                        </a:moveTo>
                        <a:cubicBezTo>
                          <a:pt x="64830" y="126460"/>
                          <a:pt x="64830" y="126460"/>
                          <a:pt x="64830" y="126460"/>
                        </a:cubicBezTo>
                        <a:cubicBezTo>
                          <a:pt x="56025" y="126460"/>
                          <a:pt x="50156" y="120591"/>
                          <a:pt x="50156" y="111786"/>
                        </a:cubicBezTo>
                        <a:cubicBezTo>
                          <a:pt x="53091" y="58960"/>
                          <a:pt x="6134" y="26678"/>
                          <a:pt x="6134" y="26678"/>
                        </a:cubicBezTo>
                        <a:cubicBezTo>
                          <a:pt x="265" y="20808"/>
                          <a:pt x="-2670" y="12004"/>
                          <a:pt x="3199" y="6134"/>
                        </a:cubicBezTo>
                        <a:cubicBezTo>
                          <a:pt x="9069" y="264"/>
                          <a:pt x="17873" y="-2670"/>
                          <a:pt x="23743" y="3199"/>
                        </a:cubicBezTo>
                        <a:cubicBezTo>
                          <a:pt x="26678" y="6134"/>
                          <a:pt x="82438" y="44286"/>
                          <a:pt x="79504" y="114721"/>
                        </a:cubicBezTo>
                        <a:cubicBezTo>
                          <a:pt x="79504" y="120591"/>
                          <a:pt x="73634" y="126460"/>
                          <a:pt x="64830" y="126460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92" name="图形 1">
                  <a:extLst>
                    <a:ext uri="{FF2B5EF4-FFF2-40B4-BE49-F238E27FC236}">
                      <a16:creationId xmlns:a16="http://schemas.microsoft.com/office/drawing/2014/main" id="{022DE2CF-4F1C-4C5B-B1AE-3B97CDD4339E}"/>
                    </a:ext>
                  </a:extLst>
                </p:cNvPr>
                <p:cNvGrpSpPr/>
                <p:nvPr/>
              </p:nvGrpSpPr>
              <p:grpSpPr>
                <a:xfrm>
                  <a:off x="4419868" y="4713900"/>
                  <a:ext cx="299347" cy="355108"/>
                  <a:chOff x="4419868" y="4713900"/>
                  <a:chExt cx="299347" cy="355108"/>
                </a:xfrm>
              </p:grpSpPr>
              <p:grpSp>
                <p:nvGrpSpPr>
                  <p:cNvPr id="93" name="图形 1">
                    <a:extLst>
                      <a:ext uri="{FF2B5EF4-FFF2-40B4-BE49-F238E27FC236}">
                        <a16:creationId xmlns:a16="http://schemas.microsoft.com/office/drawing/2014/main" id="{022DE2CF-4F1C-4C5B-B1AE-3B97CDD4339E}"/>
                      </a:ext>
                    </a:extLst>
                  </p:cNvPr>
                  <p:cNvGrpSpPr/>
                  <p:nvPr/>
                </p:nvGrpSpPr>
                <p:grpSpPr>
                  <a:xfrm>
                    <a:off x="4419868" y="4713900"/>
                    <a:ext cx="299347" cy="355108"/>
                    <a:chOff x="4419868" y="4713900"/>
                    <a:chExt cx="299347" cy="355108"/>
                  </a:xfrm>
                </p:grpSpPr>
                <p:sp>
                  <p:nvSpPr>
                    <p:cNvPr id="94" name="任意多边形: 形状 93">
                      <a:extLst>
                        <a:ext uri="{FF2B5EF4-FFF2-40B4-BE49-F238E27FC236}">
                          <a16:creationId xmlns:a16="http://schemas.microsoft.com/office/drawing/2014/main" id="{AF279436-6B43-44A2-8DBA-9F99AA63E7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525520" y="4713900"/>
                      <a:ext cx="85108" cy="132065"/>
                    </a:xfrm>
                    <a:custGeom>
                      <a:avLst/>
                      <a:gdLst>
                        <a:gd name="connsiteX0" fmla="*/ 73370 w 85108"/>
                        <a:gd name="connsiteY0" fmla="*/ 0 h 132065"/>
                        <a:gd name="connsiteX1" fmla="*/ 11739 w 85108"/>
                        <a:gd name="connsiteY1" fmla="*/ 0 h 132065"/>
                        <a:gd name="connsiteX2" fmla="*/ 0 w 85108"/>
                        <a:gd name="connsiteY2" fmla="*/ 11739 h 132065"/>
                        <a:gd name="connsiteX3" fmla="*/ 0 w 85108"/>
                        <a:gd name="connsiteY3" fmla="*/ 120326 h 132065"/>
                        <a:gd name="connsiteX4" fmla="*/ 11739 w 85108"/>
                        <a:gd name="connsiteY4" fmla="*/ 132065 h 132065"/>
                        <a:gd name="connsiteX5" fmla="*/ 73370 w 85108"/>
                        <a:gd name="connsiteY5" fmla="*/ 132065 h 132065"/>
                        <a:gd name="connsiteX6" fmla="*/ 85109 w 85108"/>
                        <a:gd name="connsiteY6" fmla="*/ 120326 h 132065"/>
                        <a:gd name="connsiteX7" fmla="*/ 85109 w 85108"/>
                        <a:gd name="connsiteY7" fmla="*/ 11739 h 132065"/>
                        <a:gd name="connsiteX8" fmla="*/ 73370 w 85108"/>
                        <a:gd name="connsiteY8" fmla="*/ 0 h 13206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5108" h="132065">
                          <a:moveTo>
                            <a:pt x="73370" y="0"/>
                          </a:moveTo>
                          <a:lnTo>
                            <a:pt x="11739" y="0"/>
                          </a:lnTo>
                          <a:cubicBezTo>
                            <a:pt x="5870" y="0"/>
                            <a:pt x="0" y="5869"/>
                            <a:pt x="0" y="11739"/>
                          </a:cubicBezTo>
                          <a:lnTo>
                            <a:pt x="0" y="120326"/>
                          </a:lnTo>
                          <a:cubicBezTo>
                            <a:pt x="0" y="126196"/>
                            <a:pt x="5870" y="132065"/>
                            <a:pt x="11739" y="132065"/>
                          </a:cubicBezTo>
                          <a:lnTo>
                            <a:pt x="73370" y="132065"/>
                          </a:lnTo>
                          <a:cubicBezTo>
                            <a:pt x="79239" y="132065"/>
                            <a:pt x="85109" y="126196"/>
                            <a:pt x="85109" y="120326"/>
                          </a:cubicBezTo>
                          <a:lnTo>
                            <a:pt x="85109" y="11739"/>
                          </a:lnTo>
                          <a:cubicBezTo>
                            <a:pt x="85109" y="5869"/>
                            <a:pt x="79239" y="0"/>
                            <a:pt x="73370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5" name="任意多边形: 形状 94">
                      <a:extLst>
                        <a:ext uri="{FF2B5EF4-FFF2-40B4-BE49-F238E27FC236}">
                          <a16:creationId xmlns:a16="http://schemas.microsoft.com/office/drawing/2014/main" id="{AA04F2C2-20B1-4D2D-B150-EB4D6D8B1E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419868" y="4769660"/>
                      <a:ext cx="299347" cy="299347"/>
                    </a:xfrm>
                    <a:custGeom>
                      <a:avLst/>
                      <a:gdLst>
                        <a:gd name="connsiteX0" fmla="*/ 149674 w 299347"/>
                        <a:gd name="connsiteY0" fmla="*/ 0 h 299347"/>
                        <a:gd name="connsiteX1" fmla="*/ 0 w 299347"/>
                        <a:gd name="connsiteY1" fmla="*/ 149674 h 299347"/>
                        <a:gd name="connsiteX2" fmla="*/ 149674 w 299347"/>
                        <a:gd name="connsiteY2" fmla="*/ 299348 h 299347"/>
                        <a:gd name="connsiteX3" fmla="*/ 299348 w 299347"/>
                        <a:gd name="connsiteY3" fmla="*/ 149674 h 299347"/>
                        <a:gd name="connsiteX4" fmla="*/ 149674 w 299347"/>
                        <a:gd name="connsiteY4" fmla="*/ 0 h 2993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9347" h="299347">
                          <a:moveTo>
                            <a:pt x="149674" y="0"/>
                          </a:moveTo>
                          <a:cubicBezTo>
                            <a:pt x="67500" y="0"/>
                            <a:pt x="0" y="67500"/>
                            <a:pt x="0" y="149674"/>
                          </a:cubicBezTo>
                          <a:cubicBezTo>
                            <a:pt x="0" y="231848"/>
                            <a:pt x="67500" y="299348"/>
                            <a:pt x="149674" y="299348"/>
                          </a:cubicBezTo>
                          <a:cubicBezTo>
                            <a:pt x="231848" y="299348"/>
                            <a:pt x="299348" y="231848"/>
                            <a:pt x="299348" y="149674"/>
                          </a:cubicBezTo>
                          <a:cubicBezTo>
                            <a:pt x="299348" y="67500"/>
                            <a:pt x="231848" y="0"/>
                            <a:pt x="149674" y="0"/>
                          </a:cubicBezTo>
                          <a:close/>
                        </a:path>
                      </a:pathLst>
                    </a:custGeom>
                    <a:solidFill>
                      <a:srgbClr val="7F95BC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96" name="任意多边形: 形状 95">
                    <a:extLst>
                      <a:ext uri="{FF2B5EF4-FFF2-40B4-BE49-F238E27FC236}">
                        <a16:creationId xmlns:a16="http://schemas.microsoft.com/office/drawing/2014/main" id="{55DAAE90-496E-435C-AB6F-E7BF8A4B7CB2}"/>
                      </a:ext>
                    </a:extLst>
                  </p:cNvPr>
                  <p:cNvSpPr/>
                  <p:nvPr/>
                </p:nvSpPr>
                <p:spPr>
                  <a:xfrm>
                    <a:off x="4595690" y="4819287"/>
                    <a:ext cx="79615" cy="126460"/>
                  </a:xfrm>
                  <a:custGeom>
                    <a:avLst/>
                    <a:gdLst>
                      <a:gd name="connsiteX0" fmla="*/ 64830 w 79615"/>
                      <a:gd name="connsiteY0" fmla="*/ 126460 h 126460"/>
                      <a:gd name="connsiteX1" fmla="*/ 64830 w 79615"/>
                      <a:gd name="connsiteY1" fmla="*/ 126460 h 126460"/>
                      <a:gd name="connsiteX2" fmla="*/ 50156 w 79615"/>
                      <a:gd name="connsiteY2" fmla="*/ 111786 h 126460"/>
                      <a:gd name="connsiteX3" fmla="*/ 6134 w 79615"/>
                      <a:gd name="connsiteY3" fmla="*/ 26678 h 126460"/>
                      <a:gd name="connsiteX4" fmla="*/ 3199 w 79615"/>
                      <a:gd name="connsiteY4" fmla="*/ 6134 h 126460"/>
                      <a:gd name="connsiteX5" fmla="*/ 23743 w 79615"/>
                      <a:gd name="connsiteY5" fmla="*/ 3199 h 126460"/>
                      <a:gd name="connsiteX6" fmla="*/ 79504 w 79615"/>
                      <a:gd name="connsiteY6" fmla="*/ 114721 h 126460"/>
                      <a:gd name="connsiteX7" fmla="*/ 64830 w 79615"/>
                      <a:gd name="connsiteY7" fmla="*/ 126460 h 1264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9615" h="126460">
                        <a:moveTo>
                          <a:pt x="64830" y="126460"/>
                        </a:moveTo>
                        <a:cubicBezTo>
                          <a:pt x="64830" y="126460"/>
                          <a:pt x="64830" y="126460"/>
                          <a:pt x="64830" y="126460"/>
                        </a:cubicBezTo>
                        <a:cubicBezTo>
                          <a:pt x="56026" y="126460"/>
                          <a:pt x="50156" y="120591"/>
                          <a:pt x="50156" y="111786"/>
                        </a:cubicBezTo>
                        <a:cubicBezTo>
                          <a:pt x="53091" y="58960"/>
                          <a:pt x="6134" y="26678"/>
                          <a:pt x="6134" y="26678"/>
                        </a:cubicBezTo>
                        <a:cubicBezTo>
                          <a:pt x="265" y="20808"/>
                          <a:pt x="-2670" y="12004"/>
                          <a:pt x="3199" y="6134"/>
                        </a:cubicBezTo>
                        <a:cubicBezTo>
                          <a:pt x="9069" y="265"/>
                          <a:pt x="17873" y="-2670"/>
                          <a:pt x="23743" y="3199"/>
                        </a:cubicBezTo>
                        <a:cubicBezTo>
                          <a:pt x="26678" y="6134"/>
                          <a:pt x="82439" y="44286"/>
                          <a:pt x="79504" y="114721"/>
                        </a:cubicBezTo>
                        <a:cubicBezTo>
                          <a:pt x="79504" y="120591"/>
                          <a:pt x="70699" y="126460"/>
                          <a:pt x="64830" y="126460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97" name="图形 1">
                  <a:extLst>
                    <a:ext uri="{FF2B5EF4-FFF2-40B4-BE49-F238E27FC236}">
                      <a16:creationId xmlns:a16="http://schemas.microsoft.com/office/drawing/2014/main" id="{022DE2CF-4F1C-4C5B-B1AE-3B97CDD4339E}"/>
                    </a:ext>
                  </a:extLst>
                </p:cNvPr>
                <p:cNvGrpSpPr/>
                <p:nvPr/>
              </p:nvGrpSpPr>
              <p:grpSpPr>
                <a:xfrm>
                  <a:off x="3190194" y="5653030"/>
                  <a:ext cx="299347" cy="352173"/>
                  <a:chOff x="3190194" y="5653030"/>
                  <a:chExt cx="299347" cy="352173"/>
                </a:xfrm>
              </p:grpSpPr>
              <p:grpSp>
                <p:nvGrpSpPr>
                  <p:cNvPr id="98" name="图形 1">
                    <a:extLst>
                      <a:ext uri="{FF2B5EF4-FFF2-40B4-BE49-F238E27FC236}">
                        <a16:creationId xmlns:a16="http://schemas.microsoft.com/office/drawing/2014/main" id="{022DE2CF-4F1C-4C5B-B1AE-3B97CDD4339E}"/>
                      </a:ext>
                    </a:extLst>
                  </p:cNvPr>
                  <p:cNvGrpSpPr/>
                  <p:nvPr/>
                </p:nvGrpSpPr>
                <p:grpSpPr>
                  <a:xfrm>
                    <a:off x="3190194" y="5653030"/>
                    <a:ext cx="299347" cy="352173"/>
                    <a:chOff x="3190194" y="5653030"/>
                    <a:chExt cx="299347" cy="352173"/>
                  </a:xfrm>
                </p:grpSpPr>
                <p:sp>
                  <p:nvSpPr>
                    <p:cNvPr id="99" name="任意多边形: 形状 98">
                      <a:extLst>
                        <a:ext uri="{FF2B5EF4-FFF2-40B4-BE49-F238E27FC236}">
                          <a16:creationId xmlns:a16="http://schemas.microsoft.com/office/drawing/2014/main" id="{F9EA0638-2CB6-4E2D-9061-BCDACA958E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295846" y="5653030"/>
                      <a:ext cx="85108" cy="132065"/>
                    </a:xfrm>
                    <a:custGeom>
                      <a:avLst/>
                      <a:gdLst>
                        <a:gd name="connsiteX0" fmla="*/ 73370 w 85108"/>
                        <a:gd name="connsiteY0" fmla="*/ 0 h 132065"/>
                        <a:gd name="connsiteX1" fmla="*/ 11739 w 85108"/>
                        <a:gd name="connsiteY1" fmla="*/ 0 h 132065"/>
                        <a:gd name="connsiteX2" fmla="*/ 0 w 85108"/>
                        <a:gd name="connsiteY2" fmla="*/ 11739 h 132065"/>
                        <a:gd name="connsiteX3" fmla="*/ 0 w 85108"/>
                        <a:gd name="connsiteY3" fmla="*/ 120326 h 132065"/>
                        <a:gd name="connsiteX4" fmla="*/ 11739 w 85108"/>
                        <a:gd name="connsiteY4" fmla="*/ 132065 h 132065"/>
                        <a:gd name="connsiteX5" fmla="*/ 73370 w 85108"/>
                        <a:gd name="connsiteY5" fmla="*/ 132065 h 132065"/>
                        <a:gd name="connsiteX6" fmla="*/ 85109 w 85108"/>
                        <a:gd name="connsiteY6" fmla="*/ 120326 h 132065"/>
                        <a:gd name="connsiteX7" fmla="*/ 85109 w 85108"/>
                        <a:gd name="connsiteY7" fmla="*/ 11739 h 132065"/>
                        <a:gd name="connsiteX8" fmla="*/ 73370 w 85108"/>
                        <a:gd name="connsiteY8" fmla="*/ 0 h 13206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5108" h="132065">
                          <a:moveTo>
                            <a:pt x="73370" y="0"/>
                          </a:moveTo>
                          <a:lnTo>
                            <a:pt x="11739" y="0"/>
                          </a:lnTo>
                          <a:cubicBezTo>
                            <a:pt x="5870" y="0"/>
                            <a:pt x="0" y="5869"/>
                            <a:pt x="0" y="11739"/>
                          </a:cubicBezTo>
                          <a:lnTo>
                            <a:pt x="0" y="120326"/>
                          </a:lnTo>
                          <a:cubicBezTo>
                            <a:pt x="0" y="126196"/>
                            <a:pt x="5870" y="132065"/>
                            <a:pt x="11739" y="132065"/>
                          </a:cubicBezTo>
                          <a:lnTo>
                            <a:pt x="73370" y="132065"/>
                          </a:lnTo>
                          <a:cubicBezTo>
                            <a:pt x="79239" y="132065"/>
                            <a:pt x="85109" y="126196"/>
                            <a:pt x="85109" y="120326"/>
                          </a:cubicBezTo>
                          <a:lnTo>
                            <a:pt x="85109" y="11739"/>
                          </a:lnTo>
                          <a:cubicBezTo>
                            <a:pt x="85109" y="2935"/>
                            <a:pt x="79239" y="0"/>
                            <a:pt x="73370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0" name="任意多边形: 形状 99">
                      <a:extLst>
                        <a:ext uri="{FF2B5EF4-FFF2-40B4-BE49-F238E27FC236}">
                          <a16:creationId xmlns:a16="http://schemas.microsoft.com/office/drawing/2014/main" id="{DC78D9A9-9DE6-4EE1-A12C-26341514F9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0194" y="5705856"/>
                      <a:ext cx="299347" cy="299347"/>
                    </a:xfrm>
                    <a:custGeom>
                      <a:avLst/>
                      <a:gdLst>
                        <a:gd name="connsiteX0" fmla="*/ 149674 w 299347"/>
                        <a:gd name="connsiteY0" fmla="*/ 0 h 299347"/>
                        <a:gd name="connsiteX1" fmla="*/ 0 w 299347"/>
                        <a:gd name="connsiteY1" fmla="*/ 149674 h 299347"/>
                        <a:gd name="connsiteX2" fmla="*/ 149674 w 299347"/>
                        <a:gd name="connsiteY2" fmla="*/ 299348 h 299347"/>
                        <a:gd name="connsiteX3" fmla="*/ 299348 w 299347"/>
                        <a:gd name="connsiteY3" fmla="*/ 149674 h 299347"/>
                        <a:gd name="connsiteX4" fmla="*/ 149674 w 299347"/>
                        <a:gd name="connsiteY4" fmla="*/ 0 h 2993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9347" h="299347">
                          <a:moveTo>
                            <a:pt x="149674" y="0"/>
                          </a:moveTo>
                          <a:cubicBezTo>
                            <a:pt x="67500" y="0"/>
                            <a:pt x="0" y="67500"/>
                            <a:pt x="0" y="149674"/>
                          </a:cubicBezTo>
                          <a:cubicBezTo>
                            <a:pt x="0" y="231848"/>
                            <a:pt x="67500" y="299348"/>
                            <a:pt x="149674" y="299348"/>
                          </a:cubicBezTo>
                          <a:cubicBezTo>
                            <a:pt x="231848" y="299348"/>
                            <a:pt x="299348" y="231848"/>
                            <a:pt x="299348" y="149674"/>
                          </a:cubicBezTo>
                          <a:cubicBezTo>
                            <a:pt x="299348" y="67500"/>
                            <a:pt x="231848" y="0"/>
                            <a:pt x="149674" y="0"/>
                          </a:cubicBezTo>
                          <a:close/>
                        </a:path>
                      </a:pathLst>
                    </a:custGeom>
                    <a:solidFill>
                      <a:srgbClr val="7F95BC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01" name="任意多边形: 形状 100">
                    <a:extLst>
                      <a:ext uri="{FF2B5EF4-FFF2-40B4-BE49-F238E27FC236}">
                        <a16:creationId xmlns:a16="http://schemas.microsoft.com/office/drawing/2014/main" id="{39D67F39-EB79-4AF2-A069-8D1B05CFBE87}"/>
                      </a:ext>
                    </a:extLst>
                  </p:cNvPr>
                  <p:cNvSpPr/>
                  <p:nvPr/>
                </p:nvSpPr>
                <p:spPr>
                  <a:xfrm>
                    <a:off x="3366016" y="5758418"/>
                    <a:ext cx="79615" cy="126460"/>
                  </a:xfrm>
                  <a:custGeom>
                    <a:avLst/>
                    <a:gdLst>
                      <a:gd name="connsiteX0" fmla="*/ 64830 w 79615"/>
                      <a:gd name="connsiteY0" fmla="*/ 126460 h 126460"/>
                      <a:gd name="connsiteX1" fmla="*/ 64830 w 79615"/>
                      <a:gd name="connsiteY1" fmla="*/ 126460 h 126460"/>
                      <a:gd name="connsiteX2" fmla="*/ 50156 w 79615"/>
                      <a:gd name="connsiteY2" fmla="*/ 111786 h 126460"/>
                      <a:gd name="connsiteX3" fmla="*/ 6134 w 79615"/>
                      <a:gd name="connsiteY3" fmla="*/ 26678 h 126460"/>
                      <a:gd name="connsiteX4" fmla="*/ 3199 w 79615"/>
                      <a:gd name="connsiteY4" fmla="*/ 6134 h 126460"/>
                      <a:gd name="connsiteX5" fmla="*/ 23743 w 79615"/>
                      <a:gd name="connsiteY5" fmla="*/ 3199 h 126460"/>
                      <a:gd name="connsiteX6" fmla="*/ 79504 w 79615"/>
                      <a:gd name="connsiteY6" fmla="*/ 114721 h 126460"/>
                      <a:gd name="connsiteX7" fmla="*/ 64830 w 79615"/>
                      <a:gd name="connsiteY7" fmla="*/ 126460 h 1264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9615" h="126460">
                        <a:moveTo>
                          <a:pt x="64830" y="126460"/>
                        </a:moveTo>
                        <a:cubicBezTo>
                          <a:pt x="64830" y="126460"/>
                          <a:pt x="64830" y="126460"/>
                          <a:pt x="64830" y="126460"/>
                        </a:cubicBezTo>
                        <a:cubicBezTo>
                          <a:pt x="56025" y="126460"/>
                          <a:pt x="50156" y="120591"/>
                          <a:pt x="50156" y="111786"/>
                        </a:cubicBezTo>
                        <a:cubicBezTo>
                          <a:pt x="53091" y="58960"/>
                          <a:pt x="6134" y="26678"/>
                          <a:pt x="6134" y="26678"/>
                        </a:cubicBezTo>
                        <a:cubicBezTo>
                          <a:pt x="265" y="20808"/>
                          <a:pt x="-2670" y="12004"/>
                          <a:pt x="3199" y="6134"/>
                        </a:cubicBezTo>
                        <a:cubicBezTo>
                          <a:pt x="9069" y="265"/>
                          <a:pt x="17873" y="-2670"/>
                          <a:pt x="23743" y="3199"/>
                        </a:cubicBezTo>
                        <a:cubicBezTo>
                          <a:pt x="26678" y="6134"/>
                          <a:pt x="82439" y="44287"/>
                          <a:pt x="79504" y="114721"/>
                        </a:cubicBezTo>
                        <a:cubicBezTo>
                          <a:pt x="79504" y="117656"/>
                          <a:pt x="73634" y="126460"/>
                          <a:pt x="64830" y="126460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02" name="图形 1">
                  <a:extLst>
                    <a:ext uri="{FF2B5EF4-FFF2-40B4-BE49-F238E27FC236}">
                      <a16:creationId xmlns:a16="http://schemas.microsoft.com/office/drawing/2014/main" id="{022DE2CF-4F1C-4C5B-B1AE-3B97CDD4339E}"/>
                    </a:ext>
                  </a:extLst>
                </p:cNvPr>
                <p:cNvGrpSpPr/>
                <p:nvPr/>
              </p:nvGrpSpPr>
              <p:grpSpPr>
                <a:xfrm>
                  <a:off x="4959868" y="5585530"/>
                  <a:ext cx="299347" cy="355108"/>
                  <a:chOff x="4959868" y="5585530"/>
                  <a:chExt cx="299347" cy="355108"/>
                </a:xfrm>
              </p:grpSpPr>
              <p:grpSp>
                <p:nvGrpSpPr>
                  <p:cNvPr id="103" name="图形 1">
                    <a:extLst>
                      <a:ext uri="{FF2B5EF4-FFF2-40B4-BE49-F238E27FC236}">
                        <a16:creationId xmlns:a16="http://schemas.microsoft.com/office/drawing/2014/main" id="{022DE2CF-4F1C-4C5B-B1AE-3B97CDD4339E}"/>
                      </a:ext>
                    </a:extLst>
                  </p:cNvPr>
                  <p:cNvGrpSpPr/>
                  <p:nvPr/>
                </p:nvGrpSpPr>
                <p:grpSpPr>
                  <a:xfrm>
                    <a:off x="4959868" y="5585530"/>
                    <a:ext cx="299347" cy="355108"/>
                    <a:chOff x="4959868" y="5585530"/>
                    <a:chExt cx="299347" cy="355108"/>
                  </a:xfrm>
                </p:grpSpPr>
                <p:sp>
                  <p:nvSpPr>
                    <p:cNvPr id="104" name="任意多边形: 形状 103">
                      <a:extLst>
                        <a:ext uri="{FF2B5EF4-FFF2-40B4-BE49-F238E27FC236}">
                          <a16:creationId xmlns:a16="http://schemas.microsoft.com/office/drawing/2014/main" id="{80A4C0FC-4771-442F-82F2-1253790A5B6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65520" y="5585530"/>
                      <a:ext cx="85108" cy="132065"/>
                    </a:xfrm>
                    <a:custGeom>
                      <a:avLst/>
                      <a:gdLst>
                        <a:gd name="connsiteX0" fmla="*/ 73370 w 85108"/>
                        <a:gd name="connsiteY0" fmla="*/ 0 h 132065"/>
                        <a:gd name="connsiteX1" fmla="*/ 11739 w 85108"/>
                        <a:gd name="connsiteY1" fmla="*/ 0 h 132065"/>
                        <a:gd name="connsiteX2" fmla="*/ 0 w 85108"/>
                        <a:gd name="connsiteY2" fmla="*/ 11739 h 132065"/>
                        <a:gd name="connsiteX3" fmla="*/ 0 w 85108"/>
                        <a:gd name="connsiteY3" fmla="*/ 120326 h 132065"/>
                        <a:gd name="connsiteX4" fmla="*/ 11739 w 85108"/>
                        <a:gd name="connsiteY4" fmla="*/ 132065 h 132065"/>
                        <a:gd name="connsiteX5" fmla="*/ 73370 w 85108"/>
                        <a:gd name="connsiteY5" fmla="*/ 132065 h 132065"/>
                        <a:gd name="connsiteX6" fmla="*/ 85109 w 85108"/>
                        <a:gd name="connsiteY6" fmla="*/ 120326 h 132065"/>
                        <a:gd name="connsiteX7" fmla="*/ 85109 w 85108"/>
                        <a:gd name="connsiteY7" fmla="*/ 11739 h 132065"/>
                        <a:gd name="connsiteX8" fmla="*/ 73370 w 85108"/>
                        <a:gd name="connsiteY8" fmla="*/ 0 h 13206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5108" h="132065">
                          <a:moveTo>
                            <a:pt x="73370" y="0"/>
                          </a:moveTo>
                          <a:lnTo>
                            <a:pt x="11739" y="0"/>
                          </a:lnTo>
                          <a:cubicBezTo>
                            <a:pt x="5870" y="0"/>
                            <a:pt x="0" y="5869"/>
                            <a:pt x="0" y="11739"/>
                          </a:cubicBezTo>
                          <a:lnTo>
                            <a:pt x="0" y="120326"/>
                          </a:lnTo>
                          <a:cubicBezTo>
                            <a:pt x="0" y="126196"/>
                            <a:pt x="5870" y="132065"/>
                            <a:pt x="11739" y="132065"/>
                          </a:cubicBezTo>
                          <a:lnTo>
                            <a:pt x="73370" y="132065"/>
                          </a:lnTo>
                          <a:cubicBezTo>
                            <a:pt x="79239" y="132065"/>
                            <a:pt x="85109" y="126196"/>
                            <a:pt x="85109" y="120326"/>
                          </a:cubicBezTo>
                          <a:lnTo>
                            <a:pt x="85109" y="11739"/>
                          </a:lnTo>
                          <a:cubicBezTo>
                            <a:pt x="85109" y="5869"/>
                            <a:pt x="79239" y="0"/>
                            <a:pt x="73370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5" name="任意多边形: 形状 104">
                      <a:extLst>
                        <a:ext uri="{FF2B5EF4-FFF2-40B4-BE49-F238E27FC236}">
                          <a16:creationId xmlns:a16="http://schemas.microsoft.com/office/drawing/2014/main" id="{1267729D-0727-46EE-AFBB-8355BA910A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959868" y="5641291"/>
                      <a:ext cx="299347" cy="299347"/>
                    </a:xfrm>
                    <a:custGeom>
                      <a:avLst/>
                      <a:gdLst>
                        <a:gd name="connsiteX0" fmla="*/ 149674 w 299347"/>
                        <a:gd name="connsiteY0" fmla="*/ 0 h 299347"/>
                        <a:gd name="connsiteX1" fmla="*/ 0 w 299347"/>
                        <a:gd name="connsiteY1" fmla="*/ 149674 h 299347"/>
                        <a:gd name="connsiteX2" fmla="*/ 149674 w 299347"/>
                        <a:gd name="connsiteY2" fmla="*/ 299348 h 299347"/>
                        <a:gd name="connsiteX3" fmla="*/ 299348 w 299347"/>
                        <a:gd name="connsiteY3" fmla="*/ 149674 h 299347"/>
                        <a:gd name="connsiteX4" fmla="*/ 149674 w 299347"/>
                        <a:gd name="connsiteY4" fmla="*/ 0 h 2993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9347" h="299347">
                          <a:moveTo>
                            <a:pt x="149674" y="0"/>
                          </a:moveTo>
                          <a:cubicBezTo>
                            <a:pt x="67500" y="0"/>
                            <a:pt x="0" y="67500"/>
                            <a:pt x="0" y="149674"/>
                          </a:cubicBezTo>
                          <a:cubicBezTo>
                            <a:pt x="0" y="231848"/>
                            <a:pt x="67500" y="299348"/>
                            <a:pt x="149674" y="299348"/>
                          </a:cubicBezTo>
                          <a:cubicBezTo>
                            <a:pt x="231848" y="299348"/>
                            <a:pt x="299348" y="231848"/>
                            <a:pt x="299348" y="149674"/>
                          </a:cubicBezTo>
                          <a:cubicBezTo>
                            <a:pt x="299348" y="67500"/>
                            <a:pt x="231848" y="0"/>
                            <a:pt x="149674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06" name="任意多边形: 形状 105">
                    <a:extLst>
                      <a:ext uri="{FF2B5EF4-FFF2-40B4-BE49-F238E27FC236}">
                        <a16:creationId xmlns:a16="http://schemas.microsoft.com/office/drawing/2014/main" id="{7414B4AF-D43F-4F98-B87B-E03F617E2E74}"/>
                      </a:ext>
                    </a:extLst>
                  </p:cNvPr>
                  <p:cNvSpPr/>
                  <p:nvPr/>
                </p:nvSpPr>
                <p:spPr>
                  <a:xfrm>
                    <a:off x="5135690" y="5690917"/>
                    <a:ext cx="79615" cy="126460"/>
                  </a:xfrm>
                  <a:custGeom>
                    <a:avLst/>
                    <a:gdLst>
                      <a:gd name="connsiteX0" fmla="*/ 64830 w 79615"/>
                      <a:gd name="connsiteY0" fmla="*/ 126461 h 126460"/>
                      <a:gd name="connsiteX1" fmla="*/ 64830 w 79615"/>
                      <a:gd name="connsiteY1" fmla="*/ 126461 h 126460"/>
                      <a:gd name="connsiteX2" fmla="*/ 50156 w 79615"/>
                      <a:gd name="connsiteY2" fmla="*/ 111787 h 126460"/>
                      <a:gd name="connsiteX3" fmla="*/ 6134 w 79615"/>
                      <a:gd name="connsiteY3" fmla="*/ 26678 h 126460"/>
                      <a:gd name="connsiteX4" fmla="*/ 3199 w 79615"/>
                      <a:gd name="connsiteY4" fmla="*/ 6134 h 126460"/>
                      <a:gd name="connsiteX5" fmla="*/ 23743 w 79615"/>
                      <a:gd name="connsiteY5" fmla="*/ 3199 h 126460"/>
                      <a:gd name="connsiteX6" fmla="*/ 79504 w 79615"/>
                      <a:gd name="connsiteY6" fmla="*/ 114721 h 126460"/>
                      <a:gd name="connsiteX7" fmla="*/ 64830 w 79615"/>
                      <a:gd name="connsiteY7" fmla="*/ 126461 h 1264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9615" h="126460">
                        <a:moveTo>
                          <a:pt x="64830" y="126461"/>
                        </a:moveTo>
                        <a:cubicBezTo>
                          <a:pt x="64830" y="126461"/>
                          <a:pt x="64830" y="126461"/>
                          <a:pt x="64830" y="126461"/>
                        </a:cubicBezTo>
                        <a:cubicBezTo>
                          <a:pt x="56026" y="126461"/>
                          <a:pt x="50156" y="120591"/>
                          <a:pt x="50156" y="111787"/>
                        </a:cubicBezTo>
                        <a:cubicBezTo>
                          <a:pt x="53091" y="58960"/>
                          <a:pt x="6134" y="26678"/>
                          <a:pt x="6134" y="26678"/>
                        </a:cubicBezTo>
                        <a:cubicBezTo>
                          <a:pt x="265" y="20808"/>
                          <a:pt x="-2670" y="12004"/>
                          <a:pt x="3199" y="6134"/>
                        </a:cubicBezTo>
                        <a:cubicBezTo>
                          <a:pt x="9069" y="265"/>
                          <a:pt x="17873" y="-2670"/>
                          <a:pt x="23743" y="3199"/>
                        </a:cubicBezTo>
                        <a:cubicBezTo>
                          <a:pt x="26678" y="6134"/>
                          <a:pt x="82439" y="44287"/>
                          <a:pt x="79504" y="114721"/>
                        </a:cubicBezTo>
                        <a:cubicBezTo>
                          <a:pt x="79504" y="120591"/>
                          <a:pt x="73634" y="126461"/>
                          <a:pt x="64830" y="126461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07" name="图形 1">
                  <a:extLst>
                    <a:ext uri="{FF2B5EF4-FFF2-40B4-BE49-F238E27FC236}">
                      <a16:creationId xmlns:a16="http://schemas.microsoft.com/office/drawing/2014/main" id="{022DE2CF-4F1C-4C5B-B1AE-3B97CDD4339E}"/>
                    </a:ext>
                  </a:extLst>
                </p:cNvPr>
                <p:cNvGrpSpPr/>
                <p:nvPr/>
              </p:nvGrpSpPr>
              <p:grpSpPr>
                <a:xfrm>
                  <a:off x="3727259" y="3994878"/>
                  <a:ext cx="299347" cy="355108"/>
                  <a:chOff x="3727259" y="3994878"/>
                  <a:chExt cx="299347" cy="355108"/>
                </a:xfrm>
              </p:grpSpPr>
              <p:grpSp>
                <p:nvGrpSpPr>
                  <p:cNvPr id="108" name="图形 1">
                    <a:extLst>
                      <a:ext uri="{FF2B5EF4-FFF2-40B4-BE49-F238E27FC236}">
                        <a16:creationId xmlns:a16="http://schemas.microsoft.com/office/drawing/2014/main" id="{022DE2CF-4F1C-4C5B-B1AE-3B97CDD4339E}"/>
                      </a:ext>
                    </a:extLst>
                  </p:cNvPr>
                  <p:cNvGrpSpPr/>
                  <p:nvPr/>
                </p:nvGrpSpPr>
                <p:grpSpPr>
                  <a:xfrm>
                    <a:off x="3727259" y="3994878"/>
                    <a:ext cx="299347" cy="355108"/>
                    <a:chOff x="3727259" y="3994878"/>
                    <a:chExt cx="299347" cy="355108"/>
                  </a:xfrm>
                </p:grpSpPr>
                <p:sp>
                  <p:nvSpPr>
                    <p:cNvPr id="109" name="任意多边形: 形状 108">
                      <a:extLst>
                        <a:ext uri="{FF2B5EF4-FFF2-40B4-BE49-F238E27FC236}">
                          <a16:creationId xmlns:a16="http://schemas.microsoft.com/office/drawing/2014/main" id="{B5E8B401-D8A5-4FB6-8297-A7724EC521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32911" y="3994878"/>
                      <a:ext cx="85108" cy="132065"/>
                    </a:xfrm>
                    <a:custGeom>
                      <a:avLst/>
                      <a:gdLst>
                        <a:gd name="connsiteX0" fmla="*/ 73370 w 85108"/>
                        <a:gd name="connsiteY0" fmla="*/ 0 h 132065"/>
                        <a:gd name="connsiteX1" fmla="*/ 11739 w 85108"/>
                        <a:gd name="connsiteY1" fmla="*/ 0 h 132065"/>
                        <a:gd name="connsiteX2" fmla="*/ 0 w 85108"/>
                        <a:gd name="connsiteY2" fmla="*/ 11739 h 132065"/>
                        <a:gd name="connsiteX3" fmla="*/ 0 w 85108"/>
                        <a:gd name="connsiteY3" fmla="*/ 120326 h 132065"/>
                        <a:gd name="connsiteX4" fmla="*/ 11739 w 85108"/>
                        <a:gd name="connsiteY4" fmla="*/ 132065 h 132065"/>
                        <a:gd name="connsiteX5" fmla="*/ 73370 w 85108"/>
                        <a:gd name="connsiteY5" fmla="*/ 132065 h 132065"/>
                        <a:gd name="connsiteX6" fmla="*/ 85109 w 85108"/>
                        <a:gd name="connsiteY6" fmla="*/ 120326 h 132065"/>
                        <a:gd name="connsiteX7" fmla="*/ 85109 w 85108"/>
                        <a:gd name="connsiteY7" fmla="*/ 11739 h 132065"/>
                        <a:gd name="connsiteX8" fmla="*/ 73370 w 85108"/>
                        <a:gd name="connsiteY8" fmla="*/ 0 h 13206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5108" h="132065">
                          <a:moveTo>
                            <a:pt x="73370" y="0"/>
                          </a:moveTo>
                          <a:lnTo>
                            <a:pt x="11739" y="0"/>
                          </a:lnTo>
                          <a:cubicBezTo>
                            <a:pt x="5870" y="0"/>
                            <a:pt x="0" y="5869"/>
                            <a:pt x="0" y="11739"/>
                          </a:cubicBezTo>
                          <a:lnTo>
                            <a:pt x="0" y="120326"/>
                          </a:lnTo>
                          <a:cubicBezTo>
                            <a:pt x="0" y="126196"/>
                            <a:pt x="5870" y="132065"/>
                            <a:pt x="11739" y="132065"/>
                          </a:cubicBezTo>
                          <a:lnTo>
                            <a:pt x="73370" y="132065"/>
                          </a:lnTo>
                          <a:cubicBezTo>
                            <a:pt x="79239" y="132065"/>
                            <a:pt x="85109" y="126196"/>
                            <a:pt x="85109" y="120326"/>
                          </a:cubicBezTo>
                          <a:lnTo>
                            <a:pt x="85109" y="11739"/>
                          </a:lnTo>
                          <a:cubicBezTo>
                            <a:pt x="85109" y="5869"/>
                            <a:pt x="79239" y="0"/>
                            <a:pt x="73370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0" name="任意多边形: 形状 109">
                      <a:extLst>
                        <a:ext uri="{FF2B5EF4-FFF2-40B4-BE49-F238E27FC236}">
                          <a16:creationId xmlns:a16="http://schemas.microsoft.com/office/drawing/2014/main" id="{FD8B8B36-1461-4D4C-B85B-FFD22407714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727259" y="4050639"/>
                      <a:ext cx="299347" cy="299347"/>
                    </a:xfrm>
                    <a:custGeom>
                      <a:avLst/>
                      <a:gdLst>
                        <a:gd name="connsiteX0" fmla="*/ 149674 w 299347"/>
                        <a:gd name="connsiteY0" fmla="*/ 0 h 299347"/>
                        <a:gd name="connsiteX1" fmla="*/ 0 w 299347"/>
                        <a:gd name="connsiteY1" fmla="*/ 149674 h 299347"/>
                        <a:gd name="connsiteX2" fmla="*/ 149674 w 299347"/>
                        <a:gd name="connsiteY2" fmla="*/ 299348 h 299347"/>
                        <a:gd name="connsiteX3" fmla="*/ 299348 w 299347"/>
                        <a:gd name="connsiteY3" fmla="*/ 149674 h 299347"/>
                        <a:gd name="connsiteX4" fmla="*/ 149674 w 299347"/>
                        <a:gd name="connsiteY4" fmla="*/ 0 h 2993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9347" h="299347">
                          <a:moveTo>
                            <a:pt x="149674" y="0"/>
                          </a:moveTo>
                          <a:cubicBezTo>
                            <a:pt x="67500" y="0"/>
                            <a:pt x="0" y="67500"/>
                            <a:pt x="0" y="149674"/>
                          </a:cubicBezTo>
                          <a:cubicBezTo>
                            <a:pt x="0" y="231848"/>
                            <a:pt x="67500" y="299348"/>
                            <a:pt x="149674" y="299348"/>
                          </a:cubicBezTo>
                          <a:cubicBezTo>
                            <a:pt x="231848" y="299348"/>
                            <a:pt x="299348" y="231848"/>
                            <a:pt x="299348" y="149674"/>
                          </a:cubicBezTo>
                          <a:cubicBezTo>
                            <a:pt x="299348" y="67500"/>
                            <a:pt x="231848" y="0"/>
                            <a:pt x="149674" y="0"/>
                          </a:cubicBezTo>
                          <a:close/>
                        </a:path>
                      </a:pathLst>
                    </a:custGeom>
                    <a:solidFill>
                      <a:srgbClr val="7F95BC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11" name="任意多边形: 形状 110">
                    <a:extLst>
                      <a:ext uri="{FF2B5EF4-FFF2-40B4-BE49-F238E27FC236}">
                        <a16:creationId xmlns:a16="http://schemas.microsoft.com/office/drawing/2014/main" id="{03E268AB-48DE-483C-A7F8-D8F897779D7F}"/>
                      </a:ext>
                    </a:extLst>
                  </p:cNvPr>
                  <p:cNvSpPr/>
                  <p:nvPr/>
                </p:nvSpPr>
                <p:spPr>
                  <a:xfrm>
                    <a:off x="3903082" y="4100265"/>
                    <a:ext cx="79615" cy="126460"/>
                  </a:xfrm>
                  <a:custGeom>
                    <a:avLst/>
                    <a:gdLst>
                      <a:gd name="connsiteX0" fmla="*/ 64830 w 79615"/>
                      <a:gd name="connsiteY0" fmla="*/ 126460 h 126460"/>
                      <a:gd name="connsiteX1" fmla="*/ 64830 w 79615"/>
                      <a:gd name="connsiteY1" fmla="*/ 126460 h 126460"/>
                      <a:gd name="connsiteX2" fmla="*/ 50156 w 79615"/>
                      <a:gd name="connsiteY2" fmla="*/ 111786 h 126460"/>
                      <a:gd name="connsiteX3" fmla="*/ 6134 w 79615"/>
                      <a:gd name="connsiteY3" fmla="*/ 26678 h 126460"/>
                      <a:gd name="connsiteX4" fmla="*/ 3199 w 79615"/>
                      <a:gd name="connsiteY4" fmla="*/ 6134 h 126460"/>
                      <a:gd name="connsiteX5" fmla="*/ 23743 w 79615"/>
                      <a:gd name="connsiteY5" fmla="*/ 3199 h 126460"/>
                      <a:gd name="connsiteX6" fmla="*/ 79504 w 79615"/>
                      <a:gd name="connsiteY6" fmla="*/ 114721 h 126460"/>
                      <a:gd name="connsiteX7" fmla="*/ 64830 w 79615"/>
                      <a:gd name="connsiteY7" fmla="*/ 126460 h 1264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9615" h="126460">
                        <a:moveTo>
                          <a:pt x="64830" y="126460"/>
                        </a:moveTo>
                        <a:cubicBezTo>
                          <a:pt x="64830" y="126460"/>
                          <a:pt x="64830" y="126460"/>
                          <a:pt x="64830" y="126460"/>
                        </a:cubicBezTo>
                        <a:cubicBezTo>
                          <a:pt x="56026" y="126460"/>
                          <a:pt x="50156" y="120591"/>
                          <a:pt x="50156" y="111786"/>
                        </a:cubicBezTo>
                        <a:cubicBezTo>
                          <a:pt x="53091" y="58960"/>
                          <a:pt x="6134" y="26678"/>
                          <a:pt x="6134" y="26678"/>
                        </a:cubicBezTo>
                        <a:cubicBezTo>
                          <a:pt x="265" y="20808"/>
                          <a:pt x="-2670" y="12004"/>
                          <a:pt x="3199" y="6134"/>
                        </a:cubicBezTo>
                        <a:cubicBezTo>
                          <a:pt x="9069" y="265"/>
                          <a:pt x="17873" y="-2670"/>
                          <a:pt x="23743" y="3199"/>
                        </a:cubicBezTo>
                        <a:cubicBezTo>
                          <a:pt x="26678" y="6134"/>
                          <a:pt x="82439" y="44286"/>
                          <a:pt x="79504" y="114721"/>
                        </a:cubicBezTo>
                        <a:cubicBezTo>
                          <a:pt x="79504" y="120591"/>
                          <a:pt x="73634" y="126460"/>
                          <a:pt x="64830" y="126460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12" name="图形 1">
                  <a:extLst>
                    <a:ext uri="{FF2B5EF4-FFF2-40B4-BE49-F238E27FC236}">
                      <a16:creationId xmlns:a16="http://schemas.microsoft.com/office/drawing/2014/main" id="{022DE2CF-4F1C-4C5B-B1AE-3B97CDD4339E}"/>
                    </a:ext>
                  </a:extLst>
                </p:cNvPr>
                <p:cNvGrpSpPr/>
                <p:nvPr/>
              </p:nvGrpSpPr>
              <p:grpSpPr>
                <a:xfrm>
                  <a:off x="4217368" y="3252378"/>
                  <a:ext cx="299347" cy="355108"/>
                  <a:chOff x="4217368" y="3252378"/>
                  <a:chExt cx="299347" cy="355108"/>
                </a:xfrm>
              </p:grpSpPr>
              <p:grpSp>
                <p:nvGrpSpPr>
                  <p:cNvPr id="113" name="图形 1">
                    <a:extLst>
                      <a:ext uri="{FF2B5EF4-FFF2-40B4-BE49-F238E27FC236}">
                        <a16:creationId xmlns:a16="http://schemas.microsoft.com/office/drawing/2014/main" id="{022DE2CF-4F1C-4C5B-B1AE-3B97CDD4339E}"/>
                      </a:ext>
                    </a:extLst>
                  </p:cNvPr>
                  <p:cNvGrpSpPr/>
                  <p:nvPr/>
                </p:nvGrpSpPr>
                <p:grpSpPr>
                  <a:xfrm>
                    <a:off x="4217368" y="3252378"/>
                    <a:ext cx="299347" cy="355108"/>
                    <a:chOff x="4217368" y="3252378"/>
                    <a:chExt cx="299347" cy="355108"/>
                  </a:xfrm>
                </p:grpSpPr>
                <p:sp>
                  <p:nvSpPr>
                    <p:cNvPr id="114" name="任意多边形: 形状 113">
                      <a:extLst>
                        <a:ext uri="{FF2B5EF4-FFF2-40B4-BE49-F238E27FC236}">
                          <a16:creationId xmlns:a16="http://schemas.microsoft.com/office/drawing/2014/main" id="{5F3D8DB3-28C5-4AA0-84DE-EAA9773D0A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25955" y="3252378"/>
                      <a:ext cx="85108" cy="132065"/>
                    </a:xfrm>
                    <a:custGeom>
                      <a:avLst/>
                      <a:gdLst>
                        <a:gd name="connsiteX0" fmla="*/ 73370 w 85108"/>
                        <a:gd name="connsiteY0" fmla="*/ 0 h 132065"/>
                        <a:gd name="connsiteX1" fmla="*/ 11739 w 85108"/>
                        <a:gd name="connsiteY1" fmla="*/ 0 h 132065"/>
                        <a:gd name="connsiteX2" fmla="*/ 0 w 85108"/>
                        <a:gd name="connsiteY2" fmla="*/ 11739 h 132065"/>
                        <a:gd name="connsiteX3" fmla="*/ 0 w 85108"/>
                        <a:gd name="connsiteY3" fmla="*/ 120326 h 132065"/>
                        <a:gd name="connsiteX4" fmla="*/ 11739 w 85108"/>
                        <a:gd name="connsiteY4" fmla="*/ 132065 h 132065"/>
                        <a:gd name="connsiteX5" fmla="*/ 73370 w 85108"/>
                        <a:gd name="connsiteY5" fmla="*/ 132065 h 132065"/>
                        <a:gd name="connsiteX6" fmla="*/ 85109 w 85108"/>
                        <a:gd name="connsiteY6" fmla="*/ 120326 h 132065"/>
                        <a:gd name="connsiteX7" fmla="*/ 85109 w 85108"/>
                        <a:gd name="connsiteY7" fmla="*/ 11739 h 132065"/>
                        <a:gd name="connsiteX8" fmla="*/ 73370 w 85108"/>
                        <a:gd name="connsiteY8" fmla="*/ 0 h 13206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5108" h="132065">
                          <a:moveTo>
                            <a:pt x="73370" y="0"/>
                          </a:moveTo>
                          <a:lnTo>
                            <a:pt x="11739" y="0"/>
                          </a:lnTo>
                          <a:cubicBezTo>
                            <a:pt x="5869" y="0"/>
                            <a:pt x="0" y="5870"/>
                            <a:pt x="0" y="11739"/>
                          </a:cubicBezTo>
                          <a:lnTo>
                            <a:pt x="0" y="120326"/>
                          </a:lnTo>
                          <a:cubicBezTo>
                            <a:pt x="0" y="126196"/>
                            <a:pt x="5869" y="132065"/>
                            <a:pt x="11739" y="132065"/>
                          </a:cubicBezTo>
                          <a:lnTo>
                            <a:pt x="73370" y="132065"/>
                          </a:lnTo>
                          <a:cubicBezTo>
                            <a:pt x="79239" y="132065"/>
                            <a:pt x="85109" y="126196"/>
                            <a:pt x="85109" y="120326"/>
                          </a:cubicBezTo>
                          <a:lnTo>
                            <a:pt x="85109" y="11739"/>
                          </a:lnTo>
                          <a:cubicBezTo>
                            <a:pt x="82174" y="5870"/>
                            <a:pt x="79239" y="0"/>
                            <a:pt x="73370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5" name="任意多边形: 形状 114">
                      <a:extLst>
                        <a:ext uri="{FF2B5EF4-FFF2-40B4-BE49-F238E27FC236}">
                          <a16:creationId xmlns:a16="http://schemas.microsoft.com/office/drawing/2014/main" id="{47FE1ADD-F105-4A1E-B51E-E5A56EC331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217368" y="3308139"/>
                      <a:ext cx="299347" cy="299347"/>
                    </a:xfrm>
                    <a:custGeom>
                      <a:avLst/>
                      <a:gdLst>
                        <a:gd name="connsiteX0" fmla="*/ 149674 w 299347"/>
                        <a:gd name="connsiteY0" fmla="*/ 0 h 299347"/>
                        <a:gd name="connsiteX1" fmla="*/ 0 w 299347"/>
                        <a:gd name="connsiteY1" fmla="*/ 149674 h 299347"/>
                        <a:gd name="connsiteX2" fmla="*/ 149674 w 299347"/>
                        <a:gd name="connsiteY2" fmla="*/ 299348 h 299347"/>
                        <a:gd name="connsiteX3" fmla="*/ 299348 w 299347"/>
                        <a:gd name="connsiteY3" fmla="*/ 149674 h 299347"/>
                        <a:gd name="connsiteX4" fmla="*/ 149674 w 299347"/>
                        <a:gd name="connsiteY4" fmla="*/ 0 h 2993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9347" h="299347">
                          <a:moveTo>
                            <a:pt x="149674" y="0"/>
                          </a:moveTo>
                          <a:cubicBezTo>
                            <a:pt x="67500" y="0"/>
                            <a:pt x="0" y="67500"/>
                            <a:pt x="0" y="149674"/>
                          </a:cubicBezTo>
                          <a:cubicBezTo>
                            <a:pt x="0" y="231848"/>
                            <a:pt x="67500" y="299348"/>
                            <a:pt x="149674" y="299348"/>
                          </a:cubicBezTo>
                          <a:cubicBezTo>
                            <a:pt x="231848" y="299348"/>
                            <a:pt x="299348" y="231848"/>
                            <a:pt x="299348" y="149674"/>
                          </a:cubicBezTo>
                          <a:cubicBezTo>
                            <a:pt x="299348" y="67500"/>
                            <a:pt x="231848" y="0"/>
                            <a:pt x="149674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16" name="任意多边形: 形状 115">
                    <a:extLst>
                      <a:ext uri="{FF2B5EF4-FFF2-40B4-BE49-F238E27FC236}">
                        <a16:creationId xmlns:a16="http://schemas.microsoft.com/office/drawing/2014/main" id="{E94618D4-AC5D-4405-86FA-69C41FD41FF5}"/>
                      </a:ext>
                    </a:extLst>
                  </p:cNvPr>
                  <p:cNvSpPr/>
                  <p:nvPr/>
                </p:nvSpPr>
                <p:spPr>
                  <a:xfrm>
                    <a:off x="4393190" y="3357765"/>
                    <a:ext cx="79615" cy="126460"/>
                  </a:xfrm>
                  <a:custGeom>
                    <a:avLst/>
                    <a:gdLst>
                      <a:gd name="connsiteX0" fmla="*/ 64830 w 79615"/>
                      <a:gd name="connsiteY0" fmla="*/ 126460 h 126460"/>
                      <a:gd name="connsiteX1" fmla="*/ 64830 w 79615"/>
                      <a:gd name="connsiteY1" fmla="*/ 126460 h 126460"/>
                      <a:gd name="connsiteX2" fmla="*/ 50156 w 79615"/>
                      <a:gd name="connsiteY2" fmla="*/ 111786 h 126460"/>
                      <a:gd name="connsiteX3" fmla="*/ 6134 w 79615"/>
                      <a:gd name="connsiteY3" fmla="*/ 26678 h 126460"/>
                      <a:gd name="connsiteX4" fmla="*/ 3200 w 79615"/>
                      <a:gd name="connsiteY4" fmla="*/ 6134 h 126460"/>
                      <a:gd name="connsiteX5" fmla="*/ 23743 w 79615"/>
                      <a:gd name="connsiteY5" fmla="*/ 3199 h 126460"/>
                      <a:gd name="connsiteX6" fmla="*/ 79504 w 79615"/>
                      <a:gd name="connsiteY6" fmla="*/ 114721 h 126460"/>
                      <a:gd name="connsiteX7" fmla="*/ 64830 w 79615"/>
                      <a:gd name="connsiteY7" fmla="*/ 126460 h 1264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9615" h="126460">
                        <a:moveTo>
                          <a:pt x="64830" y="126460"/>
                        </a:moveTo>
                        <a:cubicBezTo>
                          <a:pt x="64830" y="126460"/>
                          <a:pt x="64830" y="126460"/>
                          <a:pt x="64830" y="126460"/>
                        </a:cubicBezTo>
                        <a:cubicBezTo>
                          <a:pt x="56025" y="126460"/>
                          <a:pt x="50156" y="120591"/>
                          <a:pt x="50156" y="111786"/>
                        </a:cubicBezTo>
                        <a:cubicBezTo>
                          <a:pt x="53091" y="58960"/>
                          <a:pt x="6134" y="26678"/>
                          <a:pt x="6134" y="26678"/>
                        </a:cubicBezTo>
                        <a:cubicBezTo>
                          <a:pt x="265" y="20808"/>
                          <a:pt x="-2670" y="12004"/>
                          <a:pt x="3200" y="6134"/>
                        </a:cubicBezTo>
                        <a:cubicBezTo>
                          <a:pt x="9069" y="265"/>
                          <a:pt x="17873" y="-2670"/>
                          <a:pt x="23743" y="3199"/>
                        </a:cubicBezTo>
                        <a:cubicBezTo>
                          <a:pt x="26678" y="6134"/>
                          <a:pt x="82439" y="44286"/>
                          <a:pt x="79504" y="114721"/>
                        </a:cubicBezTo>
                        <a:cubicBezTo>
                          <a:pt x="79504" y="120591"/>
                          <a:pt x="73634" y="126460"/>
                          <a:pt x="64830" y="126460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117" name="图形 1">
                <a:extLst>
                  <a:ext uri="{FF2B5EF4-FFF2-40B4-BE49-F238E27FC236}">
                    <a16:creationId xmlns:a16="http://schemas.microsoft.com/office/drawing/2014/main" id="{022DE2CF-4F1C-4C5B-B1AE-3B97CDD4339E}"/>
                  </a:ext>
                </a:extLst>
              </p:cNvPr>
              <p:cNvGrpSpPr/>
              <p:nvPr/>
            </p:nvGrpSpPr>
            <p:grpSpPr>
              <a:xfrm>
                <a:off x="3316390" y="5698207"/>
                <a:ext cx="933260" cy="976127"/>
                <a:chOff x="3316390" y="5698207"/>
                <a:chExt cx="933260" cy="976127"/>
              </a:xfrm>
            </p:grpSpPr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54DAE10C-F4D8-4BFE-9A6E-C104C50C122C}"/>
                    </a:ext>
                  </a:extLst>
                </p:cNvPr>
                <p:cNvSpPr/>
                <p:nvPr/>
              </p:nvSpPr>
              <p:spPr>
                <a:xfrm>
                  <a:off x="3483672" y="6093247"/>
                  <a:ext cx="765978" cy="581086"/>
                </a:xfrm>
                <a:custGeom>
                  <a:avLst/>
                  <a:gdLst>
                    <a:gd name="connsiteX0" fmla="*/ 0 w 765978"/>
                    <a:gd name="connsiteY0" fmla="*/ 0 h 581086"/>
                    <a:gd name="connsiteX1" fmla="*/ 765978 w 765978"/>
                    <a:gd name="connsiteY1" fmla="*/ 0 h 581086"/>
                    <a:gd name="connsiteX2" fmla="*/ 765978 w 765978"/>
                    <a:gd name="connsiteY2" fmla="*/ 581087 h 581086"/>
                    <a:gd name="connsiteX3" fmla="*/ 0 w 765978"/>
                    <a:gd name="connsiteY3" fmla="*/ 581087 h 5810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65978" h="581086">
                      <a:moveTo>
                        <a:pt x="0" y="0"/>
                      </a:moveTo>
                      <a:lnTo>
                        <a:pt x="765978" y="0"/>
                      </a:lnTo>
                      <a:lnTo>
                        <a:pt x="765978" y="581087"/>
                      </a:lnTo>
                      <a:lnTo>
                        <a:pt x="0" y="581087"/>
                      </a:lnTo>
                      <a:close/>
                    </a:path>
                  </a:pathLst>
                </a:custGeom>
                <a:solidFill>
                  <a:srgbClr val="C4544E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CAF488B1-A0EC-4EE2-A00C-BB38211A7F51}"/>
                    </a:ext>
                  </a:extLst>
                </p:cNvPr>
                <p:cNvSpPr/>
                <p:nvPr/>
              </p:nvSpPr>
              <p:spPr>
                <a:xfrm>
                  <a:off x="3316390" y="6093247"/>
                  <a:ext cx="765978" cy="581086"/>
                </a:xfrm>
                <a:custGeom>
                  <a:avLst/>
                  <a:gdLst>
                    <a:gd name="connsiteX0" fmla="*/ 0 w 765978"/>
                    <a:gd name="connsiteY0" fmla="*/ 0 h 581086"/>
                    <a:gd name="connsiteX1" fmla="*/ 765978 w 765978"/>
                    <a:gd name="connsiteY1" fmla="*/ 0 h 581086"/>
                    <a:gd name="connsiteX2" fmla="*/ 765978 w 765978"/>
                    <a:gd name="connsiteY2" fmla="*/ 581087 h 581086"/>
                    <a:gd name="connsiteX3" fmla="*/ 0 w 765978"/>
                    <a:gd name="connsiteY3" fmla="*/ 581087 h 5810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65978" h="581086">
                      <a:moveTo>
                        <a:pt x="0" y="0"/>
                      </a:moveTo>
                      <a:lnTo>
                        <a:pt x="765978" y="0"/>
                      </a:lnTo>
                      <a:lnTo>
                        <a:pt x="765978" y="581087"/>
                      </a:lnTo>
                      <a:lnTo>
                        <a:pt x="0" y="581087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F78F2F25-797B-4CD2-A79C-E93B5D72E5A7}"/>
                    </a:ext>
                  </a:extLst>
                </p:cNvPr>
                <p:cNvSpPr/>
                <p:nvPr/>
              </p:nvSpPr>
              <p:spPr>
                <a:xfrm>
                  <a:off x="3645085" y="6093247"/>
                  <a:ext cx="105652" cy="581086"/>
                </a:xfrm>
                <a:custGeom>
                  <a:avLst/>
                  <a:gdLst>
                    <a:gd name="connsiteX0" fmla="*/ 0 w 105652"/>
                    <a:gd name="connsiteY0" fmla="*/ 0 h 581086"/>
                    <a:gd name="connsiteX1" fmla="*/ 105652 w 105652"/>
                    <a:gd name="connsiteY1" fmla="*/ 0 h 581086"/>
                    <a:gd name="connsiteX2" fmla="*/ 105652 w 105652"/>
                    <a:gd name="connsiteY2" fmla="*/ 581087 h 581086"/>
                    <a:gd name="connsiteX3" fmla="*/ 0 w 105652"/>
                    <a:gd name="connsiteY3" fmla="*/ 581087 h 5810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5652" h="581086">
                      <a:moveTo>
                        <a:pt x="0" y="0"/>
                      </a:moveTo>
                      <a:lnTo>
                        <a:pt x="105652" y="0"/>
                      </a:lnTo>
                      <a:lnTo>
                        <a:pt x="105652" y="581087"/>
                      </a:lnTo>
                      <a:lnTo>
                        <a:pt x="0" y="581087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367269A0-7E38-4682-A5F3-38A6AC9B578F}"/>
                    </a:ext>
                  </a:extLst>
                </p:cNvPr>
                <p:cNvSpPr/>
                <p:nvPr/>
              </p:nvSpPr>
              <p:spPr>
                <a:xfrm>
                  <a:off x="3515859" y="5698207"/>
                  <a:ext cx="583659" cy="428606"/>
                </a:xfrm>
                <a:custGeom>
                  <a:avLst/>
                  <a:gdLst>
                    <a:gd name="connsiteX0" fmla="*/ 569444 w 583659"/>
                    <a:gd name="connsiteY0" fmla="*/ 113301 h 428606"/>
                    <a:gd name="connsiteX1" fmla="*/ 361074 w 583659"/>
                    <a:gd name="connsiteY1" fmla="*/ 119171 h 428606"/>
                    <a:gd name="connsiteX2" fmla="*/ 264227 w 583659"/>
                    <a:gd name="connsiteY2" fmla="*/ 233627 h 428606"/>
                    <a:gd name="connsiteX3" fmla="*/ 255422 w 583659"/>
                    <a:gd name="connsiteY3" fmla="*/ 163193 h 428606"/>
                    <a:gd name="connsiteX4" fmla="*/ 129227 w 583659"/>
                    <a:gd name="connsiteY4" fmla="*/ 1780 h 428606"/>
                    <a:gd name="connsiteX5" fmla="*/ 96 w 583659"/>
                    <a:gd name="connsiteY5" fmla="*/ 180801 h 428606"/>
                    <a:gd name="connsiteX6" fmla="*/ 143901 w 583659"/>
                    <a:gd name="connsiteY6" fmla="*/ 403845 h 428606"/>
                    <a:gd name="connsiteX7" fmla="*/ 179118 w 583659"/>
                    <a:gd name="connsiteY7" fmla="*/ 424388 h 428606"/>
                    <a:gd name="connsiteX8" fmla="*/ 193792 w 583659"/>
                    <a:gd name="connsiteY8" fmla="*/ 415584 h 428606"/>
                    <a:gd name="connsiteX9" fmla="*/ 493140 w 583659"/>
                    <a:gd name="connsiteY9" fmla="*/ 304062 h 428606"/>
                    <a:gd name="connsiteX10" fmla="*/ 569444 w 583659"/>
                    <a:gd name="connsiteY10" fmla="*/ 113301 h 428606"/>
                    <a:gd name="connsiteX11" fmla="*/ 416835 w 583659"/>
                    <a:gd name="connsiteY11" fmla="*/ 160258 h 428606"/>
                    <a:gd name="connsiteX12" fmla="*/ 428575 w 583659"/>
                    <a:gd name="connsiteY12" fmla="*/ 245366 h 428606"/>
                    <a:gd name="connsiteX13" fmla="*/ 355205 w 583659"/>
                    <a:gd name="connsiteY13" fmla="*/ 298192 h 428606"/>
                    <a:gd name="connsiteX14" fmla="*/ 252488 w 583659"/>
                    <a:gd name="connsiteY14" fmla="*/ 351019 h 428606"/>
                    <a:gd name="connsiteX15" fmla="*/ 258357 w 583659"/>
                    <a:gd name="connsiteY15" fmla="*/ 336345 h 428606"/>
                    <a:gd name="connsiteX16" fmla="*/ 416835 w 583659"/>
                    <a:gd name="connsiteY16" fmla="*/ 160258 h 428606"/>
                    <a:gd name="connsiteX17" fmla="*/ 123357 w 583659"/>
                    <a:gd name="connsiteY17" fmla="*/ 248301 h 428606"/>
                    <a:gd name="connsiteX18" fmla="*/ 111618 w 583659"/>
                    <a:gd name="connsiteY18" fmla="*/ 113301 h 428606"/>
                    <a:gd name="connsiteX19" fmla="*/ 193792 w 583659"/>
                    <a:gd name="connsiteY19" fmla="*/ 142649 h 428606"/>
                    <a:gd name="connsiteX20" fmla="*/ 179118 w 583659"/>
                    <a:gd name="connsiteY20" fmla="*/ 339280 h 428606"/>
                    <a:gd name="connsiteX21" fmla="*/ 123357 w 583659"/>
                    <a:gd name="connsiteY21" fmla="*/ 248301 h 4286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83659" h="428606">
                      <a:moveTo>
                        <a:pt x="569444" y="113301"/>
                      </a:moveTo>
                      <a:cubicBezTo>
                        <a:pt x="525422" y="45801"/>
                        <a:pt x="413901" y="81019"/>
                        <a:pt x="361074" y="119171"/>
                      </a:cubicBezTo>
                      <a:cubicBezTo>
                        <a:pt x="319988" y="151453"/>
                        <a:pt x="290640" y="192540"/>
                        <a:pt x="264227" y="233627"/>
                      </a:cubicBezTo>
                      <a:cubicBezTo>
                        <a:pt x="264227" y="210149"/>
                        <a:pt x="261292" y="186671"/>
                        <a:pt x="255422" y="163193"/>
                      </a:cubicBezTo>
                      <a:cubicBezTo>
                        <a:pt x="246618" y="101562"/>
                        <a:pt x="217270" y="-15829"/>
                        <a:pt x="129227" y="1780"/>
                      </a:cubicBezTo>
                      <a:cubicBezTo>
                        <a:pt x="49988" y="16453"/>
                        <a:pt x="3031" y="110366"/>
                        <a:pt x="96" y="180801"/>
                      </a:cubicBezTo>
                      <a:cubicBezTo>
                        <a:pt x="-2839" y="280584"/>
                        <a:pt x="61727" y="359823"/>
                        <a:pt x="143901" y="403845"/>
                      </a:cubicBezTo>
                      <a:cubicBezTo>
                        <a:pt x="143901" y="421453"/>
                        <a:pt x="164444" y="436127"/>
                        <a:pt x="179118" y="424388"/>
                      </a:cubicBezTo>
                      <a:cubicBezTo>
                        <a:pt x="184988" y="421453"/>
                        <a:pt x="187922" y="418519"/>
                        <a:pt x="193792" y="415584"/>
                      </a:cubicBezTo>
                      <a:cubicBezTo>
                        <a:pt x="293574" y="389171"/>
                        <a:pt x="408031" y="371562"/>
                        <a:pt x="493140" y="304062"/>
                      </a:cubicBezTo>
                      <a:cubicBezTo>
                        <a:pt x="545966" y="265910"/>
                        <a:pt x="613466" y="174932"/>
                        <a:pt x="569444" y="113301"/>
                      </a:cubicBezTo>
                      <a:close/>
                      <a:moveTo>
                        <a:pt x="416835" y="160258"/>
                      </a:moveTo>
                      <a:cubicBezTo>
                        <a:pt x="443248" y="166127"/>
                        <a:pt x="457922" y="207214"/>
                        <a:pt x="428575" y="245366"/>
                      </a:cubicBezTo>
                      <a:cubicBezTo>
                        <a:pt x="410966" y="265910"/>
                        <a:pt x="378683" y="283518"/>
                        <a:pt x="355205" y="298192"/>
                      </a:cubicBezTo>
                      <a:cubicBezTo>
                        <a:pt x="322922" y="318736"/>
                        <a:pt x="287705" y="339280"/>
                        <a:pt x="252488" y="351019"/>
                      </a:cubicBezTo>
                      <a:cubicBezTo>
                        <a:pt x="255422" y="345149"/>
                        <a:pt x="255422" y="339280"/>
                        <a:pt x="258357" y="336345"/>
                      </a:cubicBezTo>
                      <a:cubicBezTo>
                        <a:pt x="281835" y="295258"/>
                        <a:pt x="331727" y="174932"/>
                        <a:pt x="416835" y="160258"/>
                      </a:cubicBezTo>
                      <a:close/>
                      <a:moveTo>
                        <a:pt x="123357" y="248301"/>
                      </a:moveTo>
                      <a:cubicBezTo>
                        <a:pt x="102814" y="204279"/>
                        <a:pt x="91075" y="160258"/>
                        <a:pt x="111618" y="113301"/>
                      </a:cubicBezTo>
                      <a:cubicBezTo>
                        <a:pt x="135096" y="60475"/>
                        <a:pt x="184988" y="98627"/>
                        <a:pt x="193792" y="142649"/>
                      </a:cubicBezTo>
                      <a:cubicBezTo>
                        <a:pt x="208466" y="201344"/>
                        <a:pt x="199661" y="277649"/>
                        <a:pt x="179118" y="339280"/>
                      </a:cubicBezTo>
                      <a:cubicBezTo>
                        <a:pt x="158575" y="309932"/>
                        <a:pt x="140966" y="280584"/>
                        <a:pt x="123357" y="248301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0BCFD355-4A03-4504-A50E-AE2419D3B023}"/>
                    </a:ext>
                  </a:extLst>
                </p:cNvPr>
                <p:cNvSpPr/>
                <p:nvPr/>
              </p:nvSpPr>
              <p:spPr>
                <a:xfrm>
                  <a:off x="3445520" y="6081607"/>
                  <a:ext cx="240153" cy="428935"/>
                </a:xfrm>
                <a:custGeom>
                  <a:avLst/>
                  <a:gdLst>
                    <a:gd name="connsiteX0" fmla="*/ 199565 w 240153"/>
                    <a:gd name="connsiteY0" fmla="*/ 5771 h 428935"/>
                    <a:gd name="connsiteX1" fmla="*/ 0 w 240153"/>
                    <a:gd name="connsiteY1" fmla="*/ 404901 h 428935"/>
                    <a:gd name="connsiteX2" fmla="*/ 29348 w 240153"/>
                    <a:gd name="connsiteY2" fmla="*/ 428379 h 428935"/>
                    <a:gd name="connsiteX3" fmla="*/ 85109 w 240153"/>
                    <a:gd name="connsiteY3" fmla="*/ 416640 h 428935"/>
                    <a:gd name="connsiteX4" fmla="*/ 102717 w 240153"/>
                    <a:gd name="connsiteY4" fmla="*/ 393162 h 428935"/>
                    <a:gd name="connsiteX5" fmla="*/ 129130 w 240153"/>
                    <a:gd name="connsiteY5" fmla="*/ 196532 h 428935"/>
                    <a:gd name="connsiteX6" fmla="*/ 231848 w 240153"/>
                    <a:gd name="connsiteY6" fmla="*/ 43923 h 428935"/>
                    <a:gd name="connsiteX7" fmla="*/ 234783 w 240153"/>
                    <a:gd name="connsiteY7" fmla="*/ 35119 h 428935"/>
                    <a:gd name="connsiteX8" fmla="*/ 199565 w 240153"/>
                    <a:gd name="connsiteY8" fmla="*/ 5771 h 428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40153" h="428935">
                      <a:moveTo>
                        <a:pt x="199565" y="5771"/>
                      </a:moveTo>
                      <a:cubicBezTo>
                        <a:pt x="76304" y="105553"/>
                        <a:pt x="5869" y="249358"/>
                        <a:pt x="0" y="404901"/>
                      </a:cubicBezTo>
                      <a:cubicBezTo>
                        <a:pt x="0" y="422510"/>
                        <a:pt x="14674" y="431314"/>
                        <a:pt x="29348" y="428379"/>
                      </a:cubicBezTo>
                      <a:cubicBezTo>
                        <a:pt x="46956" y="425445"/>
                        <a:pt x="67500" y="422510"/>
                        <a:pt x="85109" y="416640"/>
                      </a:cubicBezTo>
                      <a:cubicBezTo>
                        <a:pt x="93913" y="413705"/>
                        <a:pt x="102717" y="401967"/>
                        <a:pt x="102717" y="393162"/>
                      </a:cubicBezTo>
                      <a:cubicBezTo>
                        <a:pt x="93913" y="322727"/>
                        <a:pt x="102717" y="258162"/>
                        <a:pt x="129130" y="196532"/>
                      </a:cubicBezTo>
                      <a:cubicBezTo>
                        <a:pt x="164348" y="140771"/>
                        <a:pt x="205435" y="87945"/>
                        <a:pt x="231848" y="43923"/>
                      </a:cubicBezTo>
                      <a:cubicBezTo>
                        <a:pt x="234783" y="40988"/>
                        <a:pt x="234783" y="38053"/>
                        <a:pt x="234783" y="35119"/>
                      </a:cubicBezTo>
                      <a:cubicBezTo>
                        <a:pt x="252391" y="14575"/>
                        <a:pt x="223043" y="-11838"/>
                        <a:pt x="199565" y="5771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D9D20AA3-2645-4FAA-B208-B8162F3230D4}"/>
                    </a:ext>
                  </a:extLst>
                </p:cNvPr>
                <p:cNvSpPr/>
                <p:nvPr/>
              </p:nvSpPr>
              <p:spPr>
                <a:xfrm>
                  <a:off x="3721206" y="6094309"/>
                  <a:ext cx="135183" cy="288747"/>
                </a:xfrm>
                <a:custGeom>
                  <a:avLst/>
                  <a:gdLst>
                    <a:gd name="connsiteX0" fmla="*/ 129314 w 135183"/>
                    <a:gd name="connsiteY0" fmla="*/ 175025 h 288747"/>
                    <a:gd name="connsiteX1" fmla="*/ 61814 w 135183"/>
                    <a:gd name="connsiteY1" fmla="*/ 19482 h 288747"/>
                    <a:gd name="connsiteX2" fmla="*/ 53009 w 135183"/>
                    <a:gd name="connsiteY2" fmla="*/ 4808 h 288747"/>
                    <a:gd name="connsiteX3" fmla="*/ 14857 w 135183"/>
                    <a:gd name="connsiteY3" fmla="*/ 16547 h 288747"/>
                    <a:gd name="connsiteX4" fmla="*/ 41270 w 135183"/>
                    <a:gd name="connsiteY4" fmla="*/ 277743 h 288747"/>
                    <a:gd name="connsiteX5" fmla="*/ 82357 w 135183"/>
                    <a:gd name="connsiteY5" fmla="*/ 277743 h 288747"/>
                    <a:gd name="connsiteX6" fmla="*/ 132249 w 135183"/>
                    <a:gd name="connsiteY6" fmla="*/ 210242 h 288747"/>
                    <a:gd name="connsiteX7" fmla="*/ 129314 w 135183"/>
                    <a:gd name="connsiteY7" fmla="*/ 175025 h 2887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5183" h="288747">
                      <a:moveTo>
                        <a:pt x="129314" y="175025"/>
                      </a:moveTo>
                      <a:cubicBezTo>
                        <a:pt x="79423" y="136873"/>
                        <a:pt x="70618" y="78177"/>
                        <a:pt x="61814" y="19482"/>
                      </a:cubicBezTo>
                      <a:cubicBezTo>
                        <a:pt x="61814" y="10677"/>
                        <a:pt x="55944" y="7743"/>
                        <a:pt x="53009" y="4808"/>
                      </a:cubicBezTo>
                      <a:cubicBezTo>
                        <a:pt x="41270" y="-3997"/>
                        <a:pt x="20727" y="-1062"/>
                        <a:pt x="14857" y="16547"/>
                      </a:cubicBezTo>
                      <a:cubicBezTo>
                        <a:pt x="-11556" y="104591"/>
                        <a:pt x="-2751" y="195569"/>
                        <a:pt x="41270" y="277743"/>
                      </a:cubicBezTo>
                      <a:cubicBezTo>
                        <a:pt x="50075" y="292416"/>
                        <a:pt x="73553" y="292416"/>
                        <a:pt x="82357" y="277743"/>
                      </a:cubicBezTo>
                      <a:cubicBezTo>
                        <a:pt x="97031" y="254264"/>
                        <a:pt x="111705" y="230786"/>
                        <a:pt x="132249" y="210242"/>
                      </a:cubicBezTo>
                      <a:cubicBezTo>
                        <a:pt x="135183" y="201438"/>
                        <a:pt x="138118" y="183830"/>
                        <a:pt x="129314" y="175025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24" name="图形 1">
                <a:extLst>
                  <a:ext uri="{FF2B5EF4-FFF2-40B4-BE49-F238E27FC236}">
                    <a16:creationId xmlns:a16="http://schemas.microsoft.com/office/drawing/2014/main" id="{022DE2CF-4F1C-4C5B-B1AE-3B97CDD4339E}"/>
                  </a:ext>
                </a:extLst>
              </p:cNvPr>
              <p:cNvGrpSpPr/>
              <p:nvPr/>
            </p:nvGrpSpPr>
            <p:grpSpPr>
              <a:xfrm>
                <a:off x="4202694" y="5857593"/>
                <a:ext cx="933260" cy="816741"/>
                <a:chOff x="4202694" y="5857593"/>
                <a:chExt cx="933260" cy="816741"/>
              </a:xfrm>
            </p:grpSpPr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45FA4222-81F0-4402-B25A-7D23FC125B5E}"/>
                    </a:ext>
                  </a:extLst>
                </p:cNvPr>
                <p:cNvSpPr/>
                <p:nvPr/>
              </p:nvSpPr>
              <p:spPr>
                <a:xfrm>
                  <a:off x="4369977" y="6210639"/>
                  <a:ext cx="765978" cy="463695"/>
                </a:xfrm>
                <a:custGeom>
                  <a:avLst/>
                  <a:gdLst>
                    <a:gd name="connsiteX0" fmla="*/ 0 w 765978"/>
                    <a:gd name="connsiteY0" fmla="*/ 0 h 463695"/>
                    <a:gd name="connsiteX1" fmla="*/ 765978 w 765978"/>
                    <a:gd name="connsiteY1" fmla="*/ 0 h 463695"/>
                    <a:gd name="connsiteX2" fmla="*/ 765978 w 765978"/>
                    <a:gd name="connsiteY2" fmla="*/ 463696 h 463695"/>
                    <a:gd name="connsiteX3" fmla="*/ 0 w 765978"/>
                    <a:gd name="connsiteY3" fmla="*/ 463696 h 463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65978" h="463695">
                      <a:moveTo>
                        <a:pt x="0" y="0"/>
                      </a:moveTo>
                      <a:lnTo>
                        <a:pt x="765978" y="0"/>
                      </a:lnTo>
                      <a:lnTo>
                        <a:pt x="765978" y="463696"/>
                      </a:lnTo>
                      <a:lnTo>
                        <a:pt x="0" y="463696"/>
                      </a:lnTo>
                      <a:close/>
                    </a:path>
                  </a:pathLst>
                </a:custGeom>
                <a:solidFill>
                  <a:srgbClr val="728CB2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3781008C-764C-4310-899C-E8F45A5293A5}"/>
                    </a:ext>
                  </a:extLst>
                </p:cNvPr>
                <p:cNvSpPr/>
                <p:nvPr/>
              </p:nvSpPr>
              <p:spPr>
                <a:xfrm>
                  <a:off x="4202694" y="6210639"/>
                  <a:ext cx="765978" cy="463695"/>
                </a:xfrm>
                <a:custGeom>
                  <a:avLst/>
                  <a:gdLst>
                    <a:gd name="connsiteX0" fmla="*/ 0 w 765978"/>
                    <a:gd name="connsiteY0" fmla="*/ 0 h 463695"/>
                    <a:gd name="connsiteX1" fmla="*/ 765978 w 765978"/>
                    <a:gd name="connsiteY1" fmla="*/ 0 h 463695"/>
                    <a:gd name="connsiteX2" fmla="*/ 765978 w 765978"/>
                    <a:gd name="connsiteY2" fmla="*/ 463696 h 463695"/>
                    <a:gd name="connsiteX3" fmla="*/ 0 w 765978"/>
                    <a:gd name="connsiteY3" fmla="*/ 463696 h 463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65978" h="463695">
                      <a:moveTo>
                        <a:pt x="0" y="0"/>
                      </a:moveTo>
                      <a:lnTo>
                        <a:pt x="765978" y="0"/>
                      </a:lnTo>
                      <a:lnTo>
                        <a:pt x="765978" y="463696"/>
                      </a:lnTo>
                      <a:lnTo>
                        <a:pt x="0" y="463696"/>
                      </a:lnTo>
                      <a:close/>
                    </a:path>
                  </a:pathLst>
                </a:custGeom>
                <a:solidFill>
                  <a:srgbClr val="7F95BC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7B0A2E5E-09F7-43C6-A589-F66E23FD6EFC}"/>
                    </a:ext>
                  </a:extLst>
                </p:cNvPr>
                <p:cNvSpPr/>
                <p:nvPr/>
              </p:nvSpPr>
              <p:spPr>
                <a:xfrm>
                  <a:off x="4534325" y="6210639"/>
                  <a:ext cx="105652" cy="463695"/>
                </a:xfrm>
                <a:custGeom>
                  <a:avLst/>
                  <a:gdLst>
                    <a:gd name="connsiteX0" fmla="*/ 0 w 105652"/>
                    <a:gd name="connsiteY0" fmla="*/ 0 h 463695"/>
                    <a:gd name="connsiteX1" fmla="*/ 105652 w 105652"/>
                    <a:gd name="connsiteY1" fmla="*/ 0 h 463695"/>
                    <a:gd name="connsiteX2" fmla="*/ 105652 w 105652"/>
                    <a:gd name="connsiteY2" fmla="*/ 463696 h 463695"/>
                    <a:gd name="connsiteX3" fmla="*/ 0 w 105652"/>
                    <a:gd name="connsiteY3" fmla="*/ 463696 h 463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5652" h="463695">
                      <a:moveTo>
                        <a:pt x="0" y="0"/>
                      </a:moveTo>
                      <a:lnTo>
                        <a:pt x="105652" y="0"/>
                      </a:lnTo>
                      <a:lnTo>
                        <a:pt x="105652" y="463696"/>
                      </a:lnTo>
                      <a:lnTo>
                        <a:pt x="0" y="463696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C48C2F9F-999C-432F-8FEC-E13C0DD3C9F5}"/>
                    </a:ext>
                  </a:extLst>
                </p:cNvPr>
                <p:cNvSpPr/>
                <p:nvPr/>
              </p:nvSpPr>
              <p:spPr>
                <a:xfrm>
                  <a:off x="4323160" y="5857593"/>
                  <a:ext cx="481140" cy="395803"/>
                </a:xfrm>
                <a:custGeom>
                  <a:avLst/>
                  <a:gdLst>
                    <a:gd name="connsiteX0" fmla="*/ 29208 w 481140"/>
                    <a:gd name="connsiteY0" fmla="*/ 15546 h 395803"/>
                    <a:gd name="connsiteX1" fmla="*/ 196490 w 481140"/>
                    <a:gd name="connsiteY1" fmla="*/ 77176 h 395803"/>
                    <a:gd name="connsiteX2" fmla="*/ 243447 w 481140"/>
                    <a:gd name="connsiteY2" fmla="*/ 200437 h 395803"/>
                    <a:gd name="connsiteX3" fmla="*/ 269860 w 481140"/>
                    <a:gd name="connsiteY3" fmla="*/ 144676 h 395803"/>
                    <a:gd name="connsiteX4" fmla="*/ 419534 w 481140"/>
                    <a:gd name="connsiteY4" fmla="*/ 41958 h 395803"/>
                    <a:gd name="connsiteX5" fmla="*/ 472360 w 481140"/>
                    <a:gd name="connsiteY5" fmla="*/ 229785 h 395803"/>
                    <a:gd name="connsiteX6" fmla="*/ 290403 w 481140"/>
                    <a:gd name="connsiteY6" fmla="*/ 379458 h 395803"/>
                    <a:gd name="connsiteX7" fmla="*/ 255186 w 481140"/>
                    <a:gd name="connsiteY7" fmla="*/ 388263 h 395803"/>
                    <a:gd name="connsiteX8" fmla="*/ 246382 w 481140"/>
                    <a:gd name="connsiteY8" fmla="*/ 376524 h 395803"/>
                    <a:gd name="connsiteX9" fmla="*/ 35077 w 481140"/>
                    <a:gd name="connsiteY9" fmla="*/ 197502 h 395803"/>
                    <a:gd name="connsiteX10" fmla="*/ 29208 w 481140"/>
                    <a:gd name="connsiteY10" fmla="*/ 15546 h 395803"/>
                    <a:gd name="connsiteX11" fmla="*/ 140729 w 481140"/>
                    <a:gd name="connsiteY11" fmla="*/ 97720 h 395803"/>
                    <a:gd name="connsiteX12" fmla="*/ 108447 w 481140"/>
                    <a:gd name="connsiteY12" fmla="*/ 165220 h 395803"/>
                    <a:gd name="connsiteX13" fmla="*/ 152469 w 481140"/>
                    <a:gd name="connsiteY13" fmla="*/ 229785 h 395803"/>
                    <a:gd name="connsiteX14" fmla="*/ 222903 w 481140"/>
                    <a:gd name="connsiteY14" fmla="*/ 303154 h 395803"/>
                    <a:gd name="connsiteX15" fmla="*/ 222903 w 481140"/>
                    <a:gd name="connsiteY15" fmla="*/ 288480 h 395803"/>
                    <a:gd name="connsiteX16" fmla="*/ 140729 w 481140"/>
                    <a:gd name="connsiteY16" fmla="*/ 97720 h 395803"/>
                    <a:gd name="connsiteX17" fmla="*/ 354969 w 481140"/>
                    <a:gd name="connsiteY17" fmla="*/ 253263 h 395803"/>
                    <a:gd name="connsiteX18" fmla="*/ 404860 w 481140"/>
                    <a:gd name="connsiteY18" fmla="*/ 144676 h 395803"/>
                    <a:gd name="connsiteX19" fmla="*/ 328556 w 481140"/>
                    <a:gd name="connsiteY19" fmla="*/ 147611 h 395803"/>
                    <a:gd name="connsiteX20" fmla="*/ 284534 w 481140"/>
                    <a:gd name="connsiteY20" fmla="*/ 317828 h 395803"/>
                    <a:gd name="connsiteX21" fmla="*/ 354969 w 481140"/>
                    <a:gd name="connsiteY21" fmla="*/ 253263 h 3958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481140" h="395803">
                      <a:moveTo>
                        <a:pt x="29208" y="15546"/>
                      </a:moveTo>
                      <a:cubicBezTo>
                        <a:pt x="84969" y="-28476"/>
                        <a:pt x="167143" y="30219"/>
                        <a:pt x="196490" y="77176"/>
                      </a:cubicBezTo>
                      <a:cubicBezTo>
                        <a:pt x="219969" y="115328"/>
                        <a:pt x="231708" y="156415"/>
                        <a:pt x="243447" y="200437"/>
                      </a:cubicBezTo>
                      <a:cubicBezTo>
                        <a:pt x="252251" y="179894"/>
                        <a:pt x="261056" y="162285"/>
                        <a:pt x="269860" y="144676"/>
                      </a:cubicBezTo>
                      <a:cubicBezTo>
                        <a:pt x="296273" y="94785"/>
                        <a:pt x="352034" y="3807"/>
                        <a:pt x="419534" y="41958"/>
                      </a:cubicBezTo>
                      <a:cubicBezTo>
                        <a:pt x="478229" y="74241"/>
                        <a:pt x="492903" y="168154"/>
                        <a:pt x="472360" y="229785"/>
                      </a:cubicBezTo>
                      <a:cubicBezTo>
                        <a:pt x="445947" y="314893"/>
                        <a:pt x="369643" y="361850"/>
                        <a:pt x="290403" y="379458"/>
                      </a:cubicBezTo>
                      <a:cubicBezTo>
                        <a:pt x="287469" y="394132"/>
                        <a:pt x="266925" y="402937"/>
                        <a:pt x="255186" y="388263"/>
                      </a:cubicBezTo>
                      <a:cubicBezTo>
                        <a:pt x="252251" y="385328"/>
                        <a:pt x="249317" y="379458"/>
                        <a:pt x="246382" y="376524"/>
                      </a:cubicBezTo>
                      <a:cubicBezTo>
                        <a:pt x="170077" y="326633"/>
                        <a:pt x="82034" y="279676"/>
                        <a:pt x="35077" y="197502"/>
                      </a:cubicBezTo>
                      <a:cubicBezTo>
                        <a:pt x="5730" y="153480"/>
                        <a:pt x="-23618" y="56632"/>
                        <a:pt x="29208" y="15546"/>
                      </a:cubicBezTo>
                      <a:close/>
                      <a:moveTo>
                        <a:pt x="140729" y="97720"/>
                      </a:moveTo>
                      <a:cubicBezTo>
                        <a:pt x="117251" y="97720"/>
                        <a:pt x="93773" y="127067"/>
                        <a:pt x="108447" y="165220"/>
                      </a:cubicBezTo>
                      <a:cubicBezTo>
                        <a:pt x="117251" y="188698"/>
                        <a:pt x="137795" y="212176"/>
                        <a:pt x="152469" y="229785"/>
                      </a:cubicBezTo>
                      <a:cubicBezTo>
                        <a:pt x="173012" y="256198"/>
                        <a:pt x="196490" y="282611"/>
                        <a:pt x="222903" y="303154"/>
                      </a:cubicBezTo>
                      <a:cubicBezTo>
                        <a:pt x="222903" y="297285"/>
                        <a:pt x="222903" y="294350"/>
                        <a:pt x="222903" y="288480"/>
                      </a:cubicBezTo>
                      <a:cubicBezTo>
                        <a:pt x="214099" y="250328"/>
                        <a:pt x="205295" y="132937"/>
                        <a:pt x="140729" y="97720"/>
                      </a:cubicBezTo>
                      <a:close/>
                      <a:moveTo>
                        <a:pt x="354969" y="253263"/>
                      </a:moveTo>
                      <a:cubicBezTo>
                        <a:pt x="384317" y="223915"/>
                        <a:pt x="407795" y="188698"/>
                        <a:pt x="404860" y="144676"/>
                      </a:cubicBezTo>
                      <a:cubicBezTo>
                        <a:pt x="401925" y="91850"/>
                        <a:pt x="349099" y="112393"/>
                        <a:pt x="328556" y="147611"/>
                      </a:cubicBezTo>
                      <a:cubicBezTo>
                        <a:pt x="299208" y="191632"/>
                        <a:pt x="284534" y="259133"/>
                        <a:pt x="284534" y="317828"/>
                      </a:cubicBezTo>
                      <a:cubicBezTo>
                        <a:pt x="310947" y="297285"/>
                        <a:pt x="334425" y="276741"/>
                        <a:pt x="354969" y="253263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2315B1C0-ADD3-48AA-A61E-5C8D58D0D774}"/>
                    </a:ext>
                  </a:extLst>
                </p:cNvPr>
                <p:cNvSpPr/>
                <p:nvPr/>
              </p:nvSpPr>
              <p:spPr>
                <a:xfrm>
                  <a:off x="4622368" y="6207606"/>
                  <a:ext cx="206749" cy="229386"/>
                </a:xfrm>
                <a:custGeom>
                  <a:avLst/>
                  <a:gdLst>
                    <a:gd name="connsiteX0" fmla="*/ 76304 w 206749"/>
                    <a:gd name="connsiteY0" fmla="*/ 193794 h 229386"/>
                    <a:gd name="connsiteX1" fmla="*/ 5869 w 206749"/>
                    <a:gd name="connsiteY1" fmla="*/ 38250 h 229386"/>
                    <a:gd name="connsiteX2" fmla="*/ 0 w 206749"/>
                    <a:gd name="connsiteY2" fmla="*/ 20642 h 229386"/>
                    <a:gd name="connsiteX3" fmla="*/ 32283 w 206749"/>
                    <a:gd name="connsiteY3" fmla="*/ 3033 h 229386"/>
                    <a:gd name="connsiteX4" fmla="*/ 205435 w 206749"/>
                    <a:gd name="connsiteY4" fmla="*/ 199663 h 229386"/>
                    <a:gd name="connsiteX5" fmla="*/ 179022 w 206749"/>
                    <a:gd name="connsiteY5" fmla="*/ 229011 h 229386"/>
                    <a:gd name="connsiteX6" fmla="*/ 99783 w 206749"/>
                    <a:gd name="connsiteY6" fmla="*/ 217272 h 229386"/>
                    <a:gd name="connsiteX7" fmla="*/ 76304 w 206749"/>
                    <a:gd name="connsiteY7" fmla="*/ 193794 h 229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6749" h="229386">
                      <a:moveTo>
                        <a:pt x="76304" y="193794"/>
                      </a:moveTo>
                      <a:cubicBezTo>
                        <a:pt x="79239" y="132163"/>
                        <a:pt x="44022" y="85207"/>
                        <a:pt x="5869" y="38250"/>
                      </a:cubicBezTo>
                      <a:cubicBezTo>
                        <a:pt x="0" y="32381"/>
                        <a:pt x="0" y="26511"/>
                        <a:pt x="0" y="20642"/>
                      </a:cubicBezTo>
                      <a:cubicBezTo>
                        <a:pt x="0" y="5968"/>
                        <a:pt x="14674" y="-5772"/>
                        <a:pt x="32283" y="3033"/>
                      </a:cubicBezTo>
                      <a:cubicBezTo>
                        <a:pt x="114457" y="44120"/>
                        <a:pt x="173152" y="114555"/>
                        <a:pt x="205435" y="199663"/>
                      </a:cubicBezTo>
                      <a:cubicBezTo>
                        <a:pt x="211304" y="217272"/>
                        <a:pt x="196630" y="231946"/>
                        <a:pt x="179022" y="229011"/>
                      </a:cubicBezTo>
                      <a:cubicBezTo>
                        <a:pt x="152609" y="223141"/>
                        <a:pt x="126196" y="217272"/>
                        <a:pt x="99783" y="217272"/>
                      </a:cubicBezTo>
                      <a:cubicBezTo>
                        <a:pt x="90978" y="217272"/>
                        <a:pt x="76304" y="208468"/>
                        <a:pt x="76304" y="193794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CBE02B24-72A6-4D5E-8279-7B59FA9147AA}"/>
                </a:ext>
              </a:extLst>
            </p:cNvPr>
            <p:cNvSpPr/>
            <p:nvPr/>
          </p:nvSpPr>
          <p:spPr>
            <a:xfrm>
              <a:off x="5138890" y="2363139"/>
              <a:ext cx="202500" cy="214239"/>
            </a:xfrm>
            <a:custGeom>
              <a:avLst/>
              <a:gdLst>
                <a:gd name="connsiteX0" fmla="*/ 137935 w 202500"/>
                <a:gd name="connsiteY0" fmla="*/ 0 h 214239"/>
                <a:gd name="connsiteX1" fmla="*/ 202500 w 202500"/>
                <a:gd name="connsiteY1" fmla="*/ 126196 h 214239"/>
                <a:gd name="connsiteX2" fmla="*/ 85109 w 202500"/>
                <a:gd name="connsiteY2" fmla="*/ 214239 h 214239"/>
                <a:gd name="connsiteX3" fmla="*/ 0 w 202500"/>
                <a:gd name="connsiteY3" fmla="*/ 67500 h 214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00" h="214239">
                  <a:moveTo>
                    <a:pt x="137935" y="0"/>
                  </a:moveTo>
                  <a:lnTo>
                    <a:pt x="202500" y="126196"/>
                  </a:lnTo>
                  <a:lnTo>
                    <a:pt x="85109" y="214239"/>
                  </a:lnTo>
                  <a:lnTo>
                    <a:pt x="0" y="67500"/>
                  </a:ln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D82627B7-F5B7-455C-81EF-3CF9EE9C1BC9}"/>
                </a:ext>
              </a:extLst>
            </p:cNvPr>
            <p:cNvSpPr/>
            <p:nvPr/>
          </p:nvSpPr>
          <p:spPr>
            <a:xfrm>
              <a:off x="5059121" y="2146968"/>
              <a:ext cx="224928" cy="292930"/>
            </a:xfrm>
            <a:custGeom>
              <a:avLst/>
              <a:gdLst>
                <a:gd name="connsiteX0" fmla="*/ 12269 w 224928"/>
                <a:gd name="connsiteY0" fmla="*/ 180954 h 292930"/>
                <a:gd name="connsiteX1" fmla="*/ 85638 w 224928"/>
                <a:gd name="connsiteY1" fmla="*/ 292475 h 292930"/>
                <a:gd name="connsiteX2" fmla="*/ 211834 w 224928"/>
                <a:gd name="connsiteY2" fmla="*/ 245519 h 292930"/>
                <a:gd name="connsiteX3" fmla="*/ 112051 w 224928"/>
                <a:gd name="connsiteY3" fmla="*/ 1932 h 292930"/>
                <a:gd name="connsiteX4" fmla="*/ 73899 w 224928"/>
                <a:gd name="connsiteY4" fmla="*/ 28345 h 292930"/>
                <a:gd name="connsiteX5" fmla="*/ 26942 w 224928"/>
                <a:gd name="connsiteY5" fmla="*/ 51823 h 292930"/>
                <a:gd name="connsiteX6" fmla="*/ 15203 w 224928"/>
                <a:gd name="connsiteY6" fmla="*/ 87040 h 292930"/>
                <a:gd name="connsiteX7" fmla="*/ 6399 w 224928"/>
                <a:gd name="connsiteY7" fmla="*/ 139867 h 292930"/>
                <a:gd name="connsiteX8" fmla="*/ 12269 w 224928"/>
                <a:gd name="connsiteY8" fmla="*/ 180954 h 292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928" h="292930">
                  <a:moveTo>
                    <a:pt x="12269" y="180954"/>
                  </a:moveTo>
                  <a:cubicBezTo>
                    <a:pt x="35747" y="216171"/>
                    <a:pt x="38681" y="283671"/>
                    <a:pt x="85638" y="292475"/>
                  </a:cubicBezTo>
                  <a:cubicBezTo>
                    <a:pt x="114986" y="298345"/>
                    <a:pt x="211834" y="245519"/>
                    <a:pt x="211834" y="245519"/>
                  </a:cubicBezTo>
                  <a:cubicBezTo>
                    <a:pt x="261725" y="178019"/>
                    <a:pt x="156073" y="48888"/>
                    <a:pt x="112051" y="1932"/>
                  </a:cubicBezTo>
                  <a:cubicBezTo>
                    <a:pt x="106181" y="-6873"/>
                    <a:pt x="68029" y="16606"/>
                    <a:pt x="73899" y="28345"/>
                  </a:cubicBezTo>
                  <a:cubicBezTo>
                    <a:pt x="79768" y="48888"/>
                    <a:pt x="32812" y="43019"/>
                    <a:pt x="26942" y="51823"/>
                  </a:cubicBezTo>
                  <a:cubicBezTo>
                    <a:pt x="18138" y="60627"/>
                    <a:pt x="15203" y="84106"/>
                    <a:pt x="15203" y="87040"/>
                  </a:cubicBezTo>
                  <a:cubicBezTo>
                    <a:pt x="9334" y="104649"/>
                    <a:pt x="12269" y="131062"/>
                    <a:pt x="6399" y="139867"/>
                  </a:cubicBezTo>
                  <a:cubicBezTo>
                    <a:pt x="-5340" y="151606"/>
                    <a:pt x="529" y="157475"/>
                    <a:pt x="12269" y="180954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32" name="图形 1">
              <a:extLst>
                <a:ext uri="{FF2B5EF4-FFF2-40B4-BE49-F238E27FC236}">
                  <a16:creationId xmlns:a16="http://schemas.microsoft.com/office/drawing/2014/main" id="{022DE2CF-4F1C-4C5B-B1AE-3B97CDD4339E}"/>
                </a:ext>
              </a:extLst>
            </p:cNvPr>
            <p:cNvGrpSpPr/>
            <p:nvPr/>
          </p:nvGrpSpPr>
          <p:grpSpPr>
            <a:xfrm>
              <a:off x="5044977" y="2116167"/>
              <a:ext cx="173152" cy="230962"/>
              <a:chOff x="5044977" y="2116167"/>
              <a:chExt cx="173152" cy="230962"/>
            </a:xfrm>
          </p:grpSpPr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6765C865-2043-4C4E-BD01-4A051D0E909C}"/>
                  </a:ext>
                </a:extLst>
              </p:cNvPr>
              <p:cNvSpPr/>
              <p:nvPr/>
            </p:nvSpPr>
            <p:spPr>
              <a:xfrm>
                <a:off x="5094486" y="2116167"/>
                <a:ext cx="122957" cy="134914"/>
              </a:xfrm>
              <a:custGeom>
                <a:avLst/>
                <a:gdLst>
                  <a:gd name="connsiteX0" fmla="*/ 23860 w 122957"/>
                  <a:gd name="connsiteY0" fmla="*/ 449 h 134914"/>
                  <a:gd name="connsiteX1" fmla="*/ 100164 w 122957"/>
                  <a:gd name="connsiteY1" fmla="*/ 62080 h 134914"/>
                  <a:gd name="connsiteX2" fmla="*/ 111904 w 122957"/>
                  <a:gd name="connsiteY2" fmla="*/ 70884 h 134914"/>
                  <a:gd name="connsiteX3" fmla="*/ 120708 w 122957"/>
                  <a:gd name="connsiteY3" fmla="*/ 85558 h 134914"/>
                  <a:gd name="connsiteX4" fmla="*/ 106034 w 122957"/>
                  <a:gd name="connsiteY4" fmla="*/ 132515 h 134914"/>
                  <a:gd name="connsiteX5" fmla="*/ 64947 w 122957"/>
                  <a:gd name="connsiteY5" fmla="*/ 114906 h 134914"/>
                  <a:gd name="connsiteX6" fmla="*/ 20925 w 122957"/>
                  <a:gd name="connsiteY6" fmla="*/ 70884 h 134914"/>
                  <a:gd name="connsiteX7" fmla="*/ 382 w 122957"/>
                  <a:gd name="connsiteY7" fmla="*/ 26862 h 134914"/>
                  <a:gd name="connsiteX8" fmla="*/ 23860 w 122957"/>
                  <a:gd name="connsiteY8" fmla="*/ 449 h 134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2957" h="134914">
                    <a:moveTo>
                      <a:pt x="23860" y="449"/>
                    </a:moveTo>
                    <a:cubicBezTo>
                      <a:pt x="53208" y="6319"/>
                      <a:pt x="73751" y="38602"/>
                      <a:pt x="100164" y="62080"/>
                    </a:cubicBezTo>
                    <a:cubicBezTo>
                      <a:pt x="103099" y="65015"/>
                      <a:pt x="111904" y="67949"/>
                      <a:pt x="111904" y="70884"/>
                    </a:cubicBezTo>
                    <a:cubicBezTo>
                      <a:pt x="114838" y="76754"/>
                      <a:pt x="117773" y="79689"/>
                      <a:pt x="120708" y="85558"/>
                    </a:cubicBezTo>
                    <a:cubicBezTo>
                      <a:pt x="126577" y="103167"/>
                      <a:pt x="120708" y="123710"/>
                      <a:pt x="106034" y="132515"/>
                    </a:cubicBezTo>
                    <a:cubicBezTo>
                      <a:pt x="91360" y="141319"/>
                      <a:pt x="73751" y="123710"/>
                      <a:pt x="64947" y="114906"/>
                    </a:cubicBezTo>
                    <a:cubicBezTo>
                      <a:pt x="50273" y="100232"/>
                      <a:pt x="35599" y="85558"/>
                      <a:pt x="20925" y="70884"/>
                    </a:cubicBezTo>
                    <a:cubicBezTo>
                      <a:pt x="12121" y="59145"/>
                      <a:pt x="-2553" y="47406"/>
                      <a:pt x="382" y="26862"/>
                    </a:cubicBezTo>
                    <a:cubicBezTo>
                      <a:pt x="-2553" y="9254"/>
                      <a:pt x="12121" y="-2485"/>
                      <a:pt x="23860" y="44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759E7713-E1FD-4022-8FA4-C3408821549A}"/>
                  </a:ext>
                </a:extLst>
              </p:cNvPr>
              <p:cNvSpPr/>
              <p:nvPr/>
            </p:nvSpPr>
            <p:spPr>
              <a:xfrm>
                <a:off x="5076878" y="2169443"/>
                <a:ext cx="122957" cy="137399"/>
              </a:xfrm>
              <a:custGeom>
                <a:avLst/>
                <a:gdLst>
                  <a:gd name="connsiteX0" fmla="*/ 23860 w 122957"/>
                  <a:gd name="connsiteY0" fmla="*/ 0 h 137399"/>
                  <a:gd name="connsiteX1" fmla="*/ 106034 w 122957"/>
                  <a:gd name="connsiteY1" fmla="*/ 64565 h 137399"/>
                  <a:gd name="connsiteX2" fmla="*/ 111904 w 122957"/>
                  <a:gd name="connsiteY2" fmla="*/ 73370 h 137399"/>
                  <a:gd name="connsiteX3" fmla="*/ 120708 w 122957"/>
                  <a:gd name="connsiteY3" fmla="*/ 88043 h 137399"/>
                  <a:gd name="connsiteX4" fmla="*/ 106034 w 122957"/>
                  <a:gd name="connsiteY4" fmla="*/ 135000 h 137399"/>
                  <a:gd name="connsiteX5" fmla="*/ 64947 w 122957"/>
                  <a:gd name="connsiteY5" fmla="*/ 117391 h 137399"/>
                  <a:gd name="connsiteX6" fmla="*/ 20925 w 122957"/>
                  <a:gd name="connsiteY6" fmla="*/ 73370 h 137399"/>
                  <a:gd name="connsiteX7" fmla="*/ 382 w 122957"/>
                  <a:gd name="connsiteY7" fmla="*/ 29348 h 137399"/>
                  <a:gd name="connsiteX8" fmla="*/ 23860 w 122957"/>
                  <a:gd name="connsiteY8" fmla="*/ 0 h 137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2957" h="137399">
                    <a:moveTo>
                      <a:pt x="23860" y="0"/>
                    </a:moveTo>
                    <a:cubicBezTo>
                      <a:pt x="62012" y="0"/>
                      <a:pt x="82556" y="41087"/>
                      <a:pt x="106034" y="64565"/>
                    </a:cubicBezTo>
                    <a:cubicBezTo>
                      <a:pt x="108969" y="67500"/>
                      <a:pt x="108969" y="70435"/>
                      <a:pt x="111904" y="73370"/>
                    </a:cubicBezTo>
                    <a:cubicBezTo>
                      <a:pt x="114838" y="79239"/>
                      <a:pt x="117773" y="82174"/>
                      <a:pt x="120708" y="88043"/>
                    </a:cubicBezTo>
                    <a:cubicBezTo>
                      <a:pt x="126577" y="105652"/>
                      <a:pt x="120708" y="126196"/>
                      <a:pt x="106034" y="135000"/>
                    </a:cubicBezTo>
                    <a:cubicBezTo>
                      <a:pt x="91360" y="143804"/>
                      <a:pt x="73751" y="126196"/>
                      <a:pt x="64947" y="117391"/>
                    </a:cubicBezTo>
                    <a:cubicBezTo>
                      <a:pt x="50273" y="102717"/>
                      <a:pt x="35599" y="88043"/>
                      <a:pt x="20925" y="73370"/>
                    </a:cubicBezTo>
                    <a:cubicBezTo>
                      <a:pt x="12121" y="61630"/>
                      <a:pt x="-2553" y="49891"/>
                      <a:pt x="382" y="29348"/>
                    </a:cubicBezTo>
                    <a:cubicBezTo>
                      <a:pt x="-2553" y="8804"/>
                      <a:pt x="12121" y="0"/>
                      <a:pt x="23860" y="0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323D8182-CCB6-407B-B67E-E944F6BD8D8F}"/>
                  </a:ext>
                </a:extLst>
              </p:cNvPr>
              <p:cNvSpPr/>
              <p:nvPr/>
            </p:nvSpPr>
            <p:spPr>
              <a:xfrm>
                <a:off x="5044977" y="2213465"/>
                <a:ext cx="115479" cy="113942"/>
              </a:xfrm>
              <a:custGeom>
                <a:avLst/>
                <a:gdLst>
                  <a:gd name="connsiteX0" fmla="*/ 32283 w 115479"/>
                  <a:gd name="connsiteY0" fmla="*/ 0 h 113942"/>
                  <a:gd name="connsiteX1" fmla="*/ 105652 w 115479"/>
                  <a:gd name="connsiteY1" fmla="*/ 55761 h 113942"/>
                  <a:gd name="connsiteX2" fmla="*/ 108587 w 115479"/>
                  <a:gd name="connsiteY2" fmla="*/ 61630 h 113942"/>
                  <a:gd name="connsiteX3" fmla="*/ 114457 w 115479"/>
                  <a:gd name="connsiteY3" fmla="*/ 73370 h 113942"/>
                  <a:gd name="connsiteX4" fmla="*/ 99783 w 115479"/>
                  <a:gd name="connsiteY4" fmla="*/ 111522 h 113942"/>
                  <a:gd name="connsiteX5" fmla="*/ 61630 w 115479"/>
                  <a:gd name="connsiteY5" fmla="*/ 96848 h 113942"/>
                  <a:gd name="connsiteX6" fmla="*/ 20543 w 115479"/>
                  <a:gd name="connsiteY6" fmla="*/ 58696 h 113942"/>
                  <a:gd name="connsiteX7" fmla="*/ 0 w 115479"/>
                  <a:gd name="connsiteY7" fmla="*/ 23478 h 113942"/>
                  <a:gd name="connsiteX8" fmla="*/ 32283 w 115479"/>
                  <a:gd name="connsiteY8" fmla="*/ 0 h 113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5479" h="113942">
                    <a:moveTo>
                      <a:pt x="32283" y="0"/>
                    </a:moveTo>
                    <a:cubicBezTo>
                      <a:pt x="64565" y="0"/>
                      <a:pt x="85109" y="32283"/>
                      <a:pt x="105652" y="55761"/>
                    </a:cubicBezTo>
                    <a:cubicBezTo>
                      <a:pt x="108587" y="58696"/>
                      <a:pt x="108587" y="58696"/>
                      <a:pt x="108587" y="61630"/>
                    </a:cubicBezTo>
                    <a:cubicBezTo>
                      <a:pt x="111522" y="64565"/>
                      <a:pt x="114457" y="70435"/>
                      <a:pt x="114457" y="73370"/>
                    </a:cubicBezTo>
                    <a:cubicBezTo>
                      <a:pt x="117391" y="88043"/>
                      <a:pt x="114457" y="105652"/>
                      <a:pt x="99783" y="111522"/>
                    </a:cubicBezTo>
                    <a:cubicBezTo>
                      <a:pt x="85109" y="120326"/>
                      <a:pt x="73370" y="102717"/>
                      <a:pt x="61630" y="96848"/>
                    </a:cubicBezTo>
                    <a:cubicBezTo>
                      <a:pt x="46956" y="85109"/>
                      <a:pt x="35217" y="73370"/>
                      <a:pt x="20543" y="58696"/>
                    </a:cubicBezTo>
                    <a:cubicBezTo>
                      <a:pt x="11739" y="49891"/>
                      <a:pt x="0" y="38152"/>
                      <a:pt x="0" y="23478"/>
                    </a:cubicBezTo>
                    <a:cubicBezTo>
                      <a:pt x="8804" y="5870"/>
                      <a:pt x="20543" y="0"/>
                      <a:pt x="32283" y="0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E380348E-3893-47E2-9B1E-17BA12221B93}"/>
                  </a:ext>
                </a:extLst>
              </p:cNvPr>
              <p:cNvSpPr/>
              <p:nvPr/>
            </p:nvSpPr>
            <p:spPr>
              <a:xfrm>
                <a:off x="5047336" y="2260421"/>
                <a:ext cx="80915" cy="86708"/>
              </a:xfrm>
              <a:custGeom>
                <a:avLst/>
                <a:gdLst>
                  <a:gd name="connsiteX0" fmla="*/ 15250 w 80915"/>
                  <a:gd name="connsiteY0" fmla="*/ 0 h 86708"/>
                  <a:gd name="connsiteX1" fmla="*/ 71010 w 80915"/>
                  <a:gd name="connsiteY1" fmla="*/ 41087 h 86708"/>
                  <a:gd name="connsiteX2" fmla="*/ 73945 w 80915"/>
                  <a:gd name="connsiteY2" fmla="*/ 46957 h 86708"/>
                  <a:gd name="connsiteX3" fmla="*/ 79815 w 80915"/>
                  <a:gd name="connsiteY3" fmla="*/ 55761 h 86708"/>
                  <a:gd name="connsiteX4" fmla="*/ 71010 w 80915"/>
                  <a:gd name="connsiteY4" fmla="*/ 85109 h 86708"/>
                  <a:gd name="connsiteX5" fmla="*/ 44597 w 80915"/>
                  <a:gd name="connsiteY5" fmla="*/ 73370 h 86708"/>
                  <a:gd name="connsiteX6" fmla="*/ 15250 w 80915"/>
                  <a:gd name="connsiteY6" fmla="*/ 44022 h 86708"/>
                  <a:gd name="connsiteX7" fmla="*/ 576 w 80915"/>
                  <a:gd name="connsiteY7" fmla="*/ 17609 h 86708"/>
                  <a:gd name="connsiteX8" fmla="*/ 15250 w 80915"/>
                  <a:gd name="connsiteY8" fmla="*/ 0 h 86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915" h="86708">
                    <a:moveTo>
                      <a:pt x="15250" y="0"/>
                    </a:moveTo>
                    <a:cubicBezTo>
                      <a:pt x="38728" y="0"/>
                      <a:pt x="53402" y="23478"/>
                      <a:pt x="71010" y="41087"/>
                    </a:cubicBezTo>
                    <a:cubicBezTo>
                      <a:pt x="71010" y="41087"/>
                      <a:pt x="73945" y="44022"/>
                      <a:pt x="73945" y="46957"/>
                    </a:cubicBezTo>
                    <a:cubicBezTo>
                      <a:pt x="76880" y="49891"/>
                      <a:pt x="76880" y="52826"/>
                      <a:pt x="79815" y="55761"/>
                    </a:cubicBezTo>
                    <a:cubicBezTo>
                      <a:pt x="82750" y="64565"/>
                      <a:pt x="79815" y="79239"/>
                      <a:pt x="71010" y="85109"/>
                    </a:cubicBezTo>
                    <a:cubicBezTo>
                      <a:pt x="59271" y="90978"/>
                      <a:pt x="50467" y="79239"/>
                      <a:pt x="44597" y="73370"/>
                    </a:cubicBezTo>
                    <a:cubicBezTo>
                      <a:pt x="32858" y="64565"/>
                      <a:pt x="24054" y="55761"/>
                      <a:pt x="15250" y="44022"/>
                    </a:cubicBezTo>
                    <a:cubicBezTo>
                      <a:pt x="9380" y="38152"/>
                      <a:pt x="576" y="29348"/>
                      <a:pt x="576" y="17609"/>
                    </a:cubicBezTo>
                    <a:cubicBezTo>
                      <a:pt x="-2359" y="2935"/>
                      <a:pt x="6445" y="0"/>
                      <a:pt x="15250" y="0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E816DF15-B029-41F8-AECE-400480469E78}"/>
                  </a:ext>
                </a:extLst>
              </p:cNvPr>
              <p:cNvSpPr/>
              <p:nvPr/>
            </p:nvSpPr>
            <p:spPr>
              <a:xfrm>
                <a:off x="5070896" y="2132025"/>
                <a:ext cx="147232" cy="175353"/>
              </a:xfrm>
              <a:custGeom>
                <a:avLst/>
                <a:gdLst>
                  <a:gd name="connsiteX0" fmla="*/ 106146 w 147232"/>
                  <a:gd name="connsiteY0" fmla="*/ 175353 h 175353"/>
                  <a:gd name="connsiteX1" fmla="*/ 56254 w 147232"/>
                  <a:gd name="connsiteY1" fmla="*/ 143071 h 175353"/>
                  <a:gd name="connsiteX2" fmla="*/ 3428 w 147232"/>
                  <a:gd name="connsiteY2" fmla="*/ 43288 h 175353"/>
                  <a:gd name="connsiteX3" fmla="*/ 21037 w 147232"/>
                  <a:gd name="connsiteY3" fmla="*/ 28614 h 175353"/>
                  <a:gd name="connsiteX4" fmla="*/ 32776 w 147232"/>
                  <a:gd name="connsiteY4" fmla="*/ 34484 h 175353"/>
                  <a:gd name="connsiteX5" fmla="*/ 117885 w 147232"/>
                  <a:gd name="connsiteY5" fmla="*/ 110788 h 175353"/>
                  <a:gd name="connsiteX6" fmla="*/ 117885 w 147232"/>
                  <a:gd name="connsiteY6" fmla="*/ 110788 h 175353"/>
                  <a:gd name="connsiteX7" fmla="*/ 132559 w 147232"/>
                  <a:gd name="connsiteY7" fmla="*/ 101984 h 175353"/>
                  <a:gd name="connsiteX8" fmla="*/ 135494 w 147232"/>
                  <a:gd name="connsiteY8" fmla="*/ 90245 h 175353"/>
                  <a:gd name="connsiteX9" fmla="*/ 70928 w 147232"/>
                  <a:gd name="connsiteY9" fmla="*/ 11005 h 175353"/>
                  <a:gd name="connsiteX10" fmla="*/ 70928 w 147232"/>
                  <a:gd name="connsiteY10" fmla="*/ 2201 h 175353"/>
                  <a:gd name="connsiteX11" fmla="*/ 79733 w 147232"/>
                  <a:gd name="connsiteY11" fmla="*/ 2201 h 175353"/>
                  <a:gd name="connsiteX12" fmla="*/ 147233 w 147232"/>
                  <a:gd name="connsiteY12" fmla="*/ 90245 h 175353"/>
                  <a:gd name="connsiteX13" fmla="*/ 141363 w 147232"/>
                  <a:gd name="connsiteY13" fmla="*/ 110788 h 175353"/>
                  <a:gd name="connsiteX14" fmla="*/ 129624 w 147232"/>
                  <a:gd name="connsiteY14" fmla="*/ 119592 h 175353"/>
                  <a:gd name="connsiteX15" fmla="*/ 129624 w 147232"/>
                  <a:gd name="connsiteY15" fmla="*/ 119592 h 175353"/>
                  <a:gd name="connsiteX16" fmla="*/ 117885 w 147232"/>
                  <a:gd name="connsiteY16" fmla="*/ 169484 h 175353"/>
                  <a:gd name="connsiteX17" fmla="*/ 106146 w 147232"/>
                  <a:gd name="connsiteY17" fmla="*/ 175353 h 175353"/>
                  <a:gd name="connsiteX18" fmla="*/ 23972 w 147232"/>
                  <a:gd name="connsiteY18" fmla="*/ 40353 h 175353"/>
                  <a:gd name="connsiteX19" fmla="*/ 23972 w 147232"/>
                  <a:gd name="connsiteY19" fmla="*/ 40353 h 175353"/>
                  <a:gd name="connsiteX20" fmla="*/ 15167 w 147232"/>
                  <a:gd name="connsiteY20" fmla="*/ 49158 h 175353"/>
                  <a:gd name="connsiteX21" fmla="*/ 65059 w 147232"/>
                  <a:gd name="connsiteY21" fmla="*/ 134266 h 175353"/>
                  <a:gd name="connsiteX22" fmla="*/ 114950 w 147232"/>
                  <a:gd name="connsiteY22" fmla="*/ 160679 h 175353"/>
                  <a:gd name="connsiteX23" fmla="*/ 123754 w 147232"/>
                  <a:gd name="connsiteY23" fmla="*/ 122527 h 175353"/>
                  <a:gd name="connsiteX24" fmla="*/ 123754 w 147232"/>
                  <a:gd name="connsiteY24" fmla="*/ 122527 h 175353"/>
                  <a:gd name="connsiteX25" fmla="*/ 23972 w 147232"/>
                  <a:gd name="connsiteY25" fmla="*/ 40353 h 175353"/>
                  <a:gd name="connsiteX26" fmla="*/ 23972 w 147232"/>
                  <a:gd name="connsiteY26" fmla="*/ 40353 h 175353"/>
                  <a:gd name="connsiteX27" fmla="*/ 23972 w 147232"/>
                  <a:gd name="connsiteY27" fmla="*/ 40353 h 175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47232" h="175353">
                    <a:moveTo>
                      <a:pt x="106146" y="175353"/>
                    </a:moveTo>
                    <a:cubicBezTo>
                      <a:pt x="91472" y="175353"/>
                      <a:pt x="73863" y="160679"/>
                      <a:pt x="56254" y="143071"/>
                    </a:cubicBezTo>
                    <a:cubicBezTo>
                      <a:pt x="23972" y="113723"/>
                      <a:pt x="-11246" y="72636"/>
                      <a:pt x="3428" y="43288"/>
                    </a:cubicBezTo>
                    <a:cubicBezTo>
                      <a:pt x="9298" y="34484"/>
                      <a:pt x="15167" y="28614"/>
                      <a:pt x="21037" y="28614"/>
                    </a:cubicBezTo>
                    <a:cubicBezTo>
                      <a:pt x="29841" y="28614"/>
                      <a:pt x="32776" y="34484"/>
                      <a:pt x="32776" y="34484"/>
                    </a:cubicBezTo>
                    <a:cubicBezTo>
                      <a:pt x="73863" y="84375"/>
                      <a:pt x="103211" y="110788"/>
                      <a:pt x="117885" y="110788"/>
                    </a:cubicBezTo>
                    <a:cubicBezTo>
                      <a:pt x="117885" y="110788"/>
                      <a:pt x="117885" y="110788"/>
                      <a:pt x="117885" y="110788"/>
                    </a:cubicBezTo>
                    <a:cubicBezTo>
                      <a:pt x="123754" y="110788"/>
                      <a:pt x="126689" y="107853"/>
                      <a:pt x="132559" y="101984"/>
                    </a:cubicBezTo>
                    <a:cubicBezTo>
                      <a:pt x="135494" y="99049"/>
                      <a:pt x="135494" y="96114"/>
                      <a:pt x="135494" y="90245"/>
                    </a:cubicBezTo>
                    <a:cubicBezTo>
                      <a:pt x="132559" y="66766"/>
                      <a:pt x="88537" y="25679"/>
                      <a:pt x="70928" y="11005"/>
                    </a:cubicBezTo>
                    <a:cubicBezTo>
                      <a:pt x="67993" y="8071"/>
                      <a:pt x="67993" y="5136"/>
                      <a:pt x="70928" y="2201"/>
                    </a:cubicBezTo>
                    <a:cubicBezTo>
                      <a:pt x="73863" y="-734"/>
                      <a:pt x="76798" y="-734"/>
                      <a:pt x="79733" y="2201"/>
                    </a:cubicBezTo>
                    <a:cubicBezTo>
                      <a:pt x="82667" y="5136"/>
                      <a:pt x="144298" y="55027"/>
                      <a:pt x="147233" y="90245"/>
                    </a:cubicBezTo>
                    <a:cubicBezTo>
                      <a:pt x="147233" y="99049"/>
                      <a:pt x="144298" y="104918"/>
                      <a:pt x="141363" y="110788"/>
                    </a:cubicBezTo>
                    <a:cubicBezTo>
                      <a:pt x="138428" y="113723"/>
                      <a:pt x="135494" y="116658"/>
                      <a:pt x="129624" y="119592"/>
                    </a:cubicBezTo>
                    <a:cubicBezTo>
                      <a:pt x="129624" y="119592"/>
                      <a:pt x="129624" y="119592"/>
                      <a:pt x="129624" y="119592"/>
                    </a:cubicBezTo>
                    <a:cubicBezTo>
                      <a:pt x="129624" y="119592"/>
                      <a:pt x="132559" y="151875"/>
                      <a:pt x="117885" y="169484"/>
                    </a:cubicBezTo>
                    <a:cubicBezTo>
                      <a:pt x="117885" y="172418"/>
                      <a:pt x="112015" y="175353"/>
                      <a:pt x="106146" y="175353"/>
                    </a:cubicBezTo>
                    <a:close/>
                    <a:moveTo>
                      <a:pt x="23972" y="40353"/>
                    </a:moveTo>
                    <a:cubicBezTo>
                      <a:pt x="21037" y="40353"/>
                      <a:pt x="21037" y="40353"/>
                      <a:pt x="23972" y="40353"/>
                    </a:cubicBezTo>
                    <a:cubicBezTo>
                      <a:pt x="21037" y="40353"/>
                      <a:pt x="18102" y="40353"/>
                      <a:pt x="15167" y="49158"/>
                    </a:cubicBezTo>
                    <a:cubicBezTo>
                      <a:pt x="6363" y="66766"/>
                      <a:pt x="23972" y="99049"/>
                      <a:pt x="65059" y="134266"/>
                    </a:cubicBezTo>
                    <a:cubicBezTo>
                      <a:pt x="97341" y="163614"/>
                      <a:pt x="106146" y="169484"/>
                      <a:pt x="114950" y="160679"/>
                    </a:cubicBezTo>
                    <a:cubicBezTo>
                      <a:pt x="123754" y="151875"/>
                      <a:pt x="123754" y="131332"/>
                      <a:pt x="123754" y="122527"/>
                    </a:cubicBezTo>
                    <a:cubicBezTo>
                      <a:pt x="123754" y="122527"/>
                      <a:pt x="123754" y="122527"/>
                      <a:pt x="123754" y="122527"/>
                    </a:cubicBezTo>
                    <a:cubicBezTo>
                      <a:pt x="106146" y="119592"/>
                      <a:pt x="82667" y="110788"/>
                      <a:pt x="23972" y="40353"/>
                    </a:cubicBezTo>
                    <a:lnTo>
                      <a:pt x="23972" y="40353"/>
                    </a:lnTo>
                    <a:cubicBezTo>
                      <a:pt x="23972" y="40353"/>
                      <a:pt x="23972" y="40353"/>
                      <a:pt x="23972" y="40353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017D1548-6FEC-4654-8774-BBC96970B819}"/>
                  </a:ext>
                </a:extLst>
              </p:cNvPr>
              <p:cNvSpPr/>
              <p:nvPr/>
            </p:nvSpPr>
            <p:spPr>
              <a:xfrm>
                <a:off x="5048919" y="2209954"/>
                <a:ext cx="131058" cy="123836"/>
              </a:xfrm>
              <a:custGeom>
                <a:avLst/>
                <a:gdLst>
                  <a:gd name="connsiteX0" fmla="*/ 95841 w 131058"/>
                  <a:gd name="connsiteY0" fmla="*/ 123837 h 123836"/>
                  <a:gd name="connsiteX1" fmla="*/ 75297 w 131058"/>
                  <a:gd name="connsiteY1" fmla="*/ 117967 h 123836"/>
                  <a:gd name="connsiteX2" fmla="*/ 1928 w 131058"/>
                  <a:gd name="connsiteY2" fmla="*/ 38728 h 123836"/>
                  <a:gd name="connsiteX3" fmla="*/ 4862 w 131058"/>
                  <a:gd name="connsiteY3" fmla="*/ 15250 h 123836"/>
                  <a:gd name="connsiteX4" fmla="*/ 31276 w 131058"/>
                  <a:gd name="connsiteY4" fmla="*/ 576 h 123836"/>
                  <a:gd name="connsiteX5" fmla="*/ 37145 w 131058"/>
                  <a:gd name="connsiteY5" fmla="*/ 6445 h 123836"/>
                  <a:gd name="connsiteX6" fmla="*/ 31276 w 131058"/>
                  <a:gd name="connsiteY6" fmla="*/ 12315 h 123836"/>
                  <a:gd name="connsiteX7" fmla="*/ 16602 w 131058"/>
                  <a:gd name="connsiteY7" fmla="*/ 24054 h 123836"/>
                  <a:gd name="connsiteX8" fmla="*/ 13667 w 131058"/>
                  <a:gd name="connsiteY8" fmla="*/ 35793 h 123836"/>
                  <a:gd name="connsiteX9" fmla="*/ 84102 w 131058"/>
                  <a:gd name="connsiteY9" fmla="*/ 109163 h 123836"/>
                  <a:gd name="connsiteX10" fmla="*/ 104645 w 131058"/>
                  <a:gd name="connsiteY10" fmla="*/ 112097 h 123836"/>
                  <a:gd name="connsiteX11" fmla="*/ 119319 w 131058"/>
                  <a:gd name="connsiteY11" fmla="*/ 91554 h 123836"/>
                  <a:gd name="connsiteX12" fmla="*/ 125189 w 131058"/>
                  <a:gd name="connsiteY12" fmla="*/ 85684 h 123836"/>
                  <a:gd name="connsiteX13" fmla="*/ 131058 w 131058"/>
                  <a:gd name="connsiteY13" fmla="*/ 91554 h 123836"/>
                  <a:gd name="connsiteX14" fmla="*/ 110515 w 131058"/>
                  <a:gd name="connsiteY14" fmla="*/ 120902 h 123836"/>
                  <a:gd name="connsiteX15" fmla="*/ 95841 w 131058"/>
                  <a:gd name="connsiteY15" fmla="*/ 123837 h 123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1058" h="123836">
                    <a:moveTo>
                      <a:pt x="95841" y="123837"/>
                    </a:moveTo>
                    <a:cubicBezTo>
                      <a:pt x="89971" y="123837"/>
                      <a:pt x="81167" y="120902"/>
                      <a:pt x="75297" y="117967"/>
                    </a:cubicBezTo>
                    <a:cubicBezTo>
                      <a:pt x="40080" y="94489"/>
                      <a:pt x="7797" y="53402"/>
                      <a:pt x="1928" y="38728"/>
                    </a:cubicBezTo>
                    <a:cubicBezTo>
                      <a:pt x="-1007" y="29923"/>
                      <a:pt x="-1007" y="24054"/>
                      <a:pt x="4862" y="15250"/>
                    </a:cubicBezTo>
                    <a:cubicBezTo>
                      <a:pt x="10732" y="6445"/>
                      <a:pt x="22471" y="-2359"/>
                      <a:pt x="31276" y="576"/>
                    </a:cubicBezTo>
                    <a:cubicBezTo>
                      <a:pt x="34210" y="576"/>
                      <a:pt x="37145" y="3510"/>
                      <a:pt x="37145" y="6445"/>
                    </a:cubicBezTo>
                    <a:cubicBezTo>
                      <a:pt x="37145" y="9380"/>
                      <a:pt x="34210" y="12315"/>
                      <a:pt x="31276" y="12315"/>
                    </a:cubicBezTo>
                    <a:cubicBezTo>
                      <a:pt x="28341" y="12315"/>
                      <a:pt x="19536" y="15250"/>
                      <a:pt x="16602" y="24054"/>
                    </a:cubicBezTo>
                    <a:cubicBezTo>
                      <a:pt x="13667" y="26989"/>
                      <a:pt x="10732" y="32858"/>
                      <a:pt x="13667" y="35793"/>
                    </a:cubicBezTo>
                    <a:cubicBezTo>
                      <a:pt x="19536" y="50467"/>
                      <a:pt x="48884" y="88619"/>
                      <a:pt x="84102" y="109163"/>
                    </a:cubicBezTo>
                    <a:cubicBezTo>
                      <a:pt x="92906" y="115032"/>
                      <a:pt x="98776" y="115032"/>
                      <a:pt x="104645" y="112097"/>
                    </a:cubicBezTo>
                    <a:cubicBezTo>
                      <a:pt x="116384" y="106228"/>
                      <a:pt x="119319" y="91554"/>
                      <a:pt x="119319" y="91554"/>
                    </a:cubicBezTo>
                    <a:cubicBezTo>
                      <a:pt x="119319" y="88619"/>
                      <a:pt x="122254" y="85684"/>
                      <a:pt x="125189" y="85684"/>
                    </a:cubicBezTo>
                    <a:cubicBezTo>
                      <a:pt x="128123" y="85684"/>
                      <a:pt x="131058" y="88619"/>
                      <a:pt x="131058" y="91554"/>
                    </a:cubicBezTo>
                    <a:cubicBezTo>
                      <a:pt x="131058" y="91554"/>
                      <a:pt x="125189" y="115032"/>
                      <a:pt x="110515" y="120902"/>
                    </a:cubicBezTo>
                    <a:cubicBezTo>
                      <a:pt x="101710" y="120902"/>
                      <a:pt x="98776" y="123837"/>
                      <a:pt x="95841" y="123837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1AD67360-FFB1-4B66-8061-66019F3B1811}"/>
                </a:ext>
              </a:extLst>
            </p:cNvPr>
            <p:cNvSpPr/>
            <p:nvPr/>
          </p:nvSpPr>
          <p:spPr>
            <a:xfrm>
              <a:off x="5126509" y="2227857"/>
              <a:ext cx="138576" cy="126477"/>
            </a:xfrm>
            <a:custGeom>
              <a:avLst/>
              <a:gdLst>
                <a:gd name="connsiteX0" fmla="*/ 138576 w 138576"/>
                <a:gd name="connsiteY0" fmla="*/ 85391 h 126477"/>
                <a:gd name="connsiteX1" fmla="*/ 74011 w 138576"/>
                <a:gd name="connsiteY1" fmla="*/ 282 h 126477"/>
                <a:gd name="connsiteX2" fmla="*/ 641 w 138576"/>
                <a:gd name="connsiteY2" fmla="*/ 35499 h 126477"/>
                <a:gd name="connsiteX3" fmla="*/ 76946 w 138576"/>
                <a:gd name="connsiteY3" fmla="*/ 82456 h 126477"/>
                <a:gd name="connsiteX4" fmla="*/ 59337 w 138576"/>
                <a:gd name="connsiteY4" fmla="*/ 126478 h 126477"/>
                <a:gd name="connsiteX5" fmla="*/ 138576 w 138576"/>
                <a:gd name="connsiteY5" fmla="*/ 85391 h 126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576" h="126477">
                  <a:moveTo>
                    <a:pt x="138576" y="85391"/>
                  </a:moveTo>
                  <a:cubicBezTo>
                    <a:pt x="138576" y="85391"/>
                    <a:pt x="118032" y="3217"/>
                    <a:pt x="74011" y="282"/>
                  </a:cubicBezTo>
                  <a:cubicBezTo>
                    <a:pt x="29989" y="-2653"/>
                    <a:pt x="-5228" y="17891"/>
                    <a:pt x="641" y="35499"/>
                  </a:cubicBezTo>
                  <a:cubicBezTo>
                    <a:pt x="9446" y="50173"/>
                    <a:pt x="59337" y="38434"/>
                    <a:pt x="76946" y="82456"/>
                  </a:cubicBezTo>
                  <a:cubicBezTo>
                    <a:pt x="76946" y="82456"/>
                    <a:pt x="56402" y="105934"/>
                    <a:pt x="59337" y="126478"/>
                  </a:cubicBezTo>
                  <a:lnTo>
                    <a:pt x="138576" y="85391"/>
                  </a:ln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1C00A4DE-F22E-4921-B8B4-C96B2CB888DB}"/>
                </a:ext>
              </a:extLst>
            </p:cNvPr>
            <p:cNvSpPr/>
            <p:nvPr/>
          </p:nvSpPr>
          <p:spPr>
            <a:xfrm>
              <a:off x="5116419" y="2218882"/>
              <a:ext cx="151601" cy="141322"/>
            </a:xfrm>
            <a:custGeom>
              <a:avLst/>
              <a:gdLst>
                <a:gd name="connsiteX0" fmla="*/ 66493 w 151601"/>
                <a:gd name="connsiteY0" fmla="*/ 141322 h 141322"/>
                <a:gd name="connsiteX1" fmla="*/ 60623 w 151601"/>
                <a:gd name="connsiteY1" fmla="*/ 135453 h 141322"/>
                <a:gd name="connsiteX2" fmla="*/ 78232 w 151601"/>
                <a:gd name="connsiteY2" fmla="*/ 88496 h 141322"/>
                <a:gd name="connsiteX3" fmla="*/ 28341 w 151601"/>
                <a:gd name="connsiteY3" fmla="*/ 56214 h 141322"/>
                <a:gd name="connsiteX4" fmla="*/ 1928 w 151601"/>
                <a:gd name="connsiteY4" fmla="*/ 41540 h 141322"/>
                <a:gd name="connsiteX5" fmla="*/ 4862 w 151601"/>
                <a:gd name="connsiteY5" fmla="*/ 23931 h 141322"/>
                <a:gd name="connsiteX6" fmla="*/ 81167 w 151601"/>
                <a:gd name="connsiteY6" fmla="*/ 453 h 141322"/>
                <a:gd name="connsiteX7" fmla="*/ 151602 w 151601"/>
                <a:gd name="connsiteY7" fmla="*/ 88496 h 141322"/>
                <a:gd name="connsiteX8" fmla="*/ 148667 w 151601"/>
                <a:gd name="connsiteY8" fmla="*/ 94366 h 141322"/>
                <a:gd name="connsiteX9" fmla="*/ 142797 w 151601"/>
                <a:gd name="connsiteY9" fmla="*/ 91431 h 141322"/>
                <a:gd name="connsiteX10" fmla="*/ 81167 w 151601"/>
                <a:gd name="connsiteY10" fmla="*/ 9257 h 141322"/>
                <a:gd name="connsiteX11" fmla="*/ 13667 w 151601"/>
                <a:gd name="connsiteY11" fmla="*/ 29801 h 141322"/>
                <a:gd name="connsiteX12" fmla="*/ 10732 w 151601"/>
                <a:gd name="connsiteY12" fmla="*/ 35670 h 141322"/>
                <a:gd name="connsiteX13" fmla="*/ 28341 w 151601"/>
                <a:gd name="connsiteY13" fmla="*/ 44474 h 141322"/>
                <a:gd name="connsiteX14" fmla="*/ 87036 w 151601"/>
                <a:gd name="connsiteY14" fmla="*/ 85561 h 141322"/>
                <a:gd name="connsiteX15" fmla="*/ 87036 w 151601"/>
                <a:gd name="connsiteY15" fmla="*/ 91431 h 141322"/>
                <a:gd name="connsiteX16" fmla="*/ 69428 w 151601"/>
                <a:gd name="connsiteY16" fmla="*/ 129583 h 141322"/>
                <a:gd name="connsiteX17" fmla="*/ 66493 w 151601"/>
                <a:gd name="connsiteY17" fmla="*/ 141322 h 141322"/>
                <a:gd name="connsiteX18" fmla="*/ 66493 w 151601"/>
                <a:gd name="connsiteY18" fmla="*/ 141322 h 141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1601" h="141322">
                  <a:moveTo>
                    <a:pt x="66493" y="141322"/>
                  </a:moveTo>
                  <a:cubicBezTo>
                    <a:pt x="63558" y="141322"/>
                    <a:pt x="60623" y="138388"/>
                    <a:pt x="60623" y="135453"/>
                  </a:cubicBezTo>
                  <a:cubicBezTo>
                    <a:pt x="57689" y="117844"/>
                    <a:pt x="72363" y="97301"/>
                    <a:pt x="78232" y="88496"/>
                  </a:cubicBezTo>
                  <a:cubicBezTo>
                    <a:pt x="66493" y="65018"/>
                    <a:pt x="45949" y="62083"/>
                    <a:pt x="28341" y="56214"/>
                  </a:cubicBezTo>
                  <a:cubicBezTo>
                    <a:pt x="16602" y="53279"/>
                    <a:pt x="4862" y="50344"/>
                    <a:pt x="1928" y="41540"/>
                  </a:cubicBezTo>
                  <a:cubicBezTo>
                    <a:pt x="-1007" y="35670"/>
                    <a:pt x="-1007" y="29801"/>
                    <a:pt x="4862" y="23931"/>
                  </a:cubicBezTo>
                  <a:cubicBezTo>
                    <a:pt x="13667" y="9257"/>
                    <a:pt x="45949" y="-2482"/>
                    <a:pt x="81167" y="453"/>
                  </a:cubicBezTo>
                  <a:cubicBezTo>
                    <a:pt x="128123" y="3388"/>
                    <a:pt x="148667" y="85561"/>
                    <a:pt x="151602" y="88496"/>
                  </a:cubicBezTo>
                  <a:cubicBezTo>
                    <a:pt x="151602" y="91431"/>
                    <a:pt x="151602" y="94366"/>
                    <a:pt x="148667" y="94366"/>
                  </a:cubicBezTo>
                  <a:cubicBezTo>
                    <a:pt x="145732" y="94366"/>
                    <a:pt x="142797" y="94366"/>
                    <a:pt x="142797" y="91431"/>
                  </a:cubicBezTo>
                  <a:cubicBezTo>
                    <a:pt x="142797" y="91431"/>
                    <a:pt x="122254" y="15127"/>
                    <a:pt x="81167" y="9257"/>
                  </a:cubicBezTo>
                  <a:cubicBezTo>
                    <a:pt x="51819" y="6322"/>
                    <a:pt x="22471" y="18061"/>
                    <a:pt x="13667" y="29801"/>
                  </a:cubicBezTo>
                  <a:cubicBezTo>
                    <a:pt x="10732" y="32735"/>
                    <a:pt x="10732" y="35670"/>
                    <a:pt x="10732" y="35670"/>
                  </a:cubicBezTo>
                  <a:cubicBezTo>
                    <a:pt x="13667" y="38605"/>
                    <a:pt x="19536" y="41540"/>
                    <a:pt x="28341" y="44474"/>
                  </a:cubicBezTo>
                  <a:cubicBezTo>
                    <a:pt x="48884" y="47409"/>
                    <a:pt x="75297" y="53279"/>
                    <a:pt x="87036" y="85561"/>
                  </a:cubicBezTo>
                  <a:cubicBezTo>
                    <a:pt x="87036" y="88496"/>
                    <a:pt x="87036" y="88496"/>
                    <a:pt x="87036" y="91431"/>
                  </a:cubicBezTo>
                  <a:cubicBezTo>
                    <a:pt x="87036" y="91431"/>
                    <a:pt x="66493" y="111974"/>
                    <a:pt x="69428" y="129583"/>
                  </a:cubicBezTo>
                  <a:cubicBezTo>
                    <a:pt x="72363" y="138388"/>
                    <a:pt x="72363" y="141322"/>
                    <a:pt x="66493" y="141322"/>
                  </a:cubicBezTo>
                  <a:cubicBezTo>
                    <a:pt x="66493" y="141322"/>
                    <a:pt x="66493" y="141322"/>
                    <a:pt x="66493" y="141322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9C5B19F5-314E-429D-B016-FBAA0B5DEE6F}"/>
                </a:ext>
              </a:extLst>
            </p:cNvPr>
            <p:cNvSpPr/>
            <p:nvPr/>
          </p:nvSpPr>
          <p:spPr>
            <a:xfrm>
              <a:off x="7856498" y="3272921"/>
              <a:ext cx="208369" cy="220108"/>
            </a:xfrm>
            <a:custGeom>
              <a:avLst/>
              <a:gdLst>
                <a:gd name="connsiteX0" fmla="*/ 90978 w 208369"/>
                <a:gd name="connsiteY0" fmla="*/ 0 h 220108"/>
                <a:gd name="connsiteX1" fmla="*/ 0 w 208369"/>
                <a:gd name="connsiteY1" fmla="*/ 102717 h 220108"/>
                <a:gd name="connsiteX2" fmla="*/ 88043 w 208369"/>
                <a:gd name="connsiteY2" fmla="*/ 220109 h 220108"/>
                <a:gd name="connsiteX3" fmla="*/ 208370 w 208369"/>
                <a:gd name="connsiteY3" fmla="*/ 99783 h 22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369" h="220108">
                  <a:moveTo>
                    <a:pt x="90978" y="0"/>
                  </a:moveTo>
                  <a:lnTo>
                    <a:pt x="0" y="102717"/>
                  </a:lnTo>
                  <a:lnTo>
                    <a:pt x="88043" y="220109"/>
                  </a:lnTo>
                  <a:lnTo>
                    <a:pt x="208370" y="99783"/>
                  </a:ln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3B45BE04-5382-4044-9DCA-391A2C6DCC31}"/>
                </a:ext>
              </a:extLst>
            </p:cNvPr>
            <p:cNvSpPr/>
            <p:nvPr/>
          </p:nvSpPr>
          <p:spPr>
            <a:xfrm>
              <a:off x="6915202" y="2852586"/>
              <a:ext cx="1117383" cy="1092407"/>
            </a:xfrm>
            <a:custGeom>
              <a:avLst/>
              <a:gdLst>
                <a:gd name="connsiteX0" fmla="*/ 69666 w 1117383"/>
                <a:gd name="connsiteY0" fmla="*/ 6531 h 1092407"/>
                <a:gd name="connsiteX1" fmla="*/ 410101 w 1117383"/>
                <a:gd name="connsiteY1" fmla="*/ 344031 h 1092407"/>
                <a:gd name="connsiteX2" fmla="*/ 597927 w 1117383"/>
                <a:gd name="connsiteY2" fmla="*/ 778379 h 1092407"/>
                <a:gd name="connsiteX3" fmla="*/ 979449 w 1117383"/>
                <a:gd name="connsiteY3" fmla="*/ 420336 h 1092407"/>
                <a:gd name="connsiteX4" fmla="*/ 1117384 w 1117383"/>
                <a:gd name="connsiteY4" fmla="*/ 575879 h 1092407"/>
                <a:gd name="connsiteX5" fmla="*/ 583253 w 1117383"/>
                <a:gd name="connsiteY5" fmla="*/ 1092401 h 1092407"/>
                <a:gd name="connsiteX6" fmla="*/ 69666 w 1117383"/>
                <a:gd name="connsiteY6" fmla="*/ 6531 h 109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7383" h="1092407">
                  <a:moveTo>
                    <a:pt x="69666" y="6531"/>
                  </a:moveTo>
                  <a:cubicBezTo>
                    <a:pt x="189993" y="-46295"/>
                    <a:pt x="348471" y="235444"/>
                    <a:pt x="410101" y="344031"/>
                  </a:cubicBezTo>
                  <a:cubicBezTo>
                    <a:pt x="465862" y="440879"/>
                    <a:pt x="597927" y="778379"/>
                    <a:pt x="597927" y="778379"/>
                  </a:cubicBezTo>
                  <a:lnTo>
                    <a:pt x="979449" y="420336"/>
                  </a:lnTo>
                  <a:lnTo>
                    <a:pt x="1117384" y="575879"/>
                  </a:lnTo>
                  <a:cubicBezTo>
                    <a:pt x="1117384" y="575879"/>
                    <a:pt x="706514" y="1089466"/>
                    <a:pt x="583253" y="1092401"/>
                  </a:cubicBezTo>
                  <a:cubicBezTo>
                    <a:pt x="374884" y="1095336"/>
                    <a:pt x="-197399" y="126857"/>
                    <a:pt x="69666" y="6531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43" name="图形 1">
              <a:extLst>
                <a:ext uri="{FF2B5EF4-FFF2-40B4-BE49-F238E27FC236}">
                  <a16:creationId xmlns:a16="http://schemas.microsoft.com/office/drawing/2014/main" id="{022DE2CF-4F1C-4C5B-B1AE-3B97CDD4339E}"/>
                </a:ext>
              </a:extLst>
            </p:cNvPr>
            <p:cNvGrpSpPr/>
            <p:nvPr/>
          </p:nvGrpSpPr>
          <p:grpSpPr>
            <a:xfrm>
              <a:off x="7416281" y="6245856"/>
              <a:ext cx="545994" cy="373579"/>
              <a:chOff x="7416281" y="6245856"/>
              <a:chExt cx="545994" cy="373579"/>
            </a:xfrm>
          </p:grpSpPr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9EBCDE9D-A5EB-4161-A0C8-50823FDBAA8B}"/>
                  </a:ext>
                </a:extLst>
              </p:cNvPr>
              <p:cNvSpPr/>
              <p:nvPr/>
            </p:nvSpPr>
            <p:spPr>
              <a:xfrm>
                <a:off x="7416281" y="6245856"/>
                <a:ext cx="214239" cy="258260"/>
              </a:xfrm>
              <a:custGeom>
                <a:avLst/>
                <a:gdLst>
                  <a:gd name="connsiteX0" fmla="*/ 64565 w 214239"/>
                  <a:gd name="connsiteY0" fmla="*/ 225978 h 258260"/>
                  <a:gd name="connsiteX1" fmla="*/ 0 w 214239"/>
                  <a:gd name="connsiteY1" fmla="*/ 58696 h 258260"/>
                  <a:gd name="connsiteX2" fmla="*/ 164348 w 214239"/>
                  <a:gd name="connsiteY2" fmla="*/ 0 h 258260"/>
                  <a:gd name="connsiteX3" fmla="*/ 214239 w 214239"/>
                  <a:gd name="connsiteY3" fmla="*/ 181956 h 258260"/>
                  <a:gd name="connsiteX4" fmla="*/ 88043 w 214239"/>
                  <a:gd name="connsiteY4" fmla="*/ 258261 h 258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239" h="258260">
                    <a:moveTo>
                      <a:pt x="64565" y="225978"/>
                    </a:moveTo>
                    <a:lnTo>
                      <a:pt x="0" y="58696"/>
                    </a:lnTo>
                    <a:lnTo>
                      <a:pt x="164348" y="0"/>
                    </a:lnTo>
                    <a:lnTo>
                      <a:pt x="214239" y="181956"/>
                    </a:lnTo>
                    <a:lnTo>
                      <a:pt x="88043" y="258261"/>
                    </a:ln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1AE51702-1612-4203-AF86-F8A97C11BC1D}"/>
                  </a:ext>
                </a:extLst>
              </p:cNvPr>
              <p:cNvSpPr/>
              <p:nvPr/>
            </p:nvSpPr>
            <p:spPr>
              <a:xfrm>
                <a:off x="7468946" y="6372052"/>
                <a:ext cx="478530" cy="205434"/>
              </a:xfrm>
              <a:custGeom>
                <a:avLst/>
                <a:gdLst>
                  <a:gd name="connsiteX0" fmla="*/ 161 w 478530"/>
                  <a:gd name="connsiteY0" fmla="*/ 102717 h 205434"/>
                  <a:gd name="connsiteX1" fmla="*/ 152770 w 478530"/>
                  <a:gd name="connsiteY1" fmla="*/ 0 h 205434"/>
                  <a:gd name="connsiteX2" fmla="*/ 299509 w 478530"/>
                  <a:gd name="connsiteY2" fmla="*/ 29348 h 205434"/>
                  <a:gd name="connsiteX3" fmla="*/ 478531 w 478530"/>
                  <a:gd name="connsiteY3" fmla="*/ 46957 h 205434"/>
                  <a:gd name="connsiteX4" fmla="*/ 35378 w 478530"/>
                  <a:gd name="connsiteY4" fmla="*/ 205435 h 205434"/>
                  <a:gd name="connsiteX5" fmla="*/ 161 w 478530"/>
                  <a:gd name="connsiteY5" fmla="*/ 102717 h 20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8530" h="205434">
                    <a:moveTo>
                      <a:pt x="161" y="102717"/>
                    </a:moveTo>
                    <a:cubicBezTo>
                      <a:pt x="161" y="102717"/>
                      <a:pt x="117552" y="79239"/>
                      <a:pt x="152770" y="0"/>
                    </a:cubicBezTo>
                    <a:cubicBezTo>
                      <a:pt x="152770" y="0"/>
                      <a:pt x="255487" y="35217"/>
                      <a:pt x="299509" y="29348"/>
                    </a:cubicBezTo>
                    <a:cubicBezTo>
                      <a:pt x="343531" y="23478"/>
                      <a:pt x="443313" y="-14674"/>
                      <a:pt x="478531" y="46957"/>
                    </a:cubicBezTo>
                    <a:lnTo>
                      <a:pt x="35378" y="205435"/>
                    </a:lnTo>
                    <a:cubicBezTo>
                      <a:pt x="35378" y="205435"/>
                      <a:pt x="-2774" y="155544"/>
                      <a:pt x="161" y="102717"/>
                    </a:cubicBezTo>
                    <a:close/>
                  </a:path>
                </a:pathLst>
              </a:custGeom>
              <a:solidFill>
                <a:srgbClr val="7E94B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42669BF1-25EF-43D9-987B-76CADAC7024B}"/>
                  </a:ext>
                </a:extLst>
              </p:cNvPr>
              <p:cNvSpPr/>
              <p:nvPr/>
            </p:nvSpPr>
            <p:spPr>
              <a:xfrm rot="-1175784">
                <a:off x="7498917" y="6497942"/>
                <a:ext cx="469575" cy="44022"/>
              </a:xfrm>
              <a:custGeom>
                <a:avLst/>
                <a:gdLst>
                  <a:gd name="connsiteX0" fmla="*/ 0 w 469575"/>
                  <a:gd name="connsiteY0" fmla="*/ 0 h 44022"/>
                  <a:gd name="connsiteX1" fmla="*/ 469576 w 469575"/>
                  <a:gd name="connsiteY1" fmla="*/ 0 h 44022"/>
                  <a:gd name="connsiteX2" fmla="*/ 469576 w 469575"/>
                  <a:gd name="connsiteY2" fmla="*/ 44023 h 44022"/>
                  <a:gd name="connsiteX3" fmla="*/ 0 w 469575"/>
                  <a:gd name="connsiteY3" fmla="*/ 44023 h 44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9575" h="44022">
                    <a:moveTo>
                      <a:pt x="0" y="0"/>
                    </a:moveTo>
                    <a:lnTo>
                      <a:pt x="469576" y="0"/>
                    </a:lnTo>
                    <a:lnTo>
                      <a:pt x="469576" y="44023"/>
                    </a:lnTo>
                    <a:lnTo>
                      <a:pt x="0" y="44023"/>
                    </a:lnTo>
                    <a:close/>
                  </a:path>
                </a:pathLst>
              </a:custGeom>
              <a:solidFill>
                <a:srgbClr val="38333D"/>
              </a:solidFill>
              <a:ln w="29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6C5EC195-C90E-4426-A544-851B8C9EF490}"/>
                  </a:ext>
                </a:extLst>
              </p:cNvPr>
              <p:cNvSpPr/>
              <p:nvPr/>
            </p:nvSpPr>
            <p:spPr>
              <a:xfrm>
                <a:off x="7463238" y="6369117"/>
                <a:ext cx="164347" cy="111521"/>
              </a:xfrm>
              <a:custGeom>
                <a:avLst/>
                <a:gdLst>
                  <a:gd name="connsiteX0" fmla="*/ 5869 w 164347"/>
                  <a:gd name="connsiteY0" fmla="*/ 111522 h 111521"/>
                  <a:gd name="connsiteX1" fmla="*/ 0 w 164347"/>
                  <a:gd name="connsiteY1" fmla="*/ 108587 h 111521"/>
                  <a:gd name="connsiteX2" fmla="*/ 2935 w 164347"/>
                  <a:gd name="connsiteY2" fmla="*/ 102717 h 111521"/>
                  <a:gd name="connsiteX3" fmla="*/ 152609 w 164347"/>
                  <a:gd name="connsiteY3" fmla="*/ 2935 h 111521"/>
                  <a:gd name="connsiteX4" fmla="*/ 161413 w 164347"/>
                  <a:gd name="connsiteY4" fmla="*/ 0 h 111521"/>
                  <a:gd name="connsiteX5" fmla="*/ 164348 w 164347"/>
                  <a:gd name="connsiteY5" fmla="*/ 8804 h 111521"/>
                  <a:gd name="connsiteX6" fmla="*/ 5869 w 164347"/>
                  <a:gd name="connsiteY6" fmla="*/ 111522 h 111521"/>
                  <a:gd name="connsiteX7" fmla="*/ 5869 w 164347"/>
                  <a:gd name="connsiteY7" fmla="*/ 111522 h 111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347" h="111521">
                    <a:moveTo>
                      <a:pt x="5869" y="111522"/>
                    </a:moveTo>
                    <a:cubicBezTo>
                      <a:pt x="2935" y="111522"/>
                      <a:pt x="0" y="108587"/>
                      <a:pt x="0" y="108587"/>
                    </a:cubicBezTo>
                    <a:cubicBezTo>
                      <a:pt x="0" y="105652"/>
                      <a:pt x="0" y="102717"/>
                      <a:pt x="2935" y="102717"/>
                    </a:cubicBezTo>
                    <a:cubicBezTo>
                      <a:pt x="2935" y="102717"/>
                      <a:pt x="111522" y="79239"/>
                      <a:pt x="152609" y="2935"/>
                    </a:cubicBezTo>
                    <a:cubicBezTo>
                      <a:pt x="155544" y="0"/>
                      <a:pt x="158478" y="0"/>
                      <a:pt x="161413" y="0"/>
                    </a:cubicBezTo>
                    <a:cubicBezTo>
                      <a:pt x="164348" y="0"/>
                      <a:pt x="164348" y="5870"/>
                      <a:pt x="164348" y="8804"/>
                    </a:cubicBezTo>
                    <a:cubicBezTo>
                      <a:pt x="117391" y="88043"/>
                      <a:pt x="8804" y="111522"/>
                      <a:pt x="5869" y="111522"/>
                    </a:cubicBezTo>
                    <a:cubicBezTo>
                      <a:pt x="5869" y="111522"/>
                      <a:pt x="5869" y="111522"/>
                      <a:pt x="5869" y="11152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FE705B04-2A2B-4F93-A7D6-B61BD29AF40C}"/>
                  </a:ext>
                </a:extLst>
              </p:cNvPr>
              <p:cNvSpPr/>
              <p:nvPr/>
            </p:nvSpPr>
            <p:spPr>
              <a:xfrm>
                <a:off x="7642259" y="6380856"/>
                <a:ext cx="23478" cy="44021"/>
              </a:xfrm>
              <a:custGeom>
                <a:avLst/>
                <a:gdLst>
                  <a:gd name="connsiteX0" fmla="*/ 5870 w 23478"/>
                  <a:gd name="connsiteY0" fmla="*/ 44022 h 44021"/>
                  <a:gd name="connsiteX1" fmla="*/ 5870 w 23478"/>
                  <a:gd name="connsiteY1" fmla="*/ 44022 h 44021"/>
                  <a:gd name="connsiteX2" fmla="*/ 0 w 23478"/>
                  <a:gd name="connsiteY2" fmla="*/ 35217 h 44021"/>
                  <a:gd name="connsiteX3" fmla="*/ 14674 w 23478"/>
                  <a:gd name="connsiteY3" fmla="*/ 2935 h 44021"/>
                  <a:gd name="connsiteX4" fmla="*/ 20544 w 23478"/>
                  <a:gd name="connsiteY4" fmla="*/ 0 h 44021"/>
                  <a:gd name="connsiteX5" fmla="*/ 23478 w 23478"/>
                  <a:gd name="connsiteY5" fmla="*/ 5869 h 44021"/>
                  <a:gd name="connsiteX6" fmla="*/ 8804 w 23478"/>
                  <a:gd name="connsiteY6" fmla="*/ 38152 h 44021"/>
                  <a:gd name="connsiteX7" fmla="*/ 5870 w 23478"/>
                  <a:gd name="connsiteY7" fmla="*/ 44022 h 44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478" h="44021">
                    <a:moveTo>
                      <a:pt x="5870" y="44022"/>
                    </a:moveTo>
                    <a:cubicBezTo>
                      <a:pt x="2935" y="44022"/>
                      <a:pt x="2935" y="44022"/>
                      <a:pt x="5870" y="44022"/>
                    </a:cubicBezTo>
                    <a:cubicBezTo>
                      <a:pt x="0" y="41087"/>
                      <a:pt x="0" y="38152"/>
                      <a:pt x="0" y="35217"/>
                    </a:cubicBezTo>
                    <a:lnTo>
                      <a:pt x="14674" y="2935"/>
                    </a:lnTo>
                    <a:cubicBezTo>
                      <a:pt x="14674" y="0"/>
                      <a:pt x="20544" y="0"/>
                      <a:pt x="20544" y="0"/>
                    </a:cubicBezTo>
                    <a:cubicBezTo>
                      <a:pt x="23478" y="0"/>
                      <a:pt x="23478" y="5869"/>
                      <a:pt x="23478" y="5869"/>
                    </a:cubicBezTo>
                    <a:lnTo>
                      <a:pt x="8804" y="38152"/>
                    </a:lnTo>
                    <a:cubicBezTo>
                      <a:pt x="8804" y="41087"/>
                      <a:pt x="5870" y="44022"/>
                      <a:pt x="5870" y="4402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BB7F6C4A-D0EF-42BB-AA37-B8AF0BA7FD21}"/>
                  </a:ext>
                </a:extLst>
              </p:cNvPr>
              <p:cNvSpPr/>
              <p:nvPr/>
            </p:nvSpPr>
            <p:spPr>
              <a:xfrm>
                <a:off x="7683346" y="6392595"/>
                <a:ext cx="23478" cy="44021"/>
              </a:xfrm>
              <a:custGeom>
                <a:avLst/>
                <a:gdLst>
                  <a:gd name="connsiteX0" fmla="*/ 5869 w 23478"/>
                  <a:gd name="connsiteY0" fmla="*/ 44022 h 44021"/>
                  <a:gd name="connsiteX1" fmla="*/ 5869 w 23478"/>
                  <a:gd name="connsiteY1" fmla="*/ 44022 h 44021"/>
                  <a:gd name="connsiteX2" fmla="*/ 0 w 23478"/>
                  <a:gd name="connsiteY2" fmla="*/ 35217 h 44021"/>
                  <a:gd name="connsiteX3" fmla="*/ 14674 w 23478"/>
                  <a:gd name="connsiteY3" fmla="*/ 2935 h 44021"/>
                  <a:gd name="connsiteX4" fmla="*/ 20543 w 23478"/>
                  <a:gd name="connsiteY4" fmla="*/ 0 h 44021"/>
                  <a:gd name="connsiteX5" fmla="*/ 23478 w 23478"/>
                  <a:gd name="connsiteY5" fmla="*/ 5869 h 44021"/>
                  <a:gd name="connsiteX6" fmla="*/ 8804 w 23478"/>
                  <a:gd name="connsiteY6" fmla="*/ 38152 h 44021"/>
                  <a:gd name="connsiteX7" fmla="*/ 5869 w 23478"/>
                  <a:gd name="connsiteY7" fmla="*/ 44022 h 44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478" h="44021">
                    <a:moveTo>
                      <a:pt x="5869" y="44022"/>
                    </a:moveTo>
                    <a:cubicBezTo>
                      <a:pt x="5869" y="44022"/>
                      <a:pt x="5869" y="44022"/>
                      <a:pt x="5869" y="44022"/>
                    </a:cubicBezTo>
                    <a:cubicBezTo>
                      <a:pt x="0" y="41087"/>
                      <a:pt x="0" y="38152"/>
                      <a:pt x="0" y="35217"/>
                    </a:cubicBezTo>
                    <a:lnTo>
                      <a:pt x="14674" y="2935"/>
                    </a:lnTo>
                    <a:cubicBezTo>
                      <a:pt x="14674" y="0"/>
                      <a:pt x="20543" y="0"/>
                      <a:pt x="20543" y="0"/>
                    </a:cubicBezTo>
                    <a:cubicBezTo>
                      <a:pt x="23478" y="0"/>
                      <a:pt x="23478" y="5869"/>
                      <a:pt x="23478" y="5869"/>
                    </a:cubicBezTo>
                    <a:lnTo>
                      <a:pt x="8804" y="38152"/>
                    </a:lnTo>
                    <a:cubicBezTo>
                      <a:pt x="11739" y="41087"/>
                      <a:pt x="8804" y="44022"/>
                      <a:pt x="5869" y="4402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50" name="图形 1">
              <a:extLst>
                <a:ext uri="{FF2B5EF4-FFF2-40B4-BE49-F238E27FC236}">
                  <a16:creationId xmlns:a16="http://schemas.microsoft.com/office/drawing/2014/main" id="{022DE2CF-4F1C-4C5B-B1AE-3B97CDD4339E}"/>
                </a:ext>
              </a:extLst>
            </p:cNvPr>
            <p:cNvGrpSpPr/>
            <p:nvPr/>
          </p:nvGrpSpPr>
          <p:grpSpPr>
            <a:xfrm>
              <a:off x="6262585" y="6345639"/>
              <a:ext cx="478695" cy="328695"/>
              <a:chOff x="6262585" y="6345639"/>
              <a:chExt cx="478695" cy="328695"/>
            </a:xfrm>
          </p:grpSpPr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9ADCE58D-CA91-4B72-89FB-C90465972ECE}"/>
                  </a:ext>
                </a:extLst>
              </p:cNvPr>
              <p:cNvSpPr/>
              <p:nvPr/>
            </p:nvSpPr>
            <p:spPr>
              <a:xfrm>
                <a:off x="6283455" y="6345639"/>
                <a:ext cx="176086" cy="214238"/>
              </a:xfrm>
              <a:custGeom>
                <a:avLst/>
                <a:gdLst>
                  <a:gd name="connsiteX0" fmla="*/ 0 w 176086"/>
                  <a:gd name="connsiteY0" fmla="*/ 176087 h 214238"/>
                  <a:gd name="connsiteX1" fmla="*/ 0 w 176086"/>
                  <a:gd name="connsiteY1" fmla="*/ 0 h 214238"/>
                  <a:gd name="connsiteX2" fmla="*/ 176087 w 176086"/>
                  <a:gd name="connsiteY2" fmla="*/ 0 h 214238"/>
                  <a:gd name="connsiteX3" fmla="*/ 158478 w 176086"/>
                  <a:gd name="connsiteY3" fmla="*/ 187826 h 214238"/>
                  <a:gd name="connsiteX4" fmla="*/ 11739 w 176086"/>
                  <a:gd name="connsiteY4" fmla="*/ 214239 h 214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086" h="214238">
                    <a:moveTo>
                      <a:pt x="0" y="176087"/>
                    </a:moveTo>
                    <a:lnTo>
                      <a:pt x="0" y="0"/>
                    </a:lnTo>
                    <a:lnTo>
                      <a:pt x="176087" y="0"/>
                    </a:lnTo>
                    <a:lnTo>
                      <a:pt x="158478" y="187826"/>
                    </a:lnTo>
                    <a:lnTo>
                      <a:pt x="11739" y="214239"/>
                    </a:ln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ED0E500F-EEEE-430B-B62E-DF1A767548D7}"/>
                  </a:ext>
                </a:extLst>
              </p:cNvPr>
              <p:cNvSpPr/>
              <p:nvPr/>
            </p:nvSpPr>
            <p:spPr>
              <a:xfrm>
                <a:off x="6262585" y="6477704"/>
                <a:ext cx="478695" cy="152608"/>
              </a:xfrm>
              <a:custGeom>
                <a:avLst/>
                <a:gdLst>
                  <a:gd name="connsiteX0" fmla="*/ 9130 w 478695"/>
                  <a:gd name="connsiteY0" fmla="*/ 44022 h 152608"/>
                  <a:gd name="connsiteX1" fmla="*/ 188152 w 478695"/>
                  <a:gd name="connsiteY1" fmla="*/ 0 h 152608"/>
                  <a:gd name="connsiteX2" fmla="*/ 317283 w 478695"/>
                  <a:gd name="connsiteY2" fmla="*/ 76304 h 152608"/>
                  <a:gd name="connsiteX3" fmla="*/ 478696 w 478695"/>
                  <a:gd name="connsiteY3" fmla="*/ 152609 h 152608"/>
                  <a:gd name="connsiteX4" fmla="*/ 9130 w 478695"/>
                  <a:gd name="connsiteY4" fmla="*/ 152609 h 152608"/>
                  <a:gd name="connsiteX5" fmla="*/ 9130 w 478695"/>
                  <a:gd name="connsiteY5" fmla="*/ 44022 h 152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8695" h="152608">
                    <a:moveTo>
                      <a:pt x="9130" y="44022"/>
                    </a:moveTo>
                    <a:cubicBezTo>
                      <a:pt x="9130" y="44022"/>
                      <a:pt x="129457" y="61630"/>
                      <a:pt x="188152" y="0"/>
                    </a:cubicBezTo>
                    <a:cubicBezTo>
                      <a:pt x="188152" y="0"/>
                      <a:pt x="273261" y="67500"/>
                      <a:pt x="317283" y="76304"/>
                    </a:cubicBezTo>
                    <a:cubicBezTo>
                      <a:pt x="361304" y="85109"/>
                      <a:pt x="466957" y="82174"/>
                      <a:pt x="478696" y="152609"/>
                    </a:cubicBezTo>
                    <a:lnTo>
                      <a:pt x="9130" y="152609"/>
                    </a:lnTo>
                    <a:cubicBezTo>
                      <a:pt x="9130" y="152609"/>
                      <a:pt x="-11413" y="93913"/>
                      <a:pt x="9130" y="44022"/>
                    </a:cubicBezTo>
                    <a:close/>
                  </a:path>
                </a:pathLst>
              </a:custGeom>
              <a:solidFill>
                <a:srgbClr val="7E94B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143E2918-BE97-46C4-92D3-D6B5746DC332}"/>
                  </a:ext>
                </a:extLst>
              </p:cNvPr>
              <p:cNvSpPr/>
              <p:nvPr/>
            </p:nvSpPr>
            <p:spPr>
              <a:xfrm>
                <a:off x="6271716" y="6630313"/>
                <a:ext cx="469565" cy="44021"/>
              </a:xfrm>
              <a:custGeom>
                <a:avLst/>
                <a:gdLst>
                  <a:gd name="connsiteX0" fmla="*/ 0 w 469565"/>
                  <a:gd name="connsiteY0" fmla="*/ 0 h 44021"/>
                  <a:gd name="connsiteX1" fmla="*/ 469565 w 469565"/>
                  <a:gd name="connsiteY1" fmla="*/ 0 h 44021"/>
                  <a:gd name="connsiteX2" fmla="*/ 469565 w 469565"/>
                  <a:gd name="connsiteY2" fmla="*/ 44022 h 44021"/>
                  <a:gd name="connsiteX3" fmla="*/ 0 w 469565"/>
                  <a:gd name="connsiteY3" fmla="*/ 44022 h 44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9565" h="44021">
                    <a:moveTo>
                      <a:pt x="0" y="0"/>
                    </a:moveTo>
                    <a:lnTo>
                      <a:pt x="469565" y="0"/>
                    </a:lnTo>
                    <a:lnTo>
                      <a:pt x="469565" y="44022"/>
                    </a:lnTo>
                    <a:lnTo>
                      <a:pt x="0" y="44022"/>
                    </a:lnTo>
                    <a:close/>
                  </a:path>
                </a:pathLst>
              </a:custGeom>
              <a:solidFill>
                <a:srgbClr val="38333D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FEE78F14-A1D9-4137-88C1-F01AB0B4444A}"/>
                  </a:ext>
                </a:extLst>
              </p:cNvPr>
              <p:cNvSpPr/>
              <p:nvPr/>
            </p:nvSpPr>
            <p:spPr>
              <a:xfrm>
                <a:off x="6262911" y="6469633"/>
                <a:ext cx="192962" cy="60896"/>
              </a:xfrm>
              <a:custGeom>
                <a:avLst/>
                <a:gdLst>
                  <a:gd name="connsiteX0" fmla="*/ 41087 w 192962"/>
                  <a:gd name="connsiteY0" fmla="*/ 60897 h 60896"/>
                  <a:gd name="connsiteX1" fmla="*/ 5870 w 192962"/>
                  <a:gd name="connsiteY1" fmla="*/ 57962 h 60896"/>
                  <a:gd name="connsiteX2" fmla="*/ 0 w 192962"/>
                  <a:gd name="connsiteY2" fmla="*/ 52093 h 60896"/>
                  <a:gd name="connsiteX3" fmla="*/ 5870 w 192962"/>
                  <a:gd name="connsiteY3" fmla="*/ 46223 h 60896"/>
                  <a:gd name="connsiteX4" fmla="*/ 181957 w 192962"/>
                  <a:gd name="connsiteY4" fmla="*/ 2201 h 60896"/>
                  <a:gd name="connsiteX5" fmla="*/ 190761 w 192962"/>
                  <a:gd name="connsiteY5" fmla="*/ 2201 h 60896"/>
                  <a:gd name="connsiteX6" fmla="*/ 190761 w 192962"/>
                  <a:gd name="connsiteY6" fmla="*/ 11005 h 60896"/>
                  <a:gd name="connsiteX7" fmla="*/ 41087 w 192962"/>
                  <a:gd name="connsiteY7" fmla="*/ 60897 h 60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962" h="60896">
                    <a:moveTo>
                      <a:pt x="41087" y="60897"/>
                    </a:moveTo>
                    <a:cubicBezTo>
                      <a:pt x="20544" y="60897"/>
                      <a:pt x="8804" y="57962"/>
                      <a:pt x="5870" y="57962"/>
                    </a:cubicBezTo>
                    <a:cubicBezTo>
                      <a:pt x="2935" y="57962"/>
                      <a:pt x="0" y="55027"/>
                      <a:pt x="0" y="52093"/>
                    </a:cubicBezTo>
                    <a:cubicBezTo>
                      <a:pt x="0" y="49158"/>
                      <a:pt x="2935" y="46223"/>
                      <a:pt x="5870" y="46223"/>
                    </a:cubicBezTo>
                    <a:cubicBezTo>
                      <a:pt x="5870" y="46223"/>
                      <a:pt x="114457" y="60897"/>
                      <a:pt x="181957" y="2201"/>
                    </a:cubicBezTo>
                    <a:cubicBezTo>
                      <a:pt x="184891" y="-734"/>
                      <a:pt x="187826" y="-734"/>
                      <a:pt x="190761" y="2201"/>
                    </a:cubicBezTo>
                    <a:cubicBezTo>
                      <a:pt x="193696" y="5136"/>
                      <a:pt x="193696" y="8071"/>
                      <a:pt x="190761" y="11005"/>
                    </a:cubicBezTo>
                    <a:cubicBezTo>
                      <a:pt x="143805" y="52093"/>
                      <a:pt x="79239" y="60897"/>
                      <a:pt x="41087" y="608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F6E4AC4E-19AC-4CBE-ADE8-9582A71C6152}"/>
                  </a:ext>
                </a:extLst>
              </p:cNvPr>
              <p:cNvSpPr/>
              <p:nvPr/>
            </p:nvSpPr>
            <p:spPr>
              <a:xfrm>
                <a:off x="6454406" y="6493112"/>
                <a:ext cx="39619" cy="40353"/>
              </a:xfrm>
              <a:custGeom>
                <a:avLst/>
                <a:gdLst>
                  <a:gd name="connsiteX0" fmla="*/ 5136 w 39619"/>
                  <a:gd name="connsiteY0" fmla="*/ 40353 h 40353"/>
                  <a:gd name="connsiteX1" fmla="*/ 2201 w 39619"/>
                  <a:gd name="connsiteY1" fmla="*/ 37418 h 40353"/>
                  <a:gd name="connsiteX2" fmla="*/ 2201 w 39619"/>
                  <a:gd name="connsiteY2" fmla="*/ 28614 h 40353"/>
                  <a:gd name="connsiteX3" fmla="*/ 28614 w 39619"/>
                  <a:gd name="connsiteY3" fmla="*/ 2201 h 40353"/>
                  <a:gd name="connsiteX4" fmla="*/ 37419 w 39619"/>
                  <a:gd name="connsiteY4" fmla="*/ 2201 h 40353"/>
                  <a:gd name="connsiteX5" fmla="*/ 37419 w 39619"/>
                  <a:gd name="connsiteY5" fmla="*/ 11005 h 40353"/>
                  <a:gd name="connsiteX6" fmla="*/ 11006 w 39619"/>
                  <a:gd name="connsiteY6" fmla="*/ 37418 h 40353"/>
                  <a:gd name="connsiteX7" fmla="*/ 5136 w 39619"/>
                  <a:gd name="connsiteY7" fmla="*/ 40353 h 40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619" h="40353">
                    <a:moveTo>
                      <a:pt x="5136" y="40353"/>
                    </a:moveTo>
                    <a:cubicBezTo>
                      <a:pt x="5136" y="40353"/>
                      <a:pt x="2201" y="40353"/>
                      <a:pt x="2201" y="37418"/>
                    </a:cubicBezTo>
                    <a:cubicBezTo>
                      <a:pt x="-734" y="34484"/>
                      <a:pt x="-734" y="31549"/>
                      <a:pt x="2201" y="28614"/>
                    </a:cubicBezTo>
                    <a:lnTo>
                      <a:pt x="28614" y="2201"/>
                    </a:lnTo>
                    <a:cubicBezTo>
                      <a:pt x="31549" y="-734"/>
                      <a:pt x="34484" y="-734"/>
                      <a:pt x="37419" y="2201"/>
                    </a:cubicBezTo>
                    <a:cubicBezTo>
                      <a:pt x="40353" y="5136"/>
                      <a:pt x="40353" y="8070"/>
                      <a:pt x="37419" y="11005"/>
                    </a:cubicBezTo>
                    <a:lnTo>
                      <a:pt x="11006" y="37418"/>
                    </a:lnTo>
                    <a:cubicBezTo>
                      <a:pt x="8071" y="40353"/>
                      <a:pt x="5136" y="40353"/>
                      <a:pt x="5136" y="403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6337B361-8472-4F46-A98A-6422429B0CD9}"/>
                  </a:ext>
                </a:extLst>
              </p:cNvPr>
              <p:cNvSpPr/>
              <p:nvPr/>
            </p:nvSpPr>
            <p:spPr>
              <a:xfrm>
                <a:off x="6489624" y="6519525"/>
                <a:ext cx="36684" cy="40353"/>
              </a:xfrm>
              <a:custGeom>
                <a:avLst/>
                <a:gdLst>
                  <a:gd name="connsiteX0" fmla="*/ 5136 w 36684"/>
                  <a:gd name="connsiteY0" fmla="*/ 40353 h 40353"/>
                  <a:gd name="connsiteX1" fmla="*/ 2201 w 36684"/>
                  <a:gd name="connsiteY1" fmla="*/ 37419 h 40353"/>
                  <a:gd name="connsiteX2" fmla="*/ 2201 w 36684"/>
                  <a:gd name="connsiteY2" fmla="*/ 28614 h 40353"/>
                  <a:gd name="connsiteX3" fmla="*/ 25679 w 36684"/>
                  <a:gd name="connsiteY3" fmla="*/ 2201 h 40353"/>
                  <a:gd name="connsiteX4" fmla="*/ 34484 w 36684"/>
                  <a:gd name="connsiteY4" fmla="*/ 2201 h 40353"/>
                  <a:gd name="connsiteX5" fmla="*/ 34484 w 36684"/>
                  <a:gd name="connsiteY5" fmla="*/ 11005 h 40353"/>
                  <a:gd name="connsiteX6" fmla="*/ 11005 w 36684"/>
                  <a:gd name="connsiteY6" fmla="*/ 37419 h 40353"/>
                  <a:gd name="connsiteX7" fmla="*/ 5136 w 36684"/>
                  <a:gd name="connsiteY7" fmla="*/ 40353 h 40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684" h="40353">
                    <a:moveTo>
                      <a:pt x="5136" y="40353"/>
                    </a:moveTo>
                    <a:cubicBezTo>
                      <a:pt x="5136" y="40353"/>
                      <a:pt x="2201" y="40353"/>
                      <a:pt x="2201" y="37419"/>
                    </a:cubicBezTo>
                    <a:cubicBezTo>
                      <a:pt x="-734" y="34484"/>
                      <a:pt x="-734" y="31549"/>
                      <a:pt x="2201" y="28614"/>
                    </a:cubicBezTo>
                    <a:lnTo>
                      <a:pt x="25679" y="2201"/>
                    </a:lnTo>
                    <a:cubicBezTo>
                      <a:pt x="28614" y="-734"/>
                      <a:pt x="31549" y="-734"/>
                      <a:pt x="34484" y="2201"/>
                    </a:cubicBezTo>
                    <a:cubicBezTo>
                      <a:pt x="37418" y="5136"/>
                      <a:pt x="37418" y="8071"/>
                      <a:pt x="34484" y="11005"/>
                    </a:cubicBezTo>
                    <a:lnTo>
                      <a:pt x="11005" y="37419"/>
                    </a:lnTo>
                    <a:cubicBezTo>
                      <a:pt x="8070" y="40353"/>
                      <a:pt x="8070" y="40353"/>
                      <a:pt x="5136" y="403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A07EF231-9579-44ED-849A-D1EF04377B41}"/>
                </a:ext>
              </a:extLst>
            </p:cNvPr>
            <p:cNvSpPr/>
            <p:nvPr/>
          </p:nvSpPr>
          <p:spPr>
            <a:xfrm>
              <a:off x="6170490" y="4214986"/>
              <a:ext cx="1468834" cy="2198151"/>
            </a:xfrm>
            <a:custGeom>
              <a:avLst/>
              <a:gdLst>
                <a:gd name="connsiteX0" fmla="*/ 996334 w 1468834"/>
                <a:gd name="connsiteY0" fmla="*/ 17609 h 2198151"/>
                <a:gd name="connsiteX1" fmla="*/ 1304486 w 1468834"/>
                <a:gd name="connsiteY1" fmla="*/ 1085870 h 2198151"/>
                <a:gd name="connsiteX2" fmla="*/ 1468834 w 1468834"/>
                <a:gd name="connsiteY2" fmla="*/ 2048478 h 2198151"/>
                <a:gd name="connsiteX3" fmla="*/ 1190030 w 1468834"/>
                <a:gd name="connsiteY3" fmla="*/ 2160000 h 2198151"/>
                <a:gd name="connsiteX4" fmla="*/ 902421 w 1468834"/>
                <a:gd name="connsiteY4" fmla="*/ 1285435 h 2198151"/>
                <a:gd name="connsiteX5" fmla="*/ 517964 w 1468834"/>
                <a:gd name="connsiteY5" fmla="*/ 484239 h 2198151"/>
                <a:gd name="connsiteX6" fmla="*/ 473943 w 1468834"/>
                <a:gd name="connsiteY6" fmla="*/ 1420435 h 2198151"/>
                <a:gd name="connsiteX7" fmla="*/ 333074 w 1468834"/>
                <a:gd name="connsiteY7" fmla="*/ 2189348 h 2198151"/>
                <a:gd name="connsiteX8" fmla="*/ 57204 w 1468834"/>
                <a:gd name="connsiteY8" fmla="*/ 2198152 h 2198151"/>
                <a:gd name="connsiteX9" fmla="*/ 86552 w 1468834"/>
                <a:gd name="connsiteY9" fmla="*/ 1402826 h 2198151"/>
                <a:gd name="connsiteX10" fmla="*/ 10247 w 1468834"/>
                <a:gd name="connsiteY10" fmla="*/ 0 h 2198151"/>
                <a:gd name="connsiteX11" fmla="*/ 996334 w 1468834"/>
                <a:gd name="connsiteY11" fmla="*/ 17609 h 2198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8834" h="2198151">
                  <a:moveTo>
                    <a:pt x="996334" y="17609"/>
                  </a:moveTo>
                  <a:lnTo>
                    <a:pt x="1304486" y="1085870"/>
                  </a:lnTo>
                  <a:lnTo>
                    <a:pt x="1468834" y="2048478"/>
                  </a:lnTo>
                  <a:lnTo>
                    <a:pt x="1190030" y="2160000"/>
                  </a:lnTo>
                  <a:lnTo>
                    <a:pt x="902421" y="1285435"/>
                  </a:lnTo>
                  <a:cubicBezTo>
                    <a:pt x="902421" y="1285435"/>
                    <a:pt x="526769" y="498913"/>
                    <a:pt x="517964" y="484239"/>
                  </a:cubicBezTo>
                  <a:cubicBezTo>
                    <a:pt x="503291" y="454891"/>
                    <a:pt x="473943" y="1420435"/>
                    <a:pt x="473943" y="1420435"/>
                  </a:cubicBezTo>
                  <a:lnTo>
                    <a:pt x="333074" y="2189348"/>
                  </a:lnTo>
                  <a:lnTo>
                    <a:pt x="57204" y="2198152"/>
                  </a:lnTo>
                  <a:cubicBezTo>
                    <a:pt x="57204" y="2198152"/>
                    <a:pt x="92421" y="1499674"/>
                    <a:pt x="86552" y="1402826"/>
                  </a:cubicBezTo>
                  <a:cubicBezTo>
                    <a:pt x="77747" y="1256087"/>
                    <a:pt x="-33774" y="93913"/>
                    <a:pt x="10247" y="0"/>
                  </a:cubicBezTo>
                  <a:cubicBezTo>
                    <a:pt x="685247" y="29348"/>
                    <a:pt x="996334" y="17609"/>
                    <a:pt x="996334" y="17609"/>
                  </a:cubicBezTo>
                  <a:close/>
                </a:path>
              </a:pathLst>
            </a:custGeom>
            <a:solidFill>
              <a:srgbClr val="F1DDBA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06083F49-3F44-4500-B556-0ED822EFBE02}"/>
                </a:ext>
              </a:extLst>
            </p:cNvPr>
            <p:cNvSpPr/>
            <p:nvPr/>
          </p:nvSpPr>
          <p:spPr>
            <a:xfrm>
              <a:off x="6682585" y="4352921"/>
              <a:ext cx="67500" cy="352173"/>
            </a:xfrm>
            <a:custGeom>
              <a:avLst/>
              <a:gdLst>
                <a:gd name="connsiteX0" fmla="*/ 5869 w 67500"/>
                <a:gd name="connsiteY0" fmla="*/ 352174 h 352173"/>
                <a:gd name="connsiteX1" fmla="*/ 5869 w 67500"/>
                <a:gd name="connsiteY1" fmla="*/ 352174 h 352173"/>
                <a:gd name="connsiteX2" fmla="*/ 0 w 67500"/>
                <a:gd name="connsiteY2" fmla="*/ 343370 h 352173"/>
                <a:gd name="connsiteX3" fmla="*/ 55761 w 67500"/>
                <a:gd name="connsiteY3" fmla="*/ 5870 h 352173"/>
                <a:gd name="connsiteX4" fmla="*/ 61631 w 67500"/>
                <a:gd name="connsiteY4" fmla="*/ 0 h 352173"/>
                <a:gd name="connsiteX5" fmla="*/ 61631 w 67500"/>
                <a:gd name="connsiteY5" fmla="*/ 0 h 352173"/>
                <a:gd name="connsiteX6" fmla="*/ 67500 w 67500"/>
                <a:gd name="connsiteY6" fmla="*/ 5870 h 352173"/>
                <a:gd name="connsiteX7" fmla="*/ 11739 w 67500"/>
                <a:gd name="connsiteY7" fmla="*/ 346304 h 352173"/>
                <a:gd name="connsiteX8" fmla="*/ 5869 w 67500"/>
                <a:gd name="connsiteY8" fmla="*/ 352174 h 352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7500" h="352173">
                  <a:moveTo>
                    <a:pt x="5869" y="352174"/>
                  </a:moveTo>
                  <a:cubicBezTo>
                    <a:pt x="5869" y="352174"/>
                    <a:pt x="5869" y="352174"/>
                    <a:pt x="5869" y="352174"/>
                  </a:cubicBezTo>
                  <a:cubicBezTo>
                    <a:pt x="0" y="349239"/>
                    <a:pt x="0" y="346304"/>
                    <a:pt x="0" y="343370"/>
                  </a:cubicBezTo>
                  <a:cubicBezTo>
                    <a:pt x="46957" y="234783"/>
                    <a:pt x="55761" y="8804"/>
                    <a:pt x="55761" y="5870"/>
                  </a:cubicBezTo>
                  <a:cubicBezTo>
                    <a:pt x="55761" y="2935"/>
                    <a:pt x="58696" y="0"/>
                    <a:pt x="61631" y="0"/>
                  </a:cubicBezTo>
                  <a:cubicBezTo>
                    <a:pt x="61631" y="0"/>
                    <a:pt x="61631" y="0"/>
                    <a:pt x="61631" y="0"/>
                  </a:cubicBezTo>
                  <a:cubicBezTo>
                    <a:pt x="64565" y="0"/>
                    <a:pt x="67500" y="2935"/>
                    <a:pt x="67500" y="5870"/>
                  </a:cubicBezTo>
                  <a:cubicBezTo>
                    <a:pt x="67500" y="14674"/>
                    <a:pt x="58696" y="234783"/>
                    <a:pt x="11739" y="346304"/>
                  </a:cubicBezTo>
                  <a:cubicBezTo>
                    <a:pt x="11739" y="349239"/>
                    <a:pt x="8804" y="352174"/>
                    <a:pt x="5869" y="352174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1543314D-012C-4623-A659-733CF3ECAFE6}"/>
                </a:ext>
              </a:extLst>
            </p:cNvPr>
            <p:cNvSpPr/>
            <p:nvPr/>
          </p:nvSpPr>
          <p:spPr>
            <a:xfrm>
              <a:off x="6710718" y="4285421"/>
              <a:ext cx="150889" cy="343369"/>
            </a:xfrm>
            <a:custGeom>
              <a:avLst/>
              <a:gdLst>
                <a:gd name="connsiteX0" fmla="*/ 7085 w 150889"/>
                <a:gd name="connsiteY0" fmla="*/ 343369 h 343369"/>
                <a:gd name="connsiteX1" fmla="*/ 1216 w 150889"/>
                <a:gd name="connsiteY1" fmla="*/ 340435 h 343369"/>
                <a:gd name="connsiteX2" fmla="*/ 4150 w 150889"/>
                <a:gd name="connsiteY2" fmla="*/ 331630 h 343369"/>
                <a:gd name="connsiteX3" fmla="*/ 106868 w 150889"/>
                <a:gd name="connsiteY3" fmla="*/ 258261 h 343369"/>
                <a:gd name="connsiteX4" fmla="*/ 139150 w 150889"/>
                <a:gd name="connsiteY4" fmla="*/ 5869 h 343369"/>
                <a:gd name="connsiteX5" fmla="*/ 145020 w 150889"/>
                <a:gd name="connsiteY5" fmla="*/ 0 h 343369"/>
                <a:gd name="connsiteX6" fmla="*/ 150890 w 150889"/>
                <a:gd name="connsiteY6" fmla="*/ 5869 h 343369"/>
                <a:gd name="connsiteX7" fmla="*/ 118607 w 150889"/>
                <a:gd name="connsiteY7" fmla="*/ 264130 h 343369"/>
                <a:gd name="connsiteX8" fmla="*/ 12955 w 150889"/>
                <a:gd name="connsiteY8" fmla="*/ 340435 h 343369"/>
                <a:gd name="connsiteX9" fmla="*/ 7085 w 150889"/>
                <a:gd name="connsiteY9" fmla="*/ 343369 h 343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0889" h="343369">
                  <a:moveTo>
                    <a:pt x="7085" y="343369"/>
                  </a:moveTo>
                  <a:cubicBezTo>
                    <a:pt x="4150" y="343369"/>
                    <a:pt x="4150" y="343369"/>
                    <a:pt x="1216" y="340435"/>
                  </a:cubicBezTo>
                  <a:cubicBezTo>
                    <a:pt x="-1719" y="337500"/>
                    <a:pt x="1216" y="334565"/>
                    <a:pt x="4150" y="331630"/>
                  </a:cubicBezTo>
                  <a:cubicBezTo>
                    <a:pt x="42303" y="308152"/>
                    <a:pt x="98063" y="267065"/>
                    <a:pt x="106868" y="258261"/>
                  </a:cubicBezTo>
                  <a:cubicBezTo>
                    <a:pt x="115672" y="246522"/>
                    <a:pt x="130346" y="96848"/>
                    <a:pt x="139150" y="5869"/>
                  </a:cubicBezTo>
                  <a:cubicBezTo>
                    <a:pt x="139150" y="2935"/>
                    <a:pt x="142085" y="0"/>
                    <a:pt x="145020" y="0"/>
                  </a:cubicBezTo>
                  <a:cubicBezTo>
                    <a:pt x="147955" y="0"/>
                    <a:pt x="150890" y="2935"/>
                    <a:pt x="150890" y="5869"/>
                  </a:cubicBezTo>
                  <a:cubicBezTo>
                    <a:pt x="147955" y="46956"/>
                    <a:pt x="127411" y="249457"/>
                    <a:pt x="118607" y="264130"/>
                  </a:cubicBezTo>
                  <a:cubicBezTo>
                    <a:pt x="106868" y="278804"/>
                    <a:pt x="21759" y="334565"/>
                    <a:pt x="12955" y="340435"/>
                  </a:cubicBezTo>
                  <a:cubicBezTo>
                    <a:pt x="10020" y="343369"/>
                    <a:pt x="7085" y="343369"/>
                    <a:pt x="7085" y="343369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C9A1C561-2FE2-47BC-8666-92A41C9B12B3}"/>
                </a:ext>
              </a:extLst>
            </p:cNvPr>
            <p:cNvSpPr/>
            <p:nvPr/>
          </p:nvSpPr>
          <p:spPr>
            <a:xfrm>
              <a:off x="6157259" y="2768139"/>
              <a:ext cx="1030895" cy="1499496"/>
            </a:xfrm>
            <a:custGeom>
              <a:avLst/>
              <a:gdLst>
                <a:gd name="connsiteX0" fmla="*/ 399130 w 1030895"/>
                <a:gd name="connsiteY0" fmla="*/ 0 h 1499496"/>
                <a:gd name="connsiteX1" fmla="*/ 633913 w 1030895"/>
                <a:gd name="connsiteY1" fmla="*/ 8804 h 1499496"/>
                <a:gd name="connsiteX2" fmla="*/ 947935 w 1030895"/>
                <a:gd name="connsiteY2" fmla="*/ 117391 h 1499496"/>
                <a:gd name="connsiteX3" fmla="*/ 1030108 w 1030895"/>
                <a:gd name="connsiteY3" fmla="*/ 1470326 h 1499496"/>
                <a:gd name="connsiteX4" fmla="*/ 0 w 1030895"/>
                <a:gd name="connsiteY4" fmla="*/ 1446848 h 1499496"/>
                <a:gd name="connsiteX5" fmla="*/ 111522 w 1030895"/>
                <a:gd name="connsiteY5" fmla="*/ 90978 h 1499496"/>
                <a:gd name="connsiteX6" fmla="*/ 399130 w 1030895"/>
                <a:gd name="connsiteY6" fmla="*/ 0 h 1499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0895" h="1499496">
                  <a:moveTo>
                    <a:pt x="399130" y="0"/>
                  </a:moveTo>
                  <a:cubicBezTo>
                    <a:pt x="399130" y="0"/>
                    <a:pt x="522391" y="64565"/>
                    <a:pt x="633913" y="8804"/>
                  </a:cubicBezTo>
                  <a:cubicBezTo>
                    <a:pt x="633913" y="8804"/>
                    <a:pt x="906848" y="61630"/>
                    <a:pt x="947935" y="117391"/>
                  </a:cubicBezTo>
                  <a:cubicBezTo>
                    <a:pt x="971413" y="149674"/>
                    <a:pt x="1038913" y="1405761"/>
                    <a:pt x="1030108" y="1470326"/>
                  </a:cubicBezTo>
                  <a:cubicBezTo>
                    <a:pt x="1030108" y="1470326"/>
                    <a:pt x="557609" y="1549565"/>
                    <a:pt x="0" y="1446848"/>
                  </a:cubicBezTo>
                  <a:cubicBezTo>
                    <a:pt x="0" y="1103478"/>
                    <a:pt x="70435" y="120326"/>
                    <a:pt x="111522" y="90978"/>
                  </a:cubicBezTo>
                  <a:cubicBezTo>
                    <a:pt x="176087" y="44022"/>
                    <a:pt x="399130" y="0"/>
                    <a:pt x="399130" y="0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12868F5F-ACA2-4F1E-8C52-9842F006288A}"/>
                </a:ext>
              </a:extLst>
            </p:cNvPr>
            <p:cNvSpPr/>
            <p:nvPr/>
          </p:nvSpPr>
          <p:spPr>
            <a:xfrm>
              <a:off x="7099324" y="2882595"/>
              <a:ext cx="51107" cy="713152"/>
            </a:xfrm>
            <a:custGeom>
              <a:avLst/>
              <a:gdLst>
                <a:gd name="connsiteX0" fmla="*/ 46957 w 51107"/>
                <a:gd name="connsiteY0" fmla="*/ 713152 h 713152"/>
                <a:gd name="connsiteX1" fmla="*/ 41087 w 51107"/>
                <a:gd name="connsiteY1" fmla="*/ 707283 h 713152"/>
                <a:gd name="connsiteX2" fmla="*/ 0 w 51107"/>
                <a:gd name="connsiteY2" fmla="*/ 5870 h 713152"/>
                <a:gd name="connsiteX3" fmla="*/ 2935 w 51107"/>
                <a:gd name="connsiteY3" fmla="*/ 0 h 713152"/>
                <a:gd name="connsiteX4" fmla="*/ 8804 w 51107"/>
                <a:gd name="connsiteY4" fmla="*/ 2935 h 713152"/>
                <a:gd name="connsiteX5" fmla="*/ 49892 w 51107"/>
                <a:gd name="connsiteY5" fmla="*/ 707283 h 713152"/>
                <a:gd name="connsiteX6" fmla="*/ 46957 w 51107"/>
                <a:gd name="connsiteY6" fmla="*/ 713152 h 713152"/>
                <a:gd name="connsiteX7" fmla="*/ 46957 w 51107"/>
                <a:gd name="connsiteY7" fmla="*/ 713152 h 713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107" h="713152">
                  <a:moveTo>
                    <a:pt x="46957" y="713152"/>
                  </a:moveTo>
                  <a:cubicBezTo>
                    <a:pt x="44022" y="713152"/>
                    <a:pt x="41087" y="710218"/>
                    <a:pt x="41087" y="707283"/>
                  </a:cubicBezTo>
                  <a:cubicBezTo>
                    <a:pt x="41087" y="701413"/>
                    <a:pt x="5870" y="44022"/>
                    <a:pt x="0" y="5870"/>
                  </a:cubicBezTo>
                  <a:cubicBezTo>
                    <a:pt x="0" y="2935"/>
                    <a:pt x="0" y="0"/>
                    <a:pt x="2935" y="0"/>
                  </a:cubicBezTo>
                  <a:cubicBezTo>
                    <a:pt x="5870" y="0"/>
                    <a:pt x="8804" y="0"/>
                    <a:pt x="8804" y="2935"/>
                  </a:cubicBezTo>
                  <a:cubicBezTo>
                    <a:pt x="17609" y="41087"/>
                    <a:pt x="49892" y="680870"/>
                    <a:pt x="49892" y="707283"/>
                  </a:cubicBezTo>
                  <a:cubicBezTo>
                    <a:pt x="52826" y="710218"/>
                    <a:pt x="49892" y="713152"/>
                    <a:pt x="46957" y="713152"/>
                  </a:cubicBezTo>
                  <a:cubicBezTo>
                    <a:pt x="46957" y="713152"/>
                    <a:pt x="46957" y="713152"/>
                    <a:pt x="46957" y="713152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3B3E4E38-33A9-49AE-80DA-F4232965A167}"/>
                </a:ext>
              </a:extLst>
            </p:cNvPr>
            <p:cNvSpPr/>
            <p:nvPr/>
          </p:nvSpPr>
          <p:spPr>
            <a:xfrm>
              <a:off x="7942640" y="3093132"/>
              <a:ext cx="240353" cy="291311"/>
            </a:xfrm>
            <a:custGeom>
              <a:avLst/>
              <a:gdLst>
                <a:gd name="connsiteX0" fmla="*/ 233750 w 240353"/>
                <a:gd name="connsiteY0" fmla="*/ 159246 h 291311"/>
                <a:gd name="connsiteX1" fmla="*/ 239620 w 240353"/>
                <a:gd name="connsiteY1" fmla="*/ 106420 h 291311"/>
                <a:gd name="connsiteX2" fmla="*/ 236685 w 240353"/>
                <a:gd name="connsiteY2" fmla="*/ 71202 h 291311"/>
                <a:gd name="connsiteX3" fmla="*/ 195598 w 240353"/>
                <a:gd name="connsiteY3" fmla="*/ 35985 h 291311"/>
                <a:gd name="connsiteX4" fmla="*/ 163315 w 240353"/>
                <a:gd name="connsiteY4" fmla="*/ 768 h 291311"/>
                <a:gd name="connsiteX5" fmla="*/ 4837 w 240353"/>
                <a:gd name="connsiteY5" fmla="*/ 212072 h 291311"/>
                <a:gd name="connsiteX6" fmla="*/ 116359 w 240353"/>
                <a:gd name="connsiteY6" fmla="*/ 291311 h 291311"/>
                <a:gd name="connsiteX7" fmla="*/ 216141 w 240353"/>
                <a:gd name="connsiteY7" fmla="*/ 200333 h 291311"/>
                <a:gd name="connsiteX8" fmla="*/ 233750 w 240353"/>
                <a:gd name="connsiteY8" fmla="*/ 159246 h 291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0353" h="291311">
                  <a:moveTo>
                    <a:pt x="233750" y="159246"/>
                  </a:moveTo>
                  <a:cubicBezTo>
                    <a:pt x="230815" y="150442"/>
                    <a:pt x="239620" y="124028"/>
                    <a:pt x="239620" y="106420"/>
                  </a:cubicBezTo>
                  <a:cubicBezTo>
                    <a:pt x="239620" y="103485"/>
                    <a:pt x="242554" y="80007"/>
                    <a:pt x="236685" y="71202"/>
                  </a:cubicBezTo>
                  <a:cubicBezTo>
                    <a:pt x="230815" y="59463"/>
                    <a:pt x="183858" y="50659"/>
                    <a:pt x="195598" y="35985"/>
                  </a:cubicBezTo>
                  <a:cubicBezTo>
                    <a:pt x="201467" y="24246"/>
                    <a:pt x="172119" y="-5102"/>
                    <a:pt x="163315" y="768"/>
                  </a:cubicBezTo>
                  <a:cubicBezTo>
                    <a:pt x="110489" y="35985"/>
                    <a:pt x="-27446" y="135768"/>
                    <a:pt x="4837" y="212072"/>
                  </a:cubicBezTo>
                  <a:cubicBezTo>
                    <a:pt x="4837" y="212072"/>
                    <a:pt x="84076" y="288376"/>
                    <a:pt x="116359" y="291311"/>
                  </a:cubicBezTo>
                  <a:cubicBezTo>
                    <a:pt x="163315" y="291311"/>
                    <a:pt x="183858" y="229681"/>
                    <a:pt x="216141" y="200333"/>
                  </a:cubicBezTo>
                  <a:cubicBezTo>
                    <a:pt x="233750" y="179789"/>
                    <a:pt x="239620" y="173920"/>
                    <a:pt x="233750" y="159246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6124BC8B-FD75-448C-89DF-3EDD84CA8E0B}"/>
                </a:ext>
              </a:extLst>
            </p:cNvPr>
            <p:cNvSpPr/>
            <p:nvPr/>
          </p:nvSpPr>
          <p:spPr>
            <a:xfrm>
              <a:off x="5147694" y="2418899"/>
              <a:ext cx="1345296" cy="814995"/>
            </a:xfrm>
            <a:custGeom>
              <a:avLst/>
              <a:gdLst>
                <a:gd name="connsiteX0" fmla="*/ 1320652 w 1345296"/>
                <a:gd name="connsiteY0" fmla="*/ 519457 h 814995"/>
                <a:gd name="connsiteX1" fmla="*/ 1109348 w 1345296"/>
                <a:gd name="connsiteY1" fmla="*/ 416739 h 814995"/>
                <a:gd name="connsiteX2" fmla="*/ 604565 w 1345296"/>
                <a:gd name="connsiteY2" fmla="*/ 460761 h 814995"/>
                <a:gd name="connsiteX3" fmla="*/ 167283 w 1345296"/>
                <a:gd name="connsiteY3" fmla="*/ 0 h 814995"/>
                <a:gd name="connsiteX4" fmla="*/ 0 w 1345296"/>
                <a:gd name="connsiteY4" fmla="*/ 67500 h 814995"/>
                <a:gd name="connsiteX5" fmla="*/ 446087 w 1345296"/>
                <a:gd name="connsiteY5" fmla="*/ 780652 h 814995"/>
                <a:gd name="connsiteX6" fmla="*/ 1288370 w 1345296"/>
                <a:gd name="connsiteY6" fmla="*/ 742500 h 814995"/>
                <a:gd name="connsiteX7" fmla="*/ 1320652 w 1345296"/>
                <a:gd name="connsiteY7" fmla="*/ 519457 h 814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45296" h="814995">
                  <a:moveTo>
                    <a:pt x="1320652" y="519457"/>
                  </a:moveTo>
                  <a:cubicBezTo>
                    <a:pt x="1305978" y="446087"/>
                    <a:pt x="1270761" y="396196"/>
                    <a:pt x="1109348" y="416739"/>
                  </a:cubicBezTo>
                  <a:cubicBezTo>
                    <a:pt x="883370" y="440217"/>
                    <a:pt x="604565" y="460761"/>
                    <a:pt x="604565" y="460761"/>
                  </a:cubicBezTo>
                  <a:lnTo>
                    <a:pt x="167283" y="0"/>
                  </a:lnTo>
                  <a:lnTo>
                    <a:pt x="0" y="67500"/>
                  </a:lnTo>
                  <a:cubicBezTo>
                    <a:pt x="0" y="67500"/>
                    <a:pt x="340435" y="713152"/>
                    <a:pt x="446087" y="780652"/>
                  </a:cubicBezTo>
                  <a:cubicBezTo>
                    <a:pt x="531196" y="836413"/>
                    <a:pt x="953804" y="824674"/>
                    <a:pt x="1288370" y="742500"/>
                  </a:cubicBezTo>
                  <a:cubicBezTo>
                    <a:pt x="1379348" y="719022"/>
                    <a:pt x="1338261" y="610435"/>
                    <a:pt x="1320652" y="519457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3909278C-673A-486A-B4AD-A893E1A82483}"/>
                </a:ext>
              </a:extLst>
            </p:cNvPr>
            <p:cNvSpPr/>
            <p:nvPr/>
          </p:nvSpPr>
          <p:spPr>
            <a:xfrm>
              <a:off x="5702368" y="2818030"/>
              <a:ext cx="645652" cy="132065"/>
            </a:xfrm>
            <a:custGeom>
              <a:avLst/>
              <a:gdLst>
                <a:gd name="connsiteX0" fmla="*/ 5869 w 645652"/>
                <a:gd name="connsiteY0" fmla="*/ 132065 h 132065"/>
                <a:gd name="connsiteX1" fmla="*/ 2935 w 645652"/>
                <a:gd name="connsiteY1" fmla="*/ 132065 h 132065"/>
                <a:gd name="connsiteX2" fmla="*/ 0 w 645652"/>
                <a:gd name="connsiteY2" fmla="*/ 123261 h 132065"/>
                <a:gd name="connsiteX3" fmla="*/ 44022 w 645652"/>
                <a:gd name="connsiteY3" fmla="*/ 52826 h 132065"/>
                <a:gd name="connsiteX4" fmla="*/ 46956 w 645652"/>
                <a:gd name="connsiteY4" fmla="*/ 52826 h 132065"/>
                <a:gd name="connsiteX5" fmla="*/ 639783 w 645652"/>
                <a:gd name="connsiteY5" fmla="*/ 0 h 132065"/>
                <a:gd name="connsiteX6" fmla="*/ 645652 w 645652"/>
                <a:gd name="connsiteY6" fmla="*/ 2935 h 132065"/>
                <a:gd name="connsiteX7" fmla="*/ 642717 w 645652"/>
                <a:gd name="connsiteY7" fmla="*/ 8804 h 132065"/>
                <a:gd name="connsiteX8" fmla="*/ 52826 w 645652"/>
                <a:gd name="connsiteY8" fmla="*/ 61630 h 132065"/>
                <a:gd name="connsiteX9" fmla="*/ 11739 w 645652"/>
                <a:gd name="connsiteY9" fmla="*/ 126196 h 132065"/>
                <a:gd name="connsiteX10" fmla="*/ 5869 w 645652"/>
                <a:gd name="connsiteY10" fmla="*/ 132065 h 132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45652" h="132065">
                  <a:moveTo>
                    <a:pt x="5869" y="132065"/>
                  </a:moveTo>
                  <a:cubicBezTo>
                    <a:pt x="5869" y="132065"/>
                    <a:pt x="2935" y="132065"/>
                    <a:pt x="2935" y="132065"/>
                  </a:cubicBezTo>
                  <a:cubicBezTo>
                    <a:pt x="0" y="129130"/>
                    <a:pt x="0" y="126196"/>
                    <a:pt x="0" y="123261"/>
                  </a:cubicBezTo>
                  <a:lnTo>
                    <a:pt x="44022" y="52826"/>
                  </a:lnTo>
                  <a:lnTo>
                    <a:pt x="46956" y="52826"/>
                  </a:lnTo>
                  <a:cubicBezTo>
                    <a:pt x="52826" y="52826"/>
                    <a:pt x="578152" y="17609"/>
                    <a:pt x="639783" y="0"/>
                  </a:cubicBezTo>
                  <a:cubicBezTo>
                    <a:pt x="642717" y="0"/>
                    <a:pt x="645652" y="0"/>
                    <a:pt x="645652" y="2935"/>
                  </a:cubicBezTo>
                  <a:cubicBezTo>
                    <a:pt x="645652" y="5869"/>
                    <a:pt x="645652" y="8804"/>
                    <a:pt x="642717" y="8804"/>
                  </a:cubicBezTo>
                  <a:cubicBezTo>
                    <a:pt x="584022" y="23478"/>
                    <a:pt x="96848" y="58696"/>
                    <a:pt x="52826" y="61630"/>
                  </a:cubicBezTo>
                  <a:lnTo>
                    <a:pt x="11739" y="126196"/>
                  </a:lnTo>
                  <a:cubicBezTo>
                    <a:pt x="8804" y="132065"/>
                    <a:pt x="8804" y="132065"/>
                    <a:pt x="5869" y="132065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65" name="图形 1">
              <a:extLst>
                <a:ext uri="{FF2B5EF4-FFF2-40B4-BE49-F238E27FC236}">
                  <a16:creationId xmlns:a16="http://schemas.microsoft.com/office/drawing/2014/main" id="{022DE2CF-4F1C-4C5B-B1AE-3B97CDD4339E}"/>
                </a:ext>
              </a:extLst>
            </p:cNvPr>
            <p:cNvGrpSpPr/>
            <p:nvPr/>
          </p:nvGrpSpPr>
          <p:grpSpPr>
            <a:xfrm>
              <a:off x="7959216" y="2580313"/>
              <a:ext cx="305217" cy="815869"/>
              <a:chOff x="7959216" y="2580313"/>
              <a:chExt cx="305217" cy="815869"/>
            </a:xfrm>
          </p:grpSpPr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B501A7EF-4F37-46CD-93AC-2A7DAF246334}"/>
                  </a:ext>
                </a:extLst>
              </p:cNvPr>
              <p:cNvSpPr/>
              <p:nvPr/>
            </p:nvSpPr>
            <p:spPr>
              <a:xfrm>
                <a:off x="8082477" y="3002921"/>
                <a:ext cx="58695" cy="363913"/>
              </a:xfrm>
              <a:custGeom>
                <a:avLst/>
                <a:gdLst>
                  <a:gd name="connsiteX0" fmla="*/ 0 w 58695"/>
                  <a:gd name="connsiteY0" fmla="*/ 0 h 363913"/>
                  <a:gd name="connsiteX1" fmla="*/ 58695 w 58695"/>
                  <a:gd name="connsiteY1" fmla="*/ 0 h 363913"/>
                  <a:gd name="connsiteX2" fmla="*/ 58695 w 58695"/>
                  <a:gd name="connsiteY2" fmla="*/ 363913 h 363913"/>
                  <a:gd name="connsiteX3" fmla="*/ 0 w 58695"/>
                  <a:gd name="connsiteY3" fmla="*/ 363913 h 363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695" h="363913">
                    <a:moveTo>
                      <a:pt x="0" y="0"/>
                    </a:moveTo>
                    <a:lnTo>
                      <a:pt x="58695" y="0"/>
                    </a:lnTo>
                    <a:lnTo>
                      <a:pt x="58695" y="363913"/>
                    </a:lnTo>
                    <a:lnTo>
                      <a:pt x="0" y="363913"/>
                    </a:ln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F5B59F4B-E96E-4E45-BC46-59FAB6ED0272}"/>
                  </a:ext>
                </a:extLst>
              </p:cNvPr>
              <p:cNvSpPr/>
              <p:nvPr/>
            </p:nvSpPr>
            <p:spPr>
              <a:xfrm>
                <a:off x="7959216" y="3337486"/>
                <a:ext cx="305217" cy="58695"/>
              </a:xfrm>
              <a:custGeom>
                <a:avLst/>
                <a:gdLst>
                  <a:gd name="connsiteX0" fmla="*/ 305218 w 305217"/>
                  <a:gd name="connsiteY0" fmla="*/ 29348 h 58695"/>
                  <a:gd name="connsiteX1" fmla="*/ 152609 w 305217"/>
                  <a:gd name="connsiteY1" fmla="*/ 58696 h 58695"/>
                  <a:gd name="connsiteX2" fmla="*/ 0 w 305217"/>
                  <a:gd name="connsiteY2" fmla="*/ 29348 h 58695"/>
                  <a:gd name="connsiteX3" fmla="*/ 152609 w 305217"/>
                  <a:gd name="connsiteY3" fmla="*/ 0 h 58695"/>
                  <a:gd name="connsiteX4" fmla="*/ 305218 w 305217"/>
                  <a:gd name="connsiteY4" fmla="*/ 29348 h 58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5217" h="58695">
                    <a:moveTo>
                      <a:pt x="305218" y="29348"/>
                    </a:moveTo>
                    <a:cubicBezTo>
                      <a:pt x="305218" y="44022"/>
                      <a:pt x="237718" y="58696"/>
                      <a:pt x="152609" y="58696"/>
                    </a:cubicBezTo>
                    <a:cubicBezTo>
                      <a:pt x="67500" y="58696"/>
                      <a:pt x="0" y="46957"/>
                      <a:pt x="0" y="29348"/>
                    </a:cubicBezTo>
                    <a:cubicBezTo>
                      <a:pt x="0" y="14674"/>
                      <a:pt x="67500" y="0"/>
                      <a:pt x="152609" y="0"/>
                    </a:cubicBezTo>
                    <a:cubicBezTo>
                      <a:pt x="237718" y="0"/>
                      <a:pt x="305218" y="11739"/>
                      <a:pt x="305218" y="2934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8" name="任意多边形: 形状 167">
                <a:extLst>
                  <a:ext uri="{FF2B5EF4-FFF2-40B4-BE49-F238E27FC236}">
                    <a16:creationId xmlns:a16="http://schemas.microsoft.com/office/drawing/2014/main" id="{156D98FD-9DAF-41C9-88B8-9002AFE9160B}"/>
                  </a:ext>
                </a:extLst>
              </p:cNvPr>
              <p:cNvSpPr/>
              <p:nvPr/>
            </p:nvSpPr>
            <p:spPr>
              <a:xfrm>
                <a:off x="7968020" y="2609660"/>
                <a:ext cx="287608" cy="449021"/>
              </a:xfrm>
              <a:custGeom>
                <a:avLst/>
                <a:gdLst>
                  <a:gd name="connsiteX0" fmla="*/ 143804 w 287608"/>
                  <a:gd name="connsiteY0" fmla="*/ 449022 h 449021"/>
                  <a:gd name="connsiteX1" fmla="*/ 143804 w 287608"/>
                  <a:gd name="connsiteY1" fmla="*/ 449022 h 449021"/>
                  <a:gd name="connsiteX2" fmla="*/ 0 w 287608"/>
                  <a:gd name="connsiteY2" fmla="*/ 305217 h 449021"/>
                  <a:gd name="connsiteX3" fmla="*/ 0 w 287608"/>
                  <a:gd name="connsiteY3" fmla="*/ 0 h 449021"/>
                  <a:gd name="connsiteX4" fmla="*/ 287609 w 287608"/>
                  <a:gd name="connsiteY4" fmla="*/ 0 h 449021"/>
                  <a:gd name="connsiteX5" fmla="*/ 287609 w 287608"/>
                  <a:gd name="connsiteY5" fmla="*/ 305217 h 449021"/>
                  <a:gd name="connsiteX6" fmla="*/ 143804 w 287608"/>
                  <a:gd name="connsiteY6" fmla="*/ 449022 h 449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7608" h="449021">
                    <a:moveTo>
                      <a:pt x="143804" y="449022"/>
                    </a:moveTo>
                    <a:lnTo>
                      <a:pt x="143804" y="449022"/>
                    </a:lnTo>
                    <a:cubicBezTo>
                      <a:pt x="64565" y="449022"/>
                      <a:pt x="0" y="384457"/>
                      <a:pt x="0" y="305217"/>
                    </a:cubicBezTo>
                    <a:lnTo>
                      <a:pt x="0" y="0"/>
                    </a:lnTo>
                    <a:lnTo>
                      <a:pt x="287609" y="0"/>
                    </a:lnTo>
                    <a:lnTo>
                      <a:pt x="287609" y="305217"/>
                    </a:lnTo>
                    <a:cubicBezTo>
                      <a:pt x="287609" y="384457"/>
                      <a:pt x="223044" y="449022"/>
                      <a:pt x="143804" y="449022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9" name="任意多边形: 形状 168">
                <a:extLst>
                  <a:ext uri="{FF2B5EF4-FFF2-40B4-BE49-F238E27FC236}">
                    <a16:creationId xmlns:a16="http://schemas.microsoft.com/office/drawing/2014/main" id="{3B5B34ED-D223-417F-8FC9-8304CF8F67D1}"/>
                  </a:ext>
                </a:extLst>
              </p:cNvPr>
              <p:cNvSpPr/>
              <p:nvPr/>
            </p:nvSpPr>
            <p:spPr>
              <a:xfrm>
                <a:off x="7991499" y="2800421"/>
                <a:ext cx="243587" cy="231847"/>
              </a:xfrm>
              <a:custGeom>
                <a:avLst/>
                <a:gdLst>
                  <a:gd name="connsiteX0" fmla="*/ 120326 w 243587"/>
                  <a:gd name="connsiteY0" fmla="*/ 231848 h 231847"/>
                  <a:gd name="connsiteX1" fmla="*/ 120326 w 243587"/>
                  <a:gd name="connsiteY1" fmla="*/ 231848 h 231847"/>
                  <a:gd name="connsiteX2" fmla="*/ 0 w 243587"/>
                  <a:gd name="connsiteY2" fmla="*/ 111522 h 231847"/>
                  <a:gd name="connsiteX3" fmla="*/ 0 w 243587"/>
                  <a:gd name="connsiteY3" fmla="*/ 0 h 231847"/>
                  <a:gd name="connsiteX4" fmla="*/ 243587 w 243587"/>
                  <a:gd name="connsiteY4" fmla="*/ 0 h 231847"/>
                  <a:gd name="connsiteX5" fmla="*/ 243587 w 243587"/>
                  <a:gd name="connsiteY5" fmla="*/ 108587 h 231847"/>
                  <a:gd name="connsiteX6" fmla="*/ 120326 w 243587"/>
                  <a:gd name="connsiteY6" fmla="*/ 231848 h 231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3587" h="231847">
                    <a:moveTo>
                      <a:pt x="120326" y="231848"/>
                    </a:moveTo>
                    <a:lnTo>
                      <a:pt x="120326" y="231848"/>
                    </a:lnTo>
                    <a:cubicBezTo>
                      <a:pt x="52826" y="231848"/>
                      <a:pt x="0" y="179022"/>
                      <a:pt x="0" y="111522"/>
                    </a:cubicBezTo>
                    <a:lnTo>
                      <a:pt x="0" y="0"/>
                    </a:lnTo>
                    <a:lnTo>
                      <a:pt x="243587" y="0"/>
                    </a:lnTo>
                    <a:lnTo>
                      <a:pt x="243587" y="108587"/>
                    </a:lnTo>
                    <a:cubicBezTo>
                      <a:pt x="240652" y="176087"/>
                      <a:pt x="187826" y="231848"/>
                      <a:pt x="120326" y="231848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0" name="任意多边形: 形状 169">
                <a:extLst>
                  <a:ext uri="{FF2B5EF4-FFF2-40B4-BE49-F238E27FC236}">
                    <a16:creationId xmlns:a16="http://schemas.microsoft.com/office/drawing/2014/main" id="{4CE274AC-5321-4545-9F25-D3EF51E26EEA}"/>
                  </a:ext>
                </a:extLst>
              </p:cNvPr>
              <p:cNvSpPr/>
              <p:nvPr/>
            </p:nvSpPr>
            <p:spPr>
              <a:xfrm>
                <a:off x="7968020" y="2580313"/>
                <a:ext cx="287608" cy="58695"/>
              </a:xfrm>
              <a:custGeom>
                <a:avLst/>
                <a:gdLst>
                  <a:gd name="connsiteX0" fmla="*/ 287609 w 287608"/>
                  <a:gd name="connsiteY0" fmla="*/ 29348 h 58695"/>
                  <a:gd name="connsiteX1" fmla="*/ 143804 w 287608"/>
                  <a:gd name="connsiteY1" fmla="*/ 58696 h 58695"/>
                  <a:gd name="connsiteX2" fmla="*/ 0 w 287608"/>
                  <a:gd name="connsiteY2" fmla="*/ 29348 h 58695"/>
                  <a:gd name="connsiteX3" fmla="*/ 143804 w 287608"/>
                  <a:gd name="connsiteY3" fmla="*/ 0 h 58695"/>
                  <a:gd name="connsiteX4" fmla="*/ 287609 w 287608"/>
                  <a:gd name="connsiteY4" fmla="*/ 29348 h 58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7608" h="58695">
                    <a:moveTo>
                      <a:pt x="287609" y="29348"/>
                    </a:moveTo>
                    <a:cubicBezTo>
                      <a:pt x="287609" y="44022"/>
                      <a:pt x="223044" y="58696"/>
                      <a:pt x="143804" y="58696"/>
                    </a:cubicBezTo>
                    <a:cubicBezTo>
                      <a:pt x="64565" y="58696"/>
                      <a:pt x="0" y="46957"/>
                      <a:pt x="0" y="29348"/>
                    </a:cubicBezTo>
                    <a:cubicBezTo>
                      <a:pt x="0" y="14674"/>
                      <a:pt x="64565" y="0"/>
                      <a:pt x="143804" y="0"/>
                    </a:cubicBezTo>
                    <a:cubicBezTo>
                      <a:pt x="223044" y="2935"/>
                      <a:pt x="287609" y="14674"/>
                      <a:pt x="287609" y="29348"/>
                    </a:cubicBezTo>
                    <a:close/>
                  </a:path>
                </a:pathLst>
              </a:custGeom>
              <a:solidFill>
                <a:srgbClr val="E5CDA5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71" name="图形 1">
              <a:extLst>
                <a:ext uri="{FF2B5EF4-FFF2-40B4-BE49-F238E27FC236}">
                  <a16:creationId xmlns:a16="http://schemas.microsoft.com/office/drawing/2014/main" id="{022DE2CF-4F1C-4C5B-B1AE-3B97CDD4339E}"/>
                </a:ext>
              </a:extLst>
            </p:cNvPr>
            <p:cNvGrpSpPr/>
            <p:nvPr/>
          </p:nvGrpSpPr>
          <p:grpSpPr>
            <a:xfrm>
              <a:off x="6726607" y="2935421"/>
              <a:ext cx="79239" cy="1124021"/>
              <a:chOff x="6726607" y="2935421"/>
              <a:chExt cx="79239" cy="1124021"/>
            </a:xfrm>
            <a:solidFill>
              <a:srgbClr val="38333D"/>
            </a:solidFill>
          </p:grpSpPr>
          <p:sp>
            <p:nvSpPr>
              <p:cNvPr id="172" name="任意多边形: 形状 171">
                <a:extLst>
                  <a:ext uri="{FF2B5EF4-FFF2-40B4-BE49-F238E27FC236}">
                    <a16:creationId xmlns:a16="http://schemas.microsoft.com/office/drawing/2014/main" id="{ADD9DD21-F823-444D-B551-77F3F3420518}"/>
                  </a:ext>
                </a:extLst>
              </p:cNvPr>
              <p:cNvSpPr/>
              <p:nvPr/>
            </p:nvSpPr>
            <p:spPr>
              <a:xfrm>
                <a:off x="6726607" y="2935421"/>
                <a:ext cx="52826" cy="52826"/>
              </a:xfrm>
              <a:custGeom>
                <a:avLst/>
                <a:gdLst>
                  <a:gd name="connsiteX0" fmla="*/ 0 w 52826"/>
                  <a:gd name="connsiteY0" fmla="*/ 26413 h 52826"/>
                  <a:gd name="connsiteX1" fmla="*/ 26413 w 52826"/>
                  <a:gd name="connsiteY1" fmla="*/ 52826 h 52826"/>
                  <a:gd name="connsiteX2" fmla="*/ 52826 w 52826"/>
                  <a:gd name="connsiteY2" fmla="*/ 26413 h 52826"/>
                  <a:gd name="connsiteX3" fmla="*/ 26413 w 52826"/>
                  <a:gd name="connsiteY3" fmla="*/ 0 h 52826"/>
                  <a:gd name="connsiteX4" fmla="*/ 0 w 52826"/>
                  <a:gd name="connsiteY4" fmla="*/ 26413 h 52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826" h="52826">
                    <a:moveTo>
                      <a:pt x="0" y="26413"/>
                    </a:moveTo>
                    <a:cubicBezTo>
                      <a:pt x="0" y="41087"/>
                      <a:pt x="11739" y="52826"/>
                      <a:pt x="26413" y="52826"/>
                    </a:cubicBezTo>
                    <a:cubicBezTo>
                      <a:pt x="41087" y="52826"/>
                      <a:pt x="52826" y="41087"/>
                      <a:pt x="52826" y="26413"/>
                    </a:cubicBezTo>
                    <a:cubicBezTo>
                      <a:pt x="52826" y="11739"/>
                      <a:pt x="41087" y="0"/>
                      <a:pt x="26413" y="0"/>
                    </a:cubicBezTo>
                    <a:cubicBezTo>
                      <a:pt x="11739" y="0"/>
                      <a:pt x="0" y="11739"/>
                      <a:pt x="0" y="26413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3" name="任意多边形: 形状 172">
                <a:extLst>
                  <a:ext uri="{FF2B5EF4-FFF2-40B4-BE49-F238E27FC236}">
                    <a16:creationId xmlns:a16="http://schemas.microsoft.com/office/drawing/2014/main" id="{7D0766B3-BB31-418A-968D-388147D64FD5}"/>
                  </a:ext>
                </a:extLst>
              </p:cNvPr>
              <p:cNvSpPr/>
              <p:nvPr/>
            </p:nvSpPr>
            <p:spPr>
              <a:xfrm>
                <a:off x="6753020" y="3355095"/>
                <a:ext cx="52825" cy="52826"/>
              </a:xfrm>
              <a:custGeom>
                <a:avLst/>
                <a:gdLst>
                  <a:gd name="connsiteX0" fmla="*/ 0 w 52825"/>
                  <a:gd name="connsiteY0" fmla="*/ 26413 h 52826"/>
                  <a:gd name="connsiteX1" fmla="*/ 26413 w 52825"/>
                  <a:gd name="connsiteY1" fmla="*/ 52826 h 52826"/>
                  <a:gd name="connsiteX2" fmla="*/ 52826 w 52825"/>
                  <a:gd name="connsiteY2" fmla="*/ 26413 h 52826"/>
                  <a:gd name="connsiteX3" fmla="*/ 26413 w 52825"/>
                  <a:gd name="connsiteY3" fmla="*/ 0 h 52826"/>
                  <a:gd name="connsiteX4" fmla="*/ 0 w 52825"/>
                  <a:gd name="connsiteY4" fmla="*/ 26413 h 52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825" h="52826">
                    <a:moveTo>
                      <a:pt x="0" y="26413"/>
                    </a:moveTo>
                    <a:cubicBezTo>
                      <a:pt x="0" y="41087"/>
                      <a:pt x="11739" y="52826"/>
                      <a:pt x="26413" y="52826"/>
                    </a:cubicBezTo>
                    <a:cubicBezTo>
                      <a:pt x="41087" y="52826"/>
                      <a:pt x="52826" y="41087"/>
                      <a:pt x="52826" y="26413"/>
                    </a:cubicBezTo>
                    <a:cubicBezTo>
                      <a:pt x="52826" y="11739"/>
                      <a:pt x="41087" y="0"/>
                      <a:pt x="26413" y="0"/>
                    </a:cubicBezTo>
                    <a:cubicBezTo>
                      <a:pt x="11739" y="0"/>
                      <a:pt x="0" y="11739"/>
                      <a:pt x="0" y="26413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4" name="任意多边形: 形状 173">
                <a:extLst>
                  <a:ext uri="{FF2B5EF4-FFF2-40B4-BE49-F238E27FC236}">
                    <a16:creationId xmlns:a16="http://schemas.microsoft.com/office/drawing/2014/main" id="{E8AE14E1-B916-4133-8610-E5C8B74AE3AD}"/>
                  </a:ext>
                </a:extLst>
              </p:cNvPr>
              <p:cNvSpPr/>
              <p:nvPr/>
            </p:nvSpPr>
            <p:spPr>
              <a:xfrm>
                <a:off x="6753020" y="4006617"/>
                <a:ext cx="52825" cy="52825"/>
              </a:xfrm>
              <a:custGeom>
                <a:avLst/>
                <a:gdLst>
                  <a:gd name="connsiteX0" fmla="*/ 0 w 52825"/>
                  <a:gd name="connsiteY0" fmla="*/ 26413 h 52825"/>
                  <a:gd name="connsiteX1" fmla="*/ 26413 w 52825"/>
                  <a:gd name="connsiteY1" fmla="*/ 52826 h 52825"/>
                  <a:gd name="connsiteX2" fmla="*/ 52826 w 52825"/>
                  <a:gd name="connsiteY2" fmla="*/ 26413 h 52825"/>
                  <a:gd name="connsiteX3" fmla="*/ 26413 w 52825"/>
                  <a:gd name="connsiteY3" fmla="*/ 0 h 52825"/>
                  <a:gd name="connsiteX4" fmla="*/ 0 w 52825"/>
                  <a:gd name="connsiteY4" fmla="*/ 26413 h 52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825" h="52825">
                    <a:moveTo>
                      <a:pt x="0" y="26413"/>
                    </a:moveTo>
                    <a:cubicBezTo>
                      <a:pt x="0" y="41087"/>
                      <a:pt x="11739" y="52826"/>
                      <a:pt x="26413" y="52826"/>
                    </a:cubicBezTo>
                    <a:cubicBezTo>
                      <a:pt x="41087" y="52826"/>
                      <a:pt x="52826" y="41087"/>
                      <a:pt x="52826" y="26413"/>
                    </a:cubicBezTo>
                    <a:cubicBezTo>
                      <a:pt x="52826" y="11739"/>
                      <a:pt x="41087" y="0"/>
                      <a:pt x="26413" y="0"/>
                    </a:cubicBezTo>
                    <a:cubicBezTo>
                      <a:pt x="11739" y="0"/>
                      <a:pt x="0" y="11739"/>
                      <a:pt x="0" y="26413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5" name="任意多边形: 形状 174">
                <a:extLst>
                  <a:ext uri="{FF2B5EF4-FFF2-40B4-BE49-F238E27FC236}">
                    <a16:creationId xmlns:a16="http://schemas.microsoft.com/office/drawing/2014/main" id="{66FE9566-9C9C-4332-9320-5D679ACEDB5A}"/>
                  </a:ext>
                </a:extLst>
              </p:cNvPr>
              <p:cNvSpPr/>
              <p:nvPr/>
            </p:nvSpPr>
            <p:spPr>
              <a:xfrm>
                <a:off x="6747150" y="3134986"/>
                <a:ext cx="52826" cy="52826"/>
              </a:xfrm>
              <a:custGeom>
                <a:avLst/>
                <a:gdLst>
                  <a:gd name="connsiteX0" fmla="*/ 0 w 52826"/>
                  <a:gd name="connsiteY0" fmla="*/ 26413 h 52826"/>
                  <a:gd name="connsiteX1" fmla="*/ 26413 w 52826"/>
                  <a:gd name="connsiteY1" fmla="*/ 52826 h 52826"/>
                  <a:gd name="connsiteX2" fmla="*/ 52826 w 52826"/>
                  <a:gd name="connsiteY2" fmla="*/ 26413 h 52826"/>
                  <a:gd name="connsiteX3" fmla="*/ 26413 w 52826"/>
                  <a:gd name="connsiteY3" fmla="*/ 0 h 52826"/>
                  <a:gd name="connsiteX4" fmla="*/ 0 w 52826"/>
                  <a:gd name="connsiteY4" fmla="*/ 26413 h 52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826" h="52826">
                    <a:moveTo>
                      <a:pt x="0" y="26413"/>
                    </a:moveTo>
                    <a:cubicBezTo>
                      <a:pt x="0" y="41087"/>
                      <a:pt x="11739" y="52826"/>
                      <a:pt x="26413" y="52826"/>
                    </a:cubicBezTo>
                    <a:cubicBezTo>
                      <a:pt x="41087" y="52826"/>
                      <a:pt x="52826" y="41087"/>
                      <a:pt x="52826" y="26413"/>
                    </a:cubicBezTo>
                    <a:cubicBezTo>
                      <a:pt x="52826" y="11739"/>
                      <a:pt x="41087" y="0"/>
                      <a:pt x="26413" y="0"/>
                    </a:cubicBezTo>
                    <a:cubicBezTo>
                      <a:pt x="11739" y="0"/>
                      <a:pt x="0" y="11739"/>
                      <a:pt x="0" y="26413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6" name="任意多边形: 形状 175">
                <a:extLst>
                  <a:ext uri="{FF2B5EF4-FFF2-40B4-BE49-F238E27FC236}">
                    <a16:creationId xmlns:a16="http://schemas.microsoft.com/office/drawing/2014/main" id="{C8852552-55FF-4DA3-BE26-2CDC48497577}"/>
                  </a:ext>
                </a:extLst>
              </p:cNvPr>
              <p:cNvSpPr/>
              <p:nvPr/>
            </p:nvSpPr>
            <p:spPr>
              <a:xfrm>
                <a:off x="6753020" y="3798247"/>
                <a:ext cx="52825" cy="52825"/>
              </a:xfrm>
              <a:custGeom>
                <a:avLst/>
                <a:gdLst>
                  <a:gd name="connsiteX0" fmla="*/ 0 w 52825"/>
                  <a:gd name="connsiteY0" fmla="*/ 26413 h 52825"/>
                  <a:gd name="connsiteX1" fmla="*/ 26413 w 52825"/>
                  <a:gd name="connsiteY1" fmla="*/ 52826 h 52825"/>
                  <a:gd name="connsiteX2" fmla="*/ 52826 w 52825"/>
                  <a:gd name="connsiteY2" fmla="*/ 26413 h 52825"/>
                  <a:gd name="connsiteX3" fmla="*/ 26413 w 52825"/>
                  <a:gd name="connsiteY3" fmla="*/ 0 h 52825"/>
                  <a:gd name="connsiteX4" fmla="*/ 0 w 52825"/>
                  <a:gd name="connsiteY4" fmla="*/ 26413 h 52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825" h="52825">
                    <a:moveTo>
                      <a:pt x="0" y="26413"/>
                    </a:moveTo>
                    <a:cubicBezTo>
                      <a:pt x="0" y="41087"/>
                      <a:pt x="11739" y="52826"/>
                      <a:pt x="26413" y="52826"/>
                    </a:cubicBezTo>
                    <a:cubicBezTo>
                      <a:pt x="41087" y="52826"/>
                      <a:pt x="52826" y="41087"/>
                      <a:pt x="52826" y="26413"/>
                    </a:cubicBezTo>
                    <a:cubicBezTo>
                      <a:pt x="52826" y="11739"/>
                      <a:pt x="41087" y="0"/>
                      <a:pt x="26413" y="0"/>
                    </a:cubicBezTo>
                    <a:cubicBezTo>
                      <a:pt x="11739" y="0"/>
                      <a:pt x="0" y="11739"/>
                      <a:pt x="0" y="26413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7" name="任意多边形: 形状 176">
                <a:extLst>
                  <a:ext uri="{FF2B5EF4-FFF2-40B4-BE49-F238E27FC236}">
                    <a16:creationId xmlns:a16="http://schemas.microsoft.com/office/drawing/2014/main" id="{C388D7F5-1F34-4825-BC06-334DEE82AF7C}"/>
                  </a:ext>
                </a:extLst>
              </p:cNvPr>
              <p:cNvSpPr/>
              <p:nvPr/>
            </p:nvSpPr>
            <p:spPr>
              <a:xfrm>
                <a:off x="6753020" y="3577761"/>
                <a:ext cx="52825" cy="53203"/>
              </a:xfrm>
              <a:custGeom>
                <a:avLst/>
                <a:gdLst>
                  <a:gd name="connsiteX0" fmla="*/ 0 w 52825"/>
                  <a:gd name="connsiteY0" fmla="*/ 26791 h 53203"/>
                  <a:gd name="connsiteX1" fmla="*/ 26413 w 52825"/>
                  <a:gd name="connsiteY1" fmla="*/ 53204 h 53203"/>
                  <a:gd name="connsiteX2" fmla="*/ 52826 w 52825"/>
                  <a:gd name="connsiteY2" fmla="*/ 26791 h 53203"/>
                  <a:gd name="connsiteX3" fmla="*/ 26413 w 52825"/>
                  <a:gd name="connsiteY3" fmla="*/ 378 h 53203"/>
                  <a:gd name="connsiteX4" fmla="*/ 0 w 52825"/>
                  <a:gd name="connsiteY4" fmla="*/ 26791 h 53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825" h="53203">
                    <a:moveTo>
                      <a:pt x="0" y="26791"/>
                    </a:moveTo>
                    <a:cubicBezTo>
                      <a:pt x="0" y="41465"/>
                      <a:pt x="11739" y="53204"/>
                      <a:pt x="26413" y="53204"/>
                    </a:cubicBezTo>
                    <a:cubicBezTo>
                      <a:pt x="41087" y="53204"/>
                      <a:pt x="52826" y="41465"/>
                      <a:pt x="52826" y="26791"/>
                    </a:cubicBezTo>
                    <a:cubicBezTo>
                      <a:pt x="52826" y="12117"/>
                      <a:pt x="41087" y="378"/>
                      <a:pt x="26413" y="378"/>
                    </a:cubicBezTo>
                    <a:cubicBezTo>
                      <a:pt x="11739" y="-2557"/>
                      <a:pt x="0" y="12117"/>
                      <a:pt x="0" y="26791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DFC3152A-5BD7-455A-A842-1BD4541AB7DB}"/>
                </a:ext>
              </a:extLst>
            </p:cNvPr>
            <p:cNvSpPr/>
            <p:nvPr/>
          </p:nvSpPr>
          <p:spPr>
            <a:xfrm>
              <a:off x="6556390" y="2603791"/>
              <a:ext cx="240652" cy="216303"/>
            </a:xfrm>
            <a:custGeom>
              <a:avLst/>
              <a:gdLst>
                <a:gd name="connsiteX0" fmla="*/ 240653 w 240652"/>
                <a:gd name="connsiteY0" fmla="*/ 38152 h 216303"/>
                <a:gd name="connsiteX1" fmla="*/ 234783 w 240652"/>
                <a:gd name="connsiteY1" fmla="*/ 173152 h 216303"/>
                <a:gd name="connsiteX2" fmla="*/ 0 w 240652"/>
                <a:gd name="connsiteY2" fmla="*/ 164348 h 216303"/>
                <a:gd name="connsiteX3" fmla="*/ 14674 w 240652"/>
                <a:gd name="connsiteY3" fmla="*/ 0 h 216303"/>
                <a:gd name="connsiteX4" fmla="*/ 240653 w 240652"/>
                <a:gd name="connsiteY4" fmla="*/ 38152 h 21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652" h="216303">
                  <a:moveTo>
                    <a:pt x="240653" y="38152"/>
                  </a:moveTo>
                  <a:cubicBezTo>
                    <a:pt x="240653" y="38152"/>
                    <a:pt x="234783" y="102717"/>
                    <a:pt x="234783" y="173152"/>
                  </a:cubicBezTo>
                  <a:cubicBezTo>
                    <a:pt x="234783" y="173152"/>
                    <a:pt x="143805" y="275870"/>
                    <a:pt x="0" y="164348"/>
                  </a:cubicBezTo>
                  <a:cubicBezTo>
                    <a:pt x="0" y="105652"/>
                    <a:pt x="11739" y="61630"/>
                    <a:pt x="14674" y="0"/>
                  </a:cubicBezTo>
                  <a:cubicBezTo>
                    <a:pt x="14674" y="0"/>
                    <a:pt x="190761" y="49891"/>
                    <a:pt x="240653" y="38152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99207A0A-11EC-401E-8DC3-5824F587EC37}"/>
                </a:ext>
              </a:extLst>
            </p:cNvPr>
            <p:cNvSpPr/>
            <p:nvPr/>
          </p:nvSpPr>
          <p:spPr>
            <a:xfrm>
              <a:off x="6468346" y="2489334"/>
              <a:ext cx="67500" cy="132065"/>
            </a:xfrm>
            <a:custGeom>
              <a:avLst/>
              <a:gdLst>
                <a:gd name="connsiteX0" fmla="*/ 0 w 67500"/>
                <a:gd name="connsiteY0" fmla="*/ 0 h 132065"/>
                <a:gd name="connsiteX1" fmla="*/ 64566 w 67500"/>
                <a:gd name="connsiteY1" fmla="*/ 132065 h 132065"/>
                <a:gd name="connsiteX2" fmla="*/ 67500 w 67500"/>
                <a:gd name="connsiteY2" fmla="*/ 49891 h 132065"/>
                <a:gd name="connsiteX3" fmla="*/ 0 w 67500"/>
                <a:gd name="connsiteY3" fmla="*/ 0 h 132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500" h="132065">
                  <a:moveTo>
                    <a:pt x="0" y="0"/>
                  </a:moveTo>
                  <a:cubicBezTo>
                    <a:pt x="0" y="0"/>
                    <a:pt x="14674" y="114457"/>
                    <a:pt x="64566" y="132065"/>
                  </a:cubicBezTo>
                  <a:lnTo>
                    <a:pt x="67500" y="498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9D7237B9-0567-4B5A-BB77-6E5A0DA163C2}"/>
                </a:ext>
              </a:extLst>
            </p:cNvPr>
            <p:cNvSpPr/>
            <p:nvPr/>
          </p:nvSpPr>
          <p:spPr>
            <a:xfrm>
              <a:off x="6811281" y="2286834"/>
              <a:ext cx="98796" cy="228925"/>
            </a:xfrm>
            <a:custGeom>
              <a:avLst/>
              <a:gdLst>
                <a:gd name="connsiteX0" fmla="*/ 91413 w 98796"/>
                <a:gd name="connsiteY0" fmla="*/ 0 h 228925"/>
                <a:gd name="connsiteX1" fmla="*/ 53261 w 98796"/>
                <a:gd name="connsiteY1" fmla="*/ 225978 h 228925"/>
                <a:gd name="connsiteX2" fmla="*/ 435 w 98796"/>
                <a:gd name="connsiteY2" fmla="*/ 14674 h 228925"/>
                <a:gd name="connsiteX3" fmla="*/ 91413 w 98796"/>
                <a:gd name="connsiteY3" fmla="*/ 0 h 22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796" h="228925">
                  <a:moveTo>
                    <a:pt x="91413" y="0"/>
                  </a:moveTo>
                  <a:cubicBezTo>
                    <a:pt x="91413" y="0"/>
                    <a:pt x="123696" y="187826"/>
                    <a:pt x="53261" y="225978"/>
                  </a:cubicBezTo>
                  <a:cubicBezTo>
                    <a:pt x="-8370" y="258261"/>
                    <a:pt x="435" y="14674"/>
                    <a:pt x="435" y="14674"/>
                  </a:cubicBezTo>
                  <a:lnTo>
                    <a:pt x="91413" y="0"/>
                  </a:ln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5C7CEA18-9B41-4E0B-A5C2-74E0D9C6035F}"/>
                </a:ext>
              </a:extLst>
            </p:cNvPr>
            <p:cNvSpPr/>
            <p:nvPr/>
          </p:nvSpPr>
          <p:spPr>
            <a:xfrm>
              <a:off x="6468346" y="2156826"/>
              <a:ext cx="407557" cy="547328"/>
            </a:xfrm>
            <a:custGeom>
              <a:avLst/>
              <a:gdLst>
                <a:gd name="connsiteX0" fmla="*/ 396196 w 407557"/>
                <a:gd name="connsiteY0" fmla="*/ 174030 h 547328"/>
                <a:gd name="connsiteX1" fmla="*/ 399131 w 407557"/>
                <a:gd name="connsiteY1" fmla="*/ 414682 h 547328"/>
                <a:gd name="connsiteX2" fmla="*/ 246522 w 407557"/>
                <a:gd name="connsiteY2" fmla="*/ 546747 h 547328"/>
                <a:gd name="connsiteX3" fmla="*/ 38152 w 407557"/>
                <a:gd name="connsiteY3" fmla="*/ 411747 h 547328"/>
                <a:gd name="connsiteX4" fmla="*/ 0 w 407557"/>
                <a:gd name="connsiteY4" fmla="*/ 194573 h 547328"/>
                <a:gd name="connsiteX5" fmla="*/ 202500 w 407557"/>
                <a:gd name="connsiteY5" fmla="*/ 878 h 547328"/>
                <a:gd name="connsiteX6" fmla="*/ 396196 w 407557"/>
                <a:gd name="connsiteY6" fmla="*/ 174030 h 547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7557" h="547328">
                  <a:moveTo>
                    <a:pt x="396196" y="174030"/>
                  </a:moveTo>
                  <a:cubicBezTo>
                    <a:pt x="396196" y="174030"/>
                    <a:pt x="419674" y="344247"/>
                    <a:pt x="399131" y="414682"/>
                  </a:cubicBezTo>
                  <a:cubicBezTo>
                    <a:pt x="381522" y="479247"/>
                    <a:pt x="296413" y="540878"/>
                    <a:pt x="246522" y="546747"/>
                  </a:cubicBezTo>
                  <a:cubicBezTo>
                    <a:pt x="181957" y="552617"/>
                    <a:pt x="67500" y="514465"/>
                    <a:pt x="38152" y="411747"/>
                  </a:cubicBezTo>
                  <a:cubicBezTo>
                    <a:pt x="17609" y="341312"/>
                    <a:pt x="0" y="244465"/>
                    <a:pt x="0" y="194573"/>
                  </a:cubicBezTo>
                  <a:cubicBezTo>
                    <a:pt x="0" y="103595"/>
                    <a:pt x="26413" y="27291"/>
                    <a:pt x="202500" y="878"/>
                  </a:cubicBezTo>
                  <a:cubicBezTo>
                    <a:pt x="284674" y="-10862"/>
                    <a:pt x="378587" y="97725"/>
                    <a:pt x="396196" y="174030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4D969E03-1A09-4BE2-A8B9-9870A235179B}"/>
                </a:ext>
              </a:extLst>
            </p:cNvPr>
            <p:cNvSpPr/>
            <p:nvPr/>
          </p:nvSpPr>
          <p:spPr>
            <a:xfrm>
              <a:off x="6688455" y="2407160"/>
              <a:ext cx="55761" cy="135000"/>
            </a:xfrm>
            <a:custGeom>
              <a:avLst/>
              <a:gdLst>
                <a:gd name="connsiteX0" fmla="*/ 26413 w 55761"/>
                <a:gd name="connsiteY0" fmla="*/ 135000 h 135000"/>
                <a:gd name="connsiteX1" fmla="*/ 5870 w 55761"/>
                <a:gd name="connsiteY1" fmla="*/ 132065 h 135000"/>
                <a:gd name="connsiteX2" fmla="*/ 0 w 55761"/>
                <a:gd name="connsiteY2" fmla="*/ 126196 h 135000"/>
                <a:gd name="connsiteX3" fmla="*/ 5870 w 55761"/>
                <a:gd name="connsiteY3" fmla="*/ 120326 h 135000"/>
                <a:gd name="connsiteX4" fmla="*/ 44022 w 55761"/>
                <a:gd name="connsiteY4" fmla="*/ 117391 h 135000"/>
                <a:gd name="connsiteX5" fmla="*/ 44022 w 55761"/>
                <a:gd name="connsiteY5" fmla="*/ 114457 h 135000"/>
                <a:gd name="connsiteX6" fmla="*/ 26413 w 55761"/>
                <a:gd name="connsiteY6" fmla="*/ 5870 h 135000"/>
                <a:gd name="connsiteX7" fmla="*/ 32283 w 55761"/>
                <a:gd name="connsiteY7" fmla="*/ 0 h 135000"/>
                <a:gd name="connsiteX8" fmla="*/ 38152 w 55761"/>
                <a:gd name="connsiteY8" fmla="*/ 5870 h 135000"/>
                <a:gd name="connsiteX9" fmla="*/ 55761 w 55761"/>
                <a:gd name="connsiteY9" fmla="*/ 114457 h 135000"/>
                <a:gd name="connsiteX10" fmla="*/ 49892 w 55761"/>
                <a:gd name="connsiteY10" fmla="*/ 126196 h 135000"/>
                <a:gd name="connsiteX11" fmla="*/ 26413 w 55761"/>
                <a:gd name="connsiteY11" fmla="*/ 13500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761" h="135000">
                  <a:moveTo>
                    <a:pt x="26413" y="135000"/>
                  </a:moveTo>
                  <a:cubicBezTo>
                    <a:pt x="17609" y="135000"/>
                    <a:pt x="8804" y="132065"/>
                    <a:pt x="5870" y="132065"/>
                  </a:cubicBezTo>
                  <a:cubicBezTo>
                    <a:pt x="2935" y="132065"/>
                    <a:pt x="0" y="129130"/>
                    <a:pt x="0" y="126196"/>
                  </a:cubicBezTo>
                  <a:cubicBezTo>
                    <a:pt x="0" y="123261"/>
                    <a:pt x="2935" y="120326"/>
                    <a:pt x="5870" y="120326"/>
                  </a:cubicBezTo>
                  <a:cubicBezTo>
                    <a:pt x="17609" y="123261"/>
                    <a:pt x="38152" y="123261"/>
                    <a:pt x="44022" y="117391"/>
                  </a:cubicBezTo>
                  <a:cubicBezTo>
                    <a:pt x="44022" y="117391"/>
                    <a:pt x="44022" y="114457"/>
                    <a:pt x="44022" y="114457"/>
                  </a:cubicBezTo>
                  <a:cubicBezTo>
                    <a:pt x="44022" y="96848"/>
                    <a:pt x="26413" y="8804"/>
                    <a:pt x="26413" y="5870"/>
                  </a:cubicBezTo>
                  <a:cubicBezTo>
                    <a:pt x="26413" y="2935"/>
                    <a:pt x="26413" y="0"/>
                    <a:pt x="32283" y="0"/>
                  </a:cubicBezTo>
                  <a:cubicBezTo>
                    <a:pt x="35218" y="0"/>
                    <a:pt x="38152" y="0"/>
                    <a:pt x="38152" y="5870"/>
                  </a:cubicBezTo>
                  <a:cubicBezTo>
                    <a:pt x="38152" y="8804"/>
                    <a:pt x="55761" y="96848"/>
                    <a:pt x="55761" y="114457"/>
                  </a:cubicBezTo>
                  <a:cubicBezTo>
                    <a:pt x="55761" y="120326"/>
                    <a:pt x="52826" y="123261"/>
                    <a:pt x="49892" y="126196"/>
                  </a:cubicBezTo>
                  <a:cubicBezTo>
                    <a:pt x="46957" y="135000"/>
                    <a:pt x="35218" y="135000"/>
                    <a:pt x="26413" y="135000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E9CCA371-983B-4BDA-82CA-C9816DEA5523}"/>
                </a:ext>
              </a:extLst>
            </p:cNvPr>
            <p:cNvSpPr/>
            <p:nvPr/>
          </p:nvSpPr>
          <p:spPr>
            <a:xfrm>
              <a:off x="6772988" y="2386041"/>
              <a:ext cx="39303" cy="39303"/>
            </a:xfrm>
            <a:custGeom>
              <a:avLst/>
              <a:gdLst>
                <a:gd name="connsiteX0" fmla="*/ 576 w 39303"/>
                <a:gd name="connsiteY0" fmla="*/ 24054 h 39303"/>
                <a:gd name="connsiteX1" fmla="*/ 24054 w 39303"/>
                <a:gd name="connsiteY1" fmla="*/ 38728 h 39303"/>
                <a:gd name="connsiteX2" fmla="*/ 38728 w 39303"/>
                <a:gd name="connsiteY2" fmla="*/ 15250 h 39303"/>
                <a:gd name="connsiteX3" fmla="*/ 15250 w 39303"/>
                <a:gd name="connsiteY3" fmla="*/ 576 h 39303"/>
                <a:gd name="connsiteX4" fmla="*/ 576 w 39303"/>
                <a:gd name="connsiteY4" fmla="*/ 24054 h 39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03" h="39303">
                  <a:moveTo>
                    <a:pt x="576" y="24054"/>
                  </a:moveTo>
                  <a:cubicBezTo>
                    <a:pt x="3510" y="32858"/>
                    <a:pt x="12315" y="41663"/>
                    <a:pt x="24054" y="38728"/>
                  </a:cubicBezTo>
                  <a:cubicBezTo>
                    <a:pt x="32858" y="35793"/>
                    <a:pt x="41663" y="26989"/>
                    <a:pt x="38728" y="15250"/>
                  </a:cubicBezTo>
                  <a:cubicBezTo>
                    <a:pt x="35793" y="6445"/>
                    <a:pt x="26989" y="-2359"/>
                    <a:pt x="15250" y="576"/>
                  </a:cubicBezTo>
                  <a:cubicBezTo>
                    <a:pt x="6445" y="3510"/>
                    <a:pt x="-2359" y="15250"/>
                    <a:pt x="576" y="24054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4" name="任意多边形: 形状 183">
              <a:extLst>
                <a:ext uri="{FF2B5EF4-FFF2-40B4-BE49-F238E27FC236}">
                  <a16:creationId xmlns:a16="http://schemas.microsoft.com/office/drawing/2014/main" id="{3C8C2B2C-C6FE-43F8-A368-6A4CA042ADF8}"/>
                </a:ext>
              </a:extLst>
            </p:cNvPr>
            <p:cNvSpPr/>
            <p:nvPr/>
          </p:nvSpPr>
          <p:spPr>
            <a:xfrm>
              <a:off x="6596901" y="2406585"/>
              <a:ext cx="39303" cy="39303"/>
            </a:xfrm>
            <a:custGeom>
              <a:avLst/>
              <a:gdLst>
                <a:gd name="connsiteX0" fmla="*/ 576 w 39303"/>
                <a:gd name="connsiteY0" fmla="*/ 24054 h 39303"/>
                <a:gd name="connsiteX1" fmla="*/ 24054 w 39303"/>
                <a:gd name="connsiteY1" fmla="*/ 38728 h 39303"/>
                <a:gd name="connsiteX2" fmla="*/ 38728 w 39303"/>
                <a:gd name="connsiteY2" fmla="*/ 15250 h 39303"/>
                <a:gd name="connsiteX3" fmla="*/ 15250 w 39303"/>
                <a:gd name="connsiteY3" fmla="*/ 576 h 39303"/>
                <a:gd name="connsiteX4" fmla="*/ 576 w 39303"/>
                <a:gd name="connsiteY4" fmla="*/ 24054 h 39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03" h="39303">
                  <a:moveTo>
                    <a:pt x="576" y="24054"/>
                  </a:moveTo>
                  <a:cubicBezTo>
                    <a:pt x="3510" y="32858"/>
                    <a:pt x="12315" y="41663"/>
                    <a:pt x="24054" y="38728"/>
                  </a:cubicBezTo>
                  <a:cubicBezTo>
                    <a:pt x="32858" y="35793"/>
                    <a:pt x="41663" y="26989"/>
                    <a:pt x="38728" y="15250"/>
                  </a:cubicBezTo>
                  <a:cubicBezTo>
                    <a:pt x="35793" y="6445"/>
                    <a:pt x="26989" y="-2359"/>
                    <a:pt x="15250" y="576"/>
                  </a:cubicBezTo>
                  <a:cubicBezTo>
                    <a:pt x="6445" y="3510"/>
                    <a:pt x="-2359" y="12315"/>
                    <a:pt x="576" y="24054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4C766EA2-F9D3-4331-8504-B0842573B57E}"/>
                </a:ext>
              </a:extLst>
            </p:cNvPr>
            <p:cNvSpPr/>
            <p:nvPr/>
          </p:nvSpPr>
          <p:spPr>
            <a:xfrm>
              <a:off x="6745935" y="2339660"/>
              <a:ext cx="88525" cy="32282"/>
            </a:xfrm>
            <a:custGeom>
              <a:avLst/>
              <a:gdLst>
                <a:gd name="connsiteX0" fmla="*/ 83390 w 88525"/>
                <a:gd name="connsiteY0" fmla="*/ 32283 h 32282"/>
                <a:gd name="connsiteX1" fmla="*/ 77520 w 88525"/>
                <a:gd name="connsiteY1" fmla="*/ 29348 h 32282"/>
                <a:gd name="connsiteX2" fmla="*/ 12955 w 88525"/>
                <a:gd name="connsiteY2" fmla="*/ 23478 h 32282"/>
                <a:gd name="connsiteX3" fmla="*/ 1216 w 88525"/>
                <a:gd name="connsiteY3" fmla="*/ 20543 h 32282"/>
                <a:gd name="connsiteX4" fmla="*/ 4150 w 88525"/>
                <a:gd name="connsiteY4" fmla="*/ 8804 h 32282"/>
                <a:gd name="connsiteX5" fmla="*/ 86324 w 88525"/>
                <a:gd name="connsiteY5" fmla="*/ 17609 h 32282"/>
                <a:gd name="connsiteX6" fmla="*/ 86324 w 88525"/>
                <a:gd name="connsiteY6" fmla="*/ 29348 h 32282"/>
                <a:gd name="connsiteX7" fmla="*/ 83390 w 88525"/>
                <a:gd name="connsiteY7" fmla="*/ 32283 h 32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2282">
                  <a:moveTo>
                    <a:pt x="83390" y="32283"/>
                  </a:moveTo>
                  <a:cubicBezTo>
                    <a:pt x="80455" y="32283"/>
                    <a:pt x="80455" y="32283"/>
                    <a:pt x="77520" y="29348"/>
                  </a:cubicBezTo>
                  <a:cubicBezTo>
                    <a:pt x="51107" y="2935"/>
                    <a:pt x="15889" y="23478"/>
                    <a:pt x="12955" y="23478"/>
                  </a:cubicBezTo>
                  <a:cubicBezTo>
                    <a:pt x="10020" y="26413"/>
                    <a:pt x="4150" y="23478"/>
                    <a:pt x="1216" y="20543"/>
                  </a:cubicBezTo>
                  <a:cubicBezTo>
                    <a:pt x="-1719" y="17609"/>
                    <a:pt x="1216" y="11739"/>
                    <a:pt x="4150" y="8804"/>
                  </a:cubicBezTo>
                  <a:cubicBezTo>
                    <a:pt x="21759" y="0"/>
                    <a:pt x="59911" y="-8804"/>
                    <a:pt x="86324" y="17609"/>
                  </a:cubicBezTo>
                  <a:cubicBezTo>
                    <a:pt x="89259" y="20543"/>
                    <a:pt x="89259" y="26413"/>
                    <a:pt x="86324" y="29348"/>
                  </a:cubicBezTo>
                  <a:cubicBezTo>
                    <a:pt x="86324" y="32283"/>
                    <a:pt x="83390" y="32283"/>
                    <a:pt x="83390" y="32283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98291DF1-F6AA-44D8-9015-09E4F40E3AB0}"/>
                </a:ext>
              </a:extLst>
            </p:cNvPr>
            <p:cNvSpPr/>
            <p:nvPr/>
          </p:nvSpPr>
          <p:spPr>
            <a:xfrm>
              <a:off x="6562993" y="2342894"/>
              <a:ext cx="88525" cy="34918"/>
            </a:xfrm>
            <a:custGeom>
              <a:avLst/>
              <a:gdLst>
                <a:gd name="connsiteX0" fmla="*/ 8070 w 88525"/>
                <a:gd name="connsiteY0" fmla="*/ 34919 h 34918"/>
                <a:gd name="connsiteX1" fmla="*/ 2201 w 88525"/>
                <a:gd name="connsiteY1" fmla="*/ 31984 h 34918"/>
                <a:gd name="connsiteX2" fmla="*/ 2201 w 88525"/>
                <a:gd name="connsiteY2" fmla="*/ 20245 h 34918"/>
                <a:gd name="connsiteX3" fmla="*/ 84375 w 88525"/>
                <a:gd name="connsiteY3" fmla="*/ 11441 h 34918"/>
                <a:gd name="connsiteX4" fmla="*/ 87310 w 88525"/>
                <a:gd name="connsiteY4" fmla="*/ 23180 h 34918"/>
                <a:gd name="connsiteX5" fmla="*/ 75570 w 88525"/>
                <a:gd name="connsiteY5" fmla="*/ 26114 h 34918"/>
                <a:gd name="connsiteX6" fmla="*/ 11005 w 88525"/>
                <a:gd name="connsiteY6" fmla="*/ 31984 h 34918"/>
                <a:gd name="connsiteX7" fmla="*/ 8070 w 88525"/>
                <a:gd name="connsiteY7" fmla="*/ 34919 h 3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4918">
                  <a:moveTo>
                    <a:pt x="8070" y="34919"/>
                  </a:moveTo>
                  <a:cubicBezTo>
                    <a:pt x="5136" y="34919"/>
                    <a:pt x="5136" y="34919"/>
                    <a:pt x="2201" y="31984"/>
                  </a:cubicBezTo>
                  <a:cubicBezTo>
                    <a:pt x="-734" y="29049"/>
                    <a:pt x="-734" y="23180"/>
                    <a:pt x="2201" y="20245"/>
                  </a:cubicBezTo>
                  <a:cubicBezTo>
                    <a:pt x="13940" y="5571"/>
                    <a:pt x="49158" y="-12038"/>
                    <a:pt x="84375" y="11441"/>
                  </a:cubicBezTo>
                  <a:cubicBezTo>
                    <a:pt x="87310" y="14375"/>
                    <a:pt x="90244" y="17310"/>
                    <a:pt x="87310" y="23180"/>
                  </a:cubicBezTo>
                  <a:cubicBezTo>
                    <a:pt x="84375" y="26114"/>
                    <a:pt x="81440" y="29049"/>
                    <a:pt x="75570" y="26114"/>
                  </a:cubicBezTo>
                  <a:cubicBezTo>
                    <a:pt x="40353" y="2636"/>
                    <a:pt x="13940" y="31984"/>
                    <a:pt x="11005" y="31984"/>
                  </a:cubicBezTo>
                  <a:cubicBezTo>
                    <a:pt x="13940" y="34919"/>
                    <a:pt x="11005" y="34919"/>
                    <a:pt x="8070" y="34919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14F4EAD4-4721-4B70-A07F-7A3F2DC0DC63}"/>
                </a:ext>
              </a:extLst>
            </p:cNvPr>
            <p:cNvSpPr/>
            <p:nvPr/>
          </p:nvSpPr>
          <p:spPr>
            <a:xfrm>
              <a:off x="6559325" y="2647812"/>
              <a:ext cx="222309" cy="61630"/>
            </a:xfrm>
            <a:custGeom>
              <a:avLst/>
              <a:gdLst>
                <a:gd name="connsiteX0" fmla="*/ 143804 w 222309"/>
                <a:gd name="connsiteY0" fmla="*/ 61631 h 61630"/>
                <a:gd name="connsiteX1" fmla="*/ 2935 w 222309"/>
                <a:gd name="connsiteY1" fmla="*/ 11739 h 61630"/>
                <a:gd name="connsiteX2" fmla="*/ 0 w 222309"/>
                <a:gd name="connsiteY2" fmla="*/ 2935 h 61630"/>
                <a:gd name="connsiteX3" fmla="*/ 8804 w 222309"/>
                <a:gd name="connsiteY3" fmla="*/ 0 h 61630"/>
                <a:gd name="connsiteX4" fmla="*/ 143804 w 222309"/>
                <a:gd name="connsiteY4" fmla="*/ 46957 h 61630"/>
                <a:gd name="connsiteX5" fmla="*/ 143804 w 222309"/>
                <a:gd name="connsiteY5" fmla="*/ 46957 h 61630"/>
                <a:gd name="connsiteX6" fmla="*/ 211304 w 222309"/>
                <a:gd name="connsiteY6" fmla="*/ 23478 h 61630"/>
                <a:gd name="connsiteX7" fmla="*/ 220109 w 222309"/>
                <a:gd name="connsiteY7" fmla="*/ 23478 h 61630"/>
                <a:gd name="connsiteX8" fmla="*/ 220109 w 222309"/>
                <a:gd name="connsiteY8" fmla="*/ 32283 h 61630"/>
                <a:gd name="connsiteX9" fmla="*/ 143804 w 222309"/>
                <a:gd name="connsiteY9" fmla="*/ 61631 h 61630"/>
                <a:gd name="connsiteX10" fmla="*/ 143804 w 222309"/>
                <a:gd name="connsiteY10" fmla="*/ 61631 h 61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2309" h="61630">
                  <a:moveTo>
                    <a:pt x="143804" y="61631"/>
                  </a:moveTo>
                  <a:cubicBezTo>
                    <a:pt x="93913" y="61631"/>
                    <a:pt x="8804" y="14674"/>
                    <a:pt x="2935" y="11739"/>
                  </a:cubicBezTo>
                  <a:cubicBezTo>
                    <a:pt x="0" y="8804"/>
                    <a:pt x="0" y="5870"/>
                    <a:pt x="0" y="2935"/>
                  </a:cubicBezTo>
                  <a:cubicBezTo>
                    <a:pt x="2935" y="0"/>
                    <a:pt x="5869" y="0"/>
                    <a:pt x="8804" y="0"/>
                  </a:cubicBezTo>
                  <a:cubicBezTo>
                    <a:pt x="8804" y="0"/>
                    <a:pt x="96848" y="46957"/>
                    <a:pt x="143804" y="46957"/>
                  </a:cubicBezTo>
                  <a:cubicBezTo>
                    <a:pt x="143804" y="46957"/>
                    <a:pt x="143804" y="46957"/>
                    <a:pt x="143804" y="46957"/>
                  </a:cubicBezTo>
                  <a:cubicBezTo>
                    <a:pt x="181956" y="46957"/>
                    <a:pt x="211304" y="23478"/>
                    <a:pt x="211304" y="23478"/>
                  </a:cubicBezTo>
                  <a:cubicBezTo>
                    <a:pt x="214239" y="20544"/>
                    <a:pt x="217174" y="20544"/>
                    <a:pt x="220109" y="23478"/>
                  </a:cubicBezTo>
                  <a:cubicBezTo>
                    <a:pt x="223044" y="26413"/>
                    <a:pt x="223044" y="29348"/>
                    <a:pt x="220109" y="32283"/>
                  </a:cubicBezTo>
                  <a:cubicBezTo>
                    <a:pt x="217174" y="35217"/>
                    <a:pt x="184891" y="61631"/>
                    <a:pt x="143804" y="61631"/>
                  </a:cubicBezTo>
                  <a:cubicBezTo>
                    <a:pt x="143804" y="61631"/>
                    <a:pt x="143804" y="61631"/>
                    <a:pt x="143804" y="61631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EC46541B-915A-4230-B1EA-B4563C077050}"/>
                </a:ext>
              </a:extLst>
            </p:cNvPr>
            <p:cNvSpPr/>
            <p:nvPr/>
          </p:nvSpPr>
          <p:spPr>
            <a:xfrm>
              <a:off x="6429890" y="2178247"/>
              <a:ext cx="108891" cy="258260"/>
            </a:xfrm>
            <a:custGeom>
              <a:avLst/>
              <a:gdLst>
                <a:gd name="connsiteX0" fmla="*/ 108891 w 108891"/>
                <a:gd name="connsiteY0" fmla="*/ 123261 h 258260"/>
                <a:gd name="connsiteX1" fmla="*/ 61935 w 108891"/>
                <a:gd name="connsiteY1" fmla="*/ 258261 h 258260"/>
                <a:gd name="connsiteX2" fmla="*/ 6174 w 108891"/>
                <a:gd name="connsiteY2" fmla="*/ 161413 h 258260"/>
                <a:gd name="connsiteX3" fmla="*/ 61935 w 108891"/>
                <a:gd name="connsiteY3" fmla="*/ 0 h 258260"/>
                <a:gd name="connsiteX4" fmla="*/ 108891 w 108891"/>
                <a:gd name="connsiteY4" fmla="*/ 123261 h 258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891" h="258260">
                  <a:moveTo>
                    <a:pt x="108891" y="123261"/>
                  </a:moveTo>
                  <a:cubicBezTo>
                    <a:pt x="108891" y="123261"/>
                    <a:pt x="56065" y="228913"/>
                    <a:pt x="61935" y="258261"/>
                  </a:cubicBezTo>
                  <a:cubicBezTo>
                    <a:pt x="61935" y="258261"/>
                    <a:pt x="20848" y="214239"/>
                    <a:pt x="6174" y="161413"/>
                  </a:cubicBezTo>
                  <a:cubicBezTo>
                    <a:pt x="-8500" y="105652"/>
                    <a:pt x="305" y="14674"/>
                    <a:pt x="61935" y="0"/>
                  </a:cubicBezTo>
                  <a:cubicBezTo>
                    <a:pt x="64870" y="2935"/>
                    <a:pt x="70739" y="105652"/>
                    <a:pt x="108891" y="123261"/>
                  </a:cubicBez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4CE2BE8E-71B9-4348-BA71-18FB8A82758F}"/>
                </a:ext>
              </a:extLst>
            </p:cNvPr>
            <p:cNvSpPr/>
            <p:nvPr/>
          </p:nvSpPr>
          <p:spPr>
            <a:xfrm>
              <a:off x="6483377" y="2065575"/>
              <a:ext cx="463338" cy="246846"/>
            </a:xfrm>
            <a:custGeom>
              <a:avLst/>
              <a:gdLst>
                <a:gd name="connsiteX0" fmla="*/ 55404 w 463338"/>
                <a:gd name="connsiteY0" fmla="*/ 235933 h 246846"/>
                <a:gd name="connsiteX1" fmla="*/ 172795 w 463338"/>
                <a:gd name="connsiteY1" fmla="*/ 197781 h 246846"/>
                <a:gd name="connsiteX2" fmla="*/ 463338 w 463338"/>
                <a:gd name="connsiteY2" fmla="*/ 188977 h 246846"/>
                <a:gd name="connsiteX3" fmla="*/ 122904 w 463338"/>
                <a:gd name="connsiteY3" fmla="*/ 9955 h 246846"/>
                <a:gd name="connsiteX4" fmla="*/ 8447 w 463338"/>
                <a:gd name="connsiteY4" fmla="*/ 112672 h 246846"/>
                <a:gd name="connsiteX5" fmla="*/ 55404 w 463338"/>
                <a:gd name="connsiteY5" fmla="*/ 235933 h 246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3338" h="246846">
                  <a:moveTo>
                    <a:pt x="55404" y="235933"/>
                  </a:moveTo>
                  <a:cubicBezTo>
                    <a:pt x="55404" y="235933"/>
                    <a:pt x="146382" y="197781"/>
                    <a:pt x="172795" y="197781"/>
                  </a:cubicBezTo>
                  <a:cubicBezTo>
                    <a:pt x="269643" y="200716"/>
                    <a:pt x="372360" y="312238"/>
                    <a:pt x="463338" y="188977"/>
                  </a:cubicBezTo>
                  <a:cubicBezTo>
                    <a:pt x="419317" y="92129"/>
                    <a:pt x="281382" y="-37002"/>
                    <a:pt x="122904" y="9955"/>
                  </a:cubicBezTo>
                  <a:cubicBezTo>
                    <a:pt x="46599" y="30499"/>
                    <a:pt x="14316" y="77455"/>
                    <a:pt x="8447" y="112672"/>
                  </a:cubicBezTo>
                  <a:cubicBezTo>
                    <a:pt x="11382" y="115607"/>
                    <a:pt x="-32640" y="224194"/>
                    <a:pt x="55404" y="235933"/>
                  </a:cubicBez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F11C4D5E-BE14-4878-B15E-8C04AB4FBB9F}"/>
                </a:ext>
              </a:extLst>
            </p:cNvPr>
            <p:cNvSpPr/>
            <p:nvPr/>
          </p:nvSpPr>
          <p:spPr>
            <a:xfrm>
              <a:off x="6432117" y="2406977"/>
              <a:ext cx="75685" cy="106370"/>
            </a:xfrm>
            <a:custGeom>
              <a:avLst/>
              <a:gdLst>
                <a:gd name="connsiteX0" fmla="*/ 62642 w 75685"/>
                <a:gd name="connsiteY0" fmla="*/ 14857 h 106370"/>
                <a:gd name="connsiteX1" fmla="*/ 6881 w 75685"/>
                <a:gd name="connsiteY1" fmla="*/ 6053 h 106370"/>
                <a:gd name="connsiteX2" fmla="*/ 62642 w 75685"/>
                <a:gd name="connsiteY2" fmla="*/ 102901 h 106370"/>
                <a:gd name="connsiteX3" fmla="*/ 62642 w 75685"/>
                <a:gd name="connsiteY3" fmla="*/ 14857 h 106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685" h="106370">
                  <a:moveTo>
                    <a:pt x="62642" y="14857"/>
                  </a:moveTo>
                  <a:cubicBezTo>
                    <a:pt x="62642" y="14857"/>
                    <a:pt x="30359" y="-11556"/>
                    <a:pt x="6881" y="6053"/>
                  </a:cubicBezTo>
                  <a:cubicBezTo>
                    <a:pt x="-16597" y="23662"/>
                    <a:pt x="24490" y="126379"/>
                    <a:pt x="62642" y="102901"/>
                  </a:cubicBezTo>
                  <a:cubicBezTo>
                    <a:pt x="91990" y="85292"/>
                    <a:pt x="62642" y="14857"/>
                    <a:pt x="62642" y="14857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67F0F715-5FFD-4325-901B-5374921922A6}"/>
                </a:ext>
              </a:extLst>
            </p:cNvPr>
            <p:cNvSpPr/>
            <p:nvPr/>
          </p:nvSpPr>
          <p:spPr>
            <a:xfrm>
              <a:off x="6650303" y="2234512"/>
              <a:ext cx="187092" cy="37648"/>
            </a:xfrm>
            <a:custGeom>
              <a:avLst/>
              <a:gdLst>
                <a:gd name="connsiteX0" fmla="*/ 5869 w 187092"/>
                <a:gd name="connsiteY0" fmla="*/ 37649 h 37648"/>
                <a:gd name="connsiteX1" fmla="*/ 0 w 187092"/>
                <a:gd name="connsiteY1" fmla="*/ 34714 h 37648"/>
                <a:gd name="connsiteX2" fmla="*/ 2935 w 187092"/>
                <a:gd name="connsiteY2" fmla="*/ 25910 h 37648"/>
                <a:gd name="connsiteX3" fmla="*/ 184891 w 187092"/>
                <a:gd name="connsiteY3" fmla="*/ 20040 h 37648"/>
                <a:gd name="connsiteX4" fmla="*/ 184891 w 187092"/>
                <a:gd name="connsiteY4" fmla="*/ 28844 h 37648"/>
                <a:gd name="connsiteX5" fmla="*/ 176087 w 187092"/>
                <a:gd name="connsiteY5" fmla="*/ 28844 h 37648"/>
                <a:gd name="connsiteX6" fmla="*/ 5869 w 187092"/>
                <a:gd name="connsiteY6" fmla="*/ 37649 h 37648"/>
                <a:gd name="connsiteX7" fmla="*/ 5869 w 187092"/>
                <a:gd name="connsiteY7" fmla="*/ 37649 h 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092" h="37648">
                  <a:moveTo>
                    <a:pt x="5869" y="37649"/>
                  </a:moveTo>
                  <a:cubicBezTo>
                    <a:pt x="2935" y="37649"/>
                    <a:pt x="2935" y="37649"/>
                    <a:pt x="0" y="34714"/>
                  </a:cubicBezTo>
                  <a:cubicBezTo>
                    <a:pt x="0" y="31779"/>
                    <a:pt x="0" y="28844"/>
                    <a:pt x="2935" y="25910"/>
                  </a:cubicBezTo>
                  <a:cubicBezTo>
                    <a:pt x="8804" y="22975"/>
                    <a:pt x="117391" y="-26916"/>
                    <a:pt x="184891" y="20040"/>
                  </a:cubicBezTo>
                  <a:cubicBezTo>
                    <a:pt x="187826" y="22975"/>
                    <a:pt x="187826" y="25910"/>
                    <a:pt x="184891" y="28844"/>
                  </a:cubicBezTo>
                  <a:cubicBezTo>
                    <a:pt x="181956" y="31779"/>
                    <a:pt x="179021" y="31779"/>
                    <a:pt x="176087" y="28844"/>
                  </a:cubicBezTo>
                  <a:cubicBezTo>
                    <a:pt x="117391" y="-12242"/>
                    <a:pt x="11739" y="34714"/>
                    <a:pt x="5869" y="37649"/>
                  </a:cubicBezTo>
                  <a:cubicBezTo>
                    <a:pt x="8804" y="37649"/>
                    <a:pt x="8804" y="37649"/>
                    <a:pt x="5869" y="37649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362B5301-B6C3-41FD-9191-29902E337D97}"/>
                </a:ext>
              </a:extLst>
            </p:cNvPr>
            <p:cNvSpPr/>
            <p:nvPr/>
          </p:nvSpPr>
          <p:spPr>
            <a:xfrm>
              <a:off x="6659107" y="2586182"/>
              <a:ext cx="102717" cy="46956"/>
            </a:xfrm>
            <a:custGeom>
              <a:avLst/>
              <a:gdLst>
                <a:gd name="connsiteX0" fmla="*/ 0 w 102717"/>
                <a:gd name="connsiteY0" fmla="*/ 0 h 46956"/>
                <a:gd name="connsiteX1" fmla="*/ 102717 w 102717"/>
                <a:gd name="connsiteY1" fmla="*/ 0 h 46956"/>
                <a:gd name="connsiteX2" fmla="*/ 46957 w 102717"/>
                <a:gd name="connsiteY2" fmla="*/ 46956 h 46956"/>
                <a:gd name="connsiteX3" fmla="*/ 0 w 102717"/>
                <a:gd name="connsiteY3" fmla="*/ 0 h 46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717" h="46956">
                  <a:moveTo>
                    <a:pt x="0" y="0"/>
                  </a:moveTo>
                  <a:cubicBezTo>
                    <a:pt x="0" y="0"/>
                    <a:pt x="58696" y="17609"/>
                    <a:pt x="102717" y="0"/>
                  </a:cubicBezTo>
                  <a:cubicBezTo>
                    <a:pt x="102717" y="0"/>
                    <a:pt x="85109" y="46956"/>
                    <a:pt x="46957" y="46956"/>
                  </a:cubicBezTo>
                  <a:cubicBezTo>
                    <a:pt x="23478" y="46956"/>
                    <a:pt x="5870" y="14674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BEC6A913-6BB5-4598-A401-B982EFECCAD6}"/>
                </a:ext>
              </a:extLst>
            </p:cNvPr>
            <p:cNvSpPr/>
            <p:nvPr/>
          </p:nvSpPr>
          <p:spPr>
            <a:xfrm>
              <a:off x="6189542" y="3129117"/>
              <a:ext cx="38152" cy="325760"/>
            </a:xfrm>
            <a:custGeom>
              <a:avLst/>
              <a:gdLst>
                <a:gd name="connsiteX0" fmla="*/ 5870 w 38152"/>
                <a:gd name="connsiteY0" fmla="*/ 325761 h 325760"/>
                <a:gd name="connsiteX1" fmla="*/ 5870 w 38152"/>
                <a:gd name="connsiteY1" fmla="*/ 325761 h 325760"/>
                <a:gd name="connsiteX2" fmla="*/ 0 w 38152"/>
                <a:gd name="connsiteY2" fmla="*/ 319891 h 325760"/>
                <a:gd name="connsiteX3" fmla="*/ 26413 w 38152"/>
                <a:gd name="connsiteY3" fmla="*/ 5870 h 325760"/>
                <a:gd name="connsiteX4" fmla="*/ 32283 w 38152"/>
                <a:gd name="connsiteY4" fmla="*/ 0 h 325760"/>
                <a:gd name="connsiteX5" fmla="*/ 38152 w 38152"/>
                <a:gd name="connsiteY5" fmla="*/ 5870 h 325760"/>
                <a:gd name="connsiteX6" fmla="*/ 11739 w 38152"/>
                <a:gd name="connsiteY6" fmla="*/ 319891 h 325760"/>
                <a:gd name="connsiteX7" fmla="*/ 5870 w 38152"/>
                <a:gd name="connsiteY7" fmla="*/ 325761 h 325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52" h="325760">
                  <a:moveTo>
                    <a:pt x="5870" y="325761"/>
                  </a:moveTo>
                  <a:cubicBezTo>
                    <a:pt x="5870" y="325761"/>
                    <a:pt x="5870" y="325761"/>
                    <a:pt x="5870" y="325761"/>
                  </a:cubicBezTo>
                  <a:cubicBezTo>
                    <a:pt x="2935" y="325761"/>
                    <a:pt x="0" y="322826"/>
                    <a:pt x="0" y="319891"/>
                  </a:cubicBezTo>
                  <a:cubicBezTo>
                    <a:pt x="5870" y="246522"/>
                    <a:pt x="26413" y="8804"/>
                    <a:pt x="26413" y="5870"/>
                  </a:cubicBezTo>
                  <a:cubicBezTo>
                    <a:pt x="26413" y="2935"/>
                    <a:pt x="29348" y="0"/>
                    <a:pt x="32283" y="0"/>
                  </a:cubicBezTo>
                  <a:cubicBezTo>
                    <a:pt x="35218" y="0"/>
                    <a:pt x="38152" y="2935"/>
                    <a:pt x="38152" y="5870"/>
                  </a:cubicBezTo>
                  <a:cubicBezTo>
                    <a:pt x="38152" y="8804"/>
                    <a:pt x="14674" y="246522"/>
                    <a:pt x="11739" y="319891"/>
                  </a:cubicBezTo>
                  <a:cubicBezTo>
                    <a:pt x="11739" y="322826"/>
                    <a:pt x="8804" y="325761"/>
                    <a:pt x="5870" y="325761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94" name="图形 1">
              <a:extLst>
                <a:ext uri="{FF2B5EF4-FFF2-40B4-BE49-F238E27FC236}">
                  <a16:creationId xmlns:a16="http://schemas.microsoft.com/office/drawing/2014/main" id="{022DE2CF-4F1C-4C5B-B1AE-3B97CDD4339E}"/>
                </a:ext>
              </a:extLst>
            </p:cNvPr>
            <p:cNvGrpSpPr/>
            <p:nvPr/>
          </p:nvGrpSpPr>
          <p:grpSpPr>
            <a:xfrm>
              <a:off x="8039189" y="3076066"/>
              <a:ext cx="165542" cy="221211"/>
              <a:chOff x="8039189" y="3076066"/>
              <a:chExt cx="165542" cy="221211"/>
            </a:xfrm>
          </p:grpSpPr>
          <p:sp>
            <p:nvSpPr>
              <p:cNvPr id="195" name="任意多边形: 形状 194">
                <a:extLst>
                  <a:ext uri="{FF2B5EF4-FFF2-40B4-BE49-F238E27FC236}">
                    <a16:creationId xmlns:a16="http://schemas.microsoft.com/office/drawing/2014/main" id="{ABF2FACC-B153-4144-A6E6-F1E71F0DDDEA}"/>
                  </a:ext>
                </a:extLst>
              </p:cNvPr>
              <p:cNvSpPr/>
              <p:nvPr/>
            </p:nvSpPr>
            <p:spPr>
              <a:xfrm>
                <a:off x="8046853" y="3076066"/>
                <a:ext cx="141731" cy="110900"/>
              </a:xfrm>
              <a:custGeom>
                <a:avLst/>
                <a:gdLst>
                  <a:gd name="connsiteX0" fmla="*/ 120732 w 141731"/>
                  <a:gd name="connsiteY0" fmla="*/ 225 h 110900"/>
                  <a:gd name="connsiteX1" fmla="*/ 32689 w 141731"/>
                  <a:gd name="connsiteY1" fmla="*/ 41312 h 110900"/>
                  <a:gd name="connsiteX2" fmla="*/ 18015 w 141731"/>
                  <a:gd name="connsiteY2" fmla="*/ 47182 h 110900"/>
                  <a:gd name="connsiteX3" fmla="*/ 6276 w 141731"/>
                  <a:gd name="connsiteY3" fmla="*/ 58921 h 110900"/>
                  <a:gd name="connsiteX4" fmla="*/ 9211 w 141731"/>
                  <a:gd name="connsiteY4" fmla="*/ 105877 h 110900"/>
                  <a:gd name="connsiteX5" fmla="*/ 53232 w 141731"/>
                  <a:gd name="connsiteY5" fmla="*/ 100008 h 110900"/>
                  <a:gd name="connsiteX6" fmla="*/ 108993 w 141731"/>
                  <a:gd name="connsiteY6" fmla="*/ 67725 h 110900"/>
                  <a:gd name="connsiteX7" fmla="*/ 141276 w 141731"/>
                  <a:gd name="connsiteY7" fmla="*/ 32508 h 110900"/>
                  <a:gd name="connsiteX8" fmla="*/ 120732 w 141731"/>
                  <a:gd name="connsiteY8" fmla="*/ 225 h 110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1731" h="110900">
                    <a:moveTo>
                      <a:pt x="120732" y="225"/>
                    </a:moveTo>
                    <a:cubicBezTo>
                      <a:pt x="91385" y="-2710"/>
                      <a:pt x="62037" y="23703"/>
                      <a:pt x="32689" y="41312"/>
                    </a:cubicBezTo>
                    <a:cubicBezTo>
                      <a:pt x="29754" y="44247"/>
                      <a:pt x="20949" y="44247"/>
                      <a:pt x="18015" y="47182"/>
                    </a:cubicBezTo>
                    <a:cubicBezTo>
                      <a:pt x="15080" y="50116"/>
                      <a:pt x="9211" y="53051"/>
                      <a:pt x="6276" y="58921"/>
                    </a:cubicBezTo>
                    <a:cubicBezTo>
                      <a:pt x="-2528" y="73595"/>
                      <a:pt x="-2528" y="94138"/>
                      <a:pt x="9211" y="105877"/>
                    </a:cubicBezTo>
                    <a:cubicBezTo>
                      <a:pt x="20949" y="117616"/>
                      <a:pt x="41493" y="105877"/>
                      <a:pt x="53232" y="100008"/>
                    </a:cubicBezTo>
                    <a:cubicBezTo>
                      <a:pt x="70841" y="91203"/>
                      <a:pt x="91385" y="79464"/>
                      <a:pt x="108993" y="67725"/>
                    </a:cubicBezTo>
                    <a:cubicBezTo>
                      <a:pt x="120732" y="58921"/>
                      <a:pt x="138341" y="50116"/>
                      <a:pt x="141276" y="32508"/>
                    </a:cubicBezTo>
                    <a:cubicBezTo>
                      <a:pt x="144211" y="14899"/>
                      <a:pt x="132471" y="225"/>
                      <a:pt x="120732" y="225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6" name="任意多边形: 形状 195">
                <a:extLst>
                  <a:ext uri="{FF2B5EF4-FFF2-40B4-BE49-F238E27FC236}">
                    <a16:creationId xmlns:a16="http://schemas.microsoft.com/office/drawing/2014/main" id="{ECB3C971-E596-40AC-9274-98E4E5629E02}"/>
                  </a:ext>
                </a:extLst>
              </p:cNvPr>
              <p:cNvSpPr/>
              <p:nvPr/>
            </p:nvSpPr>
            <p:spPr>
              <a:xfrm>
                <a:off x="8049788" y="3127625"/>
                <a:ext cx="141732" cy="112167"/>
              </a:xfrm>
              <a:custGeom>
                <a:avLst/>
                <a:gdLst>
                  <a:gd name="connsiteX0" fmla="*/ 120732 w 141732"/>
                  <a:gd name="connsiteY0" fmla="*/ 1492 h 112167"/>
                  <a:gd name="connsiteX1" fmla="*/ 23885 w 141732"/>
                  <a:gd name="connsiteY1" fmla="*/ 42579 h 112167"/>
                  <a:gd name="connsiteX2" fmla="*/ 18015 w 141732"/>
                  <a:gd name="connsiteY2" fmla="*/ 48449 h 112167"/>
                  <a:gd name="connsiteX3" fmla="*/ 6276 w 141732"/>
                  <a:gd name="connsiteY3" fmla="*/ 60188 h 112167"/>
                  <a:gd name="connsiteX4" fmla="*/ 9211 w 141732"/>
                  <a:gd name="connsiteY4" fmla="*/ 107144 h 112167"/>
                  <a:gd name="connsiteX5" fmla="*/ 53233 w 141732"/>
                  <a:gd name="connsiteY5" fmla="*/ 101275 h 112167"/>
                  <a:gd name="connsiteX6" fmla="*/ 108993 w 141732"/>
                  <a:gd name="connsiteY6" fmla="*/ 68992 h 112167"/>
                  <a:gd name="connsiteX7" fmla="*/ 141276 w 141732"/>
                  <a:gd name="connsiteY7" fmla="*/ 33775 h 112167"/>
                  <a:gd name="connsiteX8" fmla="*/ 120732 w 141732"/>
                  <a:gd name="connsiteY8" fmla="*/ 1492 h 112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1732" h="112167">
                    <a:moveTo>
                      <a:pt x="120732" y="1492"/>
                    </a:moveTo>
                    <a:cubicBezTo>
                      <a:pt x="85515" y="-7312"/>
                      <a:pt x="56167" y="24971"/>
                      <a:pt x="23885" y="42579"/>
                    </a:cubicBezTo>
                    <a:cubicBezTo>
                      <a:pt x="20950" y="45514"/>
                      <a:pt x="18015" y="45514"/>
                      <a:pt x="18015" y="48449"/>
                    </a:cubicBezTo>
                    <a:cubicBezTo>
                      <a:pt x="15080" y="51384"/>
                      <a:pt x="9211" y="54318"/>
                      <a:pt x="6276" y="60188"/>
                    </a:cubicBezTo>
                    <a:cubicBezTo>
                      <a:pt x="-2529" y="74862"/>
                      <a:pt x="-2529" y="95405"/>
                      <a:pt x="9211" y="107144"/>
                    </a:cubicBezTo>
                    <a:cubicBezTo>
                      <a:pt x="20950" y="118884"/>
                      <a:pt x="41493" y="107144"/>
                      <a:pt x="53233" y="101275"/>
                    </a:cubicBezTo>
                    <a:cubicBezTo>
                      <a:pt x="70841" y="92471"/>
                      <a:pt x="91384" y="80732"/>
                      <a:pt x="108993" y="68992"/>
                    </a:cubicBezTo>
                    <a:cubicBezTo>
                      <a:pt x="120732" y="60188"/>
                      <a:pt x="138341" y="51384"/>
                      <a:pt x="141276" y="33775"/>
                    </a:cubicBezTo>
                    <a:cubicBezTo>
                      <a:pt x="144211" y="16166"/>
                      <a:pt x="132472" y="4427"/>
                      <a:pt x="120732" y="1492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7" name="任意多边形: 形状 196">
                <a:extLst>
                  <a:ext uri="{FF2B5EF4-FFF2-40B4-BE49-F238E27FC236}">
                    <a16:creationId xmlns:a16="http://schemas.microsoft.com/office/drawing/2014/main" id="{F472F183-0C0F-44D6-AF4A-617DE16DB976}"/>
                  </a:ext>
                </a:extLst>
              </p:cNvPr>
              <p:cNvSpPr/>
              <p:nvPr/>
            </p:nvSpPr>
            <p:spPr>
              <a:xfrm>
                <a:off x="8073266" y="3177392"/>
                <a:ext cx="129536" cy="100552"/>
              </a:xfrm>
              <a:custGeom>
                <a:avLst/>
                <a:gdLst>
                  <a:gd name="connsiteX0" fmla="*/ 106058 w 129536"/>
                  <a:gd name="connsiteY0" fmla="*/ 1617 h 100552"/>
                  <a:gd name="connsiteX1" fmla="*/ 20950 w 129536"/>
                  <a:gd name="connsiteY1" fmla="*/ 36834 h 100552"/>
                  <a:gd name="connsiteX2" fmla="*/ 15080 w 129536"/>
                  <a:gd name="connsiteY2" fmla="*/ 42704 h 100552"/>
                  <a:gd name="connsiteX3" fmla="*/ 6276 w 129536"/>
                  <a:gd name="connsiteY3" fmla="*/ 54443 h 100552"/>
                  <a:gd name="connsiteX4" fmla="*/ 9210 w 129536"/>
                  <a:gd name="connsiteY4" fmla="*/ 95530 h 100552"/>
                  <a:gd name="connsiteX5" fmla="*/ 50298 w 129536"/>
                  <a:gd name="connsiteY5" fmla="*/ 89660 h 100552"/>
                  <a:gd name="connsiteX6" fmla="*/ 100189 w 129536"/>
                  <a:gd name="connsiteY6" fmla="*/ 63247 h 100552"/>
                  <a:gd name="connsiteX7" fmla="*/ 129537 w 129536"/>
                  <a:gd name="connsiteY7" fmla="*/ 33899 h 100552"/>
                  <a:gd name="connsiteX8" fmla="*/ 106058 w 129536"/>
                  <a:gd name="connsiteY8" fmla="*/ 1617 h 100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9536" h="100552">
                    <a:moveTo>
                      <a:pt x="106058" y="1617"/>
                    </a:moveTo>
                    <a:cubicBezTo>
                      <a:pt x="73776" y="-7188"/>
                      <a:pt x="47363" y="22160"/>
                      <a:pt x="20950" y="36834"/>
                    </a:cubicBezTo>
                    <a:cubicBezTo>
                      <a:pt x="18015" y="36834"/>
                      <a:pt x="18015" y="39769"/>
                      <a:pt x="15080" y="42704"/>
                    </a:cubicBezTo>
                    <a:cubicBezTo>
                      <a:pt x="12145" y="45638"/>
                      <a:pt x="6276" y="48573"/>
                      <a:pt x="6276" y="54443"/>
                    </a:cubicBezTo>
                    <a:cubicBezTo>
                      <a:pt x="-2528" y="66182"/>
                      <a:pt x="-2528" y="83791"/>
                      <a:pt x="9210" y="95530"/>
                    </a:cubicBezTo>
                    <a:cubicBezTo>
                      <a:pt x="20950" y="107269"/>
                      <a:pt x="38558" y="95530"/>
                      <a:pt x="50298" y="89660"/>
                    </a:cubicBezTo>
                    <a:cubicBezTo>
                      <a:pt x="67906" y="80856"/>
                      <a:pt x="82580" y="72051"/>
                      <a:pt x="100189" y="63247"/>
                    </a:cubicBezTo>
                    <a:cubicBezTo>
                      <a:pt x="111928" y="57377"/>
                      <a:pt x="126602" y="48573"/>
                      <a:pt x="129537" y="33899"/>
                    </a:cubicBezTo>
                    <a:cubicBezTo>
                      <a:pt x="126602" y="13356"/>
                      <a:pt x="117798" y="4551"/>
                      <a:pt x="106058" y="1617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8" name="任意多边形: 形状 197">
                <a:extLst>
                  <a:ext uri="{FF2B5EF4-FFF2-40B4-BE49-F238E27FC236}">
                    <a16:creationId xmlns:a16="http://schemas.microsoft.com/office/drawing/2014/main" id="{AB110504-609C-4569-B76D-5A30259B3A51}"/>
                  </a:ext>
                </a:extLst>
              </p:cNvPr>
              <p:cNvSpPr/>
              <p:nvPr/>
            </p:nvSpPr>
            <p:spPr>
              <a:xfrm>
                <a:off x="8104799" y="3224932"/>
                <a:ext cx="92717" cy="72345"/>
              </a:xfrm>
              <a:custGeom>
                <a:avLst/>
                <a:gdLst>
                  <a:gd name="connsiteX0" fmla="*/ 80395 w 92717"/>
                  <a:gd name="connsiteY0" fmla="*/ 1033 h 72345"/>
                  <a:gd name="connsiteX1" fmla="*/ 15830 w 92717"/>
                  <a:gd name="connsiteY1" fmla="*/ 27446 h 72345"/>
                  <a:gd name="connsiteX2" fmla="*/ 12895 w 92717"/>
                  <a:gd name="connsiteY2" fmla="*/ 30381 h 72345"/>
                  <a:gd name="connsiteX3" fmla="*/ 4091 w 92717"/>
                  <a:gd name="connsiteY3" fmla="*/ 39185 h 72345"/>
                  <a:gd name="connsiteX4" fmla="*/ 7025 w 92717"/>
                  <a:gd name="connsiteY4" fmla="*/ 68533 h 72345"/>
                  <a:gd name="connsiteX5" fmla="*/ 36373 w 92717"/>
                  <a:gd name="connsiteY5" fmla="*/ 65598 h 72345"/>
                  <a:gd name="connsiteX6" fmla="*/ 71591 w 92717"/>
                  <a:gd name="connsiteY6" fmla="*/ 45055 h 72345"/>
                  <a:gd name="connsiteX7" fmla="*/ 92134 w 92717"/>
                  <a:gd name="connsiteY7" fmla="*/ 24511 h 72345"/>
                  <a:gd name="connsiteX8" fmla="*/ 80395 w 92717"/>
                  <a:gd name="connsiteY8" fmla="*/ 1033 h 72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2717" h="72345">
                    <a:moveTo>
                      <a:pt x="80395" y="1033"/>
                    </a:moveTo>
                    <a:cubicBezTo>
                      <a:pt x="56917" y="-4837"/>
                      <a:pt x="36373" y="15707"/>
                      <a:pt x="15830" y="27446"/>
                    </a:cubicBezTo>
                    <a:cubicBezTo>
                      <a:pt x="12895" y="27446"/>
                      <a:pt x="12895" y="30381"/>
                      <a:pt x="12895" y="30381"/>
                    </a:cubicBezTo>
                    <a:cubicBezTo>
                      <a:pt x="9960" y="33316"/>
                      <a:pt x="7025" y="36250"/>
                      <a:pt x="4091" y="39185"/>
                    </a:cubicBezTo>
                    <a:cubicBezTo>
                      <a:pt x="-1779" y="47990"/>
                      <a:pt x="-1779" y="62663"/>
                      <a:pt x="7025" y="68533"/>
                    </a:cubicBezTo>
                    <a:cubicBezTo>
                      <a:pt x="15830" y="77337"/>
                      <a:pt x="27569" y="68533"/>
                      <a:pt x="36373" y="65598"/>
                    </a:cubicBezTo>
                    <a:cubicBezTo>
                      <a:pt x="48112" y="59729"/>
                      <a:pt x="59851" y="53859"/>
                      <a:pt x="71591" y="45055"/>
                    </a:cubicBezTo>
                    <a:cubicBezTo>
                      <a:pt x="80395" y="39185"/>
                      <a:pt x="89199" y="36250"/>
                      <a:pt x="92134" y="24511"/>
                    </a:cubicBezTo>
                    <a:cubicBezTo>
                      <a:pt x="95069" y="9837"/>
                      <a:pt x="86265" y="3968"/>
                      <a:pt x="80395" y="103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9" name="任意多边形: 形状 198">
                <a:extLst>
                  <a:ext uri="{FF2B5EF4-FFF2-40B4-BE49-F238E27FC236}">
                    <a16:creationId xmlns:a16="http://schemas.microsoft.com/office/drawing/2014/main" id="{A960B382-B750-4756-8B6A-9B7D7B56EB48}"/>
                  </a:ext>
                </a:extLst>
              </p:cNvPr>
              <p:cNvSpPr/>
              <p:nvPr/>
            </p:nvSpPr>
            <p:spPr>
              <a:xfrm>
                <a:off x="8039189" y="3082160"/>
                <a:ext cx="155612" cy="161413"/>
              </a:xfrm>
              <a:custGeom>
                <a:avLst/>
                <a:gdLst>
                  <a:gd name="connsiteX0" fmla="*/ 28614 w 155612"/>
                  <a:gd name="connsiteY0" fmla="*/ 161413 h 161413"/>
                  <a:gd name="connsiteX1" fmla="*/ 8071 w 155612"/>
                  <a:gd name="connsiteY1" fmla="*/ 149674 h 161413"/>
                  <a:gd name="connsiteX2" fmla="*/ 11006 w 155612"/>
                  <a:gd name="connsiteY2" fmla="*/ 99783 h 161413"/>
                  <a:gd name="connsiteX3" fmla="*/ 11006 w 155612"/>
                  <a:gd name="connsiteY3" fmla="*/ 99783 h 161413"/>
                  <a:gd name="connsiteX4" fmla="*/ 2201 w 155612"/>
                  <a:gd name="connsiteY4" fmla="*/ 88043 h 161413"/>
                  <a:gd name="connsiteX5" fmla="*/ 2201 w 155612"/>
                  <a:gd name="connsiteY5" fmla="*/ 67500 h 161413"/>
                  <a:gd name="connsiteX6" fmla="*/ 90245 w 155612"/>
                  <a:gd name="connsiteY6" fmla="*/ 0 h 161413"/>
                  <a:gd name="connsiteX7" fmla="*/ 99049 w 155612"/>
                  <a:gd name="connsiteY7" fmla="*/ 2935 h 161413"/>
                  <a:gd name="connsiteX8" fmla="*/ 96114 w 155612"/>
                  <a:gd name="connsiteY8" fmla="*/ 11739 h 161413"/>
                  <a:gd name="connsiteX9" fmla="*/ 13940 w 155612"/>
                  <a:gd name="connsiteY9" fmla="*/ 73370 h 161413"/>
                  <a:gd name="connsiteX10" fmla="*/ 13940 w 155612"/>
                  <a:gd name="connsiteY10" fmla="*/ 85109 h 161413"/>
                  <a:gd name="connsiteX11" fmla="*/ 25680 w 155612"/>
                  <a:gd name="connsiteY11" fmla="*/ 96848 h 161413"/>
                  <a:gd name="connsiteX12" fmla="*/ 128397 w 155612"/>
                  <a:gd name="connsiteY12" fmla="*/ 46956 h 161413"/>
                  <a:gd name="connsiteX13" fmla="*/ 143071 w 155612"/>
                  <a:gd name="connsiteY13" fmla="*/ 44022 h 161413"/>
                  <a:gd name="connsiteX14" fmla="*/ 154810 w 155612"/>
                  <a:gd name="connsiteY14" fmla="*/ 61630 h 161413"/>
                  <a:gd name="connsiteX15" fmla="*/ 78506 w 155612"/>
                  <a:gd name="connsiteY15" fmla="*/ 143804 h 161413"/>
                  <a:gd name="connsiteX16" fmla="*/ 28614 w 155612"/>
                  <a:gd name="connsiteY16" fmla="*/ 161413 h 161413"/>
                  <a:gd name="connsiteX17" fmla="*/ 19810 w 155612"/>
                  <a:gd name="connsiteY17" fmla="*/ 105652 h 161413"/>
                  <a:gd name="connsiteX18" fmla="*/ 16875 w 155612"/>
                  <a:gd name="connsiteY18" fmla="*/ 143804 h 161413"/>
                  <a:gd name="connsiteX19" fmla="*/ 72636 w 155612"/>
                  <a:gd name="connsiteY19" fmla="*/ 132065 h 161413"/>
                  <a:gd name="connsiteX20" fmla="*/ 143071 w 155612"/>
                  <a:gd name="connsiteY20" fmla="*/ 61630 h 161413"/>
                  <a:gd name="connsiteX21" fmla="*/ 137201 w 155612"/>
                  <a:gd name="connsiteY21" fmla="*/ 49891 h 161413"/>
                  <a:gd name="connsiteX22" fmla="*/ 134266 w 155612"/>
                  <a:gd name="connsiteY22" fmla="*/ 49891 h 161413"/>
                  <a:gd name="connsiteX23" fmla="*/ 19810 w 155612"/>
                  <a:gd name="connsiteY23" fmla="*/ 105652 h 161413"/>
                  <a:gd name="connsiteX24" fmla="*/ 19810 w 155612"/>
                  <a:gd name="connsiteY24" fmla="*/ 105652 h 161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55612" h="161413">
                    <a:moveTo>
                      <a:pt x="28614" y="161413"/>
                    </a:moveTo>
                    <a:cubicBezTo>
                      <a:pt x="19810" y="161413"/>
                      <a:pt x="13940" y="158478"/>
                      <a:pt x="8071" y="149674"/>
                    </a:cubicBezTo>
                    <a:cubicBezTo>
                      <a:pt x="-734" y="132065"/>
                      <a:pt x="11006" y="99783"/>
                      <a:pt x="11006" y="99783"/>
                    </a:cubicBezTo>
                    <a:cubicBezTo>
                      <a:pt x="11006" y="99783"/>
                      <a:pt x="11006" y="99783"/>
                      <a:pt x="11006" y="99783"/>
                    </a:cubicBezTo>
                    <a:cubicBezTo>
                      <a:pt x="8071" y="96848"/>
                      <a:pt x="5136" y="90978"/>
                      <a:pt x="2201" y="88043"/>
                    </a:cubicBezTo>
                    <a:cubicBezTo>
                      <a:pt x="-734" y="82174"/>
                      <a:pt x="-734" y="73370"/>
                      <a:pt x="2201" y="67500"/>
                    </a:cubicBezTo>
                    <a:cubicBezTo>
                      <a:pt x="13940" y="35217"/>
                      <a:pt x="87310" y="2935"/>
                      <a:pt x="90245" y="0"/>
                    </a:cubicBezTo>
                    <a:cubicBezTo>
                      <a:pt x="93180" y="0"/>
                      <a:pt x="96114" y="0"/>
                      <a:pt x="99049" y="2935"/>
                    </a:cubicBezTo>
                    <a:cubicBezTo>
                      <a:pt x="99049" y="5869"/>
                      <a:pt x="99049" y="8804"/>
                      <a:pt x="96114" y="11739"/>
                    </a:cubicBezTo>
                    <a:cubicBezTo>
                      <a:pt x="75571" y="20543"/>
                      <a:pt x="22745" y="49891"/>
                      <a:pt x="13940" y="73370"/>
                    </a:cubicBezTo>
                    <a:cubicBezTo>
                      <a:pt x="13940" y="76304"/>
                      <a:pt x="13940" y="82174"/>
                      <a:pt x="13940" y="85109"/>
                    </a:cubicBezTo>
                    <a:cubicBezTo>
                      <a:pt x="16875" y="90978"/>
                      <a:pt x="19810" y="93913"/>
                      <a:pt x="25680" y="96848"/>
                    </a:cubicBezTo>
                    <a:cubicBezTo>
                      <a:pt x="43288" y="99783"/>
                      <a:pt x="75571" y="82174"/>
                      <a:pt x="128397" y="46956"/>
                    </a:cubicBezTo>
                    <a:cubicBezTo>
                      <a:pt x="128397" y="46956"/>
                      <a:pt x="134266" y="41087"/>
                      <a:pt x="143071" y="44022"/>
                    </a:cubicBezTo>
                    <a:cubicBezTo>
                      <a:pt x="148940" y="46956"/>
                      <a:pt x="154810" y="52826"/>
                      <a:pt x="154810" y="61630"/>
                    </a:cubicBezTo>
                    <a:cubicBezTo>
                      <a:pt x="160679" y="88043"/>
                      <a:pt x="134266" y="114456"/>
                      <a:pt x="78506" y="143804"/>
                    </a:cubicBezTo>
                    <a:cubicBezTo>
                      <a:pt x="60897" y="152609"/>
                      <a:pt x="43288" y="161413"/>
                      <a:pt x="28614" y="161413"/>
                    </a:cubicBezTo>
                    <a:close/>
                    <a:moveTo>
                      <a:pt x="19810" y="105652"/>
                    </a:moveTo>
                    <a:cubicBezTo>
                      <a:pt x="16875" y="114456"/>
                      <a:pt x="11006" y="135000"/>
                      <a:pt x="16875" y="143804"/>
                    </a:cubicBezTo>
                    <a:cubicBezTo>
                      <a:pt x="22745" y="155543"/>
                      <a:pt x="34484" y="152609"/>
                      <a:pt x="72636" y="132065"/>
                    </a:cubicBezTo>
                    <a:cubicBezTo>
                      <a:pt x="122527" y="105652"/>
                      <a:pt x="146005" y="82174"/>
                      <a:pt x="143071" y="61630"/>
                    </a:cubicBezTo>
                    <a:cubicBezTo>
                      <a:pt x="140136" y="52826"/>
                      <a:pt x="137201" y="49891"/>
                      <a:pt x="137201" y="49891"/>
                    </a:cubicBezTo>
                    <a:cubicBezTo>
                      <a:pt x="134266" y="49891"/>
                      <a:pt x="134266" y="49891"/>
                      <a:pt x="134266" y="49891"/>
                    </a:cubicBezTo>
                    <a:cubicBezTo>
                      <a:pt x="60897" y="105652"/>
                      <a:pt x="34484" y="108587"/>
                      <a:pt x="19810" y="105652"/>
                    </a:cubicBezTo>
                    <a:cubicBezTo>
                      <a:pt x="22745" y="105652"/>
                      <a:pt x="22745" y="105652"/>
                      <a:pt x="19810" y="105652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0" name="任意多边形: 形状 199">
                <a:extLst>
                  <a:ext uri="{FF2B5EF4-FFF2-40B4-BE49-F238E27FC236}">
                    <a16:creationId xmlns:a16="http://schemas.microsoft.com/office/drawing/2014/main" id="{A79C1C7C-E7B5-425B-B7C9-DD076FEAB883}"/>
                  </a:ext>
                </a:extLst>
              </p:cNvPr>
              <p:cNvSpPr/>
              <p:nvPr/>
            </p:nvSpPr>
            <p:spPr>
              <a:xfrm>
                <a:off x="8064628" y="3170204"/>
                <a:ext cx="140102" cy="108586"/>
              </a:xfrm>
              <a:custGeom>
                <a:avLst/>
                <a:gdLst>
                  <a:gd name="connsiteX0" fmla="*/ 29587 w 140102"/>
                  <a:gd name="connsiteY0" fmla="*/ 108587 h 108586"/>
                  <a:gd name="connsiteX1" fmla="*/ 11979 w 140102"/>
                  <a:gd name="connsiteY1" fmla="*/ 102717 h 108586"/>
                  <a:gd name="connsiteX2" fmla="*/ 240 w 140102"/>
                  <a:gd name="connsiteY2" fmla="*/ 67500 h 108586"/>
                  <a:gd name="connsiteX3" fmla="*/ 6109 w 140102"/>
                  <a:gd name="connsiteY3" fmla="*/ 61630 h 108586"/>
                  <a:gd name="connsiteX4" fmla="*/ 6109 w 140102"/>
                  <a:gd name="connsiteY4" fmla="*/ 61630 h 108586"/>
                  <a:gd name="connsiteX5" fmla="*/ 11979 w 140102"/>
                  <a:gd name="connsiteY5" fmla="*/ 67500 h 108586"/>
                  <a:gd name="connsiteX6" fmla="*/ 20783 w 140102"/>
                  <a:gd name="connsiteY6" fmla="*/ 90978 h 108586"/>
                  <a:gd name="connsiteX7" fmla="*/ 41326 w 140102"/>
                  <a:gd name="connsiteY7" fmla="*/ 90978 h 108586"/>
                  <a:gd name="connsiteX8" fmla="*/ 129370 w 140102"/>
                  <a:gd name="connsiteY8" fmla="*/ 38152 h 108586"/>
                  <a:gd name="connsiteX9" fmla="*/ 129370 w 140102"/>
                  <a:gd name="connsiteY9" fmla="*/ 26413 h 108586"/>
                  <a:gd name="connsiteX10" fmla="*/ 117631 w 140102"/>
                  <a:gd name="connsiteY10" fmla="*/ 11739 h 108586"/>
                  <a:gd name="connsiteX11" fmla="*/ 111761 w 140102"/>
                  <a:gd name="connsiteY11" fmla="*/ 5869 h 108586"/>
                  <a:gd name="connsiteX12" fmla="*/ 117631 w 140102"/>
                  <a:gd name="connsiteY12" fmla="*/ 0 h 108586"/>
                  <a:gd name="connsiteX13" fmla="*/ 138174 w 140102"/>
                  <a:gd name="connsiteY13" fmla="*/ 20543 h 108586"/>
                  <a:gd name="connsiteX14" fmla="*/ 135239 w 140102"/>
                  <a:gd name="connsiteY14" fmla="*/ 44022 h 108586"/>
                  <a:gd name="connsiteX15" fmla="*/ 44261 w 140102"/>
                  <a:gd name="connsiteY15" fmla="*/ 99783 h 108586"/>
                  <a:gd name="connsiteX16" fmla="*/ 29587 w 140102"/>
                  <a:gd name="connsiteY16" fmla="*/ 108587 h 108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0102" h="108586">
                    <a:moveTo>
                      <a:pt x="29587" y="108587"/>
                    </a:moveTo>
                    <a:cubicBezTo>
                      <a:pt x="23718" y="108587"/>
                      <a:pt x="17848" y="105652"/>
                      <a:pt x="11979" y="102717"/>
                    </a:cubicBezTo>
                    <a:cubicBezTo>
                      <a:pt x="-2695" y="90978"/>
                      <a:pt x="240" y="70435"/>
                      <a:pt x="240" y="67500"/>
                    </a:cubicBezTo>
                    <a:cubicBezTo>
                      <a:pt x="240" y="64565"/>
                      <a:pt x="3174" y="61630"/>
                      <a:pt x="6109" y="61630"/>
                    </a:cubicBezTo>
                    <a:cubicBezTo>
                      <a:pt x="6109" y="61630"/>
                      <a:pt x="6109" y="61630"/>
                      <a:pt x="6109" y="61630"/>
                    </a:cubicBezTo>
                    <a:cubicBezTo>
                      <a:pt x="9044" y="61630"/>
                      <a:pt x="11979" y="64565"/>
                      <a:pt x="11979" y="67500"/>
                    </a:cubicBezTo>
                    <a:cubicBezTo>
                      <a:pt x="11979" y="73370"/>
                      <a:pt x="11979" y="85109"/>
                      <a:pt x="20783" y="90978"/>
                    </a:cubicBezTo>
                    <a:cubicBezTo>
                      <a:pt x="26652" y="93913"/>
                      <a:pt x="32522" y="93913"/>
                      <a:pt x="41326" y="90978"/>
                    </a:cubicBezTo>
                    <a:cubicBezTo>
                      <a:pt x="79479" y="79239"/>
                      <a:pt x="117631" y="49891"/>
                      <a:pt x="129370" y="38152"/>
                    </a:cubicBezTo>
                    <a:cubicBezTo>
                      <a:pt x="132305" y="35217"/>
                      <a:pt x="132305" y="29348"/>
                      <a:pt x="129370" y="26413"/>
                    </a:cubicBezTo>
                    <a:cubicBezTo>
                      <a:pt x="126435" y="17609"/>
                      <a:pt x="120565" y="11739"/>
                      <a:pt x="117631" y="11739"/>
                    </a:cubicBezTo>
                    <a:cubicBezTo>
                      <a:pt x="114696" y="11739"/>
                      <a:pt x="111761" y="8804"/>
                      <a:pt x="111761" y="5869"/>
                    </a:cubicBezTo>
                    <a:cubicBezTo>
                      <a:pt x="111761" y="2935"/>
                      <a:pt x="114696" y="0"/>
                      <a:pt x="117631" y="0"/>
                    </a:cubicBezTo>
                    <a:cubicBezTo>
                      <a:pt x="126435" y="0"/>
                      <a:pt x="135239" y="11739"/>
                      <a:pt x="138174" y="20543"/>
                    </a:cubicBezTo>
                    <a:cubicBezTo>
                      <a:pt x="141109" y="29348"/>
                      <a:pt x="141109" y="38152"/>
                      <a:pt x="135239" y="44022"/>
                    </a:cubicBezTo>
                    <a:cubicBezTo>
                      <a:pt x="123500" y="55761"/>
                      <a:pt x="85348" y="88043"/>
                      <a:pt x="44261" y="99783"/>
                    </a:cubicBezTo>
                    <a:cubicBezTo>
                      <a:pt x="38392" y="105652"/>
                      <a:pt x="32522" y="108587"/>
                      <a:pt x="29587" y="108587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01" name="图形 1">
              <a:extLst>
                <a:ext uri="{FF2B5EF4-FFF2-40B4-BE49-F238E27FC236}">
                  <a16:creationId xmlns:a16="http://schemas.microsoft.com/office/drawing/2014/main" id="{022DE2CF-4F1C-4C5B-B1AE-3B97CDD4339E}"/>
                </a:ext>
              </a:extLst>
            </p:cNvPr>
            <p:cNvGrpSpPr/>
            <p:nvPr/>
          </p:nvGrpSpPr>
          <p:grpSpPr>
            <a:xfrm>
              <a:off x="7968020" y="3157732"/>
              <a:ext cx="160405" cy="136185"/>
              <a:chOff x="7968020" y="3157732"/>
              <a:chExt cx="160405" cy="136185"/>
            </a:xfrm>
          </p:grpSpPr>
          <p:sp>
            <p:nvSpPr>
              <p:cNvPr id="202" name="任意多边形: 形状 201">
                <a:extLst>
                  <a:ext uri="{FF2B5EF4-FFF2-40B4-BE49-F238E27FC236}">
                    <a16:creationId xmlns:a16="http://schemas.microsoft.com/office/drawing/2014/main" id="{45E1F9E4-B6CB-4093-BBDA-B8EA8C0B59AC}"/>
                  </a:ext>
                </a:extLst>
              </p:cNvPr>
              <p:cNvSpPr/>
              <p:nvPr/>
            </p:nvSpPr>
            <p:spPr>
              <a:xfrm>
                <a:off x="7972725" y="3161250"/>
                <a:ext cx="148885" cy="132666"/>
              </a:xfrm>
              <a:custGeom>
                <a:avLst/>
                <a:gdLst>
                  <a:gd name="connsiteX0" fmla="*/ 86273 w 148885"/>
                  <a:gd name="connsiteY0" fmla="*/ 149 h 132666"/>
                  <a:gd name="connsiteX1" fmla="*/ 1164 w 148885"/>
                  <a:gd name="connsiteY1" fmla="*/ 64714 h 132666"/>
                  <a:gd name="connsiteX2" fmla="*/ 36382 w 148885"/>
                  <a:gd name="connsiteY2" fmla="*/ 132214 h 132666"/>
                  <a:gd name="connsiteX3" fmla="*/ 59860 w 148885"/>
                  <a:gd name="connsiteY3" fmla="*/ 76453 h 132666"/>
                  <a:gd name="connsiteX4" fmla="*/ 118556 w 148885"/>
                  <a:gd name="connsiteY4" fmla="*/ 50040 h 132666"/>
                  <a:gd name="connsiteX5" fmla="*/ 147903 w 148885"/>
                  <a:gd name="connsiteY5" fmla="*/ 50040 h 132666"/>
                  <a:gd name="connsiteX6" fmla="*/ 86273 w 148885"/>
                  <a:gd name="connsiteY6" fmla="*/ 149 h 132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885" h="132666">
                    <a:moveTo>
                      <a:pt x="86273" y="149"/>
                    </a:moveTo>
                    <a:cubicBezTo>
                      <a:pt x="51055" y="-2786"/>
                      <a:pt x="12904" y="38301"/>
                      <a:pt x="1164" y="64714"/>
                    </a:cubicBezTo>
                    <a:cubicBezTo>
                      <a:pt x="-7640" y="85258"/>
                      <a:pt x="36382" y="138084"/>
                      <a:pt x="36382" y="132214"/>
                    </a:cubicBezTo>
                    <a:cubicBezTo>
                      <a:pt x="42251" y="120475"/>
                      <a:pt x="51055" y="88192"/>
                      <a:pt x="59860" y="76453"/>
                    </a:cubicBezTo>
                    <a:cubicBezTo>
                      <a:pt x="74534" y="55910"/>
                      <a:pt x="92143" y="52975"/>
                      <a:pt x="118556" y="50040"/>
                    </a:cubicBezTo>
                    <a:cubicBezTo>
                      <a:pt x="127360" y="50040"/>
                      <a:pt x="144969" y="58845"/>
                      <a:pt x="147903" y="50040"/>
                    </a:cubicBezTo>
                    <a:cubicBezTo>
                      <a:pt x="156708" y="29497"/>
                      <a:pt x="103882" y="3084"/>
                      <a:pt x="86273" y="14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3" name="任意多边形: 形状 202">
                <a:extLst>
                  <a:ext uri="{FF2B5EF4-FFF2-40B4-BE49-F238E27FC236}">
                    <a16:creationId xmlns:a16="http://schemas.microsoft.com/office/drawing/2014/main" id="{361E034C-3712-40F2-B775-8AA1FFD25E64}"/>
                  </a:ext>
                </a:extLst>
              </p:cNvPr>
              <p:cNvSpPr/>
              <p:nvPr/>
            </p:nvSpPr>
            <p:spPr>
              <a:xfrm>
                <a:off x="7968020" y="3157732"/>
                <a:ext cx="160405" cy="135732"/>
              </a:xfrm>
              <a:custGeom>
                <a:avLst/>
                <a:gdLst>
                  <a:gd name="connsiteX0" fmla="*/ 73370 w 160405"/>
                  <a:gd name="connsiteY0" fmla="*/ 135733 h 135732"/>
                  <a:gd name="connsiteX1" fmla="*/ 73370 w 160405"/>
                  <a:gd name="connsiteY1" fmla="*/ 135733 h 135732"/>
                  <a:gd name="connsiteX2" fmla="*/ 67500 w 160405"/>
                  <a:gd name="connsiteY2" fmla="*/ 126929 h 135732"/>
                  <a:gd name="connsiteX3" fmla="*/ 61631 w 160405"/>
                  <a:gd name="connsiteY3" fmla="*/ 82907 h 135732"/>
                  <a:gd name="connsiteX4" fmla="*/ 61631 w 160405"/>
                  <a:gd name="connsiteY4" fmla="*/ 77037 h 135732"/>
                  <a:gd name="connsiteX5" fmla="*/ 129130 w 160405"/>
                  <a:gd name="connsiteY5" fmla="*/ 53559 h 135732"/>
                  <a:gd name="connsiteX6" fmla="*/ 149674 w 160405"/>
                  <a:gd name="connsiteY6" fmla="*/ 50624 h 135732"/>
                  <a:gd name="connsiteX7" fmla="*/ 149674 w 160405"/>
                  <a:gd name="connsiteY7" fmla="*/ 44755 h 135732"/>
                  <a:gd name="connsiteX8" fmla="*/ 90978 w 160405"/>
                  <a:gd name="connsiteY8" fmla="*/ 9537 h 135732"/>
                  <a:gd name="connsiteX9" fmla="*/ 11739 w 160405"/>
                  <a:gd name="connsiteY9" fmla="*/ 74102 h 135732"/>
                  <a:gd name="connsiteX10" fmla="*/ 2935 w 160405"/>
                  <a:gd name="connsiteY10" fmla="*/ 77037 h 135732"/>
                  <a:gd name="connsiteX11" fmla="*/ 0 w 160405"/>
                  <a:gd name="connsiteY11" fmla="*/ 68233 h 135732"/>
                  <a:gd name="connsiteX12" fmla="*/ 90978 w 160405"/>
                  <a:gd name="connsiteY12" fmla="*/ 733 h 135732"/>
                  <a:gd name="connsiteX13" fmla="*/ 158478 w 160405"/>
                  <a:gd name="connsiteY13" fmla="*/ 44755 h 135732"/>
                  <a:gd name="connsiteX14" fmla="*/ 155544 w 160405"/>
                  <a:gd name="connsiteY14" fmla="*/ 62363 h 135732"/>
                  <a:gd name="connsiteX15" fmla="*/ 126196 w 160405"/>
                  <a:gd name="connsiteY15" fmla="*/ 68233 h 135732"/>
                  <a:gd name="connsiteX16" fmla="*/ 70435 w 160405"/>
                  <a:gd name="connsiteY16" fmla="*/ 85842 h 135732"/>
                  <a:gd name="connsiteX17" fmla="*/ 76305 w 160405"/>
                  <a:gd name="connsiteY17" fmla="*/ 135733 h 135732"/>
                  <a:gd name="connsiteX18" fmla="*/ 73370 w 160405"/>
                  <a:gd name="connsiteY18" fmla="*/ 135733 h 135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0405" h="135732">
                    <a:moveTo>
                      <a:pt x="73370" y="135733"/>
                    </a:moveTo>
                    <a:cubicBezTo>
                      <a:pt x="73370" y="135733"/>
                      <a:pt x="73370" y="135733"/>
                      <a:pt x="73370" y="135733"/>
                    </a:cubicBezTo>
                    <a:cubicBezTo>
                      <a:pt x="67500" y="132798"/>
                      <a:pt x="67500" y="129863"/>
                      <a:pt x="67500" y="126929"/>
                    </a:cubicBezTo>
                    <a:cubicBezTo>
                      <a:pt x="73370" y="112255"/>
                      <a:pt x="64565" y="91711"/>
                      <a:pt x="61631" y="82907"/>
                    </a:cubicBezTo>
                    <a:cubicBezTo>
                      <a:pt x="61631" y="79972"/>
                      <a:pt x="61631" y="79972"/>
                      <a:pt x="61631" y="77037"/>
                    </a:cubicBezTo>
                    <a:cubicBezTo>
                      <a:pt x="82174" y="50624"/>
                      <a:pt x="108587" y="50624"/>
                      <a:pt x="129130" y="53559"/>
                    </a:cubicBezTo>
                    <a:cubicBezTo>
                      <a:pt x="137935" y="53559"/>
                      <a:pt x="146739" y="53559"/>
                      <a:pt x="149674" y="50624"/>
                    </a:cubicBezTo>
                    <a:cubicBezTo>
                      <a:pt x="149674" y="50624"/>
                      <a:pt x="152609" y="47689"/>
                      <a:pt x="149674" y="44755"/>
                    </a:cubicBezTo>
                    <a:cubicBezTo>
                      <a:pt x="143804" y="30081"/>
                      <a:pt x="120326" y="15407"/>
                      <a:pt x="90978" y="9537"/>
                    </a:cubicBezTo>
                    <a:cubicBezTo>
                      <a:pt x="52826" y="3668"/>
                      <a:pt x="11739" y="71168"/>
                      <a:pt x="11739" y="74102"/>
                    </a:cubicBezTo>
                    <a:cubicBezTo>
                      <a:pt x="8804" y="77037"/>
                      <a:pt x="5869" y="77037"/>
                      <a:pt x="2935" y="77037"/>
                    </a:cubicBezTo>
                    <a:cubicBezTo>
                      <a:pt x="0" y="74102"/>
                      <a:pt x="0" y="71168"/>
                      <a:pt x="0" y="68233"/>
                    </a:cubicBezTo>
                    <a:cubicBezTo>
                      <a:pt x="2935" y="65298"/>
                      <a:pt x="44022" y="-8071"/>
                      <a:pt x="90978" y="733"/>
                    </a:cubicBezTo>
                    <a:cubicBezTo>
                      <a:pt x="126196" y="6602"/>
                      <a:pt x="152609" y="27146"/>
                      <a:pt x="158478" y="44755"/>
                    </a:cubicBezTo>
                    <a:cubicBezTo>
                      <a:pt x="161413" y="50624"/>
                      <a:pt x="161413" y="56494"/>
                      <a:pt x="155544" y="62363"/>
                    </a:cubicBezTo>
                    <a:cubicBezTo>
                      <a:pt x="149674" y="68233"/>
                      <a:pt x="137935" y="68233"/>
                      <a:pt x="126196" y="68233"/>
                    </a:cubicBezTo>
                    <a:cubicBezTo>
                      <a:pt x="108587" y="68233"/>
                      <a:pt x="88043" y="65298"/>
                      <a:pt x="70435" y="85842"/>
                    </a:cubicBezTo>
                    <a:cubicBezTo>
                      <a:pt x="73370" y="94646"/>
                      <a:pt x="85109" y="118124"/>
                      <a:pt x="76305" y="135733"/>
                    </a:cubicBezTo>
                    <a:cubicBezTo>
                      <a:pt x="79239" y="132798"/>
                      <a:pt x="76305" y="135733"/>
                      <a:pt x="73370" y="135733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04" name="图形 1">
              <a:extLst>
                <a:ext uri="{FF2B5EF4-FFF2-40B4-BE49-F238E27FC236}">
                  <a16:creationId xmlns:a16="http://schemas.microsoft.com/office/drawing/2014/main" id="{022DE2CF-4F1C-4C5B-B1AE-3B97CDD4339E}"/>
                </a:ext>
              </a:extLst>
            </p:cNvPr>
            <p:cNvGrpSpPr/>
            <p:nvPr/>
          </p:nvGrpSpPr>
          <p:grpSpPr>
            <a:xfrm>
              <a:off x="6223292" y="1990286"/>
              <a:ext cx="737562" cy="313364"/>
              <a:chOff x="6223292" y="1990286"/>
              <a:chExt cx="737562" cy="313364"/>
            </a:xfrm>
          </p:grpSpPr>
          <p:grpSp>
            <p:nvGrpSpPr>
              <p:cNvPr id="205" name="图形 1">
                <a:extLst>
                  <a:ext uri="{FF2B5EF4-FFF2-40B4-BE49-F238E27FC236}">
                    <a16:creationId xmlns:a16="http://schemas.microsoft.com/office/drawing/2014/main" id="{022DE2CF-4F1C-4C5B-B1AE-3B97CDD4339E}"/>
                  </a:ext>
                </a:extLst>
              </p:cNvPr>
              <p:cNvGrpSpPr/>
              <p:nvPr/>
            </p:nvGrpSpPr>
            <p:grpSpPr>
              <a:xfrm>
                <a:off x="6223292" y="1990286"/>
                <a:ext cx="714622" cy="302153"/>
                <a:chOff x="6223292" y="1990286"/>
                <a:chExt cx="714622" cy="302153"/>
              </a:xfrm>
            </p:grpSpPr>
            <p:sp>
              <p:nvSpPr>
                <p:cNvPr id="206" name="任意多边形: 形状 205">
                  <a:extLst>
                    <a:ext uri="{FF2B5EF4-FFF2-40B4-BE49-F238E27FC236}">
                      <a16:creationId xmlns:a16="http://schemas.microsoft.com/office/drawing/2014/main" id="{123FAA93-F311-426D-AA3D-10A448AD1E79}"/>
                    </a:ext>
                  </a:extLst>
                </p:cNvPr>
                <p:cNvSpPr/>
                <p:nvPr/>
              </p:nvSpPr>
              <p:spPr>
                <a:xfrm>
                  <a:off x="6365629" y="1990286"/>
                  <a:ext cx="572285" cy="302153"/>
                </a:xfrm>
                <a:custGeom>
                  <a:avLst/>
                  <a:gdLst>
                    <a:gd name="connsiteX0" fmla="*/ 407935 w 572285"/>
                    <a:gd name="connsiteY0" fmla="*/ 17744 h 302153"/>
                    <a:gd name="connsiteX1" fmla="*/ 2935 w 572285"/>
                    <a:gd name="connsiteY1" fmla="*/ 129266 h 302153"/>
                    <a:gd name="connsiteX2" fmla="*/ 0 w 572285"/>
                    <a:gd name="connsiteY2" fmla="*/ 138070 h 302153"/>
                    <a:gd name="connsiteX3" fmla="*/ 70435 w 572285"/>
                    <a:gd name="connsiteY3" fmla="*/ 193831 h 302153"/>
                    <a:gd name="connsiteX4" fmla="*/ 49892 w 572285"/>
                    <a:gd name="connsiteY4" fmla="*/ 273070 h 302153"/>
                    <a:gd name="connsiteX5" fmla="*/ 49892 w 572285"/>
                    <a:gd name="connsiteY5" fmla="*/ 278940 h 302153"/>
                    <a:gd name="connsiteX6" fmla="*/ 55761 w 572285"/>
                    <a:gd name="connsiteY6" fmla="*/ 281875 h 302153"/>
                    <a:gd name="connsiteX7" fmla="*/ 366848 w 572285"/>
                    <a:gd name="connsiteY7" fmla="*/ 299483 h 302153"/>
                    <a:gd name="connsiteX8" fmla="*/ 566413 w 572285"/>
                    <a:gd name="connsiteY8" fmla="*/ 261331 h 302153"/>
                    <a:gd name="connsiteX9" fmla="*/ 572283 w 572285"/>
                    <a:gd name="connsiteY9" fmla="*/ 255461 h 302153"/>
                    <a:gd name="connsiteX10" fmla="*/ 407935 w 572285"/>
                    <a:gd name="connsiteY10" fmla="*/ 17744 h 302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72285" h="302153">
                      <a:moveTo>
                        <a:pt x="407935" y="17744"/>
                      </a:moveTo>
                      <a:cubicBezTo>
                        <a:pt x="258261" y="-26278"/>
                        <a:pt x="108587" y="11875"/>
                        <a:pt x="2935" y="129266"/>
                      </a:cubicBezTo>
                      <a:cubicBezTo>
                        <a:pt x="0" y="132201"/>
                        <a:pt x="0" y="135135"/>
                        <a:pt x="0" y="138070"/>
                      </a:cubicBezTo>
                      <a:cubicBezTo>
                        <a:pt x="0" y="141005"/>
                        <a:pt x="20544" y="185027"/>
                        <a:pt x="70435" y="193831"/>
                      </a:cubicBezTo>
                      <a:cubicBezTo>
                        <a:pt x="55761" y="231983"/>
                        <a:pt x="49892" y="270135"/>
                        <a:pt x="49892" y="273070"/>
                      </a:cubicBezTo>
                      <a:cubicBezTo>
                        <a:pt x="49892" y="276005"/>
                        <a:pt x="49892" y="276005"/>
                        <a:pt x="49892" y="278940"/>
                      </a:cubicBezTo>
                      <a:cubicBezTo>
                        <a:pt x="49892" y="281875"/>
                        <a:pt x="52826" y="281875"/>
                        <a:pt x="55761" y="281875"/>
                      </a:cubicBezTo>
                      <a:cubicBezTo>
                        <a:pt x="184891" y="302418"/>
                        <a:pt x="287609" y="305353"/>
                        <a:pt x="366848" y="299483"/>
                      </a:cubicBezTo>
                      <a:cubicBezTo>
                        <a:pt x="495979" y="290679"/>
                        <a:pt x="560544" y="261331"/>
                        <a:pt x="566413" y="261331"/>
                      </a:cubicBezTo>
                      <a:cubicBezTo>
                        <a:pt x="569348" y="261331"/>
                        <a:pt x="572283" y="258396"/>
                        <a:pt x="572283" y="255461"/>
                      </a:cubicBezTo>
                      <a:cubicBezTo>
                        <a:pt x="572283" y="252527"/>
                        <a:pt x="575218" y="67635"/>
                        <a:pt x="407935" y="17744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7" name="任意多边形: 形状 206">
                  <a:extLst>
                    <a:ext uri="{FF2B5EF4-FFF2-40B4-BE49-F238E27FC236}">
                      <a16:creationId xmlns:a16="http://schemas.microsoft.com/office/drawing/2014/main" id="{DC3C05C5-0BFD-473C-B118-1E98F356C7B4}"/>
                    </a:ext>
                  </a:extLst>
                </p:cNvPr>
                <p:cNvSpPr/>
                <p:nvPr/>
              </p:nvSpPr>
              <p:spPr>
                <a:xfrm>
                  <a:off x="6223292" y="2022135"/>
                  <a:ext cx="199198" cy="189546"/>
                </a:xfrm>
                <a:custGeom>
                  <a:avLst/>
                  <a:gdLst>
                    <a:gd name="connsiteX0" fmla="*/ 198098 w 199198"/>
                    <a:gd name="connsiteY0" fmla="*/ 91547 h 189546"/>
                    <a:gd name="connsiteX1" fmla="*/ 189294 w 199198"/>
                    <a:gd name="connsiteY1" fmla="*/ 62199 h 189546"/>
                    <a:gd name="connsiteX2" fmla="*/ 177555 w 199198"/>
                    <a:gd name="connsiteY2" fmla="*/ 53395 h 189546"/>
                    <a:gd name="connsiteX3" fmla="*/ 165815 w 199198"/>
                    <a:gd name="connsiteY3" fmla="*/ 26982 h 189546"/>
                    <a:gd name="connsiteX4" fmla="*/ 145272 w 199198"/>
                    <a:gd name="connsiteY4" fmla="*/ 18177 h 189546"/>
                    <a:gd name="connsiteX5" fmla="*/ 130598 w 199198"/>
                    <a:gd name="connsiteY5" fmla="*/ 18177 h 189546"/>
                    <a:gd name="connsiteX6" fmla="*/ 89511 w 199198"/>
                    <a:gd name="connsiteY6" fmla="*/ 569 h 189546"/>
                    <a:gd name="connsiteX7" fmla="*/ 51359 w 199198"/>
                    <a:gd name="connsiteY7" fmla="*/ 29917 h 189546"/>
                    <a:gd name="connsiteX8" fmla="*/ 13207 w 199198"/>
                    <a:gd name="connsiteY8" fmla="*/ 68069 h 189546"/>
                    <a:gd name="connsiteX9" fmla="*/ 13207 w 199198"/>
                    <a:gd name="connsiteY9" fmla="*/ 117960 h 189546"/>
                    <a:gd name="connsiteX10" fmla="*/ 22011 w 199198"/>
                    <a:gd name="connsiteY10" fmla="*/ 156112 h 189546"/>
                    <a:gd name="connsiteX11" fmla="*/ 48424 w 199198"/>
                    <a:gd name="connsiteY11" fmla="*/ 167851 h 189546"/>
                    <a:gd name="connsiteX12" fmla="*/ 54293 w 199198"/>
                    <a:gd name="connsiteY12" fmla="*/ 167851 h 189546"/>
                    <a:gd name="connsiteX13" fmla="*/ 54293 w 199198"/>
                    <a:gd name="connsiteY13" fmla="*/ 167851 h 189546"/>
                    <a:gd name="connsiteX14" fmla="*/ 80707 w 199198"/>
                    <a:gd name="connsiteY14" fmla="*/ 188395 h 189546"/>
                    <a:gd name="connsiteX15" fmla="*/ 112989 w 199198"/>
                    <a:gd name="connsiteY15" fmla="*/ 182525 h 189546"/>
                    <a:gd name="connsiteX16" fmla="*/ 136467 w 199198"/>
                    <a:gd name="connsiteY16" fmla="*/ 182525 h 189546"/>
                    <a:gd name="connsiteX17" fmla="*/ 162881 w 199198"/>
                    <a:gd name="connsiteY17" fmla="*/ 164917 h 189546"/>
                    <a:gd name="connsiteX18" fmla="*/ 168750 w 199198"/>
                    <a:gd name="connsiteY18" fmla="*/ 153178 h 189546"/>
                    <a:gd name="connsiteX19" fmla="*/ 186359 w 199198"/>
                    <a:gd name="connsiteY19" fmla="*/ 138504 h 189546"/>
                    <a:gd name="connsiteX20" fmla="*/ 186359 w 199198"/>
                    <a:gd name="connsiteY20" fmla="*/ 112091 h 189546"/>
                    <a:gd name="connsiteX21" fmla="*/ 189294 w 199198"/>
                    <a:gd name="connsiteY21" fmla="*/ 109156 h 189546"/>
                    <a:gd name="connsiteX22" fmla="*/ 198098 w 199198"/>
                    <a:gd name="connsiteY22" fmla="*/ 91547 h 1895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99198" h="189546">
                      <a:moveTo>
                        <a:pt x="198098" y="91547"/>
                      </a:moveTo>
                      <a:cubicBezTo>
                        <a:pt x="201033" y="82743"/>
                        <a:pt x="198098" y="71004"/>
                        <a:pt x="189294" y="62199"/>
                      </a:cubicBezTo>
                      <a:cubicBezTo>
                        <a:pt x="186359" y="59264"/>
                        <a:pt x="180489" y="56330"/>
                        <a:pt x="177555" y="53395"/>
                      </a:cubicBezTo>
                      <a:cubicBezTo>
                        <a:pt x="177555" y="44591"/>
                        <a:pt x="174620" y="35786"/>
                        <a:pt x="165815" y="26982"/>
                      </a:cubicBezTo>
                      <a:cubicBezTo>
                        <a:pt x="159946" y="21112"/>
                        <a:pt x="154076" y="18177"/>
                        <a:pt x="145272" y="18177"/>
                      </a:cubicBezTo>
                      <a:cubicBezTo>
                        <a:pt x="142337" y="18177"/>
                        <a:pt x="136467" y="18177"/>
                        <a:pt x="130598" y="18177"/>
                      </a:cubicBezTo>
                      <a:cubicBezTo>
                        <a:pt x="121794" y="6438"/>
                        <a:pt x="107120" y="-2366"/>
                        <a:pt x="89511" y="569"/>
                      </a:cubicBezTo>
                      <a:cubicBezTo>
                        <a:pt x="71902" y="3504"/>
                        <a:pt x="57228" y="15243"/>
                        <a:pt x="51359" y="29917"/>
                      </a:cubicBezTo>
                      <a:cubicBezTo>
                        <a:pt x="27881" y="29917"/>
                        <a:pt x="10272" y="47525"/>
                        <a:pt x="13207" y="68069"/>
                      </a:cubicBezTo>
                      <a:cubicBezTo>
                        <a:pt x="-4402" y="79808"/>
                        <a:pt x="-4402" y="106221"/>
                        <a:pt x="13207" y="117960"/>
                      </a:cubicBezTo>
                      <a:cubicBezTo>
                        <a:pt x="10272" y="132634"/>
                        <a:pt x="13207" y="144373"/>
                        <a:pt x="22011" y="156112"/>
                      </a:cubicBezTo>
                      <a:cubicBezTo>
                        <a:pt x="27881" y="164917"/>
                        <a:pt x="36685" y="167851"/>
                        <a:pt x="48424" y="167851"/>
                      </a:cubicBezTo>
                      <a:cubicBezTo>
                        <a:pt x="51359" y="167851"/>
                        <a:pt x="51359" y="167851"/>
                        <a:pt x="54293" y="167851"/>
                      </a:cubicBezTo>
                      <a:cubicBezTo>
                        <a:pt x="54293" y="167851"/>
                        <a:pt x="54293" y="167851"/>
                        <a:pt x="54293" y="167851"/>
                      </a:cubicBezTo>
                      <a:cubicBezTo>
                        <a:pt x="60163" y="179591"/>
                        <a:pt x="68967" y="185460"/>
                        <a:pt x="80707" y="188395"/>
                      </a:cubicBezTo>
                      <a:cubicBezTo>
                        <a:pt x="92446" y="191330"/>
                        <a:pt x="104185" y="188395"/>
                        <a:pt x="112989" y="182525"/>
                      </a:cubicBezTo>
                      <a:cubicBezTo>
                        <a:pt x="118859" y="185460"/>
                        <a:pt x="127663" y="185460"/>
                        <a:pt x="136467" y="182525"/>
                      </a:cubicBezTo>
                      <a:cubicBezTo>
                        <a:pt x="148207" y="179591"/>
                        <a:pt x="157011" y="173721"/>
                        <a:pt x="162881" y="164917"/>
                      </a:cubicBezTo>
                      <a:cubicBezTo>
                        <a:pt x="165815" y="161982"/>
                        <a:pt x="168750" y="156112"/>
                        <a:pt x="168750" y="153178"/>
                      </a:cubicBezTo>
                      <a:cubicBezTo>
                        <a:pt x="174620" y="150243"/>
                        <a:pt x="180489" y="147308"/>
                        <a:pt x="186359" y="138504"/>
                      </a:cubicBezTo>
                      <a:cubicBezTo>
                        <a:pt x="192229" y="126764"/>
                        <a:pt x="189294" y="120895"/>
                        <a:pt x="186359" y="112091"/>
                      </a:cubicBezTo>
                      <a:cubicBezTo>
                        <a:pt x="186359" y="112091"/>
                        <a:pt x="186359" y="112091"/>
                        <a:pt x="189294" y="109156"/>
                      </a:cubicBezTo>
                      <a:cubicBezTo>
                        <a:pt x="195163" y="103286"/>
                        <a:pt x="198098" y="100351"/>
                        <a:pt x="198098" y="9154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08" name="任意多边形: 形状 207">
                <a:extLst>
                  <a:ext uri="{FF2B5EF4-FFF2-40B4-BE49-F238E27FC236}">
                    <a16:creationId xmlns:a16="http://schemas.microsoft.com/office/drawing/2014/main" id="{10A41792-32BB-4A54-867E-978940A5FC29}"/>
                  </a:ext>
                </a:extLst>
              </p:cNvPr>
              <p:cNvSpPr/>
              <p:nvPr/>
            </p:nvSpPr>
            <p:spPr>
              <a:xfrm>
                <a:off x="6415520" y="2134959"/>
                <a:ext cx="49157" cy="110788"/>
              </a:xfrm>
              <a:custGeom>
                <a:avLst/>
                <a:gdLst>
                  <a:gd name="connsiteX0" fmla="*/ 5869 w 49157"/>
                  <a:gd name="connsiteY0" fmla="*/ 110788 h 110788"/>
                  <a:gd name="connsiteX1" fmla="*/ 5869 w 49157"/>
                  <a:gd name="connsiteY1" fmla="*/ 110788 h 110788"/>
                  <a:gd name="connsiteX2" fmla="*/ 0 w 49157"/>
                  <a:gd name="connsiteY2" fmla="*/ 104918 h 110788"/>
                  <a:gd name="connsiteX3" fmla="*/ 38152 w 49157"/>
                  <a:gd name="connsiteY3" fmla="*/ 2201 h 110788"/>
                  <a:gd name="connsiteX4" fmla="*/ 46956 w 49157"/>
                  <a:gd name="connsiteY4" fmla="*/ 2201 h 110788"/>
                  <a:gd name="connsiteX5" fmla="*/ 46956 w 49157"/>
                  <a:gd name="connsiteY5" fmla="*/ 11005 h 110788"/>
                  <a:gd name="connsiteX6" fmla="*/ 8804 w 49157"/>
                  <a:gd name="connsiteY6" fmla="*/ 107853 h 110788"/>
                  <a:gd name="connsiteX7" fmla="*/ 5869 w 49157"/>
                  <a:gd name="connsiteY7" fmla="*/ 110788 h 110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157" h="110788">
                    <a:moveTo>
                      <a:pt x="5869" y="110788"/>
                    </a:moveTo>
                    <a:cubicBezTo>
                      <a:pt x="5869" y="110788"/>
                      <a:pt x="5869" y="110788"/>
                      <a:pt x="5869" y="110788"/>
                    </a:cubicBezTo>
                    <a:cubicBezTo>
                      <a:pt x="2935" y="110788"/>
                      <a:pt x="0" y="107853"/>
                      <a:pt x="0" y="104918"/>
                    </a:cubicBezTo>
                    <a:cubicBezTo>
                      <a:pt x="0" y="101984"/>
                      <a:pt x="11739" y="40353"/>
                      <a:pt x="38152" y="2201"/>
                    </a:cubicBezTo>
                    <a:cubicBezTo>
                      <a:pt x="41087" y="-734"/>
                      <a:pt x="44022" y="-734"/>
                      <a:pt x="46956" y="2201"/>
                    </a:cubicBezTo>
                    <a:cubicBezTo>
                      <a:pt x="49891" y="5136"/>
                      <a:pt x="49891" y="8071"/>
                      <a:pt x="46956" y="11005"/>
                    </a:cubicBezTo>
                    <a:cubicBezTo>
                      <a:pt x="20543" y="49158"/>
                      <a:pt x="8804" y="107853"/>
                      <a:pt x="8804" y="107853"/>
                    </a:cubicBezTo>
                    <a:cubicBezTo>
                      <a:pt x="11739" y="110788"/>
                      <a:pt x="8804" y="110788"/>
                      <a:pt x="5869" y="110788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9" name="任意多边形: 形状 208">
                <a:extLst>
                  <a:ext uri="{FF2B5EF4-FFF2-40B4-BE49-F238E27FC236}">
                    <a16:creationId xmlns:a16="http://schemas.microsoft.com/office/drawing/2014/main" id="{234A2FB7-2D19-4572-9F39-22E5417F7B68}"/>
                  </a:ext>
                </a:extLst>
              </p:cNvPr>
              <p:cNvSpPr/>
              <p:nvPr/>
            </p:nvSpPr>
            <p:spPr>
              <a:xfrm>
                <a:off x="6392776" y="2208984"/>
                <a:ext cx="568078" cy="94665"/>
              </a:xfrm>
              <a:custGeom>
                <a:avLst/>
                <a:gdLst>
                  <a:gd name="connsiteX0" fmla="*/ 530462 w 568078"/>
                  <a:gd name="connsiteY0" fmla="*/ 1546 h 94665"/>
                  <a:gd name="connsiteX1" fmla="*/ 28614 w 568078"/>
                  <a:gd name="connsiteY1" fmla="*/ 22089 h 94665"/>
                  <a:gd name="connsiteX2" fmla="*/ 28614 w 568078"/>
                  <a:gd name="connsiteY2" fmla="*/ 80785 h 94665"/>
                  <a:gd name="connsiteX3" fmla="*/ 548071 w 568078"/>
                  <a:gd name="connsiteY3" fmla="*/ 57307 h 94665"/>
                  <a:gd name="connsiteX4" fmla="*/ 530462 w 568078"/>
                  <a:gd name="connsiteY4" fmla="*/ 1546 h 94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8078" h="94665">
                    <a:moveTo>
                      <a:pt x="530462" y="1546"/>
                    </a:moveTo>
                    <a:cubicBezTo>
                      <a:pt x="366114" y="51437"/>
                      <a:pt x="195897" y="36763"/>
                      <a:pt x="28614" y="22089"/>
                    </a:cubicBezTo>
                    <a:cubicBezTo>
                      <a:pt x="-9538" y="19154"/>
                      <a:pt x="-9538" y="77850"/>
                      <a:pt x="28614" y="80785"/>
                    </a:cubicBezTo>
                    <a:cubicBezTo>
                      <a:pt x="204701" y="98394"/>
                      <a:pt x="374919" y="107198"/>
                      <a:pt x="548071" y="57307"/>
                    </a:cubicBezTo>
                    <a:cubicBezTo>
                      <a:pt x="583288" y="48502"/>
                      <a:pt x="568614" y="-10193"/>
                      <a:pt x="530462" y="1546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10" name="任意多边形: 形状 209">
              <a:extLst>
                <a:ext uri="{FF2B5EF4-FFF2-40B4-BE49-F238E27FC236}">
                  <a16:creationId xmlns:a16="http://schemas.microsoft.com/office/drawing/2014/main" id="{E9EC9F41-29E8-400F-A7CC-34C15C20C10E}"/>
                </a:ext>
              </a:extLst>
            </p:cNvPr>
            <p:cNvSpPr/>
            <p:nvPr/>
          </p:nvSpPr>
          <p:spPr>
            <a:xfrm>
              <a:off x="6556390" y="2768139"/>
              <a:ext cx="129130" cy="134999"/>
            </a:xfrm>
            <a:custGeom>
              <a:avLst/>
              <a:gdLst>
                <a:gd name="connsiteX0" fmla="*/ 0 w 129130"/>
                <a:gd name="connsiteY0" fmla="*/ 0 h 134999"/>
                <a:gd name="connsiteX1" fmla="*/ 129131 w 129130"/>
                <a:gd name="connsiteY1" fmla="*/ 52826 h 134999"/>
                <a:gd name="connsiteX2" fmla="*/ 44022 w 129130"/>
                <a:gd name="connsiteY2" fmla="*/ 135000 h 134999"/>
                <a:gd name="connsiteX3" fmla="*/ 0 w 129130"/>
                <a:gd name="connsiteY3" fmla="*/ 0 h 13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130" h="134999">
                  <a:moveTo>
                    <a:pt x="0" y="0"/>
                  </a:moveTo>
                  <a:cubicBezTo>
                    <a:pt x="0" y="0"/>
                    <a:pt x="44022" y="41087"/>
                    <a:pt x="129131" y="52826"/>
                  </a:cubicBezTo>
                  <a:lnTo>
                    <a:pt x="44022" y="135000"/>
                  </a:lnTo>
                  <a:cubicBezTo>
                    <a:pt x="44022" y="135000"/>
                    <a:pt x="5870" y="73370"/>
                    <a:pt x="0" y="0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1" name="任意多边形: 形状 210">
              <a:extLst>
                <a:ext uri="{FF2B5EF4-FFF2-40B4-BE49-F238E27FC236}">
                  <a16:creationId xmlns:a16="http://schemas.microsoft.com/office/drawing/2014/main" id="{63FBE6D1-461A-48DE-8386-BEB3E78848EE}"/>
                </a:ext>
              </a:extLst>
            </p:cNvPr>
            <p:cNvSpPr/>
            <p:nvPr/>
          </p:nvSpPr>
          <p:spPr>
            <a:xfrm>
              <a:off x="6682585" y="2776943"/>
              <a:ext cx="110139" cy="123260"/>
            </a:xfrm>
            <a:custGeom>
              <a:avLst/>
              <a:gdLst>
                <a:gd name="connsiteX0" fmla="*/ 108587 w 110139"/>
                <a:gd name="connsiteY0" fmla="*/ 0 h 123260"/>
                <a:gd name="connsiteX1" fmla="*/ 0 w 110139"/>
                <a:gd name="connsiteY1" fmla="*/ 44022 h 123260"/>
                <a:gd name="connsiteX2" fmla="*/ 61631 w 110139"/>
                <a:gd name="connsiteY2" fmla="*/ 123261 h 123260"/>
                <a:gd name="connsiteX3" fmla="*/ 108587 w 110139"/>
                <a:gd name="connsiteY3" fmla="*/ 0 h 12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39" h="123260">
                  <a:moveTo>
                    <a:pt x="108587" y="0"/>
                  </a:moveTo>
                  <a:cubicBezTo>
                    <a:pt x="108587" y="0"/>
                    <a:pt x="61631" y="44022"/>
                    <a:pt x="0" y="44022"/>
                  </a:cubicBezTo>
                  <a:cubicBezTo>
                    <a:pt x="0" y="44022"/>
                    <a:pt x="44022" y="90978"/>
                    <a:pt x="61631" y="123261"/>
                  </a:cubicBezTo>
                  <a:cubicBezTo>
                    <a:pt x="61631" y="123261"/>
                    <a:pt x="120326" y="73370"/>
                    <a:pt x="108587" y="0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6374342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AFB32299-FC5F-43B2-9EAE-30FC0D97BD05}"/>
              </a:ext>
            </a:extLst>
          </p:cNvPr>
          <p:cNvGrpSpPr/>
          <p:nvPr/>
        </p:nvGrpSpPr>
        <p:grpSpPr>
          <a:xfrm>
            <a:off x="1365005" y="1676400"/>
            <a:ext cx="9461989" cy="4998711"/>
            <a:chOff x="15581476" y="1676400"/>
            <a:chExt cx="9461989" cy="4998711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F5139282-6A79-4443-BE08-23026BDFB3A6}"/>
                </a:ext>
              </a:extLst>
            </p:cNvPr>
            <p:cNvGrpSpPr/>
            <p:nvPr/>
          </p:nvGrpSpPr>
          <p:grpSpPr>
            <a:xfrm>
              <a:off x="15581476" y="1676400"/>
              <a:ext cx="3392956" cy="4742608"/>
              <a:chOff x="15581476" y="1676400"/>
              <a:chExt cx="3392956" cy="4742608"/>
            </a:xfrm>
          </p:grpSpPr>
          <p:grpSp>
            <p:nvGrpSpPr>
              <p:cNvPr id="168" name="图形 1">
                <a:extLst>
                  <a:ext uri="{FF2B5EF4-FFF2-40B4-BE49-F238E27FC236}">
                    <a16:creationId xmlns:a16="http://schemas.microsoft.com/office/drawing/2014/main" id="{4D0A924E-8092-4968-9CCE-647D6CA59F76}"/>
                  </a:ext>
                </a:extLst>
              </p:cNvPr>
              <p:cNvGrpSpPr/>
              <p:nvPr/>
            </p:nvGrpSpPr>
            <p:grpSpPr>
              <a:xfrm>
                <a:off x="15581476" y="1676400"/>
                <a:ext cx="3392956" cy="4579872"/>
                <a:chOff x="15581476" y="1676400"/>
                <a:chExt cx="3392956" cy="4579872"/>
              </a:xfrm>
            </p:grpSpPr>
            <p:sp>
              <p:nvSpPr>
                <p:cNvPr id="182" name="任意多边形: 形状 181">
                  <a:extLst>
                    <a:ext uri="{FF2B5EF4-FFF2-40B4-BE49-F238E27FC236}">
                      <a16:creationId xmlns:a16="http://schemas.microsoft.com/office/drawing/2014/main" id="{3BFEE9CF-BD0B-41CF-B9DC-E1BF51BA8EFB}"/>
                    </a:ext>
                  </a:extLst>
                </p:cNvPr>
                <p:cNvSpPr/>
                <p:nvPr/>
              </p:nvSpPr>
              <p:spPr>
                <a:xfrm>
                  <a:off x="15581476" y="2254741"/>
                  <a:ext cx="3392956" cy="4001531"/>
                </a:xfrm>
                <a:custGeom>
                  <a:avLst/>
                  <a:gdLst>
                    <a:gd name="connsiteX0" fmla="*/ 3377305 w 3392956"/>
                    <a:gd name="connsiteY0" fmla="*/ 3785680 h 4001531"/>
                    <a:gd name="connsiteX1" fmla="*/ 3283391 w 3392956"/>
                    <a:gd name="connsiteY1" fmla="*/ 3680029 h 4001531"/>
                    <a:gd name="connsiteX2" fmla="*/ 2893066 w 3392956"/>
                    <a:gd name="connsiteY2" fmla="*/ 3245681 h 4001531"/>
                    <a:gd name="connsiteX3" fmla="*/ 2998717 w 3392956"/>
                    <a:gd name="connsiteY3" fmla="*/ 3204593 h 4001531"/>
                    <a:gd name="connsiteX4" fmla="*/ 2995783 w 3392956"/>
                    <a:gd name="connsiteY4" fmla="*/ 3189920 h 4001531"/>
                    <a:gd name="connsiteX5" fmla="*/ 2482196 w 3392956"/>
                    <a:gd name="connsiteY5" fmla="*/ 2594159 h 4001531"/>
                    <a:gd name="connsiteX6" fmla="*/ 2634805 w 3392956"/>
                    <a:gd name="connsiteY6" fmla="*/ 2605898 h 4001531"/>
                    <a:gd name="connsiteX7" fmla="*/ 2722848 w 3392956"/>
                    <a:gd name="connsiteY7" fmla="*/ 2611767 h 4001531"/>
                    <a:gd name="connsiteX8" fmla="*/ 2778608 w 3392956"/>
                    <a:gd name="connsiteY8" fmla="*/ 2626441 h 4001531"/>
                    <a:gd name="connsiteX9" fmla="*/ 2863718 w 3392956"/>
                    <a:gd name="connsiteY9" fmla="*/ 2594159 h 4001531"/>
                    <a:gd name="connsiteX10" fmla="*/ 2863718 w 3392956"/>
                    <a:gd name="connsiteY10" fmla="*/ 2582420 h 4001531"/>
                    <a:gd name="connsiteX11" fmla="*/ 2772740 w 3392956"/>
                    <a:gd name="connsiteY11" fmla="*/ 2497311 h 4001531"/>
                    <a:gd name="connsiteX12" fmla="*/ 2843174 w 3392956"/>
                    <a:gd name="connsiteY12" fmla="*/ 2465028 h 4001531"/>
                    <a:gd name="connsiteX13" fmla="*/ 2843174 w 3392956"/>
                    <a:gd name="connsiteY13" fmla="*/ 2453289 h 4001531"/>
                    <a:gd name="connsiteX14" fmla="*/ 2297305 w 3392956"/>
                    <a:gd name="connsiteY14" fmla="*/ 1807637 h 4001531"/>
                    <a:gd name="connsiteX15" fmla="*/ 2402956 w 3392956"/>
                    <a:gd name="connsiteY15" fmla="*/ 1854594 h 4001531"/>
                    <a:gd name="connsiteX16" fmla="*/ 2446978 w 3392956"/>
                    <a:gd name="connsiteY16" fmla="*/ 1819376 h 4001531"/>
                    <a:gd name="connsiteX17" fmla="*/ 2587847 w 3392956"/>
                    <a:gd name="connsiteY17" fmla="*/ 1845789 h 4001531"/>
                    <a:gd name="connsiteX18" fmla="*/ 2508610 w 3392956"/>
                    <a:gd name="connsiteY18" fmla="*/ 1684376 h 4001531"/>
                    <a:gd name="connsiteX19" fmla="*/ 2276761 w 3392956"/>
                    <a:gd name="connsiteY19" fmla="*/ 1467202 h 4001531"/>
                    <a:gd name="connsiteX20" fmla="*/ 2097740 w 3392956"/>
                    <a:gd name="connsiteY20" fmla="*/ 1255898 h 4001531"/>
                    <a:gd name="connsiteX21" fmla="*/ 2138826 w 3392956"/>
                    <a:gd name="connsiteY21" fmla="*/ 1241224 h 4001531"/>
                    <a:gd name="connsiteX22" fmla="*/ 2317849 w 3392956"/>
                    <a:gd name="connsiteY22" fmla="*/ 1338072 h 4001531"/>
                    <a:gd name="connsiteX23" fmla="*/ 2329587 w 3392956"/>
                    <a:gd name="connsiteY23" fmla="*/ 1326333 h 4001531"/>
                    <a:gd name="connsiteX24" fmla="*/ 2323717 w 3392956"/>
                    <a:gd name="connsiteY24" fmla="*/ 1308724 h 4001531"/>
                    <a:gd name="connsiteX25" fmla="*/ 2391218 w 3392956"/>
                    <a:gd name="connsiteY25" fmla="*/ 1285246 h 4001531"/>
                    <a:gd name="connsiteX26" fmla="*/ 2303175 w 3392956"/>
                    <a:gd name="connsiteY26" fmla="*/ 1156115 h 4001531"/>
                    <a:gd name="connsiteX27" fmla="*/ 1992087 w 3392956"/>
                    <a:gd name="connsiteY27" fmla="*/ 801007 h 4001531"/>
                    <a:gd name="connsiteX28" fmla="*/ 1824804 w 3392956"/>
                    <a:gd name="connsiteY28" fmla="*/ 381333 h 4001531"/>
                    <a:gd name="connsiteX29" fmla="*/ 1754370 w 3392956"/>
                    <a:gd name="connsiteY29" fmla="*/ 170028 h 4001531"/>
                    <a:gd name="connsiteX30" fmla="*/ 1666327 w 3392956"/>
                    <a:gd name="connsiteY30" fmla="*/ 2746 h 4001531"/>
                    <a:gd name="connsiteX31" fmla="*/ 1654587 w 3392956"/>
                    <a:gd name="connsiteY31" fmla="*/ 14485 h 4001531"/>
                    <a:gd name="connsiteX32" fmla="*/ 1654587 w 3392956"/>
                    <a:gd name="connsiteY32" fmla="*/ 14485 h 4001531"/>
                    <a:gd name="connsiteX33" fmla="*/ 1651653 w 3392956"/>
                    <a:gd name="connsiteY33" fmla="*/ 17420 h 4001531"/>
                    <a:gd name="connsiteX34" fmla="*/ 1443283 w 3392956"/>
                    <a:gd name="connsiteY34" fmla="*/ 566224 h 4001531"/>
                    <a:gd name="connsiteX35" fmla="*/ 1155674 w 3392956"/>
                    <a:gd name="connsiteY35" fmla="*/ 1076876 h 4001531"/>
                    <a:gd name="connsiteX36" fmla="*/ 824044 w 3392956"/>
                    <a:gd name="connsiteY36" fmla="*/ 1561115 h 4001531"/>
                    <a:gd name="connsiteX37" fmla="*/ 633283 w 3392956"/>
                    <a:gd name="connsiteY37" fmla="*/ 1766550 h 4001531"/>
                    <a:gd name="connsiteX38" fmla="*/ 536435 w 3392956"/>
                    <a:gd name="connsiteY38" fmla="*/ 1866333 h 4001531"/>
                    <a:gd name="connsiteX39" fmla="*/ 492414 w 3392956"/>
                    <a:gd name="connsiteY39" fmla="*/ 1939702 h 4001531"/>
                    <a:gd name="connsiteX40" fmla="*/ 624479 w 3392956"/>
                    <a:gd name="connsiteY40" fmla="*/ 1966115 h 4001531"/>
                    <a:gd name="connsiteX41" fmla="*/ 821109 w 3392956"/>
                    <a:gd name="connsiteY41" fmla="*/ 1845789 h 4001531"/>
                    <a:gd name="connsiteX42" fmla="*/ 853392 w 3392956"/>
                    <a:gd name="connsiteY42" fmla="*/ 1886876 h 4001531"/>
                    <a:gd name="connsiteX43" fmla="*/ 985457 w 3392956"/>
                    <a:gd name="connsiteY43" fmla="*/ 1831115 h 4001531"/>
                    <a:gd name="connsiteX44" fmla="*/ 959044 w 3392956"/>
                    <a:gd name="connsiteY44" fmla="*/ 1945572 h 4001531"/>
                    <a:gd name="connsiteX45" fmla="*/ 959044 w 3392956"/>
                    <a:gd name="connsiteY45" fmla="*/ 1948507 h 4001531"/>
                    <a:gd name="connsiteX46" fmla="*/ 950239 w 3392956"/>
                    <a:gd name="connsiteY46" fmla="*/ 1951441 h 4001531"/>
                    <a:gd name="connsiteX47" fmla="*/ 691978 w 3392956"/>
                    <a:gd name="connsiteY47" fmla="*/ 2341768 h 4001531"/>
                    <a:gd name="connsiteX48" fmla="*/ 372087 w 3392956"/>
                    <a:gd name="connsiteY48" fmla="*/ 2740898 h 4001531"/>
                    <a:gd name="connsiteX49" fmla="*/ 380891 w 3392956"/>
                    <a:gd name="connsiteY49" fmla="*/ 2755572 h 4001531"/>
                    <a:gd name="connsiteX50" fmla="*/ 495348 w 3392956"/>
                    <a:gd name="connsiteY50" fmla="*/ 2708615 h 4001531"/>
                    <a:gd name="connsiteX51" fmla="*/ 460131 w 3392956"/>
                    <a:gd name="connsiteY51" fmla="*/ 2776115 h 4001531"/>
                    <a:gd name="connsiteX52" fmla="*/ 454261 w 3392956"/>
                    <a:gd name="connsiteY52" fmla="*/ 2805463 h 4001531"/>
                    <a:gd name="connsiteX53" fmla="*/ 556978 w 3392956"/>
                    <a:gd name="connsiteY53" fmla="*/ 2811333 h 4001531"/>
                    <a:gd name="connsiteX54" fmla="*/ 797631 w 3392956"/>
                    <a:gd name="connsiteY54" fmla="*/ 2644050 h 4001531"/>
                    <a:gd name="connsiteX55" fmla="*/ 882739 w 3392956"/>
                    <a:gd name="connsiteY55" fmla="*/ 2708615 h 4001531"/>
                    <a:gd name="connsiteX56" fmla="*/ 662631 w 3392956"/>
                    <a:gd name="connsiteY56" fmla="*/ 3010898 h 4001531"/>
                    <a:gd name="connsiteX57" fmla="*/ 392630 w 3392956"/>
                    <a:gd name="connsiteY57" fmla="*/ 3345463 h 4001531"/>
                    <a:gd name="connsiteX58" fmla="*/ 146109 w 3392956"/>
                    <a:gd name="connsiteY58" fmla="*/ 3674159 h 4001531"/>
                    <a:gd name="connsiteX59" fmla="*/ 22848 w 3392956"/>
                    <a:gd name="connsiteY59" fmla="*/ 3850246 h 4001531"/>
                    <a:gd name="connsiteX60" fmla="*/ 16978 w 3392956"/>
                    <a:gd name="connsiteY60" fmla="*/ 3947094 h 4001531"/>
                    <a:gd name="connsiteX61" fmla="*/ 154914 w 3392956"/>
                    <a:gd name="connsiteY61" fmla="*/ 3973507 h 4001531"/>
                    <a:gd name="connsiteX62" fmla="*/ 251761 w 3392956"/>
                    <a:gd name="connsiteY62" fmla="*/ 3929485 h 4001531"/>
                    <a:gd name="connsiteX63" fmla="*/ 413174 w 3392956"/>
                    <a:gd name="connsiteY63" fmla="*/ 3935355 h 4001531"/>
                    <a:gd name="connsiteX64" fmla="*/ 454261 w 3392956"/>
                    <a:gd name="connsiteY64" fmla="*/ 3994050 h 4001531"/>
                    <a:gd name="connsiteX65" fmla="*/ 595131 w 3392956"/>
                    <a:gd name="connsiteY65" fmla="*/ 3970572 h 4001531"/>
                    <a:gd name="connsiteX66" fmla="*/ 768283 w 3392956"/>
                    <a:gd name="connsiteY66" fmla="*/ 3853181 h 4001531"/>
                    <a:gd name="connsiteX67" fmla="*/ 753609 w 3392956"/>
                    <a:gd name="connsiteY67" fmla="*/ 3894267 h 4001531"/>
                    <a:gd name="connsiteX68" fmla="*/ 765348 w 3392956"/>
                    <a:gd name="connsiteY68" fmla="*/ 3906007 h 4001531"/>
                    <a:gd name="connsiteX69" fmla="*/ 885674 w 3392956"/>
                    <a:gd name="connsiteY69" fmla="*/ 3847311 h 4001531"/>
                    <a:gd name="connsiteX70" fmla="*/ 991327 w 3392956"/>
                    <a:gd name="connsiteY70" fmla="*/ 3885463 h 4001531"/>
                    <a:gd name="connsiteX71" fmla="*/ 1240783 w 3392956"/>
                    <a:gd name="connsiteY71" fmla="*/ 3806224 h 4001531"/>
                    <a:gd name="connsiteX72" fmla="*/ 1378717 w 3392956"/>
                    <a:gd name="connsiteY72" fmla="*/ 3929485 h 4001531"/>
                    <a:gd name="connsiteX73" fmla="*/ 1610565 w 3392956"/>
                    <a:gd name="connsiteY73" fmla="*/ 3820898 h 4001531"/>
                    <a:gd name="connsiteX74" fmla="*/ 1836544 w 3392956"/>
                    <a:gd name="connsiteY74" fmla="*/ 3894267 h 4001531"/>
                    <a:gd name="connsiteX75" fmla="*/ 1924587 w 3392956"/>
                    <a:gd name="connsiteY75" fmla="*/ 3894267 h 4001531"/>
                    <a:gd name="connsiteX76" fmla="*/ 1968609 w 3392956"/>
                    <a:gd name="connsiteY76" fmla="*/ 3917746 h 4001531"/>
                    <a:gd name="connsiteX77" fmla="*/ 2062522 w 3392956"/>
                    <a:gd name="connsiteY77" fmla="*/ 3944159 h 4001531"/>
                    <a:gd name="connsiteX78" fmla="*/ 2238609 w 3392956"/>
                    <a:gd name="connsiteY78" fmla="*/ 3914811 h 4001531"/>
                    <a:gd name="connsiteX79" fmla="*/ 2250347 w 3392956"/>
                    <a:gd name="connsiteY79" fmla="*/ 3920681 h 4001531"/>
                    <a:gd name="connsiteX80" fmla="*/ 2276761 w 3392956"/>
                    <a:gd name="connsiteY80" fmla="*/ 3800354 h 4001531"/>
                    <a:gd name="connsiteX81" fmla="*/ 2593717 w 3392956"/>
                    <a:gd name="connsiteY81" fmla="*/ 3847311 h 4001531"/>
                    <a:gd name="connsiteX82" fmla="*/ 2602521 w 3392956"/>
                    <a:gd name="connsiteY82" fmla="*/ 3835572 h 4001531"/>
                    <a:gd name="connsiteX83" fmla="*/ 2584913 w 3392956"/>
                    <a:gd name="connsiteY83" fmla="*/ 3779811 h 4001531"/>
                    <a:gd name="connsiteX84" fmla="*/ 2725783 w 3392956"/>
                    <a:gd name="connsiteY84" fmla="*/ 3823833 h 4001531"/>
                    <a:gd name="connsiteX85" fmla="*/ 2884262 w 3392956"/>
                    <a:gd name="connsiteY85" fmla="*/ 3870789 h 4001531"/>
                    <a:gd name="connsiteX86" fmla="*/ 3010457 w 3392956"/>
                    <a:gd name="connsiteY86" fmla="*/ 3797420 h 4001531"/>
                    <a:gd name="connsiteX87" fmla="*/ 3224696 w 3392956"/>
                    <a:gd name="connsiteY87" fmla="*/ 3882528 h 4001531"/>
                    <a:gd name="connsiteX88" fmla="*/ 3233500 w 3392956"/>
                    <a:gd name="connsiteY88" fmla="*/ 3870789 h 4001531"/>
                    <a:gd name="connsiteX89" fmla="*/ 3215892 w 3392956"/>
                    <a:gd name="connsiteY89" fmla="*/ 3832637 h 4001531"/>
                    <a:gd name="connsiteX90" fmla="*/ 3327413 w 3392956"/>
                    <a:gd name="connsiteY90" fmla="*/ 3850246 h 4001531"/>
                    <a:gd name="connsiteX91" fmla="*/ 3386109 w 3392956"/>
                    <a:gd name="connsiteY91" fmla="*/ 3835572 h 4001531"/>
                    <a:gd name="connsiteX92" fmla="*/ 3377305 w 3392956"/>
                    <a:gd name="connsiteY92" fmla="*/ 3785680 h 4001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</a:cxnLst>
                  <a:rect l="l" t="t" r="r" b="b"/>
                  <a:pathLst>
                    <a:path w="3392956" h="4001531">
                      <a:moveTo>
                        <a:pt x="3377305" y="3785680"/>
                      </a:moveTo>
                      <a:cubicBezTo>
                        <a:pt x="3350891" y="3747528"/>
                        <a:pt x="3312739" y="3712311"/>
                        <a:pt x="3283391" y="3680029"/>
                      </a:cubicBezTo>
                      <a:cubicBezTo>
                        <a:pt x="3154262" y="3536224"/>
                        <a:pt x="3022197" y="3389485"/>
                        <a:pt x="2893066" y="3245681"/>
                      </a:cubicBezTo>
                      <a:cubicBezTo>
                        <a:pt x="2931217" y="3242746"/>
                        <a:pt x="2966435" y="3231007"/>
                        <a:pt x="2998717" y="3204593"/>
                      </a:cubicBezTo>
                      <a:cubicBezTo>
                        <a:pt x="3004587" y="3201659"/>
                        <a:pt x="3001653" y="3192854"/>
                        <a:pt x="2995783" y="3189920"/>
                      </a:cubicBezTo>
                      <a:cubicBezTo>
                        <a:pt x="2781544" y="3031441"/>
                        <a:pt x="2605457" y="2828941"/>
                        <a:pt x="2482196" y="2594159"/>
                      </a:cubicBezTo>
                      <a:cubicBezTo>
                        <a:pt x="2526218" y="2617637"/>
                        <a:pt x="2581979" y="2611767"/>
                        <a:pt x="2634805" y="2605898"/>
                      </a:cubicBezTo>
                      <a:cubicBezTo>
                        <a:pt x="2664153" y="2602963"/>
                        <a:pt x="2693501" y="2602963"/>
                        <a:pt x="2722848" y="2611767"/>
                      </a:cubicBezTo>
                      <a:cubicBezTo>
                        <a:pt x="2743392" y="2617637"/>
                        <a:pt x="2761000" y="2626441"/>
                        <a:pt x="2778608" y="2626441"/>
                      </a:cubicBezTo>
                      <a:cubicBezTo>
                        <a:pt x="2810892" y="2629376"/>
                        <a:pt x="2840240" y="2617637"/>
                        <a:pt x="2863718" y="2594159"/>
                      </a:cubicBezTo>
                      <a:cubicBezTo>
                        <a:pt x="2866652" y="2591224"/>
                        <a:pt x="2866652" y="2585355"/>
                        <a:pt x="2863718" y="2582420"/>
                      </a:cubicBezTo>
                      <a:cubicBezTo>
                        <a:pt x="2831436" y="2556007"/>
                        <a:pt x="2802088" y="2526659"/>
                        <a:pt x="2772740" y="2497311"/>
                      </a:cubicBezTo>
                      <a:cubicBezTo>
                        <a:pt x="2799152" y="2497311"/>
                        <a:pt x="2822630" y="2485572"/>
                        <a:pt x="2843174" y="2465028"/>
                      </a:cubicBezTo>
                      <a:cubicBezTo>
                        <a:pt x="2846110" y="2462094"/>
                        <a:pt x="2846110" y="2456224"/>
                        <a:pt x="2843174" y="2453289"/>
                      </a:cubicBezTo>
                      <a:cubicBezTo>
                        <a:pt x="2634805" y="2262528"/>
                        <a:pt x="2449914" y="2045354"/>
                        <a:pt x="2297305" y="1807637"/>
                      </a:cubicBezTo>
                      <a:cubicBezTo>
                        <a:pt x="2329587" y="1834050"/>
                        <a:pt x="2367739" y="1857528"/>
                        <a:pt x="2402956" y="1854594"/>
                      </a:cubicBezTo>
                      <a:cubicBezTo>
                        <a:pt x="2426434" y="1854594"/>
                        <a:pt x="2444044" y="1839920"/>
                        <a:pt x="2446978" y="1819376"/>
                      </a:cubicBezTo>
                      <a:cubicBezTo>
                        <a:pt x="2485130" y="1854594"/>
                        <a:pt x="2543826" y="1889811"/>
                        <a:pt x="2587847" y="1845789"/>
                      </a:cubicBezTo>
                      <a:cubicBezTo>
                        <a:pt x="2643609" y="1790028"/>
                        <a:pt x="2546762" y="1719594"/>
                        <a:pt x="2508610" y="1684376"/>
                      </a:cubicBezTo>
                      <a:cubicBezTo>
                        <a:pt x="2432304" y="1611007"/>
                        <a:pt x="2353065" y="1540572"/>
                        <a:pt x="2276761" y="1467202"/>
                      </a:cubicBezTo>
                      <a:cubicBezTo>
                        <a:pt x="2209262" y="1405572"/>
                        <a:pt x="2135892" y="1343941"/>
                        <a:pt x="2097740" y="1255898"/>
                      </a:cubicBezTo>
                      <a:cubicBezTo>
                        <a:pt x="2112414" y="1258833"/>
                        <a:pt x="2127088" y="1255898"/>
                        <a:pt x="2138826" y="1241224"/>
                      </a:cubicBezTo>
                      <a:cubicBezTo>
                        <a:pt x="2185784" y="1294050"/>
                        <a:pt x="2247413" y="1329267"/>
                        <a:pt x="2317849" y="1338072"/>
                      </a:cubicBezTo>
                      <a:cubicBezTo>
                        <a:pt x="2323717" y="1338072"/>
                        <a:pt x="2332523" y="1335137"/>
                        <a:pt x="2329587" y="1326333"/>
                      </a:cubicBezTo>
                      <a:cubicBezTo>
                        <a:pt x="2326653" y="1320463"/>
                        <a:pt x="2323717" y="1314594"/>
                        <a:pt x="2323717" y="1308724"/>
                      </a:cubicBezTo>
                      <a:cubicBezTo>
                        <a:pt x="2350131" y="1320463"/>
                        <a:pt x="2382413" y="1320463"/>
                        <a:pt x="2391218" y="1285246"/>
                      </a:cubicBezTo>
                      <a:cubicBezTo>
                        <a:pt x="2400022" y="1235354"/>
                        <a:pt x="2332523" y="1185463"/>
                        <a:pt x="2303175" y="1156115"/>
                      </a:cubicBezTo>
                      <a:cubicBezTo>
                        <a:pt x="2191652" y="1044593"/>
                        <a:pt x="2071326" y="938941"/>
                        <a:pt x="1992087" y="801007"/>
                      </a:cubicBezTo>
                      <a:cubicBezTo>
                        <a:pt x="1915783" y="668941"/>
                        <a:pt x="1871761" y="525137"/>
                        <a:pt x="1824804" y="381333"/>
                      </a:cubicBezTo>
                      <a:cubicBezTo>
                        <a:pt x="1801326" y="310898"/>
                        <a:pt x="1780783" y="240463"/>
                        <a:pt x="1754370" y="170028"/>
                      </a:cubicBezTo>
                      <a:cubicBezTo>
                        <a:pt x="1733826" y="114267"/>
                        <a:pt x="1713283" y="43833"/>
                        <a:pt x="1666327" y="2746"/>
                      </a:cubicBezTo>
                      <a:cubicBezTo>
                        <a:pt x="1657522" y="-6059"/>
                        <a:pt x="1645783" y="8615"/>
                        <a:pt x="1654587" y="14485"/>
                      </a:cubicBezTo>
                      <a:cubicBezTo>
                        <a:pt x="1654587" y="14485"/>
                        <a:pt x="1654587" y="14485"/>
                        <a:pt x="1654587" y="14485"/>
                      </a:cubicBezTo>
                      <a:cubicBezTo>
                        <a:pt x="1654587" y="14485"/>
                        <a:pt x="1651653" y="17420"/>
                        <a:pt x="1651653" y="17420"/>
                      </a:cubicBezTo>
                      <a:cubicBezTo>
                        <a:pt x="1572413" y="196441"/>
                        <a:pt x="1528392" y="387202"/>
                        <a:pt x="1443283" y="566224"/>
                      </a:cubicBezTo>
                      <a:cubicBezTo>
                        <a:pt x="1361109" y="742311"/>
                        <a:pt x="1255457" y="909594"/>
                        <a:pt x="1155674" y="1076876"/>
                      </a:cubicBezTo>
                      <a:cubicBezTo>
                        <a:pt x="1055891" y="1247094"/>
                        <a:pt x="953174" y="1411441"/>
                        <a:pt x="824044" y="1561115"/>
                      </a:cubicBezTo>
                      <a:cubicBezTo>
                        <a:pt x="762413" y="1631550"/>
                        <a:pt x="697848" y="1699050"/>
                        <a:pt x="633283" y="1766550"/>
                      </a:cubicBezTo>
                      <a:cubicBezTo>
                        <a:pt x="601000" y="1801767"/>
                        <a:pt x="568717" y="1834050"/>
                        <a:pt x="536435" y="1866333"/>
                      </a:cubicBezTo>
                      <a:cubicBezTo>
                        <a:pt x="518826" y="1886876"/>
                        <a:pt x="495348" y="1910354"/>
                        <a:pt x="492414" y="1939702"/>
                      </a:cubicBezTo>
                      <a:cubicBezTo>
                        <a:pt x="489479" y="2007202"/>
                        <a:pt x="589261" y="1977854"/>
                        <a:pt x="624479" y="1966115"/>
                      </a:cubicBezTo>
                      <a:cubicBezTo>
                        <a:pt x="697848" y="1942637"/>
                        <a:pt x="765348" y="1901550"/>
                        <a:pt x="821109" y="1845789"/>
                      </a:cubicBezTo>
                      <a:cubicBezTo>
                        <a:pt x="824044" y="1863398"/>
                        <a:pt x="835783" y="1881007"/>
                        <a:pt x="853392" y="1886876"/>
                      </a:cubicBezTo>
                      <a:cubicBezTo>
                        <a:pt x="903283" y="1907420"/>
                        <a:pt x="947305" y="1860463"/>
                        <a:pt x="985457" y="1831115"/>
                      </a:cubicBezTo>
                      <a:cubicBezTo>
                        <a:pt x="973718" y="1869267"/>
                        <a:pt x="964913" y="1907420"/>
                        <a:pt x="959044" y="1945572"/>
                      </a:cubicBezTo>
                      <a:cubicBezTo>
                        <a:pt x="959044" y="1945572"/>
                        <a:pt x="959044" y="1945572"/>
                        <a:pt x="959044" y="1948507"/>
                      </a:cubicBezTo>
                      <a:cubicBezTo>
                        <a:pt x="956109" y="1948507"/>
                        <a:pt x="953174" y="1948507"/>
                        <a:pt x="950239" y="1951441"/>
                      </a:cubicBezTo>
                      <a:cubicBezTo>
                        <a:pt x="844588" y="2068833"/>
                        <a:pt x="774152" y="2209702"/>
                        <a:pt x="691978" y="2341768"/>
                      </a:cubicBezTo>
                      <a:cubicBezTo>
                        <a:pt x="603935" y="2488507"/>
                        <a:pt x="495348" y="2620572"/>
                        <a:pt x="372087" y="2740898"/>
                      </a:cubicBezTo>
                      <a:cubicBezTo>
                        <a:pt x="366217" y="2746768"/>
                        <a:pt x="372087" y="2758507"/>
                        <a:pt x="380891" y="2755572"/>
                      </a:cubicBezTo>
                      <a:cubicBezTo>
                        <a:pt x="421978" y="2746768"/>
                        <a:pt x="460131" y="2732094"/>
                        <a:pt x="495348" y="2708615"/>
                      </a:cubicBezTo>
                      <a:cubicBezTo>
                        <a:pt x="483609" y="2732094"/>
                        <a:pt x="468935" y="2752637"/>
                        <a:pt x="460131" y="2776115"/>
                      </a:cubicBezTo>
                      <a:cubicBezTo>
                        <a:pt x="457196" y="2787854"/>
                        <a:pt x="451326" y="2793724"/>
                        <a:pt x="454261" y="2805463"/>
                      </a:cubicBezTo>
                      <a:cubicBezTo>
                        <a:pt x="468935" y="2840681"/>
                        <a:pt x="533500" y="2817202"/>
                        <a:pt x="556978" y="2811333"/>
                      </a:cubicBezTo>
                      <a:cubicBezTo>
                        <a:pt x="650892" y="2781985"/>
                        <a:pt x="727196" y="2714485"/>
                        <a:pt x="797631" y="2644050"/>
                      </a:cubicBezTo>
                      <a:cubicBezTo>
                        <a:pt x="794696" y="2688072"/>
                        <a:pt x="838718" y="2723289"/>
                        <a:pt x="882739" y="2708615"/>
                      </a:cubicBezTo>
                      <a:cubicBezTo>
                        <a:pt x="821109" y="2817202"/>
                        <a:pt x="741870" y="2914050"/>
                        <a:pt x="662631" y="3010898"/>
                      </a:cubicBezTo>
                      <a:cubicBezTo>
                        <a:pt x="571652" y="3122420"/>
                        <a:pt x="480674" y="3233941"/>
                        <a:pt x="392630" y="3345463"/>
                      </a:cubicBezTo>
                      <a:cubicBezTo>
                        <a:pt x="307522" y="3454050"/>
                        <a:pt x="225348" y="3562637"/>
                        <a:pt x="146109" y="3674159"/>
                      </a:cubicBezTo>
                      <a:cubicBezTo>
                        <a:pt x="105022" y="3732854"/>
                        <a:pt x="61000" y="3788615"/>
                        <a:pt x="22848" y="3850246"/>
                      </a:cubicBezTo>
                      <a:cubicBezTo>
                        <a:pt x="5240" y="3879593"/>
                        <a:pt x="-15304" y="3920681"/>
                        <a:pt x="16978" y="3947094"/>
                      </a:cubicBezTo>
                      <a:cubicBezTo>
                        <a:pt x="49261" y="3976441"/>
                        <a:pt x="116761" y="3976441"/>
                        <a:pt x="154914" y="3973507"/>
                      </a:cubicBezTo>
                      <a:cubicBezTo>
                        <a:pt x="193065" y="3970572"/>
                        <a:pt x="228283" y="3958833"/>
                        <a:pt x="251761" y="3929485"/>
                      </a:cubicBezTo>
                      <a:cubicBezTo>
                        <a:pt x="281109" y="3991115"/>
                        <a:pt x="360348" y="3964702"/>
                        <a:pt x="413174" y="3935355"/>
                      </a:cubicBezTo>
                      <a:cubicBezTo>
                        <a:pt x="416109" y="3961767"/>
                        <a:pt x="430783" y="3982311"/>
                        <a:pt x="454261" y="3994050"/>
                      </a:cubicBezTo>
                      <a:cubicBezTo>
                        <a:pt x="501218" y="4014594"/>
                        <a:pt x="554043" y="3988181"/>
                        <a:pt x="595131" y="3970572"/>
                      </a:cubicBezTo>
                      <a:cubicBezTo>
                        <a:pt x="659696" y="3941224"/>
                        <a:pt x="718391" y="3900137"/>
                        <a:pt x="768283" y="3853181"/>
                      </a:cubicBezTo>
                      <a:cubicBezTo>
                        <a:pt x="762413" y="3864920"/>
                        <a:pt x="756544" y="3879593"/>
                        <a:pt x="753609" y="3894267"/>
                      </a:cubicBezTo>
                      <a:cubicBezTo>
                        <a:pt x="750674" y="3900137"/>
                        <a:pt x="759478" y="3906007"/>
                        <a:pt x="765348" y="3906007"/>
                      </a:cubicBezTo>
                      <a:cubicBezTo>
                        <a:pt x="812305" y="3900137"/>
                        <a:pt x="853392" y="3879593"/>
                        <a:pt x="885674" y="3847311"/>
                      </a:cubicBezTo>
                      <a:cubicBezTo>
                        <a:pt x="900348" y="3885463"/>
                        <a:pt x="956109" y="3888398"/>
                        <a:pt x="991327" y="3885463"/>
                      </a:cubicBezTo>
                      <a:cubicBezTo>
                        <a:pt x="1076435" y="3873724"/>
                        <a:pt x="1161544" y="3844376"/>
                        <a:pt x="1240783" y="3806224"/>
                      </a:cubicBezTo>
                      <a:cubicBezTo>
                        <a:pt x="1249587" y="3873724"/>
                        <a:pt x="1311218" y="3920681"/>
                        <a:pt x="1378717" y="3929485"/>
                      </a:cubicBezTo>
                      <a:cubicBezTo>
                        <a:pt x="1469696" y="3941224"/>
                        <a:pt x="1548935" y="3879593"/>
                        <a:pt x="1610565" y="3820898"/>
                      </a:cubicBezTo>
                      <a:cubicBezTo>
                        <a:pt x="1645783" y="3906007"/>
                        <a:pt x="1754370" y="3929485"/>
                        <a:pt x="1836544" y="3894267"/>
                      </a:cubicBezTo>
                      <a:cubicBezTo>
                        <a:pt x="1865892" y="3879593"/>
                        <a:pt x="1895239" y="3876659"/>
                        <a:pt x="1924587" y="3894267"/>
                      </a:cubicBezTo>
                      <a:cubicBezTo>
                        <a:pt x="1939261" y="3903072"/>
                        <a:pt x="1953935" y="3911876"/>
                        <a:pt x="1968609" y="3917746"/>
                      </a:cubicBezTo>
                      <a:cubicBezTo>
                        <a:pt x="1997957" y="3932420"/>
                        <a:pt x="2030239" y="3938289"/>
                        <a:pt x="2062522" y="3944159"/>
                      </a:cubicBezTo>
                      <a:cubicBezTo>
                        <a:pt x="2124152" y="3950028"/>
                        <a:pt x="2182848" y="3941224"/>
                        <a:pt x="2238609" y="3914811"/>
                      </a:cubicBezTo>
                      <a:cubicBezTo>
                        <a:pt x="2241543" y="3917746"/>
                        <a:pt x="2244479" y="3923615"/>
                        <a:pt x="2250347" y="3920681"/>
                      </a:cubicBezTo>
                      <a:cubicBezTo>
                        <a:pt x="2303175" y="3897202"/>
                        <a:pt x="2294369" y="3844376"/>
                        <a:pt x="2276761" y="3800354"/>
                      </a:cubicBezTo>
                      <a:cubicBezTo>
                        <a:pt x="2376545" y="3841442"/>
                        <a:pt x="2485130" y="3856116"/>
                        <a:pt x="2593717" y="3847311"/>
                      </a:cubicBezTo>
                      <a:cubicBezTo>
                        <a:pt x="2599587" y="3847311"/>
                        <a:pt x="2605457" y="3841442"/>
                        <a:pt x="2602521" y="3835572"/>
                      </a:cubicBezTo>
                      <a:cubicBezTo>
                        <a:pt x="2596653" y="3817963"/>
                        <a:pt x="2590783" y="3797420"/>
                        <a:pt x="2584913" y="3779811"/>
                      </a:cubicBezTo>
                      <a:cubicBezTo>
                        <a:pt x="2631869" y="3794485"/>
                        <a:pt x="2678827" y="3809159"/>
                        <a:pt x="2725783" y="3823833"/>
                      </a:cubicBezTo>
                      <a:cubicBezTo>
                        <a:pt x="2778608" y="3841442"/>
                        <a:pt x="2831436" y="3861985"/>
                        <a:pt x="2884262" y="3870789"/>
                      </a:cubicBezTo>
                      <a:cubicBezTo>
                        <a:pt x="2937087" y="3879593"/>
                        <a:pt x="3004587" y="3853181"/>
                        <a:pt x="3010457" y="3797420"/>
                      </a:cubicBezTo>
                      <a:cubicBezTo>
                        <a:pt x="3072087" y="3847311"/>
                        <a:pt x="3145456" y="3876659"/>
                        <a:pt x="3224696" y="3882528"/>
                      </a:cubicBezTo>
                      <a:cubicBezTo>
                        <a:pt x="3230566" y="3882528"/>
                        <a:pt x="3233500" y="3873724"/>
                        <a:pt x="3233500" y="3870789"/>
                      </a:cubicBezTo>
                      <a:cubicBezTo>
                        <a:pt x="3227631" y="3859050"/>
                        <a:pt x="3221762" y="3844376"/>
                        <a:pt x="3215892" y="3832637"/>
                      </a:cubicBezTo>
                      <a:cubicBezTo>
                        <a:pt x="3251109" y="3841442"/>
                        <a:pt x="3289261" y="3847311"/>
                        <a:pt x="3327413" y="3850246"/>
                      </a:cubicBezTo>
                      <a:cubicBezTo>
                        <a:pt x="3347957" y="3850246"/>
                        <a:pt x="3374371" y="3853181"/>
                        <a:pt x="3386109" y="3835572"/>
                      </a:cubicBezTo>
                      <a:cubicBezTo>
                        <a:pt x="3400783" y="3826768"/>
                        <a:pt x="3389045" y="3803289"/>
                        <a:pt x="3377305" y="3785680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3" name="任意多边形: 形状 182">
                  <a:extLst>
                    <a:ext uri="{FF2B5EF4-FFF2-40B4-BE49-F238E27FC236}">
                      <a16:creationId xmlns:a16="http://schemas.microsoft.com/office/drawing/2014/main" id="{187688DC-A00A-4FEF-859D-1EE31D126FC7}"/>
                    </a:ext>
                  </a:extLst>
                </p:cNvPr>
                <p:cNvSpPr/>
                <p:nvPr/>
              </p:nvSpPr>
              <p:spPr>
                <a:xfrm>
                  <a:off x="17048355" y="3390313"/>
                  <a:ext cx="526424" cy="290543"/>
                </a:xfrm>
                <a:custGeom>
                  <a:avLst/>
                  <a:gdLst>
                    <a:gd name="connsiteX0" fmla="*/ 375535 w 526424"/>
                    <a:gd name="connsiteY0" fmla="*/ 290544 h 290543"/>
                    <a:gd name="connsiteX1" fmla="*/ 228796 w 526424"/>
                    <a:gd name="connsiteY1" fmla="*/ 161413 h 290543"/>
                    <a:gd name="connsiteX2" fmla="*/ 178904 w 526424"/>
                    <a:gd name="connsiteY2" fmla="*/ 187826 h 290543"/>
                    <a:gd name="connsiteX3" fmla="*/ 126079 w 526424"/>
                    <a:gd name="connsiteY3" fmla="*/ 88043 h 290543"/>
                    <a:gd name="connsiteX4" fmla="*/ 38035 w 526424"/>
                    <a:gd name="connsiteY4" fmla="*/ 149674 h 290543"/>
                    <a:gd name="connsiteX5" fmla="*/ 32165 w 526424"/>
                    <a:gd name="connsiteY5" fmla="*/ 149674 h 290543"/>
                    <a:gd name="connsiteX6" fmla="*/ 5752 w 526424"/>
                    <a:gd name="connsiteY6" fmla="*/ 135000 h 290543"/>
                    <a:gd name="connsiteX7" fmla="*/ 26295 w 526424"/>
                    <a:gd name="connsiteY7" fmla="*/ 2935 h 290543"/>
                    <a:gd name="connsiteX8" fmla="*/ 32165 w 526424"/>
                    <a:gd name="connsiteY8" fmla="*/ 0 h 290543"/>
                    <a:gd name="connsiteX9" fmla="*/ 35100 w 526424"/>
                    <a:gd name="connsiteY9" fmla="*/ 5869 h 290543"/>
                    <a:gd name="connsiteX10" fmla="*/ 14556 w 526424"/>
                    <a:gd name="connsiteY10" fmla="*/ 126196 h 290543"/>
                    <a:gd name="connsiteX11" fmla="*/ 32165 w 526424"/>
                    <a:gd name="connsiteY11" fmla="*/ 135000 h 290543"/>
                    <a:gd name="connsiteX12" fmla="*/ 38035 w 526424"/>
                    <a:gd name="connsiteY12" fmla="*/ 135000 h 290543"/>
                    <a:gd name="connsiteX13" fmla="*/ 123144 w 526424"/>
                    <a:gd name="connsiteY13" fmla="*/ 67500 h 290543"/>
                    <a:gd name="connsiteX14" fmla="*/ 129013 w 526424"/>
                    <a:gd name="connsiteY14" fmla="*/ 64565 h 290543"/>
                    <a:gd name="connsiteX15" fmla="*/ 134883 w 526424"/>
                    <a:gd name="connsiteY15" fmla="*/ 67500 h 290543"/>
                    <a:gd name="connsiteX16" fmla="*/ 181839 w 526424"/>
                    <a:gd name="connsiteY16" fmla="*/ 173152 h 290543"/>
                    <a:gd name="connsiteX17" fmla="*/ 228796 w 526424"/>
                    <a:gd name="connsiteY17" fmla="*/ 143804 h 290543"/>
                    <a:gd name="connsiteX18" fmla="*/ 231730 w 526424"/>
                    <a:gd name="connsiteY18" fmla="*/ 140870 h 290543"/>
                    <a:gd name="connsiteX19" fmla="*/ 231730 w 526424"/>
                    <a:gd name="connsiteY19" fmla="*/ 140870 h 290543"/>
                    <a:gd name="connsiteX20" fmla="*/ 234665 w 526424"/>
                    <a:gd name="connsiteY20" fmla="*/ 143804 h 290543"/>
                    <a:gd name="connsiteX21" fmla="*/ 378469 w 526424"/>
                    <a:gd name="connsiteY21" fmla="*/ 272935 h 290543"/>
                    <a:gd name="connsiteX22" fmla="*/ 399013 w 526424"/>
                    <a:gd name="connsiteY22" fmla="*/ 38152 h 290543"/>
                    <a:gd name="connsiteX23" fmla="*/ 401947 w 526424"/>
                    <a:gd name="connsiteY23" fmla="*/ 32283 h 290543"/>
                    <a:gd name="connsiteX24" fmla="*/ 407817 w 526424"/>
                    <a:gd name="connsiteY24" fmla="*/ 35217 h 290543"/>
                    <a:gd name="connsiteX25" fmla="*/ 478253 w 526424"/>
                    <a:gd name="connsiteY25" fmla="*/ 90978 h 290543"/>
                    <a:gd name="connsiteX26" fmla="*/ 516404 w 526424"/>
                    <a:gd name="connsiteY26" fmla="*/ 26413 h 290543"/>
                    <a:gd name="connsiteX27" fmla="*/ 522274 w 526424"/>
                    <a:gd name="connsiteY27" fmla="*/ 23478 h 290543"/>
                    <a:gd name="connsiteX28" fmla="*/ 525208 w 526424"/>
                    <a:gd name="connsiteY28" fmla="*/ 29348 h 290543"/>
                    <a:gd name="connsiteX29" fmla="*/ 475317 w 526424"/>
                    <a:gd name="connsiteY29" fmla="*/ 102717 h 290543"/>
                    <a:gd name="connsiteX30" fmla="*/ 407817 w 526424"/>
                    <a:gd name="connsiteY30" fmla="*/ 55761 h 290543"/>
                    <a:gd name="connsiteX31" fmla="*/ 378469 w 526424"/>
                    <a:gd name="connsiteY31" fmla="*/ 284674 h 290543"/>
                    <a:gd name="connsiteX32" fmla="*/ 375535 w 526424"/>
                    <a:gd name="connsiteY32" fmla="*/ 290544 h 290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526424" h="290543">
                      <a:moveTo>
                        <a:pt x="375535" y="290544"/>
                      </a:moveTo>
                      <a:cubicBezTo>
                        <a:pt x="337383" y="290544"/>
                        <a:pt x="255209" y="193696"/>
                        <a:pt x="228796" y="161413"/>
                      </a:cubicBezTo>
                      <a:cubicBezTo>
                        <a:pt x="219991" y="170217"/>
                        <a:pt x="199448" y="187826"/>
                        <a:pt x="178904" y="187826"/>
                      </a:cubicBezTo>
                      <a:cubicBezTo>
                        <a:pt x="155426" y="187826"/>
                        <a:pt x="134883" y="123261"/>
                        <a:pt x="126079" y="88043"/>
                      </a:cubicBezTo>
                      <a:cubicBezTo>
                        <a:pt x="114339" y="108587"/>
                        <a:pt x="82057" y="149674"/>
                        <a:pt x="38035" y="149674"/>
                      </a:cubicBezTo>
                      <a:cubicBezTo>
                        <a:pt x="35100" y="149674"/>
                        <a:pt x="35100" y="149674"/>
                        <a:pt x="32165" y="149674"/>
                      </a:cubicBezTo>
                      <a:cubicBezTo>
                        <a:pt x="20426" y="149674"/>
                        <a:pt x="11621" y="143804"/>
                        <a:pt x="5752" y="135000"/>
                      </a:cubicBezTo>
                      <a:cubicBezTo>
                        <a:pt x="-14791" y="99783"/>
                        <a:pt x="26295" y="5869"/>
                        <a:pt x="26295" y="2935"/>
                      </a:cubicBezTo>
                      <a:cubicBezTo>
                        <a:pt x="26295" y="0"/>
                        <a:pt x="32165" y="0"/>
                        <a:pt x="32165" y="0"/>
                      </a:cubicBezTo>
                      <a:cubicBezTo>
                        <a:pt x="35100" y="0"/>
                        <a:pt x="35100" y="5869"/>
                        <a:pt x="35100" y="5869"/>
                      </a:cubicBezTo>
                      <a:cubicBezTo>
                        <a:pt x="23361" y="32283"/>
                        <a:pt x="-3053" y="102717"/>
                        <a:pt x="14556" y="126196"/>
                      </a:cubicBezTo>
                      <a:cubicBezTo>
                        <a:pt x="17491" y="132065"/>
                        <a:pt x="23361" y="135000"/>
                        <a:pt x="32165" y="135000"/>
                      </a:cubicBezTo>
                      <a:cubicBezTo>
                        <a:pt x="35100" y="135000"/>
                        <a:pt x="35100" y="135000"/>
                        <a:pt x="38035" y="135000"/>
                      </a:cubicBezTo>
                      <a:cubicBezTo>
                        <a:pt x="90861" y="135000"/>
                        <a:pt x="123144" y="70435"/>
                        <a:pt x="123144" y="67500"/>
                      </a:cubicBezTo>
                      <a:cubicBezTo>
                        <a:pt x="123144" y="64565"/>
                        <a:pt x="126079" y="64565"/>
                        <a:pt x="129013" y="64565"/>
                      </a:cubicBezTo>
                      <a:cubicBezTo>
                        <a:pt x="131948" y="64565"/>
                        <a:pt x="131948" y="67500"/>
                        <a:pt x="134883" y="67500"/>
                      </a:cubicBezTo>
                      <a:cubicBezTo>
                        <a:pt x="146622" y="117391"/>
                        <a:pt x="167165" y="173152"/>
                        <a:pt x="181839" y="173152"/>
                      </a:cubicBezTo>
                      <a:cubicBezTo>
                        <a:pt x="205317" y="173152"/>
                        <a:pt x="228796" y="143804"/>
                        <a:pt x="228796" y="143804"/>
                      </a:cubicBezTo>
                      <a:cubicBezTo>
                        <a:pt x="228796" y="143804"/>
                        <a:pt x="231730" y="140870"/>
                        <a:pt x="231730" y="140870"/>
                      </a:cubicBezTo>
                      <a:lnTo>
                        <a:pt x="231730" y="140870"/>
                      </a:lnTo>
                      <a:cubicBezTo>
                        <a:pt x="234665" y="140870"/>
                        <a:pt x="234665" y="140870"/>
                        <a:pt x="234665" y="143804"/>
                      </a:cubicBezTo>
                      <a:cubicBezTo>
                        <a:pt x="278687" y="196630"/>
                        <a:pt x="354991" y="278804"/>
                        <a:pt x="378469" y="272935"/>
                      </a:cubicBezTo>
                      <a:cubicBezTo>
                        <a:pt x="399013" y="267065"/>
                        <a:pt x="404883" y="149674"/>
                        <a:pt x="399013" y="38152"/>
                      </a:cubicBezTo>
                      <a:cubicBezTo>
                        <a:pt x="399013" y="35217"/>
                        <a:pt x="399013" y="32283"/>
                        <a:pt x="401947" y="32283"/>
                      </a:cubicBezTo>
                      <a:cubicBezTo>
                        <a:pt x="404883" y="32283"/>
                        <a:pt x="407817" y="32283"/>
                        <a:pt x="407817" y="35217"/>
                      </a:cubicBezTo>
                      <a:cubicBezTo>
                        <a:pt x="419557" y="49891"/>
                        <a:pt x="457709" y="90978"/>
                        <a:pt x="478253" y="90978"/>
                      </a:cubicBezTo>
                      <a:cubicBezTo>
                        <a:pt x="492926" y="90978"/>
                        <a:pt x="510534" y="49891"/>
                        <a:pt x="516404" y="26413"/>
                      </a:cubicBezTo>
                      <a:cubicBezTo>
                        <a:pt x="516404" y="23478"/>
                        <a:pt x="519338" y="20543"/>
                        <a:pt x="522274" y="23478"/>
                      </a:cubicBezTo>
                      <a:cubicBezTo>
                        <a:pt x="525208" y="23478"/>
                        <a:pt x="528144" y="26413"/>
                        <a:pt x="525208" y="29348"/>
                      </a:cubicBezTo>
                      <a:cubicBezTo>
                        <a:pt x="522274" y="38152"/>
                        <a:pt x="504665" y="102717"/>
                        <a:pt x="475317" y="102717"/>
                      </a:cubicBezTo>
                      <a:cubicBezTo>
                        <a:pt x="454775" y="102717"/>
                        <a:pt x="422491" y="73370"/>
                        <a:pt x="407817" y="55761"/>
                      </a:cubicBezTo>
                      <a:cubicBezTo>
                        <a:pt x="410753" y="114456"/>
                        <a:pt x="410753" y="275870"/>
                        <a:pt x="378469" y="284674"/>
                      </a:cubicBezTo>
                      <a:cubicBezTo>
                        <a:pt x="378469" y="290544"/>
                        <a:pt x="375535" y="290544"/>
                        <a:pt x="375535" y="290544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4" name="任意多边形: 形状 183">
                  <a:extLst>
                    <a:ext uri="{FF2B5EF4-FFF2-40B4-BE49-F238E27FC236}">
                      <a16:creationId xmlns:a16="http://schemas.microsoft.com/office/drawing/2014/main" id="{77E861A3-89D4-46B0-877E-84D84503EA9E}"/>
                    </a:ext>
                  </a:extLst>
                </p:cNvPr>
                <p:cNvSpPr/>
                <p:nvPr/>
              </p:nvSpPr>
              <p:spPr>
                <a:xfrm>
                  <a:off x="17559623" y="3904633"/>
                  <a:ext cx="634336" cy="231114"/>
                </a:xfrm>
                <a:custGeom>
                  <a:avLst/>
                  <a:gdLst>
                    <a:gd name="connsiteX0" fmla="*/ 565679 w 634336"/>
                    <a:gd name="connsiteY0" fmla="*/ 228179 h 231114"/>
                    <a:gd name="connsiteX1" fmla="*/ 474701 w 634336"/>
                    <a:gd name="connsiteY1" fmla="*/ 181223 h 231114"/>
                    <a:gd name="connsiteX2" fmla="*/ 448287 w 634336"/>
                    <a:gd name="connsiteY2" fmla="*/ 207636 h 231114"/>
                    <a:gd name="connsiteX3" fmla="*/ 316222 w 634336"/>
                    <a:gd name="connsiteY3" fmla="*/ 160679 h 231114"/>
                    <a:gd name="connsiteX4" fmla="*/ 283940 w 634336"/>
                    <a:gd name="connsiteY4" fmla="*/ 131332 h 231114"/>
                    <a:gd name="connsiteX5" fmla="*/ 301548 w 634336"/>
                    <a:gd name="connsiteY5" fmla="*/ 210571 h 231114"/>
                    <a:gd name="connsiteX6" fmla="*/ 292744 w 634336"/>
                    <a:gd name="connsiteY6" fmla="*/ 213505 h 231114"/>
                    <a:gd name="connsiteX7" fmla="*/ 148941 w 634336"/>
                    <a:gd name="connsiteY7" fmla="*/ 154810 h 231114"/>
                    <a:gd name="connsiteX8" fmla="*/ 101983 w 634336"/>
                    <a:gd name="connsiteY8" fmla="*/ 213505 h 231114"/>
                    <a:gd name="connsiteX9" fmla="*/ 101983 w 634336"/>
                    <a:gd name="connsiteY9" fmla="*/ 213505 h 231114"/>
                    <a:gd name="connsiteX10" fmla="*/ 2202 w 634336"/>
                    <a:gd name="connsiteY10" fmla="*/ 163614 h 231114"/>
                    <a:gd name="connsiteX11" fmla="*/ 2202 w 634336"/>
                    <a:gd name="connsiteY11" fmla="*/ 154810 h 231114"/>
                    <a:gd name="connsiteX12" fmla="*/ 11006 w 634336"/>
                    <a:gd name="connsiteY12" fmla="*/ 154810 h 231114"/>
                    <a:gd name="connsiteX13" fmla="*/ 101983 w 634336"/>
                    <a:gd name="connsiteY13" fmla="*/ 204701 h 231114"/>
                    <a:gd name="connsiteX14" fmla="*/ 101983 w 634336"/>
                    <a:gd name="connsiteY14" fmla="*/ 204701 h 231114"/>
                    <a:gd name="connsiteX15" fmla="*/ 140135 w 634336"/>
                    <a:gd name="connsiteY15" fmla="*/ 148940 h 231114"/>
                    <a:gd name="connsiteX16" fmla="*/ 143071 w 634336"/>
                    <a:gd name="connsiteY16" fmla="*/ 146005 h 231114"/>
                    <a:gd name="connsiteX17" fmla="*/ 148941 w 634336"/>
                    <a:gd name="connsiteY17" fmla="*/ 146005 h 231114"/>
                    <a:gd name="connsiteX18" fmla="*/ 295680 w 634336"/>
                    <a:gd name="connsiteY18" fmla="*/ 207636 h 231114"/>
                    <a:gd name="connsiteX19" fmla="*/ 263396 w 634336"/>
                    <a:gd name="connsiteY19" fmla="*/ 116658 h 231114"/>
                    <a:gd name="connsiteX20" fmla="*/ 266332 w 634336"/>
                    <a:gd name="connsiteY20" fmla="*/ 110788 h 231114"/>
                    <a:gd name="connsiteX21" fmla="*/ 272200 w 634336"/>
                    <a:gd name="connsiteY21" fmla="*/ 110788 h 231114"/>
                    <a:gd name="connsiteX22" fmla="*/ 325028 w 634336"/>
                    <a:gd name="connsiteY22" fmla="*/ 157745 h 231114"/>
                    <a:gd name="connsiteX23" fmla="*/ 445353 w 634336"/>
                    <a:gd name="connsiteY23" fmla="*/ 201766 h 231114"/>
                    <a:gd name="connsiteX24" fmla="*/ 465897 w 634336"/>
                    <a:gd name="connsiteY24" fmla="*/ 172419 h 231114"/>
                    <a:gd name="connsiteX25" fmla="*/ 468831 w 634336"/>
                    <a:gd name="connsiteY25" fmla="*/ 169484 h 231114"/>
                    <a:gd name="connsiteX26" fmla="*/ 474701 w 634336"/>
                    <a:gd name="connsiteY26" fmla="*/ 172419 h 231114"/>
                    <a:gd name="connsiteX27" fmla="*/ 562745 w 634336"/>
                    <a:gd name="connsiteY27" fmla="*/ 222310 h 231114"/>
                    <a:gd name="connsiteX28" fmla="*/ 565679 w 634336"/>
                    <a:gd name="connsiteY28" fmla="*/ 222310 h 231114"/>
                    <a:gd name="connsiteX29" fmla="*/ 606766 w 634336"/>
                    <a:gd name="connsiteY29" fmla="*/ 195897 h 231114"/>
                    <a:gd name="connsiteX30" fmla="*/ 595027 w 634336"/>
                    <a:gd name="connsiteY30" fmla="*/ 104918 h 231114"/>
                    <a:gd name="connsiteX31" fmla="*/ 495245 w 634336"/>
                    <a:gd name="connsiteY31" fmla="*/ 11005 h 231114"/>
                    <a:gd name="connsiteX32" fmla="*/ 495245 w 634336"/>
                    <a:gd name="connsiteY32" fmla="*/ 2201 h 231114"/>
                    <a:gd name="connsiteX33" fmla="*/ 504049 w 634336"/>
                    <a:gd name="connsiteY33" fmla="*/ 2201 h 231114"/>
                    <a:gd name="connsiteX34" fmla="*/ 603832 w 634336"/>
                    <a:gd name="connsiteY34" fmla="*/ 96114 h 231114"/>
                    <a:gd name="connsiteX35" fmla="*/ 615570 w 634336"/>
                    <a:gd name="connsiteY35" fmla="*/ 201766 h 231114"/>
                    <a:gd name="connsiteX36" fmla="*/ 565679 w 634336"/>
                    <a:gd name="connsiteY36" fmla="*/ 231114 h 231114"/>
                    <a:gd name="connsiteX37" fmla="*/ 565679 w 634336"/>
                    <a:gd name="connsiteY37" fmla="*/ 228179 h 231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634336" h="231114">
                      <a:moveTo>
                        <a:pt x="565679" y="228179"/>
                      </a:moveTo>
                      <a:cubicBezTo>
                        <a:pt x="527527" y="228179"/>
                        <a:pt x="489375" y="195897"/>
                        <a:pt x="474701" y="181223"/>
                      </a:cubicBezTo>
                      <a:cubicBezTo>
                        <a:pt x="468831" y="195897"/>
                        <a:pt x="460027" y="204701"/>
                        <a:pt x="448287" y="207636"/>
                      </a:cubicBezTo>
                      <a:cubicBezTo>
                        <a:pt x="407202" y="222310"/>
                        <a:pt x="336766" y="175353"/>
                        <a:pt x="316222" y="160679"/>
                      </a:cubicBezTo>
                      <a:lnTo>
                        <a:pt x="283940" y="131332"/>
                      </a:lnTo>
                      <a:cubicBezTo>
                        <a:pt x="295680" y="160679"/>
                        <a:pt x="310354" y="198831"/>
                        <a:pt x="301548" y="210571"/>
                      </a:cubicBezTo>
                      <a:cubicBezTo>
                        <a:pt x="298614" y="213505"/>
                        <a:pt x="295680" y="213505"/>
                        <a:pt x="292744" y="213505"/>
                      </a:cubicBezTo>
                      <a:cubicBezTo>
                        <a:pt x="272200" y="210571"/>
                        <a:pt x="178289" y="166549"/>
                        <a:pt x="148941" y="154810"/>
                      </a:cubicBezTo>
                      <a:cubicBezTo>
                        <a:pt x="146005" y="172419"/>
                        <a:pt x="131331" y="213505"/>
                        <a:pt x="101983" y="213505"/>
                      </a:cubicBezTo>
                      <a:cubicBezTo>
                        <a:pt x="101983" y="213505"/>
                        <a:pt x="101983" y="213505"/>
                        <a:pt x="101983" y="213505"/>
                      </a:cubicBezTo>
                      <a:cubicBezTo>
                        <a:pt x="66766" y="213505"/>
                        <a:pt x="5136" y="163614"/>
                        <a:pt x="2202" y="163614"/>
                      </a:cubicBezTo>
                      <a:cubicBezTo>
                        <a:pt x="-734" y="160679"/>
                        <a:pt x="-734" y="157745"/>
                        <a:pt x="2202" y="154810"/>
                      </a:cubicBezTo>
                      <a:cubicBezTo>
                        <a:pt x="5136" y="151875"/>
                        <a:pt x="8070" y="151875"/>
                        <a:pt x="11006" y="154810"/>
                      </a:cubicBezTo>
                      <a:cubicBezTo>
                        <a:pt x="11006" y="154810"/>
                        <a:pt x="72636" y="204701"/>
                        <a:pt x="101983" y="204701"/>
                      </a:cubicBezTo>
                      <a:cubicBezTo>
                        <a:pt x="101983" y="204701"/>
                        <a:pt x="101983" y="204701"/>
                        <a:pt x="101983" y="204701"/>
                      </a:cubicBezTo>
                      <a:cubicBezTo>
                        <a:pt x="125461" y="204701"/>
                        <a:pt x="137201" y="163614"/>
                        <a:pt x="140135" y="148940"/>
                      </a:cubicBezTo>
                      <a:cubicBezTo>
                        <a:pt x="140135" y="146005"/>
                        <a:pt x="140135" y="146005"/>
                        <a:pt x="143071" y="146005"/>
                      </a:cubicBezTo>
                      <a:cubicBezTo>
                        <a:pt x="143071" y="146005"/>
                        <a:pt x="146005" y="146005"/>
                        <a:pt x="148941" y="146005"/>
                      </a:cubicBezTo>
                      <a:cubicBezTo>
                        <a:pt x="184157" y="163614"/>
                        <a:pt x="278070" y="204701"/>
                        <a:pt x="295680" y="207636"/>
                      </a:cubicBezTo>
                      <a:cubicBezTo>
                        <a:pt x="298614" y="201766"/>
                        <a:pt x="283940" y="160679"/>
                        <a:pt x="263396" y="116658"/>
                      </a:cubicBezTo>
                      <a:cubicBezTo>
                        <a:pt x="263396" y="113723"/>
                        <a:pt x="263396" y="110788"/>
                        <a:pt x="266332" y="110788"/>
                      </a:cubicBezTo>
                      <a:cubicBezTo>
                        <a:pt x="269266" y="107853"/>
                        <a:pt x="272200" y="110788"/>
                        <a:pt x="272200" y="110788"/>
                      </a:cubicBezTo>
                      <a:lnTo>
                        <a:pt x="325028" y="157745"/>
                      </a:lnTo>
                      <a:cubicBezTo>
                        <a:pt x="363180" y="184157"/>
                        <a:pt x="416006" y="213505"/>
                        <a:pt x="445353" y="201766"/>
                      </a:cubicBezTo>
                      <a:cubicBezTo>
                        <a:pt x="457093" y="198831"/>
                        <a:pt x="462961" y="187092"/>
                        <a:pt x="465897" y="172419"/>
                      </a:cubicBezTo>
                      <a:cubicBezTo>
                        <a:pt x="465897" y="169484"/>
                        <a:pt x="468831" y="169484"/>
                        <a:pt x="468831" y="169484"/>
                      </a:cubicBezTo>
                      <a:cubicBezTo>
                        <a:pt x="471767" y="169484"/>
                        <a:pt x="471767" y="169484"/>
                        <a:pt x="474701" y="172419"/>
                      </a:cubicBezTo>
                      <a:cubicBezTo>
                        <a:pt x="474701" y="172419"/>
                        <a:pt x="521657" y="222310"/>
                        <a:pt x="562745" y="222310"/>
                      </a:cubicBezTo>
                      <a:cubicBezTo>
                        <a:pt x="562745" y="222310"/>
                        <a:pt x="565679" y="222310"/>
                        <a:pt x="565679" y="222310"/>
                      </a:cubicBezTo>
                      <a:cubicBezTo>
                        <a:pt x="580353" y="222310"/>
                        <a:pt x="595027" y="213505"/>
                        <a:pt x="606766" y="195897"/>
                      </a:cubicBezTo>
                      <a:cubicBezTo>
                        <a:pt x="618506" y="181223"/>
                        <a:pt x="639048" y="148940"/>
                        <a:pt x="595027" y="104918"/>
                      </a:cubicBezTo>
                      <a:cubicBezTo>
                        <a:pt x="548071" y="60897"/>
                        <a:pt x="495245" y="13940"/>
                        <a:pt x="495245" y="11005"/>
                      </a:cubicBezTo>
                      <a:cubicBezTo>
                        <a:pt x="492309" y="8071"/>
                        <a:pt x="492309" y="5136"/>
                        <a:pt x="495245" y="2201"/>
                      </a:cubicBezTo>
                      <a:cubicBezTo>
                        <a:pt x="498179" y="-734"/>
                        <a:pt x="501115" y="-734"/>
                        <a:pt x="504049" y="2201"/>
                      </a:cubicBezTo>
                      <a:cubicBezTo>
                        <a:pt x="504049" y="2201"/>
                        <a:pt x="556875" y="52092"/>
                        <a:pt x="603832" y="96114"/>
                      </a:cubicBezTo>
                      <a:cubicBezTo>
                        <a:pt x="656658" y="146005"/>
                        <a:pt x="627310" y="187092"/>
                        <a:pt x="615570" y="201766"/>
                      </a:cubicBezTo>
                      <a:cubicBezTo>
                        <a:pt x="603832" y="219375"/>
                        <a:pt x="586223" y="231114"/>
                        <a:pt x="565679" y="231114"/>
                      </a:cubicBezTo>
                      <a:cubicBezTo>
                        <a:pt x="568615" y="228179"/>
                        <a:pt x="565679" y="228179"/>
                        <a:pt x="565679" y="228179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5" name="任意多边形: 形状 184">
                  <a:extLst>
                    <a:ext uri="{FF2B5EF4-FFF2-40B4-BE49-F238E27FC236}">
                      <a16:creationId xmlns:a16="http://schemas.microsoft.com/office/drawing/2014/main" id="{ED66CACB-28BC-43C4-AFF9-9F601BAB6A35}"/>
                    </a:ext>
                  </a:extLst>
                </p:cNvPr>
                <p:cNvSpPr/>
                <p:nvPr/>
              </p:nvSpPr>
              <p:spPr>
                <a:xfrm>
                  <a:off x="16068020" y="4074851"/>
                  <a:ext cx="938396" cy="172418"/>
                </a:xfrm>
                <a:custGeom>
                  <a:avLst/>
                  <a:gdLst>
                    <a:gd name="connsiteX0" fmla="*/ 64566 w 938396"/>
                    <a:gd name="connsiteY0" fmla="*/ 172418 h 172418"/>
                    <a:gd name="connsiteX1" fmla="*/ 11739 w 938396"/>
                    <a:gd name="connsiteY1" fmla="*/ 157745 h 172418"/>
                    <a:gd name="connsiteX2" fmla="*/ 0 w 938396"/>
                    <a:gd name="connsiteY2" fmla="*/ 131331 h 172418"/>
                    <a:gd name="connsiteX3" fmla="*/ 93913 w 938396"/>
                    <a:gd name="connsiteY3" fmla="*/ 2201 h 172418"/>
                    <a:gd name="connsiteX4" fmla="*/ 102717 w 938396"/>
                    <a:gd name="connsiteY4" fmla="*/ 2201 h 172418"/>
                    <a:gd name="connsiteX5" fmla="*/ 102717 w 938396"/>
                    <a:gd name="connsiteY5" fmla="*/ 11005 h 172418"/>
                    <a:gd name="connsiteX6" fmla="*/ 11739 w 938396"/>
                    <a:gd name="connsiteY6" fmla="*/ 131331 h 172418"/>
                    <a:gd name="connsiteX7" fmla="*/ 20544 w 938396"/>
                    <a:gd name="connsiteY7" fmla="*/ 148940 h 172418"/>
                    <a:gd name="connsiteX8" fmla="*/ 334565 w 938396"/>
                    <a:gd name="connsiteY8" fmla="*/ 31549 h 172418"/>
                    <a:gd name="connsiteX9" fmla="*/ 340435 w 938396"/>
                    <a:gd name="connsiteY9" fmla="*/ 31549 h 172418"/>
                    <a:gd name="connsiteX10" fmla="*/ 343370 w 938396"/>
                    <a:gd name="connsiteY10" fmla="*/ 34484 h 172418"/>
                    <a:gd name="connsiteX11" fmla="*/ 381522 w 938396"/>
                    <a:gd name="connsiteY11" fmla="*/ 78506 h 172418"/>
                    <a:gd name="connsiteX12" fmla="*/ 498913 w 938396"/>
                    <a:gd name="connsiteY12" fmla="*/ 16875 h 172418"/>
                    <a:gd name="connsiteX13" fmla="*/ 504783 w 938396"/>
                    <a:gd name="connsiteY13" fmla="*/ 16875 h 172418"/>
                    <a:gd name="connsiteX14" fmla="*/ 507717 w 938396"/>
                    <a:gd name="connsiteY14" fmla="*/ 22745 h 172418"/>
                    <a:gd name="connsiteX15" fmla="*/ 487174 w 938396"/>
                    <a:gd name="connsiteY15" fmla="*/ 148940 h 172418"/>
                    <a:gd name="connsiteX16" fmla="*/ 548805 w 938396"/>
                    <a:gd name="connsiteY16" fmla="*/ 146005 h 172418"/>
                    <a:gd name="connsiteX17" fmla="*/ 742500 w 938396"/>
                    <a:gd name="connsiteY17" fmla="*/ 5136 h 172418"/>
                    <a:gd name="connsiteX18" fmla="*/ 748370 w 938396"/>
                    <a:gd name="connsiteY18" fmla="*/ 2201 h 172418"/>
                    <a:gd name="connsiteX19" fmla="*/ 754240 w 938396"/>
                    <a:gd name="connsiteY19" fmla="*/ 5136 h 172418"/>
                    <a:gd name="connsiteX20" fmla="*/ 815869 w 938396"/>
                    <a:gd name="connsiteY20" fmla="*/ 16875 h 172418"/>
                    <a:gd name="connsiteX21" fmla="*/ 821739 w 938396"/>
                    <a:gd name="connsiteY21" fmla="*/ 16875 h 172418"/>
                    <a:gd name="connsiteX22" fmla="*/ 821739 w 938396"/>
                    <a:gd name="connsiteY22" fmla="*/ 22745 h 172418"/>
                    <a:gd name="connsiteX23" fmla="*/ 812935 w 938396"/>
                    <a:gd name="connsiteY23" fmla="*/ 104919 h 172418"/>
                    <a:gd name="connsiteX24" fmla="*/ 815869 w 938396"/>
                    <a:gd name="connsiteY24" fmla="*/ 107853 h 172418"/>
                    <a:gd name="connsiteX25" fmla="*/ 927392 w 938396"/>
                    <a:gd name="connsiteY25" fmla="*/ 28614 h 172418"/>
                    <a:gd name="connsiteX26" fmla="*/ 936195 w 938396"/>
                    <a:gd name="connsiteY26" fmla="*/ 28614 h 172418"/>
                    <a:gd name="connsiteX27" fmla="*/ 936195 w 938396"/>
                    <a:gd name="connsiteY27" fmla="*/ 37419 h 172418"/>
                    <a:gd name="connsiteX28" fmla="*/ 815869 w 938396"/>
                    <a:gd name="connsiteY28" fmla="*/ 119593 h 172418"/>
                    <a:gd name="connsiteX29" fmla="*/ 804130 w 938396"/>
                    <a:gd name="connsiteY29" fmla="*/ 113723 h 172418"/>
                    <a:gd name="connsiteX30" fmla="*/ 810000 w 938396"/>
                    <a:gd name="connsiteY30" fmla="*/ 28614 h 172418"/>
                    <a:gd name="connsiteX31" fmla="*/ 751305 w 938396"/>
                    <a:gd name="connsiteY31" fmla="*/ 16875 h 172418"/>
                    <a:gd name="connsiteX32" fmla="*/ 557609 w 938396"/>
                    <a:gd name="connsiteY32" fmla="*/ 157745 h 172418"/>
                    <a:gd name="connsiteX33" fmla="*/ 484239 w 938396"/>
                    <a:gd name="connsiteY33" fmla="*/ 157745 h 172418"/>
                    <a:gd name="connsiteX34" fmla="*/ 490109 w 938396"/>
                    <a:gd name="connsiteY34" fmla="*/ 46223 h 172418"/>
                    <a:gd name="connsiteX35" fmla="*/ 381522 w 938396"/>
                    <a:gd name="connsiteY35" fmla="*/ 93179 h 172418"/>
                    <a:gd name="connsiteX36" fmla="*/ 340435 w 938396"/>
                    <a:gd name="connsiteY36" fmla="*/ 49158 h 172418"/>
                    <a:gd name="connsiteX37" fmla="*/ 64566 w 938396"/>
                    <a:gd name="connsiteY37" fmla="*/ 172418 h 1724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938396" h="172418">
                      <a:moveTo>
                        <a:pt x="64566" y="172418"/>
                      </a:moveTo>
                      <a:cubicBezTo>
                        <a:pt x="44022" y="172418"/>
                        <a:pt x="23478" y="166549"/>
                        <a:pt x="11739" y="157745"/>
                      </a:cubicBezTo>
                      <a:cubicBezTo>
                        <a:pt x="2935" y="151875"/>
                        <a:pt x="0" y="143071"/>
                        <a:pt x="0" y="131331"/>
                      </a:cubicBezTo>
                      <a:cubicBezTo>
                        <a:pt x="0" y="81440"/>
                        <a:pt x="90978" y="5136"/>
                        <a:pt x="93913" y="2201"/>
                      </a:cubicBezTo>
                      <a:cubicBezTo>
                        <a:pt x="96847" y="-734"/>
                        <a:pt x="99782" y="-734"/>
                        <a:pt x="102717" y="2201"/>
                      </a:cubicBezTo>
                      <a:cubicBezTo>
                        <a:pt x="105652" y="5136"/>
                        <a:pt x="105652" y="8071"/>
                        <a:pt x="102717" y="11005"/>
                      </a:cubicBezTo>
                      <a:cubicBezTo>
                        <a:pt x="102717" y="11005"/>
                        <a:pt x="11739" y="87310"/>
                        <a:pt x="11739" y="131331"/>
                      </a:cubicBezTo>
                      <a:cubicBezTo>
                        <a:pt x="11739" y="137201"/>
                        <a:pt x="14674" y="143071"/>
                        <a:pt x="20544" y="148940"/>
                      </a:cubicBezTo>
                      <a:cubicBezTo>
                        <a:pt x="58696" y="184158"/>
                        <a:pt x="184891" y="154810"/>
                        <a:pt x="334565" y="31549"/>
                      </a:cubicBezTo>
                      <a:cubicBezTo>
                        <a:pt x="334565" y="31549"/>
                        <a:pt x="337500" y="28614"/>
                        <a:pt x="340435" y="31549"/>
                      </a:cubicBezTo>
                      <a:cubicBezTo>
                        <a:pt x="343370" y="31549"/>
                        <a:pt x="343370" y="34484"/>
                        <a:pt x="343370" y="34484"/>
                      </a:cubicBezTo>
                      <a:cubicBezTo>
                        <a:pt x="343370" y="34484"/>
                        <a:pt x="352174" y="72636"/>
                        <a:pt x="381522" y="78506"/>
                      </a:cubicBezTo>
                      <a:cubicBezTo>
                        <a:pt x="410870" y="87310"/>
                        <a:pt x="451956" y="63832"/>
                        <a:pt x="498913" y="16875"/>
                      </a:cubicBezTo>
                      <a:cubicBezTo>
                        <a:pt x="501848" y="13940"/>
                        <a:pt x="504783" y="13940"/>
                        <a:pt x="504783" y="16875"/>
                      </a:cubicBezTo>
                      <a:cubicBezTo>
                        <a:pt x="507717" y="19810"/>
                        <a:pt x="507717" y="19810"/>
                        <a:pt x="507717" y="22745"/>
                      </a:cubicBezTo>
                      <a:cubicBezTo>
                        <a:pt x="495978" y="49158"/>
                        <a:pt x="466630" y="125462"/>
                        <a:pt x="487174" y="148940"/>
                      </a:cubicBezTo>
                      <a:cubicBezTo>
                        <a:pt x="498913" y="160679"/>
                        <a:pt x="519457" y="157745"/>
                        <a:pt x="548805" y="146005"/>
                      </a:cubicBezTo>
                      <a:cubicBezTo>
                        <a:pt x="683804" y="93179"/>
                        <a:pt x="742500" y="5136"/>
                        <a:pt x="742500" y="5136"/>
                      </a:cubicBezTo>
                      <a:cubicBezTo>
                        <a:pt x="742500" y="2201"/>
                        <a:pt x="745435" y="2201"/>
                        <a:pt x="748370" y="2201"/>
                      </a:cubicBezTo>
                      <a:cubicBezTo>
                        <a:pt x="751305" y="2201"/>
                        <a:pt x="751305" y="2201"/>
                        <a:pt x="754240" y="5136"/>
                      </a:cubicBezTo>
                      <a:cubicBezTo>
                        <a:pt x="754240" y="5136"/>
                        <a:pt x="768913" y="28614"/>
                        <a:pt x="815869" y="16875"/>
                      </a:cubicBezTo>
                      <a:cubicBezTo>
                        <a:pt x="818804" y="16875"/>
                        <a:pt x="818804" y="16875"/>
                        <a:pt x="821739" y="16875"/>
                      </a:cubicBezTo>
                      <a:cubicBezTo>
                        <a:pt x="821739" y="16875"/>
                        <a:pt x="824674" y="19810"/>
                        <a:pt x="821739" y="22745"/>
                      </a:cubicBezTo>
                      <a:cubicBezTo>
                        <a:pt x="812935" y="49158"/>
                        <a:pt x="804130" y="96114"/>
                        <a:pt x="812935" y="104919"/>
                      </a:cubicBezTo>
                      <a:cubicBezTo>
                        <a:pt x="812935" y="104919"/>
                        <a:pt x="815869" y="107853"/>
                        <a:pt x="815869" y="107853"/>
                      </a:cubicBezTo>
                      <a:cubicBezTo>
                        <a:pt x="836413" y="107853"/>
                        <a:pt x="895109" y="60897"/>
                        <a:pt x="927392" y="28614"/>
                      </a:cubicBezTo>
                      <a:cubicBezTo>
                        <a:pt x="930326" y="25679"/>
                        <a:pt x="933261" y="25679"/>
                        <a:pt x="936195" y="28614"/>
                      </a:cubicBezTo>
                      <a:cubicBezTo>
                        <a:pt x="939130" y="31549"/>
                        <a:pt x="939130" y="34484"/>
                        <a:pt x="936195" y="37419"/>
                      </a:cubicBezTo>
                      <a:cubicBezTo>
                        <a:pt x="927392" y="46223"/>
                        <a:pt x="848152" y="119593"/>
                        <a:pt x="815869" y="119593"/>
                      </a:cubicBezTo>
                      <a:cubicBezTo>
                        <a:pt x="810000" y="119593"/>
                        <a:pt x="807065" y="116658"/>
                        <a:pt x="804130" y="113723"/>
                      </a:cubicBezTo>
                      <a:cubicBezTo>
                        <a:pt x="792391" y="96114"/>
                        <a:pt x="804130" y="49158"/>
                        <a:pt x="810000" y="28614"/>
                      </a:cubicBezTo>
                      <a:cubicBezTo>
                        <a:pt x="777717" y="34484"/>
                        <a:pt x="760109" y="25679"/>
                        <a:pt x="751305" y="16875"/>
                      </a:cubicBezTo>
                      <a:cubicBezTo>
                        <a:pt x="736631" y="37419"/>
                        <a:pt x="675000" y="110788"/>
                        <a:pt x="557609" y="157745"/>
                      </a:cubicBezTo>
                      <a:cubicBezTo>
                        <a:pt x="522391" y="172418"/>
                        <a:pt x="495978" y="172418"/>
                        <a:pt x="484239" y="157745"/>
                      </a:cubicBezTo>
                      <a:cubicBezTo>
                        <a:pt x="460761" y="134266"/>
                        <a:pt x="478369" y="78506"/>
                        <a:pt x="490109" y="46223"/>
                      </a:cubicBezTo>
                      <a:cubicBezTo>
                        <a:pt x="446087" y="84375"/>
                        <a:pt x="410870" y="101984"/>
                        <a:pt x="381522" y="93179"/>
                      </a:cubicBezTo>
                      <a:cubicBezTo>
                        <a:pt x="355109" y="84375"/>
                        <a:pt x="343370" y="60897"/>
                        <a:pt x="340435" y="49158"/>
                      </a:cubicBezTo>
                      <a:cubicBezTo>
                        <a:pt x="228913" y="125462"/>
                        <a:pt x="129130" y="172418"/>
                        <a:pt x="64566" y="172418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6" name="任意多边形: 形状 185">
                  <a:extLst>
                    <a:ext uri="{FF2B5EF4-FFF2-40B4-BE49-F238E27FC236}">
                      <a16:creationId xmlns:a16="http://schemas.microsoft.com/office/drawing/2014/main" id="{6F1F2A8A-5B68-438B-BB67-10FE8BF50CB9}"/>
                    </a:ext>
                  </a:extLst>
                </p:cNvPr>
                <p:cNvSpPr/>
                <p:nvPr/>
              </p:nvSpPr>
              <p:spPr>
                <a:xfrm>
                  <a:off x="15947078" y="4887785"/>
                  <a:ext cx="1006512" cy="251657"/>
                </a:xfrm>
                <a:custGeom>
                  <a:avLst/>
                  <a:gdLst>
                    <a:gd name="connsiteX0" fmla="*/ 587572 w 1006512"/>
                    <a:gd name="connsiteY0" fmla="*/ 251658 h 251657"/>
                    <a:gd name="connsiteX1" fmla="*/ 540616 w 1006512"/>
                    <a:gd name="connsiteY1" fmla="*/ 231114 h 251657"/>
                    <a:gd name="connsiteX2" fmla="*/ 514203 w 1006512"/>
                    <a:gd name="connsiteY2" fmla="*/ 90245 h 251657"/>
                    <a:gd name="connsiteX3" fmla="*/ 452572 w 1006512"/>
                    <a:gd name="connsiteY3" fmla="*/ 78505 h 251657"/>
                    <a:gd name="connsiteX4" fmla="*/ 429094 w 1006512"/>
                    <a:gd name="connsiteY4" fmla="*/ 34484 h 251657"/>
                    <a:gd name="connsiteX5" fmla="*/ 244203 w 1006512"/>
                    <a:gd name="connsiteY5" fmla="*/ 172419 h 251657"/>
                    <a:gd name="connsiteX6" fmla="*/ 100398 w 1006512"/>
                    <a:gd name="connsiteY6" fmla="*/ 198831 h 251657"/>
                    <a:gd name="connsiteX7" fmla="*/ 85724 w 1006512"/>
                    <a:gd name="connsiteY7" fmla="*/ 175353 h 251657"/>
                    <a:gd name="connsiteX8" fmla="*/ 112138 w 1006512"/>
                    <a:gd name="connsiteY8" fmla="*/ 101984 h 251657"/>
                    <a:gd name="connsiteX9" fmla="*/ 15290 w 1006512"/>
                    <a:gd name="connsiteY9" fmla="*/ 134266 h 251657"/>
                    <a:gd name="connsiteX10" fmla="*/ 616 w 1006512"/>
                    <a:gd name="connsiteY10" fmla="*/ 125462 h 251657"/>
                    <a:gd name="connsiteX11" fmla="*/ 109203 w 1006512"/>
                    <a:gd name="connsiteY11" fmla="*/ 2201 h 251657"/>
                    <a:gd name="connsiteX12" fmla="*/ 118007 w 1006512"/>
                    <a:gd name="connsiteY12" fmla="*/ 2201 h 251657"/>
                    <a:gd name="connsiteX13" fmla="*/ 118007 w 1006512"/>
                    <a:gd name="connsiteY13" fmla="*/ 11005 h 251657"/>
                    <a:gd name="connsiteX14" fmla="*/ 15290 w 1006512"/>
                    <a:gd name="connsiteY14" fmla="*/ 122527 h 251657"/>
                    <a:gd name="connsiteX15" fmla="*/ 15290 w 1006512"/>
                    <a:gd name="connsiteY15" fmla="*/ 122527 h 251657"/>
                    <a:gd name="connsiteX16" fmla="*/ 21160 w 1006512"/>
                    <a:gd name="connsiteY16" fmla="*/ 122527 h 251657"/>
                    <a:gd name="connsiteX17" fmla="*/ 132681 w 1006512"/>
                    <a:gd name="connsiteY17" fmla="*/ 78505 h 251657"/>
                    <a:gd name="connsiteX18" fmla="*/ 138551 w 1006512"/>
                    <a:gd name="connsiteY18" fmla="*/ 78505 h 251657"/>
                    <a:gd name="connsiteX19" fmla="*/ 138551 w 1006512"/>
                    <a:gd name="connsiteY19" fmla="*/ 84375 h 251657"/>
                    <a:gd name="connsiteX20" fmla="*/ 100398 w 1006512"/>
                    <a:gd name="connsiteY20" fmla="*/ 172419 h 251657"/>
                    <a:gd name="connsiteX21" fmla="*/ 109203 w 1006512"/>
                    <a:gd name="connsiteY21" fmla="*/ 187092 h 251657"/>
                    <a:gd name="connsiteX22" fmla="*/ 434964 w 1006512"/>
                    <a:gd name="connsiteY22" fmla="*/ 13940 h 251657"/>
                    <a:gd name="connsiteX23" fmla="*/ 440833 w 1006512"/>
                    <a:gd name="connsiteY23" fmla="*/ 11005 h 251657"/>
                    <a:gd name="connsiteX24" fmla="*/ 443768 w 1006512"/>
                    <a:gd name="connsiteY24" fmla="*/ 16875 h 251657"/>
                    <a:gd name="connsiteX25" fmla="*/ 464312 w 1006512"/>
                    <a:gd name="connsiteY25" fmla="*/ 66766 h 251657"/>
                    <a:gd name="connsiteX26" fmla="*/ 523008 w 1006512"/>
                    <a:gd name="connsiteY26" fmla="*/ 75571 h 251657"/>
                    <a:gd name="connsiteX27" fmla="*/ 528877 w 1006512"/>
                    <a:gd name="connsiteY27" fmla="*/ 75571 h 251657"/>
                    <a:gd name="connsiteX28" fmla="*/ 531812 w 1006512"/>
                    <a:gd name="connsiteY28" fmla="*/ 81440 h 251657"/>
                    <a:gd name="connsiteX29" fmla="*/ 555289 w 1006512"/>
                    <a:gd name="connsiteY29" fmla="*/ 219375 h 251657"/>
                    <a:gd name="connsiteX30" fmla="*/ 605181 w 1006512"/>
                    <a:gd name="connsiteY30" fmla="*/ 234049 h 251657"/>
                    <a:gd name="connsiteX31" fmla="*/ 831160 w 1006512"/>
                    <a:gd name="connsiteY31" fmla="*/ 84375 h 251657"/>
                    <a:gd name="connsiteX32" fmla="*/ 837029 w 1006512"/>
                    <a:gd name="connsiteY32" fmla="*/ 84375 h 251657"/>
                    <a:gd name="connsiteX33" fmla="*/ 839964 w 1006512"/>
                    <a:gd name="connsiteY33" fmla="*/ 90245 h 251657"/>
                    <a:gd name="connsiteX34" fmla="*/ 848768 w 1006512"/>
                    <a:gd name="connsiteY34" fmla="*/ 192962 h 251657"/>
                    <a:gd name="connsiteX35" fmla="*/ 863442 w 1006512"/>
                    <a:gd name="connsiteY35" fmla="*/ 198831 h 251657"/>
                    <a:gd name="connsiteX36" fmla="*/ 995507 w 1006512"/>
                    <a:gd name="connsiteY36" fmla="*/ 119592 h 251657"/>
                    <a:gd name="connsiteX37" fmla="*/ 1004312 w 1006512"/>
                    <a:gd name="connsiteY37" fmla="*/ 119592 h 251657"/>
                    <a:gd name="connsiteX38" fmla="*/ 1004312 w 1006512"/>
                    <a:gd name="connsiteY38" fmla="*/ 128397 h 251657"/>
                    <a:gd name="connsiteX39" fmla="*/ 866377 w 1006512"/>
                    <a:gd name="connsiteY39" fmla="*/ 210571 h 251657"/>
                    <a:gd name="connsiteX40" fmla="*/ 845834 w 1006512"/>
                    <a:gd name="connsiteY40" fmla="*/ 201766 h 251657"/>
                    <a:gd name="connsiteX41" fmla="*/ 831160 w 1006512"/>
                    <a:gd name="connsiteY41" fmla="*/ 107853 h 251657"/>
                    <a:gd name="connsiteX42" fmla="*/ 611051 w 1006512"/>
                    <a:gd name="connsiteY42" fmla="*/ 248723 h 251657"/>
                    <a:gd name="connsiteX43" fmla="*/ 587572 w 1006512"/>
                    <a:gd name="connsiteY43" fmla="*/ 251658 h 251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1006512" h="251657">
                      <a:moveTo>
                        <a:pt x="587572" y="251658"/>
                      </a:moveTo>
                      <a:cubicBezTo>
                        <a:pt x="567029" y="251658"/>
                        <a:pt x="552355" y="245788"/>
                        <a:pt x="540616" y="231114"/>
                      </a:cubicBezTo>
                      <a:cubicBezTo>
                        <a:pt x="505399" y="192962"/>
                        <a:pt x="511268" y="116658"/>
                        <a:pt x="514203" y="90245"/>
                      </a:cubicBezTo>
                      <a:cubicBezTo>
                        <a:pt x="487790" y="93179"/>
                        <a:pt x="467246" y="90245"/>
                        <a:pt x="452572" y="78505"/>
                      </a:cubicBezTo>
                      <a:cubicBezTo>
                        <a:pt x="437898" y="66766"/>
                        <a:pt x="432029" y="46223"/>
                        <a:pt x="429094" y="34484"/>
                      </a:cubicBezTo>
                      <a:cubicBezTo>
                        <a:pt x="379203" y="90245"/>
                        <a:pt x="314638" y="140136"/>
                        <a:pt x="244203" y="172419"/>
                      </a:cubicBezTo>
                      <a:cubicBezTo>
                        <a:pt x="176703" y="204701"/>
                        <a:pt x="120942" y="213505"/>
                        <a:pt x="100398" y="198831"/>
                      </a:cubicBezTo>
                      <a:cubicBezTo>
                        <a:pt x="91594" y="192962"/>
                        <a:pt x="88659" y="184157"/>
                        <a:pt x="85724" y="175353"/>
                      </a:cubicBezTo>
                      <a:cubicBezTo>
                        <a:pt x="82790" y="151875"/>
                        <a:pt x="97464" y="122527"/>
                        <a:pt x="112138" y="101984"/>
                      </a:cubicBezTo>
                      <a:cubicBezTo>
                        <a:pt x="88659" y="116658"/>
                        <a:pt x="50507" y="134266"/>
                        <a:pt x="15290" y="134266"/>
                      </a:cubicBezTo>
                      <a:cubicBezTo>
                        <a:pt x="3551" y="134266"/>
                        <a:pt x="616" y="131332"/>
                        <a:pt x="616" y="125462"/>
                      </a:cubicBezTo>
                      <a:cubicBezTo>
                        <a:pt x="-8188" y="101984"/>
                        <a:pt x="79855" y="25679"/>
                        <a:pt x="109203" y="2201"/>
                      </a:cubicBezTo>
                      <a:cubicBezTo>
                        <a:pt x="112138" y="-734"/>
                        <a:pt x="115072" y="-734"/>
                        <a:pt x="118007" y="2201"/>
                      </a:cubicBezTo>
                      <a:cubicBezTo>
                        <a:pt x="120942" y="5136"/>
                        <a:pt x="120942" y="8071"/>
                        <a:pt x="118007" y="11005"/>
                      </a:cubicBezTo>
                      <a:cubicBezTo>
                        <a:pt x="59311" y="60897"/>
                        <a:pt x="9421" y="113723"/>
                        <a:pt x="15290" y="122527"/>
                      </a:cubicBezTo>
                      <a:lnTo>
                        <a:pt x="15290" y="122527"/>
                      </a:lnTo>
                      <a:cubicBezTo>
                        <a:pt x="15290" y="122527"/>
                        <a:pt x="15290" y="122527"/>
                        <a:pt x="21160" y="122527"/>
                      </a:cubicBezTo>
                      <a:cubicBezTo>
                        <a:pt x="71050" y="119592"/>
                        <a:pt x="132681" y="78505"/>
                        <a:pt x="132681" y="78505"/>
                      </a:cubicBezTo>
                      <a:cubicBezTo>
                        <a:pt x="135616" y="75571"/>
                        <a:pt x="138551" y="78505"/>
                        <a:pt x="138551" y="78505"/>
                      </a:cubicBezTo>
                      <a:cubicBezTo>
                        <a:pt x="141486" y="81440"/>
                        <a:pt x="141486" y="84375"/>
                        <a:pt x="138551" y="84375"/>
                      </a:cubicBezTo>
                      <a:cubicBezTo>
                        <a:pt x="138551" y="84375"/>
                        <a:pt x="94529" y="140136"/>
                        <a:pt x="100398" y="172419"/>
                      </a:cubicBezTo>
                      <a:cubicBezTo>
                        <a:pt x="100398" y="178288"/>
                        <a:pt x="103333" y="184157"/>
                        <a:pt x="109203" y="187092"/>
                      </a:cubicBezTo>
                      <a:cubicBezTo>
                        <a:pt x="144420" y="213505"/>
                        <a:pt x="326377" y="146005"/>
                        <a:pt x="434964" y="13940"/>
                      </a:cubicBezTo>
                      <a:cubicBezTo>
                        <a:pt x="434964" y="11005"/>
                        <a:pt x="437898" y="11005"/>
                        <a:pt x="440833" y="11005"/>
                      </a:cubicBezTo>
                      <a:cubicBezTo>
                        <a:pt x="443768" y="11005"/>
                        <a:pt x="443768" y="13940"/>
                        <a:pt x="443768" y="16875"/>
                      </a:cubicBezTo>
                      <a:cubicBezTo>
                        <a:pt x="443768" y="16875"/>
                        <a:pt x="443768" y="49158"/>
                        <a:pt x="464312" y="66766"/>
                      </a:cubicBezTo>
                      <a:cubicBezTo>
                        <a:pt x="478986" y="78505"/>
                        <a:pt x="496594" y="81440"/>
                        <a:pt x="523008" y="75571"/>
                      </a:cubicBezTo>
                      <a:cubicBezTo>
                        <a:pt x="525942" y="75571"/>
                        <a:pt x="525942" y="75571"/>
                        <a:pt x="528877" y="75571"/>
                      </a:cubicBezTo>
                      <a:cubicBezTo>
                        <a:pt x="528877" y="75571"/>
                        <a:pt x="531812" y="78505"/>
                        <a:pt x="531812" y="81440"/>
                      </a:cubicBezTo>
                      <a:cubicBezTo>
                        <a:pt x="531812" y="81440"/>
                        <a:pt x="517138" y="181223"/>
                        <a:pt x="555289" y="219375"/>
                      </a:cubicBezTo>
                      <a:cubicBezTo>
                        <a:pt x="567029" y="231114"/>
                        <a:pt x="584637" y="236984"/>
                        <a:pt x="605181" y="234049"/>
                      </a:cubicBezTo>
                      <a:cubicBezTo>
                        <a:pt x="707899" y="222310"/>
                        <a:pt x="828225" y="84375"/>
                        <a:pt x="831160" y="84375"/>
                      </a:cubicBezTo>
                      <a:cubicBezTo>
                        <a:pt x="834094" y="81440"/>
                        <a:pt x="834094" y="81440"/>
                        <a:pt x="837029" y="84375"/>
                      </a:cubicBezTo>
                      <a:cubicBezTo>
                        <a:pt x="839964" y="84375"/>
                        <a:pt x="839964" y="87310"/>
                        <a:pt x="839964" y="90245"/>
                      </a:cubicBezTo>
                      <a:cubicBezTo>
                        <a:pt x="837029" y="110788"/>
                        <a:pt x="831160" y="172419"/>
                        <a:pt x="848768" y="192962"/>
                      </a:cubicBezTo>
                      <a:cubicBezTo>
                        <a:pt x="851703" y="195897"/>
                        <a:pt x="857573" y="198831"/>
                        <a:pt x="863442" y="198831"/>
                      </a:cubicBezTo>
                      <a:cubicBezTo>
                        <a:pt x="907463" y="198831"/>
                        <a:pt x="992573" y="119592"/>
                        <a:pt x="995507" y="119592"/>
                      </a:cubicBezTo>
                      <a:cubicBezTo>
                        <a:pt x="998442" y="116658"/>
                        <a:pt x="1001377" y="116658"/>
                        <a:pt x="1004312" y="119592"/>
                      </a:cubicBezTo>
                      <a:cubicBezTo>
                        <a:pt x="1007247" y="122527"/>
                        <a:pt x="1007247" y="125462"/>
                        <a:pt x="1004312" y="128397"/>
                      </a:cubicBezTo>
                      <a:cubicBezTo>
                        <a:pt x="1001377" y="131332"/>
                        <a:pt x="913333" y="210571"/>
                        <a:pt x="866377" y="210571"/>
                      </a:cubicBezTo>
                      <a:cubicBezTo>
                        <a:pt x="857573" y="210571"/>
                        <a:pt x="851703" y="207636"/>
                        <a:pt x="845834" y="201766"/>
                      </a:cubicBezTo>
                      <a:cubicBezTo>
                        <a:pt x="828225" y="181223"/>
                        <a:pt x="831160" y="134266"/>
                        <a:pt x="831160" y="107853"/>
                      </a:cubicBezTo>
                      <a:cubicBezTo>
                        <a:pt x="798877" y="143071"/>
                        <a:pt x="699095" y="236984"/>
                        <a:pt x="611051" y="248723"/>
                      </a:cubicBezTo>
                      <a:cubicBezTo>
                        <a:pt x="596377" y="251658"/>
                        <a:pt x="593442" y="251658"/>
                        <a:pt x="587572" y="251658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7" name="任意多边形: 形状 186">
                  <a:extLst>
                    <a:ext uri="{FF2B5EF4-FFF2-40B4-BE49-F238E27FC236}">
                      <a16:creationId xmlns:a16="http://schemas.microsoft.com/office/drawing/2014/main" id="{A16AE39B-05A0-4868-99D7-423A49FC0BE0}"/>
                    </a:ext>
                  </a:extLst>
                </p:cNvPr>
                <p:cNvSpPr/>
                <p:nvPr/>
              </p:nvSpPr>
              <p:spPr>
                <a:xfrm>
                  <a:off x="17356389" y="4834226"/>
                  <a:ext cx="375326" cy="390326"/>
                </a:xfrm>
                <a:custGeom>
                  <a:avLst/>
                  <a:gdLst>
                    <a:gd name="connsiteX0" fmla="*/ 267065 w 375326"/>
                    <a:gd name="connsiteY0" fmla="*/ 390326 h 390326"/>
                    <a:gd name="connsiteX1" fmla="*/ 120326 w 375326"/>
                    <a:gd name="connsiteY1" fmla="*/ 308152 h 390326"/>
                    <a:gd name="connsiteX2" fmla="*/ 79239 w 375326"/>
                    <a:gd name="connsiteY2" fmla="*/ 319891 h 390326"/>
                    <a:gd name="connsiteX3" fmla="*/ 0 w 375326"/>
                    <a:gd name="connsiteY3" fmla="*/ 231848 h 390326"/>
                    <a:gd name="connsiteX4" fmla="*/ 2935 w 375326"/>
                    <a:gd name="connsiteY4" fmla="*/ 225978 h 390326"/>
                    <a:gd name="connsiteX5" fmla="*/ 8805 w 375326"/>
                    <a:gd name="connsiteY5" fmla="*/ 228913 h 390326"/>
                    <a:gd name="connsiteX6" fmla="*/ 79239 w 375326"/>
                    <a:gd name="connsiteY6" fmla="*/ 311087 h 390326"/>
                    <a:gd name="connsiteX7" fmla="*/ 114456 w 375326"/>
                    <a:gd name="connsiteY7" fmla="*/ 299348 h 390326"/>
                    <a:gd name="connsiteX8" fmla="*/ 123260 w 375326"/>
                    <a:gd name="connsiteY8" fmla="*/ 299348 h 390326"/>
                    <a:gd name="connsiteX9" fmla="*/ 272935 w 375326"/>
                    <a:gd name="connsiteY9" fmla="*/ 381522 h 390326"/>
                    <a:gd name="connsiteX10" fmla="*/ 290543 w 375326"/>
                    <a:gd name="connsiteY10" fmla="*/ 366848 h 390326"/>
                    <a:gd name="connsiteX11" fmla="*/ 243588 w 375326"/>
                    <a:gd name="connsiteY11" fmla="*/ 237717 h 390326"/>
                    <a:gd name="connsiteX12" fmla="*/ 243588 w 375326"/>
                    <a:gd name="connsiteY12" fmla="*/ 231848 h 390326"/>
                    <a:gd name="connsiteX13" fmla="*/ 249457 w 375326"/>
                    <a:gd name="connsiteY13" fmla="*/ 228913 h 390326"/>
                    <a:gd name="connsiteX14" fmla="*/ 363913 w 375326"/>
                    <a:gd name="connsiteY14" fmla="*/ 246522 h 390326"/>
                    <a:gd name="connsiteX15" fmla="*/ 340435 w 375326"/>
                    <a:gd name="connsiteY15" fmla="*/ 176087 h 390326"/>
                    <a:gd name="connsiteX16" fmla="*/ 278805 w 375326"/>
                    <a:gd name="connsiteY16" fmla="*/ 5870 h 390326"/>
                    <a:gd name="connsiteX17" fmla="*/ 284673 w 375326"/>
                    <a:gd name="connsiteY17" fmla="*/ 0 h 390326"/>
                    <a:gd name="connsiteX18" fmla="*/ 290543 w 375326"/>
                    <a:gd name="connsiteY18" fmla="*/ 5870 h 390326"/>
                    <a:gd name="connsiteX19" fmla="*/ 349239 w 375326"/>
                    <a:gd name="connsiteY19" fmla="*/ 173152 h 390326"/>
                    <a:gd name="connsiteX20" fmla="*/ 366849 w 375326"/>
                    <a:gd name="connsiteY20" fmla="*/ 255326 h 390326"/>
                    <a:gd name="connsiteX21" fmla="*/ 264131 w 375326"/>
                    <a:gd name="connsiteY21" fmla="*/ 243587 h 390326"/>
                    <a:gd name="connsiteX22" fmla="*/ 299347 w 375326"/>
                    <a:gd name="connsiteY22" fmla="*/ 369783 h 390326"/>
                    <a:gd name="connsiteX23" fmla="*/ 272935 w 375326"/>
                    <a:gd name="connsiteY23" fmla="*/ 390326 h 390326"/>
                    <a:gd name="connsiteX24" fmla="*/ 267065 w 375326"/>
                    <a:gd name="connsiteY24" fmla="*/ 390326 h 390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75326" h="390326">
                      <a:moveTo>
                        <a:pt x="267065" y="390326"/>
                      </a:moveTo>
                      <a:cubicBezTo>
                        <a:pt x="217174" y="390326"/>
                        <a:pt x="137934" y="322826"/>
                        <a:pt x="120326" y="308152"/>
                      </a:cubicBezTo>
                      <a:cubicBezTo>
                        <a:pt x="108586" y="319891"/>
                        <a:pt x="93913" y="322826"/>
                        <a:pt x="79239" y="319891"/>
                      </a:cubicBezTo>
                      <a:cubicBezTo>
                        <a:pt x="35217" y="311087"/>
                        <a:pt x="2935" y="234783"/>
                        <a:pt x="0" y="231848"/>
                      </a:cubicBezTo>
                      <a:cubicBezTo>
                        <a:pt x="0" y="228913"/>
                        <a:pt x="0" y="225978"/>
                        <a:pt x="2935" y="225978"/>
                      </a:cubicBezTo>
                      <a:cubicBezTo>
                        <a:pt x="5870" y="225978"/>
                        <a:pt x="8805" y="225978"/>
                        <a:pt x="8805" y="228913"/>
                      </a:cubicBezTo>
                      <a:cubicBezTo>
                        <a:pt x="8805" y="228913"/>
                        <a:pt x="41087" y="302283"/>
                        <a:pt x="79239" y="311087"/>
                      </a:cubicBezTo>
                      <a:cubicBezTo>
                        <a:pt x="90978" y="314022"/>
                        <a:pt x="102718" y="308152"/>
                        <a:pt x="114456" y="299348"/>
                      </a:cubicBezTo>
                      <a:cubicBezTo>
                        <a:pt x="117392" y="296413"/>
                        <a:pt x="120326" y="296413"/>
                        <a:pt x="123260" y="299348"/>
                      </a:cubicBezTo>
                      <a:cubicBezTo>
                        <a:pt x="123260" y="299348"/>
                        <a:pt x="223044" y="390326"/>
                        <a:pt x="272935" y="381522"/>
                      </a:cubicBezTo>
                      <a:cubicBezTo>
                        <a:pt x="281739" y="378587"/>
                        <a:pt x="287609" y="375652"/>
                        <a:pt x="290543" y="366848"/>
                      </a:cubicBezTo>
                      <a:cubicBezTo>
                        <a:pt x="319891" y="308152"/>
                        <a:pt x="243588" y="237717"/>
                        <a:pt x="243588" y="237717"/>
                      </a:cubicBezTo>
                      <a:cubicBezTo>
                        <a:pt x="240652" y="234783"/>
                        <a:pt x="240652" y="231848"/>
                        <a:pt x="243588" y="231848"/>
                      </a:cubicBezTo>
                      <a:cubicBezTo>
                        <a:pt x="243588" y="228913"/>
                        <a:pt x="246522" y="228913"/>
                        <a:pt x="249457" y="228913"/>
                      </a:cubicBezTo>
                      <a:cubicBezTo>
                        <a:pt x="272935" y="237717"/>
                        <a:pt x="343369" y="258261"/>
                        <a:pt x="363913" y="246522"/>
                      </a:cubicBezTo>
                      <a:cubicBezTo>
                        <a:pt x="372717" y="240652"/>
                        <a:pt x="358043" y="211304"/>
                        <a:pt x="340435" y="176087"/>
                      </a:cubicBezTo>
                      <a:cubicBezTo>
                        <a:pt x="319891" y="132065"/>
                        <a:pt x="290543" y="70435"/>
                        <a:pt x="278805" y="5870"/>
                      </a:cubicBezTo>
                      <a:cubicBezTo>
                        <a:pt x="278805" y="2935"/>
                        <a:pt x="281739" y="0"/>
                        <a:pt x="284673" y="0"/>
                      </a:cubicBezTo>
                      <a:cubicBezTo>
                        <a:pt x="287609" y="0"/>
                        <a:pt x="290543" y="2935"/>
                        <a:pt x="290543" y="5870"/>
                      </a:cubicBezTo>
                      <a:cubicBezTo>
                        <a:pt x="299347" y="70435"/>
                        <a:pt x="328695" y="129130"/>
                        <a:pt x="349239" y="173152"/>
                      </a:cubicBezTo>
                      <a:cubicBezTo>
                        <a:pt x="372717" y="220109"/>
                        <a:pt x="384457" y="246522"/>
                        <a:pt x="366849" y="255326"/>
                      </a:cubicBezTo>
                      <a:cubicBezTo>
                        <a:pt x="346305" y="267065"/>
                        <a:pt x="293479" y="255326"/>
                        <a:pt x="264131" y="243587"/>
                      </a:cubicBezTo>
                      <a:cubicBezTo>
                        <a:pt x="287609" y="270000"/>
                        <a:pt x="322827" y="322826"/>
                        <a:pt x="299347" y="369783"/>
                      </a:cubicBezTo>
                      <a:cubicBezTo>
                        <a:pt x="293479" y="381522"/>
                        <a:pt x="284673" y="387391"/>
                        <a:pt x="272935" y="390326"/>
                      </a:cubicBezTo>
                      <a:cubicBezTo>
                        <a:pt x="272935" y="390326"/>
                        <a:pt x="269999" y="390326"/>
                        <a:pt x="267065" y="390326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8" name="任意多边形: 形状 187">
                  <a:extLst>
                    <a:ext uri="{FF2B5EF4-FFF2-40B4-BE49-F238E27FC236}">
                      <a16:creationId xmlns:a16="http://schemas.microsoft.com/office/drawing/2014/main" id="{4998AFE3-0E03-440E-836A-DDF7D288AD3C}"/>
                    </a:ext>
                  </a:extLst>
                </p:cNvPr>
                <p:cNvSpPr/>
                <p:nvPr/>
              </p:nvSpPr>
              <p:spPr>
                <a:xfrm>
                  <a:off x="16836934" y="1676400"/>
                  <a:ext cx="783587" cy="754239"/>
                </a:xfrm>
                <a:custGeom>
                  <a:avLst/>
                  <a:gdLst>
                    <a:gd name="connsiteX0" fmla="*/ 648586 w 783587"/>
                    <a:gd name="connsiteY0" fmla="*/ 739565 h 754239"/>
                    <a:gd name="connsiteX1" fmla="*/ 402065 w 783587"/>
                    <a:gd name="connsiteY1" fmla="*/ 651522 h 754239"/>
                    <a:gd name="connsiteX2" fmla="*/ 164347 w 783587"/>
                    <a:gd name="connsiteY2" fmla="*/ 754239 h 754239"/>
                    <a:gd name="connsiteX3" fmla="*/ 170217 w 783587"/>
                    <a:gd name="connsiteY3" fmla="*/ 493043 h 754239"/>
                    <a:gd name="connsiteX4" fmla="*/ 0 w 783587"/>
                    <a:gd name="connsiteY4" fmla="*/ 296413 h 754239"/>
                    <a:gd name="connsiteX5" fmla="*/ 249457 w 783587"/>
                    <a:gd name="connsiteY5" fmla="*/ 223043 h 754239"/>
                    <a:gd name="connsiteX6" fmla="*/ 384456 w 783587"/>
                    <a:gd name="connsiteY6" fmla="*/ 0 h 754239"/>
                    <a:gd name="connsiteX7" fmla="*/ 531195 w 783587"/>
                    <a:gd name="connsiteY7" fmla="*/ 214239 h 754239"/>
                    <a:gd name="connsiteX8" fmla="*/ 783587 w 783587"/>
                    <a:gd name="connsiteY8" fmla="*/ 272935 h 754239"/>
                    <a:gd name="connsiteX9" fmla="*/ 625108 w 783587"/>
                    <a:gd name="connsiteY9" fmla="*/ 481304 h 754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83587" h="754239">
                      <a:moveTo>
                        <a:pt x="648586" y="739565"/>
                      </a:moveTo>
                      <a:lnTo>
                        <a:pt x="402065" y="651522"/>
                      </a:lnTo>
                      <a:lnTo>
                        <a:pt x="164347" y="754239"/>
                      </a:lnTo>
                      <a:lnTo>
                        <a:pt x="170217" y="493043"/>
                      </a:lnTo>
                      <a:lnTo>
                        <a:pt x="0" y="296413"/>
                      </a:lnTo>
                      <a:lnTo>
                        <a:pt x="249457" y="223043"/>
                      </a:lnTo>
                      <a:lnTo>
                        <a:pt x="384456" y="0"/>
                      </a:lnTo>
                      <a:lnTo>
                        <a:pt x="531195" y="214239"/>
                      </a:lnTo>
                      <a:lnTo>
                        <a:pt x="783587" y="272935"/>
                      </a:lnTo>
                      <a:lnTo>
                        <a:pt x="625108" y="481304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89" name="图形 1">
                  <a:extLst>
                    <a:ext uri="{FF2B5EF4-FFF2-40B4-BE49-F238E27FC236}">
                      <a16:creationId xmlns:a16="http://schemas.microsoft.com/office/drawing/2014/main" id="{7F9A9519-C2CB-49CB-8A38-F35037C08F55}"/>
                    </a:ext>
                  </a:extLst>
                </p:cNvPr>
                <p:cNvGrpSpPr/>
                <p:nvPr/>
              </p:nvGrpSpPr>
              <p:grpSpPr>
                <a:xfrm>
                  <a:off x="16402585" y="4499660"/>
                  <a:ext cx="322826" cy="381521"/>
                  <a:chOff x="16402585" y="4499660"/>
                  <a:chExt cx="322826" cy="381521"/>
                </a:xfrm>
              </p:grpSpPr>
              <p:grpSp>
                <p:nvGrpSpPr>
                  <p:cNvPr id="220" name="图形 1">
                    <a:extLst>
                      <a:ext uri="{FF2B5EF4-FFF2-40B4-BE49-F238E27FC236}">
                        <a16:creationId xmlns:a16="http://schemas.microsoft.com/office/drawing/2014/main" id="{6754DC01-2F85-4B6E-9FA2-1B0FA1E396C0}"/>
                      </a:ext>
                    </a:extLst>
                  </p:cNvPr>
                  <p:cNvGrpSpPr/>
                  <p:nvPr/>
                </p:nvGrpSpPr>
                <p:grpSpPr>
                  <a:xfrm>
                    <a:off x="16402585" y="4499660"/>
                    <a:ext cx="322826" cy="381521"/>
                    <a:chOff x="16402585" y="4499660"/>
                    <a:chExt cx="322826" cy="381521"/>
                  </a:xfrm>
                </p:grpSpPr>
                <p:sp>
                  <p:nvSpPr>
                    <p:cNvPr id="222" name="任意多边形: 形状 221">
                      <a:extLst>
                        <a:ext uri="{FF2B5EF4-FFF2-40B4-BE49-F238E27FC236}">
                          <a16:creationId xmlns:a16="http://schemas.microsoft.com/office/drawing/2014/main" id="{248B4295-970D-4634-BF26-C8254A443C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6522911" y="4499660"/>
                      <a:ext cx="88043" cy="140869"/>
                    </a:xfrm>
                    <a:custGeom>
                      <a:avLst/>
                      <a:gdLst>
                        <a:gd name="connsiteX0" fmla="*/ 76305 w 88043"/>
                        <a:gd name="connsiteY0" fmla="*/ 0 h 140869"/>
                        <a:gd name="connsiteX1" fmla="*/ 11739 w 88043"/>
                        <a:gd name="connsiteY1" fmla="*/ 0 h 140869"/>
                        <a:gd name="connsiteX2" fmla="*/ 0 w 88043"/>
                        <a:gd name="connsiteY2" fmla="*/ 11739 h 140869"/>
                        <a:gd name="connsiteX3" fmla="*/ 0 w 88043"/>
                        <a:gd name="connsiteY3" fmla="*/ 129130 h 140869"/>
                        <a:gd name="connsiteX4" fmla="*/ 11739 w 88043"/>
                        <a:gd name="connsiteY4" fmla="*/ 140870 h 140869"/>
                        <a:gd name="connsiteX5" fmla="*/ 76305 w 88043"/>
                        <a:gd name="connsiteY5" fmla="*/ 140870 h 140869"/>
                        <a:gd name="connsiteX6" fmla="*/ 88043 w 88043"/>
                        <a:gd name="connsiteY6" fmla="*/ 129130 h 140869"/>
                        <a:gd name="connsiteX7" fmla="*/ 88043 w 88043"/>
                        <a:gd name="connsiteY7" fmla="*/ 11739 h 140869"/>
                        <a:gd name="connsiteX8" fmla="*/ 76305 w 88043"/>
                        <a:gd name="connsiteY8" fmla="*/ 0 h 1408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043" h="140869">
                          <a:moveTo>
                            <a:pt x="76305" y="0"/>
                          </a:moveTo>
                          <a:lnTo>
                            <a:pt x="11739" y="0"/>
                          </a:lnTo>
                          <a:cubicBezTo>
                            <a:pt x="5870" y="0"/>
                            <a:pt x="0" y="5870"/>
                            <a:pt x="0" y="11739"/>
                          </a:cubicBezTo>
                          <a:lnTo>
                            <a:pt x="0" y="129130"/>
                          </a:lnTo>
                          <a:cubicBezTo>
                            <a:pt x="0" y="135000"/>
                            <a:pt x="5870" y="140870"/>
                            <a:pt x="11739" y="140870"/>
                          </a:cubicBezTo>
                          <a:lnTo>
                            <a:pt x="76305" y="140870"/>
                          </a:lnTo>
                          <a:cubicBezTo>
                            <a:pt x="82174" y="140870"/>
                            <a:pt x="88043" y="135000"/>
                            <a:pt x="88043" y="129130"/>
                          </a:cubicBezTo>
                          <a:lnTo>
                            <a:pt x="88043" y="11739"/>
                          </a:lnTo>
                          <a:cubicBezTo>
                            <a:pt x="88043" y="5870"/>
                            <a:pt x="82174" y="0"/>
                            <a:pt x="76305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223" name="任意多边形: 形状 222">
                      <a:extLst>
                        <a:ext uri="{FF2B5EF4-FFF2-40B4-BE49-F238E27FC236}">
                          <a16:creationId xmlns:a16="http://schemas.microsoft.com/office/drawing/2014/main" id="{1039E663-D818-4AF8-BCB4-CEA2F43260F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6402585" y="4558356"/>
                      <a:ext cx="322826" cy="322826"/>
                    </a:xfrm>
                    <a:custGeom>
                      <a:avLst/>
                      <a:gdLst>
                        <a:gd name="connsiteX0" fmla="*/ 161413 w 322826"/>
                        <a:gd name="connsiteY0" fmla="*/ 0 h 322826"/>
                        <a:gd name="connsiteX1" fmla="*/ 0 w 322826"/>
                        <a:gd name="connsiteY1" fmla="*/ 161413 h 322826"/>
                        <a:gd name="connsiteX2" fmla="*/ 161413 w 322826"/>
                        <a:gd name="connsiteY2" fmla="*/ 322826 h 322826"/>
                        <a:gd name="connsiteX3" fmla="*/ 322826 w 322826"/>
                        <a:gd name="connsiteY3" fmla="*/ 161413 h 322826"/>
                        <a:gd name="connsiteX4" fmla="*/ 161413 w 322826"/>
                        <a:gd name="connsiteY4" fmla="*/ 0 h 3228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22826" h="322826">
                          <a:moveTo>
                            <a:pt x="161413" y="0"/>
                          </a:moveTo>
                          <a:cubicBezTo>
                            <a:pt x="73370" y="0"/>
                            <a:pt x="0" y="73370"/>
                            <a:pt x="0" y="161413"/>
                          </a:cubicBezTo>
                          <a:cubicBezTo>
                            <a:pt x="0" y="249457"/>
                            <a:pt x="73370" y="322826"/>
                            <a:pt x="161413" y="322826"/>
                          </a:cubicBezTo>
                          <a:cubicBezTo>
                            <a:pt x="249457" y="322826"/>
                            <a:pt x="322826" y="249457"/>
                            <a:pt x="322826" y="161413"/>
                          </a:cubicBezTo>
                          <a:cubicBezTo>
                            <a:pt x="322826" y="70435"/>
                            <a:pt x="252391" y="0"/>
                            <a:pt x="161413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221" name="任意多边形: 形状 220">
                    <a:extLst>
                      <a:ext uri="{FF2B5EF4-FFF2-40B4-BE49-F238E27FC236}">
                        <a16:creationId xmlns:a16="http://schemas.microsoft.com/office/drawing/2014/main" id="{56156583-CBDA-4D23-BA16-FE21C1DE669C}"/>
                      </a:ext>
                    </a:extLst>
                  </p:cNvPr>
                  <p:cNvSpPr/>
                  <p:nvPr/>
                </p:nvSpPr>
                <p:spPr>
                  <a:xfrm>
                    <a:off x="16596016" y="4613852"/>
                    <a:ext cx="82544" cy="135264"/>
                  </a:xfrm>
                  <a:custGeom>
                    <a:avLst/>
                    <a:gdLst>
                      <a:gd name="connsiteX0" fmla="*/ 67764 w 82544"/>
                      <a:gd name="connsiteY0" fmla="*/ 135265 h 135264"/>
                      <a:gd name="connsiteX1" fmla="*/ 67764 w 82544"/>
                      <a:gd name="connsiteY1" fmla="*/ 135265 h 135264"/>
                      <a:gd name="connsiteX2" fmla="*/ 53090 w 82544"/>
                      <a:gd name="connsiteY2" fmla="*/ 120591 h 135264"/>
                      <a:gd name="connsiteX3" fmla="*/ 6135 w 82544"/>
                      <a:gd name="connsiteY3" fmla="*/ 26678 h 135264"/>
                      <a:gd name="connsiteX4" fmla="*/ 3200 w 82544"/>
                      <a:gd name="connsiteY4" fmla="*/ 6134 h 135264"/>
                      <a:gd name="connsiteX5" fmla="*/ 23743 w 82544"/>
                      <a:gd name="connsiteY5" fmla="*/ 3199 h 135264"/>
                      <a:gd name="connsiteX6" fmla="*/ 82438 w 82544"/>
                      <a:gd name="connsiteY6" fmla="*/ 120591 h 135264"/>
                      <a:gd name="connsiteX7" fmla="*/ 67764 w 82544"/>
                      <a:gd name="connsiteY7" fmla="*/ 135265 h 135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544" h="135264">
                        <a:moveTo>
                          <a:pt x="67764" y="135265"/>
                        </a:moveTo>
                        <a:cubicBezTo>
                          <a:pt x="67764" y="135265"/>
                          <a:pt x="67764" y="135265"/>
                          <a:pt x="67764" y="135265"/>
                        </a:cubicBezTo>
                        <a:cubicBezTo>
                          <a:pt x="58960" y="135265"/>
                          <a:pt x="53090" y="129395"/>
                          <a:pt x="53090" y="120591"/>
                        </a:cubicBezTo>
                        <a:cubicBezTo>
                          <a:pt x="56025" y="61895"/>
                          <a:pt x="6135" y="29612"/>
                          <a:pt x="6135" y="26678"/>
                        </a:cubicBezTo>
                        <a:cubicBezTo>
                          <a:pt x="265" y="20808"/>
                          <a:pt x="-2670" y="12004"/>
                          <a:pt x="3200" y="6134"/>
                        </a:cubicBezTo>
                        <a:cubicBezTo>
                          <a:pt x="9069" y="265"/>
                          <a:pt x="17874" y="-2670"/>
                          <a:pt x="23743" y="3199"/>
                        </a:cubicBezTo>
                        <a:cubicBezTo>
                          <a:pt x="26678" y="6134"/>
                          <a:pt x="85373" y="47221"/>
                          <a:pt x="82438" y="120591"/>
                        </a:cubicBezTo>
                        <a:cubicBezTo>
                          <a:pt x="82438" y="126460"/>
                          <a:pt x="73634" y="135265"/>
                          <a:pt x="67764" y="135265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90" name="图形 1">
                  <a:extLst>
                    <a:ext uri="{FF2B5EF4-FFF2-40B4-BE49-F238E27FC236}">
                      <a16:creationId xmlns:a16="http://schemas.microsoft.com/office/drawing/2014/main" id="{688E7256-9961-4E54-B714-66E27755E693}"/>
                    </a:ext>
                  </a:extLst>
                </p:cNvPr>
                <p:cNvGrpSpPr/>
                <p:nvPr/>
              </p:nvGrpSpPr>
              <p:grpSpPr>
                <a:xfrm>
                  <a:off x="16995412" y="5218682"/>
                  <a:ext cx="322826" cy="381521"/>
                  <a:chOff x="16995412" y="5218682"/>
                  <a:chExt cx="322826" cy="381521"/>
                </a:xfrm>
              </p:grpSpPr>
              <p:grpSp>
                <p:nvGrpSpPr>
                  <p:cNvPr id="216" name="图形 1">
                    <a:extLst>
                      <a:ext uri="{FF2B5EF4-FFF2-40B4-BE49-F238E27FC236}">
                        <a16:creationId xmlns:a16="http://schemas.microsoft.com/office/drawing/2014/main" id="{B36758C8-BF51-47C8-90AA-0A6D5FA18B9B}"/>
                      </a:ext>
                    </a:extLst>
                  </p:cNvPr>
                  <p:cNvGrpSpPr/>
                  <p:nvPr/>
                </p:nvGrpSpPr>
                <p:grpSpPr>
                  <a:xfrm>
                    <a:off x="16995412" y="5218682"/>
                    <a:ext cx="322826" cy="381521"/>
                    <a:chOff x="16995412" y="5218682"/>
                    <a:chExt cx="322826" cy="381521"/>
                  </a:xfrm>
                </p:grpSpPr>
                <p:sp>
                  <p:nvSpPr>
                    <p:cNvPr id="218" name="任意多边形: 形状 217">
                      <a:extLst>
                        <a:ext uri="{FF2B5EF4-FFF2-40B4-BE49-F238E27FC236}">
                          <a16:creationId xmlns:a16="http://schemas.microsoft.com/office/drawing/2014/main" id="{95B6D1CB-254C-41FE-80FD-BCF788F73B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7112803" y="5218682"/>
                      <a:ext cx="88043" cy="140869"/>
                    </a:xfrm>
                    <a:custGeom>
                      <a:avLst/>
                      <a:gdLst>
                        <a:gd name="connsiteX0" fmla="*/ 76305 w 88043"/>
                        <a:gd name="connsiteY0" fmla="*/ 0 h 140869"/>
                        <a:gd name="connsiteX1" fmla="*/ 11739 w 88043"/>
                        <a:gd name="connsiteY1" fmla="*/ 0 h 140869"/>
                        <a:gd name="connsiteX2" fmla="*/ 0 w 88043"/>
                        <a:gd name="connsiteY2" fmla="*/ 11739 h 140869"/>
                        <a:gd name="connsiteX3" fmla="*/ 0 w 88043"/>
                        <a:gd name="connsiteY3" fmla="*/ 129130 h 140869"/>
                        <a:gd name="connsiteX4" fmla="*/ 11739 w 88043"/>
                        <a:gd name="connsiteY4" fmla="*/ 140870 h 140869"/>
                        <a:gd name="connsiteX5" fmla="*/ 76305 w 88043"/>
                        <a:gd name="connsiteY5" fmla="*/ 140870 h 140869"/>
                        <a:gd name="connsiteX6" fmla="*/ 88043 w 88043"/>
                        <a:gd name="connsiteY6" fmla="*/ 129130 h 140869"/>
                        <a:gd name="connsiteX7" fmla="*/ 88043 w 88043"/>
                        <a:gd name="connsiteY7" fmla="*/ 11739 h 140869"/>
                        <a:gd name="connsiteX8" fmla="*/ 76305 w 88043"/>
                        <a:gd name="connsiteY8" fmla="*/ 0 h 1408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043" h="140869">
                          <a:moveTo>
                            <a:pt x="76305" y="0"/>
                          </a:moveTo>
                          <a:lnTo>
                            <a:pt x="11739" y="0"/>
                          </a:lnTo>
                          <a:cubicBezTo>
                            <a:pt x="5869" y="0"/>
                            <a:pt x="0" y="5870"/>
                            <a:pt x="0" y="11739"/>
                          </a:cubicBezTo>
                          <a:lnTo>
                            <a:pt x="0" y="129130"/>
                          </a:lnTo>
                          <a:cubicBezTo>
                            <a:pt x="0" y="135000"/>
                            <a:pt x="5869" y="140870"/>
                            <a:pt x="11739" y="140870"/>
                          </a:cubicBezTo>
                          <a:lnTo>
                            <a:pt x="76305" y="140870"/>
                          </a:lnTo>
                          <a:cubicBezTo>
                            <a:pt x="82174" y="140870"/>
                            <a:pt x="88043" y="135000"/>
                            <a:pt x="88043" y="129130"/>
                          </a:cubicBezTo>
                          <a:lnTo>
                            <a:pt x="88043" y="11739"/>
                          </a:lnTo>
                          <a:cubicBezTo>
                            <a:pt x="88043" y="5870"/>
                            <a:pt x="82174" y="0"/>
                            <a:pt x="76305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219" name="任意多边形: 形状 218">
                      <a:extLst>
                        <a:ext uri="{FF2B5EF4-FFF2-40B4-BE49-F238E27FC236}">
                          <a16:creationId xmlns:a16="http://schemas.microsoft.com/office/drawing/2014/main" id="{FFF98928-D1FA-4A78-8F64-F2AA5F5C42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6995412" y="5277378"/>
                      <a:ext cx="322826" cy="322826"/>
                    </a:xfrm>
                    <a:custGeom>
                      <a:avLst/>
                      <a:gdLst>
                        <a:gd name="connsiteX0" fmla="*/ 161413 w 322826"/>
                        <a:gd name="connsiteY0" fmla="*/ 0 h 322826"/>
                        <a:gd name="connsiteX1" fmla="*/ 0 w 322826"/>
                        <a:gd name="connsiteY1" fmla="*/ 161413 h 322826"/>
                        <a:gd name="connsiteX2" fmla="*/ 161413 w 322826"/>
                        <a:gd name="connsiteY2" fmla="*/ 322826 h 322826"/>
                        <a:gd name="connsiteX3" fmla="*/ 322826 w 322826"/>
                        <a:gd name="connsiteY3" fmla="*/ 161413 h 322826"/>
                        <a:gd name="connsiteX4" fmla="*/ 161413 w 322826"/>
                        <a:gd name="connsiteY4" fmla="*/ 0 h 3228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22826" h="322826">
                          <a:moveTo>
                            <a:pt x="161413" y="0"/>
                          </a:moveTo>
                          <a:cubicBezTo>
                            <a:pt x="73370" y="0"/>
                            <a:pt x="0" y="73370"/>
                            <a:pt x="0" y="161413"/>
                          </a:cubicBezTo>
                          <a:cubicBezTo>
                            <a:pt x="0" y="249457"/>
                            <a:pt x="73370" y="322826"/>
                            <a:pt x="161413" y="322826"/>
                          </a:cubicBezTo>
                          <a:cubicBezTo>
                            <a:pt x="249457" y="322826"/>
                            <a:pt x="322826" y="249457"/>
                            <a:pt x="322826" y="161413"/>
                          </a:cubicBezTo>
                          <a:cubicBezTo>
                            <a:pt x="322826" y="70435"/>
                            <a:pt x="249457" y="0"/>
                            <a:pt x="161413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217" name="任意多边形: 形状 216">
                    <a:extLst>
                      <a:ext uri="{FF2B5EF4-FFF2-40B4-BE49-F238E27FC236}">
                        <a16:creationId xmlns:a16="http://schemas.microsoft.com/office/drawing/2014/main" id="{2008DFBB-66E8-4A87-B371-531FDA1685BF}"/>
                      </a:ext>
                    </a:extLst>
                  </p:cNvPr>
                  <p:cNvSpPr/>
                  <p:nvPr/>
                </p:nvSpPr>
                <p:spPr>
                  <a:xfrm>
                    <a:off x="17185908" y="5329939"/>
                    <a:ext cx="82544" cy="135264"/>
                  </a:xfrm>
                  <a:custGeom>
                    <a:avLst/>
                    <a:gdLst>
                      <a:gd name="connsiteX0" fmla="*/ 67764 w 82544"/>
                      <a:gd name="connsiteY0" fmla="*/ 135265 h 135264"/>
                      <a:gd name="connsiteX1" fmla="*/ 67764 w 82544"/>
                      <a:gd name="connsiteY1" fmla="*/ 135265 h 135264"/>
                      <a:gd name="connsiteX2" fmla="*/ 53090 w 82544"/>
                      <a:gd name="connsiteY2" fmla="*/ 120591 h 135264"/>
                      <a:gd name="connsiteX3" fmla="*/ 6134 w 82544"/>
                      <a:gd name="connsiteY3" fmla="*/ 26678 h 135264"/>
                      <a:gd name="connsiteX4" fmla="*/ 3200 w 82544"/>
                      <a:gd name="connsiteY4" fmla="*/ 6134 h 135264"/>
                      <a:gd name="connsiteX5" fmla="*/ 23743 w 82544"/>
                      <a:gd name="connsiteY5" fmla="*/ 3199 h 135264"/>
                      <a:gd name="connsiteX6" fmla="*/ 82438 w 82544"/>
                      <a:gd name="connsiteY6" fmla="*/ 120591 h 135264"/>
                      <a:gd name="connsiteX7" fmla="*/ 67764 w 82544"/>
                      <a:gd name="connsiteY7" fmla="*/ 135265 h 135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544" h="135264">
                        <a:moveTo>
                          <a:pt x="67764" y="135265"/>
                        </a:moveTo>
                        <a:cubicBezTo>
                          <a:pt x="67764" y="135265"/>
                          <a:pt x="67764" y="135265"/>
                          <a:pt x="67764" y="135265"/>
                        </a:cubicBezTo>
                        <a:cubicBezTo>
                          <a:pt x="58960" y="135265"/>
                          <a:pt x="53090" y="129395"/>
                          <a:pt x="53090" y="120591"/>
                        </a:cubicBezTo>
                        <a:cubicBezTo>
                          <a:pt x="56025" y="61895"/>
                          <a:pt x="6134" y="29612"/>
                          <a:pt x="6134" y="26678"/>
                        </a:cubicBezTo>
                        <a:cubicBezTo>
                          <a:pt x="265" y="20808"/>
                          <a:pt x="-2670" y="12004"/>
                          <a:pt x="3200" y="6134"/>
                        </a:cubicBezTo>
                        <a:cubicBezTo>
                          <a:pt x="9069" y="265"/>
                          <a:pt x="17874" y="-2670"/>
                          <a:pt x="23743" y="3199"/>
                        </a:cubicBezTo>
                        <a:cubicBezTo>
                          <a:pt x="26678" y="6134"/>
                          <a:pt x="85373" y="47221"/>
                          <a:pt x="82438" y="120591"/>
                        </a:cubicBezTo>
                        <a:cubicBezTo>
                          <a:pt x="82438" y="129395"/>
                          <a:pt x="76569" y="135265"/>
                          <a:pt x="67764" y="135265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91" name="图形 1">
                  <a:extLst>
                    <a:ext uri="{FF2B5EF4-FFF2-40B4-BE49-F238E27FC236}">
                      <a16:creationId xmlns:a16="http://schemas.microsoft.com/office/drawing/2014/main" id="{088422B5-4C79-4166-A210-2649501672B8}"/>
                    </a:ext>
                  </a:extLst>
                </p:cNvPr>
                <p:cNvGrpSpPr/>
                <p:nvPr/>
              </p:nvGrpSpPr>
              <p:grpSpPr>
                <a:xfrm>
                  <a:off x="17444434" y="4308899"/>
                  <a:ext cx="322826" cy="381521"/>
                  <a:chOff x="17444434" y="4308899"/>
                  <a:chExt cx="322826" cy="381521"/>
                </a:xfrm>
              </p:grpSpPr>
              <p:grpSp>
                <p:nvGrpSpPr>
                  <p:cNvPr id="212" name="图形 1">
                    <a:extLst>
                      <a:ext uri="{FF2B5EF4-FFF2-40B4-BE49-F238E27FC236}">
                        <a16:creationId xmlns:a16="http://schemas.microsoft.com/office/drawing/2014/main" id="{FF010D17-B951-4904-8BBC-C92CA023EEF7}"/>
                      </a:ext>
                    </a:extLst>
                  </p:cNvPr>
                  <p:cNvGrpSpPr/>
                  <p:nvPr/>
                </p:nvGrpSpPr>
                <p:grpSpPr>
                  <a:xfrm>
                    <a:off x="17444434" y="4308899"/>
                    <a:ext cx="322826" cy="381521"/>
                    <a:chOff x="17444434" y="4308899"/>
                    <a:chExt cx="322826" cy="381521"/>
                  </a:xfrm>
                </p:grpSpPr>
                <p:sp>
                  <p:nvSpPr>
                    <p:cNvPr id="214" name="任意多边形: 形状 213">
                      <a:extLst>
                        <a:ext uri="{FF2B5EF4-FFF2-40B4-BE49-F238E27FC236}">
                          <a16:creationId xmlns:a16="http://schemas.microsoft.com/office/drawing/2014/main" id="{4CF32DF3-9E96-4248-AEA9-5420BE816FE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7561825" y="4308899"/>
                      <a:ext cx="88043" cy="140869"/>
                    </a:xfrm>
                    <a:custGeom>
                      <a:avLst/>
                      <a:gdLst>
                        <a:gd name="connsiteX0" fmla="*/ 76304 w 88043"/>
                        <a:gd name="connsiteY0" fmla="*/ 0 h 140869"/>
                        <a:gd name="connsiteX1" fmla="*/ 11738 w 88043"/>
                        <a:gd name="connsiteY1" fmla="*/ 0 h 140869"/>
                        <a:gd name="connsiteX2" fmla="*/ 0 w 88043"/>
                        <a:gd name="connsiteY2" fmla="*/ 11739 h 140869"/>
                        <a:gd name="connsiteX3" fmla="*/ 0 w 88043"/>
                        <a:gd name="connsiteY3" fmla="*/ 129130 h 140869"/>
                        <a:gd name="connsiteX4" fmla="*/ 11738 w 88043"/>
                        <a:gd name="connsiteY4" fmla="*/ 140870 h 140869"/>
                        <a:gd name="connsiteX5" fmla="*/ 76304 w 88043"/>
                        <a:gd name="connsiteY5" fmla="*/ 140870 h 140869"/>
                        <a:gd name="connsiteX6" fmla="*/ 88043 w 88043"/>
                        <a:gd name="connsiteY6" fmla="*/ 129130 h 140869"/>
                        <a:gd name="connsiteX7" fmla="*/ 88043 w 88043"/>
                        <a:gd name="connsiteY7" fmla="*/ 11739 h 140869"/>
                        <a:gd name="connsiteX8" fmla="*/ 76304 w 88043"/>
                        <a:gd name="connsiteY8" fmla="*/ 0 h 1408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043" h="140869">
                          <a:moveTo>
                            <a:pt x="76304" y="0"/>
                          </a:moveTo>
                          <a:lnTo>
                            <a:pt x="11738" y="0"/>
                          </a:lnTo>
                          <a:cubicBezTo>
                            <a:pt x="5868" y="0"/>
                            <a:pt x="0" y="5870"/>
                            <a:pt x="0" y="11739"/>
                          </a:cubicBezTo>
                          <a:lnTo>
                            <a:pt x="0" y="129130"/>
                          </a:lnTo>
                          <a:cubicBezTo>
                            <a:pt x="0" y="135000"/>
                            <a:pt x="5868" y="140870"/>
                            <a:pt x="11738" y="140870"/>
                          </a:cubicBezTo>
                          <a:lnTo>
                            <a:pt x="76304" y="140870"/>
                          </a:lnTo>
                          <a:cubicBezTo>
                            <a:pt x="82174" y="140870"/>
                            <a:pt x="88043" y="135000"/>
                            <a:pt x="88043" y="129130"/>
                          </a:cubicBezTo>
                          <a:lnTo>
                            <a:pt x="88043" y="11739"/>
                          </a:lnTo>
                          <a:cubicBezTo>
                            <a:pt x="88043" y="5870"/>
                            <a:pt x="82174" y="0"/>
                            <a:pt x="76304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215" name="任意多边形: 形状 214">
                      <a:extLst>
                        <a:ext uri="{FF2B5EF4-FFF2-40B4-BE49-F238E27FC236}">
                          <a16:creationId xmlns:a16="http://schemas.microsoft.com/office/drawing/2014/main" id="{4B087D5F-CBB0-4F7D-85FA-59F6E0D942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7444434" y="4367595"/>
                      <a:ext cx="322826" cy="322826"/>
                    </a:xfrm>
                    <a:custGeom>
                      <a:avLst/>
                      <a:gdLst>
                        <a:gd name="connsiteX0" fmla="*/ 161413 w 322826"/>
                        <a:gd name="connsiteY0" fmla="*/ 0 h 322826"/>
                        <a:gd name="connsiteX1" fmla="*/ 0 w 322826"/>
                        <a:gd name="connsiteY1" fmla="*/ 161413 h 322826"/>
                        <a:gd name="connsiteX2" fmla="*/ 161413 w 322826"/>
                        <a:gd name="connsiteY2" fmla="*/ 322826 h 322826"/>
                        <a:gd name="connsiteX3" fmla="*/ 322826 w 322826"/>
                        <a:gd name="connsiteY3" fmla="*/ 161413 h 322826"/>
                        <a:gd name="connsiteX4" fmla="*/ 161413 w 322826"/>
                        <a:gd name="connsiteY4" fmla="*/ 0 h 3228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22826" h="322826">
                          <a:moveTo>
                            <a:pt x="161413" y="0"/>
                          </a:moveTo>
                          <a:cubicBezTo>
                            <a:pt x="73370" y="0"/>
                            <a:pt x="0" y="73370"/>
                            <a:pt x="0" y="161413"/>
                          </a:cubicBezTo>
                          <a:cubicBezTo>
                            <a:pt x="0" y="249457"/>
                            <a:pt x="73370" y="322826"/>
                            <a:pt x="161413" y="322826"/>
                          </a:cubicBezTo>
                          <a:cubicBezTo>
                            <a:pt x="249457" y="322826"/>
                            <a:pt x="322826" y="249457"/>
                            <a:pt x="322826" y="161413"/>
                          </a:cubicBezTo>
                          <a:cubicBezTo>
                            <a:pt x="322826" y="73370"/>
                            <a:pt x="249457" y="0"/>
                            <a:pt x="161413" y="0"/>
                          </a:cubicBezTo>
                          <a:close/>
                        </a:path>
                      </a:pathLst>
                    </a:custGeom>
                    <a:solidFill>
                      <a:srgbClr val="7F95BC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213" name="任意多边形: 形状 212">
                    <a:extLst>
                      <a:ext uri="{FF2B5EF4-FFF2-40B4-BE49-F238E27FC236}">
                        <a16:creationId xmlns:a16="http://schemas.microsoft.com/office/drawing/2014/main" id="{E5EB4F86-BFC4-4184-A820-DEA883BBF73B}"/>
                      </a:ext>
                    </a:extLst>
                  </p:cNvPr>
                  <p:cNvSpPr/>
                  <p:nvPr/>
                </p:nvSpPr>
                <p:spPr>
                  <a:xfrm>
                    <a:off x="17634929" y="4423091"/>
                    <a:ext cx="82545" cy="135264"/>
                  </a:xfrm>
                  <a:custGeom>
                    <a:avLst/>
                    <a:gdLst>
                      <a:gd name="connsiteX0" fmla="*/ 67765 w 82545"/>
                      <a:gd name="connsiteY0" fmla="*/ 135265 h 135264"/>
                      <a:gd name="connsiteX1" fmla="*/ 67765 w 82545"/>
                      <a:gd name="connsiteY1" fmla="*/ 135265 h 135264"/>
                      <a:gd name="connsiteX2" fmla="*/ 53091 w 82545"/>
                      <a:gd name="connsiteY2" fmla="*/ 120591 h 135264"/>
                      <a:gd name="connsiteX3" fmla="*/ 6133 w 82545"/>
                      <a:gd name="connsiteY3" fmla="*/ 26678 h 135264"/>
                      <a:gd name="connsiteX4" fmla="*/ 3199 w 82545"/>
                      <a:gd name="connsiteY4" fmla="*/ 6134 h 135264"/>
                      <a:gd name="connsiteX5" fmla="*/ 23743 w 82545"/>
                      <a:gd name="connsiteY5" fmla="*/ 3199 h 135264"/>
                      <a:gd name="connsiteX6" fmla="*/ 82439 w 82545"/>
                      <a:gd name="connsiteY6" fmla="*/ 120591 h 135264"/>
                      <a:gd name="connsiteX7" fmla="*/ 67765 w 82545"/>
                      <a:gd name="connsiteY7" fmla="*/ 135265 h 135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545" h="135264">
                        <a:moveTo>
                          <a:pt x="67765" y="135265"/>
                        </a:moveTo>
                        <a:cubicBezTo>
                          <a:pt x="67765" y="135265"/>
                          <a:pt x="67765" y="135265"/>
                          <a:pt x="67765" y="135265"/>
                        </a:cubicBezTo>
                        <a:cubicBezTo>
                          <a:pt x="58961" y="135265"/>
                          <a:pt x="53091" y="129395"/>
                          <a:pt x="53091" y="120591"/>
                        </a:cubicBezTo>
                        <a:cubicBezTo>
                          <a:pt x="56025" y="64830"/>
                          <a:pt x="6133" y="29612"/>
                          <a:pt x="6133" y="26678"/>
                        </a:cubicBezTo>
                        <a:cubicBezTo>
                          <a:pt x="265" y="20808"/>
                          <a:pt x="-2671" y="12004"/>
                          <a:pt x="3199" y="6134"/>
                        </a:cubicBezTo>
                        <a:cubicBezTo>
                          <a:pt x="9069" y="265"/>
                          <a:pt x="17873" y="-2670"/>
                          <a:pt x="23743" y="3199"/>
                        </a:cubicBezTo>
                        <a:cubicBezTo>
                          <a:pt x="26677" y="6134"/>
                          <a:pt x="85373" y="47221"/>
                          <a:pt x="82439" y="120591"/>
                        </a:cubicBezTo>
                        <a:cubicBezTo>
                          <a:pt x="82439" y="129395"/>
                          <a:pt x="76569" y="135265"/>
                          <a:pt x="67765" y="135265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92" name="图形 1">
                  <a:extLst>
                    <a:ext uri="{FF2B5EF4-FFF2-40B4-BE49-F238E27FC236}">
                      <a16:creationId xmlns:a16="http://schemas.microsoft.com/office/drawing/2014/main" id="{D0F9DCF2-F503-4BF4-8044-89C8F90D4838}"/>
                    </a:ext>
                  </a:extLst>
                </p:cNvPr>
                <p:cNvGrpSpPr/>
                <p:nvPr/>
              </p:nvGrpSpPr>
              <p:grpSpPr>
                <a:xfrm>
                  <a:off x="16123781" y="5318465"/>
                  <a:ext cx="322826" cy="381521"/>
                  <a:chOff x="16123781" y="5318465"/>
                  <a:chExt cx="322826" cy="381521"/>
                </a:xfrm>
              </p:grpSpPr>
              <p:grpSp>
                <p:nvGrpSpPr>
                  <p:cNvPr id="208" name="图形 1">
                    <a:extLst>
                      <a:ext uri="{FF2B5EF4-FFF2-40B4-BE49-F238E27FC236}">
                        <a16:creationId xmlns:a16="http://schemas.microsoft.com/office/drawing/2014/main" id="{958E44CD-975B-409A-8B74-0FA7507342BB}"/>
                      </a:ext>
                    </a:extLst>
                  </p:cNvPr>
                  <p:cNvGrpSpPr/>
                  <p:nvPr/>
                </p:nvGrpSpPr>
                <p:grpSpPr>
                  <a:xfrm>
                    <a:off x="16123781" y="5318465"/>
                    <a:ext cx="322826" cy="381521"/>
                    <a:chOff x="16123781" y="5318465"/>
                    <a:chExt cx="322826" cy="381521"/>
                  </a:xfrm>
                </p:grpSpPr>
                <p:sp>
                  <p:nvSpPr>
                    <p:cNvPr id="210" name="任意多边形: 形状 209">
                      <a:extLst>
                        <a:ext uri="{FF2B5EF4-FFF2-40B4-BE49-F238E27FC236}">
                          <a16:creationId xmlns:a16="http://schemas.microsoft.com/office/drawing/2014/main" id="{D5A067CC-C89F-45FA-8FB4-DA3E6D3BBE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6241172" y="5318465"/>
                      <a:ext cx="88043" cy="140869"/>
                    </a:xfrm>
                    <a:custGeom>
                      <a:avLst/>
                      <a:gdLst>
                        <a:gd name="connsiteX0" fmla="*/ 76305 w 88043"/>
                        <a:gd name="connsiteY0" fmla="*/ 0 h 140869"/>
                        <a:gd name="connsiteX1" fmla="*/ 11739 w 88043"/>
                        <a:gd name="connsiteY1" fmla="*/ 0 h 140869"/>
                        <a:gd name="connsiteX2" fmla="*/ 0 w 88043"/>
                        <a:gd name="connsiteY2" fmla="*/ 11739 h 140869"/>
                        <a:gd name="connsiteX3" fmla="*/ 0 w 88043"/>
                        <a:gd name="connsiteY3" fmla="*/ 129130 h 140869"/>
                        <a:gd name="connsiteX4" fmla="*/ 11739 w 88043"/>
                        <a:gd name="connsiteY4" fmla="*/ 140869 h 140869"/>
                        <a:gd name="connsiteX5" fmla="*/ 76305 w 88043"/>
                        <a:gd name="connsiteY5" fmla="*/ 140869 h 140869"/>
                        <a:gd name="connsiteX6" fmla="*/ 88043 w 88043"/>
                        <a:gd name="connsiteY6" fmla="*/ 129130 h 140869"/>
                        <a:gd name="connsiteX7" fmla="*/ 88043 w 88043"/>
                        <a:gd name="connsiteY7" fmla="*/ 11739 h 140869"/>
                        <a:gd name="connsiteX8" fmla="*/ 76305 w 88043"/>
                        <a:gd name="connsiteY8" fmla="*/ 0 h 1408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043" h="140869">
                          <a:moveTo>
                            <a:pt x="76305" y="0"/>
                          </a:moveTo>
                          <a:lnTo>
                            <a:pt x="11739" y="0"/>
                          </a:lnTo>
                          <a:cubicBezTo>
                            <a:pt x="5870" y="0"/>
                            <a:pt x="0" y="5870"/>
                            <a:pt x="0" y="11739"/>
                          </a:cubicBezTo>
                          <a:lnTo>
                            <a:pt x="0" y="129130"/>
                          </a:lnTo>
                          <a:cubicBezTo>
                            <a:pt x="0" y="135000"/>
                            <a:pt x="5870" y="140869"/>
                            <a:pt x="11739" y="140869"/>
                          </a:cubicBezTo>
                          <a:lnTo>
                            <a:pt x="76305" y="140869"/>
                          </a:lnTo>
                          <a:cubicBezTo>
                            <a:pt x="82174" y="140869"/>
                            <a:pt x="88043" y="135000"/>
                            <a:pt x="88043" y="129130"/>
                          </a:cubicBezTo>
                          <a:lnTo>
                            <a:pt x="88043" y="11739"/>
                          </a:lnTo>
                          <a:cubicBezTo>
                            <a:pt x="88043" y="5870"/>
                            <a:pt x="82174" y="0"/>
                            <a:pt x="76305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211" name="任意多边形: 形状 210">
                      <a:extLst>
                        <a:ext uri="{FF2B5EF4-FFF2-40B4-BE49-F238E27FC236}">
                          <a16:creationId xmlns:a16="http://schemas.microsoft.com/office/drawing/2014/main" id="{7201269A-5512-4499-B9C4-845A228F2F3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6123781" y="5377160"/>
                      <a:ext cx="322826" cy="322826"/>
                    </a:xfrm>
                    <a:custGeom>
                      <a:avLst/>
                      <a:gdLst>
                        <a:gd name="connsiteX0" fmla="*/ 161413 w 322826"/>
                        <a:gd name="connsiteY0" fmla="*/ 0 h 322826"/>
                        <a:gd name="connsiteX1" fmla="*/ 0 w 322826"/>
                        <a:gd name="connsiteY1" fmla="*/ 161413 h 322826"/>
                        <a:gd name="connsiteX2" fmla="*/ 161413 w 322826"/>
                        <a:gd name="connsiteY2" fmla="*/ 322826 h 322826"/>
                        <a:gd name="connsiteX3" fmla="*/ 322826 w 322826"/>
                        <a:gd name="connsiteY3" fmla="*/ 161413 h 322826"/>
                        <a:gd name="connsiteX4" fmla="*/ 161413 w 322826"/>
                        <a:gd name="connsiteY4" fmla="*/ 0 h 3228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22826" h="322826">
                          <a:moveTo>
                            <a:pt x="161413" y="0"/>
                          </a:moveTo>
                          <a:cubicBezTo>
                            <a:pt x="73370" y="0"/>
                            <a:pt x="0" y="73370"/>
                            <a:pt x="0" y="161413"/>
                          </a:cubicBezTo>
                          <a:cubicBezTo>
                            <a:pt x="0" y="249457"/>
                            <a:pt x="73370" y="322826"/>
                            <a:pt x="161413" y="322826"/>
                          </a:cubicBezTo>
                          <a:cubicBezTo>
                            <a:pt x="249457" y="322826"/>
                            <a:pt x="322826" y="249457"/>
                            <a:pt x="322826" y="161413"/>
                          </a:cubicBezTo>
                          <a:cubicBezTo>
                            <a:pt x="319891" y="70435"/>
                            <a:pt x="249457" y="0"/>
                            <a:pt x="161413" y="0"/>
                          </a:cubicBezTo>
                          <a:close/>
                        </a:path>
                      </a:pathLst>
                    </a:custGeom>
                    <a:solidFill>
                      <a:srgbClr val="7F95BC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209" name="任意多边形: 形状 208">
                    <a:extLst>
                      <a:ext uri="{FF2B5EF4-FFF2-40B4-BE49-F238E27FC236}">
                        <a16:creationId xmlns:a16="http://schemas.microsoft.com/office/drawing/2014/main" id="{7960A635-420E-422B-BF66-7DB9A8965570}"/>
                      </a:ext>
                    </a:extLst>
                  </p:cNvPr>
                  <p:cNvSpPr/>
                  <p:nvPr/>
                </p:nvSpPr>
                <p:spPr>
                  <a:xfrm>
                    <a:off x="16314277" y="5429722"/>
                    <a:ext cx="82545" cy="135264"/>
                  </a:xfrm>
                  <a:custGeom>
                    <a:avLst/>
                    <a:gdLst>
                      <a:gd name="connsiteX0" fmla="*/ 67765 w 82545"/>
                      <a:gd name="connsiteY0" fmla="*/ 135265 h 135264"/>
                      <a:gd name="connsiteX1" fmla="*/ 67765 w 82545"/>
                      <a:gd name="connsiteY1" fmla="*/ 135265 h 135264"/>
                      <a:gd name="connsiteX2" fmla="*/ 53091 w 82545"/>
                      <a:gd name="connsiteY2" fmla="*/ 120591 h 135264"/>
                      <a:gd name="connsiteX3" fmla="*/ 6135 w 82545"/>
                      <a:gd name="connsiteY3" fmla="*/ 26678 h 135264"/>
                      <a:gd name="connsiteX4" fmla="*/ 3200 w 82545"/>
                      <a:gd name="connsiteY4" fmla="*/ 6134 h 135264"/>
                      <a:gd name="connsiteX5" fmla="*/ 23743 w 82545"/>
                      <a:gd name="connsiteY5" fmla="*/ 3199 h 135264"/>
                      <a:gd name="connsiteX6" fmla="*/ 82439 w 82545"/>
                      <a:gd name="connsiteY6" fmla="*/ 120591 h 135264"/>
                      <a:gd name="connsiteX7" fmla="*/ 67765 w 82545"/>
                      <a:gd name="connsiteY7" fmla="*/ 135265 h 135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545" h="135264">
                        <a:moveTo>
                          <a:pt x="67765" y="135265"/>
                        </a:moveTo>
                        <a:cubicBezTo>
                          <a:pt x="67765" y="135265"/>
                          <a:pt x="67765" y="135265"/>
                          <a:pt x="67765" y="135265"/>
                        </a:cubicBezTo>
                        <a:cubicBezTo>
                          <a:pt x="58960" y="135265"/>
                          <a:pt x="53091" y="129395"/>
                          <a:pt x="53091" y="120591"/>
                        </a:cubicBezTo>
                        <a:cubicBezTo>
                          <a:pt x="56025" y="61895"/>
                          <a:pt x="6135" y="29612"/>
                          <a:pt x="6135" y="26678"/>
                        </a:cubicBezTo>
                        <a:cubicBezTo>
                          <a:pt x="265" y="20808"/>
                          <a:pt x="-2670" y="12004"/>
                          <a:pt x="3200" y="6134"/>
                        </a:cubicBezTo>
                        <a:cubicBezTo>
                          <a:pt x="9070" y="265"/>
                          <a:pt x="17874" y="-2670"/>
                          <a:pt x="23743" y="3199"/>
                        </a:cubicBezTo>
                        <a:cubicBezTo>
                          <a:pt x="26678" y="6134"/>
                          <a:pt x="85373" y="47221"/>
                          <a:pt x="82439" y="120591"/>
                        </a:cubicBezTo>
                        <a:cubicBezTo>
                          <a:pt x="82439" y="129395"/>
                          <a:pt x="76569" y="135265"/>
                          <a:pt x="67765" y="135265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93" name="图形 1">
                  <a:extLst>
                    <a:ext uri="{FF2B5EF4-FFF2-40B4-BE49-F238E27FC236}">
                      <a16:creationId xmlns:a16="http://schemas.microsoft.com/office/drawing/2014/main" id="{7765B2F9-E630-4F99-9E53-F01A89D2E17D}"/>
                    </a:ext>
                  </a:extLst>
                </p:cNvPr>
                <p:cNvGrpSpPr/>
                <p:nvPr/>
              </p:nvGrpSpPr>
              <p:grpSpPr>
                <a:xfrm>
                  <a:off x="18028455" y="5248030"/>
                  <a:ext cx="322826" cy="381521"/>
                  <a:chOff x="18028455" y="5248030"/>
                  <a:chExt cx="322826" cy="381521"/>
                </a:xfrm>
              </p:grpSpPr>
              <p:grpSp>
                <p:nvGrpSpPr>
                  <p:cNvPr id="204" name="图形 1">
                    <a:extLst>
                      <a:ext uri="{FF2B5EF4-FFF2-40B4-BE49-F238E27FC236}">
                        <a16:creationId xmlns:a16="http://schemas.microsoft.com/office/drawing/2014/main" id="{920C9ADA-2EA2-480F-B7DB-DEE01FA2EABE}"/>
                      </a:ext>
                    </a:extLst>
                  </p:cNvPr>
                  <p:cNvGrpSpPr/>
                  <p:nvPr/>
                </p:nvGrpSpPr>
                <p:grpSpPr>
                  <a:xfrm>
                    <a:off x="18028455" y="5248030"/>
                    <a:ext cx="322826" cy="381521"/>
                    <a:chOff x="18028455" y="5248030"/>
                    <a:chExt cx="322826" cy="381521"/>
                  </a:xfrm>
                </p:grpSpPr>
                <p:sp>
                  <p:nvSpPr>
                    <p:cNvPr id="206" name="任意多边形: 形状 205">
                      <a:extLst>
                        <a:ext uri="{FF2B5EF4-FFF2-40B4-BE49-F238E27FC236}">
                          <a16:creationId xmlns:a16="http://schemas.microsoft.com/office/drawing/2014/main" id="{C6DB421A-EAC3-448F-AAF6-B134B4CCF3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145846" y="5248030"/>
                      <a:ext cx="88043" cy="140869"/>
                    </a:xfrm>
                    <a:custGeom>
                      <a:avLst/>
                      <a:gdLst>
                        <a:gd name="connsiteX0" fmla="*/ 76305 w 88043"/>
                        <a:gd name="connsiteY0" fmla="*/ 0 h 140869"/>
                        <a:gd name="connsiteX1" fmla="*/ 11740 w 88043"/>
                        <a:gd name="connsiteY1" fmla="*/ 0 h 140869"/>
                        <a:gd name="connsiteX2" fmla="*/ 0 w 88043"/>
                        <a:gd name="connsiteY2" fmla="*/ 11739 h 140869"/>
                        <a:gd name="connsiteX3" fmla="*/ 0 w 88043"/>
                        <a:gd name="connsiteY3" fmla="*/ 129130 h 140869"/>
                        <a:gd name="connsiteX4" fmla="*/ 11740 w 88043"/>
                        <a:gd name="connsiteY4" fmla="*/ 140870 h 140869"/>
                        <a:gd name="connsiteX5" fmla="*/ 76305 w 88043"/>
                        <a:gd name="connsiteY5" fmla="*/ 140870 h 140869"/>
                        <a:gd name="connsiteX6" fmla="*/ 88043 w 88043"/>
                        <a:gd name="connsiteY6" fmla="*/ 129130 h 140869"/>
                        <a:gd name="connsiteX7" fmla="*/ 88043 w 88043"/>
                        <a:gd name="connsiteY7" fmla="*/ 11739 h 140869"/>
                        <a:gd name="connsiteX8" fmla="*/ 76305 w 88043"/>
                        <a:gd name="connsiteY8" fmla="*/ 0 h 1408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043" h="140869">
                          <a:moveTo>
                            <a:pt x="76305" y="0"/>
                          </a:moveTo>
                          <a:lnTo>
                            <a:pt x="11740" y="0"/>
                          </a:lnTo>
                          <a:cubicBezTo>
                            <a:pt x="5870" y="0"/>
                            <a:pt x="0" y="5870"/>
                            <a:pt x="0" y="11739"/>
                          </a:cubicBezTo>
                          <a:lnTo>
                            <a:pt x="0" y="129130"/>
                          </a:lnTo>
                          <a:cubicBezTo>
                            <a:pt x="0" y="135000"/>
                            <a:pt x="5870" y="140870"/>
                            <a:pt x="11740" y="140870"/>
                          </a:cubicBezTo>
                          <a:lnTo>
                            <a:pt x="76305" y="140870"/>
                          </a:lnTo>
                          <a:cubicBezTo>
                            <a:pt x="82174" y="140870"/>
                            <a:pt x="88043" y="135000"/>
                            <a:pt x="88043" y="129130"/>
                          </a:cubicBezTo>
                          <a:lnTo>
                            <a:pt x="88043" y="11739"/>
                          </a:lnTo>
                          <a:cubicBezTo>
                            <a:pt x="88043" y="5870"/>
                            <a:pt x="82174" y="0"/>
                            <a:pt x="76305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207" name="任意多边形: 形状 206">
                      <a:extLst>
                        <a:ext uri="{FF2B5EF4-FFF2-40B4-BE49-F238E27FC236}">
                          <a16:creationId xmlns:a16="http://schemas.microsoft.com/office/drawing/2014/main" id="{B689A4C0-6D5E-40C7-A07A-0855005C98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028455" y="5306725"/>
                      <a:ext cx="322826" cy="322826"/>
                    </a:xfrm>
                    <a:custGeom>
                      <a:avLst/>
                      <a:gdLst>
                        <a:gd name="connsiteX0" fmla="*/ 161413 w 322826"/>
                        <a:gd name="connsiteY0" fmla="*/ 0 h 322826"/>
                        <a:gd name="connsiteX1" fmla="*/ 0 w 322826"/>
                        <a:gd name="connsiteY1" fmla="*/ 161413 h 322826"/>
                        <a:gd name="connsiteX2" fmla="*/ 161413 w 322826"/>
                        <a:gd name="connsiteY2" fmla="*/ 322826 h 322826"/>
                        <a:gd name="connsiteX3" fmla="*/ 322826 w 322826"/>
                        <a:gd name="connsiteY3" fmla="*/ 161413 h 322826"/>
                        <a:gd name="connsiteX4" fmla="*/ 161413 w 322826"/>
                        <a:gd name="connsiteY4" fmla="*/ 0 h 3228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22826" h="322826">
                          <a:moveTo>
                            <a:pt x="161413" y="0"/>
                          </a:moveTo>
                          <a:cubicBezTo>
                            <a:pt x="73370" y="0"/>
                            <a:pt x="0" y="73370"/>
                            <a:pt x="0" y="161413"/>
                          </a:cubicBezTo>
                          <a:cubicBezTo>
                            <a:pt x="0" y="249457"/>
                            <a:pt x="73370" y="322826"/>
                            <a:pt x="161413" y="322826"/>
                          </a:cubicBezTo>
                          <a:cubicBezTo>
                            <a:pt x="249457" y="322826"/>
                            <a:pt x="322826" y="249457"/>
                            <a:pt x="322826" y="161413"/>
                          </a:cubicBezTo>
                          <a:cubicBezTo>
                            <a:pt x="319892" y="70435"/>
                            <a:pt x="249457" y="0"/>
                            <a:pt x="161413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205" name="任意多边形: 形状 204">
                    <a:extLst>
                      <a:ext uri="{FF2B5EF4-FFF2-40B4-BE49-F238E27FC236}">
                        <a16:creationId xmlns:a16="http://schemas.microsoft.com/office/drawing/2014/main" id="{4F98545D-4350-4791-AC3C-555318EB6967}"/>
                      </a:ext>
                    </a:extLst>
                  </p:cNvPr>
                  <p:cNvSpPr/>
                  <p:nvPr/>
                </p:nvSpPr>
                <p:spPr>
                  <a:xfrm>
                    <a:off x="18218951" y="5359287"/>
                    <a:ext cx="82544" cy="135264"/>
                  </a:xfrm>
                  <a:custGeom>
                    <a:avLst/>
                    <a:gdLst>
                      <a:gd name="connsiteX0" fmla="*/ 67764 w 82544"/>
                      <a:gd name="connsiteY0" fmla="*/ 135265 h 135264"/>
                      <a:gd name="connsiteX1" fmla="*/ 67764 w 82544"/>
                      <a:gd name="connsiteY1" fmla="*/ 135265 h 135264"/>
                      <a:gd name="connsiteX2" fmla="*/ 53090 w 82544"/>
                      <a:gd name="connsiteY2" fmla="*/ 120591 h 135264"/>
                      <a:gd name="connsiteX3" fmla="*/ 6134 w 82544"/>
                      <a:gd name="connsiteY3" fmla="*/ 26678 h 135264"/>
                      <a:gd name="connsiteX4" fmla="*/ 3200 w 82544"/>
                      <a:gd name="connsiteY4" fmla="*/ 6134 h 135264"/>
                      <a:gd name="connsiteX5" fmla="*/ 23742 w 82544"/>
                      <a:gd name="connsiteY5" fmla="*/ 3199 h 135264"/>
                      <a:gd name="connsiteX6" fmla="*/ 82438 w 82544"/>
                      <a:gd name="connsiteY6" fmla="*/ 120591 h 135264"/>
                      <a:gd name="connsiteX7" fmla="*/ 67764 w 82544"/>
                      <a:gd name="connsiteY7" fmla="*/ 135265 h 135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544" h="135264">
                        <a:moveTo>
                          <a:pt x="67764" y="135265"/>
                        </a:moveTo>
                        <a:cubicBezTo>
                          <a:pt x="67764" y="135265"/>
                          <a:pt x="67764" y="135265"/>
                          <a:pt x="67764" y="135265"/>
                        </a:cubicBezTo>
                        <a:cubicBezTo>
                          <a:pt x="58960" y="135265"/>
                          <a:pt x="53090" y="129395"/>
                          <a:pt x="53090" y="120591"/>
                        </a:cubicBezTo>
                        <a:cubicBezTo>
                          <a:pt x="56026" y="61895"/>
                          <a:pt x="6134" y="29612"/>
                          <a:pt x="6134" y="26678"/>
                        </a:cubicBezTo>
                        <a:cubicBezTo>
                          <a:pt x="264" y="20808"/>
                          <a:pt x="-2670" y="12004"/>
                          <a:pt x="3200" y="6134"/>
                        </a:cubicBezTo>
                        <a:cubicBezTo>
                          <a:pt x="9068" y="265"/>
                          <a:pt x="17874" y="-2670"/>
                          <a:pt x="23742" y="3199"/>
                        </a:cubicBezTo>
                        <a:cubicBezTo>
                          <a:pt x="26678" y="6134"/>
                          <a:pt x="85373" y="47221"/>
                          <a:pt x="82438" y="120591"/>
                        </a:cubicBezTo>
                        <a:cubicBezTo>
                          <a:pt x="82438" y="129395"/>
                          <a:pt x="76569" y="135265"/>
                          <a:pt x="67764" y="135265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94" name="图形 1">
                  <a:extLst>
                    <a:ext uri="{FF2B5EF4-FFF2-40B4-BE49-F238E27FC236}">
                      <a16:creationId xmlns:a16="http://schemas.microsoft.com/office/drawing/2014/main" id="{D20F491A-2110-4724-AA38-F0DF8F3060DB}"/>
                    </a:ext>
                  </a:extLst>
                </p:cNvPr>
                <p:cNvGrpSpPr/>
                <p:nvPr/>
              </p:nvGrpSpPr>
              <p:grpSpPr>
                <a:xfrm>
                  <a:off x="16698998" y="3534117"/>
                  <a:ext cx="322826" cy="381521"/>
                  <a:chOff x="16698998" y="3534117"/>
                  <a:chExt cx="322826" cy="381521"/>
                </a:xfrm>
              </p:grpSpPr>
              <p:grpSp>
                <p:nvGrpSpPr>
                  <p:cNvPr id="200" name="图形 1">
                    <a:extLst>
                      <a:ext uri="{FF2B5EF4-FFF2-40B4-BE49-F238E27FC236}">
                        <a16:creationId xmlns:a16="http://schemas.microsoft.com/office/drawing/2014/main" id="{63D67BB2-DD1A-414A-9B24-A84F0585F0CA}"/>
                      </a:ext>
                    </a:extLst>
                  </p:cNvPr>
                  <p:cNvGrpSpPr/>
                  <p:nvPr/>
                </p:nvGrpSpPr>
                <p:grpSpPr>
                  <a:xfrm>
                    <a:off x="16698998" y="3534117"/>
                    <a:ext cx="322826" cy="381521"/>
                    <a:chOff x="16698998" y="3534117"/>
                    <a:chExt cx="322826" cy="381521"/>
                  </a:xfrm>
                </p:grpSpPr>
                <p:sp>
                  <p:nvSpPr>
                    <p:cNvPr id="202" name="任意多边形: 形状 201">
                      <a:extLst>
                        <a:ext uri="{FF2B5EF4-FFF2-40B4-BE49-F238E27FC236}">
                          <a16:creationId xmlns:a16="http://schemas.microsoft.com/office/drawing/2014/main" id="{F4CB3820-CDAB-4B48-BB0B-BC6F27E25A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6816390" y="3534117"/>
                      <a:ext cx="88043" cy="140869"/>
                    </a:xfrm>
                    <a:custGeom>
                      <a:avLst/>
                      <a:gdLst>
                        <a:gd name="connsiteX0" fmla="*/ 76305 w 88043"/>
                        <a:gd name="connsiteY0" fmla="*/ 0 h 140869"/>
                        <a:gd name="connsiteX1" fmla="*/ 11739 w 88043"/>
                        <a:gd name="connsiteY1" fmla="*/ 0 h 140869"/>
                        <a:gd name="connsiteX2" fmla="*/ 0 w 88043"/>
                        <a:gd name="connsiteY2" fmla="*/ 11739 h 140869"/>
                        <a:gd name="connsiteX3" fmla="*/ 0 w 88043"/>
                        <a:gd name="connsiteY3" fmla="*/ 129130 h 140869"/>
                        <a:gd name="connsiteX4" fmla="*/ 11739 w 88043"/>
                        <a:gd name="connsiteY4" fmla="*/ 140870 h 140869"/>
                        <a:gd name="connsiteX5" fmla="*/ 76305 w 88043"/>
                        <a:gd name="connsiteY5" fmla="*/ 140870 h 140869"/>
                        <a:gd name="connsiteX6" fmla="*/ 88043 w 88043"/>
                        <a:gd name="connsiteY6" fmla="*/ 129130 h 140869"/>
                        <a:gd name="connsiteX7" fmla="*/ 88043 w 88043"/>
                        <a:gd name="connsiteY7" fmla="*/ 11739 h 140869"/>
                        <a:gd name="connsiteX8" fmla="*/ 76305 w 88043"/>
                        <a:gd name="connsiteY8" fmla="*/ 0 h 1408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043" h="140869">
                          <a:moveTo>
                            <a:pt x="76305" y="0"/>
                          </a:moveTo>
                          <a:lnTo>
                            <a:pt x="11739" y="0"/>
                          </a:lnTo>
                          <a:cubicBezTo>
                            <a:pt x="5870" y="0"/>
                            <a:pt x="0" y="5870"/>
                            <a:pt x="0" y="11739"/>
                          </a:cubicBezTo>
                          <a:lnTo>
                            <a:pt x="0" y="129130"/>
                          </a:lnTo>
                          <a:cubicBezTo>
                            <a:pt x="0" y="135000"/>
                            <a:pt x="5870" y="140870"/>
                            <a:pt x="11739" y="140870"/>
                          </a:cubicBezTo>
                          <a:lnTo>
                            <a:pt x="76305" y="140870"/>
                          </a:lnTo>
                          <a:cubicBezTo>
                            <a:pt x="82174" y="140870"/>
                            <a:pt x="88043" y="135000"/>
                            <a:pt x="88043" y="129130"/>
                          </a:cubicBezTo>
                          <a:lnTo>
                            <a:pt x="88043" y="11739"/>
                          </a:lnTo>
                          <a:cubicBezTo>
                            <a:pt x="88043" y="5870"/>
                            <a:pt x="85109" y="0"/>
                            <a:pt x="76305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203" name="任意多边形: 形状 202">
                      <a:extLst>
                        <a:ext uri="{FF2B5EF4-FFF2-40B4-BE49-F238E27FC236}">
                          <a16:creationId xmlns:a16="http://schemas.microsoft.com/office/drawing/2014/main" id="{BD69245E-46B9-4F31-AC1D-8EB746F72C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6698998" y="3592813"/>
                      <a:ext cx="322826" cy="322826"/>
                    </a:xfrm>
                    <a:custGeom>
                      <a:avLst/>
                      <a:gdLst>
                        <a:gd name="connsiteX0" fmla="*/ 161413 w 322826"/>
                        <a:gd name="connsiteY0" fmla="*/ 0 h 322826"/>
                        <a:gd name="connsiteX1" fmla="*/ 0 w 322826"/>
                        <a:gd name="connsiteY1" fmla="*/ 161413 h 322826"/>
                        <a:gd name="connsiteX2" fmla="*/ 161413 w 322826"/>
                        <a:gd name="connsiteY2" fmla="*/ 322826 h 322826"/>
                        <a:gd name="connsiteX3" fmla="*/ 322826 w 322826"/>
                        <a:gd name="connsiteY3" fmla="*/ 161413 h 322826"/>
                        <a:gd name="connsiteX4" fmla="*/ 161413 w 322826"/>
                        <a:gd name="connsiteY4" fmla="*/ 0 h 3228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22826" h="322826">
                          <a:moveTo>
                            <a:pt x="161413" y="0"/>
                          </a:moveTo>
                          <a:cubicBezTo>
                            <a:pt x="73370" y="0"/>
                            <a:pt x="0" y="73370"/>
                            <a:pt x="0" y="161413"/>
                          </a:cubicBezTo>
                          <a:cubicBezTo>
                            <a:pt x="0" y="249457"/>
                            <a:pt x="73370" y="322826"/>
                            <a:pt x="161413" y="322826"/>
                          </a:cubicBezTo>
                          <a:cubicBezTo>
                            <a:pt x="249457" y="322826"/>
                            <a:pt x="322826" y="249457"/>
                            <a:pt x="322826" y="161413"/>
                          </a:cubicBezTo>
                          <a:cubicBezTo>
                            <a:pt x="322826" y="73370"/>
                            <a:pt x="252391" y="0"/>
                            <a:pt x="161413" y="0"/>
                          </a:cubicBezTo>
                          <a:close/>
                        </a:path>
                      </a:pathLst>
                    </a:custGeom>
                    <a:solidFill>
                      <a:srgbClr val="7F95BC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201" name="任意多边形: 形状 200">
                    <a:extLst>
                      <a:ext uri="{FF2B5EF4-FFF2-40B4-BE49-F238E27FC236}">
                        <a16:creationId xmlns:a16="http://schemas.microsoft.com/office/drawing/2014/main" id="{5DD7E0EB-56FB-45F2-8816-B5DB9AF7CC1F}"/>
                      </a:ext>
                    </a:extLst>
                  </p:cNvPr>
                  <p:cNvSpPr/>
                  <p:nvPr/>
                </p:nvSpPr>
                <p:spPr>
                  <a:xfrm>
                    <a:off x="16892430" y="3648309"/>
                    <a:ext cx="82544" cy="135264"/>
                  </a:xfrm>
                  <a:custGeom>
                    <a:avLst/>
                    <a:gdLst>
                      <a:gd name="connsiteX0" fmla="*/ 67764 w 82544"/>
                      <a:gd name="connsiteY0" fmla="*/ 135265 h 135264"/>
                      <a:gd name="connsiteX1" fmla="*/ 67764 w 82544"/>
                      <a:gd name="connsiteY1" fmla="*/ 135265 h 135264"/>
                      <a:gd name="connsiteX2" fmla="*/ 53090 w 82544"/>
                      <a:gd name="connsiteY2" fmla="*/ 120591 h 135264"/>
                      <a:gd name="connsiteX3" fmla="*/ 6134 w 82544"/>
                      <a:gd name="connsiteY3" fmla="*/ 26678 h 135264"/>
                      <a:gd name="connsiteX4" fmla="*/ 3200 w 82544"/>
                      <a:gd name="connsiteY4" fmla="*/ 6134 h 135264"/>
                      <a:gd name="connsiteX5" fmla="*/ 23743 w 82544"/>
                      <a:gd name="connsiteY5" fmla="*/ 3200 h 135264"/>
                      <a:gd name="connsiteX6" fmla="*/ 82438 w 82544"/>
                      <a:gd name="connsiteY6" fmla="*/ 120591 h 135264"/>
                      <a:gd name="connsiteX7" fmla="*/ 67764 w 82544"/>
                      <a:gd name="connsiteY7" fmla="*/ 135265 h 135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544" h="135264">
                        <a:moveTo>
                          <a:pt x="67764" y="135265"/>
                        </a:moveTo>
                        <a:cubicBezTo>
                          <a:pt x="67764" y="135265"/>
                          <a:pt x="67764" y="135265"/>
                          <a:pt x="67764" y="135265"/>
                        </a:cubicBezTo>
                        <a:cubicBezTo>
                          <a:pt x="58960" y="135265"/>
                          <a:pt x="53090" y="129395"/>
                          <a:pt x="53090" y="120591"/>
                        </a:cubicBezTo>
                        <a:cubicBezTo>
                          <a:pt x="56025" y="61895"/>
                          <a:pt x="6134" y="29612"/>
                          <a:pt x="6134" y="26678"/>
                        </a:cubicBezTo>
                        <a:cubicBezTo>
                          <a:pt x="265" y="20808"/>
                          <a:pt x="-2670" y="12004"/>
                          <a:pt x="3200" y="6134"/>
                        </a:cubicBezTo>
                        <a:cubicBezTo>
                          <a:pt x="9069" y="265"/>
                          <a:pt x="17874" y="-2670"/>
                          <a:pt x="23743" y="3200"/>
                        </a:cubicBezTo>
                        <a:cubicBezTo>
                          <a:pt x="26678" y="6134"/>
                          <a:pt x="85373" y="47221"/>
                          <a:pt x="82438" y="120591"/>
                        </a:cubicBezTo>
                        <a:cubicBezTo>
                          <a:pt x="82438" y="129395"/>
                          <a:pt x="73634" y="135265"/>
                          <a:pt x="67764" y="135265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95" name="图形 1">
                  <a:extLst>
                    <a:ext uri="{FF2B5EF4-FFF2-40B4-BE49-F238E27FC236}">
                      <a16:creationId xmlns:a16="http://schemas.microsoft.com/office/drawing/2014/main" id="{8F178A3F-B1A8-49BD-9837-09D61593792C}"/>
                    </a:ext>
                  </a:extLst>
                </p:cNvPr>
                <p:cNvGrpSpPr/>
                <p:nvPr/>
              </p:nvGrpSpPr>
              <p:grpSpPr>
                <a:xfrm>
                  <a:off x="17230194" y="2735856"/>
                  <a:ext cx="322825" cy="381521"/>
                  <a:chOff x="17230194" y="2735856"/>
                  <a:chExt cx="322825" cy="381521"/>
                </a:xfrm>
              </p:grpSpPr>
              <p:grpSp>
                <p:nvGrpSpPr>
                  <p:cNvPr id="196" name="图形 1">
                    <a:extLst>
                      <a:ext uri="{FF2B5EF4-FFF2-40B4-BE49-F238E27FC236}">
                        <a16:creationId xmlns:a16="http://schemas.microsoft.com/office/drawing/2014/main" id="{02C9CA44-DCF6-4DB2-BD40-73442B804B55}"/>
                      </a:ext>
                    </a:extLst>
                  </p:cNvPr>
                  <p:cNvGrpSpPr/>
                  <p:nvPr/>
                </p:nvGrpSpPr>
                <p:grpSpPr>
                  <a:xfrm>
                    <a:off x="17230194" y="2735856"/>
                    <a:ext cx="322825" cy="381521"/>
                    <a:chOff x="17230194" y="2735856"/>
                    <a:chExt cx="322825" cy="381521"/>
                  </a:xfrm>
                </p:grpSpPr>
                <p:sp>
                  <p:nvSpPr>
                    <p:cNvPr id="198" name="任意多边形: 形状 197">
                      <a:extLst>
                        <a:ext uri="{FF2B5EF4-FFF2-40B4-BE49-F238E27FC236}">
                          <a16:creationId xmlns:a16="http://schemas.microsoft.com/office/drawing/2014/main" id="{BA2D9F25-B7F3-449F-B7B1-8E1593A754F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7347586" y="2735856"/>
                      <a:ext cx="88042" cy="140869"/>
                    </a:xfrm>
                    <a:custGeom>
                      <a:avLst/>
                      <a:gdLst>
                        <a:gd name="connsiteX0" fmla="*/ 76305 w 88042"/>
                        <a:gd name="connsiteY0" fmla="*/ 0 h 140869"/>
                        <a:gd name="connsiteX1" fmla="*/ 11739 w 88042"/>
                        <a:gd name="connsiteY1" fmla="*/ 0 h 140869"/>
                        <a:gd name="connsiteX2" fmla="*/ 0 w 88042"/>
                        <a:gd name="connsiteY2" fmla="*/ 11739 h 140869"/>
                        <a:gd name="connsiteX3" fmla="*/ 0 w 88042"/>
                        <a:gd name="connsiteY3" fmla="*/ 129130 h 140869"/>
                        <a:gd name="connsiteX4" fmla="*/ 11739 w 88042"/>
                        <a:gd name="connsiteY4" fmla="*/ 140870 h 140869"/>
                        <a:gd name="connsiteX5" fmla="*/ 76305 w 88042"/>
                        <a:gd name="connsiteY5" fmla="*/ 140870 h 140869"/>
                        <a:gd name="connsiteX6" fmla="*/ 88043 w 88042"/>
                        <a:gd name="connsiteY6" fmla="*/ 129130 h 140869"/>
                        <a:gd name="connsiteX7" fmla="*/ 88043 w 88042"/>
                        <a:gd name="connsiteY7" fmla="*/ 11739 h 140869"/>
                        <a:gd name="connsiteX8" fmla="*/ 76305 w 88042"/>
                        <a:gd name="connsiteY8" fmla="*/ 0 h 1408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042" h="140869">
                          <a:moveTo>
                            <a:pt x="76305" y="0"/>
                          </a:moveTo>
                          <a:lnTo>
                            <a:pt x="11739" y="0"/>
                          </a:lnTo>
                          <a:cubicBezTo>
                            <a:pt x="5869" y="0"/>
                            <a:pt x="0" y="5870"/>
                            <a:pt x="0" y="11739"/>
                          </a:cubicBezTo>
                          <a:lnTo>
                            <a:pt x="0" y="129130"/>
                          </a:lnTo>
                          <a:cubicBezTo>
                            <a:pt x="0" y="135000"/>
                            <a:pt x="5869" y="140870"/>
                            <a:pt x="11739" y="140870"/>
                          </a:cubicBezTo>
                          <a:lnTo>
                            <a:pt x="76305" y="140870"/>
                          </a:lnTo>
                          <a:cubicBezTo>
                            <a:pt x="82174" y="140870"/>
                            <a:pt x="88043" y="135000"/>
                            <a:pt x="88043" y="129130"/>
                          </a:cubicBezTo>
                          <a:lnTo>
                            <a:pt x="88043" y="11739"/>
                          </a:lnTo>
                          <a:cubicBezTo>
                            <a:pt x="88043" y="5870"/>
                            <a:pt x="82174" y="0"/>
                            <a:pt x="76305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99" name="任意多边形: 形状 198">
                      <a:extLst>
                        <a:ext uri="{FF2B5EF4-FFF2-40B4-BE49-F238E27FC236}">
                          <a16:creationId xmlns:a16="http://schemas.microsoft.com/office/drawing/2014/main" id="{981D9F6F-84DC-4343-B7D8-A086721711D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7230194" y="2794552"/>
                      <a:ext cx="322825" cy="322826"/>
                    </a:xfrm>
                    <a:custGeom>
                      <a:avLst/>
                      <a:gdLst>
                        <a:gd name="connsiteX0" fmla="*/ 161412 w 322825"/>
                        <a:gd name="connsiteY0" fmla="*/ 0 h 322826"/>
                        <a:gd name="connsiteX1" fmla="*/ 0 w 322825"/>
                        <a:gd name="connsiteY1" fmla="*/ 161413 h 322826"/>
                        <a:gd name="connsiteX2" fmla="*/ 161412 w 322825"/>
                        <a:gd name="connsiteY2" fmla="*/ 322826 h 322826"/>
                        <a:gd name="connsiteX3" fmla="*/ 322825 w 322825"/>
                        <a:gd name="connsiteY3" fmla="*/ 161413 h 322826"/>
                        <a:gd name="connsiteX4" fmla="*/ 161412 w 322825"/>
                        <a:gd name="connsiteY4" fmla="*/ 0 h 3228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22825" h="322826">
                          <a:moveTo>
                            <a:pt x="161412" y="0"/>
                          </a:moveTo>
                          <a:cubicBezTo>
                            <a:pt x="73370" y="0"/>
                            <a:pt x="0" y="73370"/>
                            <a:pt x="0" y="161413"/>
                          </a:cubicBezTo>
                          <a:cubicBezTo>
                            <a:pt x="0" y="249457"/>
                            <a:pt x="73370" y="322826"/>
                            <a:pt x="161412" y="322826"/>
                          </a:cubicBezTo>
                          <a:cubicBezTo>
                            <a:pt x="249456" y="322826"/>
                            <a:pt x="322825" y="249457"/>
                            <a:pt x="322825" y="161413"/>
                          </a:cubicBezTo>
                          <a:cubicBezTo>
                            <a:pt x="319891" y="73370"/>
                            <a:pt x="249456" y="0"/>
                            <a:pt x="161412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97" name="任意多边形: 形状 196">
                    <a:extLst>
                      <a:ext uri="{FF2B5EF4-FFF2-40B4-BE49-F238E27FC236}">
                        <a16:creationId xmlns:a16="http://schemas.microsoft.com/office/drawing/2014/main" id="{34A7E609-0B1A-4458-A37A-EA97C37588A3}"/>
                      </a:ext>
                    </a:extLst>
                  </p:cNvPr>
                  <p:cNvSpPr/>
                  <p:nvPr/>
                </p:nvSpPr>
                <p:spPr>
                  <a:xfrm>
                    <a:off x="17420690" y="2850048"/>
                    <a:ext cx="82545" cy="135264"/>
                  </a:xfrm>
                  <a:custGeom>
                    <a:avLst/>
                    <a:gdLst>
                      <a:gd name="connsiteX0" fmla="*/ 67765 w 82545"/>
                      <a:gd name="connsiteY0" fmla="*/ 135265 h 135264"/>
                      <a:gd name="connsiteX1" fmla="*/ 67765 w 82545"/>
                      <a:gd name="connsiteY1" fmla="*/ 135265 h 135264"/>
                      <a:gd name="connsiteX2" fmla="*/ 53092 w 82545"/>
                      <a:gd name="connsiteY2" fmla="*/ 120591 h 135264"/>
                      <a:gd name="connsiteX3" fmla="*/ 6134 w 82545"/>
                      <a:gd name="connsiteY3" fmla="*/ 26678 h 135264"/>
                      <a:gd name="connsiteX4" fmla="*/ 3200 w 82545"/>
                      <a:gd name="connsiteY4" fmla="*/ 6134 h 135264"/>
                      <a:gd name="connsiteX5" fmla="*/ 23744 w 82545"/>
                      <a:gd name="connsiteY5" fmla="*/ 3199 h 135264"/>
                      <a:gd name="connsiteX6" fmla="*/ 82439 w 82545"/>
                      <a:gd name="connsiteY6" fmla="*/ 120591 h 135264"/>
                      <a:gd name="connsiteX7" fmla="*/ 67765 w 82545"/>
                      <a:gd name="connsiteY7" fmla="*/ 135265 h 135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545" h="135264">
                        <a:moveTo>
                          <a:pt x="67765" y="135265"/>
                        </a:moveTo>
                        <a:cubicBezTo>
                          <a:pt x="67765" y="135265"/>
                          <a:pt x="67765" y="135265"/>
                          <a:pt x="67765" y="135265"/>
                        </a:cubicBezTo>
                        <a:cubicBezTo>
                          <a:pt x="58960" y="135265"/>
                          <a:pt x="53092" y="129395"/>
                          <a:pt x="53092" y="120591"/>
                        </a:cubicBezTo>
                        <a:cubicBezTo>
                          <a:pt x="56026" y="64830"/>
                          <a:pt x="6134" y="29612"/>
                          <a:pt x="6134" y="26678"/>
                        </a:cubicBezTo>
                        <a:cubicBezTo>
                          <a:pt x="264" y="20808"/>
                          <a:pt x="-2670" y="12004"/>
                          <a:pt x="3200" y="6134"/>
                        </a:cubicBezTo>
                        <a:cubicBezTo>
                          <a:pt x="9070" y="265"/>
                          <a:pt x="17874" y="-2670"/>
                          <a:pt x="23744" y="3199"/>
                        </a:cubicBezTo>
                        <a:cubicBezTo>
                          <a:pt x="26678" y="6134"/>
                          <a:pt x="85373" y="47221"/>
                          <a:pt x="82439" y="120591"/>
                        </a:cubicBezTo>
                        <a:cubicBezTo>
                          <a:pt x="82439" y="129395"/>
                          <a:pt x="73634" y="135265"/>
                          <a:pt x="67765" y="135265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169" name="图形 1">
                <a:extLst>
                  <a:ext uri="{FF2B5EF4-FFF2-40B4-BE49-F238E27FC236}">
                    <a16:creationId xmlns:a16="http://schemas.microsoft.com/office/drawing/2014/main" id="{6EB899DA-1A48-491C-A30B-C9F01AB5F381}"/>
                  </a:ext>
                </a:extLst>
              </p:cNvPr>
              <p:cNvGrpSpPr/>
              <p:nvPr/>
            </p:nvGrpSpPr>
            <p:grpSpPr>
              <a:xfrm>
                <a:off x="16258781" y="5364219"/>
                <a:ext cx="1000760" cy="1054788"/>
                <a:chOff x="16258781" y="5364219"/>
                <a:chExt cx="1000760" cy="1054788"/>
              </a:xfrm>
            </p:grpSpPr>
            <p:sp>
              <p:nvSpPr>
                <p:cNvPr id="176" name="任意多边形: 形状 175">
                  <a:extLst>
                    <a:ext uri="{FF2B5EF4-FFF2-40B4-BE49-F238E27FC236}">
                      <a16:creationId xmlns:a16="http://schemas.microsoft.com/office/drawing/2014/main" id="{D6A8EF50-D287-4B52-AFD1-FD316565FB0B}"/>
                    </a:ext>
                  </a:extLst>
                </p:cNvPr>
                <p:cNvSpPr/>
                <p:nvPr/>
              </p:nvSpPr>
              <p:spPr>
                <a:xfrm>
                  <a:off x="16437803" y="5793900"/>
                  <a:ext cx="821739" cy="625108"/>
                </a:xfrm>
                <a:custGeom>
                  <a:avLst/>
                  <a:gdLst>
                    <a:gd name="connsiteX0" fmla="*/ 0 w 821739"/>
                    <a:gd name="connsiteY0" fmla="*/ 0 h 625108"/>
                    <a:gd name="connsiteX1" fmla="*/ 821739 w 821739"/>
                    <a:gd name="connsiteY1" fmla="*/ 0 h 625108"/>
                    <a:gd name="connsiteX2" fmla="*/ 821739 w 821739"/>
                    <a:gd name="connsiteY2" fmla="*/ 625109 h 625108"/>
                    <a:gd name="connsiteX3" fmla="*/ 0 w 821739"/>
                    <a:gd name="connsiteY3" fmla="*/ 625109 h 625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1739" h="625108">
                      <a:moveTo>
                        <a:pt x="0" y="0"/>
                      </a:moveTo>
                      <a:lnTo>
                        <a:pt x="821739" y="0"/>
                      </a:lnTo>
                      <a:lnTo>
                        <a:pt x="821739" y="625109"/>
                      </a:lnTo>
                      <a:lnTo>
                        <a:pt x="0" y="625109"/>
                      </a:lnTo>
                      <a:close/>
                    </a:path>
                  </a:pathLst>
                </a:custGeom>
                <a:solidFill>
                  <a:srgbClr val="C4544E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7" name="任意多边形: 形状 176">
                  <a:extLst>
                    <a:ext uri="{FF2B5EF4-FFF2-40B4-BE49-F238E27FC236}">
                      <a16:creationId xmlns:a16="http://schemas.microsoft.com/office/drawing/2014/main" id="{EB5DE6D4-0BB4-4813-9A07-1B927776636E}"/>
                    </a:ext>
                  </a:extLst>
                </p:cNvPr>
                <p:cNvSpPr/>
                <p:nvPr/>
              </p:nvSpPr>
              <p:spPr>
                <a:xfrm>
                  <a:off x="16258781" y="5793900"/>
                  <a:ext cx="821739" cy="625108"/>
                </a:xfrm>
                <a:custGeom>
                  <a:avLst/>
                  <a:gdLst>
                    <a:gd name="connsiteX0" fmla="*/ 0 w 821739"/>
                    <a:gd name="connsiteY0" fmla="*/ 0 h 625108"/>
                    <a:gd name="connsiteX1" fmla="*/ 821739 w 821739"/>
                    <a:gd name="connsiteY1" fmla="*/ 0 h 625108"/>
                    <a:gd name="connsiteX2" fmla="*/ 821739 w 821739"/>
                    <a:gd name="connsiteY2" fmla="*/ 625109 h 625108"/>
                    <a:gd name="connsiteX3" fmla="*/ 0 w 821739"/>
                    <a:gd name="connsiteY3" fmla="*/ 625109 h 625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1739" h="625108">
                      <a:moveTo>
                        <a:pt x="0" y="0"/>
                      </a:moveTo>
                      <a:lnTo>
                        <a:pt x="821739" y="0"/>
                      </a:lnTo>
                      <a:lnTo>
                        <a:pt x="821739" y="625109"/>
                      </a:lnTo>
                      <a:lnTo>
                        <a:pt x="0" y="625109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8" name="任意多边形: 形状 177">
                  <a:extLst>
                    <a:ext uri="{FF2B5EF4-FFF2-40B4-BE49-F238E27FC236}">
                      <a16:creationId xmlns:a16="http://schemas.microsoft.com/office/drawing/2014/main" id="{62240494-E7E7-4643-96BB-07FECD6A6682}"/>
                    </a:ext>
                  </a:extLst>
                </p:cNvPr>
                <p:cNvSpPr/>
                <p:nvPr/>
              </p:nvSpPr>
              <p:spPr>
                <a:xfrm>
                  <a:off x="16613890" y="5793900"/>
                  <a:ext cx="114456" cy="625108"/>
                </a:xfrm>
                <a:custGeom>
                  <a:avLst/>
                  <a:gdLst>
                    <a:gd name="connsiteX0" fmla="*/ 0 w 114456"/>
                    <a:gd name="connsiteY0" fmla="*/ 0 h 625108"/>
                    <a:gd name="connsiteX1" fmla="*/ 114457 w 114456"/>
                    <a:gd name="connsiteY1" fmla="*/ 0 h 625108"/>
                    <a:gd name="connsiteX2" fmla="*/ 114457 w 114456"/>
                    <a:gd name="connsiteY2" fmla="*/ 625109 h 625108"/>
                    <a:gd name="connsiteX3" fmla="*/ 0 w 114456"/>
                    <a:gd name="connsiteY3" fmla="*/ 625109 h 625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4456" h="625108">
                      <a:moveTo>
                        <a:pt x="0" y="0"/>
                      </a:moveTo>
                      <a:lnTo>
                        <a:pt x="114457" y="0"/>
                      </a:lnTo>
                      <a:lnTo>
                        <a:pt x="114457" y="625109"/>
                      </a:lnTo>
                      <a:lnTo>
                        <a:pt x="0" y="625109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9" name="任意多边形: 形状 178">
                  <a:extLst>
                    <a:ext uri="{FF2B5EF4-FFF2-40B4-BE49-F238E27FC236}">
                      <a16:creationId xmlns:a16="http://schemas.microsoft.com/office/drawing/2014/main" id="{F91C0CD1-276B-4500-9943-EE5A75240D04}"/>
                    </a:ext>
                  </a:extLst>
                </p:cNvPr>
                <p:cNvSpPr/>
                <p:nvPr/>
              </p:nvSpPr>
              <p:spPr>
                <a:xfrm>
                  <a:off x="16478801" y="5364219"/>
                  <a:ext cx="622614" cy="462828"/>
                </a:xfrm>
                <a:custGeom>
                  <a:avLst/>
                  <a:gdLst>
                    <a:gd name="connsiteX0" fmla="*/ 607589 w 622614"/>
                    <a:gd name="connsiteY0" fmla="*/ 124462 h 462828"/>
                    <a:gd name="connsiteX1" fmla="*/ 384545 w 622614"/>
                    <a:gd name="connsiteY1" fmla="*/ 130332 h 462828"/>
                    <a:gd name="connsiteX2" fmla="*/ 281828 w 622614"/>
                    <a:gd name="connsiteY2" fmla="*/ 253593 h 462828"/>
                    <a:gd name="connsiteX3" fmla="*/ 273023 w 622614"/>
                    <a:gd name="connsiteY3" fmla="*/ 177289 h 462828"/>
                    <a:gd name="connsiteX4" fmla="*/ 138024 w 622614"/>
                    <a:gd name="connsiteY4" fmla="*/ 1202 h 462828"/>
                    <a:gd name="connsiteX5" fmla="*/ 89 w 622614"/>
                    <a:gd name="connsiteY5" fmla="*/ 194898 h 462828"/>
                    <a:gd name="connsiteX6" fmla="*/ 155632 w 622614"/>
                    <a:gd name="connsiteY6" fmla="*/ 435550 h 462828"/>
                    <a:gd name="connsiteX7" fmla="*/ 193784 w 622614"/>
                    <a:gd name="connsiteY7" fmla="*/ 459028 h 462828"/>
                    <a:gd name="connsiteX8" fmla="*/ 208458 w 622614"/>
                    <a:gd name="connsiteY8" fmla="*/ 447289 h 462828"/>
                    <a:gd name="connsiteX9" fmla="*/ 528349 w 622614"/>
                    <a:gd name="connsiteY9" fmla="*/ 326963 h 462828"/>
                    <a:gd name="connsiteX10" fmla="*/ 607589 w 622614"/>
                    <a:gd name="connsiteY10" fmla="*/ 124462 h 462828"/>
                    <a:gd name="connsiteX11" fmla="*/ 443241 w 622614"/>
                    <a:gd name="connsiteY11" fmla="*/ 174354 h 462828"/>
                    <a:gd name="connsiteX12" fmla="*/ 454980 w 622614"/>
                    <a:gd name="connsiteY12" fmla="*/ 265332 h 462828"/>
                    <a:gd name="connsiteX13" fmla="*/ 375740 w 622614"/>
                    <a:gd name="connsiteY13" fmla="*/ 324028 h 462828"/>
                    <a:gd name="connsiteX14" fmla="*/ 264219 w 622614"/>
                    <a:gd name="connsiteY14" fmla="*/ 382723 h 462828"/>
                    <a:gd name="connsiteX15" fmla="*/ 270089 w 622614"/>
                    <a:gd name="connsiteY15" fmla="*/ 365115 h 462828"/>
                    <a:gd name="connsiteX16" fmla="*/ 443241 w 622614"/>
                    <a:gd name="connsiteY16" fmla="*/ 174354 h 462828"/>
                    <a:gd name="connsiteX17" fmla="*/ 129219 w 622614"/>
                    <a:gd name="connsiteY17" fmla="*/ 268267 h 462828"/>
                    <a:gd name="connsiteX18" fmla="*/ 114545 w 622614"/>
                    <a:gd name="connsiteY18" fmla="*/ 124462 h 462828"/>
                    <a:gd name="connsiteX19" fmla="*/ 202588 w 622614"/>
                    <a:gd name="connsiteY19" fmla="*/ 156745 h 462828"/>
                    <a:gd name="connsiteX20" fmla="*/ 187914 w 622614"/>
                    <a:gd name="connsiteY20" fmla="*/ 368050 h 462828"/>
                    <a:gd name="connsiteX21" fmla="*/ 129219 w 622614"/>
                    <a:gd name="connsiteY21" fmla="*/ 268267 h 4628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622614" h="462828">
                      <a:moveTo>
                        <a:pt x="607589" y="124462"/>
                      </a:moveTo>
                      <a:cubicBezTo>
                        <a:pt x="557697" y="51093"/>
                        <a:pt x="440306" y="89245"/>
                        <a:pt x="384545" y="130332"/>
                      </a:cubicBezTo>
                      <a:cubicBezTo>
                        <a:pt x="340523" y="162615"/>
                        <a:pt x="311176" y="209571"/>
                        <a:pt x="281828" y="253593"/>
                      </a:cubicBezTo>
                      <a:cubicBezTo>
                        <a:pt x="281828" y="227180"/>
                        <a:pt x="278893" y="203702"/>
                        <a:pt x="273023" y="177289"/>
                      </a:cubicBezTo>
                      <a:cubicBezTo>
                        <a:pt x="261284" y="109789"/>
                        <a:pt x="231936" y="-13472"/>
                        <a:pt x="138024" y="1202"/>
                      </a:cubicBezTo>
                      <a:cubicBezTo>
                        <a:pt x="52914" y="15876"/>
                        <a:pt x="3023" y="115659"/>
                        <a:pt x="89" y="194898"/>
                      </a:cubicBezTo>
                      <a:cubicBezTo>
                        <a:pt x="-2846" y="300549"/>
                        <a:pt x="67588" y="385658"/>
                        <a:pt x="155632" y="435550"/>
                      </a:cubicBezTo>
                      <a:cubicBezTo>
                        <a:pt x="155632" y="453159"/>
                        <a:pt x="176175" y="470767"/>
                        <a:pt x="193784" y="459028"/>
                      </a:cubicBezTo>
                      <a:cubicBezTo>
                        <a:pt x="199653" y="456093"/>
                        <a:pt x="202588" y="453159"/>
                        <a:pt x="208458" y="447289"/>
                      </a:cubicBezTo>
                      <a:cubicBezTo>
                        <a:pt x="317045" y="420876"/>
                        <a:pt x="440306" y="400332"/>
                        <a:pt x="528349" y="326963"/>
                      </a:cubicBezTo>
                      <a:cubicBezTo>
                        <a:pt x="581175" y="288811"/>
                        <a:pt x="654545" y="191963"/>
                        <a:pt x="607589" y="124462"/>
                      </a:cubicBezTo>
                      <a:close/>
                      <a:moveTo>
                        <a:pt x="443241" y="174354"/>
                      </a:moveTo>
                      <a:cubicBezTo>
                        <a:pt x="472589" y="183158"/>
                        <a:pt x="487263" y="224245"/>
                        <a:pt x="454980" y="265332"/>
                      </a:cubicBezTo>
                      <a:cubicBezTo>
                        <a:pt x="434436" y="288811"/>
                        <a:pt x="402154" y="306419"/>
                        <a:pt x="375740" y="324028"/>
                      </a:cubicBezTo>
                      <a:cubicBezTo>
                        <a:pt x="340523" y="347506"/>
                        <a:pt x="302371" y="368050"/>
                        <a:pt x="264219" y="382723"/>
                      </a:cubicBezTo>
                      <a:cubicBezTo>
                        <a:pt x="267154" y="376854"/>
                        <a:pt x="267154" y="370985"/>
                        <a:pt x="270089" y="365115"/>
                      </a:cubicBezTo>
                      <a:cubicBezTo>
                        <a:pt x="296502" y="321093"/>
                        <a:pt x="352262" y="191963"/>
                        <a:pt x="443241" y="174354"/>
                      </a:cubicBezTo>
                      <a:close/>
                      <a:moveTo>
                        <a:pt x="129219" y="268267"/>
                      </a:moveTo>
                      <a:cubicBezTo>
                        <a:pt x="108676" y="221310"/>
                        <a:pt x="94002" y="174354"/>
                        <a:pt x="114545" y="124462"/>
                      </a:cubicBezTo>
                      <a:cubicBezTo>
                        <a:pt x="140958" y="65767"/>
                        <a:pt x="190849" y="109789"/>
                        <a:pt x="202588" y="156745"/>
                      </a:cubicBezTo>
                      <a:cubicBezTo>
                        <a:pt x="217262" y="218376"/>
                        <a:pt x="211393" y="300549"/>
                        <a:pt x="187914" y="368050"/>
                      </a:cubicBezTo>
                      <a:cubicBezTo>
                        <a:pt x="164437" y="338702"/>
                        <a:pt x="143893" y="303484"/>
                        <a:pt x="129219" y="268267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0" name="任意多边形: 形状 179">
                  <a:extLst>
                    <a:ext uri="{FF2B5EF4-FFF2-40B4-BE49-F238E27FC236}">
                      <a16:creationId xmlns:a16="http://schemas.microsoft.com/office/drawing/2014/main" id="{811D2BDE-CE7E-45E8-B76B-611349B8D9A2}"/>
                    </a:ext>
                  </a:extLst>
                </p:cNvPr>
                <p:cNvSpPr/>
                <p:nvPr/>
              </p:nvSpPr>
              <p:spPr>
                <a:xfrm>
                  <a:off x="16396716" y="5779695"/>
                  <a:ext cx="258581" cy="460847"/>
                </a:xfrm>
                <a:custGeom>
                  <a:avLst/>
                  <a:gdLst>
                    <a:gd name="connsiteX0" fmla="*/ 214239 w 258581"/>
                    <a:gd name="connsiteY0" fmla="*/ 5400 h 460847"/>
                    <a:gd name="connsiteX1" fmla="*/ 0 w 258581"/>
                    <a:gd name="connsiteY1" fmla="*/ 436813 h 460847"/>
                    <a:gd name="connsiteX2" fmla="*/ 32282 w 258581"/>
                    <a:gd name="connsiteY2" fmla="*/ 460291 h 460847"/>
                    <a:gd name="connsiteX3" fmla="*/ 93913 w 258581"/>
                    <a:gd name="connsiteY3" fmla="*/ 448553 h 460847"/>
                    <a:gd name="connsiteX4" fmla="*/ 111521 w 258581"/>
                    <a:gd name="connsiteY4" fmla="*/ 425074 h 460847"/>
                    <a:gd name="connsiteX5" fmla="*/ 137934 w 258581"/>
                    <a:gd name="connsiteY5" fmla="*/ 213770 h 460847"/>
                    <a:gd name="connsiteX6" fmla="*/ 249457 w 258581"/>
                    <a:gd name="connsiteY6" fmla="*/ 49422 h 460847"/>
                    <a:gd name="connsiteX7" fmla="*/ 252391 w 258581"/>
                    <a:gd name="connsiteY7" fmla="*/ 37683 h 460847"/>
                    <a:gd name="connsiteX8" fmla="*/ 214239 w 258581"/>
                    <a:gd name="connsiteY8" fmla="*/ 5400 h 460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58581" h="460847">
                      <a:moveTo>
                        <a:pt x="214239" y="5400"/>
                      </a:moveTo>
                      <a:cubicBezTo>
                        <a:pt x="82174" y="113987"/>
                        <a:pt x="5869" y="266596"/>
                        <a:pt x="0" y="436813"/>
                      </a:cubicBezTo>
                      <a:cubicBezTo>
                        <a:pt x="0" y="454422"/>
                        <a:pt x="17608" y="463226"/>
                        <a:pt x="32282" y="460291"/>
                      </a:cubicBezTo>
                      <a:cubicBezTo>
                        <a:pt x="52826" y="457357"/>
                        <a:pt x="73370" y="451487"/>
                        <a:pt x="93913" y="448553"/>
                      </a:cubicBezTo>
                      <a:cubicBezTo>
                        <a:pt x="102717" y="445618"/>
                        <a:pt x="114456" y="433879"/>
                        <a:pt x="111521" y="425074"/>
                      </a:cubicBezTo>
                      <a:cubicBezTo>
                        <a:pt x="102717" y="348770"/>
                        <a:pt x="111521" y="278335"/>
                        <a:pt x="137934" y="213770"/>
                      </a:cubicBezTo>
                      <a:cubicBezTo>
                        <a:pt x="176087" y="155074"/>
                        <a:pt x="220109" y="96379"/>
                        <a:pt x="249457" y="49422"/>
                      </a:cubicBezTo>
                      <a:cubicBezTo>
                        <a:pt x="252391" y="46487"/>
                        <a:pt x="252391" y="43552"/>
                        <a:pt x="252391" y="37683"/>
                      </a:cubicBezTo>
                      <a:cubicBezTo>
                        <a:pt x="272934" y="17139"/>
                        <a:pt x="237717" y="-12209"/>
                        <a:pt x="214239" y="5400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1" name="任意多边形: 形状 180">
                  <a:extLst>
                    <a:ext uri="{FF2B5EF4-FFF2-40B4-BE49-F238E27FC236}">
                      <a16:creationId xmlns:a16="http://schemas.microsoft.com/office/drawing/2014/main" id="{EC066B01-C179-4A18-9B2D-A2CDE1549687}"/>
                    </a:ext>
                  </a:extLst>
                </p:cNvPr>
                <p:cNvSpPr/>
                <p:nvPr/>
              </p:nvSpPr>
              <p:spPr>
                <a:xfrm>
                  <a:off x="16691802" y="5794180"/>
                  <a:ext cx="147331" cy="308262"/>
                </a:xfrm>
                <a:custGeom>
                  <a:avLst/>
                  <a:gdLst>
                    <a:gd name="connsiteX0" fmla="*/ 139261 w 147331"/>
                    <a:gd name="connsiteY0" fmla="*/ 190480 h 308262"/>
                    <a:gd name="connsiteX1" fmla="*/ 65892 w 147331"/>
                    <a:gd name="connsiteY1" fmla="*/ 20263 h 308262"/>
                    <a:gd name="connsiteX2" fmla="*/ 57088 w 147331"/>
                    <a:gd name="connsiteY2" fmla="*/ 5589 h 308262"/>
                    <a:gd name="connsiteX3" fmla="*/ 16000 w 147331"/>
                    <a:gd name="connsiteY3" fmla="*/ 17328 h 308262"/>
                    <a:gd name="connsiteX4" fmla="*/ 45348 w 147331"/>
                    <a:gd name="connsiteY4" fmla="*/ 296132 h 308262"/>
                    <a:gd name="connsiteX5" fmla="*/ 89370 w 147331"/>
                    <a:gd name="connsiteY5" fmla="*/ 296132 h 308262"/>
                    <a:gd name="connsiteX6" fmla="*/ 142196 w 147331"/>
                    <a:gd name="connsiteY6" fmla="*/ 225697 h 308262"/>
                    <a:gd name="connsiteX7" fmla="*/ 139261 w 147331"/>
                    <a:gd name="connsiteY7" fmla="*/ 190480 h 3082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7331" h="308262">
                      <a:moveTo>
                        <a:pt x="139261" y="190480"/>
                      </a:moveTo>
                      <a:cubicBezTo>
                        <a:pt x="86436" y="149393"/>
                        <a:pt x="74696" y="84828"/>
                        <a:pt x="65892" y="20263"/>
                      </a:cubicBezTo>
                      <a:cubicBezTo>
                        <a:pt x="65892" y="11458"/>
                        <a:pt x="60022" y="8524"/>
                        <a:pt x="57088" y="5589"/>
                      </a:cubicBezTo>
                      <a:cubicBezTo>
                        <a:pt x="45348" y="-3216"/>
                        <a:pt x="21870" y="-3216"/>
                        <a:pt x="16000" y="17328"/>
                      </a:cubicBezTo>
                      <a:cubicBezTo>
                        <a:pt x="-13348" y="111241"/>
                        <a:pt x="-1608" y="211023"/>
                        <a:pt x="45348" y="296132"/>
                      </a:cubicBezTo>
                      <a:cubicBezTo>
                        <a:pt x="54153" y="313741"/>
                        <a:pt x="80566" y="310806"/>
                        <a:pt x="89370" y="296132"/>
                      </a:cubicBezTo>
                      <a:cubicBezTo>
                        <a:pt x="104044" y="269719"/>
                        <a:pt x="121652" y="246241"/>
                        <a:pt x="142196" y="225697"/>
                      </a:cubicBezTo>
                      <a:cubicBezTo>
                        <a:pt x="148065" y="216893"/>
                        <a:pt x="151000" y="199285"/>
                        <a:pt x="139261" y="190480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70" name="图形 1">
                <a:extLst>
                  <a:ext uri="{FF2B5EF4-FFF2-40B4-BE49-F238E27FC236}">
                    <a16:creationId xmlns:a16="http://schemas.microsoft.com/office/drawing/2014/main" id="{05340CA8-C6D3-45C2-8ECB-1F54AAE42F9E}"/>
                  </a:ext>
                </a:extLst>
              </p:cNvPr>
              <p:cNvGrpSpPr/>
              <p:nvPr/>
            </p:nvGrpSpPr>
            <p:grpSpPr>
              <a:xfrm>
                <a:off x="17212585" y="5539895"/>
                <a:ext cx="1003695" cy="879112"/>
                <a:chOff x="17212585" y="5539895"/>
                <a:chExt cx="1003695" cy="879112"/>
              </a:xfrm>
            </p:grpSpPr>
            <p:sp>
              <p:nvSpPr>
                <p:cNvPr id="171" name="任意多边形: 形状 170">
                  <a:extLst>
                    <a:ext uri="{FF2B5EF4-FFF2-40B4-BE49-F238E27FC236}">
                      <a16:creationId xmlns:a16="http://schemas.microsoft.com/office/drawing/2014/main" id="{F59D7189-A5D3-4CD5-9A63-0C966BDE69FD}"/>
                    </a:ext>
                  </a:extLst>
                </p:cNvPr>
                <p:cNvSpPr/>
                <p:nvPr/>
              </p:nvSpPr>
              <p:spPr>
                <a:xfrm>
                  <a:off x="17394542" y="5920095"/>
                  <a:ext cx="821739" cy="498913"/>
                </a:xfrm>
                <a:custGeom>
                  <a:avLst/>
                  <a:gdLst>
                    <a:gd name="connsiteX0" fmla="*/ 0 w 821739"/>
                    <a:gd name="connsiteY0" fmla="*/ 0 h 498913"/>
                    <a:gd name="connsiteX1" fmla="*/ 821740 w 821739"/>
                    <a:gd name="connsiteY1" fmla="*/ 0 h 498913"/>
                    <a:gd name="connsiteX2" fmla="*/ 821740 w 821739"/>
                    <a:gd name="connsiteY2" fmla="*/ 498913 h 498913"/>
                    <a:gd name="connsiteX3" fmla="*/ 0 w 821739"/>
                    <a:gd name="connsiteY3" fmla="*/ 498913 h 498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1739" h="498913">
                      <a:moveTo>
                        <a:pt x="0" y="0"/>
                      </a:moveTo>
                      <a:lnTo>
                        <a:pt x="821740" y="0"/>
                      </a:lnTo>
                      <a:lnTo>
                        <a:pt x="821740" y="498913"/>
                      </a:lnTo>
                      <a:lnTo>
                        <a:pt x="0" y="498913"/>
                      </a:lnTo>
                      <a:close/>
                    </a:path>
                  </a:pathLst>
                </a:custGeom>
                <a:solidFill>
                  <a:srgbClr val="728CB2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2" name="任意多边形: 形状 171">
                  <a:extLst>
                    <a:ext uri="{FF2B5EF4-FFF2-40B4-BE49-F238E27FC236}">
                      <a16:creationId xmlns:a16="http://schemas.microsoft.com/office/drawing/2014/main" id="{0A143E4A-8885-44C1-B465-C36D8E73A929}"/>
                    </a:ext>
                  </a:extLst>
                </p:cNvPr>
                <p:cNvSpPr/>
                <p:nvPr/>
              </p:nvSpPr>
              <p:spPr>
                <a:xfrm>
                  <a:off x="17212585" y="5920095"/>
                  <a:ext cx="821739" cy="498913"/>
                </a:xfrm>
                <a:custGeom>
                  <a:avLst/>
                  <a:gdLst>
                    <a:gd name="connsiteX0" fmla="*/ 0 w 821739"/>
                    <a:gd name="connsiteY0" fmla="*/ 0 h 498913"/>
                    <a:gd name="connsiteX1" fmla="*/ 821739 w 821739"/>
                    <a:gd name="connsiteY1" fmla="*/ 0 h 498913"/>
                    <a:gd name="connsiteX2" fmla="*/ 821739 w 821739"/>
                    <a:gd name="connsiteY2" fmla="*/ 498913 h 498913"/>
                    <a:gd name="connsiteX3" fmla="*/ 0 w 821739"/>
                    <a:gd name="connsiteY3" fmla="*/ 498913 h 498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1739" h="498913">
                      <a:moveTo>
                        <a:pt x="0" y="0"/>
                      </a:moveTo>
                      <a:lnTo>
                        <a:pt x="821739" y="0"/>
                      </a:lnTo>
                      <a:lnTo>
                        <a:pt x="821739" y="498913"/>
                      </a:lnTo>
                      <a:lnTo>
                        <a:pt x="0" y="498913"/>
                      </a:lnTo>
                      <a:close/>
                    </a:path>
                  </a:pathLst>
                </a:custGeom>
                <a:solidFill>
                  <a:srgbClr val="7F95BC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3" name="任意多边形: 形状 172">
                  <a:extLst>
                    <a:ext uri="{FF2B5EF4-FFF2-40B4-BE49-F238E27FC236}">
                      <a16:creationId xmlns:a16="http://schemas.microsoft.com/office/drawing/2014/main" id="{8E9FE69A-F992-4B04-9CE2-7A7753B5EA27}"/>
                    </a:ext>
                  </a:extLst>
                </p:cNvPr>
                <p:cNvSpPr/>
                <p:nvPr/>
              </p:nvSpPr>
              <p:spPr>
                <a:xfrm>
                  <a:off x="17567694" y="5920095"/>
                  <a:ext cx="114456" cy="498913"/>
                </a:xfrm>
                <a:custGeom>
                  <a:avLst/>
                  <a:gdLst>
                    <a:gd name="connsiteX0" fmla="*/ -1 w 114456"/>
                    <a:gd name="connsiteY0" fmla="*/ 0 h 498913"/>
                    <a:gd name="connsiteX1" fmla="*/ 114457 w 114456"/>
                    <a:gd name="connsiteY1" fmla="*/ 0 h 498913"/>
                    <a:gd name="connsiteX2" fmla="*/ 114457 w 114456"/>
                    <a:gd name="connsiteY2" fmla="*/ 498913 h 498913"/>
                    <a:gd name="connsiteX3" fmla="*/ -1 w 114456"/>
                    <a:gd name="connsiteY3" fmla="*/ 498913 h 498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4456" h="498913">
                      <a:moveTo>
                        <a:pt x="-1" y="0"/>
                      </a:moveTo>
                      <a:lnTo>
                        <a:pt x="114457" y="0"/>
                      </a:lnTo>
                      <a:lnTo>
                        <a:pt x="114457" y="498913"/>
                      </a:lnTo>
                      <a:lnTo>
                        <a:pt x="-1" y="498913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4" name="任意多边形: 形状 173">
                  <a:extLst>
                    <a:ext uri="{FF2B5EF4-FFF2-40B4-BE49-F238E27FC236}">
                      <a16:creationId xmlns:a16="http://schemas.microsoft.com/office/drawing/2014/main" id="{9DE355D6-40DA-4300-8CC7-0BCB26FF4990}"/>
                    </a:ext>
                  </a:extLst>
                </p:cNvPr>
                <p:cNvSpPr/>
                <p:nvPr/>
              </p:nvSpPr>
              <p:spPr>
                <a:xfrm>
                  <a:off x="17340772" y="5539895"/>
                  <a:ext cx="520249" cy="425892"/>
                </a:xfrm>
                <a:custGeom>
                  <a:avLst/>
                  <a:gdLst>
                    <a:gd name="connsiteX0" fmla="*/ 30292 w 520249"/>
                    <a:gd name="connsiteY0" fmla="*/ 16287 h 425892"/>
                    <a:gd name="connsiteX1" fmla="*/ 212248 w 520249"/>
                    <a:gd name="connsiteY1" fmla="*/ 83787 h 425892"/>
                    <a:gd name="connsiteX2" fmla="*/ 262139 w 520249"/>
                    <a:gd name="connsiteY2" fmla="*/ 218787 h 425892"/>
                    <a:gd name="connsiteX3" fmla="*/ 291487 w 520249"/>
                    <a:gd name="connsiteY3" fmla="*/ 157156 h 425892"/>
                    <a:gd name="connsiteX4" fmla="*/ 452900 w 520249"/>
                    <a:gd name="connsiteY4" fmla="*/ 45634 h 425892"/>
                    <a:gd name="connsiteX5" fmla="*/ 511596 w 520249"/>
                    <a:gd name="connsiteY5" fmla="*/ 248135 h 425892"/>
                    <a:gd name="connsiteX6" fmla="*/ 314965 w 520249"/>
                    <a:gd name="connsiteY6" fmla="*/ 409548 h 425892"/>
                    <a:gd name="connsiteX7" fmla="*/ 276813 w 520249"/>
                    <a:gd name="connsiteY7" fmla="*/ 418352 h 425892"/>
                    <a:gd name="connsiteX8" fmla="*/ 268009 w 520249"/>
                    <a:gd name="connsiteY8" fmla="*/ 406613 h 425892"/>
                    <a:gd name="connsiteX9" fmla="*/ 39097 w 520249"/>
                    <a:gd name="connsiteY9" fmla="*/ 215852 h 425892"/>
                    <a:gd name="connsiteX10" fmla="*/ 30292 w 520249"/>
                    <a:gd name="connsiteY10" fmla="*/ 16287 h 425892"/>
                    <a:gd name="connsiteX11" fmla="*/ 153552 w 520249"/>
                    <a:gd name="connsiteY11" fmla="*/ 104330 h 425892"/>
                    <a:gd name="connsiteX12" fmla="*/ 118336 w 520249"/>
                    <a:gd name="connsiteY12" fmla="*/ 177700 h 425892"/>
                    <a:gd name="connsiteX13" fmla="*/ 165292 w 520249"/>
                    <a:gd name="connsiteY13" fmla="*/ 248135 h 425892"/>
                    <a:gd name="connsiteX14" fmla="*/ 238661 w 520249"/>
                    <a:gd name="connsiteY14" fmla="*/ 327374 h 425892"/>
                    <a:gd name="connsiteX15" fmla="*/ 238661 w 520249"/>
                    <a:gd name="connsiteY15" fmla="*/ 312700 h 425892"/>
                    <a:gd name="connsiteX16" fmla="*/ 153552 w 520249"/>
                    <a:gd name="connsiteY16" fmla="*/ 104330 h 425892"/>
                    <a:gd name="connsiteX17" fmla="*/ 385401 w 520249"/>
                    <a:gd name="connsiteY17" fmla="*/ 271613 h 425892"/>
                    <a:gd name="connsiteX18" fmla="*/ 438226 w 520249"/>
                    <a:gd name="connsiteY18" fmla="*/ 154221 h 425892"/>
                    <a:gd name="connsiteX19" fmla="*/ 356053 w 520249"/>
                    <a:gd name="connsiteY19" fmla="*/ 157156 h 425892"/>
                    <a:gd name="connsiteX20" fmla="*/ 309097 w 520249"/>
                    <a:gd name="connsiteY20" fmla="*/ 339113 h 425892"/>
                    <a:gd name="connsiteX21" fmla="*/ 385401 w 520249"/>
                    <a:gd name="connsiteY21" fmla="*/ 271613 h 42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20249" h="425892">
                      <a:moveTo>
                        <a:pt x="30292" y="16287"/>
                      </a:moveTo>
                      <a:cubicBezTo>
                        <a:pt x="91922" y="-30670"/>
                        <a:pt x="179966" y="33895"/>
                        <a:pt x="212248" y="83787"/>
                      </a:cubicBezTo>
                      <a:cubicBezTo>
                        <a:pt x="238661" y="124873"/>
                        <a:pt x="250401" y="171830"/>
                        <a:pt x="262139" y="218787"/>
                      </a:cubicBezTo>
                      <a:cubicBezTo>
                        <a:pt x="270943" y="198243"/>
                        <a:pt x="279749" y="177700"/>
                        <a:pt x="291487" y="157156"/>
                      </a:cubicBezTo>
                      <a:cubicBezTo>
                        <a:pt x="317901" y="104330"/>
                        <a:pt x="379531" y="7482"/>
                        <a:pt x="452900" y="45634"/>
                      </a:cubicBezTo>
                      <a:cubicBezTo>
                        <a:pt x="517466" y="80852"/>
                        <a:pt x="532140" y="180635"/>
                        <a:pt x="511596" y="248135"/>
                      </a:cubicBezTo>
                      <a:cubicBezTo>
                        <a:pt x="482248" y="339113"/>
                        <a:pt x="403008" y="391939"/>
                        <a:pt x="314965" y="409548"/>
                      </a:cubicBezTo>
                      <a:cubicBezTo>
                        <a:pt x="309097" y="424222"/>
                        <a:pt x="288553" y="433026"/>
                        <a:pt x="276813" y="418352"/>
                      </a:cubicBezTo>
                      <a:cubicBezTo>
                        <a:pt x="273879" y="415417"/>
                        <a:pt x="270943" y="409548"/>
                        <a:pt x="268009" y="406613"/>
                      </a:cubicBezTo>
                      <a:cubicBezTo>
                        <a:pt x="185836" y="353787"/>
                        <a:pt x="91922" y="300960"/>
                        <a:pt x="39097" y="215852"/>
                      </a:cubicBezTo>
                      <a:cubicBezTo>
                        <a:pt x="6814" y="163026"/>
                        <a:pt x="-25469" y="60308"/>
                        <a:pt x="30292" y="16287"/>
                      </a:cubicBezTo>
                      <a:close/>
                      <a:moveTo>
                        <a:pt x="153552" y="104330"/>
                      </a:moveTo>
                      <a:cubicBezTo>
                        <a:pt x="127140" y="101396"/>
                        <a:pt x="103662" y="136613"/>
                        <a:pt x="118336" y="177700"/>
                      </a:cubicBezTo>
                      <a:cubicBezTo>
                        <a:pt x="127140" y="201178"/>
                        <a:pt x="150618" y="227591"/>
                        <a:pt x="165292" y="248135"/>
                      </a:cubicBezTo>
                      <a:cubicBezTo>
                        <a:pt x="188770" y="277483"/>
                        <a:pt x="212248" y="303895"/>
                        <a:pt x="238661" y="327374"/>
                      </a:cubicBezTo>
                      <a:cubicBezTo>
                        <a:pt x="238661" y="321504"/>
                        <a:pt x="238661" y="315634"/>
                        <a:pt x="238661" y="312700"/>
                      </a:cubicBezTo>
                      <a:cubicBezTo>
                        <a:pt x="229857" y="268678"/>
                        <a:pt x="223987" y="142482"/>
                        <a:pt x="153552" y="104330"/>
                      </a:cubicBezTo>
                      <a:close/>
                      <a:moveTo>
                        <a:pt x="385401" y="271613"/>
                      </a:moveTo>
                      <a:cubicBezTo>
                        <a:pt x="414748" y="239330"/>
                        <a:pt x="441162" y="201178"/>
                        <a:pt x="438226" y="154221"/>
                      </a:cubicBezTo>
                      <a:cubicBezTo>
                        <a:pt x="435292" y="98461"/>
                        <a:pt x="379531" y="119004"/>
                        <a:pt x="356053" y="157156"/>
                      </a:cubicBezTo>
                      <a:cubicBezTo>
                        <a:pt x="326705" y="204113"/>
                        <a:pt x="309097" y="277483"/>
                        <a:pt x="309097" y="339113"/>
                      </a:cubicBezTo>
                      <a:cubicBezTo>
                        <a:pt x="335509" y="321504"/>
                        <a:pt x="361923" y="298026"/>
                        <a:pt x="385401" y="271613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5" name="任意多边形: 形状 174">
                  <a:extLst>
                    <a:ext uri="{FF2B5EF4-FFF2-40B4-BE49-F238E27FC236}">
                      <a16:creationId xmlns:a16="http://schemas.microsoft.com/office/drawing/2014/main" id="{B938842C-1DC5-4A01-B622-605D49BB1015}"/>
                    </a:ext>
                  </a:extLst>
                </p:cNvPr>
                <p:cNvSpPr/>
                <p:nvPr/>
              </p:nvSpPr>
              <p:spPr>
                <a:xfrm>
                  <a:off x="17664543" y="5917437"/>
                  <a:ext cx="221259" cy="244461"/>
                </a:xfrm>
                <a:custGeom>
                  <a:avLst/>
                  <a:gdLst>
                    <a:gd name="connsiteX0" fmla="*/ 82174 w 221259"/>
                    <a:gd name="connsiteY0" fmla="*/ 208093 h 244461"/>
                    <a:gd name="connsiteX1" fmla="*/ 5868 w 221259"/>
                    <a:gd name="connsiteY1" fmla="*/ 40810 h 244461"/>
                    <a:gd name="connsiteX2" fmla="*/ 0 w 221259"/>
                    <a:gd name="connsiteY2" fmla="*/ 23201 h 244461"/>
                    <a:gd name="connsiteX3" fmla="*/ 35216 w 221259"/>
                    <a:gd name="connsiteY3" fmla="*/ 2658 h 244461"/>
                    <a:gd name="connsiteX4" fmla="*/ 220109 w 221259"/>
                    <a:gd name="connsiteY4" fmla="*/ 213962 h 244461"/>
                    <a:gd name="connsiteX5" fmla="*/ 190761 w 221259"/>
                    <a:gd name="connsiteY5" fmla="*/ 243310 h 244461"/>
                    <a:gd name="connsiteX6" fmla="*/ 105651 w 221259"/>
                    <a:gd name="connsiteY6" fmla="*/ 231571 h 244461"/>
                    <a:gd name="connsiteX7" fmla="*/ 82174 w 221259"/>
                    <a:gd name="connsiteY7" fmla="*/ 208093 h 2444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1259" h="244461">
                      <a:moveTo>
                        <a:pt x="82174" y="208093"/>
                      </a:moveTo>
                      <a:cubicBezTo>
                        <a:pt x="85108" y="143527"/>
                        <a:pt x="46956" y="90702"/>
                        <a:pt x="5868" y="40810"/>
                      </a:cubicBezTo>
                      <a:cubicBezTo>
                        <a:pt x="0" y="34940"/>
                        <a:pt x="0" y="29071"/>
                        <a:pt x="0" y="23201"/>
                      </a:cubicBezTo>
                      <a:cubicBezTo>
                        <a:pt x="0" y="8528"/>
                        <a:pt x="17608" y="-6146"/>
                        <a:pt x="35216" y="2658"/>
                      </a:cubicBezTo>
                      <a:cubicBezTo>
                        <a:pt x="123259" y="46680"/>
                        <a:pt x="187825" y="122984"/>
                        <a:pt x="220109" y="213962"/>
                      </a:cubicBezTo>
                      <a:cubicBezTo>
                        <a:pt x="225977" y="231571"/>
                        <a:pt x="208369" y="249180"/>
                        <a:pt x="190761" y="243310"/>
                      </a:cubicBezTo>
                      <a:cubicBezTo>
                        <a:pt x="161413" y="237441"/>
                        <a:pt x="134999" y="231571"/>
                        <a:pt x="105651" y="231571"/>
                      </a:cubicBezTo>
                      <a:cubicBezTo>
                        <a:pt x="96847" y="231571"/>
                        <a:pt x="82174" y="222767"/>
                        <a:pt x="82174" y="208093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F575659A-B60A-415E-B75D-1722DBE4C326}"/>
                </a:ext>
              </a:extLst>
            </p:cNvPr>
            <p:cNvSpPr/>
            <p:nvPr/>
          </p:nvSpPr>
          <p:spPr>
            <a:xfrm>
              <a:off x="19911075" y="3281726"/>
              <a:ext cx="905340" cy="731271"/>
            </a:xfrm>
            <a:custGeom>
              <a:avLst/>
              <a:gdLst>
                <a:gd name="connsiteX0" fmla="*/ 174664 w 905340"/>
                <a:gd name="connsiteY0" fmla="*/ 622174 h 731271"/>
                <a:gd name="connsiteX1" fmla="*/ 22054 w 905340"/>
                <a:gd name="connsiteY1" fmla="*/ 387391 h 731271"/>
                <a:gd name="connsiteX2" fmla="*/ 385966 w 905340"/>
                <a:gd name="connsiteY2" fmla="*/ 390326 h 731271"/>
                <a:gd name="connsiteX3" fmla="*/ 697055 w 905340"/>
                <a:gd name="connsiteY3" fmla="*/ 472500 h 731271"/>
                <a:gd name="connsiteX4" fmla="*/ 685315 w 905340"/>
                <a:gd name="connsiteY4" fmla="*/ 0 h 731271"/>
                <a:gd name="connsiteX5" fmla="*/ 814446 w 905340"/>
                <a:gd name="connsiteY5" fmla="*/ 55761 h 731271"/>
                <a:gd name="connsiteX6" fmla="*/ 837924 w 905340"/>
                <a:gd name="connsiteY6" fmla="*/ 713152 h 731271"/>
                <a:gd name="connsiteX7" fmla="*/ 174664 w 905340"/>
                <a:gd name="connsiteY7" fmla="*/ 622174 h 731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5340" h="731271">
                  <a:moveTo>
                    <a:pt x="174664" y="622174"/>
                  </a:moveTo>
                  <a:cubicBezTo>
                    <a:pt x="42598" y="575217"/>
                    <a:pt x="-42511" y="431413"/>
                    <a:pt x="22054" y="387391"/>
                  </a:cubicBezTo>
                  <a:cubicBezTo>
                    <a:pt x="95424" y="337500"/>
                    <a:pt x="230423" y="325761"/>
                    <a:pt x="385966" y="390326"/>
                  </a:cubicBezTo>
                  <a:cubicBezTo>
                    <a:pt x="476946" y="428478"/>
                    <a:pt x="688251" y="487174"/>
                    <a:pt x="697055" y="472500"/>
                  </a:cubicBezTo>
                  <a:cubicBezTo>
                    <a:pt x="702924" y="466630"/>
                    <a:pt x="685315" y="0"/>
                    <a:pt x="685315" y="0"/>
                  </a:cubicBezTo>
                  <a:cubicBezTo>
                    <a:pt x="729336" y="38152"/>
                    <a:pt x="814446" y="55761"/>
                    <a:pt x="814446" y="55761"/>
                  </a:cubicBezTo>
                  <a:cubicBezTo>
                    <a:pt x="814446" y="55761"/>
                    <a:pt x="1002271" y="610435"/>
                    <a:pt x="837924" y="713152"/>
                  </a:cubicBezTo>
                  <a:cubicBezTo>
                    <a:pt x="752814" y="768913"/>
                    <a:pt x="339011" y="683804"/>
                    <a:pt x="174664" y="622174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1A40D9EB-39C6-4F87-8C29-B2185986CCEC}"/>
                </a:ext>
              </a:extLst>
            </p:cNvPr>
            <p:cNvSpPr/>
            <p:nvPr/>
          </p:nvSpPr>
          <p:spPr>
            <a:xfrm>
              <a:off x="20602259" y="3751291"/>
              <a:ext cx="44021" cy="99782"/>
            </a:xfrm>
            <a:custGeom>
              <a:avLst/>
              <a:gdLst>
                <a:gd name="connsiteX0" fmla="*/ 38152 w 44021"/>
                <a:gd name="connsiteY0" fmla="*/ 99783 h 99782"/>
                <a:gd name="connsiteX1" fmla="*/ 32282 w 44021"/>
                <a:gd name="connsiteY1" fmla="*/ 96848 h 99782"/>
                <a:gd name="connsiteX2" fmla="*/ 0 w 44021"/>
                <a:gd name="connsiteY2" fmla="*/ 8804 h 99782"/>
                <a:gd name="connsiteX3" fmla="*/ 2934 w 44021"/>
                <a:gd name="connsiteY3" fmla="*/ 0 h 99782"/>
                <a:gd name="connsiteX4" fmla="*/ 11740 w 44021"/>
                <a:gd name="connsiteY4" fmla="*/ 2935 h 99782"/>
                <a:gd name="connsiteX5" fmla="*/ 44022 w 44021"/>
                <a:gd name="connsiteY5" fmla="*/ 90978 h 99782"/>
                <a:gd name="connsiteX6" fmla="*/ 38152 w 44021"/>
                <a:gd name="connsiteY6" fmla="*/ 99783 h 99782"/>
                <a:gd name="connsiteX7" fmla="*/ 38152 w 44021"/>
                <a:gd name="connsiteY7" fmla="*/ 99783 h 99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021" h="99782">
                  <a:moveTo>
                    <a:pt x="38152" y="99783"/>
                  </a:moveTo>
                  <a:cubicBezTo>
                    <a:pt x="35218" y="99783"/>
                    <a:pt x="32282" y="99783"/>
                    <a:pt x="32282" y="96848"/>
                  </a:cubicBezTo>
                  <a:lnTo>
                    <a:pt x="0" y="8804"/>
                  </a:lnTo>
                  <a:cubicBezTo>
                    <a:pt x="0" y="5870"/>
                    <a:pt x="0" y="2935"/>
                    <a:pt x="2934" y="0"/>
                  </a:cubicBezTo>
                  <a:cubicBezTo>
                    <a:pt x="5870" y="0"/>
                    <a:pt x="8804" y="0"/>
                    <a:pt x="11740" y="2935"/>
                  </a:cubicBezTo>
                  <a:lnTo>
                    <a:pt x="44022" y="90978"/>
                  </a:lnTo>
                  <a:cubicBezTo>
                    <a:pt x="44022" y="93913"/>
                    <a:pt x="44022" y="96848"/>
                    <a:pt x="38152" y="99783"/>
                  </a:cubicBezTo>
                  <a:cubicBezTo>
                    <a:pt x="38152" y="99783"/>
                    <a:pt x="38152" y="99783"/>
                    <a:pt x="38152" y="99783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97438FE5-AD77-4C59-BF78-2036C29634F5}"/>
                </a:ext>
              </a:extLst>
            </p:cNvPr>
            <p:cNvGrpSpPr/>
            <p:nvPr/>
          </p:nvGrpSpPr>
          <p:grpSpPr>
            <a:xfrm>
              <a:off x="20403323" y="3087570"/>
              <a:ext cx="319865" cy="353150"/>
              <a:chOff x="20403323" y="3087570"/>
              <a:chExt cx="319865" cy="353150"/>
            </a:xfrm>
          </p:grpSpPr>
          <p:sp>
            <p:nvSpPr>
              <p:cNvPr id="164" name="任意多边形: 形状 163">
                <a:extLst>
                  <a:ext uri="{FF2B5EF4-FFF2-40B4-BE49-F238E27FC236}">
                    <a16:creationId xmlns:a16="http://schemas.microsoft.com/office/drawing/2014/main" id="{FB3EEA8A-E8AD-4DE0-81C3-4E7AC47B9D38}"/>
                  </a:ext>
                </a:extLst>
              </p:cNvPr>
              <p:cNvSpPr/>
              <p:nvPr/>
            </p:nvSpPr>
            <p:spPr>
              <a:xfrm>
                <a:off x="20403323" y="3099769"/>
                <a:ext cx="319865" cy="340951"/>
              </a:xfrm>
              <a:custGeom>
                <a:avLst/>
                <a:gdLst>
                  <a:gd name="connsiteX0" fmla="*/ 169589 w 319865"/>
                  <a:gd name="connsiteY0" fmla="*/ 20544 h 340951"/>
                  <a:gd name="connsiteX1" fmla="*/ 157849 w 319865"/>
                  <a:gd name="connsiteY1" fmla="*/ 41087 h 340951"/>
                  <a:gd name="connsiteX2" fmla="*/ 157849 w 319865"/>
                  <a:gd name="connsiteY2" fmla="*/ 49891 h 340951"/>
                  <a:gd name="connsiteX3" fmla="*/ 140241 w 319865"/>
                  <a:gd name="connsiteY3" fmla="*/ 26413 h 340951"/>
                  <a:gd name="connsiteX4" fmla="*/ 93285 w 319865"/>
                  <a:gd name="connsiteY4" fmla="*/ 0 h 340951"/>
                  <a:gd name="connsiteX5" fmla="*/ 87415 w 319865"/>
                  <a:gd name="connsiteY5" fmla="*/ 5870 h 340951"/>
                  <a:gd name="connsiteX6" fmla="*/ 87415 w 319865"/>
                  <a:gd name="connsiteY6" fmla="*/ 8804 h 340951"/>
                  <a:gd name="connsiteX7" fmla="*/ 52198 w 319865"/>
                  <a:gd name="connsiteY7" fmla="*/ 2935 h 340951"/>
                  <a:gd name="connsiteX8" fmla="*/ 34590 w 319865"/>
                  <a:gd name="connsiteY8" fmla="*/ 29348 h 340951"/>
                  <a:gd name="connsiteX9" fmla="*/ 63937 w 319865"/>
                  <a:gd name="connsiteY9" fmla="*/ 82174 h 340951"/>
                  <a:gd name="connsiteX10" fmla="*/ 107959 w 319865"/>
                  <a:gd name="connsiteY10" fmla="*/ 155543 h 340951"/>
                  <a:gd name="connsiteX11" fmla="*/ 55132 w 319865"/>
                  <a:gd name="connsiteY11" fmla="*/ 111522 h 340951"/>
                  <a:gd name="connsiteX12" fmla="*/ 14046 w 319865"/>
                  <a:gd name="connsiteY12" fmla="*/ 82174 h 340951"/>
                  <a:gd name="connsiteX13" fmla="*/ 8176 w 319865"/>
                  <a:gd name="connsiteY13" fmla="*/ 117391 h 340951"/>
                  <a:gd name="connsiteX14" fmla="*/ 154915 w 319865"/>
                  <a:gd name="connsiteY14" fmla="*/ 264130 h 340951"/>
                  <a:gd name="connsiteX15" fmla="*/ 46328 w 319865"/>
                  <a:gd name="connsiteY15" fmla="*/ 246522 h 340951"/>
                  <a:gd name="connsiteX16" fmla="*/ 34590 w 319865"/>
                  <a:gd name="connsiteY16" fmla="*/ 267065 h 340951"/>
                  <a:gd name="connsiteX17" fmla="*/ 254698 w 319865"/>
                  <a:gd name="connsiteY17" fmla="*/ 331630 h 340951"/>
                  <a:gd name="connsiteX18" fmla="*/ 257632 w 319865"/>
                  <a:gd name="connsiteY18" fmla="*/ 331630 h 340951"/>
                  <a:gd name="connsiteX19" fmla="*/ 263502 w 319865"/>
                  <a:gd name="connsiteY19" fmla="*/ 334565 h 340951"/>
                  <a:gd name="connsiteX20" fmla="*/ 319262 w 319865"/>
                  <a:gd name="connsiteY20" fmla="*/ 246522 h 340951"/>
                  <a:gd name="connsiteX21" fmla="*/ 257632 w 319865"/>
                  <a:gd name="connsiteY21" fmla="*/ 123261 h 340951"/>
                  <a:gd name="connsiteX22" fmla="*/ 204807 w 319865"/>
                  <a:gd name="connsiteY22" fmla="*/ 52826 h 340951"/>
                  <a:gd name="connsiteX23" fmla="*/ 169589 w 319865"/>
                  <a:gd name="connsiteY23" fmla="*/ 20544 h 340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19865" h="340951">
                    <a:moveTo>
                      <a:pt x="169589" y="20544"/>
                    </a:moveTo>
                    <a:cubicBezTo>
                      <a:pt x="160785" y="23478"/>
                      <a:pt x="157849" y="32283"/>
                      <a:pt x="157849" y="41087"/>
                    </a:cubicBezTo>
                    <a:cubicBezTo>
                      <a:pt x="157849" y="44022"/>
                      <a:pt x="157849" y="46956"/>
                      <a:pt x="157849" y="49891"/>
                    </a:cubicBezTo>
                    <a:cubicBezTo>
                      <a:pt x="151981" y="41087"/>
                      <a:pt x="146111" y="32283"/>
                      <a:pt x="140241" y="26413"/>
                    </a:cubicBezTo>
                    <a:cubicBezTo>
                      <a:pt x="128501" y="8804"/>
                      <a:pt x="113827" y="0"/>
                      <a:pt x="93285" y="0"/>
                    </a:cubicBezTo>
                    <a:cubicBezTo>
                      <a:pt x="90349" y="0"/>
                      <a:pt x="87415" y="2935"/>
                      <a:pt x="87415" y="5870"/>
                    </a:cubicBezTo>
                    <a:cubicBezTo>
                      <a:pt x="87415" y="5870"/>
                      <a:pt x="87415" y="8804"/>
                      <a:pt x="87415" y="8804"/>
                    </a:cubicBezTo>
                    <a:cubicBezTo>
                      <a:pt x="75675" y="2935"/>
                      <a:pt x="63937" y="-2935"/>
                      <a:pt x="52198" y="2935"/>
                    </a:cubicBezTo>
                    <a:cubicBezTo>
                      <a:pt x="40458" y="5870"/>
                      <a:pt x="34590" y="17609"/>
                      <a:pt x="34590" y="29348"/>
                    </a:cubicBezTo>
                    <a:cubicBezTo>
                      <a:pt x="37524" y="49891"/>
                      <a:pt x="55132" y="67500"/>
                      <a:pt x="63937" y="82174"/>
                    </a:cubicBezTo>
                    <a:cubicBezTo>
                      <a:pt x="78611" y="105652"/>
                      <a:pt x="93285" y="129130"/>
                      <a:pt x="107959" y="155543"/>
                    </a:cubicBezTo>
                    <a:cubicBezTo>
                      <a:pt x="90349" y="140870"/>
                      <a:pt x="72741" y="126196"/>
                      <a:pt x="55132" y="111522"/>
                    </a:cubicBezTo>
                    <a:cubicBezTo>
                      <a:pt x="43394" y="102717"/>
                      <a:pt x="28720" y="82174"/>
                      <a:pt x="14046" y="82174"/>
                    </a:cubicBezTo>
                    <a:cubicBezTo>
                      <a:pt x="-9432" y="79239"/>
                      <a:pt x="2306" y="108587"/>
                      <a:pt x="8176" y="117391"/>
                    </a:cubicBezTo>
                    <a:cubicBezTo>
                      <a:pt x="40458" y="179022"/>
                      <a:pt x="110893" y="211304"/>
                      <a:pt x="154915" y="264130"/>
                    </a:cubicBezTo>
                    <a:cubicBezTo>
                      <a:pt x="119697" y="284674"/>
                      <a:pt x="84479" y="249457"/>
                      <a:pt x="46328" y="246522"/>
                    </a:cubicBezTo>
                    <a:cubicBezTo>
                      <a:pt x="40458" y="246522"/>
                      <a:pt x="31654" y="261196"/>
                      <a:pt x="34590" y="267065"/>
                    </a:cubicBezTo>
                    <a:cubicBezTo>
                      <a:pt x="66871" y="325761"/>
                      <a:pt x="166655" y="358044"/>
                      <a:pt x="254698" y="331630"/>
                    </a:cubicBezTo>
                    <a:cubicBezTo>
                      <a:pt x="254698" y="331630"/>
                      <a:pt x="254698" y="331630"/>
                      <a:pt x="257632" y="331630"/>
                    </a:cubicBezTo>
                    <a:cubicBezTo>
                      <a:pt x="257632" y="334565"/>
                      <a:pt x="260566" y="334565"/>
                      <a:pt x="263502" y="334565"/>
                    </a:cubicBezTo>
                    <a:cubicBezTo>
                      <a:pt x="304588" y="328696"/>
                      <a:pt x="313394" y="278804"/>
                      <a:pt x="319262" y="246522"/>
                    </a:cubicBezTo>
                    <a:cubicBezTo>
                      <a:pt x="325132" y="196630"/>
                      <a:pt x="286980" y="158478"/>
                      <a:pt x="257632" y="123261"/>
                    </a:cubicBezTo>
                    <a:cubicBezTo>
                      <a:pt x="240024" y="99783"/>
                      <a:pt x="222415" y="76304"/>
                      <a:pt x="204807" y="52826"/>
                    </a:cubicBezTo>
                    <a:cubicBezTo>
                      <a:pt x="198937" y="35217"/>
                      <a:pt x="187197" y="14674"/>
                      <a:pt x="169589" y="20544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CF111E9A-D774-49DD-80AF-19AB65D390CE}"/>
                  </a:ext>
                </a:extLst>
              </p:cNvPr>
              <p:cNvSpPr/>
              <p:nvPr/>
            </p:nvSpPr>
            <p:spPr>
              <a:xfrm>
                <a:off x="20583435" y="3324935"/>
                <a:ext cx="79720" cy="24290"/>
              </a:xfrm>
              <a:custGeom>
                <a:avLst/>
                <a:gdLst>
                  <a:gd name="connsiteX0" fmla="*/ 71650 w 79720"/>
                  <a:gd name="connsiteY0" fmla="*/ 24291 h 24290"/>
                  <a:gd name="connsiteX1" fmla="*/ 68716 w 79720"/>
                  <a:gd name="connsiteY1" fmla="*/ 24291 h 24290"/>
                  <a:gd name="connsiteX2" fmla="*/ 10020 w 79720"/>
                  <a:gd name="connsiteY2" fmla="*/ 21356 h 24290"/>
                  <a:gd name="connsiteX3" fmla="*/ 1216 w 79720"/>
                  <a:gd name="connsiteY3" fmla="*/ 18421 h 24290"/>
                  <a:gd name="connsiteX4" fmla="*/ 4150 w 79720"/>
                  <a:gd name="connsiteY4" fmla="*/ 9617 h 24290"/>
                  <a:gd name="connsiteX5" fmla="*/ 77520 w 79720"/>
                  <a:gd name="connsiteY5" fmla="*/ 12551 h 24290"/>
                  <a:gd name="connsiteX6" fmla="*/ 77520 w 79720"/>
                  <a:gd name="connsiteY6" fmla="*/ 21356 h 24290"/>
                  <a:gd name="connsiteX7" fmla="*/ 71650 w 79720"/>
                  <a:gd name="connsiteY7" fmla="*/ 24291 h 24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720" h="24290">
                    <a:moveTo>
                      <a:pt x="71650" y="24291"/>
                    </a:moveTo>
                    <a:cubicBezTo>
                      <a:pt x="71650" y="24291"/>
                      <a:pt x="68716" y="24291"/>
                      <a:pt x="68716" y="24291"/>
                    </a:cubicBezTo>
                    <a:cubicBezTo>
                      <a:pt x="42302" y="3747"/>
                      <a:pt x="10020" y="21356"/>
                      <a:pt x="10020" y="21356"/>
                    </a:cubicBezTo>
                    <a:cubicBezTo>
                      <a:pt x="7084" y="24291"/>
                      <a:pt x="4150" y="21356"/>
                      <a:pt x="1216" y="18421"/>
                    </a:cubicBezTo>
                    <a:cubicBezTo>
                      <a:pt x="-1720" y="15486"/>
                      <a:pt x="1216" y="12551"/>
                      <a:pt x="4150" y="9617"/>
                    </a:cubicBezTo>
                    <a:cubicBezTo>
                      <a:pt x="7084" y="9617"/>
                      <a:pt x="45238" y="-13862"/>
                      <a:pt x="77520" y="12551"/>
                    </a:cubicBezTo>
                    <a:cubicBezTo>
                      <a:pt x="80454" y="15486"/>
                      <a:pt x="80454" y="18421"/>
                      <a:pt x="77520" y="21356"/>
                    </a:cubicBezTo>
                    <a:cubicBezTo>
                      <a:pt x="77520" y="24291"/>
                      <a:pt x="74586" y="24291"/>
                      <a:pt x="71650" y="24291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99B67C92-57BD-44CB-96F8-3647A7F3CAC9}"/>
                  </a:ext>
                </a:extLst>
              </p:cNvPr>
              <p:cNvSpPr/>
              <p:nvPr/>
            </p:nvSpPr>
            <p:spPr>
              <a:xfrm>
                <a:off x="20421036" y="3090201"/>
                <a:ext cx="150245" cy="165111"/>
              </a:xfrm>
              <a:custGeom>
                <a:avLst/>
                <a:gdLst>
                  <a:gd name="connsiteX0" fmla="*/ 96114 w 150245"/>
                  <a:gd name="connsiteY0" fmla="*/ 165111 h 165111"/>
                  <a:gd name="connsiteX1" fmla="*/ 93179 w 150245"/>
                  <a:gd name="connsiteY1" fmla="*/ 162177 h 165111"/>
                  <a:gd name="connsiteX2" fmla="*/ 2202 w 150245"/>
                  <a:gd name="connsiteY2" fmla="*/ 88807 h 165111"/>
                  <a:gd name="connsiteX3" fmla="*/ 2202 w 150245"/>
                  <a:gd name="connsiteY3" fmla="*/ 80003 h 165111"/>
                  <a:gd name="connsiteX4" fmla="*/ 11006 w 150245"/>
                  <a:gd name="connsiteY4" fmla="*/ 80003 h 165111"/>
                  <a:gd name="connsiteX5" fmla="*/ 69702 w 150245"/>
                  <a:gd name="connsiteY5" fmla="*/ 124024 h 165111"/>
                  <a:gd name="connsiteX6" fmla="*/ 19810 w 150245"/>
                  <a:gd name="connsiteY6" fmla="*/ 18372 h 165111"/>
                  <a:gd name="connsiteX7" fmla="*/ 43288 w 150245"/>
                  <a:gd name="connsiteY7" fmla="*/ 763 h 165111"/>
                  <a:gd name="connsiteX8" fmla="*/ 75571 w 150245"/>
                  <a:gd name="connsiteY8" fmla="*/ 12503 h 165111"/>
                  <a:gd name="connsiteX9" fmla="*/ 148941 w 150245"/>
                  <a:gd name="connsiteY9" fmla="*/ 106416 h 165111"/>
                  <a:gd name="connsiteX10" fmla="*/ 148941 w 150245"/>
                  <a:gd name="connsiteY10" fmla="*/ 115220 h 165111"/>
                  <a:gd name="connsiteX11" fmla="*/ 140135 w 150245"/>
                  <a:gd name="connsiteY11" fmla="*/ 115220 h 165111"/>
                  <a:gd name="connsiteX12" fmla="*/ 66766 w 150245"/>
                  <a:gd name="connsiteY12" fmla="*/ 21307 h 165111"/>
                  <a:gd name="connsiteX13" fmla="*/ 43288 w 150245"/>
                  <a:gd name="connsiteY13" fmla="*/ 12503 h 165111"/>
                  <a:gd name="connsiteX14" fmla="*/ 28614 w 150245"/>
                  <a:gd name="connsiteY14" fmla="*/ 24242 h 165111"/>
                  <a:gd name="connsiteX15" fmla="*/ 101983 w 150245"/>
                  <a:gd name="connsiteY15" fmla="*/ 153372 h 165111"/>
                  <a:gd name="connsiteX16" fmla="*/ 101983 w 150245"/>
                  <a:gd name="connsiteY16" fmla="*/ 162177 h 165111"/>
                  <a:gd name="connsiteX17" fmla="*/ 96114 w 150245"/>
                  <a:gd name="connsiteY17" fmla="*/ 165111 h 165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0245" h="165111">
                    <a:moveTo>
                      <a:pt x="96114" y="165111"/>
                    </a:moveTo>
                    <a:cubicBezTo>
                      <a:pt x="96114" y="165111"/>
                      <a:pt x="93179" y="165111"/>
                      <a:pt x="93179" y="162177"/>
                    </a:cubicBezTo>
                    <a:cubicBezTo>
                      <a:pt x="63832" y="132829"/>
                      <a:pt x="2202" y="88807"/>
                      <a:pt x="2202" y="88807"/>
                    </a:cubicBezTo>
                    <a:cubicBezTo>
                      <a:pt x="-734" y="85872"/>
                      <a:pt x="-734" y="82937"/>
                      <a:pt x="2202" y="80003"/>
                    </a:cubicBezTo>
                    <a:cubicBezTo>
                      <a:pt x="5136" y="77068"/>
                      <a:pt x="8070" y="77068"/>
                      <a:pt x="11006" y="80003"/>
                    </a:cubicBezTo>
                    <a:cubicBezTo>
                      <a:pt x="13940" y="80003"/>
                      <a:pt x="43288" y="103481"/>
                      <a:pt x="69702" y="124024"/>
                    </a:cubicBezTo>
                    <a:cubicBezTo>
                      <a:pt x="43288" y="82937"/>
                      <a:pt x="13940" y="33046"/>
                      <a:pt x="19810" y="18372"/>
                    </a:cubicBezTo>
                    <a:cubicBezTo>
                      <a:pt x="25680" y="9568"/>
                      <a:pt x="31550" y="763"/>
                      <a:pt x="43288" y="763"/>
                    </a:cubicBezTo>
                    <a:cubicBezTo>
                      <a:pt x="55028" y="-2171"/>
                      <a:pt x="66766" y="3698"/>
                      <a:pt x="75571" y="12503"/>
                    </a:cubicBezTo>
                    <a:cubicBezTo>
                      <a:pt x="90245" y="27176"/>
                      <a:pt x="146005" y="103481"/>
                      <a:pt x="148941" y="106416"/>
                    </a:cubicBezTo>
                    <a:cubicBezTo>
                      <a:pt x="151875" y="109350"/>
                      <a:pt x="148941" y="112285"/>
                      <a:pt x="148941" y="115220"/>
                    </a:cubicBezTo>
                    <a:cubicBezTo>
                      <a:pt x="146005" y="118155"/>
                      <a:pt x="143071" y="115220"/>
                      <a:pt x="140135" y="115220"/>
                    </a:cubicBezTo>
                    <a:cubicBezTo>
                      <a:pt x="140135" y="115220"/>
                      <a:pt x="81440" y="35981"/>
                      <a:pt x="66766" y="21307"/>
                    </a:cubicBezTo>
                    <a:cubicBezTo>
                      <a:pt x="60898" y="15437"/>
                      <a:pt x="52092" y="12503"/>
                      <a:pt x="43288" y="12503"/>
                    </a:cubicBezTo>
                    <a:cubicBezTo>
                      <a:pt x="37418" y="12503"/>
                      <a:pt x="31550" y="18372"/>
                      <a:pt x="28614" y="24242"/>
                    </a:cubicBezTo>
                    <a:cubicBezTo>
                      <a:pt x="25680" y="35981"/>
                      <a:pt x="63832" y="100546"/>
                      <a:pt x="101983" y="153372"/>
                    </a:cubicBezTo>
                    <a:cubicBezTo>
                      <a:pt x="104919" y="156307"/>
                      <a:pt x="101983" y="159242"/>
                      <a:pt x="101983" y="162177"/>
                    </a:cubicBezTo>
                    <a:cubicBezTo>
                      <a:pt x="99049" y="165111"/>
                      <a:pt x="96114" y="165111"/>
                      <a:pt x="96114" y="165111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AF51464A-0EAF-4A4D-B7A5-6F81D3E34F9C}"/>
                  </a:ext>
                </a:extLst>
              </p:cNvPr>
              <p:cNvSpPr/>
              <p:nvPr/>
            </p:nvSpPr>
            <p:spPr>
              <a:xfrm>
                <a:off x="20481934" y="3087570"/>
                <a:ext cx="129129" cy="132524"/>
              </a:xfrm>
              <a:custGeom>
                <a:avLst/>
                <a:gdLst>
                  <a:gd name="connsiteX0" fmla="*/ 120325 w 129129"/>
                  <a:gd name="connsiteY0" fmla="*/ 132525 h 132524"/>
                  <a:gd name="connsiteX1" fmla="*/ 79238 w 129129"/>
                  <a:gd name="connsiteY1" fmla="*/ 67960 h 132524"/>
                  <a:gd name="connsiteX2" fmla="*/ 29348 w 129129"/>
                  <a:gd name="connsiteY2" fmla="*/ 12199 h 132524"/>
                  <a:gd name="connsiteX3" fmla="*/ 11738 w 129129"/>
                  <a:gd name="connsiteY3" fmla="*/ 23938 h 132524"/>
                  <a:gd name="connsiteX4" fmla="*/ 2934 w 129129"/>
                  <a:gd name="connsiteY4" fmla="*/ 26873 h 132524"/>
                  <a:gd name="connsiteX5" fmla="*/ 0 w 129129"/>
                  <a:gd name="connsiteY5" fmla="*/ 18068 h 132524"/>
                  <a:gd name="connsiteX6" fmla="*/ 32282 w 129129"/>
                  <a:gd name="connsiteY6" fmla="*/ 460 h 132524"/>
                  <a:gd name="connsiteX7" fmla="*/ 88043 w 129129"/>
                  <a:gd name="connsiteY7" fmla="*/ 59155 h 132524"/>
                  <a:gd name="connsiteX8" fmla="*/ 129129 w 129129"/>
                  <a:gd name="connsiteY8" fmla="*/ 123721 h 132524"/>
                  <a:gd name="connsiteX9" fmla="*/ 120325 w 129129"/>
                  <a:gd name="connsiteY9" fmla="*/ 132525 h 132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9129" h="132524">
                    <a:moveTo>
                      <a:pt x="120325" y="132525"/>
                    </a:moveTo>
                    <a:cubicBezTo>
                      <a:pt x="120325" y="132525"/>
                      <a:pt x="85108" y="76764"/>
                      <a:pt x="79238" y="67960"/>
                    </a:cubicBezTo>
                    <a:cubicBezTo>
                      <a:pt x="73370" y="56221"/>
                      <a:pt x="41086" y="18068"/>
                      <a:pt x="29348" y="12199"/>
                    </a:cubicBezTo>
                    <a:cubicBezTo>
                      <a:pt x="20542" y="9264"/>
                      <a:pt x="11738" y="23938"/>
                      <a:pt x="11738" y="23938"/>
                    </a:cubicBezTo>
                    <a:cubicBezTo>
                      <a:pt x="8804" y="26873"/>
                      <a:pt x="5868" y="26873"/>
                      <a:pt x="2934" y="26873"/>
                    </a:cubicBezTo>
                    <a:cubicBezTo>
                      <a:pt x="0" y="23938"/>
                      <a:pt x="0" y="21003"/>
                      <a:pt x="0" y="18068"/>
                    </a:cubicBezTo>
                    <a:cubicBezTo>
                      <a:pt x="5868" y="9264"/>
                      <a:pt x="17608" y="-2475"/>
                      <a:pt x="32282" y="460"/>
                    </a:cubicBezTo>
                    <a:cubicBezTo>
                      <a:pt x="49890" y="6329"/>
                      <a:pt x="82174" y="53286"/>
                      <a:pt x="88043" y="59155"/>
                    </a:cubicBezTo>
                    <a:cubicBezTo>
                      <a:pt x="93912" y="70894"/>
                      <a:pt x="129129" y="123721"/>
                      <a:pt x="129129" y="123721"/>
                    </a:cubicBezTo>
                    <a:lnTo>
                      <a:pt x="120325" y="132525"/>
                    </a:ln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822A9D95-7899-40C6-902A-341F902A1810}"/>
                </a:ext>
              </a:extLst>
            </p:cNvPr>
            <p:cNvGrpSpPr/>
            <p:nvPr/>
          </p:nvGrpSpPr>
          <p:grpSpPr>
            <a:xfrm>
              <a:off x="22364652" y="4085848"/>
              <a:ext cx="2529009" cy="2508445"/>
              <a:chOff x="22364652" y="4085848"/>
              <a:chExt cx="2529009" cy="2508445"/>
            </a:xfrm>
          </p:grpSpPr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4C33D300-B7A7-4A23-BB57-A8D84224FE5D}"/>
                  </a:ext>
                </a:extLst>
              </p:cNvPr>
              <p:cNvSpPr/>
              <p:nvPr/>
            </p:nvSpPr>
            <p:spPr>
              <a:xfrm>
                <a:off x="22364652" y="4085848"/>
                <a:ext cx="2529009" cy="2508445"/>
              </a:xfrm>
              <a:custGeom>
                <a:avLst/>
                <a:gdLst>
                  <a:gd name="connsiteX0" fmla="*/ 2457825 w 2529009"/>
                  <a:gd name="connsiteY0" fmla="*/ 1875335 h 2508445"/>
                  <a:gd name="connsiteX1" fmla="*/ 227390 w 2529009"/>
                  <a:gd name="connsiteY1" fmla="*/ 2198161 h 2508445"/>
                  <a:gd name="connsiteX2" fmla="*/ 256738 w 2529009"/>
                  <a:gd name="connsiteY2" fmla="*/ 1141639 h 2508445"/>
                  <a:gd name="connsiteX3" fmla="*/ 256738 w 2529009"/>
                  <a:gd name="connsiteY3" fmla="*/ 1141639 h 2508445"/>
                  <a:gd name="connsiteX4" fmla="*/ 597174 w 2529009"/>
                  <a:gd name="connsiteY4" fmla="*/ 906856 h 2508445"/>
                  <a:gd name="connsiteX5" fmla="*/ 1195868 w 2529009"/>
                  <a:gd name="connsiteY5" fmla="*/ 90987 h 2508445"/>
                  <a:gd name="connsiteX6" fmla="*/ 1395433 w 2529009"/>
                  <a:gd name="connsiteY6" fmla="*/ 8 h 2508445"/>
                  <a:gd name="connsiteX7" fmla="*/ 2457825 w 2529009"/>
                  <a:gd name="connsiteY7" fmla="*/ 1875335 h 2508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29009" h="2508445">
                    <a:moveTo>
                      <a:pt x="2457825" y="1875335"/>
                    </a:moveTo>
                    <a:cubicBezTo>
                      <a:pt x="2167282" y="2779248"/>
                      <a:pt x="605978" y="2550335"/>
                      <a:pt x="227390" y="2198161"/>
                    </a:cubicBezTo>
                    <a:cubicBezTo>
                      <a:pt x="39565" y="2025009"/>
                      <a:pt x="-186414" y="1555443"/>
                      <a:pt x="256738" y="1141639"/>
                    </a:cubicBezTo>
                    <a:cubicBezTo>
                      <a:pt x="256738" y="1141639"/>
                      <a:pt x="256738" y="1141639"/>
                      <a:pt x="256738" y="1141639"/>
                    </a:cubicBezTo>
                    <a:cubicBezTo>
                      <a:pt x="344781" y="1059465"/>
                      <a:pt x="456303" y="980226"/>
                      <a:pt x="597174" y="906856"/>
                    </a:cubicBezTo>
                    <a:cubicBezTo>
                      <a:pt x="831956" y="783595"/>
                      <a:pt x="978695" y="296421"/>
                      <a:pt x="1195868" y="90987"/>
                    </a:cubicBezTo>
                    <a:cubicBezTo>
                      <a:pt x="1254564" y="35226"/>
                      <a:pt x="1322063" y="8"/>
                      <a:pt x="1395433" y="8"/>
                    </a:cubicBezTo>
                    <a:cubicBezTo>
                      <a:pt x="1741739" y="-2926"/>
                      <a:pt x="2812935" y="768922"/>
                      <a:pt x="2457825" y="1875335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996F7689-6D4F-4F64-8937-6EC6CF58BE25}"/>
                  </a:ext>
                </a:extLst>
              </p:cNvPr>
              <p:cNvSpPr/>
              <p:nvPr/>
            </p:nvSpPr>
            <p:spPr>
              <a:xfrm>
                <a:off x="23032259" y="4928139"/>
                <a:ext cx="899348" cy="416739"/>
              </a:xfrm>
              <a:custGeom>
                <a:avLst/>
                <a:gdLst>
                  <a:gd name="connsiteX0" fmla="*/ 895109 w 899348"/>
                  <a:gd name="connsiteY0" fmla="*/ 416739 h 416739"/>
                  <a:gd name="connsiteX1" fmla="*/ 889239 w 899348"/>
                  <a:gd name="connsiteY1" fmla="*/ 413804 h 416739"/>
                  <a:gd name="connsiteX2" fmla="*/ 5870 w 899348"/>
                  <a:gd name="connsiteY2" fmla="*/ 11739 h 416739"/>
                  <a:gd name="connsiteX3" fmla="*/ 0 w 899348"/>
                  <a:gd name="connsiteY3" fmla="*/ 5869 h 416739"/>
                  <a:gd name="connsiteX4" fmla="*/ 5870 w 899348"/>
                  <a:gd name="connsiteY4" fmla="*/ 0 h 416739"/>
                  <a:gd name="connsiteX5" fmla="*/ 5870 w 899348"/>
                  <a:gd name="connsiteY5" fmla="*/ 0 h 416739"/>
                  <a:gd name="connsiteX6" fmla="*/ 898045 w 899348"/>
                  <a:gd name="connsiteY6" fmla="*/ 405000 h 416739"/>
                  <a:gd name="connsiteX7" fmla="*/ 898045 w 899348"/>
                  <a:gd name="connsiteY7" fmla="*/ 413804 h 416739"/>
                  <a:gd name="connsiteX8" fmla="*/ 895109 w 899348"/>
                  <a:gd name="connsiteY8" fmla="*/ 416739 h 416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9348" h="416739">
                    <a:moveTo>
                      <a:pt x="895109" y="416739"/>
                    </a:moveTo>
                    <a:cubicBezTo>
                      <a:pt x="892175" y="416739"/>
                      <a:pt x="892175" y="416739"/>
                      <a:pt x="889239" y="413804"/>
                    </a:cubicBezTo>
                    <a:cubicBezTo>
                      <a:pt x="601630" y="20543"/>
                      <a:pt x="11740" y="11739"/>
                      <a:pt x="5870" y="11739"/>
                    </a:cubicBezTo>
                    <a:cubicBezTo>
                      <a:pt x="2936" y="11739"/>
                      <a:pt x="0" y="8804"/>
                      <a:pt x="0" y="5869"/>
                    </a:cubicBezTo>
                    <a:cubicBezTo>
                      <a:pt x="0" y="2935"/>
                      <a:pt x="2936" y="0"/>
                      <a:pt x="5870" y="0"/>
                    </a:cubicBezTo>
                    <a:lnTo>
                      <a:pt x="5870" y="0"/>
                    </a:lnTo>
                    <a:cubicBezTo>
                      <a:pt x="11740" y="0"/>
                      <a:pt x="610434" y="8804"/>
                      <a:pt x="898045" y="405000"/>
                    </a:cubicBezTo>
                    <a:cubicBezTo>
                      <a:pt x="900979" y="407935"/>
                      <a:pt x="898045" y="410870"/>
                      <a:pt x="898045" y="413804"/>
                    </a:cubicBezTo>
                    <a:cubicBezTo>
                      <a:pt x="898045" y="416739"/>
                      <a:pt x="898045" y="416739"/>
                      <a:pt x="895109" y="41673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E4DA88C0-9004-4124-AF47-FAEE82C4BDE2}"/>
                  </a:ext>
                </a:extLst>
              </p:cNvPr>
              <p:cNvSpPr/>
              <p:nvPr/>
            </p:nvSpPr>
            <p:spPr>
              <a:xfrm>
                <a:off x="23666906" y="5395503"/>
                <a:ext cx="203635" cy="533396"/>
              </a:xfrm>
              <a:custGeom>
                <a:avLst/>
                <a:gdLst>
                  <a:gd name="connsiteX0" fmla="*/ 187092 w 203635"/>
                  <a:gd name="connsiteY0" fmla="*/ 533397 h 533396"/>
                  <a:gd name="connsiteX1" fmla="*/ 187092 w 203635"/>
                  <a:gd name="connsiteY1" fmla="*/ 533397 h 533396"/>
                  <a:gd name="connsiteX2" fmla="*/ 181222 w 203635"/>
                  <a:gd name="connsiteY2" fmla="*/ 527527 h 533396"/>
                  <a:gd name="connsiteX3" fmla="*/ 2201 w 203635"/>
                  <a:gd name="connsiteY3" fmla="*/ 11005 h 533396"/>
                  <a:gd name="connsiteX4" fmla="*/ 2201 w 203635"/>
                  <a:gd name="connsiteY4" fmla="*/ 2201 h 533396"/>
                  <a:gd name="connsiteX5" fmla="*/ 11005 w 203635"/>
                  <a:gd name="connsiteY5" fmla="*/ 2201 h 533396"/>
                  <a:gd name="connsiteX6" fmla="*/ 195895 w 203635"/>
                  <a:gd name="connsiteY6" fmla="*/ 527527 h 533396"/>
                  <a:gd name="connsiteX7" fmla="*/ 187092 w 203635"/>
                  <a:gd name="connsiteY7" fmla="*/ 533397 h 533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3635" h="533396">
                    <a:moveTo>
                      <a:pt x="187092" y="533397"/>
                    </a:moveTo>
                    <a:cubicBezTo>
                      <a:pt x="187092" y="533397"/>
                      <a:pt x="187092" y="533397"/>
                      <a:pt x="187092" y="533397"/>
                    </a:cubicBezTo>
                    <a:cubicBezTo>
                      <a:pt x="184157" y="533397"/>
                      <a:pt x="181222" y="530462"/>
                      <a:pt x="181222" y="527527"/>
                    </a:cubicBezTo>
                    <a:cubicBezTo>
                      <a:pt x="234049" y="236984"/>
                      <a:pt x="2201" y="13940"/>
                      <a:pt x="2201" y="11005"/>
                    </a:cubicBezTo>
                    <a:cubicBezTo>
                      <a:pt x="-734" y="8071"/>
                      <a:pt x="-734" y="5136"/>
                      <a:pt x="2201" y="2201"/>
                    </a:cubicBezTo>
                    <a:cubicBezTo>
                      <a:pt x="5135" y="-734"/>
                      <a:pt x="8070" y="-734"/>
                      <a:pt x="11005" y="2201"/>
                    </a:cubicBezTo>
                    <a:cubicBezTo>
                      <a:pt x="13940" y="5136"/>
                      <a:pt x="248723" y="231114"/>
                      <a:pt x="195895" y="527527"/>
                    </a:cubicBezTo>
                    <a:cubicBezTo>
                      <a:pt x="192961" y="530462"/>
                      <a:pt x="190027" y="533397"/>
                      <a:pt x="187092" y="5333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A1D1A117-B3CB-4F1B-B69D-0996389A7A73}"/>
                  </a:ext>
                </a:extLst>
              </p:cNvPr>
              <p:cNvSpPr/>
              <p:nvPr/>
            </p:nvSpPr>
            <p:spPr>
              <a:xfrm>
                <a:off x="23479080" y="5438791"/>
                <a:ext cx="93411" cy="402065"/>
              </a:xfrm>
              <a:custGeom>
                <a:avLst/>
                <a:gdLst>
                  <a:gd name="connsiteX0" fmla="*/ 5136 w 93411"/>
                  <a:gd name="connsiteY0" fmla="*/ 402065 h 402065"/>
                  <a:gd name="connsiteX1" fmla="*/ 2201 w 93411"/>
                  <a:gd name="connsiteY1" fmla="*/ 399131 h 402065"/>
                  <a:gd name="connsiteX2" fmla="*/ 2201 w 93411"/>
                  <a:gd name="connsiteY2" fmla="*/ 390326 h 402065"/>
                  <a:gd name="connsiteX3" fmla="*/ 81440 w 93411"/>
                  <a:gd name="connsiteY3" fmla="*/ 5869 h 402065"/>
                  <a:gd name="connsiteX4" fmla="*/ 87310 w 93411"/>
                  <a:gd name="connsiteY4" fmla="*/ 0 h 402065"/>
                  <a:gd name="connsiteX5" fmla="*/ 87310 w 93411"/>
                  <a:gd name="connsiteY5" fmla="*/ 0 h 402065"/>
                  <a:gd name="connsiteX6" fmla="*/ 93180 w 93411"/>
                  <a:gd name="connsiteY6" fmla="*/ 5869 h 402065"/>
                  <a:gd name="connsiteX7" fmla="*/ 11006 w 93411"/>
                  <a:gd name="connsiteY7" fmla="*/ 399131 h 402065"/>
                  <a:gd name="connsiteX8" fmla="*/ 5136 w 93411"/>
                  <a:gd name="connsiteY8" fmla="*/ 402065 h 402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411" h="402065">
                    <a:moveTo>
                      <a:pt x="5136" y="402065"/>
                    </a:moveTo>
                    <a:cubicBezTo>
                      <a:pt x="2201" y="402065"/>
                      <a:pt x="2201" y="402065"/>
                      <a:pt x="2201" y="399131"/>
                    </a:cubicBezTo>
                    <a:cubicBezTo>
                      <a:pt x="-734" y="396196"/>
                      <a:pt x="-734" y="393261"/>
                      <a:pt x="2201" y="390326"/>
                    </a:cubicBezTo>
                    <a:cubicBezTo>
                      <a:pt x="90244" y="314022"/>
                      <a:pt x="81440" y="8804"/>
                      <a:pt x="81440" y="5869"/>
                    </a:cubicBezTo>
                    <a:cubicBezTo>
                      <a:pt x="81440" y="2935"/>
                      <a:pt x="84376" y="0"/>
                      <a:pt x="87310" y="0"/>
                    </a:cubicBezTo>
                    <a:cubicBezTo>
                      <a:pt x="87310" y="0"/>
                      <a:pt x="87310" y="0"/>
                      <a:pt x="87310" y="0"/>
                    </a:cubicBezTo>
                    <a:cubicBezTo>
                      <a:pt x="90244" y="0"/>
                      <a:pt x="93180" y="2935"/>
                      <a:pt x="93180" y="5869"/>
                    </a:cubicBezTo>
                    <a:cubicBezTo>
                      <a:pt x="93180" y="17609"/>
                      <a:pt x="101984" y="319892"/>
                      <a:pt x="11006" y="399131"/>
                    </a:cubicBezTo>
                    <a:cubicBezTo>
                      <a:pt x="8070" y="402065"/>
                      <a:pt x="5136" y="402065"/>
                      <a:pt x="5136" y="40206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E9FF8FEB-BD1B-4BE0-A1F8-AE5B230B469B}"/>
                  </a:ext>
                </a:extLst>
              </p:cNvPr>
              <p:cNvSpPr/>
              <p:nvPr/>
            </p:nvSpPr>
            <p:spPr>
              <a:xfrm>
                <a:off x="23918564" y="5092487"/>
                <a:ext cx="442417" cy="202500"/>
              </a:xfrm>
              <a:custGeom>
                <a:avLst/>
                <a:gdLst>
                  <a:gd name="connsiteX0" fmla="*/ 440217 w 442417"/>
                  <a:gd name="connsiteY0" fmla="*/ 202500 h 202500"/>
                  <a:gd name="connsiteX1" fmla="*/ 434347 w 442417"/>
                  <a:gd name="connsiteY1" fmla="*/ 199565 h 202500"/>
                  <a:gd name="connsiteX2" fmla="*/ 5870 w 442417"/>
                  <a:gd name="connsiteY2" fmla="*/ 11739 h 202500"/>
                  <a:gd name="connsiteX3" fmla="*/ 0 w 442417"/>
                  <a:gd name="connsiteY3" fmla="*/ 5869 h 202500"/>
                  <a:gd name="connsiteX4" fmla="*/ 5870 w 442417"/>
                  <a:gd name="connsiteY4" fmla="*/ 0 h 202500"/>
                  <a:gd name="connsiteX5" fmla="*/ 440217 w 442417"/>
                  <a:gd name="connsiteY5" fmla="*/ 193696 h 202500"/>
                  <a:gd name="connsiteX6" fmla="*/ 440217 w 442417"/>
                  <a:gd name="connsiteY6" fmla="*/ 202500 h 202500"/>
                  <a:gd name="connsiteX7" fmla="*/ 440217 w 442417"/>
                  <a:gd name="connsiteY7" fmla="*/ 202500 h 20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2417" h="202500">
                    <a:moveTo>
                      <a:pt x="440217" y="202500"/>
                    </a:moveTo>
                    <a:cubicBezTo>
                      <a:pt x="437283" y="202500"/>
                      <a:pt x="437283" y="202500"/>
                      <a:pt x="434347" y="199565"/>
                    </a:cubicBezTo>
                    <a:cubicBezTo>
                      <a:pt x="305218" y="38152"/>
                      <a:pt x="8804" y="11739"/>
                      <a:pt x="5870" y="11739"/>
                    </a:cubicBezTo>
                    <a:cubicBezTo>
                      <a:pt x="2934" y="11739"/>
                      <a:pt x="0" y="8804"/>
                      <a:pt x="0" y="5869"/>
                    </a:cubicBezTo>
                    <a:cubicBezTo>
                      <a:pt x="0" y="2935"/>
                      <a:pt x="2934" y="0"/>
                      <a:pt x="5870" y="0"/>
                    </a:cubicBezTo>
                    <a:cubicBezTo>
                      <a:pt x="8804" y="0"/>
                      <a:pt x="308152" y="29348"/>
                      <a:pt x="440217" y="193696"/>
                    </a:cubicBezTo>
                    <a:cubicBezTo>
                      <a:pt x="443151" y="196630"/>
                      <a:pt x="443151" y="199565"/>
                      <a:pt x="440217" y="202500"/>
                    </a:cubicBezTo>
                    <a:cubicBezTo>
                      <a:pt x="443151" y="202500"/>
                      <a:pt x="443151" y="202500"/>
                      <a:pt x="440217" y="2025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1C28E399-80A3-40EC-9540-0C329FFE5CE7}"/>
                  </a:ext>
                </a:extLst>
              </p:cNvPr>
              <p:cNvSpPr/>
              <p:nvPr/>
            </p:nvSpPr>
            <p:spPr>
              <a:xfrm>
                <a:off x="24502586" y="5726400"/>
                <a:ext cx="116788" cy="660326"/>
              </a:xfrm>
              <a:custGeom>
                <a:avLst/>
                <a:gdLst>
                  <a:gd name="connsiteX0" fmla="*/ 5868 w 116788"/>
                  <a:gd name="connsiteY0" fmla="*/ 660326 h 660326"/>
                  <a:gd name="connsiteX1" fmla="*/ 5868 w 116788"/>
                  <a:gd name="connsiteY1" fmla="*/ 660326 h 660326"/>
                  <a:gd name="connsiteX2" fmla="*/ 0 w 116788"/>
                  <a:gd name="connsiteY2" fmla="*/ 651522 h 660326"/>
                  <a:gd name="connsiteX3" fmla="*/ 76304 w 116788"/>
                  <a:gd name="connsiteY3" fmla="*/ 5869 h 660326"/>
                  <a:gd name="connsiteX4" fmla="*/ 79238 w 116788"/>
                  <a:gd name="connsiteY4" fmla="*/ 0 h 660326"/>
                  <a:gd name="connsiteX5" fmla="*/ 85108 w 116788"/>
                  <a:gd name="connsiteY5" fmla="*/ 2935 h 660326"/>
                  <a:gd name="connsiteX6" fmla="*/ 8804 w 116788"/>
                  <a:gd name="connsiteY6" fmla="*/ 657391 h 660326"/>
                  <a:gd name="connsiteX7" fmla="*/ 5868 w 116788"/>
                  <a:gd name="connsiteY7" fmla="*/ 660326 h 660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6788" h="660326">
                    <a:moveTo>
                      <a:pt x="5868" y="660326"/>
                    </a:moveTo>
                    <a:cubicBezTo>
                      <a:pt x="2934" y="660326"/>
                      <a:pt x="2934" y="660326"/>
                      <a:pt x="5868" y="660326"/>
                    </a:cubicBezTo>
                    <a:cubicBezTo>
                      <a:pt x="0" y="657391"/>
                      <a:pt x="0" y="654457"/>
                      <a:pt x="0" y="651522"/>
                    </a:cubicBezTo>
                    <a:cubicBezTo>
                      <a:pt x="181955" y="308152"/>
                      <a:pt x="76304" y="8804"/>
                      <a:pt x="76304" y="5869"/>
                    </a:cubicBezTo>
                    <a:cubicBezTo>
                      <a:pt x="76304" y="2935"/>
                      <a:pt x="76304" y="0"/>
                      <a:pt x="79238" y="0"/>
                    </a:cubicBezTo>
                    <a:cubicBezTo>
                      <a:pt x="82174" y="0"/>
                      <a:pt x="85108" y="0"/>
                      <a:pt x="85108" y="2935"/>
                    </a:cubicBezTo>
                    <a:cubicBezTo>
                      <a:pt x="85108" y="5869"/>
                      <a:pt x="193695" y="308152"/>
                      <a:pt x="8804" y="657391"/>
                    </a:cubicBezTo>
                    <a:cubicBezTo>
                      <a:pt x="8804" y="660326"/>
                      <a:pt x="5868" y="660326"/>
                      <a:pt x="5868" y="66032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86D6C569-6534-483B-8647-6E43505A15A5}"/>
                </a:ext>
              </a:extLst>
            </p:cNvPr>
            <p:cNvGrpSpPr/>
            <p:nvPr/>
          </p:nvGrpSpPr>
          <p:grpSpPr>
            <a:xfrm>
              <a:off x="22348315" y="6292813"/>
              <a:ext cx="428617" cy="337500"/>
              <a:chOff x="22348315" y="6292813"/>
              <a:chExt cx="428617" cy="337500"/>
            </a:xfrm>
          </p:grpSpPr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CD2096E2-79FB-40BB-9008-9E68A1389605}"/>
                  </a:ext>
                </a:extLst>
              </p:cNvPr>
              <p:cNvSpPr/>
              <p:nvPr/>
            </p:nvSpPr>
            <p:spPr>
              <a:xfrm>
                <a:off x="22348315" y="6374987"/>
                <a:ext cx="383128" cy="255325"/>
              </a:xfrm>
              <a:custGeom>
                <a:avLst/>
                <a:gdLst>
                  <a:gd name="connsiteX0" fmla="*/ 281878 w 383128"/>
                  <a:gd name="connsiteY0" fmla="*/ 0 h 255325"/>
                  <a:gd name="connsiteX1" fmla="*/ 123401 w 383128"/>
                  <a:gd name="connsiteY1" fmla="*/ 114456 h 255325"/>
                  <a:gd name="connsiteX2" fmla="*/ 358183 w 383128"/>
                  <a:gd name="connsiteY2" fmla="*/ 67500 h 255325"/>
                  <a:gd name="connsiteX3" fmla="*/ 381661 w 383128"/>
                  <a:gd name="connsiteY3" fmla="*/ 58696 h 255325"/>
                  <a:gd name="connsiteX4" fmla="*/ 375791 w 383128"/>
                  <a:gd name="connsiteY4" fmla="*/ 135000 h 255325"/>
                  <a:gd name="connsiteX5" fmla="*/ 320032 w 383128"/>
                  <a:gd name="connsiteY5" fmla="*/ 255326 h 255325"/>
                  <a:gd name="connsiteX6" fmla="*/ 296552 w 383128"/>
                  <a:gd name="connsiteY6" fmla="*/ 246522 h 255325"/>
                  <a:gd name="connsiteX7" fmla="*/ 317096 w 383128"/>
                  <a:gd name="connsiteY7" fmla="*/ 140869 h 255325"/>
                  <a:gd name="connsiteX8" fmla="*/ 146879 w 383128"/>
                  <a:gd name="connsiteY8" fmla="*/ 217174 h 255325"/>
                  <a:gd name="connsiteX9" fmla="*/ 3074 w 383128"/>
                  <a:gd name="connsiteY9" fmla="*/ 170217 h 255325"/>
                  <a:gd name="connsiteX10" fmla="*/ 17748 w 383128"/>
                  <a:gd name="connsiteY10" fmla="*/ 129130 h 255325"/>
                  <a:gd name="connsiteX11" fmla="*/ 281878 w 383128"/>
                  <a:gd name="connsiteY11" fmla="*/ 0 h 255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3128" h="255325">
                    <a:moveTo>
                      <a:pt x="281878" y="0"/>
                    </a:moveTo>
                    <a:cubicBezTo>
                      <a:pt x="281878" y="0"/>
                      <a:pt x="111661" y="99782"/>
                      <a:pt x="123401" y="114456"/>
                    </a:cubicBezTo>
                    <a:cubicBezTo>
                      <a:pt x="135139" y="129130"/>
                      <a:pt x="358183" y="67500"/>
                      <a:pt x="358183" y="67500"/>
                    </a:cubicBezTo>
                    <a:lnTo>
                      <a:pt x="381661" y="58696"/>
                    </a:lnTo>
                    <a:cubicBezTo>
                      <a:pt x="381661" y="58696"/>
                      <a:pt x="387531" y="111521"/>
                      <a:pt x="375791" y="135000"/>
                    </a:cubicBezTo>
                    <a:cubicBezTo>
                      <a:pt x="364053" y="158478"/>
                      <a:pt x="320032" y="255326"/>
                      <a:pt x="320032" y="255326"/>
                    </a:cubicBezTo>
                    <a:lnTo>
                      <a:pt x="296552" y="246522"/>
                    </a:lnTo>
                    <a:lnTo>
                      <a:pt x="317096" y="140869"/>
                    </a:lnTo>
                    <a:cubicBezTo>
                      <a:pt x="317096" y="140869"/>
                      <a:pt x="167423" y="217174"/>
                      <a:pt x="146879" y="217174"/>
                    </a:cubicBezTo>
                    <a:cubicBezTo>
                      <a:pt x="126335" y="214239"/>
                      <a:pt x="11879" y="176087"/>
                      <a:pt x="3074" y="170217"/>
                    </a:cubicBezTo>
                    <a:cubicBezTo>
                      <a:pt x="-5730" y="167283"/>
                      <a:pt x="6010" y="129130"/>
                      <a:pt x="17748" y="129130"/>
                    </a:cubicBezTo>
                    <a:cubicBezTo>
                      <a:pt x="99923" y="111521"/>
                      <a:pt x="281878" y="0"/>
                      <a:pt x="281878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A82B1C9B-7022-43D5-A643-649EDF6B242F}"/>
                  </a:ext>
                </a:extLst>
              </p:cNvPr>
              <p:cNvSpPr/>
              <p:nvPr/>
            </p:nvSpPr>
            <p:spPr>
              <a:xfrm>
                <a:off x="22470833" y="6292813"/>
                <a:ext cx="306098" cy="205431"/>
              </a:xfrm>
              <a:custGeom>
                <a:avLst/>
                <a:gdLst>
                  <a:gd name="connsiteX0" fmla="*/ 185774 w 306098"/>
                  <a:gd name="connsiteY0" fmla="*/ 0 h 205431"/>
                  <a:gd name="connsiteX1" fmla="*/ 159360 w 306098"/>
                  <a:gd name="connsiteY1" fmla="*/ 85109 h 205431"/>
                  <a:gd name="connsiteX2" fmla="*/ 883 w 306098"/>
                  <a:gd name="connsiteY2" fmla="*/ 199565 h 205431"/>
                  <a:gd name="connsiteX3" fmla="*/ 262077 w 306098"/>
                  <a:gd name="connsiteY3" fmla="*/ 143804 h 205431"/>
                  <a:gd name="connsiteX4" fmla="*/ 306099 w 306098"/>
                  <a:gd name="connsiteY4" fmla="*/ 8804 h 205431"/>
                  <a:gd name="connsiteX5" fmla="*/ 185774 w 306098"/>
                  <a:gd name="connsiteY5" fmla="*/ 0 h 205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6098" h="205431">
                    <a:moveTo>
                      <a:pt x="185774" y="0"/>
                    </a:moveTo>
                    <a:lnTo>
                      <a:pt x="159360" y="85109"/>
                    </a:lnTo>
                    <a:cubicBezTo>
                      <a:pt x="159360" y="85109"/>
                      <a:pt x="-13791" y="176087"/>
                      <a:pt x="883" y="199565"/>
                    </a:cubicBezTo>
                    <a:cubicBezTo>
                      <a:pt x="15557" y="223043"/>
                      <a:pt x="250339" y="170217"/>
                      <a:pt x="262077" y="143804"/>
                    </a:cubicBezTo>
                    <a:cubicBezTo>
                      <a:pt x="279687" y="99782"/>
                      <a:pt x="306099" y="8804"/>
                      <a:pt x="306099" y="8804"/>
                    </a:cubicBezTo>
                    <a:lnTo>
                      <a:pt x="185774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图形 1">
              <a:extLst>
                <a:ext uri="{FF2B5EF4-FFF2-40B4-BE49-F238E27FC236}">
                  <a16:creationId xmlns:a16="http://schemas.microsoft.com/office/drawing/2014/main" id="{11E7425C-2D16-4A18-A992-68D3371362E9}"/>
                </a:ext>
              </a:extLst>
            </p:cNvPr>
            <p:cNvGrpSpPr/>
            <p:nvPr/>
          </p:nvGrpSpPr>
          <p:grpSpPr>
            <a:xfrm>
              <a:off x="21344554" y="5687209"/>
              <a:ext cx="487379" cy="288646"/>
              <a:chOff x="21344554" y="5687209"/>
              <a:chExt cx="487379" cy="288646"/>
            </a:xfrm>
          </p:grpSpPr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1984F3E4-630B-4628-9068-70FC46AAEF23}"/>
                  </a:ext>
                </a:extLst>
              </p:cNvPr>
              <p:cNvSpPr/>
              <p:nvPr/>
            </p:nvSpPr>
            <p:spPr>
              <a:xfrm>
                <a:off x="21344554" y="5687209"/>
                <a:ext cx="367052" cy="288646"/>
              </a:xfrm>
              <a:custGeom>
                <a:avLst/>
                <a:gdLst>
                  <a:gd name="connsiteX0" fmla="*/ 323031 w 367052"/>
                  <a:gd name="connsiteY0" fmla="*/ 68538 h 288646"/>
                  <a:gd name="connsiteX1" fmla="*/ 129336 w 367052"/>
                  <a:gd name="connsiteY1" fmla="*/ 53864 h 288646"/>
                  <a:gd name="connsiteX2" fmla="*/ 343575 w 367052"/>
                  <a:gd name="connsiteY2" fmla="*/ 165386 h 288646"/>
                  <a:gd name="connsiteX3" fmla="*/ 367053 w 367052"/>
                  <a:gd name="connsiteY3" fmla="*/ 174191 h 288646"/>
                  <a:gd name="connsiteX4" fmla="*/ 314227 w 367052"/>
                  <a:gd name="connsiteY4" fmla="*/ 229951 h 288646"/>
                  <a:gd name="connsiteX5" fmla="*/ 193902 w 367052"/>
                  <a:gd name="connsiteY5" fmla="*/ 288647 h 288646"/>
                  <a:gd name="connsiteX6" fmla="*/ 182162 w 367052"/>
                  <a:gd name="connsiteY6" fmla="*/ 268104 h 288646"/>
                  <a:gd name="connsiteX7" fmla="*/ 264335 w 367052"/>
                  <a:gd name="connsiteY7" fmla="*/ 200603 h 288646"/>
                  <a:gd name="connsiteX8" fmla="*/ 82379 w 367052"/>
                  <a:gd name="connsiteY8" fmla="*/ 150712 h 288646"/>
                  <a:gd name="connsiteX9" fmla="*/ 205 w 367052"/>
                  <a:gd name="connsiteY9" fmla="*/ 24516 h 288646"/>
                  <a:gd name="connsiteX10" fmla="*/ 38357 w 367052"/>
                  <a:gd name="connsiteY10" fmla="*/ 1038 h 288646"/>
                  <a:gd name="connsiteX11" fmla="*/ 323031 w 367052"/>
                  <a:gd name="connsiteY11" fmla="*/ 68538 h 288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7052" h="288646">
                    <a:moveTo>
                      <a:pt x="323031" y="68538"/>
                    </a:moveTo>
                    <a:cubicBezTo>
                      <a:pt x="323031" y="68538"/>
                      <a:pt x="126400" y="36255"/>
                      <a:pt x="129336" y="53864"/>
                    </a:cubicBezTo>
                    <a:cubicBezTo>
                      <a:pt x="129336" y="71473"/>
                      <a:pt x="343575" y="165386"/>
                      <a:pt x="343575" y="165386"/>
                    </a:cubicBezTo>
                    <a:lnTo>
                      <a:pt x="367053" y="174191"/>
                    </a:lnTo>
                    <a:cubicBezTo>
                      <a:pt x="367053" y="174191"/>
                      <a:pt x="337705" y="218212"/>
                      <a:pt x="314227" y="229951"/>
                    </a:cubicBezTo>
                    <a:cubicBezTo>
                      <a:pt x="290749" y="238756"/>
                      <a:pt x="193902" y="288647"/>
                      <a:pt x="193902" y="288647"/>
                    </a:cubicBezTo>
                    <a:lnTo>
                      <a:pt x="182162" y="268104"/>
                    </a:lnTo>
                    <a:lnTo>
                      <a:pt x="264335" y="200603"/>
                    </a:lnTo>
                    <a:cubicBezTo>
                      <a:pt x="264335" y="200603"/>
                      <a:pt x="99988" y="165386"/>
                      <a:pt x="82379" y="150712"/>
                    </a:cubicBezTo>
                    <a:cubicBezTo>
                      <a:pt x="67705" y="136038"/>
                      <a:pt x="3141" y="33321"/>
                      <a:pt x="205" y="24516"/>
                    </a:cubicBezTo>
                    <a:cubicBezTo>
                      <a:pt x="-2729" y="15712"/>
                      <a:pt x="26619" y="-4831"/>
                      <a:pt x="38357" y="1038"/>
                    </a:cubicBezTo>
                    <a:cubicBezTo>
                      <a:pt x="111726" y="39190"/>
                      <a:pt x="323031" y="68538"/>
                      <a:pt x="323031" y="68538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8D0C0A2D-5DE3-464D-BEBA-0E38CC008B87}"/>
                  </a:ext>
                </a:extLst>
              </p:cNvPr>
              <p:cNvSpPr/>
              <p:nvPr/>
            </p:nvSpPr>
            <p:spPr>
              <a:xfrm>
                <a:off x="21473860" y="5708791"/>
                <a:ext cx="358073" cy="157418"/>
              </a:xfrm>
              <a:custGeom>
                <a:avLst/>
                <a:gdLst>
                  <a:gd name="connsiteX0" fmla="*/ 267094 w 358073"/>
                  <a:gd name="connsiteY0" fmla="*/ 0 h 157418"/>
                  <a:gd name="connsiteX1" fmla="*/ 193725 w 358073"/>
                  <a:gd name="connsiteY1" fmla="*/ 49892 h 157418"/>
                  <a:gd name="connsiteX2" fmla="*/ 30 w 358073"/>
                  <a:gd name="connsiteY2" fmla="*/ 35218 h 157418"/>
                  <a:gd name="connsiteX3" fmla="*/ 237747 w 358073"/>
                  <a:gd name="connsiteY3" fmla="*/ 155544 h 157418"/>
                  <a:gd name="connsiteX4" fmla="*/ 358074 w 358073"/>
                  <a:gd name="connsiteY4" fmla="*/ 76305 h 157418"/>
                  <a:gd name="connsiteX5" fmla="*/ 267094 w 358073"/>
                  <a:gd name="connsiteY5" fmla="*/ 0 h 157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8073" h="157418">
                    <a:moveTo>
                      <a:pt x="267094" y="0"/>
                    </a:moveTo>
                    <a:lnTo>
                      <a:pt x="193725" y="49892"/>
                    </a:lnTo>
                    <a:cubicBezTo>
                      <a:pt x="193725" y="49892"/>
                      <a:pt x="30" y="8804"/>
                      <a:pt x="30" y="35218"/>
                    </a:cubicBezTo>
                    <a:cubicBezTo>
                      <a:pt x="-2906" y="61631"/>
                      <a:pt x="211335" y="173152"/>
                      <a:pt x="237747" y="155544"/>
                    </a:cubicBezTo>
                    <a:cubicBezTo>
                      <a:pt x="278834" y="132065"/>
                      <a:pt x="358074" y="76305"/>
                      <a:pt x="358074" y="76305"/>
                    </a:cubicBezTo>
                    <a:lnTo>
                      <a:pt x="267094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11E3900D-C84F-47F8-861F-76333BC70020}"/>
                </a:ext>
              </a:extLst>
            </p:cNvPr>
            <p:cNvSpPr/>
            <p:nvPr/>
          </p:nvSpPr>
          <p:spPr>
            <a:xfrm>
              <a:off x="23704886" y="3073356"/>
              <a:ext cx="609873" cy="981855"/>
            </a:xfrm>
            <a:custGeom>
              <a:avLst/>
              <a:gdLst>
                <a:gd name="connsiteX0" fmla="*/ 152048 w 609873"/>
                <a:gd name="connsiteY0" fmla="*/ 965544 h 981855"/>
                <a:gd name="connsiteX1" fmla="*/ 49331 w 609873"/>
                <a:gd name="connsiteY1" fmla="*/ 742500 h 981855"/>
                <a:gd name="connsiteX2" fmla="*/ 419113 w 609873"/>
                <a:gd name="connsiteY2" fmla="*/ 516522 h 981855"/>
                <a:gd name="connsiteX3" fmla="*/ 395635 w 609873"/>
                <a:gd name="connsiteY3" fmla="*/ 8804 h 981855"/>
                <a:gd name="connsiteX4" fmla="*/ 507156 w 609873"/>
                <a:gd name="connsiteY4" fmla="*/ 0 h 981855"/>
                <a:gd name="connsiteX5" fmla="*/ 609874 w 609873"/>
                <a:gd name="connsiteY5" fmla="*/ 589891 h 981855"/>
                <a:gd name="connsiteX6" fmla="*/ 152048 w 609873"/>
                <a:gd name="connsiteY6" fmla="*/ 965544 h 981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873" h="981855">
                  <a:moveTo>
                    <a:pt x="152048" y="965544"/>
                  </a:moveTo>
                  <a:cubicBezTo>
                    <a:pt x="-6431" y="1041848"/>
                    <a:pt x="-41649" y="830544"/>
                    <a:pt x="49331" y="742500"/>
                  </a:cubicBezTo>
                  <a:cubicBezTo>
                    <a:pt x="140308" y="657391"/>
                    <a:pt x="354547" y="563478"/>
                    <a:pt x="419113" y="516522"/>
                  </a:cubicBezTo>
                  <a:cubicBezTo>
                    <a:pt x="448460" y="428478"/>
                    <a:pt x="395635" y="8804"/>
                    <a:pt x="395635" y="8804"/>
                  </a:cubicBezTo>
                  <a:cubicBezTo>
                    <a:pt x="424983" y="2935"/>
                    <a:pt x="507156" y="0"/>
                    <a:pt x="507156" y="0"/>
                  </a:cubicBezTo>
                  <a:cubicBezTo>
                    <a:pt x="507156" y="0"/>
                    <a:pt x="609874" y="460761"/>
                    <a:pt x="609874" y="589891"/>
                  </a:cubicBezTo>
                  <a:cubicBezTo>
                    <a:pt x="609874" y="657391"/>
                    <a:pt x="319329" y="883370"/>
                    <a:pt x="152048" y="965544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" name="图形 1">
              <a:extLst>
                <a:ext uri="{FF2B5EF4-FFF2-40B4-BE49-F238E27FC236}">
                  <a16:creationId xmlns:a16="http://schemas.microsoft.com/office/drawing/2014/main" id="{98909C05-55D3-47D2-B72B-78EB25D8DC91}"/>
                </a:ext>
              </a:extLst>
            </p:cNvPr>
            <p:cNvGrpSpPr/>
            <p:nvPr/>
          </p:nvGrpSpPr>
          <p:grpSpPr>
            <a:xfrm>
              <a:off x="24082475" y="2887110"/>
              <a:ext cx="258698" cy="218528"/>
              <a:chOff x="24082475" y="2887110"/>
              <a:chExt cx="258698" cy="218528"/>
            </a:xfrm>
          </p:grpSpPr>
          <p:grpSp>
            <p:nvGrpSpPr>
              <p:cNvPr id="148" name="图形 1">
                <a:extLst>
                  <a:ext uri="{FF2B5EF4-FFF2-40B4-BE49-F238E27FC236}">
                    <a16:creationId xmlns:a16="http://schemas.microsoft.com/office/drawing/2014/main" id="{04EB8FEA-2289-4340-AC32-FE9D8F9462C8}"/>
                  </a:ext>
                </a:extLst>
              </p:cNvPr>
              <p:cNvGrpSpPr/>
              <p:nvPr/>
            </p:nvGrpSpPr>
            <p:grpSpPr>
              <a:xfrm>
                <a:off x="24082475" y="2887110"/>
                <a:ext cx="256863" cy="218528"/>
                <a:chOff x="24082475" y="2887110"/>
                <a:chExt cx="256863" cy="218528"/>
              </a:xfrm>
            </p:grpSpPr>
            <p:sp>
              <p:nvSpPr>
                <p:cNvPr id="151" name="任意多边形: 形状 150">
                  <a:extLst>
                    <a:ext uri="{FF2B5EF4-FFF2-40B4-BE49-F238E27FC236}">
                      <a16:creationId xmlns:a16="http://schemas.microsoft.com/office/drawing/2014/main" id="{0C8A1770-9CAD-41C0-9F8E-1F889CA61B50}"/>
                    </a:ext>
                  </a:extLst>
                </p:cNvPr>
                <p:cNvSpPr/>
                <p:nvPr/>
              </p:nvSpPr>
              <p:spPr>
                <a:xfrm>
                  <a:off x="24082475" y="2887110"/>
                  <a:ext cx="252828" cy="218528"/>
                </a:xfrm>
                <a:custGeom>
                  <a:avLst/>
                  <a:gdLst>
                    <a:gd name="connsiteX0" fmla="*/ 229350 w 252828"/>
                    <a:gd name="connsiteY0" fmla="*/ 89398 h 218528"/>
                    <a:gd name="connsiteX1" fmla="*/ 214676 w 252828"/>
                    <a:gd name="connsiteY1" fmla="*/ 83529 h 218528"/>
                    <a:gd name="connsiteX2" fmla="*/ 208807 w 252828"/>
                    <a:gd name="connsiteY2" fmla="*/ 86463 h 218528"/>
                    <a:gd name="connsiteX3" fmla="*/ 226414 w 252828"/>
                    <a:gd name="connsiteY3" fmla="*/ 71789 h 218528"/>
                    <a:gd name="connsiteX4" fmla="*/ 252828 w 252828"/>
                    <a:gd name="connsiteY4" fmla="*/ 42442 h 218528"/>
                    <a:gd name="connsiteX5" fmla="*/ 244024 w 252828"/>
                    <a:gd name="connsiteY5" fmla="*/ 39507 h 218528"/>
                    <a:gd name="connsiteX6" fmla="*/ 241088 w 252828"/>
                    <a:gd name="connsiteY6" fmla="*/ 39507 h 218528"/>
                    <a:gd name="connsiteX7" fmla="*/ 246958 w 252828"/>
                    <a:gd name="connsiteY7" fmla="*/ 18963 h 218528"/>
                    <a:gd name="connsiteX8" fmla="*/ 229350 w 252828"/>
                    <a:gd name="connsiteY8" fmla="*/ 13094 h 218528"/>
                    <a:gd name="connsiteX9" fmla="*/ 191197 w 252828"/>
                    <a:gd name="connsiteY9" fmla="*/ 36572 h 218528"/>
                    <a:gd name="connsiteX10" fmla="*/ 138371 w 252828"/>
                    <a:gd name="connsiteY10" fmla="*/ 71789 h 218528"/>
                    <a:gd name="connsiteX11" fmla="*/ 170655 w 252828"/>
                    <a:gd name="connsiteY11" fmla="*/ 36572 h 218528"/>
                    <a:gd name="connsiteX12" fmla="*/ 194133 w 252828"/>
                    <a:gd name="connsiteY12" fmla="*/ 7224 h 218528"/>
                    <a:gd name="connsiteX13" fmla="*/ 167719 w 252828"/>
                    <a:gd name="connsiteY13" fmla="*/ 7224 h 218528"/>
                    <a:gd name="connsiteX14" fmla="*/ 56197 w 252828"/>
                    <a:gd name="connsiteY14" fmla="*/ 112876 h 218528"/>
                    <a:gd name="connsiteX15" fmla="*/ 53263 w 252828"/>
                    <a:gd name="connsiteY15" fmla="*/ 54181 h 218528"/>
                    <a:gd name="connsiteX16" fmla="*/ 23916 w 252828"/>
                    <a:gd name="connsiteY16" fmla="*/ 48311 h 218528"/>
                    <a:gd name="connsiteX17" fmla="*/ 3372 w 252828"/>
                    <a:gd name="connsiteY17" fmla="*/ 183311 h 218528"/>
                    <a:gd name="connsiteX18" fmla="*/ 70871 w 252828"/>
                    <a:gd name="connsiteY18" fmla="*/ 218529 h 218528"/>
                    <a:gd name="connsiteX19" fmla="*/ 161849 w 252828"/>
                    <a:gd name="connsiteY19" fmla="*/ 153963 h 218528"/>
                    <a:gd name="connsiteX20" fmla="*/ 229350 w 252828"/>
                    <a:gd name="connsiteY20" fmla="*/ 89398 h 218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52828" h="218528">
                      <a:moveTo>
                        <a:pt x="229350" y="89398"/>
                      </a:moveTo>
                      <a:cubicBezTo>
                        <a:pt x="226414" y="83529"/>
                        <a:pt x="220545" y="83529"/>
                        <a:pt x="214676" y="83529"/>
                      </a:cubicBezTo>
                      <a:cubicBezTo>
                        <a:pt x="211741" y="83529"/>
                        <a:pt x="211741" y="83529"/>
                        <a:pt x="208807" y="86463"/>
                      </a:cubicBezTo>
                      <a:cubicBezTo>
                        <a:pt x="214676" y="83529"/>
                        <a:pt x="220545" y="77659"/>
                        <a:pt x="226414" y="71789"/>
                      </a:cubicBezTo>
                      <a:cubicBezTo>
                        <a:pt x="238154" y="62985"/>
                        <a:pt x="252828" y="54181"/>
                        <a:pt x="252828" y="42442"/>
                      </a:cubicBezTo>
                      <a:cubicBezTo>
                        <a:pt x="252828" y="42442"/>
                        <a:pt x="246958" y="39507"/>
                        <a:pt x="244024" y="39507"/>
                      </a:cubicBezTo>
                      <a:cubicBezTo>
                        <a:pt x="244024" y="39507"/>
                        <a:pt x="244024" y="39507"/>
                        <a:pt x="241088" y="39507"/>
                      </a:cubicBezTo>
                      <a:cubicBezTo>
                        <a:pt x="246958" y="33637"/>
                        <a:pt x="249892" y="24833"/>
                        <a:pt x="246958" y="18963"/>
                      </a:cubicBezTo>
                      <a:cubicBezTo>
                        <a:pt x="244024" y="13094"/>
                        <a:pt x="238154" y="10159"/>
                        <a:pt x="229350" y="13094"/>
                      </a:cubicBezTo>
                      <a:cubicBezTo>
                        <a:pt x="214676" y="18963"/>
                        <a:pt x="202937" y="30702"/>
                        <a:pt x="191197" y="36572"/>
                      </a:cubicBezTo>
                      <a:cubicBezTo>
                        <a:pt x="173589" y="48311"/>
                        <a:pt x="155981" y="60050"/>
                        <a:pt x="138371" y="71789"/>
                      </a:cubicBezTo>
                      <a:cubicBezTo>
                        <a:pt x="150111" y="60050"/>
                        <a:pt x="161849" y="48311"/>
                        <a:pt x="170655" y="36572"/>
                      </a:cubicBezTo>
                      <a:cubicBezTo>
                        <a:pt x="176523" y="27768"/>
                        <a:pt x="191197" y="18963"/>
                        <a:pt x="194133" y="7224"/>
                      </a:cubicBezTo>
                      <a:cubicBezTo>
                        <a:pt x="197067" y="-7450"/>
                        <a:pt x="176523" y="4289"/>
                        <a:pt x="167719" y="7224"/>
                      </a:cubicBezTo>
                      <a:cubicBezTo>
                        <a:pt x="120763" y="33637"/>
                        <a:pt x="94349" y="80594"/>
                        <a:pt x="56197" y="112876"/>
                      </a:cubicBezTo>
                      <a:cubicBezTo>
                        <a:pt x="59132" y="98202"/>
                        <a:pt x="56197" y="74724"/>
                        <a:pt x="53263" y="54181"/>
                      </a:cubicBezTo>
                      <a:cubicBezTo>
                        <a:pt x="50328" y="36572"/>
                        <a:pt x="23916" y="36572"/>
                        <a:pt x="23916" y="48311"/>
                      </a:cubicBezTo>
                      <a:cubicBezTo>
                        <a:pt x="26850" y="101137"/>
                        <a:pt x="-11302" y="153963"/>
                        <a:pt x="3372" y="183311"/>
                      </a:cubicBezTo>
                      <a:cubicBezTo>
                        <a:pt x="12176" y="203855"/>
                        <a:pt x="47393" y="218529"/>
                        <a:pt x="70871" y="218529"/>
                      </a:cubicBezTo>
                      <a:cubicBezTo>
                        <a:pt x="106089" y="215594"/>
                        <a:pt x="135437" y="177442"/>
                        <a:pt x="161849" y="153963"/>
                      </a:cubicBezTo>
                      <a:cubicBezTo>
                        <a:pt x="182393" y="145159"/>
                        <a:pt x="235218" y="104072"/>
                        <a:pt x="229350" y="89398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2" name="任意多边形: 形状 151">
                  <a:extLst>
                    <a:ext uri="{FF2B5EF4-FFF2-40B4-BE49-F238E27FC236}">
                      <a16:creationId xmlns:a16="http://schemas.microsoft.com/office/drawing/2014/main" id="{D96E906A-23C1-4DC9-A559-ED68C6D669EA}"/>
                    </a:ext>
                  </a:extLst>
                </p:cNvPr>
                <p:cNvSpPr/>
                <p:nvPr/>
              </p:nvSpPr>
              <p:spPr>
                <a:xfrm>
                  <a:off x="24142340" y="3010421"/>
                  <a:ext cx="19810" cy="51195"/>
                </a:xfrm>
                <a:custGeom>
                  <a:avLst/>
                  <a:gdLst>
                    <a:gd name="connsiteX0" fmla="*/ 5136 w 19810"/>
                    <a:gd name="connsiteY0" fmla="*/ 51196 h 51195"/>
                    <a:gd name="connsiteX1" fmla="*/ 2202 w 19810"/>
                    <a:gd name="connsiteY1" fmla="*/ 51196 h 51195"/>
                    <a:gd name="connsiteX2" fmla="*/ 2202 w 19810"/>
                    <a:gd name="connsiteY2" fmla="*/ 42391 h 51195"/>
                    <a:gd name="connsiteX3" fmla="*/ 5136 w 19810"/>
                    <a:gd name="connsiteY3" fmla="*/ 10109 h 51195"/>
                    <a:gd name="connsiteX4" fmla="*/ 5136 w 19810"/>
                    <a:gd name="connsiteY4" fmla="*/ 1304 h 51195"/>
                    <a:gd name="connsiteX5" fmla="*/ 13940 w 19810"/>
                    <a:gd name="connsiteY5" fmla="*/ 1304 h 51195"/>
                    <a:gd name="connsiteX6" fmla="*/ 8072 w 19810"/>
                    <a:gd name="connsiteY6" fmla="*/ 48261 h 51195"/>
                    <a:gd name="connsiteX7" fmla="*/ 5136 w 19810"/>
                    <a:gd name="connsiteY7" fmla="*/ 51196 h 5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9810" h="51195">
                      <a:moveTo>
                        <a:pt x="5136" y="51196"/>
                      </a:moveTo>
                      <a:cubicBezTo>
                        <a:pt x="5136" y="51196"/>
                        <a:pt x="2202" y="51196"/>
                        <a:pt x="2202" y="51196"/>
                      </a:cubicBezTo>
                      <a:cubicBezTo>
                        <a:pt x="-734" y="48261"/>
                        <a:pt x="-734" y="45326"/>
                        <a:pt x="2202" y="42391"/>
                      </a:cubicBezTo>
                      <a:cubicBezTo>
                        <a:pt x="16876" y="24783"/>
                        <a:pt x="8072" y="10109"/>
                        <a:pt x="5136" y="10109"/>
                      </a:cubicBezTo>
                      <a:cubicBezTo>
                        <a:pt x="2202" y="7174"/>
                        <a:pt x="5136" y="4239"/>
                        <a:pt x="5136" y="1304"/>
                      </a:cubicBezTo>
                      <a:cubicBezTo>
                        <a:pt x="8072" y="-1630"/>
                        <a:pt x="11006" y="1304"/>
                        <a:pt x="13940" y="1304"/>
                      </a:cubicBezTo>
                      <a:cubicBezTo>
                        <a:pt x="19810" y="10109"/>
                        <a:pt x="25680" y="27717"/>
                        <a:pt x="8072" y="48261"/>
                      </a:cubicBezTo>
                      <a:cubicBezTo>
                        <a:pt x="8072" y="51196"/>
                        <a:pt x="8072" y="51196"/>
                        <a:pt x="5136" y="51196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3" name="任意多边形: 形状 152">
                  <a:extLst>
                    <a:ext uri="{FF2B5EF4-FFF2-40B4-BE49-F238E27FC236}">
                      <a16:creationId xmlns:a16="http://schemas.microsoft.com/office/drawing/2014/main" id="{B26C048F-438E-47F7-88C5-7B926D4D2AAC}"/>
                    </a:ext>
                  </a:extLst>
                </p:cNvPr>
                <p:cNvSpPr/>
                <p:nvPr/>
              </p:nvSpPr>
              <p:spPr>
                <a:xfrm>
                  <a:off x="24215710" y="2889198"/>
                  <a:ext cx="123628" cy="78505"/>
                </a:xfrm>
                <a:custGeom>
                  <a:avLst/>
                  <a:gdLst>
                    <a:gd name="connsiteX0" fmla="*/ 5136 w 123628"/>
                    <a:gd name="connsiteY0" fmla="*/ 78505 h 78505"/>
                    <a:gd name="connsiteX1" fmla="*/ 2202 w 123628"/>
                    <a:gd name="connsiteY1" fmla="*/ 75571 h 78505"/>
                    <a:gd name="connsiteX2" fmla="*/ 2202 w 123628"/>
                    <a:gd name="connsiteY2" fmla="*/ 66766 h 78505"/>
                    <a:gd name="connsiteX3" fmla="*/ 57962 w 123628"/>
                    <a:gd name="connsiteY3" fmla="*/ 2201 h 78505"/>
                    <a:gd name="connsiteX4" fmla="*/ 66767 w 123628"/>
                    <a:gd name="connsiteY4" fmla="*/ 2201 h 78505"/>
                    <a:gd name="connsiteX5" fmla="*/ 66767 w 123628"/>
                    <a:gd name="connsiteY5" fmla="*/ 11005 h 78505"/>
                    <a:gd name="connsiteX6" fmla="*/ 46224 w 123628"/>
                    <a:gd name="connsiteY6" fmla="*/ 37418 h 78505"/>
                    <a:gd name="connsiteX7" fmla="*/ 107853 w 123628"/>
                    <a:gd name="connsiteY7" fmla="*/ 5136 h 78505"/>
                    <a:gd name="connsiteX8" fmla="*/ 122527 w 123628"/>
                    <a:gd name="connsiteY8" fmla="*/ 16875 h 78505"/>
                    <a:gd name="connsiteX9" fmla="*/ 113723 w 123628"/>
                    <a:gd name="connsiteY9" fmla="*/ 40353 h 78505"/>
                    <a:gd name="connsiteX10" fmla="*/ 104919 w 123628"/>
                    <a:gd name="connsiteY10" fmla="*/ 40353 h 78505"/>
                    <a:gd name="connsiteX11" fmla="*/ 104919 w 123628"/>
                    <a:gd name="connsiteY11" fmla="*/ 31549 h 78505"/>
                    <a:gd name="connsiteX12" fmla="*/ 110789 w 123628"/>
                    <a:gd name="connsiteY12" fmla="*/ 19810 h 78505"/>
                    <a:gd name="connsiteX13" fmla="*/ 104919 w 123628"/>
                    <a:gd name="connsiteY13" fmla="*/ 16875 h 78505"/>
                    <a:gd name="connsiteX14" fmla="*/ 8072 w 123628"/>
                    <a:gd name="connsiteY14" fmla="*/ 78505 h 78505"/>
                    <a:gd name="connsiteX15" fmla="*/ 5136 w 123628"/>
                    <a:gd name="connsiteY15" fmla="*/ 78505 h 78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23628" h="78505">
                      <a:moveTo>
                        <a:pt x="5136" y="78505"/>
                      </a:moveTo>
                      <a:cubicBezTo>
                        <a:pt x="2202" y="78505"/>
                        <a:pt x="2202" y="78505"/>
                        <a:pt x="2202" y="75571"/>
                      </a:cubicBezTo>
                      <a:cubicBezTo>
                        <a:pt x="-734" y="72636"/>
                        <a:pt x="-734" y="69701"/>
                        <a:pt x="2202" y="66766"/>
                      </a:cubicBezTo>
                      <a:cubicBezTo>
                        <a:pt x="25680" y="46223"/>
                        <a:pt x="57962" y="2201"/>
                        <a:pt x="57962" y="2201"/>
                      </a:cubicBezTo>
                      <a:cubicBezTo>
                        <a:pt x="60898" y="-734"/>
                        <a:pt x="63832" y="-734"/>
                        <a:pt x="66767" y="2201"/>
                      </a:cubicBezTo>
                      <a:cubicBezTo>
                        <a:pt x="69702" y="5136"/>
                        <a:pt x="69702" y="8071"/>
                        <a:pt x="66767" y="11005"/>
                      </a:cubicBezTo>
                      <a:cubicBezTo>
                        <a:pt x="66767" y="11005"/>
                        <a:pt x="57962" y="22745"/>
                        <a:pt x="46224" y="37418"/>
                      </a:cubicBezTo>
                      <a:cubicBezTo>
                        <a:pt x="72636" y="19810"/>
                        <a:pt x="99049" y="2201"/>
                        <a:pt x="107853" y="5136"/>
                      </a:cubicBezTo>
                      <a:cubicBezTo>
                        <a:pt x="119593" y="8071"/>
                        <a:pt x="122527" y="13940"/>
                        <a:pt x="122527" y="16875"/>
                      </a:cubicBezTo>
                      <a:cubicBezTo>
                        <a:pt x="125463" y="25679"/>
                        <a:pt x="122527" y="34484"/>
                        <a:pt x="113723" y="40353"/>
                      </a:cubicBezTo>
                      <a:cubicBezTo>
                        <a:pt x="110789" y="43288"/>
                        <a:pt x="107853" y="43288"/>
                        <a:pt x="104919" y="40353"/>
                      </a:cubicBezTo>
                      <a:cubicBezTo>
                        <a:pt x="101983" y="37418"/>
                        <a:pt x="101983" y="34484"/>
                        <a:pt x="104919" y="31549"/>
                      </a:cubicBezTo>
                      <a:cubicBezTo>
                        <a:pt x="110789" y="25679"/>
                        <a:pt x="110789" y="22745"/>
                        <a:pt x="110789" y="19810"/>
                      </a:cubicBezTo>
                      <a:cubicBezTo>
                        <a:pt x="110789" y="16875"/>
                        <a:pt x="107853" y="16875"/>
                        <a:pt x="104919" y="16875"/>
                      </a:cubicBezTo>
                      <a:cubicBezTo>
                        <a:pt x="96115" y="16875"/>
                        <a:pt x="49158" y="49158"/>
                        <a:pt x="8072" y="78505"/>
                      </a:cubicBezTo>
                      <a:cubicBezTo>
                        <a:pt x="8072" y="75571"/>
                        <a:pt x="8072" y="78505"/>
                        <a:pt x="5136" y="78505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5B2426B5-B653-4BB1-B8BE-20DEF694147A}"/>
                  </a:ext>
                </a:extLst>
              </p:cNvPr>
              <p:cNvSpPr/>
              <p:nvPr/>
            </p:nvSpPr>
            <p:spPr>
              <a:xfrm>
                <a:off x="24219631" y="2963618"/>
                <a:ext cx="95695" cy="80390"/>
              </a:xfrm>
              <a:custGeom>
                <a:avLst/>
                <a:gdLst>
                  <a:gd name="connsiteX0" fmla="*/ 36433 w 95695"/>
                  <a:gd name="connsiteY0" fmla="*/ 80390 h 80390"/>
                  <a:gd name="connsiteX1" fmla="*/ 30563 w 95695"/>
                  <a:gd name="connsiteY1" fmla="*/ 77456 h 80390"/>
                  <a:gd name="connsiteX2" fmla="*/ 30563 w 95695"/>
                  <a:gd name="connsiteY2" fmla="*/ 68651 h 80390"/>
                  <a:gd name="connsiteX3" fmla="*/ 83389 w 95695"/>
                  <a:gd name="connsiteY3" fmla="*/ 12890 h 80390"/>
                  <a:gd name="connsiteX4" fmla="*/ 80455 w 95695"/>
                  <a:gd name="connsiteY4" fmla="*/ 9956 h 80390"/>
                  <a:gd name="connsiteX5" fmla="*/ 65781 w 95695"/>
                  <a:gd name="connsiteY5" fmla="*/ 15825 h 80390"/>
                  <a:gd name="connsiteX6" fmla="*/ 42303 w 95695"/>
                  <a:gd name="connsiteY6" fmla="*/ 36369 h 80390"/>
                  <a:gd name="connsiteX7" fmla="*/ 10019 w 95695"/>
                  <a:gd name="connsiteY7" fmla="*/ 62782 h 80390"/>
                  <a:gd name="connsiteX8" fmla="*/ 1215 w 95695"/>
                  <a:gd name="connsiteY8" fmla="*/ 59847 h 80390"/>
                  <a:gd name="connsiteX9" fmla="*/ 4151 w 95695"/>
                  <a:gd name="connsiteY9" fmla="*/ 51043 h 80390"/>
                  <a:gd name="connsiteX10" fmla="*/ 36433 w 95695"/>
                  <a:gd name="connsiteY10" fmla="*/ 27564 h 80390"/>
                  <a:gd name="connsiteX11" fmla="*/ 62847 w 95695"/>
                  <a:gd name="connsiteY11" fmla="*/ 7021 h 80390"/>
                  <a:gd name="connsiteX12" fmla="*/ 86325 w 95695"/>
                  <a:gd name="connsiteY12" fmla="*/ 1151 h 80390"/>
                  <a:gd name="connsiteX13" fmla="*/ 95129 w 95695"/>
                  <a:gd name="connsiteY13" fmla="*/ 9956 h 80390"/>
                  <a:gd name="connsiteX14" fmla="*/ 36433 w 95695"/>
                  <a:gd name="connsiteY14" fmla="*/ 77456 h 80390"/>
                  <a:gd name="connsiteX15" fmla="*/ 36433 w 95695"/>
                  <a:gd name="connsiteY15" fmla="*/ 80390 h 80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5695" h="80390">
                    <a:moveTo>
                      <a:pt x="36433" y="80390"/>
                    </a:moveTo>
                    <a:cubicBezTo>
                      <a:pt x="33499" y="80390"/>
                      <a:pt x="33499" y="80390"/>
                      <a:pt x="30563" y="77456"/>
                    </a:cubicBezTo>
                    <a:cubicBezTo>
                      <a:pt x="27629" y="74521"/>
                      <a:pt x="27629" y="71586"/>
                      <a:pt x="30563" y="68651"/>
                    </a:cubicBezTo>
                    <a:cubicBezTo>
                      <a:pt x="59911" y="45173"/>
                      <a:pt x="83389" y="18760"/>
                      <a:pt x="83389" y="12890"/>
                    </a:cubicBezTo>
                    <a:cubicBezTo>
                      <a:pt x="83389" y="9956"/>
                      <a:pt x="80455" y="9956"/>
                      <a:pt x="80455" y="9956"/>
                    </a:cubicBezTo>
                    <a:cubicBezTo>
                      <a:pt x="77521" y="9956"/>
                      <a:pt x="74585" y="9956"/>
                      <a:pt x="65781" y="15825"/>
                    </a:cubicBezTo>
                    <a:cubicBezTo>
                      <a:pt x="59911" y="18760"/>
                      <a:pt x="51107" y="27564"/>
                      <a:pt x="42303" y="36369"/>
                    </a:cubicBezTo>
                    <a:cubicBezTo>
                      <a:pt x="27629" y="48108"/>
                      <a:pt x="15889" y="59847"/>
                      <a:pt x="10019" y="62782"/>
                    </a:cubicBezTo>
                    <a:cubicBezTo>
                      <a:pt x="7085" y="62782"/>
                      <a:pt x="4151" y="62782"/>
                      <a:pt x="1215" y="59847"/>
                    </a:cubicBezTo>
                    <a:cubicBezTo>
                      <a:pt x="-1719" y="56912"/>
                      <a:pt x="1215" y="53977"/>
                      <a:pt x="4151" y="51043"/>
                    </a:cubicBezTo>
                    <a:cubicBezTo>
                      <a:pt x="10019" y="48108"/>
                      <a:pt x="24693" y="36369"/>
                      <a:pt x="36433" y="27564"/>
                    </a:cubicBezTo>
                    <a:cubicBezTo>
                      <a:pt x="48173" y="18760"/>
                      <a:pt x="56977" y="9956"/>
                      <a:pt x="62847" y="7021"/>
                    </a:cubicBezTo>
                    <a:cubicBezTo>
                      <a:pt x="71651" y="1151"/>
                      <a:pt x="80455" y="-1783"/>
                      <a:pt x="86325" y="1151"/>
                    </a:cubicBezTo>
                    <a:cubicBezTo>
                      <a:pt x="89259" y="1151"/>
                      <a:pt x="92195" y="4086"/>
                      <a:pt x="95129" y="9956"/>
                    </a:cubicBezTo>
                    <a:cubicBezTo>
                      <a:pt x="100999" y="24630"/>
                      <a:pt x="59911" y="59847"/>
                      <a:pt x="36433" y="77456"/>
                    </a:cubicBezTo>
                    <a:cubicBezTo>
                      <a:pt x="39367" y="80390"/>
                      <a:pt x="39367" y="80390"/>
                      <a:pt x="36433" y="80390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620790EC-0FD7-4ED3-A0A8-04F80D76F7CE}"/>
                  </a:ext>
                </a:extLst>
              </p:cNvPr>
              <p:cNvSpPr/>
              <p:nvPr/>
            </p:nvSpPr>
            <p:spPr>
              <a:xfrm>
                <a:off x="24216696" y="2920293"/>
                <a:ext cx="124477" cy="79693"/>
              </a:xfrm>
              <a:custGeom>
                <a:avLst/>
                <a:gdLst>
                  <a:gd name="connsiteX0" fmla="*/ 7086 w 124477"/>
                  <a:gd name="connsiteY0" fmla="*/ 79693 h 79693"/>
                  <a:gd name="connsiteX1" fmla="*/ 1216 w 124477"/>
                  <a:gd name="connsiteY1" fmla="*/ 76758 h 79693"/>
                  <a:gd name="connsiteX2" fmla="*/ 4150 w 124477"/>
                  <a:gd name="connsiteY2" fmla="*/ 67954 h 79693"/>
                  <a:gd name="connsiteX3" fmla="*/ 42302 w 124477"/>
                  <a:gd name="connsiteY3" fmla="*/ 41541 h 79693"/>
                  <a:gd name="connsiteX4" fmla="*/ 48172 w 124477"/>
                  <a:gd name="connsiteY4" fmla="*/ 35671 h 79693"/>
                  <a:gd name="connsiteX5" fmla="*/ 92194 w 124477"/>
                  <a:gd name="connsiteY5" fmla="*/ 3389 h 79693"/>
                  <a:gd name="connsiteX6" fmla="*/ 118607 w 124477"/>
                  <a:gd name="connsiteY6" fmla="*/ 3389 h 79693"/>
                  <a:gd name="connsiteX7" fmla="*/ 124477 w 124477"/>
                  <a:gd name="connsiteY7" fmla="*/ 15128 h 79693"/>
                  <a:gd name="connsiteX8" fmla="*/ 86324 w 124477"/>
                  <a:gd name="connsiteY8" fmla="*/ 56215 h 79693"/>
                  <a:gd name="connsiteX9" fmla="*/ 77520 w 124477"/>
                  <a:gd name="connsiteY9" fmla="*/ 56215 h 79693"/>
                  <a:gd name="connsiteX10" fmla="*/ 77520 w 124477"/>
                  <a:gd name="connsiteY10" fmla="*/ 47411 h 79693"/>
                  <a:gd name="connsiteX11" fmla="*/ 112738 w 124477"/>
                  <a:gd name="connsiteY11" fmla="*/ 15128 h 79693"/>
                  <a:gd name="connsiteX12" fmla="*/ 95130 w 124477"/>
                  <a:gd name="connsiteY12" fmla="*/ 15128 h 79693"/>
                  <a:gd name="connsiteX13" fmla="*/ 54042 w 124477"/>
                  <a:gd name="connsiteY13" fmla="*/ 47411 h 79693"/>
                  <a:gd name="connsiteX14" fmla="*/ 48172 w 124477"/>
                  <a:gd name="connsiteY14" fmla="*/ 53280 h 79693"/>
                  <a:gd name="connsiteX15" fmla="*/ 7086 w 124477"/>
                  <a:gd name="connsiteY15" fmla="*/ 79693 h 79693"/>
                  <a:gd name="connsiteX16" fmla="*/ 7086 w 124477"/>
                  <a:gd name="connsiteY16" fmla="*/ 79693 h 79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4477" h="79693">
                    <a:moveTo>
                      <a:pt x="7086" y="79693"/>
                    </a:moveTo>
                    <a:cubicBezTo>
                      <a:pt x="4150" y="79693"/>
                      <a:pt x="4150" y="79693"/>
                      <a:pt x="1216" y="76758"/>
                    </a:cubicBezTo>
                    <a:cubicBezTo>
                      <a:pt x="-1720" y="73824"/>
                      <a:pt x="1216" y="70889"/>
                      <a:pt x="4150" y="67954"/>
                    </a:cubicBezTo>
                    <a:cubicBezTo>
                      <a:pt x="12954" y="62084"/>
                      <a:pt x="39368" y="44476"/>
                      <a:pt x="42302" y="41541"/>
                    </a:cubicBezTo>
                    <a:cubicBezTo>
                      <a:pt x="42302" y="41541"/>
                      <a:pt x="45238" y="38606"/>
                      <a:pt x="48172" y="35671"/>
                    </a:cubicBezTo>
                    <a:cubicBezTo>
                      <a:pt x="65782" y="20997"/>
                      <a:pt x="83390" y="6324"/>
                      <a:pt x="92194" y="3389"/>
                    </a:cubicBezTo>
                    <a:cubicBezTo>
                      <a:pt x="100998" y="454"/>
                      <a:pt x="112738" y="-2481"/>
                      <a:pt x="118607" y="3389"/>
                    </a:cubicBezTo>
                    <a:cubicBezTo>
                      <a:pt x="121541" y="6324"/>
                      <a:pt x="124477" y="9258"/>
                      <a:pt x="124477" y="15128"/>
                    </a:cubicBezTo>
                    <a:cubicBezTo>
                      <a:pt x="124477" y="26867"/>
                      <a:pt x="100998" y="44476"/>
                      <a:pt x="86324" y="56215"/>
                    </a:cubicBezTo>
                    <a:cubicBezTo>
                      <a:pt x="83390" y="59150"/>
                      <a:pt x="80456" y="56215"/>
                      <a:pt x="77520" y="56215"/>
                    </a:cubicBezTo>
                    <a:cubicBezTo>
                      <a:pt x="74586" y="53280"/>
                      <a:pt x="77520" y="50345"/>
                      <a:pt x="77520" y="47411"/>
                    </a:cubicBezTo>
                    <a:cubicBezTo>
                      <a:pt x="95130" y="32737"/>
                      <a:pt x="109803" y="18063"/>
                      <a:pt x="112738" y="15128"/>
                    </a:cubicBezTo>
                    <a:cubicBezTo>
                      <a:pt x="109803" y="12193"/>
                      <a:pt x="100998" y="12193"/>
                      <a:pt x="95130" y="15128"/>
                    </a:cubicBezTo>
                    <a:cubicBezTo>
                      <a:pt x="89260" y="18063"/>
                      <a:pt x="65782" y="38606"/>
                      <a:pt x="54042" y="47411"/>
                    </a:cubicBezTo>
                    <a:cubicBezTo>
                      <a:pt x="51108" y="50345"/>
                      <a:pt x="48172" y="53280"/>
                      <a:pt x="48172" y="53280"/>
                    </a:cubicBezTo>
                    <a:cubicBezTo>
                      <a:pt x="42302" y="59150"/>
                      <a:pt x="10020" y="79693"/>
                      <a:pt x="7086" y="79693"/>
                    </a:cubicBezTo>
                    <a:cubicBezTo>
                      <a:pt x="10020" y="79693"/>
                      <a:pt x="10020" y="79693"/>
                      <a:pt x="7086" y="79693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图形 1">
              <a:extLst>
                <a:ext uri="{FF2B5EF4-FFF2-40B4-BE49-F238E27FC236}">
                  <a16:creationId xmlns:a16="http://schemas.microsoft.com/office/drawing/2014/main" id="{55C01550-375F-4E2D-90F9-46A13DC8D0F2}"/>
                </a:ext>
              </a:extLst>
            </p:cNvPr>
            <p:cNvGrpSpPr/>
            <p:nvPr/>
          </p:nvGrpSpPr>
          <p:grpSpPr>
            <a:xfrm>
              <a:off x="17896757" y="3912704"/>
              <a:ext cx="2798816" cy="2564185"/>
              <a:chOff x="17896757" y="3912704"/>
              <a:chExt cx="2798816" cy="2564185"/>
            </a:xfrm>
          </p:grpSpPr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AD8B7328-A158-4F56-9129-A8B96A08AE1A}"/>
                  </a:ext>
                </a:extLst>
              </p:cNvPr>
              <p:cNvSpPr/>
              <p:nvPr/>
            </p:nvSpPr>
            <p:spPr>
              <a:xfrm>
                <a:off x="17896757" y="3912704"/>
                <a:ext cx="2798816" cy="2564185"/>
              </a:xfrm>
              <a:custGeom>
                <a:avLst/>
                <a:gdLst>
                  <a:gd name="connsiteX0" fmla="*/ 78871 w 2798816"/>
                  <a:gd name="connsiteY0" fmla="*/ 1919348 h 2564185"/>
                  <a:gd name="connsiteX1" fmla="*/ 2547023 w 2798816"/>
                  <a:gd name="connsiteY1" fmla="*/ 2248044 h 2564185"/>
                  <a:gd name="connsiteX2" fmla="*/ 2514741 w 2798816"/>
                  <a:gd name="connsiteY2" fmla="*/ 1168044 h 2564185"/>
                  <a:gd name="connsiteX3" fmla="*/ 2514741 w 2798816"/>
                  <a:gd name="connsiteY3" fmla="*/ 1168044 h 2564185"/>
                  <a:gd name="connsiteX4" fmla="*/ 2136153 w 2798816"/>
                  <a:gd name="connsiteY4" fmla="*/ 927392 h 2564185"/>
                  <a:gd name="connsiteX5" fmla="*/ 1472893 w 2798816"/>
                  <a:gd name="connsiteY5" fmla="*/ 93913 h 2564185"/>
                  <a:gd name="connsiteX6" fmla="*/ 1252785 w 2798816"/>
                  <a:gd name="connsiteY6" fmla="*/ 0 h 2564185"/>
                  <a:gd name="connsiteX7" fmla="*/ 78871 w 2798816"/>
                  <a:gd name="connsiteY7" fmla="*/ 1919348 h 2564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8816" h="2564185">
                    <a:moveTo>
                      <a:pt x="78871" y="1919348"/>
                    </a:moveTo>
                    <a:cubicBezTo>
                      <a:pt x="398764" y="2840870"/>
                      <a:pt x="2127350" y="2606087"/>
                      <a:pt x="2547023" y="2248044"/>
                    </a:cubicBezTo>
                    <a:cubicBezTo>
                      <a:pt x="2755394" y="2069022"/>
                      <a:pt x="3004850" y="1593587"/>
                      <a:pt x="2514741" y="1168044"/>
                    </a:cubicBezTo>
                    <a:cubicBezTo>
                      <a:pt x="2514741" y="1168044"/>
                      <a:pt x="2514741" y="1168044"/>
                      <a:pt x="2514741" y="1168044"/>
                    </a:cubicBezTo>
                    <a:cubicBezTo>
                      <a:pt x="2417894" y="1085870"/>
                      <a:pt x="2294632" y="1003696"/>
                      <a:pt x="2136153" y="927392"/>
                    </a:cubicBezTo>
                    <a:cubicBezTo>
                      <a:pt x="1877893" y="804131"/>
                      <a:pt x="1716480" y="305217"/>
                      <a:pt x="1472893" y="93913"/>
                    </a:cubicBezTo>
                    <a:cubicBezTo>
                      <a:pt x="1405394" y="35218"/>
                      <a:pt x="1334958" y="0"/>
                      <a:pt x="1252785" y="0"/>
                    </a:cubicBezTo>
                    <a:cubicBezTo>
                      <a:pt x="871263" y="2935"/>
                      <a:pt x="-314390" y="789457"/>
                      <a:pt x="78871" y="1919348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D4E7B987-7BC1-4785-B7C1-B4AE0114FDB0}"/>
                  </a:ext>
                </a:extLst>
              </p:cNvPr>
              <p:cNvSpPr/>
              <p:nvPr/>
            </p:nvSpPr>
            <p:spPr>
              <a:xfrm>
                <a:off x="18959514" y="4778465"/>
                <a:ext cx="994158" cy="422608"/>
              </a:xfrm>
              <a:custGeom>
                <a:avLst/>
                <a:gdLst>
                  <a:gd name="connsiteX0" fmla="*/ 5136 w 994158"/>
                  <a:gd name="connsiteY0" fmla="*/ 422609 h 422608"/>
                  <a:gd name="connsiteX1" fmla="*/ 2201 w 994158"/>
                  <a:gd name="connsiteY1" fmla="*/ 422609 h 422608"/>
                  <a:gd name="connsiteX2" fmla="*/ 2201 w 994158"/>
                  <a:gd name="connsiteY2" fmla="*/ 413805 h 422608"/>
                  <a:gd name="connsiteX3" fmla="*/ 988289 w 994158"/>
                  <a:gd name="connsiteY3" fmla="*/ 0 h 422608"/>
                  <a:gd name="connsiteX4" fmla="*/ 988289 w 994158"/>
                  <a:gd name="connsiteY4" fmla="*/ 0 h 422608"/>
                  <a:gd name="connsiteX5" fmla="*/ 994159 w 994158"/>
                  <a:gd name="connsiteY5" fmla="*/ 5870 h 422608"/>
                  <a:gd name="connsiteX6" fmla="*/ 988289 w 994158"/>
                  <a:gd name="connsiteY6" fmla="*/ 11739 h 422608"/>
                  <a:gd name="connsiteX7" fmla="*/ 11006 w 994158"/>
                  <a:gd name="connsiteY7" fmla="*/ 419674 h 422608"/>
                  <a:gd name="connsiteX8" fmla="*/ 5136 w 994158"/>
                  <a:gd name="connsiteY8" fmla="*/ 422609 h 422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94158" h="422608">
                    <a:moveTo>
                      <a:pt x="5136" y="422609"/>
                    </a:moveTo>
                    <a:cubicBezTo>
                      <a:pt x="5136" y="422609"/>
                      <a:pt x="2201" y="422609"/>
                      <a:pt x="2201" y="422609"/>
                    </a:cubicBezTo>
                    <a:cubicBezTo>
                      <a:pt x="-734" y="419674"/>
                      <a:pt x="-734" y="416739"/>
                      <a:pt x="2201" y="413805"/>
                    </a:cubicBezTo>
                    <a:cubicBezTo>
                      <a:pt x="322093" y="8804"/>
                      <a:pt x="982419" y="0"/>
                      <a:pt x="988289" y="0"/>
                    </a:cubicBezTo>
                    <a:lnTo>
                      <a:pt x="988289" y="0"/>
                    </a:lnTo>
                    <a:cubicBezTo>
                      <a:pt x="991223" y="0"/>
                      <a:pt x="994159" y="2935"/>
                      <a:pt x="994159" y="5870"/>
                    </a:cubicBezTo>
                    <a:cubicBezTo>
                      <a:pt x="994159" y="8804"/>
                      <a:pt x="991223" y="11739"/>
                      <a:pt x="988289" y="11739"/>
                    </a:cubicBezTo>
                    <a:cubicBezTo>
                      <a:pt x="982419" y="11739"/>
                      <a:pt x="327963" y="20544"/>
                      <a:pt x="11006" y="419674"/>
                    </a:cubicBezTo>
                    <a:cubicBezTo>
                      <a:pt x="8070" y="422609"/>
                      <a:pt x="5136" y="422609"/>
                      <a:pt x="5136" y="42260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D7A4001F-6E8A-491E-899E-01EED7EAB33A}"/>
                  </a:ext>
                </a:extLst>
              </p:cNvPr>
              <p:cNvSpPr/>
              <p:nvPr/>
            </p:nvSpPr>
            <p:spPr>
              <a:xfrm>
                <a:off x="19028611" y="5251698"/>
                <a:ext cx="222914" cy="545135"/>
              </a:xfrm>
              <a:custGeom>
                <a:avLst/>
                <a:gdLst>
                  <a:gd name="connsiteX0" fmla="*/ 15279 w 222914"/>
                  <a:gd name="connsiteY0" fmla="*/ 545136 h 545135"/>
                  <a:gd name="connsiteX1" fmla="*/ 9409 w 222914"/>
                  <a:gd name="connsiteY1" fmla="*/ 539266 h 545135"/>
                  <a:gd name="connsiteX2" fmla="*/ 211908 w 222914"/>
                  <a:gd name="connsiteY2" fmla="*/ 2201 h 545135"/>
                  <a:gd name="connsiteX3" fmla="*/ 220714 w 222914"/>
                  <a:gd name="connsiteY3" fmla="*/ 2201 h 545135"/>
                  <a:gd name="connsiteX4" fmla="*/ 220714 w 222914"/>
                  <a:gd name="connsiteY4" fmla="*/ 11005 h 545135"/>
                  <a:gd name="connsiteX5" fmla="*/ 21147 w 222914"/>
                  <a:gd name="connsiteY5" fmla="*/ 536332 h 545135"/>
                  <a:gd name="connsiteX6" fmla="*/ 15279 w 222914"/>
                  <a:gd name="connsiteY6" fmla="*/ 545136 h 545135"/>
                  <a:gd name="connsiteX7" fmla="*/ 15279 w 222914"/>
                  <a:gd name="connsiteY7" fmla="*/ 545136 h 545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2914" h="545135">
                    <a:moveTo>
                      <a:pt x="15279" y="545136"/>
                    </a:moveTo>
                    <a:cubicBezTo>
                      <a:pt x="12343" y="545136"/>
                      <a:pt x="9409" y="542201"/>
                      <a:pt x="9409" y="539266"/>
                    </a:cubicBezTo>
                    <a:cubicBezTo>
                      <a:pt x="-52222" y="236983"/>
                      <a:pt x="208974" y="5136"/>
                      <a:pt x="211908" y="2201"/>
                    </a:cubicBezTo>
                    <a:cubicBezTo>
                      <a:pt x="214844" y="-734"/>
                      <a:pt x="217778" y="-734"/>
                      <a:pt x="220714" y="2201"/>
                    </a:cubicBezTo>
                    <a:cubicBezTo>
                      <a:pt x="223648" y="5136"/>
                      <a:pt x="223648" y="8071"/>
                      <a:pt x="220714" y="11005"/>
                    </a:cubicBezTo>
                    <a:cubicBezTo>
                      <a:pt x="217778" y="13940"/>
                      <a:pt x="-37548" y="239918"/>
                      <a:pt x="21147" y="536332"/>
                    </a:cubicBezTo>
                    <a:cubicBezTo>
                      <a:pt x="21147" y="542201"/>
                      <a:pt x="21147" y="545136"/>
                      <a:pt x="15279" y="545136"/>
                    </a:cubicBezTo>
                    <a:cubicBezTo>
                      <a:pt x="18213" y="545136"/>
                      <a:pt x="15279" y="545136"/>
                      <a:pt x="15279" y="54513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24D32686-C326-483B-A32D-8A8DC7623301}"/>
                  </a:ext>
                </a:extLst>
              </p:cNvPr>
              <p:cNvSpPr/>
              <p:nvPr/>
            </p:nvSpPr>
            <p:spPr>
              <a:xfrm>
                <a:off x="19360648" y="5300856"/>
                <a:ext cx="99246" cy="407934"/>
              </a:xfrm>
              <a:custGeom>
                <a:avLst/>
                <a:gdLst>
                  <a:gd name="connsiteX0" fmla="*/ 94111 w 99246"/>
                  <a:gd name="connsiteY0" fmla="*/ 407935 h 407934"/>
                  <a:gd name="connsiteX1" fmla="*/ 91176 w 99246"/>
                  <a:gd name="connsiteY1" fmla="*/ 407935 h 407934"/>
                  <a:gd name="connsiteX2" fmla="*/ 198 w 99246"/>
                  <a:gd name="connsiteY2" fmla="*/ 5869 h 407934"/>
                  <a:gd name="connsiteX3" fmla="*/ 6068 w 99246"/>
                  <a:gd name="connsiteY3" fmla="*/ 0 h 407934"/>
                  <a:gd name="connsiteX4" fmla="*/ 6068 w 99246"/>
                  <a:gd name="connsiteY4" fmla="*/ 0 h 407934"/>
                  <a:gd name="connsiteX5" fmla="*/ 11936 w 99246"/>
                  <a:gd name="connsiteY5" fmla="*/ 5869 h 407934"/>
                  <a:gd name="connsiteX6" fmla="*/ 97046 w 99246"/>
                  <a:gd name="connsiteY6" fmla="*/ 396196 h 407934"/>
                  <a:gd name="connsiteX7" fmla="*/ 97046 w 99246"/>
                  <a:gd name="connsiteY7" fmla="*/ 405000 h 407934"/>
                  <a:gd name="connsiteX8" fmla="*/ 94111 w 99246"/>
                  <a:gd name="connsiteY8" fmla="*/ 407935 h 40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9246" h="407934">
                    <a:moveTo>
                      <a:pt x="94111" y="407935"/>
                    </a:moveTo>
                    <a:cubicBezTo>
                      <a:pt x="94111" y="407935"/>
                      <a:pt x="91176" y="407935"/>
                      <a:pt x="91176" y="407935"/>
                    </a:cubicBezTo>
                    <a:cubicBezTo>
                      <a:pt x="-8606" y="325761"/>
                      <a:pt x="198" y="20543"/>
                      <a:pt x="198" y="5869"/>
                    </a:cubicBezTo>
                    <a:cubicBezTo>
                      <a:pt x="198" y="2935"/>
                      <a:pt x="3132" y="0"/>
                      <a:pt x="6068" y="0"/>
                    </a:cubicBezTo>
                    <a:cubicBezTo>
                      <a:pt x="6068" y="0"/>
                      <a:pt x="6068" y="0"/>
                      <a:pt x="6068" y="0"/>
                    </a:cubicBezTo>
                    <a:cubicBezTo>
                      <a:pt x="9002" y="0"/>
                      <a:pt x="11936" y="2935"/>
                      <a:pt x="11936" y="5869"/>
                    </a:cubicBezTo>
                    <a:cubicBezTo>
                      <a:pt x="11936" y="8804"/>
                      <a:pt x="3132" y="319891"/>
                      <a:pt x="97046" y="396196"/>
                    </a:cubicBezTo>
                    <a:cubicBezTo>
                      <a:pt x="99980" y="399131"/>
                      <a:pt x="99980" y="402065"/>
                      <a:pt x="97046" y="405000"/>
                    </a:cubicBezTo>
                    <a:cubicBezTo>
                      <a:pt x="97046" y="407935"/>
                      <a:pt x="97046" y="407935"/>
                      <a:pt x="94111" y="40793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18601AA7-B5CB-4A4D-BFCD-35A98EA64CAF}"/>
                  </a:ext>
                </a:extLst>
              </p:cNvPr>
              <p:cNvSpPr/>
              <p:nvPr/>
            </p:nvSpPr>
            <p:spPr>
              <a:xfrm>
                <a:off x="18481145" y="4945747"/>
                <a:ext cx="489375" cy="205434"/>
              </a:xfrm>
              <a:custGeom>
                <a:avLst/>
                <a:gdLst>
                  <a:gd name="connsiteX0" fmla="*/ 5136 w 489375"/>
                  <a:gd name="connsiteY0" fmla="*/ 205435 h 205434"/>
                  <a:gd name="connsiteX1" fmla="*/ 2201 w 489375"/>
                  <a:gd name="connsiteY1" fmla="*/ 205435 h 205434"/>
                  <a:gd name="connsiteX2" fmla="*/ 2201 w 489375"/>
                  <a:gd name="connsiteY2" fmla="*/ 196630 h 205434"/>
                  <a:gd name="connsiteX3" fmla="*/ 483506 w 489375"/>
                  <a:gd name="connsiteY3" fmla="*/ 0 h 205434"/>
                  <a:gd name="connsiteX4" fmla="*/ 489376 w 489375"/>
                  <a:gd name="connsiteY4" fmla="*/ 5869 h 205434"/>
                  <a:gd name="connsiteX5" fmla="*/ 483506 w 489375"/>
                  <a:gd name="connsiteY5" fmla="*/ 11739 h 205434"/>
                  <a:gd name="connsiteX6" fmla="*/ 11005 w 489375"/>
                  <a:gd name="connsiteY6" fmla="*/ 205435 h 205434"/>
                  <a:gd name="connsiteX7" fmla="*/ 5136 w 489375"/>
                  <a:gd name="connsiteY7" fmla="*/ 205435 h 20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9375" h="205434">
                    <a:moveTo>
                      <a:pt x="5136" y="205435"/>
                    </a:moveTo>
                    <a:cubicBezTo>
                      <a:pt x="5136" y="205435"/>
                      <a:pt x="2201" y="205435"/>
                      <a:pt x="2201" y="205435"/>
                    </a:cubicBezTo>
                    <a:cubicBezTo>
                      <a:pt x="-734" y="202500"/>
                      <a:pt x="-734" y="199565"/>
                      <a:pt x="2201" y="196630"/>
                    </a:cubicBezTo>
                    <a:cubicBezTo>
                      <a:pt x="148940" y="29348"/>
                      <a:pt x="480570" y="0"/>
                      <a:pt x="483506" y="0"/>
                    </a:cubicBezTo>
                    <a:cubicBezTo>
                      <a:pt x="486440" y="0"/>
                      <a:pt x="489376" y="2935"/>
                      <a:pt x="489376" y="5869"/>
                    </a:cubicBezTo>
                    <a:cubicBezTo>
                      <a:pt x="489376" y="8804"/>
                      <a:pt x="486440" y="11739"/>
                      <a:pt x="483506" y="11739"/>
                    </a:cubicBezTo>
                    <a:cubicBezTo>
                      <a:pt x="480570" y="11739"/>
                      <a:pt x="154810" y="41087"/>
                      <a:pt x="11005" y="205435"/>
                    </a:cubicBezTo>
                    <a:cubicBezTo>
                      <a:pt x="8070" y="205435"/>
                      <a:pt x="8070" y="205435"/>
                      <a:pt x="5136" y="20543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ADA8CEA3-FCBC-44C7-A08D-C15423FE9016}"/>
                  </a:ext>
                </a:extLst>
              </p:cNvPr>
              <p:cNvSpPr/>
              <p:nvPr/>
            </p:nvSpPr>
            <p:spPr>
              <a:xfrm>
                <a:off x="18197114" y="5591399"/>
                <a:ext cx="131839" cy="675000"/>
              </a:xfrm>
              <a:custGeom>
                <a:avLst/>
                <a:gdLst>
                  <a:gd name="connsiteX0" fmla="*/ 124819 w 131839"/>
                  <a:gd name="connsiteY0" fmla="*/ 675000 h 675000"/>
                  <a:gd name="connsiteX1" fmla="*/ 118949 w 131839"/>
                  <a:gd name="connsiteY1" fmla="*/ 672066 h 675000"/>
                  <a:gd name="connsiteX2" fmla="*/ 33841 w 131839"/>
                  <a:gd name="connsiteY2" fmla="*/ 2935 h 675000"/>
                  <a:gd name="connsiteX3" fmla="*/ 42645 w 131839"/>
                  <a:gd name="connsiteY3" fmla="*/ 0 h 675000"/>
                  <a:gd name="connsiteX4" fmla="*/ 45579 w 131839"/>
                  <a:gd name="connsiteY4" fmla="*/ 8804 h 675000"/>
                  <a:gd name="connsiteX5" fmla="*/ 130689 w 131839"/>
                  <a:gd name="connsiteY5" fmla="*/ 666196 h 675000"/>
                  <a:gd name="connsiteX6" fmla="*/ 124819 w 131839"/>
                  <a:gd name="connsiteY6" fmla="*/ 675000 h 675000"/>
                  <a:gd name="connsiteX7" fmla="*/ 124819 w 131839"/>
                  <a:gd name="connsiteY7" fmla="*/ 675000 h 67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1839" h="675000">
                    <a:moveTo>
                      <a:pt x="124819" y="675000"/>
                    </a:moveTo>
                    <a:cubicBezTo>
                      <a:pt x="121885" y="675000"/>
                      <a:pt x="121885" y="675000"/>
                      <a:pt x="118949" y="672066"/>
                    </a:cubicBezTo>
                    <a:cubicBezTo>
                      <a:pt x="-83550" y="316957"/>
                      <a:pt x="33841" y="5870"/>
                      <a:pt x="33841" y="2935"/>
                    </a:cubicBezTo>
                    <a:cubicBezTo>
                      <a:pt x="33841" y="0"/>
                      <a:pt x="39711" y="0"/>
                      <a:pt x="42645" y="0"/>
                    </a:cubicBezTo>
                    <a:cubicBezTo>
                      <a:pt x="45579" y="0"/>
                      <a:pt x="45579" y="5870"/>
                      <a:pt x="45579" y="8804"/>
                    </a:cubicBezTo>
                    <a:cubicBezTo>
                      <a:pt x="45579" y="11739"/>
                      <a:pt x="-71812" y="316957"/>
                      <a:pt x="130689" y="666196"/>
                    </a:cubicBezTo>
                    <a:cubicBezTo>
                      <a:pt x="133623" y="669131"/>
                      <a:pt x="130689" y="672066"/>
                      <a:pt x="124819" y="675000"/>
                    </a:cubicBezTo>
                    <a:cubicBezTo>
                      <a:pt x="127755" y="675000"/>
                      <a:pt x="127755" y="675000"/>
                      <a:pt x="124819" y="6750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图形 1">
              <a:extLst>
                <a:ext uri="{FF2B5EF4-FFF2-40B4-BE49-F238E27FC236}">
                  <a16:creationId xmlns:a16="http://schemas.microsoft.com/office/drawing/2014/main" id="{37364FBD-67C9-43F4-A666-CE5B718AF975}"/>
                </a:ext>
              </a:extLst>
            </p:cNvPr>
            <p:cNvGrpSpPr/>
            <p:nvPr/>
          </p:nvGrpSpPr>
          <p:grpSpPr>
            <a:xfrm>
              <a:off x="20872260" y="6019878"/>
              <a:ext cx="633107" cy="388820"/>
              <a:chOff x="20872260" y="6019878"/>
              <a:chExt cx="633107" cy="388820"/>
            </a:xfrm>
          </p:grpSpPr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C1302C67-2083-4E82-80E1-ED8E6B6F83BD}"/>
                  </a:ext>
                </a:extLst>
              </p:cNvPr>
              <p:cNvSpPr/>
              <p:nvPr/>
            </p:nvSpPr>
            <p:spPr>
              <a:xfrm>
                <a:off x="20872260" y="6019878"/>
                <a:ext cx="270000" cy="272934"/>
              </a:xfrm>
              <a:custGeom>
                <a:avLst/>
                <a:gdLst>
                  <a:gd name="connsiteX0" fmla="*/ 105651 w 270000"/>
                  <a:gd name="connsiteY0" fmla="*/ 240652 h 272934"/>
                  <a:gd name="connsiteX1" fmla="*/ 0 w 270000"/>
                  <a:gd name="connsiteY1" fmla="*/ 73370 h 272934"/>
                  <a:gd name="connsiteX2" fmla="*/ 155543 w 270000"/>
                  <a:gd name="connsiteY2" fmla="*/ 0 h 272934"/>
                  <a:gd name="connsiteX3" fmla="*/ 270000 w 270000"/>
                  <a:gd name="connsiteY3" fmla="*/ 176087 h 272934"/>
                  <a:gd name="connsiteX4" fmla="*/ 134999 w 270000"/>
                  <a:gd name="connsiteY4" fmla="*/ 272935 h 272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000" h="272934">
                    <a:moveTo>
                      <a:pt x="105651" y="240652"/>
                    </a:moveTo>
                    <a:lnTo>
                      <a:pt x="0" y="73370"/>
                    </a:lnTo>
                    <a:lnTo>
                      <a:pt x="155543" y="0"/>
                    </a:lnTo>
                    <a:lnTo>
                      <a:pt x="270000" y="176087"/>
                    </a:lnTo>
                    <a:lnTo>
                      <a:pt x="134999" y="272935"/>
                    </a:ln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5EEB4F3A-099B-4A8A-B3CA-E05F9A8AD2C7}"/>
                  </a:ext>
                </a:extLst>
              </p:cNvPr>
              <p:cNvSpPr/>
              <p:nvPr/>
            </p:nvSpPr>
            <p:spPr>
              <a:xfrm>
                <a:off x="20977911" y="6124686"/>
                <a:ext cx="507717" cy="244430"/>
              </a:xfrm>
              <a:custGeom>
                <a:avLst/>
                <a:gdLst>
                  <a:gd name="connsiteX0" fmla="*/ 0 w 507717"/>
                  <a:gd name="connsiteY0" fmla="*/ 135843 h 244430"/>
                  <a:gd name="connsiteX1" fmla="*/ 143805 w 507717"/>
                  <a:gd name="connsiteY1" fmla="*/ 12583 h 244430"/>
                  <a:gd name="connsiteX2" fmla="*/ 308152 w 507717"/>
                  <a:gd name="connsiteY2" fmla="*/ 30192 h 244430"/>
                  <a:gd name="connsiteX3" fmla="*/ 507717 w 507717"/>
                  <a:gd name="connsiteY3" fmla="*/ 30192 h 244430"/>
                  <a:gd name="connsiteX4" fmla="*/ 49892 w 507717"/>
                  <a:gd name="connsiteY4" fmla="*/ 244430 h 244430"/>
                  <a:gd name="connsiteX5" fmla="*/ 0 w 507717"/>
                  <a:gd name="connsiteY5" fmla="*/ 135843 h 24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7717" h="244430">
                    <a:moveTo>
                      <a:pt x="0" y="135843"/>
                    </a:moveTo>
                    <a:cubicBezTo>
                      <a:pt x="0" y="135843"/>
                      <a:pt x="114457" y="103561"/>
                      <a:pt x="143805" y="12583"/>
                    </a:cubicBezTo>
                    <a:cubicBezTo>
                      <a:pt x="143805" y="12583"/>
                      <a:pt x="261196" y="41931"/>
                      <a:pt x="308152" y="30192"/>
                    </a:cubicBezTo>
                    <a:cubicBezTo>
                      <a:pt x="355110" y="18452"/>
                      <a:pt x="460761" y="-31439"/>
                      <a:pt x="507717" y="30192"/>
                    </a:cubicBezTo>
                    <a:lnTo>
                      <a:pt x="49892" y="244430"/>
                    </a:lnTo>
                    <a:cubicBezTo>
                      <a:pt x="52826" y="244430"/>
                      <a:pt x="5870" y="191605"/>
                      <a:pt x="0" y="135843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606B8699-FC91-4AB3-8FE1-BAC809D88624}"/>
                  </a:ext>
                </a:extLst>
              </p:cNvPr>
              <p:cNvSpPr/>
              <p:nvPr/>
            </p:nvSpPr>
            <p:spPr>
              <a:xfrm rot="-1503028">
                <a:off x="21014403" y="6257089"/>
                <a:ext cx="504763" cy="46954"/>
              </a:xfrm>
              <a:custGeom>
                <a:avLst/>
                <a:gdLst>
                  <a:gd name="connsiteX0" fmla="*/ -1 w 504763"/>
                  <a:gd name="connsiteY0" fmla="*/ 0 h 46954"/>
                  <a:gd name="connsiteX1" fmla="*/ 504763 w 504763"/>
                  <a:gd name="connsiteY1" fmla="*/ 0 h 46954"/>
                  <a:gd name="connsiteX2" fmla="*/ 504763 w 504763"/>
                  <a:gd name="connsiteY2" fmla="*/ 46955 h 46954"/>
                  <a:gd name="connsiteX3" fmla="*/ -1 w 504763"/>
                  <a:gd name="connsiteY3" fmla="*/ 46955 h 46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763" h="46954">
                    <a:moveTo>
                      <a:pt x="-1" y="0"/>
                    </a:moveTo>
                    <a:lnTo>
                      <a:pt x="504763" y="0"/>
                    </a:lnTo>
                    <a:lnTo>
                      <a:pt x="504763" y="46955"/>
                    </a:lnTo>
                    <a:lnTo>
                      <a:pt x="-1" y="46955"/>
                    </a:lnTo>
                    <a:close/>
                  </a:path>
                </a:pathLst>
              </a:custGeom>
              <a:solidFill>
                <a:srgbClr val="38333D"/>
              </a:solidFill>
              <a:ln w="293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B560412C-BF92-4D92-A9C7-C1979AF3C7A1}"/>
                  </a:ext>
                </a:extLst>
              </p:cNvPr>
              <p:cNvSpPr/>
              <p:nvPr/>
            </p:nvSpPr>
            <p:spPr>
              <a:xfrm>
                <a:off x="20972041" y="6131400"/>
                <a:ext cx="156760" cy="134999"/>
              </a:xfrm>
              <a:custGeom>
                <a:avLst/>
                <a:gdLst>
                  <a:gd name="connsiteX0" fmla="*/ 5870 w 156760"/>
                  <a:gd name="connsiteY0" fmla="*/ 135000 h 134999"/>
                  <a:gd name="connsiteX1" fmla="*/ 0 w 156760"/>
                  <a:gd name="connsiteY1" fmla="*/ 132065 h 134999"/>
                  <a:gd name="connsiteX2" fmla="*/ 2936 w 156760"/>
                  <a:gd name="connsiteY2" fmla="*/ 123261 h 134999"/>
                  <a:gd name="connsiteX3" fmla="*/ 143805 w 156760"/>
                  <a:gd name="connsiteY3" fmla="*/ 2935 h 134999"/>
                  <a:gd name="connsiteX4" fmla="*/ 152609 w 156760"/>
                  <a:gd name="connsiteY4" fmla="*/ 0 h 134999"/>
                  <a:gd name="connsiteX5" fmla="*/ 155545 w 156760"/>
                  <a:gd name="connsiteY5" fmla="*/ 8804 h 134999"/>
                  <a:gd name="connsiteX6" fmla="*/ 5870 w 156760"/>
                  <a:gd name="connsiteY6" fmla="*/ 135000 h 134999"/>
                  <a:gd name="connsiteX7" fmla="*/ 5870 w 156760"/>
                  <a:gd name="connsiteY7" fmla="*/ 135000 h 134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6760" h="134999">
                    <a:moveTo>
                      <a:pt x="5870" y="135000"/>
                    </a:moveTo>
                    <a:cubicBezTo>
                      <a:pt x="2936" y="135000"/>
                      <a:pt x="0" y="132065"/>
                      <a:pt x="0" y="132065"/>
                    </a:cubicBezTo>
                    <a:cubicBezTo>
                      <a:pt x="0" y="129130"/>
                      <a:pt x="0" y="126196"/>
                      <a:pt x="2936" y="123261"/>
                    </a:cubicBezTo>
                    <a:cubicBezTo>
                      <a:pt x="2936" y="123261"/>
                      <a:pt x="105653" y="93913"/>
                      <a:pt x="143805" y="2935"/>
                    </a:cubicBezTo>
                    <a:cubicBezTo>
                      <a:pt x="143805" y="0"/>
                      <a:pt x="149675" y="0"/>
                      <a:pt x="152609" y="0"/>
                    </a:cubicBezTo>
                    <a:cubicBezTo>
                      <a:pt x="155545" y="0"/>
                      <a:pt x="158479" y="5869"/>
                      <a:pt x="155545" y="8804"/>
                    </a:cubicBezTo>
                    <a:cubicBezTo>
                      <a:pt x="117391" y="102717"/>
                      <a:pt x="11740" y="132065"/>
                      <a:pt x="5870" y="135000"/>
                    </a:cubicBezTo>
                    <a:cubicBezTo>
                      <a:pt x="8806" y="135000"/>
                      <a:pt x="5870" y="135000"/>
                      <a:pt x="5870" y="1350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FFBBF183-2FFB-40BF-8E0D-4D5392EB0B40}"/>
                  </a:ext>
                </a:extLst>
              </p:cNvPr>
              <p:cNvSpPr/>
              <p:nvPr/>
            </p:nvSpPr>
            <p:spPr>
              <a:xfrm>
                <a:off x="21151064" y="6138988"/>
                <a:ext cx="24693" cy="51106"/>
              </a:xfrm>
              <a:custGeom>
                <a:avLst/>
                <a:gdLst>
                  <a:gd name="connsiteX0" fmla="*/ 5870 w 24693"/>
                  <a:gd name="connsiteY0" fmla="*/ 51107 h 51106"/>
                  <a:gd name="connsiteX1" fmla="*/ 5870 w 24693"/>
                  <a:gd name="connsiteY1" fmla="*/ 51107 h 51106"/>
                  <a:gd name="connsiteX2" fmla="*/ 0 w 24693"/>
                  <a:gd name="connsiteY2" fmla="*/ 42302 h 51106"/>
                  <a:gd name="connsiteX3" fmla="*/ 11738 w 24693"/>
                  <a:gd name="connsiteY3" fmla="*/ 4150 h 51106"/>
                  <a:gd name="connsiteX4" fmla="*/ 20544 w 24693"/>
                  <a:gd name="connsiteY4" fmla="*/ 1216 h 51106"/>
                  <a:gd name="connsiteX5" fmla="*/ 23478 w 24693"/>
                  <a:gd name="connsiteY5" fmla="*/ 10020 h 51106"/>
                  <a:gd name="connsiteX6" fmla="*/ 11738 w 24693"/>
                  <a:gd name="connsiteY6" fmla="*/ 48172 h 51106"/>
                  <a:gd name="connsiteX7" fmla="*/ 5870 w 24693"/>
                  <a:gd name="connsiteY7" fmla="*/ 51107 h 51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693" h="51106">
                    <a:moveTo>
                      <a:pt x="5870" y="51107"/>
                    </a:moveTo>
                    <a:cubicBezTo>
                      <a:pt x="5870" y="51107"/>
                      <a:pt x="5870" y="51107"/>
                      <a:pt x="5870" y="51107"/>
                    </a:cubicBezTo>
                    <a:cubicBezTo>
                      <a:pt x="0" y="51107"/>
                      <a:pt x="0" y="45237"/>
                      <a:pt x="0" y="42302"/>
                    </a:cubicBezTo>
                    <a:lnTo>
                      <a:pt x="11738" y="4150"/>
                    </a:lnTo>
                    <a:cubicBezTo>
                      <a:pt x="11738" y="1216"/>
                      <a:pt x="17608" y="-1719"/>
                      <a:pt x="20544" y="1216"/>
                    </a:cubicBezTo>
                    <a:cubicBezTo>
                      <a:pt x="23478" y="1216"/>
                      <a:pt x="26412" y="7085"/>
                      <a:pt x="23478" y="10020"/>
                    </a:cubicBezTo>
                    <a:lnTo>
                      <a:pt x="11738" y="48172"/>
                    </a:lnTo>
                    <a:cubicBezTo>
                      <a:pt x="11738" y="48172"/>
                      <a:pt x="8804" y="51107"/>
                      <a:pt x="5870" y="511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E528B6CE-F1DC-4154-9CA3-7FA308082B93}"/>
                  </a:ext>
                </a:extLst>
              </p:cNvPr>
              <p:cNvSpPr/>
              <p:nvPr/>
            </p:nvSpPr>
            <p:spPr>
              <a:xfrm>
                <a:off x="21200956" y="6147793"/>
                <a:ext cx="24693" cy="51107"/>
              </a:xfrm>
              <a:custGeom>
                <a:avLst/>
                <a:gdLst>
                  <a:gd name="connsiteX0" fmla="*/ 5868 w 24693"/>
                  <a:gd name="connsiteY0" fmla="*/ 51107 h 51107"/>
                  <a:gd name="connsiteX1" fmla="*/ 5868 w 24693"/>
                  <a:gd name="connsiteY1" fmla="*/ 51107 h 51107"/>
                  <a:gd name="connsiteX2" fmla="*/ 0 w 24693"/>
                  <a:gd name="connsiteY2" fmla="*/ 42303 h 51107"/>
                  <a:gd name="connsiteX3" fmla="*/ 11738 w 24693"/>
                  <a:gd name="connsiteY3" fmla="*/ 4150 h 51107"/>
                  <a:gd name="connsiteX4" fmla="*/ 20542 w 24693"/>
                  <a:gd name="connsiteY4" fmla="*/ 1216 h 51107"/>
                  <a:gd name="connsiteX5" fmla="*/ 23478 w 24693"/>
                  <a:gd name="connsiteY5" fmla="*/ 10020 h 51107"/>
                  <a:gd name="connsiteX6" fmla="*/ 11738 w 24693"/>
                  <a:gd name="connsiteY6" fmla="*/ 48172 h 51107"/>
                  <a:gd name="connsiteX7" fmla="*/ 5868 w 24693"/>
                  <a:gd name="connsiteY7" fmla="*/ 51107 h 51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693" h="51107">
                    <a:moveTo>
                      <a:pt x="5868" y="51107"/>
                    </a:moveTo>
                    <a:cubicBezTo>
                      <a:pt x="2934" y="51107"/>
                      <a:pt x="2934" y="51107"/>
                      <a:pt x="5868" y="51107"/>
                    </a:cubicBezTo>
                    <a:cubicBezTo>
                      <a:pt x="0" y="51107"/>
                      <a:pt x="0" y="45237"/>
                      <a:pt x="0" y="42303"/>
                    </a:cubicBezTo>
                    <a:lnTo>
                      <a:pt x="11738" y="4150"/>
                    </a:lnTo>
                    <a:cubicBezTo>
                      <a:pt x="11738" y="1216"/>
                      <a:pt x="17608" y="-1719"/>
                      <a:pt x="20542" y="1216"/>
                    </a:cubicBezTo>
                    <a:cubicBezTo>
                      <a:pt x="23478" y="1216"/>
                      <a:pt x="26412" y="7085"/>
                      <a:pt x="23478" y="10020"/>
                    </a:cubicBezTo>
                    <a:lnTo>
                      <a:pt x="11738" y="48172"/>
                    </a:lnTo>
                    <a:cubicBezTo>
                      <a:pt x="8804" y="48172"/>
                      <a:pt x="5868" y="51107"/>
                      <a:pt x="5868" y="511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4" name="图形 1">
              <a:extLst>
                <a:ext uri="{FF2B5EF4-FFF2-40B4-BE49-F238E27FC236}">
                  <a16:creationId xmlns:a16="http://schemas.microsoft.com/office/drawing/2014/main" id="{93CD49ED-E71A-4D52-A184-B0E2B215566B}"/>
                </a:ext>
              </a:extLst>
            </p:cNvPr>
            <p:cNvGrpSpPr/>
            <p:nvPr/>
          </p:nvGrpSpPr>
          <p:grpSpPr>
            <a:xfrm>
              <a:off x="19991987" y="6204769"/>
              <a:ext cx="504621" cy="470341"/>
              <a:chOff x="19991987" y="6204769"/>
              <a:chExt cx="504621" cy="470341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F7206379-05ED-467E-8223-64A4DDBC4039}"/>
                  </a:ext>
                </a:extLst>
              </p:cNvPr>
              <p:cNvSpPr/>
              <p:nvPr/>
            </p:nvSpPr>
            <p:spPr>
              <a:xfrm>
                <a:off x="20027043" y="6204769"/>
                <a:ext cx="184890" cy="246521"/>
              </a:xfrm>
              <a:custGeom>
                <a:avLst/>
                <a:gdLst>
                  <a:gd name="connsiteX0" fmla="*/ 0 w 184890"/>
                  <a:gd name="connsiteY0" fmla="*/ 196630 h 246521"/>
                  <a:gd name="connsiteX1" fmla="*/ 17608 w 184890"/>
                  <a:gd name="connsiteY1" fmla="*/ 0 h 246521"/>
                  <a:gd name="connsiteX2" fmla="*/ 184891 w 184890"/>
                  <a:gd name="connsiteY2" fmla="*/ 35217 h 246521"/>
                  <a:gd name="connsiteX3" fmla="*/ 167281 w 184890"/>
                  <a:gd name="connsiteY3" fmla="*/ 246522 h 246521"/>
                  <a:gd name="connsiteX4" fmla="*/ 5868 w 184890"/>
                  <a:gd name="connsiteY4" fmla="*/ 240652 h 246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890" h="246521">
                    <a:moveTo>
                      <a:pt x="0" y="196630"/>
                    </a:moveTo>
                    <a:lnTo>
                      <a:pt x="17608" y="0"/>
                    </a:lnTo>
                    <a:lnTo>
                      <a:pt x="184891" y="35217"/>
                    </a:lnTo>
                    <a:lnTo>
                      <a:pt x="167281" y="246522"/>
                    </a:lnTo>
                    <a:lnTo>
                      <a:pt x="5868" y="240652"/>
                    </a:ln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2A0ED472-4802-4ED6-916B-BE032ACEC8F7}"/>
                  </a:ext>
                </a:extLst>
              </p:cNvPr>
              <p:cNvSpPr/>
              <p:nvPr/>
            </p:nvSpPr>
            <p:spPr>
              <a:xfrm>
                <a:off x="20001794" y="6392595"/>
                <a:ext cx="494814" cy="234782"/>
              </a:xfrm>
              <a:custGeom>
                <a:avLst/>
                <a:gdLst>
                  <a:gd name="connsiteX0" fmla="*/ 25249 w 494814"/>
                  <a:gd name="connsiteY0" fmla="*/ 8804 h 234782"/>
                  <a:gd name="connsiteX1" fmla="*/ 216010 w 494814"/>
                  <a:gd name="connsiteY1" fmla="*/ 0 h 234782"/>
                  <a:gd name="connsiteX2" fmla="*/ 336335 w 494814"/>
                  <a:gd name="connsiteY2" fmla="*/ 114457 h 234782"/>
                  <a:gd name="connsiteX3" fmla="*/ 494814 w 494814"/>
                  <a:gd name="connsiteY3" fmla="*/ 234783 h 234782"/>
                  <a:gd name="connsiteX4" fmla="*/ 1769 w 494814"/>
                  <a:gd name="connsiteY4" fmla="*/ 126196 h 234782"/>
                  <a:gd name="connsiteX5" fmla="*/ 25249 w 494814"/>
                  <a:gd name="connsiteY5" fmla="*/ 8804 h 234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4814" h="234782">
                    <a:moveTo>
                      <a:pt x="25249" y="8804"/>
                    </a:moveTo>
                    <a:cubicBezTo>
                      <a:pt x="25249" y="8804"/>
                      <a:pt x="136770" y="52826"/>
                      <a:pt x="216010" y="0"/>
                    </a:cubicBezTo>
                    <a:cubicBezTo>
                      <a:pt x="216010" y="0"/>
                      <a:pt x="292313" y="93913"/>
                      <a:pt x="336335" y="114457"/>
                    </a:cubicBezTo>
                    <a:cubicBezTo>
                      <a:pt x="380357" y="135000"/>
                      <a:pt x="494814" y="158479"/>
                      <a:pt x="494814" y="234783"/>
                    </a:cubicBezTo>
                    <a:lnTo>
                      <a:pt x="1769" y="126196"/>
                    </a:lnTo>
                    <a:cubicBezTo>
                      <a:pt x="-1165" y="126196"/>
                      <a:pt x="-4099" y="58696"/>
                      <a:pt x="25249" y="8804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B9487542-A3D2-4227-8AAB-2EA44A045DB9}"/>
                  </a:ext>
                </a:extLst>
              </p:cNvPr>
              <p:cNvSpPr/>
              <p:nvPr/>
            </p:nvSpPr>
            <p:spPr>
              <a:xfrm rot="-4651217">
                <a:off x="20220016" y="6345247"/>
                <a:ext cx="46957" cy="504796"/>
              </a:xfrm>
              <a:custGeom>
                <a:avLst/>
                <a:gdLst>
                  <a:gd name="connsiteX0" fmla="*/ 1 w 46957"/>
                  <a:gd name="connsiteY0" fmla="*/ 0 h 504796"/>
                  <a:gd name="connsiteX1" fmla="*/ 46958 w 46957"/>
                  <a:gd name="connsiteY1" fmla="*/ 0 h 504796"/>
                  <a:gd name="connsiteX2" fmla="*/ 46958 w 46957"/>
                  <a:gd name="connsiteY2" fmla="*/ 504797 h 504796"/>
                  <a:gd name="connsiteX3" fmla="*/ 1 w 46957"/>
                  <a:gd name="connsiteY3" fmla="*/ 504797 h 504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957" h="504796">
                    <a:moveTo>
                      <a:pt x="1" y="0"/>
                    </a:moveTo>
                    <a:lnTo>
                      <a:pt x="46958" y="0"/>
                    </a:lnTo>
                    <a:lnTo>
                      <a:pt x="46958" y="504797"/>
                    </a:lnTo>
                    <a:lnTo>
                      <a:pt x="1" y="504797"/>
                    </a:lnTo>
                    <a:close/>
                  </a:path>
                </a:pathLst>
              </a:custGeom>
              <a:solidFill>
                <a:srgbClr val="38333D"/>
              </a:solidFill>
              <a:ln w="29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846D6D25-8E8D-4363-9939-230D04BAC463}"/>
                  </a:ext>
                </a:extLst>
              </p:cNvPr>
              <p:cNvSpPr/>
              <p:nvPr/>
            </p:nvSpPr>
            <p:spPr>
              <a:xfrm>
                <a:off x="20022891" y="6385510"/>
                <a:ext cx="204931" cy="39367"/>
              </a:xfrm>
              <a:custGeom>
                <a:avLst/>
                <a:gdLst>
                  <a:gd name="connsiteX0" fmla="*/ 95129 w 204931"/>
                  <a:gd name="connsiteY0" fmla="*/ 39368 h 39367"/>
                  <a:gd name="connsiteX1" fmla="*/ 4151 w 204931"/>
                  <a:gd name="connsiteY1" fmla="*/ 21759 h 39367"/>
                  <a:gd name="connsiteX2" fmla="*/ 1215 w 204931"/>
                  <a:gd name="connsiteY2" fmla="*/ 12955 h 39367"/>
                  <a:gd name="connsiteX3" fmla="*/ 10019 w 204931"/>
                  <a:gd name="connsiteY3" fmla="*/ 10020 h 39367"/>
                  <a:gd name="connsiteX4" fmla="*/ 194912 w 204931"/>
                  <a:gd name="connsiteY4" fmla="*/ 1216 h 39367"/>
                  <a:gd name="connsiteX5" fmla="*/ 203716 w 204931"/>
                  <a:gd name="connsiteY5" fmla="*/ 4151 h 39367"/>
                  <a:gd name="connsiteX6" fmla="*/ 200780 w 204931"/>
                  <a:gd name="connsiteY6" fmla="*/ 12955 h 39367"/>
                  <a:gd name="connsiteX7" fmla="*/ 95129 w 204931"/>
                  <a:gd name="connsiteY7" fmla="*/ 39368 h 39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4931" h="39367">
                    <a:moveTo>
                      <a:pt x="95129" y="39368"/>
                    </a:moveTo>
                    <a:cubicBezTo>
                      <a:pt x="45237" y="39368"/>
                      <a:pt x="7085" y="24694"/>
                      <a:pt x="4151" y="21759"/>
                    </a:cubicBezTo>
                    <a:cubicBezTo>
                      <a:pt x="1215" y="21759"/>
                      <a:pt x="-1719" y="15890"/>
                      <a:pt x="1215" y="12955"/>
                    </a:cubicBezTo>
                    <a:cubicBezTo>
                      <a:pt x="1215" y="10020"/>
                      <a:pt x="7085" y="7085"/>
                      <a:pt x="10019" y="10020"/>
                    </a:cubicBezTo>
                    <a:cubicBezTo>
                      <a:pt x="10019" y="10020"/>
                      <a:pt x="109803" y="48172"/>
                      <a:pt x="194912" y="1216"/>
                    </a:cubicBezTo>
                    <a:cubicBezTo>
                      <a:pt x="197846" y="-1719"/>
                      <a:pt x="200780" y="1216"/>
                      <a:pt x="203716" y="4151"/>
                    </a:cubicBezTo>
                    <a:cubicBezTo>
                      <a:pt x="206650" y="7085"/>
                      <a:pt x="203716" y="10020"/>
                      <a:pt x="200780" y="12955"/>
                    </a:cubicBezTo>
                    <a:cubicBezTo>
                      <a:pt x="162628" y="30564"/>
                      <a:pt x="127411" y="39368"/>
                      <a:pt x="95129" y="393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183408DC-A048-49BC-8FA1-47DDB101847A}"/>
                  </a:ext>
                </a:extLst>
              </p:cNvPr>
              <p:cNvSpPr/>
              <p:nvPr/>
            </p:nvSpPr>
            <p:spPr>
              <a:xfrm>
                <a:off x="20207782" y="6423662"/>
                <a:ext cx="46453" cy="33498"/>
              </a:xfrm>
              <a:custGeom>
                <a:avLst/>
                <a:gdLst>
                  <a:gd name="connsiteX0" fmla="*/ 7085 w 46453"/>
                  <a:gd name="connsiteY0" fmla="*/ 33498 h 33498"/>
                  <a:gd name="connsiteX1" fmla="*/ 1215 w 46453"/>
                  <a:gd name="connsiteY1" fmla="*/ 30564 h 33498"/>
                  <a:gd name="connsiteX2" fmla="*/ 4151 w 46453"/>
                  <a:gd name="connsiteY2" fmla="*/ 21759 h 33498"/>
                  <a:gd name="connsiteX3" fmla="*/ 36433 w 46453"/>
                  <a:gd name="connsiteY3" fmla="*/ 1216 h 33498"/>
                  <a:gd name="connsiteX4" fmla="*/ 45237 w 46453"/>
                  <a:gd name="connsiteY4" fmla="*/ 4150 h 33498"/>
                  <a:gd name="connsiteX5" fmla="*/ 42303 w 46453"/>
                  <a:gd name="connsiteY5" fmla="*/ 12955 h 33498"/>
                  <a:gd name="connsiteX6" fmla="*/ 10021 w 46453"/>
                  <a:gd name="connsiteY6" fmla="*/ 33498 h 33498"/>
                  <a:gd name="connsiteX7" fmla="*/ 7085 w 46453"/>
                  <a:gd name="connsiteY7" fmla="*/ 33498 h 33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453" h="33498">
                    <a:moveTo>
                      <a:pt x="7085" y="33498"/>
                    </a:moveTo>
                    <a:cubicBezTo>
                      <a:pt x="4151" y="33498"/>
                      <a:pt x="4151" y="33498"/>
                      <a:pt x="1215" y="30564"/>
                    </a:cubicBezTo>
                    <a:cubicBezTo>
                      <a:pt x="-1719" y="27629"/>
                      <a:pt x="1215" y="24694"/>
                      <a:pt x="4151" y="21759"/>
                    </a:cubicBezTo>
                    <a:lnTo>
                      <a:pt x="36433" y="1216"/>
                    </a:lnTo>
                    <a:cubicBezTo>
                      <a:pt x="39369" y="-1719"/>
                      <a:pt x="42303" y="1216"/>
                      <a:pt x="45237" y="4150"/>
                    </a:cubicBezTo>
                    <a:cubicBezTo>
                      <a:pt x="48173" y="7085"/>
                      <a:pt x="45237" y="10020"/>
                      <a:pt x="42303" y="12955"/>
                    </a:cubicBezTo>
                    <a:lnTo>
                      <a:pt x="10021" y="33498"/>
                    </a:lnTo>
                    <a:cubicBezTo>
                      <a:pt x="10021" y="33498"/>
                      <a:pt x="7085" y="33498"/>
                      <a:pt x="7085" y="33498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C52799DD-88D2-4C87-87A5-D87C750AFBC7}"/>
                  </a:ext>
                </a:extLst>
              </p:cNvPr>
              <p:cNvSpPr/>
              <p:nvPr/>
            </p:nvSpPr>
            <p:spPr>
              <a:xfrm>
                <a:off x="20243000" y="6458879"/>
                <a:ext cx="46453" cy="33498"/>
              </a:xfrm>
              <a:custGeom>
                <a:avLst/>
                <a:gdLst>
                  <a:gd name="connsiteX0" fmla="*/ 7085 w 46453"/>
                  <a:gd name="connsiteY0" fmla="*/ 33498 h 33498"/>
                  <a:gd name="connsiteX1" fmla="*/ 1215 w 46453"/>
                  <a:gd name="connsiteY1" fmla="*/ 30564 h 33498"/>
                  <a:gd name="connsiteX2" fmla="*/ 4151 w 46453"/>
                  <a:gd name="connsiteY2" fmla="*/ 21759 h 33498"/>
                  <a:gd name="connsiteX3" fmla="*/ 36433 w 46453"/>
                  <a:gd name="connsiteY3" fmla="*/ 1216 h 33498"/>
                  <a:gd name="connsiteX4" fmla="*/ 45237 w 46453"/>
                  <a:gd name="connsiteY4" fmla="*/ 4151 h 33498"/>
                  <a:gd name="connsiteX5" fmla="*/ 42303 w 46453"/>
                  <a:gd name="connsiteY5" fmla="*/ 12955 h 33498"/>
                  <a:gd name="connsiteX6" fmla="*/ 10019 w 46453"/>
                  <a:gd name="connsiteY6" fmla="*/ 33498 h 33498"/>
                  <a:gd name="connsiteX7" fmla="*/ 7085 w 46453"/>
                  <a:gd name="connsiteY7" fmla="*/ 33498 h 33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453" h="33498">
                    <a:moveTo>
                      <a:pt x="7085" y="33498"/>
                    </a:moveTo>
                    <a:cubicBezTo>
                      <a:pt x="4151" y="33498"/>
                      <a:pt x="4151" y="33498"/>
                      <a:pt x="1215" y="30564"/>
                    </a:cubicBezTo>
                    <a:cubicBezTo>
                      <a:pt x="-1719" y="27629"/>
                      <a:pt x="1215" y="24694"/>
                      <a:pt x="4151" y="21759"/>
                    </a:cubicBezTo>
                    <a:lnTo>
                      <a:pt x="36433" y="1216"/>
                    </a:lnTo>
                    <a:cubicBezTo>
                      <a:pt x="39367" y="-1719"/>
                      <a:pt x="42303" y="1216"/>
                      <a:pt x="45237" y="4151"/>
                    </a:cubicBezTo>
                    <a:cubicBezTo>
                      <a:pt x="48173" y="7085"/>
                      <a:pt x="45237" y="10020"/>
                      <a:pt x="42303" y="12955"/>
                    </a:cubicBezTo>
                    <a:lnTo>
                      <a:pt x="10019" y="33498"/>
                    </a:lnTo>
                    <a:cubicBezTo>
                      <a:pt x="7085" y="33498"/>
                      <a:pt x="7085" y="33498"/>
                      <a:pt x="7085" y="33498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F31A9156-FE74-4B07-8C71-7AC177FD218F}"/>
                </a:ext>
              </a:extLst>
            </p:cNvPr>
            <p:cNvSpPr/>
            <p:nvPr/>
          </p:nvSpPr>
          <p:spPr>
            <a:xfrm>
              <a:off x="19174840" y="4734443"/>
              <a:ext cx="1179169" cy="1599456"/>
            </a:xfrm>
            <a:custGeom>
              <a:avLst/>
              <a:gdLst>
                <a:gd name="connsiteX0" fmla="*/ 18724 w 1179169"/>
                <a:gd name="connsiteY0" fmla="*/ 0 h 1599456"/>
                <a:gd name="connsiteX1" fmla="*/ 21658 w 1179169"/>
                <a:gd name="connsiteY1" fmla="*/ 328696 h 1599456"/>
                <a:gd name="connsiteX2" fmla="*/ 770028 w 1179169"/>
                <a:gd name="connsiteY2" fmla="*/ 657391 h 1599456"/>
                <a:gd name="connsiteX3" fmla="*/ 796441 w 1179169"/>
                <a:gd name="connsiteY3" fmla="*/ 1599457 h 1599456"/>
                <a:gd name="connsiteX4" fmla="*/ 1092854 w 1179169"/>
                <a:gd name="connsiteY4" fmla="*/ 1561304 h 1599456"/>
                <a:gd name="connsiteX5" fmla="*/ 1175029 w 1179169"/>
                <a:gd name="connsiteY5" fmla="*/ 566413 h 1599456"/>
                <a:gd name="connsiteX6" fmla="*/ 502963 w 1179169"/>
                <a:gd name="connsiteY6" fmla="*/ 58696 h 1599456"/>
                <a:gd name="connsiteX7" fmla="*/ 18724 w 1179169"/>
                <a:gd name="connsiteY7" fmla="*/ 0 h 159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9169" h="1599456">
                  <a:moveTo>
                    <a:pt x="18724" y="0"/>
                  </a:moveTo>
                  <a:cubicBezTo>
                    <a:pt x="18724" y="0"/>
                    <a:pt x="-25298" y="220109"/>
                    <a:pt x="21658" y="328696"/>
                  </a:cubicBezTo>
                  <a:cubicBezTo>
                    <a:pt x="65680" y="437283"/>
                    <a:pt x="743616" y="604565"/>
                    <a:pt x="770028" y="657391"/>
                  </a:cubicBezTo>
                  <a:cubicBezTo>
                    <a:pt x="796441" y="710217"/>
                    <a:pt x="796441" y="1599457"/>
                    <a:pt x="796441" y="1599457"/>
                  </a:cubicBezTo>
                  <a:cubicBezTo>
                    <a:pt x="796441" y="1599457"/>
                    <a:pt x="1022420" y="1581848"/>
                    <a:pt x="1092854" y="1561304"/>
                  </a:cubicBezTo>
                  <a:cubicBezTo>
                    <a:pt x="1092854" y="1561304"/>
                    <a:pt x="1201441" y="704348"/>
                    <a:pt x="1175029" y="566413"/>
                  </a:cubicBezTo>
                  <a:cubicBezTo>
                    <a:pt x="1148615" y="428478"/>
                    <a:pt x="564593" y="73370"/>
                    <a:pt x="502963" y="58696"/>
                  </a:cubicBezTo>
                  <a:cubicBezTo>
                    <a:pt x="435464" y="46957"/>
                    <a:pt x="18724" y="0"/>
                    <a:pt x="18724" y="0"/>
                  </a:cubicBez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9DD04BF8-CA4B-4334-96B5-57BD33C3C98A}"/>
                </a:ext>
              </a:extLst>
            </p:cNvPr>
            <p:cNvSpPr/>
            <p:nvPr/>
          </p:nvSpPr>
          <p:spPr>
            <a:xfrm>
              <a:off x="19548672" y="4712087"/>
              <a:ext cx="1564240" cy="1507356"/>
            </a:xfrm>
            <a:custGeom>
              <a:avLst/>
              <a:gdLst>
                <a:gd name="connsiteX0" fmla="*/ 0 w 1564240"/>
                <a:gd name="connsiteY0" fmla="*/ 66378 h 1507356"/>
                <a:gd name="connsiteX1" fmla="*/ 146739 w 1564240"/>
                <a:gd name="connsiteY1" fmla="*/ 351052 h 1507356"/>
                <a:gd name="connsiteX2" fmla="*/ 895109 w 1564240"/>
                <a:gd name="connsiteY2" fmla="*/ 562356 h 1507356"/>
                <a:gd name="connsiteX3" fmla="*/ 1300110 w 1564240"/>
                <a:gd name="connsiteY3" fmla="*/ 1507356 h 1507356"/>
                <a:gd name="connsiteX4" fmla="*/ 1564241 w 1564240"/>
                <a:gd name="connsiteY4" fmla="*/ 1351813 h 1507356"/>
                <a:gd name="connsiteX5" fmla="*/ 1173913 w 1564240"/>
                <a:gd name="connsiteY5" fmla="*/ 321704 h 1507356"/>
                <a:gd name="connsiteX6" fmla="*/ 528261 w 1564240"/>
                <a:gd name="connsiteY6" fmla="*/ 1813 h 1507356"/>
                <a:gd name="connsiteX7" fmla="*/ 0 w 1564240"/>
                <a:gd name="connsiteY7" fmla="*/ 66378 h 1507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4240" h="1507356">
                  <a:moveTo>
                    <a:pt x="0" y="66378"/>
                  </a:moveTo>
                  <a:cubicBezTo>
                    <a:pt x="0" y="66378"/>
                    <a:pt x="102717" y="242465"/>
                    <a:pt x="146739" y="351052"/>
                  </a:cubicBezTo>
                  <a:cubicBezTo>
                    <a:pt x="190761" y="459639"/>
                    <a:pt x="868697" y="509530"/>
                    <a:pt x="895109" y="562356"/>
                  </a:cubicBezTo>
                  <a:cubicBezTo>
                    <a:pt x="921522" y="615182"/>
                    <a:pt x="1300110" y="1507356"/>
                    <a:pt x="1300110" y="1507356"/>
                  </a:cubicBezTo>
                  <a:cubicBezTo>
                    <a:pt x="1300110" y="1507356"/>
                    <a:pt x="1485001" y="1431052"/>
                    <a:pt x="1564241" y="1351813"/>
                  </a:cubicBezTo>
                  <a:cubicBezTo>
                    <a:pt x="1564241" y="1351813"/>
                    <a:pt x="1270762" y="521269"/>
                    <a:pt x="1173913" y="321704"/>
                  </a:cubicBezTo>
                  <a:cubicBezTo>
                    <a:pt x="1112283" y="195508"/>
                    <a:pt x="589892" y="13552"/>
                    <a:pt x="528261" y="1813"/>
                  </a:cubicBezTo>
                  <a:cubicBezTo>
                    <a:pt x="466631" y="-12861"/>
                    <a:pt x="0" y="66378"/>
                    <a:pt x="0" y="66378"/>
                  </a:cubicBez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9137FC4E-CB0A-4E8A-8A78-9494E68880C9}"/>
                </a:ext>
              </a:extLst>
            </p:cNvPr>
            <p:cNvSpPr/>
            <p:nvPr/>
          </p:nvSpPr>
          <p:spPr>
            <a:xfrm>
              <a:off x="19936063" y="4910530"/>
              <a:ext cx="428479" cy="451956"/>
            </a:xfrm>
            <a:custGeom>
              <a:avLst/>
              <a:gdLst>
                <a:gd name="connsiteX0" fmla="*/ 422609 w 428479"/>
                <a:gd name="connsiteY0" fmla="*/ 451957 h 451956"/>
                <a:gd name="connsiteX1" fmla="*/ 416740 w 428479"/>
                <a:gd name="connsiteY1" fmla="*/ 446087 h 451956"/>
                <a:gd name="connsiteX2" fmla="*/ 363914 w 428479"/>
                <a:gd name="connsiteY2" fmla="*/ 322826 h 451956"/>
                <a:gd name="connsiteX3" fmla="*/ 2936 w 428479"/>
                <a:gd name="connsiteY3" fmla="*/ 11739 h 451956"/>
                <a:gd name="connsiteX4" fmla="*/ 0 w 428479"/>
                <a:gd name="connsiteY4" fmla="*/ 2935 h 451956"/>
                <a:gd name="connsiteX5" fmla="*/ 8804 w 428479"/>
                <a:gd name="connsiteY5" fmla="*/ 0 h 451956"/>
                <a:gd name="connsiteX6" fmla="*/ 372718 w 428479"/>
                <a:gd name="connsiteY6" fmla="*/ 314022 h 451956"/>
                <a:gd name="connsiteX7" fmla="*/ 428479 w 428479"/>
                <a:gd name="connsiteY7" fmla="*/ 440217 h 451956"/>
                <a:gd name="connsiteX8" fmla="*/ 422609 w 428479"/>
                <a:gd name="connsiteY8" fmla="*/ 451957 h 451956"/>
                <a:gd name="connsiteX9" fmla="*/ 422609 w 428479"/>
                <a:gd name="connsiteY9" fmla="*/ 451957 h 451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8479" h="451956">
                  <a:moveTo>
                    <a:pt x="422609" y="451957"/>
                  </a:moveTo>
                  <a:cubicBezTo>
                    <a:pt x="419674" y="451957"/>
                    <a:pt x="416740" y="449022"/>
                    <a:pt x="416740" y="446087"/>
                  </a:cubicBezTo>
                  <a:cubicBezTo>
                    <a:pt x="407936" y="402065"/>
                    <a:pt x="387392" y="352174"/>
                    <a:pt x="363914" y="322826"/>
                  </a:cubicBezTo>
                  <a:cubicBezTo>
                    <a:pt x="360978" y="319891"/>
                    <a:pt x="199565" y="123261"/>
                    <a:pt x="2936" y="11739"/>
                  </a:cubicBezTo>
                  <a:cubicBezTo>
                    <a:pt x="0" y="8804"/>
                    <a:pt x="0" y="5870"/>
                    <a:pt x="0" y="2935"/>
                  </a:cubicBezTo>
                  <a:cubicBezTo>
                    <a:pt x="2936" y="0"/>
                    <a:pt x="5870" y="0"/>
                    <a:pt x="8804" y="0"/>
                  </a:cubicBezTo>
                  <a:cubicBezTo>
                    <a:pt x="208371" y="111522"/>
                    <a:pt x="372718" y="311087"/>
                    <a:pt x="372718" y="314022"/>
                  </a:cubicBezTo>
                  <a:cubicBezTo>
                    <a:pt x="396196" y="343370"/>
                    <a:pt x="419674" y="396196"/>
                    <a:pt x="428479" y="440217"/>
                  </a:cubicBezTo>
                  <a:cubicBezTo>
                    <a:pt x="428479" y="449022"/>
                    <a:pt x="425543" y="451957"/>
                    <a:pt x="422609" y="451957"/>
                  </a:cubicBezTo>
                  <a:cubicBezTo>
                    <a:pt x="422609" y="451957"/>
                    <a:pt x="422609" y="451957"/>
                    <a:pt x="422609" y="451957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F4D0D86A-982B-4DF6-B33C-A92322520F68}"/>
                </a:ext>
              </a:extLst>
            </p:cNvPr>
            <p:cNvSpPr/>
            <p:nvPr/>
          </p:nvSpPr>
          <p:spPr>
            <a:xfrm>
              <a:off x="19278673" y="3337486"/>
              <a:ext cx="249456" cy="229918"/>
            </a:xfrm>
            <a:custGeom>
              <a:avLst/>
              <a:gdLst>
                <a:gd name="connsiteX0" fmla="*/ 228913 w 249456"/>
                <a:gd name="connsiteY0" fmla="*/ 2935 h 229918"/>
                <a:gd name="connsiteX1" fmla="*/ 249457 w 249456"/>
                <a:gd name="connsiteY1" fmla="*/ 170217 h 229918"/>
                <a:gd name="connsiteX2" fmla="*/ 14674 w 249456"/>
                <a:gd name="connsiteY2" fmla="*/ 196630 h 229918"/>
                <a:gd name="connsiteX3" fmla="*/ 0 w 249456"/>
                <a:gd name="connsiteY3" fmla="*/ 0 h 229918"/>
                <a:gd name="connsiteX4" fmla="*/ 228913 w 249456"/>
                <a:gd name="connsiteY4" fmla="*/ 2935 h 22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456" h="229918">
                  <a:moveTo>
                    <a:pt x="228913" y="2935"/>
                  </a:moveTo>
                  <a:cubicBezTo>
                    <a:pt x="228913" y="2935"/>
                    <a:pt x="237717" y="99783"/>
                    <a:pt x="249457" y="170217"/>
                  </a:cubicBezTo>
                  <a:cubicBezTo>
                    <a:pt x="249457" y="170217"/>
                    <a:pt x="176087" y="284674"/>
                    <a:pt x="14674" y="196630"/>
                  </a:cubicBezTo>
                  <a:cubicBezTo>
                    <a:pt x="5868" y="137935"/>
                    <a:pt x="5868" y="61631"/>
                    <a:pt x="0" y="0"/>
                  </a:cubicBezTo>
                  <a:cubicBezTo>
                    <a:pt x="0" y="0"/>
                    <a:pt x="181955" y="20544"/>
                    <a:pt x="228913" y="2935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9E0A1169-034D-4DAB-9DFC-A91A848183C3}"/>
                </a:ext>
              </a:extLst>
            </p:cNvPr>
            <p:cNvSpPr/>
            <p:nvPr/>
          </p:nvSpPr>
          <p:spPr>
            <a:xfrm>
              <a:off x="19009008" y="3475421"/>
              <a:ext cx="1141317" cy="1485589"/>
            </a:xfrm>
            <a:custGeom>
              <a:avLst/>
              <a:gdLst>
                <a:gd name="connsiteX0" fmla="*/ 281403 w 1141317"/>
                <a:gd name="connsiteY0" fmla="*/ 23478 h 1485589"/>
                <a:gd name="connsiteX1" fmla="*/ 516185 w 1141317"/>
                <a:gd name="connsiteY1" fmla="*/ 0 h 1485589"/>
                <a:gd name="connsiteX2" fmla="*/ 841947 w 1141317"/>
                <a:gd name="connsiteY2" fmla="*/ 58696 h 1485589"/>
                <a:gd name="connsiteX3" fmla="*/ 1141294 w 1141317"/>
                <a:gd name="connsiteY3" fmla="*/ 1235544 h 1485589"/>
                <a:gd name="connsiteX4" fmla="*/ 81838 w 1141317"/>
                <a:gd name="connsiteY4" fmla="*/ 1485000 h 1485589"/>
                <a:gd name="connsiteX5" fmla="*/ 11402 w 1141317"/>
                <a:gd name="connsiteY5" fmla="*/ 161413 h 1485589"/>
                <a:gd name="connsiteX6" fmla="*/ 281403 w 1141317"/>
                <a:gd name="connsiteY6" fmla="*/ 23478 h 148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1317" h="1485589">
                  <a:moveTo>
                    <a:pt x="281403" y="23478"/>
                  </a:moveTo>
                  <a:cubicBezTo>
                    <a:pt x="281403" y="23478"/>
                    <a:pt x="419338" y="99783"/>
                    <a:pt x="516185" y="0"/>
                  </a:cubicBezTo>
                  <a:cubicBezTo>
                    <a:pt x="516185" y="0"/>
                    <a:pt x="815534" y="32283"/>
                    <a:pt x="841947" y="58696"/>
                  </a:cubicBezTo>
                  <a:cubicBezTo>
                    <a:pt x="871295" y="85109"/>
                    <a:pt x="1144230" y="1170978"/>
                    <a:pt x="1141294" y="1235544"/>
                  </a:cubicBezTo>
                  <a:cubicBezTo>
                    <a:pt x="1141294" y="1235544"/>
                    <a:pt x="645316" y="1499674"/>
                    <a:pt x="81838" y="1485000"/>
                  </a:cubicBezTo>
                  <a:cubicBezTo>
                    <a:pt x="29012" y="1147500"/>
                    <a:pt x="-23814" y="196630"/>
                    <a:pt x="11402" y="161413"/>
                  </a:cubicBezTo>
                  <a:cubicBezTo>
                    <a:pt x="46620" y="123261"/>
                    <a:pt x="281403" y="23478"/>
                    <a:pt x="281403" y="23478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70CD9794-C850-4FA0-B429-1865A4CAE91C}"/>
                </a:ext>
              </a:extLst>
            </p:cNvPr>
            <p:cNvSpPr/>
            <p:nvPr/>
          </p:nvSpPr>
          <p:spPr>
            <a:xfrm>
              <a:off x="19673197" y="3512661"/>
              <a:ext cx="568084" cy="470478"/>
            </a:xfrm>
            <a:custGeom>
              <a:avLst/>
              <a:gdLst>
                <a:gd name="connsiteX0" fmla="*/ 415475 w 568084"/>
                <a:gd name="connsiteY0" fmla="*/ 470478 h 470478"/>
                <a:gd name="connsiteX1" fmla="*/ 1671 w 568084"/>
                <a:gd name="connsiteY1" fmla="*/ 65478 h 470478"/>
                <a:gd name="connsiteX2" fmla="*/ 568084 w 568084"/>
                <a:gd name="connsiteY2" fmla="*/ 91891 h 470478"/>
                <a:gd name="connsiteX3" fmla="*/ 415475 w 568084"/>
                <a:gd name="connsiteY3" fmla="*/ 470478 h 470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8084" h="470478">
                  <a:moveTo>
                    <a:pt x="415475" y="470478"/>
                  </a:moveTo>
                  <a:cubicBezTo>
                    <a:pt x="415475" y="470478"/>
                    <a:pt x="-30612" y="206348"/>
                    <a:pt x="1671" y="65478"/>
                  </a:cubicBezTo>
                  <a:cubicBezTo>
                    <a:pt x="39823" y="-95935"/>
                    <a:pt x="568084" y="91891"/>
                    <a:pt x="568084" y="91891"/>
                  </a:cubicBezTo>
                  <a:cubicBezTo>
                    <a:pt x="568084" y="91891"/>
                    <a:pt x="550474" y="314935"/>
                    <a:pt x="415475" y="470478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D2E648B7-AF72-45F3-8FC7-B8E9C8FFB71E}"/>
                </a:ext>
              </a:extLst>
            </p:cNvPr>
            <p:cNvSpPr/>
            <p:nvPr/>
          </p:nvSpPr>
          <p:spPr>
            <a:xfrm>
              <a:off x="19845086" y="3531182"/>
              <a:ext cx="130345" cy="516521"/>
            </a:xfrm>
            <a:custGeom>
              <a:avLst/>
              <a:gdLst>
                <a:gd name="connsiteX0" fmla="*/ 126195 w 130345"/>
                <a:gd name="connsiteY0" fmla="*/ 516522 h 516521"/>
                <a:gd name="connsiteX1" fmla="*/ 120325 w 130345"/>
                <a:gd name="connsiteY1" fmla="*/ 513587 h 516521"/>
                <a:gd name="connsiteX2" fmla="*/ 0 w 130345"/>
                <a:gd name="connsiteY2" fmla="*/ 5870 h 516521"/>
                <a:gd name="connsiteX3" fmla="*/ 2934 w 130345"/>
                <a:gd name="connsiteY3" fmla="*/ 0 h 516521"/>
                <a:gd name="connsiteX4" fmla="*/ 8804 w 130345"/>
                <a:gd name="connsiteY4" fmla="*/ 2935 h 516521"/>
                <a:gd name="connsiteX5" fmla="*/ 129129 w 130345"/>
                <a:gd name="connsiteY5" fmla="*/ 510652 h 516521"/>
                <a:gd name="connsiteX6" fmla="*/ 126195 w 130345"/>
                <a:gd name="connsiteY6" fmla="*/ 516522 h 516521"/>
                <a:gd name="connsiteX7" fmla="*/ 126195 w 130345"/>
                <a:gd name="connsiteY7" fmla="*/ 516522 h 516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0345" h="516521">
                  <a:moveTo>
                    <a:pt x="126195" y="516522"/>
                  </a:moveTo>
                  <a:cubicBezTo>
                    <a:pt x="123261" y="516522"/>
                    <a:pt x="120325" y="513587"/>
                    <a:pt x="120325" y="513587"/>
                  </a:cubicBezTo>
                  <a:cubicBezTo>
                    <a:pt x="120325" y="507717"/>
                    <a:pt x="14674" y="41087"/>
                    <a:pt x="0" y="5870"/>
                  </a:cubicBezTo>
                  <a:cubicBezTo>
                    <a:pt x="0" y="2935"/>
                    <a:pt x="0" y="0"/>
                    <a:pt x="2934" y="0"/>
                  </a:cubicBezTo>
                  <a:cubicBezTo>
                    <a:pt x="5870" y="0"/>
                    <a:pt x="8804" y="0"/>
                    <a:pt x="8804" y="2935"/>
                  </a:cubicBezTo>
                  <a:cubicBezTo>
                    <a:pt x="23478" y="41087"/>
                    <a:pt x="126195" y="493043"/>
                    <a:pt x="129129" y="510652"/>
                  </a:cubicBezTo>
                  <a:cubicBezTo>
                    <a:pt x="132065" y="513587"/>
                    <a:pt x="129129" y="516522"/>
                    <a:pt x="126195" y="516522"/>
                  </a:cubicBezTo>
                  <a:cubicBezTo>
                    <a:pt x="126195" y="516522"/>
                    <a:pt x="126195" y="516522"/>
                    <a:pt x="126195" y="516522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AAC4E0D1-044F-4D01-B130-A65DD1BBF26B}"/>
                </a:ext>
              </a:extLst>
            </p:cNvPr>
            <p:cNvSpPr/>
            <p:nvPr/>
          </p:nvSpPr>
          <p:spPr>
            <a:xfrm>
              <a:off x="19187694" y="3217160"/>
              <a:ext cx="67499" cy="132065"/>
            </a:xfrm>
            <a:custGeom>
              <a:avLst/>
              <a:gdLst>
                <a:gd name="connsiteX0" fmla="*/ 0 w 67499"/>
                <a:gd name="connsiteY0" fmla="*/ 0 h 132065"/>
                <a:gd name="connsiteX1" fmla="*/ 67500 w 67499"/>
                <a:gd name="connsiteY1" fmla="*/ 132065 h 132065"/>
                <a:gd name="connsiteX2" fmla="*/ 67500 w 67499"/>
                <a:gd name="connsiteY2" fmla="*/ 49891 h 132065"/>
                <a:gd name="connsiteX3" fmla="*/ 0 w 67499"/>
                <a:gd name="connsiteY3" fmla="*/ 0 h 132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499" h="132065">
                  <a:moveTo>
                    <a:pt x="0" y="0"/>
                  </a:moveTo>
                  <a:cubicBezTo>
                    <a:pt x="0" y="0"/>
                    <a:pt x="17610" y="114457"/>
                    <a:pt x="67500" y="132065"/>
                  </a:cubicBezTo>
                  <a:lnTo>
                    <a:pt x="67500" y="498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5A137797-10DE-4945-94CC-91E7967F506F}"/>
                </a:ext>
              </a:extLst>
            </p:cNvPr>
            <p:cNvSpPr/>
            <p:nvPr/>
          </p:nvSpPr>
          <p:spPr>
            <a:xfrm>
              <a:off x="19522260" y="3002921"/>
              <a:ext cx="104229" cy="232356"/>
            </a:xfrm>
            <a:custGeom>
              <a:avLst/>
              <a:gdLst>
                <a:gd name="connsiteX0" fmla="*/ 93913 w 104229"/>
                <a:gd name="connsiteY0" fmla="*/ 0 h 232356"/>
                <a:gd name="connsiteX1" fmla="*/ 61630 w 104229"/>
                <a:gd name="connsiteY1" fmla="*/ 228913 h 232356"/>
                <a:gd name="connsiteX2" fmla="*/ 0 w 104229"/>
                <a:gd name="connsiteY2" fmla="*/ 17609 h 232356"/>
                <a:gd name="connsiteX3" fmla="*/ 93913 w 104229"/>
                <a:gd name="connsiteY3" fmla="*/ 0 h 232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229" h="232356">
                  <a:moveTo>
                    <a:pt x="93913" y="0"/>
                  </a:moveTo>
                  <a:cubicBezTo>
                    <a:pt x="93913" y="0"/>
                    <a:pt x="132065" y="187826"/>
                    <a:pt x="61630" y="228913"/>
                  </a:cubicBezTo>
                  <a:cubicBezTo>
                    <a:pt x="2934" y="264130"/>
                    <a:pt x="0" y="17609"/>
                    <a:pt x="0" y="17609"/>
                  </a:cubicBezTo>
                  <a:lnTo>
                    <a:pt x="93913" y="0"/>
                  </a:ln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9C4061EB-65F8-4B0B-9C40-A957B1AE9514}"/>
                </a:ext>
              </a:extLst>
            </p:cNvPr>
            <p:cNvSpPr/>
            <p:nvPr/>
          </p:nvSpPr>
          <p:spPr>
            <a:xfrm>
              <a:off x="19184533" y="2880056"/>
              <a:ext cx="410852" cy="546772"/>
            </a:xfrm>
            <a:custGeom>
              <a:avLst/>
              <a:gdLst>
                <a:gd name="connsiteX0" fmla="*/ 393486 w 410852"/>
                <a:gd name="connsiteY0" fmla="*/ 166887 h 546772"/>
                <a:gd name="connsiteX1" fmla="*/ 405226 w 410852"/>
                <a:gd name="connsiteY1" fmla="*/ 407539 h 546772"/>
                <a:gd name="connsiteX2" fmla="*/ 258487 w 410852"/>
                <a:gd name="connsiteY2" fmla="*/ 545474 h 546772"/>
                <a:gd name="connsiteX3" fmla="*/ 44248 w 410852"/>
                <a:gd name="connsiteY3" fmla="*/ 416344 h 546772"/>
                <a:gd name="connsiteX4" fmla="*/ 226 w 410852"/>
                <a:gd name="connsiteY4" fmla="*/ 202104 h 546772"/>
                <a:gd name="connsiteX5" fmla="*/ 196857 w 410852"/>
                <a:gd name="connsiteY5" fmla="*/ 2539 h 546772"/>
                <a:gd name="connsiteX6" fmla="*/ 393486 w 410852"/>
                <a:gd name="connsiteY6" fmla="*/ 166887 h 546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0852" h="546772">
                  <a:moveTo>
                    <a:pt x="393486" y="166887"/>
                  </a:moveTo>
                  <a:cubicBezTo>
                    <a:pt x="393486" y="166887"/>
                    <a:pt x="422834" y="337104"/>
                    <a:pt x="405226" y="407539"/>
                  </a:cubicBezTo>
                  <a:cubicBezTo>
                    <a:pt x="390552" y="472104"/>
                    <a:pt x="305443" y="539605"/>
                    <a:pt x="258487" y="545474"/>
                  </a:cubicBezTo>
                  <a:cubicBezTo>
                    <a:pt x="193921" y="554278"/>
                    <a:pt x="79466" y="519061"/>
                    <a:pt x="44248" y="416344"/>
                  </a:cubicBezTo>
                  <a:cubicBezTo>
                    <a:pt x="20770" y="345909"/>
                    <a:pt x="226" y="249061"/>
                    <a:pt x="226" y="202104"/>
                  </a:cubicBezTo>
                  <a:cubicBezTo>
                    <a:pt x="-2709" y="111126"/>
                    <a:pt x="20770" y="34822"/>
                    <a:pt x="196857" y="2539"/>
                  </a:cubicBezTo>
                  <a:cubicBezTo>
                    <a:pt x="276095" y="-18004"/>
                    <a:pt x="372944" y="90583"/>
                    <a:pt x="393486" y="166887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53144D93-8579-400E-B469-5430CFE95842}"/>
                </a:ext>
              </a:extLst>
            </p:cNvPr>
            <p:cNvSpPr/>
            <p:nvPr/>
          </p:nvSpPr>
          <p:spPr>
            <a:xfrm>
              <a:off x="19407802" y="3132052"/>
              <a:ext cx="52825" cy="129130"/>
            </a:xfrm>
            <a:custGeom>
              <a:avLst/>
              <a:gdLst>
                <a:gd name="connsiteX0" fmla="*/ 23478 w 52825"/>
                <a:gd name="connsiteY0" fmla="*/ 129130 h 129130"/>
                <a:gd name="connsiteX1" fmla="*/ 5870 w 52825"/>
                <a:gd name="connsiteY1" fmla="*/ 129130 h 129130"/>
                <a:gd name="connsiteX2" fmla="*/ 0 w 52825"/>
                <a:gd name="connsiteY2" fmla="*/ 123261 h 129130"/>
                <a:gd name="connsiteX3" fmla="*/ 5870 w 52825"/>
                <a:gd name="connsiteY3" fmla="*/ 117391 h 129130"/>
                <a:gd name="connsiteX4" fmla="*/ 44022 w 52825"/>
                <a:gd name="connsiteY4" fmla="*/ 114457 h 129130"/>
                <a:gd name="connsiteX5" fmla="*/ 44022 w 52825"/>
                <a:gd name="connsiteY5" fmla="*/ 111522 h 129130"/>
                <a:gd name="connsiteX6" fmla="*/ 23478 w 52825"/>
                <a:gd name="connsiteY6" fmla="*/ 5870 h 129130"/>
                <a:gd name="connsiteX7" fmla="*/ 26414 w 52825"/>
                <a:gd name="connsiteY7" fmla="*/ 0 h 129130"/>
                <a:gd name="connsiteX8" fmla="*/ 32284 w 52825"/>
                <a:gd name="connsiteY8" fmla="*/ 2935 h 129130"/>
                <a:gd name="connsiteX9" fmla="*/ 52826 w 52825"/>
                <a:gd name="connsiteY9" fmla="*/ 111522 h 129130"/>
                <a:gd name="connsiteX10" fmla="*/ 46958 w 52825"/>
                <a:gd name="connsiteY10" fmla="*/ 123261 h 129130"/>
                <a:gd name="connsiteX11" fmla="*/ 23478 w 52825"/>
                <a:gd name="connsiteY11" fmla="*/ 129130 h 129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825" h="129130">
                  <a:moveTo>
                    <a:pt x="23478" y="129130"/>
                  </a:moveTo>
                  <a:cubicBezTo>
                    <a:pt x="14674" y="129130"/>
                    <a:pt x="8804" y="129130"/>
                    <a:pt x="5870" y="129130"/>
                  </a:cubicBezTo>
                  <a:cubicBezTo>
                    <a:pt x="2936" y="129130"/>
                    <a:pt x="0" y="126196"/>
                    <a:pt x="0" y="123261"/>
                  </a:cubicBezTo>
                  <a:cubicBezTo>
                    <a:pt x="0" y="120326"/>
                    <a:pt x="2936" y="117391"/>
                    <a:pt x="5870" y="117391"/>
                  </a:cubicBezTo>
                  <a:cubicBezTo>
                    <a:pt x="17610" y="120326"/>
                    <a:pt x="38152" y="120326"/>
                    <a:pt x="44022" y="114457"/>
                  </a:cubicBezTo>
                  <a:cubicBezTo>
                    <a:pt x="44022" y="114457"/>
                    <a:pt x="44022" y="111522"/>
                    <a:pt x="44022" y="111522"/>
                  </a:cubicBezTo>
                  <a:cubicBezTo>
                    <a:pt x="44022" y="93913"/>
                    <a:pt x="23478" y="5870"/>
                    <a:pt x="23478" y="5870"/>
                  </a:cubicBezTo>
                  <a:cubicBezTo>
                    <a:pt x="23478" y="2935"/>
                    <a:pt x="23478" y="0"/>
                    <a:pt x="26414" y="0"/>
                  </a:cubicBezTo>
                  <a:cubicBezTo>
                    <a:pt x="29348" y="0"/>
                    <a:pt x="32284" y="0"/>
                    <a:pt x="32284" y="2935"/>
                  </a:cubicBezTo>
                  <a:cubicBezTo>
                    <a:pt x="32284" y="5870"/>
                    <a:pt x="52826" y="90978"/>
                    <a:pt x="52826" y="111522"/>
                  </a:cubicBezTo>
                  <a:cubicBezTo>
                    <a:pt x="52826" y="117391"/>
                    <a:pt x="52826" y="120326"/>
                    <a:pt x="46958" y="123261"/>
                  </a:cubicBezTo>
                  <a:cubicBezTo>
                    <a:pt x="46958" y="129130"/>
                    <a:pt x="35218" y="129130"/>
                    <a:pt x="23478" y="129130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303C5021-1104-45E2-B373-F22D062D591D}"/>
                </a:ext>
              </a:extLst>
            </p:cNvPr>
            <p:cNvSpPr/>
            <p:nvPr/>
          </p:nvSpPr>
          <p:spPr>
            <a:xfrm>
              <a:off x="19489228" y="3105063"/>
              <a:ext cx="39476" cy="39303"/>
            </a:xfrm>
            <a:custGeom>
              <a:avLst/>
              <a:gdLst>
                <a:gd name="connsiteX0" fmla="*/ 748 w 39476"/>
                <a:gd name="connsiteY0" fmla="*/ 24054 h 39303"/>
                <a:gd name="connsiteX1" fmla="*/ 24227 w 39476"/>
                <a:gd name="connsiteY1" fmla="*/ 38728 h 39303"/>
                <a:gd name="connsiteX2" fmla="*/ 38901 w 39476"/>
                <a:gd name="connsiteY2" fmla="*/ 15250 h 39303"/>
                <a:gd name="connsiteX3" fmla="*/ 15421 w 39476"/>
                <a:gd name="connsiteY3" fmla="*/ 576 h 39303"/>
                <a:gd name="connsiteX4" fmla="*/ 748 w 39476"/>
                <a:gd name="connsiteY4" fmla="*/ 24054 h 39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76" h="39303">
                  <a:moveTo>
                    <a:pt x="748" y="24054"/>
                  </a:moveTo>
                  <a:cubicBezTo>
                    <a:pt x="3683" y="32858"/>
                    <a:pt x="12487" y="41663"/>
                    <a:pt x="24227" y="38728"/>
                  </a:cubicBezTo>
                  <a:cubicBezTo>
                    <a:pt x="33031" y="35793"/>
                    <a:pt x="41835" y="26989"/>
                    <a:pt x="38901" y="15250"/>
                  </a:cubicBezTo>
                  <a:cubicBezTo>
                    <a:pt x="35965" y="6445"/>
                    <a:pt x="27161" y="-2359"/>
                    <a:pt x="15421" y="576"/>
                  </a:cubicBezTo>
                  <a:cubicBezTo>
                    <a:pt x="3683" y="3510"/>
                    <a:pt x="-2187" y="15250"/>
                    <a:pt x="748" y="24054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64F5FA70-003C-4D25-912E-C11F775EC927}"/>
                </a:ext>
              </a:extLst>
            </p:cNvPr>
            <p:cNvSpPr/>
            <p:nvPr/>
          </p:nvSpPr>
          <p:spPr>
            <a:xfrm>
              <a:off x="19313141" y="3131476"/>
              <a:ext cx="39476" cy="39303"/>
            </a:xfrm>
            <a:custGeom>
              <a:avLst/>
              <a:gdLst>
                <a:gd name="connsiteX0" fmla="*/ 748 w 39476"/>
                <a:gd name="connsiteY0" fmla="*/ 24054 h 39303"/>
                <a:gd name="connsiteX1" fmla="*/ 24227 w 39476"/>
                <a:gd name="connsiteY1" fmla="*/ 38728 h 39303"/>
                <a:gd name="connsiteX2" fmla="*/ 38901 w 39476"/>
                <a:gd name="connsiteY2" fmla="*/ 15250 h 39303"/>
                <a:gd name="connsiteX3" fmla="*/ 15421 w 39476"/>
                <a:gd name="connsiteY3" fmla="*/ 576 h 39303"/>
                <a:gd name="connsiteX4" fmla="*/ 748 w 39476"/>
                <a:gd name="connsiteY4" fmla="*/ 24054 h 39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76" h="39303">
                  <a:moveTo>
                    <a:pt x="748" y="24054"/>
                  </a:moveTo>
                  <a:cubicBezTo>
                    <a:pt x="3683" y="32858"/>
                    <a:pt x="12487" y="41663"/>
                    <a:pt x="24227" y="38728"/>
                  </a:cubicBezTo>
                  <a:cubicBezTo>
                    <a:pt x="33031" y="35793"/>
                    <a:pt x="41835" y="26989"/>
                    <a:pt x="38901" y="15250"/>
                  </a:cubicBezTo>
                  <a:cubicBezTo>
                    <a:pt x="35965" y="6445"/>
                    <a:pt x="27161" y="-2359"/>
                    <a:pt x="15421" y="576"/>
                  </a:cubicBezTo>
                  <a:cubicBezTo>
                    <a:pt x="3683" y="3511"/>
                    <a:pt x="-2187" y="12315"/>
                    <a:pt x="748" y="24054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D4658675-0BD9-49B4-B810-5FD4DDA03608}"/>
                </a:ext>
              </a:extLst>
            </p:cNvPr>
            <p:cNvSpPr/>
            <p:nvPr/>
          </p:nvSpPr>
          <p:spPr>
            <a:xfrm>
              <a:off x="19459413" y="3057126"/>
              <a:ext cx="88525" cy="30904"/>
            </a:xfrm>
            <a:custGeom>
              <a:avLst/>
              <a:gdLst>
                <a:gd name="connsiteX0" fmla="*/ 83391 w 88525"/>
                <a:gd name="connsiteY0" fmla="*/ 30904 h 30904"/>
                <a:gd name="connsiteX1" fmla="*/ 77521 w 88525"/>
                <a:gd name="connsiteY1" fmla="*/ 27969 h 30904"/>
                <a:gd name="connsiteX2" fmla="*/ 12955 w 88525"/>
                <a:gd name="connsiteY2" fmla="*/ 25035 h 30904"/>
                <a:gd name="connsiteX3" fmla="*/ 1215 w 88525"/>
                <a:gd name="connsiteY3" fmla="*/ 22100 h 30904"/>
                <a:gd name="connsiteX4" fmla="*/ 4151 w 88525"/>
                <a:gd name="connsiteY4" fmla="*/ 10361 h 30904"/>
                <a:gd name="connsiteX5" fmla="*/ 86325 w 88525"/>
                <a:gd name="connsiteY5" fmla="*/ 16230 h 30904"/>
                <a:gd name="connsiteX6" fmla="*/ 86325 w 88525"/>
                <a:gd name="connsiteY6" fmla="*/ 27969 h 30904"/>
                <a:gd name="connsiteX7" fmla="*/ 83391 w 88525"/>
                <a:gd name="connsiteY7" fmla="*/ 30904 h 3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0904">
                  <a:moveTo>
                    <a:pt x="83391" y="30904"/>
                  </a:moveTo>
                  <a:cubicBezTo>
                    <a:pt x="80455" y="30904"/>
                    <a:pt x="80455" y="30904"/>
                    <a:pt x="77521" y="27969"/>
                  </a:cubicBezTo>
                  <a:cubicBezTo>
                    <a:pt x="51107" y="1556"/>
                    <a:pt x="15889" y="22100"/>
                    <a:pt x="12955" y="25035"/>
                  </a:cubicBezTo>
                  <a:cubicBezTo>
                    <a:pt x="10021" y="27969"/>
                    <a:pt x="4151" y="25035"/>
                    <a:pt x="1215" y="22100"/>
                  </a:cubicBezTo>
                  <a:cubicBezTo>
                    <a:pt x="-1719" y="19165"/>
                    <a:pt x="1215" y="13295"/>
                    <a:pt x="4151" y="10361"/>
                  </a:cubicBezTo>
                  <a:cubicBezTo>
                    <a:pt x="21759" y="1556"/>
                    <a:pt x="59911" y="-10183"/>
                    <a:pt x="86325" y="16230"/>
                  </a:cubicBezTo>
                  <a:cubicBezTo>
                    <a:pt x="89259" y="19165"/>
                    <a:pt x="89259" y="25035"/>
                    <a:pt x="86325" y="27969"/>
                  </a:cubicBezTo>
                  <a:cubicBezTo>
                    <a:pt x="86325" y="30904"/>
                    <a:pt x="86325" y="30904"/>
                    <a:pt x="83391" y="30904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8EE58A2D-55A8-4F08-B7A0-5D8B76EB1A7F}"/>
                </a:ext>
              </a:extLst>
            </p:cNvPr>
            <p:cNvSpPr/>
            <p:nvPr/>
          </p:nvSpPr>
          <p:spPr>
            <a:xfrm>
              <a:off x="19279407" y="3065636"/>
              <a:ext cx="88525" cy="37068"/>
            </a:xfrm>
            <a:custGeom>
              <a:avLst/>
              <a:gdLst>
                <a:gd name="connsiteX0" fmla="*/ 8070 w 88525"/>
                <a:gd name="connsiteY0" fmla="*/ 37068 h 37068"/>
                <a:gd name="connsiteX1" fmla="*/ 2201 w 88525"/>
                <a:gd name="connsiteY1" fmla="*/ 34133 h 37068"/>
                <a:gd name="connsiteX2" fmla="*/ 2201 w 88525"/>
                <a:gd name="connsiteY2" fmla="*/ 22394 h 37068"/>
                <a:gd name="connsiteX3" fmla="*/ 84374 w 88525"/>
                <a:gd name="connsiteY3" fmla="*/ 10655 h 37068"/>
                <a:gd name="connsiteX4" fmla="*/ 87310 w 88525"/>
                <a:gd name="connsiteY4" fmla="*/ 22394 h 37068"/>
                <a:gd name="connsiteX5" fmla="*/ 75570 w 88525"/>
                <a:gd name="connsiteY5" fmla="*/ 25329 h 37068"/>
                <a:gd name="connsiteX6" fmla="*/ 11005 w 88525"/>
                <a:gd name="connsiteY6" fmla="*/ 34133 h 37068"/>
                <a:gd name="connsiteX7" fmla="*/ 8070 w 88525"/>
                <a:gd name="connsiteY7" fmla="*/ 37068 h 37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7068">
                  <a:moveTo>
                    <a:pt x="8070" y="37068"/>
                  </a:moveTo>
                  <a:cubicBezTo>
                    <a:pt x="5135" y="37068"/>
                    <a:pt x="5135" y="37068"/>
                    <a:pt x="2201" y="34133"/>
                  </a:cubicBezTo>
                  <a:cubicBezTo>
                    <a:pt x="-734" y="31199"/>
                    <a:pt x="-734" y="25329"/>
                    <a:pt x="2201" y="22394"/>
                  </a:cubicBezTo>
                  <a:cubicBezTo>
                    <a:pt x="13940" y="7720"/>
                    <a:pt x="46222" y="-12823"/>
                    <a:pt x="84374" y="10655"/>
                  </a:cubicBezTo>
                  <a:cubicBezTo>
                    <a:pt x="87310" y="13590"/>
                    <a:pt x="90244" y="16525"/>
                    <a:pt x="87310" y="22394"/>
                  </a:cubicBezTo>
                  <a:cubicBezTo>
                    <a:pt x="84374" y="25329"/>
                    <a:pt x="81440" y="28264"/>
                    <a:pt x="75570" y="25329"/>
                  </a:cubicBezTo>
                  <a:cubicBezTo>
                    <a:pt x="40352" y="4785"/>
                    <a:pt x="13940" y="34133"/>
                    <a:pt x="11005" y="34133"/>
                  </a:cubicBezTo>
                  <a:cubicBezTo>
                    <a:pt x="11005" y="34133"/>
                    <a:pt x="8070" y="37068"/>
                    <a:pt x="8070" y="37068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F6E1C0C1-E42D-4E7A-8CD0-159A060D3AB2}"/>
                </a:ext>
              </a:extLst>
            </p:cNvPr>
            <p:cNvSpPr/>
            <p:nvPr/>
          </p:nvSpPr>
          <p:spPr>
            <a:xfrm>
              <a:off x="19284541" y="3372704"/>
              <a:ext cx="222310" cy="55760"/>
            </a:xfrm>
            <a:custGeom>
              <a:avLst/>
              <a:gdLst>
                <a:gd name="connsiteX0" fmla="*/ 140871 w 222310"/>
                <a:gd name="connsiteY0" fmla="*/ 55761 h 55760"/>
                <a:gd name="connsiteX1" fmla="*/ 2936 w 222310"/>
                <a:gd name="connsiteY1" fmla="*/ 11739 h 55760"/>
                <a:gd name="connsiteX2" fmla="*/ 0 w 222310"/>
                <a:gd name="connsiteY2" fmla="*/ 2935 h 55760"/>
                <a:gd name="connsiteX3" fmla="*/ 8806 w 222310"/>
                <a:gd name="connsiteY3" fmla="*/ 0 h 55760"/>
                <a:gd name="connsiteX4" fmla="*/ 143805 w 222310"/>
                <a:gd name="connsiteY4" fmla="*/ 44022 h 55760"/>
                <a:gd name="connsiteX5" fmla="*/ 211305 w 222310"/>
                <a:gd name="connsiteY5" fmla="*/ 17609 h 55760"/>
                <a:gd name="connsiteX6" fmla="*/ 220109 w 222310"/>
                <a:gd name="connsiteY6" fmla="*/ 17609 h 55760"/>
                <a:gd name="connsiteX7" fmla="*/ 220109 w 222310"/>
                <a:gd name="connsiteY7" fmla="*/ 26413 h 55760"/>
                <a:gd name="connsiteX8" fmla="*/ 146739 w 222310"/>
                <a:gd name="connsiteY8" fmla="*/ 55761 h 55760"/>
                <a:gd name="connsiteX9" fmla="*/ 140871 w 222310"/>
                <a:gd name="connsiteY9" fmla="*/ 55761 h 55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310" h="55760">
                  <a:moveTo>
                    <a:pt x="140871" y="55761"/>
                  </a:moveTo>
                  <a:cubicBezTo>
                    <a:pt x="90979" y="55761"/>
                    <a:pt x="5870" y="11739"/>
                    <a:pt x="2936" y="11739"/>
                  </a:cubicBezTo>
                  <a:cubicBezTo>
                    <a:pt x="0" y="11739"/>
                    <a:pt x="0" y="5870"/>
                    <a:pt x="0" y="2935"/>
                  </a:cubicBezTo>
                  <a:cubicBezTo>
                    <a:pt x="0" y="0"/>
                    <a:pt x="5870" y="0"/>
                    <a:pt x="8806" y="0"/>
                  </a:cubicBezTo>
                  <a:cubicBezTo>
                    <a:pt x="8806" y="0"/>
                    <a:pt x="99783" y="44022"/>
                    <a:pt x="143805" y="44022"/>
                  </a:cubicBezTo>
                  <a:cubicBezTo>
                    <a:pt x="181957" y="41087"/>
                    <a:pt x="211305" y="17609"/>
                    <a:pt x="211305" y="17609"/>
                  </a:cubicBezTo>
                  <a:cubicBezTo>
                    <a:pt x="214241" y="14674"/>
                    <a:pt x="217175" y="14674"/>
                    <a:pt x="220109" y="17609"/>
                  </a:cubicBezTo>
                  <a:cubicBezTo>
                    <a:pt x="223045" y="20544"/>
                    <a:pt x="223045" y="23478"/>
                    <a:pt x="220109" y="26413"/>
                  </a:cubicBezTo>
                  <a:cubicBezTo>
                    <a:pt x="220109" y="26413"/>
                    <a:pt x="187827" y="52826"/>
                    <a:pt x="146739" y="55761"/>
                  </a:cubicBezTo>
                  <a:cubicBezTo>
                    <a:pt x="143805" y="55761"/>
                    <a:pt x="143805" y="55761"/>
                    <a:pt x="140871" y="55761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9B026C3D-8C8C-4539-A9D7-773793C2CFCB}"/>
                </a:ext>
              </a:extLst>
            </p:cNvPr>
            <p:cNvSpPr/>
            <p:nvPr/>
          </p:nvSpPr>
          <p:spPr>
            <a:xfrm>
              <a:off x="19148833" y="3135968"/>
              <a:ext cx="76297" cy="108224"/>
            </a:xfrm>
            <a:custGeom>
              <a:avLst/>
              <a:gdLst>
                <a:gd name="connsiteX0" fmla="*/ 62338 w 76297"/>
                <a:gd name="connsiteY0" fmla="*/ 13693 h 108224"/>
                <a:gd name="connsiteX1" fmla="*/ 6579 w 76297"/>
                <a:gd name="connsiteY1" fmla="*/ 7823 h 108224"/>
                <a:gd name="connsiteX2" fmla="*/ 65274 w 76297"/>
                <a:gd name="connsiteY2" fmla="*/ 104671 h 108224"/>
                <a:gd name="connsiteX3" fmla="*/ 62338 w 76297"/>
                <a:gd name="connsiteY3" fmla="*/ 13693 h 108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97" h="108224">
                  <a:moveTo>
                    <a:pt x="62338" y="13693"/>
                  </a:moveTo>
                  <a:cubicBezTo>
                    <a:pt x="62338" y="13693"/>
                    <a:pt x="30057" y="-12721"/>
                    <a:pt x="6579" y="7823"/>
                  </a:cubicBezTo>
                  <a:cubicBezTo>
                    <a:pt x="-16899" y="28366"/>
                    <a:pt x="27122" y="128149"/>
                    <a:pt x="65274" y="104671"/>
                  </a:cubicBezTo>
                  <a:cubicBezTo>
                    <a:pt x="91686" y="84127"/>
                    <a:pt x="62338" y="13693"/>
                    <a:pt x="62338" y="13693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AE9A7FA5-8C32-4B9E-B4F0-568A7C78C66F}"/>
                </a:ext>
              </a:extLst>
            </p:cNvPr>
            <p:cNvSpPr/>
            <p:nvPr/>
          </p:nvSpPr>
          <p:spPr>
            <a:xfrm>
              <a:off x="19143126" y="2765291"/>
              <a:ext cx="496762" cy="401978"/>
            </a:xfrm>
            <a:custGeom>
              <a:avLst/>
              <a:gdLst>
                <a:gd name="connsiteX0" fmla="*/ 9350 w 496762"/>
                <a:gd name="connsiteY0" fmla="*/ 308065 h 401978"/>
                <a:gd name="connsiteX1" fmla="*/ 68046 w 496762"/>
                <a:gd name="connsiteY1" fmla="*/ 401978 h 401978"/>
                <a:gd name="connsiteX2" fmla="*/ 109133 w 496762"/>
                <a:gd name="connsiteY2" fmla="*/ 264043 h 401978"/>
                <a:gd name="connsiteX3" fmla="*/ 117937 w 496762"/>
                <a:gd name="connsiteY3" fmla="*/ 261109 h 401978"/>
                <a:gd name="connsiteX4" fmla="*/ 191307 w 496762"/>
                <a:gd name="connsiteY4" fmla="*/ 231761 h 401978"/>
                <a:gd name="connsiteX5" fmla="*/ 203047 w 496762"/>
                <a:gd name="connsiteY5" fmla="*/ 228826 h 401978"/>
                <a:gd name="connsiteX6" fmla="*/ 238264 w 496762"/>
                <a:gd name="connsiteY6" fmla="*/ 249369 h 401978"/>
                <a:gd name="connsiteX7" fmla="*/ 252938 w 496762"/>
                <a:gd name="connsiteY7" fmla="*/ 237630 h 401978"/>
                <a:gd name="connsiteX8" fmla="*/ 302828 w 496762"/>
                <a:gd name="connsiteY8" fmla="*/ 252304 h 401978"/>
                <a:gd name="connsiteX9" fmla="*/ 338046 w 496762"/>
                <a:gd name="connsiteY9" fmla="*/ 258174 h 401978"/>
                <a:gd name="connsiteX10" fmla="*/ 349786 w 496762"/>
                <a:gd name="connsiteY10" fmla="*/ 255239 h 401978"/>
                <a:gd name="connsiteX11" fmla="*/ 361524 w 496762"/>
                <a:gd name="connsiteY11" fmla="*/ 252304 h 401978"/>
                <a:gd name="connsiteX12" fmla="*/ 370330 w 496762"/>
                <a:gd name="connsiteY12" fmla="*/ 255239 h 401978"/>
                <a:gd name="connsiteX13" fmla="*/ 376198 w 496762"/>
                <a:gd name="connsiteY13" fmla="*/ 258174 h 401978"/>
                <a:gd name="connsiteX14" fmla="*/ 382068 w 496762"/>
                <a:gd name="connsiteY14" fmla="*/ 258174 h 401978"/>
                <a:gd name="connsiteX15" fmla="*/ 390872 w 496762"/>
                <a:gd name="connsiteY15" fmla="*/ 261109 h 401978"/>
                <a:gd name="connsiteX16" fmla="*/ 396742 w 496762"/>
                <a:gd name="connsiteY16" fmla="*/ 269913 h 401978"/>
                <a:gd name="connsiteX17" fmla="*/ 414351 w 496762"/>
                <a:gd name="connsiteY17" fmla="*/ 290456 h 401978"/>
                <a:gd name="connsiteX18" fmla="*/ 443699 w 496762"/>
                <a:gd name="connsiteY18" fmla="*/ 299261 h 401978"/>
                <a:gd name="connsiteX19" fmla="*/ 464241 w 496762"/>
                <a:gd name="connsiteY19" fmla="*/ 352087 h 401978"/>
                <a:gd name="connsiteX20" fmla="*/ 470111 w 496762"/>
                <a:gd name="connsiteY20" fmla="*/ 322739 h 401978"/>
                <a:gd name="connsiteX21" fmla="*/ 478915 w 496762"/>
                <a:gd name="connsiteY21" fmla="*/ 319804 h 401978"/>
                <a:gd name="connsiteX22" fmla="*/ 490655 w 496762"/>
                <a:gd name="connsiteY22" fmla="*/ 225891 h 401978"/>
                <a:gd name="connsiteX23" fmla="*/ 470111 w 496762"/>
                <a:gd name="connsiteY23" fmla="*/ 184804 h 401978"/>
                <a:gd name="connsiteX24" fmla="*/ 473047 w 496762"/>
                <a:gd name="connsiteY24" fmla="*/ 149587 h 401978"/>
                <a:gd name="connsiteX25" fmla="*/ 464241 w 496762"/>
                <a:gd name="connsiteY25" fmla="*/ 117304 h 401978"/>
                <a:gd name="connsiteX26" fmla="*/ 443699 w 496762"/>
                <a:gd name="connsiteY26" fmla="*/ 90891 h 401978"/>
                <a:gd name="connsiteX27" fmla="*/ 426089 w 496762"/>
                <a:gd name="connsiteY27" fmla="*/ 49804 h 401978"/>
                <a:gd name="connsiteX28" fmla="*/ 367394 w 496762"/>
                <a:gd name="connsiteY28" fmla="*/ 32196 h 401978"/>
                <a:gd name="connsiteX29" fmla="*/ 247068 w 496762"/>
                <a:gd name="connsiteY29" fmla="*/ 2848 h 401978"/>
                <a:gd name="connsiteX30" fmla="*/ 235328 w 496762"/>
                <a:gd name="connsiteY30" fmla="*/ 8717 h 401978"/>
                <a:gd name="connsiteX31" fmla="*/ 182503 w 496762"/>
                <a:gd name="connsiteY31" fmla="*/ 23391 h 401978"/>
                <a:gd name="connsiteX32" fmla="*/ 150221 w 496762"/>
                <a:gd name="connsiteY32" fmla="*/ 26326 h 401978"/>
                <a:gd name="connsiteX33" fmla="*/ 123807 w 496762"/>
                <a:gd name="connsiteY33" fmla="*/ 58609 h 401978"/>
                <a:gd name="connsiteX34" fmla="*/ 112067 w 496762"/>
                <a:gd name="connsiteY34" fmla="*/ 79152 h 401978"/>
                <a:gd name="connsiteX35" fmla="*/ 82719 w 496762"/>
                <a:gd name="connsiteY35" fmla="*/ 99696 h 401978"/>
                <a:gd name="connsiteX36" fmla="*/ 70981 w 496762"/>
                <a:gd name="connsiteY36" fmla="*/ 96761 h 401978"/>
                <a:gd name="connsiteX37" fmla="*/ 56307 w 496762"/>
                <a:gd name="connsiteY37" fmla="*/ 137848 h 401978"/>
                <a:gd name="connsiteX38" fmla="*/ 9350 w 496762"/>
                <a:gd name="connsiteY38" fmla="*/ 308065 h 401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96762" h="401978">
                  <a:moveTo>
                    <a:pt x="9350" y="308065"/>
                  </a:moveTo>
                  <a:cubicBezTo>
                    <a:pt x="24024" y="360891"/>
                    <a:pt x="68046" y="401978"/>
                    <a:pt x="68046" y="401978"/>
                  </a:cubicBezTo>
                  <a:cubicBezTo>
                    <a:pt x="59242" y="372630"/>
                    <a:pt x="109133" y="264043"/>
                    <a:pt x="109133" y="264043"/>
                  </a:cubicBezTo>
                  <a:cubicBezTo>
                    <a:pt x="109133" y="264043"/>
                    <a:pt x="112067" y="264043"/>
                    <a:pt x="117937" y="261109"/>
                  </a:cubicBezTo>
                  <a:cubicBezTo>
                    <a:pt x="144351" y="258174"/>
                    <a:pt x="170763" y="249369"/>
                    <a:pt x="191307" y="231761"/>
                  </a:cubicBezTo>
                  <a:cubicBezTo>
                    <a:pt x="194243" y="231761"/>
                    <a:pt x="200111" y="228826"/>
                    <a:pt x="203047" y="228826"/>
                  </a:cubicBezTo>
                  <a:cubicBezTo>
                    <a:pt x="211851" y="240565"/>
                    <a:pt x="223590" y="252304"/>
                    <a:pt x="238264" y="249369"/>
                  </a:cubicBezTo>
                  <a:cubicBezTo>
                    <a:pt x="244132" y="246435"/>
                    <a:pt x="247068" y="240565"/>
                    <a:pt x="252938" y="237630"/>
                  </a:cubicBezTo>
                  <a:cubicBezTo>
                    <a:pt x="273480" y="228826"/>
                    <a:pt x="285220" y="243500"/>
                    <a:pt x="302828" y="252304"/>
                  </a:cubicBezTo>
                  <a:cubicBezTo>
                    <a:pt x="314568" y="258174"/>
                    <a:pt x="326308" y="261109"/>
                    <a:pt x="338046" y="258174"/>
                  </a:cubicBezTo>
                  <a:cubicBezTo>
                    <a:pt x="340982" y="258174"/>
                    <a:pt x="346850" y="255239"/>
                    <a:pt x="349786" y="255239"/>
                  </a:cubicBezTo>
                  <a:cubicBezTo>
                    <a:pt x="355656" y="252304"/>
                    <a:pt x="358590" y="252304"/>
                    <a:pt x="361524" y="252304"/>
                  </a:cubicBezTo>
                  <a:cubicBezTo>
                    <a:pt x="364460" y="252304"/>
                    <a:pt x="367394" y="255239"/>
                    <a:pt x="370330" y="255239"/>
                  </a:cubicBezTo>
                  <a:cubicBezTo>
                    <a:pt x="373264" y="255239"/>
                    <a:pt x="373264" y="258174"/>
                    <a:pt x="376198" y="258174"/>
                  </a:cubicBezTo>
                  <a:cubicBezTo>
                    <a:pt x="379134" y="258174"/>
                    <a:pt x="379134" y="258174"/>
                    <a:pt x="382068" y="258174"/>
                  </a:cubicBezTo>
                  <a:cubicBezTo>
                    <a:pt x="385003" y="258174"/>
                    <a:pt x="387938" y="261109"/>
                    <a:pt x="390872" y="261109"/>
                  </a:cubicBezTo>
                  <a:cubicBezTo>
                    <a:pt x="393807" y="264043"/>
                    <a:pt x="396742" y="266978"/>
                    <a:pt x="396742" y="269913"/>
                  </a:cubicBezTo>
                  <a:cubicBezTo>
                    <a:pt x="402611" y="278717"/>
                    <a:pt x="405546" y="284587"/>
                    <a:pt x="414351" y="290456"/>
                  </a:cubicBezTo>
                  <a:cubicBezTo>
                    <a:pt x="420219" y="293391"/>
                    <a:pt x="431959" y="296326"/>
                    <a:pt x="443699" y="299261"/>
                  </a:cubicBezTo>
                  <a:cubicBezTo>
                    <a:pt x="458373" y="316870"/>
                    <a:pt x="467177" y="334478"/>
                    <a:pt x="464241" y="352087"/>
                  </a:cubicBezTo>
                  <a:cubicBezTo>
                    <a:pt x="464241" y="352087"/>
                    <a:pt x="467177" y="340348"/>
                    <a:pt x="470111" y="322739"/>
                  </a:cubicBezTo>
                  <a:cubicBezTo>
                    <a:pt x="473047" y="325674"/>
                    <a:pt x="475981" y="325674"/>
                    <a:pt x="478915" y="319804"/>
                  </a:cubicBezTo>
                  <a:cubicBezTo>
                    <a:pt x="496525" y="290456"/>
                    <a:pt x="502395" y="258174"/>
                    <a:pt x="490655" y="225891"/>
                  </a:cubicBezTo>
                  <a:cubicBezTo>
                    <a:pt x="484785" y="211217"/>
                    <a:pt x="478915" y="199478"/>
                    <a:pt x="470111" y="184804"/>
                  </a:cubicBezTo>
                  <a:cubicBezTo>
                    <a:pt x="461307" y="167196"/>
                    <a:pt x="470111" y="167196"/>
                    <a:pt x="473047" y="149587"/>
                  </a:cubicBezTo>
                  <a:cubicBezTo>
                    <a:pt x="473047" y="137848"/>
                    <a:pt x="470111" y="126109"/>
                    <a:pt x="464241" y="117304"/>
                  </a:cubicBezTo>
                  <a:cubicBezTo>
                    <a:pt x="458373" y="108500"/>
                    <a:pt x="452503" y="99696"/>
                    <a:pt x="443699" y="90891"/>
                  </a:cubicBezTo>
                  <a:cubicBezTo>
                    <a:pt x="431959" y="76217"/>
                    <a:pt x="431959" y="64478"/>
                    <a:pt x="426089" y="49804"/>
                  </a:cubicBezTo>
                  <a:cubicBezTo>
                    <a:pt x="414351" y="23391"/>
                    <a:pt x="390872" y="29261"/>
                    <a:pt x="367394" y="32196"/>
                  </a:cubicBezTo>
                  <a:cubicBezTo>
                    <a:pt x="326308" y="35130"/>
                    <a:pt x="288154" y="-11826"/>
                    <a:pt x="247068" y="2848"/>
                  </a:cubicBezTo>
                  <a:cubicBezTo>
                    <a:pt x="241198" y="5782"/>
                    <a:pt x="238264" y="8717"/>
                    <a:pt x="235328" y="8717"/>
                  </a:cubicBezTo>
                  <a:cubicBezTo>
                    <a:pt x="217721" y="17522"/>
                    <a:pt x="203047" y="23391"/>
                    <a:pt x="182503" y="23391"/>
                  </a:cubicBezTo>
                  <a:cubicBezTo>
                    <a:pt x="170763" y="23391"/>
                    <a:pt x="161959" y="20456"/>
                    <a:pt x="150221" y="26326"/>
                  </a:cubicBezTo>
                  <a:cubicBezTo>
                    <a:pt x="138481" y="32196"/>
                    <a:pt x="129677" y="46869"/>
                    <a:pt x="123807" y="58609"/>
                  </a:cubicBezTo>
                  <a:cubicBezTo>
                    <a:pt x="120873" y="64478"/>
                    <a:pt x="115003" y="73282"/>
                    <a:pt x="112067" y="79152"/>
                  </a:cubicBezTo>
                  <a:cubicBezTo>
                    <a:pt x="100329" y="87956"/>
                    <a:pt x="91525" y="93826"/>
                    <a:pt x="82719" y="99696"/>
                  </a:cubicBezTo>
                  <a:cubicBezTo>
                    <a:pt x="82719" y="96761"/>
                    <a:pt x="85655" y="85022"/>
                    <a:pt x="70981" y="96761"/>
                  </a:cubicBezTo>
                  <a:cubicBezTo>
                    <a:pt x="56307" y="108500"/>
                    <a:pt x="53372" y="120239"/>
                    <a:pt x="56307" y="137848"/>
                  </a:cubicBezTo>
                  <a:cubicBezTo>
                    <a:pt x="-5324" y="167196"/>
                    <a:pt x="-8258" y="252304"/>
                    <a:pt x="9350" y="308065"/>
                  </a:cubicBez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1FD7EA14-7EDA-43EF-B545-5F15166728AB}"/>
                </a:ext>
              </a:extLst>
            </p:cNvPr>
            <p:cNvSpPr/>
            <p:nvPr/>
          </p:nvSpPr>
          <p:spPr>
            <a:xfrm>
              <a:off x="19185313" y="2926617"/>
              <a:ext cx="69880" cy="228913"/>
            </a:xfrm>
            <a:custGeom>
              <a:avLst/>
              <a:gdLst>
                <a:gd name="connsiteX0" fmla="*/ 25859 w 69880"/>
                <a:gd name="connsiteY0" fmla="*/ 228913 h 228913"/>
                <a:gd name="connsiteX1" fmla="*/ 25859 w 69880"/>
                <a:gd name="connsiteY1" fmla="*/ 228913 h 228913"/>
                <a:gd name="connsiteX2" fmla="*/ 19991 w 69880"/>
                <a:gd name="connsiteY2" fmla="*/ 223044 h 228913"/>
                <a:gd name="connsiteX3" fmla="*/ 58143 w 69880"/>
                <a:gd name="connsiteY3" fmla="*/ 105652 h 228913"/>
                <a:gd name="connsiteX4" fmla="*/ 8251 w 69880"/>
                <a:gd name="connsiteY4" fmla="*/ 67500 h 228913"/>
                <a:gd name="connsiteX5" fmla="*/ 5317 w 69880"/>
                <a:gd name="connsiteY5" fmla="*/ 2935 h 228913"/>
                <a:gd name="connsiteX6" fmla="*/ 11185 w 69880"/>
                <a:gd name="connsiteY6" fmla="*/ 0 h 228913"/>
                <a:gd name="connsiteX7" fmla="*/ 14121 w 69880"/>
                <a:gd name="connsiteY7" fmla="*/ 5870 h 228913"/>
                <a:gd name="connsiteX8" fmla="*/ 17055 w 69880"/>
                <a:gd name="connsiteY8" fmla="*/ 61631 h 228913"/>
                <a:gd name="connsiteX9" fmla="*/ 66947 w 69880"/>
                <a:gd name="connsiteY9" fmla="*/ 96848 h 228913"/>
                <a:gd name="connsiteX10" fmla="*/ 69881 w 69880"/>
                <a:gd name="connsiteY10" fmla="*/ 99783 h 228913"/>
                <a:gd name="connsiteX11" fmla="*/ 69881 w 69880"/>
                <a:gd name="connsiteY11" fmla="*/ 105652 h 228913"/>
                <a:gd name="connsiteX12" fmla="*/ 28795 w 69880"/>
                <a:gd name="connsiteY12" fmla="*/ 223044 h 228913"/>
                <a:gd name="connsiteX13" fmla="*/ 25859 w 69880"/>
                <a:gd name="connsiteY13" fmla="*/ 228913 h 228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9880" h="228913">
                  <a:moveTo>
                    <a:pt x="25859" y="228913"/>
                  </a:moveTo>
                  <a:cubicBezTo>
                    <a:pt x="25859" y="228913"/>
                    <a:pt x="25859" y="228913"/>
                    <a:pt x="25859" y="228913"/>
                  </a:cubicBezTo>
                  <a:cubicBezTo>
                    <a:pt x="22925" y="228913"/>
                    <a:pt x="19991" y="225978"/>
                    <a:pt x="19991" y="223044"/>
                  </a:cubicBezTo>
                  <a:cubicBezTo>
                    <a:pt x="22925" y="170217"/>
                    <a:pt x="49339" y="123261"/>
                    <a:pt x="58143" y="105652"/>
                  </a:cubicBezTo>
                  <a:cubicBezTo>
                    <a:pt x="46403" y="99783"/>
                    <a:pt x="22925" y="90978"/>
                    <a:pt x="8251" y="67500"/>
                  </a:cubicBezTo>
                  <a:cubicBezTo>
                    <a:pt x="-553" y="49891"/>
                    <a:pt x="-3489" y="26413"/>
                    <a:pt x="5317" y="2935"/>
                  </a:cubicBezTo>
                  <a:cubicBezTo>
                    <a:pt x="5317" y="0"/>
                    <a:pt x="8251" y="0"/>
                    <a:pt x="11185" y="0"/>
                  </a:cubicBezTo>
                  <a:cubicBezTo>
                    <a:pt x="14121" y="0"/>
                    <a:pt x="17055" y="2935"/>
                    <a:pt x="14121" y="5870"/>
                  </a:cubicBezTo>
                  <a:cubicBezTo>
                    <a:pt x="8251" y="26413"/>
                    <a:pt x="8251" y="46957"/>
                    <a:pt x="17055" y="61631"/>
                  </a:cubicBezTo>
                  <a:cubicBezTo>
                    <a:pt x="31729" y="88043"/>
                    <a:pt x="64012" y="96848"/>
                    <a:pt x="66947" y="96848"/>
                  </a:cubicBezTo>
                  <a:cubicBezTo>
                    <a:pt x="69881" y="96848"/>
                    <a:pt x="69881" y="99783"/>
                    <a:pt x="69881" y="99783"/>
                  </a:cubicBezTo>
                  <a:cubicBezTo>
                    <a:pt x="69881" y="102717"/>
                    <a:pt x="69881" y="102717"/>
                    <a:pt x="69881" y="105652"/>
                  </a:cubicBezTo>
                  <a:cubicBezTo>
                    <a:pt x="69881" y="105652"/>
                    <a:pt x="31729" y="164348"/>
                    <a:pt x="28795" y="223044"/>
                  </a:cubicBezTo>
                  <a:cubicBezTo>
                    <a:pt x="31729" y="225978"/>
                    <a:pt x="28795" y="228913"/>
                    <a:pt x="25859" y="228913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D46AA5E3-0ED1-47F3-8699-F8784794B75B}"/>
                </a:ext>
              </a:extLst>
            </p:cNvPr>
            <p:cNvSpPr/>
            <p:nvPr/>
          </p:nvSpPr>
          <p:spPr>
            <a:xfrm>
              <a:off x="19366716" y="3305204"/>
              <a:ext cx="102717" cy="64683"/>
            </a:xfrm>
            <a:custGeom>
              <a:avLst/>
              <a:gdLst>
                <a:gd name="connsiteX0" fmla="*/ 0 w 102717"/>
                <a:gd name="connsiteY0" fmla="*/ 0 h 64683"/>
                <a:gd name="connsiteX1" fmla="*/ 102717 w 102717"/>
                <a:gd name="connsiteY1" fmla="*/ 14674 h 64683"/>
                <a:gd name="connsiteX2" fmla="*/ 44022 w 102717"/>
                <a:gd name="connsiteY2" fmla="*/ 64565 h 64683"/>
                <a:gd name="connsiteX3" fmla="*/ 0 w 102717"/>
                <a:gd name="connsiteY3" fmla="*/ 0 h 64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717" h="64683">
                  <a:moveTo>
                    <a:pt x="0" y="0"/>
                  </a:moveTo>
                  <a:cubicBezTo>
                    <a:pt x="49890" y="20544"/>
                    <a:pt x="102717" y="14674"/>
                    <a:pt x="102717" y="14674"/>
                  </a:cubicBezTo>
                  <a:cubicBezTo>
                    <a:pt x="102717" y="14674"/>
                    <a:pt x="82174" y="67500"/>
                    <a:pt x="44022" y="64565"/>
                  </a:cubicBezTo>
                  <a:cubicBezTo>
                    <a:pt x="20542" y="64565"/>
                    <a:pt x="5868" y="3228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12E1BA4A-BA3C-4A7E-A7EA-6763E54BA518}"/>
                </a:ext>
              </a:extLst>
            </p:cNvPr>
            <p:cNvSpPr/>
            <p:nvPr/>
          </p:nvSpPr>
          <p:spPr>
            <a:xfrm>
              <a:off x="19261063" y="3475421"/>
              <a:ext cx="299348" cy="76843"/>
            </a:xfrm>
            <a:custGeom>
              <a:avLst/>
              <a:gdLst>
                <a:gd name="connsiteX0" fmla="*/ 29348 w 299348"/>
                <a:gd name="connsiteY0" fmla="*/ 23478 h 76843"/>
                <a:gd name="connsiteX1" fmla="*/ 158479 w 299348"/>
                <a:gd name="connsiteY1" fmla="*/ 49891 h 76843"/>
                <a:gd name="connsiteX2" fmla="*/ 264130 w 299348"/>
                <a:gd name="connsiteY2" fmla="*/ 0 h 76843"/>
                <a:gd name="connsiteX3" fmla="*/ 299348 w 299348"/>
                <a:gd name="connsiteY3" fmla="*/ 2935 h 76843"/>
                <a:gd name="connsiteX4" fmla="*/ 164349 w 299348"/>
                <a:gd name="connsiteY4" fmla="*/ 76304 h 76843"/>
                <a:gd name="connsiteX5" fmla="*/ 0 w 299348"/>
                <a:gd name="connsiteY5" fmla="*/ 38152 h 76843"/>
                <a:gd name="connsiteX6" fmla="*/ 29348 w 299348"/>
                <a:gd name="connsiteY6" fmla="*/ 23478 h 76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9348" h="76843">
                  <a:moveTo>
                    <a:pt x="29348" y="23478"/>
                  </a:moveTo>
                  <a:cubicBezTo>
                    <a:pt x="29348" y="23478"/>
                    <a:pt x="102717" y="55761"/>
                    <a:pt x="158479" y="49891"/>
                  </a:cubicBezTo>
                  <a:cubicBezTo>
                    <a:pt x="214239" y="44022"/>
                    <a:pt x="264130" y="0"/>
                    <a:pt x="264130" y="0"/>
                  </a:cubicBezTo>
                  <a:lnTo>
                    <a:pt x="299348" y="2935"/>
                  </a:lnTo>
                  <a:cubicBezTo>
                    <a:pt x="299348" y="2935"/>
                    <a:pt x="228913" y="70435"/>
                    <a:pt x="164349" y="76304"/>
                  </a:cubicBezTo>
                  <a:cubicBezTo>
                    <a:pt x="99783" y="82174"/>
                    <a:pt x="0" y="38152"/>
                    <a:pt x="0" y="38152"/>
                  </a:cubicBezTo>
                  <a:lnTo>
                    <a:pt x="29348" y="23478"/>
                  </a:lnTo>
                  <a:close/>
                </a:path>
              </a:pathLst>
            </a:custGeom>
            <a:solidFill>
              <a:srgbClr val="F1DDBA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24CF41BE-165C-419B-8BC5-A0D8F053B6EF}"/>
                </a:ext>
              </a:extLst>
            </p:cNvPr>
            <p:cNvSpPr/>
            <p:nvPr/>
          </p:nvSpPr>
          <p:spPr>
            <a:xfrm>
              <a:off x="19390194" y="4097888"/>
              <a:ext cx="194804" cy="175794"/>
            </a:xfrm>
            <a:custGeom>
              <a:avLst/>
              <a:gdLst>
                <a:gd name="connsiteX0" fmla="*/ 0 w 194804"/>
                <a:gd name="connsiteY0" fmla="*/ 175794 h 175794"/>
                <a:gd name="connsiteX1" fmla="*/ 108587 w 194804"/>
                <a:gd name="connsiteY1" fmla="*/ 20251 h 175794"/>
                <a:gd name="connsiteX2" fmla="*/ 190761 w 194804"/>
                <a:gd name="connsiteY2" fmla="*/ 5577 h 175794"/>
                <a:gd name="connsiteX3" fmla="*/ 102717 w 194804"/>
                <a:gd name="connsiteY3" fmla="*/ 96555 h 175794"/>
                <a:gd name="connsiteX4" fmla="*/ 0 w 194804"/>
                <a:gd name="connsiteY4" fmla="*/ 175794 h 175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804" h="175794">
                  <a:moveTo>
                    <a:pt x="0" y="175794"/>
                  </a:moveTo>
                  <a:cubicBezTo>
                    <a:pt x="0" y="175794"/>
                    <a:pt x="14674" y="58403"/>
                    <a:pt x="108587" y="20251"/>
                  </a:cubicBezTo>
                  <a:cubicBezTo>
                    <a:pt x="137935" y="8512"/>
                    <a:pt x="181957" y="-9097"/>
                    <a:pt x="190761" y="5577"/>
                  </a:cubicBezTo>
                  <a:cubicBezTo>
                    <a:pt x="217173" y="40794"/>
                    <a:pt x="105651" y="58403"/>
                    <a:pt x="102717" y="96555"/>
                  </a:cubicBezTo>
                  <a:cubicBezTo>
                    <a:pt x="99782" y="111229"/>
                    <a:pt x="0" y="175794"/>
                    <a:pt x="0" y="175794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FD1E121D-808E-4AC0-B12B-00ABF5629F74}"/>
                </a:ext>
              </a:extLst>
            </p:cNvPr>
            <p:cNvSpPr/>
            <p:nvPr/>
          </p:nvSpPr>
          <p:spPr>
            <a:xfrm>
              <a:off x="22016774" y="3868562"/>
              <a:ext cx="936566" cy="401476"/>
            </a:xfrm>
            <a:custGeom>
              <a:avLst/>
              <a:gdLst>
                <a:gd name="connsiteX0" fmla="*/ 807117 w 936566"/>
                <a:gd name="connsiteY0" fmla="*/ 114577 h 401476"/>
                <a:gd name="connsiteX1" fmla="*/ 390377 w 936566"/>
                <a:gd name="connsiteY1" fmla="*/ 205555 h 401476"/>
                <a:gd name="connsiteX2" fmla="*/ 44073 w 936566"/>
                <a:gd name="connsiteY2" fmla="*/ 120 h 401476"/>
                <a:gd name="connsiteX3" fmla="*/ 51 w 936566"/>
                <a:gd name="connsiteY3" fmla="*/ 91098 h 401476"/>
                <a:gd name="connsiteX4" fmla="*/ 328747 w 936566"/>
                <a:gd name="connsiteY4" fmla="*/ 387512 h 401476"/>
                <a:gd name="connsiteX5" fmla="*/ 874616 w 936566"/>
                <a:gd name="connsiteY5" fmla="*/ 369903 h 401476"/>
                <a:gd name="connsiteX6" fmla="*/ 807117 w 936566"/>
                <a:gd name="connsiteY6" fmla="*/ 114577 h 401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6566" h="401476">
                  <a:moveTo>
                    <a:pt x="807117" y="114577"/>
                  </a:moveTo>
                  <a:cubicBezTo>
                    <a:pt x="722007" y="123381"/>
                    <a:pt x="390377" y="205555"/>
                    <a:pt x="390377" y="205555"/>
                  </a:cubicBezTo>
                  <a:cubicBezTo>
                    <a:pt x="390377" y="205555"/>
                    <a:pt x="49943" y="-5749"/>
                    <a:pt x="44073" y="120"/>
                  </a:cubicBezTo>
                  <a:cubicBezTo>
                    <a:pt x="-14623" y="35338"/>
                    <a:pt x="20595" y="26533"/>
                    <a:pt x="51" y="91098"/>
                  </a:cubicBezTo>
                  <a:cubicBezTo>
                    <a:pt x="-2885" y="99903"/>
                    <a:pt x="120377" y="258381"/>
                    <a:pt x="328747" y="387512"/>
                  </a:cubicBezTo>
                  <a:cubicBezTo>
                    <a:pt x="384507" y="422729"/>
                    <a:pt x="733747" y="381642"/>
                    <a:pt x="874616" y="369903"/>
                  </a:cubicBezTo>
                  <a:cubicBezTo>
                    <a:pt x="959726" y="361098"/>
                    <a:pt x="974399" y="96968"/>
                    <a:pt x="807117" y="114577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A0285839-B306-46DD-A615-5FE917AFEE5F}"/>
                </a:ext>
              </a:extLst>
            </p:cNvPr>
            <p:cNvSpPr/>
            <p:nvPr/>
          </p:nvSpPr>
          <p:spPr>
            <a:xfrm>
              <a:off x="22715303" y="3849562"/>
              <a:ext cx="497921" cy="429990"/>
            </a:xfrm>
            <a:custGeom>
              <a:avLst/>
              <a:gdLst>
                <a:gd name="connsiteX0" fmla="*/ 193695 w 497921"/>
                <a:gd name="connsiteY0" fmla="*/ 429990 h 429990"/>
                <a:gd name="connsiteX1" fmla="*/ 493043 w 497921"/>
                <a:gd name="connsiteY1" fmla="*/ 42599 h 429990"/>
                <a:gd name="connsiteX2" fmla="*/ 0 w 497921"/>
                <a:gd name="connsiteY2" fmla="*/ 127708 h 429990"/>
                <a:gd name="connsiteX3" fmla="*/ 58696 w 497921"/>
                <a:gd name="connsiteY3" fmla="*/ 236294 h 429990"/>
                <a:gd name="connsiteX4" fmla="*/ 193695 w 497921"/>
                <a:gd name="connsiteY4" fmla="*/ 429990 h 429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921" h="429990">
                  <a:moveTo>
                    <a:pt x="193695" y="429990"/>
                  </a:moveTo>
                  <a:cubicBezTo>
                    <a:pt x="193695" y="429990"/>
                    <a:pt x="542935" y="157055"/>
                    <a:pt x="493043" y="42599"/>
                  </a:cubicBezTo>
                  <a:cubicBezTo>
                    <a:pt x="434347" y="-89466"/>
                    <a:pt x="0" y="127708"/>
                    <a:pt x="0" y="127708"/>
                  </a:cubicBezTo>
                  <a:cubicBezTo>
                    <a:pt x="0" y="127708"/>
                    <a:pt x="20544" y="186403"/>
                    <a:pt x="58696" y="236294"/>
                  </a:cubicBezTo>
                  <a:cubicBezTo>
                    <a:pt x="73370" y="300860"/>
                    <a:pt x="120325" y="383034"/>
                    <a:pt x="193695" y="429990"/>
                  </a:cubicBezTo>
                  <a:close/>
                </a:path>
              </a:pathLst>
            </a:custGeom>
            <a:solidFill>
              <a:srgbClr val="D16156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51B28BFB-C686-480E-A0D5-72662CAACB91}"/>
                </a:ext>
              </a:extLst>
            </p:cNvPr>
            <p:cNvSpPr/>
            <p:nvPr/>
          </p:nvSpPr>
          <p:spPr>
            <a:xfrm>
              <a:off x="23328673" y="3528247"/>
              <a:ext cx="278804" cy="264130"/>
            </a:xfrm>
            <a:custGeom>
              <a:avLst/>
              <a:gdLst>
                <a:gd name="connsiteX0" fmla="*/ 0 w 278804"/>
                <a:gd name="connsiteY0" fmla="*/ 264130 h 264130"/>
                <a:gd name="connsiteX1" fmla="*/ 269999 w 278804"/>
                <a:gd name="connsiteY1" fmla="*/ 261196 h 264130"/>
                <a:gd name="connsiteX2" fmla="*/ 278804 w 278804"/>
                <a:gd name="connsiteY2" fmla="*/ 123261 h 264130"/>
                <a:gd name="connsiteX3" fmla="*/ 272934 w 278804"/>
                <a:gd name="connsiteY3" fmla="*/ 17609 h 264130"/>
                <a:gd name="connsiteX4" fmla="*/ 202499 w 278804"/>
                <a:gd name="connsiteY4" fmla="*/ 0 h 264130"/>
                <a:gd name="connsiteX5" fmla="*/ 49890 w 278804"/>
                <a:gd name="connsiteY5" fmla="*/ 85109 h 264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804" h="264130">
                  <a:moveTo>
                    <a:pt x="0" y="264130"/>
                  </a:moveTo>
                  <a:lnTo>
                    <a:pt x="269999" y="261196"/>
                  </a:lnTo>
                  <a:lnTo>
                    <a:pt x="278804" y="123261"/>
                  </a:lnTo>
                  <a:lnTo>
                    <a:pt x="272934" y="17609"/>
                  </a:lnTo>
                  <a:lnTo>
                    <a:pt x="202499" y="0"/>
                  </a:lnTo>
                  <a:lnTo>
                    <a:pt x="49890" y="85109"/>
                  </a:lnTo>
                  <a:close/>
                </a:path>
              </a:pathLst>
            </a:custGeom>
            <a:solidFill>
              <a:srgbClr val="664241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E396D018-1E79-4E53-919F-BD22C02FE4FD}"/>
                </a:ext>
              </a:extLst>
            </p:cNvPr>
            <p:cNvSpPr/>
            <p:nvPr/>
          </p:nvSpPr>
          <p:spPr>
            <a:xfrm>
              <a:off x="22985303" y="3178978"/>
              <a:ext cx="452329" cy="638193"/>
            </a:xfrm>
            <a:custGeom>
              <a:avLst/>
              <a:gdLst>
                <a:gd name="connsiteX0" fmla="*/ 387392 w 452329"/>
                <a:gd name="connsiteY0" fmla="*/ 451987 h 638193"/>
                <a:gd name="connsiteX1" fmla="*/ 378586 w 452329"/>
                <a:gd name="connsiteY1" fmla="*/ 296443 h 638193"/>
                <a:gd name="connsiteX2" fmla="*/ 419674 w 452329"/>
                <a:gd name="connsiteY2" fmla="*/ 155574 h 638193"/>
                <a:gd name="connsiteX3" fmla="*/ 451955 w 452329"/>
                <a:gd name="connsiteY3" fmla="*/ 8835 h 638193"/>
                <a:gd name="connsiteX4" fmla="*/ 137935 w 452329"/>
                <a:gd name="connsiteY4" fmla="*/ 170248 h 638193"/>
                <a:gd name="connsiteX5" fmla="*/ 0 w 452329"/>
                <a:gd name="connsiteY5" fmla="*/ 560574 h 638193"/>
                <a:gd name="connsiteX6" fmla="*/ 407934 w 452329"/>
                <a:gd name="connsiteY6" fmla="*/ 613400 h 638193"/>
                <a:gd name="connsiteX7" fmla="*/ 387392 w 452329"/>
                <a:gd name="connsiteY7" fmla="*/ 451987 h 638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2329" h="638193">
                  <a:moveTo>
                    <a:pt x="387392" y="451987"/>
                  </a:moveTo>
                  <a:cubicBezTo>
                    <a:pt x="378586" y="402096"/>
                    <a:pt x="372718" y="349270"/>
                    <a:pt x="378586" y="296443"/>
                  </a:cubicBezTo>
                  <a:cubicBezTo>
                    <a:pt x="384456" y="246552"/>
                    <a:pt x="399130" y="199596"/>
                    <a:pt x="419674" y="155574"/>
                  </a:cubicBezTo>
                  <a:cubicBezTo>
                    <a:pt x="440217" y="108617"/>
                    <a:pt x="454891" y="8835"/>
                    <a:pt x="451955" y="8835"/>
                  </a:cubicBezTo>
                  <a:cubicBezTo>
                    <a:pt x="340434" y="-26383"/>
                    <a:pt x="164347" y="46987"/>
                    <a:pt x="137935" y="170248"/>
                  </a:cubicBezTo>
                  <a:cubicBezTo>
                    <a:pt x="126195" y="231878"/>
                    <a:pt x="117391" y="399161"/>
                    <a:pt x="0" y="560574"/>
                  </a:cubicBezTo>
                  <a:cubicBezTo>
                    <a:pt x="99782" y="633944"/>
                    <a:pt x="399130" y="663291"/>
                    <a:pt x="407934" y="613400"/>
                  </a:cubicBezTo>
                  <a:cubicBezTo>
                    <a:pt x="416740" y="572313"/>
                    <a:pt x="393260" y="493074"/>
                    <a:pt x="387392" y="451987"/>
                  </a:cubicBezTo>
                  <a:close/>
                </a:path>
              </a:pathLst>
            </a:custGeom>
            <a:solidFill>
              <a:srgbClr val="664241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E1798EE6-0BD6-45AB-9162-CE7A44C5FBEC}"/>
                </a:ext>
              </a:extLst>
            </p:cNvPr>
            <p:cNvSpPr/>
            <p:nvPr/>
          </p:nvSpPr>
          <p:spPr>
            <a:xfrm>
              <a:off x="22594977" y="4804226"/>
              <a:ext cx="1132769" cy="1579564"/>
            </a:xfrm>
            <a:custGeom>
              <a:avLst/>
              <a:gdLst>
                <a:gd name="connsiteX0" fmla="*/ 1091738 w 1132769"/>
                <a:gd name="connsiteY0" fmla="*/ 6522 h 1579564"/>
                <a:gd name="connsiteX1" fmla="*/ 1121086 w 1132769"/>
                <a:gd name="connsiteY1" fmla="*/ 291196 h 1579564"/>
                <a:gd name="connsiteX2" fmla="*/ 490107 w 1132769"/>
                <a:gd name="connsiteY2" fmla="*/ 666848 h 1579564"/>
                <a:gd name="connsiteX3" fmla="*/ 196629 w 1132769"/>
                <a:gd name="connsiteY3" fmla="*/ 1579565 h 1579564"/>
                <a:gd name="connsiteX4" fmla="*/ 0 w 1132769"/>
                <a:gd name="connsiteY4" fmla="*/ 1535543 h 1579564"/>
                <a:gd name="connsiteX5" fmla="*/ 146739 w 1132769"/>
                <a:gd name="connsiteY5" fmla="*/ 520109 h 1579564"/>
                <a:gd name="connsiteX6" fmla="*/ 798259 w 1132769"/>
                <a:gd name="connsiteY6" fmla="*/ 6522 h 1579564"/>
                <a:gd name="connsiteX7" fmla="*/ 1091738 w 1132769"/>
                <a:gd name="connsiteY7" fmla="*/ 6522 h 1579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2769" h="1579564">
                  <a:moveTo>
                    <a:pt x="1091738" y="6522"/>
                  </a:moveTo>
                  <a:cubicBezTo>
                    <a:pt x="1091738" y="6522"/>
                    <a:pt x="1159239" y="182609"/>
                    <a:pt x="1121086" y="291196"/>
                  </a:cubicBezTo>
                  <a:cubicBezTo>
                    <a:pt x="1080000" y="399782"/>
                    <a:pt x="513587" y="614022"/>
                    <a:pt x="490107" y="666848"/>
                  </a:cubicBezTo>
                  <a:cubicBezTo>
                    <a:pt x="466629" y="719674"/>
                    <a:pt x="196629" y="1579565"/>
                    <a:pt x="196629" y="1579565"/>
                  </a:cubicBezTo>
                  <a:cubicBezTo>
                    <a:pt x="196629" y="1579565"/>
                    <a:pt x="85108" y="1561957"/>
                    <a:pt x="0" y="1535543"/>
                  </a:cubicBezTo>
                  <a:cubicBezTo>
                    <a:pt x="0" y="1535543"/>
                    <a:pt x="90978" y="684456"/>
                    <a:pt x="146739" y="520109"/>
                  </a:cubicBezTo>
                  <a:cubicBezTo>
                    <a:pt x="196629" y="382174"/>
                    <a:pt x="742500" y="21196"/>
                    <a:pt x="798259" y="6522"/>
                  </a:cubicBezTo>
                  <a:cubicBezTo>
                    <a:pt x="854021" y="-8152"/>
                    <a:pt x="1091738" y="6522"/>
                    <a:pt x="1091738" y="6522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4F692F46-205D-44A7-99E3-47CD7C9E1E66}"/>
                </a:ext>
              </a:extLst>
            </p:cNvPr>
            <p:cNvSpPr/>
            <p:nvPr/>
          </p:nvSpPr>
          <p:spPr>
            <a:xfrm>
              <a:off x="21679325" y="4804226"/>
              <a:ext cx="1713911" cy="1030760"/>
            </a:xfrm>
            <a:custGeom>
              <a:avLst/>
              <a:gdLst>
                <a:gd name="connsiteX0" fmla="*/ 1713912 w 1713911"/>
                <a:gd name="connsiteY0" fmla="*/ 6522 h 1030760"/>
                <a:gd name="connsiteX1" fmla="*/ 1581847 w 1713911"/>
                <a:gd name="connsiteY1" fmla="*/ 291196 h 1030760"/>
                <a:gd name="connsiteX2" fmla="*/ 953804 w 1713911"/>
                <a:gd name="connsiteY2" fmla="*/ 596413 h 1030760"/>
                <a:gd name="connsiteX3" fmla="*/ 102717 w 1713911"/>
                <a:gd name="connsiteY3" fmla="*/ 1030761 h 1030760"/>
                <a:gd name="connsiteX4" fmla="*/ 0 w 1713911"/>
                <a:gd name="connsiteY4" fmla="*/ 925109 h 1030760"/>
                <a:gd name="connsiteX5" fmla="*/ 604565 w 1713911"/>
                <a:gd name="connsiteY5" fmla="*/ 440869 h 1030760"/>
                <a:gd name="connsiteX6" fmla="*/ 1261957 w 1713911"/>
                <a:gd name="connsiteY6" fmla="*/ 6522 h 1030760"/>
                <a:gd name="connsiteX7" fmla="*/ 1713912 w 1713911"/>
                <a:gd name="connsiteY7" fmla="*/ 6522 h 1030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3911" h="1030760">
                  <a:moveTo>
                    <a:pt x="1713912" y="6522"/>
                  </a:moveTo>
                  <a:cubicBezTo>
                    <a:pt x="1713912" y="6522"/>
                    <a:pt x="1622934" y="182609"/>
                    <a:pt x="1581847" y="291196"/>
                  </a:cubicBezTo>
                  <a:cubicBezTo>
                    <a:pt x="1540761" y="399782"/>
                    <a:pt x="1006630" y="575869"/>
                    <a:pt x="953804" y="596413"/>
                  </a:cubicBezTo>
                  <a:cubicBezTo>
                    <a:pt x="677934" y="702065"/>
                    <a:pt x="102717" y="1030761"/>
                    <a:pt x="102717" y="1030761"/>
                  </a:cubicBezTo>
                  <a:cubicBezTo>
                    <a:pt x="102717" y="1030761"/>
                    <a:pt x="49892" y="980870"/>
                    <a:pt x="0" y="925109"/>
                  </a:cubicBezTo>
                  <a:cubicBezTo>
                    <a:pt x="0" y="925109"/>
                    <a:pt x="405000" y="578804"/>
                    <a:pt x="604565" y="440869"/>
                  </a:cubicBezTo>
                  <a:cubicBezTo>
                    <a:pt x="815869" y="294130"/>
                    <a:pt x="1203261" y="21196"/>
                    <a:pt x="1261957" y="6522"/>
                  </a:cubicBezTo>
                  <a:cubicBezTo>
                    <a:pt x="1317716" y="-8152"/>
                    <a:pt x="1713912" y="6522"/>
                    <a:pt x="1713912" y="6522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F45E4A7F-51F9-4961-9306-9DB87A181FAE}"/>
                </a:ext>
              </a:extLst>
            </p:cNvPr>
            <p:cNvSpPr/>
            <p:nvPr/>
          </p:nvSpPr>
          <p:spPr>
            <a:xfrm>
              <a:off x="22685955" y="5003139"/>
              <a:ext cx="418043" cy="550108"/>
            </a:xfrm>
            <a:custGeom>
              <a:avLst/>
              <a:gdLst>
                <a:gd name="connsiteX0" fmla="*/ 5870 w 418043"/>
                <a:gd name="connsiteY0" fmla="*/ 550109 h 550108"/>
                <a:gd name="connsiteX1" fmla="*/ 5870 w 418043"/>
                <a:gd name="connsiteY1" fmla="*/ 550109 h 550108"/>
                <a:gd name="connsiteX2" fmla="*/ 0 w 418043"/>
                <a:gd name="connsiteY2" fmla="*/ 544239 h 550108"/>
                <a:gd name="connsiteX3" fmla="*/ 8804 w 418043"/>
                <a:gd name="connsiteY3" fmla="*/ 500217 h 550108"/>
                <a:gd name="connsiteX4" fmla="*/ 61630 w 418043"/>
                <a:gd name="connsiteY4" fmla="*/ 300652 h 550108"/>
                <a:gd name="connsiteX5" fmla="*/ 407936 w 418043"/>
                <a:gd name="connsiteY5" fmla="*/ 1304 h 550108"/>
                <a:gd name="connsiteX6" fmla="*/ 416740 w 418043"/>
                <a:gd name="connsiteY6" fmla="*/ 1304 h 550108"/>
                <a:gd name="connsiteX7" fmla="*/ 416740 w 418043"/>
                <a:gd name="connsiteY7" fmla="*/ 10109 h 550108"/>
                <a:gd name="connsiteX8" fmla="*/ 73370 w 418043"/>
                <a:gd name="connsiteY8" fmla="*/ 306522 h 550108"/>
                <a:gd name="connsiteX9" fmla="*/ 23478 w 418043"/>
                <a:gd name="connsiteY9" fmla="*/ 500217 h 550108"/>
                <a:gd name="connsiteX10" fmla="*/ 14674 w 418043"/>
                <a:gd name="connsiteY10" fmla="*/ 544239 h 550108"/>
                <a:gd name="connsiteX11" fmla="*/ 5870 w 418043"/>
                <a:gd name="connsiteY11" fmla="*/ 550109 h 55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8043" h="550108">
                  <a:moveTo>
                    <a:pt x="5870" y="550109"/>
                  </a:moveTo>
                  <a:cubicBezTo>
                    <a:pt x="5870" y="550109"/>
                    <a:pt x="5870" y="550109"/>
                    <a:pt x="5870" y="550109"/>
                  </a:cubicBezTo>
                  <a:cubicBezTo>
                    <a:pt x="2934" y="550109"/>
                    <a:pt x="0" y="547174"/>
                    <a:pt x="0" y="544239"/>
                  </a:cubicBezTo>
                  <a:cubicBezTo>
                    <a:pt x="2934" y="529565"/>
                    <a:pt x="5870" y="514891"/>
                    <a:pt x="8804" y="500217"/>
                  </a:cubicBezTo>
                  <a:cubicBezTo>
                    <a:pt x="23478" y="418043"/>
                    <a:pt x="38152" y="330000"/>
                    <a:pt x="61630" y="300652"/>
                  </a:cubicBezTo>
                  <a:cubicBezTo>
                    <a:pt x="120325" y="218478"/>
                    <a:pt x="240653" y="115761"/>
                    <a:pt x="407936" y="1304"/>
                  </a:cubicBezTo>
                  <a:cubicBezTo>
                    <a:pt x="410870" y="-1630"/>
                    <a:pt x="413804" y="1304"/>
                    <a:pt x="416740" y="1304"/>
                  </a:cubicBezTo>
                  <a:cubicBezTo>
                    <a:pt x="419674" y="4239"/>
                    <a:pt x="416740" y="7174"/>
                    <a:pt x="416740" y="10109"/>
                  </a:cubicBezTo>
                  <a:cubicBezTo>
                    <a:pt x="252391" y="124565"/>
                    <a:pt x="132065" y="227283"/>
                    <a:pt x="73370" y="306522"/>
                  </a:cubicBezTo>
                  <a:cubicBezTo>
                    <a:pt x="52826" y="332935"/>
                    <a:pt x="38152" y="420978"/>
                    <a:pt x="23478" y="500217"/>
                  </a:cubicBezTo>
                  <a:cubicBezTo>
                    <a:pt x="20544" y="514891"/>
                    <a:pt x="17608" y="529565"/>
                    <a:pt x="14674" y="544239"/>
                  </a:cubicBezTo>
                  <a:cubicBezTo>
                    <a:pt x="11740" y="547174"/>
                    <a:pt x="8804" y="550109"/>
                    <a:pt x="5870" y="550109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AA53755E-27A4-423C-BCE3-B2F3703EA115}"/>
                </a:ext>
              </a:extLst>
            </p:cNvPr>
            <p:cNvSpPr/>
            <p:nvPr/>
          </p:nvSpPr>
          <p:spPr>
            <a:xfrm>
              <a:off x="23004385" y="3808449"/>
              <a:ext cx="766891" cy="871243"/>
            </a:xfrm>
            <a:custGeom>
              <a:avLst/>
              <a:gdLst>
                <a:gd name="connsiteX0" fmla="*/ 24940 w 766891"/>
                <a:gd name="connsiteY0" fmla="*/ 820342 h 871243"/>
                <a:gd name="connsiteX1" fmla="*/ 608961 w 766891"/>
                <a:gd name="connsiteY1" fmla="*/ 861429 h 871243"/>
                <a:gd name="connsiteX2" fmla="*/ 714614 w 766891"/>
                <a:gd name="connsiteY2" fmla="*/ 391864 h 871243"/>
                <a:gd name="connsiteX3" fmla="*/ 714614 w 766891"/>
                <a:gd name="connsiteY3" fmla="*/ 80777 h 871243"/>
                <a:gd name="connsiteX4" fmla="*/ 362440 w 766891"/>
                <a:gd name="connsiteY4" fmla="*/ 1538 h 871243"/>
                <a:gd name="connsiteX5" fmla="*/ 45484 w 766891"/>
                <a:gd name="connsiteY5" fmla="*/ 113059 h 871243"/>
                <a:gd name="connsiteX6" fmla="*/ 24940 w 766891"/>
                <a:gd name="connsiteY6" fmla="*/ 820342 h 871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6891" h="871243">
                  <a:moveTo>
                    <a:pt x="24940" y="820342"/>
                  </a:moveTo>
                  <a:cubicBezTo>
                    <a:pt x="24940" y="826212"/>
                    <a:pt x="377114" y="896646"/>
                    <a:pt x="608961" y="861429"/>
                  </a:cubicBezTo>
                  <a:cubicBezTo>
                    <a:pt x="606027" y="776320"/>
                    <a:pt x="691136" y="456429"/>
                    <a:pt x="714614" y="391864"/>
                  </a:cubicBezTo>
                  <a:cubicBezTo>
                    <a:pt x="726352" y="362516"/>
                    <a:pt x="826135" y="145342"/>
                    <a:pt x="714614" y="80777"/>
                  </a:cubicBezTo>
                  <a:cubicBezTo>
                    <a:pt x="617766" y="22081"/>
                    <a:pt x="476895" y="-7267"/>
                    <a:pt x="362440" y="1538"/>
                  </a:cubicBezTo>
                  <a:cubicBezTo>
                    <a:pt x="236245" y="10342"/>
                    <a:pt x="80700" y="48494"/>
                    <a:pt x="45484" y="113059"/>
                  </a:cubicBezTo>
                  <a:cubicBezTo>
                    <a:pt x="-68973" y="327299"/>
                    <a:pt x="74832" y="479907"/>
                    <a:pt x="24940" y="820342"/>
                  </a:cubicBezTo>
                  <a:close/>
                </a:path>
              </a:pathLst>
            </a:custGeom>
            <a:solidFill>
              <a:srgbClr val="D16156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6FD96AB0-811A-42FD-AF50-8069630CB5D5}"/>
                </a:ext>
              </a:extLst>
            </p:cNvPr>
            <p:cNvSpPr/>
            <p:nvPr/>
          </p:nvSpPr>
          <p:spPr>
            <a:xfrm>
              <a:off x="23252368" y="3639769"/>
              <a:ext cx="305218" cy="237000"/>
            </a:xfrm>
            <a:custGeom>
              <a:avLst/>
              <a:gdLst>
                <a:gd name="connsiteX0" fmla="*/ 67500 w 305218"/>
                <a:gd name="connsiteY0" fmla="*/ 49891 h 237000"/>
                <a:gd name="connsiteX1" fmla="*/ 0 w 305218"/>
                <a:gd name="connsiteY1" fmla="*/ 187826 h 237000"/>
                <a:gd name="connsiteX2" fmla="*/ 305218 w 305218"/>
                <a:gd name="connsiteY2" fmla="*/ 181956 h 237000"/>
                <a:gd name="connsiteX3" fmla="*/ 264130 w 305218"/>
                <a:gd name="connsiteY3" fmla="*/ 0 h 237000"/>
                <a:gd name="connsiteX4" fmla="*/ 67500 w 305218"/>
                <a:gd name="connsiteY4" fmla="*/ 49891 h 23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218" h="237000">
                  <a:moveTo>
                    <a:pt x="67500" y="49891"/>
                  </a:moveTo>
                  <a:cubicBezTo>
                    <a:pt x="67500" y="49891"/>
                    <a:pt x="70436" y="158478"/>
                    <a:pt x="0" y="187826"/>
                  </a:cubicBezTo>
                  <a:cubicBezTo>
                    <a:pt x="0" y="187826"/>
                    <a:pt x="167283" y="302282"/>
                    <a:pt x="305218" y="181956"/>
                  </a:cubicBezTo>
                  <a:cubicBezTo>
                    <a:pt x="255326" y="137935"/>
                    <a:pt x="261196" y="58696"/>
                    <a:pt x="264130" y="0"/>
                  </a:cubicBezTo>
                  <a:cubicBezTo>
                    <a:pt x="267066" y="0"/>
                    <a:pt x="120327" y="61630"/>
                    <a:pt x="67500" y="49891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F2C327ED-720D-4F78-9A2E-43D619AFB65E}"/>
                </a:ext>
              </a:extLst>
            </p:cNvPr>
            <p:cNvSpPr/>
            <p:nvPr/>
          </p:nvSpPr>
          <p:spPr>
            <a:xfrm>
              <a:off x="22941281" y="4625856"/>
              <a:ext cx="746364" cy="230024"/>
            </a:xfrm>
            <a:custGeom>
              <a:avLst/>
              <a:gdLst>
                <a:gd name="connsiteX0" fmla="*/ 0 w 746364"/>
                <a:gd name="connsiteY0" fmla="*/ 184891 h 230024"/>
                <a:gd name="connsiteX1" fmla="*/ 73370 w 746364"/>
                <a:gd name="connsiteY1" fmla="*/ 11739 h 230024"/>
                <a:gd name="connsiteX2" fmla="*/ 663260 w 746364"/>
                <a:gd name="connsiteY2" fmla="*/ 0 h 230024"/>
                <a:gd name="connsiteX3" fmla="*/ 745434 w 746364"/>
                <a:gd name="connsiteY3" fmla="*/ 184891 h 230024"/>
                <a:gd name="connsiteX4" fmla="*/ 340434 w 746364"/>
                <a:gd name="connsiteY4" fmla="*/ 220109 h 230024"/>
                <a:gd name="connsiteX5" fmla="*/ 0 w 746364"/>
                <a:gd name="connsiteY5" fmla="*/ 184891 h 230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6364" h="230024">
                  <a:moveTo>
                    <a:pt x="0" y="184891"/>
                  </a:moveTo>
                  <a:cubicBezTo>
                    <a:pt x="0" y="184891"/>
                    <a:pt x="58696" y="64565"/>
                    <a:pt x="73370" y="11739"/>
                  </a:cubicBezTo>
                  <a:cubicBezTo>
                    <a:pt x="73370" y="11739"/>
                    <a:pt x="437282" y="44022"/>
                    <a:pt x="663260" y="0"/>
                  </a:cubicBezTo>
                  <a:cubicBezTo>
                    <a:pt x="663260" y="0"/>
                    <a:pt x="721956" y="114457"/>
                    <a:pt x="745434" y="184891"/>
                  </a:cubicBezTo>
                  <a:cubicBezTo>
                    <a:pt x="768913" y="258261"/>
                    <a:pt x="340434" y="220109"/>
                    <a:pt x="340434" y="220109"/>
                  </a:cubicBezTo>
                  <a:lnTo>
                    <a:pt x="0" y="184891"/>
                  </a:lnTo>
                  <a:close/>
                </a:path>
              </a:pathLst>
            </a:custGeom>
            <a:solidFill>
              <a:srgbClr val="D16156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EABA028E-46BF-467E-B8CE-9B6C6808A932}"/>
                </a:ext>
              </a:extLst>
            </p:cNvPr>
            <p:cNvSpPr/>
            <p:nvPr/>
          </p:nvSpPr>
          <p:spPr>
            <a:xfrm>
              <a:off x="23017474" y="3856943"/>
              <a:ext cx="114568" cy="548804"/>
            </a:xfrm>
            <a:custGeom>
              <a:avLst/>
              <a:gdLst>
                <a:gd name="connsiteX0" fmla="*/ 32395 w 114568"/>
                <a:gd name="connsiteY0" fmla="*/ 548804 h 548804"/>
                <a:gd name="connsiteX1" fmla="*/ 26525 w 114568"/>
                <a:gd name="connsiteY1" fmla="*/ 542935 h 548804"/>
                <a:gd name="connsiteX2" fmla="*/ 111 w 114568"/>
                <a:gd name="connsiteY2" fmla="*/ 358043 h 548804"/>
                <a:gd name="connsiteX3" fmla="*/ 102828 w 114568"/>
                <a:gd name="connsiteY3" fmla="*/ 2935 h 548804"/>
                <a:gd name="connsiteX4" fmla="*/ 111632 w 114568"/>
                <a:gd name="connsiteY4" fmla="*/ 0 h 548804"/>
                <a:gd name="connsiteX5" fmla="*/ 114568 w 114568"/>
                <a:gd name="connsiteY5" fmla="*/ 8804 h 548804"/>
                <a:gd name="connsiteX6" fmla="*/ 11851 w 114568"/>
                <a:gd name="connsiteY6" fmla="*/ 358043 h 548804"/>
                <a:gd name="connsiteX7" fmla="*/ 38263 w 114568"/>
                <a:gd name="connsiteY7" fmla="*/ 540000 h 548804"/>
                <a:gd name="connsiteX8" fmla="*/ 32395 w 114568"/>
                <a:gd name="connsiteY8" fmla="*/ 548804 h 548804"/>
                <a:gd name="connsiteX9" fmla="*/ 32395 w 114568"/>
                <a:gd name="connsiteY9" fmla="*/ 548804 h 548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4568" h="548804">
                  <a:moveTo>
                    <a:pt x="32395" y="548804"/>
                  </a:moveTo>
                  <a:cubicBezTo>
                    <a:pt x="29459" y="548804"/>
                    <a:pt x="26525" y="545870"/>
                    <a:pt x="26525" y="542935"/>
                  </a:cubicBezTo>
                  <a:cubicBezTo>
                    <a:pt x="14785" y="484239"/>
                    <a:pt x="111" y="419674"/>
                    <a:pt x="111" y="358043"/>
                  </a:cubicBezTo>
                  <a:cubicBezTo>
                    <a:pt x="-2823" y="225978"/>
                    <a:pt x="52937" y="96848"/>
                    <a:pt x="102828" y="2935"/>
                  </a:cubicBezTo>
                  <a:cubicBezTo>
                    <a:pt x="102828" y="0"/>
                    <a:pt x="108698" y="0"/>
                    <a:pt x="111632" y="0"/>
                  </a:cubicBezTo>
                  <a:cubicBezTo>
                    <a:pt x="114568" y="0"/>
                    <a:pt x="114568" y="5869"/>
                    <a:pt x="114568" y="8804"/>
                  </a:cubicBezTo>
                  <a:cubicBezTo>
                    <a:pt x="67611" y="102717"/>
                    <a:pt x="11851" y="228913"/>
                    <a:pt x="11851" y="358043"/>
                  </a:cubicBezTo>
                  <a:cubicBezTo>
                    <a:pt x="11851" y="419674"/>
                    <a:pt x="26525" y="481304"/>
                    <a:pt x="38263" y="540000"/>
                  </a:cubicBezTo>
                  <a:cubicBezTo>
                    <a:pt x="38263" y="545870"/>
                    <a:pt x="38263" y="548804"/>
                    <a:pt x="32395" y="548804"/>
                  </a:cubicBezTo>
                  <a:cubicBezTo>
                    <a:pt x="32395" y="548804"/>
                    <a:pt x="32395" y="548804"/>
                    <a:pt x="32395" y="548804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23C2BFD3-E44B-4F8E-95B1-4226D1E3B872}"/>
                </a:ext>
              </a:extLst>
            </p:cNvPr>
            <p:cNvSpPr/>
            <p:nvPr/>
          </p:nvSpPr>
          <p:spPr>
            <a:xfrm>
              <a:off x="23149650" y="4270425"/>
              <a:ext cx="306433" cy="44344"/>
            </a:xfrm>
            <a:custGeom>
              <a:avLst/>
              <a:gdLst>
                <a:gd name="connsiteX0" fmla="*/ 299348 w 306433"/>
                <a:gd name="connsiteY0" fmla="*/ 44344 h 44344"/>
                <a:gd name="connsiteX1" fmla="*/ 299348 w 306433"/>
                <a:gd name="connsiteY1" fmla="*/ 44344 h 44344"/>
                <a:gd name="connsiteX2" fmla="*/ 5870 w 306433"/>
                <a:gd name="connsiteY2" fmla="*/ 14996 h 44344"/>
                <a:gd name="connsiteX3" fmla="*/ 0 w 306433"/>
                <a:gd name="connsiteY3" fmla="*/ 9127 h 44344"/>
                <a:gd name="connsiteX4" fmla="*/ 5870 w 306433"/>
                <a:gd name="connsiteY4" fmla="*/ 3257 h 44344"/>
                <a:gd name="connsiteX5" fmla="*/ 302282 w 306433"/>
                <a:gd name="connsiteY5" fmla="*/ 32605 h 44344"/>
                <a:gd name="connsiteX6" fmla="*/ 305218 w 306433"/>
                <a:gd name="connsiteY6" fmla="*/ 38474 h 44344"/>
                <a:gd name="connsiteX7" fmla="*/ 299348 w 306433"/>
                <a:gd name="connsiteY7" fmla="*/ 44344 h 44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6433" h="44344">
                  <a:moveTo>
                    <a:pt x="299348" y="44344"/>
                  </a:moveTo>
                  <a:cubicBezTo>
                    <a:pt x="299348" y="44344"/>
                    <a:pt x="299348" y="44344"/>
                    <a:pt x="299348" y="44344"/>
                  </a:cubicBezTo>
                  <a:cubicBezTo>
                    <a:pt x="205435" y="14996"/>
                    <a:pt x="102717" y="6192"/>
                    <a:pt x="5870" y="14996"/>
                  </a:cubicBezTo>
                  <a:cubicBezTo>
                    <a:pt x="2936" y="14996"/>
                    <a:pt x="0" y="12062"/>
                    <a:pt x="0" y="9127"/>
                  </a:cubicBezTo>
                  <a:cubicBezTo>
                    <a:pt x="0" y="6192"/>
                    <a:pt x="2936" y="3257"/>
                    <a:pt x="5870" y="3257"/>
                  </a:cubicBezTo>
                  <a:cubicBezTo>
                    <a:pt x="105653" y="-5547"/>
                    <a:pt x="208371" y="3257"/>
                    <a:pt x="302282" y="32605"/>
                  </a:cubicBezTo>
                  <a:cubicBezTo>
                    <a:pt x="305218" y="32605"/>
                    <a:pt x="308152" y="35540"/>
                    <a:pt x="305218" y="38474"/>
                  </a:cubicBezTo>
                  <a:cubicBezTo>
                    <a:pt x="305218" y="44344"/>
                    <a:pt x="302282" y="44344"/>
                    <a:pt x="299348" y="44344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1F8E1EDE-60F2-406A-93A7-B4AA39854F53}"/>
                </a:ext>
              </a:extLst>
            </p:cNvPr>
            <p:cNvSpPr/>
            <p:nvPr/>
          </p:nvSpPr>
          <p:spPr>
            <a:xfrm>
              <a:off x="22900194" y="4423356"/>
              <a:ext cx="827609" cy="475674"/>
            </a:xfrm>
            <a:custGeom>
              <a:avLst/>
              <a:gdLst>
                <a:gd name="connsiteX0" fmla="*/ 137935 w 827609"/>
                <a:gd name="connsiteY0" fmla="*/ 146739 h 475674"/>
                <a:gd name="connsiteX1" fmla="*/ 0 w 827609"/>
                <a:gd name="connsiteY1" fmla="*/ 381522 h 475674"/>
                <a:gd name="connsiteX2" fmla="*/ 827609 w 827609"/>
                <a:gd name="connsiteY2" fmla="*/ 472500 h 475674"/>
                <a:gd name="connsiteX3" fmla="*/ 724892 w 827609"/>
                <a:gd name="connsiteY3" fmla="*/ 132065 h 475674"/>
                <a:gd name="connsiteX4" fmla="*/ 692610 w 827609"/>
                <a:gd name="connsiteY4" fmla="*/ 0 h 475674"/>
                <a:gd name="connsiteX5" fmla="*/ 137935 w 827609"/>
                <a:gd name="connsiteY5" fmla="*/ 146739 h 475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7609" h="475674">
                  <a:moveTo>
                    <a:pt x="137935" y="146739"/>
                  </a:moveTo>
                  <a:cubicBezTo>
                    <a:pt x="120327" y="179022"/>
                    <a:pt x="0" y="381522"/>
                    <a:pt x="0" y="381522"/>
                  </a:cubicBezTo>
                  <a:cubicBezTo>
                    <a:pt x="0" y="381522"/>
                    <a:pt x="413805" y="495978"/>
                    <a:pt x="827609" y="472500"/>
                  </a:cubicBezTo>
                  <a:cubicBezTo>
                    <a:pt x="827609" y="472500"/>
                    <a:pt x="716088" y="211304"/>
                    <a:pt x="724892" y="132065"/>
                  </a:cubicBezTo>
                  <a:cubicBezTo>
                    <a:pt x="733696" y="55761"/>
                    <a:pt x="692610" y="0"/>
                    <a:pt x="692610" y="0"/>
                  </a:cubicBezTo>
                  <a:cubicBezTo>
                    <a:pt x="692610" y="0"/>
                    <a:pt x="187827" y="55761"/>
                    <a:pt x="137935" y="146739"/>
                  </a:cubicBezTo>
                  <a:close/>
                </a:path>
              </a:pathLst>
            </a:custGeom>
            <a:solidFill>
              <a:srgbClr val="D16156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8E18BDD6-F462-4FCA-BC91-751FBCDEC5DE}"/>
                </a:ext>
              </a:extLst>
            </p:cNvPr>
            <p:cNvSpPr/>
            <p:nvPr/>
          </p:nvSpPr>
          <p:spPr>
            <a:xfrm>
              <a:off x="23202380" y="3222213"/>
              <a:ext cx="400921" cy="546760"/>
            </a:xfrm>
            <a:custGeom>
              <a:avLst/>
              <a:gdLst>
                <a:gd name="connsiteX0" fmla="*/ 3032 w 400921"/>
                <a:gd name="connsiteY0" fmla="*/ 182774 h 546760"/>
                <a:gd name="connsiteX1" fmla="*/ 23576 w 400921"/>
                <a:gd name="connsiteY1" fmla="*/ 429295 h 546760"/>
                <a:gd name="connsiteX2" fmla="*/ 170315 w 400921"/>
                <a:gd name="connsiteY2" fmla="*/ 546687 h 546760"/>
                <a:gd name="connsiteX3" fmla="*/ 372814 w 400921"/>
                <a:gd name="connsiteY3" fmla="*/ 399948 h 546760"/>
                <a:gd name="connsiteX4" fmla="*/ 399227 w 400921"/>
                <a:gd name="connsiteY4" fmla="*/ 182774 h 546760"/>
                <a:gd name="connsiteX5" fmla="*/ 184989 w 400921"/>
                <a:gd name="connsiteY5" fmla="*/ 817 h 546760"/>
                <a:gd name="connsiteX6" fmla="*/ 3032 w 400921"/>
                <a:gd name="connsiteY6" fmla="*/ 182774 h 546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0921" h="546760">
                  <a:moveTo>
                    <a:pt x="3032" y="182774"/>
                  </a:moveTo>
                  <a:cubicBezTo>
                    <a:pt x="3032" y="182774"/>
                    <a:pt x="-11642" y="364730"/>
                    <a:pt x="23576" y="429295"/>
                  </a:cubicBezTo>
                  <a:cubicBezTo>
                    <a:pt x="61727" y="493861"/>
                    <a:pt x="123357" y="546687"/>
                    <a:pt x="170315" y="546687"/>
                  </a:cubicBezTo>
                  <a:cubicBezTo>
                    <a:pt x="234879" y="549622"/>
                    <a:pt x="340532" y="464513"/>
                    <a:pt x="372814" y="399948"/>
                  </a:cubicBezTo>
                  <a:cubicBezTo>
                    <a:pt x="405097" y="335382"/>
                    <a:pt x="402161" y="229730"/>
                    <a:pt x="399227" y="182774"/>
                  </a:cubicBezTo>
                  <a:cubicBezTo>
                    <a:pt x="393358" y="91795"/>
                    <a:pt x="364010" y="18426"/>
                    <a:pt x="184989" y="817"/>
                  </a:cubicBezTo>
                  <a:cubicBezTo>
                    <a:pt x="105749" y="-10922"/>
                    <a:pt x="20640" y="106469"/>
                    <a:pt x="3032" y="182774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3761A712-0C41-46C3-A4B9-E94330730080}"/>
                </a:ext>
              </a:extLst>
            </p:cNvPr>
            <p:cNvSpPr/>
            <p:nvPr/>
          </p:nvSpPr>
          <p:spPr>
            <a:xfrm>
              <a:off x="23337477" y="3480075"/>
              <a:ext cx="55759" cy="127411"/>
            </a:xfrm>
            <a:custGeom>
              <a:avLst/>
              <a:gdLst>
                <a:gd name="connsiteX0" fmla="*/ 26412 w 55759"/>
                <a:gd name="connsiteY0" fmla="*/ 127411 h 127411"/>
                <a:gd name="connsiteX1" fmla="*/ 5870 w 55759"/>
                <a:gd name="connsiteY1" fmla="*/ 121542 h 127411"/>
                <a:gd name="connsiteX2" fmla="*/ 0 w 55759"/>
                <a:gd name="connsiteY2" fmla="*/ 109802 h 127411"/>
                <a:gd name="connsiteX3" fmla="*/ 23478 w 55759"/>
                <a:gd name="connsiteY3" fmla="*/ 4150 h 127411"/>
                <a:gd name="connsiteX4" fmla="*/ 29348 w 55759"/>
                <a:gd name="connsiteY4" fmla="*/ 1216 h 127411"/>
                <a:gd name="connsiteX5" fmla="*/ 32282 w 55759"/>
                <a:gd name="connsiteY5" fmla="*/ 7085 h 127411"/>
                <a:gd name="connsiteX6" fmla="*/ 8804 w 55759"/>
                <a:gd name="connsiteY6" fmla="*/ 109802 h 127411"/>
                <a:gd name="connsiteX7" fmla="*/ 11738 w 55759"/>
                <a:gd name="connsiteY7" fmla="*/ 112737 h 127411"/>
                <a:gd name="connsiteX8" fmla="*/ 49892 w 55759"/>
                <a:gd name="connsiteY8" fmla="*/ 112737 h 127411"/>
                <a:gd name="connsiteX9" fmla="*/ 55760 w 55759"/>
                <a:gd name="connsiteY9" fmla="*/ 115672 h 127411"/>
                <a:gd name="connsiteX10" fmla="*/ 52826 w 55759"/>
                <a:gd name="connsiteY10" fmla="*/ 121542 h 127411"/>
                <a:gd name="connsiteX11" fmla="*/ 26412 w 55759"/>
                <a:gd name="connsiteY11" fmla="*/ 127411 h 127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759" h="127411">
                  <a:moveTo>
                    <a:pt x="26412" y="127411"/>
                  </a:moveTo>
                  <a:cubicBezTo>
                    <a:pt x="17608" y="127411"/>
                    <a:pt x="8804" y="127411"/>
                    <a:pt x="5870" y="121542"/>
                  </a:cubicBezTo>
                  <a:cubicBezTo>
                    <a:pt x="2934" y="118607"/>
                    <a:pt x="0" y="115672"/>
                    <a:pt x="0" y="109802"/>
                  </a:cubicBezTo>
                  <a:cubicBezTo>
                    <a:pt x="0" y="89259"/>
                    <a:pt x="20544" y="7085"/>
                    <a:pt x="23478" y="4150"/>
                  </a:cubicBezTo>
                  <a:cubicBezTo>
                    <a:pt x="23478" y="1216"/>
                    <a:pt x="26412" y="-1719"/>
                    <a:pt x="29348" y="1216"/>
                  </a:cubicBezTo>
                  <a:cubicBezTo>
                    <a:pt x="32282" y="1216"/>
                    <a:pt x="35218" y="4150"/>
                    <a:pt x="32282" y="7085"/>
                  </a:cubicBezTo>
                  <a:cubicBezTo>
                    <a:pt x="26412" y="30563"/>
                    <a:pt x="8804" y="95129"/>
                    <a:pt x="8804" y="109802"/>
                  </a:cubicBezTo>
                  <a:cubicBezTo>
                    <a:pt x="8804" y="109802"/>
                    <a:pt x="8804" y="112737"/>
                    <a:pt x="11738" y="112737"/>
                  </a:cubicBezTo>
                  <a:cubicBezTo>
                    <a:pt x="17608" y="118607"/>
                    <a:pt x="38152" y="115672"/>
                    <a:pt x="49892" y="112737"/>
                  </a:cubicBezTo>
                  <a:cubicBezTo>
                    <a:pt x="52826" y="112737"/>
                    <a:pt x="55760" y="112737"/>
                    <a:pt x="55760" y="115672"/>
                  </a:cubicBezTo>
                  <a:cubicBezTo>
                    <a:pt x="55760" y="118607"/>
                    <a:pt x="55760" y="121542"/>
                    <a:pt x="52826" y="121542"/>
                  </a:cubicBezTo>
                  <a:cubicBezTo>
                    <a:pt x="49892" y="124476"/>
                    <a:pt x="38152" y="127411"/>
                    <a:pt x="26412" y="127411"/>
                  </a:cubicBezTo>
                  <a:close/>
                </a:path>
              </a:pathLst>
            </a:custGeom>
            <a:solidFill>
              <a:srgbClr val="E58777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5178656E-C0E2-404A-B15F-709F606822D0}"/>
                </a:ext>
              </a:extLst>
            </p:cNvPr>
            <p:cNvSpPr/>
            <p:nvPr/>
          </p:nvSpPr>
          <p:spPr>
            <a:xfrm>
              <a:off x="23322803" y="3651508"/>
              <a:ext cx="102717" cy="52943"/>
            </a:xfrm>
            <a:custGeom>
              <a:avLst/>
              <a:gdLst>
                <a:gd name="connsiteX0" fmla="*/ 102717 w 102717"/>
                <a:gd name="connsiteY0" fmla="*/ 0 h 52943"/>
                <a:gd name="connsiteX1" fmla="*/ 0 w 102717"/>
                <a:gd name="connsiteY1" fmla="*/ 2935 h 52943"/>
                <a:gd name="connsiteX2" fmla="*/ 49892 w 102717"/>
                <a:gd name="connsiteY2" fmla="*/ 52826 h 52943"/>
                <a:gd name="connsiteX3" fmla="*/ 102717 w 102717"/>
                <a:gd name="connsiteY3" fmla="*/ 0 h 52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717" h="52943">
                  <a:moveTo>
                    <a:pt x="102717" y="0"/>
                  </a:moveTo>
                  <a:cubicBezTo>
                    <a:pt x="49892" y="26413"/>
                    <a:pt x="0" y="2935"/>
                    <a:pt x="0" y="2935"/>
                  </a:cubicBezTo>
                  <a:cubicBezTo>
                    <a:pt x="0" y="2935"/>
                    <a:pt x="14674" y="55761"/>
                    <a:pt x="49892" y="52826"/>
                  </a:cubicBezTo>
                  <a:cubicBezTo>
                    <a:pt x="90978" y="52826"/>
                    <a:pt x="102717" y="0"/>
                    <a:pt x="102717" y="0"/>
                  </a:cubicBezTo>
                  <a:close/>
                </a:path>
              </a:pathLst>
            </a:custGeom>
            <a:solidFill>
              <a:srgbClr val="FFFFFF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E1EA2507-D22A-41C3-9407-C4E75C730FEA}"/>
                </a:ext>
              </a:extLst>
            </p:cNvPr>
            <p:cNvSpPr/>
            <p:nvPr/>
          </p:nvSpPr>
          <p:spPr>
            <a:xfrm>
              <a:off x="23263359" y="3454130"/>
              <a:ext cx="39475" cy="39647"/>
            </a:xfrm>
            <a:custGeom>
              <a:avLst/>
              <a:gdLst>
                <a:gd name="connsiteX0" fmla="*/ 38900 w 39475"/>
                <a:gd name="connsiteY0" fmla="*/ 24226 h 39647"/>
                <a:gd name="connsiteX1" fmla="*/ 15422 w 39475"/>
                <a:gd name="connsiteY1" fmla="*/ 38900 h 39647"/>
                <a:gd name="connsiteX2" fmla="*/ 748 w 39475"/>
                <a:gd name="connsiteY2" fmla="*/ 15422 h 39647"/>
                <a:gd name="connsiteX3" fmla="*/ 24226 w 39475"/>
                <a:gd name="connsiteY3" fmla="*/ 748 h 39647"/>
                <a:gd name="connsiteX4" fmla="*/ 38900 w 39475"/>
                <a:gd name="connsiteY4" fmla="*/ 24226 h 39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75" h="39647">
                  <a:moveTo>
                    <a:pt x="38900" y="24226"/>
                  </a:moveTo>
                  <a:cubicBezTo>
                    <a:pt x="35966" y="35965"/>
                    <a:pt x="27160" y="41835"/>
                    <a:pt x="15422" y="38900"/>
                  </a:cubicBezTo>
                  <a:cubicBezTo>
                    <a:pt x="3682" y="35965"/>
                    <a:pt x="-2188" y="27161"/>
                    <a:pt x="748" y="15422"/>
                  </a:cubicBezTo>
                  <a:cubicBezTo>
                    <a:pt x="3682" y="3683"/>
                    <a:pt x="12486" y="-2187"/>
                    <a:pt x="24226" y="748"/>
                  </a:cubicBezTo>
                  <a:cubicBezTo>
                    <a:pt x="33030" y="3683"/>
                    <a:pt x="41834" y="15422"/>
                    <a:pt x="38900" y="24226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5F806204-E612-4874-8C83-2E4692D2FB08}"/>
                </a:ext>
              </a:extLst>
            </p:cNvPr>
            <p:cNvSpPr/>
            <p:nvPr/>
          </p:nvSpPr>
          <p:spPr>
            <a:xfrm>
              <a:off x="23448251" y="3454130"/>
              <a:ext cx="38899" cy="39647"/>
            </a:xfrm>
            <a:custGeom>
              <a:avLst/>
              <a:gdLst>
                <a:gd name="connsiteX0" fmla="*/ 38899 w 38899"/>
                <a:gd name="connsiteY0" fmla="*/ 24226 h 39647"/>
                <a:gd name="connsiteX1" fmla="*/ 15422 w 38899"/>
                <a:gd name="connsiteY1" fmla="*/ 38900 h 39647"/>
                <a:gd name="connsiteX2" fmla="*/ 748 w 38899"/>
                <a:gd name="connsiteY2" fmla="*/ 15422 h 39647"/>
                <a:gd name="connsiteX3" fmla="*/ 24226 w 38899"/>
                <a:gd name="connsiteY3" fmla="*/ 748 h 39647"/>
                <a:gd name="connsiteX4" fmla="*/ 38899 w 38899"/>
                <a:gd name="connsiteY4" fmla="*/ 24226 h 39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899" h="39647">
                  <a:moveTo>
                    <a:pt x="38899" y="24226"/>
                  </a:moveTo>
                  <a:cubicBezTo>
                    <a:pt x="35965" y="35965"/>
                    <a:pt x="27161" y="41835"/>
                    <a:pt x="15422" y="38900"/>
                  </a:cubicBezTo>
                  <a:cubicBezTo>
                    <a:pt x="3682" y="35965"/>
                    <a:pt x="-2186" y="27161"/>
                    <a:pt x="748" y="15422"/>
                  </a:cubicBezTo>
                  <a:cubicBezTo>
                    <a:pt x="3682" y="3683"/>
                    <a:pt x="12488" y="-2187"/>
                    <a:pt x="24226" y="748"/>
                  </a:cubicBezTo>
                  <a:cubicBezTo>
                    <a:pt x="33030" y="3683"/>
                    <a:pt x="38899" y="12487"/>
                    <a:pt x="38899" y="24226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35B66D16-9563-465F-B586-201DB77387A8}"/>
                </a:ext>
              </a:extLst>
            </p:cNvPr>
            <p:cNvSpPr/>
            <p:nvPr/>
          </p:nvSpPr>
          <p:spPr>
            <a:xfrm>
              <a:off x="23238428" y="3407826"/>
              <a:ext cx="88525" cy="35312"/>
            </a:xfrm>
            <a:custGeom>
              <a:avLst/>
              <a:gdLst>
                <a:gd name="connsiteX0" fmla="*/ 8070 w 88525"/>
                <a:gd name="connsiteY0" fmla="*/ 35312 h 35312"/>
                <a:gd name="connsiteX1" fmla="*/ 2202 w 88525"/>
                <a:gd name="connsiteY1" fmla="*/ 32377 h 35312"/>
                <a:gd name="connsiteX2" fmla="*/ 2202 w 88525"/>
                <a:gd name="connsiteY2" fmla="*/ 20638 h 35312"/>
                <a:gd name="connsiteX3" fmla="*/ 84375 w 88525"/>
                <a:gd name="connsiteY3" fmla="*/ 5964 h 35312"/>
                <a:gd name="connsiteX4" fmla="*/ 87310 w 88525"/>
                <a:gd name="connsiteY4" fmla="*/ 14769 h 35312"/>
                <a:gd name="connsiteX5" fmla="*/ 78506 w 88525"/>
                <a:gd name="connsiteY5" fmla="*/ 17704 h 35312"/>
                <a:gd name="connsiteX6" fmla="*/ 13940 w 88525"/>
                <a:gd name="connsiteY6" fmla="*/ 26508 h 35312"/>
                <a:gd name="connsiteX7" fmla="*/ 8070 w 88525"/>
                <a:gd name="connsiteY7" fmla="*/ 35312 h 35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5312">
                  <a:moveTo>
                    <a:pt x="8070" y="35312"/>
                  </a:moveTo>
                  <a:cubicBezTo>
                    <a:pt x="5136" y="35312"/>
                    <a:pt x="5136" y="35312"/>
                    <a:pt x="2202" y="32377"/>
                  </a:cubicBezTo>
                  <a:cubicBezTo>
                    <a:pt x="-734" y="29443"/>
                    <a:pt x="-734" y="23573"/>
                    <a:pt x="2202" y="20638"/>
                  </a:cubicBezTo>
                  <a:cubicBezTo>
                    <a:pt x="25680" y="-8709"/>
                    <a:pt x="66766" y="95"/>
                    <a:pt x="84375" y="5964"/>
                  </a:cubicBezTo>
                  <a:cubicBezTo>
                    <a:pt x="87310" y="8899"/>
                    <a:pt x="90245" y="11834"/>
                    <a:pt x="87310" y="14769"/>
                  </a:cubicBezTo>
                  <a:cubicBezTo>
                    <a:pt x="84375" y="17704"/>
                    <a:pt x="81440" y="20638"/>
                    <a:pt x="78506" y="17704"/>
                  </a:cubicBezTo>
                  <a:cubicBezTo>
                    <a:pt x="75571" y="17704"/>
                    <a:pt x="37418" y="95"/>
                    <a:pt x="13940" y="26508"/>
                  </a:cubicBezTo>
                  <a:cubicBezTo>
                    <a:pt x="11006" y="35312"/>
                    <a:pt x="8070" y="35312"/>
                    <a:pt x="8070" y="35312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FC481B56-3D49-45CD-8D29-F8EEA3568ACF}"/>
                </a:ext>
              </a:extLst>
            </p:cNvPr>
            <p:cNvSpPr/>
            <p:nvPr/>
          </p:nvSpPr>
          <p:spPr>
            <a:xfrm>
              <a:off x="23417723" y="3400172"/>
              <a:ext cx="89237" cy="34162"/>
            </a:xfrm>
            <a:custGeom>
              <a:avLst/>
              <a:gdLst>
                <a:gd name="connsiteX0" fmla="*/ 84101 w 89237"/>
                <a:gd name="connsiteY0" fmla="*/ 34163 h 34162"/>
                <a:gd name="connsiteX1" fmla="*/ 78231 w 89237"/>
                <a:gd name="connsiteY1" fmla="*/ 31228 h 34162"/>
                <a:gd name="connsiteX2" fmla="*/ 13667 w 89237"/>
                <a:gd name="connsiteY2" fmla="*/ 28293 h 34162"/>
                <a:gd name="connsiteX3" fmla="*/ 1927 w 89237"/>
                <a:gd name="connsiteY3" fmla="*/ 25358 h 34162"/>
                <a:gd name="connsiteX4" fmla="*/ 4861 w 89237"/>
                <a:gd name="connsiteY4" fmla="*/ 13619 h 34162"/>
                <a:gd name="connsiteX5" fmla="*/ 87037 w 89237"/>
                <a:gd name="connsiteY5" fmla="*/ 19489 h 34162"/>
                <a:gd name="connsiteX6" fmla="*/ 87037 w 89237"/>
                <a:gd name="connsiteY6" fmla="*/ 31228 h 34162"/>
                <a:gd name="connsiteX7" fmla="*/ 84101 w 89237"/>
                <a:gd name="connsiteY7" fmla="*/ 34163 h 34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237" h="34162">
                  <a:moveTo>
                    <a:pt x="84101" y="34163"/>
                  </a:moveTo>
                  <a:cubicBezTo>
                    <a:pt x="81167" y="34163"/>
                    <a:pt x="81167" y="34163"/>
                    <a:pt x="78231" y="31228"/>
                  </a:cubicBezTo>
                  <a:cubicBezTo>
                    <a:pt x="78231" y="31228"/>
                    <a:pt x="48883" y="4815"/>
                    <a:pt x="13667" y="28293"/>
                  </a:cubicBezTo>
                  <a:cubicBezTo>
                    <a:pt x="10731" y="31228"/>
                    <a:pt x="4861" y="31228"/>
                    <a:pt x="1927" y="25358"/>
                  </a:cubicBezTo>
                  <a:cubicBezTo>
                    <a:pt x="-1007" y="22424"/>
                    <a:pt x="-1007" y="16554"/>
                    <a:pt x="4861" y="13619"/>
                  </a:cubicBezTo>
                  <a:cubicBezTo>
                    <a:pt x="40079" y="-12794"/>
                    <a:pt x="75297" y="4815"/>
                    <a:pt x="87037" y="19489"/>
                  </a:cubicBezTo>
                  <a:cubicBezTo>
                    <a:pt x="89971" y="22424"/>
                    <a:pt x="89971" y="28293"/>
                    <a:pt x="87037" y="31228"/>
                  </a:cubicBezTo>
                  <a:cubicBezTo>
                    <a:pt x="87037" y="34163"/>
                    <a:pt x="87037" y="34163"/>
                    <a:pt x="84101" y="34163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37EC298B-3AE6-4919-BE38-DABA9E487DCF}"/>
                </a:ext>
              </a:extLst>
            </p:cNvPr>
            <p:cNvSpPr/>
            <p:nvPr/>
          </p:nvSpPr>
          <p:spPr>
            <a:xfrm>
              <a:off x="23182927" y="3186996"/>
              <a:ext cx="258521" cy="256142"/>
            </a:xfrm>
            <a:custGeom>
              <a:avLst/>
              <a:gdLst>
                <a:gd name="connsiteX0" fmla="*/ 254331 w 258521"/>
                <a:gd name="connsiteY0" fmla="*/ 817 h 256142"/>
                <a:gd name="connsiteX1" fmla="*/ 224984 w 258521"/>
                <a:gd name="connsiteY1" fmla="*/ 124078 h 256142"/>
                <a:gd name="connsiteX2" fmla="*/ 1941 w 258521"/>
                <a:gd name="connsiteY2" fmla="*/ 256143 h 256142"/>
                <a:gd name="connsiteX3" fmla="*/ 254331 w 258521"/>
                <a:gd name="connsiteY3" fmla="*/ 817 h 256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8521" h="256142">
                  <a:moveTo>
                    <a:pt x="254331" y="817"/>
                  </a:moveTo>
                  <a:cubicBezTo>
                    <a:pt x="254331" y="817"/>
                    <a:pt x="274875" y="85926"/>
                    <a:pt x="224984" y="124078"/>
                  </a:cubicBezTo>
                  <a:cubicBezTo>
                    <a:pt x="224984" y="124078"/>
                    <a:pt x="25419" y="173969"/>
                    <a:pt x="1941" y="256143"/>
                  </a:cubicBezTo>
                  <a:cubicBezTo>
                    <a:pt x="-993" y="256143"/>
                    <a:pt x="-27407" y="-16792"/>
                    <a:pt x="254331" y="817"/>
                  </a:cubicBezTo>
                  <a:close/>
                </a:path>
              </a:pathLst>
            </a:custGeom>
            <a:solidFill>
              <a:srgbClr val="664241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EEB3DD8D-329B-4167-B69D-838B0B318CF2}"/>
                </a:ext>
              </a:extLst>
            </p:cNvPr>
            <p:cNvSpPr/>
            <p:nvPr/>
          </p:nvSpPr>
          <p:spPr>
            <a:xfrm>
              <a:off x="23407911" y="3190694"/>
              <a:ext cx="223437" cy="296190"/>
            </a:xfrm>
            <a:custGeom>
              <a:avLst/>
              <a:gdLst>
                <a:gd name="connsiteX0" fmla="*/ 0 w 223437"/>
                <a:gd name="connsiteY0" fmla="*/ 123314 h 296190"/>
                <a:gd name="connsiteX1" fmla="*/ 137935 w 223437"/>
                <a:gd name="connsiteY1" fmla="*/ 170270 h 296190"/>
                <a:gd name="connsiteX2" fmla="*/ 199567 w 223437"/>
                <a:gd name="connsiteY2" fmla="*/ 284727 h 296190"/>
                <a:gd name="connsiteX3" fmla="*/ 223045 w 223437"/>
                <a:gd name="connsiteY3" fmla="*/ 278857 h 296190"/>
                <a:gd name="connsiteX4" fmla="*/ 29348 w 223437"/>
                <a:gd name="connsiteY4" fmla="*/ 53 h 296190"/>
                <a:gd name="connsiteX5" fmla="*/ 0 w 223437"/>
                <a:gd name="connsiteY5" fmla="*/ 123314 h 296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3437" h="296190">
                  <a:moveTo>
                    <a:pt x="0" y="123314"/>
                  </a:moveTo>
                  <a:cubicBezTo>
                    <a:pt x="0" y="123314"/>
                    <a:pt x="88043" y="164401"/>
                    <a:pt x="137935" y="170270"/>
                  </a:cubicBezTo>
                  <a:cubicBezTo>
                    <a:pt x="187827" y="173205"/>
                    <a:pt x="199567" y="284727"/>
                    <a:pt x="199567" y="284727"/>
                  </a:cubicBezTo>
                  <a:cubicBezTo>
                    <a:pt x="199567" y="284727"/>
                    <a:pt x="220109" y="314075"/>
                    <a:pt x="223045" y="278857"/>
                  </a:cubicBezTo>
                  <a:cubicBezTo>
                    <a:pt x="225979" y="202553"/>
                    <a:pt x="217175" y="11792"/>
                    <a:pt x="29348" y="53"/>
                  </a:cubicBezTo>
                  <a:cubicBezTo>
                    <a:pt x="29348" y="-2882"/>
                    <a:pt x="20544" y="117444"/>
                    <a:pt x="0" y="123314"/>
                  </a:cubicBezTo>
                  <a:close/>
                </a:path>
              </a:pathLst>
            </a:custGeom>
            <a:solidFill>
              <a:srgbClr val="664241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EC18542B-666E-4A3D-94B7-68E431C35FE1}"/>
                </a:ext>
              </a:extLst>
            </p:cNvPr>
            <p:cNvSpPr/>
            <p:nvPr/>
          </p:nvSpPr>
          <p:spPr>
            <a:xfrm>
              <a:off x="23399107" y="3187813"/>
              <a:ext cx="150890" cy="176086"/>
            </a:xfrm>
            <a:custGeom>
              <a:avLst/>
              <a:gdLst>
                <a:gd name="connsiteX0" fmla="*/ 146739 w 150890"/>
                <a:gd name="connsiteY0" fmla="*/ 176087 h 176086"/>
                <a:gd name="connsiteX1" fmla="*/ 146739 w 150890"/>
                <a:gd name="connsiteY1" fmla="*/ 176087 h 176086"/>
                <a:gd name="connsiteX2" fmla="*/ 49892 w 150890"/>
                <a:gd name="connsiteY2" fmla="*/ 149674 h 176086"/>
                <a:gd name="connsiteX3" fmla="*/ 5870 w 150890"/>
                <a:gd name="connsiteY3" fmla="*/ 129130 h 176086"/>
                <a:gd name="connsiteX4" fmla="*/ 0 w 150890"/>
                <a:gd name="connsiteY4" fmla="*/ 126196 h 176086"/>
                <a:gd name="connsiteX5" fmla="*/ 2936 w 150890"/>
                <a:gd name="connsiteY5" fmla="*/ 120326 h 176086"/>
                <a:gd name="connsiteX6" fmla="*/ 17610 w 150890"/>
                <a:gd name="connsiteY6" fmla="*/ 96848 h 176086"/>
                <a:gd name="connsiteX7" fmla="*/ 26414 w 150890"/>
                <a:gd name="connsiteY7" fmla="*/ 58696 h 176086"/>
                <a:gd name="connsiteX8" fmla="*/ 29348 w 150890"/>
                <a:gd name="connsiteY8" fmla="*/ 32283 h 176086"/>
                <a:gd name="connsiteX9" fmla="*/ 32284 w 150890"/>
                <a:gd name="connsiteY9" fmla="*/ 5870 h 176086"/>
                <a:gd name="connsiteX10" fmla="*/ 38152 w 150890"/>
                <a:gd name="connsiteY10" fmla="*/ 0 h 176086"/>
                <a:gd name="connsiteX11" fmla="*/ 44022 w 150890"/>
                <a:gd name="connsiteY11" fmla="*/ 5870 h 176086"/>
                <a:gd name="connsiteX12" fmla="*/ 41088 w 150890"/>
                <a:gd name="connsiteY12" fmla="*/ 32283 h 176086"/>
                <a:gd name="connsiteX13" fmla="*/ 38152 w 150890"/>
                <a:gd name="connsiteY13" fmla="*/ 58696 h 176086"/>
                <a:gd name="connsiteX14" fmla="*/ 29348 w 150890"/>
                <a:gd name="connsiteY14" fmla="*/ 102717 h 176086"/>
                <a:gd name="connsiteX15" fmla="*/ 14674 w 150890"/>
                <a:gd name="connsiteY15" fmla="*/ 123261 h 176086"/>
                <a:gd name="connsiteX16" fmla="*/ 52826 w 150890"/>
                <a:gd name="connsiteY16" fmla="*/ 140870 h 176086"/>
                <a:gd name="connsiteX17" fmla="*/ 143805 w 150890"/>
                <a:gd name="connsiteY17" fmla="*/ 167283 h 176086"/>
                <a:gd name="connsiteX18" fmla="*/ 149675 w 150890"/>
                <a:gd name="connsiteY18" fmla="*/ 173152 h 176086"/>
                <a:gd name="connsiteX19" fmla="*/ 146739 w 150890"/>
                <a:gd name="connsiteY19" fmla="*/ 176087 h 176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0890" h="176086">
                  <a:moveTo>
                    <a:pt x="146739" y="176087"/>
                  </a:moveTo>
                  <a:cubicBezTo>
                    <a:pt x="146739" y="176087"/>
                    <a:pt x="146739" y="176087"/>
                    <a:pt x="146739" y="176087"/>
                  </a:cubicBezTo>
                  <a:cubicBezTo>
                    <a:pt x="111521" y="173152"/>
                    <a:pt x="73370" y="158478"/>
                    <a:pt x="49892" y="149674"/>
                  </a:cubicBezTo>
                  <a:cubicBezTo>
                    <a:pt x="23478" y="137935"/>
                    <a:pt x="5870" y="129130"/>
                    <a:pt x="5870" y="129130"/>
                  </a:cubicBezTo>
                  <a:lnTo>
                    <a:pt x="0" y="126196"/>
                  </a:lnTo>
                  <a:lnTo>
                    <a:pt x="2936" y="120326"/>
                  </a:lnTo>
                  <a:cubicBezTo>
                    <a:pt x="8804" y="111522"/>
                    <a:pt x="14674" y="105652"/>
                    <a:pt x="17610" y="96848"/>
                  </a:cubicBezTo>
                  <a:cubicBezTo>
                    <a:pt x="23478" y="85109"/>
                    <a:pt x="23478" y="70435"/>
                    <a:pt x="26414" y="58696"/>
                  </a:cubicBezTo>
                  <a:cubicBezTo>
                    <a:pt x="26414" y="52826"/>
                    <a:pt x="26414" y="41087"/>
                    <a:pt x="29348" y="32283"/>
                  </a:cubicBezTo>
                  <a:cubicBezTo>
                    <a:pt x="29348" y="20544"/>
                    <a:pt x="32284" y="11739"/>
                    <a:pt x="32284" y="5870"/>
                  </a:cubicBezTo>
                  <a:cubicBezTo>
                    <a:pt x="32284" y="2935"/>
                    <a:pt x="35218" y="0"/>
                    <a:pt x="38152" y="0"/>
                  </a:cubicBezTo>
                  <a:cubicBezTo>
                    <a:pt x="41088" y="0"/>
                    <a:pt x="44022" y="2935"/>
                    <a:pt x="44022" y="5870"/>
                  </a:cubicBezTo>
                  <a:cubicBezTo>
                    <a:pt x="44022" y="11739"/>
                    <a:pt x="44022" y="23478"/>
                    <a:pt x="41088" y="32283"/>
                  </a:cubicBezTo>
                  <a:cubicBezTo>
                    <a:pt x="41088" y="44022"/>
                    <a:pt x="38152" y="52826"/>
                    <a:pt x="38152" y="58696"/>
                  </a:cubicBezTo>
                  <a:cubicBezTo>
                    <a:pt x="38152" y="73370"/>
                    <a:pt x="35218" y="88043"/>
                    <a:pt x="29348" y="102717"/>
                  </a:cubicBezTo>
                  <a:cubicBezTo>
                    <a:pt x="26414" y="111522"/>
                    <a:pt x="20544" y="117391"/>
                    <a:pt x="14674" y="123261"/>
                  </a:cubicBezTo>
                  <a:cubicBezTo>
                    <a:pt x="20544" y="126196"/>
                    <a:pt x="35218" y="135000"/>
                    <a:pt x="52826" y="140870"/>
                  </a:cubicBezTo>
                  <a:cubicBezTo>
                    <a:pt x="76305" y="149674"/>
                    <a:pt x="111521" y="164348"/>
                    <a:pt x="143805" y="167283"/>
                  </a:cubicBezTo>
                  <a:cubicBezTo>
                    <a:pt x="146739" y="167283"/>
                    <a:pt x="149675" y="170217"/>
                    <a:pt x="149675" y="173152"/>
                  </a:cubicBezTo>
                  <a:cubicBezTo>
                    <a:pt x="152609" y="173152"/>
                    <a:pt x="149675" y="176087"/>
                    <a:pt x="146739" y="176087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61B7199B-EA27-44B7-9307-1453D6556D1A}"/>
                </a:ext>
              </a:extLst>
            </p:cNvPr>
            <p:cNvSpPr/>
            <p:nvPr/>
          </p:nvSpPr>
          <p:spPr>
            <a:xfrm>
              <a:off x="23490086" y="3307444"/>
              <a:ext cx="246520" cy="522829"/>
            </a:xfrm>
            <a:custGeom>
              <a:avLst/>
              <a:gdLst>
                <a:gd name="connsiteX0" fmla="*/ 46956 w 246520"/>
                <a:gd name="connsiteY0" fmla="*/ 56455 h 522829"/>
                <a:gd name="connsiteX1" fmla="*/ 0 w 246520"/>
                <a:gd name="connsiteY1" fmla="*/ 502542 h 522829"/>
                <a:gd name="connsiteX2" fmla="*/ 246521 w 246520"/>
                <a:gd name="connsiteY2" fmla="*/ 484934 h 522829"/>
                <a:gd name="connsiteX3" fmla="*/ 117391 w 246520"/>
                <a:gd name="connsiteY3" fmla="*/ 3629 h 522829"/>
                <a:gd name="connsiteX4" fmla="*/ 46956 w 246520"/>
                <a:gd name="connsiteY4" fmla="*/ 56455 h 522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520" h="522829">
                  <a:moveTo>
                    <a:pt x="46956" y="56455"/>
                  </a:moveTo>
                  <a:cubicBezTo>
                    <a:pt x="46956" y="56455"/>
                    <a:pt x="155543" y="241347"/>
                    <a:pt x="0" y="502542"/>
                  </a:cubicBezTo>
                  <a:cubicBezTo>
                    <a:pt x="0" y="502542"/>
                    <a:pt x="132065" y="558303"/>
                    <a:pt x="246521" y="484934"/>
                  </a:cubicBezTo>
                  <a:cubicBezTo>
                    <a:pt x="246521" y="484934"/>
                    <a:pt x="237717" y="244282"/>
                    <a:pt x="117391" y="3629"/>
                  </a:cubicBezTo>
                  <a:cubicBezTo>
                    <a:pt x="108586" y="-16914"/>
                    <a:pt x="46956" y="56455"/>
                    <a:pt x="46956" y="56455"/>
                  </a:cubicBezTo>
                  <a:close/>
                </a:path>
              </a:pathLst>
            </a:custGeom>
            <a:solidFill>
              <a:srgbClr val="664241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606B4E87-8463-496E-90DD-6029F2103528}"/>
                </a:ext>
              </a:extLst>
            </p:cNvPr>
            <p:cNvSpPr/>
            <p:nvPr/>
          </p:nvSpPr>
          <p:spPr>
            <a:xfrm>
              <a:off x="23152586" y="3352160"/>
              <a:ext cx="134999" cy="164347"/>
            </a:xfrm>
            <a:custGeom>
              <a:avLst/>
              <a:gdLst>
                <a:gd name="connsiteX0" fmla="*/ 5868 w 134999"/>
                <a:gd name="connsiteY0" fmla="*/ 164348 h 164347"/>
                <a:gd name="connsiteX1" fmla="*/ 5868 w 134999"/>
                <a:gd name="connsiteY1" fmla="*/ 164348 h 164347"/>
                <a:gd name="connsiteX2" fmla="*/ 0 w 134999"/>
                <a:gd name="connsiteY2" fmla="*/ 158478 h 164347"/>
                <a:gd name="connsiteX3" fmla="*/ 129129 w 134999"/>
                <a:gd name="connsiteY3" fmla="*/ 0 h 164347"/>
                <a:gd name="connsiteX4" fmla="*/ 134999 w 134999"/>
                <a:gd name="connsiteY4" fmla="*/ 2935 h 164347"/>
                <a:gd name="connsiteX5" fmla="*/ 132065 w 134999"/>
                <a:gd name="connsiteY5" fmla="*/ 8804 h 164347"/>
                <a:gd name="connsiteX6" fmla="*/ 11738 w 134999"/>
                <a:gd name="connsiteY6" fmla="*/ 158478 h 164347"/>
                <a:gd name="connsiteX7" fmla="*/ 5868 w 134999"/>
                <a:gd name="connsiteY7" fmla="*/ 164348 h 164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4999" h="164347">
                  <a:moveTo>
                    <a:pt x="5868" y="164348"/>
                  </a:moveTo>
                  <a:cubicBezTo>
                    <a:pt x="5868" y="164348"/>
                    <a:pt x="5868" y="164348"/>
                    <a:pt x="5868" y="164348"/>
                  </a:cubicBezTo>
                  <a:cubicBezTo>
                    <a:pt x="2934" y="164348"/>
                    <a:pt x="0" y="161413"/>
                    <a:pt x="0" y="158478"/>
                  </a:cubicBezTo>
                  <a:cubicBezTo>
                    <a:pt x="20542" y="35217"/>
                    <a:pt x="126195" y="0"/>
                    <a:pt x="129129" y="0"/>
                  </a:cubicBezTo>
                  <a:cubicBezTo>
                    <a:pt x="132065" y="0"/>
                    <a:pt x="134999" y="0"/>
                    <a:pt x="134999" y="2935"/>
                  </a:cubicBezTo>
                  <a:cubicBezTo>
                    <a:pt x="134999" y="5870"/>
                    <a:pt x="134999" y="8804"/>
                    <a:pt x="132065" y="8804"/>
                  </a:cubicBezTo>
                  <a:cubicBezTo>
                    <a:pt x="132065" y="8804"/>
                    <a:pt x="29348" y="41087"/>
                    <a:pt x="11738" y="158478"/>
                  </a:cubicBezTo>
                  <a:cubicBezTo>
                    <a:pt x="11738" y="164348"/>
                    <a:pt x="8804" y="164348"/>
                    <a:pt x="5868" y="164348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48EF4DF9-C440-4C8C-A23A-82E88898A64B}"/>
                </a:ext>
              </a:extLst>
            </p:cNvPr>
            <p:cNvSpPr/>
            <p:nvPr/>
          </p:nvSpPr>
          <p:spPr>
            <a:xfrm>
              <a:off x="23050602" y="3557595"/>
              <a:ext cx="84374" cy="181956"/>
            </a:xfrm>
            <a:custGeom>
              <a:avLst/>
              <a:gdLst>
                <a:gd name="connsiteX0" fmla="*/ 5135 w 84374"/>
                <a:gd name="connsiteY0" fmla="*/ 181957 h 181956"/>
                <a:gd name="connsiteX1" fmla="*/ 2201 w 84374"/>
                <a:gd name="connsiteY1" fmla="*/ 179022 h 181956"/>
                <a:gd name="connsiteX2" fmla="*/ 2201 w 84374"/>
                <a:gd name="connsiteY2" fmla="*/ 170217 h 181956"/>
                <a:gd name="connsiteX3" fmla="*/ 72636 w 84374"/>
                <a:gd name="connsiteY3" fmla="*/ 5870 h 181956"/>
                <a:gd name="connsiteX4" fmla="*/ 78504 w 84374"/>
                <a:gd name="connsiteY4" fmla="*/ 0 h 181956"/>
                <a:gd name="connsiteX5" fmla="*/ 84374 w 84374"/>
                <a:gd name="connsiteY5" fmla="*/ 5870 h 181956"/>
                <a:gd name="connsiteX6" fmla="*/ 13940 w 84374"/>
                <a:gd name="connsiteY6" fmla="*/ 173152 h 181956"/>
                <a:gd name="connsiteX7" fmla="*/ 5135 w 84374"/>
                <a:gd name="connsiteY7" fmla="*/ 181957 h 181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374" h="181956">
                  <a:moveTo>
                    <a:pt x="5135" y="181957"/>
                  </a:moveTo>
                  <a:cubicBezTo>
                    <a:pt x="5135" y="181957"/>
                    <a:pt x="2201" y="181957"/>
                    <a:pt x="2201" y="179022"/>
                  </a:cubicBezTo>
                  <a:cubicBezTo>
                    <a:pt x="-734" y="176087"/>
                    <a:pt x="-734" y="173152"/>
                    <a:pt x="2201" y="170217"/>
                  </a:cubicBezTo>
                  <a:cubicBezTo>
                    <a:pt x="52092" y="117391"/>
                    <a:pt x="69700" y="8804"/>
                    <a:pt x="72636" y="5870"/>
                  </a:cubicBezTo>
                  <a:cubicBezTo>
                    <a:pt x="72636" y="2935"/>
                    <a:pt x="75570" y="0"/>
                    <a:pt x="78504" y="0"/>
                  </a:cubicBezTo>
                  <a:cubicBezTo>
                    <a:pt x="81440" y="0"/>
                    <a:pt x="84374" y="2935"/>
                    <a:pt x="84374" y="5870"/>
                  </a:cubicBezTo>
                  <a:cubicBezTo>
                    <a:pt x="84374" y="11739"/>
                    <a:pt x="63830" y="120326"/>
                    <a:pt x="13940" y="173152"/>
                  </a:cubicBezTo>
                  <a:cubicBezTo>
                    <a:pt x="8070" y="179022"/>
                    <a:pt x="8070" y="181957"/>
                    <a:pt x="5135" y="181957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CBBAC9EB-F31B-4D16-B614-C2FE8DAF599B}"/>
                </a:ext>
              </a:extLst>
            </p:cNvPr>
            <p:cNvSpPr/>
            <p:nvPr/>
          </p:nvSpPr>
          <p:spPr>
            <a:xfrm>
              <a:off x="23094624" y="3633899"/>
              <a:ext cx="67981" cy="123261"/>
            </a:xfrm>
            <a:custGeom>
              <a:avLst/>
              <a:gdLst>
                <a:gd name="connsiteX0" fmla="*/ 5135 w 67981"/>
                <a:gd name="connsiteY0" fmla="*/ 123261 h 123261"/>
                <a:gd name="connsiteX1" fmla="*/ 2201 w 67981"/>
                <a:gd name="connsiteY1" fmla="*/ 120326 h 123261"/>
                <a:gd name="connsiteX2" fmla="*/ 2201 w 67981"/>
                <a:gd name="connsiteY2" fmla="*/ 111522 h 123261"/>
                <a:gd name="connsiteX3" fmla="*/ 57962 w 67981"/>
                <a:gd name="connsiteY3" fmla="*/ 2935 h 123261"/>
                <a:gd name="connsiteX4" fmla="*/ 63830 w 67981"/>
                <a:gd name="connsiteY4" fmla="*/ 0 h 123261"/>
                <a:gd name="connsiteX5" fmla="*/ 66766 w 67981"/>
                <a:gd name="connsiteY5" fmla="*/ 5870 h 123261"/>
                <a:gd name="connsiteX6" fmla="*/ 5135 w 67981"/>
                <a:gd name="connsiteY6" fmla="*/ 120326 h 123261"/>
                <a:gd name="connsiteX7" fmla="*/ 5135 w 67981"/>
                <a:gd name="connsiteY7" fmla="*/ 123261 h 123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981" h="123261">
                  <a:moveTo>
                    <a:pt x="5135" y="123261"/>
                  </a:moveTo>
                  <a:cubicBezTo>
                    <a:pt x="2201" y="123261"/>
                    <a:pt x="2201" y="123261"/>
                    <a:pt x="2201" y="120326"/>
                  </a:cubicBezTo>
                  <a:cubicBezTo>
                    <a:pt x="-734" y="117391"/>
                    <a:pt x="-734" y="114457"/>
                    <a:pt x="2201" y="111522"/>
                  </a:cubicBezTo>
                  <a:cubicBezTo>
                    <a:pt x="31548" y="85109"/>
                    <a:pt x="57962" y="2935"/>
                    <a:pt x="57962" y="2935"/>
                  </a:cubicBezTo>
                  <a:cubicBezTo>
                    <a:pt x="57962" y="0"/>
                    <a:pt x="60896" y="0"/>
                    <a:pt x="63830" y="0"/>
                  </a:cubicBezTo>
                  <a:cubicBezTo>
                    <a:pt x="66766" y="0"/>
                    <a:pt x="69700" y="2935"/>
                    <a:pt x="66766" y="5870"/>
                  </a:cubicBezTo>
                  <a:cubicBezTo>
                    <a:pt x="66766" y="8804"/>
                    <a:pt x="40352" y="93913"/>
                    <a:pt x="5135" y="120326"/>
                  </a:cubicBezTo>
                  <a:cubicBezTo>
                    <a:pt x="8070" y="123261"/>
                    <a:pt x="8070" y="123261"/>
                    <a:pt x="5135" y="123261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AFCF16D5-AA24-4A35-8D23-F1A1478A13A2}"/>
                </a:ext>
              </a:extLst>
            </p:cNvPr>
            <p:cNvSpPr/>
            <p:nvPr/>
          </p:nvSpPr>
          <p:spPr>
            <a:xfrm>
              <a:off x="23487150" y="3350856"/>
              <a:ext cx="92642" cy="462065"/>
            </a:xfrm>
            <a:custGeom>
              <a:avLst/>
              <a:gdLst>
                <a:gd name="connsiteX0" fmla="*/ 5870 w 92642"/>
                <a:gd name="connsiteY0" fmla="*/ 462065 h 462065"/>
                <a:gd name="connsiteX1" fmla="*/ 5870 w 92642"/>
                <a:gd name="connsiteY1" fmla="*/ 462065 h 462065"/>
                <a:gd name="connsiteX2" fmla="*/ 0 w 92642"/>
                <a:gd name="connsiteY2" fmla="*/ 453261 h 462065"/>
                <a:gd name="connsiteX3" fmla="*/ 76305 w 92642"/>
                <a:gd name="connsiteY3" fmla="*/ 127500 h 462065"/>
                <a:gd name="connsiteX4" fmla="*/ 35218 w 92642"/>
                <a:gd name="connsiteY4" fmla="*/ 10109 h 462065"/>
                <a:gd name="connsiteX5" fmla="*/ 35218 w 92642"/>
                <a:gd name="connsiteY5" fmla="*/ 1304 h 462065"/>
                <a:gd name="connsiteX6" fmla="*/ 44022 w 92642"/>
                <a:gd name="connsiteY6" fmla="*/ 1304 h 462065"/>
                <a:gd name="connsiteX7" fmla="*/ 88043 w 92642"/>
                <a:gd name="connsiteY7" fmla="*/ 121630 h 462065"/>
                <a:gd name="connsiteX8" fmla="*/ 11740 w 92642"/>
                <a:gd name="connsiteY8" fmla="*/ 456196 h 462065"/>
                <a:gd name="connsiteX9" fmla="*/ 5870 w 92642"/>
                <a:gd name="connsiteY9" fmla="*/ 462065 h 462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642" h="462065">
                  <a:moveTo>
                    <a:pt x="5870" y="462065"/>
                  </a:moveTo>
                  <a:cubicBezTo>
                    <a:pt x="5870" y="462065"/>
                    <a:pt x="5870" y="462065"/>
                    <a:pt x="5870" y="462065"/>
                  </a:cubicBezTo>
                  <a:cubicBezTo>
                    <a:pt x="0" y="459130"/>
                    <a:pt x="0" y="456196"/>
                    <a:pt x="0" y="453261"/>
                  </a:cubicBezTo>
                  <a:cubicBezTo>
                    <a:pt x="79239" y="309457"/>
                    <a:pt x="85109" y="195000"/>
                    <a:pt x="76305" y="127500"/>
                  </a:cubicBezTo>
                  <a:cubicBezTo>
                    <a:pt x="64566" y="51196"/>
                    <a:pt x="35218" y="10109"/>
                    <a:pt x="35218" y="10109"/>
                  </a:cubicBezTo>
                  <a:cubicBezTo>
                    <a:pt x="32284" y="7174"/>
                    <a:pt x="35218" y="4239"/>
                    <a:pt x="35218" y="1304"/>
                  </a:cubicBezTo>
                  <a:cubicBezTo>
                    <a:pt x="38152" y="-1630"/>
                    <a:pt x="41088" y="1304"/>
                    <a:pt x="44022" y="1304"/>
                  </a:cubicBezTo>
                  <a:cubicBezTo>
                    <a:pt x="44022" y="4239"/>
                    <a:pt x="76305" y="45326"/>
                    <a:pt x="88043" y="121630"/>
                  </a:cubicBezTo>
                  <a:cubicBezTo>
                    <a:pt x="99783" y="192065"/>
                    <a:pt x="93913" y="309457"/>
                    <a:pt x="11740" y="456196"/>
                  </a:cubicBezTo>
                  <a:cubicBezTo>
                    <a:pt x="11740" y="459130"/>
                    <a:pt x="8804" y="462065"/>
                    <a:pt x="5870" y="462065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1614B1A1-73E5-4C25-A17B-267ADE917789}"/>
                </a:ext>
              </a:extLst>
            </p:cNvPr>
            <p:cNvSpPr/>
            <p:nvPr/>
          </p:nvSpPr>
          <p:spPr>
            <a:xfrm>
              <a:off x="23322803" y="3209334"/>
              <a:ext cx="115671" cy="17846"/>
            </a:xfrm>
            <a:custGeom>
              <a:avLst/>
              <a:gdLst>
                <a:gd name="connsiteX0" fmla="*/ 5870 w 115671"/>
                <a:gd name="connsiteY0" fmla="*/ 16630 h 17846"/>
                <a:gd name="connsiteX1" fmla="*/ 0 w 115671"/>
                <a:gd name="connsiteY1" fmla="*/ 13696 h 17846"/>
                <a:gd name="connsiteX2" fmla="*/ 2934 w 115671"/>
                <a:gd name="connsiteY2" fmla="*/ 7826 h 17846"/>
                <a:gd name="connsiteX3" fmla="*/ 111521 w 115671"/>
                <a:gd name="connsiteY3" fmla="*/ 7826 h 17846"/>
                <a:gd name="connsiteX4" fmla="*/ 114455 w 115671"/>
                <a:gd name="connsiteY4" fmla="*/ 13696 h 17846"/>
                <a:gd name="connsiteX5" fmla="*/ 108587 w 115671"/>
                <a:gd name="connsiteY5" fmla="*/ 16630 h 17846"/>
                <a:gd name="connsiteX6" fmla="*/ 5870 w 115671"/>
                <a:gd name="connsiteY6" fmla="*/ 16630 h 17846"/>
                <a:gd name="connsiteX7" fmla="*/ 5870 w 115671"/>
                <a:gd name="connsiteY7" fmla="*/ 16630 h 1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671" h="17846">
                  <a:moveTo>
                    <a:pt x="5870" y="16630"/>
                  </a:moveTo>
                  <a:cubicBezTo>
                    <a:pt x="2934" y="16630"/>
                    <a:pt x="2934" y="16630"/>
                    <a:pt x="0" y="13696"/>
                  </a:cubicBezTo>
                  <a:cubicBezTo>
                    <a:pt x="0" y="10761"/>
                    <a:pt x="0" y="7826"/>
                    <a:pt x="2934" y="7826"/>
                  </a:cubicBezTo>
                  <a:cubicBezTo>
                    <a:pt x="49892" y="-9783"/>
                    <a:pt x="111521" y="7826"/>
                    <a:pt x="111521" y="7826"/>
                  </a:cubicBezTo>
                  <a:cubicBezTo>
                    <a:pt x="114455" y="7826"/>
                    <a:pt x="117391" y="10761"/>
                    <a:pt x="114455" y="13696"/>
                  </a:cubicBezTo>
                  <a:cubicBezTo>
                    <a:pt x="114455" y="16630"/>
                    <a:pt x="111521" y="19565"/>
                    <a:pt x="108587" y="16630"/>
                  </a:cubicBezTo>
                  <a:cubicBezTo>
                    <a:pt x="111521" y="13696"/>
                    <a:pt x="52826" y="-978"/>
                    <a:pt x="5870" y="16630"/>
                  </a:cubicBezTo>
                  <a:cubicBezTo>
                    <a:pt x="8804" y="16630"/>
                    <a:pt x="5870" y="16630"/>
                    <a:pt x="5870" y="16630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1AD76D0A-DD91-407F-B4BB-043B425C16CE}"/>
                </a:ext>
              </a:extLst>
            </p:cNvPr>
            <p:cNvSpPr/>
            <p:nvPr/>
          </p:nvSpPr>
          <p:spPr>
            <a:xfrm>
              <a:off x="23313999" y="3690394"/>
              <a:ext cx="210569" cy="84375"/>
            </a:xfrm>
            <a:custGeom>
              <a:avLst/>
              <a:gdLst>
                <a:gd name="connsiteX0" fmla="*/ 70434 w 210569"/>
                <a:gd name="connsiteY0" fmla="*/ 84375 h 84375"/>
                <a:gd name="connsiteX1" fmla="*/ 61630 w 210569"/>
                <a:gd name="connsiteY1" fmla="*/ 84375 h 84375"/>
                <a:gd name="connsiteX2" fmla="*/ 2934 w 210569"/>
                <a:gd name="connsiteY2" fmla="*/ 63832 h 84375"/>
                <a:gd name="connsiteX3" fmla="*/ 0 w 210569"/>
                <a:gd name="connsiteY3" fmla="*/ 55027 h 84375"/>
                <a:gd name="connsiteX4" fmla="*/ 8804 w 210569"/>
                <a:gd name="connsiteY4" fmla="*/ 52092 h 84375"/>
                <a:gd name="connsiteX5" fmla="*/ 64564 w 210569"/>
                <a:gd name="connsiteY5" fmla="*/ 69701 h 84375"/>
                <a:gd name="connsiteX6" fmla="*/ 199565 w 210569"/>
                <a:gd name="connsiteY6" fmla="*/ 2201 h 84375"/>
                <a:gd name="connsiteX7" fmla="*/ 208369 w 210569"/>
                <a:gd name="connsiteY7" fmla="*/ 2201 h 84375"/>
                <a:gd name="connsiteX8" fmla="*/ 208369 w 210569"/>
                <a:gd name="connsiteY8" fmla="*/ 11005 h 84375"/>
                <a:gd name="connsiteX9" fmla="*/ 70434 w 210569"/>
                <a:gd name="connsiteY9" fmla="*/ 84375 h 8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0569" h="84375">
                  <a:moveTo>
                    <a:pt x="70434" y="84375"/>
                  </a:moveTo>
                  <a:cubicBezTo>
                    <a:pt x="67500" y="84375"/>
                    <a:pt x="64564" y="84375"/>
                    <a:pt x="61630" y="84375"/>
                  </a:cubicBezTo>
                  <a:cubicBezTo>
                    <a:pt x="41086" y="81440"/>
                    <a:pt x="20542" y="75571"/>
                    <a:pt x="2934" y="63832"/>
                  </a:cubicBezTo>
                  <a:cubicBezTo>
                    <a:pt x="0" y="60897"/>
                    <a:pt x="0" y="57962"/>
                    <a:pt x="0" y="55027"/>
                  </a:cubicBezTo>
                  <a:cubicBezTo>
                    <a:pt x="2934" y="52092"/>
                    <a:pt x="5868" y="52092"/>
                    <a:pt x="8804" y="52092"/>
                  </a:cubicBezTo>
                  <a:cubicBezTo>
                    <a:pt x="26412" y="63832"/>
                    <a:pt x="44022" y="69701"/>
                    <a:pt x="64564" y="69701"/>
                  </a:cubicBezTo>
                  <a:cubicBezTo>
                    <a:pt x="123259" y="75571"/>
                    <a:pt x="196629" y="2201"/>
                    <a:pt x="199565" y="2201"/>
                  </a:cubicBezTo>
                  <a:cubicBezTo>
                    <a:pt x="202499" y="-734"/>
                    <a:pt x="205435" y="-734"/>
                    <a:pt x="208369" y="2201"/>
                  </a:cubicBezTo>
                  <a:cubicBezTo>
                    <a:pt x="211303" y="5136"/>
                    <a:pt x="211303" y="8071"/>
                    <a:pt x="208369" y="11005"/>
                  </a:cubicBezTo>
                  <a:cubicBezTo>
                    <a:pt x="202499" y="13940"/>
                    <a:pt x="132065" y="84375"/>
                    <a:pt x="70434" y="84375"/>
                  </a:cubicBezTo>
                  <a:close/>
                </a:path>
              </a:pathLst>
            </a:custGeom>
            <a:solidFill>
              <a:srgbClr val="E58777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5CE471E0-36D6-4F2C-A2CF-21564EC7027F}"/>
                </a:ext>
              </a:extLst>
            </p:cNvPr>
            <p:cNvSpPr/>
            <p:nvPr/>
          </p:nvSpPr>
          <p:spPr>
            <a:xfrm>
              <a:off x="23017585" y="5396488"/>
              <a:ext cx="76305" cy="80454"/>
            </a:xfrm>
            <a:custGeom>
              <a:avLst/>
              <a:gdLst>
                <a:gd name="connsiteX0" fmla="*/ 76305 w 76305"/>
                <a:gd name="connsiteY0" fmla="*/ 80455 h 80454"/>
                <a:gd name="connsiteX1" fmla="*/ 5870 w 76305"/>
                <a:gd name="connsiteY1" fmla="*/ 80455 h 80454"/>
                <a:gd name="connsiteX2" fmla="*/ 0 w 76305"/>
                <a:gd name="connsiteY2" fmla="*/ 74585 h 80454"/>
                <a:gd name="connsiteX3" fmla="*/ 5870 w 76305"/>
                <a:gd name="connsiteY3" fmla="*/ 68716 h 80454"/>
                <a:gd name="connsiteX4" fmla="*/ 58696 w 76305"/>
                <a:gd name="connsiteY4" fmla="*/ 68716 h 80454"/>
                <a:gd name="connsiteX5" fmla="*/ 20544 w 76305"/>
                <a:gd name="connsiteY5" fmla="*/ 10020 h 80454"/>
                <a:gd name="connsiteX6" fmla="*/ 17610 w 76305"/>
                <a:gd name="connsiteY6" fmla="*/ 4150 h 80454"/>
                <a:gd name="connsiteX7" fmla="*/ 23478 w 76305"/>
                <a:gd name="connsiteY7" fmla="*/ 1216 h 80454"/>
                <a:gd name="connsiteX8" fmla="*/ 70436 w 76305"/>
                <a:gd name="connsiteY8" fmla="*/ 74585 h 80454"/>
                <a:gd name="connsiteX9" fmla="*/ 76305 w 76305"/>
                <a:gd name="connsiteY9" fmla="*/ 80455 h 8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305" h="80454">
                  <a:moveTo>
                    <a:pt x="76305" y="80455"/>
                  </a:moveTo>
                  <a:lnTo>
                    <a:pt x="5870" y="80455"/>
                  </a:lnTo>
                  <a:cubicBezTo>
                    <a:pt x="2936" y="80455"/>
                    <a:pt x="0" y="77520"/>
                    <a:pt x="0" y="74585"/>
                  </a:cubicBezTo>
                  <a:cubicBezTo>
                    <a:pt x="0" y="71650"/>
                    <a:pt x="2936" y="68716"/>
                    <a:pt x="5870" y="68716"/>
                  </a:cubicBezTo>
                  <a:lnTo>
                    <a:pt x="58696" y="68716"/>
                  </a:lnTo>
                  <a:cubicBezTo>
                    <a:pt x="44022" y="39368"/>
                    <a:pt x="29348" y="12955"/>
                    <a:pt x="20544" y="10020"/>
                  </a:cubicBezTo>
                  <a:cubicBezTo>
                    <a:pt x="17610" y="10020"/>
                    <a:pt x="14674" y="7085"/>
                    <a:pt x="17610" y="4150"/>
                  </a:cubicBezTo>
                  <a:cubicBezTo>
                    <a:pt x="17610" y="1216"/>
                    <a:pt x="20544" y="-1719"/>
                    <a:pt x="23478" y="1216"/>
                  </a:cubicBezTo>
                  <a:cubicBezTo>
                    <a:pt x="38152" y="4150"/>
                    <a:pt x="61632" y="54042"/>
                    <a:pt x="70436" y="74585"/>
                  </a:cubicBezTo>
                  <a:lnTo>
                    <a:pt x="76305" y="80455"/>
                  </a:ln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DCFA67D5-025C-474C-BC0C-6841C2A116E5}"/>
                </a:ext>
              </a:extLst>
            </p:cNvPr>
            <p:cNvSpPr/>
            <p:nvPr/>
          </p:nvSpPr>
          <p:spPr>
            <a:xfrm>
              <a:off x="23589586" y="3680856"/>
              <a:ext cx="493324" cy="453013"/>
            </a:xfrm>
            <a:custGeom>
              <a:avLst/>
              <a:gdLst>
                <a:gd name="connsiteX0" fmla="*/ 282022 w 493324"/>
                <a:gd name="connsiteY0" fmla="*/ 0 h 453013"/>
                <a:gd name="connsiteX1" fmla="*/ 20825 w 493324"/>
                <a:gd name="connsiteY1" fmla="*/ 416739 h 453013"/>
                <a:gd name="connsiteX2" fmla="*/ 493324 w 493324"/>
                <a:gd name="connsiteY2" fmla="*/ 299348 h 453013"/>
                <a:gd name="connsiteX3" fmla="*/ 282022 w 493324"/>
                <a:gd name="connsiteY3" fmla="*/ 0 h 453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3324" h="453013">
                  <a:moveTo>
                    <a:pt x="282022" y="0"/>
                  </a:moveTo>
                  <a:cubicBezTo>
                    <a:pt x="282022" y="0"/>
                    <a:pt x="-90696" y="234783"/>
                    <a:pt x="20825" y="416739"/>
                  </a:cubicBezTo>
                  <a:cubicBezTo>
                    <a:pt x="100065" y="542935"/>
                    <a:pt x="493324" y="299348"/>
                    <a:pt x="493324" y="299348"/>
                  </a:cubicBezTo>
                  <a:cubicBezTo>
                    <a:pt x="493324" y="299348"/>
                    <a:pt x="428761" y="111522"/>
                    <a:pt x="282022" y="0"/>
                  </a:cubicBezTo>
                  <a:close/>
                </a:path>
              </a:pathLst>
            </a:custGeom>
            <a:solidFill>
              <a:srgbClr val="D16156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EFCFA234-1034-47E9-A949-8418F223FC0A}"/>
                </a:ext>
              </a:extLst>
            </p:cNvPr>
            <p:cNvSpPr/>
            <p:nvPr/>
          </p:nvSpPr>
          <p:spPr>
            <a:xfrm>
              <a:off x="23608211" y="3861597"/>
              <a:ext cx="489373" cy="277085"/>
            </a:xfrm>
            <a:custGeom>
              <a:avLst/>
              <a:gdLst>
                <a:gd name="connsiteX0" fmla="*/ 107852 w 489373"/>
                <a:gd name="connsiteY0" fmla="*/ 277085 h 277085"/>
                <a:gd name="connsiteX1" fmla="*/ 2201 w 489373"/>
                <a:gd name="connsiteY1" fmla="*/ 238933 h 277085"/>
                <a:gd name="connsiteX2" fmla="*/ 2201 w 489373"/>
                <a:gd name="connsiteY2" fmla="*/ 230129 h 277085"/>
                <a:gd name="connsiteX3" fmla="*/ 11005 w 489373"/>
                <a:gd name="connsiteY3" fmla="*/ 230129 h 277085"/>
                <a:gd name="connsiteX4" fmla="*/ 213505 w 489373"/>
                <a:gd name="connsiteY4" fmla="*/ 238933 h 277085"/>
                <a:gd name="connsiteX5" fmla="*/ 474700 w 489373"/>
                <a:gd name="connsiteY5" fmla="*/ 112737 h 277085"/>
                <a:gd name="connsiteX6" fmla="*/ 427744 w 489373"/>
                <a:gd name="connsiteY6" fmla="*/ 10020 h 277085"/>
                <a:gd name="connsiteX7" fmla="*/ 430678 w 489373"/>
                <a:gd name="connsiteY7" fmla="*/ 1216 h 277085"/>
                <a:gd name="connsiteX8" fmla="*/ 439484 w 489373"/>
                <a:gd name="connsiteY8" fmla="*/ 4150 h 277085"/>
                <a:gd name="connsiteX9" fmla="*/ 489374 w 489373"/>
                <a:gd name="connsiteY9" fmla="*/ 112737 h 277085"/>
                <a:gd name="connsiteX10" fmla="*/ 489374 w 489373"/>
                <a:gd name="connsiteY10" fmla="*/ 115672 h 277085"/>
                <a:gd name="connsiteX11" fmla="*/ 486440 w 489373"/>
                <a:gd name="connsiteY11" fmla="*/ 118607 h 277085"/>
                <a:gd name="connsiteX12" fmla="*/ 222309 w 489373"/>
                <a:gd name="connsiteY12" fmla="*/ 247737 h 277085"/>
                <a:gd name="connsiteX13" fmla="*/ 107852 w 489373"/>
                <a:gd name="connsiteY13" fmla="*/ 277085 h 27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89373" h="277085">
                  <a:moveTo>
                    <a:pt x="107852" y="277085"/>
                  </a:moveTo>
                  <a:cubicBezTo>
                    <a:pt x="37418" y="277085"/>
                    <a:pt x="5135" y="241868"/>
                    <a:pt x="2201" y="238933"/>
                  </a:cubicBezTo>
                  <a:cubicBezTo>
                    <a:pt x="-734" y="235998"/>
                    <a:pt x="-734" y="233063"/>
                    <a:pt x="2201" y="230129"/>
                  </a:cubicBezTo>
                  <a:cubicBezTo>
                    <a:pt x="5135" y="227194"/>
                    <a:pt x="8070" y="227194"/>
                    <a:pt x="11005" y="230129"/>
                  </a:cubicBezTo>
                  <a:cubicBezTo>
                    <a:pt x="13940" y="233063"/>
                    <a:pt x="78504" y="297629"/>
                    <a:pt x="213505" y="238933"/>
                  </a:cubicBezTo>
                  <a:cubicBezTo>
                    <a:pt x="336766" y="186107"/>
                    <a:pt x="451222" y="124476"/>
                    <a:pt x="474700" y="112737"/>
                  </a:cubicBezTo>
                  <a:cubicBezTo>
                    <a:pt x="468832" y="98064"/>
                    <a:pt x="454158" y="51107"/>
                    <a:pt x="427744" y="10020"/>
                  </a:cubicBezTo>
                  <a:cubicBezTo>
                    <a:pt x="424810" y="7085"/>
                    <a:pt x="427744" y="4150"/>
                    <a:pt x="430678" y="1216"/>
                  </a:cubicBezTo>
                  <a:cubicBezTo>
                    <a:pt x="433614" y="-1719"/>
                    <a:pt x="436548" y="1216"/>
                    <a:pt x="439484" y="4150"/>
                  </a:cubicBezTo>
                  <a:cubicBezTo>
                    <a:pt x="471766" y="54042"/>
                    <a:pt x="489374" y="109802"/>
                    <a:pt x="489374" y="112737"/>
                  </a:cubicBezTo>
                  <a:lnTo>
                    <a:pt x="489374" y="115672"/>
                  </a:lnTo>
                  <a:lnTo>
                    <a:pt x="486440" y="118607"/>
                  </a:lnTo>
                  <a:cubicBezTo>
                    <a:pt x="486440" y="118607"/>
                    <a:pt x="357309" y="189042"/>
                    <a:pt x="222309" y="247737"/>
                  </a:cubicBezTo>
                  <a:cubicBezTo>
                    <a:pt x="172418" y="271216"/>
                    <a:pt x="137200" y="277085"/>
                    <a:pt x="107852" y="277085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0" name="图形 1">
              <a:extLst>
                <a:ext uri="{FF2B5EF4-FFF2-40B4-BE49-F238E27FC236}">
                  <a16:creationId xmlns:a16="http://schemas.microsoft.com/office/drawing/2014/main" id="{75F9FCCF-C0A4-4AF8-9498-790CD367373A}"/>
                </a:ext>
              </a:extLst>
            </p:cNvPr>
            <p:cNvGrpSpPr/>
            <p:nvPr/>
          </p:nvGrpSpPr>
          <p:grpSpPr>
            <a:xfrm>
              <a:off x="19401932" y="3636834"/>
              <a:ext cx="305218" cy="812934"/>
              <a:chOff x="19401932" y="3636834"/>
              <a:chExt cx="305218" cy="812934"/>
            </a:xfrm>
          </p:grpSpPr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2C072F56-810C-4663-BC37-3DEDA21FC3B0}"/>
                  </a:ext>
                </a:extLst>
              </p:cNvPr>
              <p:cNvSpPr/>
              <p:nvPr/>
            </p:nvSpPr>
            <p:spPr>
              <a:xfrm>
                <a:off x="19525194" y="4056508"/>
                <a:ext cx="58695" cy="363913"/>
              </a:xfrm>
              <a:custGeom>
                <a:avLst/>
                <a:gdLst>
                  <a:gd name="connsiteX0" fmla="*/ 0 w 58695"/>
                  <a:gd name="connsiteY0" fmla="*/ 0 h 363913"/>
                  <a:gd name="connsiteX1" fmla="*/ 58695 w 58695"/>
                  <a:gd name="connsiteY1" fmla="*/ 0 h 363913"/>
                  <a:gd name="connsiteX2" fmla="*/ 58695 w 58695"/>
                  <a:gd name="connsiteY2" fmla="*/ 363913 h 363913"/>
                  <a:gd name="connsiteX3" fmla="*/ 0 w 58695"/>
                  <a:gd name="connsiteY3" fmla="*/ 363913 h 363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695" h="363913">
                    <a:moveTo>
                      <a:pt x="0" y="0"/>
                    </a:moveTo>
                    <a:lnTo>
                      <a:pt x="58695" y="0"/>
                    </a:lnTo>
                    <a:lnTo>
                      <a:pt x="58695" y="363913"/>
                    </a:lnTo>
                    <a:lnTo>
                      <a:pt x="0" y="363913"/>
                    </a:ln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C94AE3CF-0611-4E0B-A581-4E06A1F265AD}"/>
                  </a:ext>
                </a:extLst>
              </p:cNvPr>
              <p:cNvSpPr/>
              <p:nvPr/>
            </p:nvSpPr>
            <p:spPr>
              <a:xfrm>
                <a:off x="19401932" y="4391073"/>
                <a:ext cx="305218" cy="58695"/>
              </a:xfrm>
              <a:custGeom>
                <a:avLst/>
                <a:gdLst>
                  <a:gd name="connsiteX0" fmla="*/ 305218 w 305218"/>
                  <a:gd name="connsiteY0" fmla="*/ 29348 h 58695"/>
                  <a:gd name="connsiteX1" fmla="*/ 152609 w 305218"/>
                  <a:gd name="connsiteY1" fmla="*/ 58696 h 58695"/>
                  <a:gd name="connsiteX2" fmla="*/ 0 w 305218"/>
                  <a:gd name="connsiteY2" fmla="*/ 29348 h 58695"/>
                  <a:gd name="connsiteX3" fmla="*/ 152609 w 305218"/>
                  <a:gd name="connsiteY3" fmla="*/ 0 h 58695"/>
                  <a:gd name="connsiteX4" fmla="*/ 305218 w 305218"/>
                  <a:gd name="connsiteY4" fmla="*/ 29348 h 58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5218" h="58695">
                    <a:moveTo>
                      <a:pt x="305218" y="29348"/>
                    </a:moveTo>
                    <a:cubicBezTo>
                      <a:pt x="305218" y="44022"/>
                      <a:pt x="237718" y="58696"/>
                      <a:pt x="152609" y="58696"/>
                    </a:cubicBezTo>
                    <a:cubicBezTo>
                      <a:pt x="67501" y="58696"/>
                      <a:pt x="0" y="46956"/>
                      <a:pt x="0" y="29348"/>
                    </a:cubicBezTo>
                    <a:cubicBezTo>
                      <a:pt x="0" y="14674"/>
                      <a:pt x="67501" y="0"/>
                      <a:pt x="152609" y="0"/>
                    </a:cubicBezTo>
                    <a:cubicBezTo>
                      <a:pt x="234783" y="2935"/>
                      <a:pt x="305218" y="14674"/>
                      <a:pt x="305218" y="2934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7591443D-F961-4510-9FE6-67E4FC6531D2}"/>
                  </a:ext>
                </a:extLst>
              </p:cNvPr>
              <p:cNvSpPr/>
              <p:nvPr/>
            </p:nvSpPr>
            <p:spPr>
              <a:xfrm>
                <a:off x="19410738" y="3666182"/>
                <a:ext cx="287608" cy="446086"/>
              </a:xfrm>
              <a:custGeom>
                <a:avLst/>
                <a:gdLst>
                  <a:gd name="connsiteX0" fmla="*/ 143803 w 287608"/>
                  <a:gd name="connsiteY0" fmla="*/ 446087 h 446086"/>
                  <a:gd name="connsiteX1" fmla="*/ 143803 w 287608"/>
                  <a:gd name="connsiteY1" fmla="*/ 446087 h 446086"/>
                  <a:gd name="connsiteX2" fmla="*/ 0 w 287608"/>
                  <a:gd name="connsiteY2" fmla="*/ 302282 h 446086"/>
                  <a:gd name="connsiteX3" fmla="*/ 0 w 287608"/>
                  <a:gd name="connsiteY3" fmla="*/ 0 h 446086"/>
                  <a:gd name="connsiteX4" fmla="*/ 287608 w 287608"/>
                  <a:gd name="connsiteY4" fmla="*/ 0 h 446086"/>
                  <a:gd name="connsiteX5" fmla="*/ 287608 w 287608"/>
                  <a:gd name="connsiteY5" fmla="*/ 305217 h 446086"/>
                  <a:gd name="connsiteX6" fmla="*/ 143803 w 287608"/>
                  <a:gd name="connsiteY6" fmla="*/ 446087 h 44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7608" h="446086">
                    <a:moveTo>
                      <a:pt x="143803" y="446087"/>
                    </a:moveTo>
                    <a:lnTo>
                      <a:pt x="143803" y="446087"/>
                    </a:lnTo>
                    <a:cubicBezTo>
                      <a:pt x="64564" y="446087"/>
                      <a:pt x="0" y="381522"/>
                      <a:pt x="0" y="302282"/>
                    </a:cubicBezTo>
                    <a:lnTo>
                      <a:pt x="0" y="0"/>
                    </a:lnTo>
                    <a:lnTo>
                      <a:pt x="287608" y="0"/>
                    </a:lnTo>
                    <a:lnTo>
                      <a:pt x="287608" y="305217"/>
                    </a:lnTo>
                    <a:cubicBezTo>
                      <a:pt x="284672" y="381522"/>
                      <a:pt x="220109" y="446087"/>
                      <a:pt x="143803" y="446087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811E0146-FCA2-41C8-80A6-3062166079B5}"/>
                  </a:ext>
                </a:extLst>
              </p:cNvPr>
              <p:cNvSpPr/>
              <p:nvPr/>
            </p:nvSpPr>
            <p:spPr>
              <a:xfrm>
                <a:off x="19434216" y="3854008"/>
                <a:ext cx="243586" cy="231847"/>
              </a:xfrm>
              <a:custGeom>
                <a:avLst/>
                <a:gdLst>
                  <a:gd name="connsiteX0" fmla="*/ 120325 w 243586"/>
                  <a:gd name="connsiteY0" fmla="*/ 231848 h 231847"/>
                  <a:gd name="connsiteX1" fmla="*/ 120325 w 243586"/>
                  <a:gd name="connsiteY1" fmla="*/ 231848 h 231847"/>
                  <a:gd name="connsiteX2" fmla="*/ 0 w 243586"/>
                  <a:gd name="connsiteY2" fmla="*/ 111522 h 231847"/>
                  <a:gd name="connsiteX3" fmla="*/ 0 w 243586"/>
                  <a:gd name="connsiteY3" fmla="*/ 0 h 231847"/>
                  <a:gd name="connsiteX4" fmla="*/ 243587 w 243586"/>
                  <a:gd name="connsiteY4" fmla="*/ 0 h 231847"/>
                  <a:gd name="connsiteX5" fmla="*/ 243587 w 243586"/>
                  <a:gd name="connsiteY5" fmla="*/ 111522 h 231847"/>
                  <a:gd name="connsiteX6" fmla="*/ 120325 w 243586"/>
                  <a:gd name="connsiteY6" fmla="*/ 231848 h 231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3586" h="231847">
                    <a:moveTo>
                      <a:pt x="120325" y="231848"/>
                    </a:moveTo>
                    <a:lnTo>
                      <a:pt x="120325" y="231848"/>
                    </a:lnTo>
                    <a:cubicBezTo>
                      <a:pt x="52826" y="231848"/>
                      <a:pt x="0" y="179022"/>
                      <a:pt x="0" y="111522"/>
                    </a:cubicBezTo>
                    <a:lnTo>
                      <a:pt x="0" y="0"/>
                    </a:lnTo>
                    <a:lnTo>
                      <a:pt x="243587" y="0"/>
                    </a:lnTo>
                    <a:lnTo>
                      <a:pt x="243587" y="111522"/>
                    </a:lnTo>
                    <a:cubicBezTo>
                      <a:pt x="240653" y="176087"/>
                      <a:pt x="184891" y="231848"/>
                      <a:pt x="120325" y="231848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9E6ECCB2-75CA-4CD6-A398-5070BC62FB14}"/>
                  </a:ext>
                </a:extLst>
              </p:cNvPr>
              <p:cNvSpPr/>
              <p:nvPr/>
            </p:nvSpPr>
            <p:spPr>
              <a:xfrm>
                <a:off x="19410737" y="3636834"/>
                <a:ext cx="287608" cy="58695"/>
              </a:xfrm>
              <a:custGeom>
                <a:avLst/>
                <a:gdLst>
                  <a:gd name="connsiteX0" fmla="*/ 287609 w 287608"/>
                  <a:gd name="connsiteY0" fmla="*/ 29348 h 58695"/>
                  <a:gd name="connsiteX1" fmla="*/ 143804 w 287608"/>
                  <a:gd name="connsiteY1" fmla="*/ 58696 h 58695"/>
                  <a:gd name="connsiteX2" fmla="*/ -1 w 287608"/>
                  <a:gd name="connsiteY2" fmla="*/ 29348 h 58695"/>
                  <a:gd name="connsiteX3" fmla="*/ 143804 w 287608"/>
                  <a:gd name="connsiteY3" fmla="*/ 0 h 58695"/>
                  <a:gd name="connsiteX4" fmla="*/ 287609 w 287608"/>
                  <a:gd name="connsiteY4" fmla="*/ 29348 h 58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7608" h="58695">
                    <a:moveTo>
                      <a:pt x="287609" y="29348"/>
                    </a:moveTo>
                    <a:cubicBezTo>
                      <a:pt x="287609" y="45556"/>
                      <a:pt x="223226" y="58696"/>
                      <a:pt x="143804" y="58696"/>
                    </a:cubicBezTo>
                    <a:cubicBezTo>
                      <a:pt x="64384" y="58696"/>
                      <a:pt x="-1" y="45556"/>
                      <a:pt x="-1" y="29348"/>
                    </a:cubicBezTo>
                    <a:cubicBezTo>
                      <a:pt x="-1" y="13140"/>
                      <a:pt x="64382" y="0"/>
                      <a:pt x="143804" y="0"/>
                    </a:cubicBezTo>
                    <a:cubicBezTo>
                      <a:pt x="223224" y="0"/>
                      <a:pt x="287609" y="13140"/>
                      <a:pt x="287609" y="29348"/>
                    </a:cubicBezTo>
                    <a:close/>
                  </a:path>
                </a:pathLst>
              </a:custGeom>
              <a:solidFill>
                <a:srgbClr val="E5CDA5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EC572D59-6570-4840-955A-20B62CE52210}"/>
                </a:ext>
              </a:extLst>
            </p:cNvPr>
            <p:cNvSpPr/>
            <p:nvPr/>
          </p:nvSpPr>
          <p:spPr>
            <a:xfrm>
              <a:off x="21872198" y="3724672"/>
              <a:ext cx="213797" cy="235522"/>
            </a:xfrm>
            <a:custGeom>
              <a:avLst/>
              <a:gdLst>
                <a:gd name="connsiteX0" fmla="*/ 33105 w 213797"/>
                <a:gd name="connsiteY0" fmla="*/ 176293 h 235522"/>
                <a:gd name="connsiteX1" fmla="*/ 144626 w 213797"/>
                <a:gd name="connsiteY1" fmla="*/ 234988 h 235522"/>
                <a:gd name="connsiteX2" fmla="*/ 212126 w 213797"/>
                <a:gd name="connsiteY2" fmla="*/ 161619 h 235522"/>
                <a:gd name="connsiteX3" fmla="*/ 53647 w 213797"/>
                <a:gd name="connsiteY3" fmla="*/ 206 h 235522"/>
                <a:gd name="connsiteX4" fmla="*/ 30169 w 213797"/>
                <a:gd name="connsiteY4" fmla="*/ 32488 h 235522"/>
                <a:gd name="connsiteX5" fmla="*/ 821 w 213797"/>
                <a:gd name="connsiteY5" fmla="*/ 67706 h 235522"/>
                <a:gd name="connsiteX6" fmla="*/ 3757 w 213797"/>
                <a:gd name="connsiteY6" fmla="*/ 99988 h 235522"/>
                <a:gd name="connsiteX7" fmla="*/ 15495 w 213797"/>
                <a:gd name="connsiteY7" fmla="*/ 144010 h 235522"/>
                <a:gd name="connsiteX8" fmla="*/ 33105 w 213797"/>
                <a:gd name="connsiteY8" fmla="*/ 176293 h 23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797" h="235522">
                  <a:moveTo>
                    <a:pt x="33105" y="176293"/>
                  </a:moveTo>
                  <a:cubicBezTo>
                    <a:pt x="62453" y="196836"/>
                    <a:pt x="106475" y="240858"/>
                    <a:pt x="144626" y="234988"/>
                  </a:cubicBezTo>
                  <a:cubicBezTo>
                    <a:pt x="171038" y="229119"/>
                    <a:pt x="212126" y="161619"/>
                    <a:pt x="212126" y="161619"/>
                  </a:cubicBezTo>
                  <a:cubicBezTo>
                    <a:pt x="229734" y="94119"/>
                    <a:pt x="103539" y="23684"/>
                    <a:pt x="53647" y="206"/>
                  </a:cubicBezTo>
                  <a:cubicBezTo>
                    <a:pt x="44843" y="-2729"/>
                    <a:pt x="24299" y="26619"/>
                    <a:pt x="30169" y="32488"/>
                  </a:cubicBezTo>
                  <a:cubicBezTo>
                    <a:pt x="41909" y="44227"/>
                    <a:pt x="3757" y="58901"/>
                    <a:pt x="821" y="67706"/>
                  </a:cubicBezTo>
                  <a:cubicBezTo>
                    <a:pt x="-2113" y="76510"/>
                    <a:pt x="3757" y="97053"/>
                    <a:pt x="3757" y="99988"/>
                  </a:cubicBezTo>
                  <a:cubicBezTo>
                    <a:pt x="3757" y="117597"/>
                    <a:pt x="15495" y="138140"/>
                    <a:pt x="15495" y="144010"/>
                  </a:cubicBezTo>
                  <a:cubicBezTo>
                    <a:pt x="9625" y="158684"/>
                    <a:pt x="15495" y="161619"/>
                    <a:pt x="33105" y="176293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2" name="图形 1">
              <a:extLst>
                <a:ext uri="{FF2B5EF4-FFF2-40B4-BE49-F238E27FC236}">
                  <a16:creationId xmlns:a16="http://schemas.microsoft.com/office/drawing/2014/main" id="{F3BB0FD4-84D4-4788-87AD-EAFB0BECBB67}"/>
                </a:ext>
              </a:extLst>
            </p:cNvPr>
            <p:cNvGrpSpPr/>
            <p:nvPr/>
          </p:nvGrpSpPr>
          <p:grpSpPr>
            <a:xfrm>
              <a:off x="21776172" y="3196617"/>
              <a:ext cx="305218" cy="812934"/>
              <a:chOff x="21776172" y="3196617"/>
              <a:chExt cx="305218" cy="812934"/>
            </a:xfrm>
          </p:grpSpPr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7918D687-48E6-420C-971A-9420F961A3F1}"/>
                  </a:ext>
                </a:extLst>
              </p:cNvPr>
              <p:cNvSpPr/>
              <p:nvPr/>
            </p:nvSpPr>
            <p:spPr>
              <a:xfrm>
                <a:off x="21896498" y="3619226"/>
                <a:ext cx="58695" cy="363913"/>
              </a:xfrm>
              <a:custGeom>
                <a:avLst/>
                <a:gdLst>
                  <a:gd name="connsiteX0" fmla="*/ -1 w 58695"/>
                  <a:gd name="connsiteY0" fmla="*/ 0 h 363913"/>
                  <a:gd name="connsiteX1" fmla="*/ 58695 w 58695"/>
                  <a:gd name="connsiteY1" fmla="*/ 0 h 363913"/>
                  <a:gd name="connsiteX2" fmla="*/ 58695 w 58695"/>
                  <a:gd name="connsiteY2" fmla="*/ 363913 h 363913"/>
                  <a:gd name="connsiteX3" fmla="*/ -1 w 58695"/>
                  <a:gd name="connsiteY3" fmla="*/ 363913 h 363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695" h="363913">
                    <a:moveTo>
                      <a:pt x="-1" y="0"/>
                    </a:moveTo>
                    <a:lnTo>
                      <a:pt x="58695" y="0"/>
                    </a:lnTo>
                    <a:lnTo>
                      <a:pt x="58695" y="363913"/>
                    </a:lnTo>
                    <a:lnTo>
                      <a:pt x="-1" y="363913"/>
                    </a:ln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9B1202FF-4FCE-414E-92DB-73A455DB1E19}"/>
                  </a:ext>
                </a:extLst>
              </p:cNvPr>
              <p:cNvSpPr/>
              <p:nvPr/>
            </p:nvSpPr>
            <p:spPr>
              <a:xfrm>
                <a:off x="21776172" y="3950856"/>
                <a:ext cx="305218" cy="58695"/>
              </a:xfrm>
              <a:custGeom>
                <a:avLst/>
                <a:gdLst>
                  <a:gd name="connsiteX0" fmla="*/ 305218 w 305218"/>
                  <a:gd name="connsiteY0" fmla="*/ 29348 h 58695"/>
                  <a:gd name="connsiteX1" fmla="*/ 152609 w 305218"/>
                  <a:gd name="connsiteY1" fmla="*/ 58696 h 58695"/>
                  <a:gd name="connsiteX2" fmla="*/ 0 w 305218"/>
                  <a:gd name="connsiteY2" fmla="*/ 29348 h 58695"/>
                  <a:gd name="connsiteX3" fmla="*/ 152609 w 305218"/>
                  <a:gd name="connsiteY3" fmla="*/ 0 h 58695"/>
                  <a:gd name="connsiteX4" fmla="*/ 305218 w 305218"/>
                  <a:gd name="connsiteY4" fmla="*/ 29348 h 58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5218" h="58695">
                    <a:moveTo>
                      <a:pt x="305218" y="29348"/>
                    </a:moveTo>
                    <a:cubicBezTo>
                      <a:pt x="305218" y="44022"/>
                      <a:pt x="237717" y="58696"/>
                      <a:pt x="152609" y="58696"/>
                    </a:cubicBezTo>
                    <a:cubicBezTo>
                      <a:pt x="67500" y="58696"/>
                      <a:pt x="0" y="46956"/>
                      <a:pt x="0" y="29348"/>
                    </a:cubicBezTo>
                    <a:cubicBezTo>
                      <a:pt x="0" y="14674"/>
                      <a:pt x="67500" y="0"/>
                      <a:pt x="152609" y="0"/>
                    </a:cubicBezTo>
                    <a:cubicBezTo>
                      <a:pt x="234783" y="2935"/>
                      <a:pt x="305218" y="14674"/>
                      <a:pt x="305218" y="2934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BA6482A5-EC15-4DEA-896B-4A6193B0C73F}"/>
                  </a:ext>
                </a:extLst>
              </p:cNvPr>
              <p:cNvSpPr/>
              <p:nvPr/>
            </p:nvSpPr>
            <p:spPr>
              <a:xfrm>
                <a:off x="21782042" y="3225965"/>
                <a:ext cx="287608" cy="449021"/>
              </a:xfrm>
              <a:custGeom>
                <a:avLst/>
                <a:gdLst>
                  <a:gd name="connsiteX0" fmla="*/ 143803 w 287608"/>
                  <a:gd name="connsiteY0" fmla="*/ 449022 h 449021"/>
                  <a:gd name="connsiteX1" fmla="*/ 143803 w 287608"/>
                  <a:gd name="connsiteY1" fmla="*/ 449022 h 449021"/>
                  <a:gd name="connsiteX2" fmla="*/ 0 w 287608"/>
                  <a:gd name="connsiteY2" fmla="*/ 305217 h 449021"/>
                  <a:gd name="connsiteX3" fmla="*/ 0 w 287608"/>
                  <a:gd name="connsiteY3" fmla="*/ 0 h 449021"/>
                  <a:gd name="connsiteX4" fmla="*/ 287608 w 287608"/>
                  <a:gd name="connsiteY4" fmla="*/ 0 h 449021"/>
                  <a:gd name="connsiteX5" fmla="*/ 287608 w 287608"/>
                  <a:gd name="connsiteY5" fmla="*/ 305217 h 449021"/>
                  <a:gd name="connsiteX6" fmla="*/ 143803 w 287608"/>
                  <a:gd name="connsiteY6" fmla="*/ 449022 h 449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7608" h="449021">
                    <a:moveTo>
                      <a:pt x="143803" y="449022"/>
                    </a:moveTo>
                    <a:lnTo>
                      <a:pt x="143803" y="449022"/>
                    </a:lnTo>
                    <a:cubicBezTo>
                      <a:pt x="64566" y="449022"/>
                      <a:pt x="0" y="384457"/>
                      <a:pt x="0" y="305217"/>
                    </a:cubicBezTo>
                    <a:lnTo>
                      <a:pt x="0" y="0"/>
                    </a:lnTo>
                    <a:lnTo>
                      <a:pt x="287608" y="0"/>
                    </a:lnTo>
                    <a:lnTo>
                      <a:pt x="287608" y="305217"/>
                    </a:lnTo>
                    <a:cubicBezTo>
                      <a:pt x="287608" y="384457"/>
                      <a:pt x="223043" y="449022"/>
                      <a:pt x="143803" y="449022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DCAFBC40-4B1B-4C68-B423-9C90A93F158B}"/>
                  </a:ext>
                </a:extLst>
              </p:cNvPr>
              <p:cNvSpPr/>
              <p:nvPr/>
            </p:nvSpPr>
            <p:spPr>
              <a:xfrm>
                <a:off x="21805520" y="3413791"/>
                <a:ext cx="243586" cy="231847"/>
              </a:xfrm>
              <a:custGeom>
                <a:avLst/>
                <a:gdLst>
                  <a:gd name="connsiteX0" fmla="*/ 120325 w 243586"/>
                  <a:gd name="connsiteY0" fmla="*/ 231848 h 231847"/>
                  <a:gd name="connsiteX1" fmla="*/ 120325 w 243586"/>
                  <a:gd name="connsiteY1" fmla="*/ 231848 h 231847"/>
                  <a:gd name="connsiteX2" fmla="*/ 0 w 243586"/>
                  <a:gd name="connsiteY2" fmla="*/ 111522 h 231847"/>
                  <a:gd name="connsiteX3" fmla="*/ 0 w 243586"/>
                  <a:gd name="connsiteY3" fmla="*/ 0 h 231847"/>
                  <a:gd name="connsiteX4" fmla="*/ 243587 w 243586"/>
                  <a:gd name="connsiteY4" fmla="*/ 0 h 231847"/>
                  <a:gd name="connsiteX5" fmla="*/ 243587 w 243586"/>
                  <a:gd name="connsiteY5" fmla="*/ 111522 h 231847"/>
                  <a:gd name="connsiteX6" fmla="*/ 120325 w 243586"/>
                  <a:gd name="connsiteY6" fmla="*/ 231848 h 231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3586" h="231847">
                    <a:moveTo>
                      <a:pt x="120325" y="231848"/>
                    </a:moveTo>
                    <a:lnTo>
                      <a:pt x="120325" y="231848"/>
                    </a:lnTo>
                    <a:cubicBezTo>
                      <a:pt x="52826" y="231848"/>
                      <a:pt x="0" y="179022"/>
                      <a:pt x="0" y="111522"/>
                    </a:cubicBezTo>
                    <a:lnTo>
                      <a:pt x="0" y="0"/>
                    </a:lnTo>
                    <a:lnTo>
                      <a:pt x="243587" y="0"/>
                    </a:lnTo>
                    <a:lnTo>
                      <a:pt x="243587" y="111522"/>
                    </a:lnTo>
                    <a:cubicBezTo>
                      <a:pt x="243587" y="179022"/>
                      <a:pt x="187827" y="231848"/>
                      <a:pt x="120325" y="231848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6C1DA05A-61C8-4B3F-8DA9-BBA53E23877B}"/>
                  </a:ext>
                </a:extLst>
              </p:cNvPr>
              <p:cNvSpPr/>
              <p:nvPr/>
            </p:nvSpPr>
            <p:spPr>
              <a:xfrm>
                <a:off x="21782042" y="3196617"/>
                <a:ext cx="287608" cy="58695"/>
              </a:xfrm>
              <a:custGeom>
                <a:avLst/>
                <a:gdLst>
                  <a:gd name="connsiteX0" fmla="*/ 287608 w 287608"/>
                  <a:gd name="connsiteY0" fmla="*/ 29348 h 58695"/>
                  <a:gd name="connsiteX1" fmla="*/ 143803 w 287608"/>
                  <a:gd name="connsiteY1" fmla="*/ 58696 h 58695"/>
                  <a:gd name="connsiteX2" fmla="*/ 0 w 287608"/>
                  <a:gd name="connsiteY2" fmla="*/ 29348 h 58695"/>
                  <a:gd name="connsiteX3" fmla="*/ 143803 w 287608"/>
                  <a:gd name="connsiteY3" fmla="*/ 0 h 58695"/>
                  <a:gd name="connsiteX4" fmla="*/ 287608 w 287608"/>
                  <a:gd name="connsiteY4" fmla="*/ 29348 h 58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7608" h="58695">
                    <a:moveTo>
                      <a:pt x="287608" y="29348"/>
                    </a:moveTo>
                    <a:cubicBezTo>
                      <a:pt x="287608" y="44022"/>
                      <a:pt x="223043" y="58696"/>
                      <a:pt x="143803" y="58696"/>
                    </a:cubicBezTo>
                    <a:cubicBezTo>
                      <a:pt x="64566" y="58696"/>
                      <a:pt x="0" y="46957"/>
                      <a:pt x="0" y="29348"/>
                    </a:cubicBezTo>
                    <a:cubicBezTo>
                      <a:pt x="0" y="11739"/>
                      <a:pt x="64566" y="0"/>
                      <a:pt x="143803" y="0"/>
                    </a:cubicBezTo>
                    <a:cubicBezTo>
                      <a:pt x="223043" y="0"/>
                      <a:pt x="287608" y="14674"/>
                      <a:pt x="287608" y="29348"/>
                    </a:cubicBezTo>
                    <a:close/>
                  </a:path>
                </a:pathLst>
              </a:custGeom>
              <a:solidFill>
                <a:srgbClr val="E5CDA5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B56BBA83-D179-40DD-9185-8EFFD0739EC4}"/>
                </a:ext>
              </a:extLst>
            </p:cNvPr>
            <p:cNvGrpSpPr/>
            <p:nvPr/>
          </p:nvGrpSpPr>
          <p:grpSpPr>
            <a:xfrm>
              <a:off x="21852476" y="3717842"/>
              <a:ext cx="142491" cy="184837"/>
              <a:chOff x="21852476" y="3717842"/>
              <a:chExt cx="142491" cy="184837"/>
            </a:xfrm>
          </p:grpSpPr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C8BE01D4-7810-40B7-9193-96EA617BFC9C}"/>
                  </a:ext>
                </a:extLst>
              </p:cNvPr>
              <p:cNvSpPr/>
              <p:nvPr/>
            </p:nvSpPr>
            <p:spPr>
              <a:xfrm>
                <a:off x="21857598" y="3717842"/>
                <a:ext cx="126390" cy="83402"/>
              </a:xfrm>
              <a:custGeom>
                <a:avLst/>
                <a:gdLst>
                  <a:gd name="connsiteX0" fmla="*/ 15421 w 126390"/>
                  <a:gd name="connsiteY0" fmla="*/ 1166 h 83402"/>
                  <a:gd name="connsiteX1" fmla="*/ 94661 w 126390"/>
                  <a:gd name="connsiteY1" fmla="*/ 24644 h 83402"/>
                  <a:gd name="connsiteX2" fmla="*/ 106401 w 126390"/>
                  <a:gd name="connsiteY2" fmla="*/ 27579 h 83402"/>
                  <a:gd name="connsiteX3" fmla="*/ 118139 w 126390"/>
                  <a:gd name="connsiteY3" fmla="*/ 36383 h 83402"/>
                  <a:gd name="connsiteX4" fmla="*/ 121075 w 126390"/>
                  <a:gd name="connsiteY4" fmla="*/ 77470 h 83402"/>
                  <a:gd name="connsiteX5" fmla="*/ 82921 w 126390"/>
                  <a:gd name="connsiteY5" fmla="*/ 77470 h 83402"/>
                  <a:gd name="connsiteX6" fmla="*/ 33031 w 126390"/>
                  <a:gd name="connsiteY6" fmla="*/ 56927 h 83402"/>
                  <a:gd name="connsiteX7" fmla="*/ 748 w 126390"/>
                  <a:gd name="connsiteY7" fmla="*/ 30514 h 83402"/>
                  <a:gd name="connsiteX8" fmla="*/ 15421 w 126390"/>
                  <a:gd name="connsiteY8" fmla="*/ 1166 h 83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6390" h="83402">
                    <a:moveTo>
                      <a:pt x="15421" y="1166"/>
                    </a:moveTo>
                    <a:cubicBezTo>
                      <a:pt x="38899" y="-4704"/>
                      <a:pt x="68247" y="12905"/>
                      <a:pt x="94661" y="24644"/>
                    </a:cubicBezTo>
                    <a:cubicBezTo>
                      <a:pt x="97595" y="24644"/>
                      <a:pt x="106401" y="27579"/>
                      <a:pt x="106401" y="27579"/>
                    </a:cubicBezTo>
                    <a:cubicBezTo>
                      <a:pt x="109335" y="30514"/>
                      <a:pt x="115205" y="33448"/>
                      <a:pt x="118139" y="36383"/>
                    </a:cubicBezTo>
                    <a:cubicBezTo>
                      <a:pt x="126943" y="48122"/>
                      <a:pt x="129879" y="65731"/>
                      <a:pt x="121075" y="77470"/>
                    </a:cubicBezTo>
                    <a:cubicBezTo>
                      <a:pt x="112269" y="89209"/>
                      <a:pt x="94661" y="80405"/>
                      <a:pt x="82921" y="77470"/>
                    </a:cubicBezTo>
                    <a:cubicBezTo>
                      <a:pt x="65313" y="71601"/>
                      <a:pt x="47705" y="65731"/>
                      <a:pt x="33031" y="56927"/>
                    </a:cubicBezTo>
                    <a:cubicBezTo>
                      <a:pt x="21291" y="51057"/>
                      <a:pt x="6617" y="45188"/>
                      <a:pt x="748" y="30514"/>
                    </a:cubicBezTo>
                    <a:cubicBezTo>
                      <a:pt x="-2187" y="15840"/>
                      <a:pt x="3683" y="4101"/>
                      <a:pt x="15421" y="1166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4D3D1E90-0D39-4A53-A59B-4716CF163167}"/>
                  </a:ext>
                </a:extLst>
              </p:cNvPr>
              <p:cNvSpPr/>
              <p:nvPr/>
            </p:nvSpPr>
            <p:spPr>
              <a:xfrm>
                <a:off x="21862315" y="3762765"/>
                <a:ext cx="127542" cy="85436"/>
              </a:xfrm>
              <a:custGeom>
                <a:avLst/>
                <a:gdLst>
                  <a:gd name="connsiteX0" fmla="*/ 13641 w 127542"/>
                  <a:gd name="connsiteY0" fmla="*/ 3199 h 85436"/>
                  <a:gd name="connsiteX1" fmla="*/ 101684 w 127542"/>
                  <a:gd name="connsiteY1" fmla="*/ 26678 h 85436"/>
                  <a:gd name="connsiteX2" fmla="*/ 107552 w 127542"/>
                  <a:gd name="connsiteY2" fmla="*/ 29612 h 85436"/>
                  <a:gd name="connsiteX3" fmla="*/ 119292 w 127542"/>
                  <a:gd name="connsiteY3" fmla="*/ 38417 h 85436"/>
                  <a:gd name="connsiteX4" fmla="*/ 122226 w 127542"/>
                  <a:gd name="connsiteY4" fmla="*/ 79504 h 85436"/>
                  <a:gd name="connsiteX5" fmla="*/ 84074 w 127542"/>
                  <a:gd name="connsiteY5" fmla="*/ 79504 h 85436"/>
                  <a:gd name="connsiteX6" fmla="*/ 34183 w 127542"/>
                  <a:gd name="connsiteY6" fmla="*/ 58960 h 85436"/>
                  <a:gd name="connsiteX7" fmla="*/ 1901 w 127542"/>
                  <a:gd name="connsiteY7" fmla="*/ 32547 h 85436"/>
                  <a:gd name="connsiteX8" fmla="*/ 13641 w 127542"/>
                  <a:gd name="connsiteY8" fmla="*/ 3199 h 8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542" h="85436">
                    <a:moveTo>
                      <a:pt x="13641" y="3199"/>
                    </a:moveTo>
                    <a:cubicBezTo>
                      <a:pt x="42988" y="-8540"/>
                      <a:pt x="72336" y="14939"/>
                      <a:pt x="101684" y="26678"/>
                    </a:cubicBezTo>
                    <a:cubicBezTo>
                      <a:pt x="104618" y="26678"/>
                      <a:pt x="107552" y="29612"/>
                      <a:pt x="107552" y="29612"/>
                    </a:cubicBezTo>
                    <a:cubicBezTo>
                      <a:pt x="110488" y="32547"/>
                      <a:pt x="116358" y="35482"/>
                      <a:pt x="119292" y="38417"/>
                    </a:cubicBezTo>
                    <a:cubicBezTo>
                      <a:pt x="128096" y="50156"/>
                      <a:pt x="131032" y="67765"/>
                      <a:pt x="122226" y="79504"/>
                    </a:cubicBezTo>
                    <a:cubicBezTo>
                      <a:pt x="113422" y="91243"/>
                      <a:pt x="95814" y="82439"/>
                      <a:pt x="84074" y="79504"/>
                    </a:cubicBezTo>
                    <a:cubicBezTo>
                      <a:pt x="66466" y="73634"/>
                      <a:pt x="48857" y="67765"/>
                      <a:pt x="34183" y="58960"/>
                    </a:cubicBezTo>
                    <a:cubicBezTo>
                      <a:pt x="22445" y="53091"/>
                      <a:pt x="7771" y="47221"/>
                      <a:pt x="1901" y="32547"/>
                    </a:cubicBezTo>
                    <a:cubicBezTo>
                      <a:pt x="-3969" y="17873"/>
                      <a:pt x="4835" y="6134"/>
                      <a:pt x="13641" y="3199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27E6A053-20BE-400A-8724-3C79F8581CAE}"/>
                  </a:ext>
                </a:extLst>
              </p:cNvPr>
              <p:cNvSpPr/>
              <p:nvPr/>
            </p:nvSpPr>
            <p:spPr>
              <a:xfrm>
                <a:off x="21859381" y="3803519"/>
                <a:ext cx="111643" cy="74030"/>
              </a:xfrm>
              <a:custGeom>
                <a:avLst/>
                <a:gdLst>
                  <a:gd name="connsiteX0" fmla="*/ 13639 w 111643"/>
                  <a:gd name="connsiteY0" fmla="*/ 3533 h 74030"/>
                  <a:gd name="connsiteX1" fmla="*/ 89944 w 111643"/>
                  <a:gd name="connsiteY1" fmla="*/ 21141 h 74030"/>
                  <a:gd name="connsiteX2" fmla="*/ 95812 w 111643"/>
                  <a:gd name="connsiteY2" fmla="*/ 24076 h 74030"/>
                  <a:gd name="connsiteX3" fmla="*/ 104618 w 111643"/>
                  <a:gd name="connsiteY3" fmla="*/ 32881 h 74030"/>
                  <a:gd name="connsiteX4" fmla="*/ 107552 w 111643"/>
                  <a:gd name="connsiteY4" fmla="*/ 68098 h 74030"/>
                  <a:gd name="connsiteX5" fmla="*/ 72334 w 111643"/>
                  <a:gd name="connsiteY5" fmla="*/ 68098 h 74030"/>
                  <a:gd name="connsiteX6" fmla="*/ 28313 w 111643"/>
                  <a:gd name="connsiteY6" fmla="*/ 50489 h 74030"/>
                  <a:gd name="connsiteX7" fmla="*/ 1901 w 111643"/>
                  <a:gd name="connsiteY7" fmla="*/ 29946 h 74030"/>
                  <a:gd name="connsiteX8" fmla="*/ 13639 w 111643"/>
                  <a:gd name="connsiteY8" fmla="*/ 3533 h 74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643" h="74030">
                    <a:moveTo>
                      <a:pt x="13639" y="3533"/>
                    </a:moveTo>
                    <a:cubicBezTo>
                      <a:pt x="40053" y="-8206"/>
                      <a:pt x="66465" y="12337"/>
                      <a:pt x="89944" y="21141"/>
                    </a:cubicBezTo>
                    <a:cubicBezTo>
                      <a:pt x="92878" y="21141"/>
                      <a:pt x="92878" y="24076"/>
                      <a:pt x="95812" y="24076"/>
                    </a:cubicBezTo>
                    <a:cubicBezTo>
                      <a:pt x="98748" y="27011"/>
                      <a:pt x="101682" y="27011"/>
                      <a:pt x="104618" y="32881"/>
                    </a:cubicBezTo>
                    <a:cubicBezTo>
                      <a:pt x="113422" y="41685"/>
                      <a:pt x="113422" y="59294"/>
                      <a:pt x="107552" y="68098"/>
                    </a:cubicBezTo>
                    <a:cubicBezTo>
                      <a:pt x="98748" y="79837"/>
                      <a:pt x="84074" y="71033"/>
                      <a:pt x="72334" y="68098"/>
                    </a:cubicBezTo>
                    <a:cubicBezTo>
                      <a:pt x="57661" y="62228"/>
                      <a:pt x="42987" y="59294"/>
                      <a:pt x="28313" y="50489"/>
                    </a:cubicBezTo>
                    <a:cubicBezTo>
                      <a:pt x="19509" y="47555"/>
                      <a:pt x="4835" y="41685"/>
                      <a:pt x="1901" y="29946"/>
                    </a:cubicBezTo>
                    <a:cubicBezTo>
                      <a:pt x="-3969" y="18207"/>
                      <a:pt x="4835" y="6468"/>
                      <a:pt x="13639" y="3533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1C5FF0B0-DE14-434A-9630-AC3C4E0A37BC}"/>
                  </a:ext>
                </a:extLst>
              </p:cNvPr>
              <p:cNvSpPr/>
              <p:nvPr/>
            </p:nvSpPr>
            <p:spPr>
              <a:xfrm>
                <a:off x="21864216" y="3845424"/>
                <a:ext cx="82438" cy="57256"/>
              </a:xfrm>
              <a:custGeom>
                <a:avLst/>
                <a:gdLst>
                  <a:gd name="connsiteX0" fmla="*/ 11740 w 82438"/>
                  <a:gd name="connsiteY0" fmla="*/ 2715 h 57256"/>
                  <a:gd name="connsiteX1" fmla="*/ 67500 w 82438"/>
                  <a:gd name="connsiteY1" fmla="*/ 17389 h 57256"/>
                  <a:gd name="connsiteX2" fmla="*/ 70436 w 82438"/>
                  <a:gd name="connsiteY2" fmla="*/ 20324 h 57256"/>
                  <a:gd name="connsiteX3" fmla="*/ 76304 w 82438"/>
                  <a:gd name="connsiteY3" fmla="*/ 26193 h 57256"/>
                  <a:gd name="connsiteX4" fmla="*/ 79239 w 82438"/>
                  <a:gd name="connsiteY4" fmla="*/ 52606 h 57256"/>
                  <a:gd name="connsiteX5" fmla="*/ 52826 w 82438"/>
                  <a:gd name="connsiteY5" fmla="*/ 52606 h 57256"/>
                  <a:gd name="connsiteX6" fmla="*/ 20544 w 82438"/>
                  <a:gd name="connsiteY6" fmla="*/ 40867 h 57256"/>
                  <a:gd name="connsiteX7" fmla="*/ 0 w 82438"/>
                  <a:gd name="connsiteY7" fmla="*/ 23258 h 57256"/>
                  <a:gd name="connsiteX8" fmla="*/ 11740 w 82438"/>
                  <a:gd name="connsiteY8" fmla="*/ 2715 h 57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2438" h="57256">
                    <a:moveTo>
                      <a:pt x="11740" y="2715"/>
                    </a:moveTo>
                    <a:cubicBezTo>
                      <a:pt x="32282" y="-6090"/>
                      <a:pt x="49892" y="8584"/>
                      <a:pt x="67500" y="17389"/>
                    </a:cubicBezTo>
                    <a:cubicBezTo>
                      <a:pt x="70436" y="17389"/>
                      <a:pt x="70436" y="20324"/>
                      <a:pt x="70436" y="20324"/>
                    </a:cubicBezTo>
                    <a:cubicBezTo>
                      <a:pt x="73370" y="20324"/>
                      <a:pt x="76304" y="23258"/>
                      <a:pt x="76304" y="26193"/>
                    </a:cubicBezTo>
                    <a:cubicBezTo>
                      <a:pt x="82174" y="32063"/>
                      <a:pt x="85109" y="43802"/>
                      <a:pt x="79239" y="52606"/>
                    </a:cubicBezTo>
                    <a:cubicBezTo>
                      <a:pt x="73370" y="61411"/>
                      <a:pt x="61630" y="55541"/>
                      <a:pt x="52826" y="52606"/>
                    </a:cubicBezTo>
                    <a:cubicBezTo>
                      <a:pt x="41088" y="49671"/>
                      <a:pt x="29348" y="43802"/>
                      <a:pt x="20544" y="40867"/>
                    </a:cubicBezTo>
                    <a:cubicBezTo>
                      <a:pt x="14674" y="37932"/>
                      <a:pt x="2934" y="34997"/>
                      <a:pt x="0" y="23258"/>
                    </a:cubicBezTo>
                    <a:cubicBezTo>
                      <a:pt x="0" y="14454"/>
                      <a:pt x="2934" y="5650"/>
                      <a:pt x="11740" y="2715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8D53E452-EBA0-4685-9609-DF0AA329E50D}"/>
                  </a:ext>
                </a:extLst>
              </p:cNvPr>
              <p:cNvSpPr/>
              <p:nvPr/>
            </p:nvSpPr>
            <p:spPr>
              <a:xfrm>
                <a:off x="21858197" y="3720727"/>
                <a:ext cx="136769" cy="130346"/>
              </a:xfrm>
              <a:custGeom>
                <a:avLst/>
                <a:gdLst>
                  <a:gd name="connsiteX0" fmla="*/ 114606 w 136769"/>
                  <a:gd name="connsiteY0" fmla="*/ 130346 h 130346"/>
                  <a:gd name="connsiteX1" fmla="*/ 73518 w 136769"/>
                  <a:gd name="connsiteY1" fmla="*/ 118607 h 130346"/>
                  <a:gd name="connsiteX2" fmla="*/ 149 w 136769"/>
                  <a:gd name="connsiteY2" fmla="*/ 56977 h 130346"/>
                  <a:gd name="connsiteX3" fmla="*/ 8953 w 136769"/>
                  <a:gd name="connsiteY3" fmla="*/ 39368 h 130346"/>
                  <a:gd name="connsiteX4" fmla="*/ 20692 w 136769"/>
                  <a:gd name="connsiteY4" fmla="*/ 39368 h 130346"/>
                  <a:gd name="connsiteX5" fmla="*/ 114606 w 136769"/>
                  <a:gd name="connsiteY5" fmla="*/ 71650 h 130346"/>
                  <a:gd name="connsiteX6" fmla="*/ 123410 w 136769"/>
                  <a:gd name="connsiteY6" fmla="*/ 59911 h 130346"/>
                  <a:gd name="connsiteX7" fmla="*/ 123410 w 136769"/>
                  <a:gd name="connsiteY7" fmla="*/ 51107 h 130346"/>
                  <a:gd name="connsiteX8" fmla="*/ 47106 w 136769"/>
                  <a:gd name="connsiteY8" fmla="*/ 10020 h 130346"/>
                  <a:gd name="connsiteX9" fmla="*/ 44170 w 136769"/>
                  <a:gd name="connsiteY9" fmla="*/ 4151 h 130346"/>
                  <a:gd name="connsiteX10" fmla="*/ 50040 w 136769"/>
                  <a:gd name="connsiteY10" fmla="*/ 1216 h 130346"/>
                  <a:gd name="connsiteX11" fmla="*/ 132214 w 136769"/>
                  <a:gd name="connsiteY11" fmla="*/ 48172 h 130346"/>
                  <a:gd name="connsiteX12" fmla="*/ 132214 w 136769"/>
                  <a:gd name="connsiteY12" fmla="*/ 65781 h 130346"/>
                  <a:gd name="connsiteX13" fmla="*/ 126344 w 136769"/>
                  <a:gd name="connsiteY13" fmla="*/ 74585 h 130346"/>
                  <a:gd name="connsiteX14" fmla="*/ 135150 w 136769"/>
                  <a:gd name="connsiteY14" fmla="*/ 115672 h 130346"/>
                  <a:gd name="connsiteX15" fmla="*/ 114606 w 136769"/>
                  <a:gd name="connsiteY15" fmla="*/ 130346 h 130346"/>
                  <a:gd name="connsiteX16" fmla="*/ 14822 w 136769"/>
                  <a:gd name="connsiteY16" fmla="*/ 48172 h 130346"/>
                  <a:gd name="connsiteX17" fmla="*/ 14822 w 136769"/>
                  <a:gd name="connsiteY17" fmla="*/ 48172 h 130346"/>
                  <a:gd name="connsiteX18" fmla="*/ 8953 w 136769"/>
                  <a:gd name="connsiteY18" fmla="*/ 56977 h 130346"/>
                  <a:gd name="connsiteX19" fmla="*/ 76454 w 136769"/>
                  <a:gd name="connsiteY19" fmla="*/ 106868 h 130346"/>
                  <a:gd name="connsiteX20" fmla="*/ 123410 w 136769"/>
                  <a:gd name="connsiteY20" fmla="*/ 109803 h 130346"/>
                  <a:gd name="connsiteX21" fmla="*/ 117540 w 136769"/>
                  <a:gd name="connsiteY21" fmla="*/ 77520 h 130346"/>
                  <a:gd name="connsiteX22" fmla="*/ 117540 w 136769"/>
                  <a:gd name="connsiteY22" fmla="*/ 77520 h 130346"/>
                  <a:gd name="connsiteX23" fmla="*/ 14822 w 136769"/>
                  <a:gd name="connsiteY23" fmla="*/ 48172 h 130346"/>
                  <a:gd name="connsiteX24" fmla="*/ 14822 w 136769"/>
                  <a:gd name="connsiteY24" fmla="*/ 48172 h 130346"/>
                  <a:gd name="connsiteX25" fmla="*/ 14822 w 136769"/>
                  <a:gd name="connsiteY25" fmla="*/ 48172 h 130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36769" h="130346">
                    <a:moveTo>
                      <a:pt x="114606" y="130346"/>
                    </a:moveTo>
                    <a:cubicBezTo>
                      <a:pt x="102866" y="130346"/>
                      <a:pt x="88192" y="124477"/>
                      <a:pt x="73518" y="118607"/>
                    </a:cubicBezTo>
                    <a:cubicBezTo>
                      <a:pt x="38300" y="106868"/>
                      <a:pt x="-2785" y="83390"/>
                      <a:pt x="149" y="56977"/>
                    </a:cubicBezTo>
                    <a:cubicBezTo>
                      <a:pt x="149" y="48172"/>
                      <a:pt x="3084" y="42303"/>
                      <a:pt x="8953" y="39368"/>
                    </a:cubicBezTo>
                    <a:cubicBezTo>
                      <a:pt x="14822" y="36433"/>
                      <a:pt x="20692" y="39368"/>
                      <a:pt x="20692" y="39368"/>
                    </a:cubicBezTo>
                    <a:cubicBezTo>
                      <a:pt x="67648" y="65781"/>
                      <a:pt x="99932" y="74585"/>
                      <a:pt x="114606" y="71650"/>
                    </a:cubicBezTo>
                    <a:cubicBezTo>
                      <a:pt x="120476" y="68716"/>
                      <a:pt x="120476" y="65781"/>
                      <a:pt x="123410" y="59911"/>
                    </a:cubicBezTo>
                    <a:cubicBezTo>
                      <a:pt x="123410" y="56977"/>
                      <a:pt x="123410" y="54042"/>
                      <a:pt x="123410" y="51107"/>
                    </a:cubicBezTo>
                    <a:cubicBezTo>
                      <a:pt x="114606" y="33498"/>
                      <a:pt x="64714" y="15890"/>
                      <a:pt x="47106" y="10020"/>
                    </a:cubicBezTo>
                    <a:cubicBezTo>
                      <a:pt x="44170" y="10020"/>
                      <a:pt x="41236" y="7085"/>
                      <a:pt x="44170" y="4151"/>
                    </a:cubicBezTo>
                    <a:cubicBezTo>
                      <a:pt x="44170" y="1216"/>
                      <a:pt x="47106" y="-1719"/>
                      <a:pt x="50040" y="1216"/>
                    </a:cubicBezTo>
                    <a:cubicBezTo>
                      <a:pt x="55910" y="4151"/>
                      <a:pt x="120476" y="21759"/>
                      <a:pt x="132214" y="48172"/>
                    </a:cubicBezTo>
                    <a:cubicBezTo>
                      <a:pt x="135150" y="54042"/>
                      <a:pt x="135150" y="59911"/>
                      <a:pt x="132214" y="65781"/>
                    </a:cubicBezTo>
                    <a:cubicBezTo>
                      <a:pt x="132214" y="68716"/>
                      <a:pt x="129280" y="71650"/>
                      <a:pt x="126344" y="74585"/>
                    </a:cubicBezTo>
                    <a:cubicBezTo>
                      <a:pt x="129280" y="77520"/>
                      <a:pt x="141018" y="100998"/>
                      <a:pt x="135150" y="115672"/>
                    </a:cubicBezTo>
                    <a:cubicBezTo>
                      <a:pt x="129280" y="127411"/>
                      <a:pt x="123410" y="130346"/>
                      <a:pt x="114606" y="130346"/>
                    </a:cubicBezTo>
                    <a:close/>
                    <a:moveTo>
                      <a:pt x="14822" y="48172"/>
                    </a:moveTo>
                    <a:cubicBezTo>
                      <a:pt x="14822" y="48172"/>
                      <a:pt x="11888" y="48172"/>
                      <a:pt x="14822" y="48172"/>
                    </a:cubicBezTo>
                    <a:cubicBezTo>
                      <a:pt x="11888" y="48172"/>
                      <a:pt x="11888" y="51107"/>
                      <a:pt x="8953" y="56977"/>
                    </a:cubicBezTo>
                    <a:cubicBezTo>
                      <a:pt x="6018" y="74585"/>
                      <a:pt x="32432" y="92194"/>
                      <a:pt x="76454" y="106868"/>
                    </a:cubicBezTo>
                    <a:cubicBezTo>
                      <a:pt x="108736" y="118607"/>
                      <a:pt x="120476" y="118607"/>
                      <a:pt x="123410" y="109803"/>
                    </a:cubicBezTo>
                    <a:cubicBezTo>
                      <a:pt x="126344" y="100998"/>
                      <a:pt x="120476" y="83390"/>
                      <a:pt x="117540" y="77520"/>
                    </a:cubicBezTo>
                    <a:cubicBezTo>
                      <a:pt x="117540" y="77520"/>
                      <a:pt x="117540" y="77520"/>
                      <a:pt x="117540" y="77520"/>
                    </a:cubicBezTo>
                    <a:cubicBezTo>
                      <a:pt x="105802" y="86324"/>
                      <a:pt x="82322" y="86324"/>
                      <a:pt x="14822" y="48172"/>
                    </a:cubicBezTo>
                    <a:lnTo>
                      <a:pt x="14822" y="48172"/>
                    </a:lnTo>
                    <a:cubicBezTo>
                      <a:pt x="14822" y="48172"/>
                      <a:pt x="14822" y="48172"/>
                      <a:pt x="14822" y="4817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2DAA57B1-D4EC-431D-AE53-2B1F492DD7E6}"/>
                  </a:ext>
                </a:extLst>
              </p:cNvPr>
              <p:cNvSpPr/>
              <p:nvPr/>
            </p:nvSpPr>
            <p:spPr>
              <a:xfrm>
                <a:off x="21852476" y="3804117"/>
                <a:ext cx="126666" cy="79239"/>
              </a:xfrm>
              <a:custGeom>
                <a:avLst/>
                <a:gdLst>
                  <a:gd name="connsiteX0" fmla="*/ 99783 w 126666"/>
                  <a:gd name="connsiteY0" fmla="*/ 79239 h 79239"/>
                  <a:gd name="connsiteX1" fmla="*/ 90979 w 126666"/>
                  <a:gd name="connsiteY1" fmla="*/ 79239 h 79239"/>
                  <a:gd name="connsiteX2" fmla="*/ 5870 w 126666"/>
                  <a:gd name="connsiteY2" fmla="*/ 41087 h 79239"/>
                  <a:gd name="connsiteX3" fmla="*/ 0 w 126666"/>
                  <a:gd name="connsiteY3" fmla="*/ 20543 h 79239"/>
                  <a:gd name="connsiteX4" fmla="*/ 17610 w 126666"/>
                  <a:gd name="connsiteY4" fmla="*/ 0 h 79239"/>
                  <a:gd name="connsiteX5" fmla="*/ 23480 w 126666"/>
                  <a:gd name="connsiteY5" fmla="*/ 2935 h 79239"/>
                  <a:gd name="connsiteX6" fmla="*/ 20544 w 126666"/>
                  <a:gd name="connsiteY6" fmla="*/ 8804 h 79239"/>
                  <a:gd name="connsiteX7" fmla="*/ 11740 w 126666"/>
                  <a:gd name="connsiteY7" fmla="*/ 20543 h 79239"/>
                  <a:gd name="connsiteX8" fmla="*/ 14674 w 126666"/>
                  <a:gd name="connsiteY8" fmla="*/ 29348 h 79239"/>
                  <a:gd name="connsiteX9" fmla="*/ 93913 w 126666"/>
                  <a:gd name="connsiteY9" fmla="*/ 64565 h 79239"/>
                  <a:gd name="connsiteX10" fmla="*/ 111523 w 126666"/>
                  <a:gd name="connsiteY10" fmla="*/ 61630 h 79239"/>
                  <a:gd name="connsiteX11" fmla="*/ 114457 w 126666"/>
                  <a:gd name="connsiteY11" fmla="*/ 41087 h 79239"/>
                  <a:gd name="connsiteX12" fmla="*/ 120327 w 126666"/>
                  <a:gd name="connsiteY12" fmla="*/ 35217 h 79239"/>
                  <a:gd name="connsiteX13" fmla="*/ 126197 w 126666"/>
                  <a:gd name="connsiteY13" fmla="*/ 41087 h 79239"/>
                  <a:gd name="connsiteX14" fmla="*/ 120327 w 126666"/>
                  <a:gd name="connsiteY14" fmla="*/ 73370 h 79239"/>
                  <a:gd name="connsiteX15" fmla="*/ 99783 w 126666"/>
                  <a:gd name="connsiteY15" fmla="*/ 79239 h 79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6666" h="79239">
                    <a:moveTo>
                      <a:pt x="99783" y="79239"/>
                    </a:moveTo>
                    <a:cubicBezTo>
                      <a:pt x="96849" y="79239"/>
                      <a:pt x="93913" y="79239"/>
                      <a:pt x="90979" y="79239"/>
                    </a:cubicBezTo>
                    <a:cubicBezTo>
                      <a:pt x="55762" y="73370"/>
                      <a:pt x="14674" y="49891"/>
                      <a:pt x="5870" y="41087"/>
                    </a:cubicBezTo>
                    <a:cubicBezTo>
                      <a:pt x="0" y="35217"/>
                      <a:pt x="0" y="29348"/>
                      <a:pt x="0" y="20543"/>
                    </a:cubicBezTo>
                    <a:cubicBezTo>
                      <a:pt x="2936" y="11739"/>
                      <a:pt x="8806" y="2935"/>
                      <a:pt x="17610" y="0"/>
                    </a:cubicBezTo>
                    <a:cubicBezTo>
                      <a:pt x="20544" y="0"/>
                      <a:pt x="23480" y="0"/>
                      <a:pt x="23480" y="2935"/>
                    </a:cubicBezTo>
                    <a:cubicBezTo>
                      <a:pt x="23480" y="5869"/>
                      <a:pt x="23480" y="8804"/>
                      <a:pt x="20544" y="8804"/>
                    </a:cubicBezTo>
                    <a:cubicBezTo>
                      <a:pt x="17610" y="8804"/>
                      <a:pt x="14674" y="14674"/>
                      <a:pt x="11740" y="20543"/>
                    </a:cubicBezTo>
                    <a:cubicBezTo>
                      <a:pt x="11740" y="23478"/>
                      <a:pt x="11740" y="26413"/>
                      <a:pt x="14674" y="29348"/>
                    </a:cubicBezTo>
                    <a:cubicBezTo>
                      <a:pt x="23480" y="38152"/>
                      <a:pt x="61632" y="58696"/>
                      <a:pt x="93913" y="64565"/>
                    </a:cubicBezTo>
                    <a:cubicBezTo>
                      <a:pt x="102717" y="64565"/>
                      <a:pt x="108587" y="64565"/>
                      <a:pt x="111523" y="61630"/>
                    </a:cubicBezTo>
                    <a:cubicBezTo>
                      <a:pt x="117391" y="55761"/>
                      <a:pt x="117391" y="44022"/>
                      <a:pt x="114457" y="41087"/>
                    </a:cubicBezTo>
                    <a:cubicBezTo>
                      <a:pt x="114457" y="38152"/>
                      <a:pt x="114457" y="35217"/>
                      <a:pt x="120327" y="35217"/>
                    </a:cubicBezTo>
                    <a:cubicBezTo>
                      <a:pt x="123261" y="35217"/>
                      <a:pt x="126197" y="35217"/>
                      <a:pt x="126197" y="41087"/>
                    </a:cubicBezTo>
                    <a:cubicBezTo>
                      <a:pt x="126197" y="41087"/>
                      <a:pt x="129131" y="61630"/>
                      <a:pt x="120327" y="73370"/>
                    </a:cubicBezTo>
                    <a:cubicBezTo>
                      <a:pt x="114457" y="76304"/>
                      <a:pt x="108587" y="79239"/>
                      <a:pt x="99783" y="79239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59C61D58-A484-4EEC-90B9-96EE72786AFF}"/>
                </a:ext>
              </a:extLst>
            </p:cNvPr>
            <p:cNvSpPr/>
            <p:nvPr/>
          </p:nvSpPr>
          <p:spPr>
            <a:xfrm>
              <a:off x="21925275" y="3777002"/>
              <a:ext cx="128408" cy="109413"/>
            </a:xfrm>
            <a:custGeom>
              <a:avLst/>
              <a:gdLst>
                <a:gd name="connsiteX0" fmla="*/ 570 w 128408"/>
                <a:gd name="connsiteY0" fmla="*/ 53528 h 109413"/>
                <a:gd name="connsiteX1" fmla="*/ 24050 w 128408"/>
                <a:gd name="connsiteY1" fmla="*/ 50593 h 109413"/>
                <a:gd name="connsiteX2" fmla="*/ 76876 w 128408"/>
                <a:gd name="connsiteY2" fmla="*/ 65267 h 109413"/>
                <a:gd name="connsiteX3" fmla="*/ 103288 w 128408"/>
                <a:gd name="connsiteY3" fmla="*/ 109289 h 109413"/>
                <a:gd name="connsiteX4" fmla="*/ 126767 w 128408"/>
                <a:gd name="connsiteY4" fmla="*/ 47658 h 109413"/>
                <a:gd name="connsiteX5" fmla="*/ 47528 w 128408"/>
                <a:gd name="connsiteY5" fmla="*/ 702 h 109413"/>
                <a:gd name="connsiteX6" fmla="*/ 570 w 128408"/>
                <a:gd name="connsiteY6" fmla="*/ 53528 h 109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408" h="109413">
                  <a:moveTo>
                    <a:pt x="570" y="53528"/>
                  </a:moveTo>
                  <a:cubicBezTo>
                    <a:pt x="3506" y="62332"/>
                    <a:pt x="18180" y="50593"/>
                    <a:pt x="24050" y="50593"/>
                  </a:cubicBezTo>
                  <a:cubicBezTo>
                    <a:pt x="44592" y="47658"/>
                    <a:pt x="59266" y="50593"/>
                    <a:pt x="76876" y="65267"/>
                  </a:cubicBezTo>
                  <a:cubicBezTo>
                    <a:pt x="85680" y="74071"/>
                    <a:pt x="97419" y="100485"/>
                    <a:pt x="103288" y="109289"/>
                  </a:cubicBezTo>
                  <a:cubicBezTo>
                    <a:pt x="106223" y="112224"/>
                    <a:pt x="135571" y="62332"/>
                    <a:pt x="126767" y="47658"/>
                  </a:cubicBezTo>
                  <a:cubicBezTo>
                    <a:pt x="112093" y="27115"/>
                    <a:pt x="76876" y="-5168"/>
                    <a:pt x="47528" y="702"/>
                  </a:cubicBezTo>
                  <a:cubicBezTo>
                    <a:pt x="35788" y="6572"/>
                    <a:pt x="-5298" y="35919"/>
                    <a:pt x="570" y="53528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72048FC0-AEB5-4BC2-AD72-7C3281A27890}"/>
                </a:ext>
              </a:extLst>
            </p:cNvPr>
            <p:cNvSpPr/>
            <p:nvPr/>
          </p:nvSpPr>
          <p:spPr>
            <a:xfrm>
              <a:off x="21918761" y="3773148"/>
              <a:ext cx="140454" cy="116077"/>
            </a:xfrm>
            <a:custGeom>
              <a:avLst/>
              <a:gdLst>
                <a:gd name="connsiteX0" fmla="*/ 83390 w 140454"/>
                <a:gd name="connsiteY0" fmla="*/ 116078 h 116077"/>
                <a:gd name="connsiteX1" fmla="*/ 77520 w 140454"/>
                <a:gd name="connsiteY1" fmla="*/ 113143 h 116077"/>
                <a:gd name="connsiteX2" fmla="*/ 77520 w 140454"/>
                <a:gd name="connsiteY2" fmla="*/ 72056 h 116077"/>
                <a:gd name="connsiteX3" fmla="*/ 30564 w 140454"/>
                <a:gd name="connsiteY3" fmla="*/ 63252 h 116077"/>
                <a:gd name="connsiteX4" fmla="*/ 4150 w 140454"/>
                <a:gd name="connsiteY4" fmla="*/ 60317 h 116077"/>
                <a:gd name="connsiteX5" fmla="*/ 1216 w 140454"/>
                <a:gd name="connsiteY5" fmla="*/ 45643 h 116077"/>
                <a:gd name="connsiteX6" fmla="*/ 54042 w 140454"/>
                <a:gd name="connsiteY6" fmla="*/ 1621 h 116077"/>
                <a:gd name="connsiteX7" fmla="*/ 139149 w 140454"/>
                <a:gd name="connsiteY7" fmla="*/ 48578 h 116077"/>
                <a:gd name="connsiteX8" fmla="*/ 139149 w 140454"/>
                <a:gd name="connsiteY8" fmla="*/ 57382 h 116077"/>
                <a:gd name="connsiteX9" fmla="*/ 130345 w 140454"/>
                <a:gd name="connsiteY9" fmla="*/ 57382 h 116077"/>
                <a:gd name="connsiteX10" fmla="*/ 56976 w 140454"/>
                <a:gd name="connsiteY10" fmla="*/ 13360 h 116077"/>
                <a:gd name="connsiteX11" fmla="*/ 12954 w 140454"/>
                <a:gd name="connsiteY11" fmla="*/ 48578 h 116077"/>
                <a:gd name="connsiteX12" fmla="*/ 12954 w 140454"/>
                <a:gd name="connsiteY12" fmla="*/ 54447 h 116077"/>
                <a:gd name="connsiteX13" fmla="*/ 30564 w 140454"/>
                <a:gd name="connsiteY13" fmla="*/ 54447 h 116077"/>
                <a:gd name="connsiteX14" fmla="*/ 89260 w 140454"/>
                <a:gd name="connsiteY14" fmla="*/ 69121 h 116077"/>
                <a:gd name="connsiteX15" fmla="*/ 89260 w 140454"/>
                <a:gd name="connsiteY15" fmla="*/ 74991 h 116077"/>
                <a:gd name="connsiteX16" fmla="*/ 89260 w 140454"/>
                <a:gd name="connsiteY16" fmla="*/ 110208 h 116077"/>
                <a:gd name="connsiteX17" fmla="*/ 83390 w 140454"/>
                <a:gd name="connsiteY17" fmla="*/ 116078 h 116077"/>
                <a:gd name="connsiteX18" fmla="*/ 83390 w 140454"/>
                <a:gd name="connsiteY18" fmla="*/ 116078 h 116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0454" h="116077">
                  <a:moveTo>
                    <a:pt x="83390" y="116078"/>
                  </a:moveTo>
                  <a:cubicBezTo>
                    <a:pt x="80454" y="116078"/>
                    <a:pt x="80454" y="116078"/>
                    <a:pt x="77520" y="113143"/>
                  </a:cubicBezTo>
                  <a:cubicBezTo>
                    <a:pt x="68716" y="98469"/>
                    <a:pt x="74586" y="77926"/>
                    <a:pt x="77520" y="72056"/>
                  </a:cubicBezTo>
                  <a:cubicBezTo>
                    <a:pt x="62846" y="57382"/>
                    <a:pt x="45238" y="60317"/>
                    <a:pt x="30564" y="63252"/>
                  </a:cubicBezTo>
                  <a:cubicBezTo>
                    <a:pt x="18824" y="66186"/>
                    <a:pt x="10020" y="66186"/>
                    <a:pt x="4150" y="60317"/>
                  </a:cubicBezTo>
                  <a:cubicBezTo>
                    <a:pt x="1216" y="57382"/>
                    <a:pt x="-1720" y="51512"/>
                    <a:pt x="1216" y="45643"/>
                  </a:cubicBezTo>
                  <a:cubicBezTo>
                    <a:pt x="4150" y="30969"/>
                    <a:pt x="24694" y="10426"/>
                    <a:pt x="54042" y="1621"/>
                  </a:cubicBezTo>
                  <a:cubicBezTo>
                    <a:pt x="92194" y="-10118"/>
                    <a:pt x="139149" y="45643"/>
                    <a:pt x="139149" y="48578"/>
                  </a:cubicBezTo>
                  <a:cubicBezTo>
                    <a:pt x="142085" y="51512"/>
                    <a:pt x="139149" y="54447"/>
                    <a:pt x="139149" y="57382"/>
                  </a:cubicBezTo>
                  <a:cubicBezTo>
                    <a:pt x="136215" y="60317"/>
                    <a:pt x="133281" y="57382"/>
                    <a:pt x="130345" y="57382"/>
                  </a:cubicBezTo>
                  <a:cubicBezTo>
                    <a:pt x="118607" y="42708"/>
                    <a:pt x="83390" y="4556"/>
                    <a:pt x="56976" y="13360"/>
                  </a:cubicBezTo>
                  <a:cubicBezTo>
                    <a:pt x="30564" y="22165"/>
                    <a:pt x="12954" y="39774"/>
                    <a:pt x="12954" y="48578"/>
                  </a:cubicBezTo>
                  <a:cubicBezTo>
                    <a:pt x="12954" y="51512"/>
                    <a:pt x="12954" y="54447"/>
                    <a:pt x="12954" y="54447"/>
                  </a:cubicBezTo>
                  <a:cubicBezTo>
                    <a:pt x="15890" y="57382"/>
                    <a:pt x="21758" y="54447"/>
                    <a:pt x="30564" y="54447"/>
                  </a:cubicBezTo>
                  <a:cubicBezTo>
                    <a:pt x="45238" y="51512"/>
                    <a:pt x="71650" y="48578"/>
                    <a:pt x="89260" y="69121"/>
                  </a:cubicBezTo>
                  <a:cubicBezTo>
                    <a:pt x="92194" y="72056"/>
                    <a:pt x="92194" y="72056"/>
                    <a:pt x="89260" y="74991"/>
                  </a:cubicBezTo>
                  <a:cubicBezTo>
                    <a:pt x="86324" y="80860"/>
                    <a:pt x="80454" y="101404"/>
                    <a:pt x="89260" y="110208"/>
                  </a:cubicBezTo>
                  <a:cubicBezTo>
                    <a:pt x="89260" y="110208"/>
                    <a:pt x="89260" y="116078"/>
                    <a:pt x="83390" y="116078"/>
                  </a:cubicBezTo>
                  <a:cubicBezTo>
                    <a:pt x="86324" y="116078"/>
                    <a:pt x="86324" y="116078"/>
                    <a:pt x="83390" y="116078"/>
                  </a:cubicBezTo>
                  <a:close/>
                </a:path>
              </a:pathLst>
            </a:custGeom>
            <a:solidFill>
              <a:srgbClr val="E58777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08617F0A-8D33-40C4-8037-772CCDC87D0B}"/>
                </a:ext>
              </a:extLst>
            </p:cNvPr>
            <p:cNvSpPr/>
            <p:nvPr/>
          </p:nvSpPr>
          <p:spPr>
            <a:xfrm>
              <a:off x="22706290" y="3953785"/>
              <a:ext cx="223457" cy="353802"/>
            </a:xfrm>
            <a:custGeom>
              <a:avLst/>
              <a:gdLst>
                <a:gd name="connsiteX0" fmla="*/ 193903 w 223457"/>
                <a:gd name="connsiteY0" fmla="*/ 290550 h 353802"/>
                <a:gd name="connsiteX1" fmla="*/ 185099 w 223457"/>
                <a:gd name="connsiteY1" fmla="*/ 284680 h 353802"/>
                <a:gd name="connsiteX2" fmla="*/ 149881 w 223457"/>
                <a:gd name="connsiteY2" fmla="*/ 272941 h 353802"/>
                <a:gd name="connsiteX3" fmla="*/ 146947 w 223457"/>
                <a:gd name="connsiteY3" fmla="*/ 270006 h 353802"/>
                <a:gd name="connsiteX4" fmla="*/ 149881 w 223457"/>
                <a:gd name="connsiteY4" fmla="*/ 261202 h 353802"/>
                <a:gd name="connsiteX5" fmla="*/ 152817 w 223457"/>
                <a:gd name="connsiteY5" fmla="*/ 246528 h 353802"/>
                <a:gd name="connsiteX6" fmla="*/ 120534 w 223457"/>
                <a:gd name="connsiteY6" fmla="*/ 193702 h 353802"/>
                <a:gd name="connsiteX7" fmla="*/ 97056 w 223457"/>
                <a:gd name="connsiteY7" fmla="*/ 170224 h 353802"/>
                <a:gd name="connsiteX8" fmla="*/ 97056 w 223457"/>
                <a:gd name="connsiteY8" fmla="*/ 140876 h 353802"/>
                <a:gd name="connsiteX9" fmla="*/ 76512 w 223457"/>
                <a:gd name="connsiteY9" fmla="*/ 108593 h 353802"/>
                <a:gd name="connsiteX10" fmla="*/ 50100 w 223457"/>
                <a:gd name="connsiteY10" fmla="*/ 73376 h 353802"/>
                <a:gd name="connsiteX11" fmla="*/ 50100 w 223457"/>
                <a:gd name="connsiteY11" fmla="*/ 44028 h 353802"/>
                <a:gd name="connsiteX12" fmla="*/ 20752 w 223457"/>
                <a:gd name="connsiteY12" fmla="*/ 2941 h 353802"/>
                <a:gd name="connsiteX13" fmla="*/ 6078 w 223457"/>
                <a:gd name="connsiteY13" fmla="*/ 29354 h 353802"/>
                <a:gd name="connsiteX14" fmla="*/ 23686 w 223457"/>
                <a:gd name="connsiteY14" fmla="*/ 58702 h 353802"/>
                <a:gd name="connsiteX15" fmla="*/ 23686 w 223457"/>
                <a:gd name="connsiteY15" fmla="*/ 88050 h 353802"/>
                <a:gd name="connsiteX16" fmla="*/ 55968 w 223457"/>
                <a:gd name="connsiteY16" fmla="*/ 129137 h 353802"/>
                <a:gd name="connsiteX17" fmla="*/ 70642 w 223457"/>
                <a:gd name="connsiteY17" fmla="*/ 155550 h 353802"/>
                <a:gd name="connsiteX18" fmla="*/ 70642 w 223457"/>
                <a:gd name="connsiteY18" fmla="*/ 184898 h 353802"/>
                <a:gd name="connsiteX19" fmla="*/ 105860 w 223457"/>
                <a:gd name="connsiteY19" fmla="*/ 225985 h 353802"/>
                <a:gd name="connsiteX20" fmla="*/ 123469 w 223457"/>
                <a:gd name="connsiteY20" fmla="*/ 261202 h 353802"/>
                <a:gd name="connsiteX21" fmla="*/ 123469 w 223457"/>
                <a:gd name="connsiteY21" fmla="*/ 287615 h 353802"/>
                <a:gd name="connsiteX22" fmla="*/ 179229 w 223457"/>
                <a:gd name="connsiteY22" fmla="*/ 314028 h 353802"/>
                <a:gd name="connsiteX23" fmla="*/ 193903 w 223457"/>
                <a:gd name="connsiteY23" fmla="*/ 343376 h 353802"/>
                <a:gd name="connsiteX24" fmla="*/ 223251 w 223457"/>
                <a:gd name="connsiteY24" fmla="*/ 334571 h 353802"/>
                <a:gd name="connsiteX25" fmla="*/ 193903 w 223457"/>
                <a:gd name="connsiteY25" fmla="*/ 290550 h 353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23457" h="353802">
                  <a:moveTo>
                    <a:pt x="193903" y="290550"/>
                  </a:moveTo>
                  <a:cubicBezTo>
                    <a:pt x="190969" y="287615"/>
                    <a:pt x="188033" y="284680"/>
                    <a:pt x="185099" y="284680"/>
                  </a:cubicBezTo>
                  <a:cubicBezTo>
                    <a:pt x="176295" y="284680"/>
                    <a:pt x="155751" y="281745"/>
                    <a:pt x="149881" y="272941"/>
                  </a:cubicBezTo>
                  <a:cubicBezTo>
                    <a:pt x="149881" y="272941"/>
                    <a:pt x="146947" y="272941"/>
                    <a:pt x="146947" y="270006"/>
                  </a:cubicBezTo>
                  <a:cubicBezTo>
                    <a:pt x="146947" y="267071"/>
                    <a:pt x="149881" y="264137"/>
                    <a:pt x="149881" y="261202"/>
                  </a:cubicBezTo>
                  <a:cubicBezTo>
                    <a:pt x="149881" y="255332"/>
                    <a:pt x="152817" y="252397"/>
                    <a:pt x="152817" y="246528"/>
                  </a:cubicBezTo>
                  <a:cubicBezTo>
                    <a:pt x="152817" y="228919"/>
                    <a:pt x="123469" y="196637"/>
                    <a:pt x="120534" y="193702"/>
                  </a:cubicBezTo>
                  <a:cubicBezTo>
                    <a:pt x="108796" y="187832"/>
                    <a:pt x="97056" y="184898"/>
                    <a:pt x="97056" y="170224"/>
                  </a:cubicBezTo>
                  <a:cubicBezTo>
                    <a:pt x="97056" y="161419"/>
                    <a:pt x="99990" y="149680"/>
                    <a:pt x="97056" y="140876"/>
                  </a:cubicBezTo>
                  <a:cubicBezTo>
                    <a:pt x="94122" y="126202"/>
                    <a:pt x="88252" y="114463"/>
                    <a:pt x="76512" y="108593"/>
                  </a:cubicBezTo>
                  <a:cubicBezTo>
                    <a:pt x="76512" y="105658"/>
                    <a:pt x="47164" y="93919"/>
                    <a:pt x="50100" y="73376"/>
                  </a:cubicBezTo>
                  <a:cubicBezTo>
                    <a:pt x="50100" y="64571"/>
                    <a:pt x="53034" y="52832"/>
                    <a:pt x="50100" y="44028"/>
                  </a:cubicBezTo>
                  <a:cubicBezTo>
                    <a:pt x="47164" y="26419"/>
                    <a:pt x="35426" y="14680"/>
                    <a:pt x="20752" y="2941"/>
                  </a:cubicBezTo>
                  <a:cubicBezTo>
                    <a:pt x="6078" y="-8798"/>
                    <a:pt x="-8596" y="17615"/>
                    <a:pt x="6078" y="29354"/>
                  </a:cubicBezTo>
                  <a:cubicBezTo>
                    <a:pt x="17816" y="38158"/>
                    <a:pt x="23686" y="44028"/>
                    <a:pt x="23686" y="58702"/>
                  </a:cubicBezTo>
                  <a:cubicBezTo>
                    <a:pt x="23686" y="67506"/>
                    <a:pt x="20752" y="79245"/>
                    <a:pt x="23686" y="88050"/>
                  </a:cubicBezTo>
                  <a:cubicBezTo>
                    <a:pt x="26620" y="102724"/>
                    <a:pt x="41294" y="129137"/>
                    <a:pt x="55968" y="129137"/>
                  </a:cubicBezTo>
                  <a:cubicBezTo>
                    <a:pt x="70642" y="129137"/>
                    <a:pt x="73578" y="140876"/>
                    <a:pt x="70642" y="155550"/>
                  </a:cubicBezTo>
                  <a:cubicBezTo>
                    <a:pt x="70642" y="164354"/>
                    <a:pt x="67708" y="173158"/>
                    <a:pt x="70642" y="184898"/>
                  </a:cubicBezTo>
                  <a:cubicBezTo>
                    <a:pt x="73578" y="202506"/>
                    <a:pt x="102926" y="223050"/>
                    <a:pt x="105860" y="225985"/>
                  </a:cubicBezTo>
                  <a:cubicBezTo>
                    <a:pt x="120534" y="234789"/>
                    <a:pt x="126404" y="243593"/>
                    <a:pt x="123469" y="261202"/>
                  </a:cubicBezTo>
                  <a:cubicBezTo>
                    <a:pt x="120534" y="270006"/>
                    <a:pt x="120534" y="278810"/>
                    <a:pt x="123469" y="287615"/>
                  </a:cubicBezTo>
                  <a:cubicBezTo>
                    <a:pt x="132273" y="305224"/>
                    <a:pt x="161621" y="311093"/>
                    <a:pt x="179229" y="314028"/>
                  </a:cubicBezTo>
                  <a:cubicBezTo>
                    <a:pt x="188033" y="322832"/>
                    <a:pt x="190969" y="331637"/>
                    <a:pt x="193903" y="343376"/>
                  </a:cubicBezTo>
                  <a:cubicBezTo>
                    <a:pt x="196839" y="360984"/>
                    <a:pt x="226187" y="355115"/>
                    <a:pt x="223251" y="334571"/>
                  </a:cubicBezTo>
                  <a:cubicBezTo>
                    <a:pt x="211513" y="316963"/>
                    <a:pt x="205643" y="302289"/>
                    <a:pt x="193903" y="290550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6951B278-D107-4F44-B19C-5A5D9C869EE3}"/>
                </a:ext>
              </a:extLst>
            </p:cNvPr>
            <p:cNvSpPr/>
            <p:nvPr/>
          </p:nvSpPr>
          <p:spPr>
            <a:xfrm>
              <a:off x="23862596" y="3658691"/>
              <a:ext cx="237145" cy="323626"/>
            </a:xfrm>
            <a:custGeom>
              <a:avLst/>
              <a:gdLst>
                <a:gd name="connsiteX0" fmla="*/ 232054 w 237145"/>
                <a:gd name="connsiteY0" fmla="*/ 298035 h 323626"/>
                <a:gd name="connsiteX1" fmla="*/ 214446 w 237145"/>
                <a:gd name="connsiteY1" fmla="*/ 265752 h 323626"/>
                <a:gd name="connsiteX2" fmla="*/ 217381 w 237145"/>
                <a:gd name="connsiteY2" fmla="*/ 248144 h 323626"/>
                <a:gd name="connsiteX3" fmla="*/ 202707 w 237145"/>
                <a:gd name="connsiteY3" fmla="*/ 221731 h 323626"/>
                <a:gd name="connsiteX4" fmla="*/ 188033 w 237145"/>
                <a:gd name="connsiteY4" fmla="*/ 215861 h 323626"/>
                <a:gd name="connsiteX5" fmla="*/ 173359 w 237145"/>
                <a:gd name="connsiteY5" fmla="*/ 192383 h 323626"/>
                <a:gd name="connsiteX6" fmla="*/ 164555 w 237145"/>
                <a:gd name="connsiteY6" fmla="*/ 163035 h 323626"/>
                <a:gd name="connsiteX7" fmla="*/ 164555 w 237145"/>
                <a:gd name="connsiteY7" fmla="*/ 160100 h 323626"/>
                <a:gd name="connsiteX8" fmla="*/ 149881 w 237145"/>
                <a:gd name="connsiteY8" fmla="*/ 148361 h 323626"/>
                <a:gd name="connsiteX9" fmla="*/ 123467 w 237145"/>
                <a:gd name="connsiteY9" fmla="*/ 119013 h 323626"/>
                <a:gd name="connsiteX10" fmla="*/ 102923 w 237145"/>
                <a:gd name="connsiteY10" fmla="*/ 89665 h 323626"/>
                <a:gd name="connsiteX11" fmla="*/ 76511 w 237145"/>
                <a:gd name="connsiteY11" fmla="*/ 72057 h 323626"/>
                <a:gd name="connsiteX12" fmla="*/ 79445 w 237145"/>
                <a:gd name="connsiteY12" fmla="*/ 48578 h 323626"/>
                <a:gd name="connsiteX13" fmla="*/ 29554 w 237145"/>
                <a:gd name="connsiteY13" fmla="*/ 10426 h 323626"/>
                <a:gd name="connsiteX14" fmla="*/ 206 w 237145"/>
                <a:gd name="connsiteY14" fmla="*/ 19231 h 323626"/>
                <a:gd name="connsiteX15" fmla="*/ 17816 w 237145"/>
                <a:gd name="connsiteY15" fmla="*/ 48578 h 323626"/>
                <a:gd name="connsiteX16" fmla="*/ 44228 w 237145"/>
                <a:gd name="connsiteY16" fmla="*/ 60318 h 323626"/>
                <a:gd name="connsiteX17" fmla="*/ 44228 w 237145"/>
                <a:gd name="connsiteY17" fmla="*/ 72057 h 323626"/>
                <a:gd name="connsiteX18" fmla="*/ 44228 w 237145"/>
                <a:gd name="connsiteY18" fmla="*/ 80861 h 323626"/>
                <a:gd name="connsiteX19" fmla="*/ 55967 w 237145"/>
                <a:gd name="connsiteY19" fmla="*/ 104339 h 323626"/>
                <a:gd name="connsiteX20" fmla="*/ 79445 w 237145"/>
                <a:gd name="connsiteY20" fmla="*/ 113144 h 323626"/>
                <a:gd name="connsiteX21" fmla="*/ 94119 w 237145"/>
                <a:gd name="connsiteY21" fmla="*/ 124883 h 323626"/>
                <a:gd name="connsiteX22" fmla="*/ 97055 w 237145"/>
                <a:gd name="connsiteY22" fmla="*/ 136622 h 323626"/>
                <a:gd name="connsiteX23" fmla="*/ 114663 w 237145"/>
                <a:gd name="connsiteY23" fmla="*/ 160100 h 323626"/>
                <a:gd name="connsiteX24" fmla="*/ 138141 w 237145"/>
                <a:gd name="connsiteY24" fmla="*/ 171839 h 323626"/>
                <a:gd name="connsiteX25" fmla="*/ 141077 w 237145"/>
                <a:gd name="connsiteY25" fmla="*/ 177709 h 323626"/>
                <a:gd name="connsiteX26" fmla="*/ 152815 w 237145"/>
                <a:gd name="connsiteY26" fmla="*/ 224665 h 323626"/>
                <a:gd name="connsiteX27" fmla="*/ 182163 w 237145"/>
                <a:gd name="connsiteY27" fmla="*/ 242274 h 323626"/>
                <a:gd name="connsiteX28" fmla="*/ 188033 w 237145"/>
                <a:gd name="connsiteY28" fmla="*/ 283361 h 323626"/>
                <a:gd name="connsiteX29" fmla="*/ 214446 w 237145"/>
                <a:gd name="connsiteY29" fmla="*/ 318579 h 323626"/>
                <a:gd name="connsiteX30" fmla="*/ 232054 w 237145"/>
                <a:gd name="connsiteY30" fmla="*/ 298035 h 323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37145" h="323626">
                  <a:moveTo>
                    <a:pt x="232054" y="298035"/>
                  </a:moveTo>
                  <a:cubicBezTo>
                    <a:pt x="220315" y="289231"/>
                    <a:pt x="214446" y="280426"/>
                    <a:pt x="214446" y="265752"/>
                  </a:cubicBezTo>
                  <a:cubicBezTo>
                    <a:pt x="214446" y="259883"/>
                    <a:pt x="217381" y="254013"/>
                    <a:pt x="217381" y="248144"/>
                  </a:cubicBezTo>
                  <a:cubicBezTo>
                    <a:pt x="217381" y="236405"/>
                    <a:pt x="211511" y="227600"/>
                    <a:pt x="202707" y="221731"/>
                  </a:cubicBezTo>
                  <a:cubicBezTo>
                    <a:pt x="196837" y="218796"/>
                    <a:pt x="190967" y="218796"/>
                    <a:pt x="188033" y="215861"/>
                  </a:cubicBezTo>
                  <a:cubicBezTo>
                    <a:pt x="176293" y="209992"/>
                    <a:pt x="173359" y="204122"/>
                    <a:pt x="173359" y="192383"/>
                  </a:cubicBezTo>
                  <a:cubicBezTo>
                    <a:pt x="170425" y="180644"/>
                    <a:pt x="170425" y="171839"/>
                    <a:pt x="164555" y="163035"/>
                  </a:cubicBezTo>
                  <a:cubicBezTo>
                    <a:pt x="164555" y="163035"/>
                    <a:pt x="164555" y="163035"/>
                    <a:pt x="164555" y="160100"/>
                  </a:cubicBezTo>
                  <a:cubicBezTo>
                    <a:pt x="158685" y="154231"/>
                    <a:pt x="155751" y="151296"/>
                    <a:pt x="149881" y="148361"/>
                  </a:cubicBezTo>
                  <a:cubicBezTo>
                    <a:pt x="135207" y="136622"/>
                    <a:pt x="129337" y="139557"/>
                    <a:pt x="123467" y="119013"/>
                  </a:cubicBezTo>
                  <a:cubicBezTo>
                    <a:pt x="120533" y="104339"/>
                    <a:pt x="117597" y="95535"/>
                    <a:pt x="102923" y="89665"/>
                  </a:cubicBezTo>
                  <a:cubicBezTo>
                    <a:pt x="91185" y="83796"/>
                    <a:pt x="79445" y="89665"/>
                    <a:pt x="76511" y="72057"/>
                  </a:cubicBezTo>
                  <a:cubicBezTo>
                    <a:pt x="73575" y="66187"/>
                    <a:pt x="82381" y="57383"/>
                    <a:pt x="79445" y="48578"/>
                  </a:cubicBezTo>
                  <a:cubicBezTo>
                    <a:pt x="70641" y="25100"/>
                    <a:pt x="35424" y="33905"/>
                    <a:pt x="29554" y="10426"/>
                  </a:cubicBezTo>
                  <a:cubicBezTo>
                    <a:pt x="26620" y="-7182"/>
                    <a:pt x="-2728" y="-1313"/>
                    <a:pt x="206" y="19231"/>
                  </a:cubicBezTo>
                  <a:cubicBezTo>
                    <a:pt x="3142" y="30970"/>
                    <a:pt x="9012" y="39774"/>
                    <a:pt x="17816" y="48578"/>
                  </a:cubicBezTo>
                  <a:cubicBezTo>
                    <a:pt x="23686" y="54448"/>
                    <a:pt x="38359" y="54448"/>
                    <a:pt x="44228" y="60318"/>
                  </a:cubicBezTo>
                  <a:cubicBezTo>
                    <a:pt x="50098" y="66187"/>
                    <a:pt x="44228" y="60318"/>
                    <a:pt x="44228" y="72057"/>
                  </a:cubicBezTo>
                  <a:cubicBezTo>
                    <a:pt x="44228" y="74992"/>
                    <a:pt x="44228" y="77926"/>
                    <a:pt x="44228" y="80861"/>
                  </a:cubicBezTo>
                  <a:cubicBezTo>
                    <a:pt x="44228" y="89665"/>
                    <a:pt x="50098" y="98470"/>
                    <a:pt x="55967" y="104339"/>
                  </a:cubicBezTo>
                  <a:cubicBezTo>
                    <a:pt x="61837" y="110209"/>
                    <a:pt x="70641" y="110209"/>
                    <a:pt x="79445" y="113144"/>
                  </a:cubicBezTo>
                  <a:cubicBezTo>
                    <a:pt x="91185" y="119013"/>
                    <a:pt x="88249" y="110209"/>
                    <a:pt x="94119" y="124883"/>
                  </a:cubicBezTo>
                  <a:cubicBezTo>
                    <a:pt x="94119" y="127818"/>
                    <a:pt x="94119" y="133687"/>
                    <a:pt x="97055" y="136622"/>
                  </a:cubicBezTo>
                  <a:cubicBezTo>
                    <a:pt x="99989" y="145426"/>
                    <a:pt x="105859" y="154231"/>
                    <a:pt x="114663" y="160100"/>
                  </a:cubicBezTo>
                  <a:cubicBezTo>
                    <a:pt x="120533" y="165970"/>
                    <a:pt x="132271" y="165970"/>
                    <a:pt x="138141" y="171839"/>
                  </a:cubicBezTo>
                  <a:cubicBezTo>
                    <a:pt x="138141" y="174774"/>
                    <a:pt x="141077" y="174774"/>
                    <a:pt x="141077" y="177709"/>
                  </a:cubicBezTo>
                  <a:cubicBezTo>
                    <a:pt x="152815" y="186513"/>
                    <a:pt x="144011" y="212926"/>
                    <a:pt x="152815" y="224665"/>
                  </a:cubicBezTo>
                  <a:cubicBezTo>
                    <a:pt x="161619" y="236405"/>
                    <a:pt x="173359" y="233470"/>
                    <a:pt x="182163" y="242274"/>
                  </a:cubicBezTo>
                  <a:cubicBezTo>
                    <a:pt x="196837" y="254013"/>
                    <a:pt x="185099" y="268687"/>
                    <a:pt x="188033" y="283361"/>
                  </a:cubicBezTo>
                  <a:cubicBezTo>
                    <a:pt x="190967" y="298035"/>
                    <a:pt x="202707" y="309774"/>
                    <a:pt x="214446" y="318579"/>
                  </a:cubicBezTo>
                  <a:cubicBezTo>
                    <a:pt x="226185" y="333253"/>
                    <a:pt x="246728" y="312709"/>
                    <a:pt x="232054" y="298035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F15442D1-C77E-4837-B87C-0F7179F66F60}"/>
                </a:ext>
              </a:extLst>
            </p:cNvPr>
            <p:cNvSpPr/>
            <p:nvPr/>
          </p:nvSpPr>
          <p:spPr>
            <a:xfrm>
              <a:off x="23235615" y="3814700"/>
              <a:ext cx="336850" cy="77460"/>
            </a:xfrm>
            <a:custGeom>
              <a:avLst/>
              <a:gdLst>
                <a:gd name="connsiteX0" fmla="*/ 307297 w 336850"/>
                <a:gd name="connsiteY0" fmla="*/ 12895 h 77460"/>
                <a:gd name="connsiteX1" fmla="*/ 263275 w 336850"/>
                <a:gd name="connsiteY1" fmla="*/ 12895 h 77460"/>
                <a:gd name="connsiteX2" fmla="*/ 239797 w 336850"/>
                <a:gd name="connsiteY2" fmla="*/ 27569 h 77460"/>
                <a:gd name="connsiteX3" fmla="*/ 213383 w 336850"/>
                <a:gd name="connsiteY3" fmla="*/ 42243 h 77460"/>
                <a:gd name="connsiteX4" fmla="*/ 198709 w 336850"/>
                <a:gd name="connsiteY4" fmla="*/ 36373 h 77460"/>
                <a:gd name="connsiteX5" fmla="*/ 195775 w 336850"/>
                <a:gd name="connsiteY5" fmla="*/ 33438 h 77460"/>
                <a:gd name="connsiteX6" fmla="*/ 189905 w 336850"/>
                <a:gd name="connsiteY6" fmla="*/ 33438 h 77460"/>
                <a:gd name="connsiteX7" fmla="*/ 186969 w 336850"/>
                <a:gd name="connsiteY7" fmla="*/ 33438 h 77460"/>
                <a:gd name="connsiteX8" fmla="*/ 175231 w 336850"/>
                <a:gd name="connsiteY8" fmla="*/ 36373 h 77460"/>
                <a:gd name="connsiteX9" fmla="*/ 137080 w 336850"/>
                <a:gd name="connsiteY9" fmla="*/ 42243 h 77460"/>
                <a:gd name="connsiteX10" fmla="*/ 95992 w 336850"/>
                <a:gd name="connsiteY10" fmla="*/ 24634 h 77460"/>
                <a:gd name="connsiteX11" fmla="*/ 84252 w 336850"/>
                <a:gd name="connsiteY11" fmla="*/ 30504 h 77460"/>
                <a:gd name="connsiteX12" fmla="*/ 46100 w 336850"/>
                <a:gd name="connsiteY12" fmla="*/ 7025 h 77460"/>
                <a:gd name="connsiteX13" fmla="*/ 7948 w 336850"/>
                <a:gd name="connsiteY13" fmla="*/ 4091 h 77460"/>
                <a:gd name="connsiteX14" fmla="*/ 22622 w 336850"/>
                <a:gd name="connsiteY14" fmla="*/ 30504 h 77460"/>
                <a:gd name="connsiteX15" fmla="*/ 63710 w 336850"/>
                <a:gd name="connsiteY15" fmla="*/ 62786 h 77460"/>
                <a:gd name="connsiteX16" fmla="*/ 101862 w 336850"/>
                <a:gd name="connsiteY16" fmla="*/ 56917 h 77460"/>
                <a:gd name="connsiteX17" fmla="*/ 131210 w 336850"/>
                <a:gd name="connsiteY17" fmla="*/ 74525 h 77460"/>
                <a:gd name="connsiteX18" fmla="*/ 145884 w 336850"/>
                <a:gd name="connsiteY18" fmla="*/ 77460 h 77460"/>
                <a:gd name="connsiteX19" fmla="*/ 166427 w 336850"/>
                <a:gd name="connsiteY19" fmla="*/ 74525 h 77460"/>
                <a:gd name="connsiteX20" fmla="*/ 184035 w 336850"/>
                <a:gd name="connsiteY20" fmla="*/ 59852 h 77460"/>
                <a:gd name="connsiteX21" fmla="*/ 228057 w 336850"/>
                <a:gd name="connsiteY21" fmla="*/ 74525 h 77460"/>
                <a:gd name="connsiteX22" fmla="*/ 257405 w 336850"/>
                <a:gd name="connsiteY22" fmla="*/ 51047 h 77460"/>
                <a:gd name="connsiteX23" fmla="*/ 316101 w 336850"/>
                <a:gd name="connsiteY23" fmla="*/ 45178 h 77460"/>
                <a:gd name="connsiteX24" fmla="*/ 336644 w 336850"/>
                <a:gd name="connsiteY24" fmla="*/ 15830 h 77460"/>
                <a:gd name="connsiteX25" fmla="*/ 307297 w 336850"/>
                <a:gd name="connsiteY25" fmla="*/ 12895 h 77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36850" h="77460">
                  <a:moveTo>
                    <a:pt x="307297" y="12895"/>
                  </a:moveTo>
                  <a:cubicBezTo>
                    <a:pt x="307297" y="18765"/>
                    <a:pt x="269145" y="9960"/>
                    <a:pt x="263275" y="12895"/>
                  </a:cubicBezTo>
                  <a:cubicBezTo>
                    <a:pt x="254471" y="12895"/>
                    <a:pt x="245665" y="18765"/>
                    <a:pt x="239797" y="27569"/>
                  </a:cubicBezTo>
                  <a:cubicBezTo>
                    <a:pt x="228057" y="39308"/>
                    <a:pt x="230991" y="51047"/>
                    <a:pt x="213383" y="42243"/>
                  </a:cubicBezTo>
                  <a:cubicBezTo>
                    <a:pt x="207513" y="39308"/>
                    <a:pt x="201643" y="36373"/>
                    <a:pt x="198709" y="36373"/>
                  </a:cubicBezTo>
                  <a:cubicBezTo>
                    <a:pt x="198709" y="36373"/>
                    <a:pt x="195775" y="36373"/>
                    <a:pt x="195775" y="33438"/>
                  </a:cubicBezTo>
                  <a:cubicBezTo>
                    <a:pt x="192839" y="33438"/>
                    <a:pt x="189905" y="33438"/>
                    <a:pt x="189905" y="33438"/>
                  </a:cubicBezTo>
                  <a:cubicBezTo>
                    <a:pt x="189905" y="33438"/>
                    <a:pt x="186969" y="33438"/>
                    <a:pt x="186969" y="33438"/>
                  </a:cubicBezTo>
                  <a:cubicBezTo>
                    <a:pt x="181101" y="33438"/>
                    <a:pt x="178165" y="33438"/>
                    <a:pt x="175231" y="36373"/>
                  </a:cubicBezTo>
                  <a:cubicBezTo>
                    <a:pt x="163492" y="42243"/>
                    <a:pt x="154688" y="48112"/>
                    <a:pt x="137080" y="42243"/>
                  </a:cubicBezTo>
                  <a:cubicBezTo>
                    <a:pt x="122406" y="36373"/>
                    <a:pt x="116536" y="18765"/>
                    <a:pt x="95992" y="24634"/>
                  </a:cubicBezTo>
                  <a:cubicBezTo>
                    <a:pt x="93058" y="24634"/>
                    <a:pt x="87188" y="30504"/>
                    <a:pt x="84252" y="30504"/>
                  </a:cubicBezTo>
                  <a:cubicBezTo>
                    <a:pt x="60774" y="33438"/>
                    <a:pt x="60774" y="15830"/>
                    <a:pt x="46100" y="7025"/>
                  </a:cubicBezTo>
                  <a:cubicBezTo>
                    <a:pt x="34362" y="-1779"/>
                    <a:pt x="22622" y="-1779"/>
                    <a:pt x="7948" y="4091"/>
                  </a:cubicBezTo>
                  <a:cubicBezTo>
                    <a:pt x="-9660" y="12895"/>
                    <a:pt x="5014" y="36373"/>
                    <a:pt x="22622" y="30504"/>
                  </a:cubicBezTo>
                  <a:cubicBezTo>
                    <a:pt x="19688" y="30504"/>
                    <a:pt x="57840" y="59852"/>
                    <a:pt x="63710" y="62786"/>
                  </a:cubicBezTo>
                  <a:cubicBezTo>
                    <a:pt x="78384" y="65721"/>
                    <a:pt x="90122" y="53982"/>
                    <a:pt x="101862" y="56917"/>
                  </a:cubicBezTo>
                  <a:cubicBezTo>
                    <a:pt x="107732" y="56917"/>
                    <a:pt x="125340" y="74525"/>
                    <a:pt x="131210" y="74525"/>
                  </a:cubicBezTo>
                  <a:cubicBezTo>
                    <a:pt x="137080" y="77460"/>
                    <a:pt x="142948" y="77460"/>
                    <a:pt x="145884" y="77460"/>
                  </a:cubicBezTo>
                  <a:cubicBezTo>
                    <a:pt x="151753" y="77460"/>
                    <a:pt x="160557" y="77460"/>
                    <a:pt x="166427" y="74525"/>
                  </a:cubicBezTo>
                  <a:cubicBezTo>
                    <a:pt x="166427" y="74525"/>
                    <a:pt x="184035" y="62786"/>
                    <a:pt x="184035" y="59852"/>
                  </a:cubicBezTo>
                  <a:cubicBezTo>
                    <a:pt x="201643" y="62786"/>
                    <a:pt x="210449" y="77460"/>
                    <a:pt x="228057" y="74525"/>
                  </a:cubicBezTo>
                  <a:cubicBezTo>
                    <a:pt x="245665" y="71591"/>
                    <a:pt x="245665" y="59852"/>
                    <a:pt x="257405" y="51047"/>
                  </a:cubicBezTo>
                  <a:cubicBezTo>
                    <a:pt x="275013" y="33438"/>
                    <a:pt x="295557" y="53982"/>
                    <a:pt x="316101" y="45178"/>
                  </a:cubicBezTo>
                  <a:cubicBezTo>
                    <a:pt x="330775" y="39308"/>
                    <a:pt x="333709" y="30504"/>
                    <a:pt x="336644" y="15830"/>
                  </a:cubicBezTo>
                  <a:cubicBezTo>
                    <a:pt x="339578" y="-4714"/>
                    <a:pt x="310231" y="-4714"/>
                    <a:pt x="307297" y="12895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9" name="图形 1">
              <a:extLst>
                <a:ext uri="{FF2B5EF4-FFF2-40B4-BE49-F238E27FC236}">
                  <a16:creationId xmlns:a16="http://schemas.microsoft.com/office/drawing/2014/main" id="{7E2F074B-A12E-405A-8F1C-EEAF85847464}"/>
                </a:ext>
              </a:extLst>
            </p:cNvPr>
            <p:cNvGrpSpPr/>
            <p:nvPr/>
          </p:nvGrpSpPr>
          <p:grpSpPr>
            <a:xfrm>
              <a:off x="19337050" y="4152849"/>
              <a:ext cx="279123" cy="274994"/>
              <a:chOff x="19337050" y="4152849"/>
              <a:chExt cx="279123" cy="274994"/>
            </a:xfrm>
          </p:grpSpPr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103F5684-AE97-4AFE-A23E-18D86FC9DB30}"/>
                  </a:ext>
                </a:extLst>
              </p:cNvPr>
              <p:cNvSpPr/>
              <p:nvPr/>
            </p:nvSpPr>
            <p:spPr>
              <a:xfrm>
                <a:off x="19337050" y="4162911"/>
                <a:ext cx="279123" cy="264932"/>
              </a:xfrm>
              <a:custGeom>
                <a:avLst/>
                <a:gdLst>
                  <a:gd name="connsiteX0" fmla="*/ 155862 w 279123"/>
                  <a:gd name="connsiteY0" fmla="*/ 228162 h 264932"/>
                  <a:gd name="connsiteX1" fmla="*/ 240970 w 279123"/>
                  <a:gd name="connsiteY1" fmla="*/ 225227 h 264932"/>
                  <a:gd name="connsiteX2" fmla="*/ 252710 w 279123"/>
                  <a:gd name="connsiteY2" fmla="*/ 172401 h 264932"/>
                  <a:gd name="connsiteX3" fmla="*/ 279123 w 279123"/>
                  <a:gd name="connsiteY3" fmla="*/ 140119 h 264932"/>
                  <a:gd name="connsiteX4" fmla="*/ 264450 w 279123"/>
                  <a:gd name="connsiteY4" fmla="*/ 110771 h 264932"/>
                  <a:gd name="connsiteX5" fmla="*/ 252710 w 279123"/>
                  <a:gd name="connsiteY5" fmla="*/ 55010 h 264932"/>
                  <a:gd name="connsiteX6" fmla="*/ 255644 w 279123"/>
                  <a:gd name="connsiteY6" fmla="*/ 16858 h 264932"/>
                  <a:gd name="connsiteX7" fmla="*/ 194014 w 279123"/>
                  <a:gd name="connsiteY7" fmla="*/ 10988 h 264932"/>
                  <a:gd name="connsiteX8" fmla="*/ 319 w 279123"/>
                  <a:gd name="connsiteY8" fmla="*/ 169467 h 264932"/>
                  <a:gd name="connsiteX9" fmla="*/ 41405 w 279123"/>
                  <a:gd name="connsiteY9" fmla="*/ 251641 h 264932"/>
                  <a:gd name="connsiteX10" fmla="*/ 155862 w 279123"/>
                  <a:gd name="connsiteY10" fmla="*/ 228162 h 26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9123" h="264932">
                    <a:moveTo>
                      <a:pt x="155862" y="228162"/>
                    </a:moveTo>
                    <a:cubicBezTo>
                      <a:pt x="191080" y="222293"/>
                      <a:pt x="208688" y="236967"/>
                      <a:pt x="240970" y="225227"/>
                    </a:cubicBezTo>
                    <a:cubicBezTo>
                      <a:pt x="267384" y="216423"/>
                      <a:pt x="267384" y="190010"/>
                      <a:pt x="252710" y="172401"/>
                    </a:cubicBezTo>
                    <a:cubicBezTo>
                      <a:pt x="273253" y="169467"/>
                      <a:pt x="279123" y="160662"/>
                      <a:pt x="279123" y="140119"/>
                    </a:cubicBezTo>
                    <a:cubicBezTo>
                      <a:pt x="279123" y="131314"/>
                      <a:pt x="270318" y="113706"/>
                      <a:pt x="264450" y="110771"/>
                    </a:cubicBezTo>
                    <a:cubicBezTo>
                      <a:pt x="282057" y="104901"/>
                      <a:pt x="276188" y="60880"/>
                      <a:pt x="252710" y="55010"/>
                    </a:cubicBezTo>
                    <a:cubicBezTo>
                      <a:pt x="267384" y="43271"/>
                      <a:pt x="258580" y="25662"/>
                      <a:pt x="255644" y="16858"/>
                    </a:cubicBezTo>
                    <a:cubicBezTo>
                      <a:pt x="240970" y="-15425"/>
                      <a:pt x="205754" y="8053"/>
                      <a:pt x="194014" y="10988"/>
                    </a:cubicBezTo>
                    <a:cubicBezTo>
                      <a:pt x="103036" y="28597"/>
                      <a:pt x="29667" y="116640"/>
                      <a:pt x="319" y="169467"/>
                    </a:cubicBezTo>
                    <a:cubicBezTo>
                      <a:pt x="-2617" y="166532"/>
                      <a:pt x="14993" y="216423"/>
                      <a:pt x="41405" y="251641"/>
                    </a:cubicBezTo>
                    <a:cubicBezTo>
                      <a:pt x="59015" y="272184"/>
                      <a:pt x="103036" y="272184"/>
                      <a:pt x="155862" y="228162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463B1EF0-AA75-4F80-A2F1-08816F2B3285}"/>
                  </a:ext>
                </a:extLst>
              </p:cNvPr>
              <p:cNvSpPr/>
              <p:nvPr/>
            </p:nvSpPr>
            <p:spPr>
              <a:xfrm>
                <a:off x="19441805" y="4152849"/>
                <a:ext cx="160671" cy="70942"/>
              </a:xfrm>
              <a:custGeom>
                <a:avLst/>
                <a:gdLst>
                  <a:gd name="connsiteX0" fmla="*/ 150889 w 160671"/>
                  <a:gd name="connsiteY0" fmla="*/ 70942 h 70942"/>
                  <a:gd name="connsiteX1" fmla="*/ 150889 w 160671"/>
                  <a:gd name="connsiteY1" fmla="*/ 70942 h 70942"/>
                  <a:gd name="connsiteX2" fmla="*/ 145020 w 160671"/>
                  <a:gd name="connsiteY2" fmla="*/ 62138 h 70942"/>
                  <a:gd name="connsiteX3" fmla="*/ 147954 w 160671"/>
                  <a:gd name="connsiteY3" fmla="*/ 23985 h 70942"/>
                  <a:gd name="connsiteX4" fmla="*/ 133281 w 160671"/>
                  <a:gd name="connsiteY4" fmla="*/ 15181 h 70942"/>
                  <a:gd name="connsiteX5" fmla="*/ 10019 w 160671"/>
                  <a:gd name="connsiteY5" fmla="*/ 56268 h 70942"/>
                  <a:gd name="connsiteX6" fmla="*/ 1215 w 160671"/>
                  <a:gd name="connsiteY6" fmla="*/ 53333 h 70942"/>
                  <a:gd name="connsiteX7" fmla="*/ 4149 w 160671"/>
                  <a:gd name="connsiteY7" fmla="*/ 44529 h 70942"/>
                  <a:gd name="connsiteX8" fmla="*/ 133281 w 160671"/>
                  <a:gd name="connsiteY8" fmla="*/ 507 h 70942"/>
                  <a:gd name="connsiteX9" fmla="*/ 156758 w 160671"/>
                  <a:gd name="connsiteY9" fmla="*/ 15181 h 70942"/>
                  <a:gd name="connsiteX10" fmla="*/ 156758 w 160671"/>
                  <a:gd name="connsiteY10" fmla="*/ 62138 h 70942"/>
                  <a:gd name="connsiteX11" fmla="*/ 150889 w 160671"/>
                  <a:gd name="connsiteY11" fmla="*/ 70942 h 70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0671" h="70942">
                    <a:moveTo>
                      <a:pt x="150889" y="70942"/>
                    </a:moveTo>
                    <a:cubicBezTo>
                      <a:pt x="150889" y="70942"/>
                      <a:pt x="147954" y="70942"/>
                      <a:pt x="150889" y="70942"/>
                    </a:cubicBezTo>
                    <a:cubicBezTo>
                      <a:pt x="145020" y="68007"/>
                      <a:pt x="145020" y="65072"/>
                      <a:pt x="145020" y="62138"/>
                    </a:cubicBezTo>
                    <a:cubicBezTo>
                      <a:pt x="145020" y="62138"/>
                      <a:pt x="153824" y="38659"/>
                      <a:pt x="147954" y="23985"/>
                    </a:cubicBezTo>
                    <a:cubicBezTo>
                      <a:pt x="145020" y="18116"/>
                      <a:pt x="139150" y="15181"/>
                      <a:pt x="133281" y="15181"/>
                    </a:cubicBezTo>
                    <a:cubicBezTo>
                      <a:pt x="92193" y="6377"/>
                      <a:pt x="10019" y="56268"/>
                      <a:pt x="10019" y="56268"/>
                    </a:cubicBezTo>
                    <a:cubicBezTo>
                      <a:pt x="7085" y="59203"/>
                      <a:pt x="4149" y="56268"/>
                      <a:pt x="1215" y="53333"/>
                    </a:cubicBezTo>
                    <a:cubicBezTo>
                      <a:pt x="-1719" y="50398"/>
                      <a:pt x="1215" y="47464"/>
                      <a:pt x="4149" y="44529"/>
                    </a:cubicBezTo>
                    <a:cubicBezTo>
                      <a:pt x="7085" y="41594"/>
                      <a:pt x="89259" y="-5363"/>
                      <a:pt x="133281" y="507"/>
                    </a:cubicBezTo>
                    <a:cubicBezTo>
                      <a:pt x="145020" y="3442"/>
                      <a:pt x="150889" y="6377"/>
                      <a:pt x="156758" y="15181"/>
                    </a:cubicBezTo>
                    <a:cubicBezTo>
                      <a:pt x="165562" y="32790"/>
                      <a:pt x="156758" y="62138"/>
                      <a:pt x="156758" y="62138"/>
                    </a:cubicBezTo>
                    <a:cubicBezTo>
                      <a:pt x="153824" y="68007"/>
                      <a:pt x="153824" y="70942"/>
                      <a:pt x="150889" y="70942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1C53072A-B8CB-467E-8A78-373025DDF380}"/>
                  </a:ext>
                </a:extLst>
              </p:cNvPr>
              <p:cNvSpPr/>
              <p:nvPr/>
            </p:nvSpPr>
            <p:spPr>
              <a:xfrm>
                <a:off x="19548672" y="4238465"/>
                <a:ext cx="16317" cy="96847"/>
              </a:xfrm>
              <a:custGeom>
                <a:avLst/>
                <a:gdLst>
                  <a:gd name="connsiteX0" fmla="*/ 5870 w 16317"/>
                  <a:gd name="connsiteY0" fmla="*/ 96848 h 96847"/>
                  <a:gd name="connsiteX1" fmla="*/ 5870 w 16317"/>
                  <a:gd name="connsiteY1" fmla="*/ 96848 h 96847"/>
                  <a:gd name="connsiteX2" fmla="*/ 0 w 16317"/>
                  <a:gd name="connsiteY2" fmla="*/ 90978 h 96847"/>
                  <a:gd name="connsiteX3" fmla="*/ 5870 w 16317"/>
                  <a:gd name="connsiteY3" fmla="*/ 5869 h 96847"/>
                  <a:gd name="connsiteX4" fmla="*/ 8806 w 16317"/>
                  <a:gd name="connsiteY4" fmla="*/ 0 h 96847"/>
                  <a:gd name="connsiteX5" fmla="*/ 14674 w 16317"/>
                  <a:gd name="connsiteY5" fmla="*/ 2935 h 96847"/>
                  <a:gd name="connsiteX6" fmla="*/ 8806 w 16317"/>
                  <a:gd name="connsiteY6" fmla="*/ 90978 h 96847"/>
                  <a:gd name="connsiteX7" fmla="*/ 5870 w 16317"/>
                  <a:gd name="connsiteY7" fmla="*/ 96848 h 96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17" h="96847">
                    <a:moveTo>
                      <a:pt x="5870" y="96848"/>
                    </a:moveTo>
                    <a:cubicBezTo>
                      <a:pt x="2936" y="96848"/>
                      <a:pt x="2936" y="96848"/>
                      <a:pt x="5870" y="96848"/>
                    </a:cubicBezTo>
                    <a:cubicBezTo>
                      <a:pt x="2936" y="96848"/>
                      <a:pt x="0" y="93913"/>
                      <a:pt x="0" y="90978"/>
                    </a:cubicBezTo>
                    <a:cubicBezTo>
                      <a:pt x="2936" y="73370"/>
                      <a:pt x="8806" y="23478"/>
                      <a:pt x="5870" y="5869"/>
                    </a:cubicBezTo>
                    <a:cubicBezTo>
                      <a:pt x="5870" y="2935"/>
                      <a:pt x="5870" y="0"/>
                      <a:pt x="8806" y="0"/>
                    </a:cubicBezTo>
                    <a:cubicBezTo>
                      <a:pt x="11740" y="0"/>
                      <a:pt x="14674" y="0"/>
                      <a:pt x="14674" y="2935"/>
                    </a:cubicBezTo>
                    <a:cubicBezTo>
                      <a:pt x="20544" y="23478"/>
                      <a:pt x="8806" y="88043"/>
                      <a:pt x="8806" y="90978"/>
                    </a:cubicBezTo>
                    <a:cubicBezTo>
                      <a:pt x="8806" y="93913"/>
                      <a:pt x="5870" y="96848"/>
                      <a:pt x="5870" y="96848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9CBCCD10-F6DB-4D1D-8FB5-143561FD35A5}"/>
                </a:ext>
              </a:extLst>
            </p:cNvPr>
            <p:cNvSpPr/>
            <p:nvPr/>
          </p:nvSpPr>
          <p:spPr>
            <a:xfrm>
              <a:off x="18909053" y="3917407"/>
              <a:ext cx="318108" cy="850754"/>
            </a:xfrm>
            <a:custGeom>
              <a:avLst/>
              <a:gdLst>
                <a:gd name="connsiteX0" fmla="*/ 20380 w 318108"/>
                <a:gd name="connsiteY0" fmla="*/ 1166 h 850754"/>
                <a:gd name="connsiteX1" fmla="*/ 2772 w 318108"/>
                <a:gd name="connsiteY1" fmla="*/ 312253 h 850754"/>
                <a:gd name="connsiteX2" fmla="*/ 82010 w 318108"/>
                <a:gd name="connsiteY2" fmla="*/ 843449 h 850754"/>
                <a:gd name="connsiteX3" fmla="*/ 316792 w 318108"/>
                <a:gd name="connsiteY3" fmla="*/ 617471 h 850754"/>
                <a:gd name="connsiteX4" fmla="*/ 20380 w 318108"/>
                <a:gd name="connsiteY4" fmla="*/ 1166 h 850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8108" h="850754">
                  <a:moveTo>
                    <a:pt x="20380" y="1166"/>
                  </a:moveTo>
                  <a:cubicBezTo>
                    <a:pt x="20380" y="1166"/>
                    <a:pt x="-8968" y="209536"/>
                    <a:pt x="2772" y="312253"/>
                  </a:cubicBezTo>
                  <a:cubicBezTo>
                    <a:pt x="14510" y="414971"/>
                    <a:pt x="52662" y="787688"/>
                    <a:pt x="82010" y="843449"/>
                  </a:cubicBezTo>
                  <a:cubicBezTo>
                    <a:pt x="111358" y="899210"/>
                    <a:pt x="316792" y="617471"/>
                    <a:pt x="316792" y="617471"/>
                  </a:cubicBezTo>
                  <a:cubicBezTo>
                    <a:pt x="316792" y="617471"/>
                    <a:pt x="354946" y="-31116"/>
                    <a:pt x="20380" y="1166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0563946D-4886-47EA-84B5-E9A909D99991}"/>
                </a:ext>
              </a:extLst>
            </p:cNvPr>
            <p:cNvSpPr/>
            <p:nvPr/>
          </p:nvSpPr>
          <p:spPr>
            <a:xfrm>
              <a:off x="18976537" y="4303030"/>
              <a:ext cx="452119" cy="517171"/>
            </a:xfrm>
            <a:custGeom>
              <a:avLst/>
              <a:gdLst>
                <a:gd name="connsiteX0" fmla="*/ 378439 w 452119"/>
                <a:gd name="connsiteY0" fmla="*/ 0 h 517171"/>
                <a:gd name="connsiteX1" fmla="*/ 5722 w 452119"/>
                <a:gd name="connsiteY1" fmla="*/ 360978 h 517171"/>
                <a:gd name="connsiteX2" fmla="*/ 134853 w 452119"/>
                <a:gd name="connsiteY2" fmla="*/ 504783 h 517171"/>
                <a:gd name="connsiteX3" fmla="*/ 451809 w 452119"/>
                <a:gd name="connsiteY3" fmla="*/ 105652 h 517171"/>
                <a:gd name="connsiteX4" fmla="*/ 378439 w 452119"/>
                <a:gd name="connsiteY4" fmla="*/ 0 h 517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2119" h="517171">
                  <a:moveTo>
                    <a:pt x="378439" y="0"/>
                  </a:moveTo>
                  <a:cubicBezTo>
                    <a:pt x="378439" y="0"/>
                    <a:pt x="29200" y="278804"/>
                    <a:pt x="5722" y="360978"/>
                  </a:cubicBezTo>
                  <a:cubicBezTo>
                    <a:pt x="-17756" y="443152"/>
                    <a:pt x="32135" y="554674"/>
                    <a:pt x="134853" y="504783"/>
                  </a:cubicBezTo>
                  <a:cubicBezTo>
                    <a:pt x="237570" y="454891"/>
                    <a:pt x="445939" y="111522"/>
                    <a:pt x="451809" y="105652"/>
                  </a:cubicBezTo>
                  <a:cubicBezTo>
                    <a:pt x="457679" y="99783"/>
                    <a:pt x="378439" y="0"/>
                    <a:pt x="378439" y="0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FA0B26D2-02F2-47D7-A0D0-D5BCF2A6F288}"/>
                </a:ext>
              </a:extLst>
            </p:cNvPr>
            <p:cNvSpPr/>
            <p:nvPr/>
          </p:nvSpPr>
          <p:spPr>
            <a:xfrm>
              <a:off x="18853130" y="3622920"/>
              <a:ext cx="404999" cy="570636"/>
            </a:xfrm>
            <a:custGeom>
              <a:avLst/>
              <a:gdLst>
                <a:gd name="connsiteX0" fmla="*/ 0 w 404999"/>
                <a:gd name="connsiteY0" fmla="*/ 556849 h 570636"/>
                <a:gd name="connsiteX1" fmla="*/ 164347 w 404999"/>
                <a:gd name="connsiteY1" fmla="*/ 2175 h 570636"/>
                <a:gd name="connsiteX2" fmla="*/ 405000 w 404999"/>
                <a:gd name="connsiteY2" fmla="*/ 515762 h 570636"/>
                <a:gd name="connsiteX3" fmla="*/ 0 w 404999"/>
                <a:gd name="connsiteY3" fmla="*/ 556849 h 570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4999" h="570636">
                  <a:moveTo>
                    <a:pt x="0" y="556849"/>
                  </a:moveTo>
                  <a:cubicBezTo>
                    <a:pt x="0" y="556849"/>
                    <a:pt x="26412" y="40327"/>
                    <a:pt x="164347" y="2175"/>
                  </a:cubicBezTo>
                  <a:cubicBezTo>
                    <a:pt x="322826" y="-38912"/>
                    <a:pt x="405000" y="515762"/>
                    <a:pt x="405000" y="515762"/>
                  </a:cubicBezTo>
                  <a:cubicBezTo>
                    <a:pt x="405000" y="515762"/>
                    <a:pt x="202499" y="603805"/>
                    <a:pt x="0" y="556849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5E596BD9-CC6B-4445-AE18-A6907D571755}"/>
                </a:ext>
              </a:extLst>
            </p:cNvPr>
            <p:cNvSpPr/>
            <p:nvPr/>
          </p:nvSpPr>
          <p:spPr>
            <a:xfrm>
              <a:off x="19014543" y="3622160"/>
              <a:ext cx="252390" cy="563478"/>
            </a:xfrm>
            <a:custGeom>
              <a:avLst/>
              <a:gdLst>
                <a:gd name="connsiteX0" fmla="*/ 120325 w 252390"/>
                <a:gd name="connsiteY0" fmla="*/ 563478 h 563478"/>
                <a:gd name="connsiteX1" fmla="*/ 114455 w 252390"/>
                <a:gd name="connsiteY1" fmla="*/ 557609 h 563478"/>
                <a:gd name="connsiteX2" fmla="*/ 120325 w 252390"/>
                <a:gd name="connsiteY2" fmla="*/ 551739 h 563478"/>
                <a:gd name="connsiteX3" fmla="*/ 240651 w 252390"/>
                <a:gd name="connsiteY3" fmla="*/ 516522 h 563478"/>
                <a:gd name="connsiteX4" fmla="*/ 158477 w 252390"/>
                <a:gd name="connsiteY4" fmla="*/ 184891 h 563478"/>
                <a:gd name="connsiteX5" fmla="*/ 5868 w 252390"/>
                <a:gd name="connsiteY5" fmla="*/ 11739 h 563478"/>
                <a:gd name="connsiteX6" fmla="*/ 0 w 252390"/>
                <a:gd name="connsiteY6" fmla="*/ 5869 h 563478"/>
                <a:gd name="connsiteX7" fmla="*/ 5868 w 252390"/>
                <a:gd name="connsiteY7" fmla="*/ 0 h 563478"/>
                <a:gd name="connsiteX8" fmla="*/ 170217 w 252390"/>
                <a:gd name="connsiteY8" fmla="*/ 181956 h 563478"/>
                <a:gd name="connsiteX9" fmla="*/ 252391 w 252390"/>
                <a:gd name="connsiteY9" fmla="*/ 519456 h 563478"/>
                <a:gd name="connsiteX10" fmla="*/ 252391 w 252390"/>
                <a:gd name="connsiteY10" fmla="*/ 522391 h 563478"/>
                <a:gd name="connsiteX11" fmla="*/ 249457 w 252390"/>
                <a:gd name="connsiteY11" fmla="*/ 525326 h 563478"/>
                <a:gd name="connsiteX12" fmla="*/ 120325 w 252390"/>
                <a:gd name="connsiteY12" fmla="*/ 563478 h 563478"/>
                <a:gd name="connsiteX13" fmla="*/ 120325 w 252390"/>
                <a:gd name="connsiteY13" fmla="*/ 563478 h 563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2390" h="563478">
                  <a:moveTo>
                    <a:pt x="120325" y="563478"/>
                  </a:moveTo>
                  <a:cubicBezTo>
                    <a:pt x="117391" y="563478"/>
                    <a:pt x="114455" y="560543"/>
                    <a:pt x="114455" y="557609"/>
                  </a:cubicBezTo>
                  <a:cubicBezTo>
                    <a:pt x="114455" y="554674"/>
                    <a:pt x="117391" y="551739"/>
                    <a:pt x="120325" y="551739"/>
                  </a:cubicBezTo>
                  <a:cubicBezTo>
                    <a:pt x="173151" y="542935"/>
                    <a:pt x="225977" y="522391"/>
                    <a:pt x="240651" y="516522"/>
                  </a:cubicBezTo>
                  <a:cubicBezTo>
                    <a:pt x="234783" y="490109"/>
                    <a:pt x="205435" y="337500"/>
                    <a:pt x="158477" y="184891"/>
                  </a:cubicBezTo>
                  <a:cubicBezTo>
                    <a:pt x="111521" y="20543"/>
                    <a:pt x="5868" y="11739"/>
                    <a:pt x="5868" y="11739"/>
                  </a:cubicBezTo>
                  <a:cubicBezTo>
                    <a:pt x="2934" y="11739"/>
                    <a:pt x="0" y="8804"/>
                    <a:pt x="0" y="5869"/>
                  </a:cubicBezTo>
                  <a:cubicBezTo>
                    <a:pt x="0" y="2935"/>
                    <a:pt x="2934" y="0"/>
                    <a:pt x="5868" y="0"/>
                  </a:cubicBezTo>
                  <a:cubicBezTo>
                    <a:pt x="11738" y="0"/>
                    <a:pt x="120325" y="8804"/>
                    <a:pt x="170217" y="181956"/>
                  </a:cubicBezTo>
                  <a:cubicBezTo>
                    <a:pt x="220109" y="349239"/>
                    <a:pt x="252391" y="516522"/>
                    <a:pt x="252391" y="519456"/>
                  </a:cubicBezTo>
                  <a:lnTo>
                    <a:pt x="252391" y="522391"/>
                  </a:lnTo>
                  <a:lnTo>
                    <a:pt x="249457" y="525326"/>
                  </a:lnTo>
                  <a:cubicBezTo>
                    <a:pt x="246521" y="525326"/>
                    <a:pt x="181955" y="551739"/>
                    <a:pt x="120325" y="563478"/>
                  </a:cubicBezTo>
                  <a:cubicBezTo>
                    <a:pt x="120325" y="563478"/>
                    <a:pt x="120325" y="563478"/>
                    <a:pt x="120325" y="563478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2564866D-73B7-4113-AAA4-FFB5268108FF}"/>
                </a:ext>
              </a:extLst>
            </p:cNvPr>
            <p:cNvSpPr/>
            <p:nvPr/>
          </p:nvSpPr>
          <p:spPr>
            <a:xfrm>
              <a:off x="19062232" y="4395727"/>
              <a:ext cx="179503" cy="150889"/>
            </a:xfrm>
            <a:custGeom>
              <a:avLst/>
              <a:gdLst>
                <a:gd name="connsiteX0" fmla="*/ 5136 w 179503"/>
                <a:gd name="connsiteY0" fmla="*/ 150890 h 150889"/>
                <a:gd name="connsiteX1" fmla="*/ 2201 w 179503"/>
                <a:gd name="connsiteY1" fmla="*/ 150890 h 150889"/>
                <a:gd name="connsiteX2" fmla="*/ 2201 w 179503"/>
                <a:gd name="connsiteY2" fmla="*/ 142085 h 150889"/>
                <a:gd name="connsiteX3" fmla="*/ 169484 w 179503"/>
                <a:gd name="connsiteY3" fmla="*/ 1216 h 150889"/>
                <a:gd name="connsiteX4" fmla="*/ 178288 w 179503"/>
                <a:gd name="connsiteY4" fmla="*/ 4151 h 150889"/>
                <a:gd name="connsiteX5" fmla="*/ 175353 w 179503"/>
                <a:gd name="connsiteY5" fmla="*/ 12955 h 150889"/>
                <a:gd name="connsiteX6" fmla="*/ 11006 w 179503"/>
                <a:gd name="connsiteY6" fmla="*/ 150890 h 150889"/>
                <a:gd name="connsiteX7" fmla="*/ 5136 w 179503"/>
                <a:gd name="connsiteY7" fmla="*/ 150890 h 150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503" h="150889">
                  <a:moveTo>
                    <a:pt x="5136" y="150890"/>
                  </a:moveTo>
                  <a:cubicBezTo>
                    <a:pt x="5136" y="150890"/>
                    <a:pt x="2201" y="150890"/>
                    <a:pt x="2201" y="150890"/>
                  </a:cubicBezTo>
                  <a:cubicBezTo>
                    <a:pt x="-734" y="147955"/>
                    <a:pt x="-734" y="145020"/>
                    <a:pt x="2201" y="142085"/>
                  </a:cubicBezTo>
                  <a:cubicBezTo>
                    <a:pt x="49158" y="83390"/>
                    <a:pt x="163614" y="4151"/>
                    <a:pt x="169484" y="1216"/>
                  </a:cubicBezTo>
                  <a:cubicBezTo>
                    <a:pt x="172419" y="-1719"/>
                    <a:pt x="175353" y="1216"/>
                    <a:pt x="178288" y="4151"/>
                  </a:cubicBezTo>
                  <a:cubicBezTo>
                    <a:pt x="181223" y="7085"/>
                    <a:pt x="178288" y="10020"/>
                    <a:pt x="175353" y="12955"/>
                  </a:cubicBezTo>
                  <a:cubicBezTo>
                    <a:pt x="175353" y="12955"/>
                    <a:pt x="57962" y="92194"/>
                    <a:pt x="11006" y="150890"/>
                  </a:cubicBezTo>
                  <a:cubicBezTo>
                    <a:pt x="8070" y="150890"/>
                    <a:pt x="8070" y="150890"/>
                    <a:pt x="5136" y="150890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5" name="图形 1">
              <a:extLst>
                <a:ext uri="{FF2B5EF4-FFF2-40B4-BE49-F238E27FC236}">
                  <a16:creationId xmlns:a16="http://schemas.microsoft.com/office/drawing/2014/main" id="{7204A337-8D96-438C-BC0C-D5018BCCCF19}"/>
                </a:ext>
              </a:extLst>
            </p:cNvPr>
            <p:cNvGrpSpPr/>
            <p:nvPr/>
          </p:nvGrpSpPr>
          <p:grpSpPr>
            <a:xfrm>
              <a:off x="23093795" y="3004512"/>
              <a:ext cx="764605" cy="327293"/>
              <a:chOff x="23093795" y="3004512"/>
              <a:chExt cx="764605" cy="327293"/>
            </a:xfrm>
          </p:grpSpPr>
          <p:grpSp>
            <p:nvGrpSpPr>
              <p:cNvPr id="106" name="图形 1">
                <a:extLst>
                  <a:ext uri="{FF2B5EF4-FFF2-40B4-BE49-F238E27FC236}">
                    <a16:creationId xmlns:a16="http://schemas.microsoft.com/office/drawing/2014/main" id="{5F17AE7F-6D26-41B6-AAD5-69DD0A9B12F2}"/>
                  </a:ext>
                </a:extLst>
              </p:cNvPr>
              <p:cNvGrpSpPr/>
              <p:nvPr/>
            </p:nvGrpSpPr>
            <p:grpSpPr>
              <a:xfrm>
                <a:off x="23117365" y="3004512"/>
                <a:ext cx="741034" cy="313395"/>
                <a:chOff x="23117365" y="3004512"/>
                <a:chExt cx="741034" cy="313395"/>
              </a:xfrm>
            </p:grpSpPr>
            <p:sp>
              <p:nvSpPr>
                <p:cNvPr id="109" name="任意多边形: 形状 108">
                  <a:extLst>
                    <a:ext uri="{FF2B5EF4-FFF2-40B4-BE49-F238E27FC236}">
                      <a16:creationId xmlns:a16="http://schemas.microsoft.com/office/drawing/2014/main" id="{61C565F9-5E15-4C23-8FBD-B2812DFEE987}"/>
                    </a:ext>
                  </a:extLst>
                </p:cNvPr>
                <p:cNvSpPr/>
                <p:nvPr/>
              </p:nvSpPr>
              <p:spPr>
                <a:xfrm>
                  <a:off x="23117365" y="3004512"/>
                  <a:ext cx="595763" cy="313395"/>
                </a:xfrm>
                <a:custGeom>
                  <a:avLst/>
                  <a:gdLst>
                    <a:gd name="connsiteX0" fmla="*/ 170220 w 595763"/>
                    <a:gd name="connsiteY0" fmla="*/ 18953 h 313395"/>
                    <a:gd name="connsiteX1" fmla="*/ 592830 w 595763"/>
                    <a:gd name="connsiteY1" fmla="*/ 133409 h 313395"/>
                    <a:gd name="connsiteX2" fmla="*/ 595764 w 595763"/>
                    <a:gd name="connsiteY2" fmla="*/ 142214 h 313395"/>
                    <a:gd name="connsiteX3" fmla="*/ 522394 w 595763"/>
                    <a:gd name="connsiteY3" fmla="*/ 200909 h 313395"/>
                    <a:gd name="connsiteX4" fmla="*/ 542938 w 595763"/>
                    <a:gd name="connsiteY4" fmla="*/ 283083 h 313395"/>
                    <a:gd name="connsiteX5" fmla="*/ 540002 w 595763"/>
                    <a:gd name="connsiteY5" fmla="*/ 288953 h 313395"/>
                    <a:gd name="connsiteX6" fmla="*/ 534134 w 595763"/>
                    <a:gd name="connsiteY6" fmla="*/ 291888 h 313395"/>
                    <a:gd name="connsiteX7" fmla="*/ 211308 w 595763"/>
                    <a:gd name="connsiteY7" fmla="*/ 312431 h 313395"/>
                    <a:gd name="connsiteX8" fmla="*/ 5873 w 595763"/>
                    <a:gd name="connsiteY8" fmla="*/ 271344 h 313395"/>
                    <a:gd name="connsiteX9" fmla="*/ 3 w 595763"/>
                    <a:gd name="connsiteY9" fmla="*/ 262540 h 313395"/>
                    <a:gd name="connsiteX10" fmla="*/ 170220 w 595763"/>
                    <a:gd name="connsiteY10" fmla="*/ 18953 h 313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95763" h="313395">
                      <a:moveTo>
                        <a:pt x="170220" y="18953"/>
                      </a:moveTo>
                      <a:cubicBezTo>
                        <a:pt x="328699" y="-28004"/>
                        <a:pt x="481306" y="13083"/>
                        <a:pt x="592830" y="133409"/>
                      </a:cubicBezTo>
                      <a:cubicBezTo>
                        <a:pt x="595764" y="136344"/>
                        <a:pt x="595764" y="139279"/>
                        <a:pt x="595764" y="142214"/>
                      </a:cubicBezTo>
                      <a:cubicBezTo>
                        <a:pt x="595764" y="145149"/>
                        <a:pt x="575220" y="189170"/>
                        <a:pt x="522394" y="200909"/>
                      </a:cubicBezTo>
                      <a:cubicBezTo>
                        <a:pt x="537068" y="239062"/>
                        <a:pt x="542938" y="280149"/>
                        <a:pt x="542938" y="283083"/>
                      </a:cubicBezTo>
                      <a:cubicBezTo>
                        <a:pt x="542938" y="286018"/>
                        <a:pt x="542938" y="288953"/>
                        <a:pt x="540002" y="288953"/>
                      </a:cubicBezTo>
                      <a:cubicBezTo>
                        <a:pt x="540002" y="291888"/>
                        <a:pt x="537068" y="291888"/>
                        <a:pt x="534134" y="291888"/>
                      </a:cubicBezTo>
                      <a:cubicBezTo>
                        <a:pt x="399133" y="312431"/>
                        <a:pt x="293481" y="315366"/>
                        <a:pt x="211308" y="312431"/>
                      </a:cubicBezTo>
                      <a:cubicBezTo>
                        <a:pt x="76307" y="303627"/>
                        <a:pt x="8807" y="274279"/>
                        <a:pt x="5873" y="271344"/>
                      </a:cubicBezTo>
                      <a:cubicBezTo>
                        <a:pt x="2937" y="271344"/>
                        <a:pt x="3" y="268410"/>
                        <a:pt x="3" y="262540"/>
                      </a:cubicBezTo>
                      <a:cubicBezTo>
                        <a:pt x="3" y="262540"/>
                        <a:pt x="-2933" y="71779"/>
                        <a:pt x="170220" y="1895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" name="任意多边形: 形状 109">
                  <a:extLst>
                    <a:ext uri="{FF2B5EF4-FFF2-40B4-BE49-F238E27FC236}">
                      <a16:creationId xmlns:a16="http://schemas.microsoft.com/office/drawing/2014/main" id="{2A34EE9E-BBFF-45AA-9153-6E7695A155CD}"/>
                    </a:ext>
                  </a:extLst>
                </p:cNvPr>
                <p:cNvSpPr/>
                <p:nvPr/>
              </p:nvSpPr>
              <p:spPr>
                <a:xfrm>
                  <a:off x="23653333" y="3038139"/>
                  <a:ext cx="205067" cy="197781"/>
                </a:xfrm>
                <a:custGeom>
                  <a:avLst/>
                  <a:gdLst>
                    <a:gd name="connsiteX0" fmla="*/ 1100 w 205067"/>
                    <a:gd name="connsiteY0" fmla="*/ 93913 h 197781"/>
                    <a:gd name="connsiteX1" fmla="*/ 9904 w 205067"/>
                    <a:gd name="connsiteY1" fmla="*/ 64565 h 197781"/>
                    <a:gd name="connsiteX2" fmla="*/ 21644 w 205067"/>
                    <a:gd name="connsiteY2" fmla="*/ 55761 h 197781"/>
                    <a:gd name="connsiteX3" fmla="*/ 33382 w 205067"/>
                    <a:gd name="connsiteY3" fmla="*/ 29348 h 197781"/>
                    <a:gd name="connsiteX4" fmla="*/ 53926 w 205067"/>
                    <a:gd name="connsiteY4" fmla="*/ 20543 h 197781"/>
                    <a:gd name="connsiteX5" fmla="*/ 68600 w 205067"/>
                    <a:gd name="connsiteY5" fmla="*/ 20543 h 197781"/>
                    <a:gd name="connsiteX6" fmla="*/ 112622 w 205067"/>
                    <a:gd name="connsiteY6" fmla="*/ 0 h 197781"/>
                    <a:gd name="connsiteX7" fmla="*/ 150773 w 205067"/>
                    <a:gd name="connsiteY7" fmla="*/ 29348 h 197781"/>
                    <a:gd name="connsiteX8" fmla="*/ 191861 w 205067"/>
                    <a:gd name="connsiteY8" fmla="*/ 70435 h 197781"/>
                    <a:gd name="connsiteX9" fmla="*/ 191861 w 205067"/>
                    <a:gd name="connsiteY9" fmla="*/ 123261 h 197781"/>
                    <a:gd name="connsiteX10" fmla="*/ 183057 w 205067"/>
                    <a:gd name="connsiteY10" fmla="*/ 164348 h 197781"/>
                    <a:gd name="connsiteX11" fmla="*/ 156643 w 205067"/>
                    <a:gd name="connsiteY11" fmla="*/ 176087 h 197781"/>
                    <a:gd name="connsiteX12" fmla="*/ 150773 w 205067"/>
                    <a:gd name="connsiteY12" fmla="*/ 176087 h 197781"/>
                    <a:gd name="connsiteX13" fmla="*/ 150773 w 205067"/>
                    <a:gd name="connsiteY13" fmla="*/ 176087 h 197781"/>
                    <a:gd name="connsiteX14" fmla="*/ 124361 w 205067"/>
                    <a:gd name="connsiteY14" fmla="*/ 196630 h 197781"/>
                    <a:gd name="connsiteX15" fmla="*/ 92078 w 205067"/>
                    <a:gd name="connsiteY15" fmla="*/ 190761 h 197781"/>
                    <a:gd name="connsiteX16" fmla="*/ 68600 w 205067"/>
                    <a:gd name="connsiteY16" fmla="*/ 190761 h 197781"/>
                    <a:gd name="connsiteX17" fmla="*/ 42188 w 205067"/>
                    <a:gd name="connsiteY17" fmla="*/ 170217 h 197781"/>
                    <a:gd name="connsiteX18" fmla="*/ 36318 w 205067"/>
                    <a:gd name="connsiteY18" fmla="*/ 155543 h 197781"/>
                    <a:gd name="connsiteX19" fmla="*/ 18708 w 205067"/>
                    <a:gd name="connsiteY19" fmla="*/ 140870 h 197781"/>
                    <a:gd name="connsiteX20" fmla="*/ 18708 w 205067"/>
                    <a:gd name="connsiteY20" fmla="*/ 114456 h 197781"/>
                    <a:gd name="connsiteX21" fmla="*/ 15774 w 205067"/>
                    <a:gd name="connsiteY21" fmla="*/ 111522 h 197781"/>
                    <a:gd name="connsiteX22" fmla="*/ 1100 w 205067"/>
                    <a:gd name="connsiteY22" fmla="*/ 93913 h 197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05067" h="197781">
                      <a:moveTo>
                        <a:pt x="1100" y="93913"/>
                      </a:moveTo>
                      <a:cubicBezTo>
                        <a:pt x="-1834" y="85109"/>
                        <a:pt x="1100" y="70435"/>
                        <a:pt x="9904" y="64565"/>
                      </a:cubicBezTo>
                      <a:cubicBezTo>
                        <a:pt x="12840" y="61630"/>
                        <a:pt x="18708" y="58696"/>
                        <a:pt x="21644" y="55761"/>
                      </a:cubicBezTo>
                      <a:cubicBezTo>
                        <a:pt x="21644" y="46956"/>
                        <a:pt x="24578" y="38152"/>
                        <a:pt x="33382" y="29348"/>
                      </a:cubicBezTo>
                      <a:cubicBezTo>
                        <a:pt x="39252" y="23478"/>
                        <a:pt x="45122" y="20543"/>
                        <a:pt x="53926" y="20543"/>
                      </a:cubicBezTo>
                      <a:cubicBezTo>
                        <a:pt x="56862" y="20543"/>
                        <a:pt x="62730" y="20543"/>
                        <a:pt x="68600" y="20543"/>
                      </a:cubicBezTo>
                      <a:cubicBezTo>
                        <a:pt x="77404" y="8804"/>
                        <a:pt x="92078" y="0"/>
                        <a:pt x="112622" y="0"/>
                      </a:cubicBezTo>
                      <a:cubicBezTo>
                        <a:pt x="130231" y="2935"/>
                        <a:pt x="144905" y="14674"/>
                        <a:pt x="150773" y="29348"/>
                      </a:cubicBezTo>
                      <a:cubicBezTo>
                        <a:pt x="177187" y="29348"/>
                        <a:pt x="191861" y="49891"/>
                        <a:pt x="191861" y="70435"/>
                      </a:cubicBezTo>
                      <a:cubicBezTo>
                        <a:pt x="209469" y="85109"/>
                        <a:pt x="209469" y="111522"/>
                        <a:pt x="191861" y="123261"/>
                      </a:cubicBezTo>
                      <a:cubicBezTo>
                        <a:pt x="194795" y="137935"/>
                        <a:pt x="191861" y="152609"/>
                        <a:pt x="183057" y="164348"/>
                      </a:cubicBezTo>
                      <a:cubicBezTo>
                        <a:pt x="177187" y="173152"/>
                        <a:pt x="168383" y="176087"/>
                        <a:pt x="156643" y="176087"/>
                      </a:cubicBezTo>
                      <a:cubicBezTo>
                        <a:pt x="153709" y="176087"/>
                        <a:pt x="153709" y="176087"/>
                        <a:pt x="150773" y="176087"/>
                      </a:cubicBezTo>
                      <a:cubicBezTo>
                        <a:pt x="150773" y="176087"/>
                        <a:pt x="150773" y="176087"/>
                        <a:pt x="150773" y="176087"/>
                      </a:cubicBezTo>
                      <a:cubicBezTo>
                        <a:pt x="144905" y="187826"/>
                        <a:pt x="136100" y="196630"/>
                        <a:pt x="124361" y="196630"/>
                      </a:cubicBezTo>
                      <a:cubicBezTo>
                        <a:pt x="112622" y="199565"/>
                        <a:pt x="100884" y="196630"/>
                        <a:pt x="92078" y="190761"/>
                      </a:cubicBezTo>
                      <a:cubicBezTo>
                        <a:pt x="83274" y="193696"/>
                        <a:pt x="77404" y="193696"/>
                        <a:pt x="68600" y="190761"/>
                      </a:cubicBezTo>
                      <a:cubicBezTo>
                        <a:pt x="56862" y="187826"/>
                        <a:pt x="48056" y="181956"/>
                        <a:pt x="42188" y="170217"/>
                      </a:cubicBezTo>
                      <a:cubicBezTo>
                        <a:pt x="39252" y="167283"/>
                        <a:pt x="36318" y="161413"/>
                        <a:pt x="36318" y="155543"/>
                      </a:cubicBezTo>
                      <a:cubicBezTo>
                        <a:pt x="30448" y="152609"/>
                        <a:pt x="21644" y="149674"/>
                        <a:pt x="18708" y="140870"/>
                      </a:cubicBezTo>
                      <a:cubicBezTo>
                        <a:pt x="12840" y="129130"/>
                        <a:pt x="15774" y="123261"/>
                        <a:pt x="18708" y="114456"/>
                      </a:cubicBezTo>
                      <a:cubicBezTo>
                        <a:pt x="18708" y="114456"/>
                        <a:pt x="15774" y="114456"/>
                        <a:pt x="15774" y="111522"/>
                      </a:cubicBezTo>
                      <a:cubicBezTo>
                        <a:pt x="6970" y="108587"/>
                        <a:pt x="4034" y="102717"/>
                        <a:pt x="1100" y="93913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979BE88F-B9FE-4D74-A0E1-9C0F7C526D0B}"/>
                  </a:ext>
                </a:extLst>
              </p:cNvPr>
              <p:cNvSpPr/>
              <p:nvPr/>
            </p:nvSpPr>
            <p:spPr>
              <a:xfrm>
                <a:off x="23612041" y="3154226"/>
                <a:ext cx="51195" cy="118695"/>
              </a:xfrm>
              <a:custGeom>
                <a:avLst/>
                <a:gdLst>
                  <a:gd name="connsiteX0" fmla="*/ 45326 w 51195"/>
                  <a:gd name="connsiteY0" fmla="*/ 118696 h 118695"/>
                  <a:gd name="connsiteX1" fmla="*/ 39458 w 51195"/>
                  <a:gd name="connsiteY1" fmla="*/ 112826 h 118695"/>
                  <a:gd name="connsiteX2" fmla="*/ 1304 w 51195"/>
                  <a:gd name="connsiteY2" fmla="*/ 10109 h 118695"/>
                  <a:gd name="connsiteX3" fmla="*/ 1304 w 51195"/>
                  <a:gd name="connsiteY3" fmla="*/ 1304 h 118695"/>
                  <a:gd name="connsiteX4" fmla="*/ 10110 w 51195"/>
                  <a:gd name="connsiteY4" fmla="*/ 1304 h 118695"/>
                  <a:gd name="connsiteX5" fmla="*/ 51196 w 51195"/>
                  <a:gd name="connsiteY5" fmla="*/ 106957 h 118695"/>
                  <a:gd name="connsiteX6" fmla="*/ 45326 w 51195"/>
                  <a:gd name="connsiteY6" fmla="*/ 118696 h 118695"/>
                  <a:gd name="connsiteX7" fmla="*/ 45326 w 51195"/>
                  <a:gd name="connsiteY7" fmla="*/ 118696 h 118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195" h="118695">
                    <a:moveTo>
                      <a:pt x="45326" y="118696"/>
                    </a:moveTo>
                    <a:cubicBezTo>
                      <a:pt x="42392" y="118696"/>
                      <a:pt x="39458" y="115761"/>
                      <a:pt x="39458" y="112826"/>
                    </a:cubicBezTo>
                    <a:cubicBezTo>
                      <a:pt x="39458" y="112826"/>
                      <a:pt x="27718" y="48261"/>
                      <a:pt x="1304" y="10109"/>
                    </a:cubicBezTo>
                    <a:cubicBezTo>
                      <a:pt x="-1630" y="7174"/>
                      <a:pt x="1304" y="4239"/>
                      <a:pt x="1304" y="1304"/>
                    </a:cubicBezTo>
                    <a:cubicBezTo>
                      <a:pt x="4240" y="-1630"/>
                      <a:pt x="7174" y="1304"/>
                      <a:pt x="10110" y="1304"/>
                    </a:cubicBezTo>
                    <a:cubicBezTo>
                      <a:pt x="39458" y="42391"/>
                      <a:pt x="51196" y="104022"/>
                      <a:pt x="51196" y="106957"/>
                    </a:cubicBezTo>
                    <a:cubicBezTo>
                      <a:pt x="51196" y="115761"/>
                      <a:pt x="48262" y="118696"/>
                      <a:pt x="45326" y="118696"/>
                    </a:cubicBezTo>
                    <a:cubicBezTo>
                      <a:pt x="45326" y="118696"/>
                      <a:pt x="45326" y="118696"/>
                      <a:pt x="45326" y="1186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BE412DDF-0895-49B1-BD4E-7EC61362231D}"/>
                  </a:ext>
                </a:extLst>
              </p:cNvPr>
              <p:cNvSpPr/>
              <p:nvPr/>
            </p:nvSpPr>
            <p:spPr>
              <a:xfrm>
                <a:off x="23093795" y="3233225"/>
                <a:ext cx="592187" cy="98579"/>
              </a:xfrm>
              <a:custGeom>
                <a:avLst/>
                <a:gdLst>
                  <a:gd name="connsiteX0" fmla="*/ 38247 w 592187"/>
                  <a:gd name="connsiteY0" fmla="*/ 1544 h 98579"/>
                  <a:gd name="connsiteX1" fmla="*/ 563572 w 592187"/>
                  <a:gd name="connsiteY1" fmla="*/ 22087 h 98579"/>
                  <a:gd name="connsiteX2" fmla="*/ 563572 w 592187"/>
                  <a:gd name="connsiteY2" fmla="*/ 83718 h 98579"/>
                  <a:gd name="connsiteX3" fmla="*/ 23573 w 592187"/>
                  <a:gd name="connsiteY3" fmla="*/ 60239 h 98579"/>
                  <a:gd name="connsiteX4" fmla="*/ 38247 w 592187"/>
                  <a:gd name="connsiteY4" fmla="*/ 1544 h 98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2187" h="98579">
                    <a:moveTo>
                      <a:pt x="38247" y="1544"/>
                    </a:moveTo>
                    <a:cubicBezTo>
                      <a:pt x="211398" y="51435"/>
                      <a:pt x="387485" y="39696"/>
                      <a:pt x="563572" y="22087"/>
                    </a:cubicBezTo>
                    <a:cubicBezTo>
                      <a:pt x="601726" y="19152"/>
                      <a:pt x="601726" y="80783"/>
                      <a:pt x="563572" y="83718"/>
                    </a:cubicBezTo>
                    <a:cubicBezTo>
                      <a:pt x="381617" y="101326"/>
                      <a:pt x="199660" y="113065"/>
                      <a:pt x="23573" y="60239"/>
                    </a:cubicBezTo>
                    <a:cubicBezTo>
                      <a:pt x="-17514" y="48500"/>
                      <a:pt x="95" y="-10196"/>
                      <a:pt x="38247" y="1544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6" name="图形 1">
              <a:extLst>
                <a:ext uri="{FF2B5EF4-FFF2-40B4-BE49-F238E27FC236}">
                  <a16:creationId xmlns:a16="http://schemas.microsoft.com/office/drawing/2014/main" id="{C0974DD3-3552-44A2-A433-FAB3F28566E9}"/>
                </a:ext>
              </a:extLst>
            </p:cNvPr>
            <p:cNvGrpSpPr/>
            <p:nvPr/>
          </p:nvGrpSpPr>
          <p:grpSpPr>
            <a:xfrm>
              <a:off x="18886064" y="2695795"/>
              <a:ext cx="779021" cy="360346"/>
              <a:chOff x="18886064" y="2695795"/>
              <a:chExt cx="779021" cy="360346"/>
            </a:xfrm>
          </p:grpSpPr>
          <p:grpSp>
            <p:nvGrpSpPr>
              <p:cNvPr id="101" name="图形 1">
                <a:extLst>
                  <a:ext uri="{FF2B5EF4-FFF2-40B4-BE49-F238E27FC236}">
                    <a16:creationId xmlns:a16="http://schemas.microsoft.com/office/drawing/2014/main" id="{5B8607AE-FBDC-4BBB-9537-3405357346AD}"/>
                  </a:ext>
                </a:extLst>
              </p:cNvPr>
              <p:cNvGrpSpPr/>
              <p:nvPr/>
            </p:nvGrpSpPr>
            <p:grpSpPr>
              <a:xfrm>
                <a:off x="18886064" y="2695795"/>
                <a:ext cx="753762" cy="342343"/>
                <a:chOff x="18886064" y="2695795"/>
                <a:chExt cx="753762" cy="342343"/>
              </a:xfrm>
            </p:grpSpPr>
            <p:sp>
              <p:nvSpPr>
                <p:cNvPr id="104" name="任意多边形: 形状 103">
                  <a:extLst>
                    <a:ext uri="{FF2B5EF4-FFF2-40B4-BE49-F238E27FC236}">
                      <a16:creationId xmlns:a16="http://schemas.microsoft.com/office/drawing/2014/main" id="{4537A014-0245-4DD6-928A-DEA2C6A2EB3E}"/>
                    </a:ext>
                  </a:extLst>
                </p:cNvPr>
                <p:cNvSpPr/>
                <p:nvPr/>
              </p:nvSpPr>
              <p:spPr>
                <a:xfrm>
                  <a:off x="19032884" y="2695795"/>
                  <a:ext cx="606942" cy="342343"/>
                </a:xfrm>
                <a:custGeom>
                  <a:avLst/>
                  <a:gdLst>
                    <a:gd name="connsiteX0" fmla="*/ 395462 w 606942"/>
                    <a:gd name="connsiteY0" fmla="*/ 1909 h 342343"/>
                    <a:gd name="connsiteX1" fmla="*/ 2201 w 606942"/>
                    <a:gd name="connsiteY1" fmla="*/ 195605 h 342343"/>
                    <a:gd name="connsiteX2" fmla="*/ 2201 w 606942"/>
                    <a:gd name="connsiteY2" fmla="*/ 204409 h 342343"/>
                    <a:gd name="connsiteX3" fmla="*/ 87310 w 606942"/>
                    <a:gd name="connsiteY3" fmla="*/ 248431 h 342343"/>
                    <a:gd name="connsiteX4" fmla="*/ 81440 w 606942"/>
                    <a:gd name="connsiteY4" fmla="*/ 333539 h 342343"/>
                    <a:gd name="connsiteX5" fmla="*/ 84376 w 606942"/>
                    <a:gd name="connsiteY5" fmla="*/ 339409 h 342343"/>
                    <a:gd name="connsiteX6" fmla="*/ 90244 w 606942"/>
                    <a:gd name="connsiteY6" fmla="*/ 342344 h 342343"/>
                    <a:gd name="connsiteX7" fmla="*/ 410136 w 606942"/>
                    <a:gd name="connsiteY7" fmla="*/ 298322 h 342343"/>
                    <a:gd name="connsiteX8" fmla="*/ 603831 w 606942"/>
                    <a:gd name="connsiteY8" fmla="*/ 219083 h 342343"/>
                    <a:gd name="connsiteX9" fmla="*/ 606767 w 606942"/>
                    <a:gd name="connsiteY9" fmla="*/ 210279 h 342343"/>
                    <a:gd name="connsiteX10" fmla="*/ 395462 w 606942"/>
                    <a:gd name="connsiteY10" fmla="*/ 1909 h 3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06942" h="342343">
                      <a:moveTo>
                        <a:pt x="395462" y="1909"/>
                      </a:moveTo>
                      <a:cubicBezTo>
                        <a:pt x="231115" y="-12765"/>
                        <a:pt x="87310" y="57670"/>
                        <a:pt x="2201" y="195605"/>
                      </a:cubicBezTo>
                      <a:cubicBezTo>
                        <a:pt x="-734" y="198539"/>
                        <a:pt x="-734" y="201474"/>
                        <a:pt x="2201" y="204409"/>
                      </a:cubicBezTo>
                      <a:cubicBezTo>
                        <a:pt x="2201" y="207344"/>
                        <a:pt x="31548" y="248431"/>
                        <a:pt x="87310" y="248431"/>
                      </a:cubicBezTo>
                      <a:cubicBezTo>
                        <a:pt x="81440" y="289518"/>
                        <a:pt x="81440" y="330605"/>
                        <a:pt x="81440" y="333539"/>
                      </a:cubicBezTo>
                      <a:cubicBezTo>
                        <a:pt x="81440" y="336474"/>
                        <a:pt x="81440" y="339409"/>
                        <a:pt x="84376" y="339409"/>
                      </a:cubicBezTo>
                      <a:cubicBezTo>
                        <a:pt x="87310" y="342344"/>
                        <a:pt x="87310" y="342344"/>
                        <a:pt x="90244" y="342344"/>
                      </a:cubicBezTo>
                      <a:cubicBezTo>
                        <a:pt x="225245" y="336474"/>
                        <a:pt x="330897" y="318865"/>
                        <a:pt x="410136" y="298322"/>
                      </a:cubicBezTo>
                      <a:cubicBezTo>
                        <a:pt x="542201" y="263105"/>
                        <a:pt x="600897" y="222018"/>
                        <a:pt x="603831" y="219083"/>
                      </a:cubicBezTo>
                      <a:cubicBezTo>
                        <a:pt x="606767" y="216148"/>
                        <a:pt x="606767" y="213213"/>
                        <a:pt x="606767" y="210279"/>
                      </a:cubicBezTo>
                      <a:cubicBezTo>
                        <a:pt x="609701" y="207344"/>
                        <a:pt x="577419" y="19518"/>
                        <a:pt x="395462" y="190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5" name="任意多边形: 形状 104">
                  <a:extLst>
                    <a:ext uri="{FF2B5EF4-FFF2-40B4-BE49-F238E27FC236}">
                      <a16:creationId xmlns:a16="http://schemas.microsoft.com/office/drawing/2014/main" id="{2C6BA8F9-6E47-4874-B209-E5BE3E2C8404}"/>
                    </a:ext>
                  </a:extLst>
                </p:cNvPr>
                <p:cNvSpPr/>
                <p:nvPr/>
              </p:nvSpPr>
              <p:spPr>
                <a:xfrm>
                  <a:off x="18886064" y="2803988"/>
                  <a:ext cx="204781" cy="198933"/>
                </a:xfrm>
                <a:custGeom>
                  <a:avLst/>
                  <a:gdLst>
                    <a:gd name="connsiteX0" fmla="*/ 204782 w 204781"/>
                    <a:gd name="connsiteY0" fmla="*/ 72737 h 198933"/>
                    <a:gd name="connsiteX1" fmla="*/ 190108 w 204781"/>
                    <a:gd name="connsiteY1" fmla="*/ 46324 h 198933"/>
                    <a:gd name="connsiteX2" fmla="*/ 175434 w 204781"/>
                    <a:gd name="connsiteY2" fmla="*/ 40455 h 198933"/>
                    <a:gd name="connsiteX3" fmla="*/ 157826 w 204781"/>
                    <a:gd name="connsiteY3" fmla="*/ 16977 h 198933"/>
                    <a:gd name="connsiteX4" fmla="*/ 134346 w 204781"/>
                    <a:gd name="connsiteY4" fmla="*/ 11107 h 198933"/>
                    <a:gd name="connsiteX5" fmla="*/ 119672 w 204781"/>
                    <a:gd name="connsiteY5" fmla="*/ 14042 h 198933"/>
                    <a:gd name="connsiteX6" fmla="*/ 72717 w 204781"/>
                    <a:gd name="connsiteY6" fmla="*/ 2303 h 198933"/>
                    <a:gd name="connsiteX7" fmla="*/ 40435 w 204781"/>
                    <a:gd name="connsiteY7" fmla="*/ 40455 h 198933"/>
                    <a:gd name="connsiteX8" fmla="*/ 8151 w 204781"/>
                    <a:gd name="connsiteY8" fmla="*/ 87411 h 198933"/>
                    <a:gd name="connsiteX9" fmla="*/ 19891 w 204781"/>
                    <a:gd name="connsiteY9" fmla="*/ 137303 h 198933"/>
                    <a:gd name="connsiteX10" fmla="*/ 37499 w 204781"/>
                    <a:gd name="connsiteY10" fmla="*/ 175455 h 198933"/>
                    <a:gd name="connsiteX11" fmla="*/ 66847 w 204781"/>
                    <a:gd name="connsiteY11" fmla="*/ 184259 h 198933"/>
                    <a:gd name="connsiteX12" fmla="*/ 72717 w 204781"/>
                    <a:gd name="connsiteY12" fmla="*/ 184259 h 198933"/>
                    <a:gd name="connsiteX13" fmla="*/ 72717 w 204781"/>
                    <a:gd name="connsiteY13" fmla="*/ 184259 h 198933"/>
                    <a:gd name="connsiteX14" fmla="*/ 104999 w 204781"/>
                    <a:gd name="connsiteY14" fmla="*/ 198933 h 198933"/>
                    <a:gd name="connsiteX15" fmla="*/ 134346 w 204781"/>
                    <a:gd name="connsiteY15" fmla="*/ 184259 h 198933"/>
                    <a:gd name="connsiteX16" fmla="*/ 157826 w 204781"/>
                    <a:gd name="connsiteY16" fmla="*/ 181324 h 198933"/>
                    <a:gd name="connsiteX17" fmla="*/ 181304 w 204781"/>
                    <a:gd name="connsiteY17" fmla="*/ 157846 h 198933"/>
                    <a:gd name="connsiteX18" fmla="*/ 184238 w 204781"/>
                    <a:gd name="connsiteY18" fmla="*/ 143172 h 198933"/>
                    <a:gd name="connsiteX19" fmla="*/ 198912 w 204781"/>
                    <a:gd name="connsiteY19" fmla="*/ 122629 h 198933"/>
                    <a:gd name="connsiteX20" fmla="*/ 195978 w 204781"/>
                    <a:gd name="connsiteY20" fmla="*/ 96216 h 198933"/>
                    <a:gd name="connsiteX21" fmla="*/ 198912 w 204781"/>
                    <a:gd name="connsiteY21" fmla="*/ 93281 h 198933"/>
                    <a:gd name="connsiteX22" fmla="*/ 204782 w 204781"/>
                    <a:gd name="connsiteY22" fmla="*/ 72737 h 198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04781" h="198933">
                      <a:moveTo>
                        <a:pt x="204782" y="72737"/>
                      </a:moveTo>
                      <a:cubicBezTo>
                        <a:pt x="204782" y="60998"/>
                        <a:pt x="198912" y="49259"/>
                        <a:pt x="190108" y="46324"/>
                      </a:cubicBezTo>
                      <a:cubicBezTo>
                        <a:pt x="184238" y="43390"/>
                        <a:pt x="181304" y="40455"/>
                        <a:pt x="175434" y="40455"/>
                      </a:cubicBezTo>
                      <a:cubicBezTo>
                        <a:pt x="172500" y="31650"/>
                        <a:pt x="169564" y="22846"/>
                        <a:pt x="157826" y="16977"/>
                      </a:cubicBezTo>
                      <a:cubicBezTo>
                        <a:pt x="149020" y="11107"/>
                        <a:pt x="143152" y="11107"/>
                        <a:pt x="134346" y="11107"/>
                      </a:cubicBezTo>
                      <a:cubicBezTo>
                        <a:pt x="131412" y="11107"/>
                        <a:pt x="125542" y="11107"/>
                        <a:pt x="119672" y="14042"/>
                      </a:cubicBezTo>
                      <a:cubicBezTo>
                        <a:pt x="107934" y="2303"/>
                        <a:pt x="90325" y="-3567"/>
                        <a:pt x="72717" y="2303"/>
                      </a:cubicBezTo>
                      <a:cubicBezTo>
                        <a:pt x="55109" y="8172"/>
                        <a:pt x="43369" y="22846"/>
                        <a:pt x="40435" y="40455"/>
                      </a:cubicBezTo>
                      <a:cubicBezTo>
                        <a:pt x="16955" y="46324"/>
                        <a:pt x="2281" y="66868"/>
                        <a:pt x="8151" y="87411"/>
                      </a:cubicBezTo>
                      <a:cubicBezTo>
                        <a:pt x="-6523" y="105020"/>
                        <a:pt x="-653" y="131433"/>
                        <a:pt x="19891" y="137303"/>
                      </a:cubicBezTo>
                      <a:cubicBezTo>
                        <a:pt x="19891" y="151977"/>
                        <a:pt x="25761" y="166650"/>
                        <a:pt x="37499" y="175455"/>
                      </a:cubicBezTo>
                      <a:cubicBezTo>
                        <a:pt x="46303" y="181324"/>
                        <a:pt x="55109" y="184259"/>
                        <a:pt x="66847" y="184259"/>
                      </a:cubicBezTo>
                      <a:cubicBezTo>
                        <a:pt x="69783" y="184259"/>
                        <a:pt x="69783" y="184259"/>
                        <a:pt x="72717" y="184259"/>
                      </a:cubicBezTo>
                      <a:cubicBezTo>
                        <a:pt x="72717" y="184259"/>
                        <a:pt x="72717" y="184259"/>
                        <a:pt x="72717" y="184259"/>
                      </a:cubicBezTo>
                      <a:cubicBezTo>
                        <a:pt x="78587" y="193064"/>
                        <a:pt x="90325" y="198933"/>
                        <a:pt x="104999" y="198933"/>
                      </a:cubicBezTo>
                      <a:cubicBezTo>
                        <a:pt x="116738" y="198933"/>
                        <a:pt x="128478" y="193064"/>
                        <a:pt x="134346" y="184259"/>
                      </a:cubicBezTo>
                      <a:cubicBezTo>
                        <a:pt x="143152" y="184259"/>
                        <a:pt x="151956" y="184259"/>
                        <a:pt x="157826" y="181324"/>
                      </a:cubicBezTo>
                      <a:cubicBezTo>
                        <a:pt x="166630" y="175455"/>
                        <a:pt x="175434" y="166650"/>
                        <a:pt x="181304" y="157846"/>
                      </a:cubicBezTo>
                      <a:cubicBezTo>
                        <a:pt x="184238" y="154911"/>
                        <a:pt x="184238" y="146107"/>
                        <a:pt x="184238" y="143172"/>
                      </a:cubicBezTo>
                      <a:cubicBezTo>
                        <a:pt x="190108" y="140237"/>
                        <a:pt x="195978" y="134368"/>
                        <a:pt x="198912" y="122629"/>
                      </a:cubicBezTo>
                      <a:cubicBezTo>
                        <a:pt x="201848" y="110890"/>
                        <a:pt x="198912" y="105020"/>
                        <a:pt x="195978" y="96216"/>
                      </a:cubicBezTo>
                      <a:cubicBezTo>
                        <a:pt x="195978" y="96216"/>
                        <a:pt x="195978" y="93281"/>
                        <a:pt x="198912" y="93281"/>
                      </a:cubicBezTo>
                      <a:cubicBezTo>
                        <a:pt x="201848" y="87411"/>
                        <a:pt x="201848" y="81542"/>
                        <a:pt x="204782" y="7273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5092D2F4-D02B-4DEA-A598-693BA28B458B}"/>
                  </a:ext>
                </a:extLst>
              </p:cNvPr>
              <p:cNvSpPr/>
              <p:nvPr/>
            </p:nvSpPr>
            <p:spPr>
              <a:xfrm>
                <a:off x="19108454" y="2894334"/>
                <a:ext cx="29347" cy="120326"/>
              </a:xfrm>
              <a:custGeom>
                <a:avLst/>
                <a:gdLst>
                  <a:gd name="connsiteX0" fmla="*/ 5870 w 29347"/>
                  <a:gd name="connsiteY0" fmla="*/ 120326 h 120326"/>
                  <a:gd name="connsiteX1" fmla="*/ 0 w 29347"/>
                  <a:gd name="connsiteY1" fmla="*/ 114457 h 120326"/>
                  <a:gd name="connsiteX2" fmla="*/ 20544 w 29347"/>
                  <a:gd name="connsiteY2" fmla="*/ 2935 h 120326"/>
                  <a:gd name="connsiteX3" fmla="*/ 26414 w 29347"/>
                  <a:gd name="connsiteY3" fmla="*/ 0 h 120326"/>
                  <a:gd name="connsiteX4" fmla="*/ 29348 w 29347"/>
                  <a:gd name="connsiteY4" fmla="*/ 5870 h 120326"/>
                  <a:gd name="connsiteX5" fmla="*/ 11740 w 29347"/>
                  <a:gd name="connsiteY5" fmla="*/ 114457 h 120326"/>
                  <a:gd name="connsiteX6" fmla="*/ 5870 w 29347"/>
                  <a:gd name="connsiteY6" fmla="*/ 120326 h 120326"/>
                  <a:gd name="connsiteX7" fmla="*/ 5870 w 29347"/>
                  <a:gd name="connsiteY7" fmla="*/ 120326 h 120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347" h="120326">
                    <a:moveTo>
                      <a:pt x="5870" y="120326"/>
                    </a:moveTo>
                    <a:cubicBezTo>
                      <a:pt x="2936" y="120326"/>
                      <a:pt x="0" y="117391"/>
                      <a:pt x="0" y="114457"/>
                    </a:cubicBezTo>
                    <a:cubicBezTo>
                      <a:pt x="0" y="111522"/>
                      <a:pt x="0" y="46956"/>
                      <a:pt x="20544" y="2935"/>
                    </a:cubicBezTo>
                    <a:cubicBezTo>
                      <a:pt x="20544" y="0"/>
                      <a:pt x="26414" y="0"/>
                      <a:pt x="26414" y="0"/>
                    </a:cubicBezTo>
                    <a:cubicBezTo>
                      <a:pt x="29348" y="0"/>
                      <a:pt x="29348" y="5870"/>
                      <a:pt x="29348" y="5870"/>
                    </a:cubicBezTo>
                    <a:cubicBezTo>
                      <a:pt x="8806" y="49891"/>
                      <a:pt x="11740" y="111522"/>
                      <a:pt x="11740" y="114457"/>
                    </a:cubicBezTo>
                    <a:cubicBezTo>
                      <a:pt x="11740" y="117391"/>
                      <a:pt x="8806" y="120326"/>
                      <a:pt x="5870" y="120326"/>
                    </a:cubicBezTo>
                    <a:cubicBezTo>
                      <a:pt x="5870" y="120326"/>
                      <a:pt x="5870" y="120326"/>
                      <a:pt x="5870" y="12032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27055051-EAA5-45BF-A81A-048BA6C4C856}"/>
                  </a:ext>
                </a:extLst>
              </p:cNvPr>
              <p:cNvSpPr/>
              <p:nvPr/>
            </p:nvSpPr>
            <p:spPr>
              <a:xfrm>
                <a:off x="19087978" y="2870389"/>
                <a:ext cx="577106" cy="185752"/>
              </a:xfrm>
              <a:custGeom>
                <a:avLst/>
                <a:gdLst>
                  <a:gd name="connsiteX0" fmla="*/ 534063 w 577106"/>
                  <a:gd name="connsiteY0" fmla="*/ 3402 h 185752"/>
                  <a:gd name="connsiteX1" fmla="*/ 23412 w 577106"/>
                  <a:gd name="connsiteY1" fmla="*/ 126663 h 185752"/>
                  <a:gd name="connsiteX2" fmla="*/ 35150 w 577106"/>
                  <a:gd name="connsiteY2" fmla="*/ 185358 h 185752"/>
                  <a:gd name="connsiteX3" fmla="*/ 560477 w 577106"/>
                  <a:gd name="connsiteY3" fmla="*/ 56228 h 185752"/>
                  <a:gd name="connsiteX4" fmla="*/ 534063 w 577106"/>
                  <a:gd name="connsiteY4" fmla="*/ 3402 h 18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7106" h="185752">
                    <a:moveTo>
                      <a:pt x="534063" y="3402"/>
                    </a:moveTo>
                    <a:cubicBezTo>
                      <a:pt x="375586" y="85576"/>
                      <a:pt x="199499" y="109054"/>
                      <a:pt x="23412" y="126663"/>
                    </a:cubicBezTo>
                    <a:cubicBezTo>
                      <a:pt x="-14740" y="129597"/>
                      <a:pt x="-3002" y="191228"/>
                      <a:pt x="35150" y="185358"/>
                    </a:cubicBezTo>
                    <a:cubicBezTo>
                      <a:pt x="217107" y="167750"/>
                      <a:pt x="396129" y="144271"/>
                      <a:pt x="560477" y="56228"/>
                    </a:cubicBezTo>
                    <a:cubicBezTo>
                      <a:pt x="595694" y="41554"/>
                      <a:pt x="569281" y="-14207"/>
                      <a:pt x="534063" y="3402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7" name="图形 1">
              <a:extLst>
                <a:ext uri="{FF2B5EF4-FFF2-40B4-BE49-F238E27FC236}">
                  <a16:creationId xmlns:a16="http://schemas.microsoft.com/office/drawing/2014/main" id="{95509AF9-7803-43B8-A54B-C80F5FB6DEF0}"/>
                </a:ext>
              </a:extLst>
            </p:cNvPr>
            <p:cNvGrpSpPr/>
            <p:nvPr/>
          </p:nvGrpSpPr>
          <p:grpSpPr>
            <a:xfrm>
              <a:off x="18415846" y="5407456"/>
              <a:ext cx="1144565" cy="1196443"/>
              <a:chOff x="18415846" y="5407456"/>
              <a:chExt cx="1144565" cy="1196443"/>
            </a:xfrm>
          </p:grpSpPr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EA2AA8A4-6961-46EC-921B-6E116E20AF5D}"/>
                  </a:ext>
                </a:extLst>
              </p:cNvPr>
              <p:cNvSpPr/>
              <p:nvPr/>
            </p:nvSpPr>
            <p:spPr>
              <a:xfrm>
                <a:off x="18621281" y="5890747"/>
                <a:ext cx="939130" cy="713152"/>
              </a:xfrm>
              <a:custGeom>
                <a:avLst/>
                <a:gdLst>
                  <a:gd name="connsiteX0" fmla="*/ 0 w 939130"/>
                  <a:gd name="connsiteY0" fmla="*/ 0 h 713152"/>
                  <a:gd name="connsiteX1" fmla="*/ 939130 w 939130"/>
                  <a:gd name="connsiteY1" fmla="*/ 0 h 713152"/>
                  <a:gd name="connsiteX2" fmla="*/ 939130 w 939130"/>
                  <a:gd name="connsiteY2" fmla="*/ 713152 h 713152"/>
                  <a:gd name="connsiteX3" fmla="*/ 0 w 939130"/>
                  <a:gd name="connsiteY3" fmla="*/ 713152 h 713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9130" h="713152">
                    <a:moveTo>
                      <a:pt x="0" y="0"/>
                    </a:moveTo>
                    <a:lnTo>
                      <a:pt x="939130" y="0"/>
                    </a:lnTo>
                    <a:lnTo>
                      <a:pt x="939130" y="713152"/>
                    </a:lnTo>
                    <a:lnTo>
                      <a:pt x="0" y="713152"/>
                    </a:lnTo>
                    <a:close/>
                  </a:path>
                </a:pathLst>
              </a:custGeom>
              <a:solidFill>
                <a:srgbClr val="5B7070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3A482E02-8784-4BB1-B19B-E556AE8A013A}"/>
                  </a:ext>
                </a:extLst>
              </p:cNvPr>
              <p:cNvSpPr/>
              <p:nvPr/>
            </p:nvSpPr>
            <p:spPr>
              <a:xfrm>
                <a:off x="18415846" y="5890747"/>
                <a:ext cx="939130" cy="713152"/>
              </a:xfrm>
              <a:custGeom>
                <a:avLst/>
                <a:gdLst>
                  <a:gd name="connsiteX0" fmla="*/ 0 w 939130"/>
                  <a:gd name="connsiteY0" fmla="*/ 0 h 713152"/>
                  <a:gd name="connsiteX1" fmla="*/ 939130 w 939130"/>
                  <a:gd name="connsiteY1" fmla="*/ 0 h 713152"/>
                  <a:gd name="connsiteX2" fmla="*/ 939130 w 939130"/>
                  <a:gd name="connsiteY2" fmla="*/ 713152 h 713152"/>
                  <a:gd name="connsiteX3" fmla="*/ 0 w 939130"/>
                  <a:gd name="connsiteY3" fmla="*/ 713152 h 713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9130" h="713152">
                    <a:moveTo>
                      <a:pt x="0" y="0"/>
                    </a:moveTo>
                    <a:lnTo>
                      <a:pt x="939130" y="0"/>
                    </a:lnTo>
                    <a:lnTo>
                      <a:pt x="939130" y="713152"/>
                    </a:lnTo>
                    <a:lnTo>
                      <a:pt x="0" y="713152"/>
                    </a:lnTo>
                    <a:close/>
                  </a:path>
                </a:pathLst>
              </a:custGeom>
              <a:solidFill>
                <a:srgbClr val="708686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88AEA845-EB92-4C91-9C75-564FD1EA5D39}"/>
                  </a:ext>
                </a:extLst>
              </p:cNvPr>
              <p:cNvSpPr/>
              <p:nvPr/>
            </p:nvSpPr>
            <p:spPr>
              <a:xfrm>
                <a:off x="18820846" y="5890747"/>
                <a:ext cx="129130" cy="713152"/>
              </a:xfrm>
              <a:custGeom>
                <a:avLst/>
                <a:gdLst>
                  <a:gd name="connsiteX0" fmla="*/ 0 w 129130"/>
                  <a:gd name="connsiteY0" fmla="*/ 0 h 713152"/>
                  <a:gd name="connsiteX1" fmla="*/ 129131 w 129130"/>
                  <a:gd name="connsiteY1" fmla="*/ 0 h 713152"/>
                  <a:gd name="connsiteX2" fmla="*/ 129131 w 129130"/>
                  <a:gd name="connsiteY2" fmla="*/ 713152 h 713152"/>
                  <a:gd name="connsiteX3" fmla="*/ 0 w 129130"/>
                  <a:gd name="connsiteY3" fmla="*/ 713152 h 713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130" h="713152">
                    <a:moveTo>
                      <a:pt x="0" y="0"/>
                    </a:moveTo>
                    <a:lnTo>
                      <a:pt x="129131" y="0"/>
                    </a:lnTo>
                    <a:lnTo>
                      <a:pt x="129131" y="713152"/>
                    </a:lnTo>
                    <a:lnTo>
                      <a:pt x="0" y="713152"/>
                    </a:ln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C506E436-E4AB-4526-BBB0-AC4B96B02705}"/>
                  </a:ext>
                </a:extLst>
              </p:cNvPr>
              <p:cNvSpPr/>
              <p:nvPr/>
            </p:nvSpPr>
            <p:spPr>
              <a:xfrm>
                <a:off x="18671094" y="5407456"/>
                <a:ext cx="709337" cy="529345"/>
              </a:xfrm>
              <a:custGeom>
                <a:avLst/>
                <a:gdLst>
                  <a:gd name="connsiteX0" fmla="*/ 692687 w 709337"/>
                  <a:gd name="connsiteY0" fmla="*/ 136987 h 529345"/>
                  <a:gd name="connsiteX1" fmla="*/ 437361 w 709337"/>
                  <a:gd name="connsiteY1" fmla="*/ 142856 h 529345"/>
                  <a:gd name="connsiteX2" fmla="*/ 319969 w 709337"/>
                  <a:gd name="connsiteY2" fmla="*/ 286660 h 529345"/>
                  <a:gd name="connsiteX3" fmla="*/ 311165 w 709337"/>
                  <a:gd name="connsiteY3" fmla="*/ 201552 h 529345"/>
                  <a:gd name="connsiteX4" fmla="*/ 158556 w 709337"/>
                  <a:gd name="connsiteY4" fmla="*/ 1987 h 529345"/>
                  <a:gd name="connsiteX5" fmla="*/ 79 w 709337"/>
                  <a:gd name="connsiteY5" fmla="*/ 222095 h 529345"/>
                  <a:gd name="connsiteX6" fmla="*/ 179100 w 709337"/>
                  <a:gd name="connsiteY6" fmla="*/ 497965 h 529345"/>
                  <a:gd name="connsiteX7" fmla="*/ 223122 w 709337"/>
                  <a:gd name="connsiteY7" fmla="*/ 524378 h 529345"/>
                  <a:gd name="connsiteX8" fmla="*/ 240732 w 709337"/>
                  <a:gd name="connsiteY8" fmla="*/ 512639 h 529345"/>
                  <a:gd name="connsiteX9" fmla="*/ 607579 w 709337"/>
                  <a:gd name="connsiteY9" fmla="*/ 374704 h 529345"/>
                  <a:gd name="connsiteX10" fmla="*/ 692687 w 709337"/>
                  <a:gd name="connsiteY10" fmla="*/ 136987 h 529345"/>
                  <a:gd name="connsiteX11" fmla="*/ 501926 w 709337"/>
                  <a:gd name="connsiteY11" fmla="*/ 192748 h 529345"/>
                  <a:gd name="connsiteX12" fmla="*/ 516600 w 709337"/>
                  <a:gd name="connsiteY12" fmla="*/ 295465 h 529345"/>
                  <a:gd name="connsiteX13" fmla="*/ 425622 w 709337"/>
                  <a:gd name="connsiteY13" fmla="*/ 362965 h 529345"/>
                  <a:gd name="connsiteX14" fmla="*/ 299427 w 709337"/>
                  <a:gd name="connsiteY14" fmla="*/ 430465 h 529345"/>
                  <a:gd name="connsiteX15" fmla="*/ 305295 w 709337"/>
                  <a:gd name="connsiteY15" fmla="*/ 409922 h 529345"/>
                  <a:gd name="connsiteX16" fmla="*/ 501926 w 709337"/>
                  <a:gd name="connsiteY16" fmla="*/ 192748 h 529345"/>
                  <a:gd name="connsiteX17" fmla="*/ 143882 w 709337"/>
                  <a:gd name="connsiteY17" fmla="*/ 301334 h 529345"/>
                  <a:gd name="connsiteX18" fmla="*/ 129208 w 709337"/>
                  <a:gd name="connsiteY18" fmla="*/ 136987 h 529345"/>
                  <a:gd name="connsiteX19" fmla="*/ 231926 w 709337"/>
                  <a:gd name="connsiteY19" fmla="*/ 172204 h 529345"/>
                  <a:gd name="connsiteX20" fmla="*/ 214318 w 709337"/>
                  <a:gd name="connsiteY20" fmla="*/ 412856 h 529345"/>
                  <a:gd name="connsiteX21" fmla="*/ 143882 w 709337"/>
                  <a:gd name="connsiteY21" fmla="*/ 301334 h 52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09337" h="529345">
                    <a:moveTo>
                      <a:pt x="692687" y="136987"/>
                    </a:moveTo>
                    <a:cubicBezTo>
                      <a:pt x="636927" y="54813"/>
                      <a:pt x="498992" y="95900"/>
                      <a:pt x="437361" y="142856"/>
                    </a:cubicBezTo>
                    <a:cubicBezTo>
                      <a:pt x="387471" y="181009"/>
                      <a:pt x="352253" y="230900"/>
                      <a:pt x="319969" y="286660"/>
                    </a:cubicBezTo>
                    <a:cubicBezTo>
                      <a:pt x="319969" y="257313"/>
                      <a:pt x="314101" y="227965"/>
                      <a:pt x="311165" y="201552"/>
                    </a:cubicBezTo>
                    <a:cubicBezTo>
                      <a:pt x="299427" y="125247"/>
                      <a:pt x="264209" y="-18557"/>
                      <a:pt x="158556" y="1987"/>
                    </a:cubicBezTo>
                    <a:cubicBezTo>
                      <a:pt x="61709" y="19596"/>
                      <a:pt x="3013" y="134052"/>
                      <a:pt x="79" y="222095"/>
                    </a:cubicBezTo>
                    <a:cubicBezTo>
                      <a:pt x="-2857" y="342422"/>
                      <a:pt x="76383" y="439270"/>
                      <a:pt x="179100" y="497965"/>
                    </a:cubicBezTo>
                    <a:cubicBezTo>
                      <a:pt x="179100" y="518509"/>
                      <a:pt x="202578" y="539052"/>
                      <a:pt x="223122" y="524378"/>
                    </a:cubicBezTo>
                    <a:cubicBezTo>
                      <a:pt x="228992" y="521443"/>
                      <a:pt x="234862" y="515574"/>
                      <a:pt x="240732" y="512639"/>
                    </a:cubicBezTo>
                    <a:cubicBezTo>
                      <a:pt x="363991" y="480356"/>
                      <a:pt x="504862" y="459813"/>
                      <a:pt x="607579" y="374704"/>
                    </a:cubicBezTo>
                    <a:cubicBezTo>
                      <a:pt x="660405" y="324813"/>
                      <a:pt x="745513" y="213291"/>
                      <a:pt x="692687" y="136987"/>
                    </a:cubicBezTo>
                    <a:close/>
                    <a:moveTo>
                      <a:pt x="501926" y="192748"/>
                    </a:moveTo>
                    <a:cubicBezTo>
                      <a:pt x="534210" y="201552"/>
                      <a:pt x="551818" y="251443"/>
                      <a:pt x="516600" y="295465"/>
                    </a:cubicBezTo>
                    <a:cubicBezTo>
                      <a:pt x="496056" y="321878"/>
                      <a:pt x="454970" y="342422"/>
                      <a:pt x="425622" y="362965"/>
                    </a:cubicBezTo>
                    <a:cubicBezTo>
                      <a:pt x="384535" y="389378"/>
                      <a:pt x="343449" y="412856"/>
                      <a:pt x="299427" y="430465"/>
                    </a:cubicBezTo>
                    <a:cubicBezTo>
                      <a:pt x="302361" y="424596"/>
                      <a:pt x="305295" y="418726"/>
                      <a:pt x="305295" y="409922"/>
                    </a:cubicBezTo>
                    <a:cubicBezTo>
                      <a:pt x="337579" y="360030"/>
                      <a:pt x="399209" y="210356"/>
                      <a:pt x="501926" y="192748"/>
                    </a:cubicBezTo>
                    <a:close/>
                    <a:moveTo>
                      <a:pt x="143882" y="301334"/>
                    </a:moveTo>
                    <a:cubicBezTo>
                      <a:pt x="120404" y="248509"/>
                      <a:pt x="102796" y="192748"/>
                      <a:pt x="129208" y="136987"/>
                    </a:cubicBezTo>
                    <a:cubicBezTo>
                      <a:pt x="158556" y="72422"/>
                      <a:pt x="217252" y="119378"/>
                      <a:pt x="231926" y="172204"/>
                    </a:cubicBezTo>
                    <a:cubicBezTo>
                      <a:pt x="249536" y="242639"/>
                      <a:pt x="240732" y="336552"/>
                      <a:pt x="214318" y="412856"/>
                    </a:cubicBezTo>
                    <a:cubicBezTo>
                      <a:pt x="184970" y="380574"/>
                      <a:pt x="161492" y="342422"/>
                      <a:pt x="143882" y="301334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EBBDC445-B366-4542-BD35-E83287FC3552}"/>
                  </a:ext>
                </a:extLst>
              </p:cNvPr>
              <p:cNvSpPr/>
              <p:nvPr/>
            </p:nvSpPr>
            <p:spPr>
              <a:xfrm>
                <a:off x="18574325" y="5875429"/>
                <a:ext cx="297961" cy="529351"/>
              </a:xfrm>
              <a:custGeom>
                <a:avLst/>
                <a:gdLst>
                  <a:gd name="connsiteX0" fmla="*/ 246521 w 297961"/>
                  <a:gd name="connsiteY0" fmla="*/ 6514 h 529351"/>
                  <a:gd name="connsiteX1" fmla="*/ 0 w 297961"/>
                  <a:gd name="connsiteY1" fmla="*/ 499557 h 529351"/>
                  <a:gd name="connsiteX2" fmla="*/ 38152 w 297961"/>
                  <a:gd name="connsiteY2" fmla="*/ 528905 h 529351"/>
                  <a:gd name="connsiteX3" fmla="*/ 108586 w 297961"/>
                  <a:gd name="connsiteY3" fmla="*/ 517166 h 529351"/>
                  <a:gd name="connsiteX4" fmla="*/ 129129 w 297961"/>
                  <a:gd name="connsiteY4" fmla="*/ 487818 h 529351"/>
                  <a:gd name="connsiteX5" fmla="*/ 161413 w 297961"/>
                  <a:gd name="connsiteY5" fmla="*/ 244231 h 529351"/>
                  <a:gd name="connsiteX6" fmla="*/ 290542 w 297961"/>
                  <a:gd name="connsiteY6" fmla="*/ 56405 h 529351"/>
                  <a:gd name="connsiteX7" fmla="*/ 293478 w 297961"/>
                  <a:gd name="connsiteY7" fmla="*/ 44666 h 529351"/>
                  <a:gd name="connsiteX8" fmla="*/ 246521 w 297961"/>
                  <a:gd name="connsiteY8" fmla="*/ 6514 h 529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7961" h="529351">
                    <a:moveTo>
                      <a:pt x="246521" y="6514"/>
                    </a:moveTo>
                    <a:cubicBezTo>
                      <a:pt x="96847" y="129774"/>
                      <a:pt x="8804" y="305861"/>
                      <a:pt x="0" y="499557"/>
                    </a:cubicBezTo>
                    <a:cubicBezTo>
                      <a:pt x="0" y="520101"/>
                      <a:pt x="20542" y="531840"/>
                      <a:pt x="38152" y="528905"/>
                    </a:cubicBezTo>
                    <a:cubicBezTo>
                      <a:pt x="61630" y="525970"/>
                      <a:pt x="85108" y="520101"/>
                      <a:pt x="108586" y="517166"/>
                    </a:cubicBezTo>
                    <a:cubicBezTo>
                      <a:pt x="120325" y="514231"/>
                      <a:pt x="132065" y="499557"/>
                      <a:pt x="129129" y="487818"/>
                    </a:cubicBezTo>
                    <a:cubicBezTo>
                      <a:pt x="120325" y="402709"/>
                      <a:pt x="132065" y="320535"/>
                      <a:pt x="161413" y="244231"/>
                    </a:cubicBezTo>
                    <a:cubicBezTo>
                      <a:pt x="202499" y="176731"/>
                      <a:pt x="255325" y="112166"/>
                      <a:pt x="290542" y="56405"/>
                    </a:cubicBezTo>
                    <a:cubicBezTo>
                      <a:pt x="293478" y="53470"/>
                      <a:pt x="293478" y="47600"/>
                      <a:pt x="293478" y="44666"/>
                    </a:cubicBezTo>
                    <a:cubicBezTo>
                      <a:pt x="311086" y="18253"/>
                      <a:pt x="272934" y="-14030"/>
                      <a:pt x="246521" y="6514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2ACAD884-E9D4-414D-A72E-C576E8A71404}"/>
                  </a:ext>
                </a:extLst>
              </p:cNvPr>
              <p:cNvSpPr/>
              <p:nvPr/>
            </p:nvSpPr>
            <p:spPr>
              <a:xfrm>
                <a:off x="18911531" y="5889910"/>
                <a:ext cx="169180" cy="355600"/>
              </a:xfrm>
              <a:custGeom>
                <a:avLst/>
                <a:gdLst>
                  <a:gd name="connsiteX0" fmla="*/ 161708 w 169180"/>
                  <a:gd name="connsiteY0" fmla="*/ 218011 h 355600"/>
                  <a:gd name="connsiteX1" fmla="*/ 76598 w 169180"/>
                  <a:gd name="connsiteY1" fmla="*/ 24315 h 355600"/>
                  <a:gd name="connsiteX2" fmla="*/ 64858 w 169180"/>
                  <a:gd name="connsiteY2" fmla="*/ 6707 h 355600"/>
                  <a:gd name="connsiteX3" fmla="*/ 17903 w 169180"/>
                  <a:gd name="connsiteY3" fmla="*/ 21381 h 355600"/>
                  <a:gd name="connsiteX4" fmla="*/ 50185 w 169180"/>
                  <a:gd name="connsiteY4" fmla="*/ 341272 h 355600"/>
                  <a:gd name="connsiteX5" fmla="*/ 100076 w 169180"/>
                  <a:gd name="connsiteY5" fmla="*/ 341272 h 355600"/>
                  <a:gd name="connsiteX6" fmla="*/ 158772 w 169180"/>
                  <a:gd name="connsiteY6" fmla="*/ 259098 h 355600"/>
                  <a:gd name="connsiteX7" fmla="*/ 161708 w 169180"/>
                  <a:gd name="connsiteY7" fmla="*/ 218011 h 355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9180" h="355600">
                    <a:moveTo>
                      <a:pt x="161708" y="218011"/>
                    </a:moveTo>
                    <a:cubicBezTo>
                      <a:pt x="100076" y="171055"/>
                      <a:pt x="88338" y="97685"/>
                      <a:pt x="76598" y="24315"/>
                    </a:cubicBezTo>
                    <a:cubicBezTo>
                      <a:pt x="76598" y="15511"/>
                      <a:pt x="70728" y="9641"/>
                      <a:pt x="64858" y="6707"/>
                    </a:cubicBezTo>
                    <a:cubicBezTo>
                      <a:pt x="50185" y="-5032"/>
                      <a:pt x="23773" y="-2097"/>
                      <a:pt x="17903" y="21381"/>
                    </a:cubicBezTo>
                    <a:cubicBezTo>
                      <a:pt x="-14379" y="129968"/>
                      <a:pt x="-2641" y="241490"/>
                      <a:pt x="50185" y="341272"/>
                    </a:cubicBezTo>
                    <a:cubicBezTo>
                      <a:pt x="61924" y="361815"/>
                      <a:pt x="88338" y="358881"/>
                      <a:pt x="100076" y="341272"/>
                    </a:cubicBezTo>
                    <a:cubicBezTo>
                      <a:pt x="117686" y="311924"/>
                      <a:pt x="138228" y="285511"/>
                      <a:pt x="158772" y="259098"/>
                    </a:cubicBezTo>
                    <a:cubicBezTo>
                      <a:pt x="170512" y="250294"/>
                      <a:pt x="173446" y="229750"/>
                      <a:pt x="161708" y="218011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8" name="图形 1">
              <a:extLst>
                <a:ext uri="{FF2B5EF4-FFF2-40B4-BE49-F238E27FC236}">
                  <a16:creationId xmlns:a16="http://schemas.microsoft.com/office/drawing/2014/main" id="{B2AE6070-3FE8-47EA-B4ED-F6F777A8EB09}"/>
                </a:ext>
              </a:extLst>
            </p:cNvPr>
            <p:cNvGrpSpPr/>
            <p:nvPr/>
          </p:nvGrpSpPr>
          <p:grpSpPr>
            <a:xfrm>
              <a:off x="24078216" y="5648838"/>
              <a:ext cx="965249" cy="1006977"/>
              <a:chOff x="24078216" y="5648838"/>
              <a:chExt cx="965249" cy="1006977"/>
            </a:xfrm>
          </p:grpSpPr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48606BC4-FA6D-4F4A-8B31-AF95861D217B}"/>
                  </a:ext>
                </a:extLst>
              </p:cNvPr>
              <p:cNvSpPr/>
              <p:nvPr/>
            </p:nvSpPr>
            <p:spPr>
              <a:xfrm rot="-10800000">
                <a:off x="24078216" y="6054185"/>
                <a:ext cx="792391" cy="601630"/>
              </a:xfrm>
              <a:custGeom>
                <a:avLst/>
                <a:gdLst>
                  <a:gd name="connsiteX0" fmla="*/ 0 w 792391"/>
                  <a:gd name="connsiteY0" fmla="*/ 0 h 601630"/>
                  <a:gd name="connsiteX1" fmla="*/ 792391 w 792391"/>
                  <a:gd name="connsiteY1" fmla="*/ 0 h 601630"/>
                  <a:gd name="connsiteX2" fmla="*/ 792391 w 792391"/>
                  <a:gd name="connsiteY2" fmla="*/ 601630 h 601630"/>
                  <a:gd name="connsiteX3" fmla="*/ 0 w 792391"/>
                  <a:gd name="connsiteY3" fmla="*/ 601630 h 601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2391" h="601630">
                    <a:moveTo>
                      <a:pt x="0" y="0"/>
                    </a:moveTo>
                    <a:lnTo>
                      <a:pt x="792391" y="0"/>
                    </a:lnTo>
                    <a:lnTo>
                      <a:pt x="792391" y="601630"/>
                    </a:lnTo>
                    <a:lnTo>
                      <a:pt x="0" y="601630"/>
                    </a:lnTo>
                    <a:close/>
                  </a:path>
                </a:pathLst>
              </a:custGeom>
              <a:solidFill>
                <a:srgbClr val="C4544E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BF11C37D-3D54-4812-ACCD-90CA3EFD11D6}"/>
                  </a:ext>
                </a:extLst>
              </p:cNvPr>
              <p:cNvSpPr/>
              <p:nvPr/>
            </p:nvSpPr>
            <p:spPr>
              <a:xfrm rot="-10800000">
                <a:off x="24251074" y="6054185"/>
                <a:ext cx="792391" cy="601630"/>
              </a:xfrm>
              <a:custGeom>
                <a:avLst/>
                <a:gdLst>
                  <a:gd name="connsiteX0" fmla="*/ 1 w 792391"/>
                  <a:gd name="connsiteY0" fmla="*/ 0 h 601630"/>
                  <a:gd name="connsiteX1" fmla="*/ 792392 w 792391"/>
                  <a:gd name="connsiteY1" fmla="*/ 0 h 601630"/>
                  <a:gd name="connsiteX2" fmla="*/ 792392 w 792391"/>
                  <a:gd name="connsiteY2" fmla="*/ 601630 h 601630"/>
                  <a:gd name="connsiteX3" fmla="*/ 1 w 792391"/>
                  <a:gd name="connsiteY3" fmla="*/ 601630 h 601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2391" h="601630">
                    <a:moveTo>
                      <a:pt x="1" y="0"/>
                    </a:moveTo>
                    <a:lnTo>
                      <a:pt x="792392" y="0"/>
                    </a:lnTo>
                    <a:lnTo>
                      <a:pt x="792392" y="601630"/>
                    </a:lnTo>
                    <a:lnTo>
                      <a:pt x="1" y="601630"/>
                    </a:lnTo>
                    <a:close/>
                  </a:path>
                </a:pathLst>
              </a:custGeom>
              <a:solidFill>
                <a:srgbClr val="D16156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EF2F09DC-13A6-49E4-A00D-F25A37463220}"/>
                  </a:ext>
                </a:extLst>
              </p:cNvPr>
              <p:cNvSpPr/>
              <p:nvPr/>
            </p:nvSpPr>
            <p:spPr>
              <a:xfrm rot="-10800000">
                <a:off x="24594444" y="6054185"/>
                <a:ext cx="108586" cy="601630"/>
              </a:xfrm>
              <a:custGeom>
                <a:avLst/>
                <a:gdLst>
                  <a:gd name="connsiteX0" fmla="*/ 0 w 108586"/>
                  <a:gd name="connsiteY0" fmla="*/ 0 h 601630"/>
                  <a:gd name="connsiteX1" fmla="*/ 108587 w 108586"/>
                  <a:gd name="connsiteY1" fmla="*/ 0 h 601630"/>
                  <a:gd name="connsiteX2" fmla="*/ 108587 w 108586"/>
                  <a:gd name="connsiteY2" fmla="*/ 601630 h 601630"/>
                  <a:gd name="connsiteX3" fmla="*/ 0 w 108586"/>
                  <a:gd name="connsiteY3" fmla="*/ 601630 h 601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586" h="601630">
                    <a:moveTo>
                      <a:pt x="0" y="0"/>
                    </a:moveTo>
                    <a:lnTo>
                      <a:pt x="108587" y="0"/>
                    </a:lnTo>
                    <a:lnTo>
                      <a:pt x="108587" y="601630"/>
                    </a:lnTo>
                    <a:lnTo>
                      <a:pt x="0" y="601630"/>
                    </a:ln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B4D23185-A1B7-4320-91C8-78A082F4B417}"/>
                  </a:ext>
                </a:extLst>
              </p:cNvPr>
              <p:cNvSpPr/>
              <p:nvPr/>
            </p:nvSpPr>
            <p:spPr>
              <a:xfrm>
                <a:off x="24233354" y="5648838"/>
                <a:ext cx="598018" cy="445275"/>
              </a:xfrm>
              <a:custGeom>
                <a:avLst/>
                <a:gdLst>
                  <a:gd name="connsiteX0" fmla="*/ 87275 w 598018"/>
                  <a:gd name="connsiteY0" fmla="*/ 315279 h 445275"/>
                  <a:gd name="connsiteX1" fmla="*/ 395427 w 598018"/>
                  <a:gd name="connsiteY1" fmla="*/ 432670 h 445275"/>
                  <a:gd name="connsiteX2" fmla="*/ 410101 w 598018"/>
                  <a:gd name="connsiteY2" fmla="*/ 441474 h 445275"/>
                  <a:gd name="connsiteX3" fmla="*/ 448253 w 598018"/>
                  <a:gd name="connsiteY3" fmla="*/ 417996 h 445275"/>
                  <a:gd name="connsiteX4" fmla="*/ 597926 w 598018"/>
                  <a:gd name="connsiteY4" fmla="*/ 186148 h 445275"/>
                  <a:gd name="connsiteX5" fmla="*/ 465861 w 598018"/>
                  <a:gd name="connsiteY5" fmla="*/ 1257 h 445275"/>
                  <a:gd name="connsiteX6" fmla="*/ 336731 w 598018"/>
                  <a:gd name="connsiteY6" fmla="*/ 168540 h 445275"/>
                  <a:gd name="connsiteX7" fmla="*/ 327927 w 598018"/>
                  <a:gd name="connsiteY7" fmla="*/ 241909 h 445275"/>
                  <a:gd name="connsiteX8" fmla="*/ 228144 w 598018"/>
                  <a:gd name="connsiteY8" fmla="*/ 121583 h 445275"/>
                  <a:gd name="connsiteX9" fmla="*/ 13905 w 598018"/>
                  <a:gd name="connsiteY9" fmla="*/ 115713 h 445275"/>
                  <a:gd name="connsiteX10" fmla="*/ 87275 w 598018"/>
                  <a:gd name="connsiteY10" fmla="*/ 315279 h 445275"/>
                  <a:gd name="connsiteX11" fmla="*/ 336731 w 598018"/>
                  <a:gd name="connsiteY11" fmla="*/ 344626 h 445275"/>
                  <a:gd name="connsiteX12" fmla="*/ 342601 w 598018"/>
                  <a:gd name="connsiteY12" fmla="*/ 362235 h 445275"/>
                  <a:gd name="connsiteX13" fmla="*/ 236948 w 598018"/>
                  <a:gd name="connsiteY13" fmla="*/ 306474 h 445275"/>
                  <a:gd name="connsiteX14" fmla="*/ 160644 w 598018"/>
                  <a:gd name="connsiteY14" fmla="*/ 250713 h 445275"/>
                  <a:gd name="connsiteX15" fmla="*/ 172382 w 598018"/>
                  <a:gd name="connsiteY15" fmla="*/ 165605 h 445275"/>
                  <a:gd name="connsiteX16" fmla="*/ 336731 w 598018"/>
                  <a:gd name="connsiteY16" fmla="*/ 344626 h 445275"/>
                  <a:gd name="connsiteX17" fmla="*/ 415971 w 598018"/>
                  <a:gd name="connsiteY17" fmla="*/ 347561 h 445275"/>
                  <a:gd name="connsiteX18" fmla="*/ 401297 w 598018"/>
                  <a:gd name="connsiteY18" fmla="*/ 145061 h 445275"/>
                  <a:gd name="connsiteX19" fmla="*/ 486404 w 598018"/>
                  <a:gd name="connsiteY19" fmla="*/ 115713 h 445275"/>
                  <a:gd name="connsiteX20" fmla="*/ 471731 w 598018"/>
                  <a:gd name="connsiteY20" fmla="*/ 253648 h 445275"/>
                  <a:gd name="connsiteX21" fmla="*/ 415971 w 598018"/>
                  <a:gd name="connsiteY21" fmla="*/ 347561 h 44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98018" h="445275">
                    <a:moveTo>
                      <a:pt x="87275" y="315279"/>
                    </a:moveTo>
                    <a:cubicBezTo>
                      <a:pt x="172382" y="385713"/>
                      <a:pt x="289774" y="406257"/>
                      <a:pt x="395427" y="432670"/>
                    </a:cubicBezTo>
                    <a:cubicBezTo>
                      <a:pt x="401297" y="435604"/>
                      <a:pt x="404231" y="438539"/>
                      <a:pt x="410101" y="441474"/>
                    </a:cubicBezTo>
                    <a:cubicBezTo>
                      <a:pt x="427709" y="453213"/>
                      <a:pt x="448253" y="435604"/>
                      <a:pt x="448253" y="417996"/>
                    </a:cubicBezTo>
                    <a:cubicBezTo>
                      <a:pt x="533362" y="371039"/>
                      <a:pt x="600862" y="288865"/>
                      <a:pt x="597926" y="186148"/>
                    </a:cubicBezTo>
                    <a:cubicBezTo>
                      <a:pt x="594992" y="112778"/>
                      <a:pt x="545100" y="15930"/>
                      <a:pt x="465861" y="1257"/>
                    </a:cubicBezTo>
                    <a:cubicBezTo>
                      <a:pt x="377817" y="-13417"/>
                      <a:pt x="345535" y="103974"/>
                      <a:pt x="336731" y="168540"/>
                    </a:cubicBezTo>
                    <a:cubicBezTo>
                      <a:pt x="333795" y="192017"/>
                      <a:pt x="330861" y="215496"/>
                      <a:pt x="327927" y="241909"/>
                    </a:cubicBezTo>
                    <a:cubicBezTo>
                      <a:pt x="301513" y="197887"/>
                      <a:pt x="272166" y="153866"/>
                      <a:pt x="228144" y="121583"/>
                    </a:cubicBezTo>
                    <a:cubicBezTo>
                      <a:pt x="175318" y="83431"/>
                      <a:pt x="60861" y="45278"/>
                      <a:pt x="13905" y="115713"/>
                    </a:cubicBezTo>
                    <a:cubicBezTo>
                      <a:pt x="-30117" y="180278"/>
                      <a:pt x="40317" y="274191"/>
                      <a:pt x="87275" y="315279"/>
                    </a:cubicBezTo>
                    <a:close/>
                    <a:moveTo>
                      <a:pt x="336731" y="344626"/>
                    </a:moveTo>
                    <a:cubicBezTo>
                      <a:pt x="339665" y="350496"/>
                      <a:pt x="339665" y="356365"/>
                      <a:pt x="342601" y="362235"/>
                    </a:cubicBezTo>
                    <a:cubicBezTo>
                      <a:pt x="304448" y="347561"/>
                      <a:pt x="269232" y="329953"/>
                      <a:pt x="236948" y="306474"/>
                    </a:cubicBezTo>
                    <a:cubicBezTo>
                      <a:pt x="213470" y="291800"/>
                      <a:pt x="181188" y="271257"/>
                      <a:pt x="160644" y="250713"/>
                    </a:cubicBezTo>
                    <a:cubicBezTo>
                      <a:pt x="128361" y="212561"/>
                      <a:pt x="145970" y="171474"/>
                      <a:pt x="172382" y="165605"/>
                    </a:cubicBezTo>
                    <a:cubicBezTo>
                      <a:pt x="260426" y="177344"/>
                      <a:pt x="313253" y="303539"/>
                      <a:pt x="336731" y="344626"/>
                    </a:cubicBezTo>
                    <a:close/>
                    <a:moveTo>
                      <a:pt x="415971" y="347561"/>
                    </a:moveTo>
                    <a:cubicBezTo>
                      <a:pt x="392491" y="282996"/>
                      <a:pt x="386623" y="203757"/>
                      <a:pt x="401297" y="145061"/>
                    </a:cubicBezTo>
                    <a:cubicBezTo>
                      <a:pt x="413035" y="98104"/>
                      <a:pt x="462927" y="59952"/>
                      <a:pt x="486404" y="115713"/>
                    </a:cubicBezTo>
                    <a:cubicBezTo>
                      <a:pt x="506948" y="162670"/>
                      <a:pt x="492274" y="209626"/>
                      <a:pt x="471731" y="253648"/>
                    </a:cubicBezTo>
                    <a:cubicBezTo>
                      <a:pt x="459992" y="288865"/>
                      <a:pt x="442383" y="321148"/>
                      <a:pt x="415971" y="347561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08BEEA95-324E-4D5D-8965-7C16531F11DD}"/>
                  </a:ext>
                </a:extLst>
              </p:cNvPr>
              <p:cNvSpPr/>
              <p:nvPr/>
            </p:nvSpPr>
            <p:spPr>
              <a:xfrm>
                <a:off x="24660295" y="6043765"/>
                <a:ext cx="250224" cy="443298"/>
              </a:xfrm>
              <a:custGeom>
                <a:avLst/>
                <a:gdLst>
                  <a:gd name="connsiteX0" fmla="*/ 41856 w 250224"/>
                  <a:gd name="connsiteY0" fmla="*/ 5460 h 443298"/>
                  <a:gd name="connsiteX1" fmla="*/ 250225 w 250224"/>
                  <a:gd name="connsiteY1" fmla="*/ 419265 h 443298"/>
                  <a:gd name="connsiteX2" fmla="*/ 217943 w 250224"/>
                  <a:gd name="connsiteY2" fmla="*/ 442743 h 443298"/>
                  <a:gd name="connsiteX3" fmla="*/ 159247 w 250224"/>
                  <a:gd name="connsiteY3" fmla="*/ 431004 h 443298"/>
                  <a:gd name="connsiteX4" fmla="*/ 141638 w 250224"/>
                  <a:gd name="connsiteY4" fmla="*/ 407525 h 443298"/>
                  <a:gd name="connsiteX5" fmla="*/ 115226 w 250224"/>
                  <a:gd name="connsiteY5" fmla="*/ 202090 h 443298"/>
                  <a:gd name="connsiteX6" fmla="*/ 6638 w 250224"/>
                  <a:gd name="connsiteY6" fmla="*/ 43612 h 443298"/>
                  <a:gd name="connsiteX7" fmla="*/ 3704 w 250224"/>
                  <a:gd name="connsiteY7" fmla="*/ 31873 h 443298"/>
                  <a:gd name="connsiteX8" fmla="*/ 41856 w 250224"/>
                  <a:gd name="connsiteY8" fmla="*/ 5460 h 443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0224" h="443298">
                    <a:moveTo>
                      <a:pt x="41856" y="5460"/>
                    </a:moveTo>
                    <a:cubicBezTo>
                      <a:pt x="168051" y="108177"/>
                      <a:pt x="241421" y="254917"/>
                      <a:pt x="250225" y="419265"/>
                    </a:cubicBezTo>
                    <a:cubicBezTo>
                      <a:pt x="250225" y="436873"/>
                      <a:pt x="232617" y="445678"/>
                      <a:pt x="217943" y="442743"/>
                    </a:cubicBezTo>
                    <a:cubicBezTo>
                      <a:pt x="197399" y="439808"/>
                      <a:pt x="179791" y="436873"/>
                      <a:pt x="159247" y="431004"/>
                    </a:cubicBezTo>
                    <a:cubicBezTo>
                      <a:pt x="150443" y="428069"/>
                      <a:pt x="138704" y="416330"/>
                      <a:pt x="141638" y="407525"/>
                    </a:cubicBezTo>
                    <a:cubicBezTo>
                      <a:pt x="150443" y="334156"/>
                      <a:pt x="141638" y="266656"/>
                      <a:pt x="115226" y="202090"/>
                    </a:cubicBezTo>
                    <a:cubicBezTo>
                      <a:pt x="80008" y="143395"/>
                      <a:pt x="35986" y="90569"/>
                      <a:pt x="6638" y="43612"/>
                    </a:cubicBezTo>
                    <a:cubicBezTo>
                      <a:pt x="3704" y="40677"/>
                      <a:pt x="3704" y="37743"/>
                      <a:pt x="3704" y="31873"/>
                    </a:cubicBezTo>
                    <a:cubicBezTo>
                      <a:pt x="-10970" y="17199"/>
                      <a:pt x="21312" y="-12149"/>
                      <a:pt x="41856" y="546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69DEDBBD-B720-4FFD-895D-4B5C054657C4}"/>
                  </a:ext>
                </a:extLst>
              </p:cNvPr>
              <p:cNvSpPr/>
              <p:nvPr/>
            </p:nvSpPr>
            <p:spPr>
              <a:xfrm>
                <a:off x="24485289" y="6055376"/>
                <a:ext cx="142813" cy="299458"/>
              </a:xfrm>
              <a:custGeom>
                <a:avLst/>
                <a:gdLst>
                  <a:gd name="connsiteX0" fmla="*/ 5557 w 142813"/>
                  <a:gd name="connsiteY0" fmla="*/ 219828 h 299458"/>
                  <a:gd name="connsiteX1" fmla="*/ 55448 w 142813"/>
                  <a:gd name="connsiteY1" fmla="*/ 287328 h 299458"/>
                  <a:gd name="connsiteX2" fmla="*/ 99470 w 142813"/>
                  <a:gd name="connsiteY2" fmla="*/ 287328 h 299458"/>
                  <a:gd name="connsiteX3" fmla="*/ 125882 w 142813"/>
                  <a:gd name="connsiteY3" fmla="*/ 17328 h 299458"/>
                  <a:gd name="connsiteX4" fmla="*/ 84796 w 142813"/>
                  <a:gd name="connsiteY4" fmla="*/ 5588 h 299458"/>
                  <a:gd name="connsiteX5" fmla="*/ 75992 w 142813"/>
                  <a:gd name="connsiteY5" fmla="*/ 20262 h 299458"/>
                  <a:gd name="connsiteX6" fmla="*/ 5557 w 142813"/>
                  <a:gd name="connsiteY6" fmla="*/ 181675 h 299458"/>
                  <a:gd name="connsiteX7" fmla="*/ 5557 w 142813"/>
                  <a:gd name="connsiteY7" fmla="*/ 219828 h 299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2813" h="299458">
                    <a:moveTo>
                      <a:pt x="5557" y="219828"/>
                    </a:moveTo>
                    <a:cubicBezTo>
                      <a:pt x="23165" y="240371"/>
                      <a:pt x="40774" y="263849"/>
                      <a:pt x="55448" y="287328"/>
                    </a:cubicBezTo>
                    <a:cubicBezTo>
                      <a:pt x="64252" y="302002"/>
                      <a:pt x="87730" y="304937"/>
                      <a:pt x="99470" y="287328"/>
                    </a:cubicBezTo>
                    <a:cubicBezTo>
                      <a:pt x="146426" y="202219"/>
                      <a:pt x="155230" y="108306"/>
                      <a:pt x="125882" y="17328"/>
                    </a:cubicBezTo>
                    <a:cubicBezTo>
                      <a:pt x="120014" y="-3216"/>
                      <a:pt x="99470" y="-3216"/>
                      <a:pt x="84796" y="5588"/>
                    </a:cubicBezTo>
                    <a:cubicBezTo>
                      <a:pt x="78926" y="8523"/>
                      <a:pt x="75992" y="14393"/>
                      <a:pt x="75992" y="20262"/>
                    </a:cubicBezTo>
                    <a:cubicBezTo>
                      <a:pt x="67186" y="81893"/>
                      <a:pt x="55448" y="140589"/>
                      <a:pt x="5557" y="181675"/>
                    </a:cubicBezTo>
                    <a:cubicBezTo>
                      <a:pt x="-3247" y="193415"/>
                      <a:pt x="-313" y="211023"/>
                      <a:pt x="5557" y="21982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3859258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999C2214-943B-4CF7-BB33-CDD60AC2AFB5}"/>
              </a:ext>
            </a:extLst>
          </p:cNvPr>
          <p:cNvGrpSpPr/>
          <p:nvPr/>
        </p:nvGrpSpPr>
        <p:grpSpPr>
          <a:xfrm>
            <a:off x="3328548" y="2148622"/>
            <a:ext cx="5392030" cy="4709378"/>
            <a:chOff x="17525773" y="7643761"/>
            <a:chExt cx="5392030" cy="4709378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50856A89-76FB-49E0-9A55-E5DE0EA492A6}"/>
                </a:ext>
              </a:extLst>
            </p:cNvPr>
            <p:cNvGrpSpPr/>
            <p:nvPr/>
          </p:nvGrpSpPr>
          <p:grpSpPr>
            <a:xfrm>
              <a:off x="17525773" y="11631182"/>
              <a:ext cx="373551" cy="564692"/>
              <a:chOff x="17525773" y="11631182"/>
              <a:chExt cx="373551" cy="564692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85EEEFA3-F5FA-4257-B0E1-2380E07530DA}"/>
                  </a:ext>
                </a:extLst>
              </p:cNvPr>
              <p:cNvSpPr/>
              <p:nvPr/>
            </p:nvSpPr>
            <p:spPr>
              <a:xfrm>
                <a:off x="17632259" y="11631182"/>
                <a:ext cx="267066" cy="240651"/>
              </a:xfrm>
              <a:custGeom>
                <a:avLst/>
                <a:gdLst>
                  <a:gd name="connsiteX0" fmla="*/ 20544 w 267066"/>
                  <a:gd name="connsiteY0" fmla="*/ 111521 h 240651"/>
                  <a:gd name="connsiteX1" fmla="*/ 158479 w 267066"/>
                  <a:gd name="connsiteY1" fmla="*/ 0 h 240651"/>
                  <a:gd name="connsiteX2" fmla="*/ 267066 w 267066"/>
                  <a:gd name="connsiteY2" fmla="*/ 137934 h 240651"/>
                  <a:gd name="connsiteX3" fmla="*/ 111521 w 267066"/>
                  <a:gd name="connsiteY3" fmla="*/ 240652 h 240651"/>
                  <a:gd name="connsiteX4" fmla="*/ 0 w 267066"/>
                  <a:gd name="connsiteY4" fmla="*/ 143804 h 240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7066" h="240651">
                    <a:moveTo>
                      <a:pt x="20544" y="111521"/>
                    </a:moveTo>
                    <a:lnTo>
                      <a:pt x="158479" y="0"/>
                    </a:lnTo>
                    <a:lnTo>
                      <a:pt x="267066" y="137934"/>
                    </a:lnTo>
                    <a:lnTo>
                      <a:pt x="111521" y="240652"/>
                    </a:lnTo>
                    <a:lnTo>
                      <a:pt x="0" y="143804"/>
                    </a:ln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97EE9364-DD71-4AE8-B1DC-97011FB773D7}"/>
                  </a:ext>
                </a:extLst>
              </p:cNvPr>
              <p:cNvSpPr/>
              <p:nvPr/>
            </p:nvSpPr>
            <p:spPr>
              <a:xfrm>
                <a:off x="17561825" y="11733900"/>
                <a:ext cx="306822" cy="434347"/>
              </a:xfrm>
              <a:custGeom>
                <a:avLst/>
                <a:gdLst>
                  <a:gd name="connsiteX0" fmla="*/ 85108 w 306822"/>
                  <a:gd name="connsiteY0" fmla="*/ 0 h 434347"/>
                  <a:gd name="connsiteX1" fmla="*/ 231847 w 306822"/>
                  <a:gd name="connsiteY1" fmla="*/ 111521 h 434347"/>
                  <a:gd name="connsiteX2" fmla="*/ 249457 w 306822"/>
                  <a:gd name="connsiteY2" fmla="*/ 261195 h 434347"/>
                  <a:gd name="connsiteX3" fmla="*/ 290542 w 306822"/>
                  <a:gd name="connsiteY3" fmla="*/ 434347 h 434347"/>
                  <a:gd name="connsiteX4" fmla="*/ 0 w 306822"/>
                  <a:gd name="connsiteY4" fmla="*/ 67500 h 434347"/>
                  <a:gd name="connsiteX5" fmla="*/ 85108 w 306822"/>
                  <a:gd name="connsiteY5" fmla="*/ 0 h 434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6822" h="434347">
                    <a:moveTo>
                      <a:pt x="85108" y="0"/>
                    </a:moveTo>
                    <a:cubicBezTo>
                      <a:pt x="85108" y="0"/>
                      <a:pt x="143803" y="105651"/>
                      <a:pt x="231847" y="111521"/>
                    </a:cubicBezTo>
                    <a:cubicBezTo>
                      <a:pt x="231847" y="111521"/>
                      <a:pt x="231847" y="220109"/>
                      <a:pt x="249457" y="261195"/>
                    </a:cubicBezTo>
                    <a:cubicBezTo>
                      <a:pt x="269999" y="299347"/>
                      <a:pt x="337500" y="384456"/>
                      <a:pt x="290542" y="434347"/>
                    </a:cubicBezTo>
                    <a:lnTo>
                      <a:pt x="0" y="67500"/>
                    </a:lnTo>
                    <a:cubicBezTo>
                      <a:pt x="0" y="67500"/>
                      <a:pt x="35216" y="14674"/>
                      <a:pt x="85108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F409A702-009A-43D8-A19E-BA8805EA45E6}"/>
                  </a:ext>
                </a:extLst>
              </p:cNvPr>
              <p:cNvSpPr/>
              <p:nvPr/>
            </p:nvSpPr>
            <p:spPr>
              <a:xfrm rot="-2302139">
                <a:off x="17666749" y="11763370"/>
                <a:ext cx="44020" cy="469547"/>
              </a:xfrm>
              <a:custGeom>
                <a:avLst/>
                <a:gdLst>
                  <a:gd name="connsiteX0" fmla="*/ 0 w 44020"/>
                  <a:gd name="connsiteY0" fmla="*/ 0 h 469547"/>
                  <a:gd name="connsiteX1" fmla="*/ 44020 w 44020"/>
                  <a:gd name="connsiteY1" fmla="*/ 0 h 469547"/>
                  <a:gd name="connsiteX2" fmla="*/ 44020 w 44020"/>
                  <a:gd name="connsiteY2" fmla="*/ 469548 h 469547"/>
                  <a:gd name="connsiteX3" fmla="*/ 0 w 44020"/>
                  <a:gd name="connsiteY3" fmla="*/ 469548 h 469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020" h="469547">
                    <a:moveTo>
                      <a:pt x="0" y="0"/>
                    </a:moveTo>
                    <a:lnTo>
                      <a:pt x="44020" y="0"/>
                    </a:lnTo>
                    <a:lnTo>
                      <a:pt x="44020" y="469548"/>
                    </a:lnTo>
                    <a:lnTo>
                      <a:pt x="0" y="469548"/>
                    </a:lnTo>
                    <a:close/>
                  </a:path>
                </a:pathLst>
              </a:custGeom>
              <a:solidFill>
                <a:srgbClr val="38333D"/>
              </a:solidFill>
              <a:ln w="293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285AEB55-62FD-4218-BBC1-47A708213510}"/>
                  </a:ext>
                </a:extLst>
              </p:cNvPr>
              <p:cNvSpPr/>
              <p:nvPr/>
            </p:nvSpPr>
            <p:spPr>
              <a:xfrm>
                <a:off x="17636913" y="11726814"/>
                <a:ext cx="162628" cy="124476"/>
              </a:xfrm>
              <a:custGeom>
                <a:avLst/>
                <a:gdLst>
                  <a:gd name="connsiteX0" fmla="*/ 153824 w 162628"/>
                  <a:gd name="connsiteY0" fmla="*/ 124477 h 124476"/>
                  <a:gd name="connsiteX1" fmla="*/ 153824 w 162628"/>
                  <a:gd name="connsiteY1" fmla="*/ 124477 h 124476"/>
                  <a:gd name="connsiteX2" fmla="*/ 1215 w 162628"/>
                  <a:gd name="connsiteY2" fmla="*/ 10020 h 124476"/>
                  <a:gd name="connsiteX3" fmla="*/ 4149 w 162628"/>
                  <a:gd name="connsiteY3" fmla="*/ 1216 h 124476"/>
                  <a:gd name="connsiteX4" fmla="*/ 12955 w 162628"/>
                  <a:gd name="connsiteY4" fmla="*/ 4151 h 124476"/>
                  <a:gd name="connsiteX5" fmla="*/ 156758 w 162628"/>
                  <a:gd name="connsiteY5" fmla="*/ 112737 h 124476"/>
                  <a:gd name="connsiteX6" fmla="*/ 162628 w 162628"/>
                  <a:gd name="connsiteY6" fmla="*/ 118607 h 124476"/>
                  <a:gd name="connsiteX7" fmla="*/ 153824 w 162628"/>
                  <a:gd name="connsiteY7" fmla="*/ 124477 h 124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2628" h="124476">
                    <a:moveTo>
                      <a:pt x="153824" y="124477"/>
                    </a:moveTo>
                    <a:cubicBezTo>
                      <a:pt x="153824" y="124477"/>
                      <a:pt x="153824" y="124477"/>
                      <a:pt x="153824" y="124477"/>
                    </a:cubicBezTo>
                    <a:cubicBezTo>
                      <a:pt x="59911" y="109803"/>
                      <a:pt x="4149" y="12955"/>
                      <a:pt x="1215" y="10020"/>
                    </a:cubicBezTo>
                    <a:cubicBezTo>
                      <a:pt x="-1719" y="7086"/>
                      <a:pt x="1215" y="4151"/>
                      <a:pt x="4149" y="1216"/>
                    </a:cubicBezTo>
                    <a:cubicBezTo>
                      <a:pt x="7085" y="-1719"/>
                      <a:pt x="10019" y="1216"/>
                      <a:pt x="12955" y="4151"/>
                    </a:cubicBezTo>
                    <a:cubicBezTo>
                      <a:pt x="12955" y="4151"/>
                      <a:pt x="68715" y="98063"/>
                      <a:pt x="156758" y="112737"/>
                    </a:cubicBezTo>
                    <a:cubicBezTo>
                      <a:pt x="159694" y="112737"/>
                      <a:pt x="162628" y="115672"/>
                      <a:pt x="162628" y="118607"/>
                    </a:cubicBezTo>
                    <a:cubicBezTo>
                      <a:pt x="159694" y="121542"/>
                      <a:pt x="156758" y="124477"/>
                      <a:pt x="153824" y="12447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BC6A013D-C89B-42E6-90F8-466ADE70FBAC}"/>
                  </a:ext>
                </a:extLst>
              </p:cNvPr>
              <p:cNvSpPr/>
              <p:nvPr/>
            </p:nvSpPr>
            <p:spPr>
              <a:xfrm>
                <a:off x="17749650" y="11877704"/>
                <a:ext cx="48172" cy="14673"/>
              </a:xfrm>
              <a:custGeom>
                <a:avLst/>
                <a:gdLst>
                  <a:gd name="connsiteX0" fmla="*/ 44022 w 48172"/>
                  <a:gd name="connsiteY0" fmla="*/ 14674 h 14673"/>
                  <a:gd name="connsiteX1" fmla="*/ 44022 w 48172"/>
                  <a:gd name="connsiteY1" fmla="*/ 14674 h 14673"/>
                  <a:gd name="connsiteX2" fmla="*/ 5870 w 48172"/>
                  <a:gd name="connsiteY2" fmla="*/ 11739 h 14673"/>
                  <a:gd name="connsiteX3" fmla="*/ 0 w 48172"/>
                  <a:gd name="connsiteY3" fmla="*/ 5869 h 14673"/>
                  <a:gd name="connsiteX4" fmla="*/ 5870 w 48172"/>
                  <a:gd name="connsiteY4" fmla="*/ 0 h 14673"/>
                  <a:gd name="connsiteX5" fmla="*/ 41088 w 48172"/>
                  <a:gd name="connsiteY5" fmla="*/ 2935 h 14673"/>
                  <a:gd name="connsiteX6" fmla="*/ 46958 w 48172"/>
                  <a:gd name="connsiteY6" fmla="*/ 8804 h 14673"/>
                  <a:gd name="connsiteX7" fmla="*/ 44022 w 48172"/>
                  <a:gd name="connsiteY7" fmla="*/ 14674 h 14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172" h="14673">
                    <a:moveTo>
                      <a:pt x="44022" y="14674"/>
                    </a:moveTo>
                    <a:cubicBezTo>
                      <a:pt x="44022" y="14674"/>
                      <a:pt x="44022" y="14674"/>
                      <a:pt x="44022" y="14674"/>
                    </a:cubicBezTo>
                    <a:lnTo>
                      <a:pt x="5870" y="11739"/>
                    </a:lnTo>
                    <a:cubicBezTo>
                      <a:pt x="2936" y="11739"/>
                      <a:pt x="0" y="8804"/>
                      <a:pt x="0" y="5869"/>
                    </a:cubicBezTo>
                    <a:cubicBezTo>
                      <a:pt x="0" y="2935"/>
                      <a:pt x="2936" y="0"/>
                      <a:pt x="5870" y="0"/>
                    </a:cubicBezTo>
                    <a:lnTo>
                      <a:pt x="41088" y="2935"/>
                    </a:lnTo>
                    <a:cubicBezTo>
                      <a:pt x="44022" y="2935"/>
                      <a:pt x="46958" y="5869"/>
                      <a:pt x="46958" y="8804"/>
                    </a:cubicBezTo>
                    <a:cubicBezTo>
                      <a:pt x="49892" y="14674"/>
                      <a:pt x="46958" y="14674"/>
                      <a:pt x="44022" y="14674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F57E2FB2-3859-4117-917C-F4D8389CFCCE}"/>
                  </a:ext>
                </a:extLst>
              </p:cNvPr>
              <p:cNvSpPr/>
              <p:nvPr/>
            </p:nvSpPr>
            <p:spPr>
              <a:xfrm>
                <a:off x="17755520" y="11924661"/>
                <a:ext cx="46955" cy="14673"/>
              </a:xfrm>
              <a:custGeom>
                <a:avLst/>
                <a:gdLst>
                  <a:gd name="connsiteX0" fmla="*/ 41088 w 46955"/>
                  <a:gd name="connsiteY0" fmla="*/ 14674 h 14673"/>
                  <a:gd name="connsiteX1" fmla="*/ 41088 w 46955"/>
                  <a:gd name="connsiteY1" fmla="*/ 14674 h 14673"/>
                  <a:gd name="connsiteX2" fmla="*/ 5870 w 46955"/>
                  <a:gd name="connsiteY2" fmla="*/ 11739 h 14673"/>
                  <a:gd name="connsiteX3" fmla="*/ 0 w 46955"/>
                  <a:gd name="connsiteY3" fmla="*/ 5869 h 14673"/>
                  <a:gd name="connsiteX4" fmla="*/ 5870 w 46955"/>
                  <a:gd name="connsiteY4" fmla="*/ 0 h 14673"/>
                  <a:gd name="connsiteX5" fmla="*/ 41088 w 46955"/>
                  <a:gd name="connsiteY5" fmla="*/ 2934 h 14673"/>
                  <a:gd name="connsiteX6" fmla="*/ 46956 w 46955"/>
                  <a:gd name="connsiteY6" fmla="*/ 8804 h 14673"/>
                  <a:gd name="connsiteX7" fmla="*/ 41088 w 46955"/>
                  <a:gd name="connsiteY7" fmla="*/ 14674 h 14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955" h="14673">
                    <a:moveTo>
                      <a:pt x="41088" y="14674"/>
                    </a:moveTo>
                    <a:cubicBezTo>
                      <a:pt x="41088" y="14674"/>
                      <a:pt x="41088" y="14674"/>
                      <a:pt x="41088" y="14674"/>
                    </a:cubicBezTo>
                    <a:lnTo>
                      <a:pt x="5870" y="11739"/>
                    </a:lnTo>
                    <a:cubicBezTo>
                      <a:pt x="2934" y="11739"/>
                      <a:pt x="0" y="8804"/>
                      <a:pt x="0" y="5869"/>
                    </a:cubicBezTo>
                    <a:cubicBezTo>
                      <a:pt x="0" y="2934"/>
                      <a:pt x="2934" y="0"/>
                      <a:pt x="5870" y="0"/>
                    </a:cubicBezTo>
                    <a:lnTo>
                      <a:pt x="41088" y="2934"/>
                    </a:lnTo>
                    <a:cubicBezTo>
                      <a:pt x="44022" y="2934"/>
                      <a:pt x="46956" y="5869"/>
                      <a:pt x="46956" y="8804"/>
                    </a:cubicBezTo>
                    <a:cubicBezTo>
                      <a:pt x="44022" y="11739"/>
                      <a:pt x="44022" y="14674"/>
                      <a:pt x="41088" y="14674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9800072F-B300-485C-AC92-7C53646E101D}"/>
                </a:ext>
              </a:extLst>
            </p:cNvPr>
            <p:cNvGrpSpPr/>
            <p:nvPr/>
          </p:nvGrpSpPr>
          <p:grpSpPr>
            <a:xfrm>
              <a:off x="19012585" y="12033247"/>
              <a:ext cx="477391" cy="319891"/>
              <a:chOff x="19012585" y="12033247"/>
              <a:chExt cx="477391" cy="319891"/>
            </a:xfrm>
          </p:grpSpPr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4E843FE3-4B88-407A-B138-0C9B2A9B0FC3}"/>
                  </a:ext>
                </a:extLst>
              </p:cNvPr>
              <p:cNvSpPr/>
              <p:nvPr/>
            </p:nvSpPr>
            <p:spPr>
              <a:xfrm>
                <a:off x="19020411" y="12033247"/>
                <a:ext cx="211304" cy="205434"/>
              </a:xfrm>
              <a:custGeom>
                <a:avLst/>
                <a:gdLst>
                  <a:gd name="connsiteX0" fmla="*/ 0 w 211304"/>
                  <a:gd name="connsiteY0" fmla="*/ 167283 h 205434"/>
                  <a:gd name="connsiteX1" fmla="*/ 38154 w 211304"/>
                  <a:gd name="connsiteY1" fmla="*/ 0 h 205434"/>
                  <a:gd name="connsiteX2" fmla="*/ 211305 w 211304"/>
                  <a:gd name="connsiteY2" fmla="*/ 0 h 205434"/>
                  <a:gd name="connsiteX3" fmla="*/ 158479 w 211304"/>
                  <a:gd name="connsiteY3" fmla="*/ 179022 h 205434"/>
                  <a:gd name="connsiteX4" fmla="*/ 11740 w 211304"/>
                  <a:gd name="connsiteY4" fmla="*/ 205435 h 20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304" h="205434">
                    <a:moveTo>
                      <a:pt x="0" y="167283"/>
                    </a:moveTo>
                    <a:lnTo>
                      <a:pt x="38154" y="0"/>
                    </a:lnTo>
                    <a:lnTo>
                      <a:pt x="211305" y="0"/>
                    </a:lnTo>
                    <a:lnTo>
                      <a:pt x="158479" y="179022"/>
                    </a:lnTo>
                    <a:lnTo>
                      <a:pt x="11740" y="205435"/>
                    </a:ln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538D2177-7586-40BD-8DA5-C840F3775924}"/>
                  </a:ext>
                </a:extLst>
              </p:cNvPr>
              <p:cNvSpPr/>
              <p:nvPr/>
            </p:nvSpPr>
            <p:spPr>
              <a:xfrm>
                <a:off x="19012585" y="12156508"/>
                <a:ext cx="477390" cy="152608"/>
              </a:xfrm>
              <a:custGeom>
                <a:avLst/>
                <a:gdLst>
                  <a:gd name="connsiteX0" fmla="*/ 7826 w 477390"/>
                  <a:gd name="connsiteY0" fmla="*/ 44022 h 152608"/>
                  <a:gd name="connsiteX1" fmla="*/ 186849 w 477390"/>
                  <a:gd name="connsiteY1" fmla="*/ 0 h 152608"/>
                  <a:gd name="connsiteX2" fmla="*/ 315978 w 477390"/>
                  <a:gd name="connsiteY2" fmla="*/ 76305 h 152608"/>
                  <a:gd name="connsiteX3" fmla="*/ 477391 w 477390"/>
                  <a:gd name="connsiteY3" fmla="*/ 152608 h 152608"/>
                  <a:gd name="connsiteX4" fmla="*/ 7826 w 477390"/>
                  <a:gd name="connsiteY4" fmla="*/ 152608 h 152608"/>
                  <a:gd name="connsiteX5" fmla="*/ 7826 w 477390"/>
                  <a:gd name="connsiteY5" fmla="*/ 44022 h 152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7390" h="152608">
                    <a:moveTo>
                      <a:pt x="7826" y="44022"/>
                    </a:moveTo>
                    <a:cubicBezTo>
                      <a:pt x="7826" y="44022"/>
                      <a:pt x="128153" y="61631"/>
                      <a:pt x="186849" y="0"/>
                    </a:cubicBezTo>
                    <a:cubicBezTo>
                      <a:pt x="186849" y="0"/>
                      <a:pt x="271956" y="67500"/>
                      <a:pt x="315978" y="76305"/>
                    </a:cubicBezTo>
                    <a:cubicBezTo>
                      <a:pt x="360000" y="85109"/>
                      <a:pt x="465653" y="82174"/>
                      <a:pt x="477391" y="152608"/>
                    </a:cubicBezTo>
                    <a:lnTo>
                      <a:pt x="7826" y="152608"/>
                    </a:lnTo>
                    <a:cubicBezTo>
                      <a:pt x="7826" y="152608"/>
                      <a:pt x="-9782" y="93913"/>
                      <a:pt x="7826" y="44022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C9DD366A-7109-47E7-A404-3EA35113275B}"/>
                  </a:ext>
                </a:extLst>
              </p:cNvPr>
              <p:cNvSpPr/>
              <p:nvPr/>
            </p:nvSpPr>
            <p:spPr>
              <a:xfrm>
                <a:off x="19020411" y="12309117"/>
                <a:ext cx="469565" cy="44021"/>
              </a:xfrm>
              <a:custGeom>
                <a:avLst/>
                <a:gdLst>
                  <a:gd name="connsiteX0" fmla="*/ -1 w 469565"/>
                  <a:gd name="connsiteY0" fmla="*/ 0 h 44021"/>
                  <a:gd name="connsiteX1" fmla="*/ 469565 w 469565"/>
                  <a:gd name="connsiteY1" fmla="*/ 0 h 44021"/>
                  <a:gd name="connsiteX2" fmla="*/ 469565 w 469565"/>
                  <a:gd name="connsiteY2" fmla="*/ 44021 h 44021"/>
                  <a:gd name="connsiteX3" fmla="*/ -1 w 469565"/>
                  <a:gd name="connsiteY3" fmla="*/ 44021 h 44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9565" h="44021">
                    <a:moveTo>
                      <a:pt x="-1" y="0"/>
                    </a:moveTo>
                    <a:lnTo>
                      <a:pt x="469565" y="0"/>
                    </a:lnTo>
                    <a:lnTo>
                      <a:pt x="469565" y="44021"/>
                    </a:lnTo>
                    <a:lnTo>
                      <a:pt x="-1" y="44021"/>
                    </a:lnTo>
                    <a:close/>
                  </a:path>
                </a:pathLst>
              </a:custGeom>
              <a:solidFill>
                <a:srgbClr val="38333D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9F3000FA-7BC6-4BEF-8152-83CDFA597445}"/>
                  </a:ext>
                </a:extLst>
              </p:cNvPr>
              <p:cNvSpPr/>
              <p:nvPr/>
            </p:nvSpPr>
            <p:spPr>
              <a:xfrm>
                <a:off x="19014543" y="12148437"/>
                <a:ext cx="192961" cy="60896"/>
              </a:xfrm>
              <a:custGeom>
                <a:avLst/>
                <a:gdLst>
                  <a:gd name="connsiteX0" fmla="*/ 41086 w 192961"/>
                  <a:gd name="connsiteY0" fmla="*/ 60897 h 60896"/>
                  <a:gd name="connsiteX1" fmla="*/ 5868 w 192961"/>
                  <a:gd name="connsiteY1" fmla="*/ 57962 h 60896"/>
                  <a:gd name="connsiteX2" fmla="*/ 0 w 192961"/>
                  <a:gd name="connsiteY2" fmla="*/ 52093 h 60896"/>
                  <a:gd name="connsiteX3" fmla="*/ 5868 w 192961"/>
                  <a:gd name="connsiteY3" fmla="*/ 46223 h 60896"/>
                  <a:gd name="connsiteX4" fmla="*/ 181955 w 192961"/>
                  <a:gd name="connsiteY4" fmla="*/ 2201 h 60896"/>
                  <a:gd name="connsiteX5" fmla="*/ 190761 w 192961"/>
                  <a:gd name="connsiteY5" fmla="*/ 2201 h 60896"/>
                  <a:gd name="connsiteX6" fmla="*/ 190761 w 192961"/>
                  <a:gd name="connsiteY6" fmla="*/ 11006 h 60896"/>
                  <a:gd name="connsiteX7" fmla="*/ 41086 w 192961"/>
                  <a:gd name="connsiteY7" fmla="*/ 60897 h 60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961" h="60896">
                    <a:moveTo>
                      <a:pt x="41086" y="60897"/>
                    </a:moveTo>
                    <a:cubicBezTo>
                      <a:pt x="20542" y="60897"/>
                      <a:pt x="8804" y="57962"/>
                      <a:pt x="5868" y="57962"/>
                    </a:cubicBezTo>
                    <a:cubicBezTo>
                      <a:pt x="2934" y="57962"/>
                      <a:pt x="0" y="55028"/>
                      <a:pt x="0" y="52093"/>
                    </a:cubicBezTo>
                    <a:cubicBezTo>
                      <a:pt x="0" y="49158"/>
                      <a:pt x="2934" y="46223"/>
                      <a:pt x="5868" y="46223"/>
                    </a:cubicBezTo>
                    <a:cubicBezTo>
                      <a:pt x="5868" y="46223"/>
                      <a:pt x="114455" y="60897"/>
                      <a:pt x="181955" y="2201"/>
                    </a:cubicBezTo>
                    <a:cubicBezTo>
                      <a:pt x="184891" y="-734"/>
                      <a:pt x="187825" y="-734"/>
                      <a:pt x="190761" y="2201"/>
                    </a:cubicBezTo>
                    <a:cubicBezTo>
                      <a:pt x="193695" y="5136"/>
                      <a:pt x="193695" y="8071"/>
                      <a:pt x="190761" y="11006"/>
                    </a:cubicBezTo>
                    <a:cubicBezTo>
                      <a:pt x="143803" y="52093"/>
                      <a:pt x="79238" y="60897"/>
                      <a:pt x="41086" y="608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1534DFAE-8E60-451B-8CAE-368BCC57C56A}"/>
                  </a:ext>
                </a:extLst>
              </p:cNvPr>
              <p:cNvSpPr/>
              <p:nvPr/>
            </p:nvSpPr>
            <p:spPr>
              <a:xfrm>
                <a:off x="19203102" y="12171916"/>
                <a:ext cx="39619" cy="40353"/>
              </a:xfrm>
              <a:custGeom>
                <a:avLst/>
                <a:gdLst>
                  <a:gd name="connsiteX0" fmla="*/ 5136 w 39619"/>
                  <a:gd name="connsiteY0" fmla="*/ 40353 h 40353"/>
                  <a:gd name="connsiteX1" fmla="*/ 2202 w 39619"/>
                  <a:gd name="connsiteY1" fmla="*/ 37418 h 40353"/>
                  <a:gd name="connsiteX2" fmla="*/ 2202 w 39619"/>
                  <a:gd name="connsiteY2" fmla="*/ 28614 h 40353"/>
                  <a:gd name="connsiteX3" fmla="*/ 28614 w 39619"/>
                  <a:gd name="connsiteY3" fmla="*/ 2201 h 40353"/>
                  <a:gd name="connsiteX4" fmla="*/ 37418 w 39619"/>
                  <a:gd name="connsiteY4" fmla="*/ 2201 h 40353"/>
                  <a:gd name="connsiteX5" fmla="*/ 37418 w 39619"/>
                  <a:gd name="connsiteY5" fmla="*/ 11005 h 40353"/>
                  <a:gd name="connsiteX6" fmla="*/ 11006 w 39619"/>
                  <a:gd name="connsiteY6" fmla="*/ 37418 h 40353"/>
                  <a:gd name="connsiteX7" fmla="*/ 5136 w 39619"/>
                  <a:gd name="connsiteY7" fmla="*/ 40353 h 40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619" h="40353">
                    <a:moveTo>
                      <a:pt x="5136" y="40353"/>
                    </a:moveTo>
                    <a:cubicBezTo>
                      <a:pt x="5136" y="40353"/>
                      <a:pt x="2202" y="40353"/>
                      <a:pt x="2202" y="37418"/>
                    </a:cubicBezTo>
                    <a:cubicBezTo>
                      <a:pt x="-734" y="34483"/>
                      <a:pt x="-734" y="31549"/>
                      <a:pt x="2202" y="28614"/>
                    </a:cubicBezTo>
                    <a:lnTo>
                      <a:pt x="28614" y="2201"/>
                    </a:lnTo>
                    <a:cubicBezTo>
                      <a:pt x="31550" y="-734"/>
                      <a:pt x="34484" y="-734"/>
                      <a:pt x="37418" y="2201"/>
                    </a:cubicBezTo>
                    <a:cubicBezTo>
                      <a:pt x="40354" y="5135"/>
                      <a:pt x="40354" y="8070"/>
                      <a:pt x="37418" y="11005"/>
                    </a:cubicBezTo>
                    <a:lnTo>
                      <a:pt x="11006" y="37418"/>
                    </a:lnTo>
                    <a:cubicBezTo>
                      <a:pt x="8070" y="40353"/>
                      <a:pt x="8070" y="40353"/>
                      <a:pt x="5136" y="403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ABC3E856-1B39-4116-975B-DB03DE934BAB}"/>
                  </a:ext>
                </a:extLst>
              </p:cNvPr>
              <p:cNvSpPr/>
              <p:nvPr/>
            </p:nvSpPr>
            <p:spPr>
              <a:xfrm>
                <a:off x="19241253" y="12198329"/>
                <a:ext cx="36685" cy="40353"/>
              </a:xfrm>
              <a:custGeom>
                <a:avLst/>
                <a:gdLst>
                  <a:gd name="connsiteX0" fmla="*/ 5136 w 36685"/>
                  <a:gd name="connsiteY0" fmla="*/ 40353 h 40353"/>
                  <a:gd name="connsiteX1" fmla="*/ 2202 w 36685"/>
                  <a:gd name="connsiteY1" fmla="*/ 37418 h 40353"/>
                  <a:gd name="connsiteX2" fmla="*/ 2202 w 36685"/>
                  <a:gd name="connsiteY2" fmla="*/ 28614 h 40353"/>
                  <a:gd name="connsiteX3" fmla="*/ 25680 w 36685"/>
                  <a:gd name="connsiteY3" fmla="*/ 2201 h 40353"/>
                  <a:gd name="connsiteX4" fmla="*/ 34484 w 36685"/>
                  <a:gd name="connsiteY4" fmla="*/ 2201 h 40353"/>
                  <a:gd name="connsiteX5" fmla="*/ 34484 w 36685"/>
                  <a:gd name="connsiteY5" fmla="*/ 11005 h 40353"/>
                  <a:gd name="connsiteX6" fmla="*/ 11006 w 36685"/>
                  <a:gd name="connsiteY6" fmla="*/ 37418 h 40353"/>
                  <a:gd name="connsiteX7" fmla="*/ 5136 w 36685"/>
                  <a:gd name="connsiteY7" fmla="*/ 40353 h 40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685" h="40353">
                    <a:moveTo>
                      <a:pt x="5136" y="40353"/>
                    </a:moveTo>
                    <a:cubicBezTo>
                      <a:pt x="5136" y="40353"/>
                      <a:pt x="2202" y="40353"/>
                      <a:pt x="2202" y="37418"/>
                    </a:cubicBezTo>
                    <a:cubicBezTo>
                      <a:pt x="-734" y="34484"/>
                      <a:pt x="-734" y="31549"/>
                      <a:pt x="2202" y="28614"/>
                    </a:cubicBezTo>
                    <a:lnTo>
                      <a:pt x="25680" y="2201"/>
                    </a:lnTo>
                    <a:cubicBezTo>
                      <a:pt x="28614" y="-734"/>
                      <a:pt x="31550" y="-734"/>
                      <a:pt x="34484" y="2201"/>
                    </a:cubicBezTo>
                    <a:cubicBezTo>
                      <a:pt x="37420" y="5136"/>
                      <a:pt x="37420" y="8070"/>
                      <a:pt x="34484" y="11005"/>
                    </a:cubicBezTo>
                    <a:lnTo>
                      <a:pt x="11006" y="37418"/>
                    </a:lnTo>
                    <a:cubicBezTo>
                      <a:pt x="8072" y="40353"/>
                      <a:pt x="5136" y="40353"/>
                      <a:pt x="5136" y="403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96B8D958-CEED-48BD-9528-A475E27DF81D}"/>
                </a:ext>
              </a:extLst>
            </p:cNvPr>
            <p:cNvSpPr/>
            <p:nvPr/>
          </p:nvSpPr>
          <p:spPr>
            <a:xfrm>
              <a:off x="17679216" y="9896726"/>
              <a:ext cx="1744917" cy="2206955"/>
            </a:xfrm>
            <a:custGeom>
              <a:avLst/>
              <a:gdLst>
                <a:gd name="connsiteX0" fmla="*/ 1672826 w 1744917"/>
                <a:gd name="connsiteY0" fmla="*/ 14674 h 2206955"/>
                <a:gd name="connsiteX1" fmla="*/ 1737390 w 1744917"/>
                <a:gd name="connsiteY1" fmla="*/ 1341195 h 2206955"/>
                <a:gd name="connsiteX2" fmla="*/ 1596521 w 1744917"/>
                <a:gd name="connsiteY2" fmla="*/ 2206956 h 2206955"/>
                <a:gd name="connsiteX3" fmla="*/ 1311846 w 1744917"/>
                <a:gd name="connsiteY3" fmla="*/ 2206956 h 2206955"/>
                <a:gd name="connsiteX4" fmla="*/ 1350000 w 1744917"/>
                <a:gd name="connsiteY4" fmla="*/ 1364674 h 2206955"/>
                <a:gd name="connsiteX5" fmla="*/ 1194455 w 1744917"/>
                <a:gd name="connsiteY5" fmla="*/ 481304 h 2206955"/>
                <a:gd name="connsiteX6" fmla="*/ 942065 w 1744917"/>
                <a:gd name="connsiteY6" fmla="*/ 1370543 h 2206955"/>
                <a:gd name="connsiteX7" fmla="*/ 246521 w 1744917"/>
                <a:gd name="connsiteY7" fmla="*/ 2001521 h 2206955"/>
                <a:gd name="connsiteX8" fmla="*/ 0 w 1744917"/>
                <a:gd name="connsiteY8" fmla="*/ 1731522 h 2206955"/>
                <a:gd name="connsiteX9" fmla="*/ 557609 w 1744917"/>
                <a:gd name="connsiteY9" fmla="*/ 1194456 h 2206955"/>
                <a:gd name="connsiteX10" fmla="*/ 689674 w 1744917"/>
                <a:gd name="connsiteY10" fmla="*/ 0 h 2206955"/>
                <a:gd name="connsiteX11" fmla="*/ 1672826 w 1744917"/>
                <a:gd name="connsiteY11" fmla="*/ 14674 h 2206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44917" h="2206955">
                  <a:moveTo>
                    <a:pt x="1672826" y="14674"/>
                  </a:moveTo>
                  <a:cubicBezTo>
                    <a:pt x="1672826" y="14674"/>
                    <a:pt x="1772608" y="1038913"/>
                    <a:pt x="1737390" y="1341195"/>
                  </a:cubicBezTo>
                  <a:cubicBezTo>
                    <a:pt x="1708042" y="1602392"/>
                    <a:pt x="1596521" y="2206956"/>
                    <a:pt x="1596521" y="2206956"/>
                  </a:cubicBezTo>
                  <a:lnTo>
                    <a:pt x="1311846" y="2206956"/>
                  </a:lnTo>
                  <a:cubicBezTo>
                    <a:pt x="1311846" y="2206956"/>
                    <a:pt x="1355868" y="1461521"/>
                    <a:pt x="1350000" y="1364674"/>
                  </a:cubicBezTo>
                  <a:cubicBezTo>
                    <a:pt x="1344130" y="1229674"/>
                    <a:pt x="1209129" y="510652"/>
                    <a:pt x="1194455" y="481304"/>
                  </a:cubicBezTo>
                  <a:cubicBezTo>
                    <a:pt x="1182717" y="457826"/>
                    <a:pt x="977282" y="1320652"/>
                    <a:pt x="942065" y="1370543"/>
                  </a:cubicBezTo>
                  <a:lnTo>
                    <a:pt x="246521" y="2001521"/>
                  </a:lnTo>
                  <a:lnTo>
                    <a:pt x="0" y="1731522"/>
                  </a:lnTo>
                  <a:lnTo>
                    <a:pt x="557609" y="1194456"/>
                  </a:lnTo>
                  <a:cubicBezTo>
                    <a:pt x="557609" y="1194456"/>
                    <a:pt x="645652" y="93913"/>
                    <a:pt x="689674" y="0"/>
                  </a:cubicBezTo>
                  <a:cubicBezTo>
                    <a:pt x="1361738" y="26413"/>
                    <a:pt x="1672826" y="14674"/>
                    <a:pt x="1672826" y="14674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9AF03EFC-BC45-41AA-9A80-65D257CAFC92}"/>
                </a:ext>
              </a:extLst>
            </p:cNvPr>
            <p:cNvSpPr/>
            <p:nvPr/>
          </p:nvSpPr>
          <p:spPr>
            <a:xfrm>
              <a:off x="18867803" y="10028791"/>
              <a:ext cx="67499" cy="352173"/>
            </a:xfrm>
            <a:custGeom>
              <a:avLst/>
              <a:gdLst>
                <a:gd name="connsiteX0" fmla="*/ 5868 w 67499"/>
                <a:gd name="connsiteY0" fmla="*/ 352174 h 352173"/>
                <a:gd name="connsiteX1" fmla="*/ 5868 w 67499"/>
                <a:gd name="connsiteY1" fmla="*/ 352174 h 352173"/>
                <a:gd name="connsiteX2" fmla="*/ 0 w 67499"/>
                <a:gd name="connsiteY2" fmla="*/ 343369 h 352173"/>
                <a:gd name="connsiteX3" fmla="*/ 55760 w 67499"/>
                <a:gd name="connsiteY3" fmla="*/ 5869 h 352173"/>
                <a:gd name="connsiteX4" fmla="*/ 61630 w 67499"/>
                <a:gd name="connsiteY4" fmla="*/ 0 h 352173"/>
                <a:gd name="connsiteX5" fmla="*/ 67500 w 67499"/>
                <a:gd name="connsiteY5" fmla="*/ 5869 h 352173"/>
                <a:gd name="connsiteX6" fmla="*/ 11738 w 67499"/>
                <a:gd name="connsiteY6" fmla="*/ 346304 h 352173"/>
                <a:gd name="connsiteX7" fmla="*/ 5868 w 67499"/>
                <a:gd name="connsiteY7" fmla="*/ 352174 h 352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499" h="352173">
                  <a:moveTo>
                    <a:pt x="5868" y="352174"/>
                  </a:moveTo>
                  <a:cubicBezTo>
                    <a:pt x="5868" y="352174"/>
                    <a:pt x="5868" y="352174"/>
                    <a:pt x="5868" y="352174"/>
                  </a:cubicBezTo>
                  <a:cubicBezTo>
                    <a:pt x="0" y="349239"/>
                    <a:pt x="0" y="346304"/>
                    <a:pt x="0" y="343369"/>
                  </a:cubicBezTo>
                  <a:cubicBezTo>
                    <a:pt x="46956" y="234783"/>
                    <a:pt x="55760" y="8804"/>
                    <a:pt x="55760" y="5869"/>
                  </a:cubicBezTo>
                  <a:cubicBezTo>
                    <a:pt x="55760" y="2935"/>
                    <a:pt x="58696" y="0"/>
                    <a:pt x="61630" y="0"/>
                  </a:cubicBezTo>
                  <a:cubicBezTo>
                    <a:pt x="64564" y="0"/>
                    <a:pt x="67500" y="2935"/>
                    <a:pt x="67500" y="5869"/>
                  </a:cubicBezTo>
                  <a:cubicBezTo>
                    <a:pt x="67500" y="14674"/>
                    <a:pt x="58696" y="234783"/>
                    <a:pt x="11738" y="346304"/>
                  </a:cubicBezTo>
                  <a:cubicBezTo>
                    <a:pt x="11738" y="352174"/>
                    <a:pt x="8804" y="352174"/>
                    <a:pt x="5868" y="352174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6B104054-BDA3-417F-AEF2-7C322F7AEFF0}"/>
                </a:ext>
              </a:extLst>
            </p:cNvPr>
            <p:cNvSpPr/>
            <p:nvPr/>
          </p:nvSpPr>
          <p:spPr>
            <a:xfrm>
              <a:off x="18895935" y="9964225"/>
              <a:ext cx="150889" cy="343369"/>
            </a:xfrm>
            <a:custGeom>
              <a:avLst/>
              <a:gdLst>
                <a:gd name="connsiteX0" fmla="*/ 7084 w 150889"/>
                <a:gd name="connsiteY0" fmla="*/ 343370 h 343369"/>
                <a:gd name="connsiteX1" fmla="*/ 1216 w 150889"/>
                <a:gd name="connsiteY1" fmla="*/ 340435 h 343369"/>
                <a:gd name="connsiteX2" fmla="*/ 4150 w 150889"/>
                <a:gd name="connsiteY2" fmla="*/ 331631 h 343369"/>
                <a:gd name="connsiteX3" fmla="*/ 106868 w 150889"/>
                <a:gd name="connsiteY3" fmla="*/ 258261 h 343369"/>
                <a:gd name="connsiteX4" fmla="*/ 139149 w 150889"/>
                <a:gd name="connsiteY4" fmla="*/ 5870 h 343369"/>
                <a:gd name="connsiteX5" fmla="*/ 145019 w 150889"/>
                <a:gd name="connsiteY5" fmla="*/ 0 h 343369"/>
                <a:gd name="connsiteX6" fmla="*/ 150889 w 150889"/>
                <a:gd name="connsiteY6" fmla="*/ 5870 h 343369"/>
                <a:gd name="connsiteX7" fmla="*/ 118607 w 150889"/>
                <a:gd name="connsiteY7" fmla="*/ 264130 h 343369"/>
                <a:gd name="connsiteX8" fmla="*/ 12954 w 150889"/>
                <a:gd name="connsiteY8" fmla="*/ 340435 h 343369"/>
                <a:gd name="connsiteX9" fmla="*/ 7084 w 150889"/>
                <a:gd name="connsiteY9" fmla="*/ 343370 h 343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0889" h="343369">
                  <a:moveTo>
                    <a:pt x="7084" y="343370"/>
                  </a:moveTo>
                  <a:cubicBezTo>
                    <a:pt x="4150" y="343370"/>
                    <a:pt x="4150" y="343370"/>
                    <a:pt x="1216" y="340435"/>
                  </a:cubicBezTo>
                  <a:cubicBezTo>
                    <a:pt x="-1720" y="337500"/>
                    <a:pt x="1216" y="334565"/>
                    <a:pt x="4150" y="331631"/>
                  </a:cubicBezTo>
                  <a:cubicBezTo>
                    <a:pt x="42302" y="308152"/>
                    <a:pt x="98064" y="267065"/>
                    <a:pt x="106868" y="258261"/>
                  </a:cubicBezTo>
                  <a:cubicBezTo>
                    <a:pt x="115672" y="246522"/>
                    <a:pt x="130345" y="96848"/>
                    <a:pt x="139149" y="5870"/>
                  </a:cubicBezTo>
                  <a:cubicBezTo>
                    <a:pt x="139149" y="2935"/>
                    <a:pt x="142085" y="0"/>
                    <a:pt x="145019" y="0"/>
                  </a:cubicBezTo>
                  <a:cubicBezTo>
                    <a:pt x="147955" y="0"/>
                    <a:pt x="150889" y="2935"/>
                    <a:pt x="150889" y="5870"/>
                  </a:cubicBezTo>
                  <a:cubicBezTo>
                    <a:pt x="147955" y="46957"/>
                    <a:pt x="127411" y="249457"/>
                    <a:pt x="118607" y="264130"/>
                  </a:cubicBezTo>
                  <a:cubicBezTo>
                    <a:pt x="106868" y="278804"/>
                    <a:pt x="21758" y="334565"/>
                    <a:pt x="12954" y="340435"/>
                  </a:cubicBezTo>
                  <a:cubicBezTo>
                    <a:pt x="10020" y="343370"/>
                    <a:pt x="7084" y="343370"/>
                    <a:pt x="7084" y="343370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76D3D01A-1E2E-417E-924E-795E4A061EB9}"/>
                </a:ext>
              </a:extLst>
            </p:cNvPr>
            <p:cNvSpPr/>
            <p:nvPr/>
          </p:nvSpPr>
          <p:spPr>
            <a:xfrm>
              <a:off x="18230955" y="11079443"/>
              <a:ext cx="147954" cy="61630"/>
            </a:xfrm>
            <a:custGeom>
              <a:avLst/>
              <a:gdLst>
                <a:gd name="connsiteX0" fmla="*/ 44022 w 147954"/>
                <a:gd name="connsiteY0" fmla="*/ 61631 h 61630"/>
                <a:gd name="connsiteX1" fmla="*/ 41086 w 147954"/>
                <a:gd name="connsiteY1" fmla="*/ 58696 h 61630"/>
                <a:gd name="connsiteX2" fmla="*/ 0 w 147954"/>
                <a:gd name="connsiteY2" fmla="*/ 0 h 61630"/>
                <a:gd name="connsiteX3" fmla="*/ 143803 w 147954"/>
                <a:gd name="connsiteY3" fmla="*/ 26413 h 61630"/>
                <a:gd name="connsiteX4" fmla="*/ 146739 w 147954"/>
                <a:gd name="connsiteY4" fmla="*/ 32283 h 61630"/>
                <a:gd name="connsiteX5" fmla="*/ 140869 w 147954"/>
                <a:gd name="connsiteY5" fmla="*/ 35218 h 61630"/>
                <a:gd name="connsiteX6" fmla="*/ 20544 w 147954"/>
                <a:gd name="connsiteY6" fmla="*/ 14674 h 61630"/>
                <a:gd name="connsiteX7" fmla="*/ 46956 w 147954"/>
                <a:gd name="connsiteY7" fmla="*/ 52827 h 61630"/>
                <a:gd name="connsiteX8" fmla="*/ 46956 w 147954"/>
                <a:gd name="connsiteY8" fmla="*/ 61631 h 61630"/>
                <a:gd name="connsiteX9" fmla="*/ 44022 w 147954"/>
                <a:gd name="connsiteY9" fmla="*/ 61631 h 61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7954" h="61630">
                  <a:moveTo>
                    <a:pt x="44022" y="61631"/>
                  </a:moveTo>
                  <a:cubicBezTo>
                    <a:pt x="41086" y="61631"/>
                    <a:pt x="41086" y="61631"/>
                    <a:pt x="41086" y="58696"/>
                  </a:cubicBezTo>
                  <a:lnTo>
                    <a:pt x="0" y="0"/>
                  </a:lnTo>
                  <a:lnTo>
                    <a:pt x="143803" y="26413"/>
                  </a:lnTo>
                  <a:cubicBezTo>
                    <a:pt x="146739" y="26413"/>
                    <a:pt x="149673" y="29348"/>
                    <a:pt x="146739" y="32283"/>
                  </a:cubicBezTo>
                  <a:cubicBezTo>
                    <a:pt x="146739" y="35218"/>
                    <a:pt x="143803" y="38153"/>
                    <a:pt x="140869" y="35218"/>
                  </a:cubicBezTo>
                  <a:lnTo>
                    <a:pt x="20544" y="14674"/>
                  </a:lnTo>
                  <a:lnTo>
                    <a:pt x="46956" y="52827"/>
                  </a:lnTo>
                  <a:cubicBezTo>
                    <a:pt x="49892" y="55761"/>
                    <a:pt x="46956" y="58696"/>
                    <a:pt x="46956" y="61631"/>
                  </a:cubicBezTo>
                  <a:cubicBezTo>
                    <a:pt x="44022" y="61631"/>
                    <a:pt x="44022" y="61631"/>
                    <a:pt x="44022" y="61631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F86EFE46-B0A1-4B0F-A2EC-C8586702B854}"/>
                </a:ext>
              </a:extLst>
            </p:cNvPr>
            <p:cNvSpPr/>
            <p:nvPr/>
          </p:nvSpPr>
          <p:spPr>
            <a:xfrm>
              <a:off x="19184047" y="8584878"/>
              <a:ext cx="981160" cy="693070"/>
            </a:xfrm>
            <a:custGeom>
              <a:avLst/>
              <a:gdLst>
                <a:gd name="connsiteX0" fmla="*/ 15387 w 981160"/>
                <a:gd name="connsiteY0" fmla="*/ 123261 h 693070"/>
                <a:gd name="connsiteX1" fmla="*/ 423320 w 981160"/>
                <a:gd name="connsiteY1" fmla="*/ 211305 h 693070"/>
                <a:gd name="connsiteX2" fmla="*/ 763756 w 981160"/>
                <a:gd name="connsiteY2" fmla="*/ 440217 h 693070"/>
                <a:gd name="connsiteX3" fmla="*/ 878212 w 981160"/>
                <a:gd name="connsiteY3" fmla="*/ 0 h 693070"/>
                <a:gd name="connsiteX4" fmla="*/ 980929 w 981160"/>
                <a:gd name="connsiteY4" fmla="*/ 82174 h 693070"/>
                <a:gd name="connsiteX5" fmla="*/ 898755 w 981160"/>
                <a:gd name="connsiteY5" fmla="*/ 677935 h 693070"/>
                <a:gd name="connsiteX6" fmla="*/ 15387 w 981160"/>
                <a:gd name="connsiteY6" fmla="*/ 123261 h 69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81160" h="693070">
                  <a:moveTo>
                    <a:pt x="15387" y="123261"/>
                  </a:moveTo>
                  <a:cubicBezTo>
                    <a:pt x="77016" y="29348"/>
                    <a:pt x="326473" y="161413"/>
                    <a:pt x="423320" y="211305"/>
                  </a:cubicBezTo>
                  <a:cubicBezTo>
                    <a:pt x="508430" y="255326"/>
                    <a:pt x="763756" y="440217"/>
                    <a:pt x="763756" y="440217"/>
                  </a:cubicBezTo>
                  <a:lnTo>
                    <a:pt x="878212" y="0"/>
                  </a:lnTo>
                  <a:lnTo>
                    <a:pt x="980929" y="82174"/>
                  </a:lnTo>
                  <a:cubicBezTo>
                    <a:pt x="980929" y="82174"/>
                    <a:pt x="989735" y="619239"/>
                    <a:pt x="898755" y="677935"/>
                  </a:cubicBezTo>
                  <a:cubicBezTo>
                    <a:pt x="743212" y="780652"/>
                    <a:pt x="-125483" y="334566"/>
                    <a:pt x="15387" y="123261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351C4083-8278-40B7-BA5E-614B98E4E14A}"/>
                </a:ext>
              </a:extLst>
            </p:cNvPr>
            <p:cNvSpPr/>
            <p:nvPr/>
          </p:nvSpPr>
          <p:spPr>
            <a:xfrm>
              <a:off x="18750412" y="8311943"/>
              <a:ext cx="240650" cy="248585"/>
            </a:xfrm>
            <a:custGeom>
              <a:avLst/>
              <a:gdLst>
                <a:gd name="connsiteX0" fmla="*/ 240651 w 240650"/>
                <a:gd name="connsiteY0" fmla="*/ 38152 h 248585"/>
                <a:gd name="connsiteX1" fmla="*/ 234783 w 240650"/>
                <a:gd name="connsiteY1" fmla="*/ 205435 h 248585"/>
                <a:gd name="connsiteX2" fmla="*/ 0 w 240650"/>
                <a:gd name="connsiteY2" fmla="*/ 196630 h 248585"/>
                <a:gd name="connsiteX3" fmla="*/ 14674 w 240650"/>
                <a:gd name="connsiteY3" fmla="*/ 0 h 248585"/>
                <a:gd name="connsiteX4" fmla="*/ 240651 w 240650"/>
                <a:gd name="connsiteY4" fmla="*/ 38152 h 248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650" h="248585">
                  <a:moveTo>
                    <a:pt x="240651" y="38152"/>
                  </a:moveTo>
                  <a:cubicBezTo>
                    <a:pt x="240651" y="38152"/>
                    <a:pt x="234783" y="135000"/>
                    <a:pt x="234783" y="205435"/>
                  </a:cubicBezTo>
                  <a:cubicBezTo>
                    <a:pt x="234783" y="205435"/>
                    <a:pt x="143803" y="308152"/>
                    <a:pt x="0" y="196630"/>
                  </a:cubicBezTo>
                  <a:cubicBezTo>
                    <a:pt x="0" y="137935"/>
                    <a:pt x="11738" y="61630"/>
                    <a:pt x="14674" y="0"/>
                  </a:cubicBezTo>
                  <a:cubicBezTo>
                    <a:pt x="14674" y="0"/>
                    <a:pt x="190761" y="49891"/>
                    <a:pt x="240651" y="38152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B986519A-85DD-494A-9660-C80C5F99BFF0}"/>
                </a:ext>
              </a:extLst>
            </p:cNvPr>
            <p:cNvSpPr/>
            <p:nvPr/>
          </p:nvSpPr>
          <p:spPr>
            <a:xfrm>
              <a:off x="18677043" y="8194552"/>
              <a:ext cx="64563" cy="134999"/>
            </a:xfrm>
            <a:custGeom>
              <a:avLst/>
              <a:gdLst>
                <a:gd name="connsiteX0" fmla="*/ 0 w 64563"/>
                <a:gd name="connsiteY0" fmla="*/ 0 h 134999"/>
                <a:gd name="connsiteX1" fmla="*/ 58696 w 64563"/>
                <a:gd name="connsiteY1" fmla="*/ 135000 h 134999"/>
                <a:gd name="connsiteX2" fmla="*/ 64564 w 64563"/>
                <a:gd name="connsiteY2" fmla="*/ 52826 h 134999"/>
                <a:gd name="connsiteX3" fmla="*/ 0 w 64563"/>
                <a:gd name="connsiteY3" fmla="*/ 0 h 13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563" h="134999">
                  <a:moveTo>
                    <a:pt x="0" y="0"/>
                  </a:moveTo>
                  <a:cubicBezTo>
                    <a:pt x="0" y="0"/>
                    <a:pt x="8804" y="114456"/>
                    <a:pt x="58696" y="135000"/>
                  </a:cubicBezTo>
                  <a:lnTo>
                    <a:pt x="64564" y="5282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A17E5B54-2DD8-4856-B249-84965B884782}"/>
                </a:ext>
              </a:extLst>
            </p:cNvPr>
            <p:cNvSpPr/>
            <p:nvPr/>
          </p:nvSpPr>
          <p:spPr>
            <a:xfrm>
              <a:off x="19023952" y="8012595"/>
              <a:ext cx="99817" cy="228893"/>
            </a:xfrm>
            <a:custGeom>
              <a:avLst/>
              <a:gdLst>
                <a:gd name="connsiteX0" fmla="*/ 96242 w 99817"/>
                <a:gd name="connsiteY0" fmla="*/ 0 h 228893"/>
                <a:gd name="connsiteX1" fmla="*/ 46350 w 99817"/>
                <a:gd name="connsiteY1" fmla="*/ 225979 h 228893"/>
                <a:gd name="connsiteX2" fmla="*/ 2328 w 99817"/>
                <a:gd name="connsiteY2" fmla="*/ 11739 h 228893"/>
                <a:gd name="connsiteX3" fmla="*/ 96242 w 99817"/>
                <a:gd name="connsiteY3" fmla="*/ 0 h 228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817" h="228893">
                  <a:moveTo>
                    <a:pt x="96242" y="0"/>
                  </a:moveTo>
                  <a:cubicBezTo>
                    <a:pt x="96242" y="0"/>
                    <a:pt x="119720" y="187826"/>
                    <a:pt x="46350" y="225979"/>
                  </a:cubicBezTo>
                  <a:cubicBezTo>
                    <a:pt x="-15280" y="258261"/>
                    <a:pt x="2328" y="11739"/>
                    <a:pt x="2328" y="11739"/>
                  </a:cubicBezTo>
                  <a:lnTo>
                    <a:pt x="96242" y="0"/>
                  </a:lnTo>
                  <a:close/>
                </a:path>
              </a:pathLst>
            </a:custGeom>
            <a:solidFill>
              <a:srgbClr val="664241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13871C65-3ABC-4B08-A52F-BCAB468B33A2}"/>
                </a:ext>
              </a:extLst>
            </p:cNvPr>
            <p:cNvSpPr/>
            <p:nvPr/>
          </p:nvSpPr>
          <p:spPr>
            <a:xfrm>
              <a:off x="18682911" y="7871246"/>
              <a:ext cx="403660" cy="549429"/>
            </a:xfrm>
            <a:custGeom>
              <a:avLst/>
              <a:gdLst>
                <a:gd name="connsiteX0" fmla="*/ 399132 w 403660"/>
                <a:gd name="connsiteY0" fmla="*/ 182436 h 549429"/>
                <a:gd name="connsiteX1" fmla="*/ 390328 w 403660"/>
                <a:gd name="connsiteY1" fmla="*/ 423088 h 549429"/>
                <a:gd name="connsiteX2" fmla="*/ 231849 w 403660"/>
                <a:gd name="connsiteY2" fmla="*/ 549284 h 549429"/>
                <a:gd name="connsiteX3" fmla="*/ 29348 w 403660"/>
                <a:gd name="connsiteY3" fmla="*/ 402544 h 549429"/>
                <a:gd name="connsiteX4" fmla="*/ 0 w 403660"/>
                <a:gd name="connsiteY4" fmla="*/ 185370 h 549429"/>
                <a:gd name="connsiteX5" fmla="*/ 211305 w 403660"/>
                <a:gd name="connsiteY5" fmla="*/ 479 h 549429"/>
                <a:gd name="connsiteX6" fmla="*/ 399132 w 403660"/>
                <a:gd name="connsiteY6" fmla="*/ 182436 h 549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660" h="549429">
                  <a:moveTo>
                    <a:pt x="399132" y="182436"/>
                  </a:moveTo>
                  <a:cubicBezTo>
                    <a:pt x="399132" y="182436"/>
                    <a:pt x="413805" y="352653"/>
                    <a:pt x="390328" y="423088"/>
                  </a:cubicBezTo>
                  <a:cubicBezTo>
                    <a:pt x="369784" y="484718"/>
                    <a:pt x="281740" y="546349"/>
                    <a:pt x="231849" y="549284"/>
                  </a:cubicBezTo>
                  <a:cubicBezTo>
                    <a:pt x="167283" y="552218"/>
                    <a:pt x="55762" y="511131"/>
                    <a:pt x="29348" y="402544"/>
                  </a:cubicBezTo>
                  <a:cubicBezTo>
                    <a:pt x="11740" y="332109"/>
                    <a:pt x="0" y="235262"/>
                    <a:pt x="0" y="185370"/>
                  </a:cubicBezTo>
                  <a:cubicBezTo>
                    <a:pt x="5870" y="94392"/>
                    <a:pt x="32284" y="18088"/>
                    <a:pt x="211305" y="479"/>
                  </a:cubicBezTo>
                  <a:cubicBezTo>
                    <a:pt x="293478" y="-8325"/>
                    <a:pt x="381522" y="106131"/>
                    <a:pt x="399132" y="182436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C08BE48E-ADF6-4F05-BF2B-A473026547C4}"/>
                </a:ext>
              </a:extLst>
            </p:cNvPr>
            <p:cNvSpPr/>
            <p:nvPr/>
          </p:nvSpPr>
          <p:spPr>
            <a:xfrm>
              <a:off x="18895935" y="8129986"/>
              <a:ext cx="56975" cy="129130"/>
            </a:xfrm>
            <a:custGeom>
              <a:avLst/>
              <a:gdLst>
                <a:gd name="connsiteX0" fmla="*/ 30564 w 56975"/>
                <a:gd name="connsiteY0" fmla="*/ 129131 h 129130"/>
                <a:gd name="connsiteX1" fmla="*/ 4150 w 56975"/>
                <a:gd name="connsiteY1" fmla="*/ 126196 h 129130"/>
                <a:gd name="connsiteX2" fmla="*/ 1216 w 56975"/>
                <a:gd name="connsiteY2" fmla="*/ 120326 h 129130"/>
                <a:gd name="connsiteX3" fmla="*/ 7084 w 56975"/>
                <a:gd name="connsiteY3" fmla="*/ 117391 h 129130"/>
                <a:gd name="connsiteX4" fmla="*/ 45238 w 56975"/>
                <a:gd name="connsiteY4" fmla="*/ 117391 h 129130"/>
                <a:gd name="connsiteX5" fmla="*/ 45238 w 56975"/>
                <a:gd name="connsiteY5" fmla="*/ 114457 h 129130"/>
                <a:gd name="connsiteX6" fmla="*/ 33498 w 56975"/>
                <a:gd name="connsiteY6" fmla="*/ 5870 h 129130"/>
                <a:gd name="connsiteX7" fmla="*/ 39368 w 56975"/>
                <a:gd name="connsiteY7" fmla="*/ 0 h 129130"/>
                <a:gd name="connsiteX8" fmla="*/ 45238 w 56975"/>
                <a:gd name="connsiteY8" fmla="*/ 5870 h 129130"/>
                <a:gd name="connsiteX9" fmla="*/ 56976 w 56975"/>
                <a:gd name="connsiteY9" fmla="*/ 114457 h 129130"/>
                <a:gd name="connsiteX10" fmla="*/ 51106 w 56975"/>
                <a:gd name="connsiteY10" fmla="*/ 126196 h 129130"/>
                <a:gd name="connsiteX11" fmla="*/ 30564 w 56975"/>
                <a:gd name="connsiteY11" fmla="*/ 129131 h 129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975" h="129130">
                  <a:moveTo>
                    <a:pt x="30564" y="129131"/>
                  </a:moveTo>
                  <a:cubicBezTo>
                    <a:pt x="18824" y="129131"/>
                    <a:pt x="7084" y="126196"/>
                    <a:pt x="4150" y="126196"/>
                  </a:cubicBezTo>
                  <a:cubicBezTo>
                    <a:pt x="1216" y="126196"/>
                    <a:pt x="-1720" y="123261"/>
                    <a:pt x="1216" y="120326"/>
                  </a:cubicBezTo>
                  <a:cubicBezTo>
                    <a:pt x="1216" y="117391"/>
                    <a:pt x="4150" y="114457"/>
                    <a:pt x="7084" y="117391"/>
                  </a:cubicBezTo>
                  <a:cubicBezTo>
                    <a:pt x="18824" y="120326"/>
                    <a:pt x="39368" y="123261"/>
                    <a:pt x="45238" y="117391"/>
                  </a:cubicBezTo>
                  <a:cubicBezTo>
                    <a:pt x="45238" y="117391"/>
                    <a:pt x="45238" y="114457"/>
                    <a:pt x="45238" y="114457"/>
                  </a:cubicBezTo>
                  <a:cubicBezTo>
                    <a:pt x="45238" y="96848"/>
                    <a:pt x="33498" y="5870"/>
                    <a:pt x="33498" y="5870"/>
                  </a:cubicBezTo>
                  <a:cubicBezTo>
                    <a:pt x="33498" y="2935"/>
                    <a:pt x="36432" y="0"/>
                    <a:pt x="39368" y="0"/>
                  </a:cubicBezTo>
                  <a:cubicBezTo>
                    <a:pt x="42302" y="0"/>
                    <a:pt x="45238" y="2935"/>
                    <a:pt x="45238" y="5870"/>
                  </a:cubicBezTo>
                  <a:cubicBezTo>
                    <a:pt x="45238" y="8804"/>
                    <a:pt x="56976" y="96848"/>
                    <a:pt x="56976" y="114457"/>
                  </a:cubicBezTo>
                  <a:cubicBezTo>
                    <a:pt x="56976" y="120326"/>
                    <a:pt x="54042" y="123261"/>
                    <a:pt x="51106" y="126196"/>
                  </a:cubicBezTo>
                  <a:cubicBezTo>
                    <a:pt x="45238" y="129131"/>
                    <a:pt x="36432" y="129131"/>
                    <a:pt x="30564" y="129131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F699ECA5-5050-4F12-AFD2-3A6B8650335B}"/>
                </a:ext>
              </a:extLst>
            </p:cNvPr>
            <p:cNvSpPr/>
            <p:nvPr/>
          </p:nvSpPr>
          <p:spPr>
            <a:xfrm>
              <a:off x="18864868" y="8306073"/>
              <a:ext cx="102717" cy="52944"/>
            </a:xfrm>
            <a:custGeom>
              <a:avLst/>
              <a:gdLst>
                <a:gd name="connsiteX0" fmla="*/ 102717 w 102717"/>
                <a:gd name="connsiteY0" fmla="*/ 2935 h 52944"/>
                <a:gd name="connsiteX1" fmla="*/ 0 w 102717"/>
                <a:gd name="connsiteY1" fmla="*/ 0 h 52944"/>
                <a:gd name="connsiteX2" fmla="*/ 49892 w 102717"/>
                <a:gd name="connsiteY2" fmla="*/ 52826 h 52944"/>
                <a:gd name="connsiteX3" fmla="*/ 102717 w 102717"/>
                <a:gd name="connsiteY3" fmla="*/ 2935 h 52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717" h="52944">
                  <a:moveTo>
                    <a:pt x="102717" y="2935"/>
                  </a:moveTo>
                  <a:cubicBezTo>
                    <a:pt x="102717" y="2935"/>
                    <a:pt x="49892" y="14674"/>
                    <a:pt x="0" y="0"/>
                  </a:cubicBezTo>
                  <a:cubicBezTo>
                    <a:pt x="0" y="0"/>
                    <a:pt x="0" y="49892"/>
                    <a:pt x="49892" y="52826"/>
                  </a:cubicBezTo>
                  <a:cubicBezTo>
                    <a:pt x="88043" y="55761"/>
                    <a:pt x="102717" y="2935"/>
                    <a:pt x="102717" y="2935"/>
                  </a:cubicBezTo>
                  <a:close/>
                </a:path>
              </a:pathLst>
            </a:custGeom>
            <a:solidFill>
              <a:srgbClr val="FFFFFF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D215EDE3-F99E-4E4C-AB5A-00FD6D98BCB5}"/>
                </a:ext>
              </a:extLst>
            </p:cNvPr>
            <p:cNvSpPr/>
            <p:nvPr/>
          </p:nvSpPr>
          <p:spPr>
            <a:xfrm>
              <a:off x="18985195" y="8105760"/>
              <a:ext cx="38899" cy="39647"/>
            </a:xfrm>
            <a:custGeom>
              <a:avLst/>
              <a:gdLst>
                <a:gd name="connsiteX0" fmla="*/ 0 w 38899"/>
                <a:gd name="connsiteY0" fmla="*/ 24226 h 39647"/>
                <a:gd name="connsiteX1" fmla="*/ 23478 w 38899"/>
                <a:gd name="connsiteY1" fmla="*/ 38900 h 39647"/>
                <a:gd name="connsiteX2" fmla="*/ 38152 w 38899"/>
                <a:gd name="connsiteY2" fmla="*/ 15422 h 39647"/>
                <a:gd name="connsiteX3" fmla="*/ 14674 w 38899"/>
                <a:gd name="connsiteY3" fmla="*/ 748 h 39647"/>
                <a:gd name="connsiteX4" fmla="*/ 0 w 38899"/>
                <a:gd name="connsiteY4" fmla="*/ 24226 h 39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899" h="39647">
                  <a:moveTo>
                    <a:pt x="0" y="24226"/>
                  </a:moveTo>
                  <a:cubicBezTo>
                    <a:pt x="2934" y="35965"/>
                    <a:pt x="11738" y="41835"/>
                    <a:pt x="23478" y="38900"/>
                  </a:cubicBezTo>
                  <a:cubicBezTo>
                    <a:pt x="35216" y="35965"/>
                    <a:pt x="41086" y="27161"/>
                    <a:pt x="38152" y="15422"/>
                  </a:cubicBezTo>
                  <a:cubicBezTo>
                    <a:pt x="35216" y="3682"/>
                    <a:pt x="26412" y="-2187"/>
                    <a:pt x="14674" y="748"/>
                  </a:cubicBezTo>
                  <a:cubicBezTo>
                    <a:pt x="5868" y="3682"/>
                    <a:pt x="0" y="15422"/>
                    <a:pt x="0" y="24226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66726AAC-03AA-4AD4-AE2D-DD86B0EA3BB7}"/>
                </a:ext>
              </a:extLst>
            </p:cNvPr>
            <p:cNvSpPr/>
            <p:nvPr/>
          </p:nvSpPr>
          <p:spPr>
            <a:xfrm>
              <a:off x="18808532" y="8117499"/>
              <a:ext cx="39475" cy="39647"/>
            </a:xfrm>
            <a:custGeom>
              <a:avLst/>
              <a:gdLst>
                <a:gd name="connsiteX0" fmla="*/ 576 w 39475"/>
                <a:gd name="connsiteY0" fmla="*/ 24226 h 39647"/>
                <a:gd name="connsiteX1" fmla="*/ 24054 w 39475"/>
                <a:gd name="connsiteY1" fmla="*/ 38900 h 39647"/>
                <a:gd name="connsiteX2" fmla="*/ 38728 w 39475"/>
                <a:gd name="connsiteY2" fmla="*/ 15422 h 39647"/>
                <a:gd name="connsiteX3" fmla="*/ 15250 w 39475"/>
                <a:gd name="connsiteY3" fmla="*/ 748 h 39647"/>
                <a:gd name="connsiteX4" fmla="*/ 576 w 39475"/>
                <a:gd name="connsiteY4" fmla="*/ 24226 h 39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75" h="39647">
                  <a:moveTo>
                    <a:pt x="576" y="24226"/>
                  </a:moveTo>
                  <a:cubicBezTo>
                    <a:pt x="3510" y="35965"/>
                    <a:pt x="12314" y="41835"/>
                    <a:pt x="24054" y="38900"/>
                  </a:cubicBezTo>
                  <a:cubicBezTo>
                    <a:pt x="35792" y="35965"/>
                    <a:pt x="41662" y="27161"/>
                    <a:pt x="38728" y="15422"/>
                  </a:cubicBezTo>
                  <a:cubicBezTo>
                    <a:pt x="35792" y="3683"/>
                    <a:pt x="26988" y="-2187"/>
                    <a:pt x="15250" y="748"/>
                  </a:cubicBezTo>
                  <a:cubicBezTo>
                    <a:pt x="6444" y="3683"/>
                    <a:pt x="-2360" y="15422"/>
                    <a:pt x="576" y="24226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A14FD534-94FD-4792-981B-32FABE4F263B}"/>
                </a:ext>
              </a:extLst>
            </p:cNvPr>
            <p:cNvSpPr/>
            <p:nvPr/>
          </p:nvSpPr>
          <p:spPr>
            <a:xfrm>
              <a:off x="18963435" y="8062832"/>
              <a:ext cx="88525" cy="31937"/>
            </a:xfrm>
            <a:custGeom>
              <a:avLst/>
              <a:gdLst>
                <a:gd name="connsiteX0" fmla="*/ 80456 w 88525"/>
                <a:gd name="connsiteY0" fmla="*/ 31937 h 31937"/>
                <a:gd name="connsiteX1" fmla="*/ 74586 w 88525"/>
                <a:gd name="connsiteY1" fmla="*/ 29003 h 31937"/>
                <a:gd name="connsiteX2" fmla="*/ 10020 w 88525"/>
                <a:gd name="connsiteY2" fmla="*/ 20198 h 31937"/>
                <a:gd name="connsiteX3" fmla="*/ 1216 w 88525"/>
                <a:gd name="connsiteY3" fmla="*/ 17263 h 31937"/>
                <a:gd name="connsiteX4" fmla="*/ 4150 w 88525"/>
                <a:gd name="connsiteY4" fmla="*/ 8459 h 31937"/>
                <a:gd name="connsiteX5" fmla="*/ 86324 w 88525"/>
                <a:gd name="connsiteY5" fmla="*/ 20198 h 31937"/>
                <a:gd name="connsiteX6" fmla="*/ 86324 w 88525"/>
                <a:gd name="connsiteY6" fmla="*/ 31937 h 31937"/>
                <a:gd name="connsiteX7" fmla="*/ 80456 w 88525"/>
                <a:gd name="connsiteY7" fmla="*/ 31937 h 31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1937">
                  <a:moveTo>
                    <a:pt x="80456" y="31937"/>
                  </a:moveTo>
                  <a:cubicBezTo>
                    <a:pt x="77520" y="31937"/>
                    <a:pt x="77520" y="31937"/>
                    <a:pt x="74586" y="29003"/>
                  </a:cubicBezTo>
                  <a:cubicBezTo>
                    <a:pt x="51108" y="2589"/>
                    <a:pt x="12954" y="20198"/>
                    <a:pt x="10020" y="20198"/>
                  </a:cubicBezTo>
                  <a:cubicBezTo>
                    <a:pt x="7086" y="23133"/>
                    <a:pt x="1216" y="20198"/>
                    <a:pt x="1216" y="17263"/>
                  </a:cubicBezTo>
                  <a:cubicBezTo>
                    <a:pt x="-1720" y="14329"/>
                    <a:pt x="1216" y="8459"/>
                    <a:pt x="4150" y="8459"/>
                  </a:cubicBezTo>
                  <a:cubicBezTo>
                    <a:pt x="21760" y="-345"/>
                    <a:pt x="59912" y="-9150"/>
                    <a:pt x="86324" y="20198"/>
                  </a:cubicBezTo>
                  <a:cubicBezTo>
                    <a:pt x="89260" y="23133"/>
                    <a:pt x="89260" y="29003"/>
                    <a:pt x="86324" y="31937"/>
                  </a:cubicBezTo>
                  <a:cubicBezTo>
                    <a:pt x="83390" y="31937"/>
                    <a:pt x="80456" y="31937"/>
                    <a:pt x="80456" y="31937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56D20660-6908-4A89-B805-ECE44145BD97}"/>
                </a:ext>
              </a:extLst>
            </p:cNvPr>
            <p:cNvSpPr/>
            <p:nvPr/>
          </p:nvSpPr>
          <p:spPr>
            <a:xfrm>
              <a:off x="18777558" y="8056783"/>
              <a:ext cx="87309" cy="32116"/>
            </a:xfrm>
            <a:custGeom>
              <a:avLst/>
              <a:gdLst>
                <a:gd name="connsiteX0" fmla="*/ 8070 w 87309"/>
                <a:gd name="connsiteY0" fmla="*/ 32116 h 32116"/>
                <a:gd name="connsiteX1" fmla="*/ 2202 w 87309"/>
                <a:gd name="connsiteY1" fmla="*/ 29181 h 32116"/>
                <a:gd name="connsiteX2" fmla="*/ 2202 w 87309"/>
                <a:gd name="connsiteY2" fmla="*/ 17442 h 32116"/>
                <a:gd name="connsiteX3" fmla="*/ 84375 w 87309"/>
                <a:gd name="connsiteY3" fmla="*/ 11573 h 32116"/>
                <a:gd name="connsiteX4" fmla="*/ 87310 w 87309"/>
                <a:gd name="connsiteY4" fmla="*/ 23312 h 32116"/>
                <a:gd name="connsiteX5" fmla="*/ 75571 w 87309"/>
                <a:gd name="connsiteY5" fmla="*/ 26247 h 32116"/>
                <a:gd name="connsiteX6" fmla="*/ 11006 w 87309"/>
                <a:gd name="connsiteY6" fmla="*/ 29181 h 32116"/>
                <a:gd name="connsiteX7" fmla="*/ 8070 w 87309"/>
                <a:gd name="connsiteY7" fmla="*/ 32116 h 32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309" h="32116">
                  <a:moveTo>
                    <a:pt x="8070" y="32116"/>
                  </a:moveTo>
                  <a:cubicBezTo>
                    <a:pt x="5136" y="32116"/>
                    <a:pt x="5136" y="32116"/>
                    <a:pt x="2202" y="29181"/>
                  </a:cubicBezTo>
                  <a:cubicBezTo>
                    <a:pt x="-734" y="26247"/>
                    <a:pt x="-734" y="20377"/>
                    <a:pt x="2202" y="17442"/>
                  </a:cubicBezTo>
                  <a:cubicBezTo>
                    <a:pt x="16876" y="5703"/>
                    <a:pt x="49158" y="-11906"/>
                    <a:pt x="84375" y="11573"/>
                  </a:cubicBezTo>
                  <a:cubicBezTo>
                    <a:pt x="87310" y="14507"/>
                    <a:pt x="87310" y="17442"/>
                    <a:pt x="87310" y="23312"/>
                  </a:cubicBezTo>
                  <a:cubicBezTo>
                    <a:pt x="84375" y="26247"/>
                    <a:pt x="81440" y="26247"/>
                    <a:pt x="75571" y="26247"/>
                  </a:cubicBezTo>
                  <a:cubicBezTo>
                    <a:pt x="43288" y="2768"/>
                    <a:pt x="13940" y="29181"/>
                    <a:pt x="11006" y="29181"/>
                  </a:cubicBezTo>
                  <a:cubicBezTo>
                    <a:pt x="11006" y="29181"/>
                    <a:pt x="11006" y="32116"/>
                    <a:pt x="8070" y="32116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778EB5F9-17C3-4222-92B9-3C3519915042}"/>
                </a:ext>
              </a:extLst>
            </p:cNvPr>
            <p:cNvSpPr/>
            <p:nvPr/>
          </p:nvSpPr>
          <p:spPr>
            <a:xfrm>
              <a:off x="18762150" y="8358899"/>
              <a:ext cx="218478" cy="67500"/>
            </a:xfrm>
            <a:custGeom>
              <a:avLst/>
              <a:gdLst>
                <a:gd name="connsiteX0" fmla="*/ 143805 w 218478"/>
                <a:gd name="connsiteY0" fmla="*/ 67500 h 67500"/>
                <a:gd name="connsiteX1" fmla="*/ 140869 w 218478"/>
                <a:gd name="connsiteY1" fmla="*/ 67500 h 67500"/>
                <a:gd name="connsiteX2" fmla="*/ 2936 w 218478"/>
                <a:gd name="connsiteY2" fmla="*/ 11739 h 67500"/>
                <a:gd name="connsiteX3" fmla="*/ 0 w 218478"/>
                <a:gd name="connsiteY3" fmla="*/ 2935 h 67500"/>
                <a:gd name="connsiteX4" fmla="*/ 8804 w 218478"/>
                <a:gd name="connsiteY4" fmla="*/ 0 h 67500"/>
                <a:gd name="connsiteX5" fmla="*/ 140869 w 218478"/>
                <a:gd name="connsiteY5" fmla="*/ 52826 h 67500"/>
                <a:gd name="connsiteX6" fmla="*/ 208371 w 218478"/>
                <a:gd name="connsiteY6" fmla="*/ 32283 h 67500"/>
                <a:gd name="connsiteX7" fmla="*/ 217175 w 218478"/>
                <a:gd name="connsiteY7" fmla="*/ 32283 h 67500"/>
                <a:gd name="connsiteX8" fmla="*/ 217175 w 218478"/>
                <a:gd name="connsiteY8" fmla="*/ 41087 h 67500"/>
                <a:gd name="connsiteX9" fmla="*/ 143805 w 218478"/>
                <a:gd name="connsiteY9" fmla="*/ 67500 h 6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478" h="67500">
                  <a:moveTo>
                    <a:pt x="143805" y="67500"/>
                  </a:moveTo>
                  <a:cubicBezTo>
                    <a:pt x="143805" y="67500"/>
                    <a:pt x="140869" y="67500"/>
                    <a:pt x="140869" y="67500"/>
                  </a:cubicBezTo>
                  <a:cubicBezTo>
                    <a:pt x="90979" y="64565"/>
                    <a:pt x="5870" y="14674"/>
                    <a:pt x="2936" y="11739"/>
                  </a:cubicBezTo>
                  <a:cubicBezTo>
                    <a:pt x="0" y="8804"/>
                    <a:pt x="0" y="5869"/>
                    <a:pt x="0" y="2935"/>
                  </a:cubicBezTo>
                  <a:cubicBezTo>
                    <a:pt x="2936" y="0"/>
                    <a:pt x="5870" y="0"/>
                    <a:pt x="8804" y="0"/>
                  </a:cubicBezTo>
                  <a:cubicBezTo>
                    <a:pt x="8804" y="0"/>
                    <a:pt x="93913" y="52826"/>
                    <a:pt x="140869" y="52826"/>
                  </a:cubicBezTo>
                  <a:cubicBezTo>
                    <a:pt x="179023" y="52826"/>
                    <a:pt x="208371" y="32283"/>
                    <a:pt x="208371" y="32283"/>
                  </a:cubicBezTo>
                  <a:cubicBezTo>
                    <a:pt x="211305" y="29348"/>
                    <a:pt x="214239" y="32283"/>
                    <a:pt x="217175" y="32283"/>
                  </a:cubicBezTo>
                  <a:cubicBezTo>
                    <a:pt x="220109" y="35217"/>
                    <a:pt x="217175" y="38152"/>
                    <a:pt x="217175" y="41087"/>
                  </a:cubicBezTo>
                  <a:cubicBezTo>
                    <a:pt x="214239" y="44022"/>
                    <a:pt x="184891" y="67500"/>
                    <a:pt x="143805" y="67500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19A41C52-3002-4705-A6A1-3B27D0370F23}"/>
                </a:ext>
              </a:extLst>
            </p:cNvPr>
            <p:cNvSpPr/>
            <p:nvPr/>
          </p:nvSpPr>
          <p:spPr>
            <a:xfrm>
              <a:off x="18649537" y="7889334"/>
              <a:ext cx="106743" cy="258260"/>
            </a:xfrm>
            <a:custGeom>
              <a:avLst/>
              <a:gdLst>
                <a:gd name="connsiteX0" fmla="*/ 106743 w 106743"/>
                <a:gd name="connsiteY0" fmla="*/ 123261 h 258260"/>
                <a:gd name="connsiteX1" fmla="*/ 53918 w 106743"/>
                <a:gd name="connsiteY1" fmla="*/ 258261 h 258260"/>
                <a:gd name="connsiteX2" fmla="*/ 4026 w 106743"/>
                <a:gd name="connsiteY2" fmla="*/ 158479 h 258260"/>
                <a:gd name="connsiteX3" fmla="*/ 68591 w 106743"/>
                <a:gd name="connsiteY3" fmla="*/ 0 h 258260"/>
                <a:gd name="connsiteX4" fmla="*/ 106743 w 106743"/>
                <a:gd name="connsiteY4" fmla="*/ 123261 h 258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743" h="258260">
                  <a:moveTo>
                    <a:pt x="106743" y="123261"/>
                  </a:moveTo>
                  <a:cubicBezTo>
                    <a:pt x="106743" y="123261"/>
                    <a:pt x="48048" y="225978"/>
                    <a:pt x="53918" y="258261"/>
                  </a:cubicBezTo>
                  <a:cubicBezTo>
                    <a:pt x="53918" y="258261"/>
                    <a:pt x="15766" y="214239"/>
                    <a:pt x="4026" y="158479"/>
                  </a:cubicBezTo>
                  <a:cubicBezTo>
                    <a:pt x="-7712" y="99783"/>
                    <a:pt x="4026" y="11739"/>
                    <a:pt x="68591" y="0"/>
                  </a:cubicBezTo>
                  <a:cubicBezTo>
                    <a:pt x="65657" y="0"/>
                    <a:pt x="68591" y="102717"/>
                    <a:pt x="106743" y="123261"/>
                  </a:cubicBezTo>
                  <a:close/>
                </a:path>
              </a:pathLst>
            </a:custGeom>
            <a:solidFill>
              <a:srgbClr val="664241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9799BDB5-0F60-4C0A-AC08-4785EFC82C98}"/>
                </a:ext>
              </a:extLst>
            </p:cNvPr>
            <p:cNvSpPr/>
            <p:nvPr/>
          </p:nvSpPr>
          <p:spPr>
            <a:xfrm>
              <a:off x="18703010" y="7787111"/>
              <a:ext cx="419384" cy="345809"/>
            </a:xfrm>
            <a:custGeom>
              <a:avLst/>
              <a:gdLst>
                <a:gd name="connsiteX0" fmla="*/ 53270 w 419384"/>
                <a:gd name="connsiteY0" fmla="*/ 225484 h 345809"/>
                <a:gd name="connsiteX1" fmla="*/ 173597 w 419384"/>
                <a:gd name="connsiteY1" fmla="*/ 193201 h 345809"/>
                <a:gd name="connsiteX2" fmla="*/ 399576 w 419384"/>
                <a:gd name="connsiteY2" fmla="*/ 345810 h 345809"/>
                <a:gd name="connsiteX3" fmla="*/ 411314 w 419384"/>
                <a:gd name="connsiteY3" fmla="*/ 184397 h 345809"/>
                <a:gd name="connsiteX4" fmla="*/ 329140 w 419384"/>
                <a:gd name="connsiteY4" fmla="*/ 37658 h 345809"/>
                <a:gd name="connsiteX5" fmla="*/ 135445 w 419384"/>
                <a:gd name="connsiteY5" fmla="*/ 14179 h 345809"/>
                <a:gd name="connsiteX6" fmla="*/ 15118 w 419384"/>
                <a:gd name="connsiteY6" fmla="*/ 102223 h 345809"/>
                <a:gd name="connsiteX7" fmla="*/ 53270 w 419384"/>
                <a:gd name="connsiteY7" fmla="*/ 225484 h 345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9384" h="345809">
                  <a:moveTo>
                    <a:pt x="53270" y="225484"/>
                  </a:moveTo>
                  <a:cubicBezTo>
                    <a:pt x="53270" y="225484"/>
                    <a:pt x="147183" y="193201"/>
                    <a:pt x="173597" y="193201"/>
                  </a:cubicBezTo>
                  <a:cubicBezTo>
                    <a:pt x="270445" y="202006"/>
                    <a:pt x="417184" y="275375"/>
                    <a:pt x="399576" y="345810"/>
                  </a:cubicBezTo>
                  <a:cubicBezTo>
                    <a:pt x="399576" y="345810"/>
                    <a:pt x="434792" y="248962"/>
                    <a:pt x="411314" y="184397"/>
                  </a:cubicBezTo>
                  <a:cubicBezTo>
                    <a:pt x="411314" y="184397"/>
                    <a:pt x="417184" y="64071"/>
                    <a:pt x="329140" y="37658"/>
                  </a:cubicBezTo>
                  <a:cubicBezTo>
                    <a:pt x="241097" y="11245"/>
                    <a:pt x="205879" y="-18103"/>
                    <a:pt x="135445" y="14179"/>
                  </a:cubicBezTo>
                  <a:cubicBezTo>
                    <a:pt x="65010" y="49397"/>
                    <a:pt x="20988" y="67006"/>
                    <a:pt x="15118" y="102223"/>
                  </a:cubicBezTo>
                  <a:cubicBezTo>
                    <a:pt x="12184" y="102223"/>
                    <a:pt x="-34773" y="210810"/>
                    <a:pt x="53270" y="225484"/>
                  </a:cubicBezTo>
                  <a:close/>
                </a:path>
              </a:pathLst>
            </a:custGeom>
            <a:solidFill>
              <a:srgbClr val="664241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530891C4-8153-4627-BD22-C4F84C8F05D8}"/>
                </a:ext>
              </a:extLst>
            </p:cNvPr>
            <p:cNvSpPr/>
            <p:nvPr/>
          </p:nvSpPr>
          <p:spPr>
            <a:xfrm>
              <a:off x="18641900" y="8112621"/>
              <a:ext cx="75404" cy="108795"/>
            </a:xfrm>
            <a:custGeom>
              <a:avLst/>
              <a:gdLst>
                <a:gd name="connsiteX0" fmla="*/ 64490 w 75404"/>
                <a:gd name="connsiteY0" fmla="*/ 17365 h 108795"/>
                <a:gd name="connsiteX1" fmla="*/ 8729 w 75404"/>
                <a:gd name="connsiteY1" fmla="*/ 5627 h 108795"/>
                <a:gd name="connsiteX2" fmla="*/ 61554 w 75404"/>
                <a:gd name="connsiteY2" fmla="*/ 105409 h 108795"/>
                <a:gd name="connsiteX3" fmla="*/ 64490 w 75404"/>
                <a:gd name="connsiteY3" fmla="*/ 17365 h 108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404" h="108795">
                  <a:moveTo>
                    <a:pt x="64490" y="17365"/>
                  </a:moveTo>
                  <a:cubicBezTo>
                    <a:pt x="64490" y="17365"/>
                    <a:pt x="32206" y="-11982"/>
                    <a:pt x="8729" y="5627"/>
                  </a:cubicBezTo>
                  <a:cubicBezTo>
                    <a:pt x="-17685" y="23235"/>
                    <a:pt x="20468" y="128887"/>
                    <a:pt x="61554" y="105409"/>
                  </a:cubicBezTo>
                  <a:cubicBezTo>
                    <a:pt x="90902" y="90735"/>
                    <a:pt x="64490" y="17365"/>
                    <a:pt x="64490" y="17365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B29A657B-AF73-460C-B354-184F20844E5D}"/>
                </a:ext>
              </a:extLst>
            </p:cNvPr>
            <p:cNvSpPr/>
            <p:nvPr/>
          </p:nvSpPr>
          <p:spPr>
            <a:xfrm>
              <a:off x="18696852" y="7904008"/>
              <a:ext cx="71168" cy="231848"/>
            </a:xfrm>
            <a:custGeom>
              <a:avLst/>
              <a:gdLst>
                <a:gd name="connsiteX0" fmla="*/ 9539 w 71168"/>
                <a:gd name="connsiteY0" fmla="*/ 231848 h 231848"/>
                <a:gd name="connsiteX1" fmla="*/ 9539 w 71168"/>
                <a:gd name="connsiteY1" fmla="*/ 231848 h 231848"/>
                <a:gd name="connsiteX2" fmla="*/ 3669 w 71168"/>
                <a:gd name="connsiteY2" fmla="*/ 225978 h 231848"/>
                <a:gd name="connsiteX3" fmla="*/ 50625 w 71168"/>
                <a:gd name="connsiteY3" fmla="*/ 111522 h 231848"/>
                <a:gd name="connsiteX4" fmla="*/ 6603 w 71168"/>
                <a:gd name="connsiteY4" fmla="*/ 67500 h 231848"/>
                <a:gd name="connsiteX5" fmla="*/ 6603 w 71168"/>
                <a:gd name="connsiteY5" fmla="*/ 2935 h 231848"/>
                <a:gd name="connsiteX6" fmla="*/ 15407 w 71168"/>
                <a:gd name="connsiteY6" fmla="*/ 0 h 231848"/>
                <a:gd name="connsiteX7" fmla="*/ 18343 w 71168"/>
                <a:gd name="connsiteY7" fmla="*/ 8804 h 231848"/>
                <a:gd name="connsiteX8" fmla="*/ 18343 w 71168"/>
                <a:gd name="connsiteY8" fmla="*/ 64565 h 231848"/>
                <a:gd name="connsiteX9" fmla="*/ 62365 w 71168"/>
                <a:gd name="connsiteY9" fmla="*/ 105652 h 231848"/>
                <a:gd name="connsiteX10" fmla="*/ 71169 w 71168"/>
                <a:gd name="connsiteY10" fmla="*/ 108587 h 231848"/>
                <a:gd name="connsiteX11" fmla="*/ 65299 w 71168"/>
                <a:gd name="connsiteY11" fmla="*/ 114457 h 231848"/>
                <a:gd name="connsiteX12" fmla="*/ 15407 w 71168"/>
                <a:gd name="connsiteY12" fmla="*/ 228913 h 231848"/>
                <a:gd name="connsiteX13" fmla="*/ 9539 w 71168"/>
                <a:gd name="connsiteY13" fmla="*/ 231848 h 231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1168" h="231848">
                  <a:moveTo>
                    <a:pt x="9539" y="231848"/>
                  </a:moveTo>
                  <a:cubicBezTo>
                    <a:pt x="9539" y="231848"/>
                    <a:pt x="9539" y="231848"/>
                    <a:pt x="9539" y="231848"/>
                  </a:cubicBezTo>
                  <a:cubicBezTo>
                    <a:pt x="6603" y="231848"/>
                    <a:pt x="3669" y="228913"/>
                    <a:pt x="3669" y="225978"/>
                  </a:cubicBezTo>
                  <a:cubicBezTo>
                    <a:pt x="9539" y="176087"/>
                    <a:pt x="38887" y="129131"/>
                    <a:pt x="50625" y="111522"/>
                  </a:cubicBezTo>
                  <a:cubicBezTo>
                    <a:pt x="38887" y="105652"/>
                    <a:pt x="15407" y="93913"/>
                    <a:pt x="6603" y="67500"/>
                  </a:cubicBezTo>
                  <a:cubicBezTo>
                    <a:pt x="-2201" y="49891"/>
                    <a:pt x="-2201" y="26413"/>
                    <a:pt x="6603" y="2935"/>
                  </a:cubicBezTo>
                  <a:cubicBezTo>
                    <a:pt x="6603" y="0"/>
                    <a:pt x="12473" y="0"/>
                    <a:pt x="15407" y="0"/>
                  </a:cubicBezTo>
                  <a:cubicBezTo>
                    <a:pt x="18343" y="0"/>
                    <a:pt x="21277" y="5869"/>
                    <a:pt x="18343" y="8804"/>
                  </a:cubicBezTo>
                  <a:cubicBezTo>
                    <a:pt x="9539" y="29348"/>
                    <a:pt x="9539" y="46957"/>
                    <a:pt x="18343" y="64565"/>
                  </a:cubicBezTo>
                  <a:cubicBezTo>
                    <a:pt x="30081" y="93913"/>
                    <a:pt x="62365" y="105652"/>
                    <a:pt x="62365" y="105652"/>
                  </a:cubicBezTo>
                  <a:lnTo>
                    <a:pt x="71169" y="108587"/>
                  </a:lnTo>
                  <a:lnTo>
                    <a:pt x="65299" y="114457"/>
                  </a:lnTo>
                  <a:cubicBezTo>
                    <a:pt x="65299" y="114457"/>
                    <a:pt x="24213" y="170217"/>
                    <a:pt x="15407" y="228913"/>
                  </a:cubicBezTo>
                  <a:cubicBezTo>
                    <a:pt x="15407" y="228913"/>
                    <a:pt x="12473" y="231848"/>
                    <a:pt x="9539" y="231848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E252BE6E-0830-4993-B614-EE69C1DA5799}"/>
                </a:ext>
              </a:extLst>
            </p:cNvPr>
            <p:cNvSpPr/>
            <p:nvPr/>
          </p:nvSpPr>
          <p:spPr>
            <a:xfrm>
              <a:off x="18867803" y="7956644"/>
              <a:ext cx="188279" cy="32473"/>
            </a:xfrm>
            <a:custGeom>
              <a:avLst/>
              <a:gdLst>
                <a:gd name="connsiteX0" fmla="*/ 184891 w 188279"/>
                <a:gd name="connsiteY0" fmla="*/ 32473 h 32473"/>
                <a:gd name="connsiteX1" fmla="*/ 181955 w 188279"/>
                <a:gd name="connsiteY1" fmla="*/ 32473 h 32473"/>
                <a:gd name="connsiteX2" fmla="*/ 8804 w 188279"/>
                <a:gd name="connsiteY2" fmla="*/ 32473 h 32473"/>
                <a:gd name="connsiteX3" fmla="*/ 0 w 188279"/>
                <a:gd name="connsiteY3" fmla="*/ 29538 h 32473"/>
                <a:gd name="connsiteX4" fmla="*/ 2934 w 188279"/>
                <a:gd name="connsiteY4" fmla="*/ 20734 h 32473"/>
                <a:gd name="connsiteX5" fmla="*/ 184891 w 188279"/>
                <a:gd name="connsiteY5" fmla="*/ 23669 h 32473"/>
                <a:gd name="connsiteX6" fmla="*/ 184891 w 188279"/>
                <a:gd name="connsiteY6" fmla="*/ 32473 h 32473"/>
                <a:gd name="connsiteX7" fmla="*/ 184891 w 188279"/>
                <a:gd name="connsiteY7" fmla="*/ 32473 h 32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8279" h="32473">
                  <a:moveTo>
                    <a:pt x="184891" y="32473"/>
                  </a:moveTo>
                  <a:cubicBezTo>
                    <a:pt x="184891" y="32473"/>
                    <a:pt x="181955" y="32473"/>
                    <a:pt x="181955" y="32473"/>
                  </a:cubicBezTo>
                  <a:cubicBezTo>
                    <a:pt x="120325" y="-14484"/>
                    <a:pt x="11738" y="29538"/>
                    <a:pt x="8804" y="32473"/>
                  </a:cubicBezTo>
                  <a:cubicBezTo>
                    <a:pt x="5868" y="32473"/>
                    <a:pt x="2934" y="32473"/>
                    <a:pt x="0" y="29538"/>
                  </a:cubicBezTo>
                  <a:cubicBezTo>
                    <a:pt x="0" y="26603"/>
                    <a:pt x="0" y="23669"/>
                    <a:pt x="2934" y="20734"/>
                  </a:cubicBezTo>
                  <a:cubicBezTo>
                    <a:pt x="8804" y="17799"/>
                    <a:pt x="120325" y="-26223"/>
                    <a:pt x="184891" y="23669"/>
                  </a:cubicBezTo>
                  <a:cubicBezTo>
                    <a:pt x="187825" y="26603"/>
                    <a:pt x="187825" y="29538"/>
                    <a:pt x="184891" y="32473"/>
                  </a:cubicBezTo>
                  <a:cubicBezTo>
                    <a:pt x="190761" y="32473"/>
                    <a:pt x="187825" y="32473"/>
                    <a:pt x="184891" y="32473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8D9DAA41-81CD-4625-877A-A154FBAA43C8}"/>
                </a:ext>
              </a:extLst>
            </p:cNvPr>
            <p:cNvSpPr/>
            <p:nvPr/>
          </p:nvSpPr>
          <p:spPr>
            <a:xfrm>
              <a:off x="18351281" y="8470421"/>
              <a:ext cx="1030896" cy="1508301"/>
            </a:xfrm>
            <a:custGeom>
              <a:avLst/>
              <a:gdLst>
                <a:gd name="connsiteX0" fmla="*/ 381522 w 1030896"/>
                <a:gd name="connsiteY0" fmla="*/ 0 h 1508301"/>
                <a:gd name="connsiteX1" fmla="*/ 660326 w 1030896"/>
                <a:gd name="connsiteY1" fmla="*/ 0 h 1508301"/>
                <a:gd name="connsiteX2" fmla="*/ 947934 w 1030896"/>
                <a:gd name="connsiteY2" fmla="*/ 126196 h 1508301"/>
                <a:gd name="connsiteX3" fmla="*/ 1030110 w 1030896"/>
                <a:gd name="connsiteY3" fmla="*/ 1479130 h 1508301"/>
                <a:gd name="connsiteX4" fmla="*/ 0 w 1030896"/>
                <a:gd name="connsiteY4" fmla="*/ 1455652 h 1508301"/>
                <a:gd name="connsiteX5" fmla="*/ 111521 w 1030896"/>
                <a:gd name="connsiteY5" fmla="*/ 99782 h 1508301"/>
                <a:gd name="connsiteX6" fmla="*/ 381522 w 1030896"/>
                <a:gd name="connsiteY6" fmla="*/ 0 h 1508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0896" h="1508301">
                  <a:moveTo>
                    <a:pt x="381522" y="0"/>
                  </a:moveTo>
                  <a:cubicBezTo>
                    <a:pt x="381522" y="0"/>
                    <a:pt x="548805" y="52826"/>
                    <a:pt x="660326" y="0"/>
                  </a:cubicBezTo>
                  <a:cubicBezTo>
                    <a:pt x="660326" y="0"/>
                    <a:pt x="924457" y="93913"/>
                    <a:pt x="947934" y="126196"/>
                  </a:cubicBezTo>
                  <a:cubicBezTo>
                    <a:pt x="971414" y="155544"/>
                    <a:pt x="1038914" y="1414566"/>
                    <a:pt x="1030110" y="1479130"/>
                  </a:cubicBezTo>
                  <a:cubicBezTo>
                    <a:pt x="1030110" y="1479130"/>
                    <a:pt x="557609" y="1558370"/>
                    <a:pt x="0" y="1455652"/>
                  </a:cubicBezTo>
                  <a:cubicBezTo>
                    <a:pt x="0" y="1112282"/>
                    <a:pt x="70436" y="129130"/>
                    <a:pt x="111521" y="99782"/>
                  </a:cubicBezTo>
                  <a:cubicBezTo>
                    <a:pt x="152609" y="67500"/>
                    <a:pt x="381522" y="0"/>
                    <a:pt x="381522" y="0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539B64C2-DB1F-4CE6-8F4D-2C1893D4131D}"/>
                </a:ext>
              </a:extLst>
            </p:cNvPr>
            <p:cNvSpPr/>
            <p:nvPr/>
          </p:nvSpPr>
          <p:spPr>
            <a:xfrm>
              <a:off x="18732802" y="8470421"/>
              <a:ext cx="173152" cy="114456"/>
            </a:xfrm>
            <a:custGeom>
              <a:avLst/>
              <a:gdLst>
                <a:gd name="connsiteX0" fmla="*/ 173153 w 173152"/>
                <a:gd name="connsiteY0" fmla="*/ 20543 h 114456"/>
                <a:gd name="connsiteX1" fmla="*/ 146739 w 173152"/>
                <a:gd name="connsiteY1" fmla="*/ 114456 h 114456"/>
                <a:gd name="connsiteX2" fmla="*/ 0 w 173152"/>
                <a:gd name="connsiteY2" fmla="*/ 0 h 114456"/>
                <a:gd name="connsiteX3" fmla="*/ 173153 w 173152"/>
                <a:gd name="connsiteY3" fmla="*/ 20543 h 114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152" h="114456">
                  <a:moveTo>
                    <a:pt x="173153" y="20543"/>
                  </a:moveTo>
                  <a:lnTo>
                    <a:pt x="146739" y="114456"/>
                  </a:lnTo>
                  <a:lnTo>
                    <a:pt x="0" y="0"/>
                  </a:lnTo>
                  <a:cubicBezTo>
                    <a:pt x="0" y="0"/>
                    <a:pt x="132065" y="20543"/>
                    <a:pt x="173153" y="20543"/>
                  </a:cubicBezTo>
                  <a:close/>
                </a:path>
              </a:pathLst>
            </a:custGeom>
            <a:solidFill>
              <a:srgbClr val="FFFFFF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82921156-C64C-41B3-B46A-A81F6B923957}"/>
                </a:ext>
              </a:extLst>
            </p:cNvPr>
            <p:cNvSpPr/>
            <p:nvPr/>
          </p:nvSpPr>
          <p:spPr>
            <a:xfrm>
              <a:off x="18905955" y="8470421"/>
              <a:ext cx="105651" cy="111521"/>
            </a:xfrm>
            <a:custGeom>
              <a:avLst/>
              <a:gdLst>
                <a:gd name="connsiteX0" fmla="*/ 0 w 105651"/>
                <a:gd name="connsiteY0" fmla="*/ 20543 h 111521"/>
                <a:gd name="connsiteX1" fmla="*/ 35218 w 105651"/>
                <a:gd name="connsiteY1" fmla="*/ 111522 h 111521"/>
                <a:gd name="connsiteX2" fmla="*/ 105651 w 105651"/>
                <a:gd name="connsiteY2" fmla="*/ 0 h 111521"/>
                <a:gd name="connsiteX3" fmla="*/ 0 w 105651"/>
                <a:gd name="connsiteY3" fmla="*/ 20543 h 11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651" h="111521">
                  <a:moveTo>
                    <a:pt x="0" y="20543"/>
                  </a:moveTo>
                  <a:lnTo>
                    <a:pt x="35218" y="111522"/>
                  </a:lnTo>
                  <a:lnTo>
                    <a:pt x="105651" y="0"/>
                  </a:lnTo>
                  <a:cubicBezTo>
                    <a:pt x="105651" y="0"/>
                    <a:pt x="38152" y="20543"/>
                    <a:pt x="0" y="20543"/>
                  </a:cubicBezTo>
                  <a:close/>
                </a:path>
              </a:pathLst>
            </a:custGeom>
            <a:solidFill>
              <a:srgbClr val="FFFFFF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EA854CCC-BE65-4FDD-9A3A-89FC336B60C4}"/>
                </a:ext>
              </a:extLst>
            </p:cNvPr>
            <p:cNvSpPr/>
            <p:nvPr/>
          </p:nvSpPr>
          <p:spPr>
            <a:xfrm>
              <a:off x="19066454" y="8560270"/>
              <a:ext cx="555586" cy="523520"/>
            </a:xfrm>
            <a:custGeom>
              <a:avLst/>
              <a:gdLst>
                <a:gd name="connsiteX0" fmla="*/ 323740 w 555586"/>
                <a:gd name="connsiteY0" fmla="*/ 523520 h 523520"/>
                <a:gd name="connsiteX1" fmla="*/ 6784 w 555586"/>
                <a:gd name="connsiteY1" fmla="*/ 42216 h 523520"/>
                <a:gd name="connsiteX2" fmla="*/ 555587 w 555586"/>
                <a:gd name="connsiteY2" fmla="*/ 188955 h 523520"/>
                <a:gd name="connsiteX3" fmla="*/ 323740 w 555586"/>
                <a:gd name="connsiteY3" fmla="*/ 523520 h 52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5586" h="523520">
                  <a:moveTo>
                    <a:pt x="323740" y="523520"/>
                  </a:moveTo>
                  <a:cubicBezTo>
                    <a:pt x="323740" y="523520"/>
                    <a:pt x="-54848" y="168412"/>
                    <a:pt x="6784" y="42216"/>
                  </a:cubicBezTo>
                  <a:cubicBezTo>
                    <a:pt x="77218" y="-107458"/>
                    <a:pt x="555587" y="188955"/>
                    <a:pt x="555587" y="188955"/>
                  </a:cubicBezTo>
                  <a:cubicBezTo>
                    <a:pt x="555587" y="188955"/>
                    <a:pt x="488087" y="400260"/>
                    <a:pt x="323740" y="523520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F111EE34-9229-44B5-B882-4599393EBB09}"/>
                </a:ext>
              </a:extLst>
            </p:cNvPr>
            <p:cNvSpPr/>
            <p:nvPr/>
          </p:nvSpPr>
          <p:spPr>
            <a:xfrm>
              <a:off x="19293347" y="8590748"/>
              <a:ext cx="51105" cy="531195"/>
            </a:xfrm>
            <a:custGeom>
              <a:avLst/>
              <a:gdLst>
                <a:gd name="connsiteX0" fmla="*/ 46956 w 51105"/>
                <a:gd name="connsiteY0" fmla="*/ 531195 h 531195"/>
                <a:gd name="connsiteX1" fmla="*/ 41086 w 51105"/>
                <a:gd name="connsiteY1" fmla="*/ 525326 h 531195"/>
                <a:gd name="connsiteX2" fmla="*/ 0 w 51105"/>
                <a:gd name="connsiteY2" fmla="*/ 5869 h 531195"/>
                <a:gd name="connsiteX3" fmla="*/ 2934 w 51105"/>
                <a:gd name="connsiteY3" fmla="*/ 0 h 531195"/>
                <a:gd name="connsiteX4" fmla="*/ 8804 w 51105"/>
                <a:gd name="connsiteY4" fmla="*/ 2935 h 531195"/>
                <a:gd name="connsiteX5" fmla="*/ 49890 w 51105"/>
                <a:gd name="connsiteY5" fmla="*/ 525326 h 531195"/>
                <a:gd name="connsiteX6" fmla="*/ 46956 w 51105"/>
                <a:gd name="connsiteY6" fmla="*/ 531195 h 531195"/>
                <a:gd name="connsiteX7" fmla="*/ 46956 w 51105"/>
                <a:gd name="connsiteY7" fmla="*/ 531195 h 531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105" h="531195">
                  <a:moveTo>
                    <a:pt x="46956" y="531195"/>
                  </a:moveTo>
                  <a:cubicBezTo>
                    <a:pt x="44022" y="531195"/>
                    <a:pt x="41086" y="528261"/>
                    <a:pt x="41086" y="525326"/>
                  </a:cubicBezTo>
                  <a:cubicBezTo>
                    <a:pt x="41086" y="519456"/>
                    <a:pt x="5868" y="44022"/>
                    <a:pt x="0" y="5869"/>
                  </a:cubicBezTo>
                  <a:cubicBezTo>
                    <a:pt x="0" y="2935"/>
                    <a:pt x="0" y="0"/>
                    <a:pt x="2934" y="0"/>
                  </a:cubicBezTo>
                  <a:cubicBezTo>
                    <a:pt x="5868" y="0"/>
                    <a:pt x="8804" y="0"/>
                    <a:pt x="8804" y="2935"/>
                  </a:cubicBezTo>
                  <a:cubicBezTo>
                    <a:pt x="17608" y="41087"/>
                    <a:pt x="49890" y="504783"/>
                    <a:pt x="49890" y="525326"/>
                  </a:cubicBezTo>
                  <a:cubicBezTo>
                    <a:pt x="52826" y="528261"/>
                    <a:pt x="49890" y="531195"/>
                    <a:pt x="46956" y="531195"/>
                  </a:cubicBezTo>
                  <a:cubicBezTo>
                    <a:pt x="46956" y="531195"/>
                    <a:pt x="46956" y="531195"/>
                    <a:pt x="46956" y="531195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2DA2AE80-7AB3-4482-B664-0DEFE97B5F04}"/>
                </a:ext>
              </a:extLst>
            </p:cNvPr>
            <p:cNvGrpSpPr/>
            <p:nvPr/>
          </p:nvGrpSpPr>
          <p:grpSpPr>
            <a:xfrm>
              <a:off x="20043022" y="8341291"/>
              <a:ext cx="281359" cy="326453"/>
              <a:chOff x="20043022" y="8341291"/>
              <a:chExt cx="281359" cy="326453"/>
            </a:xfrm>
          </p:grpSpPr>
          <p:grpSp>
            <p:nvGrpSpPr>
              <p:cNvPr id="118" name="图形 1">
                <a:extLst>
                  <a:ext uri="{FF2B5EF4-FFF2-40B4-BE49-F238E27FC236}">
                    <a16:creationId xmlns:a16="http://schemas.microsoft.com/office/drawing/2014/main" id="{623CC7C2-ACD4-4A91-9EE3-0900EA08ED71}"/>
                  </a:ext>
                </a:extLst>
              </p:cNvPr>
              <p:cNvGrpSpPr/>
              <p:nvPr/>
            </p:nvGrpSpPr>
            <p:grpSpPr>
              <a:xfrm>
                <a:off x="20043022" y="8341291"/>
                <a:ext cx="276123" cy="326453"/>
                <a:chOff x="20043022" y="8341291"/>
                <a:chExt cx="276123" cy="326453"/>
              </a:xfrm>
            </p:grpSpPr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EE9F9F8E-9E71-439C-AC55-0A0EBC796989}"/>
                    </a:ext>
                  </a:extLst>
                </p:cNvPr>
                <p:cNvSpPr/>
                <p:nvPr/>
              </p:nvSpPr>
              <p:spPr>
                <a:xfrm>
                  <a:off x="20043022" y="8343492"/>
                  <a:ext cx="276123" cy="324252"/>
                </a:xfrm>
                <a:custGeom>
                  <a:avLst/>
                  <a:gdLst>
                    <a:gd name="connsiteX0" fmla="*/ 265759 w 276123"/>
                    <a:gd name="connsiteY0" fmla="*/ 106386 h 324252"/>
                    <a:gd name="connsiteX1" fmla="*/ 245215 w 276123"/>
                    <a:gd name="connsiteY1" fmla="*/ 106386 h 324252"/>
                    <a:gd name="connsiteX2" fmla="*/ 239345 w 276123"/>
                    <a:gd name="connsiteY2" fmla="*/ 109320 h 324252"/>
                    <a:gd name="connsiteX3" fmla="*/ 256955 w 276123"/>
                    <a:gd name="connsiteY3" fmla="*/ 85842 h 324252"/>
                    <a:gd name="connsiteX4" fmla="*/ 274563 w 276123"/>
                    <a:gd name="connsiteY4" fmla="*/ 38886 h 324252"/>
                    <a:gd name="connsiteX5" fmla="*/ 262825 w 276123"/>
                    <a:gd name="connsiteY5" fmla="*/ 35951 h 324252"/>
                    <a:gd name="connsiteX6" fmla="*/ 259889 w 276123"/>
                    <a:gd name="connsiteY6" fmla="*/ 35951 h 324252"/>
                    <a:gd name="connsiteX7" fmla="*/ 256955 w 276123"/>
                    <a:gd name="connsiteY7" fmla="*/ 6603 h 324252"/>
                    <a:gd name="connsiteX8" fmla="*/ 227607 w 276123"/>
                    <a:gd name="connsiteY8" fmla="*/ 6603 h 324252"/>
                    <a:gd name="connsiteX9" fmla="*/ 189455 w 276123"/>
                    <a:gd name="connsiteY9" fmla="*/ 50625 h 324252"/>
                    <a:gd name="connsiteX10" fmla="*/ 139563 w 276123"/>
                    <a:gd name="connsiteY10" fmla="*/ 115190 h 324252"/>
                    <a:gd name="connsiteX11" fmla="*/ 163041 w 276123"/>
                    <a:gd name="connsiteY11" fmla="*/ 59429 h 324252"/>
                    <a:gd name="connsiteX12" fmla="*/ 177715 w 276123"/>
                    <a:gd name="connsiteY12" fmla="*/ 15407 h 324252"/>
                    <a:gd name="connsiteX13" fmla="*/ 145433 w 276123"/>
                    <a:gd name="connsiteY13" fmla="*/ 24212 h 324252"/>
                    <a:gd name="connsiteX14" fmla="*/ 57390 w 276123"/>
                    <a:gd name="connsiteY14" fmla="*/ 194429 h 324252"/>
                    <a:gd name="connsiteX15" fmla="*/ 66194 w 276123"/>
                    <a:gd name="connsiteY15" fmla="*/ 123994 h 324252"/>
                    <a:gd name="connsiteX16" fmla="*/ 39780 w 276123"/>
                    <a:gd name="connsiteY16" fmla="*/ 106386 h 324252"/>
                    <a:gd name="connsiteX17" fmla="*/ 28042 w 276123"/>
                    <a:gd name="connsiteY17" fmla="*/ 294212 h 324252"/>
                    <a:gd name="connsiteX18" fmla="*/ 28042 w 276123"/>
                    <a:gd name="connsiteY18" fmla="*/ 294212 h 324252"/>
                    <a:gd name="connsiteX19" fmla="*/ 28042 w 276123"/>
                    <a:gd name="connsiteY19" fmla="*/ 300081 h 324252"/>
                    <a:gd name="connsiteX20" fmla="*/ 133693 w 276123"/>
                    <a:gd name="connsiteY20" fmla="*/ 317690 h 324252"/>
                    <a:gd name="connsiteX21" fmla="*/ 218803 w 276123"/>
                    <a:gd name="connsiteY21" fmla="*/ 206168 h 324252"/>
                    <a:gd name="connsiteX22" fmla="*/ 265759 w 276123"/>
                    <a:gd name="connsiteY22" fmla="*/ 106386 h 324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76123" h="324252">
                      <a:moveTo>
                        <a:pt x="265759" y="106386"/>
                      </a:moveTo>
                      <a:cubicBezTo>
                        <a:pt x="259889" y="100516"/>
                        <a:pt x="254019" y="100516"/>
                        <a:pt x="245215" y="106386"/>
                      </a:cubicBezTo>
                      <a:cubicBezTo>
                        <a:pt x="242281" y="106386"/>
                        <a:pt x="242281" y="109320"/>
                        <a:pt x="239345" y="109320"/>
                      </a:cubicBezTo>
                      <a:cubicBezTo>
                        <a:pt x="245215" y="100516"/>
                        <a:pt x="251085" y="94646"/>
                        <a:pt x="256955" y="85842"/>
                      </a:cubicBezTo>
                      <a:cubicBezTo>
                        <a:pt x="268693" y="71169"/>
                        <a:pt x="280433" y="56495"/>
                        <a:pt x="274563" y="38886"/>
                      </a:cubicBezTo>
                      <a:cubicBezTo>
                        <a:pt x="274563" y="35951"/>
                        <a:pt x="262825" y="35951"/>
                        <a:pt x="262825" y="35951"/>
                      </a:cubicBezTo>
                      <a:cubicBezTo>
                        <a:pt x="262825" y="35951"/>
                        <a:pt x="259889" y="35951"/>
                        <a:pt x="259889" y="35951"/>
                      </a:cubicBezTo>
                      <a:cubicBezTo>
                        <a:pt x="262825" y="24212"/>
                        <a:pt x="262825" y="15407"/>
                        <a:pt x="256955" y="6603"/>
                      </a:cubicBezTo>
                      <a:cubicBezTo>
                        <a:pt x="251085" y="-2201"/>
                        <a:pt x="239345" y="-2201"/>
                        <a:pt x="227607" y="6603"/>
                      </a:cubicBezTo>
                      <a:cubicBezTo>
                        <a:pt x="212933" y="18342"/>
                        <a:pt x="201193" y="35951"/>
                        <a:pt x="189455" y="50625"/>
                      </a:cubicBezTo>
                      <a:cubicBezTo>
                        <a:pt x="171845" y="71169"/>
                        <a:pt x="154237" y="91712"/>
                        <a:pt x="139563" y="115190"/>
                      </a:cubicBezTo>
                      <a:cubicBezTo>
                        <a:pt x="148367" y="97581"/>
                        <a:pt x="154237" y="77038"/>
                        <a:pt x="163041" y="59429"/>
                      </a:cubicBezTo>
                      <a:cubicBezTo>
                        <a:pt x="168911" y="47690"/>
                        <a:pt x="180649" y="27147"/>
                        <a:pt x="177715" y="15407"/>
                      </a:cubicBezTo>
                      <a:cubicBezTo>
                        <a:pt x="174781" y="-2201"/>
                        <a:pt x="151301" y="18342"/>
                        <a:pt x="145433" y="24212"/>
                      </a:cubicBezTo>
                      <a:cubicBezTo>
                        <a:pt x="98476" y="74103"/>
                        <a:pt x="89672" y="138668"/>
                        <a:pt x="57390" y="194429"/>
                      </a:cubicBezTo>
                      <a:cubicBezTo>
                        <a:pt x="51520" y="173886"/>
                        <a:pt x="57390" y="150408"/>
                        <a:pt x="66194" y="123994"/>
                      </a:cubicBezTo>
                      <a:cubicBezTo>
                        <a:pt x="69128" y="109320"/>
                        <a:pt x="45650" y="103451"/>
                        <a:pt x="39780" y="106386"/>
                      </a:cubicBezTo>
                      <a:cubicBezTo>
                        <a:pt x="-1306" y="153342"/>
                        <a:pt x="-18916" y="241386"/>
                        <a:pt x="28042" y="294212"/>
                      </a:cubicBezTo>
                      <a:cubicBezTo>
                        <a:pt x="28042" y="294212"/>
                        <a:pt x="28042" y="294212"/>
                        <a:pt x="28042" y="294212"/>
                      </a:cubicBezTo>
                      <a:cubicBezTo>
                        <a:pt x="28042" y="294212"/>
                        <a:pt x="25106" y="297147"/>
                        <a:pt x="28042" y="300081"/>
                      </a:cubicBezTo>
                      <a:cubicBezTo>
                        <a:pt x="42716" y="326495"/>
                        <a:pt x="104346" y="329429"/>
                        <a:pt x="133693" y="317690"/>
                      </a:cubicBezTo>
                      <a:cubicBezTo>
                        <a:pt x="180649" y="300081"/>
                        <a:pt x="195323" y="244321"/>
                        <a:pt x="218803" y="206168"/>
                      </a:cubicBezTo>
                      <a:cubicBezTo>
                        <a:pt x="233477" y="191494"/>
                        <a:pt x="280433" y="121060"/>
                        <a:pt x="265759" y="106386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3DD06BD5-0404-431D-ABDB-A1E50F7CC21D}"/>
                    </a:ext>
                  </a:extLst>
                </p:cNvPr>
                <p:cNvSpPr/>
                <p:nvPr/>
              </p:nvSpPr>
              <p:spPr>
                <a:xfrm>
                  <a:off x="20115086" y="8546726"/>
                  <a:ext cx="30283" cy="64565"/>
                </a:xfrm>
                <a:custGeom>
                  <a:avLst/>
                  <a:gdLst>
                    <a:gd name="connsiteX0" fmla="*/ 20542 w 30283"/>
                    <a:gd name="connsiteY0" fmla="*/ 64565 h 64565"/>
                    <a:gd name="connsiteX1" fmla="*/ 20542 w 30283"/>
                    <a:gd name="connsiteY1" fmla="*/ 64565 h 64565"/>
                    <a:gd name="connsiteX2" fmla="*/ 14674 w 30283"/>
                    <a:gd name="connsiteY2" fmla="*/ 55761 h 64565"/>
                    <a:gd name="connsiteX3" fmla="*/ 2934 w 30283"/>
                    <a:gd name="connsiteY3" fmla="*/ 11739 h 64565"/>
                    <a:gd name="connsiteX4" fmla="*/ 0 w 30283"/>
                    <a:gd name="connsiteY4" fmla="*/ 2935 h 64565"/>
                    <a:gd name="connsiteX5" fmla="*/ 8804 w 30283"/>
                    <a:gd name="connsiteY5" fmla="*/ 0 h 64565"/>
                    <a:gd name="connsiteX6" fmla="*/ 26412 w 30283"/>
                    <a:gd name="connsiteY6" fmla="*/ 55761 h 64565"/>
                    <a:gd name="connsiteX7" fmla="*/ 20542 w 30283"/>
                    <a:gd name="connsiteY7" fmla="*/ 64565 h 645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283" h="64565">
                      <a:moveTo>
                        <a:pt x="20542" y="64565"/>
                      </a:moveTo>
                      <a:cubicBezTo>
                        <a:pt x="20542" y="64565"/>
                        <a:pt x="20542" y="64565"/>
                        <a:pt x="20542" y="64565"/>
                      </a:cubicBezTo>
                      <a:cubicBezTo>
                        <a:pt x="14674" y="61630"/>
                        <a:pt x="14674" y="58696"/>
                        <a:pt x="14674" y="55761"/>
                      </a:cubicBezTo>
                      <a:cubicBezTo>
                        <a:pt x="26412" y="29348"/>
                        <a:pt x="2934" y="11739"/>
                        <a:pt x="2934" y="11739"/>
                      </a:cubicBezTo>
                      <a:cubicBezTo>
                        <a:pt x="0" y="8804"/>
                        <a:pt x="0" y="5869"/>
                        <a:pt x="0" y="2935"/>
                      </a:cubicBezTo>
                      <a:cubicBezTo>
                        <a:pt x="2934" y="0"/>
                        <a:pt x="5868" y="0"/>
                        <a:pt x="8804" y="0"/>
                      </a:cubicBezTo>
                      <a:cubicBezTo>
                        <a:pt x="20542" y="5869"/>
                        <a:pt x="38152" y="26413"/>
                        <a:pt x="26412" y="55761"/>
                      </a:cubicBezTo>
                      <a:cubicBezTo>
                        <a:pt x="26412" y="61630"/>
                        <a:pt x="23478" y="64565"/>
                        <a:pt x="20542" y="64565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9910D681-994F-4566-B229-FDD1A03F2370}"/>
                    </a:ext>
                  </a:extLst>
                </p:cNvPr>
                <p:cNvSpPr/>
                <p:nvPr/>
              </p:nvSpPr>
              <p:spPr>
                <a:xfrm>
                  <a:off x="20173782" y="8341291"/>
                  <a:ext cx="127661" cy="126195"/>
                </a:xfrm>
                <a:custGeom>
                  <a:avLst/>
                  <a:gdLst>
                    <a:gd name="connsiteX0" fmla="*/ 5868 w 127661"/>
                    <a:gd name="connsiteY0" fmla="*/ 126195 h 126195"/>
                    <a:gd name="connsiteX1" fmla="*/ 5868 w 127661"/>
                    <a:gd name="connsiteY1" fmla="*/ 126195 h 126195"/>
                    <a:gd name="connsiteX2" fmla="*/ 0 w 127661"/>
                    <a:gd name="connsiteY2" fmla="*/ 117391 h 126195"/>
                    <a:gd name="connsiteX3" fmla="*/ 38152 w 127661"/>
                    <a:gd name="connsiteY3" fmla="*/ 17608 h 126195"/>
                    <a:gd name="connsiteX4" fmla="*/ 44022 w 127661"/>
                    <a:gd name="connsiteY4" fmla="*/ 14674 h 126195"/>
                    <a:gd name="connsiteX5" fmla="*/ 46956 w 127661"/>
                    <a:gd name="connsiteY5" fmla="*/ 20543 h 126195"/>
                    <a:gd name="connsiteX6" fmla="*/ 26412 w 127661"/>
                    <a:gd name="connsiteY6" fmla="*/ 76304 h 126195"/>
                    <a:gd name="connsiteX7" fmla="*/ 99782 w 127661"/>
                    <a:gd name="connsiteY7" fmla="*/ 0 h 126195"/>
                    <a:gd name="connsiteX8" fmla="*/ 123259 w 127661"/>
                    <a:gd name="connsiteY8" fmla="*/ 8804 h 126195"/>
                    <a:gd name="connsiteX9" fmla="*/ 123259 w 127661"/>
                    <a:gd name="connsiteY9" fmla="*/ 38152 h 126195"/>
                    <a:gd name="connsiteX10" fmla="*/ 117391 w 127661"/>
                    <a:gd name="connsiteY10" fmla="*/ 41087 h 126195"/>
                    <a:gd name="connsiteX11" fmla="*/ 114455 w 127661"/>
                    <a:gd name="connsiteY11" fmla="*/ 35217 h 126195"/>
                    <a:gd name="connsiteX12" fmla="*/ 114455 w 127661"/>
                    <a:gd name="connsiteY12" fmla="*/ 17608 h 126195"/>
                    <a:gd name="connsiteX13" fmla="*/ 99782 w 127661"/>
                    <a:gd name="connsiteY13" fmla="*/ 11739 h 126195"/>
                    <a:gd name="connsiteX14" fmla="*/ 5868 w 127661"/>
                    <a:gd name="connsiteY14" fmla="*/ 120326 h 126195"/>
                    <a:gd name="connsiteX15" fmla="*/ 5868 w 127661"/>
                    <a:gd name="connsiteY15" fmla="*/ 126195 h 126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27661" h="126195">
                      <a:moveTo>
                        <a:pt x="5868" y="126195"/>
                      </a:moveTo>
                      <a:cubicBezTo>
                        <a:pt x="5868" y="126195"/>
                        <a:pt x="5868" y="126195"/>
                        <a:pt x="5868" y="126195"/>
                      </a:cubicBezTo>
                      <a:cubicBezTo>
                        <a:pt x="0" y="123261"/>
                        <a:pt x="0" y="120326"/>
                        <a:pt x="0" y="117391"/>
                      </a:cubicBezTo>
                      <a:cubicBezTo>
                        <a:pt x="17608" y="82174"/>
                        <a:pt x="38152" y="20543"/>
                        <a:pt x="38152" y="17608"/>
                      </a:cubicBezTo>
                      <a:cubicBezTo>
                        <a:pt x="38152" y="14674"/>
                        <a:pt x="41086" y="11739"/>
                        <a:pt x="44022" y="14674"/>
                      </a:cubicBezTo>
                      <a:cubicBezTo>
                        <a:pt x="46956" y="14674"/>
                        <a:pt x="46956" y="17608"/>
                        <a:pt x="46956" y="20543"/>
                      </a:cubicBezTo>
                      <a:cubicBezTo>
                        <a:pt x="46956" y="23478"/>
                        <a:pt x="38152" y="49891"/>
                        <a:pt x="26412" y="76304"/>
                      </a:cubicBezTo>
                      <a:cubicBezTo>
                        <a:pt x="52826" y="41087"/>
                        <a:pt x="88043" y="0"/>
                        <a:pt x="99782" y="0"/>
                      </a:cubicBezTo>
                      <a:cubicBezTo>
                        <a:pt x="111521" y="0"/>
                        <a:pt x="120325" y="2935"/>
                        <a:pt x="123259" y="8804"/>
                      </a:cubicBezTo>
                      <a:cubicBezTo>
                        <a:pt x="129129" y="17608"/>
                        <a:pt x="129129" y="26413"/>
                        <a:pt x="123259" y="38152"/>
                      </a:cubicBezTo>
                      <a:cubicBezTo>
                        <a:pt x="123259" y="41087"/>
                        <a:pt x="117391" y="41087"/>
                        <a:pt x="117391" y="41087"/>
                      </a:cubicBezTo>
                      <a:cubicBezTo>
                        <a:pt x="114455" y="41087"/>
                        <a:pt x="114455" y="35217"/>
                        <a:pt x="114455" y="35217"/>
                      </a:cubicBezTo>
                      <a:cubicBezTo>
                        <a:pt x="117391" y="29348"/>
                        <a:pt x="117391" y="20543"/>
                        <a:pt x="114455" y="17608"/>
                      </a:cubicBezTo>
                      <a:cubicBezTo>
                        <a:pt x="111521" y="11739"/>
                        <a:pt x="105651" y="11739"/>
                        <a:pt x="99782" y="11739"/>
                      </a:cubicBezTo>
                      <a:cubicBezTo>
                        <a:pt x="90978" y="14674"/>
                        <a:pt x="44022" y="70435"/>
                        <a:pt x="5868" y="120326"/>
                      </a:cubicBezTo>
                      <a:cubicBezTo>
                        <a:pt x="11738" y="126195"/>
                        <a:pt x="8804" y="126195"/>
                        <a:pt x="5868" y="126195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FED8C143-C6A3-4C80-8B27-EE1C230AD3B3}"/>
                  </a:ext>
                </a:extLst>
              </p:cNvPr>
              <p:cNvSpPr/>
              <p:nvPr/>
            </p:nvSpPr>
            <p:spPr>
              <a:xfrm>
                <a:off x="20215602" y="8444008"/>
                <a:ext cx="96479" cy="111521"/>
              </a:xfrm>
              <a:custGeom>
                <a:avLst/>
                <a:gdLst>
                  <a:gd name="connsiteX0" fmla="*/ 52092 w 96479"/>
                  <a:gd name="connsiteY0" fmla="*/ 108587 h 111521"/>
                  <a:gd name="connsiteX1" fmla="*/ 52092 w 96479"/>
                  <a:gd name="connsiteY1" fmla="*/ 108587 h 111521"/>
                  <a:gd name="connsiteX2" fmla="*/ 46224 w 96479"/>
                  <a:gd name="connsiteY2" fmla="*/ 99782 h 111521"/>
                  <a:gd name="connsiteX3" fmla="*/ 84375 w 96479"/>
                  <a:gd name="connsiteY3" fmla="*/ 11739 h 111521"/>
                  <a:gd name="connsiteX4" fmla="*/ 78506 w 96479"/>
                  <a:gd name="connsiteY4" fmla="*/ 8804 h 111521"/>
                  <a:gd name="connsiteX5" fmla="*/ 60898 w 96479"/>
                  <a:gd name="connsiteY5" fmla="*/ 20543 h 111521"/>
                  <a:gd name="connsiteX6" fmla="*/ 40354 w 96479"/>
                  <a:gd name="connsiteY6" fmla="*/ 52826 h 111521"/>
                  <a:gd name="connsiteX7" fmla="*/ 11006 w 96479"/>
                  <a:gd name="connsiteY7" fmla="*/ 96847 h 111521"/>
                  <a:gd name="connsiteX8" fmla="*/ 2202 w 96479"/>
                  <a:gd name="connsiteY8" fmla="*/ 96847 h 111521"/>
                  <a:gd name="connsiteX9" fmla="*/ 2202 w 96479"/>
                  <a:gd name="connsiteY9" fmla="*/ 88043 h 111521"/>
                  <a:gd name="connsiteX10" fmla="*/ 31550 w 96479"/>
                  <a:gd name="connsiteY10" fmla="*/ 46956 h 111521"/>
                  <a:gd name="connsiteX11" fmla="*/ 55028 w 96479"/>
                  <a:gd name="connsiteY11" fmla="*/ 14674 h 111521"/>
                  <a:gd name="connsiteX12" fmla="*/ 78506 w 96479"/>
                  <a:gd name="connsiteY12" fmla="*/ 0 h 111521"/>
                  <a:gd name="connsiteX13" fmla="*/ 78506 w 96479"/>
                  <a:gd name="connsiteY13" fmla="*/ 0 h 111521"/>
                  <a:gd name="connsiteX14" fmla="*/ 93179 w 96479"/>
                  <a:gd name="connsiteY14" fmla="*/ 8804 h 111521"/>
                  <a:gd name="connsiteX15" fmla="*/ 55028 w 96479"/>
                  <a:gd name="connsiteY15" fmla="*/ 111521 h 111521"/>
                  <a:gd name="connsiteX16" fmla="*/ 52092 w 96479"/>
                  <a:gd name="connsiteY16" fmla="*/ 108587 h 111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6479" h="111521">
                    <a:moveTo>
                      <a:pt x="52092" y="108587"/>
                    </a:moveTo>
                    <a:cubicBezTo>
                      <a:pt x="52092" y="108587"/>
                      <a:pt x="49158" y="108587"/>
                      <a:pt x="52092" y="108587"/>
                    </a:cubicBezTo>
                    <a:cubicBezTo>
                      <a:pt x="46224" y="105652"/>
                      <a:pt x="46224" y="102717"/>
                      <a:pt x="46224" y="99782"/>
                    </a:cubicBezTo>
                    <a:cubicBezTo>
                      <a:pt x="72636" y="58696"/>
                      <a:pt x="90245" y="17608"/>
                      <a:pt x="84375" y="11739"/>
                    </a:cubicBezTo>
                    <a:cubicBezTo>
                      <a:pt x="81440" y="8804"/>
                      <a:pt x="78506" y="8804"/>
                      <a:pt x="78506" y="8804"/>
                    </a:cubicBezTo>
                    <a:cubicBezTo>
                      <a:pt x="72636" y="8804"/>
                      <a:pt x="66766" y="11739"/>
                      <a:pt x="60898" y="20543"/>
                    </a:cubicBezTo>
                    <a:cubicBezTo>
                      <a:pt x="55028" y="26413"/>
                      <a:pt x="49158" y="38152"/>
                      <a:pt x="40354" y="52826"/>
                    </a:cubicBezTo>
                    <a:cubicBezTo>
                      <a:pt x="28614" y="70435"/>
                      <a:pt x="16876" y="90978"/>
                      <a:pt x="11006" y="96847"/>
                    </a:cubicBezTo>
                    <a:cubicBezTo>
                      <a:pt x="8070" y="99782"/>
                      <a:pt x="5136" y="99782"/>
                      <a:pt x="2202" y="96847"/>
                    </a:cubicBezTo>
                    <a:cubicBezTo>
                      <a:pt x="-734" y="93913"/>
                      <a:pt x="-734" y="90978"/>
                      <a:pt x="2202" y="88043"/>
                    </a:cubicBezTo>
                    <a:cubicBezTo>
                      <a:pt x="8070" y="82174"/>
                      <a:pt x="19810" y="64565"/>
                      <a:pt x="31550" y="46956"/>
                    </a:cubicBezTo>
                    <a:cubicBezTo>
                      <a:pt x="40354" y="32282"/>
                      <a:pt x="49158" y="20543"/>
                      <a:pt x="55028" y="14674"/>
                    </a:cubicBezTo>
                    <a:cubicBezTo>
                      <a:pt x="63832" y="2935"/>
                      <a:pt x="72636" y="0"/>
                      <a:pt x="78506" y="0"/>
                    </a:cubicBezTo>
                    <a:cubicBezTo>
                      <a:pt x="78506" y="0"/>
                      <a:pt x="78506" y="0"/>
                      <a:pt x="78506" y="0"/>
                    </a:cubicBezTo>
                    <a:cubicBezTo>
                      <a:pt x="81440" y="0"/>
                      <a:pt x="87310" y="0"/>
                      <a:pt x="93179" y="8804"/>
                    </a:cubicBezTo>
                    <a:cubicBezTo>
                      <a:pt x="107853" y="26413"/>
                      <a:pt x="69702" y="85109"/>
                      <a:pt x="55028" y="111521"/>
                    </a:cubicBezTo>
                    <a:cubicBezTo>
                      <a:pt x="55028" y="108587"/>
                      <a:pt x="55028" y="108587"/>
                      <a:pt x="52092" y="108587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1E7477AB-F5C7-4FA6-816B-55B13178C807}"/>
                  </a:ext>
                </a:extLst>
              </p:cNvPr>
              <p:cNvSpPr/>
              <p:nvPr/>
            </p:nvSpPr>
            <p:spPr>
              <a:xfrm>
                <a:off x="20197993" y="8372810"/>
                <a:ext cx="126388" cy="132828"/>
              </a:xfrm>
              <a:custGeom>
                <a:avLst/>
                <a:gdLst>
                  <a:gd name="connsiteX0" fmla="*/ 5136 w 126388"/>
                  <a:gd name="connsiteY0" fmla="*/ 132829 h 132828"/>
                  <a:gd name="connsiteX1" fmla="*/ 2201 w 126388"/>
                  <a:gd name="connsiteY1" fmla="*/ 132829 h 132828"/>
                  <a:gd name="connsiteX2" fmla="*/ 2201 w 126388"/>
                  <a:gd name="connsiteY2" fmla="*/ 124024 h 132828"/>
                  <a:gd name="connsiteX3" fmla="*/ 37418 w 126388"/>
                  <a:gd name="connsiteY3" fmla="*/ 77068 h 132828"/>
                  <a:gd name="connsiteX4" fmla="*/ 43288 w 126388"/>
                  <a:gd name="connsiteY4" fmla="*/ 68263 h 132828"/>
                  <a:gd name="connsiteX5" fmla="*/ 81440 w 126388"/>
                  <a:gd name="connsiteY5" fmla="*/ 12503 h 132828"/>
                  <a:gd name="connsiteX6" fmla="*/ 113722 w 126388"/>
                  <a:gd name="connsiteY6" fmla="*/ 763 h 132828"/>
                  <a:gd name="connsiteX7" fmla="*/ 125462 w 126388"/>
                  <a:gd name="connsiteY7" fmla="*/ 9568 h 132828"/>
                  <a:gd name="connsiteX8" fmla="*/ 96114 w 126388"/>
                  <a:gd name="connsiteY8" fmla="*/ 74133 h 132828"/>
                  <a:gd name="connsiteX9" fmla="*/ 87310 w 126388"/>
                  <a:gd name="connsiteY9" fmla="*/ 74133 h 132828"/>
                  <a:gd name="connsiteX10" fmla="*/ 87310 w 126388"/>
                  <a:gd name="connsiteY10" fmla="*/ 65328 h 132828"/>
                  <a:gd name="connsiteX11" fmla="*/ 113722 w 126388"/>
                  <a:gd name="connsiteY11" fmla="*/ 12503 h 132828"/>
                  <a:gd name="connsiteX12" fmla="*/ 110788 w 126388"/>
                  <a:gd name="connsiteY12" fmla="*/ 9568 h 132828"/>
                  <a:gd name="connsiteX13" fmla="*/ 87310 w 126388"/>
                  <a:gd name="connsiteY13" fmla="*/ 18372 h 132828"/>
                  <a:gd name="connsiteX14" fmla="*/ 52092 w 126388"/>
                  <a:gd name="connsiteY14" fmla="*/ 71198 h 132828"/>
                  <a:gd name="connsiteX15" fmla="*/ 46222 w 126388"/>
                  <a:gd name="connsiteY15" fmla="*/ 80002 h 132828"/>
                  <a:gd name="connsiteX16" fmla="*/ 8070 w 126388"/>
                  <a:gd name="connsiteY16" fmla="*/ 126959 h 132828"/>
                  <a:gd name="connsiteX17" fmla="*/ 5136 w 126388"/>
                  <a:gd name="connsiteY17" fmla="*/ 132829 h 132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6388" h="132828">
                    <a:moveTo>
                      <a:pt x="5136" y="132829"/>
                    </a:moveTo>
                    <a:cubicBezTo>
                      <a:pt x="5136" y="132829"/>
                      <a:pt x="2201" y="132829"/>
                      <a:pt x="2201" y="132829"/>
                    </a:cubicBezTo>
                    <a:cubicBezTo>
                      <a:pt x="-734" y="129894"/>
                      <a:pt x="-734" y="126959"/>
                      <a:pt x="2201" y="124024"/>
                    </a:cubicBezTo>
                    <a:cubicBezTo>
                      <a:pt x="11005" y="112285"/>
                      <a:pt x="34484" y="82937"/>
                      <a:pt x="37418" y="77068"/>
                    </a:cubicBezTo>
                    <a:cubicBezTo>
                      <a:pt x="37418" y="74133"/>
                      <a:pt x="40352" y="71198"/>
                      <a:pt x="43288" y="68263"/>
                    </a:cubicBezTo>
                    <a:cubicBezTo>
                      <a:pt x="57962" y="44785"/>
                      <a:pt x="72636" y="18372"/>
                      <a:pt x="81440" y="12503"/>
                    </a:cubicBezTo>
                    <a:cubicBezTo>
                      <a:pt x="90244" y="3698"/>
                      <a:pt x="104918" y="-2171"/>
                      <a:pt x="113722" y="763"/>
                    </a:cubicBezTo>
                    <a:cubicBezTo>
                      <a:pt x="119592" y="763"/>
                      <a:pt x="122528" y="6633"/>
                      <a:pt x="125462" y="9568"/>
                    </a:cubicBezTo>
                    <a:cubicBezTo>
                      <a:pt x="131332" y="24242"/>
                      <a:pt x="107854" y="59459"/>
                      <a:pt x="96114" y="74133"/>
                    </a:cubicBezTo>
                    <a:cubicBezTo>
                      <a:pt x="93180" y="77068"/>
                      <a:pt x="90244" y="77068"/>
                      <a:pt x="87310" y="74133"/>
                    </a:cubicBezTo>
                    <a:cubicBezTo>
                      <a:pt x="84374" y="71198"/>
                      <a:pt x="84374" y="68263"/>
                      <a:pt x="87310" y="65328"/>
                    </a:cubicBezTo>
                    <a:cubicBezTo>
                      <a:pt x="104918" y="41851"/>
                      <a:pt x="116658" y="18372"/>
                      <a:pt x="113722" y="12503"/>
                    </a:cubicBezTo>
                    <a:cubicBezTo>
                      <a:pt x="113722" y="9568"/>
                      <a:pt x="110788" y="9568"/>
                      <a:pt x="110788" y="9568"/>
                    </a:cubicBezTo>
                    <a:cubicBezTo>
                      <a:pt x="104918" y="9568"/>
                      <a:pt x="93180" y="12503"/>
                      <a:pt x="87310" y="18372"/>
                    </a:cubicBezTo>
                    <a:cubicBezTo>
                      <a:pt x="78506" y="24242"/>
                      <a:pt x="60896" y="56524"/>
                      <a:pt x="52092" y="71198"/>
                    </a:cubicBezTo>
                    <a:cubicBezTo>
                      <a:pt x="49158" y="77068"/>
                      <a:pt x="46222" y="80002"/>
                      <a:pt x="46222" y="80002"/>
                    </a:cubicBezTo>
                    <a:cubicBezTo>
                      <a:pt x="40352" y="88807"/>
                      <a:pt x="11005" y="126959"/>
                      <a:pt x="8070" y="126959"/>
                    </a:cubicBezTo>
                    <a:cubicBezTo>
                      <a:pt x="8070" y="132829"/>
                      <a:pt x="5136" y="132829"/>
                      <a:pt x="5136" y="132829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955523DF-65F3-48C0-B4C3-83119A3E6644}"/>
                </a:ext>
              </a:extLst>
            </p:cNvPr>
            <p:cNvSpPr/>
            <p:nvPr/>
          </p:nvSpPr>
          <p:spPr>
            <a:xfrm>
              <a:off x="22030605" y="8037599"/>
              <a:ext cx="533972" cy="883298"/>
            </a:xfrm>
            <a:custGeom>
              <a:avLst/>
              <a:gdLst>
                <a:gd name="connsiteX0" fmla="*/ 24372 w 533972"/>
                <a:gd name="connsiteY0" fmla="*/ 635322 h 883298"/>
                <a:gd name="connsiteX1" fmla="*/ 144697 w 533972"/>
                <a:gd name="connsiteY1" fmla="*/ 867170 h 883298"/>
                <a:gd name="connsiteX2" fmla="*/ 303176 w 533972"/>
                <a:gd name="connsiteY2" fmla="*/ 881844 h 883298"/>
                <a:gd name="connsiteX3" fmla="*/ 458720 w 533972"/>
                <a:gd name="connsiteY3" fmla="*/ 858365 h 883298"/>
                <a:gd name="connsiteX4" fmla="*/ 529155 w 533972"/>
                <a:gd name="connsiteY4" fmla="*/ 723365 h 883298"/>
                <a:gd name="connsiteX5" fmla="*/ 414698 w 533972"/>
                <a:gd name="connsiteY5" fmla="*/ 561952 h 883298"/>
                <a:gd name="connsiteX6" fmla="*/ 400024 w 533972"/>
                <a:gd name="connsiteY6" fmla="*/ 426952 h 883298"/>
                <a:gd name="connsiteX7" fmla="*/ 320784 w 533972"/>
                <a:gd name="connsiteY7" fmla="*/ 350648 h 883298"/>
                <a:gd name="connsiteX8" fmla="*/ 282633 w 533972"/>
                <a:gd name="connsiteY8" fmla="*/ 180430 h 883298"/>
                <a:gd name="connsiteX9" fmla="*/ 3828 w 533972"/>
                <a:gd name="connsiteY9" fmla="*/ 1409 h 883298"/>
                <a:gd name="connsiteX10" fmla="*/ 53720 w 533972"/>
                <a:gd name="connsiteY10" fmla="*/ 42496 h 883298"/>
                <a:gd name="connsiteX11" fmla="*/ 106546 w 533972"/>
                <a:gd name="connsiteY11" fmla="*/ 65974 h 883298"/>
                <a:gd name="connsiteX12" fmla="*/ 24372 w 533972"/>
                <a:gd name="connsiteY12" fmla="*/ 635322 h 883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3972" h="883298">
                  <a:moveTo>
                    <a:pt x="24372" y="635322"/>
                  </a:moveTo>
                  <a:cubicBezTo>
                    <a:pt x="41980" y="726300"/>
                    <a:pt x="44916" y="831953"/>
                    <a:pt x="144697" y="867170"/>
                  </a:cubicBezTo>
                  <a:cubicBezTo>
                    <a:pt x="194589" y="884778"/>
                    <a:pt x="250351" y="884778"/>
                    <a:pt x="303176" y="881844"/>
                  </a:cubicBezTo>
                  <a:cubicBezTo>
                    <a:pt x="353068" y="878909"/>
                    <a:pt x="411764" y="878909"/>
                    <a:pt x="458720" y="858365"/>
                  </a:cubicBezTo>
                  <a:cubicBezTo>
                    <a:pt x="514481" y="834887"/>
                    <a:pt x="546763" y="782061"/>
                    <a:pt x="529155" y="723365"/>
                  </a:cubicBezTo>
                  <a:cubicBezTo>
                    <a:pt x="508611" y="658800"/>
                    <a:pt x="429372" y="626518"/>
                    <a:pt x="414698" y="561952"/>
                  </a:cubicBezTo>
                  <a:cubicBezTo>
                    <a:pt x="405894" y="514996"/>
                    <a:pt x="429372" y="470974"/>
                    <a:pt x="400024" y="426952"/>
                  </a:cubicBezTo>
                  <a:cubicBezTo>
                    <a:pt x="379480" y="394670"/>
                    <a:pt x="341328" y="379996"/>
                    <a:pt x="320784" y="350648"/>
                  </a:cubicBezTo>
                  <a:cubicBezTo>
                    <a:pt x="282633" y="300757"/>
                    <a:pt x="306110" y="236192"/>
                    <a:pt x="282633" y="180430"/>
                  </a:cubicBezTo>
                  <a:cubicBezTo>
                    <a:pt x="244481" y="89452"/>
                    <a:pt x="109481" y="-13265"/>
                    <a:pt x="3828" y="1409"/>
                  </a:cubicBezTo>
                  <a:cubicBezTo>
                    <a:pt x="-13780" y="4343"/>
                    <a:pt x="36112" y="33691"/>
                    <a:pt x="53720" y="42496"/>
                  </a:cubicBezTo>
                  <a:cubicBezTo>
                    <a:pt x="71328" y="48365"/>
                    <a:pt x="88938" y="57170"/>
                    <a:pt x="106546" y="65974"/>
                  </a:cubicBezTo>
                  <a:cubicBezTo>
                    <a:pt x="-34324" y="198039"/>
                    <a:pt x="-4976" y="465105"/>
                    <a:pt x="24372" y="635322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02A5A8A7-D772-468D-B593-C78E9C29C1C0}"/>
                </a:ext>
              </a:extLst>
            </p:cNvPr>
            <p:cNvSpPr/>
            <p:nvPr/>
          </p:nvSpPr>
          <p:spPr>
            <a:xfrm>
              <a:off x="21541457" y="8030829"/>
              <a:ext cx="499219" cy="822513"/>
            </a:xfrm>
            <a:custGeom>
              <a:avLst/>
              <a:gdLst>
                <a:gd name="connsiteX0" fmla="*/ 434280 w 499219"/>
                <a:gd name="connsiteY0" fmla="*/ 451331 h 822513"/>
                <a:gd name="connsiteX1" fmla="*/ 425476 w 499219"/>
                <a:gd name="connsiteY1" fmla="*/ 295788 h 822513"/>
                <a:gd name="connsiteX2" fmla="*/ 466564 w 499219"/>
                <a:gd name="connsiteY2" fmla="*/ 154918 h 822513"/>
                <a:gd name="connsiteX3" fmla="*/ 498846 w 499219"/>
                <a:gd name="connsiteY3" fmla="*/ 8179 h 822513"/>
                <a:gd name="connsiteX4" fmla="*/ 199498 w 499219"/>
                <a:gd name="connsiteY4" fmla="*/ 184266 h 822513"/>
                <a:gd name="connsiteX5" fmla="*/ 199498 w 499219"/>
                <a:gd name="connsiteY5" fmla="*/ 240027 h 822513"/>
                <a:gd name="connsiteX6" fmla="*/ 152542 w 499219"/>
                <a:gd name="connsiteY6" fmla="*/ 295788 h 822513"/>
                <a:gd name="connsiteX7" fmla="*/ 102650 w 499219"/>
                <a:gd name="connsiteY7" fmla="*/ 360353 h 822513"/>
                <a:gd name="connsiteX8" fmla="*/ 102650 w 499219"/>
                <a:gd name="connsiteY8" fmla="*/ 445462 h 822513"/>
                <a:gd name="connsiteX9" fmla="*/ 82106 w 499219"/>
                <a:gd name="connsiteY9" fmla="*/ 518831 h 822513"/>
                <a:gd name="connsiteX10" fmla="*/ 14607 w 499219"/>
                <a:gd name="connsiteY10" fmla="*/ 615679 h 822513"/>
                <a:gd name="connsiteX11" fmla="*/ 61563 w 499219"/>
                <a:gd name="connsiteY11" fmla="*/ 797636 h 822513"/>
                <a:gd name="connsiteX12" fmla="*/ 258193 w 499219"/>
                <a:gd name="connsiteY12" fmla="*/ 821114 h 822513"/>
                <a:gd name="connsiteX13" fmla="*/ 264063 w 499219"/>
                <a:gd name="connsiteY13" fmla="*/ 733071 h 822513"/>
                <a:gd name="connsiteX14" fmla="*/ 355041 w 499219"/>
                <a:gd name="connsiteY14" fmla="*/ 724266 h 822513"/>
                <a:gd name="connsiteX15" fmla="*/ 443084 w 499219"/>
                <a:gd name="connsiteY15" fmla="*/ 571657 h 822513"/>
                <a:gd name="connsiteX16" fmla="*/ 434280 w 499219"/>
                <a:gd name="connsiteY16" fmla="*/ 451331 h 822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99219" h="822513">
                  <a:moveTo>
                    <a:pt x="434280" y="451331"/>
                  </a:moveTo>
                  <a:cubicBezTo>
                    <a:pt x="425476" y="401440"/>
                    <a:pt x="419606" y="348614"/>
                    <a:pt x="425476" y="295788"/>
                  </a:cubicBezTo>
                  <a:cubicBezTo>
                    <a:pt x="431346" y="245896"/>
                    <a:pt x="446020" y="198940"/>
                    <a:pt x="466564" y="154918"/>
                  </a:cubicBezTo>
                  <a:cubicBezTo>
                    <a:pt x="487106" y="107962"/>
                    <a:pt x="501780" y="8179"/>
                    <a:pt x="498846" y="8179"/>
                  </a:cubicBezTo>
                  <a:cubicBezTo>
                    <a:pt x="387325" y="-27038"/>
                    <a:pt x="196564" y="55136"/>
                    <a:pt x="199498" y="184266"/>
                  </a:cubicBezTo>
                  <a:cubicBezTo>
                    <a:pt x="199498" y="204810"/>
                    <a:pt x="202434" y="222419"/>
                    <a:pt x="199498" y="240027"/>
                  </a:cubicBezTo>
                  <a:cubicBezTo>
                    <a:pt x="193628" y="269375"/>
                    <a:pt x="176020" y="281114"/>
                    <a:pt x="152542" y="295788"/>
                  </a:cubicBezTo>
                  <a:cubicBezTo>
                    <a:pt x="129064" y="313397"/>
                    <a:pt x="111454" y="333940"/>
                    <a:pt x="102650" y="360353"/>
                  </a:cubicBezTo>
                  <a:cubicBezTo>
                    <a:pt x="93846" y="389701"/>
                    <a:pt x="96780" y="416114"/>
                    <a:pt x="102650" y="445462"/>
                  </a:cubicBezTo>
                  <a:cubicBezTo>
                    <a:pt x="108520" y="474810"/>
                    <a:pt x="108520" y="498288"/>
                    <a:pt x="82106" y="518831"/>
                  </a:cubicBezTo>
                  <a:cubicBezTo>
                    <a:pt x="67433" y="533505"/>
                    <a:pt x="20477" y="598070"/>
                    <a:pt x="14607" y="615679"/>
                  </a:cubicBezTo>
                  <a:cubicBezTo>
                    <a:pt x="-23545" y="715462"/>
                    <a:pt x="20477" y="756549"/>
                    <a:pt x="61563" y="797636"/>
                  </a:cubicBezTo>
                  <a:cubicBezTo>
                    <a:pt x="117324" y="850462"/>
                    <a:pt x="199498" y="785897"/>
                    <a:pt x="258193" y="821114"/>
                  </a:cubicBezTo>
                  <a:cubicBezTo>
                    <a:pt x="281671" y="835788"/>
                    <a:pt x="234716" y="730136"/>
                    <a:pt x="264063" y="733071"/>
                  </a:cubicBezTo>
                  <a:cubicBezTo>
                    <a:pt x="290477" y="736005"/>
                    <a:pt x="328629" y="733071"/>
                    <a:pt x="355041" y="724266"/>
                  </a:cubicBezTo>
                  <a:cubicBezTo>
                    <a:pt x="404933" y="703723"/>
                    <a:pt x="434280" y="621549"/>
                    <a:pt x="443084" y="571657"/>
                  </a:cubicBezTo>
                  <a:cubicBezTo>
                    <a:pt x="448954" y="533505"/>
                    <a:pt x="440150" y="492418"/>
                    <a:pt x="434280" y="451331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10EAF2CC-BA86-407E-A315-842F4E3AD8A5}"/>
                </a:ext>
              </a:extLst>
            </p:cNvPr>
            <p:cNvSpPr/>
            <p:nvPr/>
          </p:nvSpPr>
          <p:spPr>
            <a:xfrm>
              <a:off x="20628622" y="8661062"/>
              <a:ext cx="936565" cy="401475"/>
            </a:xfrm>
            <a:custGeom>
              <a:avLst/>
              <a:gdLst>
                <a:gd name="connsiteX0" fmla="*/ 807117 w 936565"/>
                <a:gd name="connsiteY0" fmla="*/ 114576 h 401475"/>
                <a:gd name="connsiteX1" fmla="*/ 390377 w 936565"/>
                <a:gd name="connsiteY1" fmla="*/ 205555 h 401475"/>
                <a:gd name="connsiteX2" fmla="*/ 44073 w 936565"/>
                <a:gd name="connsiteY2" fmla="*/ 120 h 401475"/>
                <a:gd name="connsiteX3" fmla="*/ 51 w 936565"/>
                <a:gd name="connsiteY3" fmla="*/ 91098 h 401475"/>
                <a:gd name="connsiteX4" fmla="*/ 328746 w 936565"/>
                <a:gd name="connsiteY4" fmla="*/ 387511 h 401475"/>
                <a:gd name="connsiteX5" fmla="*/ 874616 w 936565"/>
                <a:gd name="connsiteY5" fmla="*/ 369903 h 401475"/>
                <a:gd name="connsiteX6" fmla="*/ 807117 w 936565"/>
                <a:gd name="connsiteY6" fmla="*/ 114576 h 40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6565" h="401475">
                  <a:moveTo>
                    <a:pt x="807117" y="114576"/>
                  </a:moveTo>
                  <a:cubicBezTo>
                    <a:pt x="722007" y="123381"/>
                    <a:pt x="390377" y="205555"/>
                    <a:pt x="390377" y="205555"/>
                  </a:cubicBezTo>
                  <a:cubicBezTo>
                    <a:pt x="390377" y="205555"/>
                    <a:pt x="49941" y="-5749"/>
                    <a:pt x="44073" y="120"/>
                  </a:cubicBezTo>
                  <a:cubicBezTo>
                    <a:pt x="-14623" y="35337"/>
                    <a:pt x="20593" y="26533"/>
                    <a:pt x="51" y="91098"/>
                  </a:cubicBezTo>
                  <a:cubicBezTo>
                    <a:pt x="-2885" y="99902"/>
                    <a:pt x="120377" y="258381"/>
                    <a:pt x="328746" y="387511"/>
                  </a:cubicBezTo>
                  <a:cubicBezTo>
                    <a:pt x="384507" y="422729"/>
                    <a:pt x="733747" y="381642"/>
                    <a:pt x="874616" y="369903"/>
                  </a:cubicBezTo>
                  <a:cubicBezTo>
                    <a:pt x="959724" y="361098"/>
                    <a:pt x="974398" y="96968"/>
                    <a:pt x="807117" y="114576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80713D95-398B-4BFD-A7B4-F70ED8F1073C}"/>
                </a:ext>
              </a:extLst>
            </p:cNvPr>
            <p:cNvSpPr/>
            <p:nvPr/>
          </p:nvSpPr>
          <p:spPr>
            <a:xfrm>
              <a:off x="21406346" y="8699647"/>
              <a:ext cx="443807" cy="390013"/>
            </a:xfrm>
            <a:custGeom>
              <a:avLst/>
              <a:gdLst>
                <a:gd name="connsiteX0" fmla="*/ 67544 w 443807"/>
                <a:gd name="connsiteY0" fmla="*/ 390014 h 390013"/>
                <a:gd name="connsiteX1" fmla="*/ 443196 w 443807"/>
                <a:gd name="connsiteY1" fmla="*/ 64253 h 390013"/>
                <a:gd name="connsiteX2" fmla="*/ 8848 w 443807"/>
                <a:gd name="connsiteY2" fmla="*/ 34905 h 390013"/>
                <a:gd name="connsiteX3" fmla="*/ 67544 w 443807"/>
                <a:gd name="connsiteY3" fmla="*/ 390014 h 390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3807" h="390013">
                  <a:moveTo>
                    <a:pt x="67544" y="390014"/>
                  </a:moveTo>
                  <a:cubicBezTo>
                    <a:pt x="243631" y="381209"/>
                    <a:pt x="431456" y="140557"/>
                    <a:pt x="443196" y="64253"/>
                  </a:cubicBezTo>
                  <a:cubicBezTo>
                    <a:pt x="457870" y="-35530"/>
                    <a:pt x="205479" y="2622"/>
                    <a:pt x="8848" y="34905"/>
                  </a:cubicBezTo>
                  <a:cubicBezTo>
                    <a:pt x="-20499" y="102405"/>
                    <a:pt x="29392" y="299035"/>
                    <a:pt x="67544" y="390014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1F7C60F1-19DE-4198-953E-45D1B57899B6}"/>
                </a:ext>
              </a:extLst>
            </p:cNvPr>
            <p:cNvGrpSpPr/>
            <p:nvPr/>
          </p:nvGrpSpPr>
          <p:grpSpPr>
            <a:xfrm>
              <a:off x="21528917" y="11912921"/>
              <a:ext cx="350915" cy="374645"/>
              <a:chOff x="21528917" y="11912921"/>
              <a:chExt cx="350915" cy="374645"/>
            </a:xfrm>
          </p:grpSpPr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194E232D-1516-4E6D-B291-7BFCF69E1125}"/>
                  </a:ext>
                </a:extLst>
              </p:cNvPr>
              <p:cNvSpPr/>
              <p:nvPr/>
            </p:nvSpPr>
            <p:spPr>
              <a:xfrm>
                <a:off x="21528917" y="12036182"/>
                <a:ext cx="350915" cy="251384"/>
              </a:xfrm>
              <a:custGeom>
                <a:avLst/>
                <a:gdLst>
                  <a:gd name="connsiteX0" fmla="*/ 217908 w 350915"/>
                  <a:gd name="connsiteY0" fmla="*/ 0 h 251384"/>
                  <a:gd name="connsiteX1" fmla="*/ 103450 w 350915"/>
                  <a:gd name="connsiteY1" fmla="*/ 158478 h 251384"/>
                  <a:gd name="connsiteX2" fmla="*/ 311821 w 350915"/>
                  <a:gd name="connsiteY2" fmla="*/ 35218 h 251384"/>
                  <a:gd name="connsiteX3" fmla="*/ 332365 w 350915"/>
                  <a:gd name="connsiteY3" fmla="*/ 20544 h 251384"/>
                  <a:gd name="connsiteX4" fmla="*/ 349973 w 350915"/>
                  <a:gd name="connsiteY4" fmla="*/ 93913 h 251384"/>
                  <a:gd name="connsiteX5" fmla="*/ 338233 w 350915"/>
                  <a:gd name="connsiteY5" fmla="*/ 225979 h 251384"/>
                  <a:gd name="connsiteX6" fmla="*/ 311821 w 350915"/>
                  <a:gd name="connsiteY6" fmla="*/ 225979 h 251384"/>
                  <a:gd name="connsiteX7" fmla="*/ 297147 w 350915"/>
                  <a:gd name="connsiteY7" fmla="*/ 120326 h 251384"/>
                  <a:gd name="connsiteX8" fmla="*/ 159212 w 350915"/>
                  <a:gd name="connsiteY8" fmla="*/ 246522 h 251384"/>
                  <a:gd name="connsiteX9" fmla="*/ 6603 w 350915"/>
                  <a:gd name="connsiteY9" fmla="*/ 249457 h 251384"/>
                  <a:gd name="connsiteX10" fmla="*/ 6603 w 350915"/>
                  <a:gd name="connsiteY10" fmla="*/ 205435 h 251384"/>
                  <a:gd name="connsiteX11" fmla="*/ 217908 w 350915"/>
                  <a:gd name="connsiteY11" fmla="*/ 0 h 251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0915" h="251384">
                    <a:moveTo>
                      <a:pt x="217908" y="0"/>
                    </a:moveTo>
                    <a:cubicBezTo>
                      <a:pt x="217908" y="0"/>
                      <a:pt x="88777" y="149674"/>
                      <a:pt x="103450" y="158478"/>
                    </a:cubicBezTo>
                    <a:cubicBezTo>
                      <a:pt x="121060" y="167283"/>
                      <a:pt x="311821" y="35218"/>
                      <a:pt x="311821" y="35218"/>
                    </a:cubicBezTo>
                    <a:lnTo>
                      <a:pt x="332365" y="20544"/>
                    </a:lnTo>
                    <a:cubicBezTo>
                      <a:pt x="332365" y="20544"/>
                      <a:pt x="355843" y="67500"/>
                      <a:pt x="349973" y="93913"/>
                    </a:cubicBezTo>
                    <a:cubicBezTo>
                      <a:pt x="344103" y="120326"/>
                      <a:pt x="338233" y="225979"/>
                      <a:pt x="338233" y="225979"/>
                    </a:cubicBezTo>
                    <a:lnTo>
                      <a:pt x="311821" y="225979"/>
                    </a:lnTo>
                    <a:lnTo>
                      <a:pt x="297147" y="120326"/>
                    </a:lnTo>
                    <a:cubicBezTo>
                      <a:pt x="297147" y="120326"/>
                      <a:pt x="179756" y="243587"/>
                      <a:pt x="159212" y="246522"/>
                    </a:cubicBezTo>
                    <a:cubicBezTo>
                      <a:pt x="138668" y="252391"/>
                      <a:pt x="18343" y="252391"/>
                      <a:pt x="6603" y="249457"/>
                    </a:cubicBezTo>
                    <a:cubicBezTo>
                      <a:pt x="-2201" y="249457"/>
                      <a:pt x="-2201" y="211305"/>
                      <a:pt x="6603" y="205435"/>
                    </a:cubicBezTo>
                    <a:cubicBezTo>
                      <a:pt x="82908" y="164348"/>
                      <a:pt x="217908" y="0"/>
                      <a:pt x="217908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D1E47847-E117-4FAA-8815-BB4B6379174E}"/>
                  </a:ext>
                </a:extLst>
              </p:cNvPr>
              <p:cNvSpPr/>
              <p:nvPr/>
            </p:nvSpPr>
            <p:spPr>
              <a:xfrm>
                <a:off x="21630240" y="11912921"/>
                <a:ext cx="228136" cy="283416"/>
              </a:xfrm>
              <a:custGeom>
                <a:avLst/>
                <a:gdLst>
                  <a:gd name="connsiteX0" fmla="*/ 163540 w 228136"/>
                  <a:gd name="connsiteY0" fmla="*/ 2935 h 283416"/>
                  <a:gd name="connsiteX1" fmla="*/ 116584 w 228136"/>
                  <a:gd name="connsiteY1" fmla="*/ 123261 h 283416"/>
                  <a:gd name="connsiteX2" fmla="*/ 2127 w 228136"/>
                  <a:gd name="connsiteY2" fmla="*/ 281739 h 283416"/>
                  <a:gd name="connsiteX3" fmla="*/ 228106 w 228136"/>
                  <a:gd name="connsiteY3" fmla="*/ 143805 h 283416"/>
                  <a:gd name="connsiteX4" fmla="*/ 219302 w 228136"/>
                  <a:gd name="connsiteY4" fmla="*/ 0 h 283416"/>
                  <a:gd name="connsiteX5" fmla="*/ 163540 w 228136"/>
                  <a:gd name="connsiteY5" fmla="*/ 0 h 283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136" h="283416">
                    <a:moveTo>
                      <a:pt x="163540" y="2935"/>
                    </a:moveTo>
                    <a:lnTo>
                      <a:pt x="116584" y="123261"/>
                    </a:lnTo>
                    <a:cubicBezTo>
                      <a:pt x="116584" y="123261"/>
                      <a:pt x="-18415" y="267065"/>
                      <a:pt x="2127" y="281739"/>
                    </a:cubicBezTo>
                    <a:cubicBezTo>
                      <a:pt x="22671" y="299348"/>
                      <a:pt x="231042" y="173153"/>
                      <a:pt x="228106" y="143805"/>
                    </a:cubicBezTo>
                    <a:cubicBezTo>
                      <a:pt x="228106" y="96848"/>
                      <a:pt x="219302" y="0"/>
                      <a:pt x="219302" y="0"/>
                    </a:cubicBezTo>
                    <a:lnTo>
                      <a:pt x="163540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7" name="图形 1">
              <a:extLst>
                <a:ext uri="{FF2B5EF4-FFF2-40B4-BE49-F238E27FC236}">
                  <a16:creationId xmlns:a16="http://schemas.microsoft.com/office/drawing/2014/main" id="{5D357703-E165-4054-A1E8-082AF17DAF75}"/>
                </a:ext>
              </a:extLst>
            </p:cNvPr>
            <p:cNvGrpSpPr/>
            <p:nvPr/>
          </p:nvGrpSpPr>
          <p:grpSpPr>
            <a:xfrm>
              <a:off x="22386827" y="11860095"/>
              <a:ext cx="316735" cy="434520"/>
              <a:chOff x="22386827" y="11860095"/>
              <a:chExt cx="316735" cy="434520"/>
            </a:xfrm>
          </p:grpSpPr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3913B78E-117B-49B6-B3A5-40ACDE27B858}"/>
                  </a:ext>
                </a:extLst>
              </p:cNvPr>
              <p:cNvSpPr/>
              <p:nvPr/>
            </p:nvSpPr>
            <p:spPr>
              <a:xfrm>
                <a:off x="22386827" y="11962813"/>
                <a:ext cx="316735" cy="331803"/>
              </a:xfrm>
              <a:custGeom>
                <a:avLst/>
                <a:gdLst>
                  <a:gd name="connsiteX0" fmla="*/ 128911 w 316735"/>
                  <a:gd name="connsiteY0" fmla="*/ 17609 h 331803"/>
                  <a:gd name="connsiteX1" fmla="*/ 76085 w 316735"/>
                  <a:gd name="connsiteY1" fmla="*/ 205435 h 331803"/>
                  <a:gd name="connsiteX2" fmla="*/ 228692 w 316735"/>
                  <a:gd name="connsiteY2" fmla="*/ 20544 h 331803"/>
                  <a:gd name="connsiteX3" fmla="*/ 240432 w 316735"/>
                  <a:gd name="connsiteY3" fmla="*/ 0 h 331803"/>
                  <a:gd name="connsiteX4" fmla="*/ 281520 w 316735"/>
                  <a:gd name="connsiteY4" fmla="*/ 64566 h 331803"/>
                  <a:gd name="connsiteX5" fmla="*/ 316736 w 316735"/>
                  <a:gd name="connsiteY5" fmla="*/ 193696 h 331803"/>
                  <a:gd name="connsiteX6" fmla="*/ 293258 w 316735"/>
                  <a:gd name="connsiteY6" fmla="*/ 202500 h 331803"/>
                  <a:gd name="connsiteX7" fmla="*/ 243366 w 316735"/>
                  <a:gd name="connsiteY7" fmla="*/ 108587 h 331803"/>
                  <a:gd name="connsiteX8" fmla="*/ 158259 w 316735"/>
                  <a:gd name="connsiteY8" fmla="*/ 275869 h 331803"/>
                  <a:gd name="connsiteX9" fmla="*/ 17389 w 316735"/>
                  <a:gd name="connsiteY9" fmla="*/ 331630 h 331803"/>
                  <a:gd name="connsiteX10" fmla="*/ 2716 w 316735"/>
                  <a:gd name="connsiteY10" fmla="*/ 287608 h 331803"/>
                  <a:gd name="connsiteX11" fmla="*/ 128911 w 316735"/>
                  <a:gd name="connsiteY11" fmla="*/ 17609 h 331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16735" h="331803">
                    <a:moveTo>
                      <a:pt x="128911" y="17609"/>
                    </a:moveTo>
                    <a:cubicBezTo>
                      <a:pt x="128911" y="17609"/>
                      <a:pt x="58475" y="202500"/>
                      <a:pt x="76085" y="205435"/>
                    </a:cubicBezTo>
                    <a:cubicBezTo>
                      <a:pt x="93693" y="208370"/>
                      <a:pt x="228692" y="20544"/>
                      <a:pt x="228692" y="20544"/>
                    </a:cubicBezTo>
                    <a:lnTo>
                      <a:pt x="240432" y="0"/>
                    </a:lnTo>
                    <a:cubicBezTo>
                      <a:pt x="240432" y="0"/>
                      <a:pt x="278584" y="38152"/>
                      <a:pt x="281520" y="64566"/>
                    </a:cubicBezTo>
                    <a:cubicBezTo>
                      <a:pt x="287388" y="90978"/>
                      <a:pt x="316736" y="193696"/>
                      <a:pt x="316736" y="193696"/>
                    </a:cubicBezTo>
                    <a:lnTo>
                      <a:pt x="293258" y="202500"/>
                    </a:lnTo>
                    <a:lnTo>
                      <a:pt x="243366" y="108587"/>
                    </a:lnTo>
                    <a:cubicBezTo>
                      <a:pt x="243366" y="108587"/>
                      <a:pt x="175867" y="264130"/>
                      <a:pt x="158259" y="275869"/>
                    </a:cubicBezTo>
                    <a:cubicBezTo>
                      <a:pt x="140649" y="287608"/>
                      <a:pt x="26193" y="328696"/>
                      <a:pt x="17389" y="331630"/>
                    </a:cubicBezTo>
                    <a:cubicBezTo>
                      <a:pt x="8584" y="334565"/>
                      <a:pt x="-6090" y="299348"/>
                      <a:pt x="2716" y="287608"/>
                    </a:cubicBezTo>
                    <a:cubicBezTo>
                      <a:pt x="55541" y="217174"/>
                      <a:pt x="128911" y="17609"/>
                      <a:pt x="128911" y="17609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5DAB576B-C025-4B5A-887B-164C73CA95C5}"/>
                  </a:ext>
                </a:extLst>
              </p:cNvPr>
              <p:cNvSpPr/>
              <p:nvPr/>
            </p:nvSpPr>
            <p:spPr>
              <a:xfrm>
                <a:off x="22457521" y="11860095"/>
                <a:ext cx="173045" cy="308451"/>
              </a:xfrm>
              <a:custGeom>
                <a:avLst/>
                <a:gdLst>
                  <a:gd name="connsiteX0" fmla="*/ 17129 w 173045"/>
                  <a:gd name="connsiteY0" fmla="*/ 5870 h 308451"/>
                  <a:gd name="connsiteX1" fmla="*/ 58216 w 173045"/>
                  <a:gd name="connsiteY1" fmla="*/ 120326 h 308451"/>
                  <a:gd name="connsiteX2" fmla="*/ 5391 w 173045"/>
                  <a:gd name="connsiteY2" fmla="*/ 308152 h 308451"/>
                  <a:gd name="connsiteX3" fmla="*/ 172672 w 173045"/>
                  <a:gd name="connsiteY3" fmla="*/ 99782 h 308451"/>
                  <a:gd name="connsiteX4" fmla="*/ 64086 w 173045"/>
                  <a:gd name="connsiteY4" fmla="*/ 0 h 308451"/>
                  <a:gd name="connsiteX5" fmla="*/ 17129 w 173045"/>
                  <a:gd name="connsiteY5" fmla="*/ 5870 h 308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3045" h="308451">
                    <a:moveTo>
                      <a:pt x="17129" y="5870"/>
                    </a:moveTo>
                    <a:lnTo>
                      <a:pt x="58216" y="120326"/>
                    </a:lnTo>
                    <a:cubicBezTo>
                      <a:pt x="58216" y="120326"/>
                      <a:pt x="-21023" y="299348"/>
                      <a:pt x="5391" y="308152"/>
                    </a:cubicBezTo>
                    <a:cubicBezTo>
                      <a:pt x="31803" y="316956"/>
                      <a:pt x="181478" y="129130"/>
                      <a:pt x="172672" y="99782"/>
                    </a:cubicBezTo>
                    <a:cubicBezTo>
                      <a:pt x="122782" y="64566"/>
                      <a:pt x="64086" y="0"/>
                      <a:pt x="64086" y="0"/>
                    </a:cubicBezTo>
                    <a:lnTo>
                      <a:pt x="17129" y="5870"/>
                    </a:ln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B3B1CE32-87CB-43B8-AB68-3AE1D58DBA3D}"/>
                </a:ext>
              </a:extLst>
            </p:cNvPr>
            <p:cNvSpPr/>
            <p:nvPr/>
          </p:nvSpPr>
          <p:spPr>
            <a:xfrm>
              <a:off x="21595852" y="9573900"/>
              <a:ext cx="1034340" cy="2485760"/>
            </a:xfrm>
            <a:custGeom>
              <a:avLst/>
              <a:gdLst>
                <a:gd name="connsiteX0" fmla="*/ 758472 w 1034340"/>
                <a:gd name="connsiteY0" fmla="*/ 0 h 2485760"/>
                <a:gd name="connsiteX1" fmla="*/ 115754 w 1034340"/>
                <a:gd name="connsiteY1" fmla="*/ 0 h 2485760"/>
                <a:gd name="connsiteX2" fmla="*/ 1299 w 1034340"/>
                <a:gd name="connsiteY2" fmla="*/ 443152 h 2485760"/>
                <a:gd name="connsiteX3" fmla="*/ 150972 w 1034340"/>
                <a:gd name="connsiteY3" fmla="*/ 2465218 h 2485760"/>
                <a:gd name="connsiteX4" fmla="*/ 265429 w 1034340"/>
                <a:gd name="connsiteY4" fmla="*/ 2485760 h 2485760"/>
                <a:gd name="connsiteX5" fmla="*/ 444450 w 1034340"/>
                <a:gd name="connsiteY5" fmla="*/ 783586 h 2485760"/>
                <a:gd name="connsiteX6" fmla="*/ 511950 w 1034340"/>
                <a:gd name="connsiteY6" fmla="*/ 1564239 h 2485760"/>
                <a:gd name="connsiteX7" fmla="*/ 523690 w 1034340"/>
                <a:gd name="connsiteY7" fmla="*/ 1614130 h 2485760"/>
                <a:gd name="connsiteX8" fmla="*/ 919885 w 1034340"/>
                <a:gd name="connsiteY8" fmla="*/ 2406522 h 2485760"/>
                <a:gd name="connsiteX9" fmla="*/ 1034341 w 1034340"/>
                <a:gd name="connsiteY9" fmla="*/ 2385978 h 2485760"/>
                <a:gd name="connsiteX10" fmla="*/ 852386 w 1034340"/>
                <a:gd name="connsiteY10" fmla="*/ 1593587 h 2485760"/>
                <a:gd name="connsiteX11" fmla="*/ 887602 w 1034340"/>
                <a:gd name="connsiteY11" fmla="*/ 399131 h 2485760"/>
                <a:gd name="connsiteX12" fmla="*/ 758472 w 1034340"/>
                <a:gd name="connsiteY12" fmla="*/ 0 h 2485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34340" h="2485760">
                  <a:moveTo>
                    <a:pt x="758472" y="0"/>
                  </a:moveTo>
                  <a:lnTo>
                    <a:pt x="115754" y="0"/>
                  </a:lnTo>
                  <a:cubicBezTo>
                    <a:pt x="115754" y="0"/>
                    <a:pt x="21841" y="293478"/>
                    <a:pt x="1299" y="443152"/>
                  </a:cubicBezTo>
                  <a:cubicBezTo>
                    <a:pt x="-16311" y="589892"/>
                    <a:pt x="150972" y="2465218"/>
                    <a:pt x="150972" y="2465218"/>
                  </a:cubicBezTo>
                  <a:lnTo>
                    <a:pt x="265429" y="2485760"/>
                  </a:lnTo>
                  <a:lnTo>
                    <a:pt x="444450" y="783586"/>
                  </a:lnTo>
                  <a:lnTo>
                    <a:pt x="511950" y="1564239"/>
                  </a:lnTo>
                  <a:cubicBezTo>
                    <a:pt x="514886" y="1581848"/>
                    <a:pt x="517820" y="1599457"/>
                    <a:pt x="523690" y="1614130"/>
                  </a:cubicBezTo>
                  <a:lnTo>
                    <a:pt x="919885" y="2406522"/>
                  </a:lnTo>
                  <a:lnTo>
                    <a:pt x="1034341" y="2385978"/>
                  </a:lnTo>
                  <a:lnTo>
                    <a:pt x="852386" y="1593587"/>
                  </a:lnTo>
                  <a:cubicBezTo>
                    <a:pt x="852386" y="1593587"/>
                    <a:pt x="881734" y="460760"/>
                    <a:pt x="887602" y="399131"/>
                  </a:cubicBezTo>
                  <a:cubicBezTo>
                    <a:pt x="896408" y="284673"/>
                    <a:pt x="758472" y="0"/>
                    <a:pt x="758472" y="0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22C54D20-D2F6-4ABC-BB21-37B971D25478}"/>
                </a:ext>
              </a:extLst>
            </p:cNvPr>
            <p:cNvSpPr/>
            <p:nvPr/>
          </p:nvSpPr>
          <p:spPr>
            <a:xfrm>
              <a:off x="21612891" y="8651015"/>
              <a:ext cx="789897" cy="949384"/>
            </a:xfrm>
            <a:custGeom>
              <a:avLst/>
              <a:gdLst>
                <a:gd name="connsiteX0" fmla="*/ 747304 w 789897"/>
                <a:gd name="connsiteY0" fmla="*/ 377015 h 949384"/>
                <a:gd name="connsiteX1" fmla="*/ 732630 w 789897"/>
                <a:gd name="connsiteY1" fmla="*/ 65928 h 949384"/>
                <a:gd name="connsiteX2" fmla="*/ 377520 w 789897"/>
                <a:gd name="connsiteY2" fmla="*/ 4298 h 949384"/>
                <a:gd name="connsiteX3" fmla="*/ 86978 w 789897"/>
                <a:gd name="connsiteY3" fmla="*/ 101146 h 949384"/>
                <a:gd name="connsiteX4" fmla="*/ 48824 w 789897"/>
                <a:gd name="connsiteY4" fmla="*/ 629406 h 949384"/>
                <a:gd name="connsiteX5" fmla="*/ 89912 w 789897"/>
                <a:gd name="connsiteY5" fmla="*/ 943428 h 949384"/>
                <a:gd name="connsiteX6" fmla="*/ 741434 w 789897"/>
                <a:gd name="connsiteY6" fmla="*/ 928754 h 949384"/>
                <a:gd name="connsiteX7" fmla="*/ 747304 w 789897"/>
                <a:gd name="connsiteY7" fmla="*/ 377015 h 949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9897" h="949384">
                  <a:moveTo>
                    <a:pt x="747304" y="377015"/>
                  </a:moveTo>
                  <a:cubicBezTo>
                    <a:pt x="756108" y="347667"/>
                    <a:pt x="847086" y="127558"/>
                    <a:pt x="732630" y="65928"/>
                  </a:cubicBezTo>
                  <a:cubicBezTo>
                    <a:pt x="632847" y="13102"/>
                    <a:pt x="491978" y="-10376"/>
                    <a:pt x="377520" y="4298"/>
                  </a:cubicBezTo>
                  <a:cubicBezTo>
                    <a:pt x="251325" y="18972"/>
                    <a:pt x="125130" y="39515"/>
                    <a:pt x="86978" y="101146"/>
                  </a:cubicBezTo>
                  <a:cubicBezTo>
                    <a:pt x="-21609" y="280167"/>
                    <a:pt x="-21609" y="438646"/>
                    <a:pt x="48824" y="629406"/>
                  </a:cubicBezTo>
                  <a:cubicBezTo>
                    <a:pt x="69368" y="685167"/>
                    <a:pt x="75238" y="814297"/>
                    <a:pt x="89912" y="943428"/>
                  </a:cubicBezTo>
                  <a:cubicBezTo>
                    <a:pt x="89912" y="943428"/>
                    <a:pt x="362846" y="963972"/>
                    <a:pt x="741434" y="928754"/>
                  </a:cubicBezTo>
                  <a:cubicBezTo>
                    <a:pt x="712086" y="717450"/>
                    <a:pt x="741434" y="400493"/>
                    <a:pt x="747304" y="377015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347FA43B-4305-45E4-8609-5A7235FE4A34}"/>
                </a:ext>
              </a:extLst>
            </p:cNvPr>
            <p:cNvSpPr/>
            <p:nvPr/>
          </p:nvSpPr>
          <p:spPr>
            <a:xfrm>
              <a:off x="21884760" y="8479226"/>
              <a:ext cx="299348" cy="314021"/>
            </a:xfrm>
            <a:custGeom>
              <a:avLst/>
              <a:gdLst>
                <a:gd name="connsiteX0" fmla="*/ 52826 w 299348"/>
                <a:gd name="connsiteY0" fmla="*/ 58696 h 314021"/>
                <a:gd name="connsiteX1" fmla="*/ 0 w 299348"/>
                <a:gd name="connsiteY1" fmla="*/ 193695 h 314021"/>
                <a:gd name="connsiteX2" fmla="*/ 111521 w 299348"/>
                <a:gd name="connsiteY2" fmla="*/ 314022 h 314021"/>
                <a:gd name="connsiteX3" fmla="*/ 299348 w 299348"/>
                <a:gd name="connsiteY3" fmla="*/ 179021 h 314021"/>
                <a:gd name="connsiteX4" fmla="*/ 249457 w 299348"/>
                <a:gd name="connsiteY4" fmla="*/ 0 h 314021"/>
                <a:gd name="connsiteX5" fmla="*/ 52826 w 299348"/>
                <a:gd name="connsiteY5" fmla="*/ 58696 h 314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348" h="314021">
                  <a:moveTo>
                    <a:pt x="52826" y="58696"/>
                  </a:moveTo>
                  <a:cubicBezTo>
                    <a:pt x="52826" y="58696"/>
                    <a:pt x="58696" y="164348"/>
                    <a:pt x="0" y="193695"/>
                  </a:cubicBezTo>
                  <a:lnTo>
                    <a:pt x="111521" y="314022"/>
                  </a:lnTo>
                  <a:cubicBezTo>
                    <a:pt x="111521" y="314022"/>
                    <a:pt x="246521" y="208369"/>
                    <a:pt x="299348" y="179021"/>
                  </a:cubicBezTo>
                  <a:cubicBezTo>
                    <a:pt x="246521" y="137935"/>
                    <a:pt x="249457" y="58696"/>
                    <a:pt x="249457" y="0"/>
                  </a:cubicBezTo>
                  <a:cubicBezTo>
                    <a:pt x="246521" y="0"/>
                    <a:pt x="102717" y="64565"/>
                    <a:pt x="52826" y="58696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A305C38F-AE98-4215-9E12-322378252910}"/>
                </a:ext>
              </a:extLst>
            </p:cNvPr>
            <p:cNvSpPr/>
            <p:nvPr/>
          </p:nvSpPr>
          <p:spPr>
            <a:xfrm>
              <a:off x="21611029" y="8749226"/>
              <a:ext cx="97643" cy="534130"/>
            </a:xfrm>
            <a:custGeom>
              <a:avLst/>
              <a:gdLst>
                <a:gd name="connsiteX0" fmla="*/ 53622 w 97643"/>
                <a:gd name="connsiteY0" fmla="*/ 534131 h 534130"/>
                <a:gd name="connsiteX1" fmla="*/ 47752 w 97643"/>
                <a:gd name="connsiteY1" fmla="*/ 531196 h 534130"/>
                <a:gd name="connsiteX2" fmla="*/ 33078 w 97643"/>
                <a:gd name="connsiteY2" fmla="*/ 478369 h 534130"/>
                <a:gd name="connsiteX3" fmla="*/ 796 w 97643"/>
                <a:gd name="connsiteY3" fmla="*/ 334565 h 534130"/>
                <a:gd name="connsiteX4" fmla="*/ 85904 w 97643"/>
                <a:gd name="connsiteY4" fmla="*/ 2935 h 534130"/>
                <a:gd name="connsiteX5" fmla="*/ 94708 w 97643"/>
                <a:gd name="connsiteY5" fmla="*/ 0 h 534130"/>
                <a:gd name="connsiteX6" fmla="*/ 97644 w 97643"/>
                <a:gd name="connsiteY6" fmla="*/ 8804 h 534130"/>
                <a:gd name="connsiteX7" fmla="*/ 12534 w 97643"/>
                <a:gd name="connsiteY7" fmla="*/ 334565 h 534130"/>
                <a:gd name="connsiteX8" fmla="*/ 44818 w 97643"/>
                <a:gd name="connsiteY8" fmla="*/ 478369 h 534130"/>
                <a:gd name="connsiteX9" fmla="*/ 59492 w 97643"/>
                <a:gd name="connsiteY9" fmla="*/ 531196 h 534130"/>
                <a:gd name="connsiteX10" fmla="*/ 53622 w 97643"/>
                <a:gd name="connsiteY10" fmla="*/ 534131 h 534130"/>
                <a:gd name="connsiteX11" fmla="*/ 53622 w 97643"/>
                <a:gd name="connsiteY11" fmla="*/ 534131 h 534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7643" h="534130">
                  <a:moveTo>
                    <a:pt x="53622" y="534131"/>
                  </a:moveTo>
                  <a:cubicBezTo>
                    <a:pt x="50686" y="534131"/>
                    <a:pt x="47752" y="531196"/>
                    <a:pt x="47752" y="531196"/>
                  </a:cubicBezTo>
                  <a:cubicBezTo>
                    <a:pt x="41882" y="513587"/>
                    <a:pt x="38948" y="495978"/>
                    <a:pt x="33078" y="478369"/>
                  </a:cubicBezTo>
                  <a:cubicBezTo>
                    <a:pt x="18404" y="428478"/>
                    <a:pt x="3730" y="378587"/>
                    <a:pt x="796" y="334565"/>
                  </a:cubicBezTo>
                  <a:cubicBezTo>
                    <a:pt x="-5074" y="214239"/>
                    <a:pt x="21338" y="102717"/>
                    <a:pt x="85904" y="2935"/>
                  </a:cubicBezTo>
                  <a:cubicBezTo>
                    <a:pt x="88840" y="0"/>
                    <a:pt x="91774" y="0"/>
                    <a:pt x="94708" y="0"/>
                  </a:cubicBezTo>
                  <a:cubicBezTo>
                    <a:pt x="97644" y="2935"/>
                    <a:pt x="97644" y="5869"/>
                    <a:pt x="97644" y="8804"/>
                  </a:cubicBezTo>
                  <a:cubicBezTo>
                    <a:pt x="36012" y="108587"/>
                    <a:pt x="6664" y="217174"/>
                    <a:pt x="12534" y="334565"/>
                  </a:cubicBezTo>
                  <a:cubicBezTo>
                    <a:pt x="15470" y="378587"/>
                    <a:pt x="30144" y="428478"/>
                    <a:pt x="44818" y="478369"/>
                  </a:cubicBezTo>
                  <a:cubicBezTo>
                    <a:pt x="50686" y="495978"/>
                    <a:pt x="56556" y="513587"/>
                    <a:pt x="59492" y="531196"/>
                  </a:cubicBezTo>
                  <a:cubicBezTo>
                    <a:pt x="59492" y="531196"/>
                    <a:pt x="59492" y="534131"/>
                    <a:pt x="53622" y="534131"/>
                  </a:cubicBezTo>
                  <a:cubicBezTo>
                    <a:pt x="56556" y="534131"/>
                    <a:pt x="56556" y="534131"/>
                    <a:pt x="53622" y="534131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B1DCF13F-B0A3-40AA-AFBC-5E70BAB4AF98}"/>
                </a:ext>
              </a:extLst>
            </p:cNvPr>
            <p:cNvSpPr/>
            <p:nvPr/>
          </p:nvSpPr>
          <p:spPr>
            <a:xfrm>
              <a:off x="21729216" y="9172021"/>
              <a:ext cx="385671" cy="35030"/>
            </a:xfrm>
            <a:custGeom>
              <a:avLst/>
              <a:gdLst>
                <a:gd name="connsiteX0" fmla="*/ 5868 w 385671"/>
                <a:gd name="connsiteY0" fmla="*/ 35031 h 35030"/>
                <a:gd name="connsiteX1" fmla="*/ 0 w 385671"/>
                <a:gd name="connsiteY1" fmla="*/ 32096 h 35030"/>
                <a:gd name="connsiteX2" fmla="*/ 2934 w 385671"/>
                <a:gd name="connsiteY2" fmla="*/ 26226 h 35030"/>
                <a:gd name="connsiteX3" fmla="*/ 381522 w 385671"/>
                <a:gd name="connsiteY3" fmla="*/ 14487 h 35030"/>
                <a:gd name="connsiteX4" fmla="*/ 384456 w 385671"/>
                <a:gd name="connsiteY4" fmla="*/ 20357 h 35030"/>
                <a:gd name="connsiteX5" fmla="*/ 378586 w 385671"/>
                <a:gd name="connsiteY5" fmla="*/ 23292 h 35030"/>
                <a:gd name="connsiteX6" fmla="*/ 5868 w 385671"/>
                <a:gd name="connsiteY6" fmla="*/ 35031 h 35030"/>
                <a:gd name="connsiteX7" fmla="*/ 5868 w 385671"/>
                <a:gd name="connsiteY7" fmla="*/ 35031 h 35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5671" h="35030">
                  <a:moveTo>
                    <a:pt x="5868" y="35031"/>
                  </a:moveTo>
                  <a:cubicBezTo>
                    <a:pt x="2934" y="35031"/>
                    <a:pt x="2934" y="35031"/>
                    <a:pt x="0" y="32096"/>
                  </a:cubicBezTo>
                  <a:cubicBezTo>
                    <a:pt x="0" y="29161"/>
                    <a:pt x="0" y="26226"/>
                    <a:pt x="2934" y="26226"/>
                  </a:cubicBezTo>
                  <a:cubicBezTo>
                    <a:pt x="85108" y="-3122"/>
                    <a:pt x="284672" y="-8991"/>
                    <a:pt x="381522" y="14487"/>
                  </a:cubicBezTo>
                  <a:cubicBezTo>
                    <a:pt x="384456" y="14487"/>
                    <a:pt x="387390" y="17422"/>
                    <a:pt x="384456" y="20357"/>
                  </a:cubicBezTo>
                  <a:cubicBezTo>
                    <a:pt x="384456" y="23292"/>
                    <a:pt x="381522" y="26226"/>
                    <a:pt x="378586" y="23292"/>
                  </a:cubicBezTo>
                  <a:cubicBezTo>
                    <a:pt x="284672" y="-187"/>
                    <a:pt x="88043" y="5683"/>
                    <a:pt x="5868" y="35031"/>
                  </a:cubicBezTo>
                  <a:cubicBezTo>
                    <a:pt x="5868" y="35031"/>
                    <a:pt x="5868" y="35031"/>
                    <a:pt x="5868" y="35031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D9963A1E-9883-4FB3-8604-814C89B84409}"/>
                </a:ext>
              </a:extLst>
            </p:cNvPr>
            <p:cNvSpPr/>
            <p:nvPr/>
          </p:nvSpPr>
          <p:spPr>
            <a:xfrm>
              <a:off x="21858346" y="8661182"/>
              <a:ext cx="346303" cy="149674"/>
            </a:xfrm>
            <a:custGeom>
              <a:avLst/>
              <a:gdLst>
                <a:gd name="connsiteX0" fmla="*/ 35218 w 346303"/>
                <a:gd name="connsiteY0" fmla="*/ 5869 h 149674"/>
                <a:gd name="connsiteX1" fmla="*/ 135001 w 346303"/>
                <a:gd name="connsiteY1" fmla="*/ 117391 h 149674"/>
                <a:gd name="connsiteX2" fmla="*/ 322826 w 346303"/>
                <a:gd name="connsiteY2" fmla="*/ 0 h 149674"/>
                <a:gd name="connsiteX3" fmla="*/ 346304 w 346303"/>
                <a:gd name="connsiteY3" fmla="*/ 8804 h 149674"/>
                <a:gd name="connsiteX4" fmla="*/ 132065 w 346303"/>
                <a:gd name="connsiteY4" fmla="*/ 149674 h 149674"/>
                <a:gd name="connsiteX5" fmla="*/ 0 w 346303"/>
                <a:gd name="connsiteY5" fmla="*/ 14674 h 149674"/>
                <a:gd name="connsiteX6" fmla="*/ 35218 w 346303"/>
                <a:gd name="connsiteY6" fmla="*/ 5869 h 149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6303" h="149674">
                  <a:moveTo>
                    <a:pt x="35218" y="5869"/>
                  </a:moveTo>
                  <a:lnTo>
                    <a:pt x="135001" y="117391"/>
                  </a:lnTo>
                  <a:cubicBezTo>
                    <a:pt x="135001" y="117391"/>
                    <a:pt x="261196" y="20543"/>
                    <a:pt x="322826" y="0"/>
                  </a:cubicBezTo>
                  <a:lnTo>
                    <a:pt x="346304" y="8804"/>
                  </a:lnTo>
                  <a:lnTo>
                    <a:pt x="132065" y="149674"/>
                  </a:lnTo>
                  <a:lnTo>
                    <a:pt x="0" y="14674"/>
                  </a:lnTo>
                  <a:cubicBezTo>
                    <a:pt x="2936" y="11739"/>
                    <a:pt x="17610" y="5869"/>
                    <a:pt x="35218" y="5869"/>
                  </a:cubicBezTo>
                  <a:close/>
                </a:path>
              </a:pathLst>
            </a:custGeom>
            <a:solidFill>
              <a:srgbClr val="D16156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B13B9E54-9899-4C40-B16C-67167473AB5C}"/>
                </a:ext>
              </a:extLst>
            </p:cNvPr>
            <p:cNvSpPr/>
            <p:nvPr/>
          </p:nvSpPr>
          <p:spPr>
            <a:xfrm>
              <a:off x="21805422" y="8073389"/>
              <a:ext cx="400922" cy="546779"/>
            </a:xfrm>
            <a:custGeom>
              <a:avLst/>
              <a:gdLst>
                <a:gd name="connsiteX0" fmla="*/ 3032 w 400922"/>
                <a:gd name="connsiteY0" fmla="*/ 179858 h 546779"/>
                <a:gd name="connsiteX1" fmla="*/ 23576 w 400922"/>
                <a:gd name="connsiteY1" fmla="*/ 426380 h 546779"/>
                <a:gd name="connsiteX2" fmla="*/ 170315 w 400922"/>
                <a:gd name="connsiteY2" fmla="*/ 546706 h 546779"/>
                <a:gd name="connsiteX3" fmla="*/ 372815 w 400922"/>
                <a:gd name="connsiteY3" fmla="*/ 399967 h 546779"/>
                <a:gd name="connsiteX4" fmla="*/ 399227 w 400922"/>
                <a:gd name="connsiteY4" fmla="*/ 182793 h 546779"/>
                <a:gd name="connsiteX5" fmla="*/ 184989 w 400922"/>
                <a:gd name="connsiteY5" fmla="*/ 836 h 546779"/>
                <a:gd name="connsiteX6" fmla="*/ 3032 w 400922"/>
                <a:gd name="connsiteY6" fmla="*/ 179858 h 54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0922" h="546779">
                  <a:moveTo>
                    <a:pt x="3032" y="179858"/>
                  </a:moveTo>
                  <a:cubicBezTo>
                    <a:pt x="3032" y="179858"/>
                    <a:pt x="-11642" y="361815"/>
                    <a:pt x="23576" y="426380"/>
                  </a:cubicBezTo>
                  <a:cubicBezTo>
                    <a:pt x="61727" y="490945"/>
                    <a:pt x="123359" y="543771"/>
                    <a:pt x="170315" y="546706"/>
                  </a:cubicBezTo>
                  <a:cubicBezTo>
                    <a:pt x="234880" y="549641"/>
                    <a:pt x="340532" y="464532"/>
                    <a:pt x="372815" y="399967"/>
                  </a:cubicBezTo>
                  <a:cubicBezTo>
                    <a:pt x="405097" y="335401"/>
                    <a:pt x="402163" y="229749"/>
                    <a:pt x="399227" y="182793"/>
                  </a:cubicBezTo>
                  <a:cubicBezTo>
                    <a:pt x="393359" y="91815"/>
                    <a:pt x="364011" y="18445"/>
                    <a:pt x="184989" y="836"/>
                  </a:cubicBezTo>
                  <a:cubicBezTo>
                    <a:pt x="105749" y="-10903"/>
                    <a:pt x="20642" y="103554"/>
                    <a:pt x="3032" y="179858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454F234C-23EB-4CC0-A8C4-4C56D6C737CB}"/>
                </a:ext>
              </a:extLst>
            </p:cNvPr>
            <p:cNvSpPr/>
            <p:nvPr/>
          </p:nvSpPr>
          <p:spPr>
            <a:xfrm>
              <a:off x="21940519" y="8331271"/>
              <a:ext cx="55761" cy="127411"/>
            </a:xfrm>
            <a:custGeom>
              <a:avLst/>
              <a:gdLst>
                <a:gd name="connsiteX0" fmla="*/ 26414 w 55761"/>
                <a:gd name="connsiteY0" fmla="*/ 127411 h 127411"/>
                <a:gd name="connsiteX1" fmla="*/ 5870 w 55761"/>
                <a:gd name="connsiteY1" fmla="*/ 121542 h 127411"/>
                <a:gd name="connsiteX2" fmla="*/ 0 w 55761"/>
                <a:gd name="connsiteY2" fmla="*/ 109803 h 127411"/>
                <a:gd name="connsiteX3" fmla="*/ 23480 w 55761"/>
                <a:gd name="connsiteY3" fmla="*/ 4150 h 127411"/>
                <a:gd name="connsiteX4" fmla="*/ 29348 w 55761"/>
                <a:gd name="connsiteY4" fmla="*/ 1216 h 127411"/>
                <a:gd name="connsiteX5" fmla="*/ 32284 w 55761"/>
                <a:gd name="connsiteY5" fmla="*/ 7085 h 127411"/>
                <a:gd name="connsiteX6" fmla="*/ 8806 w 55761"/>
                <a:gd name="connsiteY6" fmla="*/ 109803 h 127411"/>
                <a:gd name="connsiteX7" fmla="*/ 11740 w 55761"/>
                <a:gd name="connsiteY7" fmla="*/ 112738 h 127411"/>
                <a:gd name="connsiteX8" fmla="*/ 49892 w 55761"/>
                <a:gd name="connsiteY8" fmla="*/ 112738 h 127411"/>
                <a:gd name="connsiteX9" fmla="*/ 55762 w 55761"/>
                <a:gd name="connsiteY9" fmla="*/ 115672 h 127411"/>
                <a:gd name="connsiteX10" fmla="*/ 52828 w 55761"/>
                <a:gd name="connsiteY10" fmla="*/ 121542 h 127411"/>
                <a:gd name="connsiteX11" fmla="*/ 26414 w 55761"/>
                <a:gd name="connsiteY11" fmla="*/ 127411 h 127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761" h="127411">
                  <a:moveTo>
                    <a:pt x="26414" y="127411"/>
                  </a:moveTo>
                  <a:cubicBezTo>
                    <a:pt x="17610" y="127411"/>
                    <a:pt x="8806" y="127411"/>
                    <a:pt x="5870" y="121542"/>
                  </a:cubicBezTo>
                  <a:cubicBezTo>
                    <a:pt x="2936" y="118607"/>
                    <a:pt x="0" y="115672"/>
                    <a:pt x="0" y="109803"/>
                  </a:cubicBezTo>
                  <a:cubicBezTo>
                    <a:pt x="0" y="89259"/>
                    <a:pt x="20544" y="7085"/>
                    <a:pt x="23480" y="4150"/>
                  </a:cubicBezTo>
                  <a:cubicBezTo>
                    <a:pt x="23480" y="1216"/>
                    <a:pt x="26414" y="-1719"/>
                    <a:pt x="29348" y="1216"/>
                  </a:cubicBezTo>
                  <a:cubicBezTo>
                    <a:pt x="32284" y="1216"/>
                    <a:pt x="35218" y="4150"/>
                    <a:pt x="32284" y="7085"/>
                  </a:cubicBezTo>
                  <a:cubicBezTo>
                    <a:pt x="26414" y="30564"/>
                    <a:pt x="8806" y="95129"/>
                    <a:pt x="8806" y="109803"/>
                  </a:cubicBezTo>
                  <a:cubicBezTo>
                    <a:pt x="8806" y="109803"/>
                    <a:pt x="8806" y="112738"/>
                    <a:pt x="11740" y="112738"/>
                  </a:cubicBezTo>
                  <a:cubicBezTo>
                    <a:pt x="17610" y="118607"/>
                    <a:pt x="38154" y="115672"/>
                    <a:pt x="49892" y="112738"/>
                  </a:cubicBezTo>
                  <a:cubicBezTo>
                    <a:pt x="52828" y="112738"/>
                    <a:pt x="55762" y="112738"/>
                    <a:pt x="55762" y="115672"/>
                  </a:cubicBezTo>
                  <a:cubicBezTo>
                    <a:pt x="55762" y="118607"/>
                    <a:pt x="55762" y="121542"/>
                    <a:pt x="52828" y="121542"/>
                  </a:cubicBezTo>
                  <a:cubicBezTo>
                    <a:pt x="49892" y="124476"/>
                    <a:pt x="38154" y="127411"/>
                    <a:pt x="26414" y="127411"/>
                  </a:cubicBezTo>
                  <a:close/>
                </a:path>
              </a:pathLst>
            </a:custGeom>
            <a:solidFill>
              <a:srgbClr val="E58777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0A78933B-2CE9-4DFF-8C4D-70BF10645F94}"/>
                </a:ext>
              </a:extLst>
            </p:cNvPr>
            <p:cNvSpPr/>
            <p:nvPr/>
          </p:nvSpPr>
          <p:spPr>
            <a:xfrm>
              <a:off x="21925845" y="8502704"/>
              <a:ext cx="102717" cy="56154"/>
            </a:xfrm>
            <a:custGeom>
              <a:avLst/>
              <a:gdLst>
                <a:gd name="connsiteX0" fmla="*/ 102717 w 102717"/>
                <a:gd name="connsiteY0" fmla="*/ 0 h 56154"/>
                <a:gd name="connsiteX1" fmla="*/ 0 w 102717"/>
                <a:gd name="connsiteY1" fmla="*/ 2935 h 56154"/>
                <a:gd name="connsiteX2" fmla="*/ 41088 w 102717"/>
                <a:gd name="connsiteY2" fmla="*/ 55761 h 56154"/>
                <a:gd name="connsiteX3" fmla="*/ 102717 w 102717"/>
                <a:gd name="connsiteY3" fmla="*/ 0 h 56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717" h="56154">
                  <a:moveTo>
                    <a:pt x="102717" y="0"/>
                  </a:moveTo>
                  <a:cubicBezTo>
                    <a:pt x="52828" y="29348"/>
                    <a:pt x="0" y="2935"/>
                    <a:pt x="0" y="2935"/>
                  </a:cubicBezTo>
                  <a:cubicBezTo>
                    <a:pt x="0" y="2935"/>
                    <a:pt x="8806" y="49891"/>
                    <a:pt x="41088" y="55761"/>
                  </a:cubicBezTo>
                  <a:cubicBezTo>
                    <a:pt x="73370" y="61630"/>
                    <a:pt x="102717" y="0"/>
                    <a:pt x="102717" y="0"/>
                  </a:cubicBezTo>
                  <a:close/>
                </a:path>
              </a:pathLst>
            </a:custGeom>
            <a:solidFill>
              <a:srgbClr val="FFFFFF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C2A1532D-1807-46EA-AE9A-650725611EB3}"/>
                </a:ext>
              </a:extLst>
            </p:cNvPr>
            <p:cNvSpPr/>
            <p:nvPr/>
          </p:nvSpPr>
          <p:spPr>
            <a:xfrm>
              <a:off x="21866402" y="8305325"/>
              <a:ext cx="39476" cy="39648"/>
            </a:xfrm>
            <a:custGeom>
              <a:avLst/>
              <a:gdLst>
                <a:gd name="connsiteX0" fmla="*/ 38901 w 39476"/>
                <a:gd name="connsiteY0" fmla="*/ 24226 h 39648"/>
                <a:gd name="connsiteX1" fmla="*/ 15421 w 39476"/>
                <a:gd name="connsiteY1" fmla="*/ 38900 h 39648"/>
                <a:gd name="connsiteX2" fmla="*/ 748 w 39476"/>
                <a:gd name="connsiteY2" fmla="*/ 15422 h 39648"/>
                <a:gd name="connsiteX3" fmla="*/ 24227 w 39476"/>
                <a:gd name="connsiteY3" fmla="*/ 748 h 39648"/>
                <a:gd name="connsiteX4" fmla="*/ 38901 w 39476"/>
                <a:gd name="connsiteY4" fmla="*/ 24226 h 39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76" h="39648">
                  <a:moveTo>
                    <a:pt x="38901" y="24226"/>
                  </a:moveTo>
                  <a:cubicBezTo>
                    <a:pt x="35965" y="35966"/>
                    <a:pt x="27161" y="41835"/>
                    <a:pt x="15421" y="38900"/>
                  </a:cubicBezTo>
                  <a:cubicBezTo>
                    <a:pt x="3683" y="35966"/>
                    <a:pt x="-2187" y="27161"/>
                    <a:pt x="748" y="15422"/>
                  </a:cubicBezTo>
                  <a:cubicBezTo>
                    <a:pt x="3683" y="3683"/>
                    <a:pt x="12487" y="-2187"/>
                    <a:pt x="24227" y="748"/>
                  </a:cubicBezTo>
                  <a:cubicBezTo>
                    <a:pt x="33031" y="3683"/>
                    <a:pt x="41835" y="15422"/>
                    <a:pt x="38901" y="24226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A82F12B5-1C0D-4981-BD98-F0D947D0E4B5}"/>
                </a:ext>
              </a:extLst>
            </p:cNvPr>
            <p:cNvSpPr/>
            <p:nvPr/>
          </p:nvSpPr>
          <p:spPr>
            <a:xfrm>
              <a:off x="22048359" y="8305325"/>
              <a:ext cx="39647" cy="39648"/>
            </a:xfrm>
            <a:custGeom>
              <a:avLst/>
              <a:gdLst>
                <a:gd name="connsiteX0" fmla="*/ 38899 w 39647"/>
                <a:gd name="connsiteY0" fmla="*/ 24226 h 39648"/>
                <a:gd name="connsiteX1" fmla="*/ 15421 w 39647"/>
                <a:gd name="connsiteY1" fmla="*/ 38900 h 39648"/>
                <a:gd name="connsiteX2" fmla="*/ 748 w 39647"/>
                <a:gd name="connsiteY2" fmla="*/ 15422 h 39648"/>
                <a:gd name="connsiteX3" fmla="*/ 24225 w 39647"/>
                <a:gd name="connsiteY3" fmla="*/ 748 h 39648"/>
                <a:gd name="connsiteX4" fmla="*/ 38899 w 39647"/>
                <a:gd name="connsiteY4" fmla="*/ 24226 h 39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47" h="39648">
                  <a:moveTo>
                    <a:pt x="38899" y="24226"/>
                  </a:moveTo>
                  <a:cubicBezTo>
                    <a:pt x="35965" y="35966"/>
                    <a:pt x="27161" y="41835"/>
                    <a:pt x="15421" y="38900"/>
                  </a:cubicBezTo>
                  <a:cubicBezTo>
                    <a:pt x="3683" y="35966"/>
                    <a:pt x="-2187" y="27161"/>
                    <a:pt x="748" y="15422"/>
                  </a:cubicBezTo>
                  <a:cubicBezTo>
                    <a:pt x="3683" y="3683"/>
                    <a:pt x="12487" y="-2187"/>
                    <a:pt x="24225" y="748"/>
                  </a:cubicBezTo>
                  <a:cubicBezTo>
                    <a:pt x="35965" y="3683"/>
                    <a:pt x="41835" y="12487"/>
                    <a:pt x="38899" y="24226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472760CE-0022-46FA-B708-5B038D2821A2}"/>
                </a:ext>
              </a:extLst>
            </p:cNvPr>
            <p:cNvSpPr/>
            <p:nvPr/>
          </p:nvSpPr>
          <p:spPr>
            <a:xfrm>
              <a:off x="21841471" y="8259022"/>
              <a:ext cx="88525" cy="35312"/>
            </a:xfrm>
            <a:custGeom>
              <a:avLst/>
              <a:gdLst>
                <a:gd name="connsiteX0" fmla="*/ 8070 w 88525"/>
                <a:gd name="connsiteY0" fmla="*/ 35312 h 35312"/>
                <a:gd name="connsiteX1" fmla="*/ 2201 w 88525"/>
                <a:gd name="connsiteY1" fmla="*/ 32377 h 35312"/>
                <a:gd name="connsiteX2" fmla="*/ 2201 w 88525"/>
                <a:gd name="connsiteY2" fmla="*/ 20638 h 35312"/>
                <a:gd name="connsiteX3" fmla="*/ 84374 w 88525"/>
                <a:gd name="connsiteY3" fmla="*/ 5964 h 35312"/>
                <a:gd name="connsiteX4" fmla="*/ 87310 w 88525"/>
                <a:gd name="connsiteY4" fmla="*/ 14769 h 35312"/>
                <a:gd name="connsiteX5" fmla="*/ 78506 w 88525"/>
                <a:gd name="connsiteY5" fmla="*/ 17703 h 35312"/>
                <a:gd name="connsiteX6" fmla="*/ 13940 w 88525"/>
                <a:gd name="connsiteY6" fmla="*/ 26508 h 35312"/>
                <a:gd name="connsiteX7" fmla="*/ 8070 w 88525"/>
                <a:gd name="connsiteY7" fmla="*/ 35312 h 35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5312">
                  <a:moveTo>
                    <a:pt x="8070" y="35312"/>
                  </a:moveTo>
                  <a:cubicBezTo>
                    <a:pt x="5136" y="35312"/>
                    <a:pt x="5136" y="35312"/>
                    <a:pt x="2201" y="32377"/>
                  </a:cubicBezTo>
                  <a:cubicBezTo>
                    <a:pt x="-734" y="29443"/>
                    <a:pt x="-734" y="23573"/>
                    <a:pt x="2201" y="20638"/>
                  </a:cubicBezTo>
                  <a:cubicBezTo>
                    <a:pt x="25678" y="-8709"/>
                    <a:pt x="66766" y="95"/>
                    <a:pt x="84374" y="5964"/>
                  </a:cubicBezTo>
                  <a:cubicBezTo>
                    <a:pt x="87310" y="8899"/>
                    <a:pt x="90244" y="11834"/>
                    <a:pt x="87310" y="14769"/>
                  </a:cubicBezTo>
                  <a:cubicBezTo>
                    <a:pt x="84374" y="17703"/>
                    <a:pt x="81440" y="20638"/>
                    <a:pt x="78506" y="17703"/>
                  </a:cubicBezTo>
                  <a:cubicBezTo>
                    <a:pt x="75570" y="17703"/>
                    <a:pt x="37418" y="95"/>
                    <a:pt x="13940" y="26508"/>
                  </a:cubicBezTo>
                  <a:cubicBezTo>
                    <a:pt x="11005" y="35312"/>
                    <a:pt x="8070" y="35312"/>
                    <a:pt x="8070" y="35312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7574D508-C279-4094-8A6F-8CB3DF3D66ED}"/>
                </a:ext>
              </a:extLst>
            </p:cNvPr>
            <p:cNvSpPr/>
            <p:nvPr/>
          </p:nvSpPr>
          <p:spPr>
            <a:xfrm>
              <a:off x="22020766" y="8252655"/>
              <a:ext cx="89238" cy="32874"/>
            </a:xfrm>
            <a:custGeom>
              <a:avLst/>
              <a:gdLst>
                <a:gd name="connsiteX0" fmla="*/ 84102 w 89238"/>
                <a:gd name="connsiteY0" fmla="*/ 32875 h 32874"/>
                <a:gd name="connsiteX1" fmla="*/ 78232 w 89238"/>
                <a:gd name="connsiteY1" fmla="*/ 29940 h 32874"/>
                <a:gd name="connsiteX2" fmla="*/ 13667 w 89238"/>
                <a:gd name="connsiteY2" fmla="*/ 27005 h 32874"/>
                <a:gd name="connsiteX3" fmla="*/ 1929 w 89238"/>
                <a:gd name="connsiteY3" fmla="*/ 24070 h 32874"/>
                <a:gd name="connsiteX4" fmla="*/ 4863 w 89238"/>
                <a:gd name="connsiteY4" fmla="*/ 12331 h 32874"/>
                <a:gd name="connsiteX5" fmla="*/ 87036 w 89238"/>
                <a:gd name="connsiteY5" fmla="*/ 18201 h 32874"/>
                <a:gd name="connsiteX6" fmla="*/ 87036 w 89238"/>
                <a:gd name="connsiteY6" fmla="*/ 29940 h 32874"/>
                <a:gd name="connsiteX7" fmla="*/ 84102 w 89238"/>
                <a:gd name="connsiteY7" fmla="*/ 32875 h 32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238" h="32874">
                  <a:moveTo>
                    <a:pt x="84102" y="32875"/>
                  </a:moveTo>
                  <a:cubicBezTo>
                    <a:pt x="81166" y="32875"/>
                    <a:pt x="81166" y="32875"/>
                    <a:pt x="78232" y="29940"/>
                  </a:cubicBezTo>
                  <a:cubicBezTo>
                    <a:pt x="78232" y="29940"/>
                    <a:pt x="48884" y="3527"/>
                    <a:pt x="13667" y="27005"/>
                  </a:cubicBezTo>
                  <a:cubicBezTo>
                    <a:pt x="10733" y="29940"/>
                    <a:pt x="4863" y="29940"/>
                    <a:pt x="1929" y="24070"/>
                  </a:cubicBezTo>
                  <a:cubicBezTo>
                    <a:pt x="-1007" y="21136"/>
                    <a:pt x="-1007" y="15266"/>
                    <a:pt x="4863" y="12331"/>
                  </a:cubicBezTo>
                  <a:cubicBezTo>
                    <a:pt x="40080" y="-11147"/>
                    <a:pt x="75298" y="3527"/>
                    <a:pt x="87036" y="18201"/>
                  </a:cubicBezTo>
                  <a:cubicBezTo>
                    <a:pt x="89972" y="21136"/>
                    <a:pt x="89972" y="27005"/>
                    <a:pt x="87036" y="29940"/>
                  </a:cubicBezTo>
                  <a:cubicBezTo>
                    <a:pt x="87036" y="32875"/>
                    <a:pt x="87036" y="32875"/>
                    <a:pt x="84102" y="32875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F3CD6013-AEEA-4138-8CA6-A2F9500674B3}"/>
                </a:ext>
              </a:extLst>
            </p:cNvPr>
            <p:cNvSpPr/>
            <p:nvPr/>
          </p:nvSpPr>
          <p:spPr>
            <a:xfrm>
              <a:off x="21784318" y="8037915"/>
              <a:ext cx="259218" cy="253507"/>
            </a:xfrm>
            <a:custGeom>
              <a:avLst/>
              <a:gdLst>
                <a:gd name="connsiteX0" fmla="*/ 255985 w 259218"/>
                <a:gd name="connsiteY0" fmla="*/ 1093 h 253507"/>
                <a:gd name="connsiteX1" fmla="*/ 226637 w 259218"/>
                <a:gd name="connsiteY1" fmla="*/ 124354 h 253507"/>
                <a:gd name="connsiteX2" fmla="*/ 658 w 259218"/>
                <a:gd name="connsiteY2" fmla="*/ 253484 h 253507"/>
                <a:gd name="connsiteX3" fmla="*/ 255985 w 259218"/>
                <a:gd name="connsiteY3" fmla="*/ 1093 h 253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218" h="253507">
                  <a:moveTo>
                    <a:pt x="255985" y="1093"/>
                  </a:moveTo>
                  <a:cubicBezTo>
                    <a:pt x="255985" y="1093"/>
                    <a:pt x="273593" y="86202"/>
                    <a:pt x="226637" y="124354"/>
                  </a:cubicBezTo>
                  <a:cubicBezTo>
                    <a:pt x="226637" y="124354"/>
                    <a:pt x="27072" y="174245"/>
                    <a:pt x="658" y="253484"/>
                  </a:cubicBezTo>
                  <a:cubicBezTo>
                    <a:pt x="658" y="256419"/>
                    <a:pt x="-25754" y="-19450"/>
                    <a:pt x="255985" y="1093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8530270E-046E-4151-94F4-C0382A8B0C53}"/>
                </a:ext>
              </a:extLst>
            </p:cNvPr>
            <p:cNvSpPr/>
            <p:nvPr/>
          </p:nvSpPr>
          <p:spPr>
            <a:xfrm>
              <a:off x="22010955" y="8041890"/>
              <a:ext cx="224233" cy="296190"/>
            </a:xfrm>
            <a:custGeom>
              <a:avLst/>
              <a:gdLst>
                <a:gd name="connsiteX0" fmla="*/ 0 w 224233"/>
                <a:gd name="connsiteY0" fmla="*/ 123314 h 296190"/>
                <a:gd name="connsiteX1" fmla="*/ 137935 w 224233"/>
                <a:gd name="connsiteY1" fmla="*/ 170270 h 296190"/>
                <a:gd name="connsiteX2" fmla="*/ 199565 w 224233"/>
                <a:gd name="connsiteY2" fmla="*/ 284727 h 296190"/>
                <a:gd name="connsiteX3" fmla="*/ 223043 w 224233"/>
                <a:gd name="connsiteY3" fmla="*/ 278857 h 296190"/>
                <a:gd name="connsiteX4" fmla="*/ 29348 w 224233"/>
                <a:gd name="connsiteY4" fmla="*/ 53 h 296190"/>
                <a:gd name="connsiteX5" fmla="*/ 0 w 224233"/>
                <a:gd name="connsiteY5" fmla="*/ 123314 h 296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233" h="296190">
                  <a:moveTo>
                    <a:pt x="0" y="123314"/>
                  </a:moveTo>
                  <a:cubicBezTo>
                    <a:pt x="0" y="123314"/>
                    <a:pt x="88043" y="167336"/>
                    <a:pt x="137935" y="170270"/>
                  </a:cubicBezTo>
                  <a:cubicBezTo>
                    <a:pt x="187827" y="173205"/>
                    <a:pt x="199565" y="284727"/>
                    <a:pt x="199565" y="284727"/>
                  </a:cubicBezTo>
                  <a:cubicBezTo>
                    <a:pt x="199565" y="284727"/>
                    <a:pt x="220109" y="314075"/>
                    <a:pt x="223043" y="278857"/>
                  </a:cubicBezTo>
                  <a:cubicBezTo>
                    <a:pt x="228913" y="202553"/>
                    <a:pt x="220109" y="11792"/>
                    <a:pt x="29348" y="53"/>
                  </a:cubicBezTo>
                  <a:cubicBezTo>
                    <a:pt x="29348" y="-2882"/>
                    <a:pt x="23478" y="117444"/>
                    <a:pt x="0" y="123314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CACD8342-2421-40A8-AFCE-917507C08CA5}"/>
                </a:ext>
              </a:extLst>
            </p:cNvPr>
            <p:cNvSpPr/>
            <p:nvPr/>
          </p:nvSpPr>
          <p:spPr>
            <a:xfrm>
              <a:off x="22175216" y="8309251"/>
              <a:ext cx="73416" cy="108796"/>
            </a:xfrm>
            <a:custGeom>
              <a:avLst/>
              <a:gdLst>
                <a:gd name="connsiteX0" fmla="*/ 8892 w 73416"/>
                <a:gd name="connsiteY0" fmla="*/ 17366 h 108796"/>
                <a:gd name="connsiteX1" fmla="*/ 64652 w 73416"/>
                <a:gd name="connsiteY1" fmla="*/ 5626 h 108796"/>
                <a:gd name="connsiteX2" fmla="*/ 14760 w 73416"/>
                <a:gd name="connsiteY2" fmla="*/ 105409 h 108796"/>
                <a:gd name="connsiteX3" fmla="*/ 8892 w 73416"/>
                <a:gd name="connsiteY3" fmla="*/ 17366 h 108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16" h="108796">
                  <a:moveTo>
                    <a:pt x="8892" y="17366"/>
                  </a:moveTo>
                  <a:cubicBezTo>
                    <a:pt x="8892" y="17366"/>
                    <a:pt x="41174" y="-11982"/>
                    <a:pt x="64652" y="5626"/>
                  </a:cubicBezTo>
                  <a:cubicBezTo>
                    <a:pt x="91066" y="23235"/>
                    <a:pt x="52914" y="128887"/>
                    <a:pt x="14760" y="105409"/>
                  </a:cubicBezTo>
                  <a:cubicBezTo>
                    <a:pt x="-14588" y="90735"/>
                    <a:pt x="8892" y="17366"/>
                    <a:pt x="8892" y="17366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7DC04B79-8532-429C-9242-93B48315F5F3}"/>
                </a:ext>
              </a:extLst>
            </p:cNvPr>
            <p:cNvSpPr/>
            <p:nvPr/>
          </p:nvSpPr>
          <p:spPr>
            <a:xfrm>
              <a:off x="22002151" y="8036073"/>
              <a:ext cx="209584" cy="281739"/>
            </a:xfrm>
            <a:custGeom>
              <a:avLst/>
              <a:gdLst>
                <a:gd name="connsiteX0" fmla="*/ 205435 w 209584"/>
                <a:gd name="connsiteY0" fmla="*/ 281739 h 281739"/>
                <a:gd name="connsiteX1" fmla="*/ 199565 w 209584"/>
                <a:gd name="connsiteY1" fmla="*/ 275870 h 281739"/>
                <a:gd name="connsiteX2" fmla="*/ 146739 w 209584"/>
                <a:gd name="connsiteY2" fmla="*/ 179022 h 281739"/>
                <a:gd name="connsiteX3" fmla="*/ 5870 w 209584"/>
                <a:gd name="connsiteY3" fmla="*/ 129131 h 281739"/>
                <a:gd name="connsiteX4" fmla="*/ 0 w 209584"/>
                <a:gd name="connsiteY4" fmla="*/ 126196 h 281739"/>
                <a:gd name="connsiteX5" fmla="*/ 2934 w 209584"/>
                <a:gd name="connsiteY5" fmla="*/ 120326 h 281739"/>
                <a:gd name="connsiteX6" fmla="*/ 20544 w 209584"/>
                <a:gd name="connsiteY6" fmla="*/ 96848 h 281739"/>
                <a:gd name="connsiteX7" fmla="*/ 29348 w 209584"/>
                <a:gd name="connsiteY7" fmla="*/ 58696 h 281739"/>
                <a:gd name="connsiteX8" fmla="*/ 32282 w 209584"/>
                <a:gd name="connsiteY8" fmla="*/ 32283 h 281739"/>
                <a:gd name="connsiteX9" fmla="*/ 35218 w 209584"/>
                <a:gd name="connsiteY9" fmla="*/ 5869 h 281739"/>
                <a:gd name="connsiteX10" fmla="*/ 41086 w 209584"/>
                <a:gd name="connsiteY10" fmla="*/ 0 h 281739"/>
                <a:gd name="connsiteX11" fmla="*/ 46956 w 209584"/>
                <a:gd name="connsiteY11" fmla="*/ 5869 h 281739"/>
                <a:gd name="connsiteX12" fmla="*/ 44022 w 209584"/>
                <a:gd name="connsiteY12" fmla="*/ 32283 h 281739"/>
                <a:gd name="connsiteX13" fmla="*/ 41086 w 209584"/>
                <a:gd name="connsiteY13" fmla="*/ 58696 h 281739"/>
                <a:gd name="connsiteX14" fmla="*/ 32282 w 209584"/>
                <a:gd name="connsiteY14" fmla="*/ 102717 h 281739"/>
                <a:gd name="connsiteX15" fmla="*/ 17608 w 209584"/>
                <a:gd name="connsiteY15" fmla="*/ 123261 h 281739"/>
                <a:gd name="connsiteX16" fmla="*/ 146739 w 209584"/>
                <a:gd name="connsiteY16" fmla="*/ 167283 h 281739"/>
                <a:gd name="connsiteX17" fmla="*/ 208369 w 209584"/>
                <a:gd name="connsiteY17" fmla="*/ 275870 h 281739"/>
                <a:gd name="connsiteX18" fmla="*/ 205435 w 209584"/>
                <a:gd name="connsiteY18" fmla="*/ 281739 h 281739"/>
                <a:gd name="connsiteX19" fmla="*/ 205435 w 209584"/>
                <a:gd name="connsiteY19" fmla="*/ 281739 h 281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9584" h="281739">
                  <a:moveTo>
                    <a:pt x="205435" y="281739"/>
                  </a:moveTo>
                  <a:cubicBezTo>
                    <a:pt x="202499" y="281739"/>
                    <a:pt x="199565" y="278804"/>
                    <a:pt x="199565" y="275870"/>
                  </a:cubicBezTo>
                  <a:cubicBezTo>
                    <a:pt x="199565" y="275870"/>
                    <a:pt x="193695" y="184891"/>
                    <a:pt x="146739" y="179022"/>
                  </a:cubicBezTo>
                  <a:cubicBezTo>
                    <a:pt x="79239" y="170217"/>
                    <a:pt x="8804" y="132065"/>
                    <a:pt x="5870" y="129131"/>
                  </a:cubicBezTo>
                  <a:lnTo>
                    <a:pt x="0" y="126196"/>
                  </a:lnTo>
                  <a:lnTo>
                    <a:pt x="2934" y="120326"/>
                  </a:lnTo>
                  <a:cubicBezTo>
                    <a:pt x="8804" y="114457"/>
                    <a:pt x="14674" y="105652"/>
                    <a:pt x="20544" y="96848"/>
                  </a:cubicBezTo>
                  <a:cubicBezTo>
                    <a:pt x="26412" y="85109"/>
                    <a:pt x="26412" y="70435"/>
                    <a:pt x="29348" y="58696"/>
                  </a:cubicBezTo>
                  <a:cubicBezTo>
                    <a:pt x="29348" y="52826"/>
                    <a:pt x="32282" y="41087"/>
                    <a:pt x="32282" y="32283"/>
                  </a:cubicBezTo>
                  <a:cubicBezTo>
                    <a:pt x="32282" y="20543"/>
                    <a:pt x="35218" y="11739"/>
                    <a:pt x="35218" y="5869"/>
                  </a:cubicBezTo>
                  <a:cubicBezTo>
                    <a:pt x="35218" y="2935"/>
                    <a:pt x="38152" y="0"/>
                    <a:pt x="41086" y="0"/>
                  </a:cubicBezTo>
                  <a:cubicBezTo>
                    <a:pt x="44022" y="0"/>
                    <a:pt x="46956" y="2935"/>
                    <a:pt x="46956" y="5869"/>
                  </a:cubicBezTo>
                  <a:cubicBezTo>
                    <a:pt x="46956" y="11739"/>
                    <a:pt x="44022" y="23478"/>
                    <a:pt x="44022" y="32283"/>
                  </a:cubicBezTo>
                  <a:cubicBezTo>
                    <a:pt x="44022" y="44022"/>
                    <a:pt x="41086" y="52826"/>
                    <a:pt x="41086" y="58696"/>
                  </a:cubicBezTo>
                  <a:cubicBezTo>
                    <a:pt x="41086" y="73370"/>
                    <a:pt x="38152" y="88043"/>
                    <a:pt x="32282" y="102717"/>
                  </a:cubicBezTo>
                  <a:cubicBezTo>
                    <a:pt x="29348" y="111522"/>
                    <a:pt x="23478" y="117391"/>
                    <a:pt x="17608" y="123261"/>
                  </a:cubicBezTo>
                  <a:cubicBezTo>
                    <a:pt x="35218" y="132065"/>
                    <a:pt x="93913" y="161413"/>
                    <a:pt x="146739" y="167283"/>
                  </a:cubicBezTo>
                  <a:cubicBezTo>
                    <a:pt x="202499" y="173152"/>
                    <a:pt x="208369" y="270000"/>
                    <a:pt x="208369" y="275870"/>
                  </a:cubicBezTo>
                  <a:cubicBezTo>
                    <a:pt x="211305" y="278804"/>
                    <a:pt x="208369" y="281739"/>
                    <a:pt x="205435" y="281739"/>
                  </a:cubicBezTo>
                  <a:cubicBezTo>
                    <a:pt x="205435" y="281739"/>
                    <a:pt x="205435" y="281739"/>
                    <a:pt x="205435" y="281739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0FA4118B-B8B4-43AB-A111-337C6C23B5E1}"/>
                </a:ext>
              </a:extLst>
            </p:cNvPr>
            <p:cNvSpPr/>
            <p:nvPr/>
          </p:nvSpPr>
          <p:spPr>
            <a:xfrm>
              <a:off x="21911906" y="8545421"/>
              <a:ext cx="214810" cy="80543"/>
            </a:xfrm>
            <a:custGeom>
              <a:avLst/>
              <a:gdLst>
                <a:gd name="connsiteX0" fmla="*/ 66767 w 214810"/>
                <a:gd name="connsiteY0" fmla="*/ 80543 h 80543"/>
                <a:gd name="connsiteX1" fmla="*/ 2202 w 214810"/>
                <a:gd name="connsiteY1" fmla="*/ 57065 h 80543"/>
                <a:gd name="connsiteX2" fmla="*/ 2202 w 214810"/>
                <a:gd name="connsiteY2" fmla="*/ 48261 h 80543"/>
                <a:gd name="connsiteX3" fmla="*/ 11006 w 214810"/>
                <a:gd name="connsiteY3" fmla="*/ 48261 h 80543"/>
                <a:gd name="connsiteX4" fmla="*/ 78506 w 214810"/>
                <a:gd name="connsiteY4" fmla="*/ 68804 h 80543"/>
                <a:gd name="connsiteX5" fmla="*/ 204701 w 214810"/>
                <a:gd name="connsiteY5" fmla="*/ 1304 h 80543"/>
                <a:gd name="connsiteX6" fmla="*/ 213507 w 214810"/>
                <a:gd name="connsiteY6" fmla="*/ 1304 h 80543"/>
                <a:gd name="connsiteX7" fmla="*/ 213507 w 214810"/>
                <a:gd name="connsiteY7" fmla="*/ 10108 h 80543"/>
                <a:gd name="connsiteX8" fmla="*/ 84375 w 214810"/>
                <a:gd name="connsiteY8" fmla="*/ 80543 h 80543"/>
                <a:gd name="connsiteX9" fmla="*/ 66767 w 214810"/>
                <a:gd name="connsiteY9" fmla="*/ 80543 h 80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4810" h="80543">
                  <a:moveTo>
                    <a:pt x="66767" y="80543"/>
                  </a:moveTo>
                  <a:cubicBezTo>
                    <a:pt x="31550" y="80543"/>
                    <a:pt x="5136" y="57065"/>
                    <a:pt x="2202" y="57065"/>
                  </a:cubicBezTo>
                  <a:cubicBezTo>
                    <a:pt x="-734" y="54130"/>
                    <a:pt x="-734" y="51196"/>
                    <a:pt x="2202" y="48261"/>
                  </a:cubicBezTo>
                  <a:cubicBezTo>
                    <a:pt x="5136" y="45326"/>
                    <a:pt x="8072" y="45326"/>
                    <a:pt x="11006" y="48261"/>
                  </a:cubicBezTo>
                  <a:cubicBezTo>
                    <a:pt x="11006" y="48261"/>
                    <a:pt x="43288" y="74674"/>
                    <a:pt x="78506" y="68804"/>
                  </a:cubicBezTo>
                  <a:cubicBezTo>
                    <a:pt x="116657" y="62935"/>
                    <a:pt x="201767" y="1304"/>
                    <a:pt x="204701" y="1304"/>
                  </a:cubicBezTo>
                  <a:cubicBezTo>
                    <a:pt x="207637" y="-1631"/>
                    <a:pt x="210571" y="1304"/>
                    <a:pt x="213507" y="1304"/>
                  </a:cubicBezTo>
                  <a:cubicBezTo>
                    <a:pt x="216441" y="4239"/>
                    <a:pt x="213507" y="7174"/>
                    <a:pt x="213507" y="10108"/>
                  </a:cubicBezTo>
                  <a:cubicBezTo>
                    <a:pt x="210571" y="13043"/>
                    <a:pt x="122527" y="74674"/>
                    <a:pt x="84375" y="80543"/>
                  </a:cubicBezTo>
                  <a:cubicBezTo>
                    <a:pt x="75571" y="80543"/>
                    <a:pt x="69702" y="80543"/>
                    <a:pt x="66767" y="80543"/>
                  </a:cubicBezTo>
                  <a:close/>
                </a:path>
              </a:pathLst>
            </a:custGeom>
            <a:solidFill>
              <a:srgbClr val="E58777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04AB66E7-DB95-4B19-811F-87691ED43FDD}"/>
                </a:ext>
              </a:extLst>
            </p:cNvPr>
            <p:cNvSpPr/>
            <p:nvPr/>
          </p:nvSpPr>
          <p:spPr>
            <a:xfrm>
              <a:off x="22295629" y="8388247"/>
              <a:ext cx="116657" cy="284673"/>
            </a:xfrm>
            <a:custGeom>
              <a:avLst/>
              <a:gdLst>
                <a:gd name="connsiteX0" fmla="*/ 108587 w 116657"/>
                <a:gd name="connsiteY0" fmla="*/ 281739 h 284673"/>
                <a:gd name="connsiteX1" fmla="*/ 105651 w 116657"/>
                <a:gd name="connsiteY1" fmla="*/ 278804 h 284673"/>
                <a:gd name="connsiteX2" fmla="*/ 82174 w 116657"/>
                <a:gd name="connsiteY2" fmla="*/ 179022 h 284673"/>
                <a:gd name="connsiteX3" fmla="*/ 35218 w 116657"/>
                <a:gd name="connsiteY3" fmla="*/ 76305 h 284673"/>
                <a:gd name="connsiteX4" fmla="*/ 0 w 116657"/>
                <a:gd name="connsiteY4" fmla="*/ 5869 h 284673"/>
                <a:gd name="connsiteX5" fmla="*/ 5870 w 116657"/>
                <a:gd name="connsiteY5" fmla="*/ 0 h 284673"/>
                <a:gd name="connsiteX6" fmla="*/ 11738 w 116657"/>
                <a:gd name="connsiteY6" fmla="*/ 5869 h 284673"/>
                <a:gd name="connsiteX7" fmla="*/ 44022 w 116657"/>
                <a:gd name="connsiteY7" fmla="*/ 70435 h 284673"/>
                <a:gd name="connsiteX8" fmla="*/ 93913 w 116657"/>
                <a:gd name="connsiteY8" fmla="*/ 184891 h 284673"/>
                <a:gd name="connsiteX9" fmla="*/ 114455 w 116657"/>
                <a:gd name="connsiteY9" fmla="*/ 275870 h 284673"/>
                <a:gd name="connsiteX10" fmla="*/ 114455 w 116657"/>
                <a:gd name="connsiteY10" fmla="*/ 284674 h 284673"/>
                <a:gd name="connsiteX11" fmla="*/ 108587 w 116657"/>
                <a:gd name="connsiteY11" fmla="*/ 281739 h 284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657" h="284673">
                  <a:moveTo>
                    <a:pt x="108587" y="281739"/>
                  </a:moveTo>
                  <a:cubicBezTo>
                    <a:pt x="105651" y="281739"/>
                    <a:pt x="105651" y="281739"/>
                    <a:pt x="105651" y="278804"/>
                  </a:cubicBezTo>
                  <a:cubicBezTo>
                    <a:pt x="88043" y="258261"/>
                    <a:pt x="73370" y="214239"/>
                    <a:pt x="82174" y="179022"/>
                  </a:cubicBezTo>
                  <a:cubicBezTo>
                    <a:pt x="90978" y="143805"/>
                    <a:pt x="64566" y="99783"/>
                    <a:pt x="35218" y="76305"/>
                  </a:cubicBezTo>
                  <a:cubicBezTo>
                    <a:pt x="2934" y="49891"/>
                    <a:pt x="0" y="5869"/>
                    <a:pt x="0" y="5869"/>
                  </a:cubicBezTo>
                  <a:cubicBezTo>
                    <a:pt x="0" y="2935"/>
                    <a:pt x="2934" y="0"/>
                    <a:pt x="5870" y="0"/>
                  </a:cubicBezTo>
                  <a:cubicBezTo>
                    <a:pt x="8804" y="0"/>
                    <a:pt x="11738" y="2935"/>
                    <a:pt x="11738" y="5869"/>
                  </a:cubicBezTo>
                  <a:cubicBezTo>
                    <a:pt x="11738" y="5869"/>
                    <a:pt x="14674" y="46957"/>
                    <a:pt x="44022" y="70435"/>
                  </a:cubicBezTo>
                  <a:cubicBezTo>
                    <a:pt x="76304" y="96848"/>
                    <a:pt x="102717" y="143805"/>
                    <a:pt x="93913" y="184891"/>
                  </a:cubicBezTo>
                  <a:cubicBezTo>
                    <a:pt x="85108" y="220109"/>
                    <a:pt x="99782" y="258261"/>
                    <a:pt x="114455" y="275870"/>
                  </a:cubicBezTo>
                  <a:cubicBezTo>
                    <a:pt x="117391" y="278804"/>
                    <a:pt x="117391" y="281739"/>
                    <a:pt x="114455" y="284674"/>
                  </a:cubicBezTo>
                  <a:cubicBezTo>
                    <a:pt x="108587" y="281739"/>
                    <a:pt x="108587" y="281739"/>
                    <a:pt x="108587" y="281739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6B452725-1735-4B56-BE24-7214DE870CCA}"/>
                </a:ext>
              </a:extLst>
            </p:cNvPr>
            <p:cNvSpPr/>
            <p:nvPr/>
          </p:nvSpPr>
          <p:spPr>
            <a:xfrm>
              <a:off x="21688862" y="8360530"/>
              <a:ext cx="65136" cy="233152"/>
            </a:xfrm>
            <a:custGeom>
              <a:avLst/>
              <a:gdLst>
                <a:gd name="connsiteX0" fmla="*/ 5136 w 65136"/>
                <a:gd name="connsiteY0" fmla="*/ 233152 h 233152"/>
                <a:gd name="connsiteX1" fmla="*/ 2201 w 65136"/>
                <a:gd name="connsiteY1" fmla="*/ 230218 h 233152"/>
                <a:gd name="connsiteX2" fmla="*/ 2201 w 65136"/>
                <a:gd name="connsiteY2" fmla="*/ 221413 h 233152"/>
                <a:gd name="connsiteX3" fmla="*/ 13940 w 65136"/>
                <a:gd name="connsiteY3" fmla="*/ 89348 h 233152"/>
                <a:gd name="connsiteX4" fmla="*/ 55028 w 65136"/>
                <a:gd name="connsiteY4" fmla="*/ 1304 h 233152"/>
                <a:gd name="connsiteX5" fmla="*/ 63832 w 65136"/>
                <a:gd name="connsiteY5" fmla="*/ 1304 h 233152"/>
                <a:gd name="connsiteX6" fmla="*/ 63832 w 65136"/>
                <a:gd name="connsiteY6" fmla="*/ 10109 h 233152"/>
                <a:gd name="connsiteX7" fmla="*/ 28614 w 65136"/>
                <a:gd name="connsiteY7" fmla="*/ 86413 h 233152"/>
                <a:gd name="connsiteX8" fmla="*/ 13940 w 65136"/>
                <a:gd name="connsiteY8" fmla="*/ 227283 h 233152"/>
                <a:gd name="connsiteX9" fmla="*/ 5136 w 65136"/>
                <a:gd name="connsiteY9" fmla="*/ 233152 h 233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5136" h="233152">
                  <a:moveTo>
                    <a:pt x="5136" y="233152"/>
                  </a:moveTo>
                  <a:cubicBezTo>
                    <a:pt x="2201" y="233152"/>
                    <a:pt x="2201" y="233152"/>
                    <a:pt x="2201" y="230218"/>
                  </a:cubicBezTo>
                  <a:cubicBezTo>
                    <a:pt x="-734" y="227283"/>
                    <a:pt x="-734" y="224348"/>
                    <a:pt x="2201" y="221413"/>
                  </a:cubicBezTo>
                  <a:cubicBezTo>
                    <a:pt x="31548" y="197935"/>
                    <a:pt x="25680" y="142174"/>
                    <a:pt x="13940" y="89348"/>
                  </a:cubicBezTo>
                  <a:cubicBezTo>
                    <a:pt x="2201" y="39457"/>
                    <a:pt x="52092" y="1304"/>
                    <a:pt x="55028" y="1304"/>
                  </a:cubicBezTo>
                  <a:cubicBezTo>
                    <a:pt x="57962" y="-1631"/>
                    <a:pt x="60896" y="1304"/>
                    <a:pt x="63832" y="1304"/>
                  </a:cubicBezTo>
                  <a:cubicBezTo>
                    <a:pt x="66766" y="4239"/>
                    <a:pt x="63832" y="7174"/>
                    <a:pt x="63832" y="10109"/>
                  </a:cubicBezTo>
                  <a:cubicBezTo>
                    <a:pt x="63832" y="10109"/>
                    <a:pt x="19810" y="45326"/>
                    <a:pt x="28614" y="86413"/>
                  </a:cubicBezTo>
                  <a:cubicBezTo>
                    <a:pt x="40354" y="142174"/>
                    <a:pt x="46222" y="200870"/>
                    <a:pt x="13940" y="227283"/>
                  </a:cubicBezTo>
                  <a:cubicBezTo>
                    <a:pt x="8070" y="233152"/>
                    <a:pt x="5136" y="233152"/>
                    <a:pt x="5136" y="233152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91F12B1B-9484-404E-BD0F-4B99E971DFF8}"/>
                </a:ext>
              </a:extLst>
            </p:cNvPr>
            <p:cNvSpPr/>
            <p:nvPr/>
          </p:nvSpPr>
          <p:spPr>
            <a:xfrm>
              <a:off x="21742586" y="8540856"/>
              <a:ext cx="57571" cy="114456"/>
            </a:xfrm>
            <a:custGeom>
              <a:avLst/>
              <a:gdLst>
                <a:gd name="connsiteX0" fmla="*/ 4239 w 57571"/>
                <a:gd name="connsiteY0" fmla="*/ 114457 h 114456"/>
                <a:gd name="connsiteX1" fmla="*/ 1305 w 57571"/>
                <a:gd name="connsiteY1" fmla="*/ 111522 h 114456"/>
                <a:gd name="connsiteX2" fmla="*/ 1305 w 57571"/>
                <a:gd name="connsiteY2" fmla="*/ 102717 h 114456"/>
                <a:gd name="connsiteX3" fmla="*/ 45327 w 57571"/>
                <a:gd name="connsiteY3" fmla="*/ 5870 h 114456"/>
                <a:gd name="connsiteX4" fmla="*/ 51195 w 57571"/>
                <a:gd name="connsiteY4" fmla="*/ 0 h 114456"/>
                <a:gd name="connsiteX5" fmla="*/ 57065 w 57571"/>
                <a:gd name="connsiteY5" fmla="*/ 5870 h 114456"/>
                <a:gd name="connsiteX6" fmla="*/ 10109 w 57571"/>
                <a:gd name="connsiteY6" fmla="*/ 111522 h 114456"/>
                <a:gd name="connsiteX7" fmla="*/ 4239 w 57571"/>
                <a:gd name="connsiteY7" fmla="*/ 114457 h 114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571" h="114456">
                  <a:moveTo>
                    <a:pt x="4239" y="114457"/>
                  </a:moveTo>
                  <a:cubicBezTo>
                    <a:pt x="1305" y="114457"/>
                    <a:pt x="1305" y="114457"/>
                    <a:pt x="1305" y="111522"/>
                  </a:cubicBezTo>
                  <a:cubicBezTo>
                    <a:pt x="-1631" y="108587"/>
                    <a:pt x="1305" y="105652"/>
                    <a:pt x="1305" y="102717"/>
                  </a:cubicBezTo>
                  <a:cubicBezTo>
                    <a:pt x="51195" y="67500"/>
                    <a:pt x="45327" y="8804"/>
                    <a:pt x="45327" y="5870"/>
                  </a:cubicBezTo>
                  <a:cubicBezTo>
                    <a:pt x="45327" y="2935"/>
                    <a:pt x="48261" y="0"/>
                    <a:pt x="51195" y="0"/>
                  </a:cubicBezTo>
                  <a:cubicBezTo>
                    <a:pt x="54131" y="0"/>
                    <a:pt x="57065" y="2935"/>
                    <a:pt x="57065" y="5870"/>
                  </a:cubicBezTo>
                  <a:cubicBezTo>
                    <a:pt x="57065" y="8804"/>
                    <a:pt x="65869" y="70435"/>
                    <a:pt x="10109" y="111522"/>
                  </a:cubicBezTo>
                  <a:cubicBezTo>
                    <a:pt x="4239" y="114457"/>
                    <a:pt x="4239" y="114457"/>
                    <a:pt x="4239" y="114457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9" name="图形 1">
              <a:extLst>
                <a:ext uri="{FF2B5EF4-FFF2-40B4-BE49-F238E27FC236}">
                  <a16:creationId xmlns:a16="http://schemas.microsoft.com/office/drawing/2014/main" id="{2D3F8539-E2F7-465E-AA8D-68C9637A6102}"/>
                </a:ext>
              </a:extLst>
            </p:cNvPr>
            <p:cNvGrpSpPr/>
            <p:nvPr/>
          </p:nvGrpSpPr>
          <p:grpSpPr>
            <a:xfrm>
              <a:off x="21312477" y="9573900"/>
              <a:ext cx="1605326" cy="1590741"/>
              <a:chOff x="21312477" y="9573900"/>
              <a:chExt cx="1605326" cy="1590741"/>
            </a:xfrm>
          </p:grpSpPr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852FC933-6819-4822-8E32-C5AC71BE838B}"/>
                  </a:ext>
                </a:extLst>
              </p:cNvPr>
              <p:cNvSpPr/>
              <p:nvPr/>
            </p:nvSpPr>
            <p:spPr>
              <a:xfrm>
                <a:off x="21312477" y="9573900"/>
                <a:ext cx="1605326" cy="1590741"/>
              </a:xfrm>
              <a:custGeom>
                <a:avLst/>
                <a:gdLst>
                  <a:gd name="connsiteX0" fmla="*/ 1605326 w 1605326"/>
                  <a:gd name="connsiteY0" fmla="*/ 1335326 h 1590741"/>
                  <a:gd name="connsiteX1" fmla="*/ 1573043 w 1605326"/>
                  <a:gd name="connsiteY1" fmla="*/ 1361739 h 1590741"/>
                  <a:gd name="connsiteX2" fmla="*/ 0 w 1605326"/>
                  <a:gd name="connsiteY2" fmla="*/ 1511413 h 1590741"/>
                  <a:gd name="connsiteX3" fmla="*/ 137935 w 1605326"/>
                  <a:gd name="connsiteY3" fmla="*/ 1220870 h 1590741"/>
                  <a:gd name="connsiteX4" fmla="*/ 149673 w 1605326"/>
                  <a:gd name="connsiteY4" fmla="*/ 1194456 h 1590741"/>
                  <a:gd name="connsiteX5" fmla="*/ 231847 w 1605326"/>
                  <a:gd name="connsiteY5" fmla="*/ 915652 h 1590741"/>
                  <a:gd name="connsiteX6" fmla="*/ 237717 w 1605326"/>
                  <a:gd name="connsiteY6" fmla="*/ 886304 h 1590741"/>
                  <a:gd name="connsiteX7" fmla="*/ 278804 w 1605326"/>
                  <a:gd name="connsiteY7" fmla="*/ 537065 h 1590741"/>
                  <a:gd name="connsiteX8" fmla="*/ 278804 w 1605326"/>
                  <a:gd name="connsiteY8" fmla="*/ 507717 h 1590741"/>
                  <a:gd name="connsiteX9" fmla="*/ 281738 w 1605326"/>
                  <a:gd name="connsiteY9" fmla="*/ 443152 h 1590741"/>
                  <a:gd name="connsiteX10" fmla="*/ 325760 w 1605326"/>
                  <a:gd name="connsiteY10" fmla="*/ 196630 h 1590741"/>
                  <a:gd name="connsiteX11" fmla="*/ 334564 w 1605326"/>
                  <a:gd name="connsiteY11" fmla="*/ 167282 h 1590741"/>
                  <a:gd name="connsiteX12" fmla="*/ 393260 w 1605326"/>
                  <a:gd name="connsiteY12" fmla="*/ 17609 h 1590741"/>
                  <a:gd name="connsiteX13" fmla="*/ 1038912 w 1605326"/>
                  <a:gd name="connsiteY13" fmla="*/ 0 h 1590741"/>
                  <a:gd name="connsiteX14" fmla="*/ 1109348 w 1605326"/>
                  <a:gd name="connsiteY14" fmla="*/ 96847 h 1590741"/>
                  <a:gd name="connsiteX15" fmla="*/ 1124021 w 1605326"/>
                  <a:gd name="connsiteY15" fmla="*/ 120326 h 1590741"/>
                  <a:gd name="connsiteX16" fmla="*/ 1124021 w 1605326"/>
                  <a:gd name="connsiteY16" fmla="*/ 120326 h 1590741"/>
                  <a:gd name="connsiteX17" fmla="*/ 1279565 w 1605326"/>
                  <a:gd name="connsiteY17" fmla="*/ 443152 h 1590741"/>
                  <a:gd name="connsiteX18" fmla="*/ 1291304 w 1605326"/>
                  <a:gd name="connsiteY18" fmla="*/ 469565 h 1590741"/>
                  <a:gd name="connsiteX19" fmla="*/ 1426304 w 1605326"/>
                  <a:gd name="connsiteY19" fmla="*/ 854022 h 1590741"/>
                  <a:gd name="connsiteX20" fmla="*/ 1435108 w 1605326"/>
                  <a:gd name="connsiteY20" fmla="*/ 883370 h 1590741"/>
                  <a:gd name="connsiteX21" fmla="*/ 1599457 w 1605326"/>
                  <a:gd name="connsiteY21" fmla="*/ 1323587 h 1590741"/>
                  <a:gd name="connsiteX22" fmla="*/ 1599457 w 1605326"/>
                  <a:gd name="connsiteY22" fmla="*/ 1323587 h 1590741"/>
                  <a:gd name="connsiteX23" fmla="*/ 1605326 w 1605326"/>
                  <a:gd name="connsiteY23" fmla="*/ 1335326 h 1590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05326" h="1590741">
                    <a:moveTo>
                      <a:pt x="1605326" y="1335326"/>
                    </a:moveTo>
                    <a:cubicBezTo>
                      <a:pt x="1593587" y="1344130"/>
                      <a:pt x="1581847" y="1352935"/>
                      <a:pt x="1573043" y="1361739"/>
                    </a:cubicBezTo>
                    <a:cubicBezTo>
                      <a:pt x="1214999" y="1617065"/>
                      <a:pt x="563479" y="1646413"/>
                      <a:pt x="0" y="1511413"/>
                    </a:cubicBezTo>
                    <a:cubicBezTo>
                      <a:pt x="58696" y="1408696"/>
                      <a:pt x="102717" y="1311847"/>
                      <a:pt x="137935" y="1220870"/>
                    </a:cubicBezTo>
                    <a:cubicBezTo>
                      <a:pt x="140869" y="1212065"/>
                      <a:pt x="143803" y="1203261"/>
                      <a:pt x="149673" y="1194456"/>
                    </a:cubicBezTo>
                    <a:cubicBezTo>
                      <a:pt x="187825" y="1094674"/>
                      <a:pt x="214239" y="1000761"/>
                      <a:pt x="231847" y="915652"/>
                    </a:cubicBezTo>
                    <a:cubicBezTo>
                      <a:pt x="234783" y="906848"/>
                      <a:pt x="234783" y="895109"/>
                      <a:pt x="237717" y="886304"/>
                    </a:cubicBezTo>
                    <a:cubicBezTo>
                      <a:pt x="267065" y="745435"/>
                      <a:pt x="275869" y="630978"/>
                      <a:pt x="278804" y="537065"/>
                    </a:cubicBezTo>
                    <a:cubicBezTo>
                      <a:pt x="278804" y="525326"/>
                      <a:pt x="278804" y="516522"/>
                      <a:pt x="278804" y="507717"/>
                    </a:cubicBezTo>
                    <a:cubicBezTo>
                      <a:pt x="278804" y="484239"/>
                      <a:pt x="281738" y="463695"/>
                      <a:pt x="281738" y="443152"/>
                    </a:cubicBezTo>
                    <a:cubicBezTo>
                      <a:pt x="287608" y="355109"/>
                      <a:pt x="305216" y="267065"/>
                      <a:pt x="325760" y="196630"/>
                    </a:cubicBezTo>
                    <a:cubicBezTo>
                      <a:pt x="328696" y="187826"/>
                      <a:pt x="331630" y="176087"/>
                      <a:pt x="334564" y="167282"/>
                    </a:cubicBezTo>
                    <a:cubicBezTo>
                      <a:pt x="363912" y="67500"/>
                      <a:pt x="393260" y="17609"/>
                      <a:pt x="393260" y="17609"/>
                    </a:cubicBezTo>
                    <a:cubicBezTo>
                      <a:pt x="393260" y="17609"/>
                      <a:pt x="672064" y="38152"/>
                      <a:pt x="1038912" y="0"/>
                    </a:cubicBezTo>
                    <a:cubicBezTo>
                      <a:pt x="1062392" y="29348"/>
                      <a:pt x="1085870" y="64565"/>
                      <a:pt x="1109348" y="96847"/>
                    </a:cubicBezTo>
                    <a:cubicBezTo>
                      <a:pt x="1115217" y="105652"/>
                      <a:pt x="1121087" y="114456"/>
                      <a:pt x="1124021" y="120326"/>
                    </a:cubicBezTo>
                    <a:lnTo>
                      <a:pt x="1124021" y="120326"/>
                    </a:lnTo>
                    <a:cubicBezTo>
                      <a:pt x="1182717" y="217174"/>
                      <a:pt x="1235543" y="328695"/>
                      <a:pt x="1279565" y="443152"/>
                    </a:cubicBezTo>
                    <a:cubicBezTo>
                      <a:pt x="1282500" y="451956"/>
                      <a:pt x="1285434" y="460760"/>
                      <a:pt x="1291304" y="469565"/>
                    </a:cubicBezTo>
                    <a:cubicBezTo>
                      <a:pt x="1341196" y="595761"/>
                      <a:pt x="1382282" y="724891"/>
                      <a:pt x="1426304" y="854022"/>
                    </a:cubicBezTo>
                    <a:cubicBezTo>
                      <a:pt x="1429240" y="862826"/>
                      <a:pt x="1432174" y="871630"/>
                      <a:pt x="1435108" y="883370"/>
                    </a:cubicBezTo>
                    <a:cubicBezTo>
                      <a:pt x="1487935" y="1038913"/>
                      <a:pt x="1537825" y="1191522"/>
                      <a:pt x="1599457" y="1323587"/>
                    </a:cubicBezTo>
                    <a:lnTo>
                      <a:pt x="1599457" y="1323587"/>
                    </a:lnTo>
                    <a:cubicBezTo>
                      <a:pt x="1602391" y="1329456"/>
                      <a:pt x="1605326" y="1332391"/>
                      <a:pt x="1605326" y="1335326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DEA62A43-060E-4109-B5CE-6BC3F3EA4DD0}"/>
                  </a:ext>
                </a:extLst>
              </p:cNvPr>
              <p:cNvSpPr/>
              <p:nvPr/>
            </p:nvSpPr>
            <p:spPr>
              <a:xfrm>
                <a:off x="21641173" y="9673682"/>
                <a:ext cx="798259" cy="135950"/>
              </a:xfrm>
              <a:custGeom>
                <a:avLst/>
                <a:gdLst>
                  <a:gd name="connsiteX0" fmla="*/ 798259 w 798259"/>
                  <a:gd name="connsiteY0" fmla="*/ 23478 h 135950"/>
                  <a:gd name="connsiteX1" fmla="*/ 419674 w 798259"/>
                  <a:gd name="connsiteY1" fmla="*/ 129130 h 135950"/>
                  <a:gd name="connsiteX2" fmla="*/ 0 w 798259"/>
                  <a:gd name="connsiteY2" fmla="*/ 96847 h 135950"/>
                  <a:gd name="connsiteX3" fmla="*/ 8804 w 798259"/>
                  <a:gd name="connsiteY3" fmla="*/ 67500 h 135950"/>
                  <a:gd name="connsiteX4" fmla="*/ 396196 w 798259"/>
                  <a:gd name="connsiteY4" fmla="*/ 102717 h 135950"/>
                  <a:gd name="connsiteX5" fmla="*/ 783586 w 798259"/>
                  <a:gd name="connsiteY5" fmla="*/ 0 h 135950"/>
                  <a:gd name="connsiteX6" fmla="*/ 798259 w 798259"/>
                  <a:gd name="connsiteY6" fmla="*/ 23478 h 135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8259" h="135950">
                    <a:moveTo>
                      <a:pt x="798259" y="23478"/>
                    </a:moveTo>
                    <a:cubicBezTo>
                      <a:pt x="686738" y="96847"/>
                      <a:pt x="551739" y="120326"/>
                      <a:pt x="419674" y="129130"/>
                    </a:cubicBezTo>
                    <a:cubicBezTo>
                      <a:pt x="281738" y="137935"/>
                      <a:pt x="132065" y="146739"/>
                      <a:pt x="0" y="96847"/>
                    </a:cubicBezTo>
                    <a:cubicBezTo>
                      <a:pt x="2934" y="88043"/>
                      <a:pt x="5868" y="76305"/>
                      <a:pt x="8804" y="67500"/>
                    </a:cubicBezTo>
                    <a:cubicBezTo>
                      <a:pt x="129129" y="114456"/>
                      <a:pt x="267065" y="108587"/>
                      <a:pt x="396196" y="102717"/>
                    </a:cubicBezTo>
                    <a:cubicBezTo>
                      <a:pt x="531195" y="93913"/>
                      <a:pt x="669130" y="73370"/>
                      <a:pt x="783586" y="0"/>
                    </a:cubicBezTo>
                    <a:cubicBezTo>
                      <a:pt x="789455" y="5870"/>
                      <a:pt x="795325" y="14674"/>
                      <a:pt x="798259" y="2347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D90992C7-0413-4664-BC0D-015638767719}"/>
                  </a:ext>
                </a:extLst>
              </p:cNvPr>
              <p:cNvSpPr/>
              <p:nvPr/>
            </p:nvSpPr>
            <p:spPr>
              <a:xfrm>
                <a:off x="21591281" y="10022921"/>
                <a:ext cx="1015434" cy="132707"/>
              </a:xfrm>
              <a:custGeom>
                <a:avLst/>
                <a:gdLst>
                  <a:gd name="connsiteX0" fmla="*/ 1015434 w 1015434"/>
                  <a:gd name="connsiteY0" fmla="*/ 23479 h 132707"/>
                  <a:gd name="connsiteX1" fmla="*/ 449021 w 1015434"/>
                  <a:gd name="connsiteY1" fmla="*/ 132065 h 132707"/>
                  <a:gd name="connsiteX2" fmla="*/ 0 w 1015434"/>
                  <a:gd name="connsiteY2" fmla="*/ 88043 h 132707"/>
                  <a:gd name="connsiteX3" fmla="*/ 0 w 1015434"/>
                  <a:gd name="connsiteY3" fmla="*/ 58696 h 132707"/>
                  <a:gd name="connsiteX4" fmla="*/ 449021 w 1015434"/>
                  <a:gd name="connsiteY4" fmla="*/ 105652 h 132707"/>
                  <a:gd name="connsiteX5" fmla="*/ 1003696 w 1015434"/>
                  <a:gd name="connsiteY5" fmla="*/ 0 h 132707"/>
                  <a:gd name="connsiteX6" fmla="*/ 1015434 w 1015434"/>
                  <a:gd name="connsiteY6" fmla="*/ 23479 h 132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5434" h="132707">
                    <a:moveTo>
                      <a:pt x="1015434" y="23479"/>
                    </a:moveTo>
                    <a:cubicBezTo>
                      <a:pt x="836413" y="96848"/>
                      <a:pt x="642716" y="129130"/>
                      <a:pt x="449021" y="132065"/>
                    </a:cubicBezTo>
                    <a:cubicBezTo>
                      <a:pt x="302282" y="135000"/>
                      <a:pt x="143803" y="129130"/>
                      <a:pt x="0" y="88043"/>
                    </a:cubicBezTo>
                    <a:cubicBezTo>
                      <a:pt x="0" y="76305"/>
                      <a:pt x="0" y="67501"/>
                      <a:pt x="0" y="58696"/>
                    </a:cubicBezTo>
                    <a:cubicBezTo>
                      <a:pt x="143803" y="102717"/>
                      <a:pt x="302282" y="105652"/>
                      <a:pt x="449021" y="105652"/>
                    </a:cubicBezTo>
                    <a:cubicBezTo>
                      <a:pt x="639782" y="102717"/>
                      <a:pt x="827609" y="70435"/>
                      <a:pt x="1003696" y="0"/>
                    </a:cubicBezTo>
                    <a:cubicBezTo>
                      <a:pt x="1009564" y="5870"/>
                      <a:pt x="1012500" y="14674"/>
                      <a:pt x="1015434" y="23479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F2E20056-649B-46B2-8DAC-C8ED8D2AE4B2}"/>
                  </a:ext>
                </a:extLst>
              </p:cNvPr>
              <p:cNvSpPr/>
              <p:nvPr/>
            </p:nvSpPr>
            <p:spPr>
              <a:xfrm>
                <a:off x="21541390" y="10427922"/>
                <a:ext cx="1209130" cy="145674"/>
              </a:xfrm>
              <a:custGeom>
                <a:avLst/>
                <a:gdLst>
                  <a:gd name="connsiteX0" fmla="*/ 1209131 w 1209130"/>
                  <a:gd name="connsiteY0" fmla="*/ 29348 h 145674"/>
                  <a:gd name="connsiteX1" fmla="*/ 636848 w 1209130"/>
                  <a:gd name="connsiteY1" fmla="*/ 143804 h 145674"/>
                  <a:gd name="connsiteX2" fmla="*/ 0 w 1209130"/>
                  <a:gd name="connsiteY2" fmla="*/ 58696 h 145674"/>
                  <a:gd name="connsiteX3" fmla="*/ 5870 w 1209130"/>
                  <a:gd name="connsiteY3" fmla="*/ 29348 h 145674"/>
                  <a:gd name="connsiteX4" fmla="*/ 607500 w 1209130"/>
                  <a:gd name="connsiteY4" fmla="*/ 114456 h 145674"/>
                  <a:gd name="connsiteX5" fmla="*/ 1197391 w 1209130"/>
                  <a:gd name="connsiteY5" fmla="*/ 0 h 145674"/>
                  <a:gd name="connsiteX6" fmla="*/ 1209131 w 1209130"/>
                  <a:gd name="connsiteY6" fmla="*/ 29348 h 145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09130" h="145674">
                    <a:moveTo>
                      <a:pt x="1209131" y="29348"/>
                    </a:moveTo>
                    <a:cubicBezTo>
                      <a:pt x="1035978" y="117391"/>
                      <a:pt x="833479" y="137934"/>
                      <a:pt x="636848" y="143804"/>
                    </a:cubicBezTo>
                    <a:cubicBezTo>
                      <a:pt x="419674" y="149673"/>
                      <a:pt x="196631" y="146739"/>
                      <a:pt x="0" y="58696"/>
                    </a:cubicBezTo>
                    <a:cubicBezTo>
                      <a:pt x="2934" y="49891"/>
                      <a:pt x="2934" y="38152"/>
                      <a:pt x="5870" y="29348"/>
                    </a:cubicBezTo>
                    <a:cubicBezTo>
                      <a:pt x="193695" y="111521"/>
                      <a:pt x="402066" y="120325"/>
                      <a:pt x="607500" y="114456"/>
                    </a:cubicBezTo>
                    <a:cubicBezTo>
                      <a:pt x="809999" y="108586"/>
                      <a:pt x="1018370" y="93913"/>
                      <a:pt x="1197391" y="0"/>
                    </a:cubicBezTo>
                    <a:cubicBezTo>
                      <a:pt x="1203261" y="11739"/>
                      <a:pt x="1206195" y="20543"/>
                      <a:pt x="1209131" y="2934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01C047D9-BBCC-4853-A05F-8915BC4F2A00}"/>
                  </a:ext>
                </a:extLst>
              </p:cNvPr>
              <p:cNvSpPr/>
              <p:nvPr/>
            </p:nvSpPr>
            <p:spPr>
              <a:xfrm>
                <a:off x="21450412" y="10768356"/>
                <a:ext cx="1467391" cy="197009"/>
              </a:xfrm>
              <a:custGeom>
                <a:avLst/>
                <a:gdLst>
                  <a:gd name="connsiteX0" fmla="*/ 1467391 w 1467391"/>
                  <a:gd name="connsiteY0" fmla="*/ 140870 h 197009"/>
                  <a:gd name="connsiteX1" fmla="*/ 1435108 w 1467391"/>
                  <a:gd name="connsiteY1" fmla="*/ 167283 h 197009"/>
                  <a:gd name="connsiteX2" fmla="*/ 710216 w 1467391"/>
                  <a:gd name="connsiteY2" fmla="*/ 176087 h 197009"/>
                  <a:gd name="connsiteX3" fmla="*/ 0 w 1467391"/>
                  <a:gd name="connsiteY3" fmla="*/ 26414 h 197009"/>
                  <a:gd name="connsiteX4" fmla="*/ 11738 w 1467391"/>
                  <a:gd name="connsiteY4" fmla="*/ 0 h 197009"/>
                  <a:gd name="connsiteX5" fmla="*/ 739564 w 1467391"/>
                  <a:gd name="connsiteY5" fmla="*/ 149674 h 197009"/>
                  <a:gd name="connsiteX6" fmla="*/ 1464456 w 1467391"/>
                  <a:gd name="connsiteY6" fmla="*/ 132065 h 197009"/>
                  <a:gd name="connsiteX7" fmla="*/ 1467391 w 1467391"/>
                  <a:gd name="connsiteY7" fmla="*/ 140870 h 197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67391" h="197009">
                    <a:moveTo>
                      <a:pt x="1467391" y="140870"/>
                    </a:moveTo>
                    <a:cubicBezTo>
                      <a:pt x="1455652" y="149674"/>
                      <a:pt x="1443912" y="158479"/>
                      <a:pt x="1435108" y="167283"/>
                    </a:cubicBezTo>
                    <a:cubicBezTo>
                      <a:pt x="1197391" y="208370"/>
                      <a:pt x="953804" y="202501"/>
                      <a:pt x="710216" y="176087"/>
                    </a:cubicBezTo>
                    <a:cubicBezTo>
                      <a:pt x="469565" y="149674"/>
                      <a:pt x="225977" y="114457"/>
                      <a:pt x="0" y="26414"/>
                    </a:cubicBezTo>
                    <a:cubicBezTo>
                      <a:pt x="2934" y="17609"/>
                      <a:pt x="5868" y="8805"/>
                      <a:pt x="11738" y="0"/>
                    </a:cubicBezTo>
                    <a:cubicBezTo>
                      <a:pt x="243587" y="90978"/>
                      <a:pt x="493043" y="123261"/>
                      <a:pt x="739564" y="149674"/>
                    </a:cubicBezTo>
                    <a:cubicBezTo>
                      <a:pt x="986086" y="176087"/>
                      <a:pt x="1226739" y="176087"/>
                      <a:pt x="1464456" y="132065"/>
                    </a:cubicBezTo>
                    <a:cubicBezTo>
                      <a:pt x="1464456" y="135000"/>
                      <a:pt x="1467391" y="137935"/>
                      <a:pt x="1467391" y="14087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A545B338-69D8-4B2E-9EEA-1AA756F88179}"/>
                </a:ext>
              </a:extLst>
            </p:cNvPr>
            <p:cNvSpPr/>
            <p:nvPr/>
          </p:nvSpPr>
          <p:spPr>
            <a:xfrm>
              <a:off x="21702803" y="9535747"/>
              <a:ext cx="657392" cy="62908"/>
            </a:xfrm>
            <a:custGeom>
              <a:avLst/>
              <a:gdLst>
                <a:gd name="connsiteX0" fmla="*/ 657392 w 657392"/>
                <a:gd name="connsiteY0" fmla="*/ 41088 h 62908"/>
                <a:gd name="connsiteX1" fmla="*/ 5870 w 657392"/>
                <a:gd name="connsiteY1" fmla="*/ 55762 h 62908"/>
                <a:gd name="connsiteX2" fmla="*/ 0 w 657392"/>
                <a:gd name="connsiteY2" fmla="*/ 11740 h 62908"/>
                <a:gd name="connsiteX3" fmla="*/ 651522 w 657392"/>
                <a:gd name="connsiteY3" fmla="*/ 0 h 62908"/>
                <a:gd name="connsiteX4" fmla="*/ 657392 w 657392"/>
                <a:gd name="connsiteY4" fmla="*/ 41088 h 6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7392" h="62908">
                  <a:moveTo>
                    <a:pt x="657392" y="41088"/>
                  </a:moveTo>
                  <a:cubicBezTo>
                    <a:pt x="478369" y="79239"/>
                    <a:pt x="5870" y="55762"/>
                    <a:pt x="5870" y="55762"/>
                  </a:cubicBezTo>
                  <a:lnTo>
                    <a:pt x="0" y="11740"/>
                  </a:lnTo>
                  <a:cubicBezTo>
                    <a:pt x="0" y="11740"/>
                    <a:pt x="396196" y="38153"/>
                    <a:pt x="651522" y="0"/>
                  </a:cubicBezTo>
                  <a:lnTo>
                    <a:pt x="657392" y="41088"/>
                  </a:ln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79489538-A78F-4E8D-B2EF-3AC4F9566B89}"/>
                </a:ext>
              </a:extLst>
            </p:cNvPr>
            <p:cNvSpPr/>
            <p:nvPr/>
          </p:nvSpPr>
          <p:spPr>
            <a:xfrm>
              <a:off x="18542041" y="8925313"/>
              <a:ext cx="499748" cy="636880"/>
            </a:xfrm>
            <a:custGeom>
              <a:avLst/>
              <a:gdLst>
                <a:gd name="connsiteX0" fmla="*/ 217175 w 499748"/>
                <a:gd name="connsiteY0" fmla="*/ 0 h 636880"/>
                <a:gd name="connsiteX1" fmla="*/ 481305 w 499748"/>
                <a:gd name="connsiteY1" fmla="*/ 440217 h 636880"/>
                <a:gd name="connsiteX2" fmla="*/ 425543 w 499748"/>
                <a:gd name="connsiteY2" fmla="*/ 636848 h 636880"/>
                <a:gd name="connsiteX3" fmla="*/ 0 w 499748"/>
                <a:gd name="connsiteY3" fmla="*/ 140870 h 636880"/>
                <a:gd name="connsiteX4" fmla="*/ 217175 w 499748"/>
                <a:gd name="connsiteY4" fmla="*/ 0 h 636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9748" h="636880">
                  <a:moveTo>
                    <a:pt x="217175" y="0"/>
                  </a:moveTo>
                  <a:lnTo>
                    <a:pt x="481305" y="440217"/>
                  </a:lnTo>
                  <a:cubicBezTo>
                    <a:pt x="481305" y="440217"/>
                    <a:pt x="548805" y="639782"/>
                    <a:pt x="425543" y="636848"/>
                  </a:cubicBezTo>
                  <a:cubicBezTo>
                    <a:pt x="302282" y="633913"/>
                    <a:pt x="0" y="140870"/>
                    <a:pt x="0" y="140870"/>
                  </a:cubicBezTo>
                  <a:lnTo>
                    <a:pt x="217175" y="0"/>
                  </a:ln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764D3F1C-79CB-4CBC-B838-75F4073F4A91}"/>
                </a:ext>
              </a:extLst>
            </p:cNvPr>
            <p:cNvSpPr/>
            <p:nvPr/>
          </p:nvSpPr>
          <p:spPr>
            <a:xfrm>
              <a:off x="18419132" y="8555748"/>
              <a:ext cx="463345" cy="586737"/>
            </a:xfrm>
            <a:custGeom>
              <a:avLst/>
              <a:gdLst>
                <a:gd name="connsiteX0" fmla="*/ 105302 w 463345"/>
                <a:gd name="connsiteY0" fmla="*/ 586738 h 586737"/>
                <a:gd name="connsiteX1" fmla="*/ 37802 w 463345"/>
                <a:gd name="connsiteY1" fmla="*/ 14455 h 586737"/>
                <a:gd name="connsiteX2" fmla="*/ 463346 w 463345"/>
                <a:gd name="connsiteY2" fmla="*/ 390108 h 586737"/>
                <a:gd name="connsiteX3" fmla="*/ 105302 w 463345"/>
                <a:gd name="connsiteY3" fmla="*/ 586738 h 586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3345" h="586737">
                  <a:moveTo>
                    <a:pt x="105302" y="586738"/>
                  </a:moveTo>
                  <a:cubicBezTo>
                    <a:pt x="105302" y="586738"/>
                    <a:pt x="-76655" y="99564"/>
                    <a:pt x="37802" y="14455"/>
                  </a:cubicBezTo>
                  <a:cubicBezTo>
                    <a:pt x="166932" y="-88262"/>
                    <a:pt x="463346" y="390108"/>
                    <a:pt x="463346" y="390108"/>
                  </a:cubicBezTo>
                  <a:cubicBezTo>
                    <a:pt x="463346" y="390108"/>
                    <a:pt x="307801" y="548586"/>
                    <a:pt x="105302" y="586738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554A3D2E-A6B9-4A95-8141-47B083BDDC35}"/>
                </a:ext>
              </a:extLst>
            </p:cNvPr>
            <p:cNvSpPr/>
            <p:nvPr/>
          </p:nvSpPr>
          <p:spPr>
            <a:xfrm>
              <a:off x="18433380" y="8558323"/>
              <a:ext cx="446161" cy="590033"/>
            </a:xfrm>
            <a:custGeom>
              <a:avLst/>
              <a:gdLst>
                <a:gd name="connsiteX0" fmla="*/ 88118 w 446161"/>
                <a:gd name="connsiteY0" fmla="*/ 590033 h 590033"/>
                <a:gd name="connsiteX1" fmla="*/ 85184 w 446161"/>
                <a:gd name="connsiteY1" fmla="*/ 584164 h 590033"/>
                <a:gd name="connsiteX2" fmla="*/ 74 w 446161"/>
                <a:gd name="connsiteY2" fmla="*/ 287751 h 590033"/>
                <a:gd name="connsiteX3" fmla="*/ 5944 w 446161"/>
                <a:gd name="connsiteY3" fmla="*/ 281881 h 590033"/>
                <a:gd name="connsiteX4" fmla="*/ 5944 w 446161"/>
                <a:gd name="connsiteY4" fmla="*/ 281881 h 590033"/>
                <a:gd name="connsiteX5" fmla="*/ 11814 w 446161"/>
                <a:gd name="connsiteY5" fmla="*/ 287751 h 590033"/>
                <a:gd name="connsiteX6" fmla="*/ 93988 w 446161"/>
                <a:gd name="connsiteY6" fmla="*/ 575360 h 590033"/>
                <a:gd name="connsiteX7" fmla="*/ 431488 w 446161"/>
                <a:gd name="connsiteY7" fmla="*/ 369925 h 590033"/>
                <a:gd name="connsiteX8" fmla="*/ 234857 w 446161"/>
                <a:gd name="connsiteY8" fmla="*/ 111664 h 590033"/>
                <a:gd name="connsiteX9" fmla="*/ 23554 w 446161"/>
                <a:gd name="connsiteY9" fmla="*/ 14816 h 590033"/>
                <a:gd name="connsiteX10" fmla="*/ 17684 w 446161"/>
                <a:gd name="connsiteY10" fmla="*/ 11881 h 590033"/>
                <a:gd name="connsiteX11" fmla="*/ 20618 w 446161"/>
                <a:gd name="connsiteY11" fmla="*/ 6011 h 590033"/>
                <a:gd name="connsiteX12" fmla="*/ 243663 w 446161"/>
                <a:gd name="connsiteY12" fmla="*/ 108729 h 590033"/>
                <a:gd name="connsiteX13" fmla="*/ 443227 w 446161"/>
                <a:gd name="connsiteY13" fmla="*/ 369925 h 590033"/>
                <a:gd name="connsiteX14" fmla="*/ 446161 w 446161"/>
                <a:gd name="connsiteY14" fmla="*/ 372859 h 590033"/>
                <a:gd name="connsiteX15" fmla="*/ 446161 w 446161"/>
                <a:gd name="connsiteY15" fmla="*/ 375794 h 590033"/>
                <a:gd name="connsiteX16" fmla="*/ 96923 w 446161"/>
                <a:gd name="connsiteY16" fmla="*/ 590033 h 590033"/>
                <a:gd name="connsiteX17" fmla="*/ 88118 w 446161"/>
                <a:gd name="connsiteY17" fmla="*/ 590033 h 59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6161" h="590033">
                  <a:moveTo>
                    <a:pt x="88118" y="590033"/>
                  </a:moveTo>
                  <a:lnTo>
                    <a:pt x="85184" y="584164"/>
                  </a:lnTo>
                  <a:cubicBezTo>
                    <a:pt x="82249" y="575360"/>
                    <a:pt x="-2860" y="334707"/>
                    <a:pt x="74" y="287751"/>
                  </a:cubicBezTo>
                  <a:cubicBezTo>
                    <a:pt x="74" y="284816"/>
                    <a:pt x="3010" y="281881"/>
                    <a:pt x="5944" y="281881"/>
                  </a:cubicBezTo>
                  <a:cubicBezTo>
                    <a:pt x="5944" y="281881"/>
                    <a:pt x="5944" y="281881"/>
                    <a:pt x="5944" y="281881"/>
                  </a:cubicBezTo>
                  <a:cubicBezTo>
                    <a:pt x="8880" y="281881"/>
                    <a:pt x="11814" y="284816"/>
                    <a:pt x="11814" y="287751"/>
                  </a:cubicBezTo>
                  <a:cubicBezTo>
                    <a:pt x="8880" y="328838"/>
                    <a:pt x="82249" y="540142"/>
                    <a:pt x="93988" y="575360"/>
                  </a:cubicBezTo>
                  <a:cubicBezTo>
                    <a:pt x="361054" y="501990"/>
                    <a:pt x="422684" y="387533"/>
                    <a:pt x="431488" y="369925"/>
                  </a:cubicBezTo>
                  <a:cubicBezTo>
                    <a:pt x="419750" y="352316"/>
                    <a:pt x="337574" y="234925"/>
                    <a:pt x="234857" y="111664"/>
                  </a:cubicBezTo>
                  <a:cubicBezTo>
                    <a:pt x="126271" y="-20401"/>
                    <a:pt x="26488" y="14816"/>
                    <a:pt x="23554" y="14816"/>
                  </a:cubicBezTo>
                  <a:cubicBezTo>
                    <a:pt x="20618" y="14816"/>
                    <a:pt x="17684" y="14816"/>
                    <a:pt x="17684" y="11881"/>
                  </a:cubicBezTo>
                  <a:cubicBezTo>
                    <a:pt x="17684" y="8946"/>
                    <a:pt x="17684" y="6011"/>
                    <a:pt x="20618" y="6011"/>
                  </a:cubicBezTo>
                  <a:cubicBezTo>
                    <a:pt x="23554" y="3077"/>
                    <a:pt x="129205" y="-32141"/>
                    <a:pt x="243663" y="108729"/>
                  </a:cubicBezTo>
                  <a:cubicBezTo>
                    <a:pt x="355184" y="243729"/>
                    <a:pt x="440292" y="369925"/>
                    <a:pt x="443227" y="369925"/>
                  </a:cubicBezTo>
                  <a:lnTo>
                    <a:pt x="446161" y="372859"/>
                  </a:lnTo>
                  <a:lnTo>
                    <a:pt x="446161" y="375794"/>
                  </a:lnTo>
                  <a:cubicBezTo>
                    <a:pt x="443227" y="381664"/>
                    <a:pt x="396270" y="507859"/>
                    <a:pt x="96923" y="590033"/>
                  </a:cubicBezTo>
                  <a:lnTo>
                    <a:pt x="88118" y="590033"/>
                  </a:ln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C3C9908D-775D-4B08-954E-B1B8E87D328F}"/>
                </a:ext>
              </a:extLst>
            </p:cNvPr>
            <p:cNvSpPr/>
            <p:nvPr/>
          </p:nvSpPr>
          <p:spPr>
            <a:xfrm>
              <a:off x="18847420" y="8945856"/>
              <a:ext cx="704187" cy="617985"/>
            </a:xfrm>
            <a:custGeom>
              <a:avLst/>
              <a:gdLst>
                <a:gd name="connsiteX0" fmla="*/ 704188 w 704187"/>
                <a:gd name="connsiteY0" fmla="*/ 99783 h 617985"/>
                <a:gd name="connsiteX1" fmla="*/ 161253 w 704187"/>
                <a:gd name="connsiteY1" fmla="*/ 613370 h 617985"/>
                <a:gd name="connsiteX2" fmla="*/ 8644 w 704187"/>
                <a:gd name="connsiteY2" fmla="*/ 443152 h 617985"/>
                <a:gd name="connsiteX3" fmla="*/ 616144 w 704187"/>
                <a:gd name="connsiteY3" fmla="*/ 0 h 617985"/>
                <a:gd name="connsiteX4" fmla="*/ 704188 w 704187"/>
                <a:gd name="connsiteY4" fmla="*/ 99783 h 617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4187" h="617985">
                  <a:moveTo>
                    <a:pt x="704188" y="99783"/>
                  </a:moveTo>
                  <a:cubicBezTo>
                    <a:pt x="704188" y="99783"/>
                    <a:pt x="243426" y="584022"/>
                    <a:pt x="161253" y="613370"/>
                  </a:cubicBezTo>
                  <a:cubicBezTo>
                    <a:pt x="82013" y="639783"/>
                    <a:pt x="-32444" y="548804"/>
                    <a:pt x="8644" y="443152"/>
                  </a:cubicBezTo>
                  <a:cubicBezTo>
                    <a:pt x="82013" y="261196"/>
                    <a:pt x="510491" y="73370"/>
                    <a:pt x="616144" y="0"/>
                  </a:cubicBezTo>
                  <a:cubicBezTo>
                    <a:pt x="610274" y="2935"/>
                    <a:pt x="704188" y="99783"/>
                    <a:pt x="704188" y="99783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F19CCD74-EE87-487F-B081-7B5BD33E5FE9}"/>
                </a:ext>
              </a:extLst>
            </p:cNvPr>
            <p:cNvSpPr/>
            <p:nvPr/>
          </p:nvSpPr>
          <p:spPr>
            <a:xfrm>
              <a:off x="18926499" y="9251074"/>
              <a:ext cx="49889" cy="93912"/>
            </a:xfrm>
            <a:custGeom>
              <a:avLst/>
              <a:gdLst>
                <a:gd name="connsiteX0" fmla="*/ 5868 w 49889"/>
                <a:gd name="connsiteY0" fmla="*/ 93913 h 93912"/>
                <a:gd name="connsiteX1" fmla="*/ 5868 w 49889"/>
                <a:gd name="connsiteY1" fmla="*/ 93913 h 93912"/>
                <a:gd name="connsiteX2" fmla="*/ 0 w 49889"/>
                <a:gd name="connsiteY2" fmla="*/ 88043 h 93912"/>
                <a:gd name="connsiteX3" fmla="*/ 41086 w 49889"/>
                <a:gd name="connsiteY3" fmla="*/ 0 h 93912"/>
                <a:gd name="connsiteX4" fmla="*/ 49890 w 49889"/>
                <a:gd name="connsiteY4" fmla="*/ 2935 h 93912"/>
                <a:gd name="connsiteX5" fmla="*/ 46956 w 49889"/>
                <a:gd name="connsiteY5" fmla="*/ 11739 h 93912"/>
                <a:gd name="connsiteX6" fmla="*/ 11738 w 49889"/>
                <a:gd name="connsiteY6" fmla="*/ 90978 h 93912"/>
                <a:gd name="connsiteX7" fmla="*/ 5868 w 49889"/>
                <a:gd name="connsiteY7" fmla="*/ 93913 h 9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889" h="93912">
                  <a:moveTo>
                    <a:pt x="5868" y="93913"/>
                  </a:moveTo>
                  <a:cubicBezTo>
                    <a:pt x="5868" y="93913"/>
                    <a:pt x="5868" y="93913"/>
                    <a:pt x="5868" y="93913"/>
                  </a:cubicBezTo>
                  <a:cubicBezTo>
                    <a:pt x="2934" y="93913"/>
                    <a:pt x="0" y="90978"/>
                    <a:pt x="0" y="88043"/>
                  </a:cubicBezTo>
                  <a:cubicBezTo>
                    <a:pt x="5868" y="17609"/>
                    <a:pt x="41086" y="0"/>
                    <a:pt x="41086" y="0"/>
                  </a:cubicBezTo>
                  <a:cubicBezTo>
                    <a:pt x="44022" y="0"/>
                    <a:pt x="46956" y="0"/>
                    <a:pt x="49890" y="2935"/>
                  </a:cubicBezTo>
                  <a:cubicBezTo>
                    <a:pt x="49890" y="5869"/>
                    <a:pt x="49890" y="8804"/>
                    <a:pt x="46956" y="11739"/>
                  </a:cubicBezTo>
                  <a:cubicBezTo>
                    <a:pt x="46956" y="11739"/>
                    <a:pt x="17608" y="26413"/>
                    <a:pt x="11738" y="90978"/>
                  </a:cubicBezTo>
                  <a:cubicBezTo>
                    <a:pt x="8804" y="90978"/>
                    <a:pt x="8804" y="93913"/>
                    <a:pt x="5868" y="93913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6" name="图形 1">
              <a:extLst>
                <a:ext uri="{FF2B5EF4-FFF2-40B4-BE49-F238E27FC236}">
                  <a16:creationId xmlns:a16="http://schemas.microsoft.com/office/drawing/2014/main" id="{11904632-0C40-4A00-BCA1-BC6EEF90DD7D}"/>
                </a:ext>
              </a:extLst>
            </p:cNvPr>
            <p:cNvGrpSpPr/>
            <p:nvPr/>
          </p:nvGrpSpPr>
          <p:grpSpPr>
            <a:xfrm>
              <a:off x="21726186" y="7905599"/>
              <a:ext cx="767540" cy="327293"/>
              <a:chOff x="21726186" y="7905599"/>
              <a:chExt cx="767540" cy="327293"/>
            </a:xfrm>
          </p:grpSpPr>
          <p:grpSp>
            <p:nvGrpSpPr>
              <p:cNvPr id="104" name="图形 1">
                <a:extLst>
                  <a:ext uri="{FF2B5EF4-FFF2-40B4-BE49-F238E27FC236}">
                    <a16:creationId xmlns:a16="http://schemas.microsoft.com/office/drawing/2014/main" id="{864D12BC-42E9-4E2E-BAF2-669AD70160B7}"/>
                  </a:ext>
                </a:extLst>
              </p:cNvPr>
              <p:cNvGrpSpPr/>
              <p:nvPr/>
            </p:nvGrpSpPr>
            <p:grpSpPr>
              <a:xfrm>
                <a:off x="21749736" y="7905599"/>
                <a:ext cx="743990" cy="313395"/>
                <a:chOff x="21749736" y="7905599"/>
                <a:chExt cx="743990" cy="313395"/>
              </a:xfrm>
            </p:grpSpPr>
            <p:sp>
              <p:nvSpPr>
                <p:cNvPr id="107" name="任意多边形: 形状 106">
                  <a:extLst>
                    <a:ext uri="{FF2B5EF4-FFF2-40B4-BE49-F238E27FC236}">
                      <a16:creationId xmlns:a16="http://schemas.microsoft.com/office/drawing/2014/main" id="{D9306064-6DAE-4B3D-A633-A87A36616CD8}"/>
                    </a:ext>
                  </a:extLst>
                </p:cNvPr>
                <p:cNvSpPr/>
                <p:nvPr/>
              </p:nvSpPr>
              <p:spPr>
                <a:xfrm>
                  <a:off x="21749736" y="7905599"/>
                  <a:ext cx="595785" cy="313395"/>
                </a:xfrm>
                <a:custGeom>
                  <a:avLst/>
                  <a:gdLst>
                    <a:gd name="connsiteX0" fmla="*/ 170242 w 595785"/>
                    <a:gd name="connsiteY0" fmla="*/ 18953 h 313395"/>
                    <a:gd name="connsiteX1" fmla="*/ 592849 w 595785"/>
                    <a:gd name="connsiteY1" fmla="*/ 133410 h 313395"/>
                    <a:gd name="connsiteX2" fmla="*/ 595785 w 595785"/>
                    <a:gd name="connsiteY2" fmla="*/ 142214 h 313395"/>
                    <a:gd name="connsiteX3" fmla="*/ 522416 w 595785"/>
                    <a:gd name="connsiteY3" fmla="*/ 200910 h 313395"/>
                    <a:gd name="connsiteX4" fmla="*/ 542958 w 595785"/>
                    <a:gd name="connsiteY4" fmla="*/ 283083 h 313395"/>
                    <a:gd name="connsiteX5" fmla="*/ 540024 w 595785"/>
                    <a:gd name="connsiteY5" fmla="*/ 288953 h 313395"/>
                    <a:gd name="connsiteX6" fmla="*/ 534154 w 595785"/>
                    <a:gd name="connsiteY6" fmla="*/ 291888 h 313395"/>
                    <a:gd name="connsiteX7" fmla="*/ 211328 w 595785"/>
                    <a:gd name="connsiteY7" fmla="*/ 312431 h 313395"/>
                    <a:gd name="connsiteX8" fmla="*/ 5893 w 595785"/>
                    <a:gd name="connsiteY8" fmla="*/ 271344 h 313395"/>
                    <a:gd name="connsiteX9" fmla="*/ 23 w 595785"/>
                    <a:gd name="connsiteY9" fmla="*/ 262540 h 313395"/>
                    <a:gd name="connsiteX10" fmla="*/ 170242 w 595785"/>
                    <a:gd name="connsiteY10" fmla="*/ 18953 h 313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95785" h="313395">
                      <a:moveTo>
                        <a:pt x="170242" y="18953"/>
                      </a:moveTo>
                      <a:cubicBezTo>
                        <a:pt x="328719" y="-28003"/>
                        <a:pt x="481328" y="13083"/>
                        <a:pt x="592849" y="133410"/>
                      </a:cubicBezTo>
                      <a:cubicBezTo>
                        <a:pt x="595785" y="136344"/>
                        <a:pt x="595785" y="139279"/>
                        <a:pt x="595785" y="142214"/>
                      </a:cubicBezTo>
                      <a:cubicBezTo>
                        <a:pt x="595785" y="145149"/>
                        <a:pt x="575241" y="189170"/>
                        <a:pt x="522416" y="200910"/>
                      </a:cubicBezTo>
                      <a:cubicBezTo>
                        <a:pt x="537090" y="239062"/>
                        <a:pt x="542958" y="280149"/>
                        <a:pt x="542958" y="283083"/>
                      </a:cubicBezTo>
                      <a:cubicBezTo>
                        <a:pt x="542958" y="286018"/>
                        <a:pt x="542958" y="288953"/>
                        <a:pt x="540024" y="288953"/>
                      </a:cubicBezTo>
                      <a:cubicBezTo>
                        <a:pt x="540024" y="291888"/>
                        <a:pt x="537090" y="291888"/>
                        <a:pt x="534154" y="291888"/>
                      </a:cubicBezTo>
                      <a:cubicBezTo>
                        <a:pt x="399154" y="312431"/>
                        <a:pt x="293501" y="315366"/>
                        <a:pt x="211328" y="312431"/>
                      </a:cubicBezTo>
                      <a:cubicBezTo>
                        <a:pt x="76328" y="303627"/>
                        <a:pt x="8829" y="274279"/>
                        <a:pt x="5893" y="271344"/>
                      </a:cubicBezTo>
                      <a:cubicBezTo>
                        <a:pt x="2959" y="271344"/>
                        <a:pt x="23" y="268409"/>
                        <a:pt x="23" y="262540"/>
                      </a:cubicBezTo>
                      <a:cubicBezTo>
                        <a:pt x="23" y="262540"/>
                        <a:pt x="-5845" y="71779"/>
                        <a:pt x="170242" y="1895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8" name="任意多边形: 形状 107">
                  <a:extLst>
                    <a:ext uri="{FF2B5EF4-FFF2-40B4-BE49-F238E27FC236}">
                      <a16:creationId xmlns:a16="http://schemas.microsoft.com/office/drawing/2014/main" id="{03F1F8F0-6C98-4B15-9752-9C64EE76089E}"/>
                    </a:ext>
                  </a:extLst>
                </p:cNvPr>
                <p:cNvSpPr/>
                <p:nvPr/>
              </p:nvSpPr>
              <p:spPr>
                <a:xfrm>
                  <a:off x="22285724" y="7939225"/>
                  <a:ext cx="208001" cy="197781"/>
                </a:xfrm>
                <a:custGeom>
                  <a:avLst/>
                  <a:gdLst>
                    <a:gd name="connsiteX0" fmla="*/ 1101 w 208001"/>
                    <a:gd name="connsiteY0" fmla="*/ 93913 h 197781"/>
                    <a:gd name="connsiteX1" fmla="*/ 9905 w 208001"/>
                    <a:gd name="connsiteY1" fmla="*/ 64566 h 197781"/>
                    <a:gd name="connsiteX2" fmla="*/ 21643 w 208001"/>
                    <a:gd name="connsiteY2" fmla="*/ 55761 h 197781"/>
                    <a:gd name="connsiteX3" fmla="*/ 33383 w 208001"/>
                    <a:gd name="connsiteY3" fmla="*/ 29348 h 197781"/>
                    <a:gd name="connsiteX4" fmla="*/ 53927 w 208001"/>
                    <a:gd name="connsiteY4" fmla="*/ 20544 h 197781"/>
                    <a:gd name="connsiteX5" fmla="*/ 68601 w 208001"/>
                    <a:gd name="connsiteY5" fmla="*/ 20544 h 197781"/>
                    <a:gd name="connsiteX6" fmla="*/ 112622 w 208001"/>
                    <a:gd name="connsiteY6" fmla="*/ 0 h 197781"/>
                    <a:gd name="connsiteX7" fmla="*/ 153708 w 208001"/>
                    <a:gd name="connsiteY7" fmla="*/ 29348 h 197781"/>
                    <a:gd name="connsiteX8" fmla="*/ 194796 w 208001"/>
                    <a:gd name="connsiteY8" fmla="*/ 70435 h 197781"/>
                    <a:gd name="connsiteX9" fmla="*/ 194796 w 208001"/>
                    <a:gd name="connsiteY9" fmla="*/ 123261 h 197781"/>
                    <a:gd name="connsiteX10" fmla="*/ 185992 w 208001"/>
                    <a:gd name="connsiteY10" fmla="*/ 164348 h 197781"/>
                    <a:gd name="connsiteX11" fmla="*/ 159578 w 208001"/>
                    <a:gd name="connsiteY11" fmla="*/ 176087 h 197781"/>
                    <a:gd name="connsiteX12" fmla="*/ 153708 w 208001"/>
                    <a:gd name="connsiteY12" fmla="*/ 176087 h 197781"/>
                    <a:gd name="connsiteX13" fmla="*/ 153708 w 208001"/>
                    <a:gd name="connsiteY13" fmla="*/ 176087 h 197781"/>
                    <a:gd name="connsiteX14" fmla="*/ 127296 w 208001"/>
                    <a:gd name="connsiteY14" fmla="*/ 196631 h 197781"/>
                    <a:gd name="connsiteX15" fmla="*/ 95013 w 208001"/>
                    <a:gd name="connsiteY15" fmla="*/ 190761 h 197781"/>
                    <a:gd name="connsiteX16" fmla="*/ 71535 w 208001"/>
                    <a:gd name="connsiteY16" fmla="*/ 190761 h 197781"/>
                    <a:gd name="connsiteX17" fmla="*/ 45123 w 208001"/>
                    <a:gd name="connsiteY17" fmla="*/ 170217 h 197781"/>
                    <a:gd name="connsiteX18" fmla="*/ 39253 w 208001"/>
                    <a:gd name="connsiteY18" fmla="*/ 155544 h 197781"/>
                    <a:gd name="connsiteX19" fmla="*/ 21643 w 208001"/>
                    <a:gd name="connsiteY19" fmla="*/ 140870 h 197781"/>
                    <a:gd name="connsiteX20" fmla="*/ 21643 w 208001"/>
                    <a:gd name="connsiteY20" fmla="*/ 114457 h 197781"/>
                    <a:gd name="connsiteX21" fmla="*/ 18709 w 208001"/>
                    <a:gd name="connsiteY21" fmla="*/ 111522 h 197781"/>
                    <a:gd name="connsiteX22" fmla="*/ 1101 w 208001"/>
                    <a:gd name="connsiteY22" fmla="*/ 93913 h 197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08001" h="197781">
                      <a:moveTo>
                        <a:pt x="1101" y="93913"/>
                      </a:moveTo>
                      <a:cubicBezTo>
                        <a:pt x="-1835" y="85109"/>
                        <a:pt x="1101" y="70435"/>
                        <a:pt x="9905" y="64566"/>
                      </a:cubicBezTo>
                      <a:cubicBezTo>
                        <a:pt x="12839" y="61631"/>
                        <a:pt x="18709" y="58696"/>
                        <a:pt x="21643" y="55761"/>
                      </a:cubicBezTo>
                      <a:cubicBezTo>
                        <a:pt x="21643" y="46957"/>
                        <a:pt x="24579" y="38152"/>
                        <a:pt x="33383" y="29348"/>
                      </a:cubicBezTo>
                      <a:cubicBezTo>
                        <a:pt x="39253" y="23478"/>
                        <a:pt x="45123" y="20544"/>
                        <a:pt x="53927" y="20544"/>
                      </a:cubicBezTo>
                      <a:cubicBezTo>
                        <a:pt x="56861" y="20544"/>
                        <a:pt x="62731" y="20544"/>
                        <a:pt x="68601" y="20544"/>
                      </a:cubicBezTo>
                      <a:cubicBezTo>
                        <a:pt x="77405" y="8804"/>
                        <a:pt x="92079" y="0"/>
                        <a:pt x="112622" y="0"/>
                      </a:cubicBezTo>
                      <a:cubicBezTo>
                        <a:pt x="130230" y="2935"/>
                        <a:pt x="144904" y="14674"/>
                        <a:pt x="153708" y="29348"/>
                      </a:cubicBezTo>
                      <a:cubicBezTo>
                        <a:pt x="180122" y="29348"/>
                        <a:pt x="194796" y="49892"/>
                        <a:pt x="194796" y="70435"/>
                      </a:cubicBezTo>
                      <a:cubicBezTo>
                        <a:pt x="212404" y="85109"/>
                        <a:pt x="212404" y="111522"/>
                        <a:pt x="194796" y="123261"/>
                      </a:cubicBezTo>
                      <a:cubicBezTo>
                        <a:pt x="197730" y="137935"/>
                        <a:pt x="194796" y="152609"/>
                        <a:pt x="185992" y="164348"/>
                      </a:cubicBezTo>
                      <a:cubicBezTo>
                        <a:pt x="180122" y="173152"/>
                        <a:pt x="171318" y="176087"/>
                        <a:pt x="159578" y="176087"/>
                      </a:cubicBezTo>
                      <a:cubicBezTo>
                        <a:pt x="156644" y="176087"/>
                        <a:pt x="156644" y="176087"/>
                        <a:pt x="153708" y="176087"/>
                      </a:cubicBezTo>
                      <a:cubicBezTo>
                        <a:pt x="153708" y="176087"/>
                        <a:pt x="153708" y="176087"/>
                        <a:pt x="153708" y="176087"/>
                      </a:cubicBezTo>
                      <a:cubicBezTo>
                        <a:pt x="147840" y="187826"/>
                        <a:pt x="139034" y="196631"/>
                        <a:pt x="127296" y="196631"/>
                      </a:cubicBezTo>
                      <a:cubicBezTo>
                        <a:pt x="115556" y="199565"/>
                        <a:pt x="103818" y="196631"/>
                        <a:pt x="95013" y="190761"/>
                      </a:cubicBezTo>
                      <a:cubicBezTo>
                        <a:pt x="86209" y="193696"/>
                        <a:pt x="80339" y="193696"/>
                        <a:pt x="71535" y="190761"/>
                      </a:cubicBezTo>
                      <a:cubicBezTo>
                        <a:pt x="59797" y="187826"/>
                        <a:pt x="50991" y="181957"/>
                        <a:pt x="45123" y="170217"/>
                      </a:cubicBezTo>
                      <a:cubicBezTo>
                        <a:pt x="42187" y="167283"/>
                        <a:pt x="39253" y="161413"/>
                        <a:pt x="39253" y="155544"/>
                      </a:cubicBezTo>
                      <a:cubicBezTo>
                        <a:pt x="33383" y="152609"/>
                        <a:pt x="24579" y="149674"/>
                        <a:pt x="21643" y="140870"/>
                      </a:cubicBezTo>
                      <a:cubicBezTo>
                        <a:pt x="15775" y="129131"/>
                        <a:pt x="18709" y="123261"/>
                        <a:pt x="21643" y="114457"/>
                      </a:cubicBezTo>
                      <a:cubicBezTo>
                        <a:pt x="21643" y="114457"/>
                        <a:pt x="18709" y="114457"/>
                        <a:pt x="18709" y="111522"/>
                      </a:cubicBezTo>
                      <a:cubicBezTo>
                        <a:pt x="6969" y="108587"/>
                        <a:pt x="4035" y="102717"/>
                        <a:pt x="1101" y="93913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7C9EEB9E-2DBA-4DC8-881F-DC1867DC0825}"/>
                  </a:ext>
                </a:extLst>
              </p:cNvPr>
              <p:cNvSpPr/>
              <p:nvPr/>
            </p:nvSpPr>
            <p:spPr>
              <a:xfrm>
                <a:off x="22244433" y="8055312"/>
                <a:ext cx="51195" cy="118695"/>
              </a:xfrm>
              <a:custGeom>
                <a:avLst/>
                <a:gdLst>
                  <a:gd name="connsiteX0" fmla="*/ 45326 w 51195"/>
                  <a:gd name="connsiteY0" fmla="*/ 118696 h 118695"/>
                  <a:gd name="connsiteX1" fmla="*/ 39456 w 51195"/>
                  <a:gd name="connsiteY1" fmla="*/ 112826 h 118695"/>
                  <a:gd name="connsiteX2" fmla="*/ 1304 w 51195"/>
                  <a:gd name="connsiteY2" fmla="*/ 10109 h 118695"/>
                  <a:gd name="connsiteX3" fmla="*/ 1304 w 51195"/>
                  <a:gd name="connsiteY3" fmla="*/ 1304 h 118695"/>
                  <a:gd name="connsiteX4" fmla="*/ 10108 w 51195"/>
                  <a:gd name="connsiteY4" fmla="*/ 1304 h 118695"/>
                  <a:gd name="connsiteX5" fmla="*/ 51196 w 51195"/>
                  <a:gd name="connsiteY5" fmla="*/ 106957 h 118695"/>
                  <a:gd name="connsiteX6" fmla="*/ 45326 w 51195"/>
                  <a:gd name="connsiteY6" fmla="*/ 118696 h 118695"/>
                  <a:gd name="connsiteX7" fmla="*/ 45326 w 51195"/>
                  <a:gd name="connsiteY7" fmla="*/ 118696 h 118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195" h="118695">
                    <a:moveTo>
                      <a:pt x="45326" y="118696"/>
                    </a:moveTo>
                    <a:cubicBezTo>
                      <a:pt x="42392" y="118696"/>
                      <a:pt x="39456" y="115761"/>
                      <a:pt x="39456" y="112826"/>
                    </a:cubicBezTo>
                    <a:cubicBezTo>
                      <a:pt x="39456" y="112826"/>
                      <a:pt x="27718" y="48261"/>
                      <a:pt x="1304" y="10109"/>
                    </a:cubicBezTo>
                    <a:cubicBezTo>
                      <a:pt x="-1630" y="7174"/>
                      <a:pt x="1304" y="4239"/>
                      <a:pt x="1304" y="1304"/>
                    </a:cubicBezTo>
                    <a:cubicBezTo>
                      <a:pt x="4238" y="-1630"/>
                      <a:pt x="7174" y="1304"/>
                      <a:pt x="10108" y="1304"/>
                    </a:cubicBezTo>
                    <a:cubicBezTo>
                      <a:pt x="39456" y="42391"/>
                      <a:pt x="51196" y="104022"/>
                      <a:pt x="51196" y="106957"/>
                    </a:cubicBezTo>
                    <a:cubicBezTo>
                      <a:pt x="51196" y="115761"/>
                      <a:pt x="48260" y="118696"/>
                      <a:pt x="45326" y="118696"/>
                    </a:cubicBezTo>
                    <a:cubicBezTo>
                      <a:pt x="45326" y="118696"/>
                      <a:pt x="45326" y="118696"/>
                      <a:pt x="45326" y="1186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4FF07985-697A-4532-B102-FCC571A32CB4}"/>
                  </a:ext>
                </a:extLst>
              </p:cNvPr>
              <p:cNvSpPr/>
              <p:nvPr/>
            </p:nvSpPr>
            <p:spPr>
              <a:xfrm>
                <a:off x="21726186" y="8134313"/>
                <a:ext cx="592187" cy="98579"/>
              </a:xfrm>
              <a:custGeom>
                <a:avLst/>
                <a:gdLst>
                  <a:gd name="connsiteX0" fmla="*/ 38246 w 592187"/>
                  <a:gd name="connsiteY0" fmla="*/ 1544 h 98579"/>
                  <a:gd name="connsiteX1" fmla="*/ 563573 w 592187"/>
                  <a:gd name="connsiteY1" fmla="*/ 22087 h 98579"/>
                  <a:gd name="connsiteX2" fmla="*/ 563573 w 592187"/>
                  <a:gd name="connsiteY2" fmla="*/ 83717 h 98579"/>
                  <a:gd name="connsiteX3" fmla="*/ 23573 w 592187"/>
                  <a:gd name="connsiteY3" fmla="*/ 60239 h 98579"/>
                  <a:gd name="connsiteX4" fmla="*/ 38246 w 592187"/>
                  <a:gd name="connsiteY4" fmla="*/ 1544 h 98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2187" h="98579">
                    <a:moveTo>
                      <a:pt x="38246" y="1544"/>
                    </a:moveTo>
                    <a:cubicBezTo>
                      <a:pt x="211399" y="51435"/>
                      <a:pt x="387486" y="39695"/>
                      <a:pt x="563573" y="22087"/>
                    </a:cubicBezTo>
                    <a:cubicBezTo>
                      <a:pt x="601725" y="19152"/>
                      <a:pt x="601725" y="80783"/>
                      <a:pt x="563573" y="83717"/>
                    </a:cubicBezTo>
                    <a:cubicBezTo>
                      <a:pt x="381616" y="101326"/>
                      <a:pt x="199660" y="113065"/>
                      <a:pt x="23573" y="60239"/>
                    </a:cubicBezTo>
                    <a:cubicBezTo>
                      <a:pt x="-17513" y="48500"/>
                      <a:pt x="95" y="-10196"/>
                      <a:pt x="38246" y="1544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7" name="图形 1">
              <a:extLst>
                <a:ext uri="{FF2B5EF4-FFF2-40B4-BE49-F238E27FC236}">
                  <a16:creationId xmlns:a16="http://schemas.microsoft.com/office/drawing/2014/main" id="{4194A26B-E691-46A2-9B27-FEEFC998C101}"/>
                </a:ext>
              </a:extLst>
            </p:cNvPr>
            <p:cNvGrpSpPr/>
            <p:nvPr/>
          </p:nvGrpSpPr>
          <p:grpSpPr>
            <a:xfrm>
              <a:off x="18375413" y="7676121"/>
              <a:ext cx="780325" cy="360346"/>
              <a:chOff x="18375413" y="7676121"/>
              <a:chExt cx="780325" cy="360346"/>
            </a:xfrm>
          </p:grpSpPr>
          <p:grpSp>
            <p:nvGrpSpPr>
              <p:cNvPr id="99" name="图形 1">
                <a:extLst>
                  <a:ext uri="{FF2B5EF4-FFF2-40B4-BE49-F238E27FC236}">
                    <a16:creationId xmlns:a16="http://schemas.microsoft.com/office/drawing/2014/main" id="{D1C6262B-6BFF-4EF6-8B54-EA8677CF3F03}"/>
                  </a:ext>
                </a:extLst>
              </p:cNvPr>
              <p:cNvGrpSpPr/>
              <p:nvPr/>
            </p:nvGrpSpPr>
            <p:grpSpPr>
              <a:xfrm>
                <a:off x="18375413" y="7676121"/>
                <a:ext cx="753761" cy="342343"/>
                <a:chOff x="18375413" y="7676121"/>
                <a:chExt cx="753761" cy="342343"/>
              </a:xfrm>
            </p:grpSpPr>
            <p:sp>
              <p:nvSpPr>
                <p:cNvPr id="102" name="任意多边形: 形状 101">
                  <a:extLst>
                    <a:ext uri="{FF2B5EF4-FFF2-40B4-BE49-F238E27FC236}">
                      <a16:creationId xmlns:a16="http://schemas.microsoft.com/office/drawing/2014/main" id="{7383C3E5-BF28-4E9E-9B5F-1A5BD8007DC3}"/>
                    </a:ext>
                  </a:extLst>
                </p:cNvPr>
                <p:cNvSpPr/>
                <p:nvPr/>
              </p:nvSpPr>
              <p:spPr>
                <a:xfrm>
                  <a:off x="18522232" y="7676121"/>
                  <a:ext cx="606942" cy="342343"/>
                </a:xfrm>
                <a:custGeom>
                  <a:avLst/>
                  <a:gdLst>
                    <a:gd name="connsiteX0" fmla="*/ 395462 w 606942"/>
                    <a:gd name="connsiteY0" fmla="*/ 1909 h 342343"/>
                    <a:gd name="connsiteX1" fmla="*/ 2202 w 606942"/>
                    <a:gd name="connsiteY1" fmla="*/ 195605 h 342343"/>
                    <a:gd name="connsiteX2" fmla="*/ 2202 w 606942"/>
                    <a:gd name="connsiteY2" fmla="*/ 204409 h 342343"/>
                    <a:gd name="connsiteX3" fmla="*/ 87310 w 606942"/>
                    <a:gd name="connsiteY3" fmla="*/ 248430 h 342343"/>
                    <a:gd name="connsiteX4" fmla="*/ 81441 w 606942"/>
                    <a:gd name="connsiteY4" fmla="*/ 333539 h 342343"/>
                    <a:gd name="connsiteX5" fmla="*/ 84375 w 606942"/>
                    <a:gd name="connsiteY5" fmla="*/ 339409 h 342343"/>
                    <a:gd name="connsiteX6" fmla="*/ 90245 w 606942"/>
                    <a:gd name="connsiteY6" fmla="*/ 342344 h 342343"/>
                    <a:gd name="connsiteX7" fmla="*/ 410136 w 606942"/>
                    <a:gd name="connsiteY7" fmla="*/ 298322 h 342343"/>
                    <a:gd name="connsiteX8" fmla="*/ 603832 w 606942"/>
                    <a:gd name="connsiteY8" fmla="*/ 219083 h 342343"/>
                    <a:gd name="connsiteX9" fmla="*/ 606766 w 606942"/>
                    <a:gd name="connsiteY9" fmla="*/ 210279 h 342343"/>
                    <a:gd name="connsiteX10" fmla="*/ 395462 w 606942"/>
                    <a:gd name="connsiteY10" fmla="*/ 1909 h 3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06942" h="342343">
                      <a:moveTo>
                        <a:pt x="395462" y="1909"/>
                      </a:moveTo>
                      <a:cubicBezTo>
                        <a:pt x="231115" y="-12765"/>
                        <a:pt x="87310" y="57670"/>
                        <a:pt x="2202" y="195605"/>
                      </a:cubicBezTo>
                      <a:cubicBezTo>
                        <a:pt x="-734" y="198539"/>
                        <a:pt x="-734" y="201474"/>
                        <a:pt x="2202" y="204409"/>
                      </a:cubicBezTo>
                      <a:cubicBezTo>
                        <a:pt x="2202" y="207344"/>
                        <a:pt x="31550" y="248430"/>
                        <a:pt x="87310" y="248430"/>
                      </a:cubicBezTo>
                      <a:cubicBezTo>
                        <a:pt x="81441" y="289518"/>
                        <a:pt x="81441" y="330605"/>
                        <a:pt x="81441" y="333539"/>
                      </a:cubicBezTo>
                      <a:cubicBezTo>
                        <a:pt x="81441" y="336474"/>
                        <a:pt x="81441" y="339409"/>
                        <a:pt x="84375" y="339409"/>
                      </a:cubicBezTo>
                      <a:cubicBezTo>
                        <a:pt x="87310" y="342344"/>
                        <a:pt x="87310" y="342344"/>
                        <a:pt x="90245" y="342344"/>
                      </a:cubicBezTo>
                      <a:cubicBezTo>
                        <a:pt x="225245" y="336474"/>
                        <a:pt x="330898" y="318866"/>
                        <a:pt x="410136" y="298322"/>
                      </a:cubicBezTo>
                      <a:cubicBezTo>
                        <a:pt x="542201" y="263104"/>
                        <a:pt x="600896" y="222018"/>
                        <a:pt x="603832" y="219083"/>
                      </a:cubicBezTo>
                      <a:cubicBezTo>
                        <a:pt x="606766" y="216148"/>
                        <a:pt x="606766" y="213213"/>
                        <a:pt x="606766" y="210279"/>
                      </a:cubicBezTo>
                      <a:cubicBezTo>
                        <a:pt x="609702" y="207344"/>
                        <a:pt x="577419" y="19518"/>
                        <a:pt x="395462" y="190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3" name="任意多边形: 形状 102">
                  <a:extLst>
                    <a:ext uri="{FF2B5EF4-FFF2-40B4-BE49-F238E27FC236}">
                      <a16:creationId xmlns:a16="http://schemas.microsoft.com/office/drawing/2014/main" id="{6B2FA8EF-11CA-4EE4-8853-71C7AF826514}"/>
                    </a:ext>
                  </a:extLst>
                </p:cNvPr>
                <p:cNvSpPr/>
                <p:nvPr/>
              </p:nvSpPr>
              <p:spPr>
                <a:xfrm>
                  <a:off x="18375413" y="7784314"/>
                  <a:ext cx="204780" cy="198932"/>
                </a:xfrm>
                <a:custGeom>
                  <a:avLst/>
                  <a:gdLst>
                    <a:gd name="connsiteX0" fmla="*/ 204781 w 204780"/>
                    <a:gd name="connsiteY0" fmla="*/ 72738 h 198932"/>
                    <a:gd name="connsiteX1" fmla="*/ 190107 w 204780"/>
                    <a:gd name="connsiteY1" fmla="*/ 46324 h 198932"/>
                    <a:gd name="connsiteX2" fmla="*/ 175433 w 204780"/>
                    <a:gd name="connsiteY2" fmla="*/ 40455 h 198932"/>
                    <a:gd name="connsiteX3" fmla="*/ 157825 w 204780"/>
                    <a:gd name="connsiteY3" fmla="*/ 16977 h 198932"/>
                    <a:gd name="connsiteX4" fmla="*/ 134347 w 204780"/>
                    <a:gd name="connsiteY4" fmla="*/ 11107 h 198932"/>
                    <a:gd name="connsiteX5" fmla="*/ 119673 w 204780"/>
                    <a:gd name="connsiteY5" fmla="*/ 14042 h 198932"/>
                    <a:gd name="connsiteX6" fmla="*/ 72715 w 204780"/>
                    <a:gd name="connsiteY6" fmla="*/ 2303 h 198932"/>
                    <a:gd name="connsiteX7" fmla="*/ 40434 w 204780"/>
                    <a:gd name="connsiteY7" fmla="*/ 40455 h 198932"/>
                    <a:gd name="connsiteX8" fmla="*/ 8152 w 204780"/>
                    <a:gd name="connsiteY8" fmla="*/ 87412 h 198932"/>
                    <a:gd name="connsiteX9" fmla="*/ 19890 w 204780"/>
                    <a:gd name="connsiteY9" fmla="*/ 137303 h 198932"/>
                    <a:gd name="connsiteX10" fmla="*/ 37500 w 204780"/>
                    <a:gd name="connsiteY10" fmla="*/ 175455 h 198932"/>
                    <a:gd name="connsiteX11" fmla="*/ 66847 w 204780"/>
                    <a:gd name="connsiteY11" fmla="*/ 184259 h 198932"/>
                    <a:gd name="connsiteX12" fmla="*/ 72715 w 204780"/>
                    <a:gd name="connsiteY12" fmla="*/ 184259 h 198932"/>
                    <a:gd name="connsiteX13" fmla="*/ 72715 w 204780"/>
                    <a:gd name="connsiteY13" fmla="*/ 184259 h 198932"/>
                    <a:gd name="connsiteX14" fmla="*/ 104999 w 204780"/>
                    <a:gd name="connsiteY14" fmla="*/ 198933 h 198932"/>
                    <a:gd name="connsiteX15" fmla="*/ 134347 w 204780"/>
                    <a:gd name="connsiteY15" fmla="*/ 184259 h 198932"/>
                    <a:gd name="connsiteX16" fmla="*/ 157825 w 204780"/>
                    <a:gd name="connsiteY16" fmla="*/ 181325 h 198932"/>
                    <a:gd name="connsiteX17" fmla="*/ 181303 w 204780"/>
                    <a:gd name="connsiteY17" fmla="*/ 157846 h 198932"/>
                    <a:gd name="connsiteX18" fmla="*/ 184239 w 204780"/>
                    <a:gd name="connsiteY18" fmla="*/ 143172 h 198932"/>
                    <a:gd name="connsiteX19" fmla="*/ 198913 w 204780"/>
                    <a:gd name="connsiteY19" fmla="*/ 122629 h 198932"/>
                    <a:gd name="connsiteX20" fmla="*/ 195977 w 204780"/>
                    <a:gd name="connsiteY20" fmla="*/ 96216 h 198932"/>
                    <a:gd name="connsiteX21" fmla="*/ 198913 w 204780"/>
                    <a:gd name="connsiteY21" fmla="*/ 93281 h 198932"/>
                    <a:gd name="connsiteX22" fmla="*/ 204781 w 204780"/>
                    <a:gd name="connsiteY22" fmla="*/ 72738 h 198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04780" h="198932">
                      <a:moveTo>
                        <a:pt x="204781" y="72738"/>
                      </a:moveTo>
                      <a:cubicBezTo>
                        <a:pt x="204781" y="60998"/>
                        <a:pt x="198913" y="49259"/>
                        <a:pt x="190107" y="46324"/>
                      </a:cubicBezTo>
                      <a:cubicBezTo>
                        <a:pt x="184239" y="43390"/>
                        <a:pt x="181303" y="40455"/>
                        <a:pt x="175433" y="40455"/>
                      </a:cubicBezTo>
                      <a:cubicBezTo>
                        <a:pt x="172499" y="31650"/>
                        <a:pt x="169565" y="22846"/>
                        <a:pt x="157825" y="16977"/>
                      </a:cubicBezTo>
                      <a:cubicBezTo>
                        <a:pt x="149021" y="11107"/>
                        <a:pt x="143151" y="11107"/>
                        <a:pt x="134347" y="11107"/>
                      </a:cubicBezTo>
                      <a:cubicBezTo>
                        <a:pt x="131411" y="11107"/>
                        <a:pt x="125543" y="11107"/>
                        <a:pt x="119673" y="14042"/>
                      </a:cubicBezTo>
                      <a:cubicBezTo>
                        <a:pt x="107933" y="2303"/>
                        <a:pt x="90325" y="-3567"/>
                        <a:pt x="72715" y="2303"/>
                      </a:cubicBezTo>
                      <a:cubicBezTo>
                        <a:pt x="55107" y="8172"/>
                        <a:pt x="43368" y="22846"/>
                        <a:pt x="40434" y="40455"/>
                      </a:cubicBezTo>
                      <a:cubicBezTo>
                        <a:pt x="16956" y="46324"/>
                        <a:pt x="2282" y="66868"/>
                        <a:pt x="8152" y="87412"/>
                      </a:cubicBezTo>
                      <a:cubicBezTo>
                        <a:pt x="-6522" y="105020"/>
                        <a:pt x="-654" y="131433"/>
                        <a:pt x="19890" y="137303"/>
                      </a:cubicBezTo>
                      <a:cubicBezTo>
                        <a:pt x="19890" y="151977"/>
                        <a:pt x="25760" y="166651"/>
                        <a:pt x="37500" y="175455"/>
                      </a:cubicBezTo>
                      <a:cubicBezTo>
                        <a:pt x="46304" y="181325"/>
                        <a:pt x="55107" y="184259"/>
                        <a:pt x="66847" y="184259"/>
                      </a:cubicBezTo>
                      <a:cubicBezTo>
                        <a:pt x="69781" y="184259"/>
                        <a:pt x="69781" y="184259"/>
                        <a:pt x="72715" y="184259"/>
                      </a:cubicBezTo>
                      <a:cubicBezTo>
                        <a:pt x="72715" y="184259"/>
                        <a:pt x="72715" y="184259"/>
                        <a:pt x="72715" y="184259"/>
                      </a:cubicBezTo>
                      <a:cubicBezTo>
                        <a:pt x="78585" y="193063"/>
                        <a:pt x="90325" y="198933"/>
                        <a:pt x="104999" y="198933"/>
                      </a:cubicBezTo>
                      <a:cubicBezTo>
                        <a:pt x="116737" y="198933"/>
                        <a:pt x="128477" y="193063"/>
                        <a:pt x="134347" y="184259"/>
                      </a:cubicBezTo>
                      <a:cubicBezTo>
                        <a:pt x="143151" y="184259"/>
                        <a:pt x="149021" y="184259"/>
                        <a:pt x="157825" y="181325"/>
                      </a:cubicBezTo>
                      <a:cubicBezTo>
                        <a:pt x="166629" y="175455"/>
                        <a:pt x="175433" y="166651"/>
                        <a:pt x="181303" y="157846"/>
                      </a:cubicBezTo>
                      <a:cubicBezTo>
                        <a:pt x="184239" y="154911"/>
                        <a:pt x="184239" y="146107"/>
                        <a:pt x="184239" y="143172"/>
                      </a:cubicBezTo>
                      <a:cubicBezTo>
                        <a:pt x="190107" y="140237"/>
                        <a:pt x="195977" y="134368"/>
                        <a:pt x="198913" y="122629"/>
                      </a:cubicBezTo>
                      <a:cubicBezTo>
                        <a:pt x="201847" y="110889"/>
                        <a:pt x="198913" y="105020"/>
                        <a:pt x="195977" y="96216"/>
                      </a:cubicBezTo>
                      <a:cubicBezTo>
                        <a:pt x="195977" y="96216"/>
                        <a:pt x="195977" y="93281"/>
                        <a:pt x="198913" y="93281"/>
                      </a:cubicBezTo>
                      <a:cubicBezTo>
                        <a:pt x="201847" y="87412"/>
                        <a:pt x="204781" y="81542"/>
                        <a:pt x="204781" y="72738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379D8A9E-36CD-48A3-A761-682C1D6729B0}"/>
                  </a:ext>
                </a:extLst>
              </p:cNvPr>
              <p:cNvSpPr/>
              <p:nvPr/>
            </p:nvSpPr>
            <p:spPr>
              <a:xfrm>
                <a:off x="18597803" y="7874660"/>
                <a:ext cx="29347" cy="120326"/>
              </a:xfrm>
              <a:custGeom>
                <a:avLst/>
                <a:gdLst>
                  <a:gd name="connsiteX0" fmla="*/ 5870 w 29347"/>
                  <a:gd name="connsiteY0" fmla="*/ 120326 h 120326"/>
                  <a:gd name="connsiteX1" fmla="*/ 0 w 29347"/>
                  <a:gd name="connsiteY1" fmla="*/ 114457 h 120326"/>
                  <a:gd name="connsiteX2" fmla="*/ 20544 w 29347"/>
                  <a:gd name="connsiteY2" fmla="*/ 2935 h 120326"/>
                  <a:gd name="connsiteX3" fmla="*/ 26412 w 29347"/>
                  <a:gd name="connsiteY3" fmla="*/ 0 h 120326"/>
                  <a:gd name="connsiteX4" fmla="*/ 29348 w 29347"/>
                  <a:gd name="connsiteY4" fmla="*/ 5869 h 120326"/>
                  <a:gd name="connsiteX5" fmla="*/ 11738 w 29347"/>
                  <a:gd name="connsiteY5" fmla="*/ 114457 h 120326"/>
                  <a:gd name="connsiteX6" fmla="*/ 5870 w 29347"/>
                  <a:gd name="connsiteY6" fmla="*/ 120326 h 120326"/>
                  <a:gd name="connsiteX7" fmla="*/ 5870 w 29347"/>
                  <a:gd name="connsiteY7" fmla="*/ 120326 h 120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347" h="120326">
                    <a:moveTo>
                      <a:pt x="5870" y="120326"/>
                    </a:moveTo>
                    <a:cubicBezTo>
                      <a:pt x="2934" y="120326"/>
                      <a:pt x="0" y="117391"/>
                      <a:pt x="0" y="114457"/>
                    </a:cubicBezTo>
                    <a:cubicBezTo>
                      <a:pt x="0" y="111522"/>
                      <a:pt x="0" y="46957"/>
                      <a:pt x="20544" y="2935"/>
                    </a:cubicBezTo>
                    <a:cubicBezTo>
                      <a:pt x="20544" y="0"/>
                      <a:pt x="26412" y="0"/>
                      <a:pt x="26412" y="0"/>
                    </a:cubicBezTo>
                    <a:cubicBezTo>
                      <a:pt x="29348" y="0"/>
                      <a:pt x="29348" y="5869"/>
                      <a:pt x="29348" y="5869"/>
                    </a:cubicBezTo>
                    <a:cubicBezTo>
                      <a:pt x="8804" y="49891"/>
                      <a:pt x="11738" y="111522"/>
                      <a:pt x="11738" y="114457"/>
                    </a:cubicBezTo>
                    <a:cubicBezTo>
                      <a:pt x="11738" y="117391"/>
                      <a:pt x="8804" y="120326"/>
                      <a:pt x="5870" y="120326"/>
                    </a:cubicBezTo>
                    <a:cubicBezTo>
                      <a:pt x="5870" y="120326"/>
                      <a:pt x="5870" y="120326"/>
                      <a:pt x="5870" y="12032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F7A4F949-989E-4C68-BD8E-322185780AD2}"/>
                  </a:ext>
                </a:extLst>
              </p:cNvPr>
              <p:cNvSpPr/>
              <p:nvPr/>
            </p:nvSpPr>
            <p:spPr>
              <a:xfrm>
                <a:off x="18577326" y="7850715"/>
                <a:ext cx="578411" cy="185752"/>
              </a:xfrm>
              <a:custGeom>
                <a:avLst/>
                <a:gdLst>
                  <a:gd name="connsiteX0" fmla="*/ 534064 w 578411"/>
                  <a:gd name="connsiteY0" fmla="*/ 3402 h 185752"/>
                  <a:gd name="connsiteX1" fmla="*/ 23411 w 578411"/>
                  <a:gd name="connsiteY1" fmla="*/ 126663 h 185752"/>
                  <a:gd name="connsiteX2" fmla="*/ 35151 w 578411"/>
                  <a:gd name="connsiteY2" fmla="*/ 185358 h 185752"/>
                  <a:gd name="connsiteX3" fmla="*/ 560476 w 578411"/>
                  <a:gd name="connsiteY3" fmla="*/ 56228 h 185752"/>
                  <a:gd name="connsiteX4" fmla="*/ 534064 w 578411"/>
                  <a:gd name="connsiteY4" fmla="*/ 3402 h 18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8411" h="185752">
                    <a:moveTo>
                      <a:pt x="534064" y="3402"/>
                    </a:moveTo>
                    <a:cubicBezTo>
                      <a:pt x="375585" y="85576"/>
                      <a:pt x="199498" y="109054"/>
                      <a:pt x="23411" y="126663"/>
                    </a:cubicBezTo>
                    <a:cubicBezTo>
                      <a:pt x="-14741" y="129598"/>
                      <a:pt x="-3001" y="191228"/>
                      <a:pt x="35151" y="185358"/>
                    </a:cubicBezTo>
                    <a:cubicBezTo>
                      <a:pt x="217108" y="167750"/>
                      <a:pt x="396129" y="144272"/>
                      <a:pt x="560476" y="56228"/>
                    </a:cubicBezTo>
                    <a:cubicBezTo>
                      <a:pt x="598629" y="41554"/>
                      <a:pt x="569282" y="-14207"/>
                      <a:pt x="534064" y="3402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62C47D3A-C7E7-4697-883C-4FBA22A4E1FC}"/>
                </a:ext>
              </a:extLst>
            </p:cNvPr>
            <p:cNvSpPr/>
            <p:nvPr/>
          </p:nvSpPr>
          <p:spPr>
            <a:xfrm>
              <a:off x="20475242" y="8534781"/>
              <a:ext cx="218730" cy="231081"/>
            </a:xfrm>
            <a:custGeom>
              <a:avLst/>
              <a:gdLst>
                <a:gd name="connsiteX0" fmla="*/ 38974 w 218730"/>
                <a:gd name="connsiteY0" fmla="*/ 179227 h 231081"/>
                <a:gd name="connsiteX1" fmla="*/ 156365 w 218730"/>
                <a:gd name="connsiteY1" fmla="*/ 229118 h 231081"/>
                <a:gd name="connsiteX2" fmla="*/ 217995 w 218730"/>
                <a:gd name="connsiteY2" fmla="*/ 149879 h 231081"/>
                <a:gd name="connsiteX3" fmla="*/ 47778 w 218730"/>
                <a:gd name="connsiteY3" fmla="*/ 205 h 231081"/>
                <a:gd name="connsiteX4" fmla="*/ 27234 w 218730"/>
                <a:gd name="connsiteY4" fmla="*/ 35423 h 231081"/>
                <a:gd name="connsiteX5" fmla="*/ 822 w 218730"/>
                <a:gd name="connsiteY5" fmla="*/ 73575 h 231081"/>
                <a:gd name="connsiteX6" fmla="*/ 3756 w 218730"/>
                <a:gd name="connsiteY6" fmla="*/ 105858 h 231081"/>
                <a:gd name="connsiteX7" fmla="*/ 18430 w 218730"/>
                <a:gd name="connsiteY7" fmla="*/ 149879 h 231081"/>
                <a:gd name="connsiteX8" fmla="*/ 38974 w 218730"/>
                <a:gd name="connsiteY8" fmla="*/ 179227 h 23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8730" h="231081">
                  <a:moveTo>
                    <a:pt x="38974" y="179227"/>
                  </a:moveTo>
                  <a:cubicBezTo>
                    <a:pt x="71256" y="196836"/>
                    <a:pt x="118214" y="240857"/>
                    <a:pt x="156365" y="229118"/>
                  </a:cubicBezTo>
                  <a:cubicBezTo>
                    <a:pt x="182779" y="223249"/>
                    <a:pt x="217995" y="152814"/>
                    <a:pt x="217995" y="149879"/>
                  </a:cubicBezTo>
                  <a:cubicBezTo>
                    <a:pt x="229735" y="79444"/>
                    <a:pt x="97670" y="20749"/>
                    <a:pt x="47778" y="205"/>
                  </a:cubicBezTo>
                  <a:cubicBezTo>
                    <a:pt x="38974" y="-2729"/>
                    <a:pt x="21366" y="26619"/>
                    <a:pt x="27234" y="35423"/>
                  </a:cubicBezTo>
                  <a:cubicBezTo>
                    <a:pt x="38974" y="47162"/>
                    <a:pt x="822" y="61836"/>
                    <a:pt x="822" y="73575"/>
                  </a:cubicBezTo>
                  <a:cubicBezTo>
                    <a:pt x="-2114" y="82379"/>
                    <a:pt x="3756" y="102923"/>
                    <a:pt x="3756" y="105858"/>
                  </a:cubicBezTo>
                  <a:cubicBezTo>
                    <a:pt x="6692" y="120532"/>
                    <a:pt x="18430" y="141075"/>
                    <a:pt x="18430" y="149879"/>
                  </a:cubicBezTo>
                  <a:cubicBezTo>
                    <a:pt x="15496" y="164553"/>
                    <a:pt x="21366" y="167488"/>
                    <a:pt x="38974" y="179227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9" name="图形 1">
              <a:extLst>
                <a:ext uri="{FF2B5EF4-FFF2-40B4-BE49-F238E27FC236}">
                  <a16:creationId xmlns:a16="http://schemas.microsoft.com/office/drawing/2014/main" id="{29C30BDE-CE09-4209-AFEC-FE9836B6B5C0}"/>
                </a:ext>
              </a:extLst>
            </p:cNvPr>
            <p:cNvGrpSpPr/>
            <p:nvPr/>
          </p:nvGrpSpPr>
          <p:grpSpPr>
            <a:xfrm>
              <a:off x="20454757" y="8533639"/>
              <a:ext cx="142099" cy="182286"/>
              <a:chOff x="20454757" y="8533639"/>
              <a:chExt cx="142099" cy="182286"/>
            </a:xfrm>
          </p:grpSpPr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73ED8D5B-D635-442F-9E77-2EB724C5D00B}"/>
                  </a:ext>
                </a:extLst>
              </p:cNvPr>
              <p:cNvSpPr/>
              <p:nvPr/>
            </p:nvSpPr>
            <p:spPr>
              <a:xfrm>
                <a:off x="20454757" y="8533639"/>
                <a:ext cx="128379" cy="78805"/>
              </a:xfrm>
              <a:custGeom>
                <a:avLst/>
                <a:gdLst>
                  <a:gd name="connsiteX0" fmla="*/ 12503 w 128379"/>
                  <a:gd name="connsiteY0" fmla="*/ 1348 h 78805"/>
                  <a:gd name="connsiteX1" fmla="*/ 94677 w 128379"/>
                  <a:gd name="connsiteY1" fmla="*/ 18957 h 78805"/>
                  <a:gd name="connsiteX2" fmla="*/ 106415 w 128379"/>
                  <a:gd name="connsiteY2" fmla="*/ 21891 h 78805"/>
                  <a:gd name="connsiteX3" fmla="*/ 118155 w 128379"/>
                  <a:gd name="connsiteY3" fmla="*/ 30696 h 78805"/>
                  <a:gd name="connsiteX4" fmla="*/ 124024 w 128379"/>
                  <a:gd name="connsiteY4" fmla="*/ 71783 h 78805"/>
                  <a:gd name="connsiteX5" fmla="*/ 85873 w 128379"/>
                  <a:gd name="connsiteY5" fmla="*/ 74717 h 78805"/>
                  <a:gd name="connsiteX6" fmla="*/ 33045 w 128379"/>
                  <a:gd name="connsiteY6" fmla="*/ 57109 h 78805"/>
                  <a:gd name="connsiteX7" fmla="*/ 763 w 128379"/>
                  <a:gd name="connsiteY7" fmla="*/ 33631 h 78805"/>
                  <a:gd name="connsiteX8" fmla="*/ 12503 w 128379"/>
                  <a:gd name="connsiteY8" fmla="*/ 1348 h 78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8379" h="78805">
                    <a:moveTo>
                      <a:pt x="12503" y="1348"/>
                    </a:moveTo>
                    <a:cubicBezTo>
                      <a:pt x="35981" y="-4522"/>
                      <a:pt x="65329" y="10152"/>
                      <a:pt x="94677" y="18957"/>
                    </a:cubicBezTo>
                    <a:cubicBezTo>
                      <a:pt x="97611" y="18957"/>
                      <a:pt x="106415" y="18957"/>
                      <a:pt x="106415" y="21891"/>
                    </a:cubicBezTo>
                    <a:cubicBezTo>
                      <a:pt x="109351" y="24826"/>
                      <a:pt x="115220" y="27761"/>
                      <a:pt x="118155" y="30696"/>
                    </a:cubicBezTo>
                    <a:cubicBezTo>
                      <a:pt x="126959" y="42435"/>
                      <a:pt x="132828" y="60043"/>
                      <a:pt x="124024" y="71783"/>
                    </a:cubicBezTo>
                    <a:cubicBezTo>
                      <a:pt x="115220" y="83522"/>
                      <a:pt x="97611" y="77652"/>
                      <a:pt x="85873" y="74717"/>
                    </a:cubicBezTo>
                    <a:cubicBezTo>
                      <a:pt x="68263" y="68848"/>
                      <a:pt x="50655" y="62978"/>
                      <a:pt x="33045" y="57109"/>
                    </a:cubicBezTo>
                    <a:cubicBezTo>
                      <a:pt x="21307" y="51239"/>
                      <a:pt x="6633" y="48305"/>
                      <a:pt x="763" y="33631"/>
                    </a:cubicBezTo>
                    <a:cubicBezTo>
                      <a:pt x="-2171" y="18957"/>
                      <a:pt x="3697" y="4283"/>
                      <a:pt x="12503" y="1348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19B8B1BD-1D9C-4728-844E-7AC2C51E7B1D}"/>
                  </a:ext>
                </a:extLst>
              </p:cNvPr>
              <p:cNvSpPr/>
              <p:nvPr/>
            </p:nvSpPr>
            <p:spPr>
              <a:xfrm>
                <a:off x="20462021" y="8577230"/>
                <a:ext cx="129918" cy="82170"/>
              </a:xfrm>
              <a:custGeom>
                <a:avLst/>
                <a:gdLst>
                  <a:gd name="connsiteX0" fmla="*/ 14043 w 129918"/>
                  <a:gd name="connsiteY0" fmla="*/ 4713 h 82170"/>
                  <a:gd name="connsiteX1" fmla="*/ 102086 w 129918"/>
                  <a:gd name="connsiteY1" fmla="*/ 22322 h 82170"/>
                  <a:gd name="connsiteX2" fmla="*/ 107956 w 129918"/>
                  <a:gd name="connsiteY2" fmla="*/ 25257 h 82170"/>
                  <a:gd name="connsiteX3" fmla="*/ 119694 w 129918"/>
                  <a:gd name="connsiteY3" fmla="*/ 34061 h 82170"/>
                  <a:gd name="connsiteX4" fmla="*/ 125564 w 129918"/>
                  <a:gd name="connsiteY4" fmla="*/ 75148 h 82170"/>
                  <a:gd name="connsiteX5" fmla="*/ 87412 w 129918"/>
                  <a:gd name="connsiteY5" fmla="*/ 78083 h 82170"/>
                  <a:gd name="connsiteX6" fmla="*/ 34586 w 129918"/>
                  <a:gd name="connsiteY6" fmla="*/ 60474 h 82170"/>
                  <a:gd name="connsiteX7" fmla="*/ 2303 w 129918"/>
                  <a:gd name="connsiteY7" fmla="*/ 36996 h 82170"/>
                  <a:gd name="connsiteX8" fmla="*/ 14043 w 129918"/>
                  <a:gd name="connsiteY8" fmla="*/ 4713 h 82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9918" h="82170">
                    <a:moveTo>
                      <a:pt x="14043" y="4713"/>
                    </a:moveTo>
                    <a:cubicBezTo>
                      <a:pt x="43390" y="-9961"/>
                      <a:pt x="72738" y="13518"/>
                      <a:pt x="102086" y="22322"/>
                    </a:cubicBezTo>
                    <a:cubicBezTo>
                      <a:pt x="105020" y="22322"/>
                      <a:pt x="107956" y="25257"/>
                      <a:pt x="107956" y="25257"/>
                    </a:cubicBezTo>
                    <a:cubicBezTo>
                      <a:pt x="110890" y="28192"/>
                      <a:pt x="116760" y="31126"/>
                      <a:pt x="119694" y="34061"/>
                    </a:cubicBezTo>
                    <a:cubicBezTo>
                      <a:pt x="128498" y="45800"/>
                      <a:pt x="134368" y="63409"/>
                      <a:pt x="125564" y="75148"/>
                    </a:cubicBezTo>
                    <a:cubicBezTo>
                      <a:pt x="116760" y="86887"/>
                      <a:pt x="99150" y="81017"/>
                      <a:pt x="87412" y="78083"/>
                    </a:cubicBezTo>
                    <a:cubicBezTo>
                      <a:pt x="69802" y="72213"/>
                      <a:pt x="52194" y="66343"/>
                      <a:pt x="34586" y="60474"/>
                    </a:cubicBezTo>
                    <a:cubicBezTo>
                      <a:pt x="22847" y="54604"/>
                      <a:pt x="8173" y="51669"/>
                      <a:pt x="2303" y="36996"/>
                    </a:cubicBezTo>
                    <a:cubicBezTo>
                      <a:pt x="-3567" y="22322"/>
                      <a:pt x="2303" y="10583"/>
                      <a:pt x="14043" y="4713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2BAA853C-3E36-459B-9125-A6F25DB83F9D}"/>
                  </a:ext>
                </a:extLst>
              </p:cNvPr>
              <p:cNvSpPr/>
              <p:nvPr/>
            </p:nvSpPr>
            <p:spPr>
              <a:xfrm>
                <a:off x="20464897" y="8622016"/>
                <a:ext cx="116937" cy="66732"/>
              </a:xfrm>
              <a:custGeom>
                <a:avLst/>
                <a:gdLst>
                  <a:gd name="connsiteX0" fmla="*/ 11167 w 116937"/>
                  <a:gd name="connsiteY0" fmla="*/ 3949 h 66732"/>
                  <a:gd name="connsiteX1" fmla="*/ 90406 w 116937"/>
                  <a:gd name="connsiteY1" fmla="*/ 15688 h 66732"/>
                  <a:gd name="connsiteX2" fmla="*/ 96274 w 116937"/>
                  <a:gd name="connsiteY2" fmla="*/ 18623 h 66732"/>
                  <a:gd name="connsiteX3" fmla="*/ 108014 w 116937"/>
                  <a:gd name="connsiteY3" fmla="*/ 24492 h 66732"/>
                  <a:gd name="connsiteX4" fmla="*/ 113884 w 116937"/>
                  <a:gd name="connsiteY4" fmla="*/ 59710 h 66732"/>
                  <a:gd name="connsiteX5" fmla="*/ 78666 w 116937"/>
                  <a:gd name="connsiteY5" fmla="*/ 62645 h 66732"/>
                  <a:gd name="connsiteX6" fmla="*/ 31711 w 116937"/>
                  <a:gd name="connsiteY6" fmla="*/ 47971 h 66732"/>
                  <a:gd name="connsiteX7" fmla="*/ 2363 w 116937"/>
                  <a:gd name="connsiteY7" fmla="*/ 27427 h 66732"/>
                  <a:gd name="connsiteX8" fmla="*/ 11167 w 116937"/>
                  <a:gd name="connsiteY8" fmla="*/ 3949 h 66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937" h="66732">
                    <a:moveTo>
                      <a:pt x="11167" y="3949"/>
                    </a:moveTo>
                    <a:cubicBezTo>
                      <a:pt x="37579" y="-7790"/>
                      <a:pt x="63993" y="9818"/>
                      <a:pt x="90406" y="15688"/>
                    </a:cubicBezTo>
                    <a:cubicBezTo>
                      <a:pt x="93340" y="15688"/>
                      <a:pt x="93340" y="18623"/>
                      <a:pt x="96274" y="18623"/>
                    </a:cubicBezTo>
                    <a:cubicBezTo>
                      <a:pt x="99210" y="21557"/>
                      <a:pt x="102144" y="21557"/>
                      <a:pt x="108014" y="24492"/>
                    </a:cubicBezTo>
                    <a:cubicBezTo>
                      <a:pt x="116818" y="33297"/>
                      <a:pt x="119754" y="47971"/>
                      <a:pt x="113884" y="59710"/>
                    </a:cubicBezTo>
                    <a:cubicBezTo>
                      <a:pt x="105080" y="71449"/>
                      <a:pt x="90406" y="65579"/>
                      <a:pt x="78666" y="62645"/>
                    </a:cubicBezTo>
                    <a:cubicBezTo>
                      <a:pt x="63993" y="59710"/>
                      <a:pt x="49319" y="53840"/>
                      <a:pt x="31711" y="47971"/>
                    </a:cubicBezTo>
                    <a:cubicBezTo>
                      <a:pt x="22905" y="45036"/>
                      <a:pt x="8231" y="42101"/>
                      <a:pt x="2363" y="27427"/>
                    </a:cubicBezTo>
                    <a:cubicBezTo>
                      <a:pt x="-3507" y="18623"/>
                      <a:pt x="2363" y="6884"/>
                      <a:pt x="11167" y="3949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966FEF3C-3434-4204-B949-8FB122D18E28}"/>
                  </a:ext>
                </a:extLst>
              </p:cNvPr>
              <p:cNvSpPr/>
              <p:nvPr/>
            </p:nvSpPr>
            <p:spPr>
              <a:xfrm>
                <a:off x="20473010" y="8663886"/>
                <a:ext cx="85492" cy="52039"/>
              </a:xfrm>
              <a:custGeom>
                <a:avLst/>
                <a:gdLst>
                  <a:gd name="connsiteX0" fmla="*/ 8924 w 85492"/>
                  <a:gd name="connsiteY0" fmla="*/ 3166 h 52039"/>
                  <a:gd name="connsiteX1" fmla="*/ 67620 w 85492"/>
                  <a:gd name="connsiteY1" fmla="*/ 11970 h 52039"/>
                  <a:gd name="connsiteX2" fmla="*/ 70554 w 85492"/>
                  <a:gd name="connsiteY2" fmla="*/ 14905 h 52039"/>
                  <a:gd name="connsiteX3" fmla="*/ 79358 w 85492"/>
                  <a:gd name="connsiteY3" fmla="*/ 20775 h 52039"/>
                  <a:gd name="connsiteX4" fmla="*/ 82294 w 85492"/>
                  <a:gd name="connsiteY4" fmla="*/ 47188 h 52039"/>
                  <a:gd name="connsiteX5" fmla="*/ 55880 w 85492"/>
                  <a:gd name="connsiteY5" fmla="*/ 50123 h 52039"/>
                  <a:gd name="connsiteX6" fmla="*/ 23598 w 85492"/>
                  <a:gd name="connsiteY6" fmla="*/ 41318 h 52039"/>
                  <a:gd name="connsiteX7" fmla="*/ 3054 w 85492"/>
                  <a:gd name="connsiteY7" fmla="*/ 26644 h 52039"/>
                  <a:gd name="connsiteX8" fmla="*/ 8924 w 85492"/>
                  <a:gd name="connsiteY8" fmla="*/ 3166 h 52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492" h="52039">
                    <a:moveTo>
                      <a:pt x="8924" y="3166"/>
                    </a:moveTo>
                    <a:cubicBezTo>
                      <a:pt x="26532" y="-5639"/>
                      <a:pt x="47076" y="6101"/>
                      <a:pt x="67620" y="11970"/>
                    </a:cubicBezTo>
                    <a:cubicBezTo>
                      <a:pt x="70554" y="11970"/>
                      <a:pt x="70554" y="11970"/>
                      <a:pt x="70554" y="14905"/>
                    </a:cubicBezTo>
                    <a:cubicBezTo>
                      <a:pt x="73488" y="14905"/>
                      <a:pt x="76424" y="17840"/>
                      <a:pt x="79358" y="20775"/>
                    </a:cubicBezTo>
                    <a:cubicBezTo>
                      <a:pt x="85228" y="26644"/>
                      <a:pt x="88162" y="38383"/>
                      <a:pt x="82294" y="47188"/>
                    </a:cubicBezTo>
                    <a:cubicBezTo>
                      <a:pt x="76424" y="55992"/>
                      <a:pt x="64684" y="50123"/>
                      <a:pt x="55880" y="50123"/>
                    </a:cubicBezTo>
                    <a:cubicBezTo>
                      <a:pt x="44140" y="47188"/>
                      <a:pt x="32402" y="44253"/>
                      <a:pt x="23598" y="41318"/>
                    </a:cubicBezTo>
                    <a:cubicBezTo>
                      <a:pt x="17728" y="38383"/>
                      <a:pt x="5988" y="35449"/>
                      <a:pt x="3054" y="26644"/>
                    </a:cubicBezTo>
                    <a:cubicBezTo>
                      <a:pt x="-2816" y="11970"/>
                      <a:pt x="118" y="6101"/>
                      <a:pt x="8924" y="3166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C5269B52-87F3-4B44-9A61-81EC03463E55}"/>
                  </a:ext>
                </a:extLst>
              </p:cNvPr>
              <p:cNvSpPr/>
              <p:nvPr/>
            </p:nvSpPr>
            <p:spPr>
              <a:xfrm>
                <a:off x="20455520" y="8534986"/>
                <a:ext cx="141336" cy="126195"/>
              </a:xfrm>
              <a:custGeom>
                <a:avLst/>
                <a:gdLst>
                  <a:gd name="connsiteX0" fmla="*/ 117391 w 141336"/>
                  <a:gd name="connsiteY0" fmla="*/ 126196 h 126195"/>
                  <a:gd name="connsiteX1" fmla="*/ 79239 w 141336"/>
                  <a:gd name="connsiteY1" fmla="*/ 117391 h 126195"/>
                  <a:gd name="connsiteX2" fmla="*/ 0 w 141336"/>
                  <a:gd name="connsiteY2" fmla="*/ 61631 h 126195"/>
                  <a:gd name="connsiteX3" fmla="*/ 8804 w 141336"/>
                  <a:gd name="connsiteY3" fmla="*/ 44022 h 126195"/>
                  <a:gd name="connsiteX4" fmla="*/ 20544 w 141336"/>
                  <a:gd name="connsiteY4" fmla="*/ 44022 h 126195"/>
                  <a:gd name="connsiteX5" fmla="*/ 114457 w 141336"/>
                  <a:gd name="connsiteY5" fmla="*/ 67500 h 126195"/>
                  <a:gd name="connsiteX6" fmla="*/ 123261 w 141336"/>
                  <a:gd name="connsiteY6" fmla="*/ 55761 h 126195"/>
                  <a:gd name="connsiteX7" fmla="*/ 123261 w 141336"/>
                  <a:gd name="connsiteY7" fmla="*/ 46957 h 126195"/>
                  <a:gd name="connsiteX8" fmla="*/ 44022 w 141336"/>
                  <a:gd name="connsiteY8" fmla="*/ 11739 h 126195"/>
                  <a:gd name="connsiteX9" fmla="*/ 38152 w 141336"/>
                  <a:gd name="connsiteY9" fmla="*/ 5869 h 126195"/>
                  <a:gd name="connsiteX10" fmla="*/ 44022 w 141336"/>
                  <a:gd name="connsiteY10" fmla="*/ 0 h 126195"/>
                  <a:gd name="connsiteX11" fmla="*/ 132065 w 141336"/>
                  <a:gd name="connsiteY11" fmla="*/ 41087 h 126195"/>
                  <a:gd name="connsiteX12" fmla="*/ 134999 w 141336"/>
                  <a:gd name="connsiteY12" fmla="*/ 58696 h 126195"/>
                  <a:gd name="connsiteX13" fmla="*/ 129131 w 141336"/>
                  <a:gd name="connsiteY13" fmla="*/ 70435 h 126195"/>
                  <a:gd name="connsiteX14" fmla="*/ 140869 w 141336"/>
                  <a:gd name="connsiteY14" fmla="*/ 111522 h 126195"/>
                  <a:gd name="connsiteX15" fmla="*/ 117391 w 141336"/>
                  <a:gd name="connsiteY15" fmla="*/ 126196 h 126195"/>
                  <a:gd name="connsiteX16" fmla="*/ 17608 w 141336"/>
                  <a:gd name="connsiteY16" fmla="*/ 52826 h 126195"/>
                  <a:gd name="connsiteX17" fmla="*/ 17608 w 141336"/>
                  <a:gd name="connsiteY17" fmla="*/ 52826 h 126195"/>
                  <a:gd name="connsiteX18" fmla="*/ 14674 w 141336"/>
                  <a:gd name="connsiteY18" fmla="*/ 61631 h 126195"/>
                  <a:gd name="connsiteX19" fmla="*/ 85109 w 141336"/>
                  <a:gd name="connsiteY19" fmla="*/ 108587 h 126195"/>
                  <a:gd name="connsiteX20" fmla="*/ 132065 w 141336"/>
                  <a:gd name="connsiteY20" fmla="*/ 108587 h 126195"/>
                  <a:gd name="connsiteX21" fmla="*/ 123261 w 141336"/>
                  <a:gd name="connsiteY21" fmla="*/ 76305 h 126195"/>
                  <a:gd name="connsiteX22" fmla="*/ 123261 w 141336"/>
                  <a:gd name="connsiteY22" fmla="*/ 76305 h 126195"/>
                  <a:gd name="connsiteX23" fmla="*/ 17608 w 141336"/>
                  <a:gd name="connsiteY23" fmla="*/ 52826 h 126195"/>
                  <a:gd name="connsiteX24" fmla="*/ 17608 w 141336"/>
                  <a:gd name="connsiteY24" fmla="*/ 52826 h 126195"/>
                  <a:gd name="connsiteX25" fmla="*/ 17608 w 141336"/>
                  <a:gd name="connsiteY25" fmla="*/ 52826 h 126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41336" h="126195">
                    <a:moveTo>
                      <a:pt x="117391" y="126196"/>
                    </a:moveTo>
                    <a:cubicBezTo>
                      <a:pt x="105651" y="126196"/>
                      <a:pt x="93913" y="123261"/>
                      <a:pt x="79239" y="117391"/>
                    </a:cubicBezTo>
                    <a:cubicBezTo>
                      <a:pt x="26414" y="102717"/>
                      <a:pt x="0" y="82174"/>
                      <a:pt x="0" y="61631"/>
                    </a:cubicBezTo>
                    <a:cubicBezTo>
                      <a:pt x="0" y="52826"/>
                      <a:pt x="2934" y="46957"/>
                      <a:pt x="8804" y="44022"/>
                    </a:cubicBezTo>
                    <a:cubicBezTo>
                      <a:pt x="14674" y="41087"/>
                      <a:pt x="20544" y="41087"/>
                      <a:pt x="20544" y="44022"/>
                    </a:cubicBezTo>
                    <a:cubicBezTo>
                      <a:pt x="70436" y="67500"/>
                      <a:pt x="102717" y="73370"/>
                      <a:pt x="114457" y="67500"/>
                    </a:cubicBezTo>
                    <a:cubicBezTo>
                      <a:pt x="117391" y="64565"/>
                      <a:pt x="120325" y="61631"/>
                      <a:pt x="123261" y="55761"/>
                    </a:cubicBezTo>
                    <a:cubicBezTo>
                      <a:pt x="123261" y="52826"/>
                      <a:pt x="123261" y="49891"/>
                      <a:pt x="123261" y="46957"/>
                    </a:cubicBezTo>
                    <a:cubicBezTo>
                      <a:pt x="111521" y="29348"/>
                      <a:pt x="61630" y="14674"/>
                      <a:pt x="44022" y="11739"/>
                    </a:cubicBezTo>
                    <a:cubicBezTo>
                      <a:pt x="41088" y="11739"/>
                      <a:pt x="38152" y="8804"/>
                      <a:pt x="38152" y="5869"/>
                    </a:cubicBezTo>
                    <a:cubicBezTo>
                      <a:pt x="38152" y="2935"/>
                      <a:pt x="41088" y="0"/>
                      <a:pt x="44022" y="0"/>
                    </a:cubicBezTo>
                    <a:cubicBezTo>
                      <a:pt x="49892" y="0"/>
                      <a:pt x="114457" y="14674"/>
                      <a:pt x="132065" y="41087"/>
                    </a:cubicBezTo>
                    <a:cubicBezTo>
                      <a:pt x="134999" y="46957"/>
                      <a:pt x="137935" y="52826"/>
                      <a:pt x="134999" y="58696"/>
                    </a:cubicBezTo>
                    <a:cubicBezTo>
                      <a:pt x="134999" y="61631"/>
                      <a:pt x="132065" y="64565"/>
                      <a:pt x="129131" y="70435"/>
                    </a:cubicBezTo>
                    <a:cubicBezTo>
                      <a:pt x="132065" y="73370"/>
                      <a:pt x="143805" y="93913"/>
                      <a:pt x="140869" y="111522"/>
                    </a:cubicBezTo>
                    <a:cubicBezTo>
                      <a:pt x="137935" y="123261"/>
                      <a:pt x="129131" y="126196"/>
                      <a:pt x="117391" y="126196"/>
                    </a:cubicBezTo>
                    <a:close/>
                    <a:moveTo>
                      <a:pt x="17608" y="52826"/>
                    </a:moveTo>
                    <a:cubicBezTo>
                      <a:pt x="17608" y="52826"/>
                      <a:pt x="14674" y="52826"/>
                      <a:pt x="17608" y="52826"/>
                    </a:cubicBezTo>
                    <a:cubicBezTo>
                      <a:pt x="14674" y="52826"/>
                      <a:pt x="14674" y="55761"/>
                      <a:pt x="14674" y="61631"/>
                    </a:cubicBezTo>
                    <a:cubicBezTo>
                      <a:pt x="14674" y="79239"/>
                      <a:pt x="41088" y="93913"/>
                      <a:pt x="85109" y="108587"/>
                    </a:cubicBezTo>
                    <a:cubicBezTo>
                      <a:pt x="120325" y="117391"/>
                      <a:pt x="129131" y="117391"/>
                      <a:pt x="132065" y="108587"/>
                    </a:cubicBezTo>
                    <a:cubicBezTo>
                      <a:pt x="134999" y="99783"/>
                      <a:pt x="126195" y="85109"/>
                      <a:pt x="123261" y="76305"/>
                    </a:cubicBezTo>
                    <a:cubicBezTo>
                      <a:pt x="123261" y="76305"/>
                      <a:pt x="123261" y="76305"/>
                      <a:pt x="123261" y="76305"/>
                    </a:cubicBezTo>
                    <a:cubicBezTo>
                      <a:pt x="111521" y="82174"/>
                      <a:pt x="88043" y="85109"/>
                      <a:pt x="17608" y="52826"/>
                    </a:cubicBezTo>
                    <a:lnTo>
                      <a:pt x="17608" y="52826"/>
                    </a:lnTo>
                    <a:cubicBezTo>
                      <a:pt x="17608" y="52826"/>
                      <a:pt x="17608" y="52826"/>
                      <a:pt x="17608" y="52826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72C857F2-CE40-4FB9-BBC8-C9653CF990B8}"/>
                  </a:ext>
                </a:extLst>
              </p:cNvPr>
              <p:cNvSpPr/>
              <p:nvPr/>
            </p:nvSpPr>
            <p:spPr>
              <a:xfrm>
                <a:off x="20457303" y="8617160"/>
                <a:ext cx="128814" cy="76304"/>
              </a:xfrm>
              <a:custGeom>
                <a:avLst/>
                <a:gdLst>
                  <a:gd name="connsiteX0" fmla="*/ 100934 w 128814"/>
                  <a:gd name="connsiteY0" fmla="*/ 76305 h 76304"/>
                  <a:gd name="connsiteX1" fmla="*/ 95064 w 128814"/>
                  <a:gd name="connsiteY1" fmla="*/ 76305 h 76304"/>
                  <a:gd name="connsiteX2" fmla="*/ 7021 w 128814"/>
                  <a:gd name="connsiteY2" fmla="*/ 44022 h 76304"/>
                  <a:gd name="connsiteX3" fmla="*/ 1151 w 128814"/>
                  <a:gd name="connsiteY3" fmla="*/ 23478 h 76304"/>
                  <a:gd name="connsiteX4" fmla="*/ 15825 w 128814"/>
                  <a:gd name="connsiteY4" fmla="*/ 0 h 76304"/>
                  <a:gd name="connsiteX5" fmla="*/ 24631 w 128814"/>
                  <a:gd name="connsiteY5" fmla="*/ 2935 h 76304"/>
                  <a:gd name="connsiteX6" fmla="*/ 21695 w 128814"/>
                  <a:gd name="connsiteY6" fmla="*/ 11739 h 76304"/>
                  <a:gd name="connsiteX7" fmla="*/ 12891 w 128814"/>
                  <a:gd name="connsiteY7" fmla="*/ 26413 h 76304"/>
                  <a:gd name="connsiteX8" fmla="*/ 15825 w 128814"/>
                  <a:gd name="connsiteY8" fmla="*/ 35217 h 76304"/>
                  <a:gd name="connsiteX9" fmla="*/ 98000 w 128814"/>
                  <a:gd name="connsiteY9" fmla="*/ 64565 h 76304"/>
                  <a:gd name="connsiteX10" fmla="*/ 115608 w 128814"/>
                  <a:gd name="connsiteY10" fmla="*/ 61631 h 76304"/>
                  <a:gd name="connsiteX11" fmla="*/ 118542 w 128814"/>
                  <a:gd name="connsiteY11" fmla="*/ 41087 h 76304"/>
                  <a:gd name="connsiteX12" fmla="*/ 121478 w 128814"/>
                  <a:gd name="connsiteY12" fmla="*/ 35217 h 76304"/>
                  <a:gd name="connsiteX13" fmla="*/ 127348 w 128814"/>
                  <a:gd name="connsiteY13" fmla="*/ 38152 h 76304"/>
                  <a:gd name="connsiteX14" fmla="*/ 121478 w 128814"/>
                  <a:gd name="connsiteY14" fmla="*/ 70435 h 76304"/>
                  <a:gd name="connsiteX15" fmla="*/ 100934 w 128814"/>
                  <a:gd name="connsiteY15" fmla="*/ 76305 h 76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8814" h="76304">
                    <a:moveTo>
                      <a:pt x="100934" y="76305"/>
                    </a:moveTo>
                    <a:cubicBezTo>
                      <a:pt x="98000" y="76305"/>
                      <a:pt x="98000" y="76305"/>
                      <a:pt x="95064" y="76305"/>
                    </a:cubicBezTo>
                    <a:cubicBezTo>
                      <a:pt x="56913" y="73370"/>
                      <a:pt x="18761" y="52826"/>
                      <a:pt x="7021" y="44022"/>
                    </a:cubicBezTo>
                    <a:cubicBezTo>
                      <a:pt x="1151" y="38152"/>
                      <a:pt x="-1783" y="32283"/>
                      <a:pt x="1151" y="23478"/>
                    </a:cubicBezTo>
                    <a:cubicBezTo>
                      <a:pt x="1151" y="14674"/>
                      <a:pt x="9957" y="2935"/>
                      <a:pt x="15825" y="0"/>
                    </a:cubicBezTo>
                    <a:cubicBezTo>
                      <a:pt x="18761" y="0"/>
                      <a:pt x="21695" y="0"/>
                      <a:pt x="24631" y="2935"/>
                    </a:cubicBezTo>
                    <a:cubicBezTo>
                      <a:pt x="24631" y="5869"/>
                      <a:pt x="24631" y="8804"/>
                      <a:pt x="21695" y="11739"/>
                    </a:cubicBezTo>
                    <a:cubicBezTo>
                      <a:pt x="18761" y="11739"/>
                      <a:pt x="15825" y="17609"/>
                      <a:pt x="12891" y="26413"/>
                    </a:cubicBezTo>
                    <a:cubicBezTo>
                      <a:pt x="12891" y="29348"/>
                      <a:pt x="12891" y="32283"/>
                      <a:pt x="15825" y="35217"/>
                    </a:cubicBezTo>
                    <a:cubicBezTo>
                      <a:pt x="24631" y="44022"/>
                      <a:pt x="62783" y="61631"/>
                      <a:pt x="98000" y="64565"/>
                    </a:cubicBezTo>
                    <a:cubicBezTo>
                      <a:pt x="106804" y="64565"/>
                      <a:pt x="112674" y="64565"/>
                      <a:pt x="115608" y="61631"/>
                    </a:cubicBezTo>
                    <a:cubicBezTo>
                      <a:pt x="121478" y="55761"/>
                      <a:pt x="118542" y="44022"/>
                      <a:pt x="118542" y="41087"/>
                    </a:cubicBezTo>
                    <a:cubicBezTo>
                      <a:pt x="118542" y="38152"/>
                      <a:pt x="118542" y="35217"/>
                      <a:pt x="121478" y="35217"/>
                    </a:cubicBezTo>
                    <a:cubicBezTo>
                      <a:pt x="124412" y="35217"/>
                      <a:pt x="127348" y="35217"/>
                      <a:pt x="127348" y="38152"/>
                    </a:cubicBezTo>
                    <a:cubicBezTo>
                      <a:pt x="127348" y="38152"/>
                      <a:pt x="133216" y="58696"/>
                      <a:pt x="121478" y="70435"/>
                    </a:cubicBezTo>
                    <a:cubicBezTo>
                      <a:pt x="118542" y="73370"/>
                      <a:pt x="109738" y="76305"/>
                      <a:pt x="100934" y="76305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69474F16-977B-4D1B-879E-305F55802688}"/>
                </a:ext>
              </a:extLst>
            </p:cNvPr>
            <p:cNvSpPr/>
            <p:nvPr/>
          </p:nvSpPr>
          <p:spPr>
            <a:xfrm>
              <a:off x="20529737" y="8589916"/>
              <a:ext cx="128338" cy="106601"/>
            </a:xfrm>
            <a:custGeom>
              <a:avLst/>
              <a:gdLst>
                <a:gd name="connsiteX0" fmla="*/ 2087 w 128338"/>
                <a:gd name="connsiteY0" fmla="*/ 53657 h 106601"/>
                <a:gd name="connsiteX1" fmla="*/ 25566 w 128338"/>
                <a:gd name="connsiteY1" fmla="*/ 50723 h 106601"/>
                <a:gd name="connsiteX2" fmla="*/ 78392 w 128338"/>
                <a:gd name="connsiteY2" fmla="*/ 62462 h 106601"/>
                <a:gd name="connsiteX3" fmla="*/ 107740 w 128338"/>
                <a:gd name="connsiteY3" fmla="*/ 106484 h 106601"/>
                <a:gd name="connsiteX4" fmla="*/ 125348 w 128338"/>
                <a:gd name="connsiteY4" fmla="*/ 41919 h 106601"/>
                <a:gd name="connsiteX5" fmla="*/ 43174 w 128338"/>
                <a:gd name="connsiteY5" fmla="*/ 832 h 106601"/>
                <a:gd name="connsiteX6" fmla="*/ 2087 w 128338"/>
                <a:gd name="connsiteY6" fmla="*/ 53657 h 106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338" h="106601">
                  <a:moveTo>
                    <a:pt x="2087" y="53657"/>
                  </a:moveTo>
                  <a:cubicBezTo>
                    <a:pt x="7957" y="62462"/>
                    <a:pt x="19697" y="50723"/>
                    <a:pt x="25566" y="50723"/>
                  </a:cubicBezTo>
                  <a:cubicBezTo>
                    <a:pt x="46108" y="47788"/>
                    <a:pt x="60782" y="47788"/>
                    <a:pt x="78392" y="62462"/>
                  </a:cubicBezTo>
                  <a:cubicBezTo>
                    <a:pt x="87196" y="71266"/>
                    <a:pt x="101870" y="94745"/>
                    <a:pt x="107740" y="106484"/>
                  </a:cubicBezTo>
                  <a:cubicBezTo>
                    <a:pt x="110674" y="109419"/>
                    <a:pt x="137088" y="56592"/>
                    <a:pt x="125348" y="41919"/>
                  </a:cubicBezTo>
                  <a:cubicBezTo>
                    <a:pt x="110674" y="21375"/>
                    <a:pt x="72522" y="-5038"/>
                    <a:pt x="43174" y="832"/>
                  </a:cubicBezTo>
                  <a:cubicBezTo>
                    <a:pt x="31435" y="3766"/>
                    <a:pt x="-9651" y="36049"/>
                    <a:pt x="2087" y="53657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EC52F81F-EEE9-453A-8A12-71DA75E9319B}"/>
                </a:ext>
              </a:extLst>
            </p:cNvPr>
            <p:cNvSpPr/>
            <p:nvPr/>
          </p:nvSpPr>
          <p:spPr>
            <a:xfrm>
              <a:off x="20523020" y="8585243"/>
              <a:ext cx="140135" cy="114091"/>
            </a:xfrm>
            <a:custGeom>
              <a:avLst/>
              <a:gdLst>
                <a:gd name="connsiteX0" fmla="*/ 88043 w 140135"/>
                <a:gd name="connsiteY0" fmla="*/ 114092 h 114091"/>
                <a:gd name="connsiteX1" fmla="*/ 82174 w 140135"/>
                <a:gd name="connsiteY1" fmla="*/ 111157 h 114091"/>
                <a:gd name="connsiteX2" fmla="*/ 79239 w 140135"/>
                <a:gd name="connsiteY2" fmla="*/ 70070 h 114091"/>
                <a:gd name="connsiteX3" fmla="*/ 32284 w 140135"/>
                <a:gd name="connsiteY3" fmla="*/ 67135 h 114091"/>
                <a:gd name="connsiteX4" fmla="*/ 5870 w 140135"/>
                <a:gd name="connsiteY4" fmla="*/ 67135 h 114091"/>
                <a:gd name="connsiteX5" fmla="*/ 0 w 140135"/>
                <a:gd name="connsiteY5" fmla="*/ 52461 h 114091"/>
                <a:gd name="connsiteX6" fmla="*/ 49892 w 140135"/>
                <a:gd name="connsiteY6" fmla="*/ 2570 h 114091"/>
                <a:gd name="connsiteX7" fmla="*/ 137935 w 140135"/>
                <a:gd name="connsiteY7" fmla="*/ 43657 h 114091"/>
                <a:gd name="connsiteX8" fmla="*/ 137935 w 140135"/>
                <a:gd name="connsiteY8" fmla="*/ 52461 h 114091"/>
                <a:gd name="connsiteX9" fmla="*/ 129131 w 140135"/>
                <a:gd name="connsiteY9" fmla="*/ 52461 h 114091"/>
                <a:gd name="connsiteX10" fmla="*/ 52826 w 140135"/>
                <a:gd name="connsiteY10" fmla="*/ 14309 h 114091"/>
                <a:gd name="connsiteX11" fmla="*/ 11740 w 140135"/>
                <a:gd name="connsiteY11" fmla="*/ 52461 h 114091"/>
                <a:gd name="connsiteX12" fmla="*/ 11740 w 140135"/>
                <a:gd name="connsiteY12" fmla="*/ 58331 h 114091"/>
                <a:gd name="connsiteX13" fmla="*/ 29348 w 140135"/>
                <a:gd name="connsiteY13" fmla="*/ 55396 h 114091"/>
                <a:gd name="connsiteX14" fmla="*/ 90979 w 140135"/>
                <a:gd name="connsiteY14" fmla="*/ 64200 h 114091"/>
                <a:gd name="connsiteX15" fmla="*/ 93913 w 140135"/>
                <a:gd name="connsiteY15" fmla="*/ 70070 h 114091"/>
                <a:gd name="connsiteX16" fmla="*/ 96847 w 140135"/>
                <a:gd name="connsiteY16" fmla="*/ 105287 h 114091"/>
                <a:gd name="connsiteX17" fmla="*/ 96847 w 140135"/>
                <a:gd name="connsiteY17" fmla="*/ 114092 h 114091"/>
                <a:gd name="connsiteX18" fmla="*/ 88043 w 140135"/>
                <a:gd name="connsiteY18" fmla="*/ 114092 h 114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0135" h="114091">
                  <a:moveTo>
                    <a:pt x="88043" y="114092"/>
                  </a:moveTo>
                  <a:cubicBezTo>
                    <a:pt x="85109" y="114092"/>
                    <a:pt x="85109" y="114092"/>
                    <a:pt x="82174" y="111157"/>
                  </a:cubicBezTo>
                  <a:cubicBezTo>
                    <a:pt x="73370" y="96483"/>
                    <a:pt x="76305" y="75939"/>
                    <a:pt x="79239" y="70070"/>
                  </a:cubicBezTo>
                  <a:cubicBezTo>
                    <a:pt x="64566" y="58331"/>
                    <a:pt x="46958" y="61265"/>
                    <a:pt x="32284" y="67135"/>
                  </a:cubicBezTo>
                  <a:cubicBezTo>
                    <a:pt x="20544" y="70070"/>
                    <a:pt x="11740" y="73004"/>
                    <a:pt x="5870" y="67135"/>
                  </a:cubicBezTo>
                  <a:cubicBezTo>
                    <a:pt x="0" y="64200"/>
                    <a:pt x="0" y="58331"/>
                    <a:pt x="0" y="52461"/>
                  </a:cubicBezTo>
                  <a:cubicBezTo>
                    <a:pt x="2936" y="37787"/>
                    <a:pt x="20544" y="14309"/>
                    <a:pt x="49892" y="2570"/>
                  </a:cubicBezTo>
                  <a:cubicBezTo>
                    <a:pt x="88043" y="-12104"/>
                    <a:pt x="137935" y="40722"/>
                    <a:pt x="137935" y="43657"/>
                  </a:cubicBezTo>
                  <a:cubicBezTo>
                    <a:pt x="140869" y="46592"/>
                    <a:pt x="140869" y="49527"/>
                    <a:pt x="137935" y="52461"/>
                  </a:cubicBezTo>
                  <a:cubicBezTo>
                    <a:pt x="135001" y="55396"/>
                    <a:pt x="132065" y="55396"/>
                    <a:pt x="129131" y="52461"/>
                  </a:cubicBezTo>
                  <a:cubicBezTo>
                    <a:pt x="117391" y="37787"/>
                    <a:pt x="79239" y="2570"/>
                    <a:pt x="52826" y="14309"/>
                  </a:cubicBezTo>
                  <a:cubicBezTo>
                    <a:pt x="26414" y="23113"/>
                    <a:pt x="11740" y="43657"/>
                    <a:pt x="11740" y="52461"/>
                  </a:cubicBezTo>
                  <a:cubicBezTo>
                    <a:pt x="11740" y="55396"/>
                    <a:pt x="11740" y="58331"/>
                    <a:pt x="11740" y="58331"/>
                  </a:cubicBezTo>
                  <a:cubicBezTo>
                    <a:pt x="14674" y="61265"/>
                    <a:pt x="20544" y="58331"/>
                    <a:pt x="29348" y="55396"/>
                  </a:cubicBezTo>
                  <a:cubicBezTo>
                    <a:pt x="44022" y="52461"/>
                    <a:pt x="67500" y="46592"/>
                    <a:pt x="90979" y="64200"/>
                  </a:cubicBezTo>
                  <a:cubicBezTo>
                    <a:pt x="93913" y="64200"/>
                    <a:pt x="93913" y="67135"/>
                    <a:pt x="93913" y="70070"/>
                  </a:cubicBezTo>
                  <a:cubicBezTo>
                    <a:pt x="90979" y="75939"/>
                    <a:pt x="88043" y="96483"/>
                    <a:pt x="96847" y="105287"/>
                  </a:cubicBezTo>
                  <a:cubicBezTo>
                    <a:pt x="99783" y="108222"/>
                    <a:pt x="96847" y="111157"/>
                    <a:pt x="96847" y="114092"/>
                  </a:cubicBezTo>
                  <a:cubicBezTo>
                    <a:pt x="90979" y="111157"/>
                    <a:pt x="88043" y="114092"/>
                    <a:pt x="88043" y="114092"/>
                  </a:cubicBezTo>
                  <a:close/>
                </a:path>
              </a:pathLst>
            </a:custGeom>
            <a:solidFill>
              <a:srgbClr val="E58777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2" name="图形 1">
              <a:extLst>
                <a:ext uri="{FF2B5EF4-FFF2-40B4-BE49-F238E27FC236}">
                  <a16:creationId xmlns:a16="http://schemas.microsoft.com/office/drawing/2014/main" id="{731CFBE2-1511-407A-928D-7B5644642AAC}"/>
                </a:ext>
              </a:extLst>
            </p:cNvPr>
            <p:cNvGrpSpPr/>
            <p:nvPr/>
          </p:nvGrpSpPr>
          <p:grpSpPr>
            <a:xfrm>
              <a:off x="20085737" y="7643761"/>
              <a:ext cx="1144565" cy="1196443"/>
              <a:chOff x="20085737" y="7643761"/>
              <a:chExt cx="1144565" cy="1196443"/>
            </a:xfrm>
          </p:grpSpPr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CE1257FB-8E7C-4EA6-A595-A1DFFBA9C095}"/>
                  </a:ext>
                </a:extLst>
              </p:cNvPr>
              <p:cNvSpPr/>
              <p:nvPr/>
            </p:nvSpPr>
            <p:spPr>
              <a:xfrm>
                <a:off x="20291172" y="8127052"/>
                <a:ext cx="939130" cy="713152"/>
              </a:xfrm>
              <a:custGeom>
                <a:avLst/>
                <a:gdLst>
                  <a:gd name="connsiteX0" fmla="*/ 1 w 939130"/>
                  <a:gd name="connsiteY0" fmla="*/ 0 h 713152"/>
                  <a:gd name="connsiteX1" fmla="*/ 939131 w 939130"/>
                  <a:gd name="connsiteY1" fmla="*/ 0 h 713152"/>
                  <a:gd name="connsiteX2" fmla="*/ 939131 w 939130"/>
                  <a:gd name="connsiteY2" fmla="*/ 713152 h 713152"/>
                  <a:gd name="connsiteX3" fmla="*/ 1 w 939130"/>
                  <a:gd name="connsiteY3" fmla="*/ 713152 h 713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9130" h="713152">
                    <a:moveTo>
                      <a:pt x="1" y="0"/>
                    </a:moveTo>
                    <a:lnTo>
                      <a:pt x="939131" y="0"/>
                    </a:lnTo>
                    <a:lnTo>
                      <a:pt x="939131" y="713152"/>
                    </a:lnTo>
                    <a:lnTo>
                      <a:pt x="1" y="713152"/>
                    </a:lnTo>
                    <a:close/>
                  </a:path>
                </a:pathLst>
              </a:custGeom>
              <a:solidFill>
                <a:srgbClr val="C4544E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9F548EDA-C5AF-47D1-87E4-EA4225FF9413}"/>
                  </a:ext>
                </a:extLst>
              </p:cNvPr>
              <p:cNvSpPr/>
              <p:nvPr/>
            </p:nvSpPr>
            <p:spPr>
              <a:xfrm>
                <a:off x="20085737" y="8127052"/>
                <a:ext cx="939130" cy="713152"/>
              </a:xfrm>
              <a:custGeom>
                <a:avLst/>
                <a:gdLst>
                  <a:gd name="connsiteX0" fmla="*/ 1 w 939130"/>
                  <a:gd name="connsiteY0" fmla="*/ 0 h 713152"/>
                  <a:gd name="connsiteX1" fmla="*/ 939131 w 939130"/>
                  <a:gd name="connsiteY1" fmla="*/ 0 h 713152"/>
                  <a:gd name="connsiteX2" fmla="*/ 939131 w 939130"/>
                  <a:gd name="connsiteY2" fmla="*/ 713152 h 713152"/>
                  <a:gd name="connsiteX3" fmla="*/ 1 w 939130"/>
                  <a:gd name="connsiteY3" fmla="*/ 713152 h 713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9130" h="713152">
                    <a:moveTo>
                      <a:pt x="1" y="0"/>
                    </a:moveTo>
                    <a:lnTo>
                      <a:pt x="939131" y="0"/>
                    </a:lnTo>
                    <a:lnTo>
                      <a:pt x="939131" y="713152"/>
                    </a:lnTo>
                    <a:lnTo>
                      <a:pt x="1" y="713152"/>
                    </a:lnTo>
                    <a:close/>
                  </a:path>
                </a:pathLst>
              </a:custGeom>
              <a:solidFill>
                <a:srgbClr val="D16156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F0780D09-F8E1-4095-B8B5-CDD73FB04734}"/>
                  </a:ext>
                </a:extLst>
              </p:cNvPr>
              <p:cNvSpPr/>
              <p:nvPr/>
            </p:nvSpPr>
            <p:spPr>
              <a:xfrm>
                <a:off x="20490737" y="8127052"/>
                <a:ext cx="129130" cy="713152"/>
              </a:xfrm>
              <a:custGeom>
                <a:avLst/>
                <a:gdLst>
                  <a:gd name="connsiteX0" fmla="*/ 0 w 129130"/>
                  <a:gd name="connsiteY0" fmla="*/ 0 h 713152"/>
                  <a:gd name="connsiteX1" fmla="*/ 129132 w 129130"/>
                  <a:gd name="connsiteY1" fmla="*/ 0 h 713152"/>
                  <a:gd name="connsiteX2" fmla="*/ 129132 w 129130"/>
                  <a:gd name="connsiteY2" fmla="*/ 713152 h 713152"/>
                  <a:gd name="connsiteX3" fmla="*/ 0 w 129130"/>
                  <a:gd name="connsiteY3" fmla="*/ 713152 h 713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130" h="713152">
                    <a:moveTo>
                      <a:pt x="0" y="0"/>
                    </a:moveTo>
                    <a:lnTo>
                      <a:pt x="129132" y="0"/>
                    </a:lnTo>
                    <a:lnTo>
                      <a:pt x="129132" y="713152"/>
                    </a:lnTo>
                    <a:lnTo>
                      <a:pt x="0" y="713152"/>
                    </a:ln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1D58F839-FED3-4AC0-A8BD-C1D0B8456403}"/>
                  </a:ext>
                </a:extLst>
              </p:cNvPr>
              <p:cNvSpPr/>
              <p:nvPr/>
            </p:nvSpPr>
            <p:spPr>
              <a:xfrm>
                <a:off x="20340984" y="7643761"/>
                <a:ext cx="709339" cy="529345"/>
              </a:xfrm>
              <a:custGeom>
                <a:avLst/>
                <a:gdLst>
                  <a:gd name="connsiteX0" fmla="*/ 692689 w 709339"/>
                  <a:gd name="connsiteY0" fmla="*/ 136987 h 529345"/>
                  <a:gd name="connsiteX1" fmla="*/ 437362 w 709339"/>
                  <a:gd name="connsiteY1" fmla="*/ 142856 h 529345"/>
                  <a:gd name="connsiteX2" fmla="*/ 319971 w 709339"/>
                  <a:gd name="connsiteY2" fmla="*/ 286661 h 529345"/>
                  <a:gd name="connsiteX3" fmla="*/ 311167 w 709339"/>
                  <a:gd name="connsiteY3" fmla="*/ 201552 h 529345"/>
                  <a:gd name="connsiteX4" fmla="*/ 158558 w 709339"/>
                  <a:gd name="connsiteY4" fmla="*/ 1987 h 529345"/>
                  <a:gd name="connsiteX5" fmla="*/ 79 w 709339"/>
                  <a:gd name="connsiteY5" fmla="*/ 222095 h 529345"/>
                  <a:gd name="connsiteX6" fmla="*/ 179102 w 709339"/>
                  <a:gd name="connsiteY6" fmla="*/ 497965 h 529345"/>
                  <a:gd name="connsiteX7" fmla="*/ 223123 w 709339"/>
                  <a:gd name="connsiteY7" fmla="*/ 524378 h 529345"/>
                  <a:gd name="connsiteX8" fmla="*/ 240731 w 709339"/>
                  <a:gd name="connsiteY8" fmla="*/ 512639 h 529345"/>
                  <a:gd name="connsiteX9" fmla="*/ 607579 w 709339"/>
                  <a:gd name="connsiteY9" fmla="*/ 374704 h 529345"/>
                  <a:gd name="connsiteX10" fmla="*/ 692689 w 709339"/>
                  <a:gd name="connsiteY10" fmla="*/ 136987 h 529345"/>
                  <a:gd name="connsiteX11" fmla="*/ 501928 w 709339"/>
                  <a:gd name="connsiteY11" fmla="*/ 192748 h 529345"/>
                  <a:gd name="connsiteX12" fmla="*/ 516602 w 709339"/>
                  <a:gd name="connsiteY12" fmla="*/ 295465 h 529345"/>
                  <a:gd name="connsiteX13" fmla="*/ 425622 w 709339"/>
                  <a:gd name="connsiteY13" fmla="*/ 362965 h 529345"/>
                  <a:gd name="connsiteX14" fmla="*/ 299427 w 709339"/>
                  <a:gd name="connsiteY14" fmla="*/ 430465 h 529345"/>
                  <a:gd name="connsiteX15" fmla="*/ 305297 w 709339"/>
                  <a:gd name="connsiteY15" fmla="*/ 409922 h 529345"/>
                  <a:gd name="connsiteX16" fmla="*/ 501928 w 709339"/>
                  <a:gd name="connsiteY16" fmla="*/ 192748 h 529345"/>
                  <a:gd name="connsiteX17" fmla="*/ 143884 w 709339"/>
                  <a:gd name="connsiteY17" fmla="*/ 301335 h 529345"/>
                  <a:gd name="connsiteX18" fmla="*/ 129210 w 709339"/>
                  <a:gd name="connsiteY18" fmla="*/ 136987 h 529345"/>
                  <a:gd name="connsiteX19" fmla="*/ 231927 w 709339"/>
                  <a:gd name="connsiteY19" fmla="*/ 172204 h 529345"/>
                  <a:gd name="connsiteX20" fmla="*/ 214319 w 709339"/>
                  <a:gd name="connsiteY20" fmla="*/ 412856 h 529345"/>
                  <a:gd name="connsiteX21" fmla="*/ 143884 w 709339"/>
                  <a:gd name="connsiteY21" fmla="*/ 301335 h 52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09339" h="529345">
                    <a:moveTo>
                      <a:pt x="692689" y="136987"/>
                    </a:moveTo>
                    <a:cubicBezTo>
                      <a:pt x="636927" y="54813"/>
                      <a:pt x="498992" y="95900"/>
                      <a:pt x="437362" y="142856"/>
                    </a:cubicBezTo>
                    <a:cubicBezTo>
                      <a:pt x="387471" y="181009"/>
                      <a:pt x="352253" y="230900"/>
                      <a:pt x="319971" y="286661"/>
                    </a:cubicBezTo>
                    <a:cubicBezTo>
                      <a:pt x="319971" y="257313"/>
                      <a:pt x="314101" y="227965"/>
                      <a:pt x="311167" y="201552"/>
                    </a:cubicBezTo>
                    <a:cubicBezTo>
                      <a:pt x="299427" y="125248"/>
                      <a:pt x="264209" y="-18557"/>
                      <a:pt x="158558" y="1987"/>
                    </a:cubicBezTo>
                    <a:cubicBezTo>
                      <a:pt x="61710" y="19596"/>
                      <a:pt x="3015" y="134052"/>
                      <a:pt x="79" y="222095"/>
                    </a:cubicBezTo>
                    <a:cubicBezTo>
                      <a:pt x="-2855" y="342422"/>
                      <a:pt x="76384" y="439270"/>
                      <a:pt x="179102" y="497965"/>
                    </a:cubicBezTo>
                    <a:cubicBezTo>
                      <a:pt x="179102" y="518509"/>
                      <a:pt x="202580" y="539052"/>
                      <a:pt x="223123" y="524378"/>
                    </a:cubicBezTo>
                    <a:cubicBezTo>
                      <a:pt x="228993" y="521444"/>
                      <a:pt x="234862" y="515574"/>
                      <a:pt x="240731" y="512639"/>
                    </a:cubicBezTo>
                    <a:cubicBezTo>
                      <a:pt x="363993" y="480356"/>
                      <a:pt x="504862" y="459813"/>
                      <a:pt x="607579" y="374704"/>
                    </a:cubicBezTo>
                    <a:cubicBezTo>
                      <a:pt x="660405" y="324813"/>
                      <a:pt x="745514" y="213291"/>
                      <a:pt x="692689" y="136987"/>
                    </a:cubicBezTo>
                    <a:close/>
                    <a:moveTo>
                      <a:pt x="501928" y="192748"/>
                    </a:moveTo>
                    <a:cubicBezTo>
                      <a:pt x="534210" y="201552"/>
                      <a:pt x="551820" y="251443"/>
                      <a:pt x="516602" y="295465"/>
                    </a:cubicBezTo>
                    <a:cubicBezTo>
                      <a:pt x="496058" y="321878"/>
                      <a:pt x="454970" y="342422"/>
                      <a:pt x="425622" y="362965"/>
                    </a:cubicBezTo>
                    <a:cubicBezTo>
                      <a:pt x="384537" y="389378"/>
                      <a:pt x="343449" y="412856"/>
                      <a:pt x="299427" y="430465"/>
                    </a:cubicBezTo>
                    <a:cubicBezTo>
                      <a:pt x="302363" y="424596"/>
                      <a:pt x="305297" y="418726"/>
                      <a:pt x="305297" y="409922"/>
                    </a:cubicBezTo>
                    <a:cubicBezTo>
                      <a:pt x="337579" y="360030"/>
                      <a:pt x="399210" y="210356"/>
                      <a:pt x="501928" y="192748"/>
                    </a:cubicBezTo>
                    <a:close/>
                    <a:moveTo>
                      <a:pt x="143884" y="301335"/>
                    </a:moveTo>
                    <a:cubicBezTo>
                      <a:pt x="120406" y="248509"/>
                      <a:pt x="102796" y="192748"/>
                      <a:pt x="129210" y="136987"/>
                    </a:cubicBezTo>
                    <a:cubicBezTo>
                      <a:pt x="158558" y="72422"/>
                      <a:pt x="217254" y="119378"/>
                      <a:pt x="231927" y="172204"/>
                    </a:cubicBezTo>
                    <a:cubicBezTo>
                      <a:pt x="249535" y="242639"/>
                      <a:pt x="240731" y="336552"/>
                      <a:pt x="214319" y="412856"/>
                    </a:cubicBezTo>
                    <a:cubicBezTo>
                      <a:pt x="184972" y="380574"/>
                      <a:pt x="161492" y="342422"/>
                      <a:pt x="143884" y="30133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8C18876D-483A-4F3E-870B-9B2B67AE172F}"/>
                  </a:ext>
                </a:extLst>
              </p:cNvPr>
              <p:cNvSpPr/>
              <p:nvPr/>
            </p:nvSpPr>
            <p:spPr>
              <a:xfrm>
                <a:off x="20244215" y="8111734"/>
                <a:ext cx="297962" cy="529351"/>
              </a:xfrm>
              <a:custGeom>
                <a:avLst/>
                <a:gdLst>
                  <a:gd name="connsiteX0" fmla="*/ 246522 w 297962"/>
                  <a:gd name="connsiteY0" fmla="*/ 6514 h 529351"/>
                  <a:gd name="connsiteX1" fmla="*/ 0 w 297962"/>
                  <a:gd name="connsiteY1" fmla="*/ 499557 h 529351"/>
                  <a:gd name="connsiteX2" fmla="*/ 38152 w 297962"/>
                  <a:gd name="connsiteY2" fmla="*/ 528905 h 529351"/>
                  <a:gd name="connsiteX3" fmla="*/ 108587 w 297962"/>
                  <a:gd name="connsiteY3" fmla="*/ 517166 h 529351"/>
                  <a:gd name="connsiteX4" fmla="*/ 129131 w 297962"/>
                  <a:gd name="connsiteY4" fmla="*/ 487818 h 529351"/>
                  <a:gd name="connsiteX5" fmla="*/ 161413 w 297962"/>
                  <a:gd name="connsiteY5" fmla="*/ 244231 h 529351"/>
                  <a:gd name="connsiteX6" fmla="*/ 290544 w 297962"/>
                  <a:gd name="connsiteY6" fmla="*/ 56405 h 529351"/>
                  <a:gd name="connsiteX7" fmla="*/ 293478 w 297962"/>
                  <a:gd name="connsiteY7" fmla="*/ 44666 h 529351"/>
                  <a:gd name="connsiteX8" fmla="*/ 246522 w 297962"/>
                  <a:gd name="connsiteY8" fmla="*/ 6514 h 529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7962" h="529351">
                    <a:moveTo>
                      <a:pt x="246522" y="6514"/>
                    </a:moveTo>
                    <a:cubicBezTo>
                      <a:pt x="96847" y="129774"/>
                      <a:pt x="8804" y="305861"/>
                      <a:pt x="0" y="499557"/>
                    </a:cubicBezTo>
                    <a:cubicBezTo>
                      <a:pt x="0" y="520101"/>
                      <a:pt x="20544" y="531840"/>
                      <a:pt x="38152" y="528905"/>
                    </a:cubicBezTo>
                    <a:cubicBezTo>
                      <a:pt x="61632" y="525970"/>
                      <a:pt x="85109" y="520101"/>
                      <a:pt x="108587" y="517166"/>
                    </a:cubicBezTo>
                    <a:cubicBezTo>
                      <a:pt x="120327" y="514231"/>
                      <a:pt x="132065" y="499557"/>
                      <a:pt x="129131" y="487818"/>
                    </a:cubicBezTo>
                    <a:cubicBezTo>
                      <a:pt x="120327" y="402709"/>
                      <a:pt x="129131" y="320535"/>
                      <a:pt x="161413" y="244231"/>
                    </a:cubicBezTo>
                    <a:cubicBezTo>
                      <a:pt x="202501" y="176731"/>
                      <a:pt x="255326" y="112166"/>
                      <a:pt x="290544" y="56405"/>
                    </a:cubicBezTo>
                    <a:cubicBezTo>
                      <a:pt x="293478" y="53470"/>
                      <a:pt x="293478" y="47600"/>
                      <a:pt x="293478" y="44666"/>
                    </a:cubicBezTo>
                    <a:cubicBezTo>
                      <a:pt x="311088" y="18253"/>
                      <a:pt x="272934" y="-14030"/>
                      <a:pt x="246522" y="6514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11238219-2672-415D-A983-E094F7067E50}"/>
                  </a:ext>
                </a:extLst>
              </p:cNvPr>
              <p:cNvSpPr/>
              <p:nvPr/>
            </p:nvSpPr>
            <p:spPr>
              <a:xfrm>
                <a:off x="20581422" y="8126214"/>
                <a:ext cx="169180" cy="355600"/>
              </a:xfrm>
              <a:custGeom>
                <a:avLst/>
                <a:gdLst>
                  <a:gd name="connsiteX0" fmla="*/ 161707 w 169180"/>
                  <a:gd name="connsiteY0" fmla="*/ 218011 h 355600"/>
                  <a:gd name="connsiteX1" fmla="*/ 76599 w 169180"/>
                  <a:gd name="connsiteY1" fmla="*/ 24316 h 355600"/>
                  <a:gd name="connsiteX2" fmla="*/ 64859 w 169180"/>
                  <a:gd name="connsiteY2" fmla="*/ 6707 h 355600"/>
                  <a:gd name="connsiteX3" fmla="*/ 17903 w 169180"/>
                  <a:gd name="connsiteY3" fmla="*/ 21381 h 355600"/>
                  <a:gd name="connsiteX4" fmla="*/ 50185 w 169180"/>
                  <a:gd name="connsiteY4" fmla="*/ 341272 h 355600"/>
                  <a:gd name="connsiteX5" fmla="*/ 100077 w 169180"/>
                  <a:gd name="connsiteY5" fmla="*/ 341272 h 355600"/>
                  <a:gd name="connsiteX6" fmla="*/ 158773 w 169180"/>
                  <a:gd name="connsiteY6" fmla="*/ 259098 h 355600"/>
                  <a:gd name="connsiteX7" fmla="*/ 161707 w 169180"/>
                  <a:gd name="connsiteY7" fmla="*/ 218011 h 355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9180" h="355600">
                    <a:moveTo>
                      <a:pt x="161707" y="218011"/>
                    </a:moveTo>
                    <a:cubicBezTo>
                      <a:pt x="100077" y="171055"/>
                      <a:pt x="88337" y="97685"/>
                      <a:pt x="76599" y="24316"/>
                    </a:cubicBezTo>
                    <a:cubicBezTo>
                      <a:pt x="76599" y="15511"/>
                      <a:pt x="70729" y="9642"/>
                      <a:pt x="64859" y="6707"/>
                    </a:cubicBezTo>
                    <a:cubicBezTo>
                      <a:pt x="50185" y="-5032"/>
                      <a:pt x="23772" y="-2098"/>
                      <a:pt x="17903" y="21381"/>
                    </a:cubicBezTo>
                    <a:cubicBezTo>
                      <a:pt x="-14380" y="129968"/>
                      <a:pt x="-2640" y="241489"/>
                      <a:pt x="50185" y="341272"/>
                    </a:cubicBezTo>
                    <a:cubicBezTo>
                      <a:pt x="61925" y="361816"/>
                      <a:pt x="88337" y="358881"/>
                      <a:pt x="100077" y="341272"/>
                    </a:cubicBezTo>
                    <a:cubicBezTo>
                      <a:pt x="117685" y="311924"/>
                      <a:pt x="138229" y="285511"/>
                      <a:pt x="158773" y="259098"/>
                    </a:cubicBezTo>
                    <a:cubicBezTo>
                      <a:pt x="170511" y="250294"/>
                      <a:pt x="173447" y="229750"/>
                      <a:pt x="161707" y="218011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51B87E0D-97DE-42CF-903D-E65BB921F996}"/>
                </a:ext>
              </a:extLst>
            </p:cNvPr>
            <p:cNvSpPr/>
            <p:nvPr/>
          </p:nvSpPr>
          <p:spPr>
            <a:xfrm>
              <a:off x="21250845" y="8672921"/>
              <a:ext cx="1064455" cy="474708"/>
            </a:xfrm>
            <a:custGeom>
              <a:avLst/>
              <a:gdLst>
                <a:gd name="connsiteX0" fmla="*/ 1006632 w 1064455"/>
                <a:gd name="connsiteY0" fmla="*/ 272935 h 474708"/>
                <a:gd name="connsiteX1" fmla="*/ 865761 w 1064455"/>
                <a:gd name="connsiteY1" fmla="*/ 73370 h 474708"/>
                <a:gd name="connsiteX2" fmla="*/ 440217 w 1064455"/>
                <a:gd name="connsiteY2" fmla="*/ 267065 h 474708"/>
                <a:gd name="connsiteX3" fmla="*/ 88043 w 1064455"/>
                <a:gd name="connsiteY3" fmla="*/ 0 h 474708"/>
                <a:gd name="connsiteX4" fmla="*/ 0 w 1064455"/>
                <a:gd name="connsiteY4" fmla="*/ 88043 h 474708"/>
                <a:gd name="connsiteX5" fmla="*/ 407936 w 1064455"/>
                <a:gd name="connsiteY5" fmla="*/ 469565 h 474708"/>
                <a:gd name="connsiteX6" fmla="*/ 1006632 w 1064455"/>
                <a:gd name="connsiteY6" fmla="*/ 272935 h 474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4455" h="474708">
                  <a:moveTo>
                    <a:pt x="1006632" y="272935"/>
                  </a:moveTo>
                  <a:cubicBezTo>
                    <a:pt x="1153371" y="173152"/>
                    <a:pt x="989022" y="35218"/>
                    <a:pt x="865761" y="73370"/>
                  </a:cubicBezTo>
                  <a:cubicBezTo>
                    <a:pt x="745436" y="108587"/>
                    <a:pt x="513587" y="237718"/>
                    <a:pt x="440217" y="267065"/>
                  </a:cubicBezTo>
                  <a:cubicBezTo>
                    <a:pt x="352174" y="246522"/>
                    <a:pt x="88043" y="0"/>
                    <a:pt x="88043" y="0"/>
                  </a:cubicBezTo>
                  <a:cubicBezTo>
                    <a:pt x="67501" y="23478"/>
                    <a:pt x="0" y="88043"/>
                    <a:pt x="0" y="88043"/>
                  </a:cubicBezTo>
                  <a:cubicBezTo>
                    <a:pt x="0" y="88043"/>
                    <a:pt x="296414" y="405000"/>
                    <a:pt x="407936" y="469565"/>
                  </a:cubicBezTo>
                  <a:cubicBezTo>
                    <a:pt x="466631" y="501848"/>
                    <a:pt x="851087" y="375652"/>
                    <a:pt x="1006632" y="272935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A8753072-6EC6-4F54-8610-F17DA6BD4958}"/>
                </a:ext>
              </a:extLst>
            </p:cNvPr>
            <p:cNvSpPr/>
            <p:nvPr/>
          </p:nvSpPr>
          <p:spPr>
            <a:xfrm>
              <a:off x="21980071" y="8698000"/>
              <a:ext cx="421415" cy="371116"/>
            </a:xfrm>
            <a:custGeom>
              <a:avLst/>
              <a:gdLst>
                <a:gd name="connsiteX0" fmla="*/ 136535 w 421415"/>
                <a:gd name="connsiteY0" fmla="*/ 371117 h 371116"/>
                <a:gd name="connsiteX1" fmla="*/ 421209 w 421415"/>
                <a:gd name="connsiteY1" fmla="*/ 106986 h 371116"/>
                <a:gd name="connsiteX2" fmla="*/ 1536 w 421415"/>
                <a:gd name="connsiteY2" fmla="*/ 36551 h 371116"/>
                <a:gd name="connsiteX3" fmla="*/ 136535 w 421415"/>
                <a:gd name="connsiteY3" fmla="*/ 371117 h 37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1415" h="371116">
                  <a:moveTo>
                    <a:pt x="136535" y="371117"/>
                  </a:moveTo>
                  <a:cubicBezTo>
                    <a:pt x="306754" y="324160"/>
                    <a:pt x="427079" y="183291"/>
                    <a:pt x="421209" y="106986"/>
                  </a:cubicBezTo>
                  <a:cubicBezTo>
                    <a:pt x="415340" y="7204"/>
                    <a:pt x="186427" y="-36818"/>
                    <a:pt x="1536" y="36551"/>
                  </a:cubicBezTo>
                  <a:cubicBezTo>
                    <a:pt x="-13138" y="106986"/>
                    <a:pt x="80775" y="288943"/>
                    <a:pt x="136535" y="371117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0F1B139C-107C-4424-9768-502D4C55543A}"/>
                </a:ext>
              </a:extLst>
            </p:cNvPr>
            <p:cNvSpPr/>
            <p:nvPr/>
          </p:nvSpPr>
          <p:spPr>
            <a:xfrm>
              <a:off x="21974241" y="8693612"/>
              <a:ext cx="429975" cy="184744"/>
            </a:xfrm>
            <a:custGeom>
              <a:avLst/>
              <a:gdLst>
                <a:gd name="connsiteX0" fmla="*/ 36714 w 429975"/>
                <a:gd name="connsiteY0" fmla="*/ 184744 h 184744"/>
                <a:gd name="connsiteX1" fmla="*/ 30844 w 429975"/>
                <a:gd name="connsiteY1" fmla="*/ 181810 h 184744"/>
                <a:gd name="connsiteX2" fmla="*/ 1496 w 429975"/>
                <a:gd name="connsiteY2" fmla="*/ 40940 h 184744"/>
                <a:gd name="connsiteX3" fmla="*/ 1496 w 429975"/>
                <a:gd name="connsiteY3" fmla="*/ 38005 h 184744"/>
                <a:gd name="connsiteX4" fmla="*/ 4432 w 429975"/>
                <a:gd name="connsiteY4" fmla="*/ 38005 h 184744"/>
                <a:gd name="connsiteX5" fmla="*/ 294974 w 429975"/>
                <a:gd name="connsiteY5" fmla="*/ 8657 h 184744"/>
                <a:gd name="connsiteX6" fmla="*/ 303778 w 429975"/>
                <a:gd name="connsiteY6" fmla="*/ 11592 h 184744"/>
                <a:gd name="connsiteX7" fmla="*/ 429975 w 429975"/>
                <a:gd name="connsiteY7" fmla="*/ 96701 h 184744"/>
                <a:gd name="connsiteX8" fmla="*/ 427039 w 429975"/>
                <a:gd name="connsiteY8" fmla="*/ 102571 h 184744"/>
                <a:gd name="connsiteX9" fmla="*/ 421169 w 429975"/>
                <a:gd name="connsiteY9" fmla="*/ 99636 h 184744"/>
                <a:gd name="connsiteX10" fmla="*/ 300844 w 429975"/>
                <a:gd name="connsiteY10" fmla="*/ 23331 h 184744"/>
                <a:gd name="connsiteX11" fmla="*/ 292040 w 429975"/>
                <a:gd name="connsiteY11" fmla="*/ 20397 h 184744"/>
                <a:gd name="connsiteX12" fmla="*/ 13236 w 429975"/>
                <a:gd name="connsiteY12" fmla="*/ 46809 h 184744"/>
                <a:gd name="connsiteX13" fmla="*/ 42584 w 429975"/>
                <a:gd name="connsiteY13" fmla="*/ 178875 h 184744"/>
                <a:gd name="connsiteX14" fmla="*/ 36714 w 429975"/>
                <a:gd name="connsiteY14" fmla="*/ 184744 h 184744"/>
                <a:gd name="connsiteX15" fmla="*/ 36714 w 429975"/>
                <a:gd name="connsiteY15" fmla="*/ 184744 h 18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29975" h="184744">
                  <a:moveTo>
                    <a:pt x="36714" y="184744"/>
                  </a:moveTo>
                  <a:cubicBezTo>
                    <a:pt x="33780" y="184744"/>
                    <a:pt x="33780" y="184744"/>
                    <a:pt x="30844" y="181810"/>
                  </a:cubicBezTo>
                  <a:cubicBezTo>
                    <a:pt x="7366" y="114309"/>
                    <a:pt x="-4374" y="70288"/>
                    <a:pt x="1496" y="40940"/>
                  </a:cubicBezTo>
                  <a:lnTo>
                    <a:pt x="1496" y="38005"/>
                  </a:lnTo>
                  <a:lnTo>
                    <a:pt x="4432" y="38005"/>
                  </a:lnTo>
                  <a:cubicBezTo>
                    <a:pt x="33780" y="23331"/>
                    <a:pt x="192257" y="-17756"/>
                    <a:pt x="294974" y="8657"/>
                  </a:cubicBezTo>
                  <a:cubicBezTo>
                    <a:pt x="297910" y="8657"/>
                    <a:pt x="300844" y="8657"/>
                    <a:pt x="303778" y="11592"/>
                  </a:cubicBezTo>
                  <a:cubicBezTo>
                    <a:pt x="336062" y="20397"/>
                    <a:pt x="406496" y="35070"/>
                    <a:pt x="429975" y="96701"/>
                  </a:cubicBezTo>
                  <a:cubicBezTo>
                    <a:pt x="429975" y="99636"/>
                    <a:pt x="429975" y="102571"/>
                    <a:pt x="427039" y="102571"/>
                  </a:cubicBezTo>
                  <a:cubicBezTo>
                    <a:pt x="424105" y="102571"/>
                    <a:pt x="421169" y="102571"/>
                    <a:pt x="421169" y="99636"/>
                  </a:cubicBezTo>
                  <a:cubicBezTo>
                    <a:pt x="397692" y="46809"/>
                    <a:pt x="333126" y="29201"/>
                    <a:pt x="300844" y="23331"/>
                  </a:cubicBezTo>
                  <a:cubicBezTo>
                    <a:pt x="297910" y="23331"/>
                    <a:pt x="294974" y="20397"/>
                    <a:pt x="292040" y="20397"/>
                  </a:cubicBezTo>
                  <a:cubicBezTo>
                    <a:pt x="198127" y="-3082"/>
                    <a:pt x="45518" y="32135"/>
                    <a:pt x="13236" y="46809"/>
                  </a:cubicBezTo>
                  <a:cubicBezTo>
                    <a:pt x="10300" y="70288"/>
                    <a:pt x="22040" y="114309"/>
                    <a:pt x="42584" y="178875"/>
                  </a:cubicBezTo>
                  <a:cubicBezTo>
                    <a:pt x="42584" y="178875"/>
                    <a:pt x="42584" y="181810"/>
                    <a:pt x="36714" y="184744"/>
                  </a:cubicBezTo>
                  <a:cubicBezTo>
                    <a:pt x="39648" y="184744"/>
                    <a:pt x="36714" y="184744"/>
                    <a:pt x="36714" y="184744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292EB4F0-6642-4E29-9006-DEC34627A190}"/>
                </a:ext>
              </a:extLst>
            </p:cNvPr>
            <p:cNvGrpSpPr/>
            <p:nvPr/>
          </p:nvGrpSpPr>
          <p:grpSpPr>
            <a:xfrm>
              <a:off x="21090208" y="8536053"/>
              <a:ext cx="261636" cy="235415"/>
              <a:chOff x="21090208" y="8536053"/>
              <a:chExt cx="261636" cy="235415"/>
            </a:xfrm>
          </p:grpSpPr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5719CC2E-3964-4158-9C19-F5C272DE6B0F}"/>
                  </a:ext>
                </a:extLst>
              </p:cNvPr>
              <p:cNvSpPr/>
              <p:nvPr/>
            </p:nvSpPr>
            <p:spPr>
              <a:xfrm>
                <a:off x="21100348" y="8539948"/>
                <a:ext cx="251495" cy="231520"/>
              </a:xfrm>
              <a:custGeom>
                <a:avLst/>
                <a:gdLst>
                  <a:gd name="connsiteX0" fmla="*/ 247346 w 251495"/>
                  <a:gd name="connsiteY0" fmla="*/ 174060 h 231520"/>
                  <a:gd name="connsiteX1" fmla="*/ 250281 w 251495"/>
                  <a:gd name="connsiteY1" fmla="*/ 165256 h 231520"/>
                  <a:gd name="connsiteX2" fmla="*/ 191585 w 251495"/>
                  <a:gd name="connsiteY2" fmla="*/ 41995 h 231520"/>
                  <a:gd name="connsiteX3" fmla="*/ 106475 w 251495"/>
                  <a:gd name="connsiteY3" fmla="*/ 6778 h 231520"/>
                  <a:gd name="connsiteX4" fmla="*/ 71260 w 251495"/>
                  <a:gd name="connsiteY4" fmla="*/ 6778 h 231520"/>
                  <a:gd name="connsiteX5" fmla="*/ 68324 w 251495"/>
                  <a:gd name="connsiteY5" fmla="*/ 15582 h 231520"/>
                  <a:gd name="connsiteX6" fmla="*/ 80064 w 251495"/>
                  <a:gd name="connsiteY6" fmla="*/ 27321 h 231520"/>
                  <a:gd name="connsiteX7" fmla="*/ 38976 w 251495"/>
                  <a:gd name="connsiteY7" fmla="*/ 21452 h 231520"/>
                  <a:gd name="connsiteX8" fmla="*/ 6694 w 251495"/>
                  <a:gd name="connsiteY8" fmla="*/ 30256 h 231520"/>
                  <a:gd name="connsiteX9" fmla="*/ 6694 w 251495"/>
                  <a:gd name="connsiteY9" fmla="*/ 53734 h 231520"/>
                  <a:gd name="connsiteX10" fmla="*/ 6694 w 251495"/>
                  <a:gd name="connsiteY10" fmla="*/ 53734 h 231520"/>
                  <a:gd name="connsiteX11" fmla="*/ 824 w 251495"/>
                  <a:gd name="connsiteY11" fmla="*/ 59604 h 231520"/>
                  <a:gd name="connsiteX12" fmla="*/ 50716 w 251495"/>
                  <a:gd name="connsiteY12" fmla="*/ 103625 h 231520"/>
                  <a:gd name="connsiteX13" fmla="*/ 36042 w 251495"/>
                  <a:gd name="connsiteY13" fmla="*/ 115365 h 231520"/>
                  <a:gd name="connsiteX14" fmla="*/ 36042 w 251495"/>
                  <a:gd name="connsiteY14" fmla="*/ 127104 h 231520"/>
                  <a:gd name="connsiteX15" fmla="*/ 121149 w 251495"/>
                  <a:gd name="connsiteY15" fmla="*/ 171125 h 231520"/>
                  <a:gd name="connsiteX16" fmla="*/ 165171 w 251495"/>
                  <a:gd name="connsiteY16" fmla="*/ 223952 h 231520"/>
                  <a:gd name="connsiteX17" fmla="*/ 247346 w 251495"/>
                  <a:gd name="connsiteY17" fmla="*/ 174060 h 231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51495" h="231520">
                    <a:moveTo>
                      <a:pt x="247346" y="174060"/>
                    </a:moveTo>
                    <a:cubicBezTo>
                      <a:pt x="250281" y="171125"/>
                      <a:pt x="253215" y="168191"/>
                      <a:pt x="250281" y="165256"/>
                    </a:cubicBezTo>
                    <a:cubicBezTo>
                      <a:pt x="235607" y="127104"/>
                      <a:pt x="229737" y="65473"/>
                      <a:pt x="191585" y="41995"/>
                    </a:cubicBezTo>
                    <a:cubicBezTo>
                      <a:pt x="165171" y="27321"/>
                      <a:pt x="135823" y="18517"/>
                      <a:pt x="106475" y="6778"/>
                    </a:cubicBezTo>
                    <a:cubicBezTo>
                      <a:pt x="91802" y="908"/>
                      <a:pt x="82998" y="-4962"/>
                      <a:pt x="71260" y="6778"/>
                    </a:cubicBezTo>
                    <a:cubicBezTo>
                      <a:pt x="68324" y="9712"/>
                      <a:pt x="68324" y="12647"/>
                      <a:pt x="68324" y="15582"/>
                    </a:cubicBezTo>
                    <a:cubicBezTo>
                      <a:pt x="71260" y="21452"/>
                      <a:pt x="74194" y="24386"/>
                      <a:pt x="80064" y="27321"/>
                    </a:cubicBezTo>
                    <a:cubicBezTo>
                      <a:pt x="65390" y="24386"/>
                      <a:pt x="53650" y="24386"/>
                      <a:pt x="38976" y="21452"/>
                    </a:cubicBezTo>
                    <a:cubicBezTo>
                      <a:pt x="27238" y="21452"/>
                      <a:pt x="15498" y="18517"/>
                      <a:pt x="6694" y="30256"/>
                    </a:cubicBezTo>
                    <a:cubicBezTo>
                      <a:pt x="824" y="39060"/>
                      <a:pt x="824" y="47865"/>
                      <a:pt x="6694" y="53734"/>
                    </a:cubicBezTo>
                    <a:cubicBezTo>
                      <a:pt x="6694" y="53734"/>
                      <a:pt x="6694" y="53734"/>
                      <a:pt x="6694" y="53734"/>
                    </a:cubicBezTo>
                    <a:cubicBezTo>
                      <a:pt x="3758" y="53734"/>
                      <a:pt x="824" y="56669"/>
                      <a:pt x="824" y="59604"/>
                    </a:cubicBezTo>
                    <a:cubicBezTo>
                      <a:pt x="-5046" y="80147"/>
                      <a:pt x="21368" y="94821"/>
                      <a:pt x="50716" y="103625"/>
                    </a:cubicBezTo>
                    <a:cubicBezTo>
                      <a:pt x="44846" y="106560"/>
                      <a:pt x="38976" y="109495"/>
                      <a:pt x="36042" y="115365"/>
                    </a:cubicBezTo>
                    <a:cubicBezTo>
                      <a:pt x="33106" y="118299"/>
                      <a:pt x="33106" y="124169"/>
                      <a:pt x="36042" y="127104"/>
                    </a:cubicBezTo>
                    <a:cubicBezTo>
                      <a:pt x="59520" y="147647"/>
                      <a:pt x="97671" y="147647"/>
                      <a:pt x="121149" y="171125"/>
                    </a:cubicBezTo>
                    <a:cubicBezTo>
                      <a:pt x="138759" y="188734"/>
                      <a:pt x="141693" y="212213"/>
                      <a:pt x="165171" y="223952"/>
                    </a:cubicBezTo>
                    <a:cubicBezTo>
                      <a:pt x="203325" y="247430"/>
                      <a:pt x="238541" y="212213"/>
                      <a:pt x="247346" y="174060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24A4DF5B-6571-462B-AF65-97644DFE4F9F}"/>
                  </a:ext>
                </a:extLst>
              </p:cNvPr>
              <p:cNvSpPr/>
              <p:nvPr/>
            </p:nvSpPr>
            <p:spPr>
              <a:xfrm>
                <a:off x="21162331" y="8536053"/>
                <a:ext cx="138405" cy="57629"/>
              </a:xfrm>
              <a:custGeom>
                <a:avLst/>
                <a:gdLst>
                  <a:gd name="connsiteX0" fmla="*/ 135472 w 138405"/>
                  <a:gd name="connsiteY0" fmla="*/ 54695 h 57629"/>
                  <a:gd name="connsiteX1" fmla="*/ 135472 w 138405"/>
                  <a:gd name="connsiteY1" fmla="*/ 54695 h 57629"/>
                  <a:gd name="connsiteX2" fmla="*/ 15145 w 138405"/>
                  <a:gd name="connsiteY2" fmla="*/ 7738 h 57629"/>
                  <a:gd name="connsiteX3" fmla="*/ 12211 w 138405"/>
                  <a:gd name="connsiteY3" fmla="*/ 10673 h 57629"/>
                  <a:gd name="connsiteX4" fmla="*/ 18081 w 138405"/>
                  <a:gd name="connsiteY4" fmla="*/ 28281 h 57629"/>
                  <a:gd name="connsiteX5" fmla="*/ 18081 w 138405"/>
                  <a:gd name="connsiteY5" fmla="*/ 37086 h 57629"/>
                  <a:gd name="connsiteX6" fmla="*/ 9277 w 138405"/>
                  <a:gd name="connsiteY6" fmla="*/ 37086 h 57629"/>
                  <a:gd name="connsiteX7" fmla="*/ 471 w 138405"/>
                  <a:gd name="connsiteY7" fmla="*/ 10673 h 57629"/>
                  <a:gd name="connsiteX8" fmla="*/ 9277 w 138405"/>
                  <a:gd name="connsiteY8" fmla="*/ 1868 h 57629"/>
                  <a:gd name="connsiteX9" fmla="*/ 135472 w 138405"/>
                  <a:gd name="connsiteY9" fmla="*/ 48825 h 57629"/>
                  <a:gd name="connsiteX10" fmla="*/ 138406 w 138405"/>
                  <a:gd name="connsiteY10" fmla="*/ 57629 h 57629"/>
                  <a:gd name="connsiteX11" fmla="*/ 135472 w 138405"/>
                  <a:gd name="connsiteY11" fmla="*/ 54695 h 57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8405" h="57629">
                    <a:moveTo>
                      <a:pt x="135472" y="54695"/>
                    </a:moveTo>
                    <a:cubicBezTo>
                      <a:pt x="135472" y="54695"/>
                      <a:pt x="132536" y="51760"/>
                      <a:pt x="135472" y="54695"/>
                    </a:cubicBezTo>
                    <a:cubicBezTo>
                      <a:pt x="97320" y="34151"/>
                      <a:pt x="32754" y="1868"/>
                      <a:pt x="15145" y="7738"/>
                    </a:cubicBezTo>
                    <a:cubicBezTo>
                      <a:pt x="15145" y="7738"/>
                      <a:pt x="12211" y="7738"/>
                      <a:pt x="12211" y="10673"/>
                    </a:cubicBezTo>
                    <a:cubicBezTo>
                      <a:pt x="12211" y="16542"/>
                      <a:pt x="15145" y="25347"/>
                      <a:pt x="18081" y="28281"/>
                    </a:cubicBezTo>
                    <a:cubicBezTo>
                      <a:pt x="21015" y="31216"/>
                      <a:pt x="21015" y="34151"/>
                      <a:pt x="18081" y="37086"/>
                    </a:cubicBezTo>
                    <a:cubicBezTo>
                      <a:pt x="15145" y="40021"/>
                      <a:pt x="12211" y="40021"/>
                      <a:pt x="9277" y="37086"/>
                    </a:cubicBezTo>
                    <a:cubicBezTo>
                      <a:pt x="9277" y="34151"/>
                      <a:pt x="-2463" y="22412"/>
                      <a:pt x="471" y="10673"/>
                    </a:cubicBezTo>
                    <a:cubicBezTo>
                      <a:pt x="471" y="4803"/>
                      <a:pt x="3407" y="1868"/>
                      <a:pt x="9277" y="1868"/>
                    </a:cubicBezTo>
                    <a:cubicBezTo>
                      <a:pt x="35689" y="-9871"/>
                      <a:pt x="120798" y="37086"/>
                      <a:pt x="135472" y="48825"/>
                    </a:cubicBezTo>
                    <a:cubicBezTo>
                      <a:pt x="138406" y="51760"/>
                      <a:pt x="138406" y="54695"/>
                      <a:pt x="138406" y="57629"/>
                    </a:cubicBezTo>
                    <a:cubicBezTo>
                      <a:pt x="138406" y="51760"/>
                      <a:pt x="138406" y="54695"/>
                      <a:pt x="135472" y="54695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C368633D-8D9F-4BA2-940F-44F85951B49C}"/>
                  </a:ext>
                </a:extLst>
              </p:cNvPr>
              <p:cNvSpPr/>
              <p:nvPr/>
            </p:nvSpPr>
            <p:spPr>
              <a:xfrm>
                <a:off x="21099245" y="8556834"/>
                <a:ext cx="160406" cy="72065"/>
              </a:xfrm>
              <a:custGeom>
                <a:avLst/>
                <a:gdLst>
                  <a:gd name="connsiteX0" fmla="*/ 128123 w 160406"/>
                  <a:gd name="connsiteY0" fmla="*/ 69131 h 72065"/>
                  <a:gd name="connsiteX1" fmla="*/ 125188 w 160406"/>
                  <a:gd name="connsiteY1" fmla="*/ 69131 h 72065"/>
                  <a:gd name="connsiteX2" fmla="*/ 7797 w 160406"/>
                  <a:gd name="connsiteY2" fmla="*/ 42717 h 72065"/>
                  <a:gd name="connsiteX3" fmla="*/ 1927 w 160406"/>
                  <a:gd name="connsiteY3" fmla="*/ 39783 h 72065"/>
                  <a:gd name="connsiteX4" fmla="*/ 4861 w 160406"/>
                  <a:gd name="connsiteY4" fmla="*/ 10435 h 72065"/>
                  <a:gd name="connsiteX5" fmla="*/ 54753 w 160406"/>
                  <a:gd name="connsiteY5" fmla="*/ 1631 h 72065"/>
                  <a:gd name="connsiteX6" fmla="*/ 57689 w 160406"/>
                  <a:gd name="connsiteY6" fmla="*/ 1631 h 72065"/>
                  <a:gd name="connsiteX7" fmla="*/ 157470 w 160406"/>
                  <a:gd name="connsiteY7" fmla="*/ 33913 h 72065"/>
                  <a:gd name="connsiteX8" fmla="*/ 160406 w 160406"/>
                  <a:gd name="connsiteY8" fmla="*/ 42717 h 72065"/>
                  <a:gd name="connsiteX9" fmla="*/ 151600 w 160406"/>
                  <a:gd name="connsiteY9" fmla="*/ 45652 h 72065"/>
                  <a:gd name="connsiteX10" fmla="*/ 54753 w 160406"/>
                  <a:gd name="connsiteY10" fmla="*/ 13370 h 72065"/>
                  <a:gd name="connsiteX11" fmla="*/ 51819 w 160406"/>
                  <a:gd name="connsiteY11" fmla="*/ 13370 h 72065"/>
                  <a:gd name="connsiteX12" fmla="*/ 13667 w 160406"/>
                  <a:gd name="connsiteY12" fmla="*/ 19239 h 72065"/>
                  <a:gd name="connsiteX13" fmla="*/ 10731 w 160406"/>
                  <a:gd name="connsiteY13" fmla="*/ 33913 h 72065"/>
                  <a:gd name="connsiteX14" fmla="*/ 131058 w 160406"/>
                  <a:gd name="connsiteY14" fmla="*/ 63261 h 72065"/>
                  <a:gd name="connsiteX15" fmla="*/ 131058 w 160406"/>
                  <a:gd name="connsiteY15" fmla="*/ 72065 h 72065"/>
                  <a:gd name="connsiteX16" fmla="*/ 128123 w 160406"/>
                  <a:gd name="connsiteY16" fmla="*/ 69131 h 72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60406" h="72065">
                    <a:moveTo>
                      <a:pt x="128123" y="69131"/>
                    </a:moveTo>
                    <a:cubicBezTo>
                      <a:pt x="128123" y="69131"/>
                      <a:pt x="125188" y="69131"/>
                      <a:pt x="125188" y="69131"/>
                    </a:cubicBezTo>
                    <a:cubicBezTo>
                      <a:pt x="95841" y="48587"/>
                      <a:pt x="7797" y="42717"/>
                      <a:pt x="7797" y="42717"/>
                    </a:cubicBezTo>
                    <a:cubicBezTo>
                      <a:pt x="4861" y="42717"/>
                      <a:pt x="1927" y="39783"/>
                      <a:pt x="1927" y="39783"/>
                    </a:cubicBezTo>
                    <a:cubicBezTo>
                      <a:pt x="-1007" y="28043"/>
                      <a:pt x="-1007" y="16304"/>
                      <a:pt x="4861" y="10435"/>
                    </a:cubicBezTo>
                    <a:cubicBezTo>
                      <a:pt x="13667" y="-1304"/>
                      <a:pt x="37145" y="-1304"/>
                      <a:pt x="54753" y="1631"/>
                    </a:cubicBezTo>
                    <a:lnTo>
                      <a:pt x="57689" y="1631"/>
                    </a:lnTo>
                    <a:cubicBezTo>
                      <a:pt x="81167" y="4566"/>
                      <a:pt x="154536" y="33913"/>
                      <a:pt x="157470" y="33913"/>
                    </a:cubicBezTo>
                    <a:cubicBezTo>
                      <a:pt x="160406" y="33913"/>
                      <a:pt x="160406" y="39783"/>
                      <a:pt x="160406" y="42717"/>
                    </a:cubicBezTo>
                    <a:cubicBezTo>
                      <a:pt x="160406" y="45652"/>
                      <a:pt x="154536" y="48587"/>
                      <a:pt x="151600" y="45652"/>
                    </a:cubicBezTo>
                    <a:cubicBezTo>
                      <a:pt x="151600" y="45652"/>
                      <a:pt x="75297" y="16304"/>
                      <a:pt x="54753" y="13370"/>
                    </a:cubicBezTo>
                    <a:lnTo>
                      <a:pt x="51819" y="13370"/>
                    </a:lnTo>
                    <a:cubicBezTo>
                      <a:pt x="37145" y="13370"/>
                      <a:pt x="19535" y="10435"/>
                      <a:pt x="13667" y="19239"/>
                    </a:cubicBezTo>
                    <a:cubicBezTo>
                      <a:pt x="10731" y="22174"/>
                      <a:pt x="10731" y="28043"/>
                      <a:pt x="10731" y="33913"/>
                    </a:cubicBezTo>
                    <a:cubicBezTo>
                      <a:pt x="28341" y="36848"/>
                      <a:pt x="104645" y="42717"/>
                      <a:pt x="131058" y="63261"/>
                    </a:cubicBezTo>
                    <a:cubicBezTo>
                      <a:pt x="133992" y="66196"/>
                      <a:pt x="133992" y="69131"/>
                      <a:pt x="131058" y="72065"/>
                    </a:cubicBezTo>
                    <a:cubicBezTo>
                      <a:pt x="131058" y="69131"/>
                      <a:pt x="128123" y="69131"/>
                      <a:pt x="128123" y="69131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6E92AD17-03E6-4027-9134-7084A4E8709E}"/>
                  </a:ext>
                </a:extLst>
              </p:cNvPr>
              <p:cNvSpPr/>
              <p:nvPr/>
            </p:nvSpPr>
            <p:spPr>
              <a:xfrm>
                <a:off x="21090208" y="8585611"/>
                <a:ext cx="159007" cy="104918"/>
              </a:xfrm>
              <a:custGeom>
                <a:avLst/>
                <a:gdLst>
                  <a:gd name="connsiteX0" fmla="*/ 154770 w 159007"/>
                  <a:gd name="connsiteY0" fmla="*/ 104919 h 104918"/>
                  <a:gd name="connsiteX1" fmla="*/ 148900 w 159007"/>
                  <a:gd name="connsiteY1" fmla="*/ 101984 h 104918"/>
                  <a:gd name="connsiteX2" fmla="*/ 119552 w 159007"/>
                  <a:gd name="connsiteY2" fmla="*/ 72636 h 104918"/>
                  <a:gd name="connsiteX3" fmla="*/ 52052 w 159007"/>
                  <a:gd name="connsiteY3" fmla="*/ 63832 h 104918"/>
                  <a:gd name="connsiteX4" fmla="*/ 8030 w 159007"/>
                  <a:gd name="connsiteY4" fmla="*/ 40353 h 104918"/>
                  <a:gd name="connsiteX5" fmla="*/ 8030 w 159007"/>
                  <a:gd name="connsiteY5" fmla="*/ 2201 h 104918"/>
                  <a:gd name="connsiteX6" fmla="*/ 16834 w 159007"/>
                  <a:gd name="connsiteY6" fmla="*/ 2201 h 104918"/>
                  <a:gd name="connsiteX7" fmla="*/ 16834 w 159007"/>
                  <a:gd name="connsiteY7" fmla="*/ 11006 h 104918"/>
                  <a:gd name="connsiteX8" fmla="*/ 16834 w 159007"/>
                  <a:gd name="connsiteY8" fmla="*/ 31549 h 104918"/>
                  <a:gd name="connsiteX9" fmla="*/ 54986 w 159007"/>
                  <a:gd name="connsiteY9" fmla="*/ 52092 h 104918"/>
                  <a:gd name="connsiteX10" fmla="*/ 125422 w 159007"/>
                  <a:gd name="connsiteY10" fmla="*/ 60897 h 104918"/>
                  <a:gd name="connsiteX11" fmla="*/ 157704 w 159007"/>
                  <a:gd name="connsiteY11" fmla="*/ 93180 h 104918"/>
                  <a:gd name="connsiteX12" fmla="*/ 157704 w 159007"/>
                  <a:gd name="connsiteY12" fmla="*/ 101984 h 104918"/>
                  <a:gd name="connsiteX13" fmla="*/ 154770 w 159007"/>
                  <a:gd name="connsiteY13" fmla="*/ 104919 h 104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9007" h="104918">
                    <a:moveTo>
                      <a:pt x="154770" y="104919"/>
                    </a:moveTo>
                    <a:cubicBezTo>
                      <a:pt x="151834" y="104919"/>
                      <a:pt x="151834" y="104919"/>
                      <a:pt x="148900" y="101984"/>
                    </a:cubicBezTo>
                    <a:cubicBezTo>
                      <a:pt x="143030" y="96114"/>
                      <a:pt x="128356" y="75571"/>
                      <a:pt x="119552" y="72636"/>
                    </a:cubicBezTo>
                    <a:cubicBezTo>
                      <a:pt x="113682" y="69701"/>
                      <a:pt x="75530" y="66766"/>
                      <a:pt x="52052" y="63832"/>
                    </a:cubicBezTo>
                    <a:cubicBezTo>
                      <a:pt x="49116" y="63832"/>
                      <a:pt x="22704" y="57962"/>
                      <a:pt x="8030" y="40353"/>
                    </a:cubicBezTo>
                    <a:cubicBezTo>
                      <a:pt x="-6643" y="22745"/>
                      <a:pt x="2161" y="8071"/>
                      <a:pt x="8030" y="2201"/>
                    </a:cubicBezTo>
                    <a:cubicBezTo>
                      <a:pt x="10965" y="-734"/>
                      <a:pt x="13899" y="-734"/>
                      <a:pt x="16834" y="2201"/>
                    </a:cubicBezTo>
                    <a:cubicBezTo>
                      <a:pt x="19769" y="5136"/>
                      <a:pt x="19769" y="8071"/>
                      <a:pt x="16834" y="11006"/>
                    </a:cubicBezTo>
                    <a:cubicBezTo>
                      <a:pt x="13899" y="13940"/>
                      <a:pt x="8030" y="19810"/>
                      <a:pt x="16834" y="31549"/>
                    </a:cubicBezTo>
                    <a:cubicBezTo>
                      <a:pt x="28573" y="46223"/>
                      <a:pt x="54986" y="52092"/>
                      <a:pt x="54986" y="52092"/>
                    </a:cubicBezTo>
                    <a:cubicBezTo>
                      <a:pt x="63790" y="52092"/>
                      <a:pt x="113682" y="55027"/>
                      <a:pt x="125422" y="60897"/>
                    </a:cubicBezTo>
                    <a:cubicBezTo>
                      <a:pt x="137160" y="66766"/>
                      <a:pt x="154770" y="90245"/>
                      <a:pt x="157704" y="93180"/>
                    </a:cubicBezTo>
                    <a:cubicBezTo>
                      <a:pt x="160638" y="96114"/>
                      <a:pt x="157704" y="99049"/>
                      <a:pt x="157704" y="101984"/>
                    </a:cubicBezTo>
                    <a:cubicBezTo>
                      <a:pt x="157704" y="104919"/>
                      <a:pt x="157704" y="104919"/>
                      <a:pt x="154770" y="104919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A807A9A5-2ECC-4F61-9C8B-CA7120F27C42}"/>
                </a:ext>
              </a:extLst>
            </p:cNvPr>
            <p:cNvGrpSpPr/>
            <p:nvPr/>
          </p:nvGrpSpPr>
          <p:grpSpPr>
            <a:xfrm>
              <a:off x="19425165" y="8787913"/>
              <a:ext cx="360157" cy="305073"/>
              <a:chOff x="19425165" y="8787913"/>
              <a:chExt cx="360157" cy="305073"/>
            </a:xfrm>
          </p:grpSpPr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68FBD90B-E9D0-4775-910B-7B6245B65157}"/>
                  </a:ext>
                </a:extLst>
              </p:cNvPr>
              <p:cNvSpPr/>
              <p:nvPr/>
            </p:nvSpPr>
            <p:spPr>
              <a:xfrm>
                <a:off x="19425165" y="8788866"/>
                <a:ext cx="360157" cy="304121"/>
              </a:xfrm>
              <a:custGeom>
                <a:avLst/>
                <a:gdLst>
                  <a:gd name="connsiteX0" fmla="*/ 102965 w 360157"/>
                  <a:gd name="connsiteY0" fmla="*/ 294925 h 304121"/>
                  <a:gd name="connsiteX1" fmla="*/ 185138 w 360157"/>
                  <a:gd name="connsiteY1" fmla="*/ 247969 h 304121"/>
                  <a:gd name="connsiteX2" fmla="*/ 273182 w 360157"/>
                  <a:gd name="connsiteY2" fmla="*/ 209816 h 304121"/>
                  <a:gd name="connsiteX3" fmla="*/ 317203 w 360157"/>
                  <a:gd name="connsiteY3" fmla="*/ 177534 h 304121"/>
                  <a:gd name="connsiteX4" fmla="*/ 252638 w 360157"/>
                  <a:gd name="connsiteY4" fmla="*/ 171664 h 304121"/>
                  <a:gd name="connsiteX5" fmla="*/ 299594 w 360157"/>
                  <a:gd name="connsiteY5" fmla="*/ 145251 h 304121"/>
                  <a:gd name="connsiteX6" fmla="*/ 352421 w 360157"/>
                  <a:gd name="connsiteY6" fmla="*/ 92425 h 304121"/>
                  <a:gd name="connsiteX7" fmla="*/ 343615 w 360157"/>
                  <a:gd name="connsiteY7" fmla="*/ 80686 h 304121"/>
                  <a:gd name="connsiteX8" fmla="*/ 358289 w 360157"/>
                  <a:gd name="connsiteY8" fmla="*/ 51338 h 304121"/>
                  <a:gd name="connsiteX9" fmla="*/ 293726 w 360157"/>
                  <a:gd name="connsiteY9" fmla="*/ 42534 h 304121"/>
                  <a:gd name="connsiteX10" fmla="*/ 235030 w 360157"/>
                  <a:gd name="connsiteY10" fmla="*/ 60142 h 304121"/>
                  <a:gd name="connsiteX11" fmla="*/ 267312 w 360157"/>
                  <a:gd name="connsiteY11" fmla="*/ 30794 h 304121"/>
                  <a:gd name="connsiteX12" fmla="*/ 276116 w 360157"/>
                  <a:gd name="connsiteY12" fmla="*/ 10251 h 304121"/>
                  <a:gd name="connsiteX13" fmla="*/ 202746 w 360157"/>
                  <a:gd name="connsiteY13" fmla="*/ 21990 h 304121"/>
                  <a:gd name="connsiteX14" fmla="*/ 247 w 360157"/>
                  <a:gd name="connsiteY14" fmla="*/ 177534 h 304121"/>
                  <a:gd name="connsiteX15" fmla="*/ 56007 w 360157"/>
                  <a:gd name="connsiteY15" fmla="*/ 289055 h 304121"/>
                  <a:gd name="connsiteX16" fmla="*/ 102965 w 360157"/>
                  <a:gd name="connsiteY16" fmla="*/ 294925 h 30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60157" h="304121">
                    <a:moveTo>
                      <a:pt x="102965" y="294925"/>
                    </a:moveTo>
                    <a:cubicBezTo>
                      <a:pt x="129377" y="280251"/>
                      <a:pt x="155790" y="262642"/>
                      <a:pt x="185138" y="247969"/>
                    </a:cubicBezTo>
                    <a:cubicBezTo>
                      <a:pt x="214486" y="233295"/>
                      <a:pt x="243834" y="224490"/>
                      <a:pt x="273182" y="209816"/>
                    </a:cubicBezTo>
                    <a:cubicBezTo>
                      <a:pt x="284920" y="203947"/>
                      <a:pt x="314268" y="192207"/>
                      <a:pt x="317203" y="177534"/>
                    </a:cubicBezTo>
                    <a:cubicBezTo>
                      <a:pt x="320138" y="156990"/>
                      <a:pt x="284920" y="162860"/>
                      <a:pt x="252638" y="171664"/>
                    </a:cubicBezTo>
                    <a:cubicBezTo>
                      <a:pt x="267312" y="162860"/>
                      <a:pt x="284920" y="154056"/>
                      <a:pt x="299594" y="145251"/>
                    </a:cubicBezTo>
                    <a:cubicBezTo>
                      <a:pt x="314268" y="136447"/>
                      <a:pt x="352421" y="112968"/>
                      <a:pt x="352421" y="92425"/>
                    </a:cubicBezTo>
                    <a:cubicBezTo>
                      <a:pt x="352421" y="83621"/>
                      <a:pt x="349485" y="80686"/>
                      <a:pt x="343615" y="80686"/>
                    </a:cubicBezTo>
                    <a:cubicBezTo>
                      <a:pt x="355355" y="71882"/>
                      <a:pt x="364159" y="60142"/>
                      <a:pt x="358289" y="51338"/>
                    </a:cubicBezTo>
                    <a:cubicBezTo>
                      <a:pt x="346551" y="33729"/>
                      <a:pt x="308400" y="39599"/>
                      <a:pt x="293726" y="42534"/>
                    </a:cubicBezTo>
                    <a:cubicBezTo>
                      <a:pt x="273182" y="45468"/>
                      <a:pt x="255572" y="54273"/>
                      <a:pt x="235030" y="60142"/>
                    </a:cubicBezTo>
                    <a:cubicBezTo>
                      <a:pt x="246768" y="51338"/>
                      <a:pt x="258508" y="42534"/>
                      <a:pt x="267312" y="30794"/>
                    </a:cubicBezTo>
                    <a:cubicBezTo>
                      <a:pt x="273182" y="24925"/>
                      <a:pt x="279052" y="19055"/>
                      <a:pt x="276116" y="10251"/>
                    </a:cubicBezTo>
                    <a:cubicBezTo>
                      <a:pt x="267312" y="-16162"/>
                      <a:pt x="214486" y="16120"/>
                      <a:pt x="202746" y="21990"/>
                    </a:cubicBezTo>
                    <a:cubicBezTo>
                      <a:pt x="129377" y="63077"/>
                      <a:pt x="67747" y="124708"/>
                      <a:pt x="247" y="177534"/>
                    </a:cubicBezTo>
                    <a:cubicBezTo>
                      <a:pt x="-2689" y="174599"/>
                      <a:pt x="20789" y="265577"/>
                      <a:pt x="56007" y="289055"/>
                    </a:cubicBezTo>
                    <a:cubicBezTo>
                      <a:pt x="76551" y="309599"/>
                      <a:pt x="82421" y="306664"/>
                      <a:pt x="102965" y="294925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1DA78A6B-5B0D-41EF-9D91-71A32E3DEAF2}"/>
                  </a:ext>
                </a:extLst>
              </p:cNvPr>
              <p:cNvSpPr/>
              <p:nvPr/>
            </p:nvSpPr>
            <p:spPr>
              <a:xfrm>
                <a:off x="19537667" y="8787913"/>
                <a:ext cx="166699" cy="113920"/>
              </a:xfrm>
              <a:custGeom>
                <a:avLst/>
                <a:gdLst>
                  <a:gd name="connsiteX0" fmla="*/ 55026 w 166699"/>
                  <a:gd name="connsiteY0" fmla="*/ 113921 h 113920"/>
                  <a:gd name="connsiteX1" fmla="*/ 55026 w 166699"/>
                  <a:gd name="connsiteY1" fmla="*/ 113921 h 113920"/>
                  <a:gd name="connsiteX2" fmla="*/ 49158 w 166699"/>
                  <a:gd name="connsiteY2" fmla="*/ 105116 h 113920"/>
                  <a:gd name="connsiteX3" fmla="*/ 119592 w 166699"/>
                  <a:gd name="connsiteY3" fmla="*/ 58160 h 113920"/>
                  <a:gd name="connsiteX4" fmla="*/ 157744 w 166699"/>
                  <a:gd name="connsiteY4" fmla="*/ 14138 h 113920"/>
                  <a:gd name="connsiteX5" fmla="*/ 154810 w 166699"/>
                  <a:gd name="connsiteY5" fmla="*/ 11203 h 113920"/>
                  <a:gd name="connsiteX6" fmla="*/ 11005 w 166699"/>
                  <a:gd name="connsiteY6" fmla="*/ 87508 h 113920"/>
                  <a:gd name="connsiteX7" fmla="*/ 2201 w 166699"/>
                  <a:gd name="connsiteY7" fmla="*/ 87508 h 113920"/>
                  <a:gd name="connsiteX8" fmla="*/ 2201 w 166699"/>
                  <a:gd name="connsiteY8" fmla="*/ 78703 h 113920"/>
                  <a:gd name="connsiteX9" fmla="*/ 157744 w 166699"/>
                  <a:gd name="connsiteY9" fmla="*/ 2399 h 113920"/>
                  <a:gd name="connsiteX10" fmla="*/ 166549 w 166699"/>
                  <a:gd name="connsiteY10" fmla="*/ 14138 h 113920"/>
                  <a:gd name="connsiteX11" fmla="*/ 122528 w 166699"/>
                  <a:gd name="connsiteY11" fmla="*/ 69899 h 113920"/>
                  <a:gd name="connsiteX12" fmla="*/ 57962 w 166699"/>
                  <a:gd name="connsiteY12" fmla="*/ 110986 h 113920"/>
                  <a:gd name="connsiteX13" fmla="*/ 55026 w 166699"/>
                  <a:gd name="connsiteY13" fmla="*/ 113921 h 113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6699" h="113920">
                    <a:moveTo>
                      <a:pt x="55026" y="113921"/>
                    </a:moveTo>
                    <a:cubicBezTo>
                      <a:pt x="55026" y="113921"/>
                      <a:pt x="52092" y="113921"/>
                      <a:pt x="55026" y="113921"/>
                    </a:cubicBezTo>
                    <a:cubicBezTo>
                      <a:pt x="49158" y="110986"/>
                      <a:pt x="49158" y="108051"/>
                      <a:pt x="49158" y="105116"/>
                    </a:cubicBezTo>
                    <a:cubicBezTo>
                      <a:pt x="55026" y="93377"/>
                      <a:pt x="104918" y="66964"/>
                      <a:pt x="119592" y="58160"/>
                    </a:cubicBezTo>
                    <a:cubicBezTo>
                      <a:pt x="128396" y="52291"/>
                      <a:pt x="157744" y="31747"/>
                      <a:pt x="157744" y="14138"/>
                    </a:cubicBezTo>
                    <a:cubicBezTo>
                      <a:pt x="157744" y="14138"/>
                      <a:pt x="157744" y="11203"/>
                      <a:pt x="154810" y="11203"/>
                    </a:cubicBezTo>
                    <a:cubicBezTo>
                      <a:pt x="140136" y="5334"/>
                      <a:pt x="84374" y="25877"/>
                      <a:pt x="11005" y="87508"/>
                    </a:cubicBezTo>
                    <a:cubicBezTo>
                      <a:pt x="8070" y="90442"/>
                      <a:pt x="5136" y="90442"/>
                      <a:pt x="2201" y="87508"/>
                    </a:cubicBezTo>
                    <a:cubicBezTo>
                      <a:pt x="-734" y="84573"/>
                      <a:pt x="-734" y="81638"/>
                      <a:pt x="2201" y="78703"/>
                    </a:cubicBezTo>
                    <a:cubicBezTo>
                      <a:pt x="66766" y="22943"/>
                      <a:pt x="131332" y="-9340"/>
                      <a:pt x="157744" y="2399"/>
                    </a:cubicBezTo>
                    <a:cubicBezTo>
                      <a:pt x="163614" y="5334"/>
                      <a:pt x="166549" y="8269"/>
                      <a:pt x="166549" y="14138"/>
                    </a:cubicBezTo>
                    <a:cubicBezTo>
                      <a:pt x="169484" y="40551"/>
                      <a:pt x="128396" y="66964"/>
                      <a:pt x="122528" y="69899"/>
                    </a:cubicBezTo>
                    <a:cubicBezTo>
                      <a:pt x="93180" y="84573"/>
                      <a:pt x="60896" y="105116"/>
                      <a:pt x="57962" y="110986"/>
                    </a:cubicBezTo>
                    <a:cubicBezTo>
                      <a:pt x="57962" y="113921"/>
                      <a:pt x="57962" y="113921"/>
                      <a:pt x="55026" y="113921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E285F024-D45C-42E2-8133-D362FE72FF04}"/>
                  </a:ext>
                </a:extLst>
              </p:cNvPr>
              <p:cNvSpPr/>
              <p:nvPr/>
            </p:nvSpPr>
            <p:spPr>
              <a:xfrm>
                <a:off x="19616907" y="8866617"/>
                <a:ext cx="157743" cy="70434"/>
              </a:xfrm>
              <a:custGeom>
                <a:avLst/>
                <a:gdLst>
                  <a:gd name="connsiteX0" fmla="*/ 5135 w 157743"/>
                  <a:gd name="connsiteY0" fmla="*/ 70435 h 70434"/>
                  <a:gd name="connsiteX1" fmla="*/ 2201 w 157743"/>
                  <a:gd name="connsiteY1" fmla="*/ 67500 h 70434"/>
                  <a:gd name="connsiteX2" fmla="*/ 2201 w 157743"/>
                  <a:gd name="connsiteY2" fmla="*/ 58696 h 70434"/>
                  <a:gd name="connsiteX3" fmla="*/ 151874 w 157743"/>
                  <a:gd name="connsiteY3" fmla="*/ 0 h 70434"/>
                  <a:gd name="connsiteX4" fmla="*/ 157744 w 157743"/>
                  <a:gd name="connsiteY4" fmla="*/ 2935 h 70434"/>
                  <a:gd name="connsiteX5" fmla="*/ 154810 w 157743"/>
                  <a:gd name="connsiteY5" fmla="*/ 8804 h 70434"/>
                  <a:gd name="connsiteX6" fmla="*/ 11005 w 157743"/>
                  <a:gd name="connsiteY6" fmla="*/ 67500 h 70434"/>
                  <a:gd name="connsiteX7" fmla="*/ 5135 w 157743"/>
                  <a:gd name="connsiteY7" fmla="*/ 70435 h 70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743" h="70434">
                    <a:moveTo>
                      <a:pt x="5135" y="70435"/>
                    </a:moveTo>
                    <a:cubicBezTo>
                      <a:pt x="5135" y="70435"/>
                      <a:pt x="2201" y="70435"/>
                      <a:pt x="2201" y="67500"/>
                    </a:cubicBezTo>
                    <a:cubicBezTo>
                      <a:pt x="-734" y="64565"/>
                      <a:pt x="-734" y="61631"/>
                      <a:pt x="2201" y="58696"/>
                    </a:cubicBezTo>
                    <a:cubicBezTo>
                      <a:pt x="28614" y="35217"/>
                      <a:pt x="146006" y="0"/>
                      <a:pt x="151874" y="0"/>
                    </a:cubicBezTo>
                    <a:cubicBezTo>
                      <a:pt x="154810" y="0"/>
                      <a:pt x="157744" y="0"/>
                      <a:pt x="157744" y="2935"/>
                    </a:cubicBezTo>
                    <a:cubicBezTo>
                      <a:pt x="157744" y="5869"/>
                      <a:pt x="157744" y="8804"/>
                      <a:pt x="154810" y="8804"/>
                    </a:cubicBezTo>
                    <a:cubicBezTo>
                      <a:pt x="154810" y="8804"/>
                      <a:pt x="34482" y="44022"/>
                      <a:pt x="11005" y="67500"/>
                    </a:cubicBezTo>
                    <a:cubicBezTo>
                      <a:pt x="8070" y="70435"/>
                      <a:pt x="5135" y="70435"/>
                      <a:pt x="5135" y="70435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CEC313D3-22CF-438D-BB71-1D6106BBAB6E}"/>
                  </a:ext>
                </a:extLst>
              </p:cNvPr>
              <p:cNvSpPr/>
              <p:nvPr/>
            </p:nvSpPr>
            <p:spPr>
              <a:xfrm>
                <a:off x="19627911" y="8957595"/>
                <a:ext cx="58695" cy="38151"/>
              </a:xfrm>
              <a:custGeom>
                <a:avLst/>
                <a:gdLst>
                  <a:gd name="connsiteX0" fmla="*/ 5870 w 58695"/>
                  <a:gd name="connsiteY0" fmla="*/ 38152 h 38151"/>
                  <a:gd name="connsiteX1" fmla="*/ 0 w 58695"/>
                  <a:gd name="connsiteY1" fmla="*/ 35217 h 38151"/>
                  <a:gd name="connsiteX2" fmla="*/ 2936 w 58695"/>
                  <a:gd name="connsiteY2" fmla="*/ 26413 h 38151"/>
                  <a:gd name="connsiteX3" fmla="*/ 49892 w 58695"/>
                  <a:gd name="connsiteY3" fmla="*/ 0 h 38151"/>
                  <a:gd name="connsiteX4" fmla="*/ 58696 w 58695"/>
                  <a:gd name="connsiteY4" fmla="*/ 2935 h 38151"/>
                  <a:gd name="connsiteX5" fmla="*/ 55762 w 58695"/>
                  <a:gd name="connsiteY5" fmla="*/ 11739 h 38151"/>
                  <a:gd name="connsiteX6" fmla="*/ 5870 w 58695"/>
                  <a:gd name="connsiteY6" fmla="*/ 38152 h 38151"/>
                  <a:gd name="connsiteX7" fmla="*/ 5870 w 58695"/>
                  <a:gd name="connsiteY7" fmla="*/ 38152 h 38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8695" h="38151">
                    <a:moveTo>
                      <a:pt x="5870" y="38152"/>
                    </a:moveTo>
                    <a:cubicBezTo>
                      <a:pt x="2936" y="38152"/>
                      <a:pt x="2936" y="38152"/>
                      <a:pt x="0" y="35217"/>
                    </a:cubicBezTo>
                    <a:cubicBezTo>
                      <a:pt x="0" y="32282"/>
                      <a:pt x="0" y="29348"/>
                      <a:pt x="2936" y="26413"/>
                    </a:cubicBezTo>
                    <a:lnTo>
                      <a:pt x="49892" y="0"/>
                    </a:lnTo>
                    <a:cubicBezTo>
                      <a:pt x="52826" y="0"/>
                      <a:pt x="55762" y="0"/>
                      <a:pt x="58696" y="2935"/>
                    </a:cubicBezTo>
                    <a:cubicBezTo>
                      <a:pt x="58696" y="5869"/>
                      <a:pt x="58696" y="8804"/>
                      <a:pt x="55762" y="11739"/>
                    </a:cubicBezTo>
                    <a:lnTo>
                      <a:pt x="5870" y="38152"/>
                    </a:lnTo>
                    <a:cubicBezTo>
                      <a:pt x="5870" y="38152"/>
                      <a:pt x="5870" y="38152"/>
                      <a:pt x="5870" y="38152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0487D7B8-CAAB-43A0-9002-094B8ABDAD37}"/>
                  </a:ext>
                </a:extLst>
              </p:cNvPr>
              <p:cNvSpPr/>
              <p:nvPr/>
            </p:nvSpPr>
            <p:spPr>
              <a:xfrm>
                <a:off x="19533998" y="8919443"/>
                <a:ext cx="62846" cy="96847"/>
              </a:xfrm>
              <a:custGeom>
                <a:avLst/>
                <a:gdLst>
                  <a:gd name="connsiteX0" fmla="*/ 58696 w 62846"/>
                  <a:gd name="connsiteY0" fmla="*/ 96848 h 96847"/>
                  <a:gd name="connsiteX1" fmla="*/ 52828 w 62846"/>
                  <a:gd name="connsiteY1" fmla="*/ 90978 h 96847"/>
                  <a:gd name="connsiteX2" fmla="*/ 2936 w 62846"/>
                  <a:gd name="connsiteY2" fmla="*/ 11739 h 96847"/>
                  <a:gd name="connsiteX3" fmla="*/ 0 w 62846"/>
                  <a:gd name="connsiteY3" fmla="*/ 2935 h 96847"/>
                  <a:gd name="connsiteX4" fmla="*/ 8806 w 62846"/>
                  <a:gd name="connsiteY4" fmla="*/ 0 h 96847"/>
                  <a:gd name="connsiteX5" fmla="*/ 61632 w 62846"/>
                  <a:gd name="connsiteY5" fmla="*/ 85109 h 96847"/>
                  <a:gd name="connsiteX6" fmla="*/ 58696 w 62846"/>
                  <a:gd name="connsiteY6" fmla="*/ 96848 h 96847"/>
                  <a:gd name="connsiteX7" fmla="*/ 58696 w 62846"/>
                  <a:gd name="connsiteY7" fmla="*/ 96848 h 96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46" h="96847">
                    <a:moveTo>
                      <a:pt x="58696" y="96848"/>
                    </a:moveTo>
                    <a:cubicBezTo>
                      <a:pt x="55762" y="96848"/>
                      <a:pt x="52828" y="93913"/>
                      <a:pt x="52828" y="90978"/>
                    </a:cubicBezTo>
                    <a:cubicBezTo>
                      <a:pt x="46958" y="41087"/>
                      <a:pt x="5870" y="11739"/>
                      <a:pt x="2936" y="11739"/>
                    </a:cubicBezTo>
                    <a:cubicBezTo>
                      <a:pt x="0" y="8804"/>
                      <a:pt x="0" y="5869"/>
                      <a:pt x="0" y="2935"/>
                    </a:cubicBezTo>
                    <a:cubicBezTo>
                      <a:pt x="2936" y="0"/>
                      <a:pt x="5870" y="0"/>
                      <a:pt x="8806" y="0"/>
                    </a:cubicBezTo>
                    <a:cubicBezTo>
                      <a:pt x="11740" y="0"/>
                      <a:pt x="52828" y="29348"/>
                      <a:pt x="61632" y="85109"/>
                    </a:cubicBezTo>
                    <a:cubicBezTo>
                      <a:pt x="64566" y="93913"/>
                      <a:pt x="61632" y="96848"/>
                      <a:pt x="58696" y="96848"/>
                    </a:cubicBezTo>
                    <a:cubicBezTo>
                      <a:pt x="58696" y="96848"/>
                      <a:pt x="58696" y="96848"/>
                      <a:pt x="58696" y="96848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6572832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5F3CC0F2-4150-4D7E-8918-99535F753F59}"/>
              </a:ext>
            </a:extLst>
          </p:cNvPr>
          <p:cNvGrpSpPr/>
          <p:nvPr/>
        </p:nvGrpSpPr>
        <p:grpSpPr>
          <a:xfrm>
            <a:off x="6620911" y="2317720"/>
            <a:ext cx="2576739" cy="4393494"/>
            <a:chOff x="8830846" y="2279620"/>
            <a:chExt cx="2576739" cy="4393494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FDBD4998-E2AE-4202-BB71-8E38469128CD}"/>
                </a:ext>
              </a:extLst>
            </p:cNvPr>
            <p:cNvSpPr/>
            <p:nvPr/>
          </p:nvSpPr>
          <p:spPr>
            <a:xfrm>
              <a:off x="9982015" y="2380546"/>
              <a:ext cx="457621" cy="771766"/>
            </a:xfrm>
            <a:custGeom>
              <a:avLst/>
              <a:gdLst>
                <a:gd name="connsiteX0" fmla="*/ 8071 w 457621"/>
                <a:gd name="connsiteY0" fmla="*/ 733897 h 771766"/>
                <a:gd name="connsiteX1" fmla="*/ 225244 w 457621"/>
                <a:gd name="connsiteY1" fmla="*/ 745636 h 771766"/>
                <a:gd name="connsiteX2" fmla="*/ 307419 w 457621"/>
                <a:gd name="connsiteY2" fmla="*/ 546071 h 771766"/>
                <a:gd name="connsiteX3" fmla="*/ 389592 w 457621"/>
                <a:gd name="connsiteY3" fmla="*/ 587158 h 771766"/>
                <a:gd name="connsiteX4" fmla="*/ 342636 w 457621"/>
                <a:gd name="connsiteY4" fmla="*/ 331832 h 771766"/>
                <a:gd name="connsiteX5" fmla="*/ 389592 w 457621"/>
                <a:gd name="connsiteY5" fmla="*/ 193897 h 771766"/>
                <a:gd name="connsiteX6" fmla="*/ 416005 w 457621"/>
                <a:gd name="connsiteY6" fmla="*/ 117593 h 771766"/>
                <a:gd name="connsiteX7" fmla="*/ 451223 w 457621"/>
                <a:gd name="connsiteY7" fmla="*/ 99984 h 771766"/>
                <a:gd name="connsiteX8" fmla="*/ 445353 w 457621"/>
                <a:gd name="connsiteY8" fmla="*/ 73571 h 771766"/>
                <a:gd name="connsiteX9" fmla="*/ 307419 w 457621"/>
                <a:gd name="connsiteY9" fmla="*/ 202 h 771766"/>
                <a:gd name="connsiteX10" fmla="*/ 245788 w 457621"/>
                <a:gd name="connsiteY10" fmla="*/ 23680 h 771766"/>
                <a:gd name="connsiteX11" fmla="*/ 225244 w 457621"/>
                <a:gd name="connsiteY11" fmla="*/ 50093 h 771766"/>
                <a:gd name="connsiteX12" fmla="*/ 187093 w 457621"/>
                <a:gd name="connsiteY12" fmla="*/ 176288 h 771766"/>
                <a:gd name="connsiteX13" fmla="*/ 78505 w 457621"/>
                <a:gd name="connsiteY13" fmla="*/ 237919 h 771766"/>
                <a:gd name="connsiteX14" fmla="*/ 84375 w 457621"/>
                <a:gd name="connsiteY14" fmla="*/ 252593 h 771766"/>
                <a:gd name="connsiteX15" fmla="*/ 66766 w 457621"/>
                <a:gd name="connsiteY15" fmla="*/ 337702 h 771766"/>
                <a:gd name="connsiteX16" fmla="*/ 46223 w 457621"/>
                <a:gd name="connsiteY16" fmla="*/ 458028 h 771766"/>
                <a:gd name="connsiteX17" fmla="*/ 22744 w 457621"/>
                <a:gd name="connsiteY17" fmla="*/ 575419 h 771766"/>
                <a:gd name="connsiteX18" fmla="*/ 16875 w 457621"/>
                <a:gd name="connsiteY18" fmla="*/ 663462 h 771766"/>
                <a:gd name="connsiteX19" fmla="*/ 5136 w 457621"/>
                <a:gd name="connsiteY19" fmla="*/ 689875 h 771766"/>
                <a:gd name="connsiteX20" fmla="*/ 8071 w 457621"/>
                <a:gd name="connsiteY20" fmla="*/ 733897 h 77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57621" h="771766">
                  <a:moveTo>
                    <a:pt x="8071" y="733897"/>
                  </a:moveTo>
                  <a:cubicBezTo>
                    <a:pt x="43288" y="792593"/>
                    <a:pt x="175354" y="772049"/>
                    <a:pt x="225244" y="745636"/>
                  </a:cubicBezTo>
                  <a:cubicBezTo>
                    <a:pt x="313288" y="701615"/>
                    <a:pt x="327962" y="622375"/>
                    <a:pt x="307419" y="546071"/>
                  </a:cubicBezTo>
                  <a:cubicBezTo>
                    <a:pt x="392527" y="616506"/>
                    <a:pt x="380788" y="637049"/>
                    <a:pt x="389592" y="587158"/>
                  </a:cubicBezTo>
                  <a:cubicBezTo>
                    <a:pt x="398397" y="546071"/>
                    <a:pt x="336767" y="381723"/>
                    <a:pt x="342636" y="331832"/>
                  </a:cubicBezTo>
                  <a:cubicBezTo>
                    <a:pt x="351441" y="281941"/>
                    <a:pt x="366114" y="237919"/>
                    <a:pt x="389592" y="193897"/>
                  </a:cubicBezTo>
                  <a:cubicBezTo>
                    <a:pt x="398397" y="173354"/>
                    <a:pt x="407201" y="144006"/>
                    <a:pt x="416005" y="117593"/>
                  </a:cubicBezTo>
                  <a:cubicBezTo>
                    <a:pt x="427745" y="111723"/>
                    <a:pt x="439484" y="105854"/>
                    <a:pt x="451223" y="99984"/>
                  </a:cubicBezTo>
                  <a:cubicBezTo>
                    <a:pt x="462962" y="91180"/>
                    <a:pt x="457093" y="76506"/>
                    <a:pt x="445353" y="73571"/>
                  </a:cubicBezTo>
                  <a:cubicBezTo>
                    <a:pt x="427745" y="26615"/>
                    <a:pt x="363179" y="-2733"/>
                    <a:pt x="307419" y="202"/>
                  </a:cubicBezTo>
                  <a:cubicBezTo>
                    <a:pt x="292745" y="202"/>
                    <a:pt x="266332" y="9006"/>
                    <a:pt x="245788" y="23680"/>
                  </a:cubicBezTo>
                  <a:cubicBezTo>
                    <a:pt x="236984" y="29549"/>
                    <a:pt x="231114" y="38354"/>
                    <a:pt x="225244" y="50093"/>
                  </a:cubicBezTo>
                  <a:cubicBezTo>
                    <a:pt x="166549" y="44223"/>
                    <a:pt x="181223" y="117593"/>
                    <a:pt x="187093" y="176288"/>
                  </a:cubicBezTo>
                  <a:cubicBezTo>
                    <a:pt x="143071" y="176288"/>
                    <a:pt x="66766" y="193897"/>
                    <a:pt x="78505" y="237919"/>
                  </a:cubicBezTo>
                  <a:cubicBezTo>
                    <a:pt x="81440" y="246723"/>
                    <a:pt x="81440" y="249658"/>
                    <a:pt x="84375" y="252593"/>
                  </a:cubicBezTo>
                  <a:cubicBezTo>
                    <a:pt x="60897" y="276071"/>
                    <a:pt x="52092" y="308354"/>
                    <a:pt x="66766" y="337702"/>
                  </a:cubicBezTo>
                  <a:cubicBezTo>
                    <a:pt x="25679" y="358245"/>
                    <a:pt x="22744" y="419875"/>
                    <a:pt x="46223" y="458028"/>
                  </a:cubicBezTo>
                  <a:cubicBezTo>
                    <a:pt x="5136" y="484441"/>
                    <a:pt x="5136" y="531397"/>
                    <a:pt x="22744" y="575419"/>
                  </a:cubicBezTo>
                  <a:cubicBezTo>
                    <a:pt x="-9538" y="595962"/>
                    <a:pt x="-3668" y="634115"/>
                    <a:pt x="16875" y="663462"/>
                  </a:cubicBezTo>
                  <a:cubicBezTo>
                    <a:pt x="8071" y="672267"/>
                    <a:pt x="5136" y="681071"/>
                    <a:pt x="5136" y="689875"/>
                  </a:cubicBezTo>
                  <a:cubicBezTo>
                    <a:pt x="-733" y="698680"/>
                    <a:pt x="-3668" y="713354"/>
                    <a:pt x="8071" y="733897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63D0E168-2664-4E1F-9EF4-0F387D91EC75}"/>
                </a:ext>
              </a:extLst>
            </p:cNvPr>
            <p:cNvSpPr/>
            <p:nvPr/>
          </p:nvSpPr>
          <p:spPr>
            <a:xfrm>
              <a:off x="10330105" y="2382205"/>
              <a:ext cx="580634" cy="928088"/>
            </a:xfrm>
            <a:custGeom>
              <a:avLst/>
              <a:gdLst>
                <a:gd name="connsiteX0" fmla="*/ 44437 w 580634"/>
                <a:gd name="connsiteY0" fmla="*/ 253868 h 928088"/>
                <a:gd name="connsiteX1" fmla="*/ 64981 w 580634"/>
                <a:gd name="connsiteY1" fmla="*/ 86586 h 928088"/>
                <a:gd name="connsiteX2" fmla="*/ 62046 w 580634"/>
                <a:gd name="connsiteY2" fmla="*/ 71912 h 928088"/>
                <a:gd name="connsiteX3" fmla="*/ 220524 w 580634"/>
                <a:gd name="connsiteY3" fmla="*/ 51368 h 928088"/>
                <a:gd name="connsiteX4" fmla="*/ 308567 w 580634"/>
                <a:gd name="connsiteY4" fmla="*/ 95390 h 928088"/>
                <a:gd name="connsiteX5" fmla="*/ 340850 w 580634"/>
                <a:gd name="connsiteY5" fmla="*/ 189303 h 928088"/>
                <a:gd name="connsiteX6" fmla="*/ 420089 w 580634"/>
                <a:gd name="connsiteY6" fmla="*/ 274412 h 928088"/>
                <a:gd name="connsiteX7" fmla="*/ 411285 w 580634"/>
                <a:gd name="connsiteY7" fmla="*/ 324303 h 928088"/>
                <a:gd name="connsiteX8" fmla="*/ 452371 w 580634"/>
                <a:gd name="connsiteY8" fmla="*/ 388868 h 928088"/>
                <a:gd name="connsiteX9" fmla="*/ 446502 w 580634"/>
                <a:gd name="connsiteY9" fmla="*/ 429955 h 928088"/>
                <a:gd name="connsiteX10" fmla="*/ 525741 w 580634"/>
                <a:gd name="connsiteY10" fmla="*/ 503325 h 928088"/>
                <a:gd name="connsiteX11" fmla="*/ 499328 w 580634"/>
                <a:gd name="connsiteY11" fmla="*/ 570825 h 928088"/>
                <a:gd name="connsiteX12" fmla="*/ 540415 w 580634"/>
                <a:gd name="connsiteY12" fmla="*/ 735173 h 928088"/>
                <a:gd name="connsiteX13" fmla="*/ 563894 w 580634"/>
                <a:gd name="connsiteY13" fmla="*/ 855499 h 928088"/>
                <a:gd name="connsiteX14" fmla="*/ 493458 w 580634"/>
                <a:gd name="connsiteY14" fmla="*/ 858434 h 928088"/>
                <a:gd name="connsiteX15" fmla="*/ 390741 w 580634"/>
                <a:gd name="connsiteY15" fmla="*/ 925934 h 928088"/>
                <a:gd name="connsiteX16" fmla="*/ 326176 w 580634"/>
                <a:gd name="connsiteY16" fmla="*/ 799738 h 928088"/>
                <a:gd name="connsiteX17" fmla="*/ 290958 w 580634"/>
                <a:gd name="connsiteY17" fmla="*/ 767455 h 928088"/>
                <a:gd name="connsiteX18" fmla="*/ 255741 w 580634"/>
                <a:gd name="connsiteY18" fmla="*/ 752781 h 928088"/>
                <a:gd name="connsiteX19" fmla="*/ 97262 w 580634"/>
                <a:gd name="connsiteY19" fmla="*/ 691151 h 928088"/>
                <a:gd name="connsiteX20" fmla="*/ 29763 w 580634"/>
                <a:gd name="connsiteY20" fmla="*/ 638325 h 928088"/>
                <a:gd name="connsiteX21" fmla="*/ 47372 w 580634"/>
                <a:gd name="connsiteY21" fmla="*/ 471042 h 928088"/>
                <a:gd name="connsiteX22" fmla="*/ 44437 w 580634"/>
                <a:gd name="connsiteY22" fmla="*/ 253868 h 928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0634" h="928088">
                  <a:moveTo>
                    <a:pt x="44437" y="253868"/>
                  </a:moveTo>
                  <a:cubicBezTo>
                    <a:pt x="-11324" y="209847"/>
                    <a:pt x="35633" y="136477"/>
                    <a:pt x="64981" y="86586"/>
                  </a:cubicBezTo>
                  <a:cubicBezTo>
                    <a:pt x="62046" y="83651"/>
                    <a:pt x="59111" y="77781"/>
                    <a:pt x="62046" y="71912"/>
                  </a:cubicBezTo>
                  <a:cubicBezTo>
                    <a:pt x="82589" y="-7327"/>
                    <a:pt x="223459" y="-30806"/>
                    <a:pt x="220524" y="51368"/>
                  </a:cubicBezTo>
                  <a:cubicBezTo>
                    <a:pt x="255741" y="54303"/>
                    <a:pt x="290958" y="63108"/>
                    <a:pt x="308567" y="95390"/>
                  </a:cubicBezTo>
                  <a:cubicBezTo>
                    <a:pt x="320306" y="115934"/>
                    <a:pt x="346719" y="139412"/>
                    <a:pt x="340850" y="189303"/>
                  </a:cubicBezTo>
                  <a:cubicBezTo>
                    <a:pt x="399546" y="183434"/>
                    <a:pt x="411285" y="256803"/>
                    <a:pt x="420089" y="274412"/>
                  </a:cubicBezTo>
                  <a:cubicBezTo>
                    <a:pt x="425959" y="292021"/>
                    <a:pt x="408350" y="312564"/>
                    <a:pt x="411285" y="324303"/>
                  </a:cubicBezTo>
                  <a:cubicBezTo>
                    <a:pt x="437697" y="333108"/>
                    <a:pt x="449436" y="359521"/>
                    <a:pt x="452371" y="388868"/>
                  </a:cubicBezTo>
                  <a:cubicBezTo>
                    <a:pt x="455306" y="406477"/>
                    <a:pt x="452371" y="418216"/>
                    <a:pt x="446502" y="429955"/>
                  </a:cubicBezTo>
                  <a:cubicBezTo>
                    <a:pt x="481719" y="441694"/>
                    <a:pt x="519872" y="462238"/>
                    <a:pt x="525741" y="503325"/>
                  </a:cubicBezTo>
                  <a:cubicBezTo>
                    <a:pt x="531611" y="532673"/>
                    <a:pt x="519872" y="556151"/>
                    <a:pt x="499328" y="570825"/>
                  </a:cubicBezTo>
                  <a:cubicBezTo>
                    <a:pt x="543350" y="614847"/>
                    <a:pt x="602045" y="705825"/>
                    <a:pt x="540415" y="735173"/>
                  </a:cubicBezTo>
                  <a:cubicBezTo>
                    <a:pt x="572698" y="767455"/>
                    <a:pt x="599111" y="817347"/>
                    <a:pt x="563894" y="855499"/>
                  </a:cubicBezTo>
                  <a:cubicBezTo>
                    <a:pt x="540415" y="878977"/>
                    <a:pt x="511067" y="876042"/>
                    <a:pt x="493458" y="858434"/>
                  </a:cubicBezTo>
                  <a:cubicBezTo>
                    <a:pt x="472915" y="899521"/>
                    <a:pt x="440632" y="937673"/>
                    <a:pt x="390741" y="925934"/>
                  </a:cubicBezTo>
                  <a:cubicBezTo>
                    <a:pt x="332045" y="911260"/>
                    <a:pt x="320306" y="852564"/>
                    <a:pt x="326176" y="799738"/>
                  </a:cubicBezTo>
                  <a:cubicBezTo>
                    <a:pt x="311502" y="793868"/>
                    <a:pt x="299763" y="782129"/>
                    <a:pt x="290958" y="767455"/>
                  </a:cubicBezTo>
                  <a:cubicBezTo>
                    <a:pt x="279219" y="764521"/>
                    <a:pt x="267480" y="758651"/>
                    <a:pt x="255741" y="752781"/>
                  </a:cubicBezTo>
                  <a:cubicBezTo>
                    <a:pt x="208785" y="834955"/>
                    <a:pt x="85524" y="787999"/>
                    <a:pt x="97262" y="691151"/>
                  </a:cubicBezTo>
                  <a:cubicBezTo>
                    <a:pt x="59111" y="688216"/>
                    <a:pt x="44437" y="688216"/>
                    <a:pt x="29763" y="638325"/>
                  </a:cubicBezTo>
                  <a:cubicBezTo>
                    <a:pt x="15089" y="582564"/>
                    <a:pt x="23893" y="523868"/>
                    <a:pt x="47372" y="471042"/>
                  </a:cubicBezTo>
                  <a:cubicBezTo>
                    <a:pt x="-31868" y="418216"/>
                    <a:pt x="3350" y="333108"/>
                    <a:pt x="44437" y="253868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AEFEF44A-D2E9-44CB-98B1-6973C929CF78}"/>
                </a:ext>
              </a:extLst>
            </p:cNvPr>
            <p:cNvGrpSpPr/>
            <p:nvPr/>
          </p:nvGrpSpPr>
          <p:grpSpPr>
            <a:xfrm>
              <a:off x="9883996" y="6328030"/>
              <a:ext cx="380492" cy="345084"/>
              <a:chOff x="9883996" y="6328030"/>
              <a:chExt cx="380492" cy="345084"/>
            </a:xfrm>
          </p:grpSpPr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C1A09778-33B2-4A7F-9577-646A6215CAA9}"/>
                  </a:ext>
                </a:extLst>
              </p:cNvPr>
              <p:cNvSpPr/>
              <p:nvPr/>
            </p:nvSpPr>
            <p:spPr>
              <a:xfrm>
                <a:off x="9883996" y="6445421"/>
                <a:ext cx="380492" cy="227693"/>
              </a:xfrm>
              <a:custGeom>
                <a:avLst/>
                <a:gdLst>
                  <a:gd name="connsiteX0" fmla="*/ 276308 w 380492"/>
                  <a:gd name="connsiteY0" fmla="*/ 0 h 227693"/>
                  <a:gd name="connsiteX1" fmla="*/ 123699 w 380492"/>
                  <a:gd name="connsiteY1" fmla="*/ 120326 h 227693"/>
                  <a:gd name="connsiteX2" fmla="*/ 311524 w 380492"/>
                  <a:gd name="connsiteY2" fmla="*/ 73370 h 227693"/>
                  <a:gd name="connsiteX3" fmla="*/ 379025 w 380492"/>
                  <a:gd name="connsiteY3" fmla="*/ 49891 h 227693"/>
                  <a:gd name="connsiteX4" fmla="*/ 373155 w 380492"/>
                  <a:gd name="connsiteY4" fmla="*/ 152609 h 227693"/>
                  <a:gd name="connsiteX5" fmla="*/ 150111 w 380492"/>
                  <a:gd name="connsiteY5" fmla="*/ 223044 h 227693"/>
                  <a:gd name="connsiteX6" fmla="*/ 18046 w 380492"/>
                  <a:gd name="connsiteY6" fmla="*/ 223044 h 227693"/>
                  <a:gd name="connsiteX7" fmla="*/ 12177 w 380492"/>
                  <a:gd name="connsiteY7" fmla="*/ 170217 h 227693"/>
                  <a:gd name="connsiteX8" fmla="*/ 276308 w 380492"/>
                  <a:gd name="connsiteY8" fmla="*/ 0 h 227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0492" h="227693">
                    <a:moveTo>
                      <a:pt x="276308" y="0"/>
                    </a:moveTo>
                    <a:cubicBezTo>
                      <a:pt x="276308" y="0"/>
                      <a:pt x="109025" y="108587"/>
                      <a:pt x="123699" y="120326"/>
                    </a:cubicBezTo>
                    <a:cubicBezTo>
                      <a:pt x="135437" y="135000"/>
                      <a:pt x="311524" y="73370"/>
                      <a:pt x="311524" y="73370"/>
                    </a:cubicBezTo>
                    <a:lnTo>
                      <a:pt x="379025" y="49891"/>
                    </a:lnTo>
                    <a:cubicBezTo>
                      <a:pt x="379025" y="49891"/>
                      <a:pt x="384894" y="129130"/>
                      <a:pt x="373155" y="152609"/>
                    </a:cubicBezTo>
                    <a:cubicBezTo>
                      <a:pt x="302720" y="187826"/>
                      <a:pt x="220546" y="211304"/>
                      <a:pt x="150111" y="223044"/>
                    </a:cubicBezTo>
                    <a:cubicBezTo>
                      <a:pt x="106090" y="231848"/>
                      <a:pt x="26851" y="225978"/>
                      <a:pt x="18046" y="223044"/>
                    </a:cubicBezTo>
                    <a:cubicBezTo>
                      <a:pt x="9242" y="220109"/>
                      <a:pt x="-14237" y="196630"/>
                      <a:pt x="12177" y="170217"/>
                    </a:cubicBezTo>
                    <a:cubicBezTo>
                      <a:pt x="70873" y="108587"/>
                      <a:pt x="276308" y="0"/>
                      <a:pt x="276308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0451473F-BAFF-4565-A9C2-A9E2B4500CEF}"/>
                  </a:ext>
                </a:extLst>
              </p:cNvPr>
              <p:cNvSpPr/>
              <p:nvPr/>
            </p:nvSpPr>
            <p:spPr>
              <a:xfrm>
                <a:off x="10006416" y="6328030"/>
                <a:ext cx="256604" cy="244573"/>
              </a:xfrm>
              <a:custGeom>
                <a:avLst/>
                <a:gdLst>
                  <a:gd name="connsiteX0" fmla="*/ 139213 w 256604"/>
                  <a:gd name="connsiteY0" fmla="*/ 0 h 244573"/>
                  <a:gd name="connsiteX1" fmla="*/ 153887 w 256604"/>
                  <a:gd name="connsiteY1" fmla="*/ 120326 h 244573"/>
                  <a:gd name="connsiteX2" fmla="*/ 1278 w 256604"/>
                  <a:gd name="connsiteY2" fmla="*/ 240652 h 244573"/>
                  <a:gd name="connsiteX3" fmla="*/ 230190 w 256604"/>
                  <a:gd name="connsiteY3" fmla="*/ 199565 h 244573"/>
                  <a:gd name="connsiteX4" fmla="*/ 256604 w 256604"/>
                  <a:gd name="connsiteY4" fmla="*/ 170217 h 244573"/>
                  <a:gd name="connsiteX5" fmla="*/ 256604 w 256604"/>
                  <a:gd name="connsiteY5" fmla="*/ 41087 h 244573"/>
                  <a:gd name="connsiteX6" fmla="*/ 139213 w 256604"/>
                  <a:gd name="connsiteY6" fmla="*/ 0 h 244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6604" h="244573">
                    <a:moveTo>
                      <a:pt x="139213" y="0"/>
                    </a:moveTo>
                    <a:lnTo>
                      <a:pt x="153887" y="120326"/>
                    </a:lnTo>
                    <a:cubicBezTo>
                      <a:pt x="153887" y="120326"/>
                      <a:pt x="-16331" y="220109"/>
                      <a:pt x="1278" y="240652"/>
                    </a:cubicBezTo>
                    <a:cubicBezTo>
                      <a:pt x="13017" y="255326"/>
                      <a:pt x="162691" y="225978"/>
                      <a:pt x="230190" y="199565"/>
                    </a:cubicBezTo>
                    <a:cubicBezTo>
                      <a:pt x="253669" y="190761"/>
                      <a:pt x="256604" y="170217"/>
                      <a:pt x="256604" y="170217"/>
                    </a:cubicBezTo>
                    <a:lnTo>
                      <a:pt x="256604" y="41087"/>
                    </a:lnTo>
                    <a:lnTo>
                      <a:pt x="139213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6E21B2CC-3C2E-46C9-AEA5-F4FC75BBF75A}"/>
                </a:ext>
              </a:extLst>
            </p:cNvPr>
            <p:cNvGrpSpPr/>
            <p:nvPr/>
          </p:nvGrpSpPr>
          <p:grpSpPr>
            <a:xfrm>
              <a:off x="11119976" y="6016943"/>
              <a:ext cx="287609" cy="467982"/>
              <a:chOff x="11119976" y="6016943"/>
              <a:chExt cx="287609" cy="467982"/>
            </a:xfrm>
          </p:grpSpPr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2D905F12-3C77-40A7-98A2-9D5DBEC546F5}"/>
                  </a:ext>
                </a:extLst>
              </p:cNvPr>
              <p:cNvSpPr/>
              <p:nvPr/>
            </p:nvSpPr>
            <p:spPr>
              <a:xfrm>
                <a:off x="11209452" y="6087378"/>
                <a:ext cx="198134" cy="397547"/>
              </a:xfrm>
              <a:custGeom>
                <a:avLst/>
                <a:gdLst>
                  <a:gd name="connsiteX0" fmla="*/ 16177 w 198134"/>
                  <a:gd name="connsiteY0" fmla="*/ 58696 h 397547"/>
                  <a:gd name="connsiteX1" fmla="*/ 30851 w 198134"/>
                  <a:gd name="connsiteY1" fmla="*/ 252391 h 397547"/>
                  <a:gd name="connsiteX2" fmla="*/ 98351 w 198134"/>
                  <a:gd name="connsiteY2" fmla="*/ 70435 h 397547"/>
                  <a:gd name="connsiteX3" fmla="*/ 115960 w 198134"/>
                  <a:gd name="connsiteY3" fmla="*/ 0 h 397547"/>
                  <a:gd name="connsiteX4" fmla="*/ 198134 w 198134"/>
                  <a:gd name="connsiteY4" fmla="*/ 61630 h 397547"/>
                  <a:gd name="connsiteX5" fmla="*/ 130634 w 198134"/>
                  <a:gd name="connsiteY5" fmla="*/ 284674 h 397547"/>
                  <a:gd name="connsiteX6" fmla="*/ 54329 w 198134"/>
                  <a:gd name="connsiteY6" fmla="*/ 393261 h 397547"/>
                  <a:gd name="connsiteX7" fmla="*/ 4438 w 198134"/>
                  <a:gd name="connsiteY7" fmla="*/ 366848 h 397547"/>
                  <a:gd name="connsiteX8" fmla="*/ 16177 w 198134"/>
                  <a:gd name="connsiteY8" fmla="*/ 58696 h 39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8134" h="397547">
                    <a:moveTo>
                      <a:pt x="16177" y="58696"/>
                    </a:moveTo>
                    <a:cubicBezTo>
                      <a:pt x="16177" y="58696"/>
                      <a:pt x="13242" y="258261"/>
                      <a:pt x="30851" y="252391"/>
                    </a:cubicBezTo>
                    <a:cubicBezTo>
                      <a:pt x="48460" y="249457"/>
                      <a:pt x="98351" y="70435"/>
                      <a:pt x="98351" y="70435"/>
                    </a:cubicBezTo>
                    <a:lnTo>
                      <a:pt x="115960" y="0"/>
                    </a:lnTo>
                    <a:cubicBezTo>
                      <a:pt x="115960" y="0"/>
                      <a:pt x="183460" y="41087"/>
                      <a:pt x="198134" y="61630"/>
                    </a:cubicBezTo>
                    <a:cubicBezTo>
                      <a:pt x="189329" y="137935"/>
                      <a:pt x="159981" y="220109"/>
                      <a:pt x="130634" y="284674"/>
                    </a:cubicBezTo>
                    <a:cubicBezTo>
                      <a:pt x="113025" y="325761"/>
                      <a:pt x="63134" y="390326"/>
                      <a:pt x="54329" y="393261"/>
                    </a:cubicBezTo>
                    <a:cubicBezTo>
                      <a:pt x="45525" y="399130"/>
                      <a:pt x="13242" y="405000"/>
                      <a:pt x="4438" y="366848"/>
                    </a:cubicBezTo>
                    <a:cubicBezTo>
                      <a:pt x="-10236" y="287609"/>
                      <a:pt x="16177" y="58696"/>
                      <a:pt x="16177" y="58696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19863A22-73BC-4830-9855-EDF78B201DBC}"/>
                  </a:ext>
                </a:extLst>
              </p:cNvPr>
              <p:cNvSpPr/>
              <p:nvPr/>
            </p:nvSpPr>
            <p:spPr>
              <a:xfrm>
                <a:off x="11119976" y="6016943"/>
                <a:ext cx="218371" cy="322858"/>
              </a:xfrm>
              <a:custGeom>
                <a:avLst/>
                <a:gdLst>
                  <a:gd name="connsiteX0" fmla="*/ 0 w 218371"/>
                  <a:gd name="connsiteY0" fmla="*/ 73370 h 322858"/>
                  <a:gd name="connsiteX1" fmla="*/ 105652 w 218371"/>
                  <a:gd name="connsiteY1" fmla="*/ 129131 h 322858"/>
                  <a:gd name="connsiteX2" fmla="*/ 120326 w 218371"/>
                  <a:gd name="connsiteY2" fmla="*/ 322826 h 322858"/>
                  <a:gd name="connsiteX3" fmla="*/ 217174 w 218371"/>
                  <a:gd name="connsiteY3" fmla="*/ 111522 h 322858"/>
                  <a:gd name="connsiteX4" fmla="*/ 205435 w 218371"/>
                  <a:gd name="connsiteY4" fmla="*/ 73370 h 322858"/>
                  <a:gd name="connsiteX5" fmla="*/ 99782 w 218371"/>
                  <a:gd name="connsiteY5" fmla="*/ 0 h 322858"/>
                  <a:gd name="connsiteX6" fmla="*/ 0 w 218371"/>
                  <a:gd name="connsiteY6" fmla="*/ 73370 h 322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8371" h="322858">
                    <a:moveTo>
                      <a:pt x="0" y="73370"/>
                    </a:moveTo>
                    <a:lnTo>
                      <a:pt x="105652" y="129131"/>
                    </a:lnTo>
                    <a:cubicBezTo>
                      <a:pt x="105652" y="129131"/>
                      <a:pt x="93913" y="325761"/>
                      <a:pt x="120326" y="322826"/>
                    </a:cubicBezTo>
                    <a:cubicBezTo>
                      <a:pt x="140870" y="322826"/>
                      <a:pt x="199566" y="181957"/>
                      <a:pt x="217174" y="111522"/>
                    </a:cubicBezTo>
                    <a:cubicBezTo>
                      <a:pt x="223044" y="88043"/>
                      <a:pt x="205435" y="73370"/>
                      <a:pt x="205435" y="73370"/>
                    </a:cubicBezTo>
                    <a:lnTo>
                      <a:pt x="99782" y="0"/>
                    </a:lnTo>
                    <a:lnTo>
                      <a:pt x="0" y="73370"/>
                    </a:ln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BA631F67-5ED3-43D1-BE11-181D03278845}"/>
                </a:ext>
              </a:extLst>
            </p:cNvPr>
            <p:cNvGrpSpPr/>
            <p:nvPr/>
          </p:nvGrpSpPr>
          <p:grpSpPr>
            <a:xfrm>
              <a:off x="8905999" y="3790252"/>
              <a:ext cx="358110" cy="260386"/>
              <a:chOff x="8905999" y="3790252"/>
              <a:chExt cx="358110" cy="260386"/>
            </a:xfrm>
          </p:grpSpPr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0862754D-7424-41C0-A798-7D5FC6812312}"/>
                  </a:ext>
                </a:extLst>
              </p:cNvPr>
              <p:cNvSpPr/>
              <p:nvPr/>
            </p:nvSpPr>
            <p:spPr>
              <a:xfrm>
                <a:off x="8914799" y="3790252"/>
                <a:ext cx="349311" cy="260386"/>
              </a:xfrm>
              <a:custGeom>
                <a:avLst/>
                <a:gdLst>
                  <a:gd name="connsiteX0" fmla="*/ 136156 w 349311"/>
                  <a:gd name="connsiteY0" fmla="*/ 254517 h 260386"/>
                  <a:gd name="connsiteX1" fmla="*/ 212460 w 349311"/>
                  <a:gd name="connsiteY1" fmla="*/ 233973 h 260386"/>
                  <a:gd name="connsiteX2" fmla="*/ 326917 w 349311"/>
                  <a:gd name="connsiteY2" fmla="*/ 178212 h 260386"/>
                  <a:gd name="connsiteX3" fmla="*/ 338656 w 349311"/>
                  <a:gd name="connsiteY3" fmla="*/ 84299 h 260386"/>
                  <a:gd name="connsiteX4" fmla="*/ 332787 w 349311"/>
                  <a:gd name="connsiteY4" fmla="*/ 84299 h 260386"/>
                  <a:gd name="connsiteX5" fmla="*/ 332787 w 349311"/>
                  <a:gd name="connsiteY5" fmla="*/ 81365 h 260386"/>
                  <a:gd name="connsiteX6" fmla="*/ 139091 w 349311"/>
                  <a:gd name="connsiteY6" fmla="*/ 7995 h 260386"/>
                  <a:gd name="connsiteX7" fmla="*/ 136156 w 349311"/>
                  <a:gd name="connsiteY7" fmla="*/ 28539 h 260386"/>
                  <a:gd name="connsiteX8" fmla="*/ 224199 w 349311"/>
                  <a:gd name="connsiteY8" fmla="*/ 75495 h 260386"/>
                  <a:gd name="connsiteX9" fmla="*/ 36373 w 349311"/>
                  <a:gd name="connsiteY9" fmla="*/ 98973 h 260386"/>
                  <a:gd name="connsiteX10" fmla="*/ 21700 w 349311"/>
                  <a:gd name="connsiteY10" fmla="*/ 128321 h 260386"/>
                  <a:gd name="connsiteX11" fmla="*/ 68656 w 349311"/>
                  <a:gd name="connsiteY11" fmla="*/ 128321 h 260386"/>
                  <a:gd name="connsiteX12" fmla="*/ 130286 w 349311"/>
                  <a:gd name="connsiteY12" fmla="*/ 125386 h 260386"/>
                  <a:gd name="connsiteX13" fmla="*/ 56917 w 349311"/>
                  <a:gd name="connsiteY13" fmla="*/ 151799 h 260386"/>
                  <a:gd name="connsiteX14" fmla="*/ 7026 w 349311"/>
                  <a:gd name="connsiteY14" fmla="*/ 172343 h 260386"/>
                  <a:gd name="connsiteX15" fmla="*/ 4091 w 349311"/>
                  <a:gd name="connsiteY15" fmla="*/ 201691 h 260386"/>
                  <a:gd name="connsiteX16" fmla="*/ 33438 w 349311"/>
                  <a:gd name="connsiteY16" fmla="*/ 216365 h 260386"/>
                  <a:gd name="connsiteX17" fmla="*/ 33438 w 349311"/>
                  <a:gd name="connsiteY17" fmla="*/ 219299 h 260386"/>
                  <a:gd name="connsiteX18" fmla="*/ 33438 w 349311"/>
                  <a:gd name="connsiteY18" fmla="*/ 225169 h 260386"/>
                  <a:gd name="connsiteX19" fmla="*/ 83330 w 349311"/>
                  <a:gd name="connsiteY19" fmla="*/ 231039 h 260386"/>
                  <a:gd name="connsiteX20" fmla="*/ 109743 w 349311"/>
                  <a:gd name="connsiteY20" fmla="*/ 222234 h 260386"/>
                  <a:gd name="connsiteX21" fmla="*/ 103874 w 349311"/>
                  <a:gd name="connsiteY21" fmla="*/ 228104 h 260386"/>
                  <a:gd name="connsiteX22" fmla="*/ 100939 w 349311"/>
                  <a:gd name="connsiteY22" fmla="*/ 248647 h 260386"/>
                  <a:gd name="connsiteX23" fmla="*/ 136156 w 349311"/>
                  <a:gd name="connsiteY23" fmla="*/ 254517 h 260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9311" h="260386">
                    <a:moveTo>
                      <a:pt x="136156" y="254517"/>
                    </a:moveTo>
                    <a:cubicBezTo>
                      <a:pt x="162569" y="248647"/>
                      <a:pt x="186048" y="239843"/>
                      <a:pt x="212460" y="233973"/>
                    </a:cubicBezTo>
                    <a:cubicBezTo>
                      <a:pt x="253547" y="222234"/>
                      <a:pt x="303439" y="219299"/>
                      <a:pt x="326917" y="178212"/>
                    </a:cubicBezTo>
                    <a:cubicBezTo>
                      <a:pt x="341591" y="151799"/>
                      <a:pt x="362134" y="110713"/>
                      <a:pt x="338656" y="84299"/>
                    </a:cubicBezTo>
                    <a:cubicBezTo>
                      <a:pt x="335721" y="81365"/>
                      <a:pt x="335721" y="81365"/>
                      <a:pt x="332787" y="84299"/>
                    </a:cubicBezTo>
                    <a:cubicBezTo>
                      <a:pt x="332787" y="84299"/>
                      <a:pt x="332787" y="84299"/>
                      <a:pt x="332787" y="81365"/>
                    </a:cubicBezTo>
                    <a:cubicBezTo>
                      <a:pt x="282895" y="13865"/>
                      <a:pt x="194852" y="-15483"/>
                      <a:pt x="139091" y="7995"/>
                    </a:cubicBezTo>
                    <a:cubicBezTo>
                      <a:pt x="133221" y="10930"/>
                      <a:pt x="133221" y="25604"/>
                      <a:pt x="136156" y="28539"/>
                    </a:cubicBezTo>
                    <a:cubicBezTo>
                      <a:pt x="165504" y="46147"/>
                      <a:pt x="209525" y="40278"/>
                      <a:pt x="224199" y="75495"/>
                    </a:cubicBezTo>
                    <a:cubicBezTo>
                      <a:pt x="162569" y="90169"/>
                      <a:pt x="95069" y="72560"/>
                      <a:pt x="36373" y="98973"/>
                    </a:cubicBezTo>
                    <a:cubicBezTo>
                      <a:pt x="27569" y="101908"/>
                      <a:pt x="1156" y="119517"/>
                      <a:pt x="21700" y="128321"/>
                    </a:cubicBezTo>
                    <a:cubicBezTo>
                      <a:pt x="33438" y="134191"/>
                      <a:pt x="56917" y="128321"/>
                      <a:pt x="68656" y="128321"/>
                    </a:cubicBezTo>
                    <a:cubicBezTo>
                      <a:pt x="89200" y="128321"/>
                      <a:pt x="109743" y="128321"/>
                      <a:pt x="130286" y="125386"/>
                    </a:cubicBezTo>
                    <a:cubicBezTo>
                      <a:pt x="106808" y="134191"/>
                      <a:pt x="80395" y="142995"/>
                      <a:pt x="56917" y="151799"/>
                    </a:cubicBezTo>
                    <a:cubicBezTo>
                      <a:pt x="42243" y="157669"/>
                      <a:pt x="18765" y="160604"/>
                      <a:pt x="7026" y="172343"/>
                    </a:cubicBezTo>
                    <a:cubicBezTo>
                      <a:pt x="-1779" y="181147"/>
                      <a:pt x="-1779" y="189952"/>
                      <a:pt x="4091" y="201691"/>
                    </a:cubicBezTo>
                    <a:cubicBezTo>
                      <a:pt x="9961" y="210495"/>
                      <a:pt x="21700" y="213430"/>
                      <a:pt x="33438" y="216365"/>
                    </a:cubicBezTo>
                    <a:cubicBezTo>
                      <a:pt x="33438" y="216365"/>
                      <a:pt x="33438" y="216365"/>
                      <a:pt x="33438" y="219299"/>
                    </a:cubicBezTo>
                    <a:cubicBezTo>
                      <a:pt x="33438" y="222234"/>
                      <a:pt x="33438" y="225169"/>
                      <a:pt x="33438" y="225169"/>
                    </a:cubicBezTo>
                    <a:cubicBezTo>
                      <a:pt x="48112" y="236908"/>
                      <a:pt x="65721" y="236908"/>
                      <a:pt x="83330" y="231039"/>
                    </a:cubicBezTo>
                    <a:cubicBezTo>
                      <a:pt x="92134" y="228104"/>
                      <a:pt x="100939" y="225169"/>
                      <a:pt x="109743" y="222234"/>
                    </a:cubicBezTo>
                    <a:cubicBezTo>
                      <a:pt x="106808" y="222234"/>
                      <a:pt x="106808" y="225169"/>
                      <a:pt x="103874" y="228104"/>
                    </a:cubicBezTo>
                    <a:cubicBezTo>
                      <a:pt x="98004" y="233973"/>
                      <a:pt x="95069" y="242778"/>
                      <a:pt x="100939" y="248647"/>
                    </a:cubicBezTo>
                    <a:cubicBezTo>
                      <a:pt x="106808" y="266256"/>
                      <a:pt x="124417" y="260386"/>
                      <a:pt x="136156" y="254517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A3FA3568-6706-4966-8B69-EF652094E2DA}"/>
                  </a:ext>
                </a:extLst>
              </p:cNvPr>
              <p:cNvSpPr/>
              <p:nvPr/>
            </p:nvSpPr>
            <p:spPr>
              <a:xfrm>
                <a:off x="9138998" y="3889226"/>
                <a:ext cx="59847" cy="46956"/>
              </a:xfrm>
              <a:custGeom>
                <a:avLst/>
                <a:gdLst>
                  <a:gd name="connsiteX0" fmla="*/ 52826 w 59847"/>
                  <a:gd name="connsiteY0" fmla="*/ 46956 h 46956"/>
                  <a:gd name="connsiteX1" fmla="*/ 0 w 59847"/>
                  <a:gd name="connsiteY1" fmla="*/ 8804 h 46956"/>
                  <a:gd name="connsiteX2" fmla="*/ 2935 w 59847"/>
                  <a:gd name="connsiteY2" fmla="*/ 0 h 46956"/>
                  <a:gd name="connsiteX3" fmla="*/ 11739 w 59847"/>
                  <a:gd name="connsiteY3" fmla="*/ 2935 h 46956"/>
                  <a:gd name="connsiteX4" fmla="*/ 52826 w 59847"/>
                  <a:gd name="connsiteY4" fmla="*/ 32283 h 46956"/>
                  <a:gd name="connsiteX5" fmla="*/ 52826 w 59847"/>
                  <a:gd name="connsiteY5" fmla="*/ 32283 h 46956"/>
                  <a:gd name="connsiteX6" fmla="*/ 58696 w 59847"/>
                  <a:gd name="connsiteY6" fmla="*/ 38152 h 46956"/>
                  <a:gd name="connsiteX7" fmla="*/ 52826 w 59847"/>
                  <a:gd name="connsiteY7" fmla="*/ 46956 h 46956"/>
                  <a:gd name="connsiteX8" fmla="*/ 52826 w 59847"/>
                  <a:gd name="connsiteY8" fmla="*/ 46956 h 46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847" h="46956">
                    <a:moveTo>
                      <a:pt x="52826" y="46956"/>
                    </a:moveTo>
                    <a:cubicBezTo>
                      <a:pt x="14674" y="46956"/>
                      <a:pt x="0" y="11739"/>
                      <a:pt x="0" y="8804"/>
                    </a:cubicBezTo>
                    <a:cubicBezTo>
                      <a:pt x="0" y="5869"/>
                      <a:pt x="0" y="2935"/>
                      <a:pt x="2935" y="0"/>
                    </a:cubicBezTo>
                    <a:cubicBezTo>
                      <a:pt x="5870" y="0"/>
                      <a:pt x="8804" y="0"/>
                      <a:pt x="11739" y="2935"/>
                    </a:cubicBezTo>
                    <a:cubicBezTo>
                      <a:pt x="11739" y="2935"/>
                      <a:pt x="23478" y="32283"/>
                      <a:pt x="52826" y="32283"/>
                    </a:cubicBezTo>
                    <a:cubicBezTo>
                      <a:pt x="52826" y="32283"/>
                      <a:pt x="52826" y="32283"/>
                      <a:pt x="52826" y="32283"/>
                    </a:cubicBezTo>
                    <a:cubicBezTo>
                      <a:pt x="55761" y="32283"/>
                      <a:pt x="58696" y="35217"/>
                      <a:pt x="58696" y="38152"/>
                    </a:cubicBezTo>
                    <a:cubicBezTo>
                      <a:pt x="61631" y="44022"/>
                      <a:pt x="58696" y="46956"/>
                      <a:pt x="52826" y="46956"/>
                    </a:cubicBezTo>
                    <a:cubicBezTo>
                      <a:pt x="55761" y="46956"/>
                      <a:pt x="55761" y="46956"/>
                      <a:pt x="52826" y="46956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FC94892D-E26F-4EE6-8AC4-50541A1A8A31}"/>
                  </a:ext>
                </a:extLst>
              </p:cNvPr>
              <p:cNvSpPr/>
              <p:nvPr/>
            </p:nvSpPr>
            <p:spPr>
              <a:xfrm>
                <a:off x="8905999" y="3912704"/>
                <a:ext cx="142021" cy="99782"/>
              </a:xfrm>
              <a:custGeom>
                <a:avLst/>
                <a:gdLst>
                  <a:gd name="connsiteX0" fmla="*/ 33434 w 142021"/>
                  <a:gd name="connsiteY0" fmla="*/ 99783 h 99782"/>
                  <a:gd name="connsiteX1" fmla="*/ 7021 w 142021"/>
                  <a:gd name="connsiteY1" fmla="*/ 88043 h 99782"/>
                  <a:gd name="connsiteX2" fmla="*/ 1151 w 142021"/>
                  <a:gd name="connsiteY2" fmla="*/ 61631 h 99782"/>
                  <a:gd name="connsiteX3" fmla="*/ 92130 w 142021"/>
                  <a:gd name="connsiteY3" fmla="*/ 14674 h 99782"/>
                  <a:gd name="connsiteX4" fmla="*/ 27564 w 142021"/>
                  <a:gd name="connsiteY4" fmla="*/ 14674 h 99782"/>
                  <a:gd name="connsiteX5" fmla="*/ 21695 w 142021"/>
                  <a:gd name="connsiteY5" fmla="*/ 8804 h 99782"/>
                  <a:gd name="connsiteX6" fmla="*/ 27564 w 142021"/>
                  <a:gd name="connsiteY6" fmla="*/ 2935 h 99782"/>
                  <a:gd name="connsiteX7" fmla="*/ 133217 w 142021"/>
                  <a:gd name="connsiteY7" fmla="*/ 0 h 99782"/>
                  <a:gd name="connsiteX8" fmla="*/ 139086 w 142021"/>
                  <a:gd name="connsiteY8" fmla="*/ 5870 h 99782"/>
                  <a:gd name="connsiteX9" fmla="*/ 136152 w 142021"/>
                  <a:gd name="connsiteY9" fmla="*/ 11739 h 99782"/>
                  <a:gd name="connsiteX10" fmla="*/ 9956 w 142021"/>
                  <a:gd name="connsiteY10" fmla="*/ 64565 h 99782"/>
                  <a:gd name="connsiteX11" fmla="*/ 12890 w 142021"/>
                  <a:gd name="connsiteY11" fmla="*/ 79239 h 99782"/>
                  <a:gd name="connsiteX12" fmla="*/ 33434 w 142021"/>
                  <a:gd name="connsiteY12" fmla="*/ 85109 h 99782"/>
                  <a:gd name="connsiteX13" fmla="*/ 136152 w 142021"/>
                  <a:gd name="connsiteY13" fmla="*/ 58696 h 99782"/>
                  <a:gd name="connsiteX14" fmla="*/ 142021 w 142021"/>
                  <a:gd name="connsiteY14" fmla="*/ 61631 h 99782"/>
                  <a:gd name="connsiteX15" fmla="*/ 139086 w 142021"/>
                  <a:gd name="connsiteY15" fmla="*/ 67500 h 99782"/>
                  <a:gd name="connsiteX16" fmla="*/ 33434 w 142021"/>
                  <a:gd name="connsiteY16" fmla="*/ 93913 h 99782"/>
                  <a:gd name="connsiteX17" fmla="*/ 33434 w 142021"/>
                  <a:gd name="connsiteY17" fmla="*/ 99783 h 99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021" h="99782">
                    <a:moveTo>
                      <a:pt x="33434" y="99783"/>
                    </a:moveTo>
                    <a:cubicBezTo>
                      <a:pt x="21695" y="99783"/>
                      <a:pt x="12890" y="96848"/>
                      <a:pt x="7021" y="88043"/>
                    </a:cubicBezTo>
                    <a:cubicBezTo>
                      <a:pt x="1151" y="82174"/>
                      <a:pt x="-1784" y="73370"/>
                      <a:pt x="1151" y="61631"/>
                    </a:cubicBezTo>
                    <a:cubicBezTo>
                      <a:pt x="4086" y="49891"/>
                      <a:pt x="51043" y="29348"/>
                      <a:pt x="92130" y="14674"/>
                    </a:cubicBezTo>
                    <a:cubicBezTo>
                      <a:pt x="59847" y="14674"/>
                      <a:pt x="30499" y="14674"/>
                      <a:pt x="27564" y="14674"/>
                    </a:cubicBezTo>
                    <a:cubicBezTo>
                      <a:pt x="24630" y="14674"/>
                      <a:pt x="21695" y="11739"/>
                      <a:pt x="21695" y="8804"/>
                    </a:cubicBezTo>
                    <a:cubicBezTo>
                      <a:pt x="21695" y="5870"/>
                      <a:pt x="24630" y="2935"/>
                      <a:pt x="27564" y="2935"/>
                    </a:cubicBezTo>
                    <a:cubicBezTo>
                      <a:pt x="27564" y="2935"/>
                      <a:pt x="95064" y="5870"/>
                      <a:pt x="133217" y="0"/>
                    </a:cubicBezTo>
                    <a:cubicBezTo>
                      <a:pt x="136152" y="0"/>
                      <a:pt x="139086" y="2935"/>
                      <a:pt x="139086" y="5870"/>
                    </a:cubicBezTo>
                    <a:cubicBezTo>
                      <a:pt x="139086" y="8804"/>
                      <a:pt x="139086" y="11739"/>
                      <a:pt x="136152" y="11739"/>
                    </a:cubicBezTo>
                    <a:cubicBezTo>
                      <a:pt x="77456" y="29348"/>
                      <a:pt x="15825" y="55761"/>
                      <a:pt x="9956" y="64565"/>
                    </a:cubicBezTo>
                    <a:cubicBezTo>
                      <a:pt x="9956" y="70435"/>
                      <a:pt x="9956" y="76305"/>
                      <a:pt x="12890" y="79239"/>
                    </a:cubicBezTo>
                    <a:cubicBezTo>
                      <a:pt x="18760" y="85109"/>
                      <a:pt x="24630" y="88043"/>
                      <a:pt x="33434" y="85109"/>
                    </a:cubicBezTo>
                    <a:cubicBezTo>
                      <a:pt x="51043" y="82174"/>
                      <a:pt x="136152" y="58696"/>
                      <a:pt x="136152" y="58696"/>
                    </a:cubicBezTo>
                    <a:cubicBezTo>
                      <a:pt x="139086" y="58696"/>
                      <a:pt x="142021" y="58696"/>
                      <a:pt x="142021" y="61631"/>
                    </a:cubicBezTo>
                    <a:cubicBezTo>
                      <a:pt x="142021" y="64565"/>
                      <a:pt x="142021" y="67500"/>
                      <a:pt x="139086" y="67500"/>
                    </a:cubicBezTo>
                    <a:cubicBezTo>
                      <a:pt x="136152" y="67500"/>
                      <a:pt x="51043" y="90978"/>
                      <a:pt x="33434" y="93913"/>
                    </a:cubicBezTo>
                    <a:cubicBezTo>
                      <a:pt x="36369" y="96848"/>
                      <a:pt x="33434" y="99783"/>
                      <a:pt x="33434" y="99783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6F70962D-9E34-4E62-8D84-771D2D951C38}"/>
                  </a:ext>
                </a:extLst>
              </p:cNvPr>
              <p:cNvSpPr/>
              <p:nvPr/>
            </p:nvSpPr>
            <p:spPr>
              <a:xfrm>
                <a:off x="8936498" y="3989008"/>
                <a:ext cx="149674" cy="46956"/>
              </a:xfrm>
              <a:custGeom>
                <a:avLst/>
                <a:gdLst>
                  <a:gd name="connsiteX0" fmla="*/ 23478 w 149674"/>
                  <a:gd name="connsiteY0" fmla="*/ 46956 h 46956"/>
                  <a:gd name="connsiteX1" fmla="*/ 14674 w 149674"/>
                  <a:gd name="connsiteY1" fmla="*/ 46956 h 46956"/>
                  <a:gd name="connsiteX2" fmla="*/ 0 w 149674"/>
                  <a:gd name="connsiteY2" fmla="*/ 17609 h 46956"/>
                  <a:gd name="connsiteX3" fmla="*/ 5869 w 149674"/>
                  <a:gd name="connsiteY3" fmla="*/ 11739 h 46956"/>
                  <a:gd name="connsiteX4" fmla="*/ 11739 w 149674"/>
                  <a:gd name="connsiteY4" fmla="*/ 17609 h 46956"/>
                  <a:gd name="connsiteX5" fmla="*/ 17609 w 149674"/>
                  <a:gd name="connsiteY5" fmla="*/ 35217 h 46956"/>
                  <a:gd name="connsiteX6" fmla="*/ 82174 w 149674"/>
                  <a:gd name="connsiteY6" fmla="*/ 23478 h 46956"/>
                  <a:gd name="connsiteX7" fmla="*/ 146739 w 149674"/>
                  <a:gd name="connsiteY7" fmla="*/ 0 h 46956"/>
                  <a:gd name="connsiteX8" fmla="*/ 149674 w 149674"/>
                  <a:gd name="connsiteY8" fmla="*/ 11739 h 46956"/>
                  <a:gd name="connsiteX9" fmla="*/ 85109 w 149674"/>
                  <a:gd name="connsiteY9" fmla="*/ 35217 h 46956"/>
                  <a:gd name="connsiteX10" fmla="*/ 23478 w 149674"/>
                  <a:gd name="connsiteY10" fmla="*/ 46956 h 46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9674" h="46956">
                    <a:moveTo>
                      <a:pt x="23478" y="46956"/>
                    </a:moveTo>
                    <a:cubicBezTo>
                      <a:pt x="20543" y="46956"/>
                      <a:pt x="17609" y="46956"/>
                      <a:pt x="14674" y="46956"/>
                    </a:cubicBezTo>
                    <a:cubicBezTo>
                      <a:pt x="0" y="44022"/>
                      <a:pt x="0" y="26413"/>
                      <a:pt x="0" y="17609"/>
                    </a:cubicBezTo>
                    <a:cubicBezTo>
                      <a:pt x="0" y="14674"/>
                      <a:pt x="2935" y="11739"/>
                      <a:pt x="5869" y="11739"/>
                    </a:cubicBezTo>
                    <a:cubicBezTo>
                      <a:pt x="8804" y="11739"/>
                      <a:pt x="11739" y="14674"/>
                      <a:pt x="11739" y="17609"/>
                    </a:cubicBezTo>
                    <a:cubicBezTo>
                      <a:pt x="11739" y="17609"/>
                      <a:pt x="8804" y="32283"/>
                      <a:pt x="17609" y="35217"/>
                    </a:cubicBezTo>
                    <a:cubicBezTo>
                      <a:pt x="26413" y="38152"/>
                      <a:pt x="70435" y="26413"/>
                      <a:pt x="82174" y="23478"/>
                    </a:cubicBezTo>
                    <a:cubicBezTo>
                      <a:pt x="93913" y="20543"/>
                      <a:pt x="146739" y="0"/>
                      <a:pt x="146739" y="0"/>
                    </a:cubicBezTo>
                    <a:lnTo>
                      <a:pt x="149674" y="11739"/>
                    </a:lnTo>
                    <a:cubicBezTo>
                      <a:pt x="149674" y="11739"/>
                      <a:pt x="93913" y="32283"/>
                      <a:pt x="85109" y="35217"/>
                    </a:cubicBezTo>
                    <a:cubicBezTo>
                      <a:pt x="82174" y="35217"/>
                      <a:pt x="44022" y="46956"/>
                      <a:pt x="23478" y="46956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22C76081-FCC6-4CE0-9F0F-7DE45E936598}"/>
                </a:ext>
              </a:extLst>
            </p:cNvPr>
            <p:cNvSpPr/>
            <p:nvPr/>
          </p:nvSpPr>
          <p:spPr>
            <a:xfrm>
              <a:off x="9215977" y="3092868"/>
              <a:ext cx="1016066" cy="916515"/>
            </a:xfrm>
            <a:custGeom>
              <a:avLst/>
              <a:gdLst>
                <a:gd name="connsiteX0" fmla="*/ 665522 w 1016066"/>
                <a:gd name="connsiteY0" fmla="*/ 262228 h 916515"/>
                <a:gd name="connsiteX1" fmla="*/ 471826 w 1016066"/>
                <a:gd name="connsiteY1" fmla="*/ 585054 h 916515"/>
                <a:gd name="connsiteX2" fmla="*/ 2261 w 1016066"/>
                <a:gd name="connsiteY2" fmla="*/ 717119 h 916515"/>
                <a:gd name="connsiteX3" fmla="*/ 43347 w 1016066"/>
                <a:gd name="connsiteY3" fmla="*/ 913749 h 916515"/>
                <a:gd name="connsiteX4" fmla="*/ 639108 w 1016066"/>
                <a:gd name="connsiteY4" fmla="*/ 799293 h 916515"/>
                <a:gd name="connsiteX5" fmla="*/ 979543 w 1016066"/>
                <a:gd name="connsiteY5" fmla="*/ 265162 h 916515"/>
                <a:gd name="connsiteX6" fmla="*/ 979543 w 1016066"/>
                <a:gd name="connsiteY6" fmla="*/ 6901 h 916515"/>
                <a:gd name="connsiteX7" fmla="*/ 665522 w 1016066"/>
                <a:gd name="connsiteY7" fmla="*/ 262228 h 91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6066" h="916515">
                  <a:moveTo>
                    <a:pt x="665522" y="262228"/>
                  </a:moveTo>
                  <a:cubicBezTo>
                    <a:pt x="624435" y="338532"/>
                    <a:pt x="533456" y="523423"/>
                    <a:pt x="471826" y="585054"/>
                  </a:cubicBezTo>
                  <a:cubicBezTo>
                    <a:pt x="383782" y="676032"/>
                    <a:pt x="2261" y="711249"/>
                    <a:pt x="2261" y="717119"/>
                  </a:cubicBezTo>
                  <a:cubicBezTo>
                    <a:pt x="-3609" y="784619"/>
                    <a:pt x="-674" y="863858"/>
                    <a:pt x="43347" y="913749"/>
                  </a:cubicBezTo>
                  <a:cubicBezTo>
                    <a:pt x="49217" y="922554"/>
                    <a:pt x="463022" y="916684"/>
                    <a:pt x="639108" y="799293"/>
                  </a:cubicBezTo>
                  <a:cubicBezTo>
                    <a:pt x="694870" y="764075"/>
                    <a:pt x="909108" y="388423"/>
                    <a:pt x="979543" y="265162"/>
                  </a:cubicBezTo>
                  <a:cubicBezTo>
                    <a:pt x="1020630" y="191793"/>
                    <a:pt x="1035304" y="36249"/>
                    <a:pt x="979543" y="6901"/>
                  </a:cubicBezTo>
                  <a:cubicBezTo>
                    <a:pt x="885630" y="-34186"/>
                    <a:pt x="744760" y="115488"/>
                    <a:pt x="665522" y="262228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F90DCD6E-2EC2-4967-8C51-0F453D5F66D9}"/>
                </a:ext>
              </a:extLst>
            </p:cNvPr>
            <p:cNvSpPr/>
            <p:nvPr/>
          </p:nvSpPr>
          <p:spPr>
            <a:xfrm>
              <a:off x="9936111" y="3989008"/>
              <a:ext cx="1324735" cy="2409456"/>
            </a:xfrm>
            <a:custGeom>
              <a:avLst/>
              <a:gdLst>
                <a:gd name="connsiteX0" fmla="*/ 758322 w 1324735"/>
                <a:gd name="connsiteY0" fmla="*/ 0 h 2409456"/>
                <a:gd name="connsiteX1" fmla="*/ 115605 w 1324735"/>
                <a:gd name="connsiteY1" fmla="*/ 0 h 2409456"/>
                <a:gd name="connsiteX2" fmla="*/ 1148 w 1324735"/>
                <a:gd name="connsiteY2" fmla="*/ 443152 h 2409456"/>
                <a:gd name="connsiteX3" fmla="*/ 174300 w 1324735"/>
                <a:gd name="connsiteY3" fmla="*/ 2391848 h 2409456"/>
                <a:gd name="connsiteX4" fmla="*/ 365061 w 1324735"/>
                <a:gd name="connsiteY4" fmla="*/ 2409456 h 2409456"/>
                <a:gd name="connsiteX5" fmla="*/ 444301 w 1324735"/>
                <a:gd name="connsiteY5" fmla="*/ 780652 h 2409456"/>
                <a:gd name="connsiteX6" fmla="*/ 523539 w 1324735"/>
                <a:gd name="connsiteY6" fmla="*/ 1634674 h 2409456"/>
                <a:gd name="connsiteX7" fmla="*/ 576366 w 1324735"/>
                <a:gd name="connsiteY7" fmla="*/ 1725652 h 2409456"/>
                <a:gd name="connsiteX8" fmla="*/ 1224952 w 1324735"/>
                <a:gd name="connsiteY8" fmla="*/ 2192283 h 2409456"/>
                <a:gd name="connsiteX9" fmla="*/ 1324735 w 1324735"/>
                <a:gd name="connsiteY9" fmla="*/ 2010326 h 2409456"/>
                <a:gd name="connsiteX10" fmla="*/ 849300 w 1324735"/>
                <a:gd name="connsiteY10" fmla="*/ 1596522 h 2409456"/>
                <a:gd name="connsiteX11" fmla="*/ 884518 w 1324735"/>
                <a:gd name="connsiteY11" fmla="*/ 402065 h 2409456"/>
                <a:gd name="connsiteX12" fmla="*/ 758322 w 1324735"/>
                <a:gd name="connsiteY12" fmla="*/ 0 h 240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4735" h="2409456">
                  <a:moveTo>
                    <a:pt x="758322" y="0"/>
                  </a:moveTo>
                  <a:lnTo>
                    <a:pt x="115605" y="0"/>
                  </a:lnTo>
                  <a:cubicBezTo>
                    <a:pt x="115605" y="0"/>
                    <a:pt x="21691" y="293478"/>
                    <a:pt x="1148" y="443152"/>
                  </a:cubicBezTo>
                  <a:cubicBezTo>
                    <a:pt x="-16461" y="589891"/>
                    <a:pt x="174300" y="2391848"/>
                    <a:pt x="174300" y="2391848"/>
                  </a:cubicBezTo>
                  <a:lnTo>
                    <a:pt x="365061" y="2409456"/>
                  </a:lnTo>
                  <a:lnTo>
                    <a:pt x="444301" y="780652"/>
                  </a:lnTo>
                  <a:cubicBezTo>
                    <a:pt x="444301" y="780652"/>
                    <a:pt x="502996" y="1432174"/>
                    <a:pt x="523539" y="1634674"/>
                  </a:cubicBezTo>
                  <a:cubicBezTo>
                    <a:pt x="526474" y="1669891"/>
                    <a:pt x="547018" y="1705108"/>
                    <a:pt x="576366" y="1725652"/>
                  </a:cubicBezTo>
                  <a:lnTo>
                    <a:pt x="1224952" y="2192283"/>
                  </a:lnTo>
                  <a:lnTo>
                    <a:pt x="1324735" y="2010326"/>
                  </a:lnTo>
                  <a:lnTo>
                    <a:pt x="849300" y="1596522"/>
                  </a:lnTo>
                  <a:cubicBezTo>
                    <a:pt x="849300" y="1596522"/>
                    <a:pt x="878648" y="463696"/>
                    <a:pt x="884518" y="402065"/>
                  </a:cubicBezTo>
                  <a:cubicBezTo>
                    <a:pt x="896257" y="284674"/>
                    <a:pt x="758322" y="0"/>
                    <a:pt x="758322" y="0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1E44E110-05DC-4A21-B7C7-801294713127}"/>
                </a:ext>
              </a:extLst>
            </p:cNvPr>
            <p:cNvSpPr/>
            <p:nvPr/>
          </p:nvSpPr>
          <p:spPr>
            <a:xfrm>
              <a:off x="10336390" y="4364660"/>
              <a:ext cx="832744" cy="1825434"/>
            </a:xfrm>
            <a:custGeom>
              <a:avLst/>
              <a:gdLst>
                <a:gd name="connsiteX0" fmla="*/ 827608 w 832744"/>
                <a:gd name="connsiteY0" fmla="*/ 1822500 h 1825434"/>
                <a:gd name="connsiteX1" fmla="*/ 824673 w 832744"/>
                <a:gd name="connsiteY1" fmla="*/ 1822500 h 1825434"/>
                <a:gd name="connsiteX2" fmla="*/ 176087 w 832744"/>
                <a:gd name="connsiteY2" fmla="*/ 1355870 h 1825434"/>
                <a:gd name="connsiteX3" fmla="*/ 120325 w 832744"/>
                <a:gd name="connsiteY3" fmla="*/ 1261957 h 1825434"/>
                <a:gd name="connsiteX4" fmla="*/ 41087 w 832744"/>
                <a:gd name="connsiteY4" fmla="*/ 407935 h 1825434"/>
                <a:gd name="connsiteX5" fmla="*/ 0 w 832744"/>
                <a:gd name="connsiteY5" fmla="*/ 5870 h 1825434"/>
                <a:gd name="connsiteX6" fmla="*/ 5869 w 832744"/>
                <a:gd name="connsiteY6" fmla="*/ 0 h 1825434"/>
                <a:gd name="connsiteX7" fmla="*/ 11739 w 832744"/>
                <a:gd name="connsiteY7" fmla="*/ 5870 h 1825434"/>
                <a:gd name="connsiteX8" fmla="*/ 52826 w 832744"/>
                <a:gd name="connsiteY8" fmla="*/ 407935 h 1825434"/>
                <a:gd name="connsiteX9" fmla="*/ 132065 w 832744"/>
                <a:gd name="connsiteY9" fmla="*/ 1261957 h 1825434"/>
                <a:gd name="connsiteX10" fmla="*/ 181956 w 832744"/>
                <a:gd name="connsiteY10" fmla="*/ 1350000 h 1825434"/>
                <a:gd name="connsiteX11" fmla="*/ 830543 w 832744"/>
                <a:gd name="connsiteY11" fmla="*/ 1816631 h 1825434"/>
                <a:gd name="connsiteX12" fmla="*/ 830543 w 832744"/>
                <a:gd name="connsiteY12" fmla="*/ 1825435 h 1825434"/>
                <a:gd name="connsiteX13" fmla="*/ 827608 w 832744"/>
                <a:gd name="connsiteY13" fmla="*/ 1822500 h 1825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32744" h="1825434">
                  <a:moveTo>
                    <a:pt x="827608" y="1822500"/>
                  </a:moveTo>
                  <a:cubicBezTo>
                    <a:pt x="827608" y="1822500"/>
                    <a:pt x="824673" y="1822500"/>
                    <a:pt x="824673" y="1822500"/>
                  </a:cubicBezTo>
                  <a:lnTo>
                    <a:pt x="176087" y="1355870"/>
                  </a:lnTo>
                  <a:cubicBezTo>
                    <a:pt x="143804" y="1332391"/>
                    <a:pt x="126195" y="1300109"/>
                    <a:pt x="120325" y="1261957"/>
                  </a:cubicBezTo>
                  <a:cubicBezTo>
                    <a:pt x="99782" y="1062392"/>
                    <a:pt x="41087" y="416739"/>
                    <a:pt x="41087" y="407935"/>
                  </a:cubicBezTo>
                  <a:lnTo>
                    <a:pt x="0" y="5870"/>
                  </a:lnTo>
                  <a:cubicBezTo>
                    <a:pt x="0" y="2935"/>
                    <a:pt x="2934" y="0"/>
                    <a:pt x="5869" y="0"/>
                  </a:cubicBezTo>
                  <a:cubicBezTo>
                    <a:pt x="8804" y="0"/>
                    <a:pt x="11739" y="2935"/>
                    <a:pt x="11739" y="5870"/>
                  </a:cubicBezTo>
                  <a:lnTo>
                    <a:pt x="52826" y="407935"/>
                  </a:lnTo>
                  <a:cubicBezTo>
                    <a:pt x="52826" y="413804"/>
                    <a:pt x="111521" y="1062392"/>
                    <a:pt x="132065" y="1261957"/>
                  </a:cubicBezTo>
                  <a:cubicBezTo>
                    <a:pt x="134999" y="1297174"/>
                    <a:pt x="155543" y="1329456"/>
                    <a:pt x="181956" y="1350000"/>
                  </a:cubicBezTo>
                  <a:lnTo>
                    <a:pt x="830543" y="1816631"/>
                  </a:lnTo>
                  <a:cubicBezTo>
                    <a:pt x="833478" y="1819566"/>
                    <a:pt x="833478" y="1822500"/>
                    <a:pt x="830543" y="1825435"/>
                  </a:cubicBezTo>
                  <a:cubicBezTo>
                    <a:pt x="830543" y="1819566"/>
                    <a:pt x="827608" y="1822500"/>
                    <a:pt x="827608" y="1822500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7E54B590-083D-48D6-BBDA-5EFDFDA77766}"/>
                </a:ext>
              </a:extLst>
            </p:cNvPr>
            <p:cNvSpPr/>
            <p:nvPr/>
          </p:nvSpPr>
          <p:spPr>
            <a:xfrm>
              <a:off x="10644542" y="4138682"/>
              <a:ext cx="174367" cy="181956"/>
            </a:xfrm>
            <a:custGeom>
              <a:avLst/>
              <a:gdLst>
                <a:gd name="connsiteX0" fmla="*/ 170217 w 174367"/>
                <a:gd name="connsiteY0" fmla="*/ 181956 h 181956"/>
                <a:gd name="connsiteX1" fmla="*/ 170217 w 174367"/>
                <a:gd name="connsiteY1" fmla="*/ 181956 h 181956"/>
                <a:gd name="connsiteX2" fmla="*/ 0 w 174367"/>
                <a:gd name="connsiteY2" fmla="*/ 5869 h 181956"/>
                <a:gd name="connsiteX3" fmla="*/ 2934 w 174367"/>
                <a:gd name="connsiteY3" fmla="*/ 0 h 181956"/>
                <a:gd name="connsiteX4" fmla="*/ 8804 w 174367"/>
                <a:gd name="connsiteY4" fmla="*/ 2935 h 181956"/>
                <a:gd name="connsiteX5" fmla="*/ 170217 w 174367"/>
                <a:gd name="connsiteY5" fmla="*/ 173152 h 181956"/>
                <a:gd name="connsiteX6" fmla="*/ 173152 w 174367"/>
                <a:gd name="connsiteY6" fmla="*/ 179022 h 181956"/>
                <a:gd name="connsiteX7" fmla="*/ 170217 w 174367"/>
                <a:gd name="connsiteY7" fmla="*/ 181956 h 181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367" h="181956">
                  <a:moveTo>
                    <a:pt x="170217" y="181956"/>
                  </a:moveTo>
                  <a:cubicBezTo>
                    <a:pt x="170217" y="181956"/>
                    <a:pt x="170217" y="181956"/>
                    <a:pt x="170217" y="181956"/>
                  </a:cubicBezTo>
                  <a:cubicBezTo>
                    <a:pt x="55761" y="149674"/>
                    <a:pt x="2934" y="11739"/>
                    <a:pt x="0" y="5869"/>
                  </a:cubicBezTo>
                  <a:cubicBezTo>
                    <a:pt x="0" y="2935"/>
                    <a:pt x="0" y="0"/>
                    <a:pt x="2934" y="0"/>
                  </a:cubicBezTo>
                  <a:cubicBezTo>
                    <a:pt x="5869" y="0"/>
                    <a:pt x="8804" y="0"/>
                    <a:pt x="8804" y="2935"/>
                  </a:cubicBezTo>
                  <a:cubicBezTo>
                    <a:pt x="8804" y="2935"/>
                    <a:pt x="61630" y="143804"/>
                    <a:pt x="170217" y="173152"/>
                  </a:cubicBezTo>
                  <a:cubicBezTo>
                    <a:pt x="173152" y="173152"/>
                    <a:pt x="176087" y="176087"/>
                    <a:pt x="173152" y="179022"/>
                  </a:cubicBezTo>
                  <a:cubicBezTo>
                    <a:pt x="176087" y="179022"/>
                    <a:pt x="173152" y="181956"/>
                    <a:pt x="170217" y="181956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C8225529-B2D2-4C94-A36F-6EEA903563F6}"/>
                </a:ext>
              </a:extLst>
            </p:cNvPr>
            <p:cNvSpPr/>
            <p:nvPr/>
          </p:nvSpPr>
          <p:spPr>
            <a:xfrm>
              <a:off x="9951933" y="4138682"/>
              <a:ext cx="167282" cy="184891"/>
            </a:xfrm>
            <a:custGeom>
              <a:avLst/>
              <a:gdLst>
                <a:gd name="connsiteX0" fmla="*/ 5869 w 167282"/>
                <a:gd name="connsiteY0" fmla="*/ 184891 h 184891"/>
                <a:gd name="connsiteX1" fmla="*/ 0 w 167282"/>
                <a:gd name="connsiteY1" fmla="*/ 181956 h 184891"/>
                <a:gd name="connsiteX2" fmla="*/ 2935 w 167282"/>
                <a:gd name="connsiteY2" fmla="*/ 176087 h 184891"/>
                <a:gd name="connsiteX3" fmla="*/ 155543 w 167282"/>
                <a:gd name="connsiteY3" fmla="*/ 2935 h 184891"/>
                <a:gd name="connsiteX4" fmla="*/ 164348 w 167282"/>
                <a:gd name="connsiteY4" fmla="*/ 0 h 184891"/>
                <a:gd name="connsiteX5" fmla="*/ 167282 w 167282"/>
                <a:gd name="connsiteY5" fmla="*/ 8804 h 184891"/>
                <a:gd name="connsiteX6" fmla="*/ 5869 w 167282"/>
                <a:gd name="connsiteY6" fmla="*/ 184891 h 184891"/>
                <a:gd name="connsiteX7" fmla="*/ 5869 w 167282"/>
                <a:gd name="connsiteY7" fmla="*/ 184891 h 184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7282" h="184891">
                  <a:moveTo>
                    <a:pt x="5869" y="184891"/>
                  </a:moveTo>
                  <a:cubicBezTo>
                    <a:pt x="2935" y="184891"/>
                    <a:pt x="2935" y="184891"/>
                    <a:pt x="0" y="181956"/>
                  </a:cubicBezTo>
                  <a:cubicBezTo>
                    <a:pt x="0" y="179022"/>
                    <a:pt x="0" y="176087"/>
                    <a:pt x="2935" y="176087"/>
                  </a:cubicBezTo>
                  <a:cubicBezTo>
                    <a:pt x="79239" y="146739"/>
                    <a:pt x="155543" y="2935"/>
                    <a:pt x="155543" y="2935"/>
                  </a:cubicBezTo>
                  <a:cubicBezTo>
                    <a:pt x="155543" y="0"/>
                    <a:pt x="161413" y="0"/>
                    <a:pt x="164348" y="0"/>
                  </a:cubicBezTo>
                  <a:cubicBezTo>
                    <a:pt x="167282" y="0"/>
                    <a:pt x="167282" y="5869"/>
                    <a:pt x="167282" y="8804"/>
                  </a:cubicBezTo>
                  <a:cubicBezTo>
                    <a:pt x="164348" y="11739"/>
                    <a:pt x="88043" y="152609"/>
                    <a:pt x="5869" y="184891"/>
                  </a:cubicBezTo>
                  <a:cubicBezTo>
                    <a:pt x="8804" y="184891"/>
                    <a:pt x="8804" y="184891"/>
                    <a:pt x="5869" y="184891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14246EAF-B125-495E-8969-EF7C022F638F}"/>
                </a:ext>
              </a:extLst>
            </p:cNvPr>
            <p:cNvSpPr/>
            <p:nvPr/>
          </p:nvSpPr>
          <p:spPr>
            <a:xfrm>
              <a:off x="9952999" y="3066124"/>
              <a:ext cx="789897" cy="949384"/>
            </a:xfrm>
            <a:custGeom>
              <a:avLst/>
              <a:gdLst>
                <a:gd name="connsiteX0" fmla="*/ 747304 w 789897"/>
                <a:gd name="connsiteY0" fmla="*/ 377015 h 949384"/>
                <a:gd name="connsiteX1" fmla="*/ 732630 w 789897"/>
                <a:gd name="connsiteY1" fmla="*/ 65928 h 949384"/>
                <a:gd name="connsiteX2" fmla="*/ 377521 w 789897"/>
                <a:gd name="connsiteY2" fmla="*/ 4298 h 949384"/>
                <a:gd name="connsiteX3" fmla="*/ 86978 w 789897"/>
                <a:gd name="connsiteY3" fmla="*/ 101145 h 949384"/>
                <a:gd name="connsiteX4" fmla="*/ 48825 w 789897"/>
                <a:gd name="connsiteY4" fmla="*/ 629406 h 949384"/>
                <a:gd name="connsiteX5" fmla="*/ 89913 w 789897"/>
                <a:gd name="connsiteY5" fmla="*/ 943428 h 949384"/>
                <a:gd name="connsiteX6" fmla="*/ 741434 w 789897"/>
                <a:gd name="connsiteY6" fmla="*/ 928754 h 949384"/>
                <a:gd name="connsiteX7" fmla="*/ 747304 w 789897"/>
                <a:gd name="connsiteY7" fmla="*/ 377015 h 949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9897" h="949384">
                  <a:moveTo>
                    <a:pt x="747304" y="377015"/>
                  </a:moveTo>
                  <a:cubicBezTo>
                    <a:pt x="756108" y="347667"/>
                    <a:pt x="847086" y="127559"/>
                    <a:pt x="732630" y="65928"/>
                  </a:cubicBezTo>
                  <a:cubicBezTo>
                    <a:pt x="632848" y="13102"/>
                    <a:pt x="491977" y="-10376"/>
                    <a:pt x="377521" y="4298"/>
                  </a:cubicBezTo>
                  <a:cubicBezTo>
                    <a:pt x="251326" y="18972"/>
                    <a:pt x="125130" y="39515"/>
                    <a:pt x="86978" y="101145"/>
                  </a:cubicBezTo>
                  <a:cubicBezTo>
                    <a:pt x="-21610" y="280167"/>
                    <a:pt x="-21610" y="438645"/>
                    <a:pt x="48825" y="629406"/>
                  </a:cubicBezTo>
                  <a:cubicBezTo>
                    <a:pt x="69369" y="685167"/>
                    <a:pt x="75239" y="814298"/>
                    <a:pt x="89913" y="943428"/>
                  </a:cubicBezTo>
                  <a:cubicBezTo>
                    <a:pt x="89913" y="943428"/>
                    <a:pt x="362847" y="963972"/>
                    <a:pt x="741434" y="928754"/>
                  </a:cubicBezTo>
                  <a:cubicBezTo>
                    <a:pt x="712086" y="717450"/>
                    <a:pt x="741434" y="400493"/>
                    <a:pt x="747304" y="377015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BBA72DD2-9165-439C-BC2A-FD848DFBB11C}"/>
                </a:ext>
              </a:extLst>
            </p:cNvPr>
            <p:cNvSpPr/>
            <p:nvPr/>
          </p:nvSpPr>
          <p:spPr>
            <a:xfrm>
              <a:off x="10224868" y="2897176"/>
              <a:ext cx="296413" cy="314114"/>
            </a:xfrm>
            <a:custGeom>
              <a:avLst/>
              <a:gdLst>
                <a:gd name="connsiteX0" fmla="*/ 52827 w 296413"/>
                <a:gd name="connsiteY0" fmla="*/ 58789 h 314114"/>
                <a:gd name="connsiteX1" fmla="*/ 0 w 296413"/>
                <a:gd name="connsiteY1" fmla="*/ 193789 h 314114"/>
                <a:gd name="connsiteX2" fmla="*/ 38153 w 296413"/>
                <a:gd name="connsiteY2" fmla="*/ 314115 h 314114"/>
                <a:gd name="connsiteX3" fmla="*/ 296413 w 296413"/>
                <a:gd name="connsiteY3" fmla="*/ 179115 h 314114"/>
                <a:gd name="connsiteX4" fmla="*/ 246522 w 296413"/>
                <a:gd name="connsiteY4" fmla="*/ 93 h 314114"/>
                <a:gd name="connsiteX5" fmla="*/ 52827 w 296413"/>
                <a:gd name="connsiteY5" fmla="*/ 58789 h 314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6413" h="314114">
                  <a:moveTo>
                    <a:pt x="52827" y="58789"/>
                  </a:moveTo>
                  <a:cubicBezTo>
                    <a:pt x="52827" y="58789"/>
                    <a:pt x="58696" y="164441"/>
                    <a:pt x="0" y="193789"/>
                  </a:cubicBezTo>
                  <a:lnTo>
                    <a:pt x="38153" y="314115"/>
                  </a:lnTo>
                  <a:cubicBezTo>
                    <a:pt x="38153" y="314115"/>
                    <a:pt x="246522" y="208463"/>
                    <a:pt x="296413" y="179115"/>
                  </a:cubicBezTo>
                  <a:cubicBezTo>
                    <a:pt x="243588" y="138028"/>
                    <a:pt x="246522" y="58789"/>
                    <a:pt x="246522" y="93"/>
                  </a:cubicBezTo>
                  <a:cubicBezTo>
                    <a:pt x="246522" y="-2842"/>
                    <a:pt x="102717" y="64658"/>
                    <a:pt x="52827" y="58789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DC239E03-6214-4409-82DD-9CA57C553464}"/>
                </a:ext>
              </a:extLst>
            </p:cNvPr>
            <p:cNvSpPr/>
            <p:nvPr/>
          </p:nvSpPr>
          <p:spPr>
            <a:xfrm>
              <a:off x="9951137" y="3164334"/>
              <a:ext cx="97643" cy="534130"/>
            </a:xfrm>
            <a:custGeom>
              <a:avLst/>
              <a:gdLst>
                <a:gd name="connsiteX0" fmla="*/ 53622 w 97643"/>
                <a:gd name="connsiteY0" fmla="*/ 534130 h 534130"/>
                <a:gd name="connsiteX1" fmla="*/ 47753 w 97643"/>
                <a:gd name="connsiteY1" fmla="*/ 531196 h 534130"/>
                <a:gd name="connsiteX2" fmla="*/ 33079 w 97643"/>
                <a:gd name="connsiteY2" fmla="*/ 478370 h 534130"/>
                <a:gd name="connsiteX3" fmla="*/ 796 w 97643"/>
                <a:gd name="connsiteY3" fmla="*/ 334565 h 534130"/>
                <a:gd name="connsiteX4" fmla="*/ 85905 w 97643"/>
                <a:gd name="connsiteY4" fmla="*/ 2935 h 534130"/>
                <a:gd name="connsiteX5" fmla="*/ 94709 w 97643"/>
                <a:gd name="connsiteY5" fmla="*/ 0 h 534130"/>
                <a:gd name="connsiteX6" fmla="*/ 97644 w 97643"/>
                <a:gd name="connsiteY6" fmla="*/ 8804 h 534130"/>
                <a:gd name="connsiteX7" fmla="*/ 12535 w 97643"/>
                <a:gd name="connsiteY7" fmla="*/ 334565 h 534130"/>
                <a:gd name="connsiteX8" fmla="*/ 44818 w 97643"/>
                <a:gd name="connsiteY8" fmla="*/ 478370 h 534130"/>
                <a:gd name="connsiteX9" fmla="*/ 59492 w 97643"/>
                <a:gd name="connsiteY9" fmla="*/ 531196 h 534130"/>
                <a:gd name="connsiteX10" fmla="*/ 53622 w 97643"/>
                <a:gd name="connsiteY10" fmla="*/ 534130 h 534130"/>
                <a:gd name="connsiteX11" fmla="*/ 53622 w 97643"/>
                <a:gd name="connsiteY11" fmla="*/ 534130 h 534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7643" h="534130">
                  <a:moveTo>
                    <a:pt x="53622" y="534130"/>
                  </a:moveTo>
                  <a:cubicBezTo>
                    <a:pt x="50687" y="534130"/>
                    <a:pt x="47753" y="531196"/>
                    <a:pt x="47753" y="531196"/>
                  </a:cubicBezTo>
                  <a:cubicBezTo>
                    <a:pt x="41883" y="513587"/>
                    <a:pt x="38948" y="495978"/>
                    <a:pt x="33079" y="478370"/>
                  </a:cubicBezTo>
                  <a:cubicBezTo>
                    <a:pt x="18405" y="428478"/>
                    <a:pt x="3731" y="378587"/>
                    <a:pt x="796" y="334565"/>
                  </a:cubicBezTo>
                  <a:cubicBezTo>
                    <a:pt x="-5074" y="214239"/>
                    <a:pt x="21339" y="102717"/>
                    <a:pt x="85905" y="2935"/>
                  </a:cubicBezTo>
                  <a:cubicBezTo>
                    <a:pt x="88840" y="0"/>
                    <a:pt x="91775" y="0"/>
                    <a:pt x="94709" y="0"/>
                  </a:cubicBezTo>
                  <a:cubicBezTo>
                    <a:pt x="97644" y="2935"/>
                    <a:pt x="97644" y="5870"/>
                    <a:pt x="97644" y="8804"/>
                  </a:cubicBezTo>
                  <a:cubicBezTo>
                    <a:pt x="36013" y="108587"/>
                    <a:pt x="6665" y="217174"/>
                    <a:pt x="12535" y="334565"/>
                  </a:cubicBezTo>
                  <a:cubicBezTo>
                    <a:pt x="15470" y="378587"/>
                    <a:pt x="30144" y="428478"/>
                    <a:pt x="44818" y="478370"/>
                  </a:cubicBezTo>
                  <a:cubicBezTo>
                    <a:pt x="50687" y="495978"/>
                    <a:pt x="56557" y="513587"/>
                    <a:pt x="59492" y="531196"/>
                  </a:cubicBezTo>
                  <a:cubicBezTo>
                    <a:pt x="59492" y="531196"/>
                    <a:pt x="59492" y="534130"/>
                    <a:pt x="53622" y="534130"/>
                  </a:cubicBezTo>
                  <a:cubicBezTo>
                    <a:pt x="56557" y="534130"/>
                    <a:pt x="53622" y="534130"/>
                    <a:pt x="53622" y="534130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E87714CD-1D55-45EA-865E-53C3DA89BC45}"/>
                </a:ext>
              </a:extLst>
            </p:cNvPr>
            <p:cNvSpPr/>
            <p:nvPr/>
          </p:nvSpPr>
          <p:spPr>
            <a:xfrm>
              <a:off x="10069325" y="3587130"/>
              <a:ext cx="385672" cy="35030"/>
            </a:xfrm>
            <a:custGeom>
              <a:avLst/>
              <a:gdLst>
                <a:gd name="connsiteX0" fmla="*/ 5869 w 385672"/>
                <a:gd name="connsiteY0" fmla="*/ 35031 h 35030"/>
                <a:gd name="connsiteX1" fmla="*/ 0 w 385672"/>
                <a:gd name="connsiteY1" fmla="*/ 32096 h 35030"/>
                <a:gd name="connsiteX2" fmla="*/ 2935 w 385672"/>
                <a:gd name="connsiteY2" fmla="*/ 26226 h 35030"/>
                <a:gd name="connsiteX3" fmla="*/ 381522 w 385672"/>
                <a:gd name="connsiteY3" fmla="*/ 14487 h 35030"/>
                <a:gd name="connsiteX4" fmla="*/ 384457 w 385672"/>
                <a:gd name="connsiteY4" fmla="*/ 20357 h 35030"/>
                <a:gd name="connsiteX5" fmla="*/ 378587 w 385672"/>
                <a:gd name="connsiteY5" fmla="*/ 23292 h 35030"/>
                <a:gd name="connsiteX6" fmla="*/ 5869 w 385672"/>
                <a:gd name="connsiteY6" fmla="*/ 35031 h 35030"/>
                <a:gd name="connsiteX7" fmla="*/ 5869 w 385672"/>
                <a:gd name="connsiteY7" fmla="*/ 35031 h 35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5672" h="35030">
                  <a:moveTo>
                    <a:pt x="5869" y="35031"/>
                  </a:moveTo>
                  <a:cubicBezTo>
                    <a:pt x="2935" y="35031"/>
                    <a:pt x="2935" y="35031"/>
                    <a:pt x="0" y="32096"/>
                  </a:cubicBezTo>
                  <a:cubicBezTo>
                    <a:pt x="0" y="29161"/>
                    <a:pt x="0" y="26226"/>
                    <a:pt x="2935" y="26226"/>
                  </a:cubicBezTo>
                  <a:cubicBezTo>
                    <a:pt x="85109" y="-3122"/>
                    <a:pt x="284673" y="-8991"/>
                    <a:pt x="381522" y="14487"/>
                  </a:cubicBezTo>
                  <a:cubicBezTo>
                    <a:pt x="384457" y="14487"/>
                    <a:pt x="387391" y="17422"/>
                    <a:pt x="384457" y="20357"/>
                  </a:cubicBezTo>
                  <a:cubicBezTo>
                    <a:pt x="384457" y="23292"/>
                    <a:pt x="381522" y="26226"/>
                    <a:pt x="378587" y="23292"/>
                  </a:cubicBezTo>
                  <a:cubicBezTo>
                    <a:pt x="284673" y="2748"/>
                    <a:pt x="88043" y="8618"/>
                    <a:pt x="5869" y="35031"/>
                  </a:cubicBezTo>
                  <a:cubicBezTo>
                    <a:pt x="5869" y="35031"/>
                    <a:pt x="5869" y="35031"/>
                    <a:pt x="5869" y="35031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0723360D-645D-4342-B695-A841A819C91B}"/>
                </a:ext>
              </a:extLst>
            </p:cNvPr>
            <p:cNvSpPr/>
            <p:nvPr/>
          </p:nvSpPr>
          <p:spPr>
            <a:xfrm>
              <a:off x="10042912" y="3983139"/>
              <a:ext cx="302282" cy="29347"/>
            </a:xfrm>
            <a:custGeom>
              <a:avLst/>
              <a:gdLst>
                <a:gd name="connsiteX0" fmla="*/ 5869 w 302282"/>
                <a:gd name="connsiteY0" fmla="*/ 29348 h 29347"/>
                <a:gd name="connsiteX1" fmla="*/ 0 w 302282"/>
                <a:gd name="connsiteY1" fmla="*/ 23478 h 29347"/>
                <a:gd name="connsiteX2" fmla="*/ 5869 w 302282"/>
                <a:gd name="connsiteY2" fmla="*/ 17609 h 29347"/>
                <a:gd name="connsiteX3" fmla="*/ 296412 w 302282"/>
                <a:gd name="connsiteY3" fmla="*/ 0 h 29347"/>
                <a:gd name="connsiteX4" fmla="*/ 302282 w 302282"/>
                <a:gd name="connsiteY4" fmla="*/ 2935 h 29347"/>
                <a:gd name="connsiteX5" fmla="*/ 299347 w 302282"/>
                <a:gd name="connsiteY5" fmla="*/ 8804 h 29347"/>
                <a:gd name="connsiteX6" fmla="*/ 5869 w 302282"/>
                <a:gd name="connsiteY6" fmla="*/ 29348 h 29347"/>
                <a:gd name="connsiteX7" fmla="*/ 5869 w 302282"/>
                <a:gd name="connsiteY7" fmla="*/ 29348 h 2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2282" h="29347">
                  <a:moveTo>
                    <a:pt x="5869" y="29348"/>
                  </a:moveTo>
                  <a:cubicBezTo>
                    <a:pt x="2934" y="29348"/>
                    <a:pt x="0" y="26413"/>
                    <a:pt x="0" y="23478"/>
                  </a:cubicBezTo>
                  <a:cubicBezTo>
                    <a:pt x="0" y="20544"/>
                    <a:pt x="2934" y="17609"/>
                    <a:pt x="5869" y="17609"/>
                  </a:cubicBezTo>
                  <a:cubicBezTo>
                    <a:pt x="8804" y="17609"/>
                    <a:pt x="208369" y="14674"/>
                    <a:pt x="296412" y="0"/>
                  </a:cubicBezTo>
                  <a:cubicBezTo>
                    <a:pt x="299347" y="0"/>
                    <a:pt x="302282" y="0"/>
                    <a:pt x="302282" y="2935"/>
                  </a:cubicBezTo>
                  <a:cubicBezTo>
                    <a:pt x="302282" y="5870"/>
                    <a:pt x="302282" y="8804"/>
                    <a:pt x="299347" y="8804"/>
                  </a:cubicBezTo>
                  <a:cubicBezTo>
                    <a:pt x="208369" y="26413"/>
                    <a:pt x="5869" y="29348"/>
                    <a:pt x="5869" y="29348"/>
                  </a:cubicBezTo>
                  <a:cubicBezTo>
                    <a:pt x="5869" y="29348"/>
                    <a:pt x="5869" y="29348"/>
                    <a:pt x="5869" y="29348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2C3FB36C-FEC6-4474-BE8C-849A7CF77F51}"/>
                </a:ext>
              </a:extLst>
            </p:cNvPr>
            <p:cNvSpPr/>
            <p:nvPr/>
          </p:nvSpPr>
          <p:spPr>
            <a:xfrm>
              <a:off x="10325645" y="3061617"/>
              <a:ext cx="638788" cy="1549565"/>
            </a:xfrm>
            <a:custGeom>
              <a:avLst/>
              <a:gdLst>
                <a:gd name="connsiteX0" fmla="*/ 22484 w 638788"/>
                <a:gd name="connsiteY0" fmla="*/ 296413 h 1549565"/>
                <a:gd name="connsiteX1" fmla="*/ 72375 w 638788"/>
                <a:gd name="connsiteY1" fmla="*/ 997826 h 1549565"/>
                <a:gd name="connsiteX2" fmla="*/ 216180 w 638788"/>
                <a:gd name="connsiteY2" fmla="*/ 1549565 h 1549565"/>
                <a:gd name="connsiteX3" fmla="*/ 638789 w 638788"/>
                <a:gd name="connsiteY3" fmla="*/ 1332391 h 1549565"/>
                <a:gd name="connsiteX4" fmla="*/ 433354 w 638788"/>
                <a:gd name="connsiteY4" fmla="*/ 827609 h 1549565"/>
                <a:gd name="connsiteX5" fmla="*/ 433354 w 638788"/>
                <a:gd name="connsiteY5" fmla="*/ 375652 h 1549565"/>
                <a:gd name="connsiteX6" fmla="*/ 433354 w 638788"/>
                <a:gd name="connsiteY6" fmla="*/ 114456 h 1549565"/>
                <a:gd name="connsiteX7" fmla="*/ 180963 w 638788"/>
                <a:gd name="connsiteY7" fmla="*/ 0 h 1549565"/>
                <a:gd name="connsiteX8" fmla="*/ 22484 w 638788"/>
                <a:gd name="connsiteY8" fmla="*/ 296413 h 1549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8788" h="1549565">
                  <a:moveTo>
                    <a:pt x="22484" y="296413"/>
                  </a:moveTo>
                  <a:cubicBezTo>
                    <a:pt x="-36211" y="522391"/>
                    <a:pt x="34223" y="763043"/>
                    <a:pt x="72375" y="997826"/>
                  </a:cubicBezTo>
                  <a:cubicBezTo>
                    <a:pt x="104658" y="1185652"/>
                    <a:pt x="148680" y="1370544"/>
                    <a:pt x="216180" y="1549565"/>
                  </a:cubicBezTo>
                  <a:cubicBezTo>
                    <a:pt x="404006" y="1523152"/>
                    <a:pt x="544875" y="1446848"/>
                    <a:pt x="638789" y="1332391"/>
                  </a:cubicBezTo>
                  <a:cubicBezTo>
                    <a:pt x="580093" y="1209131"/>
                    <a:pt x="459767" y="962609"/>
                    <a:pt x="433354" y="827609"/>
                  </a:cubicBezTo>
                  <a:cubicBezTo>
                    <a:pt x="404006" y="677935"/>
                    <a:pt x="395201" y="525326"/>
                    <a:pt x="433354" y="375652"/>
                  </a:cubicBezTo>
                  <a:cubicBezTo>
                    <a:pt x="456832" y="287609"/>
                    <a:pt x="492050" y="196630"/>
                    <a:pt x="433354" y="114456"/>
                  </a:cubicBezTo>
                  <a:cubicBezTo>
                    <a:pt x="383462" y="46956"/>
                    <a:pt x="257267" y="11739"/>
                    <a:pt x="180963" y="0"/>
                  </a:cubicBezTo>
                  <a:cubicBezTo>
                    <a:pt x="178028" y="2935"/>
                    <a:pt x="48897" y="199565"/>
                    <a:pt x="22484" y="296413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2442518C-4C46-4501-BE54-910D6B76139A}"/>
                </a:ext>
              </a:extLst>
            </p:cNvPr>
            <p:cNvSpPr/>
            <p:nvPr/>
          </p:nvSpPr>
          <p:spPr>
            <a:xfrm>
              <a:off x="9875540" y="3073356"/>
              <a:ext cx="375741" cy="1491735"/>
            </a:xfrm>
            <a:custGeom>
              <a:avLst/>
              <a:gdLst>
                <a:gd name="connsiteX0" fmla="*/ 89 w 375741"/>
                <a:gd name="connsiteY0" fmla="*/ 1464457 h 1491735"/>
                <a:gd name="connsiteX1" fmla="*/ 73459 w 375741"/>
                <a:gd name="connsiteY1" fmla="*/ 1487935 h 1491735"/>
                <a:gd name="connsiteX2" fmla="*/ 73459 w 375741"/>
                <a:gd name="connsiteY2" fmla="*/ 1388152 h 1491735"/>
                <a:gd name="connsiteX3" fmla="*/ 170306 w 375741"/>
                <a:gd name="connsiteY3" fmla="*/ 1038913 h 1491735"/>
                <a:gd name="connsiteX4" fmla="*/ 187915 w 375741"/>
                <a:gd name="connsiteY4" fmla="*/ 707283 h 1491735"/>
                <a:gd name="connsiteX5" fmla="*/ 352263 w 375741"/>
                <a:gd name="connsiteY5" fmla="*/ 17609 h 1491735"/>
                <a:gd name="connsiteX6" fmla="*/ 375741 w 375741"/>
                <a:gd name="connsiteY6" fmla="*/ 0 h 1491735"/>
                <a:gd name="connsiteX7" fmla="*/ 55850 w 375741"/>
                <a:gd name="connsiteY7" fmla="*/ 472500 h 1491735"/>
                <a:gd name="connsiteX8" fmla="*/ 85198 w 375741"/>
                <a:gd name="connsiteY8" fmla="*/ 695544 h 1491735"/>
                <a:gd name="connsiteX9" fmla="*/ 82263 w 375741"/>
                <a:gd name="connsiteY9" fmla="*/ 918587 h 1491735"/>
                <a:gd name="connsiteX10" fmla="*/ 89 w 375741"/>
                <a:gd name="connsiteY10" fmla="*/ 1464457 h 149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741" h="1491735">
                  <a:moveTo>
                    <a:pt x="89" y="1464457"/>
                  </a:moveTo>
                  <a:cubicBezTo>
                    <a:pt x="-2846" y="1482065"/>
                    <a:pt x="67589" y="1499674"/>
                    <a:pt x="73459" y="1487935"/>
                  </a:cubicBezTo>
                  <a:cubicBezTo>
                    <a:pt x="76394" y="1485000"/>
                    <a:pt x="73459" y="1394022"/>
                    <a:pt x="73459" y="1388152"/>
                  </a:cubicBezTo>
                  <a:cubicBezTo>
                    <a:pt x="91068" y="1261957"/>
                    <a:pt x="126284" y="1156304"/>
                    <a:pt x="170306" y="1038913"/>
                  </a:cubicBezTo>
                  <a:cubicBezTo>
                    <a:pt x="208459" y="930326"/>
                    <a:pt x="199654" y="821739"/>
                    <a:pt x="187915" y="707283"/>
                  </a:cubicBezTo>
                  <a:cubicBezTo>
                    <a:pt x="161502" y="460761"/>
                    <a:pt x="199654" y="220109"/>
                    <a:pt x="352263" y="17609"/>
                  </a:cubicBezTo>
                  <a:cubicBezTo>
                    <a:pt x="355198" y="14674"/>
                    <a:pt x="364002" y="14674"/>
                    <a:pt x="375741" y="0"/>
                  </a:cubicBezTo>
                  <a:cubicBezTo>
                    <a:pt x="129219" y="5870"/>
                    <a:pt x="32372" y="270000"/>
                    <a:pt x="55850" y="472500"/>
                  </a:cubicBezTo>
                  <a:cubicBezTo>
                    <a:pt x="64655" y="548805"/>
                    <a:pt x="82263" y="619239"/>
                    <a:pt x="85198" y="695544"/>
                  </a:cubicBezTo>
                  <a:cubicBezTo>
                    <a:pt x="88133" y="768913"/>
                    <a:pt x="85198" y="845218"/>
                    <a:pt x="82263" y="918587"/>
                  </a:cubicBezTo>
                  <a:cubicBezTo>
                    <a:pt x="73459" y="1077065"/>
                    <a:pt x="17698" y="1308913"/>
                    <a:pt x="89" y="1464457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C7352A9F-7A47-4C3F-82DF-CA056BD46676}"/>
                </a:ext>
              </a:extLst>
            </p:cNvPr>
            <p:cNvSpPr/>
            <p:nvPr/>
          </p:nvSpPr>
          <p:spPr>
            <a:xfrm>
              <a:off x="9915231" y="3249443"/>
              <a:ext cx="63115" cy="724891"/>
            </a:xfrm>
            <a:custGeom>
              <a:avLst/>
              <a:gdLst>
                <a:gd name="connsiteX0" fmla="*/ 39638 w 63115"/>
                <a:gd name="connsiteY0" fmla="*/ 724891 h 724891"/>
                <a:gd name="connsiteX1" fmla="*/ 39638 w 63115"/>
                <a:gd name="connsiteY1" fmla="*/ 724891 h 724891"/>
                <a:gd name="connsiteX2" fmla="*/ 33768 w 63115"/>
                <a:gd name="connsiteY2" fmla="*/ 719022 h 724891"/>
                <a:gd name="connsiteX3" fmla="*/ 10290 w 63115"/>
                <a:gd name="connsiteY3" fmla="*/ 316957 h 724891"/>
                <a:gd name="connsiteX4" fmla="*/ 1485 w 63115"/>
                <a:gd name="connsiteY4" fmla="*/ 255326 h 724891"/>
                <a:gd name="connsiteX5" fmla="*/ 54311 w 63115"/>
                <a:gd name="connsiteY5" fmla="*/ 2935 h 724891"/>
                <a:gd name="connsiteX6" fmla="*/ 60180 w 63115"/>
                <a:gd name="connsiteY6" fmla="*/ 0 h 724891"/>
                <a:gd name="connsiteX7" fmla="*/ 63115 w 63115"/>
                <a:gd name="connsiteY7" fmla="*/ 5870 h 724891"/>
                <a:gd name="connsiteX8" fmla="*/ 10290 w 63115"/>
                <a:gd name="connsiteY8" fmla="*/ 252391 h 724891"/>
                <a:gd name="connsiteX9" fmla="*/ 19094 w 63115"/>
                <a:gd name="connsiteY9" fmla="*/ 314022 h 724891"/>
                <a:gd name="connsiteX10" fmla="*/ 42572 w 63115"/>
                <a:gd name="connsiteY10" fmla="*/ 719022 h 724891"/>
                <a:gd name="connsiteX11" fmla="*/ 39638 w 63115"/>
                <a:gd name="connsiteY11" fmla="*/ 724891 h 724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3115" h="724891">
                  <a:moveTo>
                    <a:pt x="39638" y="724891"/>
                  </a:moveTo>
                  <a:cubicBezTo>
                    <a:pt x="39638" y="724891"/>
                    <a:pt x="39638" y="724891"/>
                    <a:pt x="39638" y="724891"/>
                  </a:cubicBezTo>
                  <a:cubicBezTo>
                    <a:pt x="36703" y="724891"/>
                    <a:pt x="33768" y="721957"/>
                    <a:pt x="33768" y="719022"/>
                  </a:cubicBezTo>
                  <a:cubicBezTo>
                    <a:pt x="45507" y="604565"/>
                    <a:pt x="24964" y="431413"/>
                    <a:pt x="10290" y="316957"/>
                  </a:cubicBezTo>
                  <a:cubicBezTo>
                    <a:pt x="7355" y="293478"/>
                    <a:pt x="4420" y="272935"/>
                    <a:pt x="1485" y="255326"/>
                  </a:cubicBezTo>
                  <a:cubicBezTo>
                    <a:pt x="-10254" y="152609"/>
                    <a:pt x="51377" y="8804"/>
                    <a:pt x="54311" y="2935"/>
                  </a:cubicBezTo>
                  <a:cubicBezTo>
                    <a:pt x="54311" y="0"/>
                    <a:pt x="57246" y="0"/>
                    <a:pt x="60180" y="0"/>
                  </a:cubicBezTo>
                  <a:cubicBezTo>
                    <a:pt x="63115" y="0"/>
                    <a:pt x="63115" y="2935"/>
                    <a:pt x="63115" y="5870"/>
                  </a:cubicBezTo>
                  <a:cubicBezTo>
                    <a:pt x="63115" y="5870"/>
                    <a:pt x="-1450" y="152609"/>
                    <a:pt x="10290" y="252391"/>
                  </a:cubicBezTo>
                  <a:cubicBezTo>
                    <a:pt x="13224" y="270000"/>
                    <a:pt x="16159" y="290544"/>
                    <a:pt x="19094" y="314022"/>
                  </a:cubicBezTo>
                  <a:cubicBezTo>
                    <a:pt x="33768" y="428478"/>
                    <a:pt x="57246" y="601630"/>
                    <a:pt x="42572" y="719022"/>
                  </a:cubicBezTo>
                  <a:cubicBezTo>
                    <a:pt x="45507" y="721957"/>
                    <a:pt x="42572" y="724891"/>
                    <a:pt x="39638" y="724891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5E0A7FB6-9C72-4705-BC5E-FB3743F81ABD}"/>
                </a:ext>
              </a:extLst>
            </p:cNvPr>
            <p:cNvSpPr/>
            <p:nvPr/>
          </p:nvSpPr>
          <p:spPr>
            <a:xfrm>
              <a:off x="10167310" y="2456215"/>
              <a:ext cx="406796" cy="547014"/>
            </a:xfrm>
            <a:custGeom>
              <a:avLst/>
              <a:gdLst>
                <a:gd name="connsiteX0" fmla="*/ 7667 w 406796"/>
                <a:gd name="connsiteY0" fmla="*/ 176924 h 547014"/>
                <a:gd name="connsiteX1" fmla="*/ 19406 w 406796"/>
                <a:gd name="connsiteY1" fmla="*/ 423445 h 547014"/>
                <a:gd name="connsiteX2" fmla="*/ 163210 w 406796"/>
                <a:gd name="connsiteY2" fmla="*/ 546706 h 547014"/>
                <a:gd name="connsiteX3" fmla="*/ 371580 w 406796"/>
                <a:gd name="connsiteY3" fmla="*/ 408771 h 547014"/>
                <a:gd name="connsiteX4" fmla="*/ 406796 w 406796"/>
                <a:gd name="connsiteY4" fmla="*/ 191597 h 547014"/>
                <a:gd name="connsiteX5" fmla="*/ 201362 w 406796"/>
                <a:gd name="connsiteY5" fmla="*/ 837 h 547014"/>
                <a:gd name="connsiteX6" fmla="*/ 7667 w 406796"/>
                <a:gd name="connsiteY6" fmla="*/ 176924 h 54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6796" h="547014">
                  <a:moveTo>
                    <a:pt x="7667" y="176924"/>
                  </a:moveTo>
                  <a:cubicBezTo>
                    <a:pt x="7667" y="176924"/>
                    <a:pt x="-15812" y="358880"/>
                    <a:pt x="19406" y="423445"/>
                  </a:cubicBezTo>
                  <a:cubicBezTo>
                    <a:pt x="54622" y="488011"/>
                    <a:pt x="113318" y="543771"/>
                    <a:pt x="163210" y="546706"/>
                  </a:cubicBezTo>
                  <a:cubicBezTo>
                    <a:pt x="227775" y="552576"/>
                    <a:pt x="336362" y="473337"/>
                    <a:pt x="371580" y="408771"/>
                  </a:cubicBezTo>
                  <a:cubicBezTo>
                    <a:pt x="406796" y="344206"/>
                    <a:pt x="406796" y="241489"/>
                    <a:pt x="406796" y="191597"/>
                  </a:cubicBezTo>
                  <a:cubicBezTo>
                    <a:pt x="403862" y="100619"/>
                    <a:pt x="377449" y="24315"/>
                    <a:pt x="201362" y="837"/>
                  </a:cubicBezTo>
                  <a:cubicBezTo>
                    <a:pt x="116253" y="-10902"/>
                    <a:pt x="25275" y="103554"/>
                    <a:pt x="7667" y="176924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BB6181D5-A8D5-498F-B8FA-2D4C3AFE8EAB}"/>
                </a:ext>
              </a:extLst>
            </p:cNvPr>
            <p:cNvSpPr/>
            <p:nvPr/>
          </p:nvSpPr>
          <p:spPr>
            <a:xfrm>
              <a:off x="10295302" y="2717032"/>
              <a:ext cx="52826" cy="127411"/>
            </a:xfrm>
            <a:custGeom>
              <a:avLst/>
              <a:gdLst>
                <a:gd name="connsiteX0" fmla="*/ 29348 w 52826"/>
                <a:gd name="connsiteY0" fmla="*/ 127411 h 127411"/>
                <a:gd name="connsiteX1" fmla="*/ 5870 w 52826"/>
                <a:gd name="connsiteY1" fmla="*/ 121542 h 127411"/>
                <a:gd name="connsiteX2" fmla="*/ 0 w 52826"/>
                <a:gd name="connsiteY2" fmla="*/ 109803 h 127411"/>
                <a:gd name="connsiteX3" fmla="*/ 26414 w 52826"/>
                <a:gd name="connsiteY3" fmla="*/ 4150 h 127411"/>
                <a:gd name="connsiteX4" fmla="*/ 32283 w 52826"/>
                <a:gd name="connsiteY4" fmla="*/ 1216 h 127411"/>
                <a:gd name="connsiteX5" fmla="*/ 35218 w 52826"/>
                <a:gd name="connsiteY5" fmla="*/ 7085 h 127411"/>
                <a:gd name="connsiteX6" fmla="*/ 8805 w 52826"/>
                <a:gd name="connsiteY6" fmla="*/ 109803 h 127411"/>
                <a:gd name="connsiteX7" fmla="*/ 8805 w 52826"/>
                <a:gd name="connsiteY7" fmla="*/ 112737 h 127411"/>
                <a:gd name="connsiteX8" fmla="*/ 46957 w 52826"/>
                <a:gd name="connsiteY8" fmla="*/ 112737 h 127411"/>
                <a:gd name="connsiteX9" fmla="*/ 52827 w 52826"/>
                <a:gd name="connsiteY9" fmla="*/ 118607 h 127411"/>
                <a:gd name="connsiteX10" fmla="*/ 46957 w 52826"/>
                <a:gd name="connsiteY10" fmla="*/ 124477 h 127411"/>
                <a:gd name="connsiteX11" fmla="*/ 29348 w 52826"/>
                <a:gd name="connsiteY11" fmla="*/ 127411 h 127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826" h="127411">
                  <a:moveTo>
                    <a:pt x="29348" y="127411"/>
                  </a:moveTo>
                  <a:cubicBezTo>
                    <a:pt x="20544" y="127411"/>
                    <a:pt x="11740" y="127411"/>
                    <a:pt x="5870" y="121542"/>
                  </a:cubicBezTo>
                  <a:cubicBezTo>
                    <a:pt x="2935" y="118607"/>
                    <a:pt x="0" y="115672"/>
                    <a:pt x="0" y="109803"/>
                  </a:cubicBezTo>
                  <a:cubicBezTo>
                    <a:pt x="0" y="89259"/>
                    <a:pt x="26414" y="7085"/>
                    <a:pt x="26414" y="4150"/>
                  </a:cubicBezTo>
                  <a:cubicBezTo>
                    <a:pt x="26414" y="1216"/>
                    <a:pt x="29348" y="-1719"/>
                    <a:pt x="32283" y="1216"/>
                  </a:cubicBezTo>
                  <a:cubicBezTo>
                    <a:pt x="35218" y="1216"/>
                    <a:pt x="38153" y="4150"/>
                    <a:pt x="35218" y="7085"/>
                  </a:cubicBezTo>
                  <a:cubicBezTo>
                    <a:pt x="29348" y="30563"/>
                    <a:pt x="8805" y="92194"/>
                    <a:pt x="8805" y="109803"/>
                  </a:cubicBezTo>
                  <a:cubicBezTo>
                    <a:pt x="8805" y="109803"/>
                    <a:pt x="8805" y="112737"/>
                    <a:pt x="8805" y="112737"/>
                  </a:cubicBezTo>
                  <a:cubicBezTo>
                    <a:pt x="14674" y="118607"/>
                    <a:pt x="35218" y="115672"/>
                    <a:pt x="46957" y="112737"/>
                  </a:cubicBezTo>
                  <a:cubicBezTo>
                    <a:pt x="49892" y="112737"/>
                    <a:pt x="52827" y="112737"/>
                    <a:pt x="52827" y="118607"/>
                  </a:cubicBezTo>
                  <a:cubicBezTo>
                    <a:pt x="52827" y="121542"/>
                    <a:pt x="52827" y="124477"/>
                    <a:pt x="46957" y="124477"/>
                  </a:cubicBezTo>
                  <a:cubicBezTo>
                    <a:pt x="49892" y="124477"/>
                    <a:pt x="41088" y="127411"/>
                    <a:pt x="29348" y="127411"/>
                  </a:cubicBezTo>
                  <a:close/>
                </a:path>
              </a:pathLst>
            </a:custGeom>
            <a:solidFill>
              <a:srgbClr val="E58777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9B71624A-8D43-4B7A-83E2-CFF6B390FA11}"/>
                </a:ext>
              </a:extLst>
            </p:cNvPr>
            <p:cNvSpPr/>
            <p:nvPr/>
          </p:nvSpPr>
          <p:spPr>
            <a:xfrm>
              <a:off x="10280628" y="2891400"/>
              <a:ext cx="102717" cy="52826"/>
            </a:xfrm>
            <a:custGeom>
              <a:avLst/>
              <a:gdLst>
                <a:gd name="connsiteX0" fmla="*/ 102717 w 102717"/>
                <a:gd name="connsiteY0" fmla="*/ 0 h 52826"/>
                <a:gd name="connsiteX1" fmla="*/ 0 w 102717"/>
                <a:gd name="connsiteY1" fmla="*/ 0 h 52826"/>
                <a:gd name="connsiteX2" fmla="*/ 49892 w 102717"/>
                <a:gd name="connsiteY2" fmla="*/ 52826 h 52826"/>
                <a:gd name="connsiteX3" fmla="*/ 102717 w 102717"/>
                <a:gd name="connsiteY3" fmla="*/ 0 h 52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717" h="52826">
                  <a:moveTo>
                    <a:pt x="102717" y="0"/>
                  </a:moveTo>
                  <a:cubicBezTo>
                    <a:pt x="49892" y="23478"/>
                    <a:pt x="0" y="0"/>
                    <a:pt x="0" y="0"/>
                  </a:cubicBezTo>
                  <a:cubicBezTo>
                    <a:pt x="0" y="0"/>
                    <a:pt x="14674" y="52826"/>
                    <a:pt x="49892" y="52826"/>
                  </a:cubicBezTo>
                  <a:cubicBezTo>
                    <a:pt x="88043" y="52826"/>
                    <a:pt x="102717" y="0"/>
                    <a:pt x="102717" y="0"/>
                  </a:cubicBezTo>
                  <a:close/>
                </a:path>
              </a:pathLst>
            </a:custGeom>
            <a:solidFill>
              <a:srgbClr val="FFFFFF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F5953C3E-514B-41DB-A4B4-0B4B27EED24E}"/>
                </a:ext>
              </a:extLst>
            </p:cNvPr>
            <p:cNvSpPr/>
            <p:nvPr/>
          </p:nvSpPr>
          <p:spPr>
            <a:xfrm>
              <a:off x="10227055" y="2688152"/>
              <a:ext cx="39647" cy="39475"/>
            </a:xfrm>
            <a:custGeom>
              <a:avLst/>
              <a:gdLst>
                <a:gd name="connsiteX0" fmla="*/ 38900 w 39647"/>
                <a:gd name="connsiteY0" fmla="*/ 24226 h 39475"/>
                <a:gd name="connsiteX1" fmla="*/ 15422 w 39647"/>
                <a:gd name="connsiteY1" fmla="*/ 38900 h 39475"/>
                <a:gd name="connsiteX2" fmla="*/ 748 w 39647"/>
                <a:gd name="connsiteY2" fmla="*/ 15422 h 39475"/>
                <a:gd name="connsiteX3" fmla="*/ 24226 w 39647"/>
                <a:gd name="connsiteY3" fmla="*/ 748 h 39475"/>
                <a:gd name="connsiteX4" fmla="*/ 38900 w 39647"/>
                <a:gd name="connsiteY4" fmla="*/ 24226 h 3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47" h="39475">
                  <a:moveTo>
                    <a:pt x="38900" y="24226"/>
                  </a:moveTo>
                  <a:cubicBezTo>
                    <a:pt x="35966" y="33030"/>
                    <a:pt x="27161" y="41835"/>
                    <a:pt x="15422" y="38900"/>
                  </a:cubicBezTo>
                  <a:cubicBezTo>
                    <a:pt x="3683" y="35965"/>
                    <a:pt x="-2187" y="27161"/>
                    <a:pt x="748" y="15422"/>
                  </a:cubicBezTo>
                  <a:cubicBezTo>
                    <a:pt x="3683" y="3683"/>
                    <a:pt x="12487" y="-2187"/>
                    <a:pt x="24226" y="748"/>
                  </a:cubicBezTo>
                  <a:cubicBezTo>
                    <a:pt x="35966" y="3683"/>
                    <a:pt x="41835" y="15422"/>
                    <a:pt x="38900" y="24226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395B48F2-50B1-4D7A-94AF-F07925FCC12F}"/>
                </a:ext>
              </a:extLst>
            </p:cNvPr>
            <p:cNvSpPr/>
            <p:nvPr/>
          </p:nvSpPr>
          <p:spPr>
            <a:xfrm>
              <a:off x="10412118" y="2697128"/>
              <a:ext cx="38728" cy="39303"/>
            </a:xfrm>
            <a:custGeom>
              <a:avLst/>
              <a:gdLst>
                <a:gd name="connsiteX0" fmla="*/ 38728 w 38728"/>
                <a:gd name="connsiteY0" fmla="*/ 24054 h 39303"/>
                <a:gd name="connsiteX1" fmla="*/ 15249 w 38728"/>
                <a:gd name="connsiteY1" fmla="*/ 38728 h 39303"/>
                <a:gd name="connsiteX2" fmla="*/ 575 w 38728"/>
                <a:gd name="connsiteY2" fmla="*/ 15250 h 39303"/>
                <a:gd name="connsiteX3" fmla="*/ 24054 w 38728"/>
                <a:gd name="connsiteY3" fmla="*/ 576 h 39303"/>
                <a:gd name="connsiteX4" fmla="*/ 38728 w 38728"/>
                <a:gd name="connsiteY4" fmla="*/ 24054 h 39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728" h="39303">
                  <a:moveTo>
                    <a:pt x="38728" y="24054"/>
                  </a:moveTo>
                  <a:cubicBezTo>
                    <a:pt x="35793" y="32858"/>
                    <a:pt x="26989" y="41663"/>
                    <a:pt x="15249" y="38728"/>
                  </a:cubicBezTo>
                  <a:cubicBezTo>
                    <a:pt x="6445" y="35793"/>
                    <a:pt x="-2359" y="26989"/>
                    <a:pt x="575" y="15250"/>
                  </a:cubicBezTo>
                  <a:cubicBezTo>
                    <a:pt x="3510" y="6445"/>
                    <a:pt x="12315" y="-2359"/>
                    <a:pt x="24054" y="576"/>
                  </a:cubicBezTo>
                  <a:cubicBezTo>
                    <a:pt x="32858" y="3511"/>
                    <a:pt x="38728" y="12315"/>
                    <a:pt x="38728" y="24054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BCC88C59-DD77-49DB-816A-F9C48ABC6186}"/>
                </a:ext>
              </a:extLst>
            </p:cNvPr>
            <p:cNvSpPr/>
            <p:nvPr/>
          </p:nvSpPr>
          <p:spPr>
            <a:xfrm>
              <a:off x="10202124" y="2640476"/>
              <a:ext cx="88525" cy="33749"/>
            </a:xfrm>
            <a:custGeom>
              <a:avLst/>
              <a:gdLst>
                <a:gd name="connsiteX0" fmla="*/ 8070 w 88525"/>
                <a:gd name="connsiteY0" fmla="*/ 33750 h 33749"/>
                <a:gd name="connsiteX1" fmla="*/ 2201 w 88525"/>
                <a:gd name="connsiteY1" fmla="*/ 30815 h 33749"/>
                <a:gd name="connsiteX2" fmla="*/ 2201 w 88525"/>
                <a:gd name="connsiteY2" fmla="*/ 19076 h 33749"/>
                <a:gd name="connsiteX3" fmla="*/ 84375 w 88525"/>
                <a:gd name="connsiteY3" fmla="*/ 7337 h 33749"/>
                <a:gd name="connsiteX4" fmla="*/ 87310 w 88525"/>
                <a:gd name="connsiteY4" fmla="*/ 16141 h 33749"/>
                <a:gd name="connsiteX5" fmla="*/ 78505 w 88525"/>
                <a:gd name="connsiteY5" fmla="*/ 19076 h 33749"/>
                <a:gd name="connsiteX6" fmla="*/ 13940 w 88525"/>
                <a:gd name="connsiteY6" fmla="*/ 24946 h 33749"/>
                <a:gd name="connsiteX7" fmla="*/ 8070 w 88525"/>
                <a:gd name="connsiteY7" fmla="*/ 33750 h 33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3749">
                  <a:moveTo>
                    <a:pt x="8070" y="33750"/>
                  </a:moveTo>
                  <a:cubicBezTo>
                    <a:pt x="5135" y="33750"/>
                    <a:pt x="5135" y="33750"/>
                    <a:pt x="2201" y="30815"/>
                  </a:cubicBezTo>
                  <a:cubicBezTo>
                    <a:pt x="-734" y="27880"/>
                    <a:pt x="-734" y="22011"/>
                    <a:pt x="2201" y="19076"/>
                  </a:cubicBezTo>
                  <a:cubicBezTo>
                    <a:pt x="28614" y="-10272"/>
                    <a:pt x="66766" y="1467"/>
                    <a:pt x="84375" y="7337"/>
                  </a:cubicBezTo>
                  <a:cubicBezTo>
                    <a:pt x="87310" y="10272"/>
                    <a:pt x="90245" y="13206"/>
                    <a:pt x="87310" y="16141"/>
                  </a:cubicBezTo>
                  <a:cubicBezTo>
                    <a:pt x="84375" y="19076"/>
                    <a:pt x="81440" y="22011"/>
                    <a:pt x="78505" y="19076"/>
                  </a:cubicBezTo>
                  <a:cubicBezTo>
                    <a:pt x="75571" y="19076"/>
                    <a:pt x="37418" y="-1467"/>
                    <a:pt x="13940" y="24946"/>
                  </a:cubicBezTo>
                  <a:cubicBezTo>
                    <a:pt x="13940" y="33750"/>
                    <a:pt x="11005" y="33750"/>
                    <a:pt x="8070" y="33750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2818C711-31C4-401B-936C-F15A14E5FAEB}"/>
                </a:ext>
              </a:extLst>
            </p:cNvPr>
            <p:cNvSpPr/>
            <p:nvPr/>
          </p:nvSpPr>
          <p:spPr>
            <a:xfrm>
              <a:off x="10385065" y="2642242"/>
              <a:ext cx="88525" cy="34918"/>
            </a:xfrm>
            <a:custGeom>
              <a:avLst/>
              <a:gdLst>
                <a:gd name="connsiteX0" fmla="*/ 83390 w 88525"/>
                <a:gd name="connsiteY0" fmla="*/ 34919 h 34918"/>
                <a:gd name="connsiteX1" fmla="*/ 77520 w 88525"/>
                <a:gd name="connsiteY1" fmla="*/ 31984 h 34918"/>
                <a:gd name="connsiteX2" fmla="*/ 12955 w 88525"/>
                <a:gd name="connsiteY2" fmla="*/ 26114 h 34918"/>
                <a:gd name="connsiteX3" fmla="*/ 1216 w 88525"/>
                <a:gd name="connsiteY3" fmla="*/ 23180 h 34918"/>
                <a:gd name="connsiteX4" fmla="*/ 4151 w 88525"/>
                <a:gd name="connsiteY4" fmla="*/ 11441 h 34918"/>
                <a:gd name="connsiteX5" fmla="*/ 86324 w 88525"/>
                <a:gd name="connsiteY5" fmla="*/ 20245 h 34918"/>
                <a:gd name="connsiteX6" fmla="*/ 86324 w 88525"/>
                <a:gd name="connsiteY6" fmla="*/ 31984 h 34918"/>
                <a:gd name="connsiteX7" fmla="*/ 83390 w 88525"/>
                <a:gd name="connsiteY7" fmla="*/ 34919 h 3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4918">
                  <a:moveTo>
                    <a:pt x="83390" y="34919"/>
                  </a:moveTo>
                  <a:cubicBezTo>
                    <a:pt x="80455" y="34919"/>
                    <a:pt x="80455" y="34919"/>
                    <a:pt x="77520" y="31984"/>
                  </a:cubicBezTo>
                  <a:cubicBezTo>
                    <a:pt x="77520" y="31984"/>
                    <a:pt x="48172" y="2636"/>
                    <a:pt x="12955" y="26114"/>
                  </a:cubicBezTo>
                  <a:cubicBezTo>
                    <a:pt x="10021" y="29049"/>
                    <a:pt x="4151" y="26114"/>
                    <a:pt x="1216" y="23180"/>
                  </a:cubicBezTo>
                  <a:cubicBezTo>
                    <a:pt x="-1719" y="20245"/>
                    <a:pt x="1216" y="14375"/>
                    <a:pt x="4151" y="11441"/>
                  </a:cubicBezTo>
                  <a:cubicBezTo>
                    <a:pt x="39368" y="-12038"/>
                    <a:pt x="74585" y="5571"/>
                    <a:pt x="86324" y="20245"/>
                  </a:cubicBezTo>
                  <a:cubicBezTo>
                    <a:pt x="89259" y="23180"/>
                    <a:pt x="89259" y="29049"/>
                    <a:pt x="86324" y="31984"/>
                  </a:cubicBezTo>
                  <a:cubicBezTo>
                    <a:pt x="86324" y="34919"/>
                    <a:pt x="83390" y="34919"/>
                    <a:pt x="83390" y="34919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4C451EF6-35C6-45B7-A9D9-E4B8C3AEEFAB}"/>
                </a:ext>
              </a:extLst>
            </p:cNvPr>
            <p:cNvSpPr/>
            <p:nvPr/>
          </p:nvSpPr>
          <p:spPr>
            <a:xfrm>
              <a:off x="10148346" y="2425518"/>
              <a:ext cx="266360" cy="248707"/>
            </a:xfrm>
            <a:custGeom>
              <a:avLst/>
              <a:gdLst>
                <a:gd name="connsiteX0" fmla="*/ 264348 w 266360"/>
                <a:gd name="connsiteY0" fmla="*/ 2186 h 248707"/>
                <a:gd name="connsiteX1" fmla="*/ 229131 w 266360"/>
                <a:gd name="connsiteY1" fmla="*/ 125447 h 248707"/>
                <a:gd name="connsiteX2" fmla="*/ 217 w 266360"/>
                <a:gd name="connsiteY2" fmla="*/ 248708 h 248707"/>
                <a:gd name="connsiteX3" fmla="*/ 264348 w 266360"/>
                <a:gd name="connsiteY3" fmla="*/ 2186 h 248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360" h="248707">
                  <a:moveTo>
                    <a:pt x="264348" y="2186"/>
                  </a:moveTo>
                  <a:cubicBezTo>
                    <a:pt x="264348" y="2186"/>
                    <a:pt x="279022" y="87295"/>
                    <a:pt x="229131" y="125447"/>
                  </a:cubicBezTo>
                  <a:cubicBezTo>
                    <a:pt x="229131" y="125447"/>
                    <a:pt x="26631" y="166534"/>
                    <a:pt x="217" y="248708"/>
                  </a:cubicBezTo>
                  <a:cubicBezTo>
                    <a:pt x="217" y="248708"/>
                    <a:pt x="-17391" y="-27162"/>
                    <a:pt x="264348" y="2186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99C418D9-F2B9-4851-87A4-37383C9FF3A1}"/>
                </a:ext>
              </a:extLst>
            </p:cNvPr>
            <p:cNvSpPr/>
            <p:nvPr/>
          </p:nvSpPr>
          <p:spPr>
            <a:xfrm>
              <a:off x="10377477" y="2427704"/>
              <a:ext cx="215869" cy="302759"/>
            </a:xfrm>
            <a:custGeom>
              <a:avLst/>
              <a:gdLst>
                <a:gd name="connsiteX0" fmla="*/ 0 w 215869"/>
                <a:gd name="connsiteY0" fmla="*/ 123261 h 302759"/>
                <a:gd name="connsiteX1" fmla="*/ 135000 w 215869"/>
                <a:gd name="connsiteY1" fmla="*/ 176087 h 302759"/>
                <a:gd name="connsiteX2" fmla="*/ 190761 w 215869"/>
                <a:gd name="connsiteY2" fmla="*/ 290543 h 302759"/>
                <a:gd name="connsiteX3" fmla="*/ 214239 w 215869"/>
                <a:gd name="connsiteY3" fmla="*/ 287609 h 302759"/>
                <a:gd name="connsiteX4" fmla="*/ 32283 w 215869"/>
                <a:gd name="connsiteY4" fmla="*/ 0 h 302759"/>
                <a:gd name="connsiteX5" fmla="*/ 0 w 215869"/>
                <a:gd name="connsiteY5" fmla="*/ 123261 h 30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5869" h="302759">
                  <a:moveTo>
                    <a:pt x="0" y="123261"/>
                  </a:moveTo>
                  <a:cubicBezTo>
                    <a:pt x="0" y="123261"/>
                    <a:pt x="88043" y="170217"/>
                    <a:pt x="135000" y="176087"/>
                  </a:cubicBezTo>
                  <a:cubicBezTo>
                    <a:pt x="184891" y="181956"/>
                    <a:pt x="190761" y="290543"/>
                    <a:pt x="190761" y="290543"/>
                  </a:cubicBezTo>
                  <a:cubicBezTo>
                    <a:pt x="190761" y="290543"/>
                    <a:pt x="211304" y="319891"/>
                    <a:pt x="214239" y="287609"/>
                  </a:cubicBezTo>
                  <a:cubicBezTo>
                    <a:pt x="220109" y="211304"/>
                    <a:pt x="220109" y="20543"/>
                    <a:pt x="32283" y="0"/>
                  </a:cubicBezTo>
                  <a:cubicBezTo>
                    <a:pt x="35217" y="0"/>
                    <a:pt x="23478" y="117391"/>
                    <a:pt x="0" y="123261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D13871B3-9F16-4C63-8A0F-D81656C28878}"/>
                </a:ext>
              </a:extLst>
            </p:cNvPr>
            <p:cNvSpPr/>
            <p:nvPr/>
          </p:nvSpPr>
          <p:spPr>
            <a:xfrm>
              <a:off x="10374542" y="2471726"/>
              <a:ext cx="149674" cy="137934"/>
            </a:xfrm>
            <a:custGeom>
              <a:avLst/>
              <a:gdLst>
                <a:gd name="connsiteX0" fmla="*/ 140869 w 149674"/>
                <a:gd name="connsiteY0" fmla="*/ 137935 h 137934"/>
                <a:gd name="connsiteX1" fmla="*/ 140869 w 149674"/>
                <a:gd name="connsiteY1" fmla="*/ 137935 h 137934"/>
                <a:gd name="connsiteX2" fmla="*/ 46957 w 149674"/>
                <a:gd name="connsiteY2" fmla="*/ 105652 h 137934"/>
                <a:gd name="connsiteX3" fmla="*/ 2935 w 149674"/>
                <a:gd name="connsiteY3" fmla="*/ 82174 h 137934"/>
                <a:gd name="connsiteX4" fmla="*/ 0 w 149674"/>
                <a:gd name="connsiteY4" fmla="*/ 79239 h 137934"/>
                <a:gd name="connsiteX5" fmla="*/ 0 w 149674"/>
                <a:gd name="connsiteY5" fmla="*/ 73370 h 137934"/>
                <a:gd name="connsiteX6" fmla="*/ 26413 w 149674"/>
                <a:gd name="connsiteY6" fmla="*/ 5870 h 137934"/>
                <a:gd name="connsiteX7" fmla="*/ 32283 w 149674"/>
                <a:gd name="connsiteY7" fmla="*/ 0 h 137934"/>
                <a:gd name="connsiteX8" fmla="*/ 38152 w 149674"/>
                <a:gd name="connsiteY8" fmla="*/ 5870 h 137934"/>
                <a:gd name="connsiteX9" fmla="*/ 14674 w 149674"/>
                <a:gd name="connsiteY9" fmla="*/ 73370 h 137934"/>
                <a:gd name="connsiteX10" fmla="*/ 52826 w 149674"/>
                <a:gd name="connsiteY10" fmla="*/ 93913 h 137934"/>
                <a:gd name="connsiteX11" fmla="*/ 143804 w 149674"/>
                <a:gd name="connsiteY11" fmla="*/ 123261 h 137934"/>
                <a:gd name="connsiteX12" fmla="*/ 149674 w 149674"/>
                <a:gd name="connsiteY12" fmla="*/ 129130 h 137934"/>
                <a:gd name="connsiteX13" fmla="*/ 140869 w 149674"/>
                <a:gd name="connsiteY13" fmla="*/ 137935 h 13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9674" h="137934">
                  <a:moveTo>
                    <a:pt x="140869" y="137935"/>
                  </a:moveTo>
                  <a:cubicBezTo>
                    <a:pt x="140869" y="137935"/>
                    <a:pt x="137935" y="137935"/>
                    <a:pt x="140869" y="137935"/>
                  </a:cubicBezTo>
                  <a:cubicBezTo>
                    <a:pt x="111521" y="135000"/>
                    <a:pt x="79239" y="123261"/>
                    <a:pt x="46957" y="105652"/>
                  </a:cubicBezTo>
                  <a:cubicBezTo>
                    <a:pt x="20544" y="93913"/>
                    <a:pt x="2935" y="82174"/>
                    <a:pt x="2935" y="82174"/>
                  </a:cubicBezTo>
                  <a:cubicBezTo>
                    <a:pt x="2935" y="82174"/>
                    <a:pt x="0" y="79239"/>
                    <a:pt x="0" y="79239"/>
                  </a:cubicBezTo>
                  <a:cubicBezTo>
                    <a:pt x="0" y="76304"/>
                    <a:pt x="0" y="76304"/>
                    <a:pt x="0" y="73370"/>
                  </a:cubicBezTo>
                  <a:cubicBezTo>
                    <a:pt x="5870" y="67500"/>
                    <a:pt x="23478" y="29348"/>
                    <a:pt x="26413" y="5870"/>
                  </a:cubicBezTo>
                  <a:cubicBezTo>
                    <a:pt x="26413" y="2935"/>
                    <a:pt x="29348" y="0"/>
                    <a:pt x="32283" y="0"/>
                  </a:cubicBezTo>
                  <a:cubicBezTo>
                    <a:pt x="35218" y="0"/>
                    <a:pt x="38152" y="2935"/>
                    <a:pt x="38152" y="5870"/>
                  </a:cubicBezTo>
                  <a:cubicBezTo>
                    <a:pt x="35218" y="29348"/>
                    <a:pt x="23478" y="61630"/>
                    <a:pt x="14674" y="73370"/>
                  </a:cubicBezTo>
                  <a:cubicBezTo>
                    <a:pt x="20544" y="76304"/>
                    <a:pt x="35218" y="85109"/>
                    <a:pt x="52826" y="93913"/>
                  </a:cubicBezTo>
                  <a:cubicBezTo>
                    <a:pt x="85109" y="108587"/>
                    <a:pt x="117391" y="120326"/>
                    <a:pt x="143804" y="123261"/>
                  </a:cubicBezTo>
                  <a:cubicBezTo>
                    <a:pt x="146739" y="123261"/>
                    <a:pt x="149674" y="126196"/>
                    <a:pt x="149674" y="129130"/>
                  </a:cubicBezTo>
                  <a:cubicBezTo>
                    <a:pt x="143804" y="135000"/>
                    <a:pt x="143804" y="137935"/>
                    <a:pt x="140869" y="137935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A8E0C080-E6D0-481E-AC77-3475B400F605}"/>
                </a:ext>
              </a:extLst>
            </p:cNvPr>
            <p:cNvSpPr/>
            <p:nvPr/>
          </p:nvSpPr>
          <p:spPr>
            <a:xfrm>
              <a:off x="10260819" y="2934206"/>
              <a:ext cx="214720" cy="77519"/>
            </a:xfrm>
            <a:custGeom>
              <a:avLst/>
              <a:gdLst>
                <a:gd name="connsiteX0" fmla="*/ 69701 w 214720"/>
                <a:gd name="connsiteY0" fmla="*/ 77520 h 77519"/>
                <a:gd name="connsiteX1" fmla="*/ 2201 w 214720"/>
                <a:gd name="connsiteY1" fmla="*/ 51107 h 77519"/>
                <a:gd name="connsiteX2" fmla="*/ 2201 w 214720"/>
                <a:gd name="connsiteY2" fmla="*/ 42303 h 77519"/>
                <a:gd name="connsiteX3" fmla="*/ 11005 w 214720"/>
                <a:gd name="connsiteY3" fmla="*/ 42303 h 77519"/>
                <a:gd name="connsiteX4" fmla="*/ 78505 w 214720"/>
                <a:gd name="connsiteY4" fmla="*/ 65781 h 77519"/>
                <a:gd name="connsiteX5" fmla="*/ 204701 w 214720"/>
                <a:gd name="connsiteY5" fmla="*/ 1216 h 77519"/>
                <a:gd name="connsiteX6" fmla="*/ 213505 w 214720"/>
                <a:gd name="connsiteY6" fmla="*/ 4150 h 77519"/>
                <a:gd name="connsiteX7" fmla="*/ 210570 w 214720"/>
                <a:gd name="connsiteY7" fmla="*/ 12955 h 77519"/>
                <a:gd name="connsiteX8" fmla="*/ 78505 w 214720"/>
                <a:gd name="connsiteY8" fmla="*/ 77520 h 77519"/>
                <a:gd name="connsiteX9" fmla="*/ 69701 w 214720"/>
                <a:gd name="connsiteY9" fmla="*/ 77520 h 77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4720" h="77519">
                  <a:moveTo>
                    <a:pt x="69701" y="77520"/>
                  </a:moveTo>
                  <a:cubicBezTo>
                    <a:pt x="31549" y="77520"/>
                    <a:pt x="5135" y="51107"/>
                    <a:pt x="2201" y="51107"/>
                  </a:cubicBezTo>
                  <a:cubicBezTo>
                    <a:pt x="-734" y="48172"/>
                    <a:pt x="-734" y="45237"/>
                    <a:pt x="2201" y="42303"/>
                  </a:cubicBezTo>
                  <a:cubicBezTo>
                    <a:pt x="5135" y="39368"/>
                    <a:pt x="8070" y="39368"/>
                    <a:pt x="11005" y="42303"/>
                  </a:cubicBezTo>
                  <a:cubicBezTo>
                    <a:pt x="11005" y="42303"/>
                    <a:pt x="43288" y="68716"/>
                    <a:pt x="78505" y="65781"/>
                  </a:cubicBezTo>
                  <a:cubicBezTo>
                    <a:pt x="116658" y="59911"/>
                    <a:pt x="204701" y="1216"/>
                    <a:pt x="204701" y="1216"/>
                  </a:cubicBezTo>
                  <a:cubicBezTo>
                    <a:pt x="207636" y="-1719"/>
                    <a:pt x="210570" y="1216"/>
                    <a:pt x="213505" y="4150"/>
                  </a:cubicBezTo>
                  <a:cubicBezTo>
                    <a:pt x="216440" y="7085"/>
                    <a:pt x="213505" y="10020"/>
                    <a:pt x="210570" y="12955"/>
                  </a:cubicBezTo>
                  <a:cubicBezTo>
                    <a:pt x="207636" y="15890"/>
                    <a:pt x="119593" y="74585"/>
                    <a:pt x="78505" y="77520"/>
                  </a:cubicBezTo>
                  <a:cubicBezTo>
                    <a:pt x="78505" y="77520"/>
                    <a:pt x="75571" y="77520"/>
                    <a:pt x="69701" y="77520"/>
                  </a:cubicBezTo>
                  <a:close/>
                </a:path>
              </a:pathLst>
            </a:custGeom>
            <a:solidFill>
              <a:srgbClr val="E58777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B617A674-210A-469E-842C-9C63D28D246A}"/>
                </a:ext>
              </a:extLst>
            </p:cNvPr>
            <p:cNvSpPr/>
            <p:nvPr/>
          </p:nvSpPr>
          <p:spPr>
            <a:xfrm>
              <a:off x="10533020" y="2705079"/>
              <a:ext cx="74682" cy="109784"/>
            </a:xfrm>
            <a:custGeom>
              <a:avLst/>
              <a:gdLst>
                <a:gd name="connsiteX0" fmla="*/ 11739 w 74682"/>
                <a:gd name="connsiteY0" fmla="*/ 16103 h 109784"/>
                <a:gd name="connsiteX1" fmla="*/ 67501 w 74682"/>
                <a:gd name="connsiteY1" fmla="*/ 7299 h 109784"/>
                <a:gd name="connsiteX2" fmla="*/ 11739 w 74682"/>
                <a:gd name="connsiteY2" fmla="*/ 107081 h 109784"/>
                <a:gd name="connsiteX3" fmla="*/ 11739 w 74682"/>
                <a:gd name="connsiteY3" fmla="*/ 16103 h 109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2" h="109784">
                  <a:moveTo>
                    <a:pt x="11739" y="16103"/>
                  </a:moveTo>
                  <a:cubicBezTo>
                    <a:pt x="11739" y="16103"/>
                    <a:pt x="44022" y="-13245"/>
                    <a:pt x="67501" y="7299"/>
                  </a:cubicBezTo>
                  <a:cubicBezTo>
                    <a:pt x="90979" y="24907"/>
                    <a:pt x="52827" y="127625"/>
                    <a:pt x="11739" y="107081"/>
                  </a:cubicBezTo>
                  <a:cubicBezTo>
                    <a:pt x="-14674" y="86538"/>
                    <a:pt x="11739" y="16103"/>
                    <a:pt x="11739" y="16103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E7D0AF7F-1DDC-4A30-BFEB-FA5B0843D8CE}"/>
                </a:ext>
              </a:extLst>
            </p:cNvPr>
            <p:cNvSpPr/>
            <p:nvPr/>
          </p:nvSpPr>
          <p:spPr>
            <a:xfrm>
              <a:off x="10142694" y="2542160"/>
              <a:ext cx="243586" cy="152608"/>
            </a:xfrm>
            <a:custGeom>
              <a:avLst/>
              <a:gdLst>
                <a:gd name="connsiteX0" fmla="*/ 5869 w 243586"/>
                <a:gd name="connsiteY0" fmla="*/ 152609 h 152608"/>
                <a:gd name="connsiteX1" fmla="*/ 5869 w 243586"/>
                <a:gd name="connsiteY1" fmla="*/ 152609 h 152608"/>
                <a:gd name="connsiteX2" fmla="*/ 0 w 243586"/>
                <a:gd name="connsiteY2" fmla="*/ 146739 h 152608"/>
                <a:gd name="connsiteX3" fmla="*/ 105652 w 243586"/>
                <a:gd name="connsiteY3" fmla="*/ 44022 h 152608"/>
                <a:gd name="connsiteX4" fmla="*/ 234783 w 243586"/>
                <a:gd name="connsiteY4" fmla="*/ 0 h 152608"/>
                <a:gd name="connsiteX5" fmla="*/ 243587 w 243586"/>
                <a:gd name="connsiteY5" fmla="*/ 2935 h 152608"/>
                <a:gd name="connsiteX6" fmla="*/ 240652 w 243586"/>
                <a:gd name="connsiteY6" fmla="*/ 11739 h 152608"/>
                <a:gd name="connsiteX7" fmla="*/ 111521 w 243586"/>
                <a:gd name="connsiteY7" fmla="*/ 55761 h 152608"/>
                <a:gd name="connsiteX8" fmla="*/ 14674 w 243586"/>
                <a:gd name="connsiteY8" fmla="*/ 149674 h 152608"/>
                <a:gd name="connsiteX9" fmla="*/ 5869 w 243586"/>
                <a:gd name="connsiteY9" fmla="*/ 152609 h 152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3586" h="152608">
                  <a:moveTo>
                    <a:pt x="5869" y="152609"/>
                  </a:moveTo>
                  <a:cubicBezTo>
                    <a:pt x="5869" y="152609"/>
                    <a:pt x="5869" y="152609"/>
                    <a:pt x="5869" y="152609"/>
                  </a:cubicBezTo>
                  <a:cubicBezTo>
                    <a:pt x="2935" y="152609"/>
                    <a:pt x="0" y="149674"/>
                    <a:pt x="0" y="146739"/>
                  </a:cubicBezTo>
                  <a:cubicBezTo>
                    <a:pt x="11739" y="79239"/>
                    <a:pt x="58696" y="58696"/>
                    <a:pt x="105652" y="44022"/>
                  </a:cubicBezTo>
                  <a:cubicBezTo>
                    <a:pt x="170217" y="26413"/>
                    <a:pt x="231848" y="0"/>
                    <a:pt x="234783" y="0"/>
                  </a:cubicBezTo>
                  <a:cubicBezTo>
                    <a:pt x="237718" y="0"/>
                    <a:pt x="240652" y="0"/>
                    <a:pt x="243587" y="2935"/>
                  </a:cubicBezTo>
                  <a:cubicBezTo>
                    <a:pt x="243587" y="5870"/>
                    <a:pt x="243587" y="8804"/>
                    <a:pt x="240652" y="11739"/>
                  </a:cubicBezTo>
                  <a:cubicBezTo>
                    <a:pt x="240652" y="11739"/>
                    <a:pt x="176087" y="35217"/>
                    <a:pt x="111521" y="55761"/>
                  </a:cubicBezTo>
                  <a:cubicBezTo>
                    <a:pt x="58696" y="70435"/>
                    <a:pt x="23478" y="93913"/>
                    <a:pt x="14674" y="149674"/>
                  </a:cubicBezTo>
                  <a:cubicBezTo>
                    <a:pt x="11739" y="152609"/>
                    <a:pt x="8804" y="152609"/>
                    <a:pt x="5869" y="152609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1BD8AFCC-74AA-4B4F-B674-70FBAEA4A6F2}"/>
                </a:ext>
              </a:extLst>
            </p:cNvPr>
            <p:cNvGrpSpPr/>
            <p:nvPr/>
          </p:nvGrpSpPr>
          <p:grpSpPr>
            <a:xfrm>
              <a:off x="10104447" y="2279620"/>
              <a:ext cx="767540" cy="327293"/>
              <a:chOff x="10104447" y="2279620"/>
              <a:chExt cx="767540" cy="327293"/>
            </a:xfrm>
          </p:grpSpPr>
          <p:grpSp>
            <p:nvGrpSpPr>
              <p:cNvPr id="49" name="图形 1">
                <a:extLst>
                  <a:ext uri="{FF2B5EF4-FFF2-40B4-BE49-F238E27FC236}">
                    <a16:creationId xmlns:a16="http://schemas.microsoft.com/office/drawing/2014/main" id="{57DAF5FD-BDB2-49AD-AB8D-DD268BBCFDE1}"/>
                  </a:ext>
                </a:extLst>
              </p:cNvPr>
              <p:cNvGrpSpPr/>
              <p:nvPr/>
            </p:nvGrpSpPr>
            <p:grpSpPr>
              <a:xfrm>
                <a:off x="10127997" y="2279620"/>
                <a:ext cx="743990" cy="313395"/>
                <a:chOff x="10127997" y="2279620"/>
                <a:chExt cx="743990" cy="313395"/>
              </a:xfrm>
            </p:grpSpPr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95A7574D-776B-4C9D-90BE-95157277A9AC}"/>
                    </a:ext>
                  </a:extLst>
                </p:cNvPr>
                <p:cNvSpPr/>
                <p:nvPr/>
              </p:nvSpPr>
              <p:spPr>
                <a:xfrm>
                  <a:off x="10127997" y="2279620"/>
                  <a:ext cx="595783" cy="313395"/>
                </a:xfrm>
                <a:custGeom>
                  <a:avLst/>
                  <a:gdLst>
                    <a:gd name="connsiteX0" fmla="*/ 170240 w 595783"/>
                    <a:gd name="connsiteY0" fmla="*/ 18953 h 313395"/>
                    <a:gd name="connsiteX1" fmla="*/ 592849 w 595783"/>
                    <a:gd name="connsiteY1" fmla="*/ 133410 h 313395"/>
                    <a:gd name="connsiteX2" fmla="*/ 595783 w 595783"/>
                    <a:gd name="connsiteY2" fmla="*/ 142214 h 313395"/>
                    <a:gd name="connsiteX3" fmla="*/ 522414 w 595783"/>
                    <a:gd name="connsiteY3" fmla="*/ 200910 h 313395"/>
                    <a:gd name="connsiteX4" fmla="*/ 542958 w 595783"/>
                    <a:gd name="connsiteY4" fmla="*/ 283083 h 313395"/>
                    <a:gd name="connsiteX5" fmla="*/ 540023 w 595783"/>
                    <a:gd name="connsiteY5" fmla="*/ 288953 h 313395"/>
                    <a:gd name="connsiteX6" fmla="*/ 534153 w 595783"/>
                    <a:gd name="connsiteY6" fmla="*/ 291888 h 313395"/>
                    <a:gd name="connsiteX7" fmla="*/ 211327 w 595783"/>
                    <a:gd name="connsiteY7" fmla="*/ 312431 h 313395"/>
                    <a:gd name="connsiteX8" fmla="*/ 5892 w 595783"/>
                    <a:gd name="connsiteY8" fmla="*/ 271344 h 313395"/>
                    <a:gd name="connsiteX9" fmla="*/ 23 w 595783"/>
                    <a:gd name="connsiteY9" fmla="*/ 262540 h 313395"/>
                    <a:gd name="connsiteX10" fmla="*/ 170240 w 595783"/>
                    <a:gd name="connsiteY10" fmla="*/ 18953 h 313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95783" h="313395">
                      <a:moveTo>
                        <a:pt x="170240" y="18953"/>
                      </a:moveTo>
                      <a:cubicBezTo>
                        <a:pt x="328718" y="-28004"/>
                        <a:pt x="481327" y="13083"/>
                        <a:pt x="592849" y="133410"/>
                      </a:cubicBezTo>
                      <a:cubicBezTo>
                        <a:pt x="595783" y="136344"/>
                        <a:pt x="595783" y="139279"/>
                        <a:pt x="595783" y="142214"/>
                      </a:cubicBezTo>
                      <a:cubicBezTo>
                        <a:pt x="595783" y="145149"/>
                        <a:pt x="575241" y="189170"/>
                        <a:pt x="522414" y="200910"/>
                      </a:cubicBezTo>
                      <a:cubicBezTo>
                        <a:pt x="537088" y="239062"/>
                        <a:pt x="542958" y="280149"/>
                        <a:pt x="542958" y="283083"/>
                      </a:cubicBezTo>
                      <a:cubicBezTo>
                        <a:pt x="542958" y="286018"/>
                        <a:pt x="542958" y="288953"/>
                        <a:pt x="540023" y="288953"/>
                      </a:cubicBezTo>
                      <a:cubicBezTo>
                        <a:pt x="540023" y="291888"/>
                        <a:pt x="537088" y="291888"/>
                        <a:pt x="534153" y="291888"/>
                      </a:cubicBezTo>
                      <a:cubicBezTo>
                        <a:pt x="399154" y="312431"/>
                        <a:pt x="293501" y="315366"/>
                        <a:pt x="211327" y="312431"/>
                      </a:cubicBezTo>
                      <a:cubicBezTo>
                        <a:pt x="76327" y="303627"/>
                        <a:pt x="8827" y="274279"/>
                        <a:pt x="5892" y="271344"/>
                      </a:cubicBezTo>
                      <a:cubicBezTo>
                        <a:pt x="2958" y="271344"/>
                        <a:pt x="23" y="268410"/>
                        <a:pt x="23" y="262540"/>
                      </a:cubicBezTo>
                      <a:cubicBezTo>
                        <a:pt x="23" y="262540"/>
                        <a:pt x="-5847" y="71779"/>
                        <a:pt x="170240" y="1895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64814848-76A5-4D55-A43A-3BF17571E683}"/>
                    </a:ext>
                  </a:extLst>
                </p:cNvPr>
                <p:cNvSpPr/>
                <p:nvPr/>
              </p:nvSpPr>
              <p:spPr>
                <a:xfrm>
                  <a:off x="10663985" y="2316182"/>
                  <a:ext cx="208003" cy="197781"/>
                </a:xfrm>
                <a:custGeom>
                  <a:avLst/>
                  <a:gdLst>
                    <a:gd name="connsiteX0" fmla="*/ 1101 w 208003"/>
                    <a:gd name="connsiteY0" fmla="*/ 93913 h 197781"/>
                    <a:gd name="connsiteX1" fmla="*/ 9905 w 208003"/>
                    <a:gd name="connsiteY1" fmla="*/ 64565 h 197781"/>
                    <a:gd name="connsiteX2" fmla="*/ 21644 w 208003"/>
                    <a:gd name="connsiteY2" fmla="*/ 55761 h 197781"/>
                    <a:gd name="connsiteX3" fmla="*/ 33383 w 208003"/>
                    <a:gd name="connsiteY3" fmla="*/ 29348 h 197781"/>
                    <a:gd name="connsiteX4" fmla="*/ 53927 w 208003"/>
                    <a:gd name="connsiteY4" fmla="*/ 20544 h 197781"/>
                    <a:gd name="connsiteX5" fmla="*/ 68601 w 208003"/>
                    <a:gd name="connsiteY5" fmla="*/ 20544 h 197781"/>
                    <a:gd name="connsiteX6" fmla="*/ 112623 w 208003"/>
                    <a:gd name="connsiteY6" fmla="*/ 0 h 197781"/>
                    <a:gd name="connsiteX7" fmla="*/ 153710 w 208003"/>
                    <a:gd name="connsiteY7" fmla="*/ 29348 h 197781"/>
                    <a:gd name="connsiteX8" fmla="*/ 194796 w 208003"/>
                    <a:gd name="connsiteY8" fmla="*/ 70435 h 197781"/>
                    <a:gd name="connsiteX9" fmla="*/ 194796 w 208003"/>
                    <a:gd name="connsiteY9" fmla="*/ 123261 h 197781"/>
                    <a:gd name="connsiteX10" fmla="*/ 185992 w 208003"/>
                    <a:gd name="connsiteY10" fmla="*/ 164348 h 197781"/>
                    <a:gd name="connsiteX11" fmla="*/ 159579 w 208003"/>
                    <a:gd name="connsiteY11" fmla="*/ 176087 h 197781"/>
                    <a:gd name="connsiteX12" fmla="*/ 153710 w 208003"/>
                    <a:gd name="connsiteY12" fmla="*/ 176087 h 197781"/>
                    <a:gd name="connsiteX13" fmla="*/ 153710 w 208003"/>
                    <a:gd name="connsiteY13" fmla="*/ 176087 h 197781"/>
                    <a:gd name="connsiteX14" fmla="*/ 127297 w 208003"/>
                    <a:gd name="connsiteY14" fmla="*/ 196630 h 197781"/>
                    <a:gd name="connsiteX15" fmla="*/ 95014 w 208003"/>
                    <a:gd name="connsiteY15" fmla="*/ 190761 h 197781"/>
                    <a:gd name="connsiteX16" fmla="*/ 71535 w 208003"/>
                    <a:gd name="connsiteY16" fmla="*/ 190761 h 197781"/>
                    <a:gd name="connsiteX17" fmla="*/ 45122 w 208003"/>
                    <a:gd name="connsiteY17" fmla="*/ 170217 h 197781"/>
                    <a:gd name="connsiteX18" fmla="*/ 39253 w 208003"/>
                    <a:gd name="connsiteY18" fmla="*/ 155544 h 197781"/>
                    <a:gd name="connsiteX19" fmla="*/ 21644 w 208003"/>
                    <a:gd name="connsiteY19" fmla="*/ 140870 h 197781"/>
                    <a:gd name="connsiteX20" fmla="*/ 21644 w 208003"/>
                    <a:gd name="connsiteY20" fmla="*/ 114457 h 197781"/>
                    <a:gd name="connsiteX21" fmla="*/ 18709 w 208003"/>
                    <a:gd name="connsiteY21" fmla="*/ 111522 h 197781"/>
                    <a:gd name="connsiteX22" fmla="*/ 1101 w 208003"/>
                    <a:gd name="connsiteY22" fmla="*/ 93913 h 197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08003" h="197781">
                      <a:moveTo>
                        <a:pt x="1101" y="93913"/>
                      </a:moveTo>
                      <a:cubicBezTo>
                        <a:pt x="-1834" y="85109"/>
                        <a:pt x="1101" y="70435"/>
                        <a:pt x="9905" y="64565"/>
                      </a:cubicBezTo>
                      <a:cubicBezTo>
                        <a:pt x="12840" y="61630"/>
                        <a:pt x="18709" y="58696"/>
                        <a:pt x="21644" y="55761"/>
                      </a:cubicBezTo>
                      <a:cubicBezTo>
                        <a:pt x="21644" y="46957"/>
                        <a:pt x="24579" y="38152"/>
                        <a:pt x="33383" y="29348"/>
                      </a:cubicBezTo>
                      <a:cubicBezTo>
                        <a:pt x="39253" y="23478"/>
                        <a:pt x="45122" y="20544"/>
                        <a:pt x="53927" y="20544"/>
                      </a:cubicBezTo>
                      <a:cubicBezTo>
                        <a:pt x="56861" y="20544"/>
                        <a:pt x="62731" y="20544"/>
                        <a:pt x="68601" y="20544"/>
                      </a:cubicBezTo>
                      <a:cubicBezTo>
                        <a:pt x="77405" y="8804"/>
                        <a:pt x="92079" y="0"/>
                        <a:pt x="112623" y="0"/>
                      </a:cubicBezTo>
                      <a:cubicBezTo>
                        <a:pt x="130231" y="2935"/>
                        <a:pt x="144905" y="14674"/>
                        <a:pt x="153710" y="29348"/>
                      </a:cubicBezTo>
                      <a:cubicBezTo>
                        <a:pt x="180123" y="29348"/>
                        <a:pt x="194796" y="49891"/>
                        <a:pt x="194796" y="70435"/>
                      </a:cubicBezTo>
                      <a:cubicBezTo>
                        <a:pt x="212405" y="85109"/>
                        <a:pt x="212405" y="111522"/>
                        <a:pt x="194796" y="123261"/>
                      </a:cubicBezTo>
                      <a:cubicBezTo>
                        <a:pt x="197731" y="137935"/>
                        <a:pt x="194796" y="152609"/>
                        <a:pt x="185992" y="164348"/>
                      </a:cubicBezTo>
                      <a:cubicBezTo>
                        <a:pt x="180123" y="173152"/>
                        <a:pt x="171319" y="176087"/>
                        <a:pt x="159579" y="176087"/>
                      </a:cubicBezTo>
                      <a:cubicBezTo>
                        <a:pt x="156645" y="176087"/>
                        <a:pt x="156645" y="176087"/>
                        <a:pt x="153710" y="176087"/>
                      </a:cubicBezTo>
                      <a:cubicBezTo>
                        <a:pt x="153710" y="176087"/>
                        <a:pt x="153710" y="176087"/>
                        <a:pt x="153710" y="176087"/>
                      </a:cubicBezTo>
                      <a:cubicBezTo>
                        <a:pt x="147840" y="187826"/>
                        <a:pt x="139036" y="196630"/>
                        <a:pt x="127297" y="196630"/>
                      </a:cubicBezTo>
                      <a:cubicBezTo>
                        <a:pt x="115557" y="199565"/>
                        <a:pt x="103818" y="196630"/>
                        <a:pt x="95014" y="190761"/>
                      </a:cubicBezTo>
                      <a:cubicBezTo>
                        <a:pt x="86209" y="193696"/>
                        <a:pt x="80340" y="193696"/>
                        <a:pt x="71535" y="190761"/>
                      </a:cubicBezTo>
                      <a:cubicBezTo>
                        <a:pt x="59796" y="187826"/>
                        <a:pt x="50992" y="181957"/>
                        <a:pt x="45122" y="170217"/>
                      </a:cubicBezTo>
                      <a:cubicBezTo>
                        <a:pt x="42187" y="167283"/>
                        <a:pt x="39253" y="161413"/>
                        <a:pt x="39253" y="155544"/>
                      </a:cubicBezTo>
                      <a:cubicBezTo>
                        <a:pt x="33383" y="152609"/>
                        <a:pt x="24579" y="149674"/>
                        <a:pt x="21644" y="140870"/>
                      </a:cubicBezTo>
                      <a:cubicBezTo>
                        <a:pt x="15775" y="129130"/>
                        <a:pt x="18709" y="123261"/>
                        <a:pt x="21644" y="114457"/>
                      </a:cubicBezTo>
                      <a:cubicBezTo>
                        <a:pt x="21644" y="114457"/>
                        <a:pt x="18709" y="114457"/>
                        <a:pt x="18709" y="111522"/>
                      </a:cubicBezTo>
                      <a:cubicBezTo>
                        <a:pt x="6971" y="105652"/>
                        <a:pt x="4036" y="99783"/>
                        <a:pt x="1101" y="93913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0123028C-C131-474B-9B64-5A25F8191C35}"/>
                  </a:ext>
                </a:extLst>
              </p:cNvPr>
              <p:cNvSpPr/>
              <p:nvPr/>
            </p:nvSpPr>
            <p:spPr>
              <a:xfrm>
                <a:off x="10622694" y="2429334"/>
                <a:ext cx="51196" cy="118695"/>
              </a:xfrm>
              <a:custGeom>
                <a:avLst/>
                <a:gdLst>
                  <a:gd name="connsiteX0" fmla="*/ 45326 w 51196"/>
                  <a:gd name="connsiteY0" fmla="*/ 118696 h 118695"/>
                  <a:gd name="connsiteX1" fmla="*/ 39456 w 51196"/>
                  <a:gd name="connsiteY1" fmla="*/ 112826 h 118695"/>
                  <a:gd name="connsiteX2" fmla="*/ 1304 w 51196"/>
                  <a:gd name="connsiteY2" fmla="*/ 10109 h 118695"/>
                  <a:gd name="connsiteX3" fmla="*/ 1304 w 51196"/>
                  <a:gd name="connsiteY3" fmla="*/ 1304 h 118695"/>
                  <a:gd name="connsiteX4" fmla="*/ 10108 w 51196"/>
                  <a:gd name="connsiteY4" fmla="*/ 1304 h 118695"/>
                  <a:gd name="connsiteX5" fmla="*/ 51196 w 51196"/>
                  <a:gd name="connsiteY5" fmla="*/ 106956 h 118695"/>
                  <a:gd name="connsiteX6" fmla="*/ 45326 w 51196"/>
                  <a:gd name="connsiteY6" fmla="*/ 118696 h 118695"/>
                  <a:gd name="connsiteX7" fmla="*/ 45326 w 51196"/>
                  <a:gd name="connsiteY7" fmla="*/ 118696 h 118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196" h="118695">
                    <a:moveTo>
                      <a:pt x="45326" y="118696"/>
                    </a:moveTo>
                    <a:cubicBezTo>
                      <a:pt x="42391" y="118696"/>
                      <a:pt x="39456" y="115761"/>
                      <a:pt x="39456" y="112826"/>
                    </a:cubicBezTo>
                    <a:cubicBezTo>
                      <a:pt x="39456" y="112826"/>
                      <a:pt x="27717" y="48261"/>
                      <a:pt x="1304" y="10109"/>
                    </a:cubicBezTo>
                    <a:cubicBezTo>
                      <a:pt x="-1631" y="7174"/>
                      <a:pt x="1304" y="4239"/>
                      <a:pt x="1304" y="1304"/>
                    </a:cubicBezTo>
                    <a:cubicBezTo>
                      <a:pt x="4239" y="-1630"/>
                      <a:pt x="7174" y="1304"/>
                      <a:pt x="10108" y="1304"/>
                    </a:cubicBezTo>
                    <a:cubicBezTo>
                      <a:pt x="39456" y="42391"/>
                      <a:pt x="51196" y="104022"/>
                      <a:pt x="51196" y="106956"/>
                    </a:cubicBezTo>
                    <a:cubicBezTo>
                      <a:pt x="51196" y="115761"/>
                      <a:pt x="48261" y="118696"/>
                      <a:pt x="45326" y="118696"/>
                    </a:cubicBezTo>
                    <a:cubicBezTo>
                      <a:pt x="45326" y="118696"/>
                      <a:pt x="45326" y="118696"/>
                      <a:pt x="45326" y="1186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ABAAAEF5-4D4D-41D7-956E-5C3382E5BF54}"/>
                  </a:ext>
                </a:extLst>
              </p:cNvPr>
              <p:cNvSpPr/>
              <p:nvPr/>
            </p:nvSpPr>
            <p:spPr>
              <a:xfrm>
                <a:off x="10104447" y="2508334"/>
                <a:ext cx="592186" cy="98579"/>
              </a:xfrm>
              <a:custGeom>
                <a:avLst/>
                <a:gdLst>
                  <a:gd name="connsiteX0" fmla="*/ 38247 w 592186"/>
                  <a:gd name="connsiteY0" fmla="*/ 1544 h 98579"/>
                  <a:gd name="connsiteX1" fmla="*/ 563573 w 592186"/>
                  <a:gd name="connsiteY1" fmla="*/ 22087 h 98579"/>
                  <a:gd name="connsiteX2" fmla="*/ 563573 w 592186"/>
                  <a:gd name="connsiteY2" fmla="*/ 83718 h 98579"/>
                  <a:gd name="connsiteX3" fmla="*/ 23573 w 592186"/>
                  <a:gd name="connsiteY3" fmla="*/ 60239 h 98579"/>
                  <a:gd name="connsiteX4" fmla="*/ 38247 w 592186"/>
                  <a:gd name="connsiteY4" fmla="*/ 1544 h 98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2186" h="98579">
                    <a:moveTo>
                      <a:pt x="38247" y="1544"/>
                    </a:moveTo>
                    <a:cubicBezTo>
                      <a:pt x="211399" y="51435"/>
                      <a:pt x="387486" y="39696"/>
                      <a:pt x="563573" y="22087"/>
                    </a:cubicBezTo>
                    <a:cubicBezTo>
                      <a:pt x="601725" y="19152"/>
                      <a:pt x="601725" y="80783"/>
                      <a:pt x="563573" y="83718"/>
                    </a:cubicBezTo>
                    <a:cubicBezTo>
                      <a:pt x="381616" y="101326"/>
                      <a:pt x="199660" y="113065"/>
                      <a:pt x="23573" y="60239"/>
                    </a:cubicBezTo>
                    <a:cubicBezTo>
                      <a:pt x="-17514" y="48500"/>
                      <a:pt x="94" y="-10196"/>
                      <a:pt x="38247" y="1544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5" name="图形 1">
              <a:extLst>
                <a:ext uri="{FF2B5EF4-FFF2-40B4-BE49-F238E27FC236}">
                  <a16:creationId xmlns:a16="http://schemas.microsoft.com/office/drawing/2014/main" id="{3BB3F0FF-57E1-4ECB-9434-5FAC03429A4D}"/>
                </a:ext>
              </a:extLst>
            </p:cNvPr>
            <p:cNvGrpSpPr/>
            <p:nvPr/>
          </p:nvGrpSpPr>
          <p:grpSpPr>
            <a:xfrm>
              <a:off x="8830846" y="3039087"/>
              <a:ext cx="1144565" cy="1199377"/>
              <a:chOff x="8830846" y="3039087"/>
              <a:chExt cx="1144565" cy="1199377"/>
            </a:xfrm>
          </p:grpSpPr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91D5E596-B2C1-42FA-9639-CC36E8A14DD4}"/>
                  </a:ext>
                </a:extLst>
              </p:cNvPr>
              <p:cNvSpPr/>
              <p:nvPr/>
            </p:nvSpPr>
            <p:spPr>
              <a:xfrm>
                <a:off x="9036281" y="3525313"/>
                <a:ext cx="939130" cy="713152"/>
              </a:xfrm>
              <a:custGeom>
                <a:avLst/>
                <a:gdLst>
                  <a:gd name="connsiteX0" fmla="*/ 0 w 939130"/>
                  <a:gd name="connsiteY0" fmla="*/ 0 h 713152"/>
                  <a:gd name="connsiteX1" fmla="*/ 939130 w 939130"/>
                  <a:gd name="connsiteY1" fmla="*/ 0 h 713152"/>
                  <a:gd name="connsiteX2" fmla="*/ 939130 w 939130"/>
                  <a:gd name="connsiteY2" fmla="*/ 713152 h 713152"/>
                  <a:gd name="connsiteX3" fmla="*/ 0 w 939130"/>
                  <a:gd name="connsiteY3" fmla="*/ 713152 h 713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9130" h="713152">
                    <a:moveTo>
                      <a:pt x="0" y="0"/>
                    </a:moveTo>
                    <a:lnTo>
                      <a:pt x="939130" y="0"/>
                    </a:lnTo>
                    <a:lnTo>
                      <a:pt x="939130" y="713152"/>
                    </a:lnTo>
                    <a:lnTo>
                      <a:pt x="0" y="713152"/>
                    </a:lnTo>
                    <a:close/>
                  </a:path>
                </a:pathLst>
              </a:custGeom>
              <a:solidFill>
                <a:srgbClr val="C4544E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E4682C38-8A28-4E35-B417-CAD2E06FA312}"/>
                  </a:ext>
                </a:extLst>
              </p:cNvPr>
              <p:cNvSpPr/>
              <p:nvPr/>
            </p:nvSpPr>
            <p:spPr>
              <a:xfrm>
                <a:off x="8830846" y="3525313"/>
                <a:ext cx="939130" cy="713152"/>
              </a:xfrm>
              <a:custGeom>
                <a:avLst/>
                <a:gdLst>
                  <a:gd name="connsiteX0" fmla="*/ 0 w 939130"/>
                  <a:gd name="connsiteY0" fmla="*/ 0 h 713152"/>
                  <a:gd name="connsiteX1" fmla="*/ 939130 w 939130"/>
                  <a:gd name="connsiteY1" fmla="*/ 0 h 713152"/>
                  <a:gd name="connsiteX2" fmla="*/ 939130 w 939130"/>
                  <a:gd name="connsiteY2" fmla="*/ 713152 h 713152"/>
                  <a:gd name="connsiteX3" fmla="*/ 0 w 939130"/>
                  <a:gd name="connsiteY3" fmla="*/ 713152 h 713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9130" h="713152">
                    <a:moveTo>
                      <a:pt x="0" y="0"/>
                    </a:moveTo>
                    <a:lnTo>
                      <a:pt x="939130" y="0"/>
                    </a:lnTo>
                    <a:lnTo>
                      <a:pt x="939130" y="713152"/>
                    </a:lnTo>
                    <a:lnTo>
                      <a:pt x="0" y="713152"/>
                    </a:lnTo>
                    <a:close/>
                  </a:path>
                </a:pathLst>
              </a:custGeom>
              <a:solidFill>
                <a:srgbClr val="D16156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6B8308D1-ECAB-41CD-AA49-9A646007E25B}"/>
                  </a:ext>
                </a:extLst>
              </p:cNvPr>
              <p:cNvSpPr/>
              <p:nvPr/>
            </p:nvSpPr>
            <p:spPr>
              <a:xfrm>
                <a:off x="9235846" y="3525313"/>
                <a:ext cx="129130" cy="713152"/>
              </a:xfrm>
              <a:custGeom>
                <a:avLst/>
                <a:gdLst>
                  <a:gd name="connsiteX0" fmla="*/ 0 w 129130"/>
                  <a:gd name="connsiteY0" fmla="*/ 0 h 713152"/>
                  <a:gd name="connsiteX1" fmla="*/ 129130 w 129130"/>
                  <a:gd name="connsiteY1" fmla="*/ 0 h 713152"/>
                  <a:gd name="connsiteX2" fmla="*/ 129130 w 129130"/>
                  <a:gd name="connsiteY2" fmla="*/ 713152 h 713152"/>
                  <a:gd name="connsiteX3" fmla="*/ 0 w 129130"/>
                  <a:gd name="connsiteY3" fmla="*/ 713152 h 713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130" h="713152">
                    <a:moveTo>
                      <a:pt x="0" y="0"/>
                    </a:moveTo>
                    <a:lnTo>
                      <a:pt x="129130" y="0"/>
                    </a:lnTo>
                    <a:lnTo>
                      <a:pt x="129130" y="713152"/>
                    </a:lnTo>
                    <a:lnTo>
                      <a:pt x="0" y="713152"/>
                    </a:ln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4E511BC2-E2C0-41C0-84CB-51DBBB7F3F49}"/>
                  </a:ext>
                </a:extLst>
              </p:cNvPr>
              <p:cNvSpPr/>
              <p:nvPr/>
            </p:nvSpPr>
            <p:spPr>
              <a:xfrm>
                <a:off x="9083159" y="3039087"/>
                <a:ext cx="709681" cy="529345"/>
              </a:xfrm>
              <a:custGeom>
                <a:avLst/>
                <a:gdLst>
                  <a:gd name="connsiteX0" fmla="*/ 692688 w 709681"/>
                  <a:gd name="connsiteY0" fmla="*/ 139921 h 529345"/>
                  <a:gd name="connsiteX1" fmla="*/ 437361 w 709681"/>
                  <a:gd name="connsiteY1" fmla="*/ 145791 h 529345"/>
                  <a:gd name="connsiteX2" fmla="*/ 319970 w 709681"/>
                  <a:gd name="connsiteY2" fmla="*/ 286661 h 529345"/>
                  <a:gd name="connsiteX3" fmla="*/ 311166 w 709681"/>
                  <a:gd name="connsiteY3" fmla="*/ 201552 h 529345"/>
                  <a:gd name="connsiteX4" fmla="*/ 158557 w 709681"/>
                  <a:gd name="connsiteY4" fmla="*/ 1987 h 529345"/>
                  <a:gd name="connsiteX5" fmla="*/ 79 w 709681"/>
                  <a:gd name="connsiteY5" fmla="*/ 222095 h 529345"/>
                  <a:gd name="connsiteX6" fmla="*/ 179101 w 709681"/>
                  <a:gd name="connsiteY6" fmla="*/ 497965 h 529345"/>
                  <a:gd name="connsiteX7" fmla="*/ 223123 w 709681"/>
                  <a:gd name="connsiteY7" fmla="*/ 524378 h 529345"/>
                  <a:gd name="connsiteX8" fmla="*/ 240731 w 709681"/>
                  <a:gd name="connsiteY8" fmla="*/ 512639 h 529345"/>
                  <a:gd name="connsiteX9" fmla="*/ 607579 w 709681"/>
                  <a:gd name="connsiteY9" fmla="*/ 374704 h 529345"/>
                  <a:gd name="connsiteX10" fmla="*/ 692688 w 709681"/>
                  <a:gd name="connsiteY10" fmla="*/ 139921 h 529345"/>
                  <a:gd name="connsiteX11" fmla="*/ 504861 w 709681"/>
                  <a:gd name="connsiteY11" fmla="*/ 195682 h 529345"/>
                  <a:gd name="connsiteX12" fmla="*/ 519535 w 709681"/>
                  <a:gd name="connsiteY12" fmla="*/ 298400 h 529345"/>
                  <a:gd name="connsiteX13" fmla="*/ 428557 w 709681"/>
                  <a:gd name="connsiteY13" fmla="*/ 365900 h 529345"/>
                  <a:gd name="connsiteX14" fmla="*/ 302362 w 709681"/>
                  <a:gd name="connsiteY14" fmla="*/ 433400 h 529345"/>
                  <a:gd name="connsiteX15" fmla="*/ 308231 w 709681"/>
                  <a:gd name="connsiteY15" fmla="*/ 412856 h 529345"/>
                  <a:gd name="connsiteX16" fmla="*/ 504861 w 709681"/>
                  <a:gd name="connsiteY16" fmla="*/ 195682 h 529345"/>
                  <a:gd name="connsiteX17" fmla="*/ 143883 w 709681"/>
                  <a:gd name="connsiteY17" fmla="*/ 304269 h 529345"/>
                  <a:gd name="connsiteX18" fmla="*/ 129209 w 709681"/>
                  <a:gd name="connsiteY18" fmla="*/ 139921 h 529345"/>
                  <a:gd name="connsiteX19" fmla="*/ 231927 w 709681"/>
                  <a:gd name="connsiteY19" fmla="*/ 175139 h 529345"/>
                  <a:gd name="connsiteX20" fmla="*/ 214318 w 709681"/>
                  <a:gd name="connsiteY20" fmla="*/ 415791 h 529345"/>
                  <a:gd name="connsiteX21" fmla="*/ 143883 w 709681"/>
                  <a:gd name="connsiteY21" fmla="*/ 304269 h 52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09681" h="529345">
                    <a:moveTo>
                      <a:pt x="692688" y="139921"/>
                    </a:moveTo>
                    <a:cubicBezTo>
                      <a:pt x="636927" y="57748"/>
                      <a:pt x="498992" y="98834"/>
                      <a:pt x="437361" y="145791"/>
                    </a:cubicBezTo>
                    <a:cubicBezTo>
                      <a:pt x="387470" y="183943"/>
                      <a:pt x="352253" y="233835"/>
                      <a:pt x="319970" y="286661"/>
                    </a:cubicBezTo>
                    <a:cubicBezTo>
                      <a:pt x="319970" y="257313"/>
                      <a:pt x="314101" y="227965"/>
                      <a:pt x="311166" y="201552"/>
                    </a:cubicBezTo>
                    <a:cubicBezTo>
                      <a:pt x="299427" y="125248"/>
                      <a:pt x="264209" y="-18557"/>
                      <a:pt x="158557" y="1987"/>
                    </a:cubicBezTo>
                    <a:cubicBezTo>
                      <a:pt x="61710" y="19595"/>
                      <a:pt x="3014" y="134052"/>
                      <a:pt x="79" y="222095"/>
                    </a:cubicBezTo>
                    <a:cubicBezTo>
                      <a:pt x="-2856" y="342421"/>
                      <a:pt x="76383" y="439269"/>
                      <a:pt x="179101" y="497965"/>
                    </a:cubicBezTo>
                    <a:cubicBezTo>
                      <a:pt x="179101" y="518508"/>
                      <a:pt x="202579" y="539052"/>
                      <a:pt x="223123" y="524378"/>
                    </a:cubicBezTo>
                    <a:cubicBezTo>
                      <a:pt x="228992" y="521443"/>
                      <a:pt x="234862" y="515574"/>
                      <a:pt x="240731" y="512639"/>
                    </a:cubicBezTo>
                    <a:cubicBezTo>
                      <a:pt x="363992" y="480356"/>
                      <a:pt x="504861" y="459813"/>
                      <a:pt x="607579" y="374704"/>
                    </a:cubicBezTo>
                    <a:cubicBezTo>
                      <a:pt x="663340" y="327748"/>
                      <a:pt x="745514" y="216226"/>
                      <a:pt x="692688" y="139921"/>
                    </a:cubicBezTo>
                    <a:close/>
                    <a:moveTo>
                      <a:pt x="504861" y="195682"/>
                    </a:moveTo>
                    <a:cubicBezTo>
                      <a:pt x="537144" y="204487"/>
                      <a:pt x="554753" y="254378"/>
                      <a:pt x="519535" y="298400"/>
                    </a:cubicBezTo>
                    <a:cubicBezTo>
                      <a:pt x="498992" y="324813"/>
                      <a:pt x="457905" y="345356"/>
                      <a:pt x="428557" y="365900"/>
                    </a:cubicBezTo>
                    <a:cubicBezTo>
                      <a:pt x="387470" y="392313"/>
                      <a:pt x="346383" y="415791"/>
                      <a:pt x="302362" y="433400"/>
                    </a:cubicBezTo>
                    <a:cubicBezTo>
                      <a:pt x="305296" y="427530"/>
                      <a:pt x="308231" y="421661"/>
                      <a:pt x="308231" y="412856"/>
                    </a:cubicBezTo>
                    <a:cubicBezTo>
                      <a:pt x="340514" y="362965"/>
                      <a:pt x="402144" y="216226"/>
                      <a:pt x="504861" y="195682"/>
                    </a:cubicBezTo>
                    <a:close/>
                    <a:moveTo>
                      <a:pt x="143883" y="304269"/>
                    </a:moveTo>
                    <a:cubicBezTo>
                      <a:pt x="120405" y="251443"/>
                      <a:pt x="102796" y="195682"/>
                      <a:pt x="129209" y="139921"/>
                    </a:cubicBezTo>
                    <a:cubicBezTo>
                      <a:pt x="158557" y="75356"/>
                      <a:pt x="217253" y="122313"/>
                      <a:pt x="231927" y="175139"/>
                    </a:cubicBezTo>
                    <a:cubicBezTo>
                      <a:pt x="249535" y="245574"/>
                      <a:pt x="240731" y="339487"/>
                      <a:pt x="214318" y="415791"/>
                    </a:cubicBezTo>
                    <a:cubicBezTo>
                      <a:pt x="184970" y="383508"/>
                      <a:pt x="164427" y="345356"/>
                      <a:pt x="143883" y="304269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8B8E685A-0A70-4B85-BC8F-B05F9A3218D7}"/>
                  </a:ext>
                </a:extLst>
              </p:cNvPr>
              <p:cNvSpPr/>
              <p:nvPr/>
            </p:nvSpPr>
            <p:spPr>
              <a:xfrm>
                <a:off x="8989325" y="3511737"/>
                <a:ext cx="296931" cy="530543"/>
              </a:xfrm>
              <a:custGeom>
                <a:avLst/>
                <a:gdLst>
                  <a:gd name="connsiteX0" fmla="*/ 246522 w 296931"/>
                  <a:gd name="connsiteY0" fmla="*/ 7706 h 530543"/>
                  <a:gd name="connsiteX1" fmla="*/ 0 w 296931"/>
                  <a:gd name="connsiteY1" fmla="*/ 500750 h 530543"/>
                  <a:gd name="connsiteX2" fmla="*/ 38152 w 296931"/>
                  <a:gd name="connsiteY2" fmla="*/ 530098 h 530543"/>
                  <a:gd name="connsiteX3" fmla="*/ 108587 w 296931"/>
                  <a:gd name="connsiteY3" fmla="*/ 518358 h 530543"/>
                  <a:gd name="connsiteX4" fmla="*/ 129130 w 296931"/>
                  <a:gd name="connsiteY4" fmla="*/ 489011 h 530543"/>
                  <a:gd name="connsiteX5" fmla="*/ 161413 w 296931"/>
                  <a:gd name="connsiteY5" fmla="*/ 245424 h 530543"/>
                  <a:gd name="connsiteX6" fmla="*/ 290543 w 296931"/>
                  <a:gd name="connsiteY6" fmla="*/ 57598 h 530543"/>
                  <a:gd name="connsiteX7" fmla="*/ 293478 w 296931"/>
                  <a:gd name="connsiteY7" fmla="*/ 45858 h 530543"/>
                  <a:gd name="connsiteX8" fmla="*/ 246522 w 296931"/>
                  <a:gd name="connsiteY8" fmla="*/ 7706 h 530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6931" h="530543">
                    <a:moveTo>
                      <a:pt x="246522" y="7706"/>
                    </a:moveTo>
                    <a:cubicBezTo>
                      <a:pt x="96848" y="130967"/>
                      <a:pt x="8804" y="307054"/>
                      <a:pt x="0" y="500750"/>
                    </a:cubicBezTo>
                    <a:cubicBezTo>
                      <a:pt x="0" y="521293"/>
                      <a:pt x="20543" y="533032"/>
                      <a:pt x="38152" y="530098"/>
                    </a:cubicBezTo>
                    <a:cubicBezTo>
                      <a:pt x="61630" y="527163"/>
                      <a:pt x="85109" y="521293"/>
                      <a:pt x="108587" y="518358"/>
                    </a:cubicBezTo>
                    <a:cubicBezTo>
                      <a:pt x="120326" y="515424"/>
                      <a:pt x="132065" y="500750"/>
                      <a:pt x="129130" y="489011"/>
                    </a:cubicBezTo>
                    <a:cubicBezTo>
                      <a:pt x="120326" y="403902"/>
                      <a:pt x="132065" y="321728"/>
                      <a:pt x="161413" y="245424"/>
                    </a:cubicBezTo>
                    <a:cubicBezTo>
                      <a:pt x="202500" y="177924"/>
                      <a:pt x="255326" y="113359"/>
                      <a:pt x="290543" y="57598"/>
                    </a:cubicBezTo>
                    <a:cubicBezTo>
                      <a:pt x="293478" y="54663"/>
                      <a:pt x="293478" y="48793"/>
                      <a:pt x="293478" y="45858"/>
                    </a:cubicBezTo>
                    <a:cubicBezTo>
                      <a:pt x="308152" y="19445"/>
                      <a:pt x="272935" y="-15772"/>
                      <a:pt x="246522" y="7706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E1F7941E-5274-4E7C-AFB8-44E992E4E035}"/>
                  </a:ext>
                </a:extLst>
              </p:cNvPr>
              <p:cNvSpPr/>
              <p:nvPr/>
            </p:nvSpPr>
            <p:spPr>
              <a:xfrm>
                <a:off x="9323596" y="3527410"/>
                <a:ext cx="170411" cy="355600"/>
              </a:xfrm>
              <a:custGeom>
                <a:avLst/>
                <a:gdLst>
                  <a:gd name="connsiteX0" fmla="*/ 161707 w 170411"/>
                  <a:gd name="connsiteY0" fmla="*/ 218011 h 355600"/>
                  <a:gd name="connsiteX1" fmla="*/ 76599 w 170411"/>
                  <a:gd name="connsiteY1" fmla="*/ 24316 h 355600"/>
                  <a:gd name="connsiteX2" fmla="*/ 64859 w 170411"/>
                  <a:gd name="connsiteY2" fmla="*/ 6707 h 355600"/>
                  <a:gd name="connsiteX3" fmla="*/ 17903 w 170411"/>
                  <a:gd name="connsiteY3" fmla="*/ 21381 h 355600"/>
                  <a:gd name="connsiteX4" fmla="*/ 50185 w 170411"/>
                  <a:gd name="connsiteY4" fmla="*/ 341272 h 355600"/>
                  <a:gd name="connsiteX5" fmla="*/ 100077 w 170411"/>
                  <a:gd name="connsiteY5" fmla="*/ 341272 h 355600"/>
                  <a:gd name="connsiteX6" fmla="*/ 158773 w 170411"/>
                  <a:gd name="connsiteY6" fmla="*/ 259098 h 355600"/>
                  <a:gd name="connsiteX7" fmla="*/ 161707 w 170411"/>
                  <a:gd name="connsiteY7" fmla="*/ 218011 h 355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0411" h="355600">
                    <a:moveTo>
                      <a:pt x="161707" y="218011"/>
                    </a:moveTo>
                    <a:cubicBezTo>
                      <a:pt x="100077" y="171055"/>
                      <a:pt x="88338" y="97685"/>
                      <a:pt x="76599" y="24316"/>
                    </a:cubicBezTo>
                    <a:cubicBezTo>
                      <a:pt x="76599" y="15511"/>
                      <a:pt x="70729" y="9642"/>
                      <a:pt x="64859" y="6707"/>
                    </a:cubicBezTo>
                    <a:cubicBezTo>
                      <a:pt x="50185" y="-5032"/>
                      <a:pt x="23772" y="-2098"/>
                      <a:pt x="17903" y="21381"/>
                    </a:cubicBezTo>
                    <a:cubicBezTo>
                      <a:pt x="-14380" y="129968"/>
                      <a:pt x="-2640" y="241490"/>
                      <a:pt x="50185" y="341272"/>
                    </a:cubicBezTo>
                    <a:cubicBezTo>
                      <a:pt x="61925" y="361816"/>
                      <a:pt x="88338" y="358881"/>
                      <a:pt x="100077" y="341272"/>
                    </a:cubicBezTo>
                    <a:cubicBezTo>
                      <a:pt x="117685" y="311924"/>
                      <a:pt x="138229" y="285511"/>
                      <a:pt x="158773" y="259098"/>
                    </a:cubicBezTo>
                    <a:cubicBezTo>
                      <a:pt x="170512" y="247359"/>
                      <a:pt x="176381" y="226816"/>
                      <a:pt x="161707" y="218011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65193207-970D-43B3-BD97-37A9AE674C82}"/>
                </a:ext>
              </a:extLst>
            </p:cNvPr>
            <p:cNvGrpSpPr/>
            <p:nvPr/>
          </p:nvGrpSpPr>
          <p:grpSpPr>
            <a:xfrm>
              <a:off x="9723524" y="4118139"/>
              <a:ext cx="283436" cy="189700"/>
              <a:chOff x="9723524" y="4118139"/>
              <a:chExt cx="283436" cy="189700"/>
            </a:xfrm>
          </p:grpSpPr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40BEBE7D-A515-4C0E-B69E-AE22673949A2}"/>
                  </a:ext>
                </a:extLst>
              </p:cNvPr>
              <p:cNvSpPr/>
              <p:nvPr/>
            </p:nvSpPr>
            <p:spPr>
              <a:xfrm>
                <a:off x="9723524" y="4123480"/>
                <a:ext cx="283436" cy="184359"/>
              </a:xfrm>
              <a:custGeom>
                <a:avLst/>
                <a:gdLst>
                  <a:gd name="connsiteX0" fmla="*/ 216671 w 283436"/>
                  <a:gd name="connsiteY0" fmla="*/ 529 h 184359"/>
                  <a:gd name="connsiteX1" fmla="*/ 140366 w 283436"/>
                  <a:gd name="connsiteY1" fmla="*/ 6398 h 184359"/>
                  <a:gd name="connsiteX2" fmla="*/ 87540 w 283436"/>
                  <a:gd name="connsiteY2" fmla="*/ 24007 h 184359"/>
                  <a:gd name="connsiteX3" fmla="*/ 69931 w 283436"/>
                  <a:gd name="connsiteY3" fmla="*/ 53355 h 184359"/>
                  <a:gd name="connsiteX4" fmla="*/ 116888 w 283436"/>
                  <a:gd name="connsiteY4" fmla="*/ 47485 h 184359"/>
                  <a:gd name="connsiteX5" fmla="*/ 157975 w 283436"/>
                  <a:gd name="connsiteY5" fmla="*/ 68028 h 184359"/>
                  <a:gd name="connsiteX6" fmla="*/ 14171 w 283436"/>
                  <a:gd name="connsiteY6" fmla="*/ 103246 h 184359"/>
                  <a:gd name="connsiteX7" fmla="*/ 2431 w 283436"/>
                  <a:gd name="connsiteY7" fmla="*/ 120855 h 184359"/>
                  <a:gd name="connsiteX8" fmla="*/ 8301 w 283436"/>
                  <a:gd name="connsiteY8" fmla="*/ 120855 h 184359"/>
                  <a:gd name="connsiteX9" fmla="*/ 2431 w 283436"/>
                  <a:gd name="connsiteY9" fmla="*/ 135529 h 184359"/>
                  <a:gd name="connsiteX10" fmla="*/ 31779 w 283436"/>
                  <a:gd name="connsiteY10" fmla="*/ 150202 h 184359"/>
                  <a:gd name="connsiteX11" fmla="*/ 75801 w 283436"/>
                  <a:gd name="connsiteY11" fmla="*/ 153137 h 184359"/>
                  <a:gd name="connsiteX12" fmla="*/ 40583 w 283436"/>
                  <a:gd name="connsiteY12" fmla="*/ 159007 h 184359"/>
                  <a:gd name="connsiteX13" fmla="*/ 34714 w 283436"/>
                  <a:gd name="connsiteY13" fmla="*/ 173681 h 184359"/>
                  <a:gd name="connsiteX14" fmla="*/ 160909 w 283436"/>
                  <a:gd name="connsiteY14" fmla="*/ 179550 h 184359"/>
                  <a:gd name="connsiteX15" fmla="*/ 281236 w 283436"/>
                  <a:gd name="connsiteY15" fmla="*/ 94442 h 184359"/>
                  <a:gd name="connsiteX16" fmla="*/ 281236 w 283436"/>
                  <a:gd name="connsiteY16" fmla="*/ 82702 h 184359"/>
                  <a:gd name="connsiteX17" fmla="*/ 216671 w 283436"/>
                  <a:gd name="connsiteY17" fmla="*/ 529 h 184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83436" h="184359">
                    <a:moveTo>
                      <a:pt x="216671" y="529"/>
                    </a:moveTo>
                    <a:cubicBezTo>
                      <a:pt x="190257" y="3463"/>
                      <a:pt x="166779" y="3463"/>
                      <a:pt x="140366" y="6398"/>
                    </a:cubicBezTo>
                    <a:cubicBezTo>
                      <a:pt x="111019" y="9333"/>
                      <a:pt x="119823" y="9333"/>
                      <a:pt x="87540" y="24007"/>
                    </a:cubicBezTo>
                    <a:cubicBezTo>
                      <a:pt x="84605" y="26942"/>
                      <a:pt x="69931" y="50420"/>
                      <a:pt x="69931" y="53355"/>
                    </a:cubicBezTo>
                    <a:cubicBezTo>
                      <a:pt x="72866" y="59224"/>
                      <a:pt x="87540" y="65094"/>
                      <a:pt x="116888" y="47485"/>
                    </a:cubicBezTo>
                    <a:cubicBezTo>
                      <a:pt x="134496" y="50420"/>
                      <a:pt x="152105" y="65094"/>
                      <a:pt x="157975" y="68028"/>
                    </a:cubicBezTo>
                    <a:cubicBezTo>
                      <a:pt x="146235" y="106181"/>
                      <a:pt x="17105" y="79768"/>
                      <a:pt x="14171" y="103246"/>
                    </a:cubicBezTo>
                    <a:cubicBezTo>
                      <a:pt x="14171" y="106181"/>
                      <a:pt x="-503" y="117920"/>
                      <a:pt x="2431" y="120855"/>
                    </a:cubicBezTo>
                    <a:cubicBezTo>
                      <a:pt x="2431" y="120855"/>
                      <a:pt x="8301" y="120855"/>
                      <a:pt x="8301" y="120855"/>
                    </a:cubicBezTo>
                    <a:cubicBezTo>
                      <a:pt x="2431" y="123789"/>
                      <a:pt x="-3438" y="123789"/>
                      <a:pt x="2431" y="135529"/>
                    </a:cubicBezTo>
                    <a:cubicBezTo>
                      <a:pt x="5366" y="144333"/>
                      <a:pt x="20040" y="144333"/>
                      <a:pt x="31779" y="150202"/>
                    </a:cubicBezTo>
                    <a:cubicBezTo>
                      <a:pt x="46453" y="153137"/>
                      <a:pt x="61127" y="150202"/>
                      <a:pt x="75801" y="153137"/>
                    </a:cubicBezTo>
                    <a:cubicBezTo>
                      <a:pt x="69931" y="156072"/>
                      <a:pt x="43518" y="156072"/>
                      <a:pt x="40583" y="159007"/>
                    </a:cubicBezTo>
                    <a:cubicBezTo>
                      <a:pt x="37649" y="161942"/>
                      <a:pt x="34714" y="170746"/>
                      <a:pt x="34714" y="173681"/>
                    </a:cubicBezTo>
                    <a:cubicBezTo>
                      <a:pt x="43518" y="188355"/>
                      <a:pt x="131562" y="185420"/>
                      <a:pt x="160909" y="179550"/>
                    </a:cubicBezTo>
                    <a:cubicBezTo>
                      <a:pt x="207866" y="170746"/>
                      <a:pt x="254823" y="129659"/>
                      <a:pt x="281236" y="94442"/>
                    </a:cubicBezTo>
                    <a:cubicBezTo>
                      <a:pt x="284171" y="91507"/>
                      <a:pt x="284171" y="85637"/>
                      <a:pt x="281236" y="82702"/>
                    </a:cubicBezTo>
                    <a:cubicBezTo>
                      <a:pt x="290040" y="38681"/>
                      <a:pt x="266562" y="-5341"/>
                      <a:pt x="216671" y="529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B6F00496-FFB4-4293-A2EC-4E462BD4506C}"/>
                  </a:ext>
                </a:extLst>
              </p:cNvPr>
              <p:cNvSpPr/>
              <p:nvPr/>
            </p:nvSpPr>
            <p:spPr>
              <a:xfrm>
                <a:off x="9723754" y="4229973"/>
                <a:ext cx="140136" cy="52513"/>
              </a:xfrm>
              <a:custGeom>
                <a:avLst/>
                <a:gdLst>
                  <a:gd name="connsiteX0" fmla="*/ 119592 w 140136"/>
                  <a:gd name="connsiteY0" fmla="*/ 52513 h 52513"/>
                  <a:gd name="connsiteX1" fmla="*/ 119592 w 140136"/>
                  <a:gd name="connsiteY1" fmla="*/ 52513 h 52513"/>
                  <a:gd name="connsiteX2" fmla="*/ 37419 w 140136"/>
                  <a:gd name="connsiteY2" fmla="*/ 43709 h 52513"/>
                  <a:gd name="connsiteX3" fmla="*/ 2201 w 140136"/>
                  <a:gd name="connsiteY3" fmla="*/ 23165 h 52513"/>
                  <a:gd name="connsiteX4" fmla="*/ 2201 w 140136"/>
                  <a:gd name="connsiteY4" fmla="*/ 5557 h 52513"/>
                  <a:gd name="connsiteX5" fmla="*/ 49158 w 140136"/>
                  <a:gd name="connsiteY5" fmla="*/ 5557 h 52513"/>
                  <a:gd name="connsiteX6" fmla="*/ 134266 w 140136"/>
                  <a:gd name="connsiteY6" fmla="*/ 14361 h 52513"/>
                  <a:gd name="connsiteX7" fmla="*/ 140136 w 140136"/>
                  <a:gd name="connsiteY7" fmla="*/ 17296 h 52513"/>
                  <a:gd name="connsiteX8" fmla="*/ 137201 w 140136"/>
                  <a:gd name="connsiteY8" fmla="*/ 23165 h 52513"/>
                  <a:gd name="connsiteX9" fmla="*/ 46223 w 140136"/>
                  <a:gd name="connsiteY9" fmla="*/ 14361 h 52513"/>
                  <a:gd name="connsiteX10" fmla="*/ 13940 w 140136"/>
                  <a:gd name="connsiteY10" fmla="*/ 8492 h 52513"/>
                  <a:gd name="connsiteX11" fmla="*/ 13940 w 140136"/>
                  <a:gd name="connsiteY11" fmla="*/ 14361 h 52513"/>
                  <a:gd name="connsiteX12" fmla="*/ 43288 w 140136"/>
                  <a:gd name="connsiteY12" fmla="*/ 26100 h 52513"/>
                  <a:gd name="connsiteX13" fmla="*/ 125462 w 140136"/>
                  <a:gd name="connsiteY13" fmla="*/ 34904 h 52513"/>
                  <a:gd name="connsiteX14" fmla="*/ 131332 w 140136"/>
                  <a:gd name="connsiteY14" fmla="*/ 40774 h 52513"/>
                  <a:gd name="connsiteX15" fmla="*/ 119592 w 140136"/>
                  <a:gd name="connsiteY15" fmla="*/ 52513 h 52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0136" h="52513">
                    <a:moveTo>
                      <a:pt x="119592" y="52513"/>
                    </a:moveTo>
                    <a:cubicBezTo>
                      <a:pt x="119592" y="52513"/>
                      <a:pt x="119592" y="52513"/>
                      <a:pt x="119592" y="52513"/>
                    </a:cubicBezTo>
                    <a:cubicBezTo>
                      <a:pt x="116658" y="52513"/>
                      <a:pt x="60897" y="49578"/>
                      <a:pt x="37419" y="43709"/>
                    </a:cubicBezTo>
                    <a:cubicBezTo>
                      <a:pt x="16875" y="37839"/>
                      <a:pt x="5136" y="34904"/>
                      <a:pt x="2201" y="23165"/>
                    </a:cubicBezTo>
                    <a:cubicBezTo>
                      <a:pt x="-734" y="17296"/>
                      <a:pt x="-734" y="11426"/>
                      <a:pt x="2201" y="5557"/>
                    </a:cubicBezTo>
                    <a:cubicBezTo>
                      <a:pt x="5136" y="-3248"/>
                      <a:pt x="16875" y="-313"/>
                      <a:pt x="49158" y="5557"/>
                    </a:cubicBezTo>
                    <a:cubicBezTo>
                      <a:pt x="78505" y="11426"/>
                      <a:pt x="116658" y="20231"/>
                      <a:pt x="134266" y="14361"/>
                    </a:cubicBezTo>
                    <a:cubicBezTo>
                      <a:pt x="137201" y="14361"/>
                      <a:pt x="140136" y="14361"/>
                      <a:pt x="140136" y="17296"/>
                    </a:cubicBezTo>
                    <a:cubicBezTo>
                      <a:pt x="140136" y="20231"/>
                      <a:pt x="140136" y="23165"/>
                      <a:pt x="137201" y="23165"/>
                    </a:cubicBezTo>
                    <a:cubicBezTo>
                      <a:pt x="113723" y="29035"/>
                      <a:pt x="75570" y="20231"/>
                      <a:pt x="46223" y="14361"/>
                    </a:cubicBezTo>
                    <a:cubicBezTo>
                      <a:pt x="34484" y="11426"/>
                      <a:pt x="16875" y="8492"/>
                      <a:pt x="13940" y="8492"/>
                    </a:cubicBezTo>
                    <a:cubicBezTo>
                      <a:pt x="13940" y="11426"/>
                      <a:pt x="13940" y="14361"/>
                      <a:pt x="13940" y="14361"/>
                    </a:cubicBezTo>
                    <a:cubicBezTo>
                      <a:pt x="16875" y="20231"/>
                      <a:pt x="34484" y="26100"/>
                      <a:pt x="43288" y="26100"/>
                    </a:cubicBezTo>
                    <a:cubicBezTo>
                      <a:pt x="66766" y="31970"/>
                      <a:pt x="122527" y="34904"/>
                      <a:pt x="125462" y="34904"/>
                    </a:cubicBezTo>
                    <a:cubicBezTo>
                      <a:pt x="128397" y="34904"/>
                      <a:pt x="131332" y="37839"/>
                      <a:pt x="131332" y="40774"/>
                    </a:cubicBezTo>
                    <a:cubicBezTo>
                      <a:pt x="125462" y="52513"/>
                      <a:pt x="122527" y="52513"/>
                      <a:pt x="119592" y="52513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A6010A22-5F66-411E-B3AF-F48475512EFC}"/>
                  </a:ext>
                </a:extLst>
              </p:cNvPr>
              <p:cNvSpPr/>
              <p:nvPr/>
            </p:nvSpPr>
            <p:spPr>
              <a:xfrm>
                <a:off x="9734759" y="4118139"/>
                <a:ext cx="164347" cy="126195"/>
              </a:xfrm>
              <a:custGeom>
                <a:avLst/>
                <a:gdLst>
                  <a:gd name="connsiteX0" fmla="*/ 8804 w 164347"/>
                  <a:gd name="connsiteY0" fmla="*/ 126196 h 126195"/>
                  <a:gd name="connsiteX1" fmla="*/ 5869 w 164347"/>
                  <a:gd name="connsiteY1" fmla="*/ 123261 h 126195"/>
                  <a:gd name="connsiteX2" fmla="*/ 0 w 164347"/>
                  <a:gd name="connsiteY2" fmla="*/ 108587 h 126195"/>
                  <a:gd name="connsiteX3" fmla="*/ 14674 w 164347"/>
                  <a:gd name="connsiteY3" fmla="*/ 90978 h 126195"/>
                  <a:gd name="connsiteX4" fmla="*/ 58696 w 164347"/>
                  <a:gd name="connsiteY4" fmla="*/ 88043 h 126195"/>
                  <a:gd name="connsiteX5" fmla="*/ 123261 w 164347"/>
                  <a:gd name="connsiteY5" fmla="*/ 85109 h 126195"/>
                  <a:gd name="connsiteX6" fmla="*/ 143805 w 164347"/>
                  <a:gd name="connsiteY6" fmla="*/ 70435 h 126195"/>
                  <a:gd name="connsiteX7" fmla="*/ 111522 w 164347"/>
                  <a:gd name="connsiteY7" fmla="*/ 55761 h 126195"/>
                  <a:gd name="connsiteX8" fmla="*/ 61631 w 164347"/>
                  <a:gd name="connsiteY8" fmla="*/ 58696 h 126195"/>
                  <a:gd name="connsiteX9" fmla="*/ 67500 w 164347"/>
                  <a:gd name="connsiteY9" fmla="*/ 32283 h 126195"/>
                  <a:gd name="connsiteX10" fmla="*/ 158479 w 164347"/>
                  <a:gd name="connsiteY10" fmla="*/ 0 h 126195"/>
                  <a:gd name="connsiteX11" fmla="*/ 164348 w 164347"/>
                  <a:gd name="connsiteY11" fmla="*/ 5870 h 126195"/>
                  <a:gd name="connsiteX12" fmla="*/ 158479 w 164347"/>
                  <a:gd name="connsiteY12" fmla="*/ 11739 h 126195"/>
                  <a:gd name="connsiteX13" fmla="*/ 155544 w 164347"/>
                  <a:gd name="connsiteY13" fmla="*/ 11739 h 126195"/>
                  <a:gd name="connsiteX14" fmla="*/ 76305 w 164347"/>
                  <a:gd name="connsiteY14" fmla="*/ 38152 h 126195"/>
                  <a:gd name="connsiteX15" fmla="*/ 67500 w 164347"/>
                  <a:gd name="connsiteY15" fmla="*/ 52826 h 126195"/>
                  <a:gd name="connsiteX16" fmla="*/ 105652 w 164347"/>
                  <a:gd name="connsiteY16" fmla="*/ 44022 h 126195"/>
                  <a:gd name="connsiteX17" fmla="*/ 108587 w 164347"/>
                  <a:gd name="connsiteY17" fmla="*/ 44022 h 126195"/>
                  <a:gd name="connsiteX18" fmla="*/ 152609 w 164347"/>
                  <a:gd name="connsiteY18" fmla="*/ 67500 h 126195"/>
                  <a:gd name="connsiteX19" fmla="*/ 152609 w 164347"/>
                  <a:gd name="connsiteY19" fmla="*/ 73370 h 126195"/>
                  <a:gd name="connsiteX20" fmla="*/ 123261 w 164347"/>
                  <a:gd name="connsiteY20" fmla="*/ 93913 h 126195"/>
                  <a:gd name="connsiteX21" fmla="*/ 52826 w 164347"/>
                  <a:gd name="connsiteY21" fmla="*/ 96848 h 126195"/>
                  <a:gd name="connsiteX22" fmla="*/ 17609 w 164347"/>
                  <a:gd name="connsiteY22" fmla="*/ 96848 h 126195"/>
                  <a:gd name="connsiteX23" fmla="*/ 8804 w 164347"/>
                  <a:gd name="connsiteY23" fmla="*/ 105652 h 126195"/>
                  <a:gd name="connsiteX24" fmla="*/ 11739 w 164347"/>
                  <a:gd name="connsiteY24" fmla="*/ 111522 h 126195"/>
                  <a:gd name="connsiteX25" fmla="*/ 11739 w 164347"/>
                  <a:gd name="connsiteY25" fmla="*/ 120326 h 126195"/>
                  <a:gd name="connsiteX26" fmla="*/ 8804 w 164347"/>
                  <a:gd name="connsiteY26" fmla="*/ 126196 h 126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4347" h="126195">
                    <a:moveTo>
                      <a:pt x="8804" y="126196"/>
                    </a:moveTo>
                    <a:cubicBezTo>
                      <a:pt x="5869" y="126196"/>
                      <a:pt x="5869" y="126196"/>
                      <a:pt x="5869" y="123261"/>
                    </a:cubicBezTo>
                    <a:cubicBezTo>
                      <a:pt x="5869" y="123261"/>
                      <a:pt x="0" y="117391"/>
                      <a:pt x="0" y="108587"/>
                    </a:cubicBezTo>
                    <a:cubicBezTo>
                      <a:pt x="0" y="102717"/>
                      <a:pt x="5869" y="96848"/>
                      <a:pt x="14674" y="90978"/>
                    </a:cubicBezTo>
                    <a:cubicBezTo>
                      <a:pt x="26413" y="85109"/>
                      <a:pt x="41087" y="85109"/>
                      <a:pt x="58696" y="88043"/>
                    </a:cubicBezTo>
                    <a:cubicBezTo>
                      <a:pt x="79239" y="90978"/>
                      <a:pt x="99783" y="93913"/>
                      <a:pt x="123261" y="85109"/>
                    </a:cubicBezTo>
                    <a:cubicBezTo>
                      <a:pt x="129131" y="82174"/>
                      <a:pt x="140870" y="76305"/>
                      <a:pt x="143805" y="70435"/>
                    </a:cubicBezTo>
                    <a:cubicBezTo>
                      <a:pt x="137935" y="64565"/>
                      <a:pt x="123261" y="58696"/>
                      <a:pt x="111522" y="55761"/>
                    </a:cubicBezTo>
                    <a:cubicBezTo>
                      <a:pt x="82174" y="64565"/>
                      <a:pt x="67500" y="67500"/>
                      <a:pt x="61631" y="58696"/>
                    </a:cubicBezTo>
                    <a:cubicBezTo>
                      <a:pt x="55761" y="52826"/>
                      <a:pt x="61631" y="41087"/>
                      <a:pt x="67500" y="32283"/>
                    </a:cubicBezTo>
                    <a:cubicBezTo>
                      <a:pt x="88043" y="0"/>
                      <a:pt x="155544" y="0"/>
                      <a:pt x="158479" y="0"/>
                    </a:cubicBezTo>
                    <a:cubicBezTo>
                      <a:pt x="161413" y="0"/>
                      <a:pt x="164348" y="2935"/>
                      <a:pt x="164348" y="5870"/>
                    </a:cubicBezTo>
                    <a:cubicBezTo>
                      <a:pt x="164348" y="8804"/>
                      <a:pt x="161413" y="11739"/>
                      <a:pt x="158479" y="11739"/>
                    </a:cubicBezTo>
                    <a:cubicBezTo>
                      <a:pt x="158479" y="11739"/>
                      <a:pt x="158479" y="11739"/>
                      <a:pt x="155544" y="11739"/>
                    </a:cubicBezTo>
                    <a:cubicBezTo>
                      <a:pt x="135000" y="11739"/>
                      <a:pt x="88043" y="17609"/>
                      <a:pt x="76305" y="38152"/>
                    </a:cubicBezTo>
                    <a:cubicBezTo>
                      <a:pt x="67500" y="49891"/>
                      <a:pt x="67500" y="52826"/>
                      <a:pt x="67500" y="52826"/>
                    </a:cubicBezTo>
                    <a:cubicBezTo>
                      <a:pt x="70435" y="52826"/>
                      <a:pt x="76305" y="52826"/>
                      <a:pt x="105652" y="44022"/>
                    </a:cubicBezTo>
                    <a:cubicBezTo>
                      <a:pt x="105652" y="44022"/>
                      <a:pt x="108587" y="44022"/>
                      <a:pt x="108587" y="44022"/>
                    </a:cubicBezTo>
                    <a:cubicBezTo>
                      <a:pt x="117391" y="46957"/>
                      <a:pt x="149674" y="55761"/>
                      <a:pt x="152609" y="67500"/>
                    </a:cubicBezTo>
                    <a:cubicBezTo>
                      <a:pt x="152609" y="70435"/>
                      <a:pt x="152609" y="73370"/>
                      <a:pt x="152609" y="73370"/>
                    </a:cubicBezTo>
                    <a:cubicBezTo>
                      <a:pt x="152609" y="73370"/>
                      <a:pt x="135000" y="90978"/>
                      <a:pt x="123261" y="93913"/>
                    </a:cubicBezTo>
                    <a:cubicBezTo>
                      <a:pt x="96848" y="102717"/>
                      <a:pt x="73370" y="99783"/>
                      <a:pt x="52826" y="96848"/>
                    </a:cubicBezTo>
                    <a:cubicBezTo>
                      <a:pt x="38152" y="93913"/>
                      <a:pt x="23478" y="93913"/>
                      <a:pt x="17609" y="96848"/>
                    </a:cubicBezTo>
                    <a:cubicBezTo>
                      <a:pt x="11739" y="99783"/>
                      <a:pt x="8804" y="102717"/>
                      <a:pt x="8804" y="105652"/>
                    </a:cubicBezTo>
                    <a:cubicBezTo>
                      <a:pt x="8804" y="108587"/>
                      <a:pt x="11739" y="111522"/>
                      <a:pt x="11739" y="111522"/>
                    </a:cubicBezTo>
                    <a:cubicBezTo>
                      <a:pt x="14674" y="114457"/>
                      <a:pt x="14674" y="117391"/>
                      <a:pt x="11739" y="120326"/>
                    </a:cubicBezTo>
                    <a:cubicBezTo>
                      <a:pt x="11739" y="126196"/>
                      <a:pt x="8804" y="126196"/>
                      <a:pt x="8804" y="126196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0D325951-A585-45E0-9322-867B9EDF0CD6}"/>
                </a:ext>
              </a:extLst>
            </p:cNvPr>
            <p:cNvSpPr/>
            <p:nvPr/>
          </p:nvSpPr>
          <p:spPr>
            <a:xfrm>
              <a:off x="9940194" y="3141883"/>
              <a:ext cx="862210" cy="1120168"/>
            </a:xfrm>
            <a:custGeom>
              <a:avLst/>
              <a:gdLst>
                <a:gd name="connsiteX0" fmla="*/ 540000 w 862210"/>
                <a:gd name="connsiteY0" fmla="*/ 242560 h 1120168"/>
                <a:gd name="connsiteX1" fmla="*/ 422609 w 862210"/>
                <a:gd name="connsiteY1" fmla="*/ 565386 h 1120168"/>
                <a:gd name="connsiteX2" fmla="*/ 0 w 862210"/>
                <a:gd name="connsiteY2" fmla="*/ 964517 h 1120168"/>
                <a:gd name="connsiteX3" fmla="*/ 96847 w 862210"/>
                <a:gd name="connsiteY3" fmla="*/ 1120060 h 1120168"/>
                <a:gd name="connsiteX4" fmla="*/ 630978 w 862210"/>
                <a:gd name="connsiteY4" fmla="*/ 732669 h 1120168"/>
                <a:gd name="connsiteX5" fmla="*/ 856956 w 862210"/>
                <a:gd name="connsiteY5" fmla="*/ 251365 h 1120168"/>
                <a:gd name="connsiteX6" fmla="*/ 795325 w 862210"/>
                <a:gd name="connsiteY6" fmla="*/ 1908 h 1120168"/>
                <a:gd name="connsiteX7" fmla="*/ 540000 w 862210"/>
                <a:gd name="connsiteY7" fmla="*/ 242560 h 1120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62210" h="1120168">
                  <a:moveTo>
                    <a:pt x="540000" y="242560"/>
                  </a:moveTo>
                  <a:cubicBezTo>
                    <a:pt x="510652" y="324734"/>
                    <a:pt x="466630" y="489082"/>
                    <a:pt x="422609" y="565386"/>
                  </a:cubicBezTo>
                  <a:cubicBezTo>
                    <a:pt x="358043" y="676908"/>
                    <a:pt x="0" y="958647"/>
                    <a:pt x="0" y="964517"/>
                  </a:cubicBezTo>
                  <a:cubicBezTo>
                    <a:pt x="11739" y="1032017"/>
                    <a:pt x="44022" y="1078973"/>
                    <a:pt x="96847" y="1120060"/>
                  </a:cubicBezTo>
                  <a:cubicBezTo>
                    <a:pt x="105651" y="1125930"/>
                    <a:pt x="490108" y="891147"/>
                    <a:pt x="630978" y="732669"/>
                  </a:cubicBezTo>
                  <a:cubicBezTo>
                    <a:pt x="675000" y="685713"/>
                    <a:pt x="827608" y="418647"/>
                    <a:pt x="856956" y="251365"/>
                  </a:cubicBezTo>
                  <a:cubicBezTo>
                    <a:pt x="871630" y="169191"/>
                    <a:pt x="856956" y="13647"/>
                    <a:pt x="795325" y="1908"/>
                  </a:cubicBezTo>
                  <a:cubicBezTo>
                    <a:pt x="701413" y="-18635"/>
                    <a:pt x="578152" y="131039"/>
                    <a:pt x="540000" y="242560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49EA985C-A449-456A-8582-824E8C051E77}"/>
                </a:ext>
              </a:extLst>
            </p:cNvPr>
            <p:cNvSpPr/>
            <p:nvPr/>
          </p:nvSpPr>
          <p:spPr>
            <a:xfrm>
              <a:off x="10427368" y="3137632"/>
              <a:ext cx="316957" cy="390614"/>
            </a:xfrm>
            <a:custGeom>
              <a:avLst/>
              <a:gdLst>
                <a:gd name="connsiteX0" fmla="*/ 5870 w 316957"/>
                <a:gd name="connsiteY0" fmla="*/ 390615 h 390614"/>
                <a:gd name="connsiteX1" fmla="*/ 5870 w 316957"/>
                <a:gd name="connsiteY1" fmla="*/ 390615 h 390614"/>
                <a:gd name="connsiteX2" fmla="*/ 0 w 316957"/>
                <a:gd name="connsiteY2" fmla="*/ 384745 h 390614"/>
                <a:gd name="connsiteX3" fmla="*/ 117391 w 316957"/>
                <a:gd name="connsiteY3" fmla="*/ 114745 h 390614"/>
                <a:gd name="connsiteX4" fmla="*/ 311087 w 316957"/>
                <a:gd name="connsiteY4" fmla="*/ 289 h 390614"/>
                <a:gd name="connsiteX5" fmla="*/ 316957 w 316957"/>
                <a:gd name="connsiteY5" fmla="*/ 6158 h 390614"/>
                <a:gd name="connsiteX6" fmla="*/ 311087 w 316957"/>
                <a:gd name="connsiteY6" fmla="*/ 12028 h 390614"/>
                <a:gd name="connsiteX7" fmla="*/ 129131 w 316957"/>
                <a:gd name="connsiteY7" fmla="*/ 123550 h 390614"/>
                <a:gd name="connsiteX8" fmla="*/ 14674 w 316957"/>
                <a:gd name="connsiteY8" fmla="*/ 387680 h 390614"/>
                <a:gd name="connsiteX9" fmla="*/ 5870 w 316957"/>
                <a:gd name="connsiteY9" fmla="*/ 390615 h 390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6957" h="390614">
                  <a:moveTo>
                    <a:pt x="5870" y="390615"/>
                  </a:moveTo>
                  <a:cubicBezTo>
                    <a:pt x="5870" y="390615"/>
                    <a:pt x="5870" y="390615"/>
                    <a:pt x="5870" y="390615"/>
                  </a:cubicBezTo>
                  <a:cubicBezTo>
                    <a:pt x="2935" y="390615"/>
                    <a:pt x="0" y="387680"/>
                    <a:pt x="0" y="384745"/>
                  </a:cubicBezTo>
                  <a:cubicBezTo>
                    <a:pt x="0" y="384745"/>
                    <a:pt x="20544" y="240941"/>
                    <a:pt x="117391" y="114745"/>
                  </a:cubicBezTo>
                  <a:cubicBezTo>
                    <a:pt x="214240" y="-11450"/>
                    <a:pt x="308152" y="289"/>
                    <a:pt x="311087" y="289"/>
                  </a:cubicBezTo>
                  <a:cubicBezTo>
                    <a:pt x="314022" y="289"/>
                    <a:pt x="316957" y="3224"/>
                    <a:pt x="316957" y="6158"/>
                  </a:cubicBezTo>
                  <a:cubicBezTo>
                    <a:pt x="316957" y="9093"/>
                    <a:pt x="314022" y="12028"/>
                    <a:pt x="311087" y="12028"/>
                  </a:cubicBezTo>
                  <a:cubicBezTo>
                    <a:pt x="311087" y="12028"/>
                    <a:pt x="223044" y="289"/>
                    <a:pt x="129131" y="123550"/>
                  </a:cubicBezTo>
                  <a:cubicBezTo>
                    <a:pt x="32283" y="246811"/>
                    <a:pt x="14674" y="387680"/>
                    <a:pt x="14674" y="387680"/>
                  </a:cubicBezTo>
                  <a:cubicBezTo>
                    <a:pt x="11740" y="390615"/>
                    <a:pt x="8805" y="390615"/>
                    <a:pt x="5870" y="390615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537719C2-C852-4762-9771-E0ABB9BBACFB}"/>
                </a:ext>
              </a:extLst>
            </p:cNvPr>
            <p:cNvSpPr/>
            <p:nvPr/>
          </p:nvSpPr>
          <p:spPr>
            <a:xfrm>
              <a:off x="10369406" y="3566400"/>
              <a:ext cx="377853" cy="484239"/>
            </a:xfrm>
            <a:custGeom>
              <a:avLst/>
              <a:gdLst>
                <a:gd name="connsiteX0" fmla="*/ 5136 w 377853"/>
                <a:gd name="connsiteY0" fmla="*/ 484239 h 484239"/>
                <a:gd name="connsiteX1" fmla="*/ 2201 w 377853"/>
                <a:gd name="connsiteY1" fmla="*/ 481304 h 484239"/>
                <a:gd name="connsiteX2" fmla="*/ 2201 w 377853"/>
                <a:gd name="connsiteY2" fmla="*/ 472500 h 484239"/>
                <a:gd name="connsiteX3" fmla="*/ 201767 w 377853"/>
                <a:gd name="connsiteY3" fmla="*/ 302282 h 484239"/>
                <a:gd name="connsiteX4" fmla="*/ 369049 w 377853"/>
                <a:gd name="connsiteY4" fmla="*/ 2935 h 484239"/>
                <a:gd name="connsiteX5" fmla="*/ 374919 w 377853"/>
                <a:gd name="connsiteY5" fmla="*/ 0 h 484239"/>
                <a:gd name="connsiteX6" fmla="*/ 377854 w 377853"/>
                <a:gd name="connsiteY6" fmla="*/ 5869 h 484239"/>
                <a:gd name="connsiteX7" fmla="*/ 207636 w 377853"/>
                <a:gd name="connsiteY7" fmla="*/ 308152 h 484239"/>
                <a:gd name="connsiteX8" fmla="*/ 8071 w 377853"/>
                <a:gd name="connsiteY8" fmla="*/ 478369 h 484239"/>
                <a:gd name="connsiteX9" fmla="*/ 5136 w 377853"/>
                <a:gd name="connsiteY9" fmla="*/ 484239 h 484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7853" h="484239">
                  <a:moveTo>
                    <a:pt x="5136" y="484239"/>
                  </a:moveTo>
                  <a:cubicBezTo>
                    <a:pt x="2201" y="484239"/>
                    <a:pt x="2201" y="484239"/>
                    <a:pt x="2201" y="481304"/>
                  </a:cubicBezTo>
                  <a:cubicBezTo>
                    <a:pt x="-734" y="478369"/>
                    <a:pt x="-734" y="475435"/>
                    <a:pt x="2201" y="472500"/>
                  </a:cubicBezTo>
                  <a:cubicBezTo>
                    <a:pt x="5136" y="472500"/>
                    <a:pt x="157745" y="346304"/>
                    <a:pt x="201767" y="302282"/>
                  </a:cubicBezTo>
                  <a:cubicBezTo>
                    <a:pt x="245789" y="258261"/>
                    <a:pt x="369049" y="5869"/>
                    <a:pt x="369049" y="2935"/>
                  </a:cubicBezTo>
                  <a:cubicBezTo>
                    <a:pt x="369049" y="0"/>
                    <a:pt x="374919" y="0"/>
                    <a:pt x="374919" y="0"/>
                  </a:cubicBezTo>
                  <a:cubicBezTo>
                    <a:pt x="377854" y="0"/>
                    <a:pt x="377854" y="5869"/>
                    <a:pt x="377854" y="5869"/>
                  </a:cubicBezTo>
                  <a:cubicBezTo>
                    <a:pt x="371984" y="17609"/>
                    <a:pt x="254593" y="264130"/>
                    <a:pt x="207636" y="308152"/>
                  </a:cubicBezTo>
                  <a:cubicBezTo>
                    <a:pt x="163614" y="352174"/>
                    <a:pt x="8071" y="478369"/>
                    <a:pt x="8071" y="478369"/>
                  </a:cubicBezTo>
                  <a:cubicBezTo>
                    <a:pt x="8071" y="484239"/>
                    <a:pt x="5136" y="484239"/>
                    <a:pt x="5136" y="484239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2" name="图形 1">
            <a:extLst>
              <a:ext uri="{FF2B5EF4-FFF2-40B4-BE49-F238E27FC236}">
                <a16:creationId xmlns:a16="http://schemas.microsoft.com/office/drawing/2014/main" id="{0107A275-3EFB-4523-A9F3-4CC8C5B0D09D}"/>
              </a:ext>
            </a:extLst>
          </p:cNvPr>
          <p:cNvGrpSpPr/>
          <p:nvPr/>
        </p:nvGrpSpPr>
        <p:grpSpPr>
          <a:xfrm>
            <a:off x="3248284" y="1900356"/>
            <a:ext cx="2391759" cy="4812078"/>
            <a:chOff x="12449434" y="1862256"/>
            <a:chExt cx="2391759" cy="4812078"/>
          </a:xfrm>
        </p:grpSpPr>
        <p:grpSp>
          <p:nvGrpSpPr>
            <p:cNvPr id="63" name="图形 1">
              <a:extLst>
                <a:ext uri="{FF2B5EF4-FFF2-40B4-BE49-F238E27FC236}">
                  <a16:creationId xmlns:a16="http://schemas.microsoft.com/office/drawing/2014/main" id="{FB00BAC8-B15E-470B-9FFF-7206CC85E72F}"/>
                </a:ext>
              </a:extLst>
            </p:cNvPr>
            <p:cNvGrpSpPr/>
            <p:nvPr/>
          </p:nvGrpSpPr>
          <p:grpSpPr>
            <a:xfrm>
              <a:off x="14271793" y="3118094"/>
              <a:ext cx="361118" cy="254783"/>
              <a:chOff x="14271793" y="3118094"/>
              <a:chExt cx="361118" cy="254783"/>
            </a:xfrm>
          </p:grpSpPr>
          <p:grpSp>
            <p:nvGrpSpPr>
              <p:cNvPr id="131" name="图形 1">
                <a:extLst>
                  <a:ext uri="{FF2B5EF4-FFF2-40B4-BE49-F238E27FC236}">
                    <a16:creationId xmlns:a16="http://schemas.microsoft.com/office/drawing/2014/main" id="{09337380-5923-428B-8909-BF5ACC5D8E0F}"/>
                  </a:ext>
                </a:extLst>
              </p:cNvPr>
              <p:cNvGrpSpPr/>
              <p:nvPr/>
            </p:nvGrpSpPr>
            <p:grpSpPr>
              <a:xfrm>
                <a:off x="14271793" y="3118094"/>
                <a:ext cx="361118" cy="254783"/>
                <a:chOff x="14271793" y="3118094"/>
                <a:chExt cx="361118" cy="254783"/>
              </a:xfrm>
            </p:grpSpPr>
            <p:sp>
              <p:nvSpPr>
                <p:cNvPr id="134" name="任意多边形: 形状 133">
                  <a:extLst>
                    <a:ext uri="{FF2B5EF4-FFF2-40B4-BE49-F238E27FC236}">
                      <a16:creationId xmlns:a16="http://schemas.microsoft.com/office/drawing/2014/main" id="{FFB490CB-14FC-4C24-AC31-0F46D4F34A0B}"/>
                    </a:ext>
                  </a:extLst>
                </p:cNvPr>
                <p:cNvSpPr/>
                <p:nvPr/>
              </p:nvSpPr>
              <p:spPr>
                <a:xfrm>
                  <a:off x="14271793" y="3118094"/>
                  <a:ext cx="352889" cy="254783"/>
                </a:xfrm>
                <a:custGeom>
                  <a:avLst/>
                  <a:gdLst>
                    <a:gd name="connsiteX0" fmla="*/ 302423 w 352889"/>
                    <a:gd name="connsiteY0" fmla="*/ 140153 h 254783"/>
                    <a:gd name="connsiteX1" fmla="*/ 287749 w 352889"/>
                    <a:gd name="connsiteY1" fmla="*/ 128414 h 254783"/>
                    <a:gd name="connsiteX2" fmla="*/ 281879 w 352889"/>
                    <a:gd name="connsiteY2" fmla="*/ 128414 h 254783"/>
                    <a:gd name="connsiteX3" fmla="*/ 308292 w 352889"/>
                    <a:gd name="connsiteY3" fmla="*/ 119610 h 254783"/>
                    <a:gd name="connsiteX4" fmla="*/ 349379 w 352889"/>
                    <a:gd name="connsiteY4" fmla="*/ 90262 h 254783"/>
                    <a:gd name="connsiteX5" fmla="*/ 340574 w 352889"/>
                    <a:gd name="connsiteY5" fmla="*/ 81458 h 254783"/>
                    <a:gd name="connsiteX6" fmla="*/ 337639 w 352889"/>
                    <a:gd name="connsiteY6" fmla="*/ 81458 h 254783"/>
                    <a:gd name="connsiteX7" fmla="*/ 352313 w 352889"/>
                    <a:gd name="connsiteY7" fmla="*/ 55045 h 254783"/>
                    <a:gd name="connsiteX8" fmla="*/ 331770 w 352889"/>
                    <a:gd name="connsiteY8" fmla="*/ 37436 h 254783"/>
                    <a:gd name="connsiteX9" fmla="*/ 276010 w 352889"/>
                    <a:gd name="connsiteY9" fmla="*/ 52110 h 254783"/>
                    <a:gd name="connsiteX10" fmla="*/ 199705 w 352889"/>
                    <a:gd name="connsiteY10" fmla="*/ 75588 h 254783"/>
                    <a:gd name="connsiteX11" fmla="*/ 252531 w 352889"/>
                    <a:gd name="connsiteY11" fmla="*/ 40371 h 254783"/>
                    <a:gd name="connsiteX12" fmla="*/ 290684 w 352889"/>
                    <a:gd name="connsiteY12" fmla="*/ 13958 h 254783"/>
                    <a:gd name="connsiteX13" fmla="*/ 258401 w 352889"/>
                    <a:gd name="connsiteY13" fmla="*/ 2219 h 254783"/>
                    <a:gd name="connsiteX14" fmla="*/ 88183 w 352889"/>
                    <a:gd name="connsiteY14" fmla="*/ 96132 h 254783"/>
                    <a:gd name="connsiteX15" fmla="*/ 135140 w 352889"/>
                    <a:gd name="connsiteY15" fmla="*/ 40371 h 254783"/>
                    <a:gd name="connsiteX16" fmla="*/ 126336 w 352889"/>
                    <a:gd name="connsiteY16" fmla="*/ 11023 h 254783"/>
                    <a:gd name="connsiteX17" fmla="*/ 3074 w 352889"/>
                    <a:gd name="connsiteY17" fmla="*/ 166566 h 254783"/>
                    <a:gd name="connsiteX18" fmla="*/ 3074 w 352889"/>
                    <a:gd name="connsiteY18" fmla="*/ 169501 h 254783"/>
                    <a:gd name="connsiteX19" fmla="*/ 139 w 352889"/>
                    <a:gd name="connsiteY19" fmla="*/ 172436 h 254783"/>
                    <a:gd name="connsiteX20" fmla="*/ 70575 w 352889"/>
                    <a:gd name="connsiteY20" fmla="*/ 251675 h 254783"/>
                    <a:gd name="connsiteX21" fmla="*/ 202640 w 352889"/>
                    <a:gd name="connsiteY21" fmla="*/ 207653 h 254783"/>
                    <a:gd name="connsiteX22" fmla="*/ 302423 w 352889"/>
                    <a:gd name="connsiteY22" fmla="*/ 140153 h 2547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352889" h="254783">
                      <a:moveTo>
                        <a:pt x="302423" y="140153"/>
                      </a:moveTo>
                      <a:cubicBezTo>
                        <a:pt x="302423" y="131349"/>
                        <a:pt x="296553" y="128414"/>
                        <a:pt x="287749" y="128414"/>
                      </a:cubicBezTo>
                      <a:cubicBezTo>
                        <a:pt x="284814" y="128414"/>
                        <a:pt x="281879" y="128414"/>
                        <a:pt x="281879" y="128414"/>
                      </a:cubicBezTo>
                      <a:cubicBezTo>
                        <a:pt x="290684" y="125479"/>
                        <a:pt x="299488" y="122545"/>
                        <a:pt x="308292" y="119610"/>
                      </a:cubicBezTo>
                      <a:cubicBezTo>
                        <a:pt x="325901" y="113740"/>
                        <a:pt x="346444" y="107871"/>
                        <a:pt x="349379" y="90262"/>
                      </a:cubicBezTo>
                      <a:cubicBezTo>
                        <a:pt x="349379" y="87327"/>
                        <a:pt x="343509" y="81458"/>
                        <a:pt x="340574" y="81458"/>
                      </a:cubicBezTo>
                      <a:cubicBezTo>
                        <a:pt x="340574" y="81458"/>
                        <a:pt x="337639" y="81458"/>
                        <a:pt x="337639" y="81458"/>
                      </a:cubicBezTo>
                      <a:cubicBezTo>
                        <a:pt x="346444" y="72653"/>
                        <a:pt x="355248" y="66784"/>
                        <a:pt x="352313" y="55045"/>
                      </a:cubicBezTo>
                      <a:cubicBezTo>
                        <a:pt x="352313" y="43305"/>
                        <a:pt x="343509" y="37436"/>
                        <a:pt x="331770" y="37436"/>
                      </a:cubicBezTo>
                      <a:cubicBezTo>
                        <a:pt x="314162" y="37436"/>
                        <a:pt x="293618" y="46240"/>
                        <a:pt x="276010" y="52110"/>
                      </a:cubicBezTo>
                      <a:cubicBezTo>
                        <a:pt x="249596" y="60914"/>
                        <a:pt x="223183" y="69719"/>
                        <a:pt x="199705" y="75588"/>
                      </a:cubicBezTo>
                      <a:cubicBezTo>
                        <a:pt x="217314" y="63849"/>
                        <a:pt x="234922" y="52110"/>
                        <a:pt x="252531" y="40371"/>
                      </a:cubicBezTo>
                      <a:cubicBezTo>
                        <a:pt x="264270" y="34501"/>
                        <a:pt x="284814" y="22762"/>
                        <a:pt x="290684" y="13958"/>
                      </a:cubicBezTo>
                      <a:cubicBezTo>
                        <a:pt x="299488" y="-3651"/>
                        <a:pt x="270140" y="-716"/>
                        <a:pt x="258401" y="2219"/>
                      </a:cubicBezTo>
                      <a:cubicBezTo>
                        <a:pt x="193835" y="19827"/>
                        <a:pt x="146879" y="69719"/>
                        <a:pt x="88183" y="96132"/>
                      </a:cubicBezTo>
                      <a:cubicBezTo>
                        <a:pt x="96988" y="75588"/>
                        <a:pt x="114597" y="57979"/>
                        <a:pt x="135140" y="40371"/>
                      </a:cubicBezTo>
                      <a:cubicBezTo>
                        <a:pt x="146879" y="31566"/>
                        <a:pt x="132205" y="11023"/>
                        <a:pt x="126336" y="11023"/>
                      </a:cubicBezTo>
                      <a:cubicBezTo>
                        <a:pt x="64705" y="28632"/>
                        <a:pt x="139" y="93197"/>
                        <a:pt x="3074" y="166566"/>
                      </a:cubicBezTo>
                      <a:cubicBezTo>
                        <a:pt x="3074" y="166566"/>
                        <a:pt x="3074" y="166566"/>
                        <a:pt x="3074" y="169501"/>
                      </a:cubicBezTo>
                      <a:cubicBezTo>
                        <a:pt x="139" y="169501"/>
                        <a:pt x="139" y="172436"/>
                        <a:pt x="139" y="172436"/>
                      </a:cubicBezTo>
                      <a:cubicBezTo>
                        <a:pt x="-2795" y="204718"/>
                        <a:pt x="41227" y="242871"/>
                        <a:pt x="70575" y="251675"/>
                      </a:cubicBezTo>
                      <a:cubicBezTo>
                        <a:pt x="114597" y="266349"/>
                        <a:pt x="161552" y="225262"/>
                        <a:pt x="202640" y="207653"/>
                      </a:cubicBezTo>
                      <a:cubicBezTo>
                        <a:pt x="226118" y="192979"/>
                        <a:pt x="305358" y="160697"/>
                        <a:pt x="302423" y="140153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323FA19C-A7F0-4036-ACE3-DBB2A9D87619}"/>
                    </a:ext>
                  </a:extLst>
                </p:cNvPr>
                <p:cNvSpPr/>
                <p:nvPr/>
              </p:nvSpPr>
              <p:spPr>
                <a:xfrm>
                  <a:off x="14343998" y="3228900"/>
                  <a:ext cx="29798" cy="64565"/>
                </a:xfrm>
                <a:custGeom>
                  <a:avLst/>
                  <a:gdLst>
                    <a:gd name="connsiteX0" fmla="*/ 7174 w 29798"/>
                    <a:gd name="connsiteY0" fmla="*/ 64565 h 64565"/>
                    <a:gd name="connsiteX1" fmla="*/ 1304 w 29798"/>
                    <a:gd name="connsiteY1" fmla="*/ 61630 h 64565"/>
                    <a:gd name="connsiteX2" fmla="*/ 1304 w 29798"/>
                    <a:gd name="connsiteY2" fmla="*/ 52826 h 64565"/>
                    <a:gd name="connsiteX3" fmla="*/ 18913 w 29798"/>
                    <a:gd name="connsiteY3" fmla="*/ 5869 h 64565"/>
                    <a:gd name="connsiteX4" fmla="*/ 21848 w 29798"/>
                    <a:gd name="connsiteY4" fmla="*/ 0 h 64565"/>
                    <a:gd name="connsiteX5" fmla="*/ 27718 w 29798"/>
                    <a:gd name="connsiteY5" fmla="*/ 2935 h 64565"/>
                    <a:gd name="connsiteX6" fmla="*/ 7174 w 29798"/>
                    <a:gd name="connsiteY6" fmla="*/ 61630 h 64565"/>
                    <a:gd name="connsiteX7" fmla="*/ 7174 w 29798"/>
                    <a:gd name="connsiteY7" fmla="*/ 64565 h 645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798" h="64565">
                      <a:moveTo>
                        <a:pt x="7174" y="64565"/>
                      </a:moveTo>
                      <a:cubicBezTo>
                        <a:pt x="4239" y="64565"/>
                        <a:pt x="4239" y="64565"/>
                        <a:pt x="1304" y="61630"/>
                      </a:cubicBezTo>
                      <a:cubicBezTo>
                        <a:pt x="-1630" y="58696"/>
                        <a:pt x="1304" y="55761"/>
                        <a:pt x="1304" y="52826"/>
                      </a:cubicBezTo>
                      <a:cubicBezTo>
                        <a:pt x="27718" y="35217"/>
                        <a:pt x="18913" y="5869"/>
                        <a:pt x="18913" y="5869"/>
                      </a:cubicBezTo>
                      <a:cubicBezTo>
                        <a:pt x="18913" y="2935"/>
                        <a:pt x="18913" y="0"/>
                        <a:pt x="21848" y="0"/>
                      </a:cubicBezTo>
                      <a:cubicBezTo>
                        <a:pt x="24783" y="0"/>
                        <a:pt x="27718" y="0"/>
                        <a:pt x="27718" y="2935"/>
                      </a:cubicBezTo>
                      <a:cubicBezTo>
                        <a:pt x="27718" y="2935"/>
                        <a:pt x="39457" y="38152"/>
                        <a:pt x="7174" y="61630"/>
                      </a:cubicBezTo>
                      <a:cubicBezTo>
                        <a:pt x="10109" y="64565"/>
                        <a:pt x="7174" y="64565"/>
                        <a:pt x="7174" y="64565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21465137-9F59-47F0-8BFC-983CE479CF07}"/>
                    </a:ext>
                  </a:extLst>
                </p:cNvPr>
                <p:cNvSpPr/>
                <p:nvPr/>
              </p:nvSpPr>
              <p:spPr>
                <a:xfrm>
                  <a:off x="14465629" y="3124878"/>
                  <a:ext cx="167282" cy="71739"/>
                </a:xfrm>
                <a:custGeom>
                  <a:avLst/>
                  <a:gdLst>
                    <a:gd name="connsiteX0" fmla="*/ 5870 w 167282"/>
                    <a:gd name="connsiteY0" fmla="*/ 71739 h 71739"/>
                    <a:gd name="connsiteX1" fmla="*/ 0 w 167282"/>
                    <a:gd name="connsiteY1" fmla="*/ 68804 h 71739"/>
                    <a:gd name="connsiteX2" fmla="*/ 2935 w 167282"/>
                    <a:gd name="connsiteY2" fmla="*/ 62935 h 71739"/>
                    <a:gd name="connsiteX3" fmla="*/ 93913 w 167282"/>
                    <a:gd name="connsiteY3" fmla="*/ 1304 h 71739"/>
                    <a:gd name="connsiteX4" fmla="*/ 102717 w 167282"/>
                    <a:gd name="connsiteY4" fmla="*/ 1304 h 71739"/>
                    <a:gd name="connsiteX5" fmla="*/ 102717 w 167282"/>
                    <a:gd name="connsiteY5" fmla="*/ 10109 h 71739"/>
                    <a:gd name="connsiteX6" fmla="*/ 52827 w 167282"/>
                    <a:gd name="connsiteY6" fmla="*/ 48261 h 71739"/>
                    <a:gd name="connsiteX7" fmla="*/ 155544 w 167282"/>
                    <a:gd name="connsiteY7" fmla="*/ 24783 h 71739"/>
                    <a:gd name="connsiteX8" fmla="*/ 167283 w 167282"/>
                    <a:gd name="connsiteY8" fmla="*/ 45326 h 71739"/>
                    <a:gd name="connsiteX9" fmla="*/ 149674 w 167282"/>
                    <a:gd name="connsiteY9" fmla="*/ 71739 h 71739"/>
                    <a:gd name="connsiteX10" fmla="*/ 140870 w 167282"/>
                    <a:gd name="connsiteY10" fmla="*/ 68804 h 71739"/>
                    <a:gd name="connsiteX11" fmla="*/ 143804 w 167282"/>
                    <a:gd name="connsiteY11" fmla="*/ 60000 h 71739"/>
                    <a:gd name="connsiteX12" fmla="*/ 155544 w 167282"/>
                    <a:gd name="connsiteY12" fmla="*/ 45326 h 71739"/>
                    <a:gd name="connsiteX13" fmla="*/ 146739 w 167282"/>
                    <a:gd name="connsiteY13" fmla="*/ 33587 h 71739"/>
                    <a:gd name="connsiteX14" fmla="*/ 5870 w 167282"/>
                    <a:gd name="connsiteY14" fmla="*/ 71739 h 71739"/>
                    <a:gd name="connsiteX15" fmla="*/ 5870 w 167282"/>
                    <a:gd name="connsiteY15" fmla="*/ 71739 h 71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67282" h="71739">
                      <a:moveTo>
                        <a:pt x="5870" y="71739"/>
                      </a:moveTo>
                      <a:cubicBezTo>
                        <a:pt x="2935" y="71739"/>
                        <a:pt x="2935" y="71739"/>
                        <a:pt x="0" y="68804"/>
                      </a:cubicBezTo>
                      <a:cubicBezTo>
                        <a:pt x="0" y="65870"/>
                        <a:pt x="0" y="62935"/>
                        <a:pt x="2935" y="62935"/>
                      </a:cubicBezTo>
                      <a:cubicBezTo>
                        <a:pt x="38153" y="42391"/>
                        <a:pt x="90978" y="1304"/>
                        <a:pt x="93913" y="1304"/>
                      </a:cubicBezTo>
                      <a:cubicBezTo>
                        <a:pt x="96848" y="-1630"/>
                        <a:pt x="99782" y="1304"/>
                        <a:pt x="102717" y="1304"/>
                      </a:cubicBezTo>
                      <a:cubicBezTo>
                        <a:pt x="105652" y="4239"/>
                        <a:pt x="102717" y="7174"/>
                        <a:pt x="102717" y="10109"/>
                      </a:cubicBezTo>
                      <a:cubicBezTo>
                        <a:pt x="99782" y="10109"/>
                        <a:pt x="76305" y="30652"/>
                        <a:pt x="52827" y="48261"/>
                      </a:cubicBezTo>
                      <a:cubicBezTo>
                        <a:pt x="93913" y="33587"/>
                        <a:pt x="143804" y="18913"/>
                        <a:pt x="155544" y="24783"/>
                      </a:cubicBezTo>
                      <a:cubicBezTo>
                        <a:pt x="164348" y="30652"/>
                        <a:pt x="167283" y="36522"/>
                        <a:pt x="167283" y="45326"/>
                      </a:cubicBezTo>
                      <a:cubicBezTo>
                        <a:pt x="167283" y="54130"/>
                        <a:pt x="161413" y="65870"/>
                        <a:pt x="149674" y="71739"/>
                      </a:cubicBezTo>
                      <a:cubicBezTo>
                        <a:pt x="146739" y="71739"/>
                        <a:pt x="143804" y="71739"/>
                        <a:pt x="140870" y="68804"/>
                      </a:cubicBezTo>
                      <a:cubicBezTo>
                        <a:pt x="140870" y="65870"/>
                        <a:pt x="140870" y="62935"/>
                        <a:pt x="143804" y="60000"/>
                      </a:cubicBezTo>
                      <a:cubicBezTo>
                        <a:pt x="149674" y="57065"/>
                        <a:pt x="155544" y="51196"/>
                        <a:pt x="155544" y="45326"/>
                      </a:cubicBezTo>
                      <a:cubicBezTo>
                        <a:pt x="155544" y="39457"/>
                        <a:pt x="152609" y="36522"/>
                        <a:pt x="146739" y="33587"/>
                      </a:cubicBezTo>
                      <a:cubicBezTo>
                        <a:pt x="137935" y="30652"/>
                        <a:pt x="67501" y="51196"/>
                        <a:pt x="5870" y="71739"/>
                      </a:cubicBezTo>
                      <a:cubicBezTo>
                        <a:pt x="8805" y="71739"/>
                        <a:pt x="5870" y="71739"/>
                        <a:pt x="5870" y="71739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ABE4BB1E-BC45-4923-9346-47354A06EE0F}"/>
                  </a:ext>
                </a:extLst>
              </p:cNvPr>
              <p:cNvSpPr/>
              <p:nvPr/>
            </p:nvSpPr>
            <p:spPr>
              <a:xfrm>
                <a:off x="14456825" y="3241372"/>
                <a:ext cx="126195" cy="81440"/>
              </a:xfrm>
              <a:custGeom>
                <a:avLst/>
                <a:gdLst>
                  <a:gd name="connsiteX0" fmla="*/ 29348 w 126195"/>
                  <a:gd name="connsiteY0" fmla="*/ 81440 h 81440"/>
                  <a:gd name="connsiteX1" fmla="*/ 23478 w 126195"/>
                  <a:gd name="connsiteY1" fmla="*/ 78505 h 81440"/>
                  <a:gd name="connsiteX2" fmla="*/ 26413 w 126195"/>
                  <a:gd name="connsiteY2" fmla="*/ 72636 h 81440"/>
                  <a:gd name="connsiteX3" fmla="*/ 111521 w 126195"/>
                  <a:gd name="connsiteY3" fmla="*/ 19810 h 81440"/>
                  <a:gd name="connsiteX4" fmla="*/ 108586 w 126195"/>
                  <a:gd name="connsiteY4" fmla="*/ 11005 h 81440"/>
                  <a:gd name="connsiteX5" fmla="*/ 90978 w 126195"/>
                  <a:gd name="connsiteY5" fmla="*/ 11005 h 81440"/>
                  <a:gd name="connsiteX6" fmla="*/ 55761 w 126195"/>
                  <a:gd name="connsiteY6" fmla="*/ 25679 h 81440"/>
                  <a:gd name="connsiteX7" fmla="*/ 5869 w 126195"/>
                  <a:gd name="connsiteY7" fmla="*/ 46223 h 81440"/>
                  <a:gd name="connsiteX8" fmla="*/ 0 w 126195"/>
                  <a:gd name="connsiteY8" fmla="*/ 43288 h 81440"/>
                  <a:gd name="connsiteX9" fmla="*/ 2935 w 126195"/>
                  <a:gd name="connsiteY9" fmla="*/ 37418 h 81440"/>
                  <a:gd name="connsiteX10" fmla="*/ 49891 w 126195"/>
                  <a:gd name="connsiteY10" fmla="*/ 16875 h 81440"/>
                  <a:gd name="connsiteX11" fmla="*/ 88043 w 126195"/>
                  <a:gd name="connsiteY11" fmla="*/ 2201 h 81440"/>
                  <a:gd name="connsiteX12" fmla="*/ 117391 w 126195"/>
                  <a:gd name="connsiteY12" fmla="*/ 2201 h 81440"/>
                  <a:gd name="connsiteX13" fmla="*/ 126195 w 126195"/>
                  <a:gd name="connsiteY13" fmla="*/ 19810 h 81440"/>
                  <a:gd name="connsiteX14" fmla="*/ 29348 w 126195"/>
                  <a:gd name="connsiteY14" fmla="*/ 81440 h 81440"/>
                  <a:gd name="connsiteX15" fmla="*/ 29348 w 126195"/>
                  <a:gd name="connsiteY15" fmla="*/ 81440 h 81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6195" h="81440">
                    <a:moveTo>
                      <a:pt x="29348" y="81440"/>
                    </a:moveTo>
                    <a:cubicBezTo>
                      <a:pt x="26413" y="81440"/>
                      <a:pt x="26413" y="81440"/>
                      <a:pt x="23478" y="78505"/>
                    </a:cubicBezTo>
                    <a:cubicBezTo>
                      <a:pt x="23478" y="75571"/>
                      <a:pt x="23478" y="72636"/>
                      <a:pt x="26413" y="72636"/>
                    </a:cubicBezTo>
                    <a:cubicBezTo>
                      <a:pt x="67500" y="55027"/>
                      <a:pt x="111521" y="28614"/>
                      <a:pt x="111521" y="19810"/>
                    </a:cubicBezTo>
                    <a:cubicBezTo>
                      <a:pt x="111521" y="13940"/>
                      <a:pt x="108586" y="11005"/>
                      <a:pt x="108586" y="11005"/>
                    </a:cubicBezTo>
                    <a:cubicBezTo>
                      <a:pt x="105652" y="8071"/>
                      <a:pt x="99782" y="8071"/>
                      <a:pt x="90978" y="11005"/>
                    </a:cubicBezTo>
                    <a:cubicBezTo>
                      <a:pt x="85109" y="13940"/>
                      <a:pt x="70435" y="19810"/>
                      <a:pt x="55761" y="25679"/>
                    </a:cubicBezTo>
                    <a:cubicBezTo>
                      <a:pt x="35217" y="34484"/>
                      <a:pt x="14674" y="43288"/>
                      <a:pt x="5869" y="46223"/>
                    </a:cubicBezTo>
                    <a:cubicBezTo>
                      <a:pt x="2935" y="46223"/>
                      <a:pt x="0" y="46223"/>
                      <a:pt x="0" y="43288"/>
                    </a:cubicBezTo>
                    <a:cubicBezTo>
                      <a:pt x="0" y="40353"/>
                      <a:pt x="0" y="37418"/>
                      <a:pt x="2935" y="37418"/>
                    </a:cubicBezTo>
                    <a:cubicBezTo>
                      <a:pt x="11739" y="34484"/>
                      <a:pt x="32283" y="25679"/>
                      <a:pt x="49891" y="16875"/>
                    </a:cubicBezTo>
                    <a:cubicBezTo>
                      <a:pt x="64565" y="11005"/>
                      <a:pt x="79239" y="2201"/>
                      <a:pt x="88043" y="2201"/>
                    </a:cubicBezTo>
                    <a:cubicBezTo>
                      <a:pt x="99782" y="-734"/>
                      <a:pt x="111521" y="-734"/>
                      <a:pt x="117391" y="2201"/>
                    </a:cubicBezTo>
                    <a:cubicBezTo>
                      <a:pt x="123260" y="5136"/>
                      <a:pt x="126195" y="11005"/>
                      <a:pt x="126195" y="19810"/>
                    </a:cubicBezTo>
                    <a:cubicBezTo>
                      <a:pt x="123260" y="37418"/>
                      <a:pt x="52826" y="72636"/>
                      <a:pt x="29348" y="81440"/>
                    </a:cubicBezTo>
                    <a:cubicBezTo>
                      <a:pt x="32283" y="81440"/>
                      <a:pt x="29348" y="81440"/>
                      <a:pt x="29348" y="8144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96A1CA71-4194-4484-BA70-232643BAD549}"/>
                  </a:ext>
                </a:extLst>
              </p:cNvPr>
              <p:cNvSpPr/>
              <p:nvPr/>
            </p:nvSpPr>
            <p:spPr>
              <a:xfrm>
                <a:off x="14462694" y="3187813"/>
                <a:ext cx="165563" cy="58695"/>
              </a:xfrm>
              <a:custGeom>
                <a:avLst/>
                <a:gdLst>
                  <a:gd name="connsiteX0" fmla="*/ 99783 w 165563"/>
                  <a:gd name="connsiteY0" fmla="*/ 58696 h 58695"/>
                  <a:gd name="connsiteX1" fmla="*/ 93913 w 165563"/>
                  <a:gd name="connsiteY1" fmla="*/ 55761 h 58695"/>
                  <a:gd name="connsiteX2" fmla="*/ 96848 w 165563"/>
                  <a:gd name="connsiteY2" fmla="*/ 49891 h 58695"/>
                  <a:gd name="connsiteX3" fmla="*/ 149674 w 165563"/>
                  <a:gd name="connsiteY3" fmla="*/ 20544 h 58695"/>
                  <a:gd name="connsiteX4" fmla="*/ 149674 w 165563"/>
                  <a:gd name="connsiteY4" fmla="*/ 14674 h 58695"/>
                  <a:gd name="connsiteX5" fmla="*/ 129131 w 165563"/>
                  <a:gd name="connsiteY5" fmla="*/ 8804 h 58695"/>
                  <a:gd name="connsiteX6" fmla="*/ 70436 w 165563"/>
                  <a:gd name="connsiteY6" fmla="*/ 35217 h 58695"/>
                  <a:gd name="connsiteX7" fmla="*/ 61631 w 165563"/>
                  <a:gd name="connsiteY7" fmla="*/ 41087 h 58695"/>
                  <a:gd name="connsiteX8" fmla="*/ 5870 w 165563"/>
                  <a:gd name="connsiteY8" fmla="*/ 58696 h 58695"/>
                  <a:gd name="connsiteX9" fmla="*/ 0 w 165563"/>
                  <a:gd name="connsiteY9" fmla="*/ 55761 h 58695"/>
                  <a:gd name="connsiteX10" fmla="*/ 2935 w 165563"/>
                  <a:gd name="connsiteY10" fmla="*/ 49891 h 58695"/>
                  <a:gd name="connsiteX11" fmla="*/ 58696 w 165563"/>
                  <a:gd name="connsiteY11" fmla="*/ 32283 h 58695"/>
                  <a:gd name="connsiteX12" fmla="*/ 67501 w 165563"/>
                  <a:gd name="connsiteY12" fmla="*/ 26413 h 58695"/>
                  <a:gd name="connsiteX13" fmla="*/ 129131 w 165563"/>
                  <a:gd name="connsiteY13" fmla="*/ 0 h 58695"/>
                  <a:gd name="connsiteX14" fmla="*/ 161413 w 165563"/>
                  <a:gd name="connsiteY14" fmla="*/ 8804 h 58695"/>
                  <a:gd name="connsiteX15" fmla="*/ 164348 w 165563"/>
                  <a:gd name="connsiteY15" fmla="*/ 23478 h 58695"/>
                  <a:gd name="connsiteX16" fmla="*/ 99783 w 165563"/>
                  <a:gd name="connsiteY16" fmla="*/ 58696 h 58695"/>
                  <a:gd name="connsiteX17" fmla="*/ 99783 w 165563"/>
                  <a:gd name="connsiteY17" fmla="*/ 58696 h 58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5563" h="58695">
                    <a:moveTo>
                      <a:pt x="99783" y="58696"/>
                    </a:moveTo>
                    <a:cubicBezTo>
                      <a:pt x="96848" y="58696"/>
                      <a:pt x="96848" y="58696"/>
                      <a:pt x="93913" y="55761"/>
                    </a:cubicBezTo>
                    <a:cubicBezTo>
                      <a:pt x="93913" y="52826"/>
                      <a:pt x="93913" y="49891"/>
                      <a:pt x="96848" y="49891"/>
                    </a:cubicBezTo>
                    <a:cubicBezTo>
                      <a:pt x="120326" y="41087"/>
                      <a:pt x="149674" y="26413"/>
                      <a:pt x="149674" y="20544"/>
                    </a:cubicBezTo>
                    <a:cubicBezTo>
                      <a:pt x="149674" y="17609"/>
                      <a:pt x="149674" y="17609"/>
                      <a:pt x="149674" y="14674"/>
                    </a:cubicBezTo>
                    <a:cubicBezTo>
                      <a:pt x="146739" y="11739"/>
                      <a:pt x="135000" y="8804"/>
                      <a:pt x="129131" y="8804"/>
                    </a:cubicBezTo>
                    <a:cubicBezTo>
                      <a:pt x="120326" y="8804"/>
                      <a:pt x="85109" y="26413"/>
                      <a:pt x="70436" y="35217"/>
                    </a:cubicBezTo>
                    <a:cubicBezTo>
                      <a:pt x="64566" y="38152"/>
                      <a:pt x="61631" y="38152"/>
                      <a:pt x="61631" y="41087"/>
                    </a:cubicBezTo>
                    <a:cubicBezTo>
                      <a:pt x="52827" y="44022"/>
                      <a:pt x="5870" y="58696"/>
                      <a:pt x="5870" y="58696"/>
                    </a:cubicBezTo>
                    <a:cubicBezTo>
                      <a:pt x="2935" y="58696"/>
                      <a:pt x="0" y="58696"/>
                      <a:pt x="0" y="55761"/>
                    </a:cubicBezTo>
                    <a:cubicBezTo>
                      <a:pt x="0" y="52826"/>
                      <a:pt x="0" y="49891"/>
                      <a:pt x="2935" y="49891"/>
                    </a:cubicBezTo>
                    <a:cubicBezTo>
                      <a:pt x="20544" y="44022"/>
                      <a:pt x="52827" y="35217"/>
                      <a:pt x="58696" y="32283"/>
                    </a:cubicBezTo>
                    <a:cubicBezTo>
                      <a:pt x="61631" y="32283"/>
                      <a:pt x="64566" y="29348"/>
                      <a:pt x="67501" y="26413"/>
                    </a:cubicBezTo>
                    <a:cubicBezTo>
                      <a:pt x="90978" y="14674"/>
                      <a:pt x="120326" y="0"/>
                      <a:pt x="129131" y="0"/>
                    </a:cubicBezTo>
                    <a:cubicBezTo>
                      <a:pt x="137935" y="0"/>
                      <a:pt x="152609" y="0"/>
                      <a:pt x="161413" y="8804"/>
                    </a:cubicBezTo>
                    <a:cubicBezTo>
                      <a:pt x="164348" y="11739"/>
                      <a:pt x="167283" y="17609"/>
                      <a:pt x="164348" y="23478"/>
                    </a:cubicBezTo>
                    <a:cubicBezTo>
                      <a:pt x="158479" y="35217"/>
                      <a:pt x="114457" y="52826"/>
                      <a:pt x="99783" y="58696"/>
                    </a:cubicBezTo>
                    <a:cubicBezTo>
                      <a:pt x="102717" y="58696"/>
                      <a:pt x="102717" y="58696"/>
                      <a:pt x="99783" y="5869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4" name="图形 1">
              <a:extLst>
                <a:ext uri="{FF2B5EF4-FFF2-40B4-BE49-F238E27FC236}">
                  <a16:creationId xmlns:a16="http://schemas.microsoft.com/office/drawing/2014/main" id="{2D2A179F-2587-4986-A8B4-C7FFA9A52861}"/>
                </a:ext>
              </a:extLst>
            </p:cNvPr>
            <p:cNvGrpSpPr/>
            <p:nvPr/>
          </p:nvGrpSpPr>
          <p:grpSpPr>
            <a:xfrm>
              <a:off x="13113672" y="6195965"/>
              <a:ext cx="465652" cy="328695"/>
              <a:chOff x="13113672" y="6195965"/>
              <a:chExt cx="465652" cy="328695"/>
            </a:xfrm>
          </p:grpSpPr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F8873F8E-E9A5-4F45-8BFA-29C0B8D7778C}"/>
                  </a:ext>
                </a:extLst>
              </p:cNvPr>
              <p:cNvSpPr/>
              <p:nvPr/>
            </p:nvSpPr>
            <p:spPr>
              <a:xfrm>
                <a:off x="13121499" y="6195965"/>
                <a:ext cx="205434" cy="214239"/>
              </a:xfrm>
              <a:custGeom>
                <a:avLst/>
                <a:gdLst>
                  <a:gd name="connsiteX0" fmla="*/ 0 w 205434"/>
                  <a:gd name="connsiteY0" fmla="*/ 176087 h 214239"/>
                  <a:gd name="connsiteX1" fmla="*/ 11739 w 205434"/>
                  <a:gd name="connsiteY1" fmla="*/ 0 h 214239"/>
                  <a:gd name="connsiteX2" fmla="*/ 205435 w 205434"/>
                  <a:gd name="connsiteY2" fmla="*/ 0 h 214239"/>
                  <a:gd name="connsiteX3" fmla="*/ 158478 w 205434"/>
                  <a:gd name="connsiteY3" fmla="*/ 187826 h 214239"/>
                  <a:gd name="connsiteX4" fmla="*/ 14674 w 205434"/>
                  <a:gd name="connsiteY4" fmla="*/ 214239 h 214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434" h="214239">
                    <a:moveTo>
                      <a:pt x="0" y="176087"/>
                    </a:moveTo>
                    <a:lnTo>
                      <a:pt x="11739" y="0"/>
                    </a:lnTo>
                    <a:lnTo>
                      <a:pt x="205435" y="0"/>
                    </a:lnTo>
                    <a:lnTo>
                      <a:pt x="158478" y="187826"/>
                    </a:lnTo>
                    <a:lnTo>
                      <a:pt x="14674" y="214239"/>
                    </a:ln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797B3CDD-2286-4EC6-BC9C-B792A33B1DEB}"/>
                  </a:ext>
                </a:extLst>
              </p:cNvPr>
              <p:cNvSpPr/>
              <p:nvPr/>
            </p:nvSpPr>
            <p:spPr>
              <a:xfrm>
                <a:off x="13113672" y="6328030"/>
                <a:ext cx="465652" cy="152608"/>
              </a:xfrm>
              <a:custGeom>
                <a:avLst/>
                <a:gdLst>
                  <a:gd name="connsiteX0" fmla="*/ 7826 w 465652"/>
                  <a:gd name="connsiteY0" fmla="*/ 44022 h 152608"/>
                  <a:gd name="connsiteX1" fmla="*/ 175108 w 465652"/>
                  <a:gd name="connsiteY1" fmla="*/ 0 h 152608"/>
                  <a:gd name="connsiteX2" fmla="*/ 304239 w 465652"/>
                  <a:gd name="connsiteY2" fmla="*/ 76305 h 152608"/>
                  <a:gd name="connsiteX3" fmla="*/ 465652 w 465652"/>
                  <a:gd name="connsiteY3" fmla="*/ 152609 h 152608"/>
                  <a:gd name="connsiteX4" fmla="*/ 7826 w 465652"/>
                  <a:gd name="connsiteY4" fmla="*/ 152609 h 152608"/>
                  <a:gd name="connsiteX5" fmla="*/ 7826 w 465652"/>
                  <a:gd name="connsiteY5" fmla="*/ 44022 h 152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5652" h="152608">
                    <a:moveTo>
                      <a:pt x="7826" y="44022"/>
                    </a:moveTo>
                    <a:cubicBezTo>
                      <a:pt x="7826" y="44022"/>
                      <a:pt x="113479" y="61631"/>
                      <a:pt x="175108" y="0"/>
                    </a:cubicBezTo>
                    <a:cubicBezTo>
                      <a:pt x="175108" y="0"/>
                      <a:pt x="260218" y="67500"/>
                      <a:pt x="304239" y="76305"/>
                    </a:cubicBezTo>
                    <a:cubicBezTo>
                      <a:pt x="348261" y="85109"/>
                      <a:pt x="453913" y="82174"/>
                      <a:pt x="465652" y="152609"/>
                    </a:cubicBezTo>
                    <a:lnTo>
                      <a:pt x="7826" y="152609"/>
                    </a:lnTo>
                    <a:cubicBezTo>
                      <a:pt x="7826" y="152609"/>
                      <a:pt x="-9783" y="93913"/>
                      <a:pt x="7826" y="44022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1DCA4D4C-B3F5-4CD5-8C54-1B8DEE54798E}"/>
                  </a:ext>
                </a:extLst>
              </p:cNvPr>
              <p:cNvSpPr/>
              <p:nvPr/>
            </p:nvSpPr>
            <p:spPr>
              <a:xfrm>
                <a:off x="13121498" y="6480639"/>
                <a:ext cx="457826" cy="44021"/>
              </a:xfrm>
              <a:custGeom>
                <a:avLst/>
                <a:gdLst>
                  <a:gd name="connsiteX0" fmla="*/ 0 w 457826"/>
                  <a:gd name="connsiteY0" fmla="*/ 0 h 44021"/>
                  <a:gd name="connsiteX1" fmla="*/ 457826 w 457826"/>
                  <a:gd name="connsiteY1" fmla="*/ 0 h 44021"/>
                  <a:gd name="connsiteX2" fmla="*/ 457826 w 457826"/>
                  <a:gd name="connsiteY2" fmla="*/ 44022 h 44021"/>
                  <a:gd name="connsiteX3" fmla="*/ 0 w 457826"/>
                  <a:gd name="connsiteY3" fmla="*/ 44022 h 44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7826" h="44021">
                    <a:moveTo>
                      <a:pt x="0" y="0"/>
                    </a:moveTo>
                    <a:lnTo>
                      <a:pt x="457826" y="0"/>
                    </a:lnTo>
                    <a:lnTo>
                      <a:pt x="457826" y="44022"/>
                    </a:lnTo>
                    <a:lnTo>
                      <a:pt x="0" y="44022"/>
                    </a:lnTo>
                    <a:close/>
                  </a:path>
                </a:pathLst>
              </a:custGeom>
              <a:solidFill>
                <a:srgbClr val="38333D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037F2FC2-8075-45ED-8B3F-88F6E5D30139}"/>
                  </a:ext>
                </a:extLst>
              </p:cNvPr>
              <p:cNvSpPr/>
              <p:nvPr/>
            </p:nvSpPr>
            <p:spPr>
              <a:xfrm>
                <a:off x="13115629" y="6319959"/>
                <a:ext cx="178288" cy="60896"/>
              </a:xfrm>
              <a:custGeom>
                <a:avLst/>
                <a:gdLst>
                  <a:gd name="connsiteX0" fmla="*/ 38153 w 178288"/>
                  <a:gd name="connsiteY0" fmla="*/ 60897 h 60896"/>
                  <a:gd name="connsiteX1" fmla="*/ 5870 w 178288"/>
                  <a:gd name="connsiteY1" fmla="*/ 57962 h 60896"/>
                  <a:gd name="connsiteX2" fmla="*/ 0 w 178288"/>
                  <a:gd name="connsiteY2" fmla="*/ 52092 h 60896"/>
                  <a:gd name="connsiteX3" fmla="*/ 5870 w 178288"/>
                  <a:gd name="connsiteY3" fmla="*/ 46223 h 60896"/>
                  <a:gd name="connsiteX4" fmla="*/ 167283 w 178288"/>
                  <a:gd name="connsiteY4" fmla="*/ 2201 h 60896"/>
                  <a:gd name="connsiteX5" fmla="*/ 176087 w 178288"/>
                  <a:gd name="connsiteY5" fmla="*/ 2201 h 60896"/>
                  <a:gd name="connsiteX6" fmla="*/ 176087 w 178288"/>
                  <a:gd name="connsiteY6" fmla="*/ 11006 h 60896"/>
                  <a:gd name="connsiteX7" fmla="*/ 38153 w 178288"/>
                  <a:gd name="connsiteY7" fmla="*/ 60897 h 60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8288" h="60896">
                    <a:moveTo>
                      <a:pt x="38153" y="60897"/>
                    </a:moveTo>
                    <a:cubicBezTo>
                      <a:pt x="20544" y="60897"/>
                      <a:pt x="8805" y="57962"/>
                      <a:pt x="5870" y="57962"/>
                    </a:cubicBezTo>
                    <a:cubicBezTo>
                      <a:pt x="2935" y="57962"/>
                      <a:pt x="0" y="55027"/>
                      <a:pt x="0" y="52092"/>
                    </a:cubicBezTo>
                    <a:cubicBezTo>
                      <a:pt x="0" y="49157"/>
                      <a:pt x="2935" y="46223"/>
                      <a:pt x="5870" y="46223"/>
                    </a:cubicBezTo>
                    <a:cubicBezTo>
                      <a:pt x="5870" y="46223"/>
                      <a:pt x="102717" y="60897"/>
                      <a:pt x="167283" y="2201"/>
                    </a:cubicBezTo>
                    <a:cubicBezTo>
                      <a:pt x="170218" y="-734"/>
                      <a:pt x="173152" y="-734"/>
                      <a:pt x="176087" y="2201"/>
                    </a:cubicBezTo>
                    <a:cubicBezTo>
                      <a:pt x="179022" y="5136"/>
                      <a:pt x="179022" y="8071"/>
                      <a:pt x="176087" y="11006"/>
                    </a:cubicBezTo>
                    <a:cubicBezTo>
                      <a:pt x="132065" y="52092"/>
                      <a:pt x="73370" y="60897"/>
                      <a:pt x="38153" y="608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5C8EE32C-5BAB-4163-B7A2-006E96A85013}"/>
                  </a:ext>
                </a:extLst>
              </p:cNvPr>
              <p:cNvSpPr/>
              <p:nvPr/>
            </p:nvSpPr>
            <p:spPr>
              <a:xfrm>
                <a:off x="13292449" y="6343438"/>
                <a:ext cx="39619" cy="40353"/>
              </a:xfrm>
              <a:custGeom>
                <a:avLst/>
                <a:gdLst>
                  <a:gd name="connsiteX0" fmla="*/ 5136 w 39619"/>
                  <a:gd name="connsiteY0" fmla="*/ 40353 h 40353"/>
                  <a:gd name="connsiteX1" fmla="*/ 2201 w 39619"/>
                  <a:gd name="connsiteY1" fmla="*/ 37419 h 40353"/>
                  <a:gd name="connsiteX2" fmla="*/ 2201 w 39619"/>
                  <a:gd name="connsiteY2" fmla="*/ 28614 h 40353"/>
                  <a:gd name="connsiteX3" fmla="*/ 28614 w 39619"/>
                  <a:gd name="connsiteY3" fmla="*/ 2201 h 40353"/>
                  <a:gd name="connsiteX4" fmla="*/ 37419 w 39619"/>
                  <a:gd name="connsiteY4" fmla="*/ 2201 h 40353"/>
                  <a:gd name="connsiteX5" fmla="*/ 37419 w 39619"/>
                  <a:gd name="connsiteY5" fmla="*/ 11005 h 40353"/>
                  <a:gd name="connsiteX6" fmla="*/ 11005 w 39619"/>
                  <a:gd name="connsiteY6" fmla="*/ 37419 h 40353"/>
                  <a:gd name="connsiteX7" fmla="*/ 5136 w 39619"/>
                  <a:gd name="connsiteY7" fmla="*/ 40353 h 40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619" h="40353">
                    <a:moveTo>
                      <a:pt x="5136" y="40353"/>
                    </a:moveTo>
                    <a:cubicBezTo>
                      <a:pt x="5136" y="40353"/>
                      <a:pt x="2201" y="40353"/>
                      <a:pt x="2201" y="37419"/>
                    </a:cubicBezTo>
                    <a:cubicBezTo>
                      <a:pt x="-734" y="34484"/>
                      <a:pt x="-734" y="31549"/>
                      <a:pt x="2201" y="28614"/>
                    </a:cubicBezTo>
                    <a:lnTo>
                      <a:pt x="28614" y="2201"/>
                    </a:lnTo>
                    <a:cubicBezTo>
                      <a:pt x="31549" y="-734"/>
                      <a:pt x="34484" y="-734"/>
                      <a:pt x="37419" y="2201"/>
                    </a:cubicBezTo>
                    <a:cubicBezTo>
                      <a:pt x="40353" y="5136"/>
                      <a:pt x="40353" y="8071"/>
                      <a:pt x="37419" y="11005"/>
                    </a:cubicBezTo>
                    <a:lnTo>
                      <a:pt x="11005" y="37419"/>
                    </a:lnTo>
                    <a:cubicBezTo>
                      <a:pt x="8071" y="40353"/>
                      <a:pt x="8071" y="40353"/>
                      <a:pt x="5136" y="403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8F2BF0FE-39FD-4436-8510-E5D191FE17A1}"/>
                  </a:ext>
                </a:extLst>
              </p:cNvPr>
              <p:cNvSpPr/>
              <p:nvPr/>
            </p:nvSpPr>
            <p:spPr>
              <a:xfrm>
                <a:off x="13330602" y="6369850"/>
                <a:ext cx="36684" cy="40353"/>
              </a:xfrm>
              <a:custGeom>
                <a:avLst/>
                <a:gdLst>
                  <a:gd name="connsiteX0" fmla="*/ 5136 w 36684"/>
                  <a:gd name="connsiteY0" fmla="*/ 40353 h 40353"/>
                  <a:gd name="connsiteX1" fmla="*/ 2201 w 36684"/>
                  <a:gd name="connsiteY1" fmla="*/ 37419 h 40353"/>
                  <a:gd name="connsiteX2" fmla="*/ 2201 w 36684"/>
                  <a:gd name="connsiteY2" fmla="*/ 28614 h 40353"/>
                  <a:gd name="connsiteX3" fmla="*/ 25679 w 36684"/>
                  <a:gd name="connsiteY3" fmla="*/ 2201 h 40353"/>
                  <a:gd name="connsiteX4" fmla="*/ 34483 w 36684"/>
                  <a:gd name="connsiteY4" fmla="*/ 2201 h 40353"/>
                  <a:gd name="connsiteX5" fmla="*/ 34483 w 36684"/>
                  <a:gd name="connsiteY5" fmla="*/ 11006 h 40353"/>
                  <a:gd name="connsiteX6" fmla="*/ 11005 w 36684"/>
                  <a:gd name="connsiteY6" fmla="*/ 37419 h 40353"/>
                  <a:gd name="connsiteX7" fmla="*/ 5136 w 36684"/>
                  <a:gd name="connsiteY7" fmla="*/ 40353 h 40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684" h="40353">
                    <a:moveTo>
                      <a:pt x="5136" y="40353"/>
                    </a:moveTo>
                    <a:cubicBezTo>
                      <a:pt x="5136" y="40353"/>
                      <a:pt x="2201" y="40353"/>
                      <a:pt x="2201" y="37419"/>
                    </a:cubicBezTo>
                    <a:cubicBezTo>
                      <a:pt x="-734" y="34484"/>
                      <a:pt x="-734" y="31549"/>
                      <a:pt x="2201" y="28614"/>
                    </a:cubicBezTo>
                    <a:lnTo>
                      <a:pt x="25679" y="2201"/>
                    </a:lnTo>
                    <a:cubicBezTo>
                      <a:pt x="28614" y="-734"/>
                      <a:pt x="31548" y="-734"/>
                      <a:pt x="34483" y="2201"/>
                    </a:cubicBezTo>
                    <a:cubicBezTo>
                      <a:pt x="37418" y="5136"/>
                      <a:pt x="37418" y="8071"/>
                      <a:pt x="34483" y="11006"/>
                    </a:cubicBezTo>
                    <a:lnTo>
                      <a:pt x="11005" y="37419"/>
                    </a:lnTo>
                    <a:cubicBezTo>
                      <a:pt x="8070" y="40353"/>
                      <a:pt x="5136" y="40353"/>
                      <a:pt x="5136" y="403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5B072EC2-913F-4EC1-AB3E-9DF6F8C18BC1}"/>
                </a:ext>
              </a:extLst>
            </p:cNvPr>
            <p:cNvSpPr/>
            <p:nvPr/>
          </p:nvSpPr>
          <p:spPr>
            <a:xfrm>
              <a:off x="12593238" y="6163682"/>
              <a:ext cx="196629" cy="243587"/>
            </a:xfrm>
            <a:custGeom>
              <a:avLst/>
              <a:gdLst>
                <a:gd name="connsiteX0" fmla="*/ 0 w 196629"/>
                <a:gd name="connsiteY0" fmla="*/ 205435 h 243587"/>
                <a:gd name="connsiteX1" fmla="*/ 0 w 196629"/>
                <a:gd name="connsiteY1" fmla="*/ 0 h 243587"/>
                <a:gd name="connsiteX2" fmla="*/ 196630 w 196629"/>
                <a:gd name="connsiteY2" fmla="*/ 0 h 243587"/>
                <a:gd name="connsiteX3" fmla="*/ 158478 w 196629"/>
                <a:gd name="connsiteY3" fmla="*/ 217174 h 243587"/>
                <a:gd name="connsiteX4" fmla="*/ 11739 w 196629"/>
                <a:gd name="connsiteY4" fmla="*/ 243587 h 24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629" h="243587">
                  <a:moveTo>
                    <a:pt x="0" y="205435"/>
                  </a:moveTo>
                  <a:lnTo>
                    <a:pt x="0" y="0"/>
                  </a:lnTo>
                  <a:lnTo>
                    <a:pt x="196630" y="0"/>
                  </a:lnTo>
                  <a:lnTo>
                    <a:pt x="158478" y="217174"/>
                  </a:lnTo>
                  <a:lnTo>
                    <a:pt x="11739" y="243587"/>
                  </a:ln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C57ED06A-DBA1-4379-AAA8-A1274A0A6ED3}"/>
                </a:ext>
              </a:extLst>
            </p:cNvPr>
            <p:cNvSpPr/>
            <p:nvPr/>
          </p:nvSpPr>
          <p:spPr>
            <a:xfrm>
              <a:off x="12497582" y="4088791"/>
              <a:ext cx="1012678" cy="2171739"/>
            </a:xfrm>
            <a:custGeom>
              <a:avLst/>
              <a:gdLst>
                <a:gd name="connsiteX0" fmla="*/ 1002503 w 1012678"/>
                <a:gd name="connsiteY0" fmla="*/ 17609 h 2171739"/>
                <a:gd name="connsiteX1" fmla="*/ 996633 w 1012678"/>
                <a:gd name="connsiteY1" fmla="*/ 1235544 h 2171739"/>
                <a:gd name="connsiteX2" fmla="*/ 829351 w 1012678"/>
                <a:gd name="connsiteY2" fmla="*/ 2171739 h 2171739"/>
                <a:gd name="connsiteX3" fmla="*/ 553482 w 1012678"/>
                <a:gd name="connsiteY3" fmla="*/ 2171739 h 2171739"/>
                <a:gd name="connsiteX4" fmla="*/ 591634 w 1012678"/>
                <a:gd name="connsiteY4" fmla="*/ 1191522 h 2171739"/>
                <a:gd name="connsiteX5" fmla="*/ 527068 w 1012678"/>
                <a:gd name="connsiteY5" fmla="*/ 481304 h 2171739"/>
                <a:gd name="connsiteX6" fmla="*/ 424351 w 1012678"/>
                <a:gd name="connsiteY6" fmla="*/ 1197391 h 2171739"/>
                <a:gd name="connsiteX7" fmla="*/ 339242 w 1012678"/>
                <a:gd name="connsiteY7" fmla="*/ 2165870 h 2171739"/>
                <a:gd name="connsiteX8" fmla="*/ 42829 w 1012678"/>
                <a:gd name="connsiteY8" fmla="*/ 2151196 h 2171739"/>
                <a:gd name="connsiteX9" fmla="*/ 25221 w 1012678"/>
                <a:gd name="connsiteY9" fmla="*/ 1118152 h 2171739"/>
                <a:gd name="connsiteX10" fmla="*/ 22286 w 1012678"/>
                <a:gd name="connsiteY10" fmla="*/ 0 h 2171739"/>
                <a:gd name="connsiteX11" fmla="*/ 1002503 w 1012678"/>
                <a:gd name="connsiteY11" fmla="*/ 17609 h 2171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2678" h="2171739">
                  <a:moveTo>
                    <a:pt x="1002503" y="17609"/>
                  </a:moveTo>
                  <a:cubicBezTo>
                    <a:pt x="1002503" y="17609"/>
                    <a:pt x="1028916" y="962609"/>
                    <a:pt x="996633" y="1235544"/>
                  </a:cubicBezTo>
                  <a:cubicBezTo>
                    <a:pt x="984894" y="1341196"/>
                    <a:pt x="829351" y="2171739"/>
                    <a:pt x="829351" y="2171739"/>
                  </a:cubicBezTo>
                  <a:lnTo>
                    <a:pt x="553482" y="2171739"/>
                  </a:lnTo>
                  <a:cubicBezTo>
                    <a:pt x="553482" y="2171739"/>
                    <a:pt x="585764" y="1285435"/>
                    <a:pt x="591634" y="1191522"/>
                  </a:cubicBezTo>
                  <a:cubicBezTo>
                    <a:pt x="597504" y="1097609"/>
                    <a:pt x="541742" y="510652"/>
                    <a:pt x="527068" y="481304"/>
                  </a:cubicBezTo>
                  <a:cubicBezTo>
                    <a:pt x="512394" y="451957"/>
                    <a:pt x="424351" y="1197391"/>
                    <a:pt x="424351" y="1197391"/>
                  </a:cubicBezTo>
                  <a:lnTo>
                    <a:pt x="339242" y="2165870"/>
                  </a:lnTo>
                  <a:lnTo>
                    <a:pt x="42829" y="2151196"/>
                  </a:lnTo>
                  <a:cubicBezTo>
                    <a:pt x="42829" y="2151196"/>
                    <a:pt x="39895" y="1212065"/>
                    <a:pt x="25221" y="1118152"/>
                  </a:cubicBezTo>
                  <a:cubicBezTo>
                    <a:pt x="10547" y="1024239"/>
                    <a:pt x="-21736" y="93913"/>
                    <a:pt x="22286" y="0"/>
                  </a:cubicBezTo>
                  <a:cubicBezTo>
                    <a:pt x="691416" y="29348"/>
                    <a:pt x="1002503" y="17609"/>
                    <a:pt x="1002503" y="17609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8EEC0729-B87F-4CAD-BACD-486EC33DED1F}"/>
                </a:ext>
              </a:extLst>
            </p:cNvPr>
            <p:cNvSpPr/>
            <p:nvPr/>
          </p:nvSpPr>
          <p:spPr>
            <a:xfrm>
              <a:off x="13018781" y="4223791"/>
              <a:ext cx="67499" cy="352173"/>
            </a:xfrm>
            <a:custGeom>
              <a:avLst/>
              <a:gdLst>
                <a:gd name="connsiteX0" fmla="*/ 5869 w 67499"/>
                <a:gd name="connsiteY0" fmla="*/ 352174 h 352173"/>
                <a:gd name="connsiteX1" fmla="*/ 5869 w 67499"/>
                <a:gd name="connsiteY1" fmla="*/ 352174 h 352173"/>
                <a:gd name="connsiteX2" fmla="*/ 0 w 67499"/>
                <a:gd name="connsiteY2" fmla="*/ 343369 h 352173"/>
                <a:gd name="connsiteX3" fmla="*/ 55761 w 67499"/>
                <a:gd name="connsiteY3" fmla="*/ 5869 h 352173"/>
                <a:gd name="connsiteX4" fmla="*/ 61631 w 67499"/>
                <a:gd name="connsiteY4" fmla="*/ 0 h 352173"/>
                <a:gd name="connsiteX5" fmla="*/ 61631 w 67499"/>
                <a:gd name="connsiteY5" fmla="*/ 0 h 352173"/>
                <a:gd name="connsiteX6" fmla="*/ 67500 w 67499"/>
                <a:gd name="connsiteY6" fmla="*/ 5869 h 352173"/>
                <a:gd name="connsiteX7" fmla="*/ 11739 w 67499"/>
                <a:gd name="connsiteY7" fmla="*/ 346304 h 352173"/>
                <a:gd name="connsiteX8" fmla="*/ 5869 w 67499"/>
                <a:gd name="connsiteY8" fmla="*/ 352174 h 352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7499" h="352173">
                  <a:moveTo>
                    <a:pt x="5869" y="352174"/>
                  </a:moveTo>
                  <a:cubicBezTo>
                    <a:pt x="2935" y="352174"/>
                    <a:pt x="2935" y="352174"/>
                    <a:pt x="5869" y="352174"/>
                  </a:cubicBezTo>
                  <a:cubicBezTo>
                    <a:pt x="0" y="349239"/>
                    <a:pt x="0" y="346304"/>
                    <a:pt x="0" y="343369"/>
                  </a:cubicBezTo>
                  <a:cubicBezTo>
                    <a:pt x="46957" y="234783"/>
                    <a:pt x="55761" y="8804"/>
                    <a:pt x="55761" y="5869"/>
                  </a:cubicBezTo>
                  <a:cubicBezTo>
                    <a:pt x="55761" y="2935"/>
                    <a:pt x="58696" y="0"/>
                    <a:pt x="61631" y="0"/>
                  </a:cubicBezTo>
                  <a:cubicBezTo>
                    <a:pt x="61631" y="0"/>
                    <a:pt x="61631" y="0"/>
                    <a:pt x="61631" y="0"/>
                  </a:cubicBezTo>
                  <a:cubicBezTo>
                    <a:pt x="64565" y="0"/>
                    <a:pt x="67500" y="2935"/>
                    <a:pt x="67500" y="5869"/>
                  </a:cubicBezTo>
                  <a:cubicBezTo>
                    <a:pt x="67500" y="14674"/>
                    <a:pt x="58696" y="234783"/>
                    <a:pt x="11739" y="346304"/>
                  </a:cubicBezTo>
                  <a:cubicBezTo>
                    <a:pt x="8804" y="352174"/>
                    <a:pt x="5869" y="352174"/>
                    <a:pt x="5869" y="352174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942BB2EA-6D29-4C09-B42B-5D8B33ACCF1C}"/>
                </a:ext>
              </a:extLst>
            </p:cNvPr>
            <p:cNvSpPr/>
            <p:nvPr/>
          </p:nvSpPr>
          <p:spPr>
            <a:xfrm>
              <a:off x="13043978" y="4156291"/>
              <a:ext cx="150889" cy="343369"/>
            </a:xfrm>
            <a:custGeom>
              <a:avLst/>
              <a:gdLst>
                <a:gd name="connsiteX0" fmla="*/ 7086 w 150889"/>
                <a:gd name="connsiteY0" fmla="*/ 343369 h 343369"/>
                <a:gd name="connsiteX1" fmla="*/ 1216 w 150889"/>
                <a:gd name="connsiteY1" fmla="*/ 340435 h 343369"/>
                <a:gd name="connsiteX2" fmla="*/ 4151 w 150889"/>
                <a:gd name="connsiteY2" fmla="*/ 331631 h 343369"/>
                <a:gd name="connsiteX3" fmla="*/ 106868 w 150889"/>
                <a:gd name="connsiteY3" fmla="*/ 258261 h 343369"/>
                <a:gd name="connsiteX4" fmla="*/ 139151 w 150889"/>
                <a:gd name="connsiteY4" fmla="*/ 5869 h 343369"/>
                <a:gd name="connsiteX5" fmla="*/ 145020 w 150889"/>
                <a:gd name="connsiteY5" fmla="*/ 0 h 343369"/>
                <a:gd name="connsiteX6" fmla="*/ 150890 w 150889"/>
                <a:gd name="connsiteY6" fmla="*/ 5869 h 343369"/>
                <a:gd name="connsiteX7" fmla="*/ 118607 w 150889"/>
                <a:gd name="connsiteY7" fmla="*/ 264130 h 343369"/>
                <a:gd name="connsiteX8" fmla="*/ 12955 w 150889"/>
                <a:gd name="connsiteY8" fmla="*/ 340435 h 343369"/>
                <a:gd name="connsiteX9" fmla="*/ 7086 w 150889"/>
                <a:gd name="connsiteY9" fmla="*/ 343369 h 343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0889" h="343369">
                  <a:moveTo>
                    <a:pt x="7086" y="343369"/>
                  </a:moveTo>
                  <a:cubicBezTo>
                    <a:pt x="4151" y="343369"/>
                    <a:pt x="4151" y="343369"/>
                    <a:pt x="1216" y="340435"/>
                  </a:cubicBezTo>
                  <a:cubicBezTo>
                    <a:pt x="-1719" y="337500"/>
                    <a:pt x="1216" y="334565"/>
                    <a:pt x="4151" y="331631"/>
                  </a:cubicBezTo>
                  <a:cubicBezTo>
                    <a:pt x="42302" y="308152"/>
                    <a:pt x="98063" y="267065"/>
                    <a:pt x="106868" y="258261"/>
                  </a:cubicBezTo>
                  <a:cubicBezTo>
                    <a:pt x="115672" y="246522"/>
                    <a:pt x="130346" y="96848"/>
                    <a:pt x="139151" y="5869"/>
                  </a:cubicBezTo>
                  <a:cubicBezTo>
                    <a:pt x="139151" y="2935"/>
                    <a:pt x="142085" y="0"/>
                    <a:pt x="145020" y="0"/>
                  </a:cubicBezTo>
                  <a:cubicBezTo>
                    <a:pt x="147955" y="0"/>
                    <a:pt x="150890" y="2935"/>
                    <a:pt x="150890" y="5869"/>
                  </a:cubicBezTo>
                  <a:cubicBezTo>
                    <a:pt x="147955" y="46956"/>
                    <a:pt x="127411" y="249457"/>
                    <a:pt x="118607" y="264130"/>
                  </a:cubicBezTo>
                  <a:cubicBezTo>
                    <a:pt x="106868" y="278804"/>
                    <a:pt x="21760" y="334565"/>
                    <a:pt x="12955" y="340435"/>
                  </a:cubicBezTo>
                  <a:cubicBezTo>
                    <a:pt x="10020" y="343369"/>
                    <a:pt x="10020" y="343369"/>
                    <a:pt x="7086" y="343369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534E16BE-F765-4C94-9441-4584C53076D4}"/>
                </a:ext>
              </a:extLst>
            </p:cNvPr>
            <p:cNvSpPr/>
            <p:nvPr/>
          </p:nvSpPr>
          <p:spPr>
            <a:xfrm>
              <a:off x="12514324" y="6351508"/>
              <a:ext cx="275300" cy="322826"/>
            </a:xfrm>
            <a:custGeom>
              <a:avLst/>
              <a:gdLst>
                <a:gd name="connsiteX0" fmla="*/ 2609 w 275300"/>
                <a:gd name="connsiteY0" fmla="*/ 217174 h 322826"/>
                <a:gd name="connsiteX1" fmla="*/ 2609 w 275300"/>
                <a:gd name="connsiteY1" fmla="*/ 270000 h 322826"/>
                <a:gd name="connsiteX2" fmla="*/ 131739 w 275300"/>
                <a:gd name="connsiteY2" fmla="*/ 322826 h 322826"/>
                <a:gd name="connsiteX3" fmla="*/ 269674 w 275300"/>
                <a:gd name="connsiteY3" fmla="*/ 270000 h 322826"/>
                <a:gd name="connsiteX4" fmla="*/ 257935 w 275300"/>
                <a:gd name="connsiteY4" fmla="*/ 38152 h 322826"/>
                <a:gd name="connsiteX5" fmla="*/ 243261 w 275300"/>
                <a:gd name="connsiteY5" fmla="*/ 0 h 322826"/>
                <a:gd name="connsiteX6" fmla="*/ 225653 w 275300"/>
                <a:gd name="connsiteY6" fmla="*/ 217174 h 322826"/>
                <a:gd name="connsiteX7" fmla="*/ 2609 w 275300"/>
                <a:gd name="connsiteY7" fmla="*/ 217174 h 322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5300" h="322826">
                  <a:moveTo>
                    <a:pt x="2609" y="217174"/>
                  </a:moveTo>
                  <a:cubicBezTo>
                    <a:pt x="2609" y="217174"/>
                    <a:pt x="-3261" y="258261"/>
                    <a:pt x="2609" y="270000"/>
                  </a:cubicBezTo>
                  <a:cubicBezTo>
                    <a:pt x="11413" y="287609"/>
                    <a:pt x="70109" y="322826"/>
                    <a:pt x="131739" y="322826"/>
                  </a:cubicBezTo>
                  <a:cubicBezTo>
                    <a:pt x="205109" y="322826"/>
                    <a:pt x="255000" y="287609"/>
                    <a:pt x="269674" y="270000"/>
                  </a:cubicBezTo>
                  <a:cubicBezTo>
                    <a:pt x="287283" y="252391"/>
                    <a:pt x="257935" y="38152"/>
                    <a:pt x="257935" y="38152"/>
                  </a:cubicBezTo>
                  <a:lnTo>
                    <a:pt x="243261" y="0"/>
                  </a:lnTo>
                  <a:lnTo>
                    <a:pt x="225653" y="217174"/>
                  </a:lnTo>
                  <a:lnTo>
                    <a:pt x="2609" y="217174"/>
                  </a:ln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74BAD236-3337-4253-B576-F5FACCD3FBD9}"/>
                </a:ext>
              </a:extLst>
            </p:cNvPr>
            <p:cNvSpPr/>
            <p:nvPr/>
          </p:nvSpPr>
          <p:spPr>
            <a:xfrm>
              <a:off x="12516145" y="6336834"/>
              <a:ext cx="261024" cy="299550"/>
            </a:xfrm>
            <a:custGeom>
              <a:avLst/>
              <a:gdLst>
                <a:gd name="connsiteX0" fmla="*/ 74158 w 261024"/>
                <a:gd name="connsiteY0" fmla="*/ 0 h 299550"/>
                <a:gd name="connsiteX1" fmla="*/ 244375 w 261024"/>
                <a:gd name="connsiteY1" fmla="*/ 14674 h 299550"/>
                <a:gd name="connsiteX2" fmla="*/ 259049 w 261024"/>
                <a:gd name="connsiteY2" fmla="*/ 240652 h 299550"/>
                <a:gd name="connsiteX3" fmla="*/ 124050 w 261024"/>
                <a:gd name="connsiteY3" fmla="*/ 299348 h 299550"/>
                <a:gd name="connsiteX4" fmla="*/ 789 w 261024"/>
                <a:gd name="connsiteY4" fmla="*/ 237717 h 299550"/>
                <a:gd name="connsiteX5" fmla="*/ 74158 w 261024"/>
                <a:gd name="connsiteY5" fmla="*/ 0 h 29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1024" h="299550">
                  <a:moveTo>
                    <a:pt x="74158" y="0"/>
                  </a:moveTo>
                  <a:cubicBezTo>
                    <a:pt x="74158" y="0"/>
                    <a:pt x="132854" y="67500"/>
                    <a:pt x="244375" y="14674"/>
                  </a:cubicBezTo>
                  <a:cubicBezTo>
                    <a:pt x="244375" y="14674"/>
                    <a:pt x="267854" y="208369"/>
                    <a:pt x="259049" y="240652"/>
                  </a:cubicBezTo>
                  <a:cubicBezTo>
                    <a:pt x="247310" y="272935"/>
                    <a:pt x="162202" y="302283"/>
                    <a:pt x="124050" y="299348"/>
                  </a:cubicBezTo>
                  <a:cubicBezTo>
                    <a:pt x="85897" y="296413"/>
                    <a:pt x="12528" y="261195"/>
                    <a:pt x="789" y="237717"/>
                  </a:cubicBezTo>
                  <a:cubicBezTo>
                    <a:pt x="-8015" y="217174"/>
                    <a:pt x="59484" y="49891"/>
                    <a:pt x="74158" y="0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907FD567-9FFB-454F-B7D2-94095E404610}"/>
                </a:ext>
              </a:extLst>
            </p:cNvPr>
            <p:cNvSpPr/>
            <p:nvPr/>
          </p:nvSpPr>
          <p:spPr>
            <a:xfrm>
              <a:off x="12583218" y="6326814"/>
              <a:ext cx="183172" cy="48172"/>
            </a:xfrm>
            <a:custGeom>
              <a:avLst/>
              <a:gdLst>
                <a:gd name="connsiteX0" fmla="*/ 89259 w 183172"/>
                <a:gd name="connsiteY0" fmla="*/ 48172 h 48172"/>
                <a:gd name="connsiteX1" fmla="*/ 1215 w 183172"/>
                <a:gd name="connsiteY1" fmla="*/ 10020 h 48172"/>
                <a:gd name="connsiteX2" fmla="*/ 4150 w 183172"/>
                <a:gd name="connsiteY2" fmla="*/ 1216 h 48172"/>
                <a:gd name="connsiteX3" fmla="*/ 12955 w 183172"/>
                <a:gd name="connsiteY3" fmla="*/ 4151 h 48172"/>
                <a:gd name="connsiteX4" fmla="*/ 177302 w 183172"/>
                <a:gd name="connsiteY4" fmla="*/ 15890 h 48172"/>
                <a:gd name="connsiteX5" fmla="*/ 183172 w 183172"/>
                <a:gd name="connsiteY5" fmla="*/ 18825 h 48172"/>
                <a:gd name="connsiteX6" fmla="*/ 180237 w 183172"/>
                <a:gd name="connsiteY6" fmla="*/ 24694 h 48172"/>
                <a:gd name="connsiteX7" fmla="*/ 89259 w 183172"/>
                <a:gd name="connsiteY7" fmla="*/ 48172 h 4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172" h="48172">
                  <a:moveTo>
                    <a:pt x="89259" y="48172"/>
                  </a:moveTo>
                  <a:cubicBezTo>
                    <a:pt x="27629" y="48172"/>
                    <a:pt x="4150" y="12955"/>
                    <a:pt x="1215" y="10020"/>
                  </a:cubicBezTo>
                  <a:cubicBezTo>
                    <a:pt x="-1719" y="7085"/>
                    <a:pt x="1215" y="4151"/>
                    <a:pt x="4150" y="1216"/>
                  </a:cubicBezTo>
                  <a:cubicBezTo>
                    <a:pt x="7085" y="-1719"/>
                    <a:pt x="10020" y="1216"/>
                    <a:pt x="12955" y="4151"/>
                  </a:cubicBezTo>
                  <a:cubicBezTo>
                    <a:pt x="15889" y="7085"/>
                    <a:pt x="56977" y="68716"/>
                    <a:pt x="177302" y="15890"/>
                  </a:cubicBezTo>
                  <a:cubicBezTo>
                    <a:pt x="180237" y="15890"/>
                    <a:pt x="183172" y="15890"/>
                    <a:pt x="183172" y="18825"/>
                  </a:cubicBezTo>
                  <a:cubicBezTo>
                    <a:pt x="183172" y="21759"/>
                    <a:pt x="183172" y="24694"/>
                    <a:pt x="180237" y="24694"/>
                  </a:cubicBezTo>
                  <a:cubicBezTo>
                    <a:pt x="145020" y="45237"/>
                    <a:pt x="112738" y="48172"/>
                    <a:pt x="89259" y="48172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8488388A-9D3F-4541-8EEE-1CA29420EEC5}"/>
                </a:ext>
              </a:extLst>
            </p:cNvPr>
            <p:cNvSpPr/>
            <p:nvPr/>
          </p:nvSpPr>
          <p:spPr>
            <a:xfrm>
              <a:off x="12602042" y="6401400"/>
              <a:ext cx="117391" cy="26412"/>
            </a:xfrm>
            <a:custGeom>
              <a:avLst/>
              <a:gdLst>
                <a:gd name="connsiteX0" fmla="*/ 76305 w 117391"/>
                <a:gd name="connsiteY0" fmla="*/ 26413 h 26412"/>
                <a:gd name="connsiteX1" fmla="*/ 2935 w 117391"/>
                <a:gd name="connsiteY1" fmla="*/ 8804 h 26412"/>
                <a:gd name="connsiteX2" fmla="*/ 0 w 117391"/>
                <a:gd name="connsiteY2" fmla="*/ 2935 h 26412"/>
                <a:gd name="connsiteX3" fmla="*/ 5870 w 117391"/>
                <a:gd name="connsiteY3" fmla="*/ 0 h 26412"/>
                <a:gd name="connsiteX4" fmla="*/ 111522 w 117391"/>
                <a:gd name="connsiteY4" fmla="*/ 11739 h 26412"/>
                <a:gd name="connsiteX5" fmla="*/ 117391 w 117391"/>
                <a:gd name="connsiteY5" fmla="*/ 14674 h 26412"/>
                <a:gd name="connsiteX6" fmla="*/ 114456 w 117391"/>
                <a:gd name="connsiteY6" fmla="*/ 20543 h 26412"/>
                <a:gd name="connsiteX7" fmla="*/ 76305 w 117391"/>
                <a:gd name="connsiteY7" fmla="*/ 26413 h 26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391" h="26412">
                  <a:moveTo>
                    <a:pt x="76305" y="26413"/>
                  </a:moveTo>
                  <a:cubicBezTo>
                    <a:pt x="32283" y="26413"/>
                    <a:pt x="2935" y="11739"/>
                    <a:pt x="2935" y="8804"/>
                  </a:cubicBezTo>
                  <a:cubicBezTo>
                    <a:pt x="0" y="8804"/>
                    <a:pt x="0" y="2935"/>
                    <a:pt x="0" y="2935"/>
                  </a:cubicBezTo>
                  <a:cubicBezTo>
                    <a:pt x="0" y="0"/>
                    <a:pt x="5870" y="0"/>
                    <a:pt x="5870" y="0"/>
                  </a:cubicBezTo>
                  <a:cubicBezTo>
                    <a:pt x="5870" y="0"/>
                    <a:pt x="52827" y="23478"/>
                    <a:pt x="111522" y="11739"/>
                  </a:cubicBezTo>
                  <a:cubicBezTo>
                    <a:pt x="114456" y="11739"/>
                    <a:pt x="117391" y="11739"/>
                    <a:pt x="117391" y="14674"/>
                  </a:cubicBezTo>
                  <a:cubicBezTo>
                    <a:pt x="117391" y="17609"/>
                    <a:pt x="117391" y="20543"/>
                    <a:pt x="114456" y="20543"/>
                  </a:cubicBezTo>
                  <a:cubicBezTo>
                    <a:pt x="99782" y="26413"/>
                    <a:pt x="88043" y="26413"/>
                    <a:pt x="76305" y="26413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B16947A0-6F00-473C-BD0E-C716F7C3EBC5}"/>
                </a:ext>
              </a:extLst>
            </p:cNvPr>
            <p:cNvSpPr/>
            <p:nvPr/>
          </p:nvSpPr>
          <p:spPr>
            <a:xfrm>
              <a:off x="12587368" y="6454226"/>
              <a:ext cx="117391" cy="26412"/>
            </a:xfrm>
            <a:custGeom>
              <a:avLst/>
              <a:gdLst>
                <a:gd name="connsiteX0" fmla="*/ 76305 w 117391"/>
                <a:gd name="connsiteY0" fmla="*/ 26413 h 26412"/>
                <a:gd name="connsiteX1" fmla="*/ 2935 w 117391"/>
                <a:gd name="connsiteY1" fmla="*/ 8804 h 26412"/>
                <a:gd name="connsiteX2" fmla="*/ 0 w 117391"/>
                <a:gd name="connsiteY2" fmla="*/ 2935 h 26412"/>
                <a:gd name="connsiteX3" fmla="*/ 5870 w 117391"/>
                <a:gd name="connsiteY3" fmla="*/ 0 h 26412"/>
                <a:gd name="connsiteX4" fmla="*/ 111522 w 117391"/>
                <a:gd name="connsiteY4" fmla="*/ 11739 h 26412"/>
                <a:gd name="connsiteX5" fmla="*/ 117391 w 117391"/>
                <a:gd name="connsiteY5" fmla="*/ 14674 h 26412"/>
                <a:gd name="connsiteX6" fmla="*/ 114456 w 117391"/>
                <a:gd name="connsiteY6" fmla="*/ 20543 h 26412"/>
                <a:gd name="connsiteX7" fmla="*/ 76305 w 117391"/>
                <a:gd name="connsiteY7" fmla="*/ 26413 h 26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391" h="26412">
                  <a:moveTo>
                    <a:pt x="76305" y="26413"/>
                  </a:moveTo>
                  <a:cubicBezTo>
                    <a:pt x="32283" y="26413"/>
                    <a:pt x="2935" y="11739"/>
                    <a:pt x="2935" y="8804"/>
                  </a:cubicBezTo>
                  <a:cubicBezTo>
                    <a:pt x="0" y="8804"/>
                    <a:pt x="0" y="2935"/>
                    <a:pt x="0" y="2935"/>
                  </a:cubicBezTo>
                  <a:cubicBezTo>
                    <a:pt x="0" y="0"/>
                    <a:pt x="5870" y="0"/>
                    <a:pt x="5870" y="0"/>
                  </a:cubicBezTo>
                  <a:cubicBezTo>
                    <a:pt x="5870" y="0"/>
                    <a:pt x="52827" y="23478"/>
                    <a:pt x="111522" y="11739"/>
                  </a:cubicBezTo>
                  <a:cubicBezTo>
                    <a:pt x="114456" y="11739"/>
                    <a:pt x="117391" y="11739"/>
                    <a:pt x="117391" y="14674"/>
                  </a:cubicBezTo>
                  <a:cubicBezTo>
                    <a:pt x="117391" y="17608"/>
                    <a:pt x="117391" y="20543"/>
                    <a:pt x="114456" y="20543"/>
                  </a:cubicBezTo>
                  <a:cubicBezTo>
                    <a:pt x="102717" y="26413"/>
                    <a:pt x="88043" y="26413"/>
                    <a:pt x="76305" y="26413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42001977-529E-46DF-AE76-9854A5ADEE8C}"/>
                </a:ext>
              </a:extLst>
            </p:cNvPr>
            <p:cNvSpPr/>
            <p:nvPr/>
          </p:nvSpPr>
          <p:spPr>
            <a:xfrm>
              <a:off x="13246972" y="2736089"/>
              <a:ext cx="1110069" cy="1013587"/>
            </a:xfrm>
            <a:custGeom>
              <a:avLst/>
              <a:gdLst>
                <a:gd name="connsiteX0" fmla="*/ 85830 w 1110069"/>
                <a:gd name="connsiteY0" fmla="*/ 8571 h 1013587"/>
                <a:gd name="connsiteX1" fmla="*/ 379308 w 1110069"/>
                <a:gd name="connsiteY1" fmla="*/ 310854 h 1013587"/>
                <a:gd name="connsiteX2" fmla="*/ 567135 w 1110069"/>
                <a:gd name="connsiteY2" fmla="*/ 730527 h 1013587"/>
                <a:gd name="connsiteX3" fmla="*/ 1024960 w 1110069"/>
                <a:gd name="connsiteY3" fmla="*/ 492810 h 1013587"/>
                <a:gd name="connsiteX4" fmla="*/ 1110070 w 1110069"/>
                <a:gd name="connsiteY4" fmla="*/ 660093 h 1013587"/>
                <a:gd name="connsiteX5" fmla="*/ 432135 w 1110069"/>
                <a:gd name="connsiteY5" fmla="*/ 1012267 h 1013587"/>
                <a:gd name="connsiteX6" fmla="*/ 85830 w 1110069"/>
                <a:gd name="connsiteY6" fmla="*/ 8571 h 101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0069" h="1013587">
                  <a:moveTo>
                    <a:pt x="85830" y="8571"/>
                  </a:moveTo>
                  <a:cubicBezTo>
                    <a:pt x="206156" y="-44255"/>
                    <a:pt x="317678" y="158245"/>
                    <a:pt x="379308" y="310854"/>
                  </a:cubicBezTo>
                  <a:cubicBezTo>
                    <a:pt x="420396" y="413571"/>
                    <a:pt x="567135" y="730527"/>
                    <a:pt x="567135" y="730527"/>
                  </a:cubicBezTo>
                  <a:lnTo>
                    <a:pt x="1024960" y="492810"/>
                  </a:lnTo>
                  <a:lnTo>
                    <a:pt x="1110070" y="660093"/>
                  </a:lnTo>
                  <a:cubicBezTo>
                    <a:pt x="1110070" y="660093"/>
                    <a:pt x="552461" y="1038680"/>
                    <a:pt x="432135" y="1012267"/>
                  </a:cubicBezTo>
                  <a:cubicBezTo>
                    <a:pt x="253113" y="974115"/>
                    <a:pt x="-184170" y="128897"/>
                    <a:pt x="85830" y="8571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B7A7FD72-24CB-4AE5-A631-423AD62F79D7}"/>
                </a:ext>
              </a:extLst>
            </p:cNvPr>
            <p:cNvSpPr/>
            <p:nvPr/>
          </p:nvSpPr>
          <p:spPr>
            <a:xfrm>
              <a:off x="12816281" y="2351400"/>
              <a:ext cx="64564" cy="135000"/>
            </a:xfrm>
            <a:custGeom>
              <a:avLst/>
              <a:gdLst>
                <a:gd name="connsiteX0" fmla="*/ 0 w 64564"/>
                <a:gd name="connsiteY0" fmla="*/ 0 h 135000"/>
                <a:gd name="connsiteX1" fmla="*/ 61630 w 64564"/>
                <a:gd name="connsiteY1" fmla="*/ 135000 h 135000"/>
                <a:gd name="connsiteX2" fmla="*/ 64565 w 64564"/>
                <a:gd name="connsiteY2" fmla="*/ 52826 h 135000"/>
                <a:gd name="connsiteX3" fmla="*/ 0 w 64564"/>
                <a:gd name="connsiteY3" fmla="*/ 0 h 1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564" h="135000">
                  <a:moveTo>
                    <a:pt x="0" y="0"/>
                  </a:moveTo>
                  <a:cubicBezTo>
                    <a:pt x="0" y="0"/>
                    <a:pt x="11739" y="114457"/>
                    <a:pt x="61630" y="135000"/>
                  </a:cubicBezTo>
                  <a:lnTo>
                    <a:pt x="64565" y="5282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DDBA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6E30F497-4D5C-4909-96CE-3DAC50DE4C9B}"/>
                </a:ext>
              </a:extLst>
            </p:cNvPr>
            <p:cNvSpPr/>
            <p:nvPr/>
          </p:nvSpPr>
          <p:spPr>
            <a:xfrm>
              <a:off x="13164627" y="2157704"/>
              <a:ext cx="97935" cy="228893"/>
            </a:xfrm>
            <a:custGeom>
              <a:avLst/>
              <a:gdLst>
                <a:gd name="connsiteX0" fmla="*/ 91872 w 97935"/>
                <a:gd name="connsiteY0" fmla="*/ 0 h 228893"/>
                <a:gd name="connsiteX1" fmla="*/ 50784 w 97935"/>
                <a:gd name="connsiteY1" fmla="*/ 225978 h 228893"/>
                <a:gd name="connsiteX2" fmla="*/ 893 w 97935"/>
                <a:gd name="connsiteY2" fmla="*/ 11739 h 228893"/>
                <a:gd name="connsiteX3" fmla="*/ 91872 w 97935"/>
                <a:gd name="connsiteY3" fmla="*/ 0 h 228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35" h="228893">
                  <a:moveTo>
                    <a:pt x="91872" y="0"/>
                  </a:moveTo>
                  <a:cubicBezTo>
                    <a:pt x="91872" y="0"/>
                    <a:pt x="121220" y="187826"/>
                    <a:pt x="50784" y="225978"/>
                  </a:cubicBezTo>
                  <a:cubicBezTo>
                    <a:pt x="-10846" y="258261"/>
                    <a:pt x="893" y="11739"/>
                    <a:pt x="893" y="11739"/>
                  </a:cubicBezTo>
                  <a:lnTo>
                    <a:pt x="91872" y="0"/>
                  </a:lnTo>
                  <a:close/>
                </a:path>
              </a:pathLst>
            </a:custGeom>
            <a:solidFill>
              <a:srgbClr val="F1DDBA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17FBA346-095F-491A-9FA1-329FB89F40A1}"/>
                </a:ext>
              </a:extLst>
            </p:cNvPr>
            <p:cNvSpPr/>
            <p:nvPr/>
          </p:nvSpPr>
          <p:spPr>
            <a:xfrm>
              <a:off x="12819215" y="2021847"/>
              <a:ext cx="405326" cy="547306"/>
            </a:xfrm>
            <a:custGeom>
              <a:avLst/>
              <a:gdLst>
                <a:gd name="connsiteX0" fmla="*/ 396196 w 405326"/>
                <a:gd name="connsiteY0" fmla="*/ 176943 h 547306"/>
                <a:gd name="connsiteX1" fmla="*/ 396196 w 405326"/>
                <a:gd name="connsiteY1" fmla="*/ 417596 h 547306"/>
                <a:gd name="connsiteX2" fmla="*/ 243588 w 405326"/>
                <a:gd name="connsiteY2" fmla="*/ 546726 h 547306"/>
                <a:gd name="connsiteX3" fmla="*/ 35218 w 405326"/>
                <a:gd name="connsiteY3" fmla="*/ 408791 h 547306"/>
                <a:gd name="connsiteX4" fmla="*/ 0 w 405326"/>
                <a:gd name="connsiteY4" fmla="*/ 191617 h 547306"/>
                <a:gd name="connsiteX5" fmla="*/ 205435 w 405326"/>
                <a:gd name="connsiteY5" fmla="*/ 856 h 547306"/>
                <a:gd name="connsiteX6" fmla="*/ 396196 w 405326"/>
                <a:gd name="connsiteY6" fmla="*/ 176943 h 54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5326" h="547306">
                  <a:moveTo>
                    <a:pt x="396196" y="176943"/>
                  </a:moveTo>
                  <a:cubicBezTo>
                    <a:pt x="396196" y="176943"/>
                    <a:pt x="416740" y="347161"/>
                    <a:pt x="396196" y="417596"/>
                  </a:cubicBezTo>
                  <a:cubicBezTo>
                    <a:pt x="378588" y="482161"/>
                    <a:pt x="290544" y="543791"/>
                    <a:pt x="243588" y="546726"/>
                  </a:cubicBezTo>
                  <a:cubicBezTo>
                    <a:pt x="179022" y="552596"/>
                    <a:pt x="64566" y="514443"/>
                    <a:pt x="35218" y="408791"/>
                  </a:cubicBezTo>
                  <a:cubicBezTo>
                    <a:pt x="14674" y="338356"/>
                    <a:pt x="0" y="241509"/>
                    <a:pt x="0" y="191617"/>
                  </a:cubicBezTo>
                  <a:cubicBezTo>
                    <a:pt x="2935" y="100639"/>
                    <a:pt x="26414" y="24335"/>
                    <a:pt x="205435" y="856"/>
                  </a:cubicBezTo>
                  <a:cubicBezTo>
                    <a:pt x="287609" y="-10883"/>
                    <a:pt x="378588" y="100639"/>
                    <a:pt x="396196" y="176943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C1F090E7-7D94-4797-A0C6-4F854600D2A6}"/>
                </a:ext>
              </a:extLst>
            </p:cNvPr>
            <p:cNvSpPr/>
            <p:nvPr/>
          </p:nvSpPr>
          <p:spPr>
            <a:xfrm>
              <a:off x="13033455" y="2278030"/>
              <a:ext cx="55760" cy="132065"/>
            </a:xfrm>
            <a:custGeom>
              <a:avLst/>
              <a:gdLst>
                <a:gd name="connsiteX0" fmla="*/ 29348 w 55760"/>
                <a:gd name="connsiteY0" fmla="*/ 132065 h 132065"/>
                <a:gd name="connsiteX1" fmla="*/ 5869 w 55760"/>
                <a:gd name="connsiteY1" fmla="*/ 129130 h 132065"/>
                <a:gd name="connsiteX2" fmla="*/ 0 w 55760"/>
                <a:gd name="connsiteY2" fmla="*/ 123261 h 132065"/>
                <a:gd name="connsiteX3" fmla="*/ 5869 w 55760"/>
                <a:gd name="connsiteY3" fmla="*/ 117391 h 132065"/>
                <a:gd name="connsiteX4" fmla="*/ 44022 w 55760"/>
                <a:gd name="connsiteY4" fmla="*/ 117391 h 132065"/>
                <a:gd name="connsiteX5" fmla="*/ 44022 w 55760"/>
                <a:gd name="connsiteY5" fmla="*/ 114457 h 132065"/>
                <a:gd name="connsiteX6" fmla="*/ 29348 w 55760"/>
                <a:gd name="connsiteY6" fmla="*/ 5870 h 132065"/>
                <a:gd name="connsiteX7" fmla="*/ 35217 w 55760"/>
                <a:gd name="connsiteY7" fmla="*/ 0 h 132065"/>
                <a:gd name="connsiteX8" fmla="*/ 41087 w 55760"/>
                <a:gd name="connsiteY8" fmla="*/ 5870 h 132065"/>
                <a:gd name="connsiteX9" fmla="*/ 55761 w 55760"/>
                <a:gd name="connsiteY9" fmla="*/ 114457 h 132065"/>
                <a:gd name="connsiteX10" fmla="*/ 49891 w 55760"/>
                <a:gd name="connsiteY10" fmla="*/ 126196 h 132065"/>
                <a:gd name="connsiteX11" fmla="*/ 29348 w 55760"/>
                <a:gd name="connsiteY11" fmla="*/ 132065 h 132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760" h="132065">
                  <a:moveTo>
                    <a:pt x="29348" y="132065"/>
                  </a:moveTo>
                  <a:cubicBezTo>
                    <a:pt x="17609" y="132065"/>
                    <a:pt x="8804" y="129130"/>
                    <a:pt x="5869" y="129130"/>
                  </a:cubicBezTo>
                  <a:cubicBezTo>
                    <a:pt x="2935" y="129130"/>
                    <a:pt x="0" y="126196"/>
                    <a:pt x="0" y="123261"/>
                  </a:cubicBezTo>
                  <a:cubicBezTo>
                    <a:pt x="0" y="120326"/>
                    <a:pt x="2935" y="117391"/>
                    <a:pt x="5869" y="117391"/>
                  </a:cubicBezTo>
                  <a:cubicBezTo>
                    <a:pt x="17609" y="120326"/>
                    <a:pt x="38152" y="120326"/>
                    <a:pt x="44022" y="117391"/>
                  </a:cubicBezTo>
                  <a:cubicBezTo>
                    <a:pt x="44022" y="117391"/>
                    <a:pt x="44022" y="114457"/>
                    <a:pt x="44022" y="114457"/>
                  </a:cubicBezTo>
                  <a:cubicBezTo>
                    <a:pt x="44022" y="96848"/>
                    <a:pt x="29348" y="8804"/>
                    <a:pt x="29348" y="5870"/>
                  </a:cubicBezTo>
                  <a:cubicBezTo>
                    <a:pt x="29348" y="2935"/>
                    <a:pt x="32283" y="0"/>
                    <a:pt x="35217" y="0"/>
                  </a:cubicBezTo>
                  <a:cubicBezTo>
                    <a:pt x="38152" y="0"/>
                    <a:pt x="41087" y="2935"/>
                    <a:pt x="41087" y="5870"/>
                  </a:cubicBezTo>
                  <a:cubicBezTo>
                    <a:pt x="41087" y="8804"/>
                    <a:pt x="55761" y="96848"/>
                    <a:pt x="55761" y="114457"/>
                  </a:cubicBezTo>
                  <a:cubicBezTo>
                    <a:pt x="55761" y="120326"/>
                    <a:pt x="52826" y="123261"/>
                    <a:pt x="49891" y="126196"/>
                  </a:cubicBezTo>
                  <a:cubicBezTo>
                    <a:pt x="49891" y="129130"/>
                    <a:pt x="41087" y="132065"/>
                    <a:pt x="29348" y="132065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15A3231D-C981-49B4-A851-FBD9D2B9B33B}"/>
                </a:ext>
              </a:extLst>
            </p:cNvPr>
            <p:cNvSpPr/>
            <p:nvPr/>
          </p:nvSpPr>
          <p:spPr>
            <a:xfrm>
              <a:off x="13123686" y="2253804"/>
              <a:ext cx="39647" cy="39475"/>
            </a:xfrm>
            <a:custGeom>
              <a:avLst/>
              <a:gdLst>
                <a:gd name="connsiteX0" fmla="*/ 748 w 39647"/>
                <a:gd name="connsiteY0" fmla="*/ 24226 h 39475"/>
                <a:gd name="connsiteX1" fmla="*/ 24226 w 39647"/>
                <a:gd name="connsiteY1" fmla="*/ 38900 h 39475"/>
                <a:gd name="connsiteX2" fmla="*/ 38900 w 39647"/>
                <a:gd name="connsiteY2" fmla="*/ 15422 h 39475"/>
                <a:gd name="connsiteX3" fmla="*/ 15422 w 39647"/>
                <a:gd name="connsiteY3" fmla="*/ 748 h 39475"/>
                <a:gd name="connsiteX4" fmla="*/ 748 w 39647"/>
                <a:gd name="connsiteY4" fmla="*/ 24226 h 3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47" h="39475">
                  <a:moveTo>
                    <a:pt x="748" y="24226"/>
                  </a:moveTo>
                  <a:cubicBezTo>
                    <a:pt x="3682" y="33030"/>
                    <a:pt x="12487" y="41835"/>
                    <a:pt x="24226" y="38900"/>
                  </a:cubicBezTo>
                  <a:cubicBezTo>
                    <a:pt x="35965" y="35965"/>
                    <a:pt x="41835" y="27161"/>
                    <a:pt x="38900" y="15422"/>
                  </a:cubicBezTo>
                  <a:cubicBezTo>
                    <a:pt x="35965" y="3683"/>
                    <a:pt x="27161" y="-2187"/>
                    <a:pt x="15422" y="748"/>
                  </a:cubicBezTo>
                  <a:cubicBezTo>
                    <a:pt x="3682" y="3683"/>
                    <a:pt x="-2187" y="15422"/>
                    <a:pt x="748" y="24226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3AA8815C-5537-4FE6-8973-456292E5C73B}"/>
                </a:ext>
              </a:extLst>
            </p:cNvPr>
            <p:cNvSpPr/>
            <p:nvPr/>
          </p:nvSpPr>
          <p:spPr>
            <a:xfrm>
              <a:off x="12947599" y="2271585"/>
              <a:ext cx="39647" cy="39475"/>
            </a:xfrm>
            <a:custGeom>
              <a:avLst/>
              <a:gdLst>
                <a:gd name="connsiteX0" fmla="*/ 748 w 39647"/>
                <a:gd name="connsiteY0" fmla="*/ 24054 h 39475"/>
                <a:gd name="connsiteX1" fmla="*/ 24226 w 39647"/>
                <a:gd name="connsiteY1" fmla="*/ 38728 h 39475"/>
                <a:gd name="connsiteX2" fmla="*/ 38900 w 39647"/>
                <a:gd name="connsiteY2" fmla="*/ 15250 h 39475"/>
                <a:gd name="connsiteX3" fmla="*/ 15422 w 39647"/>
                <a:gd name="connsiteY3" fmla="*/ 576 h 39475"/>
                <a:gd name="connsiteX4" fmla="*/ 748 w 39647"/>
                <a:gd name="connsiteY4" fmla="*/ 24054 h 3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47" h="39475">
                  <a:moveTo>
                    <a:pt x="748" y="24054"/>
                  </a:moveTo>
                  <a:cubicBezTo>
                    <a:pt x="3682" y="35793"/>
                    <a:pt x="12487" y="41663"/>
                    <a:pt x="24226" y="38728"/>
                  </a:cubicBezTo>
                  <a:cubicBezTo>
                    <a:pt x="35965" y="35793"/>
                    <a:pt x="41835" y="26989"/>
                    <a:pt x="38900" y="15250"/>
                  </a:cubicBezTo>
                  <a:cubicBezTo>
                    <a:pt x="35965" y="6445"/>
                    <a:pt x="27161" y="-2359"/>
                    <a:pt x="15422" y="576"/>
                  </a:cubicBezTo>
                  <a:cubicBezTo>
                    <a:pt x="3682" y="3510"/>
                    <a:pt x="-2187" y="12315"/>
                    <a:pt x="748" y="24054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7DB0B69E-537D-4469-BD70-309223A14BAD}"/>
                </a:ext>
              </a:extLst>
            </p:cNvPr>
            <p:cNvSpPr/>
            <p:nvPr/>
          </p:nvSpPr>
          <p:spPr>
            <a:xfrm>
              <a:off x="13096804" y="2210530"/>
              <a:ext cx="88525" cy="29347"/>
            </a:xfrm>
            <a:custGeom>
              <a:avLst/>
              <a:gdLst>
                <a:gd name="connsiteX0" fmla="*/ 80455 w 88525"/>
                <a:gd name="connsiteY0" fmla="*/ 29348 h 29347"/>
                <a:gd name="connsiteX1" fmla="*/ 74585 w 88525"/>
                <a:gd name="connsiteY1" fmla="*/ 26413 h 29347"/>
                <a:gd name="connsiteX2" fmla="*/ 10020 w 88525"/>
                <a:gd name="connsiteY2" fmla="*/ 20543 h 29347"/>
                <a:gd name="connsiteX3" fmla="*/ 1215 w 88525"/>
                <a:gd name="connsiteY3" fmla="*/ 17609 h 29347"/>
                <a:gd name="connsiteX4" fmla="*/ 4150 w 88525"/>
                <a:gd name="connsiteY4" fmla="*/ 8804 h 29347"/>
                <a:gd name="connsiteX5" fmla="*/ 86325 w 88525"/>
                <a:gd name="connsiteY5" fmla="*/ 17609 h 29347"/>
                <a:gd name="connsiteX6" fmla="*/ 86325 w 88525"/>
                <a:gd name="connsiteY6" fmla="*/ 29348 h 29347"/>
                <a:gd name="connsiteX7" fmla="*/ 80455 w 88525"/>
                <a:gd name="connsiteY7" fmla="*/ 29348 h 2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29347">
                  <a:moveTo>
                    <a:pt x="80455" y="29348"/>
                  </a:moveTo>
                  <a:cubicBezTo>
                    <a:pt x="77520" y="29348"/>
                    <a:pt x="77520" y="29348"/>
                    <a:pt x="74585" y="26413"/>
                  </a:cubicBezTo>
                  <a:cubicBezTo>
                    <a:pt x="51107" y="0"/>
                    <a:pt x="12955" y="17609"/>
                    <a:pt x="10020" y="20543"/>
                  </a:cubicBezTo>
                  <a:cubicBezTo>
                    <a:pt x="7085" y="23478"/>
                    <a:pt x="1215" y="20543"/>
                    <a:pt x="1215" y="17609"/>
                  </a:cubicBezTo>
                  <a:cubicBezTo>
                    <a:pt x="-1719" y="14674"/>
                    <a:pt x="1215" y="8804"/>
                    <a:pt x="4150" y="8804"/>
                  </a:cubicBezTo>
                  <a:cubicBezTo>
                    <a:pt x="21759" y="0"/>
                    <a:pt x="59911" y="-8804"/>
                    <a:pt x="86325" y="17609"/>
                  </a:cubicBezTo>
                  <a:cubicBezTo>
                    <a:pt x="89259" y="20543"/>
                    <a:pt x="89259" y="26413"/>
                    <a:pt x="86325" y="29348"/>
                  </a:cubicBezTo>
                  <a:cubicBezTo>
                    <a:pt x="86325" y="29348"/>
                    <a:pt x="83390" y="29348"/>
                    <a:pt x="80455" y="29348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5700FAE7-A282-406A-A538-111C284A94D8}"/>
                </a:ext>
              </a:extLst>
            </p:cNvPr>
            <p:cNvSpPr/>
            <p:nvPr/>
          </p:nvSpPr>
          <p:spPr>
            <a:xfrm>
              <a:off x="12913863" y="2207894"/>
              <a:ext cx="88525" cy="34918"/>
            </a:xfrm>
            <a:custGeom>
              <a:avLst/>
              <a:gdLst>
                <a:gd name="connsiteX0" fmla="*/ 8070 w 88525"/>
                <a:gd name="connsiteY0" fmla="*/ 34919 h 34918"/>
                <a:gd name="connsiteX1" fmla="*/ 2201 w 88525"/>
                <a:gd name="connsiteY1" fmla="*/ 31984 h 34918"/>
                <a:gd name="connsiteX2" fmla="*/ 2201 w 88525"/>
                <a:gd name="connsiteY2" fmla="*/ 20245 h 34918"/>
                <a:gd name="connsiteX3" fmla="*/ 84375 w 88525"/>
                <a:gd name="connsiteY3" fmla="*/ 11441 h 34918"/>
                <a:gd name="connsiteX4" fmla="*/ 87310 w 88525"/>
                <a:gd name="connsiteY4" fmla="*/ 23180 h 34918"/>
                <a:gd name="connsiteX5" fmla="*/ 75571 w 88525"/>
                <a:gd name="connsiteY5" fmla="*/ 26114 h 34918"/>
                <a:gd name="connsiteX6" fmla="*/ 11005 w 88525"/>
                <a:gd name="connsiteY6" fmla="*/ 31984 h 34918"/>
                <a:gd name="connsiteX7" fmla="*/ 8070 w 88525"/>
                <a:gd name="connsiteY7" fmla="*/ 34919 h 3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4918">
                  <a:moveTo>
                    <a:pt x="8070" y="34919"/>
                  </a:moveTo>
                  <a:cubicBezTo>
                    <a:pt x="5136" y="34919"/>
                    <a:pt x="5136" y="34919"/>
                    <a:pt x="2201" y="31984"/>
                  </a:cubicBezTo>
                  <a:cubicBezTo>
                    <a:pt x="-734" y="29049"/>
                    <a:pt x="-734" y="23180"/>
                    <a:pt x="2201" y="20245"/>
                  </a:cubicBezTo>
                  <a:cubicBezTo>
                    <a:pt x="13940" y="5571"/>
                    <a:pt x="49158" y="-12038"/>
                    <a:pt x="84375" y="11441"/>
                  </a:cubicBezTo>
                  <a:cubicBezTo>
                    <a:pt x="87310" y="14375"/>
                    <a:pt x="90245" y="17310"/>
                    <a:pt x="87310" y="23180"/>
                  </a:cubicBezTo>
                  <a:cubicBezTo>
                    <a:pt x="84375" y="26114"/>
                    <a:pt x="81440" y="29049"/>
                    <a:pt x="75571" y="26114"/>
                  </a:cubicBezTo>
                  <a:cubicBezTo>
                    <a:pt x="40353" y="2636"/>
                    <a:pt x="13940" y="31984"/>
                    <a:pt x="11005" y="31984"/>
                  </a:cubicBezTo>
                  <a:cubicBezTo>
                    <a:pt x="11005" y="31984"/>
                    <a:pt x="11005" y="34919"/>
                    <a:pt x="8070" y="34919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6F7C6CE9-F0AD-434D-8E22-CD68AEAEF29D}"/>
                </a:ext>
              </a:extLst>
            </p:cNvPr>
            <p:cNvSpPr/>
            <p:nvPr/>
          </p:nvSpPr>
          <p:spPr>
            <a:xfrm>
              <a:off x="12779752" y="2270731"/>
              <a:ext cx="75986" cy="109784"/>
            </a:xfrm>
            <a:custGeom>
              <a:avLst/>
              <a:gdLst>
                <a:gd name="connsiteX0" fmla="*/ 62943 w 75986"/>
                <a:gd name="connsiteY0" fmla="*/ 16103 h 109784"/>
                <a:gd name="connsiteX1" fmla="*/ 7182 w 75986"/>
                <a:gd name="connsiteY1" fmla="*/ 7299 h 109784"/>
                <a:gd name="connsiteX2" fmla="*/ 62943 w 75986"/>
                <a:gd name="connsiteY2" fmla="*/ 107081 h 109784"/>
                <a:gd name="connsiteX3" fmla="*/ 62943 w 75986"/>
                <a:gd name="connsiteY3" fmla="*/ 16103 h 109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86" h="109784">
                  <a:moveTo>
                    <a:pt x="62943" y="16103"/>
                  </a:moveTo>
                  <a:cubicBezTo>
                    <a:pt x="62943" y="16103"/>
                    <a:pt x="30660" y="-13245"/>
                    <a:pt x="7182" y="7299"/>
                  </a:cubicBezTo>
                  <a:cubicBezTo>
                    <a:pt x="-16297" y="24907"/>
                    <a:pt x="21856" y="127625"/>
                    <a:pt x="62943" y="107081"/>
                  </a:cubicBezTo>
                  <a:cubicBezTo>
                    <a:pt x="92290" y="86538"/>
                    <a:pt x="62943" y="16103"/>
                    <a:pt x="62943" y="16103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5DFE2094-431B-4984-A008-3D9DDF4EE749}"/>
                </a:ext>
              </a:extLst>
            </p:cNvPr>
            <p:cNvSpPr/>
            <p:nvPr/>
          </p:nvSpPr>
          <p:spPr>
            <a:xfrm>
              <a:off x="12782117" y="1912233"/>
              <a:ext cx="498378" cy="389275"/>
            </a:xfrm>
            <a:custGeom>
              <a:avLst/>
              <a:gdLst>
                <a:gd name="connsiteX0" fmla="*/ 4816 w 498378"/>
                <a:gd name="connsiteY0" fmla="*/ 292428 h 389275"/>
                <a:gd name="connsiteX1" fmla="*/ 60577 w 498378"/>
                <a:gd name="connsiteY1" fmla="*/ 389275 h 389275"/>
                <a:gd name="connsiteX2" fmla="*/ 110468 w 498378"/>
                <a:gd name="connsiteY2" fmla="*/ 254275 h 389275"/>
                <a:gd name="connsiteX3" fmla="*/ 119272 w 498378"/>
                <a:gd name="connsiteY3" fmla="*/ 251341 h 389275"/>
                <a:gd name="connsiteX4" fmla="*/ 192642 w 498378"/>
                <a:gd name="connsiteY4" fmla="*/ 224928 h 389275"/>
                <a:gd name="connsiteX5" fmla="*/ 204381 w 498378"/>
                <a:gd name="connsiteY5" fmla="*/ 221993 h 389275"/>
                <a:gd name="connsiteX6" fmla="*/ 239599 w 498378"/>
                <a:gd name="connsiteY6" fmla="*/ 242536 h 389275"/>
                <a:gd name="connsiteX7" fmla="*/ 254273 w 498378"/>
                <a:gd name="connsiteY7" fmla="*/ 233732 h 389275"/>
                <a:gd name="connsiteX8" fmla="*/ 304163 w 498378"/>
                <a:gd name="connsiteY8" fmla="*/ 248406 h 389275"/>
                <a:gd name="connsiteX9" fmla="*/ 339381 w 498378"/>
                <a:gd name="connsiteY9" fmla="*/ 257210 h 389275"/>
                <a:gd name="connsiteX10" fmla="*/ 351120 w 498378"/>
                <a:gd name="connsiteY10" fmla="*/ 257210 h 389275"/>
                <a:gd name="connsiteX11" fmla="*/ 362859 w 498378"/>
                <a:gd name="connsiteY11" fmla="*/ 254275 h 389275"/>
                <a:gd name="connsiteX12" fmla="*/ 371664 w 498378"/>
                <a:gd name="connsiteY12" fmla="*/ 260145 h 389275"/>
                <a:gd name="connsiteX13" fmla="*/ 377533 w 498378"/>
                <a:gd name="connsiteY13" fmla="*/ 263080 h 389275"/>
                <a:gd name="connsiteX14" fmla="*/ 383403 w 498378"/>
                <a:gd name="connsiteY14" fmla="*/ 263080 h 389275"/>
                <a:gd name="connsiteX15" fmla="*/ 389272 w 498378"/>
                <a:gd name="connsiteY15" fmla="*/ 266015 h 389275"/>
                <a:gd name="connsiteX16" fmla="*/ 395142 w 498378"/>
                <a:gd name="connsiteY16" fmla="*/ 274819 h 389275"/>
                <a:gd name="connsiteX17" fmla="*/ 412751 w 498378"/>
                <a:gd name="connsiteY17" fmla="*/ 295362 h 389275"/>
                <a:gd name="connsiteX18" fmla="*/ 442099 w 498378"/>
                <a:gd name="connsiteY18" fmla="*/ 307101 h 389275"/>
                <a:gd name="connsiteX19" fmla="*/ 459707 w 498378"/>
                <a:gd name="connsiteY19" fmla="*/ 359928 h 389275"/>
                <a:gd name="connsiteX20" fmla="*/ 468511 w 498378"/>
                <a:gd name="connsiteY20" fmla="*/ 330580 h 389275"/>
                <a:gd name="connsiteX21" fmla="*/ 477315 w 498378"/>
                <a:gd name="connsiteY21" fmla="*/ 327645 h 389275"/>
                <a:gd name="connsiteX22" fmla="*/ 494924 w 498378"/>
                <a:gd name="connsiteY22" fmla="*/ 233732 h 389275"/>
                <a:gd name="connsiteX23" fmla="*/ 477315 w 498378"/>
                <a:gd name="connsiteY23" fmla="*/ 192645 h 389275"/>
                <a:gd name="connsiteX24" fmla="*/ 480250 w 498378"/>
                <a:gd name="connsiteY24" fmla="*/ 160362 h 389275"/>
                <a:gd name="connsiteX25" fmla="*/ 474381 w 498378"/>
                <a:gd name="connsiteY25" fmla="*/ 125145 h 389275"/>
                <a:gd name="connsiteX26" fmla="*/ 456772 w 498378"/>
                <a:gd name="connsiteY26" fmla="*/ 98732 h 389275"/>
                <a:gd name="connsiteX27" fmla="*/ 442099 w 498378"/>
                <a:gd name="connsiteY27" fmla="*/ 57645 h 389275"/>
                <a:gd name="connsiteX28" fmla="*/ 383403 w 498378"/>
                <a:gd name="connsiteY28" fmla="*/ 37101 h 389275"/>
                <a:gd name="connsiteX29" fmla="*/ 263077 w 498378"/>
                <a:gd name="connsiteY29" fmla="*/ 1884 h 389275"/>
                <a:gd name="connsiteX30" fmla="*/ 251338 w 498378"/>
                <a:gd name="connsiteY30" fmla="*/ 7754 h 389275"/>
                <a:gd name="connsiteX31" fmla="*/ 198511 w 498378"/>
                <a:gd name="connsiteY31" fmla="*/ 22428 h 389275"/>
                <a:gd name="connsiteX32" fmla="*/ 166229 w 498378"/>
                <a:gd name="connsiteY32" fmla="*/ 25362 h 389275"/>
                <a:gd name="connsiteX33" fmla="*/ 136881 w 498378"/>
                <a:gd name="connsiteY33" fmla="*/ 57645 h 389275"/>
                <a:gd name="connsiteX34" fmla="*/ 125141 w 498378"/>
                <a:gd name="connsiteY34" fmla="*/ 75254 h 389275"/>
                <a:gd name="connsiteX35" fmla="*/ 95794 w 498378"/>
                <a:gd name="connsiteY35" fmla="*/ 95797 h 389275"/>
                <a:gd name="connsiteX36" fmla="*/ 84055 w 498378"/>
                <a:gd name="connsiteY36" fmla="*/ 92862 h 389275"/>
                <a:gd name="connsiteX37" fmla="*/ 66446 w 498378"/>
                <a:gd name="connsiteY37" fmla="*/ 131014 h 389275"/>
                <a:gd name="connsiteX38" fmla="*/ 4816 w 498378"/>
                <a:gd name="connsiteY38" fmla="*/ 292428 h 38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98378" h="389275">
                  <a:moveTo>
                    <a:pt x="4816" y="292428"/>
                  </a:moveTo>
                  <a:cubicBezTo>
                    <a:pt x="19490" y="345254"/>
                    <a:pt x="60577" y="389275"/>
                    <a:pt x="60577" y="389275"/>
                  </a:cubicBezTo>
                  <a:cubicBezTo>
                    <a:pt x="54707" y="359928"/>
                    <a:pt x="110468" y="254275"/>
                    <a:pt x="110468" y="254275"/>
                  </a:cubicBezTo>
                  <a:cubicBezTo>
                    <a:pt x="110468" y="254275"/>
                    <a:pt x="113403" y="254275"/>
                    <a:pt x="119272" y="251341"/>
                  </a:cubicBezTo>
                  <a:cubicBezTo>
                    <a:pt x="145685" y="251341"/>
                    <a:pt x="172098" y="242536"/>
                    <a:pt x="192642" y="224928"/>
                  </a:cubicBezTo>
                  <a:cubicBezTo>
                    <a:pt x="195577" y="224928"/>
                    <a:pt x="201446" y="221993"/>
                    <a:pt x="204381" y="221993"/>
                  </a:cubicBezTo>
                  <a:cubicBezTo>
                    <a:pt x="213185" y="233732"/>
                    <a:pt x="221990" y="245471"/>
                    <a:pt x="239599" y="242536"/>
                  </a:cubicBezTo>
                  <a:cubicBezTo>
                    <a:pt x="248403" y="242536"/>
                    <a:pt x="251338" y="233732"/>
                    <a:pt x="254273" y="233732"/>
                  </a:cubicBezTo>
                  <a:cubicBezTo>
                    <a:pt x="274816" y="224928"/>
                    <a:pt x="286555" y="239601"/>
                    <a:pt x="304163" y="248406"/>
                  </a:cubicBezTo>
                  <a:cubicBezTo>
                    <a:pt x="315902" y="254275"/>
                    <a:pt x="327642" y="257210"/>
                    <a:pt x="339381" y="257210"/>
                  </a:cubicBezTo>
                  <a:cubicBezTo>
                    <a:pt x="342316" y="257210"/>
                    <a:pt x="348185" y="254275"/>
                    <a:pt x="351120" y="257210"/>
                  </a:cubicBezTo>
                  <a:cubicBezTo>
                    <a:pt x="356990" y="254275"/>
                    <a:pt x="359924" y="254275"/>
                    <a:pt x="362859" y="254275"/>
                  </a:cubicBezTo>
                  <a:cubicBezTo>
                    <a:pt x="365794" y="257210"/>
                    <a:pt x="368729" y="257210"/>
                    <a:pt x="371664" y="260145"/>
                  </a:cubicBezTo>
                  <a:cubicBezTo>
                    <a:pt x="374598" y="260145"/>
                    <a:pt x="374598" y="263080"/>
                    <a:pt x="377533" y="263080"/>
                  </a:cubicBezTo>
                  <a:cubicBezTo>
                    <a:pt x="380468" y="263080"/>
                    <a:pt x="380468" y="263080"/>
                    <a:pt x="383403" y="263080"/>
                  </a:cubicBezTo>
                  <a:cubicBezTo>
                    <a:pt x="386338" y="263080"/>
                    <a:pt x="389272" y="266015"/>
                    <a:pt x="389272" y="266015"/>
                  </a:cubicBezTo>
                  <a:cubicBezTo>
                    <a:pt x="392207" y="268949"/>
                    <a:pt x="395142" y="271884"/>
                    <a:pt x="395142" y="274819"/>
                  </a:cubicBezTo>
                  <a:cubicBezTo>
                    <a:pt x="401012" y="283623"/>
                    <a:pt x="403946" y="289493"/>
                    <a:pt x="412751" y="295362"/>
                  </a:cubicBezTo>
                  <a:cubicBezTo>
                    <a:pt x="418620" y="301232"/>
                    <a:pt x="430360" y="301232"/>
                    <a:pt x="442099" y="307101"/>
                  </a:cubicBezTo>
                  <a:cubicBezTo>
                    <a:pt x="456772" y="324710"/>
                    <a:pt x="462642" y="342319"/>
                    <a:pt x="459707" y="359928"/>
                  </a:cubicBezTo>
                  <a:cubicBezTo>
                    <a:pt x="459707" y="359928"/>
                    <a:pt x="462642" y="348188"/>
                    <a:pt x="468511" y="330580"/>
                  </a:cubicBezTo>
                  <a:cubicBezTo>
                    <a:pt x="471446" y="333514"/>
                    <a:pt x="474381" y="333514"/>
                    <a:pt x="477315" y="327645"/>
                  </a:cubicBezTo>
                  <a:cubicBezTo>
                    <a:pt x="494924" y="298297"/>
                    <a:pt x="503729" y="266015"/>
                    <a:pt x="494924" y="233732"/>
                  </a:cubicBezTo>
                  <a:cubicBezTo>
                    <a:pt x="491989" y="219058"/>
                    <a:pt x="483185" y="207319"/>
                    <a:pt x="477315" y="192645"/>
                  </a:cubicBezTo>
                  <a:cubicBezTo>
                    <a:pt x="468511" y="175036"/>
                    <a:pt x="477315" y="175036"/>
                    <a:pt x="480250" y="160362"/>
                  </a:cubicBezTo>
                  <a:cubicBezTo>
                    <a:pt x="483185" y="148623"/>
                    <a:pt x="477315" y="136884"/>
                    <a:pt x="474381" y="125145"/>
                  </a:cubicBezTo>
                  <a:cubicBezTo>
                    <a:pt x="468511" y="116341"/>
                    <a:pt x="462642" y="107536"/>
                    <a:pt x="456772" y="98732"/>
                  </a:cubicBezTo>
                  <a:cubicBezTo>
                    <a:pt x="445034" y="84058"/>
                    <a:pt x="447968" y="72319"/>
                    <a:pt x="442099" y="57645"/>
                  </a:cubicBezTo>
                  <a:cubicBezTo>
                    <a:pt x="430360" y="31232"/>
                    <a:pt x="406881" y="37101"/>
                    <a:pt x="383403" y="37101"/>
                  </a:cubicBezTo>
                  <a:cubicBezTo>
                    <a:pt x="342316" y="37101"/>
                    <a:pt x="307098" y="-9855"/>
                    <a:pt x="263077" y="1884"/>
                  </a:cubicBezTo>
                  <a:cubicBezTo>
                    <a:pt x="257207" y="1884"/>
                    <a:pt x="254273" y="4819"/>
                    <a:pt x="251338" y="7754"/>
                  </a:cubicBezTo>
                  <a:cubicBezTo>
                    <a:pt x="233729" y="16558"/>
                    <a:pt x="216120" y="22428"/>
                    <a:pt x="198511" y="22428"/>
                  </a:cubicBezTo>
                  <a:cubicBezTo>
                    <a:pt x="186772" y="22428"/>
                    <a:pt x="177968" y="19493"/>
                    <a:pt x="166229" y="25362"/>
                  </a:cubicBezTo>
                  <a:cubicBezTo>
                    <a:pt x="151555" y="31232"/>
                    <a:pt x="145685" y="45906"/>
                    <a:pt x="136881" y="57645"/>
                  </a:cubicBezTo>
                  <a:cubicBezTo>
                    <a:pt x="133946" y="63514"/>
                    <a:pt x="128076" y="69384"/>
                    <a:pt x="125141" y="75254"/>
                  </a:cubicBezTo>
                  <a:cubicBezTo>
                    <a:pt x="113403" y="81123"/>
                    <a:pt x="104599" y="89928"/>
                    <a:pt x="95794" y="95797"/>
                  </a:cubicBezTo>
                  <a:cubicBezTo>
                    <a:pt x="95794" y="92862"/>
                    <a:pt x="98729" y="81123"/>
                    <a:pt x="84055" y="92862"/>
                  </a:cubicBezTo>
                  <a:cubicBezTo>
                    <a:pt x="69381" y="101667"/>
                    <a:pt x="66446" y="116341"/>
                    <a:pt x="66446" y="131014"/>
                  </a:cubicBezTo>
                  <a:cubicBezTo>
                    <a:pt x="-1054" y="154493"/>
                    <a:pt x="-6924" y="239601"/>
                    <a:pt x="4816" y="292428"/>
                  </a:cubicBezTo>
                  <a:close/>
                </a:path>
              </a:pathLst>
            </a:custGeom>
            <a:solidFill>
              <a:srgbClr val="F1DDBA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6D397335-1E80-49C0-86CB-47A6D9A16293}"/>
                </a:ext>
              </a:extLst>
            </p:cNvPr>
            <p:cNvSpPr/>
            <p:nvPr/>
          </p:nvSpPr>
          <p:spPr>
            <a:xfrm>
              <a:off x="12827286" y="2062575"/>
              <a:ext cx="65298" cy="230128"/>
            </a:xfrm>
            <a:custGeom>
              <a:avLst/>
              <a:gdLst>
                <a:gd name="connsiteX0" fmla="*/ 15408 w 65298"/>
                <a:gd name="connsiteY0" fmla="*/ 230129 h 230128"/>
                <a:gd name="connsiteX1" fmla="*/ 15408 w 65298"/>
                <a:gd name="connsiteY1" fmla="*/ 230129 h 230128"/>
                <a:gd name="connsiteX2" fmla="*/ 9538 w 65298"/>
                <a:gd name="connsiteY2" fmla="*/ 224259 h 230128"/>
                <a:gd name="connsiteX3" fmla="*/ 53560 w 65298"/>
                <a:gd name="connsiteY3" fmla="*/ 109803 h 230128"/>
                <a:gd name="connsiteX4" fmla="*/ 6603 w 65298"/>
                <a:gd name="connsiteY4" fmla="*/ 68716 h 230128"/>
                <a:gd name="connsiteX5" fmla="*/ 6603 w 65298"/>
                <a:gd name="connsiteY5" fmla="*/ 4150 h 230128"/>
                <a:gd name="connsiteX6" fmla="*/ 12473 w 65298"/>
                <a:gd name="connsiteY6" fmla="*/ 1216 h 230128"/>
                <a:gd name="connsiteX7" fmla="*/ 15408 w 65298"/>
                <a:gd name="connsiteY7" fmla="*/ 7085 h 230128"/>
                <a:gd name="connsiteX8" fmla="*/ 15408 w 65298"/>
                <a:gd name="connsiteY8" fmla="*/ 62846 h 230128"/>
                <a:gd name="connsiteX9" fmla="*/ 62365 w 65298"/>
                <a:gd name="connsiteY9" fmla="*/ 100998 h 230128"/>
                <a:gd name="connsiteX10" fmla="*/ 65299 w 65298"/>
                <a:gd name="connsiteY10" fmla="*/ 103933 h 230128"/>
                <a:gd name="connsiteX11" fmla="*/ 65299 w 65298"/>
                <a:gd name="connsiteY11" fmla="*/ 109803 h 230128"/>
                <a:gd name="connsiteX12" fmla="*/ 18343 w 65298"/>
                <a:gd name="connsiteY12" fmla="*/ 227194 h 230128"/>
                <a:gd name="connsiteX13" fmla="*/ 15408 w 65298"/>
                <a:gd name="connsiteY13" fmla="*/ 230129 h 230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98" h="230128">
                  <a:moveTo>
                    <a:pt x="15408" y="230129"/>
                  </a:moveTo>
                  <a:cubicBezTo>
                    <a:pt x="15408" y="230129"/>
                    <a:pt x="15408" y="230129"/>
                    <a:pt x="15408" y="230129"/>
                  </a:cubicBezTo>
                  <a:cubicBezTo>
                    <a:pt x="12473" y="230129"/>
                    <a:pt x="9538" y="227194"/>
                    <a:pt x="9538" y="224259"/>
                  </a:cubicBezTo>
                  <a:cubicBezTo>
                    <a:pt x="15408" y="174368"/>
                    <a:pt x="41821" y="124476"/>
                    <a:pt x="53560" y="109803"/>
                  </a:cubicBezTo>
                  <a:cubicBezTo>
                    <a:pt x="41821" y="103933"/>
                    <a:pt x="18343" y="92194"/>
                    <a:pt x="6603" y="68716"/>
                  </a:cubicBezTo>
                  <a:cubicBezTo>
                    <a:pt x="-2201" y="51107"/>
                    <a:pt x="-2201" y="27629"/>
                    <a:pt x="6603" y="4150"/>
                  </a:cubicBezTo>
                  <a:cubicBezTo>
                    <a:pt x="6603" y="1216"/>
                    <a:pt x="9538" y="-1719"/>
                    <a:pt x="12473" y="1216"/>
                  </a:cubicBezTo>
                  <a:cubicBezTo>
                    <a:pt x="15408" y="1216"/>
                    <a:pt x="18343" y="4150"/>
                    <a:pt x="15408" y="7085"/>
                  </a:cubicBezTo>
                  <a:cubicBezTo>
                    <a:pt x="6603" y="27629"/>
                    <a:pt x="9538" y="45237"/>
                    <a:pt x="15408" y="62846"/>
                  </a:cubicBezTo>
                  <a:cubicBezTo>
                    <a:pt x="30082" y="89259"/>
                    <a:pt x="62365" y="100998"/>
                    <a:pt x="62365" y="100998"/>
                  </a:cubicBezTo>
                  <a:cubicBezTo>
                    <a:pt x="65299" y="100998"/>
                    <a:pt x="65299" y="103933"/>
                    <a:pt x="65299" y="103933"/>
                  </a:cubicBezTo>
                  <a:cubicBezTo>
                    <a:pt x="65299" y="106868"/>
                    <a:pt x="65299" y="106868"/>
                    <a:pt x="65299" y="109803"/>
                  </a:cubicBezTo>
                  <a:cubicBezTo>
                    <a:pt x="65299" y="109803"/>
                    <a:pt x="24212" y="165563"/>
                    <a:pt x="18343" y="227194"/>
                  </a:cubicBezTo>
                  <a:cubicBezTo>
                    <a:pt x="21277" y="227194"/>
                    <a:pt x="18343" y="230129"/>
                    <a:pt x="15408" y="230129"/>
                  </a:cubicBez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30E7CD69-072B-420B-AC9F-0ED19A919511}"/>
                </a:ext>
              </a:extLst>
            </p:cNvPr>
            <p:cNvSpPr/>
            <p:nvPr/>
          </p:nvSpPr>
          <p:spPr>
            <a:xfrm>
              <a:off x="12984297" y="2463655"/>
              <a:ext cx="110788" cy="34483"/>
            </a:xfrm>
            <a:custGeom>
              <a:avLst/>
              <a:gdLst>
                <a:gd name="connsiteX0" fmla="*/ 75571 w 110788"/>
                <a:gd name="connsiteY0" fmla="*/ 34484 h 34483"/>
                <a:gd name="connsiteX1" fmla="*/ 2201 w 110788"/>
                <a:gd name="connsiteY1" fmla="*/ 11005 h 34483"/>
                <a:gd name="connsiteX2" fmla="*/ 2201 w 110788"/>
                <a:gd name="connsiteY2" fmla="*/ 2201 h 34483"/>
                <a:gd name="connsiteX3" fmla="*/ 11005 w 110788"/>
                <a:gd name="connsiteY3" fmla="*/ 2201 h 34483"/>
                <a:gd name="connsiteX4" fmla="*/ 104919 w 110788"/>
                <a:gd name="connsiteY4" fmla="*/ 19810 h 34483"/>
                <a:gd name="connsiteX5" fmla="*/ 110789 w 110788"/>
                <a:gd name="connsiteY5" fmla="*/ 22745 h 34483"/>
                <a:gd name="connsiteX6" fmla="*/ 107854 w 110788"/>
                <a:gd name="connsiteY6" fmla="*/ 28614 h 34483"/>
                <a:gd name="connsiteX7" fmla="*/ 75571 w 110788"/>
                <a:gd name="connsiteY7" fmla="*/ 34484 h 34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788" h="34483">
                  <a:moveTo>
                    <a:pt x="75571" y="34484"/>
                  </a:moveTo>
                  <a:cubicBezTo>
                    <a:pt x="52093" y="34484"/>
                    <a:pt x="22745" y="28614"/>
                    <a:pt x="2201" y="11005"/>
                  </a:cubicBezTo>
                  <a:cubicBezTo>
                    <a:pt x="-734" y="8071"/>
                    <a:pt x="-734" y="5136"/>
                    <a:pt x="2201" y="2201"/>
                  </a:cubicBezTo>
                  <a:cubicBezTo>
                    <a:pt x="5136" y="-734"/>
                    <a:pt x="8071" y="-734"/>
                    <a:pt x="11005" y="2201"/>
                  </a:cubicBezTo>
                  <a:cubicBezTo>
                    <a:pt x="43288" y="34484"/>
                    <a:pt x="104919" y="19810"/>
                    <a:pt x="104919" y="19810"/>
                  </a:cubicBezTo>
                  <a:cubicBezTo>
                    <a:pt x="107854" y="19810"/>
                    <a:pt x="110789" y="19810"/>
                    <a:pt x="110789" y="22745"/>
                  </a:cubicBezTo>
                  <a:cubicBezTo>
                    <a:pt x="110789" y="25679"/>
                    <a:pt x="110789" y="28614"/>
                    <a:pt x="107854" y="28614"/>
                  </a:cubicBezTo>
                  <a:cubicBezTo>
                    <a:pt x="107854" y="31549"/>
                    <a:pt x="93180" y="34484"/>
                    <a:pt x="75571" y="34484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907566BD-215E-4464-B2B7-FEB7006EFD8D}"/>
                </a:ext>
              </a:extLst>
            </p:cNvPr>
            <p:cNvSpPr/>
            <p:nvPr/>
          </p:nvSpPr>
          <p:spPr>
            <a:xfrm>
              <a:off x="12895520" y="2483465"/>
              <a:ext cx="240652" cy="248585"/>
            </a:xfrm>
            <a:custGeom>
              <a:avLst/>
              <a:gdLst>
                <a:gd name="connsiteX0" fmla="*/ 240653 w 240652"/>
                <a:gd name="connsiteY0" fmla="*/ 38152 h 248585"/>
                <a:gd name="connsiteX1" fmla="*/ 234783 w 240652"/>
                <a:gd name="connsiteY1" fmla="*/ 205435 h 248585"/>
                <a:gd name="connsiteX2" fmla="*/ 0 w 240652"/>
                <a:gd name="connsiteY2" fmla="*/ 196630 h 248585"/>
                <a:gd name="connsiteX3" fmla="*/ 14674 w 240652"/>
                <a:gd name="connsiteY3" fmla="*/ 0 h 248585"/>
                <a:gd name="connsiteX4" fmla="*/ 240653 w 240652"/>
                <a:gd name="connsiteY4" fmla="*/ 38152 h 248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652" h="248585">
                  <a:moveTo>
                    <a:pt x="240653" y="38152"/>
                  </a:moveTo>
                  <a:cubicBezTo>
                    <a:pt x="240653" y="38152"/>
                    <a:pt x="234783" y="135000"/>
                    <a:pt x="234783" y="205435"/>
                  </a:cubicBezTo>
                  <a:cubicBezTo>
                    <a:pt x="234783" y="205435"/>
                    <a:pt x="143804" y="308152"/>
                    <a:pt x="0" y="196630"/>
                  </a:cubicBezTo>
                  <a:cubicBezTo>
                    <a:pt x="0" y="137935"/>
                    <a:pt x="11739" y="61630"/>
                    <a:pt x="14674" y="0"/>
                  </a:cubicBezTo>
                  <a:cubicBezTo>
                    <a:pt x="11739" y="0"/>
                    <a:pt x="187826" y="49891"/>
                    <a:pt x="240653" y="38152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812D0888-8C81-441C-8C12-964F772C59CC}"/>
                </a:ext>
              </a:extLst>
            </p:cNvPr>
            <p:cNvSpPr/>
            <p:nvPr/>
          </p:nvSpPr>
          <p:spPr>
            <a:xfrm>
              <a:off x="12496389" y="2641943"/>
              <a:ext cx="1030895" cy="1508301"/>
            </a:xfrm>
            <a:custGeom>
              <a:avLst/>
              <a:gdLst>
                <a:gd name="connsiteX0" fmla="*/ 381522 w 1030895"/>
                <a:gd name="connsiteY0" fmla="*/ 0 h 1508301"/>
                <a:gd name="connsiteX1" fmla="*/ 660326 w 1030895"/>
                <a:gd name="connsiteY1" fmla="*/ 0 h 1508301"/>
                <a:gd name="connsiteX2" fmla="*/ 947935 w 1030895"/>
                <a:gd name="connsiteY2" fmla="*/ 126196 h 1508301"/>
                <a:gd name="connsiteX3" fmla="*/ 1030109 w 1030895"/>
                <a:gd name="connsiteY3" fmla="*/ 1479131 h 1508301"/>
                <a:gd name="connsiteX4" fmla="*/ 0 w 1030895"/>
                <a:gd name="connsiteY4" fmla="*/ 1455652 h 1508301"/>
                <a:gd name="connsiteX5" fmla="*/ 111522 w 1030895"/>
                <a:gd name="connsiteY5" fmla="*/ 99783 h 1508301"/>
                <a:gd name="connsiteX6" fmla="*/ 381522 w 1030895"/>
                <a:gd name="connsiteY6" fmla="*/ 0 h 1508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0895" h="1508301">
                  <a:moveTo>
                    <a:pt x="381522" y="0"/>
                  </a:moveTo>
                  <a:cubicBezTo>
                    <a:pt x="381522" y="0"/>
                    <a:pt x="548805" y="52826"/>
                    <a:pt x="660326" y="0"/>
                  </a:cubicBezTo>
                  <a:cubicBezTo>
                    <a:pt x="660326" y="0"/>
                    <a:pt x="924457" y="93913"/>
                    <a:pt x="947935" y="126196"/>
                  </a:cubicBezTo>
                  <a:cubicBezTo>
                    <a:pt x="971413" y="155543"/>
                    <a:pt x="1038914" y="1414565"/>
                    <a:pt x="1030109" y="1479131"/>
                  </a:cubicBezTo>
                  <a:cubicBezTo>
                    <a:pt x="1030109" y="1479131"/>
                    <a:pt x="557609" y="1558370"/>
                    <a:pt x="0" y="1455652"/>
                  </a:cubicBezTo>
                  <a:cubicBezTo>
                    <a:pt x="0" y="1112283"/>
                    <a:pt x="70436" y="129130"/>
                    <a:pt x="111522" y="99783"/>
                  </a:cubicBezTo>
                  <a:cubicBezTo>
                    <a:pt x="149674" y="67500"/>
                    <a:pt x="381522" y="0"/>
                    <a:pt x="381522" y="0"/>
                  </a:cubicBezTo>
                  <a:close/>
                </a:path>
              </a:pathLst>
            </a:custGeom>
            <a:solidFill>
              <a:srgbClr val="F1DDBA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A6D487EE-518D-4E17-A8DB-19FB28D2C32C}"/>
                </a:ext>
              </a:extLst>
            </p:cNvPr>
            <p:cNvSpPr/>
            <p:nvPr/>
          </p:nvSpPr>
          <p:spPr>
            <a:xfrm>
              <a:off x="12874977" y="2641943"/>
              <a:ext cx="173151" cy="114456"/>
            </a:xfrm>
            <a:custGeom>
              <a:avLst/>
              <a:gdLst>
                <a:gd name="connsiteX0" fmla="*/ 173152 w 173151"/>
                <a:gd name="connsiteY0" fmla="*/ 20543 h 114456"/>
                <a:gd name="connsiteX1" fmla="*/ 146739 w 173151"/>
                <a:gd name="connsiteY1" fmla="*/ 114456 h 114456"/>
                <a:gd name="connsiteX2" fmla="*/ 0 w 173151"/>
                <a:gd name="connsiteY2" fmla="*/ 0 h 114456"/>
                <a:gd name="connsiteX3" fmla="*/ 173152 w 173151"/>
                <a:gd name="connsiteY3" fmla="*/ 20543 h 114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151" h="114456">
                  <a:moveTo>
                    <a:pt x="173152" y="20543"/>
                  </a:moveTo>
                  <a:lnTo>
                    <a:pt x="146739" y="114456"/>
                  </a:lnTo>
                  <a:lnTo>
                    <a:pt x="0" y="0"/>
                  </a:lnTo>
                  <a:cubicBezTo>
                    <a:pt x="2934" y="0"/>
                    <a:pt x="132065" y="20543"/>
                    <a:pt x="173152" y="20543"/>
                  </a:cubicBezTo>
                  <a:close/>
                </a:path>
              </a:pathLst>
            </a:custGeom>
            <a:solidFill>
              <a:srgbClr val="FFFFFF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3CF64E5C-F5B0-4363-8DB7-D2D202C1F83A}"/>
                </a:ext>
              </a:extLst>
            </p:cNvPr>
            <p:cNvSpPr/>
            <p:nvPr/>
          </p:nvSpPr>
          <p:spPr>
            <a:xfrm>
              <a:off x="13048129" y="2641943"/>
              <a:ext cx="105652" cy="111521"/>
            </a:xfrm>
            <a:custGeom>
              <a:avLst/>
              <a:gdLst>
                <a:gd name="connsiteX0" fmla="*/ 0 w 105652"/>
                <a:gd name="connsiteY0" fmla="*/ 20543 h 111521"/>
                <a:gd name="connsiteX1" fmla="*/ 35217 w 105652"/>
                <a:gd name="connsiteY1" fmla="*/ 111522 h 111521"/>
                <a:gd name="connsiteX2" fmla="*/ 105652 w 105652"/>
                <a:gd name="connsiteY2" fmla="*/ 0 h 111521"/>
                <a:gd name="connsiteX3" fmla="*/ 0 w 105652"/>
                <a:gd name="connsiteY3" fmla="*/ 20543 h 11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652" h="111521">
                  <a:moveTo>
                    <a:pt x="0" y="20543"/>
                  </a:moveTo>
                  <a:lnTo>
                    <a:pt x="35217" y="111522"/>
                  </a:lnTo>
                  <a:lnTo>
                    <a:pt x="105652" y="0"/>
                  </a:lnTo>
                  <a:cubicBezTo>
                    <a:pt x="105652" y="0"/>
                    <a:pt x="38152" y="20543"/>
                    <a:pt x="0" y="20543"/>
                  </a:cubicBezTo>
                  <a:close/>
                </a:path>
              </a:pathLst>
            </a:custGeom>
            <a:solidFill>
              <a:srgbClr val="FFFFFF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2C1048A2-571C-46CB-865A-E1672F003317}"/>
                </a:ext>
              </a:extLst>
            </p:cNvPr>
            <p:cNvSpPr/>
            <p:nvPr/>
          </p:nvSpPr>
          <p:spPr>
            <a:xfrm>
              <a:off x="12449434" y="2641943"/>
              <a:ext cx="500256" cy="1529021"/>
            </a:xfrm>
            <a:custGeom>
              <a:avLst/>
              <a:gdLst>
                <a:gd name="connsiteX0" fmla="*/ 428478 w 500256"/>
                <a:gd name="connsiteY0" fmla="*/ 0 h 1529021"/>
                <a:gd name="connsiteX1" fmla="*/ 123260 w 500256"/>
                <a:gd name="connsiteY1" fmla="*/ 90978 h 1529021"/>
                <a:gd name="connsiteX2" fmla="*/ 0 w 500256"/>
                <a:gd name="connsiteY2" fmla="*/ 1467391 h 1529021"/>
                <a:gd name="connsiteX3" fmla="*/ 475434 w 500256"/>
                <a:gd name="connsiteY3" fmla="*/ 1529022 h 1529021"/>
                <a:gd name="connsiteX4" fmla="*/ 428478 w 500256"/>
                <a:gd name="connsiteY4" fmla="*/ 0 h 1529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0256" h="1529021">
                  <a:moveTo>
                    <a:pt x="428478" y="0"/>
                  </a:moveTo>
                  <a:cubicBezTo>
                    <a:pt x="428478" y="0"/>
                    <a:pt x="184891" y="76304"/>
                    <a:pt x="123260" y="90978"/>
                  </a:cubicBezTo>
                  <a:cubicBezTo>
                    <a:pt x="61630" y="105652"/>
                    <a:pt x="0" y="1467391"/>
                    <a:pt x="0" y="1467391"/>
                  </a:cubicBezTo>
                  <a:cubicBezTo>
                    <a:pt x="0" y="1467391"/>
                    <a:pt x="352174" y="1523152"/>
                    <a:pt x="475434" y="1529022"/>
                  </a:cubicBezTo>
                  <a:cubicBezTo>
                    <a:pt x="472499" y="1529022"/>
                    <a:pt x="557609" y="440217"/>
                    <a:pt x="428478" y="0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8542E279-52FB-4D22-A8FD-3AED57724A76}"/>
                </a:ext>
              </a:extLst>
            </p:cNvPr>
            <p:cNvSpPr/>
            <p:nvPr/>
          </p:nvSpPr>
          <p:spPr>
            <a:xfrm>
              <a:off x="12516933" y="3789443"/>
              <a:ext cx="290543" cy="287608"/>
            </a:xfrm>
            <a:custGeom>
              <a:avLst/>
              <a:gdLst>
                <a:gd name="connsiteX0" fmla="*/ 117391 w 290543"/>
                <a:gd name="connsiteY0" fmla="*/ 287609 h 287608"/>
                <a:gd name="connsiteX1" fmla="*/ 0 w 290543"/>
                <a:gd name="connsiteY1" fmla="*/ 202500 h 287608"/>
                <a:gd name="connsiteX2" fmla="*/ 20544 w 290543"/>
                <a:gd name="connsiteY2" fmla="*/ 0 h 287608"/>
                <a:gd name="connsiteX3" fmla="*/ 26413 w 290543"/>
                <a:gd name="connsiteY3" fmla="*/ 0 h 287608"/>
                <a:gd name="connsiteX4" fmla="*/ 284674 w 290543"/>
                <a:gd name="connsiteY4" fmla="*/ 32283 h 287608"/>
                <a:gd name="connsiteX5" fmla="*/ 290543 w 290543"/>
                <a:gd name="connsiteY5" fmla="*/ 32283 h 287608"/>
                <a:gd name="connsiteX6" fmla="*/ 267065 w 290543"/>
                <a:gd name="connsiteY6" fmla="*/ 249457 h 287608"/>
                <a:gd name="connsiteX7" fmla="*/ 117391 w 290543"/>
                <a:gd name="connsiteY7" fmla="*/ 287609 h 287608"/>
                <a:gd name="connsiteX8" fmla="*/ 11739 w 290543"/>
                <a:gd name="connsiteY8" fmla="*/ 199565 h 287608"/>
                <a:gd name="connsiteX9" fmla="*/ 120326 w 290543"/>
                <a:gd name="connsiteY9" fmla="*/ 278804 h 287608"/>
                <a:gd name="connsiteX10" fmla="*/ 258261 w 290543"/>
                <a:gd name="connsiteY10" fmla="*/ 246522 h 287608"/>
                <a:gd name="connsiteX11" fmla="*/ 278804 w 290543"/>
                <a:gd name="connsiteY11" fmla="*/ 46956 h 287608"/>
                <a:gd name="connsiteX12" fmla="*/ 29348 w 290543"/>
                <a:gd name="connsiteY12" fmla="*/ 14674 h 287608"/>
                <a:gd name="connsiteX13" fmla="*/ 11739 w 290543"/>
                <a:gd name="connsiteY13" fmla="*/ 199565 h 287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0543" h="287608">
                  <a:moveTo>
                    <a:pt x="117391" y="287609"/>
                  </a:moveTo>
                  <a:lnTo>
                    <a:pt x="0" y="202500"/>
                  </a:lnTo>
                  <a:lnTo>
                    <a:pt x="20544" y="0"/>
                  </a:lnTo>
                  <a:lnTo>
                    <a:pt x="26413" y="0"/>
                  </a:lnTo>
                  <a:cubicBezTo>
                    <a:pt x="82174" y="5869"/>
                    <a:pt x="284674" y="32283"/>
                    <a:pt x="284674" y="32283"/>
                  </a:cubicBezTo>
                  <a:lnTo>
                    <a:pt x="290543" y="32283"/>
                  </a:lnTo>
                  <a:lnTo>
                    <a:pt x="267065" y="249457"/>
                  </a:lnTo>
                  <a:lnTo>
                    <a:pt x="117391" y="287609"/>
                  </a:lnTo>
                  <a:close/>
                  <a:moveTo>
                    <a:pt x="11739" y="199565"/>
                  </a:moveTo>
                  <a:lnTo>
                    <a:pt x="120326" y="278804"/>
                  </a:lnTo>
                  <a:lnTo>
                    <a:pt x="258261" y="246522"/>
                  </a:lnTo>
                  <a:lnTo>
                    <a:pt x="278804" y="46956"/>
                  </a:lnTo>
                  <a:cubicBezTo>
                    <a:pt x="246522" y="44022"/>
                    <a:pt x="85109" y="23478"/>
                    <a:pt x="29348" y="14674"/>
                  </a:cubicBezTo>
                  <a:lnTo>
                    <a:pt x="11739" y="199565"/>
                  </a:ln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EEEB1745-DE98-4C4E-B43C-CFE354385F71}"/>
                </a:ext>
              </a:extLst>
            </p:cNvPr>
            <p:cNvSpPr/>
            <p:nvPr/>
          </p:nvSpPr>
          <p:spPr>
            <a:xfrm>
              <a:off x="13153781" y="2641943"/>
              <a:ext cx="419673" cy="1541178"/>
            </a:xfrm>
            <a:custGeom>
              <a:avLst/>
              <a:gdLst>
                <a:gd name="connsiteX0" fmla="*/ 0 w 419673"/>
                <a:gd name="connsiteY0" fmla="*/ 0 h 1541178"/>
                <a:gd name="connsiteX1" fmla="*/ 152608 w 419673"/>
                <a:gd name="connsiteY1" fmla="*/ 1540761 h 1541178"/>
                <a:gd name="connsiteX2" fmla="*/ 419674 w 419673"/>
                <a:gd name="connsiteY2" fmla="*/ 1514348 h 1541178"/>
                <a:gd name="connsiteX3" fmla="*/ 287608 w 419673"/>
                <a:gd name="connsiteY3" fmla="*/ 126196 h 1541178"/>
                <a:gd name="connsiteX4" fmla="*/ 0 w 419673"/>
                <a:gd name="connsiteY4" fmla="*/ 0 h 154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673" h="1541178">
                  <a:moveTo>
                    <a:pt x="0" y="0"/>
                  </a:moveTo>
                  <a:cubicBezTo>
                    <a:pt x="0" y="0"/>
                    <a:pt x="196630" y="751304"/>
                    <a:pt x="152608" y="1540761"/>
                  </a:cubicBezTo>
                  <a:cubicBezTo>
                    <a:pt x="152608" y="1540761"/>
                    <a:pt x="343369" y="1546630"/>
                    <a:pt x="419674" y="1514348"/>
                  </a:cubicBezTo>
                  <a:cubicBezTo>
                    <a:pt x="419674" y="1514348"/>
                    <a:pt x="331630" y="176087"/>
                    <a:pt x="287608" y="126196"/>
                  </a:cubicBezTo>
                  <a:cubicBezTo>
                    <a:pt x="243587" y="7630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26684432-F5CB-429A-A3A0-A171F8D2CA09}"/>
                </a:ext>
              </a:extLst>
            </p:cNvPr>
            <p:cNvSpPr/>
            <p:nvPr/>
          </p:nvSpPr>
          <p:spPr>
            <a:xfrm>
              <a:off x="13435520" y="2762269"/>
              <a:ext cx="118607" cy="1041847"/>
            </a:xfrm>
            <a:custGeom>
              <a:avLst/>
              <a:gdLst>
                <a:gd name="connsiteX0" fmla="*/ 114457 w 118607"/>
                <a:gd name="connsiteY0" fmla="*/ 1041848 h 1041847"/>
                <a:gd name="connsiteX1" fmla="*/ 108587 w 118607"/>
                <a:gd name="connsiteY1" fmla="*/ 1035978 h 1041847"/>
                <a:gd name="connsiteX2" fmla="*/ 70436 w 118607"/>
                <a:gd name="connsiteY2" fmla="*/ 572283 h 1041847"/>
                <a:gd name="connsiteX3" fmla="*/ 0 w 118607"/>
                <a:gd name="connsiteY3" fmla="*/ 5870 h 1041847"/>
                <a:gd name="connsiteX4" fmla="*/ 2935 w 118607"/>
                <a:gd name="connsiteY4" fmla="*/ 0 h 1041847"/>
                <a:gd name="connsiteX5" fmla="*/ 8805 w 118607"/>
                <a:gd name="connsiteY5" fmla="*/ 2935 h 1041847"/>
                <a:gd name="connsiteX6" fmla="*/ 79239 w 118607"/>
                <a:gd name="connsiteY6" fmla="*/ 569348 h 1041847"/>
                <a:gd name="connsiteX7" fmla="*/ 117391 w 118607"/>
                <a:gd name="connsiteY7" fmla="*/ 1033043 h 1041847"/>
                <a:gd name="connsiteX8" fmla="*/ 114457 w 118607"/>
                <a:gd name="connsiteY8" fmla="*/ 1041848 h 1041847"/>
                <a:gd name="connsiteX9" fmla="*/ 114457 w 118607"/>
                <a:gd name="connsiteY9" fmla="*/ 1041848 h 1041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607" h="1041847">
                  <a:moveTo>
                    <a:pt x="114457" y="1041848"/>
                  </a:moveTo>
                  <a:cubicBezTo>
                    <a:pt x="111522" y="1041848"/>
                    <a:pt x="108587" y="1038913"/>
                    <a:pt x="108587" y="1035978"/>
                  </a:cubicBezTo>
                  <a:cubicBezTo>
                    <a:pt x="108587" y="1033043"/>
                    <a:pt x="79239" y="675000"/>
                    <a:pt x="70436" y="572283"/>
                  </a:cubicBezTo>
                  <a:cubicBezTo>
                    <a:pt x="70436" y="566413"/>
                    <a:pt x="5870" y="44022"/>
                    <a:pt x="0" y="5870"/>
                  </a:cubicBezTo>
                  <a:cubicBezTo>
                    <a:pt x="0" y="2935"/>
                    <a:pt x="0" y="0"/>
                    <a:pt x="2935" y="0"/>
                  </a:cubicBezTo>
                  <a:cubicBezTo>
                    <a:pt x="5870" y="0"/>
                    <a:pt x="8805" y="0"/>
                    <a:pt x="8805" y="2935"/>
                  </a:cubicBezTo>
                  <a:cubicBezTo>
                    <a:pt x="17609" y="41087"/>
                    <a:pt x="76305" y="548804"/>
                    <a:pt x="79239" y="569348"/>
                  </a:cubicBezTo>
                  <a:cubicBezTo>
                    <a:pt x="88043" y="672065"/>
                    <a:pt x="117391" y="1030109"/>
                    <a:pt x="117391" y="1033043"/>
                  </a:cubicBezTo>
                  <a:cubicBezTo>
                    <a:pt x="120326" y="1038913"/>
                    <a:pt x="117391" y="1038913"/>
                    <a:pt x="114457" y="1041848"/>
                  </a:cubicBezTo>
                  <a:cubicBezTo>
                    <a:pt x="114457" y="1041848"/>
                    <a:pt x="114457" y="1041848"/>
                    <a:pt x="114457" y="1041848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8892A07F-4066-48E2-83C9-01CF110FD5D5}"/>
                </a:ext>
              </a:extLst>
            </p:cNvPr>
            <p:cNvSpPr/>
            <p:nvPr/>
          </p:nvSpPr>
          <p:spPr>
            <a:xfrm>
              <a:off x="13394433" y="3851073"/>
              <a:ext cx="179021" cy="228913"/>
            </a:xfrm>
            <a:custGeom>
              <a:avLst/>
              <a:gdLst>
                <a:gd name="connsiteX0" fmla="*/ 99782 w 179021"/>
                <a:gd name="connsiteY0" fmla="*/ 228913 h 228913"/>
                <a:gd name="connsiteX1" fmla="*/ 0 w 179021"/>
                <a:gd name="connsiteY1" fmla="*/ 167283 h 228913"/>
                <a:gd name="connsiteX2" fmla="*/ 0 w 179021"/>
                <a:gd name="connsiteY2" fmla="*/ 0 h 228913"/>
                <a:gd name="connsiteX3" fmla="*/ 155544 w 179021"/>
                <a:gd name="connsiteY3" fmla="*/ 0 h 228913"/>
                <a:gd name="connsiteX4" fmla="*/ 161413 w 179021"/>
                <a:gd name="connsiteY4" fmla="*/ 5870 h 228913"/>
                <a:gd name="connsiteX5" fmla="*/ 155544 w 179021"/>
                <a:gd name="connsiteY5" fmla="*/ 11739 h 228913"/>
                <a:gd name="connsiteX6" fmla="*/ 11739 w 179021"/>
                <a:gd name="connsiteY6" fmla="*/ 11739 h 228913"/>
                <a:gd name="connsiteX7" fmla="*/ 11739 w 179021"/>
                <a:gd name="connsiteY7" fmla="*/ 161413 h 228913"/>
                <a:gd name="connsiteX8" fmla="*/ 102717 w 179021"/>
                <a:gd name="connsiteY8" fmla="*/ 217174 h 228913"/>
                <a:gd name="connsiteX9" fmla="*/ 173152 w 179021"/>
                <a:gd name="connsiteY9" fmla="*/ 190761 h 228913"/>
                <a:gd name="connsiteX10" fmla="*/ 179022 w 179021"/>
                <a:gd name="connsiteY10" fmla="*/ 193696 h 228913"/>
                <a:gd name="connsiteX11" fmla="*/ 176087 w 179021"/>
                <a:gd name="connsiteY11" fmla="*/ 199565 h 228913"/>
                <a:gd name="connsiteX12" fmla="*/ 99782 w 179021"/>
                <a:gd name="connsiteY12" fmla="*/ 228913 h 228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021" h="228913">
                  <a:moveTo>
                    <a:pt x="99782" y="228913"/>
                  </a:moveTo>
                  <a:lnTo>
                    <a:pt x="0" y="167283"/>
                  </a:lnTo>
                  <a:lnTo>
                    <a:pt x="0" y="0"/>
                  </a:lnTo>
                  <a:lnTo>
                    <a:pt x="155544" y="0"/>
                  </a:lnTo>
                  <a:cubicBezTo>
                    <a:pt x="158478" y="0"/>
                    <a:pt x="161413" y="2935"/>
                    <a:pt x="161413" y="5870"/>
                  </a:cubicBezTo>
                  <a:cubicBezTo>
                    <a:pt x="161413" y="8804"/>
                    <a:pt x="158478" y="11739"/>
                    <a:pt x="155544" y="11739"/>
                  </a:cubicBezTo>
                  <a:lnTo>
                    <a:pt x="11739" y="11739"/>
                  </a:lnTo>
                  <a:lnTo>
                    <a:pt x="11739" y="161413"/>
                  </a:lnTo>
                  <a:lnTo>
                    <a:pt x="102717" y="217174"/>
                  </a:lnTo>
                  <a:lnTo>
                    <a:pt x="173152" y="190761"/>
                  </a:lnTo>
                  <a:cubicBezTo>
                    <a:pt x="176087" y="190761"/>
                    <a:pt x="179022" y="190761"/>
                    <a:pt x="179022" y="193696"/>
                  </a:cubicBezTo>
                  <a:cubicBezTo>
                    <a:pt x="179022" y="196631"/>
                    <a:pt x="179022" y="199565"/>
                    <a:pt x="176087" y="199565"/>
                  </a:cubicBezTo>
                  <a:lnTo>
                    <a:pt x="99782" y="228913"/>
                  </a:ln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CDF5662B-0869-4A32-9604-C1956CE18C7A}"/>
                </a:ext>
              </a:extLst>
            </p:cNvPr>
            <p:cNvSpPr/>
            <p:nvPr/>
          </p:nvSpPr>
          <p:spPr>
            <a:xfrm>
              <a:off x="12907259" y="2515747"/>
              <a:ext cx="235998" cy="61630"/>
            </a:xfrm>
            <a:custGeom>
              <a:avLst/>
              <a:gdLst>
                <a:gd name="connsiteX0" fmla="*/ 135000 w 235998"/>
                <a:gd name="connsiteY0" fmla="*/ 61630 h 61630"/>
                <a:gd name="connsiteX1" fmla="*/ 123261 w 235998"/>
                <a:gd name="connsiteY1" fmla="*/ 61630 h 61630"/>
                <a:gd name="connsiteX2" fmla="*/ 52827 w 235998"/>
                <a:gd name="connsiteY2" fmla="*/ 35217 h 61630"/>
                <a:gd name="connsiteX3" fmla="*/ 2935 w 235998"/>
                <a:gd name="connsiteY3" fmla="*/ 11739 h 61630"/>
                <a:gd name="connsiteX4" fmla="*/ 0 w 235998"/>
                <a:gd name="connsiteY4" fmla="*/ 2935 h 61630"/>
                <a:gd name="connsiteX5" fmla="*/ 8805 w 235998"/>
                <a:gd name="connsiteY5" fmla="*/ 0 h 61630"/>
                <a:gd name="connsiteX6" fmla="*/ 55762 w 235998"/>
                <a:gd name="connsiteY6" fmla="*/ 23478 h 61630"/>
                <a:gd name="connsiteX7" fmla="*/ 143805 w 235998"/>
                <a:gd name="connsiteY7" fmla="*/ 49891 h 61630"/>
                <a:gd name="connsiteX8" fmla="*/ 155544 w 235998"/>
                <a:gd name="connsiteY8" fmla="*/ 49891 h 61630"/>
                <a:gd name="connsiteX9" fmla="*/ 202501 w 235998"/>
                <a:gd name="connsiteY9" fmla="*/ 32283 h 61630"/>
                <a:gd name="connsiteX10" fmla="*/ 211305 w 235998"/>
                <a:gd name="connsiteY10" fmla="*/ 26413 h 61630"/>
                <a:gd name="connsiteX11" fmla="*/ 217175 w 235998"/>
                <a:gd name="connsiteY11" fmla="*/ 26413 h 61630"/>
                <a:gd name="connsiteX12" fmla="*/ 225979 w 235998"/>
                <a:gd name="connsiteY12" fmla="*/ 20543 h 61630"/>
                <a:gd name="connsiteX13" fmla="*/ 234783 w 235998"/>
                <a:gd name="connsiteY13" fmla="*/ 23478 h 61630"/>
                <a:gd name="connsiteX14" fmla="*/ 231849 w 235998"/>
                <a:gd name="connsiteY14" fmla="*/ 32283 h 61630"/>
                <a:gd name="connsiteX15" fmla="*/ 208370 w 235998"/>
                <a:gd name="connsiteY15" fmla="*/ 44022 h 61630"/>
                <a:gd name="connsiteX16" fmla="*/ 155544 w 235998"/>
                <a:gd name="connsiteY16" fmla="*/ 61630 h 61630"/>
                <a:gd name="connsiteX17" fmla="*/ 135000 w 235998"/>
                <a:gd name="connsiteY17" fmla="*/ 61630 h 61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5998" h="61630">
                  <a:moveTo>
                    <a:pt x="135000" y="61630"/>
                  </a:moveTo>
                  <a:cubicBezTo>
                    <a:pt x="129131" y="61630"/>
                    <a:pt x="126196" y="61630"/>
                    <a:pt x="123261" y="61630"/>
                  </a:cubicBezTo>
                  <a:cubicBezTo>
                    <a:pt x="105652" y="58696"/>
                    <a:pt x="76305" y="46957"/>
                    <a:pt x="52827" y="35217"/>
                  </a:cubicBezTo>
                  <a:cubicBezTo>
                    <a:pt x="26414" y="23478"/>
                    <a:pt x="5870" y="11739"/>
                    <a:pt x="2935" y="11739"/>
                  </a:cubicBezTo>
                  <a:cubicBezTo>
                    <a:pt x="0" y="8804"/>
                    <a:pt x="0" y="5870"/>
                    <a:pt x="0" y="2935"/>
                  </a:cubicBezTo>
                  <a:cubicBezTo>
                    <a:pt x="2935" y="0"/>
                    <a:pt x="5870" y="0"/>
                    <a:pt x="8805" y="0"/>
                  </a:cubicBezTo>
                  <a:cubicBezTo>
                    <a:pt x="8805" y="0"/>
                    <a:pt x="29348" y="11739"/>
                    <a:pt x="55762" y="23478"/>
                  </a:cubicBezTo>
                  <a:cubicBezTo>
                    <a:pt x="85109" y="35217"/>
                    <a:pt x="120326" y="49891"/>
                    <a:pt x="143805" y="49891"/>
                  </a:cubicBezTo>
                  <a:cubicBezTo>
                    <a:pt x="146739" y="49891"/>
                    <a:pt x="152609" y="49891"/>
                    <a:pt x="155544" y="49891"/>
                  </a:cubicBezTo>
                  <a:cubicBezTo>
                    <a:pt x="173153" y="46957"/>
                    <a:pt x="190761" y="38152"/>
                    <a:pt x="202501" y="32283"/>
                  </a:cubicBezTo>
                  <a:cubicBezTo>
                    <a:pt x="208370" y="29348"/>
                    <a:pt x="211305" y="26413"/>
                    <a:pt x="211305" y="26413"/>
                  </a:cubicBezTo>
                  <a:cubicBezTo>
                    <a:pt x="211305" y="26413"/>
                    <a:pt x="214240" y="23478"/>
                    <a:pt x="217175" y="26413"/>
                  </a:cubicBezTo>
                  <a:cubicBezTo>
                    <a:pt x="223044" y="23478"/>
                    <a:pt x="225979" y="20543"/>
                    <a:pt x="225979" y="20543"/>
                  </a:cubicBezTo>
                  <a:cubicBezTo>
                    <a:pt x="228914" y="17609"/>
                    <a:pt x="231849" y="20543"/>
                    <a:pt x="234783" y="23478"/>
                  </a:cubicBezTo>
                  <a:cubicBezTo>
                    <a:pt x="237718" y="26413"/>
                    <a:pt x="234783" y="29348"/>
                    <a:pt x="231849" y="32283"/>
                  </a:cubicBezTo>
                  <a:cubicBezTo>
                    <a:pt x="231849" y="32283"/>
                    <a:pt x="223044" y="38152"/>
                    <a:pt x="208370" y="44022"/>
                  </a:cubicBezTo>
                  <a:cubicBezTo>
                    <a:pt x="196631" y="49891"/>
                    <a:pt x="179022" y="58696"/>
                    <a:pt x="155544" y="61630"/>
                  </a:cubicBezTo>
                  <a:cubicBezTo>
                    <a:pt x="146739" y="61630"/>
                    <a:pt x="140870" y="61630"/>
                    <a:pt x="135000" y="61630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7" name="图形 1">
              <a:extLst>
                <a:ext uri="{FF2B5EF4-FFF2-40B4-BE49-F238E27FC236}">
                  <a16:creationId xmlns:a16="http://schemas.microsoft.com/office/drawing/2014/main" id="{D8BCFC96-8266-4123-BCD0-A4FB0AB22C46}"/>
                </a:ext>
              </a:extLst>
            </p:cNvPr>
            <p:cNvGrpSpPr/>
            <p:nvPr/>
          </p:nvGrpSpPr>
          <p:grpSpPr>
            <a:xfrm>
              <a:off x="14241265" y="2638282"/>
              <a:ext cx="599928" cy="626994"/>
              <a:chOff x="14241265" y="2638282"/>
              <a:chExt cx="599928" cy="626994"/>
            </a:xfrm>
          </p:grpSpPr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9C51CDAC-F8E8-41D5-AE4C-91A582DBC9BE}"/>
                  </a:ext>
                </a:extLst>
              </p:cNvPr>
              <p:cNvSpPr/>
              <p:nvPr/>
            </p:nvSpPr>
            <p:spPr>
              <a:xfrm rot="-10800000">
                <a:off x="14241265" y="2892559"/>
                <a:ext cx="493043" cy="372717"/>
              </a:xfrm>
              <a:custGeom>
                <a:avLst/>
                <a:gdLst>
                  <a:gd name="connsiteX0" fmla="*/ 0 w 493043"/>
                  <a:gd name="connsiteY0" fmla="*/ 0 h 372717"/>
                  <a:gd name="connsiteX1" fmla="*/ 493043 w 493043"/>
                  <a:gd name="connsiteY1" fmla="*/ 0 h 372717"/>
                  <a:gd name="connsiteX2" fmla="*/ 493043 w 493043"/>
                  <a:gd name="connsiteY2" fmla="*/ 372718 h 372717"/>
                  <a:gd name="connsiteX3" fmla="*/ 0 w 493043"/>
                  <a:gd name="connsiteY3" fmla="*/ 372718 h 37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043" h="372717">
                    <a:moveTo>
                      <a:pt x="0" y="0"/>
                    </a:moveTo>
                    <a:lnTo>
                      <a:pt x="493043" y="0"/>
                    </a:lnTo>
                    <a:lnTo>
                      <a:pt x="493043" y="372718"/>
                    </a:lnTo>
                    <a:lnTo>
                      <a:pt x="0" y="372718"/>
                    </a:lnTo>
                    <a:close/>
                  </a:path>
                </a:pathLst>
              </a:custGeom>
              <a:solidFill>
                <a:srgbClr val="C4544E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E61DA6E6-27E1-427D-BDD1-04945B4DBE0B}"/>
                  </a:ext>
                </a:extLst>
              </p:cNvPr>
              <p:cNvSpPr/>
              <p:nvPr/>
            </p:nvSpPr>
            <p:spPr>
              <a:xfrm rot="-10800000">
                <a:off x="14348149" y="2892559"/>
                <a:ext cx="493043" cy="372717"/>
              </a:xfrm>
              <a:custGeom>
                <a:avLst/>
                <a:gdLst>
                  <a:gd name="connsiteX0" fmla="*/ 0 w 493043"/>
                  <a:gd name="connsiteY0" fmla="*/ 0 h 372717"/>
                  <a:gd name="connsiteX1" fmla="*/ 493043 w 493043"/>
                  <a:gd name="connsiteY1" fmla="*/ 0 h 372717"/>
                  <a:gd name="connsiteX2" fmla="*/ 493043 w 493043"/>
                  <a:gd name="connsiteY2" fmla="*/ 372718 h 372717"/>
                  <a:gd name="connsiteX3" fmla="*/ 0 w 493043"/>
                  <a:gd name="connsiteY3" fmla="*/ 372718 h 37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043" h="372717">
                    <a:moveTo>
                      <a:pt x="0" y="0"/>
                    </a:moveTo>
                    <a:lnTo>
                      <a:pt x="493043" y="0"/>
                    </a:lnTo>
                    <a:lnTo>
                      <a:pt x="493043" y="372718"/>
                    </a:lnTo>
                    <a:lnTo>
                      <a:pt x="0" y="372718"/>
                    </a:lnTo>
                    <a:close/>
                  </a:path>
                </a:pathLst>
              </a:custGeom>
              <a:solidFill>
                <a:srgbClr val="D16156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062C8345-2217-434C-A9E7-D05FEFE5F155}"/>
                  </a:ext>
                </a:extLst>
              </p:cNvPr>
              <p:cNvSpPr/>
              <p:nvPr/>
            </p:nvSpPr>
            <p:spPr>
              <a:xfrm rot="-10800000">
                <a:off x="14562418" y="2892559"/>
                <a:ext cx="67499" cy="372717"/>
              </a:xfrm>
              <a:custGeom>
                <a:avLst/>
                <a:gdLst>
                  <a:gd name="connsiteX0" fmla="*/ 0 w 67499"/>
                  <a:gd name="connsiteY0" fmla="*/ 0 h 372717"/>
                  <a:gd name="connsiteX1" fmla="*/ 67500 w 67499"/>
                  <a:gd name="connsiteY1" fmla="*/ 0 h 372717"/>
                  <a:gd name="connsiteX2" fmla="*/ 67500 w 67499"/>
                  <a:gd name="connsiteY2" fmla="*/ 372718 h 372717"/>
                  <a:gd name="connsiteX3" fmla="*/ 0 w 67499"/>
                  <a:gd name="connsiteY3" fmla="*/ 372718 h 372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499" h="372717">
                    <a:moveTo>
                      <a:pt x="0" y="0"/>
                    </a:moveTo>
                    <a:lnTo>
                      <a:pt x="67500" y="0"/>
                    </a:lnTo>
                    <a:lnTo>
                      <a:pt x="67500" y="372718"/>
                    </a:lnTo>
                    <a:lnTo>
                      <a:pt x="0" y="372718"/>
                    </a:ln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87DEBAF3-15D9-421E-80CA-7FB1B82D40FF}"/>
                  </a:ext>
                </a:extLst>
              </p:cNvPr>
              <p:cNvSpPr/>
              <p:nvPr/>
            </p:nvSpPr>
            <p:spPr>
              <a:xfrm>
                <a:off x="14338559" y="2638282"/>
                <a:ext cx="370657" cy="275529"/>
              </a:xfrm>
              <a:custGeom>
                <a:avLst/>
                <a:gdLst>
                  <a:gd name="connsiteX0" fmla="*/ 53700 w 370657"/>
                  <a:gd name="connsiteY0" fmla="*/ 194422 h 275529"/>
                  <a:gd name="connsiteX1" fmla="*/ 244461 w 370657"/>
                  <a:gd name="connsiteY1" fmla="*/ 267791 h 275529"/>
                  <a:gd name="connsiteX2" fmla="*/ 253266 w 370657"/>
                  <a:gd name="connsiteY2" fmla="*/ 273661 h 275529"/>
                  <a:gd name="connsiteX3" fmla="*/ 276744 w 370657"/>
                  <a:gd name="connsiteY3" fmla="*/ 258987 h 275529"/>
                  <a:gd name="connsiteX4" fmla="*/ 370657 w 370657"/>
                  <a:gd name="connsiteY4" fmla="*/ 115183 h 275529"/>
                  <a:gd name="connsiteX5" fmla="*/ 288483 w 370657"/>
                  <a:gd name="connsiteY5" fmla="*/ 726 h 275529"/>
                  <a:gd name="connsiteX6" fmla="*/ 209244 w 370657"/>
                  <a:gd name="connsiteY6" fmla="*/ 106378 h 275529"/>
                  <a:gd name="connsiteX7" fmla="*/ 203374 w 370657"/>
                  <a:gd name="connsiteY7" fmla="*/ 150400 h 275529"/>
                  <a:gd name="connsiteX8" fmla="*/ 141744 w 370657"/>
                  <a:gd name="connsiteY8" fmla="*/ 77031 h 275529"/>
                  <a:gd name="connsiteX9" fmla="*/ 9678 w 370657"/>
                  <a:gd name="connsiteY9" fmla="*/ 74096 h 275529"/>
                  <a:gd name="connsiteX10" fmla="*/ 53700 w 370657"/>
                  <a:gd name="connsiteY10" fmla="*/ 194422 h 275529"/>
                  <a:gd name="connsiteX11" fmla="*/ 209244 w 370657"/>
                  <a:gd name="connsiteY11" fmla="*/ 212031 h 275529"/>
                  <a:gd name="connsiteX12" fmla="*/ 212178 w 370657"/>
                  <a:gd name="connsiteY12" fmla="*/ 220835 h 275529"/>
                  <a:gd name="connsiteX13" fmla="*/ 144679 w 370657"/>
                  <a:gd name="connsiteY13" fmla="*/ 185617 h 275529"/>
                  <a:gd name="connsiteX14" fmla="*/ 97722 w 370657"/>
                  <a:gd name="connsiteY14" fmla="*/ 150400 h 275529"/>
                  <a:gd name="connsiteX15" fmla="*/ 103592 w 370657"/>
                  <a:gd name="connsiteY15" fmla="*/ 97574 h 275529"/>
                  <a:gd name="connsiteX16" fmla="*/ 209244 w 370657"/>
                  <a:gd name="connsiteY16" fmla="*/ 212031 h 275529"/>
                  <a:gd name="connsiteX17" fmla="*/ 259135 w 370657"/>
                  <a:gd name="connsiteY17" fmla="*/ 214965 h 275529"/>
                  <a:gd name="connsiteX18" fmla="*/ 250331 w 370657"/>
                  <a:gd name="connsiteY18" fmla="*/ 88770 h 275529"/>
                  <a:gd name="connsiteX19" fmla="*/ 303157 w 370657"/>
                  <a:gd name="connsiteY19" fmla="*/ 68226 h 275529"/>
                  <a:gd name="connsiteX20" fmla="*/ 294353 w 370657"/>
                  <a:gd name="connsiteY20" fmla="*/ 153335 h 275529"/>
                  <a:gd name="connsiteX21" fmla="*/ 259135 w 370657"/>
                  <a:gd name="connsiteY21" fmla="*/ 214965 h 275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70657" h="275529">
                    <a:moveTo>
                      <a:pt x="53700" y="194422"/>
                    </a:moveTo>
                    <a:cubicBezTo>
                      <a:pt x="106527" y="238444"/>
                      <a:pt x="179896" y="250183"/>
                      <a:pt x="244461" y="267791"/>
                    </a:cubicBezTo>
                    <a:cubicBezTo>
                      <a:pt x="247396" y="270726"/>
                      <a:pt x="250331" y="270726"/>
                      <a:pt x="253266" y="273661"/>
                    </a:cubicBezTo>
                    <a:cubicBezTo>
                      <a:pt x="265005" y="279531"/>
                      <a:pt x="276744" y="270726"/>
                      <a:pt x="276744" y="258987"/>
                    </a:cubicBezTo>
                    <a:cubicBezTo>
                      <a:pt x="329570" y="229639"/>
                      <a:pt x="370657" y="176813"/>
                      <a:pt x="370657" y="115183"/>
                    </a:cubicBezTo>
                    <a:cubicBezTo>
                      <a:pt x="370657" y="68226"/>
                      <a:pt x="338374" y="9530"/>
                      <a:pt x="288483" y="726"/>
                    </a:cubicBezTo>
                    <a:cubicBezTo>
                      <a:pt x="232722" y="-8078"/>
                      <a:pt x="215113" y="65291"/>
                      <a:pt x="209244" y="106378"/>
                    </a:cubicBezTo>
                    <a:cubicBezTo>
                      <a:pt x="206309" y="121052"/>
                      <a:pt x="206309" y="135726"/>
                      <a:pt x="203374" y="150400"/>
                    </a:cubicBezTo>
                    <a:cubicBezTo>
                      <a:pt x="185765" y="121052"/>
                      <a:pt x="168156" y="94639"/>
                      <a:pt x="141744" y="77031"/>
                    </a:cubicBezTo>
                    <a:cubicBezTo>
                      <a:pt x="109461" y="53552"/>
                      <a:pt x="36091" y="30074"/>
                      <a:pt x="9678" y="74096"/>
                    </a:cubicBezTo>
                    <a:cubicBezTo>
                      <a:pt x="-19669" y="109313"/>
                      <a:pt x="24352" y="168009"/>
                      <a:pt x="53700" y="194422"/>
                    </a:cubicBezTo>
                    <a:close/>
                    <a:moveTo>
                      <a:pt x="209244" y="212031"/>
                    </a:moveTo>
                    <a:cubicBezTo>
                      <a:pt x="209244" y="214965"/>
                      <a:pt x="212178" y="217900"/>
                      <a:pt x="212178" y="220835"/>
                    </a:cubicBezTo>
                    <a:cubicBezTo>
                      <a:pt x="188700" y="212031"/>
                      <a:pt x="168156" y="200291"/>
                      <a:pt x="144679" y="185617"/>
                    </a:cubicBezTo>
                    <a:cubicBezTo>
                      <a:pt x="130005" y="176813"/>
                      <a:pt x="109461" y="165074"/>
                      <a:pt x="97722" y="150400"/>
                    </a:cubicBezTo>
                    <a:cubicBezTo>
                      <a:pt x="77179" y="126922"/>
                      <a:pt x="88918" y="100509"/>
                      <a:pt x="103592" y="97574"/>
                    </a:cubicBezTo>
                    <a:cubicBezTo>
                      <a:pt x="159352" y="109313"/>
                      <a:pt x="194570" y="185617"/>
                      <a:pt x="209244" y="212031"/>
                    </a:cubicBezTo>
                    <a:close/>
                    <a:moveTo>
                      <a:pt x="259135" y="214965"/>
                    </a:moveTo>
                    <a:cubicBezTo>
                      <a:pt x="244461" y="173878"/>
                      <a:pt x="241526" y="126922"/>
                      <a:pt x="250331" y="88770"/>
                    </a:cubicBezTo>
                    <a:cubicBezTo>
                      <a:pt x="256200" y="59422"/>
                      <a:pt x="288483" y="35944"/>
                      <a:pt x="303157" y="68226"/>
                    </a:cubicBezTo>
                    <a:cubicBezTo>
                      <a:pt x="314896" y="97574"/>
                      <a:pt x="306092" y="126922"/>
                      <a:pt x="294353" y="153335"/>
                    </a:cubicBezTo>
                    <a:cubicBezTo>
                      <a:pt x="285548" y="176813"/>
                      <a:pt x="273809" y="197357"/>
                      <a:pt x="259135" y="214965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65D6FECF-D935-4077-8944-90D75B9BFD3C}"/>
                  </a:ext>
                </a:extLst>
              </p:cNvPr>
              <p:cNvSpPr/>
              <p:nvPr/>
            </p:nvSpPr>
            <p:spPr>
              <a:xfrm>
                <a:off x="14600305" y="2881729"/>
                <a:ext cx="158801" cy="277483"/>
              </a:xfrm>
              <a:custGeom>
                <a:avLst/>
                <a:gdLst>
                  <a:gd name="connsiteX0" fmla="*/ 29671 w 158801"/>
                  <a:gd name="connsiteY0" fmla="*/ 3801 h 277483"/>
                  <a:gd name="connsiteX1" fmla="*/ 158802 w 158801"/>
                  <a:gd name="connsiteY1" fmla="*/ 262062 h 277483"/>
                  <a:gd name="connsiteX2" fmla="*/ 138259 w 158801"/>
                  <a:gd name="connsiteY2" fmla="*/ 276736 h 277483"/>
                  <a:gd name="connsiteX3" fmla="*/ 100106 w 158801"/>
                  <a:gd name="connsiteY3" fmla="*/ 270866 h 277483"/>
                  <a:gd name="connsiteX4" fmla="*/ 88367 w 158801"/>
                  <a:gd name="connsiteY4" fmla="*/ 256192 h 277483"/>
                  <a:gd name="connsiteX5" fmla="*/ 70758 w 158801"/>
                  <a:gd name="connsiteY5" fmla="*/ 129997 h 277483"/>
                  <a:gd name="connsiteX6" fmla="*/ 3259 w 158801"/>
                  <a:gd name="connsiteY6" fmla="*/ 33149 h 277483"/>
                  <a:gd name="connsiteX7" fmla="*/ 324 w 158801"/>
                  <a:gd name="connsiteY7" fmla="*/ 27279 h 277483"/>
                  <a:gd name="connsiteX8" fmla="*/ 29671 w 158801"/>
                  <a:gd name="connsiteY8" fmla="*/ 3801 h 277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8801" h="277483">
                    <a:moveTo>
                      <a:pt x="29671" y="3801"/>
                    </a:moveTo>
                    <a:cubicBezTo>
                      <a:pt x="108911" y="68366"/>
                      <a:pt x="152933" y="159344"/>
                      <a:pt x="158802" y="262062"/>
                    </a:cubicBezTo>
                    <a:cubicBezTo>
                      <a:pt x="158802" y="273801"/>
                      <a:pt x="149998" y="279671"/>
                      <a:pt x="138259" y="276736"/>
                    </a:cubicBezTo>
                    <a:cubicBezTo>
                      <a:pt x="126519" y="273801"/>
                      <a:pt x="114780" y="270866"/>
                      <a:pt x="100106" y="270866"/>
                    </a:cubicBezTo>
                    <a:cubicBezTo>
                      <a:pt x="94237" y="270866"/>
                      <a:pt x="88367" y="262062"/>
                      <a:pt x="88367" y="256192"/>
                    </a:cubicBezTo>
                    <a:cubicBezTo>
                      <a:pt x="94237" y="212171"/>
                      <a:pt x="88367" y="168149"/>
                      <a:pt x="70758" y="129997"/>
                    </a:cubicBezTo>
                    <a:cubicBezTo>
                      <a:pt x="50215" y="94779"/>
                      <a:pt x="20867" y="59562"/>
                      <a:pt x="3259" y="33149"/>
                    </a:cubicBezTo>
                    <a:cubicBezTo>
                      <a:pt x="3259" y="30214"/>
                      <a:pt x="324" y="30214"/>
                      <a:pt x="324" y="27279"/>
                    </a:cubicBezTo>
                    <a:cubicBezTo>
                      <a:pt x="-2611" y="9671"/>
                      <a:pt x="14998" y="-7938"/>
                      <a:pt x="29671" y="3801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DAE9DCA7-8B3B-49A9-9543-5A3B1F332FA9}"/>
                  </a:ext>
                </a:extLst>
              </p:cNvPr>
              <p:cNvSpPr/>
              <p:nvPr/>
            </p:nvSpPr>
            <p:spPr>
              <a:xfrm>
                <a:off x="14494976" y="2892704"/>
                <a:ext cx="89144" cy="185460"/>
              </a:xfrm>
              <a:custGeom>
                <a:avLst/>
                <a:gdLst>
                  <a:gd name="connsiteX0" fmla="*/ 2935 w 89144"/>
                  <a:gd name="connsiteY0" fmla="*/ 133696 h 185460"/>
                  <a:gd name="connsiteX1" fmla="*/ 35218 w 89144"/>
                  <a:gd name="connsiteY1" fmla="*/ 177717 h 185460"/>
                  <a:gd name="connsiteX2" fmla="*/ 61631 w 89144"/>
                  <a:gd name="connsiteY2" fmla="*/ 177717 h 185460"/>
                  <a:gd name="connsiteX3" fmla="*/ 79239 w 89144"/>
                  <a:gd name="connsiteY3" fmla="*/ 10435 h 185460"/>
                  <a:gd name="connsiteX4" fmla="*/ 55761 w 89144"/>
                  <a:gd name="connsiteY4" fmla="*/ 1630 h 185460"/>
                  <a:gd name="connsiteX5" fmla="*/ 49892 w 89144"/>
                  <a:gd name="connsiteY5" fmla="*/ 10435 h 185460"/>
                  <a:gd name="connsiteX6" fmla="*/ 5870 w 89144"/>
                  <a:gd name="connsiteY6" fmla="*/ 110217 h 185460"/>
                  <a:gd name="connsiteX7" fmla="*/ 2935 w 89144"/>
                  <a:gd name="connsiteY7" fmla="*/ 133696 h 185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9144" h="185460">
                    <a:moveTo>
                      <a:pt x="2935" y="133696"/>
                    </a:moveTo>
                    <a:cubicBezTo>
                      <a:pt x="14674" y="148370"/>
                      <a:pt x="26413" y="160109"/>
                      <a:pt x="35218" y="177717"/>
                    </a:cubicBezTo>
                    <a:cubicBezTo>
                      <a:pt x="41087" y="186522"/>
                      <a:pt x="55761" y="189457"/>
                      <a:pt x="61631" y="177717"/>
                    </a:cubicBezTo>
                    <a:cubicBezTo>
                      <a:pt x="90978" y="124891"/>
                      <a:pt x="96848" y="66196"/>
                      <a:pt x="79239" y="10435"/>
                    </a:cubicBezTo>
                    <a:cubicBezTo>
                      <a:pt x="76305" y="-1304"/>
                      <a:pt x="61631" y="-1304"/>
                      <a:pt x="55761" y="1630"/>
                    </a:cubicBezTo>
                    <a:cubicBezTo>
                      <a:pt x="52827" y="4565"/>
                      <a:pt x="49892" y="7500"/>
                      <a:pt x="49892" y="10435"/>
                    </a:cubicBezTo>
                    <a:cubicBezTo>
                      <a:pt x="44022" y="48587"/>
                      <a:pt x="38153" y="86739"/>
                      <a:pt x="5870" y="110217"/>
                    </a:cubicBezTo>
                    <a:cubicBezTo>
                      <a:pt x="-2935" y="116087"/>
                      <a:pt x="0" y="127826"/>
                      <a:pt x="2935" y="133696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781E7974-37CD-4D0C-BF2C-0F917C39EA38}"/>
                </a:ext>
              </a:extLst>
            </p:cNvPr>
            <p:cNvSpPr/>
            <p:nvPr/>
          </p:nvSpPr>
          <p:spPr>
            <a:xfrm>
              <a:off x="13508889" y="3396475"/>
              <a:ext cx="194804" cy="175793"/>
            </a:xfrm>
            <a:custGeom>
              <a:avLst/>
              <a:gdLst>
                <a:gd name="connsiteX0" fmla="*/ 0 w 194804"/>
                <a:gd name="connsiteY0" fmla="*/ 175794 h 175793"/>
                <a:gd name="connsiteX1" fmla="*/ 108587 w 194804"/>
                <a:gd name="connsiteY1" fmla="*/ 20251 h 175793"/>
                <a:gd name="connsiteX2" fmla="*/ 190761 w 194804"/>
                <a:gd name="connsiteY2" fmla="*/ 5577 h 175793"/>
                <a:gd name="connsiteX3" fmla="*/ 102717 w 194804"/>
                <a:gd name="connsiteY3" fmla="*/ 96555 h 175793"/>
                <a:gd name="connsiteX4" fmla="*/ 0 w 194804"/>
                <a:gd name="connsiteY4" fmla="*/ 175794 h 175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804" h="175793">
                  <a:moveTo>
                    <a:pt x="0" y="175794"/>
                  </a:moveTo>
                  <a:cubicBezTo>
                    <a:pt x="0" y="175794"/>
                    <a:pt x="14674" y="58403"/>
                    <a:pt x="108587" y="20251"/>
                  </a:cubicBezTo>
                  <a:cubicBezTo>
                    <a:pt x="137935" y="8511"/>
                    <a:pt x="181957" y="-9097"/>
                    <a:pt x="190761" y="5577"/>
                  </a:cubicBezTo>
                  <a:cubicBezTo>
                    <a:pt x="217175" y="40794"/>
                    <a:pt x="105652" y="58403"/>
                    <a:pt x="102717" y="96555"/>
                  </a:cubicBezTo>
                  <a:cubicBezTo>
                    <a:pt x="102717" y="111229"/>
                    <a:pt x="0" y="175794"/>
                    <a:pt x="0" y="175794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9" name="图形 1">
              <a:extLst>
                <a:ext uri="{FF2B5EF4-FFF2-40B4-BE49-F238E27FC236}">
                  <a16:creationId xmlns:a16="http://schemas.microsoft.com/office/drawing/2014/main" id="{E661E36F-EB18-4E09-B668-F6D85E205897}"/>
                </a:ext>
              </a:extLst>
            </p:cNvPr>
            <p:cNvGrpSpPr/>
            <p:nvPr/>
          </p:nvGrpSpPr>
          <p:grpSpPr>
            <a:xfrm>
              <a:off x="13523563" y="2935421"/>
              <a:ext cx="305218" cy="812934"/>
              <a:chOff x="13523563" y="2935421"/>
              <a:chExt cx="305218" cy="812934"/>
            </a:xfrm>
          </p:grpSpPr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3184B8E8-B66C-4C47-97CE-4EA7B9BF5AB1}"/>
                  </a:ext>
                </a:extLst>
              </p:cNvPr>
              <p:cNvSpPr/>
              <p:nvPr/>
            </p:nvSpPr>
            <p:spPr>
              <a:xfrm>
                <a:off x="13643890" y="3355095"/>
                <a:ext cx="58695" cy="363913"/>
              </a:xfrm>
              <a:custGeom>
                <a:avLst/>
                <a:gdLst>
                  <a:gd name="connsiteX0" fmla="*/ 0 w 58695"/>
                  <a:gd name="connsiteY0" fmla="*/ 0 h 363913"/>
                  <a:gd name="connsiteX1" fmla="*/ 58695 w 58695"/>
                  <a:gd name="connsiteY1" fmla="*/ 0 h 363913"/>
                  <a:gd name="connsiteX2" fmla="*/ 58695 w 58695"/>
                  <a:gd name="connsiteY2" fmla="*/ 363913 h 363913"/>
                  <a:gd name="connsiteX3" fmla="*/ 0 w 58695"/>
                  <a:gd name="connsiteY3" fmla="*/ 363913 h 363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695" h="363913">
                    <a:moveTo>
                      <a:pt x="0" y="0"/>
                    </a:moveTo>
                    <a:lnTo>
                      <a:pt x="58695" y="0"/>
                    </a:lnTo>
                    <a:lnTo>
                      <a:pt x="58695" y="363913"/>
                    </a:lnTo>
                    <a:lnTo>
                      <a:pt x="0" y="363913"/>
                    </a:ln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415EA663-2349-4552-A7D4-ABA729D49178}"/>
                  </a:ext>
                </a:extLst>
              </p:cNvPr>
              <p:cNvSpPr/>
              <p:nvPr/>
            </p:nvSpPr>
            <p:spPr>
              <a:xfrm>
                <a:off x="13523563" y="3689660"/>
                <a:ext cx="305218" cy="58695"/>
              </a:xfrm>
              <a:custGeom>
                <a:avLst/>
                <a:gdLst>
                  <a:gd name="connsiteX0" fmla="*/ 305218 w 305218"/>
                  <a:gd name="connsiteY0" fmla="*/ 29348 h 58695"/>
                  <a:gd name="connsiteX1" fmla="*/ 152609 w 305218"/>
                  <a:gd name="connsiteY1" fmla="*/ 58696 h 58695"/>
                  <a:gd name="connsiteX2" fmla="*/ 0 w 305218"/>
                  <a:gd name="connsiteY2" fmla="*/ 29348 h 58695"/>
                  <a:gd name="connsiteX3" fmla="*/ 152609 w 305218"/>
                  <a:gd name="connsiteY3" fmla="*/ 0 h 58695"/>
                  <a:gd name="connsiteX4" fmla="*/ 305218 w 305218"/>
                  <a:gd name="connsiteY4" fmla="*/ 29348 h 58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5218" h="58695">
                    <a:moveTo>
                      <a:pt x="305218" y="29348"/>
                    </a:moveTo>
                    <a:cubicBezTo>
                      <a:pt x="305218" y="44022"/>
                      <a:pt x="237718" y="58696"/>
                      <a:pt x="152609" y="58696"/>
                    </a:cubicBezTo>
                    <a:cubicBezTo>
                      <a:pt x="67501" y="58696"/>
                      <a:pt x="0" y="46956"/>
                      <a:pt x="0" y="29348"/>
                    </a:cubicBezTo>
                    <a:cubicBezTo>
                      <a:pt x="0" y="14674"/>
                      <a:pt x="67501" y="0"/>
                      <a:pt x="152609" y="0"/>
                    </a:cubicBezTo>
                    <a:cubicBezTo>
                      <a:pt x="234783" y="2935"/>
                      <a:pt x="305218" y="14674"/>
                      <a:pt x="305218" y="2934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B7447840-BFDD-47CF-BEAE-1ED32B234E4A}"/>
                  </a:ext>
                </a:extLst>
              </p:cNvPr>
              <p:cNvSpPr/>
              <p:nvPr/>
            </p:nvSpPr>
            <p:spPr>
              <a:xfrm>
                <a:off x="13529433" y="2961834"/>
                <a:ext cx="287608" cy="449021"/>
              </a:xfrm>
              <a:custGeom>
                <a:avLst/>
                <a:gdLst>
                  <a:gd name="connsiteX0" fmla="*/ 143804 w 287608"/>
                  <a:gd name="connsiteY0" fmla="*/ 449022 h 449021"/>
                  <a:gd name="connsiteX1" fmla="*/ 143804 w 287608"/>
                  <a:gd name="connsiteY1" fmla="*/ 449022 h 449021"/>
                  <a:gd name="connsiteX2" fmla="*/ 0 w 287608"/>
                  <a:gd name="connsiteY2" fmla="*/ 305217 h 449021"/>
                  <a:gd name="connsiteX3" fmla="*/ 0 w 287608"/>
                  <a:gd name="connsiteY3" fmla="*/ 0 h 449021"/>
                  <a:gd name="connsiteX4" fmla="*/ 287608 w 287608"/>
                  <a:gd name="connsiteY4" fmla="*/ 0 h 449021"/>
                  <a:gd name="connsiteX5" fmla="*/ 287608 w 287608"/>
                  <a:gd name="connsiteY5" fmla="*/ 305217 h 449021"/>
                  <a:gd name="connsiteX6" fmla="*/ 143804 w 287608"/>
                  <a:gd name="connsiteY6" fmla="*/ 449022 h 449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7608" h="449021">
                    <a:moveTo>
                      <a:pt x="143804" y="449022"/>
                    </a:moveTo>
                    <a:lnTo>
                      <a:pt x="143804" y="449022"/>
                    </a:lnTo>
                    <a:cubicBezTo>
                      <a:pt x="64566" y="449022"/>
                      <a:pt x="0" y="384457"/>
                      <a:pt x="0" y="305217"/>
                    </a:cubicBezTo>
                    <a:lnTo>
                      <a:pt x="0" y="0"/>
                    </a:lnTo>
                    <a:lnTo>
                      <a:pt x="287608" y="0"/>
                    </a:lnTo>
                    <a:lnTo>
                      <a:pt x="287608" y="305217"/>
                    </a:lnTo>
                    <a:cubicBezTo>
                      <a:pt x="287608" y="387391"/>
                      <a:pt x="223044" y="449022"/>
                      <a:pt x="143804" y="449022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9D5D27F3-084D-4FC1-B5D3-3C670A0EDC84}"/>
                  </a:ext>
                </a:extLst>
              </p:cNvPr>
              <p:cNvSpPr/>
              <p:nvPr/>
            </p:nvSpPr>
            <p:spPr>
              <a:xfrm>
                <a:off x="13552911" y="3152595"/>
                <a:ext cx="243587" cy="231847"/>
              </a:xfrm>
              <a:custGeom>
                <a:avLst/>
                <a:gdLst>
                  <a:gd name="connsiteX0" fmla="*/ 120326 w 243587"/>
                  <a:gd name="connsiteY0" fmla="*/ 231848 h 231847"/>
                  <a:gd name="connsiteX1" fmla="*/ 120326 w 243587"/>
                  <a:gd name="connsiteY1" fmla="*/ 231848 h 231847"/>
                  <a:gd name="connsiteX2" fmla="*/ 0 w 243587"/>
                  <a:gd name="connsiteY2" fmla="*/ 111522 h 231847"/>
                  <a:gd name="connsiteX3" fmla="*/ 0 w 243587"/>
                  <a:gd name="connsiteY3" fmla="*/ 0 h 231847"/>
                  <a:gd name="connsiteX4" fmla="*/ 243588 w 243587"/>
                  <a:gd name="connsiteY4" fmla="*/ 0 h 231847"/>
                  <a:gd name="connsiteX5" fmla="*/ 243588 w 243587"/>
                  <a:gd name="connsiteY5" fmla="*/ 111522 h 231847"/>
                  <a:gd name="connsiteX6" fmla="*/ 120326 w 243587"/>
                  <a:gd name="connsiteY6" fmla="*/ 231848 h 231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3587" h="231847">
                    <a:moveTo>
                      <a:pt x="120326" y="231848"/>
                    </a:moveTo>
                    <a:lnTo>
                      <a:pt x="120326" y="231848"/>
                    </a:lnTo>
                    <a:cubicBezTo>
                      <a:pt x="52827" y="231848"/>
                      <a:pt x="0" y="179022"/>
                      <a:pt x="0" y="111522"/>
                    </a:cubicBezTo>
                    <a:lnTo>
                      <a:pt x="0" y="0"/>
                    </a:lnTo>
                    <a:lnTo>
                      <a:pt x="243588" y="0"/>
                    </a:lnTo>
                    <a:lnTo>
                      <a:pt x="243588" y="111522"/>
                    </a:lnTo>
                    <a:cubicBezTo>
                      <a:pt x="243588" y="179022"/>
                      <a:pt x="187827" y="231848"/>
                      <a:pt x="120326" y="231848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DAD7C207-4284-459C-A631-A3E91BE16AA0}"/>
                  </a:ext>
                </a:extLst>
              </p:cNvPr>
              <p:cNvSpPr/>
              <p:nvPr/>
            </p:nvSpPr>
            <p:spPr>
              <a:xfrm>
                <a:off x="13529433" y="2935421"/>
                <a:ext cx="287608" cy="58695"/>
              </a:xfrm>
              <a:custGeom>
                <a:avLst/>
                <a:gdLst>
                  <a:gd name="connsiteX0" fmla="*/ 287608 w 287608"/>
                  <a:gd name="connsiteY0" fmla="*/ 29348 h 58695"/>
                  <a:gd name="connsiteX1" fmla="*/ 143804 w 287608"/>
                  <a:gd name="connsiteY1" fmla="*/ 58696 h 58695"/>
                  <a:gd name="connsiteX2" fmla="*/ 0 w 287608"/>
                  <a:gd name="connsiteY2" fmla="*/ 29348 h 58695"/>
                  <a:gd name="connsiteX3" fmla="*/ 143804 w 287608"/>
                  <a:gd name="connsiteY3" fmla="*/ 0 h 58695"/>
                  <a:gd name="connsiteX4" fmla="*/ 287608 w 287608"/>
                  <a:gd name="connsiteY4" fmla="*/ 29348 h 58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7608" h="58695">
                    <a:moveTo>
                      <a:pt x="287608" y="29348"/>
                    </a:moveTo>
                    <a:cubicBezTo>
                      <a:pt x="287608" y="44022"/>
                      <a:pt x="223044" y="58696"/>
                      <a:pt x="143804" y="58696"/>
                    </a:cubicBezTo>
                    <a:cubicBezTo>
                      <a:pt x="64566" y="58696"/>
                      <a:pt x="0" y="46956"/>
                      <a:pt x="0" y="29348"/>
                    </a:cubicBezTo>
                    <a:cubicBezTo>
                      <a:pt x="0" y="14674"/>
                      <a:pt x="64566" y="0"/>
                      <a:pt x="143804" y="0"/>
                    </a:cubicBezTo>
                    <a:cubicBezTo>
                      <a:pt x="223044" y="0"/>
                      <a:pt x="287608" y="11739"/>
                      <a:pt x="287608" y="29348"/>
                    </a:cubicBezTo>
                    <a:close/>
                  </a:path>
                </a:pathLst>
              </a:custGeom>
              <a:solidFill>
                <a:srgbClr val="E5CDA5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0" name="图形 1">
              <a:extLst>
                <a:ext uri="{FF2B5EF4-FFF2-40B4-BE49-F238E27FC236}">
                  <a16:creationId xmlns:a16="http://schemas.microsoft.com/office/drawing/2014/main" id="{A8F61FA0-D96A-42DA-9C79-2F07803C8C2B}"/>
                </a:ext>
              </a:extLst>
            </p:cNvPr>
            <p:cNvGrpSpPr/>
            <p:nvPr/>
          </p:nvGrpSpPr>
          <p:grpSpPr>
            <a:xfrm>
              <a:off x="13458680" y="3451436"/>
              <a:ext cx="279123" cy="274994"/>
              <a:chOff x="13458680" y="3451436"/>
              <a:chExt cx="279123" cy="274994"/>
            </a:xfrm>
          </p:grpSpPr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1615DD04-7B9A-4127-8396-D3F50D356EC1}"/>
                  </a:ext>
                </a:extLst>
              </p:cNvPr>
              <p:cNvSpPr/>
              <p:nvPr/>
            </p:nvSpPr>
            <p:spPr>
              <a:xfrm>
                <a:off x="13458680" y="3461498"/>
                <a:ext cx="279123" cy="264932"/>
              </a:xfrm>
              <a:custGeom>
                <a:avLst/>
                <a:gdLst>
                  <a:gd name="connsiteX0" fmla="*/ 155862 w 279123"/>
                  <a:gd name="connsiteY0" fmla="*/ 228162 h 264932"/>
                  <a:gd name="connsiteX1" fmla="*/ 240971 w 279123"/>
                  <a:gd name="connsiteY1" fmla="*/ 225227 h 264932"/>
                  <a:gd name="connsiteX2" fmla="*/ 252710 w 279123"/>
                  <a:gd name="connsiteY2" fmla="*/ 172401 h 264932"/>
                  <a:gd name="connsiteX3" fmla="*/ 279123 w 279123"/>
                  <a:gd name="connsiteY3" fmla="*/ 140119 h 264932"/>
                  <a:gd name="connsiteX4" fmla="*/ 264449 w 279123"/>
                  <a:gd name="connsiteY4" fmla="*/ 110771 h 264932"/>
                  <a:gd name="connsiteX5" fmla="*/ 252710 w 279123"/>
                  <a:gd name="connsiteY5" fmla="*/ 55010 h 264932"/>
                  <a:gd name="connsiteX6" fmla="*/ 255644 w 279123"/>
                  <a:gd name="connsiteY6" fmla="*/ 16858 h 264932"/>
                  <a:gd name="connsiteX7" fmla="*/ 194015 w 279123"/>
                  <a:gd name="connsiteY7" fmla="*/ 10988 h 264932"/>
                  <a:gd name="connsiteX8" fmla="*/ 319 w 279123"/>
                  <a:gd name="connsiteY8" fmla="*/ 169466 h 264932"/>
                  <a:gd name="connsiteX9" fmla="*/ 41406 w 279123"/>
                  <a:gd name="connsiteY9" fmla="*/ 251640 h 264932"/>
                  <a:gd name="connsiteX10" fmla="*/ 155862 w 279123"/>
                  <a:gd name="connsiteY10" fmla="*/ 228162 h 26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9123" h="264932">
                    <a:moveTo>
                      <a:pt x="155862" y="228162"/>
                    </a:moveTo>
                    <a:cubicBezTo>
                      <a:pt x="191080" y="222293"/>
                      <a:pt x="208689" y="236967"/>
                      <a:pt x="240971" y="225227"/>
                    </a:cubicBezTo>
                    <a:cubicBezTo>
                      <a:pt x="267384" y="216423"/>
                      <a:pt x="267384" y="190010"/>
                      <a:pt x="252710" y="172401"/>
                    </a:cubicBezTo>
                    <a:cubicBezTo>
                      <a:pt x="273253" y="169466"/>
                      <a:pt x="279123" y="160662"/>
                      <a:pt x="279123" y="140119"/>
                    </a:cubicBezTo>
                    <a:cubicBezTo>
                      <a:pt x="279123" y="131314"/>
                      <a:pt x="270318" y="113706"/>
                      <a:pt x="264449" y="110771"/>
                    </a:cubicBezTo>
                    <a:cubicBezTo>
                      <a:pt x="282058" y="104901"/>
                      <a:pt x="276188" y="60880"/>
                      <a:pt x="252710" y="55010"/>
                    </a:cubicBezTo>
                    <a:cubicBezTo>
                      <a:pt x="267384" y="43271"/>
                      <a:pt x="258579" y="25662"/>
                      <a:pt x="255644" y="16858"/>
                    </a:cubicBezTo>
                    <a:cubicBezTo>
                      <a:pt x="240971" y="-15425"/>
                      <a:pt x="205754" y="8053"/>
                      <a:pt x="194015" y="10988"/>
                    </a:cubicBezTo>
                    <a:cubicBezTo>
                      <a:pt x="103036" y="28597"/>
                      <a:pt x="29667" y="116641"/>
                      <a:pt x="319" y="169466"/>
                    </a:cubicBezTo>
                    <a:cubicBezTo>
                      <a:pt x="-2616" y="166532"/>
                      <a:pt x="14993" y="216423"/>
                      <a:pt x="41406" y="251640"/>
                    </a:cubicBezTo>
                    <a:cubicBezTo>
                      <a:pt x="56080" y="272184"/>
                      <a:pt x="103036" y="272184"/>
                      <a:pt x="155862" y="228162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293EFD29-35C9-423E-8ED4-1199BB18B75C}"/>
                  </a:ext>
                </a:extLst>
              </p:cNvPr>
              <p:cNvSpPr/>
              <p:nvPr/>
            </p:nvSpPr>
            <p:spPr>
              <a:xfrm>
                <a:off x="13563435" y="3451436"/>
                <a:ext cx="160671" cy="70941"/>
              </a:xfrm>
              <a:custGeom>
                <a:avLst/>
                <a:gdLst>
                  <a:gd name="connsiteX0" fmla="*/ 150889 w 160671"/>
                  <a:gd name="connsiteY0" fmla="*/ 70942 h 70941"/>
                  <a:gd name="connsiteX1" fmla="*/ 150889 w 160671"/>
                  <a:gd name="connsiteY1" fmla="*/ 70942 h 70941"/>
                  <a:gd name="connsiteX2" fmla="*/ 145020 w 160671"/>
                  <a:gd name="connsiteY2" fmla="*/ 62138 h 70941"/>
                  <a:gd name="connsiteX3" fmla="*/ 147955 w 160671"/>
                  <a:gd name="connsiteY3" fmla="*/ 23985 h 70941"/>
                  <a:gd name="connsiteX4" fmla="*/ 133281 w 160671"/>
                  <a:gd name="connsiteY4" fmla="*/ 15181 h 70941"/>
                  <a:gd name="connsiteX5" fmla="*/ 10020 w 160671"/>
                  <a:gd name="connsiteY5" fmla="*/ 56268 h 70941"/>
                  <a:gd name="connsiteX6" fmla="*/ 1216 w 160671"/>
                  <a:gd name="connsiteY6" fmla="*/ 53333 h 70941"/>
                  <a:gd name="connsiteX7" fmla="*/ 4150 w 160671"/>
                  <a:gd name="connsiteY7" fmla="*/ 44529 h 70941"/>
                  <a:gd name="connsiteX8" fmla="*/ 133281 w 160671"/>
                  <a:gd name="connsiteY8" fmla="*/ 507 h 70941"/>
                  <a:gd name="connsiteX9" fmla="*/ 156759 w 160671"/>
                  <a:gd name="connsiteY9" fmla="*/ 15181 h 70941"/>
                  <a:gd name="connsiteX10" fmla="*/ 156759 w 160671"/>
                  <a:gd name="connsiteY10" fmla="*/ 62138 h 70941"/>
                  <a:gd name="connsiteX11" fmla="*/ 150889 w 160671"/>
                  <a:gd name="connsiteY11" fmla="*/ 70942 h 70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0671" h="70941">
                    <a:moveTo>
                      <a:pt x="150889" y="70942"/>
                    </a:moveTo>
                    <a:cubicBezTo>
                      <a:pt x="150889" y="70942"/>
                      <a:pt x="147955" y="70942"/>
                      <a:pt x="150889" y="70942"/>
                    </a:cubicBezTo>
                    <a:cubicBezTo>
                      <a:pt x="145020" y="68007"/>
                      <a:pt x="145020" y="65072"/>
                      <a:pt x="145020" y="62138"/>
                    </a:cubicBezTo>
                    <a:cubicBezTo>
                      <a:pt x="145020" y="62138"/>
                      <a:pt x="153824" y="38659"/>
                      <a:pt x="147955" y="23985"/>
                    </a:cubicBezTo>
                    <a:cubicBezTo>
                      <a:pt x="145020" y="18116"/>
                      <a:pt x="139150" y="15181"/>
                      <a:pt x="133281" y="15181"/>
                    </a:cubicBezTo>
                    <a:cubicBezTo>
                      <a:pt x="92193" y="6377"/>
                      <a:pt x="10020" y="56268"/>
                      <a:pt x="10020" y="56268"/>
                    </a:cubicBezTo>
                    <a:cubicBezTo>
                      <a:pt x="7085" y="59203"/>
                      <a:pt x="4150" y="56268"/>
                      <a:pt x="1216" y="53333"/>
                    </a:cubicBezTo>
                    <a:cubicBezTo>
                      <a:pt x="-1719" y="50398"/>
                      <a:pt x="1216" y="47464"/>
                      <a:pt x="4150" y="44529"/>
                    </a:cubicBezTo>
                    <a:cubicBezTo>
                      <a:pt x="7085" y="41594"/>
                      <a:pt x="89259" y="-5362"/>
                      <a:pt x="133281" y="507"/>
                    </a:cubicBezTo>
                    <a:cubicBezTo>
                      <a:pt x="145020" y="3442"/>
                      <a:pt x="150889" y="6377"/>
                      <a:pt x="156759" y="15181"/>
                    </a:cubicBezTo>
                    <a:cubicBezTo>
                      <a:pt x="165563" y="32790"/>
                      <a:pt x="156759" y="62138"/>
                      <a:pt x="156759" y="62138"/>
                    </a:cubicBezTo>
                    <a:cubicBezTo>
                      <a:pt x="153824" y="68007"/>
                      <a:pt x="150889" y="70942"/>
                      <a:pt x="150889" y="70942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9B2ECD37-6857-4A43-83B3-D806B67E4614}"/>
                  </a:ext>
                </a:extLst>
              </p:cNvPr>
              <p:cNvSpPr/>
              <p:nvPr/>
            </p:nvSpPr>
            <p:spPr>
              <a:xfrm>
                <a:off x="13667368" y="3537052"/>
                <a:ext cx="16317" cy="96847"/>
              </a:xfrm>
              <a:custGeom>
                <a:avLst/>
                <a:gdLst>
                  <a:gd name="connsiteX0" fmla="*/ 5869 w 16317"/>
                  <a:gd name="connsiteY0" fmla="*/ 96848 h 96847"/>
                  <a:gd name="connsiteX1" fmla="*/ 5869 w 16317"/>
                  <a:gd name="connsiteY1" fmla="*/ 96848 h 96847"/>
                  <a:gd name="connsiteX2" fmla="*/ 0 w 16317"/>
                  <a:gd name="connsiteY2" fmla="*/ 90978 h 96847"/>
                  <a:gd name="connsiteX3" fmla="*/ 5869 w 16317"/>
                  <a:gd name="connsiteY3" fmla="*/ 5869 h 96847"/>
                  <a:gd name="connsiteX4" fmla="*/ 8804 w 16317"/>
                  <a:gd name="connsiteY4" fmla="*/ 0 h 96847"/>
                  <a:gd name="connsiteX5" fmla="*/ 14674 w 16317"/>
                  <a:gd name="connsiteY5" fmla="*/ 2935 h 96847"/>
                  <a:gd name="connsiteX6" fmla="*/ 8804 w 16317"/>
                  <a:gd name="connsiteY6" fmla="*/ 90978 h 96847"/>
                  <a:gd name="connsiteX7" fmla="*/ 5869 w 16317"/>
                  <a:gd name="connsiteY7" fmla="*/ 96848 h 96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17" h="96847">
                    <a:moveTo>
                      <a:pt x="5869" y="96848"/>
                    </a:moveTo>
                    <a:cubicBezTo>
                      <a:pt x="5869" y="96848"/>
                      <a:pt x="5869" y="96848"/>
                      <a:pt x="5869" y="96848"/>
                    </a:cubicBezTo>
                    <a:cubicBezTo>
                      <a:pt x="2934" y="96848"/>
                      <a:pt x="0" y="93913"/>
                      <a:pt x="0" y="90978"/>
                    </a:cubicBezTo>
                    <a:cubicBezTo>
                      <a:pt x="2934" y="73370"/>
                      <a:pt x="8804" y="23478"/>
                      <a:pt x="5869" y="5869"/>
                    </a:cubicBezTo>
                    <a:cubicBezTo>
                      <a:pt x="5869" y="2935"/>
                      <a:pt x="5869" y="0"/>
                      <a:pt x="8804" y="0"/>
                    </a:cubicBezTo>
                    <a:cubicBezTo>
                      <a:pt x="11739" y="0"/>
                      <a:pt x="14674" y="0"/>
                      <a:pt x="14674" y="2935"/>
                    </a:cubicBezTo>
                    <a:cubicBezTo>
                      <a:pt x="20543" y="23478"/>
                      <a:pt x="8804" y="88043"/>
                      <a:pt x="8804" y="90978"/>
                    </a:cubicBezTo>
                    <a:cubicBezTo>
                      <a:pt x="11739" y="96848"/>
                      <a:pt x="8804" y="96848"/>
                      <a:pt x="5869" y="96848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A8A5BB66-8456-4982-98A4-54D9EFC3D373}"/>
                </a:ext>
              </a:extLst>
            </p:cNvPr>
            <p:cNvSpPr/>
            <p:nvPr/>
          </p:nvSpPr>
          <p:spPr>
            <a:xfrm>
              <a:off x="12476146" y="2733921"/>
              <a:ext cx="1018069" cy="1059838"/>
            </a:xfrm>
            <a:custGeom>
              <a:avLst/>
              <a:gdLst>
                <a:gd name="connsiteX0" fmla="*/ 93613 w 1018069"/>
                <a:gd name="connsiteY0" fmla="*/ 4869 h 1059838"/>
                <a:gd name="connsiteX1" fmla="*/ 439918 w 1018069"/>
                <a:gd name="connsiteY1" fmla="*/ 380522 h 1059838"/>
                <a:gd name="connsiteX2" fmla="*/ 563178 w 1018069"/>
                <a:gd name="connsiteY2" fmla="*/ 817804 h 1059838"/>
                <a:gd name="connsiteX3" fmla="*/ 1018069 w 1018069"/>
                <a:gd name="connsiteY3" fmla="*/ 829543 h 1059838"/>
                <a:gd name="connsiteX4" fmla="*/ 1018069 w 1018069"/>
                <a:gd name="connsiteY4" fmla="*/ 988021 h 1059838"/>
                <a:gd name="connsiteX5" fmla="*/ 337200 w 1018069"/>
                <a:gd name="connsiteY5" fmla="*/ 1029108 h 1059838"/>
                <a:gd name="connsiteX6" fmla="*/ 93613 w 1018069"/>
                <a:gd name="connsiteY6" fmla="*/ 4869 h 1059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069" h="1059838">
                  <a:moveTo>
                    <a:pt x="93613" y="4869"/>
                  </a:moveTo>
                  <a:cubicBezTo>
                    <a:pt x="216874" y="-42087"/>
                    <a:pt x="398831" y="263130"/>
                    <a:pt x="439918" y="380522"/>
                  </a:cubicBezTo>
                  <a:cubicBezTo>
                    <a:pt x="478069" y="497913"/>
                    <a:pt x="563178" y="817804"/>
                    <a:pt x="563178" y="817804"/>
                  </a:cubicBezTo>
                  <a:lnTo>
                    <a:pt x="1018069" y="829543"/>
                  </a:lnTo>
                  <a:lnTo>
                    <a:pt x="1018069" y="988021"/>
                  </a:lnTo>
                  <a:cubicBezTo>
                    <a:pt x="1018069" y="988021"/>
                    <a:pt x="425244" y="1117152"/>
                    <a:pt x="337200" y="1029108"/>
                  </a:cubicBezTo>
                  <a:cubicBezTo>
                    <a:pt x="219809" y="911717"/>
                    <a:pt x="-179322" y="110521"/>
                    <a:pt x="93613" y="4869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5E2D3B38-B634-4830-92B6-C105A3BE030B}"/>
                </a:ext>
              </a:extLst>
            </p:cNvPr>
            <p:cNvSpPr/>
            <p:nvPr/>
          </p:nvSpPr>
          <p:spPr>
            <a:xfrm>
              <a:off x="12508129" y="2736590"/>
              <a:ext cx="413803" cy="383722"/>
            </a:xfrm>
            <a:custGeom>
              <a:avLst/>
              <a:gdLst>
                <a:gd name="connsiteX0" fmla="*/ 407935 w 413803"/>
                <a:gd name="connsiteY0" fmla="*/ 383723 h 383722"/>
                <a:gd name="connsiteX1" fmla="*/ 402065 w 413803"/>
                <a:gd name="connsiteY1" fmla="*/ 380788 h 383722"/>
                <a:gd name="connsiteX2" fmla="*/ 202500 w 413803"/>
                <a:gd name="connsiteY2" fmla="*/ 60897 h 383722"/>
                <a:gd name="connsiteX3" fmla="*/ 67500 w 413803"/>
                <a:gd name="connsiteY3" fmla="*/ 11005 h 383722"/>
                <a:gd name="connsiteX4" fmla="*/ 8804 w 413803"/>
                <a:gd name="connsiteY4" fmla="*/ 55027 h 383722"/>
                <a:gd name="connsiteX5" fmla="*/ 2934 w 413803"/>
                <a:gd name="connsiteY5" fmla="*/ 57962 h 383722"/>
                <a:gd name="connsiteX6" fmla="*/ 0 w 413803"/>
                <a:gd name="connsiteY6" fmla="*/ 52092 h 383722"/>
                <a:gd name="connsiteX7" fmla="*/ 67500 w 413803"/>
                <a:gd name="connsiteY7" fmla="*/ 2201 h 383722"/>
                <a:gd name="connsiteX8" fmla="*/ 211304 w 413803"/>
                <a:gd name="connsiteY8" fmla="*/ 55027 h 383722"/>
                <a:gd name="connsiteX9" fmla="*/ 413804 w 413803"/>
                <a:gd name="connsiteY9" fmla="*/ 380788 h 383722"/>
                <a:gd name="connsiteX10" fmla="*/ 407935 w 413803"/>
                <a:gd name="connsiteY10" fmla="*/ 383723 h 383722"/>
                <a:gd name="connsiteX11" fmla="*/ 407935 w 413803"/>
                <a:gd name="connsiteY11" fmla="*/ 383723 h 38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3803" h="383722">
                  <a:moveTo>
                    <a:pt x="407935" y="383723"/>
                  </a:moveTo>
                  <a:cubicBezTo>
                    <a:pt x="405000" y="383723"/>
                    <a:pt x="402065" y="380788"/>
                    <a:pt x="402065" y="380788"/>
                  </a:cubicBezTo>
                  <a:cubicBezTo>
                    <a:pt x="402065" y="377853"/>
                    <a:pt x="337500" y="169484"/>
                    <a:pt x="202500" y="60897"/>
                  </a:cubicBezTo>
                  <a:cubicBezTo>
                    <a:pt x="149673" y="19810"/>
                    <a:pt x="105651" y="2201"/>
                    <a:pt x="67500" y="11005"/>
                  </a:cubicBezTo>
                  <a:cubicBezTo>
                    <a:pt x="26413" y="19810"/>
                    <a:pt x="8804" y="55027"/>
                    <a:pt x="8804" y="55027"/>
                  </a:cubicBezTo>
                  <a:cubicBezTo>
                    <a:pt x="8804" y="57962"/>
                    <a:pt x="2934" y="57962"/>
                    <a:pt x="2934" y="57962"/>
                  </a:cubicBezTo>
                  <a:cubicBezTo>
                    <a:pt x="0" y="57962"/>
                    <a:pt x="0" y="52092"/>
                    <a:pt x="0" y="52092"/>
                  </a:cubicBezTo>
                  <a:cubicBezTo>
                    <a:pt x="0" y="49158"/>
                    <a:pt x="20543" y="11005"/>
                    <a:pt x="67500" y="2201"/>
                  </a:cubicBezTo>
                  <a:cubicBezTo>
                    <a:pt x="108586" y="-6603"/>
                    <a:pt x="158478" y="11005"/>
                    <a:pt x="211304" y="55027"/>
                  </a:cubicBezTo>
                  <a:cubicBezTo>
                    <a:pt x="349239" y="166549"/>
                    <a:pt x="413804" y="380788"/>
                    <a:pt x="413804" y="380788"/>
                  </a:cubicBezTo>
                  <a:cubicBezTo>
                    <a:pt x="413804" y="380788"/>
                    <a:pt x="410870" y="383723"/>
                    <a:pt x="407935" y="383723"/>
                  </a:cubicBezTo>
                  <a:cubicBezTo>
                    <a:pt x="407935" y="383723"/>
                    <a:pt x="407935" y="383723"/>
                    <a:pt x="407935" y="383723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9EE3AD86-266A-4A2F-8FEC-F64BF4C5522D}"/>
                </a:ext>
              </a:extLst>
            </p:cNvPr>
            <p:cNvSpPr/>
            <p:nvPr/>
          </p:nvSpPr>
          <p:spPr>
            <a:xfrm>
              <a:off x="12931471" y="3545856"/>
              <a:ext cx="113722" cy="76304"/>
            </a:xfrm>
            <a:custGeom>
              <a:avLst/>
              <a:gdLst>
                <a:gd name="connsiteX0" fmla="*/ 72636 w 113722"/>
                <a:gd name="connsiteY0" fmla="*/ 76304 h 76304"/>
                <a:gd name="connsiteX1" fmla="*/ 72636 w 113722"/>
                <a:gd name="connsiteY1" fmla="*/ 76304 h 76304"/>
                <a:gd name="connsiteX2" fmla="*/ 66766 w 113722"/>
                <a:gd name="connsiteY2" fmla="*/ 70435 h 76304"/>
                <a:gd name="connsiteX3" fmla="*/ 93179 w 113722"/>
                <a:gd name="connsiteY3" fmla="*/ 20544 h 76304"/>
                <a:gd name="connsiteX4" fmla="*/ 11005 w 113722"/>
                <a:gd name="connsiteY4" fmla="*/ 64565 h 76304"/>
                <a:gd name="connsiteX5" fmla="*/ 2201 w 113722"/>
                <a:gd name="connsiteY5" fmla="*/ 64565 h 76304"/>
                <a:gd name="connsiteX6" fmla="*/ 2201 w 113722"/>
                <a:gd name="connsiteY6" fmla="*/ 55761 h 76304"/>
                <a:gd name="connsiteX7" fmla="*/ 107853 w 113722"/>
                <a:gd name="connsiteY7" fmla="*/ 0 h 76304"/>
                <a:gd name="connsiteX8" fmla="*/ 113723 w 113722"/>
                <a:gd name="connsiteY8" fmla="*/ 2935 h 76304"/>
                <a:gd name="connsiteX9" fmla="*/ 113723 w 113722"/>
                <a:gd name="connsiteY9" fmla="*/ 8804 h 76304"/>
                <a:gd name="connsiteX10" fmla="*/ 78505 w 113722"/>
                <a:gd name="connsiteY10" fmla="*/ 70435 h 76304"/>
                <a:gd name="connsiteX11" fmla="*/ 72636 w 113722"/>
                <a:gd name="connsiteY11" fmla="*/ 76304 h 7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3722" h="76304">
                  <a:moveTo>
                    <a:pt x="72636" y="76304"/>
                  </a:moveTo>
                  <a:cubicBezTo>
                    <a:pt x="72636" y="76304"/>
                    <a:pt x="72636" y="76304"/>
                    <a:pt x="72636" y="76304"/>
                  </a:cubicBezTo>
                  <a:cubicBezTo>
                    <a:pt x="69701" y="76304"/>
                    <a:pt x="66766" y="73369"/>
                    <a:pt x="66766" y="70435"/>
                  </a:cubicBezTo>
                  <a:cubicBezTo>
                    <a:pt x="69701" y="52826"/>
                    <a:pt x="81440" y="35217"/>
                    <a:pt x="93179" y="20544"/>
                  </a:cubicBezTo>
                  <a:cubicBezTo>
                    <a:pt x="63831" y="32283"/>
                    <a:pt x="19809" y="52826"/>
                    <a:pt x="11005" y="64565"/>
                  </a:cubicBezTo>
                  <a:cubicBezTo>
                    <a:pt x="8070" y="67500"/>
                    <a:pt x="5135" y="67500"/>
                    <a:pt x="2201" y="64565"/>
                  </a:cubicBezTo>
                  <a:cubicBezTo>
                    <a:pt x="-734" y="61631"/>
                    <a:pt x="-734" y="58696"/>
                    <a:pt x="2201" y="55761"/>
                  </a:cubicBezTo>
                  <a:cubicBezTo>
                    <a:pt x="19809" y="35217"/>
                    <a:pt x="99049" y="2935"/>
                    <a:pt x="107853" y="0"/>
                  </a:cubicBezTo>
                  <a:cubicBezTo>
                    <a:pt x="110788" y="0"/>
                    <a:pt x="113723" y="0"/>
                    <a:pt x="113723" y="2935"/>
                  </a:cubicBezTo>
                  <a:cubicBezTo>
                    <a:pt x="113723" y="5870"/>
                    <a:pt x="113723" y="8804"/>
                    <a:pt x="113723" y="8804"/>
                  </a:cubicBezTo>
                  <a:cubicBezTo>
                    <a:pt x="113723" y="8804"/>
                    <a:pt x="84375" y="46957"/>
                    <a:pt x="78505" y="70435"/>
                  </a:cubicBezTo>
                  <a:cubicBezTo>
                    <a:pt x="78505" y="73369"/>
                    <a:pt x="75571" y="76304"/>
                    <a:pt x="72636" y="76304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0044E2C7-86CD-4786-A6B4-D00C903AF2E0}"/>
                </a:ext>
              </a:extLst>
            </p:cNvPr>
            <p:cNvSpPr/>
            <p:nvPr/>
          </p:nvSpPr>
          <p:spPr>
            <a:xfrm>
              <a:off x="12502259" y="3126182"/>
              <a:ext cx="994891" cy="677934"/>
            </a:xfrm>
            <a:custGeom>
              <a:avLst/>
              <a:gdLst>
                <a:gd name="connsiteX0" fmla="*/ 481304 w 994891"/>
                <a:gd name="connsiteY0" fmla="*/ 677935 h 677934"/>
                <a:gd name="connsiteX1" fmla="*/ 311087 w 994891"/>
                <a:gd name="connsiteY1" fmla="*/ 645652 h 677934"/>
                <a:gd name="connsiteX2" fmla="*/ 90978 w 994891"/>
                <a:gd name="connsiteY2" fmla="*/ 281739 h 677934"/>
                <a:gd name="connsiteX3" fmla="*/ 0 w 994891"/>
                <a:gd name="connsiteY3" fmla="*/ 5869 h 677934"/>
                <a:gd name="connsiteX4" fmla="*/ 2935 w 994891"/>
                <a:gd name="connsiteY4" fmla="*/ 0 h 677934"/>
                <a:gd name="connsiteX5" fmla="*/ 8804 w 994891"/>
                <a:gd name="connsiteY5" fmla="*/ 2935 h 677934"/>
                <a:gd name="connsiteX6" fmla="*/ 314022 w 994891"/>
                <a:gd name="connsiteY6" fmla="*/ 633913 h 677934"/>
                <a:gd name="connsiteX7" fmla="*/ 989022 w 994891"/>
                <a:gd name="connsiteY7" fmla="*/ 589891 h 677934"/>
                <a:gd name="connsiteX8" fmla="*/ 994891 w 994891"/>
                <a:gd name="connsiteY8" fmla="*/ 592826 h 677934"/>
                <a:gd name="connsiteX9" fmla="*/ 991956 w 994891"/>
                <a:gd name="connsiteY9" fmla="*/ 598696 h 677934"/>
                <a:gd name="connsiteX10" fmla="*/ 481304 w 994891"/>
                <a:gd name="connsiteY10" fmla="*/ 677935 h 67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4891" h="677934">
                  <a:moveTo>
                    <a:pt x="481304" y="677935"/>
                  </a:moveTo>
                  <a:cubicBezTo>
                    <a:pt x="407935" y="677935"/>
                    <a:pt x="346304" y="669130"/>
                    <a:pt x="311087" y="645652"/>
                  </a:cubicBezTo>
                  <a:cubicBezTo>
                    <a:pt x="240653" y="598696"/>
                    <a:pt x="167283" y="475435"/>
                    <a:pt x="90978" y="281739"/>
                  </a:cubicBezTo>
                  <a:cubicBezTo>
                    <a:pt x="35218" y="137935"/>
                    <a:pt x="0" y="8804"/>
                    <a:pt x="0" y="5869"/>
                  </a:cubicBezTo>
                  <a:cubicBezTo>
                    <a:pt x="0" y="2935"/>
                    <a:pt x="0" y="0"/>
                    <a:pt x="2935" y="0"/>
                  </a:cubicBezTo>
                  <a:cubicBezTo>
                    <a:pt x="5870" y="0"/>
                    <a:pt x="8804" y="0"/>
                    <a:pt x="8804" y="2935"/>
                  </a:cubicBezTo>
                  <a:cubicBezTo>
                    <a:pt x="8804" y="8804"/>
                    <a:pt x="149674" y="522391"/>
                    <a:pt x="314022" y="633913"/>
                  </a:cubicBezTo>
                  <a:cubicBezTo>
                    <a:pt x="443152" y="721957"/>
                    <a:pt x="983152" y="592826"/>
                    <a:pt x="989022" y="589891"/>
                  </a:cubicBezTo>
                  <a:cubicBezTo>
                    <a:pt x="991956" y="589891"/>
                    <a:pt x="994891" y="589891"/>
                    <a:pt x="994891" y="592826"/>
                  </a:cubicBezTo>
                  <a:cubicBezTo>
                    <a:pt x="994891" y="595761"/>
                    <a:pt x="994891" y="598696"/>
                    <a:pt x="991956" y="598696"/>
                  </a:cubicBezTo>
                  <a:cubicBezTo>
                    <a:pt x="977282" y="607500"/>
                    <a:pt x="686739" y="677935"/>
                    <a:pt x="481304" y="677935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5" name="图形 1">
              <a:extLst>
                <a:ext uri="{FF2B5EF4-FFF2-40B4-BE49-F238E27FC236}">
                  <a16:creationId xmlns:a16="http://schemas.microsoft.com/office/drawing/2014/main" id="{E41A4979-07D5-42B1-8ECE-85D70B32DCD7}"/>
                </a:ext>
              </a:extLst>
            </p:cNvPr>
            <p:cNvGrpSpPr/>
            <p:nvPr/>
          </p:nvGrpSpPr>
          <p:grpSpPr>
            <a:xfrm>
              <a:off x="12551784" y="1862256"/>
              <a:ext cx="742679" cy="330665"/>
              <a:chOff x="12551784" y="1862256"/>
              <a:chExt cx="742679" cy="330665"/>
            </a:xfrm>
          </p:grpSpPr>
          <p:grpSp>
            <p:nvGrpSpPr>
              <p:cNvPr id="106" name="图形 1">
                <a:extLst>
                  <a:ext uri="{FF2B5EF4-FFF2-40B4-BE49-F238E27FC236}">
                    <a16:creationId xmlns:a16="http://schemas.microsoft.com/office/drawing/2014/main" id="{6B1C2F2D-3CCC-4E16-8727-80CFAF573ACE}"/>
                  </a:ext>
                </a:extLst>
              </p:cNvPr>
              <p:cNvGrpSpPr/>
              <p:nvPr/>
            </p:nvGrpSpPr>
            <p:grpSpPr>
              <a:xfrm>
                <a:off x="12551784" y="1862256"/>
                <a:ext cx="716703" cy="313506"/>
                <a:chOff x="12551784" y="1862256"/>
                <a:chExt cx="716703" cy="313506"/>
              </a:xfrm>
            </p:grpSpPr>
            <p:sp>
              <p:nvSpPr>
                <p:cNvPr id="109" name="任意多边形: 形状 108">
                  <a:extLst>
                    <a:ext uri="{FF2B5EF4-FFF2-40B4-BE49-F238E27FC236}">
                      <a16:creationId xmlns:a16="http://schemas.microsoft.com/office/drawing/2014/main" id="{A844F60C-35F5-4301-8DC0-5FAF3B4C3FF9}"/>
                    </a:ext>
                  </a:extLst>
                </p:cNvPr>
                <p:cNvSpPr/>
                <p:nvPr/>
              </p:nvSpPr>
              <p:spPr>
                <a:xfrm>
                  <a:off x="12687884" y="1862256"/>
                  <a:ext cx="580603" cy="313506"/>
                </a:xfrm>
                <a:custGeom>
                  <a:avLst/>
                  <a:gdLst>
                    <a:gd name="connsiteX0" fmla="*/ 389593 w 580603"/>
                    <a:gd name="connsiteY0" fmla="*/ 4905 h 313506"/>
                    <a:gd name="connsiteX1" fmla="*/ 2201 w 580603"/>
                    <a:gd name="connsiteY1" fmla="*/ 172187 h 313506"/>
                    <a:gd name="connsiteX2" fmla="*/ 2201 w 580603"/>
                    <a:gd name="connsiteY2" fmla="*/ 180992 h 313506"/>
                    <a:gd name="connsiteX3" fmla="*/ 81441 w 580603"/>
                    <a:gd name="connsiteY3" fmla="*/ 227948 h 313506"/>
                    <a:gd name="connsiteX4" fmla="*/ 72636 w 580603"/>
                    <a:gd name="connsiteY4" fmla="*/ 307187 h 313506"/>
                    <a:gd name="connsiteX5" fmla="*/ 75571 w 580603"/>
                    <a:gd name="connsiteY5" fmla="*/ 313057 h 313506"/>
                    <a:gd name="connsiteX6" fmla="*/ 78506 w 580603"/>
                    <a:gd name="connsiteY6" fmla="*/ 313057 h 313506"/>
                    <a:gd name="connsiteX7" fmla="*/ 386658 w 580603"/>
                    <a:gd name="connsiteY7" fmla="*/ 286644 h 313506"/>
                    <a:gd name="connsiteX8" fmla="*/ 577419 w 580603"/>
                    <a:gd name="connsiteY8" fmla="*/ 219144 h 313506"/>
                    <a:gd name="connsiteX9" fmla="*/ 580354 w 580603"/>
                    <a:gd name="connsiteY9" fmla="*/ 210340 h 313506"/>
                    <a:gd name="connsiteX10" fmla="*/ 389593 w 580603"/>
                    <a:gd name="connsiteY10" fmla="*/ 4905 h 313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80603" h="313506">
                      <a:moveTo>
                        <a:pt x="389593" y="4905"/>
                      </a:moveTo>
                      <a:cubicBezTo>
                        <a:pt x="234049" y="-18573"/>
                        <a:pt x="93180" y="43057"/>
                        <a:pt x="2201" y="172187"/>
                      </a:cubicBezTo>
                      <a:cubicBezTo>
                        <a:pt x="-734" y="175122"/>
                        <a:pt x="-734" y="178057"/>
                        <a:pt x="2201" y="180992"/>
                      </a:cubicBezTo>
                      <a:cubicBezTo>
                        <a:pt x="2201" y="183927"/>
                        <a:pt x="28614" y="222079"/>
                        <a:pt x="81441" y="227948"/>
                      </a:cubicBezTo>
                      <a:cubicBezTo>
                        <a:pt x="72636" y="266100"/>
                        <a:pt x="72636" y="307187"/>
                        <a:pt x="72636" y="307187"/>
                      </a:cubicBezTo>
                      <a:cubicBezTo>
                        <a:pt x="72636" y="310122"/>
                        <a:pt x="72636" y="310122"/>
                        <a:pt x="75571" y="313057"/>
                      </a:cubicBezTo>
                      <a:cubicBezTo>
                        <a:pt x="75571" y="313057"/>
                        <a:pt x="78506" y="313057"/>
                        <a:pt x="78506" y="313057"/>
                      </a:cubicBezTo>
                      <a:cubicBezTo>
                        <a:pt x="207636" y="315992"/>
                        <a:pt x="310353" y="304253"/>
                        <a:pt x="386658" y="286644"/>
                      </a:cubicBezTo>
                      <a:cubicBezTo>
                        <a:pt x="515788" y="260231"/>
                        <a:pt x="574484" y="222079"/>
                        <a:pt x="577419" y="219144"/>
                      </a:cubicBezTo>
                      <a:cubicBezTo>
                        <a:pt x="580354" y="216209"/>
                        <a:pt x="580354" y="213274"/>
                        <a:pt x="580354" y="210340"/>
                      </a:cubicBezTo>
                      <a:cubicBezTo>
                        <a:pt x="583289" y="210340"/>
                        <a:pt x="562745" y="28383"/>
                        <a:pt x="389593" y="4905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" name="任意多边形: 形状 109">
                  <a:extLst>
                    <a:ext uri="{FF2B5EF4-FFF2-40B4-BE49-F238E27FC236}">
                      <a16:creationId xmlns:a16="http://schemas.microsoft.com/office/drawing/2014/main" id="{DDD56CAB-C64A-4C7C-8B8B-E2996836F8CE}"/>
                    </a:ext>
                  </a:extLst>
                </p:cNvPr>
                <p:cNvSpPr/>
                <p:nvPr/>
              </p:nvSpPr>
              <p:spPr>
                <a:xfrm>
                  <a:off x="12551784" y="1944097"/>
                  <a:ext cx="191891" cy="195998"/>
                </a:xfrm>
                <a:custGeom>
                  <a:avLst/>
                  <a:gdLst>
                    <a:gd name="connsiteX0" fmla="*/ 191128 w 191891"/>
                    <a:gd name="connsiteY0" fmla="*/ 75672 h 195998"/>
                    <a:gd name="connsiteX1" fmla="*/ 179388 w 191891"/>
                    <a:gd name="connsiteY1" fmla="*/ 49259 h 195998"/>
                    <a:gd name="connsiteX2" fmla="*/ 167649 w 191891"/>
                    <a:gd name="connsiteY2" fmla="*/ 43390 h 195998"/>
                    <a:gd name="connsiteX3" fmla="*/ 152975 w 191891"/>
                    <a:gd name="connsiteY3" fmla="*/ 19911 h 195998"/>
                    <a:gd name="connsiteX4" fmla="*/ 132432 w 191891"/>
                    <a:gd name="connsiteY4" fmla="*/ 14042 h 195998"/>
                    <a:gd name="connsiteX5" fmla="*/ 117758 w 191891"/>
                    <a:gd name="connsiteY5" fmla="*/ 14042 h 195998"/>
                    <a:gd name="connsiteX6" fmla="*/ 73737 w 191891"/>
                    <a:gd name="connsiteY6" fmla="*/ 2303 h 195998"/>
                    <a:gd name="connsiteX7" fmla="*/ 41454 w 191891"/>
                    <a:gd name="connsiteY7" fmla="*/ 37520 h 195998"/>
                    <a:gd name="connsiteX8" fmla="*/ 9171 w 191891"/>
                    <a:gd name="connsiteY8" fmla="*/ 81542 h 195998"/>
                    <a:gd name="connsiteX9" fmla="*/ 17975 w 191891"/>
                    <a:gd name="connsiteY9" fmla="*/ 131433 h 195998"/>
                    <a:gd name="connsiteX10" fmla="*/ 32649 w 191891"/>
                    <a:gd name="connsiteY10" fmla="*/ 169585 h 195998"/>
                    <a:gd name="connsiteX11" fmla="*/ 59063 w 191891"/>
                    <a:gd name="connsiteY11" fmla="*/ 178390 h 195998"/>
                    <a:gd name="connsiteX12" fmla="*/ 64932 w 191891"/>
                    <a:gd name="connsiteY12" fmla="*/ 178390 h 195998"/>
                    <a:gd name="connsiteX13" fmla="*/ 64932 w 191891"/>
                    <a:gd name="connsiteY13" fmla="*/ 178390 h 195998"/>
                    <a:gd name="connsiteX14" fmla="*/ 94280 w 191891"/>
                    <a:gd name="connsiteY14" fmla="*/ 195998 h 195998"/>
                    <a:gd name="connsiteX15" fmla="*/ 123628 w 191891"/>
                    <a:gd name="connsiteY15" fmla="*/ 184259 h 195998"/>
                    <a:gd name="connsiteX16" fmla="*/ 147106 w 191891"/>
                    <a:gd name="connsiteY16" fmla="*/ 181324 h 195998"/>
                    <a:gd name="connsiteX17" fmla="*/ 170584 w 191891"/>
                    <a:gd name="connsiteY17" fmla="*/ 160781 h 195998"/>
                    <a:gd name="connsiteX18" fmla="*/ 173519 w 191891"/>
                    <a:gd name="connsiteY18" fmla="*/ 146107 h 195998"/>
                    <a:gd name="connsiteX19" fmla="*/ 188193 w 191891"/>
                    <a:gd name="connsiteY19" fmla="*/ 128498 h 195998"/>
                    <a:gd name="connsiteX20" fmla="*/ 185258 w 191891"/>
                    <a:gd name="connsiteY20" fmla="*/ 105020 h 195998"/>
                    <a:gd name="connsiteX21" fmla="*/ 188193 w 191891"/>
                    <a:gd name="connsiteY21" fmla="*/ 102085 h 195998"/>
                    <a:gd name="connsiteX22" fmla="*/ 191128 w 191891"/>
                    <a:gd name="connsiteY22" fmla="*/ 75672 h 195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91891" h="195998">
                      <a:moveTo>
                        <a:pt x="191128" y="75672"/>
                      </a:moveTo>
                      <a:cubicBezTo>
                        <a:pt x="194062" y="66868"/>
                        <a:pt x="188193" y="55129"/>
                        <a:pt x="179388" y="49259"/>
                      </a:cubicBezTo>
                      <a:cubicBezTo>
                        <a:pt x="176454" y="46324"/>
                        <a:pt x="170584" y="43390"/>
                        <a:pt x="167649" y="43390"/>
                      </a:cubicBezTo>
                      <a:cubicBezTo>
                        <a:pt x="167649" y="34585"/>
                        <a:pt x="164714" y="25781"/>
                        <a:pt x="152975" y="19911"/>
                      </a:cubicBezTo>
                      <a:cubicBezTo>
                        <a:pt x="144171" y="14042"/>
                        <a:pt x="141236" y="14042"/>
                        <a:pt x="132432" y="14042"/>
                      </a:cubicBezTo>
                      <a:cubicBezTo>
                        <a:pt x="129497" y="14042"/>
                        <a:pt x="123628" y="14042"/>
                        <a:pt x="117758" y="14042"/>
                      </a:cubicBezTo>
                      <a:cubicBezTo>
                        <a:pt x="106019" y="2303"/>
                        <a:pt x="91345" y="-3567"/>
                        <a:pt x="73737" y="2303"/>
                      </a:cubicBezTo>
                      <a:cubicBezTo>
                        <a:pt x="56128" y="8172"/>
                        <a:pt x="44389" y="19911"/>
                        <a:pt x="41454" y="37520"/>
                      </a:cubicBezTo>
                      <a:cubicBezTo>
                        <a:pt x="17975" y="40455"/>
                        <a:pt x="3301" y="60998"/>
                        <a:pt x="9171" y="81542"/>
                      </a:cubicBezTo>
                      <a:cubicBezTo>
                        <a:pt x="-5503" y="96216"/>
                        <a:pt x="-2568" y="122629"/>
                        <a:pt x="17975" y="131433"/>
                      </a:cubicBezTo>
                      <a:cubicBezTo>
                        <a:pt x="17975" y="146107"/>
                        <a:pt x="20910" y="157846"/>
                        <a:pt x="32649" y="169585"/>
                      </a:cubicBezTo>
                      <a:cubicBezTo>
                        <a:pt x="41454" y="175455"/>
                        <a:pt x="50258" y="178390"/>
                        <a:pt x="59063" y="178390"/>
                      </a:cubicBezTo>
                      <a:cubicBezTo>
                        <a:pt x="61997" y="178390"/>
                        <a:pt x="61997" y="178390"/>
                        <a:pt x="64932" y="178390"/>
                      </a:cubicBezTo>
                      <a:cubicBezTo>
                        <a:pt x="64932" y="178390"/>
                        <a:pt x="64932" y="178390"/>
                        <a:pt x="64932" y="178390"/>
                      </a:cubicBezTo>
                      <a:cubicBezTo>
                        <a:pt x="70802" y="187194"/>
                        <a:pt x="82541" y="195998"/>
                        <a:pt x="94280" y="195998"/>
                      </a:cubicBezTo>
                      <a:cubicBezTo>
                        <a:pt x="106019" y="195998"/>
                        <a:pt x="114824" y="190129"/>
                        <a:pt x="123628" y="184259"/>
                      </a:cubicBezTo>
                      <a:cubicBezTo>
                        <a:pt x="132432" y="187194"/>
                        <a:pt x="138301" y="184259"/>
                        <a:pt x="147106" y="181324"/>
                      </a:cubicBezTo>
                      <a:cubicBezTo>
                        <a:pt x="155910" y="178390"/>
                        <a:pt x="164714" y="169585"/>
                        <a:pt x="170584" y="160781"/>
                      </a:cubicBezTo>
                      <a:cubicBezTo>
                        <a:pt x="173519" y="157846"/>
                        <a:pt x="173519" y="151977"/>
                        <a:pt x="173519" y="146107"/>
                      </a:cubicBezTo>
                      <a:cubicBezTo>
                        <a:pt x="179388" y="143172"/>
                        <a:pt x="185258" y="137303"/>
                        <a:pt x="188193" y="128498"/>
                      </a:cubicBezTo>
                      <a:cubicBezTo>
                        <a:pt x="191128" y="116759"/>
                        <a:pt x="188193" y="110890"/>
                        <a:pt x="185258" y="105020"/>
                      </a:cubicBezTo>
                      <a:cubicBezTo>
                        <a:pt x="185258" y="105020"/>
                        <a:pt x="185258" y="105020"/>
                        <a:pt x="188193" y="102085"/>
                      </a:cubicBezTo>
                      <a:cubicBezTo>
                        <a:pt x="188193" y="87411"/>
                        <a:pt x="191128" y="81542"/>
                        <a:pt x="191128" y="75672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1F31CB2C-9F49-48E0-A7B4-194807A4A9CD}"/>
                  </a:ext>
                </a:extLst>
              </p:cNvPr>
              <p:cNvSpPr/>
              <p:nvPr/>
            </p:nvSpPr>
            <p:spPr>
              <a:xfrm>
                <a:off x="12754651" y="2037378"/>
                <a:ext cx="32282" cy="114456"/>
              </a:xfrm>
              <a:custGeom>
                <a:avLst/>
                <a:gdLst>
                  <a:gd name="connsiteX0" fmla="*/ 5869 w 32282"/>
                  <a:gd name="connsiteY0" fmla="*/ 114457 h 114456"/>
                  <a:gd name="connsiteX1" fmla="*/ 5869 w 32282"/>
                  <a:gd name="connsiteY1" fmla="*/ 114457 h 114456"/>
                  <a:gd name="connsiteX2" fmla="*/ 0 w 32282"/>
                  <a:gd name="connsiteY2" fmla="*/ 108587 h 114456"/>
                  <a:gd name="connsiteX3" fmla="*/ 23478 w 32282"/>
                  <a:gd name="connsiteY3" fmla="*/ 2935 h 114456"/>
                  <a:gd name="connsiteX4" fmla="*/ 29348 w 32282"/>
                  <a:gd name="connsiteY4" fmla="*/ 0 h 114456"/>
                  <a:gd name="connsiteX5" fmla="*/ 32283 w 32282"/>
                  <a:gd name="connsiteY5" fmla="*/ 5870 h 114456"/>
                  <a:gd name="connsiteX6" fmla="*/ 8804 w 32282"/>
                  <a:gd name="connsiteY6" fmla="*/ 108587 h 114456"/>
                  <a:gd name="connsiteX7" fmla="*/ 5869 w 32282"/>
                  <a:gd name="connsiteY7" fmla="*/ 114457 h 1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282" h="114456">
                    <a:moveTo>
                      <a:pt x="5869" y="114457"/>
                    </a:moveTo>
                    <a:cubicBezTo>
                      <a:pt x="5869" y="114457"/>
                      <a:pt x="5869" y="114457"/>
                      <a:pt x="5869" y="114457"/>
                    </a:cubicBezTo>
                    <a:cubicBezTo>
                      <a:pt x="2935" y="114457"/>
                      <a:pt x="0" y="111522"/>
                      <a:pt x="0" y="108587"/>
                    </a:cubicBezTo>
                    <a:cubicBezTo>
                      <a:pt x="0" y="105652"/>
                      <a:pt x="2935" y="44022"/>
                      <a:pt x="23478" y="2935"/>
                    </a:cubicBezTo>
                    <a:cubicBezTo>
                      <a:pt x="23478" y="0"/>
                      <a:pt x="29348" y="0"/>
                      <a:pt x="29348" y="0"/>
                    </a:cubicBezTo>
                    <a:cubicBezTo>
                      <a:pt x="32283" y="0"/>
                      <a:pt x="32283" y="5870"/>
                      <a:pt x="32283" y="5870"/>
                    </a:cubicBezTo>
                    <a:cubicBezTo>
                      <a:pt x="11739" y="46957"/>
                      <a:pt x="8804" y="108587"/>
                      <a:pt x="8804" y="108587"/>
                    </a:cubicBezTo>
                    <a:cubicBezTo>
                      <a:pt x="11739" y="111522"/>
                      <a:pt x="8804" y="114457"/>
                      <a:pt x="5869" y="11445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6297B5D7-02C7-4792-BECC-9472AABB21F1}"/>
                  </a:ext>
                </a:extLst>
              </p:cNvPr>
              <p:cNvSpPr/>
              <p:nvPr/>
            </p:nvSpPr>
            <p:spPr>
              <a:xfrm>
                <a:off x="12732996" y="2040698"/>
                <a:ext cx="561467" cy="152223"/>
              </a:xfrm>
              <a:custGeom>
                <a:avLst/>
                <a:gdLst>
                  <a:gd name="connsiteX0" fmla="*/ 520568 w 561467"/>
                  <a:gd name="connsiteY0" fmla="*/ 2549 h 152223"/>
                  <a:gd name="connsiteX1" fmla="*/ 24590 w 561467"/>
                  <a:gd name="connsiteY1" fmla="*/ 93527 h 152223"/>
                  <a:gd name="connsiteX2" fmla="*/ 33394 w 561467"/>
                  <a:gd name="connsiteY2" fmla="*/ 152223 h 152223"/>
                  <a:gd name="connsiteX3" fmla="*/ 544046 w 561467"/>
                  <a:gd name="connsiteY3" fmla="*/ 55375 h 152223"/>
                  <a:gd name="connsiteX4" fmla="*/ 520568 w 561467"/>
                  <a:gd name="connsiteY4" fmla="*/ 2549 h 152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1467" h="152223">
                    <a:moveTo>
                      <a:pt x="520568" y="2549"/>
                    </a:moveTo>
                    <a:cubicBezTo>
                      <a:pt x="365024" y="72984"/>
                      <a:pt x="194807" y="84723"/>
                      <a:pt x="24590" y="93527"/>
                    </a:cubicBezTo>
                    <a:cubicBezTo>
                      <a:pt x="-13563" y="96462"/>
                      <a:pt x="-4758" y="152223"/>
                      <a:pt x="33394" y="152223"/>
                    </a:cubicBezTo>
                    <a:cubicBezTo>
                      <a:pt x="209481" y="143419"/>
                      <a:pt x="382633" y="131680"/>
                      <a:pt x="544046" y="55375"/>
                    </a:cubicBezTo>
                    <a:cubicBezTo>
                      <a:pt x="579264" y="40701"/>
                      <a:pt x="555785" y="-12125"/>
                      <a:pt x="520568" y="2549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4287758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0A3123C0-21EA-488F-A678-FD18FA42A927}"/>
              </a:ext>
            </a:extLst>
          </p:cNvPr>
          <p:cNvGrpSpPr/>
          <p:nvPr/>
        </p:nvGrpSpPr>
        <p:grpSpPr>
          <a:xfrm>
            <a:off x="3128962" y="2396793"/>
            <a:ext cx="2391407" cy="4461207"/>
            <a:chOff x="2347912" y="8020055"/>
            <a:chExt cx="2391407" cy="4461207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63A53CA1-66AA-463B-B1B7-693CD1F1C4C1}"/>
                </a:ext>
              </a:extLst>
            </p:cNvPr>
            <p:cNvGrpSpPr/>
            <p:nvPr/>
          </p:nvGrpSpPr>
          <p:grpSpPr>
            <a:xfrm>
              <a:off x="3535556" y="12097813"/>
              <a:ext cx="350914" cy="383449"/>
              <a:chOff x="3535556" y="12097813"/>
              <a:chExt cx="350914" cy="383449"/>
            </a:xfrm>
          </p:grpSpPr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31654D0D-2B06-4CA3-98A7-C4490B50CF84}"/>
                  </a:ext>
                </a:extLst>
              </p:cNvPr>
              <p:cNvSpPr/>
              <p:nvPr/>
            </p:nvSpPr>
            <p:spPr>
              <a:xfrm>
                <a:off x="3535556" y="12229878"/>
                <a:ext cx="350914" cy="251384"/>
              </a:xfrm>
              <a:custGeom>
                <a:avLst/>
                <a:gdLst>
                  <a:gd name="connsiteX0" fmla="*/ 133007 w 350914"/>
                  <a:gd name="connsiteY0" fmla="*/ 0 h 251384"/>
                  <a:gd name="connsiteX1" fmla="*/ 247464 w 350914"/>
                  <a:gd name="connsiteY1" fmla="*/ 158478 h 251384"/>
                  <a:gd name="connsiteX2" fmla="*/ 39094 w 350914"/>
                  <a:gd name="connsiteY2" fmla="*/ 35217 h 251384"/>
                  <a:gd name="connsiteX3" fmla="*/ 18551 w 350914"/>
                  <a:gd name="connsiteY3" fmla="*/ 20543 h 251384"/>
                  <a:gd name="connsiteX4" fmla="*/ 942 w 350914"/>
                  <a:gd name="connsiteY4" fmla="*/ 93913 h 251384"/>
                  <a:gd name="connsiteX5" fmla="*/ 12681 w 350914"/>
                  <a:gd name="connsiteY5" fmla="*/ 225978 h 251384"/>
                  <a:gd name="connsiteX6" fmla="*/ 39094 w 350914"/>
                  <a:gd name="connsiteY6" fmla="*/ 225978 h 251384"/>
                  <a:gd name="connsiteX7" fmla="*/ 53768 w 350914"/>
                  <a:gd name="connsiteY7" fmla="*/ 120326 h 251384"/>
                  <a:gd name="connsiteX8" fmla="*/ 191703 w 350914"/>
                  <a:gd name="connsiteY8" fmla="*/ 246522 h 251384"/>
                  <a:gd name="connsiteX9" fmla="*/ 344312 w 350914"/>
                  <a:gd name="connsiteY9" fmla="*/ 249457 h 251384"/>
                  <a:gd name="connsiteX10" fmla="*/ 344312 w 350914"/>
                  <a:gd name="connsiteY10" fmla="*/ 205435 h 251384"/>
                  <a:gd name="connsiteX11" fmla="*/ 133007 w 350914"/>
                  <a:gd name="connsiteY11" fmla="*/ 0 h 251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0914" h="251384">
                    <a:moveTo>
                      <a:pt x="133007" y="0"/>
                    </a:moveTo>
                    <a:cubicBezTo>
                      <a:pt x="133007" y="0"/>
                      <a:pt x="262138" y="149674"/>
                      <a:pt x="247464" y="158478"/>
                    </a:cubicBezTo>
                    <a:cubicBezTo>
                      <a:pt x="232790" y="167282"/>
                      <a:pt x="39094" y="35217"/>
                      <a:pt x="39094" y="35217"/>
                    </a:cubicBezTo>
                    <a:lnTo>
                      <a:pt x="18551" y="20543"/>
                    </a:lnTo>
                    <a:cubicBezTo>
                      <a:pt x="18551" y="20543"/>
                      <a:pt x="-4928" y="67500"/>
                      <a:pt x="942" y="93913"/>
                    </a:cubicBezTo>
                    <a:cubicBezTo>
                      <a:pt x="6812" y="120326"/>
                      <a:pt x="12681" y="225978"/>
                      <a:pt x="12681" y="225978"/>
                    </a:cubicBezTo>
                    <a:lnTo>
                      <a:pt x="39094" y="225978"/>
                    </a:lnTo>
                    <a:lnTo>
                      <a:pt x="53768" y="120326"/>
                    </a:lnTo>
                    <a:cubicBezTo>
                      <a:pt x="53768" y="120326"/>
                      <a:pt x="171159" y="243587"/>
                      <a:pt x="191703" y="246522"/>
                    </a:cubicBezTo>
                    <a:cubicBezTo>
                      <a:pt x="212246" y="252391"/>
                      <a:pt x="332572" y="252391"/>
                      <a:pt x="344312" y="249457"/>
                    </a:cubicBezTo>
                    <a:cubicBezTo>
                      <a:pt x="353116" y="249457"/>
                      <a:pt x="353116" y="211304"/>
                      <a:pt x="344312" y="205435"/>
                    </a:cubicBezTo>
                    <a:cubicBezTo>
                      <a:pt x="268007" y="164348"/>
                      <a:pt x="133007" y="0"/>
                      <a:pt x="133007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0AC72D3E-9152-4D83-A38D-FCBBB4EDB48E}"/>
                  </a:ext>
                </a:extLst>
              </p:cNvPr>
              <p:cNvSpPr/>
              <p:nvPr/>
            </p:nvSpPr>
            <p:spPr>
              <a:xfrm>
                <a:off x="3557011" y="12097813"/>
                <a:ext cx="228136" cy="295155"/>
              </a:xfrm>
              <a:custGeom>
                <a:avLst/>
                <a:gdLst>
                  <a:gd name="connsiteX0" fmla="*/ 108618 w 228136"/>
                  <a:gd name="connsiteY0" fmla="*/ 0 h 295155"/>
                  <a:gd name="connsiteX1" fmla="*/ 111552 w 228136"/>
                  <a:gd name="connsiteY1" fmla="*/ 135000 h 295155"/>
                  <a:gd name="connsiteX2" fmla="*/ 226009 w 228136"/>
                  <a:gd name="connsiteY2" fmla="*/ 293478 h 295155"/>
                  <a:gd name="connsiteX3" fmla="*/ 31 w 228136"/>
                  <a:gd name="connsiteY3" fmla="*/ 155543 h 295155"/>
                  <a:gd name="connsiteX4" fmla="*/ 8835 w 228136"/>
                  <a:gd name="connsiteY4" fmla="*/ 0 h 295155"/>
                  <a:gd name="connsiteX5" fmla="*/ 108618 w 228136"/>
                  <a:gd name="connsiteY5" fmla="*/ 0 h 295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136" h="295155">
                    <a:moveTo>
                      <a:pt x="108618" y="0"/>
                    </a:moveTo>
                    <a:lnTo>
                      <a:pt x="111552" y="135000"/>
                    </a:lnTo>
                    <a:cubicBezTo>
                      <a:pt x="111552" y="135000"/>
                      <a:pt x="246552" y="278804"/>
                      <a:pt x="226009" y="293478"/>
                    </a:cubicBezTo>
                    <a:cubicBezTo>
                      <a:pt x="205465" y="311087"/>
                      <a:pt x="-2904" y="184891"/>
                      <a:pt x="31" y="155543"/>
                    </a:cubicBezTo>
                    <a:cubicBezTo>
                      <a:pt x="31" y="108586"/>
                      <a:pt x="8835" y="0"/>
                      <a:pt x="8835" y="0"/>
                    </a:cubicBezTo>
                    <a:lnTo>
                      <a:pt x="108618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52477528-5962-4CEE-A76A-8E2584FE8FC9}"/>
                </a:ext>
              </a:extLst>
            </p:cNvPr>
            <p:cNvGrpSpPr/>
            <p:nvPr/>
          </p:nvGrpSpPr>
          <p:grpSpPr>
            <a:xfrm>
              <a:off x="2347912" y="11804334"/>
              <a:ext cx="360978" cy="476467"/>
              <a:chOff x="2347912" y="11804334"/>
              <a:chExt cx="360978" cy="476467"/>
            </a:xfrm>
          </p:grpSpPr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342E3C94-102F-4010-8AB1-898E62D98DBA}"/>
                  </a:ext>
                </a:extLst>
              </p:cNvPr>
              <p:cNvSpPr/>
              <p:nvPr/>
            </p:nvSpPr>
            <p:spPr>
              <a:xfrm>
                <a:off x="2347912" y="11883573"/>
                <a:ext cx="255326" cy="397228"/>
              </a:xfrm>
              <a:custGeom>
                <a:avLst/>
                <a:gdLst>
                  <a:gd name="connsiteX0" fmla="*/ 255326 w 255326"/>
                  <a:gd name="connsiteY0" fmla="*/ 82174 h 397228"/>
                  <a:gd name="connsiteX1" fmla="*/ 190761 w 255326"/>
                  <a:gd name="connsiteY1" fmla="*/ 267065 h 397228"/>
                  <a:gd name="connsiteX2" fmla="*/ 170217 w 255326"/>
                  <a:gd name="connsiteY2" fmla="*/ 26414 h 397228"/>
                  <a:gd name="connsiteX3" fmla="*/ 173152 w 255326"/>
                  <a:gd name="connsiteY3" fmla="*/ 0 h 397228"/>
                  <a:gd name="connsiteX4" fmla="*/ 102717 w 255326"/>
                  <a:gd name="connsiteY4" fmla="*/ 29348 h 397228"/>
                  <a:gd name="connsiteX5" fmla="*/ 0 w 255326"/>
                  <a:gd name="connsiteY5" fmla="*/ 114457 h 397228"/>
                  <a:gd name="connsiteX6" fmla="*/ 14674 w 255326"/>
                  <a:gd name="connsiteY6" fmla="*/ 135000 h 397228"/>
                  <a:gd name="connsiteX7" fmla="*/ 111522 w 255326"/>
                  <a:gd name="connsiteY7" fmla="*/ 85109 h 397228"/>
                  <a:gd name="connsiteX8" fmla="*/ 85109 w 255326"/>
                  <a:gd name="connsiteY8" fmla="*/ 270000 h 397228"/>
                  <a:gd name="connsiteX9" fmla="*/ 170217 w 255326"/>
                  <a:gd name="connsiteY9" fmla="*/ 396196 h 397228"/>
                  <a:gd name="connsiteX10" fmla="*/ 205435 w 255326"/>
                  <a:gd name="connsiteY10" fmla="*/ 369783 h 397228"/>
                  <a:gd name="connsiteX11" fmla="*/ 255326 w 255326"/>
                  <a:gd name="connsiteY11" fmla="*/ 82174 h 397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5326" h="397228">
                    <a:moveTo>
                      <a:pt x="255326" y="82174"/>
                    </a:moveTo>
                    <a:cubicBezTo>
                      <a:pt x="255326" y="82174"/>
                      <a:pt x="208370" y="275870"/>
                      <a:pt x="190761" y="267065"/>
                    </a:cubicBezTo>
                    <a:cubicBezTo>
                      <a:pt x="173152" y="258261"/>
                      <a:pt x="170217" y="26414"/>
                      <a:pt x="170217" y="26414"/>
                    </a:cubicBezTo>
                    <a:lnTo>
                      <a:pt x="173152" y="0"/>
                    </a:lnTo>
                    <a:cubicBezTo>
                      <a:pt x="173152" y="0"/>
                      <a:pt x="120326" y="8805"/>
                      <a:pt x="102717" y="29348"/>
                    </a:cubicBezTo>
                    <a:cubicBezTo>
                      <a:pt x="85109" y="46957"/>
                      <a:pt x="0" y="114457"/>
                      <a:pt x="0" y="114457"/>
                    </a:cubicBezTo>
                    <a:lnTo>
                      <a:pt x="14674" y="135000"/>
                    </a:lnTo>
                    <a:lnTo>
                      <a:pt x="111522" y="85109"/>
                    </a:lnTo>
                    <a:cubicBezTo>
                      <a:pt x="111522" y="85109"/>
                      <a:pt x="79239" y="252391"/>
                      <a:pt x="85109" y="270000"/>
                    </a:cubicBezTo>
                    <a:cubicBezTo>
                      <a:pt x="93913" y="290544"/>
                      <a:pt x="164348" y="390327"/>
                      <a:pt x="170217" y="396196"/>
                    </a:cubicBezTo>
                    <a:cubicBezTo>
                      <a:pt x="176087" y="402066"/>
                      <a:pt x="208370" y="381522"/>
                      <a:pt x="205435" y="369783"/>
                    </a:cubicBezTo>
                    <a:cubicBezTo>
                      <a:pt x="199565" y="287609"/>
                      <a:pt x="255326" y="82174"/>
                      <a:pt x="255326" y="82174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03E3E120-CDFC-4B95-8F00-5F43DD29C3FB}"/>
                  </a:ext>
                </a:extLst>
              </p:cNvPr>
              <p:cNvSpPr/>
              <p:nvPr/>
            </p:nvSpPr>
            <p:spPr>
              <a:xfrm>
                <a:off x="2507998" y="11804334"/>
                <a:ext cx="200891" cy="346595"/>
              </a:xfrm>
              <a:custGeom>
                <a:avLst/>
                <a:gdLst>
                  <a:gd name="connsiteX0" fmla="*/ 200892 w 200891"/>
                  <a:gd name="connsiteY0" fmla="*/ 82174 h 346595"/>
                  <a:gd name="connsiteX1" fmla="*/ 95240 w 200891"/>
                  <a:gd name="connsiteY1" fmla="*/ 161413 h 346595"/>
                  <a:gd name="connsiteX2" fmla="*/ 30675 w 200891"/>
                  <a:gd name="connsiteY2" fmla="*/ 346304 h 346595"/>
                  <a:gd name="connsiteX3" fmla="*/ 13066 w 200891"/>
                  <a:gd name="connsiteY3" fmla="*/ 82174 h 346595"/>
                  <a:gd name="connsiteX4" fmla="*/ 145131 w 200891"/>
                  <a:gd name="connsiteY4" fmla="*/ 0 h 346595"/>
                  <a:gd name="connsiteX5" fmla="*/ 200892 w 200891"/>
                  <a:gd name="connsiteY5" fmla="*/ 82174 h 346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0891" h="346595">
                    <a:moveTo>
                      <a:pt x="200892" y="82174"/>
                    </a:moveTo>
                    <a:lnTo>
                      <a:pt x="95240" y="161413"/>
                    </a:lnTo>
                    <a:cubicBezTo>
                      <a:pt x="95240" y="161413"/>
                      <a:pt x="57088" y="355109"/>
                      <a:pt x="30675" y="346304"/>
                    </a:cubicBezTo>
                    <a:cubicBezTo>
                      <a:pt x="4261" y="337500"/>
                      <a:pt x="-13347" y="96847"/>
                      <a:pt x="13066" y="82174"/>
                    </a:cubicBezTo>
                    <a:cubicBezTo>
                      <a:pt x="51218" y="52826"/>
                      <a:pt x="145131" y="0"/>
                      <a:pt x="145131" y="0"/>
                    </a:cubicBezTo>
                    <a:lnTo>
                      <a:pt x="200892" y="82174"/>
                    </a:ln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70D0E8D8-9C0E-4C14-A709-343FAA372333}"/>
                </a:ext>
              </a:extLst>
            </p:cNvPr>
            <p:cNvSpPr/>
            <p:nvPr/>
          </p:nvSpPr>
          <p:spPr>
            <a:xfrm>
              <a:off x="2559216" y="9796943"/>
              <a:ext cx="1327669" cy="2409455"/>
            </a:xfrm>
            <a:custGeom>
              <a:avLst/>
              <a:gdLst>
                <a:gd name="connsiteX0" fmla="*/ 569348 w 1327669"/>
                <a:gd name="connsiteY0" fmla="*/ 0 h 2409455"/>
                <a:gd name="connsiteX1" fmla="*/ 1212065 w 1327669"/>
                <a:gd name="connsiteY1" fmla="*/ 0 h 2409455"/>
                <a:gd name="connsiteX2" fmla="*/ 1326522 w 1327669"/>
                <a:gd name="connsiteY2" fmla="*/ 443151 h 2409455"/>
                <a:gd name="connsiteX3" fmla="*/ 1153370 w 1327669"/>
                <a:gd name="connsiteY3" fmla="*/ 2391848 h 2409455"/>
                <a:gd name="connsiteX4" fmla="*/ 962609 w 1327669"/>
                <a:gd name="connsiteY4" fmla="*/ 2409456 h 2409455"/>
                <a:gd name="connsiteX5" fmla="*/ 883370 w 1327669"/>
                <a:gd name="connsiteY5" fmla="*/ 780651 h 2409455"/>
                <a:gd name="connsiteX6" fmla="*/ 795326 w 1327669"/>
                <a:gd name="connsiteY6" fmla="*/ 1690434 h 2409455"/>
                <a:gd name="connsiteX7" fmla="*/ 99783 w 1327669"/>
                <a:gd name="connsiteY7" fmla="*/ 2189347 h 2409455"/>
                <a:gd name="connsiteX8" fmla="*/ 0 w 1327669"/>
                <a:gd name="connsiteY8" fmla="*/ 2007391 h 2409455"/>
                <a:gd name="connsiteX9" fmla="*/ 475435 w 1327669"/>
                <a:gd name="connsiteY9" fmla="*/ 1593587 h 2409455"/>
                <a:gd name="connsiteX10" fmla="*/ 440217 w 1327669"/>
                <a:gd name="connsiteY10" fmla="*/ 399130 h 2409455"/>
                <a:gd name="connsiteX11" fmla="*/ 569348 w 1327669"/>
                <a:gd name="connsiteY11" fmla="*/ 0 h 240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27669" h="2409455">
                  <a:moveTo>
                    <a:pt x="569348" y="0"/>
                  </a:moveTo>
                  <a:lnTo>
                    <a:pt x="1212065" y="0"/>
                  </a:lnTo>
                  <a:cubicBezTo>
                    <a:pt x="1212065" y="0"/>
                    <a:pt x="1305978" y="293478"/>
                    <a:pt x="1326522" y="443151"/>
                  </a:cubicBezTo>
                  <a:cubicBezTo>
                    <a:pt x="1344130" y="589891"/>
                    <a:pt x="1153370" y="2391848"/>
                    <a:pt x="1153370" y="2391848"/>
                  </a:cubicBezTo>
                  <a:lnTo>
                    <a:pt x="962609" y="2409456"/>
                  </a:lnTo>
                  <a:lnTo>
                    <a:pt x="883370" y="780651"/>
                  </a:lnTo>
                  <a:cubicBezTo>
                    <a:pt x="883370" y="780651"/>
                    <a:pt x="801196" y="1675760"/>
                    <a:pt x="795326" y="1690434"/>
                  </a:cubicBezTo>
                  <a:lnTo>
                    <a:pt x="99783" y="2189347"/>
                  </a:lnTo>
                  <a:lnTo>
                    <a:pt x="0" y="2007391"/>
                  </a:lnTo>
                  <a:lnTo>
                    <a:pt x="475435" y="1593587"/>
                  </a:lnTo>
                  <a:cubicBezTo>
                    <a:pt x="475435" y="1593587"/>
                    <a:pt x="446087" y="460760"/>
                    <a:pt x="440217" y="399130"/>
                  </a:cubicBezTo>
                  <a:cubicBezTo>
                    <a:pt x="431413" y="284673"/>
                    <a:pt x="569348" y="0"/>
                    <a:pt x="569348" y="0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F46951BF-2F1F-4E1D-B472-DC9378E2534F}"/>
                </a:ext>
              </a:extLst>
            </p:cNvPr>
            <p:cNvSpPr/>
            <p:nvPr/>
          </p:nvSpPr>
          <p:spPr>
            <a:xfrm>
              <a:off x="2654759" y="10169660"/>
              <a:ext cx="834782" cy="1825435"/>
            </a:xfrm>
            <a:custGeom>
              <a:avLst/>
              <a:gdLst>
                <a:gd name="connsiteX0" fmla="*/ 4239 w 834782"/>
                <a:gd name="connsiteY0" fmla="*/ 1825435 h 1825435"/>
                <a:gd name="connsiteX1" fmla="*/ 1304 w 834782"/>
                <a:gd name="connsiteY1" fmla="*/ 1822500 h 1825435"/>
                <a:gd name="connsiteX2" fmla="*/ 1304 w 834782"/>
                <a:gd name="connsiteY2" fmla="*/ 1813696 h 1825435"/>
                <a:gd name="connsiteX3" fmla="*/ 693913 w 834782"/>
                <a:gd name="connsiteY3" fmla="*/ 1314783 h 1825435"/>
                <a:gd name="connsiteX4" fmla="*/ 781957 w 834782"/>
                <a:gd name="connsiteY4" fmla="*/ 407935 h 1825435"/>
                <a:gd name="connsiteX5" fmla="*/ 823044 w 834782"/>
                <a:gd name="connsiteY5" fmla="*/ 5870 h 1825435"/>
                <a:gd name="connsiteX6" fmla="*/ 828913 w 834782"/>
                <a:gd name="connsiteY6" fmla="*/ 0 h 1825435"/>
                <a:gd name="connsiteX7" fmla="*/ 834783 w 834782"/>
                <a:gd name="connsiteY7" fmla="*/ 5870 h 1825435"/>
                <a:gd name="connsiteX8" fmla="*/ 793696 w 834782"/>
                <a:gd name="connsiteY8" fmla="*/ 407935 h 1825435"/>
                <a:gd name="connsiteX9" fmla="*/ 705652 w 834782"/>
                <a:gd name="connsiteY9" fmla="*/ 1320652 h 1825435"/>
                <a:gd name="connsiteX10" fmla="*/ 705652 w 834782"/>
                <a:gd name="connsiteY10" fmla="*/ 1323587 h 1825435"/>
                <a:gd name="connsiteX11" fmla="*/ 705652 w 834782"/>
                <a:gd name="connsiteY11" fmla="*/ 1323587 h 1825435"/>
                <a:gd name="connsiteX12" fmla="*/ 10109 w 834782"/>
                <a:gd name="connsiteY12" fmla="*/ 1822500 h 1825435"/>
                <a:gd name="connsiteX13" fmla="*/ 4239 w 834782"/>
                <a:gd name="connsiteY13" fmla="*/ 1825435 h 1825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34782" h="1825435">
                  <a:moveTo>
                    <a:pt x="4239" y="1825435"/>
                  </a:moveTo>
                  <a:cubicBezTo>
                    <a:pt x="1304" y="1825435"/>
                    <a:pt x="1304" y="1825435"/>
                    <a:pt x="1304" y="1822500"/>
                  </a:cubicBezTo>
                  <a:cubicBezTo>
                    <a:pt x="-1630" y="1819565"/>
                    <a:pt x="1304" y="1816630"/>
                    <a:pt x="1304" y="1813696"/>
                  </a:cubicBezTo>
                  <a:lnTo>
                    <a:pt x="693913" y="1314783"/>
                  </a:lnTo>
                  <a:cubicBezTo>
                    <a:pt x="699783" y="1279565"/>
                    <a:pt x="752609" y="707283"/>
                    <a:pt x="781957" y="407935"/>
                  </a:cubicBezTo>
                  <a:lnTo>
                    <a:pt x="823044" y="5870"/>
                  </a:lnTo>
                  <a:cubicBezTo>
                    <a:pt x="823044" y="2935"/>
                    <a:pt x="825978" y="0"/>
                    <a:pt x="828913" y="0"/>
                  </a:cubicBezTo>
                  <a:cubicBezTo>
                    <a:pt x="831848" y="0"/>
                    <a:pt x="834783" y="2935"/>
                    <a:pt x="834783" y="5870"/>
                  </a:cubicBezTo>
                  <a:lnTo>
                    <a:pt x="793696" y="407935"/>
                  </a:lnTo>
                  <a:cubicBezTo>
                    <a:pt x="784891" y="498913"/>
                    <a:pt x="711522" y="1303043"/>
                    <a:pt x="705652" y="1320652"/>
                  </a:cubicBezTo>
                  <a:lnTo>
                    <a:pt x="705652" y="1323587"/>
                  </a:lnTo>
                  <a:lnTo>
                    <a:pt x="705652" y="1323587"/>
                  </a:lnTo>
                  <a:lnTo>
                    <a:pt x="10109" y="1822500"/>
                  </a:lnTo>
                  <a:cubicBezTo>
                    <a:pt x="7174" y="1825435"/>
                    <a:pt x="4239" y="1825435"/>
                    <a:pt x="4239" y="1825435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70491282-B987-4119-958E-42B388A97C64}"/>
                </a:ext>
              </a:extLst>
            </p:cNvPr>
            <p:cNvSpPr/>
            <p:nvPr/>
          </p:nvSpPr>
          <p:spPr>
            <a:xfrm>
              <a:off x="2999433" y="9946617"/>
              <a:ext cx="173152" cy="181956"/>
            </a:xfrm>
            <a:custGeom>
              <a:avLst/>
              <a:gdLst>
                <a:gd name="connsiteX0" fmla="*/ 5870 w 173152"/>
                <a:gd name="connsiteY0" fmla="*/ 181957 h 181956"/>
                <a:gd name="connsiteX1" fmla="*/ 0 w 173152"/>
                <a:gd name="connsiteY1" fmla="*/ 179022 h 181956"/>
                <a:gd name="connsiteX2" fmla="*/ 2935 w 173152"/>
                <a:gd name="connsiteY2" fmla="*/ 173153 h 181956"/>
                <a:gd name="connsiteX3" fmla="*/ 164348 w 173152"/>
                <a:gd name="connsiteY3" fmla="*/ 2935 h 181956"/>
                <a:gd name="connsiteX4" fmla="*/ 170217 w 173152"/>
                <a:gd name="connsiteY4" fmla="*/ 0 h 181956"/>
                <a:gd name="connsiteX5" fmla="*/ 173152 w 173152"/>
                <a:gd name="connsiteY5" fmla="*/ 5870 h 181956"/>
                <a:gd name="connsiteX6" fmla="*/ 5870 w 173152"/>
                <a:gd name="connsiteY6" fmla="*/ 181957 h 181956"/>
                <a:gd name="connsiteX7" fmla="*/ 5870 w 173152"/>
                <a:gd name="connsiteY7" fmla="*/ 181957 h 181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152" h="181956">
                  <a:moveTo>
                    <a:pt x="5870" y="181957"/>
                  </a:moveTo>
                  <a:cubicBezTo>
                    <a:pt x="2935" y="181957"/>
                    <a:pt x="0" y="179022"/>
                    <a:pt x="0" y="179022"/>
                  </a:cubicBezTo>
                  <a:cubicBezTo>
                    <a:pt x="0" y="176087"/>
                    <a:pt x="0" y="173153"/>
                    <a:pt x="2935" y="173153"/>
                  </a:cubicBezTo>
                  <a:cubicBezTo>
                    <a:pt x="111522" y="143805"/>
                    <a:pt x="161413" y="5870"/>
                    <a:pt x="164348" y="2935"/>
                  </a:cubicBezTo>
                  <a:cubicBezTo>
                    <a:pt x="164348" y="0"/>
                    <a:pt x="167283" y="0"/>
                    <a:pt x="170217" y="0"/>
                  </a:cubicBezTo>
                  <a:cubicBezTo>
                    <a:pt x="173152" y="0"/>
                    <a:pt x="173152" y="2935"/>
                    <a:pt x="173152" y="5870"/>
                  </a:cubicBezTo>
                  <a:cubicBezTo>
                    <a:pt x="173152" y="11740"/>
                    <a:pt x="120326" y="149674"/>
                    <a:pt x="5870" y="181957"/>
                  </a:cubicBezTo>
                  <a:cubicBezTo>
                    <a:pt x="8804" y="181957"/>
                    <a:pt x="8804" y="181957"/>
                    <a:pt x="5870" y="181957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EA3D8EB2-A026-45E9-8D1D-D67754801ACC}"/>
                </a:ext>
              </a:extLst>
            </p:cNvPr>
            <p:cNvSpPr/>
            <p:nvPr/>
          </p:nvSpPr>
          <p:spPr>
            <a:xfrm>
              <a:off x="3700846" y="9943682"/>
              <a:ext cx="167282" cy="187825"/>
            </a:xfrm>
            <a:custGeom>
              <a:avLst/>
              <a:gdLst>
                <a:gd name="connsiteX0" fmla="*/ 161413 w 167282"/>
                <a:gd name="connsiteY0" fmla="*/ 187826 h 187825"/>
                <a:gd name="connsiteX1" fmla="*/ 161413 w 167282"/>
                <a:gd name="connsiteY1" fmla="*/ 187826 h 187825"/>
                <a:gd name="connsiteX2" fmla="*/ 0 w 167282"/>
                <a:gd name="connsiteY2" fmla="*/ 8804 h 187825"/>
                <a:gd name="connsiteX3" fmla="*/ 2935 w 167282"/>
                <a:gd name="connsiteY3" fmla="*/ 0 h 187825"/>
                <a:gd name="connsiteX4" fmla="*/ 11739 w 167282"/>
                <a:gd name="connsiteY4" fmla="*/ 2934 h 187825"/>
                <a:gd name="connsiteX5" fmla="*/ 164348 w 167282"/>
                <a:gd name="connsiteY5" fmla="*/ 176087 h 187825"/>
                <a:gd name="connsiteX6" fmla="*/ 167283 w 167282"/>
                <a:gd name="connsiteY6" fmla="*/ 181956 h 187825"/>
                <a:gd name="connsiteX7" fmla="*/ 161413 w 167282"/>
                <a:gd name="connsiteY7" fmla="*/ 187826 h 187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7282" h="187825">
                  <a:moveTo>
                    <a:pt x="161413" y="187826"/>
                  </a:moveTo>
                  <a:cubicBezTo>
                    <a:pt x="161413" y="187826"/>
                    <a:pt x="161413" y="187826"/>
                    <a:pt x="161413" y="187826"/>
                  </a:cubicBezTo>
                  <a:cubicBezTo>
                    <a:pt x="82174" y="155543"/>
                    <a:pt x="2935" y="14674"/>
                    <a:pt x="0" y="8804"/>
                  </a:cubicBezTo>
                  <a:cubicBezTo>
                    <a:pt x="0" y="5869"/>
                    <a:pt x="0" y="2934"/>
                    <a:pt x="2935" y="0"/>
                  </a:cubicBezTo>
                  <a:cubicBezTo>
                    <a:pt x="5870" y="0"/>
                    <a:pt x="8804" y="0"/>
                    <a:pt x="11739" y="2934"/>
                  </a:cubicBezTo>
                  <a:cubicBezTo>
                    <a:pt x="11739" y="2934"/>
                    <a:pt x="90978" y="146739"/>
                    <a:pt x="164348" y="176087"/>
                  </a:cubicBezTo>
                  <a:cubicBezTo>
                    <a:pt x="167283" y="176087"/>
                    <a:pt x="167283" y="179021"/>
                    <a:pt x="167283" y="181956"/>
                  </a:cubicBezTo>
                  <a:cubicBezTo>
                    <a:pt x="167283" y="187826"/>
                    <a:pt x="164348" y="187826"/>
                    <a:pt x="161413" y="187826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6B4D83C3-2F34-48E8-8FED-D8C798FD0221}"/>
                </a:ext>
              </a:extLst>
            </p:cNvPr>
            <p:cNvSpPr/>
            <p:nvPr/>
          </p:nvSpPr>
          <p:spPr>
            <a:xfrm>
              <a:off x="3776708" y="9039699"/>
              <a:ext cx="782168" cy="760683"/>
            </a:xfrm>
            <a:custGeom>
              <a:avLst/>
              <a:gdLst>
                <a:gd name="connsiteX0" fmla="*/ 182399 w 782168"/>
                <a:gd name="connsiteY0" fmla="*/ 44092 h 760683"/>
                <a:gd name="connsiteX1" fmla="*/ 358486 w 782168"/>
                <a:gd name="connsiteY1" fmla="*/ 572353 h 760683"/>
                <a:gd name="connsiteX2" fmla="*/ 778160 w 782168"/>
                <a:gd name="connsiteY2" fmla="*/ 636918 h 760683"/>
                <a:gd name="connsiteX3" fmla="*/ 716530 w 782168"/>
                <a:gd name="connsiteY3" fmla="*/ 713223 h 760683"/>
                <a:gd name="connsiteX4" fmla="*/ 273377 w 782168"/>
                <a:gd name="connsiteY4" fmla="*/ 742571 h 760683"/>
                <a:gd name="connsiteX5" fmla="*/ 3377 w 782168"/>
                <a:gd name="connsiteY5" fmla="*/ 246592 h 760683"/>
                <a:gd name="connsiteX6" fmla="*/ 182399 w 782168"/>
                <a:gd name="connsiteY6" fmla="*/ 44092 h 760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2168" h="760683">
                  <a:moveTo>
                    <a:pt x="182399" y="44092"/>
                  </a:moveTo>
                  <a:cubicBezTo>
                    <a:pt x="229356" y="143875"/>
                    <a:pt x="358486" y="572353"/>
                    <a:pt x="358486" y="572353"/>
                  </a:cubicBezTo>
                  <a:cubicBezTo>
                    <a:pt x="358486" y="572353"/>
                    <a:pt x="778160" y="631048"/>
                    <a:pt x="778160" y="636918"/>
                  </a:cubicBezTo>
                  <a:cubicBezTo>
                    <a:pt x="795769" y="701483"/>
                    <a:pt x="751747" y="704418"/>
                    <a:pt x="716530" y="713223"/>
                  </a:cubicBezTo>
                  <a:cubicBezTo>
                    <a:pt x="707725" y="716157"/>
                    <a:pt x="514030" y="795397"/>
                    <a:pt x="273377" y="742571"/>
                  </a:cubicBezTo>
                  <a:cubicBezTo>
                    <a:pt x="208812" y="727897"/>
                    <a:pt x="56203" y="384527"/>
                    <a:pt x="3377" y="246592"/>
                  </a:cubicBezTo>
                  <a:cubicBezTo>
                    <a:pt x="-23036" y="167353"/>
                    <a:pt x="111964" y="-105582"/>
                    <a:pt x="182399" y="44092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531C6DC7-98CA-46E6-AC83-7EB1380D37F6}"/>
                </a:ext>
              </a:extLst>
            </p:cNvPr>
            <p:cNvSpPr/>
            <p:nvPr/>
          </p:nvSpPr>
          <p:spPr>
            <a:xfrm>
              <a:off x="3551172" y="8563469"/>
              <a:ext cx="143804" cy="197495"/>
            </a:xfrm>
            <a:custGeom>
              <a:avLst/>
              <a:gdLst>
                <a:gd name="connsiteX0" fmla="*/ 143804 w 143804"/>
                <a:gd name="connsiteY0" fmla="*/ 865 h 197495"/>
                <a:gd name="connsiteX1" fmla="*/ 105652 w 143804"/>
                <a:gd name="connsiteY1" fmla="*/ 182822 h 197495"/>
                <a:gd name="connsiteX2" fmla="*/ 44022 w 143804"/>
                <a:gd name="connsiteY2" fmla="*/ 197496 h 197495"/>
                <a:gd name="connsiteX3" fmla="*/ 0 w 143804"/>
                <a:gd name="connsiteY3" fmla="*/ 103583 h 197495"/>
                <a:gd name="connsiteX4" fmla="*/ 143804 w 143804"/>
                <a:gd name="connsiteY4" fmla="*/ 865 h 197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804" h="197495">
                  <a:moveTo>
                    <a:pt x="143804" y="865"/>
                  </a:moveTo>
                  <a:lnTo>
                    <a:pt x="105652" y="182822"/>
                  </a:lnTo>
                  <a:lnTo>
                    <a:pt x="44022" y="197496"/>
                  </a:lnTo>
                  <a:lnTo>
                    <a:pt x="0" y="103583"/>
                  </a:lnTo>
                  <a:cubicBezTo>
                    <a:pt x="0" y="100648"/>
                    <a:pt x="49891" y="-10874"/>
                    <a:pt x="143804" y="865"/>
                  </a:cubicBezTo>
                  <a:close/>
                </a:path>
              </a:pathLst>
            </a:custGeom>
            <a:solidFill>
              <a:srgbClr val="F1DDBA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EC8C4120-C515-49B2-B20B-410CB5FCC3C4}"/>
                </a:ext>
              </a:extLst>
            </p:cNvPr>
            <p:cNvSpPr/>
            <p:nvPr/>
          </p:nvSpPr>
          <p:spPr>
            <a:xfrm>
              <a:off x="3169651" y="8414661"/>
              <a:ext cx="237717" cy="352173"/>
            </a:xfrm>
            <a:custGeom>
              <a:avLst/>
              <a:gdLst>
                <a:gd name="connsiteX0" fmla="*/ 0 w 237717"/>
                <a:gd name="connsiteY0" fmla="*/ 0 h 352173"/>
                <a:gd name="connsiteX1" fmla="*/ 117391 w 237717"/>
                <a:gd name="connsiteY1" fmla="*/ 346304 h 352173"/>
                <a:gd name="connsiteX2" fmla="*/ 193696 w 237717"/>
                <a:gd name="connsiteY2" fmla="*/ 352174 h 352173"/>
                <a:gd name="connsiteX3" fmla="*/ 237717 w 237717"/>
                <a:gd name="connsiteY3" fmla="*/ 240652 h 352173"/>
                <a:gd name="connsiteX4" fmla="*/ 149674 w 237717"/>
                <a:gd name="connsiteY4" fmla="*/ 108587 h 352173"/>
                <a:gd name="connsiteX5" fmla="*/ 0 w 237717"/>
                <a:gd name="connsiteY5" fmla="*/ 0 h 352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717" h="352173">
                  <a:moveTo>
                    <a:pt x="0" y="0"/>
                  </a:moveTo>
                  <a:cubicBezTo>
                    <a:pt x="0" y="0"/>
                    <a:pt x="0" y="176087"/>
                    <a:pt x="117391" y="346304"/>
                  </a:cubicBezTo>
                  <a:lnTo>
                    <a:pt x="193696" y="352174"/>
                  </a:lnTo>
                  <a:lnTo>
                    <a:pt x="237717" y="240652"/>
                  </a:lnTo>
                  <a:lnTo>
                    <a:pt x="149674" y="1085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DDBA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01E7073A-CB0E-41E3-855C-0C43B307D3F2}"/>
                </a:ext>
              </a:extLst>
            </p:cNvPr>
            <p:cNvSpPr/>
            <p:nvPr/>
          </p:nvSpPr>
          <p:spPr>
            <a:xfrm>
              <a:off x="3633753" y="8846077"/>
              <a:ext cx="386985" cy="404996"/>
            </a:xfrm>
            <a:custGeom>
              <a:avLst/>
              <a:gdLst>
                <a:gd name="connsiteX0" fmla="*/ 49485 w 386985"/>
                <a:gd name="connsiteY0" fmla="*/ 404997 h 404996"/>
                <a:gd name="connsiteX1" fmla="*/ 55355 w 386985"/>
                <a:gd name="connsiteY1" fmla="*/ 14671 h 404996"/>
                <a:gd name="connsiteX2" fmla="*/ 386985 w 386985"/>
                <a:gd name="connsiteY2" fmla="*/ 281736 h 404996"/>
                <a:gd name="connsiteX3" fmla="*/ 49485 w 386985"/>
                <a:gd name="connsiteY3" fmla="*/ 404997 h 404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6985" h="404996">
                  <a:moveTo>
                    <a:pt x="49485" y="404997"/>
                  </a:moveTo>
                  <a:cubicBezTo>
                    <a:pt x="-29754" y="246518"/>
                    <a:pt x="-3341" y="61627"/>
                    <a:pt x="55355" y="14671"/>
                  </a:cubicBezTo>
                  <a:cubicBezTo>
                    <a:pt x="134594" y="-46960"/>
                    <a:pt x="319485" y="93910"/>
                    <a:pt x="386985" y="281736"/>
                  </a:cubicBezTo>
                  <a:cubicBezTo>
                    <a:pt x="345898" y="340431"/>
                    <a:pt x="146333" y="393258"/>
                    <a:pt x="49485" y="404997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86F5B1B5-8CED-4767-8154-F3E7A5071339}"/>
                </a:ext>
              </a:extLst>
            </p:cNvPr>
            <p:cNvSpPr/>
            <p:nvPr/>
          </p:nvSpPr>
          <p:spPr>
            <a:xfrm>
              <a:off x="3097709" y="8794819"/>
              <a:ext cx="789897" cy="949384"/>
            </a:xfrm>
            <a:custGeom>
              <a:avLst/>
              <a:gdLst>
                <a:gd name="connsiteX0" fmla="*/ 42594 w 789897"/>
                <a:gd name="connsiteY0" fmla="*/ 377015 h 949384"/>
                <a:gd name="connsiteX1" fmla="*/ 57268 w 789897"/>
                <a:gd name="connsiteY1" fmla="*/ 65928 h 949384"/>
                <a:gd name="connsiteX2" fmla="*/ 412377 w 789897"/>
                <a:gd name="connsiteY2" fmla="*/ 4298 h 949384"/>
                <a:gd name="connsiteX3" fmla="*/ 702920 w 789897"/>
                <a:gd name="connsiteY3" fmla="*/ 101146 h 949384"/>
                <a:gd name="connsiteX4" fmla="*/ 741072 w 789897"/>
                <a:gd name="connsiteY4" fmla="*/ 629406 h 949384"/>
                <a:gd name="connsiteX5" fmla="*/ 699985 w 789897"/>
                <a:gd name="connsiteY5" fmla="*/ 943429 h 949384"/>
                <a:gd name="connsiteX6" fmla="*/ 48464 w 789897"/>
                <a:gd name="connsiteY6" fmla="*/ 928755 h 949384"/>
                <a:gd name="connsiteX7" fmla="*/ 42594 w 789897"/>
                <a:gd name="connsiteY7" fmla="*/ 377015 h 949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9897" h="949384">
                  <a:moveTo>
                    <a:pt x="42594" y="377015"/>
                  </a:moveTo>
                  <a:cubicBezTo>
                    <a:pt x="33790" y="347667"/>
                    <a:pt x="-57189" y="127558"/>
                    <a:pt x="57268" y="65928"/>
                  </a:cubicBezTo>
                  <a:cubicBezTo>
                    <a:pt x="157051" y="13102"/>
                    <a:pt x="297920" y="-10376"/>
                    <a:pt x="412377" y="4298"/>
                  </a:cubicBezTo>
                  <a:cubicBezTo>
                    <a:pt x="538572" y="18972"/>
                    <a:pt x="664768" y="39515"/>
                    <a:pt x="702920" y="101146"/>
                  </a:cubicBezTo>
                  <a:cubicBezTo>
                    <a:pt x="811507" y="280167"/>
                    <a:pt x="811507" y="438646"/>
                    <a:pt x="741072" y="629406"/>
                  </a:cubicBezTo>
                  <a:cubicBezTo>
                    <a:pt x="720529" y="685167"/>
                    <a:pt x="714659" y="814297"/>
                    <a:pt x="699985" y="943429"/>
                  </a:cubicBezTo>
                  <a:cubicBezTo>
                    <a:pt x="699985" y="943429"/>
                    <a:pt x="427050" y="963972"/>
                    <a:pt x="48464" y="928755"/>
                  </a:cubicBezTo>
                  <a:cubicBezTo>
                    <a:pt x="77811" y="717450"/>
                    <a:pt x="51398" y="400494"/>
                    <a:pt x="42594" y="377015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33E8D12C-58C9-4651-B56A-CA28DAC1FAC4}"/>
                </a:ext>
              </a:extLst>
            </p:cNvPr>
            <p:cNvSpPr/>
            <p:nvPr/>
          </p:nvSpPr>
          <p:spPr>
            <a:xfrm>
              <a:off x="3427539" y="8130309"/>
              <a:ext cx="309266" cy="567724"/>
            </a:xfrm>
            <a:custGeom>
              <a:avLst/>
              <a:gdLst>
                <a:gd name="connsiteX0" fmla="*/ 138307 w 309266"/>
                <a:gd name="connsiteY0" fmla="*/ 554352 h 567724"/>
                <a:gd name="connsiteX1" fmla="*/ 308524 w 309266"/>
                <a:gd name="connsiteY1" fmla="*/ 222721 h 567724"/>
                <a:gd name="connsiteX2" fmla="*/ 372 w 309266"/>
                <a:gd name="connsiteY2" fmla="*/ 8482 h 567724"/>
                <a:gd name="connsiteX3" fmla="*/ 35590 w 309266"/>
                <a:gd name="connsiteY3" fmla="*/ 169895 h 567724"/>
                <a:gd name="connsiteX4" fmla="*/ 82546 w 309266"/>
                <a:gd name="connsiteY4" fmla="*/ 307830 h 567724"/>
                <a:gd name="connsiteX5" fmla="*/ 138307 w 309266"/>
                <a:gd name="connsiteY5" fmla="*/ 554352 h 567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266" h="567724">
                  <a:moveTo>
                    <a:pt x="138307" y="554352"/>
                  </a:moveTo>
                  <a:cubicBezTo>
                    <a:pt x="287981" y="525004"/>
                    <a:pt x="314394" y="284352"/>
                    <a:pt x="308524" y="222721"/>
                  </a:cubicBezTo>
                  <a:cubicBezTo>
                    <a:pt x="287981" y="64243"/>
                    <a:pt x="111894" y="-29670"/>
                    <a:pt x="372" y="8482"/>
                  </a:cubicBezTo>
                  <a:cubicBezTo>
                    <a:pt x="-2563" y="8482"/>
                    <a:pt x="12111" y="122939"/>
                    <a:pt x="35590" y="169895"/>
                  </a:cubicBezTo>
                  <a:cubicBezTo>
                    <a:pt x="56133" y="213917"/>
                    <a:pt x="73742" y="260873"/>
                    <a:pt x="82546" y="307830"/>
                  </a:cubicBezTo>
                  <a:cubicBezTo>
                    <a:pt x="88416" y="357721"/>
                    <a:pt x="41459" y="630656"/>
                    <a:pt x="138307" y="554352"/>
                  </a:cubicBezTo>
                  <a:close/>
                </a:path>
              </a:pathLst>
            </a:custGeom>
            <a:solidFill>
              <a:srgbClr val="F1DDBA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5041F583-AE93-4355-9C7F-A53B998B2641}"/>
                </a:ext>
              </a:extLst>
            </p:cNvPr>
            <p:cNvSpPr/>
            <p:nvPr/>
          </p:nvSpPr>
          <p:spPr>
            <a:xfrm>
              <a:off x="3263564" y="8181956"/>
              <a:ext cx="406796" cy="547033"/>
            </a:xfrm>
            <a:custGeom>
              <a:avLst/>
              <a:gdLst>
                <a:gd name="connsiteX0" fmla="*/ 399130 w 406796"/>
                <a:gd name="connsiteY0" fmla="*/ 176943 h 547033"/>
                <a:gd name="connsiteX1" fmla="*/ 387391 w 406796"/>
                <a:gd name="connsiteY1" fmla="*/ 423465 h 547033"/>
                <a:gd name="connsiteX2" fmla="*/ 243587 w 406796"/>
                <a:gd name="connsiteY2" fmla="*/ 546726 h 547033"/>
                <a:gd name="connsiteX3" fmla="*/ 35217 w 406796"/>
                <a:gd name="connsiteY3" fmla="*/ 408792 h 547033"/>
                <a:gd name="connsiteX4" fmla="*/ 0 w 406796"/>
                <a:gd name="connsiteY4" fmla="*/ 191617 h 547033"/>
                <a:gd name="connsiteX5" fmla="*/ 205435 w 406796"/>
                <a:gd name="connsiteY5" fmla="*/ 856 h 547033"/>
                <a:gd name="connsiteX6" fmla="*/ 399130 w 406796"/>
                <a:gd name="connsiteY6" fmla="*/ 176943 h 547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6796" h="547033">
                  <a:moveTo>
                    <a:pt x="399130" y="176943"/>
                  </a:moveTo>
                  <a:cubicBezTo>
                    <a:pt x="399130" y="176943"/>
                    <a:pt x="422609" y="358900"/>
                    <a:pt x="387391" y="423465"/>
                  </a:cubicBezTo>
                  <a:cubicBezTo>
                    <a:pt x="352174" y="488031"/>
                    <a:pt x="293478" y="543791"/>
                    <a:pt x="243587" y="546726"/>
                  </a:cubicBezTo>
                  <a:cubicBezTo>
                    <a:pt x="179022" y="552596"/>
                    <a:pt x="70435" y="473357"/>
                    <a:pt x="35217" y="408792"/>
                  </a:cubicBezTo>
                  <a:cubicBezTo>
                    <a:pt x="0" y="344226"/>
                    <a:pt x="0" y="241509"/>
                    <a:pt x="0" y="191617"/>
                  </a:cubicBezTo>
                  <a:cubicBezTo>
                    <a:pt x="2935" y="100639"/>
                    <a:pt x="29348" y="24335"/>
                    <a:pt x="205435" y="856"/>
                  </a:cubicBezTo>
                  <a:cubicBezTo>
                    <a:pt x="287609" y="-10883"/>
                    <a:pt x="378587" y="100639"/>
                    <a:pt x="399130" y="176943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28E05A9D-18A8-4DC0-AA93-2A234D7C3BC0}"/>
                </a:ext>
              </a:extLst>
            </p:cNvPr>
            <p:cNvSpPr/>
            <p:nvPr/>
          </p:nvSpPr>
          <p:spPr>
            <a:xfrm>
              <a:off x="3480738" y="8444008"/>
              <a:ext cx="52826" cy="126195"/>
            </a:xfrm>
            <a:custGeom>
              <a:avLst/>
              <a:gdLst>
                <a:gd name="connsiteX0" fmla="*/ 29348 w 52826"/>
                <a:gd name="connsiteY0" fmla="*/ 126195 h 126195"/>
                <a:gd name="connsiteX1" fmla="*/ 5870 w 52826"/>
                <a:gd name="connsiteY1" fmla="*/ 123261 h 126195"/>
                <a:gd name="connsiteX2" fmla="*/ 0 w 52826"/>
                <a:gd name="connsiteY2" fmla="*/ 117391 h 126195"/>
                <a:gd name="connsiteX3" fmla="*/ 5870 w 52826"/>
                <a:gd name="connsiteY3" fmla="*/ 111521 h 126195"/>
                <a:gd name="connsiteX4" fmla="*/ 44022 w 52826"/>
                <a:gd name="connsiteY4" fmla="*/ 111521 h 126195"/>
                <a:gd name="connsiteX5" fmla="*/ 44022 w 52826"/>
                <a:gd name="connsiteY5" fmla="*/ 108587 h 126195"/>
                <a:gd name="connsiteX6" fmla="*/ 17609 w 52826"/>
                <a:gd name="connsiteY6" fmla="*/ 5869 h 126195"/>
                <a:gd name="connsiteX7" fmla="*/ 20544 w 52826"/>
                <a:gd name="connsiteY7" fmla="*/ 0 h 126195"/>
                <a:gd name="connsiteX8" fmla="*/ 26413 w 52826"/>
                <a:gd name="connsiteY8" fmla="*/ 2935 h 126195"/>
                <a:gd name="connsiteX9" fmla="*/ 52826 w 52826"/>
                <a:gd name="connsiteY9" fmla="*/ 108587 h 126195"/>
                <a:gd name="connsiteX10" fmla="*/ 46957 w 52826"/>
                <a:gd name="connsiteY10" fmla="*/ 120326 h 126195"/>
                <a:gd name="connsiteX11" fmla="*/ 29348 w 52826"/>
                <a:gd name="connsiteY11" fmla="*/ 126195 h 126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826" h="126195">
                  <a:moveTo>
                    <a:pt x="29348" y="126195"/>
                  </a:moveTo>
                  <a:cubicBezTo>
                    <a:pt x="17609" y="126195"/>
                    <a:pt x="8804" y="123261"/>
                    <a:pt x="5870" y="123261"/>
                  </a:cubicBezTo>
                  <a:cubicBezTo>
                    <a:pt x="2935" y="123261"/>
                    <a:pt x="0" y="120326"/>
                    <a:pt x="0" y="117391"/>
                  </a:cubicBezTo>
                  <a:cubicBezTo>
                    <a:pt x="0" y="114456"/>
                    <a:pt x="2935" y="111521"/>
                    <a:pt x="5870" y="111521"/>
                  </a:cubicBezTo>
                  <a:cubicBezTo>
                    <a:pt x="17609" y="114456"/>
                    <a:pt x="38152" y="114456"/>
                    <a:pt x="44022" y="111521"/>
                  </a:cubicBezTo>
                  <a:cubicBezTo>
                    <a:pt x="44022" y="111521"/>
                    <a:pt x="44022" y="108587"/>
                    <a:pt x="44022" y="108587"/>
                  </a:cubicBezTo>
                  <a:cubicBezTo>
                    <a:pt x="44022" y="93913"/>
                    <a:pt x="23478" y="29348"/>
                    <a:pt x="17609" y="5869"/>
                  </a:cubicBezTo>
                  <a:cubicBezTo>
                    <a:pt x="17609" y="2935"/>
                    <a:pt x="17609" y="0"/>
                    <a:pt x="20544" y="0"/>
                  </a:cubicBezTo>
                  <a:cubicBezTo>
                    <a:pt x="23478" y="0"/>
                    <a:pt x="26413" y="0"/>
                    <a:pt x="26413" y="2935"/>
                  </a:cubicBezTo>
                  <a:cubicBezTo>
                    <a:pt x="26413" y="5869"/>
                    <a:pt x="52826" y="88043"/>
                    <a:pt x="52826" y="108587"/>
                  </a:cubicBezTo>
                  <a:cubicBezTo>
                    <a:pt x="52826" y="114456"/>
                    <a:pt x="49891" y="117391"/>
                    <a:pt x="46957" y="120326"/>
                  </a:cubicBezTo>
                  <a:cubicBezTo>
                    <a:pt x="46957" y="123261"/>
                    <a:pt x="38152" y="126195"/>
                    <a:pt x="29348" y="126195"/>
                  </a:cubicBezTo>
                  <a:close/>
                </a:path>
              </a:pathLst>
            </a:custGeom>
            <a:solidFill>
              <a:srgbClr val="E58777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3DB14307-E3EC-4ED5-BF73-DF0BEED28AB0}"/>
                </a:ext>
              </a:extLst>
            </p:cNvPr>
            <p:cNvSpPr/>
            <p:nvPr/>
          </p:nvSpPr>
          <p:spPr>
            <a:xfrm>
              <a:off x="3454325" y="8617160"/>
              <a:ext cx="102717" cy="52826"/>
            </a:xfrm>
            <a:custGeom>
              <a:avLst/>
              <a:gdLst>
                <a:gd name="connsiteX0" fmla="*/ 0 w 102717"/>
                <a:gd name="connsiteY0" fmla="*/ 0 h 52826"/>
                <a:gd name="connsiteX1" fmla="*/ 102717 w 102717"/>
                <a:gd name="connsiteY1" fmla="*/ 0 h 52826"/>
                <a:gd name="connsiteX2" fmla="*/ 52826 w 102717"/>
                <a:gd name="connsiteY2" fmla="*/ 52826 h 52826"/>
                <a:gd name="connsiteX3" fmla="*/ 0 w 102717"/>
                <a:gd name="connsiteY3" fmla="*/ 0 h 52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717" h="52826">
                  <a:moveTo>
                    <a:pt x="0" y="0"/>
                  </a:moveTo>
                  <a:cubicBezTo>
                    <a:pt x="52826" y="23478"/>
                    <a:pt x="102717" y="0"/>
                    <a:pt x="102717" y="0"/>
                  </a:cubicBezTo>
                  <a:cubicBezTo>
                    <a:pt x="102717" y="0"/>
                    <a:pt x="88043" y="52826"/>
                    <a:pt x="52826" y="52826"/>
                  </a:cubicBezTo>
                  <a:cubicBezTo>
                    <a:pt x="11739" y="528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66CB6229-9A01-4409-A03F-0E69A1C1045F}"/>
                </a:ext>
              </a:extLst>
            </p:cNvPr>
            <p:cNvSpPr/>
            <p:nvPr/>
          </p:nvSpPr>
          <p:spPr>
            <a:xfrm>
              <a:off x="3568205" y="8414085"/>
              <a:ext cx="39475" cy="39475"/>
            </a:xfrm>
            <a:custGeom>
              <a:avLst/>
              <a:gdLst>
                <a:gd name="connsiteX0" fmla="*/ 576 w 39475"/>
                <a:gd name="connsiteY0" fmla="*/ 24054 h 39475"/>
                <a:gd name="connsiteX1" fmla="*/ 24054 w 39475"/>
                <a:gd name="connsiteY1" fmla="*/ 38728 h 39475"/>
                <a:gd name="connsiteX2" fmla="*/ 38728 w 39475"/>
                <a:gd name="connsiteY2" fmla="*/ 15250 h 39475"/>
                <a:gd name="connsiteX3" fmla="*/ 15250 w 39475"/>
                <a:gd name="connsiteY3" fmla="*/ 576 h 39475"/>
                <a:gd name="connsiteX4" fmla="*/ 576 w 39475"/>
                <a:gd name="connsiteY4" fmla="*/ 24054 h 3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75" h="39475">
                  <a:moveTo>
                    <a:pt x="576" y="24054"/>
                  </a:moveTo>
                  <a:cubicBezTo>
                    <a:pt x="3511" y="35793"/>
                    <a:pt x="12315" y="41663"/>
                    <a:pt x="24054" y="38728"/>
                  </a:cubicBezTo>
                  <a:cubicBezTo>
                    <a:pt x="35793" y="35793"/>
                    <a:pt x="41663" y="26989"/>
                    <a:pt x="38728" y="15250"/>
                  </a:cubicBezTo>
                  <a:cubicBezTo>
                    <a:pt x="35793" y="6445"/>
                    <a:pt x="26989" y="-2359"/>
                    <a:pt x="15250" y="576"/>
                  </a:cubicBezTo>
                  <a:cubicBezTo>
                    <a:pt x="6445" y="3510"/>
                    <a:pt x="-2359" y="15250"/>
                    <a:pt x="576" y="24054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08938143-2988-4104-A824-432F47A92596}"/>
                </a:ext>
              </a:extLst>
            </p:cNvPr>
            <p:cNvSpPr/>
            <p:nvPr/>
          </p:nvSpPr>
          <p:spPr>
            <a:xfrm>
              <a:off x="3386077" y="8422717"/>
              <a:ext cx="39475" cy="39475"/>
            </a:xfrm>
            <a:custGeom>
              <a:avLst/>
              <a:gdLst>
                <a:gd name="connsiteX0" fmla="*/ 748 w 39475"/>
                <a:gd name="connsiteY0" fmla="*/ 24226 h 39475"/>
                <a:gd name="connsiteX1" fmla="*/ 24226 w 39475"/>
                <a:gd name="connsiteY1" fmla="*/ 38900 h 39475"/>
                <a:gd name="connsiteX2" fmla="*/ 38900 w 39475"/>
                <a:gd name="connsiteY2" fmla="*/ 15422 h 39475"/>
                <a:gd name="connsiteX3" fmla="*/ 15422 w 39475"/>
                <a:gd name="connsiteY3" fmla="*/ 748 h 39475"/>
                <a:gd name="connsiteX4" fmla="*/ 748 w 39475"/>
                <a:gd name="connsiteY4" fmla="*/ 24226 h 3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75" h="39475">
                  <a:moveTo>
                    <a:pt x="748" y="24226"/>
                  </a:moveTo>
                  <a:cubicBezTo>
                    <a:pt x="3683" y="33031"/>
                    <a:pt x="12487" y="41835"/>
                    <a:pt x="24226" y="38900"/>
                  </a:cubicBezTo>
                  <a:cubicBezTo>
                    <a:pt x="33030" y="35966"/>
                    <a:pt x="41835" y="27161"/>
                    <a:pt x="38900" y="15422"/>
                  </a:cubicBezTo>
                  <a:cubicBezTo>
                    <a:pt x="35965" y="3683"/>
                    <a:pt x="27161" y="-2187"/>
                    <a:pt x="15422" y="748"/>
                  </a:cubicBezTo>
                  <a:cubicBezTo>
                    <a:pt x="3683" y="3683"/>
                    <a:pt x="-2187" y="12487"/>
                    <a:pt x="748" y="24226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A0050595-4546-4884-B7B3-A6A3F884F699}"/>
                </a:ext>
              </a:extLst>
            </p:cNvPr>
            <p:cNvSpPr/>
            <p:nvPr/>
          </p:nvSpPr>
          <p:spPr>
            <a:xfrm>
              <a:off x="3544087" y="8370639"/>
              <a:ext cx="88525" cy="29347"/>
            </a:xfrm>
            <a:custGeom>
              <a:avLst/>
              <a:gdLst>
                <a:gd name="connsiteX0" fmla="*/ 80455 w 88525"/>
                <a:gd name="connsiteY0" fmla="*/ 29348 h 29347"/>
                <a:gd name="connsiteX1" fmla="*/ 74585 w 88525"/>
                <a:gd name="connsiteY1" fmla="*/ 26413 h 29347"/>
                <a:gd name="connsiteX2" fmla="*/ 10020 w 88525"/>
                <a:gd name="connsiteY2" fmla="*/ 20544 h 29347"/>
                <a:gd name="connsiteX3" fmla="*/ 1216 w 88525"/>
                <a:gd name="connsiteY3" fmla="*/ 17609 h 29347"/>
                <a:gd name="connsiteX4" fmla="*/ 4150 w 88525"/>
                <a:gd name="connsiteY4" fmla="*/ 8804 h 29347"/>
                <a:gd name="connsiteX5" fmla="*/ 86324 w 88525"/>
                <a:gd name="connsiteY5" fmla="*/ 17609 h 29347"/>
                <a:gd name="connsiteX6" fmla="*/ 86324 w 88525"/>
                <a:gd name="connsiteY6" fmla="*/ 29348 h 29347"/>
                <a:gd name="connsiteX7" fmla="*/ 80455 w 88525"/>
                <a:gd name="connsiteY7" fmla="*/ 29348 h 2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29347">
                  <a:moveTo>
                    <a:pt x="80455" y="29348"/>
                  </a:moveTo>
                  <a:cubicBezTo>
                    <a:pt x="77520" y="29348"/>
                    <a:pt x="77520" y="29348"/>
                    <a:pt x="74585" y="26413"/>
                  </a:cubicBezTo>
                  <a:cubicBezTo>
                    <a:pt x="51107" y="0"/>
                    <a:pt x="12955" y="17609"/>
                    <a:pt x="10020" y="20544"/>
                  </a:cubicBezTo>
                  <a:cubicBezTo>
                    <a:pt x="7085" y="23478"/>
                    <a:pt x="1216" y="20544"/>
                    <a:pt x="1216" y="17609"/>
                  </a:cubicBezTo>
                  <a:cubicBezTo>
                    <a:pt x="-1719" y="14674"/>
                    <a:pt x="1216" y="8804"/>
                    <a:pt x="4150" y="8804"/>
                  </a:cubicBezTo>
                  <a:cubicBezTo>
                    <a:pt x="21759" y="0"/>
                    <a:pt x="59911" y="-8804"/>
                    <a:pt x="86324" y="17609"/>
                  </a:cubicBezTo>
                  <a:cubicBezTo>
                    <a:pt x="89259" y="20544"/>
                    <a:pt x="89259" y="26413"/>
                    <a:pt x="86324" y="29348"/>
                  </a:cubicBezTo>
                  <a:cubicBezTo>
                    <a:pt x="83389" y="29348"/>
                    <a:pt x="80455" y="29348"/>
                    <a:pt x="80455" y="29348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6742058A-9BEC-400C-919C-482BFDF33D27}"/>
                </a:ext>
              </a:extLst>
            </p:cNvPr>
            <p:cNvSpPr/>
            <p:nvPr/>
          </p:nvSpPr>
          <p:spPr>
            <a:xfrm>
              <a:off x="3358210" y="8368682"/>
              <a:ext cx="88525" cy="34238"/>
            </a:xfrm>
            <a:custGeom>
              <a:avLst/>
              <a:gdLst>
                <a:gd name="connsiteX0" fmla="*/ 8071 w 88525"/>
                <a:gd name="connsiteY0" fmla="*/ 34239 h 34238"/>
                <a:gd name="connsiteX1" fmla="*/ 2201 w 88525"/>
                <a:gd name="connsiteY1" fmla="*/ 31304 h 34238"/>
                <a:gd name="connsiteX2" fmla="*/ 2201 w 88525"/>
                <a:gd name="connsiteY2" fmla="*/ 19565 h 34238"/>
                <a:gd name="connsiteX3" fmla="*/ 84375 w 88525"/>
                <a:gd name="connsiteY3" fmla="*/ 10761 h 34238"/>
                <a:gd name="connsiteX4" fmla="*/ 87310 w 88525"/>
                <a:gd name="connsiteY4" fmla="*/ 22500 h 34238"/>
                <a:gd name="connsiteX5" fmla="*/ 75571 w 88525"/>
                <a:gd name="connsiteY5" fmla="*/ 25435 h 34238"/>
                <a:gd name="connsiteX6" fmla="*/ 11005 w 88525"/>
                <a:gd name="connsiteY6" fmla="*/ 31304 h 34238"/>
                <a:gd name="connsiteX7" fmla="*/ 8071 w 88525"/>
                <a:gd name="connsiteY7" fmla="*/ 34239 h 3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4238">
                  <a:moveTo>
                    <a:pt x="8071" y="34239"/>
                  </a:moveTo>
                  <a:cubicBezTo>
                    <a:pt x="5136" y="34239"/>
                    <a:pt x="5136" y="34239"/>
                    <a:pt x="2201" y="31304"/>
                  </a:cubicBezTo>
                  <a:cubicBezTo>
                    <a:pt x="-734" y="28370"/>
                    <a:pt x="-734" y="22500"/>
                    <a:pt x="2201" y="19565"/>
                  </a:cubicBezTo>
                  <a:cubicBezTo>
                    <a:pt x="13940" y="7826"/>
                    <a:pt x="49158" y="-12717"/>
                    <a:pt x="84375" y="10761"/>
                  </a:cubicBezTo>
                  <a:cubicBezTo>
                    <a:pt x="87310" y="13696"/>
                    <a:pt x="90245" y="16631"/>
                    <a:pt x="87310" y="22500"/>
                  </a:cubicBezTo>
                  <a:cubicBezTo>
                    <a:pt x="84375" y="25435"/>
                    <a:pt x="81440" y="28370"/>
                    <a:pt x="75571" y="25435"/>
                  </a:cubicBezTo>
                  <a:cubicBezTo>
                    <a:pt x="40353" y="1957"/>
                    <a:pt x="13940" y="31304"/>
                    <a:pt x="11005" y="31304"/>
                  </a:cubicBezTo>
                  <a:cubicBezTo>
                    <a:pt x="13940" y="34239"/>
                    <a:pt x="11005" y="34239"/>
                    <a:pt x="8071" y="34239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3B5FF44E-AD07-4E2D-984F-23AAEC43692A}"/>
                </a:ext>
              </a:extLst>
            </p:cNvPr>
            <p:cNvSpPr/>
            <p:nvPr/>
          </p:nvSpPr>
          <p:spPr>
            <a:xfrm>
              <a:off x="3421962" y="8133793"/>
              <a:ext cx="264543" cy="266193"/>
            </a:xfrm>
            <a:custGeom>
              <a:avLst/>
              <a:gdLst>
                <a:gd name="connsiteX0" fmla="*/ 3015 w 264543"/>
                <a:gd name="connsiteY0" fmla="*/ 2063 h 266193"/>
                <a:gd name="connsiteX1" fmla="*/ 35298 w 264543"/>
                <a:gd name="connsiteY1" fmla="*/ 142932 h 266193"/>
                <a:gd name="connsiteX2" fmla="*/ 264211 w 264543"/>
                <a:gd name="connsiteY2" fmla="*/ 266193 h 266193"/>
                <a:gd name="connsiteX3" fmla="*/ 3015 w 264543"/>
                <a:gd name="connsiteY3" fmla="*/ 2063 h 266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4543" h="266193">
                  <a:moveTo>
                    <a:pt x="3015" y="2063"/>
                  </a:moveTo>
                  <a:cubicBezTo>
                    <a:pt x="3015" y="2063"/>
                    <a:pt x="-14594" y="104780"/>
                    <a:pt x="35298" y="142932"/>
                  </a:cubicBezTo>
                  <a:cubicBezTo>
                    <a:pt x="35298" y="142932"/>
                    <a:pt x="237798" y="184019"/>
                    <a:pt x="264211" y="266193"/>
                  </a:cubicBezTo>
                  <a:cubicBezTo>
                    <a:pt x="264211" y="266193"/>
                    <a:pt x="284754" y="-27285"/>
                    <a:pt x="3015" y="2063"/>
                  </a:cubicBezTo>
                  <a:close/>
                </a:path>
              </a:pathLst>
            </a:custGeom>
            <a:solidFill>
              <a:srgbClr val="F1DDBA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313B560D-6798-4684-9948-0ED13F6D8DBA}"/>
                </a:ext>
              </a:extLst>
            </p:cNvPr>
            <p:cNvSpPr/>
            <p:nvPr/>
          </p:nvSpPr>
          <p:spPr>
            <a:xfrm>
              <a:off x="3171246" y="8135856"/>
              <a:ext cx="286013" cy="337942"/>
            </a:xfrm>
            <a:custGeom>
              <a:avLst/>
              <a:gdLst>
                <a:gd name="connsiteX0" fmla="*/ 286013 w 286013"/>
                <a:gd name="connsiteY0" fmla="*/ 140869 h 337942"/>
                <a:gd name="connsiteX1" fmla="*/ 151013 w 286013"/>
                <a:gd name="connsiteY1" fmla="*/ 193695 h 337942"/>
                <a:gd name="connsiteX2" fmla="*/ 95252 w 286013"/>
                <a:gd name="connsiteY2" fmla="*/ 308152 h 337942"/>
                <a:gd name="connsiteX3" fmla="*/ 10144 w 286013"/>
                <a:gd name="connsiteY3" fmla="*/ 328696 h 337942"/>
                <a:gd name="connsiteX4" fmla="*/ 256665 w 286013"/>
                <a:gd name="connsiteY4" fmla="*/ 0 h 337942"/>
                <a:gd name="connsiteX5" fmla="*/ 286013 w 286013"/>
                <a:gd name="connsiteY5" fmla="*/ 140869 h 3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6013" h="337942">
                  <a:moveTo>
                    <a:pt x="286013" y="140869"/>
                  </a:moveTo>
                  <a:cubicBezTo>
                    <a:pt x="286013" y="140869"/>
                    <a:pt x="197970" y="187826"/>
                    <a:pt x="151013" y="193695"/>
                  </a:cubicBezTo>
                  <a:cubicBezTo>
                    <a:pt x="101122" y="199565"/>
                    <a:pt x="95252" y="308152"/>
                    <a:pt x="95252" y="308152"/>
                  </a:cubicBezTo>
                  <a:cubicBezTo>
                    <a:pt x="95252" y="308152"/>
                    <a:pt x="24817" y="358043"/>
                    <a:pt x="10144" y="328696"/>
                  </a:cubicBezTo>
                  <a:cubicBezTo>
                    <a:pt x="-22139" y="264130"/>
                    <a:pt x="13078" y="0"/>
                    <a:pt x="256665" y="0"/>
                  </a:cubicBezTo>
                  <a:cubicBezTo>
                    <a:pt x="253731" y="0"/>
                    <a:pt x="262535" y="135000"/>
                    <a:pt x="286013" y="140869"/>
                  </a:cubicBezTo>
                  <a:close/>
                </a:path>
              </a:pathLst>
            </a:custGeom>
            <a:solidFill>
              <a:srgbClr val="F1DDBA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F630575B-5CF5-420B-8229-C09515FC7C2E}"/>
                </a:ext>
              </a:extLst>
            </p:cNvPr>
            <p:cNvSpPr/>
            <p:nvPr/>
          </p:nvSpPr>
          <p:spPr>
            <a:xfrm>
              <a:off x="3319324" y="8625872"/>
              <a:ext cx="299347" cy="314114"/>
            </a:xfrm>
            <a:custGeom>
              <a:avLst/>
              <a:gdLst>
                <a:gd name="connsiteX0" fmla="*/ 246522 w 299347"/>
                <a:gd name="connsiteY0" fmla="*/ 58789 h 314114"/>
                <a:gd name="connsiteX1" fmla="*/ 299348 w 299347"/>
                <a:gd name="connsiteY1" fmla="*/ 193788 h 314114"/>
                <a:gd name="connsiteX2" fmla="*/ 187826 w 299347"/>
                <a:gd name="connsiteY2" fmla="*/ 314115 h 314114"/>
                <a:gd name="connsiteX3" fmla="*/ 0 w 299347"/>
                <a:gd name="connsiteY3" fmla="*/ 179115 h 314114"/>
                <a:gd name="connsiteX4" fmla="*/ 49891 w 299347"/>
                <a:gd name="connsiteY4" fmla="*/ 93 h 314114"/>
                <a:gd name="connsiteX5" fmla="*/ 246522 w 299347"/>
                <a:gd name="connsiteY5" fmla="*/ 58789 h 314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347" h="314114">
                  <a:moveTo>
                    <a:pt x="246522" y="58789"/>
                  </a:moveTo>
                  <a:cubicBezTo>
                    <a:pt x="246522" y="58789"/>
                    <a:pt x="240652" y="164441"/>
                    <a:pt x="299348" y="193788"/>
                  </a:cubicBezTo>
                  <a:lnTo>
                    <a:pt x="187826" y="314115"/>
                  </a:lnTo>
                  <a:cubicBezTo>
                    <a:pt x="187826" y="314115"/>
                    <a:pt x="52826" y="208462"/>
                    <a:pt x="0" y="179115"/>
                  </a:cubicBezTo>
                  <a:cubicBezTo>
                    <a:pt x="52826" y="138028"/>
                    <a:pt x="49891" y="58789"/>
                    <a:pt x="49891" y="93"/>
                  </a:cubicBezTo>
                  <a:cubicBezTo>
                    <a:pt x="49891" y="-2842"/>
                    <a:pt x="193696" y="64658"/>
                    <a:pt x="246522" y="58789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00229496-85EE-4266-9DBA-8A7A7054CB75}"/>
                </a:ext>
              </a:extLst>
            </p:cNvPr>
            <p:cNvSpPr/>
            <p:nvPr/>
          </p:nvSpPr>
          <p:spPr>
            <a:xfrm>
              <a:off x="3360411" y="8661182"/>
              <a:ext cx="213505" cy="76304"/>
            </a:xfrm>
            <a:custGeom>
              <a:avLst/>
              <a:gdLst>
                <a:gd name="connsiteX0" fmla="*/ 143804 w 213505"/>
                <a:gd name="connsiteY0" fmla="*/ 76305 h 76304"/>
                <a:gd name="connsiteX1" fmla="*/ 135000 w 213505"/>
                <a:gd name="connsiteY1" fmla="*/ 76305 h 76304"/>
                <a:gd name="connsiteX2" fmla="*/ 2935 w 213505"/>
                <a:gd name="connsiteY2" fmla="*/ 11739 h 76304"/>
                <a:gd name="connsiteX3" fmla="*/ 0 w 213505"/>
                <a:gd name="connsiteY3" fmla="*/ 2935 h 76304"/>
                <a:gd name="connsiteX4" fmla="*/ 8804 w 213505"/>
                <a:gd name="connsiteY4" fmla="*/ 0 h 76304"/>
                <a:gd name="connsiteX5" fmla="*/ 135000 w 213505"/>
                <a:gd name="connsiteY5" fmla="*/ 64565 h 76304"/>
                <a:gd name="connsiteX6" fmla="*/ 202500 w 213505"/>
                <a:gd name="connsiteY6" fmla="*/ 41087 h 76304"/>
                <a:gd name="connsiteX7" fmla="*/ 211304 w 213505"/>
                <a:gd name="connsiteY7" fmla="*/ 41087 h 76304"/>
                <a:gd name="connsiteX8" fmla="*/ 211304 w 213505"/>
                <a:gd name="connsiteY8" fmla="*/ 49891 h 76304"/>
                <a:gd name="connsiteX9" fmla="*/ 143804 w 213505"/>
                <a:gd name="connsiteY9" fmla="*/ 76305 h 7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3505" h="76304">
                  <a:moveTo>
                    <a:pt x="143804" y="76305"/>
                  </a:moveTo>
                  <a:cubicBezTo>
                    <a:pt x="140870" y="76305"/>
                    <a:pt x="137935" y="76305"/>
                    <a:pt x="135000" y="76305"/>
                  </a:cubicBezTo>
                  <a:cubicBezTo>
                    <a:pt x="93913" y="70435"/>
                    <a:pt x="5870" y="11739"/>
                    <a:pt x="2935" y="11739"/>
                  </a:cubicBezTo>
                  <a:cubicBezTo>
                    <a:pt x="0" y="8804"/>
                    <a:pt x="0" y="5869"/>
                    <a:pt x="0" y="2935"/>
                  </a:cubicBezTo>
                  <a:cubicBezTo>
                    <a:pt x="2935" y="0"/>
                    <a:pt x="5870" y="0"/>
                    <a:pt x="8804" y="0"/>
                  </a:cubicBezTo>
                  <a:cubicBezTo>
                    <a:pt x="8804" y="0"/>
                    <a:pt x="99783" y="58696"/>
                    <a:pt x="135000" y="64565"/>
                  </a:cubicBezTo>
                  <a:cubicBezTo>
                    <a:pt x="170217" y="70435"/>
                    <a:pt x="202500" y="41087"/>
                    <a:pt x="202500" y="41087"/>
                  </a:cubicBezTo>
                  <a:cubicBezTo>
                    <a:pt x="205435" y="38152"/>
                    <a:pt x="208370" y="38152"/>
                    <a:pt x="211304" y="41087"/>
                  </a:cubicBezTo>
                  <a:cubicBezTo>
                    <a:pt x="214239" y="44022"/>
                    <a:pt x="214239" y="46957"/>
                    <a:pt x="211304" y="49891"/>
                  </a:cubicBezTo>
                  <a:cubicBezTo>
                    <a:pt x="208370" y="49891"/>
                    <a:pt x="179022" y="76305"/>
                    <a:pt x="143804" y="76305"/>
                  </a:cubicBezTo>
                  <a:close/>
                </a:path>
              </a:pathLst>
            </a:custGeom>
            <a:solidFill>
              <a:srgbClr val="E58777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80A98CD7-A039-48CE-8B3A-0A7A54ADFF4E}"/>
                </a:ext>
              </a:extLst>
            </p:cNvPr>
            <p:cNvSpPr/>
            <p:nvPr/>
          </p:nvSpPr>
          <p:spPr>
            <a:xfrm>
              <a:off x="3790609" y="8888880"/>
              <a:ext cx="99591" cy="538281"/>
            </a:xfrm>
            <a:custGeom>
              <a:avLst/>
              <a:gdLst>
                <a:gd name="connsiteX0" fmla="*/ 45237 w 99591"/>
                <a:gd name="connsiteY0" fmla="*/ 538281 h 538281"/>
                <a:gd name="connsiteX1" fmla="*/ 45237 w 99591"/>
                <a:gd name="connsiteY1" fmla="*/ 538281 h 538281"/>
                <a:gd name="connsiteX2" fmla="*/ 39368 w 99591"/>
                <a:gd name="connsiteY2" fmla="*/ 532411 h 538281"/>
                <a:gd name="connsiteX3" fmla="*/ 54042 w 99591"/>
                <a:gd name="connsiteY3" fmla="*/ 479585 h 538281"/>
                <a:gd name="connsiteX4" fmla="*/ 86324 w 99591"/>
                <a:gd name="connsiteY4" fmla="*/ 335781 h 538281"/>
                <a:gd name="connsiteX5" fmla="*/ 1216 w 99591"/>
                <a:gd name="connsiteY5" fmla="*/ 10020 h 538281"/>
                <a:gd name="connsiteX6" fmla="*/ 4150 w 99591"/>
                <a:gd name="connsiteY6" fmla="*/ 1216 h 538281"/>
                <a:gd name="connsiteX7" fmla="*/ 12955 w 99591"/>
                <a:gd name="connsiteY7" fmla="*/ 4150 h 538281"/>
                <a:gd name="connsiteX8" fmla="*/ 98063 w 99591"/>
                <a:gd name="connsiteY8" fmla="*/ 335781 h 538281"/>
                <a:gd name="connsiteX9" fmla="*/ 65781 w 99591"/>
                <a:gd name="connsiteY9" fmla="*/ 479585 h 538281"/>
                <a:gd name="connsiteX10" fmla="*/ 51107 w 99591"/>
                <a:gd name="connsiteY10" fmla="*/ 532411 h 538281"/>
                <a:gd name="connsiteX11" fmla="*/ 45237 w 99591"/>
                <a:gd name="connsiteY11" fmla="*/ 538281 h 538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591" h="538281">
                  <a:moveTo>
                    <a:pt x="45237" y="538281"/>
                  </a:moveTo>
                  <a:cubicBezTo>
                    <a:pt x="45237" y="538281"/>
                    <a:pt x="45237" y="538281"/>
                    <a:pt x="45237" y="538281"/>
                  </a:cubicBezTo>
                  <a:cubicBezTo>
                    <a:pt x="42303" y="538281"/>
                    <a:pt x="39368" y="535346"/>
                    <a:pt x="39368" y="532411"/>
                  </a:cubicBezTo>
                  <a:cubicBezTo>
                    <a:pt x="45237" y="514802"/>
                    <a:pt x="48172" y="497194"/>
                    <a:pt x="54042" y="479585"/>
                  </a:cubicBezTo>
                  <a:cubicBezTo>
                    <a:pt x="68716" y="429694"/>
                    <a:pt x="83390" y="379803"/>
                    <a:pt x="86324" y="335781"/>
                  </a:cubicBezTo>
                  <a:cubicBezTo>
                    <a:pt x="92194" y="218389"/>
                    <a:pt x="65781" y="109803"/>
                    <a:pt x="1216" y="10020"/>
                  </a:cubicBezTo>
                  <a:cubicBezTo>
                    <a:pt x="-1719" y="7085"/>
                    <a:pt x="1216" y="4150"/>
                    <a:pt x="4150" y="1216"/>
                  </a:cubicBezTo>
                  <a:cubicBezTo>
                    <a:pt x="7085" y="-1719"/>
                    <a:pt x="10020" y="1216"/>
                    <a:pt x="12955" y="4150"/>
                  </a:cubicBezTo>
                  <a:cubicBezTo>
                    <a:pt x="77520" y="106868"/>
                    <a:pt x="106868" y="218389"/>
                    <a:pt x="98063" y="335781"/>
                  </a:cubicBezTo>
                  <a:cubicBezTo>
                    <a:pt x="95129" y="379803"/>
                    <a:pt x="80455" y="432629"/>
                    <a:pt x="65781" y="479585"/>
                  </a:cubicBezTo>
                  <a:cubicBezTo>
                    <a:pt x="59911" y="497194"/>
                    <a:pt x="54042" y="514802"/>
                    <a:pt x="51107" y="532411"/>
                  </a:cubicBezTo>
                  <a:cubicBezTo>
                    <a:pt x="51107" y="538281"/>
                    <a:pt x="48172" y="538281"/>
                    <a:pt x="45237" y="538281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457B17DA-D368-455B-AFC0-562749BB5A9D}"/>
                </a:ext>
              </a:extLst>
            </p:cNvPr>
            <p:cNvSpPr/>
            <p:nvPr/>
          </p:nvSpPr>
          <p:spPr>
            <a:xfrm>
              <a:off x="3383890" y="9315825"/>
              <a:ext cx="385672" cy="35030"/>
            </a:xfrm>
            <a:custGeom>
              <a:avLst/>
              <a:gdLst>
                <a:gd name="connsiteX0" fmla="*/ 381522 w 385672"/>
                <a:gd name="connsiteY0" fmla="*/ 35031 h 35030"/>
                <a:gd name="connsiteX1" fmla="*/ 381522 w 385672"/>
                <a:gd name="connsiteY1" fmla="*/ 35031 h 35030"/>
                <a:gd name="connsiteX2" fmla="*/ 5870 w 385672"/>
                <a:gd name="connsiteY2" fmla="*/ 23292 h 35030"/>
                <a:gd name="connsiteX3" fmla="*/ 0 w 385672"/>
                <a:gd name="connsiteY3" fmla="*/ 20357 h 35030"/>
                <a:gd name="connsiteX4" fmla="*/ 2935 w 385672"/>
                <a:gd name="connsiteY4" fmla="*/ 14487 h 35030"/>
                <a:gd name="connsiteX5" fmla="*/ 381522 w 385672"/>
                <a:gd name="connsiteY5" fmla="*/ 26227 h 35030"/>
                <a:gd name="connsiteX6" fmla="*/ 384457 w 385672"/>
                <a:gd name="connsiteY6" fmla="*/ 32096 h 35030"/>
                <a:gd name="connsiteX7" fmla="*/ 381522 w 385672"/>
                <a:gd name="connsiteY7" fmla="*/ 35031 h 35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5672" h="35030">
                  <a:moveTo>
                    <a:pt x="381522" y="35031"/>
                  </a:moveTo>
                  <a:cubicBezTo>
                    <a:pt x="381522" y="35031"/>
                    <a:pt x="381522" y="35031"/>
                    <a:pt x="381522" y="35031"/>
                  </a:cubicBezTo>
                  <a:cubicBezTo>
                    <a:pt x="299348" y="5683"/>
                    <a:pt x="102717" y="-187"/>
                    <a:pt x="5870" y="23292"/>
                  </a:cubicBezTo>
                  <a:cubicBezTo>
                    <a:pt x="2935" y="23292"/>
                    <a:pt x="0" y="23292"/>
                    <a:pt x="0" y="20357"/>
                  </a:cubicBezTo>
                  <a:cubicBezTo>
                    <a:pt x="0" y="17422"/>
                    <a:pt x="0" y="14487"/>
                    <a:pt x="2935" y="14487"/>
                  </a:cubicBezTo>
                  <a:cubicBezTo>
                    <a:pt x="99783" y="-8991"/>
                    <a:pt x="299348" y="-3121"/>
                    <a:pt x="381522" y="26227"/>
                  </a:cubicBezTo>
                  <a:cubicBezTo>
                    <a:pt x="384457" y="26227"/>
                    <a:pt x="384457" y="29161"/>
                    <a:pt x="384457" y="32096"/>
                  </a:cubicBezTo>
                  <a:cubicBezTo>
                    <a:pt x="387391" y="35031"/>
                    <a:pt x="384457" y="35031"/>
                    <a:pt x="381522" y="35031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9E944A5B-287A-4DCD-86BD-818C8D60A471}"/>
                </a:ext>
              </a:extLst>
            </p:cNvPr>
            <p:cNvSpPr/>
            <p:nvPr/>
          </p:nvSpPr>
          <p:spPr>
            <a:xfrm>
              <a:off x="3227034" y="8430840"/>
              <a:ext cx="74681" cy="109784"/>
            </a:xfrm>
            <a:custGeom>
              <a:avLst/>
              <a:gdLst>
                <a:gd name="connsiteX0" fmla="*/ 62943 w 74681"/>
                <a:gd name="connsiteY0" fmla="*/ 16103 h 109784"/>
                <a:gd name="connsiteX1" fmla="*/ 7182 w 74681"/>
                <a:gd name="connsiteY1" fmla="*/ 7299 h 109784"/>
                <a:gd name="connsiteX2" fmla="*/ 62943 w 74681"/>
                <a:gd name="connsiteY2" fmla="*/ 107082 h 109784"/>
                <a:gd name="connsiteX3" fmla="*/ 62943 w 74681"/>
                <a:gd name="connsiteY3" fmla="*/ 16103 h 109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1" h="109784">
                  <a:moveTo>
                    <a:pt x="62943" y="16103"/>
                  </a:moveTo>
                  <a:cubicBezTo>
                    <a:pt x="62943" y="16103"/>
                    <a:pt x="30660" y="-13245"/>
                    <a:pt x="7182" y="7299"/>
                  </a:cubicBezTo>
                  <a:cubicBezTo>
                    <a:pt x="-16297" y="24908"/>
                    <a:pt x="21856" y="127625"/>
                    <a:pt x="62943" y="107082"/>
                  </a:cubicBezTo>
                  <a:cubicBezTo>
                    <a:pt x="89356" y="86538"/>
                    <a:pt x="62943" y="16103"/>
                    <a:pt x="62943" y="16103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75B6E17F-C0D6-4A6E-9574-FBC2D9A74C9C}"/>
                </a:ext>
              </a:extLst>
            </p:cNvPr>
            <p:cNvSpPr/>
            <p:nvPr/>
          </p:nvSpPr>
          <p:spPr>
            <a:xfrm>
              <a:off x="3576370" y="8313662"/>
              <a:ext cx="142085" cy="156759"/>
            </a:xfrm>
            <a:custGeom>
              <a:avLst/>
              <a:gdLst>
                <a:gd name="connsiteX0" fmla="*/ 136216 w 142085"/>
                <a:gd name="connsiteY0" fmla="*/ 156759 h 156759"/>
                <a:gd name="connsiteX1" fmla="*/ 130346 w 142085"/>
                <a:gd name="connsiteY1" fmla="*/ 153824 h 156759"/>
                <a:gd name="connsiteX2" fmla="*/ 4150 w 142085"/>
                <a:gd name="connsiteY2" fmla="*/ 10020 h 156759"/>
                <a:gd name="connsiteX3" fmla="*/ 1216 w 142085"/>
                <a:gd name="connsiteY3" fmla="*/ 4150 h 156759"/>
                <a:gd name="connsiteX4" fmla="*/ 7085 w 142085"/>
                <a:gd name="connsiteY4" fmla="*/ 1216 h 156759"/>
                <a:gd name="connsiteX5" fmla="*/ 142085 w 142085"/>
                <a:gd name="connsiteY5" fmla="*/ 153824 h 156759"/>
                <a:gd name="connsiteX6" fmla="*/ 136216 w 142085"/>
                <a:gd name="connsiteY6" fmla="*/ 156759 h 156759"/>
                <a:gd name="connsiteX7" fmla="*/ 136216 w 142085"/>
                <a:gd name="connsiteY7" fmla="*/ 156759 h 156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085" h="156759">
                  <a:moveTo>
                    <a:pt x="136216" y="156759"/>
                  </a:moveTo>
                  <a:cubicBezTo>
                    <a:pt x="133281" y="156759"/>
                    <a:pt x="130346" y="153824"/>
                    <a:pt x="130346" y="153824"/>
                  </a:cubicBezTo>
                  <a:cubicBezTo>
                    <a:pt x="106868" y="36433"/>
                    <a:pt x="4150" y="10020"/>
                    <a:pt x="4150" y="10020"/>
                  </a:cubicBezTo>
                  <a:cubicBezTo>
                    <a:pt x="1216" y="10020"/>
                    <a:pt x="-1719" y="7085"/>
                    <a:pt x="1216" y="4150"/>
                  </a:cubicBezTo>
                  <a:cubicBezTo>
                    <a:pt x="1216" y="1216"/>
                    <a:pt x="4150" y="-1719"/>
                    <a:pt x="7085" y="1216"/>
                  </a:cubicBezTo>
                  <a:cubicBezTo>
                    <a:pt x="7085" y="1216"/>
                    <a:pt x="118607" y="30563"/>
                    <a:pt x="142085" y="153824"/>
                  </a:cubicBezTo>
                  <a:cubicBezTo>
                    <a:pt x="142085" y="153824"/>
                    <a:pt x="142085" y="156759"/>
                    <a:pt x="136216" y="156759"/>
                  </a:cubicBezTo>
                  <a:cubicBezTo>
                    <a:pt x="139150" y="156759"/>
                    <a:pt x="136216" y="156759"/>
                    <a:pt x="136216" y="156759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BBDF8350-157D-440A-839C-4BD8636E0958}"/>
                </a:ext>
              </a:extLst>
            </p:cNvPr>
            <p:cNvSpPr/>
            <p:nvPr/>
          </p:nvSpPr>
          <p:spPr>
            <a:xfrm>
              <a:off x="3295846" y="8804986"/>
              <a:ext cx="346304" cy="149674"/>
            </a:xfrm>
            <a:custGeom>
              <a:avLst/>
              <a:gdLst>
                <a:gd name="connsiteX0" fmla="*/ 311087 w 346304"/>
                <a:gd name="connsiteY0" fmla="*/ 5870 h 149674"/>
                <a:gd name="connsiteX1" fmla="*/ 211304 w 346304"/>
                <a:gd name="connsiteY1" fmla="*/ 117391 h 149674"/>
                <a:gd name="connsiteX2" fmla="*/ 23478 w 346304"/>
                <a:gd name="connsiteY2" fmla="*/ 0 h 149674"/>
                <a:gd name="connsiteX3" fmla="*/ 0 w 346304"/>
                <a:gd name="connsiteY3" fmla="*/ 8804 h 149674"/>
                <a:gd name="connsiteX4" fmla="*/ 214239 w 346304"/>
                <a:gd name="connsiteY4" fmla="*/ 149674 h 149674"/>
                <a:gd name="connsiteX5" fmla="*/ 346304 w 346304"/>
                <a:gd name="connsiteY5" fmla="*/ 14674 h 149674"/>
                <a:gd name="connsiteX6" fmla="*/ 311087 w 346304"/>
                <a:gd name="connsiteY6" fmla="*/ 5870 h 149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6304" h="149674">
                  <a:moveTo>
                    <a:pt x="311087" y="5870"/>
                  </a:moveTo>
                  <a:lnTo>
                    <a:pt x="211304" y="117391"/>
                  </a:lnTo>
                  <a:cubicBezTo>
                    <a:pt x="211304" y="117391"/>
                    <a:pt x="85109" y="20544"/>
                    <a:pt x="23478" y="0"/>
                  </a:cubicBezTo>
                  <a:lnTo>
                    <a:pt x="0" y="8804"/>
                  </a:lnTo>
                  <a:lnTo>
                    <a:pt x="214239" y="149674"/>
                  </a:lnTo>
                  <a:lnTo>
                    <a:pt x="346304" y="14674"/>
                  </a:lnTo>
                  <a:cubicBezTo>
                    <a:pt x="346304" y="11739"/>
                    <a:pt x="331630" y="8804"/>
                    <a:pt x="311087" y="5870"/>
                  </a:cubicBezTo>
                  <a:close/>
                </a:path>
              </a:pathLst>
            </a:custGeom>
            <a:solidFill>
              <a:srgbClr val="D16156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3A410E23-24B5-4E64-85A6-73DF9FD618D9}"/>
                </a:ext>
              </a:extLst>
            </p:cNvPr>
            <p:cNvSpPr/>
            <p:nvPr/>
          </p:nvSpPr>
          <p:spPr>
            <a:xfrm>
              <a:off x="3034651" y="9697160"/>
              <a:ext cx="859891" cy="260502"/>
            </a:xfrm>
            <a:custGeom>
              <a:avLst/>
              <a:gdLst>
                <a:gd name="connsiteX0" fmla="*/ 111522 w 859891"/>
                <a:gd name="connsiteY0" fmla="*/ 0 h 260502"/>
                <a:gd name="connsiteX1" fmla="*/ 0 w 859891"/>
                <a:gd name="connsiteY1" fmla="*/ 176087 h 260502"/>
                <a:gd name="connsiteX2" fmla="*/ 859891 w 859891"/>
                <a:gd name="connsiteY2" fmla="*/ 199566 h 260502"/>
                <a:gd name="connsiteX3" fmla="*/ 760109 w 859891"/>
                <a:gd name="connsiteY3" fmla="*/ 44022 h 260502"/>
                <a:gd name="connsiteX4" fmla="*/ 111522 w 859891"/>
                <a:gd name="connsiteY4" fmla="*/ 0 h 260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9891" h="260502">
                  <a:moveTo>
                    <a:pt x="111522" y="0"/>
                  </a:moveTo>
                  <a:lnTo>
                    <a:pt x="0" y="176087"/>
                  </a:lnTo>
                  <a:cubicBezTo>
                    <a:pt x="0" y="176087"/>
                    <a:pt x="472500" y="349240"/>
                    <a:pt x="859891" y="199566"/>
                  </a:cubicBezTo>
                  <a:lnTo>
                    <a:pt x="760109" y="44022"/>
                  </a:lnTo>
                  <a:cubicBezTo>
                    <a:pt x="760109" y="38153"/>
                    <a:pt x="199565" y="20544"/>
                    <a:pt x="111522" y="0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A72DD8F5-207D-4F45-9D5C-99FF0EE621CB}"/>
                </a:ext>
              </a:extLst>
            </p:cNvPr>
            <p:cNvSpPr/>
            <p:nvPr/>
          </p:nvSpPr>
          <p:spPr>
            <a:xfrm>
              <a:off x="3497131" y="9713553"/>
              <a:ext cx="303498" cy="27628"/>
            </a:xfrm>
            <a:custGeom>
              <a:avLst/>
              <a:gdLst>
                <a:gd name="connsiteX0" fmla="*/ 297629 w 303498"/>
                <a:gd name="connsiteY0" fmla="*/ 27629 h 27628"/>
                <a:gd name="connsiteX1" fmla="*/ 297629 w 303498"/>
                <a:gd name="connsiteY1" fmla="*/ 27629 h 27628"/>
                <a:gd name="connsiteX2" fmla="*/ 4150 w 303498"/>
                <a:gd name="connsiteY2" fmla="*/ 10021 h 27628"/>
                <a:gd name="connsiteX3" fmla="*/ 1216 w 303498"/>
                <a:gd name="connsiteY3" fmla="*/ 4151 h 27628"/>
                <a:gd name="connsiteX4" fmla="*/ 7085 w 303498"/>
                <a:gd name="connsiteY4" fmla="*/ 1216 h 27628"/>
                <a:gd name="connsiteX5" fmla="*/ 297629 w 303498"/>
                <a:gd name="connsiteY5" fmla="*/ 18825 h 27628"/>
                <a:gd name="connsiteX6" fmla="*/ 303498 w 303498"/>
                <a:gd name="connsiteY6" fmla="*/ 24695 h 27628"/>
                <a:gd name="connsiteX7" fmla="*/ 297629 w 303498"/>
                <a:gd name="connsiteY7" fmla="*/ 27629 h 2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3498" h="27628">
                  <a:moveTo>
                    <a:pt x="297629" y="27629"/>
                  </a:moveTo>
                  <a:cubicBezTo>
                    <a:pt x="297629" y="27629"/>
                    <a:pt x="297629" y="27629"/>
                    <a:pt x="297629" y="27629"/>
                  </a:cubicBezTo>
                  <a:cubicBezTo>
                    <a:pt x="294694" y="27629"/>
                    <a:pt x="95129" y="24695"/>
                    <a:pt x="4150" y="10021"/>
                  </a:cubicBezTo>
                  <a:cubicBezTo>
                    <a:pt x="1216" y="10021"/>
                    <a:pt x="-1719" y="7086"/>
                    <a:pt x="1216" y="4151"/>
                  </a:cubicBezTo>
                  <a:cubicBezTo>
                    <a:pt x="1216" y="1216"/>
                    <a:pt x="4150" y="-1719"/>
                    <a:pt x="7085" y="1216"/>
                  </a:cubicBezTo>
                  <a:cubicBezTo>
                    <a:pt x="98063" y="18825"/>
                    <a:pt x="297629" y="18825"/>
                    <a:pt x="297629" y="18825"/>
                  </a:cubicBezTo>
                  <a:cubicBezTo>
                    <a:pt x="300564" y="18825"/>
                    <a:pt x="303498" y="21760"/>
                    <a:pt x="303498" y="24695"/>
                  </a:cubicBezTo>
                  <a:cubicBezTo>
                    <a:pt x="303498" y="24695"/>
                    <a:pt x="300564" y="27629"/>
                    <a:pt x="297629" y="27629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AD233F17-62A1-4DBB-AF4E-8043EEB72A54}"/>
                </a:ext>
              </a:extLst>
            </p:cNvPr>
            <p:cNvSpPr/>
            <p:nvPr/>
          </p:nvSpPr>
          <p:spPr>
            <a:xfrm>
              <a:off x="3289977" y="8722813"/>
              <a:ext cx="230429" cy="396195"/>
            </a:xfrm>
            <a:custGeom>
              <a:avLst/>
              <a:gdLst>
                <a:gd name="connsiteX0" fmla="*/ 32283 w 230429"/>
                <a:gd name="connsiteY0" fmla="*/ 0 h 396195"/>
                <a:gd name="connsiteX1" fmla="*/ 202500 w 230429"/>
                <a:gd name="connsiteY1" fmla="*/ 187826 h 396195"/>
                <a:gd name="connsiteX2" fmla="*/ 220109 w 230429"/>
                <a:gd name="connsiteY2" fmla="*/ 375652 h 396195"/>
                <a:gd name="connsiteX3" fmla="*/ 176087 w 230429"/>
                <a:gd name="connsiteY3" fmla="*/ 375652 h 396195"/>
                <a:gd name="connsiteX4" fmla="*/ 102717 w 230429"/>
                <a:gd name="connsiteY4" fmla="*/ 396196 h 396195"/>
                <a:gd name="connsiteX5" fmla="*/ 61631 w 230429"/>
                <a:gd name="connsiteY5" fmla="*/ 369782 h 396195"/>
                <a:gd name="connsiteX6" fmla="*/ 0 w 230429"/>
                <a:gd name="connsiteY6" fmla="*/ 35217 h 396195"/>
                <a:gd name="connsiteX7" fmla="*/ 32283 w 230429"/>
                <a:gd name="connsiteY7" fmla="*/ 0 h 396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429" h="396195">
                  <a:moveTo>
                    <a:pt x="32283" y="0"/>
                  </a:moveTo>
                  <a:cubicBezTo>
                    <a:pt x="32283" y="0"/>
                    <a:pt x="167283" y="88043"/>
                    <a:pt x="202500" y="187826"/>
                  </a:cubicBezTo>
                  <a:cubicBezTo>
                    <a:pt x="237717" y="290543"/>
                    <a:pt x="234783" y="366848"/>
                    <a:pt x="220109" y="375652"/>
                  </a:cubicBezTo>
                  <a:cubicBezTo>
                    <a:pt x="208370" y="384456"/>
                    <a:pt x="193696" y="366848"/>
                    <a:pt x="176087" y="375652"/>
                  </a:cubicBezTo>
                  <a:cubicBezTo>
                    <a:pt x="158478" y="384456"/>
                    <a:pt x="114457" y="396196"/>
                    <a:pt x="102717" y="396196"/>
                  </a:cubicBezTo>
                  <a:cubicBezTo>
                    <a:pt x="88043" y="396196"/>
                    <a:pt x="55761" y="381522"/>
                    <a:pt x="61631" y="369782"/>
                  </a:cubicBezTo>
                  <a:cubicBezTo>
                    <a:pt x="67500" y="358043"/>
                    <a:pt x="23478" y="61630"/>
                    <a:pt x="0" y="35217"/>
                  </a:cubicBezTo>
                  <a:lnTo>
                    <a:pt x="32283" y="0"/>
                  </a:lnTo>
                  <a:close/>
                </a:path>
              </a:pathLst>
            </a:custGeom>
            <a:solidFill>
              <a:srgbClr val="F1DDBA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F440AD94-5BF5-49F3-B30F-F95AAD5C2B67}"/>
                </a:ext>
              </a:extLst>
            </p:cNvPr>
            <p:cNvSpPr/>
            <p:nvPr/>
          </p:nvSpPr>
          <p:spPr>
            <a:xfrm>
              <a:off x="3331797" y="8755829"/>
              <a:ext cx="143070" cy="257527"/>
            </a:xfrm>
            <a:custGeom>
              <a:avLst/>
              <a:gdLst>
                <a:gd name="connsiteX0" fmla="*/ 137201 w 143070"/>
                <a:gd name="connsiteY0" fmla="*/ 257527 h 257527"/>
                <a:gd name="connsiteX1" fmla="*/ 131332 w 143070"/>
                <a:gd name="connsiteY1" fmla="*/ 251658 h 257527"/>
                <a:gd name="connsiteX2" fmla="*/ 2201 w 143070"/>
                <a:gd name="connsiteY2" fmla="*/ 11006 h 257527"/>
                <a:gd name="connsiteX3" fmla="*/ 2201 w 143070"/>
                <a:gd name="connsiteY3" fmla="*/ 2201 h 257527"/>
                <a:gd name="connsiteX4" fmla="*/ 11005 w 143070"/>
                <a:gd name="connsiteY4" fmla="*/ 2201 h 257527"/>
                <a:gd name="connsiteX5" fmla="*/ 143071 w 143070"/>
                <a:gd name="connsiteY5" fmla="*/ 248723 h 257527"/>
                <a:gd name="connsiteX6" fmla="*/ 137201 w 143070"/>
                <a:gd name="connsiteY6" fmla="*/ 257527 h 257527"/>
                <a:gd name="connsiteX7" fmla="*/ 137201 w 143070"/>
                <a:gd name="connsiteY7" fmla="*/ 257527 h 257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3070" h="257527">
                  <a:moveTo>
                    <a:pt x="137201" y="257527"/>
                  </a:moveTo>
                  <a:cubicBezTo>
                    <a:pt x="134266" y="257527"/>
                    <a:pt x="131332" y="254592"/>
                    <a:pt x="131332" y="251658"/>
                  </a:cubicBezTo>
                  <a:cubicBezTo>
                    <a:pt x="125462" y="140136"/>
                    <a:pt x="5136" y="11006"/>
                    <a:pt x="2201" y="11006"/>
                  </a:cubicBezTo>
                  <a:cubicBezTo>
                    <a:pt x="-734" y="8071"/>
                    <a:pt x="-734" y="5136"/>
                    <a:pt x="2201" y="2201"/>
                  </a:cubicBezTo>
                  <a:cubicBezTo>
                    <a:pt x="5136" y="-734"/>
                    <a:pt x="8071" y="-734"/>
                    <a:pt x="11005" y="2201"/>
                  </a:cubicBezTo>
                  <a:cubicBezTo>
                    <a:pt x="16875" y="8071"/>
                    <a:pt x="137201" y="134266"/>
                    <a:pt x="143071" y="248723"/>
                  </a:cubicBezTo>
                  <a:cubicBezTo>
                    <a:pt x="143071" y="254592"/>
                    <a:pt x="140136" y="257527"/>
                    <a:pt x="137201" y="257527"/>
                  </a:cubicBezTo>
                  <a:cubicBezTo>
                    <a:pt x="137201" y="257527"/>
                    <a:pt x="137201" y="257527"/>
                    <a:pt x="137201" y="257527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C265E46F-6FB6-4CEB-BE3E-21750F8C1EF5}"/>
                </a:ext>
              </a:extLst>
            </p:cNvPr>
            <p:cNvSpPr/>
            <p:nvPr/>
          </p:nvSpPr>
          <p:spPr>
            <a:xfrm>
              <a:off x="3273972" y="8707563"/>
              <a:ext cx="101113" cy="75887"/>
            </a:xfrm>
            <a:custGeom>
              <a:avLst/>
              <a:gdLst>
                <a:gd name="connsiteX0" fmla="*/ 101114 w 101113"/>
                <a:gd name="connsiteY0" fmla="*/ 15250 h 75887"/>
                <a:gd name="connsiteX1" fmla="*/ 83505 w 101113"/>
                <a:gd name="connsiteY1" fmla="*/ 576 h 75887"/>
                <a:gd name="connsiteX2" fmla="*/ 10135 w 101113"/>
                <a:gd name="connsiteY2" fmla="*/ 24054 h 75887"/>
                <a:gd name="connsiteX3" fmla="*/ 4266 w 101113"/>
                <a:gd name="connsiteY3" fmla="*/ 50467 h 75887"/>
                <a:gd name="connsiteX4" fmla="*/ 21875 w 101113"/>
                <a:gd name="connsiteY4" fmla="*/ 73945 h 75887"/>
                <a:gd name="connsiteX5" fmla="*/ 86440 w 101113"/>
                <a:gd name="connsiteY5" fmla="*/ 53401 h 75887"/>
                <a:gd name="connsiteX6" fmla="*/ 95244 w 101113"/>
                <a:gd name="connsiteY6" fmla="*/ 38728 h 75887"/>
                <a:gd name="connsiteX7" fmla="*/ 101114 w 101113"/>
                <a:gd name="connsiteY7" fmla="*/ 15250 h 7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113" h="75887">
                  <a:moveTo>
                    <a:pt x="101114" y="15250"/>
                  </a:moveTo>
                  <a:cubicBezTo>
                    <a:pt x="101114" y="6445"/>
                    <a:pt x="92309" y="-2359"/>
                    <a:pt x="83505" y="576"/>
                  </a:cubicBezTo>
                  <a:cubicBezTo>
                    <a:pt x="60027" y="9380"/>
                    <a:pt x="33614" y="15250"/>
                    <a:pt x="10135" y="24054"/>
                  </a:cubicBezTo>
                  <a:cubicBezTo>
                    <a:pt x="-1604" y="26989"/>
                    <a:pt x="-1604" y="44597"/>
                    <a:pt x="4266" y="50467"/>
                  </a:cubicBezTo>
                  <a:cubicBezTo>
                    <a:pt x="-7473" y="59271"/>
                    <a:pt x="7201" y="82749"/>
                    <a:pt x="21875" y="73945"/>
                  </a:cubicBezTo>
                  <a:cubicBezTo>
                    <a:pt x="42418" y="62206"/>
                    <a:pt x="62962" y="56336"/>
                    <a:pt x="86440" y="53401"/>
                  </a:cubicBezTo>
                  <a:cubicBezTo>
                    <a:pt x="95244" y="53401"/>
                    <a:pt x="98179" y="44597"/>
                    <a:pt x="95244" y="38728"/>
                  </a:cubicBezTo>
                  <a:cubicBezTo>
                    <a:pt x="98179" y="29924"/>
                    <a:pt x="101114" y="24054"/>
                    <a:pt x="101114" y="15250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AC6F5CB3-608B-47D7-8D40-C6BEFCBD8F49}"/>
                </a:ext>
              </a:extLst>
            </p:cNvPr>
            <p:cNvSpPr/>
            <p:nvPr/>
          </p:nvSpPr>
          <p:spPr>
            <a:xfrm>
              <a:off x="3598129" y="8722813"/>
              <a:ext cx="230429" cy="396195"/>
            </a:xfrm>
            <a:custGeom>
              <a:avLst/>
              <a:gdLst>
                <a:gd name="connsiteX0" fmla="*/ 32283 w 230429"/>
                <a:gd name="connsiteY0" fmla="*/ 0 h 396195"/>
                <a:gd name="connsiteX1" fmla="*/ 202500 w 230429"/>
                <a:gd name="connsiteY1" fmla="*/ 187826 h 396195"/>
                <a:gd name="connsiteX2" fmla="*/ 220109 w 230429"/>
                <a:gd name="connsiteY2" fmla="*/ 375652 h 396195"/>
                <a:gd name="connsiteX3" fmla="*/ 176087 w 230429"/>
                <a:gd name="connsiteY3" fmla="*/ 375652 h 396195"/>
                <a:gd name="connsiteX4" fmla="*/ 102717 w 230429"/>
                <a:gd name="connsiteY4" fmla="*/ 396196 h 396195"/>
                <a:gd name="connsiteX5" fmla="*/ 61631 w 230429"/>
                <a:gd name="connsiteY5" fmla="*/ 369782 h 396195"/>
                <a:gd name="connsiteX6" fmla="*/ 0 w 230429"/>
                <a:gd name="connsiteY6" fmla="*/ 35217 h 396195"/>
                <a:gd name="connsiteX7" fmla="*/ 32283 w 230429"/>
                <a:gd name="connsiteY7" fmla="*/ 0 h 396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429" h="396195">
                  <a:moveTo>
                    <a:pt x="32283" y="0"/>
                  </a:moveTo>
                  <a:cubicBezTo>
                    <a:pt x="32283" y="0"/>
                    <a:pt x="167283" y="88043"/>
                    <a:pt x="202500" y="187826"/>
                  </a:cubicBezTo>
                  <a:cubicBezTo>
                    <a:pt x="237717" y="290543"/>
                    <a:pt x="234783" y="366848"/>
                    <a:pt x="220109" y="375652"/>
                  </a:cubicBezTo>
                  <a:cubicBezTo>
                    <a:pt x="208370" y="384456"/>
                    <a:pt x="193696" y="366848"/>
                    <a:pt x="176087" y="375652"/>
                  </a:cubicBezTo>
                  <a:cubicBezTo>
                    <a:pt x="158478" y="384456"/>
                    <a:pt x="114457" y="396196"/>
                    <a:pt x="102717" y="396196"/>
                  </a:cubicBezTo>
                  <a:cubicBezTo>
                    <a:pt x="88043" y="396196"/>
                    <a:pt x="55761" y="381522"/>
                    <a:pt x="61631" y="369782"/>
                  </a:cubicBezTo>
                  <a:cubicBezTo>
                    <a:pt x="67500" y="358043"/>
                    <a:pt x="23478" y="61630"/>
                    <a:pt x="0" y="35217"/>
                  </a:cubicBezTo>
                  <a:lnTo>
                    <a:pt x="32283" y="0"/>
                  </a:lnTo>
                  <a:close/>
                </a:path>
              </a:pathLst>
            </a:custGeom>
            <a:solidFill>
              <a:srgbClr val="F1DDBA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91E2347C-BE9B-4379-891B-B4F60DBEBE7A}"/>
                </a:ext>
              </a:extLst>
            </p:cNvPr>
            <p:cNvSpPr/>
            <p:nvPr/>
          </p:nvSpPr>
          <p:spPr>
            <a:xfrm>
              <a:off x="3639950" y="8755829"/>
              <a:ext cx="143070" cy="257527"/>
            </a:xfrm>
            <a:custGeom>
              <a:avLst/>
              <a:gdLst>
                <a:gd name="connsiteX0" fmla="*/ 137201 w 143070"/>
                <a:gd name="connsiteY0" fmla="*/ 257527 h 257527"/>
                <a:gd name="connsiteX1" fmla="*/ 131332 w 143070"/>
                <a:gd name="connsiteY1" fmla="*/ 251658 h 257527"/>
                <a:gd name="connsiteX2" fmla="*/ 2201 w 143070"/>
                <a:gd name="connsiteY2" fmla="*/ 11006 h 257527"/>
                <a:gd name="connsiteX3" fmla="*/ 2201 w 143070"/>
                <a:gd name="connsiteY3" fmla="*/ 2201 h 257527"/>
                <a:gd name="connsiteX4" fmla="*/ 11005 w 143070"/>
                <a:gd name="connsiteY4" fmla="*/ 2201 h 257527"/>
                <a:gd name="connsiteX5" fmla="*/ 143071 w 143070"/>
                <a:gd name="connsiteY5" fmla="*/ 248723 h 257527"/>
                <a:gd name="connsiteX6" fmla="*/ 137201 w 143070"/>
                <a:gd name="connsiteY6" fmla="*/ 257527 h 257527"/>
                <a:gd name="connsiteX7" fmla="*/ 137201 w 143070"/>
                <a:gd name="connsiteY7" fmla="*/ 257527 h 257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3070" h="257527">
                  <a:moveTo>
                    <a:pt x="137201" y="257527"/>
                  </a:moveTo>
                  <a:cubicBezTo>
                    <a:pt x="134266" y="257527"/>
                    <a:pt x="131332" y="254592"/>
                    <a:pt x="131332" y="251658"/>
                  </a:cubicBezTo>
                  <a:cubicBezTo>
                    <a:pt x="125462" y="140136"/>
                    <a:pt x="5136" y="11006"/>
                    <a:pt x="2201" y="11006"/>
                  </a:cubicBezTo>
                  <a:cubicBezTo>
                    <a:pt x="-734" y="8071"/>
                    <a:pt x="-734" y="5136"/>
                    <a:pt x="2201" y="2201"/>
                  </a:cubicBezTo>
                  <a:cubicBezTo>
                    <a:pt x="5136" y="-734"/>
                    <a:pt x="8071" y="-734"/>
                    <a:pt x="11005" y="2201"/>
                  </a:cubicBezTo>
                  <a:cubicBezTo>
                    <a:pt x="16875" y="8071"/>
                    <a:pt x="137201" y="134266"/>
                    <a:pt x="143071" y="248723"/>
                  </a:cubicBezTo>
                  <a:cubicBezTo>
                    <a:pt x="143071" y="254592"/>
                    <a:pt x="140136" y="257527"/>
                    <a:pt x="137201" y="257527"/>
                  </a:cubicBezTo>
                  <a:cubicBezTo>
                    <a:pt x="137201" y="257527"/>
                    <a:pt x="137201" y="257527"/>
                    <a:pt x="137201" y="257527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8E5829E1-1EC6-4798-9EC4-7BED14CB165B}"/>
                </a:ext>
              </a:extLst>
            </p:cNvPr>
            <p:cNvSpPr/>
            <p:nvPr/>
          </p:nvSpPr>
          <p:spPr>
            <a:xfrm>
              <a:off x="3582124" y="8707563"/>
              <a:ext cx="101113" cy="75887"/>
            </a:xfrm>
            <a:custGeom>
              <a:avLst/>
              <a:gdLst>
                <a:gd name="connsiteX0" fmla="*/ 101114 w 101113"/>
                <a:gd name="connsiteY0" fmla="*/ 15250 h 75887"/>
                <a:gd name="connsiteX1" fmla="*/ 83505 w 101113"/>
                <a:gd name="connsiteY1" fmla="*/ 576 h 75887"/>
                <a:gd name="connsiteX2" fmla="*/ 10135 w 101113"/>
                <a:gd name="connsiteY2" fmla="*/ 24054 h 75887"/>
                <a:gd name="connsiteX3" fmla="*/ 4266 w 101113"/>
                <a:gd name="connsiteY3" fmla="*/ 50467 h 75887"/>
                <a:gd name="connsiteX4" fmla="*/ 21875 w 101113"/>
                <a:gd name="connsiteY4" fmla="*/ 73945 h 75887"/>
                <a:gd name="connsiteX5" fmla="*/ 86440 w 101113"/>
                <a:gd name="connsiteY5" fmla="*/ 53401 h 75887"/>
                <a:gd name="connsiteX6" fmla="*/ 95244 w 101113"/>
                <a:gd name="connsiteY6" fmla="*/ 38728 h 75887"/>
                <a:gd name="connsiteX7" fmla="*/ 101114 w 101113"/>
                <a:gd name="connsiteY7" fmla="*/ 15250 h 7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113" h="75887">
                  <a:moveTo>
                    <a:pt x="101114" y="15250"/>
                  </a:moveTo>
                  <a:cubicBezTo>
                    <a:pt x="101114" y="6445"/>
                    <a:pt x="92309" y="-2359"/>
                    <a:pt x="83505" y="576"/>
                  </a:cubicBezTo>
                  <a:cubicBezTo>
                    <a:pt x="60027" y="9380"/>
                    <a:pt x="33614" y="15250"/>
                    <a:pt x="10135" y="24054"/>
                  </a:cubicBezTo>
                  <a:cubicBezTo>
                    <a:pt x="-1604" y="26989"/>
                    <a:pt x="-1604" y="44597"/>
                    <a:pt x="4266" y="50467"/>
                  </a:cubicBezTo>
                  <a:cubicBezTo>
                    <a:pt x="-7473" y="59271"/>
                    <a:pt x="7201" y="82749"/>
                    <a:pt x="21875" y="73945"/>
                  </a:cubicBezTo>
                  <a:cubicBezTo>
                    <a:pt x="42418" y="62206"/>
                    <a:pt x="62962" y="56336"/>
                    <a:pt x="86440" y="53401"/>
                  </a:cubicBezTo>
                  <a:cubicBezTo>
                    <a:pt x="95244" y="53401"/>
                    <a:pt x="98179" y="44597"/>
                    <a:pt x="95244" y="38728"/>
                  </a:cubicBezTo>
                  <a:cubicBezTo>
                    <a:pt x="98179" y="29924"/>
                    <a:pt x="101114" y="24054"/>
                    <a:pt x="101114" y="15250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9" name="图形 1">
              <a:extLst>
                <a:ext uri="{FF2B5EF4-FFF2-40B4-BE49-F238E27FC236}">
                  <a16:creationId xmlns:a16="http://schemas.microsoft.com/office/drawing/2014/main" id="{5210FB00-E60E-424C-BF52-DF69E892EA0E}"/>
                </a:ext>
              </a:extLst>
            </p:cNvPr>
            <p:cNvGrpSpPr/>
            <p:nvPr/>
          </p:nvGrpSpPr>
          <p:grpSpPr>
            <a:xfrm>
              <a:off x="2980357" y="8020055"/>
              <a:ext cx="766278" cy="324358"/>
              <a:chOff x="2980357" y="8020055"/>
              <a:chExt cx="766278" cy="324358"/>
            </a:xfrm>
          </p:grpSpPr>
          <p:grpSp>
            <p:nvGrpSpPr>
              <p:cNvPr id="56" name="图形 1">
                <a:extLst>
                  <a:ext uri="{FF2B5EF4-FFF2-40B4-BE49-F238E27FC236}">
                    <a16:creationId xmlns:a16="http://schemas.microsoft.com/office/drawing/2014/main" id="{1DE09D4C-8EA4-437B-B583-9F89E2AD9042}"/>
                  </a:ext>
                </a:extLst>
              </p:cNvPr>
              <p:cNvGrpSpPr/>
              <p:nvPr/>
            </p:nvGrpSpPr>
            <p:grpSpPr>
              <a:xfrm>
                <a:off x="2980357" y="8020055"/>
                <a:ext cx="743967" cy="313395"/>
                <a:chOff x="2980357" y="8020055"/>
                <a:chExt cx="743967" cy="313395"/>
              </a:xfrm>
            </p:grpSpPr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1A2F74D8-66FB-46D5-B3A9-1E73B5515958}"/>
                    </a:ext>
                  </a:extLst>
                </p:cNvPr>
                <p:cNvSpPr/>
                <p:nvPr/>
              </p:nvSpPr>
              <p:spPr>
                <a:xfrm>
                  <a:off x="3128564" y="8020055"/>
                  <a:ext cx="595760" cy="313395"/>
                </a:xfrm>
                <a:custGeom>
                  <a:avLst/>
                  <a:gdLst>
                    <a:gd name="connsiteX0" fmla="*/ 425543 w 595760"/>
                    <a:gd name="connsiteY0" fmla="*/ 18953 h 313395"/>
                    <a:gd name="connsiteX1" fmla="*/ 2935 w 595760"/>
                    <a:gd name="connsiteY1" fmla="*/ 133409 h 313395"/>
                    <a:gd name="connsiteX2" fmla="*/ 0 w 595760"/>
                    <a:gd name="connsiteY2" fmla="*/ 142214 h 313395"/>
                    <a:gd name="connsiteX3" fmla="*/ 73370 w 595760"/>
                    <a:gd name="connsiteY3" fmla="*/ 200910 h 313395"/>
                    <a:gd name="connsiteX4" fmla="*/ 52826 w 595760"/>
                    <a:gd name="connsiteY4" fmla="*/ 283084 h 313395"/>
                    <a:gd name="connsiteX5" fmla="*/ 55761 w 595760"/>
                    <a:gd name="connsiteY5" fmla="*/ 288953 h 313395"/>
                    <a:gd name="connsiteX6" fmla="*/ 61630 w 595760"/>
                    <a:gd name="connsiteY6" fmla="*/ 291888 h 313395"/>
                    <a:gd name="connsiteX7" fmla="*/ 384457 w 595760"/>
                    <a:gd name="connsiteY7" fmla="*/ 312431 h 313395"/>
                    <a:gd name="connsiteX8" fmla="*/ 589891 w 595760"/>
                    <a:gd name="connsiteY8" fmla="*/ 271344 h 313395"/>
                    <a:gd name="connsiteX9" fmla="*/ 595761 w 595760"/>
                    <a:gd name="connsiteY9" fmla="*/ 262540 h 313395"/>
                    <a:gd name="connsiteX10" fmla="*/ 425543 w 595760"/>
                    <a:gd name="connsiteY10" fmla="*/ 18953 h 313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95760" h="313395">
                      <a:moveTo>
                        <a:pt x="425543" y="18953"/>
                      </a:moveTo>
                      <a:cubicBezTo>
                        <a:pt x="267065" y="-28004"/>
                        <a:pt x="114457" y="13084"/>
                        <a:pt x="2935" y="133409"/>
                      </a:cubicBezTo>
                      <a:cubicBezTo>
                        <a:pt x="0" y="136344"/>
                        <a:pt x="0" y="139279"/>
                        <a:pt x="0" y="142214"/>
                      </a:cubicBezTo>
                      <a:cubicBezTo>
                        <a:pt x="0" y="145149"/>
                        <a:pt x="20543" y="189171"/>
                        <a:pt x="73370" y="200910"/>
                      </a:cubicBezTo>
                      <a:cubicBezTo>
                        <a:pt x="58696" y="239062"/>
                        <a:pt x="52826" y="280149"/>
                        <a:pt x="52826" y="283084"/>
                      </a:cubicBezTo>
                      <a:cubicBezTo>
                        <a:pt x="52826" y="286018"/>
                        <a:pt x="52826" y="288953"/>
                        <a:pt x="55761" y="288953"/>
                      </a:cubicBezTo>
                      <a:cubicBezTo>
                        <a:pt x="55761" y="291888"/>
                        <a:pt x="58696" y="291888"/>
                        <a:pt x="61630" y="291888"/>
                      </a:cubicBezTo>
                      <a:cubicBezTo>
                        <a:pt x="196630" y="312431"/>
                        <a:pt x="302283" y="315366"/>
                        <a:pt x="384457" y="312431"/>
                      </a:cubicBezTo>
                      <a:cubicBezTo>
                        <a:pt x="519457" y="303627"/>
                        <a:pt x="586956" y="274279"/>
                        <a:pt x="589891" y="271344"/>
                      </a:cubicBezTo>
                      <a:cubicBezTo>
                        <a:pt x="592826" y="271344"/>
                        <a:pt x="595761" y="268410"/>
                        <a:pt x="595761" y="262540"/>
                      </a:cubicBezTo>
                      <a:cubicBezTo>
                        <a:pt x="592826" y="262540"/>
                        <a:pt x="598696" y="68844"/>
                        <a:pt x="425543" y="1895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A959DC52-DEE6-4D97-B870-3969F4C357E1}"/>
                    </a:ext>
                  </a:extLst>
                </p:cNvPr>
                <p:cNvSpPr/>
                <p:nvPr/>
              </p:nvSpPr>
              <p:spPr>
                <a:xfrm>
                  <a:off x="2980357" y="8053682"/>
                  <a:ext cx="208002" cy="197730"/>
                </a:xfrm>
                <a:custGeom>
                  <a:avLst/>
                  <a:gdLst>
                    <a:gd name="connsiteX0" fmla="*/ 206902 w 208002"/>
                    <a:gd name="connsiteY0" fmla="*/ 93913 h 197730"/>
                    <a:gd name="connsiteX1" fmla="*/ 198098 w 208002"/>
                    <a:gd name="connsiteY1" fmla="*/ 64565 h 197730"/>
                    <a:gd name="connsiteX2" fmla="*/ 186359 w 208002"/>
                    <a:gd name="connsiteY2" fmla="*/ 55761 h 197730"/>
                    <a:gd name="connsiteX3" fmla="*/ 174620 w 208002"/>
                    <a:gd name="connsiteY3" fmla="*/ 29348 h 197730"/>
                    <a:gd name="connsiteX4" fmla="*/ 154076 w 208002"/>
                    <a:gd name="connsiteY4" fmla="*/ 20543 h 197730"/>
                    <a:gd name="connsiteX5" fmla="*/ 139402 w 208002"/>
                    <a:gd name="connsiteY5" fmla="*/ 20543 h 197730"/>
                    <a:gd name="connsiteX6" fmla="*/ 95380 w 208002"/>
                    <a:gd name="connsiteY6" fmla="*/ 0 h 197730"/>
                    <a:gd name="connsiteX7" fmla="*/ 54293 w 208002"/>
                    <a:gd name="connsiteY7" fmla="*/ 29348 h 197730"/>
                    <a:gd name="connsiteX8" fmla="*/ 13207 w 208002"/>
                    <a:gd name="connsiteY8" fmla="*/ 70435 h 197730"/>
                    <a:gd name="connsiteX9" fmla="*/ 13207 w 208002"/>
                    <a:gd name="connsiteY9" fmla="*/ 123261 h 197730"/>
                    <a:gd name="connsiteX10" fmla="*/ 22011 w 208002"/>
                    <a:gd name="connsiteY10" fmla="*/ 164348 h 197730"/>
                    <a:gd name="connsiteX11" fmla="*/ 48424 w 208002"/>
                    <a:gd name="connsiteY11" fmla="*/ 176087 h 197730"/>
                    <a:gd name="connsiteX12" fmla="*/ 54293 w 208002"/>
                    <a:gd name="connsiteY12" fmla="*/ 176087 h 197730"/>
                    <a:gd name="connsiteX13" fmla="*/ 54293 w 208002"/>
                    <a:gd name="connsiteY13" fmla="*/ 176087 h 197730"/>
                    <a:gd name="connsiteX14" fmla="*/ 80707 w 208002"/>
                    <a:gd name="connsiteY14" fmla="*/ 196630 h 197730"/>
                    <a:gd name="connsiteX15" fmla="*/ 112989 w 208002"/>
                    <a:gd name="connsiteY15" fmla="*/ 187826 h 197730"/>
                    <a:gd name="connsiteX16" fmla="*/ 136467 w 208002"/>
                    <a:gd name="connsiteY16" fmla="*/ 187826 h 197730"/>
                    <a:gd name="connsiteX17" fmla="*/ 162880 w 208002"/>
                    <a:gd name="connsiteY17" fmla="*/ 167283 h 197730"/>
                    <a:gd name="connsiteX18" fmla="*/ 168750 w 208002"/>
                    <a:gd name="connsiteY18" fmla="*/ 152609 h 197730"/>
                    <a:gd name="connsiteX19" fmla="*/ 186359 w 208002"/>
                    <a:gd name="connsiteY19" fmla="*/ 137935 h 197730"/>
                    <a:gd name="connsiteX20" fmla="*/ 186359 w 208002"/>
                    <a:gd name="connsiteY20" fmla="*/ 111522 h 197730"/>
                    <a:gd name="connsiteX21" fmla="*/ 189293 w 208002"/>
                    <a:gd name="connsiteY21" fmla="*/ 108587 h 197730"/>
                    <a:gd name="connsiteX22" fmla="*/ 206902 w 208002"/>
                    <a:gd name="connsiteY22" fmla="*/ 93913 h 1977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08002" h="197730">
                      <a:moveTo>
                        <a:pt x="206902" y="93913"/>
                      </a:moveTo>
                      <a:cubicBezTo>
                        <a:pt x="209837" y="85109"/>
                        <a:pt x="206902" y="70435"/>
                        <a:pt x="198098" y="64565"/>
                      </a:cubicBezTo>
                      <a:cubicBezTo>
                        <a:pt x="195163" y="61630"/>
                        <a:pt x="189293" y="58696"/>
                        <a:pt x="186359" y="55761"/>
                      </a:cubicBezTo>
                      <a:cubicBezTo>
                        <a:pt x="186359" y="46956"/>
                        <a:pt x="183424" y="38152"/>
                        <a:pt x="174620" y="29348"/>
                      </a:cubicBezTo>
                      <a:cubicBezTo>
                        <a:pt x="168750" y="23478"/>
                        <a:pt x="162880" y="20543"/>
                        <a:pt x="154076" y="20543"/>
                      </a:cubicBezTo>
                      <a:cubicBezTo>
                        <a:pt x="151141" y="20543"/>
                        <a:pt x="145272" y="20543"/>
                        <a:pt x="139402" y="20543"/>
                      </a:cubicBezTo>
                      <a:cubicBezTo>
                        <a:pt x="130598" y="8804"/>
                        <a:pt x="115924" y="0"/>
                        <a:pt x="95380" y="0"/>
                      </a:cubicBezTo>
                      <a:cubicBezTo>
                        <a:pt x="77772" y="2935"/>
                        <a:pt x="63098" y="14674"/>
                        <a:pt x="54293" y="29348"/>
                      </a:cubicBezTo>
                      <a:cubicBezTo>
                        <a:pt x="27880" y="29348"/>
                        <a:pt x="13207" y="49891"/>
                        <a:pt x="13207" y="70435"/>
                      </a:cubicBezTo>
                      <a:cubicBezTo>
                        <a:pt x="-4402" y="85109"/>
                        <a:pt x="-4402" y="111522"/>
                        <a:pt x="13207" y="123261"/>
                      </a:cubicBezTo>
                      <a:cubicBezTo>
                        <a:pt x="10272" y="137935"/>
                        <a:pt x="13207" y="152609"/>
                        <a:pt x="22011" y="164348"/>
                      </a:cubicBezTo>
                      <a:cubicBezTo>
                        <a:pt x="27880" y="173152"/>
                        <a:pt x="36685" y="176087"/>
                        <a:pt x="48424" y="176087"/>
                      </a:cubicBezTo>
                      <a:cubicBezTo>
                        <a:pt x="51359" y="176087"/>
                        <a:pt x="51359" y="176087"/>
                        <a:pt x="54293" y="176087"/>
                      </a:cubicBezTo>
                      <a:cubicBezTo>
                        <a:pt x="54293" y="176087"/>
                        <a:pt x="54293" y="176087"/>
                        <a:pt x="54293" y="176087"/>
                      </a:cubicBezTo>
                      <a:cubicBezTo>
                        <a:pt x="60163" y="187826"/>
                        <a:pt x="68967" y="196630"/>
                        <a:pt x="80707" y="196630"/>
                      </a:cubicBezTo>
                      <a:cubicBezTo>
                        <a:pt x="92446" y="199565"/>
                        <a:pt x="104185" y="196630"/>
                        <a:pt x="112989" y="187826"/>
                      </a:cubicBezTo>
                      <a:cubicBezTo>
                        <a:pt x="121794" y="190761"/>
                        <a:pt x="127663" y="190761"/>
                        <a:pt x="136467" y="187826"/>
                      </a:cubicBezTo>
                      <a:cubicBezTo>
                        <a:pt x="148207" y="184891"/>
                        <a:pt x="157011" y="179021"/>
                        <a:pt x="162880" y="167283"/>
                      </a:cubicBezTo>
                      <a:cubicBezTo>
                        <a:pt x="165815" y="164348"/>
                        <a:pt x="168750" y="158478"/>
                        <a:pt x="168750" y="152609"/>
                      </a:cubicBezTo>
                      <a:cubicBezTo>
                        <a:pt x="174620" y="149674"/>
                        <a:pt x="183424" y="146739"/>
                        <a:pt x="186359" y="137935"/>
                      </a:cubicBezTo>
                      <a:cubicBezTo>
                        <a:pt x="192228" y="126196"/>
                        <a:pt x="189293" y="120326"/>
                        <a:pt x="186359" y="111522"/>
                      </a:cubicBezTo>
                      <a:cubicBezTo>
                        <a:pt x="186359" y="111522"/>
                        <a:pt x="189293" y="111522"/>
                        <a:pt x="189293" y="108587"/>
                      </a:cubicBezTo>
                      <a:cubicBezTo>
                        <a:pt x="201033" y="105652"/>
                        <a:pt x="203967" y="99782"/>
                        <a:pt x="206902" y="93913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D8AFF551-DC90-4E85-A3C8-DED187CD224A}"/>
                  </a:ext>
                </a:extLst>
              </p:cNvPr>
              <p:cNvSpPr/>
              <p:nvPr/>
            </p:nvSpPr>
            <p:spPr>
              <a:xfrm>
                <a:off x="3178455" y="8171807"/>
                <a:ext cx="52092" cy="113722"/>
              </a:xfrm>
              <a:custGeom>
                <a:avLst/>
                <a:gdLst>
                  <a:gd name="connsiteX0" fmla="*/ 5870 w 52092"/>
                  <a:gd name="connsiteY0" fmla="*/ 113723 h 113722"/>
                  <a:gd name="connsiteX1" fmla="*/ 5870 w 52092"/>
                  <a:gd name="connsiteY1" fmla="*/ 113723 h 113722"/>
                  <a:gd name="connsiteX2" fmla="*/ 0 w 52092"/>
                  <a:gd name="connsiteY2" fmla="*/ 107853 h 113722"/>
                  <a:gd name="connsiteX3" fmla="*/ 41087 w 52092"/>
                  <a:gd name="connsiteY3" fmla="*/ 2201 h 113722"/>
                  <a:gd name="connsiteX4" fmla="*/ 49891 w 52092"/>
                  <a:gd name="connsiteY4" fmla="*/ 2201 h 113722"/>
                  <a:gd name="connsiteX5" fmla="*/ 49891 w 52092"/>
                  <a:gd name="connsiteY5" fmla="*/ 11005 h 113722"/>
                  <a:gd name="connsiteX6" fmla="*/ 11739 w 52092"/>
                  <a:gd name="connsiteY6" fmla="*/ 113723 h 113722"/>
                  <a:gd name="connsiteX7" fmla="*/ 5870 w 52092"/>
                  <a:gd name="connsiteY7" fmla="*/ 113723 h 113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092" h="113722">
                    <a:moveTo>
                      <a:pt x="5870" y="113723"/>
                    </a:moveTo>
                    <a:cubicBezTo>
                      <a:pt x="5870" y="113723"/>
                      <a:pt x="5870" y="113723"/>
                      <a:pt x="5870" y="113723"/>
                    </a:cubicBezTo>
                    <a:cubicBezTo>
                      <a:pt x="2935" y="113723"/>
                      <a:pt x="0" y="110788"/>
                      <a:pt x="0" y="107853"/>
                    </a:cubicBezTo>
                    <a:cubicBezTo>
                      <a:pt x="0" y="104918"/>
                      <a:pt x="11739" y="43288"/>
                      <a:pt x="41087" y="2201"/>
                    </a:cubicBezTo>
                    <a:cubicBezTo>
                      <a:pt x="44022" y="-734"/>
                      <a:pt x="46957" y="-734"/>
                      <a:pt x="49891" y="2201"/>
                    </a:cubicBezTo>
                    <a:cubicBezTo>
                      <a:pt x="52826" y="5136"/>
                      <a:pt x="52826" y="8071"/>
                      <a:pt x="49891" y="11005"/>
                    </a:cubicBezTo>
                    <a:cubicBezTo>
                      <a:pt x="23478" y="49158"/>
                      <a:pt x="11739" y="113723"/>
                      <a:pt x="11739" y="113723"/>
                    </a:cubicBezTo>
                    <a:cubicBezTo>
                      <a:pt x="11739" y="113723"/>
                      <a:pt x="8804" y="113723"/>
                      <a:pt x="5870" y="11372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AB472B8A-B9A5-4554-B4EC-E5D206670AE8}"/>
                  </a:ext>
                </a:extLst>
              </p:cNvPr>
              <p:cNvSpPr/>
              <p:nvPr/>
            </p:nvSpPr>
            <p:spPr>
              <a:xfrm>
                <a:off x="3155710" y="8246481"/>
                <a:ext cx="590924" cy="97932"/>
              </a:xfrm>
              <a:custGeom>
                <a:avLst/>
                <a:gdLst>
                  <a:gd name="connsiteX0" fmla="*/ 553940 w 590924"/>
                  <a:gd name="connsiteY0" fmla="*/ 897 h 97932"/>
                  <a:gd name="connsiteX1" fmla="*/ 28614 w 590924"/>
                  <a:gd name="connsiteY1" fmla="*/ 21441 h 97932"/>
                  <a:gd name="connsiteX2" fmla="*/ 28614 w 590924"/>
                  <a:gd name="connsiteY2" fmla="*/ 83071 h 97932"/>
                  <a:gd name="connsiteX3" fmla="*/ 568614 w 590924"/>
                  <a:gd name="connsiteY3" fmla="*/ 59593 h 97932"/>
                  <a:gd name="connsiteX4" fmla="*/ 553940 w 590924"/>
                  <a:gd name="connsiteY4" fmla="*/ 897 h 97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24" h="97932">
                    <a:moveTo>
                      <a:pt x="553940" y="897"/>
                    </a:moveTo>
                    <a:cubicBezTo>
                      <a:pt x="380788" y="50789"/>
                      <a:pt x="204701" y="39049"/>
                      <a:pt x="28614" y="21441"/>
                    </a:cubicBezTo>
                    <a:cubicBezTo>
                      <a:pt x="-9538" y="18506"/>
                      <a:pt x="-9538" y="80136"/>
                      <a:pt x="28614" y="83071"/>
                    </a:cubicBezTo>
                    <a:cubicBezTo>
                      <a:pt x="210571" y="100680"/>
                      <a:pt x="392527" y="112419"/>
                      <a:pt x="568614" y="59593"/>
                    </a:cubicBezTo>
                    <a:cubicBezTo>
                      <a:pt x="606766" y="50789"/>
                      <a:pt x="592092" y="-7907"/>
                      <a:pt x="553940" y="897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0" name="图形 1">
              <a:extLst>
                <a:ext uri="{FF2B5EF4-FFF2-40B4-BE49-F238E27FC236}">
                  <a16:creationId xmlns:a16="http://schemas.microsoft.com/office/drawing/2014/main" id="{0A5F4C29-678D-4E2A-A06A-68DB946D6FF7}"/>
                </a:ext>
              </a:extLst>
            </p:cNvPr>
            <p:cNvGrpSpPr/>
            <p:nvPr/>
          </p:nvGrpSpPr>
          <p:grpSpPr>
            <a:xfrm>
              <a:off x="3774157" y="8762643"/>
              <a:ext cx="965161" cy="1010440"/>
              <a:chOff x="3774157" y="8762643"/>
              <a:chExt cx="965161" cy="1010440"/>
            </a:xfrm>
          </p:grpSpPr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C810D8CA-9442-4834-AA10-622A773216E0}"/>
                  </a:ext>
                </a:extLst>
              </p:cNvPr>
              <p:cNvSpPr/>
              <p:nvPr/>
            </p:nvSpPr>
            <p:spPr>
              <a:xfrm rot="-10800000">
                <a:off x="3774157" y="9171453"/>
                <a:ext cx="792391" cy="601630"/>
              </a:xfrm>
              <a:custGeom>
                <a:avLst/>
                <a:gdLst>
                  <a:gd name="connsiteX0" fmla="*/ 0 w 792391"/>
                  <a:gd name="connsiteY0" fmla="*/ 0 h 601630"/>
                  <a:gd name="connsiteX1" fmla="*/ 792391 w 792391"/>
                  <a:gd name="connsiteY1" fmla="*/ 0 h 601630"/>
                  <a:gd name="connsiteX2" fmla="*/ 792391 w 792391"/>
                  <a:gd name="connsiteY2" fmla="*/ 601630 h 601630"/>
                  <a:gd name="connsiteX3" fmla="*/ 0 w 792391"/>
                  <a:gd name="connsiteY3" fmla="*/ 601630 h 601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2391" h="601630">
                    <a:moveTo>
                      <a:pt x="0" y="0"/>
                    </a:moveTo>
                    <a:lnTo>
                      <a:pt x="792391" y="0"/>
                    </a:lnTo>
                    <a:lnTo>
                      <a:pt x="792391" y="601630"/>
                    </a:lnTo>
                    <a:lnTo>
                      <a:pt x="0" y="601630"/>
                    </a:lnTo>
                    <a:close/>
                  </a:path>
                </a:pathLst>
              </a:custGeom>
              <a:solidFill>
                <a:srgbClr val="C4544E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F44C4608-C4EC-4328-BB8D-EDAE32594B8E}"/>
                  </a:ext>
                </a:extLst>
              </p:cNvPr>
              <p:cNvSpPr/>
              <p:nvPr/>
            </p:nvSpPr>
            <p:spPr>
              <a:xfrm rot="-10800000">
                <a:off x="3946928" y="9171453"/>
                <a:ext cx="792391" cy="601630"/>
              </a:xfrm>
              <a:custGeom>
                <a:avLst/>
                <a:gdLst>
                  <a:gd name="connsiteX0" fmla="*/ 0 w 792391"/>
                  <a:gd name="connsiteY0" fmla="*/ 0 h 601630"/>
                  <a:gd name="connsiteX1" fmla="*/ 792391 w 792391"/>
                  <a:gd name="connsiteY1" fmla="*/ 0 h 601630"/>
                  <a:gd name="connsiteX2" fmla="*/ 792391 w 792391"/>
                  <a:gd name="connsiteY2" fmla="*/ 601630 h 601630"/>
                  <a:gd name="connsiteX3" fmla="*/ 0 w 792391"/>
                  <a:gd name="connsiteY3" fmla="*/ 601630 h 601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2391" h="601630">
                    <a:moveTo>
                      <a:pt x="0" y="0"/>
                    </a:moveTo>
                    <a:lnTo>
                      <a:pt x="792391" y="0"/>
                    </a:lnTo>
                    <a:lnTo>
                      <a:pt x="792391" y="601630"/>
                    </a:lnTo>
                    <a:lnTo>
                      <a:pt x="0" y="601630"/>
                    </a:lnTo>
                    <a:close/>
                  </a:path>
                </a:pathLst>
              </a:custGeom>
              <a:solidFill>
                <a:srgbClr val="D16156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ED21408B-EB36-479F-AA68-D46E85B8B5E1}"/>
                  </a:ext>
                </a:extLst>
              </p:cNvPr>
              <p:cNvSpPr/>
              <p:nvPr/>
            </p:nvSpPr>
            <p:spPr>
              <a:xfrm rot="-10800000">
                <a:off x="4290327" y="9171453"/>
                <a:ext cx="108586" cy="601630"/>
              </a:xfrm>
              <a:custGeom>
                <a:avLst/>
                <a:gdLst>
                  <a:gd name="connsiteX0" fmla="*/ 0 w 108586"/>
                  <a:gd name="connsiteY0" fmla="*/ 0 h 601630"/>
                  <a:gd name="connsiteX1" fmla="*/ 108587 w 108586"/>
                  <a:gd name="connsiteY1" fmla="*/ 0 h 601630"/>
                  <a:gd name="connsiteX2" fmla="*/ 108587 w 108586"/>
                  <a:gd name="connsiteY2" fmla="*/ 601630 h 601630"/>
                  <a:gd name="connsiteX3" fmla="*/ 0 w 108586"/>
                  <a:gd name="connsiteY3" fmla="*/ 601630 h 601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586" h="601630">
                    <a:moveTo>
                      <a:pt x="0" y="0"/>
                    </a:moveTo>
                    <a:lnTo>
                      <a:pt x="108587" y="0"/>
                    </a:lnTo>
                    <a:lnTo>
                      <a:pt x="108587" y="601630"/>
                    </a:lnTo>
                    <a:lnTo>
                      <a:pt x="0" y="601630"/>
                    </a:ln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9D34B687-A167-472B-865C-16A2B7934EC1}"/>
                  </a:ext>
                </a:extLst>
              </p:cNvPr>
              <p:cNvSpPr/>
              <p:nvPr/>
            </p:nvSpPr>
            <p:spPr>
              <a:xfrm>
                <a:off x="3930184" y="8762643"/>
                <a:ext cx="598363" cy="445274"/>
              </a:xfrm>
              <a:custGeom>
                <a:avLst/>
                <a:gdLst>
                  <a:gd name="connsiteX0" fmla="*/ 87619 w 598363"/>
                  <a:gd name="connsiteY0" fmla="*/ 315278 h 445274"/>
                  <a:gd name="connsiteX1" fmla="*/ 395771 w 598363"/>
                  <a:gd name="connsiteY1" fmla="*/ 432670 h 445274"/>
                  <a:gd name="connsiteX2" fmla="*/ 410445 w 598363"/>
                  <a:gd name="connsiteY2" fmla="*/ 441474 h 445274"/>
                  <a:gd name="connsiteX3" fmla="*/ 448597 w 598363"/>
                  <a:gd name="connsiteY3" fmla="*/ 417996 h 445274"/>
                  <a:gd name="connsiteX4" fmla="*/ 598271 w 598363"/>
                  <a:gd name="connsiteY4" fmla="*/ 186148 h 445274"/>
                  <a:gd name="connsiteX5" fmla="*/ 466206 w 598363"/>
                  <a:gd name="connsiteY5" fmla="*/ 1257 h 445274"/>
                  <a:gd name="connsiteX6" fmla="*/ 337076 w 598363"/>
                  <a:gd name="connsiteY6" fmla="*/ 168539 h 445274"/>
                  <a:gd name="connsiteX7" fmla="*/ 328271 w 598363"/>
                  <a:gd name="connsiteY7" fmla="*/ 241909 h 445274"/>
                  <a:gd name="connsiteX8" fmla="*/ 228489 w 598363"/>
                  <a:gd name="connsiteY8" fmla="*/ 121583 h 445274"/>
                  <a:gd name="connsiteX9" fmla="*/ 14249 w 598363"/>
                  <a:gd name="connsiteY9" fmla="*/ 115713 h 445274"/>
                  <a:gd name="connsiteX10" fmla="*/ 87619 w 598363"/>
                  <a:gd name="connsiteY10" fmla="*/ 315278 h 445274"/>
                  <a:gd name="connsiteX11" fmla="*/ 337076 w 598363"/>
                  <a:gd name="connsiteY11" fmla="*/ 347561 h 445274"/>
                  <a:gd name="connsiteX12" fmla="*/ 342945 w 598363"/>
                  <a:gd name="connsiteY12" fmla="*/ 365169 h 445274"/>
                  <a:gd name="connsiteX13" fmla="*/ 237293 w 598363"/>
                  <a:gd name="connsiteY13" fmla="*/ 309409 h 445274"/>
                  <a:gd name="connsiteX14" fmla="*/ 160989 w 598363"/>
                  <a:gd name="connsiteY14" fmla="*/ 253648 h 445274"/>
                  <a:gd name="connsiteX15" fmla="*/ 172728 w 598363"/>
                  <a:gd name="connsiteY15" fmla="*/ 168539 h 445274"/>
                  <a:gd name="connsiteX16" fmla="*/ 337076 w 598363"/>
                  <a:gd name="connsiteY16" fmla="*/ 347561 h 445274"/>
                  <a:gd name="connsiteX17" fmla="*/ 416315 w 598363"/>
                  <a:gd name="connsiteY17" fmla="*/ 350496 h 445274"/>
                  <a:gd name="connsiteX18" fmla="*/ 401641 w 598363"/>
                  <a:gd name="connsiteY18" fmla="*/ 147996 h 445274"/>
                  <a:gd name="connsiteX19" fmla="*/ 486749 w 598363"/>
                  <a:gd name="connsiteY19" fmla="*/ 118648 h 445274"/>
                  <a:gd name="connsiteX20" fmla="*/ 472076 w 598363"/>
                  <a:gd name="connsiteY20" fmla="*/ 256583 h 445274"/>
                  <a:gd name="connsiteX21" fmla="*/ 416315 w 598363"/>
                  <a:gd name="connsiteY21" fmla="*/ 350496 h 445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98363" h="445274">
                    <a:moveTo>
                      <a:pt x="87619" y="315278"/>
                    </a:moveTo>
                    <a:cubicBezTo>
                      <a:pt x="172728" y="385713"/>
                      <a:pt x="290119" y="406257"/>
                      <a:pt x="395771" y="432670"/>
                    </a:cubicBezTo>
                    <a:cubicBezTo>
                      <a:pt x="401641" y="435604"/>
                      <a:pt x="404575" y="438539"/>
                      <a:pt x="410445" y="441474"/>
                    </a:cubicBezTo>
                    <a:cubicBezTo>
                      <a:pt x="428054" y="453213"/>
                      <a:pt x="448597" y="435604"/>
                      <a:pt x="448597" y="417996"/>
                    </a:cubicBezTo>
                    <a:cubicBezTo>
                      <a:pt x="533706" y="371039"/>
                      <a:pt x="601206" y="288865"/>
                      <a:pt x="598271" y="186148"/>
                    </a:cubicBezTo>
                    <a:cubicBezTo>
                      <a:pt x="595336" y="109843"/>
                      <a:pt x="545445" y="15930"/>
                      <a:pt x="466206" y="1257"/>
                    </a:cubicBezTo>
                    <a:cubicBezTo>
                      <a:pt x="378163" y="-13417"/>
                      <a:pt x="345880" y="103974"/>
                      <a:pt x="337076" y="168539"/>
                    </a:cubicBezTo>
                    <a:cubicBezTo>
                      <a:pt x="334141" y="192017"/>
                      <a:pt x="331206" y="215496"/>
                      <a:pt x="328271" y="241909"/>
                    </a:cubicBezTo>
                    <a:cubicBezTo>
                      <a:pt x="301858" y="197887"/>
                      <a:pt x="272510" y="153865"/>
                      <a:pt x="228489" y="121583"/>
                    </a:cubicBezTo>
                    <a:cubicBezTo>
                      <a:pt x="175663" y="83431"/>
                      <a:pt x="61206" y="45278"/>
                      <a:pt x="14249" y="115713"/>
                    </a:cubicBezTo>
                    <a:cubicBezTo>
                      <a:pt x="-29772" y="183213"/>
                      <a:pt x="37728" y="274191"/>
                      <a:pt x="87619" y="315278"/>
                    </a:cubicBezTo>
                    <a:close/>
                    <a:moveTo>
                      <a:pt x="337076" y="347561"/>
                    </a:moveTo>
                    <a:cubicBezTo>
                      <a:pt x="340010" y="353430"/>
                      <a:pt x="340010" y="359300"/>
                      <a:pt x="342945" y="365169"/>
                    </a:cubicBezTo>
                    <a:cubicBezTo>
                      <a:pt x="304793" y="350496"/>
                      <a:pt x="269575" y="332887"/>
                      <a:pt x="237293" y="309409"/>
                    </a:cubicBezTo>
                    <a:cubicBezTo>
                      <a:pt x="213815" y="294735"/>
                      <a:pt x="181532" y="274191"/>
                      <a:pt x="160989" y="253648"/>
                    </a:cubicBezTo>
                    <a:cubicBezTo>
                      <a:pt x="128706" y="215496"/>
                      <a:pt x="146315" y="174409"/>
                      <a:pt x="172728" y="168539"/>
                    </a:cubicBezTo>
                    <a:cubicBezTo>
                      <a:pt x="257836" y="180278"/>
                      <a:pt x="310662" y="303539"/>
                      <a:pt x="337076" y="347561"/>
                    </a:cubicBezTo>
                    <a:close/>
                    <a:moveTo>
                      <a:pt x="416315" y="350496"/>
                    </a:moveTo>
                    <a:cubicBezTo>
                      <a:pt x="392836" y="285930"/>
                      <a:pt x="386967" y="206691"/>
                      <a:pt x="401641" y="147996"/>
                    </a:cubicBezTo>
                    <a:cubicBezTo>
                      <a:pt x="413380" y="101039"/>
                      <a:pt x="463271" y="62887"/>
                      <a:pt x="486749" y="118648"/>
                    </a:cubicBezTo>
                    <a:cubicBezTo>
                      <a:pt x="507293" y="165605"/>
                      <a:pt x="492619" y="212561"/>
                      <a:pt x="472076" y="256583"/>
                    </a:cubicBezTo>
                    <a:cubicBezTo>
                      <a:pt x="460336" y="288865"/>
                      <a:pt x="439793" y="321148"/>
                      <a:pt x="416315" y="350496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72ADC2A1-2BF5-4A90-A796-64C9F1AC6F8A}"/>
                  </a:ext>
                </a:extLst>
              </p:cNvPr>
              <p:cNvSpPr/>
              <p:nvPr/>
            </p:nvSpPr>
            <p:spPr>
              <a:xfrm>
                <a:off x="4357232" y="9158942"/>
                <a:ext cx="250461" cy="444861"/>
              </a:xfrm>
              <a:custGeom>
                <a:avLst/>
                <a:gdLst>
                  <a:gd name="connsiteX0" fmla="*/ 42092 w 250461"/>
                  <a:gd name="connsiteY0" fmla="*/ 7022 h 444861"/>
                  <a:gd name="connsiteX1" fmla="*/ 250462 w 250461"/>
                  <a:gd name="connsiteY1" fmla="*/ 420827 h 444861"/>
                  <a:gd name="connsiteX2" fmla="*/ 218179 w 250461"/>
                  <a:gd name="connsiteY2" fmla="*/ 444305 h 444861"/>
                  <a:gd name="connsiteX3" fmla="*/ 159484 w 250461"/>
                  <a:gd name="connsiteY3" fmla="*/ 432566 h 444861"/>
                  <a:gd name="connsiteX4" fmla="*/ 141875 w 250461"/>
                  <a:gd name="connsiteY4" fmla="*/ 409088 h 444861"/>
                  <a:gd name="connsiteX5" fmla="*/ 115462 w 250461"/>
                  <a:gd name="connsiteY5" fmla="*/ 203653 h 444861"/>
                  <a:gd name="connsiteX6" fmla="*/ 6875 w 250461"/>
                  <a:gd name="connsiteY6" fmla="*/ 45175 h 444861"/>
                  <a:gd name="connsiteX7" fmla="*/ 3940 w 250461"/>
                  <a:gd name="connsiteY7" fmla="*/ 33436 h 444861"/>
                  <a:gd name="connsiteX8" fmla="*/ 42092 w 250461"/>
                  <a:gd name="connsiteY8" fmla="*/ 7022 h 44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0461" h="444861">
                    <a:moveTo>
                      <a:pt x="42092" y="7022"/>
                    </a:moveTo>
                    <a:cubicBezTo>
                      <a:pt x="168288" y="109740"/>
                      <a:pt x="241658" y="256479"/>
                      <a:pt x="250462" y="420827"/>
                    </a:cubicBezTo>
                    <a:cubicBezTo>
                      <a:pt x="250462" y="438435"/>
                      <a:pt x="232853" y="447240"/>
                      <a:pt x="218179" y="444305"/>
                    </a:cubicBezTo>
                    <a:cubicBezTo>
                      <a:pt x="197636" y="441370"/>
                      <a:pt x="180027" y="438435"/>
                      <a:pt x="159484" y="432566"/>
                    </a:cubicBezTo>
                    <a:cubicBezTo>
                      <a:pt x="150679" y="429631"/>
                      <a:pt x="138940" y="417892"/>
                      <a:pt x="141875" y="409088"/>
                    </a:cubicBezTo>
                    <a:cubicBezTo>
                      <a:pt x="150679" y="335718"/>
                      <a:pt x="141875" y="268218"/>
                      <a:pt x="115462" y="203653"/>
                    </a:cubicBezTo>
                    <a:cubicBezTo>
                      <a:pt x="80244" y="144957"/>
                      <a:pt x="36223" y="92131"/>
                      <a:pt x="6875" y="45175"/>
                    </a:cubicBezTo>
                    <a:cubicBezTo>
                      <a:pt x="3940" y="42240"/>
                      <a:pt x="3940" y="39305"/>
                      <a:pt x="3940" y="33436"/>
                    </a:cubicBezTo>
                    <a:cubicBezTo>
                      <a:pt x="-10734" y="15827"/>
                      <a:pt x="18614" y="-13521"/>
                      <a:pt x="42092" y="7022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6F937957-3159-4627-9C7D-1BD6C7823B51}"/>
                  </a:ext>
                </a:extLst>
              </p:cNvPr>
              <p:cNvSpPr/>
              <p:nvPr/>
            </p:nvSpPr>
            <p:spPr>
              <a:xfrm>
                <a:off x="4181243" y="9169180"/>
                <a:ext cx="144035" cy="299458"/>
              </a:xfrm>
              <a:custGeom>
                <a:avLst/>
                <a:gdLst>
                  <a:gd name="connsiteX0" fmla="*/ 6778 w 144035"/>
                  <a:gd name="connsiteY0" fmla="*/ 219827 h 299458"/>
                  <a:gd name="connsiteX1" fmla="*/ 56669 w 144035"/>
                  <a:gd name="connsiteY1" fmla="*/ 287328 h 299458"/>
                  <a:gd name="connsiteX2" fmla="*/ 100691 w 144035"/>
                  <a:gd name="connsiteY2" fmla="*/ 287328 h 299458"/>
                  <a:gd name="connsiteX3" fmla="*/ 127104 w 144035"/>
                  <a:gd name="connsiteY3" fmla="*/ 17328 h 299458"/>
                  <a:gd name="connsiteX4" fmla="*/ 86017 w 144035"/>
                  <a:gd name="connsiteY4" fmla="*/ 5589 h 299458"/>
                  <a:gd name="connsiteX5" fmla="*/ 77212 w 144035"/>
                  <a:gd name="connsiteY5" fmla="*/ 20263 h 299458"/>
                  <a:gd name="connsiteX6" fmla="*/ 6778 w 144035"/>
                  <a:gd name="connsiteY6" fmla="*/ 181676 h 299458"/>
                  <a:gd name="connsiteX7" fmla="*/ 6778 w 144035"/>
                  <a:gd name="connsiteY7" fmla="*/ 219827 h 299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035" h="299458">
                    <a:moveTo>
                      <a:pt x="6778" y="219827"/>
                    </a:moveTo>
                    <a:cubicBezTo>
                      <a:pt x="24386" y="240371"/>
                      <a:pt x="41995" y="263849"/>
                      <a:pt x="56669" y="287328"/>
                    </a:cubicBezTo>
                    <a:cubicBezTo>
                      <a:pt x="65473" y="302002"/>
                      <a:pt x="88952" y="304937"/>
                      <a:pt x="100691" y="287328"/>
                    </a:cubicBezTo>
                    <a:cubicBezTo>
                      <a:pt x="147647" y="202219"/>
                      <a:pt x="156452" y="108306"/>
                      <a:pt x="127104" y="17328"/>
                    </a:cubicBezTo>
                    <a:cubicBezTo>
                      <a:pt x="121234" y="-3216"/>
                      <a:pt x="100691" y="-3216"/>
                      <a:pt x="86017" y="5589"/>
                    </a:cubicBezTo>
                    <a:cubicBezTo>
                      <a:pt x="80147" y="8524"/>
                      <a:pt x="77212" y="14393"/>
                      <a:pt x="77212" y="20263"/>
                    </a:cubicBezTo>
                    <a:cubicBezTo>
                      <a:pt x="68408" y="81893"/>
                      <a:pt x="56669" y="140589"/>
                      <a:pt x="6778" y="181676"/>
                    </a:cubicBezTo>
                    <a:cubicBezTo>
                      <a:pt x="-4962" y="193415"/>
                      <a:pt x="908" y="211023"/>
                      <a:pt x="6778" y="219827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542874E5-3619-4030-B3B0-3CC9C66FF282}"/>
                </a:ext>
              </a:extLst>
            </p:cNvPr>
            <p:cNvSpPr/>
            <p:nvPr/>
          </p:nvSpPr>
          <p:spPr>
            <a:xfrm>
              <a:off x="3033482" y="9005289"/>
              <a:ext cx="696712" cy="797523"/>
            </a:xfrm>
            <a:custGeom>
              <a:avLst/>
              <a:gdLst>
                <a:gd name="connsiteX0" fmla="*/ 48125 w 696712"/>
                <a:gd name="connsiteY0" fmla="*/ 60893 h 797523"/>
                <a:gd name="connsiteX1" fmla="*/ 271169 w 696712"/>
                <a:gd name="connsiteY1" fmla="*/ 160676 h 797523"/>
                <a:gd name="connsiteX2" fmla="*/ 277038 w 696712"/>
                <a:gd name="connsiteY2" fmla="*/ 571546 h 797523"/>
                <a:gd name="connsiteX3" fmla="*/ 696712 w 696712"/>
                <a:gd name="connsiteY3" fmla="*/ 677197 h 797523"/>
                <a:gd name="connsiteX4" fmla="*/ 684973 w 696712"/>
                <a:gd name="connsiteY4" fmla="*/ 797523 h 797523"/>
                <a:gd name="connsiteX5" fmla="*/ 100952 w 696712"/>
                <a:gd name="connsiteY5" fmla="*/ 686002 h 797523"/>
                <a:gd name="connsiteX6" fmla="*/ 48125 w 696712"/>
                <a:gd name="connsiteY6" fmla="*/ 60893 h 797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6712" h="797523">
                  <a:moveTo>
                    <a:pt x="48125" y="60893"/>
                  </a:moveTo>
                  <a:cubicBezTo>
                    <a:pt x="165517" y="-71172"/>
                    <a:pt x="282908" y="34480"/>
                    <a:pt x="271169" y="160676"/>
                  </a:cubicBezTo>
                  <a:cubicBezTo>
                    <a:pt x="259430" y="283936"/>
                    <a:pt x="262365" y="545132"/>
                    <a:pt x="277038" y="571546"/>
                  </a:cubicBezTo>
                  <a:cubicBezTo>
                    <a:pt x="329865" y="595024"/>
                    <a:pt x="696712" y="677197"/>
                    <a:pt x="696712" y="677197"/>
                  </a:cubicBezTo>
                  <a:cubicBezTo>
                    <a:pt x="679104" y="703611"/>
                    <a:pt x="684973" y="797523"/>
                    <a:pt x="684973" y="797523"/>
                  </a:cubicBezTo>
                  <a:cubicBezTo>
                    <a:pt x="684973" y="797523"/>
                    <a:pt x="183125" y="782849"/>
                    <a:pt x="100952" y="686002"/>
                  </a:cubicBezTo>
                  <a:cubicBezTo>
                    <a:pt x="59865" y="633175"/>
                    <a:pt x="-69266" y="192958"/>
                    <a:pt x="48125" y="60893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2B6CC873-5059-41D1-B5B5-490E95411A4D}"/>
                </a:ext>
              </a:extLst>
            </p:cNvPr>
            <p:cNvSpPr/>
            <p:nvPr/>
          </p:nvSpPr>
          <p:spPr>
            <a:xfrm>
              <a:off x="2967087" y="8862259"/>
              <a:ext cx="360691" cy="416409"/>
            </a:xfrm>
            <a:custGeom>
              <a:avLst/>
              <a:gdLst>
                <a:gd name="connsiteX0" fmla="*/ 63 w 360691"/>
                <a:gd name="connsiteY0" fmla="*/ 397619 h 416409"/>
                <a:gd name="connsiteX1" fmla="*/ 173215 w 360691"/>
                <a:gd name="connsiteY1" fmla="*/ 1423 h 416409"/>
                <a:gd name="connsiteX2" fmla="*/ 358107 w 360691"/>
                <a:gd name="connsiteY2" fmla="*/ 385880 h 416409"/>
                <a:gd name="connsiteX3" fmla="*/ 63 w 360691"/>
                <a:gd name="connsiteY3" fmla="*/ 397619 h 416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691" h="416409">
                  <a:moveTo>
                    <a:pt x="63" y="397619"/>
                  </a:moveTo>
                  <a:cubicBezTo>
                    <a:pt x="-2872" y="221532"/>
                    <a:pt x="96911" y="19032"/>
                    <a:pt x="173215" y="1423"/>
                  </a:cubicBezTo>
                  <a:cubicBezTo>
                    <a:pt x="272998" y="-19120"/>
                    <a:pt x="378650" y="186315"/>
                    <a:pt x="358107" y="385880"/>
                  </a:cubicBezTo>
                  <a:cubicBezTo>
                    <a:pt x="293542" y="421098"/>
                    <a:pt x="93976" y="426967"/>
                    <a:pt x="63" y="397619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327F7932-B6BC-49AC-8BEB-7C8563A1F7F3}"/>
                </a:ext>
              </a:extLst>
            </p:cNvPr>
            <p:cNvSpPr/>
            <p:nvPr/>
          </p:nvSpPr>
          <p:spPr>
            <a:xfrm>
              <a:off x="3149107" y="8854878"/>
              <a:ext cx="184930" cy="428478"/>
            </a:xfrm>
            <a:custGeom>
              <a:avLst/>
              <a:gdLst>
                <a:gd name="connsiteX0" fmla="*/ 35217 w 184930"/>
                <a:gd name="connsiteY0" fmla="*/ 428478 h 428478"/>
                <a:gd name="connsiteX1" fmla="*/ 29348 w 184930"/>
                <a:gd name="connsiteY1" fmla="*/ 422609 h 428478"/>
                <a:gd name="connsiteX2" fmla="*/ 35217 w 184930"/>
                <a:gd name="connsiteY2" fmla="*/ 416739 h 428478"/>
                <a:gd name="connsiteX3" fmla="*/ 173152 w 184930"/>
                <a:gd name="connsiteY3" fmla="*/ 390326 h 428478"/>
                <a:gd name="connsiteX4" fmla="*/ 120326 w 184930"/>
                <a:gd name="connsiteY4" fmla="*/ 114456 h 428478"/>
                <a:gd name="connsiteX5" fmla="*/ 114457 w 184930"/>
                <a:gd name="connsiteY5" fmla="*/ 105652 h 428478"/>
                <a:gd name="connsiteX6" fmla="*/ 5870 w 184930"/>
                <a:gd name="connsiteY6" fmla="*/ 11739 h 428478"/>
                <a:gd name="connsiteX7" fmla="*/ 0 w 184930"/>
                <a:gd name="connsiteY7" fmla="*/ 5869 h 428478"/>
                <a:gd name="connsiteX8" fmla="*/ 5870 w 184930"/>
                <a:gd name="connsiteY8" fmla="*/ 0 h 428478"/>
                <a:gd name="connsiteX9" fmla="*/ 123261 w 184930"/>
                <a:gd name="connsiteY9" fmla="*/ 96847 h 428478"/>
                <a:gd name="connsiteX10" fmla="*/ 129130 w 184930"/>
                <a:gd name="connsiteY10" fmla="*/ 105652 h 428478"/>
                <a:gd name="connsiteX11" fmla="*/ 181957 w 184930"/>
                <a:gd name="connsiteY11" fmla="*/ 393261 h 428478"/>
                <a:gd name="connsiteX12" fmla="*/ 181957 w 184930"/>
                <a:gd name="connsiteY12" fmla="*/ 396196 h 428478"/>
                <a:gd name="connsiteX13" fmla="*/ 179022 w 184930"/>
                <a:gd name="connsiteY13" fmla="*/ 396196 h 428478"/>
                <a:gd name="connsiteX14" fmla="*/ 35217 w 184930"/>
                <a:gd name="connsiteY14" fmla="*/ 428478 h 428478"/>
                <a:gd name="connsiteX15" fmla="*/ 35217 w 184930"/>
                <a:gd name="connsiteY15" fmla="*/ 428478 h 428478"/>
                <a:gd name="connsiteX16" fmla="*/ 176087 w 184930"/>
                <a:gd name="connsiteY16" fmla="*/ 393261 h 428478"/>
                <a:gd name="connsiteX17" fmla="*/ 176087 w 184930"/>
                <a:gd name="connsiteY17" fmla="*/ 393261 h 428478"/>
                <a:gd name="connsiteX18" fmla="*/ 176087 w 184930"/>
                <a:gd name="connsiteY18" fmla="*/ 393261 h 42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4930" h="428478">
                  <a:moveTo>
                    <a:pt x="35217" y="428478"/>
                  </a:moveTo>
                  <a:cubicBezTo>
                    <a:pt x="32283" y="428478"/>
                    <a:pt x="29348" y="425543"/>
                    <a:pt x="29348" y="422609"/>
                  </a:cubicBezTo>
                  <a:cubicBezTo>
                    <a:pt x="29348" y="419674"/>
                    <a:pt x="32283" y="416739"/>
                    <a:pt x="35217" y="416739"/>
                  </a:cubicBezTo>
                  <a:cubicBezTo>
                    <a:pt x="105652" y="416739"/>
                    <a:pt x="149674" y="402065"/>
                    <a:pt x="173152" y="390326"/>
                  </a:cubicBezTo>
                  <a:cubicBezTo>
                    <a:pt x="179022" y="355109"/>
                    <a:pt x="170217" y="196630"/>
                    <a:pt x="120326" y="114456"/>
                  </a:cubicBezTo>
                  <a:cubicBezTo>
                    <a:pt x="120326" y="111521"/>
                    <a:pt x="117391" y="108587"/>
                    <a:pt x="114457" y="105652"/>
                  </a:cubicBezTo>
                  <a:cubicBezTo>
                    <a:pt x="99783" y="76304"/>
                    <a:pt x="64565" y="20543"/>
                    <a:pt x="5870" y="11739"/>
                  </a:cubicBezTo>
                  <a:cubicBezTo>
                    <a:pt x="2935" y="11739"/>
                    <a:pt x="0" y="8804"/>
                    <a:pt x="0" y="5869"/>
                  </a:cubicBezTo>
                  <a:cubicBezTo>
                    <a:pt x="0" y="2935"/>
                    <a:pt x="2935" y="0"/>
                    <a:pt x="5870" y="0"/>
                  </a:cubicBezTo>
                  <a:cubicBezTo>
                    <a:pt x="70435" y="5869"/>
                    <a:pt x="105652" y="67500"/>
                    <a:pt x="123261" y="96847"/>
                  </a:cubicBezTo>
                  <a:cubicBezTo>
                    <a:pt x="126196" y="99782"/>
                    <a:pt x="126196" y="102717"/>
                    <a:pt x="129130" y="105652"/>
                  </a:cubicBezTo>
                  <a:cubicBezTo>
                    <a:pt x="181957" y="193695"/>
                    <a:pt x="190761" y="360978"/>
                    <a:pt x="181957" y="393261"/>
                  </a:cubicBezTo>
                  <a:lnTo>
                    <a:pt x="181957" y="396196"/>
                  </a:lnTo>
                  <a:lnTo>
                    <a:pt x="179022" y="396196"/>
                  </a:lnTo>
                  <a:cubicBezTo>
                    <a:pt x="155543" y="410870"/>
                    <a:pt x="108587" y="428478"/>
                    <a:pt x="35217" y="428478"/>
                  </a:cubicBezTo>
                  <a:cubicBezTo>
                    <a:pt x="35217" y="428478"/>
                    <a:pt x="35217" y="428478"/>
                    <a:pt x="35217" y="428478"/>
                  </a:cubicBezTo>
                  <a:close/>
                  <a:moveTo>
                    <a:pt x="176087" y="393261"/>
                  </a:moveTo>
                  <a:lnTo>
                    <a:pt x="176087" y="393261"/>
                  </a:lnTo>
                  <a:lnTo>
                    <a:pt x="176087" y="393261"/>
                  </a:ln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4" name="图形 1">
              <a:extLst>
                <a:ext uri="{FF2B5EF4-FFF2-40B4-BE49-F238E27FC236}">
                  <a16:creationId xmlns:a16="http://schemas.microsoft.com/office/drawing/2014/main" id="{5E713872-3445-45A3-9F9B-C99A6B78619F}"/>
                </a:ext>
              </a:extLst>
            </p:cNvPr>
            <p:cNvGrpSpPr/>
            <p:nvPr/>
          </p:nvGrpSpPr>
          <p:grpSpPr>
            <a:xfrm>
              <a:off x="3672237" y="9644334"/>
              <a:ext cx="289805" cy="175758"/>
              <a:chOff x="3672237" y="9644334"/>
              <a:chExt cx="289805" cy="175758"/>
            </a:xfrm>
          </p:grpSpPr>
          <p:grpSp>
            <p:nvGrpSpPr>
              <p:cNvPr id="45" name="图形 1">
                <a:extLst>
                  <a:ext uri="{FF2B5EF4-FFF2-40B4-BE49-F238E27FC236}">
                    <a16:creationId xmlns:a16="http://schemas.microsoft.com/office/drawing/2014/main" id="{313F7D2E-C56A-48D6-B719-4369974F73C3}"/>
                  </a:ext>
                </a:extLst>
              </p:cNvPr>
              <p:cNvGrpSpPr/>
              <p:nvPr/>
            </p:nvGrpSpPr>
            <p:grpSpPr>
              <a:xfrm>
                <a:off x="3672237" y="9649735"/>
                <a:ext cx="289805" cy="170358"/>
                <a:chOff x="3672237" y="9649735"/>
                <a:chExt cx="289805" cy="170358"/>
              </a:xfrm>
            </p:grpSpPr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8301B068-850B-4218-B5DA-D1EE44FFEEC8}"/>
                    </a:ext>
                  </a:extLst>
                </p:cNvPr>
                <p:cNvSpPr/>
                <p:nvPr/>
              </p:nvSpPr>
              <p:spPr>
                <a:xfrm>
                  <a:off x="3672237" y="9649735"/>
                  <a:ext cx="278066" cy="170358"/>
                </a:xfrm>
                <a:custGeom>
                  <a:avLst/>
                  <a:gdLst>
                    <a:gd name="connsiteX0" fmla="*/ 11001 w 278066"/>
                    <a:gd name="connsiteY0" fmla="*/ 132535 h 170358"/>
                    <a:gd name="connsiteX1" fmla="*/ 13936 w 278066"/>
                    <a:gd name="connsiteY1" fmla="*/ 141339 h 170358"/>
                    <a:gd name="connsiteX2" fmla="*/ 154805 w 278066"/>
                    <a:gd name="connsiteY2" fmla="*/ 167752 h 170358"/>
                    <a:gd name="connsiteX3" fmla="*/ 263392 w 278066"/>
                    <a:gd name="connsiteY3" fmla="*/ 111991 h 170358"/>
                    <a:gd name="connsiteX4" fmla="*/ 254588 w 278066"/>
                    <a:gd name="connsiteY4" fmla="*/ 100252 h 170358"/>
                    <a:gd name="connsiteX5" fmla="*/ 219371 w 278066"/>
                    <a:gd name="connsiteY5" fmla="*/ 109056 h 170358"/>
                    <a:gd name="connsiteX6" fmla="*/ 257523 w 278066"/>
                    <a:gd name="connsiteY6" fmla="*/ 88513 h 170358"/>
                    <a:gd name="connsiteX7" fmla="*/ 278066 w 278066"/>
                    <a:gd name="connsiteY7" fmla="*/ 65034 h 170358"/>
                    <a:gd name="connsiteX8" fmla="*/ 266327 w 278066"/>
                    <a:gd name="connsiteY8" fmla="*/ 56230 h 170358"/>
                    <a:gd name="connsiteX9" fmla="*/ 269262 w 278066"/>
                    <a:gd name="connsiteY9" fmla="*/ 53295 h 170358"/>
                    <a:gd name="connsiteX10" fmla="*/ 254588 w 278066"/>
                    <a:gd name="connsiteY10" fmla="*/ 41556 h 170358"/>
                    <a:gd name="connsiteX11" fmla="*/ 113718 w 278066"/>
                    <a:gd name="connsiteY11" fmla="*/ 70904 h 170358"/>
                    <a:gd name="connsiteX12" fmla="*/ 140132 w 278066"/>
                    <a:gd name="connsiteY12" fmla="*/ 35687 h 170358"/>
                    <a:gd name="connsiteX13" fmla="*/ 184153 w 278066"/>
                    <a:gd name="connsiteY13" fmla="*/ 21013 h 170358"/>
                    <a:gd name="connsiteX14" fmla="*/ 157740 w 278066"/>
                    <a:gd name="connsiteY14" fmla="*/ 470 h 170358"/>
                    <a:gd name="connsiteX15" fmla="*/ 104914 w 278066"/>
                    <a:gd name="connsiteY15" fmla="*/ 6339 h 170358"/>
                    <a:gd name="connsiteX16" fmla="*/ 37414 w 278066"/>
                    <a:gd name="connsiteY16" fmla="*/ 32752 h 170358"/>
                    <a:gd name="connsiteX17" fmla="*/ 11001 w 278066"/>
                    <a:gd name="connsiteY17" fmla="*/ 132535 h 1703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8066" h="170358">
                      <a:moveTo>
                        <a:pt x="11001" y="132535"/>
                      </a:moveTo>
                      <a:cubicBezTo>
                        <a:pt x="11001" y="135469"/>
                        <a:pt x="11001" y="141339"/>
                        <a:pt x="13936" y="141339"/>
                      </a:cubicBezTo>
                      <a:cubicBezTo>
                        <a:pt x="49153" y="161883"/>
                        <a:pt x="110784" y="176557"/>
                        <a:pt x="154805" y="167752"/>
                      </a:cubicBezTo>
                      <a:cubicBezTo>
                        <a:pt x="184153" y="161883"/>
                        <a:pt x="263392" y="126665"/>
                        <a:pt x="263392" y="111991"/>
                      </a:cubicBezTo>
                      <a:cubicBezTo>
                        <a:pt x="263392" y="109056"/>
                        <a:pt x="257523" y="103187"/>
                        <a:pt x="254588" y="100252"/>
                      </a:cubicBezTo>
                      <a:cubicBezTo>
                        <a:pt x="248718" y="97317"/>
                        <a:pt x="225240" y="109056"/>
                        <a:pt x="219371" y="109056"/>
                      </a:cubicBezTo>
                      <a:cubicBezTo>
                        <a:pt x="231110" y="100252"/>
                        <a:pt x="245784" y="97317"/>
                        <a:pt x="257523" y="88513"/>
                      </a:cubicBezTo>
                      <a:cubicBezTo>
                        <a:pt x="266327" y="79708"/>
                        <a:pt x="278066" y="73839"/>
                        <a:pt x="278066" y="65034"/>
                      </a:cubicBezTo>
                      <a:cubicBezTo>
                        <a:pt x="278066" y="53295"/>
                        <a:pt x="272197" y="56230"/>
                        <a:pt x="266327" y="56230"/>
                      </a:cubicBezTo>
                      <a:cubicBezTo>
                        <a:pt x="266327" y="56230"/>
                        <a:pt x="269262" y="53295"/>
                        <a:pt x="269262" y="53295"/>
                      </a:cubicBezTo>
                      <a:cubicBezTo>
                        <a:pt x="272197" y="50360"/>
                        <a:pt x="254588" y="47425"/>
                        <a:pt x="254588" y="41556"/>
                      </a:cubicBezTo>
                      <a:cubicBezTo>
                        <a:pt x="242849" y="21013"/>
                        <a:pt x="137197" y="97317"/>
                        <a:pt x="113718" y="70904"/>
                      </a:cubicBezTo>
                      <a:cubicBezTo>
                        <a:pt x="116653" y="65034"/>
                        <a:pt x="128392" y="44491"/>
                        <a:pt x="140132" y="35687"/>
                      </a:cubicBezTo>
                      <a:cubicBezTo>
                        <a:pt x="175349" y="35687"/>
                        <a:pt x="184153" y="23948"/>
                        <a:pt x="184153" y="21013"/>
                      </a:cubicBezTo>
                      <a:cubicBezTo>
                        <a:pt x="184153" y="15144"/>
                        <a:pt x="160675" y="470"/>
                        <a:pt x="157740" y="470"/>
                      </a:cubicBezTo>
                      <a:cubicBezTo>
                        <a:pt x="125458" y="470"/>
                        <a:pt x="131327" y="-2465"/>
                        <a:pt x="104914" y="6339"/>
                      </a:cubicBezTo>
                      <a:cubicBezTo>
                        <a:pt x="81436" y="15144"/>
                        <a:pt x="60892" y="23948"/>
                        <a:pt x="37414" y="32752"/>
                      </a:cubicBezTo>
                      <a:cubicBezTo>
                        <a:pt x="-6608" y="50360"/>
                        <a:pt x="-6608" y="97317"/>
                        <a:pt x="11001" y="132535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AFCDDA54-11BC-419C-8190-91B31225144B}"/>
                    </a:ext>
                  </a:extLst>
                </p:cNvPr>
                <p:cNvSpPr/>
                <p:nvPr/>
              </p:nvSpPr>
              <p:spPr>
                <a:xfrm>
                  <a:off x="3832911" y="9695349"/>
                  <a:ext cx="129130" cy="92789"/>
                </a:xfrm>
                <a:custGeom>
                  <a:avLst/>
                  <a:gdLst>
                    <a:gd name="connsiteX0" fmla="*/ 26413 w 129130"/>
                    <a:gd name="connsiteY0" fmla="*/ 92789 h 92789"/>
                    <a:gd name="connsiteX1" fmla="*/ 20544 w 129130"/>
                    <a:gd name="connsiteY1" fmla="*/ 89854 h 92789"/>
                    <a:gd name="connsiteX2" fmla="*/ 23478 w 129130"/>
                    <a:gd name="connsiteY2" fmla="*/ 81050 h 92789"/>
                    <a:gd name="connsiteX3" fmla="*/ 90978 w 129130"/>
                    <a:gd name="connsiteY3" fmla="*/ 42898 h 92789"/>
                    <a:gd name="connsiteX4" fmla="*/ 111522 w 129130"/>
                    <a:gd name="connsiteY4" fmla="*/ 19420 h 92789"/>
                    <a:gd name="connsiteX5" fmla="*/ 108587 w 129130"/>
                    <a:gd name="connsiteY5" fmla="*/ 13551 h 92789"/>
                    <a:gd name="connsiteX6" fmla="*/ 82174 w 129130"/>
                    <a:gd name="connsiteY6" fmla="*/ 31158 h 92789"/>
                    <a:gd name="connsiteX7" fmla="*/ 5870 w 129130"/>
                    <a:gd name="connsiteY7" fmla="*/ 75180 h 92789"/>
                    <a:gd name="connsiteX8" fmla="*/ 0 w 129130"/>
                    <a:gd name="connsiteY8" fmla="*/ 69311 h 92789"/>
                    <a:gd name="connsiteX9" fmla="*/ 5870 w 129130"/>
                    <a:gd name="connsiteY9" fmla="*/ 63441 h 92789"/>
                    <a:gd name="connsiteX10" fmla="*/ 79239 w 129130"/>
                    <a:gd name="connsiteY10" fmla="*/ 22354 h 92789"/>
                    <a:gd name="connsiteX11" fmla="*/ 120326 w 129130"/>
                    <a:gd name="connsiteY11" fmla="*/ 1811 h 92789"/>
                    <a:gd name="connsiteX12" fmla="*/ 129130 w 129130"/>
                    <a:gd name="connsiteY12" fmla="*/ 16485 h 92789"/>
                    <a:gd name="connsiteX13" fmla="*/ 105652 w 129130"/>
                    <a:gd name="connsiteY13" fmla="*/ 48767 h 92789"/>
                    <a:gd name="connsiteX14" fmla="*/ 26413 w 129130"/>
                    <a:gd name="connsiteY14" fmla="*/ 92789 h 92789"/>
                    <a:gd name="connsiteX15" fmla="*/ 26413 w 129130"/>
                    <a:gd name="connsiteY15" fmla="*/ 92789 h 92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29130" h="92789">
                      <a:moveTo>
                        <a:pt x="26413" y="92789"/>
                      </a:moveTo>
                      <a:cubicBezTo>
                        <a:pt x="23478" y="92789"/>
                        <a:pt x="23478" y="92789"/>
                        <a:pt x="20544" y="89854"/>
                      </a:cubicBezTo>
                      <a:cubicBezTo>
                        <a:pt x="20544" y="86920"/>
                        <a:pt x="20544" y="83985"/>
                        <a:pt x="23478" y="81050"/>
                      </a:cubicBezTo>
                      <a:cubicBezTo>
                        <a:pt x="23478" y="81050"/>
                        <a:pt x="73370" y="54637"/>
                        <a:pt x="90978" y="42898"/>
                      </a:cubicBezTo>
                      <a:cubicBezTo>
                        <a:pt x="96848" y="37028"/>
                        <a:pt x="111522" y="28224"/>
                        <a:pt x="111522" y="19420"/>
                      </a:cubicBezTo>
                      <a:cubicBezTo>
                        <a:pt x="111522" y="19420"/>
                        <a:pt x="111522" y="16485"/>
                        <a:pt x="108587" y="13551"/>
                      </a:cubicBezTo>
                      <a:cubicBezTo>
                        <a:pt x="102717" y="16485"/>
                        <a:pt x="90978" y="25289"/>
                        <a:pt x="82174" y="31158"/>
                      </a:cubicBezTo>
                      <a:cubicBezTo>
                        <a:pt x="58696" y="48767"/>
                        <a:pt x="26413" y="72246"/>
                        <a:pt x="5870" y="75180"/>
                      </a:cubicBezTo>
                      <a:cubicBezTo>
                        <a:pt x="2935" y="75180"/>
                        <a:pt x="0" y="72246"/>
                        <a:pt x="0" y="69311"/>
                      </a:cubicBezTo>
                      <a:cubicBezTo>
                        <a:pt x="0" y="66376"/>
                        <a:pt x="2935" y="63441"/>
                        <a:pt x="5870" y="63441"/>
                      </a:cubicBezTo>
                      <a:cubicBezTo>
                        <a:pt x="26413" y="60506"/>
                        <a:pt x="55761" y="37028"/>
                        <a:pt x="79239" y="22354"/>
                      </a:cubicBezTo>
                      <a:cubicBezTo>
                        <a:pt x="102717" y="4746"/>
                        <a:pt x="111522" y="-4058"/>
                        <a:pt x="120326" y="1811"/>
                      </a:cubicBezTo>
                      <a:cubicBezTo>
                        <a:pt x="126196" y="7681"/>
                        <a:pt x="129130" y="10616"/>
                        <a:pt x="129130" y="16485"/>
                      </a:cubicBezTo>
                      <a:cubicBezTo>
                        <a:pt x="129130" y="25289"/>
                        <a:pt x="120326" y="37028"/>
                        <a:pt x="105652" y="48767"/>
                      </a:cubicBezTo>
                      <a:cubicBezTo>
                        <a:pt x="79239" y="66376"/>
                        <a:pt x="29348" y="89854"/>
                        <a:pt x="26413" y="92789"/>
                      </a:cubicBezTo>
                      <a:cubicBezTo>
                        <a:pt x="26413" y="92789"/>
                        <a:pt x="26413" y="92789"/>
                        <a:pt x="26413" y="92789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9" name="任意多边形: 形状 48">
                  <a:extLst>
                    <a:ext uri="{FF2B5EF4-FFF2-40B4-BE49-F238E27FC236}">
                      <a16:creationId xmlns:a16="http://schemas.microsoft.com/office/drawing/2014/main" id="{840D8AD1-1A8A-4280-942C-74647F2F661B}"/>
                    </a:ext>
                  </a:extLst>
                </p:cNvPr>
                <p:cNvSpPr/>
                <p:nvPr/>
              </p:nvSpPr>
              <p:spPr>
                <a:xfrm>
                  <a:off x="3781805" y="9682486"/>
                  <a:ext cx="159693" cy="49891"/>
                </a:xfrm>
                <a:custGeom>
                  <a:avLst/>
                  <a:gdLst>
                    <a:gd name="connsiteX0" fmla="*/ 33498 w 159693"/>
                    <a:gd name="connsiteY0" fmla="*/ 49892 h 49891"/>
                    <a:gd name="connsiteX1" fmla="*/ 4150 w 159693"/>
                    <a:gd name="connsiteY1" fmla="*/ 44022 h 49891"/>
                    <a:gd name="connsiteX2" fmla="*/ 1216 w 159693"/>
                    <a:gd name="connsiteY2" fmla="*/ 35218 h 49891"/>
                    <a:gd name="connsiteX3" fmla="*/ 10020 w 159693"/>
                    <a:gd name="connsiteY3" fmla="*/ 32283 h 49891"/>
                    <a:gd name="connsiteX4" fmla="*/ 39368 w 159693"/>
                    <a:gd name="connsiteY4" fmla="*/ 38153 h 49891"/>
                    <a:gd name="connsiteX5" fmla="*/ 98063 w 159693"/>
                    <a:gd name="connsiteY5" fmla="*/ 14674 h 49891"/>
                    <a:gd name="connsiteX6" fmla="*/ 136216 w 159693"/>
                    <a:gd name="connsiteY6" fmla="*/ 0 h 49891"/>
                    <a:gd name="connsiteX7" fmla="*/ 156759 w 159693"/>
                    <a:gd name="connsiteY7" fmla="*/ 8805 h 49891"/>
                    <a:gd name="connsiteX8" fmla="*/ 159694 w 159693"/>
                    <a:gd name="connsiteY8" fmla="*/ 23479 h 49891"/>
                    <a:gd name="connsiteX9" fmla="*/ 153824 w 159693"/>
                    <a:gd name="connsiteY9" fmla="*/ 26414 h 49891"/>
                    <a:gd name="connsiteX10" fmla="*/ 150890 w 159693"/>
                    <a:gd name="connsiteY10" fmla="*/ 20544 h 49891"/>
                    <a:gd name="connsiteX11" fmla="*/ 150890 w 159693"/>
                    <a:gd name="connsiteY11" fmla="*/ 14674 h 49891"/>
                    <a:gd name="connsiteX12" fmla="*/ 139150 w 159693"/>
                    <a:gd name="connsiteY12" fmla="*/ 8805 h 49891"/>
                    <a:gd name="connsiteX13" fmla="*/ 106868 w 159693"/>
                    <a:gd name="connsiteY13" fmla="*/ 20544 h 49891"/>
                    <a:gd name="connsiteX14" fmla="*/ 42303 w 159693"/>
                    <a:gd name="connsiteY14" fmla="*/ 46957 h 49891"/>
                    <a:gd name="connsiteX15" fmla="*/ 33498 w 159693"/>
                    <a:gd name="connsiteY15" fmla="*/ 49892 h 49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59693" h="49891">
                      <a:moveTo>
                        <a:pt x="33498" y="49892"/>
                      </a:moveTo>
                      <a:cubicBezTo>
                        <a:pt x="21759" y="49892"/>
                        <a:pt x="4150" y="44022"/>
                        <a:pt x="4150" y="44022"/>
                      </a:cubicBezTo>
                      <a:cubicBezTo>
                        <a:pt x="1216" y="44022"/>
                        <a:pt x="-1719" y="38153"/>
                        <a:pt x="1216" y="35218"/>
                      </a:cubicBezTo>
                      <a:cubicBezTo>
                        <a:pt x="1216" y="32283"/>
                        <a:pt x="4150" y="29348"/>
                        <a:pt x="10020" y="32283"/>
                      </a:cubicBezTo>
                      <a:cubicBezTo>
                        <a:pt x="15890" y="35218"/>
                        <a:pt x="30563" y="38153"/>
                        <a:pt x="39368" y="38153"/>
                      </a:cubicBezTo>
                      <a:cubicBezTo>
                        <a:pt x="62846" y="35218"/>
                        <a:pt x="80455" y="23479"/>
                        <a:pt x="98063" y="14674"/>
                      </a:cubicBezTo>
                      <a:cubicBezTo>
                        <a:pt x="112737" y="5870"/>
                        <a:pt x="124476" y="0"/>
                        <a:pt x="136216" y="0"/>
                      </a:cubicBezTo>
                      <a:cubicBezTo>
                        <a:pt x="145020" y="0"/>
                        <a:pt x="150890" y="5870"/>
                        <a:pt x="156759" y="8805"/>
                      </a:cubicBezTo>
                      <a:cubicBezTo>
                        <a:pt x="159694" y="14674"/>
                        <a:pt x="159694" y="23479"/>
                        <a:pt x="159694" y="23479"/>
                      </a:cubicBezTo>
                      <a:cubicBezTo>
                        <a:pt x="159694" y="26414"/>
                        <a:pt x="156759" y="29348"/>
                        <a:pt x="153824" y="26414"/>
                      </a:cubicBezTo>
                      <a:cubicBezTo>
                        <a:pt x="150890" y="26414"/>
                        <a:pt x="147955" y="23479"/>
                        <a:pt x="150890" y="20544"/>
                      </a:cubicBezTo>
                      <a:cubicBezTo>
                        <a:pt x="150890" y="20544"/>
                        <a:pt x="150890" y="17609"/>
                        <a:pt x="150890" y="14674"/>
                      </a:cubicBezTo>
                      <a:cubicBezTo>
                        <a:pt x="147955" y="11740"/>
                        <a:pt x="145020" y="11740"/>
                        <a:pt x="139150" y="8805"/>
                      </a:cubicBezTo>
                      <a:cubicBezTo>
                        <a:pt x="130346" y="8805"/>
                        <a:pt x="121542" y="14674"/>
                        <a:pt x="106868" y="20544"/>
                      </a:cubicBezTo>
                      <a:cubicBezTo>
                        <a:pt x="89259" y="29348"/>
                        <a:pt x="68716" y="44022"/>
                        <a:pt x="42303" y="46957"/>
                      </a:cubicBezTo>
                      <a:cubicBezTo>
                        <a:pt x="36433" y="49892"/>
                        <a:pt x="36433" y="49892"/>
                        <a:pt x="33498" y="49892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0D99407C-85F4-4624-A290-A951591EE18E}"/>
                  </a:ext>
                </a:extLst>
              </p:cNvPr>
              <p:cNvSpPr/>
              <p:nvPr/>
            </p:nvSpPr>
            <p:spPr>
              <a:xfrm>
                <a:off x="3718455" y="9644334"/>
                <a:ext cx="153824" cy="82173"/>
              </a:xfrm>
              <a:custGeom>
                <a:avLst/>
                <a:gdLst>
                  <a:gd name="connsiteX0" fmla="*/ 67500 w 153824"/>
                  <a:gd name="connsiteY0" fmla="*/ 82174 h 82173"/>
                  <a:gd name="connsiteX1" fmla="*/ 64565 w 153824"/>
                  <a:gd name="connsiteY1" fmla="*/ 82174 h 82173"/>
                  <a:gd name="connsiteX2" fmla="*/ 64565 w 153824"/>
                  <a:gd name="connsiteY2" fmla="*/ 73370 h 82173"/>
                  <a:gd name="connsiteX3" fmla="*/ 73370 w 153824"/>
                  <a:gd name="connsiteY3" fmla="*/ 61631 h 82173"/>
                  <a:gd name="connsiteX4" fmla="*/ 96848 w 153824"/>
                  <a:gd name="connsiteY4" fmla="*/ 38152 h 82173"/>
                  <a:gd name="connsiteX5" fmla="*/ 117391 w 153824"/>
                  <a:gd name="connsiteY5" fmla="*/ 35218 h 82173"/>
                  <a:gd name="connsiteX6" fmla="*/ 137935 w 153824"/>
                  <a:gd name="connsiteY6" fmla="*/ 32283 h 82173"/>
                  <a:gd name="connsiteX7" fmla="*/ 137935 w 153824"/>
                  <a:gd name="connsiteY7" fmla="*/ 26413 h 82173"/>
                  <a:gd name="connsiteX8" fmla="*/ 93913 w 153824"/>
                  <a:gd name="connsiteY8" fmla="*/ 11739 h 82173"/>
                  <a:gd name="connsiteX9" fmla="*/ 93913 w 153824"/>
                  <a:gd name="connsiteY9" fmla="*/ 11739 h 82173"/>
                  <a:gd name="connsiteX10" fmla="*/ 8804 w 153824"/>
                  <a:gd name="connsiteY10" fmla="*/ 46957 h 82173"/>
                  <a:gd name="connsiteX11" fmla="*/ 0 w 153824"/>
                  <a:gd name="connsiteY11" fmla="*/ 44022 h 82173"/>
                  <a:gd name="connsiteX12" fmla="*/ 2935 w 153824"/>
                  <a:gd name="connsiteY12" fmla="*/ 35218 h 82173"/>
                  <a:gd name="connsiteX13" fmla="*/ 93913 w 153824"/>
                  <a:gd name="connsiteY13" fmla="*/ 0 h 82173"/>
                  <a:gd name="connsiteX14" fmla="*/ 93913 w 153824"/>
                  <a:gd name="connsiteY14" fmla="*/ 0 h 82173"/>
                  <a:gd name="connsiteX15" fmla="*/ 149674 w 153824"/>
                  <a:gd name="connsiteY15" fmla="*/ 17609 h 82173"/>
                  <a:gd name="connsiteX16" fmla="*/ 152609 w 153824"/>
                  <a:gd name="connsiteY16" fmla="*/ 35218 h 82173"/>
                  <a:gd name="connsiteX17" fmla="*/ 123261 w 153824"/>
                  <a:gd name="connsiteY17" fmla="*/ 46957 h 82173"/>
                  <a:gd name="connsiteX18" fmla="*/ 105652 w 153824"/>
                  <a:gd name="connsiteY18" fmla="*/ 49892 h 82173"/>
                  <a:gd name="connsiteX19" fmla="*/ 90978 w 153824"/>
                  <a:gd name="connsiteY19" fmla="*/ 67500 h 82173"/>
                  <a:gd name="connsiteX20" fmla="*/ 82174 w 153824"/>
                  <a:gd name="connsiteY20" fmla="*/ 82174 h 82173"/>
                  <a:gd name="connsiteX21" fmla="*/ 67500 w 153824"/>
                  <a:gd name="connsiteY21" fmla="*/ 82174 h 82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53824" h="82173">
                    <a:moveTo>
                      <a:pt x="67500" y="82174"/>
                    </a:moveTo>
                    <a:cubicBezTo>
                      <a:pt x="67500" y="82174"/>
                      <a:pt x="64565" y="82174"/>
                      <a:pt x="64565" y="82174"/>
                    </a:cubicBezTo>
                    <a:cubicBezTo>
                      <a:pt x="61630" y="79239"/>
                      <a:pt x="61630" y="76305"/>
                      <a:pt x="64565" y="73370"/>
                    </a:cubicBezTo>
                    <a:cubicBezTo>
                      <a:pt x="67500" y="70435"/>
                      <a:pt x="70435" y="64566"/>
                      <a:pt x="73370" y="61631"/>
                    </a:cubicBezTo>
                    <a:cubicBezTo>
                      <a:pt x="79239" y="52826"/>
                      <a:pt x="85109" y="41087"/>
                      <a:pt x="96848" y="38152"/>
                    </a:cubicBezTo>
                    <a:cubicBezTo>
                      <a:pt x="102717" y="35218"/>
                      <a:pt x="108587" y="35218"/>
                      <a:pt x="117391" y="35218"/>
                    </a:cubicBezTo>
                    <a:cubicBezTo>
                      <a:pt x="123261" y="35218"/>
                      <a:pt x="137935" y="35218"/>
                      <a:pt x="137935" y="32283"/>
                    </a:cubicBezTo>
                    <a:cubicBezTo>
                      <a:pt x="137935" y="29348"/>
                      <a:pt x="137935" y="29348"/>
                      <a:pt x="137935" y="26413"/>
                    </a:cubicBezTo>
                    <a:cubicBezTo>
                      <a:pt x="132065" y="17609"/>
                      <a:pt x="108587" y="11739"/>
                      <a:pt x="93913" y="11739"/>
                    </a:cubicBezTo>
                    <a:cubicBezTo>
                      <a:pt x="93913" y="11739"/>
                      <a:pt x="93913" y="11739"/>
                      <a:pt x="93913" y="11739"/>
                    </a:cubicBezTo>
                    <a:cubicBezTo>
                      <a:pt x="79239" y="11739"/>
                      <a:pt x="26413" y="35218"/>
                      <a:pt x="8804" y="46957"/>
                    </a:cubicBezTo>
                    <a:cubicBezTo>
                      <a:pt x="5870" y="46957"/>
                      <a:pt x="2935" y="46957"/>
                      <a:pt x="0" y="44022"/>
                    </a:cubicBezTo>
                    <a:cubicBezTo>
                      <a:pt x="0" y="41087"/>
                      <a:pt x="0" y="38152"/>
                      <a:pt x="2935" y="35218"/>
                    </a:cubicBezTo>
                    <a:cubicBezTo>
                      <a:pt x="8804" y="32283"/>
                      <a:pt x="70435" y="0"/>
                      <a:pt x="93913" y="0"/>
                    </a:cubicBezTo>
                    <a:cubicBezTo>
                      <a:pt x="93913" y="0"/>
                      <a:pt x="93913" y="0"/>
                      <a:pt x="93913" y="0"/>
                    </a:cubicBezTo>
                    <a:cubicBezTo>
                      <a:pt x="108587" y="0"/>
                      <a:pt x="137935" y="5870"/>
                      <a:pt x="149674" y="17609"/>
                    </a:cubicBezTo>
                    <a:cubicBezTo>
                      <a:pt x="152609" y="23478"/>
                      <a:pt x="155543" y="29348"/>
                      <a:pt x="152609" y="35218"/>
                    </a:cubicBezTo>
                    <a:cubicBezTo>
                      <a:pt x="149674" y="44022"/>
                      <a:pt x="135000" y="46957"/>
                      <a:pt x="123261" y="46957"/>
                    </a:cubicBezTo>
                    <a:cubicBezTo>
                      <a:pt x="117391" y="46957"/>
                      <a:pt x="111522" y="46957"/>
                      <a:pt x="105652" y="49892"/>
                    </a:cubicBezTo>
                    <a:cubicBezTo>
                      <a:pt x="99783" y="52826"/>
                      <a:pt x="93913" y="61631"/>
                      <a:pt x="90978" y="67500"/>
                    </a:cubicBezTo>
                    <a:cubicBezTo>
                      <a:pt x="88043" y="73370"/>
                      <a:pt x="85109" y="79239"/>
                      <a:pt x="82174" y="82174"/>
                    </a:cubicBezTo>
                    <a:cubicBezTo>
                      <a:pt x="70435" y="82174"/>
                      <a:pt x="70435" y="82174"/>
                      <a:pt x="67500" y="82174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65" name="图形 1">
            <a:extLst>
              <a:ext uri="{FF2B5EF4-FFF2-40B4-BE49-F238E27FC236}">
                <a16:creationId xmlns:a16="http://schemas.microsoft.com/office/drawing/2014/main" id="{CF0B1E1A-3887-40DF-A989-A2D65438E03A}"/>
              </a:ext>
            </a:extLst>
          </p:cNvPr>
          <p:cNvGrpSpPr/>
          <p:nvPr/>
        </p:nvGrpSpPr>
        <p:grpSpPr>
          <a:xfrm>
            <a:off x="5872983" y="2127815"/>
            <a:ext cx="2438044" cy="4714659"/>
            <a:chOff x="5091933" y="7751077"/>
            <a:chExt cx="2438044" cy="4714659"/>
          </a:xfrm>
        </p:grpSpPr>
        <p:grpSp>
          <p:nvGrpSpPr>
            <p:cNvPr id="66" name="图形 1">
              <a:extLst>
                <a:ext uri="{FF2B5EF4-FFF2-40B4-BE49-F238E27FC236}">
                  <a16:creationId xmlns:a16="http://schemas.microsoft.com/office/drawing/2014/main" id="{1E1896AE-8B09-42CD-A6BE-2A6622BBE072}"/>
                </a:ext>
              </a:extLst>
            </p:cNvPr>
            <p:cNvGrpSpPr/>
            <p:nvPr/>
          </p:nvGrpSpPr>
          <p:grpSpPr>
            <a:xfrm>
              <a:off x="7113961" y="11930530"/>
              <a:ext cx="416016" cy="535205"/>
              <a:chOff x="7113961" y="11930530"/>
              <a:chExt cx="416016" cy="535205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1E126787-9FE3-42E7-8E84-B3AB08EE9435}"/>
                  </a:ext>
                </a:extLst>
              </p:cNvPr>
              <p:cNvSpPr/>
              <p:nvPr/>
            </p:nvSpPr>
            <p:spPr>
              <a:xfrm>
                <a:off x="7187368" y="11930530"/>
                <a:ext cx="255326" cy="246521"/>
              </a:xfrm>
              <a:custGeom>
                <a:avLst/>
                <a:gdLst>
                  <a:gd name="connsiteX0" fmla="*/ 243587 w 255326"/>
                  <a:gd name="connsiteY0" fmla="*/ 149674 h 246521"/>
                  <a:gd name="connsiteX1" fmla="*/ 143805 w 255326"/>
                  <a:gd name="connsiteY1" fmla="*/ 0 h 246521"/>
                  <a:gd name="connsiteX2" fmla="*/ 0 w 255326"/>
                  <a:gd name="connsiteY2" fmla="*/ 102717 h 246521"/>
                  <a:gd name="connsiteX3" fmla="*/ 120326 w 255326"/>
                  <a:gd name="connsiteY3" fmla="*/ 246522 h 246521"/>
                  <a:gd name="connsiteX4" fmla="*/ 255326 w 255326"/>
                  <a:gd name="connsiteY4" fmla="*/ 184892 h 246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5326" h="246521">
                    <a:moveTo>
                      <a:pt x="243587" y="149674"/>
                    </a:moveTo>
                    <a:lnTo>
                      <a:pt x="143805" y="0"/>
                    </a:lnTo>
                    <a:lnTo>
                      <a:pt x="0" y="102717"/>
                    </a:lnTo>
                    <a:lnTo>
                      <a:pt x="120326" y="246522"/>
                    </a:lnTo>
                    <a:lnTo>
                      <a:pt x="255326" y="184892"/>
                    </a:ln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DFCA2C63-A7B5-4E3F-A25A-13D9A9004A5A}"/>
                  </a:ext>
                </a:extLst>
              </p:cNvPr>
              <p:cNvSpPr/>
              <p:nvPr/>
            </p:nvSpPr>
            <p:spPr>
              <a:xfrm>
                <a:off x="7113961" y="12071400"/>
                <a:ext cx="390362" cy="358042"/>
              </a:xfrm>
              <a:custGeom>
                <a:avLst/>
                <a:gdLst>
                  <a:gd name="connsiteX0" fmla="*/ 328733 w 390362"/>
                  <a:gd name="connsiteY0" fmla="*/ 0 h 358042"/>
                  <a:gd name="connsiteX1" fmla="*/ 155580 w 390362"/>
                  <a:gd name="connsiteY1" fmla="*/ 64565 h 358042"/>
                  <a:gd name="connsiteX2" fmla="*/ 93950 w 390362"/>
                  <a:gd name="connsiteY2" fmla="*/ 202500 h 358042"/>
                  <a:gd name="connsiteX3" fmla="*/ 5907 w 390362"/>
                  <a:gd name="connsiteY3" fmla="*/ 358043 h 358042"/>
                  <a:gd name="connsiteX4" fmla="*/ 390363 w 390362"/>
                  <a:gd name="connsiteY4" fmla="*/ 88043 h 358042"/>
                  <a:gd name="connsiteX5" fmla="*/ 328733 w 390362"/>
                  <a:gd name="connsiteY5" fmla="*/ 0 h 358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0362" h="358042">
                    <a:moveTo>
                      <a:pt x="328733" y="0"/>
                    </a:moveTo>
                    <a:cubicBezTo>
                      <a:pt x="328733" y="0"/>
                      <a:pt x="240689" y="82174"/>
                      <a:pt x="155580" y="64565"/>
                    </a:cubicBezTo>
                    <a:cubicBezTo>
                      <a:pt x="155580" y="64565"/>
                      <a:pt x="126233" y="170217"/>
                      <a:pt x="93950" y="202500"/>
                    </a:cubicBezTo>
                    <a:cubicBezTo>
                      <a:pt x="64602" y="234783"/>
                      <a:pt x="-23441" y="293478"/>
                      <a:pt x="5907" y="358043"/>
                    </a:cubicBezTo>
                    <a:lnTo>
                      <a:pt x="390363" y="88043"/>
                    </a:lnTo>
                    <a:cubicBezTo>
                      <a:pt x="390363" y="88043"/>
                      <a:pt x="369820" y="29348"/>
                      <a:pt x="328733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EEEB011D-E2B8-40C7-91C4-D27294FE23BE}"/>
                  </a:ext>
                </a:extLst>
              </p:cNvPr>
              <p:cNvSpPr/>
              <p:nvPr/>
            </p:nvSpPr>
            <p:spPr>
              <a:xfrm rot="-2103126">
                <a:off x="7090370" y="12290872"/>
                <a:ext cx="469547" cy="44020"/>
              </a:xfrm>
              <a:custGeom>
                <a:avLst/>
                <a:gdLst>
                  <a:gd name="connsiteX0" fmla="*/ 0 w 469547"/>
                  <a:gd name="connsiteY0" fmla="*/ 0 h 44020"/>
                  <a:gd name="connsiteX1" fmla="*/ 469548 w 469547"/>
                  <a:gd name="connsiteY1" fmla="*/ 0 h 44020"/>
                  <a:gd name="connsiteX2" fmla="*/ 469548 w 469547"/>
                  <a:gd name="connsiteY2" fmla="*/ 44020 h 44020"/>
                  <a:gd name="connsiteX3" fmla="*/ 0 w 469547"/>
                  <a:gd name="connsiteY3" fmla="*/ 44020 h 44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9547" h="44020">
                    <a:moveTo>
                      <a:pt x="0" y="0"/>
                    </a:moveTo>
                    <a:lnTo>
                      <a:pt x="469548" y="0"/>
                    </a:lnTo>
                    <a:lnTo>
                      <a:pt x="469548" y="44020"/>
                    </a:lnTo>
                    <a:lnTo>
                      <a:pt x="0" y="44020"/>
                    </a:lnTo>
                    <a:close/>
                  </a:path>
                </a:pathLst>
              </a:custGeom>
              <a:solidFill>
                <a:srgbClr val="38333D"/>
              </a:solidFill>
              <a:ln w="293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C27680B0-878D-4D66-9819-D936FD3D7239}"/>
                  </a:ext>
                </a:extLst>
              </p:cNvPr>
              <p:cNvSpPr/>
              <p:nvPr/>
            </p:nvSpPr>
            <p:spPr>
              <a:xfrm>
                <a:off x="7263672" y="12066264"/>
                <a:ext cx="184157" cy="78505"/>
              </a:xfrm>
              <a:custGeom>
                <a:avLst/>
                <a:gdLst>
                  <a:gd name="connsiteX0" fmla="*/ 23478 w 184157"/>
                  <a:gd name="connsiteY0" fmla="*/ 78506 h 78505"/>
                  <a:gd name="connsiteX1" fmla="*/ 5869 w 184157"/>
                  <a:gd name="connsiteY1" fmla="*/ 78506 h 78505"/>
                  <a:gd name="connsiteX2" fmla="*/ 0 w 184157"/>
                  <a:gd name="connsiteY2" fmla="*/ 72636 h 78505"/>
                  <a:gd name="connsiteX3" fmla="*/ 5869 w 184157"/>
                  <a:gd name="connsiteY3" fmla="*/ 66766 h 78505"/>
                  <a:gd name="connsiteX4" fmla="*/ 173152 w 184157"/>
                  <a:gd name="connsiteY4" fmla="*/ 2201 h 78505"/>
                  <a:gd name="connsiteX5" fmla="*/ 181956 w 184157"/>
                  <a:gd name="connsiteY5" fmla="*/ 2201 h 78505"/>
                  <a:gd name="connsiteX6" fmla="*/ 181956 w 184157"/>
                  <a:gd name="connsiteY6" fmla="*/ 11005 h 78505"/>
                  <a:gd name="connsiteX7" fmla="*/ 23478 w 184157"/>
                  <a:gd name="connsiteY7" fmla="*/ 78506 h 78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4157" h="78505">
                    <a:moveTo>
                      <a:pt x="23478" y="78506"/>
                    </a:moveTo>
                    <a:cubicBezTo>
                      <a:pt x="17609" y="78506"/>
                      <a:pt x="11739" y="78506"/>
                      <a:pt x="5869" y="78506"/>
                    </a:cubicBezTo>
                    <a:cubicBezTo>
                      <a:pt x="2935" y="78506"/>
                      <a:pt x="0" y="75571"/>
                      <a:pt x="0" y="72636"/>
                    </a:cubicBezTo>
                    <a:cubicBezTo>
                      <a:pt x="0" y="69701"/>
                      <a:pt x="2935" y="66766"/>
                      <a:pt x="5869" y="66766"/>
                    </a:cubicBezTo>
                    <a:cubicBezTo>
                      <a:pt x="93913" y="78506"/>
                      <a:pt x="173152" y="2201"/>
                      <a:pt x="173152" y="2201"/>
                    </a:cubicBezTo>
                    <a:cubicBezTo>
                      <a:pt x="176087" y="-734"/>
                      <a:pt x="179022" y="-734"/>
                      <a:pt x="181956" y="2201"/>
                    </a:cubicBezTo>
                    <a:cubicBezTo>
                      <a:pt x="184891" y="5136"/>
                      <a:pt x="184891" y="8070"/>
                      <a:pt x="181956" y="11005"/>
                    </a:cubicBezTo>
                    <a:cubicBezTo>
                      <a:pt x="179022" y="11005"/>
                      <a:pt x="108587" y="78506"/>
                      <a:pt x="23478" y="7850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DD069727-8AF0-40BD-936D-A262255D9986}"/>
                  </a:ext>
                </a:extLst>
              </p:cNvPr>
              <p:cNvSpPr/>
              <p:nvPr/>
            </p:nvSpPr>
            <p:spPr>
              <a:xfrm>
                <a:off x="7253652" y="12172902"/>
                <a:ext cx="46452" cy="15889"/>
              </a:xfrm>
              <a:custGeom>
                <a:avLst/>
                <a:gdLst>
                  <a:gd name="connsiteX0" fmla="*/ 39368 w 46452"/>
                  <a:gd name="connsiteY0" fmla="*/ 15890 h 15889"/>
                  <a:gd name="connsiteX1" fmla="*/ 39368 w 46452"/>
                  <a:gd name="connsiteY1" fmla="*/ 15890 h 15889"/>
                  <a:gd name="connsiteX2" fmla="*/ 4150 w 46452"/>
                  <a:gd name="connsiteY2" fmla="*/ 10020 h 15889"/>
                  <a:gd name="connsiteX3" fmla="*/ 1216 w 46452"/>
                  <a:gd name="connsiteY3" fmla="*/ 4150 h 15889"/>
                  <a:gd name="connsiteX4" fmla="*/ 7085 w 46452"/>
                  <a:gd name="connsiteY4" fmla="*/ 1216 h 15889"/>
                  <a:gd name="connsiteX5" fmla="*/ 42303 w 46452"/>
                  <a:gd name="connsiteY5" fmla="*/ 7085 h 15889"/>
                  <a:gd name="connsiteX6" fmla="*/ 45237 w 46452"/>
                  <a:gd name="connsiteY6" fmla="*/ 12955 h 15889"/>
                  <a:gd name="connsiteX7" fmla="*/ 39368 w 46452"/>
                  <a:gd name="connsiteY7" fmla="*/ 15890 h 15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452" h="15889">
                    <a:moveTo>
                      <a:pt x="39368" y="15890"/>
                    </a:moveTo>
                    <a:cubicBezTo>
                      <a:pt x="36433" y="15890"/>
                      <a:pt x="36433" y="15890"/>
                      <a:pt x="39368" y="15890"/>
                    </a:cubicBezTo>
                    <a:lnTo>
                      <a:pt x="4150" y="10020"/>
                    </a:lnTo>
                    <a:cubicBezTo>
                      <a:pt x="1216" y="10020"/>
                      <a:pt x="-1719" y="7085"/>
                      <a:pt x="1216" y="4150"/>
                    </a:cubicBezTo>
                    <a:cubicBezTo>
                      <a:pt x="1216" y="1216"/>
                      <a:pt x="4150" y="-1719"/>
                      <a:pt x="7085" y="1216"/>
                    </a:cubicBezTo>
                    <a:lnTo>
                      <a:pt x="42303" y="7085"/>
                    </a:lnTo>
                    <a:cubicBezTo>
                      <a:pt x="45237" y="7085"/>
                      <a:pt x="48172" y="10020"/>
                      <a:pt x="45237" y="12955"/>
                    </a:cubicBezTo>
                    <a:cubicBezTo>
                      <a:pt x="42303" y="15890"/>
                      <a:pt x="39368" y="15890"/>
                      <a:pt x="39368" y="15890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2EC53685-2CD2-4F16-B0A1-FC285AE539D5}"/>
                  </a:ext>
                </a:extLst>
              </p:cNvPr>
              <p:cNvSpPr/>
              <p:nvPr/>
            </p:nvSpPr>
            <p:spPr>
              <a:xfrm>
                <a:off x="7236044" y="12216923"/>
                <a:ext cx="46452" cy="15889"/>
              </a:xfrm>
              <a:custGeom>
                <a:avLst/>
                <a:gdLst>
                  <a:gd name="connsiteX0" fmla="*/ 39368 w 46452"/>
                  <a:gd name="connsiteY0" fmla="*/ 15890 h 15889"/>
                  <a:gd name="connsiteX1" fmla="*/ 39368 w 46452"/>
                  <a:gd name="connsiteY1" fmla="*/ 15890 h 15889"/>
                  <a:gd name="connsiteX2" fmla="*/ 4150 w 46452"/>
                  <a:gd name="connsiteY2" fmla="*/ 10020 h 15889"/>
                  <a:gd name="connsiteX3" fmla="*/ 1216 w 46452"/>
                  <a:gd name="connsiteY3" fmla="*/ 4150 h 15889"/>
                  <a:gd name="connsiteX4" fmla="*/ 7085 w 46452"/>
                  <a:gd name="connsiteY4" fmla="*/ 1216 h 15889"/>
                  <a:gd name="connsiteX5" fmla="*/ 42302 w 46452"/>
                  <a:gd name="connsiteY5" fmla="*/ 7085 h 15889"/>
                  <a:gd name="connsiteX6" fmla="*/ 45237 w 46452"/>
                  <a:gd name="connsiteY6" fmla="*/ 12955 h 15889"/>
                  <a:gd name="connsiteX7" fmla="*/ 39368 w 46452"/>
                  <a:gd name="connsiteY7" fmla="*/ 15890 h 15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452" h="15889">
                    <a:moveTo>
                      <a:pt x="39368" y="15890"/>
                    </a:moveTo>
                    <a:cubicBezTo>
                      <a:pt x="39368" y="15890"/>
                      <a:pt x="39368" y="15890"/>
                      <a:pt x="39368" y="15890"/>
                    </a:cubicBezTo>
                    <a:lnTo>
                      <a:pt x="4150" y="10020"/>
                    </a:lnTo>
                    <a:cubicBezTo>
                      <a:pt x="1216" y="10020"/>
                      <a:pt x="-1719" y="7085"/>
                      <a:pt x="1216" y="4150"/>
                    </a:cubicBezTo>
                    <a:cubicBezTo>
                      <a:pt x="1216" y="1216"/>
                      <a:pt x="4150" y="-1719"/>
                      <a:pt x="7085" y="1216"/>
                    </a:cubicBezTo>
                    <a:lnTo>
                      <a:pt x="42302" y="7085"/>
                    </a:lnTo>
                    <a:cubicBezTo>
                      <a:pt x="45237" y="7085"/>
                      <a:pt x="48172" y="10020"/>
                      <a:pt x="45237" y="12955"/>
                    </a:cubicBezTo>
                    <a:cubicBezTo>
                      <a:pt x="45237" y="12955"/>
                      <a:pt x="42302" y="15890"/>
                      <a:pt x="39368" y="15890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7" name="图形 1">
              <a:extLst>
                <a:ext uri="{FF2B5EF4-FFF2-40B4-BE49-F238E27FC236}">
                  <a16:creationId xmlns:a16="http://schemas.microsoft.com/office/drawing/2014/main" id="{B79095FE-5973-4F66-8DB0-B26544768796}"/>
                </a:ext>
              </a:extLst>
            </p:cNvPr>
            <p:cNvGrpSpPr/>
            <p:nvPr/>
          </p:nvGrpSpPr>
          <p:grpSpPr>
            <a:xfrm>
              <a:off x="5948890" y="12135965"/>
              <a:ext cx="480326" cy="328695"/>
              <a:chOff x="5948890" y="12135965"/>
              <a:chExt cx="480326" cy="328695"/>
            </a:xfrm>
          </p:grpSpPr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B4DC1A15-F28E-4FAF-8CA2-985F1B7D9610}"/>
                  </a:ext>
                </a:extLst>
              </p:cNvPr>
              <p:cNvSpPr/>
              <p:nvPr/>
            </p:nvSpPr>
            <p:spPr>
              <a:xfrm>
                <a:off x="6236498" y="12135965"/>
                <a:ext cx="173151" cy="214239"/>
              </a:xfrm>
              <a:custGeom>
                <a:avLst/>
                <a:gdLst>
                  <a:gd name="connsiteX0" fmla="*/ 170217 w 173151"/>
                  <a:gd name="connsiteY0" fmla="*/ 179022 h 214239"/>
                  <a:gd name="connsiteX1" fmla="*/ 173152 w 173151"/>
                  <a:gd name="connsiteY1" fmla="*/ 0 h 214239"/>
                  <a:gd name="connsiteX2" fmla="*/ 0 w 173151"/>
                  <a:gd name="connsiteY2" fmla="*/ 0 h 214239"/>
                  <a:gd name="connsiteX3" fmla="*/ 11739 w 173151"/>
                  <a:gd name="connsiteY3" fmla="*/ 187826 h 214239"/>
                  <a:gd name="connsiteX4" fmla="*/ 158478 w 173151"/>
                  <a:gd name="connsiteY4" fmla="*/ 214240 h 214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151" h="214239">
                    <a:moveTo>
                      <a:pt x="170217" y="179022"/>
                    </a:moveTo>
                    <a:lnTo>
                      <a:pt x="173152" y="0"/>
                    </a:lnTo>
                    <a:lnTo>
                      <a:pt x="0" y="0"/>
                    </a:lnTo>
                    <a:lnTo>
                      <a:pt x="11739" y="187826"/>
                    </a:lnTo>
                    <a:lnTo>
                      <a:pt x="158478" y="214240"/>
                    </a:ln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08BAA0D2-2FD1-4ED7-8209-F56BECFBEBEC}"/>
                  </a:ext>
                </a:extLst>
              </p:cNvPr>
              <p:cNvSpPr/>
              <p:nvPr/>
            </p:nvSpPr>
            <p:spPr>
              <a:xfrm>
                <a:off x="5951825" y="12270965"/>
                <a:ext cx="477391" cy="152609"/>
              </a:xfrm>
              <a:custGeom>
                <a:avLst/>
                <a:gdLst>
                  <a:gd name="connsiteX0" fmla="*/ 469565 w 477391"/>
                  <a:gd name="connsiteY0" fmla="*/ 44022 h 152609"/>
                  <a:gd name="connsiteX1" fmla="*/ 290543 w 477391"/>
                  <a:gd name="connsiteY1" fmla="*/ 0 h 152609"/>
                  <a:gd name="connsiteX2" fmla="*/ 161413 w 477391"/>
                  <a:gd name="connsiteY2" fmla="*/ 76305 h 152609"/>
                  <a:gd name="connsiteX3" fmla="*/ 0 w 477391"/>
                  <a:gd name="connsiteY3" fmla="*/ 152609 h 152609"/>
                  <a:gd name="connsiteX4" fmla="*/ 469565 w 477391"/>
                  <a:gd name="connsiteY4" fmla="*/ 152609 h 152609"/>
                  <a:gd name="connsiteX5" fmla="*/ 469565 w 477391"/>
                  <a:gd name="connsiteY5" fmla="*/ 44022 h 152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7391" h="152609">
                    <a:moveTo>
                      <a:pt x="469565" y="44022"/>
                    </a:moveTo>
                    <a:cubicBezTo>
                      <a:pt x="469565" y="44022"/>
                      <a:pt x="349239" y="61631"/>
                      <a:pt x="290543" y="0"/>
                    </a:cubicBezTo>
                    <a:cubicBezTo>
                      <a:pt x="290543" y="0"/>
                      <a:pt x="205435" y="67500"/>
                      <a:pt x="161413" y="76305"/>
                    </a:cubicBezTo>
                    <a:cubicBezTo>
                      <a:pt x="117391" y="85109"/>
                      <a:pt x="11739" y="82174"/>
                      <a:pt x="0" y="152609"/>
                    </a:cubicBezTo>
                    <a:lnTo>
                      <a:pt x="469565" y="152609"/>
                    </a:lnTo>
                    <a:cubicBezTo>
                      <a:pt x="469565" y="149674"/>
                      <a:pt x="487174" y="90978"/>
                      <a:pt x="469565" y="44022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AB3571DD-D29F-4368-AE44-7E0696550230}"/>
                  </a:ext>
                </a:extLst>
              </p:cNvPr>
              <p:cNvSpPr/>
              <p:nvPr/>
            </p:nvSpPr>
            <p:spPr>
              <a:xfrm>
                <a:off x="5948890" y="12420639"/>
                <a:ext cx="469565" cy="44021"/>
              </a:xfrm>
              <a:custGeom>
                <a:avLst/>
                <a:gdLst>
                  <a:gd name="connsiteX0" fmla="*/ 0 w 469565"/>
                  <a:gd name="connsiteY0" fmla="*/ 0 h 44021"/>
                  <a:gd name="connsiteX1" fmla="*/ 469565 w 469565"/>
                  <a:gd name="connsiteY1" fmla="*/ 0 h 44021"/>
                  <a:gd name="connsiteX2" fmla="*/ 469565 w 469565"/>
                  <a:gd name="connsiteY2" fmla="*/ 44022 h 44021"/>
                  <a:gd name="connsiteX3" fmla="*/ 0 w 469565"/>
                  <a:gd name="connsiteY3" fmla="*/ 44022 h 44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9565" h="44021">
                    <a:moveTo>
                      <a:pt x="0" y="0"/>
                    </a:moveTo>
                    <a:lnTo>
                      <a:pt x="469565" y="0"/>
                    </a:lnTo>
                    <a:lnTo>
                      <a:pt x="469565" y="44022"/>
                    </a:lnTo>
                    <a:lnTo>
                      <a:pt x="0" y="44022"/>
                    </a:lnTo>
                    <a:close/>
                  </a:path>
                </a:pathLst>
              </a:custGeom>
              <a:solidFill>
                <a:srgbClr val="38333D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C4988E35-8649-4010-94B7-67D11D283E74}"/>
                  </a:ext>
                </a:extLst>
              </p:cNvPr>
              <p:cNvSpPr/>
              <p:nvPr/>
            </p:nvSpPr>
            <p:spPr>
              <a:xfrm>
                <a:off x="6234297" y="12259960"/>
                <a:ext cx="192962" cy="60896"/>
              </a:xfrm>
              <a:custGeom>
                <a:avLst/>
                <a:gdLst>
                  <a:gd name="connsiteX0" fmla="*/ 151875 w 192962"/>
                  <a:gd name="connsiteY0" fmla="*/ 60897 h 60896"/>
                  <a:gd name="connsiteX1" fmla="*/ 2201 w 192962"/>
                  <a:gd name="connsiteY1" fmla="*/ 11005 h 60896"/>
                  <a:gd name="connsiteX2" fmla="*/ 2201 w 192962"/>
                  <a:gd name="connsiteY2" fmla="*/ 2201 h 60896"/>
                  <a:gd name="connsiteX3" fmla="*/ 11006 w 192962"/>
                  <a:gd name="connsiteY3" fmla="*/ 2201 h 60896"/>
                  <a:gd name="connsiteX4" fmla="*/ 187093 w 192962"/>
                  <a:gd name="connsiteY4" fmla="*/ 46223 h 60896"/>
                  <a:gd name="connsiteX5" fmla="*/ 192962 w 192962"/>
                  <a:gd name="connsiteY5" fmla="*/ 52092 h 60896"/>
                  <a:gd name="connsiteX6" fmla="*/ 187093 w 192962"/>
                  <a:gd name="connsiteY6" fmla="*/ 57962 h 60896"/>
                  <a:gd name="connsiteX7" fmla="*/ 151875 w 192962"/>
                  <a:gd name="connsiteY7" fmla="*/ 60897 h 60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962" h="60896">
                    <a:moveTo>
                      <a:pt x="151875" y="60897"/>
                    </a:moveTo>
                    <a:cubicBezTo>
                      <a:pt x="113723" y="60897"/>
                      <a:pt x="49158" y="55027"/>
                      <a:pt x="2201" y="11005"/>
                    </a:cubicBezTo>
                    <a:cubicBezTo>
                      <a:pt x="-734" y="8070"/>
                      <a:pt x="-734" y="5135"/>
                      <a:pt x="2201" y="2201"/>
                    </a:cubicBezTo>
                    <a:cubicBezTo>
                      <a:pt x="5136" y="-734"/>
                      <a:pt x="8071" y="-734"/>
                      <a:pt x="11006" y="2201"/>
                    </a:cubicBezTo>
                    <a:cubicBezTo>
                      <a:pt x="75571" y="60897"/>
                      <a:pt x="184158" y="46223"/>
                      <a:pt x="187093" y="46223"/>
                    </a:cubicBezTo>
                    <a:cubicBezTo>
                      <a:pt x="190027" y="46223"/>
                      <a:pt x="192962" y="49157"/>
                      <a:pt x="192962" y="52092"/>
                    </a:cubicBezTo>
                    <a:cubicBezTo>
                      <a:pt x="192962" y="55027"/>
                      <a:pt x="190027" y="57962"/>
                      <a:pt x="187093" y="57962"/>
                    </a:cubicBezTo>
                    <a:cubicBezTo>
                      <a:pt x="184158" y="57962"/>
                      <a:pt x="172419" y="60897"/>
                      <a:pt x="151875" y="608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7DA4ED4B-CBF7-4A78-A9AE-27497172CAFA}"/>
                  </a:ext>
                </a:extLst>
              </p:cNvPr>
              <p:cNvSpPr/>
              <p:nvPr/>
            </p:nvSpPr>
            <p:spPr>
              <a:xfrm>
                <a:off x="6199080" y="12286372"/>
                <a:ext cx="39619" cy="40353"/>
              </a:xfrm>
              <a:custGeom>
                <a:avLst/>
                <a:gdLst>
                  <a:gd name="connsiteX0" fmla="*/ 31549 w 39619"/>
                  <a:gd name="connsiteY0" fmla="*/ 40353 h 40353"/>
                  <a:gd name="connsiteX1" fmla="*/ 28614 w 39619"/>
                  <a:gd name="connsiteY1" fmla="*/ 37418 h 40353"/>
                  <a:gd name="connsiteX2" fmla="*/ 2201 w 39619"/>
                  <a:gd name="connsiteY2" fmla="*/ 11005 h 40353"/>
                  <a:gd name="connsiteX3" fmla="*/ 2201 w 39619"/>
                  <a:gd name="connsiteY3" fmla="*/ 2201 h 40353"/>
                  <a:gd name="connsiteX4" fmla="*/ 11006 w 39619"/>
                  <a:gd name="connsiteY4" fmla="*/ 2201 h 40353"/>
                  <a:gd name="connsiteX5" fmla="*/ 37419 w 39619"/>
                  <a:gd name="connsiteY5" fmla="*/ 28614 h 40353"/>
                  <a:gd name="connsiteX6" fmla="*/ 37419 w 39619"/>
                  <a:gd name="connsiteY6" fmla="*/ 37418 h 40353"/>
                  <a:gd name="connsiteX7" fmla="*/ 31549 w 39619"/>
                  <a:gd name="connsiteY7" fmla="*/ 40353 h 40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619" h="40353">
                    <a:moveTo>
                      <a:pt x="31549" y="40353"/>
                    </a:moveTo>
                    <a:cubicBezTo>
                      <a:pt x="31549" y="40353"/>
                      <a:pt x="28614" y="40353"/>
                      <a:pt x="28614" y="37418"/>
                    </a:cubicBezTo>
                    <a:lnTo>
                      <a:pt x="2201" y="11005"/>
                    </a:lnTo>
                    <a:cubicBezTo>
                      <a:pt x="-734" y="8070"/>
                      <a:pt x="-734" y="5136"/>
                      <a:pt x="2201" y="2201"/>
                    </a:cubicBezTo>
                    <a:cubicBezTo>
                      <a:pt x="5136" y="-734"/>
                      <a:pt x="8071" y="-734"/>
                      <a:pt x="11006" y="2201"/>
                    </a:cubicBezTo>
                    <a:lnTo>
                      <a:pt x="37419" y="28614"/>
                    </a:lnTo>
                    <a:cubicBezTo>
                      <a:pt x="40353" y="31549"/>
                      <a:pt x="40353" y="34484"/>
                      <a:pt x="37419" y="37418"/>
                    </a:cubicBezTo>
                    <a:cubicBezTo>
                      <a:pt x="34484" y="37418"/>
                      <a:pt x="34484" y="40353"/>
                      <a:pt x="31549" y="403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323BBCF9-E40A-4FEB-A250-D337EC01F0FF}"/>
                  </a:ext>
                </a:extLst>
              </p:cNvPr>
              <p:cNvSpPr/>
              <p:nvPr/>
            </p:nvSpPr>
            <p:spPr>
              <a:xfrm>
                <a:off x="6166797" y="12309850"/>
                <a:ext cx="36684" cy="40353"/>
              </a:xfrm>
              <a:custGeom>
                <a:avLst/>
                <a:gdLst>
                  <a:gd name="connsiteX0" fmla="*/ 28614 w 36684"/>
                  <a:gd name="connsiteY0" fmla="*/ 40354 h 40353"/>
                  <a:gd name="connsiteX1" fmla="*/ 25679 w 36684"/>
                  <a:gd name="connsiteY1" fmla="*/ 37419 h 40353"/>
                  <a:gd name="connsiteX2" fmla="*/ 2201 w 36684"/>
                  <a:gd name="connsiteY2" fmla="*/ 11006 h 40353"/>
                  <a:gd name="connsiteX3" fmla="*/ 2201 w 36684"/>
                  <a:gd name="connsiteY3" fmla="*/ 2201 h 40353"/>
                  <a:gd name="connsiteX4" fmla="*/ 11005 w 36684"/>
                  <a:gd name="connsiteY4" fmla="*/ 2201 h 40353"/>
                  <a:gd name="connsiteX5" fmla="*/ 34484 w 36684"/>
                  <a:gd name="connsiteY5" fmla="*/ 28614 h 40353"/>
                  <a:gd name="connsiteX6" fmla="*/ 34484 w 36684"/>
                  <a:gd name="connsiteY6" fmla="*/ 37419 h 40353"/>
                  <a:gd name="connsiteX7" fmla="*/ 28614 w 36684"/>
                  <a:gd name="connsiteY7" fmla="*/ 40354 h 40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684" h="40353">
                    <a:moveTo>
                      <a:pt x="28614" y="40354"/>
                    </a:moveTo>
                    <a:cubicBezTo>
                      <a:pt x="28614" y="40354"/>
                      <a:pt x="25679" y="40354"/>
                      <a:pt x="25679" y="37419"/>
                    </a:cubicBezTo>
                    <a:lnTo>
                      <a:pt x="2201" y="11006"/>
                    </a:lnTo>
                    <a:cubicBezTo>
                      <a:pt x="-734" y="8071"/>
                      <a:pt x="-734" y="5136"/>
                      <a:pt x="2201" y="2201"/>
                    </a:cubicBezTo>
                    <a:cubicBezTo>
                      <a:pt x="5136" y="-734"/>
                      <a:pt x="8070" y="-734"/>
                      <a:pt x="11005" y="2201"/>
                    </a:cubicBezTo>
                    <a:lnTo>
                      <a:pt x="34484" y="28614"/>
                    </a:lnTo>
                    <a:cubicBezTo>
                      <a:pt x="37418" y="31549"/>
                      <a:pt x="37418" y="34484"/>
                      <a:pt x="34484" y="37419"/>
                    </a:cubicBezTo>
                    <a:cubicBezTo>
                      <a:pt x="31549" y="40354"/>
                      <a:pt x="28614" y="40354"/>
                      <a:pt x="28614" y="40354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9355EC19-4D69-4BDB-B715-112C85C04DE7}"/>
                </a:ext>
              </a:extLst>
            </p:cNvPr>
            <p:cNvSpPr/>
            <p:nvPr/>
          </p:nvSpPr>
          <p:spPr>
            <a:xfrm>
              <a:off x="6096767" y="10002378"/>
              <a:ext cx="1384079" cy="2209890"/>
            </a:xfrm>
            <a:custGeom>
              <a:avLst/>
              <a:gdLst>
                <a:gd name="connsiteX0" fmla="*/ 7666 w 1384079"/>
                <a:gd name="connsiteY0" fmla="*/ 20543 h 2209890"/>
                <a:gd name="connsiteX1" fmla="*/ 19405 w 1384079"/>
                <a:gd name="connsiteY1" fmla="*/ 1352934 h 2209890"/>
                <a:gd name="connsiteX2" fmla="*/ 86905 w 1384079"/>
                <a:gd name="connsiteY2" fmla="*/ 2209891 h 2209890"/>
                <a:gd name="connsiteX3" fmla="*/ 371579 w 1384079"/>
                <a:gd name="connsiteY3" fmla="*/ 2209891 h 2209890"/>
                <a:gd name="connsiteX4" fmla="*/ 406797 w 1384079"/>
                <a:gd name="connsiteY4" fmla="*/ 1376413 h 2209890"/>
                <a:gd name="connsiteX5" fmla="*/ 486036 w 1384079"/>
                <a:gd name="connsiteY5" fmla="*/ 484239 h 2209890"/>
                <a:gd name="connsiteX6" fmla="*/ 676797 w 1384079"/>
                <a:gd name="connsiteY6" fmla="*/ 1303043 h 2209890"/>
                <a:gd name="connsiteX7" fmla="*/ 1058319 w 1384079"/>
                <a:gd name="connsiteY7" fmla="*/ 2101304 h 2209890"/>
                <a:gd name="connsiteX8" fmla="*/ 1384079 w 1384079"/>
                <a:gd name="connsiteY8" fmla="*/ 1925217 h 2209890"/>
                <a:gd name="connsiteX9" fmla="*/ 1064188 w 1384079"/>
                <a:gd name="connsiteY9" fmla="*/ 1235543 h 2209890"/>
                <a:gd name="connsiteX10" fmla="*/ 987884 w 1384079"/>
                <a:gd name="connsiteY10" fmla="*/ 0 h 2209890"/>
                <a:gd name="connsiteX11" fmla="*/ 7666 w 1384079"/>
                <a:gd name="connsiteY11" fmla="*/ 20543 h 2209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4079" h="2209890">
                  <a:moveTo>
                    <a:pt x="7666" y="20543"/>
                  </a:moveTo>
                  <a:cubicBezTo>
                    <a:pt x="7666" y="20543"/>
                    <a:pt x="-15812" y="1053587"/>
                    <a:pt x="19405" y="1352934"/>
                  </a:cubicBezTo>
                  <a:cubicBezTo>
                    <a:pt x="48753" y="1614130"/>
                    <a:pt x="86905" y="2209891"/>
                    <a:pt x="86905" y="2209891"/>
                  </a:cubicBezTo>
                  <a:lnTo>
                    <a:pt x="371579" y="2209891"/>
                  </a:lnTo>
                  <a:cubicBezTo>
                    <a:pt x="371579" y="2209891"/>
                    <a:pt x="403862" y="1470325"/>
                    <a:pt x="406797" y="1376413"/>
                  </a:cubicBezTo>
                  <a:cubicBezTo>
                    <a:pt x="412667" y="1241413"/>
                    <a:pt x="471362" y="513587"/>
                    <a:pt x="486036" y="484239"/>
                  </a:cubicBezTo>
                  <a:cubicBezTo>
                    <a:pt x="497775" y="460760"/>
                    <a:pt x="600492" y="1106413"/>
                    <a:pt x="676797" y="1303043"/>
                  </a:cubicBezTo>
                  <a:cubicBezTo>
                    <a:pt x="688536" y="1335326"/>
                    <a:pt x="1058319" y="2101304"/>
                    <a:pt x="1058319" y="2101304"/>
                  </a:cubicBezTo>
                  <a:lnTo>
                    <a:pt x="1384079" y="1925217"/>
                  </a:lnTo>
                  <a:lnTo>
                    <a:pt x="1064188" y="1235543"/>
                  </a:lnTo>
                  <a:cubicBezTo>
                    <a:pt x="1064188" y="1235543"/>
                    <a:pt x="1031905" y="93913"/>
                    <a:pt x="987884" y="0"/>
                  </a:cubicBezTo>
                  <a:cubicBezTo>
                    <a:pt x="318754" y="32282"/>
                    <a:pt x="7666" y="20543"/>
                    <a:pt x="7666" y="20543"/>
                  </a:cubicBezTo>
                  <a:close/>
                </a:path>
              </a:pathLst>
            </a:custGeom>
            <a:solidFill>
              <a:srgbClr val="F1DDBA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985808E5-95C2-491C-AF74-685180E03010}"/>
                </a:ext>
              </a:extLst>
            </p:cNvPr>
            <p:cNvSpPr/>
            <p:nvPr/>
          </p:nvSpPr>
          <p:spPr>
            <a:xfrm>
              <a:off x="6518238" y="10146182"/>
              <a:ext cx="68651" cy="349238"/>
            </a:xfrm>
            <a:custGeom>
              <a:avLst/>
              <a:gdLst>
                <a:gd name="connsiteX0" fmla="*/ 61630 w 68651"/>
                <a:gd name="connsiteY0" fmla="*/ 349239 h 349238"/>
                <a:gd name="connsiteX1" fmla="*/ 55761 w 68651"/>
                <a:gd name="connsiteY1" fmla="*/ 346304 h 349238"/>
                <a:gd name="connsiteX2" fmla="*/ 0 w 68651"/>
                <a:gd name="connsiteY2" fmla="*/ 5869 h 349238"/>
                <a:gd name="connsiteX3" fmla="*/ 5869 w 68651"/>
                <a:gd name="connsiteY3" fmla="*/ 0 h 349238"/>
                <a:gd name="connsiteX4" fmla="*/ 11739 w 68651"/>
                <a:gd name="connsiteY4" fmla="*/ 5869 h 349238"/>
                <a:gd name="connsiteX5" fmla="*/ 67500 w 68651"/>
                <a:gd name="connsiteY5" fmla="*/ 343369 h 349238"/>
                <a:gd name="connsiteX6" fmla="*/ 61630 w 68651"/>
                <a:gd name="connsiteY6" fmla="*/ 349239 h 349238"/>
                <a:gd name="connsiteX7" fmla="*/ 61630 w 68651"/>
                <a:gd name="connsiteY7" fmla="*/ 349239 h 34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651" h="349238">
                  <a:moveTo>
                    <a:pt x="61630" y="349239"/>
                  </a:moveTo>
                  <a:cubicBezTo>
                    <a:pt x="58696" y="349239"/>
                    <a:pt x="58696" y="349239"/>
                    <a:pt x="55761" y="346304"/>
                  </a:cubicBezTo>
                  <a:cubicBezTo>
                    <a:pt x="8804" y="234783"/>
                    <a:pt x="0" y="14674"/>
                    <a:pt x="0" y="5869"/>
                  </a:cubicBezTo>
                  <a:cubicBezTo>
                    <a:pt x="0" y="2935"/>
                    <a:pt x="2935" y="0"/>
                    <a:pt x="5869" y="0"/>
                  </a:cubicBezTo>
                  <a:cubicBezTo>
                    <a:pt x="8804" y="0"/>
                    <a:pt x="11739" y="2935"/>
                    <a:pt x="11739" y="5869"/>
                  </a:cubicBezTo>
                  <a:cubicBezTo>
                    <a:pt x="11739" y="8804"/>
                    <a:pt x="20543" y="234783"/>
                    <a:pt x="67500" y="343369"/>
                  </a:cubicBezTo>
                  <a:cubicBezTo>
                    <a:pt x="70435" y="343369"/>
                    <a:pt x="67500" y="346304"/>
                    <a:pt x="61630" y="349239"/>
                  </a:cubicBezTo>
                  <a:cubicBezTo>
                    <a:pt x="64565" y="349239"/>
                    <a:pt x="64565" y="349239"/>
                    <a:pt x="61630" y="349239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0CE1D9CF-867F-4697-A642-57B56DB2A14A}"/>
                </a:ext>
              </a:extLst>
            </p:cNvPr>
            <p:cNvSpPr/>
            <p:nvPr/>
          </p:nvSpPr>
          <p:spPr>
            <a:xfrm>
              <a:off x="6412585" y="10078682"/>
              <a:ext cx="149674" cy="340434"/>
            </a:xfrm>
            <a:custGeom>
              <a:avLst/>
              <a:gdLst>
                <a:gd name="connsiteX0" fmla="*/ 140870 w 149674"/>
                <a:gd name="connsiteY0" fmla="*/ 340435 h 340434"/>
                <a:gd name="connsiteX1" fmla="*/ 137935 w 149674"/>
                <a:gd name="connsiteY1" fmla="*/ 340435 h 340434"/>
                <a:gd name="connsiteX2" fmla="*/ 32283 w 149674"/>
                <a:gd name="connsiteY2" fmla="*/ 264130 h 340434"/>
                <a:gd name="connsiteX3" fmla="*/ 0 w 149674"/>
                <a:gd name="connsiteY3" fmla="*/ 5870 h 340434"/>
                <a:gd name="connsiteX4" fmla="*/ 5869 w 149674"/>
                <a:gd name="connsiteY4" fmla="*/ 0 h 340434"/>
                <a:gd name="connsiteX5" fmla="*/ 11739 w 149674"/>
                <a:gd name="connsiteY5" fmla="*/ 5870 h 340434"/>
                <a:gd name="connsiteX6" fmla="*/ 44022 w 149674"/>
                <a:gd name="connsiteY6" fmla="*/ 258261 h 340434"/>
                <a:gd name="connsiteX7" fmla="*/ 146739 w 149674"/>
                <a:gd name="connsiteY7" fmla="*/ 331631 h 340434"/>
                <a:gd name="connsiteX8" fmla="*/ 149674 w 149674"/>
                <a:gd name="connsiteY8" fmla="*/ 340435 h 340434"/>
                <a:gd name="connsiteX9" fmla="*/ 140870 w 149674"/>
                <a:gd name="connsiteY9" fmla="*/ 340435 h 340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674" h="340434">
                  <a:moveTo>
                    <a:pt x="140870" y="340435"/>
                  </a:moveTo>
                  <a:cubicBezTo>
                    <a:pt x="140870" y="340435"/>
                    <a:pt x="137935" y="340435"/>
                    <a:pt x="137935" y="340435"/>
                  </a:cubicBezTo>
                  <a:cubicBezTo>
                    <a:pt x="129130" y="334566"/>
                    <a:pt x="44022" y="278804"/>
                    <a:pt x="32283" y="264130"/>
                  </a:cubicBezTo>
                  <a:cubicBezTo>
                    <a:pt x="20543" y="249457"/>
                    <a:pt x="2935" y="46957"/>
                    <a:pt x="0" y="5870"/>
                  </a:cubicBezTo>
                  <a:cubicBezTo>
                    <a:pt x="0" y="2935"/>
                    <a:pt x="2935" y="0"/>
                    <a:pt x="5869" y="0"/>
                  </a:cubicBezTo>
                  <a:cubicBezTo>
                    <a:pt x="8804" y="0"/>
                    <a:pt x="11739" y="2935"/>
                    <a:pt x="11739" y="5870"/>
                  </a:cubicBezTo>
                  <a:cubicBezTo>
                    <a:pt x="20543" y="96848"/>
                    <a:pt x="35217" y="246522"/>
                    <a:pt x="44022" y="258261"/>
                  </a:cubicBezTo>
                  <a:cubicBezTo>
                    <a:pt x="52826" y="267065"/>
                    <a:pt x="108587" y="308152"/>
                    <a:pt x="146739" y="331631"/>
                  </a:cubicBezTo>
                  <a:cubicBezTo>
                    <a:pt x="149674" y="334566"/>
                    <a:pt x="149674" y="337500"/>
                    <a:pt x="149674" y="340435"/>
                  </a:cubicBezTo>
                  <a:cubicBezTo>
                    <a:pt x="143804" y="340435"/>
                    <a:pt x="140870" y="340435"/>
                    <a:pt x="140870" y="340435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5A77E042-1F22-444E-B68B-2485A6858CD1}"/>
                </a:ext>
              </a:extLst>
            </p:cNvPr>
            <p:cNvSpPr/>
            <p:nvPr/>
          </p:nvSpPr>
          <p:spPr>
            <a:xfrm>
              <a:off x="5356064" y="8902960"/>
              <a:ext cx="869545" cy="836607"/>
            </a:xfrm>
            <a:custGeom>
              <a:avLst/>
              <a:gdLst>
                <a:gd name="connsiteX0" fmla="*/ 848152 w 869545"/>
                <a:gd name="connsiteY0" fmla="*/ 271809 h 836607"/>
                <a:gd name="connsiteX1" fmla="*/ 774782 w 869545"/>
                <a:gd name="connsiteY1" fmla="*/ 1809 h 836607"/>
                <a:gd name="connsiteX2" fmla="*/ 534130 w 869545"/>
                <a:gd name="connsiteY2" fmla="*/ 277678 h 836607"/>
                <a:gd name="connsiteX3" fmla="*/ 390326 w 869545"/>
                <a:gd name="connsiteY3" fmla="*/ 565287 h 836607"/>
                <a:gd name="connsiteX4" fmla="*/ 44022 w 869545"/>
                <a:gd name="connsiteY4" fmla="*/ 242461 h 836607"/>
                <a:gd name="connsiteX5" fmla="*/ 0 w 869545"/>
                <a:gd name="connsiteY5" fmla="*/ 377461 h 836607"/>
                <a:gd name="connsiteX6" fmla="*/ 475435 w 869545"/>
                <a:gd name="connsiteY6" fmla="*/ 832353 h 836607"/>
                <a:gd name="connsiteX7" fmla="*/ 848152 w 869545"/>
                <a:gd name="connsiteY7" fmla="*/ 271809 h 836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69545" h="836607">
                  <a:moveTo>
                    <a:pt x="848152" y="271809"/>
                  </a:moveTo>
                  <a:cubicBezTo>
                    <a:pt x="900978" y="139744"/>
                    <a:pt x="848152" y="-18734"/>
                    <a:pt x="774782" y="1809"/>
                  </a:cubicBezTo>
                  <a:cubicBezTo>
                    <a:pt x="689674" y="25287"/>
                    <a:pt x="589891" y="116265"/>
                    <a:pt x="534130" y="277678"/>
                  </a:cubicBezTo>
                  <a:cubicBezTo>
                    <a:pt x="501848" y="371591"/>
                    <a:pt x="407935" y="568222"/>
                    <a:pt x="390326" y="565287"/>
                  </a:cubicBezTo>
                  <a:cubicBezTo>
                    <a:pt x="384456" y="565287"/>
                    <a:pt x="44022" y="242461"/>
                    <a:pt x="44022" y="242461"/>
                  </a:cubicBezTo>
                  <a:cubicBezTo>
                    <a:pt x="44022" y="301157"/>
                    <a:pt x="0" y="377461"/>
                    <a:pt x="0" y="377461"/>
                  </a:cubicBezTo>
                  <a:cubicBezTo>
                    <a:pt x="0" y="377461"/>
                    <a:pt x="290544" y="888113"/>
                    <a:pt x="475435" y="832353"/>
                  </a:cubicBezTo>
                  <a:cubicBezTo>
                    <a:pt x="572283" y="803005"/>
                    <a:pt x="780652" y="436157"/>
                    <a:pt x="848152" y="271809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1BAE91B3-6C7B-43BF-9A00-FB7BCDC04B48}"/>
                </a:ext>
              </a:extLst>
            </p:cNvPr>
            <p:cNvSpPr/>
            <p:nvPr/>
          </p:nvSpPr>
          <p:spPr>
            <a:xfrm>
              <a:off x="6967259" y="10017052"/>
              <a:ext cx="140869" cy="228912"/>
            </a:xfrm>
            <a:custGeom>
              <a:avLst/>
              <a:gdLst>
                <a:gd name="connsiteX0" fmla="*/ 135000 w 140869"/>
                <a:gd name="connsiteY0" fmla="*/ 228913 h 228912"/>
                <a:gd name="connsiteX1" fmla="*/ 135000 w 140869"/>
                <a:gd name="connsiteY1" fmla="*/ 228913 h 228912"/>
                <a:gd name="connsiteX2" fmla="*/ 14674 w 140869"/>
                <a:gd name="connsiteY2" fmla="*/ 196630 h 228912"/>
                <a:gd name="connsiteX3" fmla="*/ 0 w 140869"/>
                <a:gd name="connsiteY3" fmla="*/ 5869 h 228912"/>
                <a:gd name="connsiteX4" fmla="*/ 5870 w 140869"/>
                <a:gd name="connsiteY4" fmla="*/ 0 h 228912"/>
                <a:gd name="connsiteX5" fmla="*/ 5870 w 140869"/>
                <a:gd name="connsiteY5" fmla="*/ 0 h 228912"/>
                <a:gd name="connsiteX6" fmla="*/ 11739 w 140869"/>
                <a:gd name="connsiteY6" fmla="*/ 5869 h 228912"/>
                <a:gd name="connsiteX7" fmla="*/ 23478 w 140869"/>
                <a:gd name="connsiteY7" fmla="*/ 193695 h 228912"/>
                <a:gd name="connsiteX8" fmla="*/ 135000 w 140869"/>
                <a:gd name="connsiteY8" fmla="*/ 220109 h 228912"/>
                <a:gd name="connsiteX9" fmla="*/ 140870 w 140869"/>
                <a:gd name="connsiteY9" fmla="*/ 225978 h 228912"/>
                <a:gd name="connsiteX10" fmla="*/ 135000 w 140869"/>
                <a:gd name="connsiteY10" fmla="*/ 228913 h 228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0869" h="228912">
                  <a:moveTo>
                    <a:pt x="135000" y="228913"/>
                  </a:moveTo>
                  <a:cubicBezTo>
                    <a:pt x="135000" y="228913"/>
                    <a:pt x="135000" y="228913"/>
                    <a:pt x="135000" y="228913"/>
                  </a:cubicBezTo>
                  <a:cubicBezTo>
                    <a:pt x="108587" y="225978"/>
                    <a:pt x="23478" y="214239"/>
                    <a:pt x="14674" y="196630"/>
                  </a:cubicBezTo>
                  <a:cubicBezTo>
                    <a:pt x="5870" y="179021"/>
                    <a:pt x="0" y="23478"/>
                    <a:pt x="0" y="5869"/>
                  </a:cubicBezTo>
                  <a:cubicBezTo>
                    <a:pt x="0" y="2934"/>
                    <a:pt x="2935" y="0"/>
                    <a:pt x="5870" y="0"/>
                  </a:cubicBezTo>
                  <a:cubicBezTo>
                    <a:pt x="5870" y="0"/>
                    <a:pt x="5870" y="0"/>
                    <a:pt x="5870" y="0"/>
                  </a:cubicBezTo>
                  <a:cubicBezTo>
                    <a:pt x="8804" y="0"/>
                    <a:pt x="11739" y="2934"/>
                    <a:pt x="11739" y="5869"/>
                  </a:cubicBezTo>
                  <a:cubicBezTo>
                    <a:pt x="11739" y="73370"/>
                    <a:pt x="17609" y="181956"/>
                    <a:pt x="23478" y="193695"/>
                  </a:cubicBezTo>
                  <a:cubicBezTo>
                    <a:pt x="29348" y="202500"/>
                    <a:pt x="85109" y="214239"/>
                    <a:pt x="135000" y="220109"/>
                  </a:cubicBezTo>
                  <a:cubicBezTo>
                    <a:pt x="137935" y="220109"/>
                    <a:pt x="140870" y="223043"/>
                    <a:pt x="140870" y="225978"/>
                  </a:cubicBezTo>
                  <a:cubicBezTo>
                    <a:pt x="137935" y="225978"/>
                    <a:pt x="137935" y="228913"/>
                    <a:pt x="135000" y="228913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6B2E4C0B-9DCD-46D9-ABDC-950497D7F26D}"/>
                </a:ext>
              </a:extLst>
            </p:cNvPr>
            <p:cNvSpPr/>
            <p:nvPr/>
          </p:nvSpPr>
          <p:spPr>
            <a:xfrm>
              <a:off x="6104433" y="10025856"/>
              <a:ext cx="88043" cy="199564"/>
            </a:xfrm>
            <a:custGeom>
              <a:avLst/>
              <a:gdLst>
                <a:gd name="connsiteX0" fmla="*/ 11739 w 88043"/>
                <a:gd name="connsiteY0" fmla="*/ 199565 h 199564"/>
                <a:gd name="connsiteX1" fmla="*/ 5869 w 88043"/>
                <a:gd name="connsiteY1" fmla="*/ 199565 h 199564"/>
                <a:gd name="connsiteX2" fmla="*/ 0 w 88043"/>
                <a:gd name="connsiteY2" fmla="*/ 193696 h 199564"/>
                <a:gd name="connsiteX3" fmla="*/ 5869 w 88043"/>
                <a:gd name="connsiteY3" fmla="*/ 187826 h 199564"/>
                <a:gd name="connsiteX4" fmla="*/ 58696 w 88043"/>
                <a:gd name="connsiteY4" fmla="*/ 170217 h 199564"/>
                <a:gd name="connsiteX5" fmla="*/ 76305 w 88043"/>
                <a:gd name="connsiteY5" fmla="*/ 5870 h 199564"/>
                <a:gd name="connsiteX6" fmla="*/ 82174 w 88043"/>
                <a:gd name="connsiteY6" fmla="*/ 0 h 199564"/>
                <a:gd name="connsiteX7" fmla="*/ 82174 w 88043"/>
                <a:gd name="connsiteY7" fmla="*/ 0 h 199564"/>
                <a:gd name="connsiteX8" fmla="*/ 88043 w 88043"/>
                <a:gd name="connsiteY8" fmla="*/ 5870 h 199564"/>
                <a:gd name="connsiteX9" fmla="*/ 67500 w 88043"/>
                <a:gd name="connsiteY9" fmla="*/ 173152 h 199564"/>
                <a:gd name="connsiteX10" fmla="*/ 11739 w 88043"/>
                <a:gd name="connsiteY10" fmla="*/ 199565 h 199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8043" h="199564">
                  <a:moveTo>
                    <a:pt x="11739" y="199565"/>
                  </a:moveTo>
                  <a:cubicBezTo>
                    <a:pt x="8804" y="199565"/>
                    <a:pt x="5869" y="199565"/>
                    <a:pt x="5869" y="199565"/>
                  </a:cubicBezTo>
                  <a:cubicBezTo>
                    <a:pt x="2935" y="199565"/>
                    <a:pt x="0" y="196631"/>
                    <a:pt x="0" y="193696"/>
                  </a:cubicBezTo>
                  <a:cubicBezTo>
                    <a:pt x="0" y="190761"/>
                    <a:pt x="2935" y="187826"/>
                    <a:pt x="5869" y="187826"/>
                  </a:cubicBezTo>
                  <a:cubicBezTo>
                    <a:pt x="5869" y="187826"/>
                    <a:pt x="46957" y="190761"/>
                    <a:pt x="58696" y="170217"/>
                  </a:cubicBezTo>
                  <a:cubicBezTo>
                    <a:pt x="70435" y="149674"/>
                    <a:pt x="76305" y="46957"/>
                    <a:pt x="76305" y="5870"/>
                  </a:cubicBezTo>
                  <a:cubicBezTo>
                    <a:pt x="76305" y="2935"/>
                    <a:pt x="79239" y="0"/>
                    <a:pt x="82174" y="0"/>
                  </a:cubicBezTo>
                  <a:cubicBezTo>
                    <a:pt x="82174" y="0"/>
                    <a:pt x="82174" y="0"/>
                    <a:pt x="82174" y="0"/>
                  </a:cubicBezTo>
                  <a:cubicBezTo>
                    <a:pt x="85109" y="0"/>
                    <a:pt x="88043" y="2935"/>
                    <a:pt x="88043" y="5870"/>
                  </a:cubicBezTo>
                  <a:cubicBezTo>
                    <a:pt x="88043" y="20544"/>
                    <a:pt x="82174" y="149674"/>
                    <a:pt x="67500" y="173152"/>
                  </a:cubicBezTo>
                  <a:cubicBezTo>
                    <a:pt x="55761" y="196631"/>
                    <a:pt x="23478" y="199565"/>
                    <a:pt x="11739" y="199565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EA3DB4C0-75CC-4DCA-9EDA-A8DBF794D46B}"/>
                </a:ext>
              </a:extLst>
            </p:cNvPr>
            <p:cNvSpPr/>
            <p:nvPr/>
          </p:nvSpPr>
          <p:spPr>
            <a:xfrm>
              <a:off x="6474216" y="8394117"/>
              <a:ext cx="240652" cy="248586"/>
            </a:xfrm>
            <a:custGeom>
              <a:avLst/>
              <a:gdLst>
                <a:gd name="connsiteX0" fmla="*/ 0 w 240652"/>
                <a:gd name="connsiteY0" fmla="*/ 38152 h 248586"/>
                <a:gd name="connsiteX1" fmla="*/ 5869 w 240652"/>
                <a:gd name="connsiteY1" fmla="*/ 205435 h 248586"/>
                <a:gd name="connsiteX2" fmla="*/ 240652 w 240652"/>
                <a:gd name="connsiteY2" fmla="*/ 196631 h 248586"/>
                <a:gd name="connsiteX3" fmla="*/ 225978 w 240652"/>
                <a:gd name="connsiteY3" fmla="*/ 0 h 248586"/>
                <a:gd name="connsiteX4" fmla="*/ 0 w 240652"/>
                <a:gd name="connsiteY4" fmla="*/ 38152 h 24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652" h="248586">
                  <a:moveTo>
                    <a:pt x="0" y="38152"/>
                  </a:moveTo>
                  <a:cubicBezTo>
                    <a:pt x="0" y="38152"/>
                    <a:pt x="5869" y="135000"/>
                    <a:pt x="5869" y="205435"/>
                  </a:cubicBezTo>
                  <a:cubicBezTo>
                    <a:pt x="5869" y="205435"/>
                    <a:pt x="96847" y="308152"/>
                    <a:pt x="240652" y="196631"/>
                  </a:cubicBezTo>
                  <a:cubicBezTo>
                    <a:pt x="240652" y="137935"/>
                    <a:pt x="228913" y="61631"/>
                    <a:pt x="225978" y="0"/>
                  </a:cubicBezTo>
                  <a:cubicBezTo>
                    <a:pt x="225978" y="0"/>
                    <a:pt x="49891" y="49892"/>
                    <a:pt x="0" y="38152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E82371B2-978C-49AE-9825-8FC4C728E159}"/>
                </a:ext>
              </a:extLst>
            </p:cNvPr>
            <p:cNvSpPr/>
            <p:nvPr/>
          </p:nvSpPr>
          <p:spPr>
            <a:xfrm>
              <a:off x="6735411" y="8279660"/>
              <a:ext cx="67500" cy="132065"/>
            </a:xfrm>
            <a:custGeom>
              <a:avLst/>
              <a:gdLst>
                <a:gd name="connsiteX0" fmla="*/ 67500 w 67500"/>
                <a:gd name="connsiteY0" fmla="*/ 0 h 132065"/>
                <a:gd name="connsiteX1" fmla="*/ 2935 w 67500"/>
                <a:gd name="connsiteY1" fmla="*/ 132065 h 132065"/>
                <a:gd name="connsiteX2" fmla="*/ 0 w 67500"/>
                <a:gd name="connsiteY2" fmla="*/ 49891 h 132065"/>
                <a:gd name="connsiteX3" fmla="*/ 67500 w 67500"/>
                <a:gd name="connsiteY3" fmla="*/ 0 h 132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500" h="132065">
                  <a:moveTo>
                    <a:pt x="67500" y="0"/>
                  </a:moveTo>
                  <a:cubicBezTo>
                    <a:pt x="67500" y="0"/>
                    <a:pt x="52826" y="114456"/>
                    <a:pt x="2935" y="132065"/>
                  </a:cubicBezTo>
                  <a:lnTo>
                    <a:pt x="0" y="49891"/>
                  </a:lnTo>
                  <a:lnTo>
                    <a:pt x="67500" y="0"/>
                  </a:lnTo>
                  <a:close/>
                </a:path>
              </a:pathLst>
            </a:custGeom>
            <a:solidFill>
              <a:srgbClr val="664241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2E3036AF-D554-49ED-9DC7-D132C1450B50}"/>
                </a:ext>
              </a:extLst>
            </p:cNvPr>
            <p:cNvSpPr/>
            <p:nvPr/>
          </p:nvSpPr>
          <p:spPr>
            <a:xfrm>
              <a:off x="6361179" y="8077161"/>
              <a:ext cx="98797" cy="228925"/>
            </a:xfrm>
            <a:custGeom>
              <a:avLst/>
              <a:gdLst>
                <a:gd name="connsiteX0" fmla="*/ 7384 w 98797"/>
                <a:gd name="connsiteY0" fmla="*/ 0 h 228925"/>
                <a:gd name="connsiteX1" fmla="*/ 45536 w 98797"/>
                <a:gd name="connsiteY1" fmla="*/ 225978 h 228925"/>
                <a:gd name="connsiteX2" fmla="*/ 98363 w 98797"/>
                <a:gd name="connsiteY2" fmla="*/ 14674 h 228925"/>
                <a:gd name="connsiteX3" fmla="*/ 7384 w 98797"/>
                <a:gd name="connsiteY3" fmla="*/ 0 h 22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797" h="228925">
                  <a:moveTo>
                    <a:pt x="7384" y="0"/>
                  </a:moveTo>
                  <a:cubicBezTo>
                    <a:pt x="7384" y="0"/>
                    <a:pt x="-24899" y="187826"/>
                    <a:pt x="45536" y="225978"/>
                  </a:cubicBezTo>
                  <a:cubicBezTo>
                    <a:pt x="107167" y="258261"/>
                    <a:pt x="98363" y="14674"/>
                    <a:pt x="98363" y="14674"/>
                  </a:cubicBezTo>
                  <a:lnTo>
                    <a:pt x="7384" y="0"/>
                  </a:lnTo>
                  <a:close/>
                </a:path>
              </a:pathLst>
            </a:custGeom>
            <a:solidFill>
              <a:srgbClr val="664241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D541F38A-C184-4D4B-809D-05C9B181B0F6}"/>
                </a:ext>
              </a:extLst>
            </p:cNvPr>
            <p:cNvSpPr/>
            <p:nvPr/>
          </p:nvSpPr>
          <p:spPr>
            <a:xfrm>
              <a:off x="6395354" y="7947152"/>
              <a:ext cx="407557" cy="547328"/>
            </a:xfrm>
            <a:custGeom>
              <a:avLst/>
              <a:gdLst>
                <a:gd name="connsiteX0" fmla="*/ 11362 w 407557"/>
                <a:gd name="connsiteY0" fmla="*/ 174030 h 547328"/>
                <a:gd name="connsiteX1" fmla="*/ 8427 w 407557"/>
                <a:gd name="connsiteY1" fmla="*/ 414682 h 547328"/>
                <a:gd name="connsiteX2" fmla="*/ 161036 w 407557"/>
                <a:gd name="connsiteY2" fmla="*/ 546747 h 547328"/>
                <a:gd name="connsiteX3" fmla="*/ 369405 w 407557"/>
                <a:gd name="connsiteY3" fmla="*/ 411747 h 547328"/>
                <a:gd name="connsiteX4" fmla="*/ 407558 w 407557"/>
                <a:gd name="connsiteY4" fmla="*/ 194573 h 547328"/>
                <a:gd name="connsiteX5" fmla="*/ 205057 w 407557"/>
                <a:gd name="connsiteY5" fmla="*/ 878 h 547328"/>
                <a:gd name="connsiteX6" fmla="*/ 11362 w 407557"/>
                <a:gd name="connsiteY6" fmla="*/ 174030 h 547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7557" h="547328">
                  <a:moveTo>
                    <a:pt x="11362" y="174030"/>
                  </a:moveTo>
                  <a:cubicBezTo>
                    <a:pt x="11362" y="174030"/>
                    <a:pt x="-12116" y="344247"/>
                    <a:pt x="8427" y="414682"/>
                  </a:cubicBezTo>
                  <a:cubicBezTo>
                    <a:pt x="26036" y="479247"/>
                    <a:pt x="111144" y="540878"/>
                    <a:pt x="161036" y="546747"/>
                  </a:cubicBezTo>
                  <a:cubicBezTo>
                    <a:pt x="225601" y="552617"/>
                    <a:pt x="340058" y="514464"/>
                    <a:pt x="369405" y="411747"/>
                  </a:cubicBezTo>
                  <a:cubicBezTo>
                    <a:pt x="389949" y="341313"/>
                    <a:pt x="407558" y="244465"/>
                    <a:pt x="407558" y="194573"/>
                  </a:cubicBezTo>
                  <a:cubicBezTo>
                    <a:pt x="407558" y="103595"/>
                    <a:pt x="381144" y="27291"/>
                    <a:pt x="205057" y="878"/>
                  </a:cubicBezTo>
                  <a:cubicBezTo>
                    <a:pt x="122884" y="-10861"/>
                    <a:pt x="28970" y="97725"/>
                    <a:pt x="11362" y="174030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98C90845-924C-4B7C-82E2-CAAFD504A978}"/>
                </a:ext>
              </a:extLst>
            </p:cNvPr>
            <p:cNvSpPr/>
            <p:nvPr/>
          </p:nvSpPr>
          <p:spPr>
            <a:xfrm>
              <a:off x="6524107" y="8200421"/>
              <a:ext cx="55760" cy="132065"/>
            </a:xfrm>
            <a:custGeom>
              <a:avLst/>
              <a:gdLst>
                <a:gd name="connsiteX0" fmla="*/ 32282 w 55760"/>
                <a:gd name="connsiteY0" fmla="*/ 132065 h 132065"/>
                <a:gd name="connsiteX1" fmla="*/ 5869 w 55760"/>
                <a:gd name="connsiteY1" fmla="*/ 126196 h 132065"/>
                <a:gd name="connsiteX2" fmla="*/ 0 w 55760"/>
                <a:gd name="connsiteY2" fmla="*/ 114456 h 132065"/>
                <a:gd name="connsiteX3" fmla="*/ 17608 w 55760"/>
                <a:gd name="connsiteY3" fmla="*/ 5869 h 132065"/>
                <a:gd name="connsiteX4" fmla="*/ 23478 w 55760"/>
                <a:gd name="connsiteY4" fmla="*/ 0 h 132065"/>
                <a:gd name="connsiteX5" fmla="*/ 29348 w 55760"/>
                <a:gd name="connsiteY5" fmla="*/ 5869 h 132065"/>
                <a:gd name="connsiteX6" fmla="*/ 11739 w 55760"/>
                <a:gd name="connsiteY6" fmla="*/ 114456 h 132065"/>
                <a:gd name="connsiteX7" fmla="*/ 11739 w 55760"/>
                <a:gd name="connsiteY7" fmla="*/ 117391 h 132065"/>
                <a:gd name="connsiteX8" fmla="*/ 49891 w 55760"/>
                <a:gd name="connsiteY8" fmla="*/ 120326 h 132065"/>
                <a:gd name="connsiteX9" fmla="*/ 55761 w 55760"/>
                <a:gd name="connsiteY9" fmla="*/ 126196 h 132065"/>
                <a:gd name="connsiteX10" fmla="*/ 49891 w 55760"/>
                <a:gd name="connsiteY10" fmla="*/ 132065 h 132065"/>
                <a:gd name="connsiteX11" fmla="*/ 32282 w 55760"/>
                <a:gd name="connsiteY11" fmla="*/ 132065 h 132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760" h="132065">
                  <a:moveTo>
                    <a:pt x="32282" y="132065"/>
                  </a:moveTo>
                  <a:cubicBezTo>
                    <a:pt x="23478" y="132065"/>
                    <a:pt x="11739" y="132065"/>
                    <a:pt x="5869" y="126196"/>
                  </a:cubicBezTo>
                  <a:cubicBezTo>
                    <a:pt x="2935" y="123261"/>
                    <a:pt x="0" y="120326"/>
                    <a:pt x="0" y="114456"/>
                  </a:cubicBezTo>
                  <a:cubicBezTo>
                    <a:pt x="0" y="93913"/>
                    <a:pt x="17608" y="8804"/>
                    <a:pt x="17608" y="5869"/>
                  </a:cubicBezTo>
                  <a:cubicBezTo>
                    <a:pt x="17608" y="2935"/>
                    <a:pt x="20543" y="0"/>
                    <a:pt x="23478" y="0"/>
                  </a:cubicBezTo>
                  <a:cubicBezTo>
                    <a:pt x="26413" y="0"/>
                    <a:pt x="29348" y="2935"/>
                    <a:pt x="29348" y="5869"/>
                  </a:cubicBezTo>
                  <a:cubicBezTo>
                    <a:pt x="29348" y="5869"/>
                    <a:pt x="11739" y="93913"/>
                    <a:pt x="11739" y="114456"/>
                  </a:cubicBezTo>
                  <a:cubicBezTo>
                    <a:pt x="11739" y="114456"/>
                    <a:pt x="11739" y="117391"/>
                    <a:pt x="11739" y="117391"/>
                  </a:cubicBezTo>
                  <a:cubicBezTo>
                    <a:pt x="17608" y="123261"/>
                    <a:pt x="38152" y="120326"/>
                    <a:pt x="49891" y="120326"/>
                  </a:cubicBezTo>
                  <a:cubicBezTo>
                    <a:pt x="52826" y="120326"/>
                    <a:pt x="55761" y="123261"/>
                    <a:pt x="55761" y="126196"/>
                  </a:cubicBezTo>
                  <a:cubicBezTo>
                    <a:pt x="55761" y="129130"/>
                    <a:pt x="52826" y="132065"/>
                    <a:pt x="49891" y="132065"/>
                  </a:cubicBezTo>
                  <a:cubicBezTo>
                    <a:pt x="49891" y="132065"/>
                    <a:pt x="41087" y="132065"/>
                    <a:pt x="32282" y="132065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DAF2CA40-96C7-4CFB-B4B8-0D37D564FE40}"/>
                </a:ext>
              </a:extLst>
            </p:cNvPr>
            <p:cNvSpPr/>
            <p:nvPr/>
          </p:nvSpPr>
          <p:spPr>
            <a:xfrm>
              <a:off x="6458966" y="8179302"/>
              <a:ext cx="39303" cy="39303"/>
            </a:xfrm>
            <a:custGeom>
              <a:avLst/>
              <a:gdLst>
                <a:gd name="connsiteX0" fmla="*/ 38728 w 39303"/>
                <a:gd name="connsiteY0" fmla="*/ 24054 h 39303"/>
                <a:gd name="connsiteX1" fmla="*/ 15250 w 39303"/>
                <a:gd name="connsiteY1" fmla="*/ 38728 h 39303"/>
                <a:gd name="connsiteX2" fmla="*/ 576 w 39303"/>
                <a:gd name="connsiteY2" fmla="*/ 15250 h 39303"/>
                <a:gd name="connsiteX3" fmla="*/ 24054 w 39303"/>
                <a:gd name="connsiteY3" fmla="*/ 576 h 39303"/>
                <a:gd name="connsiteX4" fmla="*/ 38728 w 39303"/>
                <a:gd name="connsiteY4" fmla="*/ 24054 h 39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03" h="39303">
                  <a:moveTo>
                    <a:pt x="38728" y="24054"/>
                  </a:moveTo>
                  <a:cubicBezTo>
                    <a:pt x="35793" y="32858"/>
                    <a:pt x="26989" y="41663"/>
                    <a:pt x="15250" y="38728"/>
                  </a:cubicBezTo>
                  <a:cubicBezTo>
                    <a:pt x="6445" y="35793"/>
                    <a:pt x="-2359" y="26989"/>
                    <a:pt x="576" y="15250"/>
                  </a:cubicBezTo>
                  <a:cubicBezTo>
                    <a:pt x="3510" y="6445"/>
                    <a:pt x="12315" y="-2359"/>
                    <a:pt x="24054" y="576"/>
                  </a:cubicBezTo>
                  <a:cubicBezTo>
                    <a:pt x="32858" y="3510"/>
                    <a:pt x="41663" y="12315"/>
                    <a:pt x="38728" y="24054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8696E9AF-D2F6-45C1-8168-D568351D664A}"/>
                </a:ext>
              </a:extLst>
            </p:cNvPr>
            <p:cNvSpPr/>
            <p:nvPr/>
          </p:nvSpPr>
          <p:spPr>
            <a:xfrm>
              <a:off x="6635053" y="8196911"/>
              <a:ext cx="39303" cy="39303"/>
            </a:xfrm>
            <a:custGeom>
              <a:avLst/>
              <a:gdLst>
                <a:gd name="connsiteX0" fmla="*/ 38728 w 39303"/>
                <a:gd name="connsiteY0" fmla="*/ 24054 h 39303"/>
                <a:gd name="connsiteX1" fmla="*/ 15250 w 39303"/>
                <a:gd name="connsiteY1" fmla="*/ 38728 h 39303"/>
                <a:gd name="connsiteX2" fmla="*/ 576 w 39303"/>
                <a:gd name="connsiteY2" fmla="*/ 15250 h 39303"/>
                <a:gd name="connsiteX3" fmla="*/ 24054 w 39303"/>
                <a:gd name="connsiteY3" fmla="*/ 576 h 39303"/>
                <a:gd name="connsiteX4" fmla="*/ 38728 w 39303"/>
                <a:gd name="connsiteY4" fmla="*/ 24054 h 39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03" h="39303">
                  <a:moveTo>
                    <a:pt x="38728" y="24054"/>
                  </a:moveTo>
                  <a:cubicBezTo>
                    <a:pt x="35793" y="32858"/>
                    <a:pt x="26989" y="41663"/>
                    <a:pt x="15250" y="38728"/>
                  </a:cubicBezTo>
                  <a:cubicBezTo>
                    <a:pt x="6445" y="35793"/>
                    <a:pt x="-2359" y="26989"/>
                    <a:pt x="576" y="15250"/>
                  </a:cubicBezTo>
                  <a:cubicBezTo>
                    <a:pt x="3510" y="6445"/>
                    <a:pt x="12315" y="-2359"/>
                    <a:pt x="24054" y="576"/>
                  </a:cubicBezTo>
                  <a:cubicBezTo>
                    <a:pt x="32858" y="3511"/>
                    <a:pt x="41663" y="15250"/>
                    <a:pt x="38728" y="24054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F88C3262-BBAA-4F76-9152-D4549A7836C3}"/>
                </a:ext>
              </a:extLst>
            </p:cNvPr>
            <p:cNvSpPr/>
            <p:nvPr/>
          </p:nvSpPr>
          <p:spPr>
            <a:xfrm>
              <a:off x="6433863" y="8129986"/>
              <a:ext cx="88525" cy="32282"/>
            </a:xfrm>
            <a:custGeom>
              <a:avLst/>
              <a:gdLst>
                <a:gd name="connsiteX0" fmla="*/ 8071 w 88525"/>
                <a:gd name="connsiteY0" fmla="*/ 32283 h 32282"/>
                <a:gd name="connsiteX1" fmla="*/ 2201 w 88525"/>
                <a:gd name="connsiteY1" fmla="*/ 29348 h 32282"/>
                <a:gd name="connsiteX2" fmla="*/ 2201 w 88525"/>
                <a:gd name="connsiteY2" fmla="*/ 17609 h 32282"/>
                <a:gd name="connsiteX3" fmla="*/ 84375 w 88525"/>
                <a:gd name="connsiteY3" fmla="*/ 8804 h 32282"/>
                <a:gd name="connsiteX4" fmla="*/ 87310 w 88525"/>
                <a:gd name="connsiteY4" fmla="*/ 20544 h 32282"/>
                <a:gd name="connsiteX5" fmla="*/ 75571 w 88525"/>
                <a:gd name="connsiteY5" fmla="*/ 23478 h 32282"/>
                <a:gd name="connsiteX6" fmla="*/ 11006 w 88525"/>
                <a:gd name="connsiteY6" fmla="*/ 29348 h 32282"/>
                <a:gd name="connsiteX7" fmla="*/ 8071 w 88525"/>
                <a:gd name="connsiteY7" fmla="*/ 32283 h 32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2282">
                  <a:moveTo>
                    <a:pt x="8071" y="32283"/>
                  </a:moveTo>
                  <a:cubicBezTo>
                    <a:pt x="5136" y="32283"/>
                    <a:pt x="5136" y="32283"/>
                    <a:pt x="2201" y="29348"/>
                  </a:cubicBezTo>
                  <a:cubicBezTo>
                    <a:pt x="-734" y="26413"/>
                    <a:pt x="-734" y="20544"/>
                    <a:pt x="2201" y="17609"/>
                  </a:cubicBezTo>
                  <a:cubicBezTo>
                    <a:pt x="28614" y="-8804"/>
                    <a:pt x="66766" y="0"/>
                    <a:pt x="84375" y="8804"/>
                  </a:cubicBezTo>
                  <a:cubicBezTo>
                    <a:pt x="87310" y="11739"/>
                    <a:pt x="90245" y="14674"/>
                    <a:pt x="87310" y="20544"/>
                  </a:cubicBezTo>
                  <a:cubicBezTo>
                    <a:pt x="84375" y="23478"/>
                    <a:pt x="81440" y="26413"/>
                    <a:pt x="75571" y="23478"/>
                  </a:cubicBezTo>
                  <a:cubicBezTo>
                    <a:pt x="72636" y="23478"/>
                    <a:pt x="37419" y="2935"/>
                    <a:pt x="11006" y="29348"/>
                  </a:cubicBezTo>
                  <a:cubicBezTo>
                    <a:pt x="13940" y="32283"/>
                    <a:pt x="11006" y="32283"/>
                    <a:pt x="8071" y="32283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C66F7388-F9BB-411B-9B71-ECD29A0AC2CD}"/>
                </a:ext>
              </a:extLst>
            </p:cNvPr>
            <p:cNvSpPr/>
            <p:nvPr/>
          </p:nvSpPr>
          <p:spPr>
            <a:xfrm>
              <a:off x="6616804" y="8133900"/>
              <a:ext cx="88525" cy="34238"/>
            </a:xfrm>
            <a:custGeom>
              <a:avLst/>
              <a:gdLst>
                <a:gd name="connsiteX0" fmla="*/ 83390 w 88525"/>
                <a:gd name="connsiteY0" fmla="*/ 34239 h 34238"/>
                <a:gd name="connsiteX1" fmla="*/ 77520 w 88525"/>
                <a:gd name="connsiteY1" fmla="*/ 31304 h 34238"/>
                <a:gd name="connsiteX2" fmla="*/ 12955 w 88525"/>
                <a:gd name="connsiteY2" fmla="*/ 25435 h 34238"/>
                <a:gd name="connsiteX3" fmla="*/ 1216 w 88525"/>
                <a:gd name="connsiteY3" fmla="*/ 22500 h 34238"/>
                <a:gd name="connsiteX4" fmla="*/ 4151 w 88525"/>
                <a:gd name="connsiteY4" fmla="*/ 10761 h 34238"/>
                <a:gd name="connsiteX5" fmla="*/ 86324 w 88525"/>
                <a:gd name="connsiteY5" fmla="*/ 19565 h 34238"/>
                <a:gd name="connsiteX6" fmla="*/ 86324 w 88525"/>
                <a:gd name="connsiteY6" fmla="*/ 31304 h 34238"/>
                <a:gd name="connsiteX7" fmla="*/ 83390 w 88525"/>
                <a:gd name="connsiteY7" fmla="*/ 34239 h 3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4238">
                  <a:moveTo>
                    <a:pt x="83390" y="34239"/>
                  </a:moveTo>
                  <a:cubicBezTo>
                    <a:pt x="80455" y="34239"/>
                    <a:pt x="80455" y="34239"/>
                    <a:pt x="77520" y="31304"/>
                  </a:cubicBezTo>
                  <a:cubicBezTo>
                    <a:pt x="77520" y="31304"/>
                    <a:pt x="48172" y="1957"/>
                    <a:pt x="12955" y="25435"/>
                  </a:cubicBezTo>
                  <a:cubicBezTo>
                    <a:pt x="10020" y="28370"/>
                    <a:pt x="4151" y="25435"/>
                    <a:pt x="1216" y="22500"/>
                  </a:cubicBezTo>
                  <a:cubicBezTo>
                    <a:pt x="-1719" y="19565"/>
                    <a:pt x="1216" y="13696"/>
                    <a:pt x="4151" y="10761"/>
                  </a:cubicBezTo>
                  <a:cubicBezTo>
                    <a:pt x="39368" y="-12717"/>
                    <a:pt x="74585" y="7826"/>
                    <a:pt x="86324" y="19565"/>
                  </a:cubicBezTo>
                  <a:cubicBezTo>
                    <a:pt x="89259" y="22500"/>
                    <a:pt x="89259" y="28370"/>
                    <a:pt x="86324" y="31304"/>
                  </a:cubicBezTo>
                  <a:cubicBezTo>
                    <a:pt x="86324" y="34239"/>
                    <a:pt x="83390" y="34239"/>
                    <a:pt x="83390" y="34239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FA45847E-108A-4A2E-B8F3-8F5A627B3B48}"/>
                </a:ext>
              </a:extLst>
            </p:cNvPr>
            <p:cNvSpPr/>
            <p:nvPr/>
          </p:nvSpPr>
          <p:spPr>
            <a:xfrm>
              <a:off x="6489624" y="8441073"/>
              <a:ext cx="223525" cy="58695"/>
            </a:xfrm>
            <a:custGeom>
              <a:avLst/>
              <a:gdLst>
                <a:gd name="connsiteX0" fmla="*/ 78505 w 223525"/>
                <a:gd name="connsiteY0" fmla="*/ 58696 h 58695"/>
                <a:gd name="connsiteX1" fmla="*/ 78505 w 223525"/>
                <a:gd name="connsiteY1" fmla="*/ 58696 h 58695"/>
                <a:gd name="connsiteX2" fmla="*/ 2201 w 223525"/>
                <a:gd name="connsiteY2" fmla="*/ 32283 h 58695"/>
                <a:gd name="connsiteX3" fmla="*/ 2201 w 223525"/>
                <a:gd name="connsiteY3" fmla="*/ 23478 h 58695"/>
                <a:gd name="connsiteX4" fmla="*/ 11005 w 223525"/>
                <a:gd name="connsiteY4" fmla="*/ 23478 h 58695"/>
                <a:gd name="connsiteX5" fmla="*/ 78505 w 223525"/>
                <a:gd name="connsiteY5" fmla="*/ 46957 h 58695"/>
                <a:gd name="connsiteX6" fmla="*/ 78505 w 223525"/>
                <a:gd name="connsiteY6" fmla="*/ 46957 h 58695"/>
                <a:gd name="connsiteX7" fmla="*/ 213505 w 223525"/>
                <a:gd name="connsiteY7" fmla="*/ 0 h 58695"/>
                <a:gd name="connsiteX8" fmla="*/ 222310 w 223525"/>
                <a:gd name="connsiteY8" fmla="*/ 2935 h 58695"/>
                <a:gd name="connsiteX9" fmla="*/ 219375 w 223525"/>
                <a:gd name="connsiteY9" fmla="*/ 11739 h 58695"/>
                <a:gd name="connsiteX10" fmla="*/ 78505 w 223525"/>
                <a:gd name="connsiteY10" fmla="*/ 58696 h 58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3525" h="58695">
                  <a:moveTo>
                    <a:pt x="78505" y="58696"/>
                  </a:moveTo>
                  <a:cubicBezTo>
                    <a:pt x="78505" y="58696"/>
                    <a:pt x="78505" y="58696"/>
                    <a:pt x="78505" y="58696"/>
                  </a:cubicBezTo>
                  <a:cubicBezTo>
                    <a:pt x="37418" y="58696"/>
                    <a:pt x="5136" y="32283"/>
                    <a:pt x="2201" y="32283"/>
                  </a:cubicBezTo>
                  <a:cubicBezTo>
                    <a:pt x="-734" y="29348"/>
                    <a:pt x="-734" y="26413"/>
                    <a:pt x="2201" y="23478"/>
                  </a:cubicBezTo>
                  <a:cubicBezTo>
                    <a:pt x="5136" y="20543"/>
                    <a:pt x="8070" y="20543"/>
                    <a:pt x="11005" y="23478"/>
                  </a:cubicBezTo>
                  <a:cubicBezTo>
                    <a:pt x="11005" y="23478"/>
                    <a:pt x="40353" y="46957"/>
                    <a:pt x="78505" y="46957"/>
                  </a:cubicBezTo>
                  <a:cubicBezTo>
                    <a:pt x="78505" y="46957"/>
                    <a:pt x="78505" y="46957"/>
                    <a:pt x="78505" y="46957"/>
                  </a:cubicBezTo>
                  <a:cubicBezTo>
                    <a:pt x="125462" y="46957"/>
                    <a:pt x="210571" y="0"/>
                    <a:pt x="213505" y="0"/>
                  </a:cubicBezTo>
                  <a:cubicBezTo>
                    <a:pt x="216440" y="0"/>
                    <a:pt x="219375" y="0"/>
                    <a:pt x="222310" y="2935"/>
                  </a:cubicBezTo>
                  <a:cubicBezTo>
                    <a:pt x="225245" y="5869"/>
                    <a:pt x="222310" y="8804"/>
                    <a:pt x="219375" y="11739"/>
                  </a:cubicBezTo>
                  <a:cubicBezTo>
                    <a:pt x="213505" y="11739"/>
                    <a:pt x="128397" y="58696"/>
                    <a:pt x="78505" y="58696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6005B8D9-E828-4725-807E-F897D2A5CF1B}"/>
                </a:ext>
              </a:extLst>
            </p:cNvPr>
            <p:cNvSpPr/>
            <p:nvPr/>
          </p:nvSpPr>
          <p:spPr>
            <a:xfrm>
              <a:off x="6729542" y="7971508"/>
              <a:ext cx="108891" cy="258260"/>
            </a:xfrm>
            <a:custGeom>
              <a:avLst/>
              <a:gdLst>
                <a:gd name="connsiteX0" fmla="*/ 0 w 108891"/>
                <a:gd name="connsiteY0" fmla="*/ 123261 h 258260"/>
                <a:gd name="connsiteX1" fmla="*/ 46956 w 108891"/>
                <a:gd name="connsiteY1" fmla="*/ 258261 h 258260"/>
                <a:gd name="connsiteX2" fmla="*/ 102717 w 108891"/>
                <a:gd name="connsiteY2" fmla="*/ 161413 h 258260"/>
                <a:gd name="connsiteX3" fmla="*/ 46956 w 108891"/>
                <a:gd name="connsiteY3" fmla="*/ 0 h 258260"/>
                <a:gd name="connsiteX4" fmla="*/ 0 w 108891"/>
                <a:gd name="connsiteY4" fmla="*/ 123261 h 258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891" h="258260">
                  <a:moveTo>
                    <a:pt x="0" y="123261"/>
                  </a:moveTo>
                  <a:cubicBezTo>
                    <a:pt x="0" y="123261"/>
                    <a:pt x="52826" y="228913"/>
                    <a:pt x="46956" y="258261"/>
                  </a:cubicBezTo>
                  <a:cubicBezTo>
                    <a:pt x="46956" y="258261"/>
                    <a:pt x="88043" y="214239"/>
                    <a:pt x="102717" y="161413"/>
                  </a:cubicBezTo>
                  <a:cubicBezTo>
                    <a:pt x="117391" y="105652"/>
                    <a:pt x="108587" y="14674"/>
                    <a:pt x="46956" y="0"/>
                  </a:cubicBezTo>
                  <a:cubicBezTo>
                    <a:pt x="46956" y="0"/>
                    <a:pt x="41087" y="102717"/>
                    <a:pt x="0" y="123261"/>
                  </a:cubicBezTo>
                  <a:close/>
                </a:path>
              </a:pathLst>
            </a:custGeom>
            <a:solidFill>
              <a:srgbClr val="664241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A6B75B42-E825-4C4B-9896-C711787F5A45}"/>
                </a:ext>
              </a:extLst>
            </p:cNvPr>
            <p:cNvSpPr/>
            <p:nvPr/>
          </p:nvSpPr>
          <p:spPr>
            <a:xfrm>
              <a:off x="6303999" y="7855406"/>
              <a:ext cx="483147" cy="248197"/>
            </a:xfrm>
            <a:custGeom>
              <a:avLst/>
              <a:gdLst>
                <a:gd name="connsiteX0" fmla="*/ 425543 w 483147"/>
                <a:gd name="connsiteY0" fmla="*/ 239363 h 248197"/>
                <a:gd name="connsiteX1" fmla="*/ 308152 w 483147"/>
                <a:gd name="connsiteY1" fmla="*/ 201210 h 248197"/>
                <a:gd name="connsiteX2" fmla="*/ 0 w 483147"/>
                <a:gd name="connsiteY2" fmla="*/ 189471 h 248197"/>
                <a:gd name="connsiteX3" fmla="*/ 90978 w 483147"/>
                <a:gd name="connsiteY3" fmla="*/ 130776 h 248197"/>
                <a:gd name="connsiteX4" fmla="*/ 358043 w 483147"/>
                <a:gd name="connsiteY4" fmla="*/ 10449 h 248197"/>
                <a:gd name="connsiteX5" fmla="*/ 472500 w 483147"/>
                <a:gd name="connsiteY5" fmla="*/ 113167 h 248197"/>
                <a:gd name="connsiteX6" fmla="*/ 425543 w 483147"/>
                <a:gd name="connsiteY6" fmla="*/ 239363 h 248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3147" h="248197">
                  <a:moveTo>
                    <a:pt x="425543" y="239363"/>
                  </a:moveTo>
                  <a:cubicBezTo>
                    <a:pt x="425543" y="239363"/>
                    <a:pt x="334565" y="201210"/>
                    <a:pt x="308152" y="201210"/>
                  </a:cubicBezTo>
                  <a:cubicBezTo>
                    <a:pt x="211304" y="204145"/>
                    <a:pt x="88043" y="312732"/>
                    <a:pt x="0" y="189471"/>
                  </a:cubicBezTo>
                  <a:cubicBezTo>
                    <a:pt x="49891" y="201210"/>
                    <a:pt x="73370" y="154254"/>
                    <a:pt x="90978" y="130776"/>
                  </a:cubicBezTo>
                  <a:cubicBezTo>
                    <a:pt x="132065" y="72080"/>
                    <a:pt x="199565" y="-33572"/>
                    <a:pt x="358043" y="10449"/>
                  </a:cubicBezTo>
                  <a:cubicBezTo>
                    <a:pt x="434348" y="30993"/>
                    <a:pt x="466630" y="77950"/>
                    <a:pt x="472500" y="113167"/>
                  </a:cubicBezTo>
                  <a:cubicBezTo>
                    <a:pt x="472500" y="116102"/>
                    <a:pt x="516521" y="227624"/>
                    <a:pt x="425543" y="239363"/>
                  </a:cubicBezTo>
                  <a:close/>
                </a:path>
              </a:pathLst>
            </a:custGeom>
            <a:solidFill>
              <a:srgbClr val="664241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C882E0E3-CB52-4114-916D-D4296C1BB81F}"/>
                </a:ext>
              </a:extLst>
            </p:cNvPr>
            <p:cNvSpPr/>
            <p:nvPr/>
          </p:nvSpPr>
          <p:spPr>
            <a:xfrm>
              <a:off x="6763455" y="8197303"/>
              <a:ext cx="75685" cy="106370"/>
            </a:xfrm>
            <a:custGeom>
              <a:avLst/>
              <a:gdLst>
                <a:gd name="connsiteX0" fmla="*/ 13043 w 75685"/>
                <a:gd name="connsiteY0" fmla="*/ 14857 h 106370"/>
                <a:gd name="connsiteX1" fmla="*/ 68805 w 75685"/>
                <a:gd name="connsiteY1" fmla="*/ 6053 h 106370"/>
                <a:gd name="connsiteX2" fmla="*/ 13043 w 75685"/>
                <a:gd name="connsiteY2" fmla="*/ 102901 h 106370"/>
                <a:gd name="connsiteX3" fmla="*/ 13043 w 75685"/>
                <a:gd name="connsiteY3" fmla="*/ 14857 h 106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685" h="106370">
                  <a:moveTo>
                    <a:pt x="13043" y="14857"/>
                  </a:moveTo>
                  <a:cubicBezTo>
                    <a:pt x="13043" y="14857"/>
                    <a:pt x="45326" y="-11556"/>
                    <a:pt x="68805" y="6053"/>
                  </a:cubicBezTo>
                  <a:cubicBezTo>
                    <a:pt x="92283" y="23662"/>
                    <a:pt x="51196" y="126379"/>
                    <a:pt x="13043" y="102901"/>
                  </a:cubicBezTo>
                  <a:cubicBezTo>
                    <a:pt x="-16304" y="88227"/>
                    <a:pt x="13043" y="14857"/>
                    <a:pt x="13043" y="14857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0E417055-1D3D-4A45-8332-70B167E3A547}"/>
                </a:ext>
              </a:extLst>
            </p:cNvPr>
            <p:cNvSpPr/>
            <p:nvPr/>
          </p:nvSpPr>
          <p:spPr>
            <a:xfrm>
              <a:off x="6720738" y="7986182"/>
              <a:ext cx="70841" cy="231847"/>
            </a:xfrm>
            <a:custGeom>
              <a:avLst/>
              <a:gdLst>
                <a:gd name="connsiteX0" fmla="*/ 55761 w 70841"/>
                <a:gd name="connsiteY0" fmla="*/ 231848 h 231847"/>
                <a:gd name="connsiteX1" fmla="*/ 49891 w 70841"/>
                <a:gd name="connsiteY1" fmla="*/ 225978 h 231847"/>
                <a:gd name="connsiteX2" fmla="*/ 5869 w 70841"/>
                <a:gd name="connsiteY2" fmla="*/ 108587 h 231847"/>
                <a:gd name="connsiteX3" fmla="*/ 0 w 70841"/>
                <a:gd name="connsiteY3" fmla="*/ 102717 h 231847"/>
                <a:gd name="connsiteX4" fmla="*/ 8804 w 70841"/>
                <a:gd name="connsiteY4" fmla="*/ 99782 h 231847"/>
                <a:gd name="connsiteX5" fmla="*/ 55761 w 70841"/>
                <a:gd name="connsiteY5" fmla="*/ 61631 h 231847"/>
                <a:gd name="connsiteX6" fmla="*/ 55761 w 70841"/>
                <a:gd name="connsiteY6" fmla="*/ 5869 h 231847"/>
                <a:gd name="connsiteX7" fmla="*/ 58696 w 70841"/>
                <a:gd name="connsiteY7" fmla="*/ 0 h 231847"/>
                <a:gd name="connsiteX8" fmla="*/ 64565 w 70841"/>
                <a:gd name="connsiteY8" fmla="*/ 2935 h 231847"/>
                <a:gd name="connsiteX9" fmla="*/ 61631 w 70841"/>
                <a:gd name="connsiteY9" fmla="*/ 67500 h 231847"/>
                <a:gd name="connsiteX10" fmla="*/ 14674 w 70841"/>
                <a:gd name="connsiteY10" fmla="*/ 108587 h 231847"/>
                <a:gd name="connsiteX11" fmla="*/ 58696 w 70841"/>
                <a:gd name="connsiteY11" fmla="*/ 225978 h 231847"/>
                <a:gd name="connsiteX12" fmla="*/ 55761 w 70841"/>
                <a:gd name="connsiteY12" fmla="*/ 231848 h 231847"/>
                <a:gd name="connsiteX13" fmla="*/ 55761 w 70841"/>
                <a:gd name="connsiteY13" fmla="*/ 231848 h 231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841" h="231847">
                  <a:moveTo>
                    <a:pt x="55761" y="231848"/>
                  </a:moveTo>
                  <a:cubicBezTo>
                    <a:pt x="52826" y="231848"/>
                    <a:pt x="49891" y="228913"/>
                    <a:pt x="49891" y="225978"/>
                  </a:cubicBezTo>
                  <a:cubicBezTo>
                    <a:pt x="44022" y="167283"/>
                    <a:pt x="5869" y="108587"/>
                    <a:pt x="5869" y="108587"/>
                  </a:cubicBezTo>
                  <a:lnTo>
                    <a:pt x="0" y="102717"/>
                  </a:lnTo>
                  <a:lnTo>
                    <a:pt x="8804" y="99782"/>
                  </a:lnTo>
                  <a:cubicBezTo>
                    <a:pt x="8804" y="99782"/>
                    <a:pt x="41087" y="88043"/>
                    <a:pt x="55761" y="61631"/>
                  </a:cubicBezTo>
                  <a:cubicBezTo>
                    <a:pt x="64565" y="46957"/>
                    <a:pt x="64565" y="26413"/>
                    <a:pt x="55761" y="5869"/>
                  </a:cubicBezTo>
                  <a:cubicBezTo>
                    <a:pt x="55761" y="2935"/>
                    <a:pt x="55761" y="0"/>
                    <a:pt x="58696" y="0"/>
                  </a:cubicBezTo>
                  <a:cubicBezTo>
                    <a:pt x="61631" y="0"/>
                    <a:pt x="64565" y="0"/>
                    <a:pt x="64565" y="2935"/>
                  </a:cubicBezTo>
                  <a:cubicBezTo>
                    <a:pt x="73370" y="26413"/>
                    <a:pt x="73370" y="49891"/>
                    <a:pt x="61631" y="67500"/>
                  </a:cubicBezTo>
                  <a:cubicBezTo>
                    <a:pt x="49891" y="90978"/>
                    <a:pt x="26413" y="102717"/>
                    <a:pt x="14674" y="108587"/>
                  </a:cubicBezTo>
                  <a:cubicBezTo>
                    <a:pt x="26413" y="126196"/>
                    <a:pt x="52826" y="173152"/>
                    <a:pt x="58696" y="225978"/>
                  </a:cubicBezTo>
                  <a:cubicBezTo>
                    <a:pt x="61631" y="228913"/>
                    <a:pt x="58696" y="231848"/>
                    <a:pt x="55761" y="231848"/>
                  </a:cubicBezTo>
                  <a:cubicBezTo>
                    <a:pt x="55761" y="231848"/>
                    <a:pt x="55761" y="231848"/>
                    <a:pt x="55761" y="231848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D023BE69-1AFC-4FBB-BC16-07A2EF0BFC42}"/>
                </a:ext>
              </a:extLst>
            </p:cNvPr>
            <p:cNvSpPr/>
            <p:nvPr/>
          </p:nvSpPr>
          <p:spPr>
            <a:xfrm>
              <a:off x="6428890" y="8027772"/>
              <a:ext cx="187411" cy="34714"/>
            </a:xfrm>
            <a:custGeom>
              <a:avLst/>
              <a:gdLst>
                <a:gd name="connsiteX0" fmla="*/ 183261 w 187411"/>
                <a:gd name="connsiteY0" fmla="*/ 34714 h 34714"/>
                <a:gd name="connsiteX1" fmla="*/ 183261 w 187411"/>
                <a:gd name="connsiteY1" fmla="*/ 34714 h 34714"/>
                <a:gd name="connsiteX2" fmla="*/ 10108 w 187411"/>
                <a:gd name="connsiteY2" fmla="*/ 28844 h 34714"/>
                <a:gd name="connsiteX3" fmla="*/ 1304 w 187411"/>
                <a:gd name="connsiteY3" fmla="*/ 28844 h 34714"/>
                <a:gd name="connsiteX4" fmla="*/ 1304 w 187411"/>
                <a:gd name="connsiteY4" fmla="*/ 20040 h 34714"/>
                <a:gd name="connsiteX5" fmla="*/ 183261 w 187411"/>
                <a:gd name="connsiteY5" fmla="*/ 25910 h 34714"/>
                <a:gd name="connsiteX6" fmla="*/ 186195 w 187411"/>
                <a:gd name="connsiteY6" fmla="*/ 34714 h 34714"/>
                <a:gd name="connsiteX7" fmla="*/ 183261 w 187411"/>
                <a:gd name="connsiteY7" fmla="*/ 34714 h 3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411" h="34714">
                  <a:moveTo>
                    <a:pt x="183261" y="34714"/>
                  </a:moveTo>
                  <a:cubicBezTo>
                    <a:pt x="183261" y="34714"/>
                    <a:pt x="183261" y="34714"/>
                    <a:pt x="183261" y="34714"/>
                  </a:cubicBezTo>
                  <a:cubicBezTo>
                    <a:pt x="180326" y="34714"/>
                    <a:pt x="71739" y="-15177"/>
                    <a:pt x="10108" y="28844"/>
                  </a:cubicBezTo>
                  <a:cubicBezTo>
                    <a:pt x="7174" y="31779"/>
                    <a:pt x="4239" y="28844"/>
                    <a:pt x="1304" y="28844"/>
                  </a:cubicBezTo>
                  <a:cubicBezTo>
                    <a:pt x="-1631" y="25910"/>
                    <a:pt x="1304" y="22975"/>
                    <a:pt x="1304" y="20040"/>
                  </a:cubicBezTo>
                  <a:cubicBezTo>
                    <a:pt x="71739" y="-26916"/>
                    <a:pt x="180326" y="22975"/>
                    <a:pt x="183261" y="25910"/>
                  </a:cubicBezTo>
                  <a:cubicBezTo>
                    <a:pt x="186195" y="25910"/>
                    <a:pt x="186195" y="31779"/>
                    <a:pt x="186195" y="34714"/>
                  </a:cubicBezTo>
                  <a:cubicBezTo>
                    <a:pt x="189130" y="34714"/>
                    <a:pt x="186195" y="34714"/>
                    <a:pt x="183261" y="34714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F8D168A8-8DDF-4B1A-91E3-0901F8507800}"/>
                </a:ext>
              </a:extLst>
            </p:cNvPr>
            <p:cNvSpPr/>
            <p:nvPr/>
          </p:nvSpPr>
          <p:spPr>
            <a:xfrm>
              <a:off x="6080168" y="8552595"/>
              <a:ext cx="1030895" cy="1508301"/>
            </a:xfrm>
            <a:custGeom>
              <a:avLst/>
              <a:gdLst>
                <a:gd name="connsiteX0" fmla="*/ 649374 w 1030895"/>
                <a:gd name="connsiteY0" fmla="*/ 0 h 1508301"/>
                <a:gd name="connsiteX1" fmla="*/ 370570 w 1030895"/>
                <a:gd name="connsiteY1" fmla="*/ 0 h 1508301"/>
                <a:gd name="connsiteX2" fmla="*/ 82961 w 1030895"/>
                <a:gd name="connsiteY2" fmla="*/ 126196 h 1508301"/>
                <a:gd name="connsiteX3" fmla="*/ 787 w 1030895"/>
                <a:gd name="connsiteY3" fmla="*/ 1479131 h 1508301"/>
                <a:gd name="connsiteX4" fmla="*/ 1030896 w 1030895"/>
                <a:gd name="connsiteY4" fmla="*/ 1455652 h 1508301"/>
                <a:gd name="connsiteX5" fmla="*/ 919374 w 1030895"/>
                <a:gd name="connsiteY5" fmla="*/ 99782 h 1508301"/>
                <a:gd name="connsiteX6" fmla="*/ 649374 w 1030895"/>
                <a:gd name="connsiteY6" fmla="*/ 0 h 1508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0895" h="1508301">
                  <a:moveTo>
                    <a:pt x="649374" y="0"/>
                  </a:moveTo>
                  <a:cubicBezTo>
                    <a:pt x="649374" y="0"/>
                    <a:pt x="482091" y="52826"/>
                    <a:pt x="370570" y="0"/>
                  </a:cubicBezTo>
                  <a:cubicBezTo>
                    <a:pt x="370570" y="0"/>
                    <a:pt x="106439" y="93913"/>
                    <a:pt x="82961" y="126196"/>
                  </a:cubicBezTo>
                  <a:cubicBezTo>
                    <a:pt x="59482" y="155544"/>
                    <a:pt x="-8017" y="1414565"/>
                    <a:pt x="787" y="1479131"/>
                  </a:cubicBezTo>
                  <a:cubicBezTo>
                    <a:pt x="787" y="1479131"/>
                    <a:pt x="473287" y="1558369"/>
                    <a:pt x="1030896" y="1455652"/>
                  </a:cubicBezTo>
                  <a:cubicBezTo>
                    <a:pt x="1030896" y="1112283"/>
                    <a:pt x="960461" y="129130"/>
                    <a:pt x="919374" y="99782"/>
                  </a:cubicBezTo>
                  <a:cubicBezTo>
                    <a:pt x="878287" y="70435"/>
                    <a:pt x="649374" y="0"/>
                    <a:pt x="649374" y="0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8804037C-7DE2-45E8-8A7D-61ABA55F714B}"/>
                </a:ext>
              </a:extLst>
            </p:cNvPr>
            <p:cNvSpPr/>
            <p:nvPr/>
          </p:nvSpPr>
          <p:spPr>
            <a:xfrm>
              <a:off x="5881390" y="8639133"/>
              <a:ext cx="433751" cy="588461"/>
            </a:xfrm>
            <a:custGeom>
              <a:avLst/>
              <a:gdLst>
                <a:gd name="connsiteX0" fmla="*/ 372718 w 433751"/>
                <a:gd name="connsiteY0" fmla="*/ 588462 h 588461"/>
                <a:gd name="connsiteX1" fmla="*/ 384456 w 433751"/>
                <a:gd name="connsiteY1" fmla="*/ 10310 h 588461"/>
                <a:gd name="connsiteX2" fmla="*/ 0 w 433751"/>
                <a:gd name="connsiteY2" fmla="*/ 427049 h 588461"/>
                <a:gd name="connsiteX3" fmla="*/ 372718 w 433751"/>
                <a:gd name="connsiteY3" fmla="*/ 588462 h 58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751" h="588461">
                  <a:moveTo>
                    <a:pt x="372718" y="588462"/>
                  </a:moveTo>
                  <a:cubicBezTo>
                    <a:pt x="372718" y="588462"/>
                    <a:pt x="501848" y="86614"/>
                    <a:pt x="384456" y="10310"/>
                  </a:cubicBezTo>
                  <a:cubicBezTo>
                    <a:pt x="246522" y="-77733"/>
                    <a:pt x="0" y="427049"/>
                    <a:pt x="0" y="427049"/>
                  </a:cubicBezTo>
                  <a:cubicBezTo>
                    <a:pt x="0" y="427049"/>
                    <a:pt x="170217" y="570854"/>
                    <a:pt x="372718" y="588462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315A10A1-2D5A-43F8-9E5A-536AB66179FE}"/>
                </a:ext>
              </a:extLst>
            </p:cNvPr>
            <p:cNvSpPr/>
            <p:nvPr/>
          </p:nvSpPr>
          <p:spPr>
            <a:xfrm>
              <a:off x="6119107" y="8671706"/>
              <a:ext cx="51106" cy="532411"/>
            </a:xfrm>
            <a:custGeom>
              <a:avLst/>
              <a:gdLst>
                <a:gd name="connsiteX0" fmla="*/ 5869 w 51106"/>
                <a:gd name="connsiteY0" fmla="*/ 532411 h 532411"/>
                <a:gd name="connsiteX1" fmla="*/ 5869 w 51106"/>
                <a:gd name="connsiteY1" fmla="*/ 532411 h 532411"/>
                <a:gd name="connsiteX2" fmla="*/ 0 w 51106"/>
                <a:gd name="connsiteY2" fmla="*/ 526541 h 532411"/>
                <a:gd name="connsiteX3" fmla="*/ 41087 w 51106"/>
                <a:gd name="connsiteY3" fmla="*/ 4150 h 532411"/>
                <a:gd name="connsiteX4" fmla="*/ 46957 w 51106"/>
                <a:gd name="connsiteY4" fmla="*/ 1216 h 532411"/>
                <a:gd name="connsiteX5" fmla="*/ 49891 w 51106"/>
                <a:gd name="connsiteY5" fmla="*/ 7085 h 532411"/>
                <a:gd name="connsiteX6" fmla="*/ 8804 w 51106"/>
                <a:gd name="connsiteY6" fmla="*/ 526541 h 532411"/>
                <a:gd name="connsiteX7" fmla="*/ 5869 w 51106"/>
                <a:gd name="connsiteY7" fmla="*/ 532411 h 532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106" h="532411">
                  <a:moveTo>
                    <a:pt x="5869" y="532411"/>
                  </a:moveTo>
                  <a:cubicBezTo>
                    <a:pt x="5869" y="532411"/>
                    <a:pt x="5869" y="532411"/>
                    <a:pt x="5869" y="532411"/>
                  </a:cubicBezTo>
                  <a:cubicBezTo>
                    <a:pt x="2935" y="532411"/>
                    <a:pt x="0" y="529476"/>
                    <a:pt x="0" y="526541"/>
                  </a:cubicBezTo>
                  <a:cubicBezTo>
                    <a:pt x="0" y="505998"/>
                    <a:pt x="35217" y="42303"/>
                    <a:pt x="41087" y="4150"/>
                  </a:cubicBezTo>
                  <a:cubicBezTo>
                    <a:pt x="41087" y="1216"/>
                    <a:pt x="44022" y="-1719"/>
                    <a:pt x="46957" y="1216"/>
                  </a:cubicBezTo>
                  <a:cubicBezTo>
                    <a:pt x="49891" y="1216"/>
                    <a:pt x="52826" y="4150"/>
                    <a:pt x="49891" y="7085"/>
                  </a:cubicBezTo>
                  <a:cubicBezTo>
                    <a:pt x="41087" y="45237"/>
                    <a:pt x="8804" y="523607"/>
                    <a:pt x="8804" y="526541"/>
                  </a:cubicBezTo>
                  <a:cubicBezTo>
                    <a:pt x="11739" y="529476"/>
                    <a:pt x="8804" y="532411"/>
                    <a:pt x="5869" y="532411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851D0971-2B76-4782-A40E-B46851310B80}"/>
                </a:ext>
              </a:extLst>
            </p:cNvPr>
            <p:cNvSpPr/>
            <p:nvPr/>
          </p:nvSpPr>
          <p:spPr>
            <a:xfrm>
              <a:off x="6492558" y="8388981"/>
              <a:ext cx="116657" cy="25679"/>
            </a:xfrm>
            <a:custGeom>
              <a:avLst/>
              <a:gdLst>
                <a:gd name="connsiteX0" fmla="*/ 49157 w 116657"/>
                <a:gd name="connsiteY0" fmla="*/ 25680 h 25679"/>
                <a:gd name="connsiteX1" fmla="*/ 2201 w 116657"/>
                <a:gd name="connsiteY1" fmla="*/ 11006 h 25679"/>
                <a:gd name="connsiteX2" fmla="*/ 2201 w 116657"/>
                <a:gd name="connsiteY2" fmla="*/ 2201 h 25679"/>
                <a:gd name="connsiteX3" fmla="*/ 11006 w 116657"/>
                <a:gd name="connsiteY3" fmla="*/ 2201 h 25679"/>
                <a:gd name="connsiteX4" fmla="*/ 107853 w 116657"/>
                <a:gd name="connsiteY4" fmla="*/ 2201 h 25679"/>
                <a:gd name="connsiteX5" fmla="*/ 116658 w 116657"/>
                <a:gd name="connsiteY5" fmla="*/ 5136 h 25679"/>
                <a:gd name="connsiteX6" fmla="*/ 113723 w 116657"/>
                <a:gd name="connsiteY6" fmla="*/ 13940 h 25679"/>
                <a:gd name="connsiteX7" fmla="*/ 49157 w 116657"/>
                <a:gd name="connsiteY7" fmla="*/ 25680 h 2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657" h="25679">
                  <a:moveTo>
                    <a:pt x="49157" y="25680"/>
                  </a:moveTo>
                  <a:cubicBezTo>
                    <a:pt x="31549" y="25680"/>
                    <a:pt x="16875" y="22745"/>
                    <a:pt x="2201" y="11006"/>
                  </a:cubicBezTo>
                  <a:cubicBezTo>
                    <a:pt x="-734" y="8071"/>
                    <a:pt x="-734" y="5136"/>
                    <a:pt x="2201" y="2201"/>
                  </a:cubicBezTo>
                  <a:cubicBezTo>
                    <a:pt x="5136" y="-734"/>
                    <a:pt x="8071" y="-734"/>
                    <a:pt x="11006" y="2201"/>
                  </a:cubicBezTo>
                  <a:cubicBezTo>
                    <a:pt x="49157" y="31549"/>
                    <a:pt x="107853" y="2201"/>
                    <a:pt x="107853" y="2201"/>
                  </a:cubicBezTo>
                  <a:cubicBezTo>
                    <a:pt x="110788" y="2201"/>
                    <a:pt x="113723" y="2201"/>
                    <a:pt x="116658" y="5136"/>
                  </a:cubicBezTo>
                  <a:cubicBezTo>
                    <a:pt x="116658" y="8071"/>
                    <a:pt x="116658" y="11006"/>
                    <a:pt x="113723" y="13940"/>
                  </a:cubicBezTo>
                  <a:cubicBezTo>
                    <a:pt x="107853" y="11006"/>
                    <a:pt x="81440" y="25680"/>
                    <a:pt x="49157" y="25680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F0AD1D03-E021-443C-9752-CF65121857FE}"/>
                </a:ext>
              </a:extLst>
            </p:cNvPr>
            <p:cNvSpPr/>
            <p:nvPr/>
          </p:nvSpPr>
          <p:spPr>
            <a:xfrm>
              <a:off x="5739305" y="9461162"/>
              <a:ext cx="56976" cy="95128"/>
            </a:xfrm>
            <a:custGeom>
              <a:avLst/>
              <a:gdLst>
                <a:gd name="connsiteX0" fmla="*/ 51107 w 56976"/>
                <a:gd name="connsiteY0" fmla="*/ 95129 h 95128"/>
                <a:gd name="connsiteX1" fmla="*/ 45237 w 56976"/>
                <a:gd name="connsiteY1" fmla="*/ 92194 h 95128"/>
                <a:gd name="connsiteX2" fmla="*/ 1216 w 56976"/>
                <a:gd name="connsiteY2" fmla="*/ 10020 h 95128"/>
                <a:gd name="connsiteX3" fmla="*/ 4150 w 56976"/>
                <a:gd name="connsiteY3" fmla="*/ 1215 h 95128"/>
                <a:gd name="connsiteX4" fmla="*/ 12955 w 56976"/>
                <a:gd name="connsiteY4" fmla="*/ 4150 h 95128"/>
                <a:gd name="connsiteX5" fmla="*/ 56977 w 56976"/>
                <a:gd name="connsiteY5" fmla="*/ 86325 h 95128"/>
                <a:gd name="connsiteX6" fmla="*/ 51107 w 56976"/>
                <a:gd name="connsiteY6" fmla="*/ 95129 h 95128"/>
                <a:gd name="connsiteX7" fmla="*/ 51107 w 56976"/>
                <a:gd name="connsiteY7" fmla="*/ 95129 h 95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976" h="95128">
                  <a:moveTo>
                    <a:pt x="51107" y="95129"/>
                  </a:moveTo>
                  <a:cubicBezTo>
                    <a:pt x="48172" y="95129"/>
                    <a:pt x="48172" y="95129"/>
                    <a:pt x="45237" y="92194"/>
                  </a:cubicBezTo>
                  <a:lnTo>
                    <a:pt x="1216" y="10020"/>
                  </a:lnTo>
                  <a:cubicBezTo>
                    <a:pt x="-1719" y="7085"/>
                    <a:pt x="1216" y="4150"/>
                    <a:pt x="4150" y="1215"/>
                  </a:cubicBezTo>
                  <a:cubicBezTo>
                    <a:pt x="7085" y="-1719"/>
                    <a:pt x="10020" y="1215"/>
                    <a:pt x="12955" y="4150"/>
                  </a:cubicBezTo>
                  <a:lnTo>
                    <a:pt x="56977" y="86325"/>
                  </a:lnTo>
                  <a:cubicBezTo>
                    <a:pt x="56977" y="89259"/>
                    <a:pt x="56977" y="92194"/>
                    <a:pt x="51107" y="95129"/>
                  </a:cubicBezTo>
                  <a:cubicBezTo>
                    <a:pt x="51107" y="95129"/>
                    <a:pt x="51107" y="95129"/>
                    <a:pt x="51107" y="95129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4E8C3BC2-F87B-4938-86D1-734FC2E11D64}"/>
                </a:ext>
              </a:extLst>
            </p:cNvPr>
            <p:cNvSpPr/>
            <p:nvPr/>
          </p:nvSpPr>
          <p:spPr>
            <a:xfrm>
              <a:off x="7031825" y="11234987"/>
              <a:ext cx="129130" cy="46955"/>
            </a:xfrm>
            <a:custGeom>
              <a:avLst/>
              <a:gdLst>
                <a:gd name="connsiteX0" fmla="*/ 5869 w 129130"/>
                <a:gd name="connsiteY0" fmla="*/ 46956 h 46955"/>
                <a:gd name="connsiteX1" fmla="*/ 0 w 129130"/>
                <a:gd name="connsiteY1" fmla="*/ 44022 h 46955"/>
                <a:gd name="connsiteX2" fmla="*/ 2935 w 129130"/>
                <a:gd name="connsiteY2" fmla="*/ 38152 h 46955"/>
                <a:gd name="connsiteX3" fmla="*/ 123261 w 129130"/>
                <a:gd name="connsiteY3" fmla="*/ 0 h 46955"/>
                <a:gd name="connsiteX4" fmla="*/ 129130 w 129130"/>
                <a:gd name="connsiteY4" fmla="*/ 2934 h 46955"/>
                <a:gd name="connsiteX5" fmla="*/ 126195 w 129130"/>
                <a:gd name="connsiteY5" fmla="*/ 8804 h 46955"/>
                <a:gd name="connsiteX6" fmla="*/ 5869 w 129130"/>
                <a:gd name="connsiteY6" fmla="*/ 46956 h 46955"/>
                <a:gd name="connsiteX7" fmla="*/ 5869 w 129130"/>
                <a:gd name="connsiteY7" fmla="*/ 46956 h 46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130" h="46955">
                  <a:moveTo>
                    <a:pt x="5869" y="46956"/>
                  </a:moveTo>
                  <a:cubicBezTo>
                    <a:pt x="2935" y="46956"/>
                    <a:pt x="0" y="44022"/>
                    <a:pt x="0" y="44022"/>
                  </a:cubicBezTo>
                  <a:cubicBezTo>
                    <a:pt x="0" y="41087"/>
                    <a:pt x="0" y="38152"/>
                    <a:pt x="2935" y="38152"/>
                  </a:cubicBezTo>
                  <a:lnTo>
                    <a:pt x="123261" y="0"/>
                  </a:lnTo>
                  <a:cubicBezTo>
                    <a:pt x="126195" y="0"/>
                    <a:pt x="129130" y="0"/>
                    <a:pt x="129130" y="2934"/>
                  </a:cubicBezTo>
                  <a:cubicBezTo>
                    <a:pt x="129130" y="5869"/>
                    <a:pt x="129130" y="8804"/>
                    <a:pt x="126195" y="8804"/>
                  </a:cubicBezTo>
                  <a:lnTo>
                    <a:pt x="5869" y="46956"/>
                  </a:lnTo>
                  <a:cubicBezTo>
                    <a:pt x="8804" y="46956"/>
                    <a:pt x="8804" y="46956"/>
                    <a:pt x="5869" y="46956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5D9960FF-5C15-4CB4-B29F-82A4DF188AD6}"/>
                </a:ext>
              </a:extLst>
            </p:cNvPr>
            <p:cNvSpPr/>
            <p:nvPr/>
          </p:nvSpPr>
          <p:spPr>
            <a:xfrm>
              <a:off x="6350816" y="9071827"/>
              <a:ext cx="167434" cy="202724"/>
            </a:xfrm>
            <a:custGeom>
              <a:avLst/>
              <a:gdLst>
                <a:gd name="connsiteX0" fmla="*/ 167422 w 167434"/>
                <a:gd name="connsiteY0" fmla="*/ 202725 h 202724"/>
                <a:gd name="connsiteX1" fmla="*/ 85248 w 167434"/>
                <a:gd name="connsiteY1" fmla="*/ 32508 h 202724"/>
                <a:gd name="connsiteX2" fmla="*/ 6009 w 167434"/>
                <a:gd name="connsiteY2" fmla="*/ 3160 h 202724"/>
                <a:gd name="connsiteX3" fmla="*/ 76444 w 167434"/>
                <a:gd name="connsiteY3" fmla="*/ 105877 h 202724"/>
                <a:gd name="connsiteX4" fmla="*/ 167422 w 167434"/>
                <a:gd name="connsiteY4" fmla="*/ 202725 h 202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434" h="202724">
                  <a:moveTo>
                    <a:pt x="167422" y="202725"/>
                  </a:moveTo>
                  <a:cubicBezTo>
                    <a:pt x="167422" y="202725"/>
                    <a:pt x="170357" y="85333"/>
                    <a:pt x="85248" y="32508"/>
                  </a:cubicBezTo>
                  <a:cubicBezTo>
                    <a:pt x="58835" y="14899"/>
                    <a:pt x="17748" y="-8580"/>
                    <a:pt x="6009" y="3160"/>
                  </a:cubicBezTo>
                  <a:cubicBezTo>
                    <a:pt x="-26274" y="32508"/>
                    <a:pt x="82313" y="70660"/>
                    <a:pt x="76444" y="105877"/>
                  </a:cubicBezTo>
                  <a:cubicBezTo>
                    <a:pt x="76444" y="120551"/>
                    <a:pt x="167422" y="202725"/>
                    <a:pt x="167422" y="202725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6" name="图形 1">
              <a:extLst>
                <a:ext uri="{FF2B5EF4-FFF2-40B4-BE49-F238E27FC236}">
                  <a16:creationId xmlns:a16="http://schemas.microsoft.com/office/drawing/2014/main" id="{49C229A8-E490-41D0-9417-9304EB4E27FF}"/>
                </a:ext>
              </a:extLst>
            </p:cNvPr>
            <p:cNvGrpSpPr/>
            <p:nvPr/>
          </p:nvGrpSpPr>
          <p:grpSpPr>
            <a:xfrm>
              <a:off x="6180642" y="8610448"/>
              <a:ext cx="416935" cy="817555"/>
              <a:chOff x="6180642" y="8610448"/>
              <a:chExt cx="416935" cy="817555"/>
            </a:xfrm>
          </p:grpSpPr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D9024808-D570-4444-B58D-231F8F52C76A}"/>
                  </a:ext>
                </a:extLst>
              </p:cNvPr>
              <p:cNvSpPr/>
              <p:nvPr/>
            </p:nvSpPr>
            <p:spPr>
              <a:xfrm rot="-10223219">
                <a:off x="6331167" y="9031327"/>
                <a:ext cx="58698" cy="363928"/>
              </a:xfrm>
              <a:custGeom>
                <a:avLst/>
                <a:gdLst>
                  <a:gd name="connsiteX0" fmla="*/ 0 w 58698"/>
                  <a:gd name="connsiteY0" fmla="*/ 0 h 363928"/>
                  <a:gd name="connsiteX1" fmla="*/ 58698 w 58698"/>
                  <a:gd name="connsiteY1" fmla="*/ 0 h 363928"/>
                  <a:gd name="connsiteX2" fmla="*/ 58698 w 58698"/>
                  <a:gd name="connsiteY2" fmla="*/ 363929 h 363928"/>
                  <a:gd name="connsiteX3" fmla="*/ 0 w 58698"/>
                  <a:gd name="connsiteY3" fmla="*/ 363929 h 363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698" h="363928">
                    <a:moveTo>
                      <a:pt x="0" y="0"/>
                    </a:moveTo>
                    <a:lnTo>
                      <a:pt x="58698" y="0"/>
                    </a:lnTo>
                    <a:lnTo>
                      <a:pt x="58698" y="363929"/>
                    </a:lnTo>
                    <a:lnTo>
                      <a:pt x="0" y="363929"/>
                    </a:lnTo>
                    <a:close/>
                  </a:path>
                </a:pathLst>
              </a:custGeom>
              <a:solidFill>
                <a:srgbClr val="F1DDBA"/>
              </a:solidFill>
              <a:ln w="29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5635234C-29A0-4094-B607-00F9A5C3BAA4}"/>
                  </a:ext>
                </a:extLst>
              </p:cNvPr>
              <p:cNvSpPr/>
              <p:nvPr/>
            </p:nvSpPr>
            <p:spPr>
              <a:xfrm>
                <a:off x="6180642" y="9354127"/>
                <a:ext cx="302474" cy="73876"/>
              </a:xfrm>
              <a:custGeom>
                <a:avLst/>
                <a:gdLst>
                  <a:gd name="connsiteX0" fmla="*/ 96 w 302474"/>
                  <a:gd name="connsiteY0" fmla="*/ 11403 h 73876"/>
                  <a:gd name="connsiteX1" fmla="*/ 146835 w 302474"/>
                  <a:gd name="connsiteY1" fmla="*/ 64229 h 73876"/>
                  <a:gd name="connsiteX2" fmla="*/ 302378 w 302474"/>
                  <a:gd name="connsiteY2" fmla="*/ 61295 h 73876"/>
                  <a:gd name="connsiteX3" fmla="*/ 155639 w 302474"/>
                  <a:gd name="connsiteY3" fmla="*/ 8468 h 73876"/>
                  <a:gd name="connsiteX4" fmla="*/ 96 w 302474"/>
                  <a:gd name="connsiteY4" fmla="*/ 11403 h 73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2474" h="73876">
                    <a:moveTo>
                      <a:pt x="96" y="11403"/>
                    </a:moveTo>
                    <a:cubicBezTo>
                      <a:pt x="-2839" y="26077"/>
                      <a:pt x="61726" y="49555"/>
                      <a:pt x="146835" y="64229"/>
                    </a:cubicBezTo>
                    <a:cubicBezTo>
                      <a:pt x="229009" y="78903"/>
                      <a:pt x="299444" y="75969"/>
                      <a:pt x="302378" y="61295"/>
                    </a:cubicBezTo>
                    <a:cubicBezTo>
                      <a:pt x="305313" y="46621"/>
                      <a:pt x="240748" y="23142"/>
                      <a:pt x="155639" y="8468"/>
                    </a:cubicBezTo>
                    <a:cubicBezTo>
                      <a:pt x="73466" y="-3271"/>
                      <a:pt x="3031" y="-3271"/>
                      <a:pt x="96" y="11403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BDB94E6F-EFDD-435A-A72A-28950DA03D66}"/>
                  </a:ext>
                </a:extLst>
              </p:cNvPr>
              <p:cNvSpPr/>
              <p:nvPr/>
            </p:nvSpPr>
            <p:spPr>
              <a:xfrm>
                <a:off x="6263398" y="8623030"/>
                <a:ext cx="334078" cy="468336"/>
              </a:xfrm>
              <a:custGeom>
                <a:avLst/>
                <a:gdLst>
                  <a:gd name="connsiteX0" fmla="*/ 119839 w 334078"/>
                  <a:gd name="connsiteY0" fmla="*/ 466631 h 468336"/>
                  <a:gd name="connsiteX1" fmla="*/ 119839 w 334078"/>
                  <a:gd name="connsiteY1" fmla="*/ 466631 h 468336"/>
                  <a:gd name="connsiteX2" fmla="*/ 284187 w 334078"/>
                  <a:gd name="connsiteY2" fmla="*/ 349239 h 468336"/>
                  <a:gd name="connsiteX3" fmla="*/ 334079 w 334078"/>
                  <a:gd name="connsiteY3" fmla="*/ 46957 h 468336"/>
                  <a:gd name="connsiteX4" fmla="*/ 52339 w 334078"/>
                  <a:gd name="connsiteY4" fmla="*/ 0 h 468336"/>
                  <a:gd name="connsiteX5" fmla="*/ 2448 w 334078"/>
                  <a:gd name="connsiteY5" fmla="*/ 302283 h 468336"/>
                  <a:gd name="connsiteX6" fmla="*/ 119839 w 334078"/>
                  <a:gd name="connsiteY6" fmla="*/ 466631 h 468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4078" h="468336">
                    <a:moveTo>
                      <a:pt x="119839" y="466631"/>
                    </a:moveTo>
                    <a:lnTo>
                      <a:pt x="119839" y="466631"/>
                    </a:lnTo>
                    <a:cubicBezTo>
                      <a:pt x="199078" y="478370"/>
                      <a:pt x="272448" y="428478"/>
                      <a:pt x="284187" y="349239"/>
                    </a:cubicBezTo>
                    <a:lnTo>
                      <a:pt x="334079" y="46957"/>
                    </a:lnTo>
                    <a:lnTo>
                      <a:pt x="52339" y="0"/>
                    </a:lnTo>
                    <a:lnTo>
                      <a:pt x="2448" y="302283"/>
                    </a:lnTo>
                    <a:cubicBezTo>
                      <a:pt x="-12226" y="378587"/>
                      <a:pt x="40600" y="451957"/>
                      <a:pt x="119839" y="466631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3CDA05FB-2B06-4492-BA45-16A4D8F2CC27}"/>
                  </a:ext>
                </a:extLst>
              </p:cNvPr>
              <p:cNvSpPr/>
              <p:nvPr/>
            </p:nvSpPr>
            <p:spPr>
              <a:xfrm>
                <a:off x="6287428" y="8810856"/>
                <a:ext cx="257222" cy="254284"/>
              </a:xfrm>
              <a:custGeom>
                <a:avLst/>
                <a:gdLst>
                  <a:gd name="connsiteX0" fmla="*/ 98745 w 257222"/>
                  <a:gd name="connsiteY0" fmla="*/ 252391 h 254284"/>
                  <a:gd name="connsiteX1" fmla="*/ 98745 w 257222"/>
                  <a:gd name="connsiteY1" fmla="*/ 252391 h 254284"/>
                  <a:gd name="connsiteX2" fmla="*/ 239614 w 257222"/>
                  <a:gd name="connsiteY2" fmla="*/ 152609 h 254284"/>
                  <a:gd name="connsiteX3" fmla="*/ 257223 w 257222"/>
                  <a:gd name="connsiteY3" fmla="*/ 41087 h 254284"/>
                  <a:gd name="connsiteX4" fmla="*/ 19505 w 257222"/>
                  <a:gd name="connsiteY4" fmla="*/ 0 h 254284"/>
                  <a:gd name="connsiteX5" fmla="*/ 1897 w 257222"/>
                  <a:gd name="connsiteY5" fmla="*/ 111521 h 254284"/>
                  <a:gd name="connsiteX6" fmla="*/ 98745 w 257222"/>
                  <a:gd name="connsiteY6" fmla="*/ 252391 h 254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7222" h="254284">
                    <a:moveTo>
                      <a:pt x="98745" y="252391"/>
                    </a:moveTo>
                    <a:lnTo>
                      <a:pt x="98745" y="252391"/>
                    </a:lnTo>
                    <a:cubicBezTo>
                      <a:pt x="163310" y="264130"/>
                      <a:pt x="227875" y="220109"/>
                      <a:pt x="239614" y="152609"/>
                    </a:cubicBezTo>
                    <a:lnTo>
                      <a:pt x="257223" y="41087"/>
                    </a:lnTo>
                    <a:lnTo>
                      <a:pt x="19505" y="0"/>
                    </a:lnTo>
                    <a:lnTo>
                      <a:pt x="1897" y="111521"/>
                    </a:lnTo>
                    <a:cubicBezTo>
                      <a:pt x="-9843" y="179021"/>
                      <a:pt x="34179" y="240652"/>
                      <a:pt x="98745" y="252391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622492C6-09E2-48E1-91E6-8588B90F7977}"/>
                  </a:ext>
                </a:extLst>
              </p:cNvPr>
              <p:cNvSpPr/>
              <p:nvPr/>
            </p:nvSpPr>
            <p:spPr>
              <a:xfrm>
                <a:off x="6315637" y="8610448"/>
                <a:ext cx="281940" cy="73876"/>
              </a:xfrm>
              <a:custGeom>
                <a:avLst/>
                <a:gdLst>
                  <a:gd name="connsiteX0" fmla="*/ 101 w 281940"/>
                  <a:gd name="connsiteY0" fmla="*/ 12582 h 73876"/>
                  <a:gd name="connsiteX1" fmla="*/ 135101 w 281940"/>
                  <a:gd name="connsiteY1" fmla="*/ 65408 h 73876"/>
                  <a:gd name="connsiteX2" fmla="*/ 281840 w 281940"/>
                  <a:gd name="connsiteY2" fmla="*/ 62473 h 73876"/>
                  <a:gd name="connsiteX3" fmla="*/ 146840 w 281940"/>
                  <a:gd name="connsiteY3" fmla="*/ 9647 h 73876"/>
                  <a:gd name="connsiteX4" fmla="*/ 101 w 281940"/>
                  <a:gd name="connsiteY4" fmla="*/ 12582 h 73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1940" h="73876">
                    <a:moveTo>
                      <a:pt x="101" y="12582"/>
                    </a:moveTo>
                    <a:cubicBezTo>
                      <a:pt x="-2834" y="27256"/>
                      <a:pt x="58796" y="50734"/>
                      <a:pt x="135101" y="65408"/>
                    </a:cubicBezTo>
                    <a:cubicBezTo>
                      <a:pt x="214340" y="77147"/>
                      <a:pt x="278905" y="77147"/>
                      <a:pt x="281840" y="62473"/>
                    </a:cubicBezTo>
                    <a:cubicBezTo>
                      <a:pt x="284774" y="47799"/>
                      <a:pt x="223144" y="24321"/>
                      <a:pt x="146840" y="9647"/>
                    </a:cubicBezTo>
                    <a:cubicBezTo>
                      <a:pt x="67601" y="-5026"/>
                      <a:pt x="3036" y="-2092"/>
                      <a:pt x="101" y="12582"/>
                    </a:cubicBezTo>
                    <a:close/>
                  </a:path>
                </a:pathLst>
              </a:custGeom>
              <a:solidFill>
                <a:srgbClr val="E5CDA5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7" name="图形 1">
              <a:extLst>
                <a:ext uri="{FF2B5EF4-FFF2-40B4-BE49-F238E27FC236}">
                  <a16:creationId xmlns:a16="http://schemas.microsoft.com/office/drawing/2014/main" id="{D8717C95-C3DD-43F2-8195-6C3CD34DFA4E}"/>
                </a:ext>
              </a:extLst>
            </p:cNvPr>
            <p:cNvGrpSpPr/>
            <p:nvPr/>
          </p:nvGrpSpPr>
          <p:grpSpPr>
            <a:xfrm>
              <a:off x="6283455" y="9130747"/>
              <a:ext cx="273182" cy="292067"/>
              <a:chOff x="6283455" y="9130747"/>
              <a:chExt cx="273182" cy="292067"/>
            </a:xfrm>
          </p:grpSpPr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CE8B33BF-BF81-484F-B055-3D7549F5FBAE}"/>
                  </a:ext>
                </a:extLst>
              </p:cNvPr>
              <p:cNvSpPr/>
              <p:nvPr/>
            </p:nvSpPr>
            <p:spPr>
              <a:xfrm>
                <a:off x="6283455" y="9134759"/>
                <a:ext cx="273182" cy="288056"/>
              </a:xfrm>
              <a:custGeom>
                <a:avLst/>
                <a:gdLst>
                  <a:gd name="connsiteX0" fmla="*/ 220109 w 273182"/>
                  <a:gd name="connsiteY0" fmla="*/ 277728 h 288056"/>
                  <a:gd name="connsiteX1" fmla="*/ 272934 w 273182"/>
                  <a:gd name="connsiteY1" fmla="*/ 204359 h 288056"/>
                  <a:gd name="connsiteX2" fmla="*/ 108587 w 273182"/>
                  <a:gd name="connsiteY2" fmla="*/ 16532 h 288056"/>
                  <a:gd name="connsiteX3" fmla="*/ 44022 w 273182"/>
                  <a:gd name="connsiteY3" fmla="*/ 13598 h 288056"/>
                  <a:gd name="connsiteX4" fmla="*/ 38152 w 273182"/>
                  <a:gd name="connsiteY4" fmla="*/ 51749 h 288056"/>
                  <a:gd name="connsiteX5" fmla="*/ 17608 w 273182"/>
                  <a:gd name="connsiteY5" fmla="*/ 104576 h 288056"/>
                  <a:gd name="connsiteX6" fmla="*/ 0 w 273182"/>
                  <a:gd name="connsiteY6" fmla="*/ 133924 h 288056"/>
                  <a:gd name="connsiteX7" fmla="*/ 20543 w 273182"/>
                  <a:gd name="connsiteY7" fmla="*/ 169141 h 288056"/>
                  <a:gd name="connsiteX8" fmla="*/ 23478 w 273182"/>
                  <a:gd name="connsiteY8" fmla="*/ 224901 h 288056"/>
                  <a:gd name="connsiteX9" fmla="*/ 108587 w 273182"/>
                  <a:gd name="connsiteY9" fmla="*/ 239575 h 288056"/>
                  <a:gd name="connsiteX10" fmla="*/ 220109 w 273182"/>
                  <a:gd name="connsiteY10" fmla="*/ 277728 h 288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3182" h="288056">
                    <a:moveTo>
                      <a:pt x="220109" y="277728"/>
                    </a:moveTo>
                    <a:cubicBezTo>
                      <a:pt x="252391" y="245445"/>
                      <a:pt x="275869" y="201424"/>
                      <a:pt x="272934" y="204359"/>
                    </a:cubicBezTo>
                    <a:cubicBezTo>
                      <a:pt x="252391" y="148598"/>
                      <a:pt x="196630" y="48815"/>
                      <a:pt x="108587" y="16532"/>
                    </a:cubicBezTo>
                    <a:cubicBezTo>
                      <a:pt x="93913" y="10663"/>
                      <a:pt x="64565" y="-15750"/>
                      <a:pt x="44022" y="13598"/>
                    </a:cubicBezTo>
                    <a:cubicBezTo>
                      <a:pt x="38152" y="22402"/>
                      <a:pt x="26413" y="37076"/>
                      <a:pt x="38152" y="51749"/>
                    </a:cubicBezTo>
                    <a:cubicBezTo>
                      <a:pt x="14674" y="54684"/>
                      <a:pt x="2935" y="95771"/>
                      <a:pt x="17608" y="104576"/>
                    </a:cubicBezTo>
                    <a:cubicBezTo>
                      <a:pt x="11739" y="107510"/>
                      <a:pt x="0" y="125119"/>
                      <a:pt x="0" y="133924"/>
                    </a:cubicBezTo>
                    <a:cubicBezTo>
                      <a:pt x="0" y="154467"/>
                      <a:pt x="2935" y="163272"/>
                      <a:pt x="20543" y="169141"/>
                    </a:cubicBezTo>
                    <a:cubicBezTo>
                      <a:pt x="2935" y="183815"/>
                      <a:pt x="0" y="210228"/>
                      <a:pt x="23478" y="224901"/>
                    </a:cubicBezTo>
                    <a:cubicBezTo>
                      <a:pt x="55761" y="242510"/>
                      <a:pt x="73370" y="227836"/>
                      <a:pt x="108587" y="239575"/>
                    </a:cubicBezTo>
                    <a:cubicBezTo>
                      <a:pt x="158478" y="289467"/>
                      <a:pt x="202500" y="298271"/>
                      <a:pt x="220109" y="277728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B0EF6290-BCED-4C1C-91AC-1044D2882562}"/>
                  </a:ext>
                </a:extLst>
              </p:cNvPr>
              <p:cNvSpPr/>
              <p:nvPr/>
            </p:nvSpPr>
            <p:spPr>
              <a:xfrm>
                <a:off x="6323075" y="9130747"/>
                <a:ext cx="156277" cy="73369"/>
              </a:xfrm>
              <a:custGeom>
                <a:avLst/>
                <a:gdLst>
                  <a:gd name="connsiteX0" fmla="*/ 148207 w 156277"/>
                  <a:gd name="connsiteY0" fmla="*/ 73370 h 73369"/>
                  <a:gd name="connsiteX1" fmla="*/ 145272 w 156277"/>
                  <a:gd name="connsiteY1" fmla="*/ 73370 h 73369"/>
                  <a:gd name="connsiteX2" fmla="*/ 30815 w 156277"/>
                  <a:gd name="connsiteY2" fmla="*/ 11739 h 73369"/>
                  <a:gd name="connsiteX3" fmla="*/ 30815 w 156277"/>
                  <a:gd name="connsiteY3" fmla="*/ 11739 h 73369"/>
                  <a:gd name="connsiteX4" fmla="*/ 13206 w 156277"/>
                  <a:gd name="connsiteY4" fmla="*/ 17609 h 73369"/>
                  <a:gd name="connsiteX5" fmla="*/ 10272 w 156277"/>
                  <a:gd name="connsiteY5" fmla="*/ 55761 h 73369"/>
                  <a:gd name="connsiteX6" fmla="*/ 7337 w 156277"/>
                  <a:gd name="connsiteY6" fmla="*/ 61631 h 73369"/>
                  <a:gd name="connsiteX7" fmla="*/ 1467 w 156277"/>
                  <a:gd name="connsiteY7" fmla="*/ 58696 h 73369"/>
                  <a:gd name="connsiteX8" fmla="*/ 7337 w 156277"/>
                  <a:gd name="connsiteY8" fmla="*/ 11739 h 73369"/>
                  <a:gd name="connsiteX9" fmla="*/ 33750 w 156277"/>
                  <a:gd name="connsiteY9" fmla="*/ 0 h 73369"/>
                  <a:gd name="connsiteX10" fmla="*/ 33750 w 156277"/>
                  <a:gd name="connsiteY10" fmla="*/ 0 h 73369"/>
                  <a:gd name="connsiteX11" fmla="*/ 154076 w 156277"/>
                  <a:gd name="connsiteY11" fmla="*/ 64566 h 73369"/>
                  <a:gd name="connsiteX12" fmla="*/ 154076 w 156277"/>
                  <a:gd name="connsiteY12" fmla="*/ 73370 h 73369"/>
                  <a:gd name="connsiteX13" fmla="*/ 148207 w 156277"/>
                  <a:gd name="connsiteY13" fmla="*/ 73370 h 73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6277" h="73369">
                    <a:moveTo>
                      <a:pt x="148207" y="73370"/>
                    </a:moveTo>
                    <a:cubicBezTo>
                      <a:pt x="148207" y="73370"/>
                      <a:pt x="145272" y="73370"/>
                      <a:pt x="145272" y="73370"/>
                    </a:cubicBezTo>
                    <a:cubicBezTo>
                      <a:pt x="145272" y="73370"/>
                      <a:pt x="74837" y="11739"/>
                      <a:pt x="30815" y="11739"/>
                    </a:cubicBezTo>
                    <a:cubicBezTo>
                      <a:pt x="30815" y="11739"/>
                      <a:pt x="30815" y="11739"/>
                      <a:pt x="30815" y="11739"/>
                    </a:cubicBezTo>
                    <a:cubicBezTo>
                      <a:pt x="22011" y="11739"/>
                      <a:pt x="19076" y="14674"/>
                      <a:pt x="13206" y="17609"/>
                    </a:cubicBezTo>
                    <a:cubicBezTo>
                      <a:pt x="4402" y="29348"/>
                      <a:pt x="7337" y="46957"/>
                      <a:pt x="10272" y="55761"/>
                    </a:cubicBezTo>
                    <a:cubicBezTo>
                      <a:pt x="10272" y="58696"/>
                      <a:pt x="10272" y="61631"/>
                      <a:pt x="7337" y="61631"/>
                    </a:cubicBezTo>
                    <a:cubicBezTo>
                      <a:pt x="4402" y="61631"/>
                      <a:pt x="1467" y="61631"/>
                      <a:pt x="1467" y="58696"/>
                    </a:cubicBezTo>
                    <a:cubicBezTo>
                      <a:pt x="1467" y="58696"/>
                      <a:pt x="-4402" y="29348"/>
                      <a:pt x="7337" y="11739"/>
                    </a:cubicBezTo>
                    <a:cubicBezTo>
                      <a:pt x="13206" y="2935"/>
                      <a:pt x="22011" y="0"/>
                      <a:pt x="33750" y="0"/>
                    </a:cubicBezTo>
                    <a:cubicBezTo>
                      <a:pt x="33750" y="0"/>
                      <a:pt x="33750" y="0"/>
                      <a:pt x="33750" y="0"/>
                    </a:cubicBezTo>
                    <a:cubicBezTo>
                      <a:pt x="80706" y="0"/>
                      <a:pt x="151141" y="61631"/>
                      <a:pt x="154076" y="64566"/>
                    </a:cubicBezTo>
                    <a:cubicBezTo>
                      <a:pt x="157011" y="67500"/>
                      <a:pt x="157011" y="70435"/>
                      <a:pt x="154076" y="73370"/>
                    </a:cubicBezTo>
                    <a:cubicBezTo>
                      <a:pt x="151141" y="70435"/>
                      <a:pt x="148207" y="73370"/>
                      <a:pt x="148207" y="7337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393ECCC2-9C50-4461-86E2-1F2D74423EE6}"/>
                  </a:ext>
                </a:extLst>
              </p:cNvPr>
              <p:cNvSpPr/>
              <p:nvPr/>
            </p:nvSpPr>
            <p:spPr>
              <a:xfrm>
                <a:off x="6342151" y="9212921"/>
                <a:ext cx="17608" cy="96848"/>
              </a:xfrm>
              <a:custGeom>
                <a:avLst/>
                <a:gdLst>
                  <a:gd name="connsiteX0" fmla="*/ 5869 w 17608"/>
                  <a:gd name="connsiteY0" fmla="*/ 96848 h 96848"/>
                  <a:gd name="connsiteX1" fmla="*/ 5869 w 17608"/>
                  <a:gd name="connsiteY1" fmla="*/ 96848 h 96848"/>
                  <a:gd name="connsiteX2" fmla="*/ 0 w 17608"/>
                  <a:gd name="connsiteY2" fmla="*/ 90978 h 96848"/>
                  <a:gd name="connsiteX3" fmla="*/ 8804 w 17608"/>
                  <a:gd name="connsiteY3" fmla="*/ 2935 h 96848"/>
                  <a:gd name="connsiteX4" fmla="*/ 14674 w 17608"/>
                  <a:gd name="connsiteY4" fmla="*/ 0 h 96848"/>
                  <a:gd name="connsiteX5" fmla="*/ 17608 w 17608"/>
                  <a:gd name="connsiteY5" fmla="*/ 5870 h 96848"/>
                  <a:gd name="connsiteX6" fmla="*/ 8804 w 17608"/>
                  <a:gd name="connsiteY6" fmla="*/ 90978 h 96848"/>
                  <a:gd name="connsiteX7" fmla="*/ 5869 w 17608"/>
                  <a:gd name="connsiteY7" fmla="*/ 96848 h 96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608" h="96848">
                    <a:moveTo>
                      <a:pt x="5869" y="96848"/>
                    </a:moveTo>
                    <a:cubicBezTo>
                      <a:pt x="5869" y="96848"/>
                      <a:pt x="2935" y="96848"/>
                      <a:pt x="5869" y="96848"/>
                    </a:cubicBezTo>
                    <a:cubicBezTo>
                      <a:pt x="2935" y="96848"/>
                      <a:pt x="0" y="93913"/>
                      <a:pt x="0" y="90978"/>
                    </a:cubicBezTo>
                    <a:cubicBezTo>
                      <a:pt x="0" y="88043"/>
                      <a:pt x="0" y="23479"/>
                      <a:pt x="8804" y="2935"/>
                    </a:cubicBezTo>
                    <a:cubicBezTo>
                      <a:pt x="8804" y="0"/>
                      <a:pt x="11739" y="0"/>
                      <a:pt x="14674" y="0"/>
                    </a:cubicBezTo>
                    <a:cubicBezTo>
                      <a:pt x="17608" y="0"/>
                      <a:pt x="17608" y="2935"/>
                      <a:pt x="17608" y="5870"/>
                    </a:cubicBezTo>
                    <a:cubicBezTo>
                      <a:pt x="11739" y="20544"/>
                      <a:pt x="8804" y="70436"/>
                      <a:pt x="8804" y="90978"/>
                    </a:cubicBezTo>
                    <a:cubicBezTo>
                      <a:pt x="8804" y="93913"/>
                      <a:pt x="8804" y="96848"/>
                      <a:pt x="5869" y="96848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728F5E88-B96F-4FE1-AB8A-142D073C91A3}"/>
                </a:ext>
              </a:extLst>
            </p:cNvPr>
            <p:cNvSpPr/>
            <p:nvPr/>
          </p:nvSpPr>
          <p:spPr>
            <a:xfrm>
              <a:off x="6981933" y="9092595"/>
              <a:ext cx="284081" cy="672048"/>
            </a:xfrm>
            <a:custGeom>
              <a:avLst/>
              <a:gdLst>
                <a:gd name="connsiteX0" fmla="*/ 0 w 284081"/>
                <a:gd name="connsiteY0" fmla="*/ 26413 h 672048"/>
                <a:gd name="connsiteX1" fmla="*/ 64566 w 284081"/>
                <a:gd name="connsiteY1" fmla="*/ 534130 h 672048"/>
                <a:gd name="connsiteX2" fmla="*/ 231848 w 284081"/>
                <a:gd name="connsiteY2" fmla="*/ 654457 h 672048"/>
                <a:gd name="connsiteX3" fmla="*/ 261196 w 284081"/>
                <a:gd name="connsiteY3" fmla="*/ 0 h 672048"/>
                <a:gd name="connsiteX4" fmla="*/ 0 w 284081"/>
                <a:gd name="connsiteY4" fmla="*/ 26413 h 672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4081" h="672048">
                  <a:moveTo>
                    <a:pt x="0" y="26413"/>
                  </a:moveTo>
                  <a:lnTo>
                    <a:pt x="64566" y="534130"/>
                  </a:lnTo>
                  <a:cubicBezTo>
                    <a:pt x="64566" y="534130"/>
                    <a:pt x="135000" y="730761"/>
                    <a:pt x="231848" y="654457"/>
                  </a:cubicBezTo>
                  <a:cubicBezTo>
                    <a:pt x="328696" y="578152"/>
                    <a:pt x="261196" y="0"/>
                    <a:pt x="261196" y="0"/>
                  </a:cubicBezTo>
                  <a:lnTo>
                    <a:pt x="0" y="26413"/>
                  </a:ln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56282EC0-F3DA-44D9-8055-4E0402B673E6}"/>
                </a:ext>
              </a:extLst>
            </p:cNvPr>
            <p:cNvSpPr/>
            <p:nvPr/>
          </p:nvSpPr>
          <p:spPr>
            <a:xfrm>
              <a:off x="6888440" y="8652378"/>
              <a:ext cx="413385" cy="561950"/>
            </a:xfrm>
            <a:custGeom>
              <a:avLst/>
              <a:gdLst>
                <a:gd name="connsiteX0" fmla="*/ 413385 w 413385"/>
                <a:gd name="connsiteY0" fmla="*/ 493044 h 561950"/>
                <a:gd name="connsiteX1" fmla="*/ 114037 w 413385"/>
                <a:gd name="connsiteY1" fmla="*/ 0 h 561950"/>
                <a:gd name="connsiteX2" fmla="*/ 11320 w 413385"/>
                <a:gd name="connsiteY2" fmla="*/ 557609 h 561950"/>
                <a:gd name="connsiteX3" fmla="*/ 413385 w 413385"/>
                <a:gd name="connsiteY3" fmla="*/ 493044 h 5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3385" h="561950">
                  <a:moveTo>
                    <a:pt x="413385" y="493044"/>
                  </a:moveTo>
                  <a:cubicBezTo>
                    <a:pt x="413385" y="493044"/>
                    <a:pt x="254907" y="0"/>
                    <a:pt x="114037" y="0"/>
                  </a:cubicBezTo>
                  <a:cubicBezTo>
                    <a:pt x="-50311" y="0"/>
                    <a:pt x="11320" y="557609"/>
                    <a:pt x="11320" y="557609"/>
                  </a:cubicBezTo>
                  <a:cubicBezTo>
                    <a:pt x="11320" y="557609"/>
                    <a:pt x="231429" y="586957"/>
                    <a:pt x="413385" y="493044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25AEF75D-1315-4F8E-8D6F-D43266B31CE6}"/>
                </a:ext>
              </a:extLst>
            </p:cNvPr>
            <p:cNvSpPr/>
            <p:nvPr/>
          </p:nvSpPr>
          <p:spPr>
            <a:xfrm>
              <a:off x="6887421" y="8643573"/>
              <a:ext cx="117990" cy="551739"/>
            </a:xfrm>
            <a:custGeom>
              <a:avLst/>
              <a:gdLst>
                <a:gd name="connsiteX0" fmla="*/ 12338 w 117990"/>
                <a:gd name="connsiteY0" fmla="*/ 551740 h 551739"/>
                <a:gd name="connsiteX1" fmla="*/ 6468 w 117990"/>
                <a:gd name="connsiteY1" fmla="*/ 545870 h 551739"/>
                <a:gd name="connsiteX2" fmla="*/ 599 w 117990"/>
                <a:gd name="connsiteY2" fmla="*/ 217174 h 551739"/>
                <a:gd name="connsiteX3" fmla="*/ 112121 w 117990"/>
                <a:gd name="connsiteY3" fmla="*/ 0 h 551739"/>
                <a:gd name="connsiteX4" fmla="*/ 117990 w 117990"/>
                <a:gd name="connsiteY4" fmla="*/ 2935 h 551739"/>
                <a:gd name="connsiteX5" fmla="*/ 115056 w 117990"/>
                <a:gd name="connsiteY5" fmla="*/ 8804 h 551739"/>
                <a:gd name="connsiteX6" fmla="*/ 9403 w 117990"/>
                <a:gd name="connsiteY6" fmla="*/ 214239 h 551739"/>
                <a:gd name="connsiteX7" fmla="*/ 15273 w 117990"/>
                <a:gd name="connsiteY7" fmla="*/ 542935 h 551739"/>
                <a:gd name="connsiteX8" fmla="*/ 12338 w 117990"/>
                <a:gd name="connsiteY8" fmla="*/ 551740 h 551739"/>
                <a:gd name="connsiteX9" fmla="*/ 12338 w 117990"/>
                <a:gd name="connsiteY9" fmla="*/ 551740 h 551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990" h="551739">
                  <a:moveTo>
                    <a:pt x="12338" y="551740"/>
                  </a:moveTo>
                  <a:cubicBezTo>
                    <a:pt x="9403" y="551740"/>
                    <a:pt x="6468" y="548805"/>
                    <a:pt x="6468" y="545870"/>
                  </a:cubicBezTo>
                  <a:cubicBezTo>
                    <a:pt x="6468" y="542935"/>
                    <a:pt x="-2336" y="393261"/>
                    <a:pt x="599" y="217174"/>
                  </a:cubicBezTo>
                  <a:cubicBezTo>
                    <a:pt x="3534" y="38152"/>
                    <a:pt x="109186" y="2935"/>
                    <a:pt x="112121" y="0"/>
                  </a:cubicBezTo>
                  <a:cubicBezTo>
                    <a:pt x="115056" y="0"/>
                    <a:pt x="117990" y="0"/>
                    <a:pt x="117990" y="2935"/>
                  </a:cubicBezTo>
                  <a:cubicBezTo>
                    <a:pt x="117990" y="5870"/>
                    <a:pt x="117990" y="8804"/>
                    <a:pt x="115056" y="8804"/>
                  </a:cubicBezTo>
                  <a:cubicBezTo>
                    <a:pt x="115056" y="8804"/>
                    <a:pt x="15273" y="44022"/>
                    <a:pt x="9403" y="214239"/>
                  </a:cubicBezTo>
                  <a:cubicBezTo>
                    <a:pt x="6468" y="390326"/>
                    <a:pt x="15273" y="540000"/>
                    <a:pt x="15273" y="542935"/>
                  </a:cubicBezTo>
                  <a:cubicBezTo>
                    <a:pt x="18208" y="551740"/>
                    <a:pt x="15273" y="551740"/>
                    <a:pt x="12338" y="551740"/>
                  </a:cubicBezTo>
                  <a:cubicBezTo>
                    <a:pt x="12338" y="551740"/>
                    <a:pt x="12338" y="551740"/>
                    <a:pt x="12338" y="551740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C0CB4DA3-43EE-4653-B180-528919AC7164}"/>
                </a:ext>
              </a:extLst>
            </p:cNvPr>
            <p:cNvSpPr/>
            <p:nvPr/>
          </p:nvSpPr>
          <p:spPr>
            <a:xfrm>
              <a:off x="6468346" y="9303899"/>
              <a:ext cx="779440" cy="487641"/>
            </a:xfrm>
            <a:custGeom>
              <a:avLst/>
              <a:gdLst>
                <a:gd name="connsiteX0" fmla="*/ 0 w 779440"/>
                <a:gd name="connsiteY0" fmla="*/ 117391 h 487641"/>
                <a:gd name="connsiteX1" fmla="*/ 648587 w 779440"/>
                <a:gd name="connsiteY1" fmla="*/ 487174 h 487641"/>
                <a:gd name="connsiteX2" fmla="*/ 757174 w 779440"/>
                <a:gd name="connsiteY2" fmla="*/ 287609 h 487641"/>
                <a:gd name="connsiteX3" fmla="*/ 61631 w 779440"/>
                <a:gd name="connsiteY3" fmla="*/ 0 h 487641"/>
                <a:gd name="connsiteX4" fmla="*/ 0 w 779440"/>
                <a:gd name="connsiteY4" fmla="*/ 117391 h 48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440" h="487641">
                  <a:moveTo>
                    <a:pt x="0" y="117391"/>
                  </a:moveTo>
                  <a:cubicBezTo>
                    <a:pt x="0" y="117391"/>
                    <a:pt x="563479" y="478370"/>
                    <a:pt x="648587" y="487174"/>
                  </a:cubicBezTo>
                  <a:cubicBezTo>
                    <a:pt x="733696" y="495978"/>
                    <a:pt x="821739" y="378587"/>
                    <a:pt x="757174" y="287609"/>
                  </a:cubicBezTo>
                  <a:cubicBezTo>
                    <a:pt x="642718" y="129130"/>
                    <a:pt x="181957" y="46957"/>
                    <a:pt x="61631" y="0"/>
                  </a:cubicBezTo>
                  <a:cubicBezTo>
                    <a:pt x="70435" y="2935"/>
                    <a:pt x="0" y="117391"/>
                    <a:pt x="0" y="117391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8187CD05-846E-4C5C-ABF7-490AF7137BBA}"/>
                </a:ext>
              </a:extLst>
            </p:cNvPr>
            <p:cNvSpPr/>
            <p:nvPr/>
          </p:nvSpPr>
          <p:spPr>
            <a:xfrm>
              <a:off x="7043564" y="9438900"/>
              <a:ext cx="107853" cy="85108"/>
            </a:xfrm>
            <a:custGeom>
              <a:avLst/>
              <a:gdLst>
                <a:gd name="connsiteX0" fmla="*/ 99782 w 107853"/>
                <a:gd name="connsiteY0" fmla="*/ 85109 h 85108"/>
                <a:gd name="connsiteX1" fmla="*/ 96848 w 107853"/>
                <a:gd name="connsiteY1" fmla="*/ 82174 h 85108"/>
                <a:gd name="connsiteX2" fmla="*/ 2935 w 107853"/>
                <a:gd name="connsiteY2" fmla="*/ 11739 h 85108"/>
                <a:gd name="connsiteX3" fmla="*/ 0 w 107853"/>
                <a:gd name="connsiteY3" fmla="*/ 2935 h 85108"/>
                <a:gd name="connsiteX4" fmla="*/ 8804 w 107853"/>
                <a:gd name="connsiteY4" fmla="*/ 0 h 85108"/>
                <a:gd name="connsiteX5" fmla="*/ 105652 w 107853"/>
                <a:gd name="connsiteY5" fmla="*/ 73370 h 85108"/>
                <a:gd name="connsiteX6" fmla="*/ 105652 w 107853"/>
                <a:gd name="connsiteY6" fmla="*/ 82174 h 85108"/>
                <a:gd name="connsiteX7" fmla="*/ 99782 w 107853"/>
                <a:gd name="connsiteY7" fmla="*/ 85109 h 85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853" h="85108">
                  <a:moveTo>
                    <a:pt x="99782" y="85109"/>
                  </a:moveTo>
                  <a:cubicBezTo>
                    <a:pt x="96848" y="85109"/>
                    <a:pt x="96848" y="85109"/>
                    <a:pt x="96848" y="82174"/>
                  </a:cubicBezTo>
                  <a:cubicBezTo>
                    <a:pt x="49891" y="32283"/>
                    <a:pt x="2935" y="11739"/>
                    <a:pt x="2935" y="11739"/>
                  </a:cubicBezTo>
                  <a:cubicBezTo>
                    <a:pt x="0" y="11739"/>
                    <a:pt x="0" y="5870"/>
                    <a:pt x="0" y="2935"/>
                  </a:cubicBezTo>
                  <a:cubicBezTo>
                    <a:pt x="0" y="0"/>
                    <a:pt x="5869" y="0"/>
                    <a:pt x="8804" y="0"/>
                  </a:cubicBezTo>
                  <a:cubicBezTo>
                    <a:pt x="11739" y="0"/>
                    <a:pt x="58696" y="23478"/>
                    <a:pt x="105652" y="73370"/>
                  </a:cubicBezTo>
                  <a:cubicBezTo>
                    <a:pt x="108587" y="76305"/>
                    <a:pt x="108587" y="79239"/>
                    <a:pt x="105652" y="82174"/>
                  </a:cubicBezTo>
                  <a:cubicBezTo>
                    <a:pt x="102717" y="85109"/>
                    <a:pt x="99782" y="85109"/>
                    <a:pt x="99782" y="85109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3" name="图形 1">
              <a:extLst>
                <a:ext uri="{FF2B5EF4-FFF2-40B4-BE49-F238E27FC236}">
                  <a16:creationId xmlns:a16="http://schemas.microsoft.com/office/drawing/2014/main" id="{126AB7DE-02B2-4D8E-A572-0FB130DD3983}"/>
                </a:ext>
              </a:extLst>
            </p:cNvPr>
            <p:cNvGrpSpPr/>
            <p:nvPr/>
          </p:nvGrpSpPr>
          <p:grpSpPr>
            <a:xfrm>
              <a:off x="6316847" y="7751077"/>
              <a:ext cx="775232" cy="340757"/>
              <a:chOff x="6316847" y="7751077"/>
              <a:chExt cx="775232" cy="340757"/>
            </a:xfrm>
          </p:grpSpPr>
          <p:grpSp>
            <p:nvGrpSpPr>
              <p:cNvPr id="111" name="图形 1">
                <a:extLst>
                  <a:ext uri="{FF2B5EF4-FFF2-40B4-BE49-F238E27FC236}">
                    <a16:creationId xmlns:a16="http://schemas.microsoft.com/office/drawing/2014/main" id="{BA5F2967-5BFB-4861-A271-7AE11A794DB8}"/>
                  </a:ext>
                </a:extLst>
              </p:cNvPr>
              <p:cNvGrpSpPr/>
              <p:nvPr/>
            </p:nvGrpSpPr>
            <p:grpSpPr>
              <a:xfrm>
                <a:off x="6342151" y="7751077"/>
                <a:ext cx="749929" cy="324692"/>
                <a:chOff x="6342151" y="7751077"/>
                <a:chExt cx="749929" cy="324692"/>
              </a:xfrm>
            </p:grpSpPr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1455473C-7F05-43F9-9464-0ADDD8A5102F}"/>
                    </a:ext>
                  </a:extLst>
                </p:cNvPr>
                <p:cNvSpPr/>
                <p:nvPr/>
              </p:nvSpPr>
              <p:spPr>
                <a:xfrm>
                  <a:off x="6342151" y="7751077"/>
                  <a:ext cx="603831" cy="324692"/>
                </a:xfrm>
                <a:custGeom>
                  <a:avLst/>
                  <a:gdLst>
                    <a:gd name="connsiteX0" fmla="*/ 196630 w 603831"/>
                    <a:gd name="connsiteY0" fmla="*/ 6192 h 324692"/>
                    <a:gd name="connsiteX1" fmla="*/ 601630 w 603831"/>
                    <a:gd name="connsiteY1" fmla="*/ 170540 h 324692"/>
                    <a:gd name="connsiteX2" fmla="*/ 601630 w 603831"/>
                    <a:gd name="connsiteY2" fmla="*/ 179345 h 324692"/>
                    <a:gd name="connsiteX3" fmla="*/ 522391 w 603831"/>
                    <a:gd name="connsiteY3" fmla="*/ 229236 h 324692"/>
                    <a:gd name="connsiteX4" fmla="*/ 534130 w 603831"/>
                    <a:gd name="connsiteY4" fmla="*/ 314345 h 324692"/>
                    <a:gd name="connsiteX5" fmla="*/ 531195 w 603831"/>
                    <a:gd name="connsiteY5" fmla="*/ 320214 h 324692"/>
                    <a:gd name="connsiteX6" fmla="*/ 525326 w 603831"/>
                    <a:gd name="connsiteY6" fmla="*/ 323149 h 324692"/>
                    <a:gd name="connsiteX7" fmla="*/ 202500 w 603831"/>
                    <a:gd name="connsiteY7" fmla="*/ 302606 h 324692"/>
                    <a:gd name="connsiteX8" fmla="*/ 2935 w 603831"/>
                    <a:gd name="connsiteY8" fmla="*/ 238040 h 324692"/>
                    <a:gd name="connsiteX9" fmla="*/ 0 w 603831"/>
                    <a:gd name="connsiteY9" fmla="*/ 229236 h 324692"/>
                    <a:gd name="connsiteX10" fmla="*/ 196630 w 603831"/>
                    <a:gd name="connsiteY10" fmla="*/ 6192 h 3246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03831" h="324692">
                      <a:moveTo>
                        <a:pt x="196630" y="6192"/>
                      </a:moveTo>
                      <a:cubicBezTo>
                        <a:pt x="358043" y="-20220"/>
                        <a:pt x="507717" y="38475"/>
                        <a:pt x="601630" y="170540"/>
                      </a:cubicBezTo>
                      <a:cubicBezTo>
                        <a:pt x="604565" y="173475"/>
                        <a:pt x="604565" y="176410"/>
                        <a:pt x="601630" y="179345"/>
                      </a:cubicBezTo>
                      <a:cubicBezTo>
                        <a:pt x="601630" y="182279"/>
                        <a:pt x="575217" y="223367"/>
                        <a:pt x="522391" y="229236"/>
                      </a:cubicBezTo>
                      <a:cubicBezTo>
                        <a:pt x="531195" y="270323"/>
                        <a:pt x="534130" y="311410"/>
                        <a:pt x="534130" y="314345"/>
                      </a:cubicBezTo>
                      <a:cubicBezTo>
                        <a:pt x="534130" y="317280"/>
                        <a:pt x="534130" y="320214"/>
                        <a:pt x="531195" y="320214"/>
                      </a:cubicBezTo>
                      <a:cubicBezTo>
                        <a:pt x="528261" y="323149"/>
                        <a:pt x="528261" y="323149"/>
                        <a:pt x="525326" y="323149"/>
                      </a:cubicBezTo>
                      <a:cubicBezTo>
                        <a:pt x="390326" y="329018"/>
                        <a:pt x="281739" y="317280"/>
                        <a:pt x="202500" y="302606"/>
                      </a:cubicBezTo>
                      <a:cubicBezTo>
                        <a:pt x="67500" y="276192"/>
                        <a:pt x="5869" y="238040"/>
                        <a:pt x="2935" y="238040"/>
                      </a:cubicBezTo>
                      <a:cubicBezTo>
                        <a:pt x="0" y="235106"/>
                        <a:pt x="0" y="232171"/>
                        <a:pt x="0" y="229236"/>
                      </a:cubicBezTo>
                      <a:cubicBezTo>
                        <a:pt x="0" y="226301"/>
                        <a:pt x="17608" y="35540"/>
                        <a:pt x="196630" y="619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5622F672-C963-44A9-AA1D-04FD25E2CF6A}"/>
                    </a:ext>
                  </a:extLst>
                </p:cNvPr>
                <p:cNvSpPr/>
                <p:nvPr/>
              </p:nvSpPr>
              <p:spPr>
                <a:xfrm>
                  <a:off x="6890192" y="7824021"/>
                  <a:ext cx="201888" cy="197378"/>
                </a:xfrm>
                <a:custGeom>
                  <a:avLst/>
                  <a:gdLst>
                    <a:gd name="connsiteX0" fmla="*/ 764 w 201888"/>
                    <a:gd name="connsiteY0" fmla="*/ 85856 h 197378"/>
                    <a:gd name="connsiteX1" fmla="*/ 12502 w 201888"/>
                    <a:gd name="connsiteY1" fmla="*/ 56509 h 197378"/>
                    <a:gd name="connsiteX2" fmla="*/ 24242 w 201888"/>
                    <a:gd name="connsiteY2" fmla="*/ 47705 h 197378"/>
                    <a:gd name="connsiteX3" fmla="*/ 38916 w 201888"/>
                    <a:gd name="connsiteY3" fmla="*/ 21291 h 197378"/>
                    <a:gd name="connsiteX4" fmla="*/ 62394 w 201888"/>
                    <a:gd name="connsiteY4" fmla="*/ 15422 h 197378"/>
                    <a:gd name="connsiteX5" fmla="*/ 77068 w 201888"/>
                    <a:gd name="connsiteY5" fmla="*/ 15422 h 197378"/>
                    <a:gd name="connsiteX6" fmla="*/ 121089 w 201888"/>
                    <a:gd name="connsiteY6" fmla="*/ 748 h 197378"/>
                    <a:gd name="connsiteX7" fmla="*/ 156307 w 201888"/>
                    <a:gd name="connsiteY7" fmla="*/ 35965 h 197378"/>
                    <a:gd name="connsiteX8" fmla="*/ 191524 w 201888"/>
                    <a:gd name="connsiteY8" fmla="*/ 79987 h 197378"/>
                    <a:gd name="connsiteX9" fmla="*/ 185655 w 201888"/>
                    <a:gd name="connsiteY9" fmla="*/ 132813 h 197378"/>
                    <a:gd name="connsiteX10" fmla="*/ 170981 w 201888"/>
                    <a:gd name="connsiteY10" fmla="*/ 170965 h 197378"/>
                    <a:gd name="connsiteX11" fmla="*/ 144568 w 201888"/>
                    <a:gd name="connsiteY11" fmla="*/ 179770 h 197378"/>
                    <a:gd name="connsiteX12" fmla="*/ 138698 w 201888"/>
                    <a:gd name="connsiteY12" fmla="*/ 179770 h 197378"/>
                    <a:gd name="connsiteX13" fmla="*/ 138698 w 201888"/>
                    <a:gd name="connsiteY13" fmla="*/ 179770 h 197378"/>
                    <a:gd name="connsiteX14" fmla="*/ 109350 w 201888"/>
                    <a:gd name="connsiteY14" fmla="*/ 197378 h 197378"/>
                    <a:gd name="connsiteX15" fmla="*/ 77068 w 201888"/>
                    <a:gd name="connsiteY15" fmla="*/ 185639 h 197378"/>
                    <a:gd name="connsiteX16" fmla="*/ 53590 w 201888"/>
                    <a:gd name="connsiteY16" fmla="*/ 182704 h 197378"/>
                    <a:gd name="connsiteX17" fmla="*/ 30111 w 201888"/>
                    <a:gd name="connsiteY17" fmla="*/ 159226 h 197378"/>
                    <a:gd name="connsiteX18" fmla="*/ 27176 w 201888"/>
                    <a:gd name="connsiteY18" fmla="*/ 144552 h 197378"/>
                    <a:gd name="connsiteX19" fmla="*/ 12502 w 201888"/>
                    <a:gd name="connsiteY19" fmla="*/ 126944 h 197378"/>
                    <a:gd name="connsiteX20" fmla="*/ 15437 w 201888"/>
                    <a:gd name="connsiteY20" fmla="*/ 100530 h 197378"/>
                    <a:gd name="connsiteX21" fmla="*/ 12502 w 201888"/>
                    <a:gd name="connsiteY21" fmla="*/ 97596 h 197378"/>
                    <a:gd name="connsiteX22" fmla="*/ 764 w 201888"/>
                    <a:gd name="connsiteY22" fmla="*/ 85856 h 1973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01888" h="197378">
                      <a:moveTo>
                        <a:pt x="764" y="85856"/>
                      </a:moveTo>
                      <a:cubicBezTo>
                        <a:pt x="-2171" y="74118"/>
                        <a:pt x="3698" y="62379"/>
                        <a:pt x="12502" y="56509"/>
                      </a:cubicBezTo>
                      <a:cubicBezTo>
                        <a:pt x="15437" y="53574"/>
                        <a:pt x="21307" y="50639"/>
                        <a:pt x="24242" y="47705"/>
                      </a:cubicBezTo>
                      <a:cubicBezTo>
                        <a:pt x="24242" y="38900"/>
                        <a:pt x="27176" y="30096"/>
                        <a:pt x="38916" y="21291"/>
                      </a:cubicBezTo>
                      <a:cubicBezTo>
                        <a:pt x="47720" y="15422"/>
                        <a:pt x="53590" y="15422"/>
                        <a:pt x="62394" y="15422"/>
                      </a:cubicBezTo>
                      <a:cubicBezTo>
                        <a:pt x="65329" y="15422"/>
                        <a:pt x="71198" y="15422"/>
                        <a:pt x="77068" y="15422"/>
                      </a:cubicBezTo>
                      <a:cubicBezTo>
                        <a:pt x="88807" y="3683"/>
                        <a:pt x="103481" y="-2187"/>
                        <a:pt x="121089" y="748"/>
                      </a:cubicBezTo>
                      <a:cubicBezTo>
                        <a:pt x="138698" y="3683"/>
                        <a:pt x="153372" y="18357"/>
                        <a:pt x="156307" y="35965"/>
                      </a:cubicBezTo>
                      <a:cubicBezTo>
                        <a:pt x="182720" y="38900"/>
                        <a:pt x="194459" y="59444"/>
                        <a:pt x="191524" y="79987"/>
                      </a:cubicBezTo>
                      <a:cubicBezTo>
                        <a:pt x="206198" y="94661"/>
                        <a:pt x="206198" y="124009"/>
                        <a:pt x="185655" y="132813"/>
                      </a:cubicBezTo>
                      <a:cubicBezTo>
                        <a:pt x="185655" y="147487"/>
                        <a:pt x="182720" y="162161"/>
                        <a:pt x="170981" y="170965"/>
                      </a:cubicBezTo>
                      <a:cubicBezTo>
                        <a:pt x="162177" y="176835"/>
                        <a:pt x="153372" y="179770"/>
                        <a:pt x="144568" y="179770"/>
                      </a:cubicBezTo>
                      <a:cubicBezTo>
                        <a:pt x="141633" y="179770"/>
                        <a:pt x="141633" y="179770"/>
                        <a:pt x="138698" y="179770"/>
                      </a:cubicBezTo>
                      <a:cubicBezTo>
                        <a:pt x="138698" y="179770"/>
                        <a:pt x="138698" y="179770"/>
                        <a:pt x="138698" y="179770"/>
                      </a:cubicBezTo>
                      <a:cubicBezTo>
                        <a:pt x="132829" y="188574"/>
                        <a:pt x="121089" y="197378"/>
                        <a:pt x="109350" y="197378"/>
                      </a:cubicBezTo>
                      <a:cubicBezTo>
                        <a:pt x="97611" y="197378"/>
                        <a:pt x="85872" y="194444"/>
                        <a:pt x="77068" y="185639"/>
                      </a:cubicBezTo>
                      <a:cubicBezTo>
                        <a:pt x="68264" y="188574"/>
                        <a:pt x="62394" y="185639"/>
                        <a:pt x="53590" y="182704"/>
                      </a:cubicBezTo>
                      <a:cubicBezTo>
                        <a:pt x="41850" y="179770"/>
                        <a:pt x="33046" y="170965"/>
                        <a:pt x="30111" y="159226"/>
                      </a:cubicBezTo>
                      <a:cubicBezTo>
                        <a:pt x="27176" y="156292"/>
                        <a:pt x="27176" y="150422"/>
                        <a:pt x="27176" y="144552"/>
                      </a:cubicBezTo>
                      <a:cubicBezTo>
                        <a:pt x="21307" y="141618"/>
                        <a:pt x="15437" y="135748"/>
                        <a:pt x="12502" y="126944"/>
                      </a:cubicBezTo>
                      <a:cubicBezTo>
                        <a:pt x="9568" y="115204"/>
                        <a:pt x="9568" y="109335"/>
                        <a:pt x="15437" y="100530"/>
                      </a:cubicBezTo>
                      <a:cubicBezTo>
                        <a:pt x="15437" y="100530"/>
                        <a:pt x="15437" y="97596"/>
                        <a:pt x="12502" y="97596"/>
                      </a:cubicBezTo>
                      <a:cubicBezTo>
                        <a:pt x="3698" y="100530"/>
                        <a:pt x="764" y="91726"/>
                        <a:pt x="764" y="85856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68CA1B76-AA43-469F-A461-A8542AA3F2CE}"/>
                  </a:ext>
                </a:extLst>
              </p:cNvPr>
              <p:cNvSpPr/>
              <p:nvPr/>
            </p:nvSpPr>
            <p:spPr>
              <a:xfrm>
                <a:off x="6843998" y="7927486"/>
                <a:ext cx="38152" cy="120326"/>
              </a:xfrm>
              <a:custGeom>
                <a:avLst/>
                <a:gdLst>
                  <a:gd name="connsiteX0" fmla="*/ 32283 w 38152"/>
                  <a:gd name="connsiteY0" fmla="*/ 120326 h 120326"/>
                  <a:gd name="connsiteX1" fmla="*/ 26413 w 38152"/>
                  <a:gd name="connsiteY1" fmla="*/ 114456 h 120326"/>
                  <a:gd name="connsiteX2" fmla="*/ 0 w 38152"/>
                  <a:gd name="connsiteY2" fmla="*/ 8804 h 120326"/>
                  <a:gd name="connsiteX3" fmla="*/ 2935 w 38152"/>
                  <a:gd name="connsiteY3" fmla="*/ 0 h 120326"/>
                  <a:gd name="connsiteX4" fmla="*/ 11739 w 38152"/>
                  <a:gd name="connsiteY4" fmla="*/ 2935 h 120326"/>
                  <a:gd name="connsiteX5" fmla="*/ 38152 w 38152"/>
                  <a:gd name="connsiteY5" fmla="*/ 114456 h 120326"/>
                  <a:gd name="connsiteX6" fmla="*/ 32283 w 38152"/>
                  <a:gd name="connsiteY6" fmla="*/ 120326 h 120326"/>
                  <a:gd name="connsiteX7" fmla="*/ 32283 w 38152"/>
                  <a:gd name="connsiteY7" fmla="*/ 120326 h 120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152" h="120326">
                    <a:moveTo>
                      <a:pt x="32283" y="120326"/>
                    </a:moveTo>
                    <a:cubicBezTo>
                      <a:pt x="29348" y="120326"/>
                      <a:pt x="26413" y="117391"/>
                      <a:pt x="26413" y="114456"/>
                    </a:cubicBezTo>
                    <a:cubicBezTo>
                      <a:pt x="26413" y="114456"/>
                      <a:pt x="23478" y="49891"/>
                      <a:pt x="0" y="8804"/>
                    </a:cubicBezTo>
                    <a:cubicBezTo>
                      <a:pt x="0" y="5869"/>
                      <a:pt x="0" y="2935"/>
                      <a:pt x="2935" y="0"/>
                    </a:cubicBezTo>
                    <a:cubicBezTo>
                      <a:pt x="5869" y="0"/>
                      <a:pt x="8804" y="0"/>
                      <a:pt x="11739" y="2935"/>
                    </a:cubicBezTo>
                    <a:cubicBezTo>
                      <a:pt x="35217" y="46957"/>
                      <a:pt x="38152" y="111522"/>
                      <a:pt x="38152" y="114456"/>
                    </a:cubicBezTo>
                    <a:cubicBezTo>
                      <a:pt x="38152" y="117391"/>
                      <a:pt x="35217" y="120326"/>
                      <a:pt x="32283" y="120326"/>
                    </a:cubicBezTo>
                    <a:cubicBezTo>
                      <a:pt x="32283" y="120326"/>
                      <a:pt x="32283" y="120326"/>
                      <a:pt x="32283" y="12032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090E5295-C210-405A-A315-02204FD5E0F0}"/>
                  </a:ext>
                </a:extLst>
              </p:cNvPr>
              <p:cNvSpPr/>
              <p:nvPr/>
            </p:nvSpPr>
            <p:spPr>
              <a:xfrm>
                <a:off x="6316847" y="7942662"/>
                <a:ext cx="587934" cy="149172"/>
              </a:xfrm>
              <a:custGeom>
                <a:avLst/>
                <a:gdLst>
                  <a:gd name="connsiteX0" fmla="*/ 42912 w 587934"/>
                  <a:gd name="connsiteY0" fmla="*/ 2433 h 149172"/>
                  <a:gd name="connsiteX1" fmla="*/ 562368 w 587934"/>
                  <a:gd name="connsiteY1" fmla="*/ 87542 h 149172"/>
                  <a:gd name="connsiteX2" fmla="*/ 553564 w 587934"/>
                  <a:gd name="connsiteY2" fmla="*/ 149172 h 149172"/>
                  <a:gd name="connsiteX3" fmla="*/ 19433 w 587934"/>
                  <a:gd name="connsiteY3" fmla="*/ 61129 h 149172"/>
                  <a:gd name="connsiteX4" fmla="*/ 42912 w 587934"/>
                  <a:gd name="connsiteY4" fmla="*/ 2433 h 149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7934" h="149172">
                    <a:moveTo>
                      <a:pt x="42912" y="2433"/>
                    </a:moveTo>
                    <a:cubicBezTo>
                      <a:pt x="207260" y="72868"/>
                      <a:pt x="383347" y="81672"/>
                      <a:pt x="562368" y="87542"/>
                    </a:cubicBezTo>
                    <a:cubicBezTo>
                      <a:pt x="600520" y="87542"/>
                      <a:pt x="594651" y="149172"/>
                      <a:pt x="553564" y="149172"/>
                    </a:cubicBezTo>
                    <a:cubicBezTo>
                      <a:pt x="368673" y="143302"/>
                      <a:pt x="189651" y="134498"/>
                      <a:pt x="19433" y="61129"/>
                    </a:cubicBezTo>
                    <a:cubicBezTo>
                      <a:pt x="-18718" y="43520"/>
                      <a:pt x="4759" y="-12241"/>
                      <a:pt x="42912" y="2433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4" name="图形 1">
              <a:extLst>
                <a:ext uri="{FF2B5EF4-FFF2-40B4-BE49-F238E27FC236}">
                  <a16:creationId xmlns:a16="http://schemas.microsoft.com/office/drawing/2014/main" id="{58A734E3-ABF4-432A-A657-DF8C7F508300}"/>
                </a:ext>
              </a:extLst>
            </p:cNvPr>
            <p:cNvGrpSpPr/>
            <p:nvPr/>
          </p:nvGrpSpPr>
          <p:grpSpPr>
            <a:xfrm>
              <a:off x="5091933" y="9011484"/>
              <a:ext cx="340434" cy="278827"/>
              <a:chOff x="5091933" y="9011484"/>
              <a:chExt cx="340434" cy="278827"/>
            </a:xfrm>
          </p:grpSpPr>
          <p:grpSp>
            <p:nvGrpSpPr>
              <p:cNvPr id="105" name="图形 1">
                <a:extLst>
                  <a:ext uri="{FF2B5EF4-FFF2-40B4-BE49-F238E27FC236}">
                    <a16:creationId xmlns:a16="http://schemas.microsoft.com/office/drawing/2014/main" id="{2B254409-C6AB-43CF-BB26-DCB9F299F11C}"/>
                  </a:ext>
                </a:extLst>
              </p:cNvPr>
              <p:cNvGrpSpPr/>
              <p:nvPr/>
            </p:nvGrpSpPr>
            <p:grpSpPr>
              <a:xfrm>
                <a:off x="5091933" y="9011484"/>
                <a:ext cx="340434" cy="278827"/>
                <a:chOff x="5091933" y="9011484"/>
                <a:chExt cx="340434" cy="278827"/>
              </a:xfrm>
            </p:grpSpPr>
            <p:sp>
              <p:nvSpPr>
                <p:cNvPr id="108" name="任意多边形: 形状 107">
                  <a:extLst>
                    <a:ext uri="{FF2B5EF4-FFF2-40B4-BE49-F238E27FC236}">
                      <a16:creationId xmlns:a16="http://schemas.microsoft.com/office/drawing/2014/main" id="{EB5A949A-4508-4685-8C93-C2C0222705D6}"/>
                    </a:ext>
                  </a:extLst>
                </p:cNvPr>
                <p:cNvSpPr/>
                <p:nvPr/>
              </p:nvSpPr>
              <p:spPr>
                <a:xfrm>
                  <a:off x="5099974" y="9011484"/>
                  <a:ext cx="332393" cy="278827"/>
                </a:xfrm>
                <a:custGeom>
                  <a:avLst/>
                  <a:gdLst>
                    <a:gd name="connsiteX0" fmla="*/ 129894 w 332393"/>
                    <a:gd name="connsiteY0" fmla="*/ 216111 h 278827"/>
                    <a:gd name="connsiteX1" fmla="*/ 253155 w 332393"/>
                    <a:gd name="connsiteY1" fmla="*/ 277742 h 278827"/>
                    <a:gd name="connsiteX2" fmla="*/ 332394 w 332393"/>
                    <a:gd name="connsiteY2" fmla="*/ 210242 h 278827"/>
                    <a:gd name="connsiteX3" fmla="*/ 329459 w 332393"/>
                    <a:gd name="connsiteY3" fmla="*/ 207307 h 278827"/>
                    <a:gd name="connsiteX4" fmla="*/ 329459 w 332393"/>
                    <a:gd name="connsiteY4" fmla="*/ 204372 h 278827"/>
                    <a:gd name="connsiteX5" fmla="*/ 229676 w 332393"/>
                    <a:gd name="connsiteY5" fmla="*/ 34155 h 278827"/>
                    <a:gd name="connsiteX6" fmla="*/ 217937 w 332393"/>
                    <a:gd name="connsiteY6" fmla="*/ 60568 h 278827"/>
                    <a:gd name="connsiteX7" fmla="*/ 256089 w 332393"/>
                    <a:gd name="connsiteY7" fmla="*/ 122198 h 278827"/>
                    <a:gd name="connsiteX8" fmla="*/ 100546 w 332393"/>
                    <a:gd name="connsiteY8" fmla="*/ 4807 h 278827"/>
                    <a:gd name="connsiteX9" fmla="*/ 68263 w 332393"/>
                    <a:gd name="connsiteY9" fmla="*/ 10677 h 278827"/>
                    <a:gd name="connsiteX10" fmla="*/ 103481 w 332393"/>
                    <a:gd name="connsiteY10" fmla="*/ 42959 h 278827"/>
                    <a:gd name="connsiteX11" fmla="*/ 150437 w 332393"/>
                    <a:gd name="connsiteY11" fmla="*/ 84046 h 278827"/>
                    <a:gd name="connsiteX12" fmla="*/ 77068 w 332393"/>
                    <a:gd name="connsiteY12" fmla="*/ 48829 h 278827"/>
                    <a:gd name="connsiteX13" fmla="*/ 24242 w 332393"/>
                    <a:gd name="connsiteY13" fmla="*/ 25351 h 278827"/>
                    <a:gd name="connsiteX14" fmla="*/ 763 w 332393"/>
                    <a:gd name="connsiteY14" fmla="*/ 40024 h 278827"/>
                    <a:gd name="connsiteX15" fmla="*/ 12502 w 332393"/>
                    <a:gd name="connsiteY15" fmla="*/ 69372 h 278827"/>
                    <a:gd name="connsiteX16" fmla="*/ 9568 w 332393"/>
                    <a:gd name="connsiteY16" fmla="*/ 69372 h 278827"/>
                    <a:gd name="connsiteX17" fmla="*/ 763 w 332393"/>
                    <a:gd name="connsiteY17" fmla="*/ 78177 h 278827"/>
                    <a:gd name="connsiteX18" fmla="*/ 38916 w 332393"/>
                    <a:gd name="connsiteY18" fmla="*/ 113394 h 278827"/>
                    <a:gd name="connsiteX19" fmla="*/ 62394 w 332393"/>
                    <a:gd name="connsiteY19" fmla="*/ 128068 h 278827"/>
                    <a:gd name="connsiteX20" fmla="*/ 56524 w 332393"/>
                    <a:gd name="connsiteY20" fmla="*/ 128068 h 278827"/>
                    <a:gd name="connsiteX21" fmla="*/ 38916 w 332393"/>
                    <a:gd name="connsiteY21" fmla="*/ 139807 h 278827"/>
                    <a:gd name="connsiteX22" fmla="*/ 129894 w 332393"/>
                    <a:gd name="connsiteY22" fmla="*/ 216111 h 2788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332393" h="278827">
                      <a:moveTo>
                        <a:pt x="129894" y="216111"/>
                      </a:moveTo>
                      <a:cubicBezTo>
                        <a:pt x="168046" y="239590"/>
                        <a:pt x="209133" y="286546"/>
                        <a:pt x="253155" y="277742"/>
                      </a:cubicBezTo>
                      <a:cubicBezTo>
                        <a:pt x="282503" y="271873"/>
                        <a:pt x="332394" y="242525"/>
                        <a:pt x="332394" y="210242"/>
                      </a:cubicBezTo>
                      <a:cubicBezTo>
                        <a:pt x="332394" y="207307"/>
                        <a:pt x="332394" y="207307"/>
                        <a:pt x="329459" y="207307"/>
                      </a:cubicBezTo>
                      <a:cubicBezTo>
                        <a:pt x="329459" y="207307"/>
                        <a:pt x="329459" y="207307"/>
                        <a:pt x="329459" y="204372"/>
                      </a:cubicBezTo>
                      <a:cubicBezTo>
                        <a:pt x="341198" y="131002"/>
                        <a:pt x="288372" y="57633"/>
                        <a:pt x="229676" y="34155"/>
                      </a:cubicBezTo>
                      <a:cubicBezTo>
                        <a:pt x="223807" y="31220"/>
                        <a:pt x="206198" y="51763"/>
                        <a:pt x="217937" y="60568"/>
                      </a:cubicBezTo>
                      <a:cubicBezTo>
                        <a:pt x="238481" y="81111"/>
                        <a:pt x="253155" y="101655"/>
                        <a:pt x="256089" y="122198"/>
                      </a:cubicBezTo>
                      <a:cubicBezTo>
                        <a:pt x="200329" y="86981"/>
                        <a:pt x="162177" y="31220"/>
                        <a:pt x="100546" y="4807"/>
                      </a:cubicBezTo>
                      <a:cubicBezTo>
                        <a:pt x="91742" y="1872"/>
                        <a:pt x="62394" y="-6932"/>
                        <a:pt x="68263" y="10677"/>
                      </a:cubicBezTo>
                      <a:cubicBezTo>
                        <a:pt x="71198" y="22416"/>
                        <a:pt x="91742" y="34155"/>
                        <a:pt x="103481" y="42959"/>
                      </a:cubicBezTo>
                      <a:cubicBezTo>
                        <a:pt x="118155" y="57633"/>
                        <a:pt x="135763" y="69372"/>
                        <a:pt x="150437" y="84046"/>
                      </a:cubicBezTo>
                      <a:cubicBezTo>
                        <a:pt x="126959" y="72307"/>
                        <a:pt x="100546" y="60568"/>
                        <a:pt x="77068" y="48829"/>
                      </a:cubicBezTo>
                      <a:cubicBezTo>
                        <a:pt x="62394" y="40024"/>
                        <a:pt x="41850" y="28285"/>
                        <a:pt x="24242" y="25351"/>
                      </a:cubicBezTo>
                      <a:cubicBezTo>
                        <a:pt x="12502" y="22416"/>
                        <a:pt x="3698" y="28285"/>
                        <a:pt x="763" y="40024"/>
                      </a:cubicBezTo>
                      <a:cubicBezTo>
                        <a:pt x="-2171" y="51763"/>
                        <a:pt x="3698" y="60568"/>
                        <a:pt x="12502" y="69372"/>
                      </a:cubicBezTo>
                      <a:cubicBezTo>
                        <a:pt x="12502" y="69372"/>
                        <a:pt x="9568" y="69372"/>
                        <a:pt x="9568" y="69372"/>
                      </a:cubicBezTo>
                      <a:cubicBezTo>
                        <a:pt x="6633" y="69372"/>
                        <a:pt x="763" y="75242"/>
                        <a:pt x="763" y="78177"/>
                      </a:cubicBezTo>
                      <a:cubicBezTo>
                        <a:pt x="3698" y="95785"/>
                        <a:pt x="21307" y="101655"/>
                        <a:pt x="38916" y="113394"/>
                      </a:cubicBezTo>
                      <a:cubicBezTo>
                        <a:pt x="47720" y="119263"/>
                        <a:pt x="56524" y="122198"/>
                        <a:pt x="62394" y="128068"/>
                      </a:cubicBezTo>
                      <a:cubicBezTo>
                        <a:pt x="59459" y="128068"/>
                        <a:pt x="56524" y="128068"/>
                        <a:pt x="56524" y="128068"/>
                      </a:cubicBezTo>
                      <a:cubicBezTo>
                        <a:pt x="47720" y="128068"/>
                        <a:pt x="41850" y="131002"/>
                        <a:pt x="38916" y="139807"/>
                      </a:cubicBezTo>
                      <a:cubicBezTo>
                        <a:pt x="33046" y="157416"/>
                        <a:pt x="103481" y="201437"/>
                        <a:pt x="129894" y="216111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9" name="任意多边形: 形状 108">
                  <a:extLst>
                    <a:ext uri="{FF2B5EF4-FFF2-40B4-BE49-F238E27FC236}">
                      <a16:creationId xmlns:a16="http://schemas.microsoft.com/office/drawing/2014/main" id="{28C66DD8-142A-4D1A-9A5B-C127433C0C20}"/>
                    </a:ext>
                  </a:extLst>
                </p:cNvPr>
                <p:cNvSpPr/>
                <p:nvPr/>
              </p:nvSpPr>
              <p:spPr>
                <a:xfrm>
                  <a:off x="5333216" y="9151291"/>
                  <a:ext cx="25048" cy="64565"/>
                </a:xfrm>
                <a:custGeom>
                  <a:avLst/>
                  <a:gdLst>
                    <a:gd name="connsiteX0" fmla="*/ 19913 w 25048"/>
                    <a:gd name="connsiteY0" fmla="*/ 64565 h 64565"/>
                    <a:gd name="connsiteX1" fmla="*/ 16978 w 25048"/>
                    <a:gd name="connsiteY1" fmla="*/ 64565 h 64565"/>
                    <a:gd name="connsiteX2" fmla="*/ 5239 w 25048"/>
                    <a:gd name="connsiteY2" fmla="*/ 2935 h 64565"/>
                    <a:gd name="connsiteX3" fmla="*/ 11108 w 25048"/>
                    <a:gd name="connsiteY3" fmla="*/ 0 h 64565"/>
                    <a:gd name="connsiteX4" fmla="*/ 14043 w 25048"/>
                    <a:gd name="connsiteY4" fmla="*/ 5869 h 64565"/>
                    <a:gd name="connsiteX5" fmla="*/ 22848 w 25048"/>
                    <a:gd name="connsiteY5" fmla="*/ 52826 h 64565"/>
                    <a:gd name="connsiteX6" fmla="*/ 22848 w 25048"/>
                    <a:gd name="connsiteY6" fmla="*/ 61630 h 64565"/>
                    <a:gd name="connsiteX7" fmla="*/ 19913 w 25048"/>
                    <a:gd name="connsiteY7" fmla="*/ 64565 h 645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048" h="64565">
                      <a:moveTo>
                        <a:pt x="19913" y="64565"/>
                      </a:moveTo>
                      <a:cubicBezTo>
                        <a:pt x="19913" y="64565"/>
                        <a:pt x="16978" y="64565"/>
                        <a:pt x="16978" y="64565"/>
                      </a:cubicBezTo>
                      <a:cubicBezTo>
                        <a:pt x="-12370" y="38152"/>
                        <a:pt x="5239" y="2935"/>
                        <a:pt x="5239" y="2935"/>
                      </a:cubicBezTo>
                      <a:cubicBezTo>
                        <a:pt x="5239" y="0"/>
                        <a:pt x="11108" y="0"/>
                        <a:pt x="11108" y="0"/>
                      </a:cubicBezTo>
                      <a:cubicBezTo>
                        <a:pt x="14043" y="0"/>
                        <a:pt x="14043" y="5869"/>
                        <a:pt x="14043" y="5869"/>
                      </a:cubicBezTo>
                      <a:cubicBezTo>
                        <a:pt x="14043" y="5869"/>
                        <a:pt x="2304" y="32283"/>
                        <a:pt x="22848" y="52826"/>
                      </a:cubicBezTo>
                      <a:cubicBezTo>
                        <a:pt x="25782" y="55761"/>
                        <a:pt x="25782" y="58696"/>
                        <a:pt x="22848" y="61630"/>
                      </a:cubicBezTo>
                      <a:cubicBezTo>
                        <a:pt x="22848" y="64565"/>
                        <a:pt x="22848" y="64565"/>
                        <a:pt x="19913" y="64565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" name="任意多边形: 形状 109">
                  <a:extLst>
                    <a:ext uri="{FF2B5EF4-FFF2-40B4-BE49-F238E27FC236}">
                      <a16:creationId xmlns:a16="http://schemas.microsoft.com/office/drawing/2014/main" id="{49092AF2-6BC5-4FC8-90F7-E32F901613DF}"/>
                    </a:ext>
                  </a:extLst>
                </p:cNvPr>
                <p:cNvSpPr/>
                <p:nvPr/>
              </p:nvSpPr>
              <p:spPr>
                <a:xfrm>
                  <a:off x="5091933" y="9017025"/>
                  <a:ext cx="160679" cy="87309"/>
                </a:xfrm>
                <a:custGeom>
                  <a:avLst/>
                  <a:gdLst>
                    <a:gd name="connsiteX0" fmla="*/ 155544 w 160679"/>
                    <a:gd name="connsiteY0" fmla="*/ 87310 h 87309"/>
                    <a:gd name="connsiteX1" fmla="*/ 155544 w 160679"/>
                    <a:gd name="connsiteY1" fmla="*/ 87310 h 87309"/>
                    <a:gd name="connsiteX2" fmla="*/ 23478 w 160679"/>
                    <a:gd name="connsiteY2" fmla="*/ 28614 h 87309"/>
                    <a:gd name="connsiteX3" fmla="*/ 14674 w 160679"/>
                    <a:gd name="connsiteY3" fmla="*/ 40353 h 87309"/>
                    <a:gd name="connsiteX4" fmla="*/ 23478 w 160679"/>
                    <a:gd name="connsiteY4" fmla="*/ 57962 h 87309"/>
                    <a:gd name="connsiteX5" fmla="*/ 23478 w 160679"/>
                    <a:gd name="connsiteY5" fmla="*/ 66766 h 87309"/>
                    <a:gd name="connsiteX6" fmla="*/ 14674 w 160679"/>
                    <a:gd name="connsiteY6" fmla="*/ 66766 h 87309"/>
                    <a:gd name="connsiteX7" fmla="*/ 0 w 160679"/>
                    <a:gd name="connsiteY7" fmla="*/ 40353 h 87309"/>
                    <a:gd name="connsiteX8" fmla="*/ 14674 w 160679"/>
                    <a:gd name="connsiteY8" fmla="*/ 19810 h 87309"/>
                    <a:gd name="connsiteX9" fmla="*/ 114457 w 160679"/>
                    <a:gd name="connsiteY9" fmla="*/ 55027 h 87309"/>
                    <a:gd name="connsiteX10" fmla="*/ 70435 w 160679"/>
                    <a:gd name="connsiteY10" fmla="*/ 11005 h 87309"/>
                    <a:gd name="connsiteX11" fmla="*/ 70435 w 160679"/>
                    <a:gd name="connsiteY11" fmla="*/ 2201 h 87309"/>
                    <a:gd name="connsiteX12" fmla="*/ 79239 w 160679"/>
                    <a:gd name="connsiteY12" fmla="*/ 2201 h 87309"/>
                    <a:gd name="connsiteX13" fmla="*/ 158478 w 160679"/>
                    <a:gd name="connsiteY13" fmla="*/ 75570 h 87309"/>
                    <a:gd name="connsiteX14" fmla="*/ 158478 w 160679"/>
                    <a:gd name="connsiteY14" fmla="*/ 81440 h 87309"/>
                    <a:gd name="connsiteX15" fmla="*/ 155544 w 160679"/>
                    <a:gd name="connsiteY15" fmla="*/ 87310 h 87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60679" h="87309">
                      <a:moveTo>
                        <a:pt x="155544" y="87310"/>
                      </a:moveTo>
                      <a:cubicBezTo>
                        <a:pt x="155544" y="87310"/>
                        <a:pt x="155544" y="87310"/>
                        <a:pt x="155544" y="87310"/>
                      </a:cubicBezTo>
                      <a:cubicBezTo>
                        <a:pt x="96848" y="55027"/>
                        <a:pt x="32283" y="25679"/>
                        <a:pt x="23478" y="28614"/>
                      </a:cubicBezTo>
                      <a:cubicBezTo>
                        <a:pt x="20543" y="31549"/>
                        <a:pt x="14674" y="34484"/>
                        <a:pt x="14674" y="40353"/>
                      </a:cubicBezTo>
                      <a:cubicBezTo>
                        <a:pt x="14674" y="46223"/>
                        <a:pt x="17609" y="52092"/>
                        <a:pt x="23478" y="57962"/>
                      </a:cubicBezTo>
                      <a:cubicBezTo>
                        <a:pt x="26413" y="60897"/>
                        <a:pt x="26413" y="63832"/>
                        <a:pt x="23478" y="66766"/>
                      </a:cubicBezTo>
                      <a:cubicBezTo>
                        <a:pt x="20543" y="69701"/>
                        <a:pt x="17609" y="69701"/>
                        <a:pt x="14674" y="66766"/>
                      </a:cubicBezTo>
                      <a:cubicBezTo>
                        <a:pt x="5869" y="57962"/>
                        <a:pt x="0" y="49158"/>
                        <a:pt x="0" y="40353"/>
                      </a:cubicBezTo>
                      <a:cubicBezTo>
                        <a:pt x="0" y="31549"/>
                        <a:pt x="5869" y="25679"/>
                        <a:pt x="14674" y="19810"/>
                      </a:cubicBezTo>
                      <a:cubicBezTo>
                        <a:pt x="26413" y="13940"/>
                        <a:pt x="73370" y="37418"/>
                        <a:pt x="114457" y="55027"/>
                      </a:cubicBezTo>
                      <a:cubicBezTo>
                        <a:pt x="90978" y="34484"/>
                        <a:pt x="70435" y="11005"/>
                        <a:pt x="70435" y="11005"/>
                      </a:cubicBezTo>
                      <a:cubicBezTo>
                        <a:pt x="67500" y="8070"/>
                        <a:pt x="67500" y="5136"/>
                        <a:pt x="70435" y="2201"/>
                      </a:cubicBezTo>
                      <a:cubicBezTo>
                        <a:pt x="73370" y="-734"/>
                        <a:pt x="76304" y="-734"/>
                        <a:pt x="79239" y="2201"/>
                      </a:cubicBezTo>
                      <a:cubicBezTo>
                        <a:pt x="79239" y="2201"/>
                        <a:pt x="126196" y="52092"/>
                        <a:pt x="158478" y="75570"/>
                      </a:cubicBezTo>
                      <a:cubicBezTo>
                        <a:pt x="161413" y="78505"/>
                        <a:pt x="161413" y="81440"/>
                        <a:pt x="158478" y="81440"/>
                      </a:cubicBezTo>
                      <a:cubicBezTo>
                        <a:pt x="161413" y="87310"/>
                        <a:pt x="158478" y="87310"/>
                        <a:pt x="155544" y="87310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8394AD7E-0EF1-49E0-ADA4-D25E4E3AD353}"/>
                  </a:ext>
                </a:extLst>
              </p:cNvPr>
              <p:cNvSpPr/>
              <p:nvPr/>
            </p:nvSpPr>
            <p:spPr>
              <a:xfrm>
                <a:off x="5129989" y="9131754"/>
                <a:ext cx="120422" cy="92906"/>
              </a:xfrm>
              <a:custGeom>
                <a:avLst/>
                <a:gdLst>
                  <a:gd name="connsiteX0" fmla="*/ 85205 w 120422"/>
                  <a:gd name="connsiteY0" fmla="*/ 92906 h 92906"/>
                  <a:gd name="connsiteX1" fmla="*/ 85205 w 120422"/>
                  <a:gd name="connsiteY1" fmla="*/ 92906 h 92906"/>
                  <a:gd name="connsiteX2" fmla="*/ 97 w 120422"/>
                  <a:gd name="connsiteY2" fmla="*/ 16602 h 92906"/>
                  <a:gd name="connsiteX3" fmla="*/ 8901 w 120422"/>
                  <a:gd name="connsiteY3" fmla="*/ 1928 h 92906"/>
                  <a:gd name="connsiteX4" fmla="*/ 38249 w 120422"/>
                  <a:gd name="connsiteY4" fmla="*/ 4862 h 92906"/>
                  <a:gd name="connsiteX5" fmla="*/ 73466 w 120422"/>
                  <a:gd name="connsiteY5" fmla="*/ 25406 h 92906"/>
                  <a:gd name="connsiteX6" fmla="*/ 117488 w 120422"/>
                  <a:gd name="connsiteY6" fmla="*/ 51819 h 92906"/>
                  <a:gd name="connsiteX7" fmla="*/ 120423 w 120422"/>
                  <a:gd name="connsiteY7" fmla="*/ 57689 h 92906"/>
                  <a:gd name="connsiteX8" fmla="*/ 114553 w 120422"/>
                  <a:gd name="connsiteY8" fmla="*/ 60624 h 92906"/>
                  <a:gd name="connsiteX9" fmla="*/ 67597 w 120422"/>
                  <a:gd name="connsiteY9" fmla="*/ 34210 h 92906"/>
                  <a:gd name="connsiteX10" fmla="*/ 35314 w 120422"/>
                  <a:gd name="connsiteY10" fmla="*/ 13667 h 92906"/>
                  <a:gd name="connsiteX11" fmla="*/ 17706 w 120422"/>
                  <a:gd name="connsiteY11" fmla="*/ 10732 h 92906"/>
                  <a:gd name="connsiteX12" fmla="*/ 14771 w 120422"/>
                  <a:gd name="connsiteY12" fmla="*/ 19536 h 92906"/>
                  <a:gd name="connsiteX13" fmla="*/ 91075 w 120422"/>
                  <a:gd name="connsiteY13" fmla="*/ 84101 h 92906"/>
                  <a:gd name="connsiteX14" fmla="*/ 94010 w 120422"/>
                  <a:gd name="connsiteY14" fmla="*/ 92906 h 92906"/>
                  <a:gd name="connsiteX15" fmla="*/ 85205 w 120422"/>
                  <a:gd name="connsiteY15" fmla="*/ 92906 h 92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0422" h="92906">
                    <a:moveTo>
                      <a:pt x="85205" y="92906"/>
                    </a:moveTo>
                    <a:cubicBezTo>
                      <a:pt x="85205" y="92906"/>
                      <a:pt x="85205" y="92906"/>
                      <a:pt x="85205" y="92906"/>
                    </a:cubicBezTo>
                    <a:cubicBezTo>
                      <a:pt x="61727" y="78232"/>
                      <a:pt x="-2838" y="37145"/>
                      <a:pt x="97" y="16602"/>
                    </a:cubicBezTo>
                    <a:cubicBezTo>
                      <a:pt x="97" y="7797"/>
                      <a:pt x="5966" y="4862"/>
                      <a:pt x="8901" y="1928"/>
                    </a:cubicBezTo>
                    <a:cubicBezTo>
                      <a:pt x="14771" y="-1007"/>
                      <a:pt x="26510" y="-1007"/>
                      <a:pt x="38249" y="4862"/>
                    </a:cubicBezTo>
                    <a:cubicBezTo>
                      <a:pt x="44119" y="7797"/>
                      <a:pt x="58793" y="16602"/>
                      <a:pt x="73466" y="25406"/>
                    </a:cubicBezTo>
                    <a:cubicBezTo>
                      <a:pt x="91075" y="37145"/>
                      <a:pt x="108684" y="48884"/>
                      <a:pt x="117488" y="51819"/>
                    </a:cubicBezTo>
                    <a:cubicBezTo>
                      <a:pt x="120423" y="51819"/>
                      <a:pt x="120423" y="54754"/>
                      <a:pt x="120423" y="57689"/>
                    </a:cubicBezTo>
                    <a:cubicBezTo>
                      <a:pt x="120423" y="60624"/>
                      <a:pt x="117488" y="60624"/>
                      <a:pt x="114553" y="60624"/>
                    </a:cubicBezTo>
                    <a:cubicBezTo>
                      <a:pt x="105749" y="57689"/>
                      <a:pt x="88140" y="45950"/>
                      <a:pt x="67597" y="34210"/>
                    </a:cubicBezTo>
                    <a:cubicBezTo>
                      <a:pt x="52923" y="25406"/>
                      <a:pt x="41184" y="16602"/>
                      <a:pt x="35314" y="13667"/>
                    </a:cubicBezTo>
                    <a:cubicBezTo>
                      <a:pt x="26510" y="10732"/>
                      <a:pt x="20640" y="7797"/>
                      <a:pt x="17706" y="10732"/>
                    </a:cubicBezTo>
                    <a:cubicBezTo>
                      <a:pt x="17706" y="10732"/>
                      <a:pt x="14771" y="13667"/>
                      <a:pt x="14771" y="19536"/>
                    </a:cubicBezTo>
                    <a:cubicBezTo>
                      <a:pt x="11836" y="28341"/>
                      <a:pt x="52923" y="60624"/>
                      <a:pt x="91075" y="84101"/>
                    </a:cubicBezTo>
                    <a:cubicBezTo>
                      <a:pt x="94010" y="87036"/>
                      <a:pt x="94010" y="89971"/>
                      <a:pt x="94010" y="92906"/>
                    </a:cubicBezTo>
                    <a:cubicBezTo>
                      <a:pt x="88140" y="92906"/>
                      <a:pt x="88140" y="92906"/>
                      <a:pt x="85205" y="9290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7D3CA1A7-FE40-4750-BBFC-11982EEE4125}"/>
                  </a:ext>
                </a:extLst>
              </p:cNvPr>
              <p:cNvSpPr/>
              <p:nvPr/>
            </p:nvSpPr>
            <p:spPr>
              <a:xfrm>
                <a:off x="5094868" y="9076770"/>
                <a:ext cx="161413" cy="74520"/>
              </a:xfrm>
              <a:custGeom>
                <a:avLst/>
                <a:gdLst>
                  <a:gd name="connsiteX0" fmla="*/ 155544 w 161413"/>
                  <a:gd name="connsiteY0" fmla="*/ 74521 h 74520"/>
                  <a:gd name="connsiteX1" fmla="*/ 155544 w 161413"/>
                  <a:gd name="connsiteY1" fmla="*/ 74521 h 74520"/>
                  <a:gd name="connsiteX2" fmla="*/ 99783 w 161413"/>
                  <a:gd name="connsiteY2" fmla="*/ 48108 h 74520"/>
                  <a:gd name="connsiteX3" fmla="*/ 90978 w 161413"/>
                  <a:gd name="connsiteY3" fmla="*/ 42238 h 74520"/>
                  <a:gd name="connsiteX4" fmla="*/ 35218 w 161413"/>
                  <a:gd name="connsiteY4" fmla="*/ 9956 h 74520"/>
                  <a:gd name="connsiteX5" fmla="*/ 11739 w 161413"/>
                  <a:gd name="connsiteY5" fmla="*/ 12891 h 74520"/>
                  <a:gd name="connsiteX6" fmla="*/ 8804 w 161413"/>
                  <a:gd name="connsiteY6" fmla="*/ 18760 h 74520"/>
                  <a:gd name="connsiteX7" fmla="*/ 58696 w 161413"/>
                  <a:gd name="connsiteY7" fmla="*/ 56912 h 74520"/>
                  <a:gd name="connsiteX8" fmla="*/ 61630 w 161413"/>
                  <a:gd name="connsiteY8" fmla="*/ 65716 h 74520"/>
                  <a:gd name="connsiteX9" fmla="*/ 52826 w 161413"/>
                  <a:gd name="connsiteY9" fmla="*/ 68651 h 74520"/>
                  <a:gd name="connsiteX10" fmla="*/ 0 w 161413"/>
                  <a:gd name="connsiteY10" fmla="*/ 21695 h 74520"/>
                  <a:gd name="connsiteX11" fmla="*/ 5870 w 161413"/>
                  <a:gd name="connsiteY11" fmla="*/ 7021 h 74520"/>
                  <a:gd name="connsiteX12" fmla="*/ 38152 w 161413"/>
                  <a:gd name="connsiteY12" fmla="*/ 1151 h 74520"/>
                  <a:gd name="connsiteX13" fmla="*/ 96848 w 161413"/>
                  <a:gd name="connsiteY13" fmla="*/ 36369 h 74520"/>
                  <a:gd name="connsiteX14" fmla="*/ 105652 w 161413"/>
                  <a:gd name="connsiteY14" fmla="*/ 42238 h 74520"/>
                  <a:gd name="connsiteX15" fmla="*/ 158478 w 161413"/>
                  <a:gd name="connsiteY15" fmla="*/ 68651 h 74520"/>
                  <a:gd name="connsiteX16" fmla="*/ 161413 w 161413"/>
                  <a:gd name="connsiteY16" fmla="*/ 74521 h 74520"/>
                  <a:gd name="connsiteX17" fmla="*/ 155544 w 161413"/>
                  <a:gd name="connsiteY17" fmla="*/ 74521 h 74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1413" h="74520">
                    <a:moveTo>
                      <a:pt x="155544" y="74521"/>
                    </a:moveTo>
                    <a:cubicBezTo>
                      <a:pt x="155544" y="74521"/>
                      <a:pt x="152609" y="74521"/>
                      <a:pt x="155544" y="74521"/>
                    </a:cubicBezTo>
                    <a:cubicBezTo>
                      <a:pt x="152609" y="74521"/>
                      <a:pt x="108587" y="51042"/>
                      <a:pt x="99783" y="48108"/>
                    </a:cubicBezTo>
                    <a:cubicBezTo>
                      <a:pt x="96848" y="48108"/>
                      <a:pt x="93913" y="45173"/>
                      <a:pt x="90978" y="42238"/>
                    </a:cubicBezTo>
                    <a:cubicBezTo>
                      <a:pt x="76304" y="33434"/>
                      <a:pt x="44022" y="9956"/>
                      <a:pt x="35218" y="9956"/>
                    </a:cubicBezTo>
                    <a:cubicBezTo>
                      <a:pt x="26413" y="7021"/>
                      <a:pt x="17609" y="9956"/>
                      <a:pt x="11739" y="12891"/>
                    </a:cubicBezTo>
                    <a:cubicBezTo>
                      <a:pt x="8804" y="12891"/>
                      <a:pt x="8804" y="15825"/>
                      <a:pt x="8804" y="18760"/>
                    </a:cubicBezTo>
                    <a:cubicBezTo>
                      <a:pt x="8804" y="24630"/>
                      <a:pt x="35218" y="42238"/>
                      <a:pt x="58696" y="56912"/>
                    </a:cubicBezTo>
                    <a:cubicBezTo>
                      <a:pt x="61630" y="56912"/>
                      <a:pt x="61630" y="62782"/>
                      <a:pt x="61630" y="65716"/>
                    </a:cubicBezTo>
                    <a:cubicBezTo>
                      <a:pt x="61630" y="68651"/>
                      <a:pt x="55761" y="68651"/>
                      <a:pt x="52826" y="68651"/>
                    </a:cubicBezTo>
                    <a:cubicBezTo>
                      <a:pt x="41087" y="62782"/>
                      <a:pt x="0" y="39303"/>
                      <a:pt x="0" y="21695"/>
                    </a:cubicBezTo>
                    <a:cubicBezTo>
                      <a:pt x="0" y="15825"/>
                      <a:pt x="0" y="9956"/>
                      <a:pt x="5870" y="7021"/>
                    </a:cubicBezTo>
                    <a:cubicBezTo>
                      <a:pt x="14674" y="1151"/>
                      <a:pt x="29348" y="-1783"/>
                      <a:pt x="38152" y="1151"/>
                    </a:cubicBezTo>
                    <a:cubicBezTo>
                      <a:pt x="49891" y="4086"/>
                      <a:pt x="73370" y="21695"/>
                      <a:pt x="96848" y="36369"/>
                    </a:cubicBezTo>
                    <a:cubicBezTo>
                      <a:pt x="99783" y="39303"/>
                      <a:pt x="105652" y="42238"/>
                      <a:pt x="105652" y="42238"/>
                    </a:cubicBezTo>
                    <a:cubicBezTo>
                      <a:pt x="111522" y="45173"/>
                      <a:pt x="146739" y="62782"/>
                      <a:pt x="158478" y="68651"/>
                    </a:cubicBezTo>
                    <a:cubicBezTo>
                      <a:pt x="161413" y="68651"/>
                      <a:pt x="161413" y="74521"/>
                      <a:pt x="161413" y="74521"/>
                    </a:cubicBezTo>
                    <a:cubicBezTo>
                      <a:pt x="158478" y="71586"/>
                      <a:pt x="158478" y="74521"/>
                      <a:pt x="155544" y="74521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10287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908A2D05-2969-46DF-821E-893404A54874}"/>
              </a:ext>
            </a:extLst>
          </p:cNvPr>
          <p:cNvGrpSpPr/>
          <p:nvPr/>
        </p:nvGrpSpPr>
        <p:grpSpPr>
          <a:xfrm>
            <a:off x="3120842" y="2050826"/>
            <a:ext cx="5807441" cy="4807174"/>
            <a:chOff x="11496691" y="7610530"/>
            <a:chExt cx="5807441" cy="4807174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340103F5-B883-436B-A22C-6DCFFA6E1522}"/>
                </a:ext>
              </a:extLst>
            </p:cNvPr>
            <p:cNvSpPr/>
            <p:nvPr/>
          </p:nvSpPr>
          <p:spPr>
            <a:xfrm>
              <a:off x="11645302" y="8856004"/>
              <a:ext cx="869546" cy="836206"/>
            </a:xfrm>
            <a:custGeom>
              <a:avLst/>
              <a:gdLst>
                <a:gd name="connsiteX0" fmla="*/ 848153 w 869546"/>
                <a:gd name="connsiteY0" fmla="*/ 271809 h 836206"/>
                <a:gd name="connsiteX1" fmla="*/ 774783 w 869546"/>
                <a:gd name="connsiteY1" fmla="*/ 1809 h 836206"/>
                <a:gd name="connsiteX2" fmla="*/ 534131 w 869546"/>
                <a:gd name="connsiteY2" fmla="*/ 277679 h 836206"/>
                <a:gd name="connsiteX3" fmla="*/ 390327 w 869546"/>
                <a:gd name="connsiteY3" fmla="*/ 565287 h 836206"/>
                <a:gd name="connsiteX4" fmla="*/ 44022 w 869546"/>
                <a:gd name="connsiteY4" fmla="*/ 242461 h 836206"/>
                <a:gd name="connsiteX5" fmla="*/ 0 w 869546"/>
                <a:gd name="connsiteY5" fmla="*/ 377461 h 836206"/>
                <a:gd name="connsiteX6" fmla="*/ 475435 w 869546"/>
                <a:gd name="connsiteY6" fmla="*/ 832353 h 836206"/>
                <a:gd name="connsiteX7" fmla="*/ 848153 w 869546"/>
                <a:gd name="connsiteY7" fmla="*/ 271809 h 836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69546" h="836206">
                  <a:moveTo>
                    <a:pt x="848153" y="271809"/>
                  </a:moveTo>
                  <a:cubicBezTo>
                    <a:pt x="900979" y="139744"/>
                    <a:pt x="848153" y="-18734"/>
                    <a:pt x="774783" y="1809"/>
                  </a:cubicBezTo>
                  <a:cubicBezTo>
                    <a:pt x="689674" y="25287"/>
                    <a:pt x="589892" y="116266"/>
                    <a:pt x="534131" y="277679"/>
                  </a:cubicBezTo>
                  <a:cubicBezTo>
                    <a:pt x="501848" y="371591"/>
                    <a:pt x="407936" y="568222"/>
                    <a:pt x="390327" y="565287"/>
                  </a:cubicBezTo>
                  <a:cubicBezTo>
                    <a:pt x="381522" y="565287"/>
                    <a:pt x="44022" y="242461"/>
                    <a:pt x="44022" y="242461"/>
                  </a:cubicBezTo>
                  <a:cubicBezTo>
                    <a:pt x="44022" y="301157"/>
                    <a:pt x="0" y="377461"/>
                    <a:pt x="0" y="377461"/>
                  </a:cubicBezTo>
                  <a:cubicBezTo>
                    <a:pt x="0" y="377461"/>
                    <a:pt x="290544" y="885178"/>
                    <a:pt x="475435" y="832353"/>
                  </a:cubicBezTo>
                  <a:cubicBezTo>
                    <a:pt x="572283" y="803005"/>
                    <a:pt x="780652" y="436157"/>
                    <a:pt x="848153" y="271809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CA52B7FA-049F-4FBC-8A2A-75602CCFF1DF}"/>
                </a:ext>
              </a:extLst>
            </p:cNvPr>
            <p:cNvGrpSpPr/>
            <p:nvPr/>
          </p:nvGrpSpPr>
          <p:grpSpPr>
            <a:xfrm>
              <a:off x="13917455" y="7610530"/>
              <a:ext cx="3386677" cy="4736739"/>
              <a:chOff x="13917455" y="7610530"/>
              <a:chExt cx="3386677" cy="4736739"/>
            </a:xfrm>
          </p:grpSpPr>
          <p:grpSp>
            <p:nvGrpSpPr>
              <p:cNvPr id="72" name="图形 1">
                <a:extLst>
                  <a:ext uri="{FF2B5EF4-FFF2-40B4-BE49-F238E27FC236}">
                    <a16:creationId xmlns:a16="http://schemas.microsoft.com/office/drawing/2014/main" id="{5C332930-0455-45E9-9D8A-00BE89A2AD88}"/>
                  </a:ext>
                </a:extLst>
              </p:cNvPr>
              <p:cNvGrpSpPr/>
              <p:nvPr/>
            </p:nvGrpSpPr>
            <p:grpSpPr>
              <a:xfrm>
                <a:off x="13917455" y="7610530"/>
                <a:ext cx="3386677" cy="4565199"/>
                <a:chOff x="13917455" y="7610530"/>
                <a:chExt cx="3386677" cy="4565199"/>
              </a:xfrm>
            </p:grpSpPr>
            <p:sp>
              <p:nvSpPr>
                <p:cNvPr id="86" name="任意多边形: 形状 85">
                  <a:extLst>
                    <a:ext uri="{FF2B5EF4-FFF2-40B4-BE49-F238E27FC236}">
                      <a16:creationId xmlns:a16="http://schemas.microsoft.com/office/drawing/2014/main" id="{7672CDA6-939C-4B09-8796-DA6EE56972BA}"/>
                    </a:ext>
                  </a:extLst>
                </p:cNvPr>
                <p:cNvSpPr/>
                <p:nvPr/>
              </p:nvSpPr>
              <p:spPr>
                <a:xfrm>
                  <a:off x="13917455" y="8180067"/>
                  <a:ext cx="3386677" cy="3995662"/>
                </a:xfrm>
                <a:custGeom>
                  <a:avLst/>
                  <a:gdLst>
                    <a:gd name="connsiteX0" fmla="*/ 3368500 w 3386677"/>
                    <a:gd name="connsiteY0" fmla="*/ 3788616 h 3995662"/>
                    <a:gd name="connsiteX1" fmla="*/ 3274587 w 3386677"/>
                    <a:gd name="connsiteY1" fmla="*/ 3682963 h 3995662"/>
                    <a:gd name="connsiteX2" fmla="*/ 2884261 w 3386677"/>
                    <a:gd name="connsiteY2" fmla="*/ 3248615 h 3995662"/>
                    <a:gd name="connsiteX3" fmla="*/ 2989913 w 3386677"/>
                    <a:gd name="connsiteY3" fmla="*/ 3207528 h 3995662"/>
                    <a:gd name="connsiteX4" fmla="*/ 2986979 w 3386677"/>
                    <a:gd name="connsiteY4" fmla="*/ 3192854 h 3995662"/>
                    <a:gd name="connsiteX5" fmla="*/ 2473392 w 3386677"/>
                    <a:gd name="connsiteY5" fmla="*/ 2597094 h 3995662"/>
                    <a:gd name="connsiteX6" fmla="*/ 2626001 w 3386677"/>
                    <a:gd name="connsiteY6" fmla="*/ 2608833 h 3995662"/>
                    <a:gd name="connsiteX7" fmla="*/ 2711109 w 3386677"/>
                    <a:gd name="connsiteY7" fmla="*/ 2614703 h 3995662"/>
                    <a:gd name="connsiteX8" fmla="*/ 2766870 w 3386677"/>
                    <a:gd name="connsiteY8" fmla="*/ 2629377 h 3995662"/>
                    <a:gd name="connsiteX9" fmla="*/ 2851978 w 3386677"/>
                    <a:gd name="connsiteY9" fmla="*/ 2597094 h 3995662"/>
                    <a:gd name="connsiteX10" fmla="*/ 2851978 w 3386677"/>
                    <a:gd name="connsiteY10" fmla="*/ 2585355 h 3995662"/>
                    <a:gd name="connsiteX11" fmla="*/ 2761000 w 3386677"/>
                    <a:gd name="connsiteY11" fmla="*/ 2500246 h 3995662"/>
                    <a:gd name="connsiteX12" fmla="*/ 2831435 w 3386677"/>
                    <a:gd name="connsiteY12" fmla="*/ 2467964 h 3995662"/>
                    <a:gd name="connsiteX13" fmla="*/ 2831435 w 3386677"/>
                    <a:gd name="connsiteY13" fmla="*/ 2456224 h 3995662"/>
                    <a:gd name="connsiteX14" fmla="*/ 2288501 w 3386677"/>
                    <a:gd name="connsiteY14" fmla="*/ 1810572 h 3995662"/>
                    <a:gd name="connsiteX15" fmla="*/ 2394152 w 3386677"/>
                    <a:gd name="connsiteY15" fmla="*/ 1857528 h 3995662"/>
                    <a:gd name="connsiteX16" fmla="*/ 2438174 w 3386677"/>
                    <a:gd name="connsiteY16" fmla="*/ 1822311 h 3995662"/>
                    <a:gd name="connsiteX17" fmla="*/ 2579044 w 3386677"/>
                    <a:gd name="connsiteY17" fmla="*/ 1845789 h 3995662"/>
                    <a:gd name="connsiteX18" fmla="*/ 2502739 w 3386677"/>
                    <a:gd name="connsiteY18" fmla="*/ 1684376 h 3995662"/>
                    <a:gd name="connsiteX19" fmla="*/ 2270892 w 3386677"/>
                    <a:gd name="connsiteY19" fmla="*/ 1467203 h 3995662"/>
                    <a:gd name="connsiteX20" fmla="*/ 2091870 w 3386677"/>
                    <a:gd name="connsiteY20" fmla="*/ 1255898 h 3995662"/>
                    <a:gd name="connsiteX21" fmla="*/ 2132957 w 3386677"/>
                    <a:gd name="connsiteY21" fmla="*/ 1241224 h 3995662"/>
                    <a:gd name="connsiteX22" fmla="*/ 2311979 w 3386677"/>
                    <a:gd name="connsiteY22" fmla="*/ 1338072 h 3995662"/>
                    <a:gd name="connsiteX23" fmla="*/ 2323717 w 3386677"/>
                    <a:gd name="connsiteY23" fmla="*/ 1326332 h 3995662"/>
                    <a:gd name="connsiteX24" fmla="*/ 2317848 w 3386677"/>
                    <a:gd name="connsiteY24" fmla="*/ 1308724 h 3995662"/>
                    <a:gd name="connsiteX25" fmla="*/ 2382413 w 3386677"/>
                    <a:gd name="connsiteY25" fmla="*/ 1285246 h 3995662"/>
                    <a:gd name="connsiteX26" fmla="*/ 2294370 w 3386677"/>
                    <a:gd name="connsiteY26" fmla="*/ 1156115 h 3995662"/>
                    <a:gd name="connsiteX27" fmla="*/ 1983282 w 3386677"/>
                    <a:gd name="connsiteY27" fmla="*/ 801006 h 3995662"/>
                    <a:gd name="connsiteX28" fmla="*/ 1816000 w 3386677"/>
                    <a:gd name="connsiteY28" fmla="*/ 381333 h 3995662"/>
                    <a:gd name="connsiteX29" fmla="*/ 1745566 w 3386677"/>
                    <a:gd name="connsiteY29" fmla="*/ 170028 h 3995662"/>
                    <a:gd name="connsiteX30" fmla="*/ 1657522 w 3386677"/>
                    <a:gd name="connsiteY30" fmla="*/ 2746 h 3995662"/>
                    <a:gd name="connsiteX31" fmla="*/ 1645782 w 3386677"/>
                    <a:gd name="connsiteY31" fmla="*/ 14485 h 3995662"/>
                    <a:gd name="connsiteX32" fmla="*/ 1645782 w 3386677"/>
                    <a:gd name="connsiteY32" fmla="*/ 14485 h 3995662"/>
                    <a:gd name="connsiteX33" fmla="*/ 1642848 w 3386677"/>
                    <a:gd name="connsiteY33" fmla="*/ 17420 h 3995662"/>
                    <a:gd name="connsiteX34" fmla="*/ 1437414 w 3386677"/>
                    <a:gd name="connsiteY34" fmla="*/ 563289 h 3995662"/>
                    <a:gd name="connsiteX35" fmla="*/ 1152739 w 3386677"/>
                    <a:gd name="connsiteY35" fmla="*/ 1073942 h 3995662"/>
                    <a:gd name="connsiteX36" fmla="*/ 821109 w 3386677"/>
                    <a:gd name="connsiteY36" fmla="*/ 1558181 h 3995662"/>
                    <a:gd name="connsiteX37" fmla="*/ 630348 w 3386677"/>
                    <a:gd name="connsiteY37" fmla="*/ 1763616 h 3995662"/>
                    <a:gd name="connsiteX38" fmla="*/ 533500 w 3386677"/>
                    <a:gd name="connsiteY38" fmla="*/ 1863398 h 3995662"/>
                    <a:gd name="connsiteX39" fmla="*/ 489478 w 3386677"/>
                    <a:gd name="connsiteY39" fmla="*/ 1936768 h 3995662"/>
                    <a:gd name="connsiteX40" fmla="*/ 621543 w 3386677"/>
                    <a:gd name="connsiteY40" fmla="*/ 1963181 h 3995662"/>
                    <a:gd name="connsiteX41" fmla="*/ 818174 w 3386677"/>
                    <a:gd name="connsiteY41" fmla="*/ 1842854 h 3995662"/>
                    <a:gd name="connsiteX42" fmla="*/ 850457 w 3386677"/>
                    <a:gd name="connsiteY42" fmla="*/ 1883941 h 3995662"/>
                    <a:gd name="connsiteX43" fmla="*/ 982522 w 3386677"/>
                    <a:gd name="connsiteY43" fmla="*/ 1828180 h 3995662"/>
                    <a:gd name="connsiteX44" fmla="*/ 956109 w 3386677"/>
                    <a:gd name="connsiteY44" fmla="*/ 1942637 h 3995662"/>
                    <a:gd name="connsiteX45" fmla="*/ 956109 w 3386677"/>
                    <a:gd name="connsiteY45" fmla="*/ 1945572 h 3995662"/>
                    <a:gd name="connsiteX46" fmla="*/ 947305 w 3386677"/>
                    <a:gd name="connsiteY46" fmla="*/ 1948507 h 3995662"/>
                    <a:gd name="connsiteX47" fmla="*/ 689044 w 3386677"/>
                    <a:gd name="connsiteY47" fmla="*/ 2338832 h 3995662"/>
                    <a:gd name="connsiteX48" fmla="*/ 372087 w 3386677"/>
                    <a:gd name="connsiteY48" fmla="*/ 2735028 h 3995662"/>
                    <a:gd name="connsiteX49" fmla="*/ 380892 w 3386677"/>
                    <a:gd name="connsiteY49" fmla="*/ 2749702 h 3995662"/>
                    <a:gd name="connsiteX50" fmla="*/ 495348 w 3386677"/>
                    <a:gd name="connsiteY50" fmla="*/ 2702746 h 3995662"/>
                    <a:gd name="connsiteX51" fmla="*/ 460130 w 3386677"/>
                    <a:gd name="connsiteY51" fmla="*/ 2770246 h 3995662"/>
                    <a:gd name="connsiteX52" fmla="*/ 454261 w 3386677"/>
                    <a:gd name="connsiteY52" fmla="*/ 2799594 h 3995662"/>
                    <a:gd name="connsiteX53" fmla="*/ 556979 w 3386677"/>
                    <a:gd name="connsiteY53" fmla="*/ 2805464 h 3995662"/>
                    <a:gd name="connsiteX54" fmla="*/ 797630 w 3386677"/>
                    <a:gd name="connsiteY54" fmla="*/ 2638181 h 3995662"/>
                    <a:gd name="connsiteX55" fmla="*/ 882739 w 3386677"/>
                    <a:gd name="connsiteY55" fmla="*/ 2702746 h 3995662"/>
                    <a:gd name="connsiteX56" fmla="*/ 662630 w 3386677"/>
                    <a:gd name="connsiteY56" fmla="*/ 3005028 h 3995662"/>
                    <a:gd name="connsiteX57" fmla="*/ 392631 w 3386677"/>
                    <a:gd name="connsiteY57" fmla="*/ 3339594 h 3995662"/>
                    <a:gd name="connsiteX58" fmla="*/ 146109 w 3386677"/>
                    <a:gd name="connsiteY58" fmla="*/ 3668290 h 3995662"/>
                    <a:gd name="connsiteX59" fmla="*/ 22848 w 3386677"/>
                    <a:gd name="connsiteY59" fmla="*/ 3844377 h 3995662"/>
                    <a:gd name="connsiteX60" fmla="*/ 16978 w 3386677"/>
                    <a:gd name="connsiteY60" fmla="*/ 3941224 h 3995662"/>
                    <a:gd name="connsiteX61" fmla="*/ 154913 w 3386677"/>
                    <a:gd name="connsiteY61" fmla="*/ 3967637 h 3995662"/>
                    <a:gd name="connsiteX62" fmla="*/ 251761 w 3386677"/>
                    <a:gd name="connsiteY62" fmla="*/ 3923615 h 3995662"/>
                    <a:gd name="connsiteX63" fmla="*/ 413174 w 3386677"/>
                    <a:gd name="connsiteY63" fmla="*/ 3929485 h 3995662"/>
                    <a:gd name="connsiteX64" fmla="*/ 454261 w 3386677"/>
                    <a:gd name="connsiteY64" fmla="*/ 3988181 h 3995662"/>
                    <a:gd name="connsiteX65" fmla="*/ 595131 w 3386677"/>
                    <a:gd name="connsiteY65" fmla="*/ 3964703 h 3995662"/>
                    <a:gd name="connsiteX66" fmla="*/ 768283 w 3386677"/>
                    <a:gd name="connsiteY66" fmla="*/ 3847311 h 3995662"/>
                    <a:gd name="connsiteX67" fmla="*/ 753609 w 3386677"/>
                    <a:gd name="connsiteY67" fmla="*/ 3888398 h 3995662"/>
                    <a:gd name="connsiteX68" fmla="*/ 765348 w 3386677"/>
                    <a:gd name="connsiteY68" fmla="*/ 3900137 h 3995662"/>
                    <a:gd name="connsiteX69" fmla="*/ 885674 w 3386677"/>
                    <a:gd name="connsiteY69" fmla="*/ 3841442 h 3995662"/>
                    <a:gd name="connsiteX70" fmla="*/ 991326 w 3386677"/>
                    <a:gd name="connsiteY70" fmla="*/ 3876659 h 3995662"/>
                    <a:gd name="connsiteX71" fmla="*/ 1240783 w 3386677"/>
                    <a:gd name="connsiteY71" fmla="*/ 3797420 h 3995662"/>
                    <a:gd name="connsiteX72" fmla="*/ 1378718 w 3386677"/>
                    <a:gd name="connsiteY72" fmla="*/ 3920681 h 3995662"/>
                    <a:gd name="connsiteX73" fmla="*/ 1610566 w 3386677"/>
                    <a:gd name="connsiteY73" fmla="*/ 3812094 h 3995662"/>
                    <a:gd name="connsiteX74" fmla="*/ 1836543 w 3386677"/>
                    <a:gd name="connsiteY74" fmla="*/ 3885463 h 3995662"/>
                    <a:gd name="connsiteX75" fmla="*/ 1924587 w 3386677"/>
                    <a:gd name="connsiteY75" fmla="*/ 3885463 h 3995662"/>
                    <a:gd name="connsiteX76" fmla="*/ 1968609 w 3386677"/>
                    <a:gd name="connsiteY76" fmla="*/ 3908941 h 3995662"/>
                    <a:gd name="connsiteX77" fmla="*/ 2062522 w 3386677"/>
                    <a:gd name="connsiteY77" fmla="*/ 3935355 h 3995662"/>
                    <a:gd name="connsiteX78" fmla="*/ 2238609 w 3386677"/>
                    <a:gd name="connsiteY78" fmla="*/ 3906007 h 3995662"/>
                    <a:gd name="connsiteX79" fmla="*/ 2250348 w 3386677"/>
                    <a:gd name="connsiteY79" fmla="*/ 3911876 h 3995662"/>
                    <a:gd name="connsiteX80" fmla="*/ 2276761 w 3386677"/>
                    <a:gd name="connsiteY80" fmla="*/ 3791550 h 3995662"/>
                    <a:gd name="connsiteX81" fmla="*/ 2593718 w 3386677"/>
                    <a:gd name="connsiteY81" fmla="*/ 3838507 h 3995662"/>
                    <a:gd name="connsiteX82" fmla="*/ 2602522 w 3386677"/>
                    <a:gd name="connsiteY82" fmla="*/ 3826768 h 3995662"/>
                    <a:gd name="connsiteX83" fmla="*/ 2584913 w 3386677"/>
                    <a:gd name="connsiteY83" fmla="*/ 3771007 h 3995662"/>
                    <a:gd name="connsiteX84" fmla="*/ 2725783 w 3386677"/>
                    <a:gd name="connsiteY84" fmla="*/ 3815029 h 3995662"/>
                    <a:gd name="connsiteX85" fmla="*/ 2884261 w 3386677"/>
                    <a:gd name="connsiteY85" fmla="*/ 3861985 h 3995662"/>
                    <a:gd name="connsiteX86" fmla="*/ 3010456 w 3386677"/>
                    <a:gd name="connsiteY86" fmla="*/ 3788616 h 3995662"/>
                    <a:gd name="connsiteX87" fmla="*/ 3224696 w 3386677"/>
                    <a:gd name="connsiteY87" fmla="*/ 3873724 h 3995662"/>
                    <a:gd name="connsiteX88" fmla="*/ 3233500 w 3386677"/>
                    <a:gd name="connsiteY88" fmla="*/ 3861985 h 3995662"/>
                    <a:gd name="connsiteX89" fmla="*/ 3215891 w 3386677"/>
                    <a:gd name="connsiteY89" fmla="*/ 3823833 h 3995662"/>
                    <a:gd name="connsiteX90" fmla="*/ 3327413 w 3386677"/>
                    <a:gd name="connsiteY90" fmla="*/ 3841442 h 3995662"/>
                    <a:gd name="connsiteX91" fmla="*/ 3386109 w 3386677"/>
                    <a:gd name="connsiteY91" fmla="*/ 3826768 h 3995662"/>
                    <a:gd name="connsiteX92" fmla="*/ 3368500 w 3386677"/>
                    <a:gd name="connsiteY92" fmla="*/ 3788616 h 3995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</a:cxnLst>
                  <a:rect l="l" t="t" r="r" b="b"/>
                  <a:pathLst>
                    <a:path w="3386677" h="3995662">
                      <a:moveTo>
                        <a:pt x="3368500" y="3788616"/>
                      </a:moveTo>
                      <a:cubicBezTo>
                        <a:pt x="3342087" y="3750463"/>
                        <a:pt x="3303935" y="3715246"/>
                        <a:pt x="3274587" y="3682963"/>
                      </a:cubicBezTo>
                      <a:cubicBezTo>
                        <a:pt x="3145457" y="3539159"/>
                        <a:pt x="3016326" y="3395354"/>
                        <a:pt x="2884261" y="3248615"/>
                      </a:cubicBezTo>
                      <a:cubicBezTo>
                        <a:pt x="2922413" y="3245681"/>
                        <a:pt x="2957631" y="3233941"/>
                        <a:pt x="2989913" y="3207528"/>
                      </a:cubicBezTo>
                      <a:cubicBezTo>
                        <a:pt x="2995783" y="3204593"/>
                        <a:pt x="2992848" y="3195789"/>
                        <a:pt x="2986979" y="3192854"/>
                      </a:cubicBezTo>
                      <a:cubicBezTo>
                        <a:pt x="2772740" y="3034376"/>
                        <a:pt x="2596653" y="2831877"/>
                        <a:pt x="2473392" y="2597094"/>
                      </a:cubicBezTo>
                      <a:cubicBezTo>
                        <a:pt x="2517413" y="2620572"/>
                        <a:pt x="2573174" y="2614703"/>
                        <a:pt x="2626001" y="2608833"/>
                      </a:cubicBezTo>
                      <a:cubicBezTo>
                        <a:pt x="2655348" y="2605898"/>
                        <a:pt x="2684696" y="2605898"/>
                        <a:pt x="2711109" y="2614703"/>
                      </a:cubicBezTo>
                      <a:cubicBezTo>
                        <a:pt x="2728718" y="2620572"/>
                        <a:pt x="2749261" y="2629377"/>
                        <a:pt x="2766870" y="2629377"/>
                      </a:cubicBezTo>
                      <a:cubicBezTo>
                        <a:pt x="2799153" y="2632311"/>
                        <a:pt x="2828500" y="2620572"/>
                        <a:pt x="2851978" y="2597094"/>
                      </a:cubicBezTo>
                      <a:cubicBezTo>
                        <a:pt x="2854913" y="2594159"/>
                        <a:pt x="2854913" y="2588289"/>
                        <a:pt x="2851978" y="2585355"/>
                      </a:cubicBezTo>
                      <a:cubicBezTo>
                        <a:pt x="2819696" y="2558941"/>
                        <a:pt x="2790348" y="2532528"/>
                        <a:pt x="2761000" y="2500246"/>
                      </a:cubicBezTo>
                      <a:cubicBezTo>
                        <a:pt x="2787414" y="2500246"/>
                        <a:pt x="2810892" y="2488507"/>
                        <a:pt x="2831435" y="2467964"/>
                      </a:cubicBezTo>
                      <a:cubicBezTo>
                        <a:pt x="2834369" y="2465029"/>
                        <a:pt x="2834369" y="2459159"/>
                        <a:pt x="2831435" y="2456224"/>
                      </a:cubicBezTo>
                      <a:cubicBezTo>
                        <a:pt x="2623066" y="2265463"/>
                        <a:pt x="2438174" y="2051224"/>
                        <a:pt x="2288501" y="1810572"/>
                      </a:cubicBezTo>
                      <a:cubicBezTo>
                        <a:pt x="2320783" y="1836985"/>
                        <a:pt x="2358935" y="1860463"/>
                        <a:pt x="2394152" y="1857528"/>
                      </a:cubicBezTo>
                      <a:cubicBezTo>
                        <a:pt x="2417631" y="1857528"/>
                        <a:pt x="2435240" y="1842854"/>
                        <a:pt x="2438174" y="1822311"/>
                      </a:cubicBezTo>
                      <a:cubicBezTo>
                        <a:pt x="2476327" y="1857528"/>
                        <a:pt x="2535022" y="1892746"/>
                        <a:pt x="2579044" y="1845789"/>
                      </a:cubicBezTo>
                      <a:cubicBezTo>
                        <a:pt x="2634805" y="1790029"/>
                        <a:pt x="2537957" y="1719594"/>
                        <a:pt x="2502739" y="1684376"/>
                      </a:cubicBezTo>
                      <a:cubicBezTo>
                        <a:pt x="2426435" y="1611007"/>
                        <a:pt x="2347196" y="1540572"/>
                        <a:pt x="2270892" y="1467203"/>
                      </a:cubicBezTo>
                      <a:cubicBezTo>
                        <a:pt x="2203391" y="1405572"/>
                        <a:pt x="2130022" y="1343941"/>
                        <a:pt x="2091870" y="1255898"/>
                      </a:cubicBezTo>
                      <a:cubicBezTo>
                        <a:pt x="2106544" y="1258833"/>
                        <a:pt x="2121218" y="1255898"/>
                        <a:pt x="2132957" y="1241224"/>
                      </a:cubicBezTo>
                      <a:cubicBezTo>
                        <a:pt x="2179913" y="1294051"/>
                        <a:pt x="2241544" y="1326332"/>
                        <a:pt x="2311979" y="1338072"/>
                      </a:cubicBezTo>
                      <a:cubicBezTo>
                        <a:pt x="2317848" y="1338072"/>
                        <a:pt x="2326652" y="1335137"/>
                        <a:pt x="2323717" y="1326332"/>
                      </a:cubicBezTo>
                      <a:cubicBezTo>
                        <a:pt x="2320783" y="1320463"/>
                        <a:pt x="2317848" y="1314593"/>
                        <a:pt x="2317848" y="1308724"/>
                      </a:cubicBezTo>
                      <a:cubicBezTo>
                        <a:pt x="2344261" y="1320463"/>
                        <a:pt x="2376544" y="1320463"/>
                        <a:pt x="2382413" y="1285246"/>
                      </a:cubicBezTo>
                      <a:cubicBezTo>
                        <a:pt x="2391218" y="1235355"/>
                        <a:pt x="2323717" y="1185463"/>
                        <a:pt x="2294370" y="1156115"/>
                      </a:cubicBezTo>
                      <a:cubicBezTo>
                        <a:pt x="2182848" y="1044594"/>
                        <a:pt x="2062522" y="938942"/>
                        <a:pt x="1983282" y="801006"/>
                      </a:cubicBezTo>
                      <a:cubicBezTo>
                        <a:pt x="1906979" y="668941"/>
                        <a:pt x="1862957" y="525137"/>
                        <a:pt x="1816000" y="381333"/>
                      </a:cubicBezTo>
                      <a:cubicBezTo>
                        <a:pt x="1792522" y="310898"/>
                        <a:pt x="1771979" y="240463"/>
                        <a:pt x="1745566" y="170028"/>
                      </a:cubicBezTo>
                      <a:cubicBezTo>
                        <a:pt x="1725022" y="114268"/>
                        <a:pt x="1704478" y="43833"/>
                        <a:pt x="1657522" y="2746"/>
                      </a:cubicBezTo>
                      <a:cubicBezTo>
                        <a:pt x="1648717" y="-6059"/>
                        <a:pt x="1636978" y="8615"/>
                        <a:pt x="1645782" y="14485"/>
                      </a:cubicBezTo>
                      <a:cubicBezTo>
                        <a:pt x="1645782" y="14485"/>
                        <a:pt x="1645782" y="14485"/>
                        <a:pt x="1645782" y="14485"/>
                      </a:cubicBezTo>
                      <a:cubicBezTo>
                        <a:pt x="1645782" y="14485"/>
                        <a:pt x="1642848" y="17420"/>
                        <a:pt x="1642848" y="17420"/>
                      </a:cubicBezTo>
                      <a:cubicBezTo>
                        <a:pt x="1563609" y="196442"/>
                        <a:pt x="1519587" y="387202"/>
                        <a:pt x="1437414" y="563289"/>
                      </a:cubicBezTo>
                      <a:cubicBezTo>
                        <a:pt x="1355239" y="739376"/>
                        <a:pt x="1249587" y="903724"/>
                        <a:pt x="1152739" y="1073942"/>
                      </a:cubicBezTo>
                      <a:cubicBezTo>
                        <a:pt x="1052957" y="1244159"/>
                        <a:pt x="950240" y="1408507"/>
                        <a:pt x="821109" y="1558181"/>
                      </a:cubicBezTo>
                      <a:cubicBezTo>
                        <a:pt x="759479" y="1628616"/>
                        <a:pt x="694913" y="1696115"/>
                        <a:pt x="630348" y="1763616"/>
                      </a:cubicBezTo>
                      <a:cubicBezTo>
                        <a:pt x="598066" y="1798833"/>
                        <a:pt x="565783" y="1831115"/>
                        <a:pt x="533500" y="1863398"/>
                      </a:cubicBezTo>
                      <a:cubicBezTo>
                        <a:pt x="515891" y="1883941"/>
                        <a:pt x="492413" y="1907420"/>
                        <a:pt x="489478" y="1936768"/>
                      </a:cubicBezTo>
                      <a:cubicBezTo>
                        <a:pt x="486543" y="2004267"/>
                        <a:pt x="583392" y="1974920"/>
                        <a:pt x="621543" y="1963181"/>
                      </a:cubicBezTo>
                      <a:cubicBezTo>
                        <a:pt x="694913" y="1939703"/>
                        <a:pt x="762414" y="1898615"/>
                        <a:pt x="818174" y="1842854"/>
                      </a:cubicBezTo>
                      <a:cubicBezTo>
                        <a:pt x="821109" y="1860463"/>
                        <a:pt x="832848" y="1878072"/>
                        <a:pt x="850457" y="1883941"/>
                      </a:cubicBezTo>
                      <a:cubicBezTo>
                        <a:pt x="900348" y="1904485"/>
                        <a:pt x="944370" y="1857528"/>
                        <a:pt x="982522" y="1828180"/>
                      </a:cubicBezTo>
                      <a:cubicBezTo>
                        <a:pt x="970782" y="1866333"/>
                        <a:pt x="961978" y="1904485"/>
                        <a:pt x="956109" y="1942637"/>
                      </a:cubicBezTo>
                      <a:cubicBezTo>
                        <a:pt x="956109" y="1942637"/>
                        <a:pt x="956109" y="1942637"/>
                        <a:pt x="956109" y="1945572"/>
                      </a:cubicBezTo>
                      <a:cubicBezTo>
                        <a:pt x="953174" y="1945572"/>
                        <a:pt x="950240" y="1945572"/>
                        <a:pt x="947305" y="1948507"/>
                      </a:cubicBezTo>
                      <a:cubicBezTo>
                        <a:pt x="841652" y="2065898"/>
                        <a:pt x="771218" y="2203833"/>
                        <a:pt x="689044" y="2338832"/>
                      </a:cubicBezTo>
                      <a:cubicBezTo>
                        <a:pt x="601001" y="2485572"/>
                        <a:pt x="492413" y="2617637"/>
                        <a:pt x="372087" y="2735028"/>
                      </a:cubicBezTo>
                      <a:cubicBezTo>
                        <a:pt x="366218" y="2740898"/>
                        <a:pt x="372087" y="2752637"/>
                        <a:pt x="380892" y="2749702"/>
                      </a:cubicBezTo>
                      <a:cubicBezTo>
                        <a:pt x="421979" y="2740898"/>
                        <a:pt x="460130" y="2726224"/>
                        <a:pt x="495348" y="2702746"/>
                      </a:cubicBezTo>
                      <a:cubicBezTo>
                        <a:pt x="483609" y="2726224"/>
                        <a:pt x="468935" y="2746768"/>
                        <a:pt x="460130" y="2770246"/>
                      </a:cubicBezTo>
                      <a:cubicBezTo>
                        <a:pt x="457195" y="2781985"/>
                        <a:pt x="451326" y="2787855"/>
                        <a:pt x="454261" y="2799594"/>
                      </a:cubicBezTo>
                      <a:cubicBezTo>
                        <a:pt x="468935" y="2834811"/>
                        <a:pt x="533500" y="2811333"/>
                        <a:pt x="556979" y="2805464"/>
                      </a:cubicBezTo>
                      <a:cubicBezTo>
                        <a:pt x="650891" y="2776116"/>
                        <a:pt x="727196" y="2708615"/>
                        <a:pt x="797630" y="2638181"/>
                      </a:cubicBezTo>
                      <a:cubicBezTo>
                        <a:pt x="794695" y="2682202"/>
                        <a:pt x="838717" y="2717420"/>
                        <a:pt x="882739" y="2702746"/>
                      </a:cubicBezTo>
                      <a:cubicBezTo>
                        <a:pt x="821109" y="2811333"/>
                        <a:pt x="741870" y="2908181"/>
                        <a:pt x="662630" y="3005028"/>
                      </a:cubicBezTo>
                      <a:cubicBezTo>
                        <a:pt x="571653" y="3116550"/>
                        <a:pt x="480674" y="3228072"/>
                        <a:pt x="392631" y="3339594"/>
                      </a:cubicBezTo>
                      <a:cubicBezTo>
                        <a:pt x="307522" y="3448181"/>
                        <a:pt x="225348" y="3556767"/>
                        <a:pt x="146109" y="3668290"/>
                      </a:cubicBezTo>
                      <a:cubicBezTo>
                        <a:pt x="105022" y="3726985"/>
                        <a:pt x="61000" y="3782746"/>
                        <a:pt x="22848" y="3844377"/>
                      </a:cubicBezTo>
                      <a:cubicBezTo>
                        <a:pt x="5239" y="3873724"/>
                        <a:pt x="-15304" y="3914811"/>
                        <a:pt x="16978" y="3941224"/>
                      </a:cubicBezTo>
                      <a:cubicBezTo>
                        <a:pt x="49261" y="3970572"/>
                        <a:pt x="116761" y="3970572"/>
                        <a:pt x="154913" y="3967637"/>
                      </a:cubicBezTo>
                      <a:cubicBezTo>
                        <a:pt x="193065" y="3964703"/>
                        <a:pt x="228283" y="3952963"/>
                        <a:pt x="251761" y="3923615"/>
                      </a:cubicBezTo>
                      <a:cubicBezTo>
                        <a:pt x="281109" y="3985246"/>
                        <a:pt x="360348" y="3958833"/>
                        <a:pt x="413174" y="3929485"/>
                      </a:cubicBezTo>
                      <a:cubicBezTo>
                        <a:pt x="416109" y="3955898"/>
                        <a:pt x="430783" y="3976442"/>
                        <a:pt x="454261" y="3988181"/>
                      </a:cubicBezTo>
                      <a:cubicBezTo>
                        <a:pt x="501217" y="4008725"/>
                        <a:pt x="554044" y="3982311"/>
                        <a:pt x="595131" y="3964703"/>
                      </a:cubicBezTo>
                      <a:cubicBezTo>
                        <a:pt x="659696" y="3935355"/>
                        <a:pt x="718392" y="3894267"/>
                        <a:pt x="768283" y="3847311"/>
                      </a:cubicBezTo>
                      <a:cubicBezTo>
                        <a:pt x="762414" y="3859050"/>
                        <a:pt x="756544" y="3873724"/>
                        <a:pt x="753609" y="3888398"/>
                      </a:cubicBezTo>
                      <a:cubicBezTo>
                        <a:pt x="750674" y="3894267"/>
                        <a:pt x="759479" y="3900137"/>
                        <a:pt x="765348" y="3900137"/>
                      </a:cubicBezTo>
                      <a:cubicBezTo>
                        <a:pt x="812304" y="3894267"/>
                        <a:pt x="853391" y="3873724"/>
                        <a:pt x="885674" y="3841442"/>
                      </a:cubicBezTo>
                      <a:cubicBezTo>
                        <a:pt x="900348" y="3879593"/>
                        <a:pt x="956109" y="3882528"/>
                        <a:pt x="991326" y="3876659"/>
                      </a:cubicBezTo>
                      <a:cubicBezTo>
                        <a:pt x="1076435" y="3864919"/>
                        <a:pt x="1161543" y="3835572"/>
                        <a:pt x="1240783" y="3797420"/>
                      </a:cubicBezTo>
                      <a:cubicBezTo>
                        <a:pt x="1249587" y="3864919"/>
                        <a:pt x="1311217" y="3911876"/>
                        <a:pt x="1378718" y="3920681"/>
                      </a:cubicBezTo>
                      <a:cubicBezTo>
                        <a:pt x="1469696" y="3932420"/>
                        <a:pt x="1548935" y="3870789"/>
                        <a:pt x="1610566" y="3812094"/>
                      </a:cubicBezTo>
                      <a:cubicBezTo>
                        <a:pt x="1645782" y="3897202"/>
                        <a:pt x="1754370" y="3920681"/>
                        <a:pt x="1836543" y="3885463"/>
                      </a:cubicBezTo>
                      <a:cubicBezTo>
                        <a:pt x="1865891" y="3870789"/>
                        <a:pt x="1895239" y="3867854"/>
                        <a:pt x="1924587" y="3885463"/>
                      </a:cubicBezTo>
                      <a:cubicBezTo>
                        <a:pt x="1939261" y="3894267"/>
                        <a:pt x="1951001" y="3903072"/>
                        <a:pt x="1968609" y="3908941"/>
                      </a:cubicBezTo>
                      <a:cubicBezTo>
                        <a:pt x="1997956" y="3923615"/>
                        <a:pt x="2030239" y="3929485"/>
                        <a:pt x="2062522" y="3935355"/>
                      </a:cubicBezTo>
                      <a:cubicBezTo>
                        <a:pt x="2124153" y="3941224"/>
                        <a:pt x="2182848" y="3932420"/>
                        <a:pt x="2238609" y="3906007"/>
                      </a:cubicBezTo>
                      <a:cubicBezTo>
                        <a:pt x="2241544" y="3908941"/>
                        <a:pt x="2244479" y="3914811"/>
                        <a:pt x="2250348" y="3911876"/>
                      </a:cubicBezTo>
                      <a:cubicBezTo>
                        <a:pt x="2303175" y="3888398"/>
                        <a:pt x="2294370" y="3835572"/>
                        <a:pt x="2276761" y="3791550"/>
                      </a:cubicBezTo>
                      <a:cubicBezTo>
                        <a:pt x="2376544" y="3832638"/>
                        <a:pt x="2485131" y="3847311"/>
                        <a:pt x="2593718" y="3838507"/>
                      </a:cubicBezTo>
                      <a:cubicBezTo>
                        <a:pt x="2599587" y="3838507"/>
                        <a:pt x="2605457" y="3832638"/>
                        <a:pt x="2602522" y="3826768"/>
                      </a:cubicBezTo>
                      <a:cubicBezTo>
                        <a:pt x="2596653" y="3809159"/>
                        <a:pt x="2590783" y="3788616"/>
                        <a:pt x="2584913" y="3771007"/>
                      </a:cubicBezTo>
                      <a:cubicBezTo>
                        <a:pt x="2631870" y="3785681"/>
                        <a:pt x="2678826" y="3800355"/>
                        <a:pt x="2725783" y="3815029"/>
                      </a:cubicBezTo>
                      <a:cubicBezTo>
                        <a:pt x="2778609" y="3832638"/>
                        <a:pt x="2831435" y="3853180"/>
                        <a:pt x="2884261" y="3861985"/>
                      </a:cubicBezTo>
                      <a:cubicBezTo>
                        <a:pt x="2937087" y="3870789"/>
                        <a:pt x="3004587" y="3844377"/>
                        <a:pt x="3010456" y="3788616"/>
                      </a:cubicBezTo>
                      <a:cubicBezTo>
                        <a:pt x="3072087" y="3838507"/>
                        <a:pt x="3142522" y="3867854"/>
                        <a:pt x="3224696" y="3873724"/>
                      </a:cubicBezTo>
                      <a:cubicBezTo>
                        <a:pt x="3230565" y="3873724"/>
                        <a:pt x="3233500" y="3864919"/>
                        <a:pt x="3233500" y="3861985"/>
                      </a:cubicBezTo>
                      <a:cubicBezTo>
                        <a:pt x="3227631" y="3850246"/>
                        <a:pt x="3221761" y="3835572"/>
                        <a:pt x="3215891" y="3823833"/>
                      </a:cubicBezTo>
                      <a:cubicBezTo>
                        <a:pt x="3251109" y="3832638"/>
                        <a:pt x="3289261" y="3838507"/>
                        <a:pt x="3327413" y="3841442"/>
                      </a:cubicBezTo>
                      <a:cubicBezTo>
                        <a:pt x="3347956" y="3841442"/>
                        <a:pt x="3374370" y="3844377"/>
                        <a:pt x="3386109" y="3826768"/>
                      </a:cubicBezTo>
                      <a:cubicBezTo>
                        <a:pt x="3389044" y="3826768"/>
                        <a:pt x="3380239" y="3806224"/>
                        <a:pt x="3368500" y="3788616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7" name="任意多边形: 形状 86">
                  <a:extLst>
                    <a:ext uri="{FF2B5EF4-FFF2-40B4-BE49-F238E27FC236}">
                      <a16:creationId xmlns:a16="http://schemas.microsoft.com/office/drawing/2014/main" id="{2F5E2CE3-B3F1-4241-8A46-708F35FD0396}"/>
                    </a:ext>
                  </a:extLst>
                </p:cNvPr>
                <p:cNvSpPr/>
                <p:nvPr/>
              </p:nvSpPr>
              <p:spPr>
                <a:xfrm>
                  <a:off x="15375529" y="9321508"/>
                  <a:ext cx="526424" cy="290543"/>
                </a:xfrm>
                <a:custGeom>
                  <a:avLst/>
                  <a:gdLst>
                    <a:gd name="connsiteX0" fmla="*/ 375535 w 526424"/>
                    <a:gd name="connsiteY0" fmla="*/ 290543 h 290543"/>
                    <a:gd name="connsiteX1" fmla="*/ 228796 w 526424"/>
                    <a:gd name="connsiteY1" fmla="*/ 164348 h 290543"/>
                    <a:gd name="connsiteX2" fmla="*/ 178904 w 526424"/>
                    <a:gd name="connsiteY2" fmla="*/ 190761 h 290543"/>
                    <a:gd name="connsiteX3" fmla="*/ 126079 w 526424"/>
                    <a:gd name="connsiteY3" fmla="*/ 90978 h 290543"/>
                    <a:gd name="connsiteX4" fmla="*/ 32165 w 526424"/>
                    <a:gd name="connsiteY4" fmla="*/ 149674 h 290543"/>
                    <a:gd name="connsiteX5" fmla="*/ 5752 w 526424"/>
                    <a:gd name="connsiteY5" fmla="*/ 135000 h 290543"/>
                    <a:gd name="connsiteX6" fmla="*/ 26295 w 526424"/>
                    <a:gd name="connsiteY6" fmla="*/ 2935 h 290543"/>
                    <a:gd name="connsiteX7" fmla="*/ 32165 w 526424"/>
                    <a:gd name="connsiteY7" fmla="*/ 0 h 290543"/>
                    <a:gd name="connsiteX8" fmla="*/ 35100 w 526424"/>
                    <a:gd name="connsiteY8" fmla="*/ 5870 h 290543"/>
                    <a:gd name="connsiteX9" fmla="*/ 14556 w 526424"/>
                    <a:gd name="connsiteY9" fmla="*/ 126195 h 290543"/>
                    <a:gd name="connsiteX10" fmla="*/ 32165 w 526424"/>
                    <a:gd name="connsiteY10" fmla="*/ 135000 h 290543"/>
                    <a:gd name="connsiteX11" fmla="*/ 38035 w 526424"/>
                    <a:gd name="connsiteY11" fmla="*/ 135000 h 290543"/>
                    <a:gd name="connsiteX12" fmla="*/ 123144 w 526424"/>
                    <a:gd name="connsiteY12" fmla="*/ 67500 h 290543"/>
                    <a:gd name="connsiteX13" fmla="*/ 129013 w 526424"/>
                    <a:gd name="connsiteY13" fmla="*/ 64566 h 290543"/>
                    <a:gd name="connsiteX14" fmla="*/ 134883 w 526424"/>
                    <a:gd name="connsiteY14" fmla="*/ 67500 h 290543"/>
                    <a:gd name="connsiteX15" fmla="*/ 181839 w 526424"/>
                    <a:gd name="connsiteY15" fmla="*/ 173152 h 290543"/>
                    <a:gd name="connsiteX16" fmla="*/ 228796 w 526424"/>
                    <a:gd name="connsiteY16" fmla="*/ 143804 h 290543"/>
                    <a:gd name="connsiteX17" fmla="*/ 231730 w 526424"/>
                    <a:gd name="connsiteY17" fmla="*/ 140869 h 290543"/>
                    <a:gd name="connsiteX18" fmla="*/ 231730 w 526424"/>
                    <a:gd name="connsiteY18" fmla="*/ 140869 h 290543"/>
                    <a:gd name="connsiteX19" fmla="*/ 234665 w 526424"/>
                    <a:gd name="connsiteY19" fmla="*/ 143804 h 290543"/>
                    <a:gd name="connsiteX20" fmla="*/ 375535 w 526424"/>
                    <a:gd name="connsiteY20" fmla="*/ 272934 h 290543"/>
                    <a:gd name="connsiteX21" fmla="*/ 378469 w 526424"/>
                    <a:gd name="connsiteY21" fmla="*/ 272934 h 290543"/>
                    <a:gd name="connsiteX22" fmla="*/ 399013 w 526424"/>
                    <a:gd name="connsiteY22" fmla="*/ 41087 h 290543"/>
                    <a:gd name="connsiteX23" fmla="*/ 401948 w 526424"/>
                    <a:gd name="connsiteY23" fmla="*/ 35218 h 290543"/>
                    <a:gd name="connsiteX24" fmla="*/ 407817 w 526424"/>
                    <a:gd name="connsiteY24" fmla="*/ 38152 h 290543"/>
                    <a:gd name="connsiteX25" fmla="*/ 478253 w 526424"/>
                    <a:gd name="connsiteY25" fmla="*/ 93913 h 290543"/>
                    <a:gd name="connsiteX26" fmla="*/ 516404 w 526424"/>
                    <a:gd name="connsiteY26" fmla="*/ 29348 h 290543"/>
                    <a:gd name="connsiteX27" fmla="*/ 522274 w 526424"/>
                    <a:gd name="connsiteY27" fmla="*/ 26413 h 290543"/>
                    <a:gd name="connsiteX28" fmla="*/ 525208 w 526424"/>
                    <a:gd name="connsiteY28" fmla="*/ 32283 h 290543"/>
                    <a:gd name="connsiteX29" fmla="*/ 475318 w 526424"/>
                    <a:gd name="connsiteY29" fmla="*/ 105652 h 290543"/>
                    <a:gd name="connsiteX30" fmla="*/ 407817 w 526424"/>
                    <a:gd name="connsiteY30" fmla="*/ 58696 h 290543"/>
                    <a:gd name="connsiteX31" fmla="*/ 378469 w 526424"/>
                    <a:gd name="connsiteY31" fmla="*/ 287608 h 290543"/>
                    <a:gd name="connsiteX32" fmla="*/ 375535 w 526424"/>
                    <a:gd name="connsiteY32" fmla="*/ 290543 h 290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526424" h="290543">
                      <a:moveTo>
                        <a:pt x="375535" y="290543"/>
                      </a:moveTo>
                      <a:cubicBezTo>
                        <a:pt x="337382" y="290543"/>
                        <a:pt x="255209" y="193696"/>
                        <a:pt x="228796" y="164348"/>
                      </a:cubicBezTo>
                      <a:cubicBezTo>
                        <a:pt x="219991" y="173152"/>
                        <a:pt x="199448" y="190761"/>
                        <a:pt x="178904" y="190761"/>
                      </a:cubicBezTo>
                      <a:cubicBezTo>
                        <a:pt x="155426" y="190761"/>
                        <a:pt x="134883" y="126195"/>
                        <a:pt x="126079" y="90978"/>
                      </a:cubicBezTo>
                      <a:cubicBezTo>
                        <a:pt x="111405" y="111521"/>
                        <a:pt x="82057" y="155543"/>
                        <a:pt x="32165" y="149674"/>
                      </a:cubicBezTo>
                      <a:cubicBezTo>
                        <a:pt x="20426" y="149674"/>
                        <a:pt x="11621" y="143804"/>
                        <a:pt x="5752" y="135000"/>
                      </a:cubicBezTo>
                      <a:cubicBezTo>
                        <a:pt x="-14791" y="99782"/>
                        <a:pt x="26295" y="8804"/>
                        <a:pt x="26295" y="2935"/>
                      </a:cubicBezTo>
                      <a:cubicBezTo>
                        <a:pt x="26295" y="0"/>
                        <a:pt x="32165" y="0"/>
                        <a:pt x="32165" y="0"/>
                      </a:cubicBezTo>
                      <a:cubicBezTo>
                        <a:pt x="35100" y="0"/>
                        <a:pt x="35100" y="5870"/>
                        <a:pt x="35100" y="5870"/>
                      </a:cubicBezTo>
                      <a:cubicBezTo>
                        <a:pt x="23361" y="32283"/>
                        <a:pt x="-3053" y="102717"/>
                        <a:pt x="14556" y="126195"/>
                      </a:cubicBezTo>
                      <a:cubicBezTo>
                        <a:pt x="17491" y="132065"/>
                        <a:pt x="23361" y="135000"/>
                        <a:pt x="32165" y="135000"/>
                      </a:cubicBezTo>
                      <a:cubicBezTo>
                        <a:pt x="35100" y="135000"/>
                        <a:pt x="35100" y="135000"/>
                        <a:pt x="38035" y="135000"/>
                      </a:cubicBezTo>
                      <a:cubicBezTo>
                        <a:pt x="90861" y="135000"/>
                        <a:pt x="123144" y="70435"/>
                        <a:pt x="123144" y="67500"/>
                      </a:cubicBezTo>
                      <a:cubicBezTo>
                        <a:pt x="123144" y="64566"/>
                        <a:pt x="126079" y="64566"/>
                        <a:pt x="129013" y="64566"/>
                      </a:cubicBezTo>
                      <a:cubicBezTo>
                        <a:pt x="131948" y="64566"/>
                        <a:pt x="131948" y="67500"/>
                        <a:pt x="134883" y="67500"/>
                      </a:cubicBezTo>
                      <a:cubicBezTo>
                        <a:pt x="146622" y="117391"/>
                        <a:pt x="167165" y="173152"/>
                        <a:pt x="181839" y="173152"/>
                      </a:cubicBezTo>
                      <a:cubicBezTo>
                        <a:pt x="205317" y="173152"/>
                        <a:pt x="228796" y="143804"/>
                        <a:pt x="228796" y="143804"/>
                      </a:cubicBezTo>
                      <a:cubicBezTo>
                        <a:pt x="228796" y="143804"/>
                        <a:pt x="231730" y="140869"/>
                        <a:pt x="231730" y="140869"/>
                      </a:cubicBezTo>
                      <a:lnTo>
                        <a:pt x="231730" y="140869"/>
                      </a:lnTo>
                      <a:cubicBezTo>
                        <a:pt x="234665" y="140869"/>
                        <a:pt x="234665" y="140869"/>
                        <a:pt x="234665" y="143804"/>
                      </a:cubicBezTo>
                      <a:cubicBezTo>
                        <a:pt x="275752" y="193696"/>
                        <a:pt x="349121" y="272934"/>
                        <a:pt x="375535" y="272934"/>
                      </a:cubicBezTo>
                      <a:cubicBezTo>
                        <a:pt x="375535" y="272934"/>
                        <a:pt x="378469" y="272934"/>
                        <a:pt x="378469" y="272934"/>
                      </a:cubicBezTo>
                      <a:cubicBezTo>
                        <a:pt x="396078" y="267065"/>
                        <a:pt x="404883" y="149674"/>
                        <a:pt x="399013" y="41087"/>
                      </a:cubicBezTo>
                      <a:cubicBezTo>
                        <a:pt x="399013" y="38152"/>
                        <a:pt x="399013" y="35218"/>
                        <a:pt x="401948" y="35218"/>
                      </a:cubicBezTo>
                      <a:cubicBezTo>
                        <a:pt x="404883" y="35218"/>
                        <a:pt x="407817" y="35218"/>
                        <a:pt x="407817" y="38152"/>
                      </a:cubicBezTo>
                      <a:cubicBezTo>
                        <a:pt x="419557" y="52826"/>
                        <a:pt x="457709" y="93913"/>
                        <a:pt x="478253" y="93913"/>
                      </a:cubicBezTo>
                      <a:cubicBezTo>
                        <a:pt x="492926" y="93913"/>
                        <a:pt x="510534" y="52826"/>
                        <a:pt x="516404" y="29348"/>
                      </a:cubicBezTo>
                      <a:cubicBezTo>
                        <a:pt x="516404" y="26413"/>
                        <a:pt x="519339" y="23478"/>
                        <a:pt x="522274" y="26413"/>
                      </a:cubicBezTo>
                      <a:cubicBezTo>
                        <a:pt x="525208" y="26413"/>
                        <a:pt x="528143" y="29348"/>
                        <a:pt x="525208" y="32283"/>
                      </a:cubicBezTo>
                      <a:cubicBezTo>
                        <a:pt x="522274" y="41087"/>
                        <a:pt x="504665" y="105652"/>
                        <a:pt x="475318" y="105652"/>
                      </a:cubicBezTo>
                      <a:cubicBezTo>
                        <a:pt x="454774" y="105652"/>
                        <a:pt x="422491" y="76305"/>
                        <a:pt x="407817" y="58696"/>
                      </a:cubicBezTo>
                      <a:cubicBezTo>
                        <a:pt x="410752" y="126195"/>
                        <a:pt x="410752" y="278804"/>
                        <a:pt x="378469" y="287608"/>
                      </a:cubicBezTo>
                      <a:cubicBezTo>
                        <a:pt x="378469" y="290543"/>
                        <a:pt x="378469" y="290543"/>
                        <a:pt x="375535" y="290543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8" name="任意多边形: 形状 87">
                  <a:extLst>
                    <a:ext uri="{FF2B5EF4-FFF2-40B4-BE49-F238E27FC236}">
                      <a16:creationId xmlns:a16="http://schemas.microsoft.com/office/drawing/2014/main" id="{B3597EE3-3081-428A-BE58-AA5E5F76DACD}"/>
                    </a:ext>
                  </a:extLst>
                </p:cNvPr>
                <p:cNvSpPr/>
                <p:nvPr/>
              </p:nvSpPr>
              <p:spPr>
                <a:xfrm>
                  <a:off x="15889732" y="9838764"/>
                  <a:ext cx="634335" cy="231113"/>
                </a:xfrm>
                <a:custGeom>
                  <a:avLst/>
                  <a:gdLst>
                    <a:gd name="connsiteX0" fmla="*/ 562745 w 634335"/>
                    <a:gd name="connsiteY0" fmla="*/ 225244 h 231113"/>
                    <a:gd name="connsiteX1" fmla="*/ 471766 w 634335"/>
                    <a:gd name="connsiteY1" fmla="*/ 178288 h 231113"/>
                    <a:gd name="connsiteX2" fmla="*/ 445354 w 634335"/>
                    <a:gd name="connsiteY2" fmla="*/ 204701 h 231113"/>
                    <a:gd name="connsiteX3" fmla="*/ 316223 w 634335"/>
                    <a:gd name="connsiteY3" fmla="*/ 157744 h 231113"/>
                    <a:gd name="connsiteX4" fmla="*/ 283941 w 634335"/>
                    <a:gd name="connsiteY4" fmla="*/ 128397 h 231113"/>
                    <a:gd name="connsiteX5" fmla="*/ 301549 w 634335"/>
                    <a:gd name="connsiteY5" fmla="*/ 207636 h 231113"/>
                    <a:gd name="connsiteX6" fmla="*/ 292745 w 634335"/>
                    <a:gd name="connsiteY6" fmla="*/ 210570 h 231113"/>
                    <a:gd name="connsiteX7" fmla="*/ 148940 w 634335"/>
                    <a:gd name="connsiteY7" fmla="*/ 151874 h 231113"/>
                    <a:gd name="connsiteX8" fmla="*/ 101984 w 634335"/>
                    <a:gd name="connsiteY8" fmla="*/ 210570 h 231113"/>
                    <a:gd name="connsiteX9" fmla="*/ 101984 w 634335"/>
                    <a:gd name="connsiteY9" fmla="*/ 210570 h 231113"/>
                    <a:gd name="connsiteX10" fmla="*/ 2201 w 634335"/>
                    <a:gd name="connsiteY10" fmla="*/ 160679 h 231113"/>
                    <a:gd name="connsiteX11" fmla="*/ 2201 w 634335"/>
                    <a:gd name="connsiteY11" fmla="*/ 151874 h 231113"/>
                    <a:gd name="connsiteX12" fmla="*/ 11005 w 634335"/>
                    <a:gd name="connsiteY12" fmla="*/ 151874 h 231113"/>
                    <a:gd name="connsiteX13" fmla="*/ 101984 w 634335"/>
                    <a:gd name="connsiteY13" fmla="*/ 201766 h 231113"/>
                    <a:gd name="connsiteX14" fmla="*/ 101984 w 634335"/>
                    <a:gd name="connsiteY14" fmla="*/ 201766 h 231113"/>
                    <a:gd name="connsiteX15" fmla="*/ 140136 w 634335"/>
                    <a:gd name="connsiteY15" fmla="*/ 146005 h 231113"/>
                    <a:gd name="connsiteX16" fmla="*/ 143070 w 634335"/>
                    <a:gd name="connsiteY16" fmla="*/ 143070 h 231113"/>
                    <a:gd name="connsiteX17" fmla="*/ 148940 w 634335"/>
                    <a:gd name="connsiteY17" fmla="*/ 143070 h 231113"/>
                    <a:gd name="connsiteX18" fmla="*/ 295679 w 634335"/>
                    <a:gd name="connsiteY18" fmla="*/ 204701 h 231113"/>
                    <a:gd name="connsiteX19" fmla="*/ 263397 w 634335"/>
                    <a:gd name="connsiteY19" fmla="*/ 113723 h 231113"/>
                    <a:gd name="connsiteX20" fmla="*/ 266332 w 634335"/>
                    <a:gd name="connsiteY20" fmla="*/ 107853 h 231113"/>
                    <a:gd name="connsiteX21" fmla="*/ 272202 w 634335"/>
                    <a:gd name="connsiteY21" fmla="*/ 107853 h 231113"/>
                    <a:gd name="connsiteX22" fmla="*/ 325027 w 634335"/>
                    <a:gd name="connsiteY22" fmla="*/ 154809 h 231113"/>
                    <a:gd name="connsiteX23" fmla="*/ 445354 w 634335"/>
                    <a:gd name="connsiteY23" fmla="*/ 198831 h 231113"/>
                    <a:gd name="connsiteX24" fmla="*/ 465897 w 634335"/>
                    <a:gd name="connsiteY24" fmla="*/ 169483 h 231113"/>
                    <a:gd name="connsiteX25" fmla="*/ 468831 w 634335"/>
                    <a:gd name="connsiteY25" fmla="*/ 166548 h 231113"/>
                    <a:gd name="connsiteX26" fmla="*/ 474701 w 634335"/>
                    <a:gd name="connsiteY26" fmla="*/ 169483 h 231113"/>
                    <a:gd name="connsiteX27" fmla="*/ 562745 w 634335"/>
                    <a:gd name="connsiteY27" fmla="*/ 219375 h 231113"/>
                    <a:gd name="connsiteX28" fmla="*/ 565680 w 634335"/>
                    <a:gd name="connsiteY28" fmla="*/ 219375 h 231113"/>
                    <a:gd name="connsiteX29" fmla="*/ 606767 w 634335"/>
                    <a:gd name="connsiteY29" fmla="*/ 192962 h 231113"/>
                    <a:gd name="connsiteX30" fmla="*/ 595028 w 634335"/>
                    <a:gd name="connsiteY30" fmla="*/ 101984 h 231113"/>
                    <a:gd name="connsiteX31" fmla="*/ 495244 w 634335"/>
                    <a:gd name="connsiteY31" fmla="*/ 11005 h 231113"/>
                    <a:gd name="connsiteX32" fmla="*/ 495244 w 634335"/>
                    <a:gd name="connsiteY32" fmla="*/ 2201 h 231113"/>
                    <a:gd name="connsiteX33" fmla="*/ 504049 w 634335"/>
                    <a:gd name="connsiteY33" fmla="*/ 2201 h 231113"/>
                    <a:gd name="connsiteX34" fmla="*/ 603832 w 634335"/>
                    <a:gd name="connsiteY34" fmla="*/ 96114 h 231113"/>
                    <a:gd name="connsiteX35" fmla="*/ 615571 w 634335"/>
                    <a:gd name="connsiteY35" fmla="*/ 201766 h 231113"/>
                    <a:gd name="connsiteX36" fmla="*/ 565680 w 634335"/>
                    <a:gd name="connsiteY36" fmla="*/ 231114 h 231113"/>
                    <a:gd name="connsiteX37" fmla="*/ 562745 w 634335"/>
                    <a:gd name="connsiteY37" fmla="*/ 225244 h 231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634335" h="231113">
                      <a:moveTo>
                        <a:pt x="562745" y="225244"/>
                      </a:moveTo>
                      <a:cubicBezTo>
                        <a:pt x="524592" y="225244"/>
                        <a:pt x="486440" y="192962"/>
                        <a:pt x="471766" y="178288"/>
                      </a:cubicBezTo>
                      <a:cubicBezTo>
                        <a:pt x="465897" y="192962"/>
                        <a:pt x="460028" y="201766"/>
                        <a:pt x="445354" y="204701"/>
                      </a:cubicBezTo>
                      <a:cubicBezTo>
                        <a:pt x="404267" y="219375"/>
                        <a:pt x="333831" y="172418"/>
                        <a:pt x="316223" y="157744"/>
                      </a:cubicBezTo>
                      <a:lnTo>
                        <a:pt x="283941" y="128397"/>
                      </a:lnTo>
                      <a:cubicBezTo>
                        <a:pt x="295679" y="157744"/>
                        <a:pt x="310353" y="195896"/>
                        <a:pt x="301549" y="207636"/>
                      </a:cubicBezTo>
                      <a:cubicBezTo>
                        <a:pt x="298614" y="210570"/>
                        <a:pt x="295679" y="210570"/>
                        <a:pt x="292745" y="210570"/>
                      </a:cubicBezTo>
                      <a:cubicBezTo>
                        <a:pt x="272202" y="207636"/>
                        <a:pt x="178288" y="163614"/>
                        <a:pt x="148940" y="151874"/>
                      </a:cubicBezTo>
                      <a:cubicBezTo>
                        <a:pt x="146005" y="169483"/>
                        <a:pt x="131331" y="210570"/>
                        <a:pt x="101984" y="210570"/>
                      </a:cubicBezTo>
                      <a:cubicBezTo>
                        <a:pt x="101984" y="210570"/>
                        <a:pt x="101984" y="210570"/>
                        <a:pt x="101984" y="210570"/>
                      </a:cubicBezTo>
                      <a:cubicBezTo>
                        <a:pt x="66767" y="210570"/>
                        <a:pt x="5136" y="160679"/>
                        <a:pt x="2201" y="160679"/>
                      </a:cubicBezTo>
                      <a:cubicBezTo>
                        <a:pt x="-734" y="157744"/>
                        <a:pt x="-734" y="154809"/>
                        <a:pt x="2201" y="151874"/>
                      </a:cubicBezTo>
                      <a:cubicBezTo>
                        <a:pt x="5136" y="148940"/>
                        <a:pt x="8071" y="148940"/>
                        <a:pt x="11005" y="151874"/>
                      </a:cubicBezTo>
                      <a:cubicBezTo>
                        <a:pt x="11005" y="151874"/>
                        <a:pt x="72636" y="201766"/>
                        <a:pt x="101984" y="201766"/>
                      </a:cubicBezTo>
                      <a:cubicBezTo>
                        <a:pt x="101984" y="201766"/>
                        <a:pt x="101984" y="201766"/>
                        <a:pt x="101984" y="201766"/>
                      </a:cubicBezTo>
                      <a:cubicBezTo>
                        <a:pt x="125462" y="201766"/>
                        <a:pt x="137201" y="160679"/>
                        <a:pt x="140136" y="146005"/>
                      </a:cubicBezTo>
                      <a:cubicBezTo>
                        <a:pt x="140136" y="143070"/>
                        <a:pt x="140136" y="143070"/>
                        <a:pt x="143070" y="143070"/>
                      </a:cubicBezTo>
                      <a:cubicBezTo>
                        <a:pt x="146005" y="143070"/>
                        <a:pt x="146005" y="143070"/>
                        <a:pt x="148940" y="143070"/>
                      </a:cubicBezTo>
                      <a:cubicBezTo>
                        <a:pt x="184158" y="160679"/>
                        <a:pt x="278071" y="201766"/>
                        <a:pt x="295679" y="204701"/>
                      </a:cubicBezTo>
                      <a:cubicBezTo>
                        <a:pt x="298614" y="198831"/>
                        <a:pt x="283941" y="157744"/>
                        <a:pt x="263397" y="113723"/>
                      </a:cubicBezTo>
                      <a:cubicBezTo>
                        <a:pt x="263397" y="110788"/>
                        <a:pt x="263397" y="107853"/>
                        <a:pt x="266332" y="107853"/>
                      </a:cubicBezTo>
                      <a:cubicBezTo>
                        <a:pt x="269267" y="104919"/>
                        <a:pt x="272202" y="107853"/>
                        <a:pt x="272202" y="107853"/>
                      </a:cubicBezTo>
                      <a:lnTo>
                        <a:pt x="325027" y="154809"/>
                      </a:lnTo>
                      <a:cubicBezTo>
                        <a:pt x="363179" y="181222"/>
                        <a:pt x="416006" y="210570"/>
                        <a:pt x="445354" y="198831"/>
                      </a:cubicBezTo>
                      <a:cubicBezTo>
                        <a:pt x="457093" y="195896"/>
                        <a:pt x="462962" y="184157"/>
                        <a:pt x="465897" y="169483"/>
                      </a:cubicBezTo>
                      <a:cubicBezTo>
                        <a:pt x="465897" y="166548"/>
                        <a:pt x="468831" y="166548"/>
                        <a:pt x="468831" y="166548"/>
                      </a:cubicBezTo>
                      <a:cubicBezTo>
                        <a:pt x="471766" y="166548"/>
                        <a:pt x="471766" y="166548"/>
                        <a:pt x="474701" y="169483"/>
                      </a:cubicBezTo>
                      <a:cubicBezTo>
                        <a:pt x="474701" y="169483"/>
                        <a:pt x="521658" y="219375"/>
                        <a:pt x="562745" y="219375"/>
                      </a:cubicBezTo>
                      <a:cubicBezTo>
                        <a:pt x="562745" y="219375"/>
                        <a:pt x="565680" y="219375"/>
                        <a:pt x="565680" y="219375"/>
                      </a:cubicBezTo>
                      <a:cubicBezTo>
                        <a:pt x="580354" y="219375"/>
                        <a:pt x="595028" y="210570"/>
                        <a:pt x="606767" y="192962"/>
                      </a:cubicBezTo>
                      <a:cubicBezTo>
                        <a:pt x="624376" y="169483"/>
                        <a:pt x="636114" y="140135"/>
                        <a:pt x="595028" y="101984"/>
                      </a:cubicBezTo>
                      <a:cubicBezTo>
                        <a:pt x="548071" y="57962"/>
                        <a:pt x="498179" y="11005"/>
                        <a:pt x="495244" y="11005"/>
                      </a:cubicBezTo>
                      <a:cubicBezTo>
                        <a:pt x="492310" y="8070"/>
                        <a:pt x="492310" y="5135"/>
                        <a:pt x="495244" y="2201"/>
                      </a:cubicBezTo>
                      <a:cubicBezTo>
                        <a:pt x="498179" y="-734"/>
                        <a:pt x="501114" y="-734"/>
                        <a:pt x="504049" y="2201"/>
                      </a:cubicBezTo>
                      <a:cubicBezTo>
                        <a:pt x="504049" y="2201"/>
                        <a:pt x="556875" y="49157"/>
                        <a:pt x="603832" y="96114"/>
                      </a:cubicBezTo>
                      <a:cubicBezTo>
                        <a:pt x="656657" y="146005"/>
                        <a:pt x="627310" y="187092"/>
                        <a:pt x="615571" y="201766"/>
                      </a:cubicBezTo>
                      <a:cubicBezTo>
                        <a:pt x="603832" y="219375"/>
                        <a:pt x="586223" y="231114"/>
                        <a:pt x="565680" y="231114"/>
                      </a:cubicBezTo>
                      <a:cubicBezTo>
                        <a:pt x="565680" y="225244"/>
                        <a:pt x="562745" y="225244"/>
                        <a:pt x="562745" y="225244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9" name="任意多边形: 形状 88">
                  <a:extLst>
                    <a:ext uri="{FF2B5EF4-FFF2-40B4-BE49-F238E27FC236}">
                      <a16:creationId xmlns:a16="http://schemas.microsoft.com/office/drawing/2014/main" id="{86884F40-926D-4439-96B4-942FC490CD2C}"/>
                    </a:ext>
                  </a:extLst>
                </p:cNvPr>
                <p:cNvSpPr/>
                <p:nvPr/>
              </p:nvSpPr>
              <p:spPr>
                <a:xfrm>
                  <a:off x="14398129" y="10005312"/>
                  <a:ext cx="938396" cy="173152"/>
                </a:xfrm>
                <a:custGeom>
                  <a:avLst/>
                  <a:gdLst>
                    <a:gd name="connsiteX0" fmla="*/ 64565 w 938396"/>
                    <a:gd name="connsiteY0" fmla="*/ 173153 h 173152"/>
                    <a:gd name="connsiteX1" fmla="*/ 11739 w 938396"/>
                    <a:gd name="connsiteY1" fmla="*/ 158479 h 173152"/>
                    <a:gd name="connsiteX2" fmla="*/ 0 w 938396"/>
                    <a:gd name="connsiteY2" fmla="*/ 132065 h 173152"/>
                    <a:gd name="connsiteX3" fmla="*/ 93913 w 938396"/>
                    <a:gd name="connsiteY3" fmla="*/ 2935 h 173152"/>
                    <a:gd name="connsiteX4" fmla="*/ 102717 w 938396"/>
                    <a:gd name="connsiteY4" fmla="*/ 2935 h 173152"/>
                    <a:gd name="connsiteX5" fmla="*/ 102717 w 938396"/>
                    <a:gd name="connsiteY5" fmla="*/ 11740 h 173152"/>
                    <a:gd name="connsiteX6" fmla="*/ 11739 w 938396"/>
                    <a:gd name="connsiteY6" fmla="*/ 132065 h 173152"/>
                    <a:gd name="connsiteX7" fmla="*/ 20543 w 938396"/>
                    <a:gd name="connsiteY7" fmla="*/ 149674 h 173152"/>
                    <a:gd name="connsiteX8" fmla="*/ 334565 w 938396"/>
                    <a:gd name="connsiteY8" fmla="*/ 32283 h 173152"/>
                    <a:gd name="connsiteX9" fmla="*/ 340435 w 938396"/>
                    <a:gd name="connsiteY9" fmla="*/ 32283 h 173152"/>
                    <a:gd name="connsiteX10" fmla="*/ 343369 w 938396"/>
                    <a:gd name="connsiteY10" fmla="*/ 35218 h 173152"/>
                    <a:gd name="connsiteX11" fmla="*/ 381522 w 938396"/>
                    <a:gd name="connsiteY11" fmla="*/ 79239 h 173152"/>
                    <a:gd name="connsiteX12" fmla="*/ 498913 w 938396"/>
                    <a:gd name="connsiteY12" fmla="*/ 17609 h 173152"/>
                    <a:gd name="connsiteX13" fmla="*/ 504782 w 938396"/>
                    <a:gd name="connsiteY13" fmla="*/ 17609 h 173152"/>
                    <a:gd name="connsiteX14" fmla="*/ 507717 w 938396"/>
                    <a:gd name="connsiteY14" fmla="*/ 23479 h 173152"/>
                    <a:gd name="connsiteX15" fmla="*/ 487174 w 938396"/>
                    <a:gd name="connsiteY15" fmla="*/ 146739 h 173152"/>
                    <a:gd name="connsiteX16" fmla="*/ 548804 w 938396"/>
                    <a:gd name="connsiteY16" fmla="*/ 143805 h 173152"/>
                    <a:gd name="connsiteX17" fmla="*/ 742500 w 938396"/>
                    <a:gd name="connsiteY17" fmla="*/ 2935 h 173152"/>
                    <a:gd name="connsiteX18" fmla="*/ 748370 w 938396"/>
                    <a:gd name="connsiteY18" fmla="*/ 0 h 173152"/>
                    <a:gd name="connsiteX19" fmla="*/ 754239 w 938396"/>
                    <a:gd name="connsiteY19" fmla="*/ 2935 h 173152"/>
                    <a:gd name="connsiteX20" fmla="*/ 815869 w 938396"/>
                    <a:gd name="connsiteY20" fmla="*/ 14674 h 173152"/>
                    <a:gd name="connsiteX21" fmla="*/ 821739 w 938396"/>
                    <a:gd name="connsiteY21" fmla="*/ 14674 h 173152"/>
                    <a:gd name="connsiteX22" fmla="*/ 821739 w 938396"/>
                    <a:gd name="connsiteY22" fmla="*/ 20544 h 173152"/>
                    <a:gd name="connsiteX23" fmla="*/ 812934 w 938396"/>
                    <a:gd name="connsiteY23" fmla="*/ 102717 h 173152"/>
                    <a:gd name="connsiteX24" fmla="*/ 815869 w 938396"/>
                    <a:gd name="connsiteY24" fmla="*/ 105652 h 173152"/>
                    <a:gd name="connsiteX25" fmla="*/ 927392 w 938396"/>
                    <a:gd name="connsiteY25" fmla="*/ 26414 h 173152"/>
                    <a:gd name="connsiteX26" fmla="*/ 936195 w 938396"/>
                    <a:gd name="connsiteY26" fmla="*/ 26414 h 173152"/>
                    <a:gd name="connsiteX27" fmla="*/ 936195 w 938396"/>
                    <a:gd name="connsiteY27" fmla="*/ 35218 h 173152"/>
                    <a:gd name="connsiteX28" fmla="*/ 815869 w 938396"/>
                    <a:gd name="connsiteY28" fmla="*/ 117391 h 173152"/>
                    <a:gd name="connsiteX29" fmla="*/ 804130 w 938396"/>
                    <a:gd name="connsiteY29" fmla="*/ 111522 h 173152"/>
                    <a:gd name="connsiteX30" fmla="*/ 810000 w 938396"/>
                    <a:gd name="connsiteY30" fmla="*/ 26414 h 173152"/>
                    <a:gd name="connsiteX31" fmla="*/ 751305 w 938396"/>
                    <a:gd name="connsiteY31" fmla="*/ 14674 h 173152"/>
                    <a:gd name="connsiteX32" fmla="*/ 557609 w 938396"/>
                    <a:gd name="connsiteY32" fmla="*/ 155544 h 173152"/>
                    <a:gd name="connsiteX33" fmla="*/ 484239 w 938396"/>
                    <a:gd name="connsiteY33" fmla="*/ 155544 h 173152"/>
                    <a:gd name="connsiteX34" fmla="*/ 490108 w 938396"/>
                    <a:gd name="connsiteY34" fmla="*/ 44022 h 173152"/>
                    <a:gd name="connsiteX35" fmla="*/ 381522 w 938396"/>
                    <a:gd name="connsiteY35" fmla="*/ 90978 h 173152"/>
                    <a:gd name="connsiteX36" fmla="*/ 340435 w 938396"/>
                    <a:gd name="connsiteY36" fmla="*/ 46957 h 173152"/>
                    <a:gd name="connsiteX37" fmla="*/ 64565 w 938396"/>
                    <a:gd name="connsiteY37" fmla="*/ 173153 h 1731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938396" h="173152">
                      <a:moveTo>
                        <a:pt x="64565" y="173153"/>
                      </a:moveTo>
                      <a:cubicBezTo>
                        <a:pt x="44022" y="173153"/>
                        <a:pt x="26413" y="167283"/>
                        <a:pt x="11739" y="158479"/>
                      </a:cubicBezTo>
                      <a:cubicBezTo>
                        <a:pt x="2935" y="152609"/>
                        <a:pt x="0" y="143805"/>
                        <a:pt x="0" y="132065"/>
                      </a:cubicBezTo>
                      <a:cubicBezTo>
                        <a:pt x="0" y="82174"/>
                        <a:pt x="90978" y="5870"/>
                        <a:pt x="93913" y="2935"/>
                      </a:cubicBezTo>
                      <a:cubicBezTo>
                        <a:pt x="96847" y="0"/>
                        <a:pt x="99782" y="0"/>
                        <a:pt x="102717" y="2935"/>
                      </a:cubicBezTo>
                      <a:cubicBezTo>
                        <a:pt x="105652" y="5870"/>
                        <a:pt x="105652" y="8805"/>
                        <a:pt x="102717" y="11740"/>
                      </a:cubicBezTo>
                      <a:cubicBezTo>
                        <a:pt x="102717" y="11740"/>
                        <a:pt x="11739" y="88043"/>
                        <a:pt x="11739" y="132065"/>
                      </a:cubicBezTo>
                      <a:cubicBezTo>
                        <a:pt x="11739" y="137935"/>
                        <a:pt x="14674" y="143805"/>
                        <a:pt x="20543" y="149674"/>
                      </a:cubicBezTo>
                      <a:cubicBezTo>
                        <a:pt x="58696" y="184892"/>
                        <a:pt x="181956" y="152609"/>
                        <a:pt x="334565" y="32283"/>
                      </a:cubicBezTo>
                      <a:cubicBezTo>
                        <a:pt x="334565" y="32283"/>
                        <a:pt x="337500" y="29348"/>
                        <a:pt x="340435" y="32283"/>
                      </a:cubicBezTo>
                      <a:cubicBezTo>
                        <a:pt x="343369" y="32283"/>
                        <a:pt x="343369" y="35218"/>
                        <a:pt x="343369" y="35218"/>
                      </a:cubicBezTo>
                      <a:cubicBezTo>
                        <a:pt x="343369" y="35218"/>
                        <a:pt x="352174" y="73370"/>
                        <a:pt x="381522" y="79239"/>
                      </a:cubicBezTo>
                      <a:cubicBezTo>
                        <a:pt x="410870" y="88043"/>
                        <a:pt x="449021" y="64566"/>
                        <a:pt x="498913" y="17609"/>
                      </a:cubicBezTo>
                      <a:cubicBezTo>
                        <a:pt x="501848" y="14674"/>
                        <a:pt x="504782" y="14674"/>
                        <a:pt x="504782" y="17609"/>
                      </a:cubicBezTo>
                      <a:cubicBezTo>
                        <a:pt x="507717" y="20544"/>
                        <a:pt x="507717" y="20544"/>
                        <a:pt x="507717" y="23479"/>
                      </a:cubicBezTo>
                      <a:cubicBezTo>
                        <a:pt x="495978" y="49892"/>
                        <a:pt x="466630" y="123261"/>
                        <a:pt x="487174" y="146739"/>
                      </a:cubicBezTo>
                      <a:cubicBezTo>
                        <a:pt x="495978" y="158479"/>
                        <a:pt x="519456" y="155544"/>
                        <a:pt x="548804" y="143805"/>
                      </a:cubicBezTo>
                      <a:cubicBezTo>
                        <a:pt x="683804" y="90978"/>
                        <a:pt x="742500" y="2935"/>
                        <a:pt x="742500" y="2935"/>
                      </a:cubicBezTo>
                      <a:cubicBezTo>
                        <a:pt x="742500" y="0"/>
                        <a:pt x="745435" y="0"/>
                        <a:pt x="748370" y="0"/>
                      </a:cubicBezTo>
                      <a:cubicBezTo>
                        <a:pt x="751305" y="0"/>
                        <a:pt x="751305" y="0"/>
                        <a:pt x="754239" y="2935"/>
                      </a:cubicBezTo>
                      <a:cubicBezTo>
                        <a:pt x="754239" y="2935"/>
                        <a:pt x="768913" y="26414"/>
                        <a:pt x="815869" y="14674"/>
                      </a:cubicBezTo>
                      <a:cubicBezTo>
                        <a:pt x="818804" y="14674"/>
                        <a:pt x="818804" y="14674"/>
                        <a:pt x="821739" y="14674"/>
                      </a:cubicBezTo>
                      <a:cubicBezTo>
                        <a:pt x="821739" y="14674"/>
                        <a:pt x="824674" y="17609"/>
                        <a:pt x="821739" y="20544"/>
                      </a:cubicBezTo>
                      <a:cubicBezTo>
                        <a:pt x="812934" y="46957"/>
                        <a:pt x="804130" y="90978"/>
                        <a:pt x="812934" y="102717"/>
                      </a:cubicBezTo>
                      <a:cubicBezTo>
                        <a:pt x="812934" y="102717"/>
                        <a:pt x="815869" y="105652"/>
                        <a:pt x="815869" y="105652"/>
                      </a:cubicBezTo>
                      <a:cubicBezTo>
                        <a:pt x="836413" y="105652"/>
                        <a:pt x="892174" y="58696"/>
                        <a:pt x="927392" y="26414"/>
                      </a:cubicBezTo>
                      <a:cubicBezTo>
                        <a:pt x="930326" y="23479"/>
                        <a:pt x="933261" y="23479"/>
                        <a:pt x="936195" y="26414"/>
                      </a:cubicBezTo>
                      <a:cubicBezTo>
                        <a:pt x="939130" y="29348"/>
                        <a:pt x="939130" y="32283"/>
                        <a:pt x="936195" y="35218"/>
                      </a:cubicBezTo>
                      <a:cubicBezTo>
                        <a:pt x="927392" y="44022"/>
                        <a:pt x="848152" y="117391"/>
                        <a:pt x="815869" y="117391"/>
                      </a:cubicBezTo>
                      <a:cubicBezTo>
                        <a:pt x="810000" y="117391"/>
                        <a:pt x="807065" y="114457"/>
                        <a:pt x="804130" y="111522"/>
                      </a:cubicBezTo>
                      <a:cubicBezTo>
                        <a:pt x="792391" y="93913"/>
                        <a:pt x="804130" y="46957"/>
                        <a:pt x="810000" y="26414"/>
                      </a:cubicBezTo>
                      <a:cubicBezTo>
                        <a:pt x="777717" y="32283"/>
                        <a:pt x="760109" y="23479"/>
                        <a:pt x="751305" y="14674"/>
                      </a:cubicBezTo>
                      <a:cubicBezTo>
                        <a:pt x="736631" y="35218"/>
                        <a:pt x="675000" y="108587"/>
                        <a:pt x="557609" y="155544"/>
                      </a:cubicBezTo>
                      <a:cubicBezTo>
                        <a:pt x="522391" y="170218"/>
                        <a:pt x="495978" y="170218"/>
                        <a:pt x="484239" y="155544"/>
                      </a:cubicBezTo>
                      <a:cubicBezTo>
                        <a:pt x="460760" y="132065"/>
                        <a:pt x="478369" y="76305"/>
                        <a:pt x="490108" y="44022"/>
                      </a:cubicBezTo>
                      <a:cubicBezTo>
                        <a:pt x="446086" y="82174"/>
                        <a:pt x="410870" y="99783"/>
                        <a:pt x="381522" y="90978"/>
                      </a:cubicBezTo>
                      <a:cubicBezTo>
                        <a:pt x="355109" y="82174"/>
                        <a:pt x="343369" y="58696"/>
                        <a:pt x="340435" y="46957"/>
                      </a:cubicBezTo>
                      <a:cubicBezTo>
                        <a:pt x="231848" y="126196"/>
                        <a:pt x="129130" y="173153"/>
                        <a:pt x="64565" y="173153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0" name="任意多边形: 形状 89">
                  <a:extLst>
                    <a:ext uri="{FF2B5EF4-FFF2-40B4-BE49-F238E27FC236}">
                      <a16:creationId xmlns:a16="http://schemas.microsoft.com/office/drawing/2014/main" id="{3EFE7476-06D6-481C-ADB0-918534CAE1BB}"/>
                    </a:ext>
                  </a:extLst>
                </p:cNvPr>
                <p:cNvSpPr/>
                <p:nvPr/>
              </p:nvSpPr>
              <p:spPr>
                <a:xfrm>
                  <a:off x="14280122" y="10816046"/>
                  <a:ext cx="1003577" cy="251657"/>
                </a:xfrm>
                <a:custGeom>
                  <a:avLst/>
                  <a:gdLst>
                    <a:gd name="connsiteX0" fmla="*/ 584637 w 1003577"/>
                    <a:gd name="connsiteY0" fmla="*/ 251658 h 251657"/>
                    <a:gd name="connsiteX1" fmla="*/ 537681 w 1003577"/>
                    <a:gd name="connsiteY1" fmla="*/ 231114 h 251657"/>
                    <a:gd name="connsiteX2" fmla="*/ 511268 w 1003577"/>
                    <a:gd name="connsiteY2" fmla="*/ 90245 h 251657"/>
                    <a:gd name="connsiteX3" fmla="*/ 449637 w 1003577"/>
                    <a:gd name="connsiteY3" fmla="*/ 78506 h 251657"/>
                    <a:gd name="connsiteX4" fmla="*/ 426159 w 1003577"/>
                    <a:gd name="connsiteY4" fmla="*/ 34484 h 251657"/>
                    <a:gd name="connsiteX5" fmla="*/ 241267 w 1003577"/>
                    <a:gd name="connsiteY5" fmla="*/ 172418 h 251657"/>
                    <a:gd name="connsiteX6" fmla="*/ 97463 w 1003577"/>
                    <a:gd name="connsiteY6" fmla="*/ 198832 h 251657"/>
                    <a:gd name="connsiteX7" fmla="*/ 82789 w 1003577"/>
                    <a:gd name="connsiteY7" fmla="*/ 175353 h 251657"/>
                    <a:gd name="connsiteX8" fmla="*/ 109202 w 1003577"/>
                    <a:gd name="connsiteY8" fmla="*/ 101984 h 251657"/>
                    <a:gd name="connsiteX9" fmla="*/ 15290 w 1003577"/>
                    <a:gd name="connsiteY9" fmla="*/ 134266 h 251657"/>
                    <a:gd name="connsiteX10" fmla="*/ 616 w 1003577"/>
                    <a:gd name="connsiteY10" fmla="*/ 125462 h 251657"/>
                    <a:gd name="connsiteX11" fmla="*/ 109202 w 1003577"/>
                    <a:gd name="connsiteY11" fmla="*/ 2201 h 251657"/>
                    <a:gd name="connsiteX12" fmla="*/ 118007 w 1003577"/>
                    <a:gd name="connsiteY12" fmla="*/ 2201 h 251657"/>
                    <a:gd name="connsiteX13" fmla="*/ 118007 w 1003577"/>
                    <a:gd name="connsiteY13" fmla="*/ 11005 h 251657"/>
                    <a:gd name="connsiteX14" fmla="*/ 15290 w 1003577"/>
                    <a:gd name="connsiteY14" fmla="*/ 122527 h 251657"/>
                    <a:gd name="connsiteX15" fmla="*/ 15290 w 1003577"/>
                    <a:gd name="connsiteY15" fmla="*/ 122527 h 251657"/>
                    <a:gd name="connsiteX16" fmla="*/ 21159 w 1003577"/>
                    <a:gd name="connsiteY16" fmla="*/ 122527 h 251657"/>
                    <a:gd name="connsiteX17" fmla="*/ 132681 w 1003577"/>
                    <a:gd name="connsiteY17" fmla="*/ 78506 h 251657"/>
                    <a:gd name="connsiteX18" fmla="*/ 138550 w 1003577"/>
                    <a:gd name="connsiteY18" fmla="*/ 78506 h 251657"/>
                    <a:gd name="connsiteX19" fmla="*/ 138550 w 1003577"/>
                    <a:gd name="connsiteY19" fmla="*/ 84375 h 251657"/>
                    <a:gd name="connsiteX20" fmla="*/ 100398 w 1003577"/>
                    <a:gd name="connsiteY20" fmla="*/ 172418 h 251657"/>
                    <a:gd name="connsiteX21" fmla="*/ 109202 w 1003577"/>
                    <a:gd name="connsiteY21" fmla="*/ 187092 h 251657"/>
                    <a:gd name="connsiteX22" fmla="*/ 434963 w 1003577"/>
                    <a:gd name="connsiteY22" fmla="*/ 13940 h 251657"/>
                    <a:gd name="connsiteX23" fmla="*/ 440833 w 1003577"/>
                    <a:gd name="connsiteY23" fmla="*/ 11005 h 251657"/>
                    <a:gd name="connsiteX24" fmla="*/ 443768 w 1003577"/>
                    <a:gd name="connsiteY24" fmla="*/ 16875 h 251657"/>
                    <a:gd name="connsiteX25" fmla="*/ 464311 w 1003577"/>
                    <a:gd name="connsiteY25" fmla="*/ 66767 h 251657"/>
                    <a:gd name="connsiteX26" fmla="*/ 523007 w 1003577"/>
                    <a:gd name="connsiteY26" fmla="*/ 75571 h 251657"/>
                    <a:gd name="connsiteX27" fmla="*/ 528877 w 1003577"/>
                    <a:gd name="connsiteY27" fmla="*/ 75571 h 251657"/>
                    <a:gd name="connsiteX28" fmla="*/ 531812 w 1003577"/>
                    <a:gd name="connsiteY28" fmla="*/ 81441 h 251657"/>
                    <a:gd name="connsiteX29" fmla="*/ 555290 w 1003577"/>
                    <a:gd name="connsiteY29" fmla="*/ 219375 h 251657"/>
                    <a:gd name="connsiteX30" fmla="*/ 605181 w 1003577"/>
                    <a:gd name="connsiteY30" fmla="*/ 234049 h 251657"/>
                    <a:gd name="connsiteX31" fmla="*/ 828224 w 1003577"/>
                    <a:gd name="connsiteY31" fmla="*/ 84375 h 251657"/>
                    <a:gd name="connsiteX32" fmla="*/ 834094 w 1003577"/>
                    <a:gd name="connsiteY32" fmla="*/ 84375 h 251657"/>
                    <a:gd name="connsiteX33" fmla="*/ 837029 w 1003577"/>
                    <a:gd name="connsiteY33" fmla="*/ 90245 h 251657"/>
                    <a:gd name="connsiteX34" fmla="*/ 845833 w 1003577"/>
                    <a:gd name="connsiteY34" fmla="*/ 192962 h 251657"/>
                    <a:gd name="connsiteX35" fmla="*/ 860507 w 1003577"/>
                    <a:gd name="connsiteY35" fmla="*/ 198832 h 251657"/>
                    <a:gd name="connsiteX36" fmla="*/ 992572 w 1003577"/>
                    <a:gd name="connsiteY36" fmla="*/ 119593 h 251657"/>
                    <a:gd name="connsiteX37" fmla="*/ 1001377 w 1003577"/>
                    <a:gd name="connsiteY37" fmla="*/ 119593 h 251657"/>
                    <a:gd name="connsiteX38" fmla="*/ 1001377 w 1003577"/>
                    <a:gd name="connsiteY38" fmla="*/ 128397 h 251657"/>
                    <a:gd name="connsiteX39" fmla="*/ 863442 w 1003577"/>
                    <a:gd name="connsiteY39" fmla="*/ 210571 h 251657"/>
                    <a:gd name="connsiteX40" fmla="*/ 842898 w 1003577"/>
                    <a:gd name="connsiteY40" fmla="*/ 201766 h 251657"/>
                    <a:gd name="connsiteX41" fmla="*/ 828224 w 1003577"/>
                    <a:gd name="connsiteY41" fmla="*/ 107854 h 251657"/>
                    <a:gd name="connsiteX42" fmla="*/ 608115 w 1003577"/>
                    <a:gd name="connsiteY42" fmla="*/ 248723 h 251657"/>
                    <a:gd name="connsiteX43" fmla="*/ 584637 w 1003577"/>
                    <a:gd name="connsiteY43" fmla="*/ 251658 h 251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1003577" h="251657">
                      <a:moveTo>
                        <a:pt x="584637" y="251658"/>
                      </a:moveTo>
                      <a:cubicBezTo>
                        <a:pt x="564094" y="251658"/>
                        <a:pt x="549420" y="245788"/>
                        <a:pt x="537681" y="231114"/>
                      </a:cubicBezTo>
                      <a:cubicBezTo>
                        <a:pt x="502464" y="192962"/>
                        <a:pt x="508333" y="116658"/>
                        <a:pt x="511268" y="90245"/>
                      </a:cubicBezTo>
                      <a:cubicBezTo>
                        <a:pt x="484855" y="93180"/>
                        <a:pt x="464311" y="90245"/>
                        <a:pt x="449637" y="78506"/>
                      </a:cubicBezTo>
                      <a:cubicBezTo>
                        <a:pt x="434963" y="66767"/>
                        <a:pt x="429094" y="46223"/>
                        <a:pt x="426159" y="34484"/>
                      </a:cubicBezTo>
                      <a:cubicBezTo>
                        <a:pt x="376268" y="90245"/>
                        <a:pt x="311703" y="140136"/>
                        <a:pt x="241267" y="172418"/>
                      </a:cubicBezTo>
                      <a:cubicBezTo>
                        <a:pt x="173768" y="204701"/>
                        <a:pt x="118007" y="213506"/>
                        <a:pt x="97463" y="198832"/>
                      </a:cubicBezTo>
                      <a:cubicBezTo>
                        <a:pt x="88659" y="192962"/>
                        <a:pt x="85724" y="184158"/>
                        <a:pt x="82789" y="175353"/>
                      </a:cubicBezTo>
                      <a:cubicBezTo>
                        <a:pt x="79854" y="151875"/>
                        <a:pt x="94528" y="122527"/>
                        <a:pt x="109202" y="101984"/>
                      </a:cubicBezTo>
                      <a:cubicBezTo>
                        <a:pt x="85724" y="116658"/>
                        <a:pt x="47573" y="134266"/>
                        <a:pt x="15290" y="134266"/>
                      </a:cubicBezTo>
                      <a:cubicBezTo>
                        <a:pt x="6485" y="134266"/>
                        <a:pt x="616" y="131331"/>
                        <a:pt x="616" y="125462"/>
                      </a:cubicBezTo>
                      <a:cubicBezTo>
                        <a:pt x="-8189" y="101984"/>
                        <a:pt x="79854" y="25679"/>
                        <a:pt x="109202" y="2201"/>
                      </a:cubicBezTo>
                      <a:cubicBezTo>
                        <a:pt x="112137" y="-734"/>
                        <a:pt x="115072" y="-734"/>
                        <a:pt x="118007" y="2201"/>
                      </a:cubicBezTo>
                      <a:cubicBezTo>
                        <a:pt x="120942" y="5136"/>
                        <a:pt x="120942" y="8071"/>
                        <a:pt x="118007" y="11005"/>
                      </a:cubicBezTo>
                      <a:cubicBezTo>
                        <a:pt x="59311" y="60897"/>
                        <a:pt x="9420" y="113723"/>
                        <a:pt x="15290" y="122527"/>
                      </a:cubicBezTo>
                      <a:lnTo>
                        <a:pt x="15290" y="122527"/>
                      </a:lnTo>
                      <a:cubicBezTo>
                        <a:pt x="15290" y="122527"/>
                        <a:pt x="15290" y="122527"/>
                        <a:pt x="21159" y="122527"/>
                      </a:cubicBezTo>
                      <a:cubicBezTo>
                        <a:pt x="71050" y="119593"/>
                        <a:pt x="132681" y="78506"/>
                        <a:pt x="132681" y="78506"/>
                      </a:cubicBezTo>
                      <a:cubicBezTo>
                        <a:pt x="135616" y="75571"/>
                        <a:pt x="138550" y="78506"/>
                        <a:pt x="138550" y="78506"/>
                      </a:cubicBezTo>
                      <a:cubicBezTo>
                        <a:pt x="141485" y="81441"/>
                        <a:pt x="141485" y="84375"/>
                        <a:pt x="138550" y="84375"/>
                      </a:cubicBezTo>
                      <a:cubicBezTo>
                        <a:pt x="138550" y="84375"/>
                        <a:pt x="94528" y="140136"/>
                        <a:pt x="100398" y="172418"/>
                      </a:cubicBezTo>
                      <a:cubicBezTo>
                        <a:pt x="100398" y="178288"/>
                        <a:pt x="103333" y="184158"/>
                        <a:pt x="109202" y="187092"/>
                      </a:cubicBezTo>
                      <a:cubicBezTo>
                        <a:pt x="144420" y="213506"/>
                        <a:pt x="326377" y="146005"/>
                        <a:pt x="434963" y="13940"/>
                      </a:cubicBezTo>
                      <a:cubicBezTo>
                        <a:pt x="434963" y="11005"/>
                        <a:pt x="437898" y="11005"/>
                        <a:pt x="440833" y="11005"/>
                      </a:cubicBezTo>
                      <a:cubicBezTo>
                        <a:pt x="443768" y="11005"/>
                        <a:pt x="443768" y="13940"/>
                        <a:pt x="443768" y="16875"/>
                      </a:cubicBezTo>
                      <a:cubicBezTo>
                        <a:pt x="443768" y="16875"/>
                        <a:pt x="443768" y="49158"/>
                        <a:pt x="464311" y="66767"/>
                      </a:cubicBezTo>
                      <a:cubicBezTo>
                        <a:pt x="478985" y="78506"/>
                        <a:pt x="496594" y="81441"/>
                        <a:pt x="523007" y="75571"/>
                      </a:cubicBezTo>
                      <a:cubicBezTo>
                        <a:pt x="525942" y="75571"/>
                        <a:pt x="525942" y="75571"/>
                        <a:pt x="528877" y="75571"/>
                      </a:cubicBezTo>
                      <a:cubicBezTo>
                        <a:pt x="528877" y="75571"/>
                        <a:pt x="531812" y="78506"/>
                        <a:pt x="531812" y="81441"/>
                      </a:cubicBezTo>
                      <a:cubicBezTo>
                        <a:pt x="531812" y="81441"/>
                        <a:pt x="517138" y="181223"/>
                        <a:pt x="555290" y="219375"/>
                      </a:cubicBezTo>
                      <a:cubicBezTo>
                        <a:pt x="567029" y="231114"/>
                        <a:pt x="584637" y="236984"/>
                        <a:pt x="605181" y="234049"/>
                      </a:cubicBezTo>
                      <a:cubicBezTo>
                        <a:pt x="707899" y="222310"/>
                        <a:pt x="828224" y="84375"/>
                        <a:pt x="828224" y="84375"/>
                      </a:cubicBezTo>
                      <a:cubicBezTo>
                        <a:pt x="831159" y="81441"/>
                        <a:pt x="831159" y="81441"/>
                        <a:pt x="834094" y="84375"/>
                      </a:cubicBezTo>
                      <a:cubicBezTo>
                        <a:pt x="837029" y="84375"/>
                        <a:pt x="837029" y="87310"/>
                        <a:pt x="837029" y="90245"/>
                      </a:cubicBezTo>
                      <a:cubicBezTo>
                        <a:pt x="834094" y="110789"/>
                        <a:pt x="828224" y="172418"/>
                        <a:pt x="845833" y="192962"/>
                      </a:cubicBezTo>
                      <a:cubicBezTo>
                        <a:pt x="848768" y="195897"/>
                        <a:pt x="854638" y="198832"/>
                        <a:pt x="860507" y="198832"/>
                      </a:cubicBezTo>
                      <a:cubicBezTo>
                        <a:pt x="904529" y="198832"/>
                        <a:pt x="989637" y="119593"/>
                        <a:pt x="992572" y="119593"/>
                      </a:cubicBezTo>
                      <a:cubicBezTo>
                        <a:pt x="995507" y="116658"/>
                        <a:pt x="998442" y="116658"/>
                        <a:pt x="1001377" y="119593"/>
                      </a:cubicBezTo>
                      <a:cubicBezTo>
                        <a:pt x="1004311" y="122527"/>
                        <a:pt x="1004311" y="125462"/>
                        <a:pt x="1001377" y="128397"/>
                      </a:cubicBezTo>
                      <a:cubicBezTo>
                        <a:pt x="998442" y="131331"/>
                        <a:pt x="910398" y="210571"/>
                        <a:pt x="863442" y="210571"/>
                      </a:cubicBezTo>
                      <a:cubicBezTo>
                        <a:pt x="854638" y="210571"/>
                        <a:pt x="848768" y="207636"/>
                        <a:pt x="842898" y="201766"/>
                      </a:cubicBezTo>
                      <a:cubicBezTo>
                        <a:pt x="825290" y="181223"/>
                        <a:pt x="828224" y="134266"/>
                        <a:pt x="828224" y="107854"/>
                      </a:cubicBezTo>
                      <a:cubicBezTo>
                        <a:pt x="795942" y="143070"/>
                        <a:pt x="699094" y="236984"/>
                        <a:pt x="608115" y="248723"/>
                      </a:cubicBezTo>
                      <a:cubicBezTo>
                        <a:pt x="593441" y="251658"/>
                        <a:pt x="590507" y="251658"/>
                        <a:pt x="584637" y="251658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1" name="任意多边形: 形状 90">
                  <a:extLst>
                    <a:ext uri="{FF2B5EF4-FFF2-40B4-BE49-F238E27FC236}">
                      <a16:creationId xmlns:a16="http://schemas.microsoft.com/office/drawing/2014/main" id="{7C4A1F65-15BC-434D-B0D8-E11F7A6532A0}"/>
                    </a:ext>
                  </a:extLst>
                </p:cNvPr>
                <p:cNvSpPr/>
                <p:nvPr/>
              </p:nvSpPr>
              <p:spPr>
                <a:xfrm>
                  <a:off x="15683563" y="10765422"/>
                  <a:ext cx="375326" cy="393260"/>
                </a:xfrm>
                <a:custGeom>
                  <a:avLst/>
                  <a:gdLst>
                    <a:gd name="connsiteX0" fmla="*/ 267065 w 375326"/>
                    <a:gd name="connsiteY0" fmla="*/ 387391 h 393260"/>
                    <a:gd name="connsiteX1" fmla="*/ 120326 w 375326"/>
                    <a:gd name="connsiteY1" fmla="*/ 305217 h 393260"/>
                    <a:gd name="connsiteX2" fmla="*/ 79239 w 375326"/>
                    <a:gd name="connsiteY2" fmla="*/ 316956 h 393260"/>
                    <a:gd name="connsiteX3" fmla="*/ 0 w 375326"/>
                    <a:gd name="connsiteY3" fmla="*/ 228913 h 393260"/>
                    <a:gd name="connsiteX4" fmla="*/ 2935 w 375326"/>
                    <a:gd name="connsiteY4" fmla="*/ 223043 h 393260"/>
                    <a:gd name="connsiteX5" fmla="*/ 8805 w 375326"/>
                    <a:gd name="connsiteY5" fmla="*/ 225978 h 393260"/>
                    <a:gd name="connsiteX6" fmla="*/ 79239 w 375326"/>
                    <a:gd name="connsiteY6" fmla="*/ 308152 h 393260"/>
                    <a:gd name="connsiteX7" fmla="*/ 114456 w 375326"/>
                    <a:gd name="connsiteY7" fmla="*/ 296412 h 393260"/>
                    <a:gd name="connsiteX8" fmla="*/ 123261 w 375326"/>
                    <a:gd name="connsiteY8" fmla="*/ 296412 h 393260"/>
                    <a:gd name="connsiteX9" fmla="*/ 272935 w 375326"/>
                    <a:gd name="connsiteY9" fmla="*/ 378587 h 393260"/>
                    <a:gd name="connsiteX10" fmla="*/ 290543 w 375326"/>
                    <a:gd name="connsiteY10" fmla="*/ 363913 h 393260"/>
                    <a:gd name="connsiteX11" fmla="*/ 243588 w 375326"/>
                    <a:gd name="connsiteY11" fmla="*/ 234783 h 393260"/>
                    <a:gd name="connsiteX12" fmla="*/ 243588 w 375326"/>
                    <a:gd name="connsiteY12" fmla="*/ 228913 h 393260"/>
                    <a:gd name="connsiteX13" fmla="*/ 249457 w 375326"/>
                    <a:gd name="connsiteY13" fmla="*/ 225978 h 393260"/>
                    <a:gd name="connsiteX14" fmla="*/ 363913 w 375326"/>
                    <a:gd name="connsiteY14" fmla="*/ 243587 h 393260"/>
                    <a:gd name="connsiteX15" fmla="*/ 340435 w 375326"/>
                    <a:gd name="connsiteY15" fmla="*/ 176087 h 393260"/>
                    <a:gd name="connsiteX16" fmla="*/ 278804 w 375326"/>
                    <a:gd name="connsiteY16" fmla="*/ 5869 h 393260"/>
                    <a:gd name="connsiteX17" fmla="*/ 284674 w 375326"/>
                    <a:gd name="connsiteY17" fmla="*/ 0 h 393260"/>
                    <a:gd name="connsiteX18" fmla="*/ 290543 w 375326"/>
                    <a:gd name="connsiteY18" fmla="*/ 5869 h 393260"/>
                    <a:gd name="connsiteX19" fmla="*/ 349239 w 375326"/>
                    <a:gd name="connsiteY19" fmla="*/ 173152 h 393260"/>
                    <a:gd name="connsiteX20" fmla="*/ 366848 w 375326"/>
                    <a:gd name="connsiteY20" fmla="*/ 255326 h 393260"/>
                    <a:gd name="connsiteX21" fmla="*/ 264130 w 375326"/>
                    <a:gd name="connsiteY21" fmla="*/ 246522 h 393260"/>
                    <a:gd name="connsiteX22" fmla="*/ 299348 w 375326"/>
                    <a:gd name="connsiteY22" fmla="*/ 372717 h 393260"/>
                    <a:gd name="connsiteX23" fmla="*/ 272935 w 375326"/>
                    <a:gd name="connsiteY23" fmla="*/ 393261 h 393260"/>
                    <a:gd name="connsiteX24" fmla="*/ 267065 w 375326"/>
                    <a:gd name="connsiteY24" fmla="*/ 387391 h 3932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75326" h="393260">
                      <a:moveTo>
                        <a:pt x="267065" y="387391"/>
                      </a:moveTo>
                      <a:cubicBezTo>
                        <a:pt x="217174" y="387391"/>
                        <a:pt x="137935" y="319891"/>
                        <a:pt x="120326" y="305217"/>
                      </a:cubicBezTo>
                      <a:cubicBezTo>
                        <a:pt x="108587" y="316956"/>
                        <a:pt x="93913" y="319891"/>
                        <a:pt x="79239" y="316956"/>
                      </a:cubicBezTo>
                      <a:cubicBezTo>
                        <a:pt x="35218" y="308152"/>
                        <a:pt x="2935" y="231848"/>
                        <a:pt x="0" y="228913"/>
                      </a:cubicBezTo>
                      <a:cubicBezTo>
                        <a:pt x="0" y="225978"/>
                        <a:pt x="0" y="223043"/>
                        <a:pt x="2935" y="223043"/>
                      </a:cubicBezTo>
                      <a:cubicBezTo>
                        <a:pt x="5870" y="223043"/>
                        <a:pt x="8805" y="223043"/>
                        <a:pt x="8805" y="225978"/>
                      </a:cubicBezTo>
                      <a:cubicBezTo>
                        <a:pt x="8805" y="225978"/>
                        <a:pt x="41087" y="299347"/>
                        <a:pt x="79239" y="308152"/>
                      </a:cubicBezTo>
                      <a:cubicBezTo>
                        <a:pt x="90978" y="311086"/>
                        <a:pt x="102717" y="305217"/>
                        <a:pt x="114456" y="296412"/>
                      </a:cubicBezTo>
                      <a:cubicBezTo>
                        <a:pt x="117391" y="293478"/>
                        <a:pt x="120326" y="293478"/>
                        <a:pt x="123261" y="296412"/>
                      </a:cubicBezTo>
                      <a:cubicBezTo>
                        <a:pt x="123261" y="296412"/>
                        <a:pt x="223044" y="387391"/>
                        <a:pt x="272935" y="378587"/>
                      </a:cubicBezTo>
                      <a:cubicBezTo>
                        <a:pt x="281739" y="375652"/>
                        <a:pt x="287609" y="372717"/>
                        <a:pt x="290543" y="363913"/>
                      </a:cubicBezTo>
                      <a:cubicBezTo>
                        <a:pt x="319891" y="305217"/>
                        <a:pt x="243588" y="234783"/>
                        <a:pt x="243588" y="234783"/>
                      </a:cubicBezTo>
                      <a:cubicBezTo>
                        <a:pt x="240653" y="231848"/>
                        <a:pt x="240653" y="228913"/>
                        <a:pt x="243588" y="228913"/>
                      </a:cubicBezTo>
                      <a:cubicBezTo>
                        <a:pt x="243588" y="225978"/>
                        <a:pt x="246522" y="225978"/>
                        <a:pt x="249457" y="225978"/>
                      </a:cubicBezTo>
                      <a:cubicBezTo>
                        <a:pt x="272935" y="234783"/>
                        <a:pt x="343370" y="255326"/>
                        <a:pt x="363913" y="243587"/>
                      </a:cubicBezTo>
                      <a:cubicBezTo>
                        <a:pt x="372718" y="237717"/>
                        <a:pt x="358044" y="208369"/>
                        <a:pt x="340435" y="176087"/>
                      </a:cubicBezTo>
                      <a:cubicBezTo>
                        <a:pt x="319891" y="132065"/>
                        <a:pt x="290543" y="70435"/>
                        <a:pt x="278804" y="5869"/>
                      </a:cubicBezTo>
                      <a:cubicBezTo>
                        <a:pt x="278804" y="2934"/>
                        <a:pt x="281739" y="0"/>
                        <a:pt x="284674" y="0"/>
                      </a:cubicBezTo>
                      <a:cubicBezTo>
                        <a:pt x="287609" y="0"/>
                        <a:pt x="290543" y="2934"/>
                        <a:pt x="290543" y="5869"/>
                      </a:cubicBezTo>
                      <a:cubicBezTo>
                        <a:pt x="299348" y="70435"/>
                        <a:pt x="328696" y="129130"/>
                        <a:pt x="349239" y="173152"/>
                      </a:cubicBezTo>
                      <a:cubicBezTo>
                        <a:pt x="372718" y="220109"/>
                        <a:pt x="384457" y="246522"/>
                        <a:pt x="366848" y="255326"/>
                      </a:cubicBezTo>
                      <a:cubicBezTo>
                        <a:pt x="346305" y="267065"/>
                        <a:pt x="293478" y="255326"/>
                        <a:pt x="264130" y="246522"/>
                      </a:cubicBezTo>
                      <a:cubicBezTo>
                        <a:pt x="287609" y="272934"/>
                        <a:pt x="322826" y="325760"/>
                        <a:pt x="299348" y="372717"/>
                      </a:cubicBezTo>
                      <a:cubicBezTo>
                        <a:pt x="293478" y="384456"/>
                        <a:pt x="284674" y="390326"/>
                        <a:pt x="272935" y="393261"/>
                      </a:cubicBezTo>
                      <a:cubicBezTo>
                        <a:pt x="272935" y="387391"/>
                        <a:pt x="270000" y="387391"/>
                        <a:pt x="267065" y="387391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2" name="任意多边形: 形状 91">
                  <a:extLst>
                    <a:ext uri="{FF2B5EF4-FFF2-40B4-BE49-F238E27FC236}">
                      <a16:creationId xmlns:a16="http://schemas.microsoft.com/office/drawing/2014/main" id="{B7CD9A78-FC1D-47EE-A3F7-D9782AE4451E}"/>
                    </a:ext>
                  </a:extLst>
                </p:cNvPr>
                <p:cNvSpPr/>
                <p:nvPr/>
              </p:nvSpPr>
              <p:spPr>
                <a:xfrm>
                  <a:off x="15167042" y="7610530"/>
                  <a:ext cx="783587" cy="751304"/>
                </a:xfrm>
                <a:custGeom>
                  <a:avLst/>
                  <a:gdLst>
                    <a:gd name="connsiteX0" fmla="*/ 645652 w 783587"/>
                    <a:gd name="connsiteY0" fmla="*/ 739565 h 751304"/>
                    <a:gd name="connsiteX1" fmla="*/ 402066 w 783587"/>
                    <a:gd name="connsiteY1" fmla="*/ 651522 h 751304"/>
                    <a:gd name="connsiteX2" fmla="*/ 161413 w 783587"/>
                    <a:gd name="connsiteY2" fmla="*/ 751305 h 751304"/>
                    <a:gd name="connsiteX3" fmla="*/ 170218 w 783587"/>
                    <a:gd name="connsiteY3" fmla="*/ 493044 h 751304"/>
                    <a:gd name="connsiteX4" fmla="*/ 0 w 783587"/>
                    <a:gd name="connsiteY4" fmla="*/ 296413 h 751304"/>
                    <a:gd name="connsiteX5" fmla="*/ 249457 w 783587"/>
                    <a:gd name="connsiteY5" fmla="*/ 223044 h 751304"/>
                    <a:gd name="connsiteX6" fmla="*/ 384457 w 783587"/>
                    <a:gd name="connsiteY6" fmla="*/ 0 h 751304"/>
                    <a:gd name="connsiteX7" fmla="*/ 531196 w 783587"/>
                    <a:gd name="connsiteY7" fmla="*/ 214239 h 751304"/>
                    <a:gd name="connsiteX8" fmla="*/ 783587 w 783587"/>
                    <a:gd name="connsiteY8" fmla="*/ 275870 h 751304"/>
                    <a:gd name="connsiteX9" fmla="*/ 625109 w 783587"/>
                    <a:gd name="connsiteY9" fmla="*/ 481305 h 7513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83587" h="751304">
                      <a:moveTo>
                        <a:pt x="645652" y="739565"/>
                      </a:moveTo>
                      <a:lnTo>
                        <a:pt x="402066" y="651522"/>
                      </a:lnTo>
                      <a:lnTo>
                        <a:pt x="161413" y="751305"/>
                      </a:lnTo>
                      <a:lnTo>
                        <a:pt x="170218" y="493044"/>
                      </a:lnTo>
                      <a:lnTo>
                        <a:pt x="0" y="296413"/>
                      </a:lnTo>
                      <a:lnTo>
                        <a:pt x="249457" y="223044"/>
                      </a:lnTo>
                      <a:lnTo>
                        <a:pt x="384457" y="0"/>
                      </a:lnTo>
                      <a:lnTo>
                        <a:pt x="531196" y="214239"/>
                      </a:lnTo>
                      <a:lnTo>
                        <a:pt x="783587" y="275870"/>
                      </a:lnTo>
                      <a:lnTo>
                        <a:pt x="625109" y="481305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93" name="图形 1">
                  <a:extLst>
                    <a:ext uri="{FF2B5EF4-FFF2-40B4-BE49-F238E27FC236}">
                      <a16:creationId xmlns:a16="http://schemas.microsoft.com/office/drawing/2014/main" id="{8097E84E-A5ED-41E2-B8B7-F0383E09D7FC}"/>
                    </a:ext>
                  </a:extLst>
                </p:cNvPr>
                <p:cNvGrpSpPr/>
                <p:nvPr/>
              </p:nvGrpSpPr>
              <p:grpSpPr>
                <a:xfrm>
                  <a:off x="14732694" y="10430856"/>
                  <a:ext cx="322826" cy="378587"/>
                  <a:chOff x="14732694" y="10430856"/>
                  <a:chExt cx="322826" cy="378587"/>
                </a:xfrm>
              </p:grpSpPr>
              <p:grpSp>
                <p:nvGrpSpPr>
                  <p:cNvPr id="124" name="图形 1">
                    <a:extLst>
                      <a:ext uri="{FF2B5EF4-FFF2-40B4-BE49-F238E27FC236}">
                        <a16:creationId xmlns:a16="http://schemas.microsoft.com/office/drawing/2014/main" id="{31B613E0-4F2A-46B2-A016-875B9348A02A}"/>
                      </a:ext>
                    </a:extLst>
                  </p:cNvPr>
                  <p:cNvGrpSpPr/>
                  <p:nvPr/>
                </p:nvGrpSpPr>
                <p:grpSpPr>
                  <a:xfrm>
                    <a:off x="14732694" y="10430856"/>
                    <a:ext cx="322826" cy="378587"/>
                    <a:chOff x="14732694" y="10430856"/>
                    <a:chExt cx="322826" cy="378587"/>
                  </a:xfrm>
                </p:grpSpPr>
                <p:sp>
                  <p:nvSpPr>
                    <p:cNvPr id="126" name="任意多边形: 形状 125">
                      <a:extLst>
                        <a:ext uri="{FF2B5EF4-FFF2-40B4-BE49-F238E27FC236}">
                          <a16:creationId xmlns:a16="http://schemas.microsoft.com/office/drawing/2014/main" id="{DFB7D547-5576-4F23-8AB7-E06C76247C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53020" y="10430856"/>
                      <a:ext cx="88043" cy="140870"/>
                    </a:xfrm>
                    <a:custGeom>
                      <a:avLst/>
                      <a:gdLst>
                        <a:gd name="connsiteX0" fmla="*/ 76305 w 88043"/>
                        <a:gd name="connsiteY0" fmla="*/ 0 h 140870"/>
                        <a:gd name="connsiteX1" fmla="*/ 11739 w 88043"/>
                        <a:gd name="connsiteY1" fmla="*/ 0 h 140870"/>
                        <a:gd name="connsiteX2" fmla="*/ 0 w 88043"/>
                        <a:gd name="connsiteY2" fmla="*/ 11740 h 140870"/>
                        <a:gd name="connsiteX3" fmla="*/ 0 w 88043"/>
                        <a:gd name="connsiteY3" fmla="*/ 129131 h 140870"/>
                        <a:gd name="connsiteX4" fmla="*/ 11739 w 88043"/>
                        <a:gd name="connsiteY4" fmla="*/ 140870 h 140870"/>
                        <a:gd name="connsiteX5" fmla="*/ 76305 w 88043"/>
                        <a:gd name="connsiteY5" fmla="*/ 140870 h 140870"/>
                        <a:gd name="connsiteX6" fmla="*/ 88043 w 88043"/>
                        <a:gd name="connsiteY6" fmla="*/ 129131 h 140870"/>
                        <a:gd name="connsiteX7" fmla="*/ 88043 w 88043"/>
                        <a:gd name="connsiteY7" fmla="*/ 11740 h 140870"/>
                        <a:gd name="connsiteX8" fmla="*/ 76305 w 88043"/>
                        <a:gd name="connsiteY8" fmla="*/ 0 h 1408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043" h="140870">
                          <a:moveTo>
                            <a:pt x="76305" y="0"/>
                          </a:moveTo>
                          <a:lnTo>
                            <a:pt x="11739" y="0"/>
                          </a:lnTo>
                          <a:cubicBezTo>
                            <a:pt x="5869" y="0"/>
                            <a:pt x="0" y="5870"/>
                            <a:pt x="0" y="11740"/>
                          </a:cubicBezTo>
                          <a:lnTo>
                            <a:pt x="0" y="129131"/>
                          </a:lnTo>
                          <a:cubicBezTo>
                            <a:pt x="0" y="135000"/>
                            <a:pt x="5869" y="140870"/>
                            <a:pt x="11739" y="140870"/>
                          </a:cubicBezTo>
                          <a:lnTo>
                            <a:pt x="76305" y="140870"/>
                          </a:lnTo>
                          <a:cubicBezTo>
                            <a:pt x="82174" y="140870"/>
                            <a:pt x="88043" y="135000"/>
                            <a:pt x="88043" y="129131"/>
                          </a:cubicBezTo>
                          <a:lnTo>
                            <a:pt x="88043" y="11740"/>
                          </a:lnTo>
                          <a:cubicBezTo>
                            <a:pt x="88043" y="2935"/>
                            <a:pt x="82174" y="0"/>
                            <a:pt x="76305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27" name="任意多边形: 形状 126">
                      <a:extLst>
                        <a:ext uri="{FF2B5EF4-FFF2-40B4-BE49-F238E27FC236}">
                          <a16:creationId xmlns:a16="http://schemas.microsoft.com/office/drawing/2014/main" id="{0BE27706-1AC9-4BF8-9000-86EA2C72BC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32694" y="10486617"/>
                      <a:ext cx="322826" cy="322826"/>
                    </a:xfrm>
                    <a:custGeom>
                      <a:avLst/>
                      <a:gdLst>
                        <a:gd name="connsiteX0" fmla="*/ 161413 w 322826"/>
                        <a:gd name="connsiteY0" fmla="*/ 0 h 322826"/>
                        <a:gd name="connsiteX1" fmla="*/ 0 w 322826"/>
                        <a:gd name="connsiteY1" fmla="*/ 161413 h 322826"/>
                        <a:gd name="connsiteX2" fmla="*/ 161413 w 322826"/>
                        <a:gd name="connsiteY2" fmla="*/ 322826 h 322826"/>
                        <a:gd name="connsiteX3" fmla="*/ 322826 w 322826"/>
                        <a:gd name="connsiteY3" fmla="*/ 161413 h 322826"/>
                        <a:gd name="connsiteX4" fmla="*/ 161413 w 322826"/>
                        <a:gd name="connsiteY4" fmla="*/ 0 h 3228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22826" h="322826">
                          <a:moveTo>
                            <a:pt x="161413" y="0"/>
                          </a:moveTo>
                          <a:cubicBezTo>
                            <a:pt x="73370" y="0"/>
                            <a:pt x="0" y="73370"/>
                            <a:pt x="0" y="161413"/>
                          </a:cubicBezTo>
                          <a:cubicBezTo>
                            <a:pt x="0" y="249457"/>
                            <a:pt x="73370" y="322826"/>
                            <a:pt x="161413" y="322826"/>
                          </a:cubicBezTo>
                          <a:cubicBezTo>
                            <a:pt x="249457" y="322826"/>
                            <a:pt x="322826" y="249457"/>
                            <a:pt x="322826" y="161413"/>
                          </a:cubicBezTo>
                          <a:cubicBezTo>
                            <a:pt x="322826" y="73370"/>
                            <a:pt x="252391" y="0"/>
                            <a:pt x="161413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25" name="任意多边形: 形状 124">
                    <a:extLst>
                      <a:ext uri="{FF2B5EF4-FFF2-40B4-BE49-F238E27FC236}">
                        <a16:creationId xmlns:a16="http://schemas.microsoft.com/office/drawing/2014/main" id="{6C9E88E2-2B3D-471A-849E-A8F26B06A4AA}"/>
                      </a:ext>
                    </a:extLst>
                  </p:cNvPr>
                  <p:cNvSpPr/>
                  <p:nvPr/>
                </p:nvSpPr>
                <p:spPr>
                  <a:xfrm>
                    <a:off x="14926125" y="10545048"/>
                    <a:ext cx="82544" cy="132330"/>
                  </a:xfrm>
                  <a:custGeom>
                    <a:avLst/>
                    <a:gdLst>
                      <a:gd name="connsiteX0" fmla="*/ 67764 w 82544"/>
                      <a:gd name="connsiteY0" fmla="*/ 132330 h 132330"/>
                      <a:gd name="connsiteX1" fmla="*/ 67764 w 82544"/>
                      <a:gd name="connsiteY1" fmla="*/ 132330 h 132330"/>
                      <a:gd name="connsiteX2" fmla="*/ 53090 w 82544"/>
                      <a:gd name="connsiteY2" fmla="*/ 117656 h 132330"/>
                      <a:gd name="connsiteX3" fmla="*/ 6134 w 82544"/>
                      <a:gd name="connsiteY3" fmla="*/ 26678 h 132330"/>
                      <a:gd name="connsiteX4" fmla="*/ 3200 w 82544"/>
                      <a:gd name="connsiteY4" fmla="*/ 6134 h 132330"/>
                      <a:gd name="connsiteX5" fmla="*/ 23743 w 82544"/>
                      <a:gd name="connsiteY5" fmla="*/ 3199 h 132330"/>
                      <a:gd name="connsiteX6" fmla="*/ 82438 w 82544"/>
                      <a:gd name="connsiteY6" fmla="*/ 120590 h 132330"/>
                      <a:gd name="connsiteX7" fmla="*/ 67764 w 82544"/>
                      <a:gd name="connsiteY7" fmla="*/ 132330 h 1323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544" h="132330">
                        <a:moveTo>
                          <a:pt x="67764" y="132330"/>
                        </a:moveTo>
                        <a:cubicBezTo>
                          <a:pt x="67764" y="132330"/>
                          <a:pt x="67764" y="132330"/>
                          <a:pt x="67764" y="132330"/>
                        </a:cubicBezTo>
                        <a:cubicBezTo>
                          <a:pt x="58960" y="132330"/>
                          <a:pt x="53090" y="126460"/>
                          <a:pt x="53090" y="117656"/>
                        </a:cubicBezTo>
                        <a:cubicBezTo>
                          <a:pt x="56025" y="61895"/>
                          <a:pt x="6134" y="26678"/>
                          <a:pt x="6134" y="26678"/>
                        </a:cubicBezTo>
                        <a:cubicBezTo>
                          <a:pt x="265" y="20808"/>
                          <a:pt x="-2670" y="12004"/>
                          <a:pt x="3200" y="6134"/>
                        </a:cubicBezTo>
                        <a:cubicBezTo>
                          <a:pt x="9069" y="265"/>
                          <a:pt x="17874" y="-2670"/>
                          <a:pt x="23743" y="3199"/>
                        </a:cubicBezTo>
                        <a:cubicBezTo>
                          <a:pt x="26678" y="6134"/>
                          <a:pt x="85373" y="47221"/>
                          <a:pt x="82438" y="120590"/>
                        </a:cubicBezTo>
                        <a:cubicBezTo>
                          <a:pt x="82438" y="126460"/>
                          <a:pt x="73634" y="132330"/>
                          <a:pt x="67764" y="132330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94" name="图形 1">
                  <a:extLst>
                    <a:ext uri="{FF2B5EF4-FFF2-40B4-BE49-F238E27FC236}">
                      <a16:creationId xmlns:a16="http://schemas.microsoft.com/office/drawing/2014/main" id="{FA019CFE-FB62-42E4-AF37-56C319C5230B}"/>
                    </a:ext>
                  </a:extLst>
                </p:cNvPr>
                <p:cNvGrpSpPr/>
                <p:nvPr/>
              </p:nvGrpSpPr>
              <p:grpSpPr>
                <a:xfrm>
                  <a:off x="15325520" y="11146943"/>
                  <a:ext cx="322826" cy="381521"/>
                  <a:chOff x="15325520" y="11146943"/>
                  <a:chExt cx="322826" cy="381521"/>
                </a:xfrm>
              </p:grpSpPr>
              <p:grpSp>
                <p:nvGrpSpPr>
                  <p:cNvPr id="120" name="图形 1">
                    <a:extLst>
                      <a:ext uri="{FF2B5EF4-FFF2-40B4-BE49-F238E27FC236}">
                        <a16:creationId xmlns:a16="http://schemas.microsoft.com/office/drawing/2014/main" id="{2237CF08-6645-485E-A2A1-57007673F786}"/>
                      </a:ext>
                    </a:extLst>
                  </p:cNvPr>
                  <p:cNvGrpSpPr/>
                  <p:nvPr/>
                </p:nvGrpSpPr>
                <p:grpSpPr>
                  <a:xfrm>
                    <a:off x="15325520" y="11146943"/>
                    <a:ext cx="322826" cy="381521"/>
                    <a:chOff x="15325520" y="11146943"/>
                    <a:chExt cx="322826" cy="381521"/>
                  </a:xfrm>
                </p:grpSpPr>
                <p:sp>
                  <p:nvSpPr>
                    <p:cNvPr id="122" name="任意多边形: 形状 121">
                      <a:extLst>
                        <a:ext uri="{FF2B5EF4-FFF2-40B4-BE49-F238E27FC236}">
                          <a16:creationId xmlns:a16="http://schemas.microsoft.com/office/drawing/2014/main" id="{1BD753C4-67E0-4D93-976E-CD87904CFE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442912" y="11146943"/>
                      <a:ext cx="88043" cy="140869"/>
                    </a:xfrm>
                    <a:custGeom>
                      <a:avLst/>
                      <a:gdLst>
                        <a:gd name="connsiteX0" fmla="*/ 76304 w 88043"/>
                        <a:gd name="connsiteY0" fmla="*/ 0 h 140869"/>
                        <a:gd name="connsiteX1" fmla="*/ 11739 w 88043"/>
                        <a:gd name="connsiteY1" fmla="*/ 0 h 140869"/>
                        <a:gd name="connsiteX2" fmla="*/ 0 w 88043"/>
                        <a:gd name="connsiteY2" fmla="*/ 11739 h 140869"/>
                        <a:gd name="connsiteX3" fmla="*/ 0 w 88043"/>
                        <a:gd name="connsiteY3" fmla="*/ 129130 h 140869"/>
                        <a:gd name="connsiteX4" fmla="*/ 11739 w 88043"/>
                        <a:gd name="connsiteY4" fmla="*/ 140869 h 140869"/>
                        <a:gd name="connsiteX5" fmla="*/ 76304 w 88043"/>
                        <a:gd name="connsiteY5" fmla="*/ 140869 h 140869"/>
                        <a:gd name="connsiteX6" fmla="*/ 88043 w 88043"/>
                        <a:gd name="connsiteY6" fmla="*/ 129130 h 140869"/>
                        <a:gd name="connsiteX7" fmla="*/ 88043 w 88043"/>
                        <a:gd name="connsiteY7" fmla="*/ 11739 h 140869"/>
                        <a:gd name="connsiteX8" fmla="*/ 76304 w 88043"/>
                        <a:gd name="connsiteY8" fmla="*/ 0 h 1408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043" h="140869">
                          <a:moveTo>
                            <a:pt x="76304" y="0"/>
                          </a:moveTo>
                          <a:lnTo>
                            <a:pt x="11739" y="0"/>
                          </a:lnTo>
                          <a:cubicBezTo>
                            <a:pt x="5869" y="0"/>
                            <a:pt x="0" y="5869"/>
                            <a:pt x="0" y="11739"/>
                          </a:cubicBezTo>
                          <a:lnTo>
                            <a:pt x="0" y="129130"/>
                          </a:lnTo>
                          <a:cubicBezTo>
                            <a:pt x="0" y="134999"/>
                            <a:pt x="5869" y="140869"/>
                            <a:pt x="11739" y="140869"/>
                          </a:cubicBezTo>
                          <a:lnTo>
                            <a:pt x="76304" y="140869"/>
                          </a:lnTo>
                          <a:cubicBezTo>
                            <a:pt x="82174" y="140869"/>
                            <a:pt x="88043" y="134999"/>
                            <a:pt x="88043" y="129130"/>
                          </a:cubicBezTo>
                          <a:lnTo>
                            <a:pt x="88043" y="11739"/>
                          </a:lnTo>
                          <a:cubicBezTo>
                            <a:pt x="88043" y="5869"/>
                            <a:pt x="82174" y="0"/>
                            <a:pt x="76304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23" name="任意多边形: 形状 122">
                      <a:extLst>
                        <a:ext uri="{FF2B5EF4-FFF2-40B4-BE49-F238E27FC236}">
                          <a16:creationId xmlns:a16="http://schemas.microsoft.com/office/drawing/2014/main" id="{56B10C8B-1EBC-4367-A986-AE0CD202AC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25520" y="11205639"/>
                      <a:ext cx="322826" cy="322826"/>
                    </a:xfrm>
                    <a:custGeom>
                      <a:avLst/>
                      <a:gdLst>
                        <a:gd name="connsiteX0" fmla="*/ 161413 w 322826"/>
                        <a:gd name="connsiteY0" fmla="*/ 0 h 322826"/>
                        <a:gd name="connsiteX1" fmla="*/ 0 w 322826"/>
                        <a:gd name="connsiteY1" fmla="*/ 161413 h 322826"/>
                        <a:gd name="connsiteX2" fmla="*/ 161413 w 322826"/>
                        <a:gd name="connsiteY2" fmla="*/ 322826 h 322826"/>
                        <a:gd name="connsiteX3" fmla="*/ 322826 w 322826"/>
                        <a:gd name="connsiteY3" fmla="*/ 161413 h 322826"/>
                        <a:gd name="connsiteX4" fmla="*/ 161413 w 322826"/>
                        <a:gd name="connsiteY4" fmla="*/ 0 h 3228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22826" h="322826">
                          <a:moveTo>
                            <a:pt x="161413" y="0"/>
                          </a:moveTo>
                          <a:cubicBezTo>
                            <a:pt x="73370" y="0"/>
                            <a:pt x="0" y="73370"/>
                            <a:pt x="0" y="161413"/>
                          </a:cubicBezTo>
                          <a:cubicBezTo>
                            <a:pt x="0" y="249457"/>
                            <a:pt x="73370" y="322826"/>
                            <a:pt x="161413" y="322826"/>
                          </a:cubicBezTo>
                          <a:cubicBezTo>
                            <a:pt x="249457" y="322826"/>
                            <a:pt x="322826" y="249457"/>
                            <a:pt x="322826" y="161413"/>
                          </a:cubicBezTo>
                          <a:cubicBezTo>
                            <a:pt x="319891" y="70435"/>
                            <a:pt x="249457" y="0"/>
                            <a:pt x="161413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21" name="任意多边形: 形状 120">
                    <a:extLst>
                      <a:ext uri="{FF2B5EF4-FFF2-40B4-BE49-F238E27FC236}">
                        <a16:creationId xmlns:a16="http://schemas.microsoft.com/office/drawing/2014/main" id="{07EFFA17-B0B2-42A0-B8DC-7D450CF11734}"/>
                      </a:ext>
                    </a:extLst>
                  </p:cNvPr>
                  <p:cNvSpPr/>
                  <p:nvPr/>
                </p:nvSpPr>
                <p:spPr>
                  <a:xfrm>
                    <a:off x="15516016" y="11264070"/>
                    <a:ext cx="82544" cy="132330"/>
                  </a:xfrm>
                  <a:custGeom>
                    <a:avLst/>
                    <a:gdLst>
                      <a:gd name="connsiteX0" fmla="*/ 67765 w 82544"/>
                      <a:gd name="connsiteY0" fmla="*/ 132330 h 132330"/>
                      <a:gd name="connsiteX1" fmla="*/ 67765 w 82544"/>
                      <a:gd name="connsiteY1" fmla="*/ 132330 h 132330"/>
                      <a:gd name="connsiteX2" fmla="*/ 53091 w 82544"/>
                      <a:gd name="connsiteY2" fmla="*/ 117656 h 132330"/>
                      <a:gd name="connsiteX3" fmla="*/ 6134 w 82544"/>
                      <a:gd name="connsiteY3" fmla="*/ 26678 h 132330"/>
                      <a:gd name="connsiteX4" fmla="*/ 3199 w 82544"/>
                      <a:gd name="connsiteY4" fmla="*/ 6134 h 132330"/>
                      <a:gd name="connsiteX5" fmla="*/ 23743 w 82544"/>
                      <a:gd name="connsiteY5" fmla="*/ 3199 h 132330"/>
                      <a:gd name="connsiteX6" fmla="*/ 82438 w 82544"/>
                      <a:gd name="connsiteY6" fmla="*/ 120590 h 132330"/>
                      <a:gd name="connsiteX7" fmla="*/ 67765 w 82544"/>
                      <a:gd name="connsiteY7" fmla="*/ 132330 h 1323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544" h="132330">
                        <a:moveTo>
                          <a:pt x="67765" y="132330"/>
                        </a:moveTo>
                        <a:cubicBezTo>
                          <a:pt x="67765" y="132330"/>
                          <a:pt x="67765" y="132330"/>
                          <a:pt x="67765" y="132330"/>
                        </a:cubicBezTo>
                        <a:cubicBezTo>
                          <a:pt x="58961" y="132330"/>
                          <a:pt x="53091" y="126460"/>
                          <a:pt x="53091" y="117656"/>
                        </a:cubicBezTo>
                        <a:cubicBezTo>
                          <a:pt x="56026" y="58961"/>
                          <a:pt x="6134" y="26678"/>
                          <a:pt x="6134" y="26678"/>
                        </a:cubicBezTo>
                        <a:cubicBezTo>
                          <a:pt x="265" y="20808"/>
                          <a:pt x="-2670" y="12004"/>
                          <a:pt x="3199" y="6134"/>
                        </a:cubicBezTo>
                        <a:cubicBezTo>
                          <a:pt x="9069" y="265"/>
                          <a:pt x="17873" y="-2670"/>
                          <a:pt x="23743" y="3199"/>
                        </a:cubicBezTo>
                        <a:cubicBezTo>
                          <a:pt x="26678" y="6134"/>
                          <a:pt x="85373" y="47221"/>
                          <a:pt x="82438" y="120590"/>
                        </a:cubicBezTo>
                        <a:cubicBezTo>
                          <a:pt x="82438" y="123525"/>
                          <a:pt x="76569" y="132330"/>
                          <a:pt x="67765" y="132330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95" name="图形 1">
                  <a:extLst>
                    <a:ext uri="{FF2B5EF4-FFF2-40B4-BE49-F238E27FC236}">
                      <a16:creationId xmlns:a16="http://schemas.microsoft.com/office/drawing/2014/main" id="{9C103F64-73BA-4185-9C2B-3EAD24EFFA0E}"/>
                    </a:ext>
                  </a:extLst>
                </p:cNvPr>
                <p:cNvGrpSpPr/>
                <p:nvPr/>
              </p:nvGrpSpPr>
              <p:grpSpPr>
                <a:xfrm>
                  <a:off x="15774542" y="10240095"/>
                  <a:ext cx="322826" cy="381521"/>
                  <a:chOff x="15774542" y="10240095"/>
                  <a:chExt cx="322826" cy="381521"/>
                </a:xfrm>
              </p:grpSpPr>
              <p:grpSp>
                <p:nvGrpSpPr>
                  <p:cNvPr id="116" name="图形 1">
                    <a:extLst>
                      <a:ext uri="{FF2B5EF4-FFF2-40B4-BE49-F238E27FC236}">
                        <a16:creationId xmlns:a16="http://schemas.microsoft.com/office/drawing/2014/main" id="{E67A10D3-2B50-4842-A6FF-C050CF3E9E9B}"/>
                      </a:ext>
                    </a:extLst>
                  </p:cNvPr>
                  <p:cNvGrpSpPr/>
                  <p:nvPr/>
                </p:nvGrpSpPr>
                <p:grpSpPr>
                  <a:xfrm>
                    <a:off x="15774542" y="10240095"/>
                    <a:ext cx="322826" cy="381521"/>
                    <a:chOff x="15774542" y="10240095"/>
                    <a:chExt cx="322826" cy="381521"/>
                  </a:xfrm>
                </p:grpSpPr>
                <p:sp>
                  <p:nvSpPr>
                    <p:cNvPr id="118" name="任意多边形: 形状 117">
                      <a:extLst>
                        <a:ext uri="{FF2B5EF4-FFF2-40B4-BE49-F238E27FC236}">
                          <a16:creationId xmlns:a16="http://schemas.microsoft.com/office/drawing/2014/main" id="{2093501D-2C79-4A72-AF05-2838F13F4D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891933" y="10240095"/>
                      <a:ext cx="88043" cy="140870"/>
                    </a:xfrm>
                    <a:custGeom>
                      <a:avLst/>
                      <a:gdLst>
                        <a:gd name="connsiteX0" fmla="*/ 76305 w 88043"/>
                        <a:gd name="connsiteY0" fmla="*/ 0 h 140870"/>
                        <a:gd name="connsiteX1" fmla="*/ 11739 w 88043"/>
                        <a:gd name="connsiteY1" fmla="*/ 0 h 140870"/>
                        <a:gd name="connsiteX2" fmla="*/ 0 w 88043"/>
                        <a:gd name="connsiteY2" fmla="*/ 11740 h 140870"/>
                        <a:gd name="connsiteX3" fmla="*/ 0 w 88043"/>
                        <a:gd name="connsiteY3" fmla="*/ 129131 h 140870"/>
                        <a:gd name="connsiteX4" fmla="*/ 11739 w 88043"/>
                        <a:gd name="connsiteY4" fmla="*/ 140870 h 140870"/>
                        <a:gd name="connsiteX5" fmla="*/ 76305 w 88043"/>
                        <a:gd name="connsiteY5" fmla="*/ 140870 h 140870"/>
                        <a:gd name="connsiteX6" fmla="*/ 88043 w 88043"/>
                        <a:gd name="connsiteY6" fmla="*/ 129131 h 140870"/>
                        <a:gd name="connsiteX7" fmla="*/ 88043 w 88043"/>
                        <a:gd name="connsiteY7" fmla="*/ 11740 h 140870"/>
                        <a:gd name="connsiteX8" fmla="*/ 76305 w 88043"/>
                        <a:gd name="connsiteY8" fmla="*/ 0 h 1408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043" h="140870">
                          <a:moveTo>
                            <a:pt x="76305" y="0"/>
                          </a:moveTo>
                          <a:lnTo>
                            <a:pt x="11739" y="0"/>
                          </a:lnTo>
                          <a:cubicBezTo>
                            <a:pt x="5870" y="0"/>
                            <a:pt x="0" y="5870"/>
                            <a:pt x="0" y="11740"/>
                          </a:cubicBezTo>
                          <a:lnTo>
                            <a:pt x="0" y="129131"/>
                          </a:lnTo>
                          <a:cubicBezTo>
                            <a:pt x="0" y="135000"/>
                            <a:pt x="5870" y="140870"/>
                            <a:pt x="11739" y="140870"/>
                          </a:cubicBezTo>
                          <a:lnTo>
                            <a:pt x="76305" y="140870"/>
                          </a:lnTo>
                          <a:cubicBezTo>
                            <a:pt x="82174" y="140870"/>
                            <a:pt x="88043" y="135000"/>
                            <a:pt x="88043" y="129131"/>
                          </a:cubicBezTo>
                          <a:lnTo>
                            <a:pt x="88043" y="11740"/>
                          </a:lnTo>
                          <a:cubicBezTo>
                            <a:pt x="88043" y="5870"/>
                            <a:pt x="82174" y="0"/>
                            <a:pt x="76305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9" name="任意多边形: 形状 118">
                      <a:extLst>
                        <a:ext uri="{FF2B5EF4-FFF2-40B4-BE49-F238E27FC236}">
                          <a16:creationId xmlns:a16="http://schemas.microsoft.com/office/drawing/2014/main" id="{EF9CE199-9132-47F4-9CCB-7DCCF12C444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774542" y="10298790"/>
                      <a:ext cx="322826" cy="322826"/>
                    </a:xfrm>
                    <a:custGeom>
                      <a:avLst/>
                      <a:gdLst>
                        <a:gd name="connsiteX0" fmla="*/ 161413 w 322826"/>
                        <a:gd name="connsiteY0" fmla="*/ 0 h 322826"/>
                        <a:gd name="connsiteX1" fmla="*/ 0 w 322826"/>
                        <a:gd name="connsiteY1" fmla="*/ 161413 h 322826"/>
                        <a:gd name="connsiteX2" fmla="*/ 161413 w 322826"/>
                        <a:gd name="connsiteY2" fmla="*/ 322826 h 322826"/>
                        <a:gd name="connsiteX3" fmla="*/ 322826 w 322826"/>
                        <a:gd name="connsiteY3" fmla="*/ 161413 h 322826"/>
                        <a:gd name="connsiteX4" fmla="*/ 161413 w 322826"/>
                        <a:gd name="connsiteY4" fmla="*/ 0 h 3228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22826" h="322826">
                          <a:moveTo>
                            <a:pt x="161413" y="0"/>
                          </a:moveTo>
                          <a:cubicBezTo>
                            <a:pt x="73370" y="0"/>
                            <a:pt x="0" y="73370"/>
                            <a:pt x="0" y="161413"/>
                          </a:cubicBezTo>
                          <a:cubicBezTo>
                            <a:pt x="0" y="249457"/>
                            <a:pt x="73370" y="322826"/>
                            <a:pt x="161413" y="322826"/>
                          </a:cubicBezTo>
                          <a:cubicBezTo>
                            <a:pt x="249457" y="322826"/>
                            <a:pt x="322826" y="249457"/>
                            <a:pt x="322826" y="161413"/>
                          </a:cubicBezTo>
                          <a:cubicBezTo>
                            <a:pt x="322826" y="73370"/>
                            <a:pt x="249457" y="0"/>
                            <a:pt x="161413" y="0"/>
                          </a:cubicBezTo>
                          <a:close/>
                        </a:path>
                      </a:pathLst>
                    </a:custGeom>
                    <a:solidFill>
                      <a:srgbClr val="7F95BC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17" name="任意多边形: 形状 116">
                    <a:extLst>
                      <a:ext uri="{FF2B5EF4-FFF2-40B4-BE49-F238E27FC236}">
                        <a16:creationId xmlns:a16="http://schemas.microsoft.com/office/drawing/2014/main" id="{C7DA19D0-EB90-4B65-AB83-CCEE39D2CC62}"/>
                      </a:ext>
                    </a:extLst>
                  </p:cNvPr>
                  <p:cNvSpPr/>
                  <p:nvPr/>
                </p:nvSpPr>
                <p:spPr>
                  <a:xfrm>
                    <a:off x="15965038" y="10354287"/>
                    <a:ext cx="82544" cy="132330"/>
                  </a:xfrm>
                  <a:custGeom>
                    <a:avLst/>
                    <a:gdLst>
                      <a:gd name="connsiteX0" fmla="*/ 67764 w 82544"/>
                      <a:gd name="connsiteY0" fmla="*/ 132330 h 132330"/>
                      <a:gd name="connsiteX1" fmla="*/ 67764 w 82544"/>
                      <a:gd name="connsiteY1" fmla="*/ 132330 h 132330"/>
                      <a:gd name="connsiteX2" fmla="*/ 53090 w 82544"/>
                      <a:gd name="connsiteY2" fmla="*/ 117656 h 132330"/>
                      <a:gd name="connsiteX3" fmla="*/ 6135 w 82544"/>
                      <a:gd name="connsiteY3" fmla="*/ 26678 h 132330"/>
                      <a:gd name="connsiteX4" fmla="*/ 3200 w 82544"/>
                      <a:gd name="connsiteY4" fmla="*/ 6134 h 132330"/>
                      <a:gd name="connsiteX5" fmla="*/ 23743 w 82544"/>
                      <a:gd name="connsiteY5" fmla="*/ 3199 h 132330"/>
                      <a:gd name="connsiteX6" fmla="*/ 82438 w 82544"/>
                      <a:gd name="connsiteY6" fmla="*/ 120590 h 132330"/>
                      <a:gd name="connsiteX7" fmla="*/ 67764 w 82544"/>
                      <a:gd name="connsiteY7" fmla="*/ 132330 h 1323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544" h="132330">
                        <a:moveTo>
                          <a:pt x="67764" y="132330"/>
                        </a:moveTo>
                        <a:cubicBezTo>
                          <a:pt x="67764" y="132330"/>
                          <a:pt x="67764" y="132330"/>
                          <a:pt x="67764" y="132330"/>
                        </a:cubicBezTo>
                        <a:cubicBezTo>
                          <a:pt x="58960" y="132330"/>
                          <a:pt x="53090" y="126460"/>
                          <a:pt x="53090" y="117656"/>
                        </a:cubicBezTo>
                        <a:cubicBezTo>
                          <a:pt x="56025" y="61895"/>
                          <a:pt x="6135" y="26678"/>
                          <a:pt x="6135" y="26678"/>
                        </a:cubicBezTo>
                        <a:cubicBezTo>
                          <a:pt x="265" y="20808"/>
                          <a:pt x="-2670" y="12004"/>
                          <a:pt x="3200" y="6134"/>
                        </a:cubicBezTo>
                        <a:cubicBezTo>
                          <a:pt x="9069" y="265"/>
                          <a:pt x="17874" y="-2670"/>
                          <a:pt x="23743" y="3199"/>
                        </a:cubicBezTo>
                        <a:cubicBezTo>
                          <a:pt x="26678" y="6134"/>
                          <a:pt x="85373" y="47221"/>
                          <a:pt x="82438" y="120590"/>
                        </a:cubicBezTo>
                        <a:cubicBezTo>
                          <a:pt x="82438" y="126460"/>
                          <a:pt x="73634" y="132330"/>
                          <a:pt x="67764" y="132330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96" name="图形 1">
                  <a:extLst>
                    <a:ext uri="{FF2B5EF4-FFF2-40B4-BE49-F238E27FC236}">
                      <a16:creationId xmlns:a16="http://schemas.microsoft.com/office/drawing/2014/main" id="{BE439E43-D5E9-4BB3-9206-D3720C2043E7}"/>
                    </a:ext>
                  </a:extLst>
                </p:cNvPr>
                <p:cNvGrpSpPr/>
                <p:nvPr/>
              </p:nvGrpSpPr>
              <p:grpSpPr>
                <a:xfrm>
                  <a:off x="14453890" y="11246726"/>
                  <a:ext cx="322826" cy="381521"/>
                  <a:chOff x="14453890" y="11246726"/>
                  <a:chExt cx="322826" cy="381521"/>
                </a:xfrm>
              </p:grpSpPr>
              <p:grpSp>
                <p:nvGrpSpPr>
                  <p:cNvPr id="112" name="图形 1">
                    <a:extLst>
                      <a:ext uri="{FF2B5EF4-FFF2-40B4-BE49-F238E27FC236}">
                        <a16:creationId xmlns:a16="http://schemas.microsoft.com/office/drawing/2014/main" id="{BD591670-9748-4900-BF17-CDA1DBB32009}"/>
                      </a:ext>
                    </a:extLst>
                  </p:cNvPr>
                  <p:cNvGrpSpPr/>
                  <p:nvPr/>
                </p:nvGrpSpPr>
                <p:grpSpPr>
                  <a:xfrm>
                    <a:off x="14453890" y="11246726"/>
                    <a:ext cx="322826" cy="381521"/>
                    <a:chOff x="14453890" y="11246726"/>
                    <a:chExt cx="322826" cy="381521"/>
                  </a:xfrm>
                </p:grpSpPr>
                <p:sp>
                  <p:nvSpPr>
                    <p:cNvPr id="114" name="任意多边形: 形状 113">
                      <a:extLst>
                        <a:ext uri="{FF2B5EF4-FFF2-40B4-BE49-F238E27FC236}">
                          <a16:creationId xmlns:a16="http://schemas.microsoft.com/office/drawing/2014/main" id="{552C9E8A-E850-446D-A905-E7F0FB9F9B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71281" y="11246726"/>
                      <a:ext cx="88043" cy="140869"/>
                    </a:xfrm>
                    <a:custGeom>
                      <a:avLst/>
                      <a:gdLst>
                        <a:gd name="connsiteX0" fmla="*/ 76305 w 88043"/>
                        <a:gd name="connsiteY0" fmla="*/ 0 h 140869"/>
                        <a:gd name="connsiteX1" fmla="*/ 11739 w 88043"/>
                        <a:gd name="connsiteY1" fmla="*/ 0 h 140869"/>
                        <a:gd name="connsiteX2" fmla="*/ 0 w 88043"/>
                        <a:gd name="connsiteY2" fmla="*/ 11739 h 140869"/>
                        <a:gd name="connsiteX3" fmla="*/ 0 w 88043"/>
                        <a:gd name="connsiteY3" fmla="*/ 129130 h 140869"/>
                        <a:gd name="connsiteX4" fmla="*/ 11739 w 88043"/>
                        <a:gd name="connsiteY4" fmla="*/ 140869 h 140869"/>
                        <a:gd name="connsiteX5" fmla="*/ 76305 w 88043"/>
                        <a:gd name="connsiteY5" fmla="*/ 140869 h 140869"/>
                        <a:gd name="connsiteX6" fmla="*/ 88043 w 88043"/>
                        <a:gd name="connsiteY6" fmla="*/ 129130 h 140869"/>
                        <a:gd name="connsiteX7" fmla="*/ 88043 w 88043"/>
                        <a:gd name="connsiteY7" fmla="*/ 11739 h 140869"/>
                        <a:gd name="connsiteX8" fmla="*/ 76305 w 88043"/>
                        <a:gd name="connsiteY8" fmla="*/ 0 h 1408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043" h="140869">
                          <a:moveTo>
                            <a:pt x="76305" y="0"/>
                          </a:moveTo>
                          <a:lnTo>
                            <a:pt x="11739" y="0"/>
                          </a:lnTo>
                          <a:cubicBezTo>
                            <a:pt x="5870" y="0"/>
                            <a:pt x="0" y="5869"/>
                            <a:pt x="0" y="11739"/>
                          </a:cubicBezTo>
                          <a:lnTo>
                            <a:pt x="0" y="129130"/>
                          </a:lnTo>
                          <a:cubicBezTo>
                            <a:pt x="0" y="135000"/>
                            <a:pt x="5870" y="140869"/>
                            <a:pt x="11739" y="140869"/>
                          </a:cubicBezTo>
                          <a:lnTo>
                            <a:pt x="76305" y="140869"/>
                          </a:lnTo>
                          <a:cubicBezTo>
                            <a:pt x="82174" y="140869"/>
                            <a:pt x="88043" y="135000"/>
                            <a:pt x="88043" y="129130"/>
                          </a:cubicBezTo>
                          <a:lnTo>
                            <a:pt x="88043" y="11739"/>
                          </a:lnTo>
                          <a:cubicBezTo>
                            <a:pt x="88043" y="5869"/>
                            <a:pt x="82174" y="0"/>
                            <a:pt x="76305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5" name="任意多边形: 形状 114">
                      <a:extLst>
                        <a:ext uri="{FF2B5EF4-FFF2-40B4-BE49-F238E27FC236}">
                          <a16:creationId xmlns:a16="http://schemas.microsoft.com/office/drawing/2014/main" id="{EDE7E929-70B1-4280-97EA-979E75C64A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53890" y="11305421"/>
                      <a:ext cx="322826" cy="322826"/>
                    </a:xfrm>
                    <a:custGeom>
                      <a:avLst/>
                      <a:gdLst>
                        <a:gd name="connsiteX0" fmla="*/ 161413 w 322826"/>
                        <a:gd name="connsiteY0" fmla="*/ 0 h 322826"/>
                        <a:gd name="connsiteX1" fmla="*/ 0 w 322826"/>
                        <a:gd name="connsiteY1" fmla="*/ 161413 h 322826"/>
                        <a:gd name="connsiteX2" fmla="*/ 161413 w 322826"/>
                        <a:gd name="connsiteY2" fmla="*/ 322826 h 322826"/>
                        <a:gd name="connsiteX3" fmla="*/ 322826 w 322826"/>
                        <a:gd name="connsiteY3" fmla="*/ 161413 h 322826"/>
                        <a:gd name="connsiteX4" fmla="*/ 161413 w 322826"/>
                        <a:gd name="connsiteY4" fmla="*/ 0 h 3228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22826" h="322826">
                          <a:moveTo>
                            <a:pt x="161413" y="0"/>
                          </a:moveTo>
                          <a:cubicBezTo>
                            <a:pt x="73370" y="0"/>
                            <a:pt x="0" y="73370"/>
                            <a:pt x="0" y="161413"/>
                          </a:cubicBezTo>
                          <a:cubicBezTo>
                            <a:pt x="0" y="249457"/>
                            <a:pt x="73370" y="322826"/>
                            <a:pt x="161413" y="322826"/>
                          </a:cubicBezTo>
                          <a:cubicBezTo>
                            <a:pt x="249457" y="322826"/>
                            <a:pt x="322826" y="249457"/>
                            <a:pt x="322826" y="161413"/>
                          </a:cubicBezTo>
                          <a:cubicBezTo>
                            <a:pt x="319891" y="70435"/>
                            <a:pt x="249457" y="0"/>
                            <a:pt x="161413" y="0"/>
                          </a:cubicBezTo>
                          <a:close/>
                        </a:path>
                      </a:pathLst>
                    </a:custGeom>
                    <a:solidFill>
                      <a:srgbClr val="7F95BC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13" name="任意多边形: 形状 112">
                    <a:extLst>
                      <a:ext uri="{FF2B5EF4-FFF2-40B4-BE49-F238E27FC236}">
                        <a16:creationId xmlns:a16="http://schemas.microsoft.com/office/drawing/2014/main" id="{8DA20B75-9B1C-4EE9-9737-0E809F4412B4}"/>
                      </a:ext>
                    </a:extLst>
                  </p:cNvPr>
                  <p:cNvSpPr/>
                  <p:nvPr/>
                </p:nvSpPr>
                <p:spPr>
                  <a:xfrm>
                    <a:off x="14644386" y="11360917"/>
                    <a:ext cx="82544" cy="132329"/>
                  </a:xfrm>
                  <a:custGeom>
                    <a:avLst/>
                    <a:gdLst>
                      <a:gd name="connsiteX0" fmla="*/ 67764 w 82544"/>
                      <a:gd name="connsiteY0" fmla="*/ 132330 h 132329"/>
                      <a:gd name="connsiteX1" fmla="*/ 67764 w 82544"/>
                      <a:gd name="connsiteY1" fmla="*/ 132330 h 132329"/>
                      <a:gd name="connsiteX2" fmla="*/ 53090 w 82544"/>
                      <a:gd name="connsiteY2" fmla="*/ 117656 h 132329"/>
                      <a:gd name="connsiteX3" fmla="*/ 6135 w 82544"/>
                      <a:gd name="connsiteY3" fmla="*/ 26678 h 132329"/>
                      <a:gd name="connsiteX4" fmla="*/ 3200 w 82544"/>
                      <a:gd name="connsiteY4" fmla="*/ 6135 h 132329"/>
                      <a:gd name="connsiteX5" fmla="*/ 23743 w 82544"/>
                      <a:gd name="connsiteY5" fmla="*/ 3200 h 132329"/>
                      <a:gd name="connsiteX6" fmla="*/ 82438 w 82544"/>
                      <a:gd name="connsiteY6" fmla="*/ 120591 h 132329"/>
                      <a:gd name="connsiteX7" fmla="*/ 67764 w 82544"/>
                      <a:gd name="connsiteY7" fmla="*/ 132330 h 1323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544" h="132329">
                        <a:moveTo>
                          <a:pt x="67764" y="132330"/>
                        </a:moveTo>
                        <a:cubicBezTo>
                          <a:pt x="67764" y="132330"/>
                          <a:pt x="67764" y="132330"/>
                          <a:pt x="67764" y="132330"/>
                        </a:cubicBezTo>
                        <a:cubicBezTo>
                          <a:pt x="58960" y="132330"/>
                          <a:pt x="53090" y="126460"/>
                          <a:pt x="53090" y="117656"/>
                        </a:cubicBezTo>
                        <a:cubicBezTo>
                          <a:pt x="56025" y="58960"/>
                          <a:pt x="6135" y="26678"/>
                          <a:pt x="6135" y="26678"/>
                        </a:cubicBezTo>
                        <a:cubicBezTo>
                          <a:pt x="265" y="20808"/>
                          <a:pt x="-2670" y="12004"/>
                          <a:pt x="3200" y="6135"/>
                        </a:cubicBezTo>
                        <a:cubicBezTo>
                          <a:pt x="9069" y="265"/>
                          <a:pt x="17874" y="-2670"/>
                          <a:pt x="23743" y="3200"/>
                        </a:cubicBezTo>
                        <a:cubicBezTo>
                          <a:pt x="26678" y="6135"/>
                          <a:pt x="85373" y="47221"/>
                          <a:pt x="82438" y="120591"/>
                        </a:cubicBezTo>
                        <a:cubicBezTo>
                          <a:pt x="82438" y="126460"/>
                          <a:pt x="76569" y="132330"/>
                          <a:pt x="67764" y="132330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97" name="图形 1">
                  <a:extLst>
                    <a:ext uri="{FF2B5EF4-FFF2-40B4-BE49-F238E27FC236}">
                      <a16:creationId xmlns:a16="http://schemas.microsoft.com/office/drawing/2014/main" id="{7C21855A-A835-4FB6-9101-846D9EDC4FA1}"/>
                    </a:ext>
                  </a:extLst>
                </p:cNvPr>
                <p:cNvGrpSpPr/>
                <p:nvPr/>
              </p:nvGrpSpPr>
              <p:grpSpPr>
                <a:xfrm>
                  <a:off x="16355628" y="11176291"/>
                  <a:ext cx="322826" cy="381521"/>
                  <a:chOff x="16355628" y="11176291"/>
                  <a:chExt cx="322826" cy="381521"/>
                </a:xfrm>
              </p:grpSpPr>
              <p:grpSp>
                <p:nvGrpSpPr>
                  <p:cNvPr id="108" name="图形 1">
                    <a:extLst>
                      <a:ext uri="{FF2B5EF4-FFF2-40B4-BE49-F238E27FC236}">
                        <a16:creationId xmlns:a16="http://schemas.microsoft.com/office/drawing/2014/main" id="{D9D893E0-448D-4F2C-88E6-97305E26116C}"/>
                      </a:ext>
                    </a:extLst>
                  </p:cNvPr>
                  <p:cNvGrpSpPr/>
                  <p:nvPr/>
                </p:nvGrpSpPr>
                <p:grpSpPr>
                  <a:xfrm>
                    <a:off x="16355628" y="11176291"/>
                    <a:ext cx="322826" cy="381521"/>
                    <a:chOff x="16355628" y="11176291"/>
                    <a:chExt cx="322826" cy="381521"/>
                  </a:xfrm>
                </p:grpSpPr>
                <p:sp>
                  <p:nvSpPr>
                    <p:cNvPr id="110" name="任意多边形: 形状 109">
                      <a:extLst>
                        <a:ext uri="{FF2B5EF4-FFF2-40B4-BE49-F238E27FC236}">
                          <a16:creationId xmlns:a16="http://schemas.microsoft.com/office/drawing/2014/main" id="{32739C3F-8F5B-49E6-92F7-1AA728C002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6473020" y="11176291"/>
                      <a:ext cx="88043" cy="140869"/>
                    </a:xfrm>
                    <a:custGeom>
                      <a:avLst/>
                      <a:gdLst>
                        <a:gd name="connsiteX0" fmla="*/ 76305 w 88043"/>
                        <a:gd name="connsiteY0" fmla="*/ 0 h 140869"/>
                        <a:gd name="connsiteX1" fmla="*/ 11740 w 88043"/>
                        <a:gd name="connsiteY1" fmla="*/ 0 h 140869"/>
                        <a:gd name="connsiteX2" fmla="*/ 0 w 88043"/>
                        <a:gd name="connsiteY2" fmla="*/ 11739 h 140869"/>
                        <a:gd name="connsiteX3" fmla="*/ 0 w 88043"/>
                        <a:gd name="connsiteY3" fmla="*/ 129130 h 140869"/>
                        <a:gd name="connsiteX4" fmla="*/ 11740 w 88043"/>
                        <a:gd name="connsiteY4" fmla="*/ 140869 h 140869"/>
                        <a:gd name="connsiteX5" fmla="*/ 76305 w 88043"/>
                        <a:gd name="connsiteY5" fmla="*/ 140869 h 140869"/>
                        <a:gd name="connsiteX6" fmla="*/ 88043 w 88043"/>
                        <a:gd name="connsiteY6" fmla="*/ 129130 h 140869"/>
                        <a:gd name="connsiteX7" fmla="*/ 88043 w 88043"/>
                        <a:gd name="connsiteY7" fmla="*/ 11739 h 140869"/>
                        <a:gd name="connsiteX8" fmla="*/ 76305 w 88043"/>
                        <a:gd name="connsiteY8" fmla="*/ 0 h 1408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043" h="140869">
                          <a:moveTo>
                            <a:pt x="76305" y="0"/>
                          </a:moveTo>
                          <a:lnTo>
                            <a:pt x="11740" y="0"/>
                          </a:lnTo>
                          <a:cubicBezTo>
                            <a:pt x="5870" y="0"/>
                            <a:pt x="0" y="5869"/>
                            <a:pt x="0" y="11739"/>
                          </a:cubicBezTo>
                          <a:lnTo>
                            <a:pt x="0" y="129130"/>
                          </a:lnTo>
                          <a:cubicBezTo>
                            <a:pt x="0" y="134999"/>
                            <a:pt x="5870" y="140869"/>
                            <a:pt x="11740" y="140869"/>
                          </a:cubicBezTo>
                          <a:lnTo>
                            <a:pt x="76305" y="140869"/>
                          </a:lnTo>
                          <a:cubicBezTo>
                            <a:pt x="82174" y="140869"/>
                            <a:pt x="88043" y="134999"/>
                            <a:pt x="88043" y="129130"/>
                          </a:cubicBezTo>
                          <a:lnTo>
                            <a:pt x="88043" y="11739"/>
                          </a:lnTo>
                          <a:cubicBezTo>
                            <a:pt x="88043" y="5869"/>
                            <a:pt x="82174" y="0"/>
                            <a:pt x="76305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1" name="任意多边形: 形状 110">
                      <a:extLst>
                        <a:ext uri="{FF2B5EF4-FFF2-40B4-BE49-F238E27FC236}">
                          <a16:creationId xmlns:a16="http://schemas.microsoft.com/office/drawing/2014/main" id="{A430A67C-90D8-45AE-8802-2A5F257FB2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6355628" y="11234987"/>
                      <a:ext cx="322826" cy="322826"/>
                    </a:xfrm>
                    <a:custGeom>
                      <a:avLst/>
                      <a:gdLst>
                        <a:gd name="connsiteX0" fmla="*/ 161413 w 322826"/>
                        <a:gd name="connsiteY0" fmla="*/ 0 h 322826"/>
                        <a:gd name="connsiteX1" fmla="*/ 0 w 322826"/>
                        <a:gd name="connsiteY1" fmla="*/ 161413 h 322826"/>
                        <a:gd name="connsiteX2" fmla="*/ 161413 w 322826"/>
                        <a:gd name="connsiteY2" fmla="*/ 322826 h 322826"/>
                        <a:gd name="connsiteX3" fmla="*/ 322826 w 322826"/>
                        <a:gd name="connsiteY3" fmla="*/ 161413 h 322826"/>
                        <a:gd name="connsiteX4" fmla="*/ 161413 w 322826"/>
                        <a:gd name="connsiteY4" fmla="*/ 0 h 3228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22826" h="322826">
                          <a:moveTo>
                            <a:pt x="161413" y="0"/>
                          </a:moveTo>
                          <a:cubicBezTo>
                            <a:pt x="73370" y="0"/>
                            <a:pt x="0" y="73370"/>
                            <a:pt x="0" y="161413"/>
                          </a:cubicBezTo>
                          <a:cubicBezTo>
                            <a:pt x="0" y="249457"/>
                            <a:pt x="73370" y="322826"/>
                            <a:pt x="161413" y="322826"/>
                          </a:cubicBezTo>
                          <a:cubicBezTo>
                            <a:pt x="249457" y="322826"/>
                            <a:pt x="322826" y="249457"/>
                            <a:pt x="322826" y="161413"/>
                          </a:cubicBezTo>
                          <a:cubicBezTo>
                            <a:pt x="319892" y="70435"/>
                            <a:pt x="249457" y="0"/>
                            <a:pt x="161413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09" name="任意多边形: 形状 108">
                    <a:extLst>
                      <a:ext uri="{FF2B5EF4-FFF2-40B4-BE49-F238E27FC236}">
                        <a16:creationId xmlns:a16="http://schemas.microsoft.com/office/drawing/2014/main" id="{31B3A898-CC34-4028-9B68-8B44E46C91F6}"/>
                      </a:ext>
                    </a:extLst>
                  </p:cNvPr>
                  <p:cNvSpPr/>
                  <p:nvPr/>
                </p:nvSpPr>
                <p:spPr>
                  <a:xfrm>
                    <a:off x="16546125" y="11290483"/>
                    <a:ext cx="82545" cy="132329"/>
                  </a:xfrm>
                  <a:custGeom>
                    <a:avLst/>
                    <a:gdLst>
                      <a:gd name="connsiteX0" fmla="*/ 67765 w 82545"/>
                      <a:gd name="connsiteY0" fmla="*/ 132330 h 132329"/>
                      <a:gd name="connsiteX1" fmla="*/ 67765 w 82545"/>
                      <a:gd name="connsiteY1" fmla="*/ 132330 h 132329"/>
                      <a:gd name="connsiteX2" fmla="*/ 53091 w 82545"/>
                      <a:gd name="connsiteY2" fmla="*/ 117656 h 132329"/>
                      <a:gd name="connsiteX3" fmla="*/ 6134 w 82545"/>
                      <a:gd name="connsiteY3" fmla="*/ 26678 h 132329"/>
                      <a:gd name="connsiteX4" fmla="*/ 3199 w 82545"/>
                      <a:gd name="connsiteY4" fmla="*/ 6134 h 132329"/>
                      <a:gd name="connsiteX5" fmla="*/ 23743 w 82545"/>
                      <a:gd name="connsiteY5" fmla="*/ 3200 h 132329"/>
                      <a:gd name="connsiteX6" fmla="*/ 82439 w 82545"/>
                      <a:gd name="connsiteY6" fmla="*/ 120591 h 132329"/>
                      <a:gd name="connsiteX7" fmla="*/ 67765 w 82545"/>
                      <a:gd name="connsiteY7" fmla="*/ 132330 h 1323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545" h="132329">
                        <a:moveTo>
                          <a:pt x="67765" y="132330"/>
                        </a:moveTo>
                        <a:cubicBezTo>
                          <a:pt x="67765" y="132330"/>
                          <a:pt x="67765" y="132330"/>
                          <a:pt x="67765" y="132330"/>
                        </a:cubicBezTo>
                        <a:cubicBezTo>
                          <a:pt x="58960" y="132330"/>
                          <a:pt x="53091" y="126460"/>
                          <a:pt x="53091" y="117656"/>
                        </a:cubicBezTo>
                        <a:cubicBezTo>
                          <a:pt x="56026" y="58960"/>
                          <a:pt x="6134" y="26678"/>
                          <a:pt x="6134" y="26678"/>
                        </a:cubicBezTo>
                        <a:cubicBezTo>
                          <a:pt x="264" y="20808"/>
                          <a:pt x="-2670" y="12004"/>
                          <a:pt x="3199" y="6134"/>
                        </a:cubicBezTo>
                        <a:cubicBezTo>
                          <a:pt x="9069" y="265"/>
                          <a:pt x="17873" y="-2670"/>
                          <a:pt x="23743" y="3200"/>
                        </a:cubicBezTo>
                        <a:cubicBezTo>
                          <a:pt x="26678" y="6134"/>
                          <a:pt x="85374" y="47221"/>
                          <a:pt x="82439" y="120591"/>
                        </a:cubicBezTo>
                        <a:cubicBezTo>
                          <a:pt x="82439" y="126460"/>
                          <a:pt x="76569" y="132330"/>
                          <a:pt x="67765" y="132330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98" name="图形 1">
                  <a:extLst>
                    <a:ext uri="{FF2B5EF4-FFF2-40B4-BE49-F238E27FC236}">
                      <a16:creationId xmlns:a16="http://schemas.microsoft.com/office/drawing/2014/main" id="{EFEABE7E-DB75-4394-96F3-887F59C4E853}"/>
                    </a:ext>
                  </a:extLst>
                </p:cNvPr>
                <p:cNvGrpSpPr/>
                <p:nvPr/>
              </p:nvGrpSpPr>
              <p:grpSpPr>
                <a:xfrm>
                  <a:off x="15029107" y="9468247"/>
                  <a:ext cx="322826" cy="378586"/>
                  <a:chOff x="15029107" y="9468247"/>
                  <a:chExt cx="322826" cy="378586"/>
                </a:xfrm>
              </p:grpSpPr>
              <p:grpSp>
                <p:nvGrpSpPr>
                  <p:cNvPr id="104" name="图形 1">
                    <a:extLst>
                      <a:ext uri="{FF2B5EF4-FFF2-40B4-BE49-F238E27FC236}">
                        <a16:creationId xmlns:a16="http://schemas.microsoft.com/office/drawing/2014/main" id="{9C113E90-5373-48A2-B25B-2ED34BDB8997}"/>
                      </a:ext>
                    </a:extLst>
                  </p:cNvPr>
                  <p:cNvGrpSpPr/>
                  <p:nvPr/>
                </p:nvGrpSpPr>
                <p:grpSpPr>
                  <a:xfrm>
                    <a:off x="15029107" y="9468247"/>
                    <a:ext cx="322826" cy="378586"/>
                    <a:chOff x="15029107" y="9468247"/>
                    <a:chExt cx="322826" cy="378586"/>
                  </a:xfrm>
                </p:grpSpPr>
                <p:sp>
                  <p:nvSpPr>
                    <p:cNvPr id="106" name="任意多边形: 形状 105">
                      <a:extLst>
                        <a:ext uri="{FF2B5EF4-FFF2-40B4-BE49-F238E27FC236}">
                          <a16:creationId xmlns:a16="http://schemas.microsoft.com/office/drawing/2014/main" id="{AC9299F1-F75B-468C-BBB3-630B646BB5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46499" y="9468247"/>
                      <a:ext cx="88043" cy="140869"/>
                    </a:xfrm>
                    <a:custGeom>
                      <a:avLst/>
                      <a:gdLst>
                        <a:gd name="connsiteX0" fmla="*/ 76305 w 88043"/>
                        <a:gd name="connsiteY0" fmla="*/ 0 h 140869"/>
                        <a:gd name="connsiteX1" fmla="*/ 11739 w 88043"/>
                        <a:gd name="connsiteY1" fmla="*/ 0 h 140869"/>
                        <a:gd name="connsiteX2" fmla="*/ 0 w 88043"/>
                        <a:gd name="connsiteY2" fmla="*/ 11739 h 140869"/>
                        <a:gd name="connsiteX3" fmla="*/ 0 w 88043"/>
                        <a:gd name="connsiteY3" fmla="*/ 129130 h 140869"/>
                        <a:gd name="connsiteX4" fmla="*/ 11739 w 88043"/>
                        <a:gd name="connsiteY4" fmla="*/ 140869 h 140869"/>
                        <a:gd name="connsiteX5" fmla="*/ 76305 w 88043"/>
                        <a:gd name="connsiteY5" fmla="*/ 140869 h 140869"/>
                        <a:gd name="connsiteX6" fmla="*/ 88043 w 88043"/>
                        <a:gd name="connsiteY6" fmla="*/ 129130 h 140869"/>
                        <a:gd name="connsiteX7" fmla="*/ 88043 w 88043"/>
                        <a:gd name="connsiteY7" fmla="*/ 11739 h 140869"/>
                        <a:gd name="connsiteX8" fmla="*/ 76305 w 88043"/>
                        <a:gd name="connsiteY8" fmla="*/ 0 h 1408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043" h="140869">
                          <a:moveTo>
                            <a:pt x="76305" y="0"/>
                          </a:moveTo>
                          <a:lnTo>
                            <a:pt x="11739" y="0"/>
                          </a:lnTo>
                          <a:cubicBezTo>
                            <a:pt x="5869" y="0"/>
                            <a:pt x="0" y="5870"/>
                            <a:pt x="0" y="11739"/>
                          </a:cubicBezTo>
                          <a:lnTo>
                            <a:pt x="0" y="129130"/>
                          </a:lnTo>
                          <a:cubicBezTo>
                            <a:pt x="0" y="135000"/>
                            <a:pt x="5869" y="140869"/>
                            <a:pt x="11739" y="140869"/>
                          </a:cubicBezTo>
                          <a:lnTo>
                            <a:pt x="76305" y="140869"/>
                          </a:lnTo>
                          <a:cubicBezTo>
                            <a:pt x="82174" y="140869"/>
                            <a:pt x="88043" y="135000"/>
                            <a:pt x="88043" y="129130"/>
                          </a:cubicBezTo>
                          <a:lnTo>
                            <a:pt x="88043" y="11739"/>
                          </a:lnTo>
                          <a:cubicBezTo>
                            <a:pt x="88043" y="2935"/>
                            <a:pt x="82174" y="0"/>
                            <a:pt x="76305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7" name="任意多边形: 形状 106">
                      <a:extLst>
                        <a:ext uri="{FF2B5EF4-FFF2-40B4-BE49-F238E27FC236}">
                          <a16:creationId xmlns:a16="http://schemas.microsoft.com/office/drawing/2014/main" id="{4514A811-7E6F-4F50-9081-90FFE2A461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29107" y="9524008"/>
                      <a:ext cx="322826" cy="322826"/>
                    </a:xfrm>
                    <a:custGeom>
                      <a:avLst/>
                      <a:gdLst>
                        <a:gd name="connsiteX0" fmla="*/ 161413 w 322826"/>
                        <a:gd name="connsiteY0" fmla="*/ 0 h 322826"/>
                        <a:gd name="connsiteX1" fmla="*/ 0 w 322826"/>
                        <a:gd name="connsiteY1" fmla="*/ 161413 h 322826"/>
                        <a:gd name="connsiteX2" fmla="*/ 161413 w 322826"/>
                        <a:gd name="connsiteY2" fmla="*/ 322826 h 322826"/>
                        <a:gd name="connsiteX3" fmla="*/ 322826 w 322826"/>
                        <a:gd name="connsiteY3" fmla="*/ 161413 h 322826"/>
                        <a:gd name="connsiteX4" fmla="*/ 161413 w 322826"/>
                        <a:gd name="connsiteY4" fmla="*/ 0 h 3228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22826" h="322826">
                          <a:moveTo>
                            <a:pt x="161413" y="0"/>
                          </a:moveTo>
                          <a:cubicBezTo>
                            <a:pt x="73370" y="0"/>
                            <a:pt x="0" y="73370"/>
                            <a:pt x="0" y="161413"/>
                          </a:cubicBezTo>
                          <a:cubicBezTo>
                            <a:pt x="0" y="249457"/>
                            <a:pt x="73370" y="322826"/>
                            <a:pt x="161413" y="322826"/>
                          </a:cubicBezTo>
                          <a:cubicBezTo>
                            <a:pt x="249457" y="322826"/>
                            <a:pt x="322826" y="249457"/>
                            <a:pt x="322826" y="161413"/>
                          </a:cubicBezTo>
                          <a:cubicBezTo>
                            <a:pt x="322826" y="73370"/>
                            <a:pt x="249457" y="0"/>
                            <a:pt x="161413" y="0"/>
                          </a:cubicBezTo>
                          <a:close/>
                        </a:path>
                      </a:pathLst>
                    </a:custGeom>
                    <a:solidFill>
                      <a:srgbClr val="7F95BC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05" name="任意多边形: 形状 104">
                    <a:extLst>
                      <a:ext uri="{FF2B5EF4-FFF2-40B4-BE49-F238E27FC236}">
                        <a16:creationId xmlns:a16="http://schemas.microsoft.com/office/drawing/2014/main" id="{1B86D2F3-14FA-4AC4-8645-9DB736AF9824}"/>
                      </a:ext>
                    </a:extLst>
                  </p:cNvPr>
                  <p:cNvSpPr/>
                  <p:nvPr/>
                </p:nvSpPr>
                <p:spPr>
                  <a:xfrm>
                    <a:off x="15219603" y="9582439"/>
                    <a:ext cx="82544" cy="132329"/>
                  </a:xfrm>
                  <a:custGeom>
                    <a:avLst/>
                    <a:gdLst>
                      <a:gd name="connsiteX0" fmla="*/ 67764 w 82544"/>
                      <a:gd name="connsiteY0" fmla="*/ 132330 h 132329"/>
                      <a:gd name="connsiteX1" fmla="*/ 67764 w 82544"/>
                      <a:gd name="connsiteY1" fmla="*/ 132330 h 132329"/>
                      <a:gd name="connsiteX2" fmla="*/ 53090 w 82544"/>
                      <a:gd name="connsiteY2" fmla="*/ 117656 h 132329"/>
                      <a:gd name="connsiteX3" fmla="*/ 6134 w 82544"/>
                      <a:gd name="connsiteY3" fmla="*/ 26678 h 132329"/>
                      <a:gd name="connsiteX4" fmla="*/ 3200 w 82544"/>
                      <a:gd name="connsiteY4" fmla="*/ 6135 h 132329"/>
                      <a:gd name="connsiteX5" fmla="*/ 23743 w 82544"/>
                      <a:gd name="connsiteY5" fmla="*/ 3200 h 132329"/>
                      <a:gd name="connsiteX6" fmla="*/ 82438 w 82544"/>
                      <a:gd name="connsiteY6" fmla="*/ 120591 h 132329"/>
                      <a:gd name="connsiteX7" fmla="*/ 67764 w 82544"/>
                      <a:gd name="connsiteY7" fmla="*/ 132330 h 1323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544" h="132329">
                        <a:moveTo>
                          <a:pt x="67764" y="132330"/>
                        </a:moveTo>
                        <a:cubicBezTo>
                          <a:pt x="67764" y="132330"/>
                          <a:pt x="67764" y="132330"/>
                          <a:pt x="67764" y="132330"/>
                        </a:cubicBezTo>
                        <a:cubicBezTo>
                          <a:pt x="58960" y="132330"/>
                          <a:pt x="53090" y="126461"/>
                          <a:pt x="53090" y="117656"/>
                        </a:cubicBezTo>
                        <a:cubicBezTo>
                          <a:pt x="56025" y="58960"/>
                          <a:pt x="6134" y="26678"/>
                          <a:pt x="6134" y="26678"/>
                        </a:cubicBezTo>
                        <a:cubicBezTo>
                          <a:pt x="265" y="20808"/>
                          <a:pt x="-2670" y="12004"/>
                          <a:pt x="3200" y="6135"/>
                        </a:cubicBezTo>
                        <a:cubicBezTo>
                          <a:pt x="9069" y="265"/>
                          <a:pt x="17874" y="-2670"/>
                          <a:pt x="23743" y="3200"/>
                        </a:cubicBezTo>
                        <a:cubicBezTo>
                          <a:pt x="26678" y="6135"/>
                          <a:pt x="85373" y="47221"/>
                          <a:pt x="82438" y="120591"/>
                        </a:cubicBezTo>
                        <a:cubicBezTo>
                          <a:pt x="82438" y="126461"/>
                          <a:pt x="76569" y="132330"/>
                          <a:pt x="67764" y="132330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99" name="图形 1">
                  <a:extLst>
                    <a:ext uri="{FF2B5EF4-FFF2-40B4-BE49-F238E27FC236}">
                      <a16:creationId xmlns:a16="http://schemas.microsoft.com/office/drawing/2014/main" id="{A10CBD16-080B-48D3-9479-1D46054CB5B6}"/>
                    </a:ext>
                  </a:extLst>
                </p:cNvPr>
                <p:cNvGrpSpPr/>
                <p:nvPr/>
              </p:nvGrpSpPr>
              <p:grpSpPr>
                <a:xfrm>
                  <a:off x="15557368" y="8669987"/>
                  <a:ext cx="322826" cy="381521"/>
                  <a:chOff x="15557368" y="8669987"/>
                  <a:chExt cx="322826" cy="381521"/>
                </a:xfrm>
              </p:grpSpPr>
              <p:grpSp>
                <p:nvGrpSpPr>
                  <p:cNvPr id="100" name="图形 1">
                    <a:extLst>
                      <a:ext uri="{FF2B5EF4-FFF2-40B4-BE49-F238E27FC236}">
                        <a16:creationId xmlns:a16="http://schemas.microsoft.com/office/drawing/2014/main" id="{67CD1DFF-BED2-41EF-AAF1-772D83FD0C16}"/>
                      </a:ext>
                    </a:extLst>
                  </p:cNvPr>
                  <p:cNvGrpSpPr/>
                  <p:nvPr/>
                </p:nvGrpSpPr>
                <p:grpSpPr>
                  <a:xfrm>
                    <a:off x="15557368" y="8669987"/>
                    <a:ext cx="322826" cy="381521"/>
                    <a:chOff x="15557368" y="8669987"/>
                    <a:chExt cx="322826" cy="381521"/>
                  </a:xfrm>
                </p:grpSpPr>
                <p:sp>
                  <p:nvSpPr>
                    <p:cNvPr id="102" name="任意多边形: 形状 101">
                      <a:extLst>
                        <a:ext uri="{FF2B5EF4-FFF2-40B4-BE49-F238E27FC236}">
                          <a16:creationId xmlns:a16="http://schemas.microsoft.com/office/drawing/2014/main" id="{69865AB3-D5A8-4A94-A42D-423E7CB649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674759" y="8669987"/>
                      <a:ext cx="88043" cy="140869"/>
                    </a:xfrm>
                    <a:custGeom>
                      <a:avLst/>
                      <a:gdLst>
                        <a:gd name="connsiteX0" fmla="*/ 76305 w 88043"/>
                        <a:gd name="connsiteY0" fmla="*/ 0 h 140869"/>
                        <a:gd name="connsiteX1" fmla="*/ 11739 w 88043"/>
                        <a:gd name="connsiteY1" fmla="*/ 0 h 140869"/>
                        <a:gd name="connsiteX2" fmla="*/ 0 w 88043"/>
                        <a:gd name="connsiteY2" fmla="*/ 11739 h 140869"/>
                        <a:gd name="connsiteX3" fmla="*/ 0 w 88043"/>
                        <a:gd name="connsiteY3" fmla="*/ 129130 h 140869"/>
                        <a:gd name="connsiteX4" fmla="*/ 11739 w 88043"/>
                        <a:gd name="connsiteY4" fmla="*/ 140870 h 140869"/>
                        <a:gd name="connsiteX5" fmla="*/ 76305 w 88043"/>
                        <a:gd name="connsiteY5" fmla="*/ 140870 h 140869"/>
                        <a:gd name="connsiteX6" fmla="*/ 88043 w 88043"/>
                        <a:gd name="connsiteY6" fmla="*/ 129130 h 140869"/>
                        <a:gd name="connsiteX7" fmla="*/ 88043 w 88043"/>
                        <a:gd name="connsiteY7" fmla="*/ 11739 h 140869"/>
                        <a:gd name="connsiteX8" fmla="*/ 76305 w 88043"/>
                        <a:gd name="connsiteY8" fmla="*/ 0 h 1408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8043" h="140869">
                          <a:moveTo>
                            <a:pt x="76305" y="0"/>
                          </a:moveTo>
                          <a:lnTo>
                            <a:pt x="11739" y="0"/>
                          </a:lnTo>
                          <a:cubicBezTo>
                            <a:pt x="5869" y="0"/>
                            <a:pt x="0" y="5869"/>
                            <a:pt x="0" y="11739"/>
                          </a:cubicBezTo>
                          <a:lnTo>
                            <a:pt x="0" y="129130"/>
                          </a:lnTo>
                          <a:cubicBezTo>
                            <a:pt x="0" y="135000"/>
                            <a:pt x="5869" y="140870"/>
                            <a:pt x="11739" y="140870"/>
                          </a:cubicBezTo>
                          <a:lnTo>
                            <a:pt x="76305" y="140870"/>
                          </a:lnTo>
                          <a:cubicBezTo>
                            <a:pt x="82174" y="140870"/>
                            <a:pt x="88043" y="135000"/>
                            <a:pt x="88043" y="129130"/>
                          </a:cubicBezTo>
                          <a:lnTo>
                            <a:pt x="88043" y="11739"/>
                          </a:lnTo>
                          <a:cubicBezTo>
                            <a:pt x="88043" y="5869"/>
                            <a:pt x="82174" y="0"/>
                            <a:pt x="76305" y="0"/>
                          </a:cubicBezTo>
                          <a:close/>
                        </a:path>
                      </a:pathLst>
                    </a:custGeom>
                    <a:solidFill>
                      <a:srgbClr val="F1DDBA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3" name="任意多边形: 形状 102">
                      <a:extLst>
                        <a:ext uri="{FF2B5EF4-FFF2-40B4-BE49-F238E27FC236}">
                          <a16:creationId xmlns:a16="http://schemas.microsoft.com/office/drawing/2014/main" id="{30359616-A5EF-4FAC-AA70-CC6A73392D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57368" y="8728682"/>
                      <a:ext cx="322826" cy="322826"/>
                    </a:xfrm>
                    <a:custGeom>
                      <a:avLst/>
                      <a:gdLst>
                        <a:gd name="connsiteX0" fmla="*/ 161413 w 322826"/>
                        <a:gd name="connsiteY0" fmla="*/ 0 h 322826"/>
                        <a:gd name="connsiteX1" fmla="*/ 0 w 322826"/>
                        <a:gd name="connsiteY1" fmla="*/ 161413 h 322826"/>
                        <a:gd name="connsiteX2" fmla="*/ 161413 w 322826"/>
                        <a:gd name="connsiteY2" fmla="*/ 322826 h 322826"/>
                        <a:gd name="connsiteX3" fmla="*/ 322826 w 322826"/>
                        <a:gd name="connsiteY3" fmla="*/ 161413 h 322826"/>
                        <a:gd name="connsiteX4" fmla="*/ 161413 w 322826"/>
                        <a:gd name="connsiteY4" fmla="*/ 0 h 3228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322826" h="322826">
                          <a:moveTo>
                            <a:pt x="161413" y="0"/>
                          </a:moveTo>
                          <a:cubicBezTo>
                            <a:pt x="73370" y="0"/>
                            <a:pt x="0" y="73370"/>
                            <a:pt x="0" y="161413"/>
                          </a:cubicBezTo>
                          <a:cubicBezTo>
                            <a:pt x="0" y="249457"/>
                            <a:pt x="73370" y="322826"/>
                            <a:pt x="161413" y="322826"/>
                          </a:cubicBezTo>
                          <a:cubicBezTo>
                            <a:pt x="249457" y="322826"/>
                            <a:pt x="322826" y="249457"/>
                            <a:pt x="322826" y="161413"/>
                          </a:cubicBezTo>
                          <a:cubicBezTo>
                            <a:pt x="322826" y="70435"/>
                            <a:pt x="249457" y="0"/>
                            <a:pt x="161413" y="0"/>
                          </a:cubicBezTo>
                          <a:close/>
                        </a:path>
                      </a:pathLst>
                    </a:custGeom>
                    <a:solidFill>
                      <a:srgbClr val="D16156"/>
                    </a:solidFill>
                    <a:ln w="2933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01" name="任意多边形: 形状 100">
                    <a:extLst>
                      <a:ext uri="{FF2B5EF4-FFF2-40B4-BE49-F238E27FC236}">
                        <a16:creationId xmlns:a16="http://schemas.microsoft.com/office/drawing/2014/main" id="{49F1D262-06F7-4279-97A9-F1DF28B1B232}"/>
                      </a:ext>
                    </a:extLst>
                  </p:cNvPr>
                  <p:cNvSpPr/>
                  <p:nvPr/>
                </p:nvSpPr>
                <p:spPr>
                  <a:xfrm>
                    <a:off x="15747864" y="8784178"/>
                    <a:ext cx="82544" cy="132329"/>
                  </a:xfrm>
                  <a:custGeom>
                    <a:avLst/>
                    <a:gdLst>
                      <a:gd name="connsiteX0" fmla="*/ 67764 w 82544"/>
                      <a:gd name="connsiteY0" fmla="*/ 132330 h 132329"/>
                      <a:gd name="connsiteX1" fmla="*/ 67764 w 82544"/>
                      <a:gd name="connsiteY1" fmla="*/ 132330 h 132329"/>
                      <a:gd name="connsiteX2" fmla="*/ 53090 w 82544"/>
                      <a:gd name="connsiteY2" fmla="*/ 117656 h 132329"/>
                      <a:gd name="connsiteX3" fmla="*/ 6134 w 82544"/>
                      <a:gd name="connsiteY3" fmla="*/ 26678 h 132329"/>
                      <a:gd name="connsiteX4" fmla="*/ 3200 w 82544"/>
                      <a:gd name="connsiteY4" fmla="*/ 6134 h 132329"/>
                      <a:gd name="connsiteX5" fmla="*/ 23743 w 82544"/>
                      <a:gd name="connsiteY5" fmla="*/ 3199 h 132329"/>
                      <a:gd name="connsiteX6" fmla="*/ 82438 w 82544"/>
                      <a:gd name="connsiteY6" fmla="*/ 120591 h 132329"/>
                      <a:gd name="connsiteX7" fmla="*/ 67764 w 82544"/>
                      <a:gd name="connsiteY7" fmla="*/ 132330 h 1323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2544" h="132329">
                        <a:moveTo>
                          <a:pt x="67764" y="132330"/>
                        </a:moveTo>
                        <a:cubicBezTo>
                          <a:pt x="67764" y="132330"/>
                          <a:pt x="67764" y="132330"/>
                          <a:pt x="67764" y="132330"/>
                        </a:cubicBezTo>
                        <a:cubicBezTo>
                          <a:pt x="58960" y="132330"/>
                          <a:pt x="53090" y="126460"/>
                          <a:pt x="53090" y="117656"/>
                        </a:cubicBezTo>
                        <a:cubicBezTo>
                          <a:pt x="56025" y="58960"/>
                          <a:pt x="6134" y="26678"/>
                          <a:pt x="6134" y="26678"/>
                        </a:cubicBezTo>
                        <a:cubicBezTo>
                          <a:pt x="265" y="20808"/>
                          <a:pt x="-2670" y="12004"/>
                          <a:pt x="3200" y="6134"/>
                        </a:cubicBezTo>
                        <a:cubicBezTo>
                          <a:pt x="9069" y="264"/>
                          <a:pt x="17874" y="-2670"/>
                          <a:pt x="23743" y="3199"/>
                        </a:cubicBezTo>
                        <a:cubicBezTo>
                          <a:pt x="26678" y="6134"/>
                          <a:pt x="85373" y="47221"/>
                          <a:pt x="82438" y="120591"/>
                        </a:cubicBezTo>
                        <a:cubicBezTo>
                          <a:pt x="82438" y="126460"/>
                          <a:pt x="76569" y="132330"/>
                          <a:pt x="67764" y="132330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2933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3" name="图形 1">
                <a:extLst>
                  <a:ext uri="{FF2B5EF4-FFF2-40B4-BE49-F238E27FC236}">
                    <a16:creationId xmlns:a16="http://schemas.microsoft.com/office/drawing/2014/main" id="{B110346A-403D-46B5-8100-126066C805C0}"/>
                  </a:ext>
                </a:extLst>
              </p:cNvPr>
              <p:cNvGrpSpPr/>
              <p:nvPr/>
            </p:nvGrpSpPr>
            <p:grpSpPr>
              <a:xfrm>
                <a:off x="14588890" y="11295415"/>
                <a:ext cx="1000760" cy="1051854"/>
                <a:chOff x="14588890" y="11295415"/>
                <a:chExt cx="1000760" cy="1051854"/>
              </a:xfrm>
            </p:grpSpPr>
            <p:sp>
              <p:nvSpPr>
                <p:cNvPr id="80" name="任意多边形: 形状 79">
                  <a:extLst>
                    <a:ext uri="{FF2B5EF4-FFF2-40B4-BE49-F238E27FC236}">
                      <a16:creationId xmlns:a16="http://schemas.microsoft.com/office/drawing/2014/main" id="{D1CF2B6D-A3BB-4ED2-B47E-D5D0FD212A47}"/>
                    </a:ext>
                  </a:extLst>
                </p:cNvPr>
                <p:cNvSpPr/>
                <p:nvPr/>
              </p:nvSpPr>
              <p:spPr>
                <a:xfrm>
                  <a:off x="14767911" y="11722160"/>
                  <a:ext cx="821739" cy="625108"/>
                </a:xfrm>
                <a:custGeom>
                  <a:avLst/>
                  <a:gdLst>
                    <a:gd name="connsiteX0" fmla="*/ 0 w 821739"/>
                    <a:gd name="connsiteY0" fmla="*/ 0 h 625108"/>
                    <a:gd name="connsiteX1" fmla="*/ 821740 w 821739"/>
                    <a:gd name="connsiteY1" fmla="*/ 0 h 625108"/>
                    <a:gd name="connsiteX2" fmla="*/ 821740 w 821739"/>
                    <a:gd name="connsiteY2" fmla="*/ 625108 h 625108"/>
                    <a:gd name="connsiteX3" fmla="*/ 0 w 821739"/>
                    <a:gd name="connsiteY3" fmla="*/ 625108 h 625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1739" h="625108">
                      <a:moveTo>
                        <a:pt x="0" y="0"/>
                      </a:moveTo>
                      <a:lnTo>
                        <a:pt x="821740" y="0"/>
                      </a:lnTo>
                      <a:lnTo>
                        <a:pt x="821740" y="625108"/>
                      </a:lnTo>
                      <a:lnTo>
                        <a:pt x="0" y="625108"/>
                      </a:lnTo>
                      <a:close/>
                    </a:path>
                  </a:pathLst>
                </a:custGeom>
                <a:solidFill>
                  <a:srgbClr val="C4544E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1" name="任意多边形: 形状 80">
                  <a:extLst>
                    <a:ext uri="{FF2B5EF4-FFF2-40B4-BE49-F238E27FC236}">
                      <a16:creationId xmlns:a16="http://schemas.microsoft.com/office/drawing/2014/main" id="{AE7AB571-D2E7-4A42-ACE8-784B247A0AA9}"/>
                    </a:ext>
                  </a:extLst>
                </p:cNvPr>
                <p:cNvSpPr/>
                <p:nvPr/>
              </p:nvSpPr>
              <p:spPr>
                <a:xfrm>
                  <a:off x="14588890" y="11722160"/>
                  <a:ext cx="821739" cy="625108"/>
                </a:xfrm>
                <a:custGeom>
                  <a:avLst/>
                  <a:gdLst>
                    <a:gd name="connsiteX0" fmla="*/ 0 w 821739"/>
                    <a:gd name="connsiteY0" fmla="*/ 0 h 625108"/>
                    <a:gd name="connsiteX1" fmla="*/ 821739 w 821739"/>
                    <a:gd name="connsiteY1" fmla="*/ 0 h 625108"/>
                    <a:gd name="connsiteX2" fmla="*/ 821739 w 821739"/>
                    <a:gd name="connsiteY2" fmla="*/ 625108 h 625108"/>
                    <a:gd name="connsiteX3" fmla="*/ 0 w 821739"/>
                    <a:gd name="connsiteY3" fmla="*/ 625108 h 625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1739" h="625108">
                      <a:moveTo>
                        <a:pt x="0" y="0"/>
                      </a:moveTo>
                      <a:lnTo>
                        <a:pt x="821739" y="0"/>
                      </a:lnTo>
                      <a:lnTo>
                        <a:pt x="821739" y="625108"/>
                      </a:lnTo>
                      <a:lnTo>
                        <a:pt x="0" y="625108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任意多边形: 形状 81">
                  <a:extLst>
                    <a:ext uri="{FF2B5EF4-FFF2-40B4-BE49-F238E27FC236}">
                      <a16:creationId xmlns:a16="http://schemas.microsoft.com/office/drawing/2014/main" id="{740B7FC6-D0E8-4306-AD42-B6CCA7BDF2E6}"/>
                    </a:ext>
                  </a:extLst>
                </p:cNvPr>
                <p:cNvSpPr/>
                <p:nvPr/>
              </p:nvSpPr>
              <p:spPr>
                <a:xfrm>
                  <a:off x="14941064" y="11722160"/>
                  <a:ext cx="114456" cy="625108"/>
                </a:xfrm>
                <a:custGeom>
                  <a:avLst/>
                  <a:gdLst>
                    <a:gd name="connsiteX0" fmla="*/ 0 w 114456"/>
                    <a:gd name="connsiteY0" fmla="*/ 0 h 625108"/>
                    <a:gd name="connsiteX1" fmla="*/ 114457 w 114456"/>
                    <a:gd name="connsiteY1" fmla="*/ 0 h 625108"/>
                    <a:gd name="connsiteX2" fmla="*/ 114457 w 114456"/>
                    <a:gd name="connsiteY2" fmla="*/ 625108 h 625108"/>
                    <a:gd name="connsiteX3" fmla="*/ 0 w 114456"/>
                    <a:gd name="connsiteY3" fmla="*/ 625108 h 625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4456" h="625108">
                      <a:moveTo>
                        <a:pt x="0" y="0"/>
                      </a:moveTo>
                      <a:lnTo>
                        <a:pt x="114457" y="0"/>
                      </a:lnTo>
                      <a:lnTo>
                        <a:pt x="114457" y="625108"/>
                      </a:lnTo>
                      <a:lnTo>
                        <a:pt x="0" y="625108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: 形状 82">
                  <a:extLst>
                    <a:ext uri="{FF2B5EF4-FFF2-40B4-BE49-F238E27FC236}">
                      <a16:creationId xmlns:a16="http://schemas.microsoft.com/office/drawing/2014/main" id="{A12F7B89-D139-4A67-8780-BA54F3C0BBB0}"/>
                    </a:ext>
                  </a:extLst>
                </p:cNvPr>
                <p:cNvSpPr/>
                <p:nvPr/>
              </p:nvSpPr>
              <p:spPr>
                <a:xfrm>
                  <a:off x="14808910" y="11295415"/>
                  <a:ext cx="621429" cy="462828"/>
                </a:xfrm>
                <a:custGeom>
                  <a:avLst/>
                  <a:gdLst>
                    <a:gd name="connsiteX0" fmla="*/ 607588 w 621429"/>
                    <a:gd name="connsiteY0" fmla="*/ 121528 h 462828"/>
                    <a:gd name="connsiteX1" fmla="*/ 384545 w 621429"/>
                    <a:gd name="connsiteY1" fmla="*/ 127398 h 462828"/>
                    <a:gd name="connsiteX2" fmla="*/ 281828 w 621429"/>
                    <a:gd name="connsiteY2" fmla="*/ 250658 h 462828"/>
                    <a:gd name="connsiteX3" fmla="*/ 273023 w 621429"/>
                    <a:gd name="connsiteY3" fmla="*/ 177289 h 462828"/>
                    <a:gd name="connsiteX4" fmla="*/ 138023 w 621429"/>
                    <a:gd name="connsiteY4" fmla="*/ 1202 h 462828"/>
                    <a:gd name="connsiteX5" fmla="*/ 89 w 621429"/>
                    <a:gd name="connsiteY5" fmla="*/ 194898 h 462828"/>
                    <a:gd name="connsiteX6" fmla="*/ 155632 w 621429"/>
                    <a:gd name="connsiteY6" fmla="*/ 435550 h 462828"/>
                    <a:gd name="connsiteX7" fmla="*/ 193784 w 621429"/>
                    <a:gd name="connsiteY7" fmla="*/ 459028 h 462828"/>
                    <a:gd name="connsiteX8" fmla="*/ 208458 w 621429"/>
                    <a:gd name="connsiteY8" fmla="*/ 447289 h 462828"/>
                    <a:gd name="connsiteX9" fmla="*/ 528349 w 621429"/>
                    <a:gd name="connsiteY9" fmla="*/ 326963 h 462828"/>
                    <a:gd name="connsiteX10" fmla="*/ 607588 w 621429"/>
                    <a:gd name="connsiteY10" fmla="*/ 121528 h 462828"/>
                    <a:gd name="connsiteX11" fmla="*/ 443241 w 621429"/>
                    <a:gd name="connsiteY11" fmla="*/ 171420 h 462828"/>
                    <a:gd name="connsiteX12" fmla="*/ 454980 w 621429"/>
                    <a:gd name="connsiteY12" fmla="*/ 262398 h 462828"/>
                    <a:gd name="connsiteX13" fmla="*/ 375740 w 621429"/>
                    <a:gd name="connsiteY13" fmla="*/ 321094 h 462828"/>
                    <a:gd name="connsiteX14" fmla="*/ 264219 w 621429"/>
                    <a:gd name="connsiteY14" fmla="*/ 379789 h 462828"/>
                    <a:gd name="connsiteX15" fmla="*/ 270088 w 621429"/>
                    <a:gd name="connsiteY15" fmla="*/ 362181 h 462828"/>
                    <a:gd name="connsiteX16" fmla="*/ 443241 w 621429"/>
                    <a:gd name="connsiteY16" fmla="*/ 171420 h 462828"/>
                    <a:gd name="connsiteX17" fmla="*/ 129219 w 621429"/>
                    <a:gd name="connsiteY17" fmla="*/ 265332 h 462828"/>
                    <a:gd name="connsiteX18" fmla="*/ 114545 w 621429"/>
                    <a:gd name="connsiteY18" fmla="*/ 121528 h 462828"/>
                    <a:gd name="connsiteX19" fmla="*/ 202588 w 621429"/>
                    <a:gd name="connsiteY19" fmla="*/ 153811 h 462828"/>
                    <a:gd name="connsiteX20" fmla="*/ 187914 w 621429"/>
                    <a:gd name="connsiteY20" fmla="*/ 365115 h 462828"/>
                    <a:gd name="connsiteX21" fmla="*/ 129219 w 621429"/>
                    <a:gd name="connsiteY21" fmla="*/ 265332 h 4628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621429" h="462828">
                      <a:moveTo>
                        <a:pt x="607588" y="121528"/>
                      </a:moveTo>
                      <a:cubicBezTo>
                        <a:pt x="557697" y="48158"/>
                        <a:pt x="440306" y="86311"/>
                        <a:pt x="384545" y="127398"/>
                      </a:cubicBezTo>
                      <a:cubicBezTo>
                        <a:pt x="340523" y="159681"/>
                        <a:pt x="311176" y="203702"/>
                        <a:pt x="281828" y="250658"/>
                      </a:cubicBezTo>
                      <a:cubicBezTo>
                        <a:pt x="281828" y="224245"/>
                        <a:pt x="278893" y="200767"/>
                        <a:pt x="273023" y="177289"/>
                      </a:cubicBezTo>
                      <a:cubicBezTo>
                        <a:pt x="261284" y="109789"/>
                        <a:pt x="231936" y="-13472"/>
                        <a:pt x="138023" y="1202"/>
                      </a:cubicBezTo>
                      <a:cubicBezTo>
                        <a:pt x="52914" y="15876"/>
                        <a:pt x="3023" y="115659"/>
                        <a:pt x="89" y="194898"/>
                      </a:cubicBezTo>
                      <a:cubicBezTo>
                        <a:pt x="-2846" y="300550"/>
                        <a:pt x="67588" y="385658"/>
                        <a:pt x="155632" y="435550"/>
                      </a:cubicBezTo>
                      <a:cubicBezTo>
                        <a:pt x="155632" y="453159"/>
                        <a:pt x="176175" y="470767"/>
                        <a:pt x="193784" y="459028"/>
                      </a:cubicBezTo>
                      <a:cubicBezTo>
                        <a:pt x="199653" y="456093"/>
                        <a:pt x="202588" y="453159"/>
                        <a:pt x="208458" y="447289"/>
                      </a:cubicBezTo>
                      <a:cubicBezTo>
                        <a:pt x="317045" y="420876"/>
                        <a:pt x="440306" y="400332"/>
                        <a:pt x="528349" y="326963"/>
                      </a:cubicBezTo>
                      <a:cubicBezTo>
                        <a:pt x="581175" y="285876"/>
                        <a:pt x="651610" y="189029"/>
                        <a:pt x="607588" y="121528"/>
                      </a:cubicBezTo>
                      <a:close/>
                      <a:moveTo>
                        <a:pt x="443241" y="171420"/>
                      </a:moveTo>
                      <a:cubicBezTo>
                        <a:pt x="472589" y="180224"/>
                        <a:pt x="487263" y="221310"/>
                        <a:pt x="454980" y="262398"/>
                      </a:cubicBezTo>
                      <a:cubicBezTo>
                        <a:pt x="434436" y="285876"/>
                        <a:pt x="402153" y="303485"/>
                        <a:pt x="375740" y="321094"/>
                      </a:cubicBezTo>
                      <a:cubicBezTo>
                        <a:pt x="340523" y="344572"/>
                        <a:pt x="302371" y="365115"/>
                        <a:pt x="264219" y="379789"/>
                      </a:cubicBezTo>
                      <a:cubicBezTo>
                        <a:pt x="267154" y="373919"/>
                        <a:pt x="267154" y="368050"/>
                        <a:pt x="270088" y="362181"/>
                      </a:cubicBezTo>
                      <a:cubicBezTo>
                        <a:pt x="296502" y="318159"/>
                        <a:pt x="352262" y="189029"/>
                        <a:pt x="443241" y="171420"/>
                      </a:cubicBezTo>
                      <a:close/>
                      <a:moveTo>
                        <a:pt x="129219" y="265332"/>
                      </a:moveTo>
                      <a:cubicBezTo>
                        <a:pt x="108675" y="218376"/>
                        <a:pt x="94001" y="171420"/>
                        <a:pt x="114545" y="121528"/>
                      </a:cubicBezTo>
                      <a:cubicBezTo>
                        <a:pt x="140958" y="62832"/>
                        <a:pt x="190849" y="106854"/>
                        <a:pt x="202588" y="153811"/>
                      </a:cubicBezTo>
                      <a:cubicBezTo>
                        <a:pt x="217262" y="215441"/>
                        <a:pt x="211392" y="297615"/>
                        <a:pt x="187914" y="365115"/>
                      </a:cubicBezTo>
                      <a:cubicBezTo>
                        <a:pt x="164437" y="335768"/>
                        <a:pt x="143893" y="300550"/>
                        <a:pt x="129219" y="265332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: 形状 83">
                  <a:extLst>
                    <a:ext uri="{FF2B5EF4-FFF2-40B4-BE49-F238E27FC236}">
                      <a16:creationId xmlns:a16="http://schemas.microsoft.com/office/drawing/2014/main" id="{7FB3F496-3100-4480-9C93-660E8750A346}"/>
                    </a:ext>
                  </a:extLst>
                </p:cNvPr>
                <p:cNvSpPr/>
                <p:nvPr/>
              </p:nvSpPr>
              <p:spPr>
                <a:xfrm>
                  <a:off x="14726824" y="11707926"/>
                  <a:ext cx="258582" cy="457942"/>
                </a:xfrm>
                <a:custGeom>
                  <a:avLst/>
                  <a:gdLst>
                    <a:gd name="connsiteX0" fmla="*/ 214240 w 258582"/>
                    <a:gd name="connsiteY0" fmla="*/ 5430 h 457942"/>
                    <a:gd name="connsiteX1" fmla="*/ 0 w 258582"/>
                    <a:gd name="connsiteY1" fmla="*/ 433908 h 457942"/>
                    <a:gd name="connsiteX2" fmla="*/ 32283 w 258582"/>
                    <a:gd name="connsiteY2" fmla="*/ 457386 h 457942"/>
                    <a:gd name="connsiteX3" fmla="*/ 93913 w 258582"/>
                    <a:gd name="connsiteY3" fmla="*/ 445647 h 457942"/>
                    <a:gd name="connsiteX4" fmla="*/ 111522 w 258582"/>
                    <a:gd name="connsiteY4" fmla="*/ 422169 h 457942"/>
                    <a:gd name="connsiteX5" fmla="*/ 137935 w 258582"/>
                    <a:gd name="connsiteY5" fmla="*/ 210865 h 457942"/>
                    <a:gd name="connsiteX6" fmla="*/ 249457 w 258582"/>
                    <a:gd name="connsiteY6" fmla="*/ 46516 h 457942"/>
                    <a:gd name="connsiteX7" fmla="*/ 252391 w 258582"/>
                    <a:gd name="connsiteY7" fmla="*/ 34778 h 457942"/>
                    <a:gd name="connsiteX8" fmla="*/ 214240 w 258582"/>
                    <a:gd name="connsiteY8" fmla="*/ 5430 h 4579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58582" h="457942">
                      <a:moveTo>
                        <a:pt x="214240" y="5430"/>
                      </a:moveTo>
                      <a:cubicBezTo>
                        <a:pt x="82174" y="114017"/>
                        <a:pt x="8805" y="266625"/>
                        <a:pt x="0" y="433908"/>
                      </a:cubicBezTo>
                      <a:cubicBezTo>
                        <a:pt x="0" y="451517"/>
                        <a:pt x="17609" y="460321"/>
                        <a:pt x="32283" y="457386"/>
                      </a:cubicBezTo>
                      <a:cubicBezTo>
                        <a:pt x="52827" y="454451"/>
                        <a:pt x="73370" y="448582"/>
                        <a:pt x="93913" y="445647"/>
                      </a:cubicBezTo>
                      <a:cubicBezTo>
                        <a:pt x="102717" y="442712"/>
                        <a:pt x="114457" y="430973"/>
                        <a:pt x="111522" y="422169"/>
                      </a:cubicBezTo>
                      <a:cubicBezTo>
                        <a:pt x="102717" y="348800"/>
                        <a:pt x="111522" y="275430"/>
                        <a:pt x="137935" y="210865"/>
                      </a:cubicBezTo>
                      <a:cubicBezTo>
                        <a:pt x="173153" y="152169"/>
                        <a:pt x="220109" y="93473"/>
                        <a:pt x="249457" y="46516"/>
                      </a:cubicBezTo>
                      <a:cubicBezTo>
                        <a:pt x="252391" y="43582"/>
                        <a:pt x="252391" y="40647"/>
                        <a:pt x="252391" y="34778"/>
                      </a:cubicBezTo>
                      <a:cubicBezTo>
                        <a:pt x="272935" y="17169"/>
                        <a:pt x="237718" y="-12179"/>
                        <a:pt x="214240" y="5430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任意多边形: 形状 84">
                  <a:extLst>
                    <a:ext uri="{FF2B5EF4-FFF2-40B4-BE49-F238E27FC236}">
                      <a16:creationId xmlns:a16="http://schemas.microsoft.com/office/drawing/2014/main" id="{1C88D000-7768-4107-9429-C44F3F80BE25}"/>
                    </a:ext>
                  </a:extLst>
                </p:cNvPr>
                <p:cNvSpPr/>
                <p:nvPr/>
              </p:nvSpPr>
              <p:spPr>
                <a:xfrm>
                  <a:off x="15021911" y="11722442"/>
                  <a:ext cx="147331" cy="308262"/>
                </a:xfrm>
                <a:custGeom>
                  <a:avLst/>
                  <a:gdLst>
                    <a:gd name="connsiteX0" fmla="*/ 139261 w 147331"/>
                    <a:gd name="connsiteY0" fmla="*/ 187545 h 308262"/>
                    <a:gd name="connsiteX1" fmla="*/ 65892 w 147331"/>
                    <a:gd name="connsiteY1" fmla="*/ 20262 h 308262"/>
                    <a:gd name="connsiteX2" fmla="*/ 57087 w 147331"/>
                    <a:gd name="connsiteY2" fmla="*/ 5588 h 308262"/>
                    <a:gd name="connsiteX3" fmla="*/ 16000 w 147331"/>
                    <a:gd name="connsiteY3" fmla="*/ 17327 h 308262"/>
                    <a:gd name="connsiteX4" fmla="*/ 45348 w 147331"/>
                    <a:gd name="connsiteY4" fmla="*/ 296132 h 308262"/>
                    <a:gd name="connsiteX5" fmla="*/ 89370 w 147331"/>
                    <a:gd name="connsiteY5" fmla="*/ 296132 h 308262"/>
                    <a:gd name="connsiteX6" fmla="*/ 142196 w 147331"/>
                    <a:gd name="connsiteY6" fmla="*/ 225697 h 308262"/>
                    <a:gd name="connsiteX7" fmla="*/ 139261 w 147331"/>
                    <a:gd name="connsiteY7" fmla="*/ 187545 h 3082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7331" h="308262">
                      <a:moveTo>
                        <a:pt x="139261" y="187545"/>
                      </a:moveTo>
                      <a:cubicBezTo>
                        <a:pt x="86435" y="146458"/>
                        <a:pt x="74696" y="81893"/>
                        <a:pt x="65892" y="20262"/>
                      </a:cubicBezTo>
                      <a:cubicBezTo>
                        <a:pt x="65892" y="11458"/>
                        <a:pt x="60022" y="8523"/>
                        <a:pt x="57087" y="5588"/>
                      </a:cubicBezTo>
                      <a:cubicBezTo>
                        <a:pt x="45348" y="-3216"/>
                        <a:pt x="21870" y="-3216"/>
                        <a:pt x="16000" y="17327"/>
                      </a:cubicBezTo>
                      <a:cubicBezTo>
                        <a:pt x="-13348" y="111241"/>
                        <a:pt x="-1609" y="211023"/>
                        <a:pt x="45348" y="296132"/>
                      </a:cubicBezTo>
                      <a:cubicBezTo>
                        <a:pt x="54153" y="313741"/>
                        <a:pt x="80566" y="310806"/>
                        <a:pt x="89370" y="296132"/>
                      </a:cubicBezTo>
                      <a:cubicBezTo>
                        <a:pt x="104044" y="269719"/>
                        <a:pt x="121653" y="246241"/>
                        <a:pt x="142196" y="225697"/>
                      </a:cubicBezTo>
                      <a:cubicBezTo>
                        <a:pt x="148065" y="216893"/>
                        <a:pt x="151000" y="199284"/>
                        <a:pt x="139261" y="187545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74" name="图形 1">
                <a:extLst>
                  <a:ext uri="{FF2B5EF4-FFF2-40B4-BE49-F238E27FC236}">
                    <a16:creationId xmlns:a16="http://schemas.microsoft.com/office/drawing/2014/main" id="{70068624-D09E-46B3-A269-E0BD92AE99A1}"/>
                  </a:ext>
                </a:extLst>
              </p:cNvPr>
              <p:cNvGrpSpPr/>
              <p:nvPr/>
            </p:nvGrpSpPr>
            <p:grpSpPr>
              <a:xfrm>
                <a:off x="15542694" y="11468156"/>
                <a:ext cx="1000760" cy="873243"/>
                <a:chOff x="15542694" y="11468156"/>
                <a:chExt cx="1000760" cy="873243"/>
              </a:xfrm>
            </p:grpSpPr>
            <p:sp>
              <p:nvSpPr>
                <p:cNvPr id="75" name="任意多边形: 形状 74">
                  <a:extLst>
                    <a:ext uri="{FF2B5EF4-FFF2-40B4-BE49-F238E27FC236}">
                      <a16:creationId xmlns:a16="http://schemas.microsoft.com/office/drawing/2014/main" id="{5BA3FFDB-4630-4219-91A3-4BA65DB822E8}"/>
                    </a:ext>
                  </a:extLst>
                </p:cNvPr>
                <p:cNvSpPr/>
                <p:nvPr/>
              </p:nvSpPr>
              <p:spPr>
                <a:xfrm>
                  <a:off x="15721716" y="11845421"/>
                  <a:ext cx="821739" cy="495978"/>
                </a:xfrm>
                <a:custGeom>
                  <a:avLst/>
                  <a:gdLst>
                    <a:gd name="connsiteX0" fmla="*/ 0 w 821739"/>
                    <a:gd name="connsiteY0" fmla="*/ 0 h 495978"/>
                    <a:gd name="connsiteX1" fmla="*/ 821740 w 821739"/>
                    <a:gd name="connsiteY1" fmla="*/ 0 h 495978"/>
                    <a:gd name="connsiteX2" fmla="*/ 821740 w 821739"/>
                    <a:gd name="connsiteY2" fmla="*/ 495978 h 495978"/>
                    <a:gd name="connsiteX3" fmla="*/ 0 w 821739"/>
                    <a:gd name="connsiteY3" fmla="*/ 495978 h 495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1739" h="495978">
                      <a:moveTo>
                        <a:pt x="0" y="0"/>
                      </a:moveTo>
                      <a:lnTo>
                        <a:pt x="821740" y="0"/>
                      </a:lnTo>
                      <a:lnTo>
                        <a:pt x="821740" y="495978"/>
                      </a:lnTo>
                      <a:lnTo>
                        <a:pt x="0" y="495978"/>
                      </a:lnTo>
                      <a:close/>
                    </a:path>
                  </a:pathLst>
                </a:custGeom>
                <a:solidFill>
                  <a:srgbClr val="728CB2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: 形状 75">
                  <a:extLst>
                    <a:ext uri="{FF2B5EF4-FFF2-40B4-BE49-F238E27FC236}">
                      <a16:creationId xmlns:a16="http://schemas.microsoft.com/office/drawing/2014/main" id="{A0ECFCA9-4FDB-42F7-A0EF-3106BD12386E}"/>
                    </a:ext>
                  </a:extLst>
                </p:cNvPr>
                <p:cNvSpPr/>
                <p:nvPr/>
              </p:nvSpPr>
              <p:spPr>
                <a:xfrm>
                  <a:off x="15542694" y="11845421"/>
                  <a:ext cx="821739" cy="495978"/>
                </a:xfrm>
                <a:custGeom>
                  <a:avLst/>
                  <a:gdLst>
                    <a:gd name="connsiteX0" fmla="*/ 0 w 821739"/>
                    <a:gd name="connsiteY0" fmla="*/ 0 h 495978"/>
                    <a:gd name="connsiteX1" fmla="*/ 821739 w 821739"/>
                    <a:gd name="connsiteY1" fmla="*/ 0 h 495978"/>
                    <a:gd name="connsiteX2" fmla="*/ 821739 w 821739"/>
                    <a:gd name="connsiteY2" fmla="*/ 495978 h 495978"/>
                    <a:gd name="connsiteX3" fmla="*/ 0 w 821739"/>
                    <a:gd name="connsiteY3" fmla="*/ 495978 h 495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1739" h="495978">
                      <a:moveTo>
                        <a:pt x="0" y="0"/>
                      </a:moveTo>
                      <a:lnTo>
                        <a:pt x="821739" y="0"/>
                      </a:lnTo>
                      <a:lnTo>
                        <a:pt x="821739" y="495978"/>
                      </a:lnTo>
                      <a:lnTo>
                        <a:pt x="0" y="495978"/>
                      </a:lnTo>
                      <a:close/>
                    </a:path>
                  </a:pathLst>
                </a:custGeom>
                <a:solidFill>
                  <a:srgbClr val="7F95BC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: 形状 76">
                  <a:extLst>
                    <a:ext uri="{FF2B5EF4-FFF2-40B4-BE49-F238E27FC236}">
                      <a16:creationId xmlns:a16="http://schemas.microsoft.com/office/drawing/2014/main" id="{42623F13-BAC2-42A5-9B04-A639AB68F976}"/>
                    </a:ext>
                  </a:extLst>
                </p:cNvPr>
                <p:cNvSpPr/>
                <p:nvPr/>
              </p:nvSpPr>
              <p:spPr>
                <a:xfrm>
                  <a:off x="15894868" y="11845421"/>
                  <a:ext cx="114456" cy="495978"/>
                </a:xfrm>
                <a:custGeom>
                  <a:avLst/>
                  <a:gdLst>
                    <a:gd name="connsiteX0" fmla="*/ 0 w 114456"/>
                    <a:gd name="connsiteY0" fmla="*/ 0 h 495978"/>
                    <a:gd name="connsiteX1" fmla="*/ 114457 w 114456"/>
                    <a:gd name="connsiteY1" fmla="*/ 0 h 495978"/>
                    <a:gd name="connsiteX2" fmla="*/ 114457 w 114456"/>
                    <a:gd name="connsiteY2" fmla="*/ 495978 h 495978"/>
                    <a:gd name="connsiteX3" fmla="*/ 0 w 114456"/>
                    <a:gd name="connsiteY3" fmla="*/ 495978 h 495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4456" h="495978">
                      <a:moveTo>
                        <a:pt x="0" y="0"/>
                      </a:moveTo>
                      <a:lnTo>
                        <a:pt x="114457" y="0"/>
                      </a:lnTo>
                      <a:lnTo>
                        <a:pt x="114457" y="495978"/>
                      </a:lnTo>
                      <a:lnTo>
                        <a:pt x="0" y="495978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: 形状 77">
                  <a:extLst>
                    <a:ext uri="{FF2B5EF4-FFF2-40B4-BE49-F238E27FC236}">
                      <a16:creationId xmlns:a16="http://schemas.microsoft.com/office/drawing/2014/main" id="{ACF63F47-03D7-4DD3-B361-27403B0EA4F7}"/>
                    </a:ext>
                  </a:extLst>
                </p:cNvPr>
                <p:cNvSpPr/>
                <p:nvPr/>
              </p:nvSpPr>
              <p:spPr>
                <a:xfrm>
                  <a:off x="15670038" y="11468156"/>
                  <a:ext cx="521091" cy="425892"/>
                </a:xfrm>
                <a:custGeom>
                  <a:avLst/>
                  <a:gdLst>
                    <a:gd name="connsiteX0" fmla="*/ 31134 w 521091"/>
                    <a:gd name="connsiteY0" fmla="*/ 16287 h 425892"/>
                    <a:gd name="connsiteX1" fmla="*/ 213091 w 521091"/>
                    <a:gd name="connsiteY1" fmla="*/ 83787 h 425892"/>
                    <a:gd name="connsiteX2" fmla="*/ 262981 w 521091"/>
                    <a:gd name="connsiteY2" fmla="*/ 218787 h 425892"/>
                    <a:gd name="connsiteX3" fmla="*/ 292329 w 521091"/>
                    <a:gd name="connsiteY3" fmla="*/ 157156 h 425892"/>
                    <a:gd name="connsiteX4" fmla="*/ 453742 w 521091"/>
                    <a:gd name="connsiteY4" fmla="*/ 45635 h 425892"/>
                    <a:gd name="connsiteX5" fmla="*/ 512438 w 521091"/>
                    <a:gd name="connsiteY5" fmla="*/ 248135 h 425892"/>
                    <a:gd name="connsiteX6" fmla="*/ 315808 w 521091"/>
                    <a:gd name="connsiteY6" fmla="*/ 409548 h 425892"/>
                    <a:gd name="connsiteX7" fmla="*/ 277655 w 521091"/>
                    <a:gd name="connsiteY7" fmla="*/ 418352 h 425892"/>
                    <a:gd name="connsiteX8" fmla="*/ 268851 w 521091"/>
                    <a:gd name="connsiteY8" fmla="*/ 406613 h 425892"/>
                    <a:gd name="connsiteX9" fmla="*/ 39938 w 521091"/>
                    <a:gd name="connsiteY9" fmla="*/ 215852 h 425892"/>
                    <a:gd name="connsiteX10" fmla="*/ 31134 w 521091"/>
                    <a:gd name="connsiteY10" fmla="*/ 16287 h 425892"/>
                    <a:gd name="connsiteX11" fmla="*/ 151460 w 521091"/>
                    <a:gd name="connsiteY11" fmla="*/ 104330 h 425892"/>
                    <a:gd name="connsiteX12" fmla="*/ 116242 w 521091"/>
                    <a:gd name="connsiteY12" fmla="*/ 177700 h 425892"/>
                    <a:gd name="connsiteX13" fmla="*/ 163199 w 521091"/>
                    <a:gd name="connsiteY13" fmla="*/ 248135 h 425892"/>
                    <a:gd name="connsiteX14" fmla="*/ 236569 w 521091"/>
                    <a:gd name="connsiteY14" fmla="*/ 327373 h 425892"/>
                    <a:gd name="connsiteX15" fmla="*/ 236569 w 521091"/>
                    <a:gd name="connsiteY15" fmla="*/ 312699 h 425892"/>
                    <a:gd name="connsiteX16" fmla="*/ 151460 w 521091"/>
                    <a:gd name="connsiteY16" fmla="*/ 104330 h 425892"/>
                    <a:gd name="connsiteX17" fmla="*/ 383308 w 521091"/>
                    <a:gd name="connsiteY17" fmla="*/ 271612 h 425892"/>
                    <a:gd name="connsiteX18" fmla="*/ 436133 w 521091"/>
                    <a:gd name="connsiteY18" fmla="*/ 154221 h 425892"/>
                    <a:gd name="connsiteX19" fmla="*/ 353960 w 521091"/>
                    <a:gd name="connsiteY19" fmla="*/ 157156 h 425892"/>
                    <a:gd name="connsiteX20" fmla="*/ 307003 w 521091"/>
                    <a:gd name="connsiteY20" fmla="*/ 339113 h 425892"/>
                    <a:gd name="connsiteX21" fmla="*/ 383308 w 521091"/>
                    <a:gd name="connsiteY21" fmla="*/ 271612 h 42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21091" h="425892">
                      <a:moveTo>
                        <a:pt x="31134" y="16287"/>
                      </a:moveTo>
                      <a:cubicBezTo>
                        <a:pt x="92764" y="-30670"/>
                        <a:pt x="177873" y="33895"/>
                        <a:pt x="213091" y="83787"/>
                      </a:cubicBezTo>
                      <a:cubicBezTo>
                        <a:pt x="239504" y="124873"/>
                        <a:pt x="251243" y="168895"/>
                        <a:pt x="262981" y="218787"/>
                      </a:cubicBezTo>
                      <a:cubicBezTo>
                        <a:pt x="271786" y="198243"/>
                        <a:pt x="280590" y="177700"/>
                        <a:pt x="292329" y="157156"/>
                      </a:cubicBezTo>
                      <a:cubicBezTo>
                        <a:pt x="318742" y="104330"/>
                        <a:pt x="380373" y="7482"/>
                        <a:pt x="453742" y="45635"/>
                      </a:cubicBezTo>
                      <a:cubicBezTo>
                        <a:pt x="518308" y="80852"/>
                        <a:pt x="532982" y="180634"/>
                        <a:pt x="512438" y="248135"/>
                      </a:cubicBezTo>
                      <a:cubicBezTo>
                        <a:pt x="486025" y="339113"/>
                        <a:pt x="403852" y="391939"/>
                        <a:pt x="315808" y="409548"/>
                      </a:cubicBezTo>
                      <a:cubicBezTo>
                        <a:pt x="309938" y="424222"/>
                        <a:pt x="289394" y="433026"/>
                        <a:pt x="277655" y="418352"/>
                      </a:cubicBezTo>
                      <a:cubicBezTo>
                        <a:pt x="274720" y="415417"/>
                        <a:pt x="271786" y="409548"/>
                        <a:pt x="268851" y="406613"/>
                      </a:cubicBezTo>
                      <a:cubicBezTo>
                        <a:pt x="186677" y="353787"/>
                        <a:pt x="92764" y="303895"/>
                        <a:pt x="39938" y="215852"/>
                      </a:cubicBezTo>
                      <a:cubicBezTo>
                        <a:pt x="4721" y="163026"/>
                        <a:pt x="-24627" y="60309"/>
                        <a:pt x="31134" y="16287"/>
                      </a:cubicBezTo>
                      <a:close/>
                      <a:moveTo>
                        <a:pt x="151460" y="104330"/>
                      </a:moveTo>
                      <a:cubicBezTo>
                        <a:pt x="125047" y="104330"/>
                        <a:pt x="101568" y="136612"/>
                        <a:pt x="116242" y="177700"/>
                      </a:cubicBezTo>
                      <a:cubicBezTo>
                        <a:pt x="125047" y="201178"/>
                        <a:pt x="148525" y="227591"/>
                        <a:pt x="163199" y="248135"/>
                      </a:cubicBezTo>
                      <a:cubicBezTo>
                        <a:pt x="186677" y="277482"/>
                        <a:pt x="210156" y="303895"/>
                        <a:pt x="236569" y="327373"/>
                      </a:cubicBezTo>
                      <a:cubicBezTo>
                        <a:pt x="236569" y="321504"/>
                        <a:pt x="236569" y="315634"/>
                        <a:pt x="236569" y="312699"/>
                      </a:cubicBezTo>
                      <a:cubicBezTo>
                        <a:pt x="230699" y="268678"/>
                        <a:pt x="221895" y="142482"/>
                        <a:pt x="151460" y="104330"/>
                      </a:cubicBezTo>
                      <a:close/>
                      <a:moveTo>
                        <a:pt x="383308" y="271612"/>
                      </a:moveTo>
                      <a:cubicBezTo>
                        <a:pt x="412656" y="239330"/>
                        <a:pt x="439068" y="201178"/>
                        <a:pt x="436133" y="154221"/>
                      </a:cubicBezTo>
                      <a:cubicBezTo>
                        <a:pt x="433199" y="98460"/>
                        <a:pt x="377438" y="119004"/>
                        <a:pt x="353960" y="157156"/>
                      </a:cubicBezTo>
                      <a:cubicBezTo>
                        <a:pt x="324612" y="204113"/>
                        <a:pt x="307003" y="277482"/>
                        <a:pt x="307003" y="339113"/>
                      </a:cubicBezTo>
                      <a:cubicBezTo>
                        <a:pt x="333416" y="318569"/>
                        <a:pt x="359830" y="298025"/>
                        <a:pt x="383308" y="271612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9" name="任意多边形: 形状 78">
                  <a:extLst>
                    <a:ext uri="{FF2B5EF4-FFF2-40B4-BE49-F238E27FC236}">
                      <a16:creationId xmlns:a16="http://schemas.microsoft.com/office/drawing/2014/main" id="{F5E0A91D-9B9C-43B9-A520-DCB11DAA4FFA}"/>
                    </a:ext>
                  </a:extLst>
                </p:cNvPr>
                <p:cNvSpPr/>
                <p:nvPr/>
              </p:nvSpPr>
              <p:spPr>
                <a:xfrm>
                  <a:off x="15994651" y="11848633"/>
                  <a:ext cx="221260" cy="244461"/>
                </a:xfrm>
                <a:custGeom>
                  <a:avLst/>
                  <a:gdLst>
                    <a:gd name="connsiteX0" fmla="*/ 82174 w 221260"/>
                    <a:gd name="connsiteY0" fmla="*/ 205158 h 244461"/>
                    <a:gd name="connsiteX1" fmla="*/ 5870 w 221260"/>
                    <a:gd name="connsiteY1" fmla="*/ 40810 h 244461"/>
                    <a:gd name="connsiteX2" fmla="*/ 0 w 221260"/>
                    <a:gd name="connsiteY2" fmla="*/ 23201 h 244461"/>
                    <a:gd name="connsiteX3" fmla="*/ 35218 w 221260"/>
                    <a:gd name="connsiteY3" fmla="*/ 2658 h 244461"/>
                    <a:gd name="connsiteX4" fmla="*/ 220109 w 221260"/>
                    <a:gd name="connsiteY4" fmla="*/ 213962 h 244461"/>
                    <a:gd name="connsiteX5" fmla="*/ 190761 w 221260"/>
                    <a:gd name="connsiteY5" fmla="*/ 243310 h 244461"/>
                    <a:gd name="connsiteX6" fmla="*/ 105652 w 221260"/>
                    <a:gd name="connsiteY6" fmla="*/ 231571 h 244461"/>
                    <a:gd name="connsiteX7" fmla="*/ 82174 w 221260"/>
                    <a:gd name="connsiteY7" fmla="*/ 205158 h 2444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1260" h="244461">
                      <a:moveTo>
                        <a:pt x="82174" y="205158"/>
                      </a:moveTo>
                      <a:cubicBezTo>
                        <a:pt x="85109" y="140593"/>
                        <a:pt x="46957" y="87767"/>
                        <a:pt x="5870" y="40810"/>
                      </a:cubicBezTo>
                      <a:cubicBezTo>
                        <a:pt x="0" y="34940"/>
                        <a:pt x="0" y="29071"/>
                        <a:pt x="0" y="23201"/>
                      </a:cubicBezTo>
                      <a:cubicBezTo>
                        <a:pt x="0" y="8527"/>
                        <a:pt x="17609" y="-6147"/>
                        <a:pt x="35218" y="2658"/>
                      </a:cubicBezTo>
                      <a:cubicBezTo>
                        <a:pt x="123261" y="46680"/>
                        <a:pt x="187826" y="122984"/>
                        <a:pt x="220109" y="213962"/>
                      </a:cubicBezTo>
                      <a:cubicBezTo>
                        <a:pt x="225979" y="231571"/>
                        <a:pt x="208370" y="249180"/>
                        <a:pt x="190761" y="243310"/>
                      </a:cubicBezTo>
                      <a:cubicBezTo>
                        <a:pt x="161413" y="237441"/>
                        <a:pt x="135000" y="231571"/>
                        <a:pt x="105652" y="231571"/>
                      </a:cubicBezTo>
                      <a:cubicBezTo>
                        <a:pt x="93913" y="228636"/>
                        <a:pt x="79239" y="216897"/>
                        <a:pt x="82174" y="205158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6BCC129D-3762-4DBC-94C8-3AB6F468487E}"/>
                </a:ext>
              </a:extLst>
            </p:cNvPr>
            <p:cNvSpPr/>
            <p:nvPr/>
          </p:nvSpPr>
          <p:spPr>
            <a:xfrm>
              <a:off x="12179433" y="8598046"/>
              <a:ext cx="433751" cy="588462"/>
            </a:xfrm>
            <a:custGeom>
              <a:avLst/>
              <a:gdLst>
                <a:gd name="connsiteX0" fmla="*/ 372718 w 433751"/>
                <a:gd name="connsiteY0" fmla="*/ 588462 h 588462"/>
                <a:gd name="connsiteX1" fmla="*/ 384457 w 433751"/>
                <a:gd name="connsiteY1" fmla="*/ 10310 h 588462"/>
                <a:gd name="connsiteX2" fmla="*/ 0 w 433751"/>
                <a:gd name="connsiteY2" fmla="*/ 427049 h 588462"/>
                <a:gd name="connsiteX3" fmla="*/ 372718 w 433751"/>
                <a:gd name="connsiteY3" fmla="*/ 588462 h 588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751" h="588462">
                  <a:moveTo>
                    <a:pt x="372718" y="588462"/>
                  </a:moveTo>
                  <a:cubicBezTo>
                    <a:pt x="372718" y="588462"/>
                    <a:pt x="501848" y="86615"/>
                    <a:pt x="384457" y="10310"/>
                  </a:cubicBezTo>
                  <a:cubicBezTo>
                    <a:pt x="246522" y="-77733"/>
                    <a:pt x="0" y="427049"/>
                    <a:pt x="0" y="427049"/>
                  </a:cubicBezTo>
                  <a:cubicBezTo>
                    <a:pt x="0" y="427049"/>
                    <a:pt x="167283" y="570854"/>
                    <a:pt x="372718" y="588462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F63AA2C6-27FF-4673-90C8-40FD3B7382CD}"/>
                </a:ext>
              </a:extLst>
            </p:cNvPr>
            <p:cNvGrpSpPr/>
            <p:nvPr/>
          </p:nvGrpSpPr>
          <p:grpSpPr>
            <a:xfrm>
              <a:off x="13442647" y="11824877"/>
              <a:ext cx="380996" cy="556555"/>
              <a:chOff x="13442647" y="11824877"/>
              <a:chExt cx="380996" cy="556555"/>
            </a:xfrm>
          </p:grpSpPr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D8119829-75C2-4582-A205-7440B84DDD82}"/>
                  </a:ext>
                </a:extLst>
              </p:cNvPr>
              <p:cNvSpPr/>
              <p:nvPr/>
            </p:nvSpPr>
            <p:spPr>
              <a:xfrm>
                <a:off x="13458999" y="11824877"/>
                <a:ext cx="267065" cy="249456"/>
              </a:xfrm>
              <a:custGeom>
                <a:avLst/>
                <a:gdLst>
                  <a:gd name="connsiteX0" fmla="*/ 249457 w 267065"/>
                  <a:gd name="connsiteY0" fmla="*/ 132065 h 249456"/>
                  <a:gd name="connsiteX1" fmla="*/ 129130 w 267065"/>
                  <a:gd name="connsiteY1" fmla="*/ 0 h 249456"/>
                  <a:gd name="connsiteX2" fmla="*/ 0 w 267065"/>
                  <a:gd name="connsiteY2" fmla="*/ 123261 h 249456"/>
                  <a:gd name="connsiteX3" fmla="*/ 140869 w 267065"/>
                  <a:gd name="connsiteY3" fmla="*/ 249457 h 249456"/>
                  <a:gd name="connsiteX4" fmla="*/ 267065 w 267065"/>
                  <a:gd name="connsiteY4" fmla="*/ 167283 h 249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7065" h="249456">
                    <a:moveTo>
                      <a:pt x="249457" y="132065"/>
                    </a:moveTo>
                    <a:lnTo>
                      <a:pt x="129130" y="0"/>
                    </a:lnTo>
                    <a:lnTo>
                      <a:pt x="0" y="123261"/>
                    </a:lnTo>
                    <a:lnTo>
                      <a:pt x="140869" y="249457"/>
                    </a:lnTo>
                    <a:lnTo>
                      <a:pt x="267065" y="167283"/>
                    </a:ln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79CB456E-6E3B-4FBA-858D-F9E63F2F39BB}"/>
                  </a:ext>
                </a:extLst>
              </p:cNvPr>
              <p:cNvSpPr/>
              <p:nvPr/>
            </p:nvSpPr>
            <p:spPr>
              <a:xfrm>
                <a:off x="13442647" y="11948139"/>
                <a:ext cx="350916" cy="402065"/>
              </a:xfrm>
              <a:custGeom>
                <a:avLst/>
                <a:gdLst>
                  <a:gd name="connsiteX0" fmla="*/ 274612 w 350916"/>
                  <a:gd name="connsiteY0" fmla="*/ 0 h 402065"/>
                  <a:gd name="connsiteX1" fmla="*/ 113199 w 350916"/>
                  <a:gd name="connsiteY1" fmla="*/ 90978 h 402065"/>
                  <a:gd name="connsiteX2" fmla="*/ 75047 w 350916"/>
                  <a:gd name="connsiteY2" fmla="*/ 234783 h 402065"/>
                  <a:gd name="connsiteX3" fmla="*/ 10481 w 350916"/>
                  <a:gd name="connsiteY3" fmla="*/ 402066 h 402065"/>
                  <a:gd name="connsiteX4" fmla="*/ 350916 w 350916"/>
                  <a:gd name="connsiteY4" fmla="*/ 76305 h 402065"/>
                  <a:gd name="connsiteX5" fmla="*/ 274612 w 350916"/>
                  <a:gd name="connsiteY5" fmla="*/ 0 h 402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0916" h="402065">
                    <a:moveTo>
                      <a:pt x="274612" y="0"/>
                    </a:moveTo>
                    <a:cubicBezTo>
                      <a:pt x="274612" y="0"/>
                      <a:pt x="201242" y="96847"/>
                      <a:pt x="113199" y="90978"/>
                    </a:cubicBezTo>
                    <a:cubicBezTo>
                      <a:pt x="113199" y="90978"/>
                      <a:pt x="98525" y="199565"/>
                      <a:pt x="75047" y="234783"/>
                    </a:cubicBezTo>
                    <a:cubicBezTo>
                      <a:pt x="48634" y="270000"/>
                      <a:pt x="-27670" y="343370"/>
                      <a:pt x="10481" y="402066"/>
                    </a:cubicBezTo>
                    <a:lnTo>
                      <a:pt x="350916" y="76305"/>
                    </a:lnTo>
                    <a:cubicBezTo>
                      <a:pt x="347981" y="79239"/>
                      <a:pt x="321568" y="23478"/>
                      <a:pt x="274612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0D0BBF7B-29E6-4B80-A996-414B666830B5}"/>
                  </a:ext>
                </a:extLst>
              </p:cNvPr>
              <p:cNvSpPr/>
              <p:nvPr/>
            </p:nvSpPr>
            <p:spPr>
              <a:xfrm rot="-2621480">
                <a:off x="13403876" y="12181317"/>
                <a:ext cx="469583" cy="44023"/>
              </a:xfrm>
              <a:custGeom>
                <a:avLst/>
                <a:gdLst>
                  <a:gd name="connsiteX0" fmla="*/ 0 w 469583"/>
                  <a:gd name="connsiteY0" fmla="*/ 0 h 44023"/>
                  <a:gd name="connsiteX1" fmla="*/ 469584 w 469583"/>
                  <a:gd name="connsiteY1" fmla="*/ 0 h 44023"/>
                  <a:gd name="connsiteX2" fmla="*/ 469584 w 469583"/>
                  <a:gd name="connsiteY2" fmla="*/ 44023 h 44023"/>
                  <a:gd name="connsiteX3" fmla="*/ 0 w 469583"/>
                  <a:gd name="connsiteY3" fmla="*/ 44023 h 44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9583" h="44023">
                    <a:moveTo>
                      <a:pt x="0" y="0"/>
                    </a:moveTo>
                    <a:lnTo>
                      <a:pt x="469584" y="0"/>
                    </a:lnTo>
                    <a:lnTo>
                      <a:pt x="469584" y="44023"/>
                    </a:lnTo>
                    <a:lnTo>
                      <a:pt x="0" y="44023"/>
                    </a:lnTo>
                    <a:close/>
                  </a:path>
                </a:pathLst>
              </a:custGeom>
              <a:solidFill>
                <a:srgbClr val="38333D"/>
              </a:solidFill>
              <a:ln w="29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14142670-A482-4CFC-B5A3-180EBAF18042}"/>
                  </a:ext>
                </a:extLst>
              </p:cNvPr>
              <p:cNvSpPr/>
              <p:nvPr/>
            </p:nvSpPr>
            <p:spPr>
              <a:xfrm>
                <a:off x="13549977" y="11943002"/>
                <a:ext cx="172418" cy="101983"/>
              </a:xfrm>
              <a:custGeom>
                <a:avLst/>
                <a:gdLst>
                  <a:gd name="connsiteX0" fmla="*/ 5869 w 172418"/>
                  <a:gd name="connsiteY0" fmla="*/ 101984 h 101983"/>
                  <a:gd name="connsiteX1" fmla="*/ 0 w 172418"/>
                  <a:gd name="connsiteY1" fmla="*/ 96115 h 101983"/>
                  <a:gd name="connsiteX2" fmla="*/ 5869 w 172418"/>
                  <a:gd name="connsiteY2" fmla="*/ 90245 h 101983"/>
                  <a:gd name="connsiteX3" fmla="*/ 161413 w 172418"/>
                  <a:gd name="connsiteY3" fmla="*/ 2201 h 101983"/>
                  <a:gd name="connsiteX4" fmla="*/ 170217 w 172418"/>
                  <a:gd name="connsiteY4" fmla="*/ 2201 h 101983"/>
                  <a:gd name="connsiteX5" fmla="*/ 170217 w 172418"/>
                  <a:gd name="connsiteY5" fmla="*/ 11006 h 101983"/>
                  <a:gd name="connsiteX6" fmla="*/ 5869 w 172418"/>
                  <a:gd name="connsiteY6" fmla="*/ 101984 h 101983"/>
                  <a:gd name="connsiteX7" fmla="*/ 5869 w 172418"/>
                  <a:gd name="connsiteY7" fmla="*/ 101984 h 101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2418" h="101983">
                    <a:moveTo>
                      <a:pt x="5869" y="101984"/>
                    </a:moveTo>
                    <a:cubicBezTo>
                      <a:pt x="2934" y="101984"/>
                      <a:pt x="0" y="99050"/>
                      <a:pt x="0" y="96115"/>
                    </a:cubicBezTo>
                    <a:cubicBezTo>
                      <a:pt x="0" y="93180"/>
                      <a:pt x="2934" y="90245"/>
                      <a:pt x="5869" y="90245"/>
                    </a:cubicBezTo>
                    <a:cubicBezTo>
                      <a:pt x="93913" y="87310"/>
                      <a:pt x="161413" y="2201"/>
                      <a:pt x="161413" y="2201"/>
                    </a:cubicBezTo>
                    <a:cubicBezTo>
                      <a:pt x="164347" y="-734"/>
                      <a:pt x="167282" y="-734"/>
                      <a:pt x="170217" y="2201"/>
                    </a:cubicBezTo>
                    <a:cubicBezTo>
                      <a:pt x="173152" y="5136"/>
                      <a:pt x="173152" y="8071"/>
                      <a:pt x="170217" y="11006"/>
                    </a:cubicBezTo>
                    <a:cubicBezTo>
                      <a:pt x="167282" y="11006"/>
                      <a:pt x="99782" y="99050"/>
                      <a:pt x="5869" y="101984"/>
                    </a:cubicBezTo>
                    <a:cubicBezTo>
                      <a:pt x="5869" y="101984"/>
                      <a:pt x="5869" y="101984"/>
                      <a:pt x="5869" y="101984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B3CF0983-C8E7-4567-9E1B-1B8E142659A6}"/>
                  </a:ext>
                </a:extLst>
              </p:cNvPr>
              <p:cNvSpPr/>
              <p:nvPr/>
            </p:nvSpPr>
            <p:spPr>
              <a:xfrm>
                <a:off x="13544107" y="12077269"/>
                <a:ext cx="46956" cy="11738"/>
              </a:xfrm>
              <a:custGeom>
                <a:avLst/>
                <a:gdLst>
                  <a:gd name="connsiteX0" fmla="*/ 41087 w 46956"/>
                  <a:gd name="connsiteY0" fmla="*/ 11739 h 11738"/>
                  <a:gd name="connsiteX1" fmla="*/ 41087 w 46956"/>
                  <a:gd name="connsiteY1" fmla="*/ 11739 h 11738"/>
                  <a:gd name="connsiteX2" fmla="*/ 5870 w 46956"/>
                  <a:gd name="connsiteY2" fmla="*/ 11739 h 11738"/>
                  <a:gd name="connsiteX3" fmla="*/ 0 w 46956"/>
                  <a:gd name="connsiteY3" fmla="*/ 5870 h 11738"/>
                  <a:gd name="connsiteX4" fmla="*/ 5870 w 46956"/>
                  <a:gd name="connsiteY4" fmla="*/ 0 h 11738"/>
                  <a:gd name="connsiteX5" fmla="*/ 41087 w 46956"/>
                  <a:gd name="connsiteY5" fmla="*/ 0 h 11738"/>
                  <a:gd name="connsiteX6" fmla="*/ 46957 w 46956"/>
                  <a:gd name="connsiteY6" fmla="*/ 5870 h 11738"/>
                  <a:gd name="connsiteX7" fmla="*/ 41087 w 46956"/>
                  <a:gd name="connsiteY7" fmla="*/ 11739 h 11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956" h="11738">
                    <a:moveTo>
                      <a:pt x="41087" y="11739"/>
                    </a:moveTo>
                    <a:cubicBezTo>
                      <a:pt x="41087" y="11739"/>
                      <a:pt x="41087" y="11739"/>
                      <a:pt x="41087" y="11739"/>
                    </a:cubicBezTo>
                    <a:lnTo>
                      <a:pt x="5870" y="11739"/>
                    </a:lnTo>
                    <a:cubicBezTo>
                      <a:pt x="2935" y="11739"/>
                      <a:pt x="0" y="8805"/>
                      <a:pt x="0" y="5870"/>
                    </a:cubicBezTo>
                    <a:cubicBezTo>
                      <a:pt x="0" y="2935"/>
                      <a:pt x="2935" y="0"/>
                      <a:pt x="5870" y="0"/>
                    </a:cubicBezTo>
                    <a:lnTo>
                      <a:pt x="41087" y="0"/>
                    </a:lnTo>
                    <a:cubicBezTo>
                      <a:pt x="44022" y="0"/>
                      <a:pt x="46957" y="2935"/>
                      <a:pt x="46957" y="5870"/>
                    </a:cubicBezTo>
                    <a:cubicBezTo>
                      <a:pt x="46957" y="8805"/>
                      <a:pt x="44022" y="11739"/>
                      <a:pt x="41087" y="1173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0C7D024E-8623-4C07-B4A6-76BC3D614743}"/>
                  </a:ext>
                </a:extLst>
              </p:cNvPr>
              <p:cNvSpPr/>
              <p:nvPr/>
            </p:nvSpPr>
            <p:spPr>
              <a:xfrm>
                <a:off x="13535303" y="12121291"/>
                <a:ext cx="46955" cy="11738"/>
              </a:xfrm>
              <a:custGeom>
                <a:avLst/>
                <a:gdLst>
                  <a:gd name="connsiteX0" fmla="*/ 41087 w 46955"/>
                  <a:gd name="connsiteY0" fmla="*/ 11739 h 11738"/>
                  <a:gd name="connsiteX1" fmla="*/ 41087 w 46955"/>
                  <a:gd name="connsiteY1" fmla="*/ 11739 h 11738"/>
                  <a:gd name="connsiteX2" fmla="*/ 5869 w 46955"/>
                  <a:gd name="connsiteY2" fmla="*/ 11739 h 11738"/>
                  <a:gd name="connsiteX3" fmla="*/ 0 w 46955"/>
                  <a:gd name="connsiteY3" fmla="*/ 5870 h 11738"/>
                  <a:gd name="connsiteX4" fmla="*/ 5869 w 46955"/>
                  <a:gd name="connsiteY4" fmla="*/ 0 h 11738"/>
                  <a:gd name="connsiteX5" fmla="*/ 5869 w 46955"/>
                  <a:gd name="connsiteY5" fmla="*/ 0 h 11738"/>
                  <a:gd name="connsiteX6" fmla="*/ 41087 w 46955"/>
                  <a:gd name="connsiteY6" fmla="*/ 0 h 11738"/>
                  <a:gd name="connsiteX7" fmla="*/ 46956 w 46955"/>
                  <a:gd name="connsiteY7" fmla="*/ 5870 h 11738"/>
                  <a:gd name="connsiteX8" fmla="*/ 41087 w 46955"/>
                  <a:gd name="connsiteY8" fmla="*/ 11739 h 11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955" h="11738">
                    <a:moveTo>
                      <a:pt x="41087" y="11739"/>
                    </a:moveTo>
                    <a:cubicBezTo>
                      <a:pt x="41087" y="11739"/>
                      <a:pt x="41087" y="11739"/>
                      <a:pt x="41087" y="11739"/>
                    </a:cubicBezTo>
                    <a:lnTo>
                      <a:pt x="5869" y="11739"/>
                    </a:lnTo>
                    <a:cubicBezTo>
                      <a:pt x="2934" y="11739"/>
                      <a:pt x="0" y="8805"/>
                      <a:pt x="0" y="5870"/>
                    </a:cubicBezTo>
                    <a:cubicBezTo>
                      <a:pt x="0" y="2935"/>
                      <a:pt x="2934" y="0"/>
                      <a:pt x="5869" y="0"/>
                    </a:cubicBezTo>
                    <a:cubicBezTo>
                      <a:pt x="5869" y="0"/>
                      <a:pt x="5869" y="0"/>
                      <a:pt x="5869" y="0"/>
                    </a:cubicBezTo>
                    <a:lnTo>
                      <a:pt x="41087" y="0"/>
                    </a:lnTo>
                    <a:cubicBezTo>
                      <a:pt x="44022" y="0"/>
                      <a:pt x="46956" y="2935"/>
                      <a:pt x="46956" y="5870"/>
                    </a:cubicBezTo>
                    <a:cubicBezTo>
                      <a:pt x="46956" y="8805"/>
                      <a:pt x="44022" y="11739"/>
                      <a:pt x="41087" y="1173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775B4068-6C53-47DD-B96D-DBA93EDED022}"/>
                </a:ext>
              </a:extLst>
            </p:cNvPr>
            <p:cNvGrpSpPr/>
            <p:nvPr/>
          </p:nvGrpSpPr>
          <p:grpSpPr>
            <a:xfrm>
              <a:off x="12238129" y="12089008"/>
              <a:ext cx="478695" cy="328696"/>
              <a:chOff x="12238129" y="12089008"/>
              <a:chExt cx="478695" cy="328696"/>
            </a:xfrm>
          </p:grpSpPr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96EE8C42-8278-43C5-ACBB-C7CB24D9401B}"/>
                  </a:ext>
                </a:extLst>
              </p:cNvPr>
              <p:cNvSpPr/>
              <p:nvPr/>
            </p:nvSpPr>
            <p:spPr>
              <a:xfrm>
                <a:off x="12525737" y="12089008"/>
                <a:ext cx="173152" cy="214239"/>
              </a:xfrm>
              <a:custGeom>
                <a:avLst/>
                <a:gdLst>
                  <a:gd name="connsiteX0" fmla="*/ 170218 w 173152"/>
                  <a:gd name="connsiteY0" fmla="*/ 179022 h 214239"/>
                  <a:gd name="connsiteX1" fmla="*/ 173153 w 173152"/>
                  <a:gd name="connsiteY1" fmla="*/ 0 h 214239"/>
                  <a:gd name="connsiteX2" fmla="*/ 0 w 173152"/>
                  <a:gd name="connsiteY2" fmla="*/ 0 h 214239"/>
                  <a:gd name="connsiteX3" fmla="*/ 11740 w 173152"/>
                  <a:gd name="connsiteY3" fmla="*/ 187827 h 214239"/>
                  <a:gd name="connsiteX4" fmla="*/ 158479 w 173152"/>
                  <a:gd name="connsiteY4" fmla="*/ 214240 h 214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152" h="214239">
                    <a:moveTo>
                      <a:pt x="170218" y="179022"/>
                    </a:moveTo>
                    <a:lnTo>
                      <a:pt x="173153" y="0"/>
                    </a:lnTo>
                    <a:lnTo>
                      <a:pt x="0" y="0"/>
                    </a:lnTo>
                    <a:lnTo>
                      <a:pt x="11740" y="187827"/>
                    </a:lnTo>
                    <a:lnTo>
                      <a:pt x="158479" y="214240"/>
                    </a:ln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7A7A4F9F-3DA4-4706-A751-042CC86A489A}"/>
                  </a:ext>
                </a:extLst>
              </p:cNvPr>
              <p:cNvSpPr/>
              <p:nvPr/>
            </p:nvSpPr>
            <p:spPr>
              <a:xfrm>
                <a:off x="12238129" y="12224008"/>
                <a:ext cx="478695" cy="152609"/>
              </a:xfrm>
              <a:custGeom>
                <a:avLst/>
                <a:gdLst>
                  <a:gd name="connsiteX0" fmla="*/ 469565 w 478695"/>
                  <a:gd name="connsiteY0" fmla="*/ 44022 h 152609"/>
                  <a:gd name="connsiteX1" fmla="*/ 290543 w 478695"/>
                  <a:gd name="connsiteY1" fmla="*/ 0 h 152609"/>
                  <a:gd name="connsiteX2" fmla="*/ 161413 w 478695"/>
                  <a:gd name="connsiteY2" fmla="*/ 76305 h 152609"/>
                  <a:gd name="connsiteX3" fmla="*/ 0 w 478695"/>
                  <a:gd name="connsiteY3" fmla="*/ 152609 h 152609"/>
                  <a:gd name="connsiteX4" fmla="*/ 469565 w 478695"/>
                  <a:gd name="connsiteY4" fmla="*/ 152609 h 152609"/>
                  <a:gd name="connsiteX5" fmla="*/ 469565 w 478695"/>
                  <a:gd name="connsiteY5" fmla="*/ 44022 h 152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8695" h="152609">
                    <a:moveTo>
                      <a:pt x="469565" y="44022"/>
                    </a:moveTo>
                    <a:cubicBezTo>
                      <a:pt x="469565" y="44022"/>
                      <a:pt x="349239" y="61631"/>
                      <a:pt x="290543" y="0"/>
                    </a:cubicBezTo>
                    <a:cubicBezTo>
                      <a:pt x="290543" y="0"/>
                      <a:pt x="205435" y="67501"/>
                      <a:pt x="161413" y="76305"/>
                    </a:cubicBezTo>
                    <a:cubicBezTo>
                      <a:pt x="117391" y="85109"/>
                      <a:pt x="11739" y="82174"/>
                      <a:pt x="0" y="152609"/>
                    </a:cubicBezTo>
                    <a:lnTo>
                      <a:pt x="469565" y="152609"/>
                    </a:lnTo>
                    <a:cubicBezTo>
                      <a:pt x="469565" y="149674"/>
                      <a:pt x="490109" y="90978"/>
                      <a:pt x="469565" y="44022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5670589C-5C4F-4F4F-B8A0-5F737E58B4A4}"/>
                  </a:ext>
                </a:extLst>
              </p:cNvPr>
              <p:cNvSpPr/>
              <p:nvPr/>
            </p:nvSpPr>
            <p:spPr>
              <a:xfrm>
                <a:off x="12238129" y="12373682"/>
                <a:ext cx="469565" cy="44021"/>
              </a:xfrm>
              <a:custGeom>
                <a:avLst/>
                <a:gdLst>
                  <a:gd name="connsiteX0" fmla="*/ 0 w 469565"/>
                  <a:gd name="connsiteY0" fmla="*/ 0 h 44021"/>
                  <a:gd name="connsiteX1" fmla="*/ 469565 w 469565"/>
                  <a:gd name="connsiteY1" fmla="*/ 0 h 44021"/>
                  <a:gd name="connsiteX2" fmla="*/ 469565 w 469565"/>
                  <a:gd name="connsiteY2" fmla="*/ 44022 h 44021"/>
                  <a:gd name="connsiteX3" fmla="*/ 0 w 469565"/>
                  <a:gd name="connsiteY3" fmla="*/ 44022 h 44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9565" h="44021">
                    <a:moveTo>
                      <a:pt x="0" y="0"/>
                    </a:moveTo>
                    <a:lnTo>
                      <a:pt x="469565" y="0"/>
                    </a:lnTo>
                    <a:lnTo>
                      <a:pt x="469565" y="44022"/>
                    </a:lnTo>
                    <a:lnTo>
                      <a:pt x="0" y="44022"/>
                    </a:lnTo>
                    <a:close/>
                  </a:path>
                </a:pathLst>
              </a:custGeom>
              <a:solidFill>
                <a:srgbClr val="38333D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55F036CB-374A-4E7D-9C72-E43D1D82DFC4}"/>
                  </a:ext>
                </a:extLst>
              </p:cNvPr>
              <p:cNvSpPr/>
              <p:nvPr/>
            </p:nvSpPr>
            <p:spPr>
              <a:xfrm>
                <a:off x="12523537" y="12213003"/>
                <a:ext cx="192961" cy="60896"/>
              </a:xfrm>
              <a:custGeom>
                <a:avLst/>
                <a:gdLst>
                  <a:gd name="connsiteX0" fmla="*/ 151875 w 192961"/>
                  <a:gd name="connsiteY0" fmla="*/ 60897 h 60896"/>
                  <a:gd name="connsiteX1" fmla="*/ 2201 w 192961"/>
                  <a:gd name="connsiteY1" fmla="*/ 11005 h 60896"/>
                  <a:gd name="connsiteX2" fmla="*/ 2201 w 192961"/>
                  <a:gd name="connsiteY2" fmla="*/ 2201 h 60896"/>
                  <a:gd name="connsiteX3" fmla="*/ 11005 w 192961"/>
                  <a:gd name="connsiteY3" fmla="*/ 2201 h 60896"/>
                  <a:gd name="connsiteX4" fmla="*/ 187092 w 192961"/>
                  <a:gd name="connsiteY4" fmla="*/ 46223 h 60896"/>
                  <a:gd name="connsiteX5" fmla="*/ 192961 w 192961"/>
                  <a:gd name="connsiteY5" fmla="*/ 52092 h 60896"/>
                  <a:gd name="connsiteX6" fmla="*/ 187092 w 192961"/>
                  <a:gd name="connsiteY6" fmla="*/ 57962 h 60896"/>
                  <a:gd name="connsiteX7" fmla="*/ 151875 w 192961"/>
                  <a:gd name="connsiteY7" fmla="*/ 60897 h 60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961" h="60896">
                    <a:moveTo>
                      <a:pt x="151875" y="60897"/>
                    </a:moveTo>
                    <a:cubicBezTo>
                      <a:pt x="113723" y="60897"/>
                      <a:pt x="49157" y="55027"/>
                      <a:pt x="2201" y="11005"/>
                    </a:cubicBezTo>
                    <a:cubicBezTo>
                      <a:pt x="-734" y="8070"/>
                      <a:pt x="-734" y="5136"/>
                      <a:pt x="2201" y="2201"/>
                    </a:cubicBezTo>
                    <a:cubicBezTo>
                      <a:pt x="5136" y="-734"/>
                      <a:pt x="8070" y="-734"/>
                      <a:pt x="11005" y="2201"/>
                    </a:cubicBezTo>
                    <a:cubicBezTo>
                      <a:pt x="75570" y="60897"/>
                      <a:pt x="184157" y="46223"/>
                      <a:pt x="187092" y="46223"/>
                    </a:cubicBezTo>
                    <a:cubicBezTo>
                      <a:pt x="190027" y="46223"/>
                      <a:pt x="192961" y="49158"/>
                      <a:pt x="192961" y="52092"/>
                    </a:cubicBezTo>
                    <a:cubicBezTo>
                      <a:pt x="192961" y="55027"/>
                      <a:pt x="190027" y="57962"/>
                      <a:pt x="187092" y="57962"/>
                    </a:cubicBezTo>
                    <a:cubicBezTo>
                      <a:pt x="184157" y="57962"/>
                      <a:pt x="172418" y="60897"/>
                      <a:pt x="151875" y="60897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36153869-8094-4DB1-AB35-D6302AB98DD2}"/>
                  </a:ext>
                </a:extLst>
              </p:cNvPr>
              <p:cNvSpPr/>
              <p:nvPr/>
            </p:nvSpPr>
            <p:spPr>
              <a:xfrm>
                <a:off x="12488319" y="12239416"/>
                <a:ext cx="39619" cy="40353"/>
              </a:xfrm>
              <a:custGeom>
                <a:avLst/>
                <a:gdLst>
                  <a:gd name="connsiteX0" fmla="*/ 31549 w 39619"/>
                  <a:gd name="connsiteY0" fmla="*/ 40353 h 40353"/>
                  <a:gd name="connsiteX1" fmla="*/ 28614 w 39619"/>
                  <a:gd name="connsiteY1" fmla="*/ 37419 h 40353"/>
                  <a:gd name="connsiteX2" fmla="*/ 2201 w 39619"/>
                  <a:gd name="connsiteY2" fmla="*/ 11005 h 40353"/>
                  <a:gd name="connsiteX3" fmla="*/ 2201 w 39619"/>
                  <a:gd name="connsiteY3" fmla="*/ 2201 h 40353"/>
                  <a:gd name="connsiteX4" fmla="*/ 11005 w 39619"/>
                  <a:gd name="connsiteY4" fmla="*/ 2201 h 40353"/>
                  <a:gd name="connsiteX5" fmla="*/ 37418 w 39619"/>
                  <a:gd name="connsiteY5" fmla="*/ 28614 h 40353"/>
                  <a:gd name="connsiteX6" fmla="*/ 37418 w 39619"/>
                  <a:gd name="connsiteY6" fmla="*/ 37419 h 40353"/>
                  <a:gd name="connsiteX7" fmla="*/ 31549 w 39619"/>
                  <a:gd name="connsiteY7" fmla="*/ 40353 h 40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619" h="40353">
                    <a:moveTo>
                      <a:pt x="31549" y="40353"/>
                    </a:moveTo>
                    <a:cubicBezTo>
                      <a:pt x="31549" y="40353"/>
                      <a:pt x="28614" y="40353"/>
                      <a:pt x="28614" y="37419"/>
                    </a:cubicBezTo>
                    <a:lnTo>
                      <a:pt x="2201" y="11005"/>
                    </a:lnTo>
                    <a:cubicBezTo>
                      <a:pt x="-734" y="8071"/>
                      <a:pt x="-734" y="5136"/>
                      <a:pt x="2201" y="2201"/>
                    </a:cubicBezTo>
                    <a:cubicBezTo>
                      <a:pt x="5136" y="-734"/>
                      <a:pt x="8070" y="-734"/>
                      <a:pt x="11005" y="2201"/>
                    </a:cubicBezTo>
                    <a:lnTo>
                      <a:pt x="37418" y="28614"/>
                    </a:lnTo>
                    <a:cubicBezTo>
                      <a:pt x="40353" y="31549"/>
                      <a:pt x="40353" y="34484"/>
                      <a:pt x="37418" y="37419"/>
                    </a:cubicBezTo>
                    <a:cubicBezTo>
                      <a:pt x="34484" y="37419"/>
                      <a:pt x="34484" y="40353"/>
                      <a:pt x="31549" y="403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00FC333D-D219-4443-9905-1F3962F9FE4C}"/>
                  </a:ext>
                </a:extLst>
              </p:cNvPr>
              <p:cNvSpPr/>
              <p:nvPr/>
            </p:nvSpPr>
            <p:spPr>
              <a:xfrm>
                <a:off x="12453101" y="12262894"/>
                <a:ext cx="39620" cy="40353"/>
              </a:xfrm>
              <a:custGeom>
                <a:avLst/>
                <a:gdLst>
                  <a:gd name="connsiteX0" fmla="*/ 31549 w 39620"/>
                  <a:gd name="connsiteY0" fmla="*/ 40353 h 40353"/>
                  <a:gd name="connsiteX1" fmla="*/ 28614 w 39620"/>
                  <a:gd name="connsiteY1" fmla="*/ 37418 h 40353"/>
                  <a:gd name="connsiteX2" fmla="*/ 2201 w 39620"/>
                  <a:gd name="connsiteY2" fmla="*/ 11005 h 40353"/>
                  <a:gd name="connsiteX3" fmla="*/ 2201 w 39620"/>
                  <a:gd name="connsiteY3" fmla="*/ 2201 h 40353"/>
                  <a:gd name="connsiteX4" fmla="*/ 11006 w 39620"/>
                  <a:gd name="connsiteY4" fmla="*/ 2201 h 40353"/>
                  <a:gd name="connsiteX5" fmla="*/ 37419 w 39620"/>
                  <a:gd name="connsiteY5" fmla="*/ 28614 h 40353"/>
                  <a:gd name="connsiteX6" fmla="*/ 37419 w 39620"/>
                  <a:gd name="connsiteY6" fmla="*/ 37418 h 40353"/>
                  <a:gd name="connsiteX7" fmla="*/ 31549 w 39620"/>
                  <a:gd name="connsiteY7" fmla="*/ 40353 h 40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620" h="40353">
                    <a:moveTo>
                      <a:pt x="31549" y="40353"/>
                    </a:moveTo>
                    <a:cubicBezTo>
                      <a:pt x="31549" y="40353"/>
                      <a:pt x="28614" y="40353"/>
                      <a:pt x="28614" y="37418"/>
                    </a:cubicBezTo>
                    <a:lnTo>
                      <a:pt x="2201" y="11005"/>
                    </a:lnTo>
                    <a:cubicBezTo>
                      <a:pt x="-734" y="8070"/>
                      <a:pt x="-734" y="5136"/>
                      <a:pt x="2201" y="2201"/>
                    </a:cubicBezTo>
                    <a:cubicBezTo>
                      <a:pt x="5136" y="-734"/>
                      <a:pt x="8071" y="-734"/>
                      <a:pt x="11006" y="2201"/>
                    </a:cubicBezTo>
                    <a:lnTo>
                      <a:pt x="37419" y="28614"/>
                    </a:lnTo>
                    <a:cubicBezTo>
                      <a:pt x="40354" y="31548"/>
                      <a:pt x="40354" y="34483"/>
                      <a:pt x="37419" y="37418"/>
                    </a:cubicBezTo>
                    <a:cubicBezTo>
                      <a:pt x="34484" y="40353"/>
                      <a:pt x="31549" y="40353"/>
                      <a:pt x="31549" y="403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14CA08F6-61C2-4693-A454-309AC8FBF914}"/>
                </a:ext>
              </a:extLst>
            </p:cNvPr>
            <p:cNvSpPr/>
            <p:nvPr/>
          </p:nvSpPr>
          <p:spPr>
            <a:xfrm>
              <a:off x="12386006" y="9955421"/>
              <a:ext cx="1334188" cy="2209890"/>
            </a:xfrm>
            <a:custGeom>
              <a:avLst/>
              <a:gdLst>
                <a:gd name="connsiteX0" fmla="*/ 7666 w 1334188"/>
                <a:gd name="connsiteY0" fmla="*/ 20543 h 2209890"/>
                <a:gd name="connsiteX1" fmla="*/ 19406 w 1334188"/>
                <a:gd name="connsiteY1" fmla="*/ 1352935 h 2209890"/>
                <a:gd name="connsiteX2" fmla="*/ 86906 w 1334188"/>
                <a:gd name="connsiteY2" fmla="*/ 2209891 h 2209890"/>
                <a:gd name="connsiteX3" fmla="*/ 371580 w 1334188"/>
                <a:gd name="connsiteY3" fmla="*/ 2209891 h 2209890"/>
                <a:gd name="connsiteX4" fmla="*/ 406797 w 1334188"/>
                <a:gd name="connsiteY4" fmla="*/ 1376413 h 2209890"/>
                <a:gd name="connsiteX5" fmla="*/ 486036 w 1334188"/>
                <a:gd name="connsiteY5" fmla="*/ 484239 h 2209890"/>
                <a:gd name="connsiteX6" fmla="*/ 524188 w 1334188"/>
                <a:gd name="connsiteY6" fmla="*/ 1358804 h 2209890"/>
                <a:gd name="connsiteX7" fmla="*/ 559406 w 1334188"/>
                <a:gd name="connsiteY7" fmla="*/ 1452717 h 2209890"/>
                <a:gd name="connsiteX8" fmla="*/ 1058319 w 1334188"/>
                <a:gd name="connsiteY8" fmla="*/ 2098370 h 2209890"/>
                <a:gd name="connsiteX9" fmla="*/ 1334188 w 1334188"/>
                <a:gd name="connsiteY9" fmla="*/ 1866522 h 2209890"/>
                <a:gd name="connsiteX10" fmla="*/ 917449 w 1334188"/>
                <a:gd name="connsiteY10" fmla="*/ 1291304 h 2209890"/>
                <a:gd name="connsiteX11" fmla="*/ 993753 w 1334188"/>
                <a:gd name="connsiteY11" fmla="*/ 0 h 2209890"/>
                <a:gd name="connsiteX12" fmla="*/ 7666 w 1334188"/>
                <a:gd name="connsiteY12" fmla="*/ 20543 h 2209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34188" h="2209890">
                  <a:moveTo>
                    <a:pt x="7666" y="20543"/>
                  </a:moveTo>
                  <a:cubicBezTo>
                    <a:pt x="7666" y="20543"/>
                    <a:pt x="-15812" y="1053587"/>
                    <a:pt x="19406" y="1352935"/>
                  </a:cubicBezTo>
                  <a:cubicBezTo>
                    <a:pt x="48754" y="1614130"/>
                    <a:pt x="86906" y="2209891"/>
                    <a:pt x="86906" y="2209891"/>
                  </a:cubicBezTo>
                  <a:lnTo>
                    <a:pt x="371580" y="2209891"/>
                  </a:lnTo>
                  <a:cubicBezTo>
                    <a:pt x="371580" y="2209891"/>
                    <a:pt x="403862" y="1470326"/>
                    <a:pt x="406797" y="1376413"/>
                  </a:cubicBezTo>
                  <a:cubicBezTo>
                    <a:pt x="412667" y="1241413"/>
                    <a:pt x="471362" y="513587"/>
                    <a:pt x="486036" y="484239"/>
                  </a:cubicBezTo>
                  <a:cubicBezTo>
                    <a:pt x="497775" y="460760"/>
                    <a:pt x="518319" y="1159239"/>
                    <a:pt x="524188" y="1358804"/>
                  </a:cubicBezTo>
                  <a:cubicBezTo>
                    <a:pt x="524188" y="1394022"/>
                    <a:pt x="535927" y="1426305"/>
                    <a:pt x="559406" y="1452717"/>
                  </a:cubicBezTo>
                  <a:lnTo>
                    <a:pt x="1058319" y="2098370"/>
                  </a:lnTo>
                  <a:lnTo>
                    <a:pt x="1334188" y="1866522"/>
                  </a:lnTo>
                  <a:lnTo>
                    <a:pt x="917449" y="1291304"/>
                  </a:lnTo>
                  <a:cubicBezTo>
                    <a:pt x="917449" y="1291304"/>
                    <a:pt x="1034840" y="93913"/>
                    <a:pt x="993753" y="0"/>
                  </a:cubicBezTo>
                  <a:cubicBezTo>
                    <a:pt x="318753" y="32283"/>
                    <a:pt x="7666" y="20543"/>
                    <a:pt x="7666" y="20543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50E99208-6434-4601-A57F-85FB8A741A07}"/>
                </a:ext>
              </a:extLst>
            </p:cNvPr>
            <p:cNvSpPr/>
            <p:nvPr/>
          </p:nvSpPr>
          <p:spPr>
            <a:xfrm>
              <a:off x="12807476" y="10099226"/>
              <a:ext cx="68651" cy="349238"/>
            </a:xfrm>
            <a:custGeom>
              <a:avLst/>
              <a:gdLst>
                <a:gd name="connsiteX0" fmla="*/ 61631 w 68651"/>
                <a:gd name="connsiteY0" fmla="*/ 349239 h 349238"/>
                <a:gd name="connsiteX1" fmla="*/ 55761 w 68651"/>
                <a:gd name="connsiteY1" fmla="*/ 346304 h 349238"/>
                <a:gd name="connsiteX2" fmla="*/ 0 w 68651"/>
                <a:gd name="connsiteY2" fmla="*/ 5870 h 349238"/>
                <a:gd name="connsiteX3" fmla="*/ 5870 w 68651"/>
                <a:gd name="connsiteY3" fmla="*/ 0 h 349238"/>
                <a:gd name="connsiteX4" fmla="*/ 5870 w 68651"/>
                <a:gd name="connsiteY4" fmla="*/ 0 h 349238"/>
                <a:gd name="connsiteX5" fmla="*/ 11739 w 68651"/>
                <a:gd name="connsiteY5" fmla="*/ 5870 h 349238"/>
                <a:gd name="connsiteX6" fmla="*/ 67501 w 68651"/>
                <a:gd name="connsiteY6" fmla="*/ 343370 h 349238"/>
                <a:gd name="connsiteX7" fmla="*/ 61631 w 68651"/>
                <a:gd name="connsiteY7" fmla="*/ 349239 h 349238"/>
                <a:gd name="connsiteX8" fmla="*/ 61631 w 68651"/>
                <a:gd name="connsiteY8" fmla="*/ 349239 h 34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651" h="349238">
                  <a:moveTo>
                    <a:pt x="61631" y="349239"/>
                  </a:moveTo>
                  <a:cubicBezTo>
                    <a:pt x="58696" y="349239"/>
                    <a:pt x="58696" y="349239"/>
                    <a:pt x="55761" y="346304"/>
                  </a:cubicBezTo>
                  <a:cubicBezTo>
                    <a:pt x="8805" y="234783"/>
                    <a:pt x="0" y="14674"/>
                    <a:pt x="0" y="5870"/>
                  </a:cubicBezTo>
                  <a:cubicBezTo>
                    <a:pt x="0" y="2935"/>
                    <a:pt x="2935" y="0"/>
                    <a:pt x="5870" y="0"/>
                  </a:cubicBezTo>
                  <a:cubicBezTo>
                    <a:pt x="5870" y="0"/>
                    <a:pt x="5870" y="0"/>
                    <a:pt x="5870" y="0"/>
                  </a:cubicBezTo>
                  <a:cubicBezTo>
                    <a:pt x="8805" y="0"/>
                    <a:pt x="11739" y="2935"/>
                    <a:pt x="11739" y="5870"/>
                  </a:cubicBezTo>
                  <a:cubicBezTo>
                    <a:pt x="11739" y="8804"/>
                    <a:pt x="20544" y="234783"/>
                    <a:pt x="67501" y="343370"/>
                  </a:cubicBezTo>
                  <a:cubicBezTo>
                    <a:pt x="70435" y="343370"/>
                    <a:pt x="67501" y="346304"/>
                    <a:pt x="61631" y="349239"/>
                  </a:cubicBezTo>
                  <a:cubicBezTo>
                    <a:pt x="64566" y="349239"/>
                    <a:pt x="64566" y="349239"/>
                    <a:pt x="61631" y="349239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EA347F59-FF55-467E-928B-CD4136332D1A}"/>
                </a:ext>
              </a:extLst>
            </p:cNvPr>
            <p:cNvSpPr/>
            <p:nvPr/>
          </p:nvSpPr>
          <p:spPr>
            <a:xfrm>
              <a:off x="12701824" y="10031726"/>
              <a:ext cx="149674" cy="340434"/>
            </a:xfrm>
            <a:custGeom>
              <a:avLst/>
              <a:gdLst>
                <a:gd name="connsiteX0" fmla="*/ 140870 w 149674"/>
                <a:gd name="connsiteY0" fmla="*/ 340434 h 340434"/>
                <a:gd name="connsiteX1" fmla="*/ 137935 w 149674"/>
                <a:gd name="connsiteY1" fmla="*/ 340434 h 340434"/>
                <a:gd name="connsiteX2" fmla="*/ 32283 w 149674"/>
                <a:gd name="connsiteY2" fmla="*/ 264130 h 340434"/>
                <a:gd name="connsiteX3" fmla="*/ 0 w 149674"/>
                <a:gd name="connsiteY3" fmla="*/ 5869 h 340434"/>
                <a:gd name="connsiteX4" fmla="*/ 5870 w 149674"/>
                <a:gd name="connsiteY4" fmla="*/ 0 h 340434"/>
                <a:gd name="connsiteX5" fmla="*/ 11740 w 149674"/>
                <a:gd name="connsiteY5" fmla="*/ 5869 h 340434"/>
                <a:gd name="connsiteX6" fmla="*/ 44022 w 149674"/>
                <a:gd name="connsiteY6" fmla="*/ 258261 h 340434"/>
                <a:gd name="connsiteX7" fmla="*/ 146739 w 149674"/>
                <a:gd name="connsiteY7" fmla="*/ 331630 h 340434"/>
                <a:gd name="connsiteX8" fmla="*/ 149674 w 149674"/>
                <a:gd name="connsiteY8" fmla="*/ 340434 h 340434"/>
                <a:gd name="connsiteX9" fmla="*/ 140870 w 149674"/>
                <a:gd name="connsiteY9" fmla="*/ 340434 h 340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674" h="340434">
                  <a:moveTo>
                    <a:pt x="140870" y="340434"/>
                  </a:moveTo>
                  <a:cubicBezTo>
                    <a:pt x="140870" y="340434"/>
                    <a:pt x="137935" y="340434"/>
                    <a:pt x="137935" y="340434"/>
                  </a:cubicBezTo>
                  <a:cubicBezTo>
                    <a:pt x="129131" y="334565"/>
                    <a:pt x="44022" y="278804"/>
                    <a:pt x="32283" y="264130"/>
                  </a:cubicBezTo>
                  <a:cubicBezTo>
                    <a:pt x="20544" y="249457"/>
                    <a:pt x="2935" y="46956"/>
                    <a:pt x="0" y="5869"/>
                  </a:cubicBezTo>
                  <a:cubicBezTo>
                    <a:pt x="0" y="2934"/>
                    <a:pt x="2935" y="0"/>
                    <a:pt x="5870" y="0"/>
                  </a:cubicBezTo>
                  <a:cubicBezTo>
                    <a:pt x="8805" y="0"/>
                    <a:pt x="11740" y="2934"/>
                    <a:pt x="11740" y="5869"/>
                  </a:cubicBezTo>
                  <a:cubicBezTo>
                    <a:pt x="20544" y="96847"/>
                    <a:pt x="35218" y="246522"/>
                    <a:pt x="44022" y="258261"/>
                  </a:cubicBezTo>
                  <a:cubicBezTo>
                    <a:pt x="52827" y="267065"/>
                    <a:pt x="108587" y="308152"/>
                    <a:pt x="146739" y="331630"/>
                  </a:cubicBezTo>
                  <a:cubicBezTo>
                    <a:pt x="149674" y="334565"/>
                    <a:pt x="149674" y="337500"/>
                    <a:pt x="149674" y="340434"/>
                  </a:cubicBezTo>
                  <a:cubicBezTo>
                    <a:pt x="143805" y="340434"/>
                    <a:pt x="140870" y="340434"/>
                    <a:pt x="140870" y="340434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61D4CD4D-1176-44D1-BEA9-A97086FDECF5}"/>
                </a:ext>
              </a:extLst>
            </p:cNvPr>
            <p:cNvSpPr/>
            <p:nvPr/>
          </p:nvSpPr>
          <p:spPr>
            <a:xfrm>
              <a:off x="13256499" y="9970095"/>
              <a:ext cx="140869" cy="228912"/>
            </a:xfrm>
            <a:custGeom>
              <a:avLst/>
              <a:gdLst>
                <a:gd name="connsiteX0" fmla="*/ 134999 w 140869"/>
                <a:gd name="connsiteY0" fmla="*/ 228913 h 228912"/>
                <a:gd name="connsiteX1" fmla="*/ 134999 w 140869"/>
                <a:gd name="connsiteY1" fmla="*/ 228913 h 228912"/>
                <a:gd name="connsiteX2" fmla="*/ 14674 w 140869"/>
                <a:gd name="connsiteY2" fmla="*/ 196630 h 228912"/>
                <a:gd name="connsiteX3" fmla="*/ 0 w 140869"/>
                <a:gd name="connsiteY3" fmla="*/ 5869 h 228912"/>
                <a:gd name="connsiteX4" fmla="*/ 5869 w 140869"/>
                <a:gd name="connsiteY4" fmla="*/ 0 h 228912"/>
                <a:gd name="connsiteX5" fmla="*/ 11739 w 140869"/>
                <a:gd name="connsiteY5" fmla="*/ 5869 h 228912"/>
                <a:gd name="connsiteX6" fmla="*/ 23478 w 140869"/>
                <a:gd name="connsiteY6" fmla="*/ 193696 h 228912"/>
                <a:gd name="connsiteX7" fmla="*/ 134999 w 140869"/>
                <a:gd name="connsiteY7" fmla="*/ 220109 h 228912"/>
                <a:gd name="connsiteX8" fmla="*/ 140869 w 140869"/>
                <a:gd name="connsiteY8" fmla="*/ 225978 h 228912"/>
                <a:gd name="connsiteX9" fmla="*/ 134999 w 140869"/>
                <a:gd name="connsiteY9" fmla="*/ 228913 h 228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869" h="228912">
                  <a:moveTo>
                    <a:pt x="134999" y="228913"/>
                  </a:moveTo>
                  <a:cubicBezTo>
                    <a:pt x="134999" y="228913"/>
                    <a:pt x="134999" y="228913"/>
                    <a:pt x="134999" y="228913"/>
                  </a:cubicBezTo>
                  <a:cubicBezTo>
                    <a:pt x="108586" y="225978"/>
                    <a:pt x="23478" y="214239"/>
                    <a:pt x="14674" y="196630"/>
                  </a:cubicBezTo>
                  <a:cubicBezTo>
                    <a:pt x="5869" y="179022"/>
                    <a:pt x="0" y="23478"/>
                    <a:pt x="0" y="5869"/>
                  </a:cubicBezTo>
                  <a:cubicBezTo>
                    <a:pt x="0" y="2935"/>
                    <a:pt x="2934" y="0"/>
                    <a:pt x="5869" y="0"/>
                  </a:cubicBezTo>
                  <a:cubicBezTo>
                    <a:pt x="8804" y="0"/>
                    <a:pt x="11739" y="2935"/>
                    <a:pt x="11739" y="5869"/>
                  </a:cubicBezTo>
                  <a:cubicBezTo>
                    <a:pt x="11739" y="73370"/>
                    <a:pt x="17608" y="181956"/>
                    <a:pt x="23478" y="193696"/>
                  </a:cubicBezTo>
                  <a:cubicBezTo>
                    <a:pt x="29348" y="202500"/>
                    <a:pt x="85109" y="214239"/>
                    <a:pt x="134999" y="220109"/>
                  </a:cubicBezTo>
                  <a:cubicBezTo>
                    <a:pt x="137934" y="220109"/>
                    <a:pt x="140869" y="223044"/>
                    <a:pt x="140869" y="225978"/>
                  </a:cubicBezTo>
                  <a:cubicBezTo>
                    <a:pt x="137934" y="225978"/>
                    <a:pt x="137934" y="228913"/>
                    <a:pt x="134999" y="228913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3D8A1C62-A9EC-42AA-A265-71E2FA3989D9}"/>
                </a:ext>
              </a:extLst>
            </p:cNvPr>
            <p:cNvSpPr/>
            <p:nvPr/>
          </p:nvSpPr>
          <p:spPr>
            <a:xfrm>
              <a:off x="12393672" y="9978899"/>
              <a:ext cx="88043" cy="199565"/>
            </a:xfrm>
            <a:custGeom>
              <a:avLst/>
              <a:gdLst>
                <a:gd name="connsiteX0" fmla="*/ 11740 w 88043"/>
                <a:gd name="connsiteY0" fmla="*/ 199566 h 199565"/>
                <a:gd name="connsiteX1" fmla="*/ 5870 w 88043"/>
                <a:gd name="connsiteY1" fmla="*/ 199566 h 199565"/>
                <a:gd name="connsiteX2" fmla="*/ 0 w 88043"/>
                <a:gd name="connsiteY2" fmla="*/ 193696 h 199565"/>
                <a:gd name="connsiteX3" fmla="*/ 5870 w 88043"/>
                <a:gd name="connsiteY3" fmla="*/ 187826 h 199565"/>
                <a:gd name="connsiteX4" fmla="*/ 58696 w 88043"/>
                <a:gd name="connsiteY4" fmla="*/ 170218 h 199565"/>
                <a:gd name="connsiteX5" fmla="*/ 76305 w 88043"/>
                <a:gd name="connsiteY5" fmla="*/ 5870 h 199565"/>
                <a:gd name="connsiteX6" fmla="*/ 82174 w 88043"/>
                <a:gd name="connsiteY6" fmla="*/ 0 h 199565"/>
                <a:gd name="connsiteX7" fmla="*/ 82174 w 88043"/>
                <a:gd name="connsiteY7" fmla="*/ 0 h 199565"/>
                <a:gd name="connsiteX8" fmla="*/ 88043 w 88043"/>
                <a:gd name="connsiteY8" fmla="*/ 5870 h 199565"/>
                <a:gd name="connsiteX9" fmla="*/ 67501 w 88043"/>
                <a:gd name="connsiteY9" fmla="*/ 173152 h 199565"/>
                <a:gd name="connsiteX10" fmla="*/ 11740 w 88043"/>
                <a:gd name="connsiteY10" fmla="*/ 199566 h 199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8043" h="199565">
                  <a:moveTo>
                    <a:pt x="11740" y="199566"/>
                  </a:moveTo>
                  <a:cubicBezTo>
                    <a:pt x="8805" y="199566"/>
                    <a:pt x="5870" y="199566"/>
                    <a:pt x="5870" y="199566"/>
                  </a:cubicBezTo>
                  <a:cubicBezTo>
                    <a:pt x="2935" y="199566"/>
                    <a:pt x="0" y="196631"/>
                    <a:pt x="0" y="193696"/>
                  </a:cubicBezTo>
                  <a:cubicBezTo>
                    <a:pt x="0" y="190761"/>
                    <a:pt x="2935" y="187826"/>
                    <a:pt x="5870" y="187826"/>
                  </a:cubicBezTo>
                  <a:cubicBezTo>
                    <a:pt x="5870" y="187826"/>
                    <a:pt x="46957" y="190761"/>
                    <a:pt x="58696" y="170218"/>
                  </a:cubicBezTo>
                  <a:cubicBezTo>
                    <a:pt x="70436" y="149674"/>
                    <a:pt x="76305" y="46957"/>
                    <a:pt x="76305" y="5870"/>
                  </a:cubicBezTo>
                  <a:cubicBezTo>
                    <a:pt x="76305" y="2935"/>
                    <a:pt x="79239" y="0"/>
                    <a:pt x="82174" y="0"/>
                  </a:cubicBezTo>
                  <a:cubicBezTo>
                    <a:pt x="82174" y="0"/>
                    <a:pt x="82174" y="0"/>
                    <a:pt x="82174" y="0"/>
                  </a:cubicBezTo>
                  <a:cubicBezTo>
                    <a:pt x="85109" y="0"/>
                    <a:pt x="88043" y="2935"/>
                    <a:pt x="88043" y="5870"/>
                  </a:cubicBezTo>
                  <a:cubicBezTo>
                    <a:pt x="88043" y="20544"/>
                    <a:pt x="82174" y="149674"/>
                    <a:pt x="67501" y="173152"/>
                  </a:cubicBezTo>
                  <a:cubicBezTo>
                    <a:pt x="52827" y="196631"/>
                    <a:pt x="23479" y="199566"/>
                    <a:pt x="11740" y="199566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1BE02ACA-A735-4632-B3C1-E42EF4A98AA2}"/>
                </a:ext>
              </a:extLst>
            </p:cNvPr>
            <p:cNvSpPr/>
            <p:nvPr/>
          </p:nvSpPr>
          <p:spPr>
            <a:xfrm>
              <a:off x="12763455" y="8347160"/>
              <a:ext cx="240652" cy="248585"/>
            </a:xfrm>
            <a:custGeom>
              <a:avLst/>
              <a:gdLst>
                <a:gd name="connsiteX0" fmla="*/ 0 w 240652"/>
                <a:gd name="connsiteY0" fmla="*/ 38152 h 248585"/>
                <a:gd name="connsiteX1" fmla="*/ 5870 w 240652"/>
                <a:gd name="connsiteY1" fmla="*/ 205435 h 248585"/>
                <a:gd name="connsiteX2" fmla="*/ 240653 w 240652"/>
                <a:gd name="connsiteY2" fmla="*/ 196630 h 248585"/>
                <a:gd name="connsiteX3" fmla="*/ 225979 w 240652"/>
                <a:gd name="connsiteY3" fmla="*/ 0 h 248585"/>
                <a:gd name="connsiteX4" fmla="*/ 0 w 240652"/>
                <a:gd name="connsiteY4" fmla="*/ 38152 h 248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652" h="248585">
                  <a:moveTo>
                    <a:pt x="0" y="38152"/>
                  </a:moveTo>
                  <a:cubicBezTo>
                    <a:pt x="0" y="38152"/>
                    <a:pt x="5870" y="135000"/>
                    <a:pt x="5870" y="205435"/>
                  </a:cubicBezTo>
                  <a:cubicBezTo>
                    <a:pt x="5870" y="205435"/>
                    <a:pt x="96848" y="308152"/>
                    <a:pt x="240653" y="196630"/>
                  </a:cubicBezTo>
                  <a:cubicBezTo>
                    <a:pt x="240653" y="137935"/>
                    <a:pt x="228914" y="61630"/>
                    <a:pt x="225979" y="0"/>
                  </a:cubicBezTo>
                  <a:cubicBezTo>
                    <a:pt x="225979" y="0"/>
                    <a:pt x="49892" y="49891"/>
                    <a:pt x="0" y="38152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FB2F77C5-54DB-4F0C-9B15-97C0474B0B97}"/>
                </a:ext>
              </a:extLst>
            </p:cNvPr>
            <p:cNvSpPr/>
            <p:nvPr/>
          </p:nvSpPr>
          <p:spPr>
            <a:xfrm>
              <a:off x="12369407" y="8505639"/>
              <a:ext cx="1030895" cy="1508301"/>
            </a:xfrm>
            <a:custGeom>
              <a:avLst/>
              <a:gdLst>
                <a:gd name="connsiteX0" fmla="*/ 649374 w 1030895"/>
                <a:gd name="connsiteY0" fmla="*/ 0 h 1508301"/>
                <a:gd name="connsiteX1" fmla="*/ 370570 w 1030895"/>
                <a:gd name="connsiteY1" fmla="*/ 0 h 1508301"/>
                <a:gd name="connsiteX2" fmla="*/ 82960 w 1030895"/>
                <a:gd name="connsiteY2" fmla="*/ 126196 h 1508301"/>
                <a:gd name="connsiteX3" fmla="*/ 787 w 1030895"/>
                <a:gd name="connsiteY3" fmla="*/ 1479131 h 1508301"/>
                <a:gd name="connsiteX4" fmla="*/ 1030896 w 1030895"/>
                <a:gd name="connsiteY4" fmla="*/ 1455652 h 1508301"/>
                <a:gd name="connsiteX5" fmla="*/ 919373 w 1030895"/>
                <a:gd name="connsiteY5" fmla="*/ 99783 h 1508301"/>
                <a:gd name="connsiteX6" fmla="*/ 649374 w 1030895"/>
                <a:gd name="connsiteY6" fmla="*/ 0 h 1508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0895" h="1508301">
                  <a:moveTo>
                    <a:pt x="649374" y="0"/>
                  </a:moveTo>
                  <a:cubicBezTo>
                    <a:pt x="649374" y="0"/>
                    <a:pt x="482091" y="52826"/>
                    <a:pt x="370570" y="0"/>
                  </a:cubicBezTo>
                  <a:cubicBezTo>
                    <a:pt x="370570" y="0"/>
                    <a:pt x="106439" y="93913"/>
                    <a:pt x="82960" y="126196"/>
                  </a:cubicBezTo>
                  <a:cubicBezTo>
                    <a:pt x="59482" y="155544"/>
                    <a:pt x="-8017" y="1414565"/>
                    <a:pt x="787" y="1479131"/>
                  </a:cubicBezTo>
                  <a:cubicBezTo>
                    <a:pt x="787" y="1479131"/>
                    <a:pt x="473287" y="1558369"/>
                    <a:pt x="1030896" y="1455652"/>
                  </a:cubicBezTo>
                  <a:cubicBezTo>
                    <a:pt x="1030896" y="1112283"/>
                    <a:pt x="960461" y="129131"/>
                    <a:pt x="919373" y="99783"/>
                  </a:cubicBezTo>
                  <a:cubicBezTo>
                    <a:pt x="881222" y="67500"/>
                    <a:pt x="649374" y="0"/>
                    <a:pt x="649374" y="0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F7DAE15D-3A90-47E4-9894-EFDE4B77DE9A}"/>
                </a:ext>
              </a:extLst>
            </p:cNvPr>
            <p:cNvSpPr/>
            <p:nvPr/>
          </p:nvSpPr>
          <p:spPr>
            <a:xfrm>
              <a:off x="12408346" y="8624749"/>
              <a:ext cx="51107" cy="532411"/>
            </a:xfrm>
            <a:custGeom>
              <a:avLst/>
              <a:gdLst>
                <a:gd name="connsiteX0" fmla="*/ 5870 w 51107"/>
                <a:gd name="connsiteY0" fmla="*/ 532411 h 532411"/>
                <a:gd name="connsiteX1" fmla="*/ 5870 w 51107"/>
                <a:gd name="connsiteY1" fmla="*/ 532411 h 532411"/>
                <a:gd name="connsiteX2" fmla="*/ 0 w 51107"/>
                <a:gd name="connsiteY2" fmla="*/ 526542 h 532411"/>
                <a:gd name="connsiteX3" fmla="*/ 41088 w 51107"/>
                <a:gd name="connsiteY3" fmla="*/ 4150 h 532411"/>
                <a:gd name="connsiteX4" fmla="*/ 46957 w 51107"/>
                <a:gd name="connsiteY4" fmla="*/ 1216 h 532411"/>
                <a:gd name="connsiteX5" fmla="*/ 49892 w 51107"/>
                <a:gd name="connsiteY5" fmla="*/ 7085 h 532411"/>
                <a:gd name="connsiteX6" fmla="*/ 8805 w 51107"/>
                <a:gd name="connsiteY6" fmla="*/ 526542 h 532411"/>
                <a:gd name="connsiteX7" fmla="*/ 5870 w 51107"/>
                <a:gd name="connsiteY7" fmla="*/ 532411 h 532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107" h="532411">
                  <a:moveTo>
                    <a:pt x="5870" y="532411"/>
                  </a:moveTo>
                  <a:cubicBezTo>
                    <a:pt x="5870" y="532411"/>
                    <a:pt x="5870" y="532411"/>
                    <a:pt x="5870" y="532411"/>
                  </a:cubicBezTo>
                  <a:cubicBezTo>
                    <a:pt x="2935" y="532411"/>
                    <a:pt x="0" y="529477"/>
                    <a:pt x="0" y="526542"/>
                  </a:cubicBezTo>
                  <a:cubicBezTo>
                    <a:pt x="0" y="505998"/>
                    <a:pt x="35218" y="42302"/>
                    <a:pt x="41088" y="4150"/>
                  </a:cubicBezTo>
                  <a:cubicBezTo>
                    <a:pt x="41088" y="1216"/>
                    <a:pt x="44022" y="-1719"/>
                    <a:pt x="46957" y="1216"/>
                  </a:cubicBezTo>
                  <a:cubicBezTo>
                    <a:pt x="49892" y="1216"/>
                    <a:pt x="52827" y="4150"/>
                    <a:pt x="49892" y="7085"/>
                  </a:cubicBezTo>
                  <a:cubicBezTo>
                    <a:pt x="41088" y="45237"/>
                    <a:pt x="8805" y="523607"/>
                    <a:pt x="8805" y="526542"/>
                  </a:cubicBezTo>
                  <a:cubicBezTo>
                    <a:pt x="11740" y="529477"/>
                    <a:pt x="8805" y="532411"/>
                    <a:pt x="5870" y="532411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4F2CF586-6FD8-4BE3-AB93-744B0005BB43}"/>
                </a:ext>
              </a:extLst>
            </p:cNvPr>
            <p:cNvSpPr/>
            <p:nvPr/>
          </p:nvSpPr>
          <p:spPr>
            <a:xfrm>
              <a:off x="13174324" y="11246726"/>
              <a:ext cx="126196" cy="32282"/>
            </a:xfrm>
            <a:custGeom>
              <a:avLst/>
              <a:gdLst>
                <a:gd name="connsiteX0" fmla="*/ 5870 w 126196"/>
                <a:gd name="connsiteY0" fmla="*/ 32283 h 32282"/>
                <a:gd name="connsiteX1" fmla="*/ 0 w 126196"/>
                <a:gd name="connsiteY1" fmla="*/ 29348 h 32282"/>
                <a:gd name="connsiteX2" fmla="*/ 2935 w 126196"/>
                <a:gd name="connsiteY2" fmla="*/ 23478 h 32282"/>
                <a:gd name="connsiteX3" fmla="*/ 120326 w 126196"/>
                <a:gd name="connsiteY3" fmla="*/ 0 h 32282"/>
                <a:gd name="connsiteX4" fmla="*/ 126196 w 126196"/>
                <a:gd name="connsiteY4" fmla="*/ 2935 h 32282"/>
                <a:gd name="connsiteX5" fmla="*/ 123261 w 126196"/>
                <a:gd name="connsiteY5" fmla="*/ 8804 h 32282"/>
                <a:gd name="connsiteX6" fmla="*/ 5870 w 126196"/>
                <a:gd name="connsiteY6" fmla="*/ 32283 h 32282"/>
                <a:gd name="connsiteX7" fmla="*/ 5870 w 126196"/>
                <a:gd name="connsiteY7" fmla="*/ 32283 h 32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196" h="32282">
                  <a:moveTo>
                    <a:pt x="5870" y="32283"/>
                  </a:moveTo>
                  <a:cubicBezTo>
                    <a:pt x="2935" y="32283"/>
                    <a:pt x="0" y="29348"/>
                    <a:pt x="0" y="29348"/>
                  </a:cubicBezTo>
                  <a:cubicBezTo>
                    <a:pt x="0" y="26413"/>
                    <a:pt x="0" y="23478"/>
                    <a:pt x="2935" y="23478"/>
                  </a:cubicBezTo>
                  <a:lnTo>
                    <a:pt x="120326" y="0"/>
                  </a:lnTo>
                  <a:cubicBezTo>
                    <a:pt x="123261" y="0"/>
                    <a:pt x="126196" y="0"/>
                    <a:pt x="126196" y="2935"/>
                  </a:cubicBezTo>
                  <a:cubicBezTo>
                    <a:pt x="126196" y="5869"/>
                    <a:pt x="126196" y="8804"/>
                    <a:pt x="123261" y="8804"/>
                  </a:cubicBezTo>
                  <a:lnTo>
                    <a:pt x="5870" y="32283"/>
                  </a:lnTo>
                  <a:cubicBezTo>
                    <a:pt x="8805" y="32283"/>
                    <a:pt x="8805" y="32283"/>
                    <a:pt x="5870" y="32283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5C35F076-C575-4345-940B-F45CA1CA5AD5}"/>
                </a:ext>
              </a:extLst>
            </p:cNvPr>
            <p:cNvSpPr/>
            <p:nvPr/>
          </p:nvSpPr>
          <p:spPr>
            <a:xfrm>
              <a:off x="12995302" y="8220965"/>
              <a:ext cx="67500" cy="132065"/>
            </a:xfrm>
            <a:custGeom>
              <a:avLst/>
              <a:gdLst>
                <a:gd name="connsiteX0" fmla="*/ 67501 w 67500"/>
                <a:gd name="connsiteY0" fmla="*/ 0 h 132065"/>
                <a:gd name="connsiteX1" fmla="*/ 2935 w 67500"/>
                <a:gd name="connsiteY1" fmla="*/ 132065 h 132065"/>
                <a:gd name="connsiteX2" fmla="*/ 0 w 67500"/>
                <a:gd name="connsiteY2" fmla="*/ 49891 h 132065"/>
                <a:gd name="connsiteX3" fmla="*/ 67501 w 67500"/>
                <a:gd name="connsiteY3" fmla="*/ 0 h 132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500" h="132065">
                  <a:moveTo>
                    <a:pt x="67501" y="0"/>
                  </a:moveTo>
                  <a:cubicBezTo>
                    <a:pt x="67501" y="0"/>
                    <a:pt x="52827" y="114456"/>
                    <a:pt x="2935" y="132065"/>
                  </a:cubicBezTo>
                  <a:lnTo>
                    <a:pt x="0" y="49891"/>
                  </a:lnTo>
                  <a:lnTo>
                    <a:pt x="67501" y="0"/>
                  </a:ln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DB41C560-4102-4285-A40C-830089C45E60}"/>
                </a:ext>
              </a:extLst>
            </p:cNvPr>
            <p:cNvSpPr/>
            <p:nvPr/>
          </p:nvSpPr>
          <p:spPr>
            <a:xfrm>
              <a:off x="12621071" y="8021399"/>
              <a:ext cx="98797" cy="228925"/>
            </a:xfrm>
            <a:custGeom>
              <a:avLst/>
              <a:gdLst>
                <a:gd name="connsiteX0" fmla="*/ 7384 w 98797"/>
                <a:gd name="connsiteY0" fmla="*/ 0 h 228925"/>
                <a:gd name="connsiteX1" fmla="*/ 45537 w 98797"/>
                <a:gd name="connsiteY1" fmla="*/ 225978 h 228925"/>
                <a:gd name="connsiteX2" fmla="*/ 98362 w 98797"/>
                <a:gd name="connsiteY2" fmla="*/ 14674 h 228925"/>
                <a:gd name="connsiteX3" fmla="*/ 7384 w 98797"/>
                <a:gd name="connsiteY3" fmla="*/ 0 h 22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797" h="228925">
                  <a:moveTo>
                    <a:pt x="7384" y="0"/>
                  </a:moveTo>
                  <a:cubicBezTo>
                    <a:pt x="7384" y="0"/>
                    <a:pt x="-24898" y="187826"/>
                    <a:pt x="45537" y="225978"/>
                  </a:cubicBezTo>
                  <a:cubicBezTo>
                    <a:pt x="107167" y="258261"/>
                    <a:pt x="98362" y="14674"/>
                    <a:pt x="98362" y="14674"/>
                  </a:cubicBezTo>
                  <a:lnTo>
                    <a:pt x="7384" y="0"/>
                  </a:ln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2B0A1EB9-6767-46CF-A3F8-07851D3700FF}"/>
                </a:ext>
              </a:extLst>
            </p:cNvPr>
            <p:cNvSpPr/>
            <p:nvPr/>
          </p:nvSpPr>
          <p:spPr>
            <a:xfrm>
              <a:off x="12655245" y="7888477"/>
              <a:ext cx="407557" cy="547307"/>
            </a:xfrm>
            <a:custGeom>
              <a:avLst/>
              <a:gdLst>
                <a:gd name="connsiteX0" fmla="*/ 11362 w 407557"/>
                <a:gd name="connsiteY0" fmla="*/ 174009 h 547307"/>
                <a:gd name="connsiteX1" fmla="*/ 8427 w 407557"/>
                <a:gd name="connsiteY1" fmla="*/ 414661 h 547307"/>
                <a:gd name="connsiteX2" fmla="*/ 161036 w 407557"/>
                <a:gd name="connsiteY2" fmla="*/ 546727 h 547307"/>
                <a:gd name="connsiteX3" fmla="*/ 369405 w 407557"/>
                <a:gd name="connsiteY3" fmla="*/ 411726 h 547307"/>
                <a:gd name="connsiteX4" fmla="*/ 407558 w 407557"/>
                <a:gd name="connsiteY4" fmla="*/ 194553 h 547307"/>
                <a:gd name="connsiteX5" fmla="*/ 205058 w 407557"/>
                <a:gd name="connsiteY5" fmla="*/ 857 h 547307"/>
                <a:gd name="connsiteX6" fmla="*/ 11362 w 407557"/>
                <a:gd name="connsiteY6" fmla="*/ 174009 h 547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7557" h="547307">
                  <a:moveTo>
                    <a:pt x="11362" y="174009"/>
                  </a:moveTo>
                  <a:cubicBezTo>
                    <a:pt x="11362" y="174009"/>
                    <a:pt x="-12117" y="344226"/>
                    <a:pt x="8427" y="414661"/>
                  </a:cubicBezTo>
                  <a:cubicBezTo>
                    <a:pt x="26036" y="479226"/>
                    <a:pt x="111145" y="540857"/>
                    <a:pt x="161036" y="546727"/>
                  </a:cubicBezTo>
                  <a:cubicBezTo>
                    <a:pt x="225601" y="552596"/>
                    <a:pt x="340057" y="514444"/>
                    <a:pt x="369405" y="411726"/>
                  </a:cubicBezTo>
                  <a:cubicBezTo>
                    <a:pt x="389949" y="341292"/>
                    <a:pt x="407558" y="244444"/>
                    <a:pt x="407558" y="194553"/>
                  </a:cubicBezTo>
                  <a:cubicBezTo>
                    <a:pt x="407558" y="103574"/>
                    <a:pt x="381145" y="27270"/>
                    <a:pt x="205058" y="857"/>
                  </a:cubicBezTo>
                  <a:cubicBezTo>
                    <a:pt x="122884" y="-10882"/>
                    <a:pt x="28971" y="100640"/>
                    <a:pt x="11362" y="174009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E6A3B9F5-2E95-48C1-9839-68637272D69E}"/>
                </a:ext>
              </a:extLst>
            </p:cNvPr>
            <p:cNvSpPr/>
            <p:nvPr/>
          </p:nvSpPr>
          <p:spPr>
            <a:xfrm>
              <a:off x="12783999" y="8141726"/>
              <a:ext cx="55760" cy="132065"/>
            </a:xfrm>
            <a:custGeom>
              <a:avLst/>
              <a:gdLst>
                <a:gd name="connsiteX0" fmla="*/ 32283 w 55760"/>
                <a:gd name="connsiteY0" fmla="*/ 132065 h 132065"/>
                <a:gd name="connsiteX1" fmla="*/ 5869 w 55760"/>
                <a:gd name="connsiteY1" fmla="*/ 126196 h 132065"/>
                <a:gd name="connsiteX2" fmla="*/ 0 w 55760"/>
                <a:gd name="connsiteY2" fmla="*/ 114456 h 132065"/>
                <a:gd name="connsiteX3" fmla="*/ 17609 w 55760"/>
                <a:gd name="connsiteY3" fmla="*/ 5869 h 132065"/>
                <a:gd name="connsiteX4" fmla="*/ 23478 w 55760"/>
                <a:gd name="connsiteY4" fmla="*/ 0 h 132065"/>
                <a:gd name="connsiteX5" fmla="*/ 29348 w 55760"/>
                <a:gd name="connsiteY5" fmla="*/ 5869 h 132065"/>
                <a:gd name="connsiteX6" fmla="*/ 11739 w 55760"/>
                <a:gd name="connsiteY6" fmla="*/ 114456 h 132065"/>
                <a:gd name="connsiteX7" fmla="*/ 11739 w 55760"/>
                <a:gd name="connsiteY7" fmla="*/ 117391 h 132065"/>
                <a:gd name="connsiteX8" fmla="*/ 49891 w 55760"/>
                <a:gd name="connsiteY8" fmla="*/ 120326 h 132065"/>
                <a:gd name="connsiteX9" fmla="*/ 55761 w 55760"/>
                <a:gd name="connsiteY9" fmla="*/ 126196 h 132065"/>
                <a:gd name="connsiteX10" fmla="*/ 49891 w 55760"/>
                <a:gd name="connsiteY10" fmla="*/ 132065 h 132065"/>
                <a:gd name="connsiteX11" fmla="*/ 32283 w 55760"/>
                <a:gd name="connsiteY11" fmla="*/ 132065 h 132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760" h="132065">
                  <a:moveTo>
                    <a:pt x="32283" y="132065"/>
                  </a:moveTo>
                  <a:cubicBezTo>
                    <a:pt x="23478" y="132065"/>
                    <a:pt x="11739" y="132065"/>
                    <a:pt x="5869" y="126196"/>
                  </a:cubicBezTo>
                  <a:cubicBezTo>
                    <a:pt x="2935" y="123261"/>
                    <a:pt x="0" y="120326"/>
                    <a:pt x="0" y="114456"/>
                  </a:cubicBezTo>
                  <a:cubicBezTo>
                    <a:pt x="0" y="93913"/>
                    <a:pt x="17609" y="8804"/>
                    <a:pt x="17609" y="5869"/>
                  </a:cubicBezTo>
                  <a:cubicBezTo>
                    <a:pt x="17609" y="2935"/>
                    <a:pt x="20543" y="0"/>
                    <a:pt x="23478" y="0"/>
                  </a:cubicBezTo>
                  <a:cubicBezTo>
                    <a:pt x="26413" y="0"/>
                    <a:pt x="29348" y="2935"/>
                    <a:pt x="29348" y="5869"/>
                  </a:cubicBezTo>
                  <a:cubicBezTo>
                    <a:pt x="29348" y="5869"/>
                    <a:pt x="11739" y="93913"/>
                    <a:pt x="11739" y="114456"/>
                  </a:cubicBezTo>
                  <a:cubicBezTo>
                    <a:pt x="11739" y="114456"/>
                    <a:pt x="11739" y="117391"/>
                    <a:pt x="11739" y="117391"/>
                  </a:cubicBezTo>
                  <a:cubicBezTo>
                    <a:pt x="17609" y="123261"/>
                    <a:pt x="38152" y="120326"/>
                    <a:pt x="49891" y="120326"/>
                  </a:cubicBezTo>
                  <a:cubicBezTo>
                    <a:pt x="52826" y="120326"/>
                    <a:pt x="55761" y="123261"/>
                    <a:pt x="55761" y="126196"/>
                  </a:cubicBezTo>
                  <a:cubicBezTo>
                    <a:pt x="55761" y="129130"/>
                    <a:pt x="52826" y="132065"/>
                    <a:pt x="49891" y="132065"/>
                  </a:cubicBezTo>
                  <a:cubicBezTo>
                    <a:pt x="49891" y="132065"/>
                    <a:pt x="41087" y="132065"/>
                    <a:pt x="32283" y="132065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A1A313FB-F159-4A20-B8A5-5637BAEDAC6F}"/>
                </a:ext>
              </a:extLst>
            </p:cNvPr>
            <p:cNvSpPr/>
            <p:nvPr/>
          </p:nvSpPr>
          <p:spPr>
            <a:xfrm>
              <a:off x="12718857" y="8120607"/>
              <a:ext cx="39303" cy="39303"/>
            </a:xfrm>
            <a:custGeom>
              <a:avLst/>
              <a:gdLst>
                <a:gd name="connsiteX0" fmla="*/ 38728 w 39303"/>
                <a:gd name="connsiteY0" fmla="*/ 24054 h 39303"/>
                <a:gd name="connsiteX1" fmla="*/ 15250 w 39303"/>
                <a:gd name="connsiteY1" fmla="*/ 38728 h 39303"/>
                <a:gd name="connsiteX2" fmla="*/ 576 w 39303"/>
                <a:gd name="connsiteY2" fmla="*/ 15250 h 39303"/>
                <a:gd name="connsiteX3" fmla="*/ 24055 w 39303"/>
                <a:gd name="connsiteY3" fmla="*/ 576 h 39303"/>
                <a:gd name="connsiteX4" fmla="*/ 38728 w 39303"/>
                <a:gd name="connsiteY4" fmla="*/ 24054 h 39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03" h="39303">
                  <a:moveTo>
                    <a:pt x="38728" y="24054"/>
                  </a:moveTo>
                  <a:cubicBezTo>
                    <a:pt x="35793" y="32858"/>
                    <a:pt x="26989" y="41663"/>
                    <a:pt x="15250" y="38728"/>
                  </a:cubicBezTo>
                  <a:cubicBezTo>
                    <a:pt x="6446" y="35793"/>
                    <a:pt x="-2359" y="26989"/>
                    <a:pt x="576" y="15250"/>
                  </a:cubicBezTo>
                  <a:cubicBezTo>
                    <a:pt x="3511" y="6445"/>
                    <a:pt x="12315" y="-2359"/>
                    <a:pt x="24055" y="576"/>
                  </a:cubicBezTo>
                  <a:cubicBezTo>
                    <a:pt x="32858" y="3510"/>
                    <a:pt x="41662" y="12315"/>
                    <a:pt x="38728" y="24054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FE780B56-E4CD-4D90-861B-38D15C4DC359}"/>
                </a:ext>
              </a:extLst>
            </p:cNvPr>
            <p:cNvSpPr/>
            <p:nvPr/>
          </p:nvSpPr>
          <p:spPr>
            <a:xfrm>
              <a:off x="12894944" y="8138215"/>
              <a:ext cx="39303" cy="39303"/>
            </a:xfrm>
            <a:custGeom>
              <a:avLst/>
              <a:gdLst>
                <a:gd name="connsiteX0" fmla="*/ 38728 w 39303"/>
                <a:gd name="connsiteY0" fmla="*/ 24054 h 39303"/>
                <a:gd name="connsiteX1" fmla="*/ 15250 w 39303"/>
                <a:gd name="connsiteY1" fmla="*/ 38728 h 39303"/>
                <a:gd name="connsiteX2" fmla="*/ 576 w 39303"/>
                <a:gd name="connsiteY2" fmla="*/ 15250 h 39303"/>
                <a:gd name="connsiteX3" fmla="*/ 24055 w 39303"/>
                <a:gd name="connsiteY3" fmla="*/ 576 h 39303"/>
                <a:gd name="connsiteX4" fmla="*/ 38728 w 39303"/>
                <a:gd name="connsiteY4" fmla="*/ 24054 h 39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03" h="39303">
                  <a:moveTo>
                    <a:pt x="38728" y="24054"/>
                  </a:moveTo>
                  <a:cubicBezTo>
                    <a:pt x="35793" y="32858"/>
                    <a:pt x="26989" y="41663"/>
                    <a:pt x="15250" y="38728"/>
                  </a:cubicBezTo>
                  <a:cubicBezTo>
                    <a:pt x="6446" y="35793"/>
                    <a:pt x="-2359" y="26989"/>
                    <a:pt x="576" y="15250"/>
                  </a:cubicBezTo>
                  <a:cubicBezTo>
                    <a:pt x="3511" y="6445"/>
                    <a:pt x="12315" y="-2359"/>
                    <a:pt x="24055" y="576"/>
                  </a:cubicBezTo>
                  <a:cubicBezTo>
                    <a:pt x="32858" y="3511"/>
                    <a:pt x="41662" y="15250"/>
                    <a:pt x="38728" y="24054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B1DC7B91-B3E4-49C5-97EE-6A754FB9165F}"/>
                </a:ext>
              </a:extLst>
            </p:cNvPr>
            <p:cNvSpPr/>
            <p:nvPr/>
          </p:nvSpPr>
          <p:spPr>
            <a:xfrm>
              <a:off x="12693754" y="8074226"/>
              <a:ext cx="88525" cy="32282"/>
            </a:xfrm>
            <a:custGeom>
              <a:avLst/>
              <a:gdLst>
                <a:gd name="connsiteX0" fmla="*/ 8070 w 88525"/>
                <a:gd name="connsiteY0" fmla="*/ 32283 h 32282"/>
                <a:gd name="connsiteX1" fmla="*/ 2201 w 88525"/>
                <a:gd name="connsiteY1" fmla="*/ 29348 h 32282"/>
                <a:gd name="connsiteX2" fmla="*/ 2201 w 88525"/>
                <a:gd name="connsiteY2" fmla="*/ 17609 h 32282"/>
                <a:gd name="connsiteX3" fmla="*/ 84375 w 88525"/>
                <a:gd name="connsiteY3" fmla="*/ 8804 h 32282"/>
                <a:gd name="connsiteX4" fmla="*/ 87310 w 88525"/>
                <a:gd name="connsiteY4" fmla="*/ 20543 h 32282"/>
                <a:gd name="connsiteX5" fmla="*/ 75571 w 88525"/>
                <a:gd name="connsiteY5" fmla="*/ 23478 h 32282"/>
                <a:gd name="connsiteX6" fmla="*/ 11005 w 88525"/>
                <a:gd name="connsiteY6" fmla="*/ 29348 h 32282"/>
                <a:gd name="connsiteX7" fmla="*/ 8070 w 88525"/>
                <a:gd name="connsiteY7" fmla="*/ 32283 h 32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2282">
                  <a:moveTo>
                    <a:pt x="8070" y="32283"/>
                  </a:moveTo>
                  <a:cubicBezTo>
                    <a:pt x="5136" y="32283"/>
                    <a:pt x="5136" y="32283"/>
                    <a:pt x="2201" y="29348"/>
                  </a:cubicBezTo>
                  <a:cubicBezTo>
                    <a:pt x="-734" y="26413"/>
                    <a:pt x="-734" y="20543"/>
                    <a:pt x="2201" y="17609"/>
                  </a:cubicBezTo>
                  <a:cubicBezTo>
                    <a:pt x="28614" y="-8804"/>
                    <a:pt x="66766" y="0"/>
                    <a:pt x="84375" y="8804"/>
                  </a:cubicBezTo>
                  <a:cubicBezTo>
                    <a:pt x="87310" y="11739"/>
                    <a:pt x="90245" y="14674"/>
                    <a:pt x="87310" y="20543"/>
                  </a:cubicBezTo>
                  <a:cubicBezTo>
                    <a:pt x="84375" y="23478"/>
                    <a:pt x="81440" y="26413"/>
                    <a:pt x="75571" y="23478"/>
                  </a:cubicBezTo>
                  <a:cubicBezTo>
                    <a:pt x="72636" y="23478"/>
                    <a:pt x="37418" y="2935"/>
                    <a:pt x="11005" y="29348"/>
                  </a:cubicBezTo>
                  <a:cubicBezTo>
                    <a:pt x="13940" y="29348"/>
                    <a:pt x="11005" y="32283"/>
                    <a:pt x="8070" y="32283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AA9DBD24-7BA1-4D09-9784-23F93D0423D1}"/>
                </a:ext>
              </a:extLst>
            </p:cNvPr>
            <p:cNvSpPr/>
            <p:nvPr/>
          </p:nvSpPr>
          <p:spPr>
            <a:xfrm>
              <a:off x="12876696" y="8075204"/>
              <a:ext cx="88525" cy="34238"/>
            </a:xfrm>
            <a:custGeom>
              <a:avLst/>
              <a:gdLst>
                <a:gd name="connsiteX0" fmla="*/ 83390 w 88525"/>
                <a:gd name="connsiteY0" fmla="*/ 34239 h 34238"/>
                <a:gd name="connsiteX1" fmla="*/ 77520 w 88525"/>
                <a:gd name="connsiteY1" fmla="*/ 31304 h 34238"/>
                <a:gd name="connsiteX2" fmla="*/ 12955 w 88525"/>
                <a:gd name="connsiteY2" fmla="*/ 25435 h 34238"/>
                <a:gd name="connsiteX3" fmla="*/ 1215 w 88525"/>
                <a:gd name="connsiteY3" fmla="*/ 22500 h 34238"/>
                <a:gd name="connsiteX4" fmla="*/ 4150 w 88525"/>
                <a:gd name="connsiteY4" fmla="*/ 10761 h 34238"/>
                <a:gd name="connsiteX5" fmla="*/ 86325 w 88525"/>
                <a:gd name="connsiteY5" fmla="*/ 19565 h 34238"/>
                <a:gd name="connsiteX6" fmla="*/ 86325 w 88525"/>
                <a:gd name="connsiteY6" fmla="*/ 31304 h 34238"/>
                <a:gd name="connsiteX7" fmla="*/ 83390 w 88525"/>
                <a:gd name="connsiteY7" fmla="*/ 34239 h 34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4238">
                  <a:moveTo>
                    <a:pt x="83390" y="34239"/>
                  </a:moveTo>
                  <a:cubicBezTo>
                    <a:pt x="80455" y="34239"/>
                    <a:pt x="80455" y="34239"/>
                    <a:pt x="77520" y="31304"/>
                  </a:cubicBezTo>
                  <a:cubicBezTo>
                    <a:pt x="77520" y="31304"/>
                    <a:pt x="48172" y="1957"/>
                    <a:pt x="12955" y="25435"/>
                  </a:cubicBezTo>
                  <a:cubicBezTo>
                    <a:pt x="10020" y="28370"/>
                    <a:pt x="4150" y="25435"/>
                    <a:pt x="1215" y="22500"/>
                  </a:cubicBezTo>
                  <a:cubicBezTo>
                    <a:pt x="-1719" y="19565"/>
                    <a:pt x="1215" y="13696"/>
                    <a:pt x="4150" y="10761"/>
                  </a:cubicBezTo>
                  <a:cubicBezTo>
                    <a:pt x="39368" y="-12717"/>
                    <a:pt x="74585" y="7826"/>
                    <a:pt x="86325" y="19565"/>
                  </a:cubicBezTo>
                  <a:cubicBezTo>
                    <a:pt x="89259" y="22500"/>
                    <a:pt x="89259" y="28370"/>
                    <a:pt x="86325" y="31304"/>
                  </a:cubicBezTo>
                  <a:cubicBezTo>
                    <a:pt x="86325" y="34239"/>
                    <a:pt x="83390" y="34239"/>
                    <a:pt x="83390" y="34239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DEBE9EB6-CD1C-447C-9C1B-ABE083DBF18E}"/>
                </a:ext>
              </a:extLst>
            </p:cNvPr>
            <p:cNvSpPr/>
            <p:nvPr/>
          </p:nvSpPr>
          <p:spPr>
            <a:xfrm>
              <a:off x="12749515" y="8382378"/>
              <a:ext cx="223525" cy="58695"/>
            </a:xfrm>
            <a:custGeom>
              <a:avLst/>
              <a:gdLst>
                <a:gd name="connsiteX0" fmla="*/ 78506 w 223525"/>
                <a:gd name="connsiteY0" fmla="*/ 58696 h 58695"/>
                <a:gd name="connsiteX1" fmla="*/ 78506 w 223525"/>
                <a:gd name="connsiteY1" fmla="*/ 58696 h 58695"/>
                <a:gd name="connsiteX2" fmla="*/ 2201 w 223525"/>
                <a:gd name="connsiteY2" fmla="*/ 32283 h 58695"/>
                <a:gd name="connsiteX3" fmla="*/ 2201 w 223525"/>
                <a:gd name="connsiteY3" fmla="*/ 23478 h 58695"/>
                <a:gd name="connsiteX4" fmla="*/ 11005 w 223525"/>
                <a:gd name="connsiteY4" fmla="*/ 23478 h 58695"/>
                <a:gd name="connsiteX5" fmla="*/ 78506 w 223525"/>
                <a:gd name="connsiteY5" fmla="*/ 46957 h 58695"/>
                <a:gd name="connsiteX6" fmla="*/ 78506 w 223525"/>
                <a:gd name="connsiteY6" fmla="*/ 46957 h 58695"/>
                <a:gd name="connsiteX7" fmla="*/ 213506 w 223525"/>
                <a:gd name="connsiteY7" fmla="*/ 0 h 58695"/>
                <a:gd name="connsiteX8" fmla="*/ 222310 w 223525"/>
                <a:gd name="connsiteY8" fmla="*/ 2935 h 58695"/>
                <a:gd name="connsiteX9" fmla="*/ 219375 w 223525"/>
                <a:gd name="connsiteY9" fmla="*/ 11739 h 58695"/>
                <a:gd name="connsiteX10" fmla="*/ 78506 w 223525"/>
                <a:gd name="connsiteY10" fmla="*/ 58696 h 58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3525" h="58695">
                  <a:moveTo>
                    <a:pt x="78506" y="58696"/>
                  </a:moveTo>
                  <a:cubicBezTo>
                    <a:pt x="78506" y="58696"/>
                    <a:pt x="78506" y="58696"/>
                    <a:pt x="78506" y="58696"/>
                  </a:cubicBezTo>
                  <a:cubicBezTo>
                    <a:pt x="37419" y="58696"/>
                    <a:pt x="5136" y="32283"/>
                    <a:pt x="2201" y="32283"/>
                  </a:cubicBezTo>
                  <a:cubicBezTo>
                    <a:pt x="-734" y="29348"/>
                    <a:pt x="-734" y="26413"/>
                    <a:pt x="2201" y="23478"/>
                  </a:cubicBezTo>
                  <a:cubicBezTo>
                    <a:pt x="5136" y="20543"/>
                    <a:pt x="8071" y="20543"/>
                    <a:pt x="11005" y="23478"/>
                  </a:cubicBezTo>
                  <a:cubicBezTo>
                    <a:pt x="11005" y="23478"/>
                    <a:pt x="40353" y="46957"/>
                    <a:pt x="78506" y="46957"/>
                  </a:cubicBezTo>
                  <a:cubicBezTo>
                    <a:pt x="78506" y="46957"/>
                    <a:pt x="78506" y="46957"/>
                    <a:pt x="78506" y="46957"/>
                  </a:cubicBezTo>
                  <a:cubicBezTo>
                    <a:pt x="125462" y="46957"/>
                    <a:pt x="210571" y="0"/>
                    <a:pt x="213506" y="0"/>
                  </a:cubicBezTo>
                  <a:cubicBezTo>
                    <a:pt x="216440" y="0"/>
                    <a:pt x="219375" y="0"/>
                    <a:pt x="222310" y="2935"/>
                  </a:cubicBezTo>
                  <a:cubicBezTo>
                    <a:pt x="225245" y="5869"/>
                    <a:pt x="222310" y="8804"/>
                    <a:pt x="219375" y="11739"/>
                  </a:cubicBezTo>
                  <a:cubicBezTo>
                    <a:pt x="213506" y="11739"/>
                    <a:pt x="128397" y="58696"/>
                    <a:pt x="78506" y="58696"/>
                  </a:cubicBezTo>
                  <a:close/>
                </a:path>
              </a:pathLst>
            </a:custGeom>
            <a:solidFill>
              <a:srgbClr val="E87952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82CA7E6B-A2BC-4CC4-AB33-DB6E56344473}"/>
                </a:ext>
              </a:extLst>
            </p:cNvPr>
            <p:cNvSpPr/>
            <p:nvPr/>
          </p:nvSpPr>
          <p:spPr>
            <a:xfrm>
              <a:off x="12989433" y="7912813"/>
              <a:ext cx="97203" cy="258260"/>
            </a:xfrm>
            <a:custGeom>
              <a:avLst/>
              <a:gdLst>
                <a:gd name="connsiteX0" fmla="*/ 0 w 97203"/>
                <a:gd name="connsiteY0" fmla="*/ 123261 h 258260"/>
                <a:gd name="connsiteX1" fmla="*/ 46957 w 97203"/>
                <a:gd name="connsiteY1" fmla="*/ 258261 h 258260"/>
                <a:gd name="connsiteX2" fmla="*/ 90978 w 97203"/>
                <a:gd name="connsiteY2" fmla="*/ 155544 h 258260"/>
                <a:gd name="connsiteX3" fmla="*/ 46957 w 97203"/>
                <a:gd name="connsiteY3" fmla="*/ 0 h 258260"/>
                <a:gd name="connsiteX4" fmla="*/ 0 w 97203"/>
                <a:gd name="connsiteY4" fmla="*/ 123261 h 258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203" h="258260">
                  <a:moveTo>
                    <a:pt x="0" y="123261"/>
                  </a:moveTo>
                  <a:cubicBezTo>
                    <a:pt x="0" y="123261"/>
                    <a:pt x="52826" y="228913"/>
                    <a:pt x="46957" y="258261"/>
                  </a:cubicBezTo>
                  <a:cubicBezTo>
                    <a:pt x="46957" y="258261"/>
                    <a:pt x="76305" y="240652"/>
                    <a:pt x="90978" y="155544"/>
                  </a:cubicBezTo>
                  <a:cubicBezTo>
                    <a:pt x="99782" y="96848"/>
                    <a:pt x="108586" y="14674"/>
                    <a:pt x="46957" y="0"/>
                  </a:cubicBezTo>
                  <a:cubicBezTo>
                    <a:pt x="46957" y="0"/>
                    <a:pt x="41087" y="105652"/>
                    <a:pt x="0" y="123261"/>
                  </a:cubicBez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8A005C9E-AAD2-4D7B-99B8-10A663811177}"/>
                </a:ext>
              </a:extLst>
            </p:cNvPr>
            <p:cNvSpPr/>
            <p:nvPr/>
          </p:nvSpPr>
          <p:spPr>
            <a:xfrm>
              <a:off x="12563890" y="7799968"/>
              <a:ext cx="483147" cy="244939"/>
            </a:xfrm>
            <a:custGeom>
              <a:avLst/>
              <a:gdLst>
                <a:gd name="connsiteX0" fmla="*/ 425543 w 483147"/>
                <a:gd name="connsiteY0" fmla="*/ 236105 h 244939"/>
                <a:gd name="connsiteX1" fmla="*/ 308152 w 483147"/>
                <a:gd name="connsiteY1" fmla="*/ 197953 h 244939"/>
                <a:gd name="connsiteX2" fmla="*/ 0 w 483147"/>
                <a:gd name="connsiteY2" fmla="*/ 186214 h 244939"/>
                <a:gd name="connsiteX3" fmla="*/ 358043 w 483147"/>
                <a:gd name="connsiteY3" fmla="*/ 10127 h 244939"/>
                <a:gd name="connsiteX4" fmla="*/ 472500 w 483147"/>
                <a:gd name="connsiteY4" fmla="*/ 112845 h 244939"/>
                <a:gd name="connsiteX5" fmla="*/ 425543 w 483147"/>
                <a:gd name="connsiteY5" fmla="*/ 236105 h 244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3147" h="244939">
                  <a:moveTo>
                    <a:pt x="425543" y="236105"/>
                  </a:moveTo>
                  <a:cubicBezTo>
                    <a:pt x="425543" y="236105"/>
                    <a:pt x="334565" y="197953"/>
                    <a:pt x="308152" y="197953"/>
                  </a:cubicBezTo>
                  <a:cubicBezTo>
                    <a:pt x="211304" y="200888"/>
                    <a:pt x="88043" y="309475"/>
                    <a:pt x="0" y="186214"/>
                  </a:cubicBezTo>
                  <a:cubicBezTo>
                    <a:pt x="44022" y="89366"/>
                    <a:pt x="199565" y="-36830"/>
                    <a:pt x="358043" y="10127"/>
                  </a:cubicBezTo>
                  <a:cubicBezTo>
                    <a:pt x="434347" y="30671"/>
                    <a:pt x="466630" y="77627"/>
                    <a:pt x="472500" y="112845"/>
                  </a:cubicBezTo>
                  <a:cubicBezTo>
                    <a:pt x="472500" y="112845"/>
                    <a:pt x="516522" y="224366"/>
                    <a:pt x="425543" y="236105"/>
                  </a:cubicBez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DEB23F5-E29B-4FE9-AA58-5B3B9EBF65C2}"/>
                </a:ext>
              </a:extLst>
            </p:cNvPr>
            <p:cNvSpPr/>
            <p:nvPr/>
          </p:nvSpPr>
          <p:spPr>
            <a:xfrm>
              <a:off x="13023347" y="8141542"/>
              <a:ext cx="75684" cy="106370"/>
            </a:xfrm>
            <a:custGeom>
              <a:avLst/>
              <a:gdLst>
                <a:gd name="connsiteX0" fmla="*/ 13043 w 75684"/>
                <a:gd name="connsiteY0" fmla="*/ 14857 h 106370"/>
                <a:gd name="connsiteX1" fmla="*/ 68804 w 75684"/>
                <a:gd name="connsiteY1" fmla="*/ 6053 h 106370"/>
                <a:gd name="connsiteX2" fmla="*/ 13043 w 75684"/>
                <a:gd name="connsiteY2" fmla="*/ 102901 h 106370"/>
                <a:gd name="connsiteX3" fmla="*/ 13043 w 75684"/>
                <a:gd name="connsiteY3" fmla="*/ 14857 h 106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684" h="106370">
                  <a:moveTo>
                    <a:pt x="13043" y="14857"/>
                  </a:moveTo>
                  <a:cubicBezTo>
                    <a:pt x="13043" y="14857"/>
                    <a:pt x="45325" y="-11556"/>
                    <a:pt x="68804" y="6053"/>
                  </a:cubicBezTo>
                  <a:cubicBezTo>
                    <a:pt x="92282" y="23662"/>
                    <a:pt x="51195" y="126379"/>
                    <a:pt x="13043" y="102901"/>
                  </a:cubicBezTo>
                  <a:cubicBezTo>
                    <a:pt x="-16304" y="85292"/>
                    <a:pt x="13043" y="14857"/>
                    <a:pt x="13043" y="14857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E2CBFBB9-6C3B-43BA-95C6-69B13256BF76}"/>
                </a:ext>
              </a:extLst>
            </p:cNvPr>
            <p:cNvSpPr/>
            <p:nvPr/>
          </p:nvSpPr>
          <p:spPr>
            <a:xfrm>
              <a:off x="12757586" y="8323682"/>
              <a:ext cx="102717" cy="49891"/>
            </a:xfrm>
            <a:custGeom>
              <a:avLst/>
              <a:gdLst>
                <a:gd name="connsiteX0" fmla="*/ 0 w 102717"/>
                <a:gd name="connsiteY0" fmla="*/ 0 h 49891"/>
                <a:gd name="connsiteX1" fmla="*/ 102717 w 102717"/>
                <a:gd name="connsiteY1" fmla="*/ 0 h 49891"/>
                <a:gd name="connsiteX2" fmla="*/ 41087 w 102717"/>
                <a:gd name="connsiteY2" fmla="*/ 49891 h 49891"/>
                <a:gd name="connsiteX3" fmla="*/ 0 w 102717"/>
                <a:gd name="connsiteY3" fmla="*/ 0 h 49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717" h="49891">
                  <a:moveTo>
                    <a:pt x="0" y="0"/>
                  </a:moveTo>
                  <a:cubicBezTo>
                    <a:pt x="44022" y="14674"/>
                    <a:pt x="102717" y="0"/>
                    <a:pt x="102717" y="0"/>
                  </a:cubicBezTo>
                  <a:cubicBezTo>
                    <a:pt x="102717" y="0"/>
                    <a:pt x="82174" y="49891"/>
                    <a:pt x="41087" y="49891"/>
                  </a:cubicBezTo>
                  <a:cubicBezTo>
                    <a:pt x="17608" y="4695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0" name="图形 1">
              <a:extLst>
                <a:ext uri="{FF2B5EF4-FFF2-40B4-BE49-F238E27FC236}">
                  <a16:creationId xmlns:a16="http://schemas.microsoft.com/office/drawing/2014/main" id="{D126329D-E9C8-4276-8893-098AE3CFE12B}"/>
                </a:ext>
              </a:extLst>
            </p:cNvPr>
            <p:cNvGrpSpPr/>
            <p:nvPr/>
          </p:nvGrpSpPr>
          <p:grpSpPr>
            <a:xfrm>
              <a:off x="11496691" y="9179625"/>
              <a:ext cx="175025" cy="157291"/>
              <a:chOff x="11496691" y="9179625"/>
              <a:chExt cx="175025" cy="157291"/>
            </a:xfrm>
          </p:grpSpPr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4E6D982B-0800-4DBA-92A8-40003CA19BF6}"/>
                  </a:ext>
                </a:extLst>
              </p:cNvPr>
              <p:cNvSpPr/>
              <p:nvPr/>
            </p:nvSpPr>
            <p:spPr>
              <a:xfrm>
                <a:off x="11496691" y="9180639"/>
                <a:ext cx="150450" cy="66032"/>
              </a:xfrm>
              <a:custGeom>
                <a:avLst/>
                <a:gdLst>
                  <a:gd name="connsiteX0" fmla="*/ 7743 w 150450"/>
                  <a:gd name="connsiteY0" fmla="*/ 23478 h 66032"/>
                  <a:gd name="connsiteX1" fmla="*/ 101656 w 150450"/>
                  <a:gd name="connsiteY1" fmla="*/ 2935 h 66032"/>
                  <a:gd name="connsiteX2" fmla="*/ 116330 w 150450"/>
                  <a:gd name="connsiteY2" fmla="*/ 0 h 66032"/>
                  <a:gd name="connsiteX3" fmla="*/ 131004 w 150450"/>
                  <a:gd name="connsiteY3" fmla="*/ 2935 h 66032"/>
                  <a:gd name="connsiteX4" fmla="*/ 148612 w 150450"/>
                  <a:gd name="connsiteY4" fmla="*/ 35217 h 66032"/>
                  <a:gd name="connsiteX5" fmla="*/ 107525 w 150450"/>
                  <a:gd name="connsiteY5" fmla="*/ 55761 h 66032"/>
                  <a:gd name="connsiteX6" fmla="*/ 48829 w 150450"/>
                  <a:gd name="connsiteY6" fmla="*/ 64565 h 66032"/>
                  <a:gd name="connsiteX7" fmla="*/ 7743 w 150450"/>
                  <a:gd name="connsiteY7" fmla="*/ 58696 h 66032"/>
                  <a:gd name="connsiteX8" fmla="*/ 7743 w 150450"/>
                  <a:gd name="connsiteY8" fmla="*/ 23478 h 66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0450" h="66032">
                    <a:moveTo>
                      <a:pt x="7743" y="23478"/>
                    </a:moveTo>
                    <a:cubicBezTo>
                      <a:pt x="31220" y="5869"/>
                      <a:pt x="66438" y="8804"/>
                      <a:pt x="101656" y="2935"/>
                    </a:cubicBezTo>
                    <a:cubicBezTo>
                      <a:pt x="104590" y="2935"/>
                      <a:pt x="113395" y="0"/>
                      <a:pt x="116330" y="0"/>
                    </a:cubicBezTo>
                    <a:cubicBezTo>
                      <a:pt x="122199" y="0"/>
                      <a:pt x="125134" y="0"/>
                      <a:pt x="131004" y="2935"/>
                    </a:cubicBezTo>
                    <a:cubicBezTo>
                      <a:pt x="145678" y="8804"/>
                      <a:pt x="154482" y="23478"/>
                      <a:pt x="148612" y="35217"/>
                    </a:cubicBezTo>
                    <a:cubicBezTo>
                      <a:pt x="142743" y="49891"/>
                      <a:pt x="122199" y="52826"/>
                      <a:pt x="107525" y="55761"/>
                    </a:cubicBezTo>
                    <a:cubicBezTo>
                      <a:pt x="86982" y="58696"/>
                      <a:pt x="66438" y="61630"/>
                      <a:pt x="48829" y="64565"/>
                    </a:cubicBezTo>
                    <a:cubicBezTo>
                      <a:pt x="37090" y="64565"/>
                      <a:pt x="16547" y="70435"/>
                      <a:pt x="7743" y="58696"/>
                    </a:cubicBezTo>
                    <a:cubicBezTo>
                      <a:pt x="-3996" y="44022"/>
                      <a:pt x="-1061" y="29348"/>
                      <a:pt x="7743" y="23478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870E2AED-59D0-4E61-9DD5-3CF2AB7D493C}"/>
                  </a:ext>
                </a:extLst>
              </p:cNvPr>
              <p:cNvSpPr/>
              <p:nvPr/>
            </p:nvSpPr>
            <p:spPr>
              <a:xfrm>
                <a:off x="11517234" y="9215856"/>
                <a:ext cx="150451" cy="66032"/>
              </a:xfrm>
              <a:custGeom>
                <a:avLst/>
                <a:gdLst>
                  <a:gd name="connsiteX0" fmla="*/ 7743 w 150451"/>
                  <a:gd name="connsiteY0" fmla="*/ 23479 h 66032"/>
                  <a:gd name="connsiteX1" fmla="*/ 107526 w 150451"/>
                  <a:gd name="connsiteY1" fmla="*/ 0 h 66032"/>
                  <a:gd name="connsiteX2" fmla="*/ 116330 w 150451"/>
                  <a:gd name="connsiteY2" fmla="*/ 0 h 66032"/>
                  <a:gd name="connsiteX3" fmla="*/ 131004 w 150451"/>
                  <a:gd name="connsiteY3" fmla="*/ 2935 h 66032"/>
                  <a:gd name="connsiteX4" fmla="*/ 148612 w 150451"/>
                  <a:gd name="connsiteY4" fmla="*/ 35218 h 66032"/>
                  <a:gd name="connsiteX5" fmla="*/ 107526 w 150451"/>
                  <a:gd name="connsiteY5" fmla="*/ 55761 h 66032"/>
                  <a:gd name="connsiteX6" fmla="*/ 48830 w 150451"/>
                  <a:gd name="connsiteY6" fmla="*/ 64566 h 66032"/>
                  <a:gd name="connsiteX7" fmla="*/ 7743 w 150451"/>
                  <a:gd name="connsiteY7" fmla="*/ 58696 h 66032"/>
                  <a:gd name="connsiteX8" fmla="*/ 7743 w 150451"/>
                  <a:gd name="connsiteY8" fmla="*/ 23479 h 66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0451" h="66032">
                    <a:moveTo>
                      <a:pt x="7743" y="23479"/>
                    </a:moveTo>
                    <a:cubicBezTo>
                      <a:pt x="34156" y="-2935"/>
                      <a:pt x="72308" y="2935"/>
                      <a:pt x="107526" y="0"/>
                    </a:cubicBezTo>
                    <a:cubicBezTo>
                      <a:pt x="110461" y="0"/>
                      <a:pt x="113395" y="0"/>
                      <a:pt x="116330" y="0"/>
                    </a:cubicBezTo>
                    <a:cubicBezTo>
                      <a:pt x="122200" y="0"/>
                      <a:pt x="125134" y="0"/>
                      <a:pt x="131004" y="2935"/>
                    </a:cubicBezTo>
                    <a:cubicBezTo>
                      <a:pt x="145677" y="8805"/>
                      <a:pt x="154482" y="23479"/>
                      <a:pt x="148612" y="35218"/>
                    </a:cubicBezTo>
                    <a:cubicBezTo>
                      <a:pt x="142742" y="49892"/>
                      <a:pt x="122200" y="52827"/>
                      <a:pt x="107526" y="55761"/>
                    </a:cubicBezTo>
                    <a:cubicBezTo>
                      <a:pt x="86982" y="58696"/>
                      <a:pt x="66439" y="61631"/>
                      <a:pt x="48830" y="64566"/>
                    </a:cubicBezTo>
                    <a:cubicBezTo>
                      <a:pt x="34156" y="64566"/>
                      <a:pt x="16547" y="70435"/>
                      <a:pt x="7743" y="58696"/>
                    </a:cubicBezTo>
                    <a:cubicBezTo>
                      <a:pt x="-3997" y="46957"/>
                      <a:pt x="-1062" y="32283"/>
                      <a:pt x="7743" y="2347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DBB014B4-6268-4331-907D-8AE6E02E07B9}"/>
                  </a:ext>
                </a:extLst>
              </p:cNvPr>
              <p:cNvSpPr/>
              <p:nvPr/>
            </p:nvSpPr>
            <p:spPr>
              <a:xfrm>
                <a:off x="11529291" y="9256943"/>
                <a:ext cx="129618" cy="57228"/>
              </a:xfrm>
              <a:custGeom>
                <a:avLst/>
                <a:gdLst>
                  <a:gd name="connsiteX0" fmla="*/ 7425 w 129618"/>
                  <a:gd name="connsiteY0" fmla="*/ 23479 h 57228"/>
                  <a:gd name="connsiteX1" fmla="*/ 95468 w 129618"/>
                  <a:gd name="connsiteY1" fmla="*/ 0 h 57228"/>
                  <a:gd name="connsiteX2" fmla="*/ 101337 w 129618"/>
                  <a:gd name="connsiteY2" fmla="*/ 0 h 57228"/>
                  <a:gd name="connsiteX3" fmla="*/ 113077 w 129618"/>
                  <a:gd name="connsiteY3" fmla="*/ 0 h 57228"/>
                  <a:gd name="connsiteX4" fmla="*/ 127751 w 129618"/>
                  <a:gd name="connsiteY4" fmla="*/ 29348 h 57228"/>
                  <a:gd name="connsiteX5" fmla="*/ 92533 w 129618"/>
                  <a:gd name="connsiteY5" fmla="*/ 46957 h 57228"/>
                  <a:gd name="connsiteX6" fmla="*/ 39707 w 129618"/>
                  <a:gd name="connsiteY6" fmla="*/ 55762 h 57228"/>
                  <a:gd name="connsiteX7" fmla="*/ 4490 w 129618"/>
                  <a:gd name="connsiteY7" fmla="*/ 49892 h 57228"/>
                  <a:gd name="connsiteX8" fmla="*/ 7425 w 129618"/>
                  <a:gd name="connsiteY8" fmla="*/ 23479 h 57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9618" h="57228">
                    <a:moveTo>
                      <a:pt x="7425" y="23479"/>
                    </a:moveTo>
                    <a:cubicBezTo>
                      <a:pt x="30902" y="0"/>
                      <a:pt x="66120" y="5870"/>
                      <a:pt x="95468" y="0"/>
                    </a:cubicBezTo>
                    <a:cubicBezTo>
                      <a:pt x="98403" y="0"/>
                      <a:pt x="101337" y="0"/>
                      <a:pt x="101337" y="0"/>
                    </a:cubicBezTo>
                    <a:cubicBezTo>
                      <a:pt x="107207" y="0"/>
                      <a:pt x="110142" y="0"/>
                      <a:pt x="113077" y="0"/>
                    </a:cubicBezTo>
                    <a:cubicBezTo>
                      <a:pt x="124816" y="2935"/>
                      <a:pt x="133620" y="17609"/>
                      <a:pt x="127751" y="29348"/>
                    </a:cubicBezTo>
                    <a:cubicBezTo>
                      <a:pt x="121881" y="44022"/>
                      <a:pt x="104272" y="44022"/>
                      <a:pt x="92533" y="46957"/>
                    </a:cubicBezTo>
                    <a:cubicBezTo>
                      <a:pt x="74924" y="49892"/>
                      <a:pt x="57315" y="52827"/>
                      <a:pt x="39707" y="55762"/>
                    </a:cubicBezTo>
                    <a:cubicBezTo>
                      <a:pt x="27967" y="55762"/>
                      <a:pt x="13294" y="61631"/>
                      <a:pt x="4490" y="49892"/>
                    </a:cubicBezTo>
                    <a:cubicBezTo>
                      <a:pt x="-4314" y="41088"/>
                      <a:pt x="1555" y="29348"/>
                      <a:pt x="7425" y="2347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770E0D52-5EA6-4544-B11F-F6F193AF8854}"/>
                  </a:ext>
                </a:extLst>
              </p:cNvPr>
              <p:cNvSpPr/>
              <p:nvPr/>
            </p:nvSpPr>
            <p:spPr>
              <a:xfrm>
                <a:off x="11548768" y="9295095"/>
                <a:ext cx="97298" cy="41820"/>
              </a:xfrm>
              <a:custGeom>
                <a:avLst/>
                <a:gdLst>
                  <a:gd name="connsiteX0" fmla="*/ 5557 w 97298"/>
                  <a:gd name="connsiteY0" fmla="*/ 17609 h 41820"/>
                  <a:gd name="connsiteX1" fmla="*/ 70122 w 97298"/>
                  <a:gd name="connsiteY1" fmla="*/ 0 h 41820"/>
                  <a:gd name="connsiteX2" fmla="*/ 75992 w 97298"/>
                  <a:gd name="connsiteY2" fmla="*/ 0 h 41820"/>
                  <a:gd name="connsiteX3" fmla="*/ 84796 w 97298"/>
                  <a:gd name="connsiteY3" fmla="*/ 0 h 41820"/>
                  <a:gd name="connsiteX4" fmla="*/ 96535 w 97298"/>
                  <a:gd name="connsiteY4" fmla="*/ 20543 h 41820"/>
                  <a:gd name="connsiteX5" fmla="*/ 70122 w 97298"/>
                  <a:gd name="connsiteY5" fmla="*/ 35217 h 41820"/>
                  <a:gd name="connsiteX6" fmla="*/ 31970 w 97298"/>
                  <a:gd name="connsiteY6" fmla="*/ 41087 h 41820"/>
                  <a:gd name="connsiteX7" fmla="*/ 5557 w 97298"/>
                  <a:gd name="connsiteY7" fmla="*/ 38152 h 41820"/>
                  <a:gd name="connsiteX8" fmla="*/ 5557 w 97298"/>
                  <a:gd name="connsiteY8" fmla="*/ 17609 h 41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7298" h="41820">
                    <a:moveTo>
                      <a:pt x="5557" y="17609"/>
                    </a:moveTo>
                    <a:cubicBezTo>
                      <a:pt x="23165" y="0"/>
                      <a:pt x="46644" y="2935"/>
                      <a:pt x="70122" y="0"/>
                    </a:cubicBezTo>
                    <a:cubicBezTo>
                      <a:pt x="73057" y="0"/>
                      <a:pt x="73057" y="0"/>
                      <a:pt x="75992" y="0"/>
                    </a:cubicBezTo>
                    <a:cubicBezTo>
                      <a:pt x="78927" y="0"/>
                      <a:pt x="81861" y="0"/>
                      <a:pt x="84796" y="0"/>
                    </a:cubicBezTo>
                    <a:cubicBezTo>
                      <a:pt x="93601" y="2935"/>
                      <a:pt x="99470" y="11739"/>
                      <a:pt x="96535" y="20543"/>
                    </a:cubicBezTo>
                    <a:cubicBezTo>
                      <a:pt x="93601" y="29348"/>
                      <a:pt x="78927" y="32283"/>
                      <a:pt x="70122" y="35217"/>
                    </a:cubicBezTo>
                    <a:cubicBezTo>
                      <a:pt x="58383" y="38152"/>
                      <a:pt x="43709" y="41087"/>
                      <a:pt x="31970" y="41087"/>
                    </a:cubicBezTo>
                    <a:cubicBezTo>
                      <a:pt x="23165" y="41087"/>
                      <a:pt x="11426" y="44022"/>
                      <a:pt x="5557" y="38152"/>
                    </a:cubicBezTo>
                    <a:cubicBezTo>
                      <a:pt x="-3248" y="32283"/>
                      <a:pt x="-313" y="23478"/>
                      <a:pt x="5557" y="17609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D7533FD2-41F6-4DE5-9105-5AF8BBBA2FFE}"/>
                  </a:ext>
                </a:extLst>
              </p:cNvPr>
              <p:cNvSpPr/>
              <p:nvPr/>
            </p:nvSpPr>
            <p:spPr>
              <a:xfrm>
                <a:off x="11512022" y="9179625"/>
                <a:ext cx="159694" cy="103731"/>
              </a:xfrm>
              <a:custGeom>
                <a:avLst/>
                <a:gdLst>
                  <a:gd name="connsiteX0" fmla="*/ 48172 w 159694"/>
                  <a:gd name="connsiteY0" fmla="*/ 103732 h 103731"/>
                  <a:gd name="connsiteX1" fmla="*/ 1215 w 159694"/>
                  <a:gd name="connsiteY1" fmla="*/ 83188 h 103731"/>
                  <a:gd name="connsiteX2" fmla="*/ 4150 w 159694"/>
                  <a:gd name="connsiteY2" fmla="*/ 62644 h 103731"/>
                  <a:gd name="connsiteX3" fmla="*/ 15889 w 159694"/>
                  <a:gd name="connsiteY3" fmla="*/ 56775 h 103731"/>
                  <a:gd name="connsiteX4" fmla="*/ 130346 w 159694"/>
                  <a:gd name="connsiteY4" fmla="*/ 21557 h 103731"/>
                  <a:gd name="connsiteX5" fmla="*/ 127412 w 159694"/>
                  <a:gd name="connsiteY5" fmla="*/ 15688 h 103731"/>
                  <a:gd name="connsiteX6" fmla="*/ 30563 w 159694"/>
                  <a:gd name="connsiteY6" fmla="*/ 18622 h 103731"/>
                  <a:gd name="connsiteX7" fmla="*/ 24694 w 159694"/>
                  <a:gd name="connsiteY7" fmla="*/ 15688 h 103731"/>
                  <a:gd name="connsiteX8" fmla="*/ 27629 w 159694"/>
                  <a:gd name="connsiteY8" fmla="*/ 9818 h 103731"/>
                  <a:gd name="connsiteX9" fmla="*/ 133281 w 159694"/>
                  <a:gd name="connsiteY9" fmla="*/ 9818 h 103731"/>
                  <a:gd name="connsiteX10" fmla="*/ 139150 w 159694"/>
                  <a:gd name="connsiteY10" fmla="*/ 24492 h 103731"/>
                  <a:gd name="connsiteX11" fmla="*/ 136215 w 159694"/>
                  <a:gd name="connsiteY11" fmla="*/ 36231 h 103731"/>
                  <a:gd name="connsiteX12" fmla="*/ 159694 w 159694"/>
                  <a:gd name="connsiteY12" fmla="*/ 68514 h 103731"/>
                  <a:gd name="connsiteX13" fmla="*/ 98064 w 159694"/>
                  <a:gd name="connsiteY13" fmla="*/ 100797 h 103731"/>
                  <a:gd name="connsiteX14" fmla="*/ 48172 w 159694"/>
                  <a:gd name="connsiteY14" fmla="*/ 103732 h 103731"/>
                  <a:gd name="connsiteX15" fmla="*/ 12955 w 159694"/>
                  <a:gd name="connsiteY15" fmla="*/ 65579 h 103731"/>
                  <a:gd name="connsiteX16" fmla="*/ 10020 w 159694"/>
                  <a:gd name="connsiteY16" fmla="*/ 68514 h 103731"/>
                  <a:gd name="connsiteX17" fmla="*/ 10020 w 159694"/>
                  <a:gd name="connsiteY17" fmla="*/ 77318 h 103731"/>
                  <a:gd name="connsiteX18" fmla="*/ 98064 w 159694"/>
                  <a:gd name="connsiteY18" fmla="*/ 86123 h 103731"/>
                  <a:gd name="connsiteX19" fmla="*/ 150889 w 159694"/>
                  <a:gd name="connsiteY19" fmla="*/ 62644 h 103731"/>
                  <a:gd name="connsiteX20" fmla="*/ 133281 w 159694"/>
                  <a:gd name="connsiteY20" fmla="*/ 39166 h 103731"/>
                  <a:gd name="connsiteX21" fmla="*/ 12955 w 159694"/>
                  <a:gd name="connsiteY21" fmla="*/ 65579 h 103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59694" h="103731">
                    <a:moveTo>
                      <a:pt x="48172" y="103732"/>
                    </a:moveTo>
                    <a:cubicBezTo>
                      <a:pt x="18824" y="103732"/>
                      <a:pt x="4150" y="97862"/>
                      <a:pt x="1215" y="83188"/>
                    </a:cubicBezTo>
                    <a:cubicBezTo>
                      <a:pt x="-1719" y="74384"/>
                      <a:pt x="1215" y="68514"/>
                      <a:pt x="4150" y="62644"/>
                    </a:cubicBezTo>
                    <a:cubicBezTo>
                      <a:pt x="10020" y="56775"/>
                      <a:pt x="15889" y="56775"/>
                      <a:pt x="15889" y="56775"/>
                    </a:cubicBezTo>
                    <a:cubicBezTo>
                      <a:pt x="130346" y="50905"/>
                      <a:pt x="130346" y="33296"/>
                      <a:pt x="130346" y="21557"/>
                    </a:cubicBezTo>
                    <a:cubicBezTo>
                      <a:pt x="130346" y="18622"/>
                      <a:pt x="130346" y="18622"/>
                      <a:pt x="127412" y="15688"/>
                    </a:cubicBezTo>
                    <a:cubicBezTo>
                      <a:pt x="112738" y="3949"/>
                      <a:pt x="62846" y="12753"/>
                      <a:pt x="30563" y="18622"/>
                    </a:cubicBezTo>
                    <a:cubicBezTo>
                      <a:pt x="27629" y="18622"/>
                      <a:pt x="24694" y="18622"/>
                      <a:pt x="24694" y="15688"/>
                    </a:cubicBezTo>
                    <a:cubicBezTo>
                      <a:pt x="24694" y="12753"/>
                      <a:pt x="24694" y="9818"/>
                      <a:pt x="27629" y="9818"/>
                    </a:cubicBezTo>
                    <a:cubicBezTo>
                      <a:pt x="36433" y="6883"/>
                      <a:pt x="109803" y="-10725"/>
                      <a:pt x="133281" y="9818"/>
                    </a:cubicBezTo>
                    <a:cubicBezTo>
                      <a:pt x="139150" y="12753"/>
                      <a:pt x="139150" y="18622"/>
                      <a:pt x="139150" y="24492"/>
                    </a:cubicBezTo>
                    <a:cubicBezTo>
                      <a:pt x="139150" y="27427"/>
                      <a:pt x="139150" y="33296"/>
                      <a:pt x="136215" y="36231"/>
                    </a:cubicBezTo>
                    <a:cubicBezTo>
                      <a:pt x="142085" y="39166"/>
                      <a:pt x="159694" y="50905"/>
                      <a:pt x="159694" y="68514"/>
                    </a:cubicBezTo>
                    <a:cubicBezTo>
                      <a:pt x="159694" y="89058"/>
                      <a:pt x="136215" y="94927"/>
                      <a:pt x="98064" y="100797"/>
                    </a:cubicBezTo>
                    <a:cubicBezTo>
                      <a:pt x="77520" y="100797"/>
                      <a:pt x="62846" y="103732"/>
                      <a:pt x="48172" y="103732"/>
                    </a:cubicBezTo>
                    <a:close/>
                    <a:moveTo>
                      <a:pt x="12955" y="65579"/>
                    </a:moveTo>
                    <a:cubicBezTo>
                      <a:pt x="12955" y="65579"/>
                      <a:pt x="10020" y="65579"/>
                      <a:pt x="10020" y="68514"/>
                    </a:cubicBezTo>
                    <a:cubicBezTo>
                      <a:pt x="10020" y="71449"/>
                      <a:pt x="10020" y="74384"/>
                      <a:pt x="10020" y="77318"/>
                    </a:cubicBezTo>
                    <a:cubicBezTo>
                      <a:pt x="12955" y="91992"/>
                      <a:pt x="45237" y="94927"/>
                      <a:pt x="98064" y="86123"/>
                    </a:cubicBezTo>
                    <a:cubicBezTo>
                      <a:pt x="133281" y="80253"/>
                      <a:pt x="150889" y="74384"/>
                      <a:pt x="150889" y="62644"/>
                    </a:cubicBezTo>
                    <a:cubicBezTo>
                      <a:pt x="150889" y="53840"/>
                      <a:pt x="139150" y="42101"/>
                      <a:pt x="133281" y="39166"/>
                    </a:cubicBezTo>
                    <a:cubicBezTo>
                      <a:pt x="118607" y="53840"/>
                      <a:pt x="89259" y="62644"/>
                      <a:pt x="12955" y="65579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CB235B82-9C3A-41F3-8E7B-D175BBBEB7B0}"/>
                  </a:ext>
                </a:extLst>
              </p:cNvPr>
              <p:cNvSpPr/>
              <p:nvPr/>
            </p:nvSpPr>
            <p:spPr>
              <a:xfrm>
                <a:off x="11526811" y="9255639"/>
                <a:ext cx="142569" cy="62934"/>
              </a:xfrm>
              <a:custGeom>
                <a:avLst/>
                <a:gdLst>
                  <a:gd name="connsiteX0" fmla="*/ 30448 w 142569"/>
                  <a:gd name="connsiteY0" fmla="*/ 62935 h 62934"/>
                  <a:gd name="connsiteX1" fmla="*/ 12840 w 142569"/>
                  <a:gd name="connsiteY1" fmla="*/ 62935 h 62934"/>
                  <a:gd name="connsiteX2" fmla="*/ 1100 w 142569"/>
                  <a:gd name="connsiteY2" fmla="*/ 51196 h 62934"/>
                  <a:gd name="connsiteX3" fmla="*/ 9905 w 142569"/>
                  <a:gd name="connsiteY3" fmla="*/ 21848 h 62934"/>
                  <a:gd name="connsiteX4" fmla="*/ 18709 w 142569"/>
                  <a:gd name="connsiteY4" fmla="*/ 21848 h 62934"/>
                  <a:gd name="connsiteX5" fmla="*/ 18709 w 142569"/>
                  <a:gd name="connsiteY5" fmla="*/ 30652 h 62934"/>
                  <a:gd name="connsiteX6" fmla="*/ 12840 w 142569"/>
                  <a:gd name="connsiteY6" fmla="*/ 48261 h 62934"/>
                  <a:gd name="connsiteX7" fmla="*/ 15774 w 142569"/>
                  <a:gd name="connsiteY7" fmla="*/ 54131 h 62934"/>
                  <a:gd name="connsiteX8" fmla="*/ 112623 w 142569"/>
                  <a:gd name="connsiteY8" fmla="*/ 42392 h 62934"/>
                  <a:gd name="connsiteX9" fmla="*/ 130231 w 142569"/>
                  <a:gd name="connsiteY9" fmla="*/ 27718 h 62934"/>
                  <a:gd name="connsiteX10" fmla="*/ 127296 w 142569"/>
                  <a:gd name="connsiteY10" fmla="*/ 10109 h 62934"/>
                  <a:gd name="connsiteX11" fmla="*/ 127296 w 142569"/>
                  <a:gd name="connsiteY11" fmla="*/ 1304 h 62934"/>
                  <a:gd name="connsiteX12" fmla="*/ 136100 w 142569"/>
                  <a:gd name="connsiteY12" fmla="*/ 1304 h 62934"/>
                  <a:gd name="connsiteX13" fmla="*/ 141970 w 142569"/>
                  <a:gd name="connsiteY13" fmla="*/ 27718 h 62934"/>
                  <a:gd name="connsiteX14" fmla="*/ 115557 w 142569"/>
                  <a:gd name="connsiteY14" fmla="*/ 48261 h 62934"/>
                  <a:gd name="connsiteX15" fmla="*/ 30448 w 142569"/>
                  <a:gd name="connsiteY15" fmla="*/ 62935 h 62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2569" h="62934">
                    <a:moveTo>
                      <a:pt x="30448" y="62935"/>
                    </a:moveTo>
                    <a:cubicBezTo>
                      <a:pt x="21644" y="62935"/>
                      <a:pt x="15774" y="62935"/>
                      <a:pt x="12840" y="62935"/>
                    </a:cubicBezTo>
                    <a:cubicBezTo>
                      <a:pt x="6970" y="62935"/>
                      <a:pt x="1100" y="57066"/>
                      <a:pt x="1100" y="51196"/>
                    </a:cubicBezTo>
                    <a:cubicBezTo>
                      <a:pt x="-1834" y="42392"/>
                      <a:pt x="1100" y="27718"/>
                      <a:pt x="9905" y="21848"/>
                    </a:cubicBezTo>
                    <a:cubicBezTo>
                      <a:pt x="12840" y="18913"/>
                      <a:pt x="15774" y="18913"/>
                      <a:pt x="18709" y="21848"/>
                    </a:cubicBezTo>
                    <a:cubicBezTo>
                      <a:pt x="21644" y="24783"/>
                      <a:pt x="21644" y="27718"/>
                      <a:pt x="18709" y="30652"/>
                    </a:cubicBezTo>
                    <a:cubicBezTo>
                      <a:pt x="15774" y="33587"/>
                      <a:pt x="12840" y="42392"/>
                      <a:pt x="12840" y="48261"/>
                    </a:cubicBezTo>
                    <a:cubicBezTo>
                      <a:pt x="12840" y="51196"/>
                      <a:pt x="15774" y="51196"/>
                      <a:pt x="15774" y="54131"/>
                    </a:cubicBezTo>
                    <a:cubicBezTo>
                      <a:pt x="27514" y="57066"/>
                      <a:pt x="74470" y="54131"/>
                      <a:pt x="112623" y="42392"/>
                    </a:cubicBezTo>
                    <a:cubicBezTo>
                      <a:pt x="124361" y="39457"/>
                      <a:pt x="130231" y="33587"/>
                      <a:pt x="130231" y="27718"/>
                    </a:cubicBezTo>
                    <a:cubicBezTo>
                      <a:pt x="133165" y="18913"/>
                      <a:pt x="127296" y="10109"/>
                      <a:pt x="127296" y="10109"/>
                    </a:cubicBezTo>
                    <a:cubicBezTo>
                      <a:pt x="124361" y="7174"/>
                      <a:pt x="127296" y="4239"/>
                      <a:pt x="127296" y="1304"/>
                    </a:cubicBezTo>
                    <a:cubicBezTo>
                      <a:pt x="130231" y="-1630"/>
                      <a:pt x="133165" y="1304"/>
                      <a:pt x="136100" y="1304"/>
                    </a:cubicBezTo>
                    <a:cubicBezTo>
                      <a:pt x="136100" y="1304"/>
                      <a:pt x="144905" y="15978"/>
                      <a:pt x="141970" y="27718"/>
                    </a:cubicBezTo>
                    <a:cubicBezTo>
                      <a:pt x="139035" y="36522"/>
                      <a:pt x="130231" y="45326"/>
                      <a:pt x="115557" y="48261"/>
                    </a:cubicBezTo>
                    <a:cubicBezTo>
                      <a:pt x="86210" y="60000"/>
                      <a:pt x="50992" y="62935"/>
                      <a:pt x="30448" y="62935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3652E17C-3657-4266-BDA3-737A2C076FA2}"/>
                </a:ext>
              </a:extLst>
            </p:cNvPr>
            <p:cNvGrpSpPr/>
            <p:nvPr/>
          </p:nvGrpSpPr>
          <p:grpSpPr>
            <a:xfrm>
              <a:off x="12569947" y="7671838"/>
              <a:ext cx="776154" cy="340757"/>
              <a:chOff x="12569947" y="7671838"/>
              <a:chExt cx="776154" cy="340757"/>
            </a:xfrm>
          </p:grpSpPr>
          <p:grpSp>
            <p:nvGrpSpPr>
              <p:cNvPr id="49" name="图形 1">
                <a:extLst>
                  <a:ext uri="{FF2B5EF4-FFF2-40B4-BE49-F238E27FC236}">
                    <a16:creationId xmlns:a16="http://schemas.microsoft.com/office/drawing/2014/main" id="{DBACF4D4-296E-4F07-BEFF-6DD60A63478F}"/>
                  </a:ext>
                </a:extLst>
              </p:cNvPr>
              <p:cNvGrpSpPr/>
              <p:nvPr/>
            </p:nvGrpSpPr>
            <p:grpSpPr>
              <a:xfrm>
                <a:off x="12596173" y="7671838"/>
                <a:ext cx="749928" cy="324692"/>
                <a:chOff x="12596173" y="7671838"/>
                <a:chExt cx="749928" cy="324692"/>
              </a:xfrm>
            </p:grpSpPr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254662FF-9522-45C6-B6A9-DDAC38D9F2CB}"/>
                    </a:ext>
                  </a:extLst>
                </p:cNvPr>
                <p:cNvSpPr/>
                <p:nvPr/>
              </p:nvSpPr>
              <p:spPr>
                <a:xfrm>
                  <a:off x="12596173" y="7671838"/>
                  <a:ext cx="603830" cy="324692"/>
                </a:xfrm>
                <a:custGeom>
                  <a:avLst/>
                  <a:gdLst>
                    <a:gd name="connsiteX0" fmla="*/ 196630 w 603830"/>
                    <a:gd name="connsiteY0" fmla="*/ 6192 h 324692"/>
                    <a:gd name="connsiteX1" fmla="*/ 601630 w 603830"/>
                    <a:gd name="connsiteY1" fmla="*/ 170540 h 324692"/>
                    <a:gd name="connsiteX2" fmla="*/ 601630 w 603830"/>
                    <a:gd name="connsiteY2" fmla="*/ 179344 h 324692"/>
                    <a:gd name="connsiteX3" fmla="*/ 522391 w 603830"/>
                    <a:gd name="connsiteY3" fmla="*/ 229236 h 324692"/>
                    <a:gd name="connsiteX4" fmla="*/ 534130 w 603830"/>
                    <a:gd name="connsiteY4" fmla="*/ 314345 h 324692"/>
                    <a:gd name="connsiteX5" fmla="*/ 531195 w 603830"/>
                    <a:gd name="connsiteY5" fmla="*/ 320214 h 324692"/>
                    <a:gd name="connsiteX6" fmla="*/ 525326 w 603830"/>
                    <a:gd name="connsiteY6" fmla="*/ 323149 h 324692"/>
                    <a:gd name="connsiteX7" fmla="*/ 202500 w 603830"/>
                    <a:gd name="connsiteY7" fmla="*/ 302606 h 324692"/>
                    <a:gd name="connsiteX8" fmla="*/ 2934 w 603830"/>
                    <a:gd name="connsiteY8" fmla="*/ 238040 h 324692"/>
                    <a:gd name="connsiteX9" fmla="*/ 0 w 603830"/>
                    <a:gd name="connsiteY9" fmla="*/ 229236 h 324692"/>
                    <a:gd name="connsiteX10" fmla="*/ 196630 w 603830"/>
                    <a:gd name="connsiteY10" fmla="*/ 6192 h 3246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03830" h="324692">
                      <a:moveTo>
                        <a:pt x="196630" y="6192"/>
                      </a:moveTo>
                      <a:cubicBezTo>
                        <a:pt x="358043" y="-20220"/>
                        <a:pt x="507717" y="38475"/>
                        <a:pt x="601630" y="170540"/>
                      </a:cubicBezTo>
                      <a:cubicBezTo>
                        <a:pt x="604565" y="173475"/>
                        <a:pt x="604565" y="176410"/>
                        <a:pt x="601630" y="179344"/>
                      </a:cubicBezTo>
                      <a:cubicBezTo>
                        <a:pt x="601630" y="182279"/>
                        <a:pt x="575217" y="223366"/>
                        <a:pt x="522391" y="229236"/>
                      </a:cubicBezTo>
                      <a:cubicBezTo>
                        <a:pt x="531195" y="270323"/>
                        <a:pt x="534130" y="311410"/>
                        <a:pt x="534130" y="314345"/>
                      </a:cubicBezTo>
                      <a:cubicBezTo>
                        <a:pt x="534130" y="317280"/>
                        <a:pt x="534130" y="320214"/>
                        <a:pt x="531195" y="320214"/>
                      </a:cubicBezTo>
                      <a:cubicBezTo>
                        <a:pt x="528261" y="323149"/>
                        <a:pt x="528261" y="323149"/>
                        <a:pt x="525326" y="323149"/>
                      </a:cubicBezTo>
                      <a:cubicBezTo>
                        <a:pt x="390326" y="329018"/>
                        <a:pt x="281738" y="317280"/>
                        <a:pt x="202500" y="302606"/>
                      </a:cubicBezTo>
                      <a:cubicBezTo>
                        <a:pt x="67500" y="276192"/>
                        <a:pt x="5869" y="238040"/>
                        <a:pt x="2934" y="238040"/>
                      </a:cubicBezTo>
                      <a:cubicBezTo>
                        <a:pt x="0" y="235106"/>
                        <a:pt x="0" y="232171"/>
                        <a:pt x="0" y="229236"/>
                      </a:cubicBezTo>
                      <a:cubicBezTo>
                        <a:pt x="0" y="226301"/>
                        <a:pt x="17608" y="35540"/>
                        <a:pt x="196630" y="6192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8498A43F-2623-4C74-9828-D6C09EEB324B}"/>
                    </a:ext>
                  </a:extLst>
                </p:cNvPr>
                <p:cNvSpPr/>
                <p:nvPr/>
              </p:nvSpPr>
              <p:spPr>
                <a:xfrm>
                  <a:off x="13144213" y="7744782"/>
                  <a:ext cx="201888" cy="197378"/>
                </a:xfrm>
                <a:custGeom>
                  <a:avLst/>
                  <a:gdLst>
                    <a:gd name="connsiteX0" fmla="*/ 763 w 201888"/>
                    <a:gd name="connsiteY0" fmla="*/ 85856 h 197378"/>
                    <a:gd name="connsiteX1" fmla="*/ 12502 w 201888"/>
                    <a:gd name="connsiteY1" fmla="*/ 56509 h 197378"/>
                    <a:gd name="connsiteX2" fmla="*/ 24242 w 201888"/>
                    <a:gd name="connsiteY2" fmla="*/ 47704 h 197378"/>
                    <a:gd name="connsiteX3" fmla="*/ 38916 w 201888"/>
                    <a:gd name="connsiteY3" fmla="*/ 21291 h 197378"/>
                    <a:gd name="connsiteX4" fmla="*/ 62394 w 201888"/>
                    <a:gd name="connsiteY4" fmla="*/ 15422 h 197378"/>
                    <a:gd name="connsiteX5" fmla="*/ 77068 w 201888"/>
                    <a:gd name="connsiteY5" fmla="*/ 15422 h 197378"/>
                    <a:gd name="connsiteX6" fmla="*/ 121090 w 201888"/>
                    <a:gd name="connsiteY6" fmla="*/ 748 h 197378"/>
                    <a:gd name="connsiteX7" fmla="*/ 156307 w 201888"/>
                    <a:gd name="connsiteY7" fmla="*/ 35965 h 197378"/>
                    <a:gd name="connsiteX8" fmla="*/ 191524 w 201888"/>
                    <a:gd name="connsiteY8" fmla="*/ 79987 h 197378"/>
                    <a:gd name="connsiteX9" fmla="*/ 185655 w 201888"/>
                    <a:gd name="connsiteY9" fmla="*/ 132813 h 197378"/>
                    <a:gd name="connsiteX10" fmla="*/ 170981 w 201888"/>
                    <a:gd name="connsiteY10" fmla="*/ 170965 h 197378"/>
                    <a:gd name="connsiteX11" fmla="*/ 144568 w 201888"/>
                    <a:gd name="connsiteY11" fmla="*/ 179769 h 197378"/>
                    <a:gd name="connsiteX12" fmla="*/ 138699 w 201888"/>
                    <a:gd name="connsiteY12" fmla="*/ 179769 h 197378"/>
                    <a:gd name="connsiteX13" fmla="*/ 138699 w 201888"/>
                    <a:gd name="connsiteY13" fmla="*/ 179769 h 197378"/>
                    <a:gd name="connsiteX14" fmla="*/ 109351 w 201888"/>
                    <a:gd name="connsiteY14" fmla="*/ 197378 h 197378"/>
                    <a:gd name="connsiteX15" fmla="*/ 77068 w 201888"/>
                    <a:gd name="connsiteY15" fmla="*/ 185639 h 197378"/>
                    <a:gd name="connsiteX16" fmla="*/ 53590 w 201888"/>
                    <a:gd name="connsiteY16" fmla="*/ 182704 h 197378"/>
                    <a:gd name="connsiteX17" fmla="*/ 30111 w 201888"/>
                    <a:gd name="connsiteY17" fmla="*/ 159226 h 197378"/>
                    <a:gd name="connsiteX18" fmla="*/ 27176 w 201888"/>
                    <a:gd name="connsiteY18" fmla="*/ 144552 h 197378"/>
                    <a:gd name="connsiteX19" fmla="*/ 12502 w 201888"/>
                    <a:gd name="connsiteY19" fmla="*/ 126944 h 197378"/>
                    <a:gd name="connsiteX20" fmla="*/ 15437 w 201888"/>
                    <a:gd name="connsiteY20" fmla="*/ 100530 h 197378"/>
                    <a:gd name="connsiteX21" fmla="*/ 12502 w 201888"/>
                    <a:gd name="connsiteY21" fmla="*/ 97596 h 197378"/>
                    <a:gd name="connsiteX22" fmla="*/ 763 w 201888"/>
                    <a:gd name="connsiteY22" fmla="*/ 85856 h 1973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01888" h="197378">
                      <a:moveTo>
                        <a:pt x="763" y="85856"/>
                      </a:moveTo>
                      <a:cubicBezTo>
                        <a:pt x="-2171" y="74118"/>
                        <a:pt x="3698" y="62378"/>
                        <a:pt x="12502" y="56509"/>
                      </a:cubicBezTo>
                      <a:cubicBezTo>
                        <a:pt x="15437" y="53574"/>
                        <a:pt x="21307" y="50639"/>
                        <a:pt x="24242" y="47704"/>
                      </a:cubicBezTo>
                      <a:cubicBezTo>
                        <a:pt x="24242" y="38900"/>
                        <a:pt x="27176" y="30096"/>
                        <a:pt x="38916" y="21291"/>
                      </a:cubicBezTo>
                      <a:cubicBezTo>
                        <a:pt x="47720" y="15422"/>
                        <a:pt x="53590" y="15422"/>
                        <a:pt x="62394" y="15422"/>
                      </a:cubicBezTo>
                      <a:cubicBezTo>
                        <a:pt x="65329" y="15422"/>
                        <a:pt x="71198" y="15422"/>
                        <a:pt x="77068" y="15422"/>
                      </a:cubicBezTo>
                      <a:cubicBezTo>
                        <a:pt x="88807" y="3682"/>
                        <a:pt x="103481" y="-2187"/>
                        <a:pt x="121090" y="748"/>
                      </a:cubicBezTo>
                      <a:cubicBezTo>
                        <a:pt x="138699" y="3682"/>
                        <a:pt x="153373" y="18356"/>
                        <a:pt x="156307" y="35965"/>
                      </a:cubicBezTo>
                      <a:cubicBezTo>
                        <a:pt x="182720" y="38900"/>
                        <a:pt x="194459" y="59444"/>
                        <a:pt x="191524" y="79987"/>
                      </a:cubicBezTo>
                      <a:cubicBezTo>
                        <a:pt x="206198" y="94661"/>
                        <a:pt x="206198" y="124009"/>
                        <a:pt x="185655" y="132813"/>
                      </a:cubicBezTo>
                      <a:cubicBezTo>
                        <a:pt x="185655" y="147487"/>
                        <a:pt x="182720" y="162161"/>
                        <a:pt x="170981" y="170965"/>
                      </a:cubicBezTo>
                      <a:cubicBezTo>
                        <a:pt x="162177" y="176835"/>
                        <a:pt x="153373" y="179769"/>
                        <a:pt x="144568" y="179769"/>
                      </a:cubicBezTo>
                      <a:cubicBezTo>
                        <a:pt x="141634" y="179769"/>
                        <a:pt x="141634" y="179769"/>
                        <a:pt x="138699" y="179769"/>
                      </a:cubicBezTo>
                      <a:cubicBezTo>
                        <a:pt x="138699" y="179769"/>
                        <a:pt x="138699" y="179769"/>
                        <a:pt x="138699" y="179769"/>
                      </a:cubicBezTo>
                      <a:cubicBezTo>
                        <a:pt x="132829" y="188574"/>
                        <a:pt x="121090" y="197378"/>
                        <a:pt x="109351" y="197378"/>
                      </a:cubicBezTo>
                      <a:cubicBezTo>
                        <a:pt x="97612" y="197378"/>
                        <a:pt x="85872" y="194443"/>
                        <a:pt x="77068" y="185639"/>
                      </a:cubicBezTo>
                      <a:cubicBezTo>
                        <a:pt x="68264" y="188574"/>
                        <a:pt x="62394" y="185639"/>
                        <a:pt x="53590" y="182704"/>
                      </a:cubicBezTo>
                      <a:cubicBezTo>
                        <a:pt x="41850" y="179769"/>
                        <a:pt x="33046" y="170965"/>
                        <a:pt x="30111" y="159226"/>
                      </a:cubicBezTo>
                      <a:cubicBezTo>
                        <a:pt x="27176" y="156292"/>
                        <a:pt x="27176" y="150422"/>
                        <a:pt x="27176" y="144552"/>
                      </a:cubicBezTo>
                      <a:cubicBezTo>
                        <a:pt x="21307" y="141618"/>
                        <a:pt x="15437" y="135748"/>
                        <a:pt x="12502" y="126944"/>
                      </a:cubicBezTo>
                      <a:cubicBezTo>
                        <a:pt x="9568" y="115204"/>
                        <a:pt x="9568" y="109335"/>
                        <a:pt x="15437" y="100530"/>
                      </a:cubicBezTo>
                      <a:cubicBezTo>
                        <a:pt x="15437" y="100530"/>
                        <a:pt x="15437" y="97596"/>
                        <a:pt x="12502" y="97596"/>
                      </a:cubicBezTo>
                      <a:cubicBezTo>
                        <a:pt x="3698" y="97596"/>
                        <a:pt x="763" y="91726"/>
                        <a:pt x="763" y="85856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12406759-0E70-4B83-8E1E-7247BF0DA454}"/>
                  </a:ext>
                </a:extLst>
              </p:cNvPr>
              <p:cNvSpPr/>
              <p:nvPr/>
            </p:nvSpPr>
            <p:spPr>
              <a:xfrm>
                <a:off x="13098020" y="7848247"/>
                <a:ext cx="38152" cy="120325"/>
              </a:xfrm>
              <a:custGeom>
                <a:avLst/>
                <a:gdLst>
                  <a:gd name="connsiteX0" fmla="*/ 32283 w 38152"/>
                  <a:gd name="connsiteY0" fmla="*/ 120326 h 120325"/>
                  <a:gd name="connsiteX1" fmla="*/ 26414 w 38152"/>
                  <a:gd name="connsiteY1" fmla="*/ 114456 h 120325"/>
                  <a:gd name="connsiteX2" fmla="*/ 0 w 38152"/>
                  <a:gd name="connsiteY2" fmla="*/ 8804 h 120325"/>
                  <a:gd name="connsiteX3" fmla="*/ 2935 w 38152"/>
                  <a:gd name="connsiteY3" fmla="*/ 0 h 120325"/>
                  <a:gd name="connsiteX4" fmla="*/ 11740 w 38152"/>
                  <a:gd name="connsiteY4" fmla="*/ 2935 h 120325"/>
                  <a:gd name="connsiteX5" fmla="*/ 38153 w 38152"/>
                  <a:gd name="connsiteY5" fmla="*/ 114456 h 120325"/>
                  <a:gd name="connsiteX6" fmla="*/ 32283 w 38152"/>
                  <a:gd name="connsiteY6" fmla="*/ 120326 h 120325"/>
                  <a:gd name="connsiteX7" fmla="*/ 32283 w 38152"/>
                  <a:gd name="connsiteY7" fmla="*/ 120326 h 120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152" h="120325">
                    <a:moveTo>
                      <a:pt x="32283" y="120326"/>
                    </a:moveTo>
                    <a:cubicBezTo>
                      <a:pt x="29348" y="120326"/>
                      <a:pt x="26414" y="117391"/>
                      <a:pt x="26414" y="114456"/>
                    </a:cubicBezTo>
                    <a:cubicBezTo>
                      <a:pt x="26414" y="114456"/>
                      <a:pt x="23479" y="49891"/>
                      <a:pt x="0" y="8804"/>
                    </a:cubicBezTo>
                    <a:cubicBezTo>
                      <a:pt x="0" y="5869"/>
                      <a:pt x="0" y="2935"/>
                      <a:pt x="2935" y="0"/>
                    </a:cubicBezTo>
                    <a:cubicBezTo>
                      <a:pt x="5870" y="0"/>
                      <a:pt x="8805" y="0"/>
                      <a:pt x="11740" y="2935"/>
                    </a:cubicBezTo>
                    <a:cubicBezTo>
                      <a:pt x="35218" y="46956"/>
                      <a:pt x="38153" y="111522"/>
                      <a:pt x="38153" y="114456"/>
                    </a:cubicBezTo>
                    <a:cubicBezTo>
                      <a:pt x="35218" y="117391"/>
                      <a:pt x="35218" y="120326"/>
                      <a:pt x="32283" y="120326"/>
                    </a:cubicBezTo>
                    <a:cubicBezTo>
                      <a:pt x="32283" y="120326"/>
                      <a:pt x="32283" y="120326"/>
                      <a:pt x="32283" y="12032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F96E50BA-7D70-4ADE-980E-3591C371CA44}"/>
                  </a:ext>
                </a:extLst>
              </p:cNvPr>
              <p:cNvSpPr/>
              <p:nvPr/>
            </p:nvSpPr>
            <p:spPr>
              <a:xfrm>
                <a:off x="12569947" y="7863423"/>
                <a:ext cx="585922" cy="149172"/>
              </a:xfrm>
              <a:custGeom>
                <a:avLst/>
                <a:gdLst>
                  <a:gd name="connsiteX0" fmla="*/ 40900 w 585922"/>
                  <a:gd name="connsiteY0" fmla="*/ 2433 h 149172"/>
                  <a:gd name="connsiteX1" fmla="*/ 560356 w 585922"/>
                  <a:gd name="connsiteY1" fmla="*/ 87542 h 149172"/>
                  <a:gd name="connsiteX2" fmla="*/ 551552 w 585922"/>
                  <a:gd name="connsiteY2" fmla="*/ 149172 h 149172"/>
                  <a:gd name="connsiteX3" fmla="*/ 17421 w 585922"/>
                  <a:gd name="connsiteY3" fmla="*/ 61129 h 149172"/>
                  <a:gd name="connsiteX4" fmla="*/ 40900 w 585922"/>
                  <a:gd name="connsiteY4" fmla="*/ 2433 h 149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5922" h="149172">
                    <a:moveTo>
                      <a:pt x="40900" y="2433"/>
                    </a:moveTo>
                    <a:cubicBezTo>
                      <a:pt x="205247" y="72868"/>
                      <a:pt x="381334" y="81673"/>
                      <a:pt x="560356" y="87542"/>
                    </a:cubicBezTo>
                    <a:cubicBezTo>
                      <a:pt x="598508" y="87542"/>
                      <a:pt x="592638" y="149172"/>
                      <a:pt x="551552" y="149172"/>
                    </a:cubicBezTo>
                    <a:cubicBezTo>
                      <a:pt x="366660" y="143303"/>
                      <a:pt x="187639" y="134498"/>
                      <a:pt x="17421" y="61129"/>
                    </a:cubicBezTo>
                    <a:cubicBezTo>
                      <a:pt x="-17796" y="43520"/>
                      <a:pt x="5682" y="-12241"/>
                      <a:pt x="40900" y="2433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2" name="图形 1">
              <a:extLst>
                <a:ext uri="{FF2B5EF4-FFF2-40B4-BE49-F238E27FC236}">
                  <a16:creationId xmlns:a16="http://schemas.microsoft.com/office/drawing/2014/main" id="{15E38B76-FF0D-444E-859B-5C1E9577E1E9}"/>
                </a:ext>
              </a:extLst>
            </p:cNvPr>
            <p:cNvGrpSpPr/>
            <p:nvPr/>
          </p:nvGrpSpPr>
          <p:grpSpPr>
            <a:xfrm>
              <a:off x="11504433" y="8398000"/>
              <a:ext cx="1144565" cy="1196443"/>
              <a:chOff x="11504433" y="8398000"/>
              <a:chExt cx="1144565" cy="1196443"/>
            </a:xfrm>
          </p:grpSpPr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49EB1D09-A525-412C-A390-799DDCD9BD4C}"/>
                  </a:ext>
                </a:extLst>
              </p:cNvPr>
              <p:cNvSpPr/>
              <p:nvPr/>
            </p:nvSpPr>
            <p:spPr>
              <a:xfrm>
                <a:off x="11709868" y="8881291"/>
                <a:ext cx="939130" cy="713152"/>
              </a:xfrm>
              <a:custGeom>
                <a:avLst/>
                <a:gdLst>
                  <a:gd name="connsiteX0" fmla="*/ 0 w 939130"/>
                  <a:gd name="connsiteY0" fmla="*/ 0 h 713152"/>
                  <a:gd name="connsiteX1" fmla="*/ 939130 w 939130"/>
                  <a:gd name="connsiteY1" fmla="*/ 0 h 713152"/>
                  <a:gd name="connsiteX2" fmla="*/ 939130 w 939130"/>
                  <a:gd name="connsiteY2" fmla="*/ 713152 h 713152"/>
                  <a:gd name="connsiteX3" fmla="*/ 0 w 939130"/>
                  <a:gd name="connsiteY3" fmla="*/ 713152 h 713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9130" h="713152">
                    <a:moveTo>
                      <a:pt x="0" y="0"/>
                    </a:moveTo>
                    <a:lnTo>
                      <a:pt x="939130" y="0"/>
                    </a:lnTo>
                    <a:lnTo>
                      <a:pt x="939130" y="713152"/>
                    </a:lnTo>
                    <a:lnTo>
                      <a:pt x="0" y="713152"/>
                    </a:lnTo>
                    <a:close/>
                  </a:path>
                </a:pathLst>
              </a:custGeom>
              <a:solidFill>
                <a:srgbClr val="C4544E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6FFB7260-8D34-4F68-AC6F-1678F4F7A280}"/>
                  </a:ext>
                </a:extLst>
              </p:cNvPr>
              <p:cNvSpPr/>
              <p:nvPr/>
            </p:nvSpPr>
            <p:spPr>
              <a:xfrm>
                <a:off x="11504433" y="8881291"/>
                <a:ext cx="939130" cy="713152"/>
              </a:xfrm>
              <a:custGeom>
                <a:avLst/>
                <a:gdLst>
                  <a:gd name="connsiteX0" fmla="*/ 0 w 939130"/>
                  <a:gd name="connsiteY0" fmla="*/ 0 h 713152"/>
                  <a:gd name="connsiteX1" fmla="*/ 939130 w 939130"/>
                  <a:gd name="connsiteY1" fmla="*/ 0 h 713152"/>
                  <a:gd name="connsiteX2" fmla="*/ 939130 w 939130"/>
                  <a:gd name="connsiteY2" fmla="*/ 713152 h 713152"/>
                  <a:gd name="connsiteX3" fmla="*/ 0 w 939130"/>
                  <a:gd name="connsiteY3" fmla="*/ 713152 h 713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9130" h="713152">
                    <a:moveTo>
                      <a:pt x="0" y="0"/>
                    </a:moveTo>
                    <a:lnTo>
                      <a:pt x="939130" y="0"/>
                    </a:lnTo>
                    <a:lnTo>
                      <a:pt x="939130" y="713152"/>
                    </a:lnTo>
                    <a:lnTo>
                      <a:pt x="0" y="713152"/>
                    </a:lnTo>
                    <a:close/>
                  </a:path>
                </a:pathLst>
              </a:custGeom>
              <a:solidFill>
                <a:srgbClr val="D16156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6EA6FF15-0DC5-4D27-846D-DB318F82CACA}"/>
                  </a:ext>
                </a:extLst>
              </p:cNvPr>
              <p:cNvSpPr/>
              <p:nvPr/>
            </p:nvSpPr>
            <p:spPr>
              <a:xfrm>
                <a:off x="11909433" y="8881291"/>
                <a:ext cx="129130" cy="713152"/>
              </a:xfrm>
              <a:custGeom>
                <a:avLst/>
                <a:gdLst>
                  <a:gd name="connsiteX0" fmla="*/ 0 w 129130"/>
                  <a:gd name="connsiteY0" fmla="*/ 0 h 713152"/>
                  <a:gd name="connsiteX1" fmla="*/ 129130 w 129130"/>
                  <a:gd name="connsiteY1" fmla="*/ 0 h 713152"/>
                  <a:gd name="connsiteX2" fmla="*/ 129130 w 129130"/>
                  <a:gd name="connsiteY2" fmla="*/ 713152 h 713152"/>
                  <a:gd name="connsiteX3" fmla="*/ 0 w 129130"/>
                  <a:gd name="connsiteY3" fmla="*/ 713152 h 713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130" h="713152">
                    <a:moveTo>
                      <a:pt x="0" y="0"/>
                    </a:moveTo>
                    <a:lnTo>
                      <a:pt x="129130" y="0"/>
                    </a:lnTo>
                    <a:lnTo>
                      <a:pt x="129130" y="713152"/>
                    </a:lnTo>
                    <a:lnTo>
                      <a:pt x="0" y="713152"/>
                    </a:ln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8490A193-66F0-4D39-BCCA-82AA6D1FB360}"/>
                  </a:ext>
                </a:extLst>
              </p:cNvPr>
              <p:cNvSpPr/>
              <p:nvPr/>
            </p:nvSpPr>
            <p:spPr>
              <a:xfrm>
                <a:off x="11759681" y="8398000"/>
                <a:ext cx="709680" cy="529345"/>
              </a:xfrm>
              <a:custGeom>
                <a:avLst/>
                <a:gdLst>
                  <a:gd name="connsiteX0" fmla="*/ 692687 w 709680"/>
                  <a:gd name="connsiteY0" fmla="*/ 136986 h 529345"/>
                  <a:gd name="connsiteX1" fmla="*/ 437361 w 709680"/>
                  <a:gd name="connsiteY1" fmla="*/ 142856 h 529345"/>
                  <a:gd name="connsiteX2" fmla="*/ 319970 w 709680"/>
                  <a:gd name="connsiteY2" fmla="*/ 286661 h 529345"/>
                  <a:gd name="connsiteX3" fmla="*/ 311165 w 709680"/>
                  <a:gd name="connsiteY3" fmla="*/ 201552 h 529345"/>
                  <a:gd name="connsiteX4" fmla="*/ 158557 w 709680"/>
                  <a:gd name="connsiteY4" fmla="*/ 1987 h 529345"/>
                  <a:gd name="connsiteX5" fmla="*/ 79 w 709680"/>
                  <a:gd name="connsiteY5" fmla="*/ 222095 h 529345"/>
                  <a:gd name="connsiteX6" fmla="*/ 179100 w 709680"/>
                  <a:gd name="connsiteY6" fmla="*/ 497965 h 529345"/>
                  <a:gd name="connsiteX7" fmla="*/ 223122 w 709680"/>
                  <a:gd name="connsiteY7" fmla="*/ 524378 h 529345"/>
                  <a:gd name="connsiteX8" fmla="*/ 240731 w 709680"/>
                  <a:gd name="connsiteY8" fmla="*/ 512639 h 529345"/>
                  <a:gd name="connsiteX9" fmla="*/ 607578 w 709680"/>
                  <a:gd name="connsiteY9" fmla="*/ 374704 h 529345"/>
                  <a:gd name="connsiteX10" fmla="*/ 692687 w 709680"/>
                  <a:gd name="connsiteY10" fmla="*/ 136986 h 529345"/>
                  <a:gd name="connsiteX11" fmla="*/ 504861 w 709680"/>
                  <a:gd name="connsiteY11" fmla="*/ 192748 h 529345"/>
                  <a:gd name="connsiteX12" fmla="*/ 519535 w 709680"/>
                  <a:gd name="connsiteY12" fmla="*/ 295465 h 529345"/>
                  <a:gd name="connsiteX13" fmla="*/ 428557 w 709680"/>
                  <a:gd name="connsiteY13" fmla="*/ 362965 h 529345"/>
                  <a:gd name="connsiteX14" fmla="*/ 302361 w 709680"/>
                  <a:gd name="connsiteY14" fmla="*/ 430465 h 529345"/>
                  <a:gd name="connsiteX15" fmla="*/ 308231 w 709680"/>
                  <a:gd name="connsiteY15" fmla="*/ 409921 h 529345"/>
                  <a:gd name="connsiteX16" fmla="*/ 504861 w 709680"/>
                  <a:gd name="connsiteY16" fmla="*/ 192748 h 529345"/>
                  <a:gd name="connsiteX17" fmla="*/ 143883 w 709680"/>
                  <a:gd name="connsiteY17" fmla="*/ 301334 h 529345"/>
                  <a:gd name="connsiteX18" fmla="*/ 129209 w 709680"/>
                  <a:gd name="connsiteY18" fmla="*/ 136986 h 529345"/>
                  <a:gd name="connsiteX19" fmla="*/ 231927 w 709680"/>
                  <a:gd name="connsiteY19" fmla="*/ 172204 h 529345"/>
                  <a:gd name="connsiteX20" fmla="*/ 214318 w 709680"/>
                  <a:gd name="connsiteY20" fmla="*/ 412856 h 529345"/>
                  <a:gd name="connsiteX21" fmla="*/ 143883 w 709680"/>
                  <a:gd name="connsiteY21" fmla="*/ 301334 h 52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09680" h="529345">
                    <a:moveTo>
                      <a:pt x="692687" y="136986"/>
                    </a:moveTo>
                    <a:cubicBezTo>
                      <a:pt x="636926" y="54812"/>
                      <a:pt x="498992" y="95900"/>
                      <a:pt x="437361" y="142856"/>
                    </a:cubicBezTo>
                    <a:cubicBezTo>
                      <a:pt x="387470" y="181008"/>
                      <a:pt x="352253" y="230899"/>
                      <a:pt x="319970" y="286661"/>
                    </a:cubicBezTo>
                    <a:cubicBezTo>
                      <a:pt x="319970" y="257313"/>
                      <a:pt x="314100" y="227965"/>
                      <a:pt x="311165" y="201552"/>
                    </a:cubicBezTo>
                    <a:cubicBezTo>
                      <a:pt x="299426" y="125248"/>
                      <a:pt x="264209" y="-18557"/>
                      <a:pt x="158557" y="1987"/>
                    </a:cubicBezTo>
                    <a:cubicBezTo>
                      <a:pt x="61709" y="19595"/>
                      <a:pt x="3013" y="134052"/>
                      <a:pt x="79" y="222095"/>
                    </a:cubicBezTo>
                    <a:cubicBezTo>
                      <a:pt x="-2856" y="342421"/>
                      <a:pt x="76383" y="439269"/>
                      <a:pt x="179100" y="497965"/>
                    </a:cubicBezTo>
                    <a:cubicBezTo>
                      <a:pt x="179100" y="518508"/>
                      <a:pt x="202579" y="539052"/>
                      <a:pt x="223122" y="524378"/>
                    </a:cubicBezTo>
                    <a:cubicBezTo>
                      <a:pt x="228992" y="521443"/>
                      <a:pt x="234862" y="515574"/>
                      <a:pt x="240731" y="512639"/>
                    </a:cubicBezTo>
                    <a:cubicBezTo>
                      <a:pt x="363992" y="480356"/>
                      <a:pt x="504861" y="459813"/>
                      <a:pt x="607578" y="374704"/>
                    </a:cubicBezTo>
                    <a:cubicBezTo>
                      <a:pt x="663339" y="324813"/>
                      <a:pt x="745514" y="213291"/>
                      <a:pt x="692687" y="136986"/>
                    </a:cubicBezTo>
                    <a:close/>
                    <a:moveTo>
                      <a:pt x="504861" y="192748"/>
                    </a:moveTo>
                    <a:cubicBezTo>
                      <a:pt x="537144" y="201552"/>
                      <a:pt x="554753" y="251443"/>
                      <a:pt x="519535" y="295465"/>
                    </a:cubicBezTo>
                    <a:cubicBezTo>
                      <a:pt x="498992" y="321878"/>
                      <a:pt x="457904" y="342421"/>
                      <a:pt x="428557" y="362965"/>
                    </a:cubicBezTo>
                    <a:cubicBezTo>
                      <a:pt x="387470" y="389378"/>
                      <a:pt x="346383" y="412856"/>
                      <a:pt x="302361" y="430465"/>
                    </a:cubicBezTo>
                    <a:cubicBezTo>
                      <a:pt x="305296" y="424595"/>
                      <a:pt x="308231" y="418726"/>
                      <a:pt x="308231" y="409921"/>
                    </a:cubicBezTo>
                    <a:cubicBezTo>
                      <a:pt x="337579" y="360030"/>
                      <a:pt x="399209" y="210356"/>
                      <a:pt x="504861" y="192748"/>
                    </a:cubicBezTo>
                    <a:close/>
                    <a:moveTo>
                      <a:pt x="143883" y="301334"/>
                    </a:moveTo>
                    <a:cubicBezTo>
                      <a:pt x="120404" y="248508"/>
                      <a:pt x="102796" y="192748"/>
                      <a:pt x="129209" y="136986"/>
                    </a:cubicBezTo>
                    <a:cubicBezTo>
                      <a:pt x="158557" y="72421"/>
                      <a:pt x="217253" y="119378"/>
                      <a:pt x="231927" y="172204"/>
                    </a:cubicBezTo>
                    <a:cubicBezTo>
                      <a:pt x="249535" y="242639"/>
                      <a:pt x="240731" y="336552"/>
                      <a:pt x="214318" y="412856"/>
                    </a:cubicBezTo>
                    <a:cubicBezTo>
                      <a:pt x="184970" y="380574"/>
                      <a:pt x="161492" y="342421"/>
                      <a:pt x="143883" y="301334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FF08DD84-E92D-4EA4-9128-4E0252F8438B}"/>
                  </a:ext>
                </a:extLst>
              </p:cNvPr>
              <p:cNvSpPr/>
              <p:nvPr/>
            </p:nvSpPr>
            <p:spPr>
              <a:xfrm>
                <a:off x="11662911" y="8865973"/>
                <a:ext cx="297962" cy="529351"/>
              </a:xfrm>
              <a:custGeom>
                <a:avLst/>
                <a:gdLst>
                  <a:gd name="connsiteX0" fmla="*/ 246522 w 297962"/>
                  <a:gd name="connsiteY0" fmla="*/ 6514 h 529351"/>
                  <a:gd name="connsiteX1" fmla="*/ 0 w 297962"/>
                  <a:gd name="connsiteY1" fmla="*/ 499557 h 529351"/>
                  <a:gd name="connsiteX2" fmla="*/ 38153 w 297962"/>
                  <a:gd name="connsiteY2" fmla="*/ 528905 h 529351"/>
                  <a:gd name="connsiteX3" fmla="*/ 108587 w 297962"/>
                  <a:gd name="connsiteY3" fmla="*/ 517166 h 529351"/>
                  <a:gd name="connsiteX4" fmla="*/ 129130 w 297962"/>
                  <a:gd name="connsiteY4" fmla="*/ 487818 h 529351"/>
                  <a:gd name="connsiteX5" fmla="*/ 161413 w 297962"/>
                  <a:gd name="connsiteY5" fmla="*/ 244231 h 529351"/>
                  <a:gd name="connsiteX6" fmla="*/ 290543 w 297962"/>
                  <a:gd name="connsiteY6" fmla="*/ 56405 h 529351"/>
                  <a:gd name="connsiteX7" fmla="*/ 293478 w 297962"/>
                  <a:gd name="connsiteY7" fmla="*/ 44666 h 529351"/>
                  <a:gd name="connsiteX8" fmla="*/ 246522 w 297962"/>
                  <a:gd name="connsiteY8" fmla="*/ 6514 h 529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7962" h="529351">
                    <a:moveTo>
                      <a:pt x="246522" y="6514"/>
                    </a:moveTo>
                    <a:cubicBezTo>
                      <a:pt x="96848" y="129774"/>
                      <a:pt x="8805" y="305861"/>
                      <a:pt x="0" y="499557"/>
                    </a:cubicBezTo>
                    <a:cubicBezTo>
                      <a:pt x="0" y="520101"/>
                      <a:pt x="20544" y="531840"/>
                      <a:pt x="38153" y="528905"/>
                    </a:cubicBezTo>
                    <a:cubicBezTo>
                      <a:pt x="61631" y="525970"/>
                      <a:pt x="85109" y="520101"/>
                      <a:pt x="108587" y="517166"/>
                    </a:cubicBezTo>
                    <a:cubicBezTo>
                      <a:pt x="120326" y="514231"/>
                      <a:pt x="132065" y="499557"/>
                      <a:pt x="129130" y="487818"/>
                    </a:cubicBezTo>
                    <a:cubicBezTo>
                      <a:pt x="120326" y="402710"/>
                      <a:pt x="129130" y="320535"/>
                      <a:pt x="161413" y="244231"/>
                    </a:cubicBezTo>
                    <a:cubicBezTo>
                      <a:pt x="202500" y="176731"/>
                      <a:pt x="255326" y="112166"/>
                      <a:pt x="290543" y="56405"/>
                    </a:cubicBezTo>
                    <a:cubicBezTo>
                      <a:pt x="293478" y="53470"/>
                      <a:pt x="293478" y="47601"/>
                      <a:pt x="293478" y="44666"/>
                    </a:cubicBezTo>
                    <a:cubicBezTo>
                      <a:pt x="311087" y="18253"/>
                      <a:pt x="272935" y="-14030"/>
                      <a:pt x="246522" y="6514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58FD7EC9-D40B-4BD2-8B58-DADCE621560D}"/>
                  </a:ext>
                </a:extLst>
              </p:cNvPr>
              <p:cNvSpPr/>
              <p:nvPr/>
            </p:nvSpPr>
            <p:spPr>
              <a:xfrm>
                <a:off x="12000117" y="8880454"/>
                <a:ext cx="169180" cy="355600"/>
              </a:xfrm>
              <a:custGeom>
                <a:avLst/>
                <a:gdLst>
                  <a:gd name="connsiteX0" fmla="*/ 161707 w 169180"/>
                  <a:gd name="connsiteY0" fmla="*/ 218011 h 355600"/>
                  <a:gd name="connsiteX1" fmla="*/ 76599 w 169180"/>
                  <a:gd name="connsiteY1" fmla="*/ 24316 h 355600"/>
                  <a:gd name="connsiteX2" fmla="*/ 64860 w 169180"/>
                  <a:gd name="connsiteY2" fmla="*/ 6707 h 355600"/>
                  <a:gd name="connsiteX3" fmla="*/ 17903 w 169180"/>
                  <a:gd name="connsiteY3" fmla="*/ 21381 h 355600"/>
                  <a:gd name="connsiteX4" fmla="*/ 50186 w 169180"/>
                  <a:gd name="connsiteY4" fmla="*/ 341272 h 355600"/>
                  <a:gd name="connsiteX5" fmla="*/ 100077 w 169180"/>
                  <a:gd name="connsiteY5" fmla="*/ 341272 h 355600"/>
                  <a:gd name="connsiteX6" fmla="*/ 158772 w 169180"/>
                  <a:gd name="connsiteY6" fmla="*/ 259098 h 355600"/>
                  <a:gd name="connsiteX7" fmla="*/ 161707 w 169180"/>
                  <a:gd name="connsiteY7" fmla="*/ 218011 h 355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9180" h="355600">
                    <a:moveTo>
                      <a:pt x="161707" y="218011"/>
                    </a:moveTo>
                    <a:cubicBezTo>
                      <a:pt x="100077" y="171055"/>
                      <a:pt x="88338" y="97685"/>
                      <a:pt x="76599" y="24316"/>
                    </a:cubicBezTo>
                    <a:cubicBezTo>
                      <a:pt x="76599" y="15511"/>
                      <a:pt x="70729" y="9642"/>
                      <a:pt x="64860" y="6707"/>
                    </a:cubicBezTo>
                    <a:cubicBezTo>
                      <a:pt x="50186" y="-5032"/>
                      <a:pt x="23773" y="-2098"/>
                      <a:pt x="17903" y="21381"/>
                    </a:cubicBezTo>
                    <a:cubicBezTo>
                      <a:pt x="-14380" y="129968"/>
                      <a:pt x="-2641" y="241489"/>
                      <a:pt x="50186" y="341272"/>
                    </a:cubicBezTo>
                    <a:cubicBezTo>
                      <a:pt x="61925" y="361815"/>
                      <a:pt x="88338" y="358881"/>
                      <a:pt x="100077" y="341272"/>
                    </a:cubicBezTo>
                    <a:cubicBezTo>
                      <a:pt x="117685" y="311924"/>
                      <a:pt x="138229" y="285511"/>
                      <a:pt x="158772" y="259098"/>
                    </a:cubicBezTo>
                    <a:cubicBezTo>
                      <a:pt x="170512" y="250294"/>
                      <a:pt x="173446" y="229750"/>
                      <a:pt x="161707" y="218011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3C8DEF49-80B7-4D13-8511-04B252A4D9CD}"/>
                </a:ext>
              </a:extLst>
            </p:cNvPr>
            <p:cNvSpPr/>
            <p:nvPr/>
          </p:nvSpPr>
          <p:spPr>
            <a:xfrm>
              <a:off x="13271173" y="9045639"/>
              <a:ext cx="297010" cy="682938"/>
            </a:xfrm>
            <a:custGeom>
              <a:avLst/>
              <a:gdLst>
                <a:gd name="connsiteX0" fmla="*/ 0 w 297010"/>
                <a:gd name="connsiteY0" fmla="*/ 26413 h 682938"/>
                <a:gd name="connsiteX1" fmla="*/ 102717 w 297010"/>
                <a:gd name="connsiteY1" fmla="*/ 569348 h 682938"/>
                <a:gd name="connsiteX2" fmla="*/ 252391 w 297010"/>
                <a:gd name="connsiteY2" fmla="*/ 663261 h 682938"/>
                <a:gd name="connsiteX3" fmla="*/ 258261 w 297010"/>
                <a:gd name="connsiteY3" fmla="*/ 0 h 682938"/>
                <a:gd name="connsiteX4" fmla="*/ 0 w 297010"/>
                <a:gd name="connsiteY4" fmla="*/ 26413 h 68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010" h="682938">
                  <a:moveTo>
                    <a:pt x="0" y="26413"/>
                  </a:moveTo>
                  <a:lnTo>
                    <a:pt x="102717" y="569348"/>
                  </a:lnTo>
                  <a:cubicBezTo>
                    <a:pt x="102717" y="569348"/>
                    <a:pt x="155543" y="739565"/>
                    <a:pt x="252391" y="663261"/>
                  </a:cubicBezTo>
                  <a:cubicBezTo>
                    <a:pt x="349239" y="586957"/>
                    <a:pt x="258261" y="0"/>
                    <a:pt x="258261" y="0"/>
                  </a:cubicBezTo>
                  <a:lnTo>
                    <a:pt x="0" y="26413"/>
                  </a:ln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1C7CD72A-953E-4A72-9D31-03DA990EA12C}"/>
                </a:ext>
              </a:extLst>
            </p:cNvPr>
            <p:cNvSpPr/>
            <p:nvPr/>
          </p:nvSpPr>
          <p:spPr>
            <a:xfrm>
              <a:off x="13177678" y="8605421"/>
              <a:ext cx="413385" cy="561950"/>
            </a:xfrm>
            <a:custGeom>
              <a:avLst/>
              <a:gdLst>
                <a:gd name="connsiteX0" fmla="*/ 413386 w 413385"/>
                <a:gd name="connsiteY0" fmla="*/ 493043 h 561950"/>
                <a:gd name="connsiteX1" fmla="*/ 114037 w 413385"/>
                <a:gd name="connsiteY1" fmla="*/ 0 h 561950"/>
                <a:gd name="connsiteX2" fmla="*/ 11320 w 413385"/>
                <a:gd name="connsiteY2" fmla="*/ 557609 h 561950"/>
                <a:gd name="connsiteX3" fmla="*/ 413386 w 413385"/>
                <a:gd name="connsiteY3" fmla="*/ 493043 h 5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3385" h="561950">
                  <a:moveTo>
                    <a:pt x="413386" y="493043"/>
                  </a:moveTo>
                  <a:cubicBezTo>
                    <a:pt x="413386" y="493043"/>
                    <a:pt x="254907" y="0"/>
                    <a:pt x="114037" y="0"/>
                  </a:cubicBezTo>
                  <a:cubicBezTo>
                    <a:pt x="-50311" y="0"/>
                    <a:pt x="11320" y="557609"/>
                    <a:pt x="11320" y="557609"/>
                  </a:cubicBezTo>
                  <a:cubicBezTo>
                    <a:pt x="11320" y="557609"/>
                    <a:pt x="231429" y="586957"/>
                    <a:pt x="413386" y="493043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C1998686-F361-487B-A82A-77C01A7A8F8B}"/>
                </a:ext>
              </a:extLst>
            </p:cNvPr>
            <p:cNvSpPr/>
            <p:nvPr/>
          </p:nvSpPr>
          <p:spPr>
            <a:xfrm>
              <a:off x="13176660" y="8596617"/>
              <a:ext cx="117990" cy="551739"/>
            </a:xfrm>
            <a:custGeom>
              <a:avLst/>
              <a:gdLst>
                <a:gd name="connsiteX0" fmla="*/ 12338 w 117990"/>
                <a:gd name="connsiteY0" fmla="*/ 551739 h 551739"/>
                <a:gd name="connsiteX1" fmla="*/ 6469 w 117990"/>
                <a:gd name="connsiteY1" fmla="*/ 545869 h 551739"/>
                <a:gd name="connsiteX2" fmla="*/ 599 w 117990"/>
                <a:gd name="connsiteY2" fmla="*/ 217174 h 551739"/>
                <a:gd name="connsiteX3" fmla="*/ 112120 w 117990"/>
                <a:gd name="connsiteY3" fmla="*/ 0 h 551739"/>
                <a:gd name="connsiteX4" fmla="*/ 117990 w 117990"/>
                <a:gd name="connsiteY4" fmla="*/ 2935 h 551739"/>
                <a:gd name="connsiteX5" fmla="*/ 115055 w 117990"/>
                <a:gd name="connsiteY5" fmla="*/ 8804 h 551739"/>
                <a:gd name="connsiteX6" fmla="*/ 9403 w 117990"/>
                <a:gd name="connsiteY6" fmla="*/ 214239 h 551739"/>
                <a:gd name="connsiteX7" fmla="*/ 15273 w 117990"/>
                <a:gd name="connsiteY7" fmla="*/ 542935 h 551739"/>
                <a:gd name="connsiteX8" fmla="*/ 12338 w 117990"/>
                <a:gd name="connsiteY8" fmla="*/ 551739 h 551739"/>
                <a:gd name="connsiteX9" fmla="*/ 12338 w 117990"/>
                <a:gd name="connsiteY9" fmla="*/ 551739 h 551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990" h="551739">
                  <a:moveTo>
                    <a:pt x="12338" y="551739"/>
                  </a:moveTo>
                  <a:cubicBezTo>
                    <a:pt x="9403" y="551739"/>
                    <a:pt x="6469" y="548804"/>
                    <a:pt x="6469" y="545869"/>
                  </a:cubicBezTo>
                  <a:cubicBezTo>
                    <a:pt x="6469" y="542935"/>
                    <a:pt x="-2336" y="393261"/>
                    <a:pt x="599" y="217174"/>
                  </a:cubicBezTo>
                  <a:cubicBezTo>
                    <a:pt x="3534" y="38152"/>
                    <a:pt x="109186" y="2935"/>
                    <a:pt x="112120" y="0"/>
                  </a:cubicBezTo>
                  <a:cubicBezTo>
                    <a:pt x="115055" y="0"/>
                    <a:pt x="117990" y="0"/>
                    <a:pt x="117990" y="2935"/>
                  </a:cubicBezTo>
                  <a:cubicBezTo>
                    <a:pt x="117990" y="5869"/>
                    <a:pt x="117990" y="8804"/>
                    <a:pt x="115055" y="8804"/>
                  </a:cubicBezTo>
                  <a:cubicBezTo>
                    <a:pt x="115055" y="8804"/>
                    <a:pt x="15273" y="44022"/>
                    <a:pt x="9403" y="214239"/>
                  </a:cubicBezTo>
                  <a:cubicBezTo>
                    <a:pt x="6469" y="390326"/>
                    <a:pt x="15273" y="540000"/>
                    <a:pt x="15273" y="542935"/>
                  </a:cubicBezTo>
                  <a:cubicBezTo>
                    <a:pt x="18208" y="551739"/>
                    <a:pt x="15273" y="551739"/>
                    <a:pt x="12338" y="551739"/>
                  </a:cubicBezTo>
                  <a:cubicBezTo>
                    <a:pt x="12338" y="551739"/>
                    <a:pt x="12338" y="551739"/>
                    <a:pt x="12338" y="551739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2A21D5A8-5C9C-48DF-A3CD-57FEEE139DEC}"/>
                </a:ext>
              </a:extLst>
            </p:cNvPr>
            <p:cNvSpPr/>
            <p:nvPr/>
          </p:nvSpPr>
          <p:spPr>
            <a:xfrm>
              <a:off x="12686511" y="9480639"/>
              <a:ext cx="861852" cy="251312"/>
            </a:xfrm>
            <a:custGeom>
              <a:avLst/>
              <a:gdLst>
                <a:gd name="connsiteX0" fmla="*/ 76943 w 861852"/>
                <a:gd name="connsiteY0" fmla="*/ 143152 h 251312"/>
                <a:gd name="connsiteX1" fmla="*/ 807704 w 861852"/>
                <a:gd name="connsiteY1" fmla="*/ 242935 h 251312"/>
                <a:gd name="connsiteX2" fmla="*/ 781291 w 861852"/>
                <a:gd name="connsiteY2" fmla="*/ 16956 h 251312"/>
                <a:gd name="connsiteX3" fmla="*/ 639 w 861852"/>
                <a:gd name="connsiteY3" fmla="*/ 16956 h 251312"/>
                <a:gd name="connsiteX4" fmla="*/ 76943 w 861852"/>
                <a:gd name="connsiteY4" fmla="*/ 143152 h 251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1852" h="251312">
                  <a:moveTo>
                    <a:pt x="76943" y="143152"/>
                  </a:moveTo>
                  <a:cubicBezTo>
                    <a:pt x="76943" y="143152"/>
                    <a:pt x="734334" y="286957"/>
                    <a:pt x="807704" y="242935"/>
                  </a:cubicBezTo>
                  <a:cubicBezTo>
                    <a:pt x="881074" y="201847"/>
                    <a:pt x="886944" y="55108"/>
                    <a:pt x="781291" y="16956"/>
                  </a:cubicBezTo>
                  <a:cubicBezTo>
                    <a:pt x="672705" y="-21195"/>
                    <a:pt x="9444" y="16956"/>
                    <a:pt x="639" y="16956"/>
                  </a:cubicBezTo>
                  <a:cubicBezTo>
                    <a:pt x="-8165" y="16956"/>
                    <a:pt x="76943" y="143152"/>
                    <a:pt x="76943" y="143152"/>
                  </a:cubicBezTo>
                  <a:close/>
                </a:path>
              </a:pathLst>
            </a:custGeom>
            <a:solidFill>
              <a:srgbClr val="F49F84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7" name="图形 1">
              <a:extLst>
                <a:ext uri="{FF2B5EF4-FFF2-40B4-BE49-F238E27FC236}">
                  <a16:creationId xmlns:a16="http://schemas.microsoft.com/office/drawing/2014/main" id="{7CC5F670-684D-4C5C-87C4-53013D997224}"/>
                </a:ext>
              </a:extLst>
            </p:cNvPr>
            <p:cNvGrpSpPr/>
            <p:nvPr/>
          </p:nvGrpSpPr>
          <p:grpSpPr>
            <a:xfrm>
              <a:off x="12446499" y="9441508"/>
              <a:ext cx="347891" cy="206230"/>
              <a:chOff x="12446499" y="9441508"/>
              <a:chExt cx="347891" cy="206230"/>
            </a:xfrm>
          </p:grpSpPr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CFBC9508-AB3F-4DCB-82B1-A2E397274029}"/>
                  </a:ext>
                </a:extLst>
              </p:cNvPr>
              <p:cNvSpPr/>
              <p:nvPr/>
            </p:nvSpPr>
            <p:spPr>
              <a:xfrm>
                <a:off x="12452368" y="9441508"/>
                <a:ext cx="342022" cy="206230"/>
              </a:xfrm>
              <a:custGeom>
                <a:avLst/>
                <a:gdLst>
                  <a:gd name="connsiteX0" fmla="*/ 293478 w 342022"/>
                  <a:gd name="connsiteY0" fmla="*/ 41413 h 206230"/>
                  <a:gd name="connsiteX1" fmla="*/ 211305 w 342022"/>
                  <a:gd name="connsiteY1" fmla="*/ 9130 h 206230"/>
                  <a:gd name="connsiteX2" fmla="*/ 146739 w 342022"/>
                  <a:gd name="connsiteY2" fmla="*/ 326 h 206230"/>
                  <a:gd name="connsiteX3" fmla="*/ 114457 w 342022"/>
                  <a:gd name="connsiteY3" fmla="*/ 23804 h 206230"/>
                  <a:gd name="connsiteX4" fmla="*/ 167283 w 342022"/>
                  <a:gd name="connsiteY4" fmla="*/ 41413 h 206230"/>
                  <a:gd name="connsiteX5" fmla="*/ 202501 w 342022"/>
                  <a:gd name="connsiteY5" fmla="*/ 85435 h 206230"/>
                  <a:gd name="connsiteX6" fmla="*/ 29348 w 342022"/>
                  <a:gd name="connsiteY6" fmla="*/ 50217 h 206230"/>
                  <a:gd name="connsiteX7" fmla="*/ 8805 w 342022"/>
                  <a:gd name="connsiteY7" fmla="*/ 61957 h 206230"/>
                  <a:gd name="connsiteX8" fmla="*/ 14674 w 342022"/>
                  <a:gd name="connsiteY8" fmla="*/ 64891 h 206230"/>
                  <a:gd name="connsiteX9" fmla="*/ 0 w 342022"/>
                  <a:gd name="connsiteY9" fmla="*/ 76631 h 206230"/>
                  <a:gd name="connsiteX10" fmla="*/ 23479 w 342022"/>
                  <a:gd name="connsiteY10" fmla="*/ 105978 h 206230"/>
                  <a:gd name="connsiteX11" fmla="*/ 70436 w 342022"/>
                  <a:gd name="connsiteY11" fmla="*/ 132391 h 206230"/>
                  <a:gd name="connsiteX12" fmla="*/ 29348 w 342022"/>
                  <a:gd name="connsiteY12" fmla="*/ 120652 h 206230"/>
                  <a:gd name="connsiteX13" fmla="*/ 17609 w 342022"/>
                  <a:gd name="connsiteY13" fmla="*/ 135326 h 206230"/>
                  <a:gd name="connsiteX14" fmla="*/ 152609 w 342022"/>
                  <a:gd name="connsiteY14" fmla="*/ 202826 h 206230"/>
                  <a:gd name="connsiteX15" fmla="*/ 325761 w 342022"/>
                  <a:gd name="connsiteY15" fmla="*/ 170543 h 206230"/>
                  <a:gd name="connsiteX16" fmla="*/ 331631 w 342022"/>
                  <a:gd name="connsiteY16" fmla="*/ 158804 h 206230"/>
                  <a:gd name="connsiteX17" fmla="*/ 293478 w 342022"/>
                  <a:gd name="connsiteY17" fmla="*/ 41413 h 206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42022" h="206230">
                    <a:moveTo>
                      <a:pt x="293478" y="41413"/>
                    </a:moveTo>
                    <a:cubicBezTo>
                      <a:pt x="264130" y="32609"/>
                      <a:pt x="237718" y="20869"/>
                      <a:pt x="211305" y="9130"/>
                    </a:cubicBezTo>
                    <a:cubicBezTo>
                      <a:pt x="179022" y="-2609"/>
                      <a:pt x="173153" y="326"/>
                      <a:pt x="146739" y="326"/>
                    </a:cubicBezTo>
                    <a:cubicBezTo>
                      <a:pt x="135000" y="326"/>
                      <a:pt x="114457" y="17935"/>
                      <a:pt x="114457" y="23804"/>
                    </a:cubicBezTo>
                    <a:cubicBezTo>
                      <a:pt x="114457" y="35543"/>
                      <a:pt x="126196" y="44348"/>
                      <a:pt x="167283" y="41413"/>
                    </a:cubicBezTo>
                    <a:cubicBezTo>
                      <a:pt x="184892" y="50217"/>
                      <a:pt x="196631" y="76631"/>
                      <a:pt x="202501" y="85435"/>
                    </a:cubicBezTo>
                    <a:cubicBezTo>
                      <a:pt x="173153" y="120652"/>
                      <a:pt x="44022" y="26739"/>
                      <a:pt x="29348" y="50217"/>
                    </a:cubicBezTo>
                    <a:cubicBezTo>
                      <a:pt x="26414" y="53152"/>
                      <a:pt x="8805" y="59022"/>
                      <a:pt x="8805" y="61957"/>
                    </a:cubicBezTo>
                    <a:cubicBezTo>
                      <a:pt x="8805" y="61957"/>
                      <a:pt x="14674" y="64891"/>
                      <a:pt x="14674" y="64891"/>
                    </a:cubicBezTo>
                    <a:cubicBezTo>
                      <a:pt x="5870" y="64891"/>
                      <a:pt x="0" y="64891"/>
                      <a:pt x="0" y="76631"/>
                    </a:cubicBezTo>
                    <a:cubicBezTo>
                      <a:pt x="0" y="85435"/>
                      <a:pt x="11740" y="97174"/>
                      <a:pt x="23479" y="105978"/>
                    </a:cubicBezTo>
                    <a:cubicBezTo>
                      <a:pt x="35218" y="117717"/>
                      <a:pt x="55762" y="120652"/>
                      <a:pt x="70436" y="132391"/>
                    </a:cubicBezTo>
                    <a:cubicBezTo>
                      <a:pt x="61631" y="132391"/>
                      <a:pt x="35218" y="117717"/>
                      <a:pt x="29348" y="120652"/>
                    </a:cubicBezTo>
                    <a:cubicBezTo>
                      <a:pt x="26414" y="123586"/>
                      <a:pt x="17609" y="129456"/>
                      <a:pt x="17609" y="135326"/>
                    </a:cubicBezTo>
                    <a:cubicBezTo>
                      <a:pt x="17609" y="155869"/>
                      <a:pt x="114457" y="196956"/>
                      <a:pt x="152609" y="202826"/>
                    </a:cubicBezTo>
                    <a:cubicBezTo>
                      <a:pt x="205435" y="214565"/>
                      <a:pt x="278804" y="194022"/>
                      <a:pt x="325761" y="170543"/>
                    </a:cubicBezTo>
                    <a:cubicBezTo>
                      <a:pt x="331631" y="167608"/>
                      <a:pt x="331631" y="161739"/>
                      <a:pt x="331631" y="158804"/>
                    </a:cubicBezTo>
                    <a:cubicBezTo>
                      <a:pt x="349240" y="120652"/>
                      <a:pt x="349240" y="59022"/>
                      <a:pt x="293478" y="4141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6487FFA8-EB1E-430B-A1ED-A3A33A310781}"/>
                  </a:ext>
                </a:extLst>
              </p:cNvPr>
              <p:cNvSpPr/>
              <p:nvPr/>
            </p:nvSpPr>
            <p:spPr>
              <a:xfrm>
                <a:off x="12446499" y="9498413"/>
                <a:ext cx="149674" cy="107769"/>
              </a:xfrm>
              <a:custGeom>
                <a:avLst/>
                <a:gdLst>
                  <a:gd name="connsiteX0" fmla="*/ 117391 w 149674"/>
                  <a:gd name="connsiteY0" fmla="*/ 107770 h 107769"/>
                  <a:gd name="connsiteX1" fmla="*/ 117391 w 149674"/>
                  <a:gd name="connsiteY1" fmla="*/ 107770 h 107769"/>
                  <a:gd name="connsiteX2" fmla="*/ 29348 w 149674"/>
                  <a:gd name="connsiteY2" fmla="*/ 57878 h 107769"/>
                  <a:gd name="connsiteX3" fmla="*/ 0 w 149674"/>
                  <a:gd name="connsiteY3" fmla="*/ 19726 h 107769"/>
                  <a:gd name="connsiteX4" fmla="*/ 8804 w 149674"/>
                  <a:gd name="connsiteY4" fmla="*/ 2117 h 107769"/>
                  <a:gd name="connsiteX5" fmla="*/ 55761 w 149674"/>
                  <a:gd name="connsiteY5" fmla="*/ 25595 h 107769"/>
                  <a:gd name="connsiteX6" fmla="*/ 143804 w 149674"/>
                  <a:gd name="connsiteY6" fmla="*/ 78422 h 107769"/>
                  <a:gd name="connsiteX7" fmla="*/ 149674 w 149674"/>
                  <a:gd name="connsiteY7" fmla="*/ 84291 h 107769"/>
                  <a:gd name="connsiteX8" fmla="*/ 143804 w 149674"/>
                  <a:gd name="connsiteY8" fmla="*/ 90161 h 107769"/>
                  <a:gd name="connsiteX9" fmla="*/ 49891 w 149674"/>
                  <a:gd name="connsiteY9" fmla="*/ 37334 h 107769"/>
                  <a:gd name="connsiteX10" fmla="*/ 14674 w 149674"/>
                  <a:gd name="connsiteY10" fmla="*/ 13856 h 107769"/>
                  <a:gd name="connsiteX11" fmla="*/ 11739 w 149674"/>
                  <a:gd name="connsiteY11" fmla="*/ 22660 h 107769"/>
                  <a:gd name="connsiteX12" fmla="*/ 35217 w 149674"/>
                  <a:gd name="connsiteY12" fmla="*/ 52008 h 107769"/>
                  <a:gd name="connsiteX13" fmla="*/ 117391 w 149674"/>
                  <a:gd name="connsiteY13" fmla="*/ 98965 h 107769"/>
                  <a:gd name="connsiteX14" fmla="*/ 120326 w 149674"/>
                  <a:gd name="connsiteY14" fmla="*/ 104835 h 107769"/>
                  <a:gd name="connsiteX15" fmla="*/ 117391 w 149674"/>
                  <a:gd name="connsiteY15" fmla="*/ 107770 h 107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9674" h="107769">
                    <a:moveTo>
                      <a:pt x="117391" y="107770"/>
                    </a:moveTo>
                    <a:cubicBezTo>
                      <a:pt x="117391" y="107770"/>
                      <a:pt x="117391" y="107770"/>
                      <a:pt x="117391" y="107770"/>
                    </a:cubicBezTo>
                    <a:cubicBezTo>
                      <a:pt x="111521" y="104835"/>
                      <a:pt x="52826" y="75487"/>
                      <a:pt x="29348" y="57878"/>
                    </a:cubicBezTo>
                    <a:cubicBezTo>
                      <a:pt x="11739" y="43204"/>
                      <a:pt x="0" y="31465"/>
                      <a:pt x="0" y="19726"/>
                    </a:cubicBezTo>
                    <a:cubicBezTo>
                      <a:pt x="0" y="13856"/>
                      <a:pt x="2935" y="7986"/>
                      <a:pt x="8804" y="2117"/>
                    </a:cubicBezTo>
                    <a:cubicBezTo>
                      <a:pt x="14674" y="-3753"/>
                      <a:pt x="26413" y="2117"/>
                      <a:pt x="55761" y="25595"/>
                    </a:cubicBezTo>
                    <a:cubicBezTo>
                      <a:pt x="82174" y="46139"/>
                      <a:pt x="120326" y="75487"/>
                      <a:pt x="143804" y="78422"/>
                    </a:cubicBezTo>
                    <a:cubicBezTo>
                      <a:pt x="146739" y="78422"/>
                      <a:pt x="149674" y="81356"/>
                      <a:pt x="149674" y="84291"/>
                    </a:cubicBezTo>
                    <a:cubicBezTo>
                      <a:pt x="149674" y="87226"/>
                      <a:pt x="146739" y="90161"/>
                      <a:pt x="143804" y="90161"/>
                    </a:cubicBezTo>
                    <a:cubicBezTo>
                      <a:pt x="117391" y="87226"/>
                      <a:pt x="79239" y="57878"/>
                      <a:pt x="49891" y="37334"/>
                    </a:cubicBezTo>
                    <a:cubicBezTo>
                      <a:pt x="38152" y="28530"/>
                      <a:pt x="20543" y="16791"/>
                      <a:pt x="14674" y="13856"/>
                    </a:cubicBezTo>
                    <a:cubicBezTo>
                      <a:pt x="11739" y="16791"/>
                      <a:pt x="11739" y="19726"/>
                      <a:pt x="11739" y="22660"/>
                    </a:cubicBezTo>
                    <a:cubicBezTo>
                      <a:pt x="11739" y="31465"/>
                      <a:pt x="23478" y="40269"/>
                      <a:pt x="35217" y="52008"/>
                    </a:cubicBezTo>
                    <a:cubicBezTo>
                      <a:pt x="55761" y="69617"/>
                      <a:pt x="117391" y="98965"/>
                      <a:pt x="117391" y="98965"/>
                    </a:cubicBezTo>
                    <a:cubicBezTo>
                      <a:pt x="120326" y="98965"/>
                      <a:pt x="120326" y="104835"/>
                      <a:pt x="120326" y="104835"/>
                    </a:cubicBezTo>
                    <a:cubicBezTo>
                      <a:pt x="123260" y="107770"/>
                      <a:pt x="120326" y="107770"/>
                      <a:pt x="117391" y="10777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88CA6FAD-7C67-4558-94FD-7CADE6C776CD}"/>
                  </a:ext>
                </a:extLst>
              </p:cNvPr>
              <p:cNvSpPr/>
              <p:nvPr/>
            </p:nvSpPr>
            <p:spPr>
              <a:xfrm>
                <a:off x="12469243" y="9479986"/>
                <a:ext cx="188559" cy="61630"/>
              </a:xfrm>
              <a:custGeom>
                <a:avLst/>
                <a:gdLst>
                  <a:gd name="connsiteX0" fmla="*/ 147473 w 188559"/>
                  <a:gd name="connsiteY0" fmla="*/ 61631 h 61630"/>
                  <a:gd name="connsiteX1" fmla="*/ 141604 w 188559"/>
                  <a:gd name="connsiteY1" fmla="*/ 61631 h 61630"/>
                  <a:gd name="connsiteX2" fmla="*/ 65299 w 188559"/>
                  <a:gd name="connsiteY2" fmla="*/ 29348 h 61630"/>
                  <a:gd name="connsiteX3" fmla="*/ 24213 w 188559"/>
                  <a:gd name="connsiteY3" fmla="*/ 11739 h 61630"/>
                  <a:gd name="connsiteX4" fmla="*/ 9539 w 188559"/>
                  <a:gd name="connsiteY4" fmla="*/ 17609 h 61630"/>
                  <a:gd name="connsiteX5" fmla="*/ 9539 w 188559"/>
                  <a:gd name="connsiteY5" fmla="*/ 26413 h 61630"/>
                  <a:gd name="connsiteX6" fmla="*/ 6604 w 188559"/>
                  <a:gd name="connsiteY6" fmla="*/ 32283 h 61630"/>
                  <a:gd name="connsiteX7" fmla="*/ 734 w 188559"/>
                  <a:gd name="connsiteY7" fmla="*/ 29348 h 61630"/>
                  <a:gd name="connsiteX8" fmla="*/ 3669 w 188559"/>
                  <a:gd name="connsiteY8" fmla="*/ 11739 h 61630"/>
                  <a:gd name="connsiteX9" fmla="*/ 27147 w 188559"/>
                  <a:gd name="connsiteY9" fmla="*/ 0 h 61630"/>
                  <a:gd name="connsiteX10" fmla="*/ 74103 w 188559"/>
                  <a:gd name="connsiteY10" fmla="*/ 17609 h 61630"/>
                  <a:gd name="connsiteX11" fmla="*/ 147473 w 188559"/>
                  <a:gd name="connsiteY11" fmla="*/ 46957 h 61630"/>
                  <a:gd name="connsiteX12" fmla="*/ 182691 w 188559"/>
                  <a:gd name="connsiteY12" fmla="*/ 41087 h 61630"/>
                  <a:gd name="connsiteX13" fmla="*/ 188560 w 188559"/>
                  <a:gd name="connsiteY13" fmla="*/ 44022 h 61630"/>
                  <a:gd name="connsiteX14" fmla="*/ 185626 w 188559"/>
                  <a:gd name="connsiteY14" fmla="*/ 49892 h 61630"/>
                  <a:gd name="connsiteX15" fmla="*/ 147473 w 188559"/>
                  <a:gd name="connsiteY15" fmla="*/ 61631 h 61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88559" h="61630">
                    <a:moveTo>
                      <a:pt x="147473" y="61631"/>
                    </a:moveTo>
                    <a:cubicBezTo>
                      <a:pt x="144538" y="61631"/>
                      <a:pt x="144538" y="61631"/>
                      <a:pt x="141604" y="61631"/>
                    </a:cubicBezTo>
                    <a:cubicBezTo>
                      <a:pt x="109321" y="58696"/>
                      <a:pt x="85842" y="44022"/>
                      <a:pt x="65299" y="29348"/>
                    </a:cubicBezTo>
                    <a:cubicBezTo>
                      <a:pt x="50625" y="20544"/>
                      <a:pt x="35951" y="11739"/>
                      <a:pt x="24213" y="11739"/>
                    </a:cubicBezTo>
                    <a:cubicBezTo>
                      <a:pt x="15408" y="11739"/>
                      <a:pt x="12473" y="14674"/>
                      <a:pt x="9539" y="17609"/>
                    </a:cubicBezTo>
                    <a:cubicBezTo>
                      <a:pt x="6604" y="20544"/>
                      <a:pt x="9539" y="26413"/>
                      <a:pt x="9539" y="26413"/>
                    </a:cubicBezTo>
                    <a:cubicBezTo>
                      <a:pt x="9539" y="29348"/>
                      <a:pt x="9539" y="32283"/>
                      <a:pt x="6604" y="32283"/>
                    </a:cubicBezTo>
                    <a:cubicBezTo>
                      <a:pt x="3669" y="32283"/>
                      <a:pt x="734" y="32283"/>
                      <a:pt x="734" y="29348"/>
                    </a:cubicBezTo>
                    <a:cubicBezTo>
                      <a:pt x="734" y="29348"/>
                      <a:pt x="-2201" y="20544"/>
                      <a:pt x="3669" y="11739"/>
                    </a:cubicBezTo>
                    <a:cubicBezTo>
                      <a:pt x="6604" y="5870"/>
                      <a:pt x="15408" y="2935"/>
                      <a:pt x="27147" y="0"/>
                    </a:cubicBezTo>
                    <a:cubicBezTo>
                      <a:pt x="41821" y="0"/>
                      <a:pt x="56494" y="8805"/>
                      <a:pt x="74103" y="17609"/>
                    </a:cubicBezTo>
                    <a:cubicBezTo>
                      <a:pt x="94647" y="29348"/>
                      <a:pt x="118125" y="44022"/>
                      <a:pt x="147473" y="46957"/>
                    </a:cubicBezTo>
                    <a:cubicBezTo>
                      <a:pt x="162147" y="49892"/>
                      <a:pt x="182691" y="41087"/>
                      <a:pt x="182691" y="41087"/>
                    </a:cubicBezTo>
                    <a:cubicBezTo>
                      <a:pt x="185626" y="41087"/>
                      <a:pt x="188560" y="41087"/>
                      <a:pt x="188560" y="44022"/>
                    </a:cubicBezTo>
                    <a:cubicBezTo>
                      <a:pt x="188560" y="46957"/>
                      <a:pt x="188560" y="49892"/>
                      <a:pt x="185626" y="49892"/>
                    </a:cubicBezTo>
                    <a:cubicBezTo>
                      <a:pt x="182691" y="52827"/>
                      <a:pt x="165082" y="61631"/>
                      <a:pt x="147473" y="61631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B8A80029-5789-4E9F-BBC7-E8409B23794A}"/>
                </a:ext>
              </a:extLst>
            </p:cNvPr>
            <p:cNvSpPr/>
            <p:nvPr/>
          </p:nvSpPr>
          <p:spPr>
            <a:xfrm>
              <a:off x="12742912" y="8505639"/>
              <a:ext cx="117391" cy="96847"/>
            </a:xfrm>
            <a:custGeom>
              <a:avLst/>
              <a:gdLst>
                <a:gd name="connsiteX0" fmla="*/ 0 w 117391"/>
                <a:gd name="connsiteY0" fmla="*/ 0 h 96847"/>
                <a:gd name="connsiteX1" fmla="*/ 117391 w 117391"/>
                <a:gd name="connsiteY1" fmla="*/ 23478 h 96847"/>
                <a:gd name="connsiteX2" fmla="*/ 32282 w 117391"/>
                <a:gd name="connsiteY2" fmla="*/ 96848 h 96847"/>
                <a:gd name="connsiteX3" fmla="*/ 0 w 117391"/>
                <a:gd name="connsiteY3" fmla="*/ 0 h 96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391" h="96847">
                  <a:moveTo>
                    <a:pt x="0" y="0"/>
                  </a:moveTo>
                  <a:cubicBezTo>
                    <a:pt x="0" y="0"/>
                    <a:pt x="70435" y="26413"/>
                    <a:pt x="117391" y="23478"/>
                  </a:cubicBezTo>
                  <a:lnTo>
                    <a:pt x="32282" y="96848"/>
                  </a:lnTo>
                  <a:cubicBezTo>
                    <a:pt x="32282" y="96848"/>
                    <a:pt x="2934" y="44022"/>
                    <a:pt x="0" y="0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55A478E0-828C-489E-9CE7-90B39CA7A049}"/>
                </a:ext>
              </a:extLst>
            </p:cNvPr>
            <p:cNvSpPr/>
            <p:nvPr/>
          </p:nvSpPr>
          <p:spPr>
            <a:xfrm>
              <a:off x="12860303" y="8505639"/>
              <a:ext cx="158478" cy="90978"/>
            </a:xfrm>
            <a:custGeom>
              <a:avLst/>
              <a:gdLst>
                <a:gd name="connsiteX0" fmla="*/ 158478 w 158478"/>
                <a:gd name="connsiteY0" fmla="*/ 0 h 90978"/>
                <a:gd name="connsiteX1" fmla="*/ 0 w 158478"/>
                <a:gd name="connsiteY1" fmla="*/ 23478 h 90978"/>
                <a:gd name="connsiteX2" fmla="*/ 46956 w 158478"/>
                <a:gd name="connsiteY2" fmla="*/ 90978 h 90978"/>
                <a:gd name="connsiteX3" fmla="*/ 158478 w 158478"/>
                <a:gd name="connsiteY3" fmla="*/ 0 h 90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478" h="90978">
                  <a:moveTo>
                    <a:pt x="158478" y="0"/>
                  </a:moveTo>
                  <a:cubicBezTo>
                    <a:pt x="158478" y="0"/>
                    <a:pt x="44022" y="29348"/>
                    <a:pt x="0" y="23478"/>
                  </a:cubicBezTo>
                  <a:lnTo>
                    <a:pt x="46956" y="90978"/>
                  </a:lnTo>
                  <a:cubicBezTo>
                    <a:pt x="46956" y="90978"/>
                    <a:pt x="146739" y="55761"/>
                    <a:pt x="158478" y="0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4274207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F3A33AF9-07F4-4306-A12B-E352C2087C5D}"/>
              </a:ext>
            </a:extLst>
          </p:cNvPr>
          <p:cNvGrpSpPr/>
          <p:nvPr/>
        </p:nvGrpSpPr>
        <p:grpSpPr>
          <a:xfrm>
            <a:off x="2504902" y="2457860"/>
            <a:ext cx="2935934" cy="4400140"/>
            <a:chOff x="8160565" y="7998947"/>
            <a:chExt cx="2935934" cy="4400140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FBC45461-D380-4381-A56D-8AFB26372814}"/>
                </a:ext>
              </a:extLst>
            </p:cNvPr>
            <p:cNvSpPr/>
            <p:nvPr/>
          </p:nvSpPr>
          <p:spPr>
            <a:xfrm>
              <a:off x="9593608" y="8118809"/>
              <a:ext cx="540889" cy="727383"/>
            </a:xfrm>
            <a:custGeom>
              <a:avLst/>
              <a:gdLst>
                <a:gd name="connsiteX0" fmla="*/ 73651 w 540889"/>
                <a:gd name="connsiteY0" fmla="*/ 568786 h 727383"/>
                <a:gd name="connsiteX1" fmla="*/ 167564 w 540889"/>
                <a:gd name="connsiteY1" fmla="*/ 718460 h 727383"/>
                <a:gd name="connsiteX2" fmla="*/ 258542 w 540889"/>
                <a:gd name="connsiteY2" fmla="*/ 724330 h 727383"/>
                <a:gd name="connsiteX3" fmla="*/ 328977 w 540889"/>
                <a:gd name="connsiteY3" fmla="*/ 683243 h 727383"/>
                <a:gd name="connsiteX4" fmla="*/ 525607 w 540889"/>
                <a:gd name="connsiteY4" fmla="*/ 650960 h 727383"/>
                <a:gd name="connsiteX5" fmla="*/ 487455 w 540889"/>
                <a:gd name="connsiteY5" fmla="*/ 533569 h 727383"/>
                <a:gd name="connsiteX6" fmla="*/ 434629 w 540889"/>
                <a:gd name="connsiteY6" fmla="*/ 501286 h 727383"/>
                <a:gd name="connsiteX7" fmla="*/ 411151 w 540889"/>
                <a:gd name="connsiteY7" fmla="*/ 430851 h 727383"/>
                <a:gd name="connsiteX8" fmla="*/ 408216 w 540889"/>
                <a:gd name="connsiteY8" fmla="*/ 345743 h 727383"/>
                <a:gd name="connsiteX9" fmla="*/ 355390 w 540889"/>
                <a:gd name="connsiteY9" fmla="*/ 281178 h 727383"/>
                <a:gd name="connsiteX10" fmla="*/ 308433 w 540889"/>
                <a:gd name="connsiteY10" fmla="*/ 228352 h 727383"/>
                <a:gd name="connsiteX11" fmla="*/ 305498 w 540889"/>
                <a:gd name="connsiteY11" fmla="*/ 172590 h 727383"/>
                <a:gd name="connsiteX12" fmla="*/ 281 w 540889"/>
                <a:gd name="connsiteY12" fmla="*/ 11177 h 727383"/>
                <a:gd name="connsiteX13" fmla="*/ 38433 w 540889"/>
                <a:gd name="connsiteY13" fmla="*/ 154982 h 727383"/>
                <a:gd name="connsiteX14" fmla="*/ 85390 w 540889"/>
                <a:gd name="connsiteY14" fmla="*/ 292917 h 727383"/>
                <a:gd name="connsiteX15" fmla="*/ 85390 w 540889"/>
                <a:gd name="connsiteY15" fmla="*/ 448460 h 727383"/>
                <a:gd name="connsiteX16" fmla="*/ 73651 w 540889"/>
                <a:gd name="connsiteY16" fmla="*/ 568786 h 727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0889" h="727383">
                  <a:moveTo>
                    <a:pt x="73651" y="568786"/>
                  </a:moveTo>
                  <a:cubicBezTo>
                    <a:pt x="82455" y="618678"/>
                    <a:pt x="114738" y="700851"/>
                    <a:pt x="167564" y="718460"/>
                  </a:cubicBezTo>
                  <a:cubicBezTo>
                    <a:pt x="193977" y="727265"/>
                    <a:pt x="232129" y="730199"/>
                    <a:pt x="258542" y="724330"/>
                  </a:cubicBezTo>
                  <a:cubicBezTo>
                    <a:pt x="287890" y="718460"/>
                    <a:pt x="305498" y="700851"/>
                    <a:pt x="328977" y="683243"/>
                  </a:cubicBezTo>
                  <a:cubicBezTo>
                    <a:pt x="387673" y="645091"/>
                    <a:pt x="472781" y="706721"/>
                    <a:pt x="525607" y="650960"/>
                  </a:cubicBezTo>
                  <a:cubicBezTo>
                    <a:pt x="563760" y="609873"/>
                    <a:pt x="522673" y="557047"/>
                    <a:pt x="487455" y="533569"/>
                  </a:cubicBezTo>
                  <a:cubicBezTo>
                    <a:pt x="469846" y="521830"/>
                    <a:pt x="449303" y="515960"/>
                    <a:pt x="434629" y="501286"/>
                  </a:cubicBezTo>
                  <a:cubicBezTo>
                    <a:pt x="408216" y="480743"/>
                    <a:pt x="405282" y="460199"/>
                    <a:pt x="411151" y="430851"/>
                  </a:cubicBezTo>
                  <a:cubicBezTo>
                    <a:pt x="417021" y="401504"/>
                    <a:pt x="419956" y="375091"/>
                    <a:pt x="408216" y="345743"/>
                  </a:cubicBezTo>
                  <a:cubicBezTo>
                    <a:pt x="396477" y="319330"/>
                    <a:pt x="378868" y="298786"/>
                    <a:pt x="355390" y="281178"/>
                  </a:cubicBezTo>
                  <a:cubicBezTo>
                    <a:pt x="331912" y="266504"/>
                    <a:pt x="314303" y="254764"/>
                    <a:pt x="308433" y="228352"/>
                  </a:cubicBezTo>
                  <a:cubicBezTo>
                    <a:pt x="302564" y="210743"/>
                    <a:pt x="305498" y="190199"/>
                    <a:pt x="305498" y="172590"/>
                  </a:cubicBezTo>
                  <a:cubicBezTo>
                    <a:pt x="302564" y="46395"/>
                    <a:pt x="108868" y="-29909"/>
                    <a:pt x="281" y="11177"/>
                  </a:cubicBezTo>
                  <a:cubicBezTo>
                    <a:pt x="-2653" y="11177"/>
                    <a:pt x="17890" y="108025"/>
                    <a:pt x="38433" y="154982"/>
                  </a:cubicBezTo>
                  <a:cubicBezTo>
                    <a:pt x="58977" y="199004"/>
                    <a:pt x="76586" y="245960"/>
                    <a:pt x="85390" y="292917"/>
                  </a:cubicBezTo>
                  <a:cubicBezTo>
                    <a:pt x="94195" y="342808"/>
                    <a:pt x="91260" y="395634"/>
                    <a:pt x="85390" y="448460"/>
                  </a:cubicBezTo>
                  <a:cubicBezTo>
                    <a:pt x="73651" y="486613"/>
                    <a:pt x="64847" y="527699"/>
                    <a:pt x="73651" y="568786"/>
                  </a:cubicBez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86686176-5D40-44CD-9DAA-D44FC7B7FCD3}"/>
                </a:ext>
              </a:extLst>
            </p:cNvPr>
            <p:cNvSpPr/>
            <p:nvPr/>
          </p:nvSpPr>
          <p:spPr>
            <a:xfrm>
              <a:off x="9343842" y="8421710"/>
              <a:ext cx="267201" cy="426323"/>
            </a:xfrm>
            <a:custGeom>
              <a:avLst/>
              <a:gdLst>
                <a:gd name="connsiteX0" fmla="*/ 15265 w 267201"/>
                <a:gd name="connsiteY0" fmla="*/ 406755 h 426323"/>
                <a:gd name="connsiteX1" fmla="*/ 56352 w 267201"/>
                <a:gd name="connsiteY1" fmla="*/ 424364 h 426323"/>
                <a:gd name="connsiteX2" fmla="*/ 150265 w 267201"/>
                <a:gd name="connsiteY2" fmla="*/ 421429 h 426323"/>
                <a:gd name="connsiteX3" fmla="*/ 261787 w 267201"/>
                <a:gd name="connsiteY3" fmla="*/ 304038 h 426323"/>
                <a:gd name="connsiteX4" fmla="*/ 185482 w 267201"/>
                <a:gd name="connsiteY4" fmla="*/ 154364 h 426323"/>
                <a:gd name="connsiteX5" fmla="*/ 147330 w 267201"/>
                <a:gd name="connsiteY5" fmla="*/ 86864 h 426323"/>
                <a:gd name="connsiteX6" fmla="*/ 97439 w 267201"/>
                <a:gd name="connsiteY6" fmla="*/ 22299 h 426323"/>
                <a:gd name="connsiteX7" fmla="*/ 100374 w 267201"/>
                <a:gd name="connsiteY7" fmla="*/ 10559 h 426323"/>
                <a:gd name="connsiteX8" fmla="*/ 91569 w 267201"/>
                <a:gd name="connsiteY8" fmla="*/ 1755 h 426323"/>
                <a:gd name="connsiteX9" fmla="*/ 79830 w 267201"/>
                <a:gd name="connsiteY9" fmla="*/ 7625 h 426323"/>
                <a:gd name="connsiteX10" fmla="*/ 82765 w 267201"/>
                <a:gd name="connsiteY10" fmla="*/ 19364 h 426323"/>
                <a:gd name="connsiteX11" fmla="*/ 50483 w 267201"/>
                <a:gd name="connsiteY11" fmla="*/ 186646 h 426323"/>
                <a:gd name="connsiteX12" fmla="*/ 59287 w 267201"/>
                <a:gd name="connsiteY12" fmla="*/ 277625 h 426323"/>
                <a:gd name="connsiteX13" fmla="*/ 9395 w 267201"/>
                <a:gd name="connsiteY13" fmla="*/ 333386 h 426323"/>
                <a:gd name="connsiteX14" fmla="*/ 15265 w 267201"/>
                <a:gd name="connsiteY14" fmla="*/ 406755 h 426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7201" h="426323">
                  <a:moveTo>
                    <a:pt x="15265" y="406755"/>
                  </a:moveTo>
                  <a:cubicBezTo>
                    <a:pt x="27004" y="418495"/>
                    <a:pt x="38743" y="424364"/>
                    <a:pt x="56352" y="424364"/>
                  </a:cubicBezTo>
                  <a:cubicBezTo>
                    <a:pt x="91569" y="424364"/>
                    <a:pt x="112113" y="409690"/>
                    <a:pt x="150265" y="421429"/>
                  </a:cubicBezTo>
                  <a:cubicBezTo>
                    <a:pt x="229504" y="444907"/>
                    <a:pt x="285265" y="380342"/>
                    <a:pt x="261787" y="304038"/>
                  </a:cubicBezTo>
                  <a:cubicBezTo>
                    <a:pt x="247113" y="251212"/>
                    <a:pt x="206026" y="207190"/>
                    <a:pt x="185482" y="154364"/>
                  </a:cubicBezTo>
                  <a:cubicBezTo>
                    <a:pt x="173743" y="130886"/>
                    <a:pt x="164939" y="107407"/>
                    <a:pt x="147330" y="86864"/>
                  </a:cubicBezTo>
                  <a:cubicBezTo>
                    <a:pt x="129722" y="66321"/>
                    <a:pt x="106243" y="48712"/>
                    <a:pt x="97439" y="22299"/>
                  </a:cubicBezTo>
                  <a:cubicBezTo>
                    <a:pt x="97439" y="19364"/>
                    <a:pt x="100374" y="16429"/>
                    <a:pt x="100374" y="10559"/>
                  </a:cubicBezTo>
                  <a:cubicBezTo>
                    <a:pt x="103308" y="4690"/>
                    <a:pt x="97439" y="1755"/>
                    <a:pt x="91569" y="1755"/>
                  </a:cubicBezTo>
                  <a:cubicBezTo>
                    <a:pt x="85700" y="-1179"/>
                    <a:pt x="76895" y="-1179"/>
                    <a:pt x="79830" y="7625"/>
                  </a:cubicBezTo>
                  <a:cubicBezTo>
                    <a:pt x="79830" y="13494"/>
                    <a:pt x="82765" y="16429"/>
                    <a:pt x="82765" y="19364"/>
                  </a:cubicBezTo>
                  <a:cubicBezTo>
                    <a:pt x="68091" y="72190"/>
                    <a:pt x="44613" y="133820"/>
                    <a:pt x="50483" y="186646"/>
                  </a:cubicBezTo>
                  <a:cubicBezTo>
                    <a:pt x="53417" y="215994"/>
                    <a:pt x="71026" y="248277"/>
                    <a:pt x="59287" y="277625"/>
                  </a:cubicBezTo>
                  <a:cubicBezTo>
                    <a:pt x="50483" y="301103"/>
                    <a:pt x="24069" y="312842"/>
                    <a:pt x="9395" y="333386"/>
                  </a:cubicBezTo>
                  <a:cubicBezTo>
                    <a:pt x="-5279" y="356864"/>
                    <a:pt x="-2344" y="386212"/>
                    <a:pt x="15265" y="406755"/>
                  </a:cubicBez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31EEA2B6-32B7-46B2-BFF0-221F24135362}"/>
                </a:ext>
              </a:extLst>
            </p:cNvPr>
            <p:cNvSpPr/>
            <p:nvPr/>
          </p:nvSpPr>
          <p:spPr>
            <a:xfrm>
              <a:off x="9946913" y="8991383"/>
              <a:ext cx="906030" cy="402633"/>
            </a:xfrm>
            <a:custGeom>
              <a:avLst/>
              <a:gdLst>
                <a:gd name="connsiteX0" fmla="*/ 157629 w 906030"/>
                <a:gd name="connsiteY0" fmla="*/ 1429 h 402633"/>
                <a:gd name="connsiteX1" fmla="*/ 515672 w 906030"/>
                <a:gd name="connsiteY1" fmla="*/ 206864 h 402633"/>
                <a:gd name="connsiteX2" fmla="*/ 861976 w 906030"/>
                <a:gd name="connsiteY2" fmla="*/ 1429 h 402633"/>
                <a:gd name="connsiteX3" fmla="*/ 905998 w 906030"/>
                <a:gd name="connsiteY3" fmla="*/ 92407 h 402633"/>
                <a:gd name="connsiteX4" fmla="*/ 500999 w 906030"/>
                <a:gd name="connsiteY4" fmla="*/ 400560 h 402633"/>
                <a:gd name="connsiteX5" fmla="*/ 28498 w 906030"/>
                <a:gd name="connsiteY5" fmla="*/ 198060 h 402633"/>
                <a:gd name="connsiteX6" fmla="*/ 157629 w 906030"/>
                <a:gd name="connsiteY6" fmla="*/ 1429 h 402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6030" h="402633">
                  <a:moveTo>
                    <a:pt x="157629" y="1429"/>
                  </a:moveTo>
                  <a:cubicBezTo>
                    <a:pt x="242738" y="10234"/>
                    <a:pt x="515672" y="206864"/>
                    <a:pt x="515672" y="206864"/>
                  </a:cubicBezTo>
                  <a:cubicBezTo>
                    <a:pt x="515672" y="206864"/>
                    <a:pt x="856107" y="-4440"/>
                    <a:pt x="861976" y="1429"/>
                  </a:cubicBezTo>
                  <a:cubicBezTo>
                    <a:pt x="920672" y="36647"/>
                    <a:pt x="885455" y="27842"/>
                    <a:pt x="905998" y="92407"/>
                  </a:cubicBezTo>
                  <a:cubicBezTo>
                    <a:pt x="908933" y="101212"/>
                    <a:pt x="709368" y="341864"/>
                    <a:pt x="500999" y="400560"/>
                  </a:cubicBezTo>
                  <a:cubicBezTo>
                    <a:pt x="439368" y="418168"/>
                    <a:pt x="134151" y="321321"/>
                    <a:pt x="28498" y="198060"/>
                  </a:cubicBezTo>
                  <a:cubicBezTo>
                    <a:pt x="-27262" y="133495"/>
                    <a:pt x="-9653" y="-16180"/>
                    <a:pt x="157629" y="1429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5F410AE7-4C3D-41C8-B9E5-2DA969F422DD}"/>
                </a:ext>
              </a:extLst>
            </p:cNvPr>
            <p:cNvSpPr/>
            <p:nvPr/>
          </p:nvSpPr>
          <p:spPr>
            <a:xfrm>
              <a:off x="10786675" y="8848238"/>
              <a:ext cx="213797" cy="236086"/>
            </a:xfrm>
            <a:custGeom>
              <a:avLst/>
              <a:gdLst>
                <a:gd name="connsiteX0" fmla="*/ 198302 w 213797"/>
                <a:gd name="connsiteY0" fmla="*/ 144574 h 236086"/>
                <a:gd name="connsiteX1" fmla="*/ 210041 w 213797"/>
                <a:gd name="connsiteY1" fmla="*/ 100553 h 236086"/>
                <a:gd name="connsiteX2" fmla="*/ 212975 w 213797"/>
                <a:gd name="connsiteY2" fmla="*/ 68270 h 236086"/>
                <a:gd name="connsiteX3" fmla="*/ 183628 w 213797"/>
                <a:gd name="connsiteY3" fmla="*/ 33052 h 236086"/>
                <a:gd name="connsiteX4" fmla="*/ 160150 w 213797"/>
                <a:gd name="connsiteY4" fmla="*/ 770 h 236086"/>
                <a:gd name="connsiteX5" fmla="*/ 1672 w 213797"/>
                <a:gd name="connsiteY5" fmla="*/ 162183 h 236086"/>
                <a:gd name="connsiteX6" fmla="*/ 69171 w 213797"/>
                <a:gd name="connsiteY6" fmla="*/ 235552 h 236086"/>
                <a:gd name="connsiteX7" fmla="*/ 180694 w 213797"/>
                <a:gd name="connsiteY7" fmla="*/ 176857 h 236086"/>
                <a:gd name="connsiteX8" fmla="*/ 198302 w 213797"/>
                <a:gd name="connsiteY8" fmla="*/ 144574 h 236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797" h="236086">
                  <a:moveTo>
                    <a:pt x="198302" y="144574"/>
                  </a:moveTo>
                  <a:cubicBezTo>
                    <a:pt x="195367" y="135770"/>
                    <a:pt x="207106" y="115226"/>
                    <a:pt x="210041" y="100553"/>
                  </a:cubicBezTo>
                  <a:cubicBezTo>
                    <a:pt x="210041" y="97618"/>
                    <a:pt x="215910" y="80009"/>
                    <a:pt x="212975" y="68270"/>
                  </a:cubicBezTo>
                  <a:cubicBezTo>
                    <a:pt x="210041" y="59465"/>
                    <a:pt x="171889" y="44791"/>
                    <a:pt x="183628" y="33052"/>
                  </a:cubicBezTo>
                  <a:cubicBezTo>
                    <a:pt x="189498" y="24248"/>
                    <a:pt x="168954" y="-5100"/>
                    <a:pt x="160150" y="770"/>
                  </a:cubicBezTo>
                  <a:cubicBezTo>
                    <a:pt x="110258" y="24248"/>
                    <a:pt x="-15937" y="91748"/>
                    <a:pt x="1672" y="162183"/>
                  </a:cubicBezTo>
                  <a:cubicBezTo>
                    <a:pt x="1672" y="162183"/>
                    <a:pt x="42758" y="232618"/>
                    <a:pt x="69171" y="235552"/>
                  </a:cubicBezTo>
                  <a:cubicBezTo>
                    <a:pt x="107324" y="241422"/>
                    <a:pt x="151346" y="197400"/>
                    <a:pt x="180694" y="176857"/>
                  </a:cubicBezTo>
                  <a:cubicBezTo>
                    <a:pt x="195367" y="162183"/>
                    <a:pt x="201236" y="159248"/>
                    <a:pt x="198302" y="144574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87941A41-2210-4E0B-9412-64D002075790}"/>
                </a:ext>
              </a:extLst>
            </p:cNvPr>
            <p:cNvGrpSpPr/>
            <p:nvPr/>
          </p:nvGrpSpPr>
          <p:grpSpPr>
            <a:xfrm>
              <a:off x="10791281" y="8320747"/>
              <a:ext cx="305217" cy="812935"/>
              <a:chOff x="10791281" y="8320747"/>
              <a:chExt cx="305217" cy="812935"/>
            </a:xfrm>
          </p:grpSpPr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FD6DBD7F-AB2A-4A7E-9741-4F8E162AC4B9}"/>
                  </a:ext>
                </a:extLst>
              </p:cNvPr>
              <p:cNvSpPr/>
              <p:nvPr/>
            </p:nvSpPr>
            <p:spPr>
              <a:xfrm rot="-10800000">
                <a:off x="10913309" y="8742358"/>
                <a:ext cx="58695" cy="363913"/>
              </a:xfrm>
              <a:custGeom>
                <a:avLst/>
                <a:gdLst>
                  <a:gd name="connsiteX0" fmla="*/ 0 w 58695"/>
                  <a:gd name="connsiteY0" fmla="*/ 0 h 363913"/>
                  <a:gd name="connsiteX1" fmla="*/ 58695 w 58695"/>
                  <a:gd name="connsiteY1" fmla="*/ 0 h 363913"/>
                  <a:gd name="connsiteX2" fmla="*/ 58695 w 58695"/>
                  <a:gd name="connsiteY2" fmla="*/ 363913 h 363913"/>
                  <a:gd name="connsiteX3" fmla="*/ 0 w 58695"/>
                  <a:gd name="connsiteY3" fmla="*/ 363913 h 363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695" h="363913">
                    <a:moveTo>
                      <a:pt x="0" y="0"/>
                    </a:moveTo>
                    <a:lnTo>
                      <a:pt x="58695" y="0"/>
                    </a:lnTo>
                    <a:lnTo>
                      <a:pt x="58695" y="363913"/>
                    </a:lnTo>
                    <a:lnTo>
                      <a:pt x="0" y="363913"/>
                    </a:ln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B1026351-4E48-4F38-B8FC-7D5849A9766D}"/>
                  </a:ext>
                </a:extLst>
              </p:cNvPr>
              <p:cNvSpPr/>
              <p:nvPr/>
            </p:nvSpPr>
            <p:spPr>
              <a:xfrm>
                <a:off x="10791281" y="9074987"/>
                <a:ext cx="305217" cy="58695"/>
              </a:xfrm>
              <a:custGeom>
                <a:avLst/>
                <a:gdLst>
                  <a:gd name="connsiteX0" fmla="*/ 0 w 305217"/>
                  <a:gd name="connsiteY0" fmla="*/ 29348 h 58695"/>
                  <a:gd name="connsiteX1" fmla="*/ 152608 w 305217"/>
                  <a:gd name="connsiteY1" fmla="*/ 58696 h 58695"/>
                  <a:gd name="connsiteX2" fmla="*/ 305217 w 305217"/>
                  <a:gd name="connsiteY2" fmla="*/ 29348 h 58695"/>
                  <a:gd name="connsiteX3" fmla="*/ 152608 w 305217"/>
                  <a:gd name="connsiteY3" fmla="*/ 0 h 58695"/>
                  <a:gd name="connsiteX4" fmla="*/ 0 w 305217"/>
                  <a:gd name="connsiteY4" fmla="*/ 29348 h 58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5217" h="58695">
                    <a:moveTo>
                      <a:pt x="0" y="29348"/>
                    </a:moveTo>
                    <a:cubicBezTo>
                      <a:pt x="0" y="44022"/>
                      <a:pt x="67500" y="58696"/>
                      <a:pt x="152608" y="58696"/>
                    </a:cubicBezTo>
                    <a:cubicBezTo>
                      <a:pt x="237717" y="58696"/>
                      <a:pt x="305217" y="46956"/>
                      <a:pt x="305217" y="29348"/>
                    </a:cubicBezTo>
                    <a:cubicBezTo>
                      <a:pt x="305217" y="14674"/>
                      <a:pt x="237717" y="0"/>
                      <a:pt x="152608" y="0"/>
                    </a:cubicBezTo>
                    <a:cubicBezTo>
                      <a:pt x="67500" y="2935"/>
                      <a:pt x="0" y="14674"/>
                      <a:pt x="0" y="2934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6F17FBBA-D19D-4711-9B0E-F76CD6B8CA74}"/>
                  </a:ext>
                </a:extLst>
              </p:cNvPr>
              <p:cNvSpPr/>
              <p:nvPr/>
            </p:nvSpPr>
            <p:spPr>
              <a:xfrm>
                <a:off x="10800085" y="8347160"/>
                <a:ext cx="287608" cy="449021"/>
              </a:xfrm>
              <a:custGeom>
                <a:avLst/>
                <a:gdLst>
                  <a:gd name="connsiteX0" fmla="*/ 143804 w 287608"/>
                  <a:gd name="connsiteY0" fmla="*/ 449022 h 449021"/>
                  <a:gd name="connsiteX1" fmla="*/ 143804 w 287608"/>
                  <a:gd name="connsiteY1" fmla="*/ 449022 h 449021"/>
                  <a:gd name="connsiteX2" fmla="*/ 287608 w 287608"/>
                  <a:gd name="connsiteY2" fmla="*/ 305217 h 449021"/>
                  <a:gd name="connsiteX3" fmla="*/ 287608 w 287608"/>
                  <a:gd name="connsiteY3" fmla="*/ 0 h 449021"/>
                  <a:gd name="connsiteX4" fmla="*/ 0 w 287608"/>
                  <a:gd name="connsiteY4" fmla="*/ 0 h 449021"/>
                  <a:gd name="connsiteX5" fmla="*/ 0 w 287608"/>
                  <a:gd name="connsiteY5" fmla="*/ 305217 h 449021"/>
                  <a:gd name="connsiteX6" fmla="*/ 143804 w 287608"/>
                  <a:gd name="connsiteY6" fmla="*/ 449022 h 449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7608" h="449021">
                    <a:moveTo>
                      <a:pt x="143804" y="449022"/>
                    </a:moveTo>
                    <a:lnTo>
                      <a:pt x="143804" y="449022"/>
                    </a:lnTo>
                    <a:cubicBezTo>
                      <a:pt x="223044" y="449022"/>
                      <a:pt x="287608" y="384456"/>
                      <a:pt x="287608" y="305217"/>
                    </a:cubicBezTo>
                    <a:lnTo>
                      <a:pt x="287608" y="0"/>
                    </a:lnTo>
                    <a:lnTo>
                      <a:pt x="0" y="0"/>
                    </a:lnTo>
                    <a:lnTo>
                      <a:pt x="0" y="305217"/>
                    </a:lnTo>
                    <a:cubicBezTo>
                      <a:pt x="0" y="387391"/>
                      <a:pt x="64566" y="449022"/>
                      <a:pt x="143804" y="449022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3A08FE3D-7970-45A2-A081-14F3605DEBD6}"/>
                  </a:ext>
                </a:extLst>
              </p:cNvPr>
              <p:cNvSpPr/>
              <p:nvPr/>
            </p:nvSpPr>
            <p:spPr>
              <a:xfrm>
                <a:off x="10820629" y="8537921"/>
                <a:ext cx="243586" cy="231847"/>
              </a:xfrm>
              <a:custGeom>
                <a:avLst/>
                <a:gdLst>
                  <a:gd name="connsiteX0" fmla="*/ 123260 w 243586"/>
                  <a:gd name="connsiteY0" fmla="*/ 231848 h 231847"/>
                  <a:gd name="connsiteX1" fmla="*/ 123260 w 243586"/>
                  <a:gd name="connsiteY1" fmla="*/ 231848 h 231847"/>
                  <a:gd name="connsiteX2" fmla="*/ 243587 w 243586"/>
                  <a:gd name="connsiteY2" fmla="*/ 111522 h 231847"/>
                  <a:gd name="connsiteX3" fmla="*/ 243587 w 243586"/>
                  <a:gd name="connsiteY3" fmla="*/ 0 h 231847"/>
                  <a:gd name="connsiteX4" fmla="*/ 0 w 243586"/>
                  <a:gd name="connsiteY4" fmla="*/ 0 h 231847"/>
                  <a:gd name="connsiteX5" fmla="*/ 0 w 243586"/>
                  <a:gd name="connsiteY5" fmla="*/ 111522 h 231847"/>
                  <a:gd name="connsiteX6" fmla="*/ 123260 w 243586"/>
                  <a:gd name="connsiteY6" fmla="*/ 231848 h 231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3586" h="231847">
                    <a:moveTo>
                      <a:pt x="123260" y="231848"/>
                    </a:moveTo>
                    <a:lnTo>
                      <a:pt x="123260" y="231848"/>
                    </a:lnTo>
                    <a:cubicBezTo>
                      <a:pt x="190761" y="231848"/>
                      <a:pt x="243587" y="179021"/>
                      <a:pt x="243587" y="111522"/>
                    </a:cubicBezTo>
                    <a:lnTo>
                      <a:pt x="243587" y="0"/>
                    </a:lnTo>
                    <a:lnTo>
                      <a:pt x="0" y="0"/>
                    </a:lnTo>
                    <a:lnTo>
                      <a:pt x="0" y="111522"/>
                    </a:lnTo>
                    <a:cubicBezTo>
                      <a:pt x="0" y="179021"/>
                      <a:pt x="55761" y="231848"/>
                      <a:pt x="123260" y="231848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D6A8F5D8-7800-4E25-BC22-BFBAD194626C}"/>
                  </a:ext>
                </a:extLst>
              </p:cNvPr>
              <p:cNvSpPr/>
              <p:nvPr/>
            </p:nvSpPr>
            <p:spPr>
              <a:xfrm>
                <a:off x="10800085" y="8320747"/>
                <a:ext cx="287608" cy="58695"/>
              </a:xfrm>
              <a:custGeom>
                <a:avLst/>
                <a:gdLst>
                  <a:gd name="connsiteX0" fmla="*/ 0 w 287608"/>
                  <a:gd name="connsiteY0" fmla="*/ 29348 h 58695"/>
                  <a:gd name="connsiteX1" fmla="*/ 143804 w 287608"/>
                  <a:gd name="connsiteY1" fmla="*/ 58696 h 58695"/>
                  <a:gd name="connsiteX2" fmla="*/ 287608 w 287608"/>
                  <a:gd name="connsiteY2" fmla="*/ 29348 h 58695"/>
                  <a:gd name="connsiteX3" fmla="*/ 143804 w 287608"/>
                  <a:gd name="connsiteY3" fmla="*/ 0 h 58695"/>
                  <a:gd name="connsiteX4" fmla="*/ 0 w 287608"/>
                  <a:gd name="connsiteY4" fmla="*/ 29348 h 58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7608" h="58695">
                    <a:moveTo>
                      <a:pt x="0" y="29348"/>
                    </a:moveTo>
                    <a:cubicBezTo>
                      <a:pt x="0" y="44022"/>
                      <a:pt x="64566" y="58696"/>
                      <a:pt x="143804" y="58696"/>
                    </a:cubicBezTo>
                    <a:cubicBezTo>
                      <a:pt x="223044" y="58696"/>
                      <a:pt x="287608" y="46957"/>
                      <a:pt x="287608" y="29348"/>
                    </a:cubicBezTo>
                    <a:cubicBezTo>
                      <a:pt x="287608" y="11739"/>
                      <a:pt x="223044" y="0"/>
                      <a:pt x="143804" y="0"/>
                    </a:cubicBezTo>
                    <a:cubicBezTo>
                      <a:pt x="64566" y="0"/>
                      <a:pt x="0" y="11739"/>
                      <a:pt x="0" y="29348"/>
                    </a:cubicBezTo>
                    <a:close/>
                  </a:path>
                </a:pathLst>
              </a:custGeom>
              <a:solidFill>
                <a:srgbClr val="E5CDA5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56319639-0FA2-4E05-862E-9A7F4267D372}"/>
                </a:ext>
              </a:extLst>
            </p:cNvPr>
            <p:cNvGrpSpPr/>
            <p:nvPr/>
          </p:nvGrpSpPr>
          <p:grpSpPr>
            <a:xfrm>
              <a:off x="10877704" y="8841973"/>
              <a:ext cx="143641" cy="184837"/>
              <a:chOff x="10877704" y="8841973"/>
              <a:chExt cx="143641" cy="184837"/>
            </a:xfrm>
          </p:grpSpPr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E3C76001-2D79-4DDA-AC63-30DE09F1BBFF}"/>
                  </a:ext>
                </a:extLst>
              </p:cNvPr>
              <p:cNvSpPr/>
              <p:nvPr/>
            </p:nvSpPr>
            <p:spPr>
              <a:xfrm>
                <a:off x="10888682" y="8841973"/>
                <a:ext cx="126217" cy="83402"/>
              </a:xfrm>
              <a:custGeom>
                <a:avLst/>
                <a:gdLst>
                  <a:gd name="connsiteX0" fmla="*/ 110968 w 126217"/>
                  <a:gd name="connsiteY0" fmla="*/ 1166 h 83402"/>
                  <a:gd name="connsiteX1" fmla="*/ 31729 w 126217"/>
                  <a:gd name="connsiteY1" fmla="*/ 24644 h 83402"/>
                  <a:gd name="connsiteX2" fmla="*/ 19990 w 126217"/>
                  <a:gd name="connsiteY2" fmla="*/ 27579 h 83402"/>
                  <a:gd name="connsiteX3" fmla="*/ 8250 w 126217"/>
                  <a:gd name="connsiteY3" fmla="*/ 36383 h 83402"/>
                  <a:gd name="connsiteX4" fmla="*/ 5316 w 126217"/>
                  <a:gd name="connsiteY4" fmla="*/ 77470 h 83402"/>
                  <a:gd name="connsiteX5" fmla="*/ 43468 w 126217"/>
                  <a:gd name="connsiteY5" fmla="*/ 77470 h 83402"/>
                  <a:gd name="connsiteX6" fmla="*/ 93360 w 126217"/>
                  <a:gd name="connsiteY6" fmla="*/ 56927 h 83402"/>
                  <a:gd name="connsiteX7" fmla="*/ 125642 w 126217"/>
                  <a:gd name="connsiteY7" fmla="*/ 30514 h 83402"/>
                  <a:gd name="connsiteX8" fmla="*/ 110968 w 126217"/>
                  <a:gd name="connsiteY8" fmla="*/ 1166 h 83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6217" h="83402">
                    <a:moveTo>
                      <a:pt x="110968" y="1166"/>
                    </a:moveTo>
                    <a:cubicBezTo>
                      <a:pt x="87490" y="-4704"/>
                      <a:pt x="58142" y="12905"/>
                      <a:pt x="31729" y="24644"/>
                    </a:cubicBezTo>
                    <a:cubicBezTo>
                      <a:pt x="28794" y="24644"/>
                      <a:pt x="19990" y="27579"/>
                      <a:pt x="19990" y="27579"/>
                    </a:cubicBezTo>
                    <a:cubicBezTo>
                      <a:pt x="17055" y="30514"/>
                      <a:pt x="11185" y="33449"/>
                      <a:pt x="8250" y="36383"/>
                    </a:cubicBezTo>
                    <a:cubicBezTo>
                      <a:pt x="-554" y="48123"/>
                      <a:pt x="-3488" y="65731"/>
                      <a:pt x="5316" y="77470"/>
                    </a:cubicBezTo>
                    <a:cubicBezTo>
                      <a:pt x="14120" y="89209"/>
                      <a:pt x="31729" y="80405"/>
                      <a:pt x="43468" y="77470"/>
                    </a:cubicBezTo>
                    <a:cubicBezTo>
                      <a:pt x="61077" y="71601"/>
                      <a:pt x="78686" y="65731"/>
                      <a:pt x="93360" y="56927"/>
                    </a:cubicBezTo>
                    <a:cubicBezTo>
                      <a:pt x="105099" y="51057"/>
                      <a:pt x="119773" y="45188"/>
                      <a:pt x="125642" y="30514"/>
                    </a:cubicBezTo>
                    <a:cubicBezTo>
                      <a:pt x="128577" y="15840"/>
                      <a:pt x="119773" y="4101"/>
                      <a:pt x="110968" y="1166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C51C7994-9FE0-4CC3-B9E2-3095B730223A}"/>
                  </a:ext>
                </a:extLst>
              </p:cNvPr>
              <p:cNvSpPr/>
              <p:nvPr/>
            </p:nvSpPr>
            <p:spPr>
              <a:xfrm>
                <a:off x="10879878" y="8883961"/>
                <a:ext cx="127944" cy="85436"/>
              </a:xfrm>
              <a:custGeom>
                <a:avLst/>
                <a:gdLst>
                  <a:gd name="connsiteX0" fmla="*/ 113903 w 127944"/>
                  <a:gd name="connsiteY0" fmla="*/ 3199 h 85436"/>
                  <a:gd name="connsiteX1" fmla="*/ 25860 w 127944"/>
                  <a:gd name="connsiteY1" fmla="*/ 26678 h 85436"/>
                  <a:gd name="connsiteX2" fmla="*/ 19990 w 127944"/>
                  <a:gd name="connsiteY2" fmla="*/ 29613 h 85436"/>
                  <a:gd name="connsiteX3" fmla="*/ 8251 w 127944"/>
                  <a:gd name="connsiteY3" fmla="*/ 38417 h 85436"/>
                  <a:gd name="connsiteX4" fmla="*/ 5316 w 127944"/>
                  <a:gd name="connsiteY4" fmla="*/ 79504 h 85436"/>
                  <a:gd name="connsiteX5" fmla="*/ 43468 w 127944"/>
                  <a:gd name="connsiteY5" fmla="*/ 79504 h 85436"/>
                  <a:gd name="connsiteX6" fmla="*/ 93359 w 127944"/>
                  <a:gd name="connsiteY6" fmla="*/ 58960 h 85436"/>
                  <a:gd name="connsiteX7" fmla="*/ 125642 w 127944"/>
                  <a:gd name="connsiteY7" fmla="*/ 32547 h 85436"/>
                  <a:gd name="connsiteX8" fmla="*/ 113903 w 127944"/>
                  <a:gd name="connsiteY8" fmla="*/ 3199 h 8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944" h="85436">
                    <a:moveTo>
                      <a:pt x="113903" y="3199"/>
                    </a:moveTo>
                    <a:cubicBezTo>
                      <a:pt x="84555" y="-8540"/>
                      <a:pt x="55207" y="14939"/>
                      <a:pt x="25860" y="26678"/>
                    </a:cubicBezTo>
                    <a:cubicBezTo>
                      <a:pt x="22925" y="26678"/>
                      <a:pt x="19990" y="29613"/>
                      <a:pt x="19990" y="29613"/>
                    </a:cubicBezTo>
                    <a:cubicBezTo>
                      <a:pt x="17055" y="32547"/>
                      <a:pt x="11186" y="35482"/>
                      <a:pt x="8251" y="38417"/>
                    </a:cubicBezTo>
                    <a:cubicBezTo>
                      <a:pt x="-553" y="50156"/>
                      <a:pt x="-3488" y="67764"/>
                      <a:pt x="5316" y="79504"/>
                    </a:cubicBezTo>
                    <a:cubicBezTo>
                      <a:pt x="14121" y="91243"/>
                      <a:pt x="31729" y="82438"/>
                      <a:pt x="43468" y="79504"/>
                    </a:cubicBezTo>
                    <a:cubicBezTo>
                      <a:pt x="61076" y="73634"/>
                      <a:pt x="78685" y="67764"/>
                      <a:pt x="93359" y="58960"/>
                    </a:cubicBezTo>
                    <a:cubicBezTo>
                      <a:pt x="105098" y="53091"/>
                      <a:pt x="119772" y="47221"/>
                      <a:pt x="125642" y="32547"/>
                    </a:cubicBezTo>
                    <a:cubicBezTo>
                      <a:pt x="131512" y="20808"/>
                      <a:pt x="125642" y="9069"/>
                      <a:pt x="113903" y="3199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5253A216-E09E-4FBA-955C-91F568297A62}"/>
                  </a:ext>
                </a:extLst>
              </p:cNvPr>
              <p:cNvSpPr/>
              <p:nvPr/>
            </p:nvSpPr>
            <p:spPr>
              <a:xfrm>
                <a:off x="10898712" y="8927649"/>
                <a:ext cx="111643" cy="74030"/>
              </a:xfrm>
              <a:custGeom>
                <a:avLst/>
                <a:gdLst>
                  <a:gd name="connsiteX0" fmla="*/ 98004 w 111643"/>
                  <a:gd name="connsiteY0" fmla="*/ 3533 h 74030"/>
                  <a:gd name="connsiteX1" fmla="*/ 21700 w 111643"/>
                  <a:gd name="connsiteY1" fmla="*/ 21142 h 74030"/>
                  <a:gd name="connsiteX2" fmla="*/ 15830 w 111643"/>
                  <a:gd name="connsiteY2" fmla="*/ 24076 h 74030"/>
                  <a:gd name="connsiteX3" fmla="*/ 7026 w 111643"/>
                  <a:gd name="connsiteY3" fmla="*/ 32881 h 74030"/>
                  <a:gd name="connsiteX4" fmla="*/ 4091 w 111643"/>
                  <a:gd name="connsiteY4" fmla="*/ 68098 h 74030"/>
                  <a:gd name="connsiteX5" fmla="*/ 39309 w 111643"/>
                  <a:gd name="connsiteY5" fmla="*/ 68098 h 74030"/>
                  <a:gd name="connsiteX6" fmla="*/ 83330 w 111643"/>
                  <a:gd name="connsiteY6" fmla="*/ 50489 h 74030"/>
                  <a:gd name="connsiteX7" fmla="*/ 109743 w 111643"/>
                  <a:gd name="connsiteY7" fmla="*/ 29946 h 74030"/>
                  <a:gd name="connsiteX8" fmla="*/ 98004 w 111643"/>
                  <a:gd name="connsiteY8" fmla="*/ 3533 h 74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643" h="74030">
                    <a:moveTo>
                      <a:pt x="98004" y="3533"/>
                    </a:moveTo>
                    <a:cubicBezTo>
                      <a:pt x="71591" y="-8206"/>
                      <a:pt x="45178" y="12337"/>
                      <a:pt x="21700" y="21142"/>
                    </a:cubicBezTo>
                    <a:cubicBezTo>
                      <a:pt x="18765" y="21142"/>
                      <a:pt x="18765" y="24076"/>
                      <a:pt x="15830" y="24076"/>
                    </a:cubicBezTo>
                    <a:cubicBezTo>
                      <a:pt x="12895" y="27011"/>
                      <a:pt x="9961" y="27011"/>
                      <a:pt x="7026" y="32881"/>
                    </a:cubicBezTo>
                    <a:cubicBezTo>
                      <a:pt x="-1779" y="41685"/>
                      <a:pt x="-1779" y="59294"/>
                      <a:pt x="4091" y="68098"/>
                    </a:cubicBezTo>
                    <a:cubicBezTo>
                      <a:pt x="12895" y="79837"/>
                      <a:pt x="27569" y="71033"/>
                      <a:pt x="39309" y="68098"/>
                    </a:cubicBezTo>
                    <a:cubicBezTo>
                      <a:pt x="53983" y="62228"/>
                      <a:pt x="68657" y="59294"/>
                      <a:pt x="83330" y="50489"/>
                    </a:cubicBezTo>
                    <a:cubicBezTo>
                      <a:pt x="92134" y="47554"/>
                      <a:pt x="106808" y="41685"/>
                      <a:pt x="109743" y="29946"/>
                    </a:cubicBezTo>
                    <a:cubicBezTo>
                      <a:pt x="115612" y="18207"/>
                      <a:pt x="106808" y="6468"/>
                      <a:pt x="98004" y="3533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8826D81E-AA56-49F9-832C-C16D4AAA1AEB}"/>
                  </a:ext>
                </a:extLst>
              </p:cNvPr>
              <p:cNvSpPr/>
              <p:nvPr/>
            </p:nvSpPr>
            <p:spPr>
              <a:xfrm>
                <a:off x="10926016" y="8969554"/>
                <a:ext cx="82438" cy="57256"/>
              </a:xfrm>
              <a:custGeom>
                <a:avLst/>
                <a:gdLst>
                  <a:gd name="connsiteX0" fmla="*/ 70700 w 82438"/>
                  <a:gd name="connsiteY0" fmla="*/ 2715 h 57256"/>
                  <a:gd name="connsiteX1" fmla="*/ 14938 w 82438"/>
                  <a:gd name="connsiteY1" fmla="*/ 17389 h 57256"/>
                  <a:gd name="connsiteX2" fmla="*/ 12004 w 82438"/>
                  <a:gd name="connsiteY2" fmla="*/ 20323 h 57256"/>
                  <a:gd name="connsiteX3" fmla="*/ 6134 w 82438"/>
                  <a:gd name="connsiteY3" fmla="*/ 26193 h 57256"/>
                  <a:gd name="connsiteX4" fmla="*/ 3199 w 82438"/>
                  <a:gd name="connsiteY4" fmla="*/ 52606 h 57256"/>
                  <a:gd name="connsiteX5" fmla="*/ 29612 w 82438"/>
                  <a:gd name="connsiteY5" fmla="*/ 52606 h 57256"/>
                  <a:gd name="connsiteX6" fmla="*/ 61895 w 82438"/>
                  <a:gd name="connsiteY6" fmla="*/ 40867 h 57256"/>
                  <a:gd name="connsiteX7" fmla="*/ 82439 w 82438"/>
                  <a:gd name="connsiteY7" fmla="*/ 23258 h 57256"/>
                  <a:gd name="connsiteX8" fmla="*/ 70700 w 82438"/>
                  <a:gd name="connsiteY8" fmla="*/ 2715 h 57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2438" h="57256">
                    <a:moveTo>
                      <a:pt x="70700" y="2715"/>
                    </a:moveTo>
                    <a:cubicBezTo>
                      <a:pt x="50156" y="-6090"/>
                      <a:pt x="32547" y="8584"/>
                      <a:pt x="14938" y="17389"/>
                    </a:cubicBezTo>
                    <a:cubicBezTo>
                      <a:pt x="12004" y="17389"/>
                      <a:pt x="12004" y="20323"/>
                      <a:pt x="12004" y="20323"/>
                    </a:cubicBezTo>
                    <a:cubicBezTo>
                      <a:pt x="9069" y="20323"/>
                      <a:pt x="6134" y="23258"/>
                      <a:pt x="6134" y="26193"/>
                    </a:cubicBezTo>
                    <a:cubicBezTo>
                      <a:pt x="264" y="32063"/>
                      <a:pt x="-2670" y="43802"/>
                      <a:pt x="3199" y="52606"/>
                    </a:cubicBezTo>
                    <a:cubicBezTo>
                      <a:pt x="9069" y="61411"/>
                      <a:pt x="20808" y="55541"/>
                      <a:pt x="29612" y="52606"/>
                    </a:cubicBezTo>
                    <a:cubicBezTo>
                      <a:pt x="41352" y="49671"/>
                      <a:pt x="53091" y="43802"/>
                      <a:pt x="61895" y="40867"/>
                    </a:cubicBezTo>
                    <a:cubicBezTo>
                      <a:pt x="67765" y="37932"/>
                      <a:pt x="79504" y="34997"/>
                      <a:pt x="82439" y="23258"/>
                    </a:cubicBezTo>
                    <a:cubicBezTo>
                      <a:pt x="79504" y="14454"/>
                      <a:pt x="76569" y="5649"/>
                      <a:pt x="70700" y="2715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ED26DE0C-A7AC-43BF-B79A-C324202EB24E}"/>
                  </a:ext>
                </a:extLst>
              </p:cNvPr>
              <p:cNvSpPr/>
              <p:nvPr/>
            </p:nvSpPr>
            <p:spPr>
              <a:xfrm>
                <a:off x="10877704" y="8846074"/>
                <a:ext cx="136841" cy="129130"/>
              </a:xfrm>
              <a:custGeom>
                <a:avLst/>
                <a:gdLst>
                  <a:gd name="connsiteX0" fmla="*/ 22164 w 136841"/>
                  <a:gd name="connsiteY0" fmla="*/ 129130 h 129130"/>
                  <a:gd name="connsiteX1" fmla="*/ 1621 w 136841"/>
                  <a:gd name="connsiteY1" fmla="*/ 114456 h 129130"/>
                  <a:gd name="connsiteX2" fmla="*/ 10425 w 136841"/>
                  <a:gd name="connsiteY2" fmla="*/ 73370 h 129130"/>
                  <a:gd name="connsiteX3" fmla="*/ 4555 w 136841"/>
                  <a:gd name="connsiteY3" fmla="*/ 64565 h 129130"/>
                  <a:gd name="connsiteX4" fmla="*/ 4555 w 136841"/>
                  <a:gd name="connsiteY4" fmla="*/ 46956 h 129130"/>
                  <a:gd name="connsiteX5" fmla="*/ 86730 w 136841"/>
                  <a:gd name="connsiteY5" fmla="*/ 0 h 129130"/>
                  <a:gd name="connsiteX6" fmla="*/ 92599 w 136841"/>
                  <a:gd name="connsiteY6" fmla="*/ 2935 h 129130"/>
                  <a:gd name="connsiteX7" fmla="*/ 89665 w 136841"/>
                  <a:gd name="connsiteY7" fmla="*/ 8804 h 129130"/>
                  <a:gd name="connsiteX8" fmla="*/ 13360 w 136841"/>
                  <a:gd name="connsiteY8" fmla="*/ 49891 h 129130"/>
                  <a:gd name="connsiteX9" fmla="*/ 13360 w 136841"/>
                  <a:gd name="connsiteY9" fmla="*/ 58696 h 129130"/>
                  <a:gd name="connsiteX10" fmla="*/ 22164 w 136841"/>
                  <a:gd name="connsiteY10" fmla="*/ 70435 h 129130"/>
                  <a:gd name="connsiteX11" fmla="*/ 116077 w 136841"/>
                  <a:gd name="connsiteY11" fmla="*/ 38152 h 129130"/>
                  <a:gd name="connsiteX12" fmla="*/ 127816 w 136841"/>
                  <a:gd name="connsiteY12" fmla="*/ 38152 h 129130"/>
                  <a:gd name="connsiteX13" fmla="*/ 136620 w 136841"/>
                  <a:gd name="connsiteY13" fmla="*/ 55761 h 129130"/>
                  <a:gd name="connsiteX14" fmla="*/ 63251 w 136841"/>
                  <a:gd name="connsiteY14" fmla="*/ 117391 h 129130"/>
                  <a:gd name="connsiteX15" fmla="*/ 22164 w 136841"/>
                  <a:gd name="connsiteY15" fmla="*/ 129130 h 129130"/>
                  <a:gd name="connsiteX16" fmla="*/ 16295 w 136841"/>
                  <a:gd name="connsiteY16" fmla="*/ 79239 h 129130"/>
                  <a:gd name="connsiteX17" fmla="*/ 10425 w 136841"/>
                  <a:gd name="connsiteY17" fmla="*/ 111522 h 129130"/>
                  <a:gd name="connsiteX18" fmla="*/ 57382 w 136841"/>
                  <a:gd name="connsiteY18" fmla="*/ 108587 h 129130"/>
                  <a:gd name="connsiteX19" fmla="*/ 124881 w 136841"/>
                  <a:gd name="connsiteY19" fmla="*/ 58696 h 129130"/>
                  <a:gd name="connsiteX20" fmla="*/ 121946 w 136841"/>
                  <a:gd name="connsiteY20" fmla="*/ 49891 h 129130"/>
                  <a:gd name="connsiteX21" fmla="*/ 119012 w 136841"/>
                  <a:gd name="connsiteY21" fmla="*/ 49891 h 129130"/>
                  <a:gd name="connsiteX22" fmla="*/ 16295 w 136841"/>
                  <a:gd name="connsiteY22" fmla="*/ 79239 h 129130"/>
                  <a:gd name="connsiteX23" fmla="*/ 16295 w 136841"/>
                  <a:gd name="connsiteY23" fmla="*/ 79239 h 129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6841" h="129130">
                    <a:moveTo>
                      <a:pt x="22164" y="129130"/>
                    </a:moveTo>
                    <a:cubicBezTo>
                      <a:pt x="13360" y="129130"/>
                      <a:pt x="4555" y="126196"/>
                      <a:pt x="1621" y="114456"/>
                    </a:cubicBezTo>
                    <a:cubicBezTo>
                      <a:pt x="-4249" y="96848"/>
                      <a:pt x="7490" y="76304"/>
                      <a:pt x="10425" y="73370"/>
                    </a:cubicBezTo>
                    <a:cubicBezTo>
                      <a:pt x="7490" y="70435"/>
                      <a:pt x="4555" y="64565"/>
                      <a:pt x="4555" y="64565"/>
                    </a:cubicBezTo>
                    <a:cubicBezTo>
                      <a:pt x="1621" y="58696"/>
                      <a:pt x="1621" y="52826"/>
                      <a:pt x="4555" y="46956"/>
                    </a:cubicBezTo>
                    <a:cubicBezTo>
                      <a:pt x="19229" y="20543"/>
                      <a:pt x="80860" y="2935"/>
                      <a:pt x="86730" y="0"/>
                    </a:cubicBezTo>
                    <a:cubicBezTo>
                      <a:pt x="89665" y="0"/>
                      <a:pt x="92599" y="0"/>
                      <a:pt x="92599" y="2935"/>
                    </a:cubicBezTo>
                    <a:cubicBezTo>
                      <a:pt x="92599" y="5869"/>
                      <a:pt x="92599" y="8804"/>
                      <a:pt x="89665" y="8804"/>
                    </a:cubicBezTo>
                    <a:cubicBezTo>
                      <a:pt x="72056" y="14674"/>
                      <a:pt x="22164" y="32282"/>
                      <a:pt x="13360" y="49891"/>
                    </a:cubicBezTo>
                    <a:cubicBezTo>
                      <a:pt x="10425" y="52826"/>
                      <a:pt x="10425" y="55761"/>
                      <a:pt x="13360" y="58696"/>
                    </a:cubicBezTo>
                    <a:cubicBezTo>
                      <a:pt x="16295" y="64565"/>
                      <a:pt x="16295" y="67500"/>
                      <a:pt x="22164" y="70435"/>
                    </a:cubicBezTo>
                    <a:cubicBezTo>
                      <a:pt x="36838" y="76304"/>
                      <a:pt x="66186" y="64565"/>
                      <a:pt x="116077" y="38152"/>
                    </a:cubicBezTo>
                    <a:cubicBezTo>
                      <a:pt x="116077" y="38152"/>
                      <a:pt x="121946" y="35217"/>
                      <a:pt x="127816" y="38152"/>
                    </a:cubicBezTo>
                    <a:cubicBezTo>
                      <a:pt x="133686" y="41087"/>
                      <a:pt x="136620" y="46956"/>
                      <a:pt x="136620" y="55761"/>
                    </a:cubicBezTo>
                    <a:cubicBezTo>
                      <a:pt x="139555" y="79239"/>
                      <a:pt x="113142" y="99782"/>
                      <a:pt x="63251" y="117391"/>
                    </a:cubicBezTo>
                    <a:cubicBezTo>
                      <a:pt x="48577" y="123261"/>
                      <a:pt x="33903" y="129130"/>
                      <a:pt x="22164" y="129130"/>
                    </a:cubicBezTo>
                    <a:close/>
                    <a:moveTo>
                      <a:pt x="16295" y="79239"/>
                    </a:moveTo>
                    <a:cubicBezTo>
                      <a:pt x="13360" y="85109"/>
                      <a:pt x="7490" y="102717"/>
                      <a:pt x="10425" y="111522"/>
                    </a:cubicBezTo>
                    <a:cubicBezTo>
                      <a:pt x="13360" y="120326"/>
                      <a:pt x="25099" y="120326"/>
                      <a:pt x="57382" y="108587"/>
                    </a:cubicBezTo>
                    <a:cubicBezTo>
                      <a:pt x="101403" y="93913"/>
                      <a:pt x="124881" y="73370"/>
                      <a:pt x="124881" y="58696"/>
                    </a:cubicBezTo>
                    <a:cubicBezTo>
                      <a:pt x="124881" y="52826"/>
                      <a:pt x="121946" y="49891"/>
                      <a:pt x="121946" y="49891"/>
                    </a:cubicBezTo>
                    <a:cubicBezTo>
                      <a:pt x="121946" y="49891"/>
                      <a:pt x="119012" y="49891"/>
                      <a:pt x="119012" y="49891"/>
                    </a:cubicBezTo>
                    <a:cubicBezTo>
                      <a:pt x="51512" y="85109"/>
                      <a:pt x="28034" y="82174"/>
                      <a:pt x="16295" y="79239"/>
                    </a:cubicBezTo>
                    <a:cubicBezTo>
                      <a:pt x="16295" y="79239"/>
                      <a:pt x="16295" y="79239"/>
                      <a:pt x="16295" y="79239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CA96A493-D598-4428-98DC-F80C87FC1514}"/>
                  </a:ext>
                </a:extLst>
              </p:cNvPr>
              <p:cNvSpPr/>
              <p:nvPr/>
            </p:nvSpPr>
            <p:spPr>
              <a:xfrm>
                <a:off x="10892531" y="8927032"/>
                <a:ext cx="128814" cy="80454"/>
              </a:xfrm>
              <a:custGeom>
                <a:avLst/>
                <a:gdLst>
                  <a:gd name="connsiteX0" fmla="*/ 24945 w 128814"/>
                  <a:gd name="connsiteY0" fmla="*/ 80455 h 80454"/>
                  <a:gd name="connsiteX1" fmla="*/ 7337 w 128814"/>
                  <a:gd name="connsiteY1" fmla="*/ 74585 h 80454"/>
                  <a:gd name="connsiteX2" fmla="*/ 1468 w 128814"/>
                  <a:gd name="connsiteY2" fmla="*/ 42302 h 80454"/>
                  <a:gd name="connsiteX3" fmla="*/ 7337 w 128814"/>
                  <a:gd name="connsiteY3" fmla="*/ 36433 h 80454"/>
                  <a:gd name="connsiteX4" fmla="*/ 13207 w 128814"/>
                  <a:gd name="connsiteY4" fmla="*/ 42302 h 80454"/>
                  <a:gd name="connsiteX5" fmla="*/ 16142 w 128814"/>
                  <a:gd name="connsiteY5" fmla="*/ 62846 h 80454"/>
                  <a:gd name="connsiteX6" fmla="*/ 33749 w 128814"/>
                  <a:gd name="connsiteY6" fmla="*/ 65781 h 80454"/>
                  <a:gd name="connsiteX7" fmla="*/ 112989 w 128814"/>
                  <a:gd name="connsiteY7" fmla="*/ 30564 h 80454"/>
                  <a:gd name="connsiteX8" fmla="*/ 115924 w 128814"/>
                  <a:gd name="connsiteY8" fmla="*/ 21759 h 80454"/>
                  <a:gd name="connsiteX9" fmla="*/ 107119 w 128814"/>
                  <a:gd name="connsiteY9" fmla="*/ 10020 h 80454"/>
                  <a:gd name="connsiteX10" fmla="*/ 104185 w 128814"/>
                  <a:gd name="connsiteY10" fmla="*/ 4150 h 80454"/>
                  <a:gd name="connsiteX11" fmla="*/ 110054 w 128814"/>
                  <a:gd name="connsiteY11" fmla="*/ 1216 h 80454"/>
                  <a:gd name="connsiteX12" fmla="*/ 127663 w 128814"/>
                  <a:gd name="connsiteY12" fmla="*/ 21759 h 80454"/>
                  <a:gd name="connsiteX13" fmla="*/ 121793 w 128814"/>
                  <a:gd name="connsiteY13" fmla="*/ 42302 h 80454"/>
                  <a:gd name="connsiteX14" fmla="*/ 36684 w 128814"/>
                  <a:gd name="connsiteY14" fmla="*/ 80455 h 80454"/>
                  <a:gd name="connsiteX15" fmla="*/ 24945 w 128814"/>
                  <a:gd name="connsiteY15" fmla="*/ 80455 h 80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8814" h="80454">
                    <a:moveTo>
                      <a:pt x="24945" y="80455"/>
                    </a:moveTo>
                    <a:cubicBezTo>
                      <a:pt x="16142" y="80455"/>
                      <a:pt x="10272" y="77520"/>
                      <a:pt x="7337" y="74585"/>
                    </a:cubicBezTo>
                    <a:cubicBezTo>
                      <a:pt x="-4402" y="62846"/>
                      <a:pt x="1468" y="45237"/>
                      <a:pt x="1468" y="42302"/>
                    </a:cubicBezTo>
                    <a:cubicBezTo>
                      <a:pt x="1468" y="39368"/>
                      <a:pt x="4402" y="36433"/>
                      <a:pt x="7337" y="36433"/>
                    </a:cubicBezTo>
                    <a:cubicBezTo>
                      <a:pt x="10272" y="36433"/>
                      <a:pt x="13207" y="39368"/>
                      <a:pt x="13207" y="42302"/>
                    </a:cubicBezTo>
                    <a:cubicBezTo>
                      <a:pt x="13207" y="45237"/>
                      <a:pt x="10272" y="56976"/>
                      <a:pt x="16142" y="62846"/>
                    </a:cubicBezTo>
                    <a:cubicBezTo>
                      <a:pt x="19076" y="65781"/>
                      <a:pt x="24945" y="65781"/>
                      <a:pt x="33749" y="65781"/>
                    </a:cubicBezTo>
                    <a:cubicBezTo>
                      <a:pt x="68967" y="59911"/>
                      <a:pt x="104185" y="39368"/>
                      <a:pt x="112989" y="30564"/>
                    </a:cubicBezTo>
                    <a:cubicBezTo>
                      <a:pt x="115924" y="27629"/>
                      <a:pt x="115924" y="24694"/>
                      <a:pt x="115924" y="21759"/>
                    </a:cubicBezTo>
                    <a:cubicBezTo>
                      <a:pt x="112989" y="15890"/>
                      <a:pt x="110054" y="10020"/>
                      <a:pt x="107119" y="10020"/>
                    </a:cubicBezTo>
                    <a:cubicBezTo>
                      <a:pt x="104185" y="10020"/>
                      <a:pt x="101250" y="7085"/>
                      <a:pt x="104185" y="4150"/>
                    </a:cubicBezTo>
                    <a:cubicBezTo>
                      <a:pt x="104185" y="1216"/>
                      <a:pt x="107119" y="-1719"/>
                      <a:pt x="110054" y="1216"/>
                    </a:cubicBezTo>
                    <a:cubicBezTo>
                      <a:pt x="118859" y="4150"/>
                      <a:pt x="124728" y="12955"/>
                      <a:pt x="127663" y="21759"/>
                    </a:cubicBezTo>
                    <a:cubicBezTo>
                      <a:pt x="130598" y="30564"/>
                      <a:pt x="127663" y="36433"/>
                      <a:pt x="121793" y="42302"/>
                    </a:cubicBezTo>
                    <a:cubicBezTo>
                      <a:pt x="110054" y="51107"/>
                      <a:pt x="71902" y="74585"/>
                      <a:pt x="36684" y="80455"/>
                    </a:cubicBezTo>
                    <a:cubicBezTo>
                      <a:pt x="30815" y="80455"/>
                      <a:pt x="27880" y="80455"/>
                      <a:pt x="24945" y="80455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40702624-06E1-40CA-AE1A-99F25F9845AD}"/>
                </a:ext>
              </a:extLst>
            </p:cNvPr>
            <p:cNvSpPr/>
            <p:nvPr/>
          </p:nvSpPr>
          <p:spPr>
            <a:xfrm>
              <a:off x="10816053" y="8904010"/>
              <a:ext cx="129060" cy="109799"/>
            </a:xfrm>
            <a:custGeom>
              <a:avLst/>
              <a:gdLst>
                <a:gd name="connsiteX0" fmla="*/ 80880 w 129060"/>
                <a:gd name="connsiteY0" fmla="*/ 759 h 109799"/>
                <a:gd name="connsiteX1" fmla="*/ 1641 w 129060"/>
                <a:gd name="connsiteY1" fmla="*/ 47716 h 109799"/>
                <a:gd name="connsiteX2" fmla="*/ 25119 w 129060"/>
                <a:gd name="connsiteY2" fmla="*/ 109346 h 109799"/>
                <a:gd name="connsiteX3" fmla="*/ 51532 w 129060"/>
                <a:gd name="connsiteY3" fmla="*/ 65325 h 109799"/>
                <a:gd name="connsiteX4" fmla="*/ 104359 w 129060"/>
                <a:gd name="connsiteY4" fmla="*/ 50651 h 109799"/>
                <a:gd name="connsiteX5" fmla="*/ 127837 w 129060"/>
                <a:gd name="connsiteY5" fmla="*/ 53586 h 109799"/>
                <a:gd name="connsiteX6" fmla="*/ 80880 w 129060"/>
                <a:gd name="connsiteY6" fmla="*/ 759 h 109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060" h="109799">
                  <a:moveTo>
                    <a:pt x="80880" y="759"/>
                  </a:moveTo>
                  <a:cubicBezTo>
                    <a:pt x="51532" y="-5110"/>
                    <a:pt x="16315" y="24238"/>
                    <a:pt x="1641" y="47716"/>
                  </a:cubicBezTo>
                  <a:cubicBezTo>
                    <a:pt x="-7163" y="62390"/>
                    <a:pt x="22184" y="115216"/>
                    <a:pt x="25119" y="109346"/>
                  </a:cubicBezTo>
                  <a:cubicBezTo>
                    <a:pt x="30989" y="97607"/>
                    <a:pt x="42728" y="71194"/>
                    <a:pt x="51532" y="65325"/>
                  </a:cubicBezTo>
                  <a:cubicBezTo>
                    <a:pt x="66206" y="50651"/>
                    <a:pt x="83815" y="47716"/>
                    <a:pt x="104359" y="50651"/>
                  </a:cubicBezTo>
                  <a:cubicBezTo>
                    <a:pt x="110228" y="50651"/>
                    <a:pt x="124902" y="62390"/>
                    <a:pt x="127837" y="53586"/>
                  </a:cubicBezTo>
                  <a:cubicBezTo>
                    <a:pt x="136642" y="33042"/>
                    <a:pt x="95554" y="3694"/>
                    <a:pt x="80880" y="759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6A2A217-5793-4210-A3A2-DE87834D05D4}"/>
                </a:ext>
              </a:extLst>
            </p:cNvPr>
            <p:cNvSpPr/>
            <p:nvPr/>
          </p:nvSpPr>
          <p:spPr>
            <a:xfrm>
              <a:off x="10809623" y="8894344"/>
              <a:ext cx="140136" cy="119012"/>
            </a:xfrm>
            <a:custGeom>
              <a:avLst/>
              <a:gdLst>
                <a:gd name="connsiteX0" fmla="*/ 57962 w 140136"/>
                <a:gd name="connsiteY0" fmla="*/ 119013 h 119012"/>
                <a:gd name="connsiteX1" fmla="*/ 57962 w 140136"/>
                <a:gd name="connsiteY1" fmla="*/ 119013 h 119012"/>
                <a:gd name="connsiteX2" fmla="*/ 52093 w 140136"/>
                <a:gd name="connsiteY2" fmla="*/ 110208 h 119012"/>
                <a:gd name="connsiteX3" fmla="*/ 52093 w 140136"/>
                <a:gd name="connsiteY3" fmla="*/ 74991 h 119012"/>
                <a:gd name="connsiteX4" fmla="*/ 52093 w 140136"/>
                <a:gd name="connsiteY4" fmla="*/ 69121 h 119012"/>
                <a:gd name="connsiteX5" fmla="*/ 110789 w 140136"/>
                <a:gd name="connsiteY5" fmla="*/ 54447 h 119012"/>
                <a:gd name="connsiteX6" fmla="*/ 128397 w 140136"/>
                <a:gd name="connsiteY6" fmla="*/ 54447 h 119012"/>
                <a:gd name="connsiteX7" fmla="*/ 128397 w 140136"/>
                <a:gd name="connsiteY7" fmla="*/ 48578 h 119012"/>
                <a:gd name="connsiteX8" fmla="*/ 84376 w 140136"/>
                <a:gd name="connsiteY8" fmla="*/ 13360 h 119012"/>
                <a:gd name="connsiteX9" fmla="*/ 11006 w 140136"/>
                <a:gd name="connsiteY9" fmla="*/ 57382 h 119012"/>
                <a:gd name="connsiteX10" fmla="*/ 2201 w 140136"/>
                <a:gd name="connsiteY10" fmla="*/ 57382 h 119012"/>
                <a:gd name="connsiteX11" fmla="*/ 2201 w 140136"/>
                <a:gd name="connsiteY11" fmla="*/ 48578 h 119012"/>
                <a:gd name="connsiteX12" fmla="*/ 87310 w 140136"/>
                <a:gd name="connsiteY12" fmla="*/ 1621 h 119012"/>
                <a:gd name="connsiteX13" fmla="*/ 140136 w 140136"/>
                <a:gd name="connsiteY13" fmla="*/ 45643 h 119012"/>
                <a:gd name="connsiteX14" fmla="*/ 137201 w 140136"/>
                <a:gd name="connsiteY14" fmla="*/ 60317 h 119012"/>
                <a:gd name="connsiteX15" fmla="*/ 110789 w 140136"/>
                <a:gd name="connsiteY15" fmla="*/ 63252 h 119012"/>
                <a:gd name="connsiteX16" fmla="*/ 63832 w 140136"/>
                <a:gd name="connsiteY16" fmla="*/ 72056 h 119012"/>
                <a:gd name="connsiteX17" fmla="*/ 63832 w 140136"/>
                <a:gd name="connsiteY17" fmla="*/ 113143 h 119012"/>
                <a:gd name="connsiteX18" fmla="*/ 57962 w 140136"/>
                <a:gd name="connsiteY18" fmla="*/ 119013 h 11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0136" h="119012">
                  <a:moveTo>
                    <a:pt x="57962" y="119013"/>
                  </a:moveTo>
                  <a:cubicBezTo>
                    <a:pt x="57962" y="119013"/>
                    <a:pt x="55028" y="119013"/>
                    <a:pt x="57962" y="119013"/>
                  </a:cubicBezTo>
                  <a:cubicBezTo>
                    <a:pt x="52093" y="116078"/>
                    <a:pt x="52093" y="113143"/>
                    <a:pt x="52093" y="110208"/>
                  </a:cubicBezTo>
                  <a:cubicBezTo>
                    <a:pt x="57962" y="98469"/>
                    <a:pt x="55028" y="80860"/>
                    <a:pt x="52093" y="74991"/>
                  </a:cubicBezTo>
                  <a:cubicBezTo>
                    <a:pt x="52093" y="72056"/>
                    <a:pt x="52093" y="69121"/>
                    <a:pt x="52093" y="69121"/>
                  </a:cubicBezTo>
                  <a:cubicBezTo>
                    <a:pt x="72636" y="48578"/>
                    <a:pt x="96115" y="54447"/>
                    <a:pt x="110789" y="54447"/>
                  </a:cubicBezTo>
                  <a:cubicBezTo>
                    <a:pt x="116658" y="54447"/>
                    <a:pt x="125462" y="57382"/>
                    <a:pt x="128397" y="54447"/>
                  </a:cubicBezTo>
                  <a:cubicBezTo>
                    <a:pt x="128397" y="54447"/>
                    <a:pt x="131331" y="54447"/>
                    <a:pt x="128397" y="48578"/>
                  </a:cubicBezTo>
                  <a:cubicBezTo>
                    <a:pt x="125462" y="39773"/>
                    <a:pt x="107854" y="19230"/>
                    <a:pt x="84376" y="13360"/>
                  </a:cubicBezTo>
                  <a:cubicBezTo>
                    <a:pt x="57962" y="4556"/>
                    <a:pt x="22745" y="42708"/>
                    <a:pt x="11006" y="57382"/>
                  </a:cubicBezTo>
                  <a:cubicBezTo>
                    <a:pt x="8071" y="60317"/>
                    <a:pt x="5136" y="60317"/>
                    <a:pt x="2201" y="57382"/>
                  </a:cubicBezTo>
                  <a:cubicBezTo>
                    <a:pt x="-734" y="54447"/>
                    <a:pt x="-734" y="51512"/>
                    <a:pt x="2201" y="48578"/>
                  </a:cubicBezTo>
                  <a:cubicBezTo>
                    <a:pt x="5136" y="45643"/>
                    <a:pt x="49158" y="-10118"/>
                    <a:pt x="87310" y="1621"/>
                  </a:cubicBezTo>
                  <a:cubicBezTo>
                    <a:pt x="116658" y="10426"/>
                    <a:pt x="137201" y="30969"/>
                    <a:pt x="140136" y="45643"/>
                  </a:cubicBezTo>
                  <a:cubicBezTo>
                    <a:pt x="140136" y="51512"/>
                    <a:pt x="140136" y="57382"/>
                    <a:pt x="137201" y="60317"/>
                  </a:cubicBezTo>
                  <a:cubicBezTo>
                    <a:pt x="131331" y="66186"/>
                    <a:pt x="122527" y="63252"/>
                    <a:pt x="110789" y="63252"/>
                  </a:cubicBezTo>
                  <a:cubicBezTo>
                    <a:pt x="96115" y="60317"/>
                    <a:pt x="78506" y="57382"/>
                    <a:pt x="63832" y="72056"/>
                  </a:cubicBezTo>
                  <a:cubicBezTo>
                    <a:pt x="66767" y="80860"/>
                    <a:pt x="69702" y="101404"/>
                    <a:pt x="63832" y="113143"/>
                  </a:cubicBezTo>
                  <a:cubicBezTo>
                    <a:pt x="60897" y="119013"/>
                    <a:pt x="60897" y="119013"/>
                    <a:pt x="57962" y="119013"/>
                  </a:cubicBezTo>
                  <a:close/>
                </a:path>
              </a:pathLst>
            </a:custGeom>
            <a:solidFill>
              <a:srgbClr val="E58777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23454FF0-10BF-48F3-9CB0-4F6604404AB8}"/>
                </a:ext>
              </a:extLst>
            </p:cNvPr>
            <p:cNvSpPr/>
            <p:nvPr/>
          </p:nvSpPr>
          <p:spPr>
            <a:xfrm>
              <a:off x="9770790" y="8817942"/>
              <a:ext cx="424729" cy="453674"/>
            </a:xfrm>
            <a:custGeom>
              <a:avLst/>
              <a:gdLst>
                <a:gd name="connsiteX0" fmla="*/ 231034 w 424729"/>
                <a:gd name="connsiteY0" fmla="*/ 453674 h 453674"/>
                <a:gd name="connsiteX1" fmla="*/ 7991 w 424729"/>
                <a:gd name="connsiteY1" fmla="*/ 28131 h 453674"/>
                <a:gd name="connsiteX2" fmla="*/ 424730 w 424729"/>
                <a:gd name="connsiteY2" fmla="*/ 186609 h 453674"/>
                <a:gd name="connsiteX3" fmla="*/ 231034 w 424729"/>
                <a:gd name="connsiteY3" fmla="*/ 453674 h 453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729" h="453674">
                  <a:moveTo>
                    <a:pt x="231034" y="453674"/>
                  </a:moveTo>
                  <a:cubicBezTo>
                    <a:pt x="110709" y="324544"/>
                    <a:pt x="-36031" y="92696"/>
                    <a:pt x="7991" y="28131"/>
                  </a:cubicBezTo>
                  <a:cubicBezTo>
                    <a:pt x="66686" y="-54043"/>
                    <a:pt x="316143" y="57479"/>
                    <a:pt x="424730" y="186609"/>
                  </a:cubicBezTo>
                  <a:cubicBezTo>
                    <a:pt x="404187" y="254109"/>
                    <a:pt x="322012" y="412587"/>
                    <a:pt x="231034" y="453674"/>
                  </a:cubicBezTo>
                  <a:close/>
                </a:path>
              </a:pathLst>
            </a:custGeom>
            <a:solidFill>
              <a:srgbClr val="D16156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" name="图形 1">
              <a:extLst>
                <a:ext uri="{FF2B5EF4-FFF2-40B4-BE49-F238E27FC236}">
                  <a16:creationId xmlns:a16="http://schemas.microsoft.com/office/drawing/2014/main" id="{C26E25AE-FDB7-4447-8621-8CDF9B692E58}"/>
                </a:ext>
              </a:extLst>
            </p:cNvPr>
            <p:cNvGrpSpPr/>
            <p:nvPr/>
          </p:nvGrpSpPr>
          <p:grpSpPr>
            <a:xfrm>
              <a:off x="9846281" y="11516725"/>
              <a:ext cx="304682" cy="472687"/>
              <a:chOff x="9846281" y="11516725"/>
              <a:chExt cx="304682" cy="472687"/>
            </a:xfrm>
          </p:grpSpPr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AB301A80-6539-4D6B-93A4-D2A7811587D0}"/>
                  </a:ext>
                </a:extLst>
              </p:cNvPr>
              <p:cNvSpPr/>
              <p:nvPr/>
            </p:nvSpPr>
            <p:spPr>
              <a:xfrm>
                <a:off x="9846281" y="11639986"/>
                <a:ext cx="304682" cy="349426"/>
              </a:xfrm>
              <a:custGeom>
                <a:avLst/>
                <a:gdLst>
                  <a:gd name="connsiteX0" fmla="*/ 211305 w 304682"/>
                  <a:gd name="connsiteY0" fmla="*/ 29348 h 349426"/>
                  <a:gd name="connsiteX1" fmla="*/ 243587 w 304682"/>
                  <a:gd name="connsiteY1" fmla="*/ 223044 h 349426"/>
                  <a:gd name="connsiteX2" fmla="*/ 108587 w 304682"/>
                  <a:gd name="connsiteY2" fmla="*/ 23478 h 349426"/>
                  <a:gd name="connsiteX3" fmla="*/ 96847 w 304682"/>
                  <a:gd name="connsiteY3" fmla="*/ 0 h 349426"/>
                  <a:gd name="connsiteX4" fmla="*/ 46957 w 304682"/>
                  <a:gd name="connsiteY4" fmla="*/ 58696 h 349426"/>
                  <a:gd name="connsiteX5" fmla="*/ 0 w 304682"/>
                  <a:gd name="connsiteY5" fmla="*/ 184891 h 349426"/>
                  <a:gd name="connsiteX6" fmla="*/ 23478 w 304682"/>
                  <a:gd name="connsiteY6" fmla="*/ 196631 h 349426"/>
                  <a:gd name="connsiteX7" fmla="*/ 82174 w 304682"/>
                  <a:gd name="connsiteY7" fmla="*/ 108587 h 349426"/>
                  <a:gd name="connsiteX8" fmla="*/ 149674 w 304682"/>
                  <a:gd name="connsiteY8" fmla="*/ 281739 h 349426"/>
                  <a:gd name="connsiteX9" fmla="*/ 284674 w 304682"/>
                  <a:gd name="connsiteY9" fmla="*/ 349239 h 349426"/>
                  <a:gd name="connsiteX10" fmla="*/ 302282 w 304682"/>
                  <a:gd name="connsiteY10" fmla="*/ 308152 h 349426"/>
                  <a:gd name="connsiteX11" fmla="*/ 211305 w 304682"/>
                  <a:gd name="connsiteY11" fmla="*/ 29348 h 349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4682" h="349426">
                    <a:moveTo>
                      <a:pt x="211305" y="29348"/>
                    </a:moveTo>
                    <a:cubicBezTo>
                      <a:pt x="211305" y="29348"/>
                      <a:pt x="264130" y="220109"/>
                      <a:pt x="243587" y="223044"/>
                    </a:cubicBezTo>
                    <a:cubicBezTo>
                      <a:pt x="225979" y="223044"/>
                      <a:pt x="108587" y="23478"/>
                      <a:pt x="108587" y="23478"/>
                    </a:cubicBezTo>
                    <a:lnTo>
                      <a:pt x="96847" y="0"/>
                    </a:lnTo>
                    <a:cubicBezTo>
                      <a:pt x="96847" y="0"/>
                      <a:pt x="55761" y="35218"/>
                      <a:pt x="46957" y="58696"/>
                    </a:cubicBezTo>
                    <a:cubicBezTo>
                      <a:pt x="41087" y="85109"/>
                      <a:pt x="0" y="184891"/>
                      <a:pt x="0" y="184891"/>
                    </a:cubicBezTo>
                    <a:lnTo>
                      <a:pt x="23478" y="196631"/>
                    </a:lnTo>
                    <a:lnTo>
                      <a:pt x="82174" y="108587"/>
                    </a:lnTo>
                    <a:cubicBezTo>
                      <a:pt x="82174" y="108587"/>
                      <a:pt x="135000" y="270000"/>
                      <a:pt x="149674" y="281739"/>
                    </a:cubicBezTo>
                    <a:cubicBezTo>
                      <a:pt x="167283" y="296413"/>
                      <a:pt x="275869" y="346304"/>
                      <a:pt x="284674" y="349239"/>
                    </a:cubicBezTo>
                    <a:cubicBezTo>
                      <a:pt x="293478" y="352174"/>
                      <a:pt x="311087" y="319891"/>
                      <a:pt x="302282" y="308152"/>
                    </a:cubicBezTo>
                    <a:cubicBezTo>
                      <a:pt x="261195" y="234783"/>
                      <a:pt x="211305" y="29348"/>
                      <a:pt x="211305" y="2934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A19FAF4A-F2BE-4BA2-B364-4517B5F1FC74}"/>
                  </a:ext>
                </a:extLst>
              </p:cNvPr>
              <p:cNvSpPr/>
              <p:nvPr/>
            </p:nvSpPr>
            <p:spPr>
              <a:xfrm>
                <a:off x="9944929" y="11516725"/>
                <a:ext cx="165482" cy="346429"/>
              </a:xfrm>
              <a:custGeom>
                <a:avLst/>
                <a:gdLst>
                  <a:gd name="connsiteX0" fmla="*/ 165482 w 165482"/>
                  <a:gd name="connsiteY0" fmla="*/ 41088 h 346429"/>
                  <a:gd name="connsiteX1" fmla="*/ 112657 w 165482"/>
                  <a:gd name="connsiteY1" fmla="*/ 152609 h 346429"/>
                  <a:gd name="connsiteX2" fmla="*/ 144938 w 165482"/>
                  <a:gd name="connsiteY2" fmla="*/ 346305 h 346429"/>
                  <a:gd name="connsiteX3" fmla="*/ 1134 w 165482"/>
                  <a:gd name="connsiteY3" fmla="*/ 123261 h 346429"/>
                  <a:gd name="connsiteX4" fmla="*/ 74504 w 165482"/>
                  <a:gd name="connsiteY4" fmla="*/ 0 h 346429"/>
                  <a:gd name="connsiteX5" fmla="*/ 165482 w 165482"/>
                  <a:gd name="connsiteY5" fmla="*/ 41088 h 346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482" h="346429">
                    <a:moveTo>
                      <a:pt x="165482" y="41088"/>
                    </a:moveTo>
                    <a:lnTo>
                      <a:pt x="112657" y="152609"/>
                    </a:lnTo>
                    <a:cubicBezTo>
                      <a:pt x="112657" y="152609"/>
                      <a:pt x="171352" y="340435"/>
                      <a:pt x="144938" y="346305"/>
                    </a:cubicBezTo>
                    <a:cubicBezTo>
                      <a:pt x="118526" y="352174"/>
                      <a:pt x="-13540" y="149674"/>
                      <a:pt x="1134" y="123261"/>
                    </a:cubicBezTo>
                    <a:cubicBezTo>
                      <a:pt x="21678" y="79239"/>
                      <a:pt x="74504" y="0"/>
                      <a:pt x="74504" y="0"/>
                    </a:cubicBezTo>
                    <a:lnTo>
                      <a:pt x="165482" y="41088"/>
                    </a:ln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图形 1">
              <a:extLst>
                <a:ext uri="{FF2B5EF4-FFF2-40B4-BE49-F238E27FC236}">
                  <a16:creationId xmlns:a16="http://schemas.microsoft.com/office/drawing/2014/main" id="{E9C7FF5A-CDC9-4126-B421-71FFD6D97A38}"/>
                </a:ext>
              </a:extLst>
            </p:cNvPr>
            <p:cNvGrpSpPr/>
            <p:nvPr/>
          </p:nvGrpSpPr>
          <p:grpSpPr>
            <a:xfrm>
              <a:off x="9331752" y="12027378"/>
              <a:ext cx="350914" cy="371709"/>
              <a:chOff x="9331752" y="12027378"/>
              <a:chExt cx="350914" cy="371709"/>
            </a:xfrm>
          </p:grpSpPr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282FE45D-254A-4356-9B88-9206F9A332F2}"/>
                  </a:ext>
                </a:extLst>
              </p:cNvPr>
              <p:cNvSpPr/>
              <p:nvPr/>
            </p:nvSpPr>
            <p:spPr>
              <a:xfrm>
                <a:off x="9331752" y="12147703"/>
                <a:ext cx="350914" cy="251384"/>
              </a:xfrm>
              <a:custGeom>
                <a:avLst/>
                <a:gdLst>
                  <a:gd name="connsiteX0" fmla="*/ 133007 w 350914"/>
                  <a:gd name="connsiteY0" fmla="*/ 0 h 251384"/>
                  <a:gd name="connsiteX1" fmla="*/ 247464 w 350914"/>
                  <a:gd name="connsiteY1" fmla="*/ 158479 h 251384"/>
                  <a:gd name="connsiteX2" fmla="*/ 39094 w 350914"/>
                  <a:gd name="connsiteY2" fmla="*/ 35218 h 251384"/>
                  <a:gd name="connsiteX3" fmla="*/ 18551 w 350914"/>
                  <a:gd name="connsiteY3" fmla="*/ 20544 h 251384"/>
                  <a:gd name="connsiteX4" fmla="*/ 942 w 350914"/>
                  <a:gd name="connsiteY4" fmla="*/ 93913 h 251384"/>
                  <a:gd name="connsiteX5" fmla="*/ 12681 w 350914"/>
                  <a:gd name="connsiteY5" fmla="*/ 225979 h 251384"/>
                  <a:gd name="connsiteX6" fmla="*/ 39094 w 350914"/>
                  <a:gd name="connsiteY6" fmla="*/ 225979 h 251384"/>
                  <a:gd name="connsiteX7" fmla="*/ 53768 w 350914"/>
                  <a:gd name="connsiteY7" fmla="*/ 120326 h 251384"/>
                  <a:gd name="connsiteX8" fmla="*/ 191703 w 350914"/>
                  <a:gd name="connsiteY8" fmla="*/ 246522 h 251384"/>
                  <a:gd name="connsiteX9" fmla="*/ 344311 w 350914"/>
                  <a:gd name="connsiteY9" fmla="*/ 249457 h 251384"/>
                  <a:gd name="connsiteX10" fmla="*/ 344311 w 350914"/>
                  <a:gd name="connsiteY10" fmla="*/ 205435 h 251384"/>
                  <a:gd name="connsiteX11" fmla="*/ 133007 w 350914"/>
                  <a:gd name="connsiteY11" fmla="*/ 0 h 251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0914" h="251384">
                    <a:moveTo>
                      <a:pt x="133007" y="0"/>
                    </a:moveTo>
                    <a:cubicBezTo>
                      <a:pt x="133007" y="0"/>
                      <a:pt x="262137" y="149674"/>
                      <a:pt x="247464" y="158479"/>
                    </a:cubicBezTo>
                    <a:cubicBezTo>
                      <a:pt x="229855" y="167283"/>
                      <a:pt x="39094" y="35218"/>
                      <a:pt x="39094" y="35218"/>
                    </a:cubicBezTo>
                    <a:lnTo>
                      <a:pt x="18551" y="20544"/>
                    </a:lnTo>
                    <a:cubicBezTo>
                      <a:pt x="18551" y="20544"/>
                      <a:pt x="-4927" y="67501"/>
                      <a:pt x="942" y="93913"/>
                    </a:cubicBezTo>
                    <a:cubicBezTo>
                      <a:pt x="6811" y="120326"/>
                      <a:pt x="12681" y="225979"/>
                      <a:pt x="12681" y="225979"/>
                    </a:cubicBezTo>
                    <a:lnTo>
                      <a:pt x="39094" y="225979"/>
                    </a:lnTo>
                    <a:lnTo>
                      <a:pt x="53768" y="120326"/>
                    </a:lnTo>
                    <a:cubicBezTo>
                      <a:pt x="53768" y="120326"/>
                      <a:pt x="171159" y="243588"/>
                      <a:pt x="191703" y="246522"/>
                    </a:cubicBezTo>
                    <a:cubicBezTo>
                      <a:pt x="212246" y="252391"/>
                      <a:pt x="332573" y="252391"/>
                      <a:pt x="344311" y="249457"/>
                    </a:cubicBezTo>
                    <a:cubicBezTo>
                      <a:pt x="353116" y="249457"/>
                      <a:pt x="353116" y="211305"/>
                      <a:pt x="344311" y="205435"/>
                    </a:cubicBezTo>
                    <a:cubicBezTo>
                      <a:pt x="268007" y="164348"/>
                      <a:pt x="133007" y="0"/>
                      <a:pt x="133007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1FCD51A5-76E7-4B88-AFDE-2AD9557A00C0}"/>
                  </a:ext>
                </a:extLst>
              </p:cNvPr>
              <p:cNvSpPr/>
              <p:nvPr/>
            </p:nvSpPr>
            <p:spPr>
              <a:xfrm>
                <a:off x="9356142" y="12027378"/>
                <a:ext cx="228136" cy="283415"/>
              </a:xfrm>
              <a:custGeom>
                <a:avLst/>
                <a:gdLst>
                  <a:gd name="connsiteX0" fmla="*/ 108618 w 228136"/>
                  <a:gd name="connsiteY0" fmla="*/ 0 h 283415"/>
                  <a:gd name="connsiteX1" fmla="*/ 111553 w 228136"/>
                  <a:gd name="connsiteY1" fmla="*/ 123260 h 283415"/>
                  <a:gd name="connsiteX2" fmla="*/ 226009 w 228136"/>
                  <a:gd name="connsiteY2" fmla="*/ 281738 h 283415"/>
                  <a:gd name="connsiteX3" fmla="*/ 31 w 228136"/>
                  <a:gd name="connsiteY3" fmla="*/ 143804 h 283415"/>
                  <a:gd name="connsiteX4" fmla="*/ 31 w 228136"/>
                  <a:gd name="connsiteY4" fmla="*/ 0 h 283415"/>
                  <a:gd name="connsiteX5" fmla="*/ 108618 w 228136"/>
                  <a:gd name="connsiteY5" fmla="*/ 0 h 283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136" h="283415">
                    <a:moveTo>
                      <a:pt x="108618" y="0"/>
                    </a:moveTo>
                    <a:lnTo>
                      <a:pt x="111553" y="123260"/>
                    </a:lnTo>
                    <a:cubicBezTo>
                      <a:pt x="111553" y="123260"/>
                      <a:pt x="246552" y="267065"/>
                      <a:pt x="226009" y="281738"/>
                    </a:cubicBezTo>
                    <a:cubicBezTo>
                      <a:pt x="205465" y="299347"/>
                      <a:pt x="-2904" y="173152"/>
                      <a:pt x="31" y="143804"/>
                    </a:cubicBezTo>
                    <a:cubicBezTo>
                      <a:pt x="31" y="96847"/>
                      <a:pt x="31" y="0"/>
                      <a:pt x="31" y="0"/>
                    </a:cubicBezTo>
                    <a:lnTo>
                      <a:pt x="108618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A31BE80-A456-49C3-9CF7-C82A99D98884}"/>
                </a:ext>
              </a:extLst>
            </p:cNvPr>
            <p:cNvSpPr/>
            <p:nvPr/>
          </p:nvSpPr>
          <p:spPr>
            <a:xfrm>
              <a:off x="9182311" y="9682486"/>
              <a:ext cx="1304749" cy="2418261"/>
            </a:xfrm>
            <a:custGeom>
              <a:avLst/>
              <a:gdLst>
                <a:gd name="connsiteX0" fmla="*/ 126905 w 1304749"/>
                <a:gd name="connsiteY0" fmla="*/ 0 h 2418261"/>
                <a:gd name="connsiteX1" fmla="*/ 760817 w 1304749"/>
                <a:gd name="connsiteY1" fmla="*/ 11740 h 2418261"/>
                <a:gd name="connsiteX2" fmla="*/ 1286144 w 1304749"/>
                <a:gd name="connsiteY2" fmla="*/ 895109 h 2418261"/>
                <a:gd name="connsiteX3" fmla="*/ 1297883 w 1304749"/>
                <a:gd name="connsiteY3" fmla="*/ 1000761 h 2418261"/>
                <a:gd name="connsiteX4" fmla="*/ 948644 w 1304749"/>
                <a:gd name="connsiteY4" fmla="*/ 1975109 h 2418261"/>
                <a:gd name="connsiteX5" fmla="*/ 772557 w 1304749"/>
                <a:gd name="connsiteY5" fmla="*/ 1884131 h 2418261"/>
                <a:gd name="connsiteX6" fmla="*/ 945709 w 1304749"/>
                <a:gd name="connsiteY6" fmla="*/ 1033044 h 2418261"/>
                <a:gd name="connsiteX7" fmla="*/ 549514 w 1304749"/>
                <a:gd name="connsiteY7" fmla="*/ 669131 h 2418261"/>
                <a:gd name="connsiteX8" fmla="*/ 338209 w 1304749"/>
                <a:gd name="connsiteY8" fmla="*/ 2418262 h 2418261"/>
                <a:gd name="connsiteX9" fmla="*/ 150383 w 1304749"/>
                <a:gd name="connsiteY9" fmla="*/ 2418262 h 2418261"/>
                <a:gd name="connsiteX10" fmla="*/ 709 w 1304749"/>
                <a:gd name="connsiteY10" fmla="*/ 402066 h 2418261"/>
                <a:gd name="connsiteX11" fmla="*/ 126905 w 1304749"/>
                <a:gd name="connsiteY11" fmla="*/ 0 h 241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04749" h="2418261">
                  <a:moveTo>
                    <a:pt x="126905" y="0"/>
                  </a:moveTo>
                  <a:lnTo>
                    <a:pt x="760817" y="11740"/>
                  </a:lnTo>
                  <a:lnTo>
                    <a:pt x="1286144" y="895109"/>
                  </a:lnTo>
                  <a:cubicBezTo>
                    <a:pt x="1306687" y="927392"/>
                    <a:pt x="1309622" y="965544"/>
                    <a:pt x="1297883" y="1000761"/>
                  </a:cubicBezTo>
                  <a:lnTo>
                    <a:pt x="948644" y="1975109"/>
                  </a:lnTo>
                  <a:lnTo>
                    <a:pt x="772557" y="1884131"/>
                  </a:lnTo>
                  <a:lnTo>
                    <a:pt x="945709" y="1033044"/>
                  </a:lnTo>
                  <a:lnTo>
                    <a:pt x="549514" y="669131"/>
                  </a:lnTo>
                  <a:lnTo>
                    <a:pt x="338209" y="2418262"/>
                  </a:lnTo>
                  <a:lnTo>
                    <a:pt x="150383" y="2418262"/>
                  </a:lnTo>
                  <a:cubicBezTo>
                    <a:pt x="150383" y="2418262"/>
                    <a:pt x="9513" y="516522"/>
                    <a:pt x="709" y="402066"/>
                  </a:cubicBezTo>
                  <a:cubicBezTo>
                    <a:pt x="-11030" y="284674"/>
                    <a:pt x="126905" y="0"/>
                    <a:pt x="126905" y="0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B23B9976-552B-43A1-88E9-642570332C7F}"/>
                </a:ext>
              </a:extLst>
            </p:cNvPr>
            <p:cNvSpPr/>
            <p:nvPr/>
          </p:nvSpPr>
          <p:spPr>
            <a:xfrm>
              <a:off x="9511716" y="10152051"/>
              <a:ext cx="223043" cy="1954565"/>
            </a:xfrm>
            <a:custGeom>
              <a:avLst/>
              <a:gdLst>
                <a:gd name="connsiteX0" fmla="*/ 5869 w 223043"/>
                <a:gd name="connsiteY0" fmla="*/ 1954565 h 1954565"/>
                <a:gd name="connsiteX1" fmla="*/ 5869 w 223043"/>
                <a:gd name="connsiteY1" fmla="*/ 1954565 h 1954565"/>
                <a:gd name="connsiteX2" fmla="*/ 0 w 223043"/>
                <a:gd name="connsiteY2" fmla="*/ 1948696 h 1954565"/>
                <a:gd name="connsiteX3" fmla="*/ 211304 w 223043"/>
                <a:gd name="connsiteY3" fmla="*/ 199566 h 1954565"/>
                <a:gd name="connsiteX4" fmla="*/ 199565 w 223043"/>
                <a:gd name="connsiteY4" fmla="*/ 5870 h 1954565"/>
                <a:gd name="connsiteX5" fmla="*/ 205435 w 223043"/>
                <a:gd name="connsiteY5" fmla="*/ 0 h 1954565"/>
                <a:gd name="connsiteX6" fmla="*/ 211304 w 223043"/>
                <a:gd name="connsiteY6" fmla="*/ 5870 h 1954565"/>
                <a:gd name="connsiteX7" fmla="*/ 223043 w 223043"/>
                <a:gd name="connsiteY7" fmla="*/ 199566 h 1954565"/>
                <a:gd name="connsiteX8" fmla="*/ 11739 w 223043"/>
                <a:gd name="connsiteY8" fmla="*/ 1951630 h 1954565"/>
                <a:gd name="connsiteX9" fmla="*/ 5869 w 223043"/>
                <a:gd name="connsiteY9" fmla="*/ 1954565 h 195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043" h="1954565">
                  <a:moveTo>
                    <a:pt x="5869" y="1954565"/>
                  </a:moveTo>
                  <a:cubicBezTo>
                    <a:pt x="5869" y="1954565"/>
                    <a:pt x="5869" y="1954565"/>
                    <a:pt x="5869" y="1954565"/>
                  </a:cubicBezTo>
                  <a:cubicBezTo>
                    <a:pt x="2935" y="1954565"/>
                    <a:pt x="0" y="1951630"/>
                    <a:pt x="0" y="1948696"/>
                  </a:cubicBezTo>
                  <a:lnTo>
                    <a:pt x="211304" y="199566"/>
                  </a:lnTo>
                  <a:lnTo>
                    <a:pt x="199565" y="5870"/>
                  </a:lnTo>
                  <a:cubicBezTo>
                    <a:pt x="199565" y="2935"/>
                    <a:pt x="202500" y="0"/>
                    <a:pt x="205435" y="0"/>
                  </a:cubicBezTo>
                  <a:cubicBezTo>
                    <a:pt x="208369" y="0"/>
                    <a:pt x="211304" y="2935"/>
                    <a:pt x="211304" y="5870"/>
                  </a:cubicBezTo>
                  <a:lnTo>
                    <a:pt x="223043" y="199566"/>
                  </a:lnTo>
                  <a:lnTo>
                    <a:pt x="11739" y="1951630"/>
                  </a:lnTo>
                  <a:cubicBezTo>
                    <a:pt x="11739" y="1954565"/>
                    <a:pt x="8804" y="1954565"/>
                    <a:pt x="5869" y="1954565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76AAD3CE-F184-4AA8-B6DA-CAA1CE4E405E}"/>
                </a:ext>
              </a:extLst>
            </p:cNvPr>
            <p:cNvSpPr/>
            <p:nvPr/>
          </p:nvSpPr>
          <p:spPr>
            <a:xfrm>
              <a:off x="9249013" y="8765471"/>
              <a:ext cx="789897" cy="949384"/>
            </a:xfrm>
            <a:custGeom>
              <a:avLst/>
              <a:gdLst>
                <a:gd name="connsiteX0" fmla="*/ 42594 w 789897"/>
                <a:gd name="connsiteY0" fmla="*/ 377015 h 949384"/>
                <a:gd name="connsiteX1" fmla="*/ 57268 w 789897"/>
                <a:gd name="connsiteY1" fmla="*/ 65928 h 949384"/>
                <a:gd name="connsiteX2" fmla="*/ 412376 w 789897"/>
                <a:gd name="connsiteY2" fmla="*/ 4298 h 949384"/>
                <a:gd name="connsiteX3" fmla="*/ 702920 w 789897"/>
                <a:gd name="connsiteY3" fmla="*/ 101146 h 949384"/>
                <a:gd name="connsiteX4" fmla="*/ 741072 w 789897"/>
                <a:gd name="connsiteY4" fmla="*/ 629406 h 949384"/>
                <a:gd name="connsiteX5" fmla="*/ 699985 w 789897"/>
                <a:gd name="connsiteY5" fmla="*/ 943429 h 949384"/>
                <a:gd name="connsiteX6" fmla="*/ 48464 w 789897"/>
                <a:gd name="connsiteY6" fmla="*/ 928755 h 949384"/>
                <a:gd name="connsiteX7" fmla="*/ 42594 w 789897"/>
                <a:gd name="connsiteY7" fmla="*/ 377015 h 949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9897" h="949384">
                  <a:moveTo>
                    <a:pt x="42594" y="377015"/>
                  </a:moveTo>
                  <a:cubicBezTo>
                    <a:pt x="33790" y="347667"/>
                    <a:pt x="-57189" y="127558"/>
                    <a:pt x="57268" y="65928"/>
                  </a:cubicBezTo>
                  <a:cubicBezTo>
                    <a:pt x="157050" y="13102"/>
                    <a:pt x="297920" y="-10376"/>
                    <a:pt x="412376" y="4298"/>
                  </a:cubicBezTo>
                  <a:cubicBezTo>
                    <a:pt x="538572" y="18972"/>
                    <a:pt x="664768" y="39515"/>
                    <a:pt x="702920" y="101146"/>
                  </a:cubicBezTo>
                  <a:cubicBezTo>
                    <a:pt x="811507" y="280167"/>
                    <a:pt x="811507" y="438646"/>
                    <a:pt x="741072" y="629406"/>
                  </a:cubicBezTo>
                  <a:cubicBezTo>
                    <a:pt x="720529" y="685167"/>
                    <a:pt x="714659" y="814297"/>
                    <a:pt x="699985" y="943429"/>
                  </a:cubicBezTo>
                  <a:cubicBezTo>
                    <a:pt x="699985" y="943429"/>
                    <a:pt x="427050" y="963972"/>
                    <a:pt x="48464" y="928755"/>
                  </a:cubicBezTo>
                  <a:cubicBezTo>
                    <a:pt x="77811" y="717450"/>
                    <a:pt x="51398" y="397559"/>
                    <a:pt x="42594" y="377015"/>
                  </a:cubicBezTo>
                  <a:close/>
                </a:path>
              </a:pathLst>
            </a:custGeom>
            <a:solidFill>
              <a:srgbClr val="D16156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77F309AC-45CC-49B2-8D56-258C24F90A25}"/>
                </a:ext>
              </a:extLst>
            </p:cNvPr>
            <p:cNvSpPr/>
            <p:nvPr/>
          </p:nvSpPr>
          <p:spPr>
            <a:xfrm>
              <a:off x="9473564" y="8593682"/>
              <a:ext cx="296412" cy="215923"/>
            </a:xfrm>
            <a:custGeom>
              <a:avLst/>
              <a:gdLst>
                <a:gd name="connsiteX0" fmla="*/ 243587 w 296412"/>
                <a:gd name="connsiteY0" fmla="*/ 58696 h 215923"/>
                <a:gd name="connsiteX1" fmla="*/ 296413 w 296412"/>
                <a:gd name="connsiteY1" fmla="*/ 193696 h 215923"/>
                <a:gd name="connsiteX2" fmla="*/ 0 w 296412"/>
                <a:gd name="connsiteY2" fmla="*/ 179022 h 215923"/>
                <a:gd name="connsiteX3" fmla="*/ 49891 w 296412"/>
                <a:gd name="connsiteY3" fmla="*/ 0 h 215923"/>
                <a:gd name="connsiteX4" fmla="*/ 243587 w 296412"/>
                <a:gd name="connsiteY4" fmla="*/ 58696 h 215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6412" h="215923">
                  <a:moveTo>
                    <a:pt x="243587" y="58696"/>
                  </a:moveTo>
                  <a:cubicBezTo>
                    <a:pt x="243587" y="58696"/>
                    <a:pt x="237717" y="164348"/>
                    <a:pt x="296413" y="193696"/>
                  </a:cubicBezTo>
                  <a:cubicBezTo>
                    <a:pt x="296413" y="193696"/>
                    <a:pt x="123261" y="252391"/>
                    <a:pt x="0" y="179022"/>
                  </a:cubicBezTo>
                  <a:cubicBezTo>
                    <a:pt x="52826" y="137935"/>
                    <a:pt x="49891" y="58696"/>
                    <a:pt x="49891" y="0"/>
                  </a:cubicBezTo>
                  <a:cubicBezTo>
                    <a:pt x="46956" y="0"/>
                    <a:pt x="190761" y="64565"/>
                    <a:pt x="243587" y="58696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7DB8365F-DD0A-4C3D-89D3-8D8ED19631BF}"/>
                </a:ext>
              </a:extLst>
            </p:cNvPr>
            <p:cNvSpPr/>
            <p:nvPr/>
          </p:nvSpPr>
          <p:spPr>
            <a:xfrm>
              <a:off x="9941913" y="8859532"/>
              <a:ext cx="99591" cy="538281"/>
            </a:xfrm>
            <a:custGeom>
              <a:avLst/>
              <a:gdLst>
                <a:gd name="connsiteX0" fmla="*/ 45237 w 99591"/>
                <a:gd name="connsiteY0" fmla="*/ 538281 h 538281"/>
                <a:gd name="connsiteX1" fmla="*/ 45237 w 99591"/>
                <a:gd name="connsiteY1" fmla="*/ 538281 h 538281"/>
                <a:gd name="connsiteX2" fmla="*/ 39368 w 99591"/>
                <a:gd name="connsiteY2" fmla="*/ 532411 h 538281"/>
                <a:gd name="connsiteX3" fmla="*/ 54042 w 99591"/>
                <a:gd name="connsiteY3" fmla="*/ 479585 h 538281"/>
                <a:gd name="connsiteX4" fmla="*/ 86325 w 99591"/>
                <a:gd name="connsiteY4" fmla="*/ 335781 h 538281"/>
                <a:gd name="connsiteX5" fmla="*/ 1215 w 99591"/>
                <a:gd name="connsiteY5" fmla="*/ 10020 h 538281"/>
                <a:gd name="connsiteX6" fmla="*/ 4150 w 99591"/>
                <a:gd name="connsiteY6" fmla="*/ 1216 h 538281"/>
                <a:gd name="connsiteX7" fmla="*/ 12955 w 99591"/>
                <a:gd name="connsiteY7" fmla="*/ 4150 h 538281"/>
                <a:gd name="connsiteX8" fmla="*/ 98064 w 99591"/>
                <a:gd name="connsiteY8" fmla="*/ 335781 h 538281"/>
                <a:gd name="connsiteX9" fmla="*/ 65781 w 99591"/>
                <a:gd name="connsiteY9" fmla="*/ 479585 h 538281"/>
                <a:gd name="connsiteX10" fmla="*/ 51107 w 99591"/>
                <a:gd name="connsiteY10" fmla="*/ 532411 h 538281"/>
                <a:gd name="connsiteX11" fmla="*/ 45237 w 99591"/>
                <a:gd name="connsiteY11" fmla="*/ 538281 h 538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591" h="538281">
                  <a:moveTo>
                    <a:pt x="45237" y="538281"/>
                  </a:moveTo>
                  <a:cubicBezTo>
                    <a:pt x="45237" y="538281"/>
                    <a:pt x="45237" y="538281"/>
                    <a:pt x="45237" y="538281"/>
                  </a:cubicBezTo>
                  <a:cubicBezTo>
                    <a:pt x="42303" y="538281"/>
                    <a:pt x="39368" y="535346"/>
                    <a:pt x="39368" y="532411"/>
                  </a:cubicBezTo>
                  <a:cubicBezTo>
                    <a:pt x="45237" y="514802"/>
                    <a:pt x="48172" y="497194"/>
                    <a:pt x="54042" y="479585"/>
                  </a:cubicBezTo>
                  <a:cubicBezTo>
                    <a:pt x="68716" y="429694"/>
                    <a:pt x="83390" y="379803"/>
                    <a:pt x="86325" y="335781"/>
                  </a:cubicBezTo>
                  <a:cubicBezTo>
                    <a:pt x="92194" y="218389"/>
                    <a:pt x="65781" y="109803"/>
                    <a:pt x="1215" y="10020"/>
                  </a:cubicBezTo>
                  <a:cubicBezTo>
                    <a:pt x="-1719" y="7085"/>
                    <a:pt x="1215" y="4150"/>
                    <a:pt x="4150" y="1216"/>
                  </a:cubicBezTo>
                  <a:cubicBezTo>
                    <a:pt x="7085" y="-1719"/>
                    <a:pt x="10020" y="1216"/>
                    <a:pt x="12955" y="4150"/>
                  </a:cubicBezTo>
                  <a:cubicBezTo>
                    <a:pt x="77520" y="106868"/>
                    <a:pt x="106868" y="218389"/>
                    <a:pt x="98064" y="335781"/>
                  </a:cubicBezTo>
                  <a:cubicBezTo>
                    <a:pt x="95129" y="379803"/>
                    <a:pt x="80455" y="432629"/>
                    <a:pt x="65781" y="479585"/>
                  </a:cubicBezTo>
                  <a:cubicBezTo>
                    <a:pt x="59911" y="497194"/>
                    <a:pt x="54042" y="514802"/>
                    <a:pt x="51107" y="532411"/>
                  </a:cubicBezTo>
                  <a:cubicBezTo>
                    <a:pt x="51107" y="535346"/>
                    <a:pt x="48172" y="538281"/>
                    <a:pt x="45237" y="538281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46DE8F05-BE4D-4099-8E53-6AB1B75290A4}"/>
                </a:ext>
              </a:extLst>
            </p:cNvPr>
            <p:cNvSpPr/>
            <p:nvPr/>
          </p:nvSpPr>
          <p:spPr>
            <a:xfrm>
              <a:off x="9538129" y="9286478"/>
              <a:ext cx="384456" cy="35030"/>
            </a:xfrm>
            <a:custGeom>
              <a:avLst/>
              <a:gdLst>
                <a:gd name="connsiteX0" fmla="*/ 381522 w 384456"/>
                <a:gd name="connsiteY0" fmla="*/ 35031 h 35030"/>
                <a:gd name="connsiteX1" fmla="*/ 381522 w 384456"/>
                <a:gd name="connsiteY1" fmla="*/ 35031 h 35030"/>
                <a:gd name="connsiteX2" fmla="*/ 5869 w 384456"/>
                <a:gd name="connsiteY2" fmla="*/ 23292 h 35030"/>
                <a:gd name="connsiteX3" fmla="*/ 0 w 384456"/>
                <a:gd name="connsiteY3" fmla="*/ 20357 h 35030"/>
                <a:gd name="connsiteX4" fmla="*/ 2935 w 384456"/>
                <a:gd name="connsiteY4" fmla="*/ 14487 h 35030"/>
                <a:gd name="connsiteX5" fmla="*/ 381522 w 384456"/>
                <a:gd name="connsiteY5" fmla="*/ 26227 h 35030"/>
                <a:gd name="connsiteX6" fmla="*/ 384457 w 384456"/>
                <a:gd name="connsiteY6" fmla="*/ 32096 h 35030"/>
                <a:gd name="connsiteX7" fmla="*/ 381522 w 384456"/>
                <a:gd name="connsiteY7" fmla="*/ 35031 h 35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456" h="35030">
                  <a:moveTo>
                    <a:pt x="381522" y="35031"/>
                  </a:moveTo>
                  <a:cubicBezTo>
                    <a:pt x="378587" y="35031"/>
                    <a:pt x="378587" y="35031"/>
                    <a:pt x="381522" y="35031"/>
                  </a:cubicBezTo>
                  <a:cubicBezTo>
                    <a:pt x="299348" y="5683"/>
                    <a:pt x="102717" y="-187"/>
                    <a:pt x="5869" y="23292"/>
                  </a:cubicBezTo>
                  <a:cubicBezTo>
                    <a:pt x="2935" y="23292"/>
                    <a:pt x="0" y="23292"/>
                    <a:pt x="0" y="20357"/>
                  </a:cubicBezTo>
                  <a:cubicBezTo>
                    <a:pt x="0" y="17422"/>
                    <a:pt x="0" y="14487"/>
                    <a:pt x="2935" y="14487"/>
                  </a:cubicBezTo>
                  <a:cubicBezTo>
                    <a:pt x="99782" y="-8991"/>
                    <a:pt x="299348" y="-3121"/>
                    <a:pt x="381522" y="26227"/>
                  </a:cubicBezTo>
                  <a:cubicBezTo>
                    <a:pt x="384457" y="26227"/>
                    <a:pt x="384457" y="29161"/>
                    <a:pt x="384457" y="32096"/>
                  </a:cubicBezTo>
                  <a:cubicBezTo>
                    <a:pt x="384457" y="32096"/>
                    <a:pt x="381522" y="35031"/>
                    <a:pt x="381522" y="35031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61E83B83-C69B-450C-812E-7A64A0AE6D3F}"/>
                </a:ext>
              </a:extLst>
            </p:cNvPr>
            <p:cNvSpPr/>
            <p:nvPr/>
          </p:nvSpPr>
          <p:spPr>
            <a:xfrm>
              <a:off x="9447150" y="8772704"/>
              <a:ext cx="346304" cy="61630"/>
            </a:xfrm>
            <a:custGeom>
              <a:avLst/>
              <a:gdLst>
                <a:gd name="connsiteX0" fmla="*/ 311087 w 346304"/>
                <a:gd name="connsiteY0" fmla="*/ 8804 h 61630"/>
                <a:gd name="connsiteX1" fmla="*/ 23478 w 346304"/>
                <a:gd name="connsiteY1" fmla="*/ 0 h 61630"/>
                <a:gd name="connsiteX2" fmla="*/ 0 w 346304"/>
                <a:gd name="connsiteY2" fmla="*/ 8804 h 61630"/>
                <a:gd name="connsiteX3" fmla="*/ 181957 w 346304"/>
                <a:gd name="connsiteY3" fmla="*/ 61630 h 61630"/>
                <a:gd name="connsiteX4" fmla="*/ 346304 w 346304"/>
                <a:gd name="connsiteY4" fmla="*/ 14674 h 61630"/>
                <a:gd name="connsiteX5" fmla="*/ 311087 w 346304"/>
                <a:gd name="connsiteY5" fmla="*/ 8804 h 61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6304" h="61630">
                  <a:moveTo>
                    <a:pt x="311087" y="8804"/>
                  </a:moveTo>
                  <a:cubicBezTo>
                    <a:pt x="311087" y="8804"/>
                    <a:pt x="202500" y="64565"/>
                    <a:pt x="23478" y="0"/>
                  </a:cubicBezTo>
                  <a:lnTo>
                    <a:pt x="0" y="8804"/>
                  </a:lnTo>
                  <a:cubicBezTo>
                    <a:pt x="0" y="8804"/>
                    <a:pt x="76305" y="61630"/>
                    <a:pt x="181957" y="61630"/>
                  </a:cubicBezTo>
                  <a:cubicBezTo>
                    <a:pt x="281739" y="61630"/>
                    <a:pt x="346304" y="14674"/>
                    <a:pt x="346304" y="14674"/>
                  </a:cubicBezTo>
                  <a:cubicBezTo>
                    <a:pt x="346304" y="14674"/>
                    <a:pt x="331631" y="8804"/>
                    <a:pt x="311087" y="8804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40537B71-172C-482C-BEE5-B91991B33373}"/>
                </a:ext>
              </a:extLst>
            </p:cNvPr>
            <p:cNvSpPr/>
            <p:nvPr/>
          </p:nvSpPr>
          <p:spPr>
            <a:xfrm>
              <a:off x="8437585" y="8897430"/>
              <a:ext cx="926038" cy="607353"/>
            </a:xfrm>
            <a:custGeom>
              <a:avLst/>
              <a:gdLst>
                <a:gd name="connsiteX0" fmla="*/ 921522 w 926038"/>
                <a:gd name="connsiteY0" fmla="*/ 110056 h 607353"/>
                <a:gd name="connsiteX1" fmla="*/ 727826 w 926038"/>
                <a:gd name="connsiteY1" fmla="*/ 86578 h 607353"/>
                <a:gd name="connsiteX2" fmla="*/ 419674 w 926038"/>
                <a:gd name="connsiteY2" fmla="*/ 421143 h 607353"/>
                <a:gd name="connsiteX3" fmla="*/ 41087 w 926038"/>
                <a:gd name="connsiteY3" fmla="*/ 397665 h 607353"/>
                <a:gd name="connsiteX4" fmla="*/ 0 w 926038"/>
                <a:gd name="connsiteY4" fmla="*/ 509186 h 607353"/>
                <a:gd name="connsiteX5" fmla="*/ 531196 w 926038"/>
                <a:gd name="connsiteY5" fmla="*/ 594295 h 607353"/>
                <a:gd name="connsiteX6" fmla="*/ 921522 w 926038"/>
                <a:gd name="connsiteY6" fmla="*/ 110056 h 607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6038" h="607353">
                  <a:moveTo>
                    <a:pt x="921522" y="110056"/>
                  </a:moveTo>
                  <a:cubicBezTo>
                    <a:pt x="868696" y="-60161"/>
                    <a:pt x="812935" y="-4401"/>
                    <a:pt x="727826" y="86578"/>
                  </a:cubicBezTo>
                  <a:cubicBezTo>
                    <a:pt x="639783" y="183426"/>
                    <a:pt x="446087" y="406469"/>
                    <a:pt x="419674" y="421143"/>
                  </a:cubicBezTo>
                  <a:cubicBezTo>
                    <a:pt x="360978" y="418208"/>
                    <a:pt x="41087" y="397665"/>
                    <a:pt x="41087" y="397665"/>
                  </a:cubicBezTo>
                  <a:cubicBezTo>
                    <a:pt x="46957" y="427013"/>
                    <a:pt x="0" y="509186"/>
                    <a:pt x="0" y="509186"/>
                  </a:cubicBezTo>
                  <a:cubicBezTo>
                    <a:pt x="0" y="509186"/>
                    <a:pt x="413805" y="650057"/>
                    <a:pt x="531196" y="594295"/>
                  </a:cubicBezTo>
                  <a:cubicBezTo>
                    <a:pt x="592826" y="570817"/>
                    <a:pt x="971413" y="280274"/>
                    <a:pt x="921522" y="110056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8ED1A1AA-7909-4762-9E9A-E9F52912A886}"/>
                </a:ext>
              </a:extLst>
            </p:cNvPr>
            <p:cNvSpPr/>
            <p:nvPr/>
          </p:nvSpPr>
          <p:spPr>
            <a:xfrm>
              <a:off x="9065629" y="8809934"/>
              <a:ext cx="388412" cy="429400"/>
            </a:xfrm>
            <a:custGeom>
              <a:avLst/>
              <a:gdLst>
                <a:gd name="connsiteX0" fmla="*/ 0 w 388412"/>
                <a:gd name="connsiteY0" fmla="*/ 221031 h 429400"/>
                <a:gd name="connsiteX1" fmla="*/ 322826 w 388412"/>
                <a:gd name="connsiteY1" fmla="*/ 3857 h 429400"/>
                <a:gd name="connsiteX2" fmla="*/ 296413 w 388412"/>
                <a:gd name="connsiteY2" fmla="*/ 429401 h 429400"/>
                <a:gd name="connsiteX3" fmla="*/ 0 w 388412"/>
                <a:gd name="connsiteY3" fmla="*/ 221031 h 42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8412" h="429400">
                  <a:moveTo>
                    <a:pt x="0" y="221031"/>
                  </a:moveTo>
                  <a:cubicBezTo>
                    <a:pt x="85109" y="65488"/>
                    <a:pt x="249457" y="-19621"/>
                    <a:pt x="322826" y="3857"/>
                  </a:cubicBezTo>
                  <a:cubicBezTo>
                    <a:pt x="419674" y="33205"/>
                    <a:pt x="407935" y="265053"/>
                    <a:pt x="296413" y="429401"/>
                  </a:cubicBezTo>
                  <a:cubicBezTo>
                    <a:pt x="220109" y="426466"/>
                    <a:pt x="67500" y="294401"/>
                    <a:pt x="0" y="221031"/>
                  </a:cubicBezTo>
                  <a:close/>
                </a:path>
              </a:pathLst>
            </a:custGeom>
            <a:solidFill>
              <a:srgbClr val="D16156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1A72CE65-158B-4336-87A7-BFE03BEB903B}"/>
                </a:ext>
              </a:extLst>
            </p:cNvPr>
            <p:cNvSpPr/>
            <p:nvPr/>
          </p:nvSpPr>
          <p:spPr>
            <a:xfrm>
              <a:off x="9230710" y="8819660"/>
              <a:ext cx="226839" cy="425543"/>
            </a:xfrm>
            <a:custGeom>
              <a:avLst/>
              <a:gdLst>
                <a:gd name="connsiteX0" fmla="*/ 125462 w 226839"/>
                <a:gd name="connsiteY0" fmla="*/ 425543 h 425543"/>
                <a:gd name="connsiteX1" fmla="*/ 2201 w 226839"/>
                <a:gd name="connsiteY1" fmla="*/ 358044 h 425543"/>
                <a:gd name="connsiteX2" fmla="*/ 2201 w 226839"/>
                <a:gd name="connsiteY2" fmla="*/ 349239 h 425543"/>
                <a:gd name="connsiteX3" fmla="*/ 11005 w 226839"/>
                <a:gd name="connsiteY3" fmla="*/ 349239 h 425543"/>
                <a:gd name="connsiteX4" fmla="*/ 128397 w 226839"/>
                <a:gd name="connsiteY4" fmla="*/ 413805 h 425543"/>
                <a:gd name="connsiteX5" fmla="*/ 213505 w 226839"/>
                <a:gd name="connsiteY5" fmla="*/ 64566 h 425543"/>
                <a:gd name="connsiteX6" fmla="*/ 181223 w 226839"/>
                <a:gd name="connsiteY6" fmla="*/ 11739 h 425543"/>
                <a:gd name="connsiteX7" fmla="*/ 178288 w 226839"/>
                <a:gd name="connsiteY7" fmla="*/ 2935 h 425543"/>
                <a:gd name="connsiteX8" fmla="*/ 187092 w 226839"/>
                <a:gd name="connsiteY8" fmla="*/ 0 h 425543"/>
                <a:gd name="connsiteX9" fmla="*/ 222310 w 226839"/>
                <a:gd name="connsiteY9" fmla="*/ 58696 h 425543"/>
                <a:gd name="connsiteX10" fmla="*/ 134266 w 226839"/>
                <a:gd name="connsiteY10" fmla="*/ 419674 h 425543"/>
                <a:gd name="connsiteX11" fmla="*/ 134266 w 226839"/>
                <a:gd name="connsiteY11" fmla="*/ 419674 h 425543"/>
                <a:gd name="connsiteX12" fmla="*/ 134266 w 226839"/>
                <a:gd name="connsiteY12" fmla="*/ 419674 h 425543"/>
                <a:gd name="connsiteX13" fmla="*/ 125462 w 226839"/>
                <a:gd name="connsiteY13" fmla="*/ 425543 h 425543"/>
                <a:gd name="connsiteX14" fmla="*/ 128397 w 226839"/>
                <a:gd name="connsiteY14" fmla="*/ 419674 h 425543"/>
                <a:gd name="connsiteX15" fmla="*/ 128397 w 226839"/>
                <a:gd name="connsiteY15" fmla="*/ 419674 h 425543"/>
                <a:gd name="connsiteX16" fmla="*/ 128397 w 226839"/>
                <a:gd name="connsiteY16" fmla="*/ 419674 h 42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6839" h="425543">
                  <a:moveTo>
                    <a:pt x="125462" y="425543"/>
                  </a:moveTo>
                  <a:cubicBezTo>
                    <a:pt x="113723" y="425543"/>
                    <a:pt x="78505" y="416740"/>
                    <a:pt x="2201" y="358044"/>
                  </a:cubicBezTo>
                  <a:cubicBezTo>
                    <a:pt x="-734" y="355109"/>
                    <a:pt x="-734" y="352174"/>
                    <a:pt x="2201" y="349239"/>
                  </a:cubicBezTo>
                  <a:cubicBezTo>
                    <a:pt x="5136" y="346304"/>
                    <a:pt x="8071" y="346304"/>
                    <a:pt x="11005" y="349239"/>
                  </a:cubicBezTo>
                  <a:cubicBezTo>
                    <a:pt x="93179" y="410870"/>
                    <a:pt x="122527" y="413805"/>
                    <a:pt x="128397" y="413805"/>
                  </a:cubicBezTo>
                  <a:cubicBezTo>
                    <a:pt x="184158" y="334566"/>
                    <a:pt x="234049" y="158479"/>
                    <a:pt x="213505" y="64566"/>
                  </a:cubicBezTo>
                  <a:cubicBezTo>
                    <a:pt x="207636" y="38152"/>
                    <a:pt x="198832" y="20544"/>
                    <a:pt x="181223" y="11739"/>
                  </a:cubicBezTo>
                  <a:cubicBezTo>
                    <a:pt x="178288" y="8804"/>
                    <a:pt x="178288" y="5870"/>
                    <a:pt x="178288" y="2935"/>
                  </a:cubicBezTo>
                  <a:cubicBezTo>
                    <a:pt x="181223" y="0"/>
                    <a:pt x="184158" y="0"/>
                    <a:pt x="187092" y="0"/>
                  </a:cubicBezTo>
                  <a:cubicBezTo>
                    <a:pt x="204701" y="11739"/>
                    <a:pt x="216440" y="29348"/>
                    <a:pt x="222310" y="58696"/>
                  </a:cubicBezTo>
                  <a:cubicBezTo>
                    <a:pt x="242853" y="155544"/>
                    <a:pt x="190027" y="337500"/>
                    <a:pt x="134266" y="419674"/>
                  </a:cubicBezTo>
                  <a:lnTo>
                    <a:pt x="134266" y="419674"/>
                  </a:lnTo>
                  <a:lnTo>
                    <a:pt x="134266" y="419674"/>
                  </a:lnTo>
                  <a:cubicBezTo>
                    <a:pt x="131331" y="425543"/>
                    <a:pt x="128397" y="425543"/>
                    <a:pt x="125462" y="425543"/>
                  </a:cubicBezTo>
                  <a:close/>
                  <a:moveTo>
                    <a:pt x="128397" y="419674"/>
                  </a:moveTo>
                  <a:lnTo>
                    <a:pt x="128397" y="419674"/>
                  </a:lnTo>
                  <a:lnTo>
                    <a:pt x="128397" y="419674"/>
                  </a:ln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8AE80845-F157-4A3B-9D71-FE88AED558B9}"/>
                </a:ext>
              </a:extLst>
            </p:cNvPr>
            <p:cNvSpPr/>
            <p:nvPr/>
          </p:nvSpPr>
          <p:spPr>
            <a:xfrm>
              <a:off x="9180085" y="9832160"/>
              <a:ext cx="173151" cy="181956"/>
            </a:xfrm>
            <a:custGeom>
              <a:avLst/>
              <a:gdLst>
                <a:gd name="connsiteX0" fmla="*/ 5869 w 173151"/>
                <a:gd name="connsiteY0" fmla="*/ 181957 h 181956"/>
                <a:gd name="connsiteX1" fmla="*/ 0 w 173151"/>
                <a:gd name="connsiteY1" fmla="*/ 179022 h 181956"/>
                <a:gd name="connsiteX2" fmla="*/ 2935 w 173151"/>
                <a:gd name="connsiteY2" fmla="*/ 173152 h 181956"/>
                <a:gd name="connsiteX3" fmla="*/ 164348 w 173151"/>
                <a:gd name="connsiteY3" fmla="*/ 2935 h 181956"/>
                <a:gd name="connsiteX4" fmla="*/ 170217 w 173151"/>
                <a:gd name="connsiteY4" fmla="*/ 0 h 181956"/>
                <a:gd name="connsiteX5" fmla="*/ 173152 w 173151"/>
                <a:gd name="connsiteY5" fmla="*/ 5870 h 181956"/>
                <a:gd name="connsiteX6" fmla="*/ 5869 w 173151"/>
                <a:gd name="connsiteY6" fmla="*/ 181957 h 181956"/>
                <a:gd name="connsiteX7" fmla="*/ 5869 w 173151"/>
                <a:gd name="connsiteY7" fmla="*/ 181957 h 181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151" h="181956">
                  <a:moveTo>
                    <a:pt x="5869" y="181957"/>
                  </a:moveTo>
                  <a:cubicBezTo>
                    <a:pt x="2935" y="181957"/>
                    <a:pt x="0" y="179022"/>
                    <a:pt x="0" y="179022"/>
                  </a:cubicBezTo>
                  <a:cubicBezTo>
                    <a:pt x="0" y="176087"/>
                    <a:pt x="0" y="173152"/>
                    <a:pt x="2935" y="173152"/>
                  </a:cubicBezTo>
                  <a:cubicBezTo>
                    <a:pt x="111522" y="143804"/>
                    <a:pt x="161413" y="5870"/>
                    <a:pt x="164348" y="2935"/>
                  </a:cubicBezTo>
                  <a:cubicBezTo>
                    <a:pt x="164348" y="0"/>
                    <a:pt x="167283" y="0"/>
                    <a:pt x="170217" y="0"/>
                  </a:cubicBezTo>
                  <a:cubicBezTo>
                    <a:pt x="173152" y="0"/>
                    <a:pt x="173152" y="2935"/>
                    <a:pt x="173152" y="5870"/>
                  </a:cubicBezTo>
                  <a:cubicBezTo>
                    <a:pt x="173152" y="11739"/>
                    <a:pt x="120326" y="152609"/>
                    <a:pt x="5869" y="181957"/>
                  </a:cubicBezTo>
                  <a:cubicBezTo>
                    <a:pt x="8804" y="181957"/>
                    <a:pt x="8804" y="181957"/>
                    <a:pt x="5869" y="181957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67E9F6EE-BB02-4FEE-9122-448BB8D75C7B}"/>
                </a:ext>
              </a:extLst>
            </p:cNvPr>
            <p:cNvSpPr/>
            <p:nvPr/>
          </p:nvSpPr>
          <p:spPr>
            <a:xfrm>
              <a:off x="9913781" y="9811617"/>
              <a:ext cx="179021" cy="123260"/>
            </a:xfrm>
            <a:custGeom>
              <a:avLst/>
              <a:gdLst>
                <a:gd name="connsiteX0" fmla="*/ 143805 w 179021"/>
                <a:gd name="connsiteY0" fmla="*/ 123260 h 123260"/>
                <a:gd name="connsiteX1" fmla="*/ 0 w 179021"/>
                <a:gd name="connsiteY1" fmla="*/ 5869 h 123260"/>
                <a:gd name="connsiteX2" fmla="*/ 2935 w 179021"/>
                <a:gd name="connsiteY2" fmla="*/ 0 h 123260"/>
                <a:gd name="connsiteX3" fmla="*/ 8805 w 179021"/>
                <a:gd name="connsiteY3" fmla="*/ 2934 h 123260"/>
                <a:gd name="connsiteX4" fmla="*/ 173153 w 179021"/>
                <a:gd name="connsiteY4" fmla="*/ 108586 h 123260"/>
                <a:gd name="connsiteX5" fmla="*/ 179022 w 179021"/>
                <a:gd name="connsiteY5" fmla="*/ 111521 h 123260"/>
                <a:gd name="connsiteX6" fmla="*/ 176087 w 179021"/>
                <a:gd name="connsiteY6" fmla="*/ 117391 h 123260"/>
                <a:gd name="connsiteX7" fmla="*/ 143805 w 179021"/>
                <a:gd name="connsiteY7" fmla="*/ 123260 h 12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021" h="123260">
                  <a:moveTo>
                    <a:pt x="143805" y="123260"/>
                  </a:moveTo>
                  <a:cubicBezTo>
                    <a:pt x="49892" y="123260"/>
                    <a:pt x="2935" y="8804"/>
                    <a:pt x="0" y="5869"/>
                  </a:cubicBezTo>
                  <a:cubicBezTo>
                    <a:pt x="0" y="2934"/>
                    <a:pt x="0" y="0"/>
                    <a:pt x="2935" y="0"/>
                  </a:cubicBezTo>
                  <a:cubicBezTo>
                    <a:pt x="5870" y="0"/>
                    <a:pt x="8805" y="0"/>
                    <a:pt x="8805" y="2934"/>
                  </a:cubicBezTo>
                  <a:cubicBezTo>
                    <a:pt x="8805" y="2934"/>
                    <a:pt x="64566" y="137934"/>
                    <a:pt x="173153" y="108586"/>
                  </a:cubicBezTo>
                  <a:cubicBezTo>
                    <a:pt x="176087" y="108586"/>
                    <a:pt x="179022" y="108586"/>
                    <a:pt x="179022" y="111521"/>
                  </a:cubicBezTo>
                  <a:cubicBezTo>
                    <a:pt x="179022" y="114456"/>
                    <a:pt x="179022" y="117391"/>
                    <a:pt x="176087" y="117391"/>
                  </a:cubicBezTo>
                  <a:cubicBezTo>
                    <a:pt x="164348" y="123260"/>
                    <a:pt x="152609" y="123260"/>
                    <a:pt x="143805" y="123260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6" name="图形 1">
              <a:extLst>
                <a:ext uri="{FF2B5EF4-FFF2-40B4-BE49-F238E27FC236}">
                  <a16:creationId xmlns:a16="http://schemas.microsoft.com/office/drawing/2014/main" id="{29A9517D-071E-4C9E-8E36-0029B85D0954}"/>
                </a:ext>
              </a:extLst>
            </p:cNvPr>
            <p:cNvGrpSpPr/>
            <p:nvPr/>
          </p:nvGrpSpPr>
          <p:grpSpPr>
            <a:xfrm>
              <a:off x="8160565" y="9196214"/>
              <a:ext cx="344801" cy="229584"/>
              <a:chOff x="8160565" y="9196214"/>
              <a:chExt cx="344801" cy="229584"/>
            </a:xfrm>
          </p:grpSpPr>
          <p:grpSp>
            <p:nvGrpSpPr>
              <p:cNvPr id="49" name="图形 1">
                <a:extLst>
                  <a:ext uri="{FF2B5EF4-FFF2-40B4-BE49-F238E27FC236}">
                    <a16:creationId xmlns:a16="http://schemas.microsoft.com/office/drawing/2014/main" id="{706B2080-8258-4090-BD9C-9F0E83985317}"/>
                  </a:ext>
                </a:extLst>
              </p:cNvPr>
              <p:cNvGrpSpPr/>
              <p:nvPr/>
            </p:nvGrpSpPr>
            <p:grpSpPr>
              <a:xfrm>
                <a:off x="8160565" y="9196214"/>
                <a:ext cx="344801" cy="229584"/>
                <a:chOff x="8160565" y="9196214"/>
                <a:chExt cx="344801" cy="229584"/>
              </a:xfrm>
            </p:grpSpPr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83B69D38-D162-4992-ACEE-19F2AEC43F5C}"/>
                    </a:ext>
                  </a:extLst>
                </p:cNvPr>
                <p:cNvSpPr/>
                <p:nvPr/>
              </p:nvSpPr>
              <p:spPr>
                <a:xfrm>
                  <a:off x="8169462" y="9196214"/>
                  <a:ext cx="335904" cy="229584"/>
                </a:xfrm>
                <a:custGeom>
                  <a:avLst/>
                  <a:gdLst>
                    <a:gd name="connsiteX0" fmla="*/ 168341 w 335904"/>
                    <a:gd name="connsiteY0" fmla="*/ 219207 h 229584"/>
                    <a:gd name="connsiteX1" fmla="*/ 294537 w 335904"/>
                    <a:gd name="connsiteY1" fmla="*/ 216272 h 229584"/>
                    <a:gd name="connsiteX2" fmla="*/ 335624 w 335904"/>
                    <a:gd name="connsiteY2" fmla="*/ 131164 h 229584"/>
                    <a:gd name="connsiteX3" fmla="*/ 229972 w 335904"/>
                    <a:gd name="connsiteY3" fmla="*/ 4968 h 229584"/>
                    <a:gd name="connsiteX4" fmla="*/ 206493 w 335904"/>
                    <a:gd name="connsiteY4" fmla="*/ 31380 h 229584"/>
                    <a:gd name="connsiteX5" fmla="*/ 241711 w 335904"/>
                    <a:gd name="connsiteY5" fmla="*/ 95946 h 229584"/>
                    <a:gd name="connsiteX6" fmla="*/ 68558 w 335904"/>
                    <a:gd name="connsiteY6" fmla="*/ 69533 h 229584"/>
                    <a:gd name="connsiteX7" fmla="*/ 45080 w 335904"/>
                    <a:gd name="connsiteY7" fmla="*/ 87142 h 229584"/>
                    <a:gd name="connsiteX8" fmla="*/ 86167 w 335904"/>
                    <a:gd name="connsiteY8" fmla="*/ 98881 h 229584"/>
                    <a:gd name="connsiteX9" fmla="*/ 138994 w 335904"/>
                    <a:gd name="connsiteY9" fmla="*/ 113555 h 229584"/>
                    <a:gd name="connsiteX10" fmla="*/ 65624 w 335904"/>
                    <a:gd name="connsiteY10" fmla="*/ 116490 h 229584"/>
                    <a:gd name="connsiteX11" fmla="*/ 12798 w 335904"/>
                    <a:gd name="connsiteY11" fmla="*/ 119424 h 229584"/>
                    <a:gd name="connsiteX12" fmla="*/ 1058 w 335904"/>
                    <a:gd name="connsiteY12" fmla="*/ 139968 h 229584"/>
                    <a:gd name="connsiteX13" fmla="*/ 21602 w 335904"/>
                    <a:gd name="connsiteY13" fmla="*/ 157577 h 229584"/>
                    <a:gd name="connsiteX14" fmla="*/ 18667 w 335904"/>
                    <a:gd name="connsiteY14" fmla="*/ 157577 h 229584"/>
                    <a:gd name="connsiteX15" fmla="*/ 12798 w 335904"/>
                    <a:gd name="connsiteY15" fmla="*/ 169316 h 229584"/>
                    <a:gd name="connsiteX16" fmla="*/ 56820 w 335904"/>
                    <a:gd name="connsiteY16" fmla="*/ 181055 h 229584"/>
                    <a:gd name="connsiteX17" fmla="*/ 83232 w 335904"/>
                    <a:gd name="connsiteY17" fmla="*/ 181055 h 229584"/>
                    <a:gd name="connsiteX18" fmla="*/ 77363 w 335904"/>
                    <a:gd name="connsiteY18" fmla="*/ 183990 h 229584"/>
                    <a:gd name="connsiteX19" fmla="*/ 68558 w 335904"/>
                    <a:gd name="connsiteY19" fmla="*/ 198663 h 229584"/>
                    <a:gd name="connsiteX20" fmla="*/ 168341 w 335904"/>
                    <a:gd name="connsiteY20" fmla="*/ 219207 h 229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35904" h="229584">
                      <a:moveTo>
                        <a:pt x="168341" y="219207"/>
                      </a:moveTo>
                      <a:cubicBezTo>
                        <a:pt x="209428" y="222141"/>
                        <a:pt x="259319" y="242685"/>
                        <a:pt x="294537" y="216272"/>
                      </a:cubicBezTo>
                      <a:cubicBezTo>
                        <a:pt x="318015" y="198663"/>
                        <a:pt x="338558" y="157577"/>
                        <a:pt x="335624" y="131164"/>
                      </a:cubicBezTo>
                      <a:cubicBezTo>
                        <a:pt x="326819" y="90076"/>
                        <a:pt x="259319" y="63663"/>
                        <a:pt x="229972" y="4968"/>
                      </a:cubicBezTo>
                      <a:cubicBezTo>
                        <a:pt x="224102" y="-9706"/>
                        <a:pt x="200624" y="10838"/>
                        <a:pt x="206493" y="31380"/>
                      </a:cubicBezTo>
                      <a:cubicBezTo>
                        <a:pt x="215298" y="57794"/>
                        <a:pt x="227037" y="81272"/>
                        <a:pt x="241711" y="95946"/>
                      </a:cubicBezTo>
                      <a:cubicBezTo>
                        <a:pt x="183015" y="90076"/>
                        <a:pt x="130189" y="63663"/>
                        <a:pt x="68558" y="69533"/>
                      </a:cubicBezTo>
                      <a:cubicBezTo>
                        <a:pt x="59754" y="69533"/>
                        <a:pt x="33341" y="75402"/>
                        <a:pt x="45080" y="87142"/>
                      </a:cubicBezTo>
                      <a:cubicBezTo>
                        <a:pt x="53885" y="95946"/>
                        <a:pt x="74428" y="95946"/>
                        <a:pt x="86167" y="98881"/>
                      </a:cubicBezTo>
                      <a:cubicBezTo>
                        <a:pt x="103776" y="104750"/>
                        <a:pt x="121385" y="107685"/>
                        <a:pt x="138994" y="113555"/>
                      </a:cubicBezTo>
                      <a:cubicBezTo>
                        <a:pt x="115515" y="113555"/>
                        <a:pt x="89102" y="116490"/>
                        <a:pt x="65624" y="116490"/>
                      </a:cubicBezTo>
                      <a:cubicBezTo>
                        <a:pt x="50950" y="116490"/>
                        <a:pt x="30406" y="113555"/>
                        <a:pt x="12798" y="119424"/>
                      </a:cubicBezTo>
                      <a:cubicBezTo>
                        <a:pt x="1058" y="122359"/>
                        <a:pt x="-1876" y="131164"/>
                        <a:pt x="1058" y="139968"/>
                      </a:cubicBezTo>
                      <a:cubicBezTo>
                        <a:pt x="3993" y="148772"/>
                        <a:pt x="12798" y="154642"/>
                        <a:pt x="21602" y="157577"/>
                      </a:cubicBezTo>
                      <a:cubicBezTo>
                        <a:pt x="21602" y="157577"/>
                        <a:pt x="21602" y="157577"/>
                        <a:pt x="18667" y="157577"/>
                      </a:cubicBezTo>
                      <a:cubicBezTo>
                        <a:pt x="15732" y="157577"/>
                        <a:pt x="12798" y="166381"/>
                        <a:pt x="12798" y="169316"/>
                      </a:cubicBezTo>
                      <a:cubicBezTo>
                        <a:pt x="21602" y="181055"/>
                        <a:pt x="39211" y="181055"/>
                        <a:pt x="56820" y="181055"/>
                      </a:cubicBezTo>
                      <a:cubicBezTo>
                        <a:pt x="65624" y="181055"/>
                        <a:pt x="74428" y="181055"/>
                        <a:pt x="83232" y="181055"/>
                      </a:cubicBezTo>
                      <a:cubicBezTo>
                        <a:pt x="80298" y="181055"/>
                        <a:pt x="80298" y="181055"/>
                        <a:pt x="77363" y="183990"/>
                      </a:cubicBezTo>
                      <a:cubicBezTo>
                        <a:pt x="71493" y="186924"/>
                        <a:pt x="65624" y="192794"/>
                        <a:pt x="68558" y="198663"/>
                      </a:cubicBezTo>
                      <a:cubicBezTo>
                        <a:pt x="65624" y="213337"/>
                        <a:pt x="144863" y="216272"/>
                        <a:pt x="168341" y="219207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6D918AA4-9DBE-4796-A173-DEBF13965403}"/>
                    </a:ext>
                  </a:extLst>
                </p:cNvPr>
                <p:cNvSpPr/>
                <p:nvPr/>
              </p:nvSpPr>
              <p:spPr>
                <a:xfrm>
                  <a:off x="8399433" y="9306834"/>
                  <a:ext cx="42302" cy="49891"/>
                </a:xfrm>
                <a:custGeom>
                  <a:avLst/>
                  <a:gdLst>
                    <a:gd name="connsiteX0" fmla="*/ 35217 w 42302"/>
                    <a:gd name="connsiteY0" fmla="*/ 49892 h 49891"/>
                    <a:gd name="connsiteX1" fmla="*/ 35217 w 42302"/>
                    <a:gd name="connsiteY1" fmla="*/ 49892 h 49891"/>
                    <a:gd name="connsiteX2" fmla="*/ 0 w 42302"/>
                    <a:gd name="connsiteY2" fmla="*/ 5870 h 49891"/>
                    <a:gd name="connsiteX3" fmla="*/ 5869 w 42302"/>
                    <a:gd name="connsiteY3" fmla="*/ 0 h 49891"/>
                    <a:gd name="connsiteX4" fmla="*/ 5869 w 42302"/>
                    <a:gd name="connsiteY4" fmla="*/ 0 h 49891"/>
                    <a:gd name="connsiteX5" fmla="*/ 11739 w 42302"/>
                    <a:gd name="connsiteY5" fmla="*/ 5870 h 49891"/>
                    <a:gd name="connsiteX6" fmla="*/ 38152 w 42302"/>
                    <a:gd name="connsiteY6" fmla="*/ 38152 h 49891"/>
                    <a:gd name="connsiteX7" fmla="*/ 41087 w 42302"/>
                    <a:gd name="connsiteY7" fmla="*/ 44022 h 49891"/>
                    <a:gd name="connsiteX8" fmla="*/ 35217 w 42302"/>
                    <a:gd name="connsiteY8" fmla="*/ 49892 h 49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2302" h="49891">
                      <a:moveTo>
                        <a:pt x="35217" y="49892"/>
                      </a:moveTo>
                      <a:cubicBezTo>
                        <a:pt x="35217" y="49892"/>
                        <a:pt x="35217" y="49892"/>
                        <a:pt x="35217" y="49892"/>
                      </a:cubicBezTo>
                      <a:cubicBezTo>
                        <a:pt x="5869" y="41087"/>
                        <a:pt x="0" y="17609"/>
                        <a:pt x="0" y="5870"/>
                      </a:cubicBezTo>
                      <a:cubicBezTo>
                        <a:pt x="0" y="2935"/>
                        <a:pt x="2935" y="0"/>
                        <a:pt x="5869" y="0"/>
                      </a:cubicBezTo>
                      <a:cubicBezTo>
                        <a:pt x="5869" y="0"/>
                        <a:pt x="5869" y="0"/>
                        <a:pt x="5869" y="0"/>
                      </a:cubicBezTo>
                      <a:cubicBezTo>
                        <a:pt x="8804" y="0"/>
                        <a:pt x="11739" y="2935"/>
                        <a:pt x="11739" y="5870"/>
                      </a:cubicBezTo>
                      <a:cubicBezTo>
                        <a:pt x="11739" y="5870"/>
                        <a:pt x="11739" y="32283"/>
                        <a:pt x="38152" y="38152"/>
                      </a:cubicBezTo>
                      <a:cubicBezTo>
                        <a:pt x="41087" y="38152"/>
                        <a:pt x="44022" y="41087"/>
                        <a:pt x="41087" y="44022"/>
                      </a:cubicBezTo>
                      <a:cubicBezTo>
                        <a:pt x="41087" y="46957"/>
                        <a:pt x="38152" y="49892"/>
                        <a:pt x="35217" y="49892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4" name="任意多边形: 形状 53">
                  <a:extLst>
                    <a:ext uri="{FF2B5EF4-FFF2-40B4-BE49-F238E27FC236}">
                      <a16:creationId xmlns:a16="http://schemas.microsoft.com/office/drawing/2014/main" id="{609051F7-80FC-43C2-B303-C2E6D3E691B9}"/>
                    </a:ext>
                  </a:extLst>
                </p:cNvPr>
                <p:cNvSpPr/>
                <p:nvPr/>
              </p:nvSpPr>
              <p:spPr>
                <a:xfrm>
                  <a:off x="8160565" y="9273336"/>
                  <a:ext cx="150825" cy="77520"/>
                </a:xfrm>
                <a:custGeom>
                  <a:avLst/>
                  <a:gdLst>
                    <a:gd name="connsiteX0" fmla="*/ 24629 w 150825"/>
                    <a:gd name="connsiteY0" fmla="*/ 77520 h 77520"/>
                    <a:gd name="connsiteX1" fmla="*/ 24629 w 150825"/>
                    <a:gd name="connsiteY1" fmla="*/ 77520 h 77520"/>
                    <a:gd name="connsiteX2" fmla="*/ 1151 w 150825"/>
                    <a:gd name="connsiteY2" fmla="*/ 59911 h 77520"/>
                    <a:gd name="connsiteX3" fmla="*/ 7021 w 150825"/>
                    <a:gd name="connsiteY3" fmla="*/ 36433 h 77520"/>
                    <a:gd name="connsiteX4" fmla="*/ 95064 w 150825"/>
                    <a:gd name="connsiteY4" fmla="*/ 24695 h 77520"/>
                    <a:gd name="connsiteX5" fmla="*/ 48108 w 150825"/>
                    <a:gd name="connsiteY5" fmla="*/ 10021 h 77520"/>
                    <a:gd name="connsiteX6" fmla="*/ 45173 w 150825"/>
                    <a:gd name="connsiteY6" fmla="*/ 4151 h 77520"/>
                    <a:gd name="connsiteX7" fmla="*/ 51043 w 150825"/>
                    <a:gd name="connsiteY7" fmla="*/ 1216 h 77520"/>
                    <a:gd name="connsiteX8" fmla="*/ 144956 w 150825"/>
                    <a:gd name="connsiteY8" fmla="*/ 27629 h 77520"/>
                    <a:gd name="connsiteX9" fmla="*/ 150825 w 150825"/>
                    <a:gd name="connsiteY9" fmla="*/ 33498 h 77520"/>
                    <a:gd name="connsiteX10" fmla="*/ 144956 w 150825"/>
                    <a:gd name="connsiteY10" fmla="*/ 39368 h 77520"/>
                    <a:gd name="connsiteX11" fmla="*/ 144956 w 150825"/>
                    <a:gd name="connsiteY11" fmla="*/ 39368 h 77520"/>
                    <a:gd name="connsiteX12" fmla="*/ 15825 w 150825"/>
                    <a:gd name="connsiteY12" fmla="*/ 48172 h 77520"/>
                    <a:gd name="connsiteX13" fmla="*/ 12890 w 150825"/>
                    <a:gd name="connsiteY13" fmla="*/ 59911 h 77520"/>
                    <a:gd name="connsiteX14" fmla="*/ 27564 w 150825"/>
                    <a:gd name="connsiteY14" fmla="*/ 68716 h 77520"/>
                    <a:gd name="connsiteX15" fmla="*/ 33434 w 150825"/>
                    <a:gd name="connsiteY15" fmla="*/ 74585 h 77520"/>
                    <a:gd name="connsiteX16" fmla="*/ 24629 w 150825"/>
                    <a:gd name="connsiteY16" fmla="*/ 77520 h 77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0825" h="77520">
                      <a:moveTo>
                        <a:pt x="24629" y="77520"/>
                      </a:moveTo>
                      <a:cubicBezTo>
                        <a:pt x="24629" y="77520"/>
                        <a:pt x="24629" y="77520"/>
                        <a:pt x="24629" y="77520"/>
                      </a:cubicBezTo>
                      <a:cubicBezTo>
                        <a:pt x="12890" y="74585"/>
                        <a:pt x="4086" y="68716"/>
                        <a:pt x="1151" y="59911"/>
                      </a:cubicBezTo>
                      <a:cubicBezTo>
                        <a:pt x="-1784" y="51107"/>
                        <a:pt x="1151" y="45237"/>
                        <a:pt x="7021" y="36433"/>
                      </a:cubicBezTo>
                      <a:cubicBezTo>
                        <a:pt x="12890" y="27629"/>
                        <a:pt x="56912" y="24695"/>
                        <a:pt x="95064" y="24695"/>
                      </a:cubicBezTo>
                      <a:cubicBezTo>
                        <a:pt x="71586" y="18825"/>
                        <a:pt x="48108" y="10021"/>
                        <a:pt x="48108" y="10021"/>
                      </a:cubicBezTo>
                      <a:cubicBezTo>
                        <a:pt x="45173" y="10021"/>
                        <a:pt x="42238" y="7086"/>
                        <a:pt x="45173" y="4151"/>
                      </a:cubicBezTo>
                      <a:cubicBezTo>
                        <a:pt x="45173" y="1216"/>
                        <a:pt x="48108" y="-1719"/>
                        <a:pt x="51043" y="1216"/>
                      </a:cubicBezTo>
                      <a:cubicBezTo>
                        <a:pt x="51043" y="1216"/>
                        <a:pt x="109738" y="18825"/>
                        <a:pt x="144956" y="27629"/>
                      </a:cubicBezTo>
                      <a:cubicBezTo>
                        <a:pt x="147891" y="27629"/>
                        <a:pt x="150825" y="30564"/>
                        <a:pt x="150825" y="33498"/>
                      </a:cubicBezTo>
                      <a:cubicBezTo>
                        <a:pt x="150825" y="36433"/>
                        <a:pt x="147891" y="39368"/>
                        <a:pt x="144956" y="39368"/>
                      </a:cubicBezTo>
                      <a:cubicBezTo>
                        <a:pt x="144956" y="39368"/>
                        <a:pt x="144956" y="39368"/>
                        <a:pt x="144956" y="39368"/>
                      </a:cubicBezTo>
                      <a:cubicBezTo>
                        <a:pt x="89195" y="39368"/>
                        <a:pt x="24629" y="42302"/>
                        <a:pt x="15825" y="48172"/>
                      </a:cubicBezTo>
                      <a:cubicBezTo>
                        <a:pt x="12890" y="51107"/>
                        <a:pt x="9955" y="54042"/>
                        <a:pt x="12890" y="59911"/>
                      </a:cubicBezTo>
                      <a:cubicBezTo>
                        <a:pt x="15825" y="62846"/>
                        <a:pt x="18760" y="68716"/>
                        <a:pt x="27564" y="68716"/>
                      </a:cubicBezTo>
                      <a:cubicBezTo>
                        <a:pt x="30499" y="68716"/>
                        <a:pt x="33434" y="71650"/>
                        <a:pt x="33434" y="74585"/>
                      </a:cubicBezTo>
                      <a:cubicBezTo>
                        <a:pt x="30499" y="74585"/>
                        <a:pt x="27564" y="77520"/>
                        <a:pt x="24629" y="77520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9AE55221-B6A5-4B75-A190-805F381FA25D}"/>
                  </a:ext>
                </a:extLst>
              </p:cNvPr>
              <p:cNvSpPr/>
              <p:nvPr/>
            </p:nvSpPr>
            <p:spPr>
              <a:xfrm>
                <a:off x="8228000" y="9368465"/>
                <a:ext cx="112737" cy="52825"/>
              </a:xfrm>
              <a:custGeom>
                <a:avLst/>
                <a:gdLst>
                  <a:gd name="connsiteX0" fmla="*/ 98063 w 112737"/>
                  <a:gd name="connsiteY0" fmla="*/ 52826 h 52825"/>
                  <a:gd name="connsiteX1" fmla="*/ 98063 w 112737"/>
                  <a:gd name="connsiteY1" fmla="*/ 52826 h 52825"/>
                  <a:gd name="connsiteX2" fmla="*/ 1216 w 112737"/>
                  <a:gd name="connsiteY2" fmla="*/ 26413 h 52825"/>
                  <a:gd name="connsiteX3" fmla="*/ 4150 w 112737"/>
                  <a:gd name="connsiteY3" fmla="*/ 8804 h 52825"/>
                  <a:gd name="connsiteX4" fmla="*/ 27629 w 112737"/>
                  <a:gd name="connsiteY4" fmla="*/ 0 h 52825"/>
                  <a:gd name="connsiteX5" fmla="*/ 62846 w 112737"/>
                  <a:gd name="connsiteY5" fmla="*/ 2935 h 52825"/>
                  <a:gd name="connsiteX6" fmla="*/ 106868 w 112737"/>
                  <a:gd name="connsiteY6" fmla="*/ 5869 h 52825"/>
                  <a:gd name="connsiteX7" fmla="*/ 112737 w 112737"/>
                  <a:gd name="connsiteY7" fmla="*/ 11739 h 52825"/>
                  <a:gd name="connsiteX8" fmla="*/ 106868 w 112737"/>
                  <a:gd name="connsiteY8" fmla="*/ 17609 h 52825"/>
                  <a:gd name="connsiteX9" fmla="*/ 59911 w 112737"/>
                  <a:gd name="connsiteY9" fmla="*/ 14674 h 52825"/>
                  <a:gd name="connsiteX10" fmla="*/ 24694 w 112737"/>
                  <a:gd name="connsiteY10" fmla="*/ 11739 h 52825"/>
                  <a:gd name="connsiteX11" fmla="*/ 10020 w 112737"/>
                  <a:gd name="connsiteY11" fmla="*/ 17609 h 52825"/>
                  <a:gd name="connsiteX12" fmla="*/ 10020 w 112737"/>
                  <a:gd name="connsiteY12" fmla="*/ 23478 h 52825"/>
                  <a:gd name="connsiteX13" fmla="*/ 95129 w 112737"/>
                  <a:gd name="connsiteY13" fmla="*/ 44022 h 52825"/>
                  <a:gd name="connsiteX14" fmla="*/ 100998 w 112737"/>
                  <a:gd name="connsiteY14" fmla="*/ 49891 h 52825"/>
                  <a:gd name="connsiteX15" fmla="*/ 98063 w 112737"/>
                  <a:gd name="connsiteY15" fmla="*/ 52826 h 52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737" h="52825">
                    <a:moveTo>
                      <a:pt x="98063" y="52826"/>
                    </a:moveTo>
                    <a:cubicBezTo>
                      <a:pt x="98063" y="52826"/>
                      <a:pt x="95129" y="52826"/>
                      <a:pt x="98063" y="52826"/>
                    </a:cubicBezTo>
                    <a:cubicBezTo>
                      <a:pt x="71651" y="49891"/>
                      <a:pt x="7085" y="44022"/>
                      <a:pt x="1216" y="26413"/>
                    </a:cubicBezTo>
                    <a:cubicBezTo>
                      <a:pt x="-1719" y="17609"/>
                      <a:pt x="1216" y="11739"/>
                      <a:pt x="4150" y="8804"/>
                    </a:cubicBezTo>
                    <a:cubicBezTo>
                      <a:pt x="7085" y="2935"/>
                      <a:pt x="15889" y="0"/>
                      <a:pt x="27629" y="0"/>
                    </a:cubicBezTo>
                    <a:cubicBezTo>
                      <a:pt x="33498" y="0"/>
                      <a:pt x="48172" y="0"/>
                      <a:pt x="62846" y="2935"/>
                    </a:cubicBezTo>
                    <a:cubicBezTo>
                      <a:pt x="80455" y="5869"/>
                      <a:pt x="100998" y="5869"/>
                      <a:pt x="106868" y="5869"/>
                    </a:cubicBezTo>
                    <a:cubicBezTo>
                      <a:pt x="109803" y="5869"/>
                      <a:pt x="112737" y="8804"/>
                      <a:pt x="112737" y="11739"/>
                    </a:cubicBezTo>
                    <a:cubicBezTo>
                      <a:pt x="112737" y="14674"/>
                      <a:pt x="109803" y="17609"/>
                      <a:pt x="106868" y="17609"/>
                    </a:cubicBezTo>
                    <a:cubicBezTo>
                      <a:pt x="98063" y="17609"/>
                      <a:pt x="77520" y="17609"/>
                      <a:pt x="59911" y="14674"/>
                    </a:cubicBezTo>
                    <a:cubicBezTo>
                      <a:pt x="45237" y="14674"/>
                      <a:pt x="30563" y="11739"/>
                      <a:pt x="24694" y="11739"/>
                    </a:cubicBezTo>
                    <a:cubicBezTo>
                      <a:pt x="15889" y="11739"/>
                      <a:pt x="10020" y="14674"/>
                      <a:pt x="10020" y="17609"/>
                    </a:cubicBezTo>
                    <a:cubicBezTo>
                      <a:pt x="10020" y="17609"/>
                      <a:pt x="7085" y="20543"/>
                      <a:pt x="10020" y="23478"/>
                    </a:cubicBezTo>
                    <a:cubicBezTo>
                      <a:pt x="12955" y="29348"/>
                      <a:pt x="51107" y="38152"/>
                      <a:pt x="95129" y="44022"/>
                    </a:cubicBezTo>
                    <a:cubicBezTo>
                      <a:pt x="98063" y="44022"/>
                      <a:pt x="100998" y="46957"/>
                      <a:pt x="100998" y="49891"/>
                    </a:cubicBezTo>
                    <a:cubicBezTo>
                      <a:pt x="100998" y="49891"/>
                      <a:pt x="100998" y="52826"/>
                      <a:pt x="98063" y="52826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2F48AB1F-FC07-44D3-97DC-FA5547606558}"/>
                  </a:ext>
                </a:extLst>
              </p:cNvPr>
              <p:cNvSpPr/>
              <p:nvPr/>
            </p:nvSpPr>
            <p:spPr>
              <a:xfrm>
                <a:off x="8174189" y="9332031"/>
                <a:ext cx="157744" cy="48172"/>
              </a:xfrm>
              <a:custGeom>
                <a:avLst/>
                <a:gdLst>
                  <a:gd name="connsiteX0" fmla="*/ 63831 w 157744"/>
                  <a:gd name="connsiteY0" fmla="*/ 48172 h 48172"/>
                  <a:gd name="connsiteX1" fmla="*/ 63831 w 157744"/>
                  <a:gd name="connsiteY1" fmla="*/ 48172 h 48172"/>
                  <a:gd name="connsiteX2" fmla="*/ 2201 w 157744"/>
                  <a:gd name="connsiteY2" fmla="*/ 33498 h 48172"/>
                  <a:gd name="connsiteX3" fmla="*/ 2201 w 157744"/>
                  <a:gd name="connsiteY3" fmla="*/ 18825 h 48172"/>
                  <a:gd name="connsiteX4" fmla="*/ 28614 w 157744"/>
                  <a:gd name="connsiteY4" fmla="*/ 1216 h 48172"/>
                  <a:gd name="connsiteX5" fmla="*/ 90245 w 157744"/>
                  <a:gd name="connsiteY5" fmla="*/ 4151 h 48172"/>
                  <a:gd name="connsiteX6" fmla="*/ 99049 w 157744"/>
                  <a:gd name="connsiteY6" fmla="*/ 4151 h 48172"/>
                  <a:gd name="connsiteX7" fmla="*/ 151875 w 157744"/>
                  <a:gd name="connsiteY7" fmla="*/ 4151 h 48172"/>
                  <a:gd name="connsiteX8" fmla="*/ 157744 w 157744"/>
                  <a:gd name="connsiteY8" fmla="*/ 10021 h 48172"/>
                  <a:gd name="connsiteX9" fmla="*/ 151875 w 157744"/>
                  <a:gd name="connsiteY9" fmla="*/ 15890 h 48172"/>
                  <a:gd name="connsiteX10" fmla="*/ 99049 w 157744"/>
                  <a:gd name="connsiteY10" fmla="*/ 15890 h 48172"/>
                  <a:gd name="connsiteX11" fmla="*/ 90245 w 157744"/>
                  <a:gd name="connsiteY11" fmla="*/ 15890 h 48172"/>
                  <a:gd name="connsiteX12" fmla="*/ 31549 w 157744"/>
                  <a:gd name="connsiteY12" fmla="*/ 12955 h 48172"/>
                  <a:gd name="connsiteX13" fmla="*/ 13940 w 157744"/>
                  <a:gd name="connsiteY13" fmla="*/ 24695 h 48172"/>
                  <a:gd name="connsiteX14" fmla="*/ 13940 w 157744"/>
                  <a:gd name="connsiteY14" fmla="*/ 27629 h 48172"/>
                  <a:gd name="connsiteX15" fmla="*/ 66766 w 157744"/>
                  <a:gd name="connsiteY15" fmla="*/ 36433 h 48172"/>
                  <a:gd name="connsiteX16" fmla="*/ 72636 w 157744"/>
                  <a:gd name="connsiteY16" fmla="*/ 42302 h 48172"/>
                  <a:gd name="connsiteX17" fmla="*/ 63831 w 157744"/>
                  <a:gd name="connsiteY17" fmla="*/ 48172 h 48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7744" h="48172">
                    <a:moveTo>
                      <a:pt x="63831" y="48172"/>
                    </a:moveTo>
                    <a:cubicBezTo>
                      <a:pt x="63831" y="48172"/>
                      <a:pt x="63831" y="48172"/>
                      <a:pt x="63831" y="48172"/>
                    </a:cubicBezTo>
                    <a:cubicBezTo>
                      <a:pt x="46223" y="48172"/>
                      <a:pt x="8071" y="45237"/>
                      <a:pt x="2201" y="33498"/>
                    </a:cubicBezTo>
                    <a:cubicBezTo>
                      <a:pt x="-734" y="30564"/>
                      <a:pt x="-734" y="24695"/>
                      <a:pt x="2201" y="18825"/>
                    </a:cubicBezTo>
                    <a:cubicBezTo>
                      <a:pt x="5136" y="10021"/>
                      <a:pt x="16875" y="4151"/>
                      <a:pt x="28614" y="1216"/>
                    </a:cubicBezTo>
                    <a:cubicBezTo>
                      <a:pt x="37419" y="-1719"/>
                      <a:pt x="66766" y="1216"/>
                      <a:pt x="90245" y="4151"/>
                    </a:cubicBezTo>
                    <a:cubicBezTo>
                      <a:pt x="96114" y="4151"/>
                      <a:pt x="99049" y="4151"/>
                      <a:pt x="99049" y="4151"/>
                    </a:cubicBezTo>
                    <a:cubicBezTo>
                      <a:pt x="104919" y="4151"/>
                      <a:pt x="140136" y="4151"/>
                      <a:pt x="151875" y="4151"/>
                    </a:cubicBezTo>
                    <a:cubicBezTo>
                      <a:pt x="154810" y="4151"/>
                      <a:pt x="157744" y="7086"/>
                      <a:pt x="157744" y="10021"/>
                    </a:cubicBezTo>
                    <a:cubicBezTo>
                      <a:pt x="157744" y="12955"/>
                      <a:pt x="154810" y="15890"/>
                      <a:pt x="151875" y="15890"/>
                    </a:cubicBezTo>
                    <a:cubicBezTo>
                      <a:pt x="148940" y="15890"/>
                      <a:pt x="104919" y="18825"/>
                      <a:pt x="99049" y="15890"/>
                    </a:cubicBezTo>
                    <a:cubicBezTo>
                      <a:pt x="96114" y="15890"/>
                      <a:pt x="93179" y="15890"/>
                      <a:pt x="90245" y="15890"/>
                    </a:cubicBezTo>
                    <a:cubicBezTo>
                      <a:pt x="75571" y="12955"/>
                      <a:pt x="40353" y="10021"/>
                      <a:pt x="31549" y="12955"/>
                    </a:cubicBezTo>
                    <a:cubicBezTo>
                      <a:pt x="22745" y="15890"/>
                      <a:pt x="16875" y="18825"/>
                      <a:pt x="13940" y="24695"/>
                    </a:cubicBezTo>
                    <a:cubicBezTo>
                      <a:pt x="13940" y="24695"/>
                      <a:pt x="13940" y="27629"/>
                      <a:pt x="13940" y="27629"/>
                    </a:cubicBezTo>
                    <a:cubicBezTo>
                      <a:pt x="16875" y="30564"/>
                      <a:pt x="43288" y="36433"/>
                      <a:pt x="66766" y="36433"/>
                    </a:cubicBezTo>
                    <a:cubicBezTo>
                      <a:pt x="69701" y="36433"/>
                      <a:pt x="72636" y="39368"/>
                      <a:pt x="72636" y="42302"/>
                    </a:cubicBezTo>
                    <a:cubicBezTo>
                      <a:pt x="69701" y="45237"/>
                      <a:pt x="66766" y="48172"/>
                      <a:pt x="63831" y="4817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5DF2DD56-016A-4A55-AC35-6CE31631AD40}"/>
                </a:ext>
              </a:extLst>
            </p:cNvPr>
            <p:cNvSpPr/>
            <p:nvPr/>
          </p:nvSpPr>
          <p:spPr>
            <a:xfrm>
              <a:off x="9285737" y="9685421"/>
              <a:ext cx="663261" cy="32282"/>
            </a:xfrm>
            <a:custGeom>
              <a:avLst/>
              <a:gdLst>
                <a:gd name="connsiteX0" fmla="*/ 431413 w 663261"/>
                <a:gd name="connsiteY0" fmla="*/ 32283 h 32282"/>
                <a:gd name="connsiteX1" fmla="*/ 5870 w 663261"/>
                <a:gd name="connsiteY1" fmla="*/ 11739 h 32282"/>
                <a:gd name="connsiteX2" fmla="*/ 0 w 663261"/>
                <a:gd name="connsiteY2" fmla="*/ 5870 h 32282"/>
                <a:gd name="connsiteX3" fmla="*/ 5870 w 663261"/>
                <a:gd name="connsiteY3" fmla="*/ 0 h 32282"/>
                <a:gd name="connsiteX4" fmla="*/ 657391 w 663261"/>
                <a:gd name="connsiteY4" fmla="*/ 14674 h 32282"/>
                <a:gd name="connsiteX5" fmla="*/ 663261 w 663261"/>
                <a:gd name="connsiteY5" fmla="*/ 20544 h 32282"/>
                <a:gd name="connsiteX6" fmla="*/ 657391 w 663261"/>
                <a:gd name="connsiteY6" fmla="*/ 26413 h 32282"/>
                <a:gd name="connsiteX7" fmla="*/ 431413 w 663261"/>
                <a:gd name="connsiteY7" fmla="*/ 32283 h 32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3261" h="32282">
                  <a:moveTo>
                    <a:pt x="431413" y="32283"/>
                  </a:moveTo>
                  <a:cubicBezTo>
                    <a:pt x="316957" y="32283"/>
                    <a:pt x="167283" y="26413"/>
                    <a:pt x="5870" y="11739"/>
                  </a:cubicBezTo>
                  <a:cubicBezTo>
                    <a:pt x="2935" y="11739"/>
                    <a:pt x="0" y="8805"/>
                    <a:pt x="0" y="5870"/>
                  </a:cubicBezTo>
                  <a:cubicBezTo>
                    <a:pt x="0" y="2935"/>
                    <a:pt x="2935" y="0"/>
                    <a:pt x="5870" y="0"/>
                  </a:cubicBezTo>
                  <a:cubicBezTo>
                    <a:pt x="360978" y="38153"/>
                    <a:pt x="654457" y="14674"/>
                    <a:pt x="657391" y="14674"/>
                  </a:cubicBezTo>
                  <a:cubicBezTo>
                    <a:pt x="660326" y="14674"/>
                    <a:pt x="663261" y="17609"/>
                    <a:pt x="663261" y="20544"/>
                  </a:cubicBezTo>
                  <a:cubicBezTo>
                    <a:pt x="663261" y="23479"/>
                    <a:pt x="660326" y="26413"/>
                    <a:pt x="657391" y="26413"/>
                  </a:cubicBezTo>
                  <a:cubicBezTo>
                    <a:pt x="657391" y="26413"/>
                    <a:pt x="569348" y="32283"/>
                    <a:pt x="431413" y="32283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82C1F56-5A45-46F7-AB0B-9BCA256C4833}"/>
                </a:ext>
              </a:extLst>
            </p:cNvPr>
            <p:cNvSpPr/>
            <p:nvPr/>
          </p:nvSpPr>
          <p:spPr>
            <a:xfrm>
              <a:off x="10119215" y="10686182"/>
              <a:ext cx="70435" cy="35217"/>
            </a:xfrm>
            <a:custGeom>
              <a:avLst/>
              <a:gdLst>
                <a:gd name="connsiteX0" fmla="*/ 5870 w 70435"/>
                <a:gd name="connsiteY0" fmla="*/ 35218 h 35217"/>
                <a:gd name="connsiteX1" fmla="*/ 0 w 70435"/>
                <a:gd name="connsiteY1" fmla="*/ 32283 h 35217"/>
                <a:gd name="connsiteX2" fmla="*/ 2935 w 70435"/>
                <a:gd name="connsiteY2" fmla="*/ 26413 h 35217"/>
                <a:gd name="connsiteX3" fmla="*/ 64566 w 70435"/>
                <a:gd name="connsiteY3" fmla="*/ 0 h 35217"/>
                <a:gd name="connsiteX4" fmla="*/ 70436 w 70435"/>
                <a:gd name="connsiteY4" fmla="*/ 2935 h 35217"/>
                <a:gd name="connsiteX5" fmla="*/ 67501 w 70435"/>
                <a:gd name="connsiteY5" fmla="*/ 8804 h 35217"/>
                <a:gd name="connsiteX6" fmla="*/ 5870 w 70435"/>
                <a:gd name="connsiteY6" fmla="*/ 35218 h 35217"/>
                <a:gd name="connsiteX7" fmla="*/ 5870 w 70435"/>
                <a:gd name="connsiteY7" fmla="*/ 35218 h 35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435" h="35217">
                  <a:moveTo>
                    <a:pt x="5870" y="35218"/>
                  </a:moveTo>
                  <a:cubicBezTo>
                    <a:pt x="2935" y="35218"/>
                    <a:pt x="2935" y="35218"/>
                    <a:pt x="0" y="32283"/>
                  </a:cubicBezTo>
                  <a:cubicBezTo>
                    <a:pt x="0" y="29348"/>
                    <a:pt x="0" y="26413"/>
                    <a:pt x="2935" y="26413"/>
                  </a:cubicBezTo>
                  <a:lnTo>
                    <a:pt x="64566" y="0"/>
                  </a:lnTo>
                  <a:cubicBezTo>
                    <a:pt x="67501" y="0"/>
                    <a:pt x="70436" y="0"/>
                    <a:pt x="70436" y="2935"/>
                  </a:cubicBezTo>
                  <a:cubicBezTo>
                    <a:pt x="70436" y="5870"/>
                    <a:pt x="70436" y="8804"/>
                    <a:pt x="67501" y="8804"/>
                  </a:cubicBezTo>
                  <a:lnTo>
                    <a:pt x="5870" y="35218"/>
                  </a:lnTo>
                  <a:cubicBezTo>
                    <a:pt x="8805" y="35218"/>
                    <a:pt x="8805" y="35218"/>
                    <a:pt x="5870" y="35218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E2C88EDC-E2F2-4F7C-B02C-91BC623A8449}"/>
                </a:ext>
              </a:extLst>
            </p:cNvPr>
            <p:cNvSpPr/>
            <p:nvPr/>
          </p:nvSpPr>
          <p:spPr>
            <a:xfrm>
              <a:off x="9429542" y="8155116"/>
              <a:ext cx="406796" cy="547460"/>
            </a:xfrm>
            <a:custGeom>
              <a:avLst/>
              <a:gdLst>
                <a:gd name="connsiteX0" fmla="*/ 399130 w 406796"/>
                <a:gd name="connsiteY0" fmla="*/ 174436 h 547460"/>
                <a:gd name="connsiteX1" fmla="*/ 387391 w 406796"/>
                <a:gd name="connsiteY1" fmla="*/ 420958 h 547460"/>
                <a:gd name="connsiteX2" fmla="*/ 243587 w 406796"/>
                <a:gd name="connsiteY2" fmla="*/ 547153 h 547460"/>
                <a:gd name="connsiteX3" fmla="*/ 35217 w 406796"/>
                <a:gd name="connsiteY3" fmla="*/ 409218 h 547460"/>
                <a:gd name="connsiteX4" fmla="*/ 0 w 406796"/>
                <a:gd name="connsiteY4" fmla="*/ 192045 h 547460"/>
                <a:gd name="connsiteX5" fmla="*/ 205435 w 406796"/>
                <a:gd name="connsiteY5" fmla="*/ 1284 h 547460"/>
                <a:gd name="connsiteX6" fmla="*/ 399130 w 406796"/>
                <a:gd name="connsiteY6" fmla="*/ 174436 h 547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6796" h="547460">
                  <a:moveTo>
                    <a:pt x="399130" y="174436"/>
                  </a:moveTo>
                  <a:cubicBezTo>
                    <a:pt x="399130" y="174436"/>
                    <a:pt x="422609" y="356392"/>
                    <a:pt x="387391" y="420958"/>
                  </a:cubicBezTo>
                  <a:cubicBezTo>
                    <a:pt x="352174" y="485523"/>
                    <a:pt x="293478" y="541284"/>
                    <a:pt x="243587" y="547153"/>
                  </a:cubicBezTo>
                  <a:cubicBezTo>
                    <a:pt x="179021" y="553023"/>
                    <a:pt x="70435" y="473783"/>
                    <a:pt x="35217" y="409218"/>
                  </a:cubicBezTo>
                  <a:cubicBezTo>
                    <a:pt x="0" y="344653"/>
                    <a:pt x="0" y="241936"/>
                    <a:pt x="0" y="192045"/>
                  </a:cubicBezTo>
                  <a:cubicBezTo>
                    <a:pt x="2935" y="101066"/>
                    <a:pt x="26413" y="24762"/>
                    <a:pt x="205435" y="1284"/>
                  </a:cubicBezTo>
                  <a:cubicBezTo>
                    <a:pt x="287609" y="-13390"/>
                    <a:pt x="378587" y="101066"/>
                    <a:pt x="399130" y="174436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29316319-33DC-4552-8235-824EB1C5DED6}"/>
                </a:ext>
              </a:extLst>
            </p:cNvPr>
            <p:cNvSpPr/>
            <p:nvPr/>
          </p:nvSpPr>
          <p:spPr>
            <a:xfrm>
              <a:off x="9646716" y="8411726"/>
              <a:ext cx="52826" cy="129130"/>
            </a:xfrm>
            <a:custGeom>
              <a:avLst/>
              <a:gdLst>
                <a:gd name="connsiteX0" fmla="*/ 29348 w 52826"/>
                <a:gd name="connsiteY0" fmla="*/ 129130 h 129130"/>
                <a:gd name="connsiteX1" fmla="*/ 5869 w 52826"/>
                <a:gd name="connsiteY1" fmla="*/ 126196 h 129130"/>
                <a:gd name="connsiteX2" fmla="*/ 0 w 52826"/>
                <a:gd name="connsiteY2" fmla="*/ 120326 h 129130"/>
                <a:gd name="connsiteX3" fmla="*/ 5869 w 52826"/>
                <a:gd name="connsiteY3" fmla="*/ 114456 h 129130"/>
                <a:gd name="connsiteX4" fmla="*/ 44022 w 52826"/>
                <a:gd name="connsiteY4" fmla="*/ 111522 h 129130"/>
                <a:gd name="connsiteX5" fmla="*/ 44022 w 52826"/>
                <a:gd name="connsiteY5" fmla="*/ 108587 h 129130"/>
                <a:gd name="connsiteX6" fmla="*/ 17609 w 52826"/>
                <a:gd name="connsiteY6" fmla="*/ 5869 h 129130"/>
                <a:gd name="connsiteX7" fmla="*/ 20543 w 52826"/>
                <a:gd name="connsiteY7" fmla="*/ 0 h 129130"/>
                <a:gd name="connsiteX8" fmla="*/ 26413 w 52826"/>
                <a:gd name="connsiteY8" fmla="*/ 2935 h 129130"/>
                <a:gd name="connsiteX9" fmla="*/ 52826 w 52826"/>
                <a:gd name="connsiteY9" fmla="*/ 108587 h 129130"/>
                <a:gd name="connsiteX10" fmla="*/ 46957 w 52826"/>
                <a:gd name="connsiteY10" fmla="*/ 120326 h 129130"/>
                <a:gd name="connsiteX11" fmla="*/ 29348 w 52826"/>
                <a:gd name="connsiteY11" fmla="*/ 129130 h 129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826" h="129130">
                  <a:moveTo>
                    <a:pt x="29348" y="129130"/>
                  </a:moveTo>
                  <a:cubicBezTo>
                    <a:pt x="17609" y="129130"/>
                    <a:pt x="8804" y="126196"/>
                    <a:pt x="5869" y="126196"/>
                  </a:cubicBezTo>
                  <a:cubicBezTo>
                    <a:pt x="2935" y="126196"/>
                    <a:pt x="0" y="123261"/>
                    <a:pt x="0" y="120326"/>
                  </a:cubicBezTo>
                  <a:cubicBezTo>
                    <a:pt x="0" y="117391"/>
                    <a:pt x="2935" y="114456"/>
                    <a:pt x="5869" y="114456"/>
                  </a:cubicBezTo>
                  <a:cubicBezTo>
                    <a:pt x="17609" y="117391"/>
                    <a:pt x="38152" y="117391"/>
                    <a:pt x="44022" y="111522"/>
                  </a:cubicBezTo>
                  <a:cubicBezTo>
                    <a:pt x="44022" y="111522"/>
                    <a:pt x="44022" y="108587"/>
                    <a:pt x="44022" y="108587"/>
                  </a:cubicBezTo>
                  <a:cubicBezTo>
                    <a:pt x="44022" y="93913"/>
                    <a:pt x="23478" y="29348"/>
                    <a:pt x="17609" y="5869"/>
                  </a:cubicBezTo>
                  <a:cubicBezTo>
                    <a:pt x="17609" y="2935"/>
                    <a:pt x="17609" y="0"/>
                    <a:pt x="20543" y="0"/>
                  </a:cubicBezTo>
                  <a:cubicBezTo>
                    <a:pt x="23478" y="0"/>
                    <a:pt x="26413" y="0"/>
                    <a:pt x="26413" y="2935"/>
                  </a:cubicBezTo>
                  <a:cubicBezTo>
                    <a:pt x="26413" y="5869"/>
                    <a:pt x="52826" y="88043"/>
                    <a:pt x="52826" y="108587"/>
                  </a:cubicBezTo>
                  <a:cubicBezTo>
                    <a:pt x="52826" y="114456"/>
                    <a:pt x="49891" y="117391"/>
                    <a:pt x="46957" y="120326"/>
                  </a:cubicBezTo>
                  <a:cubicBezTo>
                    <a:pt x="46957" y="126196"/>
                    <a:pt x="38152" y="129130"/>
                    <a:pt x="29348" y="129130"/>
                  </a:cubicBezTo>
                  <a:close/>
                </a:path>
              </a:pathLst>
            </a:custGeom>
            <a:solidFill>
              <a:srgbClr val="E58777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9D477993-3EEF-4A3C-9A63-AB9131AE0A43}"/>
                </a:ext>
              </a:extLst>
            </p:cNvPr>
            <p:cNvSpPr/>
            <p:nvPr/>
          </p:nvSpPr>
          <p:spPr>
            <a:xfrm>
              <a:off x="9614433" y="8581943"/>
              <a:ext cx="115672" cy="23478"/>
            </a:xfrm>
            <a:custGeom>
              <a:avLst/>
              <a:gdLst>
                <a:gd name="connsiteX0" fmla="*/ 55761 w 115672"/>
                <a:gd name="connsiteY0" fmla="*/ 23478 h 23478"/>
                <a:gd name="connsiteX1" fmla="*/ 2935 w 115672"/>
                <a:gd name="connsiteY1" fmla="*/ 11739 h 23478"/>
                <a:gd name="connsiteX2" fmla="*/ 0 w 115672"/>
                <a:gd name="connsiteY2" fmla="*/ 2935 h 23478"/>
                <a:gd name="connsiteX3" fmla="*/ 8804 w 115672"/>
                <a:gd name="connsiteY3" fmla="*/ 0 h 23478"/>
                <a:gd name="connsiteX4" fmla="*/ 105652 w 115672"/>
                <a:gd name="connsiteY4" fmla="*/ 0 h 23478"/>
                <a:gd name="connsiteX5" fmla="*/ 114456 w 115672"/>
                <a:gd name="connsiteY5" fmla="*/ 2935 h 23478"/>
                <a:gd name="connsiteX6" fmla="*/ 111521 w 115672"/>
                <a:gd name="connsiteY6" fmla="*/ 11739 h 23478"/>
                <a:gd name="connsiteX7" fmla="*/ 55761 w 115672"/>
                <a:gd name="connsiteY7" fmla="*/ 23478 h 23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672" h="23478">
                  <a:moveTo>
                    <a:pt x="55761" y="23478"/>
                  </a:moveTo>
                  <a:cubicBezTo>
                    <a:pt x="41087" y="23478"/>
                    <a:pt x="23478" y="20543"/>
                    <a:pt x="2935" y="11739"/>
                  </a:cubicBezTo>
                  <a:cubicBezTo>
                    <a:pt x="0" y="8804"/>
                    <a:pt x="0" y="5869"/>
                    <a:pt x="0" y="2935"/>
                  </a:cubicBezTo>
                  <a:cubicBezTo>
                    <a:pt x="2935" y="0"/>
                    <a:pt x="5869" y="0"/>
                    <a:pt x="8804" y="0"/>
                  </a:cubicBezTo>
                  <a:cubicBezTo>
                    <a:pt x="55761" y="26413"/>
                    <a:pt x="105652" y="0"/>
                    <a:pt x="105652" y="0"/>
                  </a:cubicBezTo>
                  <a:cubicBezTo>
                    <a:pt x="108587" y="0"/>
                    <a:pt x="111521" y="0"/>
                    <a:pt x="114456" y="2935"/>
                  </a:cubicBezTo>
                  <a:cubicBezTo>
                    <a:pt x="117391" y="5869"/>
                    <a:pt x="114456" y="8804"/>
                    <a:pt x="111521" y="11739"/>
                  </a:cubicBezTo>
                  <a:cubicBezTo>
                    <a:pt x="108587" y="11739"/>
                    <a:pt x="85109" y="23478"/>
                    <a:pt x="55761" y="23478"/>
                  </a:cubicBezTo>
                  <a:close/>
                </a:path>
              </a:pathLst>
            </a:custGeom>
            <a:solidFill>
              <a:srgbClr val="E58777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88005F5F-AA34-4DBE-BB5A-68F88C943371}"/>
                </a:ext>
              </a:extLst>
            </p:cNvPr>
            <p:cNvSpPr/>
            <p:nvPr/>
          </p:nvSpPr>
          <p:spPr>
            <a:xfrm>
              <a:off x="9734184" y="8384737"/>
              <a:ext cx="39303" cy="39303"/>
            </a:xfrm>
            <a:custGeom>
              <a:avLst/>
              <a:gdLst>
                <a:gd name="connsiteX0" fmla="*/ 576 w 39303"/>
                <a:gd name="connsiteY0" fmla="*/ 24054 h 39303"/>
                <a:gd name="connsiteX1" fmla="*/ 24054 w 39303"/>
                <a:gd name="connsiteY1" fmla="*/ 38728 h 39303"/>
                <a:gd name="connsiteX2" fmla="*/ 38728 w 39303"/>
                <a:gd name="connsiteY2" fmla="*/ 15250 h 39303"/>
                <a:gd name="connsiteX3" fmla="*/ 15250 w 39303"/>
                <a:gd name="connsiteY3" fmla="*/ 576 h 39303"/>
                <a:gd name="connsiteX4" fmla="*/ 576 w 39303"/>
                <a:gd name="connsiteY4" fmla="*/ 24054 h 39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03" h="39303">
                  <a:moveTo>
                    <a:pt x="576" y="24054"/>
                  </a:moveTo>
                  <a:cubicBezTo>
                    <a:pt x="3511" y="32858"/>
                    <a:pt x="12315" y="41663"/>
                    <a:pt x="24054" y="38728"/>
                  </a:cubicBezTo>
                  <a:cubicBezTo>
                    <a:pt x="32858" y="35793"/>
                    <a:pt x="41663" y="26989"/>
                    <a:pt x="38728" y="15250"/>
                  </a:cubicBezTo>
                  <a:cubicBezTo>
                    <a:pt x="35793" y="6445"/>
                    <a:pt x="26989" y="-2359"/>
                    <a:pt x="15250" y="576"/>
                  </a:cubicBezTo>
                  <a:cubicBezTo>
                    <a:pt x="6445" y="6445"/>
                    <a:pt x="-2359" y="15250"/>
                    <a:pt x="576" y="24054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59DFBD5D-F11A-400B-8243-72DC15D95A87}"/>
                </a:ext>
              </a:extLst>
            </p:cNvPr>
            <p:cNvSpPr/>
            <p:nvPr/>
          </p:nvSpPr>
          <p:spPr>
            <a:xfrm>
              <a:off x="9552055" y="8393369"/>
              <a:ext cx="39647" cy="39475"/>
            </a:xfrm>
            <a:custGeom>
              <a:avLst/>
              <a:gdLst>
                <a:gd name="connsiteX0" fmla="*/ 748 w 39647"/>
                <a:gd name="connsiteY0" fmla="*/ 24226 h 39475"/>
                <a:gd name="connsiteX1" fmla="*/ 24226 w 39647"/>
                <a:gd name="connsiteY1" fmla="*/ 38900 h 39475"/>
                <a:gd name="connsiteX2" fmla="*/ 38900 w 39647"/>
                <a:gd name="connsiteY2" fmla="*/ 15422 h 39475"/>
                <a:gd name="connsiteX3" fmla="*/ 15422 w 39647"/>
                <a:gd name="connsiteY3" fmla="*/ 748 h 39475"/>
                <a:gd name="connsiteX4" fmla="*/ 748 w 39647"/>
                <a:gd name="connsiteY4" fmla="*/ 24226 h 3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47" h="39475">
                  <a:moveTo>
                    <a:pt x="748" y="24226"/>
                  </a:moveTo>
                  <a:cubicBezTo>
                    <a:pt x="3683" y="33031"/>
                    <a:pt x="12487" y="41835"/>
                    <a:pt x="24226" y="38900"/>
                  </a:cubicBezTo>
                  <a:cubicBezTo>
                    <a:pt x="35965" y="35966"/>
                    <a:pt x="41835" y="27161"/>
                    <a:pt x="38900" y="15422"/>
                  </a:cubicBezTo>
                  <a:cubicBezTo>
                    <a:pt x="35965" y="3683"/>
                    <a:pt x="27161" y="-2187"/>
                    <a:pt x="15422" y="748"/>
                  </a:cubicBezTo>
                  <a:cubicBezTo>
                    <a:pt x="3683" y="3683"/>
                    <a:pt x="-2187" y="12487"/>
                    <a:pt x="748" y="24226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8C680F7F-1BC6-455D-8A2D-81C0E345CA2B}"/>
                </a:ext>
              </a:extLst>
            </p:cNvPr>
            <p:cNvSpPr/>
            <p:nvPr/>
          </p:nvSpPr>
          <p:spPr>
            <a:xfrm>
              <a:off x="9710065" y="8341291"/>
              <a:ext cx="88525" cy="29347"/>
            </a:xfrm>
            <a:custGeom>
              <a:avLst/>
              <a:gdLst>
                <a:gd name="connsiteX0" fmla="*/ 80455 w 88525"/>
                <a:gd name="connsiteY0" fmla="*/ 29348 h 29347"/>
                <a:gd name="connsiteX1" fmla="*/ 74585 w 88525"/>
                <a:gd name="connsiteY1" fmla="*/ 26413 h 29347"/>
                <a:gd name="connsiteX2" fmla="*/ 10020 w 88525"/>
                <a:gd name="connsiteY2" fmla="*/ 20544 h 29347"/>
                <a:gd name="connsiteX3" fmla="*/ 1216 w 88525"/>
                <a:gd name="connsiteY3" fmla="*/ 17609 h 29347"/>
                <a:gd name="connsiteX4" fmla="*/ 4150 w 88525"/>
                <a:gd name="connsiteY4" fmla="*/ 8804 h 29347"/>
                <a:gd name="connsiteX5" fmla="*/ 86324 w 88525"/>
                <a:gd name="connsiteY5" fmla="*/ 17609 h 29347"/>
                <a:gd name="connsiteX6" fmla="*/ 86324 w 88525"/>
                <a:gd name="connsiteY6" fmla="*/ 29348 h 29347"/>
                <a:gd name="connsiteX7" fmla="*/ 80455 w 88525"/>
                <a:gd name="connsiteY7" fmla="*/ 29348 h 2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29347">
                  <a:moveTo>
                    <a:pt x="80455" y="29348"/>
                  </a:moveTo>
                  <a:cubicBezTo>
                    <a:pt x="77520" y="29348"/>
                    <a:pt x="77520" y="29348"/>
                    <a:pt x="74585" y="26413"/>
                  </a:cubicBezTo>
                  <a:cubicBezTo>
                    <a:pt x="51107" y="0"/>
                    <a:pt x="12955" y="17609"/>
                    <a:pt x="10020" y="20544"/>
                  </a:cubicBezTo>
                  <a:cubicBezTo>
                    <a:pt x="7085" y="23478"/>
                    <a:pt x="1216" y="20544"/>
                    <a:pt x="1216" y="17609"/>
                  </a:cubicBezTo>
                  <a:cubicBezTo>
                    <a:pt x="-1719" y="14674"/>
                    <a:pt x="1216" y="8804"/>
                    <a:pt x="4150" y="8804"/>
                  </a:cubicBezTo>
                  <a:cubicBezTo>
                    <a:pt x="21759" y="0"/>
                    <a:pt x="59911" y="-8804"/>
                    <a:pt x="86324" y="17609"/>
                  </a:cubicBezTo>
                  <a:cubicBezTo>
                    <a:pt x="89259" y="20544"/>
                    <a:pt x="89259" y="26413"/>
                    <a:pt x="86324" y="29348"/>
                  </a:cubicBezTo>
                  <a:cubicBezTo>
                    <a:pt x="83390" y="29348"/>
                    <a:pt x="83390" y="29348"/>
                    <a:pt x="80455" y="29348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9F53B4E1-A4F2-41E5-AB4A-FB1441BD12AE}"/>
                </a:ext>
              </a:extLst>
            </p:cNvPr>
            <p:cNvSpPr/>
            <p:nvPr/>
          </p:nvSpPr>
          <p:spPr>
            <a:xfrm>
              <a:off x="9527124" y="8338655"/>
              <a:ext cx="88525" cy="34918"/>
            </a:xfrm>
            <a:custGeom>
              <a:avLst/>
              <a:gdLst>
                <a:gd name="connsiteX0" fmla="*/ 8070 w 88525"/>
                <a:gd name="connsiteY0" fmla="*/ 34919 h 34918"/>
                <a:gd name="connsiteX1" fmla="*/ 2201 w 88525"/>
                <a:gd name="connsiteY1" fmla="*/ 31984 h 34918"/>
                <a:gd name="connsiteX2" fmla="*/ 2201 w 88525"/>
                <a:gd name="connsiteY2" fmla="*/ 20245 h 34918"/>
                <a:gd name="connsiteX3" fmla="*/ 84375 w 88525"/>
                <a:gd name="connsiteY3" fmla="*/ 11440 h 34918"/>
                <a:gd name="connsiteX4" fmla="*/ 87310 w 88525"/>
                <a:gd name="connsiteY4" fmla="*/ 23180 h 34918"/>
                <a:gd name="connsiteX5" fmla="*/ 75570 w 88525"/>
                <a:gd name="connsiteY5" fmla="*/ 26114 h 34918"/>
                <a:gd name="connsiteX6" fmla="*/ 11005 w 88525"/>
                <a:gd name="connsiteY6" fmla="*/ 31984 h 34918"/>
                <a:gd name="connsiteX7" fmla="*/ 8070 w 88525"/>
                <a:gd name="connsiteY7" fmla="*/ 34919 h 3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4918">
                  <a:moveTo>
                    <a:pt x="8070" y="34919"/>
                  </a:moveTo>
                  <a:cubicBezTo>
                    <a:pt x="5136" y="34919"/>
                    <a:pt x="5136" y="34919"/>
                    <a:pt x="2201" y="31984"/>
                  </a:cubicBezTo>
                  <a:cubicBezTo>
                    <a:pt x="-734" y="29049"/>
                    <a:pt x="-734" y="23180"/>
                    <a:pt x="2201" y="20245"/>
                  </a:cubicBezTo>
                  <a:cubicBezTo>
                    <a:pt x="13940" y="5571"/>
                    <a:pt x="49158" y="-12038"/>
                    <a:pt x="84375" y="11440"/>
                  </a:cubicBezTo>
                  <a:cubicBezTo>
                    <a:pt x="87310" y="14375"/>
                    <a:pt x="90244" y="17310"/>
                    <a:pt x="87310" y="23180"/>
                  </a:cubicBezTo>
                  <a:cubicBezTo>
                    <a:pt x="84375" y="26114"/>
                    <a:pt x="81440" y="29049"/>
                    <a:pt x="75570" y="26114"/>
                  </a:cubicBezTo>
                  <a:cubicBezTo>
                    <a:pt x="40353" y="2636"/>
                    <a:pt x="13940" y="31984"/>
                    <a:pt x="11005" y="31984"/>
                  </a:cubicBezTo>
                  <a:cubicBezTo>
                    <a:pt x="11005" y="34919"/>
                    <a:pt x="8070" y="34919"/>
                    <a:pt x="8070" y="34919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EED37536-0819-4FFB-BBFA-B537637C3F5E}"/>
                </a:ext>
              </a:extLst>
            </p:cNvPr>
            <p:cNvSpPr/>
            <p:nvPr/>
          </p:nvSpPr>
          <p:spPr>
            <a:xfrm>
              <a:off x="9586007" y="8124424"/>
              <a:ext cx="266360" cy="246214"/>
            </a:xfrm>
            <a:custGeom>
              <a:avLst/>
              <a:gdLst>
                <a:gd name="connsiteX0" fmla="*/ 2013 w 266360"/>
                <a:gd name="connsiteY0" fmla="*/ 2627 h 246214"/>
                <a:gd name="connsiteX1" fmla="*/ 37230 w 266360"/>
                <a:gd name="connsiteY1" fmla="*/ 125888 h 246214"/>
                <a:gd name="connsiteX2" fmla="*/ 266143 w 266360"/>
                <a:gd name="connsiteY2" fmla="*/ 246214 h 246214"/>
                <a:gd name="connsiteX3" fmla="*/ 2013 w 266360"/>
                <a:gd name="connsiteY3" fmla="*/ 2627 h 246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360" h="246214">
                  <a:moveTo>
                    <a:pt x="2013" y="2627"/>
                  </a:moveTo>
                  <a:cubicBezTo>
                    <a:pt x="2013" y="2627"/>
                    <a:pt x="-12661" y="87736"/>
                    <a:pt x="37230" y="125888"/>
                  </a:cubicBezTo>
                  <a:cubicBezTo>
                    <a:pt x="37230" y="125888"/>
                    <a:pt x="239730" y="166975"/>
                    <a:pt x="266143" y="246214"/>
                  </a:cubicBezTo>
                  <a:cubicBezTo>
                    <a:pt x="266143" y="246214"/>
                    <a:pt x="283752" y="-29655"/>
                    <a:pt x="2013" y="2627"/>
                  </a:cubicBez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DC719F46-61FE-4334-B3CC-2C204E573F0E}"/>
                </a:ext>
              </a:extLst>
            </p:cNvPr>
            <p:cNvSpPr/>
            <p:nvPr/>
          </p:nvSpPr>
          <p:spPr>
            <a:xfrm>
              <a:off x="9406376" y="8127052"/>
              <a:ext cx="216861" cy="302758"/>
            </a:xfrm>
            <a:custGeom>
              <a:avLst/>
              <a:gdLst>
                <a:gd name="connsiteX0" fmla="*/ 216861 w 216861"/>
                <a:gd name="connsiteY0" fmla="*/ 120326 h 302758"/>
                <a:gd name="connsiteX1" fmla="*/ 81862 w 216861"/>
                <a:gd name="connsiteY1" fmla="*/ 173152 h 302758"/>
                <a:gd name="connsiteX2" fmla="*/ 26100 w 216861"/>
                <a:gd name="connsiteY2" fmla="*/ 290543 h 302758"/>
                <a:gd name="connsiteX3" fmla="*/ 2622 w 216861"/>
                <a:gd name="connsiteY3" fmla="*/ 287609 h 302758"/>
                <a:gd name="connsiteX4" fmla="*/ 184579 w 216861"/>
                <a:gd name="connsiteY4" fmla="*/ 0 h 302758"/>
                <a:gd name="connsiteX5" fmla="*/ 216861 w 216861"/>
                <a:gd name="connsiteY5" fmla="*/ 120326 h 30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6861" h="302758">
                  <a:moveTo>
                    <a:pt x="216861" y="120326"/>
                  </a:moveTo>
                  <a:cubicBezTo>
                    <a:pt x="216861" y="120326"/>
                    <a:pt x="131753" y="167283"/>
                    <a:pt x="81862" y="173152"/>
                  </a:cubicBezTo>
                  <a:cubicBezTo>
                    <a:pt x="31970" y="179021"/>
                    <a:pt x="26100" y="290543"/>
                    <a:pt x="26100" y="290543"/>
                  </a:cubicBezTo>
                  <a:cubicBezTo>
                    <a:pt x="26100" y="290543"/>
                    <a:pt x="5557" y="319891"/>
                    <a:pt x="2622" y="287609"/>
                  </a:cubicBezTo>
                  <a:cubicBezTo>
                    <a:pt x="-6182" y="211304"/>
                    <a:pt x="-3247" y="20543"/>
                    <a:pt x="184579" y="0"/>
                  </a:cubicBezTo>
                  <a:cubicBezTo>
                    <a:pt x="181644" y="0"/>
                    <a:pt x="193383" y="117391"/>
                    <a:pt x="216861" y="120326"/>
                  </a:cubicBez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A12C2DF0-AC36-4BFC-B8C3-C4BA80693F7A}"/>
                </a:ext>
              </a:extLst>
            </p:cNvPr>
            <p:cNvSpPr/>
            <p:nvPr/>
          </p:nvSpPr>
          <p:spPr>
            <a:xfrm>
              <a:off x="9393012" y="8401492"/>
              <a:ext cx="74681" cy="109784"/>
            </a:xfrm>
            <a:custGeom>
              <a:avLst/>
              <a:gdLst>
                <a:gd name="connsiteX0" fmla="*/ 62942 w 74681"/>
                <a:gd name="connsiteY0" fmla="*/ 16103 h 109784"/>
                <a:gd name="connsiteX1" fmla="*/ 7182 w 74681"/>
                <a:gd name="connsiteY1" fmla="*/ 7299 h 109784"/>
                <a:gd name="connsiteX2" fmla="*/ 62942 w 74681"/>
                <a:gd name="connsiteY2" fmla="*/ 107082 h 109784"/>
                <a:gd name="connsiteX3" fmla="*/ 62942 w 74681"/>
                <a:gd name="connsiteY3" fmla="*/ 16103 h 109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1" h="109784">
                  <a:moveTo>
                    <a:pt x="62942" y="16103"/>
                  </a:moveTo>
                  <a:cubicBezTo>
                    <a:pt x="62942" y="16103"/>
                    <a:pt x="30660" y="-13245"/>
                    <a:pt x="7182" y="7299"/>
                  </a:cubicBezTo>
                  <a:cubicBezTo>
                    <a:pt x="-16297" y="24908"/>
                    <a:pt x="21856" y="127625"/>
                    <a:pt x="62942" y="107082"/>
                  </a:cubicBezTo>
                  <a:cubicBezTo>
                    <a:pt x="89356" y="86538"/>
                    <a:pt x="62942" y="16103"/>
                    <a:pt x="62942" y="16103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44A95A6C-5E07-4622-B675-97A26F99B86D}"/>
                </a:ext>
              </a:extLst>
            </p:cNvPr>
            <p:cNvSpPr/>
            <p:nvPr/>
          </p:nvSpPr>
          <p:spPr>
            <a:xfrm>
              <a:off x="9426607" y="8124117"/>
              <a:ext cx="200869" cy="287608"/>
            </a:xfrm>
            <a:custGeom>
              <a:avLst/>
              <a:gdLst>
                <a:gd name="connsiteX0" fmla="*/ 5869 w 200869"/>
                <a:gd name="connsiteY0" fmla="*/ 287609 h 287608"/>
                <a:gd name="connsiteX1" fmla="*/ 5869 w 200869"/>
                <a:gd name="connsiteY1" fmla="*/ 287609 h 287608"/>
                <a:gd name="connsiteX2" fmla="*/ 0 w 200869"/>
                <a:gd name="connsiteY2" fmla="*/ 281739 h 287608"/>
                <a:gd name="connsiteX3" fmla="*/ 58696 w 200869"/>
                <a:gd name="connsiteY3" fmla="*/ 170217 h 287608"/>
                <a:gd name="connsiteX4" fmla="*/ 187826 w 200869"/>
                <a:gd name="connsiteY4" fmla="*/ 120326 h 287608"/>
                <a:gd name="connsiteX5" fmla="*/ 173152 w 200869"/>
                <a:gd name="connsiteY5" fmla="*/ 99783 h 287608"/>
                <a:gd name="connsiteX6" fmla="*/ 161413 w 200869"/>
                <a:gd name="connsiteY6" fmla="*/ 58696 h 287608"/>
                <a:gd name="connsiteX7" fmla="*/ 158479 w 200869"/>
                <a:gd name="connsiteY7" fmla="*/ 32283 h 287608"/>
                <a:gd name="connsiteX8" fmla="*/ 155544 w 200869"/>
                <a:gd name="connsiteY8" fmla="*/ 5869 h 287608"/>
                <a:gd name="connsiteX9" fmla="*/ 161413 w 200869"/>
                <a:gd name="connsiteY9" fmla="*/ 0 h 287608"/>
                <a:gd name="connsiteX10" fmla="*/ 167283 w 200869"/>
                <a:gd name="connsiteY10" fmla="*/ 5869 h 287608"/>
                <a:gd name="connsiteX11" fmla="*/ 170217 w 200869"/>
                <a:gd name="connsiteY11" fmla="*/ 32283 h 287608"/>
                <a:gd name="connsiteX12" fmla="*/ 173152 w 200869"/>
                <a:gd name="connsiteY12" fmla="*/ 58696 h 287608"/>
                <a:gd name="connsiteX13" fmla="*/ 181956 w 200869"/>
                <a:gd name="connsiteY13" fmla="*/ 96848 h 287608"/>
                <a:gd name="connsiteX14" fmla="*/ 199565 w 200869"/>
                <a:gd name="connsiteY14" fmla="*/ 120326 h 287608"/>
                <a:gd name="connsiteX15" fmla="*/ 199565 w 200869"/>
                <a:gd name="connsiteY15" fmla="*/ 126196 h 287608"/>
                <a:gd name="connsiteX16" fmla="*/ 196630 w 200869"/>
                <a:gd name="connsiteY16" fmla="*/ 129131 h 287608"/>
                <a:gd name="connsiteX17" fmla="*/ 58696 w 200869"/>
                <a:gd name="connsiteY17" fmla="*/ 184891 h 287608"/>
                <a:gd name="connsiteX18" fmla="*/ 8804 w 200869"/>
                <a:gd name="connsiteY18" fmla="*/ 284674 h 287608"/>
                <a:gd name="connsiteX19" fmla="*/ 5869 w 200869"/>
                <a:gd name="connsiteY19" fmla="*/ 287609 h 287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0869" h="287608">
                  <a:moveTo>
                    <a:pt x="5869" y="287609"/>
                  </a:moveTo>
                  <a:cubicBezTo>
                    <a:pt x="5869" y="287609"/>
                    <a:pt x="5869" y="287609"/>
                    <a:pt x="5869" y="287609"/>
                  </a:cubicBezTo>
                  <a:cubicBezTo>
                    <a:pt x="2935" y="287609"/>
                    <a:pt x="0" y="284674"/>
                    <a:pt x="0" y="281739"/>
                  </a:cubicBezTo>
                  <a:cubicBezTo>
                    <a:pt x="0" y="278804"/>
                    <a:pt x="0" y="179022"/>
                    <a:pt x="58696" y="170217"/>
                  </a:cubicBezTo>
                  <a:cubicBezTo>
                    <a:pt x="111522" y="161413"/>
                    <a:pt x="167283" y="129131"/>
                    <a:pt x="187826" y="120326"/>
                  </a:cubicBezTo>
                  <a:cubicBezTo>
                    <a:pt x="181956" y="114457"/>
                    <a:pt x="179022" y="108587"/>
                    <a:pt x="173152" y="99783"/>
                  </a:cubicBezTo>
                  <a:cubicBezTo>
                    <a:pt x="167283" y="85109"/>
                    <a:pt x="164348" y="70435"/>
                    <a:pt x="161413" y="58696"/>
                  </a:cubicBezTo>
                  <a:cubicBezTo>
                    <a:pt x="161413" y="52826"/>
                    <a:pt x="158479" y="41087"/>
                    <a:pt x="158479" y="32283"/>
                  </a:cubicBezTo>
                  <a:cubicBezTo>
                    <a:pt x="158479" y="20543"/>
                    <a:pt x="155544" y="11739"/>
                    <a:pt x="155544" y="5869"/>
                  </a:cubicBezTo>
                  <a:cubicBezTo>
                    <a:pt x="155544" y="2935"/>
                    <a:pt x="158479" y="0"/>
                    <a:pt x="161413" y="0"/>
                  </a:cubicBezTo>
                  <a:cubicBezTo>
                    <a:pt x="164348" y="0"/>
                    <a:pt x="167283" y="2935"/>
                    <a:pt x="167283" y="5869"/>
                  </a:cubicBezTo>
                  <a:cubicBezTo>
                    <a:pt x="167283" y="11739"/>
                    <a:pt x="170217" y="23478"/>
                    <a:pt x="170217" y="32283"/>
                  </a:cubicBezTo>
                  <a:cubicBezTo>
                    <a:pt x="170217" y="44022"/>
                    <a:pt x="173152" y="52826"/>
                    <a:pt x="173152" y="58696"/>
                  </a:cubicBezTo>
                  <a:cubicBezTo>
                    <a:pt x="176087" y="73370"/>
                    <a:pt x="176087" y="85109"/>
                    <a:pt x="181956" y="96848"/>
                  </a:cubicBezTo>
                  <a:cubicBezTo>
                    <a:pt x="184891" y="105652"/>
                    <a:pt x="193696" y="111522"/>
                    <a:pt x="199565" y="120326"/>
                  </a:cubicBezTo>
                  <a:cubicBezTo>
                    <a:pt x="199565" y="120326"/>
                    <a:pt x="202500" y="123261"/>
                    <a:pt x="199565" y="126196"/>
                  </a:cubicBezTo>
                  <a:cubicBezTo>
                    <a:pt x="199565" y="129131"/>
                    <a:pt x="199565" y="129131"/>
                    <a:pt x="196630" y="129131"/>
                  </a:cubicBezTo>
                  <a:cubicBezTo>
                    <a:pt x="193696" y="132065"/>
                    <a:pt x="126196" y="173152"/>
                    <a:pt x="58696" y="184891"/>
                  </a:cubicBezTo>
                  <a:cubicBezTo>
                    <a:pt x="11739" y="190761"/>
                    <a:pt x="8804" y="281739"/>
                    <a:pt x="8804" y="284674"/>
                  </a:cubicBezTo>
                  <a:cubicBezTo>
                    <a:pt x="11739" y="284674"/>
                    <a:pt x="8804" y="287609"/>
                    <a:pt x="5869" y="287609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B90F3DA2-2E80-49F7-ACFD-0D2C43FEB017}"/>
                </a:ext>
              </a:extLst>
            </p:cNvPr>
            <p:cNvSpPr/>
            <p:nvPr/>
          </p:nvSpPr>
          <p:spPr>
            <a:xfrm>
              <a:off x="9676064" y="8256182"/>
              <a:ext cx="267386" cy="278804"/>
            </a:xfrm>
            <a:custGeom>
              <a:avLst/>
              <a:gdLst>
                <a:gd name="connsiteX0" fmla="*/ 261196 w 267386"/>
                <a:gd name="connsiteY0" fmla="*/ 278804 h 278804"/>
                <a:gd name="connsiteX1" fmla="*/ 261196 w 267386"/>
                <a:gd name="connsiteY1" fmla="*/ 278804 h 278804"/>
                <a:gd name="connsiteX2" fmla="*/ 255326 w 267386"/>
                <a:gd name="connsiteY2" fmla="*/ 272935 h 278804"/>
                <a:gd name="connsiteX3" fmla="*/ 225978 w 267386"/>
                <a:gd name="connsiteY3" fmla="*/ 220109 h 278804"/>
                <a:gd name="connsiteX4" fmla="*/ 173152 w 267386"/>
                <a:gd name="connsiteY4" fmla="*/ 129131 h 278804"/>
                <a:gd name="connsiteX5" fmla="*/ 5869 w 267386"/>
                <a:gd name="connsiteY5" fmla="*/ 11739 h 278804"/>
                <a:gd name="connsiteX6" fmla="*/ 0 w 267386"/>
                <a:gd name="connsiteY6" fmla="*/ 5869 h 278804"/>
                <a:gd name="connsiteX7" fmla="*/ 5869 w 267386"/>
                <a:gd name="connsiteY7" fmla="*/ 0 h 278804"/>
                <a:gd name="connsiteX8" fmla="*/ 181956 w 267386"/>
                <a:gd name="connsiteY8" fmla="*/ 126196 h 278804"/>
                <a:gd name="connsiteX9" fmla="*/ 231848 w 267386"/>
                <a:gd name="connsiteY9" fmla="*/ 208370 h 278804"/>
                <a:gd name="connsiteX10" fmla="*/ 267065 w 267386"/>
                <a:gd name="connsiteY10" fmla="*/ 270000 h 278804"/>
                <a:gd name="connsiteX11" fmla="*/ 261196 w 267386"/>
                <a:gd name="connsiteY11" fmla="*/ 278804 h 278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7386" h="278804">
                  <a:moveTo>
                    <a:pt x="261196" y="278804"/>
                  </a:moveTo>
                  <a:cubicBezTo>
                    <a:pt x="261196" y="278804"/>
                    <a:pt x="261196" y="278804"/>
                    <a:pt x="261196" y="278804"/>
                  </a:cubicBezTo>
                  <a:cubicBezTo>
                    <a:pt x="258261" y="278804"/>
                    <a:pt x="255326" y="275870"/>
                    <a:pt x="255326" y="272935"/>
                  </a:cubicBezTo>
                  <a:cubicBezTo>
                    <a:pt x="258261" y="246522"/>
                    <a:pt x="243587" y="234783"/>
                    <a:pt x="225978" y="220109"/>
                  </a:cubicBezTo>
                  <a:cubicBezTo>
                    <a:pt x="205435" y="205435"/>
                    <a:pt x="176087" y="184891"/>
                    <a:pt x="173152" y="129131"/>
                  </a:cubicBezTo>
                  <a:cubicBezTo>
                    <a:pt x="167283" y="35217"/>
                    <a:pt x="8804" y="11739"/>
                    <a:pt x="5869" y="11739"/>
                  </a:cubicBezTo>
                  <a:cubicBezTo>
                    <a:pt x="2935" y="11739"/>
                    <a:pt x="0" y="8804"/>
                    <a:pt x="0" y="5869"/>
                  </a:cubicBezTo>
                  <a:cubicBezTo>
                    <a:pt x="0" y="2935"/>
                    <a:pt x="2935" y="0"/>
                    <a:pt x="5869" y="0"/>
                  </a:cubicBezTo>
                  <a:cubicBezTo>
                    <a:pt x="11739" y="0"/>
                    <a:pt x="173152" y="23478"/>
                    <a:pt x="181956" y="126196"/>
                  </a:cubicBezTo>
                  <a:cubicBezTo>
                    <a:pt x="184891" y="176087"/>
                    <a:pt x="208369" y="193696"/>
                    <a:pt x="231848" y="208370"/>
                  </a:cubicBezTo>
                  <a:cubicBezTo>
                    <a:pt x="252391" y="223044"/>
                    <a:pt x="270000" y="234783"/>
                    <a:pt x="267065" y="270000"/>
                  </a:cubicBezTo>
                  <a:cubicBezTo>
                    <a:pt x="267065" y="275870"/>
                    <a:pt x="264131" y="278804"/>
                    <a:pt x="261196" y="278804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26F4013E-FB6D-42B1-9590-7E6F25E209C4}"/>
                </a:ext>
              </a:extLst>
            </p:cNvPr>
            <p:cNvSpPr/>
            <p:nvPr/>
          </p:nvSpPr>
          <p:spPr>
            <a:xfrm>
              <a:off x="9955602" y="8629633"/>
              <a:ext cx="116070" cy="116657"/>
            </a:xfrm>
            <a:custGeom>
              <a:avLst/>
              <a:gdLst>
                <a:gd name="connsiteX0" fmla="*/ 107853 w 116070"/>
                <a:gd name="connsiteY0" fmla="*/ 116658 h 116657"/>
                <a:gd name="connsiteX1" fmla="*/ 107853 w 116070"/>
                <a:gd name="connsiteY1" fmla="*/ 116658 h 116657"/>
                <a:gd name="connsiteX2" fmla="*/ 101984 w 116070"/>
                <a:gd name="connsiteY2" fmla="*/ 107854 h 116657"/>
                <a:gd name="connsiteX3" fmla="*/ 78505 w 116070"/>
                <a:gd name="connsiteY3" fmla="*/ 63832 h 116657"/>
                <a:gd name="connsiteX4" fmla="*/ 2201 w 116070"/>
                <a:gd name="connsiteY4" fmla="*/ 11006 h 116657"/>
                <a:gd name="connsiteX5" fmla="*/ 2201 w 116070"/>
                <a:gd name="connsiteY5" fmla="*/ 2201 h 116657"/>
                <a:gd name="connsiteX6" fmla="*/ 11005 w 116070"/>
                <a:gd name="connsiteY6" fmla="*/ 2201 h 116657"/>
                <a:gd name="connsiteX7" fmla="*/ 84375 w 116070"/>
                <a:gd name="connsiteY7" fmla="*/ 52092 h 116657"/>
                <a:gd name="connsiteX8" fmla="*/ 113723 w 116070"/>
                <a:gd name="connsiteY8" fmla="*/ 110788 h 116657"/>
                <a:gd name="connsiteX9" fmla="*/ 107853 w 116070"/>
                <a:gd name="connsiteY9" fmla="*/ 116658 h 116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070" h="116657">
                  <a:moveTo>
                    <a:pt x="107853" y="116658"/>
                  </a:moveTo>
                  <a:cubicBezTo>
                    <a:pt x="107853" y="116658"/>
                    <a:pt x="107853" y="116658"/>
                    <a:pt x="107853" y="116658"/>
                  </a:cubicBezTo>
                  <a:cubicBezTo>
                    <a:pt x="101984" y="116658"/>
                    <a:pt x="101984" y="110788"/>
                    <a:pt x="101984" y="107854"/>
                  </a:cubicBezTo>
                  <a:cubicBezTo>
                    <a:pt x="101984" y="107854"/>
                    <a:pt x="110788" y="78506"/>
                    <a:pt x="78505" y="63832"/>
                  </a:cubicBezTo>
                  <a:cubicBezTo>
                    <a:pt x="37418" y="46223"/>
                    <a:pt x="2201" y="13940"/>
                    <a:pt x="2201" y="11006"/>
                  </a:cubicBezTo>
                  <a:cubicBezTo>
                    <a:pt x="-734" y="8071"/>
                    <a:pt x="-734" y="5136"/>
                    <a:pt x="2201" y="2201"/>
                  </a:cubicBezTo>
                  <a:cubicBezTo>
                    <a:pt x="5136" y="-734"/>
                    <a:pt x="8070" y="-734"/>
                    <a:pt x="11005" y="2201"/>
                  </a:cubicBezTo>
                  <a:cubicBezTo>
                    <a:pt x="11005" y="2201"/>
                    <a:pt x="46222" y="34484"/>
                    <a:pt x="84375" y="52092"/>
                  </a:cubicBezTo>
                  <a:cubicBezTo>
                    <a:pt x="128397" y="69701"/>
                    <a:pt x="113723" y="110788"/>
                    <a:pt x="113723" y="110788"/>
                  </a:cubicBezTo>
                  <a:cubicBezTo>
                    <a:pt x="113723" y="116658"/>
                    <a:pt x="110788" y="116658"/>
                    <a:pt x="107853" y="116658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1668DA63-3312-48EE-B6BA-A5828227CDB9}"/>
                </a:ext>
              </a:extLst>
            </p:cNvPr>
            <p:cNvSpPr/>
            <p:nvPr/>
          </p:nvSpPr>
          <p:spPr>
            <a:xfrm>
              <a:off x="9526390" y="8631834"/>
              <a:ext cx="213505" cy="76304"/>
            </a:xfrm>
            <a:custGeom>
              <a:avLst/>
              <a:gdLst>
                <a:gd name="connsiteX0" fmla="*/ 143804 w 213505"/>
                <a:gd name="connsiteY0" fmla="*/ 76305 h 76304"/>
                <a:gd name="connsiteX1" fmla="*/ 135000 w 213505"/>
                <a:gd name="connsiteY1" fmla="*/ 76305 h 76304"/>
                <a:gd name="connsiteX2" fmla="*/ 2935 w 213505"/>
                <a:gd name="connsiteY2" fmla="*/ 11739 h 76304"/>
                <a:gd name="connsiteX3" fmla="*/ 0 w 213505"/>
                <a:gd name="connsiteY3" fmla="*/ 2935 h 76304"/>
                <a:gd name="connsiteX4" fmla="*/ 8804 w 213505"/>
                <a:gd name="connsiteY4" fmla="*/ 0 h 76304"/>
                <a:gd name="connsiteX5" fmla="*/ 135000 w 213505"/>
                <a:gd name="connsiteY5" fmla="*/ 64565 h 76304"/>
                <a:gd name="connsiteX6" fmla="*/ 202500 w 213505"/>
                <a:gd name="connsiteY6" fmla="*/ 41087 h 76304"/>
                <a:gd name="connsiteX7" fmla="*/ 211304 w 213505"/>
                <a:gd name="connsiteY7" fmla="*/ 41087 h 76304"/>
                <a:gd name="connsiteX8" fmla="*/ 211304 w 213505"/>
                <a:gd name="connsiteY8" fmla="*/ 49891 h 76304"/>
                <a:gd name="connsiteX9" fmla="*/ 143804 w 213505"/>
                <a:gd name="connsiteY9" fmla="*/ 76305 h 7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3505" h="76304">
                  <a:moveTo>
                    <a:pt x="143804" y="76305"/>
                  </a:moveTo>
                  <a:cubicBezTo>
                    <a:pt x="140869" y="76305"/>
                    <a:pt x="137935" y="76305"/>
                    <a:pt x="135000" y="76305"/>
                  </a:cubicBezTo>
                  <a:cubicBezTo>
                    <a:pt x="93913" y="70435"/>
                    <a:pt x="5869" y="11739"/>
                    <a:pt x="2935" y="11739"/>
                  </a:cubicBezTo>
                  <a:cubicBezTo>
                    <a:pt x="0" y="8804"/>
                    <a:pt x="0" y="5869"/>
                    <a:pt x="0" y="2935"/>
                  </a:cubicBezTo>
                  <a:cubicBezTo>
                    <a:pt x="2935" y="0"/>
                    <a:pt x="5869" y="0"/>
                    <a:pt x="8804" y="0"/>
                  </a:cubicBezTo>
                  <a:cubicBezTo>
                    <a:pt x="8804" y="0"/>
                    <a:pt x="99782" y="58696"/>
                    <a:pt x="135000" y="64565"/>
                  </a:cubicBezTo>
                  <a:cubicBezTo>
                    <a:pt x="170217" y="70435"/>
                    <a:pt x="202500" y="41087"/>
                    <a:pt x="202500" y="41087"/>
                  </a:cubicBezTo>
                  <a:cubicBezTo>
                    <a:pt x="205435" y="38152"/>
                    <a:pt x="208369" y="38152"/>
                    <a:pt x="211304" y="41087"/>
                  </a:cubicBezTo>
                  <a:cubicBezTo>
                    <a:pt x="214239" y="44022"/>
                    <a:pt x="214239" y="46957"/>
                    <a:pt x="211304" y="49891"/>
                  </a:cubicBezTo>
                  <a:cubicBezTo>
                    <a:pt x="208369" y="49891"/>
                    <a:pt x="181956" y="76305"/>
                    <a:pt x="143804" y="76305"/>
                  </a:cubicBezTo>
                  <a:close/>
                </a:path>
              </a:pathLst>
            </a:custGeom>
            <a:solidFill>
              <a:srgbClr val="E58777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0D83C39C-F2C2-4B5B-BB08-08ADBECF9BED}"/>
                </a:ext>
              </a:extLst>
            </p:cNvPr>
            <p:cNvGrpSpPr/>
            <p:nvPr/>
          </p:nvGrpSpPr>
          <p:grpSpPr>
            <a:xfrm>
              <a:off x="9122043" y="7998947"/>
              <a:ext cx="780325" cy="360346"/>
              <a:chOff x="9122043" y="7998947"/>
              <a:chExt cx="780325" cy="360346"/>
            </a:xfrm>
          </p:grpSpPr>
          <p:grpSp>
            <p:nvGrpSpPr>
              <p:cNvPr id="44" name="图形 1">
                <a:extLst>
                  <a:ext uri="{FF2B5EF4-FFF2-40B4-BE49-F238E27FC236}">
                    <a16:creationId xmlns:a16="http://schemas.microsoft.com/office/drawing/2014/main" id="{53A1C4E1-ED3D-4E25-B121-569FB619A00F}"/>
                  </a:ext>
                </a:extLst>
              </p:cNvPr>
              <p:cNvGrpSpPr/>
              <p:nvPr/>
            </p:nvGrpSpPr>
            <p:grpSpPr>
              <a:xfrm>
                <a:off x="9122043" y="7998947"/>
                <a:ext cx="753761" cy="342343"/>
                <a:chOff x="9122043" y="7998947"/>
                <a:chExt cx="753761" cy="342343"/>
              </a:xfrm>
            </p:grpSpPr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1351757B-39F7-4CBC-99BF-EF4567F14908}"/>
                    </a:ext>
                  </a:extLst>
                </p:cNvPr>
                <p:cNvSpPr/>
                <p:nvPr/>
              </p:nvSpPr>
              <p:spPr>
                <a:xfrm>
                  <a:off x="9268863" y="7998947"/>
                  <a:ext cx="606942" cy="342343"/>
                </a:xfrm>
                <a:custGeom>
                  <a:avLst/>
                  <a:gdLst>
                    <a:gd name="connsiteX0" fmla="*/ 395462 w 606942"/>
                    <a:gd name="connsiteY0" fmla="*/ 1909 h 342343"/>
                    <a:gd name="connsiteX1" fmla="*/ 2201 w 606942"/>
                    <a:gd name="connsiteY1" fmla="*/ 195605 h 342343"/>
                    <a:gd name="connsiteX2" fmla="*/ 2201 w 606942"/>
                    <a:gd name="connsiteY2" fmla="*/ 204409 h 342343"/>
                    <a:gd name="connsiteX3" fmla="*/ 87310 w 606942"/>
                    <a:gd name="connsiteY3" fmla="*/ 248430 h 342343"/>
                    <a:gd name="connsiteX4" fmla="*/ 81440 w 606942"/>
                    <a:gd name="connsiteY4" fmla="*/ 333539 h 342343"/>
                    <a:gd name="connsiteX5" fmla="*/ 84375 w 606942"/>
                    <a:gd name="connsiteY5" fmla="*/ 339409 h 342343"/>
                    <a:gd name="connsiteX6" fmla="*/ 90244 w 606942"/>
                    <a:gd name="connsiteY6" fmla="*/ 342344 h 342343"/>
                    <a:gd name="connsiteX7" fmla="*/ 410136 w 606942"/>
                    <a:gd name="connsiteY7" fmla="*/ 298322 h 342343"/>
                    <a:gd name="connsiteX8" fmla="*/ 603831 w 606942"/>
                    <a:gd name="connsiteY8" fmla="*/ 219083 h 342343"/>
                    <a:gd name="connsiteX9" fmla="*/ 606766 w 606942"/>
                    <a:gd name="connsiteY9" fmla="*/ 210279 h 342343"/>
                    <a:gd name="connsiteX10" fmla="*/ 395462 w 606942"/>
                    <a:gd name="connsiteY10" fmla="*/ 1909 h 3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06942" h="342343">
                      <a:moveTo>
                        <a:pt x="395462" y="1909"/>
                      </a:moveTo>
                      <a:cubicBezTo>
                        <a:pt x="231114" y="-12765"/>
                        <a:pt x="87310" y="57670"/>
                        <a:pt x="2201" y="195605"/>
                      </a:cubicBezTo>
                      <a:cubicBezTo>
                        <a:pt x="-734" y="198539"/>
                        <a:pt x="-734" y="201474"/>
                        <a:pt x="2201" y="204409"/>
                      </a:cubicBezTo>
                      <a:cubicBezTo>
                        <a:pt x="2201" y="207344"/>
                        <a:pt x="31549" y="248430"/>
                        <a:pt x="87310" y="248430"/>
                      </a:cubicBezTo>
                      <a:cubicBezTo>
                        <a:pt x="81440" y="289518"/>
                        <a:pt x="81440" y="330605"/>
                        <a:pt x="81440" y="333539"/>
                      </a:cubicBezTo>
                      <a:cubicBezTo>
                        <a:pt x="81440" y="336474"/>
                        <a:pt x="81440" y="339409"/>
                        <a:pt x="84375" y="339409"/>
                      </a:cubicBezTo>
                      <a:cubicBezTo>
                        <a:pt x="87310" y="342344"/>
                        <a:pt x="87310" y="342344"/>
                        <a:pt x="90244" y="342344"/>
                      </a:cubicBezTo>
                      <a:cubicBezTo>
                        <a:pt x="225245" y="336474"/>
                        <a:pt x="330897" y="318866"/>
                        <a:pt x="410136" y="298322"/>
                      </a:cubicBezTo>
                      <a:cubicBezTo>
                        <a:pt x="542201" y="263104"/>
                        <a:pt x="600896" y="222018"/>
                        <a:pt x="603831" y="219083"/>
                      </a:cubicBezTo>
                      <a:cubicBezTo>
                        <a:pt x="606766" y="216148"/>
                        <a:pt x="606766" y="213213"/>
                        <a:pt x="606766" y="210279"/>
                      </a:cubicBezTo>
                      <a:cubicBezTo>
                        <a:pt x="609701" y="207344"/>
                        <a:pt x="577418" y="19518"/>
                        <a:pt x="395462" y="1909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EF2A9939-679E-44C8-8792-1F641CC7B5AA}"/>
                    </a:ext>
                  </a:extLst>
                </p:cNvPr>
                <p:cNvSpPr/>
                <p:nvPr/>
              </p:nvSpPr>
              <p:spPr>
                <a:xfrm>
                  <a:off x="9122043" y="8107140"/>
                  <a:ext cx="204781" cy="198932"/>
                </a:xfrm>
                <a:custGeom>
                  <a:avLst/>
                  <a:gdLst>
                    <a:gd name="connsiteX0" fmla="*/ 204782 w 204781"/>
                    <a:gd name="connsiteY0" fmla="*/ 72738 h 198932"/>
                    <a:gd name="connsiteX1" fmla="*/ 190108 w 204781"/>
                    <a:gd name="connsiteY1" fmla="*/ 46324 h 198932"/>
                    <a:gd name="connsiteX2" fmla="*/ 175434 w 204781"/>
                    <a:gd name="connsiteY2" fmla="*/ 40455 h 198932"/>
                    <a:gd name="connsiteX3" fmla="*/ 157825 w 204781"/>
                    <a:gd name="connsiteY3" fmla="*/ 16977 h 198932"/>
                    <a:gd name="connsiteX4" fmla="*/ 134347 w 204781"/>
                    <a:gd name="connsiteY4" fmla="*/ 11107 h 198932"/>
                    <a:gd name="connsiteX5" fmla="*/ 119673 w 204781"/>
                    <a:gd name="connsiteY5" fmla="*/ 14042 h 198932"/>
                    <a:gd name="connsiteX6" fmla="*/ 72716 w 204781"/>
                    <a:gd name="connsiteY6" fmla="*/ 2303 h 198932"/>
                    <a:gd name="connsiteX7" fmla="*/ 40434 w 204781"/>
                    <a:gd name="connsiteY7" fmla="*/ 40455 h 198932"/>
                    <a:gd name="connsiteX8" fmla="*/ 8151 w 204781"/>
                    <a:gd name="connsiteY8" fmla="*/ 87412 h 198932"/>
                    <a:gd name="connsiteX9" fmla="*/ 19890 w 204781"/>
                    <a:gd name="connsiteY9" fmla="*/ 137303 h 198932"/>
                    <a:gd name="connsiteX10" fmla="*/ 37499 w 204781"/>
                    <a:gd name="connsiteY10" fmla="*/ 175455 h 198932"/>
                    <a:gd name="connsiteX11" fmla="*/ 66847 w 204781"/>
                    <a:gd name="connsiteY11" fmla="*/ 184259 h 198932"/>
                    <a:gd name="connsiteX12" fmla="*/ 72716 w 204781"/>
                    <a:gd name="connsiteY12" fmla="*/ 184259 h 198932"/>
                    <a:gd name="connsiteX13" fmla="*/ 72716 w 204781"/>
                    <a:gd name="connsiteY13" fmla="*/ 184259 h 198932"/>
                    <a:gd name="connsiteX14" fmla="*/ 104999 w 204781"/>
                    <a:gd name="connsiteY14" fmla="*/ 198933 h 198932"/>
                    <a:gd name="connsiteX15" fmla="*/ 134347 w 204781"/>
                    <a:gd name="connsiteY15" fmla="*/ 184259 h 198932"/>
                    <a:gd name="connsiteX16" fmla="*/ 157825 w 204781"/>
                    <a:gd name="connsiteY16" fmla="*/ 181325 h 198932"/>
                    <a:gd name="connsiteX17" fmla="*/ 181303 w 204781"/>
                    <a:gd name="connsiteY17" fmla="*/ 157846 h 198932"/>
                    <a:gd name="connsiteX18" fmla="*/ 184238 w 204781"/>
                    <a:gd name="connsiteY18" fmla="*/ 143172 h 198932"/>
                    <a:gd name="connsiteX19" fmla="*/ 198912 w 204781"/>
                    <a:gd name="connsiteY19" fmla="*/ 122629 h 198932"/>
                    <a:gd name="connsiteX20" fmla="*/ 195977 w 204781"/>
                    <a:gd name="connsiteY20" fmla="*/ 96216 h 198932"/>
                    <a:gd name="connsiteX21" fmla="*/ 198912 w 204781"/>
                    <a:gd name="connsiteY21" fmla="*/ 93281 h 198932"/>
                    <a:gd name="connsiteX22" fmla="*/ 204782 w 204781"/>
                    <a:gd name="connsiteY22" fmla="*/ 72738 h 198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04781" h="198932">
                      <a:moveTo>
                        <a:pt x="204782" y="72738"/>
                      </a:moveTo>
                      <a:cubicBezTo>
                        <a:pt x="204782" y="60998"/>
                        <a:pt x="198912" y="49259"/>
                        <a:pt x="190108" y="46324"/>
                      </a:cubicBezTo>
                      <a:cubicBezTo>
                        <a:pt x="184238" y="43390"/>
                        <a:pt x="181303" y="40455"/>
                        <a:pt x="175434" y="40455"/>
                      </a:cubicBezTo>
                      <a:cubicBezTo>
                        <a:pt x="172499" y="31650"/>
                        <a:pt x="169564" y="22846"/>
                        <a:pt x="157825" y="16977"/>
                      </a:cubicBezTo>
                      <a:cubicBezTo>
                        <a:pt x="149020" y="11107"/>
                        <a:pt x="143151" y="11107"/>
                        <a:pt x="134347" y="11107"/>
                      </a:cubicBezTo>
                      <a:cubicBezTo>
                        <a:pt x="131412" y="11107"/>
                        <a:pt x="125543" y="11107"/>
                        <a:pt x="119673" y="14042"/>
                      </a:cubicBezTo>
                      <a:cubicBezTo>
                        <a:pt x="107934" y="2303"/>
                        <a:pt x="90325" y="-3567"/>
                        <a:pt x="72716" y="2303"/>
                      </a:cubicBezTo>
                      <a:cubicBezTo>
                        <a:pt x="55108" y="8172"/>
                        <a:pt x="43369" y="22846"/>
                        <a:pt x="40434" y="40455"/>
                      </a:cubicBezTo>
                      <a:cubicBezTo>
                        <a:pt x="16955" y="46324"/>
                        <a:pt x="2281" y="66868"/>
                        <a:pt x="8151" y="87412"/>
                      </a:cubicBezTo>
                      <a:cubicBezTo>
                        <a:pt x="-6523" y="105020"/>
                        <a:pt x="-653" y="131433"/>
                        <a:pt x="19890" y="137303"/>
                      </a:cubicBezTo>
                      <a:cubicBezTo>
                        <a:pt x="19890" y="151977"/>
                        <a:pt x="25760" y="166651"/>
                        <a:pt x="37499" y="175455"/>
                      </a:cubicBezTo>
                      <a:cubicBezTo>
                        <a:pt x="46303" y="181325"/>
                        <a:pt x="55108" y="184259"/>
                        <a:pt x="66847" y="184259"/>
                      </a:cubicBezTo>
                      <a:cubicBezTo>
                        <a:pt x="69781" y="184259"/>
                        <a:pt x="69781" y="184259"/>
                        <a:pt x="72716" y="184259"/>
                      </a:cubicBezTo>
                      <a:cubicBezTo>
                        <a:pt x="72716" y="184259"/>
                        <a:pt x="72716" y="184259"/>
                        <a:pt x="72716" y="184259"/>
                      </a:cubicBezTo>
                      <a:cubicBezTo>
                        <a:pt x="78586" y="193063"/>
                        <a:pt x="90325" y="198933"/>
                        <a:pt x="104999" y="198933"/>
                      </a:cubicBezTo>
                      <a:cubicBezTo>
                        <a:pt x="116738" y="198933"/>
                        <a:pt x="128477" y="193063"/>
                        <a:pt x="134347" y="184259"/>
                      </a:cubicBezTo>
                      <a:cubicBezTo>
                        <a:pt x="143151" y="184259"/>
                        <a:pt x="149020" y="184259"/>
                        <a:pt x="157825" y="181325"/>
                      </a:cubicBezTo>
                      <a:cubicBezTo>
                        <a:pt x="166629" y="175455"/>
                        <a:pt x="175434" y="166651"/>
                        <a:pt x="181303" y="157846"/>
                      </a:cubicBezTo>
                      <a:cubicBezTo>
                        <a:pt x="184238" y="154911"/>
                        <a:pt x="184238" y="146107"/>
                        <a:pt x="184238" y="143172"/>
                      </a:cubicBezTo>
                      <a:cubicBezTo>
                        <a:pt x="190108" y="140237"/>
                        <a:pt x="195977" y="134368"/>
                        <a:pt x="198912" y="122629"/>
                      </a:cubicBezTo>
                      <a:cubicBezTo>
                        <a:pt x="201847" y="110889"/>
                        <a:pt x="198912" y="105020"/>
                        <a:pt x="195977" y="96216"/>
                      </a:cubicBezTo>
                      <a:cubicBezTo>
                        <a:pt x="195977" y="96216"/>
                        <a:pt x="195977" y="93281"/>
                        <a:pt x="198912" y="93281"/>
                      </a:cubicBezTo>
                      <a:cubicBezTo>
                        <a:pt x="201847" y="87412"/>
                        <a:pt x="204782" y="81542"/>
                        <a:pt x="204782" y="72738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7FB61499-C2A8-4EEF-8622-B622813B785B}"/>
                  </a:ext>
                </a:extLst>
              </p:cNvPr>
              <p:cNvSpPr/>
              <p:nvPr/>
            </p:nvSpPr>
            <p:spPr>
              <a:xfrm>
                <a:off x="9344433" y="8197486"/>
                <a:ext cx="29347" cy="120326"/>
              </a:xfrm>
              <a:custGeom>
                <a:avLst/>
                <a:gdLst>
                  <a:gd name="connsiteX0" fmla="*/ 5870 w 29347"/>
                  <a:gd name="connsiteY0" fmla="*/ 120326 h 120326"/>
                  <a:gd name="connsiteX1" fmla="*/ 0 w 29347"/>
                  <a:gd name="connsiteY1" fmla="*/ 114457 h 120326"/>
                  <a:gd name="connsiteX2" fmla="*/ 20544 w 29347"/>
                  <a:gd name="connsiteY2" fmla="*/ 2935 h 120326"/>
                  <a:gd name="connsiteX3" fmla="*/ 26413 w 29347"/>
                  <a:gd name="connsiteY3" fmla="*/ 0 h 120326"/>
                  <a:gd name="connsiteX4" fmla="*/ 29348 w 29347"/>
                  <a:gd name="connsiteY4" fmla="*/ 5869 h 120326"/>
                  <a:gd name="connsiteX5" fmla="*/ 11739 w 29347"/>
                  <a:gd name="connsiteY5" fmla="*/ 114457 h 120326"/>
                  <a:gd name="connsiteX6" fmla="*/ 5870 w 29347"/>
                  <a:gd name="connsiteY6" fmla="*/ 120326 h 120326"/>
                  <a:gd name="connsiteX7" fmla="*/ 5870 w 29347"/>
                  <a:gd name="connsiteY7" fmla="*/ 120326 h 120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347" h="120326">
                    <a:moveTo>
                      <a:pt x="5870" y="120326"/>
                    </a:moveTo>
                    <a:cubicBezTo>
                      <a:pt x="2935" y="120326"/>
                      <a:pt x="0" y="117391"/>
                      <a:pt x="0" y="114457"/>
                    </a:cubicBezTo>
                    <a:cubicBezTo>
                      <a:pt x="0" y="111522"/>
                      <a:pt x="0" y="46957"/>
                      <a:pt x="20544" y="2935"/>
                    </a:cubicBezTo>
                    <a:cubicBezTo>
                      <a:pt x="20544" y="0"/>
                      <a:pt x="26413" y="0"/>
                      <a:pt x="26413" y="0"/>
                    </a:cubicBezTo>
                    <a:cubicBezTo>
                      <a:pt x="29348" y="0"/>
                      <a:pt x="29348" y="5869"/>
                      <a:pt x="29348" y="5869"/>
                    </a:cubicBezTo>
                    <a:cubicBezTo>
                      <a:pt x="8804" y="49891"/>
                      <a:pt x="11739" y="111522"/>
                      <a:pt x="11739" y="114457"/>
                    </a:cubicBezTo>
                    <a:cubicBezTo>
                      <a:pt x="11739" y="117391"/>
                      <a:pt x="8804" y="120326"/>
                      <a:pt x="5870" y="120326"/>
                    </a:cubicBezTo>
                    <a:cubicBezTo>
                      <a:pt x="5870" y="120326"/>
                      <a:pt x="5870" y="120326"/>
                      <a:pt x="5870" y="12032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5E5406A0-D19A-4917-90A3-5C93F27052A8}"/>
                  </a:ext>
                </a:extLst>
              </p:cNvPr>
              <p:cNvSpPr/>
              <p:nvPr/>
            </p:nvSpPr>
            <p:spPr>
              <a:xfrm>
                <a:off x="9323956" y="8173541"/>
                <a:ext cx="578411" cy="185752"/>
              </a:xfrm>
              <a:custGeom>
                <a:avLst/>
                <a:gdLst>
                  <a:gd name="connsiteX0" fmla="*/ 534064 w 578411"/>
                  <a:gd name="connsiteY0" fmla="*/ 3402 h 185752"/>
                  <a:gd name="connsiteX1" fmla="*/ 23411 w 578411"/>
                  <a:gd name="connsiteY1" fmla="*/ 126663 h 185752"/>
                  <a:gd name="connsiteX2" fmla="*/ 35150 w 578411"/>
                  <a:gd name="connsiteY2" fmla="*/ 185358 h 185752"/>
                  <a:gd name="connsiteX3" fmla="*/ 560476 w 578411"/>
                  <a:gd name="connsiteY3" fmla="*/ 56228 h 185752"/>
                  <a:gd name="connsiteX4" fmla="*/ 534064 w 578411"/>
                  <a:gd name="connsiteY4" fmla="*/ 3402 h 18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8411" h="185752">
                    <a:moveTo>
                      <a:pt x="534064" y="3402"/>
                    </a:moveTo>
                    <a:cubicBezTo>
                      <a:pt x="375585" y="85576"/>
                      <a:pt x="199498" y="109054"/>
                      <a:pt x="23411" y="126663"/>
                    </a:cubicBezTo>
                    <a:cubicBezTo>
                      <a:pt x="-14741" y="129598"/>
                      <a:pt x="-3001" y="191228"/>
                      <a:pt x="35150" y="185358"/>
                    </a:cubicBezTo>
                    <a:cubicBezTo>
                      <a:pt x="217107" y="167750"/>
                      <a:pt x="396129" y="144272"/>
                      <a:pt x="560476" y="56228"/>
                    </a:cubicBezTo>
                    <a:cubicBezTo>
                      <a:pt x="598629" y="41554"/>
                      <a:pt x="569281" y="-14207"/>
                      <a:pt x="534064" y="3402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70" name="图形 1">
            <a:extLst>
              <a:ext uri="{FF2B5EF4-FFF2-40B4-BE49-F238E27FC236}">
                <a16:creationId xmlns:a16="http://schemas.microsoft.com/office/drawing/2014/main" id="{0EDA10C7-0D1C-44AD-B5DC-F1A188764BEC}"/>
              </a:ext>
            </a:extLst>
          </p:cNvPr>
          <p:cNvGrpSpPr/>
          <p:nvPr/>
        </p:nvGrpSpPr>
        <p:grpSpPr>
          <a:xfrm>
            <a:off x="6494186" y="2276468"/>
            <a:ext cx="2219911" cy="4428924"/>
            <a:chOff x="23220086" y="7817555"/>
            <a:chExt cx="2219911" cy="4428924"/>
          </a:xfrm>
        </p:grpSpPr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20FFEEE9-5ABD-4B16-BF8E-0A6CDF9479DD}"/>
                </a:ext>
              </a:extLst>
            </p:cNvPr>
            <p:cNvSpPr/>
            <p:nvPr/>
          </p:nvSpPr>
          <p:spPr>
            <a:xfrm>
              <a:off x="23462285" y="8778871"/>
              <a:ext cx="940758" cy="498645"/>
            </a:xfrm>
            <a:custGeom>
              <a:avLst/>
              <a:gdLst>
                <a:gd name="connsiteX0" fmla="*/ 735083 w 940758"/>
                <a:gd name="connsiteY0" fmla="*/ 23181 h 498645"/>
                <a:gd name="connsiteX1" fmla="*/ 418126 w 940758"/>
                <a:gd name="connsiteY1" fmla="*/ 310789 h 498645"/>
                <a:gd name="connsiteX2" fmla="*/ 16061 w 940758"/>
                <a:gd name="connsiteY2" fmla="*/ 304920 h 498645"/>
                <a:gd name="connsiteX3" fmla="*/ 24865 w 940758"/>
                <a:gd name="connsiteY3" fmla="*/ 404702 h 498645"/>
                <a:gd name="connsiteX4" fmla="*/ 456278 w 940758"/>
                <a:gd name="connsiteY4" fmla="*/ 498615 h 498645"/>
                <a:gd name="connsiteX5" fmla="*/ 919973 w 940758"/>
                <a:gd name="connsiteY5" fmla="*/ 211007 h 498645"/>
                <a:gd name="connsiteX6" fmla="*/ 735083 w 940758"/>
                <a:gd name="connsiteY6" fmla="*/ 23181 h 49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0758" h="498645">
                  <a:moveTo>
                    <a:pt x="735083" y="23181"/>
                  </a:moveTo>
                  <a:cubicBezTo>
                    <a:pt x="664647" y="73072"/>
                    <a:pt x="418126" y="310789"/>
                    <a:pt x="418126" y="310789"/>
                  </a:cubicBezTo>
                  <a:cubicBezTo>
                    <a:pt x="418126" y="310789"/>
                    <a:pt x="18995" y="299050"/>
                    <a:pt x="16061" y="304920"/>
                  </a:cubicBezTo>
                  <a:cubicBezTo>
                    <a:pt x="-16221" y="363615"/>
                    <a:pt x="7257" y="340137"/>
                    <a:pt x="24865" y="404702"/>
                  </a:cubicBezTo>
                  <a:cubicBezTo>
                    <a:pt x="27801" y="413507"/>
                    <a:pt x="212692" y="486876"/>
                    <a:pt x="456278" y="498615"/>
                  </a:cubicBezTo>
                  <a:cubicBezTo>
                    <a:pt x="520844" y="501550"/>
                    <a:pt x="802582" y="290246"/>
                    <a:pt x="919973" y="211007"/>
                  </a:cubicBezTo>
                  <a:cubicBezTo>
                    <a:pt x="990409" y="161115"/>
                    <a:pt x="870082" y="-73667"/>
                    <a:pt x="735083" y="23181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E6BF489B-6288-4D66-83AC-F53E1003BDBC}"/>
                </a:ext>
              </a:extLst>
            </p:cNvPr>
            <p:cNvSpPr/>
            <p:nvPr/>
          </p:nvSpPr>
          <p:spPr>
            <a:xfrm>
              <a:off x="24740237" y="8266336"/>
              <a:ext cx="689739" cy="685612"/>
            </a:xfrm>
            <a:custGeom>
              <a:avLst/>
              <a:gdLst>
                <a:gd name="connsiteX0" fmla="*/ 66 w 689739"/>
                <a:gd name="connsiteY0" fmla="*/ 16259 h 685612"/>
                <a:gd name="connsiteX1" fmla="*/ 278870 w 689739"/>
                <a:gd name="connsiteY1" fmla="*/ 10389 h 685612"/>
                <a:gd name="connsiteX2" fmla="*/ 592892 w 689739"/>
                <a:gd name="connsiteY2" fmla="*/ 394846 h 685612"/>
                <a:gd name="connsiteX3" fmla="*/ 689740 w 689739"/>
                <a:gd name="connsiteY3" fmla="*/ 679520 h 685612"/>
                <a:gd name="connsiteX4" fmla="*/ 278870 w 689739"/>
                <a:gd name="connsiteY4" fmla="*/ 526911 h 685612"/>
                <a:gd name="connsiteX5" fmla="*/ 66 w 689739"/>
                <a:gd name="connsiteY5" fmla="*/ 16259 h 685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9739" h="685612">
                  <a:moveTo>
                    <a:pt x="66" y="16259"/>
                  </a:moveTo>
                  <a:cubicBezTo>
                    <a:pt x="66" y="16259"/>
                    <a:pt x="-11674" y="-16024"/>
                    <a:pt x="278870" y="10389"/>
                  </a:cubicBezTo>
                  <a:cubicBezTo>
                    <a:pt x="457891" y="25063"/>
                    <a:pt x="587022" y="242237"/>
                    <a:pt x="592892" y="394846"/>
                  </a:cubicBezTo>
                  <a:cubicBezTo>
                    <a:pt x="598762" y="523976"/>
                    <a:pt x="584088" y="629629"/>
                    <a:pt x="689740" y="679520"/>
                  </a:cubicBezTo>
                  <a:cubicBezTo>
                    <a:pt x="689740" y="679520"/>
                    <a:pt x="296478" y="732346"/>
                    <a:pt x="278870" y="526911"/>
                  </a:cubicBezTo>
                  <a:cubicBezTo>
                    <a:pt x="252456" y="215824"/>
                    <a:pt x="66" y="16259"/>
                    <a:pt x="66" y="16259"/>
                  </a:cubicBez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ADE96EEB-A268-4440-AC1A-8E2AC01EEE30}"/>
                </a:ext>
              </a:extLst>
            </p:cNvPr>
            <p:cNvSpPr/>
            <p:nvPr/>
          </p:nvSpPr>
          <p:spPr>
            <a:xfrm>
              <a:off x="25186390" y="8646508"/>
              <a:ext cx="253606" cy="305217"/>
            </a:xfrm>
            <a:custGeom>
              <a:avLst/>
              <a:gdLst>
                <a:gd name="connsiteX0" fmla="*/ 246521 w 253606"/>
                <a:gd name="connsiteY0" fmla="*/ 305217 h 305217"/>
                <a:gd name="connsiteX1" fmla="*/ 246521 w 253606"/>
                <a:gd name="connsiteY1" fmla="*/ 305217 h 305217"/>
                <a:gd name="connsiteX2" fmla="*/ 0 w 253606"/>
                <a:gd name="connsiteY2" fmla="*/ 5869 h 305217"/>
                <a:gd name="connsiteX3" fmla="*/ 5870 w 253606"/>
                <a:gd name="connsiteY3" fmla="*/ 0 h 305217"/>
                <a:gd name="connsiteX4" fmla="*/ 11738 w 253606"/>
                <a:gd name="connsiteY4" fmla="*/ 5869 h 305217"/>
                <a:gd name="connsiteX5" fmla="*/ 249457 w 253606"/>
                <a:gd name="connsiteY5" fmla="*/ 296413 h 305217"/>
                <a:gd name="connsiteX6" fmla="*/ 252391 w 253606"/>
                <a:gd name="connsiteY6" fmla="*/ 302283 h 305217"/>
                <a:gd name="connsiteX7" fmla="*/ 246521 w 253606"/>
                <a:gd name="connsiteY7" fmla="*/ 305217 h 305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3606" h="305217">
                  <a:moveTo>
                    <a:pt x="246521" y="305217"/>
                  </a:moveTo>
                  <a:cubicBezTo>
                    <a:pt x="243587" y="305217"/>
                    <a:pt x="243587" y="305217"/>
                    <a:pt x="246521" y="305217"/>
                  </a:cubicBezTo>
                  <a:cubicBezTo>
                    <a:pt x="243587" y="305217"/>
                    <a:pt x="23478" y="231848"/>
                    <a:pt x="0" y="5869"/>
                  </a:cubicBezTo>
                  <a:cubicBezTo>
                    <a:pt x="0" y="2935"/>
                    <a:pt x="2934" y="0"/>
                    <a:pt x="5870" y="0"/>
                  </a:cubicBezTo>
                  <a:cubicBezTo>
                    <a:pt x="8804" y="0"/>
                    <a:pt x="11738" y="2935"/>
                    <a:pt x="11738" y="5869"/>
                  </a:cubicBezTo>
                  <a:cubicBezTo>
                    <a:pt x="32282" y="225978"/>
                    <a:pt x="246521" y="296413"/>
                    <a:pt x="249457" y="296413"/>
                  </a:cubicBezTo>
                  <a:cubicBezTo>
                    <a:pt x="252391" y="296413"/>
                    <a:pt x="255326" y="299348"/>
                    <a:pt x="252391" y="302283"/>
                  </a:cubicBezTo>
                  <a:cubicBezTo>
                    <a:pt x="249457" y="302283"/>
                    <a:pt x="246521" y="305217"/>
                    <a:pt x="246521" y="305217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1A382C02-1FC2-4F48-AD31-D5B7F07D4C55}"/>
                </a:ext>
              </a:extLst>
            </p:cNvPr>
            <p:cNvSpPr/>
            <p:nvPr/>
          </p:nvSpPr>
          <p:spPr>
            <a:xfrm>
              <a:off x="24062369" y="8666186"/>
              <a:ext cx="427353" cy="417604"/>
            </a:xfrm>
            <a:custGeom>
              <a:avLst/>
              <a:gdLst>
                <a:gd name="connsiteX0" fmla="*/ 272934 w 427353"/>
                <a:gd name="connsiteY0" fmla="*/ 417604 h 417604"/>
                <a:gd name="connsiteX1" fmla="*/ 413804 w 427353"/>
                <a:gd name="connsiteY1" fmla="*/ 27279 h 417604"/>
                <a:gd name="connsiteX2" fmla="*/ 0 w 427353"/>
                <a:gd name="connsiteY2" fmla="*/ 194561 h 417604"/>
                <a:gd name="connsiteX3" fmla="*/ 272934 w 427353"/>
                <a:gd name="connsiteY3" fmla="*/ 417604 h 417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353" h="417604">
                  <a:moveTo>
                    <a:pt x="272934" y="417604"/>
                  </a:moveTo>
                  <a:cubicBezTo>
                    <a:pt x="390326" y="285539"/>
                    <a:pt x="457825" y="88909"/>
                    <a:pt x="413804" y="27279"/>
                  </a:cubicBezTo>
                  <a:cubicBezTo>
                    <a:pt x="355108" y="-54895"/>
                    <a:pt x="108586" y="62496"/>
                    <a:pt x="0" y="194561"/>
                  </a:cubicBezTo>
                  <a:cubicBezTo>
                    <a:pt x="26412" y="262061"/>
                    <a:pt x="181955" y="379453"/>
                    <a:pt x="272934" y="417604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5" name="图形 1">
              <a:extLst>
                <a:ext uri="{FF2B5EF4-FFF2-40B4-BE49-F238E27FC236}">
                  <a16:creationId xmlns:a16="http://schemas.microsoft.com/office/drawing/2014/main" id="{4D2B6BAB-78CE-41E7-A70E-DCDDB81E7E0D}"/>
                </a:ext>
              </a:extLst>
            </p:cNvPr>
            <p:cNvGrpSpPr/>
            <p:nvPr/>
          </p:nvGrpSpPr>
          <p:grpSpPr>
            <a:xfrm>
              <a:off x="23844461" y="11871834"/>
              <a:ext cx="364646" cy="374645"/>
              <a:chOff x="23844461" y="11871834"/>
              <a:chExt cx="364646" cy="374645"/>
            </a:xfrm>
          </p:grpSpPr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50673111-CBF1-4028-AFCD-B509D6CDB7A4}"/>
                  </a:ext>
                </a:extLst>
              </p:cNvPr>
              <p:cNvSpPr/>
              <p:nvPr/>
            </p:nvSpPr>
            <p:spPr>
              <a:xfrm>
                <a:off x="23844461" y="11995095"/>
                <a:ext cx="350914" cy="251384"/>
              </a:xfrm>
              <a:custGeom>
                <a:avLst/>
                <a:gdLst>
                  <a:gd name="connsiteX0" fmla="*/ 217908 w 350914"/>
                  <a:gd name="connsiteY0" fmla="*/ 0 h 251384"/>
                  <a:gd name="connsiteX1" fmla="*/ 103450 w 350914"/>
                  <a:gd name="connsiteY1" fmla="*/ 158478 h 251384"/>
                  <a:gd name="connsiteX2" fmla="*/ 311819 w 350914"/>
                  <a:gd name="connsiteY2" fmla="*/ 35217 h 251384"/>
                  <a:gd name="connsiteX3" fmla="*/ 332363 w 350914"/>
                  <a:gd name="connsiteY3" fmla="*/ 20543 h 251384"/>
                  <a:gd name="connsiteX4" fmla="*/ 349973 w 350914"/>
                  <a:gd name="connsiteY4" fmla="*/ 93913 h 251384"/>
                  <a:gd name="connsiteX5" fmla="*/ 338233 w 350914"/>
                  <a:gd name="connsiteY5" fmla="*/ 225978 h 251384"/>
                  <a:gd name="connsiteX6" fmla="*/ 311819 w 350914"/>
                  <a:gd name="connsiteY6" fmla="*/ 225978 h 251384"/>
                  <a:gd name="connsiteX7" fmla="*/ 297145 w 350914"/>
                  <a:gd name="connsiteY7" fmla="*/ 120326 h 251384"/>
                  <a:gd name="connsiteX8" fmla="*/ 159212 w 350914"/>
                  <a:gd name="connsiteY8" fmla="*/ 246522 h 251384"/>
                  <a:gd name="connsiteX9" fmla="*/ 6603 w 350914"/>
                  <a:gd name="connsiteY9" fmla="*/ 249457 h 251384"/>
                  <a:gd name="connsiteX10" fmla="*/ 6603 w 350914"/>
                  <a:gd name="connsiteY10" fmla="*/ 205435 h 251384"/>
                  <a:gd name="connsiteX11" fmla="*/ 217908 w 350914"/>
                  <a:gd name="connsiteY11" fmla="*/ 0 h 251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0914" h="251384">
                    <a:moveTo>
                      <a:pt x="217908" y="0"/>
                    </a:moveTo>
                    <a:cubicBezTo>
                      <a:pt x="217908" y="0"/>
                      <a:pt x="88777" y="149674"/>
                      <a:pt x="103450" y="158478"/>
                    </a:cubicBezTo>
                    <a:cubicBezTo>
                      <a:pt x="121058" y="167282"/>
                      <a:pt x="311819" y="35217"/>
                      <a:pt x="311819" y="35217"/>
                    </a:cubicBezTo>
                    <a:lnTo>
                      <a:pt x="332363" y="20543"/>
                    </a:lnTo>
                    <a:cubicBezTo>
                      <a:pt x="332363" y="20543"/>
                      <a:pt x="355841" y="67500"/>
                      <a:pt x="349973" y="93913"/>
                    </a:cubicBezTo>
                    <a:cubicBezTo>
                      <a:pt x="344103" y="120326"/>
                      <a:pt x="338233" y="225978"/>
                      <a:pt x="338233" y="225978"/>
                    </a:cubicBezTo>
                    <a:lnTo>
                      <a:pt x="311819" y="225978"/>
                    </a:lnTo>
                    <a:lnTo>
                      <a:pt x="297145" y="120326"/>
                    </a:lnTo>
                    <a:cubicBezTo>
                      <a:pt x="297145" y="120326"/>
                      <a:pt x="179754" y="243587"/>
                      <a:pt x="159212" y="246522"/>
                    </a:cubicBezTo>
                    <a:cubicBezTo>
                      <a:pt x="138668" y="252391"/>
                      <a:pt x="18341" y="252391"/>
                      <a:pt x="6603" y="249457"/>
                    </a:cubicBezTo>
                    <a:cubicBezTo>
                      <a:pt x="-2201" y="249457"/>
                      <a:pt x="-2201" y="211304"/>
                      <a:pt x="6603" y="205435"/>
                    </a:cubicBezTo>
                    <a:cubicBezTo>
                      <a:pt x="79973" y="164348"/>
                      <a:pt x="217908" y="0"/>
                      <a:pt x="217908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FDBF74AA-F955-451E-B50E-4FD0E15711CA}"/>
                  </a:ext>
                </a:extLst>
              </p:cNvPr>
              <p:cNvSpPr/>
              <p:nvPr/>
            </p:nvSpPr>
            <p:spPr>
              <a:xfrm>
                <a:off x="23945784" y="11871834"/>
                <a:ext cx="263323" cy="283416"/>
              </a:xfrm>
              <a:custGeom>
                <a:avLst/>
                <a:gdLst>
                  <a:gd name="connsiteX0" fmla="*/ 163541 w 263323"/>
                  <a:gd name="connsiteY0" fmla="*/ 0 h 283416"/>
                  <a:gd name="connsiteX1" fmla="*/ 116585 w 263323"/>
                  <a:gd name="connsiteY1" fmla="*/ 123261 h 283416"/>
                  <a:gd name="connsiteX2" fmla="*/ 2128 w 263323"/>
                  <a:gd name="connsiteY2" fmla="*/ 281739 h 283416"/>
                  <a:gd name="connsiteX3" fmla="*/ 228106 w 263323"/>
                  <a:gd name="connsiteY3" fmla="*/ 143804 h 283416"/>
                  <a:gd name="connsiteX4" fmla="*/ 263324 w 263323"/>
                  <a:gd name="connsiteY4" fmla="*/ 0 h 283416"/>
                  <a:gd name="connsiteX5" fmla="*/ 163541 w 263323"/>
                  <a:gd name="connsiteY5" fmla="*/ 0 h 283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3323" h="283416">
                    <a:moveTo>
                      <a:pt x="163541" y="0"/>
                    </a:moveTo>
                    <a:lnTo>
                      <a:pt x="116585" y="123261"/>
                    </a:lnTo>
                    <a:cubicBezTo>
                      <a:pt x="116585" y="123261"/>
                      <a:pt x="-18416" y="267065"/>
                      <a:pt x="2128" y="281739"/>
                    </a:cubicBezTo>
                    <a:cubicBezTo>
                      <a:pt x="22671" y="299348"/>
                      <a:pt x="231040" y="173152"/>
                      <a:pt x="228106" y="143804"/>
                    </a:cubicBezTo>
                    <a:cubicBezTo>
                      <a:pt x="228106" y="96848"/>
                      <a:pt x="263324" y="0"/>
                      <a:pt x="263324" y="0"/>
                    </a:cubicBezTo>
                    <a:lnTo>
                      <a:pt x="163541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E5049107-6F2D-4CCB-96BD-663D9FD66907}"/>
                </a:ext>
              </a:extLst>
            </p:cNvPr>
            <p:cNvGrpSpPr/>
            <p:nvPr/>
          </p:nvGrpSpPr>
          <p:grpSpPr>
            <a:xfrm>
              <a:off x="24586961" y="11871834"/>
              <a:ext cx="350915" cy="374645"/>
              <a:chOff x="24586961" y="11871834"/>
              <a:chExt cx="350915" cy="374645"/>
            </a:xfrm>
          </p:grpSpPr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E26EA88D-E794-4B20-8EFD-852B59D79699}"/>
                  </a:ext>
                </a:extLst>
              </p:cNvPr>
              <p:cNvSpPr/>
              <p:nvPr/>
            </p:nvSpPr>
            <p:spPr>
              <a:xfrm>
                <a:off x="24586961" y="11995095"/>
                <a:ext cx="350915" cy="251384"/>
              </a:xfrm>
              <a:custGeom>
                <a:avLst/>
                <a:gdLst>
                  <a:gd name="connsiteX0" fmla="*/ 217908 w 350915"/>
                  <a:gd name="connsiteY0" fmla="*/ 0 h 251384"/>
                  <a:gd name="connsiteX1" fmla="*/ 103450 w 350915"/>
                  <a:gd name="connsiteY1" fmla="*/ 158478 h 251384"/>
                  <a:gd name="connsiteX2" fmla="*/ 311821 w 350915"/>
                  <a:gd name="connsiteY2" fmla="*/ 35217 h 251384"/>
                  <a:gd name="connsiteX3" fmla="*/ 332363 w 350915"/>
                  <a:gd name="connsiteY3" fmla="*/ 20543 h 251384"/>
                  <a:gd name="connsiteX4" fmla="*/ 349973 w 350915"/>
                  <a:gd name="connsiteY4" fmla="*/ 93913 h 251384"/>
                  <a:gd name="connsiteX5" fmla="*/ 338233 w 350915"/>
                  <a:gd name="connsiteY5" fmla="*/ 225978 h 251384"/>
                  <a:gd name="connsiteX6" fmla="*/ 311821 w 350915"/>
                  <a:gd name="connsiteY6" fmla="*/ 225978 h 251384"/>
                  <a:gd name="connsiteX7" fmla="*/ 297147 w 350915"/>
                  <a:gd name="connsiteY7" fmla="*/ 120326 h 251384"/>
                  <a:gd name="connsiteX8" fmla="*/ 159212 w 350915"/>
                  <a:gd name="connsiteY8" fmla="*/ 246522 h 251384"/>
                  <a:gd name="connsiteX9" fmla="*/ 6603 w 350915"/>
                  <a:gd name="connsiteY9" fmla="*/ 249457 h 251384"/>
                  <a:gd name="connsiteX10" fmla="*/ 6603 w 350915"/>
                  <a:gd name="connsiteY10" fmla="*/ 205435 h 251384"/>
                  <a:gd name="connsiteX11" fmla="*/ 217908 w 350915"/>
                  <a:gd name="connsiteY11" fmla="*/ 0 h 251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0915" h="251384">
                    <a:moveTo>
                      <a:pt x="217908" y="0"/>
                    </a:moveTo>
                    <a:cubicBezTo>
                      <a:pt x="217908" y="0"/>
                      <a:pt x="88777" y="149674"/>
                      <a:pt x="103450" y="158478"/>
                    </a:cubicBezTo>
                    <a:cubicBezTo>
                      <a:pt x="121060" y="167282"/>
                      <a:pt x="311821" y="35217"/>
                      <a:pt x="311821" y="35217"/>
                    </a:cubicBezTo>
                    <a:lnTo>
                      <a:pt x="332363" y="20543"/>
                    </a:lnTo>
                    <a:cubicBezTo>
                      <a:pt x="332363" y="20543"/>
                      <a:pt x="355843" y="67500"/>
                      <a:pt x="349973" y="93913"/>
                    </a:cubicBezTo>
                    <a:cubicBezTo>
                      <a:pt x="344103" y="120326"/>
                      <a:pt x="338233" y="225978"/>
                      <a:pt x="338233" y="225978"/>
                    </a:cubicBezTo>
                    <a:lnTo>
                      <a:pt x="311821" y="225978"/>
                    </a:lnTo>
                    <a:lnTo>
                      <a:pt x="297147" y="120326"/>
                    </a:lnTo>
                    <a:cubicBezTo>
                      <a:pt x="297147" y="120326"/>
                      <a:pt x="179756" y="243587"/>
                      <a:pt x="159212" y="246522"/>
                    </a:cubicBezTo>
                    <a:cubicBezTo>
                      <a:pt x="138668" y="252391"/>
                      <a:pt x="18343" y="252391"/>
                      <a:pt x="6603" y="249457"/>
                    </a:cubicBezTo>
                    <a:cubicBezTo>
                      <a:pt x="-2201" y="249457"/>
                      <a:pt x="-2201" y="211304"/>
                      <a:pt x="6603" y="205435"/>
                    </a:cubicBezTo>
                    <a:cubicBezTo>
                      <a:pt x="82907" y="164348"/>
                      <a:pt x="217908" y="0"/>
                      <a:pt x="217908" y="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B98B5176-7186-411D-9A0E-7A4E211393E8}"/>
                  </a:ext>
                </a:extLst>
              </p:cNvPr>
              <p:cNvSpPr/>
              <p:nvPr/>
            </p:nvSpPr>
            <p:spPr>
              <a:xfrm>
                <a:off x="24688283" y="11871834"/>
                <a:ext cx="228136" cy="283416"/>
              </a:xfrm>
              <a:custGeom>
                <a:avLst/>
                <a:gdLst>
                  <a:gd name="connsiteX0" fmla="*/ 119519 w 228136"/>
                  <a:gd name="connsiteY0" fmla="*/ 0 h 283416"/>
                  <a:gd name="connsiteX1" fmla="*/ 116585 w 228136"/>
                  <a:gd name="connsiteY1" fmla="*/ 123261 h 283416"/>
                  <a:gd name="connsiteX2" fmla="*/ 2128 w 228136"/>
                  <a:gd name="connsiteY2" fmla="*/ 281739 h 283416"/>
                  <a:gd name="connsiteX3" fmla="*/ 228106 w 228136"/>
                  <a:gd name="connsiteY3" fmla="*/ 143804 h 283416"/>
                  <a:gd name="connsiteX4" fmla="*/ 228106 w 228136"/>
                  <a:gd name="connsiteY4" fmla="*/ 0 h 283416"/>
                  <a:gd name="connsiteX5" fmla="*/ 119519 w 228136"/>
                  <a:gd name="connsiteY5" fmla="*/ 0 h 283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136" h="283416">
                    <a:moveTo>
                      <a:pt x="119519" y="0"/>
                    </a:moveTo>
                    <a:lnTo>
                      <a:pt x="116585" y="123261"/>
                    </a:lnTo>
                    <a:cubicBezTo>
                      <a:pt x="116585" y="123261"/>
                      <a:pt x="-18416" y="267065"/>
                      <a:pt x="2128" y="281739"/>
                    </a:cubicBezTo>
                    <a:cubicBezTo>
                      <a:pt x="22671" y="299348"/>
                      <a:pt x="231040" y="173152"/>
                      <a:pt x="228106" y="143804"/>
                    </a:cubicBezTo>
                    <a:cubicBezTo>
                      <a:pt x="228106" y="96848"/>
                      <a:pt x="228106" y="0"/>
                      <a:pt x="228106" y="0"/>
                    </a:cubicBezTo>
                    <a:lnTo>
                      <a:pt x="119519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0D18503F-04CD-4F9D-9FFB-4B8F50127D34}"/>
                </a:ext>
              </a:extLst>
            </p:cNvPr>
            <p:cNvSpPr/>
            <p:nvPr/>
          </p:nvSpPr>
          <p:spPr>
            <a:xfrm>
              <a:off x="24082911" y="9529878"/>
              <a:ext cx="1004767" cy="2427064"/>
            </a:xfrm>
            <a:custGeom>
              <a:avLst/>
              <a:gdLst>
                <a:gd name="connsiteX0" fmla="*/ 877501 w 1004767"/>
                <a:gd name="connsiteY0" fmla="*/ 0 h 2427064"/>
                <a:gd name="connsiteX1" fmla="*/ 234783 w 1004767"/>
                <a:gd name="connsiteY1" fmla="*/ 0 h 2427064"/>
                <a:gd name="connsiteX2" fmla="*/ 120327 w 1004767"/>
                <a:gd name="connsiteY2" fmla="*/ 443152 h 2427064"/>
                <a:gd name="connsiteX3" fmla="*/ 0 w 1004767"/>
                <a:gd name="connsiteY3" fmla="*/ 2391848 h 2427064"/>
                <a:gd name="connsiteX4" fmla="*/ 167283 w 1004767"/>
                <a:gd name="connsiteY4" fmla="*/ 2427065 h 2427064"/>
                <a:gd name="connsiteX5" fmla="*/ 522393 w 1004767"/>
                <a:gd name="connsiteY5" fmla="*/ 830543 h 2427064"/>
                <a:gd name="connsiteX6" fmla="*/ 666196 w 1004767"/>
                <a:gd name="connsiteY6" fmla="*/ 2418261 h 2427064"/>
                <a:gd name="connsiteX7" fmla="*/ 854023 w 1004767"/>
                <a:gd name="connsiteY7" fmla="*/ 2418261 h 2427064"/>
                <a:gd name="connsiteX8" fmla="*/ 1003696 w 1004767"/>
                <a:gd name="connsiteY8" fmla="*/ 402065 h 2427064"/>
                <a:gd name="connsiteX9" fmla="*/ 877501 w 1004767"/>
                <a:gd name="connsiteY9" fmla="*/ 0 h 2427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04767" h="2427064">
                  <a:moveTo>
                    <a:pt x="877501" y="0"/>
                  </a:moveTo>
                  <a:lnTo>
                    <a:pt x="234783" y="0"/>
                  </a:lnTo>
                  <a:cubicBezTo>
                    <a:pt x="234783" y="0"/>
                    <a:pt x="140871" y="293478"/>
                    <a:pt x="120327" y="443152"/>
                  </a:cubicBezTo>
                  <a:cubicBezTo>
                    <a:pt x="102717" y="589892"/>
                    <a:pt x="0" y="2391848"/>
                    <a:pt x="0" y="2391848"/>
                  </a:cubicBezTo>
                  <a:lnTo>
                    <a:pt x="167283" y="2427065"/>
                  </a:lnTo>
                  <a:lnTo>
                    <a:pt x="522393" y="830543"/>
                  </a:lnTo>
                  <a:lnTo>
                    <a:pt x="666196" y="2418261"/>
                  </a:lnTo>
                  <a:lnTo>
                    <a:pt x="854023" y="2418261"/>
                  </a:lnTo>
                  <a:cubicBezTo>
                    <a:pt x="854023" y="2418261"/>
                    <a:pt x="994892" y="516522"/>
                    <a:pt x="1003696" y="402065"/>
                  </a:cubicBezTo>
                  <a:cubicBezTo>
                    <a:pt x="1018370" y="284673"/>
                    <a:pt x="877501" y="0"/>
                    <a:pt x="877501" y="0"/>
                  </a:cubicBezTo>
                  <a:close/>
                </a:path>
              </a:pathLst>
            </a:custGeom>
            <a:solidFill>
              <a:srgbClr val="7F95BC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3B23AB2D-B557-4CE1-8C1A-DA00F33F5420}"/>
                </a:ext>
              </a:extLst>
            </p:cNvPr>
            <p:cNvSpPr/>
            <p:nvPr/>
          </p:nvSpPr>
          <p:spPr>
            <a:xfrm>
              <a:off x="24297151" y="9573900"/>
              <a:ext cx="692607" cy="11738"/>
            </a:xfrm>
            <a:custGeom>
              <a:avLst/>
              <a:gdLst>
                <a:gd name="connsiteX0" fmla="*/ 686738 w 692607"/>
                <a:gd name="connsiteY0" fmla="*/ 11739 h 11738"/>
                <a:gd name="connsiteX1" fmla="*/ 5868 w 692607"/>
                <a:gd name="connsiteY1" fmla="*/ 11739 h 11738"/>
                <a:gd name="connsiteX2" fmla="*/ 0 w 692607"/>
                <a:gd name="connsiteY2" fmla="*/ 5869 h 11738"/>
                <a:gd name="connsiteX3" fmla="*/ 5868 w 692607"/>
                <a:gd name="connsiteY3" fmla="*/ 0 h 11738"/>
                <a:gd name="connsiteX4" fmla="*/ 686738 w 692607"/>
                <a:gd name="connsiteY4" fmla="*/ 0 h 11738"/>
                <a:gd name="connsiteX5" fmla="*/ 692608 w 692607"/>
                <a:gd name="connsiteY5" fmla="*/ 5869 h 11738"/>
                <a:gd name="connsiteX6" fmla="*/ 686738 w 692607"/>
                <a:gd name="connsiteY6" fmla="*/ 11739 h 11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2607" h="11738">
                  <a:moveTo>
                    <a:pt x="686738" y="11739"/>
                  </a:moveTo>
                  <a:lnTo>
                    <a:pt x="5868" y="11739"/>
                  </a:lnTo>
                  <a:cubicBezTo>
                    <a:pt x="2934" y="11739"/>
                    <a:pt x="0" y="8804"/>
                    <a:pt x="0" y="5869"/>
                  </a:cubicBezTo>
                  <a:cubicBezTo>
                    <a:pt x="0" y="2935"/>
                    <a:pt x="2934" y="0"/>
                    <a:pt x="5868" y="0"/>
                  </a:cubicBezTo>
                  <a:lnTo>
                    <a:pt x="686738" y="0"/>
                  </a:lnTo>
                  <a:cubicBezTo>
                    <a:pt x="689674" y="0"/>
                    <a:pt x="692608" y="2935"/>
                    <a:pt x="692608" y="5869"/>
                  </a:cubicBezTo>
                  <a:cubicBezTo>
                    <a:pt x="692608" y="8804"/>
                    <a:pt x="689674" y="11739"/>
                    <a:pt x="686738" y="11739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57F338C0-152E-4BB1-BAD1-D1AFB1BB2B2E}"/>
                </a:ext>
              </a:extLst>
            </p:cNvPr>
            <p:cNvSpPr/>
            <p:nvPr/>
          </p:nvSpPr>
          <p:spPr>
            <a:xfrm>
              <a:off x="24602368" y="9902595"/>
              <a:ext cx="155543" cy="2051413"/>
            </a:xfrm>
            <a:custGeom>
              <a:avLst/>
              <a:gdLst>
                <a:gd name="connsiteX0" fmla="*/ 149675 w 155543"/>
                <a:gd name="connsiteY0" fmla="*/ 2051414 h 2051413"/>
                <a:gd name="connsiteX1" fmla="*/ 143805 w 155543"/>
                <a:gd name="connsiteY1" fmla="*/ 2045544 h 2051413"/>
                <a:gd name="connsiteX2" fmla="*/ 0 w 155543"/>
                <a:gd name="connsiteY2" fmla="*/ 457826 h 2051413"/>
                <a:gd name="connsiteX3" fmla="*/ 0 w 155543"/>
                <a:gd name="connsiteY3" fmla="*/ 5870 h 2051413"/>
                <a:gd name="connsiteX4" fmla="*/ 5870 w 155543"/>
                <a:gd name="connsiteY4" fmla="*/ 0 h 2051413"/>
                <a:gd name="connsiteX5" fmla="*/ 11740 w 155543"/>
                <a:gd name="connsiteY5" fmla="*/ 5870 h 2051413"/>
                <a:gd name="connsiteX6" fmla="*/ 11740 w 155543"/>
                <a:gd name="connsiteY6" fmla="*/ 457826 h 2051413"/>
                <a:gd name="connsiteX7" fmla="*/ 155543 w 155543"/>
                <a:gd name="connsiteY7" fmla="*/ 2045544 h 2051413"/>
                <a:gd name="connsiteX8" fmla="*/ 149675 w 155543"/>
                <a:gd name="connsiteY8" fmla="*/ 2051414 h 2051413"/>
                <a:gd name="connsiteX9" fmla="*/ 149675 w 155543"/>
                <a:gd name="connsiteY9" fmla="*/ 2051414 h 2051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5543" h="2051413">
                  <a:moveTo>
                    <a:pt x="149675" y="2051414"/>
                  </a:moveTo>
                  <a:cubicBezTo>
                    <a:pt x="146739" y="2051414"/>
                    <a:pt x="143805" y="2048479"/>
                    <a:pt x="143805" y="2045544"/>
                  </a:cubicBezTo>
                  <a:lnTo>
                    <a:pt x="0" y="457826"/>
                  </a:lnTo>
                  <a:lnTo>
                    <a:pt x="0" y="5870"/>
                  </a:lnTo>
                  <a:cubicBezTo>
                    <a:pt x="0" y="2935"/>
                    <a:pt x="2936" y="0"/>
                    <a:pt x="5870" y="0"/>
                  </a:cubicBezTo>
                  <a:cubicBezTo>
                    <a:pt x="8804" y="0"/>
                    <a:pt x="11740" y="2935"/>
                    <a:pt x="11740" y="5870"/>
                  </a:cubicBezTo>
                  <a:lnTo>
                    <a:pt x="11740" y="457826"/>
                  </a:lnTo>
                  <a:lnTo>
                    <a:pt x="155543" y="2045544"/>
                  </a:lnTo>
                  <a:cubicBezTo>
                    <a:pt x="155543" y="2048479"/>
                    <a:pt x="152609" y="2051414"/>
                    <a:pt x="149675" y="2051414"/>
                  </a:cubicBezTo>
                  <a:cubicBezTo>
                    <a:pt x="149675" y="2051414"/>
                    <a:pt x="149675" y="2051414"/>
                    <a:pt x="149675" y="2051414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C7B4AA8A-9216-459D-AE5D-2859652C0FA7}"/>
                </a:ext>
              </a:extLst>
            </p:cNvPr>
            <p:cNvSpPr/>
            <p:nvPr/>
          </p:nvSpPr>
          <p:spPr>
            <a:xfrm>
              <a:off x="24230717" y="8612863"/>
              <a:ext cx="789897" cy="949384"/>
            </a:xfrm>
            <a:custGeom>
              <a:avLst/>
              <a:gdLst>
                <a:gd name="connsiteX0" fmla="*/ 747302 w 789897"/>
                <a:gd name="connsiteY0" fmla="*/ 377015 h 949384"/>
                <a:gd name="connsiteX1" fmla="*/ 732628 w 789897"/>
                <a:gd name="connsiteY1" fmla="*/ 65928 h 949384"/>
                <a:gd name="connsiteX2" fmla="*/ 377520 w 789897"/>
                <a:gd name="connsiteY2" fmla="*/ 4298 h 949384"/>
                <a:gd name="connsiteX3" fmla="*/ 86976 w 789897"/>
                <a:gd name="connsiteY3" fmla="*/ 101146 h 949384"/>
                <a:gd name="connsiteX4" fmla="*/ 48824 w 789897"/>
                <a:gd name="connsiteY4" fmla="*/ 629406 h 949384"/>
                <a:gd name="connsiteX5" fmla="*/ 89912 w 789897"/>
                <a:gd name="connsiteY5" fmla="*/ 943428 h 949384"/>
                <a:gd name="connsiteX6" fmla="*/ 741434 w 789897"/>
                <a:gd name="connsiteY6" fmla="*/ 928754 h 949384"/>
                <a:gd name="connsiteX7" fmla="*/ 747302 w 789897"/>
                <a:gd name="connsiteY7" fmla="*/ 377015 h 949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9897" h="949384">
                  <a:moveTo>
                    <a:pt x="747302" y="377015"/>
                  </a:moveTo>
                  <a:cubicBezTo>
                    <a:pt x="756108" y="347667"/>
                    <a:pt x="847086" y="127558"/>
                    <a:pt x="732628" y="65928"/>
                  </a:cubicBezTo>
                  <a:cubicBezTo>
                    <a:pt x="632847" y="13102"/>
                    <a:pt x="491978" y="-10376"/>
                    <a:pt x="377520" y="4298"/>
                  </a:cubicBezTo>
                  <a:cubicBezTo>
                    <a:pt x="251325" y="18972"/>
                    <a:pt x="125130" y="39515"/>
                    <a:pt x="86976" y="101146"/>
                  </a:cubicBezTo>
                  <a:cubicBezTo>
                    <a:pt x="-21609" y="280167"/>
                    <a:pt x="-21609" y="438646"/>
                    <a:pt x="48824" y="629406"/>
                  </a:cubicBezTo>
                  <a:cubicBezTo>
                    <a:pt x="69368" y="685168"/>
                    <a:pt x="75238" y="814298"/>
                    <a:pt x="89912" y="943428"/>
                  </a:cubicBezTo>
                  <a:cubicBezTo>
                    <a:pt x="89912" y="943428"/>
                    <a:pt x="362847" y="963972"/>
                    <a:pt x="741434" y="928754"/>
                  </a:cubicBezTo>
                  <a:cubicBezTo>
                    <a:pt x="712086" y="717449"/>
                    <a:pt x="738498" y="397558"/>
                    <a:pt x="747302" y="377015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06035186-788D-4C17-B248-DE0F0DA9C5B8}"/>
                </a:ext>
              </a:extLst>
            </p:cNvPr>
            <p:cNvSpPr/>
            <p:nvPr/>
          </p:nvSpPr>
          <p:spPr>
            <a:xfrm>
              <a:off x="24383803" y="7962092"/>
              <a:ext cx="312798" cy="576467"/>
            </a:xfrm>
            <a:custGeom>
              <a:avLst/>
              <a:gdLst>
                <a:gd name="connsiteX0" fmla="*/ 227369 w 312798"/>
                <a:gd name="connsiteY0" fmla="*/ 291156 h 576467"/>
                <a:gd name="connsiteX1" fmla="*/ 274327 w 312798"/>
                <a:gd name="connsiteY1" fmla="*/ 153220 h 576467"/>
                <a:gd name="connsiteX2" fmla="*/ 312478 w 312798"/>
                <a:gd name="connsiteY2" fmla="*/ 9416 h 576467"/>
                <a:gd name="connsiteX3" fmla="*/ 10196 w 312798"/>
                <a:gd name="connsiteY3" fmla="*/ 176699 h 576467"/>
                <a:gd name="connsiteX4" fmla="*/ 180413 w 312798"/>
                <a:gd name="connsiteY4" fmla="*/ 499525 h 576467"/>
                <a:gd name="connsiteX5" fmla="*/ 274327 w 312798"/>
                <a:gd name="connsiteY5" fmla="*/ 549416 h 576467"/>
                <a:gd name="connsiteX6" fmla="*/ 227369 w 312798"/>
                <a:gd name="connsiteY6" fmla="*/ 291156 h 576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798" h="576467">
                  <a:moveTo>
                    <a:pt x="227369" y="291156"/>
                  </a:moveTo>
                  <a:cubicBezTo>
                    <a:pt x="236175" y="241264"/>
                    <a:pt x="250849" y="197242"/>
                    <a:pt x="274327" y="153220"/>
                  </a:cubicBezTo>
                  <a:cubicBezTo>
                    <a:pt x="297804" y="106264"/>
                    <a:pt x="315412" y="9416"/>
                    <a:pt x="312478" y="9416"/>
                  </a:cubicBezTo>
                  <a:cubicBezTo>
                    <a:pt x="203891" y="-28736"/>
                    <a:pt x="42478" y="53438"/>
                    <a:pt x="10196" y="176699"/>
                  </a:cubicBezTo>
                  <a:cubicBezTo>
                    <a:pt x="-4478" y="238329"/>
                    <a:pt x="-33826" y="420286"/>
                    <a:pt x="180413" y="499525"/>
                  </a:cubicBezTo>
                  <a:cubicBezTo>
                    <a:pt x="274327" y="578764"/>
                    <a:pt x="262587" y="599308"/>
                    <a:pt x="274327" y="549416"/>
                  </a:cubicBezTo>
                  <a:cubicBezTo>
                    <a:pt x="280196" y="505394"/>
                    <a:pt x="218565" y="343981"/>
                    <a:pt x="227369" y="291156"/>
                  </a:cubicBez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D535153E-588E-45D7-A36D-C175A4411299}"/>
                </a:ext>
              </a:extLst>
            </p:cNvPr>
            <p:cNvSpPr/>
            <p:nvPr/>
          </p:nvSpPr>
          <p:spPr>
            <a:xfrm>
              <a:off x="24447962" y="8000000"/>
              <a:ext cx="406797" cy="547033"/>
            </a:xfrm>
            <a:custGeom>
              <a:avLst/>
              <a:gdLst>
                <a:gd name="connsiteX0" fmla="*/ 7666 w 406797"/>
                <a:gd name="connsiteY0" fmla="*/ 176943 h 547033"/>
                <a:gd name="connsiteX1" fmla="*/ 19406 w 406797"/>
                <a:gd name="connsiteY1" fmla="*/ 423465 h 547033"/>
                <a:gd name="connsiteX2" fmla="*/ 163209 w 406797"/>
                <a:gd name="connsiteY2" fmla="*/ 546726 h 547033"/>
                <a:gd name="connsiteX3" fmla="*/ 371580 w 406797"/>
                <a:gd name="connsiteY3" fmla="*/ 408791 h 547033"/>
                <a:gd name="connsiteX4" fmla="*/ 406798 w 406797"/>
                <a:gd name="connsiteY4" fmla="*/ 191617 h 547033"/>
                <a:gd name="connsiteX5" fmla="*/ 201363 w 406797"/>
                <a:gd name="connsiteY5" fmla="*/ 856 h 547033"/>
                <a:gd name="connsiteX6" fmla="*/ 7666 w 406797"/>
                <a:gd name="connsiteY6" fmla="*/ 176943 h 547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6797" h="547033">
                  <a:moveTo>
                    <a:pt x="7666" y="176943"/>
                  </a:moveTo>
                  <a:cubicBezTo>
                    <a:pt x="7666" y="176943"/>
                    <a:pt x="-15812" y="358900"/>
                    <a:pt x="19406" y="423465"/>
                  </a:cubicBezTo>
                  <a:cubicBezTo>
                    <a:pt x="54624" y="488031"/>
                    <a:pt x="113319" y="543791"/>
                    <a:pt x="163209" y="546726"/>
                  </a:cubicBezTo>
                  <a:cubicBezTo>
                    <a:pt x="227775" y="552596"/>
                    <a:pt x="336362" y="473357"/>
                    <a:pt x="371580" y="408791"/>
                  </a:cubicBezTo>
                  <a:cubicBezTo>
                    <a:pt x="406798" y="344226"/>
                    <a:pt x="406798" y="241509"/>
                    <a:pt x="406798" y="191617"/>
                  </a:cubicBezTo>
                  <a:cubicBezTo>
                    <a:pt x="403862" y="100639"/>
                    <a:pt x="377450" y="24335"/>
                    <a:pt x="201363" y="856"/>
                  </a:cubicBezTo>
                  <a:cubicBezTo>
                    <a:pt x="119187" y="-10883"/>
                    <a:pt x="28210" y="100639"/>
                    <a:pt x="7666" y="176943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FC7EB7CD-B36A-4ABB-B238-4913791A99D1}"/>
                </a:ext>
              </a:extLst>
            </p:cNvPr>
            <p:cNvSpPr/>
            <p:nvPr/>
          </p:nvSpPr>
          <p:spPr>
            <a:xfrm>
              <a:off x="24578890" y="8257901"/>
              <a:ext cx="52825" cy="127411"/>
            </a:xfrm>
            <a:custGeom>
              <a:avLst/>
              <a:gdLst>
                <a:gd name="connsiteX0" fmla="*/ 29348 w 52825"/>
                <a:gd name="connsiteY0" fmla="*/ 127411 h 127411"/>
                <a:gd name="connsiteX1" fmla="*/ 5870 w 52825"/>
                <a:gd name="connsiteY1" fmla="*/ 121542 h 127411"/>
                <a:gd name="connsiteX2" fmla="*/ 0 w 52825"/>
                <a:gd name="connsiteY2" fmla="*/ 109803 h 127411"/>
                <a:gd name="connsiteX3" fmla="*/ 26414 w 52825"/>
                <a:gd name="connsiteY3" fmla="*/ 4150 h 127411"/>
                <a:gd name="connsiteX4" fmla="*/ 32282 w 52825"/>
                <a:gd name="connsiteY4" fmla="*/ 1216 h 127411"/>
                <a:gd name="connsiteX5" fmla="*/ 35218 w 52825"/>
                <a:gd name="connsiteY5" fmla="*/ 7085 h 127411"/>
                <a:gd name="connsiteX6" fmla="*/ 8804 w 52825"/>
                <a:gd name="connsiteY6" fmla="*/ 109803 h 127411"/>
                <a:gd name="connsiteX7" fmla="*/ 8804 w 52825"/>
                <a:gd name="connsiteY7" fmla="*/ 112738 h 127411"/>
                <a:gd name="connsiteX8" fmla="*/ 46956 w 52825"/>
                <a:gd name="connsiteY8" fmla="*/ 112738 h 127411"/>
                <a:gd name="connsiteX9" fmla="*/ 52826 w 52825"/>
                <a:gd name="connsiteY9" fmla="*/ 118607 h 127411"/>
                <a:gd name="connsiteX10" fmla="*/ 46956 w 52825"/>
                <a:gd name="connsiteY10" fmla="*/ 124476 h 127411"/>
                <a:gd name="connsiteX11" fmla="*/ 29348 w 52825"/>
                <a:gd name="connsiteY11" fmla="*/ 127411 h 127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825" h="127411">
                  <a:moveTo>
                    <a:pt x="29348" y="127411"/>
                  </a:moveTo>
                  <a:cubicBezTo>
                    <a:pt x="20544" y="127411"/>
                    <a:pt x="11740" y="127411"/>
                    <a:pt x="5870" y="121542"/>
                  </a:cubicBezTo>
                  <a:cubicBezTo>
                    <a:pt x="2934" y="118607"/>
                    <a:pt x="0" y="115672"/>
                    <a:pt x="0" y="109803"/>
                  </a:cubicBezTo>
                  <a:cubicBezTo>
                    <a:pt x="0" y="89259"/>
                    <a:pt x="26414" y="7085"/>
                    <a:pt x="26414" y="4150"/>
                  </a:cubicBezTo>
                  <a:cubicBezTo>
                    <a:pt x="26414" y="1216"/>
                    <a:pt x="29348" y="-1719"/>
                    <a:pt x="32282" y="1216"/>
                  </a:cubicBezTo>
                  <a:cubicBezTo>
                    <a:pt x="35218" y="1216"/>
                    <a:pt x="38152" y="4150"/>
                    <a:pt x="35218" y="7085"/>
                  </a:cubicBezTo>
                  <a:cubicBezTo>
                    <a:pt x="29348" y="30564"/>
                    <a:pt x="8804" y="92194"/>
                    <a:pt x="8804" y="109803"/>
                  </a:cubicBezTo>
                  <a:cubicBezTo>
                    <a:pt x="8804" y="109803"/>
                    <a:pt x="8804" y="112738"/>
                    <a:pt x="8804" y="112738"/>
                  </a:cubicBezTo>
                  <a:cubicBezTo>
                    <a:pt x="14674" y="118607"/>
                    <a:pt x="35218" y="115672"/>
                    <a:pt x="46956" y="112738"/>
                  </a:cubicBezTo>
                  <a:cubicBezTo>
                    <a:pt x="49892" y="112738"/>
                    <a:pt x="52826" y="112738"/>
                    <a:pt x="52826" y="118607"/>
                  </a:cubicBezTo>
                  <a:cubicBezTo>
                    <a:pt x="52826" y="121542"/>
                    <a:pt x="52826" y="124476"/>
                    <a:pt x="46956" y="124476"/>
                  </a:cubicBezTo>
                  <a:cubicBezTo>
                    <a:pt x="49892" y="124476"/>
                    <a:pt x="41088" y="127411"/>
                    <a:pt x="29348" y="127411"/>
                  </a:cubicBezTo>
                  <a:close/>
                </a:path>
              </a:pathLst>
            </a:custGeom>
            <a:solidFill>
              <a:srgbClr val="E58777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00D66551-1A1B-4A28-B225-587C586FA8D1}"/>
                </a:ext>
              </a:extLst>
            </p:cNvPr>
            <p:cNvSpPr/>
            <p:nvPr/>
          </p:nvSpPr>
          <p:spPr>
            <a:xfrm>
              <a:off x="24561282" y="8432269"/>
              <a:ext cx="102717" cy="52826"/>
            </a:xfrm>
            <a:custGeom>
              <a:avLst/>
              <a:gdLst>
                <a:gd name="connsiteX0" fmla="*/ 102717 w 102717"/>
                <a:gd name="connsiteY0" fmla="*/ 0 h 52826"/>
                <a:gd name="connsiteX1" fmla="*/ 0 w 102717"/>
                <a:gd name="connsiteY1" fmla="*/ 0 h 52826"/>
                <a:gd name="connsiteX2" fmla="*/ 49890 w 102717"/>
                <a:gd name="connsiteY2" fmla="*/ 52826 h 52826"/>
                <a:gd name="connsiteX3" fmla="*/ 102717 w 102717"/>
                <a:gd name="connsiteY3" fmla="*/ 0 h 52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717" h="52826">
                  <a:moveTo>
                    <a:pt x="102717" y="0"/>
                  </a:moveTo>
                  <a:cubicBezTo>
                    <a:pt x="49890" y="23478"/>
                    <a:pt x="0" y="0"/>
                    <a:pt x="0" y="0"/>
                  </a:cubicBezTo>
                  <a:cubicBezTo>
                    <a:pt x="0" y="0"/>
                    <a:pt x="14674" y="52826"/>
                    <a:pt x="49890" y="52826"/>
                  </a:cubicBezTo>
                  <a:cubicBezTo>
                    <a:pt x="90978" y="52826"/>
                    <a:pt x="102717" y="0"/>
                    <a:pt x="102717" y="0"/>
                  </a:cubicBezTo>
                  <a:close/>
                </a:path>
              </a:pathLst>
            </a:custGeom>
            <a:solidFill>
              <a:srgbClr val="FFFFFF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17300540-ECE8-4911-9728-9E8CBF158EDF}"/>
                </a:ext>
              </a:extLst>
            </p:cNvPr>
            <p:cNvSpPr/>
            <p:nvPr/>
          </p:nvSpPr>
          <p:spPr>
            <a:xfrm>
              <a:off x="24510642" y="8231956"/>
              <a:ext cx="39475" cy="39475"/>
            </a:xfrm>
            <a:custGeom>
              <a:avLst/>
              <a:gdLst>
                <a:gd name="connsiteX0" fmla="*/ 38900 w 39475"/>
                <a:gd name="connsiteY0" fmla="*/ 24226 h 39475"/>
                <a:gd name="connsiteX1" fmla="*/ 15422 w 39475"/>
                <a:gd name="connsiteY1" fmla="*/ 38900 h 39475"/>
                <a:gd name="connsiteX2" fmla="*/ 748 w 39475"/>
                <a:gd name="connsiteY2" fmla="*/ 15422 h 39475"/>
                <a:gd name="connsiteX3" fmla="*/ 24226 w 39475"/>
                <a:gd name="connsiteY3" fmla="*/ 748 h 39475"/>
                <a:gd name="connsiteX4" fmla="*/ 38900 w 39475"/>
                <a:gd name="connsiteY4" fmla="*/ 24226 h 3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75" h="39475">
                  <a:moveTo>
                    <a:pt x="38900" y="24226"/>
                  </a:moveTo>
                  <a:cubicBezTo>
                    <a:pt x="35966" y="33031"/>
                    <a:pt x="27160" y="41835"/>
                    <a:pt x="15422" y="38900"/>
                  </a:cubicBezTo>
                  <a:cubicBezTo>
                    <a:pt x="3682" y="35966"/>
                    <a:pt x="-2188" y="27161"/>
                    <a:pt x="748" y="15422"/>
                  </a:cubicBezTo>
                  <a:cubicBezTo>
                    <a:pt x="3682" y="3683"/>
                    <a:pt x="12486" y="-2187"/>
                    <a:pt x="24226" y="748"/>
                  </a:cubicBezTo>
                  <a:cubicBezTo>
                    <a:pt x="33030" y="3683"/>
                    <a:pt x="41834" y="12487"/>
                    <a:pt x="38900" y="24226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D2048C30-C397-4A19-A5E4-AAC538F71F32}"/>
                </a:ext>
              </a:extLst>
            </p:cNvPr>
            <p:cNvSpPr/>
            <p:nvPr/>
          </p:nvSpPr>
          <p:spPr>
            <a:xfrm>
              <a:off x="24692599" y="8237826"/>
              <a:ext cx="39647" cy="39647"/>
            </a:xfrm>
            <a:custGeom>
              <a:avLst/>
              <a:gdLst>
                <a:gd name="connsiteX0" fmla="*/ 38900 w 39647"/>
                <a:gd name="connsiteY0" fmla="*/ 24226 h 39647"/>
                <a:gd name="connsiteX1" fmla="*/ 15422 w 39647"/>
                <a:gd name="connsiteY1" fmla="*/ 38900 h 39647"/>
                <a:gd name="connsiteX2" fmla="*/ 748 w 39647"/>
                <a:gd name="connsiteY2" fmla="*/ 15422 h 39647"/>
                <a:gd name="connsiteX3" fmla="*/ 24226 w 39647"/>
                <a:gd name="connsiteY3" fmla="*/ 748 h 39647"/>
                <a:gd name="connsiteX4" fmla="*/ 38900 w 39647"/>
                <a:gd name="connsiteY4" fmla="*/ 24226 h 39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47" h="39647">
                  <a:moveTo>
                    <a:pt x="38900" y="24226"/>
                  </a:moveTo>
                  <a:cubicBezTo>
                    <a:pt x="35964" y="35965"/>
                    <a:pt x="27160" y="41835"/>
                    <a:pt x="15422" y="38900"/>
                  </a:cubicBezTo>
                  <a:cubicBezTo>
                    <a:pt x="3682" y="35965"/>
                    <a:pt x="-2188" y="27161"/>
                    <a:pt x="748" y="15422"/>
                  </a:cubicBezTo>
                  <a:cubicBezTo>
                    <a:pt x="3682" y="3682"/>
                    <a:pt x="12486" y="-2187"/>
                    <a:pt x="24226" y="748"/>
                  </a:cubicBezTo>
                  <a:cubicBezTo>
                    <a:pt x="35964" y="3682"/>
                    <a:pt x="41834" y="12487"/>
                    <a:pt x="38900" y="24226"/>
                  </a:cubicBezTo>
                  <a:close/>
                </a:path>
              </a:pathLst>
            </a:custGeom>
            <a:solidFill>
              <a:srgbClr val="38333D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50BAAB6E-57F1-432D-B19E-B91E1C5729E1}"/>
                </a:ext>
              </a:extLst>
            </p:cNvPr>
            <p:cNvSpPr/>
            <p:nvPr/>
          </p:nvSpPr>
          <p:spPr>
            <a:xfrm>
              <a:off x="24485710" y="8184626"/>
              <a:ext cx="88525" cy="33403"/>
            </a:xfrm>
            <a:custGeom>
              <a:avLst/>
              <a:gdLst>
                <a:gd name="connsiteX0" fmla="*/ 8070 w 88525"/>
                <a:gd name="connsiteY0" fmla="*/ 33404 h 33403"/>
                <a:gd name="connsiteX1" fmla="*/ 2202 w 88525"/>
                <a:gd name="connsiteY1" fmla="*/ 30469 h 33403"/>
                <a:gd name="connsiteX2" fmla="*/ 2202 w 88525"/>
                <a:gd name="connsiteY2" fmla="*/ 18730 h 33403"/>
                <a:gd name="connsiteX3" fmla="*/ 84375 w 88525"/>
                <a:gd name="connsiteY3" fmla="*/ 9926 h 33403"/>
                <a:gd name="connsiteX4" fmla="*/ 87310 w 88525"/>
                <a:gd name="connsiteY4" fmla="*/ 18730 h 33403"/>
                <a:gd name="connsiteX5" fmla="*/ 78506 w 88525"/>
                <a:gd name="connsiteY5" fmla="*/ 21665 h 33403"/>
                <a:gd name="connsiteX6" fmla="*/ 13940 w 88525"/>
                <a:gd name="connsiteY6" fmla="*/ 27534 h 33403"/>
                <a:gd name="connsiteX7" fmla="*/ 8070 w 88525"/>
                <a:gd name="connsiteY7" fmla="*/ 33404 h 33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3403">
                  <a:moveTo>
                    <a:pt x="8070" y="33404"/>
                  </a:moveTo>
                  <a:cubicBezTo>
                    <a:pt x="5136" y="33404"/>
                    <a:pt x="5136" y="33404"/>
                    <a:pt x="2202" y="30469"/>
                  </a:cubicBezTo>
                  <a:cubicBezTo>
                    <a:pt x="-734" y="27534"/>
                    <a:pt x="-734" y="21665"/>
                    <a:pt x="2202" y="18730"/>
                  </a:cubicBezTo>
                  <a:cubicBezTo>
                    <a:pt x="28614" y="-10618"/>
                    <a:pt x="66766" y="1122"/>
                    <a:pt x="84375" y="9926"/>
                  </a:cubicBezTo>
                  <a:cubicBezTo>
                    <a:pt x="87310" y="12860"/>
                    <a:pt x="90245" y="15795"/>
                    <a:pt x="87310" y="18730"/>
                  </a:cubicBezTo>
                  <a:cubicBezTo>
                    <a:pt x="84375" y="21665"/>
                    <a:pt x="81440" y="24600"/>
                    <a:pt x="78506" y="21665"/>
                  </a:cubicBezTo>
                  <a:cubicBezTo>
                    <a:pt x="75571" y="21665"/>
                    <a:pt x="37418" y="1122"/>
                    <a:pt x="13940" y="27534"/>
                  </a:cubicBezTo>
                  <a:cubicBezTo>
                    <a:pt x="13940" y="30469"/>
                    <a:pt x="11006" y="33404"/>
                    <a:pt x="8070" y="33404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81A65B80-4799-4CC4-8686-00D9E6E1E8D8}"/>
                </a:ext>
              </a:extLst>
            </p:cNvPr>
            <p:cNvSpPr/>
            <p:nvPr/>
          </p:nvSpPr>
          <p:spPr>
            <a:xfrm>
              <a:off x="24668652" y="8183111"/>
              <a:ext cx="88525" cy="34918"/>
            </a:xfrm>
            <a:custGeom>
              <a:avLst/>
              <a:gdLst>
                <a:gd name="connsiteX0" fmla="*/ 83391 w 88525"/>
                <a:gd name="connsiteY0" fmla="*/ 34919 h 34918"/>
                <a:gd name="connsiteX1" fmla="*/ 77521 w 88525"/>
                <a:gd name="connsiteY1" fmla="*/ 31984 h 34918"/>
                <a:gd name="connsiteX2" fmla="*/ 12955 w 88525"/>
                <a:gd name="connsiteY2" fmla="*/ 26115 h 34918"/>
                <a:gd name="connsiteX3" fmla="*/ 1215 w 88525"/>
                <a:gd name="connsiteY3" fmla="*/ 23180 h 34918"/>
                <a:gd name="connsiteX4" fmla="*/ 4151 w 88525"/>
                <a:gd name="connsiteY4" fmla="*/ 11441 h 34918"/>
                <a:gd name="connsiteX5" fmla="*/ 86325 w 88525"/>
                <a:gd name="connsiteY5" fmla="*/ 20245 h 34918"/>
                <a:gd name="connsiteX6" fmla="*/ 86325 w 88525"/>
                <a:gd name="connsiteY6" fmla="*/ 31984 h 34918"/>
                <a:gd name="connsiteX7" fmla="*/ 83391 w 88525"/>
                <a:gd name="connsiteY7" fmla="*/ 34919 h 3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25" h="34918">
                  <a:moveTo>
                    <a:pt x="83391" y="34919"/>
                  </a:moveTo>
                  <a:cubicBezTo>
                    <a:pt x="80455" y="34919"/>
                    <a:pt x="80455" y="34919"/>
                    <a:pt x="77521" y="31984"/>
                  </a:cubicBezTo>
                  <a:cubicBezTo>
                    <a:pt x="77521" y="31984"/>
                    <a:pt x="48173" y="2636"/>
                    <a:pt x="12955" y="26115"/>
                  </a:cubicBezTo>
                  <a:cubicBezTo>
                    <a:pt x="10021" y="29049"/>
                    <a:pt x="4151" y="26115"/>
                    <a:pt x="1215" y="23180"/>
                  </a:cubicBezTo>
                  <a:cubicBezTo>
                    <a:pt x="-1719" y="20245"/>
                    <a:pt x="1215" y="14375"/>
                    <a:pt x="4151" y="11441"/>
                  </a:cubicBezTo>
                  <a:cubicBezTo>
                    <a:pt x="39369" y="-12038"/>
                    <a:pt x="74585" y="5571"/>
                    <a:pt x="86325" y="20245"/>
                  </a:cubicBezTo>
                  <a:cubicBezTo>
                    <a:pt x="89259" y="23180"/>
                    <a:pt x="89259" y="29049"/>
                    <a:pt x="86325" y="31984"/>
                  </a:cubicBezTo>
                  <a:cubicBezTo>
                    <a:pt x="86325" y="34919"/>
                    <a:pt x="83391" y="34919"/>
                    <a:pt x="83391" y="34919"/>
                  </a:cubicBezTo>
                  <a:close/>
                </a:path>
              </a:pathLst>
            </a:custGeom>
            <a:solidFill>
              <a:srgbClr val="664540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B97EDBAC-2FB8-4616-ABF4-BA9F55CBF9B6}"/>
                </a:ext>
              </a:extLst>
            </p:cNvPr>
            <p:cNvSpPr/>
            <p:nvPr/>
          </p:nvSpPr>
          <p:spPr>
            <a:xfrm>
              <a:off x="24431933" y="7968881"/>
              <a:ext cx="266360" cy="249148"/>
            </a:xfrm>
            <a:custGeom>
              <a:avLst/>
              <a:gdLst>
                <a:gd name="connsiteX0" fmla="*/ 264348 w 266360"/>
                <a:gd name="connsiteY0" fmla="*/ 2627 h 249148"/>
                <a:gd name="connsiteX1" fmla="*/ 229130 w 266360"/>
                <a:gd name="connsiteY1" fmla="*/ 125888 h 249148"/>
                <a:gd name="connsiteX2" fmla="*/ 217 w 266360"/>
                <a:gd name="connsiteY2" fmla="*/ 249148 h 249148"/>
                <a:gd name="connsiteX3" fmla="*/ 264348 w 266360"/>
                <a:gd name="connsiteY3" fmla="*/ 2627 h 24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360" h="249148">
                  <a:moveTo>
                    <a:pt x="264348" y="2627"/>
                  </a:moveTo>
                  <a:cubicBezTo>
                    <a:pt x="264348" y="2627"/>
                    <a:pt x="279022" y="87735"/>
                    <a:pt x="229130" y="125888"/>
                  </a:cubicBezTo>
                  <a:cubicBezTo>
                    <a:pt x="229130" y="125888"/>
                    <a:pt x="26631" y="166975"/>
                    <a:pt x="217" y="249148"/>
                  </a:cubicBezTo>
                  <a:cubicBezTo>
                    <a:pt x="217" y="246214"/>
                    <a:pt x="-17391" y="-29656"/>
                    <a:pt x="264348" y="2627"/>
                  </a:cubicBez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EB662BFB-14AC-491B-8C61-382CBF1C6C69}"/>
                </a:ext>
              </a:extLst>
            </p:cNvPr>
            <p:cNvSpPr/>
            <p:nvPr/>
          </p:nvSpPr>
          <p:spPr>
            <a:xfrm>
              <a:off x="24661063" y="7971508"/>
              <a:ext cx="215869" cy="302758"/>
            </a:xfrm>
            <a:custGeom>
              <a:avLst/>
              <a:gdLst>
                <a:gd name="connsiteX0" fmla="*/ 0 w 215869"/>
                <a:gd name="connsiteY0" fmla="*/ 123261 h 302758"/>
                <a:gd name="connsiteX1" fmla="*/ 135001 w 215869"/>
                <a:gd name="connsiteY1" fmla="*/ 176087 h 302758"/>
                <a:gd name="connsiteX2" fmla="*/ 190761 w 215869"/>
                <a:gd name="connsiteY2" fmla="*/ 290543 h 302758"/>
                <a:gd name="connsiteX3" fmla="*/ 214239 w 215869"/>
                <a:gd name="connsiteY3" fmla="*/ 287609 h 302758"/>
                <a:gd name="connsiteX4" fmla="*/ 32284 w 215869"/>
                <a:gd name="connsiteY4" fmla="*/ 0 h 302758"/>
                <a:gd name="connsiteX5" fmla="*/ 0 w 215869"/>
                <a:gd name="connsiteY5" fmla="*/ 123261 h 30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5869" h="302758">
                  <a:moveTo>
                    <a:pt x="0" y="123261"/>
                  </a:moveTo>
                  <a:cubicBezTo>
                    <a:pt x="0" y="123261"/>
                    <a:pt x="88043" y="170217"/>
                    <a:pt x="135001" y="176087"/>
                  </a:cubicBezTo>
                  <a:cubicBezTo>
                    <a:pt x="184891" y="181956"/>
                    <a:pt x="190761" y="290543"/>
                    <a:pt x="190761" y="290543"/>
                  </a:cubicBezTo>
                  <a:cubicBezTo>
                    <a:pt x="190761" y="290543"/>
                    <a:pt x="211305" y="319891"/>
                    <a:pt x="214239" y="287609"/>
                  </a:cubicBezTo>
                  <a:cubicBezTo>
                    <a:pt x="220109" y="211304"/>
                    <a:pt x="220109" y="20543"/>
                    <a:pt x="32284" y="0"/>
                  </a:cubicBezTo>
                  <a:cubicBezTo>
                    <a:pt x="35218" y="0"/>
                    <a:pt x="23478" y="117391"/>
                    <a:pt x="0" y="123261"/>
                  </a:cubicBezTo>
                  <a:close/>
                </a:path>
              </a:pathLst>
            </a:custGeom>
            <a:solidFill>
              <a:srgbClr val="D3977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AF9B5ACF-032B-4D60-B06B-8908D3E67E48}"/>
                </a:ext>
              </a:extLst>
            </p:cNvPr>
            <p:cNvSpPr/>
            <p:nvPr/>
          </p:nvSpPr>
          <p:spPr>
            <a:xfrm>
              <a:off x="24655193" y="8012595"/>
              <a:ext cx="149674" cy="137935"/>
            </a:xfrm>
            <a:custGeom>
              <a:avLst/>
              <a:gdLst>
                <a:gd name="connsiteX0" fmla="*/ 140871 w 149674"/>
                <a:gd name="connsiteY0" fmla="*/ 137935 h 137935"/>
                <a:gd name="connsiteX1" fmla="*/ 140871 w 149674"/>
                <a:gd name="connsiteY1" fmla="*/ 137935 h 137935"/>
                <a:gd name="connsiteX2" fmla="*/ 46958 w 149674"/>
                <a:gd name="connsiteY2" fmla="*/ 105652 h 137935"/>
                <a:gd name="connsiteX3" fmla="*/ 2936 w 149674"/>
                <a:gd name="connsiteY3" fmla="*/ 82174 h 137935"/>
                <a:gd name="connsiteX4" fmla="*/ 0 w 149674"/>
                <a:gd name="connsiteY4" fmla="*/ 79239 h 137935"/>
                <a:gd name="connsiteX5" fmla="*/ 0 w 149674"/>
                <a:gd name="connsiteY5" fmla="*/ 73370 h 137935"/>
                <a:gd name="connsiteX6" fmla="*/ 26414 w 149674"/>
                <a:gd name="connsiteY6" fmla="*/ 5870 h 137935"/>
                <a:gd name="connsiteX7" fmla="*/ 32284 w 149674"/>
                <a:gd name="connsiteY7" fmla="*/ 0 h 137935"/>
                <a:gd name="connsiteX8" fmla="*/ 32284 w 149674"/>
                <a:gd name="connsiteY8" fmla="*/ 0 h 137935"/>
                <a:gd name="connsiteX9" fmla="*/ 38154 w 149674"/>
                <a:gd name="connsiteY9" fmla="*/ 5870 h 137935"/>
                <a:gd name="connsiteX10" fmla="*/ 14674 w 149674"/>
                <a:gd name="connsiteY10" fmla="*/ 73370 h 137935"/>
                <a:gd name="connsiteX11" fmla="*/ 52828 w 149674"/>
                <a:gd name="connsiteY11" fmla="*/ 93913 h 137935"/>
                <a:gd name="connsiteX12" fmla="*/ 143805 w 149674"/>
                <a:gd name="connsiteY12" fmla="*/ 123261 h 137935"/>
                <a:gd name="connsiteX13" fmla="*/ 149675 w 149674"/>
                <a:gd name="connsiteY13" fmla="*/ 129131 h 137935"/>
                <a:gd name="connsiteX14" fmla="*/ 140871 w 149674"/>
                <a:gd name="connsiteY14" fmla="*/ 137935 h 137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9674" h="137935">
                  <a:moveTo>
                    <a:pt x="140871" y="137935"/>
                  </a:moveTo>
                  <a:cubicBezTo>
                    <a:pt x="140871" y="137935"/>
                    <a:pt x="140871" y="137935"/>
                    <a:pt x="140871" y="137935"/>
                  </a:cubicBezTo>
                  <a:cubicBezTo>
                    <a:pt x="105653" y="132065"/>
                    <a:pt x="70436" y="117391"/>
                    <a:pt x="46958" y="105652"/>
                  </a:cubicBezTo>
                  <a:cubicBezTo>
                    <a:pt x="20544" y="93913"/>
                    <a:pt x="2936" y="82174"/>
                    <a:pt x="2936" y="82174"/>
                  </a:cubicBezTo>
                  <a:cubicBezTo>
                    <a:pt x="2936" y="82174"/>
                    <a:pt x="0" y="79239"/>
                    <a:pt x="0" y="79239"/>
                  </a:cubicBezTo>
                  <a:cubicBezTo>
                    <a:pt x="0" y="76305"/>
                    <a:pt x="0" y="76305"/>
                    <a:pt x="0" y="73370"/>
                  </a:cubicBezTo>
                  <a:cubicBezTo>
                    <a:pt x="5870" y="67500"/>
                    <a:pt x="23480" y="29348"/>
                    <a:pt x="26414" y="5870"/>
                  </a:cubicBezTo>
                  <a:cubicBezTo>
                    <a:pt x="26414" y="2935"/>
                    <a:pt x="29348" y="0"/>
                    <a:pt x="32284" y="0"/>
                  </a:cubicBezTo>
                  <a:cubicBezTo>
                    <a:pt x="32284" y="0"/>
                    <a:pt x="32284" y="0"/>
                    <a:pt x="32284" y="0"/>
                  </a:cubicBezTo>
                  <a:cubicBezTo>
                    <a:pt x="35218" y="0"/>
                    <a:pt x="38154" y="2935"/>
                    <a:pt x="38154" y="5870"/>
                  </a:cubicBezTo>
                  <a:cubicBezTo>
                    <a:pt x="38154" y="29348"/>
                    <a:pt x="23480" y="61631"/>
                    <a:pt x="14674" y="73370"/>
                  </a:cubicBezTo>
                  <a:cubicBezTo>
                    <a:pt x="20544" y="76305"/>
                    <a:pt x="35218" y="85109"/>
                    <a:pt x="52828" y="93913"/>
                  </a:cubicBezTo>
                  <a:cubicBezTo>
                    <a:pt x="76305" y="105652"/>
                    <a:pt x="111523" y="120326"/>
                    <a:pt x="143805" y="123261"/>
                  </a:cubicBezTo>
                  <a:cubicBezTo>
                    <a:pt x="146739" y="123261"/>
                    <a:pt x="149675" y="126196"/>
                    <a:pt x="149675" y="129131"/>
                  </a:cubicBezTo>
                  <a:cubicBezTo>
                    <a:pt x="146739" y="135000"/>
                    <a:pt x="143805" y="137935"/>
                    <a:pt x="140871" y="137935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72FB4F4D-DC13-4ED2-9D18-F3EDD23F941B}"/>
                </a:ext>
              </a:extLst>
            </p:cNvPr>
            <p:cNvSpPr/>
            <p:nvPr/>
          </p:nvSpPr>
          <p:spPr>
            <a:xfrm>
              <a:off x="24499650" y="8440980"/>
              <a:ext cx="296414" cy="216016"/>
            </a:xfrm>
            <a:custGeom>
              <a:avLst/>
              <a:gdLst>
                <a:gd name="connsiteX0" fmla="*/ 52826 w 296414"/>
                <a:gd name="connsiteY0" fmla="*/ 58789 h 216016"/>
                <a:gd name="connsiteX1" fmla="*/ 0 w 296414"/>
                <a:gd name="connsiteY1" fmla="*/ 193789 h 216016"/>
                <a:gd name="connsiteX2" fmla="*/ 296414 w 296414"/>
                <a:gd name="connsiteY2" fmla="*/ 179115 h 216016"/>
                <a:gd name="connsiteX3" fmla="*/ 246522 w 296414"/>
                <a:gd name="connsiteY3" fmla="*/ 93 h 216016"/>
                <a:gd name="connsiteX4" fmla="*/ 52826 w 296414"/>
                <a:gd name="connsiteY4" fmla="*/ 58789 h 21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6414" h="216016">
                  <a:moveTo>
                    <a:pt x="52826" y="58789"/>
                  </a:moveTo>
                  <a:cubicBezTo>
                    <a:pt x="52826" y="58789"/>
                    <a:pt x="58696" y="164441"/>
                    <a:pt x="0" y="193789"/>
                  </a:cubicBezTo>
                  <a:cubicBezTo>
                    <a:pt x="0" y="193789"/>
                    <a:pt x="173153" y="252485"/>
                    <a:pt x="296414" y="179115"/>
                  </a:cubicBezTo>
                  <a:cubicBezTo>
                    <a:pt x="243587" y="138028"/>
                    <a:pt x="246522" y="58789"/>
                    <a:pt x="246522" y="93"/>
                  </a:cubicBezTo>
                  <a:cubicBezTo>
                    <a:pt x="249457" y="-2842"/>
                    <a:pt x="105653" y="64658"/>
                    <a:pt x="52826" y="58789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1A29CD3E-80AD-493D-89C5-FFCA1D34FD9B}"/>
                </a:ext>
              </a:extLst>
            </p:cNvPr>
            <p:cNvSpPr/>
            <p:nvPr/>
          </p:nvSpPr>
          <p:spPr>
            <a:xfrm>
              <a:off x="24544406" y="8475075"/>
              <a:ext cx="214720" cy="77520"/>
            </a:xfrm>
            <a:custGeom>
              <a:avLst/>
              <a:gdLst>
                <a:gd name="connsiteX0" fmla="*/ 69702 w 214720"/>
                <a:gd name="connsiteY0" fmla="*/ 77520 h 77520"/>
                <a:gd name="connsiteX1" fmla="*/ 2202 w 214720"/>
                <a:gd name="connsiteY1" fmla="*/ 51107 h 77520"/>
                <a:gd name="connsiteX2" fmla="*/ 2202 w 214720"/>
                <a:gd name="connsiteY2" fmla="*/ 42303 h 77520"/>
                <a:gd name="connsiteX3" fmla="*/ 11006 w 214720"/>
                <a:gd name="connsiteY3" fmla="*/ 42303 h 77520"/>
                <a:gd name="connsiteX4" fmla="*/ 78506 w 214720"/>
                <a:gd name="connsiteY4" fmla="*/ 65781 h 77520"/>
                <a:gd name="connsiteX5" fmla="*/ 204701 w 214720"/>
                <a:gd name="connsiteY5" fmla="*/ 1216 h 77520"/>
                <a:gd name="connsiteX6" fmla="*/ 213505 w 214720"/>
                <a:gd name="connsiteY6" fmla="*/ 4150 h 77520"/>
                <a:gd name="connsiteX7" fmla="*/ 210571 w 214720"/>
                <a:gd name="connsiteY7" fmla="*/ 12955 h 77520"/>
                <a:gd name="connsiteX8" fmla="*/ 78506 w 214720"/>
                <a:gd name="connsiteY8" fmla="*/ 77520 h 77520"/>
                <a:gd name="connsiteX9" fmla="*/ 69702 w 214720"/>
                <a:gd name="connsiteY9" fmla="*/ 77520 h 77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4720" h="77520">
                  <a:moveTo>
                    <a:pt x="69702" y="77520"/>
                  </a:moveTo>
                  <a:cubicBezTo>
                    <a:pt x="31550" y="77520"/>
                    <a:pt x="5136" y="51107"/>
                    <a:pt x="2202" y="51107"/>
                  </a:cubicBezTo>
                  <a:cubicBezTo>
                    <a:pt x="-734" y="48172"/>
                    <a:pt x="-734" y="45237"/>
                    <a:pt x="2202" y="42303"/>
                  </a:cubicBezTo>
                  <a:cubicBezTo>
                    <a:pt x="5136" y="39368"/>
                    <a:pt x="8070" y="39368"/>
                    <a:pt x="11006" y="42303"/>
                  </a:cubicBezTo>
                  <a:cubicBezTo>
                    <a:pt x="11006" y="42303"/>
                    <a:pt x="43288" y="68716"/>
                    <a:pt x="78506" y="65781"/>
                  </a:cubicBezTo>
                  <a:cubicBezTo>
                    <a:pt x="116657" y="59911"/>
                    <a:pt x="204701" y="1216"/>
                    <a:pt x="204701" y="1216"/>
                  </a:cubicBezTo>
                  <a:cubicBezTo>
                    <a:pt x="207637" y="-1719"/>
                    <a:pt x="210571" y="1216"/>
                    <a:pt x="213505" y="4150"/>
                  </a:cubicBezTo>
                  <a:cubicBezTo>
                    <a:pt x="216441" y="7085"/>
                    <a:pt x="213505" y="10020"/>
                    <a:pt x="210571" y="12955"/>
                  </a:cubicBezTo>
                  <a:cubicBezTo>
                    <a:pt x="207637" y="15889"/>
                    <a:pt x="119593" y="74585"/>
                    <a:pt x="78506" y="77520"/>
                  </a:cubicBezTo>
                  <a:cubicBezTo>
                    <a:pt x="75571" y="77520"/>
                    <a:pt x="72636" y="77520"/>
                    <a:pt x="69702" y="77520"/>
                  </a:cubicBezTo>
                  <a:close/>
                </a:path>
              </a:pathLst>
            </a:custGeom>
            <a:solidFill>
              <a:srgbClr val="E58777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BF41C616-63DC-4E9E-8648-FAA7AC3C337A}"/>
                </a:ext>
              </a:extLst>
            </p:cNvPr>
            <p:cNvSpPr/>
            <p:nvPr/>
          </p:nvSpPr>
          <p:spPr>
            <a:xfrm>
              <a:off x="24228854" y="8711073"/>
              <a:ext cx="97644" cy="534130"/>
            </a:xfrm>
            <a:custGeom>
              <a:avLst/>
              <a:gdLst>
                <a:gd name="connsiteX0" fmla="*/ 53623 w 97644"/>
                <a:gd name="connsiteY0" fmla="*/ 534130 h 534130"/>
                <a:gd name="connsiteX1" fmla="*/ 47753 w 97644"/>
                <a:gd name="connsiteY1" fmla="*/ 531195 h 534130"/>
                <a:gd name="connsiteX2" fmla="*/ 33079 w 97644"/>
                <a:gd name="connsiteY2" fmla="*/ 478370 h 534130"/>
                <a:gd name="connsiteX3" fmla="*/ 796 w 97644"/>
                <a:gd name="connsiteY3" fmla="*/ 334566 h 534130"/>
                <a:gd name="connsiteX4" fmla="*/ 85905 w 97644"/>
                <a:gd name="connsiteY4" fmla="*/ 2935 h 534130"/>
                <a:gd name="connsiteX5" fmla="*/ 94709 w 97644"/>
                <a:gd name="connsiteY5" fmla="*/ 0 h 534130"/>
                <a:gd name="connsiteX6" fmla="*/ 97645 w 97644"/>
                <a:gd name="connsiteY6" fmla="*/ 8804 h 534130"/>
                <a:gd name="connsiteX7" fmla="*/ 12536 w 97644"/>
                <a:gd name="connsiteY7" fmla="*/ 334566 h 534130"/>
                <a:gd name="connsiteX8" fmla="*/ 44817 w 97644"/>
                <a:gd name="connsiteY8" fmla="*/ 478370 h 534130"/>
                <a:gd name="connsiteX9" fmla="*/ 59491 w 97644"/>
                <a:gd name="connsiteY9" fmla="*/ 531195 h 534130"/>
                <a:gd name="connsiteX10" fmla="*/ 53623 w 97644"/>
                <a:gd name="connsiteY10" fmla="*/ 534130 h 534130"/>
                <a:gd name="connsiteX11" fmla="*/ 53623 w 97644"/>
                <a:gd name="connsiteY11" fmla="*/ 534130 h 534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7644" h="534130">
                  <a:moveTo>
                    <a:pt x="53623" y="534130"/>
                  </a:moveTo>
                  <a:cubicBezTo>
                    <a:pt x="50687" y="534130"/>
                    <a:pt x="47753" y="531195"/>
                    <a:pt x="47753" y="531195"/>
                  </a:cubicBezTo>
                  <a:cubicBezTo>
                    <a:pt x="41883" y="513587"/>
                    <a:pt x="38949" y="495979"/>
                    <a:pt x="33079" y="478370"/>
                  </a:cubicBezTo>
                  <a:cubicBezTo>
                    <a:pt x="18405" y="428478"/>
                    <a:pt x="3732" y="378587"/>
                    <a:pt x="796" y="334566"/>
                  </a:cubicBezTo>
                  <a:cubicBezTo>
                    <a:pt x="-5072" y="214239"/>
                    <a:pt x="21340" y="102717"/>
                    <a:pt x="85905" y="2935"/>
                  </a:cubicBezTo>
                  <a:cubicBezTo>
                    <a:pt x="88839" y="0"/>
                    <a:pt x="91775" y="0"/>
                    <a:pt x="94709" y="0"/>
                  </a:cubicBezTo>
                  <a:cubicBezTo>
                    <a:pt x="97645" y="2935"/>
                    <a:pt x="97645" y="5869"/>
                    <a:pt x="97645" y="8804"/>
                  </a:cubicBezTo>
                  <a:cubicBezTo>
                    <a:pt x="36013" y="108587"/>
                    <a:pt x="6666" y="217174"/>
                    <a:pt x="12536" y="334566"/>
                  </a:cubicBezTo>
                  <a:cubicBezTo>
                    <a:pt x="15470" y="378587"/>
                    <a:pt x="30144" y="428478"/>
                    <a:pt x="44817" y="478370"/>
                  </a:cubicBezTo>
                  <a:cubicBezTo>
                    <a:pt x="50687" y="495979"/>
                    <a:pt x="56557" y="513587"/>
                    <a:pt x="59491" y="531195"/>
                  </a:cubicBezTo>
                  <a:cubicBezTo>
                    <a:pt x="59491" y="528261"/>
                    <a:pt x="56557" y="531195"/>
                    <a:pt x="53623" y="534130"/>
                  </a:cubicBezTo>
                  <a:cubicBezTo>
                    <a:pt x="53623" y="534130"/>
                    <a:pt x="53623" y="534130"/>
                    <a:pt x="53623" y="534130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755C3651-89B7-461C-BA0E-3BA677091018}"/>
                </a:ext>
              </a:extLst>
            </p:cNvPr>
            <p:cNvSpPr/>
            <p:nvPr/>
          </p:nvSpPr>
          <p:spPr>
            <a:xfrm>
              <a:off x="24347041" y="9133869"/>
              <a:ext cx="385672" cy="35030"/>
            </a:xfrm>
            <a:custGeom>
              <a:avLst/>
              <a:gdLst>
                <a:gd name="connsiteX0" fmla="*/ 5870 w 385672"/>
                <a:gd name="connsiteY0" fmla="*/ 35031 h 35030"/>
                <a:gd name="connsiteX1" fmla="*/ 0 w 385672"/>
                <a:gd name="connsiteY1" fmla="*/ 32096 h 35030"/>
                <a:gd name="connsiteX2" fmla="*/ 2936 w 385672"/>
                <a:gd name="connsiteY2" fmla="*/ 26226 h 35030"/>
                <a:gd name="connsiteX3" fmla="*/ 381522 w 385672"/>
                <a:gd name="connsiteY3" fmla="*/ 14487 h 35030"/>
                <a:gd name="connsiteX4" fmla="*/ 384458 w 385672"/>
                <a:gd name="connsiteY4" fmla="*/ 20357 h 35030"/>
                <a:gd name="connsiteX5" fmla="*/ 378588 w 385672"/>
                <a:gd name="connsiteY5" fmla="*/ 23291 h 35030"/>
                <a:gd name="connsiteX6" fmla="*/ 5870 w 385672"/>
                <a:gd name="connsiteY6" fmla="*/ 35031 h 35030"/>
                <a:gd name="connsiteX7" fmla="*/ 5870 w 385672"/>
                <a:gd name="connsiteY7" fmla="*/ 35031 h 35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5672" h="35030">
                  <a:moveTo>
                    <a:pt x="5870" y="35031"/>
                  </a:moveTo>
                  <a:cubicBezTo>
                    <a:pt x="2936" y="35031"/>
                    <a:pt x="2936" y="35031"/>
                    <a:pt x="0" y="32096"/>
                  </a:cubicBezTo>
                  <a:cubicBezTo>
                    <a:pt x="0" y="29161"/>
                    <a:pt x="0" y="26226"/>
                    <a:pt x="2936" y="26226"/>
                  </a:cubicBezTo>
                  <a:cubicBezTo>
                    <a:pt x="85109" y="-3122"/>
                    <a:pt x="284674" y="-8991"/>
                    <a:pt x="381522" y="14487"/>
                  </a:cubicBezTo>
                  <a:cubicBezTo>
                    <a:pt x="384458" y="14487"/>
                    <a:pt x="387392" y="17422"/>
                    <a:pt x="384458" y="20357"/>
                  </a:cubicBezTo>
                  <a:cubicBezTo>
                    <a:pt x="384458" y="23291"/>
                    <a:pt x="381522" y="26226"/>
                    <a:pt x="378588" y="23291"/>
                  </a:cubicBezTo>
                  <a:cubicBezTo>
                    <a:pt x="284674" y="-187"/>
                    <a:pt x="85109" y="5683"/>
                    <a:pt x="5870" y="35031"/>
                  </a:cubicBezTo>
                  <a:cubicBezTo>
                    <a:pt x="5870" y="35031"/>
                    <a:pt x="5870" y="35031"/>
                    <a:pt x="5870" y="35031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7F15BA9E-76DB-4979-BD83-9E4A1D1FCD45}"/>
                </a:ext>
              </a:extLst>
            </p:cNvPr>
            <p:cNvSpPr/>
            <p:nvPr/>
          </p:nvSpPr>
          <p:spPr>
            <a:xfrm>
              <a:off x="24476172" y="8620095"/>
              <a:ext cx="346303" cy="61630"/>
            </a:xfrm>
            <a:custGeom>
              <a:avLst/>
              <a:gdLst>
                <a:gd name="connsiteX0" fmla="*/ 35218 w 346303"/>
                <a:gd name="connsiteY0" fmla="*/ 8804 h 61630"/>
                <a:gd name="connsiteX1" fmla="*/ 322826 w 346303"/>
                <a:gd name="connsiteY1" fmla="*/ 0 h 61630"/>
                <a:gd name="connsiteX2" fmla="*/ 346304 w 346303"/>
                <a:gd name="connsiteY2" fmla="*/ 8804 h 61630"/>
                <a:gd name="connsiteX3" fmla="*/ 164347 w 346303"/>
                <a:gd name="connsiteY3" fmla="*/ 61630 h 61630"/>
                <a:gd name="connsiteX4" fmla="*/ 0 w 346303"/>
                <a:gd name="connsiteY4" fmla="*/ 14674 h 61630"/>
                <a:gd name="connsiteX5" fmla="*/ 35218 w 346303"/>
                <a:gd name="connsiteY5" fmla="*/ 8804 h 61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6303" h="61630">
                  <a:moveTo>
                    <a:pt x="35218" y="8804"/>
                  </a:moveTo>
                  <a:cubicBezTo>
                    <a:pt x="35218" y="8804"/>
                    <a:pt x="143805" y="64565"/>
                    <a:pt x="322826" y="0"/>
                  </a:cubicBezTo>
                  <a:lnTo>
                    <a:pt x="346304" y="8804"/>
                  </a:lnTo>
                  <a:cubicBezTo>
                    <a:pt x="346304" y="8804"/>
                    <a:pt x="270000" y="61630"/>
                    <a:pt x="164347" y="61630"/>
                  </a:cubicBezTo>
                  <a:cubicBezTo>
                    <a:pt x="64566" y="61630"/>
                    <a:pt x="0" y="14674"/>
                    <a:pt x="0" y="14674"/>
                  </a:cubicBezTo>
                  <a:cubicBezTo>
                    <a:pt x="0" y="14674"/>
                    <a:pt x="14674" y="8804"/>
                    <a:pt x="35218" y="8804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20016F14-51E5-4B52-B7A4-735C16932649}"/>
                </a:ext>
              </a:extLst>
            </p:cNvPr>
            <p:cNvSpPr/>
            <p:nvPr/>
          </p:nvSpPr>
          <p:spPr>
            <a:xfrm>
              <a:off x="24916390" y="9679552"/>
              <a:ext cx="174368" cy="181955"/>
            </a:xfrm>
            <a:custGeom>
              <a:avLst/>
              <a:gdLst>
                <a:gd name="connsiteX0" fmla="*/ 167283 w 174368"/>
                <a:gd name="connsiteY0" fmla="*/ 181956 h 181955"/>
                <a:gd name="connsiteX1" fmla="*/ 167283 w 174368"/>
                <a:gd name="connsiteY1" fmla="*/ 181956 h 181955"/>
                <a:gd name="connsiteX2" fmla="*/ 0 w 174368"/>
                <a:gd name="connsiteY2" fmla="*/ 5869 h 181955"/>
                <a:gd name="connsiteX3" fmla="*/ 2934 w 174368"/>
                <a:gd name="connsiteY3" fmla="*/ 0 h 181955"/>
                <a:gd name="connsiteX4" fmla="*/ 8804 w 174368"/>
                <a:gd name="connsiteY4" fmla="*/ 2934 h 181955"/>
                <a:gd name="connsiteX5" fmla="*/ 170217 w 174368"/>
                <a:gd name="connsiteY5" fmla="*/ 173152 h 181955"/>
                <a:gd name="connsiteX6" fmla="*/ 173153 w 174368"/>
                <a:gd name="connsiteY6" fmla="*/ 179021 h 181955"/>
                <a:gd name="connsiteX7" fmla="*/ 167283 w 174368"/>
                <a:gd name="connsiteY7" fmla="*/ 181956 h 181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368" h="181955">
                  <a:moveTo>
                    <a:pt x="167283" y="181956"/>
                  </a:moveTo>
                  <a:cubicBezTo>
                    <a:pt x="167283" y="181956"/>
                    <a:pt x="164347" y="181956"/>
                    <a:pt x="167283" y="181956"/>
                  </a:cubicBezTo>
                  <a:cubicBezTo>
                    <a:pt x="52826" y="149673"/>
                    <a:pt x="0" y="11739"/>
                    <a:pt x="0" y="5869"/>
                  </a:cubicBezTo>
                  <a:cubicBezTo>
                    <a:pt x="0" y="2934"/>
                    <a:pt x="0" y="0"/>
                    <a:pt x="2934" y="0"/>
                  </a:cubicBezTo>
                  <a:cubicBezTo>
                    <a:pt x="5870" y="0"/>
                    <a:pt x="8804" y="0"/>
                    <a:pt x="8804" y="2934"/>
                  </a:cubicBezTo>
                  <a:cubicBezTo>
                    <a:pt x="8804" y="2934"/>
                    <a:pt x="61630" y="143804"/>
                    <a:pt x="170217" y="173152"/>
                  </a:cubicBezTo>
                  <a:cubicBezTo>
                    <a:pt x="173153" y="173152"/>
                    <a:pt x="176087" y="176087"/>
                    <a:pt x="173153" y="179021"/>
                  </a:cubicBezTo>
                  <a:cubicBezTo>
                    <a:pt x="170217" y="179021"/>
                    <a:pt x="170217" y="181956"/>
                    <a:pt x="167283" y="181956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1D3A63D9-DD95-4AA1-8800-E78B5A0FB199}"/>
                </a:ext>
              </a:extLst>
            </p:cNvPr>
            <p:cNvSpPr/>
            <p:nvPr/>
          </p:nvSpPr>
          <p:spPr>
            <a:xfrm>
              <a:off x="24220846" y="9679552"/>
              <a:ext cx="164348" cy="184890"/>
            </a:xfrm>
            <a:custGeom>
              <a:avLst/>
              <a:gdLst>
                <a:gd name="connsiteX0" fmla="*/ 5870 w 164348"/>
                <a:gd name="connsiteY0" fmla="*/ 184891 h 184890"/>
                <a:gd name="connsiteX1" fmla="*/ 0 w 164348"/>
                <a:gd name="connsiteY1" fmla="*/ 181956 h 184890"/>
                <a:gd name="connsiteX2" fmla="*/ 2936 w 164348"/>
                <a:gd name="connsiteY2" fmla="*/ 176087 h 184890"/>
                <a:gd name="connsiteX3" fmla="*/ 155543 w 164348"/>
                <a:gd name="connsiteY3" fmla="*/ 2934 h 184890"/>
                <a:gd name="connsiteX4" fmla="*/ 161413 w 164348"/>
                <a:gd name="connsiteY4" fmla="*/ 0 h 184890"/>
                <a:gd name="connsiteX5" fmla="*/ 164349 w 164348"/>
                <a:gd name="connsiteY5" fmla="*/ 5869 h 184890"/>
                <a:gd name="connsiteX6" fmla="*/ 5870 w 164348"/>
                <a:gd name="connsiteY6" fmla="*/ 184891 h 184890"/>
                <a:gd name="connsiteX7" fmla="*/ 5870 w 164348"/>
                <a:gd name="connsiteY7" fmla="*/ 184891 h 18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348" h="184890">
                  <a:moveTo>
                    <a:pt x="5870" y="184891"/>
                  </a:moveTo>
                  <a:cubicBezTo>
                    <a:pt x="2936" y="184891"/>
                    <a:pt x="2936" y="184891"/>
                    <a:pt x="0" y="181956"/>
                  </a:cubicBezTo>
                  <a:cubicBezTo>
                    <a:pt x="0" y="179021"/>
                    <a:pt x="0" y="176087"/>
                    <a:pt x="2936" y="176087"/>
                  </a:cubicBezTo>
                  <a:cubicBezTo>
                    <a:pt x="79239" y="146739"/>
                    <a:pt x="155543" y="2934"/>
                    <a:pt x="155543" y="2934"/>
                  </a:cubicBezTo>
                  <a:cubicBezTo>
                    <a:pt x="155543" y="0"/>
                    <a:pt x="161413" y="0"/>
                    <a:pt x="161413" y="0"/>
                  </a:cubicBezTo>
                  <a:cubicBezTo>
                    <a:pt x="164349" y="0"/>
                    <a:pt x="164349" y="5869"/>
                    <a:pt x="164349" y="5869"/>
                  </a:cubicBezTo>
                  <a:cubicBezTo>
                    <a:pt x="161413" y="11739"/>
                    <a:pt x="85109" y="152608"/>
                    <a:pt x="5870" y="184891"/>
                  </a:cubicBezTo>
                  <a:cubicBezTo>
                    <a:pt x="5870" y="184891"/>
                    <a:pt x="5870" y="184891"/>
                    <a:pt x="5870" y="184891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DDF18B18-FAB8-4363-9BC2-AB12AD19589B}"/>
                </a:ext>
              </a:extLst>
            </p:cNvPr>
            <p:cNvSpPr/>
            <p:nvPr/>
          </p:nvSpPr>
          <p:spPr>
            <a:xfrm>
              <a:off x="24816607" y="8245949"/>
              <a:ext cx="74682" cy="109784"/>
            </a:xfrm>
            <a:custGeom>
              <a:avLst/>
              <a:gdLst>
                <a:gd name="connsiteX0" fmla="*/ 11739 w 74682"/>
                <a:gd name="connsiteY0" fmla="*/ 16103 h 109784"/>
                <a:gd name="connsiteX1" fmla="*/ 67501 w 74682"/>
                <a:gd name="connsiteY1" fmla="*/ 7299 h 109784"/>
                <a:gd name="connsiteX2" fmla="*/ 11739 w 74682"/>
                <a:gd name="connsiteY2" fmla="*/ 107081 h 109784"/>
                <a:gd name="connsiteX3" fmla="*/ 11739 w 74682"/>
                <a:gd name="connsiteY3" fmla="*/ 16103 h 109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82" h="109784">
                  <a:moveTo>
                    <a:pt x="11739" y="16103"/>
                  </a:moveTo>
                  <a:cubicBezTo>
                    <a:pt x="11739" y="16103"/>
                    <a:pt x="44021" y="-13245"/>
                    <a:pt x="67501" y="7299"/>
                  </a:cubicBezTo>
                  <a:cubicBezTo>
                    <a:pt x="90979" y="24907"/>
                    <a:pt x="52827" y="127625"/>
                    <a:pt x="11739" y="107081"/>
                  </a:cubicBezTo>
                  <a:cubicBezTo>
                    <a:pt x="-14674" y="86538"/>
                    <a:pt x="11739" y="16103"/>
                    <a:pt x="11739" y="16103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8EE12AC1-6BE6-43C5-9509-153A5514BA1B}"/>
                </a:ext>
              </a:extLst>
            </p:cNvPr>
            <p:cNvSpPr/>
            <p:nvPr/>
          </p:nvSpPr>
          <p:spPr>
            <a:xfrm>
              <a:off x="24426281" y="8085965"/>
              <a:ext cx="243586" cy="152609"/>
            </a:xfrm>
            <a:custGeom>
              <a:avLst/>
              <a:gdLst>
                <a:gd name="connsiteX0" fmla="*/ 5870 w 243586"/>
                <a:gd name="connsiteY0" fmla="*/ 152609 h 152609"/>
                <a:gd name="connsiteX1" fmla="*/ 5870 w 243586"/>
                <a:gd name="connsiteY1" fmla="*/ 152609 h 152609"/>
                <a:gd name="connsiteX2" fmla="*/ 0 w 243586"/>
                <a:gd name="connsiteY2" fmla="*/ 146739 h 152609"/>
                <a:gd name="connsiteX3" fmla="*/ 105653 w 243586"/>
                <a:gd name="connsiteY3" fmla="*/ 44022 h 152609"/>
                <a:gd name="connsiteX4" fmla="*/ 234783 w 243586"/>
                <a:gd name="connsiteY4" fmla="*/ 0 h 152609"/>
                <a:gd name="connsiteX5" fmla="*/ 243587 w 243586"/>
                <a:gd name="connsiteY5" fmla="*/ 2935 h 152609"/>
                <a:gd name="connsiteX6" fmla="*/ 240653 w 243586"/>
                <a:gd name="connsiteY6" fmla="*/ 11739 h 152609"/>
                <a:gd name="connsiteX7" fmla="*/ 111521 w 243586"/>
                <a:gd name="connsiteY7" fmla="*/ 55761 h 152609"/>
                <a:gd name="connsiteX8" fmla="*/ 14674 w 243586"/>
                <a:gd name="connsiteY8" fmla="*/ 149674 h 152609"/>
                <a:gd name="connsiteX9" fmla="*/ 5870 w 243586"/>
                <a:gd name="connsiteY9" fmla="*/ 152609 h 152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3586" h="152609">
                  <a:moveTo>
                    <a:pt x="5870" y="152609"/>
                  </a:moveTo>
                  <a:cubicBezTo>
                    <a:pt x="5870" y="152609"/>
                    <a:pt x="5870" y="152609"/>
                    <a:pt x="5870" y="152609"/>
                  </a:cubicBezTo>
                  <a:cubicBezTo>
                    <a:pt x="2936" y="152609"/>
                    <a:pt x="0" y="149674"/>
                    <a:pt x="0" y="146739"/>
                  </a:cubicBezTo>
                  <a:cubicBezTo>
                    <a:pt x="11740" y="79239"/>
                    <a:pt x="58696" y="58696"/>
                    <a:pt x="105653" y="44022"/>
                  </a:cubicBezTo>
                  <a:cubicBezTo>
                    <a:pt x="170217" y="26413"/>
                    <a:pt x="231849" y="0"/>
                    <a:pt x="234783" y="0"/>
                  </a:cubicBezTo>
                  <a:cubicBezTo>
                    <a:pt x="237718" y="0"/>
                    <a:pt x="240653" y="0"/>
                    <a:pt x="243587" y="2935"/>
                  </a:cubicBezTo>
                  <a:cubicBezTo>
                    <a:pt x="243587" y="5870"/>
                    <a:pt x="243587" y="8804"/>
                    <a:pt x="240653" y="11739"/>
                  </a:cubicBezTo>
                  <a:cubicBezTo>
                    <a:pt x="240653" y="11739"/>
                    <a:pt x="176087" y="35218"/>
                    <a:pt x="111521" y="55761"/>
                  </a:cubicBezTo>
                  <a:cubicBezTo>
                    <a:pt x="58696" y="70435"/>
                    <a:pt x="23478" y="93913"/>
                    <a:pt x="14674" y="149674"/>
                  </a:cubicBezTo>
                  <a:cubicBezTo>
                    <a:pt x="11740" y="149674"/>
                    <a:pt x="8804" y="152609"/>
                    <a:pt x="5870" y="152609"/>
                  </a:cubicBezTo>
                  <a:close/>
                </a:path>
              </a:pathLst>
            </a:custGeom>
            <a:solidFill>
              <a:srgbClr val="6C5D6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73BA4F74-467B-4327-8487-A774C8842341}"/>
                </a:ext>
              </a:extLst>
            </p:cNvPr>
            <p:cNvSpPr/>
            <p:nvPr/>
          </p:nvSpPr>
          <p:spPr>
            <a:xfrm>
              <a:off x="24684541" y="8788265"/>
              <a:ext cx="528266" cy="1035090"/>
            </a:xfrm>
            <a:custGeom>
              <a:avLst/>
              <a:gdLst>
                <a:gd name="connsiteX0" fmla="*/ 416740 w 528266"/>
                <a:gd name="connsiteY0" fmla="*/ 72482 h 1035090"/>
                <a:gd name="connsiteX1" fmla="*/ 196631 w 528266"/>
                <a:gd name="connsiteY1" fmla="*/ 178134 h 1035090"/>
                <a:gd name="connsiteX2" fmla="*/ 319892 w 528266"/>
                <a:gd name="connsiteY2" fmla="*/ 630090 h 1035090"/>
                <a:gd name="connsiteX3" fmla="*/ 0 w 528266"/>
                <a:gd name="connsiteY3" fmla="*/ 935308 h 1035090"/>
                <a:gd name="connsiteX4" fmla="*/ 73370 w 528266"/>
                <a:gd name="connsiteY4" fmla="*/ 1035091 h 1035090"/>
                <a:gd name="connsiteX5" fmla="*/ 513587 w 528266"/>
                <a:gd name="connsiteY5" fmla="*/ 694656 h 1035090"/>
                <a:gd name="connsiteX6" fmla="*/ 416740 w 528266"/>
                <a:gd name="connsiteY6" fmla="*/ 72482 h 1035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8266" h="1035090">
                  <a:moveTo>
                    <a:pt x="416740" y="72482"/>
                  </a:moveTo>
                  <a:cubicBezTo>
                    <a:pt x="343370" y="-88931"/>
                    <a:pt x="179023" y="51939"/>
                    <a:pt x="196631" y="178134"/>
                  </a:cubicBezTo>
                  <a:cubicBezTo>
                    <a:pt x="211305" y="301395"/>
                    <a:pt x="305218" y="553787"/>
                    <a:pt x="319892" y="630090"/>
                  </a:cubicBezTo>
                  <a:cubicBezTo>
                    <a:pt x="284674" y="715200"/>
                    <a:pt x="0" y="935308"/>
                    <a:pt x="0" y="935308"/>
                  </a:cubicBezTo>
                  <a:cubicBezTo>
                    <a:pt x="20544" y="958786"/>
                    <a:pt x="73370" y="1035091"/>
                    <a:pt x="73370" y="1035091"/>
                  </a:cubicBezTo>
                  <a:cubicBezTo>
                    <a:pt x="73370" y="1035091"/>
                    <a:pt x="434349" y="794438"/>
                    <a:pt x="513587" y="694656"/>
                  </a:cubicBezTo>
                  <a:cubicBezTo>
                    <a:pt x="557609" y="641830"/>
                    <a:pt x="495979" y="242699"/>
                    <a:pt x="416740" y="72482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F55D9FDA-E61F-4C6D-BFED-91EF57BD0047}"/>
                </a:ext>
              </a:extLst>
            </p:cNvPr>
            <p:cNvSpPr/>
            <p:nvPr/>
          </p:nvSpPr>
          <p:spPr>
            <a:xfrm>
              <a:off x="24830693" y="8669120"/>
              <a:ext cx="376240" cy="426644"/>
            </a:xfrm>
            <a:custGeom>
              <a:avLst/>
              <a:gdLst>
                <a:gd name="connsiteX0" fmla="*/ 376240 w 376240"/>
                <a:gd name="connsiteY0" fmla="*/ 264997 h 426644"/>
                <a:gd name="connsiteX1" fmla="*/ 91566 w 376240"/>
                <a:gd name="connsiteY1" fmla="*/ 866 h 426644"/>
                <a:gd name="connsiteX2" fmla="*/ 53414 w 376240"/>
                <a:gd name="connsiteY2" fmla="*/ 426410 h 426644"/>
                <a:gd name="connsiteX3" fmla="*/ 376240 w 376240"/>
                <a:gd name="connsiteY3" fmla="*/ 264997 h 426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240" h="426644">
                  <a:moveTo>
                    <a:pt x="376240" y="264997"/>
                  </a:moveTo>
                  <a:cubicBezTo>
                    <a:pt x="314609" y="97714"/>
                    <a:pt x="167870" y="-10873"/>
                    <a:pt x="91566" y="866"/>
                  </a:cubicBezTo>
                  <a:cubicBezTo>
                    <a:pt x="-8217" y="15540"/>
                    <a:pt x="-34629" y="247388"/>
                    <a:pt x="53414" y="426410"/>
                  </a:cubicBezTo>
                  <a:cubicBezTo>
                    <a:pt x="126784" y="432279"/>
                    <a:pt x="299935" y="326627"/>
                    <a:pt x="376240" y="264997"/>
                  </a:cubicBezTo>
                  <a:close/>
                </a:path>
              </a:pathLst>
            </a:custGeom>
            <a:solidFill>
              <a:srgbClr val="F6EBE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B2A407E4-7318-48C8-993D-66D1E7B7362E}"/>
                </a:ext>
              </a:extLst>
            </p:cNvPr>
            <p:cNvSpPr/>
            <p:nvPr/>
          </p:nvSpPr>
          <p:spPr>
            <a:xfrm>
              <a:off x="24831823" y="8675856"/>
              <a:ext cx="190218" cy="425543"/>
            </a:xfrm>
            <a:custGeom>
              <a:avLst/>
              <a:gdLst>
                <a:gd name="connsiteX0" fmla="*/ 61089 w 190218"/>
                <a:gd name="connsiteY0" fmla="*/ 425543 h 425543"/>
                <a:gd name="connsiteX1" fmla="*/ 49349 w 190218"/>
                <a:gd name="connsiteY1" fmla="*/ 422609 h 425543"/>
                <a:gd name="connsiteX2" fmla="*/ 49349 w 190218"/>
                <a:gd name="connsiteY2" fmla="*/ 422609 h 425543"/>
                <a:gd name="connsiteX3" fmla="*/ 49349 w 190218"/>
                <a:gd name="connsiteY3" fmla="*/ 422609 h 425543"/>
                <a:gd name="connsiteX4" fmla="*/ 17067 w 190218"/>
                <a:gd name="connsiteY4" fmla="*/ 52826 h 425543"/>
                <a:gd name="connsiteX5" fmla="*/ 61089 w 190218"/>
                <a:gd name="connsiteY5" fmla="*/ 0 h 425543"/>
                <a:gd name="connsiteX6" fmla="*/ 66959 w 190218"/>
                <a:gd name="connsiteY6" fmla="*/ 2935 h 425543"/>
                <a:gd name="connsiteX7" fmla="*/ 64023 w 190218"/>
                <a:gd name="connsiteY7" fmla="*/ 8804 h 425543"/>
                <a:gd name="connsiteX8" fmla="*/ 25871 w 190218"/>
                <a:gd name="connsiteY8" fmla="*/ 55761 h 425543"/>
                <a:gd name="connsiteX9" fmla="*/ 55219 w 190218"/>
                <a:gd name="connsiteY9" fmla="*/ 413805 h 425543"/>
                <a:gd name="connsiteX10" fmla="*/ 181414 w 190218"/>
                <a:gd name="connsiteY10" fmla="*/ 366848 h 425543"/>
                <a:gd name="connsiteX11" fmla="*/ 190218 w 190218"/>
                <a:gd name="connsiteY11" fmla="*/ 369783 h 425543"/>
                <a:gd name="connsiteX12" fmla="*/ 187284 w 190218"/>
                <a:gd name="connsiteY12" fmla="*/ 378587 h 425543"/>
                <a:gd name="connsiteX13" fmla="*/ 61089 w 190218"/>
                <a:gd name="connsiteY13" fmla="*/ 425543 h 42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218" h="425543">
                  <a:moveTo>
                    <a:pt x="61089" y="425543"/>
                  </a:moveTo>
                  <a:cubicBezTo>
                    <a:pt x="52285" y="425543"/>
                    <a:pt x="49349" y="422609"/>
                    <a:pt x="49349" y="422609"/>
                  </a:cubicBezTo>
                  <a:lnTo>
                    <a:pt x="49349" y="422609"/>
                  </a:lnTo>
                  <a:lnTo>
                    <a:pt x="49349" y="422609"/>
                  </a:lnTo>
                  <a:cubicBezTo>
                    <a:pt x="5327" y="334565"/>
                    <a:pt x="-18150" y="146739"/>
                    <a:pt x="17067" y="52826"/>
                  </a:cubicBezTo>
                  <a:cubicBezTo>
                    <a:pt x="28805" y="26413"/>
                    <a:pt x="43479" y="5869"/>
                    <a:pt x="61089" y="0"/>
                  </a:cubicBezTo>
                  <a:cubicBezTo>
                    <a:pt x="64023" y="0"/>
                    <a:pt x="66959" y="0"/>
                    <a:pt x="66959" y="2935"/>
                  </a:cubicBezTo>
                  <a:cubicBezTo>
                    <a:pt x="66959" y="5869"/>
                    <a:pt x="66959" y="8804"/>
                    <a:pt x="64023" y="8804"/>
                  </a:cubicBezTo>
                  <a:cubicBezTo>
                    <a:pt x="46415" y="14674"/>
                    <a:pt x="34675" y="32283"/>
                    <a:pt x="25871" y="55761"/>
                  </a:cubicBezTo>
                  <a:cubicBezTo>
                    <a:pt x="-9346" y="146739"/>
                    <a:pt x="14131" y="328696"/>
                    <a:pt x="55219" y="413805"/>
                  </a:cubicBezTo>
                  <a:cubicBezTo>
                    <a:pt x="61089" y="413805"/>
                    <a:pt x="90437" y="416739"/>
                    <a:pt x="181414" y="366848"/>
                  </a:cubicBezTo>
                  <a:cubicBezTo>
                    <a:pt x="184350" y="366848"/>
                    <a:pt x="187284" y="366848"/>
                    <a:pt x="190218" y="369783"/>
                  </a:cubicBezTo>
                  <a:cubicBezTo>
                    <a:pt x="190218" y="372717"/>
                    <a:pt x="190218" y="375652"/>
                    <a:pt x="187284" y="378587"/>
                  </a:cubicBezTo>
                  <a:cubicBezTo>
                    <a:pt x="113915" y="416739"/>
                    <a:pt x="78697" y="425543"/>
                    <a:pt x="61089" y="425543"/>
                  </a:cubicBezTo>
                  <a:close/>
                </a:path>
              </a:pathLst>
            </a:custGeom>
            <a:solidFill>
              <a:srgbClr val="38343B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CA9ACBAF-CB2C-4A86-B09C-E5F706767BAE}"/>
                </a:ext>
              </a:extLst>
            </p:cNvPr>
            <p:cNvSpPr/>
            <p:nvPr/>
          </p:nvSpPr>
          <p:spPr>
            <a:xfrm>
              <a:off x="24481855" y="9732937"/>
              <a:ext cx="185078" cy="73497"/>
            </a:xfrm>
            <a:custGeom>
              <a:avLst/>
              <a:gdLst>
                <a:gd name="connsiteX0" fmla="*/ 185078 w 185078"/>
                <a:gd name="connsiteY0" fmla="*/ 8245 h 73497"/>
                <a:gd name="connsiteX1" fmla="*/ 50079 w 185078"/>
                <a:gd name="connsiteY1" fmla="*/ 17049 h 73497"/>
                <a:gd name="connsiteX2" fmla="*/ 187 w 185078"/>
                <a:gd name="connsiteY2" fmla="*/ 64006 h 73497"/>
                <a:gd name="connsiteX3" fmla="*/ 99969 w 185078"/>
                <a:gd name="connsiteY3" fmla="*/ 49332 h 73497"/>
                <a:gd name="connsiteX4" fmla="*/ 185078 w 185078"/>
                <a:gd name="connsiteY4" fmla="*/ 8245 h 7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078" h="73497">
                  <a:moveTo>
                    <a:pt x="185078" y="8245"/>
                  </a:moveTo>
                  <a:cubicBezTo>
                    <a:pt x="185078" y="8245"/>
                    <a:pt x="102904" y="-15233"/>
                    <a:pt x="50079" y="17049"/>
                  </a:cubicBezTo>
                  <a:cubicBezTo>
                    <a:pt x="29535" y="31723"/>
                    <a:pt x="-2749" y="49332"/>
                    <a:pt x="187" y="64006"/>
                  </a:cubicBezTo>
                  <a:cubicBezTo>
                    <a:pt x="11925" y="96288"/>
                    <a:pt x="73557" y="34658"/>
                    <a:pt x="99969" y="49332"/>
                  </a:cubicBezTo>
                  <a:cubicBezTo>
                    <a:pt x="114643" y="55201"/>
                    <a:pt x="185078" y="8245"/>
                    <a:pt x="185078" y="8245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5" name="图形 1">
              <a:extLst>
                <a:ext uri="{FF2B5EF4-FFF2-40B4-BE49-F238E27FC236}">
                  <a16:creationId xmlns:a16="http://schemas.microsoft.com/office/drawing/2014/main" id="{952FB7DC-4779-4AC6-AEA4-E3B2E94112E4}"/>
                </a:ext>
              </a:extLst>
            </p:cNvPr>
            <p:cNvGrpSpPr/>
            <p:nvPr/>
          </p:nvGrpSpPr>
          <p:grpSpPr>
            <a:xfrm>
              <a:off x="24520928" y="9705965"/>
              <a:ext cx="270397" cy="227768"/>
              <a:chOff x="24520928" y="9705965"/>
              <a:chExt cx="270397" cy="227768"/>
            </a:xfrm>
          </p:grpSpPr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FD7F72E9-ADB2-4A34-AA33-82C08740F1AE}"/>
                  </a:ext>
                </a:extLst>
              </p:cNvPr>
              <p:cNvSpPr/>
              <p:nvPr/>
            </p:nvSpPr>
            <p:spPr>
              <a:xfrm>
                <a:off x="24523331" y="9705965"/>
                <a:ext cx="267994" cy="227768"/>
              </a:xfrm>
              <a:custGeom>
                <a:avLst/>
                <a:gdLst>
                  <a:gd name="connsiteX0" fmla="*/ 260993 w 267994"/>
                  <a:gd name="connsiteY0" fmla="*/ 73370 h 227768"/>
                  <a:gd name="connsiteX1" fmla="*/ 190558 w 267994"/>
                  <a:gd name="connsiteY1" fmla="*/ 0 h 227768"/>
                  <a:gd name="connsiteX2" fmla="*/ 29145 w 267994"/>
                  <a:gd name="connsiteY2" fmla="*/ 90978 h 227768"/>
                  <a:gd name="connsiteX3" fmla="*/ 2733 w 267994"/>
                  <a:gd name="connsiteY3" fmla="*/ 135000 h 227768"/>
                  <a:gd name="connsiteX4" fmla="*/ 29145 w 267994"/>
                  <a:gd name="connsiteY4" fmla="*/ 152608 h 227768"/>
                  <a:gd name="connsiteX5" fmla="*/ 58493 w 267994"/>
                  <a:gd name="connsiteY5" fmla="*/ 184891 h 227768"/>
                  <a:gd name="connsiteX6" fmla="*/ 73166 w 267994"/>
                  <a:gd name="connsiteY6" fmla="*/ 208370 h 227768"/>
                  <a:gd name="connsiteX7" fmla="*/ 105450 w 267994"/>
                  <a:gd name="connsiteY7" fmla="*/ 205435 h 227768"/>
                  <a:gd name="connsiteX8" fmla="*/ 146536 w 267994"/>
                  <a:gd name="connsiteY8" fmla="*/ 223044 h 227768"/>
                  <a:gd name="connsiteX9" fmla="*/ 187624 w 267994"/>
                  <a:gd name="connsiteY9" fmla="*/ 170217 h 227768"/>
                  <a:gd name="connsiteX10" fmla="*/ 255123 w 267994"/>
                  <a:gd name="connsiteY10" fmla="*/ 90978 h 227768"/>
                  <a:gd name="connsiteX11" fmla="*/ 260993 w 267994"/>
                  <a:gd name="connsiteY11" fmla="*/ 73370 h 227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7994" h="227768">
                    <a:moveTo>
                      <a:pt x="260993" y="73370"/>
                    </a:moveTo>
                    <a:cubicBezTo>
                      <a:pt x="249253" y="38152"/>
                      <a:pt x="187624" y="0"/>
                      <a:pt x="190558" y="0"/>
                    </a:cubicBezTo>
                    <a:cubicBezTo>
                      <a:pt x="128928" y="41087"/>
                      <a:pt x="84906" y="41087"/>
                      <a:pt x="29145" y="90978"/>
                    </a:cubicBezTo>
                    <a:cubicBezTo>
                      <a:pt x="20341" y="99782"/>
                      <a:pt x="-9007" y="111521"/>
                      <a:pt x="2733" y="135000"/>
                    </a:cubicBezTo>
                    <a:cubicBezTo>
                      <a:pt x="5667" y="140869"/>
                      <a:pt x="14471" y="155543"/>
                      <a:pt x="29145" y="152608"/>
                    </a:cubicBezTo>
                    <a:cubicBezTo>
                      <a:pt x="23277" y="170217"/>
                      <a:pt x="49689" y="193696"/>
                      <a:pt x="58493" y="184891"/>
                    </a:cubicBezTo>
                    <a:cubicBezTo>
                      <a:pt x="58493" y="190761"/>
                      <a:pt x="67298" y="205435"/>
                      <a:pt x="73166" y="208370"/>
                    </a:cubicBezTo>
                    <a:cubicBezTo>
                      <a:pt x="87840" y="217174"/>
                      <a:pt x="96646" y="217174"/>
                      <a:pt x="105450" y="205435"/>
                    </a:cubicBezTo>
                    <a:cubicBezTo>
                      <a:pt x="111320" y="223044"/>
                      <a:pt x="128928" y="234783"/>
                      <a:pt x="146536" y="223044"/>
                    </a:cubicBezTo>
                    <a:cubicBezTo>
                      <a:pt x="170016" y="205435"/>
                      <a:pt x="167080" y="187826"/>
                      <a:pt x="187624" y="170217"/>
                    </a:cubicBezTo>
                    <a:cubicBezTo>
                      <a:pt x="234579" y="126195"/>
                      <a:pt x="234579" y="108586"/>
                      <a:pt x="255123" y="90978"/>
                    </a:cubicBezTo>
                    <a:cubicBezTo>
                      <a:pt x="272733" y="73370"/>
                      <a:pt x="269797" y="93913"/>
                      <a:pt x="260993" y="73370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A5760A47-1723-4BFB-BFAD-806B772E3CF5}"/>
                  </a:ext>
                </a:extLst>
              </p:cNvPr>
              <p:cNvSpPr/>
              <p:nvPr/>
            </p:nvSpPr>
            <p:spPr>
              <a:xfrm>
                <a:off x="24520928" y="9755856"/>
                <a:ext cx="99049" cy="108587"/>
              </a:xfrm>
              <a:custGeom>
                <a:avLst/>
                <a:gdLst>
                  <a:gd name="connsiteX0" fmla="*/ 34484 w 99049"/>
                  <a:gd name="connsiteY0" fmla="*/ 108587 h 108587"/>
                  <a:gd name="connsiteX1" fmla="*/ 34484 w 99049"/>
                  <a:gd name="connsiteY1" fmla="*/ 108587 h 108587"/>
                  <a:gd name="connsiteX2" fmla="*/ 2201 w 99049"/>
                  <a:gd name="connsiteY2" fmla="*/ 88043 h 108587"/>
                  <a:gd name="connsiteX3" fmla="*/ 2201 w 99049"/>
                  <a:gd name="connsiteY3" fmla="*/ 64566 h 108587"/>
                  <a:gd name="connsiteX4" fmla="*/ 90244 w 99049"/>
                  <a:gd name="connsiteY4" fmla="*/ 0 h 108587"/>
                  <a:gd name="connsiteX5" fmla="*/ 99050 w 99049"/>
                  <a:gd name="connsiteY5" fmla="*/ 2935 h 108587"/>
                  <a:gd name="connsiteX6" fmla="*/ 96114 w 99049"/>
                  <a:gd name="connsiteY6" fmla="*/ 11740 h 108587"/>
                  <a:gd name="connsiteX7" fmla="*/ 13940 w 99049"/>
                  <a:gd name="connsiteY7" fmla="*/ 70436 h 108587"/>
                  <a:gd name="connsiteX8" fmla="*/ 13940 w 99049"/>
                  <a:gd name="connsiteY8" fmla="*/ 85109 h 108587"/>
                  <a:gd name="connsiteX9" fmla="*/ 37418 w 99049"/>
                  <a:gd name="connsiteY9" fmla="*/ 99783 h 108587"/>
                  <a:gd name="connsiteX10" fmla="*/ 40354 w 99049"/>
                  <a:gd name="connsiteY10" fmla="*/ 105652 h 108587"/>
                  <a:gd name="connsiteX11" fmla="*/ 34484 w 99049"/>
                  <a:gd name="connsiteY11" fmla="*/ 108587 h 108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9049" h="108587">
                    <a:moveTo>
                      <a:pt x="34484" y="108587"/>
                    </a:moveTo>
                    <a:cubicBezTo>
                      <a:pt x="34484" y="108587"/>
                      <a:pt x="31548" y="108587"/>
                      <a:pt x="34484" y="108587"/>
                    </a:cubicBezTo>
                    <a:cubicBezTo>
                      <a:pt x="31548" y="108587"/>
                      <a:pt x="8070" y="102717"/>
                      <a:pt x="2201" y="88043"/>
                    </a:cubicBezTo>
                    <a:cubicBezTo>
                      <a:pt x="-734" y="82174"/>
                      <a:pt x="-734" y="73370"/>
                      <a:pt x="2201" y="64566"/>
                    </a:cubicBezTo>
                    <a:cubicBezTo>
                      <a:pt x="19810" y="29348"/>
                      <a:pt x="87310" y="2935"/>
                      <a:pt x="90244" y="0"/>
                    </a:cubicBezTo>
                    <a:cubicBezTo>
                      <a:pt x="93180" y="0"/>
                      <a:pt x="96114" y="0"/>
                      <a:pt x="99050" y="2935"/>
                    </a:cubicBezTo>
                    <a:cubicBezTo>
                      <a:pt x="99050" y="5870"/>
                      <a:pt x="99050" y="8805"/>
                      <a:pt x="96114" y="11740"/>
                    </a:cubicBezTo>
                    <a:cubicBezTo>
                      <a:pt x="96114" y="11740"/>
                      <a:pt x="28614" y="41088"/>
                      <a:pt x="13940" y="70436"/>
                    </a:cubicBezTo>
                    <a:cubicBezTo>
                      <a:pt x="11006" y="76305"/>
                      <a:pt x="11006" y="79239"/>
                      <a:pt x="13940" y="85109"/>
                    </a:cubicBezTo>
                    <a:cubicBezTo>
                      <a:pt x="16874" y="93913"/>
                      <a:pt x="31548" y="99783"/>
                      <a:pt x="37418" y="99783"/>
                    </a:cubicBezTo>
                    <a:cubicBezTo>
                      <a:pt x="40354" y="99783"/>
                      <a:pt x="43288" y="102717"/>
                      <a:pt x="40354" y="105652"/>
                    </a:cubicBezTo>
                    <a:cubicBezTo>
                      <a:pt x="37418" y="105652"/>
                      <a:pt x="37418" y="108587"/>
                      <a:pt x="34484" y="10858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824A1D05-6BCC-4AB0-A3C8-F194ACDBDEC6}"/>
                  </a:ext>
                </a:extLst>
              </p:cNvPr>
              <p:cNvSpPr/>
              <p:nvPr/>
            </p:nvSpPr>
            <p:spPr>
              <a:xfrm>
                <a:off x="24582558" y="9841699"/>
                <a:ext cx="69701" cy="49157"/>
              </a:xfrm>
              <a:custGeom>
                <a:avLst/>
                <a:gdLst>
                  <a:gd name="connsiteX0" fmla="*/ 63832 w 69701"/>
                  <a:gd name="connsiteY0" fmla="*/ 49157 h 49157"/>
                  <a:gd name="connsiteX1" fmla="*/ 63832 w 69701"/>
                  <a:gd name="connsiteY1" fmla="*/ 49157 h 49157"/>
                  <a:gd name="connsiteX2" fmla="*/ 2202 w 69701"/>
                  <a:gd name="connsiteY2" fmla="*/ 11005 h 49157"/>
                  <a:gd name="connsiteX3" fmla="*/ 2202 w 69701"/>
                  <a:gd name="connsiteY3" fmla="*/ 2201 h 49157"/>
                  <a:gd name="connsiteX4" fmla="*/ 11006 w 69701"/>
                  <a:gd name="connsiteY4" fmla="*/ 2201 h 49157"/>
                  <a:gd name="connsiteX5" fmla="*/ 66767 w 69701"/>
                  <a:gd name="connsiteY5" fmla="*/ 37418 h 49157"/>
                  <a:gd name="connsiteX6" fmla="*/ 69702 w 69701"/>
                  <a:gd name="connsiteY6" fmla="*/ 46222 h 49157"/>
                  <a:gd name="connsiteX7" fmla="*/ 63832 w 69701"/>
                  <a:gd name="connsiteY7" fmla="*/ 49157 h 49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9701" h="49157">
                    <a:moveTo>
                      <a:pt x="63832" y="49157"/>
                    </a:moveTo>
                    <a:cubicBezTo>
                      <a:pt x="60898" y="49157"/>
                      <a:pt x="60898" y="49157"/>
                      <a:pt x="63832" y="49157"/>
                    </a:cubicBezTo>
                    <a:cubicBezTo>
                      <a:pt x="55028" y="46222"/>
                      <a:pt x="13940" y="22744"/>
                      <a:pt x="2202" y="11005"/>
                    </a:cubicBezTo>
                    <a:cubicBezTo>
                      <a:pt x="-734" y="8070"/>
                      <a:pt x="-734" y="5136"/>
                      <a:pt x="2202" y="2201"/>
                    </a:cubicBezTo>
                    <a:cubicBezTo>
                      <a:pt x="5136" y="-734"/>
                      <a:pt x="8072" y="-734"/>
                      <a:pt x="11006" y="2201"/>
                    </a:cubicBezTo>
                    <a:cubicBezTo>
                      <a:pt x="19810" y="11005"/>
                      <a:pt x="55028" y="31548"/>
                      <a:pt x="66767" y="37418"/>
                    </a:cubicBezTo>
                    <a:cubicBezTo>
                      <a:pt x="69702" y="37418"/>
                      <a:pt x="69702" y="43288"/>
                      <a:pt x="69702" y="46222"/>
                    </a:cubicBezTo>
                    <a:cubicBezTo>
                      <a:pt x="66767" y="49157"/>
                      <a:pt x="63832" y="49157"/>
                      <a:pt x="63832" y="4915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6" name="图形 1">
              <a:extLst>
                <a:ext uri="{FF2B5EF4-FFF2-40B4-BE49-F238E27FC236}">
                  <a16:creationId xmlns:a16="http://schemas.microsoft.com/office/drawing/2014/main" id="{4CAA4256-9B95-409E-BC98-E436703CAFB2}"/>
                </a:ext>
              </a:extLst>
            </p:cNvPr>
            <p:cNvGrpSpPr/>
            <p:nvPr/>
          </p:nvGrpSpPr>
          <p:grpSpPr>
            <a:xfrm>
              <a:off x="24346947" y="7817555"/>
              <a:ext cx="767540" cy="327293"/>
              <a:chOff x="24346947" y="7817555"/>
              <a:chExt cx="767540" cy="327293"/>
            </a:xfrm>
          </p:grpSpPr>
          <p:grpSp>
            <p:nvGrpSpPr>
              <p:cNvPr id="123" name="图形 1">
                <a:extLst>
                  <a:ext uri="{FF2B5EF4-FFF2-40B4-BE49-F238E27FC236}">
                    <a16:creationId xmlns:a16="http://schemas.microsoft.com/office/drawing/2014/main" id="{6E0A369B-7400-4548-B7D8-CBB9A7033611}"/>
                  </a:ext>
                </a:extLst>
              </p:cNvPr>
              <p:cNvGrpSpPr/>
              <p:nvPr/>
            </p:nvGrpSpPr>
            <p:grpSpPr>
              <a:xfrm>
                <a:off x="24370498" y="7817555"/>
                <a:ext cx="743990" cy="313395"/>
                <a:chOff x="24370498" y="7817555"/>
                <a:chExt cx="743990" cy="313395"/>
              </a:xfrm>
            </p:grpSpPr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37FD49D3-E306-4A86-83BE-0C79A9525BE9}"/>
                    </a:ext>
                  </a:extLst>
                </p:cNvPr>
                <p:cNvSpPr/>
                <p:nvPr/>
              </p:nvSpPr>
              <p:spPr>
                <a:xfrm>
                  <a:off x="24370498" y="7817555"/>
                  <a:ext cx="595783" cy="313395"/>
                </a:xfrm>
                <a:custGeom>
                  <a:avLst/>
                  <a:gdLst>
                    <a:gd name="connsiteX0" fmla="*/ 170240 w 595783"/>
                    <a:gd name="connsiteY0" fmla="*/ 18953 h 313395"/>
                    <a:gd name="connsiteX1" fmla="*/ 592848 w 595783"/>
                    <a:gd name="connsiteY1" fmla="*/ 133410 h 313395"/>
                    <a:gd name="connsiteX2" fmla="*/ 595783 w 595783"/>
                    <a:gd name="connsiteY2" fmla="*/ 142214 h 313395"/>
                    <a:gd name="connsiteX3" fmla="*/ 522414 w 595783"/>
                    <a:gd name="connsiteY3" fmla="*/ 200910 h 313395"/>
                    <a:gd name="connsiteX4" fmla="*/ 542958 w 595783"/>
                    <a:gd name="connsiteY4" fmla="*/ 283083 h 313395"/>
                    <a:gd name="connsiteX5" fmla="*/ 540022 w 595783"/>
                    <a:gd name="connsiteY5" fmla="*/ 288953 h 313395"/>
                    <a:gd name="connsiteX6" fmla="*/ 534152 w 595783"/>
                    <a:gd name="connsiteY6" fmla="*/ 291888 h 313395"/>
                    <a:gd name="connsiteX7" fmla="*/ 211326 w 595783"/>
                    <a:gd name="connsiteY7" fmla="*/ 312431 h 313395"/>
                    <a:gd name="connsiteX8" fmla="*/ 5891 w 595783"/>
                    <a:gd name="connsiteY8" fmla="*/ 271344 h 313395"/>
                    <a:gd name="connsiteX9" fmla="*/ 23 w 595783"/>
                    <a:gd name="connsiteY9" fmla="*/ 262540 h 313395"/>
                    <a:gd name="connsiteX10" fmla="*/ 170240 w 595783"/>
                    <a:gd name="connsiteY10" fmla="*/ 18953 h 313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95783" h="313395">
                      <a:moveTo>
                        <a:pt x="170240" y="18953"/>
                      </a:moveTo>
                      <a:cubicBezTo>
                        <a:pt x="328717" y="-28003"/>
                        <a:pt x="481326" y="13083"/>
                        <a:pt x="592848" y="133410"/>
                      </a:cubicBezTo>
                      <a:cubicBezTo>
                        <a:pt x="595783" y="136344"/>
                        <a:pt x="595783" y="139279"/>
                        <a:pt x="595783" y="142214"/>
                      </a:cubicBezTo>
                      <a:cubicBezTo>
                        <a:pt x="595783" y="145149"/>
                        <a:pt x="575240" y="189170"/>
                        <a:pt x="522414" y="200910"/>
                      </a:cubicBezTo>
                      <a:cubicBezTo>
                        <a:pt x="537088" y="239062"/>
                        <a:pt x="542958" y="280149"/>
                        <a:pt x="542958" y="283083"/>
                      </a:cubicBezTo>
                      <a:cubicBezTo>
                        <a:pt x="542958" y="286018"/>
                        <a:pt x="542958" y="288953"/>
                        <a:pt x="540022" y="288953"/>
                      </a:cubicBezTo>
                      <a:cubicBezTo>
                        <a:pt x="540022" y="291888"/>
                        <a:pt x="537088" y="291888"/>
                        <a:pt x="534152" y="291888"/>
                      </a:cubicBezTo>
                      <a:cubicBezTo>
                        <a:pt x="399153" y="312431"/>
                        <a:pt x="293501" y="315366"/>
                        <a:pt x="211326" y="312431"/>
                      </a:cubicBezTo>
                      <a:cubicBezTo>
                        <a:pt x="76327" y="303627"/>
                        <a:pt x="8827" y="274279"/>
                        <a:pt x="5891" y="271344"/>
                      </a:cubicBezTo>
                      <a:cubicBezTo>
                        <a:pt x="2957" y="271344"/>
                        <a:pt x="23" y="268409"/>
                        <a:pt x="23" y="262540"/>
                      </a:cubicBezTo>
                      <a:cubicBezTo>
                        <a:pt x="23" y="262540"/>
                        <a:pt x="-5847" y="71779"/>
                        <a:pt x="170240" y="1895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2F25EA9E-FA3D-4B8D-A98D-FB87472C9C1D}"/>
                    </a:ext>
                  </a:extLst>
                </p:cNvPr>
                <p:cNvSpPr/>
                <p:nvPr/>
              </p:nvSpPr>
              <p:spPr>
                <a:xfrm>
                  <a:off x="24906485" y="7851182"/>
                  <a:ext cx="208003" cy="197781"/>
                </a:xfrm>
                <a:custGeom>
                  <a:avLst/>
                  <a:gdLst>
                    <a:gd name="connsiteX0" fmla="*/ 1101 w 208003"/>
                    <a:gd name="connsiteY0" fmla="*/ 93913 h 197781"/>
                    <a:gd name="connsiteX1" fmla="*/ 9905 w 208003"/>
                    <a:gd name="connsiteY1" fmla="*/ 64566 h 197781"/>
                    <a:gd name="connsiteX2" fmla="*/ 21645 w 208003"/>
                    <a:gd name="connsiteY2" fmla="*/ 55761 h 197781"/>
                    <a:gd name="connsiteX3" fmla="*/ 33383 w 208003"/>
                    <a:gd name="connsiteY3" fmla="*/ 29348 h 197781"/>
                    <a:gd name="connsiteX4" fmla="*/ 53927 w 208003"/>
                    <a:gd name="connsiteY4" fmla="*/ 20544 h 197781"/>
                    <a:gd name="connsiteX5" fmla="*/ 68601 w 208003"/>
                    <a:gd name="connsiteY5" fmla="*/ 20544 h 197781"/>
                    <a:gd name="connsiteX6" fmla="*/ 112622 w 208003"/>
                    <a:gd name="connsiteY6" fmla="*/ 0 h 197781"/>
                    <a:gd name="connsiteX7" fmla="*/ 153710 w 208003"/>
                    <a:gd name="connsiteY7" fmla="*/ 29348 h 197781"/>
                    <a:gd name="connsiteX8" fmla="*/ 194796 w 208003"/>
                    <a:gd name="connsiteY8" fmla="*/ 70435 h 197781"/>
                    <a:gd name="connsiteX9" fmla="*/ 194796 w 208003"/>
                    <a:gd name="connsiteY9" fmla="*/ 123261 h 197781"/>
                    <a:gd name="connsiteX10" fmla="*/ 185992 w 208003"/>
                    <a:gd name="connsiteY10" fmla="*/ 164348 h 197781"/>
                    <a:gd name="connsiteX11" fmla="*/ 159578 w 208003"/>
                    <a:gd name="connsiteY11" fmla="*/ 176087 h 197781"/>
                    <a:gd name="connsiteX12" fmla="*/ 153710 w 208003"/>
                    <a:gd name="connsiteY12" fmla="*/ 176087 h 197781"/>
                    <a:gd name="connsiteX13" fmla="*/ 153710 w 208003"/>
                    <a:gd name="connsiteY13" fmla="*/ 176087 h 197781"/>
                    <a:gd name="connsiteX14" fmla="*/ 127296 w 208003"/>
                    <a:gd name="connsiteY14" fmla="*/ 196631 h 197781"/>
                    <a:gd name="connsiteX15" fmla="*/ 95014 w 208003"/>
                    <a:gd name="connsiteY15" fmla="*/ 190761 h 197781"/>
                    <a:gd name="connsiteX16" fmla="*/ 71535 w 208003"/>
                    <a:gd name="connsiteY16" fmla="*/ 190761 h 197781"/>
                    <a:gd name="connsiteX17" fmla="*/ 45123 w 208003"/>
                    <a:gd name="connsiteY17" fmla="*/ 170217 h 197781"/>
                    <a:gd name="connsiteX18" fmla="*/ 39253 w 208003"/>
                    <a:gd name="connsiteY18" fmla="*/ 155544 h 197781"/>
                    <a:gd name="connsiteX19" fmla="*/ 21645 w 208003"/>
                    <a:gd name="connsiteY19" fmla="*/ 140870 h 197781"/>
                    <a:gd name="connsiteX20" fmla="*/ 21645 w 208003"/>
                    <a:gd name="connsiteY20" fmla="*/ 114457 h 197781"/>
                    <a:gd name="connsiteX21" fmla="*/ 18709 w 208003"/>
                    <a:gd name="connsiteY21" fmla="*/ 111522 h 197781"/>
                    <a:gd name="connsiteX22" fmla="*/ 1101 w 208003"/>
                    <a:gd name="connsiteY22" fmla="*/ 93913 h 197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08003" h="197781">
                      <a:moveTo>
                        <a:pt x="1101" y="93913"/>
                      </a:moveTo>
                      <a:cubicBezTo>
                        <a:pt x="-1835" y="85109"/>
                        <a:pt x="1101" y="70435"/>
                        <a:pt x="9905" y="64566"/>
                      </a:cubicBezTo>
                      <a:cubicBezTo>
                        <a:pt x="12839" y="61631"/>
                        <a:pt x="18709" y="58696"/>
                        <a:pt x="21645" y="55761"/>
                      </a:cubicBezTo>
                      <a:cubicBezTo>
                        <a:pt x="21645" y="46957"/>
                        <a:pt x="24579" y="38152"/>
                        <a:pt x="33383" y="29348"/>
                      </a:cubicBezTo>
                      <a:cubicBezTo>
                        <a:pt x="39253" y="23478"/>
                        <a:pt x="45123" y="20544"/>
                        <a:pt x="53927" y="20544"/>
                      </a:cubicBezTo>
                      <a:cubicBezTo>
                        <a:pt x="56861" y="20544"/>
                        <a:pt x="62731" y="20544"/>
                        <a:pt x="68601" y="20544"/>
                      </a:cubicBezTo>
                      <a:cubicBezTo>
                        <a:pt x="77405" y="8804"/>
                        <a:pt x="92079" y="0"/>
                        <a:pt x="112622" y="0"/>
                      </a:cubicBezTo>
                      <a:cubicBezTo>
                        <a:pt x="130230" y="2935"/>
                        <a:pt x="144904" y="14674"/>
                        <a:pt x="153710" y="29348"/>
                      </a:cubicBezTo>
                      <a:cubicBezTo>
                        <a:pt x="180122" y="29348"/>
                        <a:pt x="194796" y="49892"/>
                        <a:pt x="194796" y="70435"/>
                      </a:cubicBezTo>
                      <a:cubicBezTo>
                        <a:pt x="212406" y="85109"/>
                        <a:pt x="212406" y="111522"/>
                        <a:pt x="194796" y="123261"/>
                      </a:cubicBezTo>
                      <a:cubicBezTo>
                        <a:pt x="197732" y="137935"/>
                        <a:pt x="194796" y="152609"/>
                        <a:pt x="185992" y="164348"/>
                      </a:cubicBezTo>
                      <a:cubicBezTo>
                        <a:pt x="180122" y="173152"/>
                        <a:pt x="171318" y="176087"/>
                        <a:pt x="159578" y="176087"/>
                      </a:cubicBezTo>
                      <a:cubicBezTo>
                        <a:pt x="156644" y="176087"/>
                        <a:pt x="156644" y="176087"/>
                        <a:pt x="153710" y="176087"/>
                      </a:cubicBezTo>
                      <a:cubicBezTo>
                        <a:pt x="153710" y="176087"/>
                        <a:pt x="153710" y="176087"/>
                        <a:pt x="153710" y="176087"/>
                      </a:cubicBezTo>
                      <a:cubicBezTo>
                        <a:pt x="147840" y="187826"/>
                        <a:pt x="139036" y="196631"/>
                        <a:pt x="127296" y="196631"/>
                      </a:cubicBezTo>
                      <a:cubicBezTo>
                        <a:pt x="115556" y="199565"/>
                        <a:pt x="103818" y="196631"/>
                        <a:pt x="95014" y="190761"/>
                      </a:cubicBezTo>
                      <a:cubicBezTo>
                        <a:pt x="86209" y="193696"/>
                        <a:pt x="80340" y="193696"/>
                        <a:pt x="71535" y="190761"/>
                      </a:cubicBezTo>
                      <a:cubicBezTo>
                        <a:pt x="59797" y="187826"/>
                        <a:pt x="50993" y="181957"/>
                        <a:pt x="45123" y="170217"/>
                      </a:cubicBezTo>
                      <a:cubicBezTo>
                        <a:pt x="42187" y="167283"/>
                        <a:pt x="39253" y="161413"/>
                        <a:pt x="39253" y="155544"/>
                      </a:cubicBezTo>
                      <a:cubicBezTo>
                        <a:pt x="33383" y="152609"/>
                        <a:pt x="24579" y="149674"/>
                        <a:pt x="21645" y="140870"/>
                      </a:cubicBezTo>
                      <a:cubicBezTo>
                        <a:pt x="15775" y="129131"/>
                        <a:pt x="18709" y="123261"/>
                        <a:pt x="21645" y="114457"/>
                      </a:cubicBezTo>
                      <a:cubicBezTo>
                        <a:pt x="21645" y="114457"/>
                        <a:pt x="18709" y="114457"/>
                        <a:pt x="18709" y="111522"/>
                      </a:cubicBezTo>
                      <a:cubicBezTo>
                        <a:pt x="6971" y="108587"/>
                        <a:pt x="4035" y="102717"/>
                        <a:pt x="1101" y="93913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3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849F5E3E-6D43-49F9-B7F4-9CE542FC3D1A}"/>
                  </a:ext>
                </a:extLst>
              </p:cNvPr>
              <p:cNvSpPr/>
              <p:nvPr/>
            </p:nvSpPr>
            <p:spPr>
              <a:xfrm>
                <a:off x="24865194" y="7967269"/>
                <a:ext cx="51195" cy="118695"/>
              </a:xfrm>
              <a:custGeom>
                <a:avLst/>
                <a:gdLst>
                  <a:gd name="connsiteX0" fmla="*/ 45326 w 51195"/>
                  <a:gd name="connsiteY0" fmla="*/ 118696 h 118695"/>
                  <a:gd name="connsiteX1" fmla="*/ 39456 w 51195"/>
                  <a:gd name="connsiteY1" fmla="*/ 112826 h 118695"/>
                  <a:gd name="connsiteX2" fmla="*/ 1304 w 51195"/>
                  <a:gd name="connsiteY2" fmla="*/ 10109 h 118695"/>
                  <a:gd name="connsiteX3" fmla="*/ 1304 w 51195"/>
                  <a:gd name="connsiteY3" fmla="*/ 1304 h 118695"/>
                  <a:gd name="connsiteX4" fmla="*/ 10108 w 51195"/>
                  <a:gd name="connsiteY4" fmla="*/ 1304 h 118695"/>
                  <a:gd name="connsiteX5" fmla="*/ 51196 w 51195"/>
                  <a:gd name="connsiteY5" fmla="*/ 106957 h 118695"/>
                  <a:gd name="connsiteX6" fmla="*/ 45326 w 51195"/>
                  <a:gd name="connsiteY6" fmla="*/ 118696 h 118695"/>
                  <a:gd name="connsiteX7" fmla="*/ 45326 w 51195"/>
                  <a:gd name="connsiteY7" fmla="*/ 118696 h 118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195" h="118695">
                    <a:moveTo>
                      <a:pt x="45326" y="118696"/>
                    </a:moveTo>
                    <a:cubicBezTo>
                      <a:pt x="42392" y="118696"/>
                      <a:pt x="39456" y="115761"/>
                      <a:pt x="39456" y="112826"/>
                    </a:cubicBezTo>
                    <a:cubicBezTo>
                      <a:pt x="39456" y="112826"/>
                      <a:pt x="27718" y="48261"/>
                      <a:pt x="1304" y="10109"/>
                    </a:cubicBezTo>
                    <a:cubicBezTo>
                      <a:pt x="-1630" y="7174"/>
                      <a:pt x="1304" y="4239"/>
                      <a:pt x="1304" y="1304"/>
                    </a:cubicBezTo>
                    <a:cubicBezTo>
                      <a:pt x="4240" y="-1630"/>
                      <a:pt x="7174" y="1304"/>
                      <a:pt x="10108" y="1304"/>
                    </a:cubicBezTo>
                    <a:cubicBezTo>
                      <a:pt x="39456" y="42391"/>
                      <a:pt x="51196" y="104022"/>
                      <a:pt x="51196" y="106957"/>
                    </a:cubicBezTo>
                    <a:cubicBezTo>
                      <a:pt x="51196" y="115761"/>
                      <a:pt x="48262" y="118696"/>
                      <a:pt x="45326" y="118696"/>
                    </a:cubicBezTo>
                    <a:cubicBezTo>
                      <a:pt x="45326" y="118696"/>
                      <a:pt x="45326" y="118696"/>
                      <a:pt x="45326" y="1186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A9DEEFF6-0536-4597-B4A7-C00633C9BB70}"/>
                  </a:ext>
                </a:extLst>
              </p:cNvPr>
              <p:cNvSpPr/>
              <p:nvPr/>
            </p:nvSpPr>
            <p:spPr>
              <a:xfrm>
                <a:off x="24346947" y="8046269"/>
                <a:ext cx="592186" cy="98579"/>
              </a:xfrm>
              <a:custGeom>
                <a:avLst/>
                <a:gdLst>
                  <a:gd name="connsiteX0" fmla="*/ 38248 w 592186"/>
                  <a:gd name="connsiteY0" fmla="*/ 1544 h 98579"/>
                  <a:gd name="connsiteX1" fmla="*/ 563573 w 592186"/>
                  <a:gd name="connsiteY1" fmla="*/ 22087 h 98579"/>
                  <a:gd name="connsiteX2" fmla="*/ 563573 w 592186"/>
                  <a:gd name="connsiteY2" fmla="*/ 83717 h 98579"/>
                  <a:gd name="connsiteX3" fmla="*/ 23574 w 592186"/>
                  <a:gd name="connsiteY3" fmla="*/ 60239 h 98579"/>
                  <a:gd name="connsiteX4" fmla="*/ 38248 w 592186"/>
                  <a:gd name="connsiteY4" fmla="*/ 1544 h 98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2186" h="98579">
                    <a:moveTo>
                      <a:pt x="38248" y="1544"/>
                    </a:moveTo>
                    <a:cubicBezTo>
                      <a:pt x="211399" y="51435"/>
                      <a:pt x="387486" y="39695"/>
                      <a:pt x="563573" y="22087"/>
                    </a:cubicBezTo>
                    <a:cubicBezTo>
                      <a:pt x="601725" y="19152"/>
                      <a:pt x="601725" y="80783"/>
                      <a:pt x="563573" y="83717"/>
                    </a:cubicBezTo>
                    <a:cubicBezTo>
                      <a:pt x="381616" y="101326"/>
                      <a:pt x="199661" y="113065"/>
                      <a:pt x="23574" y="60239"/>
                    </a:cubicBezTo>
                    <a:cubicBezTo>
                      <a:pt x="-17514" y="48500"/>
                      <a:pt x="94" y="-10196"/>
                      <a:pt x="38248" y="1544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F2E2E5B3-EC93-4082-9032-662BAB1664F0}"/>
                </a:ext>
              </a:extLst>
            </p:cNvPr>
            <p:cNvSpPr/>
            <p:nvPr/>
          </p:nvSpPr>
          <p:spPr>
            <a:xfrm>
              <a:off x="23299325" y="9016291"/>
              <a:ext cx="231846" cy="178273"/>
            </a:xfrm>
            <a:custGeom>
              <a:avLst/>
              <a:gdLst>
                <a:gd name="connsiteX0" fmla="*/ 79238 w 231846"/>
                <a:gd name="connsiteY0" fmla="*/ 164348 h 178273"/>
                <a:gd name="connsiteX1" fmla="*/ 205435 w 231846"/>
                <a:gd name="connsiteY1" fmla="*/ 167283 h 178273"/>
                <a:gd name="connsiteX2" fmla="*/ 231847 w 231846"/>
                <a:gd name="connsiteY2" fmla="*/ 73370 h 178273"/>
                <a:gd name="connsiteX3" fmla="*/ 17608 w 231846"/>
                <a:gd name="connsiteY3" fmla="*/ 0 h 178273"/>
                <a:gd name="connsiteX4" fmla="*/ 11738 w 231846"/>
                <a:gd name="connsiteY4" fmla="*/ 41087 h 178273"/>
                <a:gd name="connsiteX5" fmla="*/ 0 w 231846"/>
                <a:gd name="connsiteY5" fmla="*/ 85109 h 178273"/>
                <a:gd name="connsiteX6" fmla="*/ 14674 w 231846"/>
                <a:gd name="connsiteY6" fmla="*/ 111521 h 178273"/>
                <a:gd name="connsiteX7" fmla="*/ 44022 w 231846"/>
                <a:gd name="connsiteY7" fmla="*/ 146739 h 178273"/>
                <a:gd name="connsiteX8" fmla="*/ 79238 w 231846"/>
                <a:gd name="connsiteY8" fmla="*/ 164348 h 17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1846" h="178273">
                  <a:moveTo>
                    <a:pt x="79238" y="164348"/>
                  </a:moveTo>
                  <a:cubicBezTo>
                    <a:pt x="114455" y="170217"/>
                    <a:pt x="173151" y="190761"/>
                    <a:pt x="205435" y="167283"/>
                  </a:cubicBezTo>
                  <a:cubicBezTo>
                    <a:pt x="225977" y="152609"/>
                    <a:pt x="231847" y="73370"/>
                    <a:pt x="231847" y="73370"/>
                  </a:cubicBezTo>
                  <a:cubicBezTo>
                    <a:pt x="217173" y="5869"/>
                    <a:pt x="73370" y="0"/>
                    <a:pt x="17608" y="0"/>
                  </a:cubicBezTo>
                  <a:cubicBezTo>
                    <a:pt x="8804" y="0"/>
                    <a:pt x="2934" y="35217"/>
                    <a:pt x="11738" y="41087"/>
                  </a:cubicBezTo>
                  <a:cubicBezTo>
                    <a:pt x="29348" y="46956"/>
                    <a:pt x="0" y="76304"/>
                    <a:pt x="0" y="85109"/>
                  </a:cubicBezTo>
                  <a:cubicBezTo>
                    <a:pt x="2934" y="96847"/>
                    <a:pt x="14674" y="111521"/>
                    <a:pt x="14674" y="111521"/>
                  </a:cubicBezTo>
                  <a:cubicBezTo>
                    <a:pt x="23478" y="126195"/>
                    <a:pt x="41086" y="137935"/>
                    <a:pt x="44022" y="146739"/>
                  </a:cubicBezTo>
                  <a:cubicBezTo>
                    <a:pt x="49890" y="161413"/>
                    <a:pt x="55760" y="161413"/>
                    <a:pt x="79238" y="164348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8" name="图形 1">
              <a:extLst>
                <a:ext uri="{FF2B5EF4-FFF2-40B4-BE49-F238E27FC236}">
                  <a16:creationId xmlns:a16="http://schemas.microsoft.com/office/drawing/2014/main" id="{12C9AE71-00A9-4FE0-8C4E-62287077B10B}"/>
                </a:ext>
              </a:extLst>
            </p:cNvPr>
            <p:cNvGrpSpPr/>
            <p:nvPr/>
          </p:nvGrpSpPr>
          <p:grpSpPr>
            <a:xfrm>
              <a:off x="23220086" y="8508574"/>
              <a:ext cx="305216" cy="815869"/>
              <a:chOff x="23220086" y="8508574"/>
              <a:chExt cx="305216" cy="815869"/>
            </a:xfrm>
          </p:grpSpPr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9FDA794C-A2A7-4040-B652-08097147C75C}"/>
                  </a:ext>
                </a:extLst>
              </p:cNvPr>
              <p:cNvSpPr/>
              <p:nvPr/>
            </p:nvSpPr>
            <p:spPr>
              <a:xfrm>
                <a:off x="23343346" y="8931182"/>
                <a:ext cx="58695" cy="363913"/>
              </a:xfrm>
              <a:custGeom>
                <a:avLst/>
                <a:gdLst>
                  <a:gd name="connsiteX0" fmla="*/ 1 w 58695"/>
                  <a:gd name="connsiteY0" fmla="*/ 0 h 363913"/>
                  <a:gd name="connsiteX1" fmla="*/ 58696 w 58695"/>
                  <a:gd name="connsiteY1" fmla="*/ 0 h 363913"/>
                  <a:gd name="connsiteX2" fmla="*/ 58696 w 58695"/>
                  <a:gd name="connsiteY2" fmla="*/ 363913 h 363913"/>
                  <a:gd name="connsiteX3" fmla="*/ 1 w 58695"/>
                  <a:gd name="connsiteY3" fmla="*/ 363913 h 363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695" h="363913">
                    <a:moveTo>
                      <a:pt x="1" y="0"/>
                    </a:moveTo>
                    <a:lnTo>
                      <a:pt x="58696" y="0"/>
                    </a:lnTo>
                    <a:lnTo>
                      <a:pt x="58696" y="363913"/>
                    </a:lnTo>
                    <a:lnTo>
                      <a:pt x="1" y="363913"/>
                    </a:ln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93F6FC36-DEA1-403B-8461-3B27F473F901}"/>
                  </a:ext>
                </a:extLst>
              </p:cNvPr>
              <p:cNvSpPr/>
              <p:nvPr/>
            </p:nvSpPr>
            <p:spPr>
              <a:xfrm>
                <a:off x="23220086" y="9265748"/>
                <a:ext cx="305216" cy="58695"/>
              </a:xfrm>
              <a:custGeom>
                <a:avLst/>
                <a:gdLst>
                  <a:gd name="connsiteX0" fmla="*/ 305216 w 305216"/>
                  <a:gd name="connsiteY0" fmla="*/ 29348 h 58695"/>
                  <a:gd name="connsiteX1" fmla="*/ 152609 w 305216"/>
                  <a:gd name="connsiteY1" fmla="*/ 58696 h 58695"/>
                  <a:gd name="connsiteX2" fmla="*/ 0 w 305216"/>
                  <a:gd name="connsiteY2" fmla="*/ 29348 h 58695"/>
                  <a:gd name="connsiteX3" fmla="*/ 152609 w 305216"/>
                  <a:gd name="connsiteY3" fmla="*/ 0 h 58695"/>
                  <a:gd name="connsiteX4" fmla="*/ 305216 w 305216"/>
                  <a:gd name="connsiteY4" fmla="*/ 29348 h 58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5216" h="58695">
                    <a:moveTo>
                      <a:pt x="305216" y="29348"/>
                    </a:moveTo>
                    <a:cubicBezTo>
                      <a:pt x="305216" y="44022"/>
                      <a:pt x="237717" y="58696"/>
                      <a:pt x="152609" y="58696"/>
                    </a:cubicBezTo>
                    <a:cubicBezTo>
                      <a:pt x="67500" y="58696"/>
                      <a:pt x="0" y="46957"/>
                      <a:pt x="0" y="29348"/>
                    </a:cubicBezTo>
                    <a:cubicBezTo>
                      <a:pt x="0" y="11739"/>
                      <a:pt x="67500" y="0"/>
                      <a:pt x="152609" y="0"/>
                    </a:cubicBezTo>
                    <a:cubicBezTo>
                      <a:pt x="237717" y="0"/>
                      <a:pt x="305216" y="11739"/>
                      <a:pt x="305216" y="29348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F058454B-E8B6-42A7-9B2B-3F942055F9E7}"/>
                  </a:ext>
                </a:extLst>
              </p:cNvPr>
              <p:cNvSpPr/>
              <p:nvPr/>
            </p:nvSpPr>
            <p:spPr>
              <a:xfrm>
                <a:off x="23228890" y="8537921"/>
                <a:ext cx="287608" cy="449021"/>
              </a:xfrm>
              <a:custGeom>
                <a:avLst/>
                <a:gdLst>
                  <a:gd name="connsiteX0" fmla="*/ 143805 w 287608"/>
                  <a:gd name="connsiteY0" fmla="*/ 449022 h 449021"/>
                  <a:gd name="connsiteX1" fmla="*/ 143805 w 287608"/>
                  <a:gd name="connsiteY1" fmla="*/ 449022 h 449021"/>
                  <a:gd name="connsiteX2" fmla="*/ 0 w 287608"/>
                  <a:gd name="connsiteY2" fmla="*/ 305217 h 449021"/>
                  <a:gd name="connsiteX3" fmla="*/ 0 w 287608"/>
                  <a:gd name="connsiteY3" fmla="*/ 0 h 449021"/>
                  <a:gd name="connsiteX4" fmla="*/ 287608 w 287608"/>
                  <a:gd name="connsiteY4" fmla="*/ 0 h 449021"/>
                  <a:gd name="connsiteX5" fmla="*/ 287608 w 287608"/>
                  <a:gd name="connsiteY5" fmla="*/ 305217 h 449021"/>
                  <a:gd name="connsiteX6" fmla="*/ 143805 w 287608"/>
                  <a:gd name="connsiteY6" fmla="*/ 449022 h 449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7608" h="449021">
                    <a:moveTo>
                      <a:pt x="143805" y="449022"/>
                    </a:moveTo>
                    <a:lnTo>
                      <a:pt x="143805" y="449022"/>
                    </a:lnTo>
                    <a:cubicBezTo>
                      <a:pt x="64566" y="449022"/>
                      <a:pt x="0" y="384456"/>
                      <a:pt x="0" y="305217"/>
                    </a:cubicBezTo>
                    <a:lnTo>
                      <a:pt x="0" y="0"/>
                    </a:lnTo>
                    <a:lnTo>
                      <a:pt x="287608" y="0"/>
                    </a:lnTo>
                    <a:lnTo>
                      <a:pt x="287608" y="305217"/>
                    </a:lnTo>
                    <a:cubicBezTo>
                      <a:pt x="287608" y="384456"/>
                      <a:pt x="223043" y="449022"/>
                      <a:pt x="143805" y="449022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FF9139F9-35DC-460A-BD5F-41DC080D53CE}"/>
                  </a:ext>
                </a:extLst>
              </p:cNvPr>
              <p:cNvSpPr/>
              <p:nvPr/>
            </p:nvSpPr>
            <p:spPr>
              <a:xfrm>
                <a:off x="23252368" y="8725747"/>
                <a:ext cx="243586" cy="231848"/>
              </a:xfrm>
              <a:custGeom>
                <a:avLst/>
                <a:gdLst>
                  <a:gd name="connsiteX0" fmla="*/ 120327 w 243586"/>
                  <a:gd name="connsiteY0" fmla="*/ 231848 h 231848"/>
                  <a:gd name="connsiteX1" fmla="*/ 120327 w 243586"/>
                  <a:gd name="connsiteY1" fmla="*/ 231848 h 231848"/>
                  <a:gd name="connsiteX2" fmla="*/ 0 w 243586"/>
                  <a:gd name="connsiteY2" fmla="*/ 111522 h 231848"/>
                  <a:gd name="connsiteX3" fmla="*/ 0 w 243586"/>
                  <a:gd name="connsiteY3" fmla="*/ 0 h 231848"/>
                  <a:gd name="connsiteX4" fmla="*/ 243587 w 243586"/>
                  <a:gd name="connsiteY4" fmla="*/ 0 h 231848"/>
                  <a:gd name="connsiteX5" fmla="*/ 243587 w 243586"/>
                  <a:gd name="connsiteY5" fmla="*/ 111522 h 231848"/>
                  <a:gd name="connsiteX6" fmla="*/ 120327 w 243586"/>
                  <a:gd name="connsiteY6" fmla="*/ 231848 h 231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3586" h="231848">
                    <a:moveTo>
                      <a:pt x="120327" y="231848"/>
                    </a:moveTo>
                    <a:lnTo>
                      <a:pt x="120327" y="231848"/>
                    </a:lnTo>
                    <a:cubicBezTo>
                      <a:pt x="52826" y="231848"/>
                      <a:pt x="0" y="179022"/>
                      <a:pt x="0" y="111522"/>
                    </a:cubicBezTo>
                    <a:lnTo>
                      <a:pt x="0" y="0"/>
                    </a:lnTo>
                    <a:lnTo>
                      <a:pt x="243587" y="0"/>
                    </a:lnTo>
                    <a:lnTo>
                      <a:pt x="243587" y="111522"/>
                    </a:lnTo>
                    <a:cubicBezTo>
                      <a:pt x="240653" y="179022"/>
                      <a:pt x="187827" y="231848"/>
                      <a:pt x="120327" y="231848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79639DA0-E2DE-4B26-A11D-A8DFD98CCF39}"/>
                  </a:ext>
                </a:extLst>
              </p:cNvPr>
              <p:cNvSpPr/>
              <p:nvPr/>
            </p:nvSpPr>
            <p:spPr>
              <a:xfrm>
                <a:off x="23228890" y="8508574"/>
                <a:ext cx="287608" cy="58695"/>
              </a:xfrm>
              <a:custGeom>
                <a:avLst/>
                <a:gdLst>
                  <a:gd name="connsiteX0" fmla="*/ 287608 w 287608"/>
                  <a:gd name="connsiteY0" fmla="*/ 29348 h 58695"/>
                  <a:gd name="connsiteX1" fmla="*/ 143805 w 287608"/>
                  <a:gd name="connsiteY1" fmla="*/ 58696 h 58695"/>
                  <a:gd name="connsiteX2" fmla="*/ 0 w 287608"/>
                  <a:gd name="connsiteY2" fmla="*/ 29348 h 58695"/>
                  <a:gd name="connsiteX3" fmla="*/ 143805 w 287608"/>
                  <a:gd name="connsiteY3" fmla="*/ 0 h 58695"/>
                  <a:gd name="connsiteX4" fmla="*/ 287608 w 287608"/>
                  <a:gd name="connsiteY4" fmla="*/ 29348 h 58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7608" h="58695">
                    <a:moveTo>
                      <a:pt x="287608" y="29348"/>
                    </a:moveTo>
                    <a:cubicBezTo>
                      <a:pt x="287608" y="44022"/>
                      <a:pt x="223043" y="58696"/>
                      <a:pt x="143805" y="58696"/>
                    </a:cubicBezTo>
                    <a:cubicBezTo>
                      <a:pt x="64566" y="58696"/>
                      <a:pt x="0" y="46956"/>
                      <a:pt x="0" y="29348"/>
                    </a:cubicBezTo>
                    <a:cubicBezTo>
                      <a:pt x="0" y="11739"/>
                      <a:pt x="64566" y="0"/>
                      <a:pt x="143805" y="0"/>
                    </a:cubicBezTo>
                    <a:cubicBezTo>
                      <a:pt x="223043" y="0"/>
                      <a:pt x="287608" y="14674"/>
                      <a:pt x="287608" y="29348"/>
                    </a:cubicBezTo>
                    <a:close/>
                  </a:path>
                </a:pathLst>
              </a:custGeom>
              <a:solidFill>
                <a:srgbClr val="E5CDA5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9" name="图形 1">
              <a:extLst>
                <a:ext uri="{FF2B5EF4-FFF2-40B4-BE49-F238E27FC236}">
                  <a16:creationId xmlns:a16="http://schemas.microsoft.com/office/drawing/2014/main" id="{1B61B15B-9ADC-48C8-BFEB-1984E625CEE6}"/>
                </a:ext>
              </a:extLst>
            </p:cNvPr>
            <p:cNvGrpSpPr/>
            <p:nvPr/>
          </p:nvGrpSpPr>
          <p:grpSpPr>
            <a:xfrm>
              <a:off x="23260016" y="9016291"/>
              <a:ext cx="168909" cy="164817"/>
              <a:chOff x="23260016" y="9016291"/>
              <a:chExt cx="168909" cy="164817"/>
            </a:xfrm>
          </p:grpSpPr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77775B8B-E804-44F9-98B0-9328E4E5F975}"/>
                  </a:ext>
                </a:extLst>
              </p:cNvPr>
              <p:cNvSpPr/>
              <p:nvPr/>
            </p:nvSpPr>
            <p:spPr>
              <a:xfrm>
                <a:off x="23260016" y="9016291"/>
                <a:ext cx="136612" cy="59021"/>
              </a:xfrm>
              <a:custGeom>
                <a:avLst/>
                <a:gdLst>
                  <a:gd name="connsiteX0" fmla="*/ 7025 w 136612"/>
                  <a:gd name="connsiteY0" fmla="*/ 17608 h 59021"/>
                  <a:gd name="connsiteX1" fmla="*/ 89199 w 136612"/>
                  <a:gd name="connsiteY1" fmla="*/ 2935 h 59021"/>
                  <a:gd name="connsiteX2" fmla="*/ 100939 w 136612"/>
                  <a:gd name="connsiteY2" fmla="*/ 0 h 59021"/>
                  <a:gd name="connsiteX3" fmla="*/ 115612 w 136612"/>
                  <a:gd name="connsiteY3" fmla="*/ 2935 h 59021"/>
                  <a:gd name="connsiteX4" fmla="*/ 136156 w 136612"/>
                  <a:gd name="connsiteY4" fmla="*/ 38152 h 59021"/>
                  <a:gd name="connsiteX5" fmla="*/ 100939 w 136612"/>
                  <a:gd name="connsiteY5" fmla="*/ 55761 h 59021"/>
                  <a:gd name="connsiteX6" fmla="*/ 45177 w 136612"/>
                  <a:gd name="connsiteY6" fmla="*/ 58696 h 59021"/>
                  <a:gd name="connsiteX7" fmla="*/ 4091 w 136612"/>
                  <a:gd name="connsiteY7" fmla="*/ 49891 h 59021"/>
                  <a:gd name="connsiteX8" fmla="*/ 7025 w 136612"/>
                  <a:gd name="connsiteY8" fmla="*/ 17608 h 59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6612" h="59021">
                    <a:moveTo>
                      <a:pt x="7025" y="17608"/>
                    </a:moveTo>
                    <a:cubicBezTo>
                      <a:pt x="27569" y="2935"/>
                      <a:pt x="59851" y="5869"/>
                      <a:pt x="89199" y="2935"/>
                    </a:cubicBezTo>
                    <a:cubicBezTo>
                      <a:pt x="92135" y="2935"/>
                      <a:pt x="100939" y="0"/>
                      <a:pt x="100939" y="0"/>
                    </a:cubicBezTo>
                    <a:cubicBezTo>
                      <a:pt x="106808" y="0"/>
                      <a:pt x="109743" y="0"/>
                      <a:pt x="115612" y="2935"/>
                    </a:cubicBezTo>
                    <a:cubicBezTo>
                      <a:pt x="127352" y="8804"/>
                      <a:pt x="139090" y="23478"/>
                      <a:pt x="136156" y="38152"/>
                    </a:cubicBezTo>
                    <a:cubicBezTo>
                      <a:pt x="133220" y="52826"/>
                      <a:pt x="112678" y="52826"/>
                      <a:pt x="100939" y="55761"/>
                    </a:cubicBezTo>
                    <a:cubicBezTo>
                      <a:pt x="83331" y="58696"/>
                      <a:pt x="65721" y="58696"/>
                      <a:pt x="45177" y="58696"/>
                    </a:cubicBezTo>
                    <a:cubicBezTo>
                      <a:pt x="33439" y="58696"/>
                      <a:pt x="15829" y="61630"/>
                      <a:pt x="4091" y="49891"/>
                    </a:cubicBezTo>
                    <a:cubicBezTo>
                      <a:pt x="-1779" y="41087"/>
                      <a:pt x="-1779" y="26413"/>
                      <a:pt x="7025" y="17608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4EBC8742-90D0-42CC-B335-00DAC7EFFDAC}"/>
                  </a:ext>
                </a:extLst>
              </p:cNvPr>
              <p:cNvSpPr/>
              <p:nvPr/>
            </p:nvSpPr>
            <p:spPr>
              <a:xfrm>
                <a:off x="23283916" y="9057378"/>
                <a:ext cx="139124" cy="59021"/>
              </a:xfrm>
              <a:custGeom>
                <a:avLst/>
                <a:gdLst>
                  <a:gd name="connsiteX0" fmla="*/ 6603 w 139124"/>
                  <a:gd name="connsiteY0" fmla="*/ 17609 h 59021"/>
                  <a:gd name="connsiteX1" fmla="*/ 94646 w 139124"/>
                  <a:gd name="connsiteY1" fmla="*/ 0 h 59021"/>
                  <a:gd name="connsiteX2" fmla="*/ 103452 w 139124"/>
                  <a:gd name="connsiteY2" fmla="*/ 0 h 59021"/>
                  <a:gd name="connsiteX3" fmla="*/ 118126 w 139124"/>
                  <a:gd name="connsiteY3" fmla="*/ 2935 h 59021"/>
                  <a:gd name="connsiteX4" fmla="*/ 138668 w 139124"/>
                  <a:gd name="connsiteY4" fmla="*/ 38152 h 59021"/>
                  <a:gd name="connsiteX5" fmla="*/ 103452 w 139124"/>
                  <a:gd name="connsiteY5" fmla="*/ 55761 h 59021"/>
                  <a:gd name="connsiteX6" fmla="*/ 47691 w 139124"/>
                  <a:gd name="connsiteY6" fmla="*/ 58696 h 59021"/>
                  <a:gd name="connsiteX7" fmla="*/ 6603 w 139124"/>
                  <a:gd name="connsiteY7" fmla="*/ 49891 h 59021"/>
                  <a:gd name="connsiteX8" fmla="*/ 6603 w 139124"/>
                  <a:gd name="connsiteY8" fmla="*/ 17609 h 59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124" h="59021">
                    <a:moveTo>
                      <a:pt x="6603" y="17609"/>
                    </a:moveTo>
                    <a:cubicBezTo>
                      <a:pt x="27147" y="-5869"/>
                      <a:pt x="65299" y="2935"/>
                      <a:pt x="94646" y="0"/>
                    </a:cubicBezTo>
                    <a:cubicBezTo>
                      <a:pt x="97582" y="0"/>
                      <a:pt x="100516" y="0"/>
                      <a:pt x="103452" y="0"/>
                    </a:cubicBezTo>
                    <a:cubicBezTo>
                      <a:pt x="109320" y="0"/>
                      <a:pt x="112256" y="0"/>
                      <a:pt x="118126" y="2935"/>
                    </a:cubicBezTo>
                    <a:cubicBezTo>
                      <a:pt x="129864" y="8804"/>
                      <a:pt x="141604" y="23478"/>
                      <a:pt x="138668" y="38152"/>
                    </a:cubicBezTo>
                    <a:cubicBezTo>
                      <a:pt x="135734" y="52826"/>
                      <a:pt x="115190" y="52826"/>
                      <a:pt x="103452" y="55761"/>
                    </a:cubicBezTo>
                    <a:cubicBezTo>
                      <a:pt x="85842" y="58696"/>
                      <a:pt x="68235" y="58696"/>
                      <a:pt x="47691" y="58696"/>
                    </a:cubicBezTo>
                    <a:cubicBezTo>
                      <a:pt x="35951" y="58696"/>
                      <a:pt x="18343" y="61631"/>
                      <a:pt x="6603" y="49891"/>
                    </a:cubicBezTo>
                    <a:cubicBezTo>
                      <a:pt x="-2201" y="38152"/>
                      <a:pt x="-2201" y="26413"/>
                      <a:pt x="6603" y="17609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F7B85E2F-AAE3-4095-99D5-560BD3409EBE}"/>
                  </a:ext>
                </a:extLst>
              </p:cNvPr>
              <p:cNvSpPr/>
              <p:nvPr/>
            </p:nvSpPr>
            <p:spPr>
              <a:xfrm>
                <a:off x="23300332" y="9095530"/>
                <a:ext cx="116953" cy="53152"/>
              </a:xfrm>
              <a:custGeom>
                <a:avLst/>
                <a:gdLst>
                  <a:gd name="connsiteX0" fmla="*/ 4861 w 116953"/>
                  <a:gd name="connsiteY0" fmla="*/ 17608 h 53152"/>
                  <a:gd name="connsiteX1" fmla="*/ 81167 w 116953"/>
                  <a:gd name="connsiteY1" fmla="*/ 0 h 53152"/>
                  <a:gd name="connsiteX2" fmla="*/ 87037 w 116953"/>
                  <a:gd name="connsiteY2" fmla="*/ 0 h 53152"/>
                  <a:gd name="connsiteX3" fmla="*/ 98775 w 116953"/>
                  <a:gd name="connsiteY3" fmla="*/ 2935 h 53152"/>
                  <a:gd name="connsiteX4" fmla="*/ 116384 w 116953"/>
                  <a:gd name="connsiteY4" fmla="*/ 32282 h 53152"/>
                  <a:gd name="connsiteX5" fmla="*/ 84101 w 116953"/>
                  <a:gd name="connsiteY5" fmla="*/ 46956 h 53152"/>
                  <a:gd name="connsiteX6" fmla="*/ 37145 w 116953"/>
                  <a:gd name="connsiteY6" fmla="*/ 52826 h 53152"/>
                  <a:gd name="connsiteX7" fmla="*/ 1927 w 116953"/>
                  <a:gd name="connsiteY7" fmla="*/ 44022 h 53152"/>
                  <a:gd name="connsiteX8" fmla="*/ 4861 w 116953"/>
                  <a:gd name="connsiteY8" fmla="*/ 17608 h 53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953" h="53152">
                    <a:moveTo>
                      <a:pt x="4861" y="17608"/>
                    </a:moveTo>
                    <a:cubicBezTo>
                      <a:pt x="22471" y="-2935"/>
                      <a:pt x="54753" y="2935"/>
                      <a:pt x="81167" y="0"/>
                    </a:cubicBezTo>
                    <a:cubicBezTo>
                      <a:pt x="84101" y="0"/>
                      <a:pt x="87037" y="0"/>
                      <a:pt x="87037" y="0"/>
                    </a:cubicBezTo>
                    <a:cubicBezTo>
                      <a:pt x="89971" y="0"/>
                      <a:pt x="95841" y="0"/>
                      <a:pt x="98775" y="2935"/>
                    </a:cubicBezTo>
                    <a:cubicBezTo>
                      <a:pt x="110515" y="8804"/>
                      <a:pt x="119319" y="20543"/>
                      <a:pt x="116384" y="32282"/>
                    </a:cubicBezTo>
                    <a:cubicBezTo>
                      <a:pt x="113449" y="46956"/>
                      <a:pt x="95841" y="46956"/>
                      <a:pt x="84101" y="46956"/>
                    </a:cubicBezTo>
                    <a:cubicBezTo>
                      <a:pt x="69427" y="49891"/>
                      <a:pt x="51819" y="49891"/>
                      <a:pt x="37145" y="52826"/>
                    </a:cubicBezTo>
                    <a:cubicBezTo>
                      <a:pt x="25405" y="52826"/>
                      <a:pt x="13667" y="55761"/>
                      <a:pt x="1927" y="44022"/>
                    </a:cubicBezTo>
                    <a:cubicBezTo>
                      <a:pt x="-1007" y="38152"/>
                      <a:pt x="-1007" y="26413"/>
                      <a:pt x="4861" y="17608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0C895167-7724-4313-AC66-EAE8A627FF9A}"/>
                  </a:ext>
                </a:extLst>
              </p:cNvPr>
              <p:cNvSpPr/>
              <p:nvPr/>
            </p:nvSpPr>
            <p:spPr>
              <a:xfrm>
                <a:off x="23321587" y="9139312"/>
                <a:ext cx="87087" cy="41796"/>
              </a:xfrm>
              <a:custGeom>
                <a:avLst/>
                <a:gdLst>
                  <a:gd name="connsiteX0" fmla="*/ 4150 w 87087"/>
                  <a:gd name="connsiteY0" fmla="*/ 11979 h 41796"/>
                  <a:gd name="connsiteX1" fmla="*/ 59912 w 87087"/>
                  <a:gd name="connsiteY1" fmla="*/ 240 h 41796"/>
                  <a:gd name="connsiteX2" fmla="*/ 65782 w 87087"/>
                  <a:gd name="connsiteY2" fmla="*/ 240 h 41796"/>
                  <a:gd name="connsiteX3" fmla="*/ 74586 w 87087"/>
                  <a:gd name="connsiteY3" fmla="*/ 3174 h 41796"/>
                  <a:gd name="connsiteX4" fmla="*/ 86324 w 87087"/>
                  <a:gd name="connsiteY4" fmla="*/ 26652 h 41796"/>
                  <a:gd name="connsiteX5" fmla="*/ 62846 w 87087"/>
                  <a:gd name="connsiteY5" fmla="*/ 38392 h 41796"/>
                  <a:gd name="connsiteX6" fmla="*/ 27628 w 87087"/>
                  <a:gd name="connsiteY6" fmla="*/ 41326 h 41796"/>
                  <a:gd name="connsiteX7" fmla="*/ 1216 w 87087"/>
                  <a:gd name="connsiteY7" fmla="*/ 35457 h 41796"/>
                  <a:gd name="connsiteX8" fmla="*/ 4150 w 87087"/>
                  <a:gd name="connsiteY8" fmla="*/ 11979 h 41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7087" h="41796">
                    <a:moveTo>
                      <a:pt x="4150" y="11979"/>
                    </a:moveTo>
                    <a:cubicBezTo>
                      <a:pt x="18824" y="-2695"/>
                      <a:pt x="42302" y="240"/>
                      <a:pt x="59912" y="240"/>
                    </a:cubicBezTo>
                    <a:cubicBezTo>
                      <a:pt x="62846" y="240"/>
                      <a:pt x="62846" y="240"/>
                      <a:pt x="65782" y="240"/>
                    </a:cubicBezTo>
                    <a:cubicBezTo>
                      <a:pt x="68716" y="240"/>
                      <a:pt x="71650" y="240"/>
                      <a:pt x="74586" y="3174"/>
                    </a:cubicBezTo>
                    <a:cubicBezTo>
                      <a:pt x="83390" y="6109"/>
                      <a:pt x="89260" y="17848"/>
                      <a:pt x="86324" y="26652"/>
                    </a:cubicBezTo>
                    <a:cubicBezTo>
                      <a:pt x="83390" y="35457"/>
                      <a:pt x="71650" y="35457"/>
                      <a:pt x="62846" y="38392"/>
                    </a:cubicBezTo>
                    <a:cubicBezTo>
                      <a:pt x="51108" y="41326"/>
                      <a:pt x="39368" y="41326"/>
                      <a:pt x="27628" y="41326"/>
                    </a:cubicBezTo>
                    <a:cubicBezTo>
                      <a:pt x="18824" y="41326"/>
                      <a:pt x="10020" y="44261"/>
                      <a:pt x="1216" y="35457"/>
                    </a:cubicBezTo>
                    <a:cubicBezTo>
                      <a:pt x="-1720" y="26652"/>
                      <a:pt x="1216" y="17848"/>
                      <a:pt x="4150" y="11979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B21E0AB3-40CB-4571-A004-0A0F27C9F1D7}"/>
                  </a:ext>
                </a:extLst>
              </p:cNvPr>
              <p:cNvSpPr/>
              <p:nvPr/>
            </p:nvSpPr>
            <p:spPr>
              <a:xfrm>
                <a:off x="23276579" y="9018327"/>
                <a:ext cx="152078" cy="100681"/>
              </a:xfrm>
              <a:custGeom>
                <a:avLst/>
                <a:gdLst>
                  <a:gd name="connsiteX0" fmla="*/ 63832 w 152078"/>
                  <a:gd name="connsiteY0" fmla="*/ 100681 h 100681"/>
                  <a:gd name="connsiteX1" fmla="*/ 2202 w 152078"/>
                  <a:gd name="connsiteY1" fmla="*/ 77203 h 100681"/>
                  <a:gd name="connsiteX2" fmla="*/ 2202 w 152078"/>
                  <a:gd name="connsiteY2" fmla="*/ 56659 h 100681"/>
                  <a:gd name="connsiteX3" fmla="*/ 13940 w 152078"/>
                  <a:gd name="connsiteY3" fmla="*/ 50790 h 100681"/>
                  <a:gd name="connsiteX4" fmla="*/ 110789 w 152078"/>
                  <a:gd name="connsiteY4" fmla="*/ 39051 h 100681"/>
                  <a:gd name="connsiteX5" fmla="*/ 113723 w 152078"/>
                  <a:gd name="connsiteY5" fmla="*/ 27312 h 100681"/>
                  <a:gd name="connsiteX6" fmla="*/ 107853 w 152078"/>
                  <a:gd name="connsiteY6" fmla="*/ 18507 h 100681"/>
                  <a:gd name="connsiteX7" fmla="*/ 19810 w 152078"/>
                  <a:gd name="connsiteY7" fmla="*/ 15572 h 100681"/>
                  <a:gd name="connsiteX8" fmla="*/ 13940 w 152078"/>
                  <a:gd name="connsiteY8" fmla="*/ 9703 h 100681"/>
                  <a:gd name="connsiteX9" fmla="*/ 19810 w 152078"/>
                  <a:gd name="connsiteY9" fmla="*/ 3833 h 100681"/>
                  <a:gd name="connsiteX10" fmla="*/ 116657 w 152078"/>
                  <a:gd name="connsiteY10" fmla="*/ 9703 h 100681"/>
                  <a:gd name="connsiteX11" fmla="*/ 125463 w 152078"/>
                  <a:gd name="connsiteY11" fmla="*/ 24377 h 100681"/>
                  <a:gd name="connsiteX12" fmla="*/ 125463 w 152078"/>
                  <a:gd name="connsiteY12" fmla="*/ 36116 h 100681"/>
                  <a:gd name="connsiteX13" fmla="*/ 151875 w 152078"/>
                  <a:gd name="connsiteY13" fmla="*/ 71333 h 100681"/>
                  <a:gd name="connsiteX14" fmla="*/ 99049 w 152078"/>
                  <a:gd name="connsiteY14" fmla="*/ 100681 h 100681"/>
                  <a:gd name="connsiteX15" fmla="*/ 63832 w 152078"/>
                  <a:gd name="connsiteY15" fmla="*/ 100681 h 100681"/>
                  <a:gd name="connsiteX16" fmla="*/ 13940 w 152078"/>
                  <a:gd name="connsiteY16" fmla="*/ 62529 h 100681"/>
                  <a:gd name="connsiteX17" fmla="*/ 13940 w 152078"/>
                  <a:gd name="connsiteY17" fmla="*/ 62529 h 100681"/>
                  <a:gd name="connsiteX18" fmla="*/ 13940 w 152078"/>
                  <a:gd name="connsiteY18" fmla="*/ 74268 h 100681"/>
                  <a:gd name="connsiteX19" fmla="*/ 96115 w 152078"/>
                  <a:gd name="connsiteY19" fmla="*/ 88942 h 100681"/>
                  <a:gd name="connsiteX20" fmla="*/ 140137 w 152078"/>
                  <a:gd name="connsiteY20" fmla="*/ 71333 h 100681"/>
                  <a:gd name="connsiteX21" fmla="*/ 119593 w 152078"/>
                  <a:gd name="connsiteY21" fmla="*/ 44920 h 100681"/>
                  <a:gd name="connsiteX22" fmla="*/ 119593 w 152078"/>
                  <a:gd name="connsiteY22" fmla="*/ 44920 h 100681"/>
                  <a:gd name="connsiteX23" fmla="*/ 13940 w 152078"/>
                  <a:gd name="connsiteY23" fmla="*/ 62529 h 100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52078" h="100681">
                    <a:moveTo>
                      <a:pt x="63832" y="100681"/>
                    </a:moveTo>
                    <a:cubicBezTo>
                      <a:pt x="34484" y="100681"/>
                      <a:pt x="11006" y="94811"/>
                      <a:pt x="2202" y="77203"/>
                    </a:cubicBezTo>
                    <a:cubicBezTo>
                      <a:pt x="-734" y="68398"/>
                      <a:pt x="-734" y="62529"/>
                      <a:pt x="2202" y="56659"/>
                    </a:cubicBezTo>
                    <a:cubicBezTo>
                      <a:pt x="5136" y="50790"/>
                      <a:pt x="13940" y="50790"/>
                      <a:pt x="13940" y="50790"/>
                    </a:cubicBezTo>
                    <a:cubicBezTo>
                      <a:pt x="69702" y="53725"/>
                      <a:pt x="101983" y="47855"/>
                      <a:pt x="110789" y="39051"/>
                    </a:cubicBezTo>
                    <a:cubicBezTo>
                      <a:pt x="113723" y="36116"/>
                      <a:pt x="113723" y="33181"/>
                      <a:pt x="113723" y="27312"/>
                    </a:cubicBezTo>
                    <a:cubicBezTo>
                      <a:pt x="113723" y="24377"/>
                      <a:pt x="110789" y="21442"/>
                      <a:pt x="107853" y="18507"/>
                    </a:cubicBezTo>
                    <a:cubicBezTo>
                      <a:pt x="90245" y="6768"/>
                      <a:pt x="40354" y="12638"/>
                      <a:pt x="19810" y="15572"/>
                    </a:cubicBezTo>
                    <a:cubicBezTo>
                      <a:pt x="16876" y="15572"/>
                      <a:pt x="13940" y="15572"/>
                      <a:pt x="13940" y="9703"/>
                    </a:cubicBezTo>
                    <a:cubicBezTo>
                      <a:pt x="13940" y="6768"/>
                      <a:pt x="13940" y="3833"/>
                      <a:pt x="19810" y="3833"/>
                    </a:cubicBezTo>
                    <a:cubicBezTo>
                      <a:pt x="25680" y="3833"/>
                      <a:pt x="90245" y="-7906"/>
                      <a:pt x="116657" y="9703"/>
                    </a:cubicBezTo>
                    <a:cubicBezTo>
                      <a:pt x="122527" y="12638"/>
                      <a:pt x="125463" y="18507"/>
                      <a:pt x="125463" y="24377"/>
                    </a:cubicBezTo>
                    <a:cubicBezTo>
                      <a:pt x="125463" y="27312"/>
                      <a:pt x="125463" y="30246"/>
                      <a:pt x="125463" y="36116"/>
                    </a:cubicBezTo>
                    <a:cubicBezTo>
                      <a:pt x="128397" y="39051"/>
                      <a:pt x="148941" y="53725"/>
                      <a:pt x="151875" y="71333"/>
                    </a:cubicBezTo>
                    <a:cubicBezTo>
                      <a:pt x="154811" y="94811"/>
                      <a:pt x="125463" y="97746"/>
                      <a:pt x="99049" y="100681"/>
                    </a:cubicBezTo>
                    <a:cubicBezTo>
                      <a:pt x="84375" y="100681"/>
                      <a:pt x="75571" y="100681"/>
                      <a:pt x="63832" y="100681"/>
                    </a:cubicBezTo>
                    <a:close/>
                    <a:moveTo>
                      <a:pt x="13940" y="62529"/>
                    </a:moveTo>
                    <a:cubicBezTo>
                      <a:pt x="13940" y="62529"/>
                      <a:pt x="11006" y="62529"/>
                      <a:pt x="13940" y="62529"/>
                    </a:cubicBezTo>
                    <a:cubicBezTo>
                      <a:pt x="11006" y="65463"/>
                      <a:pt x="11006" y="68398"/>
                      <a:pt x="13940" y="74268"/>
                    </a:cubicBezTo>
                    <a:cubicBezTo>
                      <a:pt x="19810" y="88942"/>
                      <a:pt x="49158" y="94811"/>
                      <a:pt x="96115" y="88942"/>
                    </a:cubicBezTo>
                    <a:cubicBezTo>
                      <a:pt x="131331" y="86007"/>
                      <a:pt x="140137" y="80137"/>
                      <a:pt x="140137" y="71333"/>
                    </a:cubicBezTo>
                    <a:cubicBezTo>
                      <a:pt x="140137" y="62529"/>
                      <a:pt x="125463" y="50790"/>
                      <a:pt x="119593" y="44920"/>
                    </a:cubicBezTo>
                    <a:cubicBezTo>
                      <a:pt x="119593" y="44920"/>
                      <a:pt x="119593" y="44920"/>
                      <a:pt x="119593" y="44920"/>
                    </a:cubicBezTo>
                    <a:cubicBezTo>
                      <a:pt x="110789" y="53725"/>
                      <a:pt x="93179" y="65463"/>
                      <a:pt x="13940" y="62529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B0DDD2BB-D41B-44B2-8E07-C5F579CC95CE}"/>
                  </a:ext>
                </a:extLst>
              </p:cNvPr>
              <p:cNvSpPr/>
              <p:nvPr/>
            </p:nvSpPr>
            <p:spPr>
              <a:xfrm>
                <a:off x="23295238" y="9099198"/>
                <a:ext cx="133687" cy="57961"/>
              </a:xfrm>
              <a:custGeom>
                <a:avLst/>
                <a:gdLst>
                  <a:gd name="connsiteX0" fmla="*/ 51043 w 133687"/>
                  <a:gd name="connsiteY0" fmla="*/ 57962 h 57961"/>
                  <a:gd name="connsiteX1" fmla="*/ 15825 w 133687"/>
                  <a:gd name="connsiteY1" fmla="*/ 55027 h 57961"/>
                  <a:gd name="connsiteX2" fmla="*/ 1151 w 133687"/>
                  <a:gd name="connsiteY2" fmla="*/ 37419 h 57961"/>
                  <a:gd name="connsiteX3" fmla="*/ 7021 w 133687"/>
                  <a:gd name="connsiteY3" fmla="*/ 11006 h 57961"/>
                  <a:gd name="connsiteX4" fmla="*/ 15825 w 133687"/>
                  <a:gd name="connsiteY4" fmla="*/ 11006 h 57961"/>
                  <a:gd name="connsiteX5" fmla="*/ 15825 w 133687"/>
                  <a:gd name="connsiteY5" fmla="*/ 19810 h 57961"/>
                  <a:gd name="connsiteX6" fmla="*/ 12891 w 133687"/>
                  <a:gd name="connsiteY6" fmla="*/ 34484 h 57961"/>
                  <a:gd name="connsiteX7" fmla="*/ 18761 w 133687"/>
                  <a:gd name="connsiteY7" fmla="*/ 43288 h 57961"/>
                  <a:gd name="connsiteX8" fmla="*/ 106804 w 133687"/>
                  <a:gd name="connsiteY8" fmla="*/ 40353 h 57961"/>
                  <a:gd name="connsiteX9" fmla="*/ 121478 w 133687"/>
                  <a:gd name="connsiteY9" fmla="*/ 31549 h 57961"/>
                  <a:gd name="connsiteX10" fmla="*/ 115608 w 133687"/>
                  <a:gd name="connsiteY10" fmla="*/ 11006 h 57961"/>
                  <a:gd name="connsiteX11" fmla="*/ 115608 w 133687"/>
                  <a:gd name="connsiteY11" fmla="*/ 2201 h 57961"/>
                  <a:gd name="connsiteX12" fmla="*/ 124412 w 133687"/>
                  <a:gd name="connsiteY12" fmla="*/ 2201 h 57961"/>
                  <a:gd name="connsiteX13" fmla="*/ 133216 w 133687"/>
                  <a:gd name="connsiteY13" fmla="*/ 34484 h 57961"/>
                  <a:gd name="connsiteX14" fmla="*/ 112672 w 133687"/>
                  <a:gd name="connsiteY14" fmla="*/ 52092 h 57961"/>
                  <a:gd name="connsiteX15" fmla="*/ 51043 w 133687"/>
                  <a:gd name="connsiteY15" fmla="*/ 57962 h 57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3687" h="57961">
                    <a:moveTo>
                      <a:pt x="51043" y="57962"/>
                    </a:moveTo>
                    <a:cubicBezTo>
                      <a:pt x="36369" y="57962"/>
                      <a:pt x="21695" y="55027"/>
                      <a:pt x="15825" y="55027"/>
                    </a:cubicBezTo>
                    <a:cubicBezTo>
                      <a:pt x="9955" y="52092"/>
                      <a:pt x="4087" y="46223"/>
                      <a:pt x="1151" y="37419"/>
                    </a:cubicBezTo>
                    <a:cubicBezTo>
                      <a:pt x="-1783" y="28614"/>
                      <a:pt x="1151" y="16875"/>
                      <a:pt x="7021" y="11006"/>
                    </a:cubicBezTo>
                    <a:cubicBezTo>
                      <a:pt x="9955" y="8071"/>
                      <a:pt x="12891" y="8071"/>
                      <a:pt x="15825" y="11006"/>
                    </a:cubicBezTo>
                    <a:cubicBezTo>
                      <a:pt x="18761" y="13940"/>
                      <a:pt x="18761" y="16875"/>
                      <a:pt x="15825" y="19810"/>
                    </a:cubicBezTo>
                    <a:cubicBezTo>
                      <a:pt x="12891" y="19810"/>
                      <a:pt x="12891" y="28614"/>
                      <a:pt x="12891" y="34484"/>
                    </a:cubicBezTo>
                    <a:cubicBezTo>
                      <a:pt x="12891" y="37419"/>
                      <a:pt x="15825" y="40353"/>
                      <a:pt x="18761" y="43288"/>
                    </a:cubicBezTo>
                    <a:cubicBezTo>
                      <a:pt x="30499" y="46223"/>
                      <a:pt x="71587" y="49158"/>
                      <a:pt x="106804" y="40353"/>
                    </a:cubicBezTo>
                    <a:cubicBezTo>
                      <a:pt x="115608" y="37419"/>
                      <a:pt x="118542" y="34484"/>
                      <a:pt x="121478" y="31549"/>
                    </a:cubicBezTo>
                    <a:cubicBezTo>
                      <a:pt x="124412" y="22745"/>
                      <a:pt x="115608" y="11006"/>
                      <a:pt x="115608" y="11006"/>
                    </a:cubicBezTo>
                    <a:cubicBezTo>
                      <a:pt x="112672" y="8071"/>
                      <a:pt x="115608" y="5136"/>
                      <a:pt x="115608" y="2201"/>
                    </a:cubicBezTo>
                    <a:cubicBezTo>
                      <a:pt x="118542" y="-734"/>
                      <a:pt x="121478" y="-734"/>
                      <a:pt x="124412" y="2201"/>
                    </a:cubicBezTo>
                    <a:cubicBezTo>
                      <a:pt x="124412" y="2201"/>
                      <a:pt x="136152" y="19810"/>
                      <a:pt x="133216" y="34484"/>
                    </a:cubicBezTo>
                    <a:cubicBezTo>
                      <a:pt x="130282" y="43288"/>
                      <a:pt x="124412" y="49158"/>
                      <a:pt x="112672" y="52092"/>
                    </a:cubicBezTo>
                    <a:cubicBezTo>
                      <a:pt x="89194" y="55027"/>
                      <a:pt x="68651" y="57962"/>
                      <a:pt x="51043" y="5796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3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7F286DF1-6C91-42EE-A288-C2745F33FEAF}"/>
                </a:ext>
              </a:extLst>
            </p:cNvPr>
            <p:cNvSpPr/>
            <p:nvPr/>
          </p:nvSpPr>
          <p:spPr>
            <a:xfrm>
              <a:off x="23360493" y="9035869"/>
              <a:ext cx="127065" cy="83245"/>
            </a:xfrm>
            <a:custGeom>
              <a:avLst/>
              <a:gdLst>
                <a:gd name="connsiteX0" fmla="*/ 6332 w 127065"/>
                <a:gd name="connsiteY0" fmla="*/ 74334 h 83245"/>
                <a:gd name="connsiteX1" fmla="*/ 26876 w 127065"/>
                <a:gd name="connsiteY1" fmla="*/ 62595 h 83245"/>
                <a:gd name="connsiteX2" fmla="*/ 79702 w 127065"/>
                <a:gd name="connsiteY2" fmla="*/ 53791 h 83245"/>
                <a:gd name="connsiteX3" fmla="*/ 123723 w 127065"/>
                <a:gd name="connsiteY3" fmla="*/ 83139 h 83245"/>
                <a:gd name="connsiteX4" fmla="*/ 114919 w 127065"/>
                <a:gd name="connsiteY4" fmla="*/ 15639 h 83245"/>
                <a:gd name="connsiteX5" fmla="*/ 23940 w 127065"/>
                <a:gd name="connsiteY5" fmla="*/ 9769 h 83245"/>
                <a:gd name="connsiteX6" fmla="*/ 6332 w 127065"/>
                <a:gd name="connsiteY6" fmla="*/ 74334 h 83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065" h="83245">
                  <a:moveTo>
                    <a:pt x="6332" y="74334"/>
                  </a:moveTo>
                  <a:cubicBezTo>
                    <a:pt x="12202" y="80204"/>
                    <a:pt x="21006" y="65530"/>
                    <a:pt x="26876" y="62595"/>
                  </a:cubicBezTo>
                  <a:cubicBezTo>
                    <a:pt x="44484" y="50856"/>
                    <a:pt x="59158" y="47921"/>
                    <a:pt x="79702" y="53791"/>
                  </a:cubicBezTo>
                  <a:cubicBezTo>
                    <a:pt x="91440" y="56726"/>
                    <a:pt x="111984" y="77269"/>
                    <a:pt x="123723" y="83139"/>
                  </a:cubicBezTo>
                  <a:cubicBezTo>
                    <a:pt x="126658" y="86073"/>
                    <a:pt x="132527" y="27378"/>
                    <a:pt x="114919" y="15639"/>
                  </a:cubicBezTo>
                  <a:cubicBezTo>
                    <a:pt x="94376" y="965"/>
                    <a:pt x="47418" y="-7840"/>
                    <a:pt x="23940" y="9769"/>
                  </a:cubicBezTo>
                  <a:cubicBezTo>
                    <a:pt x="12202" y="18573"/>
                    <a:pt x="-11278" y="62595"/>
                    <a:pt x="6332" y="74334"/>
                  </a:cubicBezTo>
                  <a:close/>
                </a:path>
              </a:pathLst>
            </a:custGeom>
            <a:solidFill>
              <a:srgbClr val="F5A398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BAA1825E-12D1-4B73-B8A5-531028DEA3FC}"/>
                </a:ext>
              </a:extLst>
            </p:cNvPr>
            <p:cNvSpPr/>
            <p:nvPr/>
          </p:nvSpPr>
          <p:spPr>
            <a:xfrm>
              <a:off x="23351600" y="9027533"/>
              <a:ext cx="126745" cy="103214"/>
            </a:xfrm>
            <a:custGeom>
              <a:avLst/>
              <a:gdLst>
                <a:gd name="connsiteX0" fmla="*/ 106202 w 126745"/>
                <a:gd name="connsiteY0" fmla="*/ 103214 h 103214"/>
                <a:gd name="connsiteX1" fmla="*/ 103268 w 126745"/>
                <a:gd name="connsiteY1" fmla="*/ 103214 h 103214"/>
                <a:gd name="connsiteX2" fmla="*/ 82724 w 126745"/>
                <a:gd name="connsiteY2" fmla="*/ 65062 h 103214"/>
                <a:gd name="connsiteX3" fmla="*/ 35768 w 126745"/>
                <a:gd name="connsiteY3" fmla="*/ 79736 h 103214"/>
                <a:gd name="connsiteX4" fmla="*/ 12289 w 126745"/>
                <a:gd name="connsiteY4" fmla="*/ 88541 h 103214"/>
                <a:gd name="connsiteX5" fmla="*/ 551 w 126745"/>
                <a:gd name="connsiteY5" fmla="*/ 76802 h 103214"/>
                <a:gd name="connsiteX6" fmla="*/ 26963 w 126745"/>
                <a:gd name="connsiteY6" fmla="*/ 12236 h 103214"/>
                <a:gd name="connsiteX7" fmla="*/ 123812 w 126745"/>
                <a:gd name="connsiteY7" fmla="*/ 18106 h 103214"/>
                <a:gd name="connsiteX8" fmla="*/ 126746 w 126745"/>
                <a:gd name="connsiteY8" fmla="*/ 26910 h 103214"/>
                <a:gd name="connsiteX9" fmla="*/ 117942 w 126745"/>
                <a:gd name="connsiteY9" fmla="*/ 29845 h 103214"/>
                <a:gd name="connsiteX10" fmla="*/ 32832 w 126745"/>
                <a:gd name="connsiteY10" fmla="*/ 23975 h 103214"/>
                <a:gd name="connsiteX11" fmla="*/ 9355 w 126745"/>
                <a:gd name="connsiteY11" fmla="*/ 76802 h 103214"/>
                <a:gd name="connsiteX12" fmla="*/ 12289 w 126745"/>
                <a:gd name="connsiteY12" fmla="*/ 79736 h 103214"/>
                <a:gd name="connsiteX13" fmla="*/ 26963 w 126745"/>
                <a:gd name="connsiteY13" fmla="*/ 70932 h 103214"/>
                <a:gd name="connsiteX14" fmla="*/ 85658 w 126745"/>
                <a:gd name="connsiteY14" fmla="*/ 56258 h 103214"/>
                <a:gd name="connsiteX15" fmla="*/ 88594 w 126745"/>
                <a:gd name="connsiteY15" fmla="*/ 62128 h 103214"/>
                <a:gd name="connsiteX16" fmla="*/ 103268 w 126745"/>
                <a:gd name="connsiteY16" fmla="*/ 94410 h 103214"/>
                <a:gd name="connsiteX17" fmla="*/ 106202 w 126745"/>
                <a:gd name="connsiteY17" fmla="*/ 103214 h 103214"/>
                <a:gd name="connsiteX18" fmla="*/ 106202 w 126745"/>
                <a:gd name="connsiteY18" fmla="*/ 103214 h 10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6745" h="103214">
                  <a:moveTo>
                    <a:pt x="106202" y="103214"/>
                  </a:moveTo>
                  <a:cubicBezTo>
                    <a:pt x="106202" y="103214"/>
                    <a:pt x="103268" y="103214"/>
                    <a:pt x="103268" y="103214"/>
                  </a:cubicBezTo>
                  <a:cubicBezTo>
                    <a:pt x="88594" y="94410"/>
                    <a:pt x="85658" y="73867"/>
                    <a:pt x="82724" y="65062"/>
                  </a:cubicBezTo>
                  <a:cubicBezTo>
                    <a:pt x="62180" y="59193"/>
                    <a:pt x="50442" y="70932"/>
                    <a:pt x="35768" y="79736"/>
                  </a:cubicBezTo>
                  <a:cubicBezTo>
                    <a:pt x="26963" y="85606"/>
                    <a:pt x="21094" y="91476"/>
                    <a:pt x="12289" y="88541"/>
                  </a:cubicBezTo>
                  <a:cubicBezTo>
                    <a:pt x="6420" y="85606"/>
                    <a:pt x="3485" y="82671"/>
                    <a:pt x="551" y="76802"/>
                  </a:cubicBezTo>
                  <a:cubicBezTo>
                    <a:pt x="-2385" y="62128"/>
                    <a:pt x="6420" y="32780"/>
                    <a:pt x="26963" y="12236"/>
                  </a:cubicBezTo>
                  <a:cubicBezTo>
                    <a:pt x="56310" y="-17112"/>
                    <a:pt x="120876" y="15171"/>
                    <a:pt x="123812" y="18106"/>
                  </a:cubicBezTo>
                  <a:cubicBezTo>
                    <a:pt x="126746" y="18106"/>
                    <a:pt x="126746" y="23975"/>
                    <a:pt x="126746" y="26910"/>
                  </a:cubicBezTo>
                  <a:cubicBezTo>
                    <a:pt x="126746" y="29845"/>
                    <a:pt x="120876" y="29845"/>
                    <a:pt x="117942" y="29845"/>
                  </a:cubicBezTo>
                  <a:cubicBezTo>
                    <a:pt x="100332" y="21040"/>
                    <a:pt x="53376" y="3432"/>
                    <a:pt x="32832" y="23975"/>
                  </a:cubicBezTo>
                  <a:cubicBezTo>
                    <a:pt x="12289" y="41584"/>
                    <a:pt x="6420" y="67997"/>
                    <a:pt x="9355" y="76802"/>
                  </a:cubicBezTo>
                  <a:cubicBezTo>
                    <a:pt x="9355" y="79736"/>
                    <a:pt x="12289" y="79736"/>
                    <a:pt x="12289" y="79736"/>
                  </a:cubicBezTo>
                  <a:cubicBezTo>
                    <a:pt x="15224" y="79736"/>
                    <a:pt x="21094" y="76802"/>
                    <a:pt x="26963" y="70932"/>
                  </a:cubicBezTo>
                  <a:cubicBezTo>
                    <a:pt x="38702" y="62128"/>
                    <a:pt x="59246" y="47454"/>
                    <a:pt x="85658" y="56258"/>
                  </a:cubicBezTo>
                  <a:cubicBezTo>
                    <a:pt x="88594" y="56258"/>
                    <a:pt x="88594" y="59193"/>
                    <a:pt x="88594" y="62128"/>
                  </a:cubicBezTo>
                  <a:cubicBezTo>
                    <a:pt x="88594" y="67997"/>
                    <a:pt x="94464" y="88541"/>
                    <a:pt x="103268" y="94410"/>
                  </a:cubicBezTo>
                  <a:cubicBezTo>
                    <a:pt x="106202" y="97345"/>
                    <a:pt x="106202" y="100280"/>
                    <a:pt x="106202" y="103214"/>
                  </a:cubicBezTo>
                  <a:cubicBezTo>
                    <a:pt x="109138" y="103214"/>
                    <a:pt x="106202" y="103214"/>
                    <a:pt x="106202" y="103214"/>
                  </a:cubicBezTo>
                  <a:close/>
                </a:path>
              </a:pathLst>
            </a:custGeom>
            <a:solidFill>
              <a:srgbClr val="E58777"/>
            </a:solidFill>
            <a:ln w="293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1285463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6" name="图形 1">
            <a:extLst>
              <a:ext uri="{FF2B5EF4-FFF2-40B4-BE49-F238E27FC236}">
                <a16:creationId xmlns:a16="http://schemas.microsoft.com/office/drawing/2014/main" id="{89240D87-D30F-4B24-8EC9-55DDD15DD02D}"/>
              </a:ext>
            </a:extLst>
          </p:cNvPr>
          <p:cNvGrpSpPr/>
          <p:nvPr/>
        </p:nvGrpSpPr>
        <p:grpSpPr>
          <a:xfrm>
            <a:off x="2424112" y="2044975"/>
            <a:ext cx="3585599" cy="4753034"/>
            <a:chOff x="2424112" y="2044975"/>
            <a:chExt cx="3585599" cy="4753034"/>
          </a:xfrm>
        </p:grpSpPr>
        <p:sp>
          <p:nvSpPr>
            <p:cNvPr id="207" name="任意多边形: 形状 206">
              <a:extLst>
                <a:ext uri="{FF2B5EF4-FFF2-40B4-BE49-F238E27FC236}">
                  <a16:creationId xmlns:a16="http://schemas.microsoft.com/office/drawing/2014/main" id="{3DCEB3C4-A8FA-4A01-8029-D32596501CF5}"/>
                </a:ext>
              </a:extLst>
            </p:cNvPr>
            <p:cNvSpPr/>
            <p:nvPr/>
          </p:nvSpPr>
          <p:spPr>
            <a:xfrm>
              <a:off x="4175903" y="3244451"/>
              <a:ext cx="1074722" cy="845498"/>
            </a:xfrm>
            <a:custGeom>
              <a:avLst/>
              <a:gdLst>
                <a:gd name="connsiteX0" fmla="*/ 22494 w 1074722"/>
                <a:gd name="connsiteY0" fmla="*/ 285788 h 845498"/>
                <a:gd name="connsiteX1" fmla="*/ 99637 w 1074722"/>
                <a:gd name="connsiteY1" fmla="*/ 1902 h 845498"/>
                <a:gd name="connsiteX2" fmla="*/ 352665 w 1074722"/>
                <a:gd name="connsiteY2" fmla="*/ 291959 h 845498"/>
                <a:gd name="connsiteX3" fmla="*/ 503865 w 1074722"/>
                <a:gd name="connsiteY3" fmla="*/ 594359 h 845498"/>
                <a:gd name="connsiteX4" fmla="*/ 1068551 w 1074722"/>
                <a:gd name="connsiteY4" fmla="*/ 557331 h 845498"/>
                <a:gd name="connsiteX5" fmla="*/ 1074723 w 1074722"/>
                <a:gd name="connsiteY5" fmla="*/ 696188 h 845498"/>
                <a:gd name="connsiteX6" fmla="*/ 374266 w 1074722"/>
                <a:gd name="connsiteY6" fmla="*/ 841216 h 845498"/>
                <a:gd name="connsiteX7" fmla="*/ 22494 w 1074722"/>
                <a:gd name="connsiteY7" fmla="*/ 285788 h 845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4722" h="845498">
                  <a:moveTo>
                    <a:pt x="22494" y="285788"/>
                  </a:moveTo>
                  <a:cubicBezTo>
                    <a:pt x="-33049" y="146931"/>
                    <a:pt x="22494" y="-19698"/>
                    <a:pt x="99637" y="1902"/>
                  </a:cubicBezTo>
                  <a:cubicBezTo>
                    <a:pt x="189123" y="26588"/>
                    <a:pt x="294037" y="122245"/>
                    <a:pt x="352665" y="291959"/>
                  </a:cubicBezTo>
                  <a:cubicBezTo>
                    <a:pt x="386608" y="390702"/>
                    <a:pt x="485351" y="597445"/>
                    <a:pt x="503865" y="594359"/>
                  </a:cubicBezTo>
                  <a:cubicBezTo>
                    <a:pt x="510037" y="594359"/>
                    <a:pt x="1068551" y="557331"/>
                    <a:pt x="1068551" y="557331"/>
                  </a:cubicBezTo>
                  <a:cubicBezTo>
                    <a:pt x="1068551" y="619045"/>
                    <a:pt x="1074723" y="696188"/>
                    <a:pt x="1074723" y="696188"/>
                  </a:cubicBezTo>
                  <a:cubicBezTo>
                    <a:pt x="1074723" y="696188"/>
                    <a:pt x="454494" y="875159"/>
                    <a:pt x="374266" y="841216"/>
                  </a:cubicBezTo>
                  <a:cubicBezTo>
                    <a:pt x="272437" y="801102"/>
                    <a:pt x="90380" y="458588"/>
                    <a:pt x="22494" y="285788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08" name="图形 1">
              <a:extLst>
                <a:ext uri="{FF2B5EF4-FFF2-40B4-BE49-F238E27FC236}">
                  <a16:creationId xmlns:a16="http://schemas.microsoft.com/office/drawing/2014/main" id="{89240D87-D30F-4B24-8EC9-55DDD15DD02D}"/>
                </a:ext>
              </a:extLst>
            </p:cNvPr>
            <p:cNvGrpSpPr/>
            <p:nvPr/>
          </p:nvGrpSpPr>
          <p:grpSpPr>
            <a:xfrm>
              <a:off x="4023540" y="6415382"/>
              <a:ext cx="501942" cy="333257"/>
              <a:chOff x="4023540" y="6415382"/>
              <a:chExt cx="501942" cy="333257"/>
            </a:xfrm>
          </p:grpSpPr>
          <p:sp>
            <p:nvSpPr>
              <p:cNvPr id="209" name="任意多边形: 形状 208">
                <a:extLst>
                  <a:ext uri="{FF2B5EF4-FFF2-40B4-BE49-F238E27FC236}">
                    <a16:creationId xmlns:a16="http://schemas.microsoft.com/office/drawing/2014/main" id="{215D3225-63A7-4D4B-AA72-CB29AB642FF8}"/>
                  </a:ext>
                </a:extLst>
              </p:cNvPr>
              <p:cNvSpPr/>
              <p:nvPr/>
            </p:nvSpPr>
            <p:spPr>
              <a:xfrm>
                <a:off x="4031769" y="6415382"/>
                <a:ext cx="209828" cy="225257"/>
              </a:xfrm>
              <a:custGeom>
                <a:avLst/>
                <a:gdLst>
                  <a:gd name="connsiteX0" fmla="*/ 0 w 209828"/>
                  <a:gd name="connsiteY0" fmla="*/ 188228 h 225257"/>
                  <a:gd name="connsiteX1" fmla="*/ 24686 w 209828"/>
                  <a:gd name="connsiteY1" fmla="*/ 0 h 225257"/>
                  <a:gd name="connsiteX2" fmla="*/ 209829 w 209828"/>
                  <a:gd name="connsiteY2" fmla="*/ 0 h 225257"/>
                  <a:gd name="connsiteX3" fmla="*/ 166629 w 209828"/>
                  <a:gd name="connsiteY3" fmla="*/ 197486 h 225257"/>
                  <a:gd name="connsiteX4" fmla="*/ 12343 w 209828"/>
                  <a:gd name="connsiteY4" fmla="*/ 225257 h 225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828" h="225257">
                    <a:moveTo>
                      <a:pt x="0" y="188228"/>
                    </a:moveTo>
                    <a:lnTo>
                      <a:pt x="24686" y="0"/>
                    </a:lnTo>
                    <a:lnTo>
                      <a:pt x="209829" y="0"/>
                    </a:lnTo>
                    <a:lnTo>
                      <a:pt x="166629" y="197486"/>
                    </a:lnTo>
                    <a:lnTo>
                      <a:pt x="12343" y="225257"/>
                    </a:ln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0" name="任意多边形: 形状 209">
                <a:extLst>
                  <a:ext uri="{FF2B5EF4-FFF2-40B4-BE49-F238E27FC236}">
                    <a16:creationId xmlns:a16="http://schemas.microsoft.com/office/drawing/2014/main" id="{4917FF31-9103-4BAA-99CC-9FEA59C77744}"/>
                  </a:ext>
                </a:extLst>
              </p:cNvPr>
              <p:cNvSpPr/>
              <p:nvPr/>
            </p:nvSpPr>
            <p:spPr>
              <a:xfrm>
                <a:off x="4023540" y="6541896"/>
                <a:ext cx="501942" cy="160457"/>
              </a:xfrm>
              <a:custGeom>
                <a:avLst/>
                <a:gdLst>
                  <a:gd name="connsiteX0" fmla="*/ 8229 w 501942"/>
                  <a:gd name="connsiteY0" fmla="*/ 46286 h 160457"/>
                  <a:gd name="connsiteX1" fmla="*/ 196457 w 501942"/>
                  <a:gd name="connsiteY1" fmla="*/ 0 h 160457"/>
                  <a:gd name="connsiteX2" fmla="*/ 332229 w 501942"/>
                  <a:gd name="connsiteY2" fmla="*/ 80229 h 160457"/>
                  <a:gd name="connsiteX3" fmla="*/ 501943 w 501942"/>
                  <a:gd name="connsiteY3" fmla="*/ 160458 h 160457"/>
                  <a:gd name="connsiteX4" fmla="*/ 8229 w 501942"/>
                  <a:gd name="connsiteY4" fmla="*/ 160458 h 160457"/>
                  <a:gd name="connsiteX5" fmla="*/ 8229 w 501942"/>
                  <a:gd name="connsiteY5" fmla="*/ 46286 h 160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942" h="160457">
                    <a:moveTo>
                      <a:pt x="8229" y="46286"/>
                    </a:moveTo>
                    <a:cubicBezTo>
                      <a:pt x="8229" y="46286"/>
                      <a:pt x="134743" y="64800"/>
                      <a:pt x="196457" y="0"/>
                    </a:cubicBezTo>
                    <a:cubicBezTo>
                      <a:pt x="196457" y="0"/>
                      <a:pt x="285943" y="70972"/>
                      <a:pt x="332229" y="80229"/>
                    </a:cubicBezTo>
                    <a:cubicBezTo>
                      <a:pt x="378514" y="89486"/>
                      <a:pt x="489600" y="86400"/>
                      <a:pt x="501943" y="160458"/>
                    </a:cubicBezTo>
                    <a:lnTo>
                      <a:pt x="8229" y="160458"/>
                    </a:lnTo>
                    <a:cubicBezTo>
                      <a:pt x="8229" y="160458"/>
                      <a:pt x="-10286" y="98743"/>
                      <a:pt x="8229" y="4628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1" name="任意多边形: 形状 210">
                <a:extLst>
                  <a:ext uri="{FF2B5EF4-FFF2-40B4-BE49-F238E27FC236}">
                    <a16:creationId xmlns:a16="http://schemas.microsoft.com/office/drawing/2014/main" id="{F040B49C-3A51-47E8-B489-CA0789D9A983}"/>
                  </a:ext>
                </a:extLst>
              </p:cNvPr>
              <p:cNvSpPr/>
              <p:nvPr/>
            </p:nvSpPr>
            <p:spPr>
              <a:xfrm>
                <a:off x="4031769" y="6702353"/>
                <a:ext cx="493714" cy="46285"/>
              </a:xfrm>
              <a:custGeom>
                <a:avLst/>
                <a:gdLst>
                  <a:gd name="connsiteX0" fmla="*/ 0 w 493714"/>
                  <a:gd name="connsiteY0" fmla="*/ 0 h 46285"/>
                  <a:gd name="connsiteX1" fmla="*/ 493714 w 493714"/>
                  <a:gd name="connsiteY1" fmla="*/ 0 h 46285"/>
                  <a:gd name="connsiteX2" fmla="*/ 493714 w 493714"/>
                  <a:gd name="connsiteY2" fmla="*/ 46286 h 46285"/>
                  <a:gd name="connsiteX3" fmla="*/ 0 w 493714"/>
                  <a:gd name="connsiteY3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714" h="46285">
                    <a:moveTo>
                      <a:pt x="0" y="0"/>
                    </a:moveTo>
                    <a:lnTo>
                      <a:pt x="493714" y="0"/>
                    </a:lnTo>
                    <a:lnTo>
                      <a:pt x="493714" y="46286"/>
                    </a:lnTo>
                    <a:lnTo>
                      <a:pt x="0" y="46286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2" name="任意多边形: 形状 211">
                <a:extLst>
                  <a:ext uri="{FF2B5EF4-FFF2-40B4-BE49-F238E27FC236}">
                    <a16:creationId xmlns:a16="http://schemas.microsoft.com/office/drawing/2014/main" id="{4D7F434B-F8E8-4C18-B7B7-BEDC8B2BBEDD}"/>
                  </a:ext>
                </a:extLst>
              </p:cNvPr>
              <p:cNvSpPr/>
              <p:nvPr/>
            </p:nvSpPr>
            <p:spPr>
              <a:xfrm>
                <a:off x="4025597" y="6533410"/>
                <a:ext cx="202885" cy="64028"/>
              </a:xfrm>
              <a:custGeom>
                <a:avLst/>
                <a:gdLst>
                  <a:gd name="connsiteX0" fmla="*/ 43200 w 202885"/>
                  <a:gd name="connsiteY0" fmla="*/ 64028 h 64028"/>
                  <a:gd name="connsiteX1" fmla="*/ 6171 w 202885"/>
                  <a:gd name="connsiteY1" fmla="*/ 60943 h 64028"/>
                  <a:gd name="connsiteX2" fmla="*/ 0 w 202885"/>
                  <a:gd name="connsiteY2" fmla="*/ 54771 h 64028"/>
                  <a:gd name="connsiteX3" fmla="*/ 6171 w 202885"/>
                  <a:gd name="connsiteY3" fmla="*/ 48600 h 64028"/>
                  <a:gd name="connsiteX4" fmla="*/ 191314 w 202885"/>
                  <a:gd name="connsiteY4" fmla="*/ 2314 h 64028"/>
                  <a:gd name="connsiteX5" fmla="*/ 200571 w 202885"/>
                  <a:gd name="connsiteY5" fmla="*/ 2314 h 64028"/>
                  <a:gd name="connsiteX6" fmla="*/ 200571 w 202885"/>
                  <a:gd name="connsiteY6" fmla="*/ 11571 h 64028"/>
                  <a:gd name="connsiteX7" fmla="*/ 43200 w 202885"/>
                  <a:gd name="connsiteY7" fmla="*/ 64028 h 6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885" h="64028">
                    <a:moveTo>
                      <a:pt x="43200" y="64028"/>
                    </a:moveTo>
                    <a:cubicBezTo>
                      <a:pt x="21600" y="64028"/>
                      <a:pt x="9257" y="60943"/>
                      <a:pt x="6171" y="60943"/>
                    </a:cubicBezTo>
                    <a:cubicBezTo>
                      <a:pt x="3086" y="60943"/>
                      <a:pt x="0" y="57857"/>
                      <a:pt x="0" y="54771"/>
                    </a:cubicBezTo>
                    <a:cubicBezTo>
                      <a:pt x="0" y="51686"/>
                      <a:pt x="3086" y="48600"/>
                      <a:pt x="6171" y="48600"/>
                    </a:cubicBezTo>
                    <a:cubicBezTo>
                      <a:pt x="6171" y="48600"/>
                      <a:pt x="120343" y="64028"/>
                      <a:pt x="191314" y="2314"/>
                    </a:cubicBezTo>
                    <a:cubicBezTo>
                      <a:pt x="194400" y="-771"/>
                      <a:pt x="197486" y="-771"/>
                      <a:pt x="200571" y="2314"/>
                    </a:cubicBezTo>
                    <a:cubicBezTo>
                      <a:pt x="203657" y="5400"/>
                      <a:pt x="203657" y="8485"/>
                      <a:pt x="200571" y="11571"/>
                    </a:cubicBezTo>
                    <a:cubicBezTo>
                      <a:pt x="151200" y="57857"/>
                      <a:pt x="83314" y="64028"/>
                      <a:pt x="43200" y="640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3" name="任意多边形: 形状 212">
                <a:extLst>
                  <a:ext uri="{FF2B5EF4-FFF2-40B4-BE49-F238E27FC236}">
                    <a16:creationId xmlns:a16="http://schemas.microsoft.com/office/drawing/2014/main" id="{2061FF9E-FDCB-41C0-AE38-AB2DB76737ED}"/>
                  </a:ext>
                </a:extLst>
              </p:cNvPr>
              <p:cNvSpPr/>
              <p:nvPr/>
            </p:nvSpPr>
            <p:spPr>
              <a:xfrm>
                <a:off x="4223854" y="6558096"/>
                <a:ext cx="41657" cy="42428"/>
              </a:xfrm>
              <a:custGeom>
                <a:avLst/>
                <a:gdLst>
                  <a:gd name="connsiteX0" fmla="*/ 5400 w 41657"/>
                  <a:gd name="connsiteY0" fmla="*/ 42429 h 42428"/>
                  <a:gd name="connsiteX1" fmla="*/ 2314 w 41657"/>
                  <a:gd name="connsiteY1" fmla="*/ 39343 h 42428"/>
                  <a:gd name="connsiteX2" fmla="*/ 2314 w 41657"/>
                  <a:gd name="connsiteY2" fmla="*/ 30086 h 42428"/>
                  <a:gd name="connsiteX3" fmla="*/ 30086 w 41657"/>
                  <a:gd name="connsiteY3" fmla="*/ 2314 h 42428"/>
                  <a:gd name="connsiteX4" fmla="*/ 39343 w 41657"/>
                  <a:gd name="connsiteY4" fmla="*/ 2314 h 42428"/>
                  <a:gd name="connsiteX5" fmla="*/ 39343 w 41657"/>
                  <a:gd name="connsiteY5" fmla="*/ 11572 h 42428"/>
                  <a:gd name="connsiteX6" fmla="*/ 11571 w 41657"/>
                  <a:gd name="connsiteY6" fmla="*/ 39343 h 42428"/>
                  <a:gd name="connsiteX7" fmla="*/ 5400 w 41657"/>
                  <a:gd name="connsiteY7" fmla="*/ 42429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7" h="42428">
                    <a:moveTo>
                      <a:pt x="5400" y="42429"/>
                    </a:moveTo>
                    <a:cubicBezTo>
                      <a:pt x="5400" y="42429"/>
                      <a:pt x="2314" y="42429"/>
                      <a:pt x="2314" y="39343"/>
                    </a:cubicBezTo>
                    <a:cubicBezTo>
                      <a:pt x="-771" y="36257"/>
                      <a:pt x="-771" y="33172"/>
                      <a:pt x="2314" y="30086"/>
                    </a:cubicBezTo>
                    <a:lnTo>
                      <a:pt x="30086" y="2314"/>
                    </a:lnTo>
                    <a:cubicBezTo>
                      <a:pt x="33171" y="-771"/>
                      <a:pt x="36257" y="-771"/>
                      <a:pt x="39343" y="2314"/>
                    </a:cubicBezTo>
                    <a:cubicBezTo>
                      <a:pt x="42429" y="5400"/>
                      <a:pt x="42429" y="8486"/>
                      <a:pt x="39343" y="11572"/>
                    </a:cubicBezTo>
                    <a:lnTo>
                      <a:pt x="11571" y="39343"/>
                    </a:lnTo>
                    <a:cubicBezTo>
                      <a:pt x="8486" y="42429"/>
                      <a:pt x="8486" y="42429"/>
                      <a:pt x="5400" y="424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4" name="任意多边形: 形状 213">
                <a:extLst>
                  <a:ext uri="{FF2B5EF4-FFF2-40B4-BE49-F238E27FC236}">
                    <a16:creationId xmlns:a16="http://schemas.microsoft.com/office/drawing/2014/main" id="{752E484E-51EE-457B-8E10-3D64CC47E766}"/>
                  </a:ext>
                </a:extLst>
              </p:cNvPr>
              <p:cNvSpPr/>
              <p:nvPr/>
            </p:nvSpPr>
            <p:spPr>
              <a:xfrm>
                <a:off x="4263969" y="6585867"/>
                <a:ext cx="38571" cy="42428"/>
              </a:xfrm>
              <a:custGeom>
                <a:avLst/>
                <a:gdLst>
                  <a:gd name="connsiteX0" fmla="*/ 5400 w 38571"/>
                  <a:gd name="connsiteY0" fmla="*/ 42428 h 42428"/>
                  <a:gd name="connsiteX1" fmla="*/ 2314 w 38571"/>
                  <a:gd name="connsiteY1" fmla="*/ 39343 h 42428"/>
                  <a:gd name="connsiteX2" fmla="*/ 2314 w 38571"/>
                  <a:gd name="connsiteY2" fmla="*/ 30086 h 42428"/>
                  <a:gd name="connsiteX3" fmla="*/ 27000 w 38571"/>
                  <a:gd name="connsiteY3" fmla="*/ 2314 h 42428"/>
                  <a:gd name="connsiteX4" fmla="*/ 36257 w 38571"/>
                  <a:gd name="connsiteY4" fmla="*/ 2314 h 42428"/>
                  <a:gd name="connsiteX5" fmla="*/ 36257 w 38571"/>
                  <a:gd name="connsiteY5" fmla="*/ 11571 h 42428"/>
                  <a:gd name="connsiteX6" fmla="*/ 11571 w 38571"/>
                  <a:gd name="connsiteY6" fmla="*/ 39343 h 42428"/>
                  <a:gd name="connsiteX7" fmla="*/ 5400 w 38571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571" h="42428">
                    <a:moveTo>
                      <a:pt x="5400" y="42428"/>
                    </a:moveTo>
                    <a:cubicBezTo>
                      <a:pt x="5400" y="42428"/>
                      <a:pt x="2314" y="42428"/>
                      <a:pt x="2314" y="39343"/>
                    </a:cubicBezTo>
                    <a:cubicBezTo>
                      <a:pt x="-771" y="36257"/>
                      <a:pt x="-771" y="33171"/>
                      <a:pt x="2314" y="30086"/>
                    </a:cubicBezTo>
                    <a:lnTo>
                      <a:pt x="27000" y="2314"/>
                    </a:lnTo>
                    <a:cubicBezTo>
                      <a:pt x="30086" y="-771"/>
                      <a:pt x="33171" y="-771"/>
                      <a:pt x="36257" y="2314"/>
                    </a:cubicBezTo>
                    <a:cubicBezTo>
                      <a:pt x="39343" y="5400"/>
                      <a:pt x="39343" y="8486"/>
                      <a:pt x="36257" y="11571"/>
                    </a:cubicBezTo>
                    <a:lnTo>
                      <a:pt x="11571" y="39343"/>
                    </a:lnTo>
                    <a:cubicBezTo>
                      <a:pt x="8486" y="42428"/>
                      <a:pt x="5400" y="42428"/>
                      <a:pt x="5400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15" name="图形 1">
              <a:extLst>
                <a:ext uri="{FF2B5EF4-FFF2-40B4-BE49-F238E27FC236}">
                  <a16:creationId xmlns:a16="http://schemas.microsoft.com/office/drawing/2014/main" id="{89240D87-D30F-4B24-8EC9-55DDD15DD02D}"/>
                </a:ext>
              </a:extLst>
            </p:cNvPr>
            <p:cNvGrpSpPr/>
            <p:nvPr/>
          </p:nvGrpSpPr>
          <p:grpSpPr>
            <a:xfrm>
              <a:off x="2424112" y="6276525"/>
              <a:ext cx="394971" cy="475199"/>
              <a:chOff x="2424112" y="6276525"/>
              <a:chExt cx="394971" cy="475199"/>
            </a:xfrm>
          </p:grpSpPr>
          <p:sp>
            <p:nvSpPr>
              <p:cNvPr id="216" name="任意多边形: 形状 215">
                <a:extLst>
                  <a:ext uri="{FF2B5EF4-FFF2-40B4-BE49-F238E27FC236}">
                    <a16:creationId xmlns:a16="http://schemas.microsoft.com/office/drawing/2014/main" id="{85F855B2-3466-4121-82DE-341A0D0D6617}"/>
                  </a:ext>
                </a:extLst>
              </p:cNvPr>
              <p:cNvSpPr/>
              <p:nvPr/>
            </p:nvSpPr>
            <p:spPr>
              <a:xfrm>
                <a:off x="2525940" y="6276525"/>
                <a:ext cx="293142" cy="262285"/>
              </a:xfrm>
              <a:custGeom>
                <a:avLst/>
                <a:gdLst>
                  <a:gd name="connsiteX0" fmla="*/ 27771 w 293142"/>
                  <a:gd name="connsiteY0" fmla="*/ 111085 h 262285"/>
                  <a:gd name="connsiteX1" fmla="*/ 178971 w 293142"/>
                  <a:gd name="connsiteY1" fmla="*/ 0 h 262285"/>
                  <a:gd name="connsiteX2" fmla="*/ 293143 w 293142"/>
                  <a:gd name="connsiteY2" fmla="*/ 151200 h 262285"/>
                  <a:gd name="connsiteX3" fmla="*/ 98743 w 293142"/>
                  <a:gd name="connsiteY3" fmla="*/ 262286 h 262285"/>
                  <a:gd name="connsiteX4" fmla="*/ 0 w 293142"/>
                  <a:gd name="connsiteY4" fmla="*/ 141943 h 262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3142" h="262285">
                    <a:moveTo>
                      <a:pt x="27771" y="111085"/>
                    </a:moveTo>
                    <a:lnTo>
                      <a:pt x="178971" y="0"/>
                    </a:lnTo>
                    <a:lnTo>
                      <a:pt x="293143" y="151200"/>
                    </a:lnTo>
                    <a:lnTo>
                      <a:pt x="98743" y="262286"/>
                    </a:lnTo>
                    <a:lnTo>
                      <a:pt x="0" y="141943"/>
                    </a:ln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7" name="任意多边形: 形状 216">
                <a:extLst>
                  <a:ext uri="{FF2B5EF4-FFF2-40B4-BE49-F238E27FC236}">
                    <a16:creationId xmlns:a16="http://schemas.microsoft.com/office/drawing/2014/main" id="{5C9D1D0B-0BD6-4106-92E2-367CE701F02D}"/>
                  </a:ext>
                </a:extLst>
              </p:cNvPr>
              <p:cNvSpPr/>
              <p:nvPr/>
            </p:nvSpPr>
            <p:spPr>
              <a:xfrm>
                <a:off x="2461140" y="6375267"/>
                <a:ext cx="249942" cy="360685"/>
              </a:xfrm>
              <a:custGeom>
                <a:avLst/>
                <a:gdLst>
                  <a:gd name="connsiteX0" fmla="*/ 101829 w 249942"/>
                  <a:gd name="connsiteY0" fmla="*/ 0 h 360685"/>
                  <a:gd name="connsiteX1" fmla="*/ 234514 w 249942"/>
                  <a:gd name="connsiteY1" fmla="*/ 141943 h 360685"/>
                  <a:gd name="connsiteX2" fmla="*/ 228343 w 249942"/>
                  <a:gd name="connsiteY2" fmla="*/ 299314 h 360685"/>
                  <a:gd name="connsiteX3" fmla="*/ 249943 w 249942"/>
                  <a:gd name="connsiteY3" fmla="*/ 357943 h 360685"/>
                  <a:gd name="connsiteX4" fmla="*/ 169714 w 249942"/>
                  <a:gd name="connsiteY4" fmla="*/ 357943 h 360685"/>
                  <a:gd name="connsiteX5" fmla="*/ 0 w 249942"/>
                  <a:gd name="connsiteY5" fmla="*/ 55543 h 360685"/>
                  <a:gd name="connsiteX6" fmla="*/ 101829 w 249942"/>
                  <a:gd name="connsiteY6" fmla="*/ 0 h 360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9942" h="360685">
                    <a:moveTo>
                      <a:pt x="101829" y="0"/>
                    </a:moveTo>
                    <a:cubicBezTo>
                      <a:pt x="101829" y="0"/>
                      <a:pt x="148114" y="120343"/>
                      <a:pt x="234514" y="141943"/>
                    </a:cubicBezTo>
                    <a:cubicBezTo>
                      <a:pt x="234514" y="141943"/>
                      <a:pt x="216000" y="256114"/>
                      <a:pt x="228343" y="299314"/>
                    </a:cubicBezTo>
                    <a:cubicBezTo>
                      <a:pt x="234514" y="314743"/>
                      <a:pt x="243771" y="336343"/>
                      <a:pt x="249943" y="357943"/>
                    </a:cubicBezTo>
                    <a:cubicBezTo>
                      <a:pt x="209829" y="364114"/>
                      <a:pt x="169714" y="357943"/>
                      <a:pt x="169714" y="357943"/>
                    </a:cubicBezTo>
                    <a:lnTo>
                      <a:pt x="0" y="55543"/>
                    </a:lnTo>
                    <a:cubicBezTo>
                      <a:pt x="3086" y="55543"/>
                      <a:pt x="49371" y="9257"/>
                      <a:pt x="101829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8" name="任意多边形: 形状 217">
                <a:extLst>
                  <a:ext uri="{FF2B5EF4-FFF2-40B4-BE49-F238E27FC236}">
                    <a16:creationId xmlns:a16="http://schemas.microsoft.com/office/drawing/2014/main" id="{5EC54495-C96A-4920-BEFC-24341F3B811C}"/>
                  </a:ext>
                </a:extLst>
              </p:cNvPr>
              <p:cNvSpPr/>
              <p:nvPr/>
            </p:nvSpPr>
            <p:spPr>
              <a:xfrm>
                <a:off x="2424112" y="6430810"/>
                <a:ext cx="219085" cy="320914"/>
              </a:xfrm>
              <a:custGeom>
                <a:avLst/>
                <a:gdLst>
                  <a:gd name="connsiteX0" fmla="*/ 219086 w 219085"/>
                  <a:gd name="connsiteY0" fmla="*/ 320914 h 320914"/>
                  <a:gd name="connsiteX1" fmla="*/ 40114 w 219085"/>
                  <a:gd name="connsiteY1" fmla="*/ 0 h 320914"/>
                  <a:gd name="connsiteX2" fmla="*/ 0 w 219085"/>
                  <a:gd name="connsiteY2" fmla="*/ 24686 h 320914"/>
                  <a:gd name="connsiteX3" fmla="*/ 166629 w 219085"/>
                  <a:gd name="connsiteY3" fmla="*/ 320914 h 320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9085" h="320914">
                    <a:moveTo>
                      <a:pt x="219086" y="320914"/>
                    </a:moveTo>
                    <a:lnTo>
                      <a:pt x="40114" y="0"/>
                    </a:lnTo>
                    <a:lnTo>
                      <a:pt x="0" y="24686"/>
                    </a:lnTo>
                    <a:lnTo>
                      <a:pt x="166629" y="320914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9" name="任意多边形: 形状 218">
                <a:extLst>
                  <a:ext uri="{FF2B5EF4-FFF2-40B4-BE49-F238E27FC236}">
                    <a16:creationId xmlns:a16="http://schemas.microsoft.com/office/drawing/2014/main" id="{BE64FCEE-F98B-4FB9-BB4E-D5F3998ED571}"/>
                  </a:ext>
                </a:extLst>
              </p:cNvPr>
              <p:cNvSpPr/>
              <p:nvPr/>
            </p:nvSpPr>
            <p:spPr>
              <a:xfrm>
                <a:off x="2556797" y="6372181"/>
                <a:ext cx="143220" cy="151200"/>
              </a:xfrm>
              <a:custGeom>
                <a:avLst/>
                <a:gdLst>
                  <a:gd name="connsiteX0" fmla="*/ 138857 w 143220"/>
                  <a:gd name="connsiteY0" fmla="*/ 151200 h 151200"/>
                  <a:gd name="connsiteX1" fmla="*/ 138857 w 143220"/>
                  <a:gd name="connsiteY1" fmla="*/ 151200 h 151200"/>
                  <a:gd name="connsiteX2" fmla="*/ 0 w 143220"/>
                  <a:gd name="connsiteY2" fmla="*/ 6172 h 151200"/>
                  <a:gd name="connsiteX3" fmla="*/ 3086 w 143220"/>
                  <a:gd name="connsiteY3" fmla="*/ 0 h 151200"/>
                  <a:gd name="connsiteX4" fmla="*/ 9257 w 143220"/>
                  <a:gd name="connsiteY4" fmla="*/ 3086 h 151200"/>
                  <a:gd name="connsiteX5" fmla="*/ 138857 w 143220"/>
                  <a:gd name="connsiteY5" fmla="*/ 141943 h 151200"/>
                  <a:gd name="connsiteX6" fmla="*/ 141943 w 143220"/>
                  <a:gd name="connsiteY6" fmla="*/ 148114 h 151200"/>
                  <a:gd name="connsiteX7" fmla="*/ 138857 w 143220"/>
                  <a:gd name="connsiteY7" fmla="*/ 151200 h 15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220" h="151200">
                    <a:moveTo>
                      <a:pt x="138857" y="151200"/>
                    </a:moveTo>
                    <a:cubicBezTo>
                      <a:pt x="138857" y="151200"/>
                      <a:pt x="138857" y="151200"/>
                      <a:pt x="138857" y="151200"/>
                    </a:cubicBezTo>
                    <a:cubicBezTo>
                      <a:pt x="43200" y="120343"/>
                      <a:pt x="3086" y="12343"/>
                      <a:pt x="0" y="6172"/>
                    </a:cubicBezTo>
                    <a:cubicBezTo>
                      <a:pt x="0" y="3086"/>
                      <a:pt x="0" y="0"/>
                      <a:pt x="3086" y="0"/>
                    </a:cubicBezTo>
                    <a:cubicBezTo>
                      <a:pt x="6171" y="0"/>
                      <a:pt x="9257" y="0"/>
                      <a:pt x="9257" y="3086"/>
                    </a:cubicBezTo>
                    <a:cubicBezTo>
                      <a:pt x="9257" y="3086"/>
                      <a:pt x="52457" y="111086"/>
                      <a:pt x="138857" y="141943"/>
                    </a:cubicBezTo>
                    <a:cubicBezTo>
                      <a:pt x="141943" y="141943"/>
                      <a:pt x="141943" y="145029"/>
                      <a:pt x="141943" y="148114"/>
                    </a:cubicBezTo>
                    <a:cubicBezTo>
                      <a:pt x="145029" y="151200"/>
                      <a:pt x="141943" y="151200"/>
                      <a:pt x="138857" y="1512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0" name="任意多边形: 形状 219">
                <a:extLst>
                  <a:ext uri="{FF2B5EF4-FFF2-40B4-BE49-F238E27FC236}">
                    <a16:creationId xmlns:a16="http://schemas.microsoft.com/office/drawing/2014/main" id="{09A7C18E-0C8D-4475-B708-7A585B6C7D6A}"/>
                  </a:ext>
                </a:extLst>
              </p:cNvPr>
              <p:cNvSpPr/>
              <p:nvPr/>
            </p:nvSpPr>
            <p:spPr>
              <a:xfrm>
                <a:off x="2648090" y="6546789"/>
                <a:ext cx="48842" cy="19792"/>
              </a:xfrm>
              <a:custGeom>
                <a:avLst/>
                <a:gdLst>
                  <a:gd name="connsiteX0" fmla="*/ 41392 w 48842"/>
                  <a:gd name="connsiteY0" fmla="*/ 19792 h 19792"/>
                  <a:gd name="connsiteX1" fmla="*/ 41392 w 48842"/>
                  <a:gd name="connsiteY1" fmla="*/ 19792 h 19792"/>
                  <a:gd name="connsiteX2" fmla="*/ 4364 w 48842"/>
                  <a:gd name="connsiteY2" fmla="*/ 10535 h 19792"/>
                  <a:gd name="connsiteX3" fmla="*/ 1278 w 48842"/>
                  <a:gd name="connsiteY3" fmla="*/ 4364 h 19792"/>
                  <a:gd name="connsiteX4" fmla="*/ 7450 w 48842"/>
                  <a:gd name="connsiteY4" fmla="*/ 1278 h 19792"/>
                  <a:gd name="connsiteX5" fmla="*/ 44478 w 48842"/>
                  <a:gd name="connsiteY5" fmla="*/ 10535 h 19792"/>
                  <a:gd name="connsiteX6" fmla="*/ 47564 w 48842"/>
                  <a:gd name="connsiteY6" fmla="*/ 16707 h 19792"/>
                  <a:gd name="connsiteX7" fmla="*/ 41392 w 48842"/>
                  <a:gd name="connsiteY7" fmla="*/ 19792 h 19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842" h="19792">
                    <a:moveTo>
                      <a:pt x="41392" y="19792"/>
                    </a:moveTo>
                    <a:cubicBezTo>
                      <a:pt x="41392" y="19792"/>
                      <a:pt x="41392" y="19792"/>
                      <a:pt x="41392" y="19792"/>
                    </a:cubicBezTo>
                    <a:lnTo>
                      <a:pt x="4364" y="10535"/>
                    </a:lnTo>
                    <a:cubicBezTo>
                      <a:pt x="1278" y="10535"/>
                      <a:pt x="-1808" y="7450"/>
                      <a:pt x="1278" y="4364"/>
                    </a:cubicBezTo>
                    <a:cubicBezTo>
                      <a:pt x="1278" y="1278"/>
                      <a:pt x="4364" y="-1808"/>
                      <a:pt x="7450" y="1278"/>
                    </a:cubicBezTo>
                    <a:lnTo>
                      <a:pt x="44478" y="10535"/>
                    </a:lnTo>
                    <a:cubicBezTo>
                      <a:pt x="47564" y="10535"/>
                      <a:pt x="50650" y="13621"/>
                      <a:pt x="47564" y="16707"/>
                    </a:cubicBezTo>
                    <a:cubicBezTo>
                      <a:pt x="47564" y="19792"/>
                      <a:pt x="44478" y="19792"/>
                      <a:pt x="41392" y="1979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1" name="任意多边形: 形状 220">
                <a:extLst>
                  <a:ext uri="{FF2B5EF4-FFF2-40B4-BE49-F238E27FC236}">
                    <a16:creationId xmlns:a16="http://schemas.microsoft.com/office/drawing/2014/main" id="{B48408D8-825B-4B59-B634-401A44B885CD}"/>
                  </a:ext>
                </a:extLst>
              </p:cNvPr>
              <p:cNvSpPr/>
              <p:nvPr/>
            </p:nvSpPr>
            <p:spPr>
              <a:xfrm>
                <a:off x="2645005" y="6596161"/>
                <a:ext cx="48842" cy="19792"/>
              </a:xfrm>
              <a:custGeom>
                <a:avLst/>
                <a:gdLst>
                  <a:gd name="connsiteX0" fmla="*/ 41392 w 48842"/>
                  <a:gd name="connsiteY0" fmla="*/ 19792 h 19792"/>
                  <a:gd name="connsiteX1" fmla="*/ 41392 w 48842"/>
                  <a:gd name="connsiteY1" fmla="*/ 19792 h 19792"/>
                  <a:gd name="connsiteX2" fmla="*/ 4364 w 48842"/>
                  <a:gd name="connsiteY2" fmla="*/ 10535 h 19792"/>
                  <a:gd name="connsiteX3" fmla="*/ 1278 w 48842"/>
                  <a:gd name="connsiteY3" fmla="*/ 4364 h 19792"/>
                  <a:gd name="connsiteX4" fmla="*/ 7450 w 48842"/>
                  <a:gd name="connsiteY4" fmla="*/ 1278 h 19792"/>
                  <a:gd name="connsiteX5" fmla="*/ 44478 w 48842"/>
                  <a:gd name="connsiteY5" fmla="*/ 10535 h 19792"/>
                  <a:gd name="connsiteX6" fmla="*/ 47564 w 48842"/>
                  <a:gd name="connsiteY6" fmla="*/ 16707 h 19792"/>
                  <a:gd name="connsiteX7" fmla="*/ 41392 w 48842"/>
                  <a:gd name="connsiteY7" fmla="*/ 19792 h 19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842" h="19792">
                    <a:moveTo>
                      <a:pt x="41392" y="19792"/>
                    </a:moveTo>
                    <a:cubicBezTo>
                      <a:pt x="41392" y="19792"/>
                      <a:pt x="38307" y="19792"/>
                      <a:pt x="41392" y="19792"/>
                    </a:cubicBezTo>
                    <a:lnTo>
                      <a:pt x="4364" y="10535"/>
                    </a:lnTo>
                    <a:cubicBezTo>
                      <a:pt x="1278" y="10535"/>
                      <a:pt x="-1808" y="7449"/>
                      <a:pt x="1278" y="4364"/>
                    </a:cubicBezTo>
                    <a:cubicBezTo>
                      <a:pt x="1278" y="1278"/>
                      <a:pt x="4364" y="-1807"/>
                      <a:pt x="7450" y="1278"/>
                    </a:cubicBezTo>
                    <a:lnTo>
                      <a:pt x="44478" y="10535"/>
                    </a:lnTo>
                    <a:cubicBezTo>
                      <a:pt x="47564" y="10535"/>
                      <a:pt x="50650" y="13621"/>
                      <a:pt x="47564" y="16707"/>
                    </a:cubicBezTo>
                    <a:cubicBezTo>
                      <a:pt x="44478" y="16707"/>
                      <a:pt x="44478" y="19792"/>
                      <a:pt x="41392" y="1979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22" name="任意多边形: 形状 221">
              <a:extLst>
                <a:ext uri="{FF2B5EF4-FFF2-40B4-BE49-F238E27FC236}">
                  <a16:creationId xmlns:a16="http://schemas.microsoft.com/office/drawing/2014/main" id="{C2CFC466-382E-449E-962C-389E58D30282}"/>
                </a:ext>
              </a:extLst>
            </p:cNvPr>
            <p:cNvSpPr/>
            <p:nvPr/>
          </p:nvSpPr>
          <p:spPr>
            <a:xfrm>
              <a:off x="2624683" y="4192806"/>
              <a:ext cx="1859607" cy="2296632"/>
            </a:xfrm>
            <a:custGeom>
              <a:avLst/>
              <a:gdLst>
                <a:gd name="connsiteX0" fmla="*/ 1407086 w 1859607"/>
                <a:gd name="connsiteY0" fmla="*/ 40976 h 2296632"/>
                <a:gd name="connsiteX1" fmla="*/ 1857600 w 1859607"/>
                <a:gd name="connsiteY1" fmla="*/ 1238233 h 2296632"/>
                <a:gd name="connsiteX2" fmla="*/ 1663200 w 1859607"/>
                <a:gd name="connsiteY2" fmla="*/ 2296633 h 2296632"/>
                <a:gd name="connsiteX3" fmla="*/ 1363886 w 1859607"/>
                <a:gd name="connsiteY3" fmla="*/ 2296633 h 2296632"/>
                <a:gd name="connsiteX4" fmla="*/ 1450286 w 1859607"/>
                <a:gd name="connsiteY4" fmla="*/ 1262918 h 2296632"/>
                <a:gd name="connsiteX5" fmla="*/ 904114 w 1859607"/>
                <a:gd name="connsiteY5" fmla="*/ 528519 h 2296632"/>
                <a:gd name="connsiteX6" fmla="*/ 1030629 w 1859607"/>
                <a:gd name="connsiteY6" fmla="*/ 1463490 h 2296632"/>
                <a:gd name="connsiteX7" fmla="*/ 151200 w 1859607"/>
                <a:gd name="connsiteY7" fmla="*/ 2296633 h 2296632"/>
                <a:gd name="connsiteX8" fmla="*/ 0 w 1859607"/>
                <a:gd name="connsiteY8" fmla="*/ 2083719 h 2296632"/>
                <a:gd name="connsiteX9" fmla="*/ 530743 w 1859607"/>
                <a:gd name="connsiteY9" fmla="*/ 1392519 h 2296632"/>
                <a:gd name="connsiteX10" fmla="*/ 311657 w 1859607"/>
                <a:gd name="connsiteY10" fmla="*/ 28633 h 2296632"/>
                <a:gd name="connsiteX11" fmla="*/ 1407086 w 1859607"/>
                <a:gd name="connsiteY11" fmla="*/ 40976 h 2296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9607" h="2296632">
                  <a:moveTo>
                    <a:pt x="1407086" y="40976"/>
                  </a:moveTo>
                  <a:cubicBezTo>
                    <a:pt x="1407086" y="40976"/>
                    <a:pt x="1894629" y="923490"/>
                    <a:pt x="1857600" y="1238233"/>
                  </a:cubicBezTo>
                  <a:cubicBezTo>
                    <a:pt x="1826743" y="1512862"/>
                    <a:pt x="1663200" y="2296633"/>
                    <a:pt x="1663200" y="2296633"/>
                  </a:cubicBezTo>
                  <a:lnTo>
                    <a:pt x="1363886" y="2296633"/>
                  </a:lnTo>
                  <a:cubicBezTo>
                    <a:pt x="1363886" y="2296633"/>
                    <a:pt x="1456457" y="1361661"/>
                    <a:pt x="1450286" y="1262918"/>
                  </a:cubicBezTo>
                  <a:cubicBezTo>
                    <a:pt x="1444114" y="1120976"/>
                    <a:pt x="919543" y="559376"/>
                    <a:pt x="904114" y="528519"/>
                  </a:cubicBezTo>
                  <a:cubicBezTo>
                    <a:pt x="888686" y="497661"/>
                    <a:pt x="1092343" y="1296862"/>
                    <a:pt x="1030629" y="1463490"/>
                  </a:cubicBezTo>
                  <a:cubicBezTo>
                    <a:pt x="978171" y="1608518"/>
                    <a:pt x="151200" y="2296633"/>
                    <a:pt x="151200" y="2296633"/>
                  </a:cubicBezTo>
                  <a:lnTo>
                    <a:pt x="0" y="2083719"/>
                  </a:lnTo>
                  <a:cubicBezTo>
                    <a:pt x="0" y="2083719"/>
                    <a:pt x="536914" y="1494347"/>
                    <a:pt x="530743" y="1392519"/>
                  </a:cubicBezTo>
                  <a:cubicBezTo>
                    <a:pt x="521486" y="1238233"/>
                    <a:pt x="222171" y="167490"/>
                    <a:pt x="311657" y="28633"/>
                  </a:cubicBezTo>
                  <a:cubicBezTo>
                    <a:pt x="1005943" y="-42339"/>
                    <a:pt x="1407086" y="40976"/>
                    <a:pt x="1407086" y="40976"/>
                  </a:cubicBezTo>
                  <a:close/>
                </a:path>
              </a:pathLst>
            </a:custGeom>
            <a:solidFill>
              <a:srgbClr val="F6EBE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3" name="任意多边形: 形状 222">
              <a:extLst>
                <a:ext uri="{FF2B5EF4-FFF2-40B4-BE49-F238E27FC236}">
                  <a16:creationId xmlns:a16="http://schemas.microsoft.com/office/drawing/2014/main" id="{C7DACEAA-2631-473D-8203-D539B8430DE8}"/>
                </a:ext>
              </a:extLst>
            </p:cNvPr>
            <p:cNvSpPr/>
            <p:nvPr/>
          </p:nvSpPr>
          <p:spPr>
            <a:xfrm>
              <a:off x="3522626" y="4360296"/>
              <a:ext cx="70971" cy="370285"/>
            </a:xfrm>
            <a:custGeom>
              <a:avLst/>
              <a:gdLst>
                <a:gd name="connsiteX0" fmla="*/ 6171 w 70971"/>
                <a:gd name="connsiteY0" fmla="*/ 370286 h 370285"/>
                <a:gd name="connsiteX1" fmla="*/ 6171 w 70971"/>
                <a:gd name="connsiteY1" fmla="*/ 370286 h 370285"/>
                <a:gd name="connsiteX2" fmla="*/ 0 w 70971"/>
                <a:gd name="connsiteY2" fmla="*/ 361029 h 370285"/>
                <a:gd name="connsiteX3" fmla="*/ 58629 w 70971"/>
                <a:gd name="connsiteY3" fmla="*/ 6172 h 370285"/>
                <a:gd name="connsiteX4" fmla="*/ 64800 w 70971"/>
                <a:gd name="connsiteY4" fmla="*/ 0 h 370285"/>
                <a:gd name="connsiteX5" fmla="*/ 70972 w 70971"/>
                <a:gd name="connsiteY5" fmla="*/ 6172 h 370285"/>
                <a:gd name="connsiteX6" fmla="*/ 12343 w 70971"/>
                <a:gd name="connsiteY6" fmla="*/ 364114 h 370285"/>
                <a:gd name="connsiteX7" fmla="*/ 6171 w 70971"/>
                <a:gd name="connsiteY7" fmla="*/ 370286 h 37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71" h="370285">
                  <a:moveTo>
                    <a:pt x="6171" y="370286"/>
                  </a:moveTo>
                  <a:cubicBezTo>
                    <a:pt x="6171" y="370286"/>
                    <a:pt x="6171" y="367200"/>
                    <a:pt x="6171" y="370286"/>
                  </a:cubicBezTo>
                  <a:cubicBezTo>
                    <a:pt x="0" y="367200"/>
                    <a:pt x="0" y="364114"/>
                    <a:pt x="0" y="361029"/>
                  </a:cubicBezTo>
                  <a:cubicBezTo>
                    <a:pt x="49372" y="246857"/>
                    <a:pt x="58629" y="9257"/>
                    <a:pt x="58629" y="6172"/>
                  </a:cubicBezTo>
                  <a:cubicBezTo>
                    <a:pt x="58629" y="3086"/>
                    <a:pt x="61714" y="0"/>
                    <a:pt x="64800" y="0"/>
                  </a:cubicBezTo>
                  <a:cubicBezTo>
                    <a:pt x="67886" y="0"/>
                    <a:pt x="70972" y="3086"/>
                    <a:pt x="70972" y="6172"/>
                  </a:cubicBezTo>
                  <a:cubicBezTo>
                    <a:pt x="70972" y="15429"/>
                    <a:pt x="61714" y="246857"/>
                    <a:pt x="12343" y="364114"/>
                  </a:cubicBezTo>
                  <a:cubicBezTo>
                    <a:pt x="12343" y="367200"/>
                    <a:pt x="9257" y="370286"/>
                    <a:pt x="6171" y="370286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4" name="任意多边形: 形状 223">
              <a:extLst>
                <a:ext uri="{FF2B5EF4-FFF2-40B4-BE49-F238E27FC236}">
                  <a16:creationId xmlns:a16="http://schemas.microsoft.com/office/drawing/2014/main" id="{81A6F6A7-D014-4741-9427-FAC81BE8068F}"/>
                </a:ext>
              </a:extLst>
            </p:cNvPr>
            <p:cNvSpPr/>
            <p:nvPr/>
          </p:nvSpPr>
          <p:spPr>
            <a:xfrm>
              <a:off x="3552205" y="4289325"/>
              <a:ext cx="158649" cy="361028"/>
            </a:xfrm>
            <a:custGeom>
              <a:avLst/>
              <a:gdLst>
                <a:gd name="connsiteX0" fmla="*/ 7450 w 158649"/>
                <a:gd name="connsiteY0" fmla="*/ 361028 h 361028"/>
                <a:gd name="connsiteX1" fmla="*/ 1278 w 158649"/>
                <a:gd name="connsiteY1" fmla="*/ 357943 h 361028"/>
                <a:gd name="connsiteX2" fmla="*/ 4364 w 158649"/>
                <a:gd name="connsiteY2" fmla="*/ 348686 h 361028"/>
                <a:gd name="connsiteX3" fmla="*/ 112364 w 158649"/>
                <a:gd name="connsiteY3" fmla="*/ 271543 h 361028"/>
                <a:gd name="connsiteX4" fmla="*/ 146307 w 158649"/>
                <a:gd name="connsiteY4" fmla="*/ 6171 h 361028"/>
                <a:gd name="connsiteX5" fmla="*/ 152478 w 158649"/>
                <a:gd name="connsiteY5" fmla="*/ 0 h 361028"/>
                <a:gd name="connsiteX6" fmla="*/ 158650 w 158649"/>
                <a:gd name="connsiteY6" fmla="*/ 6171 h 361028"/>
                <a:gd name="connsiteX7" fmla="*/ 124707 w 158649"/>
                <a:gd name="connsiteY7" fmla="*/ 277714 h 361028"/>
                <a:gd name="connsiteX8" fmla="*/ 13621 w 158649"/>
                <a:gd name="connsiteY8" fmla="*/ 357943 h 361028"/>
                <a:gd name="connsiteX9" fmla="*/ 7450 w 158649"/>
                <a:gd name="connsiteY9" fmla="*/ 361028 h 36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8649" h="361028">
                  <a:moveTo>
                    <a:pt x="7450" y="361028"/>
                  </a:moveTo>
                  <a:cubicBezTo>
                    <a:pt x="4364" y="361028"/>
                    <a:pt x="4364" y="361028"/>
                    <a:pt x="1278" y="357943"/>
                  </a:cubicBezTo>
                  <a:cubicBezTo>
                    <a:pt x="-1808" y="354857"/>
                    <a:pt x="1278" y="351771"/>
                    <a:pt x="4364" y="348686"/>
                  </a:cubicBezTo>
                  <a:cubicBezTo>
                    <a:pt x="44478" y="324000"/>
                    <a:pt x="103107" y="280800"/>
                    <a:pt x="112364" y="271543"/>
                  </a:cubicBezTo>
                  <a:cubicBezTo>
                    <a:pt x="121621" y="259200"/>
                    <a:pt x="137050" y="101828"/>
                    <a:pt x="146307" y="6171"/>
                  </a:cubicBezTo>
                  <a:cubicBezTo>
                    <a:pt x="146307" y="3086"/>
                    <a:pt x="149393" y="0"/>
                    <a:pt x="152478" y="0"/>
                  </a:cubicBezTo>
                  <a:cubicBezTo>
                    <a:pt x="155564" y="0"/>
                    <a:pt x="158650" y="3086"/>
                    <a:pt x="158650" y="6171"/>
                  </a:cubicBezTo>
                  <a:cubicBezTo>
                    <a:pt x="155564" y="49371"/>
                    <a:pt x="133964" y="262286"/>
                    <a:pt x="124707" y="277714"/>
                  </a:cubicBezTo>
                  <a:cubicBezTo>
                    <a:pt x="112364" y="293143"/>
                    <a:pt x="22878" y="351771"/>
                    <a:pt x="13621" y="357943"/>
                  </a:cubicBezTo>
                  <a:cubicBezTo>
                    <a:pt x="10535" y="361028"/>
                    <a:pt x="7450" y="361028"/>
                    <a:pt x="7450" y="361028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5" name="任意多边形: 形状 224">
              <a:extLst>
                <a:ext uri="{FF2B5EF4-FFF2-40B4-BE49-F238E27FC236}">
                  <a16:creationId xmlns:a16="http://schemas.microsoft.com/office/drawing/2014/main" id="{3FF28885-4C28-490C-BDBE-357E881CAC61}"/>
                </a:ext>
              </a:extLst>
            </p:cNvPr>
            <p:cNvSpPr/>
            <p:nvPr/>
          </p:nvSpPr>
          <p:spPr>
            <a:xfrm>
              <a:off x="4127678" y="2936201"/>
              <a:ext cx="422490" cy="606789"/>
            </a:xfrm>
            <a:custGeom>
              <a:avLst/>
              <a:gdLst>
                <a:gd name="connsiteX0" fmla="*/ 2834 w 422490"/>
                <a:gd name="connsiteY0" fmla="*/ 603295 h 606789"/>
                <a:gd name="connsiteX1" fmla="*/ 113919 w 422490"/>
                <a:gd name="connsiteY1" fmla="*/ 4666 h 606789"/>
                <a:gd name="connsiteX2" fmla="*/ 422491 w 422490"/>
                <a:gd name="connsiteY2" fmla="*/ 513809 h 606789"/>
                <a:gd name="connsiteX3" fmla="*/ 2834 w 422490"/>
                <a:gd name="connsiteY3" fmla="*/ 603295 h 606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490" h="606789">
                  <a:moveTo>
                    <a:pt x="2834" y="603295"/>
                  </a:moveTo>
                  <a:cubicBezTo>
                    <a:pt x="2834" y="603295"/>
                    <a:pt x="-28024" y="60209"/>
                    <a:pt x="113919" y="4666"/>
                  </a:cubicBezTo>
                  <a:cubicBezTo>
                    <a:pt x="274376" y="-57048"/>
                    <a:pt x="422491" y="513809"/>
                    <a:pt x="422491" y="513809"/>
                  </a:cubicBezTo>
                  <a:cubicBezTo>
                    <a:pt x="422491" y="513809"/>
                    <a:pt x="218834" y="627980"/>
                    <a:pt x="2834" y="603295"/>
                  </a:cubicBezTo>
                  <a:close/>
                </a:path>
              </a:pathLst>
            </a:custGeom>
            <a:solidFill>
              <a:srgbClr val="70868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6" name="任意多边形: 形状 225">
              <a:extLst>
                <a:ext uri="{FF2B5EF4-FFF2-40B4-BE49-F238E27FC236}">
                  <a16:creationId xmlns:a16="http://schemas.microsoft.com/office/drawing/2014/main" id="{C9D8F029-E971-4029-B51C-F4434855CB94}"/>
                </a:ext>
              </a:extLst>
            </p:cNvPr>
            <p:cNvSpPr/>
            <p:nvPr/>
          </p:nvSpPr>
          <p:spPr>
            <a:xfrm>
              <a:off x="3778740" y="2576753"/>
              <a:ext cx="280799" cy="284739"/>
            </a:xfrm>
            <a:custGeom>
              <a:avLst/>
              <a:gdLst>
                <a:gd name="connsiteX0" fmla="*/ 280800 w 280799"/>
                <a:gd name="connsiteY0" fmla="*/ 86400 h 284739"/>
                <a:gd name="connsiteX1" fmla="*/ 240686 w 280799"/>
                <a:gd name="connsiteY1" fmla="*/ 259200 h 284739"/>
                <a:gd name="connsiteX2" fmla="*/ 0 w 280799"/>
                <a:gd name="connsiteY2" fmla="*/ 200571 h 284739"/>
                <a:gd name="connsiteX3" fmla="*/ 55543 w 280799"/>
                <a:gd name="connsiteY3" fmla="*/ 0 h 284739"/>
                <a:gd name="connsiteX4" fmla="*/ 280800 w 280799"/>
                <a:gd name="connsiteY4" fmla="*/ 86400 h 284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799" h="284739">
                  <a:moveTo>
                    <a:pt x="280800" y="86400"/>
                  </a:moveTo>
                  <a:cubicBezTo>
                    <a:pt x="280800" y="86400"/>
                    <a:pt x="253028" y="185143"/>
                    <a:pt x="240686" y="259200"/>
                  </a:cubicBezTo>
                  <a:cubicBezTo>
                    <a:pt x="240686" y="259200"/>
                    <a:pt x="126514" y="345600"/>
                    <a:pt x="0" y="200571"/>
                  </a:cubicBezTo>
                  <a:cubicBezTo>
                    <a:pt x="12343" y="138857"/>
                    <a:pt x="40114" y="64800"/>
                    <a:pt x="55543" y="0"/>
                  </a:cubicBezTo>
                  <a:cubicBezTo>
                    <a:pt x="55543" y="0"/>
                    <a:pt x="228343" y="89486"/>
                    <a:pt x="280800" y="86400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7" name="任意多边形: 形状 226">
              <a:extLst>
                <a:ext uri="{FF2B5EF4-FFF2-40B4-BE49-F238E27FC236}">
                  <a16:creationId xmlns:a16="http://schemas.microsoft.com/office/drawing/2014/main" id="{7BB695C5-B0C1-42D2-8B7C-A9718932439E}"/>
                </a:ext>
              </a:extLst>
            </p:cNvPr>
            <p:cNvSpPr/>
            <p:nvPr/>
          </p:nvSpPr>
          <p:spPr>
            <a:xfrm>
              <a:off x="3753366" y="2437896"/>
              <a:ext cx="59317" cy="151199"/>
            </a:xfrm>
            <a:custGeom>
              <a:avLst/>
              <a:gdLst>
                <a:gd name="connsiteX0" fmla="*/ 689 w 59317"/>
                <a:gd name="connsiteY0" fmla="*/ 0 h 151199"/>
                <a:gd name="connsiteX1" fmla="*/ 40803 w 59317"/>
                <a:gd name="connsiteY1" fmla="*/ 151200 h 151199"/>
                <a:gd name="connsiteX2" fmla="*/ 59317 w 59317"/>
                <a:gd name="connsiteY2" fmla="*/ 67886 h 151199"/>
                <a:gd name="connsiteX3" fmla="*/ 689 w 59317"/>
                <a:gd name="connsiteY3" fmla="*/ 0 h 151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17" h="151199">
                  <a:moveTo>
                    <a:pt x="689" y="0"/>
                  </a:moveTo>
                  <a:cubicBezTo>
                    <a:pt x="689" y="0"/>
                    <a:pt x="-8569" y="120343"/>
                    <a:pt x="40803" y="151200"/>
                  </a:cubicBezTo>
                  <a:lnTo>
                    <a:pt x="59317" y="67886"/>
                  </a:lnTo>
                  <a:lnTo>
                    <a:pt x="689" y="0"/>
                  </a:ln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8" name="任意多边形: 形状 227">
              <a:extLst>
                <a:ext uri="{FF2B5EF4-FFF2-40B4-BE49-F238E27FC236}">
                  <a16:creationId xmlns:a16="http://schemas.microsoft.com/office/drawing/2014/main" id="{6EE6C147-AE2A-47F6-BEAA-C7A23B0BF71A}"/>
                </a:ext>
              </a:extLst>
            </p:cNvPr>
            <p:cNvSpPr/>
            <p:nvPr/>
          </p:nvSpPr>
          <p:spPr>
            <a:xfrm>
              <a:off x="4123188" y="2317553"/>
              <a:ext cx="121494" cy="229666"/>
            </a:xfrm>
            <a:custGeom>
              <a:avLst/>
              <a:gdLst>
                <a:gd name="connsiteX0" fmla="*/ 121495 w 121494"/>
                <a:gd name="connsiteY0" fmla="*/ 3086 h 229666"/>
                <a:gd name="connsiteX1" fmla="*/ 35095 w 121494"/>
                <a:gd name="connsiteY1" fmla="*/ 228343 h 229666"/>
                <a:gd name="connsiteX2" fmla="*/ 22752 w 121494"/>
                <a:gd name="connsiteY2" fmla="*/ 0 h 229666"/>
                <a:gd name="connsiteX3" fmla="*/ 121495 w 121494"/>
                <a:gd name="connsiteY3" fmla="*/ 3086 h 229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494" h="229666">
                  <a:moveTo>
                    <a:pt x="121495" y="3086"/>
                  </a:moveTo>
                  <a:cubicBezTo>
                    <a:pt x="121495" y="3086"/>
                    <a:pt x="115323" y="203657"/>
                    <a:pt x="35095" y="228343"/>
                  </a:cubicBezTo>
                  <a:cubicBezTo>
                    <a:pt x="-35877" y="249943"/>
                    <a:pt x="22752" y="0"/>
                    <a:pt x="22752" y="0"/>
                  </a:cubicBezTo>
                  <a:lnTo>
                    <a:pt x="121495" y="3086"/>
                  </a:ln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9" name="任意多边形: 形状 228">
              <a:extLst>
                <a:ext uri="{FF2B5EF4-FFF2-40B4-BE49-F238E27FC236}">
                  <a16:creationId xmlns:a16="http://schemas.microsoft.com/office/drawing/2014/main" id="{0442DEC6-0968-4EBF-A8D0-12DE84718A51}"/>
                </a:ext>
              </a:extLst>
            </p:cNvPr>
            <p:cNvSpPr/>
            <p:nvPr/>
          </p:nvSpPr>
          <p:spPr>
            <a:xfrm>
              <a:off x="3772444" y="2137799"/>
              <a:ext cx="422867" cy="575247"/>
            </a:xfrm>
            <a:custGeom>
              <a:avLst/>
              <a:gdLst>
                <a:gd name="connsiteX0" fmla="*/ 422868 w 422867"/>
                <a:gd name="connsiteY0" fmla="*/ 219869 h 575247"/>
                <a:gd name="connsiteX1" fmla="*/ 376582 w 422867"/>
                <a:gd name="connsiteY1" fmla="*/ 469811 h 575247"/>
                <a:gd name="connsiteX2" fmla="*/ 191439 w 422867"/>
                <a:gd name="connsiteY2" fmla="*/ 574726 h 575247"/>
                <a:gd name="connsiteX3" fmla="*/ 3211 w 422867"/>
                <a:gd name="connsiteY3" fmla="*/ 389583 h 575247"/>
                <a:gd name="connsiteX4" fmla="*/ 9382 w 422867"/>
                <a:gd name="connsiteY4" fmla="*/ 158154 h 575247"/>
                <a:gd name="connsiteX5" fmla="*/ 259325 w 422867"/>
                <a:gd name="connsiteY5" fmla="*/ 783 h 575247"/>
                <a:gd name="connsiteX6" fmla="*/ 422868 w 422867"/>
                <a:gd name="connsiteY6" fmla="*/ 219869 h 575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2867" h="575247">
                  <a:moveTo>
                    <a:pt x="422868" y="219869"/>
                  </a:moveTo>
                  <a:cubicBezTo>
                    <a:pt x="422868" y="219869"/>
                    <a:pt x="410525" y="398840"/>
                    <a:pt x="376582" y="469811"/>
                  </a:cubicBezTo>
                  <a:cubicBezTo>
                    <a:pt x="345725" y="531526"/>
                    <a:pt x="243896" y="580897"/>
                    <a:pt x="191439" y="574726"/>
                  </a:cubicBezTo>
                  <a:cubicBezTo>
                    <a:pt x="123554" y="568554"/>
                    <a:pt x="12468" y="503754"/>
                    <a:pt x="3211" y="389583"/>
                  </a:cubicBezTo>
                  <a:cubicBezTo>
                    <a:pt x="-2961" y="312440"/>
                    <a:pt x="125" y="210612"/>
                    <a:pt x="9382" y="158154"/>
                  </a:cubicBezTo>
                  <a:cubicBezTo>
                    <a:pt x="27896" y="65583"/>
                    <a:pt x="71096" y="-8474"/>
                    <a:pt x="259325" y="783"/>
                  </a:cubicBezTo>
                  <a:cubicBezTo>
                    <a:pt x="345725" y="3869"/>
                    <a:pt x="419782" y="136554"/>
                    <a:pt x="422868" y="219869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0" name="任意多边形: 形状 229">
              <a:extLst>
                <a:ext uri="{FF2B5EF4-FFF2-40B4-BE49-F238E27FC236}">
                  <a16:creationId xmlns:a16="http://schemas.microsoft.com/office/drawing/2014/main" id="{834E08E6-E124-47C5-859F-294C2BC65C51}"/>
                </a:ext>
              </a:extLst>
            </p:cNvPr>
            <p:cNvSpPr/>
            <p:nvPr/>
          </p:nvSpPr>
          <p:spPr>
            <a:xfrm>
              <a:off x="3970054" y="2407039"/>
              <a:ext cx="70971" cy="138857"/>
            </a:xfrm>
            <a:custGeom>
              <a:avLst/>
              <a:gdLst>
                <a:gd name="connsiteX0" fmla="*/ 40114 w 70971"/>
                <a:gd name="connsiteY0" fmla="*/ 138857 h 138857"/>
                <a:gd name="connsiteX1" fmla="*/ 3086 w 70971"/>
                <a:gd name="connsiteY1" fmla="*/ 129600 h 138857"/>
                <a:gd name="connsiteX2" fmla="*/ 0 w 70971"/>
                <a:gd name="connsiteY2" fmla="*/ 120343 h 138857"/>
                <a:gd name="connsiteX3" fmla="*/ 9257 w 70971"/>
                <a:gd name="connsiteY3" fmla="*/ 117257 h 138857"/>
                <a:gd name="connsiteX4" fmla="*/ 49372 w 70971"/>
                <a:gd name="connsiteY4" fmla="*/ 123429 h 138857"/>
                <a:gd name="connsiteX5" fmla="*/ 52457 w 70971"/>
                <a:gd name="connsiteY5" fmla="*/ 120343 h 138857"/>
                <a:gd name="connsiteX6" fmla="*/ 58629 w 70971"/>
                <a:gd name="connsiteY6" fmla="*/ 6171 h 138857"/>
                <a:gd name="connsiteX7" fmla="*/ 64800 w 70971"/>
                <a:gd name="connsiteY7" fmla="*/ 0 h 138857"/>
                <a:gd name="connsiteX8" fmla="*/ 64800 w 70971"/>
                <a:gd name="connsiteY8" fmla="*/ 0 h 138857"/>
                <a:gd name="connsiteX9" fmla="*/ 70972 w 70971"/>
                <a:gd name="connsiteY9" fmla="*/ 6171 h 138857"/>
                <a:gd name="connsiteX10" fmla="*/ 64800 w 70971"/>
                <a:gd name="connsiteY10" fmla="*/ 123429 h 138857"/>
                <a:gd name="connsiteX11" fmla="*/ 55543 w 70971"/>
                <a:gd name="connsiteY11" fmla="*/ 135771 h 138857"/>
                <a:gd name="connsiteX12" fmla="*/ 40114 w 70971"/>
                <a:gd name="connsiteY12" fmla="*/ 138857 h 13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0971" h="138857">
                  <a:moveTo>
                    <a:pt x="40114" y="138857"/>
                  </a:moveTo>
                  <a:cubicBezTo>
                    <a:pt x="24686" y="138857"/>
                    <a:pt x="9257" y="132686"/>
                    <a:pt x="3086" y="129600"/>
                  </a:cubicBezTo>
                  <a:cubicBezTo>
                    <a:pt x="0" y="129600"/>
                    <a:pt x="0" y="123429"/>
                    <a:pt x="0" y="120343"/>
                  </a:cubicBezTo>
                  <a:cubicBezTo>
                    <a:pt x="0" y="117257"/>
                    <a:pt x="6171" y="117257"/>
                    <a:pt x="9257" y="117257"/>
                  </a:cubicBezTo>
                  <a:cubicBezTo>
                    <a:pt x="21600" y="123429"/>
                    <a:pt x="43200" y="126514"/>
                    <a:pt x="49372" y="123429"/>
                  </a:cubicBezTo>
                  <a:cubicBezTo>
                    <a:pt x="49372" y="123429"/>
                    <a:pt x="52457" y="123429"/>
                    <a:pt x="52457" y="120343"/>
                  </a:cubicBezTo>
                  <a:cubicBezTo>
                    <a:pt x="55543" y="101829"/>
                    <a:pt x="58629" y="6171"/>
                    <a:pt x="58629" y="6171"/>
                  </a:cubicBezTo>
                  <a:cubicBezTo>
                    <a:pt x="58629" y="3086"/>
                    <a:pt x="61714" y="0"/>
                    <a:pt x="64800" y="0"/>
                  </a:cubicBezTo>
                  <a:cubicBezTo>
                    <a:pt x="64800" y="0"/>
                    <a:pt x="64800" y="0"/>
                    <a:pt x="64800" y="0"/>
                  </a:cubicBezTo>
                  <a:cubicBezTo>
                    <a:pt x="67886" y="0"/>
                    <a:pt x="70972" y="3086"/>
                    <a:pt x="70972" y="6171"/>
                  </a:cubicBezTo>
                  <a:cubicBezTo>
                    <a:pt x="70972" y="9257"/>
                    <a:pt x="70972" y="101829"/>
                    <a:pt x="64800" y="123429"/>
                  </a:cubicBezTo>
                  <a:cubicBezTo>
                    <a:pt x="64800" y="129600"/>
                    <a:pt x="61714" y="132686"/>
                    <a:pt x="55543" y="135771"/>
                  </a:cubicBezTo>
                  <a:cubicBezTo>
                    <a:pt x="49372" y="138857"/>
                    <a:pt x="46286" y="138857"/>
                    <a:pt x="40114" y="138857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1" name="任意多边形: 形状 230">
              <a:extLst>
                <a:ext uri="{FF2B5EF4-FFF2-40B4-BE49-F238E27FC236}">
                  <a16:creationId xmlns:a16="http://schemas.microsoft.com/office/drawing/2014/main" id="{B04FCDC2-13FD-4BA1-A47C-569705FB1EA7}"/>
                </a:ext>
              </a:extLst>
            </p:cNvPr>
            <p:cNvSpPr/>
            <p:nvPr/>
          </p:nvSpPr>
          <p:spPr>
            <a:xfrm>
              <a:off x="4084226" y="2400867"/>
              <a:ext cx="40114" cy="40114"/>
            </a:xfrm>
            <a:custGeom>
              <a:avLst/>
              <a:gdLst>
                <a:gd name="connsiteX0" fmla="*/ 0 w 40114"/>
                <a:gd name="connsiteY0" fmla="*/ 21600 h 40114"/>
                <a:gd name="connsiteX1" fmla="*/ 21600 w 40114"/>
                <a:gd name="connsiteY1" fmla="*/ 40114 h 40114"/>
                <a:gd name="connsiteX2" fmla="*/ 40114 w 40114"/>
                <a:gd name="connsiteY2" fmla="*/ 18514 h 40114"/>
                <a:gd name="connsiteX3" fmla="*/ 18514 w 40114"/>
                <a:gd name="connsiteY3" fmla="*/ 0 h 40114"/>
                <a:gd name="connsiteX4" fmla="*/ 0 w 40114"/>
                <a:gd name="connsiteY4" fmla="*/ 21600 h 4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14" h="40114">
                  <a:moveTo>
                    <a:pt x="0" y="21600"/>
                  </a:moveTo>
                  <a:cubicBezTo>
                    <a:pt x="0" y="33943"/>
                    <a:pt x="9257" y="40114"/>
                    <a:pt x="21600" y="40114"/>
                  </a:cubicBezTo>
                  <a:cubicBezTo>
                    <a:pt x="33943" y="40114"/>
                    <a:pt x="40114" y="30857"/>
                    <a:pt x="40114" y="18514"/>
                  </a:cubicBezTo>
                  <a:cubicBezTo>
                    <a:pt x="40114" y="6171"/>
                    <a:pt x="30857" y="0"/>
                    <a:pt x="18514" y="0"/>
                  </a:cubicBezTo>
                  <a:cubicBezTo>
                    <a:pt x="9257" y="0"/>
                    <a:pt x="0" y="9257"/>
                    <a:pt x="0" y="21600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2" name="任意多边形: 形状 231">
              <a:extLst>
                <a:ext uri="{FF2B5EF4-FFF2-40B4-BE49-F238E27FC236}">
                  <a16:creationId xmlns:a16="http://schemas.microsoft.com/office/drawing/2014/main" id="{6010BE40-D82F-46E9-93C9-1D23795FF0A2}"/>
                </a:ext>
              </a:extLst>
            </p:cNvPr>
            <p:cNvSpPr/>
            <p:nvPr/>
          </p:nvSpPr>
          <p:spPr>
            <a:xfrm>
              <a:off x="3899083" y="2382353"/>
              <a:ext cx="40114" cy="40114"/>
            </a:xfrm>
            <a:custGeom>
              <a:avLst/>
              <a:gdLst>
                <a:gd name="connsiteX0" fmla="*/ 0 w 40114"/>
                <a:gd name="connsiteY0" fmla="*/ 21600 h 40114"/>
                <a:gd name="connsiteX1" fmla="*/ 21600 w 40114"/>
                <a:gd name="connsiteY1" fmla="*/ 40114 h 40114"/>
                <a:gd name="connsiteX2" fmla="*/ 40114 w 40114"/>
                <a:gd name="connsiteY2" fmla="*/ 18514 h 40114"/>
                <a:gd name="connsiteX3" fmla="*/ 18514 w 40114"/>
                <a:gd name="connsiteY3" fmla="*/ 0 h 40114"/>
                <a:gd name="connsiteX4" fmla="*/ 0 w 40114"/>
                <a:gd name="connsiteY4" fmla="*/ 21600 h 4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14" h="40114">
                  <a:moveTo>
                    <a:pt x="0" y="21600"/>
                  </a:moveTo>
                  <a:cubicBezTo>
                    <a:pt x="0" y="33943"/>
                    <a:pt x="9257" y="40114"/>
                    <a:pt x="21600" y="40114"/>
                  </a:cubicBezTo>
                  <a:cubicBezTo>
                    <a:pt x="33943" y="40114"/>
                    <a:pt x="40114" y="30857"/>
                    <a:pt x="40114" y="18514"/>
                  </a:cubicBezTo>
                  <a:cubicBezTo>
                    <a:pt x="40114" y="6171"/>
                    <a:pt x="30857" y="0"/>
                    <a:pt x="18514" y="0"/>
                  </a:cubicBezTo>
                  <a:cubicBezTo>
                    <a:pt x="9257" y="0"/>
                    <a:pt x="0" y="9257"/>
                    <a:pt x="0" y="21600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3" name="任意多边形: 形状 232">
              <a:extLst>
                <a:ext uri="{FF2B5EF4-FFF2-40B4-BE49-F238E27FC236}">
                  <a16:creationId xmlns:a16="http://schemas.microsoft.com/office/drawing/2014/main" id="{8E9FED95-4FB2-467D-9D29-1AFFBA1D73FD}"/>
                </a:ext>
              </a:extLst>
            </p:cNvPr>
            <p:cNvSpPr/>
            <p:nvPr/>
          </p:nvSpPr>
          <p:spPr>
            <a:xfrm>
              <a:off x="4068797" y="2351443"/>
              <a:ext cx="90763" cy="43252"/>
            </a:xfrm>
            <a:custGeom>
              <a:avLst/>
              <a:gdLst>
                <a:gd name="connsiteX0" fmla="*/ 80229 w 90763"/>
                <a:gd name="connsiteY0" fmla="*/ 40167 h 43252"/>
                <a:gd name="connsiteX1" fmla="*/ 74057 w 90763"/>
                <a:gd name="connsiteY1" fmla="*/ 37081 h 43252"/>
                <a:gd name="connsiteX2" fmla="*/ 9257 w 90763"/>
                <a:gd name="connsiteY2" fmla="*/ 18567 h 43252"/>
                <a:gd name="connsiteX3" fmla="*/ 0 w 90763"/>
                <a:gd name="connsiteY3" fmla="*/ 12395 h 43252"/>
                <a:gd name="connsiteX4" fmla="*/ 6171 w 90763"/>
                <a:gd name="connsiteY4" fmla="*/ 3138 h 43252"/>
                <a:gd name="connsiteX5" fmla="*/ 89486 w 90763"/>
                <a:gd name="connsiteY5" fmla="*/ 30910 h 43252"/>
                <a:gd name="connsiteX6" fmla="*/ 86400 w 90763"/>
                <a:gd name="connsiteY6" fmla="*/ 43252 h 43252"/>
                <a:gd name="connsiteX7" fmla="*/ 80229 w 90763"/>
                <a:gd name="connsiteY7" fmla="*/ 40167 h 43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763" h="43252">
                  <a:moveTo>
                    <a:pt x="80229" y="40167"/>
                  </a:moveTo>
                  <a:cubicBezTo>
                    <a:pt x="77143" y="40167"/>
                    <a:pt x="74057" y="40167"/>
                    <a:pt x="74057" y="37081"/>
                  </a:cubicBezTo>
                  <a:cubicBezTo>
                    <a:pt x="52457" y="3138"/>
                    <a:pt x="9257" y="18567"/>
                    <a:pt x="9257" y="18567"/>
                  </a:cubicBezTo>
                  <a:cubicBezTo>
                    <a:pt x="6171" y="18567"/>
                    <a:pt x="0" y="18567"/>
                    <a:pt x="0" y="12395"/>
                  </a:cubicBezTo>
                  <a:cubicBezTo>
                    <a:pt x="0" y="9310"/>
                    <a:pt x="0" y="3138"/>
                    <a:pt x="6171" y="3138"/>
                  </a:cubicBezTo>
                  <a:cubicBezTo>
                    <a:pt x="24686" y="-3033"/>
                    <a:pt x="67886" y="-3033"/>
                    <a:pt x="89486" y="30910"/>
                  </a:cubicBezTo>
                  <a:cubicBezTo>
                    <a:pt x="92571" y="33995"/>
                    <a:pt x="89486" y="40167"/>
                    <a:pt x="86400" y="43252"/>
                  </a:cubicBezTo>
                  <a:cubicBezTo>
                    <a:pt x="83314" y="40167"/>
                    <a:pt x="83314" y="40167"/>
                    <a:pt x="80229" y="40167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4" name="任意多边形: 形状 233">
              <a:extLst>
                <a:ext uri="{FF2B5EF4-FFF2-40B4-BE49-F238E27FC236}">
                  <a16:creationId xmlns:a16="http://schemas.microsoft.com/office/drawing/2014/main" id="{94E99389-91D2-4EA6-9177-E833965EF54F}"/>
                </a:ext>
              </a:extLst>
            </p:cNvPr>
            <p:cNvSpPr/>
            <p:nvPr/>
          </p:nvSpPr>
          <p:spPr>
            <a:xfrm>
              <a:off x="3872370" y="2313615"/>
              <a:ext cx="93826" cy="37880"/>
            </a:xfrm>
            <a:custGeom>
              <a:avLst/>
              <a:gdLst>
                <a:gd name="connsiteX0" fmla="*/ 88427 w 93826"/>
                <a:gd name="connsiteY0" fmla="*/ 37881 h 37880"/>
                <a:gd name="connsiteX1" fmla="*/ 82255 w 93826"/>
                <a:gd name="connsiteY1" fmla="*/ 34795 h 37880"/>
                <a:gd name="connsiteX2" fmla="*/ 14370 w 93826"/>
                <a:gd name="connsiteY2" fmla="*/ 28624 h 37880"/>
                <a:gd name="connsiteX3" fmla="*/ 2027 w 93826"/>
                <a:gd name="connsiteY3" fmla="*/ 25538 h 37880"/>
                <a:gd name="connsiteX4" fmla="*/ 5113 w 93826"/>
                <a:gd name="connsiteY4" fmla="*/ 13195 h 37880"/>
                <a:gd name="connsiteX5" fmla="*/ 91513 w 93826"/>
                <a:gd name="connsiteY5" fmla="*/ 19367 h 37880"/>
                <a:gd name="connsiteX6" fmla="*/ 91513 w 93826"/>
                <a:gd name="connsiteY6" fmla="*/ 31709 h 37880"/>
                <a:gd name="connsiteX7" fmla="*/ 88427 w 93826"/>
                <a:gd name="connsiteY7" fmla="*/ 37881 h 37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26" h="37880">
                  <a:moveTo>
                    <a:pt x="88427" y="37881"/>
                  </a:moveTo>
                  <a:cubicBezTo>
                    <a:pt x="85341" y="37881"/>
                    <a:pt x="85341" y="37881"/>
                    <a:pt x="82255" y="34795"/>
                  </a:cubicBezTo>
                  <a:cubicBezTo>
                    <a:pt x="51398" y="3938"/>
                    <a:pt x="17455" y="28624"/>
                    <a:pt x="14370" y="28624"/>
                  </a:cubicBezTo>
                  <a:cubicBezTo>
                    <a:pt x="11284" y="31709"/>
                    <a:pt x="5113" y="31709"/>
                    <a:pt x="2027" y="25538"/>
                  </a:cubicBezTo>
                  <a:cubicBezTo>
                    <a:pt x="-1059" y="22452"/>
                    <a:pt x="-1059" y="16281"/>
                    <a:pt x="5113" y="13195"/>
                  </a:cubicBezTo>
                  <a:cubicBezTo>
                    <a:pt x="20541" y="852"/>
                    <a:pt x="60655" y="-11491"/>
                    <a:pt x="91513" y="19367"/>
                  </a:cubicBezTo>
                  <a:cubicBezTo>
                    <a:pt x="94598" y="22452"/>
                    <a:pt x="94598" y="28624"/>
                    <a:pt x="91513" y="31709"/>
                  </a:cubicBezTo>
                  <a:cubicBezTo>
                    <a:pt x="94598" y="37881"/>
                    <a:pt x="91513" y="37881"/>
                    <a:pt x="88427" y="37881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5" name="任意多边形: 形状 234">
              <a:extLst>
                <a:ext uri="{FF2B5EF4-FFF2-40B4-BE49-F238E27FC236}">
                  <a16:creationId xmlns:a16="http://schemas.microsoft.com/office/drawing/2014/main" id="{47EDF8D1-AAF3-4CD0-AF11-D538223A53D7}"/>
                </a:ext>
              </a:extLst>
            </p:cNvPr>
            <p:cNvSpPr/>
            <p:nvPr/>
          </p:nvSpPr>
          <p:spPr>
            <a:xfrm>
              <a:off x="3812683" y="2623810"/>
              <a:ext cx="222171" cy="91799"/>
            </a:xfrm>
            <a:custGeom>
              <a:avLst/>
              <a:gdLst>
                <a:gd name="connsiteX0" fmla="*/ 157371 w 222171"/>
                <a:gd name="connsiteY0" fmla="*/ 91800 h 91799"/>
                <a:gd name="connsiteX1" fmla="*/ 135771 w 222171"/>
                <a:gd name="connsiteY1" fmla="*/ 88714 h 91799"/>
                <a:gd name="connsiteX2" fmla="*/ 0 w 222171"/>
                <a:gd name="connsiteY2" fmla="*/ 8486 h 91799"/>
                <a:gd name="connsiteX3" fmla="*/ 0 w 222171"/>
                <a:gd name="connsiteY3" fmla="*/ 2314 h 91799"/>
                <a:gd name="connsiteX4" fmla="*/ 9257 w 222171"/>
                <a:gd name="connsiteY4" fmla="*/ 2314 h 91799"/>
                <a:gd name="connsiteX5" fmla="*/ 138857 w 222171"/>
                <a:gd name="connsiteY5" fmla="*/ 79457 h 91799"/>
                <a:gd name="connsiteX6" fmla="*/ 212914 w 222171"/>
                <a:gd name="connsiteY6" fmla="*/ 67114 h 91799"/>
                <a:gd name="connsiteX7" fmla="*/ 222171 w 222171"/>
                <a:gd name="connsiteY7" fmla="*/ 70200 h 91799"/>
                <a:gd name="connsiteX8" fmla="*/ 219086 w 222171"/>
                <a:gd name="connsiteY8" fmla="*/ 79457 h 91799"/>
                <a:gd name="connsiteX9" fmla="*/ 157371 w 222171"/>
                <a:gd name="connsiteY9" fmla="*/ 91800 h 9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171" h="91799">
                  <a:moveTo>
                    <a:pt x="157371" y="91800"/>
                  </a:moveTo>
                  <a:cubicBezTo>
                    <a:pt x="151200" y="91800"/>
                    <a:pt x="141943" y="91800"/>
                    <a:pt x="135771" y="88714"/>
                  </a:cubicBezTo>
                  <a:cubicBezTo>
                    <a:pt x="83314" y="79457"/>
                    <a:pt x="6171" y="11571"/>
                    <a:pt x="0" y="8486"/>
                  </a:cubicBezTo>
                  <a:cubicBezTo>
                    <a:pt x="0" y="8486"/>
                    <a:pt x="0" y="2314"/>
                    <a:pt x="0" y="2314"/>
                  </a:cubicBezTo>
                  <a:cubicBezTo>
                    <a:pt x="3086" y="-771"/>
                    <a:pt x="6171" y="-771"/>
                    <a:pt x="9257" y="2314"/>
                  </a:cubicBezTo>
                  <a:cubicBezTo>
                    <a:pt x="9257" y="2314"/>
                    <a:pt x="89486" y="70200"/>
                    <a:pt x="138857" y="79457"/>
                  </a:cubicBezTo>
                  <a:cubicBezTo>
                    <a:pt x="175886" y="85629"/>
                    <a:pt x="212914" y="67114"/>
                    <a:pt x="212914" y="67114"/>
                  </a:cubicBezTo>
                  <a:cubicBezTo>
                    <a:pt x="216000" y="64029"/>
                    <a:pt x="219086" y="67114"/>
                    <a:pt x="222171" y="70200"/>
                  </a:cubicBezTo>
                  <a:cubicBezTo>
                    <a:pt x="222171" y="73286"/>
                    <a:pt x="222171" y="76371"/>
                    <a:pt x="219086" y="79457"/>
                  </a:cubicBezTo>
                  <a:cubicBezTo>
                    <a:pt x="219086" y="79457"/>
                    <a:pt x="191314" y="91800"/>
                    <a:pt x="157371" y="91800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6" name="任意多边形: 形状 235">
              <a:extLst>
                <a:ext uri="{FF2B5EF4-FFF2-40B4-BE49-F238E27FC236}">
                  <a16:creationId xmlns:a16="http://schemas.microsoft.com/office/drawing/2014/main" id="{29FC5257-1A64-4535-A8FE-9E3A9FA5A4DF}"/>
                </a:ext>
              </a:extLst>
            </p:cNvPr>
            <p:cNvSpPr/>
            <p:nvPr/>
          </p:nvSpPr>
          <p:spPr>
            <a:xfrm>
              <a:off x="3763072" y="2126239"/>
              <a:ext cx="102067" cy="265371"/>
            </a:xfrm>
            <a:custGeom>
              <a:avLst/>
              <a:gdLst>
                <a:gd name="connsiteX0" fmla="*/ 102068 w 102067"/>
                <a:gd name="connsiteY0" fmla="*/ 135771 h 265371"/>
                <a:gd name="connsiteX1" fmla="*/ 24925 w 102067"/>
                <a:gd name="connsiteY1" fmla="*/ 265371 h 265371"/>
                <a:gd name="connsiteX2" fmla="*/ 239 w 102067"/>
                <a:gd name="connsiteY2" fmla="*/ 151200 h 265371"/>
                <a:gd name="connsiteX3" fmla="*/ 80468 w 102067"/>
                <a:gd name="connsiteY3" fmla="*/ 0 h 265371"/>
                <a:gd name="connsiteX4" fmla="*/ 102068 w 102067"/>
                <a:gd name="connsiteY4" fmla="*/ 135771 h 265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067" h="265371">
                  <a:moveTo>
                    <a:pt x="102068" y="135771"/>
                  </a:moveTo>
                  <a:cubicBezTo>
                    <a:pt x="102068" y="135771"/>
                    <a:pt x="24925" y="234514"/>
                    <a:pt x="24925" y="265371"/>
                  </a:cubicBezTo>
                  <a:cubicBezTo>
                    <a:pt x="24925" y="265371"/>
                    <a:pt x="-2846" y="240686"/>
                    <a:pt x="239" y="151200"/>
                  </a:cubicBezTo>
                  <a:cubicBezTo>
                    <a:pt x="3325" y="89486"/>
                    <a:pt x="9496" y="3086"/>
                    <a:pt x="80468" y="0"/>
                  </a:cubicBezTo>
                  <a:cubicBezTo>
                    <a:pt x="80468" y="0"/>
                    <a:pt x="65039" y="108000"/>
                    <a:pt x="102068" y="135771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7" name="任意多边形: 形状 236">
              <a:extLst>
                <a:ext uri="{FF2B5EF4-FFF2-40B4-BE49-F238E27FC236}">
                  <a16:creationId xmlns:a16="http://schemas.microsoft.com/office/drawing/2014/main" id="{CD05C07B-57D4-46CE-A7D9-C25887F7B84C}"/>
                </a:ext>
              </a:extLst>
            </p:cNvPr>
            <p:cNvSpPr/>
            <p:nvPr/>
          </p:nvSpPr>
          <p:spPr>
            <a:xfrm>
              <a:off x="3818878" y="2044975"/>
              <a:ext cx="496776" cy="298326"/>
            </a:xfrm>
            <a:custGeom>
              <a:avLst/>
              <a:gdLst>
                <a:gd name="connsiteX0" fmla="*/ 46263 w 496776"/>
                <a:gd name="connsiteY0" fmla="*/ 217035 h 298326"/>
                <a:gd name="connsiteX1" fmla="*/ 175863 w 496776"/>
                <a:gd name="connsiteY1" fmla="*/ 204692 h 298326"/>
                <a:gd name="connsiteX2" fmla="*/ 496777 w 496776"/>
                <a:gd name="connsiteY2" fmla="*/ 257149 h 298326"/>
                <a:gd name="connsiteX3" fmla="*/ 163520 w 496776"/>
                <a:gd name="connsiteY3" fmla="*/ 1035 h 298326"/>
                <a:gd name="connsiteX4" fmla="*/ 24663 w 496776"/>
                <a:gd name="connsiteY4" fmla="*/ 84349 h 298326"/>
                <a:gd name="connsiteX5" fmla="*/ 46263 w 496776"/>
                <a:gd name="connsiteY5" fmla="*/ 217035 h 29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6776" h="298326">
                  <a:moveTo>
                    <a:pt x="46263" y="217035"/>
                  </a:moveTo>
                  <a:cubicBezTo>
                    <a:pt x="46263" y="217035"/>
                    <a:pt x="148091" y="198521"/>
                    <a:pt x="175863" y="204692"/>
                  </a:cubicBezTo>
                  <a:cubicBezTo>
                    <a:pt x="274605" y="229378"/>
                    <a:pt x="379520" y="365149"/>
                    <a:pt x="496777" y="257149"/>
                  </a:cubicBezTo>
                  <a:cubicBezTo>
                    <a:pt x="472091" y="146063"/>
                    <a:pt x="336320" y="-14394"/>
                    <a:pt x="163520" y="1035"/>
                  </a:cubicBezTo>
                  <a:cubicBezTo>
                    <a:pt x="80205" y="7206"/>
                    <a:pt x="37005" y="50406"/>
                    <a:pt x="24663" y="84349"/>
                  </a:cubicBezTo>
                  <a:cubicBezTo>
                    <a:pt x="24663" y="81263"/>
                    <a:pt x="-43223" y="186178"/>
                    <a:pt x="46263" y="217035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8" name="任意多边形: 形状 237">
              <a:extLst>
                <a:ext uri="{FF2B5EF4-FFF2-40B4-BE49-F238E27FC236}">
                  <a16:creationId xmlns:a16="http://schemas.microsoft.com/office/drawing/2014/main" id="{96C2F6A0-E0BA-47BC-900E-D3E951C5420D}"/>
                </a:ext>
              </a:extLst>
            </p:cNvPr>
            <p:cNvSpPr/>
            <p:nvPr/>
          </p:nvSpPr>
          <p:spPr>
            <a:xfrm>
              <a:off x="3726204" y="2348794"/>
              <a:ext cx="71462" cy="115812"/>
            </a:xfrm>
            <a:custGeom>
              <a:avLst/>
              <a:gdLst>
                <a:gd name="connsiteX0" fmla="*/ 67964 w 71462"/>
                <a:gd name="connsiteY0" fmla="*/ 24302 h 115812"/>
                <a:gd name="connsiteX1" fmla="*/ 12421 w 71462"/>
                <a:gd name="connsiteY1" fmla="*/ 2702 h 115812"/>
                <a:gd name="connsiteX2" fmla="*/ 49450 w 71462"/>
                <a:gd name="connsiteY2" fmla="*/ 113788 h 115812"/>
                <a:gd name="connsiteX3" fmla="*/ 67964 w 71462"/>
                <a:gd name="connsiteY3" fmla="*/ 24302 h 115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62" h="115812">
                  <a:moveTo>
                    <a:pt x="67964" y="24302"/>
                  </a:moveTo>
                  <a:cubicBezTo>
                    <a:pt x="67964" y="24302"/>
                    <a:pt x="40193" y="-9641"/>
                    <a:pt x="12421" y="2702"/>
                  </a:cubicBezTo>
                  <a:cubicBezTo>
                    <a:pt x="-15350" y="18131"/>
                    <a:pt x="6250" y="132302"/>
                    <a:pt x="49450" y="113788"/>
                  </a:cubicBezTo>
                  <a:cubicBezTo>
                    <a:pt x="83393" y="104531"/>
                    <a:pt x="67964" y="24302"/>
                    <a:pt x="67964" y="24302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9" name="任意多边形: 形状 238">
              <a:extLst>
                <a:ext uri="{FF2B5EF4-FFF2-40B4-BE49-F238E27FC236}">
                  <a16:creationId xmlns:a16="http://schemas.microsoft.com/office/drawing/2014/main" id="{57CAAD5D-6C05-4150-8352-2A36D2E1B7BE}"/>
                </a:ext>
              </a:extLst>
            </p:cNvPr>
            <p:cNvSpPr/>
            <p:nvPr/>
          </p:nvSpPr>
          <p:spPr>
            <a:xfrm>
              <a:off x="2933254" y="2734125"/>
              <a:ext cx="1396002" cy="1694400"/>
            </a:xfrm>
            <a:custGeom>
              <a:avLst/>
              <a:gdLst>
                <a:gd name="connsiteX0" fmla="*/ 836229 w 1396002"/>
                <a:gd name="connsiteY0" fmla="*/ 0 h 1694400"/>
                <a:gd name="connsiteX1" fmla="*/ 1123200 w 1396002"/>
                <a:gd name="connsiteY1" fmla="*/ 58629 h 1694400"/>
                <a:gd name="connsiteX2" fmla="*/ 1394743 w 1396002"/>
                <a:gd name="connsiteY2" fmla="*/ 246857 h 1694400"/>
                <a:gd name="connsiteX3" fmla="*/ 1197257 w 1396002"/>
                <a:gd name="connsiteY3" fmla="*/ 1660114 h 1694400"/>
                <a:gd name="connsiteX4" fmla="*/ 0 w 1396002"/>
                <a:gd name="connsiteY4" fmla="*/ 1660114 h 1694400"/>
                <a:gd name="connsiteX5" fmla="*/ 540000 w 1396002"/>
                <a:gd name="connsiteY5" fmla="*/ 46286 h 1694400"/>
                <a:gd name="connsiteX6" fmla="*/ 836229 w 1396002"/>
                <a:gd name="connsiteY6" fmla="*/ 0 h 169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6002" h="1694400">
                  <a:moveTo>
                    <a:pt x="836229" y="0"/>
                  </a:moveTo>
                  <a:cubicBezTo>
                    <a:pt x="836229" y="0"/>
                    <a:pt x="996686" y="89486"/>
                    <a:pt x="1123200" y="58629"/>
                  </a:cubicBezTo>
                  <a:cubicBezTo>
                    <a:pt x="1123200" y="58629"/>
                    <a:pt x="1376229" y="209829"/>
                    <a:pt x="1394743" y="246857"/>
                  </a:cubicBezTo>
                  <a:cubicBezTo>
                    <a:pt x="1413257" y="283886"/>
                    <a:pt x="1221943" y="1595314"/>
                    <a:pt x="1197257" y="1660114"/>
                  </a:cubicBezTo>
                  <a:cubicBezTo>
                    <a:pt x="1197257" y="1660114"/>
                    <a:pt x="651086" y="1737257"/>
                    <a:pt x="0" y="1660114"/>
                  </a:cubicBezTo>
                  <a:cubicBezTo>
                    <a:pt x="138857" y="663429"/>
                    <a:pt x="493714" y="67886"/>
                    <a:pt x="540000" y="46286"/>
                  </a:cubicBezTo>
                  <a:cubicBezTo>
                    <a:pt x="586286" y="21600"/>
                    <a:pt x="836229" y="0"/>
                    <a:pt x="836229" y="0"/>
                  </a:cubicBezTo>
                  <a:close/>
                </a:path>
              </a:pathLst>
            </a:custGeom>
            <a:solidFill>
              <a:srgbClr val="70868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AB8F06A6-5935-41FC-B191-6F76D81CCED8}"/>
                </a:ext>
              </a:extLst>
            </p:cNvPr>
            <p:cNvSpPr/>
            <p:nvPr/>
          </p:nvSpPr>
          <p:spPr>
            <a:xfrm>
              <a:off x="4216911" y="2974810"/>
              <a:ext cx="117257" cy="743657"/>
            </a:xfrm>
            <a:custGeom>
              <a:avLst/>
              <a:gdLst>
                <a:gd name="connsiteX0" fmla="*/ 6171 w 117257"/>
                <a:gd name="connsiteY0" fmla="*/ 743657 h 743657"/>
                <a:gd name="connsiteX1" fmla="*/ 6171 w 117257"/>
                <a:gd name="connsiteY1" fmla="*/ 743657 h 743657"/>
                <a:gd name="connsiteX2" fmla="*/ 0 w 117257"/>
                <a:gd name="connsiteY2" fmla="*/ 737486 h 743657"/>
                <a:gd name="connsiteX3" fmla="*/ 104914 w 117257"/>
                <a:gd name="connsiteY3" fmla="*/ 6171 h 743657"/>
                <a:gd name="connsiteX4" fmla="*/ 111086 w 117257"/>
                <a:gd name="connsiteY4" fmla="*/ 0 h 743657"/>
                <a:gd name="connsiteX5" fmla="*/ 111086 w 117257"/>
                <a:gd name="connsiteY5" fmla="*/ 0 h 743657"/>
                <a:gd name="connsiteX6" fmla="*/ 117257 w 117257"/>
                <a:gd name="connsiteY6" fmla="*/ 6171 h 743657"/>
                <a:gd name="connsiteX7" fmla="*/ 12343 w 117257"/>
                <a:gd name="connsiteY7" fmla="*/ 740571 h 743657"/>
                <a:gd name="connsiteX8" fmla="*/ 6171 w 117257"/>
                <a:gd name="connsiteY8" fmla="*/ 743657 h 743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257" h="743657">
                  <a:moveTo>
                    <a:pt x="6171" y="743657"/>
                  </a:moveTo>
                  <a:cubicBezTo>
                    <a:pt x="6171" y="743657"/>
                    <a:pt x="3086" y="743657"/>
                    <a:pt x="6171" y="743657"/>
                  </a:cubicBezTo>
                  <a:cubicBezTo>
                    <a:pt x="3086" y="743657"/>
                    <a:pt x="0" y="740571"/>
                    <a:pt x="0" y="737486"/>
                  </a:cubicBezTo>
                  <a:cubicBezTo>
                    <a:pt x="0" y="731314"/>
                    <a:pt x="104914" y="46286"/>
                    <a:pt x="104914" y="6171"/>
                  </a:cubicBezTo>
                  <a:cubicBezTo>
                    <a:pt x="104914" y="3086"/>
                    <a:pt x="108000" y="0"/>
                    <a:pt x="111086" y="0"/>
                  </a:cubicBezTo>
                  <a:cubicBezTo>
                    <a:pt x="111086" y="0"/>
                    <a:pt x="111086" y="0"/>
                    <a:pt x="111086" y="0"/>
                  </a:cubicBezTo>
                  <a:cubicBezTo>
                    <a:pt x="114171" y="0"/>
                    <a:pt x="117257" y="3086"/>
                    <a:pt x="117257" y="6171"/>
                  </a:cubicBezTo>
                  <a:cubicBezTo>
                    <a:pt x="117257" y="46286"/>
                    <a:pt x="18514" y="712800"/>
                    <a:pt x="12343" y="740571"/>
                  </a:cubicBezTo>
                  <a:cubicBezTo>
                    <a:pt x="9257" y="743657"/>
                    <a:pt x="9257" y="743657"/>
                    <a:pt x="6171" y="743657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id="{4100E5D5-8CFD-4CA9-BB54-F37003FB6A78}"/>
                </a:ext>
              </a:extLst>
            </p:cNvPr>
            <p:cNvSpPr/>
            <p:nvPr/>
          </p:nvSpPr>
          <p:spPr>
            <a:xfrm>
              <a:off x="3930711" y="2589867"/>
              <a:ext cx="119571" cy="42428"/>
            </a:xfrm>
            <a:custGeom>
              <a:avLst/>
              <a:gdLst>
                <a:gd name="connsiteX0" fmla="*/ 82543 w 119571"/>
                <a:gd name="connsiteY0" fmla="*/ 42429 h 42428"/>
                <a:gd name="connsiteX1" fmla="*/ 2314 w 119571"/>
                <a:gd name="connsiteY1" fmla="*/ 11571 h 42428"/>
                <a:gd name="connsiteX2" fmla="*/ 2314 w 119571"/>
                <a:gd name="connsiteY2" fmla="*/ 2314 h 42428"/>
                <a:gd name="connsiteX3" fmla="*/ 11571 w 119571"/>
                <a:gd name="connsiteY3" fmla="*/ 2314 h 42428"/>
                <a:gd name="connsiteX4" fmla="*/ 110314 w 119571"/>
                <a:gd name="connsiteY4" fmla="*/ 23914 h 42428"/>
                <a:gd name="connsiteX5" fmla="*/ 119571 w 119571"/>
                <a:gd name="connsiteY5" fmla="*/ 27000 h 42428"/>
                <a:gd name="connsiteX6" fmla="*/ 116486 w 119571"/>
                <a:gd name="connsiteY6" fmla="*/ 36257 h 42428"/>
                <a:gd name="connsiteX7" fmla="*/ 82543 w 119571"/>
                <a:gd name="connsiteY7" fmla="*/ 42429 h 4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571" h="42428">
                  <a:moveTo>
                    <a:pt x="82543" y="42429"/>
                  </a:moveTo>
                  <a:cubicBezTo>
                    <a:pt x="42429" y="42429"/>
                    <a:pt x="5400" y="14657"/>
                    <a:pt x="2314" y="11571"/>
                  </a:cubicBezTo>
                  <a:cubicBezTo>
                    <a:pt x="-771" y="8486"/>
                    <a:pt x="-771" y="5400"/>
                    <a:pt x="2314" y="2314"/>
                  </a:cubicBezTo>
                  <a:cubicBezTo>
                    <a:pt x="5400" y="-771"/>
                    <a:pt x="8486" y="-771"/>
                    <a:pt x="11571" y="2314"/>
                  </a:cubicBezTo>
                  <a:cubicBezTo>
                    <a:pt x="11571" y="2314"/>
                    <a:pt x="67114" y="45514"/>
                    <a:pt x="110314" y="23914"/>
                  </a:cubicBezTo>
                  <a:cubicBezTo>
                    <a:pt x="113400" y="23914"/>
                    <a:pt x="116486" y="23914"/>
                    <a:pt x="119571" y="27000"/>
                  </a:cubicBezTo>
                  <a:cubicBezTo>
                    <a:pt x="119571" y="30086"/>
                    <a:pt x="119571" y="33171"/>
                    <a:pt x="116486" y="36257"/>
                  </a:cubicBezTo>
                  <a:cubicBezTo>
                    <a:pt x="104143" y="39343"/>
                    <a:pt x="91800" y="42429"/>
                    <a:pt x="82543" y="42429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2" name="任意多边形: 形状 241">
              <a:extLst>
                <a:ext uri="{FF2B5EF4-FFF2-40B4-BE49-F238E27FC236}">
                  <a16:creationId xmlns:a16="http://schemas.microsoft.com/office/drawing/2014/main" id="{64FA55A3-7943-4C57-8A32-B49075DC12A8}"/>
                </a:ext>
              </a:extLst>
            </p:cNvPr>
            <p:cNvSpPr/>
            <p:nvPr/>
          </p:nvSpPr>
          <p:spPr>
            <a:xfrm>
              <a:off x="2609254" y="6711610"/>
              <a:ext cx="200571" cy="40114"/>
            </a:xfrm>
            <a:custGeom>
              <a:avLst/>
              <a:gdLst>
                <a:gd name="connsiteX0" fmla="*/ 0 w 200571"/>
                <a:gd name="connsiteY0" fmla="*/ 0 h 40114"/>
                <a:gd name="connsiteX1" fmla="*/ 200571 w 200571"/>
                <a:gd name="connsiteY1" fmla="*/ 0 h 40114"/>
                <a:gd name="connsiteX2" fmla="*/ 200571 w 200571"/>
                <a:gd name="connsiteY2" fmla="*/ 40114 h 40114"/>
                <a:gd name="connsiteX3" fmla="*/ 0 w 200571"/>
                <a:gd name="connsiteY3" fmla="*/ 40114 h 4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0571" h="40114">
                  <a:moveTo>
                    <a:pt x="0" y="0"/>
                  </a:moveTo>
                  <a:lnTo>
                    <a:pt x="200571" y="0"/>
                  </a:lnTo>
                  <a:lnTo>
                    <a:pt x="200571" y="40114"/>
                  </a:lnTo>
                  <a:lnTo>
                    <a:pt x="0" y="40114"/>
                  </a:ln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3" name="任意多边形: 形状 242">
              <a:extLst>
                <a:ext uri="{FF2B5EF4-FFF2-40B4-BE49-F238E27FC236}">
                  <a16:creationId xmlns:a16="http://schemas.microsoft.com/office/drawing/2014/main" id="{4AD1E4C1-7560-4918-A8FF-2D44D3EEA7A5}"/>
                </a:ext>
              </a:extLst>
            </p:cNvPr>
            <p:cNvSpPr/>
            <p:nvPr/>
          </p:nvSpPr>
          <p:spPr>
            <a:xfrm>
              <a:off x="2621597" y="6640639"/>
              <a:ext cx="188228" cy="70971"/>
            </a:xfrm>
            <a:custGeom>
              <a:avLst/>
              <a:gdLst>
                <a:gd name="connsiteX0" fmla="*/ 188229 w 188228"/>
                <a:gd name="connsiteY0" fmla="*/ 70971 h 70971"/>
                <a:gd name="connsiteX1" fmla="*/ 157371 w 188228"/>
                <a:gd name="connsiteY1" fmla="*/ 12343 h 70971"/>
                <a:gd name="connsiteX2" fmla="*/ 0 w 188228"/>
                <a:gd name="connsiteY2" fmla="*/ 0 h 70971"/>
                <a:gd name="connsiteX3" fmla="*/ 0 w 188228"/>
                <a:gd name="connsiteY3" fmla="*/ 70971 h 70971"/>
                <a:gd name="connsiteX4" fmla="*/ 188229 w 188228"/>
                <a:gd name="connsiteY4" fmla="*/ 70971 h 70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228" h="70971">
                  <a:moveTo>
                    <a:pt x="188229" y="70971"/>
                  </a:moveTo>
                  <a:cubicBezTo>
                    <a:pt x="188229" y="70971"/>
                    <a:pt x="175886" y="21600"/>
                    <a:pt x="157371" y="12343"/>
                  </a:cubicBezTo>
                  <a:cubicBezTo>
                    <a:pt x="138857" y="3085"/>
                    <a:pt x="0" y="0"/>
                    <a:pt x="0" y="0"/>
                  </a:cubicBezTo>
                  <a:lnTo>
                    <a:pt x="0" y="70971"/>
                  </a:lnTo>
                  <a:lnTo>
                    <a:pt x="188229" y="70971"/>
                  </a:ln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44" name="图形 1">
              <a:extLst>
                <a:ext uri="{FF2B5EF4-FFF2-40B4-BE49-F238E27FC236}">
                  <a16:creationId xmlns:a16="http://schemas.microsoft.com/office/drawing/2014/main" id="{89240D87-D30F-4B24-8EC9-55DDD15DD02D}"/>
                </a:ext>
              </a:extLst>
            </p:cNvPr>
            <p:cNvGrpSpPr/>
            <p:nvPr/>
          </p:nvGrpSpPr>
          <p:grpSpPr>
            <a:xfrm>
              <a:off x="4923540" y="5341398"/>
              <a:ext cx="1086171" cy="1456612"/>
              <a:chOff x="4923540" y="5341398"/>
              <a:chExt cx="1086171" cy="1456612"/>
            </a:xfrm>
          </p:grpSpPr>
          <p:sp>
            <p:nvSpPr>
              <p:cNvPr id="245" name="任意多边形: 形状 244">
                <a:extLst>
                  <a:ext uri="{FF2B5EF4-FFF2-40B4-BE49-F238E27FC236}">
                    <a16:creationId xmlns:a16="http://schemas.microsoft.com/office/drawing/2014/main" id="{36EF86A2-31B6-40C9-9E6A-6B12A9D617B0}"/>
                  </a:ext>
                </a:extLst>
              </p:cNvPr>
              <p:cNvSpPr/>
              <p:nvPr/>
            </p:nvSpPr>
            <p:spPr>
              <a:xfrm>
                <a:off x="4923540" y="5440296"/>
                <a:ext cx="1086171" cy="1258971"/>
              </a:xfrm>
              <a:custGeom>
                <a:avLst/>
                <a:gdLst>
                  <a:gd name="connsiteX0" fmla="*/ 101829 w 1086171"/>
                  <a:gd name="connsiteY0" fmla="*/ 1258972 h 1258971"/>
                  <a:gd name="connsiteX1" fmla="*/ 1005943 w 1086171"/>
                  <a:gd name="connsiteY1" fmla="*/ 1249714 h 1258971"/>
                  <a:gd name="connsiteX2" fmla="*/ 1086171 w 1086171"/>
                  <a:gd name="connsiteY2" fmla="*/ 0 h 1258971"/>
                  <a:gd name="connsiteX3" fmla="*/ 0 w 1086171"/>
                  <a:gd name="connsiteY3" fmla="*/ 9257 h 1258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6171" h="1258971">
                    <a:moveTo>
                      <a:pt x="101829" y="1258972"/>
                    </a:moveTo>
                    <a:lnTo>
                      <a:pt x="1005943" y="1249714"/>
                    </a:lnTo>
                    <a:lnTo>
                      <a:pt x="1086171" y="0"/>
                    </a:lnTo>
                    <a:lnTo>
                      <a:pt x="0" y="9257"/>
                    </a:lnTo>
                    <a:close/>
                  </a:path>
                </a:pathLst>
              </a:custGeom>
              <a:solidFill>
                <a:srgbClr val="7F95BC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6" name="任意多边形: 形状 245">
                <a:extLst>
                  <a:ext uri="{FF2B5EF4-FFF2-40B4-BE49-F238E27FC236}">
                    <a16:creationId xmlns:a16="http://schemas.microsoft.com/office/drawing/2014/main" id="{9521CBFB-C4FB-48A4-AAE4-78FFED603068}"/>
                  </a:ext>
                </a:extLst>
              </p:cNvPr>
              <p:cNvSpPr/>
              <p:nvPr/>
            </p:nvSpPr>
            <p:spPr>
              <a:xfrm>
                <a:off x="4923540" y="5341398"/>
                <a:ext cx="1086171" cy="203968"/>
              </a:xfrm>
              <a:custGeom>
                <a:avLst/>
                <a:gdLst>
                  <a:gd name="connsiteX0" fmla="*/ 0 w 1086171"/>
                  <a:gd name="connsiteY0" fmla="*/ 108156 h 203968"/>
                  <a:gd name="connsiteX1" fmla="*/ 543086 w 1086171"/>
                  <a:gd name="connsiteY1" fmla="*/ 203813 h 203968"/>
                  <a:gd name="connsiteX2" fmla="*/ 1086171 w 1086171"/>
                  <a:gd name="connsiteY2" fmla="*/ 95813 h 203968"/>
                  <a:gd name="connsiteX3" fmla="*/ 543086 w 1086171"/>
                  <a:gd name="connsiteY3" fmla="*/ 156 h 203968"/>
                  <a:gd name="connsiteX4" fmla="*/ 0 w 1086171"/>
                  <a:gd name="connsiteY4" fmla="*/ 108156 h 20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6171" h="203968">
                    <a:moveTo>
                      <a:pt x="0" y="108156"/>
                    </a:moveTo>
                    <a:cubicBezTo>
                      <a:pt x="0" y="163699"/>
                      <a:pt x="243771" y="206898"/>
                      <a:pt x="543086" y="203813"/>
                    </a:cubicBezTo>
                    <a:cubicBezTo>
                      <a:pt x="842400" y="200727"/>
                      <a:pt x="1086171" y="151356"/>
                      <a:pt x="1086171" y="95813"/>
                    </a:cubicBezTo>
                    <a:cubicBezTo>
                      <a:pt x="1086171" y="40270"/>
                      <a:pt x="842400" y="-2930"/>
                      <a:pt x="543086" y="156"/>
                    </a:cubicBezTo>
                    <a:cubicBezTo>
                      <a:pt x="240686" y="3241"/>
                      <a:pt x="0" y="52613"/>
                      <a:pt x="0" y="108156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7" name="任意多边形: 形状 246">
                <a:extLst>
                  <a:ext uri="{FF2B5EF4-FFF2-40B4-BE49-F238E27FC236}">
                    <a16:creationId xmlns:a16="http://schemas.microsoft.com/office/drawing/2014/main" id="{006738AC-69FF-46BB-AE63-278E38833A0A}"/>
                  </a:ext>
                </a:extLst>
              </p:cNvPr>
              <p:cNvSpPr/>
              <p:nvPr/>
            </p:nvSpPr>
            <p:spPr>
              <a:xfrm>
                <a:off x="5003769" y="5369112"/>
                <a:ext cx="925714" cy="148539"/>
              </a:xfrm>
              <a:custGeom>
                <a:avLst/>
                <a:gdLst>
                  <a:gd name="connsiteX0" fmla="*/ 0 w 925714"/>
                  <a:gd name="connsiteY0" fmla="*/ 80441 h 148539"/>
                  <a:gd name="connsiteX1" fmla="*/ 462857 w 925714"/>
                  <a:gd name="connsiteY1" fmla="*/ 148327 h 148539"/>
                  <a:gd name="connsiteX2" fmla="*/ 925714 w 925714"/>
                  <a:gd name="connsiteY2" fmla="*/ 68098 h 148539"/>
                  <a:gd name="connsiteX3" fmla="*/ 462857 w 925714"/>
                  <a:gd name="connsiteY3" fmla="*/ 213 h 148539"/>
                  <a:gd name="connsiteX4" fmla="*/ 0 w 925714"/>
                  <a:gd name="connsiteY4" fmla="*/ 80441 h 14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5714" h="148539">
                    <a:moveTo>
                      <a:pt x="0" y="80441"/>
                    </a:moveTo>
                    <a:cubicBezTo>
                      <a:pt x="0" y="120556"/>
                      <a:pt x="206743" y="151413"/>
                      <a:pt x="462857" y="148327"/>
                    </a:cubicBezTo>
                    <a:cubicBezTo>
                      <a:pt x="718972" y="145241"/>
                      <a:pt x="925714" y="111298"/>
                      <a:pt x="925714" y="68098"/>
                    </a:cubicBezTo>
                    <a:cubicBezTo>
                      <a:pt x="925714" y="27984"/>
                      <a:pt x="718972" y="-2873"/>
                      <a:pt x="462857" y="213"/>
                    </a:cubicBezTo>
                    <a:cubicBezTo>
                      <a:pt x="206743" y="3298"/>
                      <a:pt x="0" y="40327"/>
                      <a:pt x="0" y="80441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8" name="任意多边形: 形状 247">
                <a:extLst>
                  <a:ext uri="{FF2B5EF4-FFF2-40B4-BE49-F238E27FC236}">
                    <a16:creationId xmlns:a16="http://schemas.microsoft.com/office/drawing/2014/main" id="{D1B6F679-980D-4D0E-B625-529818945DBA}"/>
                  </a:ext>
                </a:extLst>
              </p:cNvPr>
              <p:cNvSpPr/>
              <p:nvPr/>
            </p:nvSpPr>
            <p:spPr>
              <a:xfrm>
                <a:off x="5025369" y="6591267"/>
                <a:ext cx="904114" cy="206742"/>
              </a:xfrm>
              <a:custGeom>
                <a:avLst/>
                <a:gdLst>
                  <a:gd name="connsiteX0" fmla="*/ 0 w 904114"/>
                  <a:gd name="connsiteY0" fmla="*/ 108000 h 206742"/>
                  <a:gd name="connsiteX1" fmla="*/ 453600 w 904114"/>
                  <a:gd name="connsiteY1" fmla="*/ 206743 h 206742"/>
                  <a:gd name="connsiteX2" fmla="*/ 904114 w 904114"/>
                  <a:gd name="connsiteY2" fmla="*/ 98743 h 206742"/>
                  <a:gd name="connsiteX3" fmla="*/ 450514 w 904114"/>
                  <a:gd name="connsiteY3" fmla="*/ 0 h 206742"/>
                  <a:gd name="connsiteX4" fmla="*/ 0 w 904114"/>
                  <a:gd name="connsiteY4" fmla="*/ 108000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4114" h="206742">
                    <a:moveTo>
                      <a:pt x="0" y="108000"/>
                    </a:moveTo>
                    <a:cubicBezTo>
                      <a:pt x="0" y="163543"/>
                      <a:pt x="203657" y="206743"/>
                      <a:pt x="453600" y="206743"/>
                    </a:cubicBezTo>
                    <a:cubicBezTo>
                      <a:pt x="703543" y="203657"/>
                      <a:pt x="904114" y="157372"/>
                      <a:pt x="904114" y="98743"/>
                    </a:cubicBezTo>
                    <a:cubicBezTo>
                      <a:pt x="904114" y="43200"/>
                      <a:pt x="700457" y="0"/>
                      <a:pt x="450514" y="0"/>
                    </a:cubicBezTo>
                    <a:cubicBezTo>
                      <a:pt x="203657" y="3086"/>
                      <a:pt x="0" y="52457"/>
                      <a:pt x="0" y="10800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249" name="图形 1">
                <a:extLst>
                  <a:ext uri="{FF2B5EF4-FFF2-40B4-BE49-F238E27FC236}">
                    <a16:creationId xmlns:a16="http://schemas.microsoft.com/office/drawing/2014/main" id="{89240D87-D30F-4B24-8EC9-55DDD15DD02D}"/>
                  </a:ext>
                </a:extLst>
              </p:cNvPr>
              <p:cNvGrpSpPr/>
              <p:nvPr/>
            </p:nvGrpSpPr>
            <p:grpSpPr>
              <a:xfrm>
                <a:off x="5062397" y="5616182"/>
                <a:ext cx="808457" cy="1107771"/>
                <a:chOff x="5062397" y="5616182"/>
                <a:chExt cx="808457" cy="1107771"/>
              </a:xfrm>
              <a:solidFill>
                <a:srgbClr val="F6EBEB"/>
              </a:solidFill>
            </p:grpSpPr>
            <p:sp>
              <p:nvSpPr>
                <p:cNvPr id="250" name="任意多边形: 形状 249">
                  <a:extLst>
                    <a:ext uri="{FF2B5EF4-FFF2-40B4-BE49-F238E27FC236}">
                      <a16:creationId xmlns:a16="http://schemas.microsoft.com/office/drawing/2014/main" id="{455A24C7-CB44-49DE-86A5-EE99583F0D8B}"/>
                    </a:ext>
                  </a:extLst>
                </p:cNvPr>
                <p:cNvSpPr/>
                <p:nvPr/>
              </p:nvSpPr>
              <p:spPr>
                <a:xfrm>
                  <a:off x="5062397" y="5621748"/>
                  <a:ext cx="90091" cy="1037405"/>
                </a:xfrm>
                <a:custGeom>
                  <a:avLst/>
                  <a:gdLst>
                    <a:gd name="connsiteX0" fmla="*/ 74057 w 90091"/>
                    <a:gd name="connsiteY0" fmla="*/ 1037405 h 1037405"/>
                    <a:gd name="connsiteX1" fmla="*/ 74057 w 90091"/>
                    <a:gd name="connsiteY1" fmla="*/ 1037405 h 1037405"/>
                    <a:gd name="connsiteX2" fmla="*/ 89486 w 90091"/>
                    <a:gd name="connsiteY2" fmla="*/ 1018891 h 1037405"/>
                    <a:gd name="connsiteX3" fmla="*/ 33943 w 90091"/>
                    <a:gd name="connsiteY3" fmla="*/ 16034 h 1037405"/>
                    <a:gd name="connsiteX4" fmla="*/ 15429 w 90091"/>
                    <a:gd name="connsiteY4" fmla="*/ 605 h 1037405"/>
                    <a:gd name="connsiteX5" fmla="*/ 0 w 90091"/>
                    <a:gd name="connsiteY5" fmla="*/ 19119 h 1037405"/>
                    <a:gd name="connsiteX6" fmla="*/ 55543 w 90091"/>
                    <a:gd name="connsiteY6" fmla="*/ 1021977 h 1037405"/>
                    <a:gd name="connsiteX7" fmla="*/ 74057 w 90091"/>
                    <a:gd name="connsiteY7" fmla="*/ 1037405 h 1037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0091" h="1037405">
                      <a:moveTo>
                        <a:pt x="74057" y="1037405"/>
                      </a:moveTo>
                      <a:cubicBezTo>
                        <a:pt x="74057" y="1037405"/>
                        <a:pt x="74057" y="1037405"/>
                        <a:pt x="74057" y="1037405"/>
                      </a:cubicBezTo>
                      <a:cubicBezTo>
                        <a:pt x="83314" y="1037405"/>
                        <a:pt x="92571" y="1028148"/>
                        <a:pt x="89486" y="1018891"/>
                      </a:cubicBezTo>
                      <a:lnTo>
                        <a:pt x="33943" y="16034"/>
                      </a:lnTo>
                      <a:cubicBezTo>
                        <a:pt x="33943" y="6777"/>
                        <a:pt x="24686" y="-2480"/>
                        <a:pt x="15429" y="605"/>
                      </a:cubicBezTo>
                      <a:cubicBezTo>
                        <a:pt x="6171" y="605"/>
                        <a:pt x="0" y="9862"/>
                        <a:pt x="0" y="19119"/>
                      </a:cubicBezTo>
                      <a:lnTo>
                        <a:pt x="55543" y="1021977"/>
                      </a:lnTo>
                      <a:cubicBezTo>
                        <a:pt x="55543" y="1031234"/>
                        <a:pt x="64800" y="1037405"/>
                        <a:pt x="74057" y="1037405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1" name="任意多边形: 形状 250">
                  <a:extLst>
                    <a:ext uri="{FF2B5EF4-FFF2-40B4-BE49-F238E27FC236}">
                      <a16:creationId xmlns:a16="http://schemas.microsoft.com/office/drawing/2014/main" id="{D7D0C4E1-5E9C-4B3B-A7E7-90D68C340A54}"/>
                    </a:ext>
                  </a:extLst>
                </p:cNvPr>
                <p:cNvSpPr/>
                <p:nvPr/>
              </p:nvSpPr>
              <p:spPr>
                <a:xfrm>
                  <a:off x="5253711" y="5662467"/>
                  <a:ext cx="68491" cy="1036799"/>
                </a:xfrm>
                <a:custGeom>
                  <a:avLst/>
                  <a:gdLst>
                    <a:gd name="connsiteX0" fmla="*/ 52457 w 68491"/>
                    <a:gd name="connsiteY0" fmla="*/ 1036800 h 1036799"/>
                    <a:gd name="connsiteX1" fmla="*/ 52457 w 68491"/>
                    <a:gd name="connsiteY1" fmla="*/ 1036800 h 1036799"/>
                    <a:gd name="connsiteX2" fmla="*/ 67886 w 68491"/>
                    <a:gd name="connsiteY2" fmla="*/ 1018286 h 1036799"/>
                    <a:gd name="connsiteX3" fmla="*/ 33943 w 68491"/>
                    <a:gd name="connsiteY3" fmla="*/ 15429 h 1036799"/>
                    <a:gd name="connsiteX4" fmla="*/ 15429 w 68491"/>
                    <a:gd name="connsiteY4" fmla="*/ 0 h 1036799"/>
                    <a:gd name="connsiteX5" fmla="*/ 0 w 68491"/>
                    <a:gd name="connsiteY5" fmla="*/ 18514 h 1036799"/>
                    <a:gd name="connsiteX6" fmla="*/ 33943 w 68491"/>
                    <a:gd name="connsiteY6" fmla="*/ 1021371 h 1036799"/>
                    <a:gd name="connsiteX7" fmla="*/ 52457 w 68491"/>
                    <a:gd name="connsiteY7" fmla="*/ 1036800 h 1036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8491" h="1036799">
                      <a:moveTo>
                        <a:pt x="52457" y="1036800"/>
                      </a:moveTo>
                      <a:cubicBezTo>
                        <a:pt x="52457" y="1036800"/>
                        <a:pt x="55543" y="1036800"/>
                        <a:pt x="52457" y="1036800"/>
                      </a:cubicBezTo>
                      <a:cubicBezTo>
                        <a:pt x="61714" y="1036800"/>
                        <a:pt x="70972" y="1027543"/>
                        <a:pt x="67886" y="1018286"/>
                      </a:cubicBezTo>
                      <a:lnTo>
                        <a:pt x="33943" y="15429"/>
                      </a:lnTo>
                      <a:cubicBezTo>
                        <a:pt x="33943" y="6171"/>
                        <a:pt x="24686" y="0"/>
                        <a:pt x="15429" y="0"/>
                      </a:cubicBezTo>
                      <a:cubicBezTo>
                        <a:pt x="6172" y="0"/>
                        <a:pt x="0" y="9257"/>
                        <a:pt x="0" y="18514"/>
                      </a:cubicBezTo>
                      <a:lnTo>
                        <a:pt x="33943" y="1021371"/>
                      </a:lnTo>
                      <a:cubicBezTo>
                        <a:pt x="37029" y="1027543"/>
                        <a:pt x="43200" y="1036800"/>
                        <a:pt x="52457" y="103680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2" name="任意多边形: 形状 251">
                  <a:extLst>
                    <a:ext uri="{FF2B5EF4-FFF2-40B4-BE49-F238E27FC236}">
                      <a16:creationId xmlns:a16="http://schemas.microsoft.com/office/drawing/2014/main" id="{24397EE3-4A34-4EE7-BD22-2E946DBC360D}"/>
                    </a:ext>
                  </a:extLst>
                </p:cNvPr>
                <p:cNvSpPr/>
                <p:nvPr/>
              </p:nvSpPr>
              <p:spPr>
                <a:xfrm>
                  <a:off x="5451197" y="5687153"/>
                  <a:ext cx="43200" cy="1036800"/>
                </a:xfrm>
                <a:custGeom>
                  <a:avLst/>
                  <a:gdLst>
                    <a:gd name="connsiteX0" fmla="*/ 27771 w 43200"/>
                    <a:gd name="connsiteY0" fmla="*/ 1036800 h 1036800"/>
                    <a:gd name="connsiteX1" fmla="*/ 43200 w 43200"/>
                    <a:gd name="connsiteY1" fmla="*/ 1018286 h 1036800"/>
                    <a:gd name="connsiteX2" fmla="*/ 33943 w 43200"/>
                    <a:gd name="connsiteY2" fmla="*/ 15429 h 1036800"/>
                    <a:gd name="connsiteX3" fmla="*/ 15429 w 43200"/>
                    <a:gd name="connsiteY3" fmla="*/ 0 h 1036800"/>
                    <a:gd name="connsiteX4" fmla="*/ 0 w 43200"/>
                    <a:gd name="connsiteY4" fmla="*/ 18514 h 1036800"/>
                    <a:gd name="connsiteX5" fmla="*/ 9257 w 43200"/>
                    <a:gd name="connsiteY5" fmla="*/ 1021372 h 1036800"/>
                    <a:gd name="connsiteX6" fmla="*/ 27771 w 43200"/>
                    <a:gd name="connsiteY6" fmla="*/ 1036800 h 1036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200" h="1036800">
                      <a:moveTo>
                        <a:pt x="27771" y="1036800"/>
                      </a:moveTo>
                      <a:cubicBezTo>
                        <a:pt x="37029" y="1036800"/>
                        <a:pt x="43200" y="1027543"/>
                        <a:pt x="43200" y="1018286"/>
                      </a:cubicBezTo>
                      <a:lnTo>
                        <a:pt x="33943" y="15429"/>
                      </a:lnTo>
                      <a:cubicBezTo>
                        <a:pt x="33943" y="6172"/>
                        <a:pt x="24686" y="0"/>
                        <a:pt x="15429" y="0"/>
                      </a:cubicBezTo>
                      <a:cubicBezTo>
                        <a:pt x="6172" y="0"/>
                        <a:pt x="0" y="9257"/>
                        <a:pt x="0" y="18514"/>
                      </a:cubicBezTo>
                      <a:lnTo>
                        <a:pt x="9257" y="1021372"/>
                      </a:lnTo>
                      <a:cubicBezTo>
                        <a:pt x="9257" y="1030629"/>
                        <a:pt x="18514" y="1036800"/>
                        <a:pt x="27771" y="103680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3" name="任意多边形: 形状 252">
                  <a:extLst>
                    <a:ext uri="{FF2B5EF4-FFF2-40B4-BE49-F238E27FC236}">
                      <a16:creationId xmlns:a16="http://schemas.microsoft.com/office/drawing/2014/main" id="{15A71074-4BEA-49BD-8439-DBD8E44ABDFC}"/>
                    </a:ext>
                  </a:extLst>
                </p:cNvPr>
                <p:cNvSpPr/>
                <p:nvPr/>
              </p:nvSpPr>
              <p:spPr>
                <a:xfrm>
                  <a:off x="5630169" y="5659382"/>
                  <a:ext cx="46285" cy="1036799"/>
                </a:xfrm>
                <a:custGeom>
                  <a:avLst/>
                  <a:gdLst>
                    <a:gd name="connsiteX0" fmla="*/ 18514 w 46285"/>
                    <a:gd name="connsiteY0" fmla="*/ 1036800 h 1036799"/>
                    <a:gd name="connsiteX1" fmla="*/ 33943 w 46285"/>
                    <a:gd name="connsiteY1" fmla="*/ 1021371 h 1036799"/>
                    <a:gd name="connsiteX2" fmla="*/ 46286 w 46285"/>
                    <a:gd name="connsiteY2" fmla="*/ 18514 h 1036799"/>
                    <a:gd name="connsiteX3" fmla="*/ 30857 w 46285"/>
                    <a:gd name="connsiteY3" fmla="*/ 0 h 1036799"/>
                    <a:gd name="connsiteX4" fmla="*/ 12343 w 46285"/>
                    <a:gd name="connsiteY4" fmla="*/ 15429 h 1036799"/>
                    <a:gd name="connsiteX5" fmla="*/ 0 w 46285"/>
                    <a:gd name="connsiteY5" fmla="*/ 1018286 h 1036799"/>
                    <a:gd name="connsiteX6" fmla="*/ 18514 w 46285"/>
                    <a:gd name="connsiteY6" fmla="*/ 1036800 h 1036799"/>
                    <a:gd name="connsiteX7" fmla="*/ 18514 w 46285"/>
                    <a:gd name="connsiteY7" fmla="*/ 1036800 h 1036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285" h="1036799">
                      <a:moveTo>
                        <a:pt x="18514" y="1036800"/>
                      </a:moveTo>
                      <a:cubicBezTo>
                        <a:pt x="27771" y="1036800"/>
                        <a:pt x="33943" y="1030628"/>
                        <a:pt x="33943" y="1021371"/>
                      </a:cubicBezTo>
                      <a:lnTo>
                        <a:pt x="46286" y="18514"/>
                      </a:lnTo>
                      <a:cubicBezTo>
                        <a:pt x="46286" y="9257"/>
                        <a:pt x="40114" y="0"/>
                        <a:pt x="30857" y="0"/>
                      </a:cubicBezTo>
                      <a:cubicBezTo>
                        <a:pt x="21600" y="0"/>
                        <a:pt x="12343" y="6171"/>
                        <a:pt x="12343" y="15429"/>
                      </a:cubicBezTo>
                      <a:lnTo>
                        <a:pt x="0" y="1018286"/>
                      </a:lnTo>
                      <a:cubicBezTo>
                        <a:pt x="3086" y="1027543"/>
                        <a:pt x="9257" y="1036800"/>
                        <a:pt x="18514" y="1036800"/>
                      </a:cubicBezTo>
                      <a:cubicBezTo>
                        <a:pt x="18514" y="1036800"/>
                        <a:pt x="18514" y="1036800"/>
                        <a:pt x="18514" y="103680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4" name="任意多边形: 形状 253">
                  <a:extLst>
                    <a:ext uri="{FF2B5EF4-FFF2-40B4-BE49-F238E27FC236}">
                      <a16:creationId xmlns:a16="http://schemas.microsoft.com/office/drawing/2014/main" id="{541931AA-F21C-4247-B02F-111565070780}"/>
                    </a:ext>
                  </a:extLst>
                </p:cNvPr>
                <p:cNvSpPr/>
                <p:nvPr/>
              </p:nvSpPr>
              <p:spPr>
                <a:xfrm>
                  <a:off x="5802969" y="5616182"/>
                  <a:ext cx="67885" cy="1036799"/>
                </a:xfrm>
                <a:custGeom>
                  <a:avLst/>
                  <a:gdLst>
                    <a:gd name="connsiteX0" fmla="*/ 18514 w 67885"/>
                    <a:gd name="connsiteY0" fmla="*/ 1036800 h 1036799"/>
                    <a:gd name="connsiteX1" fmla="*/ 33943 w 67885"/>
                    <a:gd name="connsiteY1" fmla="*/ 1021371 h 1036799"/>
                    <a:gd name="connsiteX2" fmla="*/ 67886 w 67885"/>
                    <a:gd name="connsiteY2" fmla="*/ 18514 h 1036799"/>
                    <a:gd name="connsiteX3" fmla="*/ 52457 w 67885"/>
                    <a:gd name="connsiteY3" fmla="*/ 0 h 1036799"/>
                    <a:gd name="connsiteX4" fmla="*/ 33943 w 67885"/>
                    <a:gd name="connsiteY4" fmla="*/ 15429 h 1036799"/>
                    <a:gd name="connsiteX5" fmla="*/ 0 w 67885"/>
                    <a:gd name="connsiteY5" fmla="*/ 1018286 h 1036799"/>
                    <a:gd name="connsiteX6" fmla="*/ 18514 w 67885"/>
                    <a:gd name="connsiteY6" fmla="*/ 1036800 h 1036799"/>
                    <a:gd name="connsiteX7" fmla="*/ 18514 w 67885"/>
                    <a:gd name="connsiteY7" fmla="*/ 1036800 h 1036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7885" h="1036799">
                      <a:moveTo>
                        <a:pt x="18514" y="1036800"/>
                      </a:moveTo>
                      <a:cubicBezTo>
                        <a:pt x="27771" y="1036800"/>
                        <a:pt x="33943" y="1030629"/>
                        <a:pt x="33943" y="1021371"/>
                      </a:cubicBezTo>
                      <a:lnTo>
                        <a:pt x="67886" y="18514"/>
                      </a:lnTo>
                      <a:cubicBezTo>
                        <a:pt x="67886" y="9257"/>
                        <a:pt x="61714" y="0"/>
                        <a:pt x="52457" y="0"/>
                      </a:cubicBezTo>
                      <a:cubicBezTo>
                        <a:pt x="43200" y="0"/>
                        <a:pt x="33943" y="6171"/>
                        <a:pt x="33943" y="15429"/>
                      </a:cubicBezTo>
                      <a:lnTo>
                        <a:pt x="0" y="1018286"/>
                      </a:lnTo>
                      <a:cubicBezTo>
                        <a:pt x="0" y="1027543"/>
                        <a:pt x="9257" y="1036800"/>
                        <a:pt x="18514" y="1036800"/>
                      </a:cubicBezTo>
                      <a:cubicBezTo>
                        <a:pt x="18514" y="1036800"/>
                        <a:pt x="18514" y="1036800"/>
                        <a:pt x="18514" y="103680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255" name="任意多边形: 形状 254">
              <a:extLst>
                <a:ext uri="{FF2B5EF4-FFF2-40B4-BE49-F238E27FC236}">
                  <a16:creationId xmlns:a16="http://schemas.microsoft.com/office/drawing/2014/main" id="{4669E046-6271-493A-8461-426F04A69323}"/>
                </a:ext>
              </a:extLst>
            </p:cNvPr>
            <p:cNvSpPr/>
            <p:nvPr/>
          </p:nvSpPr>
          <p:spPr>
            <a:xfrm>
              <a:off x="5130283" y="3746523"/>
              <a:ext cx="281000" cy="221145"/>
            </a:xfrm>
            <a:custGeom>
              <a:avLst/>
              <a:gdLst>
                <a:gd name="connsiteX0" fmla="*/ 222172 w 281000"/>
                <a:gd name="connsiteY0" fmla="*/ 178687 h 221145"/>
                <a:gd name="connsiteX1" fmla="*/ 259200 w 281000"/>
                <a:gd name="connsiteY1" fmla="*/ 138573 h 221145"/>
                <a:gd name="connsiteX2" fmla="*/ 280800 w 281000"/>
                <a:gd name="connsiteY2" fmla="*/ 107716 h 221145"/>
                <a:gd name="connsiteX3" fmla="*/ 271543 w 281000"/>
                <a:gd name="connsiteY3" fmla="*/ 52173 h 221145"/>
                <a:gd name="connsiteX4" fmla="*/ 268457 w 281000"/>
                <a:gd name="connsiteY4" fmla="*/ 2801 h 221145"/>
                <a:gd name="connsiteX5" fmla="*/ 0 w 281000"/>
                <a:gd name="connsiteY5" fmla="*/ 73773 h 221145"/>
                <a:gd name="connsiteX6" fmla="*/ 40114 w 281000"/>
                <a:gd name="connsiteY6" fmla="*/ 209544 h 221145"/>
                <a:gd name="connsiteX7" fmla="*/ 178972 w 281000"/>
                <a:gd name="connsiteY7" fmla="*/ 197201 h 221145"/>
                <a:gd name="connsiteX8" fmla="*/ 222172 w 281000"/>
                <a:gd name="connsiteY8" fmla="*/ 178687 h 22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1000" h="221145">
                  <a:moveTo>
                    <a:pt x="222172" y="178687"/>
                  </a:moveTo>
                  <a:cubicBezTo>
                    <a:pt x="225257" y="169430"/>
                    <a:pt x="249943" y="154001"/>
                    <a:pt x="259200" y="138573"/>
                  </a:cubicBezTo>
                  <a:cubicBezTo>
                    <a:pt x="259200" y="135487"/>
                    <a:pt x="277714" y="120058"/>
                    <a:pt x="280800" y="107716"/>
                  </a:cubicBezTo>
                  <a:cubicBezTo>
                    <a:pt x="283886" y="95373"/>
                    <a:pt x="249943" y="58344"/>
                    <a:pt x="271543" y="52173"/>
                  </a:cubicBezTo>
                  <a:cubicBezTo>
                    <a:pt x="283886" y="49087"/>
                    <a:pt x="280800" y="2801"/>
                    <a:pt x="268457" y="2801"/>
                  </a:cubicBezTo>
                  <a:cubicBezTo>
                    <a:pt x="200571" y="-3370"/>
                    <a:pt x="24686" y="-6456"/>
                    <a:pt x="0" y="73773"/>
                  </a:cubicBezTo>
                  <a:cubicBezTo>
                    <a:pt x="0" y="73773"/>
                    <a:pt x="15429" y="191030"/>
                    <a:pt x="40114" y="209544"/>
                  </a:cubicBezTo>
                  <a:cubicBezTo>
                    <a:pt x="77143" y="240401"/>
                    <a:pt x="135771" y="200287"/>
                    <a:pt x="178972" y="197201"/>
                  </a:cubicBezTo>
                  <a:cubicBezTo>
                    <a:pt x="209829" y="197201"/>
                    <a:pt x="216000" y="197201"/>
                    <a:pt x="222172" y="178687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56" name="图形 1">
              <a:extLst>
                <a:ext uri="{FF2B5EF4-FFF2-40B4-BE49-F238E27FC236}">
                  <a16:creationId xmlns:a16="http://schemas.microsoft.com/office/drawing/2014/main" id="{89240D87-D30F-4B24-8EC9-55DDD15DD02D}"/>
                </a:ext>
              </a:extLst>
            </p:cNvPr>
            <p:cNvGrpSpPr/>
            <p:nvPr/>
          </p:nvGrpSpPr>
          <p:grpSpPr>
            <a:xfrm>
              <a:off x="5293208" y="3367020"/>
              <a:ext cx="461211" cy="1049576"/>
              <a:chOff x="5293208" y="3367020"/>
              <a:chExt cx="461211" cy="1049576"/>
            </a:xfrm>
          </p:grpSpPr>
          <p:sp>
            <p:nvSpPr>
              <p:cNvPr id="257" name="任意多边形: 形状 256">
                <a:extLst>
                  <a:ext uri="{FF2B5EF4-FFF2-40B4-BE49-F238E27FC236}">
                    <a16:creationId xmlns:a16="http://schemas.microsoft.com/office/drawing/2014/main" id="{F8918927-AC50-4A33-9BDB-75A63B337134}"/>
                  </a:ext>
                </a:extLst>
              </p:cNvPr>
              <p:cNvSpPr/>
              <p:nvPr/>
            </p:nvSpPr>
            <p:spPr>
              <a:xfrm>
                <a:off x="5338682" y="3367020"/>
                <a:ext cx="415737" cy="1049576"/>
              </a:xfrm>
              <a:custGeom>
                <a:avLst/>
                <a:gdLst>
                  <a:gd name="connsiteX0" fmla="*/ 226686 w 415737"/>
                  <a:gd name="connsiteY0" fmla="*/ 95333 h 1049576"/>
                  <a:gd name="connsiteX1" fmla="*/ 4515 w 415737"/>
                  <a:gd name="connsiteY1" fmla="*/ 888362 h 1049576"/>
                  <a:gd name="connsiteX2" fmla="*/ 94000 w 415737"/>
                  <a:gd name="connsiteY2" fmla="*/ 1048819 h 1049576"/>
                  <a:gd name="connsiteX3" fmla="*/ 337772 w 415737"/>
                  <a:gd name="connsiteY3" fmla="*/ 555104 h 1049576"/>
                  <a:gd name="connsiteX4" fmla="*/ 387143 w 415737"/>
                  <a:gd name="connsiteY4" fmla="*/ 5847 h 1049576"/>
                  <a:gd name="connsiteX5" fmla="*/ 226686 w 415737"/>
                  <a:gd name="connsiteY5" fmla="*/ 95333 h 1049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737" h="1049576">
                    <a:moveTo>
                      <a:pt x="226686" y="95333"/>
                    </a:moveTo>
                    <a:lnTo>
                      <a:pt x="4515" y="888362"/>
                    </a:lnTo>
                    <a:cubicBezTo>
                      <a:pt x="-14000" y="959333"/>
                      <a:pt x="26115" y="1030304"/>
                      <a:pt x="94000" y="1048819"/>
                    </a:cubicBezTo>
                    <a:cubicBezTo>
                      <a:pt x="149543" y="1064247"/>
                      <a:pt x="257543" y="842076"/>
                      <a:pt x="337772" y="555104"/>
                    </a:cubicBezTo>
                    <a:cubicBezTo>
                      <a:pt x="418000" y="265047"/>
                      <a:pt x="439600" y="21276"/>
                      <a:pt x="387143" y="5847"/>
                    </a:cubicBezTo>
                    <a:cubicBezTo>
                      <a:pt x="316172" y="-15753"/>
                      <a:pt x="245200" y="24362"/>
                      <a:pt x="226686" y="95333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8" name="任意多边形: 形状 257">
                <a:extLst>
                  <a:ext uri="{FF2B5EF4-FFF2-40B4-BE49-F238E27FC236}">
                    <a16:creationId xmlns:a16="http://schemas.microsoft.com/office/drawing/2014/main" id="{A5260EFD-CB56-479D-ACCE-1FFB0DD34AD9}"/>
                  </a:ext>
                </a:extLst>
              </p:cNvPr>
              <p:cNvSpPr/>
              <p:nvPr/>
            </p:nvSpPr>
            <p:spPr>
              <a:xfrm>
                <a:off x="5293208" y="3668479"/>
                <a:ext cx="241303" cy="364731"/>
              </a:xfrm>
              <a:custGeom>
                <a:avLst/>
                <a:gdLst>
                  <a:gd name="connsiteX0" fmla="*/ 241303 w 241303"/>
                  <a:gd name="connsiteY0" fmla="*/ 28389 h 364731"/>
                  <a:gd name="connsiteX1" fmla="*/ 222789 w 241303"/>
                  <a:gd name="connsiteY1" fmla="*/ 93189 h 364731"/>
                  <a:gd name="connsiteX2" fmla="*/ 161074 w 241303"/>
                  <a:gd name="connsiteY2" fmla="*/ 74674 h 364731"/>
                  <a:gd name="connsiteX3" fmla="*/ 105532 w 241303"/>
                  <a:gd name="connsiteY3" fmla="*/ 105531 h 364731"/>
                  <a:gd name="connsiteX4" fmla="*/ 71589 w 241303"/>
                  <a:gd name="connsiteY4" fmla="*/ 225874 h 364731"/>
                  <a:gd name="connsiteX5" fmla="*/ 102446 w 241303"/>
                  <a:gd name="connsiteY5" fmla="*/ 281417 h 364731"/>
                  <a:gd name="connsiteX6" fmla="*/ 164160 w 241303"/>
                  <a:gd name="connsiteY6" fmla="*/ 299932 h 364731"/>
                  <a:gd name="connsiteX7" fmla="*/ 145646 w 241303"/>
                  <a:gd name="connsiteY7" fmla="*/ 364732 h 364731"/>
                  <a:gd name="connsiteX8" fmla="*/ 83932 w 241303"/>
                  <a:gd name="connsiteY8" fmla="*/ 346217 h 364731"/>
                  <a:gd name="connsiteX9" fmla="*/ 3703 w 241303"/>
                  <a:gd name="connsiteY9" fmla="*/ 204274 h 364731"/>
                  <a:gd name="connsiteX10" fmla="*/ 37646 w 241303"/>
                  <a:gd name="connsiteY10" fmla="*/ 83932 h 364731"/>
                  <a:gd name="connsiteX11" fmla="*/ 176503 w 241303"/>
                  <a:gd name="connsiteY11" fmla="*/ 3703 h 364731"/>
                  <a:gd name="connsiteX12" fmla="*/ 241303 w 241303"/>
                  <a:gd name="connsiteY12" fmla="*/ 28389 h 364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1303" h="364731">
                    <a:moveTo>
                      <a:pt x="241303" y="28389"/>
                    </a:moveTo>
                    <a:lnTo>
                      <a:pt x="222789" y="93189"/>
                    </a:lnTo>
                    <a:lnTo>
                      <a:pt x="161074" y="74674"/>
                    </a:lnTo>
                    <a:cubicBezTo>
                      <a:pt x="136389" y="68503"/>
                      <a:pt x="111703" y="80846"/>
                      <a:pt x="105532" y="105531"/>
                    </a:cubicBezTo>
                    <a:lnTo>
                      <a:pt x="71589" y="225874"/>
                    </a:lnTo>
                    <a:cubicBezTo>
                      <a:pt x="65417" y="250560"/>
                      <a:pt x="77760" y="275246"/>
                      <a:pt x="102446" y="281417"/>
                    </a:cubicBezTo>
                    <a:lnTo>
                      <a:pt x="164160" y="299932"/>
                    </a:lnTo>
                    <a:lnTo>
                      <a:pt x="145646" y="364732"/>
                    </a:lnTo>
                    <a:lnTo>
                      <a:pt x="83932" y="346217"/>
                    </a:lnTo>
                    <a:cubicBezTo>
                      <a:pt x="22217" y="330789"/>
                      <a:pt x="-11726" y="265989"/>
                      <a:pt x="3703" y="204274"/>
                    </a:cubicBezTo>
                    <a:lnTo>
                      <a:pt x="37646" y="83932"/>
                    </a:lnTo>
                    <a:cubicBezTo>
                      <a:pt x="53074" y="22217"/>
                      <a:pt x="117875" y="-11726"/>
                      <a:pt x="176503" y="3703"/>
                    </a:cubicBezTo>
                    <a:lnTo>
                      <a:pt x="241303" y="28389"/>
                    </a:ln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59" name="图形 1">
              <a:extLst>
                <a:ext uri="{FF2B5EF4-FFF2-40B4-BE49-F238E27FC236}">
                  <a16:creationId xmlns:a16="http://schemas.microsoft.com/office/drawing/2014/main" id="{89240D87-D30F-4B24-8EC9-55DDD15DD02D}"/>
                </a:ext>
              </a:extLst>
            </p:cNvPr>
            <p:cNvGrpSpPr/>
            <p:nvPr/>
          </p:nvGrpSpPr>
          <p:grpSpPr>
            <a:xfrm>
              <a:off x="5256389" y="3742810"/>
              <a:ext cx="210663" cy="195236"/>
              <a:chOff x="5256389" y="3742810"/>
              <a:chExt cx="210663" cy="195236"/>
            </a:xfrm>
          </p:grpSpPr>
          <p:sp>
            <p:nvSpPr>
              <p:cNvPr id="260" name="任意多边形: 形状 259">
                <a:extLst>
                  <a:ext uri="{FF2B5EF4-FFF2-40B4-BE49-F238E27FC236}">
                    <a16:creationId xmlns:a16="http://schemas.microsoft.com/office/drawing/2014/main" id="{26CF7B08-744A-41D2-A2FE-B290B3F2CA9D}"/>
                  </a:ext>
                </a:extLst>
              </p:cNvPr>
              <p:cNvSpPr/>
              <p:nvPr/>
            </p:nvSpPr>
            <p:spPr>
              <a:xfrm>
                <a:off x="5296514" y="3748461"/>
                <a:ext cx="170538" cy="82311"/>
              </a:xfrm>
              <a:custGeom>
                <a:avLst/>
                <a:gdLst>
                  <a:gd name="connsiteX0" fmla="*/ 163940 w 170538"/>
                  <a:gd name="connsiteY0" fmla="*/ 25550 h 82311"/>
                  <a:gd name="connsiteX1" fmla="*/ 62111 w 170538"/>
                  <a:gd name="connsiteY1" fmla="*/ 3950 h 82311"/>
                  <a:gd name="connsiteX2" fmla="*/ 46683 w 170538"/>
                  <a:gd name="connsiteY2" fmla="*/ 864 h 82311"/>
                  <a:gd name="connsiteX3" fmla="*/ 28169 w 170538"/>
                  <a:gd name="connsiteY3" fmla="*/ 3950 h 82311"/>
                  <a:gd name="connsiteX4" fmla="*/ 397 w 170538"/>
                  <a:gd name="connsiteY4" fmla="*/ 47150 h 82311"/>
                  <a:gd name="connsiteX5" fmla="*/ 43597 w 170538"/>
                  <a:gd name="connsiteY5" fmla="*/ 71835 h 82311"/>
                  <a:gd name="connsiteX6" fmla="*/ 111483 w 170538"/>
                  <a:gd name="connsiteY6" fmla="*/ 81093 h 82311"/>
                  <a:gd name="connsiteX7" fmla="*/ 160854 w 170538"/>
                  <a:gd name="connsiteY7" fmla="*/ 71835 h 82311"/>
                  <a:gd name="connsiteX8" fmla="*/ 163940 w 170538"/>
                  <a:gd name="connsiteY8" fmla="*/ 25550 h 82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0538" h="82311">
                    <a:moveTo>
                      <a:pt x="163940" y="25550"/>
                    </a:moveTo>
                    <a:cubicBezTo>
                      <a:pt x="142340" y="3950"/>
                      <a:pt x="102226" y="7035"/>
                      <a:pt x="62111" y="3950"/>
                    </a:cubicBezTo>
                    <a:cubicBezTo>
                      <a:pt x="59026" y="3950"/>
                      <a:pt x="49769" y="-2222"/>
                      <a:pt x="46683" y="864"/>
                    </a:cubicBezTo>
                    <a:cubicBezTo>
                      <a:pt x="40512" y="864"/>
                      <a:pt x="34340" y="864"/>
                      <a:pt x="28169" y="3950"/>
                    </a:cubicBezTo>
                    <a:cubicBezTo>
                      <a:pt x="12740" y="10121"/>
                      <a:pt x="-2689" y="28635"/>
                      <a:pt x="397" y="47150"/>
                    </a:cubicBezTo>
                    <a:cubicBezTo>
                      <a:pt x="3483" y="65664"/>
                      <a:pt x="28169" y="68750"/>
                      <a:pt x="43597" y="71835"/>
                    </a:cubicBezTo>
                    <a:cubicBezTo>
                      <a:pt x="65197" y="74921"/>
                      <a:pt x="86797" y="78007"/>
                      <a:pt x="111483" y="81093"/>
                    </a:cubicBezTo>
                    <a:cubicBezTo>
                      <a:pt x="126911" y="81093"/>
                      <a:pt x="145426" y="87264"/>
                      <a:pt x="160854" y="71835"/>
                    </a:cubicBezTo>
                    <a:cubicBezTo>
                      <a:pt x="173197" y="53321"/>
                      <a:pt x="173197" y="34807"/>
                      <a:pt x="163940" y="2555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1" name="任意多边形: 形状 260">
                <a:extLst>
                  <a:ext uri="{FF2B5EF4-FFF2-40B4-BE49-F238E27FC236}">
                    <a16:creationId xmlns:a16="http://schemas.microsoft.com/office/drawing/2014/main" id="{E5BDE379-3F23-4242-9EFB-D6B8FB22DABD}"/>
                  </a:ext>
                </a:extLst>
              </p:cNvPr>
              <p:cNvSpPr/>
              <p:nvPr/>
            </p:nvSpPr>
            <p:spPr>
              <a:xfrm>
                <a:off x="5262571" y="3792525"/>
                <a:ext cx="170538" cy="81447"/>
              </a:xfrm>
              <a:custGeom>
                <a:avLst/>
                <a:gdLst>
                  <a:gd name="connsiteX0" fmla="*/ 163940 w 170538"/>
                  <a:gd name="connsiteY0" fmla="*/ 27771 h 81447"/>
                  <a:gd name="connsiteX1" fmla="*/ 55940 w 170538"/>
                  <a:gd name="connsiteY1" fmla="*/ 0 h 81447"/>
                  <a:gd name="connsiteX2" fmla="*/ 46683 w 170538"/>
                  <a:gd name="connsiteY2" fmla="*/ 0 h 81447"/>
                  <a:gd name="connsiteX3" fmla="*/ 28169 w 170538"/>
                  <a:gd name="connsiteY3" fmla="*/ 3086 h 81447"/>
                  <a:gd name="connsiteX4" fmla="*/ 397 w 170538"/>
                  <a:gd name="connsiteY4" fmla="*/ 46286 h 81447"/>
                  <a:gd name="connsiteX5" fmla="*/ 43597 w 170538"/>
                  <a:gd name="connsiteY5" fmla="*/ 70971 h 81447"/>
                  <a:gd name="connsiteX6" fmla="*/ 111483 w 170538"/>
                  <a:gd name="connsiteY6" fmla="*/ 80229 h 81447"/>
                  <a:gd name="connsiteX7" fmla="*/ 160854 w 170538"/>
                  <a:gd name="connsiteY7" fmla="*/ 70971 h 81447"/>
                  <a:gd name="connsiteX8" fmla="*/ 163940 w 170538"/>
                  <a:gd name="connsiteY8" fmla="*/ 27771 h 81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0538" h="81447">
                    <a:moveTo>
                      <a:pt x="163940" y="27771"/>
                    </a:moveTo>
                    <a:cubicBezTo>
                      <a:pt x="139254" y="-3086"/>
                      <a:pt x="92969" y="6171"/>
                      <a:pt x="55940" y="0"/>
                    </a:cubicBezTo>
                    <a:cubicBezTo>
                      <a:pt x="52854" y="0"/>
                      <a:pt x="49769" y="0"/>
                      <a:pt x="46683" y="0"/>
                    </a:cubicBezTo>
                    <a:cubicBezTo>
                      <a:pt x="40512" y="0"/>
                      <a:pt x="34340" y="0"/>
                      <a:pt x="28169" y="3086"/>
                    </a:cubicBezTo>
                    <a:cubicBezTo>
                      <a:pt x="12740" y="9257"/>
                      <a:pt x="-2689" y="27771"/>
                      <a:pt x="397" y="46286"/>
                    </a:cubicBezTo>
                    <a:cubicBezTo>
                      <a:pt x="3483" y="64800"/>
                      <a:pt x="28169" y="67886"/>
                      <a:pt x="43597" y="70971"/>
                    </a:cubicBezTo>
                    <a:cubicBezTo>
                      <a:pt x="65197" y="74057"/>
                      <a:pt x="86797" y="77143"/>
                      <a:pt x="111483" y="80229"/>
                    </a:cubicBezTo>
                    <a:cubicBezTo>
                      <a:pt x="126911" y="80229"/>
                      <a:pt x="145426" y="86400"/>
                      <a:pt x="160854" y="70971"/>
                    </a:cubicBezTo>
                    <a:cubicBezTo>
                      <a:pt x="173197" y="55543"/>
                      <a:pt x="173197" y="40114"/>
                      <a:pt x="163940" y="2777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2" name="任意多边形: 形状 261">
                <a:extLst>
                  <a:ext uri="{FF2B5EF4-FFF2-40B4-BE49-F238E27FC236}">
                    <a16:creationId xmlns:a16="http://schemas.microsoft.com/office/drawing/2014/main" id="{D0C38740-7C3E-4C64-8E81-16D6F3D55851}"/>
                  </a:ext>
                </a:extLst>
              </p:cNvPr>
              <p:cNvSpPr/>
              <p:nvPr/>
            </p:nvSpPr>
            <p:spPr>
              <a:xfrm>
                <a:off x="5262969" y="3841896"/>
                <a:ext cx="147342" cy="72514"/>
              </a:xfrm>
              <a:custGeom>
                <a:avLst/>
                <a:gdLst>
                  <a:gd name="connsiteX0" fmla="*/ 141943 w 147342"/>
                  <a:gd name="connsiteY0" fmla="*/ 27771 h 72514"/>
                  <a:gd name="connsiteX1" fmla="*/ 49371 w 147342"/>
                  <a:gd name="connsiteY1" fmla="*/ 0 h 72514"/>
                  <a:gd name="connsiteX2" fmla="*/ 40114 w 147342"/>
                  <a:gd name="connsiteY2" fmla="*/ 0 h 72514"/>
                  <a:gd name="connsiteX3" fmla="*/ 24686 w 147342"/>
                  <a:gd name="connsiteY3" fmla="*/ 3086 h 72514"/>
                  <a:gd name="connsiteX4" fmla="*/ 0 w 147342"/>
                  <a:gd name="connsiteY4" fmla="*/ 40114 h 72514"/>
                  <a:gd name="connsiteX5" fmla="*/ 37028 w 147342"/>
                  <a:gd name="connsiteY5" fmla="*/ 61714 h 72514"/>
                  <a:gd name="connsiteX6" fmla="*/ 95657 w 147342"/>
                  <a:gd name="connsiteY6" fmla="*/ 70971 h 72514"/>
                  <a:gd name="connsiteX7" fmla="*/ 138857 w 147342"/>
                  <a:gd name="connsiteY7" fmla="*/ 64800 h 72514"/>
                  <a:gd name="connsiteX8" fmla="*/ 141943 w 147342"/>
                  <a:gd name="connsiteY8" fmla="*/ 27771 h 72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7342" h="72514">
                    <a:moveTo>
                      <a:pt x="141943" y="27771"/>
                    </a:moveTo>
                    <a:cubicBezTo>
                      <a:pt x="120343" y="0"/>
                      <a:pt x="80229" y="6171"/>
                      <a:pt x="49371" y="0"/>
                    </a:cubicBezTo>
                    <a:cubicBezTo>
                      <a:pt x="46286" y="0"/>
                      <a:pt x="43200" y="0"/>
                      <a:pt x="40114" y="0"/>
                    </a:cubicBezTo>
                    <a:cubicBezTo>
                      <a:pt x="33943" y="0"/>
                      <a:pt x="30857" y="0"/>
                      <a:pt x="24686" y="3086"/>
                    </a:cubicBezTo>
                    <a:cubicBezTo>
                      <a:pt x="9257" y="9257"/>
                      <a:pt x="0" y="24686"/>
                      <a:pt x="0" y="40114"/>
                    </a:cubicBezTo>
                    <a:cubicBezTo>
                      <a:pt x="3086" y="55543"/>
                      <a:pt x="24686" y="58629"/>
                      <a:pt x="37028" y="61714"/>
                    </a:cubicBezTo>
                    <a:cubicBezTo>
                      <a:pt x="55543" y="64800"/>
                      <a:pt x="74057" y="67886"/>
                      <a:pt x="95657" y="70971"/>
                    </a:cubicBezTo>
                    <a:cubicBezTo>
                      <a:pt x="108000" y="70971"/>
                      <a:pt x="126514" y="77143"/>
                      <a:pt x="138857" y="64800"/>
                    </a:cubicBezTo>
                    <a:cubicBezTo>
                      <a:pt x="151200" y="49371"/>
                      <a:pt x="148114" y="37028"/>
                      <a:pt x="141943" y="2777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3" name="任意多边形: 形状 262">
                <a:extLst>
                  <a:ext uri="{FF2B5EF4-FFF2-40B4-BE49-F238E27FC236}">
                    <a16:creationId xmlns:a16="http://schemas.microsoft.com/office/drawing/2014/main" id="{8D267FCC-126F-428B-853F-43A35BB6B12B}"/>
                  </a:ext>
                </a:extLst>
              </p:cNvPr>
              <p:cNvSpPr/>
              <p:nvPr/>
            </p:nvSpPr>
            <p:spPr>
              <a:xfrm>
                <a:off x="5272226" y="3891267"/>
                <a:ext cx="107999" cy="46779"/>
              </a:xfrm>
              <a:custGeom>
                <a:avLst/>
                <a:gdLst>
                  <a:gd name="connsiteX0" fmla="*/ 104914 w 107999"/>
                  <a:gd name="connsiteY0" fmla="*/ 21600 h 46779"/>
                  <a:gd name="connsiteX1" fmla="*/ 37028 w 107999"/>
                  <a:gd name="connsiteY1" fmla="*/ 0 h 46779"/>
                  <a:gd name="connsiteX2" fmla="*/ 30857 w 107999"/>
                  <a:gd name="connsiteY2" fmla="*/ 0 h 46779"/>
                  <a:gd name="connsiteX3" fmla="*/ 18514 w 107999"/>
                  <a:gd name="connsiteY3" fmla="*/ 0 h 46779"/>
                  <a:gd name="connsiteX4" fmla="*/ 0 w 107999"/>
                  <a:gd name="connsiteY4" fmla="*/ 24686 h 46779"/>
                  <a:gd name="connsiteX5" fmla="*/ 27771 w 107999"/>
                  <a:gd name="connsiteY5" fmla="*/ 40114 h 46779"/>
                  <a:gd name="connsiteX6" fmla="*/ 70971 w 107999"/>
                  <a:gd name="connsiteY6" fmla="*/ 46286 h 46779"/>
                  <a:gd name="connsiteX7" fmla="*/ 101828 w 107999"/>
                  <a:gd name="connsiteY7" fmla="*/ 40114 h 46779"/>
                  <a:gd name="connsiteX8" fmla="*/ 104914 w 107999"/>
                  <a:gd name="connsiteY8" fmla="*/ 2160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999" h="46779">
                    <a:moveTo>
                      <a:pt x="104914" y="21600"/>
                    </a:moveTo>
                    <a:cubicBezTo>
                      <a:pt x="89486" y="0"/>
                      <a:pt x="58628" y="6171"/>
                      <a:pt x="37028" y="0"/>
                    </a:cubicBezTo>
                    <a:cubicBezTo>
                      <a:pt x="33943" y="0"/>
                      <a:pt x="33943" y="0"/>
                      <a:pt x="30857" y="0"/>
                    </a:cubicBezTo>
                    <a:cubicBezTo>
                      <a:pt x="27771" y="0"/>
                      <a:pt x="24686" y="0"/>
                      <a:pt x="18514" y="0"/>
                    </a:cubicBezTo>
                    <a:cubicBezTo>
                      <a:pt x="9257" y="3086"/>
                      <a:pt x="0" y="15429"/>
                      <a:pt x="0" y="24686"/>
                    </a:cubicBezTo>
                    <a:cubicBezTo>
                      <a:pt x="3086" y="37028"/>
                      <a:pt x="18514" y="37028"/>
                      <a:pt x="27771" y="40114"/>
                    </a:cubicBezTo>
                    <a:cubicBezTo>
                      <a:pt x="40114" y="43200"/>
                      <a:pt x="55543" y="46286"/>
                      <a:pt x="70971" y="46286"/>
                    </a:cubicBezTo>
                    <a:cubicBezTo>
                      <a:pt x="80229" y="46286"/>
                      <a:pt x="92571" y="49371"/>
                      <a:pt x="101828" y="40114"/>
                    </a:cubicBezTo>
                    <a:cubicBezTo>
                      <a:pt x="111086" y="37028"/>
                      <a:pt x="108000" y="27771"/>
                      <a:pt x="104914" y="2160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4" name="任意多边形: 形状 263">
                <a:extLst>
                  <a:ext uri="{FF2B5EF4-FFF2-40B4-BE49-F238E27FC236}">
                    <a16:creationId xmlns:a16="http://schemas.microsoft.com/office/drawing/2014/main" id="{AC7725F7-0903-473B-AE23-5D0B698B1704}"/>
                  </a:ext>
                </a:extLst>
              </p:cNvPr>
              <p:cNvSpPr/>
              <p:nvPr/>
            </p:nvSpPr>
            <p:spPr>
              <a:xfrm>
                <a:off x="5259151" y="3742810"/>
                <a:ext cx="182017" cy="129942"/>
              </a:xfrm>
              <a:custGeom>
                <a:avLst/>
                <a:gdLst>
                  <a:gd name="connsiteX0" fmla="*/ 117989 w 182017"/>
                  <a:gd name="connsiteY0" fmla="*/ 129943 h 129942"/>
                  <a:gd name="connsiteX1" fmla="*/ 62446 w 182017"/>
                  <a:gd name="connsiteY1" fmla="*/ 123771 h 129942"/>
                  <a:gd name="connsiteX2" fmla="*/ 732 w 182017"/>
                  <a:gd name="connsiteY2" fmla="*/ 83657 h 129942"/>
                  <a:gd name="connsiteX3" fmla="*/ 34674 w 182017"/>
                  <a:gd name="connsiteY3" fmla="*/ 43543 h 129942"/>
                  <a:gd name="connsiteX4" fmla="*/ 34674 w 182017"/>
                  <a:gd name="connsiteY4" fmla="*/ 43543 h 129942"/>
                  <a:gd name="connsiteX5" fmla="*/ 34674 w 182017"/>
                  <a:gd name="connsiteY5" fmla="*/ 28114 h 129942"/>
                  <a:gd name="connsiteX6" fmla="*/ 47017 w 182017"/>
                  <a:gd name="connsiteY6" fmla="*/ 9600 h 129942"/>
                  <a:gd name="connsiteX7" fmla="*/ 164274 w 182017"/>
                  <a:gd name="connsiteY7" fmla="*/ 9600 h 129942"/>
                  <a:gd name="connsiteX8" fmla="*/ 167360 w 182017"/>
                  <a:gd name="connsiteY8" fmla="*/ 15771 h 129942"/>
                  <a:gd name="connsiteX9" fmla="*/ 161189 w 182017"/>
                  <a:gd name="connsiteY9" fmla="*/ 18857 h 129942"/>
                  <a:gd name="connsiteX10" fmla="*/ 53189 w 182017"/>
                  <a:gd name="connsiteY10" fmla="*/ 15771 h 129942"/>
                  <a:gd name="connsiteX11" fmla="*/ 47017 w 182017"/>
                  <a:gd name="connsiteY11" fmla="*/ 25029 h 129942"/>
                  <a:gd name="connsiteX12" fmla="*/ 50103 w 182017"/>
                  <a:gd name="connsiteY12" fmla="*/ 43543 h 129942"/>
                  <a:gd name="connsiteX13" fmla="*/ 167360 w 182017"/>
                  <a:gd name="connsiteY13" fmla="*/ 68229 h 129942"/>
                  <a:gd name="connsiteX14" fmla="*/ 179703 w 182017"/>
                  <a:gd name="connsiteY14" fmla="*/ 74400 h 129942"/>
                  <a:gd name="connsiteX15" fmla="*/ 179703 w 182017"/>
                  <a:gd name="connsiteY15" fmla="*/ 99086 h 129942"/>
                  <a:gd name="connsiteX16" fmla="*/ 117989 w 182017"/>
                  <a:gd name="connsiteY16" fmla="*/ 129943 h 129942"/>
                  <a:gd name="connsiteX17" fmla="*/ 40846 w 182017"/>
                  <a:gd name="connsiteY17" fmla="*/ 55886 h 129942"/>
                  <a:gd name="connsiteX18" fmla="*/ 13074 w 182017"/>
                  <a:gd name="connsiteY18" fmla="*/ 86743 h 129942"/>
                  <a:gd name="connsiteX19" fmla="*/ 65531 w 182017"/>
                  <a:gd name="connsiteY19" fmla="*/ 114514 h 129942"/>
                  <a:gd name="connsiteX20" fmla="*/ 167360 w 182017"/>
                  <a:gd name="connsiteY20" fmla="*/ 102171 h 129942"/>
                  <a:gd name="connsiteX21" fmla="*/ 170446 w 182017"/>
                  <a:gd name="connsiteY21" fmla="*/ 89829 h 129942"/>
                  <a:gd name="connsiteX22" fmla="*/ 167360 w 182017"/>
                  <a:gd name="connsiteY22" fmla="*/ 86743 h 129942"/>
                  <a:gd name="connsiteX23" fmla="*/ 40846 w 182017"/>
                  <a:gd name="connsiteY23" fmla="*/ 55886 h 129942"/>
                  <a:gd name="connsiteX24" fmla="*/ 40846 w 182017"/>
                  <a:gd name="connsiteY24" fmla="*/ 55886 h 129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82017" h="129942">
                    <a:moveTo>
                      <a:pt x="117989" y="129943"/>
                    </a:moveTo>
                    <a:cubicBezTo>
                      <a:pt x="102560" y="129943"/>
                      <a:pt x="84046" y="126857"/>
                      <a:pt x="62446" y="123771"/>
                    </a:cubicBezTo>
                    <a:cubicBezTo>
                      <a:pt x="28503" y="117600"/>
                      <a:pt x="-5440" y="111429"/>
                      <a:pt x="732" y="83657"/>
                    </a:cubicBezTo>
                    <a:cubicBezTo>
                      <a:pt x="3817" y="62057"/>
                      <a:pt x="34674" y="43543"/>
                      <a:pt x="34674" y="43543"/>
                    </a:cubicBezTo>
                    <a:cubicBezTo>
                      <a:pt x="34674" y="43543"/>
                      <a:pt x="34674" y="43543"/>
                      <a:pt x="34674" y="43543"/>
                    </a:cubicBezTo>
                    <a:cubicBezTo>
                      <a:pt x="34674" y="37371"/>
                      <a:pt x="34674" y="31200"/>
                      <a:pt x="34674" y="28114"/>
                    </a:cubicBezTo>
                    <a:cubicBezTo>
                      <a:pt x="34674" y="21943"/>
                      <a:pt x="40846" y="15771"/>
                      <a:pt x="47017" y="9600"/>
                    </a:cubicBezTo>
                    <a:cubicBezTo>
                      <a:pt x="77874" y="-12000"/>
                      <a:pt x="161189" y="9600"/>
                      <a:pt x="164274" y="9600"/>
                    </a:cubicBezTo>
                    <a:cubicBezTo>
                      <a:pt x="167360" y="9600"/>
                      <a:pt x="170446" y="12686"/>
                      <a:pt x="167360" y="15771"/>
                    </a:cubicBezTo>
                    <a:cubicBezTo>
                      <a:pt x="167360" y="18857"/>
                      <a:pt x="164274" y="21943"/>
                      <a:pt x="161189" y="18857"/>
                    </a:cubicBezTo>
                    <a:cubicBezTo>
                      <a:pt x="139589" y="12686"/>
                      <a:pt x="74789" y="343"/>
                      <a:pt x="53189" y="15771"/>
                    </a:cubicBezTo>
                    <a:cubicBezTo>
                      <a:pt x="50103" y="18857"/>
                      <a:pt x="47017" y="21943"/>
                      <a:pt x="47017" y="25029"/>
                    </a:cubicBezTo>
                    <a:cubicBezTo>
                      <a:pt x="47017" y="31200"/>
                      <a:pt x="47017" y="37371"/>
                      <a:pt x="50103" y="43543"/>
                    </a:cubicBezTo>
                    <a:cubicBezTo>
                      <a:pt x="62446" y="55886"/>
                      <a:pt x="102560" y="65143"/>
                      <a:pt x="167360" y="68229"/>
                    </a:cubicBezTo>
                    <a:cubicBezTo>
                      <a:pt x="167360" y="68229"/>
                      <a:pt x="176617" y="68229"/>
                      <a:pt x="179703" y="74400"/>
                    </a:cubicBezTo>
                    <a:cubicBezTo>
                      <a:pt x="182789" y="80572"/>
                      <a:pt x="182789" y="89829"/>
                      <a:pt x="179703" y="99086"/>
                    </a:cubicBezTo>
                    <a:cubicBezTo>
                      <a:pt x="173531" y="120686"/>
                      <a:pt x="151932" y="129943"/>
                      <a:pt x="117989" y="129943"/>
                    </a:cubicBezTo>
                    <a:close/>
                    <a:moveTo>
                      <a:pt x="40846" y="55886"/>
                    </a:moveTo>
                    <a:cubicBezTo>
                      <a:pt x="34674" y="62057"/>
                      <a:pt x="16160" y="74400"/>
                      <a:pt x="13074" y="86743"/>
                    </a:cubicBezTo>
                    <a:cubicBezTo>
                      <a:pt x="9989" y="99086"/>
                      <a:pt x="22331" y="105257"/>
                      <a:pt x="65531" y="114514"/>
                    </a:cubicBezTo>
                    <a:cubicBezTo>
                      <a:pt x="124160" y="123771"/>
                      <a:pt x="161189" y="120686"/>
                      <a:pt x="167360" y="102171"/>
                    </a:cubicBezTo>
                    <a:cubicBezTo>
                      <a:pt x="170446" y="92914"/>
                      <a:pt x="170446" y="89829"/>
                      <a:pt x="170446" y="89829"/>
                    </a:cubicBezTo>
                    <a:cubicBezTo>
                      <a:pt x="170446" y="89829"/>
                      <a:pt x="167360" y="86743"/>
                      <a:pt x="167360" y="86743"/>
                    </a:cubicBezTo>
                    <a:cubicBezTo>
                      <a:pt x="71703" y="80572"/>
                      <a:pt x="50103" y="68229"/>
                      <a:pt x="40846" y="55886"/>
                    </a:cubicBezTo>
                    <a:cubicBezTo>
                      <a:pt x="40846" y="55886"/>
                      <a:pt x="40846" y="55886"/>
                      <a:pt x="40846" y="5588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5" name="任意多边形: 形状 264">
                <a:extLst>
                  <a:ext uri="{FF2B5EF4-FFF2-40B4-BE49-F238E27FC236}">
                    <a16:creationId xmlns:a16="http://schemas.microsoft.com/office/drawing/2014/main" id="{FA8C9F12-AF09-459A-BAD9-F082A1C14CA4}"/>
                  </a:ext>
                </a:extLst>
              </p:cNvPr>
              <p:cNvSpPr/>
              <p:nvPr/>
            </p:nvSpPr>
            <p:spPr>
              <a:xfrm>
                <a:off x="5256389" y="3839582"/>
                <a:ext cx="159806" cy="76371"/>
              </a:xfrm>
              <a:custGeom>
                <a:avLst/>
                <a:gdLst>
                  <a:gd name="connsiteX0" fmla="*/ 111494 w 159806"/>
                  <a:gd name="connsiteY0" fmla="*/ 76371 h 76371"/>
                  <a:gd name="connsiteX1" fmla="*/ 25094 w 159806"/>
                  <a:gd name="connsiteY1" fmla="*/ 60943 h 76371"/>
                  <a:gd name="connsiteX2" fmla="*/ 408 w 159806"/>
                  <a:gd name="connsiteY2" fmla="*/ 39343 h 76371"/>
                  <a:gd name="connsiteX3" fmla="*/ 12751 w 159806"/>
                  <a:gd name="connsiteY3" fmla="*/ 2314 h 76371"/>
                  <a:gd name="connsiteX4" fmla="*/ 22008 w 159806"/>
                  <a:gd name="connsiteY4" fmla="*/ 2314 h 76371"/>
                  <a:gd name="connsiteX5" fmla="*/ 22008 w 159806"/>
                  <a:gd name="connsiteY5" fmla="*/ 11571 h 76371"/>
                  <a:gd name="connsiteX6" fmla="*/ 12751 w 159806"/>
                  <a:gd name="connsiteY6" fmla="*/ 36257 h 76371"/>
                  <a:gd name="connsiteX7" fmla="*/ 28179 w 159806"/>
                  <a:gd name="connsiteY7" fmla="*/ 51686 h 76371"/>
                  <a:gd name="connsiteX8" fmla="*/ 136179 w 159806"/>
                  <a:gd name="connsiteY8" fmla="*/ 64029 h 76371"/>
                  <a:gd name="connsiteX9" fmla="*/ 145437 w 159806"/>
                  <a:gd name="connsiteY9" fmla="*/ 54771 h 76371"/>
                  <a:gd name="connsiteX10" fmla="*/ 145437 w 159806"/>
                  <a:gd name="connsiteY10" fmla="*/ 36257 h 76371"/>
                  <a:gd name="connsiteX11" fmla="*/ 145437 w 159806"/>
                  <a:gd name="connsiteY11" fmla="*/ 27000 h 76371"/>
                  <a:gd name="connsiteX12" fmla="*/ 154694 w 159806"/>
                  <a:gd name="connsiteY12" fmla="*/ 27000 h 76371"/>
                  <a:gd name="connsiteX13" fmla="*/ 157779 w 159806"/>
                  <a:gd name="connsiteY13" fmla="*/ 57857 h 76371"/>
                  <a:gd name="connsiteX14" fmla="*/ 139265 w 159806"/>
                  <a:gd name="connsiteY14" fmla="*/ 76371 h 76371"/>
                  <a:gd name="connsiteX15" fmla="*/ 111494 w 159806"/>
                  <a:gd name="connsiteY15" fmla="*/ 76371 h 76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9806" h="76371">
                    <a:moveTo>
                      <a:pt x="111494" y="76371"/>
                    </a:moveTo>
                    <a:cubicBezTo>
                      <a:pt x="86808" y="76371"/>
                      <a:pt x="52865" y="73286"/>
                      <a:pt x="25094" y="60943"/>
                    </a:cubicBezTo>
                    <a:cubicBezTo>
                      <a:pt x="12751" y="54771"/>
                      <a:pt x="3494" y="48600"/>
                      <a:pt x="408" y="39343"/>
                    </a:cubicBezTo>
                    <a:cubicBezTo>
                      <a:pt x="-2678" y="20828"/>
                      <a:pt x="12751" y="2314"/>
                      <a:pt x="12751" y="2314"/>
                    </a:cubicBezTo>
                    <a:cubicBezTo>
                      <a:pt x="15837" y="-771"/>
                      <a:pt x="18922" y="-771"/>
                      <a:pt x="22008" y="2314"/>
                    </a:cubicBezTo>
                    <a:cubicBezTo>
                      <a:pt x="25094" y="5400"/>
                      <a:pt x="25094" y="8486"/>
                      <a:pt x="22008" y="11571"/>
                    </a:cubicBezTo>
                    <a:cubicBezTo>
                      <a:pt x="18922" y="14657"/>
                      <a:pt x="9665" y="27000"/>
                      <a:pt x="12751" y="36257"/>
                    </a:cubicBezTo>
                    <a:cubicBezTo>
                      <a:pt x="15837" y="42428"/>
                      <a:pt x="18922" y="48600"/>
                      <a:pt x="28179" y="51686"/>
                    </a:cubicBezTo>
                    <a:cubicBezTo>
                      <a:pt x="68294" y="67114"/>
                      <a:pt x="120751" y="67114"/>
                      <a:pt x="136179" y="64029"/>
                    </a:cubicBezTo>
                    <a:cubicBezTo>
                      <a:pt x="142351" y="64029"/>
                      <a:pt x="142351" y="57857"/>
                      <a:pt x="145437" y="54771"/>
                    </a:cubicBezTo>
                    <a:cubicBezTo>
                      <a:pt x="148522" y="45514"/>
                      <a:pt x="145437" y="36257"/>
                      <a:pt x="145437" y="36257"/>
                    </a:cubicBezTo>
                    <a:cubicBezTo>
                      <a:pt x="142351" y="33171"/>
                      <a:pt x="142351" y="30086"/>
                      <a:pt x="145437" y="27000"/>
                    </a:cubicBezTo>
                    <a:cubicBezTo>
                      <a:pt x="148522" y="23914"/>
                      <a:pt x="151608" y="23914"/>
                      <a:pt x="154694" y="27000"/>
                    </a:cubicBezTo>
                    <a:cubicBezTo>
                      <a:pt x="160865" y="33171"/>
                      <a:pt x="160865" y="45514"/>
                      <a:pt x="157779" y="57857"/>
                    </a:cubicBezTo>
                    <a:cubicBezTo>
                      <a:pt x="154694" y="67114"/>
                      <a:pt x="148522" y="73286"/>
                      <a:pt x="139265" y="76371"/>
                    </a:cubicBezTo>
                    <a:cubicBezTo>
                      <a:pt x="133094" y="76371"/>
                      <a:pt x="123837" y="76371"/>
                      <a:pt x="111494" y="7637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66" name="图形 1">
              <a:extLst>
                <a:ext uri="{FF2B5EF4-FFF2-40B4-BE49-F238E27FC236}">
                  <a16:creationId xmlns:a16="http://schemas.microsoft.com/office/drawing/2014/main" id="{89240D87-D30F-4B24-8EC9-55DDD15DD02D}"/>
                </a:ext>
              </a:extLst>
            </p:cNvPr>
            <p:cNvGrpSpPr/>
            <p:nvPr/>
          </p:nvGrpSpPr>
          <p:grpSpPr>
            <a:xfrm>
              <a:off x="5180558" y="3755839"/>
              <a:ext cx="170661" cy="120000"/>
              <a:chOff x="5180558" y="3755839"/>
              <a:chExt cx="170661" cy="120000"/>
            </a:xfrm>
          </p:grpSpPr>
          <p:sp>
            <p:nvSpPr>
              <p:cNvPr id="267" name="任意多边形: 形状 266">
                <a:extLst>
                  <a:ext uri="{FF2B5EF4-FFF2-40B4-BE49-F238E27FC236}">
                    <a16:creationId xmlns:a16="http://schemas.microsoft.com/office/drawing/2014/main" id="{BA6328C7-139D-4291-A382-01471C54125B}"/>
                  </a:ext>
                </a:extLst>
              </p:cNvPr>
              <p:cNvSpPr/>
              <p:nvPr/>
            </p:nvSpPr>
            <p:spPr>
              <a:xfrm>
                <a:off x="5180558" y="3761858"/>
                <a:ext cx="157683" cy="99794"/>
              </a:xfrm>
              <a:custGeom>
                <a:avLst/>
                <a:gdLst>
                  <a:gd name="connsiteX0" fmla="*/ 131782 w 157683"/>
                  <a:gd name="connsiteY0" fmla="*/ 15238 h 99794"/>
                  <a:gd name="connsiteX1" fmla="*/ 17611 w 157683"/>
                  <a:gd name="connsiteY1" fmla="*/ 15238 h 99794"/>
                  <a:gd name="connsiteX2" fmla="*/ 2182 w 157683"/>
                  <a:gd name="connsiteY2" fmla="*/ 95467 h 99794"/>
                  <a:gd name="connsiteX3" fmla="*/ 57725 w 157683"/>
                  <a:gd name="connsiteY3" fmla="*/ 64610 h 99794"/>
                  <a:gd name="connsiteX4" fmla="*/ 122525 w 157683"/>
                  <a:gd name="connsiteY4" fmla="*/ 80038 h 99794"/>
                  <a:gd name="connsiteX5" fmla="*/ 147210 w 157683"/>
                  <a:gd name="connsiteY5" fmla="*/ 98552 h 99794"/>
                  <a:gd name="connsiteX6" fmla="*/ 131782 w 157683"/>
                  <a:gd name="connsiteY6" fmla="*/ 15238 h 99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7683" h="99794">
                    <a:moveTo>
                      <a:pt x="131782" y="15238"/>
                    </a:moveTo>
                    <a:cubicBezTo>
                      <a:pt x="104010" y="-9448"/>
                      <a:pt x="45382" y="-190"/>
                      <a:pt x="17611" y="15238"/>
                    </a:cubicBezTo>
                    <a:cubicBezTo>
                      <a:pt x="-3990" y="24495"/>
                      <a:pt x="-904" y="98552"/>
                      <a:pt x="2182" y="95467"/>
                    </a:cubicBezTo>
                    <a:cubicBezTo>
                      <a:pt x="14525" y="89295"/>
                      <a:pt x="42296" y="67695"/>
                      <a:pt x="57725" y="64610"/>
                    </a:cubicBezTo>
                    <a:cubicBezTo>
                      <a:pt x="82410" y="58438"/>
                      <a:pt x="100925" y="67695"/>
                      <a:pt x="122525" y="80038"/>
                    </a:cubicBezTo>
                    <a:cubicBezTo>
                      <a:pt x="128696" y="86209"/>
                      <a:pt x="137953" y="104724"/>
                      <a:pt x="147210" y="98552"/>
                    </a:cubicBezTo>
                    <a:cubicBezTo>
                      <a:pt x="171896" y="83124"/>
                      <a:pt x="147210" y="27581"/>
                      <a:pt x="131782" y="15238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8" name="任意多边形: 形状 267">
                <a:extLst>
                  <a:ext uri="{FF2B5EF4-FFF2-40B4-BE49-F238E27FC236}">
                    <a16:creationId xmlns:a16="http://schemas.microsoft.com/office/drawing/2014/main" id="{58E39747-6BA8-4396-9149-311E87CA9E87}"/>
                  </a:ext>
                </a:extLst>
              </p:cNvPr>
              <p:cNvSpPr/>
              <p:nvPr/>
            </p:nvSpPr>
            <p:spPr>
              <a:xfrm>
                <a:off x="5198169" y="3755839"/>
                <a:ext cx="153051" cy="120000"/>
              </a:xfrm>
              <a:custGeom>
                <a:avLst/>
                <a:gdLst>
                  <a:gd name="connsiteX0" fmla="*/ 21600 w 153051"/>
                  <a:gd name="connsiteY0" fmla="*/ 120000 h 120000"/>
                  <a:gd name="connsiteX1" fmla="*/ 15429 w 153051"/>
                  <a:gd name="connsiteY1" fmla="*/ 116914 h 120000"/>
                  <a:gd name="connsiteX2" fmla="*/ 18514 w 153051"/>
                  <a:gd name="connsiteY2" fmla="*/ 107657 h 120000"/>
                  <a:gd name="connsiteX3" fmla="*/ 40114 w 153051"/>
                  <a:gd name="connsiteY3" fmla="*/ 67543 h 120000"/>
                  <a:gd name="connsiteX4" fmla="*/ 43200 w 153051"/>
                  <a:gd name="connsiteY4" fmla="*/ 64457 h 120000"/>
                  <a:gd name="connsiteX5" fmla="*/ 114171 w 153051"/>
                  <a:gd name="connsiteY5" fmla="*/ 86057 h 120000"/>
                  <a:gd name="connsiteX6" fmla="*/ 132686 w 153051"/>
                  <a:gd name="connsiteY6" fmla="*/ 98400 h 120000"/>
                  <a:gd name="connsiteX7" fmla="*/ 138857 w 153051"/>
                  <a:gd name="connsiteY7" fmla="*/ 92229 h 120000"/>
                  <a:gd name="connsiteX8" fmla="*/ 114171 w 153051"/>
                  <a:gd name="connsiteY8" fmla="*/ 24343 h 120000"/>
                  <a:gd name="connsiteX9" fmla="*/ 6171 w 153051"/>
                  <a:gd name="connsiteY9" fmla="*/ 24343 h 120000"/>
                  <a:gd name="connsiteX10" fmla="*/ 0 w 153051"/>
                  <a:gd name="connsiteY10" fmla="*/ 21257 h 120000"/>
                  <a:gd name="connsiteX11" fmla="*/ 3086 w 153051"/>
                  <a:gd name="connsiteY11" fmla="*/ 15086 h 120000"/>
                  <a:gd name="connsiteX12" fmla="*/ 123429 w 153051"/>
                  <a:gd name="connsiteY12" fmla="*/ 15086 h 120000"/>
                  <a:gd name="connsiteX13" fmla="*/ 151200 w 153051"/>
                  <a:gd name="connsiteY13" fmla="*/ 95314 h 120000"/>
                  <a:gd name="connsiteX14" fmla="*/ 138857 w 153051"/>
                  <a:gd name="connsiteY14" fmla="*/ 107657 h 120000"/>
                  <a:gd name="connsiteX15" fmla="*/ 111086 w 153051"/>
                  <a:gd name="connsiteY15" fmla="*/ 95314 h 120000"/>
                  <a:gd name="connsiteX16" fmla="*/ 55543 w 153051"/>
                  <a:gd name="connsiteY16" fmla="*/ 73714 h 120000"/>
                  <a:gd name="connsiteX17" fmla="*/ 21600 w 153051"/>
                  <a:gd name="connsiteY17" fmla="*/ 120000 h 120000"/>
                  <a:gd name="connsiteX18" fmla="*/ 21600 w 153051"/>
                  <a:gd name="connsiteY18" fmla="*/ 120000 h 12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53051" h="120000">
                    <a:moveTo>
                      <a:pt x="21600" y="120000"/>
                    </a:moveTo>
                    <a:cubicBezTo>
                      <a:pt x="18514" y="120000"/>
                      <a:pt x="18514" y="120000"/>
                      <a:pt x="15429" y="116914"/>
                    </a:cubicBezTo>
                    <a:cubicBezTo>
                      <a:pt x="15429" y="113829"/>
                      <a:pt x="15429" y="110743"/>
                      <a:pt x="18514" y="107657"/>
                    </a:cubicBezTo>
                    <a:cubicBezTo>
                      <a:pt x="33943" y="98400"/>
                      <a:pt x="40114" y="76800"/>
                      <a:pt x="40114" y="67543"/>
                    </a:cubicBezTo>
                    <a:cubicBezTo>
                      <a:pt x="40114" y="64457"/>
                      <a:pt x="43200" y="64457"/>
                      <a:pt x="43200" y="64457"/>
                    </a:cubicBezTo>
                    <a:cubicBezTo>
                      <a:pt x="77143" y="55200"/>
                      <a:pt x="98743" y="73714"/>
                      <a:pt x="114171" y="86057"/>
                    </a:cubicBezTo>
                    <a:cubicBezTo>
                      <a:pt x="120343" y="92229"/>
                      <a:pt x="129600" y="98400"/>
                      <a:pt x="132686" y="98400"/>
                    </a:cubicBezTo>
                    <a:cubicBezTo>
                      <a:pt x="132686" y="98400"/>
                      <a:pt x="135771" y="98400"/>
                      <a:pt x="138857" y="92229"/>
                    </a:cubicBezTo>
                    <a:cubicBezTo>
                      <a:pt x="141943" y="76800"/>
                      <a:pt x="135771" y="49029"/>
                      <a:pt x="114171" y="24343"/>
                    </a:cubicBezTo>
                    <a:cubicBezTo>
                      <a:pt x="86400" y="-6514"/>
                      <a:pt x="9257" y="24343"/>
                      <a:pt x="6171" y="24343"/>
                    </a:cubicBezTo>
                    <a:cubicBezTo>
                      <a:pt x="3086" y="24343"/>
                      <a:pt x="0" y="24343"/>
                      <a:pt x="0" y="21257"/>
                    </a:cubicBezTo>
                    <a:cubicBezTo>
                      <a:pt x="0" y="18171"/>
                      <a:pt x="0" y="15086"/>
                      <a:pt x="3086" y="15086"/>
                    </a:cubicBezTo>
                    <a:cubicBezTo>
                      <a:pt x="6171" y="15086"/>
                      <a:pt x="89486" y="-18857"/>
                      <a:pt x="123429" y="15086"/>
                    </a:cubicBezTo>
                    <a:cubicBezTo>
                      <a:pt x="148114" y="42857"/>
                      <a:pt x="157371" y="76800"/>
                      <a:pt x="151200" y="95314"/>
                    </a:cubicBezTo>
                    <a:cubicBezTo>
                      <a:pt x="148114" y="101486"/>
                      <a:pt x="145028" y="107657"/>
                      <a:pt x="138857" y="107657"/>
                    </a:cubicBezTo>
                    <a:cubicBezTo>
                      <a:pt x="129600" y="110743"/>
                      <a:pt x="120343" y="101486"/>
                      <a:pt x="111086" y="95314"/>
                    </a:cubicBezTo>
                    <a:cubicBezTo>
                      <a:pt x="95657" y="82972"/>
                      <a:pt x="80229" y="67543"/>
                      <a:pt x="55543" y="73714"/>
                    </a:cubicBezTo>
                    <a:cubicBezTo>
                      <a:pt x="46286" y="86057"/>
                      <a:pt x="40114" y="110743"/>
                      <a:pt x="21600" y="120000"/>
                    </a:cubicBezTo>
                    <a:cubicBezTo>
                      <a:pt x="21600" y="120000"/>
                      <a:pt x="21600" y="120000"/>
                      <a:pt x="21600" y="1200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69" name="任意多边形: 形状 268">
              <a:extLst>
                <a:ext uri="{FF2B5EF4-FFF2-40B4-BE49-F238E27FC236}">
                  <a16:creationId xmlns:a16="http://schemas.microsoft.com/office/drawing/2014/main" id="{983F11CC-964A-4D9C-A89D-928380CB12A5}"/>
                </a:ext>
              </a:extLst>
            </p:cNvPr>
            <p:cNvSpPr/>
            <p:nvPr/>
          </p:nvSpPr>
          <p:spPr>
            <a:xfrm>
              <a:off x="4305925" y="3942182"/>
              <a:ext cx="358317" cy="338358"/>
            </a:xfrm>
            <a:custGeom>
              <a:avLst/>
              <a:gdLst>
                <a:gd name="connsiteX0" fmla="*/ 324473 w 358317"/>
                <a:gd name="connsiteY0" fmla="*/ 100286 h 338358"/>
                <a:gd name="connsiteX1" fmla="*/ 182530 w 358317"/>
                <a:gd name="connsiteY1" fmla="*/ 4629 h 338358"/>
                <a:gd name="connsiteX2" fmla="*/ 130072 w 358317"/>
                <a:gd name="connsiteY2" fmla="*/ 4629 h 338358"/>
                <a:gd name="connsiteX3" fmla="*/ 49844 w 358317"/>
                <a:gd name="connsiteY3" fmla="*/ 66343 h 338358"/>
                <a:gd name="connsiteX4" fmla="*/ 28244 w 358317"/>
                <a:gd name="connsiteY4" fmla="*/ 103371 h 338358"/>
                <a:gd name="connsiteX5" fmla="*/ 473 w 358317"/>
                <a:gd name="connsiteY5" fmla="*/ 155828 h 338358"/>
                <a:gd name="connsiteX6" fmla="*/ 25158 w 358317"/>
                <a:gd name="connsiteY6" fmla="*/ 199029 h 338358"/>
                <a:gd name="connsiteX7" fmla="*/ 22073 w 358317"/>
                <a:gd name="connsiteY7" fmla="*/ 248400 h 338358"/>
                <a:gd name="connsiteX8" fmla="*/ 49844 w 358317"/>
                <a:gd name="connsiteY8" fmla="*/ 276171 h 338358"/>
                <a:gd name="connsiteX9" fmla="*/ 136244 w 358317"/>
                <a:gd name="connsiteY9" fmla="*/ 319371 h 338358"/>
                <a:gd name="connsiteX10" fmla="*/ 170187 w 358317"/>
                <a:gd name="connsiteY10" fmla="*/ 337886 h 338358"/>
                <a:gd name="connsiteX11" fmla="*/ 222644 w 358317"/>
                <a:gd name="connsiteY11" fmla="*/ 310114 h 338358"/>
                <a:gd name="connsiteX12" fmla="*/ 312130 w 358317"/>
                <a:gd name="connsiteY12" fmla="*/ 316286 h 338358"/>
                <a:gd name="connsiteX13" fmla="*/ 333730 w 358317"/>
                <a:gd name="connsiteY13" fmla="*/ 223714 h 338358"/>
                <a:gd name="connsiteX14" fmla="*/ 324473 w 358317"/>
                <a:gd name="connsiteY14" fmla="*/ 100286 h 33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8317" h="338358">
                  <a:moveTo>
                    <a:pt x="324473" y="100286"/>
                  </a:moveTo>
                  <a:cubicBezTo>
                    <a:pt x="324473" y="41657"/>
                    <a:pt x="234987" y="-13886"/>
                    <a:pt x="182530" y="4629"/>
                  </a:cubicBezTo>
                  <a:cubicBezTo>
                    <a:pt x="167101" y="-1543"/>
                    <a:pt x="148587" y="-1543"/>
                    <a:pt x="130072" y="4629"/>
                  </a:cubicBezTo>
                  <a:cubicBezTo>
                    <a:pt x="99215" y="16971"/>
                    <a:pt x="80701" y="63257"/>
                    <a:pt x="49844" y="66343"/>
                  </a:cubicBezTo>
                  <a:cubicBezTo>
                    <a:pt x="34415" y="69429"/>
                    <a:pt x="25158" y="87943"/>
                    <a:pt x="28244" y="103371"/>
                  </a:cubicBezTo>
                  <a:cubicBezTo>
                    <a:pt x="9730" y="112629"/>
                    <a:pt x="-2613" y="128057"/>
                    <a:pt x="473" y="155828"/>
                  </a:cubicBezTo>
                  <a:cubicBezTo>
                    <a:pt x="3558" y="177429"/>
                    <a:pt x="12815" y="189772"/>
                    <a:pt x="25158" y="199029"/>
                  </a:cubicBezTo>
                  <a:cubicBezTo>
                    <a:pt x="18987" y="214457"/>
                    <a:pt x="15901" y="229886"/>
                    <a:pt x="22073" y="248400"/>
                  </a:cubicBezTo>
                  <a:cubicBezTo>
                    <a:pt x="28244" y="260743"/>
                    <a:pt x="37501" y="270000"/>
                    <a:pt x="49844" y="276171"/>
                  </a:cubicBezTo>
                  <a:cubicBezTo>
                    <a:pt x="65273" y="303943"/>
                    <a:pt x="102301" y="325543"/>
                    <a:pt x="136244" y="319371"/>
                  </a:cubicBezTo>
                  <a:cubicBezTo>
                    <a:pt x="142415" y="328629"/>
                    <a:pt x="154758" y="334800"/>
                    <a:pt x="170187" y="337886"/>
                  </a:cubicBezTo>
                  <a:cubicBezTo>
                    <a:pt x="194873" y="340971"/>
                    <a:pt x="213387" y="328629"/>
                    <a:pt x="222644" y="310114"/>
                  </a:cubicBezTo>
                  <a:cubicBezTo>
                    <a:pt x="250415" y="328629"/>
                    <a:pt x="284358" y="337886"/>
                    <a:pt x="312130" y="316286"/>
                  </a:cubicBezTo>
                  <a:cubicBezTo>
                    <a:pt x="342987" y="294686"/>
                    <a:pt x="342987" y="254571"/>
                    <a:pt x="333730" y="223714"/>
                  </a:cubicBezTo>
                  <a:cubicBezTo>
                    <a:pt x="370758" y="186686"/>
                    <a:pt x="364587" y="131143"/>
                    <a:pt x="324473" y="100286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0" name="任意多边形: 形状 269">
              <a:extLst>
                <a:ext uri="{FF2B5EF4-FFF2-40B4-BE49-F238E27FC236}">
                  <a16:creationId xmlns:a16="http://schemas.microsoft.com/office/drawing/2014/main" id="{31AE5A8C-DF99-475F-A947-A395FA91E6FC}"/>
                </a:ext>
              </a:extLst>
            </p:cNvPr>
            <p:cNvSpPr/>
            <p:nvPr/>
          </p:nvSpPr>
          <p:spPr>
            <a:xfrm>
              <a:off x="3405369" y="3138353"/>
              <a:ext cx="860914" cy="919542"/>
            </a:xfrm>
            <a:custGeom>
              <a:avLst/>
              <a:gdLst>
                <a:gd name="connsiteX0" fmla="*/ 293143 w 860914"/>
                <a:gd name="connsiteY0" fmla="*/ 0 h 919542"/>
                <a:gd name="connsiteX1" fmla="*/ 370286 w 860914"/>
                <a:gd name="connsiteY1" fmla="*/ 561600 h 919542"/>
                <a:gd name="connsiteX2" fmla="*/ 860914 w 860914"/>
                <a:gd name="connsiteY2" fmla="*/ 789943 h 919542"/>
                <a:gd name="connsiteX3" fmla="*/ 762171 w 860914"/>
                <a:gd name="connsiteY3" fmla="*/ 919543 h 919542"/>
                <a:gd name="connsiteX4" fmla="*/ 120343 w 860914"/>
                <a:gd name="connsiteY4" fmla="*/ 678857 h 919542"/>
                <a:gd name="connsiteX5" fmla="*/ 0 w 860914"/>
                <a:gd name="connsiteY5" fmla="*/ 55543 h 919542"/>
                <a:gd name="connsiteX6" fmla="*/ 293143 w 860914"/>
                <a:gd name="connsiteY6" fmla="*/ 0 h 919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0914" h="919542">
                  <a:moveTo>
                    <a:pt x="293143" y="0"/>
                  </a:moveTo>
                  <a:lnTo>
                    <a:pt x="370286" y="561600"/>
                  </a:lnTo>
                  <a:lnTo>
                    <a:pt x="860914" y="789943"/>
                  </a:lnTo>
                  <a:lnTo>
                    <a:pt x="762171" y="919543"/>
                  </a:lnTo>
                  <a:cubicBezTo>
                    <a:pt x="762171" y="919543"/>
                    <a:pt x="212914" y="771429"/>
                    <a:pt x="120343" y="678857"/>
                  </a:cubicBezTo>
                  <a:cubicBezTo>
                    <a:pt x="27771" y="586286"/>
                    <a:pt x="0" y="55543"/>
                    <a:pt x="0" y="55543"/>
                  </a:cubicBezTo>
                  <a:lnTo>
                    <a:pt x="293143" y="0"/>
                  </a:ln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71" name="图形 1">
              <a:extLst>
                <a:ext uri="{FF2B5EF4-FFF2-40B4-BE49-F238E27FC236}">
                  <a16:creationId xmlns:a16="http://schemas.microsoft.com/office/drawing/2014/main" id="{89240D87-D30F-4B24-8EC9-55DDD15DD02D}"/>
                </a:ext>
              </a:extLst>
            </p:cNvPr>
            <p:cNvGrpSpPr/>
            <p:nvPr/>
          </p:nvGrpSpPr>
          <p:grpSpPr>
            <a:xfrm>
              <a:off x="4142109" y="3900418"/>
              <a:ext cx="380287" cy="300511"/>
              <a:chOff x="4142109" y="3900418"/>
              <a:chExt cx="380287" cy="300511"/>
            </a:xfrm>
          </p:grpSpPr>
          <p:sp>
            <p:nvSpPr>
              <p:cNvPr id="272" name="任意多边形: 形状 271">
                <a:extLst>
                  <a:ext uri="{FF2B5EF4-FFF2-40B4-BE49-F238E27FC236}">
                    <a16:creationId xmlns:a16="http://schemas.microsoft.com/office/drawing/2014/main" id="{3B9E79C6-7925-4049-AE30-D982800FAB13}"/>
                  </a:ext>
                </a:extLst>
              </p:cNvPr>
              <p:cNvSpPr/>
              <p:nvPr/>
            </p:nvSpPr>
            <p:spPr>
              <a:xfrm>
                <a:off x="4142109" y="3900418"/>
                <a:ext cx="374394" cy="300511"/>
              </a:xfrm>
              <a:custGeom>
                <a:avLst/>
                <a:gdLst>
                  <a:gd name="connsiteX0" fmla="*/ 25431 w 374394"/>
                  <a:gd name="connsiteY0" fmla="*/ 154392 h 300511"/>
                  <a:gd name="connsiteX1" fmla="*/ 108745 w 374394"/>
                  <a:gd name="connsiteY1" fmla="*/ 209935 h 300511"/>
                  <a:gd name="connsiteX2" fmla="*/ 185888 w 374394"/>
                  <a:gd name="connsiteY2" fmla="*/ 274735 h 300511"/>
                  <a:gd name="connsiteX3" fmla="*/ 235259 w 374394"/>
                  <a:gd name="connsiteY3" fmla="*/ 299420 h 300511"/>
                  <a:gd name="connsiteX4" fmla="*/ 210574 w 374394"/>
                  <a:gd name="connsiteY4" fmla="*/ 237706 h 300511"/>
                  <a:gd name="connsiteX5" fmla="*/ 256859 w 374394"/>
                  <a:gd name="connsiteY5" fmla="*/ 268563 h 300511"/>
                  <a:gd name="connsiteX6" fmla="*/ 330916 w 374394"/>
                  <a:gd name="connsiteY6" fmla="*/ 293249 h 300511"/>
                  <a:gd name="connsiteX7" fmla="*/ 337088 w 374394"/>
                  <a:gd name="connsiteY7" fmla="*/ 277821 h 300511"/>
                  <a:gd name="connsiteX8" fmla="*/ 371031 w 374394"/>
                  <a:gd name="connsiteY8" fmla="*/ 277821 h 300511"/>
                  <a:gd name="connsiteX9" fmla="*/ 346345 w 374394"/>
                  <a:gd name="connsiteY9" fmla="*/ 213020 h 300511"/>
                  <a:gd name="connsiteX10" fmla="*/ 303145 w 374394"/>
                  <a:gd name="connsiteY10" fmla="*/ 166735 h 300511"/>
                  <a:gd name="connsiteX11" fmla="*/ 346345 w 374394"/>
                  <a:gd name="connsiteY11" fmla="*/ 182163 h 300511"/>
                  <a:gd name="connsiteX12" fmla="*/ 367945 w 374394"/>
                  <a:gd name="connsiteY12" fmla="*/ 179078 h 300511"/>
                  <a:gd name="connsiteX13" fmla="*/ 321659 w 374394"/>
                  <a:gd name="connsiteY13" fmla="*/ 117363 h 300511"/>
                  <a:gd name="connsiteX14" fmla="*/ 80974 w 374394"/>
                  <a:gd name="connsiteY14" fmla="*/ 106 h 300511"/>
                  <a:gd name="connsiteX15" fmla="*/ 745 w 374394"/>
                  <a:gd name="connsiteY15" fmla="*/ 105020 h 300511"/>
                  <a:gd name="connsiteX16" fmla="*/ 25431 w 374394"/>
                  <a:gd name="connsiteY16" fmla="*/ 154392 h 300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74394" h="300511">
                    <a:moveTo>
                      <a:pt x="25431" y="154392"/>
                    </a:moveTo>
                    <a:cubicBezTo>
                      <a:pt x="53202" y="172906"/>
                      <a:pt x="80974" y="188335"/>
                      <a:pt x="108745" y="209935"/>
                    </a:cubicBezTo>
                    <a:cubicBezTo>
                      <a:pt x="136516" y="231535"/>
                      <a:pt x="158116" y="256220"/>
                      <a:pt x="185888" y="274735"/>
                    </a:cubicBezTo>
                    <a:cubicBezTo>
                      <a:pt x="195145" y="283992"/>
                      <a:pt x="222916" y="305592"/>
                      <a:pt x="235259" y="299420"/>
                    </a:cubicBezTo>
                    <a:cubicBezTo>
                      <a:pt x="256859" y="290163"/>
                      <a:pt x="232174" y="262392"/>
                      <a:pt x="210574" y="237706"/>
                    </a:cubicBezTo>
                    <a:cubicBezTo>
                      <a:pt x="226002" y="246963"/>
                      <a:pt x="241431" y="259306"/>
                      <a:pt x="256859" y="268563"/>
                    </a:cubicBezTo>
                    <a:cubicBezTo>
                      <a:pt x="272288" y="277821"/>
                      <a:pt x="309316" y="302506"/>
                      <a:pt x="330916" y="293249"/>
                    </a:cubicBezTo>
                    <a:cubicBezTo>
                      <a:pt x="337088" y="290163"/>
                      <a:pt x="340173" y="283992"/>
                      <a:pt x="337088" y="277821"/>
                    </a:cubicBezTo>
                    <a:cubicBezTo>
                      <a:pt x="352516" y="283992"/>
                      <a:pt x="364859" y="287078"/>
                      <a:pt x="371031" y="277821"/>
                    </a:cubicBezTo>
                    <a:cubicBezTo>
                      <a:pt x="383374" y="259306"/>
                      <a:pt x="358688" y="228449"/>
                      <a:pt x="346345" y="213020"/>
                    </a:cubicBezTo>
                    <a:cubicBezTo>
                      <a:pt x="334002" y="197592"/>
                      <a:pt x="318574" y="182163"/>
                      <a:pt x="303145" y="166735"/>
                    </a:cubicBezTo>
                    <a:cubicBezTo>
                      <a:pt x="318574" y="172906"/>
                      <a:pt x="330916" y="179078"/>
                      <a:pt x="346345" y="182163"/>
                    </a:cubicBezTo>
                    <a:cubicBezTo>
                      <a:pt x="355602" y="185249"/>
                      <a:pt x="361774" y="188335"/>
                      <a:pt x="367945" y="179078"/>
                    </a:cubicBezTo>
                    <a:cubicBezTo>
                      <a:pt x="389545" y="157478"/>
                      <a:pt x="334002" y="123535"/>
                      <a:pt x="321659" y="117363"/>
                    </a:cubicBezTo>
                    <a:cubicBezTo>
                      <a:pt x="247602" y="67992"/>
                      <a:pt x="161202" y="40220"/>
                      <a:pt x="80974" y="106"/>
                    </a:cubicBezTo>
                    <a:cubicBezTo>
                      <a:pt x="80974" y="-2980"/>
                      <a:pt x="10002" y="61821"/>
                      <a:pt x="745" y="105020"/>
                    </a:cubicBezTo>
                    <a:cubicBezTo>
                      <a:pt x="-2341" y="135878"/>
                      <a:pt x="3831" y="142049"/>
                      <a:pt x="25431" y="15439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3" name="任意多边形: 形状 272">
                <a:extLst>
                  <a:ext uri="{FF2B5EF4-FFF2-40B4-BE49-F238E27FC236}">
                    <a16:creationId xmlns:a16="http://schemas.microsoft.com/office/drawing/2014/main" id="{DB4925ED-F0CC-4287-A0A8-DD3A26D53D10}"/>
                  </a:ext>
                </a:extLst>
              </p:cNvPr>
              <p:cNvSpPr/>
              <p:nvPr/>
            </p:nvSpPr>
            <p:spPr>
              <a:xfrm>
                <a:off x="4368111" y="3968410"/>
                <a:ext cx="154285" cy="126514"/>
              </a:xfrm>
              <a:custGeom>
                <a:avLst/>
                <a:gdLst>
                  <a:gd name="connsiteX0" fmla="*/ 129600 w 154285"/>
                  <a:gd name="connsiteY0" fmla="*/ 126514 h 126514"/>
                  <a:gd name="connsiteX1" fmla="*/ 77143 w 154285"/>
                  <a:gd name="connsiteY1" fmla="*/ 108000 h 126514"/>
                  <a:gd name="connsiteX2" fmla="*/ 6171 w 154285"/>
                  <a:gd name="connsiteY2" fmla="*/ 64800 h 126514"/>
                  <a:gd name="connsiteX3" fmla="*/ 0 w 154285"/>
                  <a:gd name="connsiteY3" fmla="*/ 58629 h 126514"/>
                  <a:gd name="connsiteX4" fmla="*/ 6171 w 154285"/>
                  <a:gd name="connsiteY4" fmla="*/ 52457 h 126514"/>
                  <a:gd name="connsiteX5" fmla="*/ 83314 w 154285"/>
                  <a:gd name="connsiteY5" fmla="*/ 95657 h 126514"/>
                  <a:gd name="connsiteX6" fmla="*/ 141943 w 154285"/>
                  <a:gd name="connsiteY6" fmla="*/ 111086 h 126514"/>
                  <a:gd name="connsiteX7" fmla="*/ 145028 w 154285"/>
                  <a:gd name="connsiteY7" fmla="*/ 108000 h 126514"/>
                  <a:gd name="connsiteX8" fmla="*/ 6171 w 154285"/>
                  <a:gd name="connsiteY8" fmla="*/ 9257 h 126514"/>
                  <a:gd name="connsiteX9" fmla="*/ 3086 w 154285"/>
                  <a:gd name="connsiteY9" fmla="*/ 3086 h 126514"/>
                  <a:gd name="connsiteX10" fmla="*/ 9257 w 154285"/>
                  <a:gd name="connsiteY10" fmla="*/ 0 h 126514"/>
                  <a:gd name="connsiteX11" fmla="*/ 154286 w 154285"/>
                  <a:gd name="connsiteY11" fmla="*/ 108000 h 126514"/>
                  <a:gd name="connsiteX12" fmla="*/ 148114 w 154285"/>
                  <a:gd name="connsiteY12" fmla="*/ 123429 h 126514"/>
                  <a:gd name="connsiteX13" fmla="*/ 129600 w 154285"/>
                  <a:gd name="connsiteY13" fmla="*/ 126514 h 126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4285" h="126514">
                    <a:moveTo>
                      <a:pt x="129600" y="126514"/>
                    </a:moveTo>
                    <a:cubicBezTo>
                      <a:pt x="108000" y="126514"/>
                      <a:pt x="80229" y="111086"/>
                      <a:pt x="77143" y="108000"/>
                    </a:cubicBezTo>
                    <a:cubicBezTo>
                      <a:pt x="49371" y="86400"/>
                      <a:pt x="15429" y="64800"/>
                      <a:pt x="6171" y="64800"/>
                    </a:cubicBezTo>
                    <a:cubicBezTo>
                      <a:pt x="3086" y="64800"/>
                      <a:pt x="0" y="61714"/>
                      <a:pt x="0" y="58629"/>
                    </a:cubicBezTo>
                    <a:cubicBezTo>
                      <a:pt x="0" y="55543"/>
                      <a:pt x="3086" y="52457"/>
                      <a:pt x="6171" y="52457"/>
                    </a:cubicBezTo>
                    <a:cubicBezTo>
                      <a:pt x="21600" y="52457"/>
                      <a:pt x="67886" y="86400"/>
                      <a:pt x="83314" y="95657"/>
                    </a:cubicBezTo>
                    <a:cubicBezTo>
                      <a:pt x="92571" y="101829"/>
                      <a:pt x="126514" y="120343"/>
                      <a:pt x="141943" y="111086"/>
                    </a:cubicBezTo>
                    <a:cubicBezTo>
                      <a:pt x="141943" y="111086"/>
                      <a:pt x="145028" y="108000"/>
                      <a:pt x="145028" y="108000"/>
                    </a:cubicBezTo>
                    <a:cubicBezTo>
                      <a:pt x="141943" y="92571"/>
                      <a:pt x="98743" y="49371"/>
                      <a:pt x="6171" y="9257"/>
                    </a:cubicBezTo>
                    <a:cubicBezTo>
                      <a:pt x="3086" y="9257"/>
                      <a:pt x="3086" y="6171"/>
                      <a:pt x="3086" y="3086"/>
                    </a:cubicBezTo>
                    <a:cubicBezTo>
                      <a:pt x="3086" y="0"/>
                      <a:pt x="9257" y="0"/>
                      <a:pt x="9257" y="0"/>
                    </a:cubicBezTo>
                    <a:cubicBezTo>
                      <a:pt x="92571" y="37028"/>
                      <a:pt x="151200" y="80229"/>
                      <a:pt x="154286" y="108000"/>
                    </a:cubicBezTo>
                    <a:cubicBezTo>
                      <a:pt x="154286" y="114171"/>
                      <a:pt x="151200" y="120343"/>
                      <a:pt x="148114" y="123429"/>
                    </a:cubicBezTo>
                    <a:cubicBezTo>
                      <a:pt x="141943" y="126514"/>
                      <a:pt x="135771" y="126514"/>
                      <a:pt x="129600" y="12651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4" name="任意多边形: 形状 273">
                <a:extLst>
                  <a:ext uri="{FF2B5EF4-FFF2-40B4-BE49-F238E27FC236}">
                    <a16:creationId xmlns:a16="http://schemas.microsoft.com/office/drawing/2014/main" id="{021738C9-B80D-4F06-9F74-09A4FF1F06A7}"/>
                  </a:ext>
                </a:extLst>
              </p:cNvPr>
              <p:cNvSpPr/>
              <p:nvPr/>
            </p:nvSpPr>
            <p:spPr>
              <a:xfrm>
                <a:off x="4349597" y="4067153"/>
                <a:ext cx="134999" cy="120342"/>
              </a:xfrm>
              <a:custGeom>
                <a:avLst/>
                <a:gdLst>
                  <a:gd name="connsiteX0" fmla="*/ 129600 w 134999"/>
                  <a:gd name="connsiteY0" fmla="*/ 120343 h 120342"/>
                  <a:gd name="connsiteX1" fmla="*/ 126514 w 134999"/>
                  <a:gd name="connsiteY1" fmla="*/ 117257 h 120342"/>
                  <a:gd name="connsiteX2" fmla="*/ 3086 w 134999"/>
                  <a:gd name="connsiteY2" fmla="*/ 9257 h 120342"/>
                  <a:gd name="connsiteX3" fmla="*/ 0 w 134999"/>
                  <a:gd name="connsiteY3" fmla="*/ 3086 h 120342"/>
                  <a:gd name="connsiteX4" fmla="*/ 6171 w 134999"/>
                  <a:gd name="connsiteY4" fmla="*/ 0 h 120342"/>
                  <a:gd name="connsiteX5" fmla="*/ 132686 w 134999"/>
                  <a:gd name="connsiteY5" fmla="*/ 111086 h 120342"/>
                  <a:gd name="connsiteX6" fmla="*/ 132686 w 134999"/>
                  <a:gd name="connsiteY6" fmla="*/ 120343 h 120342"/>
                  <a:gd name="connsiteX7" fmla="*/ 129600 w 134999"/>
                  <a:gd name="connsiteY7" fmla="*/ 120343 h 120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4999" h="120342">
                    <a:moveTo>
                      <a:pt x="129600" y="120343"/>
                    </a:moveTo>
                    <a:cubicBezTo>
                      <a:pt x="129600" y="120343"/>
                      <a:pt x="126514" y="120343"/>
                      <a:pt x="126514" y="117257"/>
                    </a:cubicBezTo>
                    <a:cubicBezTo>
                      <a:pt x="126514" y="117257"/>
                      <a:pt x="37028" y="21600"/>
                      <a:pt x="3086" y="9257"/>
                    </a:cubicBezTo>
                    <a:cubicBezTo>
                      <a:pt x="0" y="9257"/>
                      <a:pt x="0" y="6172"/>
                      <a:pt x="0" y="3086"/>
                    </a:cubicBezTo>
                    <a:cubicBezTo>
                      <a:pt x="0" y="0"/>
                      <a:pt x="3086" y="0"/>
                      <a:pt x="6171" y="0"/>
                    </a:cubicBezTo>
                    <a:cubicBezTo>
                      <a:pt x="40114" y="12343"/>
                      <a:pt x="129600" y="108000"/>
                      <a:pt x="132686" y="111086"/>
                    </a:cubicBezTo>
                    <a:cubicBezTo>
                      <a:pt x="135771" y="114172"/>
                      <a:pt x="135771" y="117257"/>
                      <a:pt x="132686" y="120343"/>
                    </a:cubicBezTo>
                    <a:cubicBezTo>
                      <a:pt x="132686" y="120343"/>
                      <a:pt x="132686" y="120343"/>
                      <a:pt x="129600" y="12034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5" name="任意多边形: 形状 274">
                <a:extLst>
                  <a:ext uri="{FF2B5EF4-FFF2-40B4-BE49-F238E27FC236}">
                    <a16:creationId xmlns:a16="http://schemas.microsoft.com/office/drawing/2014/main" id="{AFFA6492-5A33-4240-9DA8-A592030886E5}"/>
                  </a:ext>
                </a:extLst>
              </p:cNvPr>
              <p:cNvSpPr/>
              <p:nvPr/>
            </p:nvSpPr>
            <p:spPr>
              <a:xfrm>
                <a:off x="4297912" y="4101867"/>
                <a:ext cx="60171" cy="42428"/>
              </a:xfrm>
              <a:custGeom>
                <a:avLst/>
                <a:gdLst>
                  <a:gd name="connsiteX0" fmla="*/ 51686 w 60171"/>
                  <a:gd name="connsiteY0" fmla="*/ 42428 h 42428"/>
                  <a:gd name="connsiteX1" fmla="*/ 48600 w 60171"/>
                  <a:gd name="connsiteY1" fmla="*/ 42428 h 42428"/>
                  <a:gd name="connsiteX2" fmla="*/ 2314 w 60171"/>
                  <a:gd name="connsiteY2" fmla="*/ 11571 h 42428"/>
                  <a:gd name="connsiteX3" fmla="*/ 2314 w 60171"/>
                  <a:gd name="connsiteY3" fmla="*/ 2314 h 42428"/>
                  <a:gd name="connsiteX4" fmla="*/ 11571 w 60171"/>
                  <a:gd name="connsiteY4" fmla="*/ 2314 h 42428"/>
                  <a:gd name="connsiteX5" fmla="*/ 57857 w 60171"/>
                  <a:gd name="connsiteY5" fmla="*/ 33171 h 42428"/>
                  <a:gd name="connsiteX6" fmla="*/ 57857 w 60171"/>
                  <a:gd name="connsiteY6" fmla="*/ 42428 h 42428"/>
                  <a:gd name="connsiteX7" fmla="*/ 51686 w 60171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0171" h="42428">
                    <a:moveTo>
                      <a:pt x="51686" y="42428"/>
                    </a:moveTo>
                    <a:cubicBezTo>
                      <a:pt x="51686" y="42428"/>
                      <a:pt x="48600" y="42428"/>
                      <a:pt x="48600" y="42428"/>
                    </a:cubicBezTo>
                    <a:lnTo>
                      <a:pt x="2314" y="11571"/>
                    </a:ln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0" y="-771"/>
                      <a:pt x="8486" y="-771"/>
                      <a:pt x="11571" y="2314"/>
                    </a:cubicBezTo>
                    <a:lnTo>
                      <a:pt x="57857" y="33171"/>
                    </a:lnTo>
                    <a:cubicBezTo>
                      <a:pt x="60943" y="36257"/>
                      <a:pt x="60943" y="39343"/>
                      <a:pt x="57857" y="42428"/>
                    </a:cubicBezTo>
                    <a:cubicBezTo>
                      <a:pt x="57857" y="42428"/>
                      <a:pt x="54771" y="42428"/>
                      <a:pt x="51686" y="4242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6" name="任意多边形: 形状 275">
                <a:extLst>
                  <a:ext uri="{FF2B5EF4-FFF2-40B4-BE49-F238E27FC236}">
                    <a16:creationId xmlns:a16="http://schemas.microsoft.com/office/drawing/2014/main" id="{896BB91B-2041-4660-8704-F98BA7C1B795}"/>
                  </a:ext>
                </a:extLst>
              </p:cNvPr>
              <p:cNvSpPr/>
              <p:nvPr/>
            </p:nvSpPr>
            <p:spPr>
              <a:xfrm>
                <a:off x="4258740" y="3983839"/>
                <a:ext cx="63085" cy="101828"/>
              </a:xfrm>
              <a:custGeom>
                <a:avLst/>
                <a:gdLst>
                  <a:gd name="connsiteX0" fmla="*/ 7543 w 63085"/>
                  <a:gd name="connsiteY0" fmla="*/ 101829 h 101828"/>
                  <a:gd name="connsiteX1" fmla="*/ 1371 w 63085"/>
                  <a:gd name="connsiteY1" fmla="*/ 98743 h 101828"/>
                  <a:gd name="connsiteX2" fmla="*/ 1371 w 63085"/>
                  <a:gd name="connsiteY2" fmla="*/ 89486 h 101828"/>
                  <a:gd name="connsiteX3" fmla="*/ 50743 w 63085"/>
                  <a:gd name="connsiteY3" fmla="*/ 6171 h 101828"/>
                  <a:gd name="connsiteX4" fmla="*/ 56914 w 63085"/>
                  <a:gd name="connsiteY4" fmla="*/ 0 h 101828"/>
                  <a:gd name="connsiteX5" fmla="*/ 63086 w 63085"/>
                  <a:gd name="connsiteY5" fmla="*/ 6171 h 101828"/>
                  <a:gd name="connsiteX6" fmla="*/ 7543 w 63085"/>
                  <a:gd name="connsiteY6" fmla="*/ 95657 h 101828"/>
                  <a:gd name="connsiteX7" fmla="*/ 7543 w 63085"/>
                  <a:gd name="connsiteY7" fmla="*/ 101829 h 101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3085" h="101828">
                    <a:moveTo>
                      <a:pt x="7543" y="101829"/>
                    </a:moveTo>
                    <a:cubicBezTo>
                      <a:pt x="4457" y="101829"/>
                      <a:pt x="4457" y="101829"/>
                      <a:pt x="1371" y="98743"/>
                    </a:cubicBezTo>
                    <a:cubicBezTo>
                      <a:pt x="-1714" y="95657"/>
                      <a:pt x="1371" y="92571"/>
                      <a:pt x="1371" y="89486"/>
                    </a:cubicBezTo>
                    <a:cubicBezTo>
                      <a:pt x="44571" y="58629"/>
                      <a:pt x="50743" y="6171"/>
                      <a:pt x="50743" y="6171"/>
                    </a:cubicBezTo>
                    <a:cubicBezTo>
                      <a:pt x="50743" y="3086"/>
                      <a:pt x="53829" y="0"/>
                      <a:pt x="56914" y="0"/>
                    </a:cubicBezTo>
                    <a:cubicBezTo>
                      <a:pt x="60000" y="0"/>
                      <a:pt x="63086" y="3086"/>
                      <a:pt x="63086" y="6171"/>
                    </a:cubicBezTo>
                    <a:cubicBezTo>
                      <a:pt x="63086" y="9257"/>
                      <a:pt x="56914" y="61714"/>
                      <a:pt x="7543" y="95657"/>
                    </a:cubicBezTo>
                    <a:cubicBezTo>
                      <a:pt x="7543" y="101829"/>
                      <a:pt x="7543" y="101829"/>
                      <a:pt x="7543" y="10182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77" name="任意多边形: 形状 276">
              <a:extLst>
                <a:ext uri="{FF2B5EF4-FFF2-40B4-BE49-F238E27FC236}">
                  <a16:creationId xmlns:a16="http://schemas.microsoft.com/office/drawing/2014/main" id="{76565587-D5B0-4483-AC88-078C26533FF4}"/>
                </a:ext>
              </a:extLst>
            </p:cNvPr>
            <p:cNvSpPr/>
            <p:nvPr/>
          </p:nvSpPr>
          <p:spPr>
            <a:xfrm>
              <a:off x="3692340" y="3141439"/>
              <a:ext cx="89485" cy="589371"/>
            </a:xfrm>
            <a:custGeom>
              <a:avLst/>
              <a:gdLst>
                <a:gd name="connsiteX0" fmla="*/ 21600 w 89485"/>
                <a:gd name="connsiteY0" fmla="*/ 589371 h 589371"/>
                <a:gd name="connsiteX1" fmla="*/ 15429 w 89485"/>
                <a:gd name="connsiteY1" fmla="*/ 586286 h 589371"/>
                <a:gd name="connsiteX2" fmla="*/ 18514 w 89485"/>
                <a:gd name="connsiteY2" fmla="*/ 580114 h 589371"/>
                <a:gd name="connsiteX3" fmla="*/ 77143 w 89485"/>
                <a:gd name="connsiteY3" fmla="*/ 555429 h 589371"/>
                <a:gd name="connsiteX4" fmla="*/ 0 w 89485"/>
                <a:gd name="connsiteY4" fmla="*/ 0 h 589371"/>
                <a:gd name="connsiteX5" fmla="*/ 12343 w 89485"/>
                <a:gd name="connsiteY5" fmla="*/ 0 h 589371"/>
                <a:gd name="connsiteX6" fmla="*/ 89486 w 89485"/>
                <a:gd name="connsiteY6" fmla="*/ 555429 h 589371"/>
                <a:gd name="connsiteX7" fmla="*/ 86400 w 89485"/>
                <a:gd name="connsiteY7" fmla="*/ 561600 h 589371"/>
                <a:gd name="connsiteX8" fmla="*/ 21600 w 89485"/>
                <a:gd name="connsiteY8" fmla="*/ 589371 h 589371"/>
                <a:gd name="connsiteX9" fmla="*/ 21600 w 89485"/>
                <a:gd name="connsiteY9" fmla="*/ 589371 h 589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485" h="589371">
                  <a:moveTo>
                    <a:pt x="21600" y="589371"/>
                  </a:moveTo>
                  <a:cubicBezTo>
                    <a:pt x="18514" y="589371"/>
                    <a:pt x="15429" y="586286"/>
                    <a:pt x="15429" y="586286"/>
                  </a:cubicBezTo>
                  <a:cubicBezTo>
                    <a:pt x="15429" y="583200"/>
                    <a:pt x="15429" y="580114"/>
                    <a:pt x="18514" y="580114"/>
                  </a:cubicBezTo>
                  <a:cubicBezTo>
                    <a:pt x="33943" y="577029"/>
                    <a:pt x="64800" y="561600"/>
                    <a:pt x="77143" y="555429"/>
                  </a:cubicBezTo>
                  <a:lnTo>
                    <a:pt x="0" y="0"/>
                  </a:lnTo>
                  <a:lnTo>
                    <a:pt x="12343" y="0"/>
                  </a:lnTo>
                  <a:lnTo>
                    <a:pt x="89486" y="555429"/>
                  </a:lnTo>
                  <a:cubicBezTo>
                    <a:pt x="89486" y="558514"/>
                    <a:pt x="89486" y="561600"/>
                    <a:pt x="86400" y="561600"/>
                  </a:cubicBezTo>
                  <a:cubicBezTo>
                    <a:pt x="83314" y="561600"/>
                    <a:pt x="43200" y="583200"/>
                    <a:pt x="21600" y="589371"/>
                  </a:cubicBezTo>
                  <a:cubicBezTo>
                    <a:pt x="21600" y="589371"/>
                    <a:pt x="21600" y="589371"/>
                    <a:pt x="21600" y="589371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8" name="任意多边形: 形状 277">
              <a:extLst>
                <a:ext uri="{FF2B5EF4-FFF2-40B4-BE49-F238E27FC236}">
                  <a16:creationId xmlns:a16="http://schemas.microsoft.com/office/drawing/2014/main" id="{06DA6F36-969E-4C20-B23B-786BA3BA53EF}"/>
                </a:ext>
              </a:extLst>
            </p:cNvPr>
            <p:cNvSpPr/>
            <p:nvPr/>
          </p:nvSpPr>
          <p:spPr>
            <a:xfrm>
              <a:off x="3360952" y="2766949"/>
              <a:ext cx="420873" cy="604312"/>
            </a:xfrm>
            <a:custGeom>
              <a:avLst/>
              <a:gdLst>
                <a:gd name="connsiteX0" fmla="*/ 1216 w 420873"/>
                <a:gd name="connsiteY0" fmla="*/ 599747 h 604312"/>
                <a:gd name="connsiteX1" fmla="*/ 118473 w 420873"/>
                <a:gd name="connsiteY1" fmla="*/ 4204 h 604312"/>
                <a:gd name="connsiteX2" fmla="*/ 420873 w 420873"/>
                <a:gd name="connsiteY2" fmla="*/ 519519 h 604312"/>
                <a:gd name="connsiteX3" fmla="*/ 1216 w 420873"/>
                <a:gd name="connsiteY3" fmla="*/ 599747 h 604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0873" h="604312">
                  <a:moveTo>
                    <a:pt x="1216" y="599747"/>
                  </a:moveTo>
                  <a:cubicBezTo>
                    <a:pt x="1216" y="599747"/>
                    <a:pt x="-20384" y="56661"/>
                    <a:pt x="118473" y="4204"/>
                  </a:cubicBezTo>
                  <a:cubicBezTo>
                    <a:pt x="282016" y="-54424"/>
                    <a:pt x="420873" y="519519"/>
                    <a:pt x="420873" y="519519"/>
                  </a:cubicBezTo>
                  <a:cubicBezTo>
                    <a:pt x="420873" y="519519"/>
                    <a:pt x="214130" y="627519"/>
                    <a:pt x="1216" y="599747"/>
                  </a:cubicBezTo>
                  <a:close/>
                </a:path>
              </a:pathLst>
            </a:custGeom>
            <a:solidFill>
              <a:srgbClr val="70868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9" name="任意多边形: 形状 278">
              <a:extLst>
                <a:ext uri="{FF2B5EF4-FFF2-40B4-BE49-F238E27FC236}">
                  <a16:creationId xmlns:a16="http://schemas.microsoft.com/office/drawing/2014/main" id="{2860F711-77FC-48FE-84AB-C09921C4EFE0}"/>
                </a:ext>
              </a:extLst>
            </p:cNvPr>
            <p:cNvSpPr/>
            <p:nvPr/>
          </p:nvSpPr>
          <p:spPr>
            <a:xfrm>
              <a:off x="3356769" y="2768064"/>
              <a:ext cx="431228" cy="617146"/>
            </a:xfrm>
            <a:custGeom>
              <a:avLst/>
              <a:gdLst>
                <a:gd name="connsiteX0" fmla="*/ 94886 w 431228"/>
                <a:gd name="connsiteY0" fmla="*/ 617146 h 617146"/>
                <a:gd name="connsiteX1" fmla="*/ 5400 w 431228"/>
                <a:gd name="connsiteY1" fmla="*/ 607889 h 617146"/>
                <a:gd name="connsiteX2" fmla="*/ 2314 w 431228"/>
                <a:gd name="connsiteY2" fmla="*/ 607889 h 617146"/>
                <a:gd name="connsiteX3" fmla="*/ 2314 w 431228"/>
                <a:gd name="connsiteY3" fmla="*/ 604804 h 617146"/>
                <a:gd name="connsiteX4" fmla="*/ 11571 w 431228"/>
                <a:gd name="connsiteY4" fmla="*/ 296232 h 617146"/>
                <a:gd name="connsiteX5" fmla="*/ 17743 w 431228"/>
                <a:gd name="connsiteY5" fmla="*/ 290061 h 617146"/>
                <a:gd name="connsiteX6" fmla="*/ 23914 w 431228"/>
                <a:gd name="connsiteY6" fmla="*/ 296232 h 617146"/>
                <a:gd name="connsiteX7" fmla="*/ 14657 w 431228"/>
                <a:gd name="connsiteY7" fmla="*/ 598632 h 617146"/>
                <a:gd name="connsiteX8" fmla="*/ 421971 w 431228"/>
                <a:gd name="connsiteY8" fmla="*/ 518404 h 617146"/>
                <a:gd name="connsiteX9" fmla="*/ 304714 w 431228"/>
                <a:gd name="connsiteY9" fmla="*/ 178975 h 617146"/>
                <a:gd name="connsiteX10" fmla="*/ 125743 w 431228"/>
                <a:gd name="connsiteY10" fmla="*/ 12346 h 617146"/>
                <a:gd name="connsiteX11" fmla="*/ 125743 w 431228"/>
                <a:gd name="connsiteY11" fmla="*/ 12346 h 617146"/>
                <a:gd name="connsiteX12" fmla="*/ 119571 w 431228"/>
                <a:gd name="connsiteY12" fmla="*/ 6175 h 617146"/>
                <a:gd name="connsiteX13" fmla="*/ 125743 w 431228"/>
                <a:gd name="connsiteY13" fmla="*/ 4 h 617146"/>
                <a:gd name="connsiteX14" fmla="*/ 313971 w 431228"/>
                <a:gd name="connsiteY14" fmla="*/ 172804 h 617146"/>
                <a:gd name="connsiteX15" fmla="*/ 431229 w 431228"/>
                <a:gd name="connsiteY15" fmla="*/ 518404 h 617146"/>
                <a:gd name="connsiteX16" fmla="*/ 431229 w 431228"/>
                <a:gd name="connsiteY16" fmla="*/ 521489 h 617146"/>
                <a:gd name="connsiteX17" fmla="*/ 428143 w 431228"/>
                <a:gd name="connsiteY17" fmla="*/ 524575 h 617146"/>
                <a:gd name="connsiteX18" fmla="*/ 94886 w 431228"/>
                <a:gd name="connsiteY18" fmla="*/ 617146 h 61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1228" h="617146">
                  <a:moveTo>
                    <a:pt x="94886" y="617146"/>
                  </a:moveTo>
                  <a:cubicBezTo>
                    <a:pt x="64029" y="617146"/>
                    <a:pt x="33171" y="614061"/>
                    <a:pt x="5400" y="607889"/>
                  </a:cubicBezTo>
                  <a:lnTo>
                    <a:pt x="2314" y="607889"/>
                  </a:lnTo>
                  <a:lnTo>
                    <a:pt x="2314" y="604804"/>
                  </a:lnTo>
                  <a:cubicBezTo>
                    <a:pt x="2314" y="601718"/>
                    <a:pt x="-6943" y="419661"/>
                    <a:pt x="11571" y="296232"/>
                  </a:cubicBezTo>
                  <a:cubicBezTo>
                    <a:pt x="11571" y="293146"/>
                    <a:pt x="14657" y="290061"/>
                    <a:pt x="17743" y="290061"/>
                  </a:cubicBezTo>
                  <a:cubicBezTo>
                    <a:pt x="20829" y="290061"/>
                    <a:pt x="23914" y="293146"/>
                    <a:pt x="23914" y="296232"/>
                  </a:cubicBezTo>
                  <a:cubicBezTo>
                    <a:pt x="8486" y="407318"/>
                    <a:pt x="14657" y="567775"/>
                    <a:pt x="14657" y="598632"/>
                  </a:cubicBezTo>
                  <a:cubicBezTo>
                    <a:pt x="184371" y="638746"/>
                    <a:pt x="391114" y="536918"/>
                    <a:pt x="421971" y="518404"/>
                  </a:cubicBezTo>
                  <a:cubicBezTo>
                    <a:pt x="412714" y="490632"/>
                    <a:pt x="366429" y="333261"/>
                    <a:pt x="304714" y="178975"/>
                  </a:cubicBezTo>
                  <a:cubicBezTo>
                    <a:pt x="239914" y="15432"/>
                    <a:pt x="131914" y="12346"/>
                    <a:pt x="125743" y="12346"/>
                  </a:cubicBezTo>
                  <a:cubicBezTo>
                    <a:pt x="125743" y="12346"/>
                    <a:pt x="125743" y="12346"/>
                    <a:pt x="125743" y="12346"/>
                  </a:cubicBezTo>
                  <a:cubicBezTo>
                    <a:pt x="122657" y="12346"/>
                    <a:pt x="119571" y="9261"/>
                    <a:pt x="119571" y="6175"/>
                  </a:cubicBezTo>
                  <a:cubicBezTo>
                    <a:pt x="119571" y="3089"/>
                    <a:pt x="122657" y="4"/>
                    <a:pt x="125743" y="4"/>
                  </a:cubicBezTo>
                  <a:cubicBezTo>
                    <a:pt x="131914" y="4"/>
                    <a:pt x="246086" y="-3082"/>
                    <a:pt x="313971" y="172804"/>
                  </a:cubicBezTo>
                  <a:cubicBezTo>
                    <a:pt x="381857" y="345604"/>
                    <a:pt x="431229" y="515318"/>
                    <a:pt x="431229" y="518404"/>
                  </a:cubicBezTo>
                  <a:lnTo>
                    <a:pt x="431229" y="521489"/>
                  </a:lnTo>
                  <a:lnTo>
                    <a:pt x="428143" y="524575"/>
                  </a:lnTo>
                  <a:cubicBezTo>
                    <a:pt x="425057" y="524575"/>
                    <a:pt x="258429" y="617146"/>
                    <a:pt x="94886" y="617146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0" name="任意多边形: 形状 279">
              <a:extLst>
                <a:ext uri="{FF2B5EF4-FFF2-40B4-BE49-F238E27FC236}">
                  <a16:creationId xmlns:a16="http://schemas.microsoft.com/office/drawing/2014/main" id="{AC250BC3-6935-4412-8478-5CA88CA1CEDF}"/>
                </a:ext>
              </a:extLst>
            </p:cNvPr>
            <p:cNvSpPr/>
            <p:nvPr/>
          </p:nvSpPr>
          <p:spPr>
            <a:xfrm>
              <a:off x="3840331" y="2169439"/>
              <a:ext cx="33294" cy="95657"/>
            </a:xfrm>
            <a:custGeom>
              <a:avLst/>
              <a:gdLst>
                <a:gd name="connsiteX0" fmla="*/ 24809 w 33294"/>
                <a:gd name="connsiteY0" fmla="*/ 95657 h 95657"/>
                <a:gd name="connsiteX1" fmla="*/ 21723 w 33294"/>
                <a:gd name="connsiteY1" fmla="*/ 92571 h 95657"/>
                <a:gd name="connsiteX2" fmla="*/ 123 w 33294"/>
                <a:gd name="connsiteY2" fmla="*/ 6171 h 95657"/>
                <a:gd name="connsiteX3" fmla="*/ 6295 w 33294"/>
                <a:gd name="connsiteY3" fmla="*/ 0 h 95657"/>
                <a:gd name="connsiteX4" fmla="*/ 12466 w 33294"/>
                <a:gd name="connsiteY4" fmla="*/ 6171 h 95657"/>
                <a:gd name="connsiteX5" fmla="*/ 30981 w 33294"/>
                <a:gd name="connsiteY5" fmla="*/ 83314 h 95657"/>
                <a:gd name="connsiteX6" fmla="*/ 30981 w 33294"/>
                <a:gd name="connsiteY6" fmla="*/ 92571 h 95657"/>
                <a:gd name="connsiteX7" fmla="*/ 24809 w 33294"/>
                <a:gd name="connsiteY7" fmla="*/ 95657 h 9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294" h="95657">
                  <a:moveTo>
                    <a:pt x="24809" y="95657"/>
                  </a:moveTo>
                  <a:cubicBezTo>
                    <a:pt x="24809" y="95657"/>
                    <a:pt x="21723" y="95657"/>
                    <a:pt x="21723" y="92571"/>
                  </a:cubicBezTo>
                  <a:cubicBezTo>
                    <a:pt x="-2962" y="64800"/>
                    <a:pt x="123" y="9257"/>
                    <a:pt x="123" y="6171"/>
                  </a:cubicBezTo>
                  <a:cubicBezTo>
                    <a:pt x="123" y="3086"/>
                    <a:pt x="3209" y="0"/>
                    <a:pt x="6295" y="0"/>
                  </a:cubicBezTo>
                  <a:cubicBezTo>
                    <a:pt x="9381" y="0"/>
                    <a:pt x="12466" y="3086"/>
                    <a:pt x="12466" y="6171"/>
                  </a:cubicBezTo>
                  <a:cubicBezTo>
                    <a:pt x="12466" y="6171"/>
                    <a:pt x="9381" y="58629"/>
                    <a:pt x="30981" y="83314"/>
                  </a:cubicBezTo>
                  <a:cubicBezTo>
                    <a:pt x="34066" y="86400"/>
                    <a:pt x="34066" y="89486"/>
                    <a:pt x="30981" y="92571"/>
                  </a:cubicBezTo>
                  <a:cubicBezTo>
                    <a:pt x="27895" y="95657"/>
                    <a:pt x="27895" y="95657"/>
                    <a:pt x="24809" y="95657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1" name="任意多边形: 形状 280">
              <a:extLst>
                <a:ext uri="{FF2B5EF4-FFF2-40B4-BE49-F238E27FC236}">
                  <a16:creationId xmlns:a16="http://schemas.microsoft.com/office/drawing/2014/main" id="{45C9FE3D-2F3A-4603-BC76-DD4BFC2099BE}"/>
                </a:ext>
              </a:extLst>
            </p:cNvPr>
            <p:cNvSpPr/>
            <p:nvPr/>
          </p:nvSpPr>
          <p:spPr>
            <a:xfrm>
              <a:off x="4152111" y="2160182"/>
              <a:ext cx="168655" cy="145028"/>
            </a:xfrm>
            <a:custGeom>
              <a:avLst/>
              <a:gdLst>
                <a:gd name="connsiteX0" fmla="*/ 163543 w 168655"/>
                <a:gd name="connsiteY0" fmla="*/ 145029 h 145028"/>
                <a:gd name="connsiteX1" fmla="*/ 157371 w 168655"/>
                <a:gd name="connsiteY1" fmla="*/ 141943 h 145028"/>
                <a:gd name="connsiteX2" fmla="*/ 3086 w 168655"/>
                <a:gd name="connsiteY2" fmla="*/ 9257 h 145028"/>
                <a:gd name="connsiteX3" fmla="*/ 0 w 168655"/>
                <a:gd name="connsiteY3" fmla="*/ 3086 h 145028"/>
                <a:gd name="connsiteX4" fmla="*/ 6171 w 168655"/>
                <a:gd name="connsiteY4" fmla="*/ 0 h 145028"/>
                <a:gd name="connsiteX5" fmla="*/ 166629 w 168655"/>
                <a:gd name="connsiteY5" fmla="*/ 135771 h 145028"/>
                <a:gd name="connsiteX6" fmla="*/ 163543 w 168655"/>
                <a:gd name="connsiteY6" fmla="*/ 145029 h 145028"/>
                <a:gd name="connsiteX7" fmla="*/ 163543 w 168655"/>
                <a:gd name="connsiteY7" fmla="*/ 145029 h 145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8655" h="145028">
                  <a:moveTo>
                    <a:pt x="163543" y="145029"/>
                  </a:moveTo>
                  <a:cubicBezTo>
                    <a:pt x="160457" y="145029"/>
                    <a:pt x="160457" y="145029"/>
                    <a:pt x="157371" y="141943"/>
                  </a:cubicBezTo>
                  <a:cubicBezTo>
                    <a:pt x="111086" y="49371"/>
                    <a:pt x="3086" y="9257"/>
                    <a:pt x="3086" y="9257"/>
                  </a:cubicBezTo>
                  <a:cubicBezTo>
                    <a:pt x="0" y="9257"/>
                    <a:pt x="0" y="6171"/>
                    <a:pt x="0" y="3086"/>
                  </a:cubicBezTo>
                  <a:cubicBezTo>
                    <a:pt x="0" y="0"/>
                    <a:pt x="3086" y="0"/>
                    <a:pt x="6171" y="0"/>
                  </a:cubicBezTo>
                  <a:cubicBezTo>
                    <a:pt x="9257" y="3086"/>
                    <a:pt x="117257" y="40114"/>
                    <a:pt x="166629" y="135771"/>
                  </a:cubicBezTo>
                  <a:cubicBezTo>
                    <a:pt x="169714" y="138857"/>
                    <a:pt x="169714" y="141943"/>
                    <a:pt x="163543" y="145029"/>
                  </a:cubicBezTo>
                  <a:cubicBezTo>
                    <a:pt x="166629" y="145029"/>
                    <a:pt x="163543" y="145029"/>
                    <a:pt x="163543" y="145029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282" name="图形 1">
            <a:extLst>
              <a:ext uri="{FF2B5EF4-FFF2-40B4-BE49-F238E27FC236}">
                <a16:creationId xmlns:a16="http://schemas.microsoft.com/office/drawing/2014/main" id="{89240D87-D30F-4B24-8EC9-55DDD15DD02D}"/>
              </a:ext>
            </a:extLst>
          </p:cNvPr>
          <p:cNvGrpSpPr/>
          <p:nvPr/>
        </p:nvGrpSpPr>
        <p:grpSpPr>
          <a:xfrm>
            <a:off x="6835166" y="2203170"/>
            <a:ext cx="2431313" cy="4581215"/>
            <a:chOff x="6835166" y="2203170"/>
            <a:chExt cx="2431313" cy="4581215"/>
          </a:xfrm>
        </p:grpSpPr>
        <p:sp>
          <p:nvSpPr>
            <p:cNvPr id="283" name="任意多边形: 形状 282">
              <a:extLst>
                <a:ext uri="{FF2B5EF4-FFF2-40B4-BE49-F238E27FC236}">
                  <a16:creationId xmlns:a16="http://schemas.microsoft.com/office/drawing/2014/main" id="{01B0B049-00C6-4F68-A147-B8EFC9EAEC2F}"/>
                </a:ext>
              </a:extLst>
            </p:cNvPr>
            <p:cNvSpPr/>
            <p:nvPr/>
          </p:nvSpPr>
          <p:spPr>
            <a:xfrm>
              <a:off x="7564355" y="2203170"/>
              <a:ext cx="484242" cy="810252"/>
            </a:xfrm>
            <a:custGeom>
              <a:avLst/>
              <a:gdLst>
                <a:gd name="connsiteX0" fmla="*/ 478842 w 484242"/>
                <a:gd name="connsiteY0" fmla="*/ 722269 h 810252"/>
                <a:gd name="connsiteX1" fmla="*/ 466499 w 484242"/>
                <a:gd name="connsiteY1" fmla="*/ 694498 h 810252"/>
                <a:gd name="connsiteX2" fmla="*/ 460328 w 484242"/>
                <a:gd name="connsiteY2" fmla="*/ 601926 h 810252"/>
                <a:gd name="connsiteX3" fmla="*/ 435642 w 484242"/>
                <a:gd name="connsiteY3" fmla="*/ 478498 h 810252"/>
                <a:gd name="connsiteX4" fmla="*/ 414042 w 484242"/>
                <a:gd name="connsiteY4" fmla="*/ 351983 h 810252"/>
                <a:gd name="connsiteX5" fmla="*/ 395528 w 484242"/>
                <a:gd name="connsiteY5" fmla="*/ 262498 h 810252"/>
                <a:gd name="connsiteX6" fmla="*/ 401700 w 484242"/>
                <a:gd name="connsiteY6" fmla="*/ 247069 h 810252"/>
                <a:gd name="connsiteX7" fmla="*/ 346157 w 484242"/>
                <a:gd name="connsiteY7" fmla="*/ 151412 h 810252"/>
                <a:gd name="connsiteX8" fmla="*/ 244328 w 484242"/>
                <a:gd name="connsiteY8" fmla="*/ 52669 h 810252"/>
                <a:gd name="connsiteX9" fmla="*/ 222728 w 484242"/>
                <a:gd name="connsiteY9" fmla="*/ 24898 h 810252"/>
                <a:gd name="connsiteX10" fmla="*/ 157928 w 484242"/>
                <a:gd name="connsiteY10" fmla="*/ 212 h 810252"/>
                <a:gd name="connsiteX11" fmla="*/ 12899 w 484242"/>
                <a:gd name="connsiteY11" fmla="*/ 77355 h 810252"/>
                <a:gd name="connsiteX12" fmla="*/ 6728 w 484242"/>
                <a:gd name="connsiteY12" fmla="*/ 105126 h 810252"/>
                <a:gd name="connsiteX13" fmla="*/ 43756 w 484242"/>
                <a:gd name="connsiteY13" fmla="*/ 123640 h 810252"/>
                <a:gd name="connsiteX14" fmla="*/ 71528 w 484242"/>
                <a:gd name="connsiteY14" fmla="*/ 203869 h 810252"/>
                <a:gd name="connsiteX15" fmla="*/ 120899 w 484242"/>
                <a:gd name="connsiteY15" fmla="*/ 348898 h 810252"/>
                <a:gd name="connsiteX16" fmla="*/ 71528 w 484242"/>
                <a:gd name="connsiteY16" fmla="*/ 617355 h 810252"/>
                <a:gd name="connsiteX17" fmla="*/ 157928 w 484242"/>
                <a:gd name="connsiteY17" fmla="*/ 574155 h 810252"/>
                <a:gd name="connsiteX18" fmla="*/ 244328 w 484242"/>
                <a:gd name="connsiteY18" fmla="*/ 783983 h 810252"/>
                <a:gd name="connsiteX19" fmla="*/ 472671 w 484242"/>
                <a:gd name="connsiteY19" fmla="*/ 771640 h 810252"/>
                <a:gd name="connsiteX20" fmla="*/ 478842 w 484242"/>
                <a:gd name="connsiteY20" fmla="*/ 722269 h 810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84242" h="810252">
                  <a:moveTo>
                    <a:pt x="478842" y="722269"/>
                  </a:moveTo>
                  <a:cubicBezTo>
                    <a:pt x="478842" y="713012"/>
                    <a:pt x="475756" y="700669"/>
                    <a:pt x="466499" y="694498"/>
                  </a:cubicBezTo>
                  <a:cubicBezTo>
                    <a:pt x="488099" y="663640"/>
                    <a:pt x="494271" y="623526"/>
                    <a:pt x="460328" y="601926"/>
                  </a:cubicBezTo>
                  <a:cubicBezTo>
                    <a:pt x="478842" y="555640"/>
                    <a:pt x="478842" y="506269"/>
                    <a:pt x="435642" y="478498"/>
                  </a:cubicBezTo>
                  <a:cubicBezTo>
                    <a:pt x="460328" y="438383"/>
                    <a:pt x="457242" y="370498"/>
                    <a:pt x="414042" y="351983"/>
                  </a:cubicBezTo>
                  <a:cubicBezTo>
                    <a:pt x="429471" y="318040"/>
                    <a:pt x="420214" y="287183"/>
                    <a:pt x="395528" y="262498"/>
                  </a:cubicBezTo>
                  <a:cubicBezTo>
                    <a:pt x="395528" y="259412"/>
                    <a:pt x="398614" y="256326"/>
                    <a:pt x="401700" y="247069"/>
                  </a:cubicBezTo>
                  <a:cubicBezTo>
                    <a:pt x="414042" y="200783"/>
                    <a:pt x="395528" y="148326"/>
                    <a:pt x="346157" y="151412"/>
                  </a:cubicBezTo>
                  <a:cubicBezTo>
                    <a:pt x="352328" y="89698"/>
                    <a:pt x="309128" y="46498"/>
                    <a:pt x="244328" y="52669"/>
                  </a:cubicBezTo>
                  <a:cubicBezTo>
                    <a:pt x="238157" y="40326"/>
                    <a:pt x="231985" y="34155"/>
                    <a:pt x="222728" y="24898"/>
                  </a:cubicBezTo>
                  <a:cubicBezTo>
                    <a:pt x="201128" y="9469"/>
                    <a:pt x="173356" y="212"/>
                    <a:pt x="157928" y="212"/>
                  </a:cubicBezTo>
                  <a:cubicBezTo>
                    <a:pt x="99299" y="-2874"/>
                    <a:pt x="34499" y="27983"/>
                    <a:pt x="12899" y="77355"/>
                  </a:cubicBezTo>
                  <a:cubicBezTo>
                    <a:pt x="557" y="80440"/>
                    <a:pt x="-5615" y="98955"/>
                    <a:pt x="6728" y="105126"/>
                  </a:cubicBezTo>
                  <a:cubicBezTo>
                    <a:pt x="19071" y="111298"/>
                    <a:pt x="31414" y="117469"/>
                    <a:pt x="43756" y="123640"/>
                  </a:cubicBezTo>
                  <a:cubicBezTo>
                    <a:pt x="49928" y="151412"/>
                    <a:pt x="59185" y="182269"/>
                    <a:pt x="71528" y="203869"/>
                  </a:cubicBezTo>
                  <a:cubicBezTo>
                    <a:pt x="93128" y="250155"/>
                    <a:pt x="111642" y="299526"/>
                    <a:pt x="120899" y="348898"/>
                  </a:cubicBezTo>
                  <a:cubicBezTo>
                    <a:pt x="130157" y="401355"/>
                    <a:pt x="65356" y="574155"/>
                    <a:pt x="71528" y="617355"/>
                  </a:cubicBezTo>
                  <a:cubicBezTo>
                    <a:pt x="80785" y="666726"/>
                    <a:pt x="71528" y="648212"/>
                    <a:pt x="157928" y="574155"/>
                  </a:cubicBezTo>
                  <a:cubicBezTo>
                    <a:pt x="136328" y="654383"/>
                    <a:pt x="151756" y="737698"/>
                    <a:pt x="244328" y="783983"/>
                  </a:cubicBezTo>
                  <a:cubicBezTo>
                    <a:pt x="296785" y="811755"/>
                    <a:pt x="435642" y="830269"/>
                    <a:pt x="472671" y="771640"/>
                  </a:cubicBezTo>
                  <a:cubicBezTo>
                    <a:pt x="488099" y="750040"/>
                    <a:pt x="485014" y="734612"/>
                    <a:pt x="478842" y="722269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4" name="任意多边形: 形状 283">
              <a:extLst>
                <a:ext uri="{FF2B5EF4-FFF2-40B4-BE49-F238E27FC236}">
                  <a16:creationId xmlns:a16="http://schemas.microsoft.com/office/drawing/2014/main" id="{78853364-F129-456F-A22B-13524F1F77F1}"/>
                </a:ext>
              </a:extLst>
            </p:cNvPr>
            <p:cNvSpPr/>
            <p:nvPr/>
          </p:nvSpPr>
          <p:spPr>
            <a:xfrm>
              <a:off x="7075195" y="2204914"/>
              <a:ext cx="607971" cy="978904"/>
            </a:xfrm>
            <a:custGeom>
              <a:avLst/>
              <a:gdLst>
                <a:gd name="connsiteX0" fmla="*/ 560687 w 607971"/>
                <a:gd name="connsiteY0" fmla="*/ 266924 h 978904"/>
                <a:gd name="connsiteX1" fmla="*/ 539087 w 607971"/>
                <a:gd name="connsiteY1" fmla="*/ 91039 h 978904"/>
                <a:gd name="connsiteX2" fmla="*/ 542173 w 607971"/>
                <a:gd name="connsiteY2" fmla="*/ 75610 h 978904"/>
                <a:gd name="connsiteX3" fmla="*/ 375545 w 607971"/>
                <a:gd name="connsiteY3" fmla="*/ 54010 h 978904"/>
                <a:gd name="connsiteX4" fmla="*/ 282973 w 607971"/>
                <a:gd name="connsiteY4" fmla="*/ 100296 h 978904"/>
                <a:gd name="connsiteX5" fmla="*/ 286059 w 607971"/>
                <a:gd name="connsiteY5" fmla="*/ 165096 h 978904"/>
                <a:gd name="connsiteX6" fmla="*/ 286059 w 607971"/>
                <a:gd name="connsiteY6" fmla="*/ 165096 h 978904"/>
                <a:gd name="connsiteX7" fmla="*/ 205830 w 607971"/>
                <a:gd name="connsiteY7" fmla="*/ 257667 h 978904"/>
                <a:gd name="connsiteX8" fmla="*/ 168802 w 607971"/>
                <a:gd name="connsiteY8" fmla="*/ 291610 h 978904"/>
                <a:gd name="connsiteX9" fmla="*/ 178059 w 607971"/>
                <a:gd name="connsiteY9" fmla="*/ 344067 h 978904"/>
                <a:gd name="connsiteX10" fmla="*/ 134859 w 607971"/>
                <a:gd name="connsiteY10" fmla="*/ 411953 h 978904"/>
                <a:gd name="connsiteX11" fmla="*/ 141031 w 607971"/>
                <a:gd name="connsiteY11" fmla="*/ 455153 h 978904"/>
                <a:gd name="connsiteX12" fmla="*/ 57716 w 607971"/>
                <a:gd name="connsiteY12" fmla="*/ 532296 h 978904"/>
                <a:gd name="connsiteX13" fmla="*/ 85488 w 607971"/>
                <a:gd name="connsiteY13" fmla="*/ 603267 h 978904"/>
                <a:gd name="connsiteX14" fmla="*/ 42288 w 607971"/>
                <a:gd name="connsiteY14" fmla="*/ 776067 h 978904"/>
                <a:gd name="connsiteX15" fmla="*/ 17602 w 607971"/>
                <a:gd name="connsiteY15" fmla="*/ 902582 h 978904"/>
                <a:gd name="connsiteX16" fmla="*/ 91659 w 607971"/>
                <a:gd name="connsiteY16" fmla="*/ 905667 h 978904"/>
                <a:gd name="connsiteX17" fmla="*/ 199659 w 607971"/>
                <a:gd name="connsiteY17" fmla="*/ 976639 h 978904"/>
                <a:gd name="connsiteX18" fmla="*/ 267545 w 607971"/>
                <a:gd name="connsiteY18" fmla="*/ 843953 h 978904"/>
                <a:gd name="connsiteX19" fmla="*/ 304573 w 607971"/>
                <a:gd name="connsiteY19" fmla="*/ 810010 h 978904"/>
                <a:gd name="connsiteX20" fmla="*/ 341602 w 607971"/>
                <a:gd name="connsiteY20" fmla="*/ 794582 h 978904"/>
                <a:gd name="connsiteX21" fmla="*/ 508230 w 607971"/>
                <a:gd name="connsiteY21" fmla="*/ 729782 h 978904"/>
                <a:gd name="connsiteX22" fmla="*/ 579202 w 607971"/>
                <a:gd name="connsiteY22" fmla="*/ 674239 h 978904"/>
                <a:gd name="connsiteX23" fmla="*/ 560687 w 607971"/>
                <a:gd name="connsiteY23" fmla="*/ 498353 h 978904"/>
                <a:gd name="connsiteX24" fmla="*/ 560687 w 607971"/>
                <a:gd name="connsiteY24" fmla="*/ 266924 h 978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07971" h="978904">
                  <a:moveTo>
                    <a:pt x="560687" y="266924"/>
                  </a:moveTo>
                  <a:cubicBezTo>
                    <a:pt x="619316" y="220639"/>
                    <a:pt x="569945" y="143496"/>
                    <a:pt x="539087" y="91039"/>
                  </a:cubicBezTo>
                  <a:cubicBezTo>
                    <a:pt x="542173" y="87953"/>
                    <a:pt x="545259" y="81782"/>
                    <a:pt x="542173" y="75610"/>
                  </a:cubicBezTo>
                  <a:cubicBezTo>
                    <a:pt x="520573" y="-7704"/>
                    <a:pt x="372459" y="-32390"/>
                    <a:pt x="375545" y="54010"/>
                  </a:cubicBezTo>
                  <a:cubicBezTo>
                    <a:pt x="338516" y="57096"/>
                    <a:pt x="301488" y="66353"/>
                    <a:pt x="282973" y="100296"/>
                  </a:cubicBezTo>
                  <a:cubicBezTo>
                    <a:pt x="270630" y="121896"/>
                    <a:pt x="273716" y="146582"/>
                    <a:pt x="286059" y="165096"/>
                  </a:cubicBezTo>
                  <a:lnTo>
                    <a:pt x="286059" y="165096"/>
                  </a:lnTo>
                  <a:cubicBezTo>
                    <a:pt x="239773" y="177439"/>
                    <a:pt x="199659" y="205210"/>
                    <a:pt x="205830" y="257667"/>
                  </a:cubicBezTo>
                  <a:cubicBezTo>
                    <a:pt x="187316" y="260753"/>
                    <a:pt x="174973" y="270010"/>
                    <a:pt x="168802" y="291610"/>
                  </a:cubicBezTo>
                  <a:cubicBezTo>
                    <a:pt x="162630" y="310124"/>
                    <a:pt x="181145" y="331724"/>
                    <a:pt x="178059" y="344067"/>
                  </a:cubicBezTo>
                  <a:cubicBezTo>
                    <a:pt x="150288" y="353324"/>
                    <a:pt x="137945" y="381096"/>
                    <a:pt x="134859" y="411953"/>
                  </a:cubicBezTo>
                  <a:cubicBezTo>
                    <a:pt x="131773" y="430467"/>
                    <a:pt x="134859" y="442810"/>
                    <a:pt x="141031" y="455153"/>
                  </a:cubicBezTo>
                  <a:cubicBezTo>
                    <a:pt x="104002" y="467496"/>
                    <a:pt x="63888" y="489096"/>
                    <a:pt x="57716" y="532296"/>
                  </a:cubicBezTo>
                  <a:cubicBezTo>
                    <a:pt x="51545" y="563153"/>
                    <a:pt x="63888" y="587839"/>
                    <a:pt x="85488" y="603267"/>
                  </a:cubicBezTo>
                  <a:cubicBezTo>
                    <a:pt x="39202" y="649553"/>
                    <a:pt x="-22512" y="745210"/>
                    <a:pt x="42288" y="776067"/>
                  </a:cubicBezTo>
                  <a:cubicBezTo>
                    <a:pt x="8345" y="810010"/>
                    <a:pt x="-19427" y="862467"/>
                    <a:pt x="17602" y="902582"/>
                  </a:cubicBezTo>
                  <a:cubicBezTo>
                    <a:pt x="42288" y="927267"/>
                    <a:pt x="73145" y="924182"/>
                    <a:pt x="91659" y="905667"/>
                  </a:cubicBezTo>
                  <a:cubicBezTo>
                    <a:pt x="113259" y="948867"/>
                    <a:pt x="147202" y="988982"/>
                    <a:pt x="199659" y="976639"/>
                  </a:cubicBezTo>
                  <a:cubicBezTo>
                    <a:pt x="261373" y="961210"/>
                    <a:pt x="273716" y="899496"/>
                    <a:pt x="267545" y="843953"/>
                  </a:cubicBezTo>
                  <a:cubicBezTo>
                    <a:pt x="282973" y="837782"/>
                    <a:pt x="295316" y="825439"/>
                    <a:pt x="304573" y="810010"/>
                  </a:cubicBezTo>
                  <a:cubicBezTo>
                    <a:pt x="316916" y="806924"/>
                    <a:pt x="329259" y="800753"/>
                    <a:pt x="341602" y="794582"/>
                  </a:cubicBezTo>
                  <a:cubicBezTo>
                    <a:pt x="390973" y="880982"/>
                    <a:pt x="520573" y="831610"/>
                    <a:pt x="508230" y="729782"/>
                  </a:cubicBezTo>
                  <a:cubicBezTo>
                    <a:pt x="548345" y="726696"/>
                    <a:pt x="563773" y="726696"/>
                    <a:pt x="579202" y="674239"/>
                  </a:cubicBezTo>
                  <a:cubicBezTo>
                    <a:pt x="594630" y="615610"/>
                    <a:pt x="585373" y="553896"/>
                    <a:pt x="560687" y="498353"/>
                  </a:cubicBezTo>
                  <a:cubicBezTo>
                    <a:pt x="640916" y="439724"/>
                    <a:pt x="603888" y="347153"/>
                    <a:pt x="560687" y="266924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5" name="任意多边形: 形状 284">
              <a:extLst>
                <a:ext uri="{FF2B5EF4-FFF2-40B4-BE49-F238E27FC236}">
                  <a16:creationId xmlns:a16="http://schemas.microsoft.com/office/drawing/2014/main" id="{DE6695A0-107D-4C79-89EB-35575E1813EE}"/>
                </a:ext>
              </a:extLst>
            </p:cNvPr>
            <p:cNvSpPr/>
            <p:nvPr/>
          </p:nvSpPr>
          <p:spPr>
            <a:xfrm>
              <a:off x="7875364" y="3076411"/>
              <a:ext cx="751033" cy="868450"/>
            </a:xfrm>
            <a:custGeom>
              <a:avLst/>
              <a:gdLst>
                <a:gd name="connsiteX0" fmla="*/ 248062 w 751033"/>
                <a:gd name="connsiteY0" fmla="*/ 80457 h 868450"/>
                <a:gd name="connsiteX1" fmla="*/ 445548 w 751033"/>
                <a:gd name="connsiteY1" fmla="*/ 500114 h 868450"/>
                <a:gd name="connsiteX2" fmla="*/ 751034 w 751033"/>
                <a:gd name="connsiteY2" fmla="*/ 756228 h 868450"/>
                <a:gd name="connsiteX3" fmla="*/ 735605 w 751033"/>
                <a:gd name="connsiteY3" fmla="*/ 867314 h 868450"/>
                <a:gd name="connsiteX4" fmla="*/ 294348 w 751033"/>
                <a:gd name="connsiteY4" fmla="*/ 691428 h 868450"/>
                <a:gd name="connsiteX5" fmla="*/ 4291 w 751033"/>
                <a:gd name="connsiteY5" fmla="*/ 120571 h 868450"/>
                <a:gd name="connsiteX6" fmla="*/ 248062 w 751033"/>
                <a:gd name="connsiteY6" fmla="*/ 80457 h 868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1033" h="868450">
                  <a:moveTo>
                    <a:pt x="248062" y="80457"/>
                  </a:moveTo>
                  <a:cubicBezTo>
                    <a:pt x="282005" y="163771"/>
                    <a:pt x="386919" y="426057"/>
                    <a:pt x="445548" y="500114"/>
                  </a:cubicBezTo>
                  <a:cubicBezTo>
                    <a:pt x="528862" y="605028"/>
                    <a:pt x="751034" y="750057"/>
                    <a:pt x="751034" y="756228"/>
                  </a:cubicBezTo>
                  <a:cubicBezTo>
                    <a:pt x="747948" y="827200"/>
                    <a:pt x="747948" y="842628"/>
                    <a:pt x="735605" y="867314"/>
                  </a:cubicBezTo>
                  <a:cubicBezTo>
                    <a:pt x="732519" y="876571"/>
                    <a:pt x="467148" y="830285"/>
                    <a:pt x="294348" y="691428"/>
                  </a:cubicBezTo>
                  <a:cubicBezTo>
                    <a:pt x="241891" y="648228"/>
                    <a:pt x="66005" y="256342"/>
                    <a:pt x="4291" y="120571"/>
                  </a:cubicBezTo>
                  <a:cubicBezTo>
                    <a:pt x="-32738" y="40342"/>
                    <a:pt x="180176" y="-83086"/>
                    <a:pt x="248062" y="80457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86" name="图形 1">
              <a:extLst>
                <a:ext uri="{FF2B5EF4-FFF2-40B4-BE49-F238E27FC236}">
                  <a16:creationId xmlns:a16="http://schemas.microsoft.com/office/drawing/2014/main" id="{89240D87-D30F-4B24-8EC9-55DDD15DD02D}"/>
                </a:ext>
              </a:extLst>
            </p:cNvPr>
            <p:cNvGrpSpPr/>
            <p:nvPr/>
          </p:nvGrpSpPr>
          <p:grpSpPr>
            <a:xfrm>
              <a:off x="7800969" y="6421553"/>
              <a:ext cx="400059" cy="362831"/>
              <a:chOff x="7800969" y="6421553"/>
              <a:chExt cx="400059" cy="362831"/>
            </a:xfrm>
          </p:grpSpPr>
          <p:sp>
            <p:nvSpPr>
              <p:cNvPr id="287" name="任意多边形: 形状 286">
                <a:extLst>
                  <a:ext uri="{FF2B5EF4-FFF2-40B4-BE49-F238E27FC236}">
                    <a16:creationId xmlns:a16="http://schemas.microsoft.com/office/drawing/2014/main" id="{214D76FF-12BA-482D-9417-B7BE444D5C27}"/>
                  </a:ext>
                </a:extLst>
              </p:cNvPr>
              <p:cNvSpPr/>
              <p:nvPr/>
            </p:nvSpPr>
            <p:spPr>
              <a:xfrm>
                <a:off x="7800969" y="6544982"/>
                <a:ext cx="400059" cy="239403"/>
              </a:xfrm>
              <a:custGeom>
                <a:avLst/>
                <a:gdLst>
                  <a:gd name="connsiteX0" fmla="*/ 109543 w 400059"/>
                  <a:gd name="connsiteY0" fmla="*/ 0 h 239403"/>
                  <a:gd name="connsiteX1" fmla="*/ 270000 w 400059"/>
                  <a:gd name="connsiteY1" fmla="*/ 126514 h 239403"/>
                  <a:gd name="connsiteX2" fmla="*/ 72514 w 400059"/>
                  <a:gd name="connsiteY2" fmla="*/ 77143 h 239403"/>
                  <a:gd name="connsiteX3" fmla="*/ 1543 w 400059"/>
                  <a:gd name="connsiteY3" fmla="*/ 52457 h 239403"/>
                  <a:gd name="connsiteX4" fmla="*/ 7714 w 400059"/>
                  <a:gd name="connsiteY4" fmla="*/ 160457 h 239403"/>
                  <a:gd name="connsiteX5" fmla="*/ 242229 w 400059"/>
                  <a:gd name="connsiteY5" fmla="*/ 234514 h 239403"/>
                  <a:gd name="connsiteX6" fmla="*/ 381086 w 400059"/>
                  <a:gd name="connsiteY6" fmla="*/ 234514 h 239403"/>
                  <a:gd name="connsiteX7" fmla="*/ 387257 w 400059"/>
                  <a:gd name="connsiteY7" fmla="*/ 178972 h 239403"/>
                  <a:gd name="connsiteX8" fmla="*/ 109543 w 400059"/>
                  <a:gd name="connsiteY8" fmla="*/ 0 h 239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0059" h="239403">
                    <a:moveTo>
                      <a:pt x="109543" y="0"/>
                    </a:moveTo>
                    <a:cubicBezTo>
                      <a:pt x="109543" y="0"/>
                      <a:pt x="285428" y="114171"/>
                      <a:pt x="270000" y="126514"/>
                    </a:cubicBezTo>
                    <a:cubicBezTo>
                      <a:pt x="257657" y="141943"/>
                      <a:pt x="72514" y="77143"/>
                      <a:pt x="72514" y="77143"/>
                    </a:cubicBezTo>
                    <a:lnTo>
                      <a:pt x="1543" y="52457"/>
                    </a:lnTo>
                    <a:cubicBezTo>
                      <a:pt x="1543" y="52457"/>
                      <a:pt x="-4629" y="135771"/>
                      <a:pt x="7714" y="160457"/>
                    </a:cubicBezTo>
                    <a:cubicBezTo>
                      <a:pt x="81771" y="197486"/>
                      <a:pt x="168171" y="222171"/>
                      <a:pt x="242229" y="234514"/>
                    </a:cubicBezTo>
                    <a:cubicBezTo>
                      <a:pt x="288514" y="243771"/>
                      <a:pt x="371829" y="237600"/>
                      <a:pt x="381086" y="234514"/>
                    </a:cubicBezTo>
                    <a:cubicBezTo>
                      <a:pt x="390343" y="231429"/>
                      <a:pt x="415028" y="206743"/>
                      <a:pt x="387257" y="178972"/>
                    </a:cubicBezTo>
                    <a:cubicBezTo>
                      <a:pt x="325543" y="114171"/>
                      <a:pt x="109543" y="0"/>
                      <a:pt x="109543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8" name="任意多边形: 形状 287">
                <a:extLst>
                  <a:ext uri="{FF2B5EF4-FFF2-40B4-BE49-F238E27FC236}">
                    <a16:creationId xmlns:a16="http://schemas.microsoft.com/office/drawing/2014/main" id="{33E20EC5-8CCE-49C8-888F-8ECE3BAD9C43}"/>
                  </a:ext>
                </a:extLst>
              </p:cNvPr>
              <p:cNvSpPr/>
              <p:nvPr/>
            </p:nvSpPr>
            <p:spPr>
              <a:xfrm>
                <a:off x="7802512" y="6421553"/>
                <a:ext cx="269800" cy="257151"/>
              </a:xfrm>
              <a:custGeom>
                <a:avLst/>
                <a:gdLst>
                  <a:gd name="connsiteX0" fmla="*/ 123429 w 269800"/>
                  <a:gd name="connsiteY0" fmla="*/ 0 h 257151"/>
                  <a:gd name="connsiteX1" fmla="*/ 108000 w 269800"/>
                  <a:gd name="connsiteY1" fmla="*/ 126514 h 257151"/>
                  <a:gd name="connsiteX2" fmla="*/ 268457 w 269800"/>
                  <a:gd name="connsiteY2" fmla="*/ 253028 h 257151"/>
                  <a:gd name="connsiteX3" fmla="*/ 27771 w 269800"/>
                  <a:gd name="connsiteY3" fmla="*/ 209829 h 257151"/>
                  <a:gd name="connsiteX4" fmla="*/ 0 w 269800"/>
                  <a:gd name="connsiteY4" fmla="*/ 178972 h 257151"/>
                  <a:gd name="connsiteX5" fmla="*/ 0 w 269800"/>
                  <a:gd name="connsiteY5" fmla="*/ 43200 h 257151"/>
                  <a:gd name="connsiteX6" fmla="*/ 123429 w 269800"/>
                  <a:gd name="connsiteY6" fmla="*/ 0 h 25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800" h="257151">
                    <a:moveTo>
                      <a:pt x="123429" y="0"/>
                    </a:moveTo>
                    <a:lnTo>
                      <a:pt x="108000" y="126514"/>
                    </a:lnTo>
                    <a:cubicBezTo>
                      <a:pt x="108000" y="126514"/>
                      <a:pt x="286972" y="231429"/>
                      <a:pt x="268457" y="253028"/>
                    </a:cubicBezTo>
                    <a:cubicBezTo>
                      <a:pt x="256114" y="268457"/>
                      <a:pt x="98743" y="237600"/>
                      <a:pt x="27771" y="209829"/>
                    </a:cubicBezTo>
                    <a:cubicBezTo>
                      <a:pt x="3085" y="200571"/>
                      <a:pt x="0" y="178972"/>
                      <a:pt x="0" y="178972"/>
                    </a:cubicBezTo>
                    <a:lnTo>
                      <a:pt x="0" y="43200"/>
                    </a:lnTo>
                    <a:lnTo>
                      <a:pt x="123429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89" name="图形 1">
              <a:extLst>
                <a:ext uri="{FF2B5EF4-FFF2-40B4-BE49-F238E27FC236}">
                  <a16:creationId xmlns:a16="http://schemas.microsoft.com/office/drawing/2014/main" id="{89240D87-D30F-4B24-8EC9-55DDD15DD02D}"/>
                </a:ext>
              </a:extLst>
            </p:cNvPr>
            <p:cNvGrpSpPr/>
            <p:nvPr/>
          </p:nvGrpSpPr>
          <p:grpSpPr>
            <a:xfrm>
              <a:off x="7051140" y="6433896"/>
              <a:ext cx="400060" cy="350489"/>
              <a:chOff x="7051140" y="6433896"/>
              <a:chExt cx="400060" cy="350489"/>
            </a:xfrm>
          </p:grpSpPr>
          <p:sp>
            <p:nvSpPr>
              <p:cNvPr id="290" name="任意多边形: 形状 289">
                <a:extLst>
                  <a:ext uri="{FF2B5EF4-FFF2-40B4-BE49-F238E27FC236}">
                    <a16:creationId xmlns:a16="http://schemas.microsoft.com/office/drawing/2014/main" id="{614BCF9B-11FE-43AE-9C23-D55C2B1C0B40}"/>
                  </a:ext>
                </a:extLst>
              </p:cNvPr>
              <p:cNvSpPr/>
              <p:nvPr/>
            </p:nvSpPr>
            <p:spPr>
              <a:xfrm>
                <a:off x="7051140" y="6544982"/>
                <a:ext cx="400060" cy="239403"/>
              </a:xfrm>
              <a:custGeom>
                <a:avLst/>
                <a:gdLst>
                  <a:gd name="connsiteX0" fmla="*/ 124971 w 400060"/>
                  <a:gd name="connsiteY0" fmla="*/ 0 h 239403"/>
                  <a:gd name="connsiteX1" fmla="*/ 270000 w 400060"/>
                  <a:gd name="connsiteY1" fmla="*/ 126514 h 239403"/>
                  <a:gd name="connsiteX2" fmla="*/ 72514 w 400060"/>
                  <a:gd name="connsiteY2" fmla="*/ 77143 h 239403"/>
                  <a:gd name="connsiteX3" fmla="*/ 1543 w 400060"/>
                  <a:gd name="connsiteY3" fmla="*/ 52457 h 239403"/>
                  <a:gd name="connsiteX4" fmla="*/ 7714 w 400060"/>
                  <a:gd name="connsiteY4" fmla="*/ 160457 h 239403"/>
                  <a:gd name="connsiteX5" fmla="*/ 242229 w 400060"/>
                  <a:gd name="connsiteY5" fmla="*/ 234514 h 239403"/>
                  <a:gd name="connsiteX6" fmla="*/ 381086 w 400060"/>
                  <a:gd name="connsiteY6" fmla="*/ 234514 h 239403"/>
                  <a:gd name="connsiteX7" fmla="*/ 387257 w 400060"/>
                  <a:gd name="connsiteY7" fmla="*/ 178972 h 239403"/>
                  <a:gd name="connsiteX8" fmla="*/ 124971 w 400060"/>
                  <a:gd name="connsiteY8" fmla="*/ 0 h 239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0060" h="239403">
                    <a:moveTo>
                      <a:pt x="124971" y="0"/>
                    </a:moveTo>
                    <a:cubicBezTo>
                      <a:pt x="124971" y="0"/>
                      <a:pt x="285428" y="114171"/>
                      <a:pt x="270000" y="126514"/>
                    </a:cubicBezTo>
                    <a:cubicBezTo>
                      <a:pt x="257657" y="141943"/>
                      <a:pt x="72514" y="77143"/>
                      <a:pt x="72514" y="77143"/>
                    </a:cubicBezTo>
                    <a:lnTo>
                      <a:pt x="1543" y="52457"/>
                    </a:lnTo>
                    <a:cubicBezTo>
                      <a:pt x="1543" y="52457"/>
                      <a:pt x="-4629" y="135771"/>
                      <a:pt x="7714" y="160457"/>
                    </a:cubicBezTo>
                    <a:cubicBezTo>
                      <a:pt x="81772" y="197486"/>
                      <a:pt x="168171" y="222171"/>
                      <a:pt x="242229" y="234514"/>
                    </a:cubicBezTo>
                    <a:cubicBezTo>
                      <a:pt x="288514" y="243771"/>
                      <a:pt x="371829" y="237600"/>
                      <a:pt x="381086" y="234514"/>
                    </a:cubicBezTo>
                    <a:cubicBezTo>
                      <a:pt x="390343" y="231429"/>
                      <a:pt x="415028" y="206743"/>
                      <a:pt x="387257" y="178972"/>
                    </a:cubicBezTo>
                    <a:cubicBezTo>
                      <a:pt x="325543" y="114171"/>
                      <a:pt x="124971" y="0"/>
                      <a:pt x="124971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1" name="任意多边形: 形状 290">
                <a:extLst>
                  <a:ext uri="{FF2B5EF4-FFF2-40B4-BE49-F238E27FC236}">
                    <a16:creationId xmlns:a16="http://schemas.microsoft.com/office/drawing/2014/main" id="{B1C89B75-C25F-48ED-9536-A83291A6462D}"/>
                  </a:ext>
                </a:extLst>
              </p:cNvPr>
              <p:cNvSpPr/>
              <p:nvPr/>
            </p:nvSpPr>
            <p:spPr>
              <a:xfrm>
                <a:off x="7052683" y="6433896"/>
                <a:ext cx="269918" cy="241723"/>
              </a:xfrm>
              <a:custGeom>
                <a:avLst/>
                <a:gdLst>
                  <a:gd name="connsiteX0" fmla="*/ 166628 w 269918"/>
                  <a:gd name="connsiteY0" fmla="*/ 0 h 241723"/>
                  <a:gd name="connsiteX1" fmla="*/ 123429 w 269918"/>
                  <a:gd name="connsiteY1" fmla="*/ 111086 h 241723"/>
                  <a:gd name="connsiteX2" fmla="*/ 268457 w 269918"/>
                  <a:gd name="connsiteY2" fmla="*/ 237600 h 241723"/>
                  <a:gd name="connsiteX3" fmla="*/ 27771 w 269918"/>
                  <a:gd name="connsiteY3" fmla="*/ 194400 h 241723"/>
                  <a:gd name="connsiteX4" fmla="*/ 0 w 269918"/>
                  <a:gd name="connsiteY4" fmla="*/ 163543 h 241723"/>
                  <a:gd name="connsiteX5" fmla="*/ 40114 w 269918"/>
                  <a:gd name="connsiteY5" fmla="*/ 40114 h 241723"/>
                  <a:gd name="connsiteX6" fmla="*/ 166628 w 269918"/>
                  <a:gd name="connsiteY6" fmla="*/ 0 h 241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918" h="241723">
                    <a:moveTo>
                      <a:pt x="166628" y="0"/>
                    </a:moveTo>
                    <a:lnTo>
                      <a:pt x="123429" y="111086"/>
                    </a:lnTo>
                    <a:cubicBezTo>
                      <a:pt x="123429" y="111086"/>
                      <a:pt x="286972" y="216000"/>
                      <a:pt x="268457" y="237600"/>
                    </a:cubicBezTo>
                    <a:cubicBezTo>
                      <a:pt x="256114" y="253029"/>
                      <a:pt x="98743" y="222172"/>
                      <a:pt x="27771" y="194400"/>
                    </a:cubicBezTo>
                    <a:cubicBezTo>
                      <a:pt x="3086" y="185143"/>
                      <a:pt x="0" y="163543"/>
                      <a:pt x="0" y="163543"/>
                    </a:cubicBezTo>
                    <a:lnTo>
                      <a:pt x="40114" y="40114"/>
                    </a:lnTo>
                    <a:lnTo>
                      <a:pt x="166628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92" name="任意多边形: 形状 291">
              <a:extLst>
                <a:ext uri="{FF2B5EF4-FFF2-40B4-BE49-F238E27FC236}">
                  <a16:creationId xmlns:a16="http://schemas.microsoft.com/office/drawing/2014/main" id="{B0410F95-1D98-4B5D-BC9C-9529D466056E}"/>
                </a:ext>
              </a:extLst>
            </p:cNvPr>
            <p:cNvSpPr/>
            <p:nvPr/>
          </p:nvSpPr>
          <p:spPr>
            <a:xfrm>
              <a:off x="7055769" y="3949896"/>
              <a:ext cx="1081207" cy="2551885"/>
            </a:xfrm>
            <a:custGeom>
              <a:avLst/>
              <a:gdLst>
                <a:gd name="connsiteX0" fmla="*/ 283886 w 1081207"/>
                <a:gd name="connsiteY0" fmla="*/ 0 h 2551885"/>
                <a:gd name="connsiteX1" fmla="*/ 959657 w 1081207"/>
                <a:gd name="connsiteY1" fmla="*/ 0 h 2551885"/>
                <a:gd name="connsiteX2" fmla="*/ 1080000 w 1081207"/>
                <a:gd name="connsiteY2" fmla="*/ 465943 h 2551885"/>
                <a:gd name="connsiteX3" fmla="*/ 897943 w 1081207"/>
                <a:gd name="connsiteY3" fmla="*/ 2514857 h 2551885"/>
                <a:gd name="connsiteX4" fmla="*/ 722057 w 1081207"/>
                <a:gd name="connsiteY4" fmla="*/ 2551886 h 2551885"/>
                <a:gd name="connsiteX5" fmla="*/ 614057 w 1081207"/>
                <a:gd name="connsiteY5" fmla="*/ 823886 h 2551885"/>
                <a:gd name="connsiteX6" fmla="*/ 543085 w 1081207"/>
                <a:gd name="connsiteY6" fmla="*/ 1644686 h 2551885"/>
                <a:gd name="connsiteX7" fmla="*/ 530743 w 1081207"/>
                <a:gd name="connsiteY7" fmla="*/ 1697143 h 2551885"/>
                <a:gd name="connsiteX8" fmla="*/ 197486 w 1081207"/>
                <a:gd name="connsiteY8" fmla="*/ 2542629 h 2551885"/>
                <a:gd name="connsiteX9" fmla="*/ 0 w 1081207"/>
                <a:gd name="connsiteY9" fmla="*/ 2542629 h 2551885"/>
                <a:gd name="connsiteX10" fmla="*/ 185143 w 1081207"/>
                <a:gd name="connsiteY10" fmla="*/ 1678629 h 2551885"/>
                <a:gd name="connsiteX11" fmla="*/ 148114 w 1081207"/>
                <a:gd name="connsiteY11" fmla="*/ 422743 h 2551885"/>
                <a:gd name="connsiteX12" fmla="*/ 283886 w 1081207"/>
                <a:gd name="connsiteY12" fmla="*/ 0 h 2551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81207" h="2551885">
                  <a:moveTo>
                    <a:pt x="283886" y="0"/>
                  </a:moveTo>
                  <a:lnTo>
                    <a:pt x="959657" y="0"/>
                  </a:lnTo>
                  <a:cubicBezTo>
                    <a:pt x="959657" y="0"/>
                    <a:pt x="1058400" y="308571"/>
                    <a:pt x="1080000" y="465943"/>
                  </a:cubicBezTo>
                  <a:cubicBezTo>
                    <a:pt x="1098514" y="620229"/>
                    <a:pt x="897943" y="2514857"/>
                    <a:pt x="897943" y="2514857"/>
                  </a:cubicBezTo>
                  <a:lnTo>
                    <a:pt x="722057" y="2551886"/>
                  </a:lnTo>
                  <a:lnTo>
                    <a:pt x="614057" y="823886"/>
                  </a:lnTo>
                  <a:lnTo>
                    <a:pt x="543085" y="1644686"/>
                  </a:lnTo>
                  <a:cubicBezTo>
                    <a:pt x="540000" y="1663200"/>
                    <a:pt x="536914" y="1681714"/>
                    <a:pt x="530743" y="1697143"/>
                  </a:cubicBezTo>
                  <a:lnTo>
                    <a:pt x="197486" y="2542629"/>
                  </a:lnTo>
                  <a:lnTo>
                    <a:pt x="0" y="2542629"/>
                  </a:lnTo>
                  <a:lnTo>
                    <a:pt x="185143" y="1678629"/>
                  </a:lnTo>
                  <a:cubicBezTo>
                    <a:pt x="185143" y="1678629"/>
                    <a:pt x="154286" y="487543"/>
                    <a:pt x="148114" y="422743"/>
                  </a:cubicBezTo>
                  <a:cubicBezTo>
                    <a:pt x="138857" y="299314"/>
                    <a:pt x="283886" y="0"/>
                    <a:pt x="283886" y="0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3" name="任意多边形: 形状 292">
              <a:extLst>
                <a:ext uri="{FF2B5EF4-FFF2-40B4-BE49-F238E27FC236}">
                  <a16:creationId xmlns:a16="http://schemas.microsoft.com/office/drawing/2014/main" id="{53CC343C-CEDF-4558-A826-743C5648101D}"/>
                </a:ext>
              </a:extLst>
            </p:cNvPr>
            <p:cNvSpPr/>
            <p:nvPr/>
          </p:nvSpPr>
          <p:spPr>
            <a:xfrm>
              <a:off x="7247083" y="4341782"/>
              <a:ext cx="472114" cy="2156914"/>
            </a:xfrm>
            <a:custGeom>
              <a:avLst/>
              <a:gdLst>
                <a:gd name="connsiteX0" fmla="*/ 6171 w 472114"/>
                <a:gd name="connsiteY0" fmla="*/ 2156914 h 2156914"/>
                <a:gd name="connsiteX1" fmla="*/ 6171 w 472114"/>
                <a:gd name="connsiteY1" fmla="*/ 2156914 h 2156914"/>
                <a:gd name="connsiteX2" fmla="*/ 0 w 472114"/>
                <a:gd name="connsiteY2" fmla="*/ 2147657 h 2156914"/>
                <a:gd name="connsiteX3" fmla="*/ 333257 w 472114"/>
                <a:gd name="connsiteY3" fmla="*/ 1302172 h 2156914"/>
                <a:gd name="connsiteX4" fmla="*/ 345600 w 472114"/>
                <a:gd name="connsiteY4" fmla="*/ 1249714 h 2156914"/>
                <a:gd name="connsiteX5" fmla="*/ 416571 w 472114"/>
                <a:gd name="connsiteY5" fmla="*/ 428914 h 2156914"/>
                <a:gd name="connsiteX6" fmla="*/ 459771 w 472114"/>
                <a:gd name="connsiteY6" fmla="*/ 6172 h 2156914"/>
                <a:gd name="connsiteX7" fmla="*/ 465943 w 472114"/>
                <a:gd name="connsiteY7" fmla="*/ 0 h 2156914"/>
                <a:gd name="connsiteX8" fmla="*/ 472114 w 472114"/>
                <a:gd name="connsiteY8" fmla="*/ 6172 h 2156914"/>
                <a:gd name="connsiteX9" fmla="*/ 428914 w 472114"/>
                <a:gd name="connsiteY9" fmla="*/ 428914 h 2156914"/>
                <a:gd name="connsiteX10" fmla="*/ 357943 w 472114"/>
                <a:gd name="connsiteY10" fmla="*/ 1249714 h 2156914"/>
                <a:gd name="connsiteX11" fmla="*/ 345600 w 472114"/>
                <a:gd name="connsiteY11" fmla="*/ 1305257 h 2156914"/>
                <a:gd name="connsiteX12" fmla="*/ 12343 w 472114"/>
                <a:gd name="connsiteY12" fmla="*/ 2150743 h 2156914"/>
                <a:gd name="connsiteX13" fmla="*/ 6171 w 472114"/>
                <a:gd name="connsiteY13" fmla="*/ 2156914 h 2156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2114" h="2156914">
                  <a:moveTo>
                    <a:pt x="6171" y="2156914"/>
                  </a:moveTo>
                  <a:cubicBezTo>
                    <a:pt x="6171" y="2156914"/>
                    <a:pt x="3085" y="2156914"/>
                    <a:pt x="6171" y="2156914"/>
                  </a:cubicBezTo>
                  <a:cubicBezTo>
                    <a:pt x="0" y="2153829"/>
                    <a:pt x="0" y="2150743"/>
                    <a:pt x="0" y="2147657"/>
                  </a:cubicBezTo>
                  <a:lnTo>
                    <a:pt x="333257" y="1302172"/>
                  </a:lnTo>
                  <a:cubicBezTo>
                    <a:pt x="339429" y="1286743"/>
                    <a:pt x="342514" y="1268229"/>
                    <a:pt x="345600" y="1249714"/>
                  </a:cubicBezTo>
                  <a:lnTo>
                    <a:pt x="416571" y="428914"/>
                  </a:lnTo>
                  <a:lnTo>
                    <a:pt x="459771" y="6172"/>
                  </a:lnTo>
                  <a:cubicBezTo>
                    <a:pt x="459771" y="3086"/>
                    <a:pt x="462857" y="0"/>
                    <a:pt x="465943" y="0"/>
                  </a:cubicBezTo>
                  <a:cubicBezTo>
                    <a:pt x="469028" y="0"/>
                    <a:pt x="472114" y="3086"/>
                    <a:pt x="472114" y="6172"/>
                  </a:cubicBezTo>
                  <a:lnTo>
                    <a:pt x="428914" y="428914"/>
                  </a:lnTo>
                  <a:lnTo>
                    <a:pt x="357943" y="1249714"/>
                  </a:lnTo>
                  <a:cubicBezTo>
                    <a:pt x="354857" y="1268229"/>
                    <a:pt x="351771" y="1286743"/>
                    <a:pt x="345600" y="1305257"/>
                  </a:cubicBezTo>
                  <a:lnTo>
                    <a:pt x="12343" y="2150743"/>
                  </a:lnTo>
                  <a:cubicBezTo>
                    <a:pt x="9257" y="2156914"/>
                    <a:pt x="9257" y="2156914"/>
                    <a:pt x="6171" y="2156914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4" name="任意多边形: 形状 293">
              <a:extLst>
                <a:ext uri="{FF2B5EF4-FFF2-40B4-BE49-F238E27FC236}">
                  <a16:creationId xmlns:a16="http://schemas.microsoft.com/office/drawing/2014/main" id="{C3C57C33-70F2-47C2-B955-273414526EC2}"/>
                </a:ext>
              </a:extLst>
            </p:cNvPr>
            <p:cNvSpPr/>
            <p:nvPr/>
          </p:nvSpPr>
          <p:spPr>
            <a:xfrm>
              <a:off x="7206969" y="4107267"/>
              <a:ext cx="182056" cy="191314"/>
            </a:xfrm>
            <a:custGeom>
              <a:avLst/>
              <a:gdLst>
                <a:gd name="connsiteX0" fmla="*/ 6171 w 182056"/>
                <a:gd name="connsiteY0" fmla="*/ 191314 h 191314"/>
                <a:gd name="connsiteX1" fmla="*/ 0 w 182056"/>
                <a:gd name="connsiteY1" fmla="*/ 188229 h 191314"/>
                <a:gd name="connsiteX2" fmla="*/ 3086 w 182056"/>
                <a:gd name="connsiteY2" fmla="*/ 182057 h 191314"/>
                <a:gd name="connsiteX3" fmla="*/ 172800 w 182056"/>
                <a:gd name="connsiteY3" fmla="*/ 3086 h 191314"/>
                <a:gd name="connsiteX4" fmla="*/ 178972 w 182056"/>
                <a:gd name="connsiteY4" fmla="*/ 0 h 191314"/>
                <a:gd name="connsiteX5" fmla="*/ 182057 w 182056"/>
                <a:gd name="connsiteY5" fmla="*/ 6171 h 191314"/>
                <a:gd name="connsiteX6" fmla="*/ 6171 w 182056"/>
                <a:gd name="connsiteY6" fmla="*/ 191314 h 191314"/>
                <a:gd name="connsiteX7" fmla="*/ 6171 w 182056"/>
                <a:gd name="connsiteY7" fmla="*/ 191314 h 191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056" h="191314">
                  <a:moveTo>
                    <a:pt x="6171" y="191314"/>
                  </a:moveTo>
                  <a:cubicBezTo>
                    <a:pt x="3086" y="191314"/>
                    <a:pt x="0" y="188229"/>
                    <a:pt x="0" y="188229"/>
                  </a:cubicBezTo>
                  <a:cubicBezTo>
                    <a:pt x="0" y="185143"/>
                    <a:pt x="0" y="182057"/>
                    <a:pt x="3086" y="182057"/>
                  </a:cubicBezTo>
                  <a:cubicBezTo>
                    <a:pt x="117257" y="151200"/>
                    <a:pt x="169714" y="6171"/>
                    <a:pt x="172800" y="3086"/>
                  </a:cubicBezTo>
                  <a:cubicBezTo>
                    <a:pt x="172800" y="0"/>
                    <a:pt x="175886" y="0"/>
                    <a:pt x="178972" y="0"/>
                  </a:cubicBezTo>
                  <a:cubicBezTo>
                    <a:pt x="182057" y="0"/>
                    <a:pt x="182057" y="3086"/>
                    <a:pt x="182057" y="6171"/>
                  </a:cubicBezTo>
                  <a:cubicBezTo>
                    <a:pt x="182057" y="12343"/>
                    <a:pt x="126514" y="157371"/>
                    <a:pt x="6171" y="191314"/>
                  </a:cubicBezTo>
                  <a:cubicBezTo>
                    <a:pt x="6171" y="191314"/>
                    <a:pt x="6171" y="191314"/>
                    <a:pt x="6171" y="191314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5" name="任意多边形: 形状 294">
              <a:extLst>
                <a:ext uri="{FF2B5EF4-FFF2-40B4-BE49-F238E27FC236}">
                  <a16:creationId xmlns:a16="http://schemas.microsoft.com/office/drawing/2014/main" id="{EF87EF97-4EB2-429B-97AD-41FA5E7648C2}"/>
                </a:ext>
              </a:extLst>
            </p:cNvPr>
            <p:cNvSpPr/>
            <p:nvPr/>
          </p:nvSpPr>
          <p:spPr>
            <a:xfrm>
              <a:off x="7944454" y="4104182"/>
              <a:ext cx="175886" cy="197485"/>
            </a:xfrm>
            <a:custGeom>
              <a:avLst/>
              <a:gdLst>
                <a:gd name="connsiteX0" fmla="*/ 169714 w 175886"/>
                <a:gd name="connsiteY0" fmla="*/ 197486 h 197485"/>
                <a:gd name="connsiteX1" fmla="*/ 169714 w 175886"/>
                <a:gd name="connsiteY1" fmla="*/ 197486 h 197485"/>
                <a:gd name="connsiteX2" fmla="*/ 0 w 175886"/>
                <a:gd name="connsiteY2" fmla="*/ 9257 h 197485"/>
                <a:gd name="connsiteX3" fmla="*/ 3086 w 175886"/>
                <a:gd name="connsiteY3" fmla="*/ 0 h 197485"/>
                <a:gd name="connsiteX4" fmla="*/ 12343 w 175886"/>
                <a:gd name="connsiteY4" fmla="*/ 3086 h 197485"/>
                <a:gd name="connsiteX5" fmla="*/ 172800 w 175886"/>
                <a:gd name="connsiteY5" fmla="*/ 185143 h 197485"/>
                <a:gd name="connsiteX6" fmla="*/ 175886 w 175886"/>
                <a:gd name="connsiteY6" fmla="*/ 191314 h 197485"/>
                <a:gd name="connsiteX7" fmla="*/ 169714 w 175886"/>
                <a:gd name="connsiteY7" fmla="*/ 197486 h 19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886" h="197485">
                  <a:moveTo>
                    <a:pt x="169714" y="197486"/>
                  </a:moveTo>
                  <a:cubicBezTo>
                    <a:pt x="169714" y="197486"/>
                    <a:pt x="166629" y="197486"/>
                    <a:pt x="169714" y="197486"/>
                  </a:cubicBezTo>
                  <a:cubicBezTo>
                    <a:pt x="86400" y="163543"/>
                    <a:pt x="3086" y="15429"/>
                    <a:pt x="0" y="9257"/>
                  </a:cubicBezTo>
                  <a:cubicBezTo>
                    <a:pt x="0" y="6171"/>
                    <a:pt x="0" y="3086"/>
                    <a:pt x="3086" y="0"/>
                  </a:cubicBezTo>
                  <a:cubicBezTo>
                    <a:pt x="6172" y="0"/>
                    <a:pt x="9257" y="0"/>
                    <a:pt x="12343" y="3086"/>
                  </a:cubicBezTo>
                  <a:cubicBezTo>
                    <a:pt x="12343" y="3086"/>
                    <a:pt x="95657" y="154286"/>
                    <a:pt x="172800" y="185143"/>
                  </a:cubicBezTo>
                  <a:cubicBezTo>
                    <a:pt x="175886" y="185143"/>
                    <a:pt x="175886" y="188229"/>
                    <a:pt x="175886" y="191314"/>
                  </a:cubicBezTo>
                  <a:cubicBezTo>
                    <a:pt x="172800" y="197486"/>
                    <a:pt x="172800" y="197486"/>
                    <a:pt x="169714" y="197486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6" name="任意多边形: 形状 295">
              <a:extLst>
                <a:ext uri="{FF2B5EF4-FFF2-40B4-BE49-F238E27FC236}">
                  <a16:creationId xmlns:a16="http://schemas.microsoft.com/office/drawing/2014/main" id="{2A1C4F15-1B9A-4EA6-95EE-F07C842F717C}"/>
                </a:ext>
              </a:extLst>
            </p:cNvPr>
            <p:cNvSpPr/>
            <p:nvPr/>
          </p:nvSpPr>
          <p:spPr>
            <a:xfrm>
              <a:off x="7818367" y="2968642"/>
              <a:ext cx="406887" cy="425825"/>
            </a:xfrm>
            <a:custGeom>
              <a:avLst/>
              <a:gdLst>
                <a:gd name="connsiteX0" fmla="*/ 52030 w 406887"/>
                <a:gd name="connsiteY0" fmla="*/ 425825 h 425825"/>
                <a:gd name="connsiteX1" fmla="*/ 58201 w 406887"/>
                <a:gd name="connsiteY1" fmla="*/ 15425 h 425825"/>
                <a:gd name="connsiteX2" fmla="*/ 406887 w 406887"/>
                <a:gd name="connsiteY2" fmla="*/ 296225 h 425825"/>
                <a:gd name="connsiteX3" fmla="*/ 52030 w 406887"/>
                <a:gd name="connsiteY3" fmla="*/ 425825 h 42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887" h="425825">
                  <a:moveTo>
                    <a:pt x="52030" y="425825"/>
                  </a:moveTo>
                  <a:cubicBezTo>
                    <a:pt x="-31284" y="259196"/>
                    <a:pt x="-3513" y="64796"/>
                    <a:pt x="58201" y="15425"/>
                  </a:cubicBezTo>
                  <a:cubicBezTo>
                    <a:pt x="141516" y="-49375"/>
                    <a:pt x="335916" y="98739"/>
                    <a:pt x="406887" y="296225"/>
                  </a:cubicBezTo>
                  <a:cubicBezTo>
                    <a:pt x="360601" y="357939"/>
                    <a:pt x="153859" y="413482"/>
                    <a:pt x="52030" y="425825"/>
                  </a:cubicBezTo>
                  <a:close/>
                </a:path>
              </a:pathLst>
            </a:custGeom>
            <a:solidFill>
              <a:srgbClr val="7F95BC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7" name="任意多边形: 形状 296">
              <a:extLst>
                <a:ext uri="{FF2B5EF4-FFF2-40B4-BE49-F238E27FC236}">
                  <a16:creationId xmlns:a16="http://schemas.microsoft.com/office/drawing/2014/main" id="{54A510FE-B620-4D3F-B43A-9925BC5EF2AB}"/>
                </a:ext>
              </a:extLst>
            </p:cNvPr>
            <p:cNvSpPr/>
            <p:nvPr/>
          </p:nvSpPr>
          <p:spPr>
            <a:xfrm>
              <a:off x="7254756" y="2914749"/>
              <a:ext cx="830520" cy="998209"/>
            </a:xfrm>
            <a:custGeom>
              <a:avLst/>
              <a:gdLst>
                <a:gd name="connsiteX0" fmla="*/ 44784 w 830520"/>
                <a:gd name="connsiteY0" fmla="*/ 396404 h 998209"/>
                <a:gd name="connsiteX1" fmla="*/ 60213 w 830520"/>
                <a:gd name="connsiteY1" fmla="*/ 69319 h 998209"/>
                <a:gd name="connsiteX2" fmla="*/ 433585 w 830520"/>
                <a:gd name="connsiteY2" fmla="*/ 4519 h 998209"/>
                <a:gd name="connsiteX3" fmla="*/ 739070 w 830520"/>
                <a:gd name="connsiteY3" fmla="*/ 106347 h 998209"/>
                <a:gd name="connsiteX4" fmla="*/ 779185 w 830520"/>
                <a:gd name="connsiteY4" fmla="*/ 661776 h 998209"/>
                <a:gd name="connsiteX5" fmla="*/ 735984 w 830520"/>
                <a:gd name="connsiteY5" fmla="*/ 991947 h 998209"/>
                <a:gd name="connsiteX6" fmla="*/ 50956 w 830520"/>
                <a:gd name="connsiteY6" fmla="*/ 976519 h 998209"/>
                <a:gd name="connsiteX7" fmla="*/ 44784 w 830520"/>
                <a:gd name="connsiteY7" fmla="*/ 396404 h 998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0520" h="998209">
                  <a:moveTo>
                    <a:pt x="44784" y="396404"/>
                  </a:moveTo>
                  <a:cubicBezTo>
                    <a:pt x="35527" y="365547"/>
                    <a:pt x="-60130" y="134119"/>
                    <a:pt x="60213" y="69319"/>
                  </a:cubicBezTo>
                  <a:cubicBezTo>
                    <a:pt x="165127" y="13776"/>
                    <a:pt x="313242" y="-10910"/>
                    <a:pt x="433585" y="4519"/>
                  </a:cubicBezTo>
                  <a:cubicBezTo>
                    <a:pt x="566270" y="19947"/>
                    <a:pt x="698956" y="41547"/>
                    <a:pt x="739070" y="106347"/>
                  </a:cubicBezTo>
                  <a:cubicBezTo>
                    <a:pt x="853242" y="294576"/>
                    <a:pt x="853242" y="461204"/>
                    <a:pt x="779185" y="661776"/>
                  </a:cubicBezTo>
                  <a:cubicBezTo>
                    <a:pt x="757585" y="720404"/>
                    <a:pt x="751413" y="856176"/>
                    <a:pt x="735984" y="991947"/>
                  </a:cubicBezTo>
                  <a:cubicBezTo>
                    <a:pt x="735984" y="991947"/>
                    <a:pt x="449013" y="1013547"/>
                    <a:pt x="50956" y="976519"/>
                  </a:cubicBezTo>
                  <a:cubicBezTo>
                    <a:pt x="81813" y="754347"/>
                    <a:pt x="50956" y="421090"/>
                    <a:pt x="44784" y="396404"/>
                  </a:cubicBezTo>
                  <a:close/>
                </a:path>
              </a:pathLst>
            </a:custGeom>
            <a:solidFill>
              <a:srgbClr val="7F95BC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8" name="任意多边形: 形状 297">
              <a:extLst>
                <a:ext uri="{FF2B5EF4-FFF2-40B4-BE49-F238E27FC236}">
                  <a16:creationId xmlns:a16="http://schemas.microsoft.com/office/drawing/2014/main" id="{D7F9E3D3-CD57-4380-8CE9-49070A182AF0}"/>
                </a:ext>
              </a:extLst>
            </p:cNvPr>
            <p:cNvSpPr/>
            <p:nvPr/>
          </p:nvSpPr>
          <p:spPr>
            <a:xfrm>
              <a:off x="7484683" y="2737112"/>
              <a:ext cx="314742" cy="330269"/>
            </a:xfrm>
            <a:custGeom>
              <a:avLst/>
              <a:gdLst>
                <a:gd name="connsiteX0" fmla="*/ 259200 w 314742"/>
                <a:gd name="connsiteY0" fmla="*/ 61812 h 330269"/>
                <a:gd name="connsiteX1" fmla="*/ 314743 w 314742"/>
                <a:gd name="connsiteY1" fmla="*/ 203755 h 330269"/>
                <a:gd name="connsiteX2" fmla="*/ 197486 w 314742"/>
                <a:gd name="connsiteY2" fmla="*/ 330269 h 330269"/>
                <a:gd name="connsiteX3" fmla="*/ 0 w 314742"/>
                <a:gd name="connsiteY3" fmla="*/ 188326 h 330269"/>
                <a:gd name="connsiteX4" fmla="*/ 52457 w 314742"/>
                <a:gd name="connsiteY4" fmla="*/ 98 h 330269"/>
                <a:gd name="connsiteX5" fmla="*/ 259200 w 314742"/>
                <a:gd name="connsiteY5" fmla="*/ 61812 h 33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4742" h="330269">
                  <a:moveTo>
                    <a:pt x="259200" y="61812"/>
                  </a:moveTo>
                  <a:cubicBezTo>
                    <a:pt x="259200" y="61812"/>
                    <a:pt x="253028" y="172898"/>
                    <a:pt x="314743" y="203755"/>
                  </a:cubicBezTo>
                  <a:lnTo>
                    <a:pt x="197486" y="330269"/>
                  </a:lnTo>
                  <a:cubicBezTo>
                    <a:pt x="197486" y="330269"/>
                    <a:pt x="55543" y="219184"/>
                    <a:pt x="0" y="188326"/>
                  </a:cubicBezTo>
                  <a:cubicBezTo>
                    <a:pt x="55543" y="145126"/>
                    <a:pt x="52457" y="61812"/>
                    <a:pt x="52457" y="98"/>
                  </a:cubicBezTo>
                  <a:cubicBezTo>
                    <a:pt x="55543" y="-2988"/>
                    <a:pt x="206743" y="67984"/>
                    <a:pt x="259200" y="61812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9" name="任意多边形: 形状 298">
              <a:extLst>
                <a:ext uri="{FF2B5EF4-FFF2-40B4-BE49-F238E27FC236}">
                  <a16:creationId xmlns:a16="http://schemas.microsoft.com/office/drawing/2014/main" id="{F5A8095B-792E-4BF1-A77E-4644D84E31F4}"/>
                </a:ext>
              </a:extLst>
            </p:cNvPr>
            <p:cNvSpPr/>
            <p:nvPr/>
          </p:nvSpPr>
          <p:spPr>
            <a:xfrm>
              <a:off x="7983290" y="3013646"/>
              <a:ext cx="104713" cy="565963"/>
            </a:xfrm>
            <a:custGeom>
              <a:avLst/>
              <a:gdLst>
                <a:gd name="connsiteX0" fmla="*/ 47564 w 104713"/>
                <a:gd name="connsiteY0" fmla="*/ 565964 h 565963"/>
                <a:gd name="connsiteX1" fmla="*/ 47564 w 104713"/>
                <a:gd name="connsiteY1" fmla="*/ 565964 h 565963"/>
                <a:gd name="connsiteX2" fmla="*/ 41392 w 104713"/>
                <a:gd name="connsiteY2" fmla="*/ 559793 h 565963"/>
                <a:gd name="connsiteX3" fmla="*/ 56821 w 104713"/>
                <a:gd name="connsiteY3" fmla="*/ 504250 h 565963"/>
                <a:gd name="connsiteX4" fmla="*/ 90764 w 104713"/>
                <a:gd name="connsiteY4" fmla="*/ 353050 h 565963"/>
                <a:gd name="connsiteX5" fmla="*/ 1278 w 104713"/>
                <a:gd name="connsiteY5" fmla="*/ 10535 h 565963"/>
                <a:gd name="connsiteX6" fmla="*/ 4364 w 104713"/>
                <a:gd name="connsiteY6" fmla="*/ 1278 h 565963"/>
                <a:gd name="connsiteX7" fmla="*/ 13621 w 104713"/>
                <a:gd name="connsiteY7" fmla="*/ 4364 h 565963"/>
                <a:gd name="connsiteX8" fmla="*/ 103107 w 104713"/>
                <a:gd name="connsiteY8" fmla="*/ 353050 h 565963"/>
                <a:gd name="connsiteX9" fmla="*/ 69164 w 104713"/>
                <a:gd name="connsiteY9" fmla="*/ 504250 h 565963"/>
                <a:gd name="connsiteX10" fmla="*/ 53735 w 104713"/>
                <a:gd name="connsiteY10" fmla="*/ 559793 h 565963"/>
                <a:gd name="connsiteX11" fmla="*/ 47564 w 104713"/>
                <a:gd name="connsiteY11" fmla="*/ 565964 h 565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713" h="565963">
                  <a:moveTo>
                    <a:pt x="47564" y="565964"/>
                  </a:moveTo>
                  <a:cubicBezTo>
                    <a:pt x="47564" y="565964"/>
                    <a:pt x="44478" y="565964"/>
                    <a:pt x="47564" y="565964"/>
                  </a:cubicBezTo>
                  <a:cubicBezTo>
                    <a:pt x="44478" y="565964"/>
                    <a:pt x="41392" y="562878"/>
                    <a:pt x="41392" y="559793"/>
                  </a:cubicBezTo>
                  <a:cubicBezTo>
                    <a:pt x="47564" y="541278"/>
                    <a:pt x="50650" y="522764"/>
                    <a:pt x="56821" y="504250"/>
                  </a:cubicBezTo>
                  <a:cubicBezTo>
                    <a:pt x="72250" y="451792"/>
                    <a:pt x="87678" y="399335"/>
                    <a:pt x="90764" y="353050"/>
                  </a:cubicBezTo>
                  <a:cubicBezTo>
                    <a:pt x="96935" y="229621"/>
                    <a:pt x="69164" y="115450"/>
                    <a:pt x="1278" y="10535"/>
                  </a:cubicBezTo>
                  <a:cubicBezTo>
                    <a:pt x="-1807" y="7450"/>
                    <a:pt x="1278" y="4364"/>
                    <a:pt x="4364" y="1278"/>
                  </a:cubicBezTo>
                  <a:cubicBezTo>
                    <a:pt x="7449" y="-1808"/>
                    <a:pt x="10535" y="1278"/>
                    <a:pt x="13621" y="4364"/>
                  </a:cubicBezTo>
                  <a:cubicBezTo>
                    <a:pt x="81507" y="112364"/>
                    <a:pt x="112364" y="229621"/>
                    <a:pt x="103107" y="353050"/>
                  </a:cubicBezTo>
                  <a:cubicBezTo>
                    <a:pt x="100021" y="399335"/>
                    <a:pt x="84592" y="454878"/>
                    <a:pt x="69164" y="504250"/>
                  </a:cubicBezTo>
                  <a:cubicBezTo>
                    <a:pt x="62992" y="522764"/>
                    <a:pt x="56821" y="541278"/>
                    <a:pt x="53735" y="559793"/>
                  </a:cubicBezTo>
                  <a:cubicBezTo>
                    <a:pt x="50650" y="565964"/>
                    <a:pt x="47564" y="565964"/>
                    <a:pt x="47564" y="565964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0" name="任意多边形: 形状 299">
              <a:extLst>
                <a:ext uri="{FF2B5EF4-FFF2-40B4-BE49-F238E27FC236}">
                  <a16:creationId xmlns:a16="http://schemas.microsoft.com/office/drawing/2014/main" id="{5D7F8C6C-70C5-4BCE-B130-52B8A97E4C29}"/>
                </a:ext>
              </a:extLst>
            </p:cNvPr>
            <p:cNvSpPr/>
            <p:nvPr/>
          </p:nvSpPr>
          <p:spPr>
            <a:xfrm>
              <a:off x="7555654" y="3462549"/>
              <a:ext cx="405506" cy="36832"/>
            </a:xfrm>
            <a:custGeom>
              <a:avLst/>
              <a:gdLst>
                <a:gd name="connsiteX0" fmla="*/ 401143 w 405506"/>
                <a:gd name="connsiteY0" fmla="*/ 36832 h 36832"/>
                <a:gd name="connsiteX1" fmla="*/ 401143 w 405506"/>
                <a:gd name="connsiteY1" fmla="*/ 36832 h 36832"/>
                <a:gd name="connsiteX2" fmla="*/ 6171 w 405506"/>
                <a:gd name="connsiteY2" fmla="*/ 24489 h 36832"/>
                <a:gd name="connsiteX3" fmla="*/ 0 w 405506"/>
                <a:gd name="connsiteY3" fmla="*/ 21404 h 36832"/>
                <a:gd name="connsiteX4" fmla="*/ 3085 w 405506"/>
                <a:gd name="connsiteY4" fmla="*/ 15232 h 36832"/>
                <a:gd name="connsiteX5" fmla="*/ 401143 w 405506"/>
                <a:gd name="connsiteY5" fmla="*/ 27575 h 36832"/>
                <a:gd name="connsiteX6" fmla="*/ 404228 w 405506"/>
                <a:gd name="connsiteY6" fmla="*/ 33747 h 36832"/>
                <a:gd name="connsiteX7" fmla="*/ 401143 w 405506"/>
                <a:gd name="connsiteY7" fmla="*/ 36832 h 3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5506" h="36832">
                  <a:moveTo>
                    <a:pt x="401143" y="36832"/>
                  </a:moveTo>
                  <a:cubicBezTo>
                    <a:pt x="401143" y="36832"/>
                    <a:pt x="401143" y="36832"/>
                    <a:pt x="401143" y="36832"/>
                  </a:cubicBezTo>
                  <a:cubicBezTo>
                    <a:pt x="314743" y="5975"/>
                    <a:pt x="108000" y="-196"/>
                    <a:pt x="6171" y="24489"/>
                  </a:cubicBezTo>
                  <a:cubicBezTo>
                    <a:pt x="3085" y="24489"/>
                    <a:pt x="0" y="24489"/>
                    <a:pt x="0" y="21404"/>
                  </a:cubicBezTo>
                  <a:cubicBezTo>
                    <a:pt x="0" y="18318"/>
                    <a:pt x="0" y="15232"/>
                    <a:pt x="3085" y="15232"/>
                  </a:cubicBezTo>
                  <a:cubicBezTo>
                    <a:pt x="104914" y="-9454"/>
                    <a:pt x="314743" y="-3282"/>
                    <a:pt x="401143" y="27575"/>
                  </a:cubicBezTo>
                  <a:cubicBezTo>
                    <a:pt x="404228" y="27575"/>
                    <a:pt x="404228" y="30661"/>
                    <a:pt x="404228" y="33747"/>
                  </a:cubicBezTo>
                  <a:cubicBezTo>
                    <a:pt x="407314" y="36832"/>
                    <a:pt x="404228" y="36832"/>
                    <a:pt x="401143" y="36832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1" name="任意多边形: 形状 300">
              <a:extLst>
                <a:ext uri="{FF2B5EF4-FFF2-40B4-BE49-F238E27FC236}">
                  <a16:creationId xmlns:a16="http://schemas.microsoft.com/office/drawing/2014/main" id="{B95291CB-211C-4E46-A90A-D21AD11B62ED}"/>
                </a:ext>
              </a:extLst>
            </p:cNvPr>
            <p:cNvSpPr/>
            <p:nvPr/>
          </p:nvSpPr>
          <p:spPr>
            <a:xfrm>
              <a:off x="7463083" y="2925439"/>
              <a:ext cx="364114" cy="157371"/>
            </a:xfrm>
            <a:custGeom>
              <a:avLst/>
              <a:gdLst>
                <a:gd name="connsiteX0" fmla="*/ 327085 w 364114"/>
                <a:gd name="connsiteY0" fmla="*/ 6171 h 157371"/>
                <a:gd name="connsiteX1" fmla="*/ 222171 w 364114"/>
                <a:gd name="connsiteY1" fmla="*/ 123429 h 157371"/>
                <a:gd name="connsiteX2" fmla="*/ 24686 w 364114"/>
                <a:gd name="connsiteY2" fmla="*/ 0 h 157371"/>
                <a:gd name="connsiteX3" fmla="*/ 0 w 364114"/>
                <a:gd name="connsiteY3" fmla="*/ 9257 h 157371"/>
                <a:gd name="connsiteX4" fmla="*/ 225257 w 364114"/>
                <a:gd name="connsiteY4" fmla="*/ 157371 h 157371"/>
                <a:gd name="connsiteX5" fmla="*/ 364114 w 364114"/>
                <a:gd name="connsiteY5" fmla="*/ 15429 h 157371"/>
                <a:gd name="connsiteX6" fmla="*/ 327085 w 364114"/>
                <a:gd name="connsiteY6" fmla="*/ 6171 h 15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114" h="157371">
                  <a:moveTo>
                    <a:pt x="327085" y="6171"/>
                  </a:moveTo>
                  <a:lnTo>
                    <a:pt x="222171" y="123429"/>
                  </a:lnTo>
                  <a:cubicBezTo>
                    <a:pt x="222171" y="123429"/>
                    <a:pt x="89486" y="21600"/>
                    <a:pt x="24686" y="0"/>
                  </a:cubicBezTo>
                  <a:lnTo>
                    <a:pt x="0" y="9257"/>
                  </a:lnTo>
                  <a:lnTo>
                    <a:pt x="225257" y="157371"/>
                  </a:lnTo>
                  <a:lnTo>
                    <a:pt x="364114" y="15429"/>
                  </a:lnTo>
                  <a:cubicBezTo>
                    <a:pt x="361028" y="12343"/>
                    <a:pt x="345600" y="9257"/>
                    <a:pt x="327085" y="6171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2" name="任意多边形: 形状 301">
              <a:extLst>
                <a:ext uri="{FF2B5EF4-FFF2-40B4-BE49-F238E27FC236}">
                  <a16:creationId xmlns:a16="http://schemas.microsoft.com/office/drawing/2014/main" id="{FD27BFDC-FF47-4FFB-BD19-CCAE9A3A9209}"/>
                </a:ext>
              </a:extLst>
            </p:cNvPr>
            <p:cNvSpPr/>
            <p:nvPr/>
          </p:nvSpPr>
          <p:spPr>
            <a:xfrm>
              <a:off x="7265597" y="3860168"/>
              <a:ext cx="802285" cy="243400"/>
            </a:xfrm>
            <a:custGeom>
              <a:avLst/>
              <a:gdLst>
                <a:gd name="connsiteX0" fmla="*/ 37029 w 802285"/>
                <a:gd name="connsiteY0" fmla="*/ 3328 h 243400"/>
                <a:gd name="connsiteX1" fmla="*/ 0 w 802285"/>
                <a:gd name="connsiteY1" fmla="*/ 197728 h 243400"/>
                <a:gd name="connsiteX2" fmla="*/ 802286 w 802285"/>
                <a:gd name="connsiteY2" fmla="*/ 179214 h 243400"/>
                <a:gd name="connsiteX3" fmla="*/ 703543 w 802285"/>
                <a:gd name="connsiteY3" fmla="*/ 243 h 243400"/>
                <a:gd name="connsiteX4" fmla="*/ 37029 w 802285"/>
                <a:gd name="connsiteY4" fmla="*/ 3328 h 24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2285" h="243400">
                  <a:moveTo>
                    <a:pt x="37029" y="3328"/>
                  </a:moveTo>
                  <a:lnTo>
                    <a:pt x="0" y="197728"/>
                  </a:lnTo>
                  <a:cubicBezTo>
                    <a:pt x="0" y="197728"/>
                    <a:pt x="293143" y="311900"/>
                    <a:pt x="802286" y="179214"/>
                  </a:cubicBezTo>
                  <a:lnTo>
                    <a:pt x="703543" y="243"/>
                  </a:lnTo>
                  <a:cubicBezTo>
                    <a:pt x="706629" y="-2843"/>
                    <a:pt x="132686" y="24928"/>
                    <a:pt x="37029" y="3328"/>
                  </a:cubicBezTo>
                  <a:close/>
                </a:path>
              </a:pathLst>
            </a:custGeom>
            <a:solidFill>
              <a:srgbClr val="7F95BC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3" name="任意多边形: 形状 302">
              <a:extLst>
                <a:ext uri="{FF2B5EF4-FFF2-40B4-BE49-F238E27FC236}">
                  <a16:creationId xmlns:a16="http://schemas.microsoft.com/office/drawing/2014/main" id="{BBE7688A-4E6E-4E68-B0D1-67165048AA28}"/>
                </a:ext>
              </a:extLst>
            </p:cNvPr>
            <p:cNvSpPr/>
            <p:nvPr/>
          </p:nvSpPr>
          <p:spPr>
            <a:xfrm>
              <a:off x="7671633" y="3880732"/>
              <a:ext cx="319106" cy="29049"/>
            </a:xfrm>
            <a:custGeom>
              <a:avLst/>
              <a:gdLst>
                <a:gd name="connsiteX0" fmla="*/ 312935 w 319106"/>
                <a:gd name="connsiteY0" fmla="*/ 29050 h 29049"/>
                <a:gd name="connsiteX1" fmla="*/ 312935 w 319106"/>
                <a:gd name="connsiteY1" fmla="*/ 29050 h 29049"/>
                <a:gd name="connsiteX2" fmla="*/ 4364 w 319106"/>
                <a:gd name="connsiteY2" fmla="*/ 10535 h 29049"/>
                <a:gd name="connsiteX3" fmla="*/ 1278 w 319106"/>
                <a:gd name="connsiteY3" fmla="*/ 4364 h 29049"/>
                <a:gd name="connsiteX4" fmla="*/ 7450 w 319106"/>
                <a:gd name="connsiteY4" fmla="*/ 1278 h 29049"/>
                <a:gd name="connsiteX5" fmla="*/ 312935 w 319106"/>
                <a:gd name="connsiteY5" fmla="*/ 19793 h 29049"/>
                <a:gd name="connsiteX6" fmla="*/ 319106 w 319106"/>
                <a:gd name="connsiteY6" fmla="*/ 25964 h 29049"/>
                <a:gd name="connsiteX7" fmla="*/ 312935 w 319106"/>
                <a:gd name="connsiteY7" fmla="*/ 29050 h 2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9106" h="29049">
                  <a:moveTo>
                    <a:pt x="312935" y="29050"/>
                  </a:moveTo>
                  <a:cubicBezTo>
                    <a:pt x="312935" y="29050"/>
                    <a:pt x="312935" y="29050"/>
                    <a:pt x="312935" y="29050"/>
                  </a:cubicBezTo>
                  <a:cubicBezTo>
                    <a:pt x="309850" y="29050"/>
                    <a:pt x="100021" y="25964"/>
                    <a:pt x="4364" y="10535"/>
                  </a:cubicBezTo>
                  <a:cubicBezTo>
                    <a:pt x="1278" y="10535"/>
                    <a:pt x="-1808" y="7450"/>
                    <a:pt x="1278" y="4364"/>
                  </a:cubicBezTo>
                  <a:cubicBezTo>
                    <a:pt x="1278" y="1278"/>
                    <a:pt x="4364" y="-1808"/>
                    <a:pt x="7450" y="1278"/>
                  </a:cubicBezTo>
                  <a:cubicBezTo>
                    <a:pt x="103106" y="16707"/>
                    <a:pt x="312935" y="19793"/>
                    <a:pt x="312935" y="19793"/>
                  </a:cubicBezTo>
                  <a:cubicBezTo>
                    <a:pt x="316021" y="19793"/>
                    <a:pt x="319106" y="22878"/>
                    <a:pt x="319106" y="25964"/>
                  </a:cubicBezTo>
                  <a:cubicBezTo>
                    <a:pt x="319106" y="25964"/>
                    <a:pt x="316021" y="29050"/>
                    <a:pt x="312935" y="29050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4" name="任意多边形: 形状 303">
              <a:extLst>
                <a:ext uri="{FF2B5EF4-FFF2-40B4-BE49-F238E27FC236}">
                  <a16:creationId xmlns:a16="http://schemas.microsoft.com/office/drawing/2014/main" id="{62374765-05A9-499A-886D-9D5206E3FD17}"/>
                </a:ext>
              </a:extLst>
            </p:cNvPr>
            <p:cNvSpPr/>
            <p:nvPr/>
          </p:nvSpPr>
          <p:spPr>
            <a:xfrm>
              <a:off x="7426055" y="2282710"/>
              <a:ext cx="427717" cy="575167"/>
            </a:xfrm>
            <a:custGeom>
              <a:avLst/>
              <a:gdLst>
                <a:gd name="connsiteX0" fmla="*/ 419657 w 427717"/>
                <a:gd name="connsiteY0" fmla="*/ 186043 h 575167"/>
                <a:gd name="connsiteX1" fmla="*/ 407314 w 427717"/>
                <a:gd name="connsiteY1" fmla="*/ 445243 h 575167"/>
                <a:gd name="connsiteX2" fmla="*/ 256114 w 427717"/>
                <a:gd name="connsiteY2" fmla="*/ 574843 h 575167"/>
                <a:gd name="connsiteX3" fmla="*/ 37028 w 427717"/>
                <a:gd name="connsiteY3" fmla="*/ 429815 h 575167"/>
                <a:gd name="connsiteX4" fmla="*/ 0 w 427717"/>
                <a:gd name="connsiteY4" fmla="*/ 201472 h 575167"/>
                <a:gd name="connsiteX5" fmla="*/ 216000 w 427717"/>
                <a:gd name="connsiteY5" fmla="*/ 901 h 575167"/>
                <a:gd name="connsiteX6" fmla="*/ 419657 w 427717"/>
                <a:gd name="connsiteY6" fmla="*/ 186043 h 575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717" h="575167">
                  <a:moveTo>
                    <a:pt x="419657" y="186043"/>
                  </a:moveTo>
                  <a:cubicBezTo>
                    <a:pt x="419657" y="186043"/>
                    <a:pt x="444343" y="377358"/>
                    <a:pt x="407314" y="445243"/>
                  </a:cubicBezTo>
                  <a:cubicBezTo>
                    <a:pt x="370286" y="513129"/>
                    <a:pt x="308571" y="571758"/>
                    <a:pt x="256114" y="574843"/>
                  </a:cubicBezTo>
                  <a:cubicBezTo>
                    <a:pt x="188228" y="581015"/>
                    <a:pt x="74057" y="497701"/>
                    <a:pt x="37028" y="429815"/>
                  </a:cubicBezTo>
                  <a:cubicBezTo>
                    <a:pt x="0" y="361929"/>
                    <a:pt x="0" y="253929"/>
                    <a:pt x="0" y="201472"/>
                  </a:cubicBezTo>
                  <a:cubicBezTo>
                    <a:pt x="3085" y="105815"/>
                    <a:pt x="30857" y="25586"/>
                    <a:pt x="216000" y="901"/>
                  </a:cubicBezTo>
                  <a:cubicBezTo>
                    <a:pt x="305486" y="-11442"/>
                    <a:pt x="401143" y="105815"/>
                    <a:pt x="419657" y="186043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5" name="任意多边形: 形状 304">
              <a:extLst>
                <a:ext uri="{FF2B5EF4-FFF2-40B4-BE49-F238E27FC236}">
                  <a16:creationId xmlns:a16="http://schemas.microsoft.com/office/drawing/2014/main" id="{D1124DAD-29A9-4FDA-9F9F-B9B2F9363E55}"/>
                </a:ext>
              </a:extLst>
            </p:cNvPr>
            <p:cNvSpPr/>
            <p:nvPr/>
          </p:nvSpPr>
          <p:spPr>
            <a:xfrm>
              <a:off x="7657483" y="2558239"/>
              <a:ext cx="55542" cy="132685"/>
            </a:xfrm>
            <a:custGeom>
              <a:avLst/>
              <a:gdLst>
                <a:gd name="connsiteX0" fmla="*/ 30857 w 55542"/>
                <a:gd name="connsiteY0" fmla="*/ 132686 h 132685"/>
                <a:gd name="connsiteX1" fmla="*/ 6171 w 55542"/>
                <a:gd name="connsiteY1" fmla="*/ 129600 h 132685"/>
                <a:gd name="connsiteX2" fmla="*/ 0 w 55542"/>
                <a:gd name="connsiteY2" fmla="*/ 123429 h 132685"/>
                <a:gd name="connsiteX3" fmla="*/ 6171 w 55542"/>
                <a:gd name="connsiteY3" fmla="*/ 117257 h 132685"/>
                <a:gd name="connsiteX4" fmla="*/ 46286 w 55542"/>
                <a:gd name="connsiteY4" fmla="*/ 117257 h 132685"/>
                <a:gd name="connsiteX5" fmla="*/ 46286 w 55542"/>
                <a:gd name="connsiteY5" fmla="*/ 114171 h 132685"/>
                <a:gd name="connsiteX6" fmla="*/ 18514 w 55542"/>
                <a:gd name="connsiteY6" fmla="*/ 6171 h 132685"/>
                <a:gd name="connsiteX7" fmla="*/ 21600 w 55542"/>
                <a:gd name="connsiteY7" fmla="*/ 0 h 132685"/>
                <a:gd name="connsiteX8" fmla="*/ 27771 w 55542"/>
                <a:gd name="connsiteY8" fmla="*/ 3086 h 132685"/>
                <a:gd name="connsiteX9" fmla="*/ 55542 w 55542"/>
                <a:gd name="connsiteY9" fmla="*/ 114171 h 132685"/>
                <a:gd name="connsiteX10" fmla="*/ 49371 w 55542"/>
                <a:gd name="connsiteY10" fmla="*/ 126514 h 132685"/>
                <a:gd name="connsiteX11" fmla="*/ 30857 w 55542"/>
                <a:gd name="connsiteY11" fmla="*/ 132686 h 132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542" h="132685">
                  <a:moveTo>
                    <a:pt x="30857" y="132686"/>
                  </a:moveTo>
                  <a:cubicBezTo>
                    <a:pt x="18514" y="132686"/>
                    <a:pt x="9257" y="129600"/>
                    <a:pt x="6171" y="129600"/>
                  </a:cubicBezTo>
                  <a:cubicBezTo>
                    <a:pt x="3085" y="129600"/>
                    <a:pt x="0" y="126514"/>
                    <a:pt x="0" y="123429"/>
                  </a:cubicBezTo>
                  <a:cubicBezTo>
                    <a:pt x="0" y="120343"/>
                    <a:pt x="3085" y="117257"/>
                    <a:pt x="6171" y="117257"/>
                  </a:cubicBezTo>
                  <a:cubicBezTo>
                    <a:pt x="18514" y="120343"/>
                    <a:pt x="40114" y="120343"/>
                    <a:pt x="46286" y="117257"/>
                  </a:cubicBezTo>
                  <a:cubicBezTo>
                    <a:pt x="46286" y="117257"/>
                    <a:pt x="46286" y="114171"/>
                    <a:pt x="46286" y="114171"/>
                  </a:cubicBezTo>
                  <a:cubicBezTo>
                    <a:pt x="46286" y="98743"/>
                    <a:pt x="24685" y="30857"/>
                    <a:pt x="18514" y="6171"/>
                  </a:cubicBezTo>
                  <a:cubicBezTo>
                    <a:pt x="18514" y="3086"/>
                    <a:pt x="18514" y="0"/>
                    <a:pt x="21600" y="0"/>
                  </a:cubicBezTo>
                  <a:cubicBezTo>
                    <a:pt x="24685" y="0"/>
                    <a:pt x="27771" y="0"/>
                    <a:pt x="27771" y="3086"/>
                  </a:cubicBezTo>
                  <a:cubicBezTo>
                    <a:pt x="27771" y="6171"/>
                    <a:pt x="55542" y="92571"/>
                    <a:pt x="55542" y="114171"/>
                  </a:cubicBezTo>
                  <a:cubicBezTo>
                    <a:pt x="55542" y="120343"/>
                    <a:pt x="52457" y="123429"/>
                    <a:pt x="49371" y="126514"/>
                  </a:cubicBezTo>
                  <a:cubicBezTo>
                    <a:pt x="49371" y="129600"/>
                    <a:pt x="40114" y="132686"/>
                    <a:pt x="30857" y="132686"/>
                  </a:cubicBezTo>
                  <a:close/>
                </a:path>
              </a:pathLst>
            </a:custGeom>
            <a:solidFill>
              <a:srgbClr val="E58777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6" name="任意多边形: 形状 305">
              <a:extLst>
                <a:ext uri="{FF2B5EF4-FFF2-40B4-BE49-F238E27FC236}">
                  <a16:creationId xmlns:a16="http://schemas.microsoft.com/office/drawing/2014/main" id="{C438BDCE-6308-4164-A478-B27952D3F327}"/>
                </a:ext>
              </a:extLst>
            </p:cNvPr>
            <p:cNvSpPr/>
            <p:nvPr/>
          </p:nvSpPr>
          <p:spPr>
            <a:xfrm>
              <a:off x="7626626" y="2740296"/>
              <a:ext cx="107999" cy="55542"/>
            </a:xfrm>
            <a:custGeom>
              <a:avLst/>
              <a:gdLst>
                <a:gd name="connsiteX0" fmla="*/ 0 w 107999"/>
                <a:gd name="connsiteY0" fmla="*/ 0 h 55542"/>
                <a:gd name="connsiteX1" fmla="*/ 108000 w 107999"/>
                <a:gd name="connsiteY1" fmla="*/ 0 h 55542"/>
                <a:gd name="connsiteX2" fmla="*/ 55542 w 107999"/>
                <a:gd name="connsiteY2" fmla="*/ 55543 h 55542"/>
                <a:gd name="connsiteX3" fmla="*/ 0 w 107999"/>
                <a:gd name="connsiteY3" fmla="*/ 0 h 5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999" h="55542">
                  <a:moveTo>
                    <a:pt x="0" y="0"/>
                  </a:moveTo>
                  <a:cubicBezTo>
                    <a:pt x="55542" y="24686"/>
                    <a:pt x="108000" y="0"/>
                    <a:pt x="108000" y="0"/>
                  </a:cubicBezTo>
                  <a:cubicBezTo>
                    <a:pt x="108000" y="0"/>
                    <a:pt x="92571" y="55543"/>
                    <a:pt x="55542" y="55543"/>
                  </a:cubicBezTo>
                  <a:cubicBezTo>
                    <a:pt x="15429" y="5245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7" name="任意多边形: 形状 306">
              <a:extLst>
                <a:ext uri="{FF2B5EF4-FFF2-40B4-BE49-F238E27FC236}">
                  <a16:creationId xmlns:a16="http://schemas.microsoft.com/office/drawing/2014/main" id="{7888EFCC-8AC2-4C95-8D97-6BA6C97F6593}"/>
                </a:ext>
              </a:extLst>
            </p:cNvPr>
            <p:cNvSpPr/>
            <p:nvPr/>
          </p:nvSpPr>
          <p:spPr>
            <a:xfrm>
              <a:off x="7749268" y="2526595"/>
              <a:ext cx="41686" cy="41505"/>
            </a:xfrm>
            <a:custGeom>
              <a:avLst/>
              <a:gdLst>
                <a:gd name="connsiteX0" fmla="*/ 786 w 41686"/>
                <a:gd name="connsiteY0" fmla="*/ 25472 h 41505"/>
                <a:gd name="connsiteX1" fmla="*/ 25472 w 41686"/>
                <a:gd name="connsiteY1" fmla="*/ 40901 h 41505"/>
                <a:gd name="connsiteX2" fmla="*/ 40900 w 41686"/>
                <a:gd name="connsiteY2" fmla="*/ 16215 h 41505"/>
                <a:gd name="connsiteX3" fmla="*/ 16215 w 41686"/>
                <a:gd name="connsiteY3" fmla="*/ 786 h 41505"/>
                <a:gd name="connsiteX4" fmla="*/ 786 w 41686"/>
                <a:gd name="connsiteY4" fmla="*/ 25472 h 4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86" h="41505">
                  <a:moveTo>
                    <a:pt x="786" y="25472"/>
                  </a:moveTo>
                  <a:cubicBezTo>
                    <a:pt x="3872" y="34729"/>
                    <a:pt x="13129" y="43986"/>
                    <a:pt x="25472" y="40901"/>
                  </a:cubicBezTo>
                  <a:cubicBezTo>
                    <a:pt x="37815" y="37815"/>
                    <a:pt x="43986" y="28558"/>
                    <a:pt x="40900" y="16215"/>
                  </a:cubicBezTo>
                  <a:cubicBezTo>
                    <a:pt x="37815" y="3872"/>
                    <a:pt x="28558" y="-2299"/>
                    <a:pt x="16215" y="786"/>
                  </a:cubicBezTo>
                  <a:cubicBezTo>
                    <a:pt x="3872" y="3872"/>
                    <a:pt x="-2299" y="16215"/>
                    <a:pt x="786" y="25472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8" name="任意多边形: 形状 307">
              <a:extLst>
                <a:ext uri="{FF2B5EF4-FFF2-40B4-BE49-F238E27FC236}">
                  <a16:creationId xmlns:a16="http://schemas.microsoft.com/office/drawing/2014/main" id="{108FDC19-551A-4BFE-A32D-1981A0D20904}"/>
                </a:ext>
              </a:extLst>
            </p:cNvPr>
            <p:cNvSpPr/>
            <p:nvPr/>
          </p:nvSpPr>
          <p:spPr>
            <a:xfrm>
              <a:off x="7555654" y="2532767"/>
              <a:ext cx="40900" cy="41505"/>
            </a:xfrm>
            <a:custGeom>
              <a:avLst/>
              <a:gdLst>
                <a:gd name="connsiteX0" fmla="*/ 0 w 40900"/>
                <a:gd name="connsiteY0" fmla="*/ 25472 h 41505"/>
                <a:gd name="connsiteX1" fmla="*/ 24686 w 40900"/>
                <a:gd name="connsiteY1" fmla="*/ 40901 h 41505"/>
                <a:gd name="connsiteX2" fmla="*/ 40114 w 40900"/>
                <a:gd name="connsiteY2" fmla="*/ 16215 h 41505"/>
                <a:gd name="connsiteX3" fmla="*/ 15429 w 40900"/>
                <a:gd name="connsiteY3" fmla="*/ 786 h 41505"/>
                <a:gd name="connsiteX4" fmla="*/ 0 w 40900"/>
                <a:gd name="connsiteY4" fmla="*/ 25472 h 4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00" h="41505">
                  <a:moveTo>
                    <a:pt x="0" y="25472"/>
                  </a:moveTo>
                  <a:cubicBezTo>
                    <a:pt x="3085" y="34729"/>
                    <a:pt x="12343" y="43986"/>
                    <a:pt x="24686" y="40901"/>
                  </a:cubicBezTo>
                  <a:cubicBezTo>
                    <a:pt x="37028" y="37815"/>
                    <a:pt x="43200" y="28558"/>
                    <a:pt x="40114" y="16215"/>
                  </a:cubicBezTo>
                  <a:cubicBezTo>
                    <a:pt x="37028" y="3872"/>
                    <a:pt x="27771" y="-2299"/>
                    <a:pt x="15429" y="786"/>
                  </a:cubicBezTo>
                  <a:cubicBezTo>
                    <a:pt x="6171" y="3872"/>
                    <a:pt x="0" y="16215"/>
                    <a:pt x="0" y="25472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9" name="任意多边形: 形状 308">
              <a:extLst>
                <a:ext uri="{FF2B5EF4-FFF2-40B4-BE49-F238E27FC236}">
                  <a16:creationId xmlns:a16="http://schemas.microsoft.com/office/drawing/2014/main" id="{35AF1146-14B0-4B86-9F53-7E373CE850BC}"/>
                </a:ext>
              </a:extLst>
            </p:cNvPr>
            <p:cNvSpPr/>
            <p:nvPr/>
          </p:nvSpPr>
          <p:spPr>
            <a:xfrm>
              <a:off x="7724090" y="2481459"/>
              <a:ext cx="93078" cy="33579"/>
            </a:xfrm>
            <a:custGeom>
              <a:avLst/>
              <a:gdLst>
                <a:gd name="connsiteX0" fmla="*/ 84592 w 93078"/>
                <a:gd name="connsiteY0" fmla="*/ 30494 h 33579"/>
                <a:gd name="connsiteX1" fmla="*/ 78421 w 93078"/>
                <a:gd name="connsiteY1" fmla="*/ 27408 h 33579"/>
                <a:gd name="connsiteX2" fmla="*/ 10535 w 93078"/>
                <a:gd name="connsiteY2" fmla="*/ 21237 h 33579"/>
                <a:gd name="connsiteX3" fmla="*/ 1278 w 93078"/>
                <a:gd name="connsiteY3" fmla="*/ 18151 h 33579"/>
                <a:gd name="connsiteX4" fmla="*/ 4364 w 93078"/>
                <a:gd name="connsiteY4" fmla="*/ 8894 h 33579"/>
                <a:gd name="connsiteX5" fmla="*/ 90764 w 93078"/>
                <a:gd name="connsiteY5" fmla="*/ 21237 h 33579"/>
                <a:gd name="connsiteX6" fmla="*/ 90764 w 93078"/>
                <a:gd name="connsiteY6" fmla="*/ 33580 h 33579"/>
                <a:gd name="connsiteX7" fmla="*/ 84592 w 93078"/>
                <a:gd name="connsiteY7" fmla="*/ 30494 h 33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3579">
                  <a:moveTo>
                    <a:pt x="84592" y="30494"/>
                  </a:moveTo>
                  <a:cubicBezTo>
                    <a:pt x="81507" y="30494"/>
                    <a:pt x="81507" y="30494"/>
                    <a:pt x="78421" y="27408"/>
                  </a:cubicBezTo>
                  <a:cubicBezTo>
                    <a:pt x="53735" y="-363"/>
                    <a:pt x="10535" y="21237"/>
                    <a:pt x="10535" y="21237"/>
                  </a:cubicBezTo>
                  <a:cubicBezTo>
                    <a:pt x="7450" y="24323"/>
                    <a:pt x="1278" y="21237"/>
                    <a:pt x="1278" y="18151"/>
                  </a:cubicBezTo>
                  <a:cubicBezTo>
                    <a:pt x="-1808" y="15065"/>
                    <a:pt x="1278" y="8894"/>
                    <a:pt x="4364" y="8894"/>
                  </a:cubicBezTo>
                  <a:cubicBezTo>
                    <a:pt x="22878" y="-363"/>
                    <a:pt x="62993" y="-9620"/>
                    <a:pt x="90764" y="21237"/>
                  </a:cubicBezTo>
                  <a:cubicBezTo>
                    <a:pt x="93850" y="24323"/>
                    <a:pt x="93850" y="30494"/>
                    <a:pt x="90764" y="33580"/>
                  </a:cubicBezTo>
                  <a:cubicBezTo>
                    <a:pt x="87678" y="30494"/>
                    <a:pt x="84592" y="30494"/>
                    <a:pt x="84592" y="30494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0" name="任意多边形: 形状 309">
              <a:extLst>
                <a:ext uri="{FF2B5EF4-FFF2-40B4-BE49-F238E27FC236}">
                  <a16:creationId xmlns:a16="http://schemas.microsoft.com/office/drawing/2014/main" id="{0573D45B-7A14-4682-BD33-3276DDFCCFE4}"/>
                </a:ext>
              </a:extLst>
            </p:cNvPr>
            <p:cNvSpPr/>
            <p:nvPr/>
          </p:nvSpPr>
          <p:spPr>
            <a:xfrm>
              <a:off x="7528654" y="2478324"/>
              <a:ext cx="93078" cy="36714"/>
            </a:xfrm>
            <a:custGeom>
              <a:avLst/>
              <a:gdLst>
                <a:gd name="connsiteX0" fmla="*/ 8486 w 93078"/>
                <a:gd name="connsiteY0" fmla="*/ 36715 h 36714"/>
                <a:gd name="connsiteX1" fmla="*/ 2314 w 93078"/>
                <a:gd name="connsiteY1" fmla="*/ 33629 h 36714"/>
                <a:gd name="connsiteX2" fmla="*/ 2314 w 93078"/>
                <a:gd name="connsiteY2" fmla="*/ 21286 h 36714"/>
                <a:gd name="connsiteX3" fmla="*/ 88715 w 93078"/>
                <a:gd name="connsiteY3" fmla="*/ 12029 h 36714"/>
                <a:gd name="connsiteX4" fmla="*/ 91800 w 93078"/>
                <a:gd name="connsiteY4" fmla="*/ 24372 h 36714"/>
                <a:gd name="connsiteX5" fmla="*/ 79457 w 93078"/>
                <a:gd name="connsiteY5" fmla="*/ 27457 h 36714"/>
                <a:gd name="connsiteX6" fmla="*/ 11572 w 93078"/>
                <a:gd name="connsiteY6" fmla="*/ 33629 h 36714"/>
                <a:gd name="connsiteX7" fmla="*/ 8486 w 93078"/>
                <a:gd name="connsiteY7" fmla="*/ 36715 h 3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6714">
                  <a:moveTo>
                    <a:pt x="8486" y="36715"/>
                  </a:moveTo>
                  <a:cubicBezTo>
                    <a:pt x="5400" y="36715"/>
                    <a:pt x="5400" y="36715"/>
                    <a:pt x="2314" y="33629"/>
                  </a:cubicBezTo>
                  <a:cubicBezTo>
                    <a:pt x="-771" y="30543"/>
                    <a:pt x="-771" y="24372"/>
                    <a:pt x="2314" y="21286"/>
                  </a:cubicBezTo>
                  <a:cubicBezTo>
                    <a:pt x="14657" y="5857"/>
                    <a:pt x="51686" y="-12657"/>
                    <a:pt x="88715" y="12029"/>
                  </a:cubicBezTo>
                  <a:cubicBezTo>
                    <a:pt x="91800" y="15115"/>
                    <a:pt x="94886" y="18200"/>
                    <a:pt x="91800" y="24372"/>
                  </a:cubicBezTo>
                  <a:cubicBezTo>
                    <a:pt x="88715" y="30543"/>
                    <a:pt x="85629" y="30543"/>
                    <a:pt x="79457" y="27457"/>
                  </a:cubicBezTo>
                  <a:cubicBezTo>
                    <a:pt x="42429" y="2772"/>
                    <a:pt x="14657" y="33629"/>
                    <a:pt x="11572" y="33629"/>
                  </a:cubicBezTo>
                  <a:cubicBezTo>
                    <a:pt x="14657" y="33629"/>
                    <a:pt x="11572" y="36715"/>
                    <a:pt x="8486" y="36715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1" name="任意多边形: 形状 310">
              <a:extLst>
                <a:ext uri="{FF2B5EF4-FFF2-40B4-BE49-F238E27FC236}">
                  <a16:creationId xmlns:a16="http://schemas.microsoft.com/office/drawing/2014/main" id="{3EB0532D-06D6-4BD8-B31A-010841514356}"/>
                </a:ext>
              </a:extLst>
            </p:cNvPr>
            <p:cNvSpPr/>
            <p:nvPr/>
          </p:nvSpPr>
          <p:spPr>
            <a:xfrm>
              <a:off x="7593652" y="2250455"/>
              <a:ext cx="280059" cy="261498"/>
            </a:xfrm>
            <a:custGeom>
              <a:avLst/>
              <a:gdLst>
                <a:gd name="connsiteX0" fmla="*/ 2116 w 280059"/>
                <a:gd name="connsiteY0" fmla="*/ 2298 h 261498"/>
                <a:gd name="connsiteX1" fmla="*/ 39145 w 280059"/>
                <a:gd name="connsiteY1" fmla="*/ 131898 h 261498"/>
                <a:gd name="connsiteX2" fmla="*/ 279831 w 280059"/>
                <a:gd name="connsiteY2" fmla="*/ 261498 h 261498"/>
                <a:gd name="connsiteX3" fmla="*/ 2116 w 280059"/>
                <a:gd name="connsiteY3" fmla="*/ 2298 h 261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059" h="261498">
                  <a:moveTo>
                    <a:pt x="2116" y="2298"/>
                  </a:moveTo>
                  <a:cubicBezTo>
                    <a:pt x="2116" y="2298"/>
                    <a:pt x="-13312" y="91784"/>
                    <a:pt x="39145" y="131898"/>
                  </a:cubicBezTo>
                  <a:cubicBezTo>
                    <a:pt x="39145" y="131898"/>
                    <a:pt x="252059" y="175098"/>
                    <a:pt x="279831" y="261498"/>
                  </a:cubicBezTo>
                  <a:cubicBezTo>
                    <a:pt x="279831" y="261498"/>
                    <a:pt x="298345" y="-28559"/>
                    <a:pt x="2116" y="2298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2" name="任意多边形: 形状 311">
              <a:extLst>
                <a:ext uri="{FF2B5EF4-FFF2-40B4-BE49-F238E27FC236}">
                  <a16:creationId xmlns:a16="http://schemas.microsoft.com/office/drawing/2014/main" id="{00CAAECC-26B1-4B50-9028-E2E6F1CCCE09}"/>
                </a:ext>
              </a:extLst>
            </p:cNvPr>
            <p:cNvSpPr/>
            <p:nvPr/>
          </p:nvSpPr>
          <p:spPr>
            <a:xfrm>
              <a:off x="7405825" y="2252753"/>
              <a:ext cx="226972" cy="318329"/>
            </a:xfrm>
            <a:custGeom>
              <a:avLst/>
              <a:gdLst>
                <a:gd name="connsiteX0" fmla="*/ 226972 w 226972"/>
                <a:gd name="connsiteY0" fmla="*/ 129600 h 318329"/>
                <a:gd name="connsiteX1" fmla="*/ 85029 w 226972"/>
                <a:gd name="connsiteY1" fmla="*/ 185143 h 318329"/>
                <a:gd name="connsiteX2" fmla="*/ 26401 w 226972"/>
                <a:gd name="connsiteY2" fmla="*/ 305486 h 318329"/>
                <a:gd name="connsiteX3" fmla="*/ 1715 w 226972"/>
                <a:gd name="connsiteY3" fmla="*/ 302400 h 318329"/>
                <a:gd name="connsiteX4" fmla="*/ 193029 w 226972"/>
                <a:gd name="connsiteY4" fmla="*/ 0 h 318329"/>
                <a:gd name="connsiteX5" fmla="*/ 226972 w 226972"/>
                <a:gd name="connsiteY5" fmla="*/ 129600 h 318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6972" h="318329">
                  <a:moveTo>
                    <a:pt x="226972" y="129600"/>
                  </a:moveTo>
                  <a:cubicBezTo>
                    <a:pt x="226972" y="129600"/>
                    <a:pt x="134401" y="178971"/>
                    <a:pt x="85029" y="185143"/>
                  </a:cubicBezTo>
                  <a:cubicBezTo>
                    <a:pt x="32572" y="191314"/>
                    <a:pt x="26401" y="305486"/>
                    <a:pt x="26401" y="305486"/>
                  </a:cubicBezTo>
                  <a:cubicBezTo>
                    <a:pt x="26401" y="305486"/>
                    <a:pt x="4801" y="336343"/>
                    <a:pt x="1715" y="302400"/>
                  </a:cubicBezTo>
                  <a:cubicBezTo>
                    <a:pt x="-4456" y="222171"/>
                    <a:pt x="-4456" y="21600"/>
                    <a:pt x="193029" y="0"/>
                  </a:cubicBezTo>
                  <a:cubicBezTo>
                    <a:pt x="189944" y="0"/>
                    <a:pt x="202286" y="123429"/>
                    <a:pt x="226972" y="129600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3" name="任意多边形: 形状 312">
              <a:extLst>
                <a:ext uri="{FF2B5EF4-FFF2-40B4-BE49-F238E27FC236}">
                  <a16:creationId xmlns:a16="http://schemas.microsoft.com/office/drawing/2014/main" id="{B9617A89-74DB-42A9-B784-5E727325AB31}"/>
                </a:ext>
              </a:extLst>
            </p:cNvPr>
            <p:cNvSpPr/>
            <p:nvPr/>
          </p:nvSpPr>
          <p:spPr>
            <a:xfrm>
              <a:off x="7481597" y="2302125"/>
              <a:ext cx="158743" cy="141942"/>
            </a:xfrm>
            <a:custGeom>
              <a:avLst/>
              <a:gdLst>
                <a:gd name="connsiteX0" fmla="*/ 6172 w 158743"/>
                <a:gd name="connsiteY0" fmla="*/ 141943 h 141942"/>
                <a:gd name="connsiteX1" fmla="*/ 0 w 158743"/>
                <a:gd name="connsiteY1" fmla="*/ 135771 h 141942"/>
                <a:gd name="connsiteX2" fmla="*/ 6172 w 158743"/>
                <a:gd name="connsiteY2" fmla="*/ 129600 h 141942"/>
                <a:gd name="connsiteX3" fmla="*/ 101829 w 158743"/>
                <a:gd name="connsiteY3" fmla="*/ 98743 h 141942"/>
                <a:gd name="connsiteX4" fmla="*/ 141943 w 158743"/>
                <a:gd name="connsiteY4" fmla="*/ 77143 h 141942"/>
                <a:gd name="connsiteX5" fmla="*/ 117257 w 158743"/>
                <a:gd name="connsiteY5" fmla="*/ 6171 h 141942"/>
                <a:gd name="connsiteX6" fmla="*/ 123429 w 158743"/>
                <a:gd name="connsiteY6" fmla="*/ 0 h 141942"/>
                <a:gd name="connsiteX7" fmla="*/ 129600 w 158743"/>
                <a:gd name="connsiteY7" fmla="*/ 6171 h 141942"/>
                <a:gd name="connsiteX8" fmla="*/ 157372 w 158743"/>
                <a:gd name="connsiteY8" fmla="*/ 77143 h 141942"/>
                <a:gd name="connsiteX9" fmla="*/ 157372 w 158743"/>
                <a:gd name="connsiteY9" fmla="*/ 83314 h 141942"/>
                <a:gd name="connsiteX10" fmla="*/ 154286 w 158743"/>
                <a:gd name="connsiteY10" fmla="*/ 86400 h 141942"/>
                <a:gd name="connsiteX11" fmla="*/ 108000 w 158743"/>
                <a:gd name="connsiteY11" fmla="*/ 111086 h 141942"/>
                <a:gd name="connsiteX12" fmla="*/ 6172 w 158743"/>
                <a:gd name="connsiteY12" fmla="*/ 141943 h 141942"/>
                <a:gd name="connsiteX13" fmla="*/ 6172 w 158743"/>
                <a:gd name="connsiteY13" fmla="*/ 141943 h 141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8743" h="141942">
                  <a:moveTo>
                    <a:pt x="6172" y="141943"/>
                  </a:moveTo>
                  <a:cubicBezTo>
                    <a:pt x="3086" y="141943"/>
                    <a:pt x="0" y="138857"/>
                    <a:pt x="0" y="135771"/>
                  </a:cubicBezTo>
                  <a:cubicBezTo>
                    <a:pt x="0" y="132686"/>
                    <a:pt x="3086" y="129600"/>
                    <a:pt x="6172" y="129600"/>
                  </a:cubicBezTo>
                  <a:cubicBezTo>
                    <a:pt x="33943" y="126514"/>
                    <a:pt x="67886" y="114171"/>
                    <a:pt x="101829" y="98743"/>
                  </a:cubicBezTo>
                  <a:cubicBezTo>
                    <a:pt x="120343" y="89486"/>
                    <a:pt x="132686" y="83314"/>
                    <a:pt x="141943" y="77143"/>
                  </a:cubicBezTo>
                  <a:cubicBezTo>
                    <a:pt x="132686" y="61714"/>
                    <a:pt x="117257" y="27771"/>
                    <a:pt x="117257" y="6171"/>
                  </a:cubicBezTo>
                  <a:cubicBezTo>
                    <a:pt x="117257" y="3086"/>
                    <a:pt x="120343" y="0"/>
                    <a:pt x="123429" y="0"/>
                  </a:cubicBezTo>
                  <a:cubicBezTo>
                    <a:pt x="126514" y="0"/>
                    <a:pt x="129600" y="3086"/>
                    <a:pt x="129600" y="6171"/>
                  </a:cubicBezTo>
                  <a:cubicBezTo>
                    <a:pt x="132686" y="30857"/>
                    <a:pt x="151200" y="70971"/>
                    <a:pt x="157372" y="77143"/>
                  </a:cubicBezTo>
                  <a:cubicBezTo>
                    <a:pt x="157372" y="77143"/>
                    <a:pt x="160458" y="80229"/>
                    <a:pt x="157372" y="83314"/>
                  </a:cubicBezTo>
                  <a:cubicBezTo>
                    <a:pt x="157372" y="86400"/>
                    <a:pt x="157372" y="86400"/>
                    <a:pt x="154286" y="86400"/>
                  </a:cubicBezTo>
                  <a:cubicBezTo>
                    <a:pt x="154286" y="86400"/>
                    <a:pt x="135772" y="98743"/>
                    <a:pt x="108000" y="111086"/>
                  </a:cubicBezTo>
                  <a:cubicBezTo>
                    <a:pt x="70972" y="126514"/>
                    <a:pt x="37029" y="135771"/>
                    <a:pt x="6172" y="141943"/>
                  </a:cubicBezTo>
                  <a:cubicBezTo>
                    <a:pt x="9257" y="141943"/>
                    <a:pt x="6172" y="141943"/>
                    <a:pt x="6172" y="141943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4" name="任意多边形: 形状 313">
              <a:extLst>
                <a:ext uri="{FF2B5EF4-FFF2-40B4-BE49-F238E27FC236}">
                  <a16:creationId xmlns:a16="http://schemas.microsoft.com/office/drawing/2014/main" id="{9D140282-5F6A-4F22-A75E-EC8922E445C9}"/>
                </a:ext>
              </a:extLst>
            </p:cNvPr>
            <p:cNvSpPr/>
            <p:nvPr/>
          </p:nvSpPr>
          <p:spPr>
            <a:xfrm>
              <a:off x="7530969" y="2786582"/>
              <a:ext cx="224485" cy="80228"/>
            </a:xfrm>
            <a:custGeom>
              <a:avLst/>
              <a:gdLst>
                <a:gd name="connsiteX0" fmla="*/ 151200 w 224485"/>
                <a:gd name="connsiteY0" fmla="*/ 80229 h 80228"/>
                <a:gd name="connsiteX1" fmla="*/ 141943 w 224485"/>
                <a:gd name="connsiteY1" fmla="*/ 80229 h 80228"/>
                <a:gd name="connsiteX2" fmla="*/ 3086 w 224485"/>
                <a:gd name="connsiteY2" fmla="*/ 12343 h 80228"/>
                <a:gd name="connsiteX3" fmla="*/ 0 w 224485"/>
                <a:gd name="connsiteY3" fmla="*/ 3086 h 80228"/>
                <a:gd name="connsiteX4" fmla="*/ 9257 w 224485"/>
                <a:gd name="connsiteY4" fmla="*/ 0 h 80228"/>
                <a:gd name="connsiteX5" fmla="*/ 141943 w 224485"/>
                <a:gd name="connsiteY5" fmla="*/ 67886 h 80228"/>
                <a:gd name="connsiteX6" fmla="*/ 212914 w 224485"/>
                <a:gd name="connsiteY6" fmla="*/ 43200 h 80228"/>
                <a:gd name="connsiteX7" fmla="*/ 222171 w 224485"/>
                <a:gd name="connsiteY7" fmla="*/ 43200 h 80228"/>
                <a:gd name="connsiteX8" fmla="*/ 222171 w 224485"/>
                <a:gd name="connsiteY8" fmla="*/ 52457 h 80228"/>
                <a:gd name="connsiteX9" fmla="*/ 151200 w 224485"/>
                <a:gd name="connsiteY9" fmla="*/ 80229 h 8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485" h="80228">
                  <a:moveTo>
                    <a:pt x="151200" y="80229"/>
                  </a:moveTo>
                  <a:cubicBezTo>
                    <a:pt x="148114" y="80229"/>
                    <a:pt x="145028" y="80229"/>
                    <a:pt x="141943" y="80229"/>
                  </a:cubicBezTo>
                  <a:cubicBezTo>
                    <a:pt x="98743" y="74057"/>
                    <a:pt x="6171" y="12343"/>
                    <a:pt x="3086" y="12343"/>
                  </a:cubicBezTo>
                  <a:cubicBezTo>
                    <a:pt x="0" y="9257"/>
                    <a:pt x="0" y="6171"/>
                    <a:pt x="0" y="3086"/>
                  </a:cubicBezTo>
                  <a:cubicBezTo>
                    <a:pt x="3086" y="0"/>
                    <a:pt x="6171" y="0"/>
                    <a:pt x="9257" y="0"/>
                  </a:cubicBezTo>
                  <a:cubicBezTo>
                    <a:pt x="9257" y="0"/>
                    <a:pt x="104914" y="61714"/>
                    <a:pt x="141943" y="67886"/>
                  </a:cubicBezTo>
                  <a:cubicBezTo>
                    <a:pt x="178972" y="74057"/>
                    <a:pt x="212914" y="43200"/>
                    <a:pt x="212914" y="43200"/>
                  </a:cubicBezTo>
                  <a:cubicBezTo>
                    <a:pt x="216000" y="40114"/>
                    <a:pt x="219086" y="40114"/>
                    <a:pt x="222171" y="43200"/>
                  </a:cubicBezTo>
                  <a:cubicBezTo>
                    <a:pt x="225257" y="46286"/>
                    <a:pt x="225257" y="49371"/>
                    <a:pt x="222171" y="52457"/>
                  </a:cubicBezTo>
                  <a:cubicBezTo>
                    <a:pt x="219086" y="52457"/>
                    <a:pt x="188229" y="80229"/>
                    <a:pt x="151200" y="80229"/>
                  </a:cubicBezTo>
                  <a:close/>
                </a:path>
              </a:pathLst>
            </a:custGeom>
            <a:solidFill>
              <a:srgbClr val="E58777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5" name="任意多边形: 形状 314">
              <a:extLst>
                <a:ext uri="{FF2B5EF4-FFF2-40B4-BE49-F238E27FC236}">
                  <a16:creationId xmlns:a16="http://schemas.microsoft.com/office/drawing/2014/main" id="{2F40B6AB-791E-4793-A01B-E12B9AF98EEC}"/>
                </a:ext>
              </a:extLst>
            </p:cNvPr>
            <p:cNvSpPr/>
            <p:nvPr/>
          </p:nvSpPr>
          <p:spPr>
            <a:xfrm>
              <a:off x="7390732" y="2544393"/>
              <a:ext cx="78522" cy="115430"/>
            </a:xfrm>
            <a:custGeom>
              <a:avLst/>
              <a:gdLst>
                <a:gd name="connsiteX0" fmla="*/ 66180 w 78522"/>
                <a:gd name="connsiteY0" fmla="*/ 16931 h 115430"/>
                <a:gd name="connsiteX1" fmla="*/ 7551 w 78522"/>
                <a:gd name="connsiteY1" fmla="*/ 7674 h 115430"/>
                <a:gd name="connsiteX2" fmla="*/ 66180 w 78522"/>
                <a:gd name="connsiteY2" fmla="*/ 112588 h 115430"/>
                <a:gd name="connsiteX3" fmla="*/ 66180 w 78522"/>
                <a:gd name="connsiteY3" fmla="*/ 16931 h 115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22" h="115430">
                  <a:moveTo>
                    <a:pt x="66180" y="16931"/>
                  </a:moveTo>
                  <a:cubicBezTo>
                    <a:pt x="66180" y="16931"/>
                    <a:pt x="32237" y="-13926"/>
                    <a:pt x="7551" y="7674"/>
                  </a:cubicBezTo>
                  <a:cubicBezTo>
                    <a:pt x="-17135" y="26188"/>
                    <a:pt x="22980" y="134188"/>
                    <a:pt x="66180" y="112588"/>
                  </a:cubicBezTo>
                  <a:cubicBezTo>
                    <a:pt x="93951" y="90988"/>
                    <a:pt x="66180" y="16931"/>
                    <a:pt x="66180" y="16931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6" name="任意多边形: 形状 315">
              <a:extLst>
                <a:ext uri="{FF2B5EF4-FFF2-40B4-BE49-F238E27FC236}">
                  <a16:creationId xmlns:a16="http://schemas.microsoft.com/office/drawing/2014/main" id="{9452AF6B-3721-42D5-826E-DFC2E6DB13ED}"/>
                </a:ext>
              </a:extLst>
            </p:cNvPr>
            <p:cNvSpPr/>
            <p:nvPr/>
          </p:nvSpPr>
          <p:spPr>
            <a:xfrm>
              <a:off x="7625348" y="2370010"/>
              <a:ext cx="257392" cy="163542"/>
            </a:xfrm>
            <a:custGeom>
              <a:avLst/>
              <a:gdLst>
                <a:gd name="connsiteX0" fmla="*/ 248135 w 257392"/>
                <a:gd name="connsiteY0" fmla="*/ 163543 h 163542"/>
                <a:gd name="connsiteX1" fmla="*/ 241964 w 257392"/>
                <a:gd name="connsiteY1" fmla="*/ 157371 h 163542"/>
                <a:gd name="connsiteX2" fmla="*/ 140135 w 257392"/>
                <a:gd name="connsiteY2" fmla="*/ 58629 h 163542"/>
                <a:gd name="connsiteX3" fmla="*/ 4364 w 257392"/>
                <a:gd name="connsiteY3" fmla="*/ 12343 h 163542"/>
                <a:gd name="connsiteX4" fmla="*/ 1278 w 257392"/>
                <a:gd name="connsiteY4" fmla="*/ 3086 h 163542"/>
                <a:gd name="connsiteX5" fmla="*/ 10535 w 257392"/>
                <a:gd name="connsiteY5" fmla="*/ 0 h 163542"/>
                <a:gd name="connsiteX6" fmla="*/ 146307 w 257392"/>
                <a:gd name="connsiteY6" fmla="*/ 46286 h 163542"/>
                <a:gd name="connsiteX7" fmla="*/ 257392 w 257392"/>
                <a:gd name="connsiteY7" fmla="*/ 154286 h 163542"/>
                <a:gd name="connsiteX8" fmla="*/ 248135 w 257392"/>
                <a:gd name="connsiteY8" fmla="*/ 163543 h 163542"/>
                <a:gd name="connsiteX9" fmla="*/ 248135 w 257392"/>
                <a:gd name="connsiteY9" fmla="*/ 163543 h 163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7392" h="163542">
                  <a:moveTo>
                    <a:pt x="248135" y="163543"/>
                  </a:moveTo>
                  <a:cubicBezTo>
                    <a:pt x="245049" y="163543"/>
                    <a:pt x="241964" y="160457"/>
                    <a:pt x="241964" y="157371"/>
                  </a:cubicBezTo>
                  <a:cubicBezTo>
                    <a:pt x="232707" y="98743"/>
                    <a:pt x="192592" y="74057"/>
                    <a:pt x="140135" y="58629"/>
                  </a:cubicBezTo>
                  <a:cubicBezTo>
                    <a:pt x="72249" y="37029"/>
                    <a:pt x="4364" y="12343"/>
                    <a:pt x="4364" y="12343"/>
                  </a:cubicBezTo>
                  <a:cubicBezTo>
                    <a:pt x="1278" y="12343"/>
                    <a:pt x="-1808" y="6171"/>
                    <a:pt x="1278" y="3086"/>
                  </a:cubicBezTo>
                  <a:cubicBezTo>
                    <a:pt x="1278" y="0"/>
                    <a:pt x="4364" y="0"/>
                    <a:pt x="10535" y="0"/>
                  </a:cubicBezTo>
                  <a:cubicBezTo>
                    <a:pt x="10535" y="0"/>
                    <a:pt x="78421" y="24686"/>
                    <a:pt x="146307" y="46286"/>
                  </a:cubicBezTo>
                  <a:cubicBezTo>
                    <a:pt x="198764" y="61714"/>
                    <a:pt x="245049" y="86400"/>
                    <a:pt x="257392" y="154286"/>
                  </a:cubicBezTo>
                  <a:cubicBezTo>
                    <a:pt x="254307" y="160457"/>
                    <a:pt x="251221" y="163543"/>
                    <a:pt x="248135" y="163543"/>
                  </a:cubicBezTo>
                  <a:cubicBezTo>
                    <a:pt x="248135" y="163543"/>
                    <a:pt x="248135" y="163543"/>
                    <a:pt x="248135" y="163543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7" name="任意多边形: 形状 316">
              <a:extLst>
                <a:ext uri="{FF2B5EF4-FFF2-40B4-BE49-F238E27FC236}">
                  <a16:creationId xmlns:a16="http://schemas.microsoft.com/office/drawing/2014/main" id="{E5DE32B0-CA38-4315-A4FD-0AC202EC24FA}"/>
                </a:ext>
              </a:extLst>
            </p:cNvPr>
            <p:cNvSpPr/>
            <p:nvPr/>
          </p:nvSpPr>
          <p:spPr>
            <a:xfrm>
              <a:off x="8264800" y="3639380"/>
              <a:ext cx="1001680" cy="1741075"/>
            </a:xfrm>
            <a:custGeom>
              <a:avLst/>
              <a:gdLst>
                <a:gd name="connsiteX0" fmla="*/ 963312 w 1001680"/>
                <a:gd name="connsiteY0" fmla="*/ 930745 h 1741075"/>
                <a:gd name="connsiteX1" fmla="*/ 432569 w 1001680"/>
                <a:gd name="connsiteY1" fmla="*/ 288916 h 1741075"/>
                <a:gd name="connsiteX2" fmla="*/ 574511 w 1001680"/>
                <a:gd name="connsiteY2" fmla="*/ 128459 h 1741075"/>
                <a:gd name="connsiteX3" fmla="*/ 525140 w 1001680"/>
                <a:gd name="connsiteY3" fmla="*/ 54402 h 1741075"/>
                <a:gd name="connsiteX4" fmla="*/ 481940 w 1001680"/>
                <a:gd name="connsiteY4" fmla="*/ 72916 h 1741075"/>
                <a:gd name="connsiteX5" fmla="*/ 481940 w 1001680"/>
                <a:gd name="connsiteY5" fmla="*/ 35887 h 1741075"/>
                <a:gd name="connsiteX6" fmla="*/ 426397 w 1001680"/>
                <a:gd name="connsiteY6" fmla="*/ 20459 h 1741075"/>
                <a:gd name="connsiteX7" fmla="*/ 389368 w 1001680"/>
                <a:gd name="connsiteY7" fmla="*/ 85259 h 1741075"/>
                <a:gd name="connsiteX8" fmla="*/ 377026 w 1001680"/>
                <a:gd name="connsiteY8" fmla="*/ 66745 h 1741075"/>
                <a:gd name="connsiteX9" fmla="*/ 290626 w 1001680"/>
                <a:gd name="connsiteY9" fmla="*/ 1945 h 1741075"/>
                <a:gd name="connsiteX10" fmla="*/ 296797 w 1001680"/>
                <a:gd name="connsiteY10" fmla="*/ 143887 h 1741075"/>
                <a:gd name="connsiteX11" fmla="*/ 284454 w 1001680"/>
                <a:gd name="connsiteY11" fmla="*/ 143887 h 1741075"/>
                <a:gd name="connsiteX12" fmla="*/ 275197 w 1001680"/>
                <a:gd name="connsiteY12" fmla="*/ 202516 h 1741075"/>
                <a:gd name="connsiteX13" fmla="*/ 343083 w 1001680"/>
                <a:gd name="connsiteY13" fmla="*/ 288916 h 1741075"/>
                <a:gd name="connsiteX14" fmla="*/ 349255 w 1001680"/>
                <a:gd name="connsiteY14" fmla="*/ 288916 h 1741075"/>
                <a:gd name="connsiteX15" fmla="*/ 86969 w 1001680"/>
                <a:gd name="connsiteY15" fmla="*/ 816573 h 1741075"/>
                <a:gd name="connsiteX16" fmla="*/ 65368 w 1001680"/>
                <a:gd name="connsiteY16" fmla="*/ 1591087 h 1741075"/>
                <a:gd name="connsiteX17" fmla="*/ 775083 w 1001680"/>
                <a:gd name="connsiteY17" fmla="*/ 1692916 h 1741075"/>
                <a:gd name="connsiteX18" fmla="*/ 963312 w 1001680"/>
                <a:gd name="connsiteY18" fmla="*/ 930745 h 1741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01680" h="1741075">
                  <a:moveTo>
                    <a:pt x="963312" y="930745"/>
                  </a:moveTo>
                  <a:cubicBezTo>
                    <a:pt x="889255" y="656116"/>
                    <a:pt x="663997" y="443202"/>
                    <a:pt x="432569" y="288916"/>
                  </a:cubicBezTo>
                  <a:cubicBezTo>
                    <a:pt x="475769" y="282745"/>
                    <a:pt x="559083" y="180916"/>
                    <a:pt x="574511" y="128459"/>
                  </a:cubicBezTo>
                  <a:cubicBezTo>
                    <a:pt x="583769" y="94516"/>
                    <a:pt x="571426" y="48230"/>
                    <a:pt x="525140" y="54402"/>
                  </a:cubicBezTo>
                  <a:cubicBezTo>
                    <a:pt x="509712" y="57487"/>
                    <a:pt x="497368" y="63659"/>
                    <a:pt x="481940" y="72916"/>
                  </a:cubicBezTo>
                  <a:cubicBezTo>
                    <a:pt x="481940" y="60573"/>
                    <a:pt x="481940" y="48230"/>
                    <a:pt x="481940" y="35887"/>
                  </a:cubicBezTo>
                  <a:cubicBezTo>
                    <a:pt x="478854" y="8116"/>
                    <a:pt x="441826" y="1945"/>
                    <a:pt x="426397" y="20459"/>
                  </a:cubicBezTo>
                  <a:cubicBezTo>
                    <a:pt x="410969" y="42059"/>
                    <a:pt x="398626" y="63659"/>
                    <a:pt x="389368" y="85259"/>
                  </a:cubicBezTo>
                  <a:cubicBezTo>
                    <a:pt x="386283" y="79087"/>
                    <a:pt x="383197" y="72916"/>
                    <a:pt x="377026" y="66745"/>
                  </a:cubicBezTo>
                  <a:cubicBezTo>
                    <a:pt x="358511" y="38973"/>
                    <a:pt x="330740" y="-10398"/>
                    <a:pt x="290626" y="1945"/>
                  </a:cubicBezTo>
                  <a:cubicBezTo>
                    <a:pt x="222740" y="20459"/>
                    <a:pt x="256683" y="88345"/>
                    <a:pt x="296797" y="143887"/>
                  </a:cubicBezTo>
                  <a:cubicBezTo>
                    <a:pt x="290626" y="143887"/>
                    <a:pt x="287540" y="143887"/>
                    <a:pt x="284454" y="143887"/>
                  </a:cubicBezTo>
                  <a:cubicBezTo>
                    <a:pt x="253597" y="146973"/>
                    <a:pt x="256683" y="180916"/>
                    <a:pt x="275197" y="202516"/>
                  </a:cubicBezTo>
                  <a:cubicBezTo>
                    <a:pt x="296797" y="224116"/>
                    <a:pt x="324569" y="279659"/>
                    <a:pt x="343083" y="288916"/>
                  </a:cubicBezTo>
                  <a:cubicBezTo>
                    <a:pt x="346169" y="288916"/>
                    <a:pt x="346169" y="288916"/>
                    <a:pt x="349255" y="288916"/>
                  </a:cubicBezTo>
                  <a:cubicBezTo>
                    <a:pt x="244340" y="455544"/>
                    <a:pt x="154854" y="631430"/>
                    <a:pt x="86969" y="816573"/>
                  </a:cubicBezTo>
                  <a:cubicBezTo>
                    <a:pt x="34511" y="961602"/>
                    <a:pt x="-67317" y="1396687"/>
                    <a:pt x="65368" y="1591087"/>
                  </a:cubicBezTo>
                  <a:cubicBezTo>
                    <a:pt x="191883" y="1776230"/>
                    <a:pt x="630054" y="1763887"/>
                    <a:pt x="775083" y="1692916"/>
                  </a:cubicBezTo>
                  <a:cubicBezTo>
                    <a:pt x="1037368" y="1557145"/>
                    <a:pt x="1028112" y="1168344"/>
                    <a:pt x="963312" y="930745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8" name="图形 1">
              <a:extLst>
                <a:ext uri="{FF2B5EF4-FFF2-40B4-BE49-F238E27FC236}">
                  <a16:creationId xmlns:a16="http://schemas.microsoft.com/office/drawing/2014/main" id="{89240D87-D30F-4B24-8EC9-55DDD15DD02D}"/>
                </a:ext>
              </a:extLst>
            </p:cNvPr>
            <p:cNvGrpSpPr/>
            <p:nvPr/>
          </p:nvGrpSpPr>
          <p:grpSpPr>
            <a:xfrm>
              <a:off x="8520858" y="3922125"/>
              <a:ext cx="176511" cy="428914"/>
              <a:chOff x="8520858" y="3922125"/>
              <a:chExt cx="176511" cy="428914"/>
            </a:xfrm>
            <a:solidFill>
              <a:srgbClr val="38343B"/>
            </a:solidFill>
          </p:grpSpPr>
          <p:sp>
            <p:nvSpPr>
              <p:cNvPr id="319" name="任意多边形: 形状 318">
                <a:extLst>
                  <a:ext uri="{FF2B5EF4-FFF2-40B4-BE49-F238E27FC236}">
                    <a16:creationId xmlns:a16="http://schemas.microsoft.com/office/drawing/2014/main" id="{30B7F3AB-2841-447F-A013-0CD92CB9B985}"/>
                  </a:ext>
                </a:extLst>
              </p:cNvPr>
              <p:cNvSpPr/>
              <p:nvPr/>
            </p:nvSpPr>
            <p:spPr>
              <a:xfrm>
                <a:off x="8520858" y="3922125"/>
                <a:ext cx="176511" cy="428914"/>
              </a:xfrm>
              <a:custGeom>
                <a:avLst/>
                <a:gdLst>
                  <a:gd name="connsiteX0" fmla="*/ 19139 w 176511"/>
                  <a:gd name="connsiteY0" fmla="*/ 428914 h 428914"/>
                  <a:gd name="connsiteX1" fmla="*/ 12968 w 176511"/>
                  <a:gd name="connsiteY1" fmla="*/ 425829 h 428914"/>
                  <a:gd name="connsiteX2" fmla="*/ 87025 w 176511"/>
                  <a:gd name="connsiteY2" fmla="*/ 3086 h 428914"/>
                  <a:gd name="connsiteX3" fmla="*/ 90111 w 176511"/>
                  <a:gd name="connsiteY3" fmla="*/ 0 h 428914"/>
                  <a:gd name="connsiteX4" fmla="*/ 93197 w 176511"/>
                  <a:gd name="connsiteY4" fmla="*/ 0 h 428914"/>
                  <a:gd name="connsiteX5" fmla="*/ 170340 w 176511"/>
                  <a:gd name="connsiteY5" fmla="*/ 0 h 428914"/>
                  <a:gd name="connsiteX6" fmla="*/ 176511 w 176511"/>
                  <a:gd name="connsiteY6" fmla="*/ 3086 h 428914"/>
                  <a:gd name="connsiteX7" fmla="*/ 173425 w 176511"/>
                  <a:gd name="connsiteY7" fmla="*/ 9257 h 428914"/>
                  <a:gd name="connsiteX8" fmla="*/ 93197 w 176511"/>
                  <a:gd name="connsiteY8" fmla="*/ 9257 h 428914"/>
                  <a:gd name="connsiteX9" fmla="*/ 22225 w 176511"/>
                  <a:gd name="connsiteY9" fmla="*/ 419657 h 428914"/>
                  <a:gd name="connsiteX10" fmla="*/ 19139 w 176511"/>
                  <a:gd name="connsiteY10" fmla="*/ 428914 h 428914"/>
                  <a:gd name="connsiteX11" fmla="*/ 19139 w 176511"/>
                  <a:gd name="connsiteY11" fmla="*/ 428914 h 428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6511" h="428914">
                    <a:moveTo>
                      <a:pt x="19139" y="428914"/>
                    </a:moveTo>
                    <a:cubicBezTo>
                      <a:pt x="16054" y="428914"/>
                      <a:pt x="12968" y="425829"/>
                      <a:pt x="12968" y="425829"/>
                    </a:cubicBezTo>
                    <a:cubicBezTo>
                      <a:pt x="-39489" y="262286"/>
                      <a:pt x="83940" y="12343"/>
                      <a:pt x="87025" y="3086"/>
                    </a:cubicBezTo>
                    <a:lnTo>
                      <a:pt x="90111" y="0"/>
                    </a:lnTo>
                    <a:lnTo>
                      <a:pt x="93197" y="0"/>
                    </a:lnTo>
                    <a:cubicBezTo>
                      <a:pt x="93197" y="0"/>
                      <a:pt x="142568" y="9257"/>
                      <a:pt x="170340" y="0"/>
                    </a:cubicBezTo>
                    <a:cubicBezTo>
                      <a:pt x="173425" y="0"/>
                      <a:pt x="176511" y="0"/>
                      <a:pt x="176511" y="3086"/>
                    </a:cubicBezTo>
                    <a:cubicBezTo>
                      <a:pt x="176511" y="6171"/>
                      <a:pt x="176511" y="9257"/>
                      <a:pt x="173425" y="9257"/>
                    </a:cubicBezTo>
                    <a:cubicBezTo>
                      <a:pt x="145654" y="18514"/>
                      <a:pt x="108625" y="12343"/>
                      <a:pt x="93197" y="9257"/>
                    </a:cubicBezTo>
                    <a:cubicBezTo>
                      <a:pt x="77768" y="40114"/>
                      <a:pt x="-27146" y="271543"/>
                      <a:pt x="22225" y="419657"/>
                    </a:cubicBezTo>
                    <a:cubicBezTo>
                      <a:pt x="25311" y="425829"/>
                      <a:pt x="25311" y="428914"/>
                      <a:pt x="19139" y="428914"/>
                    </a:cubicBezTo>
                    <a:cubicBezTo>
                      <a:pt x="22225" y="428914"/>
                      <a:pt x="19139" y="428914"/>
                      <a:pt x="19139" y="42891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0" name="任意多边形: 形状 319">
                <a:extLst>
                  <a:ext uri="{FF2B5EF4-FFF2-40B4-BE49-F238E27FC236}">
                    <a16:creationId xmlns:a16="http://schemas.microsoft.com/office/drawing/2014/main" id="{007E70D6-6DA2-46C4-B37A-96EF2A91E470}"/>
                  </a:ext>
                </a:extLst>
              </p:cNvPr>
              <p:cNvSpPr/>
              <p:nvPr/>
            </p:nvSpPr>
            <p:spPr>
              <a:xfrm>
                <a:off x="8599214" y="3922125"/>
                <a:ext cx="28554" cy="259200"/>
              </a:xfrm>
              <a:custGeom>
                <a:avLst/>
                <a:gdLst>
                  <a:gd name="connsiteX0" fmla="*/ 24097 w 28554"/>
                  <a:gd name="connsiteY0" fmla="*/ 259200 h 259200"/>
                  <a:gd name="connsiteX1" fmla="*/ 17926 w 28554"/>
                  <a:gd name="connsiteY1" fmla="*/ 256114 h 259200"/>
                  <a:gd name="connsiteX2" fmla="*/ 8669 w 28554"/>
                  <a:gd name="connsiteY2" fmla="*/ 6171 h 259200"/>
                  <a:gd name="connsiteX3" fmla="*/ 14840 w 28554"/>
                  <a:gd name="connsiteY3" fmla="*/ 0 h 259200"/>
                  <a:gd name="connsiteX4" fmla="*/ 21012 w 28554"/>
                  <a:gd name="connsiteY4" fmla="*/ 6171 h 259200"/>
                  <a:gd name="connsiteX5" fmla="*/ 27183 w 28554"/>
                  <a:gd name="connsiteY5" fmla="*/ 249943 h 259200"/>
                  <a:gd name="connsiteX6" fmla="*/ 27183 w 28554"/>
                  <a:gd name="connsiteY6" fmla="*/ 259200 h 259200"/>
                  <a:gd name="connsiteX7" fmla="*/ 24097 w 28554"/>
                  <a:gd name="connsiteY7" fmla="*/ 259200 h 259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54" h="259200">
                    <a:moveTo>
                      <a:pt x="24097" y="259200"/>
                    </a:moveTo>
                    <a:cubicBezTo>
                      <a:pt x="21012" y="259200"/>
                      <a:pt x="21012" y="259200"/>
                      <a:pt x="17926" y="256114"/>
                    </a:cubicBezTo>
                    <a:cubicBezTo>
                      <a:pt x="-16017" y="206743"/>
                      <a:pt x="8669" y="12343"/>
                      <a:pt x="8669" y="6171"/>
                    </a:cubicBezTo>
                    <a:cubicBezTo>
                      <a:pt x="8669" y="3086"/>
                      <a:pt x="11755" y="0"/>
                      <a:pt x="14840" y="0"/>
                    </a:cubicBezTo>
                    <a:cubicBezTo>
                      <a:pt x="17926" y="0"/>
                      <a:pt x="21012" y="3086"/>
                      <a:pt x="21012" y="6171"/>
                    </a:cubicBezTo>
                    <a:cubicBezTo>
                      <a:pt x="21012" y="9257"/>
                      <a:pt x="-3674" y="203657"/>
                      <a:pt x="27183" y="249943"/>
                    </a:cubicBezTo>
                    <a:cubicBezTo>
                      <a:pt x="30269" y="253028"/>
                      <a:pt x="27183" y="256114"/>
                      <a:pt x="27183" y="259200"/>
                    </a:cubicBezTo>
                    <a:cubicBezTo>
                      <a:pt x="27183" y="259200"/>
                      <a:pt x="24097" y="259200"/>
                      <a:pt x="24097" y="2592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21" name="图形 1">
              <a:extLst>
                <a:ext uri="{FF2B5EF4-FFF2-40B4-BE49-F238E27FC236}">
                  <a16:creationId xmlns:a16="http://schemas.microsoft.com/office/drawing/2014/main" id="{89240D87-D30F-4B24-8EC9-55DDD15DD02D}"/>
                </a:ext>
              </a:extLst>
            </p:cNvPr>
            <p:cNvGrpSpPr/>
            <p:nvPr/>
          </p:nvGrpSpPr>
          <p:grpSpPr>
            <a:xfrm>
              <a:off x="6987314" y="3787494"/>
              <a:ext cx="1003785" cy="1741075"/>
              <a:chOff x="6987314" y="3787494"/>
              <a:chExt cx="1003785" cy="1741075"/>
            </a:xfrm>
          </p:grpSpPr>
          <p:sp>
            <p:nvSpPr>
              <p:cNvPr id="322" name="任意多边形: 形状 321">
                <a:extLst>
                  <a:ext uri="{FF2B5EF4-FFF2-40B4-BE49-F238E27FC236}">
                    <a16:creationId xmlns:a16="http://schemas.microsoft.com/office/drawing/2014/main" id="{B475E73D-5888-4266-B80E-F573230044E5}"/>
                  </a:ext>
                </a:extLst>
              </p:cNvPr>
              <p:cNvSpPr/>
              <p:nvPr/>
            </p:nvSpPr>
            <p:spPr>
              <a:xfrm>
                <a:off x="6987314" y="3787494"/>
                <a:ext cx="1003785" cy="1741075"/>
              </a:xfrm>
              <a:custGeom>
                <a:avLst/>
                <a:gdLst>
                  <a:gd name="connsiteX0" fmla="*/ 963312 w 1003785"/>
                  <a:gd name="connsiteY0" fmla="*/ 930745 h 1741075"/>
                  <a:gd name="connsiteX1" fmla="*/ 432568 w 1003785"/>
                  <a:gd name="connsiteY1" fmla="*/ 288916 h 1741075"/>
                  <a:gd name="connsiteX2" fmla="*/ 574512 w 1003785"/>
                  <a:gd name="connsiteY2" fmla="*/ 128459 h 1741075"/>
                  <a:gd name="connsiteX3" fmla="*/ 525140 w 1003785"/>
                  <a:gd name="connsiteY3" fmla="*/ 54402 h 1741075"/>
                  <a:gd name="connsiteX4" fmla="*/ 481940 w 1003785"/>
                  <a:gd name="connsiteY4" fmla="*/ 72916 h 1741075"/>
                  <a:gd name="connsiteX5" fmla="*/ 481940 w 1003785"/>
                  <a:gd name="connsiteY5" fmla="*/ 35888 h 1741075"/>
                  <a:gd name="connsiteX6" fmla="*/ 426397 w 1003785"/>
                  <a:gd name="connsiteY6" fmla="*/ 20459 h 1741075"/>
                  <a:gd name="connsiteX7" fmla="*/ 389369 w 1003785"/>
                  <a:gd name="connsiteY7" fmla="*/ 85259 h 1741075"/>
                  <a:gd name="connsiteX8" fmla="*/ 377026 w 1003785"/>
                  <a:gd name="connsiteY8" fmla="*/ 66745 h 1741075"/>
                  <a:gd name="connsiteX9" fmla="*/ 290626 w 1003785"/>
                  <a:gd name="connsiteY9" fmla="*/ 1944 h 1741075"/>
                  <a:gd name="connsiteX10" fmla="*/ 296797 w 1003785"/>
                  <a:gd name="connsiteY10" fmla="*/ 143888 h 1741075"/>
                  <a:gd name="connsiteX11" fmla="*/ 284455 w 1003785"/>
                  <a:gd name="connsiteY11" fmla="*/ 143888 h 1741075"/>
                  <a:gd name="connsiteX12" fmla="*/ 275197 w 1003785"/>
                  <a:gd name="connsiteY12" fmla="*/ 202516 h 1741075"/>
                  <a:gd name="connsiteX13" fmla="*/ 343083 w 1003785"/>
                  <a:gd name="connsiteY13" fmla="*/ 288916 h 1741075"/>
                  <a:gd name="connsiteX14" fmla="*/ 349254 w 1003785"/>
                  <a:gd name="connsiteY14" fmla="*/ 288916 h 1741075"/>
                  <a:gd name="connsiteX15" fmla="*/ 86969 w 1003785"/>
                  <a:gd name="connsiteY15" fmla="*/ 816573 h 1741075"/>
                  <a:gd name="connsiteX16" fmla="*/ 65369 w 1003785"/>
                  <a:gd name="connsiteY16" fmla="*/ 1591087 h 1741075"/>
                  <a:gd name="connsiteX17" fmla="*/ 775083 w 1003785"/>
                  <a:gd name="connsiteY17" fmla="*/ 1692916 h 1741075"/>
                  <a:gd name="connsiteX18" fmla="*/ 963312 w 1003785"/>
                  <a:gd name="connsiteY18" fmla="*/ 930745 h 1741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03785" h="1741075">
                    <a:moveTo>
                      <a:pt x="963312" y="930745"/>
                    </a:moveTo>
                    <a:cubicBezTo>
                      <a:pt x="889254" y="656116"/>
                      <a:pt x="663997" y="443202"/>
                      <a:pt x="432568" y="288916"/>
                    </a:cubicBezTo>
                    <a:cubicBezTo>
                      <a:pt x="475769" y="282745"/>
                      <a:pt x="559083" y="180916"/>
                      <a:pt x="574512" y="128459"/>
                    </a:cubicBezTo>
                    <a:cubicBezTo>
                      <a:pt x="583769" y="94516"/>
                      <a:pt x="571426" y="48230"/>
                      <a:pt x="525140" y="54402"/>
                    </a:cubicBezTo>
                    <a:cubicBezTo>
                      <a:pt x="509711" y="57487"/>
                      <a:pt x="497369" y="63659"/>
                      <a:pt x="481940" y="72916"/>
                    </a:cubicBezTo>
                    <a:cubicBezTo>
                      <a:pt x="481940" y="60573"/>
                      <a:pt x="481940" y="48230"/>
                      <a:pt x="481940" y="35888"/>
                    </a:cubicBezTo>
                    <a:cubicBezTo>
                      <a:pt x="478854" y="8116"/>
                      <a:pt x="441826" y="1944"/>
                      <a:pt x="426397" y="20459"/>
                    </a:cubicBezTo>
                    <a:cubicBezTo>
                      <a:pt x="410969" y="42059"/>
                      <a:pt x="398626" y="63659"/>
                      <a:pt x="389369" y="85259"/>
                    </a:cubicBezTo>
                    <a:cubicBezTo>
                      <a:pt x="386283" y="79087"/>
                      <a:pt x="383197" y="72916"/>
                      <a:pt x="377026" y="66745"/>
                    </a:cubicBezTo>
                    <a:cubicBezTo>
                      <a:pt x="358512" y="38973"/>
                      <a:pt x="330740" y="-10398"/>
                      <a:pt x="290626" y="1944"/>
                    </a:cubicBezTo>
                    <a:cubicBezTo>
                      <a:pt x="222740" y="20459"/>
                      <a:pt x="256683" y="88345"/>
                      <a:pt x="296797" y="143888"/>
                    </a:cubicBezTo>
                    <a:cubicBezTo>
                      <a:pt x="290626" y="143888"/>
                      <a:pt x="287540" y="143888"/>
                      <a:pt x="284455" y="143888"/>
                    </a:cubicBezTo>
                    <a:cubicBezTo>
                      <a:pt x="253597" y="146973"/>
                      <a:pt x="256683" y="180916"/>
                      <a:pt x="275197" y="202516"/>
                    </a:cubicBezTo>
                    <a:cubicBezTo>
                      <a:pt x="296797" y="224116"/>
                      <a:pt x="324568" y="279659"/>
                      <a:pt x="343083" y="288916"/>
                    </a:cubicBezTo>
                    <a:cubicBezTo>
                      <a:pt x="346169" y="288916"/>
                      <a:pt x="346169" y="288916"/>
                      <a:pt x="349254" y="288916"/>
                    </a:cubicBezTo>
                    <a:cubicBezTo>
                      <a:pt x="244340" y="455545"/>
                      <a:pt x="154854" y="631430"/>
                      <a:pt x="86969" y="816573"/>
                    </a:cubicBezTo>
                    <a:cubicBezTo>
                      <a:pt x="34512" y="961602"/>
                      <a:pt x="-67317" y="1396688"/>
                      <a:pt x="65369" y="1591087"/>
                    </a:cubicBezTo>
                    <a:cubicBezTo>
                      <a:pt x="191883" y="1776230"/>
                      <a:pt x="630055" y="1763888"/>
                      <a:pt x="775083" y="1692916"/>
                    </a:cubicBezTo>
                    <a:cubicBezTo>
                      <a:pt x="1040455" y="1557145"/>
                      <a:pt x="1031197" y="1171430"/>
                      <a:pt x="963312" y="930745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323" name="图形 1">
                <a:extLst>
                  <a:ext uri="{FF2B5EF4-FFF2-40B4-BE49-F238E27FC236}">
                    <a16:creationId xmlns:a16="http://schemas.microsoft.com/office/drawing/2014/main" id="{89240D87-D30F-4B24-8EC9-55DDD15DD02D}"/>
                  </a:ext>
                </a:extLst>
              </p:cNvPr>
              <p:cNvGrpSpPr/>
              <p:nvPr/>
            </p:nvGrpSpPr>
            <p:grpSpPr>
              <a:xfrm>
                <a:off x="7246458" y="4070239"/>
                <a:ext cx="176511" cy="432000"/>
                <a:chOff x="7246458" y="4070239"/>
                <a:chExt cx="176511" cy="432000"/>
              </a:xfrm>
              <a:solidFill>
                <a:srgbClr val="38343B"/>
              </a:solidFill>
            </p:grpSpPr>
            <p:sp>
              <p:nvSpPr>
                <p:cNvPr id="324" name="任意多边形: 形状 323">
                  <a:extLst>
                    <a:ext uri="{FF2B5EF4-FFF2-40B4-BE49-F238E27FC236}">
                      <a16:creationId xmlns:a16="http://schemas.microsoft.com/office/drawing/2014/main" id="{3703DBDD-4332-4CF6-9066-E37F98677438}"/>
                    </a:ext>
                  </a:extLst>
                </p:cNvPr>
                <p:cNvSpPr/>
                <p:nvPr/>
              </p:nvSpPr>
              <p:spPr>
                <a:xfrm>
                  <a:off x="7246458" y="4073325"/>
                  <a:ext cx="176511" cy="428914"/>
                </a:xfrm>
                <a:custGeom>
                  <a:avLst/>
                  <a:gdLst>
                    <a:gd name="connsiteX0" fmla="*/ 19139 w 176511"/>
                    <a:gd name="connsiteY0" fmla="*/ 428914 h 428914"/>
                    <a:gd name="connsiteX1" fmla="*/ 12968 w 176511"/>
                    <a:gd name="connsiteY1" fmla="*/ 425828 h 428914"/>
                    <a:gd name="connsiteX2" fmla="*/ 87025 w 176511"/>
                    <a:gd name="connsiteY2" fmla="*/ 3086 h 428914"/>
                    <a:gd name="connsiteX3" fmla="*/ 90111 w 176511"/>
                    <a:gd name="connsiteY3" fmla="*/ 0 h 428914"/>
                    <a:gd name="connsiteX4" fmla="*/ 93197 w 176511"/>
                    <a:gd name="connsiteY4" fmla="*/ 0 h 428914"/>
                    <a:gd name="connsiteX5" fmla="*/ 170340 w 176511"/>
                    <a:gd name="connsiteY5" fmla="*/ 0 h 428914"/>
                    <a:gd name="connsiteX6" fmla="*/ 176511 w 176511"/>
                    <a:gd name="connsiteY6" fmla="*/ 3086 h 428914"/>
                    <a:gd name="connsiteX7" fmla="*/ 173425 w 176511"/>
                    <a:gd name="connsiteY7" fmla="*/ 9257 h 428914"/>
                    <a:gd name="connsiteX8" fmla="*/ 93197 w 176511"/>
                    <a:gd name="connsiteY8" fmla="*/ 9257 h 428914"/>
                    <a:gd name="connsiteX9" fmla="*/ 22225 w 176511"/>
                    <a:gd name="connsiteY9" fmla="*/ 419657 h 428914"/>
                    <a:gd name="connsiteX10" fmla="*/ 19139 w 176511"/>
                    <a:gd name="connsiteY10" fmla="*/ 428914 h 428914"/>
                    <a:gd name="connsiteX11" fmla="*/ 19139 w 176511"/>
                    <a:gd name="connsiteY11" fmla="*/ 428914 h 428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6511" h="428914">
                      <a:moveTo>
                        <a:pt x="19139" y="428914"/>
                      </a:moveTo>
                      <a:cubicBezTo>
                        <a:pt x="16054" y="428914"/>
                        <a:pt x="12968" y="428914"/>
                        <a:pt x="12968" y="425828"/>
                      </a:cubicBezTo>
                      <a:cubicBezTo>
                        <a:pt x="-39489" y="262286"/>
                        <a:pt x="83940" y="12343"/>
                        <a:pt x="87025" y="3086"/>
                      </a:cubicBezTo>
                      <a:lnTo>
                        <a:pt x="90111" y="0"/>
                      </a:lnTo>
                      <a:lnTo>
                        <a:pt x="93197" y="0"/>
                      </a:lnTo>
                      <a:cubicBezTo>
                        <a:pt x="93197" y="0"/>
                        <a:pt x="142568" y="9257"/>
                        <a:pt x="170340" y="0"/>
                      </a:cubicBezTo>
                      <a:cubicBezTo>
                        <a:pt x="173425" y="0"/>
                        <a:pt x="176511" y="0"/>
                        <a:pt x="176511" y="3086"/>
                      </a:cubicBezTo>
                      <a:cubicBezTo>
                        <a:pt x="176511" y="6171"/>
                        <a:pt x="176511" y="9257"/>
                        <a:pt x="173425" y="9257"/>
                      </a:cubicBezTo>
                      <a:cubicBezTo>
                        <a:pt x="145654" y="18514"/>
                        <a:pt x="108625" y="12343"/>
                        <a:pt x="93197" y="9257"/>
                      </a:cubicBezTo>
                      <a:cubicBezTo>
                        <a:pt x="77768" y="40114"/>
                        <a:pt x="-27146" y="271543"/>
                        <a:pt x="22225" y="419657"/>
                      </a:cubicBezTo>
                      <a:cubicBezTo>
                        <a:pt x="25311" y="422743"/>
                        <a:pt x="22225" y="425828"/>
                        <a:pt x="19139" y="428914"/>
                      </a:cubicBezTo>
                      <a:cubicBezTo>
                        <a:pt x="19139" y="428914"/>
                        <a:pt x="19139" y="428914"/>
                        <a:pt x="19139" y="428914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5" name="任意多边形: 形状 324">
                  <a:extLst>
                    <a:ext uri="{FF2B5EF4-FFF2-40B4-BE49-F238E27FC236}">
                      <a16:creationId xmlns:a16="http://schemas.microsoft.com/office/drawing/2014/main" id="{60A16019-2825-4964-A6BE-EF88A882BF43}"/>
                    </a:ext>
                  </a:extLst>
                </p:cNvPr>
                <p:cNvSpPr/>
                <p:nvPr/>
              </p:nvSpPr>
              <p:spPr>
                <a:xfrm>
                  <a:off x="7321728" y="4070239"/>
                  <a:ext cx="28554" cy="259199"/>
                </a:xfrm>
                <a:custGeom>
                  <a:avLst/>
                  <a:gdLst>
                    <a:gd name="connsiteX0" fmla="*/ 24097 w 28554"/>
                    <a:gd name="connsiteY0" fmla="*/ 259200 h 259199"/>
                    <a:gd name="connsiteX1" fmla="*/ 17926 w 28554"/>
                    <a:gd name="connsiteY1" fmla="*/ 256114 h 259199"/>
                    <a:gd name="connsiteX2" fmla="*/ 8669 w 28554"/>
                    <a:gd name="connsiteY2" fmla="*/ 6171 h 259199"/>
                    <a:gd name="connsiteX3" fmla="*/ 14840 w 28554"/>
                    <a:gd name="connsiteY3" fmla="*/ 0 h 259199"/>
                    <a:gd name="connsiteX4" fmla="*/ 21011 w 28554"/>
                    <a:gd name="connsiteY4" fmla="*/ 6171 h 259199"/>
                    <a:gd name="connsiteX5" fmla="*/ 27183 w 28554"/>
                    <a:gd name="connsiteY5" fmla="*/ 249943 h 259199"/>
                    <a:gd name="connsiteX6" fmla="*/ 27183 w 28554"/>
                    <a:gd name="connsiteY6" fmla="*/ 259200 h 259199"/>
                    <a:gd name="connsiteX7" fmla="*/ 24097 w 28554"/>
                    <a:gd name="connsiteY7" fmla="*/ 259200 h 259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8554" h="259199">
                      <a:moveTo>
                        <a:pt x="24097" y="259200"/>
                      </a:moveTo>
                      <a:cubicBezTo>
                        <a:pt x="21011" y="259200"/>
                        <a:pt x="21011" y="259200"/>
                        <a:pt x="17926" y="256114"/>
                      </a:cubicBezTo>
                      <a:cubicBezTo>
                        <a:pt x="-16017" y="206743"/>
                        <a:pt x="8669" y="12343"/>
                        <a:pt x="8669" y="6171"/>
                      </a:cubicBezTo>
                      <a:cubicBezTo>
                        <a:pt x="8669" y="3086"/>
                        <a:pt x="11755" y="0"/>
                        <a:pt x="14840" y="0"/>
                      </a:cubicBezTo>
                      <a:cubicBezTo>
                        <a:pt x="17926" y="0"/>
                        <a:pt x="21011" y="3086"/>
                        <a:pt x="21011" y="6171"/>
                      </a:cubicBezTo>
                      <a:cubicBezTo>
                        <a:pt x="21011" y="9257"/>
                        <a:pt x="-3674" y="203657"/>
                        <a:pt x="27183" y="249943"/>
                      </a:cubicBezTo>
                      <a:cubicBezTo>
                        <a:pt x="30269" y="253028"/>
                        <a:pt x="27183" y="256114"/>
                        <a:pt x="27183" y="259200"/>
                      </a:cubicBezTo>
                      <a:cubicBezTo>
                        <a:pt x="27183" y="259200"/>
                        <a:pt x="27183" y="259200"/>
                        <a:pt x="24097" y="259200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326" name="图形 1">
              <a:extLst>
                <a:ext uri="{FF2B5EF4-FFF2-40B4-BE49-F238E27FC236}">
                  <a16:creationId xmlns:a16="http://schemas.microsoft.com/office/drawing/2014/main" id="{89240D87-D30F-4B24-8EC9-55DDD15DD02D}"/>
                </a:ext>
              </a:extLst>
            </p:cNvPr>
            <p:cNvGrpSpPr/>
            <p:nvPr/>
          </p:nvGrpSpPr>
          <p:grpSpPr>
            <a:xfrm>
              <a:off x="8656759" y="3835532"/>
              <a:ext cx="125081" cy="163735"/>
              <a:chOff x="8656759" y="3835532"/>
              <a:chExt cx="125081" cy="163735"/>
            </a:xfrm>
          </p:grpSpPr>
          <p:sp>
            <p:nvSpPr>
              <p:cNvPr id="327" name="任意多边形: 形状 326">
                <a:extLst>
                  <a:ext uri="{FF2B5EF4-FFF2-40B4-BE49-F238E27FC236}">
                    <a16:creationId xmlns:a16="http://schemas.microsoft.com/office/drawing/2014/main" id="{DFAFEB01-D940-4311-8476-0914C3AE968A}"/>
                  </a:ext>
                </a:extLst>
              </p:cNvPr>
              <p:cNvSpPr/>
              <p:nvPr/>
            </p:nvSpPr>
            <p:spPr>
              <a:xfrm>
                <a:off x="8669472" y="3838563"/>
                <a:ext cx="112367" cy="59127"/>
              </a:xfrm>
              <a:custGeom>
                <a:avLst/>
                <a:gdLst>
                  <a:gd name="connsiteX0" fmla="*/ 101954 w 112367"/>
                  <a:gd name="connsiteY0" fmla="*/ 6418 h 59127"/>
                  <a:gd name="connsiteX1" fmla="*/ 30982 w 112367"/>
                  <a:gd name="connsiteY1" fmla="*/ 3333 h 59127"/>
                  <a:gd name="connsiteX2" fmla="*/ 18639 w 112367"/>
                  <a:gd name="connsiteY2" fmla="*/ 3333 h 59127"/>
                  <a:gd name="connsiteX3" fmla="*/ 9382 w 112367"/>
                  <a:gd name="connsiteY3" fmla="*/ 9504 h 59127"/>
                  <a:gd name="connsiteX4" fmla="*/ 3211 w 112367"/>
                  <a:gd name="connsiteY4" fmla="*/ 46533 h 59127"/>
                  <a:gd name="connsiteX5" fmla="*/ 37154 w 112367"/>
                  <a:gd name="connsiteY5" fmla="*/ 58875 h 59127"/>
                  <a:gd name="connsiteX6" fmla="*/ 83440 w 112367"/>
                  <a:gd name="connsiteY6" fmla="*/ 55790 h 59127"/>
                  <a:gd name="connsiteX7" fmla="*/ 111211 w 112367"/>
                  <a:gd name="connsiteY7" fmla="*/ 40361 h 59127"/>
                  <a:gd name="connsiteX8" fmla="*/ 101954 w 112367"/>
                  <a:gd name="connsiteY8" fmla="*/ 6418 h 59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367" h="59127">
                    <a:moveTo>
                      <a:pt x="101954" y="6418"/>
                    </a:moveTo>
                    <a:cubicBezTo>
                      <a:pt x="80354" y="-5925"/>
                      <a:pt x="55668" y="3333"/>
                      <a:pt x="30982" y="3333"/>
                    </a:cubicBezTo>
                    <a:cubicBezTo>
                      <a:pt x="27897" y="3333"/>
                      <a:pt x="21725" y="247"/>
                      <a:pt x="18639" y="3333"/>
                    </a:cubicBezTo>
                    <a:cubicBezTo>
                      <a:pt x="15553" y="3333"/>
                      <a:pt x="12468" y="6418"/>
                      <a:pt x="9382" y="9504"/>
                    </a:cubicBezTo>
                    <a:cubicBezTo>
                      <a:pt x="125" y="18761"/>
                      <a:pt x="-2961" y="34190"/>
                      <a:pt x="3211" y="46533"/>
                    </a:cubicBezTo>
                    <a:cubicBezTo>
                      <a:pt x="9382" y="61961"/>
                      <a:pt x="27897" y="58875"/>
                      <a:pt x="37154" y="58875"/>
                    </a:cubicBezTo>
                    <a:cubicBezTo>
                      <a:pt x="52582" y="58875"/>
                      <a:pt x="68011" y="58875"/>
                      <a:pt x="83440" y="55790"/>
                    </a:cubicBezTo>
                    <a:cubicBezTo>
                      <a:pt x="92696" y="52704"/>
                      <a:pt x="108125" y="55790"/>
                      <a:pt x="111211" y="40361"/>
                    </a:cubicBezTo>
                    <a:cubicBezTo>
                      <a:pt x="114297" y="24933"/>
                      <a:pt x="111211" y="12590"/>
                      <a:pt x="101954" y="6418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8" name="任意多边形: 形状 327">
                <a:extLst>
                  <a:ext uri="{FF2B5EF4-FFF2-40B4-BE49-F238E27FC236}">
                    <a16:creationId xmlns:a16="http://schemas.microsoft.com/office/drawing/2014/main" id="{5CC9A7F6-8C06-4FC8-9920-2DC895E7DC45}"/>
                  </a:ext>
                </a:extLst>
              </p:cNvPr>
              <p:cNvSpPr/>
              <p:nvPr/>
            </p:nvSpPr>
            <p:spPr>
              <a:xfrm>
                <a:off x="8663301" y="3876672"/>
                <a:ext cx="112031" cy="64219"/>
              </a:xfrm>
              <a:custGeom>
                <a:avLst/>
                <a:gdLst>
                  <a:gd name="connsiteX0" fmla="*/ 101954 w 112031"/>
                  <a:gd name="connsiteY0" fmla="*/ 11510 h 64219"/>
                  <a:gd name="connsiteX1" fmla="*/ 24811 w 112031"/>
                  <a:gd name="connsiteY1" fmla="*/ 5339 h 64219"/>
                  <a:gd name="connsiteX2" fmla="*/ 18639 w 112031"/>
                  <a:gd name="connsiteY2" fmla="*/ 8424 h 64219"/>
                  <a:gd name="connsiteX3" fmla="*/ 9382 w 112031"/>
                  <a:gd name="connsiteY3" fmla="*/ 14596 h 64219"/>
                  <a:gd name="connsiteX4" fmla="*/ 3211 w 112031"/>
                  <a:gd name="connsiteY4" fmla="*/ 51624 h 64219"/>
                  <a:gd name="connsiteX5" fmla="*/ 37153 w 112031"/>
                  <a:gd name="connsiteY5" fmla="*/ 63967 h 64219"/>
                  <a:gd name="connsiteX6" fmla="*/ 83439 w 112031"/>
                  <a:gd name="connsiteY6" fmla="*/ 60882 h 64219"/>
                  <a:gd name="connsiteX7" fmla="*/ 111211 w 112031"/>
                  <a:gd name="connsiteY7" fmla="*/ 45453 h 64219"/>
                  <a:gd name="connsiteX8" fmla="*/ 101954 w 112031"/>
                  <a:gd name="connsiteY8" fmla="*/ 11510 h 64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031" h="64219">
                    <a:moveTo>
                      <a:pt x="101954" y="11510"/>
                    </a:moveTo>
                    <a:cubicBezTo>
                      <a:pt x="77268" y="-10090"/>
                      <a:pt x="49496" y="5339"/>
                      <a:pt x="24811" y="5339"/>
                    </a:cubicBezTo>
                    <a:cubicBezTo>
                      <a:pt x="21725" y="5339"/>
                      <a:pt x="21725" y="5339"/>
                      <a:pt x="18639" y="8424"/>
                    </a:cubicBezTo>
                    <a:cubicBezTo>
                      <a:pt x="15553" y="8424"/>
                      <a:pt x="12468" y="11510"/>
                      <a:pt x="9382" y="14596"/>
                    </a:cubicBezTo>
                    <a:cubicBezTo>
                      <a:pt x="125" y="23853"/>
                      <a:pt x="-2961" y="39282"/>
                      <a:pt x="3211" y="51624"/>
                    </a:cubicBezTo>
                    <a:cubicBezTo>
                      <a:pt x="9382" y="67053"/>
                      <a:pt x="27897" y="63967"/>
                      <a:pt x="37153" y="63967"/>
                    </a:cubicBezTo>
                    <a:cubicBezTo>
                      <a:pt x="52582" y="63967"/>
                      <a:pt x="68010" y="63967"/>
                      <a:pt x="83439" y="60882"/>
                    </a:cubicBezTo>
                    <a:cubicBezTo>
                      <a:pt x="92696" y="57796"/>
                      <a:pt x="108125" y="60882"/>
                      <a:pt x="111211" y="45453"/>
                    </a:cubicBezTo>
                    <a:cubicBezTo>
                      <a:pt x="114296" y="30024"/>
                      <a:pt x="108125" y="17681"/>
                      <a:pt x="101954" y="11510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9" name="任意多边形: 形状 328">
                <a:extLst>
                  <a:ext uri="{FF2B5EF4-FFF2-40B4-BE49-F238E27FC236}">
                    <a16:creationId xmlns:a16="http://schemas.microsoft.com/office/drawing/2014/main" id="{42202CD6-824C-4790-9877-C15CACD84F86}"/>
                  </a:ext>
                </a:extLst>
              </p:cNvPr>
              <p:cNvSpPr/>
              <p:nvPr/>
            </p:nvSpPr>
            <p:spPr>
              <a:xfrm>
                <a:off x="8671472" y="3917070"/>
                <a:ext cx="100078" cy="54425"/>
              </a:xfrm>
              <a:custGeom>
                <a:avLst/>
                <a:gdLst>
                  <a:gd name="connsiteX0" fmla="*/ 90696 w 100078"/>
                  <a:gd name="connsiteY0" fmla="*/ 11226 h 54425"/>
                  <a:gd name="connsiteX1" fmla="*/ 22811 w 100078"/>
                  <a:gd name="connsiteY1" fmla="*/ 5054 h 54425"/>
                  <a:gd name="connsiteX2" fmla="*/ 16639 w 100078"/>
                  <a:gd name="connsiteY2" fmla="*/ 8140 h 54425"/>
                  <a:gd name="connsiteX3" fmla="*/ 7382 w 100078"/>
                  <a:gd name="connsiteY3" fmla="*/ 11226 h 54425"/>
                  <a:gd name="connsiteX4" fmla="*/ 1211 w 100078"/>
                  <a:gd name="connsiteY4" fmla="*/ 42083 h 54425"/>
                  <a:gd name="connsiteX5" fmla="*/ 32068 w 100078"/>
                  <a:gd name="connsiteY5" fmla="*/ 54426 h 54425"/>
                  <a:gd name="connsiteX6" fmla="*/ 72182 w 100078"/>
                  <a:gd name="connsiteY6" fmla="*/ 54426 h 54425"/>
                  <a:gd name="connsiteX7" fmla="*/ 96868 w 100078"/>
                  <a:gd name="connsiteY7" fmla="*/ 42083 h 54425"/>
                  <a:gd name="connsiteX8" fmla="*/ 90696 w 100078"/>
                  <a:gd name="connsiteY8" fmla="*/ 11226 h 54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78" h="54425">
                    <a:moveTo>
                      <a:pt x="90696" y="11226"/>
                    </a:moveTo>
                    <a:cubicBezTo>
                      <a:pt x="69096" y="-7289"/>
                      <a:pt x="44410" y="1969"/>
                      <a:pt x="22811" y="5054"/>
                    </a:cubicBezTo>
                    <a:cubicBezTo>
                      <a:pt x="19725" y="5054"/>
                      <a:pt x="19725" y="5054"/>
                      <a:pt x="16639" y="8140"/>
                    </a:cubicBezTo>
                    <a:cubicBezTo>
                      <a:pt x="13553" y="8140"/>
                      <a:pt x="10468" y="11226"/>
                      <a:pt x="7382" y="11226"/>
                    </a:cubicBezTo>
                    <a:cubicBezTo>
                      <a:pt x="1211" y="17397"/>
                      <a:pt x="-1875" y="32826"/>
                      <a:pt x="1211" y="42083"/>
                    </a:cubicBezTo>
                    <a:cubicBezTo>
                      <a:pt x="7382" y="54426"/>
                      <a:pt x="22811" y="54426"/>
                      <a:pt x="32068" y="54426"/>
                    </a:cubicBezTo>
                    <a:cubicBezTo>
                      <a:pt x="44410" y="54426"/>
                      <a:pt x="59839" y="54426"/>
                      <a:pt x="72182" y="54426"/>
                    </a:cubicBezTo>
                    <a:cubicBezTo>
                      <a:pt x="81439" y="54426"/>
                      <a:pt x="93782" y="54426"/>
                      <a:pt x="96868" y="42083"/>
                    </a:cubicBezTo>
                    <a:cubicBezTo>
                      <a:pt x="103039" y="29740"/>
                      <a:pt x="99953" y="17397"/>
                      <a:pt x="90696" y="1122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0" name="任意多边形: 形状 329">
                <a:extLst>
                  <a:ext uri="{FF2B5EF4-FFF2-40B4-BE49-F238E27FC236}">
                    <a16:creationId xmlns:a16="http://schemas.microsoft.com/office/drawing/2014/main" id="{29CF1F08-B0A9-4E0B-91FE-AE6CF4FF85C6}"/>
                  </a:ext>
                </a:extLst>
              </p:cNvPr>
              <p:cNvSpPr/>
              <p:nvPr/>
            </p:nvSpPr>
            <p:spPr>
              <a:xfrm>
                <a:off x="8690919" y="3959485"/>
                <a:ext cx="74335" cy="39782"/>
              </a:xfrm>
              <a:custGeom>
                <a:avLst/>
                <a:gdLst>
                  <a:gd name="connsiteX0" fmla="*/ 65078 w 74335"/>
                  <a:gd name="connsiteY0" fmla="*/ 8926 h 39782"/>
                  <a:gd name="connsiteX1" fmla="*/ 15707 w 74335"/>
                  <a:gd name="connsiteY1" fmla="*/ 2754 h 39782"/>
                  <a:gd name="connsiteX2" fmla="*/ 12621 w 74335"/>
                  <a:gd name="connsiteY2" fmla="*/ 2754 h 39782"/>
                  <a:gd name="connsiteX3" fmla="*/ 6450 w 74335"/>
                  <a:gd name="connsiteY3" fmla="*/ 5840 h 39782"/>
                  <a:gd name="connsiteX4" fmla="*/ 3364 w 74335"/>
                  <a:gd name="connsiteY4" fmla="*/ 30525 h 39782"/>
                  <a:gd name="connsiteX5" fmla="*/ 24964 w 74335"/>
                  <a:gd name="connsiteY5" fmla="*/ 39783 h 39782"/>
                  <a:gd name="connsiteX6" fmla="*/ 55821 w 74335"/>
                  <a:gd name="connsiteY6" fmla="*/ 39783 h 39782"/>
                  <a:gd name="connsiteX7" fmla="*/ 74335 w 74335"/>
                  <a:gd name="connsiteY7" fmla="*/ 30525 h 39782"/>
                  <a:gd name="connsiteX8" fmla="*/ 65078 w 74335"/>
                  <a:gd name="connsiteY8" fmla="*/ 8926 h 39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335" h="39782">
                    <a:moveTo>
                      <a:pt x="65078" y="8926"/>
                    </a:moveTo>
                    <a:cubicBezTo>
                      <a:pt x="49650" y="-6503"/>
                      <a:pt x="31136" y="2754"/>
                      <a:pt x="15707" y="2754"/>
                    </a:cubicBezTo>
                    <a:cubicBezTo>
                      <a:pt x="15707" y="2754"/>
                      <a:pt x="12621" y="2754"/>
                      <a:pt x="12621" y="2754"/>
                    </a:cubicBezTo>
                    <a:cubicBezTo>
                      <a:pt x="9535" y="2754"/>
                      <a:pt x="6450" y="2754"/>
                      <a:pt x="6450" y="5840"/>
                    </a:cubicBezTo>
                    <a:cubicBezTo>
                      <a:pt x="278" y="12011"/>
                      <a:pt x="-2808" y="21268"/>
                      <a:pt x="3364" y="30525"/>
                    </a:cubicBezTo>
                    <a:cubicBezTo>
                      <a:pt x="9535" y="39783"/>
                      <a:pt x="18792" y="39783"/>
                      <a:pt x="24964" y="39783"/>
                    </a:cubicBezTo>
                    <a:cubicBezTo>
                      <a:pt x="34221" y="39783"/>
                      <a:pt x="43478" y="39783"/>
                      <a:pt x="55821" y="39783"/>
                    </a:cubicBezTo>
                    <a:cubicBezTo>
                      <a:pt x="61993" y="39783"/>
                      <a:pt x="71249" y="39783"/>
                      <a:pt x="74335" y="30525"/>
                    </a:cubicBezTo>
                    <a:cubicBezTo>
                      <a:pt x="74335" y="21268"/>
                      <a:pt x="71249" y="12011"/>
                      <a:pt x="65078" y="892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1" name="任意多边形: 形状 330">
                <a:extLst>
                  <a:ext uri="{FF2B5EF4-FFF2-40B4-BE49-F238E27FC236}">
                    <a16:creationId xmlns:a16="http://schemas.microsoft.com/office/drawing/2014/main" id="{32BAA46C-C75C-413F-B652-464DD0F85172}"/>
                  </a:ext>
                </a:extLst>
              </p:cNvPr>
              <p:cNvSpPr/>
              <p:nvPr/>
            </p:nvSpPr>
            <p:spPr>
              <a:xfrm>
                <a:off x="8656759" y="3835532"/>
                <a:ext cx="120837" cy="111278"/>
              </a:xfrm>
              <a:custGeom>
                <a:avLst/>
                <a:gdLst>
                  <a:gd name="connsiteX0" fmla="*/ 46781 w 120837"/>
                  <a:gd name="connsiteY0" fmla="*/ 105107 h 111278"/>
                  <a:gd name="connsiteX1" fmla="*/ 495 w 120837"/>
                  <a:gd name="connsiteY1" fmla="*/ 83507 h 111278"/>
                  <a:gd name="connsiteX2" fmla="*/ 9753 w 120837"/>
                  <a:gd name="connsiteY2" fmla="*/ 46479 h 111278"/>
                  <a:gd name="connsiteX3" fmla="*/ 6667 w 120837"/>
                  <a:gd name="connsiteY3" fmla="*/ 34136 h 111278"/>
                  <a:gd name="connsiteX4" fmla="*/ 9753 w 120837"/>
                  <a:gd name="connsiteY4" fmla="*/ 15621 h 111278"/>
                  <a:gd name="connsiteX5" fmla="*/ 86895 w 120837"/>
                  <a:gd name="connsiteY5" fmla="*/ 193 h 111278"/>
                  <a:gd name="connsiteX6" fmla="*/ 93067 w 120837"/>
                  <a:gd name="connsiteY6" fmla="*/ 6364 h 111278"/>
                  <a:gd name="connsiteX7" fmla="*/ 86895 w 120837"/>
                  <a:gd name="connsiteY7" fmla="*/ 12536 h 111278"/>
                  <a:gd name="connsiteX8" fmla="*/ 19010 w 120837"/>
                  <a:gd name="connsiteY8" fmla="*/ 24879 h 111278"/>
                  <a:gd name="connsiteX9" fmla="*/ 15924 w 120837"/>
                  <a:gd name="connsiteY9" fmla="*/ 34136 h 111278"/>
                  <a:gd name="connsiteX10" fmla="*/ 105409 w 120837"/>
                  <a:gd name="connsiteY10" fmla="*/ 49564 h 111278"/>
                  <a:gd name="connsiteX11" fmla="*/ 114667 w 120837"/>
                  <a:gd name="connsiteY11" fmla="*/ 52650 h 111278"/>
                  <a:gd name="connsiteX12" fmla="*/ 120838 w 120837"/>
                  <a:gd name="connsiteY12" fmla="*/ 74250 h 111278"/>
                  <a:gd name="connsiteX13" fmla="*/ 49867 w 120837"/>
                  <a:gd name="connsiteY13" fmla="*/ 111279 h 111278"/>
                  <a:gd name="connsiteX14" fmla="*/ 46781 w 120837"/>
                  <a:gd name="connsiteY14" fmla="*/ 105107 h 111278"/>
                  <a:gd name="connsiteX15" fmla="*/ 15924 w 120837"/>
                  <a:gd name="connsiteY15" fmla="*/ 55736 h 111278"/>
                  <a:gd name="connsiteX16" fmla="*/ 9753 w 120837"/>
                  <a:gd name="connsiteY16" fmla="*/ 80422 h 111278"/>
                  <a:gd name="connsiteX17" fmla="*/ 49867 w 120837"/>
                  <a:gd name="connsiteY17" fmla="*/ 92764 h 111278"/>
                  <a:gd name="connsiteX18" fmla="*/ 108495 w 120837"/>
                  <a:gd name="connsiteY18" fmla="*/ 68079 h 111278"/>
                  <a:gd name="connsiteX19" fmla="*/ 105409 w 120837"/>
                  <a:gd name="connsiteY19" fmla="*/ 55736 h 111278"/>
                  <a:gd name="connsiteX20" fmla="*/ 15924 w 120837"/>
                  <a:gd name="connsiteY20" fmla="*/ 55736 h 111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20837" h="111278">
                    <a:moveTo>
                      <a:pt x="46781" y="105107"/>
                    </a:moveTo>
                    <a:cubicBezTo>
                      <a:pt x="22095" y="105107"/>
                      <a:pt x="3581" y="102022"/>
                      <a:pt x="495" y="83507"/>
                    </a:cubicBezTo>
                    <a:cubicBezTo>
                      <a:pt x="-2591" y="68079"/>
                      <a:pt x="9753" y="49564"/>
                      <a:pt x="9753" y="46479"/>
                    </a:cubicBezTo>
                    <a:cubicBezTo>
                      <a:pt x="6667" y="43393"/>
                      <a:pt x="6667" y="40307"/>
                      <a:pt x="6667" y="34136"/>
                    </a:cubicBezTo>
                    <a:cubicBezTo>
                      <a:pt x="3581" y="27964"/>
                      <a:pt x="6667" y="18707"/>
                      <a:pt x="9753" y="15621"/>
                    </a:cubicBezTo>
                    <a:cubicBezTo>
                      <a:pt x="25181" y="-2893"/>
                      <a:pt x="80724" y="193"/>
                      <a:pt x="86895" y="193"/>
                    </a:cubicBezTo>
                    <a:cubicBezTo>
                      <a:pt x="89981" y="193"/>
                      <a:pt x="93067" y="3279"/>
                      <a:pt x="93067" y="6364"/>
                    </a:cubicBezTo>
                    <a:cubicBezTo>
                      <a:pt x="93067" y="9450"/>
                      <a:pt x="89981" y="12536"/>
                      <a:pt x="86895" y="12536"/>
                    </a:cubicBezTo>
                    <a:cubicBezTo>
                      <a:pt x="65295" y="12536"/>
                      <a:pt x="31352" y="12536"/>
                      <a:pt x="19010" y="24879"/>
                    </a:cubicBezTo>
                    <a:cubicBezTo>
                      <a:pt x="15924" y="27964"/>
                      <a:pt x="15924" y="31050"/>
                      <a:pt x="15924" y="34136"/>
                    </a:cubicBezTo>
                    <a:cubicBezTo>
                      <a:pt x="19010" y="46479"/>
                      <a:pt x="22095" y="64993"/>
                      <a:pt x="105409" y="49564"/>
                    </a:cubicBezTo>
                    <a:cubicBezTo>
                      <a:pt x="105409" y="49564"/>
                      <a:pt x="111581" y="49564"/>
                      <a:pt x="114667" y="52650"/>
                    </a:cubicBezTo>
                    <a:cubicBezTo>
                      <a:pt x="120838" y="55736"/>
                      <a:pt x="120838" y="64993"/>
                      <a:pt x="120838" y="74250"/>
                    </a:cubicBezTo>
                    <a:cubicBezTo>
                      <a:pt x="120838" y="89679"/>
                      <a:pt x="108495" y="111279"/>
                      <a:pt x="49867" y="111279"/>
                    </a:cubicBezTo>
                    <a:cubicBezTo>
                      <a:pt x="49867" y="105107"/>
                      <a:pt x="46781" y="105107"/>
                      <a:pt x="46781" y="105107"/>
                    </a:cubicBezTo>
                    <a:close/>
                    <a:moveTo>
                      <a:pt x="15924" y="55736"/>
                    </a:moveTo>
                    <a:cubicBezTo>
                      <a:pt x="12838" y="61907"/>
                      <a:pt x="6667" y="71164"/>
                      <a:pt x="9753" y="80422"/>
                    </a:cubicBezTo>
                    <a:cubicBezTo>
                      <a:pt x="12838" y="89679"/>
                      <a:pt x="22095" y="92764"/>
                      <a:pt x="49867" y="92764"/>
                    </a:cubicBezTo>
                    <a:cubicBezTo>
                      <a:pt x="68381" y="92764"/>
                      <a:pt x="111581" y="89679"/>
                      <a:pt x="108495" y="68079"/>
                    </a:cubicBezTo>
                    <a:cubicBezTo>
                      <a:pt x="108495" y="58821"/>
                      <a:pt x="105409" y="58821"/>
                      <a:pt x="105409" y="55736"/>
                    </a:cubicBezTo>
                    <a:cubicBezTo>
                      <a:pt x="52952" y="68079"/>
                      <a:pt x="28267" y="64993"/>
                      <a:pt x="15924" y="5573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2" name="任意多边形: 形状 331">
                <a:extLst>
                  <a:ext uri="{FF2B5EF4-FFF2-40B4-BE49-F238E27FC236}">
                    <a16:creationId xmlns:a16="http://schemas.microsoft.com/office/drawing/2014/main" id="{75373DEB-0B6B-4AC0-9C1C-3D0B6BD20314}"/>
                  </a:ext>
                </a:extLst>
              </p:cNvPr>
              <p:cNvSpPr/>
              <p:nvPr/>
            </p:nvSpPr>
            <p:spPr>
              <a:xfrm>
                <a:off x="8664496" y="3922896"/>
                <a:ext cx="116186" cy="54771"/>
              </a:xfrm>
              <a:custGeom>
                <a:avLst/>
                <a:gdLst>
                  <a:gd name="connsiteX0" fmla="*/ 51386 w 116186"/>
                  <a:gd name="connsiteY0" fmla="*/ 54772 h 54771"/>
                  <a:gd name="connsiteX1" fmla="*/ 26701 w 116186"/>
                  <a:gd name="connsiteY1" fmla="*/ 51686 h 54771"/>
                  <a:gd name="connsiteX2" fmla="*/ 5101 w 116186"/>
                  <a:gd name="connsiteY2" fmla="*/ 36257 h 54771"/>
                  <a:gd name="connsiteX3" fmla="*/ 2015 w 116186"/>
                  <a:gd name="connsiteY3" fmla="*/ 5400 h 54771"/>
                  <a:gd name="connsiteX4" fmla="*/ 8187 w 116186"/>
                  <a:gd name="connsiteY4" fmla="*/ 2314 h 54771"/>
                  <a:gd name="connsiteX5" fmla="*/ 11272 w 116186"/>
                  <a:gd name="connsiteY5" fmla="*/ 8486 h 54771"/>
                  <a:gd name="connsiteX6" fmla="*/ 14358 w 116186"/>
                  <a:gd name="connsiteY6" fmla="*/ 30086 h 54771"/>
                  <a:gd name="connsiteX7" fmla="*/ 29786 w 116186"/>
                  <a:gd name="connsiteY7" fmla="*/ 39343 h 54771"/>
                  <a:gd name="connsiteX8" fmla="*/ 100758 w 116186"/>
                  <a:gd name="connsiteY8" fmla="*/ 33171 h 54771"/>
                  <a:gd name="connsiteX9" fmla="*/ 100758 w 116186"/>
                  <a:gd name="connsiteY9" fmla="*/ 30086 h 54771"/>
                  <a:gd name="connsiteX10" fmla="*/ 94587 w 116186"/>
                  <a:gd name="connsiteY10" fmla="*/ 11571 h 54771"/>
                  <a:gd name="connsiteX11" fmla="*/ 94587 w 116186"/>
                  <a:gd name="connsiteY11" fmla="*/ 2314 h 54771"/>
                  <a:gd name="connsiteX12" fmla="*/ 103844 w 116186"/>
                  <a:gd name="connsiteY12" fmla="*/ 2314 h 54771"/>
                  <a:gd name="connsiteX13" fmla="*/ 116187 w 116186"/>
                  <a:gd name="connsiteY13" fmla="*/ 33171 h 54771"/>
                  <a:gd name="connsiteX14" fmla="*/ 110015 w 116186"/>
                  <a:gd name="connsiteY14" fmla="*/ 48600 h 54771"/>
                  <a:gd name="connsiteX15" fmla="*/ 51386 w 116186"/>
                  <a:gd name="connsiteY15" fmla="*/ 54772 h 54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6186" h="54771">
                    <a:moveTo>
                      <a:pt x="51386" y="54772"/>
                    </a:moveTo>
                    <a:cubicBezTo>
                      <a:pt x="42130" y="54772"/>
                      <a:pt x="35958" y="54772"/>
                      <a:pt x="26701" y="51686"/>
                    </a:cubicBezTo>
                    <a:cubicBezTo>
                      <a:pt x="17444" y="48600"/>
                      <a:pt x="8187" y="45514"/>
                      <a:pt x="5101" y="36257"/>
                    </a:cubicBezTo>
                    <a:cubicBezTo>
                      <a:pt x="-4156" y="23914"/>
                      <a:pt x="2015" y="5400"/>
                      <a:pt x="2015" y="5400"/>
                    </a:cubicBezTo>
                    <a:cubicBezTo>
                      <a:pt x="2015" y="2314"/>
                      <a:pt x="5101" y="-771"/>
                      <a:pt x="8187" y="2314"/>
                    </a:cubicBezTo>
                    <a:cubicBezTo>
                      <a:pt x="11272" y="2314"/>
                      <a:pt x="14358" y="5400"/>
                      <a:pt x="11272" y="8486"/>
                    </a:cubicBezTo>
                    <a:cubicBezTo>
                      <a:pt x="11272" y="8486"/>
                      <a:pt x="8187" y="20828"/>
                      <a:pt x="14358" y="30086"/>
                    </a:cubicBezTo>
                    <a:cubicBezTo>
                      <a:pt x="17444" y="33171"/>
                      <a:pt x="20529" y="36257"/>
                      <a:pt x="29786" y="39343"/>
                    </a:cubicBezTo>
                    <a:cubicBezTo>
                      <a:pt x="60644" y="45514"/>
                      <a:pt x="91501" y="36257"/>
                      <a:pt x="100758" y="33171"/>
                    </a:cubicBezTo>
                    <a:cubicBezTo>
                      <a:pt x="100758" y="33171"/>
                      <a:pt x="100758" y="30086"/>
                      <a:pt x="100758" y="30086"/>
                    </a:cubicBezTo>
                    <a:cubicBezTo>
                      <a:pt x="100758" y="23914"/>
                      <a:pt x="97672" y="11571"/>
                      <a:pt x="94587" y="11571"/>
                    </a:cubicBezTo>
                    <a:cubicBezTo>
                      <a:pt x="91501" y="8486"/>
                      <a:pt x="91501" y="5400"/>
                      <a:pt x="94587" y="2314"/>
                    </a:cubicBezTo>
                    <a:cubicBezTo>
                      <a:pt x="97672" y="-771"/>
                      <a:pt x="100758" y="-771"/>
                      <a:pt x="103844" y="2314"/>
                    </a:cubicBezTo>
                    <a:cubicBezTo>
                      <a:pt x="110015" y="8486"/>
                      <a:pt x="116187" y="20828"/>
                      <a:pt x="116187" y="33171"/>
                    </a:cubicBezTo>
                    <a:cubicBezTo>
                      <a:pt x="116187" y="42429"/>
                      <a:pt x="113101" y="45514"/>
                      <a:pt x="110015" y="48600"/>
                    </a:cubicBezTo>
                    <a:cubicBezTo>
                      <a:pt x="97672" y="48600"/>
                      <a:pt x="76072" y="54772"/>
                      <a:pt x="51386" y="5477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33" name="图形 1">
              <a:extLst>
                <a:ext uri="{FF2B5EF4-FFF2-40B4-BE49-F238E27FC236}">
                  <a16:creationId xmlns:a16="http://schemas.microsoft.com/office/drawing/2014/main" id="{89240D87-D30F-4B24-8EC9-55DDD15DD02D}"/>
                </a:ext>
              </a:extLst>
            </p:cNvPr>
            <p:cNvGrpSpPr/>
            <p:nvPr/>
          </p:nvGrpSpPr>
          <p:grpSpPr>
            <a:xfrm>
              <a:off x="7299086" y="3971156"/>
              <a:ext cx="214583" cy="237940"/>
              <a:chOff x="7299086" y="3971156"/>
              <a:chExt cx="214583" cy="237940"/>
            </a:xfrm>
          </p:grpSpPr>
          <p:sp>
            <p:nvSpPr>
              <p:cNvPr id="334" name="任意多边形: 形状 333">
                <a:extLst>
                  <a:ext uri="{FF2B5EF4-FFF2-40B4-BE49-F238E27FC236}">
                    <a16:creationId xmlns:a16="http://schemas.microsoft.com/office/drawing/2014/main" id="{0D12554C-EDA7-4AD9-A14E-33E77EB257D6}"/>
                  </a:ext>
                </a:extLst>
              </p:cNvPr>
              <p:cNvSpPr/>
              <p:nvPr/>
            </p:nvSpPr>
            <p:spPr>
              <a:xfrm>
                <a:off x="7299086" y="4020867"/>
                <a:ext cx="182510" cy="183902"/>
              </a:xfrm>
              <a:custGeom>
                <a:avLst/>
                <a:gdLst>
                  <a:gd name="connsiteX0" fmla="*/ 182511 w 182510"/>
                  <a:gd name="connsiteY0" fmla="*/ 40114 h 183902"/>
                  <a:gd name="connsiteX1" fmla="*/ 62168 w 182510"/>
                  <a:gd name="connsiteY1" fmla="*/ 0 h 183902"/>
                  <a:gd name="connsiteX2" fmla="*/ 454 w 182510"/>
                  <a:gd name="connsiteY2" fmla="*/ 114172 h 183902"/>
                  <a:gd name="connsiteX3" fmla="*/ 68340 w 182510"/>
                  <a:gd name="connsiteY3" fmla="*/ 182057 h 183902"/>
                  <a:gd name="connsiteX4" fmla="*/ 108454 w 182510"/>
                  <a:gd name="connsiteY4" fmla="*/ 175886 h 183902"/>
                  <a:gd name="connsiteX5" fmla="*/ 120797 w 182510"/>
                  <a:gd name="connsiteY5" fmla="*/ 160457 h 183902"/>
                  <a:gd name="connsiteX6" fmla="*/ 136225 w 182510"/>
                  <a:gd name="connsiteY6" fmla="*/ 148114 h 183902"/>
                  <a:gd name="connsiteX7" fmla="*/ 139311 w 182510"/>
                  <a:gd name="connsiteY7" fmla="*/ 132686 h 183902"/>
                  <a:gd name="connsiteX8" fmla="*/ 151654 w 182510"/>
                  <a:gd name="connsiteY8" fmla="*/ 114172 h 183902"/>
                  <a:gd name="connsiteX9" fmla="*/ 160911 w 182510"/>
                  <a:gd name="connsiteY9" fmla="*/ 98743 h 183902"/>
                  <a:gd name="connsiteX10" fmla="*/ 160911 w 182510"/>
                  <a:gd name="connsiteY10" fmla="*/ 80229 h 183902"/>
                  <a:gd name="connsiteX11" fmla="*/ 182511 w 182510"/>
                  <a:gd name="connsiteY11" fmla="*/ 40114 h 183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2510" h="183902">
                    <a:moveTo>
                      <a:pt x="182511" y="40114"/>
                    </a:moveTo>
                    <a:cubicBezTo>
                      <a:pt x="182511" y="18514"/>
                      <a:pt x="117711" y="0"/>
                      <a:pt x="62168" y="0"/>
                    </a:cubicBezTo>
                    <a:cubicBezTo>
                      <a:pt x="52911" y="0"/>
                      <a:pt x="-5717" y="95657"/>
                      <a:pt x="454" y="114172"/>
                    </a:cubicBezTo>
                    <a:cubicBezTo>
                      <a:pt x="9711" y="141943"/>
                      <a:pt x="59082" y="178972"/>
                      <a:pt x="68340" y="182057"/>
                    </a:cubicBezTo>
                    <a:cubicBezTo>
                      <a:pt x="83768" y="185143"/>
                      <a:pt x="96111" y="185143"/>
                      <a:pt x="108454" y="175886"/>
                    </a:cubicBezTo>
                    <a:cubicBezTo>
                      <a:pt x="120797" y="166629"/>
                      <a:pt x="114625" y="166629"/>
                      <a:pt x="120797" y="160457"/>
                    </a:cubicBezTo>
                    <a:cubicBezTo>
                      <a:pt x="126968" y="154286"/>
                      <a:pt x="130054" y="154286"/>
                      <a:pt x="136225" y="148114"/>
                    </a:cubicBezTo>
                    <a:cubicBezTo>
                      <a:pt x="139311" y="141943"/>
                      <a:pt x="139311" y="138857"/>
                      <a:pt x="139311" y="132686"/>
                    </a:cubicBezTo>
                    <a:cubicBezTo>
                      <a:pt x="145482" y="117257"/>
                      <a:pt x="139311" y="126514"/>
                      <a:pt x="151654" y="114172"/>
                    </a:cubicBezTo>
                    <a:cubicBezTo>
                      <a:pt x="154740" y="111086"/>
                      <a:pt x="160911" y="104914"/>
                      <a:pt x="160911" y="98743"/>
                    </a:cubicBezTo>
                    <a:cubicBezTo>
                      <a:pt x="163997" y="92571"/>
                      <a:pt x="163997" y="86400"/>
                      <a:pt x="160911" y="80229"/>
                    </a:cubicBezTo>
                    <a:cubicBezTo>
                      <a:pt x="176340" y="67886"/>
                      <a:pt x="182511" y="55543"/>
                      <a:pt x="182511" y="4011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5" name="任意多边形: 形状 334">
                <a:extLst>
                  <a:ext uri="{FF2B5EF4-FFF2-40B4-BE49-F238E27FC236}">
                    <a16:creationId xmlns:a16="http://schemas.microsoft.com/office/drawing/2014/main" id="{9E651AD4-1E00-43F7-8E14-6D611F488023}"/>
                  </a:ext>
                </a:extLst>
              </p:cNvPr>
              <p:cNvSpPr/>
              <p:nvPr/>
            </p:nvSpPr>
            <p:spPr>
              <a:xfrm>
                <a:off x="7346869" y="3971156"/>
                <a:ext cx="166800" cy="77483"/>
              </a:xfrm>
              <a:custGeom>
                <a:avLst/>
                <a:gdLst>
                  <a:gd name="connsiteX0" fmla="*/ 162499 w 166800"/>
                  <a:gd name="connsiteY0" fmla="*/ 31197 h 77483"/>
                  <a:gd name="connsiteX1" fmla="*/ 97699 w 166800"/>
                  <a:gd name="connsiteY1" fmla="*/ 340 h 77483"/>
                  <a:gd name="connsiteX2" fmla="*/ 2042 w 166800"/>
                  <a:gd name="connsiteY2" fmla="*/ 46626 h 77483"/>
                  <a:gd name="connsiteX3" fmla="*/ 26728 w 166800"/>
                  <a:gd name="connsiteY3" fmla="*/ 68226 h 77483"/>
                  <a:gd name="connsiteX4" fmla="*/ 39071 w 166800"/>
                  <a:gd name="connsiteY4" fmla="*/ 77483 h 77483"/>
                  <a:gd name="connsiteX5" fmla="*/ 69928 w 166800"/>
                  <a:gd name="connsiteY5" fmla="*/ 71312 h 77483"/>
                  <a:gd name="connsiteX6" fmla="*/ 100785 w 166800"/>
                  <a:gd name="connsiteY6" fmla="*/ 52797 h 77483"/>
                  <a:gd name="connsiteX7" fmla="*/ 128556 w 166800"/>
                  <a:gd name="connsiteY7" fmla="*/ 58969 h 77483"/>
                  <a:gd name="connsiteX8" fmla="*/ 159413 w 166800"/>
                  <a:gd name="connsiteY8" fmla="*/ 52797 h 77483"/>
                  <a:gd name="connsiteX9" fmla="*/ 162499 w 166800"/>
                  <a:gd name="connsiteY9" fmla="*/ 31197 h 77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800" h="77483">
                    <a:moveTo>
                      <a:pt x="162499" y="31197"/>
                    </a:moveTo>
                    <a:cubicBezTo>
                      <a:pt x="143985" y="15769"/>
                      <a:pt x="125471" y="-2745"/>
                      <a:pt x="97699" y="340"/>
                    </a:cubicBezTo>
                    <a:cubicBezTo>
                      <a:pt x="69928" y="6512"/>
                      <a:pt x="26728" y="25026"/>
                      <a:pt x="2042" y="46626"/>
                    </a:cubicBezTo>
                    <a:cubicBezTo>
                      <a:pt x="-7215" y="55883"/>
                      <a:pt x="17471" y="65140"/>
                      <a:pt x="26728" y="68226"/>
                    </a:cubicBezTo>
                    <a:cubicBezTo>
                      <a:pt x="29813" y="74397"/>
                      <a:pt x="32899" y="77483"/>
                      <a:pt x="39071" y="77483"/>
                    </a:cubicBezTo>
                    <a:cubicBezTo>
                      <a:pt x="51413" y="77483"/>
                      <a:pt x="60671" y="74397"/>
                      <a:pt x="69928" y="71312"/>
                    </a:cubicBezTo>
                    <a:cubicBezTo>
                      <a:pt x="79185" y="68226"/>
                      <a:pt x="91528" y="55883"/>
                      <a:pt x="100785" y="52797"/>
                    </a:cubicBezTo>
                    <a:cubicBezTo>
                      <a:pt x="110042" y="49712"/>
                      <a:pt x="119299" y="55883"/>
                      <a:pt x="128556" y="58969"/>
                    </a:cubicBezTo>
                    <a:cubicBezTo>
                      <a:pt x="137813" y="62054"/>
                      <a:pt x="150156" y="58969"/>
                      <a:pt x="159413" y="52797"/>
                    </a:cubicBezTo>
                    <a:cubicBezTo>
                      <a:pt x="168671" y="52797"/>
                      <a:pt x="168671" y="40455"/>
                      <a:pt x="162499" y="3119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6" name="任意多边形: 形状 335">
                <a:extLst>
                  <a:ext uri="{FF2B5EF4-FFF2-40B4-BE49-F238E27FC236}">
                    <a16:creationId xmlns:a16="http://schemas.microsoft.com/office/drawing/2014/main" id="{A40D8DC2-C709-4CFB-8303-7063A34EB0E3}"/>
                  </a:ext>
                </a:extLst>
              </p:cNvPr>
              <p:cNvSpPr/>
              <p:nvPr/>
            </p:nvSpPr>
            <p:spPr>
              <a:xfrm>
                <a:off x="7304433" y="4017782"/>
                <a:ext cx="183613" cy="191314"/>
              </a:xfrm>
              <a:custGeom>
                <a:avLst/>
                <a:gdLst>
                  <a:gd name="connsiteX0" fmla="*/ 78421 w 183613"/>
                  <a:gd name="connsiteY0" fmla="*/ 191314 h 191314"/>
                  <a:gd name="connsiteX1" fmla="*/ 62992 w 183613"/>
                  <a:gd name="connsiteY1" fmla="*/ 188229 h 191314"/>
                  <a:gd name="connsiteX2" fmla="*/ 1278 w 183613"/>
                  <a:gd name="connsiteY2" fmla="*/ 135771 h 191314"/>
                  <a:gd name="connsiteX3" fmla="*/ 4364 w 183613"/>
                  <a:gd name="connsiteY3" fmla="*/ 126514 h 191314"/>
                  <a:gd name="connsiteX4" fmla="*/ 13621 w 183613"/>
                  <a:gd name="connsiteY4" fmla="*/ 129600 h 191314"/>
                  <a:gd name="connsiteX5" fmla="*/ 69164 w 183613"/>
                  <a:gd name="connsiteY5" fmla="*/ 175886 h 191314"/>
                  <a:gd name="connsiteX6" fmla="*/ 112364 w 183613"/>
                  <a:gd name="connsiteY6" fmla="*/ 154286 h 191314"/>
                  <a:gd name="connsiteX7" fmla="*/ 118535 w 183613"/>
                  <a:gd name="connsiteY7" fmla="*/ 151200 h 191314"/>
                  <a:gd name="connsiteX8" fmla="*/ 133964 w 183613"/>
                  <a:gd name="connsiteY8" fmla="*/ 145029 h 191314"/>
                  <a:gd name="connsiteX9" fmla="*/ 137050 w 183613"/>
                  <a:gd name="connsiteY9" fmla="*/ 126514 h 191314"/>
                  <a:gd name="connsiteX10" fmla="*/ 140135 w 183613"/>
                  <a:gd name="connsiteY10" fmla="*/ 120343 h 191314"/>
                  <a:gd name="connsiteX11" fmla="*/ 158650 w 183613"/>
                  <a:gd name="connsiteY11" fmla="*/ 101829 h 191314"/>
                  <a:gd name="connsiteX12" fmla="*/ 158650 w 183613"/>
                  <a:gd name="connsiteY12" fmla="*/ 86400 h 191314"/>
                  <a:gd name="connsiteX13" fmla="*/ 158650 w 183613"/>
                  <a:gd name="connsiteY13" fmla="*/ 80229 h 191314"/>
                  <a:gd name="connsiteX14" fmla="*/ 161735 w 183613"/>
                  <a:gd name="connsiteY14" fmla="*/ 77143 h 191314"/>
                  <a:gd name="connsiteX15" fmla="*/ 174078 w 183613"/>
                  <a:gd name="connsiteY15" fmla="*/ 64800 h 191314"/>
                  <a:gd name="connsiteX16" fmla="*/ 170992 w 183613"/>
                  <a:gd name="connsiteY16" fmla="*/ 40114 h 191314"/>
                  <a:gd name="connsiteX17" fmla="*/ 93849 w 183613"/>
                  <a:gd name="connsiteY17" fmla="*/ 12343 h 191314"/>
                  <a:gd name="connsiteX18" fmla="*/ 87678 w 183613"/>
                  <a:gd name="connsiteY18" fmla="*/ 6172 h 191314"/>
                  <a:gd name="connsiteX19" fmla="*/ 93849 w 183613"/>
                  <a:gd name="connsiteY19" fmla="*/ 0 h 191314"/>
                  <a:gd name="connsiteX20" fmla="*/ 177164 w 183613"/>
                  <a:gd name="connsiteY20" fmla="*/ 30857 h 191314"/>
                  <a:gd name="connsiteX21" fmla="*/ 180250 w 183613"/>
                  <a:gd name="connsiteY21" fmla="*/ 67886 h 191314"/>
                  <a:gd name="connsiteX22" fmla="*/ 164821 w 183613"/>
                  <a:gd name="connsiteY22" fmla="*/ 86400 h 191314"/>
                  <a:gd name="connsiteX23" fmla="*/ 164821 w 183613"/>
                  <a:gd name="connsiteY23" fmla="*/ 104914 h 191314"/>
                  <a:gd name="connsiteX24" fmla="*/ 143221 w 183613"/>
                  <a:gd name="connsiteY24" fmla="*/ 129600 h 191314"/>
                  <a:gd name="connsiteX25" fmla="*/ 137050 w 183613"/>
                  <a:gd name="connsiteY25" fmla="*/ 154286 h 191314"/>
                  <a:gd name="connsiteX26" fmla="*/ 118535 w 183613"/>
                  <a:gd name="connsiteY26" fmla="*/ 166629 h 191314"/>
                  <a:gd name="connsiteX27" fmla="*/ 78421 w 183613"/>
                  <a:gd name="connsiteY27" fmla="*/ 191314 h 191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83613" h="191314">
                    <a:moveTo>
                      <a:pt x="78421" y="191314"/>
                    </a:moveTo>
                    <a:cubicBezTo>
                      <a:pt x="72250" y="191314"/>
                      <a:pt x="69164" y="191314"/>
                      <a:pt x="62992" y="188229"/>
                    </a:cubicBezTo>
                    <a:cubicBezTo>
                      <a:pt x="25964" y="175886"/>
                      <a:pt x="1278" y="138857"/>
                      <a:pt x="1278" y="135771"/>
                    </a:cubicBezTo>
                    <a:cubicBezTo>
                      <a:pt x="-1807" y="132686"/>
                      <a:pt x="1278" y="129600"/>
                      <a:pt x="4364" y="126514"/>
                    </a:cubicBezTo>
                    <a:cubicBezTo>
                      <a:pt x="7449" y="123429"/>
                      <a:pt x="10535" y="126514"/>
                      <a:pt x="13621" y="129600"/>
                    </a:cubicBezTo>
                    <a:cubicBezTo>
                      <a:pt x="13621" y="129600"/>
                      <a:pt x="38306" y="166629"/>
                      <a:pt x="69164" y="175886"/>
                    </a:cubicBezTo>
                    <a:cubicBezTo>
                      <a:pt x="100021" y="185143"/>
                      <a:pt x="112364" y="157371"/>
                      <a:pt x="112364" y="154286"/>
                    </a:cubicBezTo>
                    <a:cubicBezTo>
                      <a:pt x="112364" y="151200"/>
                      <a:pt x="115449" y="151200"/>
                      <a:pt x="118535" y="151200"/>
                    </a:cubicBezTo>
                    <a:cubicBezTo>
                      <a:pt x="124707" y="151200"/>
                      <a:pt x="130878" y="148114"/>
                      <a:pt x="133964" y="145029"/>
                    </a:cubicBezTo>
                    <a:cubicBezTo>
                      <a:pt x="140135" y="135771"/>
                      <a:pt x="137050" y="126514"/>
                      <a:pt x="137050" y="126514"/>
                    </a:cubicBezTo>
                    <a:cubicBezTo>
                      <a:pt x="137050" y="123429"/>
                      <a:pt x="137050" y="120343"/>
                      <a:pt x="140135" y="120343"/>
                    </a:cubicBezTo>
                    <a:cubicBezTo>
                      <a:pt x="149392" y="114172"/>
                      <a:pt x="155564" y="108000"/>
                      <a:pt x="158650" y="101829"/>
                    </a:cubicBezTo>
                    <a:cubicBezTo>
                      <a:pt x="161735" y="92571"/>
                      <a:pt x="158650" y="86400"/>
                      <a:pt x="158650" y="86400"/>
                    </a:cubicBezTo>
                    <a:cubicBezTo>
                      <a:pt x="158650" y="83314"/>
                      <a:pt x="158650" y="83314"/>
                      <a:pt x="158650" y="80229"/>
                    </a:cubicBezTo>
                    <a:cubicBezTo>
                      <a:pt x="158650" y="77143"/>
                      <a:pt x="161735" y="77143"/>
                      <a:pt x="161735" y="77143"/>
                    </a:cubicBezTo>
                    <a:cubicBezTo>
                      <a:pt x="167907" y="77143"/>
                      <a:pt x="170992" y="70972"/>
                      <a:pt x="174078" y="64800"/>
                    </a:cubicBezTo>
                    <a:cubicBezTo>
                      <a:pt x="177164" y="55543"/>
                      <a:pt x="177164" y="46286"/>
                      <a:pt x="170992" y="40114"/>
                    </a:cubicBezTo>
                    <a:cubicBezTo>
                      <a:pt x="164821" y="30857"/>
                      <a:pt x="121621" y="18514"/>
                      <a:pt x="93849" y="12343"/>
                    </a:cubicBezTo>
                    <a:cubicBezTo>
                      <a:pt x="90764" y="12343"/>
                      <a:pt x="87678" y="9257"/>
                      <a:pt x="87678" y="6172"/>
                    </a:cubicBezTo>
                    <a:cubicBezTo>
                      <a:pt x="87678" y="3086"/>
                      <a:pt x="90764" y="0"/>
                      <a:pt x="93849" y="0"/>
                    </a:cubicBezTo>
                    <a:cubicBezTo>
                      <a:pt x="106193" y="3086"/>
                      <a:pt x="167907" y="15429"/>
                      <a:pt x="177164" y="30857"/>
                    </a:cubicBezTo>
                    <a:cubicBezTo>
                      <a:pt x="183335" y="40114"/>
                      <a:pt x="186421" y="55543"/>
                      <a:pt x="180250" y="67886"/>
                    </a:cubicBezTo>
                    <a:cubicBezTo>
                      <a:pt x="177164" y="77143"/>
                      <a:pt x="170992" y="83314"/>
                      <a:pt x="164821" y="86400"/>
                    </a:cubicBezTo>
                    <a:cubicBezTo>
                      <a:pt x="164821" y="89486"/>
                      <a:pt x="167907" y="98743"/>
                      <a:pt x="164821" y="104914"/>
                    </a:cubicBezTo>
                    <a:cubicBezTo>
                      <a:pt x="161735" y="114172"/>
                      <a:pt x="155564" y="123429"/>
                      <a:pt x="143221" y="129600"/>
                    </a:cubicBezTo>
                    <a:cubicBezTo>
                      <a:pt x="143221" y="135771"/>
                      <a:pt x="143221" y="145029"/>
                      <a:pt x="137050" y="154286"/>
                    </a:cubicBezTo>
                    <a:cubicBezTo>
                      <a:pt x="133964" y="160457"/>
                      <a:pt x="124707" y="163543"/>
                      <a:pt x="118535" y="166629"/>
                    </a:cubicBezTo>
                    <a:cubicBezTo>
                      <a:pt x="112364" y="175886"/>
                      <a:pt x="100021" y="191314"/>
                      <a:pt x="78421" y="19131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37" name="任意多边形: 形状 336">
              <a:extLst>
                <a:ext uri="{FF2B5EF4-FFF2-40B4-BE49-F238E27FC236}">
                  <a16:creationId xmlns:a16="http://schemas.microsoft.com/office/drawing/2014/main" id="{87A1115A-590D-4BB5-B678-B20E7904AB4C}"/>
                </a:ext>
              </a:extLst>
            </p:cNvPr>
            <p:cNvSpPr/>
            <p:nvPr/>
          </p:nvSpPr>
          <p:spPr>
            <a:xfrm>
              <a:off x="6835166" y="3135267"/>
              <a:ext cx="544602" cy="1027542"/>
            </a:xfrm>
            <a:custGeom>
              <a:avLst/>
              <a:gdLst>
                <a:gd name="connsiteX0" fmla="*/ 544603 w 544602"/>
                <a:gd name="connsiteY0" fmla="*/ 141943 h 1027542"/>
                <a:gd name="connsiteX1" fmla="*/ 254545 w 544602"/>
                <a:gd name="connsiteY1" fmla="*/ 651086 h 1027542"/>
                <a:gd name="connsiteX2" fmla="*/ 538431 w 544602"/>
                <a:gd name="connsiteY2" fmla="*/ 894857 h 1027542"/>
                <a:gd name="connsiteX3" fmla="*/ 507574 w 544602"/>
                <a:gd name="connsiteY3" fmla="*/ 1027543 h 1027542"/>
                <a:gd name="connsiteX4" fmla="*/ 4603 w 544602"/>
                <a:gd name="connsiteY4" fmla="*/ 669600 h 1027542"/>
                <a:gd name="connsiteX5" fmla="*/ 319345 w 544602"/>
                <a:gd name="connsiteY5" fmla="*/ 0 h 1027542"/>
                <a:gd name="connsiteX6" fmla="*/ 544603 w 544602"/>
                <a:gd name="connsiteY6" fmla="*/ 141943 h 1027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4602" h="1027542">
                  <a:moveTo>
                    <a:pt x="544603" y="141943"/>
                  </a:moveTo>
                  <a:lnTo>
                    <a:pt x="254545" y="651086"/>
                  </a:lnTo>
                  <a:lnTo>
                    <a:pt x="538431" y="894857"/>
                  </a:lnTo>
                  <a:lnTo>
                    <a:pt x="507574" y="1027543"/>
                  </a:lnTo>
                  <a:cubicBezTo>
                    <a:pt x="507574" y="1027543"/>
                    <a:pt x="53974" y="777600"/>
                    <a:pt x="4603" y="669600"/>
                  </a:cubicBezTo>
                  <a:cubicBezTo>
                    <a:pt x="-44769" y="561600"/>
                    <a:pt x="319345" y="0"/>
                    <a:pt x="319345" y="0"/>
                  </a:cubicBezTo>
                  <a:lnTo>
                    <a:pt x="544603" y="141943"/>
                  </a:ln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8" name="任意多边形: 形状 337">
              <a:extLst>
                <a:ext uri="{FF2B5EF4-FFF2-40B4-BE49-F238E27FC236}">
                  <a16:creationId xmlns:a16="http://schemas.microsoft.com/office/drawing/2014/main" id="{2C40968E-0D5A-4CFA-81C2-96DEB5E4D54B}"/>
                </a:ext>
              </a:extLst>
            </p:cNvPr>
            <p:cNvSpPr/>
            <p:nvPr/>
          </p:nvSpPr>
          <p:spPr>
            <a:xfrm>
              <a:off x="7032890" y="3271039"/>
              <a:ext cx="356135" cy="524571"/>
            </a:xfrm>
            <a:custGeom>
              <a:avLst/>
              <a:gdLst>
                <a:gd name="connsiteX0" fmla="*/ 25964 w 356135"/>
                <a:gd name="connsiteY0" fmla="*/ 524571 h 524571"/>
                <a:gd name="connsiteX1" fmla="*/ 4364 w 356135"/>
                <a:gd name="connsiteY1" fmla="*/ 521486 h 524571"/>
                <a:gd name="connsiteX2" fmla="*/ 1278 w 356135"/>
                <a:gd name="connsiteY2" fmla="*/ 512229 h 524571"/>
                <a:gd name="connsiteX3" fmla="*/ 10535 w 356135"/>
                <a:gd name="connsiteY3" fmla="*/ 509143 h 524571"/>
                <a:gd name="connsiteX4" fmla="*/ 53736 w 356135"/>
                <a:gd name="connsiteY4" fmla="*/ 509143 h 524571"/>
                <a:gd name="connsiteX5" fmla="*/ 343793 w 356135"/>
                <a:gd name="connsiteY5" fmla="*/ 3086 h 524571"/>
                <a:gd name="connsiteX6" fmla="*/ 353050 w 356135"/>
                <a:gd name="connsiteY6" fmla="*/ 0 h 524571"/>
                <a:gd name="connsiteX7" fmla="*/ 356135 w 356135"/>
                <a:gd name="connsiteY7" fmla="*/ 9257 h 524571"/>
                <a:gd name="connsiteX8" fmla="*/ 66078 w 356135"/>
                <a:gd name="connsiteY8" fmla="*/ 518400 h 524571"/>
                <a:gd name="connsiteX9" fmla="*/ 62992 w 356135"/>
                <a:gd name="connsiteY9" fmla="*/ 521486 h 524571"/>
                <a:gd name="connsiteX10" fmla="*/ 25964 w 356135"/>
                <a:gd name="connsiteY10" fmla="*/ 524571 h 52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6135" h="524571">
                  <a:moveTo>
                    <a:pt x="25964" y="524571"/>
                  </a:moveTo>
                  <a:cubicBezTo>
                    <a:pt x="16707" y="524571"/>
                    <a:pt x="10535" y="524571"/>
                    <a:pt x="4364" y="521486"/>
                  </a:cubicBezTo>
                  <a:cubicBezTo>
                    <a:pt x="1278" y="521486"/>
                    <a:pt x="-1807" y="518400"/>
                    <a:pt x="1278" y="512229"/>
                  </a:cubicBezTo>
                  <a:cubicBezTo>
                    <a:pt x="1278" y="509143"/>
                    <a:pt x="4364" y="506057"/>
                    <a:pt x="10535" y="509143"/>
                  </a:cubicBezTo>
                  <a:cubicBezTo>
                    <a:pt x="22878" y="512229"/>
                    <a:pt x="44478" y="512229"/>
                    <a:pt x="53736" y="509143"/>
                  </a:cubicBezTo>
                  <a:cubicBezTo>
                    <a:pt x="115450" y="425829"/>
                    <a:pt x="340707" y="9257"/>
                    <a:pt x="343793" y="3086"/>
                  </a:cubicBezTo>
                  <a:cubicBezTo>
                    <a:pt x="346878" y="0"/>
                    <a:pt x="349964" y="0"/>
                    <a:pt x="353050" y="0"/>
                  </a:cubicBezTo>
                  <a:cubicBezTo>
                    <a:pt x="356135" y="3086"/>
                    <a:pt x="356135" y="6171"/>
                    <a:pt x="356135" y="9257"/>
                  </a:cubicBezTo>
                  <a:cubicBezTo>
                    <a:pt x="346878" y="27771"/>
                    <a:pt x="124707" y="438171"/>
                    <a:pt x="66078" y="518400"/>
                  </a:cubicBezTo>
                  <a:cubicBezTo>
                    <a:pt x="66078" y="518400"/>
                    <a:pt x="62992" y="521486"/>
                    <a:pt x="62992" y="521486"/>
                  </a:cubicBezTo>
                  <a:cubicBezTo>
                    <a:pt x="53736" y="521486"/>
                    <a:pt x="41392" y="524571"/>
                    <a:pt x="25964" y="524571"/>
                  </a:cubicBezTo>
                  <a:close/>
                </a:path>
              </a:pathLst>
            </a:custGeom>
            <a:solidFill>
              <a:srgbClr val="E58777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9" name="任意多边形: 形状 338">
              <a:extLst>
                <a:ext uri="{FF2B5EF4-FFF2-40B4-BE49-F238E27FC236}">
                  <a16:creationId xmlns:a16="http://schemas.microsoft.com/office/drawing/2014/main" id="{8B1CA9F4-9498-4D74-BBC8-8ED032F42888}"/>
                </a:ext>
              </a:extLst>
            </p:cNvPr>
            <p:cNvSpPr/>
            <p:nvPr/>
          </p:nvSpPr>
          <p:spPr>
            <a:xfrm>
              <a:off x="7037254" y="2957813"/>
              <a:ext cx="424353" cy="449083"/>
            </a:xfrm>
            <a:custGeom>
              <a:avLst/>
              <a:gdLst>
                <a:gd name="connsiteX0" fmla="*/ 0 w 424353"/>
                <a:gd name="connsiteY0" fmla="*/ 300883 h 449083"/>
                <a:gd name="connsiteX1" fmla="*/ 342514 w 424353"/>
                <a:gd name="connsiteY1" fmla="*/ 1569 h 449083"/>
                <a:gd name="connsiteX2" fmla="*/ 348686 w 424353"/>
                <a:gd name="connsiteY2" fmla="*/ 448997 h 449083"/>
                <a:gd name="connsiteX3" fmla="*/ 0 w 424353"/>
                <a:gd name="connsiteY3" fmla="*/ 300883 h 44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353" h="449083">
                  <a:moveTo>
                    <a:pt x="0" y="300883"/>
                  </a:moveTo>
                  <a:cubicBezTo>
                    <a:pt x="77143" y="131169"/>
                    <a:pt x="262286" y="-16946"/>
                    <a:pt x="342514" y="1569"/>
                  </a:cubicBezTo>
                  <a:cubicBezTo>
                    <a:pt x="447429" y="26254"/>
                    <a:pt x="453600" y="270026"/>
                    <a:pt x="348686" y="448997"/>
                  </a:cubicBezTo>
                  <a:cubicBezTo>
                    <a:pt x="271543" y="452083"/>
                    <a:pt x="77143" y="371854"/>
                    <a:pt x="0" y="300883"/>
                  </a:cubicBezTo>
                  <a:close/>
                </a:path>
              </a:pathLst>
            </a:custGeom>
            <a:solidFill>
              <a:srgbClr val="7F95BC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0" name="任意多边形: 形状 339">
              <a:extLst>
                <a:ext uri="{FF2B5EF4-FFF2-40B4-BE49-F238E27FC236}">
                  <a16:creationId xmlns:a16="http://schemas.microsoft.com/office/drawing/2014/main" id="{FB238BD2-6664-42FE-9178-F88CE3CC3960}"/>
                </a:ext>
              </a:extLst>
            </p:cNvPr>
            <p:cNvSpPr/>
            <p:nvPr/>
          </p:nvSpPr>
          <p:spPr>
            <a:xfrm>
              <a:off x="7231654" y="2956296"/>
              <a:ext cx="236001" cy="456685"/>
            </a:xfrm>
            <a:custGeom>
              <a:avLst/>
              <a:gdLst>
                <a:gd name="connsiteX0" fmla="*/ 141943 w 236001"/>
                <a:gd name="connsiteY0" fmla="*/ 456686 h 456685"/>
                <a:gd name="connsiteX1" fmla="*/ 3085 w 236001"/>
                <a:gd name="connsiteY1" fmla="*/ 419657 h 456685"/>
                <a:gd name="connsiteX2" fmla="*/ 0 w 236001"/>
                <a:gd name="connsiteY2" fmla="*/ 413486 h 456685"/>
                <a:gd name="connsiteX3" fmla="*/ 6171 w 236001"/>
                <a:gd name="connsiteY3" fmla="*/ 410400 h 456685"/>
                <a:gd name="connsiteX4" fmla="*/ 148114 w 236001"/>
                <a:gd name="connsiteY4" fmla="*/ 444343 h 456685"/>
                <a:gd name="connsiteX5" fmla="*/ 222171 w 236001"/>
                <a:gd name="connsiteY5" fmla="*/ 157371 h 456685"/>
                <a:gd name="connsiteX6" fmla="*/ 222171 w 236001"/>
                <a:gd name="connsiteY6" fmla="*/ 148114 h 456685"/>
                <a:gd name="connsiteX7" fmla="*/ 160457 w 236001"/>
                <a:gd name="connsiteY7" fmla="*/ 12343 h 456685"/>
                <a:gd name="connsiteX8" fmla="*/ 157371 w 236001"/>
                <a:gd name="connsiteY8" fmla="*/ 3086 h 456685"/>
                <a:gd name="connsiteX9" fmla="*/ 166628 w 236001"/>
                <a:gd name="connsiteY9" fmla="*/ 0 h 456685"/>
                <a:gd name="connsiteX10" fmla="*/ 234514 w 236001"/>
                <a:gd name="connsiteY10" fmla="*/ 145029 h 456685"/>
                <a:gd name="connsiteX11" fmla="*/ 234514 w 236001"/>
                <a:gd name="connsiteY11" fmla="*/ 154286 h 456685"/>
                <a:gd name="connsiteX12" fmla="*/ 157371 w 236001"/>
                <a:gd name="connsiteY12" fmla="*/ 450514 h 456685"/>
                <a:gd name="connsiteX13" fmla="*/ 154286 w 236001"/>
                <a:gd name="connsiteY13" fmla="*/ 453600 h 456685"/>
                <a:gd name="connsiteX14" fmla="*/ 151200 w 236001"/>
                <a:gd name="connsiteY14" fmla="*/ 453600 h 456685"/>
                <a:gd name="connsiteX15" fmla="*/ 141943 w 236001"/>
                <a:gd name="connsiteY15" fmla="*/ 456686 h 456685"/>
                <a:gd name="connsiteX16" fmla="*/ 154286 w 236001"/>
                <a:gd name="connsiteY16" fmla="*/ 450514 h 456685"/>
                <a:gd name="connsiteX17" fmla="*/ 154286 w 236001"/>
                <a:gd name="connsiteY17" fmla="*/ 450514 h 456685"/>
                <a:gd name="connsiteX18" fmla="*/ 154286 w 236001"/>
                <a:gd name="connsiteY18" fmla="*/ 450514 h 456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6001" h="456685">
                  <a:moveTo>
                    <a:pt x="141943" y="456686"/>
                  </a:moveTo>
                  <a:cubicBezTo>
                    <a:pt x="111085" y="456686"/>
                    <a:pt x="64800" y="450514"/>
                    <a:pt x="3085" y="419657"/>
                  </a:cubicBezTo>
                  <a:cubicBezTo>
                    <a:pt x="0" y="419657"/>
                    <a:pt x="0" y="413486"/>
                    <a:pt x="0" y="413486"/>
                  </a:cubicBezTo>
                  <a:cubicBezTo>
                    <a:pt x="0" y="410400"/>
                    <a:pt x="6171" y="410400"/>
                    <a:pt x="6171" y="410400"/>
                  </a:cubicBezTo>
                  <a:cubicBezTo>
                    <a:pt x="74057" y="441257"/>
                    <a:pt x="120343" y="447429"/>
                    <a:pt x="148114" y="444343"/>
                  </a:cubicBezTo>
                  <a:cubicBezTo>
                    <a:pt x="169714" y="413486"/>
                    <a:pt x="231429" y="259200"/>
                    <a:pt x="222171" y="157371"/>
                  </a:cubicBezTo>
                  <a:cubicBezTo>
                    <a:pt x="222171" y="154286"/>
                    <a:pt x="222171" y="151200"/>
                    <a:pt x="222171" y="148114"/>
                  </a:cubicBezTo>
                  <a:cubicBezTo>
                    <a:pt x="219085" y="114171"/>
                    <a:pt x="212914" y="43200"/>
                    <a:pt x="160457" y="12343"/>
                  </a:cubicBezTo>
                  <a:cubicBezTo>
                    <a:pt x="157371" y="9257"/>
                    <a:pt x="157371" y="6171"/>
                    <a:pt x="157371" y="3086"/>
                  </a:cubicBezTo>
                  <a:cubicBezTo>
                    <a:pt x="160457" y="0"/>
                    <a:pt x="163543" y="0"/>
                    <a:pt x="166628" y="0"/>
                  </a:cubicBezTo>
                  <a:cubicBezTo>
                    <a:pt x="225257" y="33943"/>
                    <a:pt x="231429" y="108000"/>
                    <a:pt x="234514" y="145029"/>
                  </a:cubicBezTo>
                  <a:cubicBezTo>
                    <a:pt x="234514" y="148114"/>
                    <a:pt x="234514" y="151200"/>
                    <a:pt x="234514" y="154286"/>
                  </a:cubicBezTo>
                  <a:cubicBezTo>
                    <a:pt x="246857" y="262286"/>
                    <a:pt x="178972" y="422743"/>
                    <a:pt x="157371" y="450514"/>
                  </a:cubicBezTo>
                  <a:lnTo>
                    <a:pt x="154286" y="453600"/>
                  </a:lnTo>
                  <a:lnTo>
                    <a:pt x="151200" y="453600"/>
                  </a:lnTo>
                  <a:cubicBezTo>
                    <a:pt x="151200" y="456686"/>
                    <a:pt x="145028" y="456686"/>
                    <a:pt x="141943" y="456686"/>
                  </a:cubicBezTo>
                  <a:close/>
                  <a:moveTo>
                    <a:pt x="154286" y="450514"/>
                  </a:moveTo>
                  <a:lnTo>
                    <a:pt x="154286" y="450514"/>
                  </a:lnTo>
                  <a:lnTo>
                    <a:pt x="154286" y="450514"/>
                  </a:ln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1922845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892">
            <a:extLst>
              <a:ext uri="{FF2B5EF4-FFF2-40B4-BE49-F238E27FC236}">
                <a16:creationId xmlns:a16="http://schemas.microsoft.com/office/drawing/2014/main" id="{C277AF38-C84C-4ED7-98FF-54A8C96CA22B}"/>
              </a:ext>
            </a:extLst>
          </p:cNvPr>
          <p:cNvGrpSpPr/>
          <p:nvPr/>
        </p:nvGrpSpPr>
        <p:grpSpPr>
          <a:xfrm>
            <a:off x="2738112" y="2038160"/>
            <a:ext cx="6572902" cy="4819840"/>
            <a:chOff x="19308515" y="7718245"/>
            <a:chExt cx="6572902" cy="4819840"/>
          </a:xfrm>
        </p:grpSpPr>
        <p:grpSp>
          <p:nvGrpSpPr>
            <p:cNvPr id="3" name="图形 892">
              <a:extLst>
                <a:ext uri="{FF2B5EF4-FFF2-40B4-BE49-F238E27FC236}">
                  <a16:creationId xmlns:a16="http://schemas.microsoft.com/office/drawing/2014/main" id="{77D47F81-FCC7-4FCA-88DB-98AED05864CE}"/>
                </a:ext>
              </a:extLst>
            </p:cNvPr>
            <p:cNvGrpSpPr/>
            <p:nvPr/>
          </p:nvGrpSpPr>
          <p:grpSpPr>
            <a:xfrm>
              <a:off x="21626699" y="9609221"/>
              <a:ext cx="348095" cy="285066"/>
              <a:chOff x="21626699" y="9609221"/>
              <a:chExt cx="348095" cy="285066"/>
            </a:xfrm>
          </p:grpSpPr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E02CD833-04B9-4E3F-B848-3C388766EA5A}"/>
                  </a:ext>
                </a:extLst>
              </p:cNvPr>
              <p:cNvSpPr/>
              <p:nvPr/>
            </p:nvSpPr>
            <p:spPr>
              <a:xfrm>
                <a:off x="21626699" y="9609221"/>
                <a:ext cx="348095" cy="285066"/>
              </a:xfrm>
              <a:custGeom>
                <a:avLst/>
                <a:gdLst>
                  <a:gd name="connsiteX0" fmla="*/ 227571 w 348095"/>
                  <a:gd name="connsiteY0" fmla="*/ 279917 h 285066"/>
                  <a:gd name="connsiteX1" fmla="*/ 230631 w 348095"/>
                  <a:gd name="connsiteY1" fmla="*/ 258501 h 285066"/>
                  <a:gd name="connsiteX2" fmla="*/ 227571 w 348095"/>
                  <a:gd name="connsiteY2" fmla="*/ 252382 h 285066"/>
                  <a:gd name="connsiteX3" fmla="*/ 252046 w 348095"/>
                  <a:gd name="connsiteY3" fmla="*/ 264620 h 285066"/>
                  <a:gd name="connsiteX4" fmla="*/ 304058 w 348095"/>
                  <a:gd name="connsiteY4" fmla="*/ 267680 h 285066"/>
                  <a:gd name="connsiteX5" fmla="*/ 307119 w 348095"/>
                  <a:gd name="connsiteY5" fmla="*/ 261560 h 285066"/>
                  <a:gd name="connsiteX6" fmla="*/ 307119 w 348095"/>
                  <a:gd name="connsiteY6" fmla="*/ 258501 h 285066"/>
                  <a:gd name="connsiteX7" fmla="*/ 340772 w 348095"/>
                  <a:gd name="connsiteY7" fmla="*/ 249322 h 285066"/>
                  <a:gd name="connsiteX8" fmla="*/ 343831 w 348095"/>
                  <a:gd name="connsiteY8" fmla="*/ 218728 h 285066"/>
                  <a:gd name="connsiteX9" fmla="*/ 294880 w 348095"/>
                  <a:gd name="connsiteY9" fmla="*/ 185073 h 285066"/>
                  <a:gd name="connsiteX10" fmla="*/ 224512 w 348095"/>
                  <a:gd name="connsiteY10" fmla="*/ 142240 h 285066"/>
                  <a:gd name="connsiteX11" fmla="*/ 285702 w 348095"/>
                  <a:gd name="connsiteY11" fmla="*/ 157538 h 285066"/>
                  <a:gd name="connsiteX12" fmla="*/ 334653 w 348095"/>
                  <a:gd name="connsiteY12" fmla="*/ 166716 h 285066"/>
                  <a:gd name="connsiteX13" fmla="*/ 325475 w 348095"/>
                  <a:gd name="connsiteY13" fmla="*/ 133061 h 285066"/>
                  <a:gd name="connsiteX14" fmla="*/ 138847 w 348095"/>
                  <a:gd name="connsiteY14" fmla="*/ 68813 h 285066"/>
                  <a:gd name="connsiteX15" fmla="*/ 236749 w 348095"/>
                  <a:gd name="connsiteY15" fmla="*/ 41277 h 285066"/>
                  <a:gd name="connsiteX16" fmla="*/ 236749 w 348095"/>
                  <a:gd name="connsiteY16" fmla="*/ 19861 h 285066"/>
                  <a:gd name="connsiteX17" fmla="*/ 25645 w 348095"/>
                  <a:gd name="connsiteY17" fmla="*/ 56574 h 285066"/>
                  <a:gd name="connsiteX18" fmla="*/ 25645 w 348095"/>
                  <a:gd name="connsiteY18" fmla="*/ 56574 h 285066"/>
                  <a:gd name="connsiteX19" fmla="*/ 19526 w 348095"/>
                  <a:gd name="connsiteY19" fmla="*/ 56574 h 285066"/>
                  <a:gd name="connsiteX20" fmla="*/ 10348 w 348095"/>
                  <a:gd name="connsiteY20" fmla="*/ 154478 h 285066"/>
                  <a:gd name="connsiteX21" fmla="*/ 114369 w 348095"/>
                  <a:gd name="connsiteY21" fmla="*/ 234025 h 285066"/>
                  <a:gd name="connsiteX22" fmla="*/ 187798 w 348095"/>
                  <a:gd name="connsiteY22" fmla="*/ 270738 h 285066"/>
                  <a:gd name="connsiteX23" fmla="*/ 227571 w 348095"/>
                  <a:gd name="connsiteY23" fmla="*/ 279917 h 285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8095" h="285066">
                    <a:moveTo>
                      <a:pt x="227571" y="279917"/>
                    </a:moveTo>
                    <a:cubicBezTo>
                      <a:pt x="233690" y="273798"/>
                      <a:pt x="233690" y="264620"/>
                      <a:pt x="230631" y="258501"/>
                    </a:cubicBezTo>
                    <a:cubicBezTo>
                      <a:pt x="230631" y="255441"/>
                      <a:pt x="227571" y="255441"/>
                      <a:pt x="227571" y="252382"/>
                    </a:cubicBezTo>
                    <a:cubicBezTo>
                      <a:pt x="236749" y="258501"/>
                      <a:pt x="242868" y="261560"/>
                      <a:pt x="252046" y="264620"/>
                    </a:cubicBezTo>
                    <a:cubicBezTo>
                      <a:pt x="270404" y="273798"/>
                      <a:pt x="285702" y="276858"/>
                      <a:pt x="304058" y="267680"/>
                    </a:cubicBezTo>
                    <a:cubicBezTo>
                      <a:pt x="307119" y="267680"/>
                      <a:pt x="307119" y="264620"/>
                      <a:pt x="307119" y="261560"/>
                    </a:cubicBezTo>
                    <a:cubicBezTo>
                      <a:pt x="307119" y="261560"/>
                      <a:pt x="307119" y="258501"/>
                      <a:pt x="307119" y="258501"/>
                    </a:cubicBezTo>
                    <a:cubicBezTo>
                      <a:pt x="319355" y="258501"/>
                      <a:pt x="331594" y="258501"/>
                      <a:pt x="340772" y="249322"/>
                    </a:cubicBezTo>
                    <a:cubicBezTo>
                      <a:pt x="349950" y="240143"/>
                      <a:pt x="349950" y="227906"/>
                      <a:pt x="343831" y="218728"/>
                    </a:cubicBezTo>
                    <a:cubicBezTo>
                      <a:pt x="331594" y="203430"/>
                      <a:pt x="310177" y="194251"/>
                      <a:pt x="294880" y="185073"/>
                    </a:cubicBezTo>
                    <a:cubicBezTo>
                      <a:pt x="270404" y="169776"/>
                      <a:pt x="248987" y="157538"/>
                      <a:pt x="224512" y="142240"/>
                    </a:cubicBezTo>
                    <a:cubicBezTo>
                      <a:pt x="245929" y="148359"/>
                      <a:pt x="267344" y="151418"/>
                      <a:pt x="285702" y="157538"/>
                    </a:cubicBezTo>
                    <a:cubicBezTo>
                      <a:pt x="297939" y="160597"/>
                      <a:pt x="319355" y="169776"/>
                      <a:pt x="334653" y="166716"/>
                    </a:cubicBezTo>
                    <a:cubicBezTo>
                      <a:pt x="356070" y="160597"/>
                      <a:pt x="334653" y="139181"/>
                      <a:pt x="325475" y="133061"/>
                    </a:cubicBezTo>
                    <a:cubicBezTo>
                      <a:pt x="270404" y="93288"/>
                      <a:pt x="200036" y="96348"/>
                      <a:pt x="138847" y="68813"/>
                    </a:cubicBezTo>
                    <a:cubicBezTo>
                      <a:pt x="160261" y="38218"/>
                      <a:pt x="206154" y="53515"/>
                      <a:pt x="236749" y="41277"/>
                    </a:cubicBezTo>
                    <a:cubicBezTo>
                      <a:pt x="242868" y="38218"/>
                      <a:pt x="242868" y="22920"/>
                      <a:pt x="236749" y="19861"/>
                    </a:cubicBezTo>
                    <a:cubicBezTo>
                      <a:pt x="184739" y="-16854"/>
                      <a:pt x="86835" y="-1556"/>
                      <a:pt x="25645" y="56574"/>
                    </a:cubicBezTo>
                    <a:cubicBezTo>
                      <a:pt x="25645" y="56574"/>
                      <a:pt x="25645" y="56574"/>
                      <a:pt x="25645" y="56574"/>
                    </a:cubicBezTo>
                    <a:cubicBezTo>
                      <a:pt x="25645" y="56574"/>
                      <a:pt x="22584" y="56574"/>
                      <a:pt x="19526" y="56574"/>
                    </a:cubicBezTo>
                    <a:cubicBezTo>
                      <a:pt x="-11069" y="77991"/>
                      <a:pt x="1169" y="123883"/>
                      <a:pt x="10348" y="154478"/>
                    </a:cubicBezTo>
                    <a:cubicBezTo>
                      <a:pt x="25645" y="200370"/>
                      <a:pt x="74596" y="212608"/>
                      <a:pt x="114369" y="234025"/>
                    </a:cubicBezTo>
                    <a:cubicBezTo>
                      <a:pt x="138847" y="246263"/>
                      <a:pt x="163322" y="258501"/>
                      <a:pt x="187798" y="270738"/>
                    </a:cubicBezTo>
                    <a:cubicBezTo>
                      <a:pt x="200036" y="279917"/>
                      <a:pt x="215334" y="292155"/>
                      <a:pt x="227571" y="27991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674AC34D-C897-4EED-B078-998765FE5409}"/>
                  </a:ext>
                </a:extLst>
              </p:cNvPr>
              <p:cNvSpPr/>
              <p:nvPr/>
            </p:nvSpPr>
            <p:spPr>
              <a:xfrm>
                <a:off x="21684731" y="9708629"/>
                <a:ext cx="68576" cy="33653"/>
              </a:xfrm>
              <a:custGeom>
                <a:avLst/>
                <a:gdLst>
                  <a:gd name="connsiteX0" fmla="*/ 16564 w 68576"/>
                  <a:gd name="connsiteY0" fmla="*/ 33654 h 33653"/>
                  <a:gd name="connsiteX1" fmla="*/ 4328 w 68576"/>
                  <a:gd name="connsiteY1" fmla="*/ 33654 h 33653"/>
                  <a:gd name="connsiteX2" fmla="*/ 1267 w 68576"/>
                  <a:gd name="connsiteY2" fmla="*/ 27535 h 33653"/>
                  <a:gd name="connsiteX3" fmla="*/ 7386 w 68576"/>
                  <a:gd name="connsiteY3" fmla="*/ 24476 h 33653"/>
                  <a:gd name="connsiteX4" fmla="*/ 56337 w 68576"/>
                  <a:gd name="connsiteY4" fmla="*/ 3059 h 33653"/>
                  <a:gd name="connsiteX5" fmla="*/ 65517 w 68576"/>
                  <a:gd name="connsiteY5" fmla="*/ 0 h 33653"/>
                  <a:gd name="connsiteX6" fmla="*/ 68576 w 68576"/>
                  <a:gd name="connsiteY6" fmla="*/ 9178 h 33653"/>
                  <a:gd name="connsiteX7" fmla="*/ 16564 w 68576"/>
                  <a:gd name="connsiteY7" fmla="*/ 33654 h 33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576" h="33653">
                    <a:moveTo>
                      <a:pt x="16564" y="33654"/>
                    </a:moveTo>
                    <a:cubicBezTo>
                      <a:pt x="13506" y="33654"/>
                      <a:pt x="7386" y="33654"/>
                      <a:pt x="4328" y="33654"/>
                    </a:cubicBezTo>
                    <a:cubicBezTo>
                      <a:pt x="1267" y="33654"/>
                      <a:pt x="-1792" y="30595"/>
                      <a:pt x="1267" y="27535"/>
                    </a:cubicBezTo>
                    <a:cubicBezTo>
                      <a:pt x="1267" y="24476"/>
                      <a:pt x="4328" y="21416"/>
                      <a:pt x="7386" y="24476"/>
                    </a:cubicBezTo>
                    <a:cubicBezTo>
                      <a:pt x="37981" y="30595"/>
                      <a:pt x="56337" y="3059"/>
                      <a:pt x="56337" y="3059"/>
                    </a:cubicBezTo>
                    <a:cubicBezTo>
                      <a:pt x="59398" y="0"/>
                      <a:pt x="62457" y="0"/>
                      <a:pt x="65517" y="0"/>
                    </a:cubicBezTo>
                    <a:cubicBezTo>
                      <a:pt x="68576" y="3059"/>
                      <a:pt x="68576" y="6118"/>
                      <a:pt x="68576" y="9178"/>
                    </a:cubicBezTo>
                    <a:cubicBezTo>
                      <a:pt x="68576" y="6118"/>
                      <a:pt x="50220" y="33654"/>
                      <a:pt x="16564" y="3365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6AD21871-3E9E-4A95-A4CC-4DF7BF3DD4EC}"/>
                  </a:ext>
                </a:extLst>
              </p:cNvPr>
              <p:cNvSpPr/>
              <p:nvPr/>
            </p:nvSpPr>
            <p:spPr>
              <a:xfrm>
                <a:off x="21823675" y="9748402"/>
                <a:ext cx="149915" cy="122379"/>
              </a:xfrm>
              <a:custGeom>
                <a:avLst/>
                <a:gdLst>
                  <a:gd name="connsiteX0" fmla="*/ 119321 w 149915"/>
                  <a:gd name="connsiteY0" fmla="*/ 122380 h 122379"/>
                  <a:gd name="connsiteX1" fmla="*/ 107082 w 149915"/>
                  <a:gd name="connsiteY1" fmla="*/ 119320 h 122379"/>
                  <a:gd name="connsiteX2" fmla="*/ 3061 w 149915"/>
                  <a:gd name="connsiteY2" fmla="*/ 70368 h 122379"/>
                  <a:gd name="connsiteX3" fmla="*/ 0 w 149915"/>
                  <a:gd name="connsiteY3" fmla="*/ 61190 h 122379"/>
                  <a:gd name="connsiteX4" fmla="*/ 9178 w 149915"/>
                  <a:gd name="connsiteY4" fmla="*/ 58130 h 122379"/>
                  <a:gd name="connsiteX5" fmla="*/ 110143 w 149915"/>
                  <a:gd name="connsiteY5" fmla="*/ 107082 h 122379"/>
                  <a:gd name="connsiteX6" fmla="*/ 134618 w 149915"/>
                  <a:gd name="connsiteY6" fmla="*/ 104022 h 122379"/>
                  <a:gd name="connsiteX7" fmla="*/ 140738 w 149915"/>
                  <a:gd name="connsiteY7" fmla="*/ 88725 h 122379"/>
                  <a:gd name="connsiteX8" fmla="*/ 21417 w 149915"/>
                  <a:gd name="connsiteY8" fmla="*/ 9178 h 122379"/>
                  <a:gd name="connsiteX9" fmla="*/ 18358 w 149915"/>
                  <a:gd name="connsiteY9" fmla="*/ 3060 h 122379"/>
                  <a:gd name="connsiteX10" fmla="*/ 24476 w 149915"/>
                  <a:gd name="connsiteY10" fmla="*/ 0 h 122379"/>
                  <a:gd name="connsiteX11" fmla="*/ 131558 w 149915"/>
                  <a:gd name="connsiteY11" fmla="*/ 24476 h 122379"/>
                  <a:gd name="connsiteX12" fmla="*/ 137677 w 149915"/>
                  <a:gd name="connsiteY12" fmla="*/ 30595 h 122379"/>
                  <a:gd name="connsiteX13" fmla="*/ 131558 w 149915"/>
                  <a:gd name="connsiteY13" fmla="*/ 36714 h 122379"/>
                  <a:gd name="connsiteX14" fmla="*/ 64250 w 149915"/>
                  <a:gd name="connsiteY14" fmla="*/ 24476 h 122379"/>
                  <a:gd name="connsiteX15" fmla="*/ 149916 w 149915"/>
                  <a:gd name="connsiteY15" fmla="*/ 91785 h 122379"/>
                  <a:gd name="connsiteX16" fmla="*/ 137677 w 149915"/>
                  <a:gd name="connsiteY16" fmla="*/ 116260 h 122379"/>
                  <a:gd name="connsiteX17" fmla="*/ 119321 w 149915"/>
                  <a:gd name="connsiteY17" fmla="*/ 122380 h 122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9915" h="122379">
                    <a:moveTo>
                      <a:pt x="119321" y="122380"/>
                    </a:moveTo>
                    <a:cubicBezTo>
                      <a:pt x="116260" y="122380"/>
                      <a:pt x="110143" y="122380"/>
                      <a:pt x="107082" y="119320"/>
                    </a:cubicBezTo>
                    <a:cubicBezTo>
                      <a:pt x="88726" y="113202"/>
                      <a:pt x="9178" y="73428"/>
                      <a:pt x="3061" y="70368"/>
                    </a:cubicBezTo>
                    <a:cubicBezTo>
                      <a:pt x="0" y="70368"/>
                      <a:pt x="0" y="64249"/>
                      <a:pt x="0" y="61190"/>
                    </a:cubicBezTo>
                    <a:cubicBezTo>
                      <a:pt x="0" y="58130"/>
                      <a:pt x="6119" y="58130"/>
                      <a:pt x="9178" y="58130"/>
                    </a:cubicBezTo>
                    <a:cubicBezTo>
                      <a:pt x="9178" y="58130"/>
                      <a:pt x="91785" y="100963"/>
                      <a:pt x="110143" y="107082"/>
                    </a:cubicBezTo>
                    <a:cubicBezTo>
                      <a:pt x="119321" y="110142"/>
                      <a:pt x="128499" y="110142"/>
                      <a:pt x="134618" y="104022"/>
                    </a:cubicBezTo>
                    <a:cubicBezTo>
                      <a:pt x="137677" y="100963"/>
                      <a:pt x="140738" y="94844"/>
                      <a:pt x="140738" y="88725"/>
                    </a:cubicBezTo>
                    <a:cubicBezTo>
                      <a:pt x="137677" y="79547"/>
                      <a:pt x="76487" y="39773"/>
                      <a:pt x="21417" y="9178"/>
                    </a:cubicBezTo>
                    <a:cubicBezTo>
                      <a:pt x="18358" y="9178"/>
                      <a:pt x="18358" y="3060"/>
                      <a:pt x="18358" y="3060"/>
                    </a:cubicBezTo>
                    <a:cubicBezTo>
                      <a:pt x="18358" y="0"/>
                      <a:pt x="21417" y="0"/>
                      <a:pt x="24476" y="0"/>
                    </a:cubicBezTo>
                    <a:cubicBezTo>
                      <a:pt x="64250" y="12238"/>
                      <a:pt x="131558" y="24476"/>
                      <a:pt x="131558" y="24476"/>
                    </a:cubicBezTo>
                    <a:cubicBezTo>
                      <a:pt x="134618" y="24476"/>
                      <a:pt x="137677" y="27535"/>
                      <a:pt x="137677" y="30595"/>
                    </a:cubicBezTo>
                    <a:cubicBezTo>
                      <a:pt x="137677" y="33655"/>
                      <a:pt x="134618" y="36714"/>
                      <a:pt x="131558" y="36714"/>
                    </a:cubicBezTo>
                    <a:cubicBezTo>
                      <a:pt x="128499" y="36714"/>
                      <a:pt x="97904" y="30595"/>
                      <a:pt x="64250" y="24476"/>
                    </a:cubicBezTo>
                    <a:cubicBezTo>
                      <a:pt x="104023" y="45892"/>
                      <a:pt x="146855" y="76487"/>
                      <a:pt x="149916" y="91785"/>
                    </a:cubicBezTo>
                    <a:cubicBezTo>
                      <a:pt x="149916" y="100963"/>
                      <a:pt x="146855" y="110142"/>
                      <a:pt x="137677" y="116260"/>
                    </a:cubicBezTo>
                    <a:cubicBezTo>
                      <a:pt x="134618" y="122380"/>
                      <a:pt x="128499" y="122380"/>
                      <a:pt x="119321" y="12238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50ADD738-6749-4663-8DC4-D729BC7EA8D2}"/>
                  </a:ext>
                </a:extLst>
              </p:cNvPr>
              <p:cNvSpPr/>
              <p:nvPr/>
            </p:nvSpPr>
            <p:spPr>
              <a:xfrm>
                <a:off x="21783902" y="9818770"/>
                <a:ext cx="152974" cy="73428"/>
              </a:xfrm>
              <a:custGeom>
                <a:avLst/>
                <a:gdLst>
                  <a:gd name="connsiteX0" fmla="*/ 131558 w 152974"/>
                  <a:gd name="connsiteY0" fmla="*/ 73429 h 73428"/>
                  <a:gd name="connsiteX1" fmla="*/ 61190 w 152974"/>
                  <a:gd name="connsiteY1" fmla="*/ 45892 h 73428"/>
                  <a:gd name="connsiteX2" fmla="*/ 0 w 152974"/>
                  <a:gd name="connsiteY2" fmla="*/ 9179 h 73428"/>
                  <a:gd name="connsiteX3" fmla="*/ 6119 w 152974"/>
                  <a:gd name="connsiteY3" fmla="*/ 0 h 73428"/>
                  <a:gd name="connsiteX4" fmla="*/ 67309 w 152974"/>
                  <a:gd name="connsiteY4" fmla="*/ 36714 h 73428"/>
                  <a:gd name="connsiteX5" fmla="*/ 131558 w 152974"/>
                  <a:gd name="connsiteY5" fmla="*/ 64249 h 73428"/>
                  <a:gd name="connsiteX6" fmla="*/ 131558 w 152974"/>
                  <a:gd name="connsiteY6" fmla="*/ 64249 h 73428"/>
                  <a:gd name="connsiteX7" fmla="*/ 140736 w 152974"/>
                  <a:gd name="connsiteY7" fmla="*/ 48952 h 73428"/>
                  <a:gd name="connsiteX8" fmla="*/ 146855 w 152974"/>
                  <a:gd name="connsiteY8" fmla="*/ 42834 h 73428"/>
                  <a:gd name="connsiteX9" fmla="*/ 152975 w 152974"/>
                  <a:gd name="connsiteY9" fmla="*/ 48952 h 73428"/>
                  <a:gd name="connsiteX10" fmla="*/ 131558 w 152974"/>
                  <a:gd name="connsiteY10" fmla="*/ 73429 h 73428"/>
                  <a:gd name="connsiteX11" fmla="*/ 131558 w 152974"/>
                  <a:gd name="connsiteY11" fmla="*/ 73429 h 73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2974" h="73428">
                    <a:moveTo>
                      <a:pt x="131558" y="73429"/>
                    </a:moveTo>
                    <a:cubicBezTo>
                      <a:pt x="113202" y="73429"/>
                      <a:pt x="67309" y="48952"/>
                      <a:pt x="61190" y="45892"/>
                    </a:cubicBezTo>
                    <a:cubicBezTo>
                      <a:pt x="52012" y="39774"/>
                      <a:pt x="0" y="9179"/>
                      <a:pt x="0" y="9179"/>
                    </a:cubicBezTo>
                    <a:lnTo>
                      <a:pt x="6119" y="0"/>
                    </a:lnTo>
                    <a:cubicBezTo>
                      <a:pt x="6119" y="0"/>
                      <a:pt x="58131" y="30595"/>
                      <a:pt x="67309" y="36714"/>
                    </a:cubicBezTo>
                    <a:cubicBezTo>
                      <a:pt x="79546" y="42834"/>
                      <a:pt x="119321" y="64249"/>
                      <a:pt x="131558" y="64249"/>
                    </a:cubicBezTo>
                    <a:cubicBezTo>
                      <a:pt x="131558" y="64249"/>
                      <a:pt x="131558" y="64249"/>
                      <a:pt x="131558" y="64249"/>
                    </a:cubicBezTo>
                    <a:cubicBezTo>
                      <a:pt x="140736" y="64249"/>
                      <a:pt x="140736" y="48952"/>
                      <a:pt x="140736" y="48952"/>
                    </a:cubicBezTo>
                    <a:cubicBezTo>
                      <a:pt x="140736" y="45892"/>
                      <a:pt x="143796" y="42834"/>
                      <a:pt x="146855" y="42834"/>
                    </a:cubicBezTo>
                    <a:cubicBezTo>
                      <a:pt x="149916" y="42834"/>
                      <a:pt x="152975" y="45892"/>
                      <a:pt x="152975" y="48952"/>
                    </a:cubicBezTo>
                    <a:cubicBezTo>
                      <a:pt x="152975" y="55071"/>
                      <a:pt x="149916" y="70369"/>
                      <a:pt x="131558" y="73429"/>
                    </a:cubicBezTo>
                    <a:cubicBezTo>
                      <a:pt x="134618" y="73429"/>
                      <a:pt x="134618" y="73429"/>
                      <a:pt x="131558" y="7342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935EE913-8463-4960-BD08-C1517FE49E21}"/>
                </a:ext>
              </a:extLst>
            </p:cNvPr>
            <p:cNvSpPr/>
            <p:nvPr/>
          </p:nvSpPr>
          <p:spPr>
            <a:xfrm>
              <a:off x="20774117" y="8683998"/>
              <a:ext cx="918017" cy="1119771"/>
            </a:xfrm>
            <a:custGeom>
              <a:avLst/>
              <a:gdLst>
                <a:gd name="connsiteX0" fmla="*/ 333638 w 918017"/>
                <a:gd name="connsiteY0" fmla="*/ 324008 h 1119771"/>
                <a:gd name="connsiteX1" fmla="*/ 465196 w 918017"/>
                <a:gd name="connsiteY1" fmla="*/ 694206 h 1119771"/>
                <a:gd name="connsiteX2" fmla="*/ 918000 w 918017"/>
                <a:gd name="connsiteY2" fmla="*/ 926727 h 1119771"/>
                <a:gd name="connsiteX3" fmla="*/ 835393 w 918017"/>
                <a:gd name="connsiteY3" fmla="*/ 1119475 h 1119771"/>
                <a:gd name="connsiteX4" fmla="*/ 251031 w 918017"/>
                <a:gd name="connsiteY4" fmla="*/ 880835 h 1119771"/>
                <a:gd name="connsiteX5" fmla="*/ 12392 w 918017"/>
                <a:gd name="connsiteY5" fmla="*/ 265877 h 1119771"/>
                <a:gd name="connsiteX6" fmla="*/ 67462 w 918017"/>
                <a:gd name="connsiteY6" fmla="*/ 2761 h 1119771"/>
                <a:gd name="connsiteX7" fmla="*/ 333638 w 918017"/>
                <a:gd name="connsiteY7" fmla="*/ 324008 h 1119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8017" h="1119771">
                  <a:moveTo>
                    <a:pt x="333638" y="324008"/>
                  </a:moveTo>
                  <a:cubicBezTo>
                    <a:pt x="361172" y="409673"/>
                    <a:pt x="416243" y="617718"/>
                    <a:pt x="465196" y="694206"/>
                  </a:cubicBezTo>
                  <a:cubicBezTo>
                    <a:pt x="535564" y="807407"/>
                    <a:pt x="921059" y="917549"/>
                    <a:pt x="918000" y="926727"/>
                  </a:cubicBezTo>
                  <a:cubicBezTo>
                    <a:pt x="908822" y="997095"/>
                    <a:pt x="890464" y="1076642"/>
                    <a:pt x="835393" y="1119475"/>
                  </a:cubicBezTo>
                  <a:cubicBezTo>
                    <a:pt x="826215" y="1125594"/>
                    <a:pt x="407065" y="1036869"/>
                    <a:pt x="251031" y="880835"/>
                  </a:cubicBezTo>
                  <a:cubicBezTo>
                    <a:pt x="202078" y="831883"/>
                    <a:pt x="61343" y="406614"/>
                    <a:pt x="12392" y="265877"/>
                  </a:cubicBezTo>
                  <a:cubicBezTo>
                    <a:pt x="-15145" y="183271"/>
                    <a:pt x="3212" y="18058"/>
                    <a:pt x="67462" y="2761"/>
                  </a:cubicBezTo>
                  <a:cubicBezTo>
                    <a:pt x="168425" y="-24775"/>
                    <a:pt x="281626" y="158795"/>
                    <a:pt x="333638" y="324008"/>
                  </a:cubicBezTo>
                  <a:close/>
                </a:path>
              </a:pathLst>
            </a:custGeom>
            <a:solidFill>
              <a:srgbClr val="F1DDB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FB6EE725-C13A-4D43-A02A-405037A74E6E}"/>
                </a:ext>
              </a:extLst>
            </p:cNvPr>
            <p:cNvSpPr/>
            <p:nvPr/>
          </p:nvSpPr>
          <p:spPr>
            <a:xfrm>
              <a:off x="19874754" y="10067549"/>
              <a:ext cx="1276742" cy="1220376"/>
            </a:xfrm>
            <a:custGeom>
              <a:avLst/>
              <a:gdLst>
                <a:gd name="connsiteX0" fmla="*/ 1266655 w 1276742"/>
                <a:gd name="connsiteY0" fmla="*/ 635415 h 1220376"/>
                <a:gd name="connsiteX1" fmla="*/ 1223821 w 1276742"/>
                <a:gd name="connsiteY1" fmla="*/ 384536 h 1220376"/>
                <a:gd name="connsiteX2" fmla="*/ 1199346 w 1276742"/>
                <a:gd name="connsiteY2" fmla="*/ 69409 h 1220376"/>
                <a:gd name="connsiteX3" fmla="*/ 1174870 w 1276742"/>
                <a:gd name="connsiteY3" fmla="*/ 57170 h 1220376"/>
                <a:gd name="connsiteX4" fmla="*/ 893397 w 1276742"/>
                <a:gd name="connsiteY4" fmla="*/ 20457 h 1220376"/>
                <a:gd name="connsiteX5" fmla="*/ 645579 w 1276742"/>
                <a:gd name="connsiteY5" fmla="*/ 286632 h 1220376"/>
                <a:gd name="connsiteX6" fmla="*/ 168297 w 1276742"/>
                <a:gd name="connsiteY6" fmla="*/ 347822 h 1220376"/>
                <a:gd name="connsiteX7" fmla="*/ 168297 w 1276742"/>
                <a:gd name="connsiteY7" fmla="*/ 641533 h 1220376"/>
                <a:gd name="connsiteX8" fmla="*/ 25 w 1276742"/>
                <a:gd name="connsiteY8" fmla="*/ 1017851 h 1220376"/>
                <a:gd name="connsiteX9" fmla="*/ 284559 w 1276742"/>
                <a:gd name="connsiteY9" fmla="*/ 1088219 h 1220376"/>
                <a:gd name="connsiteX10" fmla="*/ 780195 w 1276742"/>
                <a:gd name="connsiteY10" fmla="*/ 1137171 h 1220376"/>
                <a:gd name="connsiteX11" fmla="*/ 1226882 w 1276742"/>
                <a:gd name="connsiteY11" fmla="*/ 1219777 h 1220376"/>
                <a:gd name="connsiteX12" fmla="*/ 1245238 w 1276742"/>
                <a:gd name="connsiteY12" fmla="*/ 1204479 h 1220376"/>
                <a:gd name="connsiteX13" fmla="*/ 1266655 w 1276742"/>
                <a:gd name="connsiteY13" fmla="*/ 635415 h 1220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6742" h="1220376">
                  <a:moveTo>
                    <a:pt x="1266655" y="635415"/>
                  </a:moveTo>
                  <a:cubicBezTo>
                    <a:pt x="1257477" y="549749"/>
                    <a:pt x="1236060" y="470202"/>
                    <a:pt x="1223821" y="384536"/>
                  </a:cubicBezTo>
                  <a:cubicBezTo>
                    <a:pt x="1205465" y="280514"/>
                    <a:pt x="1202406" y="176491"/>
                    <a:pt x="1199346" y="69409"/>
                  </a:cubicBezTo>
                  <a:cubicBezTo>
                    <a:pt x="1199346" y="57170"/>
                    <a:pt x="1184048" y="51052"/>
                    <a:pt x="1174870" y="57170"/>
                  </a:cubicBezTo>
                  <a:cubicBezTo>
                    <a:pt x="1092263" y="2100"/>
                    <a:pt x="988242" y="-19317"/>
                    <a:pt x="893397" y="20457"/>
                  </a:cubicBezTo>
                  <a:cubicBezTo>
                    <a:pt x="783256" y="69409"/>
                    <a:pt x="703708" y="188729"/>
                    <a:pt x="645579" y="286632"/>
                  </a:cubicBezTo>
                  <a:cubicBezTo>
                    <a:pt x="575211" y="402893"/>
                    <a:pt x="220309" y="222384"/>
                    <a:pt x="168297" y="347822"/>
                  </a:cubicBezTo>
                  <a:cubicBezTo>
                    <a:pt x="137702" y="418191"/>
                    <a:pt x="198892" y="571165"/>
                    <a:pt x="168297" y="641533"/>
                  </a:cubicBezTo>
                  <a:cubicBezTo>
                    <a:pt x="140763" y="699663"/>
                    <a:pt x="18383" y="953602"/>
                    <a:pt x="25" y="1017851"/>
                  </a:cubicBezTo>
                  <a:cubicBezTo>
                    <a:pt x="-3034" y="1023970"/>
                    <a:pt x="275379" y="1085159"/>
                    <a:pt x="284559" y="1088219"/>
                  </a:cubicBezTo>
                  <a:lnTo>
                    <a:pt x="780195" y="1137171"/>
                  </a:lnTo>
                  <a:cubicBezTo>
                    <a:pt x="930111" y="1158587"/>
                    <a:pt x="1083085" y="1173884"/>
                    <a:pt x="1226882" y="1219777"/>
                  </a:cubicBezTo>
                  <a:cubicBezTo>
                    <a:pt x="1236060" y="1222836"/>
                    <a:pt x="1245238" y="1213658"/>
                    <a:pt x="1245238" y="1204479"/>
                  </a:cubicBezTo>
                  <a:cubicBezTo>
                    <a:pt x="1272774" y="1017851"/>
                    <a:pt x="1288072" y="825103"/>
                    <a:pt x="1266655" y="635415"/>
                  </a:cubicBezTo>
                  <a:close/>
                </a:path>
              </a:pathLst>
            </a:custGeom>
            <a:solidFill>
              <a:srgbClr val="F1DDB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318E9BC4-9302-4C04-A9BE-BD71A255241B}"/>
                </a:ext>
              </a:extLst>
            </p:cNvPr>
            <p:cNvSpPr/>
            <p:nvPr/>
          </p:nvSpPr>
          <p:spPr>
            <a:xfrm>
              <a:off x="20237387" y="7829860"/>
              <a:ext cx="425153" cy="390416"/>
            </a:xfrm>
            <a:custGeom>
              <a:avLst/>
              <a:gdLst>
                <a:gd name="connsiteX0" fmla="*/ 414503 w 425153"/>
                <a:gd name="connsiteY0" fmla="*/ 122622 h 390416"/>
                <a:gd name="connsiteX1" fmla="*/ 276826 w 425153"/>
                <a:gd name="connsiteY1" fmla="*/ 376560 h 390416"/>
                <a:gd name="connsiteX2" fmla="*/ 10650 w 425153"/>
                <a:gd name="connsiteY2" fmla="*/ 269477 h 390416"/>
                <a:gd name="connsiteX3" fmla="*/ 148327 w 425153"/>
                <a:gd name="connsiteY3" fmla="*/ 15540 h 390416"/>
                <a:gd name="connsiteX4" fmla="*/ 414503 w 425153"/>
                <a:gd name="connsiteY4" fmla="*/ 122622 h 390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153" h="390416">
                  <a:moveTo>
                    <a:pt x="414503" y="122622"/>
                  </a:moveTo>
                  <a:cubicBezTo>
                    <a:pt x="451218" y="223585"/>
                    <a:pt x="390028" y="336786"/>
                    <a:pt x="276826" y="376560"/>
                  </a:cubicBezTo>
                  <a:cubicBezTo>
                    <a:pt x="163625" y="416333"/>
                    <a:pt x="44306" y="367381"/>
                    <a:pt x="10650" y="269477"/>
                  </a:cubicBezTo>
                  <a:cubicBezTo>
                    <a:pt x="-26064" y="168514"/>
                    <a:pt x="35126" y="55313"/>
                    <a:pt x="148327" y="15540"/>
                  </a:cubicBezTo>
                  <a:cubicBezTo>
                    <a:pt x="258470" y="-27294"/>
                    <a:pt x="377789" y="21659"/>
                    <a:pt x="414503" y="122622"/>
                  </a:cubicBezTo>
                  <a:close/>
                </a:path>
              </a:pathLst>
            </a:custGeom>
            <a:solidFill>
              <a:srgbClr val="664241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EB6D2DDA-929A-4F4C-A3FE-25F0A21B44F4}"/>
                </a:ext>
              </a:extLst>
            </p:cNvPr>
            <p:cNvSpPr/>
            <p:nvPr/>
          </p:nvSpPr>
          <p:spPr>
            <a:xfrm>
              <a:off x="20306168" y="8236833"/>
              <a:ext cx="402833" cy="303913"/>
            </a:xfrm>
            <a:custGeom>
              <a:avLst/>
              <a:gdLst>
                <a:gd name="connsiteX0" fmla="*/ 0 w 402833"/>
                <a:gd name="connsiteY0" fmla="*/ 33835 h 303913"/>
                <a:gd name="connsiteX1" fmla="*/ 296771 w 402833"/>
                <a:gd name="connsiteY1" fmla="*/ 303070 h 303913"/>
                <a:gd name="connsiteX2" fmla="*/ 296771 w 402833"/>
                <a:gd name="connsiteY2" fmla="*/ 52192 h 303913"/>
                <a:gd name="connsiteX3" fmla="*/ 0 w 402833"/>
                <a:gd name="connsiteY3" fmla="*/ 33835 h 30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833" h="303913">
                  <a:moveTo>
                    <a:pt x="0" y="33835"/>
                  </a:moveTo>
                  <a:cubicBezTo>
                    <a:pt x="0" y="33835"/>
                    <a:pt x="61190" y="321427"/>
                    <a:pt x="296771" y="303070"/>
                  </a:cubicBezTo>
                  <a:cubicBezTo>
                    <a:pt x="535411" y="284713"/>
                    <a:pt x="296771" y="52192"/>
                    <a:pt x="296771" y="52192"/>
                  </a:cubicBezTo>
                  <a:cubicBezTo>
                    <a:pt x="296771" y="52192"/>
                    <a:pt x="33654" y="-51831"/>
                    <a:pt x="0" y="33835"/>
                  </a:cubicBezTo>
                  <a:close/>
                </a:path>
              </a:pathLst>
            </a:custGeom>
            <a:solidFill>
              <a:srgbClr val="664241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" name="图形 892">
              <a:extLst>
                <a:ext uri="{FF2B5EF4-FFF2-40B4-BE49-F238E27FC236}">
                  <a16:creationId xmlns:a16="http://schemas.microsoft.com/office/drawing/2014/main" id="{04E42C1F-C3C4-4C7C-A5D2-665C1736A1C0}"/>
                </a:ext>
              </a:extLst>
            </p:cNvPr>
            <p:cNvGrpSpPr/>
            <p:nvPr/>
          </p:nvGrpSpPr>
          <p:grpSpPr>
            <a:xfrm>
              <a:off x="25273758" y="12039960"/>
              <a:ext cx="472623" cy="498125"/>
              <a:chOff x="25273758" y="12039960"/>
              <a:chExt cx="472623" cy="498125"/>
            </a:xfrm>
          </p:grpSpPr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CA81EC1D-C2D7-49DD-8DD0-6205F98F03F3}"/>
                  </a:ext>
                </a:extLst>
              </p:cNvPr>
              <p:cNvSpPr/>
              <p:nvPr/>
            </p:nvSpPr>
            <p:spPr>
              <a:xfrm>
                <a:off x="25439992" y="12039960"/>
                <a:ext cx="235581" cy="244759"/>
              </a:xfrm>
              <a:custGeom>
                <a:avLst/>
                <a:gdLst>
                  <a:gd name="connsiteX0" fmla="*/ 232521 w 235581"/>
                  <a:gd name="connsiteY0" fmla="*/ 174391 h 244759"/>
                  <a:gd name="connsiteX1" fmla="*/ 168272 w 235581"/>
                  <a:gd name="connsiteY1" fmla="*/ 0 h 244759"/>
                  <a:gd name="connsiteX2" fmla="*/ 0 w 235581"/>
                  <a:gd name="connsiteY2" fmla="*/ 70369 h 244759"/>
                  <a:gd name="connsiteX3" fmla="*/ 85665 w 235581"/>
                  <a:gd name="connsiteY3" fmla="*/ 244759 h 244759"/>
                  <a:gd name="connsiteX4" fmla="*/ 235581 w 235581"/>
                  <a:gd name="connsiteY4" fmla="*/ 217224 h 244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5581" h="244759">
                    <a:moveTo>
                      <a:pt x="232521" y="174391"/>
                    </a:moveTo>
                    <a:lnTo>
                      <a:pt x="168272" y="0"/>
                    </a:lnTo>
                    <a:lnTo>
                      <a:pt x="0" y="70369"/>
                    </a:lnTo>
                    <a:lnTo>
                      <a:pt x="85665" y="244759"/>
                    </a:lnTo>
                    <a:lnTo>
                      <a:pt x="235581" y="217224"/>
                    </a:ln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67EBA885-5979-45AF-9C80-DE945C81F25E}"/>
                  </a:ext>
                </a:extLst>
              </p:cNvPr>
              <p:cNvSpPr/>
              <p:nvPr/>
            </p:nvSpPr>
            <p:spPr>
              <a:xfrm>
                <a:off x="25273758" y="12208232"/>
                <a:ext cx="456886" cy="287591"/>
              </a:xfrm>
              <a:custGeom>
                <a:avLst/>
                <a:gdLst>
                  <a:gd name="connsiteX0" fmla="*/ 414053 w 456886"/>
                  <a:gd name="connsiteY0" fmla="*/ 0 h 287591"/>
                  <a:gd name="connsiteX1" fmla="*/ 224366 w 456886"/>
                  <a:gd name="connsiteY1" fmla="*/ 24476 h 287591"/>
                  <a:gd name="connsiteX2" fmla="*/ 129520 w 456886"/>
                  <a:gd name="connsiteY2" fmla="*/ 149915 h 287591"/>
                  <a:gd name="connsiteX3" fmla="*/ 1022 w 456886"/>
                  <a:gd name="connsiteY3" fmla="*/ 287592 h 287591"/>
                  <a:gd name="connsiteX4" fmla="*/ 456886 w 456886"/>
                  <a:gd name="connsiteY4" fmla="*/ 104022 h 287591"/>
                  <a:gd name="connsiteX5" fmla="*/ 414053 w 456886"/>
                  <a:gd name="connsiteY5" fmla="*/ 0 h 287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6886" h="287591">
                    <a:moveTo>
                      <a:pt x="414053" y="0"/>
                    </a:moveTo>
                    <a:cubicBezTo>
                      <a:pt x="414053" y="0"/>
                      <a:pt x="303912" y="64249"/>
                      <a:pt x="224366" y="24476"/>
                    </a:cubicBezTo>
                    <a:cubicBezTo>
                      <a:pt x="224366" y="24476"/>
                      <a:pt x="169293" y="122380"/>
                      <a:pt x="129520" y="149915"/>
                    </a:cubicBezTo>
                    <a:cubicBezTo>
                      <a:pt x="89747" y="174391"/>
                      <a:pt x="-11215" y="214164"/>
                      <a:pt x="1022" y="287592"/>
                    </a:cubicBezTo>
                    <a:lnTo>
                      <a:pt x="456886" y="104022"/>
                    </a:lnTo>
                    <a:cubicBezTo>
                      <a:pt x="453828" y="107082"/>
                      <a:pt x="447708" y="42833"/>
                      <a:pt x="414053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6AD1E762-474B-4DC8-B55B-2F6B10A1D99B}"/>
                  </a:ext>
                </a:extLst>
              </p:cNvPr>
              <p:cNvSpPr/>
              <p:nvPr/>
            </p:nvSpPr>
            <p:spPr>
              <a:xfrm rot="-1312553">
                <a:off x="25265934" y="12402648"/>
                <a:ext cx="489522" cy="45892"/>
              </a:xfrm>
              <a:custGeom>
                <a:avLst/>
                <a:gdLst>
                  <a:gd name="connsiteX0" fmla="*/ 0 w 489522"/>
                  <a:gd name="connsiteY0" fmla="*/ 0 h 45892"/>
                  <a:gd name="connsiteX1" fmla="*/ 489522 w 489522"/>
                  <a:gd name="connsiteY1" fmla="*/ 0 h 45892"/>
                  <a:gd name="connsiteX2" fmla="*/ 489522 w 489522"/>
                  <a:gd name="connsiteY2" fmla="*/ 45892 h 45892"/>
                  <a:gd name="connsiteX3" fmla="*/ 0 w 489522"/>
                  <a:gd name="connsiteY3" fmla="*/ 45892 h 45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9522" h="45892">
                    <a:moveTo>
                      <a:pt x="0" y="0"/>
                    </a:moveTo>
                    <a:lnTo>
                      <a:pt x="489522" y="0"/>
                    </a:lnTo>
                    <a:lnTo>
                      <a:pt x="489522" y="45892"/>
                    </a:lnTo>
                    <a:lnTo>
                      <a:pt x="0" y="45892"/>
                    </a:ln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A1781150-A4CA-43D6-A855-2E34630D859D}"/>
                  </a:ext>
                </a:extLst>
              </p:cNvPr>
              <p:cNvSpPr/>
              <p:nvPr/>
            </p:nvSpPr>
            <p:spPr>
              <a:xfrm>
                <a:off x="25492004" y="12206965"/>
                <a:ext cx="203193" cy="44100"/>
              </a:xfrm>
              <a:custGeom>
                <a:avLst/>
                <a:gdLst>
                  <a:gd name="connsiteX0" fmla="*/ 64249 w 203193"/>
                  <a:gd name="connsiteY0" fmla="*/ 44100 h 44100"/>
                  <a:gd name="connsiteX1" fmla="*/ 3059 w 203193"/>
                  <a:gd name="connsiteY1" fmla="*/ 34922 h 44100"/>
                  <a:gd name="connsiteX2" fmla="*/ 0 w 203193"/>
                  <a:gd name="connsiteY2" fmla="*/ 28803 h 44100"/>
                  <a:gd name="connsiteX3" fmla="*/ 6119 w 203193"/>
                  <a:gd name="connsiteY3" fmla="*/ 25744 h 44100"/>
                  <a:gd name="connsiteX4" fmla="*/ 192748 w 203193"/>
                  <a:gd name="connsiteY4" fmla="*/ 1267 h 44100"/>
                  <a:gd name="connsiteX5" fmla="*/ 201926 w 203193"/>
                  <a:gd name="connsiteY5" fmla="*/ 4327 h 44100"/>
                  <a:gd name="connsiteX6" fmla="*/ 198867 w 203193"/>
                  <a:gd name="connsiteY6" fmla="*/ 13505 h 44100"/>
                  <a:gd name="connsiteX7" fmla="*/ 64249 w 203193"/>
                  <a:gd name="connsiteY7" fmla="*/ 44100 h 44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3193" h="44100">
                    <a:moveTo>
                      <a:pt x="64249" y="44100"/>
                    </a:moveTo>
                    <a:cubicBezTo>
                      <a:pt x="42832" y="44100"/>
                      <a:pt x="24476" y="41041"/>
                      <a:pt x="3059" y="34922"/>
                    </a:cubicBezTo>
                    <a:cubicBezTo>
                      <a:pt x="0" y="34922"/>
                      <a:pt x="0" y="31862"/>
                      <a:pt x="0" y="28803"/>
                    </a:cubicBezTo>
                    <a:cubicBezTo>
                      <a:pt x="0" y="25744"/>
                      <a:pt x="3059" y="25744"/>
                      <a:pt x="6119" y="25744"/>
                    </a:cubicBezTo>
                    <a:cubicBezTo>
                      <a:pt x="91785" y="56339"/>
                      <a:pt x="192748" y="1267"/>
                      <a:pt x="192748" y="1267"/>
                    </a:cubicBezTo>
                    <a:cubicBezTo>
                      <a:pt x="195806" y="-1792"/>
                      <a:pt x="198867" y="1267"/>
                      <a:pt x="201926" y="4327"/>
                    </a:cubicBezTo>
                    <a:cubicBezTo>
                      <a:pt x="204986" y="7387"/>
                      <a:pt x="201926" y="10446"/>
                      <a:pt x="198867" y="13505"/>
                    </a:cubicBezTo>
                    <a:cubicBezTo>
                      <a:pt x="192748" y="10446"/>
                      <a:pt x="134616" y="44100"/>
                      <a:pt x="64249" y="441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EB2F7145-DA21-4789-A2C5-E77A7B6932DF}"/>
                  </a:ext>
                </a:extLst>
              </p:cNvPr>
              <p:cNvSpPr/>
              <p:nvPr/>
            </p:nvSpPr>
            <p:spPr>
              <a:xfrm>
                <a:off x="25467529" y="12269422"/>
                <a:ext cx="42831" cy="24476"/>
              </a:xfrm>
              <a:custGeom>
                <a:avLst/>
                <a:gdLst>
                  <a:gd name="connsiteX0" fmla="*/ 39773 w 42831"/>
                  <a:gd name="connsiteY0" fmla="*/ 24476 h 24476"/>
                  <a:gd name="connsiteX1" fmla="*/ 39773 w 42831"/>
                  <a:gd name="connsiteY1" fmla="*/ 24476 h 24476"/>
                  <a:gd name="connsiteX2" fmla="*/ 3059 w 42831"/>
                  <a:gd name="connsiteY2" fmla="*/ 9179 h 24476"/>
                  <a:gd name="connsiteX3" fmla="*/ 0 w 42831"/>
                  <a:gd name="connsiteY3" fmla="*/ 3060 h 24476"/>
                  <a:gd name="connsiteX4" fmla="*/ 6117 w 42831"/>
                  <a:gd name="connsiteY4" fmla="*/ 0 h 24476"/>
                  <a:gd name="connsiteX5" fmla="*/ 39773 w 42831"/>
                  <a:gd name="connsiteY5" fmla="*/ 15297 h 24476"/>
                  <a:gd name="connsiteX6" fmla="*/ 42832 w 42831"/>
                  <a:gd name="connsiteY6" fmla="*/ 21417 h 24476"/>
                  <a:gd name="connsiteX7" fmla="*/ 39773 w 42831"/>
                  <a:gd name="connsiteY7" fmla="*/ 24476 h 24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831" h="24476">
                    <a:moveTo>
                      <a:pt x="39773" y="24476"/>
                    </a:moveTo>
                    <a:cubicBezTo>
                      <a:pt x="39773" y="24476"/>
                      <a:pt x="36712" y="24476"/>
                      <a:pt x="39773" y="24476"/>
                    </a:cubicBezTo>
                    <a:lnTo>
                      <a:pt x="3059" y="9179"/>
                    </a:lnTo>
                    <a:cubicBezTo>
                      <a:pt x="0" y="9179"/>
                      <a:pt x="0" y="3060"/>
                      <a:pt x="0" y="3060"/>
                    </a:cubicBezTo>
                    <a:cubicBezTo>
                      <a:pt x="0" y="0"/>
                      <a:pt x="6117" y="0"/>
                      <a:pt x="6117" y="0"/>
                    </a:cubicBezTo>
                    <a:lnTo>
                      <a:pt x="39773" y="15297"/>
                    </a:lnTo>
                    <a:cubicBezTo>
                      <a:pt x="42832" y="15297"/>
                      <a:pt x="42832" y="21417"/>
                      <a:pt x="42832" y="21417"/>
                    </a:cubicBezTo>
                    <a:cubicBezTo>
                      <a:pt x="42832" y="24476"/>
                      <a:pt x="42832" y="24476"/>
                      <a:pt x="39773" y="2447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2F6A8180-E264-40AF-9CF0-47F57188AD6E}"/>
                  </a:ext>
                </a:extLst>
              </p:cNvPr>
              <p:cNvSpPr/>
              <p:nvPr/>
            </p:nvSpPr>
            <p:spPr>
              <a:xfrm>
                <a:off x="25439992" y="12309196"/>
                <a:ext cx="44100" cy="24475"/>
              </a:xfrm>
              <a:custGeom>
                <a:avLst/>
                <a:gdLst>
                  <a:gd name="connsiteX0" fmla="*/ 39773 w 44100"/>
                  <a:gd name="connsiteY0" fmla="*/ 24476 h 24475"/>
                  <a:gd name="connsiteX1" fmla="*/ 39773 w 44100"/>
                  <a:gd name="connsiteY1" fmla="*/ 24476 h 24475"/>
                  <a:gd name="connsiteX2" fmla="*/ 3059 w 44100"/>
                  <a:gd name="connsiteY2" fmla="*/ 9178 h 24475"/>
                  <a:gd name="connsiteX3" fmla="*/ 0 w 44100"/>
                  <a:gd name="connsiteY3" fmla="*/ 3059 h 24475"/>
                  <a:gd name="connsiteX4" fmla="*/ 6119 w 44100"/>
                  <a:gd name="connsiteY4" fmla="*/ 0 h 24475"/>
                  <a:gd name="connsiteX5" fmla="*/ 39773 w 44100"/>
                  <a:gd name="connsiteY5" fmla="*/ 15297 h 24475"/>
                  <a:gd name="connsiteX6" fmla="*/ 42834 w 44100"/>
                  <a:gd name="connsiteY6" fmla="*/ 21416 h 24475"/>
                  <a:gd name="connsiteX7" fmla="*/ 39773 w 44100"/>
                  <a:gd name="connsiteY7" fmla="*/ 24476 h 24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100" h="24475">
                    <a:moveTo>
                      <a:pt x="39773" y="24476"/>
                    </a:moveTo>
                    <a:cubicBezTo>
                      <a:pt x="39773" y="24476"/>
                      <a:pt x="39773" y="24476"/>
                      <a:pt x="39773" y="24476"/>
                    </a:cubicBezTo>
                    <a:lnTo>
                      <a:pt x="3059" y="9178"/>
                    </a:lnTo>
                    <a:cubicBezTo>
                      <a:pt x="0" y="9178"/>
                      <a:pt x="0" y="3059"/>
                      <a:pt x="0" y="3059"/>
                    </a:cubicBezTo>
                    <a:cubicBezTo>
                      <a:pt x="0" y="0"/>
                      <a:pt x="6119" y="0"/>
                      <a:pt x="6119" y="0"/>
                    </a:cubicBezTo>
                    <a:lnTo>
                      <a:pt x="39773" y="15297"/>
                    </a:lnTo>
                    <a:cubicBezTo>
                      <a:pt x="42834" y="15297"/>
                      <a:pt x="42834" y="21416"/>
                      <a:pt x="42834" y="21416"/>
                    </a:cubicBezTo>
                    <a:cubicBezTo>
                      <a:pt x="45892" y="24476"/>
                      <a:pt x="42834" y="24476"/>
                      <a:pt x="39773" y="2447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图形 892">
              <a:extLst>
                <a:ext uri="{FF2B5EF4-FFF2-40B4-BE49-F238E27FC236}">
                  <a16:creationId xmlns:a16="http://schemas.microsoft.com/office/drawing/2014/main" id="{0DD5BA7A-329A-47B7-BAA7-729CA905000F}"/>
                </a:ext>
              </a:extLst>
            </p:cNvPr>
            <p:cNvGrpSpPr/>
            <p:nvPr/>
          </p:nvGrpSpPr>
          <p:grpSpPr>
            <a:xfrm>
              <a:off x="24430361" y="12180697"/>
              <a:ext cx="498696" cy="345722"/>
              <a:chOff x="24430361" y="12180697"/>
              <a:chExt cx="498696" cy="345722"/>
            </a:xfrm>
          </p:grpSpPr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5C342EB3-1EFA-4D43-BD23-460DB58D4F18}"/>
                  </a:ext>
                </a:extLst>
              </p:cNvPr>
              <p:cNvSpPr/>
              <p:nvPr/>
            </p:nvSpPr>
            <p:spPr>
              <a:xfrm>
                <a:off x="24727132" y="12180697"/>
                <a:ext cx="183569" cy="226402"/>
              </a:xfrm>
              <a:custGeom>
                <a:avLst/>
                <a:gdLst>
                  <a:gd name="connsiteX0" fmla="*/ 180509 w 183569"/>
                  <a:gd name="connsiteY0" fmla="*/ 186629 h 226402"/>
                  <a:gd name="connsiteX1" fmla="*/ 183569 w 183569"/>
                  <a:gd name="connsiteY1" fmla="*/ 0 h 226402"/>
                  <a:gd name="connsiteX2" fmla="*/ 0 w 183569"/>
                  <a:gd name="connsiteY2" fmla="*/ 0 h 226402"/>
                  <a:gd name="connsiteX3" fmla="*/ 15297 w 183569"/>
                  <a:gd name="connsiteY3" fmla="*/ 195807 h 226402"/>
                  <a:gd name="connsiteX4" fmla="*/ 168272 w 183569"/>
                  <a:gd name="connsiteY4" fmla="*/ 226402 h 226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3569" h="226402">
                    <a:moveTo>
                      <a:pt x="180509" y="186629"/>
                    </a:moveTo>
                    <a:lnTo>
                      <a:pt x="183569" y="0"/>
                    </a:lnTo>
                    <a:lnTo>
                      <a:pt x="0" y="0"/>
                    </a:lnTo>
                    <a:lnTo>
                      <a:pt x="15297" y="195807"/>
                    </a:lnTo>
                    <a:lnTo>
                      <a:pt x="168272" y="226402"/>
                    </a:ln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CF55976C-5EA1-4AE3-91D7-4114C999CC68}"/>
                  </a:ext>
                </a:extLst>
              </p:cNvPr>
              <p:cNvSpPr/>
              <p:nvPr/>
            </p:nvSpPr>
            <p:spPr>
              <a:xfrm>
                <a:off x="24430361" y="12321433"/>
                <a:ext cx="497676" cy="159092"/>
              </a:xfrm>
              <a:custGeom>
                <a:avLst/>
                <a:gdLst>
                  <a:gd name="connsiteX0" fmla="*/ 489518 w 497676"/>
                  <a:gd name="connsiteY0" fmla="*/ 45892 h 159092"/>
                  <a:gd name="connsiteX1" fmla="*/ 302890 w 497676"/>
                  <a:gd name="connsiteY1" fmla="*/ 0 h 159092"/>
                  <a:gd name="connsiteX2" fmla="*/ 168272 w 497676"/>
                  <a:gd name="connsiteY2" fmla="*/ 79547 h 159092"/>
                  <a:gd name="connsiteX3" fmla="*/ 0 w 497676"/>
                  <a:gd name="connsiteY3" fmla="*/ 159093 h 159092"/>
                  <a:gd name="connsiteX4" fmla="*/ 489518 w 497676"/>
                  <a:gd name="connsiteY4" fmla="*/ 159093 h 159092"/>
                  <a:gd name="connsiteX5" fmla="*/ 489518 w 497676"/>
                  <a:gd name="connsiteY5" fmla="*/ 45892 h 159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7676" h="159092">
                    <a:moveTo>
                      <a:pt x="489518" y="45892"/>
                    </a:moveTo>
                    <a:cubicBezTo>
                      <a:pt x="489518" y="45892"/>
                      <a:pt x="364080" y="64249"/>
                      <a:pt x="302890" y="0"/>
                    </a:cubicBezTo>
                    <a:cubicBezTo>
                      <a:pt x="302890" y="0"/>
                      <a:pt x="214164" y="70368"/>
                      <a:pt x="168272" y="79547"/>
                    </a:cubicBezTo>
                    <a:cubicBezTo>
                      <a:pt x="122380" y="88725"/>
                      <a:pt x="12239" y="85665"/>
                      <a:pt x="0" y="159093"/>
                    </a:cubicBezTo>
                    <a:lnTo>
                      <a:pt x="489518" y="159093"/>
                    </a:lnTo>
                    <a:cubicBezTo>
                      <a:pt x="489518" y="159093"/>
                      <a:pt x="507875" y="94844"/>
                      <a:pt x="489518" y="45892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2B380C13-A202-4993-BC52-49DA6BDDFAE6}"/>
                  </a:ext>
                </a:extLst>
              </p:cNvPr>
              <p:cNvSpPr/>
              <p:nvPr/>
            </p:nvSpPr>
            <p:spPr>
              <a:xfrm>
                <a:off x="24430361" y="12480527"/>
                <a:ext cx="489518" cy="45892"/>
              </a:xfrm>
              <a:custGeom>
                <a:avLst/>
                <a:gdLst>
                  <a:gd name="connsiteX0" fmla="*/ 0 w 489518"/>
                  <a:gd name="connsiteY0" fmla="*/ 0 h 45892"/>
                  <a:gd name="connsiteX1" fmla="*/ 489518 w 489518"/>
                  <a:gd name="connsiteY1" fmla="*/ 0 h 45892"/>
                  <a:gd name="connsiteX2" fmla="*/ 489518 w 489518"/>
                  <a:gd name="connsiteY2" fmla="*/ 45892 h 45892"/>
                  <a:gd name="connsiteX3" fmla="*/ 0 w 489518"/>
                  <a:gd name="connsiteY3" fmla="*/ 45892 h 45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9518" h="45892">
                    <a:moveTo>
                      <a:pt x="0" y="0"/>
                    </a:moveTo>
                    <a:lnTo>
                      <a:pt x="489518" y="0"/>
                    </a:lnTo>
                    <a:lnTo>
                      <a:pt x="489518" y="45892"/>
                    </a:lnTo>
                    <a:lnTo>
                      <a:pt x="0" y="45892"/>
                    </a:ln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A8710A06-6FBD-458A-9AFF-E8417C245068}"/>
                  </a:ext>
                </a:extLst>
              </p:cNvPr>
              <p:cNvSpPr/>
              <p:nvPr/>
            </p:nvSpPr>
            <p:spPr>
              <a:xfrm>
                <a:off x="24727896" y="12309960"/>
                <a:ext cx="201160" cy="63483"/>
              </a:xfrm>
              <a:custGeom>
                <a:avLst/>
                <a:gdLst>
                  <a:gd name="connsiteX0" fmla="*/ 158329 w 201160"/>
                  <a:gd name="connsiteY0" fmla="*/ 63484 h 63483"/>
                  <a:gd name="connsiteX1" fmla="*/ 2294 w 201160"/>
                  <a:gd name="connsiteY1" fmla="*/ 11473 h 63483"/>
                  <a:gd name="connsiteX2" fmla="*/ 2294 w 201160"/>
                  <a:gd name="connsiteY2" fmla="*/ 2294 h 63483"/>
                  <a:gd name="connsiteX3" fmla="*/ 11472 w 201160"/>
                  <a:gd name="connsiteY3" fmla="*/ 2294 h 63483"/>
                  <a:gd name="connsiteX4" fmla="*/ 195042 w 201160"/>
                  <a:gd name="connsiteY4" fmla="*/ 48186 h 63483"/>
                  <a:gd name="connsiteX5" fmla="*/ 201161 w 201160"/>
                  <a:gd name="connsiteY5" fmla="*/ 54306 h 63483"/>
                  <a:gd name="connsiteX6" fmla="*/ 195042 w 201160"/>
                  <a:gd name="connsiteY6" fmla="*/ 60425 h 63483"/>
                  <a:gd name="connsiteX7" fmla="*/ 158329 w 201160"/>
                  <a:gd name="connsiteY7" fmla="*/ 63484 h 63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160" h="63483">
                    <a:moveTo>
                      <a:pt x="158329" y="63484"/>
                    </a:moveTo>
                    <a:cubicBezTo>
                      <a:pt x="118554" y="63484"/>
                      <a:pt x="51247" y="57365"/>
                      <a:pt x="2294" y="11473"/>
                    </a:cubicBezTo>
                    <a:cubicBezTo>
                      <a:pt x="-765" y="8413"/>
                      <a:pt x="-765" y="5354"/>
                      <a:pt x="2294" y="2294"/>
                    </a:cubicBezTo>
                    <a:cubicBezTo>
                      <a:pt x="5355" y="-765"/>
                      <a:pt x="8413" y="-765"/>
                      <a:pt x="11472" y="2294"/>
                    </a:cubicBezTo>
                    <a:cubicBezTo>
                      <a:pt x="78781" y="63484"/>
                      <a:pt x="191983" y="48186"/>
                      <a:pt x="195042" y="48186"/>
                    </a:cubicBezTo>
                    <a:cubicBezTo>
                      <a:pt x="198102" y="48186"/>
                      <a:pt x="201161" y="51246"/>
                      <a:pt x="201161" y="54306"/>
                    </a:cubicBezTo>
                    <a:cubicBezTo>
                      <a:pt x="201161" y="57365"/>
                      <a:pt x="198102" y="60425"/>
                      <a:pt x="195042" y="60425"/>
                    </a:cubicBezTo>
                    <a:cubicBezTo>
                      <a:pt x="191983" y="63484"/>
                      <a:pt x="176685" y="63484"/>
                      <a:pt x="158329" y="6348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7C5D6951-AD05-44CD-975D-318A87B676BC}"/>
                  </a:ext>
                </a:extLst>
              </p:cNvPr>
              <p:cNvSpPr/>
              <p:nvPr/>
            </p:nvSpPr>
            <p:spPr>
              <a:xfrm>
                <a:off x="24691182" y="12337496"/>
                <a:ext cx="41303" cy="42067"/>
              </a:xfrm>
              <a:custGeom>
                <a:avLst/>
                <a:gdLst>
                  <a:gd name="connsiteX0" fmla="*/ 32889 w 41303"/>
                  <a:gd name="connsiteY0" fmla="*/ 42068 h 42067"/>
                  <a:gd name="connsiteX1" fmla="*/ 29830 w 41303"/>
                  <a:gd name="connsiteY1" fmla="*/ 39008 h 42067"/>
                  <a:gd name="connsiteX2" fmla="*/ 2294 w 41303"/>
                  <a:gd name="connsiteY2" fmla="*/ 11473 h 42067"/>
                  <a:gd name="connsiteX3" fmla="*/ 2294 w 41303"/>
                  <a:gd name="connsiteY3" fmla="*/ 2295 h 42067"/>
                  <a:gd name="connsiteX4" fmla="*/ 11474 w 41303"/>
                  <a:gd name="connsiteY4" fmla="*/ 2295 h 42067"/>
                  <a:gd name="connsiteX5" fmla="*/ 39008 w 41303"/>
                  <a:gd name="connsiteY5" fmla="*/ 29830 h 42067"/>
                  <a:gd name="connsiteX6" fmla="*/ 39008 w 41303"/>
                  <a:gd name="connsiteY6" fmla="*/ 39008 h 42067"/>
                  <a:gd name="connsiteX7" fmla="*/ 32889 w 41303"/>
                  <a:gd name="connsiteY7" fmla="*/ 42068 h 42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303" h="42067">
                    <a:moveTo>
                      <a:pt x="32889" y="42068"/>
                    </a:moveTo>
                    <a:cubicBezTo>
                      <a:pt x="32889" y="42068"/>
                      <a:pt x="29830" y="42068"/>
                      <a:pt x="29830" y="39008"/>
                    </a:cubicBezTo>
                    <a:lnTo>
                      <a:pt x="2294" y="11473"/>
                    </a:lnTo>
                    <a:cubicBezTo>
                      <a:pt x="-765" y="8413"/>
                      <a:pt x="-765" y="5354"/>
                      <a:pt x="2294" y="2295"/>
                    </a:cubicBezTo>
                    <a:cubicBezTo>
                      <a:pt x="5355" y="-765"/>
                      <a:pt x="8413" y="-765"/>
                      <a:pt x="11474" y="2295"/>
                    </a:cubicBezTo>
                    <a:lnTo>
                      <a:pt x="39008" y="29830"/>
                    </a:lnTo>
                    <a:cubicBezTo>
                      <a:pt x="42069" y="32890"/>
                      <a:pt x="42069" y="35948"/>
                      <a:pt x="39008" y="39008"/>
                    </a:cubicBezTo>
                    <a:cubicBezTo>
                      <a:pt x="35950" y="42068"/>
                      <a:pt x="32889" y="42068"/>
                      <a:pt x="32889" y="420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91031CEE-34F8-4A2D-8FC3-EF20D1C222C5}"/>
                  </a:ext>
                </a:extLst>
              </p:cNvPr>
              <p:cNvSpPr/>
              <p:nvPr/>
            </p:nvSpPr>
            <p:spPr>
              <a:xfrm>
                <a:off x="24654468" y="12365031"/>
                <a:ext cx="38243" cy="42067"/>
              </a:xfrm>
              <a:custGeom>
                <a:avLst/>
                <a:gdLst>
                  <a:gd name="connsiteX0" fmla="*/ 29830 w 38243"/>
                  <a:gd name="connsiteY0" fmla="*/ 42068 h 42067"/>
                  <a:gd name="connsiteX1" fmla="*/ 26771 w 38243"/>
                  <a:gd name="connsiteY1" fmla="*/ 39008 h 42067"/>
                  <a:gd name="connsiteX2" fmla="*/ 2295 w 38243"/>
                  <a:gd name="connsiteY2" fmla="*/ 11473 h 42067"/>
                  <a:gd name="connsiteX3" fmla="*/ 2295 w 38243"/>
                  <a:gd name="connsiteY3" fmla="*/ 2295 h 42067"/>
                  <a:gd name="connsiteX4" fmla="*/ 11474 w 38243"/>
                  <a:gd name="connsiteY4" fmla="*/ 2295 h 42067"/>
                  <a:gd name="connsiteX5" fmla="*/ 35949 w 38243"/>
                  <a:gd name="connsiteY5" fmla="*/ 29830 h 42067"/>
                  <a:gd name="connsiteX6" fmla="*/ 35949 w 38243"/>
                  <a:gd name="connsiteY6" fmla="*/ 39008 h 42067"/>
                  <a:gd name="connsiteX7" fmla="*/ 29830 w 38243"/>
                  <a:gd name="connsiteY7" fmla="*/ 42068 h 42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243" h="42067">
                    <a:moveTo>
                      <a:pt x="29830" y="42068"/>
                    </a:moveTo>
                    <a:cubicBezTo>
                      <a:pt x="29830" y="42068"/>
                      <a:pt x="26771" y="42068"/>
                      <a:pt x="26771" y="39008"/>
                    </a:cubicBezTo>
                    <a:lnTo>
                      <a:pt x="2295" y="11473"/>
                    </a:lnTo>
                    <a:cubicBezTo>
                      <a:pt x="-765" y="8413"/>
                      <a:pt x="-765" y="5354"/>
                      <a:pt x="2295" y="2295"/>
                    </a:cubicBezTo>
                    <a:cubicBezTo>
                      <a:pt x="5354" y="-765"/>
                      <a:pt x="8413" y="-765"/>
                      <a:pt x="11474" y="2295"/>
                    </a:cubicBezTo>
                    <a:lnTo>
                      <a:pt x="35949" y="29830"/>
                    </a:lnTo>
                    <a:cubicBezTo>
                      <a:pt x="39008" y="32890"/>
                      <a:pt x="39008" y="35949"/>
                      <a:pt x="35949" y="39008"/>
                    </a:cubicBezTo>
                    <a:cubicBezTo>
                      <a:pt x="32890" y="39008"/>
                      <a:pt x="32890" y="42068"/>
                      <a:pt x="29830" y="4206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83723703-D829-4FD9-9625-E79D356D4230}"/>
                </a:ext>
              </a:extLst>
            </p:cNvPr>
            <p:cNvSpPr/>
            <p:nvPr/>
          </p:nvSpPr>
          <p:spPr>
            <a:xfrm>
              <a:off x="24581462" y="9959507"/>
              <a:ext cx="1118586" cy="2303796"/>
            </a:xfrm>
            <a:custGeom>
              <a:avLst/>
              <a:gdLst>
                <a:gd name="connsiteX0" fmla="*/ 7992 w 1118586"/>
                <a:gd name="connsiteY0" fmla="*/ 21417 h 2303796"/>
                <a:gd name="connsiteX1" fmla="*/ 20229 w 1118586"/>
                <a:gd name="connsiteY1" fmla="*/ 1410425 h 2303796"/>
                <a:gd name="connsiteX2" fmla="*/ 90599 w 1118586"/>
                <a:gd name="connsiteY2" fmla="*/ 2303797 h 2303796"/>
                <a:gd name="connsiteX3" fmla="*/ 387368 w 1118586"/>
                <a:gd name="connsiteY3" fmla="*/ 2303797 h 2303796"/>
                <a:gd name="connsiteX4" fmla="*/ 424082 w 1118586"/>
                <a:gd name="connsiteY4" fmla="*/ 1434901 h 2303796"/>
                <a:gd name="connsiteX5" fmla="*/ 506689 w 1118586"/>
                <a:gd name="connsiteY5" fmla="*/ 504816 h 2303796"/>
                <a:gd name="connsiteX6" fmla="*/ 561759 w 1118586"/>
                <a:gd name="connsiteY6" fmla="*/ 1428782 h 2303796"/>
                <a:gd name="connsiteX7" fmla="*/ 815696 w 1118586"/>
                <a:gd name="connsiteY7" fmla="*/ 2251785 h 2303796"/>
                <a:gd name="connsiteX8" fmla="*/ 1118587 w 1118586"/>
                <a:gd name="connsiteY8" fmla="*/ 2150822 h 2303796"/>
                <a:gd name="connsiteX9" fmla="*/ 919720 w 1118586"/>
                <a:gd name="connsiteY9" fmla="*/ 1410425 h 2303796"/>
                <a:gd name="connsiteX10" fmla="*/ 1032921 w 1118586"/>
                <a:gd name="connsiteY10" fmla="*/ 0 h 2303796"/>
                <a:gd name="connsiteX11" fmla="*/ 7992 w 1118586"/>
                <a:gd name="connsiteY11" fmla="*/ 21417 h 2303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18586" h="2303796">
                  <a:moveTo>
                    <a:pt x="7992" y="21417"/>
                  </a:moveTo>
                  <a:cubicBezTo>
                    <a:pt x="7992" y="21417"/>
                    <a:pt x="-16483" y="1098357"/>
                    <a:pt x="20229" y="1410425"/>
                  </a:cubicBezTo>
                  <a:cubicBezTo>
                    <a:pt x="50824" y="1682720"/>
                    <a:pt x="90599" y="2303797"/>
                    <a:pt x="90599" y="2303797"/>
                  </a:cubicBezTo>
                  <a:lnTo>
                    <a:pt x="387368" y="2303797"/>
                  </a:lnTo>
                  <a:cubicBezTo>
                    <a:pt x="387368" y="2303797"/>
                    <a:pt x="421023" y="1532805"/>
                    <a:pt x="424082" y="1434901"/>
                  </a:cubicBezTo>
                  <a:cubicBezTo>
                    <a:pt x="430201" y="1294165"/>
                    <a:pt x="491391" y="535411"/>
                    <a:pt x="506689" y="504816"/>
                  </a:cubicBezTo>
                  <a:cubicBezTo>
                    <a:pt x="521986" y="474221"/>
                    <a:pt x="561759" y="1428782"/>
                    <a:pt x="561759" y="1428782"/>
                  </a:cubicBezTo>
                  <a:lnTo>
                    <a:pt x="815696" y="2251785"/>
                  </a:lnTo>
                  <a:lnTo>
                    <a:pt x="1118587" y="2150822"/>
                  </a:lnTo>
                  <a:cubicBezTo>
                    <a:pt x="1118587" y="2150822"/>
                    <a:pt x="913601" y="1511388"/>
                    <a:pt x="919720" y="1410425"/>
                  </a:cubicBezTo>
                  <a:cubicBezTo>
                    <a:pt x="928898" y="1257451"/>
                    <a:pt x="1078814" y="100964"/>
                    <a:pt x="1032921" y="0"/>
                  </a:cubicBezTo>
                  <a:cubicBezTo>
                    <a:pt x="335358" y="33655"/>
                    <a:pt x="7992" y="21417"/>
                    <a:pt x="7992" y="21417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BEF061D-912D-4C73-8DE4-ECFA56F95AAD}"/>
                </a:ext>
              </a:extLst>
            </p:cNvPr>
            <p:cNvSpPr/>
            <p:nvPr/>
          </p:nvSpPr>
          <p:spPr>
            <a:xfrm>
              <a:off x="25023903" y="10106363"/>
              <a:ext cx="70367" cy="364079"/>
            </a:xfrm>
            <a:custGeom>
              <a:avLst/>
              <a:gdLst>
                <a:gd name="connsiteX0" fmla="*/ 64249 w 70367"/>
                <a:gd name="connsiteY0" fmla="*/ 364079 h 364079"/>
                <a:gd name="connsiteX1" fmla="*/ 58129 w 70367"/>
                <a:gd name="connsiteY1" fmla="*/ 361019 h 364079"/>
                <a:gd name="connsiteX2" fmla="*/ 0 w 70367"/>
                <a:gd name="connsiteY2" fmla="*/ 6118 h 364079"/>
                <a:gd name="connsiteX3" fmla="*/ 6117 w 70367"/>
                <a:gd name="connsiteY3" fmla="*/ 0 h 364079"/>
                <a:gd name="connsiteX4" fmla="*/ 12237 w 70367"/>
                <a:gd name="connsiteY4" fmla="*/ 6118 h 364079"/>
                <a:gd name="connsiteX5" fmla="*/ 70368 w 70367"/>
                <a:gd name="connsiteY5" fmla="*/ 357960 h 364079"/>
                <a:gd name="connsiteX6" fmla="*/ 64249 w 70367"/>
                <a:gd name="connsiteY6" fmla="*/ 364079 h 364079"/>
                <a:gd name="connsiteX7" fmla="*/ 64249 w 70367"/>
                <a:gd name="connsiteY7" fmla="*/ 364079 h 364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367" h="364079">
                  <a:moveTo>
                    <a:pt x="64249" y="364079"/>
                  </a:moveTo>
                  <a:cubicBezTo>
                    <a:pt x="61190" y="364079"/>
                    <a:pt x="61190" y="364079"/>
                    <a:pt x="58129" y="361019"/>
                  </a:cubicBezTo>
                  <a:cubicBezTo>
                    <a:pt x="9178" y="244759"/>
                    <a:pt x="0" y="15297"/>
                    <a:pt x="0" y="6118"/>
                  </a:cubicBezTo>
                  <a:cubicBezTo>
                    <a:pt x="0" y="3059"/>
                    <a:pt x="3059" y="0"/>
                    <a:pt x="6117" y="0"/>
                  </a:cubicBezTo>
                  <a:cubicBezTo>
                    <a:pt x="9178" y="0"/>
                    <a:pt x="12237" y="3059"/>
                    <a:pt x="12237" y="6118"/>
                  </a:cubicBezTo>
                  <a:cubicBezTo>
                    <a:pt x="12237" y="9178"/>
                    <a:pt x="21415" y="244759"/>
                    <a:pt x="70368" y="357960"/>
                  </a:cubicBezTo>
                  <a:cubicBezTo>
                    <a:pt x="70368" y="357960"/>
                    <a:pt x="70368" y="361019"/>
                    <a:pt x="64249" y="364079"/>
                  </a:cubicBezTo>
                  <a:cubicBezTo>
                    <a:pt x="67307" y="364079"/>
                    <a:pt x="64249" y="364079"/>
                    <a:pt x="64249" y="364079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8A22848E-E6CC-49FB-BDF7-CC4937A65911}"/>
                </a:ext>
              </a:extLst>
            </p:cNvPr>
            <p:cNvSpPr/>
            <p:nvPr/>
          </p:nvSpPr>
          <p:spPr>
            <a:xfrm>
              <a:off x="24910701" y="10035994"/>
              <a:ext cx="156033" cy="354901"/>
            </a:xfrm>
            <a:custGeom>
              <a:avLst/>
              <a:gdLst>
                <a:gd name="connsiteX0" fmla="*/ 146855 w 156033"/>
                <a:gd name="connsiteY0" fmla="*/ 354901 h 354901"/>
                <a:gd name="connsiteX1" fmla="*/ 143796 w 156033"/>
                <a:gd name="connsiteY1" fmla="*/ 354901 h 354901"/>
                <a:gd name="connsiteX2" fmla="*/ 33654 w 156033"/>
                <a:gd name="connsiteY2" fmla="*/ 275354 h 354901"/>
                <a:gd name="connsiteX3" fmla="*/ 0 w 156033"/>
                <a:gd name="connsiteY3" fmla="*/ 6119 h 354901"/>
                <a:gd name="connsiteX4" fmla="*/ 6119 w 156033"/>
                <a:gd name="connsiteY4" fmla="*/ 0 h 354901"/>
                <a:gd name="connsiteX5" fmla="*/ 12237 w 156033"/>
                <a:gd name="connsiteY5" fmla="*/ 6119 h 354901"/>
                <a:gd name="connsiteX6" fmla="*/ 45892 w 156033"/>
                <a:gd name="connsiteY6" fmla="*/ 269236 h 354901"/>
                <a:gd name="connsiteX7" fmla="*/ 152975 w 156033"/>
                <a:gd name="connsiteY7" fmla="*/ 345723 h 354901"/>
                <a:gd name="connsiteX8" fmla="*/ 156033 w 156033"/>
                <a:gd name="connsiteY8" fmla="*/ 354901 h 354901"/>
                <a:gd name="connsiteX9" fmla="*/ 146855 w 156033"/>
                <a:gd name="connsiteY9" fmla="*/ 354901 h 354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033" h="354901">
                  <a:moveTo>
                    <a:pt x="146855" y="354901"/>
                  </a:moveTo>
                  <a:cubicBezTo>
                    <a:pt x="146855" y="354901"/>
                    <a:pt x="143796" y="354901"/>
                    <a:pt x="143796" y="354901"/>
                  </a:cubicBezTo>
                  <a:cubicBezTo>
                    <a:pt x="134616" y="348782"/>
                    <a:pt x="45892" y="290652"/>
                    <a:pt x="33654" y="275354"/>
                  </a:cubicBezTo>
                  <a:cubicBezTo>
                    <a:pt x="21417" y="260057"/>
                    <a:pt x="3059" y="48952"/>
                    <a:pt x="0" y="6119"/>
                  </a:cubicBezTo>
                  <a:cubicBezTo>
                    <a:pt x="0" y="3060"/>
                    <a:pt x="3059" y="0"/>
                    <a:pt x="6119" y="0"/>
                  </a:cubicBezTo>
                  <a:cubicBezTo>
                    <a:pt x="9178" y="0"/>
                    <a:pt x="12237" y="3060"/>
                    <a:pt x="12237" y="6119"/>
                  </a:cubicBezTo>
                  <a:cubicBezTo>
                    <a:pt x="21417" y="100964"/>
                    <a:pt x="36714" y="256997"/>
                    <a:pt x="45892" y="269236"/>
                  </a:cubicBezTo>
                  <a:cubicBezTo>
                    <a:pt x="55070" y="278414"/>
                    <a:pt x="113202" y="321246"/>
                    <a:pt x="152975" y="345723"/>
                  </a:cubicBezTo>
                  <a:cubicBezTo>
                    <a:pt x="156033" y="348782"/>
                    <a:pt x="156033" y="351841"/>
                    <a:pt x="156033" y="354901"/>
                  </a:cubicBezTo>
                  <a:cubicBezTo>
                    <a:pt x="152975" y="354901"/>
                    <a:pt x="149914" y="354901"/>
                    <a:pt x="146855" y="354901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70FDFB95-0BB3-469F-BD9B-040C4C258F97}"/>
                </a:ext>
              </a:extLst>
            </p:cNvPr>
            <p:cNvSpPr/>
            <p:nvPr/>
          </p:nvSpPr>
          <p:spPr>
            <a:xfrm>
              <a:off x="23650191" y="8810312"/>
              <a:ext cx="1065588" cy="838313"/>
            </a:xfrm>
            <a:custGeom>
              <a:avLst/>
              <a:gdLst>
                <a:gd name="connsiteX0" fmla="*/ 1043285 w 1065588"/>
                <a:gd name="connsiteY0" fmla="*/ 283359 h 838313"/>
                <a:gd name="connsiteX1" fmla="*/ 966798 w 1065588"/>
                <a:gd name="connsiteY1" fmla="*/ 1886 h 838313"/>
                <a:gd name="connsiteX2" fmla="*/ 715921 w 1065588"/>
                <a:gd name="connsiteY2" fmla="*/ 289478 h 838313"/>
                <a:gd name="connsiteX3" fmla="*/ 566006 w 1065588"/>
                <a:gd name="connsiteY3" fmla="*/ 589308 h 838313"/>
                <a:gd name="connsiteX4" fmla="*/ 6119 w 1065588"/>
                <a:gd name="connsiteY4" fmla="*/ 552594 h 838313"/>
                <a:gd name="connsiteX5" fmla="*/ 0 w 1065588"/>
                <a:gd name="connsiteY5" fmla="*/ 690271 h 838313"/>
                <a:gd name="connsiteX6" fmla="*/ 694505 w 1065588"/>
                <a:gd name="connsiteY6" fmla="*/ 834068 h 838313"/>
                <a:gd name="connsiteX7" fmla="*/ 1043285 w 1065588"/>
                <a:gd name="connsiteY7" fmla="*/ 283359 h 838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5588" h="838313">
                  <a:moveTo>
                    <a:pt x="1043285" y="283359"/>
                  </a:moveTo>
                  <a:cubicBezTo>
                    <a:pt x="1098358" y="145682"/>
                    <a:pt x="1043285" y="-19531"/>
                    <a:pt x="966798" y="1886"/>
                  </a:cubicBezTo>
                  <a:cubicBezTo>
                    <a:pt x="878074" y="26362"/>
                    <a:pt x="774051" y="121206"/>
                    <a:pt x="715921" y="289478"/>
                  </a:cubicBezTo>
                  <a:cubicBezTo>
                    <a:pt x="682266" y="387382"/>
                    <a:pt x="584362" y="592368"/>
                    <a:pt x="566006" y="589308"/>
                  </a:cubicBezTo>
                  <a:cubicBezTo>
                    <a:pt x="556828" y="589308"/>
                    <a:pt x="6119" y="552594"/>
                    <a:pt x="6119" y="552594"/>
                  </a:cubicBezTo>
                  <a:cubicBezTo>
                    <a:pt x="6119" y="613784"/>
                    <a:pt x="0" y="690271"/>
                    <a:pt x="0" y="690271"/>
                  </a:cubicBezTo>
                  <a:cubicBezTo>
                    <a:pt x="0" y="690271"/>
                    <a:pt x="614957" y="867722"/>
                    <a:pt x="694505" y="834068"/>
                  </a:cubicBezTo>
                  <a:cubicBezTo>
                    <a:pt x="795467" y="797353"/>
                    <a:pt x="975978" y="454690"/>
                    <a:pt x="1043285" y="283359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C3AB5247-8F61-456E-8787-4348CAC5D5C0}"/>
                </a:ext>
              </a:extLst>
            </p:cNvPr>
            <p:cNvSpPr/>
            <p:nvPr/>
          </p:nvSpPr>
          <p:spPr>
            <a:xfrm>
              <a:off x="25488944" y="9971744"/>
              <a:ext cx="146857" cy="238640"/>
            </a:xfrm>
            <a:custGeom>
              <a:avLst/>
              <a:gdLst>
                <a:gd name="connsiteX0" fmla="*/ 140738 w 146857"/>
                <a:gd name="connsiteY0" fmla="*/ 238641 h 238640"/>
                <a:gd name="connsiteX1" fmla="*/ 140738 w 146857"/>
                <a:gd name="connsiteY1" fmla="*/ 238641 h 238640"/>
                <a:gd name="connsiteX2" fmla="*/ 15297 w 146857"/>
                <a:gd name="connsiteY2" fmla="*/ 204986 h 238640"/>
                <a:gd name="connsiteX3" fmla="*/ 0 w 146857"/>
                <a:gd name="connsiteY3" fmla="*/ 6119 h 238640"/>
                <a:gd name="connsiteX4" fmla="*/ 6119 w 146857"/>
                <a:gd name="connsiteY4" fmla="*/ 0 h 238640"/>
                <a:gd name="connsiteX5" fmla="*/ 6119 w 146857"/>
                <a:gd name="connsiteY5" fmla="*/ 0 h 238640"/>
                <a:gd name="connsiteX6" fmla="*/ 12239 w 146857"/>
                <a:gd name="connsiteY6" fmla="*/ 6119 h 238640"/>
                <a:gd name="connsiteX7" fmla="*/ 24477 w 146857"/>
                <a:gd name="connsiteY7" fmla="*/ 201927 h 238640"/>
                <a:gd name="connsiteX8" fmla="*/ 140738 w 146857"/>
                <a:gd name="connsiteY8" fmla="*/ 229462 h 238640"/>
                <a:gd name="connsiteX9" fmla="*/ 146857 w 146857"/>
                <a:gd name="connsiteY9" fmla="*/ 235581 h 238640"/>
                <a:gd name="connsiteX10" fmla="*/ 140738 w 146857"/>
                <a:gd name="connsiteY10" fmla="*/ 238641 h 238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857" h="238640">
                  <a:moveTo>
                    <a:pt x="140738" y="238641"/>
                  </a:moveTo>
                  <a:cubicBezTo>
                    <a:pt x="140738" y="238641"/>
                    <a:pt x="140738" y="238641"/>
                    <a:pt x="140738" y="238641"/>
                  </a:cubicBezTo>
                  <a:cubicBezTo>
                    <a:pt x="113202" y="235581"/>
                    <a:pt x="24477" y="223343"/>
                    <a:pt x="15297" y="204986"/>
                  </a:cubicBezTo>
                  <a:cubicBezTo>
                    <a:pt x="6119" y="186629"/>
                    <a:pt x="0" y="24476"/>
                    <a:pt x="0" y="6119"/>
                  </a:cubicBezTo>
                  <a:cubicBezTo>
                    <a:pt x="0" y="3060"/>
                    <a:pt x="3061" y="0"/>
                    <a:pt x="6119" y="0"/>
                  </a:cubicBezTo>
                  <a:cubicBezTo>
                    <a:pt x="6119" y="0"/>
                    <a:pt x="6119" y="0"/>
                    <a:pt x="6119" y="0"/>
                  </a:cubicBezTo>
                  <a:cubicBezTo>
                    <a:pt x="9180" y="0"/>
                    <a:pt x="12239" y="3060"/>
                    <a:pt x="12239" y="6119"/>
                  </a:cubicBezTo>
                  <a:cubicBezTo>
                    <a:pt x="12239" y="76487"/>
                    <a:pt x="18358" y="189689"/>
                    <a:pt x="24477" y="201927"/>
                  </a:cubicBezTo>
                  <a:cubicBezTo>
                    <a:pt x="30595" y="211106"/>
                    <a:pt x="88726" y="223343"/>
                    <a:pt x="140738" y="229462"/>
                  </a:cubicBezTo>
                  <a:cubicBezTo>
                    <a:pt x="143796" y="229462"/>
                    <a:pt x="146857" y="232521"/>
                    <a:pt x="146857" y="235581"/>
                  </a:cubicBezTo>
                  <a:cubicBezTo>
                    <a:pt x="146857" y="235581"/>
                    <a:pt x="143796" y="238641"/>
                    <a:pt x="140738" y="238641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DC5F10C1-AA2C-4171-A47A-76FC22B9086E}"/>
                </a:ext>
              </a:extLst>
            </p:cNvPr>
            <p:cNvSpPr/>
            <p:nvPr/>
          </p:nvSpPr>
          <p:spPr>
            <a:xfrm>
              <a:off x="24589455" y="9980924"/>
              <a:ext cx="91784" cy="208044"/>
            </a:xfrm>
            <a:custGeom>
              <a:avLst/>
              <a:gdLst>
                <a:gd name="connsiteX0" fmla="*/ 12237 w 91784"/>
                <a:gd name="connsiteY0" fmla="*/ 208045 h 208044"/>
                <a:gd name="connsiteX1" fmla="*/ 6119 w 91784"/>
                <a:gd name="connsiteY1" fmla="*/ 208045 h 208044"/>
                <a:gd name="connsiteX2" fmla="*/ 0 w 91784"/>
                <a:gd name="connsiteY2" fmla="*/ 201927 h 208044"/>
                <a:gd name="connsiteX3" fmla="*/ 6119 w 91784"/>
                <a:gd name="connsiteY3" fmla="*/ 195807 h 208044"/>
                <a:gd name="connsiteX4" fmla="*/ 61190 w 91784"/>
                <a:gd name="connsiteY4" fmla="*/ 177450 h 208044"/>
                <a:gd name="connsiteX5" fmla="*/ 79546 w 91784"/>
                <a:gd name="connsiteY5" fmla="*/ 6118 h 208044"/>
                <a:gd name="connsiteX6" fmla="*/ 85665 w 91784"/>
                <a:gd name="connsiteY6" fmla="*/ 0 h 208044"/>
                <a:gd name="connsiteX7" fmla="*/ 85665 w 91784"/>
                <a:gd name="connsiteY7" fmla="*/ 0 h 208044"/>
                <a:gd name="connsiteX8" fmla="*/ 91785 w 91784"/>
                <a:gd name="connsiteY8" fmla="*/ 6118 h 208044"/>
                <a:gd name="connsiteX9" fmla="*/ 70368 w 91784"/>
                <a:gd name="connsiteY9" fmla="*/ 180510 h 208044"/>
                <a:gd name="connsiteX10" fmla="*/ 12237 w 91784"/>
                <a:gd name="connsiteY10" fmla="*/ 208045 h 20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784" h="208044">
                  <a:moveTo>
                    <a:pt x="12237" y="208045"/>
                  </a:moveTo>
                  <a:cubicBezTo>
                    <a:pt x="9178" y="208045"/>
                    <a:pt x="6119" y="208045"/>
                    <a:pt x="6119" y="208045"/>
                  </a:cubicBezTo>
                  <a:cubicBezTo>
                    <a:pt x="3059" y="208045"/>
                    <a:pt x="0" y="204985"/>
                    <a:pt x="0" y="201927"/>
                  </a:cubicBezTo>
                  <a:cubicBezTo>
                    <a:pt x="0" y="198867"/>
                    <a:pt x="3059" y="195807"/>
                    <a:pt x="6119" y="195807"/>
                  </a:cubicBezTo>
                  <a:cubicBezTo>
                    <a:pt x="6119" y="195807"/>
                    <a:pt x="48951" y="198867"/>
                    <a:pt x="61190" y="177450"/>
                  </a:cubicBezTo>
                  <a:cubicBezTo>
                    <a:pt x="73427" y="156034"/>
                    <a:pt x="79546" y="48952"/>
                    <a:pt x="79546" y="6118"/>
                  </a:cubicBezTo>
                  <a:cubicBezTo>
                    <a:pt x="79546" y="3060"/>
                    <a:pt x="82607" y="0"/>
                    <a:pt x="85665" y="0"/>
                  </a:cubicBezTo>
                  <a:cubicBezTo>
                    <a:pt x="85665" y="0"/>
                    <a:pt x="85665" y="0"/>
                    <a:pt x="85665" y="0"/>
                  </a:cubicBezTo>
                  <a:cubicBezTo>
                    <a:pt x="88724" y="0"/>
                    <a:pt x="91785" y="3060"/>
                    <a:pt x="91785" y="6118"/>
                  </a:cubicBezTo>
                  <a:cubicBezTo>
                    <a:pt x="91785" y="21416"/>
                    <a:pt x="85665" y="156034"/>
                    <a:pt x="70368" y="180510"/>
                  </a:cubicBezTo>
                  <a:cubicBezTo>
                    <a:pt x="58129" y="204985"/>
                    <a:pt x="27534" y="208045"/>
                    <a:pt x="12237" y="208045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220713D8-B246-459F-9EB7-7274753C0D53}"/>
                </a:ext>
              </a:extLst>
            </p:cNvPr>
            <p:cNvSpPr/>
            <p:nvPr/>
          </p:nvSpPr>
          <p:spPr>
            <a:xfrm>
              <a:off x="24974950" y="8279847"/>
              <a:ext cx="250878" cy="259149"/>
            </a:xfrm>
            <a:custGeom>
              <a:avLst/>
              <a:gdLst>
                <a:gd name="connsiteX0" fmla="*/ 0 w 250878"/>
                <a:gd name="connsiteY0" fmla="*/ 39773 h 259149"/>
                <a:gd name="connsiteX1" fmla="*/ 6119 w 250878"/>
                <a:gd name="connsiteY1" fmla="*/ 214164 h 259149"/>
                <a:gd name="connsiteX2" fmla="*/ 250879 w 250878"/>
                <a:gd name="connsiteY2" fmla="*/ 204986 h 259149"/>
                <a:gd name="connsiteX3" fmla="*/ 235581 w 250878"/>
                <a:gd name="connsiteY3" fmla="*/ 0 h 259149"/>
                <a:gd name="connsiteX4" fmla="*/ 0 w 250878"/>
                <a:gd name="connsiteY4" fmla="*/ 39773 h 25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878" h="259149">
                  <a:moveTo>
                    <a:pt x="0" y="39773"/>
                  </a:moveTo>
                  <a:cubicBezTo>
                    <a:pt x="0" y="39773"/>
                    <a:pt x="6119" y="140737"/>
                    <a:pt x="6119" y="214164"/>
                  </a:cubicBezTo>
                  <a:cubicBezTo>
                    <a:pt x="6119" y="214164"/>
                    <a:pt x="100963" y="321246"/>
                    <a:pt x="250879" y="204986"/>
                  </a:cubicBezTo>
                  <a:cubicBezTo>
                    <a:pt x="250879" y="143796"/>
                    <a:pt x="238640" y="64249"/>
                    <a:pt x="235581" y="0"/>
                  </a:cubicBezTo>
                  <a:cubicBezTo>
                    <a:pt x="238640" y="0"/>
                    <a:pt x="55070" y="52011"/>
                    <a:pt x="0" y="39773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2D1008DF-3DA9-4C39-B4EF-9E67BF261676}"/>
                </a:ext>
              </a:extLst>
            </p:cNvPr>
            <p:cNvSpPr/>
            <p:nvPr/>
          </p:nvSpPr>
          <p:spPr>
            <a:xfrm>
              <a:off x="25247245" y="8160527"/>
              <a:ext cx="70367" cy="137677"/>
            </a:xfrm>
            <a:custGeom>
              <a:avLst/>
              <a:gdLst>
                <a:gd name="connsiteX0" fmla="*/ 70368 w 70367"/>
                <a:gd name="connsiteY0" fmla="*/ 0 h 137677"/>
                <a:gd name="connsiteX1" fmla="*/ 3059 w 70367"/>
                <a:gd name="connsiteY1" fmla="*/ 137677 h 137677"/>
                <a:gd name="connsiteX2" fmla="*/ 0 w 70367"/>
                <a:gd name="connsiteY2" fmla="*/ 52011 h 137677"/>
                <a:gd name="connsiteX3" fmla="*/ 70368 w 70367"/>
                <a:gd name="connsiteY3" fmla="*/ 0 h 137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367" h="137677">
                  <a:moveTo>
                    <a:pt x="70368" y="0"/>
                  </a:moveTo>
                  <a:cubicBezTo>
                    <a:pt x="70368" y="0"/>
                    <a:pt x="55070" y="119320"/>
                    <a:pt x="3059" y="137677"/>
                  </a:cubicBezTo>
                  <a:lnTo>
                    <a:pt x="0" y="52011"/>
                  </a:lnTo>
                  <a:lnTo>
                    <a:pt x="70368" y="0"/>
                  </a:ln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30D44C5A-CFFF-499D-84A8-458B2942CACC}"/>
                </a:ext>
              </a:extLst>
            </p:cNvPr>
            <p:cNvSpPr/>
            <p:nvPr/>
          </p:nvSpPr>
          <p:spPr>
            <a:xfrm>
              <a:off x="24857110" y="7952481"/>
              <a:ext cx="102994" cy="238652"/>
            </a:xfrm>
            <a:custGeom>
              <a:avLst/>
              <a:gdLst>
                <a:gd name="connsiteX0" fmla="*/ 7698 w 102994"/>
                <a:gd name="connsiteY0" fmla="*/ 0 h 238652"/>
                <a:gd name="connsiteX1" fmla="*/ 47471 w 102994"/>
                <a:gd name="connsiteY1" fmla="*/ 235581 h 238652"/>
                <a:gd name="connsiteX2" fmla="*/ 102542 w 102994"/>
                <a:gd name="connsiteY2" fmla="*/ 15297 h 238652"/>
                <a:gd name="connsiteX3" fmla="*/ 7698 w 102994"/>
                <a:gd name="connsiteY3" fmla="*/ 0 h 238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994" h="238652">
                  <a:moveTo>
                    <a:pt x="7698" y="0"/>
                  </a:moveTo>
                  <a:cubicBezTo>
                    <a:pt x="7698" y="0"/>
                    <a:pt x="-25957" y="195807"/>
                    <a:pt x="47471" y="235581"/>
                  </a:cubicBezTo>
                  <a:cubicBezTo>
                    <a:pt x="111720" y="269235"/>
                    <a:pt x="102542" y="15297"/>
                    <a:pt x="102542" y="15297"/>
                  </a:cubicBezTo>
                  <a:lnTo>
                    <a:pt x="7698" y="0"/>
                  </a:ln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4206E96F-43FD-4807-A51B-B2F69A11AAF2}"/>
                </a:ext>
              </a:extLst>
            </p:cNvPr>
            <p:cNvSpPr/>
            <p:nvPr/>
          </p:nvSpPr>
          <p:spPr>
            <a:xfrm>
              <a:off x="24892737" y="7813911"/>
              <a:ext cx="424875" cy="570563"/>
            </a:xfrm>
            <a:custGeom>
              <a:avLst/>
              <a:gdLst>
                <a:gd name="connsiteX0" fmla="*/ 11844 w 424875"/>
                <a:gd name="connsiteY0" fmla="*/ 181403 h 570563"/>
                <a:gd name="connsiteX1" fmla="*/ 8786 w 424875"/>
                <a:gd name="connsiteY1" fmla="*/ 432281 h 570563"/>
                <a:gd name="connsiteX2" fmla="*/ 167878 w 424875"/>
                <a:gd name="connsiteY2" fmla="*/ 569958 h 570563"/>
                <a:gd name="connsiteX3" fmla="*/ 385102 w 424875"/>
                <a:gd name="connsiteY3" fmla="*/ 429222 h 570563"/>
                <a:gd name="connsiteX4" fmla="*/ 424875 w 424875"/>
                <a:gd name="connsiteY4" fmla="*/ 202819 h 570563"/>
                <a:gd name="connsiteX5" fmla="*/ 213770 w 424875"/>
                <a:gd name="connsiteY5" fmla="*/ 893 h 570563"/>
                <a:gd name="connsiteX6" fmla="*/ 11844 w 424875"/>
                <a:gd name="connsiteY6" fmla="*/ 181403 h 570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875" h="570563">
                  <a:moveTo>
                    <a:pt x="11844" y="181403"/>
                  </a:moveTo>
                  <a:cubicBezTo>
                    <a:pt x="11844" y="181403"/>
                    <a:pt x="-12631" y="358854"/>
                    <a:pt x="8786" y="432281"/>
                  </a:cubicBezTo>
                  <a:cubicBezTo>
                    <a:pt x="27142" y="499590"/>
                    <a:pt x="115868" y="563839"/>
                    <a:pt x="167878" y="569958"/>
                  </a:cubicBezTo>
                  <a:cubicBezTo>
                    <a:pt x="235187" y="576078"/>
                    <a:pt x="354508" y="536304"/>
                    <a:pt x="385102" y="429222"/>
                  </a:cubicBezTo>
                  <a:cubicBezTo>
                    <a:pt x="406519" y="355794"/>
                    <a:pt x="424875" y="254831"/>
                    <a:pt x="424875" y="202819"/>
                  </a:cubicBezTo>
                  <a:cubicBezTo>
                    <a:pt x="424875" y="107975"/>
                    <a:pt x="397339" y="28428"/>
                    <a:pt x="213770" y="893"/>
                  </a:cubicBezTo>
                  <a:cubicBezTo>
                    <a:pt x="128105" y="-11345"/>
                    <a:pt x="33261" y="104916"/>
                    <a:pt x="11844" y="181403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74547436-82D3-421B-8058-24D9EF4B59CD}"/>
                </a:ext>
              </a:extLst>
            </p:cNvPr>
            <p:cNvSpPr/>
            <p:nvPr/>
          </p:nvSpPr>
          <p:spPr>
            <a:xfrm>
              <a:off x="25026961" y="8077920"/>
              <a:ext cx="58131" cy="137677"/>
            </a:xfrm>
            <a:custGeom>
              <a:avLst/>
              <a:gdLst>
                <a:gd name="connsiteX0" fmla="*/ 33654 w 58131"/>
                <a:gd name="connsiteY0" fmla="*/ 137677 h 137677"/>
                <a:gd name="connsiteX1" fmla="*/ 6119 w 58131"/>
                <a:gd name="connsiteY1" fmla="*/ 131558 h 137677"/>
                <a:gd name="connsiteX2" fmla="*/ 0 w 58131"/>
                <a:gd name="connsiteY2" fmla="*/ 119320 h 137677"/>
                <a:gd name="connsiteX3" fmla="*/ 18356 w 58131"/>
                <a:gd name="connsiteY3" fmla="*/ 6119 h 137677"/>
                <a:gd name="connsiteX4" fmla="*/ 24476 w 58131"/>
                <a:gd name="connsiteY4" fmla="*/ 0 h 137677"/>
                <a:gd name="connsiteX5" fmla="*/ 30595 w 58131"/>
                <a:gd name="connsiteY5" fmla="*/ 6119 h 137677"/>
                <a:gd name="connsiteX6" fmla="*/ 12239 w 58131"/>
                <a:gd name="connsiteY6" fmla="*/ 119320 h 137677"/>
                <a:gd name="connsiteX7" fmla="*/ 12239 w 58131"/>
                <a:gd name="connsiteY7" fmla="*/ 122380 h 137677"/>
                <a:gd name="connsiteX8" fmla="*/ 52012 w 58131"/>
                <a:gd name="connsiteY8" fmla="*/ 125439 h 137677"/>
                <a:gd name="connsiteX9" fmla="*/ 58131 w 58131"/>
                <a:gd name="connsiteY9" fmla="*/ 131558 h 137677"/>
                <a:gd name="connsiteX10" fmla="*/ 52012 w 58131"/>
                <a:gd name="connsiteY10" fmla="*/ 137677 h 137677"/>
                <a:gd name="connsiteX11" fmla="*/ 33654 w 58131"/>
                <a:gd name="connsiteY11" fmla="*/ 137677 h 137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131" h="137677">
                  <a:moveTo>
                    <a:pt x="33654" y="137677"/>
                  </a:moveTo>
                  <a:cubicBezTo>
                    <a:pt x="24476" y="137677"/>
                    <a:pt x="12239" y="137677"/>
                    <a:pt x="6119" y="131558"/>
                  </a:cubicBezTo>
                  <a:cubicBezTo>
                    <a:pt x="3059" y="128499"/>
                    <a:pt x="0" y="125439"/>
                    <a:pt x="0" y="119320"/>
                  </a:cubicBezTo>
                  <a:cubicBezTo>
                    <a:pt x="0" y="97904"/>
                    <a:pt x="18356" y="9179"/>
                    <a:pt x="18356" y="6119"/>
                  </a:cubicBezTo>
                  <a:cubicBezTo>
                    <a:pt x="18356" y="3060"/>
                    <a:pt x="21417" y="0"/>
                    <a:pt x="24476" y="0"/>
                  </a:cubicBezTo>
                  <a:cubicBezTo>
                    <a:pt x="27536" y="0"/>
                    <a:pt x="30595" y="3060"/>
                    <a:pt x="30595" y="6119"/>
                  </a:cubicBezTo>
                  <a:cubicBezTo>
                    <a:pt x="30595" y="6119"/>
                    <a:pt x="12239" y="97904"/>
                    <a:pt x="12239" y="119320"/>
                  </a:cubicBezTo>
                  <a:cubicBezTo>
                    <a:pt x="12239" y="119320"/>
                    <a:pt x="12239" y="122380"/>
                    <a:pt x="12239" y="122380"/>
                  </a:cubicBezTo>
                  <a:cubicBezTo>
                    <a:pt x="18356" y="128499"/>
                    <a:pt x="39773" y="125439"/>
                    <a:pt x="52012" y="125439"/>
                  </a:cubicBezTo>
                  <a:cubicBezTo>
                    <a:pt x="55070" y="125439"/>
                    <a:pt x="58131" y="128499"/>
                    <a:pt x="58131" y="131558"/>
                  </a:cubicBezTo>
                  <a:cubicBezTo>
                    <a:pt x="58131" y="134618"/>
                    <a:pt x="55070" y="137677"/>
                    <a:pt x="52012" y="137677"/>
                  </a:cubicBezTo>
                  <a:cubicBezTo>
                    <a:pt x="55070" y="137677"/>
                    <a:pt x="45892" y="137677"/>
                    <a:pt x="33654" y="137677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1747A508-FC97-4A11-B336-E47DA8B1E405}"/>
                </a:ext>
              </a:extLst>
            </p:cNvPr>
            <p:cNvSpPr/>
            <p:nvPr/>
          </p:nvSpPr>
          <p:spPr>
            <a:xfrm>
              <a:off x="24959052" y="8055904"/>
              <a:ext cx="41152" cy="40973"/>
            </a:xfrm>
            <a:custGeom>
              <a:avLst/>
              <a:gdLst>
                <a:gd name="connsiteX0" fmla="*/ 40373 w 41152"/>
                <a:gd name="connsiteY0" fmla="*/ 25076 h 40973"/>
                <a:gd name="connsiteX1" fmla="*/ 15897 w 41152"/>
                <a:gd name="connsiteY1" fmla="*/ 40374 h 40973"/>
                <a:gd name="connsiteX2" fmla="*/ 600 w 41152"/>
                <a:gd name="connsiteY2" fmla="*/ 15897 h 40973"/>
                <a:gd name="connsiteX3" fmla="*/ 25075 w 41152"/>
                <a:gd name="connsiteY3" fmla="*/ 600 h 40973"/>
                <a:gd name="connsiteX4" fmla="*/ 40373 w 41152"/>
                <a:gd name="connsiteY4" fmla="*/ 25076 h 40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52" h="40973">
                  <a:moveTo>
                    <a:pt x="40373" y="25076"/>
                  </a:moveTo>
                  <a:cubicBezTo>
                    <a:pt x="37314" y="34255"/>
                    <a:pt x="28136" y="43433"/>
                    <a:pt x="15897" y="40374"/>
                  </a:cubicBezTo>
                  <a:cubicBezTo>
                    <a:pt x="6719" y="37314"/>
                    <a:pt x="-2459" y="28136"/>
                    <a:pt x="600" y="15897"/>
                  </a:cubicBezTo>
                  <a:cubicBezTo>
                    <a:pt x="3660" y="6719"/>
                    <a:pt x="12839" y="-2459"/>
                    <a:pt x="25075" y="600"/>
                  </a:cubicBezTo>
                  <a:cubicBezTo>
                    <a:pt x="37314" y="3660"/>
                    <a:pt x="43433" y="12838"/>
                    <a:pt x="40373" y="2507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2E362656-AE0C-4743-B775-C846667500D9}"/>
                </a:ext>
              </a:extLst>
            </p:cNvPr>
            <p:cNvSpPr/>
            <p:nvPr/>
          </p:nvSpPr>
          <p:spPr>
            <a:xfrm>
              <a:off x="25142622" y="8074261"/>
              <a:ext cx="41152" cy="40973"/>
            </a:xfrm>
            <a:custGeom>
              <a:avLst/>
              <a:gdLst>
                <a:gd name="connsiteX0" fmla="*/ 40373 w 41152"/>
                <a:gd name="connsiteY0" fmla="*/ 25076 h 40973"/>
                <a:gd name="connsiteX1" fmla="*/ 15897 w 41152"/>
                <a:gd name="connsiteY1" fmla="*/ 40374 h 40973"/>
                <a:gd name="connsiteX2" fmla="*/ 600 w 41152"/>
                <a:gd name="connsiteY2" fmla="*/ 15898 h 40973"/>
                <a:gd name="connsiteX3" fmla="*/ 25075 w 41152"/>
                <a:gd name="connsiteY3" fmla="*/ 600 h 40973"/>
                <a:gd name="connsiteX4" fmla="*/ 40373 w 41152"/>
                <a:gd name="connsiteY4" fmla="*/ 25076 h 40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52" h="40973">
                  <a:moveTo>
                    <a:pt x="40373" y="25076"/>
                  </a:moveTo>
                  <a:cubicBezTo>
                    <a:pt x="37314" y="34254"/>
                    <a:pt x="28136" y="43433"/>
                    <a:pt x="15897" y="40374"/>
                  </a:cubicBezTo>
                  <a:cubicBezTo>
                    <a:pt x="6719" y="37314"/>
                    <a:pt x="-2459" y="28135"/>
                    <a:pt x="600" y="15898"/>
                  </a:cubicBezTo>
                  <a:cubicBezTo>
                    <a:pt x="3660" y="6719"/>
                    <a:pt x="12839" y="-2459"/>
                    <a:pt x="25075" y="600"/>
                  </a:cubicBezTo>
                  <a:cubicBezTo>
                    <a:pt x="37314" y="3659"/>
                    <a:pt x="43433" y="15898"/>
                    <a:pt x="40373" y="2507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7DFFC7D0-4666-474D-A546-65DC934A8610}"/>
                </a:ext>
              </a:extLst>
            </p:cNvPr>
            <p:cNvSpPr/>
            <p:nvPr/>
          </p:nvSpPr>
          <p:spPr>
            <a:xfrm>
              <a:off x="24935941" y="8007552"/>
              <a:ext cx="92286" cy="33654"/>
            </a:xfrm>
            <a:custGeom>
              <a:avLst/>
              <a:gdLst>
                <a:gd name="connsiteX0" fmla="*/ 8413 w 92286"/>
                <a:gd name="connsiteY0" fmla="*/ 33654 h 33654"/>
                <a:gd name="connsiteX1" fmla="*/ 2294 w 92286"/>
                <a:gd name="connsiteY1" fmla="*/ 30595 h 33654"/>
                <a:gd name="connsiteX2" fmla="*/ 2294 w 92286"/>
                <a:gd name="connsiteY2" fmla="*/ 18357 h 33654"/>
                <a:gd name="connsiteX3" fmla="*/ 87961 w 92286"/>
                <a:gd name="connsiteY3" fmla="*/ 9178 h 33654"/>
                <a:gd name="connsiteX4" fmla="*/ 91020 w 92286"/>
                <a:gd name="connsiteY4" fmla="*/ 21416 h 33654"/>
                <a:gd name="connsiteX5" fmla="*/ 78781 w 92286"/>
                <a:gd name="connsiteY5" fmla="*/ 24476 h 33654"/>
                <a:gd name="connsiteX6" fmla="*/ 11474 w 92286"/>
                <a:gd name="connsiteY6" fmla="*/ 30595 h 33654"/>
                <a:gd name="connsiteX7" fmla="*/ 8413 w 92286"/>
                <a:gd name="connsiteY7" fmla="*/ 33654 h 33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86" h="33654">
                  <a:moveTo>
                    <a:pt x="8413" y="33654"/>
                  </a:moveTo>
                  <a:cubicBezTo>
                    <a:pt x="5355" y="33654"/>
                    <a:pt x="5355" y="33654"/>
                    <a:pt x="2294" y="30595"/>
                  </a:cubicBezTo>
                  <a:cubicBezTo>
                    <a:pt x="-765" y="27535"/>
                    <a:pt x="-765" y="21416"/>
                    <a:pt x="2294" y="18357"/>
                  </a:cubicBezTo>
                  <a:cubicBezTo>
                    <a:pt x="29830" y="-9178"/>
                    <a:pt x="69603" y="0"/>
                    <a:pt x="87961" y="9178"/>
                  </a:cubicBezTo>
                  <a:cubicBezTo>
                    <a:pt x="91020" y="12238"/>
                    <a:pt x="94079" y="15298"/>
                    <a:pt x="91020" y="21416"/>
                  </a:cubicBezTo>
                  <a:cubicBezTo>
                    <a:pt x="87961" y="24476"/>
                    <a:pt x="84901" y="27535"/>
                    <a:pt x="78781" y="24476"/>
                  </a:cubicBezTo>
                  <a:cubicBezTo>
                    <a:pt x="75723" y="24476"/>
                    <a:pt x="39008" y="3059"/>
                    <a:pt x="11474" y="30595"/>
                  </a:cubicBezTo>
                  <a:cubicBezTo>
                    <a:pt x="11474" y="30595"/>
                    <a:pt x="11474" y="33654"/>
                    <a:pt x="8413" y="33654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140AA585-8FD3-4A41-8AD8-2FEC9B13809E}"/>
                </a:ext>
              </a:extLst>
            </p:cNvPr>
            <p:cNvSpPr/>
            <p:nvPr/>
          </p:nvSpPr>
          <p:spPr>
            <a:xfrm>
              <a:off x="25123598" y="8008572"/>
              <a:ext cx="92287" cy="35694"/>
            </a:xfrm>
            <a:custGeom>
              <a:avLst/>
              <a:gdLst>
                <a:gd name="connsiteX0" fmla="*/ 86933 w 92287"/>
                <a:gd name="connsiteY0" fmla="*/ 35694 h 35694"/>
                <a:gd name="connsiteX1" fmla="*/ 80814 w 92287"/>
                <a:gd name="connsiteY1" fmla="*/ 32635 h 35694"/>
                <a:gd name="connsiteX2" fmla="*/ 13505 w 92287"/>
                <a:gd name="connsiteY2" fmla="*/ 26516 h 35694"/>
                <a:gd name="connsiteX3" fmla="*/ 1268 w 92287"/>
                <a:gd name="connsiteY3" fmla="*/ 23456 h 35694"/>
                <a:gd name="connsiteX4" fmla="*/ 4327 w 92287"/>
                <a:gd name="connsiteY4" fmla="*/ 11218 h 35694"/>
                <a:gd name="connsiteX5" fmla="*/ 89992 w 92287"/>
                <a:gd name="connsiteY5" fmla="*/ 20397 h 35694"/>
                <a:gd name="connsiteX6" fmla="*/ 89992 w 92287"/>
                <a:gd name="connsiteY6" fmla="*/ 32635 h 35694"/>
                <a:gd name="connsiteX7" fmla="*/ 86933 w 92287"/>
                <a:gd name="connsiteY7" fmla="*/ 35694 h 35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87" h="35694">
                  <a:moveTo>
                    <a:pt x="86933" y="35694"/>
                  </a:moveTo>
                  <a:cubicBezTo>
                    <a:pt x="83874" y="35694"/>
                    <a:pt x="83874" y="35694"/>
                    <a:pt x="80814" y="32635"/>
                  </a:cubicBezTo>
                  <a:cubicBezTo>
                    <a:pt x="80814" y="32635"/>
                    <a:pt x="50219" y="2040"/>
                    <a:pt x="13505" y="26516"/>
                  </a:cubicBezTo>
                  <a:cubicBezTo>
                    <a:pt x="10446" y="29575"/>
                    <a:pt x="4327" y="26516"/>
                    <a:pt x="1268" y="23456"/>
                  </a:cubicBezTo>
                  <a:cubicBezTo>
                    <a:pt x="-1793" y="20397"/>
                    <a:pt x="1268" y="14278"/>
                    <a:pt x="4327" y="11218"/>
                  </a:cubicBezTo>
                  <a:cubicBezTo>
                    <a:pt x="41041" y="-13258"/>
                    <a:pt x="77755" y="8159"/>
                    <a:pt x="89992" y="20397"/>
                  </a:cubicBezTo>
                  <a:cubicBezTo>
                    <a:pt x="93052" y="23456"/>
                    <a:pt x="93052" y="29575"/>
                    <a:pt x="89992" y="32635"/>
                  </a:cubicBezTo>
                  <a:cubicBezTo>
                    <a:pt x="89992" y="35694"/>
                    <a:pt x="89992" y="35694"/>
                    <a:pt x="86933" y="35694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9D7BE5CC-31AA-4F88-8D4F-9E45E16801EA}"/>
                </a:ext>
              </a:extLst>
            </p:cNvPr>
            <p:cNvSpPr/>
            <p:nvPr/>
          </p:nvSpPr>
          <p:spPr>
            <a:xfrm>
              <a:off x="24994072" y="8328799"/>
              <a:ext cx="233022" cy="61189"/>
            </a:xfrm>
            <a:custGeom>
              <a:avLst/>
              <a:gdLst>
                <a:gd name="connsiteX0" fmla="*/ 81840 w 233022"/>
                <a:gd name="connsiteY0" fmla="*/ 61190 h 61189"/>
                <a:gd name="connsiteX1" fmla="*/ 81840 w 233022"/>
                <a:gd name="connsiteY1" fmla="*/ 61190 h 61189"/>
                <a:gd name="connsiteX2" fmla="*/ 2294 w 233022"/>
                <a:gd name="connsiteY2" fmla="*/ 33654 h 61189"/>
                <a:gd name="connsiteX3" fmla="*/ 2294 w 233022"/>
                <a:gd name="connsiteY3" fmla="*/ 24476 h 61189"/>
                <a:gd name="connsiteX4" fmla="*/ 11472 w 233022"/>
                <a:gd name="connsiteY4" fmla="*/ 24476 h 61189"/>
                <a:gd name="connsiteX5" fmla="*/ 81840 w 233022"/>
                <a:gd name="connsiteY5" fmla="*/ 48952 h 61189"/>
                <a:gd name="connsiteX6" fmla="*/ 222578 w 233022"/>
                <a:gd name="connsiteY6" fmla="*/ 0 h 61189"/>
                <a:gd name="connsiteX7" fmla="*/ 231756 w 233022"/>
                <a:gd name="connsiteY7" fmla="*/ 3059 h 61189"/>
                <a:gd name="connsiteX8" fmla="*/ 228697 w 233022"/>
                <a:gd name="connsiteY8" fmla="*/ 12238 h 61189"/>
                <a:gd name="connsiteX9" fmla="*/ 81840 w 233022"/>
                <a:gd name="connsiteY9" fmla="*/ 61190 h 61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3022" h="61189">
                  <a:moveTo>
                    <a:pt x="81840" y="61190"/>
                  </a:moveTo>
                  <a:cubicBezTo>
                    <a:pt x="81840" y="61190"/>
                    <a:pt x="78781" y="61190"/>
                    <a:pt x="81840" y="61190"/>
                  </a:cubicBezTo>
                  <a:cubicBezTo>
                    <a:pt x="39008" y="61190"/>
                    <a:pt x="5353" y="33654"/>
                    <a:pt x="2294" y="33654"/>
                  </a:cubicBezTo>
                  <a:cubicBezTo>
                    <a:pt x="-765" y="30595"/>
                    <a:pt x="-765" y="27535"/>
                    <a:pt x="2294" y="24476"/>
                  </a:cubicBezTo>
                  <a:cubicBezTo>
                    <a:pt x="5353" y="21416"/>
                    <a:pt x="8413" y="21416"/>
                    <a:pt x="11472" y="24476"/>
                  </a:cubicBezTo>
                  <a:cubicBezTo>
                    <a:pt x="11472" y="24476"/>
                    <a:pt x="42067" y="48952"/>
                    <a:pt x="81840" y="48952"/>
                  </a:cubicBezTo>
                  <a:cubicBezTo>
                    <a:pt x="130793" y="48952"/>
                    <a:pt x="222578" y="0"/>
                    <a:pt x="222578" y="0"/>
                  </a:cubicBezTo>
                  <a:cubicBezTo>
                    <a:pt x="225636" y="0"/>
                    <a:pt x="228697" y="0"/>
                    <a:pt x="231756" y="3059"/>
                  </a:cubicBezTo>
                  <a:cubicBezTo>
                    <a:pt x="234815" y="6119"/>
                    <a:pt x="231756" y="9178"/>
                    <a:pt x="228697" y="12238"/>
                  </a:cubicBezTo>
                  <a:cubicBezTo>
                    <a:pt x="222578" y="12238"/>
                    <a:pt x="133852" y="61190"/>
                    <a:pt x="81840" y="61190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734C5227-B66E-4BEA-A084-D5CF70595AEF}"/>
                </a:ext>
              </a:extLst>
            </p:cNvPr>
            <p:cNvSpPr/>
            <p:nvPr/>
          </p:nvSpPr>
          <p:spPr>
            <a:xfrm>
              <a:off x="25244184" y="7839280"/>
              <a:ext cx="113518" cy="269234"/>
            </a:xfrm>
            <a:custGeom>
              <a:avLst/>
              <a:gdLst>
                <a:gd name="connsiteX0" fmla="*/ 0 w 113518"/>
                <a:gd name="connsiteY0" fmla="*/ 128498 h 269234"/>
                <a:gd name="connsiteX1" fmla="*/ 48953 w 113518"/>
                <a:gd name="connsiteY1" fmla="*/ 269235 h 269234"/>
                <a:gd name="connsiteX2" fmla="*/ 107082 w 113518"/>
                <a:gd name="connsiteY2" fmla="*/ 168272 h 269234"/>
                <a:gd name="connsiteX3" fmla="*/ 48953 w 113518"/>
                <a:gd name="connsiteY3" fmla="*/ 0 h 269234"/>
                <a:gd name="connsiteX4" fmla="*/ 0 w 113518"/>
                <a:gd name="connsiteY4" fmla="*/ 128498 h 269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518" h="269234">
                  <a:moveTo>
                    <a:pt x="0" y="128498"/>
                  </a:moveTo>
                  <a:cubicBezTo>
                    <a:pt x="0" y="128498"/>
                    <a:pt x="55072" y="238640"/>
                    <a:pt x="48953" y="269235"/>
                  </a:cubicBezTo>
                  <a:cubicBezTo>
                    <a:pt x="48953" y="269235"/>
                    <a:pt x="91785" y="223342"/>
                    <a:pt x="107082" y="168272"/>
                  </a:cubicBezTo>
                  <a:cubicBezTo>
                    <a:pt x="122380" y="110141"/>
                    <a:pt x="113202" y="15297"/>
                    <a:pt x="48953" y="0"/>
                  </a:cubicBezTo>
                  <a:cubicBezTo>
                    <a:pt x="48953" y="0"/>
                    <a:pt x="39775" y="110141"/>
                    <a:pt x="0" y="128498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48926A7F-05B9-4F4F-BD4D-7B3C03EDC5C1}"/>
                </a:ext>
              </a:extLst>
            </p:cNvPr>
            <p:cNvSpPr/>
            <p:nvPr/>
          </p:nvSpPr>
          <p:spPr>
            <a:xfrm>
              <a:off x="24800558" y="7718245"/>
              <a:ext cx="502560" cy="258743"/>
            </a:xfrm>
            <a:custGeom>
              <a:avLst/>
              <a:gdLst>
                <a:gd name="connsiteX0" fmla="*/ 443626 w 502560"/>
                <a:gd name="connsiteY0" fmla="*/ 249534 h 258743"/>
                <a:gd name="connsiteX1" fmla="*/ 321246 w 502560"/>
                <a:gd name="connsiteY1" fmla="*/ 209760 h 258743"/>
                <a:gd name="connsiteX2" fmla="*/ 0 w 502560"/>
                <a:gd name="connsiteY2" fmla="*/ 197523 h 258743"/>
                <a:gd name="connsiteX3" fmla="*/ 94845 w 502560"/>
                <a:gd name="connsiteY3" fmla="*/ 136333 h 258743"/>
                <a:gd name="connsiteX4" fmla="*/ 373258 w 502560"/>
                <a:gd name="connsiteY4" fmla="*/ 10893 h 258743"/>
                <a:gd name="connsiteX5" fmla="*/ 492579 w 502560"/>
                <a:gd name="connsiteY5" fmla="*/ 117976 h 258743"/>
                <a:gd name="connsiteX6" fmla="*/ 443626 w 502560"/>
                <a:gd name="connsiteY6" fmla="*/ 249534 h 258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2560" h="258743">
                  <a:moveTo>
                    <a:pt x="443626" y="249534"/>
                  </a:moveTo>
                  <a:cubicBezTo>
                    <a:pt x="443626" y="249534"/>
                    <a:pt x="348783" y="209760"/>
                    <a:pt x="321246" y="209760"/>
                  </a:cubicBezTo>
                  <a:cubicBezTo>
                    <a:pt x="220284" y="212820"/>
                    <a:pt x="91785" y="326021"/>
                    <a:pt x="0" y="197523"/>
                  </a:cubicBezTo>
                  <a:cubicBezTo>
                    <a:pt x="52012" y="209760"/>
                    <a:pt x="76487" y="160808"/>
                    <a:pt x="94845" y="136333"/>
                  </a:cubicBezTo>
                  <a:cubicBezTo>
                    <a:pt x="137677" y="75143"/>
                    <a:pt x="208047" y="-34999"/>
                    <a:pt x="373258" y="10893"/>
                  </a:cubicBezTo>
                  <a:cubicBezTo>
                    <a:pt x="452806" y="32310"/>
                    <a:pt x="486460" y="81262"/>
                    <a:pt x="492579" y="117976"/>
                  </a:cubicBezTo>
                  <a:cubicBezTo>
                    <a:pt x="492579" y="121035"/>
                    <a:pt x="535411" y="237296"/>
                    <a:pt x="443626" y="249534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D38EA7A1-F975-4A17-97B1-B6E5AD50EDAC}"/>
                </a:ext>
              </a:extLst>
            </p:cNvPr>
            <p:cNvSpPr/>
            <p:nvPr/>
          </p:nvSpPr>
          <p:spPr>
            <a:xfrm>
              <a:off x="25279540" y="8077729"/>
              <a:ext cx="78900" cy="110890"/>
            </a:xfrm>
            <a:custGeom>
              <a:avLst/>
              <a:gdLst>
                <a:gd name="connsiteX0" fmla="*/ 13598 w 78900"/>
                <a:gd name="connsiteY0" fmla="*/ 15488 h 110890"/>
                <a:gd name="connsiteX1" fmla="*/ 71727 w 78900"/>
                <a:gd name="connsiteY1" fmla="*/ 6310 h 110890"/>
                <a:gd name="connsiteX2" fmla="*/ 13598 w 78900"/>
                <a:gd name="connsiteY2" fmla="*/ 107273 h 110890"/>
                <a:gd name="connsiteX3" fmla="*/ 13598 w 78900"/>
                <a:gd name="connsiteY3" fmla="*/ 15488 h 110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00" h="110890">
                  <a:moveTo>
                    <a:pt x="13598" y="15488"/>
                  </a:moveTo>
                  <a:cubicBezTo>
                    <a:pt x="13598" y="15488"/>
                    <a:pt x="47251" y="-12047"/>
                    <a:pt x="71727" y="6310"/>
                  </a:cubicBezTo>
                  <a:cubicBezTo>
                    <a:pt x="96204" y="24667"/>
                    <a:pt x="53371" y="131749"/>
                    <a:pt x="13598" y="107273"/>
                  </a:cubicBezTo>
                  <a:cubicBezTo>
                    <a:pt x="-16997" y="88916"/>
                    <a:pt x="13598" y="15488"/>
                    <a:pt x="13598" y="15488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4FFF983B-930E-4313-A68A-688B911EEA75}"/>
                </a:ext>
              </a:extLst>
            </p:cNvPr>
            <p:cNvSpPr/>
            <p:nvPr/>
          </p:nvSpPr>
          <p:spPr>
            <a:xfrm>
              <a:off x="25235006" y="7857637"/>
              <a:ext cx="73851" cy="241699"/>
            </a:xfrm>
            <a:custGeom>
              <a:avLst/>
              <a:gdLst>
                <a:gd name="connsiteX0" fmla="*/ 58131 w 73851"/>
                <a:gd name="connsiteY0" fmla="*/ 241700 h 241699"/>
                <a:gd name="connsiteX1" fmla="*/ 52012 w 73851"/>
                <a:gd name="connsiteY1" fmla="*/ 235581 h 241699"/>
                <a:gd name="connsiteX2" fmla="*/ 6119 w 73851"/>
                <a:gd name="connsiteY2" fmla="*/ 113201 h 241699"/>
                <a:gd name="connsiteX3" fmla="*/ 0 w 73851"/>
                <a:gd name="connsiteY3" fmla="*/ 107082 h 241699"/>
                <a:gd name="connsiteX4" fmla="*/ 9178 w 73851"/>
                <a:gd name="connsiteY4" fmla="*/ 104023 h 241699"/>
                <a:gd name="connsiteX5" fmla="*/ 58131 w 73851"/>
                <a:gd name="connsiteY5" fmla="*/ 64249 h 241699"/>
                <a:gd name="connsiteX6" fmla="*/ 58131 w 73851"/>
                <a:gd name="connsiteY6" fmla="*/ 6119 h 241699"/>
                <a:gd name="connsiteX7" fmla="*/ 61190 w 73851"/>
                <a:gd name="connsiteY7" fmla="*/ 0 h 241699"/>
                <a:gd name="connsiteX8" fmla="*/ 67309 w 73851"/>
                <a:gd name="connsiteY8" fmla="*/ 3060 h 241699"/>
                <a:gd name="connsiteX9" fmla="*/ 64250 w 73851"/>
                <a:gd name="connsiteY9" fmla="*/ 70368 h 241699"/>
                <a:gd name="connsiteX10" fmla="*/ 15297 w 73851"/>
                <a:gd name="connsiteY10" fmla="*/ 113201 h 241699"/>
                <a:gd name="connsiteX11" fmla="*/ 61190 w 73851"/>
                <a:gd name="connsiteY11" fmla="*/ 235581 h 241699"/>
                <a:gd name="connsiteX12" fmla="*/ 58131 w 73851"/>
                <a:gd name="connsiteY12" fmla="*/ 241700 h 241699"/>
                <a:gd name="connsiteX13" fmla="*/ 58131 w 73851"/>
                <a:gd name="connsiteY13" fmla="*/ 241700 h 241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851" h="241699">
                  <a:moveTo>
                    <a:pt x="58131" y="241700"/>
                  </a:moveTo>
                  <a:cubicBezTo>
                    <a:pt x="55070" y="241700"/>
                    <a:pt x="52012" y="238640"/>
                    <a:pt x="52012" y="235581"/>
                  </a:cubicBezTo>
                  <a:cubicBezTo>
                    <a:pt x="45892" y="174391"/>
                    <a:pt x="6119" y="113201"/>
                    <a:pt x="6119" y="113201"/>
                  </a:cubicBezTo>
                  <a:lnTo>
                    <a:pt x="0" y="107082"/>
                  </a:lnTo>
                  <a:lnTo>
                    <a:pt x="9178" y="104023"/>
                  </a:lnTo>
                  <a:cubicBezTo>
                    <a:pt x="9178" y="104023"/>
                    <a:pt x="42834" y="91785"/>
                    <a:pt x="58131" y="64249"/>
                  </a:cubicBezTo>
                  <a:cubicBezTo>
                    <a:pt x="67309" y="48952"/>
                    <a:pt x="67309" y="27536"/>
                    <a:pt x="58131" y="6119"/>
                  </a:cubicBezTo>
                  <a:cubicBezTo>
                    <a:pt x="58131" y="3060"/>
                    <a:pt x="58131" y="0"/>
                    <a:pt x="61190" y="0"/>
                  </a:cubicBezTo>
                  <a:cubicBezTo>
                    <a:pt x="64250" y="0"/>
                    <a:pt x="67309" y="0"/>
                    <a:pt x="67309" y="3060"/>
                  </a:cubicBezTo>
                  <a:cubicBezTo>
                    <a:pt x="76487" y="27536"/>
                    <a:pt x="76487" y="52011"/>
                    <a:pt x="64250" y="70368"/>
                  </a:cubicBezTo>
                  <a:cubicBezTo>
                    <a:pt x="52012" y="94844"/>
                    <a:pt x="27536" y="107082"/>
                    <a:pt x="15297" y="113201"/>
                  </a:cubicBezTo>
                  <a:cubicBezTo>
                    <a:pt x="27536" y="131558"/>
                    <a:pt x="55070" y="180510"/>
                    <a:pt x="61190" y="235581"/>
                  </a:cubicBezTo>
                  <a:cubicBezTo>
                    <a:pt x="64250" y="238640"/>
                    <a:pt x="61190" y="238640"/>
                    <a:pt x="58131" y="241700"/>
                  </a:cubicBezTo>
                  <a:cubicBezTo>
                    <a:pt x="58131" y="241700"/>
                    <a:pt x="58131" y="241700"/>
                    <a:pt x="58131" y="241700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E2BD94B1-03C5-46F7-9322-4CCA959E4F41}"/>
                </a:ext>
              </a:extLst>
            </p:cNvPr>
            <p:cNvSpPr/>
            <p:nvPr/>
          </p:nvSpPr>
          <p:spPr>
            <a:xfrm>
              <a:off x="24930758" y="7897935"/>
              <a:ext cx="195374" cy="36188"/>
            </a:xfrm>
            <a:custGeom>
              <a:avLst/>
              <a:gdLst>
                <a:gd name="connsiteX0" fmla="*/ 191047 w 195374"/>
                <a:gd name="connsiteY0" fmla="*/ 36189 h 36188"/>
                <a:gd name="connsiteX1" fmla="*/ 191047 w 195374"/>
                <a:gd name="connsiteY1" fmla="*/ 36189 h 36188"/>
                <a:gd name="connsiteX2" fmla="*/ 10538 w 195374"/>
                <a:gd name="connsiteY2" fmla="*/ 30070 h 36188"/>
                <a:gd name="connsiteX3" fmla="*/ 1360 w 195374"/>
                <a:gd name="connsiteY3" fmla="*/ 30070 h 36188"/>
                <a:gd name="connsiteX4" fmla="*/ 1360 w 195374"/>
                <a:gd name="connsiteY4" fmla="*/ 20892 h 36188"/>
                <a:gd name="connsiteX5" fmla="*/ 191047 w 195374"/>
                <a:gd name="connsiteY5" fmla="*/ 27010 h 36188"/>
                <a:gd name="connsiteX6" fmla="*/ 194108 w 195374"/>
                <a:gd name="connsiteY6" fmla="*/ 36189 h 36188"/>
                <a:gd name="connsiteX7" fmla="*/ 191047 w 195374"/>
                <a:gd name="connsiteY7" fmla="*/ 36189 h 36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374" h="36188">
                  <a:moveTo>
                    <a:pt x="191047" y="36189"/>
                  </a:moveTo>
                  <a:cubicBezTo>
                    <a:pt x="191047" y="36189"/>
                    <a:pt x="191047" y="36189"/>
                    <a:pt x="191047" y="36189"/>
                  </a:cubicBezTo>
                  <a:cubicBezTo>
                    <a:pt x="187988" y="36189"/>
                    <a:pt x="74787" y="-15822"/>
                    <a:pt x="10538" y="30070"/>
                  </a:cubicBezTo>
                  <a:cubicBezTo>
                    <a:pt x="7478" y="33130"/>
                    <a:pt x="4419" y="30070"/>
                    <a:pt x="1360" y="30070"/>
                  </a:cubicBezTo>
                  <a:cubicBezTo>
                    <a:pt x="-1700" y="27010"/>
                    <a:pt x="1360" y="23951"/>
                    <a:pt x="1360" y="20892"/>
                  </a:cubicBezTo>
                  <a:cubicBezTo>
                    <a:pt x="71728" y="-28060"/>
                    <a:pt x="187988" y="23951"/>
                    <a:pt x="191047" y="27010"/>
                  </a:cubicBezTo>
                  <a:cubicBezTo>
                    <a:pt x="194108" y="27010"/>
                    <a:pt x="194108" y="33130"/>
                    <a:pt x="194108" y="36189"/>
                  </a:cubicBezTo>
                  <a:cubicBezTo>
                    <a:pt x="197167" y="36189"/>
                    <a:pt x="194108" y="36189"/>
                    <a:pt x="191047" y="36189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594D9D9-B48B-4587-A042-4FFA1813A741}"/>
                </a:ext>
              </a:extLst>
            </p:cNvPr>
            <p:cNvSpPr/>
            <p:nvPr/>
          </p:nvSpPr>
          <p:spPr>
            <a:xfrm>
              <a:off x="24567218" y="8445059"/>
              <a:ext cx="1074700" cy="1572393"/>
            </a:xfrm>
            <a:custGeom>
              <a:avLst/>
              <a:gdLst>
                <a:gd name="connsiteX0" fmla="*/ 676967 w 1074700"/>
                <a:gd name="connsiteY0" fmla="*/ 0 h 1572393"/>
                <a:gd name="connsiteX1" fmla="*/ 386315 w 1074700"/>
                <a:gd name="connsiteY1" fmla="*/ 0 h 1572393"/>
                <a:gd name="connsiteX2" fmla="*/ 86485 w 1074700"/>
                <a:gd name="connsiteY2" fmla="*/ 131558 h 1572393"/>
                <a:gd name="connsiteX3" fmla="*/ 820 w 1074700"/>
                <a:gd name="connsiteY3" fmla="*/ 1541983 h 1572393"/>
                <a:gd name="connsiteX4" fmla="*/ 1074700 w 1074700"/>
                <a:gd name="connsiteY4" fmla="*/ 1517507 h 1572393"/>
                <a:gd name="connsiteX5" fmla="*/ 958440 w 1074700"/>
                <a:gd name="connsiteY5" fmla="*/ 104023 h 1572393"/>
                <a:gd name="connsiteX6" fmla="*/ 676967 w 1074700"/>
                <a:gd name="connsiteY6" fmla="*/ 0 h 1572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4700" h="1572393">
                  <a:moveTo>
                    <a:pt x="676967" y="0"/>
                  </a:moveTo>
                  <a:cubicBezTo>
                    <a:pt x="676967" y="0"/>
                    <a:pt x="502577" y="55071"/>
                    <a:pt x="386315" y="0"/>
                  </a:cubicBezTo>
                  <a:cubicBezTo>
                    <a:pt x="386315" y="0"/>
                    <a:pt x="110961" y="97904"/>
                    <a:pt x="86485" y="131558"/>
                  </a:cubicBezTo>
                  <a:cubicBezTo>
                    <a:pt x="62010" y="165213"/>
                    <a:pt x="-8358" y="1474675"/>
                    <a:pt x="820" y="1541983"/>
                  </a:cubicBezTo>
                  <a:cubicBezTo>
                    <a:pt x="820" y="1541983"/>
                    <a:pt x="493397" y="1624589"/>
                    <a:pt x="1074700" y="1517507"/>
                  </a:cubicBezTo>
                  <a:cubicBezTo>
                    <a:pt x="1074700" y="1159547"/>
                    <a:pt x="1001274" y="134618"/>
                    <a:pt x="958440" y="104023"/>
                  </a:cubicBezTo>
                  <a:cubicBezTo>
                    <a:pt x="915608" y="70368"/>
                    <a:pt x="676967" y="0"/>
                    <a:pt x="676967" y="0"/>
                  </a:cubicBezTo>
                  <a:close/>
                </a:path>
              </a:pathLst>
            </a:custGeom>
            <a:solidFill>
              <a:srgbClr val="708686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277E8195-E816-4E3A-81D6-95202F8B4971}"/>
                </a:ext>
              </a:extLst>
            </p:cNvPr>
            <p:cNvSpPr/>
            <p:nvPr/>
          </p:nvSpPr>
          <p:spPr>
            <a:xfrm>
              <a:off x="25066734" y="8445059"/>
              <a:ext cx="180510" cy="119320"/>
            </a:xfrm>
            <a:custGeom>
              <a:avLst/>
              <a:gdLst>
                <a:gd name="connsiteX0" fmla="*/ 0 w 180510"/>
                <a:gd name="connsiteY0" fmla="*/ 21417 h 119320"/>
                <a:gd name="connsiteX1" fmla="*/ 27536 w 180510"/>
                <a:gd name="connsiteY1" fmla="*/ 119320 h 119320"/>
                <a:gd name="connsiteX2" fmla="*/ 180511 w 180510"/>
                <a:gd name="connsiteY2" fmla="*/ 0 h 119320"/>
                <a:gd name="connsiteX3" fmla="*/ 0 w 180510"/>
                <a:gd name="connsiteY3" fmla="*/ 21417 h 119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510" h="119320">
                  <a:moveTo>
                    <a:pt x="0" y="21417"/>
                  </a:moveTo>
                  <a:lnTo>
                    <a:pt x="27536" y="119320"/>
                  </a:lnTo>
                  <a:lnTo>
                    <a:pt x="180511" y="0"/>
                  </a:lnTo>
                  <a:cubicBezTo>
                    <a:pt x="177450" y="0"/>
                    <a:pt x="39773" y="21417"/>
                    <a:pt x="0" y="21417"/>
                  </a:cubicBezTo>
                  <a:close/>
                </a:path>
              </a:pathLst>
            </a:custGeom>
            <a:solidFill>
              <a:srgbClr val="FFFFFF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36C72177-F329-4232-9388-FC48F56B657A}"/>
                </a:ext>
              </a:extLst>
            </p:cNvPr>
            <p:cNvSpPr/>
            <p:nvPr/>
          </p:nvSpPr>
          <p:spPr>
            <a:xfrm>
              <a:off x="24956497" y="8445059"/>
              <a:ext cx="110237" cy="116260"/>
            </a:xfrm>
            <a:custGeom>
              <a:avLst/>
              <a:gdLst>
                <a:gd name="connsiteX0" fmla="*/ 110238 w 110237"/>
                <a:gd name="connsiteY0" fmla="*/ 21417 h 116260"/>
                <a:gd name="connsiteX1" fmla="*/ 73523 w 110237"/>
                <a:gd name="connsiteY1" fmla="*/ 116261 h 116260"/>
                <a:gd name="connsiteX2" fmla="*/ 97 w 110237"/>
                <a:gd name="connsiteY2" fmla="*/ 0 h 116260"/>
                <a:gd name="connsiteX3" fmla="*/ 110238 w 110237"/>
                <a:gd name="connsiteY3" fmla="*/ 21417 h 11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237" h="116260">
                  <a:moveTo>
                    <a:pt x="110238" y="21417"/>
                  </a:moveTo>
                  <a:lnTo>
                    <a:pt x="73523" y="116261"/>
                  </a:lnTo>
                  <a:lnTo>
                    <a:pt x="97" y="0"/>
                  </a:lnTo>
                  <a:cubicBezTo>
                    <a:pt x="-2964" y="0"/>
                    <a:pt x="67406" y="21417"/>
                    <a:pt x="110238" y="21417"/>
                  </a:cubicBezTo>
                  <a:close/>
                </a:path>
              </a:pathLst>
            </a:custGeom>
            <a:solidFill>
              <a:srgbClr val="FFFFFF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5133638C-88AE-4E69-9D10-83645B46839E}"/>
                </a:ext>
              </a:extLst>
            </p:cNvPr>
            <p:cNvSpPr/>
            <p:nvPr/>
          </p:nvSpPr>
          <p:spPr>
            <a:xfrm>
              <a:off x="24359993" y="8535274"/>
              <a:ext cx="452182" cy="613467"/>
            </a:xfrm>
            <a:custGeom>
              <a:avLst/>
              <a:gdLst>
                <a:gd name="connsiteX0" fmla="*/ 388556 w 452182"/>
                <a:gd name="connsiteY0" fmla="*/ 613468 h 613467"/>
                <a:gd name="connsiteX1" fmla="*/ 400792 w 452182"/>
                <a:gd name="connsiteY1" fmla="*/ 10748 h 613467"/>
                <a:gd name="connsiteX2" fmla="*/ 0 w 452182"/>
                <a:gd name="connsiteY2" fmla="*/ 445196 h 613467"/>
                <a:gd name="connsiteX3" fmla="*/ 388556 w 452182"/>
                <a:gd name="connsiteY3" fmla="*/ 613468 h 61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2182" h="613467">
                  <a:moveTo>
                    <a:pt x="388556" y="613468"/>
                  </a:moveTo>
                  <a:cubicBezTo>
                    <a:pt x="388556" y="613468"/>
                    <a:pt x="523172" y="90295"/>
                    <a:pt x="400792" y="10748"/>
                  </a:cubicBezTo>
                  <a:cubicBezTo>
                    <a:pt x="256996" y="-81036"/>
                    <a:pt x="0" y="445196"/>
                    <a:pt x="0" y="445196"/>
                  </a:cubicBezTo>
                  <a:cubicBezTo>
                    <a:pt x="0" y="445196"/>
                    <a:pt x="174391" y="595111"/>
                    <a:pt x="388556" y="613468"/>
                  </a:cubicBezTo>
                  <a:close/>
                </a:path>
              </a:pathLst>
            </a:custGeom>
            <a:solidFill>
              <a:srgbClr val="708686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5F6AD572-4708-4E44-8527-F2BC6AFE08FE}"/>
                </a:ext>
              </a:extLst>
            </p:cNvPr>
            <p:cNvSpPr/>
            <p:nvPr/>
          </p:nvSpPr>
          <p:spPr>
            <a:xfrm>
              <a:off x="24604752" y="8569231"/>
              <a:ext cx="53278" cy="555035"/>
            </a:xfrm>
            <a:custGeom>
              <a:avLst/>
              <a:gdLst>
                <a:gd name="connsiteX0" fmla="*/ 6119 w 53278"/>
                <a:gd name="connsiteY0" fmla="*/ 555035 h 555035"/>
                <a:gd name="connsiteX1" fmla="*/ 6119 w 53278"/>
                <a:gd name="connsiteY1" fmla="*/ 555035 h 555035"/>
                <a:gd name="connsiteX2" fmla="*/ 0 w 53278"/>
                <a:gd name="connsiteY2" fmla="*/ 548916 h 555035"/>
                <a:gd name="connsiteX3" fmla="*/ 42832 w 53278"/>
                <a:gd name="connsiteY3" fmla="*/ 4327 h 555035"/>
                <a:gd name="connsiteX4" fmla="*/ 48951 w 53278"/>
                <a:gd name="connsiteY4" fmla="*/ 1267 h 555035"/>
                <a:gd name="connsiteX5" fmla="*/ 52012 w 53278"/>
                <a:gd name="connsiteY5" fmla="*/ 7386 h 555035"/>
                <a:gd name="connsiteX6" fmla="*/ 9178 w 53278"/>
                <a:gd name="connsiteY6" fmla="*/ 548916 h 555035"/>
                <a:gd name="connsiteX7" fmla="*/ 6119 w 53278"/>
                <a:gd name="connsiteY7" fmla="*/ 555035 h 55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278" h="555035">
                  <a:moveTo>
                    <a:pt x="6119" y="555035"/>
                  </a:moveTo>
                  <a:cubicBezTo>
                    <a:pt x="6119" y="555035"/>
                    <a:pt x="6119" y="555035"/>
                    <a:pt x="6119" y="555035"/>
                  </a:cubicBezTo>
                  <a:cubicBezTo>
                    <a:pt x="3059" y="555035"/>
                    <a:pt x="0" y="551976"/>
                    <a:pt x="0" y="548916"/>
                  </a:cubicBezTo>
                  <a:cubicBezTo>
                    <a:pt x="0" y="527500"/>
                    <a:pt x="36714" y="44100"/>
                    <a:pt x="42832" y="4327"/>
                  </a:cubicBezTo>
                  <a:cubicBezTo>
                    <a:pt x="42832" y="1267"/>
                    <a:pt x="45892" y="-1792"/>
                    <a:pt x="48951" y="1267"/>
                  </a:cubicBezTo>
                  <a:cubicBezTo>
                    <a:pt x="52012" y="1267"/>
                    <a:pt x="55070" y="4327"/>
                    <a:pt x="52012" y="7386"/>
                  </a:cubicBezTo>
                  <a:cubicBezTo>
                    <a:pt x="42832" y="47160"/>
                    <a:pt x="9178" y="545857"/>
                    <a:pt x="9178" y="548916"/>
                  </a:cubicBezTo>
                  <a:cubicBezTo>
                    <a:pt x="12237" y="551976"/>
                    <a:pt x="9178" y="555035"/>
                    <a:pt x="6119" y="555035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7FB3182C-1E99-40F4-A01A-4B9C5866D22E}"/>
                </a:ext>
              </a:extLst>
            </p:cNvPr>
            <p:cNvSpPr/>
            <p:nvPr/>
          </p:nvSpPr>
          <p:spPr>
            <a:xfrm>
              <a:off x="25109568" y="9011065"/>
              <a:ext cx="771850" cy="871954"/>
            </a:xfrm>
            <a:custGeom>
              <a:avLst/>
              <a:gdLst>
                <a:gd name="connsiteX0" fmla="*/ 397734 w 771850"/>
                <a:gd name="connsiteY0" fmla="*/ 24476 h 871954"/>
                <a:gd name="connsiteX1" fmla="*/ 504816 w 771850"/>
                <a:gd name="connsiteY1" fmla="*/ 559887 h 871954"/>
                <a:gd name="connsiteX2" fmla="*/ 0 w 771850"/>
                <a:gd name="connsiteY2" fmla="*/ 734278 h 871954"/>
                <a:gd name="connsiteX3" fmla="*/ 82607 w 771850"/>
                <a:gd name="connsiteY3" fmla="*/ 871955 h 871954"/>
                <a:gd name="connsiteX4" fmla="*/ 740397 w 771850"/>
                <a:gd name="connsiteY4" fmla="*/ 700623 h 871954"/>
                <a:gd name="connsiteX5" fmla="*/ 666968 w 771850"/>
                <a:gd name="connsiteY5" fmla="*/ 0 h 871954"/>
                <a:gd name="connsiteX6" fmla="*/ 397734 w 771850"/>
                <a:gd name="connsiteY6" fmla="*/ 24476 h 87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1850" h="871954">
                  <a:moveTo>
                    <a:pt x="397734" y="24476"/>
                  </a:moveTo>
                  <a:lnTo>
                    <a:pt x="504816" y="559887"/>
                  </a:lnTo>
                  <a:lnTo>
                    <a:pt x="0" y="734278"/>
                  </a:lnTo>
                  <a:lnTo>
                    <a:pt x="82607" y="871955"/>
                  </a:lnTo>
                  <a:cubicBezTo>
                    <a:pt x="82607" y="871955"/>
                    <a:pt x="639432" y="780170"/>
                    <a:pt x="740397" y="700623"/>
                  </a:cubicBezTo>
                  <a:cubicBezTo>
                    <a:pt x="841360" y="621077"/>
                    <a:pt x="666968" y="0"/>
                    <a:pt x="666968" y="0"/>
                  </a:cubicBezTo>
                  <a:lnTo>
                    <a:pt x="397734" y="24476"/>
                  </a:ln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7" name="图形 892">
              <a:extLst>
                <a:ext uri="{FF2B5EF4-FFF2-40B4-BE49-F238E27FC236}">
                  <a16:creationId xmlns:a16="http://schemas.microsoft.com/office/drawing/2014/main" id="{AA7BA184-029B-4638-82D5-E97845065A02}"/>
                </a:ext>
              </a:extLst>
            </p:cNvPr>
            <p:cNvGrpSpPr/>
            <p:nvPr/>
          </p:nvGrpSpPr>
          <p:grpSpPr>
            <a:xfrm>
              <a:off x="24832375" y="9729948"/>
              <a:ext cx="387333" cy="273622"/>
              <a:chOff x="24832375" y="9729948"/>
              <a:chExt cx="387333" cy="273622"/>
            </a:xfrm>
          </p:grpSpPr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338F53FE-C127-4705-9E09-95DDCEF57EBC}"/>
                  </a:ext>
                </a:extLst>
              </p:cNvPr>
              <p:cNvSpPr/>
              <p:nvPr/>
            </p:nvSpPr>
            <p:spPr>
              <a:xfrm>
                <a:off x="24832375" y="9729948"/>
                <a:ext cx="387333" cy="273622"/>
              </a:xfrm>
              <a:custGeom>
                <a:avLst/>
                <a:gdLst>
                  <a:gd name="connsiteX0" fmla="*/ 387334 w 387333"/>
                  <a:gd name="connsiteY0" fmla="*/ 110238 h 273622"/>
                  <a:gd name="connsiteX1" fmla="*/ 320025 w 387333"/>
                  <a:gd name="connsiteY1" fmla="*/ 97 h 273622"/>
                  <a:gd name="connsiteX2" fmla="*/ 69148 w 387333"/>
                  <a:gd name="connsiteY2" fmla="*/ 88822 h 273622"/>
                  <a:gd name="connsiteX3" fmla="*/ 17136 w 387333"/>
                  <a:gd name="connsiteY3" fmla="*/ 146953 h 273622"/>
                  <a:gd name="connsiteX4" fmla="*/ 38553 w 387333"/>
                  <a:gd name="connsiteY4" fmla="*/ 150011 h 273622"/>
                  <a:gd name="connsiteX5" fmla="*/ 81385 w 387333"/>
                  <a:gd name="connsiteY5" fmla="*/ 137774 h 273622"/>
                  <a:gd name="connsiteX6" fmla="*/ 32434 w 387333"/>
                  <a:gd name="connsiteY6" fmla="*/ 177548 h 273622"/>
                  <a:gd name="connsiteX7" fmla="*/ 1839 w 387333"/>
                  <a:gd name="connsiteY7" fmla="*/ 238737 h 273622"/>
                  <a:gd name="connsiteX8" fmla="*/ 35493 w 387333"/>
                  <a:gd name="connsiteY8" fmla="*/ 241796 h 273622"/>
                  <a:gd name="connsiteX9" fmla="*/ 41612 w 387333"/>
                  <a:gd name="connsiteY9" fmla="*/ 257094 h 273622"/>
                  <a:gd name="connsiteX10" fmla="*/ 118099 w 387333"/>
                  <a:gd name="connsiteY10" fmla="*/ 241796 h 273622"/>
                  <a:gd name="connsiteX11" fmla="*/ 167050 w 387333"/>
                  <a:gd name="connsiteY11" fmla="*/ 214261 h 273622"/>
                  <a:gd name="connsiteX12" fmla="*/ 136455 w 387333"/>
                  <a:gd name="connsiteY12" fmla="*/ 272391 h 273622"/>
                  <a:gd name="connsiteX13" fmla="*/ 188467 w 387333"/>
                  <a:gd name="connsiteY13" fmla="*/ 254035 h 273622"/>
                  <a:gd name="connsiteX14" fmla="*/ 271074 w 387333"/>
                  <a:gd name="connsiteY14" fmla="*/ 195904 h 273622"/>
                  <a:gd name="connsiteX15" fmla="*/ 356739 w 387333"/>
                  <a:gd name="connsiteY15" fmla="*/ 150011 h 273622"/>
                  <a:gd name="connsiteX16" fmla="*/ 387334 w 387333"/>
                  <a:gd name="connsiteY16" fmla="*/ 110238 h 273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87333" h="273622">
                    <a:moveTo>
                      <a:pt x="387334" y="110238"/>
                    </a:moveTo>
                    <a:cubicBezTo>
                      <a:pt x="384275" y="67406"/>
                      <a:pt x="320025" y="-2963"/>
                      <a:pt x="320025" y="97"/>
                    </a:cubicBezTo>
                    <a:cubicBezTo>
                      <a:pt x="237420" y="30691"/>
                      <a:pt x="148694" y="49049"/>
                      <a:pt x="69148" y="88822"/>
                    </a:cubicBezTo>
                    <a:cubicBezTo>
                      <a:pt x="56909" y="94941"/>
                      <a:pt x="-1222" y="122476"/>
                      <a:pt x="17136" y="146953"/>
                    </a:cubicBezTo>
                    <a:cubicBezTo>
                      <a:pt x="23256" y="153071"/>
                      <a:pt x="29373" y="153071"/>
                      <a:pt x="38553" y="150011"/>
                    </a:cubicBezTo>
                    <a:cubicBezTo>
                      <a:pt x="53851" y="146953"/>
                      <a:pt x="69148" y="143893"/>
                      <a:pt x="81385" y="137774"/>
                    </a:cubicBezTo>
                    <a:cubicBezTo>
                      <a:pt x="63029" y="150011"/>
                      <a:pt x="47731" y="162250"/>
                      <a:pt x="32434" y="177548"/>
                    </a:cubicBezTo>
                    <a:cubicBezTo>
                      <a:pt x="20195" y="189785"/>
                      <a:pt x="-7339" y="217321"/>
                      <a:pt x="1839" y="238737"/>
                    </a:cubicBezTo>
                    <a:cubicBezTo>
                      <a:pt x="7958" y="247915"/>
                      <a:pt x="20195" y="247915"/>
                      <a:pt x="35493" y="241796"/>
                    </a:cubicBezTo>
                    <a:cubicBezTo>
                      <a:pt x="32434" y="247915"/>
                      <a:pt x="35493" y="254035"/>
                      <a:pt x="41612" y="257094"/>
                    </a:cubicBezTo>
                    <a:cubicBezTo>
                      <a:pt x="59968" y="269332"/>
                      <a:pt x="99743" y="247915"/>
                      <a:pt x="118099" y="241796"/>
                    </a:cubicBezTo>
                    <a:cubicBezTo>
                      <a:pt x="136455" y="232618"/>
                      <a:pt x="151753" y="223440"/>
                      <a:pt x="167050" y="214261"/>
                    </a:cubicBezTo>
                    <a:cubicBezTo>
                      <a:pt x="142575" y="235678"/>
                      <a:pt x="115041" y="263213"/>
                      <a:pt x="136455" y="272391"/>
                    </a:cubicBezTo>
                    <a:cubicBezTo>
                      <a:pt x="148694" y="278510"/>
                      <a:pt x="179289" y="260153"/>
                      <a:pt x="188467" y="254035"/>
                    </a:cubicBezTo>
                    <a:cubicBezTo>
                      <a:pt x="216003" y="235678"/>
                      <a:pt x="243538" y="214261"/>
                      <a:pt x="271074" y="195904"/>
                    </a:cubicBezTo>
                    <a:cubicBezTo>
                      <a:pt x="298610" y="177548"/>
                      <a:pt x="329205" y="165309"/>
                      <a:pt x="356739" y="150011"/>
                    </a:cubicBezTo>
                    <a:cubicBezTo>
                      <a:pt x="381215" y="140833"/>
                      <a:pt x="387334" y="137774"/>
                      <a:pt x="387334" y="110238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E882BEA2-B28F-4151-867B-53FB6D9BF1C7}"/>
                  </a:ext>
                </a:extLst>
              </p:cNvPr>
              <p:cNvSpPr/>
              <p:nvPr/>
            </p:nvSpPr>
            <p:spPr>
              <a:xfrm>
                <a:off x="24840333" y="9775937"/>
                <a:ext cx="162152" cy="113201"/>
              </a:xfrm>
              <a:custGeom>
                <a:avLst/>
                <a:gdLst>
                  <a:gd name="connsiteX0" fmla="*/ 27534 w 162152"/>
                  <a:gd name="connsiteY0" fmla="*/ 113202 h 113201"/>
                  <a:gd name="connsiteX1" fmla="*/ 6117 w 162152"/>
                  <a:gd name="connsiteY1" fmla="*/ 107082 h 113201"/>
                  <a:gd name="connsiteX2" fmla="*/ 0 w 162152"/>
                  <a:gd name="connsiteY2" fmla="*/ 91785 h 113201"/>
                  <a:gd name="connsiteX3" fmla="*/ 156033 w 162152"/>
                  <a:gd name="connsiteY3" fmla="*/ 0 h 113201"/>
                  <a:gd name="connsiteX4" fmla="*/ 162153 w 162152"/>
                  <a:gd name="connsiteY4" fmla="*/ 3060 h 113201"/>
                  <a:gd name="connsiteX5" fmla="*/ 159092 w 162152"/>
                  <a:gd name="connsiteY5" fmla="*/ 9179 h 113201"/>
                  <a:gd name="connsiteX6" fmla="*/ 12237 w 162152"/>
                  <a:gd name="connsiteY6" fmla="*/ 91785 h 113201"/>
                  <a:gd name="connsiteX7" fmla="*/ 12237 w 162152"/>
                  <a:gd name="connsiteY7" fmla="*/ 94844 h 113201"/>
                  <a:gd name="connsiteX8" fmla="*/ 70368 w 162152"/>
                  <a:gd name="connsiteY8" fmla="*/ 85666 h 113201"/>
                  <a:gd name="connsiteX9" fmla="*/ 149914 w 162152"/>
                  <a:gd name="connsiteY9" fmla="*/ 48952 h 113201"/>
                  <a:gd name="connsiteX10" fmla="*/ 156033 w 162152"/>
                  <a:gd name="connsiteY10" fmla="*/ 55071 h 113201"/>
                  <a:gd name="connsiteX11" fmla="*/ 149914 w 162152"/>
                  <a:gd name="connsiteY11" fmla="*/ 61190 h 113201"/>
                  <a:gd name="connsiteX12" fmla="*/ 149914 w 162152"/>
                  <a:gd name="connsiteY12" fmla="*/ 61190 h 113201"/>
                  <a:gd name="connsiteX13" fmla="*/ 76487 w 162152"/>
                  <a:gd name="connsiteY13" fmla="*/ 94844 h 113201"/>
                  <a:gd name="connsiteX14" fmla="*/ 27534 w 162152"/>
                  <a:gd name="connsiteY14" fmla="*/ 113202 h 113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62152" h="113201">
                    <a:moveTo>
                      <a:pt x="27534" y="113202"/>
                    </a:moveTo>
                    <a:cubicBezTo>
                      <a:pt x="18356" y="113202"/>
                      <a:pt x="12237" y="110142"/>
                      <a:pt x="6117" y="107082"/>
                    </a:cubicBezTo>
                    <a:cubicBezTo>
                      <a:pt x="3059" y="104022"/>
                      <a:pt x="0" y="97904"/>
                      <a:pt x="0" y="91785"/>
                    </a:cubicBezTo>
                    <a:cubicBezTo>
                      <a:pt x="6117" y="64249"/>
                      <a:pt x="70368" y="27535"/>
                      <a:pt x="156033" y="0"/>
                    </a:cubicBezTo>
                    <a:cubicBezTo>
                      <a:pt x="159092" y="0"/>
                      <a:pt x="162153" y="0"/>
                      <a:pt x="162153" y="3060"/>
                    </a:cubicBezTo>
                    <a:cubicBezTo>
                      <a:pt x="162153" y="6119"/>
                      <a:pt x="162153" y="9179"/>
                      <a:pt x="159092" y="9179"/>
                    </a:cubicBezTo>
                    <a:cubicBezTo>
                      <a:pt x="64249" y="39774"/>
                      <a:pt x="15297" y="76487"/>
                      <a:pt x="12237" y="91785"/>
                    </a:cubicBezTo>
                    <a:cubicBezTo>
                      <a:pt x="12237" y="94844"/>
                      <a:pt x="12237" y="94844"/>
                      <a:pt x="12237" y="94844"/>
                    </a:cubicBezTo>
                    <a:cubicBezTo>
                      <a:pt x="24476" y="107082"/>
                      <a:pt x="61190" y="91785"/>
                      <a:pt x="70368" y="85666"/>
                    </a:cubicBezTo>
                    <a:cubicBezTo>
                      <a:pt x="85665" y="76487"/>
                      <a:pt x="134616" y="48952"/>
                      <a:pt x="149914" y="48952"/>
                    </a:cubicBezTo>
                    <a:cubicBezTo>
                      <a:pt x="152975" y="48952"/>
                      <a:pt x="156033" y="52012"/>
                      <a:pt x="156033" y="55071"/>
                    </a:cubicBezTo>
                    <a:cubicBezTo>
                      <a:pt x="156033" y="58130"/>
                      <a:pt x="152975" y="61190"/>
                      <a:pt x="149914" y="61190"/>
                    </a:cubicBezTo>
                    <a:cubicBezTo>
                      <a:pt x="149914" y="61190"/>
                      <a:pt x="149914" y="61190"/>
                      <a:pt x="149914" y="61190"/>
                    </a:cubicBezTo>
                    <a:cubicBezTo>
                      <a:pt x="140736" y="61190"/>
                      <a:pt x="107082" y="79547"/>
                      <a:pt x="76487" y="94844"/>
                    </a:cubicBezTo>
                    <a:cubicBezTo>
                      <a:pt x="73427" y="100964"/>
                      <a:pt x="48951" y="113202"/>
                      <a:pt x="27534" y="11320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729CF6F3-0B7B-4C27-A30E-FCF44D1065B6}"/>
                  </a:ext>
                </a:extLst>
              </p:cNvPr>
              <p:cNvSpPr/>
              <p:nvPr/>
            </p:nvSpPr>
            <p:spPr>
              <a:xfrm>
                <a:off x="24865573" y="9870782"/>
                <a:ext cx="143031" cy="110141"/>
              </a:xfrm>
              <a:custGeom>
                <a:avLst/>
                <a:gdLst>
                  <a:gd name="connsiteX0" fmla="*/ 5355 w 143031"/>
                  <a:gd name="connsiteY0" fmla="*/ 110142 h 110141"/>
                  <a:gd name="connsiteX1" fmla="*/ 2294 w 143031"/>
                  <a:gd name="connsiteY1" fmla="*/ 107082 h 110141"/>
                  <a:gd name="connsiteX2" fmla="*/ 2294 w 143031"/>
                  <a:gd name="connsiteY2" fmla="*/ 97904 h 110141"/>
                  <a:gd name="connsiteX3" fmla="*/ 136912 w 143031"/>
                  <a:gd name="connsiteY3" fmla="*/ 0 h 110141"/>
                  <a:gd name="connsiteX4" fmla="*/ 143032 w 143031"/>
                  <a:gd name="connsiteY4" fmla="*/ 3060 h 110141"/>
                  <a:gd name="connsiteX5" fmla="*/ 139971 w 143031"/>
                  <a:gd name="connsiteY5" fmla="*/ 9178 h 110141"/>
                  <a:gd name="connsiteX6" fmla="*/ 8413 w 143031"/>
                  <a:gd name="connsiteY6" fmla="*/ 104022 h 110141"/>
                  <a:gd name="connsiteX7" fmla="*/ 5355 w 143031"/>
                  <a:gd name="connsiteY7" fmla="*/ 110142 h 110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031" h="110141">
                    <a:moveTo>
                      <a:pt x="5355" y="110142"/>
                    </a:moveTo>
                    <a:cubicBezTo>
                      <a:pt x="2294" y="110142"/>
                      <a:pt x="2294" y="110142"/>
                      <a:pt x="2294" y="107082"/>
                    </a:cubicBezTo>
                    <a:cubicBezTo>
                      <a:pt x="-765" y="104022"/>
                      <a:pt x="-765" y="100963"/>
                      <a:pt x="2294" y="97904"/>
                    </a:cubicBezTo>
                    <a:cubicBezTo>
                      <a:pt x="5355" y="94844"/>
                      <a:pt x="103257" y="9178"/>
                      <a:pt x="136912" y="0"/>
                    </a:cubicBezTo>
                    <a:cubicBezTo>
                      <a:pt x="139971" y="0"/>
                      <a:pt x="143032" y="0"/>
                      <a:pt x="143032" y="3060"/>
                    </a:cubicBezTo>
                    <a:cubicBezTo>
                      <a:pt x="143032" y="6119"/>
                      <a:pt x="143032" y="9178"/>
                      <a:pt x="139971" y="9178"/>
                    </a:cubicBezTo>
                    <a:cubicBezTo>
                      <a:pt x="106317" y="18357"/>
                      <a:pt x="8413" y="104022"/>
                      <a:pt x="8413" y="104022"/>
                    </a:cubicBezTo>
                    <a:cubicBezTo>
                      <a:pt x="8413" y="110142"/>
                      <a:pt x="5355" y="110142"/>
                      <a:pt x="5355" y="11014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1807ADF9-66C2-4C15-8BE2-2AD6C477B80B}"/>
                  </a:ext>
                </a:extLst>
              </p:cNvPr>
              <p:cNvSpPr/>
              <p:nvPr/>
            </p:nvSpPr>
            <p:spPr>
              <a:xfrm>
                <a:off x="24996366" y="9916674"/>
                <a:ext cx="61189" cy="36714"/>
              </a:xfrm>
              <a:custGeom>
                <a:avLst/>
                <a:gdLst>
                  <a:gd name="connsiteX0" fmla="*/ 6119 w 61189"/>
                  <a:gd name="connsiteY0" fmla="*/ 36714 h 36714"/>
                  <a:gd name="connsiteX1" fmla="*/ 0 w 61189"/>
                  <a:gd name="connsiteY1" fmla="*/ 33655 h 36714"/>
                  <a:gd name="connsiteX2" fmla="*/ 3059 w 61189"/>
                  <a:gd name="connsiteY2" fmla="*/ 24476 h 36714"/>
                  <a:gd name="connsiteX3" fmla="*/ 52012 w 61189"/>
                  <a:gd name="connsiteY3" fmla="*/ 0 h 36714"/>
                  <a:gd name="connsiteX4" fmla="*/ 61190 w 61189"/>
                  <a:gd name="connsiteY4" fmla="*/ 3060 h 36714"/>
                  <a:gd name="connsiteX5" fmla="*/ 58131 w 61189"/>
                  <a:gd name="connsiteY5" fmla="*/ 12238 h 36714"/>
                  <a:gd name="connsiteX6" fmla="*/ 6119 w 61189"/>
                  <a:gd name="connsiteY6" fmla="*/ 36714 h 36714"/>
                  <a:gd name="connsiteX7" fmla="*/ 6119 w 61189"/>
                  <a:gd name="connsiteY7" fmla="*/ 36714 h 36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1189" h="36714">
                    <a:moveTo>
                      <a:pt x="6119" y="36714"/>
                    </a:moveTo>
                    <a:cubicBezTo>
                      <a:pt x="3059" y="36714"/>
                      <a:pt x="3059" y="36714"/>
                      <a:pt x="0" y="33655"/>
                    </a:cubicBezTo>
                    <a:cubicBezTo>
                      <a:pt x="0" y="30595"/>
                      <a:pt x="0" y="27535"/>
                      <a:pt x="3059" y="24476"/>
                    </a:cubicBezTo>
                    <a:lnTo>
                      <a:pt x="52012" y="0"/>
                    </a:lnTo>
                    <a:cubicBezTo>
                      <a:pt x="55070" y="0"/>
                      <a:pt x="58131" y="0"/>
                      <a:pt x="61190" y="3060"/>
                    </a:cubicBezTo>
                    <a:cubicBezTo>
                      <a:pt x="61190" y="6119"/>
                      <a:pt x="61190" y="9178"/>
                      <a:pt x="58131" y="12238"/>
                    </a:cubicBezTo>
                    <a:lnTo>
                      <a:pt x="6119" y="36714"/>
                    </a:lnTo>
                    <a:cubicBezTo>
                      <a:pt x="9178" y="36714"/>
                      <a:pt x="6119" y="36714"/>
                      <a:pt x="6119" y="3671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44DC97F9-8115-47DD-B03B-F4C6DE44798D}"/>
                  </a:ext>
                </a:extLst>
              </p:cNvPr>
              <p:cNvSpPr/>
              <p:nvPr/>
            </p:nvSpPr>
            <p:spPr>
              <a:xfrm>
                <a:off x="25042259" y="9803473"/>
                <a:ext cx="57365" cy="100963"/>
              </a:xfrm>
              <a:custGeom>
                <a:avLst/>
                <a:gdLst>
                  <a:gd name="connsiteX0" fmla="*/ 48951 w 57365"/>
                  <a:gd name="connsiteY0" fmla="*/ 100964 h 100963"/>
                  <a:gd name="connsiteX1" fmla="*/ 45892 w 57365"/>
                  <a:gd name="connsiteY1" fmla="*/ 100964 h 100963"/>
                  <a:gd name="connsiteX2" fmla="*/ 0 w 57365"/>
                  <a:gd name="connsiteY2" fmla="*/ 6119 h 100963"/>
                  <a:gd name="connsiteX3" fmla="*/ 6119 w 57365"/>
                  <a:gd name="connsiteY3" fmla="*/ 0 h 100963"/>
                  <a:gd name="connsiteX4" fmla="*/ 6119 w 57365"/>
                  <a:gd name="connsiteY4" fmla="*/ 0 h 100963"/>
                  <a:gd name="connsiteX5" fmla="*/ 12239 w 57365"/>
                  <a:gd name="connsiteY5" fmla="*/ 6119 h 100963"/>
                  <a:gd name="connsiteX6" fmla="*/ 55070 w 57365"/>
                  <a:gd name="connsiteY6" fmla="*/ 91785 h 100963"/>
                  <a:gd name="connsiteX7" fmla="*/ 55070 w 57365"/>
                  <a:gd name="connsiteY7" fmla="*/ 100964 h 100963"/>
                  <a:gd name="connsiteX8" fmla="*/ 48951 w 57365"/>
                  <a:gd name="connsiteY8" fmla="*/ 100964 h 100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365" h="100963">
                    <a:moveTo>
                      <a:pt x="48951" y="100964"/>
                    </a:moveTo>
                    <a:cubicBezTo>
                      <a:pt x="48951" y="100964"/>
                      <a:pt x="45892" y="100964"/>
                      <a:pt x="45892" y="100964"/>
                    </a:cubicBezTo>
                    <a:cubicBezTo>
                      <a:pt x="3059" y="64249"/>
                      <a:pt x="0" y="9179"/>
                      <a:pt x="0" y="6119"/>
                    </a:cubicBezTo>
                    <a:cubicBezTo>
                      <a:pt x="0" y="3060"/>
                      <a:pt x="3059" y="0"/>
                      <a:pt x="6119" y="0"/>
                    </a:cubicBezTo>
                    <a:cubicBezTo>
                      <a:pt x="6119" y="0"/>
                      <a:pt x="6119" y="0"/>
                      <a:pt x="6119" y="0"/>
                    </a:cubicBezTo>
                    <a:cubicBezTo>
                      <a:pt x="9178" y="0"/>
                      <a:pt x="12239" y="3060"/>
                      <a:pt x="12239" y="6119"/>
                    </a:cubicBezTo>
                    <a:cubicBezTo>
                      <a:pt x="12239" y="6119"/>
                      <a:pt x="12239" y="58131"/>
                      <a:pt x="55070" y="91785"/>
                    </a:cubicBezTo>
                    <a:cubicBezTo>
                      <a:pt x="58131" y="94844"/>
                      <a:pt x="58131" y="97904"/>
                      <a:pt x="55070" y="100964"/>
                    </a:cubicBezTo>
                    <a:cubicBezTo>
                      <a:pt x="55070" y="100964"/>
                      <a:pt x="52012" y="100964"/>
                      <a:pt x="48951" y="10096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D6C7BC56-BEF3-401B-AC65-69992A930241}"/>
                </a:ext>
              </a:extLst>
            </p:cNvPr>
            <p:cNvSpPr/>
            <p:nvPr/>
          </p:nvSpPr>
          <p:spPr>
            <a:xfrm>
              <a:off x="25525658" y="9136504"/>
              <a:ext cx="156035" cy="474220"/>
            </a:xfrm>
            <a:custGeom>
              <a:avLst/>
              <a:gdLst>
                <a:gd name="connsiteX0" fmla="*/ 149916 w 156035"/>
                <a:gd name="connsiteY0" fmla="*/ 474221 h 474220"/>
                <a:gd name="connsiteX1" fmla="*/ 149916 w 156035"/>
                <a:gd name="connsiteY1" fmla="*/ 474221 h 474220"/>
                <a:gd name="connsiteX2" fmla="*/ 88726 w 156035"/>
                <a:gd name="connsiteY2" fmla="*/ 440566 h 474220"/>
                <a:gd name="connsiteX3" fmla="*/ 85665 w 156035"/>
                <a:gd name="connsiteY3" fmla="*/ 437507 h 474220"/>
                <a:gd name="connsiteX4" fmla="*/ 0 w 156035"/>
                <a:gd name="connsiteY4" fmla="*/ 3060 h 474220"/>
                <a:gd name="connsiteX5" fmla="*/ 12239 w 156035"/>
                <a:gd name="connsiteY5" fmla="*/ 0 h 474220"/>
                <a:gd name="connsiteX6" fmla="*/ 97904 w 156035"/>
                <a:gd name="connsiteY6" fmla="*/ 431388 h 474220"/>
                <a:gd name="connsiteX7" fmla="*/ 152975 w 156035"/>
                <a:gd name="connsiteY7" fmla="*/ 461983 h 474220"/>
                <a:gd name="connsiteX8" fmla="*/ 156035 w 156035"/>
                <a:gd name="connsiteY8" fmla="*/ 468102 h 474220"/>
                <a:gd name="connsiteX9" fmla="*/ 149916 w 156035"/>
                <a:gd name="connsiteY9" fmla="*/ 474221 h 474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035" h="474220">
                  <a:moveTo>
                    <a:pt x="149916" y="474221"/>
                  </a:moveTo>
                  <a:cubicBezTo>
                    <a:pt x="146855" y="474221"/>
                    <a:pt x="146855" y="474221"/>
                    <a:pt x="149916" y="474221"/>
                  </a:cubicBezTo>
                  <a:cubicBezTo>
                    <a:pt x="128499" y="465043"/>
                    <a:pt x="88726" y="443626"/>
                    <a:pt x="88726" y="440566"/>
                  </a:cubicBezTo>
                  <a:cubicBezTo>
                    <a:pt x="88726" y="440566"/>
                    <a:pt x="85665" y="437507"/>
                    <a:pt x="85665" y="437507"/>
                  </a:cubicBezTo>
                  <a:cubicBezTo>
                    <a:pt x="61190" y="321246"/>
                    <a:pt x="0" y="3060"/>
                    <a:pt x="0" y="3060"/>
                  </a:cubicBezTo>
                  <a:lnTo>
                    <a:pt x="12239" y="0"/>
                  </a:lnTo>
                  <a:cubicBezTo>
                    <a:pt x="12239" y="0"/>
                    <a:pt x="73429" y="312068"/>
                    <a:pt x="97904" y="431388"/>
                  </a:cubicBezTo>
                  <a:cubicBezTo>
                    <a:pt x="107082" y="437507"/>
                    <a:pt x="137677" y="455864"/>
                    <a:pt x="152975" y="461983"/>
                  </a:cubicBezTo>
                  <a:cubicBezTo>
                    <a:pt x="156035" y="461983"/>
                    <a:pt x="156035" y="465043"/>
                    <a:pt x="156035" y="468102"/>
                  </a:cubicBezTo>
                  <a:cubicBezTo>
                    <a:pt x="152975" y="471161"/>
                    <a:pt x="149916" y="474221"/>
                    <a:pt x="149916" y="474221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998E20AE-9CA5-4130-8386-C0C2BBED8EEB}"/>
                </a:ext>
              </a:extLst>
            </p:cNvPr>
            <p:cNvSpPr/>
            <p:nvPr/>
          </p:nvSpPr>
          <p:spPr>
            <a:xfrm>
              <a:off x="25409835" y="8549082"/>
              <a:ext cx="430949" cy="585828"/>
            </a:xfrm>
            <a:custGeom>
              <a:avLst/>
              <a:gdLst>
                <a:gd name="connsiteX0" fmla="*/ 430950 w 430949"/>
                <a:gd name="connsiteY0" fmla="*/ 513994 h 585828"/>
                <a:gd name="connsiteX1" fmla="*/ 118883 w 430949"/>
                <a:gd name="connsiteY1" fmla="*/ 0 h 585828"/>
                <a:gd name="connsiteX2" fmla="*/ 11801 w 430949"/>
                <a:gd name="connsiteY2" fmla="*/ 581303 h 585828"/>
                <a:gd name="connsiteX3" fmla="*/ 430950 w 430949"/>
                <a:gd name="connsiteY3" fmla="*/ 513994 h 585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949" h="585828">
                  <a:moveTo>
                    <a:pt x="430950" y="513994"/>
                  </a:moveTo>
                  <a:cubicBezTo>
                    <a:pt x="430950" y="513994"/>
                    <a:pt x="265739" y="0"/>
                    <a:pt x="118883" y="0"/>
                  </a:cubicBezTo>
                  <a:cubicBezTo>
                    <a:pt x="-52449" y="0"/>
                    <a:pt x="11801" y="581303"/>
                    <a:pt x="11801" y="581303"/>
                  </a:cubicBezTo>
                  <a:cubicBezTo>
                    <a:pt x="11801" y="581303"/>
                    <a:pt x="238202" y="611898"/>
                    <a:pt x="430950" y="513994"/>
                  </a:cubicBezTo>
                  <a:close/>
                </a:path>
              </a:pathLst>
            </a:custGeom>
            <a:solidFill>
              <a:srgbClr val="708686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76859141-2085-4450-95E6-8991A25E8D38}"/>
                </a:ext>
              </a:extLst>
            </p:cNvPr>
            <p:cNvSpPr/>
            <p:nvPr/>
          </p:nvSpPr>
          <p:spPr>
            <a:xfrm>
              <a:off x="25407684" y="8546022"/>
              <a:ext cx="154687" cy="596600"/>
            </a:xfrm>
            <a:custGeom>
              <a:avLst/>
              <a:gdLst>
                <a:gd name="connsiteX0" fmla="*/ 102676 w 154687"/>
                <a:gd name="connsiteY0" fmla="*/ 596601 h 596600"/>
                <a:gd name="connsiteX1" fmla="*/ 10892 w 154687"/>
                <a:gd name="connsiteY1" fmla="*/ 590482 h 596600"/>
                <a:gd name="connsiteX2" fmla="*/ 7833 w 154687"/>
                <a:gd name="connsiteY2" fmla="*/ 590482 h 596600"/>
                <a:gd name="connsiteX3" fmla="*/ 7833 w 154687"/>
                <a:gd name="connsiteY3" fmla="*/ 587422 h 596600"/>
                <a:gd name="connsiteX4" fmla="*/ 1713 w 154687"/>
                <a:gd name="connsiteY4" fmla="*/ 226403 h 596600"/>
                <a:gd name="connsiteX5" fmla="*/ 117974 w 154687"/>
                <a:gd name="connsiteY5" fmla="*/ 0 h 596600"/>
                <a:gd name="connsiteX6" fmla="*/ 124093 w 154687"/>
                <a:gd name="connsiteY6" fmla="*/ 3060 h 596600"/>
                <a:gd name="connsiteX7" fmla="*/ 121034 w 154687"/>
                <a:gd name="connsiteY7" fmla="*/ 9179 h 596600"/>
                <a:gd name="connsiteX8" fmla="*/ 10892 w 154687"/>
                <a:gd name="connsiteY8" fmla="*/ 223343 h 596600"/>
                <a:gd name="connsiteX9" fmla="*/ 17011 w 154687"/>
                <a:gd name="connsiteY9" fmla="*/ 578244 h 596600"/>
                <a:gd name="connsiteX10" fmla="*/ 148569 w 154687"/>
                <a:gd name="connsiteY10" fmla="*/ 581303 h 596600"/>
                <a:gd name="connsiteX11" fmla="*/ 154688 w 154687"/>
                <a:gd name="connsiteY11" fmla="*/ 587422 h 596600"/>
                <a:gd name="connsiteX12" fmla="*/ 148569 w 154687"/>
                <a:gd name="connsiteY12" fmla="*/ 593541 h 596600"/>
                <a:gd name="connsiteX13" fmla="*/ 102676 w 154687"/>
                <a:gd name="connsiteY13" fmla="*/ 596601 h 596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4687" h="596600">
                  <a:moveTo>
                    <a:pt x="102676" y="596601"/>
                  </a:moveTo>
                  <a:cubicBezTo>
                    <a:pt x="53725" y="596601"/>
                    <a:pt x="10892" y="590482"/>
                    <a:pt x="10892" y="590482"/>
                  </a:cubicBezTo>
                  <a:lnTo>
                    <a:pt x="7833" y="590482"/>
                  </a:lnTo>
                  <a:lnTo>
                    <a:pt x="7833" y="587422"/>
                  </a:lnTo>
                  <a:cubicBezTo>
                    <a:pt x="7833" y="584363"/>
                    <a:pt x="-4406" y="409972"/>
                    <a:pt x="1713" y="226403"/>
                  </a:cubicBezTo>
                  <a:cubicBezTo>
                    <a:pt x="4772" y="39773"/>
                    <a:pt x="114915" y="3060"/>
                    <a:pt x="117974" y="0"/>
                  </a:cubicBezTo>
                  <a:cubicBezTo>
                    <a:pt x="121034" y="0"/>
                    <a:pt x="124093" y="0"/>
                    <a:pt x="124093" y="3060"/>
                  </a:cubicBezTo>
                  <a:cubicBezTo>
                    <a:pt x="124093" y="6119"/>
                    <a:pt x="124093" y="9179"/>
                    <a:pt x="121034" y="9179"/>
                  </a:cubicBezTo>
                  <a:cubicBezTo>
                    <a:pt x="121034" y="9179"/>
                    <a:pt x="17011" y="45892"/>
                    <a:pt x="10892" y="223343"/>
                  </a:cubicBezTo>
                  <a:cubicBezTo>
                    <a:pt x="7833" y="388555"/>
                    <a:pt x="17011" y="550708"/>
                    <a:pt x="17011" y="578244"/>
                  </a:cubicBezTo>
                  <a:cubicBezTo>
                    <a:pt x="32308" y="581303"/>
                    <a:pt x="93498" y="587422"/>
                    <a:pt x="148569" y="581303"/>
                  </a:cubicBezTo>
                  <a:cubicBezTo>
                    <a:pt x="151629" y="581303"/>
                    <a:pt x="154688" y="584363"/>
                    <a:pt x="154688" y="587422"/>
                  </a:cubicBezTo>
                  <a:cubicBezTo>
                    <a:pt x="154688" y="590482"/>
                    <a:pt x="151629" y="593541"/>
                    <a:pt x="148569" y="593541"/>
                  </a:cubicBezTo>
                  <a:cubicBezTo>
                    <a:pt x="136332" y="596601"/>
                    <a:pt x="117974" y="596601"/>
                    <a:pt x="102676" y="596601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CCD0ED94-1962-4400-BFF6-3E5F9CB86CF2}"/>
                </a:ext>
              </a:extLst>
            </p:cNvPr>
            <p:cNvSpPr/>
            <p:nvPr/>
          </p:nvSpPr>
          <p:spPr>
            <a:xfrm>
              <a:off x="25449171" y="11213898"/>
              <a:ext cx="254213" cy="899489"/>
            </a:xfrm>
            <a:custGeom>
              <a:avLst/>
              <a:gdLst>
                <a:gd name="connsiteX0" fmla="*/ 247820 w 254213"/>
                <a:gd name="connsiteY0" fmla="*/ 899490 h 899489"/>
                <a:gd name="connsiteX1" fmla="*/ 241700 w 254213"/>
                <a:gd name="connsiteY1" fmla="*/ 896431 h 899489"/>
                <a:gd name="connsiteX2" fmla="*/ 42834 w 254213"/>
                <a:gd name="connsiteY2" fmla="*/ 186629 h 899489"/>
                <a:gd name="connsiteX3" fmla="*/ 0 w 254213"/>
                <a:gd name="connsiteY3" fmla="*/ 6119 h 899489"/>
                <a:gd name="connsiteX4" fmla="*/ 3061 w 254213"/>
                <a:gd name="connsiteY4" fmla="*/ 0 h 899489"/>
                <a:gd name="connsiteX5" fmla="*/ 9178 w 254213"/>
                <a:gd name="connsiteY5" fmla="*/ 3060 h 899489"/>
                <a:gd name="connsiteX6" fmla="*/ 52012 w 254213"/>
                <a:gd name="connsiteY6" fmla="*/ 183569 h 899489"/>
                <a:gd name="connsiteX7" fmla="*/ 250879 w 254213"/>
                <a:gd name="connsiteY7" fmla="*/ 893372 h 899489"/>
                <a:gd name="connsiteX8" fmla="*/ 247820 w 254213"/>
                <a:gd name="connsiteY8" fmla="*/ 899490 h 899489"/>
                <a:gd name="connsiteX9" fmla="*/ 247820 w 254213"/>
                <a:gd name="connsiteY9" fmla="*/ 899490 h 899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213" h="899489">
                  <a:moveTo>
                    <a:pt x="247820" y="899490"/>
                  </a:moveTo>
                  <a:cubicBezTo>
                    <a:pt x="244759" y="899490"/>
                    <a:pt x="241700" y="896431"/>
                    <a:pt x="241700" y="896431"/>
                  </a:cubicBezTo>
                  <a:lnTo>
                    <a:pt x="42834" y="186629"/>
                  </a:lnTo>
                  <a:lnTo>
                    <a:pt x="0" y="6119"/>
                  </a:lnTo>
                  <a:cubicBezTo>
                    <a:pt x="0" y="3060"/>
                    <a:pt x="0" y="0"/>
                    <a:pt x="3061" y="0"/>
                  </a:cubicBezTo>
                  <a:cubicBezTo>
                    <a:pt x="6119" y="0"/>
                    <a:pt x="9178" y="0"/>
                    <a:pt x="9178" y="3060"/>
                  </a:cubicBezTo>
                  <a:lnTo>
                    <a:pt x="52012" y="183569"/>
                  </a:lnTo>
                  <a:lnTo>
                    <a:pt x="250879" y="893372"/>
                  </a:lnTo>
                  <a:cubicBezTo>
                    <a:pt x="256998" y="896431"/>
                    <a:pt x="253937" y="899490"/>
                    <a:pt x="247820" y="899490"/>
                  </a:cubicBezTo>
                  <a:cubicBezTo>
                    <a:pt x="250879" y="899490"/>
                    <a:pt x="250879" y="899490"/>
                    <a:pt x="247820" y="899490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2" name="图形 892">
              <a:extLst>
                <a:ext uri="{FF2B5EF4-FFF2-40B4-BE49-F238E27FC236}">
                  <a16:creationId xmlns:a16="http://schemas.microsoft.com/office/drawing/2014/main" id="{8A5C16E8-53BA-4989-86F8-E50A50AC8980}"/>
                </a:ext>
              </a:extLst>
            </p:cNvPr>
            <p:cNvGrpSpPr/>
            <p:nvPr/>
          </p:nvGrpSpPr>
          <p:grpSpPr>
            <a:xfrm>
              <a:off x="22933046" y="9107745"/>
              <a:ext cx="949156" cy="975365"/>
              <a:chOff x="22933046" y="9107745"/>
              <a:chExt cx="949156" cy="975365"/>
            </a:xfrm>
          </p:grpSpPr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BA72D5F7-83B2-46B0-B3CF-BEAC1064E739}"/>
                  </a:ext>
                </a:extLst>
              </p:cNvPr>
              <p:cNvSpPr/>
              <p:nvPr/>
            </p:nvSpPr>
            <p:spPr>
              <a:xfrm>
                <a:off x="22933046" y="9107745"/>
                <a:ext cx="949156" cy="975365"/>
              </a:xfrm>
              <a:custGeom>
                <a:avLst/>
                <a:gdLst>
                  <a:gd name="connsiteX0" fmla="*/ 931309 w 949156"/>
                  <a:gd name="connsiteY0" fmla="*/ 637598 h 975365"/>
                  <a:gd name="connsiteX1" fmla="*/ 487683 w 949156"/>
                  <a:gd name="connsiteY1" fmla="*/ 968023 h 975365"/>
                  <a:gd name="connsiteX2" fmla="*/ 429551 w 949156"/>
                  <a:gd name="connsiteY2" fmla="*/ 958844 h 975365"/>
                  <a:gd name="connsiteX3" fmla="*/ 7342 w 949156"/>
                  <a:gd name="connsiteY3" fmla="*/ 395898 h 975365"/>
                  <a:gd name="connsiteX4" fmla="*/ 16520 w 949156"/>
                  <a:gd name="connsiteY4" fmla="*/ 337768 h 975365"/>
                  <a:gd name="connsiteX5" fmla="*/ 460146 w 949156"/>
                  <a:gd name="connsiteY5" fmla="*/ 7343 h 975365"/>
                  <a:gd name="connsiteX6" fmla="*/ 518277 w 949156"/>
                  <a:gd name="connsiteY6" fmla="*/ 16521 h 975365"/>
                  <a:gd name="connsiteX7" fmla="*/ 940487 w 949156"/>
                  <a:gd name="connsiteY7" fmla="*/ 579468 h 975365"/>
                  <a:gd name="connsiteX8" fmla="*/ 931309 w 949156"/>
                  <a:gd name="connsiteY8" fmla="*/ 637598 h 975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9156" h="975365">
                    <a:moveTo>
                      <a:pt x="931309" y="637598"/>
                    </a:moveTo>
                    <a:lnTo>
                      <a:pt x="487683" y="968023"/>
                    </a:lnTo>
                    <a:cubicBezTo>
                      <a:pt x="469326" y="980261"/>
                      <a:pt x="444849" y="977201"/>
                      <a:pt x="429551" y="958844"/>
                    </a:cubicBezTo>
                    <a:lnTo>
                      <a:pt x="7342" y="395898"/>
                    </a:lnTo>
                    <a:cubicBezTo>
                      <a:pt x="-4895" y="377541"/>
                      <a:pt x="-1836" y="353065"/>
                      <a:pt x="16520" y="337768"/>
                    </a:cubicBezTo>
                    <a:lnTo>
                      <a:pt x="460146" y="7343"/>
                    </a:lnTo>
                    <a:cubicBezTo>
                      <a:pt x="478504" y="-4895"/>
                      <a:pt x="502980" y="-1836"/>
                      <a:pt x="518277" y="16521"/>
                    </a:cubicBezTo>
                    <a:lnTo>
                      <a:pt x="940487" y="579468"/>
                    </a:lnTo>
                    <a:cubicBezTo>
                      <a:pt x="955784" y="597825"/>
                      <a:pt x="949665" y="622300"/>
                      <a:pt x="931309" y="637598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2F5D4617-EB28-49A1-935F-D157759D520A}"/>
                  </a:ext>
                </a:extLst>
              </p:cNvPr>
              <p:cNvSpPr/>
              <p:nvPr/>
            </p:nvSpPr>
            <p:spPr>
              <a:xfrm>
                <a:off x="23055838" y="9164969"/>
                <a:ext cx="231085" cy="232403"/>
              </a:xfrm>
              <a:custGeom>
                <a:avLst/>
                <a:gdLst>
                  <a:gd name="connsiteX0" fmla="*/ 46704 w 231085"/>
                  <a:gd name="connsiteY0" fmla="*/ 23546 h 232403"/>
                  <a:gd name="connsiteX1" fmla="*/ 22228 w 231085"/>
                  <a:gd name="connsiteY1" fmla="*/ 185699 h 232403"/>
                  <a:gd name="connsiteX2" fmla="*/ 184381 w 231085"/>
                  <a:gd name="connsiteY2" fmla="*/ 210175 h 232403"/>
                  <a:gd name="connsiteX3" fmla="*/ 208858 w 231085"/>
                  <a:gd name="connsiteY3" fmla="*/ 48022 h 232403"/>
                  <a:gd name="connsiteX4" fmla="*/ 46704 w 231085"/>
                  <a:gd name="connsiteY4" fmla="*/ 23546 h 232403"/>
                  <a:gd name="connsiteX5" fmla="*/ 156846 w 231085"/>
                  <a:gd name="connsiteY5" fmla="*/ 170402 h 232403"/>
                  <a:gd name="connsiteX6" fmla="*/ 58942 w 231085"/>
                  <a:gd name="connsiteY6" fmla="*/ 155104 h 232403"/>
                  <a:gd name="connsiteX7" fmla="*/ 74240 w 231085"/>
                  <a:gd name="connsiteY7" fmla="*/ 57201 h 232403"/>
                  <a:gd name="connsiteX8" fmla="*/ 172144 w 231085"/>
                  <a:gd name="connsiteY8" fmla="*/ 72498 h 232403"/>
                  <a:gd name="connsiteX9" fmla="*/ 156846 w 231085"/>
                  <a:gd name="connsiteY9" fmla="*/ 170402 h 232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1085" h="232403">
                    <a:moveTo>
                      <a:pt x="46704" y="23546"/>
                    </a:moveTo>
                    <a:cubicBezTo>
                      <a:pt x="-5306" y="63320"/>
                      <a:pt x="-14486" y="133688"/>
                      <a:pt x="22228" y="185699"/>
                    </a:cubicBezTo>
                    <a:cubicBezTo>
                      <a:pt x="62001" y="237710"/>
                      <a:pt x="132371" y="246889"/>
                      <a:pt x="184381" y="210175"/>
                    </a:cubicBezTo>
                    <a:cubicBezTo>
                      <a:pt x="236392" y="170402"/>
                      <a:pt x="245570" y="100033"/>
                      <a:pt x="208858" y="48022"/>
                    </a:cubicBezTo>
                    <a:cubicBezTo>
                      <a:pt x="169083" y="-3989"/>
                      <a:pt x="98715" y="-16227"/>
                      <a:pt x="46704" y="23546"/>
                    </a:cubicBezTo>
                    <a:close/>
                    <a:moveTo>
                      <a:pt x="156846" y="170402"/>
                    </a:moveTo>
                    <a:cubicBezTo>
                      <a:pt x="126251" y="194878"/>
                      <a:pt x="80359" y="188759"/>
                      <a:pt x="58942" y="155104"/>
                    </a:cubicBezTo>
                    <a:cubicBezTo>
                      <a:pt x="34467" y="124509"/>
                      <a:pt x="40586" y="78617"/>
                      <a:pt x="74240" y="57201"/>
                    </a:cubicBezTo>
                    <a:cubicBezTo>
                      <a:pt x="104835" y="32725"/>
                      <a:pt x="150727" y="38844"/>
                      <a:pt x="172144" y="72498"/>
                    </a:cubicBezTo>
                    <a:cubicBezTo>
                      <a:pt x="196619" y="103093"/>
                      <a:pt x="190500" y="148985"/>
                      <a:pt x="156846" y="170402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66141272-91FF-4699-875F-B8514E14D8B5}"/>
                  </a:ext>
                </a:extLst>
              </p:cNvPr>
              <p:cNvSpPr/>
              <p:nvPr/>
            </p:nvSpPr>
            <p:spPr>
              <a:xfrm rot="-2210956">
                <a:off x="23147857" y="9272836"/>
                <a:ext cx="520102" cy="642480"/>
              </a:xfrm>
              <a:custGeom>
                <a:avLst/>
                <a:gdLst>
                  <a:gd name="connsiteX0" fmla="*/ -1 w 520102"/>
                  <a:gd name="connsiteY0" fmla="*/ 0 h 642480"/>
                  <a:gd name="connsiteX1" fmla="*/ 520102 w 520102"/>
                  <a:gd name="connsiteY1" fmla="*/ 0 h 642480"/>
                  <a:gd name="connsiteX2" fmla="*/ 520102 w 520102"/>
                  <a:gd name="connsiteY2" fmla="*/ 642480 h 642480"/>
                  <a:gd name="connsiteX3" fmla="*/ -1 w 520102"/>
                  <a:gd name="connsiteY3" fmla="*/ 642480 h 64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0102" h="642480">
                    <a:moveTo>
                      <a:pt x="-1" y="0"/>
                    </a:moveTo>
                    <a:lnTo>
                      <a:pt x="520102" y="0"/>
                    </a:lnTo>
                    <a:lnTo>
                      <a:pt x="520102" y="642480"/>
                    </a:lnTo>
                    <a:lnTo>
                      <a:pt x="-1" y="642480"/>
                    </a:lnTo>
                    <a:close/>
                  </a:path>
                </a:pathLst>
              </a:custGeom>
              <a:solidFill>
                <a:srgbClr val="F6EBEB"/>
              </a:solidFill>
              <a:ln w="305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C7CCB680-C3AA-409F-B0C5-7C6891350F07}"/>
                  </a:ext>
                </a:extLst>
              </p:cNvPr>
              <p:cNvSpPr/>
              <p:nvPr/>
            </p:nvSpPr>
            <p:spPr>
              <a:xfrm>
                <a:off x="23104242" y="9278940"/>
                <a:ext cx="317846" cy="243059"/>
              </a:xfrm>
              <a:custGeom>
                <a:avLst/>
                <a:gdLst>
                  <a:gd name="connsiteX0" fmla="*/ 4419 w 317846"/>
                  <a:gd name="connsiteY0" fmla="*/ 243060 h 243059"/>
                  <a:gd name="connsiteX1" fmla="*/ 1360 w 317846"/>
                  <a:gd name="connsiteY1" fmla="*/ 240000 h 243059"/>
                  <a:gd name="connsiteX2" fmla="*/ 1360 w 317846"/>
                  <a:gd name="connsiteY2" fmla="*/ 230821 h 243059"/>
                  <a:gd name="connsiteX3" fmla="*/ 307309 w 317846"/>
                  <a:gd name="connsiteY3" fmla="*/ 1360 h 243059"/>
                  <a:gd name="connsiteX4" fmla="*/ 316487 w 317846"/>
                  <a:gd name="connsiteY4" fmla="*/ 1360 h 243059"/>
                  <a:gd name="connsiteX5" fmla="*/ 316487 w 317846"/>
                  <a:gd name="connsiteY5" fmla="*/ 10538 h 243059"/>
                  <a:gd name="connsiteX6" fmla="*/ 10538 w 317846"/>
                  <a:gd name="connsiteY6" fmla="*/ 240000 h 243059"/>
                  <a:gd name="connsiteX7" fmla="*/ 4419 w 317846"/>
                  <a:gd name="connsiteY7" fmla="*/ 243060 h 243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7846" h="243059">
                    <a:moveTo>
                      <a:pt x="4419" y="243060"/>
                    </a:moveTo>
                    <a:cubicBezTo>
                      <a:pt x="1360" y="243060"/>
                      <a:pt x="1360" y="243060"/>
                      <a:pt x="1360" y="240000"/>
                    </a:cubicBezTo>
                    <a:cubicBezTo>
                      <a:pt x="-1700" y="236940"/>
                      <a:pt x="1360" y="233881"/>
                      <a:pt x="1360" y="230821"/>
                    </a:cubicBezTo>
                    <a:lnTo>
                      <a:pt x="307309" y="1360"/>
                    </a:lnTo>
                    <a:cubicBezTo>
                      <a:pt x="310368" y="-1700"/>
                      <a:pt x="313429" y="1360"/>
                      <a:pt x="316487" y="1360"/>
                    </a:cubicBezTo>
                    <a:cubicBezTo>
                      <a:pt x="319546" y="4419"/>
                      <a:pt x="316487" y="7479"/>
                      <a:pt x="316487" y="10538"/>
                    </a:cubicBezTo>
                    <a:lnTo>
                      <a:pt x="10538" y="240000"/>
                    </a:lnTo>
                    <a:cubicBezTo>
                      <a:pt x="7480" y="240000"/>
                      <a:pt x="7480" y="243060"/>
                      <a:pt x="4419" y="24306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16126710-A5BD-4D02-8B9B-5727E474CF9C}"/>
                  </a:ext>
                </a:extLst>
              </p:cNvPr>
              <p:cNvSpPr/>
              <p:nvPr/>
            </p:nvSpPr>
            <p:spPr>
              <a:xfrm>
                <a:off x="23156253" y="9343190"/>
                <a:ext cx="317846" cy="243059"/>
              </a:xfrm>
              <a:custGeom>
                <a:avLst/>
                <a:gdLst>
                  <a:gd name="connsiteX0" fmla="*/ 4419 w 317846"/>
                  <a:gd name="connsiteY0" fmla="*/ 243060 h 243059"/>
                  <a:gd name="connsiteX1" fmla="*/ 1360 w 317846"/>
                  <a:gd name="connsiteY1" fmla="*/ 240000 h 243059"/>
                  <a:gd name="connsiteX2" fmla="*/ 1360 w 317846"/>
                  <a:gd name="connsiteY2" fmla="*/ 230822 h 243059"/>
                  <a:gd name="connsiteX3" fmla="*/ 307309 w 317846"/>
                  <a:gd name="connsiteY3" fmla="*/ 1360 h 243059"/>
                  <a:gd name="connsiteX4" fmla="*/ 316487 w 317846"/>
                  <a:gd name="connsiteY4" fmla="*/ 1360 h 243059"/>
                  <a:gd name="connsiteX5" fmla="*/ 316487 w 317846"/>
                  <a:gd name="connsiteY5" fmla="*/ 10538 h 243059"/>
                  <a:gd name="connsiteX6" fmla="*/ 10538 w 317846"/>
                  <a:gd name="connsiteY6" fmla="*/ 240000 h 243059"/>
                  <a:gd name="connsiteX7" fmla="*/ 4419 w 317846"/>
                  <a:gd name="connsiteY7" fmla="*/ 243060 h 243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7846" h="243059">
                    <a:moveTo>
                      <a:pt x="4419" y="243060"/>
                    </a:moveTo>
                    <a:cubicBezTo>
                      <a:pt x="1360" y="243060"/>
                      <a:pt x="1360" y="243060"/>
                      <a:pt x="1360" y="240000"/>
                    </a:cubicBezTo>
                    <a:cubicBezTo>
                      <a:pt x="-1700" y="236941"/>
                      <a:pt x="1360" y="233881"/>
                      <a:pt x="1360" y="230822"/>
                    </a:cubicBezTo>
                    <a:lnTo>
                      <a:pt x="307309" y="1360"/>
                    </a:lnTo>
                    <a:cubicBezTo>
                      <a:pt x="310368" y="-1700"/>
                      <a:pt x="313427" y="1360"/>
                      <a:pt x="316487" y="1360"/>
                    </a:cubicBezTo>
                    <a:cubicBezTo>
                      <a:pt x="319546" y="4419"/>
                      <a:pt x="316487" y="7479"/>
                      <a:pt x="316487" y="10538"/>
                    </a:cubicBezTo>
                    <a:lnTo>
                      <a:pt x="10538" y="240000"/>
                    </a:lnTo>
                    <a:cubicBezTo>
                      <a:pt x="4419" y="243060"/>
                      <a:pt x="4419" y="243060"/>
                      <a:pt x="4419" y="24306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2D4537A1-0E08-410E-B256-B6E57FBAD8D1}"/>
                  </a:ext>
                </a:extLst>
              </p:cNvPr>
              <p:cNvSpPr/>
              <p:nvPr/>
            </p:nvSpPr>
            <p:spPr>
              <a:xfrm>
                <a:off x="23205205" y="9410498"/>
                <a:ext cx="317846" cy="243059"/>
              </a:xfrm>
              <a:custGeom>
                <a:avLst/>
                <a:gdLst>
                  <a:gd name="connsiteX0" fmla="*/ 4418 w 317846"/>
                  <a:gd name="connsiteY0" fmla="*/ 243059 h 243059"/>
                  <a:gd name="connsiteX1" fmla="*/ 1359 w 317846"/>
                  <a:gd name="connsiteY1" fmla="*/ 240000 h 243059"/>
                  <a:gd name="connsiteX2" fmla="*/ 1359 w 317846"/>
                  <a:gd name="connsiteY2" fmla="*/ 230822 h 243059"/>
                  <a:gd name="connsiteX3" fmla="*/ 307308 w 317846"/>
                  <a:gd name="connsiteY3" fmla="*/ 1360 h 243059"/>
                  <a:gd name="connsiteX4" fmla="*/ 316487 w 317846"/>
                  <a:gd name="connsiteY4" fmla="*/ 1360 h 243059"/>
                  <a:gd name="connsiteX5" fmla="*/ 316487 w 317846"/>
                  <a:gd name="connsiteY5" fmla="*/ 10538 h 243059"/>
                  <a:gd name="connsiteX6" fmla="*/ 10538 w 317846"/>
                  <a:gd name="connsiteY6" fmla="*/ 240000 h 243059"/>
                  <a:gd name="connsiteX7" fmla="*/ 4418 w 317846"/>
                  <a:gd name="connsiteY7" fmla="*/ 243059 h 243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7846" h="243059">
                    <a:moveTo>
                      <a:pt x="4418" y="243059"/>
                    </a:moveTo>
                    <a:cubicBezTo>
                      <a:pt x="1359" y="243059"/>
                      <a:pt x="1359" y="243059"/>
                      <a:pt x="1359" y="240000"/>
                    </a:cubicBezTo>
                    <a:cubicBezTo>
                      <a:pt x="-1699" y="236941"/>
                      <a:pt x="1359" y="233881"/>
                      <a:pt x="1359" y="230822"/>
                    </a:cubicBezTo>
                    <a:lnTo>
                      <a:pt x="307308" y="1360"/>
                    </a:lnTo>
                    <a:cubicBezTo>
                      <a:pt x="310367" y="-1700"/>
                      <a:pt x="313428" y="1360"/>
                      <a:pt x="316487" y="1360"/>
                    </a:cubicBezTo>
                    <a:cubicBezTo>
                      <a:pt x="319547" y="4420"/>
                      <a:pt x="316487" y="7479"/>
                      <a:pt x="316487" y="10538"/>
                    </a:cubicBezTo>
                    <a:lnTo>
                      <a:pt x="10538" y="240000"/>
                    </a:lnTo>
                    <a:cubicBezTo>
                      <a:pt x="7479" y="243059"/>
                      <a:pt x="4418" y="243059"/>
                      <a:pt x="4418" y="24305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8B5DDB1B-1612-4CEA-ABC8-5D67B2A0161F}"/>
                  </a:ext>
                </a:extLst>
              </p:cNvPr>
              <p:cNvSpPr/>
              <p:nvPr/>
            </p:nvSpPr>
            <p:spPr>
              <a:xfrm>
                <a:off x="23254156" y="9477807"/>
                <a:ext cx="317847" cy="243059"/>
              </a:xfrm>
              <a:custGeom>
                <a:avLst/>
                <a:gdLst>
                  <a:gd name="connsiteX0" fmla="*/ 4420 w 317847"/>
                  <a:gd name="connsiteY0" fmla="*/ 243060 h 243059"/>
                  <a:gd name="connsiteX1" fmla="*/ 1359 w 317847"/>
                  <a:gd name="connsiteY1" fmla="*/ 240000 h 243059"/>
                  <a:gd name="connsiteX2" fmla="*/ 1359 w 317847"/>
                  <a:gd name="connsiteY2" fmla="*/ 230822 h 243059"/>
                  <a:gd name="connsiteX3" fmla="*/ 307308 w 317847"/>
                  <a:gd name="connsiteY3" fmla="*/ 1360 h 243059"/>
                  <a:gd name="connsiteX4" fmla="*/ 316488 w 317847"/>
                  <a:gd name="connsiteY4" fmla="*/ 1360 h 243059"/>
                  <a:gd name="connsiteX5" fmla="*/ 316488 w 317847"/>
                  <a:gd name="connsiteY5" fmla="*/ 10538 h 243059"/>
                  <a:gd name="connsiteX6" fmla="*/ 10539 w 317847"/>
                  <a:gd name="connsiteY6" fmla="*/ 240000 h 243059"/>
                  <a:gd name="connsiteX7" fmla="*/ 4420 w 317847"/>
                  <a:gd name="connsiteY7" fmla="*/ 243060 h 243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7847" h="243059">
                    <a:moveTo>
                      <a:pt x="4420" y="243060"/>
                    </a:moveTo>
                    <a:cubicBezTo>
                      <a:pt x="1359" y="243060"/>
                      <a:pt x="1359" y="243060"/>
                      <a:pt x="1359" y="240000"/>
                    </a:cubicBezTo>
                    <a:cubicBezTo>
                      <a:pt x="-1699" y="236940"/>
                      <a:pt x="1359" y="233881"/>
                      <a:pt x="1359" y="230822"/>
                    </a:cubicBezTo>
                    <a:lnTo>
                      <a:pt x="307308" y="1360"/>
                    </a:lnTo>
                    <a:cubicBezTo>
                      <a:pt x="310369" y="-1700"/>
                      <a:pt x="313428" y="1360"/>
                      <a:pt x="316488" y="1360"/>
                    </a:cubicBezTo>
                    <a:cubicBezTo>
                      <a:pt x="319547" y="4419"/>
                      <a:pt x="316488" y="7479"/>
                      <a:pt x="316488" y="10538"/>
                    </a:cubicBezTo>
                    <a:lnTo>
                      <a:pt x="10539" y="240000"/>
                    </a:lnTo>
                    <a:cubicBezTo>
                      <a:pt x="7479" y="243060"/>
                      <a:pt x="7479" y="243060"/>
                      <a:pt x="4420" y="24306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87B2FB92-1051-4CFC-9C99-6DD26DB5DF52}"/>
                  </a:ext>
                </a:extLst>
              </p:cNvPr>
              <p:cNvSpPr/>
              <p:nvPr/>
            </p:nvSpPr>
            <p:spPr>
              <a:xfrm>
                <a:off x="23355120" y="9612425"/>
                <a:ext cx="317846" cy="243059"/>
              </a:xfrm>
              <a:custGeom>
                <a:avLst/>
                <a:gdLst>
                  <a:gd name="connsiteX0" fmla="*/ 4419 w 317846"/>
                  <a:gd name="connsiteY0" fmla="*/ 243059 h 243059"/>
                  <a:gd name="connsiteX1" fmla="*/ 1360 w 317846"/>
                  <a:gd name="connsiteY1" fmla="*/ 240000 h 243059"/>
                  <a:gd name="connsiteX2" fmla="*/ 1360 w 317846"/>
                  <a:gd name="connsiteY2" fmla="*/ 230822 h 243059"/>
                  <a:gd name="connsiteX3" fmla="*/ 307309 w 317846"/>
                  <a:gd name="connsiteY3" fmla="*/ 1360 h 243059"/>
                  <a:gd name="connsiteX4" fmla="*/ 316487 w 317846"/>
                  <a:gd name="connsiteY4" fmla="*/ 1360 h 243059"/>
                  <a:gd name="connsiteX5" fmla="*/ 316487 w 317846"/>
                  <a:gd name="connsiteY5" fmla="*/ 10538 h 243059"/>
                  <a:gd name="connsiteX6" fmla="*/ 10538 w 317846"/>
                  <a:gd name="connsiteY6" fmla="*/ 240000 h 243059"/>
                  <a:gd name="connsiteX7" fmla="*/ 4419 w 317846"/>
                  <a:gd name="connsiteY7" fmla="*/ 243059 h 243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7846" h="243059">
                    <a:moveTo>
                      <a:pt x="4419" y="243059"/>
                    </a:moveTo>
                    <a:cubicBezTo>
                      <a:pt x="1360" y="243059"/>
                      <a:pt x="1360" y="243059"/>
                      <a:pt x="1360" y="240000"/>
                    </a:cubicBezTo>
                    <a:cubicBezTo>
                      <a:pt x="-1700" y="236940"/>
                      <a:pt x="1360" y="233881"/>
                      <a:pt x="1360" y="230822"/>
                    </a:cubicBezTo>
                    <a:lnTo>
                      <a:pt x="307309" y="1360"/>
                    </a:lnTo>
                    <a:cubicBezTo>
                      <a:pt x="310368" y="-1700"/>
                      <a:pt x="313427" y="1360"/>
                      <a:pt x="316487" y="1360"/>
                    </a:cubicBezTo>
                    <a:cubicBezTo>
                      <a:pt x="319546" y="4420"/>
                      <a:pt x="316487" y="7478"/>
                      <a:pt x="316487" y="10538"/>
                    </a:cubicBezTo>
                    <a:lnTo>
                      <a:pt x="10538" y="240000"/>
                    </a:lnTo>
                    <a:cubicBezTo>
                      <a:pt x="7478" y="243059"/>
                      <a:pt x="7478" y="243059"/>
                      <a:pt x="4419" y="24305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31BDE68C-6408-4A5C-8CB6-EAAB265C2CC4}"/>
                  </a:ext>
                </a:extLst>
              </p:cNvPr>
              <p:cNvSpPr/>
              <p:nvPr/>
            </p:nvSpPr>
            <p:spPr>
              <a:xfrm>
                <a:off x="23404072" y="9676674"/>
                <a:ext cx="317846" cy="243059"/>
              </a:xfrm>
              <a:custGeom>
                <a:avLst/>
                <a:gdLst>
                  <a:gd name="connsiteX0" fmla="*/ 4418 w 317846"/>
                  <a:gd name="connsiteY0" fmla="*/ 243059 h 243059"/>
                  <a:gd name="connsiteX1" fmla="*/ 1359 w 317846"/>
                  <a:gd name="connsiteY1" fmla="*/ 240000 h 243059"/>
                  <a:gd name="connsiteX2" fmla="*/ 1359 w 317846"/>
                  <a:gd name="connsiteY2" fmla="*/ 230822 h 243059"/>
                  <a:gd name="connsiteX3" fmla="*/ 307308 w 317846"/>
                  <a:gd name="connsiteY3" fmla="*/ 1360 h 243059"/>
                  <a:gd name="connsiteX4" fmla="*/ 316487 w 317846"/>
                  <a:gd name="connsiteY4" fmla="*/ 1360 h 243059"/>
                  <a:gd name="connsiteX5" fmla="*/ 316487 w 317846"/>
                  <a:gd name="connsiteY5" fmla="*/ 10538 h 243059"/>
                  <a:gd name="connsiteX6" fmla="*/ 10538 w 317846"/>
                  <a:gd name="connsiteY6" fmla="*/ 240000 h 243059"/>
                  <a:gd name="connsiteX7" fmla="*/ 4418 w 317846"/>
                  <a:gd name="connsiteY7" fmla="*/ 243059 h 243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7846" h="243059">
                    <a:moveTo>
                      <a:pt x="4418" y="243059"/>
                    </a:moveTo>
                    <a:cubicBezTo>
                      <a:pt x="1359" y="243059"/>
                      <a:pt x="1359" y="243059"/>
                      <a:pt x="1359" y="240000"/>
                    </a:cubicBezTo>
                    <a:cubicBezTo>
                      <a:pt x="-1699" y="236940"/>
                      <a:pt x="1359" y="233880"/>
                      <a:pt x="1359" y="230822"/>
                    </a:cubicBezTo>
                    <a:lnTo>
                      <a:pt x="307308" y="1360"/>
                    </a:lnTo>
                    <a:cubicBezTo>
                      <a:pt x="310367" y="-1700"/>
                      <a:pt x="313428" y="1360"/>
                      <a:pt x="316487" y="1360"/>
                    </a:cubicBezTo>
                    <a:cubicBezTo>
                      <a:pt x="319547" y="4419"/>
                      <a:pt x="316487" y="7478"/>
                      <a:pt x="316487" y="10538"/>
                    </a:cubicBezTo>
                    <a:lnTo>
                      <a:pt x="10538" y="240000"/>
                    </a:lnTo>
                    <a:cubicBezTo>
                      <a:pt x="7479" y="243059"/>
                      <a:pt x="7479" y="243059"/>
                      <a:pt x="4418" y="24305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E352E344-2E36-4379-8053-FFBCF2A35260}"/>
                </a:ext>
              </a:extLst>
            </p:cNvPr>
            <p:cNvSpPr/>
            <p:nvPr/>
          </p:nvSpPr>
          <p:spPr>
            <a:xfrm>
              <a:off x="23564143" y="9330940"/>
              <a:ext cx="155285" cy="117732"/>
            </a:xfrm>
            <a:custGeom>
              <a:avLst/>
              <a:gdLst>
                <a:gd name="connsiteX0" fmla="*/ 3441 w 155285"/>
                <a:gd name="connsiteY0" fmla="*/ 65620 h 117732"/>
                <a:gd name="connsiteX1" fmla="*/ 30977 w 155285"/>
                <a:gd name="connsiteY1" fmla="*/ 65620 h 117732"/>
                <a:gd name="connsiteX2" fmla="*/ 95225 w 155285"/>
                <a:gd name="connsiteY2" fmla="*/ 71739 h 117732"/>
                <a:gd name="connsiteX3" fmla="*/ 138059 w 155285"/>
                <a:gd name="connsiteY3" fmla="*/ 117632 h 117732"/>
                <a:gd name="connsiteX4" fmla="*/ 150296 w 155285"/>
                <a:gd name="connsiteY4" fmla="*/ 38085 h 117732"/>
                <a:gd name="connsiteX5" fmla="*/ 43214 w 155285"/>
                <a:gd name="connsiteY5" fmla="*/ 4430 h 117732"/>
                <a:gd name="connsiteX6" fmla="*/ 3441 w 155285"/>
                <a:gd name="connsiteY6" fmla="*/ 65620 h 117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285" h="117732">
                  <a:moveTo>
                    <a:pt x="3441" y="65620"/>
                  </a:moveTo>
                  <a:cubicBezTo>
                    <a:pt x="9560" y="74799"/>
                    <a:pt x="21799" y="68680"/>
                    <a:pt x="30977" y="65620"/>
                  </a:cubicBezTo>
                  <a:cubicBezTo>
                    <a:pt x="55452" y="59501"/>
                    <a:pt x="73809" y="56442"/>
                    <a:pt x="95225" y="71739"/>
                  </a:cubicBezTo>
                  <a:cubicBezTo>
                    <a:pt x="107464" y="80918"/>
                    <a:pt x="128881" y="108453"/>
                    <a:pt x="138059" y="117632"/>
                  </a:cubicBezTo>
                  <a:cubicBezTo>
                    <a:pt x="141118" y="120691"/>
                    <a:pt x="165593" y="53383"/>
                    <a:pt x="150296" y="38085"/>
                  </a:cubicBezTo>
                  <a:cubicBezTo>
                    <a:pt x="128881" y="16668"/>
                    <a:pt x="76869" y="-10867"/>
                    <a:pt x="43214" y="4430"/>
                  </a:cubicBezTo>
                  <a:cubicBezTo>
                    <a:pt x="27916" y="10549"/>
                    <a:pt x="-11857" y="44204"/>
                    <a:pt x="3441" y="65620"/>
                  </a:cubicBezTo>
                  <a:close/>
                </a:path>
              </a:pathLst>
            </a:custGeom>
            <a:solidFill>
              <a:srgbClr val="F49F84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DB86B030-B3EE-4162-A24A-884BD87DC045}"/>
                </a:ext>
              </a:extLst>
            </p:cNvPr>
            <p:cNvSpPr/>
            <p:nvPr/>
          </p:nvSpPr>
          <p:spPr>
            <a:xfrm>
              <a:off x="24997131" y="8274493"/>
              <a:ext cx="121614" cy="26770"/>
            </a:xfrm>
            <a:custGeom>
              <a:avLst/>
              <a:gdLst>
                <a:gd name="connsiteX0" fmla="*/ 51247 w 121614"/>
                <a:gd name="connsiteY0" fmla="*/ 26770 h 26770"/>
                <a:gd name="connsiteX1" fmla="*/ 2294 w 121614"/>
                <a:gd name="connsiteY1" fmla="*/ 11473 h 26770"/>
                <a:gd name="connsiteX2" fmla="*/ 2294 w 121614"/>
                <a:gd name="connsiteY2" fmla="*/ 2294 h 26770"/>
                <a:gd name="connsiteX3" fmla="*/ 11474 w 121614"/>
                <a:gd name="connsiteY3" fmla="*/ 2294 h 26770"/>
                <a:gd name="connsiteX4" fmla="*/ 112437 w 121614"/>
                <a:gd name="connsiteY4" fmla="*/ 2294 h 26770"/>
                <a:gd name="connsiteX5" fmla="*/ 121615 w 121614"/>
                <a:gd name="connsiteY5" fmla="*/ 5354 h 26770"/>
                <a:gd name="connsiteX6" fmla="*/ 118556 w 121614"/>
                <a:gd name="connsiteY6" fmla="*/ 14533 h 26770"/>
                <a:gd name="connsiteX7" fmla="*/ 51247 w 121614"/>
                <a:gd name="connsiteY7" fmla="*/ 26770 h 26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614" h="26770">
                  <a:moveTo>
                    <a:pt x="51247" y="26770"/>
                  </a:moveTo>
                  <a:cubicBezTo>
                    <a:pt x="32889" y="26770"/>
                    <a:pt x="17592" y="23711"/>
                    <a:pt x="2294" y="11473"/>
                  </a:cubicBezTo>
                  <a:cubicBezTo>
                    <a:pt x="-765" y="8414"/>
                    <a:pt x="-765" y="5354"/>
                    <a:pt x="2294" y="2294"/>
                  </a:cubicBezTo>
                  <a:cubicBezTo>
                    <a:pt x="5355" y="-765"/>
                    <a:pt x="8413" y="-765"/>
                    <a:pt x="11474" y="2294"/>
                  </a:cubicBezTo>
                  <a:cubicBezTo>
                    <a:pt x="51247" y="32889"/>
                    <a:pt x="112437" y="2294"/>
                    <a:pt x="112437" y="2294"/>
                  </a:cubicBezTo>
                  <a:cubicBezTo>
                    <a:pt x="115496" y="2294"/>
                    <a:pt x="118556" y="2294"/>
                    <a:pt x="121615" y="5354"/>
                  </a:cubicBezTo>
                  <a:cubicBezTo>
                    <a:pt x="121615" y="8414"/>
                    <a:pt x="121615" y="11473"/>
                    <a:pt x="118556" y="14533"/>
                  </a:cubicBezTo>
                  <a:cubicBezTo>
                    <a:pt x="112437" y="11473"/>
                    <a:pt x="81842" y="26770"/>
                    <a:pt x="51247" y="26770"/>
                  </a:cubicBezTo>
                  <a:close/>
                </a:path>
              </a:pathLst>
            </a:custGeom>
            <a:solidFill>
              <a:srgbClr val="E87952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5" name="图形 892">
              <a:extLst>
                <a:ext uri="{FF2B5EF4-FFF2-40B4-BE49-F238E27FC236}">
                  <a16:creationId xmlns:a16="http://schemas.microsoft.com/office/drawing/2014/main" id="{C6396554-0323-479B-9C56-8B57EAF565BC}"/>
                </a:ext>
              </a:extLst>
            </p:cNvPr>
            <p:cNvGrpSpPr/>
            <p:nvPr/>
          </p:nvGrpSpPr>
          <p:grpSpPr>
            <a:xfrm>
              <a:off x="20765092" y="12055257"/>
              <a:ext cx="380141" cy="390565"/>
              <a:chOff x="20765092" y="12055257"/>
              <a:chExt cx="380141" cy="390565"/>
            </a:xfrm>
          </p:grpSpPr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A10A7A18-3816-4A76-B84B-C7FAED067133}"/>
                  </a:ext>
                </a:extLst>
              </p:cNvPr>
              <p:cNvSpPr/>
              <p:nvPr/>
            </p:nvSpPr>
            <p:spPr>
              <a:xfrm>
                <a:off x="20779407" y="12183756"/>
                <a:ext cx="365826" cy="262066"/>
              </a:xfrm>
              <a:custGeom>
                <a:avLst/>
                <a:gdLst>
                  <a:gd name="connsiteX0" fmla="*/ 138659 w 365826"/>
                  <a:gd name="connsiteY0" fmla="*/ 0 h 262066"/>
                  <a:gd name="connsiteX1" fmla="*/ 257978 w 365826"/>
                  <a:gd name="connsiteY1" fmla="*/ 165212 h 262066"/>
                  <a:gd name="connsiteX2" fmla="*/ 40755 w 365826"/>
                  <a:gd name="connsiteY2" fmla="*/ 36713 h 262066"/>
                  <a:gd name="connsiteX3" fmla="*/ 19338 w 365826"/>
                  <a:gd name="connsiteY3" fmla="*/ 21416 h 262066"/>
                  <a:gd name="connsiteX4" fmla="*/ 982 w 365826"/>
                  <a:gd name="connsiteY4" fmla="*/ 97903 h 262066"/>
                  <a:gd name="connsiteX5" fmla="*/ 13219 w 365826"/>
                  <a:gd name="connsiteY5" fmla="*/ 235580 h 262066"/>
                  <a:gd name="connsiteX6" fmla="*/ 40755 w 365826"/>
                  <a:gd name="connsiteY6" fmla="*/ 235580 h 262066"/>
                  <a:gd name="connsiteX7" fmla="*/ 56053 w 365826"/>
                  <a:gd name="connsiteY7" fmla="*/ 125439 h 262066"/>
                  <a:gd name="connsiteX8" fmla="*/ 199849 w 365826"/>
                  <a:gd name="connsiteY8" fmla="*/ 256997 h 262066"/>
                  <a:gd name="connsiteX9" fmla="*/ 358943 w 365826"/>
                  <a:gd name="connsiteY9" fmla="*/ 260057 h 262066"/>
                  <a:gd name="connsiteX10" fmla="*/ 358943 w 365826"/>
                  <a:gd name="connsiteY10" fmla="*/ 214164 h 262066"/>
                  <a:gd name="connsiteX11" fmla="*/ 138659 w 365826"/>
                  <a:gd name="connsiteY11" fmla="*/ 0 h 262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5826" h="262066">
                    <a:moveTo>
                      <a:pt x="138659" y="0"/>
                    </a:moveTo>
                    <a:cubicBezTo>
                      <a:pt x="138659" y="0"/>
                      <a:pt x="273276" y="156034"/>
                      <a:pt x="257978" y="165212"/>
                    </a:cubicBezTo>
                    <a:cubicBezTo>
                      <a:pt x="239622" y="174390"/>
                      <a:pt x="40755" y="36713"/>
                      <a:pt x="40755" y="36713"/>
                    </a:cubicBezTo>
                    <a:lnTo>
                      <a:pt x="19338" y="21416"/>
                    </a:lnTo>
                    <a:cubicBezTo>
                      <a:pt x="19338" y="21416"/>
                      <a:pt x="-5137" y="70368"/>
                      <a:pt x="982" y="97903"/>
                    </a:cubicBezTo>
                    <a:cubicBezTo>
                      <a:pt x="7102" y="125439"/>
                      <a:pt x="13219" y="235580"/>
                      <a:pt x="13219" y="235580"/>
                    </a:cubicBezTo>
                    <a:lnTo>
                      <a:pt x="40755" y="235580"/>
                    </a:lnTo>
                    <a:lnTo>
                      <a:pt x="56053" y="125439"/>
                    </a:lnTo>
                    <a:cubicBezTo>
                      <a:pt x="56053" y="125439"/>
                      <a:pt x="178432" y="253937"/>
                      <a:pt x="199849" y="256997"/>
                    </a:cubicBezTo>
                    <a:cubicBezTo>
                      <a:pt x="221266" y="263116"/>
                      <a:pt x="346704" y="263116"/>
                      <a:pt x="358943" y="260057"/>
                    </a:cubicBezTo>
                    <a:cubicBezTo>
                      <a:pt x="368121" y="260057"/>
                      <a:pt x="368121" y="220283"/>
                      <a:pt x="358943" y="214164"/>
                    </a:cubicBezTo>
                    <a:cubicBezTo>
                      <a:pt x="279395" y="171332"/>
                      <a:pt x="138659" y="0"/>
                      <a:pt x="138659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5B011A44-7E9F-48E1-A244-4FE26FA0E5FC}"/>
                  </a:ext>
                </a:extLst>
              </p:cNvPr>
              <p:cNvSpPr/>
              <p:nvPr/>
            </p:nvSpPr>
            <p:spPr>
              <a:xfrm>
                <a:off x="20765092" y="12055257"/>
                <a:ext cx="274511" cy="295459"/>
              </a:xfrm>
              <a:custGeom>
                <a:avLst/>
                <a:gdLst>
                  <a:gd name="connsiteX0" fmla="*/ 104022 w 274511"/>
                  <a:gd name="connsiteY0" fmla="*/ 0 h 295459"/>
                  <a:gd name="connsiteX1" fmla="*/ 152975 w 274511"/>
                  <a:gd name="connsiteY1" fmla="*/ 128499 h 295459"/>
                  <a:gd name="connsiteX2" fmla="*/ 272294 w 274511"/>
                  <a:gd name="connsiteY2" fmla="*/ 293711 h 295459"/>
                  <a:gd name="connsiteX3" fmla="*/ 36714 w 274511"/>
                  <a:gd name="connsiteY3" fmla="*/ 149915 h 295459"/>
                  <a:gd name="connsiteX4" fmla="*/ 0 w 274511"/>
                  <a:gd name="connsiteY4" fmla="*/ 0 h 295459"/>
                  <a:gd name="connsiteX5" fmla="*/ 104022 w 274511"/>
                  <a:gd name="connsiteY5" fmla="*/ 0 h 295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4511" h="295459">
                    <a:moveTo>
                      <a:pt x="104022" y="0"/>
                    </a:moveTo>
                    <a:lnTo>
                      <a:pt x="152975" y="128499"/>
                    </a:lnTo>
                    <a:cubicBezTo>
                      <a:pt x="152975" y="128499"/>
                      <a:pt x="293710" y="278414"/>
                      <a:pt x="272294" y="293711"/>
                    </a:cubicBezTo>
                    <a:cubicBezTo>
                      <a:pt x="250879" y="312068"/>
                      <a:pt x="33654" y="180510"/>
                      <a:pt x="36714" y="149915"/>
                    </a:cubicBezTo>
                    <a:cubicBezTo>
                      <a:pt x="36714" y="100964"/>
                      <a:pt x="0" y="0"/>
                      <a:pt x="0" y="0"/>
                    </a:cubicBezTo>
                    <a:lnTo>
                      <a:pt x="104022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6" name="图形 892">
              <a:extLst>
                <a:ext uri="{FF2B5EF4-FFF2-40B4-BE49-F238E27FC236}">
                  <a16:creationId xmlns:a16="http://schemas.microsoft.com/office/drawing/2014/main" id="{B14837B7-87D4-4182-893A-1EDED5FDDB36}"/>
                </a:ext>
              </a:extLst>
            </p:cNvPr>
            <p:cNvGrpSpPr/>
            <p:nvPr/>
          </p:nvGrpSpPr>
          <p:grpSpPr>
            <a:xfrm>
              <a:off x="19483165" y="11688119"/>
              <a:ext cx="370199" cy="490595"/>
              <a:chOff x="19483165" y="11688119"/>
              <a:chExt cx="370199" cy="490595"/>
            </a:xfrm>
          </p:grpSpPr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1805CFE0-FC08-43E5-8E45-5B10170CF21E}"/>
                  </a:ext>
                </a:extLst>
              </p:cNvPr>
              <p:cNvSpPr/>
              <p:nvPr/>
            </p:nvSpPr>
            <p:spPr>
              <a:xfrm>
                <a:off x="19483165" y="11764606"/>
                <a:ext cx="266176" cy="414108"/>
              </a:xfrm>
              <a:custGeom>
                <a:avLst/>
                <a:gdLst>
                  <a:gd name="connsiteX0" fmla="*/ 266176 w 266176"/>
                  <a:gd name="connsiteY0" fmla="*/ 85666 h 414108"/>
                  <a:gd name="connsiteX1" fmla="*/ 195808 w 266176"/>
                  <a:gd name="connsiteY1" fmla="*/ 278414 h 414108"/>
                  <a:gd name="connsiteX2" fmla="*/ 177450 w 266176"/>
                  <a:gd name="connsiteY2" fmla="*/ 27535 h 414108"/>
                  <a:gd name="connsiteX3" fmla="*/ 180511 w 266176"/>
                  <a:gd name="connsiteY3" fmla="*/ 0 h 414108"/>
                  <a:gd name="connsiteX4" fmla="*/ 107082 w 266176"/>
                  <a:gd name="connsiteY4" fmla="*/ 27535 h 414108"/>
                  <a:gd name="connsiteX5" fmla="*/ 0 w 266176"/>
                  <a:gd name="connsiteY5" fmla="*/ 116261 h 414108"/>
                  <a:gd name="connsiteX6" fmla="*/ 15297 w 266176"/>
                  <a:gd name="connsiteY6" fmla="*/ 137677 h 414108"/>
                  <a:gd name="connsiteX7" fmla="*/ 116260 w 266176"/>
                  <a:gd name="connsiteY7" fmla="*/ 88725 h 414108"/>
                  <a:gd name="connsiteX8" fmla="*/ 88726 w 266176"/>
                  <a:gd name="connsiteY8" fmla="*/ 281473 h 414108"/>
                  <a:gd name="connsiteX9" fmla="*/ 174391 w 266176"/>
                  <a:gd name="connsiteY9" fmla="*/ 413031 h 414108"/>
                  <a:gd name="connsiteX10" fmla="*/ 214164 w 266176"/>
                  <a:gd name="connsiteY10" fmla="*/ 385496 h 414108"/>
                  <a:gd name="connsiteX11" fmla="*/ 266176 w 266176"/>
                  <a:gd name="connsiteY11" fmla="*/ 85666 h 414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6176" h="414108">
                    <a:moveTo>
                      <a:pt x="266176" y="85666"/>
                    </a:moveTo>
                    <a:cubicBezTo>
                      <a:pt x="266176" y="85666"/>
                      <a:pt x="214164" y="284533"/>
                      <a:pt x="195808" y="278414"/>
                    </a:cubicBezTo>
                    <a:cubicBezTo>
                      <a:pt x="177450" y="269236"/>
                      <a:pt x="177450" y="27535"/>
                      <a:pt x="177450" y="27535"/>
                    </a:cubicBezTo>
                    <a:lnTo>
                      <a:pt x="180511" y="0"/>
                    </a:lnTo>
                    <a:cubicBezTo>
                      <a:pt x="180511" y="0"/>
                      <a:pt x="125440" y="9179"/>
                      <a:pt x="107082" y="27535"/>
                    </a:cubicBezTo>
                    <a:cubicBezTo>
                      <a:pt x="85665" y="45892"/>
                      <a:pt x="0" y="116261"/>
                      <a:pt x="0" y="116261"/>
                    </a:cubicBezTo>
                    <a:lnTo>
                      <a:pt x="15297" y="137677"/>
                    </a:lnTo>
                    <a:lnTo>
                      <a:pt x="116260" y="88725"/>
                    </a:lnTo>
                    <a:cubicBezTo>
                      <a:pt x="116260" y="88725"/>
                      <a:pt x="79548" y="260057"/>
                      <a:pt x="88726" y="281473"/>
                    </a:cubicBezTo>
                    <a:cubicBezTo>
                      <a:pt x="97904" y="302889"/>
                      <a:pt x="168272" y="406913"/>
                      <a:pt x="174391" y="413031"/>
                    </a:cubicBezTo>
                    <a:cubicBezTo>
                      <a:pt x="180511" y="419151"/>
                      <a:pt x="214164" y="397734"/>
                      <a:pt x="214164" y="385496"/>
                    </a:cubicBezTo>
                    <a:cubicBezTo>
                      <a:pt x="204986" y="299831"/>
                      <a:pt x="266176" y="85666"/>
                      <a:pt x="266176" y="85666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EE692067-6A58-4777-93D0-3618AF722600}"/>
                  </a:ext>
                </a:extLst>
              </p:cNvPr>
              <p:cNvSpPr/>
              <p:nvPr/>
            </p:nvSpPr>
            <p:spPr>
              <a:xfrm>
                <a:off x="19650499" y="11688119"/>
                <a:ext cx="202864" cy="358099"/>
              </a:xfrm>
              <a:custGeom>
                <a:avLst/>
                <a:gdLst>
                  <a:gd name="connsiteX0" fmla="*/ 202865 w 202864"/>
                  <a:gd name="connsiteY0" fmla="*/ 91785 h 358099"/>
                  <a:gd name="connsiteX1" fmla="*/ 98842 w 202864"/>
                  <a:gd name="connsiteY1" fmla="*/ 165212 h 358099"/>
                  <a:gd name="connsiteX2" fmla="*/ 28474 w 202864"/>
                  <a:gd name="connsiteY2" fmla="*/ 357961 h 358099"/>
                  <a:gd name="connsiteX3" fmla="*/ 13176 w 202864"/>
                  <a:gd name="connsiteY3" fmla="*/ 82607 h 358099"/>
                  <a:gd name="connsiteX4" fmla="*/ 135556 w 202864"/>
                  <a:gd name="connsiteY4" fmla="*/ 0 h 358099"/>
                  <a:gd name="connsiteX5" fmla="*/ 202865 w 202864"/>
                  <a:gd name="connsiteY5" fmla="*/ 91785 h 358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2864" h="358099">
                    <a:moveTo>
                      <a:pt x="202865" y="91785"/>
                    </a:moveTo>
                    <a:lnTo>
                      <a:pt x="98842" y="165212"/>
                    </a:lnTo>
                    <a:cubicBezTo>
                      <a:pt x="98842" y="165212"/>
                      <a:pt x="56008" y="364079"/>
                      <a:pt x="28474" y="357961"/>
                    </a:cubicBezTo>
                    <a:cubicBezTo>
                      <a:pt x="938" y="348782"/>
                      <a:pt x="-11299" y="97904"/>
                      <a:pt x="13176" y="82607"/>
                    </a:cubicBezTo>
                    <a:cubicBezTo>
                      <a:pt x="52949" y="52012"/>
                      <a:pt x="135556" y="0"/>
                      <a:pt x="135556" y="0"/>
                    </a:cubicBezTo>
                    <a:lnTo>
                      <a:pt x="202865" y="91785"/>
                    </a:lnTo>
                    <a:close/>
                  </a:path>
                </a:pathLst>
              </a:custGeom>
              <a:solidFill>
                <a:srgbClr val="F5A39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68CF9F09-CAFC-47DD-A0F5-C170598C77EA}"/>
                </a:ext>
              </a:extLst>
            </p:cNvPr>
            <p:cNvSpPr/>
            <p:nvPr/>
          </p:nvSpPr>
          <p:spPr>
            <a:xfrm>
              <a:off x="19666734" y="9613785"/>
              <a:ext cx="1408562" cy="2530197"/>
            </a:xfrm>
            <a:custGeom>
              <a:avLst/>
              <a:gdLst>
                <a:gd name="connsiteX0" fmla="*/ 618017 w 1408562"/>
                <a:gd name="connsiteY0" fmla="*/ 0 h 2530197"/>
                <a:gd name="connsiteX1" fmla="*/ 1288047 w 1408562"/>
                <a:gd name="connsiteY1" fmla="*/ 0 h 2530197"/>
                <a:gd name="connsiteX2" fmla="*/ 1407365 w 1408562"/>
                <a:gd name="connsiteY2" fmla="*/ 461983 h 2530197"/>
                <a:gd name="connsiteX3" fmla="*/ 1226857 w 1408562"/>
                <a:gd name="connsiteY3" fmla="*/ 2493485 h 2530197"/>
                <a:gd name="connsiteX4" fmla="*/ 1052465 w 1408562"/>
                <a:gd name="connsiteY4" fmla="*/ 2530198 h 2530197"/>
                <a:gd name="connsiteX5" fmla="*/ 945383 w 1408562"/>
                <a:gd name="connsiteY5" fmla="*/ 813825 h 2530197"/>
                <a:gd name="connsiteX6" fmla="*/ 853599 w 1408562"/>
                <a:gd name="connsiteY6" fmla="*/ 1762267 h 2530197"/>
                <a:gd name="connsiteX7" fmla="*/ 128499 w 1408562"/>
                <a:gd name="connsiteY7" fmla="*/ 2282380 h 2530197"/>
                <a:gd name="connsiteX8" fmla="*/ 0 w 1408562"/>
                <a:gd name="connsiteY8" fmla="*/ 2052918 h 2530197"/>
                <a:gd name="connsiteX9" fmla="*/ 520113 w 1408562"/>
                <a:gd name="connsiteY9" fmla="*/ 1661303 h 2530197"/>
                <a:gd name="connsiteX10" fmla="*/ 483399 w 1408562"/>
                <a:gd name="connsiteY10" fmla="*/ 416091 h 2530197"/>
                <a:gd name="connsiteX11" fmla="*/ 618017 w 1408562"/>
                <a:gd name="connsiteY11" fmla="*/ 0 h 2530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08562" h="2530197">
                  <a:moveTo>
                    <a:pt x="618017" y="0"/>
                  </a:moveTo>
                  <a:lnTo>
                    <a:pt x="1288047" y="0"/>
                  </a:lnTo>
                  <a:cubicBezTo>
                    <a:pt x="1288047" y="0"/>
                    <a:pt x="1385949" y="305949"/>
                    <a:pt x="1407365" y="461983"/>
                  </a:cubicBezTo>
                  <a:cubicBezTo>
                    <a:pt x="1425724" y="614958"/>
                    <a:pt x="1226857" y="2493485"/>
                    <a:pt x="1226857" y="2493485"/>
                  </a:cubicBezTo>
                  <a:lnTo>
                    <a:pt x="1052465" y="2530198"/>
                  </a:lnTo>
                  <a:lnTo>
                    <a:pt x="945383" y="813825"/>
                  </a:lnTo>
                  <a:cubicBezTo>
                    <a:pt x="945383" y="813825"/>
                    <a:pt x="859718" y="1746969"/>
                    <a:pt x="853599" y="1762267"/>
                  </a:cubicBezTo>
                  <a:lnTo>
                    <a:pt x="128499" y="2282380"/>
                  </a:lnTo>
                  <a:lnTo>
                    <a:pt x="0" y="2052918"/>
                  </a:lnTo>
                  <a:lnTo>
                    <a:pt x="520113" y="1661303"/>
                  </a:lnTo>
                  <a:cubicBezTo>
                    <a:pt x="520113" y="1661303"/>
                    <a:pt x="489518" y="480339"/>
                    <a:pt x="483399" y="416091"/>
                  </a:cubicBezTo>
                  <a:cubicBezTo>
                    <a:pt x="474221" y="296770"/>
                    <a:pt x="618017" y="0"/>
                    <a:pt x="618017" y="0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D88CBBF7-448D-4AA3-8CA2-B487A17FF6A8}"/>
                </a:ext>
              </a:extLst>
            </p:cNvPr>
            <p:cNvSpPr/>
            <p:nvPr/>
          </p:nvSpPr>
          <p:spPr>
            <a:xfrm>
              <a:off x="19790814" y="10002339"/>
              <a:ext cx="870254" cy="1903003"/>
            </a:xfrm>
            <a:custGeom>
              <a:avLst/>
              <a:gdLst>
                <a:gd name="connsiteX0" fmla="*/ 4419 w 870254"/>
                <a:gd name="connsiteY0" fmla="*/ 1903003 h 1903003"/>
                <a:gd name="connsiteX1" fmla="*/ 1360 w 870254"/>
                <a:gd name="connsiteY1" fmla="*/ 1899944 h 1903003"/>
                <a:gd name="connsiteX2" fmla="*/ 1360 w 870254"/>
                <a:gd name="connsiteY2" fmla="*/ 1890765 h 1903003"/>
                <a:gd name="connsiteX3" fmla="*/ 723399 w 870254"/>
                <a:gd name="connsiteY3" fmla="*/ 1370652 h 1903003"/>
                <a:gd name="connsiteX4" fmla="*/ 815184 w 870254"/>
                <a:gd name="connsiteY4" fmla="*/ 425270 h 1903003"/>
                <a:gd name="connsiteX5" fmla="*/ 858018 w 870254"/>
                <a:gd name="connsiteY5" fmla="*/ 6119 h 1903003"/>
                <a:gd name="connsiteX6" fmla="*/ 864135 w 870254"/>
                <a:gd name="connsiteY6" fmla="*/ 0 h 1903003"/>
                <a:gd name="connsiteX7" fmla="*/ 870254 w 870254"/>
                <a:gd name="connsiteY7" fmla="*/ 6119 h 1903003"/>
                <a:gd name="connsiteX8" fmla="*/ 827423 w 870254"/>
                <a:gd name="connsiteY8" fmla="*/ 425270 h 1903003"/>
                <a:gd name="connsiteX9" fmla="*/ 735638 w 870254"/>
                <a:gd name="connsiteY9" fmla="*/ 1376771 h 1903003"/>
                <a:gd name="connsiteX10" fmla="*/ 732577 w 870254"/>
                <a:gd name="connsiteY10" fmla="*/ 1379830 h 1903003"/>
                <a:gd name="connsiteX11" fmla="*/ 7478 w 870254"/>
                <a:gd name="connsiteY11" fmla="*/ 1899944 h 1903003"/>
                <a:gd name="connsiteX12" fmla="*/ 4419 w 870254"/>
                <a:gd name="connsiteY12" fmla="*/ 1903003 h 1903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0254" h="1903003">
                  <a:moveTo>
                    <a:pt x="4419" y="1903003"/>
                  </a:moveTo>
                  <a:cubicBezTo>
                    <a:pt x="1360" y="1903003"/>
                    <a:pt x="1360" y="1903003"/>
                    <a:pt x="1360" y="1899944"/>
                  </a:cubicBezTo>
                  <a:cubicBezTo>
                    <a:pt x="-1700" y="1896884"/>
                    <a:pt x="1360" y="1893825"/>
                    <a:pt x="1360" y="1890765"/>
                  </a:cubicBezTo>
                  <a:lnTo>
                    <a:pt x="723399" y="1370652"/>
                  </a:lnTo>
                  <a:cubicBezTo>
                    <a:pt x="729519" y="1333938"/>
                    <a:pt x="784589" y="737337"/>
                    <a:pt x="815184" y="425270"/>
                  </a:cubicBezTo>
                  <a:lnTo>
                    <a:pt x="858018" y="6119"/>
                  </a:lnTo>
                  <a:cubicBezTo>
                    <a:pt x="858018" y="3060"/>
                    <a:pt x="861076" y="0"/>
                    <a:pt x="864135" y="0"/>
                  </a:cubicBezTo>
                  <a:cubicBezTo>
                    <a:pt x="867196" y="0"/>
                    <a:pt x="870254" y="3060"/>
                    <a:pt x="870254" y="6119"/>
                  </a:cubicBezTo>
                  <a:lnTo>
                    <a:pt x="827423" y="425270"/>
                  </a:lnTo>
                  <a:cubicBezTo>
                    <a:pt x="818243" y="520113"/>
                    <a:pt x="741755" y="1358414"/>
                    <a:pt x="735638" y="1376771"/>
                  </a:cubicBezTo>
                  <a:cubicBezTo>
                    <a:pt x="735638" y="1376771"/>
                    <a:pt x="735638" y="1379830"/>
                    <a:pt x="732577" y="1379830"/>
                  </a:cubicBezTo>
                  <a:lnTo>
                    <a:pt x="7478" y="1899944"/>
                  </a:lnTo>
                  <a:cubicBezTo>
                    <a:pt x="7478" y="1899944"/>
                    <a:pt x="7478" y="1903003"/>
                    <a:pt x="4419" y="1903003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1EDE25E8-DF61-4930-B95C-48825B6125BD}"/>
                </a:ext>
              </a:extLst>
            </p:cNvPr>
            <p:cNvSpPr/>
            <p:nvPr/>
          </p:nvSpPr>
          <p:spPr>
            <a:xfrm>
              <a:off x="20153194" y="9769819"/>
              <a:ext cx="180508" cy="189687"/>
            </a:xfrm>
            <a:custGeom>
              <a:avLst/>
              <a:gdLst>
                <a:gd name="connsiteX0" fmla="*/ 6119 w 180508"/>
                <a:gd name="connsiteY0" fmla="*/ 189688 h 189687"/>
                <a:gd name="connsiteX1" fmla="*/ 0 w 180508"/>
                <a:gd name="connsiteY1" fmla="*/ 186628 h 189687"/>
                <a:gd name="connsiteX2" fmla="*/ 3059 w 180508"/>
                <a:gd name="connsiteY2" fmla="*/ 180510 h 189687"/>
                <a:gd name="connsiteX3" fmla="*/ 171331 w 180508"/>
                <a:gd name="connsiteY3" fmla="*/ 3059 h 189687"/>
                <a:gd name="connsiteX4" fmla="*/ 177450 w 180508"/>
                <a:gd name="connsiteY4" fmla="*/ 0 h 189687"/>
                <a:gd name="connsiteX5" fmla="*/ 180509 w 180508"/>
                <a:gd name="connsiteY5" fmla="*/ 6118 h 189687"/>
                <a:gd name="connsiteX6" fmla="*/ 6119 w 180508"/>
                <a:gd name="connsiteY6" fmla="*/ 189688 h 189687"/>
                <a:gd name="connsiteX7" fmla="*/ 6119 w 180508"/>
                <a:gd name="connsiteY7" fmla="*/ 189688 h 189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508" h="189687">
                  <a:moveTo>
                    <a:pt x="6119" y="189688"/>
                  </a:moveTo>
                  <a:cubicBezTo>
                    <a:pt x="3059" y="189688"/>
                    <a:pt x="0" y="186628"/>
                    <a:pt x="0" y="186628"/>
                  </a:cubicBezTo>
                  <a:cubicBezTo>
                    <a:pt x="0" y="183569"/>
                    <a:pt x="0" y="180510"/>
                    <a:pt x="3059" y="180510"/>
                  </a:cubicBezTo>
                  <a:cubicBezTo>
                    <a:pt x="116260" y="149915"/>
                    <a:pt x="168272" y="6118"/>
                    <a:pt x="171331" y="3059"/>
                  </a:cubicBezTo>
                  <a:cubicBezTo>
                    <a:pt x="171331" y="0"/>
                    <a:pt x="174391" y="0"/>
                    <a:pt x="177450" y="0"/>
                  </a:cubicBezTo>
                  <a:cubicBezTo>
                    <a:pt x="180509" y="0"/>
                    <a:pt x="180509" y="3059"/>
                    <a:pt x="180509" y="6118"/>
                  </a:cubicBezTo>
                  <a:cubicBezTo>
                    <a:pt x="180509" y="12238"/>
                    <a:pt x="125438" y="156033"/>
                    <a:pt x="6119" y="189688"/>
                  </a:cubicBezTo>
                  <a:cubicBezTo>
                    <a:pt x="6119" y="189688"/>
                    <a:pt x="6119" y="189688"/>
                    <a:pt x="6119" y="189688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128D2020-2BC4-4E3C-8AF2-F008D409C158}"/>
                </a:ext>
              </a:extLst>
            </p:cNvPr>
            <p:cNvSpPr/>
            <p:nvPr/>
          </p:nvSpPr>
          <p:spPr>
            <a:xfrm>
              <a:off x="20884411" y="9766759"/>
              <a:ext cx="174391" cy="195807"/>
            </a:xfrm>
            <a:custGeom>
              <a:avLst/>
              <a:gdLst>
                <a:gd name="connsiteX0" fmla="*/ 168272 w 174391"/>
                <a:gd name="connsiteY0" fmla="*/ 195807 h 195807"/>
                <a:gd name="connsiteX1" fmla="*/ 168272 w 174391"/>
                <a:gd name="connsiteY1" fmla="*/ 195807 h 195807"/>
                <a:gd name="connsiteX2" fmla="*/ 0 w 174391"/>
                <a:gd name="connsiteY2" fmla="*/ 9178 h 195807"/>
                <a:gd name="connsiteX3" fmla="*/ 3061 w 174391"/>
                <a:gd name="connsiteY3" fmla="*/ 0 h 195807"/>
                <a:gd name="connsiteX4" fmla="*/ 12239 w 174391"/>
                <a:gd name="connsiteY4" fmla="*/ 3060 h 195807"/>
                <a:gd name="connsiteX5" fmla="*/ 171333 w 174391"/>
                <a:gd name="connsiteY5" fmla="*/ 183569 h 195807"/>
                <a:gd name="connsiteX6" fmla="*/ 174391 w 174391"/>
                <a:gd name="connsiteY6" fmla="*/ 189688 h 195807"/>
                <a:gd name="connsiteX7" fmla="*/ 168272 w 174391"/>
                <a:gd name="connsiteY7" fmla="*/ 195807 h 195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391" h="195807">
                  <a:moveTo>
                    <a:pt x="168272" y="195807"/>
                  </a:moveTo>
                  <a:cubicBezTo>
                    <a:pt x="168272" y="195807"/>
                    <a:pt x="165213" y="195807"/>
                    <a:pt x="168272" y="195807"/>
                  </a:cubicBezTo>
                  <a:cubicBezTo>
                    <a:pt x="85667" y="162153"/>
                    <a:pt x="3061" y="15297"/>
                    <a:pt x="0" y="9178"/>
                  </a:cubicBezTo>
                  <a:cubicBezTo>
                    <a:pt x="0" y="6118"/>
                    <a:pt x="0" y="3060"/>
                    <a:pt x="3061" y="0"/>
                  </a:cubicBezTo>
                  <a:cubicBezTo>
                    <a:pt x="6119" y="0"/>
                    <a:pt x="9180" y="0"/>
                    <a:pt x="12239" y="3060"/>
                  </a:cubicBezTo>
                  <a:cubicBezTo>
                    <a:pt x="12239" y="3060"/>
                    <a:pt x="94845" y="152975"/>
                    <a:pt x="171333" y="183569"/>
                  </a:cubicBezTo>
                  <a:cubicBezTo>
                    <a:pt x="174391" y="183569"/>
                    <a:pt x="174391" y="186629"/>
                    <a:pt x="174391" y="189688"/>
                  </a:cubicBezTo>
                  <a:cubicBezTo>
                    <a:pt x="171333" y="195807"/>
                    <a:pt x="171333" y="195807"/>
                    <a:pt x="168272" y="195807"/>
                  </a:cubicBezTo>
                  <a:close/>
                </a:path>
              </a:pathLst>
            </a:custGeom>
            <a:solidFill>
              <a:srgbClr val="6C5D6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64BB5316-C2C2-40E1-9A01-55725977DB94}"/>
                </a:ext>
              </a:extLst>
            </p:cNvPr>
            <p:cNvSpPr/>
            <p:nvPr/>
          </p:nvSpPr>
          <p:spPr>
            <a:xfrm>
              <a:off x="20234229" y="8651684"/>
              <a:ext cx="823462" cy="989726"/>
            </a:xfrm>
            <a:custGeom>
              <a:avLst/>
              <a:gdLst>
                <a:gd name="connsiteX0" fmla="*/ 44403 w 823462"/>
                <a:gd name="connsiteY0" fmla="*/ 393035 h 989726"/>
                <a:gd name="connsiteX1" fmla="*/ 59701 w 823462"/>
                <a:gd name="connsiteY1" fmla="*/ 68729 h 989726"/>
                <a:gd name="connsiteX2" fmla="*/ 429900 w 823462"/>
                <a:gd name="connsiteY2" fmla="*/ 4480 h 989726"/>
                <a:gd name="connsiteX3" fmla="*/ 732789 w 823462"/>
                <a:gd name="connsiteY3" fmla="*/ 105444 h 989726"/>
                <a:gd name="connsiteX4" fmla="*/ 772562 w 823462"/>
                <a:gd name="connsiteY4" fmla="*/ 656152 h 989726"/>
                <a:gd name="connsiteX5" fmla="*/ 729730 w 823462"/>
                <a:gd name="connsiteY5" fmla="*/ 983517 h 989726"/>
                <a:gd name="connsiteX6" fmla="*/ 50523 w 823462"/>
                <a:gd name="connsiteY6" fmla="*/ 968219 h 989726"/>
                <a:gd name="connsiteX7" fmla="*/ 44403 w 823462"/>
                <a:gd name="connsiteY7" fmla="*/ 393035 h 989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3462" h="989726">
                  <a:moveTo>
                    <a:pt x="44403" y="393035"/>
                  </a:moveTo>
                  <a:cubicBezTo>
                    <a:pt x="35225" y="362441"/>
                    <a:pt x="-59618" y="132979"/>
                    <a:pt x="59701" y="68729"/>
                  </a:cubicBezTo>
                  <a:cubicBezTo>
                    <a:pt x="163724" y="13659"/>
                    <a:pt x="310579" y="-10817"/>
                    <a:pt x="429900" y="4480"/>
                  </a:cubicBezTo>
                  <a:cubicBezTo>
                    <a:pt x="561458" y="19778"/>
                    <a:pt x="693016" y="41194"/>
                    <a:pt x="732789" y="105444"/>
                  </a:cubicBezTo>
                  <a:cubicBezTo>
                    <a:pt x="845990" y="292072"/>
                    <a:pt x="845990" y="457285"/>
                    <a:pt x="772562" y="656152"/>
                  </a:cubicBezTo>
                  <a:cubicBezTo>
                    <a:pt x="751147" y="714282"/>
                    <a:pt x="745027" y="848899"/>
                    <a:pt x="729730" y="983517"/>
                  </a:cubicBezTo>
                  <a:cubicBezTo>
                    <a:pt x="729730" y="983517"/>
                    <a:pt x="445198" y="1004933"/>
                    <a:pt x="50523" y="968219"/>
                  </a:cubicBezTo>
                  <a:cubicBezTo>
                    <a:pt x="81118" y="747936"/>
                    <a:pt x="53581" y="417511"/>
                    <a:pt x="44403" y="393035"/>
                  </a:cubicBezTo>
                  <a:close/>
                </a:path>
              </a:pathLst>
            </a:custGeom>
            <a:solidFill>
              <a:srgbClr val="F6EBE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CE50BE38-C514-49C8-9F0C-E1A7C72F8357}"/>
                </a:ext>
              </a:extLst>
            </p:cNvPr>
            <p:cNvSpPr/>
            <p:nvPr/>
          </p:nvSpPr>
          <p:spPr>
            <a:xfrm>
              <a:off x="20575015" y="7955877"/>
              <a:ext cx="322408" cy="592840"/>
            </a:xfrm>
            <a:custGeom>
              <a:avLst/>
              <a:gdLst>
                <a:gd name="connsiteX0" fmla="*/ 144184 w 322408"/>
                <a:gd name="connsiteY0" fmla="*/ 577908 h 592840"/>
                <a:gd name="connsiteX1" fmla="*/ 321634 w 322408"/>
                <a:gd name="connsiteY1" fmla="*/ 232185 h 592840"/>
                <a:gd name="connsiteX2" fmla="*/ 388 w 322408"/>
                <a:gd name="connsiteY2" fmla="*/ 8842 h 592840"/>
                <a:gd name="connsiteX3" fmla="*/ 37102 w 322408"/>
                <a:gd name="connsiteY3" fmla="*/ 177114 h 592840"/>
                <a:gd name="connsiteX4" fmla="*/ 86053 w 322408"/>
                <a:gd name="connsiteY4" fmla="*/ 320910 h 592840"/>
                <a:gd name="connsiteX5" fmla="*/ 144184 w 322408"/>
                <a:gd name="connsiteY5" fmla="*/ 577908 h 59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2408" h="592840">
                  <a:moveTo>
                    <a:pt x="144184" y="577908"/>
                  </a:moveTo>
                  <a:cubicBezTo>
                    <a:pt x="300217" y="547313"/>
                    <a:pt x="327754" y="296435"/>
                    <a:pt x="321634" y="232185"/>
                  </a:cubicBezTo>
                  <a:cubicBezTo>
                    <a:pt x="300217" y="66973"/>
                    <a:pt x="116648" y="-30931"/>
                    <a:pt x="388" y="8842"/>
                  </a:cubicBezTo>
                  <a:cubicBezTo>
                    <a:pt x="-2671" y="8842"/>
                    <a:pt x="12626" y="128163"/>
                    <a:pt x="37102" y="177114"/>
                  </a:cubicBezTo>
                  <a:cubicBezTo>
                    <a:pt x="58519" y="223007"/>
                    <a:pt x="76875" y="271959"/>
                    <a:pt x="86053" y="320910"/>
                  </a:cubicBezTo>
                  <a:cubicBezTo>
                    <a:pt x="95231" y="375981"/>
                    <a:pt x="46280" y="660514"/>
                    <a:pt x="144184" y="577908"/>
                  </a:cubicBezTo>
                  <a:close/>
                </a:path>
              </a:pathLst>
            </a:custGeom>
            <a:solidFill>
              <a:srgbClr val="664241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73509DB5-7EBB-4F6A-A87E-073180D9638B}"/>
                </a:ext>
              </a:extLst>
            </p:cNvPr>
            <p:cNvSpPr/>
            <p:nvPr/>
          </p:nvSpPr>
          <p:spPr>
            <a:xfrm>
              <a:off x="20407131" y="8012778"/>
              <a:ext cx="424082" cy="570278"/>
            </a:xfrm>
            <a:custGeom>
              <a:avLst/>
              <a:gdLst>
                <a:gd name="connsiteX0" fmla="*/ 416090 w 424082"/>
                <a:gd name="connsiteY0" fmla="*/ 184462 h 570278"/>
                <a:gd name="connsiteX1" fmla="*/ 403853 w 424082"/>
                <a:gd name="connsiteY1" fmla="*/ 441459 h 570278"/>
                <a:gd name="connsiteX2" fmla="*/ 253937 w 424082"/>
                <a:gd name="connsiteY2" fmla="*/ 569958 h 570278"/>
                <a:gd name="connsiteX3" fmla="*/ 36714 w 424082"/>
                <a:gd name="connsiteY3" fmla="*/ 426162 h 570278"/>
                <a:gd name="connsiteX4" fmla="*/ 0 w 424082"/>
                <a:gd name="connsiteY4" fmla="*/ 199760 h 570278"/>
                <a:gd name="connsiteX5" fmla="*/ 214164 w 424082"/>
                <a:gd name="connsiteY5" fmla="*/ 893 h 570278"/>
                <a:gd name="connsiteX6" fmla="*/ 416090 w 424082"/>
                <a:gd name="connsiteY6" fmla="*/ 184462 h 570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082" h="570278">
                  <a:moveTo>
                    <a:pt x="416090" y="184462"/>
                  </a:moveTo>
                  <a:cubicBezTo>
                    <a:pt x="416090" y="184462"/>
                    <a:pt x="440567" y="374151"/>
                    <a:pt x="403853" y="441459"/>
                  </a:cubicBezTo>
                  <a:cubicBezTo>
                    <a:pt x="367139" y="508768"/>
                    <a:pt x="305949" y="566899"/>
                    <a:pt x="253937" y="569958"/>
                  </a:cubicBezTo>
                  <a:cubicBezTo>
                    <a:pt x="186628" y="576077"/>
                    <a:pt x="73429" y="493471"/>
                    <a:pt x="36714" y="426162"/>
                  </a:cubicBezTo>
                  <a:cubicBezTo>
                    <a:pt x="0" y="358853"/>
                    <a:pt x="0" y="251771"/>
                    <a:pt x="0" y="199760"/>
                  </a:cubicBezTo>
                  <a:cubicBezTo>
                    <a:pt x="3059" y="104915"/>
                    <a:pt x="30595" y="25369"/>
                    <a:pt x="214164" y="893"/>
                  </a:cubicBezTo>
                  <a:cubicBezTo>
                    <a:pt x="299830" y="-11345"/>
                    <a:pt x="394675" y="104915"/>
                    <a:pt x="416090" y="184462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F10779C3-2EAF-48FA-9B7B-58BEC84D0846}"/>
                </a:ext>
              </a:extLst>
            </p:cNvPr>
            <p:cNvSpPr/>
            <p:nvPr/>
          </p:nvSpPr>
          <p:spPr>
            <a:xfrm>
              <a:off x="20633534" y="8285966"/>
              <a:ext cx="55070" cy="131558"/>
            </a:xfrm>
            <a:custGeom>
              <a:avLst/>
              <a:gdLst>
                <a:gd name="connsiteX0" fmla="*/ 30595 w 55070"/>
                <a:gd name="connsiteY0" fmla="*/ 131558 h 131558"/>
                <a:gd name="connsiteX1" fmla="*/ 6117 w 55070"/>
                <a:gd name="connsiteY1" fmla="*/ 128498 h 131558"/>
                <a:gd name="connsiteX2" fmla="*/ 0 w 55070"/>
                <a:gd name="connsiteY2" fmla="*/ 122380 h 131558"/>
                <a:gd name="connsiteX3" fmla="*/ 6117 w 55070"/>
                <a:gd name="connsiteY3" fmla="*/ 116261 h 131558"/>
                <a:gd name="connsiteX4" fmla="*/ 45892 w 55070"/>
                <a:gd name="connsiteY4" fmla="*/ 116261 h 131558"/>
                <a:gd name="connsiteX5" fmla="*/ 45892 w 55070"/>
                <a:gd name="connsiteY5" fmla="*/ 113201 h 131558"/>
                <a:gd name="connsiteX6" fmla="*/ 18356 w 55070"/>
                <a:gd name="connsiteY6" fmla="*/ 6119 h 131558"/>
                <a:gd name="connsiteX7" fmla="*/ 21415 w 55070"/>
                <a:gd name="connsiteY7" fmla="*/ 0 h 131558"/>
                <a:gd name="connsiteX8" fmla="*/ 27534 w 55070"/>
                <a:gd name="connsiteY8" fmla="*/ 3060 h 131558"/>
                <a:gd name="connsiteX9" fmla="*/ 55070 w 55070"/>
                <a:gd name="connsiteY9" fmla="*/ 113201 h 131558"/>
                <a:gd name="connsiteX10" fmla="*/ 48951 w 55070"/>
                <a:gd name="connsiteY10" fmla="*/ 125439 h 131558"/>
                <a:gd name="connsiteX11" fmla="*/ 30595 w 55070"/>
                <a:gd name="connsiteY11" fmla="*/ 131558 h 131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070" h="131558">
                  <a:moveTo>
                    <a:pt x="30595" y="131558"/>
                  </a:moveTo>
                  <a:cubicBezTo>
                    <a:pt x="18356" y="131558"/>
                    <a:pt x="9178" y="128498"/>
                    <a:pt x="6117" y="128498"/>
                  </a:cubicBezTo>
                  <a:cubicBezTo>
                    <a:pt x="3059" y="128498"/>
                    <a:pt x="0" y="125439"/>
                    <a:pt x="0" y="122380"/>
                  </a:cubicBezTo>
                  <a:cubicBezTo>
                    <a:pt x="0" y="119320"/>
                    <a:pt x="3059" y="116261"/>
                    <a:pt x="6117" y="116261"/>
                  </a:cubicBezTo>
                  <a:cubicBezTo>
                    <a:pt x="18356" y="119320"/>
                    <a:pt x="39773" y="119320"/>
                    <a:pt x="45892" y="116261"/>
                  </a:cubicBezTo>
                  <a:cubicBezTo>
                    <a:pt x="45892" y="116261"/>
                    <a:pt x="45892" y="113201"/>
                    <a:pt x="45892" y="113201"/>
                  </a:cubicBezTo>
                  <a:cubicBezTo>
                    <a:pt x="45892" y="97904"/>
                    <a:pt x="24476" y="30595"/>
                    <a:pt x="18356" y="6119"/>
                  </a:cubicBezTo>
                  <a:cubicBezTo>
                    <a:pt x="18356" y="3060"/>
                    <a:pt x="18356" y="0"/>
                    <a:pt x="21415" y="0"/>
                  </a:cubicBezTo>
                  <a:cubicBezTo>
                    <a:pt x="24476" y="0"/>
                    <a:pt x="27534" y="0"/>
                    <a:pt x="27534" y="3060"/>
                  </a:cubicBezTo>
                  <a:cubicBezTo>
                    <a:pt x="27534" y="6119"/>
                    <a:pt x="55070" y="91785"/>
                    <a:pt x="55070" y="113201"/>
                  </a:cubicBezTo>
                  <a:cubicBezTo>
                    <a:pt x="55070" y="119320"/>
                    <a:pt x="52010" y="122380"/>
                    <a:pt x="48951" y="125439"/>
                  </a:cubicBezTo>
                  <a:cubicBezTo>
                    <a:pt x="48951" y="128498"/>
                    <a:pt x="39773" y="131558"/>
                    <a:pt x="30595" y="131558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0139B5BF-638D-482A-9807-17CF5661FE5D}"/>
                </a:ext>
              </a:extLst>
            </p:cNvPr>
            <p:cNvSpPr/>
            <p:nvPr/>
          </p:nvSpPr>
          <p:spPr>
            <a:xfrm>
              <a:off x="20724539" y="8254771"/>
              <a:ext cx="41332" cy="41153"/>
            </a:xfrm>
            <a:custGeom>
              <a:avLst/>
              <a:gdLst>
                <a:gd name="connsiteX0" fmla="*/ 780 w 41332"/>
                <a:gd name="connsiteY0" fmla="*/ 25076 h 41153"/>
                <a:gd name="connsiteX1" fmla="*/ 25256 w 41332"/>
                <a:gd name="connsiteY1" fmla="*/ 40374 h 41153"/>
                <a:gd name="connsiteX2" fmla="*/ 40553 w 41332"/>
                <a:gd name="connsiteY2" fmla="*/ 15897 h 41153"/>
                <a:gd name="connsiteX3" fmla="*/ 16078 w 41332"/>
                <a:gd name="connsiteY3" fmla="*/ 600 h 41153"/>
                <a:gd name="connsiteX4" fmla="*/ 780 w 41332"/>
                <a:gd name="connsiteY4" fmla="*/ 25076 h 4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32" h="41153">
                  <a:moveTo>
                    <a:pt x="780" y="25076"/>
                  </a:moveTo>
                  <a:cubicBezTo>
                    <a:pt x="3839" y="37314"/>
                    <a:pt x="13017" y="43433"/>
                    <a:pt x="25256" y="40374"/>
                  </a:cubicBezTo>
                  <a:cubicBezTo>
                    <a:pt x="37493" y="37314"/>
                    <a:pt x="43612" y="28136"/>
                    <a:pt x="40553" y="15897"/>
                  </a:cubicBezTo>
                  <a:cubicBezTo>
                    <a:pt x="37493" y="6719"/>
                    <a:pt x="28314" y="-2459"/>
                    <a:pt x="16078" y="600"/>
                  </a:cubicBezTo>
                  <a:cubicBezTo>
                    <a:pt x="3839" y="3660"/>
                    <a:pt x="-2280" y="15897"/>
                    <a:pt x="780" y="2507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4B6EEC00-2565-4CDD-812C-CCBD39F50F29}"/>
                </a:ext>
              </a:extLst>
            </p:cNvPr>
            <p:cNvSpPr/>
            <p:nvPr/>
          </p:nvSpPr>
          <p:spPr>
            <a:xfrm>
              <a:off x="20534850" y="8260710"/>
              <a:ext cx="41332" cy="41332"/>
            </a:xfrm>
            <a:custGeom>
              <a:avLst/>
              <a:gdLst>
                <a:gd name="connsiteX0" fmla="*/ 780 w 41332"/>
                <a:gd name="connsiteY0" fmla="*/ 25256 h 41332"/>
                <a:gd name="connsiteX1" fmla="*/ 25256 w 41332"/>
                <a:gd name="connsiteY1" fmla="*/ 40553 h 41332"/>
                <a:gd name="connsiteX2" fmla="*/ 40553 w 41332"/>
                <a:gd name="connsiteY2" fmla="*/ 16077 h 41332"/>
                <a:gd name="connsiteX3" fmla="*/ 16078 w 41332"/>
                <a:gd name="connsiteY3" fmla="*/ 780 h 41332"/>
                <a:gd name="connsiteX4" fmla="*/ 780 w 41332"/>
                <a:gd name="connsiteY4" fmla="*/ 25256 h 41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32" h="41332">
                  <a:moveTo>
                    <a:pt x="780" y="25256"/>
                  </a:moveTo>
                  <a:cubicBezTo>
                    <a:pt x="3839" y="37494"/>
                    <a:pt x="13017" y="43613"/>
                    <a:pt x="25256" y="40553"/>
                  </a:cubicBezTo>
                  <a:cubicBezTo>
                    <a:pt x="37494" y="37494"/>
                    <a:pt x="43612" y="28315"/>
                    <a:pt x="40553" y="16077"/>
                  </a:cubicBezTo>
                  <a:cubicBezTo>
                    <a:pt x="37494" y="3839"/>
                    <a:pt x="28314" y="-2280"/>
                    <a:pt x="16078" y="780"/>
                  </a:cubicBezTo>
                  <a:cubicBezTo>
                    <a:pt x="3839" y="3839"/>
                    <a:pt x="-2280" y="16077"/>
                    <a:pt x="780" y="25256"/>
                  </a:cubicBezTo>
                  <a:close/>
                </a:path>
              </a:pathLst>
            </a:custGeom>
            <a:solidFill>
              <a:srgbClr val="38333D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BBC226C4-DFF5-4843-86A6-860069A35032}"/>
                </a:ext>
              </a:extLst>
            </p:cNvPr>
            <p:cNvSpPr/>
            <p:nvPr/>
          </p:nvSpPr>
          <p:spPr>
            <a:xfrm>
              <a:off x="20699575" y="8209478"/>
              <a:ext cx="92286" cy="30594"/>
            </a:xfrm>
            <a:custGeom>
              <a:avLst/>
              <a:gdLst>
                <a:gd name="connsiteX0" fmla="*/ 83874 w 92286"/>
                <a:gd name="connsiteY0" fmla="*/ 30595 h 30594"/>
                <a:gd name="connsiteX1" fmla="*/ 77754 w 92286"/>
                <a:gd name="connsiteY1" fmla="*/ 27536 h 30594"/>
                <a:gd name="connsiteX2" fmla="*/ 10447 w 92286"/>
                <a:gd name="connsiteY2" fmla="*/ 21416 h 30594"/>
                <a:gd name="connsiteX3" fmla="*/ 1267 w 92286"/>
                <a:gd name="connsiteY3" fmla="*/ 18357 h 30594"/>
                <a:gd name="connsiteX4" fmla="*/ 4328 w 92286"/>
                <a:gd name="connsiteY4" fmla="*/ 9179 h 30594"/>
                <a:gd name="connsiteX5" fmla="*/ 89993 w 92286"/>
                <a:gd name="connsiteY5" fmla="*/ 18357 h 30594"/>
                <a:gd name="connsiteX6" fmla="*/ 89993 w 92286"/>
                <a:gd name="connsiteY6" fmla="*/ 30595 h 30594"/>
                <a:gd name="connsiteX7" fmla="*/ 83874 w 92286"/>
                <a:gd name="connsiteY7" fmla="*/ 30595 h 30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86" h="30594">
                  <a:moveTo>
                    <a:pt x="83874" y="30595"/>
                  </a:moveTo>
                  <a:cubicBezTo>
                    <a:pt x="80815" y="30595"/>
                    <a:pt x="80815" y="30595"/>
                    <a:pt x="77754" y="27536"/>
                  </a:cubicBezTo>
                  <a:cubicBezTo>
                    <a:pt x="53279" y="0"/>
                    <a:pt x="13506" y="18357"/>
                    <a:pt x="10447" y="21416"/>
                  </a:cubicBezTo>
                  <a:cubicBezTo>
                    <a:pt x="7386" y="24476"/>
                    <a:pt x="1267" y="21416"/>
                    <a:pt x="1267" y="18357"/>
                  </a:cubicBezTo>
                  <a:cubicBezTo>
                    <a:pt x="-1792" y="15297"/>
                    <a:pt x="1267" y="9179"/>
                    <a:pt x="4328" y="9179"/>
                  </a:cubicBezTo>
                  <a:cubicBezTo>
                    <a:pt x="22684" y="0"/>
                    <a:pt x="62457" y="-9179"/>
                    <a:pt x="89993" y="18357"/>
                  </a:cubicBezTo>
                  <a:cubicBezTo>
                    <a:pt x="93052" y="21416"/>
                    <a:pt x="93052" y="27536"/>
                    <a:pt x="89993" y="30595"/>
                  </a:cubicBezTo>
                  <a:cubicBezTo>
                    <a:pt x="86934" y="30595"/>
                    <a:pt x="83874" y="30595"/>
                    <a:pt x="83874" y="30595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2A2D2062-FE39-434D-B12D-20FEEB88438A}"/>
                </a:ext>
              </a:extLst>
            </p:cNvPr>
            <p:cNvSpPr/>
            <p:nvPr/>
          </p:nvSpPr>
          <p:spPr>
            <a:xfrm>
              <a:off x="20505800" y="8207439"/>
              <a:ext cx="92286" cy="35694"/>
            </a:xfrm>
            <a:custGeom>
              <a:avLst/>
              <a:gdLst>
                <a:gd name="connsiteX0" fmla="*/ 8413 w 92286"/>
                <a:gd name="connsiteY0" fmla="*/ 35694 h 35694"/>
                <a:gd name="connsiteX1" fmla="*/ 2294 w 92286"/>
                <a:gd name="connsiteY1" fmla="*/ 32635 h 35694"/>
                <a:gd name="connsiteX2" fmla="*/ 2294 w 92286"/>
                <a:gd name="connsiteY2" fmla="*/ 20397 h 35694"/>
                <a:gd name="connsiteX3" fmla="*/ 87959 w 92286"/>
                <a:gd name="connsiteY3" fmla="*/ 11218 h 35694"/>
                <a:gd name="connsiteX4" fmla="*/ 91020 w 92286"/>
                <a:gd name="connsiteY4" fmla="*/ 23456 h 35694"/>
                <a:gd name="connsiteX5" fmla="*/ 78781 w 92286"/>
                <a:gd name="connsiteY5" fmla="*/ 26516 h 35694"/>
                <a:gd name="connsiteX6" fmla="*/ 11472 w 92286"/>
                <a:gd name="connsiteY6" fmla="*/ 32635 h 35694"/>
                <a:gd name="connsiteX7" fmla="*/ 8413 w 92286"/>
                <a:gd name="connsiteY7" fmla="*/ 35694 h 35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86" h="35694">
                  <a:moveTo>
                    <a:pt x="8413" y="35694"/>
                  </a:moveTo>
                  <a:cubicBezTo>
                    <a:pt x="5355" y="35694"/>
                    <a:pt x="5355" y="35694"/>
                    <a:pt x="2294" y="32635"/>
                  </a:cubicBezTo>
                  <a:cubicBezTo>
                    <a:pt x="-765" y="29575"/>
                    <a:pt x="-765" y="23456"/>
                    <a:pt x="2294" y="20397"/>
                  </a:cubicBezTo>
                  <a:cubicBezTo>
                    <a:pt x="14533" y="8159"/>
                    <a:pt x="51247" y="-13258"/>
                    <a:pt x="87959" y="11218"/>
                  </a:cubicBezTo>
                  <a:cubicBezTo>
                    <a:pt x="91020" y="14278"/>
                    <a:pt x="94079" y="17337"/>
                    <a:pt x="91020" y="23456"/>
                  </a:cubicBezTo>
                  <a:cubicBezTo>
                    <a:pt x="87959" y="26516"/>
                    <a:pt x="84901" y="29575"/>
                    <a:pt x="78781" y="26516"/>
                  </a:cubicBezTo>
                  <a:cubicBezTo>
                    <a:pt x="42067" y="2040"/>
                    <a:pt x="14533" y="32635"/>
                    <a:pt x="11472" y="32635"/>
                  </a:cubicBezTo>
                  <a:cubicBezTo>
                    <a:pt x="14533" y="32635"/>
                    <a:pt x="11472" y="35694"/>
                    <a:pt x="8413" y="35694"/>
                  </a:cubicBezTo>
                  <a:close/>
                </a:path>
              </a:pathLst>
            </a:custGeom>
            <a:solidFill>
              <a:srgbClr val="664540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ECE6728C-C2F2-4A9D-9313-F0AB0D7CA848}"/>
                </a:ext>
              </a:extLst>
            </p:cNvPr>
            <p:cNvSpPr/>
            <p:nvPr/>
          </p:nvSpPr>
          <p:spPr>
            <a:xfrm>
              <a:off x="20572260" y="7962569"/>
              <a:ext cx="275785" cy="277504"/>
            </a:xfrm>
            <a:custGeom>
              <a:avLst/>
              <a:gdLst>
                <a:gd name="connsiteX0" fmla="*/ 3143 w 275785"/>
                <a:gd name="connsiteY0" fmla="*/ 2151 h 277504"/>
                <a:gd name="connsiteX1" fmla="*/ 36797 w 275785"/>
                <a:gd name="connsiteY1" fmla="*/ 149006 h 277504"/>
                <a:gd name="connsiteX2" fmla="*/ 275438 w 275785"/>
                <a:gd name="connsiteY2" fmla="*/ 277505 h 277504"/>
                <a:gd name="connsiteX3" fmla="*/ 3143 w 275785"/>
                <a:gd name="connsiteY3" fmla="*/ 2151 h 277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785" h="277504">
                  <a:moveTo>
                    <a:pt x="3143" y="2151"/>
                  </a:moveTo>
                  <a:cubicBezTo>
                    <a:pt x="3143" y="2151"/>
                    <a:pt x="-15213" y="109233"/>
                    <a:pt x="36797" y="149006"/>
                  </a:cubicBezTo>
                  <a:cubicBezTo>
                    <a:pt x="36797" y="149006"/>
                    <a:pt x="247902" y="191839"/>
                    <a:pt x="275438" y="277505"/>
                  </a:cubicBezTo>
                  <a:cubicBezTo>
                    <a:pt x="275438" y="277505"/>
                    <a:pt x="296853" y="-28444"/>
                    <a:pt x="3143" y="2151"/>
                  </a:cubicBezTo>
                  <a:close/>
                </a:path>
              </a:pathLst>
            </a:custGeom>
            <a:solidFill>
              <a:srgbClr val="664241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D900CCF7-645B-44A0-ADFE-8927301AB6BB}"/>
                </a:ext>
              </a:extLst>
            </p:cNvPr>
            <p:cNvSpPr/>
            <p:nvPr/>
          </p:nvSpPr>
          <p:spPr>
            <a:xfrm>
              <a:off x="20310891" y="7964719"/>
              <a:ext cx="298166" cy="352302"/>
            </a:xfrm>
            <a:custGeom>
              <a:avLst/>
              <a:gdLst>
                <a:gd name="connsiteX0" fmla="*/ 298166 w 298166"/>
                <a:gd name="connsiteY0" fmla="*/ 146856 h 352302"/>
                <a:gd name="connsiteX1" fmla="*/ 157430 w 298166"/>
                <a:gd name="connsiteY1" fmla="*/ 201927 h 352302"/>
                <a:gd name="connsiteX2" fmla="*/ 99299 w 298166"/>
                <a:gd name="connsiteY2" fmla="*/ 321246 h 352302"/>
                <a:gd name="connsiteX3" fmla="*/ 10575 w 298166"/>
                <a:gd name="connsiteY3" fmla="*/ 342663 h 352302"/>
                <a:gd name="connsiteX4" fmla="*/ 267571 w 298166"/>
                <a:gd name="connsiteY4" fmla="*/ 0 h 352302"/>
                <a:gd name="connsiteX5" fmla="*/ 298166 w 298166"/>
                <a:gd name="connsiteY5" fmla="*/ 146856 h 35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8166" h="352302">
                  <a:moveTo>
                    <a:pt x="298166" y="146856"/>
                  </a:moveTo>
                  <a:cubicBezTo>
                    <a:pt x="298166" y="146856"/>
                    <a:pt x="206381" y="195808"/>
                    <a:pt x="157430" y="201927"/>
                  </a:cubicBezTo>
                  <a:cubicBezTo>
                    <a:pt x="105419" y="208045"/>
                    <a:pt x="99299" y="321246"/>
                    <a:pt x="99299" y="321246"/>
                  </a:cubicBezTo>
                  <a:cubicBezTo>
                    <a:pt x="99299" y="321246"/>
                    <a:pt x="25873" y="373258"/>
                    <a:pt x="10575" y="342663"/>
                  </a:cubicBezTo>
                  <a:cubicBezTo>
                    <a:pt x="-23080" y="275354"/>
                    <a:pt x="13634" y="0"/>
                    <a:pt x="267571" y="0"/>
                  </a:cubicBezTo>
                  <a:cubicBezTo>
                    <a:pt x="264512" y="0"/>
                    <a:pt x="273691" y="140737"/>
                    <a:pt x="298166" y="146856"/>
                  </a:cubicBezTo>
                  <a:close/>
                </a:path>
              </a:pathLst>
            </a:custGeom>
            <a:solidFill>
              <a:srgbClr val="664241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AEB5286E-3D8A-4702-8DBC-AD8A57A7E7F5}"/>
                </a:ext>
              </a:extLst>
            </p:cNvPr>
            <p:cNvSpPr/>
            <p:nvPr/>
          </p:nvSpPr>
          <p:spPr>
            <a:xfrm>
              <a:off x="20465262" y="8472595"/>
              <a:ext cx="309007" cy="327365"/>
            </a:xfrm>
            <a:custGeom>
              <a:avLst/>
              <a:gdLst>
                <a:gd name="connsiteX0" fmla="*/ 253937 w 309007"/>
                <a:gd name="connsiteY0" fmla="*/ 61190 h 327365"/>
                <a:gd name="connsiteX1" fmla="*/ 309008 w 309007"/>
                <a:gd name="connsiteY1" fmla="*/ 201926 h 327365"/>
                <a:gd name="connsiteX2" fmla="*/ 269235 w 309007"/>
                <a:gd name="connsiteY2" fmla="*/ 327365 h 327365"/>
                <a:gd name="connsiteX3" fmla="*/ 0 w 309007"/>
                <a:gd name="connsiteY3" fmla="*/ 186629 h 327365"/>
                <a:gd name="connsiteX4" fmla="*/ 52010 w 309007"/>
                <a:gd name="connsiteY4" fmla="*/ 0 h 327365"/>
                <a:gd name="connsiteX5" fmla="*/ 253937 w 309007"/>
                <a:gd name="connsiteY5" fmla="*/ 61190 h 32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007" h="327365">
                  <a:moveTo>
                    <a:pt x="253937" y="61190"/>
                  </a:moveTo>
                  <a:cubicBezTo>
                    <a:pt x="253937" y="61190"/>
                    <a:pt x="247818" y="171331"/>
                    <a:pt x="309008" y="201926"/>
                  </a:cubicBezTo>
                  <a:lnTo>
                    <a:pt x="269235" y="327365"/>
                  </a:lnTo>
                  <a:cubicBezTo>
                    <a:pt x="269235" y="327365"/>
                    <a:pt x="52010" y="217224"/>
                    <a:pt x="0" y="186629"/>
                  </a:cubicBezTo>
                  <a:cubicBezTo>
                    <a:pt x="55070" y="143796"/>
                    <a:pt x="52010" y="61190"/>
                    <a:pt x="52010" y="0"/>
                  </a:cubicBezTo>
                  <a:cubicBezTo>
                    <a:pt x="52010" y="0"/>
                    <a:pt x="201926" y="70368"/>
                    <a:pt x="253937" y="61190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634C2F5A-2BE3-4961-A3C4-EF1DE9CE3642}"/>
                </a:ext>
              </a:extLst>
            </p:cNvPr>
            <p:cNvSpPr/>
            <p:nvPr/>
          </p:nvSpPr>
          <p:spPr>
            <a:xfrm>
              <a:off x="20508094" y="8512368"/>
              <a:ext cx="222577" cy="79546"/>
            </a:xfrm>
            <a:custGeom>
              <a:avLst/>
              <a:gdLst>
                <a:gd name="connsiteX0" fmla="*/ 149916 w 222577"/>
                <a:gd name="connsiteY0" fmla="*/ 79546 h 79546"/>
                <a:gd name="connsiteX1" fmla="*/ 140738 w 222577"/>
                <a:gd name="connsiteY1" fmla="*/ 79546 h 79546"/>
                <a:gd name="connsiteX2" fmla="*/ 3061 w 222577"/>
                <a:gd name="connsiteY2" fmla="*/ 12238 h 79546"/>
                <a:gd name="connsiteX3" fmla="*/ 0 w 222577"/>
                <a:gd name="connsiteY3" fmla="*/ 3059 h 79546"/>
                <a:gd name="connsiteX4" fmla="*/ 9178 w 222577"/>
                <a:gd name="connsiteY4" fmla="*/ 0 h 79546"/>
                <a:gd name="connsiteX5" fmla="*/ 140738 w 222577"/>
                <a:gd name="connsiteY5" fmla="*/ 67309 h 79546"/>
                <a:gd name="connsiteX6" fmla="*/ 211106 w 222577"/>
                <a:gd name="connsiteY6" fmla="*/ 42833 h 79546"/>
                <a:gd name="connsiteX7" fmla="*/ 220284 w 222577"/>
                <a:gd name="connsiteY7" fmla="*/ 42833 h 79546"/>
                <a:gd name="connsiteX8" fmla="*/ 220284 w 222577"/>
                <a:gd name="connsiteY8" fmla="*/ 52011 h 79546"/>
                <a:gd name="connsiteX9" fmla="*/ 149916 w 222577"/>
                <a:gd name="connsiteY9" fmla="*/ 79546 h 79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577" h="79546">
                  <a:moveTo>
                    <a:pt x="149916" y="79546"/>
                  </a:moveTo>
                  <a:cubicBezTo>
                    <a:pt x="146855" y="79546"/>
                    <a:pt x="143796" y="79546"/>
                    <a:pt x="140738" y="79546"/>
                  </a:cubicBezTo>
                  <a:cubicBezTo>
                    <a:pt x="97904" y="73428"/>
                    <a:pt x="6119" y="12238"/>
                    <a:pt x="3061" y="12238"/>
                  </a:cubicBezTo>
                  <a:cubicBezTo>
                    <a:pt x="0" y="9178"/>
                    <a:pt x="0" y="6119"/>
                    <a:pt x="0" y="3059"/>
                  </a:cubicBezTo>
                  <a:cubicBezTo>
                    <a:pt x="3061" y="0"/>
                    <a:pt x="6119" y="0"/>
                    <a:pt x="9178" y="0"/>
                  </a:cubicBezTo>
                  <a:cubicBezTo>
                    <a:pt x="9178" y="0"/>
                    <a:pt x="104023" y="61190"/>
                    <a:pt x="140738" y="67309"/>
                  </a:cubicBezTo>
                  <a:cubicBezTo>
                    <a:pt x="177450" y="73428"/>
                    <a:pt x="211106" y="42833"/>
                    <a:pt x="211106" y="42833"/>
                  </a:cubicBezTo>
                  <a:cubicBezTo>
                    <a:pt x="214164" y="39773"/>
                    <a:pt x="217225" y="39773"/>
                    <a:pt x="220284" y="42833"/>
                  </a:cubicBezTo>
                  <a:cubicBezTo>
                    <a:pt x="223342" y="45892"/>
                    <a:pt x="223342" y="48952"/>
                    <a:pt x="220284" y="52011"/>
                  </a:cubicBezTo>
                  <a:cubicBezTo>
                    <a:pt x="217225" y="52011"/>
                    <a:pt x="186630" y="79546"/>
                    <a:pt x="149916" y="79546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B40FD88E-1E6A-46C3-9849-3BCD6D713A54}"/>
                </a:ext>
              </a:extLst>
            </p:cNvPr>
            <p:cNvSpPr/>
            <p:nvPr/>
          </p:nvSpPr>
          <p:spPr>
            <a:xfrm>
              <a:off x="20956573" y="8749741"/>
              <a:ext cx="103822" cy="561153"/>
            </a:xfrm>
            <a:custGeom>
              <a:avLst/>
              <a:gdLst>
                <a:gd name="connsiteX0" fmla="*/ 47159 w 103822"/>
                <a:gd name="connsiteY0" fmla="*/ 561154 h 561153"/>
                <a:gd name="connsiteX1" fmla="*/ 47159 w 103822"/>
                <a:gd name="connsiteY1" fmla="*/ 561154 h 561153"/>
                <a:gd name="connsiteX2" fmla="*/ 41040 w 103822"/>
                <a:gd name="connsiteY2" fmla="*/ 555035 h 561153"/>
                <a:gd name="connsiteX3" fmla="*/ 56337 w 103822"/>
                <a:gd name="connsiteY3" fmla="*/ 499964 h 561153"/>
                <a:gd name="connsiteX4" fmla="*/ 89993 w 103822"/>
                <a:gd name="connsiteY4" fmla="*/ 350049 h 561153"/>
                <a:gd name="connsiteX5" fmla="*/ 1267 w 103822"/>
                <a:gd name="connsiteY5" fmla="*/ 10446 h 561153"/>
                <a:gd name="connsiteX6" fmla="*/ 4326 w 103822"/>
                <a:gd name="connsiteY6" fmla="*/ 1267 h 561153"/>
                <a:gd name="connsiteX7" fmla="*/ 13506 w 103822"/>
                <a:gd name="connsiteY7" fmla="*/ 4327 h 561153"/>
                <a:gd name="connsiteX8" fmla="*/ 102230 w 103822"/>
                <a:gd name="connsiteY8" fmla="*/ 350049 h 561153"/>
                <a:gd name="connsiteX9" fmla="*/ 68576 w 103822"/>
                <a:gd name="connsiteY9" fmla="*/ 503024 h 561153"/>
                <a:gd name="connsiteX10" fmla="*/ 53279 w 103822"/>
                <a:gd name="connsiteY10" fmla="*/ 558095 h 561153"/>
                <a:gd name="connsiteX11" fmla="*/ 47159 w 103822"/>
                <a:gd name="connsiteY11" fmla="*/ 561154 h 56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3822" h="561153">
                  <a:moveTo>
                    <a:pt x="47159" y="561154"/>
                  </a:moveTo>
                  <a:cubicBezTo>
                    <a:pt x="47159" y="561154"/>
                    <a:pt x="47159" y="561154"/>
                    <a:pt x="47159" y="561154"/>
                  </a:cubicBezTo>
                  <a:cubicBezTo>
                    <a:pt x="44101" y="561154"/>
                    <a:pt x="41040" y="558095"/>
                    <a:pt x="41040" y="555035"/>
                  </a:cubicBezTo>
                  <a:cubicBezTo>
                    <a:pt x="47159" y="536678"/>
                    <a:pt x="50218" y="518321"/>
                    <a:pt x="56337" y="499964"/>
                  </a:cubicBezTo>
                  <a:cubicBezTo>
                    <a:pt x="71635" y="447953"/>
                    <a:pt x="86932" y="395942"/>
                    <a:pt x="89993" y="350049"/>
                  </a:cubicBezTo>
                  <a:cubicBezTo>
                    <a:pt x="96110" y="227670"/>
                    <a:pt x="68576" y="114469"/>
                    <a:pt x="1267" y="10446"/>
                  </a:cubicBezTo>
                  <a:cubicBezTo>
                    <a:pt x="-1792" y="7387"/>
                    <a:pt x="1267" y="4327"/>
                    <a:pt x="4326" y="1267"/>
                  </a:cubicBezTo>
                  <a:cubicBezTo>
                    <a:pt x="7386" y="-1792"/>
                    <a:pt x="10445" y="1267"/>
                    <a:pt x="13506" y="4327"/>
                  </a:cubicBezTo>
                  <a:cubicBezTo>
                    <a:pt x="80813" y="111409"/>
                    <a:pt x="111408" y="227670"/>
                    <a:pt x="102230" y="350049"/>
                  </a:cubicBezTo>
                  <a:cubicBezTo>
                    <a:pt x="99171" y="395942"/>
                    <a:pt x="83874" y="451013"/>
                    <a:pt x="68576" y="503024"/>
                  </a:cubicBezTo>
                  <a:cubicBezTo>
                    <a:pt x="62457" y="521380"/>
                    <a:pt x="56337" y="539738"/>
                    <a:pt x="53279" y="558095"/>
                  </a:cubicBezTo>
                  <a:cubicBezTo>
                    <a:pt x="50218" y="561154"/>
                    <a:pt x="50218" y="561154"/>
                    <a:pt x="47159" y="561154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DF184DF9-85FD-4553-B6F8-2A2D4B6A7D9F}"/>
                </a:ext>
              </a:extLst>
            </p:cNvPr>
            <p:cNvSpPr/>
            <p:nvPr/>
          </p:nvSpPr>
          <p:spPr>
            <a:xfrm>
              <a:off x="20532570" y="9194829"/>
              <a:ext cx="402061" cy="36519"/>
            </a:xfrm>
            <a:custGeom>
              <a:avLst/>
              <a:gdLst>
                <a:gd name="connsiteX0" fmla="*/ 397734 w 402061"/>
                <a:gd name="connsiteY0" fmla="*/ 36519 h 36519"/>
                <a:gd name="connsiteX1" fmla="*/ 397734 w 402061"/>
                <a:gd name="connsiteY1" fmla="*/ 36519 h 36519"/>
                <a:gd name="connsiteX2" fmla="*/ 6119 w 402061"/>
                <a:gd name="connsiteY2" fmla="*/ 24281 h 36519"/>
                <a:gd name="connsiteX3" fmla="*/ 0 w 402061"/>
                <a:gd name="connsiteY3" fmla="*/ 21222 h 36519"/>
                <a:gd name="connsiteX4" fmla="*/ 3061 w 402061"/>
                <a:gd name="connsiteY4" fmla="*/ 15102 h 36519"/>
                <a:gd name="connsiteX5" fmla="*/ 397734 w 402061"/>
                <a:gd name="connsiteY5" fmla="*/ 27341 h 36519"/>
                <a:gd name="connsiteX6" fmla="*/ 400794 w 402061"/>
                <a:gd name="connsiteY6" fmla="*/ 33460 h 36519"/>
                <a:gd name="connsiteX7" fmla="*/ 397734 w 402061"/>
                <a:gd name="connsiteY7" fmla="*/ 36519 h 36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2061" h="36519">
                  <a:moveTo>
                    <a:pt x="397734" y="36519"/>
                  </a:moveTo>
                  <a:cubicBezTo>
                    <a:pt x="397734" y="36519"/>
                    <a:pt x="397734" y="36519"/>
                    <a:pt x="397734" y="36519"/>
                  </a:cubicBezTo>
                  <a:cubicBezTo>
                    <a:pt x="312068" y="5924"/>
                    <a:pt x="107082" y="-195"/>
                    <a:pt x="6119" y="24281"/>
                  </a:cubicBezTo>
                  <a:cubicBezTo>
                    <a:pt x="3061" y="24281"/>
                    <a:pt x="0" y="24281"/>
                    <a:pt x="0" y="21222"/>
                  </a:cubicBezTo>
                  <a:cubicBezTo>
                    <a:pt x="0" y="18162"/>
                    <a:pt x="0" y="15102"/>
                    <a:pt x="3061" y="15102"/>
                  </a:cubicBezTo>
                  <a:cubicBezTo>
                    <a:pt x="104023" y="-9373"/>
                    <a:pt x="312068" y="-3254"/>
                    <a:pt x="397734" y="27341"/>
                  </a:cubicBezTo>
                  <a:cubicBezTo>
                    <a:pt x="400794" y="27341"/>
                    <a:pt x="400794" y="30400"/>
                    <a:pt x="400794" y="33460"/>
                  </a:cubicBezTo>
                  <a:cubicBezTo>
                    <a:pt x="403853" y="36519"/>
                    <a:pt x="400794" y="36519"/>
                    <a:pt x="397734" y="36519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F3088BCE-C57F-44FD-9170-01CC321317DA}"/>
                </a:ext>
              </a:extLst>
            </p:cNvPr>
            <p:cNvSpPr/>
            <p:nvPr/>
          </p:nvSpPr>
          <p:spPr>
            <a:xfrm>
              <a:off x="20369050" y="8272238"/>
              <a:ext cx="77855" cy="114449"/>
            </a:xfrm>
            <a:custGeom>
              <a:avLst/>
              <a:gdLst>
                <a:gd name="connsiteX0" fmla="*/ 65618 w 77855"/>
                <a:gd name="connsiteY0" fmla="*/ 16787 h 114449"/>
                <a:gd name="connsiteX1" fmla="*/ 7487 w 77855"/>
                <a:gd name="connsiteY1" fmla="*/ 7609 h 114449"/>
                <a:gd name="connsiteX2" fmla="*/ 65618 w 77855"/>
                <a:gd name="connsiteY2" fmla="*/ 111631 h 114449"/>
                <a:gd name="connsiteX3" fmla="*/ 65618 w 77855"/>
                <a:gd name="connsiteY3" fmla="*/ 16787 h 11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55" h="114449">
                  <a:moveTo>
                    <a:pt x="65618" y="16787"/>
                  </a:moveTo>
                  <a:cubicBezTo>
                    <a:pt x="65618" y="16787"/>
                    <a:pt x="31962" y="-13808"/>
                    <a:pt x="7487" y="7609"/>
                  </a:cubicBezTo>
                  <a:cubicBezTo>
                    <a:pt x="-16989" y="25966"/>
                    <a:pt x="22784" y="133048"/>
                    <a:pt x="65618" y="111631"/>
                  </a:cubicBezTo>
                  <a:cubicBezTo>
                    <a:pt x="93152" y="90215"/>
                    <a:pt x="65618" y="16787"/>
                    <a:pt x="65618" y="16787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31C2D23E-BE22-4DBB-A45A-52DDC3629E7B}"/>
                </a:ext>
              </a:extLst>
            </p:cNvPr>
            <p:cNvSpPr/>
            <p:nvPr/>
          </p:nvSpPr>
          <p:spPr>
            <a:xfrm>
              <a:off x="20733229" y="8150081"/>
              <a:ext cx="148122" cy="163420"/>
            </a:xfrm>
            <a:custGeom>
              <a:avLst/>
              <a:gdLst>
                <a:gd name="connsiteX0" fmla="*/ 142004 w 148122"/>
                <a:gd name="connsiteY0" fmla="*/ 163420 h 163420"/>
                <a:gd name="connsiteX1" fmla="*/ 135884 w 148122"/>
                <a:gd name="connsiteY1" fmla="*/ 160361 h 163420"/>
                <a:gd name="connsiteX2" fmla="*/ 4327 w 148122"/>
                <a:gd name="connsiteY2" fmla="*/ 10446 h 163420"/>
                <a:gd name="connsiteX3" fmla="*/ 1268 w 148122"/>
                <a:gd name="connsiteY3" fmla="*/ 4327 h 163420"/>
                <a:gd name="connsiteX4" fmla="*/ 7387 w 148122"/>
                <a:gd name="connsiteY4" fmla="*/ 1267 h 163420"/>
                <a:gd name="connsiteX5" fmla="*/ 148123 w 148122"/>
                <a:gd name="connsiteY5" fmla="*/ 160361 h 163420"/>
                <a:gd name="connsiteX6" fmla="*/ 142004 w 148122"/>
                <a:gd name="connsiteY6" fmla="*/ 163420 h 163420"/>
                <a:gd name="connsiteX7" fmla="*/ 142004 w 148122"/>
                <a:gd name="connsiteY7" fmla="*/ 163420 h 163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122" h="163420">
                  <a:moveTo>
                    <a:pt x="142004" y="163420"/>
                  </a:moveTo>
                  <a:cubicBezTo>
                    <a:pt x="138945" y="163420"/>
                    <a:pt x="135884" y="160361"/>
                    <a:pt x="135884" y="160361"/>
                  </a:cubicBezTo>
                  <a:cubicBezTo>
                    <a:pt x="111409" y="37981"/>
                    <a:pt x="4327" y="10446"/>
                    <a:pt x="4327" y="10446"/>
                  </a:cubicBezTo>
                  <a:cubicBezTo>
                    <a:pt x="1268" y="10446"/>
                    <a:pt x="-1793" y="7386"/>
                    <a:pt x="1268" y="4327"/>
                  </a:cubicBezTo>
                  <a:cubicBezTo>
                    <a:pt x="1268" y="1267"/>
                    <a:pt x="4327" y="-1792"/>
                    <a:pt x="7387" y="1267"/>
                  </a:cubicBezTo>
                  <a:cubicBezTo>
                    <a:pt x="7387" y="1267"/>
                    <a:pt x="123647" y="31862"/>
                    <a:pt x="148123" y="160361"/>
                  </a:cubicBezTo>
                  <a:cubicBezTo>
                    <a:pt x="148123" y="160361"/>
                    <a:pt x="148123" y="163420"/>
                    <a:pt x="142004" y="163420"/>
                  </a:cubicBezTo>
                  <a:cubicBezTo>
                    <a:pt x="142004" y="163420"/>
                    <a:pt x="142004" y="163420"/>
                    <a:pt x="142004" y="163420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1D58D972-FCE6-4773-AEBA-E99581B8DF05}"/>
                </a:ext>
              </a:extLst>
            </p:cNvPr>
            <p:cNvSpPr/>
            <p:nvPr/>
          </p:nvSpPr>
          <p:spPr>
            <a:xfrm>
              <a:off x="20650623" y="9609458"/>
              <a:ext cx="316394" cy="28802"/>
            </a:xfrm>
            <a:custGeom>
              <a:avLst/>
              <a:gdLst>
                <a:gd name="connsiteX0" fmla="*/ 310275 w 316394"/>
                <a:gd name="connsiteY0" fmla="*/ 28803 h 28802"/>
                <a:gd name="connsiteX1" fmla="*/ 310275 w 316394"/>
                <a:gd name="connsiteY1" fmla="*/ 28803 h 28802"/>
                <a:gd name="connsiteX2" fmla="*/ 4326 w 316394"/>
                <a:gd name="connsiteY2" fmla="*/ 10445 h 28802"/>
                <a:gd name="connsiteX3" fmla="*/ 1267 w 316394"/>
                <a:gd name="connsiteY3" fmla="*/ 4327 h 28802"/>
                <a:gd name="connsiteX4" fmla="*/ 7386 w 316394"/>
                <a:gd name="connsiteY4" fmla="*/ 1267 h 28802"/>
                <a:gd name="connsiteX5" fmla="*/ 310275 w 316394"/>
                <a:gd name="connsiteY5" fmla="*/ 19624 h 28802"/>
                <a:gd name="connsiteX6" fmla="*/ 316394 w 316394"/>
                <a:gd name="connsiteY6" fmla="*/ 25743 h 28802"/>
                <a:gd name="connsiteX7" fmla="*/ 310275 w 316394"/>
                <a:gd name="connsiteY7" fmla="*/ 28803 h 2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394" h="28802">
                  <a:moveTo>
                    <a:pt x="310275" y="28803"/>
                  </a:moveTo>
                  <a:cubicBezTo>
                    <a:pt x="310275" y="28803"/>
                    <a:pt x="310275" y="28803"/>
                    <a:pt x="310275" y="28803"/>
                  </a:cubicBezTo>
                  <a:cubicBezTo>
                    <a:pt x="307216" y="28803"/>
                    <a:pt x="99171" y="25743"/>
                    <a:pt x="4326" y="10445"/>
                  </a:cubicBezTo>
                  <a:cubicBezTo>
                    <a:pt x="1267" y="10445"/>
                    <a:pt x="-1792" y="7387"/>
                    <a:pt x="1267" y="4327"/>
                  </a:cubicBezTo>
                  <a:cubicBezTo>
                    <a:pt x="1267" y="1267"/>
                    <a:pt x="4326" y="-1792"/>
                    <a:pt x="7386" y="1267"/>
                  </a:cubicBezTo>
                  <a:cubicBezTo>
                    <a:pt x="102230" y="16565"/>
                    <a:pt x="310275" y="19624"/>
                    <a:pt x="310275" y="19624"/>
                  </a:cubicBezTo>
                  <a:cubicBezTo>
                    <a:pt x="313335" y="19624"/>
                    <a:pt x="316394" y="22684"/>
                    <a:pt x="316394" y="25743"/>
                  </a:cubicBezTo>
                  <a:cubicBezTo>
                    <a:pt x="313335" y="25743"/>
                    <a:pt x="313335" y="28803"/>
                    <a:pt x="310275" y="28803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E5A556FD-44D6-4157-B441-ABB8A7528AFD}"/>
                </a:ext>
              </a:extLst>
            </p:cNvPr>
            <p:cNvSpPr/>
            <p:nvPr/>
          </p:nvSpPr>
          <p:spPr>
            <a:xfrm>
              <a:off x="20311020" y="7964719"/>
              <a:ext cx="304156" cy="495637"/>
            </a:xfrm>
            <a:custGeom>
              <a:avLst/>
              <a:gdLst>
                <a:gd name="connsiteX0" fmla="*/ 178718 w 304156"/>
                <a:gd name="connsiteY0" fmla="*/ 495637 h 495637"/>
                <a:gd name="connsiteX1" fmla="*/ 178718 w 304156"/>
                <a:gd name="connsiteY1" fmla="*/ 495637 h 495637"/>
                <a:gd name="connsiteX2" fmla="*/ 172598 w 304156"/>
                <a:gd name="connsiteY2" fmla="*/ 489518 h 495637"/>
                <a:gd name="connsiteX3" fmla="*/ 169540 w 304156"/>
                <a:gd name="connsiteY3" fmla="*/ 373258 h 495637"/>
                <a:gd name="connsiteX4" fmla="*/ 163420 w 304156"/>
                <a:gd name="connsiteY4" fmla="*/ 275354 h 495637"/>
                <a:gd name="connsiteX5" fmla="*/ 249086 w 304156"/>
                <a:gd name="connsiteY5" fmla="*/ 165213 h 495637"/>
                <a:gd name="connsiteX6" fmla="*/ 288859 w 304156"/>
                <a:gd name="connsiteY6" fmla="*/ 143796 h 495637"/>
                <a:gd name="connsiteX7" fmla="*/ 273561 w 304156"/>
                <a:gd name="connsiteY7" fmla="*/ 122380 h 495637"/>
                <a:gd name="connsiteX8" fmla="*/ 261324 w 304156"/>
                <a:gd name="connsiteY8" fmla="*/ 79547 h 495637"/>
                <a:gd name="connsiteX9" fmla="*/ 261324 w 304156"/>
                <a:gd name="connsiteY9" fmla="*/ 55071 h 495637"/>
                <a:gd name="connsiteX10" fmla="*/ 261324 w 304156"/>
                <a:gd name="connsiteY10" fmla="*/ 9179 h 495637"/>
                <a:gd name="connsiteX11" fmla="*/ 10446 w 304156"/>
                <a:gd name="connsiteY11" fmla="*/ 217224 h 495637"/>
                <a:gd name="connsiteX12" fmla="*/ 4327 w 304156"/>
                <a:gd name="connsiteY12" fmla="*/ 220283 h 495637"/>
                <a:gd name="connsiteX13" fmla="*/ 1268 w 304156"/>
                <a:gd name="connsiteY13" fmla="*/ 214164 h 495637"/>
                <a:gd name="connsiteX14" fmla="*/ 264383 w 304156"/>
                <a:gd name="connsiteY14" fmla="*/ 0 h 495637"/>
                <a:gd name="connsiteX15" fmla="*/ 270503 w 304156"/>
                <a:gd name="connsiteY15" fmla="*/ 3060 h 495637"/>
                <a:gd name="connsiteX16" fmla="*/ 273561 w 304156"/>
                <a:gd name="connsiteY16" fmla="*/ 58131 h 495637"/>
                <a:gd name="connsiteX17" fmla="*/ 273561 w 304156"/>
                <a:gd name="connsiteY17" fmla="*/ 82606 h 495637"/>
                <a:gd name="connsiteX18" fmla="*/ 282739 w 304156"/>
                <a:gd name="connsiteY18" fmla="*/ 122380 h 495637"/>
                <a:gd name="connsiteX19" fmla="*/ 301097 w 304156"/>
                <a:gd name="connsiteY19" fmla="*/ 146856 h 495637"/>
                <a:gd name="connsiteX20" fmla="*/ 304156 w 304156"/>
                <a:gd name="connsiteY20" fmla="*/ 152975 h 495637"/>
                <a:gd name="connsiteX21" fmla="*/ 298037 w 304156"/>
                <a:gd name="connsiteY21" fmla="*/ 156034 h 495637"/>
                <a:gd name="connsiteX22" fmla="*/ 252144 w 304156"/>
                <a:gd name="connsiteY22" fmla="*/ 180510 h 495637"/>
                <a:gd name="connsiteX23" fmla="*/ 172598 w 304156"/>
                <a:gd name="connsiteY23" fmla="*/ 281473 h 495637"/>
                <a:gd name="connsiteX24" fmla="*/ 178718 w 304156"/>
                <a:gd name="connsiteY24" fmla="*/ 376317 h 495637"/>
                <a:gd name="connsiteX25" fmla="*/ 181777 w 304156"/>
                <a:gd name="connsiteY25" fmla="*/ 495637 h 495637"/>
                <a:gd name="connsiteX26" fmla="*/ 178718 w 304156"/>
                <a:gd name="connsiteY26" fmla="*/ 495637 h 49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04156" h="495637">
                  <a:moveTo>
                    <a:pt x="178718" y="495637"/>
                  </a:moveTo>
                  <a:cubicBezTo>
                    <a:pt x="175657" y="495637"/>
                    <a:pt x="175657" y="495637"/>
                    <a:pt x="178718" y="495637"/>
                  </a:cubicBezTo>
                  <a:cubicBezTo>
                    <a:pt x="175657" y="495637"/>
                    <a:pt x="172598" y="492578"/>
                    <a:pt x="172598" y="489518"/>
                  </a:cubicBezTo>
                  <a:cubicBezTo>
                    <a:pt x="184837" y="446686"/>
                    <a:pt x="178718" y="409972"/>
                    <a:pt x="169540" y="373258"/>
                  </a:cubicBezTo>
                  <a:cubicBezTo>
                    <a:pt x="163420" y="342663"/>
                    <a:pt x="157301" y="309009"/>
                    <a:pt x="163420" y="275354"/>
                  </a:cubicBezTo>
                  <a:cubicBezTo>
                    <a:pt x="175657" y="214164"/>
                    <a:pt x="239908" y="171332"/>
                    <a:pt x="249086" y="165213"/>
                  </a:cubicBezTo>
                  <a:cubicBezTo>
                    <a:pt x="267442" y="156034"/>
                    <a:pt x="279681" y="149915"/>
                    <a:pt x="288859" y="143796"/>
                  </a:cubicBezTo>
                  <a:cubicBezTo>
                    <a:pt x="282739" y="137677"/>
                    <a:pt x="276622" y="131558"/>
                    <a:pt x="273561" y="122380"/>
                  </a:cubicBezTo>
                  <a:cubicBezTo>
                    <a:pt x="267442" y="107082"/>
                    <a:pt x="264383" y="91785"/>
                    <a:pt x="261324" y="79547"/>
                  </a:cubicBezTo>
                  <a:cubicBezTo>
                    <a:pt x="261324" y="73428"/>
                    <a:pt x="261324" y="64249"/>
                    <a:pt x="261324" y="55071"/>
                  </a:cubicBezTo>
                  <a:cubicBezTo>
                    <a:pt x="261324" y="42833"/>
                    <a:pt x="264383" y="15297"/>
                    <a:pt x="261324" y="9179"/>
                  </a:cubicBezTo>
                  <a:cubicBezTo>
                    <a:pt x="50219" y="21416"/>
                    <a:pt x="10446" y="214164"/>
                    <a:pt x="10446" y="217224"/>
                  </a:cubicBezTo>
                  <a:cubicBezTo>
                    <a:pt x="10446" y="220283"/>
                    <a:pt x="7385" y="223343"/>
                    <a:pt x="4327" y="220283"/>
                  </a:cubicBezTo>
                  <a:cubicBezTo>
                    <a:pt x="1268" y="220283"/>
                    <a:pt x="-1793" y="217224"/>
                    <a:pt x="1268" y="214164"/>
                  </a:cubicBezTo>
                  <a:cubicBezTo>
                    <a:pt x="1268" y="211105"/>
                    <a:pt x="44100" y="9179"/>
                    <a:pt x="264383" y="0"/>
                  </a:cubicBezTo>
                  <a:cubicBezTo>
                    <a:pt x="267442" y="0"/>
                    <a:pt x="270503" y="0"/>
                    <a:pt x="270503" y="3060"/>
                  </a:cubicBezTo>
                  <a:cubicBezTo>
                    <a:pt x="276622" y="9179"/>
                    <a:pt x="276622" y="30595"/>
                    <a:pt x="273561" y="58131"/>
                  </a:cubicBezTo>
                  <a:cubicBezTo>
                    <a:pt x="273561" y="67309"/>
                    <a:pt x="270503" y="76487"/>
                    <a:pt x="273561" y="82606"/>
                  </a:cubicBezTo>
                  <a:cubicBezTo>
                    <a:pt x="276622" y="97904"/>
                    <a:pt x="276622" y="110142"/>
                    <a:pt x="282739" y="122380"/>
                  </a:cubicBezTo>
                  <a:cubicBezTo>
                    <a:pt x="285800" y="131558"/>
                    <a:pt x="294978" y="137677"/>
                    <a:pt x="301097" y="146856"/>
                  </a:cubicBezTo>
                  <a:lnTo>
                    <a:pt x="304156" y="152975"/>
                  </a:lnTo>
                  <a:lnTo>
                    <a:pt x="298037" y="156034"/>
                  </a:lnTo>
                  <a:cubicBezTo>
                    <a:pt x="298037" y="156034"/>
                    <a:pt x="279681" y="168272"/>
                    <a:pt x="252144" y="180510"/>
                  </a:cubicBezTo>
                  <a:cubicBezTo>
                    <a:pt x="242966" y="183569"/>
                    <a:pt x="181777" y="226403"/>
                    <a:pt x="172598" y="281473"/>
                  </a:cubicBezTo>
                  <a:cubicBezTo>
                    <a:pt x="166479" y="315128"/>
                    <a:pt x="172598" y="345722"/>
                    <a:pt x="178718" y="376317"/>
                  </a:cubicBezTo>
                  <a:cubicBezTo>
                    <a:pt x="187896" y="413031"/>
                    <a:pt x="194015" y="452805"/>
                    <a:pt x="181777" y="495637"/>
                  </a:cubicBezTo>
                  <a:cubicBezTo>
                    <a:pt x="181777" y="492578"/>
                    <a:pt x="178718" y="495637"/>
                    <a:pt x="178718" y="495637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CF901A3C-CA81-482F-B2AA-82DF27FB4728}"/>
                </a:ext>
              </a:extLst>
            </p:cNvPr>
            <p:cNvSpPr/>
            <p:nvPr/>
          </p:nvSpPr>
          <p:spPr>
            <a:xfrm>
              <a:off x="20569284" y="7948462"/>
              <a:ext cx="125440" cy="25435"/>
            </a:xfrm>
            <a:custGeom>
              <a:avLst/>
              <a:gdLst>
                <a:gd name="connsiteX0" fmla="*/ 6119 w 125440"/>
                <a:gd name="connsiteY0" fmla="*/ 25435 h 25435"/>
                <a:gd name="connsiteX1" fmla="*/ 0 w 125440"/>
                <a:gd name="connsiteY1" fmla="*/ 22376 h 25435"/>
                <a:gd name="connsiteX2" fmla="*/ 3061 w 125440"/>
                <a:gd name="connsiteY2" fmla="*/ 13198 h 25435"/>
                <a:gd name="connsiteX3" fmla="*/ 122380 w 125440"/>
                <a:gd name="connsiteY3" fmla="*/ 10138 h 25435"/>
                <a:gd name="connsiteX4" fmla="*/ 125440 w 125440"/>
                <a:gd name="connsiteY4" fmla="*/ 16257 h 25435"/>
                <a:gd name="connsiteX5" fmla="*/ 119321 w 125440"/>
                <a:gd name="connsiteY5" fmla="*/ 19317 h 25435"/>
                <a:gd name="connsiteX6" fmla="*/ 6119 w 125440"/>
                <a:gd name="connsiteY6" fmla="*/ 25435 h 25435"/>
                <a:gd name="connsiteX7" fmla="*/ 6119 w 125440"/>
                <a:gd name="connsiteY7" fmla="*/ 25435 h 25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440" h="25435">
                  <a:moveTo>
                    <a:pt x="6119" y="25435"/>
                  </a:moveTo>
                  <a:cubicBezTo>
                    <a:pt x="3061" y="25435"/>
                    <a:pt x="3061" y="25435"/>
                    <a:pt x="0" y="22376"/>
                  </a:cubicBezTo>
                  <a:cubicBezTo>
                    <a:pt x="0" y="19317"/>
                    <a:pt x="0" y="16257"/>
                    <a:pt x="3061" y="13198"/>
                  </a:cubicBezTo>
                  <a:cubicBezTo>
                    <a:pt x="6119" y="13198"/>
                    <a:pt x="52012" y="-14338"/>
                    <a:pt x="122380" y="10138"/>
                  </a:cubicBezTo>
                  <a:cubicBezTo>
                    <a:pt x="125440" y="10138"/>
                    <a:pt x="125440" y="13198"/>
                    <a:pt x="125440" y="16257"/>
                  </a:cubicBezTo>
                  <a:cubicBezTo>
                    <a:pt x="125440" y="19317"/>
                    <a:pt x="122380" y="19317"/>
                    <a:pt x="119321" y="19317"/>
                  </a:cubicBezTo>
                  <a:cubicBezTo>
                    <a:pt x="52012" y="-2100"/>
                    <a:pt x="9178" y="22376"/>
                    <a:pt x="6119" y="25435"/>
                  </a:cubicBezTo>
                  <a:cubicBezTo>
                    <a:pt x="6119" y="22376"/>
                    <a:pt x="6119" y="25435"/>
                    <a:pt x="6119" y="25435"/>
                  </a:cubicBezTo>
                  <a:close/>
                </a:path>
              </a:pathLst>
            </a:custGeom>
            <a:solidFill>
              <a:srgbClr val="38343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B9CD7CE7-37AB-4B35-8806-5D0254773293}"/>
                </a:ext>
              </a:extLst>
            </p:cNvPr>
            <p:cNvSpPr/>
            <p:nvPr/>
          </p:nvSpPr>
          <p:spPr>
            <a:xfrm>
              <a:off x="19410788" y="8650045"/>
              <a:ext cx="1249244" cy="2620752"/>
            </a:xfrm>
            <a:custGeom>
              <a:avLst/>
              <a:gdLst>
                <a:gd name="connsiteX0" fmla="*/ 1063653 w 1249244"/>
                <a:gd name="connsiteY0" fmla="*/ 0 h 2620752"/>
                <a:gd name="connsiteX1" fmla="*/ 800535 w 1249244"/>
                <a:gd name="connsiteY1" fmla="*/ 119320 h 2620752"/>
                <a:gd name="connsiteX2" fmla="*/ 800535 w 1249244"/>
                <a:gd name="connsiteY2" fmla="*/ 391614 h 2620752"/>
                <a:gd name="connsiteX3" fmla="*/ 800535 w 1249244"/>
                <a:gd name="connsiteY3" fmla="*/ 862776 h 2620752"/>
                <a:gd name="connsiteX4" fmla="*/ 672038 w 1249244"/>
                <a:gd name="connsiteY4" fmla="*/ 1275807 h 2620752"/>
                <a:gd name="connsiteX5" fmla="*/ 249827 w 1249244"/>
                <a:gd name="connsiteY5" fmla="*/ 1823456 h 2620752"/>
                <a:gd name="connsiteX6" fmla="*/ 5068 w 1249244"/>
                <a:gd name="connsiteY6" fmla="*/ 2499603 h 2620752"/>
                <a:gd name="connsiteX7" fmla="*/ 2009 w 1249244"/>
                <a:gd name="connsiteY7" fmla="*/ 2521020 h 2620752"/>
                <a:gd name="connsiteX8" fmla="*/ 29545 w 1249244"/>
                <a:gd name="connsiteY8" fmla="*/ 2524079 h 2620752"/>
                <a:gd name="connsiteX9" fmla="*/ 534361 w 1249244"/>
                <a:gd name="connsiteY9" fmla="*/ 2618924 h 2620752"/>
                <a:gd name="connsiteX10" fmla="*/ 555776 w 1249244"/>
                <a:gd name="connsiteY10" fmla="*/ 2612804 h 2620752"/>
                <a:gd name="connsiteX11" fmla="*/ 794418 w 1249244"/>
                <a:gd name="connsiteY11" fmla="*/ 2095751 h 2620752"/>
                <a:gd name="connsiteX12" fmla="*/ 794418 w 1249244"/>
                <a:gd name="connsiteY12" fmla="*/ 2095751 h 2620752"/>
                <a:gd name="connsiteX13" fmla="*/ 1023880 w 1249244"/>
                <a:gd name="connsiteY13" fmla="*/ 1615410 h 2620752"/>
                <a:gd name="connsiteX14" fmla="*/ 1173794 w 1249244"/>
                <a:gd name="connsiteY14" fmla="*/ 1040227 h 2620752"/>
                <a:gd name="connsiteX15" fmla="*/ 1225805 w 1249244"/>
                <a:gd name="connsiteY15" fmla="*/ 309008 h 2620752"/>
                <a:gd name="connsiteX16" fmla="*/ 1063653 w 1249244"/>
                <a:gd name="connsiteY16" fmla="*/ 0 h 2620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49244" h="2620752">
                  <a:moveTo>
                    <a:pt x="1063653" y="0"/>
                  </a:moveTo>
                  <a:cubicBezTo>
                    <a:pt x="984105" y="9178"/>
                    <a:pt x="852547" y="45892"/>
                    <a:pt x="800535" y="119320"/>
                  </a:cubicBezTo>
                  <a:cubicBezTo>
                    <a:pt x="739346" y="204986"/>
                    <a:pt x="776060" y="299830"/>
                    <a:pt x="800535" y="391614"/>
                  </a:cubicBezTo>
                  <a:cubicBezTo>
                    <a:pt x="843369" y="547649"/>
                    <a:pt x="834191" y="706742"/>
                    <a:pt x="800535" y="862776"/>
                  </a:cubicBezTo>
                  <a:cubicBezTo>
                    <a:pt x="773001" y="1003512"/>
                    <a:pt x="733228" y="1147309"/>
                    <a:pt x="672038" y="1275807"/>
                  </a:cubicBezTo>
                  <a:cubicBezTo>
                    <a:pt x="571074" y="1486912"/>
                    <a:pt x="390565" y="1639887"/>
                    <a:pt x="249827" y="1823456"/>
                  </a:cubicBezTo>
                  <a:cubicBezTo>
                    <a:pt x="96853" y="2025382"/>
                    <a:pt x="44843" y="2254844"/>
                    <a:pt x="5068" y="2499603"/>
                  </a:cubicBezTo>
                  <a:cubicBezTo>
                    <a:pt x="-1050" y="2505722"/>
                    <a:pt x="-1050" y="2514900"/>
                    <a:pt x="2009" y="2521020"/>
                  </a:cubicBezTo>
                  <a:cubicBezTo>
                    <a:pt x="5068" y="2536317"/>
                    <a:pt x="26485" y="2539377"/>
                    <a:pt x="29545" y="2524079"/>
                  </a:cubicBezTo>
                  <a:cubicBezTo>
                    <a:pt x="203935" y="2508782"/>
                    <a:pt x="375267" y="2542437"/>
                    <a:pt x="534361" y="2618924"/>
                  </a:cubicBezTo>
                  <a:cubicBezTo>
                    <a:pt x="540479" y="2621983"/>
                    <a:pt x="552717" y="2621983"/>
                    <a:pt x="555776" y="2612804"/>
                  </a:cubicBezTo>
                  <a:cubicBezTo>
                    <a:pt x="644502" y="2444533"/>
                    <a:pt x="724048" y="2273201"/>
                    <a:pt x="794418" y="2095751"/>
                  </a:cubicBezTo>
                  <a:cubicBezTo>
                    <a:pt x="794418" y="2095751"/>
                    <a:pt x="794418" y="2095751"/>
                    <a:pt x="794418" y="2095751"/>
                  </a:cubicBezTo>
                  <a:cubicBezTo>
                    <a:pt x="877023" y="1939717"/>
                    <a:pt x="959629" y="1780623"/>
                    <a:pt x="1023880" y="1615410"/>
                  </a:cubicBezTo>
                  <a:cubicBezTo>
                    <a:pt x="1094248" y="1428781"/>
                    <a:pt x="1140140" y="1236034"/>
                    <a:pt x="1173794" y="1040227"/>
                  </a:cubicBezTo>
                  <a:cubicBezTo>
                    <a:pt x="1213567" y="798527"/>
                    <a:pt x="1286995" y="547649"/>
                    <a:pt x="1225805" y="309008"/>
                  </a:cubicBezTo>
                  <a:cubicBezTo>
                    <a:pt x="1207449" y="204986"/>
                    <a:pt x="1075889" y="0"/>
                    <a:pt x="1063653" y="0"/>
                  </a:cubicBezTo>
                  <a:close/>
                </a:path>
              </a:pathLst>
            </a:custGeom>
            <a:solidFill>
              <a:srgbClr val="F1DDB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4A7C4E85-7D61-4703-816B-EDB80C900B0A}"/>
                </a:ext>
              </a:extLst>
            </p:cNvPr>
            <p:cNvSpPr/>
            <p:nvPr/>
          </p:nvSpPr>
          <p:spPr>
            <a:xfrm>
              <a:off x="19765403" y="9473048"/>
              <a:ext cx="549943" cy="948441"/>
            </a:xfrm>
            <a:custGeom>
              <a:avLst/>
              <a:gdLst>
                <a:gd name="connsiteX0" fmla="*/ 5355 w 549943"/>
                <a:gd name="connsiteY0" fmla="*/ 945382 h 948441"/>
                <a:gd name="connsiteX1" fmla="*/ 2294 w 549943"/>
                <a:gd name="connsiteY1" fmla="*/ 945382 h 948441"/>
                <a:gd name="connsiteX2" fmla="*/ 2294 w 549943"/>
                <a:gd name="connsiteY2" fmla="*/ 936204 h 948441"/>
                <a:gd name="connsiteX3" fmla="*/ 335779 w 549943"/>
                <a:gd name="connsiteY3" fmla="*/ 413031 h 948441"/>
                <a:gd name="connsiteX4" fmla="*/ 537705 w 549943"/>
                <a:gd name="connsiteY4" fmla="*/ 3060 h 948441"/>
                <a:gd name="connsiteX5" fmla="*/ 546885 w 549943"/>
                <a:gd name="connsiteY5" fmla="*/ 0 h 948441"/>
                <a:gd name="connsiteX6" fmla="*/ 549944 w 549943"/>
                <a:gd name="connsiteY6" fmla="*/ 9179 h 948441"/>
                <a:gd name="connsiteX7" fmla="*/ 348018 w 549943"/>
                <a:gd name="connsiteY7" fmla="*/ 422209 h 948441"/>
                <a:gd name="connsiteX8" fmla="*/ 14533 w 549943"/>
                <a:gd name="connsiteY8" fmla="*/ 948442 h 948441"/>
                <a:gd name="connsiteX9" fmla="*/ 5355 w 549943"/>
                <a:gd name="connsiteY9" fmla="*/ 945382 h 94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9943" h="948441">
                  <a:moveTo>
                    <a:pt x="5355" y="945382"/>
                  </a:moveTo>
                  <a:cubicBezTo>
                    <a:pt x="5355" y="945382"/>
                    <a:pt x="2294" y="945382"/>
                    <a:pt x="2294" y="945382"/>
                  </a:cubicBezTo>
                  <a:cubicBezTo>
                    <a:pt x="-765" y="942323"/>
                    <a:pt x="-765" y="939264"/>
                    <a:pt x="2294" y="936204"/>
                  </a:cubicBezTo>
                  <a:cubicBezTo>
                    <a:pt x="97139" y="819943"/>
                    <a:pt x="332720" y="416091"/>
                    <a:pt x="335779" y="413031"/>
                  </a:cubicBezTo>
                  <a:lnTo>
                    <a:pt x="537705" y="3060"/>
                  </a:lnTo>
                  <a:cubicBezTo>
                    <a:pt x="537705" y="0"/>
                    <a:pt x="543824" y="0"/>
                    <a:pt x="546885" y="0"/>
                  </a:cubicBezTo>
                  <a:cubicBezTo>
                    <a:pt x="549944" y="0"/>
                    <a:pt x="549944" y="6119"/>
                    <a:pt x="549944" y="9179"/>
                  </a:cubicBezTo>
                  <a:lnTo>
                    <a:pt x="348018" y="422209"/>
                  </a:lnTo>
                  <a:cubicBezTo>
                    <a:pt x="344957" y="425269"/>
                    <a:pt x="109376" y="832182"/>
                    <a:pt x="14533" y="948442"/>
                  </a:cubicBezTo>
                  <a:cubicBezTo>
                    <a:pt x="8413" y="945382"/>
                    <a:pt x="5355" y="945382"/>
                    <a:pt x="5355" y="945382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C35F30D2-35E3-4AAC-A5F3-8059F5C3FE09}"/>
                </a:ext>
              </a:extLst>
            </p:cNvPr>
            <p:cNvSpPr/>
            <p:nvPr/>
          </p:nvSpPr>
          <p:spPr>
            <a:xfrm>
              <a:off x="20752853" y="8659223"/>
              <a:ext cx="345985" cy="1461786"/>
            </a:xfrm>
            <a:custGeom>
              <a:avLst/>
              <a:gdLst>
                <a:gd name="connsiteX0" fmla="*/ 305949 w 345985"/>
                <a:gd name="connsiteY0" fmla="*/ 957621 h 1461786"/>
                <a:gd name="connsiteX1" fmla="*/ 302890 w 345985"/>
                <a:gd name="connsiteY1" fmla="*/ 725100 h 1461786"/>
                <a:gd name="connsiteX2" fmla="*/ 333485 w 345985"/>
                <a:gd name="connsiteY2" fmla="*/ 492578 h 1461786"/>
                <a:gd name="connsiteX3" fmla="*/ 0 w 345985"/>
                <a:gd name="connsiteY3" fmla="*/ 0 h 1461786"/>
                <a:gd name="connsiteX4" fmla="*/ 24476 w 345985"/>
                <a:gd name="connsiteY4" fmla="*/ 18357 h 1461786"/>
                <a:gd name="connsiteX5" fmla="*/ 195808 w 345985"/>
                <a:gd name="connsiteY5" fmla="*/ 737337 h 1461786"/>
                <a:gd name="connsiteX6" fmla="*/ 214164 w 345985"/>
                <a:gd name="connsiteY6" fmla="*/ 1083059 h 1461786"/>
                <a:gd name="connsiteX7" fmla="*/ 315127 w 345985"/>
                <a:gd name="connsiteY7" fmla="*/ 1447139 h 1461786"/>
                <a:gd name="connsiteX8" fmla="*/ 318188 w 345985"/>
                <a:gd name="connsiteY8" fmla="*/ 1453258 h 1461786"/>
                <a:gd name="connsiteX9" fmla="*/ 345722 w 345985"/>
                <a:gd name="connsiteY9" fmla="*/ 1447139 h 1461786"/>
                <a:gd name="connsiteX10" fmla="*/ 305949 w 345985"/>
                <a:gd name="connsiteY10" fmla="*/ 957621 h 1461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5985" h="1461786">
                  <a:moveTo>
                    <a:pt x="305949" y="957621"/>
                  </a:moveTo>
                  <a:cubicBezTo>
                    <a:pt x="302890" y="881133"/>
                    <a:pt x="299830" y="801587"/>
                    <a:pt x="302890" y="725100"/>
                  </a:cubicBezTo>
                  <a:cubicBezTo>
                    <a:pt x="305949" y="645553"/>
                    <a:pt x="324307" y="569065"/>
                    <a:pt x="333485" y="492578"/>
                  </a:cubicBezTo>
                  <a:cubicBezTo>
                    <a:pt x="357961" y="281473"/>
                    <a:pt x="256998" y="6119"/>
                    <a:pt x="0" y="0"/>
                  </a:cubicBezTo>
                  <a:cubicBezTo>
                    <a:pt x="12239" y="15297"/>
                    <a:pt x="21417" y="15297"/>
                    <a:pt x="24476" y="18357"/>
                  </a:cubicBezTo>
                  <a:cubicBezTo>
                    <a:pt x="183569" y="229462"/>
                    <a:pt x="220284" y="480340"/>
                    <a:pt x="195808" y="737337"/>
                  </a:cubicBezTo>
                  <a:cubicBezTo>
                    <a:pt x="183569" y="856657"/>
                    <a:pt x="174391" y="969859"/>
                    <a:pt x="214164" y="1083059"/>
                  </a:cubicBezTo>
                  <a:cubicBezTo>
                    <a:pt x="256998" y="1205439"/>
                    <a:pt x="296771" y="1318640"/>
                    <a:pt x="315127" y="1447139"/>
                  </a:cubicBezTo>
                  <a:cubicBezTo>
                    <a:pt x="315127" y="1450198"/>
                    <a:pt x="318188" y="1453258"/>
                    <a:pt x="318188" y="1453258"/>
                  </a:cubicBezTo>
                  <a:cubicBezTo>
                    <a:pt x="324307" y="1465496"/>
                    <a:pt x="348783" y="1465496"/>
                    <a:pt x="345722" y="1447139"/>
                  </a:cubicBezTo>
                  <a:cubicBezTo>
                    <a:pt x="324307" y="1284986"/>
                    <a:pt x="309010" y="1119774"/>
                    <a:pt x="305949" y="957621"/>
                  </a:cubicBezTo>
                  <a:close/>
                </a:path>
              </a:pathLst>
            </a:custGeom>
            <a:solidFill>
              <a:srgbClr val="F1DDB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E9F00B00-16AE-453C-A386-8F002EE4CD70}"/>
                </a:ext>
              </a:extLst>
            </p:cNvPr>
            <p:cNvSpPr/>
            <p:nvPr/>
          </p:nvSpPr>
          <p:spPr>
            <a:xfrm>
              <a:off x="19930340" y="9980924"/>
              <a:ext cx="70858" cy="190686"/>
            </a:xfrm>
            <a:custGeom>
              <a:avLst/>
              <a:gdLst>
                <a:gd name="connsiteX0" fmla="*/ 11748 w 70858"/>
                <a:gd name="connsiteY0" fmla="*/ 0 h 190686"/>
                <a:gd name="connsiteX1" fmla="*/ 69879 w 70858"/>
                <a:gd name="connsiteY1" fmla="*/ 110142 h 190686"/>
                <a:gd name="connsiteX2" fmla="*/ 57640 w 70858"/>
                <a:gd name="connsiteY2" fmla="*/ 189688 h 190686"/>
                <a:gd name="connsiteX3" fmla="*/ 2570 w 70858"/>
                <a:gd name="connsiteY3" fmla="*/ 82606 h 190686"/>
                <a:gd name="connsiteX4" fmla="*/ 11748 w 70858"/>
                <a:gd name="connsiteY4" fmla="*/ 0 h 19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858" h="190686">
                  <a:moveTo>
                    <a:pt x="11748" y="0"/>
                  </a:moveTo>
                  <a:cubicBezTo>
                    <a:pt x="11748" y="0"/>
                    <a:pt x="69879" y="79547"/>
                    <a:pt x="69879" y="110142"/>
                  </a:cubicBezTo>
                  <a:cubicBezTo>
                    <a:pt x="69879" y="140737"/>
                    <a:pt x="75998" y="183569"/>
                    <a:pt x="57640" y="189688"/>
                  </a:cubicBezTo>
                  <a:cubicBezTo>
                    <a:pt x="17867" y="201927"/>
                    <a:pt x="36224" y="97903"/>
                    <a:pt x="2570" y="82606"/>
                  </a:cubicBezTo>
                  <a:cubicBezTo>
                    <a:pt x="-6608" y="79547"/>
                    <a:pt x="11748" y="0"/>
                    <a:pt x="11748" y="0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4" name="图形 892">
              <a:extLst>
                <a:ext uri="{FF2B5EF4-FFF2-40B4-BE49-F238E27FC236}">
                  <a16:creationId xmlns:a16="http://schemas.microsoft.com/office/drawing/2014/main" id="{6867F660-45FF-47E2-91C8-64F91B629A54}"/>
                </a:ext>
              </a:extLst>
            </p:cNvPr>
            <p:cNvGrpSpPr/>
            <p:nvPr/>
          </p:nvGrpSpPr>
          <p:grpSpPr>
            <a:xfrm>
              <a:off x="19308515" y="10088006"/>
              <a:ext cx="1135588" cy="829121"/>
              <a:chOff x="19308515" y="10088006"/>
              <a:chExt cx="1135588" cy="829121"/>
            </a:xfrm>
          </p:grpSpPr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4DBA6373-CD4B-4BAF-9300-B2D45AD8139A}"/>
                  </a:ext>
                </a:extLst>
              </p:cNvPr>
              <p:cNvSpPr/>
              <p:nvPr/>
            </p:nvSpPr>
            <p:spPr>
              <a:xfrm>
                <a:off x="19663676" y="10088006"/>
                <a:ext cx="434447" cy="281472"/>
              </a:xfrm>
              <a:custGeom>
                <a:avLst/>
                <a:gdLst>
                  <a:gd name="connsiteX0" fmla="*/ 388556 w 434447"/>
                  <a:gd name="connsiteY0" fmla="*/ 0 h 281472"/>
                  <a:gd name="connsiteX1" fmla="*/ 58129 w 434447"/>
                  <a:gd name="connsiteY1" fmla="*/ 0 h 281472"/>
                  <a:gd name="connsiteX2" fmla="*/ 15297 w 434447"/>
                  <a:gd name="connsiteY2" fmla="*/ 39773 h 281472"/>
                  <a:gd name="connsiteX3" fmla="*/ 0 w 434447"/>
                  <a:gd name="connsiteY3" fmla="*/ 281473 h 281472"/>
                  <a:gd name="connsiteX4" fmla="*/ 419151 w 434447"/>
                  <a:gd name="connsiteY4" fmla="*/ 281473 h 281472"/>
                  <a:gd name="connsiteX5" fmla="*/ 434448 w 434447"/>
                  <a:gd name="connsiteY5" fmla="*/ 45892 h 281472"/>
                  <a:gd name="connsiteX6" fmla="*/ 388556 w 434447"/>
                  <a:gd name="connsiteY6" fmla="*/ 0 h 281472"/>
                  <a:gd name="connsiteX7" fmla="*/ 373258 w 434447"/>
                  <a:gd name="connsiteY7" fmla="*/ 272294 h 281472"/>
                  <a:gd name="connsiteX8" fmla="*/ 39773 w 434447"/>
                  <a:gd name="connsiteY8" fmla="*/ 272294 h 281472"/>
                  <a:gd name="connsiteX9" fmla="*/ 52012 w 434447"/>
                  <a:gd name="connsiteY9" fmla="*/ 79547 h 281472"/>
                  <a:gd name="connsiteX10" fmla="*/ 85665 w 434447"/>
                  <a:gd name="connsiteY10" fmla="*/ 45892 h 281472"/>
                  <a:gd name="connsiteX11" fmla="*/ 348781 w 434447"/>
                  <a:gd name="connsiteY11" fmla="*/ 45892 h 281472"/>
                  <a:gd name="connsiteX12" fmla="*/ 382436 w 434447"/>
                  <a:gd name="connsiteY12" fmla="*/ 82606 h 281472"/>
                  <a:gd name="connsiteX13" fmla="*/ 373258 w 434447"/>
                  <a:gd name="connsiteY13" fmla="*/ 272294 h 281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4447" h="281472">
                    <a:moveTo>
                      <a:pt x="388556" y="0"/>
                    </a:moveTo>
                    <a:lnTo>
                      <a:pt x="58129" y="0"/>
                    </a:lnTo>
                    <a:cubicBezTo>
                      <a:pt x="33654" y="0"/>
                      <a:pt x="15297" y="18357"/>
                      <a:pt x="15297" y="39773"/>
                    </a:cubicBezTo>
                    <a:lnTo>
                      <a:pt x="0" y="281473"/>
                    </a:lnTo>
                    <a:lnTo>
                      <a:pt x="419151" y="281473"/>
                    </a:lnTo>
                    <a:lnTo>
                      <a:pt x="434448" y="45892"/>
                    </a:lnTo>
                    <a:cubicBezTo>
                      <a:pt x="434448" y="21416"/>
                      <a:pt x="413031" y="0"/>
                      <a:pt x="388556" y="0"/>
                    </a:cubicBezTo>
                    <a:close/>
                    <a:moveTo>
                      <a:pt x="373258" y="272294"/>
                    </a:moveTo>
                    <a:lnTo>
                      <a:pt x="39773" y="272294"/>
                    </a:lnTo>
                    <a:lnTo>
                      <a:pt x="52012" y="79547"/>
                    </a:lnTo>
                    <a:cubicBezTo>
                      <a:pt x="52012" y="61190"/>
                      <a:pt x="67309" y="45892"/>
                      <a:pt x="85665" y="45892"/>
                    </a:cubicBezTo>
                    <a:lnTo>
                      <a:pt x="348781" y="45892"/>
                    </a:lnTo>
                    <a:cubicBezTo>
                      <a:pt x="370198" y="45892"/>
                      <a:pt x="385495" y="64249"/>
                      <a:pt x="382436" y="82606"/>
                    </a:cubicBezTo>
                    <a:lnTo>
                      <a:pt x="373258" y="272294"/>
                    </a:lnTo>
                    <a:close/>
                  </a:path>
                </a:pathLst>
              </a:custGeom>
              <a:solidFill>
                <a:srgbClr val="38333D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30A8B992-ECDE-4CCF-828A-85DEE9752DC1}"/>
                  </a:ext>
                </a:extLst>
              </p:cNvPr>
              <p:cNvSpPr/>
              <p:nvPr/>
            </p:nvSpPr>
            <p:spPr>
              <a:xfrm>
                <a:off x="19391122" y="10207326"/>
                <a:ext cx="1052981" cy="709802"/>
              </a:xfrm>
              <a:custGeom>
                <a:avLst/>
                <a:gdLst>
                  <a:gd name="connsiteX0" fmla="*/ 960939 w 1052981"/>
                  <a:gd name="connsiteY0" fmla="*/ 709802 h 709802"/>
                  <a:gd name="connsiteX1" fmla="*/ 55329 w 1052981"/>
                  <a:gd name="connsiteY1" fmla="*/ 709802 h 709802"/>
                  <a:gd name="connsiteX2" fmla="*/ 258 w 1052981"/>
                  <a:gd name="connsiteY2" fmla="*/ 651671 h 709802"/>
                  <a:gd name="connsiteX3" fmla="*/ 36972 w 1052981"/>
                  <a:gd name="connsiteY3" fmla="*/ 52012 h 709802"/>
                  <a:gd name="connsiteX4" fmla="*/ 92043 w 1052981"/>
                  <a:gd name="connsiteY4" fmla="*/ 0 h 709802"/>
                  <a:gd name="connsiteX5" fmla="*/ 997653 w 1052981"/>
                  <a:gd name="connsiteY5" fmla="*/ 0 h 709802"/>
                  <a:gd name="connsiteX6" fmla="*/ 1052723 w 1052981"/>
                  <a:gd name="connsiteY6" fmla="*/ 58130 h 709802"/>
                  <a:gd name="connsiteX7" fmla="*/ 1016009 w 1052981"/>
                  <a:gd name="connsiteY7" fmla="*/ 657790 h 709802"/>
                  <a:gd name="connsiteX8" fmla="*/ 960939 w 1052981"/>
                  <a:gd name="connsiteY8" fmla="*/ 709802 h 709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2981" h="709802">
                    <a:moveTo>
                      <a:pt x="960939" y="709802"/>
                    </a:moveTo>
                    <a:lnTo>
                      <a:pt x="55329" y="709802"/>
                    </a:lnTo>
                    <a:cubicBezTo>
                      <a:pt x="21675" y="709802"/>
                      <a:pt x="-2801" y="682266"/>
                      <a:pt x="258" y="651671"/>
                    </a:cubicBezTo>
                    <a:lnTo>
                      <a:pt x="36972" y="52012"/>
                    </a:lnTo>
                    <a:cubicBezTo>
                      <a:pt x="40031" y="21417"/>
                      <a:pt x="64508" y="0"/>
                      <a:pt x="92043" y="0"/>
                    </a:cubicBezTo>
                    <a:lnTo>
                      <a:pt x="997653" y="0"/>
                    </a:lnTo>
                    <a:cubicBezTo>
                      <a:pt x="1031307" y="0"/>
                      <a:pt x="1055782" y="27535"/>
                      <a:pt x="1052723" y="58130"/>
                    </a:cubicBezTo>
                    <a:lnTo>
                      <a:pt x="1016009" y="657790"/>
                    </a:lnTo>
                    <a:cubicBezTo>
                      <a:pt x="1012950" y="685326"/>
                      <a:pt x="988473" y="709802"/>
                      <a:pt x="960939" y="709802"/>
                    </a:cubicBezTo>
                    <a:close/>
                  </a:path>
                </a:pathLst>
              </a:custGeom>
              <a:solidFill>
                <a:srgbClr val="6A83A8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5AC164C7-9710-4AA7-8B19-D9F5CE0D79E0}"/>
                  </a:ext>
                </a:extLst>
              </p:cNvPr>
              <p:cNvSpPr/>
              <p:nvPr/>
            </p:nvSpPr>
            <p:spPr>
              <a:xfrm>
                <a:off x="19308515" y="10207326"/>
                <a:ext cx="1052981" cy="709802"/>
              </a:xfrm>
              <a:custGeom>
                <a:avLst/>
                <a:gdLst>
                  <a:gd name="connsiteX0" fmla="*/ 960939 w 1052981"/>
                  <a:gd name="connsiteY0" fmla="*/ 709802 h 709802"/>
                  <a:gd name="connsiteX1" fmla="*/ 55330 w 1052981"/>
                  <a:gd name="connsiteY1" fmla="*/ 709802 h 709802"/>
                  <a:gd name="connsiteX2" fmla="*/ 258 w 1052981"/>
                  <a:gd name="connsiteY2" fmla="*/ 651671 h 709802"/>
                  <a:gd name="connsiteX3" fmla="*/ 36972 w 1052981"/>
                  <a:gd name="connsiteY3" fmla="*/ 52012 h 709802"/>
                  <a:gd name="connsiteX4" fmla="*/ 92043 w 1052981"/>
                  <a:gd name="connsiteY4" fmla="*/ 0 h 709802"/>
                  <a:gd name="connsiteX5" fmla="*/ 997653 w 1052981"/>
                  <a:gd name="connsiteY5" fmla="*/ 0 h 709802"/>
                  <a:gd name="connsiteX6" fmla="*/ 1052723 w 1052981"/>
                  <a:gd name="connsiteY6" fmla="*/ 58130 h 709802"/>
                  <a:gd name="connsiteX7" fmla="*/ 1016009 w 1052981"/>
                  <a:gd name="connsiteY7" fmla="*/ 657790 h 709802"/>
                  <a:gd name="connsiteX8" fmla="*/ 960939 w 1052981"/>
                  <a:gd name="connsiteY8" fmla="*/ 709802 h 709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2981" h="709802">
                    <a:moveTo>
                      <a:pt x="960939" y="709802"/>
                    </a:moveTo>
                    <a:lnTo>
                      <a:pt x="55330" y="709802"/>
                    </a:lnTo>
                    <a:cubicBezTo>
                      <a:pt x="21675" y="709802"/>
                      <a:pt x="-2801" y="682266"/>
                      <a:pt x="258" y="651671"/>
                    </a:cubicBezTo>
                    <a:lnTo>
                      <a:pt x="36972" y="52012"/>
                    </a:lnTo>
                    <a:cubicBezTo>
                      <a:pt x="40033" y="21417"/>
                      <a:pt x="64508" y="0"/>
                      <a:pt x="92043" y="0"/>
                    </a:cubicBezTo>
                    <a:lnTo>
                      <a:pt x="997653" y="0"/>
                    </a:lnTo>
                    <a:cubicBezTo>
                      <a:pt x="1031307" y="0"/>
                      <a:pt x="1055782" y="27535"/>
                      <a:pt x="1052723" y="58130"/>
                    </a:cubicBezTo>
                    <a:lnTo>
                      <a:pt x="1016009" y="657790"/>
                    </a:lnTo>
                    <a:cubicBezTo>
                      <a:pt x="1012950" y="685326"/>
                      <a:pt x="991534" y="709802"/>
                      <a:pt x="960939" y="709802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65A73848-C550-4355-8DA1-6EE11E755758}"/>
                  </a:ext>
                </a:extLst>
              </p:cNvPr>
              <p:cNvSpPr/>
              <p:nvPr/>
            </p:nvSpPr>
            <p:spPr>
              <a:xfrm>
                <a:off x="19321012" y="10507155"/>
                <a:ext cx="1031048" cy="12238"/>
              </a:xfrm>
              <a:custGeom>
                <a:avLst/>
                <a:gdLst>
                  <a:gd name="connsiteX0" fmla="*/ 1024929 w 1031048"/>
                  <a:gd name="connsiteY0" fmla="*/ 12239 h 12238"/>
                  <a:gd name="connsiteX1" fmla="*/ 6119 w 1031048"/>
                  <a:gd name="connsiteY1" fmla="*/ 12239 h 12238"/>
                  <a:gd name="connsiteX2" fmla="*/ 0 w 1031048"/>
                  <a:gd name="connsiteY2" fmla="*/ 6119 h 12238"/>
                  <a:gd name="connsiteX3" fmla="*/ 6119 w 1031048"/>
                  <a:gd name="connsiteY3" fmla="*/ 0 h 12238"/>
                  <a:gd name="connsiteX4" fmla="*/ 1024929 w 1031048"/>
                  <a:gd name="connsiteY4" fmla="*/ 0 h 12238"/>
                  <a:gd name="connsiteX5" fmla="*/ 1031049 w 1031048"/>
                  <a:gd name="connsiteY5" fmla="*/ 6119 h 12238"/>
                  <a:gd name="connsiteX6" fmla="*/ 1024929 w 1031048"/>
                  <a:gd name="connsiteY6" fmla="*/ 12239 h 12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1048" h="12238">
                    <a:moveTo>
                      <a:pt x="1024929" y="12239"/>
                    </a:moveTo>
                    <a:lnTo>
                      <a:pt x="6119" y="12239"/>
                    </a:lnTo>
                    <a:cubicBezTo>
                      <a:pt x="3059" y="12239"/>
                      <a:pt x="0" y="9179"/>
                      <a:pt x="0" y="6119"/>
                    </a:cubicBezTo>
                    <a:cubicBezTo>
                      <a:pt x="0" y="3060"/>
                      <a:pt x="3059" y="0"/>
                      <a:pt x="6119" y="0"/>
                    </a:cubicBezTo>
                    <a:lnTo>
                      <a:pt x="1024929" y="0"/>
                    </a:lnTo>
                    <a:cubicBezTo>
                      <a:pt x="1027988" y="0"/>
                      <a:pt x="1031049" y="3060"/>
                      <a:pt x="1031049" y="6119"/>
                    </a:cubicBezTo>
                    <a:cubicBezTo>
                      <a:pt x="1031049" y="12239"/>
                      <a:pt x="1027988" y="12239"/>
                      <a:pt x="1024929" y="1223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60A8409C-3448-41E4-B0D8-1F6D9CE2076E}"/>
                  </a:ext>
                </a:extLst>
              </p:cNvPr>
              <p:cNvSpPr/>
              <p:nvPr/>
            </p:nvSpPr>
            <p:spPr>
              <a:xfrm>
                <a:off x="20324525" y="10311348"/>
                <a:ext cx="42833" cy="471161"/>
              </a:xfrm>
              <a:custGeom>
                <a:avLst/>
                <a:gdLst>
                  <a:gd name="connsiteX0" fmla="*/ 6119 w 42833"/>
                  <a:gd name="connsiteY0" fmla="*/ 471161 h 471161"/>
                  <a:gd name="connsiteX1" fmla="*/ 6119 w 42833"/>
                  <a:gd name="connsiteY1" fmla="*/ 471161 h 471161"/>
                  <a:gd name="connsiteX2" fmla="*/ 0 w 42833"/>
                  <a:gd name="connsiteY2" fmla="*/ 465043 h 471161"/>
                  <a:gd name="connsiteX3" fmla="*/ 30595 w 42833"/>
                  <a:gd name="connsiteY3" fmla="*/ 6119 h 471161"/>
                  <a:gd name="connsiteX4" fmla="*/ 36714 w 42833"/>
                  <a:gd name="connsiteY4" fmla="*/ 0 h 471161"/>
                  <a:gd name="connsiteX5" fmla="*/ 42834 w 42833"/>
                  <a:gd name="connsiteY5" fmla="*/ 6119 h 471161"/>
                  <a:gd name="connsiteX6" fmla="*/ 12239 w 42833"/>
                  <a:gd name="connsiteY6" fmla="*/ 465043 h 471161"/>
                  <a:gd name="connsiteX7" fmla="*/ 6119 w 42833"/>
                  <a:gd name="connsiteY7" fmla="*/ 471161 h 471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833" h="471161">
                    <a:moveTo>
                      <a:pt x="6119" y="471161"/>
                    </a:moveTo>
                    <a:cubicBezTo>
                      <a:pt x="6119" y="471161"/>
                      <a:pt x="6119" y="471161"/>
                      <a:pt x="6119" y="471161"/>
                    </a:cubicBezTo>
                    <a:cubicBezTo>
                      <a:pt x="3061" y="471161"/>
                      <a:pt x="0" y="468103"/>
                      <a:pt x="0" y="465043"/>
                    </a:cubicBezTo>
                    <a:lnTo>
                      <a:pt x="30595" y="6119"/>
                    </a:lnTo>
                    <a:cubicBezTo>
                      <a:pt x="30595" y="3060"/>
                      <a:pt x="33656" y="0"/>
                      <a:pt x="36714" y="0"/>
                    </a:cubicBezTo>
                    <a:cubicBezTo>
                      <a:pt x="39773" y="0"/>
                      <a:pt x="42834" y="3060"/>
                      <a:pt x="42834" y="6119"/>
                    </a:cubicBezTo>
                    <a:lnTo>
                      <a:pt x="12239" y="465043"/>
                    </a:lnTo>
                    <a:cubicBezTo>
                      <a:pt x="12239" y="471161"/>
                      <a:pt x="9178" y="471161"/>
                      <a:pt x="6119" y="47116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FD08BA77-D900-4840-A348-1DF53EE23104}"/>
                  </a:ext>
                </a:extLst>
              </p:cNvPr>
              <p:cNvSpPr/>
              <p:nvPr/>
            </p:nvSpPr>
            <p:spPr>
              <a:xfrm>
                <a:off x="19489284" y="10464323"/>
                <a:ext cx="97904" cy="97904"/>
              </a:xfrm>
              <a:custGeom>
                <a:avLst/>
                <a:gdLst>
                  <a:gd name="connsiteX0" fmla="*/ 97904 w 97904"/>
                  <a:gd name="connsiteY0" fmla="*/ 48952 h 97904"/>
                  <a:gd name="connsiteX1" fmla="*/ 48951 w 97904"/>
                  <a:gd name="connsiteY1" fmla="*/ 97904 h 97904"/>
                  <a:gd name="connsiteX2" fmla="*/ 0 w 97904"/>
                  <a:gd name="connsiteY2" fmla="*/ 48952 h 97904"/>
                  <a:gd name="connsiteX3" fmla="*/ 48951 w 97904"/>
                  <a:gd name="connsiteY3" fmla="*/ 0 h 97904"/>
                  <a:gd name="connsiteX4" fmla="*/ 97904 w 97904"/>
                  <a:gd name="connsiteY4" fmla="*/ 48952 h 97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4" h="97904">
                    <a:moveTo>
                      <a:pt x="97904" y="48952"/>
                    </a:moveTo>
                    <a:cubicBezTo>
                      <a:pt x="97904" y="76487"/>
                      <a:pt x="76487" y="97904"/>
                      <a:pt x="48951" y="97904"/>
                    </a:cubicBezTo>
                    <a:cubicBezTo>
                      <a:pt x="21417" y="97904"/>
                      <a:pt x="0" y="76487"/>
                      <a:pt x="0" y="48952"/>
                    </a:cubicBezTo>
                    <a:cubicBezTo>
                      <a:pt x="0" y="21417"/>
                      <a:pt x="21417" y="0"/>
                      <a:pt x="48951" y="0"/>
                    </a:cubicBezTo>
                    <a:cubicBezTo>
                      <a:pt x="76487" y="0"/>
                      <a:pt x="97904" y="21417"/>
                      <a:pt x="97904" y="48952"/>
                    </a:cubicBezTo>
                    <a:close/>
                  </a:path>
                </a:pathLst>
              </a:custGeom>
              <a:solidFill>
                <a:srgbClr val="F1DDB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C82E4AE1-4C55-4111-A7FC-9ECB26F376B9}"/>
                  </a:ext>
                </a:extLst>
              </p:cNvPr>
              <p:cNvSpPr/>
              <p:nvPr/>
            </p:nvSpPr>
            <p:spPr>
              <a:xfrm>
                <a:off x="20046112" y="10464323"/>
                <a:ext cx="97904" cy="97904"/>
              </a:xfrm>
              <a:custGeom>
                <a:avLst/>
                <a:gdLst>
                  <a:gd name="connsiteX0" fmla="*/ 97904 w 97904"/>
                  <a:gd name="connsiteY0" fmla="*/ 48952 h 97904"/>
                  <a:gd name="connsiteX1" fmla="*/ 48951 w 97904"/>
                  <a:gd name="connsiteY1" fmla="*/ 97904 h 97904"/>
                  <a:gd name="connsiteX2" fmla="*/ 0 w 97904"/>
                  <a:gd name="connsiteY2" fmla="*/ 48952 h 97904"/>
                  <a:gd name="connsiteX3" fmla="*/ 48951 w 97904"/>
                  <a:gd name="connsiteY3" fmla="*/ 0 h 97904"/>
                  <a:gd name="connsiteX4" fmla="*/ 97904 w 97904"/>
                  <a:gd name="connsiteY4" fmla="*/ 48952 h 97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904" h="97904">
                    <a:moveTo>
                      <a:pt x="97904" y="48952"/>
                    </a:moveTo>
                    <a:cubicBezTo>
                      <a:pt x="97904" y="76487"/>
                      <a:pt x="76487" y="97904"/>
                      <a:pt x="48951" y="97904"/>
                    </a:cubicBezTo>
                    <a:cubicBezTo>
                      <a:pt x="21417" y="97904"/>
                      <a:pt x="0" y="76487"/>
                      <a:pt x="0" y="48952"/>
                    </a:cubicBezTo>
                    <a:cubicBezTo>
                      <a:pt x="0" y="21417"/>
                      <a:pt x="21417" y="0"/>
                      <a:pt x="48951" y="0"/>
                    </a:cubicBezTo>
                    <a:cubicBezTo>
                      <a:pt x="76487" y="0"/>
                      <a:pt x="97904" y="21417"/>
                      <a:pt x="97904" y="48952"/>
                    </a:cubicBezTo>
                    <a:close/>
                  </a:path>
                </a:pathLst>
              </a:custGeom>
              <a:solidFill>
                <a:srgbClr val="F1DDBB"/>
              </a:solidFill>
              <a:ln w="305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9B14D3C2-2DF4-4C2A-B1B9-E3240609E33B}"/>
                </a:ext>
              </a:extLst>
            </p:cNvPr>
            <p:cNvSpPr/>
            <p:nvPr/>
          </p:nvSpPr>
          <p:spPr>
            <a:xfrm>
              <a:off x="19755460" y="9883582"/>
              <a:ext cx="208412" cy="297807"/>
            </a:xfrm>
            <a:custGeom>
              <a:avLst/>
              <a:gdLst>
                <a:gd name="connsiteX0" fmla="*/ 36714 w 208412"/>
                <a:gd name="connsiteY0" fmla="*/ 45330 h 297807"/>
                <a:gd name="connsiteX1" fmla="*/ 24476 w 208412"/>
                <a:gd name="connsiteY1" fmla="*/ 143234 h 297807"/>
                <a:gd name="connsiteX2" fmla="*/ 0 w 208412"/>
                <a:gd name="connsiteY2" fmla="*/ 219721 h 297807"/>
                <a:gd name="connsiteX3" fmla="*/ 42832 w 208412"/>
                <a:gd name="connsiteY3" fmla="*/ 247257 h 297807"/>
                <a:gd name="connsiteX4" fmla="*/ 64249 w 208412"/>
                <a:gd name="connsiteY4" fmla="*/ 280911 h 297807"/>
                <a:gd name="connsiteX5" fmla="*/ 94843 w 208412"/>
                <a:gd name="connsiteY5" fmla="*/ 277852 h 297807"/>
                <a:gd name="connsiteX6" fmla="*/ 146855 w 208412"/>
                <a:gd name="connsiteY6" fmla="*/ 283971 h 297807"/>
                <a:gd name="connsiteX7" fmla="*/ 180509 w 208412"/>
                <a:gd name="connsiteY7" fmla="*/ 296209 h 297807"/>
                <a:gd name="connsiteX8" fmla="*/ 204986 w 208412"/>
                <a:gd name="connsiteY8" fmla="*/ 241137 h 297807"/>
                <a:gd name="connsiteX9" fmla="*/ 192748 w 208412"/>
                <a:gd name="connsiteY9" fmla="*/ 26973 h 297807"/>
                <a:gd name="connsiteX10" fmla="*/ 64249 w 208412"/>
                <a:gd name="connsiteY10" fmla="*/ 2498 h 297807"/>
                <a:gd name="connsiteX11" fmla="*/ 36714 w 208412"/>
                <a:gd name="connsiteY11" fmla="*/ 45330 h 297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8412" h="297807">
                  <a:moveTo>
                    <a:pt x="36714" y="45330"/>
                  </a:moveTo>
                  <a:cubicBezTo>
                    <a:pt x="30595" y="78985"/>
                    <a:pt x="30595" y="109580"/>
                    <a:pt x="24476" y="143234"/>
                  </a:cubicBezTo>
                  <a:cubicBezTo>
                    <a:pt x="18356" y="176889"/>
                    <a:pt x="0" y="186067"/>
                    <a:pt x="0" y="219721"/>
                  </a:cubicBezTo>
                  <a:cubicBezTo>
                    <a:pt x="0" y="244197"/>
                    <a:pt x="24476" y="253376"/>
                    <a:pt x="42832" y="247257"/>
                  </a:cubicBezTo>
                  <a:cubicBezTo>
                    <a:pt x="39773" y="265614"/>
                    <a:pt x="45892" y="274792"/>
                    <a:pt x="64249" y="280911"/>
                  </a:cubicBezTo>
                  <a:cubicBezTo>
                    <a:pt x="70368" y="283971"/>
                    <a:pt x="91785" y="283971"/>
                    <a:pt x="94843" y="277852"/>
                  </a:cubicBezTo>
                  <a:cubicBezTo>
                    <a:pt x="94843" y="293149"/>
                    <a:pt x="134616" y="302327"/>
                    <a:pt x="146855" y="283971"/>
                  </a:cubicBezTo>
                  <a:cubicBezTo>
                    <a:pt x="152975" y="299268"/>
                    <a:pt x="171331" y="299268"/>
                    <a:pt x="180509" y="296209"/>
                  </a:cubicBezTo>
                  <a:cubicBezTo>
                    <a:pt x="214164" y="293149"/>
                    <a:pt x="204986" y="256435"/>
                    <a:pt x="204986" y="241137"/>
                  </a:cubicBezTo>
                  <a:cubicBezTo>
                    <a:pt x="217223" y="152412"/>
                    <a:pt x="192748" y="115699"/>
                    <a:pt x="192748" y="26973"/>
                  </a:cubicBezTo>
                  <a:cubicBezTo>
                    <a:pt x="195806" y="26973"/>
                    <a:pt x="107082" y="-9740"/>
                    <a:pt x="64249" y="2498"/>
                  </a:cubicBezTo>
                  <a:cubicBezTo>
                    <a:pt x="42832" y="11676"/>
                    <a:pt x="39773" y="20855"/>
                    <a:pt x="36714" y="45330"/>
                  </a:cubicBezTo>
                  <a:close/>
                </a:path>
              </a:pathLst>
            </a:custGeom>
            <a:solidFill>
              <a:srgbClr val="F5A39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85AB9DE4-BD50-4636-8459-1EF73F28D45A}"/>
                </a:ext>
              </a:extLst>
            </p:cNvPr>
            <p:cNvSpPr/>
            <p:nvPr/>
          </p:nvSpPr>
          <p:spPr>
            <a:xfrm>
              <a:off x="19768603" y="8701694"/>
              <a:ext cx="659538" cy="1251729"/>
            </a:xfrm>
            <a:custGeom>
              <a:avLst/>
              <a:gdLst>
                <a:gd name="connsiteX0" fmla="*/ 546744 w 659538"/>
                <a:gd name="connsiteY0" fmla="*/ 376680 h 1251729"/>
                <a:gd name="connsiteX1" fmla="*/ 314223 w 659538"/>
                <a:gd name="connsiteY1" fmla="*/ 648974 h 1251729"/>
                <a:gd name="connsiteX2" fmla="*/ 197961 w 659538"/>
                <a:gd name="connsiteY2" fmla="*/ 1236397 h 1251729"/>
                <a:gd name="connsiteX3" fmla="*/ 8274 w 659538"/>
                <a:gd name="connsiteY3" fmla="*/ 1227217 h 1251729"/>
                <a:gd name="connsiteX4" fmla="*/ 51106 w 659538"/>
                <a:gd name="connsiteY4" fmla="*/ 541892 h 1251729"/>
                <a:gd name="connsiteX5" fmla="*/ 369294 w 659538"/>
                <a:gd name="connsiteY5" fmla="*/ 89087 h 1251729"/>
                <a:gd name="connsiteX6" fmla="*/ 629351 w 659538"/>
                <a:gd name="connsiteY6" fmla="*/ 15660 h 1251729"/>
                <a:gd name="connsiteX7" fmla="*/ 546744 w 659538"/>
                <a:gd name="connsiteY7" fmla="*/ 376680 h 1251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59538" h="1251729">
                  <a:moveTo>
                    <a:pt x="546744" y="376680"/>
                  </a:moveTo>
                  <a:cubicBezTo>
                    <a:pt x="488613" y="443988"/>
                    <a:pt x="360116" y="569427"/>
                    <a:pt x="314223" y="648974"/>
                  </a:cubicBezTo>
                  <a:cubicBezTo>
                    <a:pt x="246914" y="762175"/>
                    <a:pt x="204081" y="1233337"/>
                    <a:pt x="197961" y="1236397"/>
                  </a:cubicBezTo>
                  <a:cubicBezTo>
                    <a:pt x="130654" y="1260872"/>
                    <a:pt x="69464" y="1254753"/>
                    <a:pt x="8274" y="1227217"/>
                  </a:cubicBezTo>
                  <a:cubicBezTo>
                    <a:pt x="-906" y="1224158"/>
                    <a:pt x="-16203" y="752996"/>
                    <a:pt x="51106" y="541892"/>
                  </a:cubicBezTo>
                  <a:cubicBezTo>
                    <a:pt x="72523" y="477642"/>
                    <a:pt x="234676" y="202288"/>
                    <a:pt x="369294" y="89087"/>
                  </a:cubicBezTo>
                  <a:cubicBezTo>
                    <a:pt x="436603" y="34016"/>
                    <a:pt x="583458" y="-30233"/>
                    <a:pt x="629351" y="15660"/>
                  </a:cubicBezTo>
                  <a:cubicBezTo>
                    <a:pt x="702777" y="95206"/>
                    <a:pt x="629351" y="281835"/>
                    <a:pt x="546744" y="376680"/>
                  </a:cubicBezTo>
                  <a:close/>
                </a:path>
              </a:pathLst>
            </a:custGeom>
            <a:solidFill>
              <a:srgbClr val="F1DDBB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FB0EE956-8CC1-4A40-9951-D88AF1B42430}"/>
                </a:ext>
              </a:extLst>
            </p:cNvPr>
            <p:cNvSpPr/>
            <p:nvPr/>
          </p:nvSpPr>
          <p:spPr>
            <a:xfrm>
              <a:off x="19896961" y="10039054"/>
              <a:ext cx="76062" cy="149914"/>
            </a:xfrm>
            <a:custGeom>
              <a:avLst/>
              <a:gdLst>
                <a:gd name="connsiteX0" fmla="*/ 39008 w 76062"/>
                <a:gd name="connsiteY0" fmla="*/ 149915 h 149914"/>
                <a:gd name="connsiteX1" fmla="*/ 2295 w 76062"/>
                <a:gd name="connsiteY1" fmla="*/ 134617 h 149914"/>
                <a:gd name="connsiteX2" fmla="*/ 2295 w 76062"/>
                <a:gd name="connsiteY2" fmla="*/ 125439 h 149914"/>
                <a:gd name="connsiteX3" fmla="*/ 11474 w 76062"/>
                <a:gd name="connsiteY3" fmla="*/ 125439 h 149914"/>
                <a:gd name="connsiteX4" fmla="*/ 45127 w 76062"/>
                <a:gd name="connsiteY4" fmla="*/ 137677 h 149914"/>
                <a:gd name="connsiteX5" fmla="*/ 57366 w 76062"/>
                <a:gd name="connsiteY5" fmla="*/ 128499 h 149914"/>
                <a:gd name="connsiteX6" fmla="*/ 57366 w 76062"/>
                <a:gd name="connsiteY6" fmla="*/ 6119 h 149914"/>
                <a:gd name="connsiteX7" fmla="*/ 60425 w 76062"/>
                <a:gd name="connsiteY7" fmla="*/ 0 h 149914"/>
                <a:gd name="connsiteX8" fmla="*/ 66544 w 76062"/>
                <a:gd name="connsiteY8" fmla="*/ 3060 h 149914"/>
                <a:gd name="connsiteX9" fmla="*/ 66544 w 76062"/>
                <a:gd name="connsiteY9" fmla="*/ 134617 h 149914"/>
                <a:gd name="connsiteX10" fmla="*/ 45127 w 76062"/>
                <a:gd name="connsiteY10" fmla="*/ 149915 h 149914"/>
                <a:gd name="connsiteX11" fmla="*/ 39008 w 76062"/>
                <a:gd name="connsiteY11" fmla="*/ 149915 h 14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062" h="149914">
                  <a:moveTo>
                    <a:pt x="39008" y="149915"/>
                  </a:moveTo>
                  <a:cubicBezTo>
                    <a:pt x="20652" y="149915"/>
                    <a:pt x="2295" y="134617"/>
                    <a:pt x="2295" y="134617"/>
                  </a:cubicBezTo>
                  <a:cubicBezTo>
                    <a:pt x="-765" y="131558"/>
                    <a:pt x="-765" y="128499"/>
                    <a:pt x="2295" y="125439"/>
                  </a:cubicBezTo>
                  <a:cubicBezTo>
                    <a:pt x="5354" y="122380"/>
                    <a:pt x="8413" y="122380"/>
                    <a:pt x="11474" y="125439"/>
                  </a:cubicBezTo>
                  <a:cubicBezTo>
                    <a:pt x="17593" y="128499"/>
                    <a:pt x="32890" y="140737"/>
                    <a:pt x="45127" y="137677"/>
                  </a:cubicBezTo>
                  <a:cubicBezTo>
                    <a:pt x="51247" y="137677"/>
                    <a:pt x="54305" y="134617"/>
                    <a:pt x="57366" y="128499"/>
                  </a:cubicBezTo>
                  <a:cubicBezTo>
                    <a:pt x="75722" y="94844"/>
                    <a:pt x="57366" y="6119"/>
                    <a:pt x="57366" y="6119"/>
                  </a:cubicBezTo>
                  <a:cubicBezTo>
                    <a:pt x="57366" y="3060"/>
                    <a:pt x="57366" y="0"/>
                    <a:pt x="60425" y="0"/>
                  </a:cubicBezTo>
                  <a:cubicBezTo>
                    <a:pt x="63485" y="0"/>
                    <a:pt x="66544" y="0"/>
                    <a:pt x="66544" y="3060"/>
                  </a:cubicBezTo>
                  <a:cubicBezTo>
                    <a:pt x="66544" y="6119"/>
                    <a:pt x="87961" y="94844"/>
                    <a:pt x="66544" y="134617"/>
                  </a:cubicBezTo>
                  <a:cubicBezTo>
                    <a:pt x="60425" y="143796"/>
                    <a:pt x="54305" y="149915"/>
                    <a:pt x="45127" y="149915"/>
                  </a:cubicBezTo>
                  <a:cubicBezTo>
                    <a:pt x="45127" y="149915"/>
                    <a:pt x="42068" y="149915"/>
                    <a:pt x="39008" y="149915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74EC010A-3A5F-4DD9-9090-2B35E94F8A1A}"/>
                </a:ext>
              </a:extLst>
            </p:cNvPr>
            <p:cNvSpPr/>
            <p:nvPr/>
          </p:nvSpPr>
          <p:spPr>
            <a:xfrm>
              <a:off x="19807472" y="10091065"/>
              <a:ext cx="88724" cy="42832"/>
            </a:xfrm>
            <a:custGeom>
              <a:avLst/>
              <a:gdLst>
                <a:gd name="connsiteX0" fmla="*/ 82605 w 88724"/>
                <a:gd name="connsiteY0" fmla="*/ 42833 h 42832"/>
                <a:gd name="connsiteX1" fmla="*/ 82605 w 88724"/>
                <a:gd name="connsiteY1" fmla="*/ 42833 h 42832"/>
                <a:gd name="connsiteX2" fmla="*/ 3059 w 88724"/>
                <a:gd name="connsiteY2" fmla="*/ 12238 h 42832"/>
                <a:gd name="connsiteX3" fmla="*/ 0 w 88724"/>
                <a:gd name="connsiteY3" fmla="*/ 3059 h 42832"/>
                <a:gd name="connsiteX4" fmla="*/ 9178 w 88724"/>
                <a:gd name="connsiteY4" fmla="*/ 0 h 42832"/>
                <a:gd name="connsiteX5" fmla="*/ 82605 w 88724"/>
                <a:gd name="connsiteY5" fmla="*/ 30595 h 42832"/>
                <a:gd name="connsiteX6" fmla="*/ 88724 w 88724"/>
                <a:gd name="connsiteY6" fmla="*/ 36713 h 42832"/>
                <a:gd name="connsiteX7" fmla="*/ 82605 w 88724"/>
                <a:gd name="connsiteY7" fmla="*/ 42833 h 42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724" h="42832">
                  <a:moveTo>
                    <a:pt x="82605" y="42833"/>
                  </a:moveTo>
                  <a:cubicBezTo>
                    <a:pt x="82605" y="42833"/>
                    <a:pt x="82605" y="42833"/>
                    <a:pt x="82605" y="42833"/>
                  </a:cubicBezTo>
                  <a:cubicBezTo>
                    <a:pt x="61190" y="39773"/>
                    <a:pt x="6117" y="12238"/>
                    <a:pt x="3059" y="12238"/>
                  </a:cubicBezTo>
                  <a:cubicBezTo>
                    <a:pt x="0" y="12238"/>
                    <a:pt x="0" y="6118"/>
                    <a:pt x="0" y="3059"/>
                  </a:cubicBezTo>
                  <a:cubicBezTo>
                    <a:pt x="0" y="0"/>
                    <a:pt x="6117" y="0"/>
                    <a:pt x="9178" y="0"/>
                  </a:cubicBezTo>
                  <a:cubicBezTo>
                    <a:pt x="24476" y="9178"/>
                    <a:pt x="67307" y="27535"/>
                    <a:pt x="82605" y="30595"/>
                  </a:cubicBezTo>
                  <a:cubicBezTo>
                    <a:pt x="85665" y="30595"/>
                    <a:pt x="88724" y="33654"/>
                    <a:pt x="88724" y="36713"/>
                  </a:cubicBezTo>
                  <a:cubicBezTo>
                    <a:pt x="88724" y="42833"/>
                    <a:pt x="85665" y="42833"/>
                    <a:pt x="82605" y="42833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4DA65D4A-77B4-4B8D-8CC6-1D8C329CEFD1}"/>
                </a:ext>
              </a:extLst>
            </p:cNvPr>
            <p:cNvSpPr/>
            <p:nvPr/>
          </p:nvSpPr>
          <p:spPr>
            <a:xfrm>
              <a:off x="20203845" y="8705881"/>
              <a:ext cx="224204" cy="488753"/>
            </a:xfrm>
            <a:custGeom>
              <a:avLst/>
              <a:gdLst>
                <a:gd name="connsiteX0" fmla="*/ 7478 w 224204"/>
                <a:gd name="connsiteY0" fmla="*/ 488754 h 488753"/>
                <a:gd name="connsiteX1" fmla="*/ 1360 w 224204"/>
                <a:gd name="connsiteY1" fmla="*/ 485694 h 488753"/>
                <a:gd name="connsiteX2" fmla="*/ 1360 w 224204"/>
                <a:gd name="connsiteY2" fmla="*/ 476516 h 488753"/>
                <a:gd name="connsiteX3" fmla="*/ 181869 w 224204"/>
                <a:gd name="connsiteY3" fmla="*/ 234816 h 488753"/>
                <a:gd name="connsiteX4" fmla="*/ 187988 w 224204"/>
                <a:gd name="connsiteY4" fmla="*/ 11473 h 488753"/>
                <a:gd name="connsiteX5" fmla="*/ 187988 w 224204"/>
                <a:gd name="connsiteY5" fmla="*/ 2295 h 488753"/>
                <a:gd name="connsiteX6" fmla="*/ 197167 w 224204"/>
                <a:gd name="connsiteY6" fmla="*/ 2295 h 488753"/>
                <a:gd name="connsiteX7" fmla="*/ 194108 w 224204"/>
                <a:gd name="connsiteY7" fmla="*/ 237875 h 488753"/>
                <a:gd name="connsiteX8" fmla="*/ 10538 w 224204"/>
                <a:gd name="connsiteY8" fmla="*/ 482635 h 488753"/>
                <a:gd name="connsiteX9" fmla="*/ 7478 w 224204"/>
                <a:gd name="connsiteY9" fmla="*/ 488754 h 48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204" h="488753">
                  <a:moveTo>
                    <a:pt x="7478" y="488754"/>
                  </a:moveTo>
                  <a:cubicBezTo>
                    <a:pt x="4419" y="488754"/>
                    <a:pt x="4419" y="488754"/>
                    <a:pt x="1360" y="485694"/>
                  </a:cubicBezTo>
                  <a:cubicBezTo>
                    <a:pt x="-1700" y="482635"/>
                    <a:pt x="1360" y="479575"/>
                    <a:pt x="1360" y="476516"/>
                  </a:cubicBezTo>
                  <a:cubicBezTo>
                    <a:pt x="1360" y="476516"/>
                    <a:pt x="120679" y="384731"/>
                    <a:pt x="181869" y="234816"/>
                  </a:cubicBezTo>
                  <a:cubicBezTo>
                    <a:pt x="243059" y="87961"/>
                    <a:pt x="187988" y="11473"/>
                    <a:pt x="187988" y="11473"/>
                  </a:cubicBezTo>
                  <a:cubicBezTo>
                    <a:pt x="184930" y="8414"/>
                    <a:pt x="184930" y="5354"/>
                    <a:pt x="187988" y="2295"/>
                  </a:cubicBezTo>
                  <a:cubicBezTo>
                    <a:pt x="191047" y="-765"/>
                    <a:pt x="194108" y="-765"/>
                    <a:pt x="197167" y="2295"/>
                  </a:cubicBezTo>
                  <a:cubicBezTo>
                    <a:pt x="200227" y="5354"/>
                    <a:pt x="258356" y="81842"/>
                    <a:pt x="194108" y="237875"/>
                  </a:cubicBezTo>
                  <a:cubicBezTo>
                    <a:pt x="129857" y="390850"/>
                    <a:pt x="10538" y="482635"/>
                    <a:pt x="10538" y="482635"/>
                  </a:cubicBezTo>
                  <a:cubicBezTo>
                    <a:pt x="10538" y="488754"/>
                    <a:pt x="10538" y="488754"/>
                    <a:pt x="7478" y="488754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9D5BC814-5E9E-42F9-A43E-05D7F442BC1E}"/>
                </a:ext>
              </a:extLst>
            </p:cNvPr>
            <p:cNvSpPr/>
            <p:nvPr/>
          </p:nvSpPr>
          <p:spPr>
            <a:xfrm>
              <a:off x="21028207" y="8839734"/>
              <a:ext cx="68857" cy="758753"/>
            </a:xfrm>
            <a:custGeom>
              <a:avLst/>
              <a:gdLst>
                <a:gd name="connsiteX0" fmla="*/ 27536 w 68857"/>
                <a:gd name="connsiteY0" fmla="*/ 758754 h 758753"/>
                <a:gd name="connsiteX1" fmla="*/ 21417 w 68857"/>
                <a:gd name="connsiteY1" fmla="*/ 752634 h 758753"/>
                <a:gd name="connsiteX2" fmla="*/ 45892 w 68857"/>
                <a:gd name="connsiteY2" fmla="*/ 330425 h 758753"/>
                <a:gd name="connsiteX3" fmla="*/ 55070 w 68857"/>
                <a:gd name="connsiteY3" fmla="*/ 266176 h 758753"/>
                <a:gd name="connsiteX4" fmla="*/ 0 w 68857"/>
                <a:gd name="connsiteY4" fmla="*/ 9179 h 758753"/>
                <a:gd name="connsiteX5" fmla="*/ 3061 w 68857"/>
                <a:gd name="connsiteY5" fmla="*/ 0 h 758753"/>
                <a:gd name="connsiteX6" fmla="*/ 12239 w 68857"/>
                <a:gd name="connsiteY6" fmla="*/ 3059 h 758753"/>
                <a:gd name="connsiteX7" fmla="*/ 67309 w 68857"/>
                <a:gd name="connsiteY7" fmla="*/ 266176 h 758753"/>
                <a:gd name="connsiteX8" fmla="*/ 58131 w 68857"/>
                <a:gd name="connsiteY8" fmla="*/ 330425 h 758753"/>
                <a:gd name="connsiteX9" fmla="*/ 33656 w 68857"/>
                <a:gd name="connsiteY9" fmla="*/ 749575 h 758753"/>
                <a:gd name="connsiteX10" fmla="*/ 27536 w 68857"/>
                <a:gd name="connsiteY10" fmla="*/ 758754 h 758753"/>
                <a:gd name="connsiteX11" fmla="*/ 27536 w 68857"/>
                <a:gd name="connsiteY11" fmla="*/ 758754 h 75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857" h="758753">
                  <a:moveTo>
                    <a:pt x="27536" y="758754"/>
                  </a:moveTo>
                  <a:cubicBezTo>
                    <a:pt x="24476" y="758754"/>
                    <a:pt x="21417" y="755694"/>
                    <a:pt x="21417" y="752634"/>
                  </a:cubicBezTo>
                  <a:cubicBezTo>
                    <a:pt x="6119" y="630255"/>
                    <a:pt x="30595" y="449745"/>
                    <a:pt x="45892" y="330425"/>
                  </a:cubicBezTo>
                  <a:cubicBezTo>
                    <a:pt x="48953" y="305949"/>
                    <a:pt x="52012" y="284533"/>
                    <a:pt x="55070" y="266176"/>
                  </a:cubicBezTo>
                  <a:cubicBezTo>
                    <a:pt x="67309" y="162153"/>
                    <a:pt x="3061" y="9179"/>
                    <a:pt x="0" y="9179"/>
                  </a:cubicBezTo>
                  <a:cubicBezTo>
                    <a:pt x="0" y="6119"/>
                    <a:pt x="0" y="3059"/>
                    <a:pt x="3061" y="0"/>
                  </a:cubicBezTo>
                  <a:cubicBezTo>
                    <a:pt x="6119" y="0"/>
                    <a:pt x="9178" y="0"/>
                    <a:pt x="12239" y="3059"/>
                  </a:cubicBezTo>
                  <a:cubicBezTo>
                    <a:pt x="15297" y="9179"/>
                    <a:pt x="79548" y="159093"/>
                    <a:pt x="67309" y="266176"/>
                  </a:cubicBezTo>
                  <a:cubicBezTo>
                    <a:pt x="64250" y="284533"/>
                    <a:pt x="61190" y="305949"/>
                    <a:pt x="58131" y="330425"/>
                  </a:cubicBezTo>
                  <a:cubicBezTo>
                    <a:pt x="42834" y="449745"/>
                    <a:pt x="21417" y="630255"/>
                    <a:pt x="33656" y="749575"/>
                  </a:cubicBezTo>
                  <a:cubicBezTo>
                    <a:pt x="33656" y="755694"/>
                    <a:pt x="33656" y="758754"/>
                    <a:pt x="27536" y="758754"/>
                  </a:cubicBezTo>
                  <a:cubicBezTo>
                    <a:pt x="27536" y="758754"/>
                    <a:pt x="27536" y="758754"/>
                    <a:pt x="27536" y="758754"/>
                  </a:cubicBezTo>
                  <a:close/>
                </a:path>
              </a:pathLst>
            </a:custGeom>
            <a:solidFill>
              <a:srgbClr val="D39778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87C72837-CC92-4219-8973-DA99C37D1DB3}"/>
                </a:ext>
              </a:extLst>
            </p:cNvPr>
            <p:cNvSpPr/>
            <p:nvPr/>
          </p:nvSpPr>
          <p:spPr>
            <a:xfrm>
              <a:off x="20612882" y="8462149"/>
              <a:ext cx="119822" cy="28802"/>
            </a:xfrm>
            <a:custGeom>
              <a:avLst/>
              <a:gdLst>
                <a:gd name="connsiteX0" fmla="*/ 51247 w 119822"/>
                <a:gd name="connsiteY0" fmla="*/ 28803 h 28802"/>
                <a:gd name="connsiteX1" fmla="*/ 2294 w 119822"/>
                <a:gd name="connsiteY1" fmla="*/ 16565 h 28802"/>
                <a:gd name="connsiteX2" fmla="*/ 2294 w 119822"/>
                <a:gd name="connsiteY2" fmla="*/ 7386 h 28802"/>
                <a:gd name="connsiteX3" fmla="*/ 11472 w 119822"/>
                <a:gd name="connsiteY3" fmla="*/ 7386 h 28802"/>
                <a:gd name="connsiteX4" fmla="*/ 109376 w 119822"/>
                <a:gd name="connsiteY4" fmla="*/ 1267 h 28802"/>
                <a:gd name="connsiteX5" fmla="*/ 118554 w 119822"/>
                <a:gd name="connsiteY5" fmla="*/ 4327 h 28802"/>
                <a:gd name="connsiteX6" fmla="*/ 115496 w 119822"/>
                <a:gd name="connsiteY6" fmla="*/ 13505 h 28802"/>
                <a:gd name="connsiteX7" fmla="*/ 51247 w 119822"/>
                <a:gd name="connsiteY7" fmla="*/ 28803 h 2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822" h="28802">
                  <a:moveTo>
                    <a:pt x="51247" y="28803"/>
                  </a:moveTo>
                  <a:cubicBezTo>
                    <a:pt x="23711" y="28803"/>
                    <a:pt x="5355" y="16565"/>
                    <a:pt x="2294" y="16565"/>
                  </a:cubicBezTo>
                  <a:cubicBezTo>
                    <a:pt x="-765" y="13505"/>
                    <a:pt x="-765" y="10446"/>
                    <a:pt x="2294" y="7386"/>
                  </a:cubicBezTo>
                  <a:cubicBezTo>
                    <a:pt x="5355" y="4327"/>
                    <a:pt x="8413" y="4327"/>
                    <a:pt x="11472" y="7386"/>
                  </a:cubicBezTo>
                  <a:cubicBezTo>
                    <a:pt x="14533" y="7386"/>
                    <a:pt x="54306" y="37981"/>
                    <a:pt x="109376" y="1267"/>
                  </a:cubicBezTo>
                  <a:cubicBezTo>
                    <a:pt x="112437" y="-1792"/>
                    <a:pt x="115496" y="1267"/>
                    <a:pt x="118554" y="4327"/>
                  </a:cubicBezTo>
                  <a:cubicBezTo>
                    <a:pt x="121615" y="7386"/>
                    <a:pt x="118554" y="10446"/>
                    <a:pt x="115496" y="13505"/>
                  </a:cubicBezTo>
                  <a:cubicBezTo>
                    <a:pt x="91020" y="22684"/>
                    <a:pt x="69603" y="28803"/>
                    <a:pt x="51247" y="28803"/>
                  </a:cubicBezTo>
                  <a:close/>
                </a:path>
              </a:pathLst>
            </a:custGeom>
            <a:solidFill>
              <a:srgbClr val="E58777"/>
            </a:solidFill>
            <a:ln w="305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13917707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C71A67BC-4896-4576-BB49-27CC33CAB647}"/>
              </a:ext>
            </a:extLst>
          </p:cNvPr>
          <p:cNvGrpSpPr/>
          <p:nvPr/>
        </p:nvGrpSpPr>
        <p:grpSpPr>
          <a:xfrm>
            <a:off x="6260724" y="1866004"/>
            <a:ext cx="3531923" cy="4827092"/>
            <a:chOff x="14166474" y="1866004"/>
            <a:chExt cx="3531923" cy="4827092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7567AF82-1FD2-480A-B063-04304A3AD290}"/>
                </a:ext>
              </a:extLst>
            </p:cNvPr>
            <p:cNvSpPr/>
            <p:nvPr/>
          </p:nvSpPr>
          <p:spPr>
            <a:xfrm>
              <a:off x="15964225" y="2916936"/>
              <a:ext cx="548751" cy="1557188"/>
            </a:xfrm>
            <a:custGeom>
              <a:avLst/>
              <a:gdLst>
                <a:gd name="connsiteX0" fmla="*/ 543086 w 548751"/>
                <a:gd name="connsiteY0" fmla="*/ 459017 h 1557188"/>
                <a:gd name="connsiteX1" fmla="*/ 398058 w 548751"/>
                <a:gd name="connsiteY1" fmla="*/ 2331 h 1557188"/>
                <a:gd name="connsiteX2" fmla="*/ 219086 w 548751"/>
                <a:gd name="connsiteY2" fmla="*/ 520731 h 1557188"/>
                <a:gd name="connsiteX3" fmla="*/ 172800 w 548751"/>
                <a:gd name="connsiteY3" fmla="*/ 915703 h 1557188"/>
                <a:gd name="connsiteX4" fmla="*/ 0 w 548751"/>
                <a:gd name="connsiteY4" fmla="*/ 1529760 h 1557188"/>
                <a:gd name="connsiteX5" fmla="*/ 151201 w 548751"/>
                <a:gd name="connsiteY5" fmla="*/ 1529760 h 1557188"/>
                <a:gd name="connsiteX6" fmla="*/ 379543 w 548751"/>
                <a:gd name="connsiteY6" fmla="*/ 1069989 h 1557188"/>
                <a:gd name="connsiteX7" fmla="*/ 543086 w 548751"/>
                <a:gd name="connsiteY7" fmla="*/ 459017 h 1557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8751" h="1557188">
                  <a:moveTo>
                    <a:pt x="543086" y="459017"/>
                  </a:moveTo>
                  <a:cubicBezTo>
                    <a:pt x="573943" y="313988"/>
                    <a:pt x="472115" y="-31611"/>
                    <a:pt x="398058" y="2331"/>
                  </a:cubicBezTo>
                  <a:cubicBezTo>
                    <a:pt x="311657" y="42446"/>
                    <a:pt x="234514" y="304731"/>
                    <a:pt x="219086" y="520731"/>
                  </a:cubicBezTo>
                  <a:cubicBezTo>
                    <a:pt x="212915" y="622560"/>
                    <a:pt x="216000" y="820046"/>
                    <a:pt x="172800" y="915703"/>
                  </a:cubicBezTo>
                  <a:cubicBezTo>
                    <a:pt x="132686" y="999017"/>
                    <a:pt x="0" y="1529760"/>
                    <a:pt x="0" y="1529760"/>
                  </a:cubicBezTo>
                  <a:cubicBezTo>
                    <a:pt x="9258" y="1591474"/>
                    <a:pt x="151201" y="1529760"/>
                    <a:pt x="151201" y="1529760"/>
                  </a:cubicBezTo>
                  <a:cubicBezTo>
                    <a:pt x="151201" y="1529760"/>
                    <a:pt x="339429" y="1137874"/>
                    <a:pt x="379543" y="1069989"/>
                  </a:cubicBezTo>
                  <a:cubicBezTo>
                    <a:pt x="435086" y="974331"/>
                    <a:pt x="502972" y="641074"/>
                    <a:pt x="543086" y="459017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14EB9B02-99A1-4A4E-B3EE-2570C46C632D}"/>
                </a:ext>
              </a:extLst>
            </p:cNvPr>
            <p:cNvSpPr/>
            <p:nvPr/>
          </p:nvSpPr>
          <p:spPr>
            <a:xfrm>
              <a:off x="16146283" y="2803684"/>
              <a:ext cx="428914" cy="594850"/>
            </a:xfrm>
            <a:custGeom>
              <a:avLst/>
              <a:gdLst>
                <a:gd name="connsiteX0" fmla="*/ 428914 w 428914"/>
                <a:gd name="connsiteY0" fmla="*/ 572269 h 594850"/>
                <a:gd name="connsiteX1" fmla="*/ 222171 w 428914"/>
                <a:gd name="connsiteY1" fmla="*/ 1412 h 594850"/>
                <a:gd name="connsiteX2" fmla="*/ 0 w 428914"/>
                <a:gd name="connsiteY2" fmla="*/ 556840 h 594850"/>
                <a:gd name="connsiteX3" fmla="*/ 428914 w 428914"/>
                <a:gd name="connsiteY3" fmla="*/ 572269 h 59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8914" h="594850">
                  <a:moveTo>
                    <a:pt x="428914" y="572269"/>
                  </a:moveTo>
                  <a:cubicBezTo>
                    <a:pt x="428914" y="572269"/>
                    <a:pt x="370286" y="29183"/>
                    <a:pt x="222171" y="1412"/>
                  </a:cubicBezTo>
                  <a:cubicBezTo>
                    <a:pt x="52457" y="-32531"/>
                    <a:pt x="0" y="556840"/>
                    <a:pt x="0" y="556840"/>
                  </a:cubicBezTo>
                  <a:cubicBezTo>
                    <a:pt x="0" y="556840"/>
                    <a:pt x="222171" y="630898"/>
                    <a:pt x="428914" y="572269"/>
                  </a:cubicBezTo>
                  <a:close/>
                </a:path>
              </a:pathLst>
            </a:custGeom>
            <a:solidFill>
              <a:srgbClr val="D1615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3E3D671A-949A-41F4-9EBD-E93ABF05B850}"/>
                </a:ext>
              </a:extLst>
            </p:cNvPr>
            <p:cNvGrpSpPr/>
            <p:nvPr/>
          </p:nvGrpSpPr>
          <p:grpSpPr>
            <a:xfrm>
              <a:off x="17173826" y="6344410"/>
              <a:ext cx="501942" cy="348685"/>
              <a:chOff x="17173826" y="6344410"/>
              <a:chExt cx="501942" cy="348685"/>
            </a:xfrm>
          </p:grpSpPr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2FB19BEE-00ED-4BBB-B869-A4EF0EFD6E02}"/>
                  </a:ext>
                </a:extLst>
              </p:cNvPr>
              <p:cNvSpPr/>
              <p:nvPr/>
            </p:nvSpPr>
            <p:spPr>
              <a:xfrm>
                <a:off x="17454626" y="6344410"/>
                <a:ext cx="212914" cy="228342"/>
              </a:xfrm>
              <a:custGeom>
                <a:avLst/>
                <a:gdLst>
                  <a:gd name="connsiteX0" fmla="*/ 212914 w 212914"/>
                  <a:gd name="connsiteY0" fmla="*/ 188229 h 228342"/>
                  <a:gd name="connsiteX1" fmla="*/ 182057 w 212914"/>
                  <a:gd name="connsiteY1" fmla="*/ 0 h 228342"/>
                  <a:gd name="connsiteX2" fmla="*/ 0 w 212914"/>
                  <a:gd name="connsiteY2" fmla="*/ 0 h 228342"/>
                  <a:gd name="connsiteX3" fmla="*/ 46286 w 212914"/>
                  <a:gd name="connsiteY3" fmla="*/ 197486 h 228342"/>
                  <a:gd name="connsiteX4" fmla="*/ 200571 w 212914"/>
                  <a:gd name="connsiteY4" fmla="*/ 228343 h 228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2914" h="228342">
                    <a:moveTo>
                      <a:pt x="212914" y="188229"/>
                    </a:moveTo>
                    <a:lnTo>
                      <a:pt x="182057" y="0"/>
                    </a:lnTo>
                    <a:lnTo>
                      <a:pt x="0" y="0"/>
                    </a:lnTo>
                    <a:lnTo>
                      <a:pt x="46286" y="197486"/>
                    </a:lnTo>
                    <a:lnTo>
                      <a:pt x="200571" y="228343"/>
                    </a:ln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ADB5D693-51BF-4007-ACD3-ABBF84E0F7ED}"/>
                  </a:ext>
                </a:extLst>
              </p:cNvPr>
              <p:cNvSpPr/>
              <p:nvPr/>
            </p:nvSpPr>
            <p:spPr>
              <a:xfrm>
                <a:off x="17173826" y="6486353"/>
                <a:ext cx="501942" cy="160457"/>
              </a:xfrm>
              <a:custGeom>
                <a:avLst/>
                <a:gdLst>
                  <a:gd name="connsiteX0" fmla="*/ 493714 w 501942"/>
                  <a:gd name="connsiteY0" fmla="*/ 46286 h 160457"/>
                  <a:gd name="connsiteX1" fmla="*/ 305486 w 501942"/>
                  <a:gd name="connsiteY1" fmla="*/ 0 h 160457"/>
                  <a:gd name="connsiteX2" fmla="*/ 169714 w 501942"/>
                  <a:gd name="connsiteY2" fmla="*/ 80228 h 160457"/>
                  <a:gd name="connsiteX3" fmla="*/ 0 w 501942"/>
                  <a:gd name="connsiteY3" fmla="*/ 160457 h 160457"/>
                  <a:gd name="connsiteX4" fmla="*/ 493714 w 501942"/>
                  <a:gd name="connsiteY4" fmla="*/ 160457 h 160457"/>
                  <a:gd name="connsiteX5" fmla="*/ 493714 w 501942"/>
                  <a:gd name="connsiteY5" fmla="*/ 46286 h 160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942" h="160457">
                    <a:moveTo>
                      <a:pt x="493714" y="46286"/>
                    </a:moveTo>
                    <a:cubicBezTo>
                      <a:pt x="493714" y="46286"/>
                      <a:pt x="367200" y="64800"/>
                      <a:pt x="305486" y="0"/>
                    </a:cubicBezTo>
                    <a:cubicBezTo>
                      <a:pt x="305486" y="0"/>
                      <a:pt x="216000" y="70971"/>
                      <a:pt x="169714" y="80228"/>
                    </a:cubicBezTo>
                    <a:cubicBezTo>
                      <a:pt x="123429" y="89486"/>
                      <a:pt x="12343" y="86400"/>
                      <a:pt x="0" y="160457"/>
                    </a:cubicBezTo>
                    <a:lnTo>
                      <a:pt x="493714" y="160457"/>
                    </a:lnTo>
                    <a:cubicBezTo>
                      <a:pt x="493714" y="160457"/>
                      <a:pt x="512229" y="98743"/>
                      <a:pt x="493714" y="4628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57B45880-E156-42D7-878D-35272903F87E}"/>
                  </a:ext>
                </a:extLst>
              </p:cNvPr>
              <p:cNvSpPr/>
              <p:nvPr/>
            </p:nvSpPr>
            <p:spPr>
              <a:xfrm>
                <a:off x="17173826" y="6646810"/>
                <a:ext cx="493714" cy="46285"/>
              </a:xfrm>
              <a:custGeom>
                <a:avLst/>
                <a:gdLst>
                  <a:gd name="connsiteX0" fmla="*/ 0 w 493714"/>
                  <a:gd name="connsiteY0" fmla="*/ 0 h 46285"/>
                  <a:gd name="connsiteX1" fmla="*/ 493714 w 493714"/>
                  <a:gd name="connsiteY1" fmla="*/ 0 h 46285"/>
                  <a:gd name="connsiteX2" fmla="*/ 493714 w 493714"/>
                  <a:gd name="connsiteY2" fmla="*/ 46286 h 46285"/>
                  <a:gd name="connsiteX3" fmla="*/ 0 w 493714"/>
                  <a:gd name="connsiteY3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714" h="46285">
                    <a:moveTo>
                      <a:pt x="0" y="0"/>
                    </a:moveTo>
                    <a:lnTo>
                      <a:pt x="493714" y="0"/>
                    </a:lnTo>
                    <a:lnTo>
                      <a:pt x="493714" y="46286"/>
                    </a:lnTo>
                    <a:lnTo>
                      <a:pt x="0" y="46286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A7682FEA-75A8-4813-87D4-2926B30D358A}"/>
                  </a:ext>
                </a:extLst>
              </p:cNvPr>
              <p:cNvSpPr/>
              <p:nvPr/>
            </p:nvSpPr>
            <p:spPr>
              <a:xfrm>
                <a:off x="17470826" y="6477867"/>
                <a:ext cx="202885" cy="64028"/>
              </a:xfrm>
              <a:custGeom>
                <a:avLst/>
                <a:gdLst>
                  <a:gd name="connsiteX0" fmla="*/ 159685 w 202885"/>
                  <a:gd name="connsiteY0" fmla="*/ 64028 h 64028"/>
                  <a:gd name="connsiteX1" fmla="*/ 2314 w 202885"/>
                  <a:gd name="connsiteY1" fmla="*/ 11571 h 64028"/>
                  <a:gd name="connsiteX2" fmla="*/ 2314 w 202885"/>
                  <a:gd name="connsiteY2" fmla="*/ 2314 h 64028"/>
                  <a:gd name="connsiteX3" fmla="*/ 11571 w 202885"/>
                  <a:gd name="connsiteY3" fmla="*/ 2314 h 64028"/>
                  <a:gd name="connsiteX4" fmla="*/ 196714 w 202885"/>
                  <a:gd name="connsiteY4" fmla="*/ 48600 h 64028"/>
                  <a:gd name="connsiteX5" fmla="*/ 202886 w 202885"/>
                  <a:gd name="connsiteY5" fmla="*/ 54772 h 64028"/>
                  <a:gd name="connsiteX6" fmla="*/ 196714 w 202885"/>
                  <a:gd name="connsiteY6" fmla="*/ 60943 h 64028"/>
                  <a:gd name="connsiteX7" fmla="*/ 159685 w 202885"/>
                  <a:gd name="connsiteY7" fmla="*/ 64028 h 6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885" h="64028">
                    <a:moveTo>
                      <a:pt x="159685" y="64028"/>
                    </a:moveTo>
                    <a:cubicBezTo>
                      <a:pt x="119571" y="64028"/>
                      <a:pt x="51685" y="57857"/>
                      <a:pt x="2314" y="11571"/>
                    </a:cubicBez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399" y="-771"/>
                      <a:pt x="8485" y="-771"/>
                      <a:pt x="11571" y="2314"/>
                    </a:cubicBezTo>
                    <a:cubicBezTo>
                      <a:pt x="79457" y="64028"/>
                      <a:pt x="193628" y="48600"/>
                      <a:pt x="196714" y="48600"/>
                    </a:cubicBezTo>
                    <a:cubicBezTo>
                      <a:pt x="199800" y="48600"/>
                      <a:pt x="202886" y="51686"/>
                      <a:pt x="202886" y="54772"/>
                    </a:cubicBezTo>
                    <a:cubicBezTo>
                      <a:pt x="202886" y="57857"/>
                      <a:pt x="199800" y="60943"/>
                      <a:pt x="196714" y="60943"/>
                    </a:cubicBezTo>
                    <a:cubicBezTo>
                      <a:pt x="196714" y="60943"/>
                      <a:pt x="181285" y="64028"/>
                      <a:pt x="159685" y="640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F5422DA2-DAA7-40D4-B551-3E74BEB7C194}"/>
                  </a:ext>
                </a:extLst>
              </p:cNvPr>
              <p:cNvSpPr/>
              <p:nvPr/>
            </p:nvSpPr>
            <p:spPr>
              <a:xfrm>
                <a:off x="17439969" y="6502553"/>
                <a:ext cx="38570" cy="42428"/>
              </a:xfrm>
              <a:custGeom>
                <a:avLst/>
                <a:gdLst>
                  <a:gd name="connsiteX0" fmla="*/ 30086 w 38570"/>
                  <a:gd name="connsiteY0" fmla="*/ 42428 h 42428"/>
                  <a:gd name="connsiteX1" fmla="*/ 27000 w 38570"/>
                  <a:gd name="connsiteY1" fmla="*/ 39343 h 42428"/>
                  <a:gd name="connsiteX2" fmla="*/ 2314 w 38570"/>
                  <a:gd name="connsiteY2" fmla="*/ 11571 h 42428"/>
                  <a:gd name="connsiteX3" fmla="*/ 2314 w 38570"/>
                  <a:gd name="connsiteY3" fmla="*/ 2314 h 42428"/>
                  <a:gd name="connsiteX4" fmla="*/ 11571 w 38570"/>
                  <a:gd name="connsiteY4" fmla="*/ 2314 h 42428"/>
                  <a:gd name="connsiteX5" fmla="*/ 36257 w 38570"/>
                  <a:gd name="connsiteY5" fmla="*/ 30086 h 42428"/>
                  <a:gd name="connsiteX6" fmla="*/ 36257 w 38570"/>
                  <a:gd name="connsiteY6" fmla="*/ 39343 h 42428"/>
                  <a:gd name="connsiteX7" fmla="*/ 30086 w 38570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570" h="42428">
                    <a:moveTo>
                      <a:pt x="30086" y="42428"/>
                    </a:moveTo>
                    <a:cubicBezTo>
                      <a:pt x="30086" y="42428"/>
                      <a:pt x="27000" y="42428"/>
                      <a:pt x="27000" y="39343"/>
                    </a:cubicBezTo>
                    <a:lnTo>
                      <a:pt x="2314" y="11571"/>
                    </a:lnTo>
                    <a:cubicBezTo>
                      <a:pt x="-771" y="8485"/>
                      <a:pt x="-771" y="5400"/>
                      <a:pt x="2314" y="2314"/>
                    </a:cubicBezTo>
                    <a:cubicBezTo>
                      <a:pt x="5399" y="-771"/>
                      <a:pt x="8485" y="-771"/>
                      <a:pt x="11571" y="2314"/>
                    </a:cubicBezTo>
                    <a:lnTo>
                      <a:pt x="36257" y="30086"/>
                    </a:lnTo>
                    <a:cubicBezTo>
                      <a:pt x="39342" y="33171"/>
                      <a:pt x="39342" y="36257"/>
                      <a:pt x="36257" y="39343"/>
                    </a:cubicBezTo>
                    <a:cubicBezTo>
                      <a:pt x="33172" y="42428"/>
                      <a:pt x="30086" y="42428"/>
                      <a:pt x="30086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0D78C201-2892-4C54-BB6B-C90DE682B964}"/>
                  </a:ext>
                </a:extLst>
              </p:cNvPr>
              <p:cNvSpPr/>
              <p:nvPr/>
            </p:nvSpPr>
            <p:spPr>
              <a:xfrm>
                <a:off x="17396769" y="6530325"/>
                <a:ext cx="41657" cy="42428"/>
              </a:xfrm>
              <a:custGeom>
                <a:avLst/>
                <a:gdLst>
                  <a:gd name="connsiteX0" fmla="*/ 33171 w 41657"/>
                  <a:gd name="connsiteY0" fmla="*/ 42428 h 42428"/>
                  <a:gd name="connsiteX1" fmla="*/ 30086 w 41657"/>
                  <a:gd name="connsiteY1" fmla="*/ 39343 h 42428"/>
                  <a:gd name="connsiteX2" fmla="*/ 2314 w 41657"/>
                  <a:gd name="connsiteY2" fmla="*/ 11571 h 42428"/>
                  <a:gd name="connsiteX3" fmla="*/ 2314 w 41657"/>
                  <a:gd name="connsiteY3" fmla="*/ 2314 h 42428"/>
                  <a:gd name="connsiteX4" fmla="*/ 11571 w 41657"/>
                  <a:gd name="connsiteY4" fmla="*/ 2314 h 42428"/>
                  <a:gd name="connsiteX5" fmla="*/ 39343 w 41657"/>
                  <a:gd name="connsiteY5" fmla="*/ 30086 h 42428"/>
                  <a:gd name="connsiteX6" fmla="*/ 39343 w 41657"/>
                  <a:gd name="connsiteY6" fmla="*/ 39343 h 42428"/>
                  <a:gd name="connsiteX7" fmla="*/ 33171 w 41657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7" h="42428">
                    <a:moveTo>
                      <a:pt x="33171" y="42428"/>
                    </a:moveTo>
                    <a:cubicBezTo>
                      <a:pt x="33171" y="42428"/>
                      <a:pt x="30086" y="42428"/>
                      <a:pt x="30086" y="39343"/>
                    </a:cubicBezTo>
                    <a:lnTo>
                      <a:pt x="2314" y="11571"/>
                    </a:ln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0" y="-771"/>
                      <a:pt x="8486" y="-771"/>
                      <a:pt x="11571" y="2314"/>
                    </a:cubicBezTo>
                    <a:lnTo>
                      <a:pt x="39343" y="30086"/>
                    </a:lnTo>
                    <a:cubicBezTo>
                      <a:pt x="42429" y="33172"/>
                      <a:pt x="42429" y="36257"/>
                      <a:pt x="39343" y="39343"/>
                    </a:cubicBezTo>
                    <a:cubicBezTo>
                      <a:pt x="36257" y="42428"/>
                      <a:pt x="36257" y="42428"/>
                      <a:pt x="33171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3F3B2114-801C-4E05-AFC1-95F884CCEB3E}"/>
                </a:ext>
              </a:extLst>
            </p:cNvPr>
            <p:cNvGrpSpPr/>
            <p:nvPr/>
          </p:nvGrpSpPr>
          <p:grpSpPr>
            <a:xfrm>
              <a:off x="16414740" y="6344410"/>
              <a:ext cx="501942" cy="348685"/>
              <a:chOff x="16414740" y="6344410"/>
              <a:chExt cx="501942" cy="348685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FF112CBA-8624-4134-B7F0-39B817FC8A2D}"/>
                  </a:ext>
                </a:extLst>
              </p:cNvPr>
              <p:cNvSpPr/>
              <p:nvPr/>
            </p:nvSpPr>
            <p:spPr>
              <a:xfrm>
                <a:off x="16692454" y="6344410"/>
                <a:ext cx="215999" cy="228342"/>
              </a:xfrm>
              <a:custGeom>
                <a:avLst/>
                <a:gdLst>
                  <a:gd name="connsiteX0" fmla="*/ 216000 w 215999"/>
                  <a:gd name="connsiteY0" fmla="*/ 188229 h 228342"/>
                  <a:gd name="connsiteX1" fmla="*/ 185143 w 215999"/>
                  <a:gd name="connsiteY1" fmla="*/ 0 h 228342"/>
                  <a:gd name="connsiteX2" fmla="*/ 0 w 215999"/>
                  <a:gd name="connsiteY2" fmla="*/ 0 h 228342"/>
                  <a:gd name="connsiteX3" fmla="*/ 49372 w 215999"/>
                  <a:gd name="connsiteY3" fmla="*/ 197486 h 228342"/>
                  <a:gd name="connsiteX4" fmla="*/ 203657 w 215999"/>
                  <a:gd name="connsiteY4" fmla="*/ 228343 h 228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5999" h="228342">
                    <a:moveTo>
                      <a:pt x="216000" y="188229"/>
                    </a:moveTo>
                    <a:lnTo>
                      <a:pt x="185143" y="0"/>
                    </a:lnTo>
                    <a:lnTo>
                      <a:pt x="0" y="0"/>
                    </a:lnTo>
                    <a:lnTo>
                      <a:pt x="49372" y="197486"/>
                    </a:lnTo>
                    <a:lnTo>
                      <a:pt x="203657" y="228343"/>
                    </a:ln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2C5EC907-5446-4EDC-933E-EDFBF43B9F70}"/>
                  </a:ext>
                </a:extLst>
              </p:cNvPr>
              <p:cNvSpPr/>
              <p:nvPr/>
            </p:nvSpPr>
            <p:spPr>
              <a:xfrm>
                <a:off x="16414740" y="6486353"/>
                <a:ext cx="501942" cy="160457"/>
              </a:xfrm>
              <a:custGeom>
                <a:avLst/>
                <a:gdLst>
                  <a:gd name="connsiteX0" fmla="*/ 493714 w 501942"/>
                  <a:gd name="connsiteY0" fmla="*/ 46286 h 160457"/>
                  <a:gd name="connsiteX1" fmla="*/ 305486 w 501942"/>
                  <a:gd name="connsiteY1" fmla="*/ 0 h 160457"/>
                  <a:gd name="connsiteX2" fmla="*/ 169714 w 501942"/>
                  <a:gd name="connsiteY2" fmla="*/ 80228 h 160457"/>
                  <a:gd name="connsiteX3" fmla="*/ 0 w 501942"/>
                  <a:gd name="connsiteY3" fmla="*/ 160457 h 160457"/>
                  <a:gd name="connsiteX4" fmla="*/ 493714 w 501942"/>
                  <a:gd name="connsiteY4" fmla="*/ 160457 h 160457"/>
                  <a:gd name="connsiteX5" fmla="*/ 493714 w 501942"/>
                  <a:gd name="connsiteY5" fmla="*/ 46286 h 160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942" h="160457">
                    <a:moveTo>
                      <a:pt x="493714" y="46286"/>
                    </a:moveTo>
                    <a:cubicBezTo>
                      <a:pt x="493714" y="46286"/>
                      <a:pt x="367200" y="64800"/>
                      <a:pt x="305486" y="0"/>
                    </a:cubicBezTo>
                    <a:cubicBezTo>
                      <a:pt x="305486" y="0"/>
                      <a:pt x="216000" y="70971"/>
                      <a:pt x="169714" y="80228"/>
                    </a:cubicBezTo>
                    <a:cubicBezTo>
                      <a:pt x="123429" y="89486"/>
                      <a:pt x="12343" y="86400"/>
                      <a:pt x="0" y="160457"/>
                    </a:cubicBezTo>
                    <a:lnTo>
                      <a:pt x="493714" y="160457"/>
                    </a:lnTo>
                    <a:cubicBezTo>
                      <a:pt x="493714" y="160457"/>
                      <a:pt x="512229" y="98743"/>
                      <a:pt x="493714" y="4628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AF1D7FCF-49E4-4E5F-BCF1-2F63F4C02EE1}"/>
                  </a:ext>
                </a:extLst>
              </p:cNvPr>
              <p:cNvSpPr/>
              <p:nvPr/>
            </p:nvSpPr>
            <p:spPr>
              <a:xfrm>
                <a:off x="16414740" y="6646810"/>
                <a:ext cx="493714" cy="46285"/>
              </a:xfrm>
              <a:custGeom>
                <a:avLst/>
                <a:gdLst>
                  <a:gd name="connsiteX0" fmla="*/ 0 w 493714"/>
                  <a:gd name="connsiteY0" fmla="*/ 0 h 46285"/>
                  <a:gd name="connsiteX1" fmla="*/ 493714 w 493714"/>
                  <a:gd name="connsiteY1" fmla="*/ 0 h 46285"/>
                  <a:gd name="connsiteX2" fmla="*/ 493714 w 493714"/>
                  <a:gd name="connsiteY2" fmla="*/ 46286 h 46285"/>
                  <a:gd name="connsiteX3" fmla="*/ 0 w 493714"/>
                  <a:gd name="connsiteY3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714" h="46285">
                    <a:moveTo>
                      <a:pt x="0" y="0"/>
                    </a:moveTo>
                    <a:lnTo>
                      <a:pt x="493714" y="0"/>
                    </a:lnTo>
                    <a:lnTo>
                      <a:pt x="493714" y="46286"/>
                    </a:lnTo>
                    <a:lnTo>
                      <a:pt x="0" y="46286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0FD7325B-CFCB-4251-8A25-D2A3E2D9A5F4}"/>
                  </a:ext>
                </a:extLst>
              </p:cNvPr>
              <p:cNvSpPr/>
              <p:nvPr/>
            </p:nvSpPr>
            <p:spPr>
              <a:xfrm>
                <a:off x="16711740" y="6477867"/>
                <a:ext cx="202885" cy="64028"/>
              </a:xfrm>
              <a:custGeom>
                <a:avLst/>
                <a:gdLst>
                  <a:gd name="connsiteX0" fmla="*/ 159686 w 202885"/>
                  <a:gd name="connsiteY0" fmla="*/ 64028 h 64028"/>
                  <a:gd name="connsiteX1" fmla="*/ 2314 w 202885"/>
                  <a:gd name="connsiteY1" fmla="*/ 11571 h 64028"/>
                  <a:gd name="connsiteX2" fmla="*/ 2314 w 202885"/>
                  <a:gd name="connsiteY2" fmla="*/ 2314 h 64028"/>
                  <a:gd name="connsiteX3" fmla="*/ 11571 w 202885"/>
                  <a:gd name="connsiteY3" fmla="*/ 2314 h 64028"/>
                  <a:gd name="connsiteX4" fmla="*/ 196714 w 202885"/>
                  <a:gd name="connsiteY4" fmla="*/ 48600 h 64028"/>
                  <a:gd name="connsiteX5" fmla="*/ 202886 w 202885"/>
                  <a:gd name="connsiteY5" fmla="*/ 54772 h 64028"/>
                  <a:gd name="connsiteX6" fmla="*/ 196714 w 202885"/>
                  <a:gd name="connsiteY6" fmla="*/ 60943 h 64028"/>
                  <a:gd name="connsiteX7" fmla="*/ 159686 w 202885"/>
                  <a:gd name="connsiteY7" fmla="*/ 64028 h 6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885" h="64028">
                    <a:moveTo>
                      <a:pt x="159686" y="64028"/>
                    </a:moveTo>
                    <a:cubicBezTo>
                      <a:pt x="119571" y="64028"/>
                      <a:pt x="51686" y="57857"/>
                      <a:pt x="2314" y="11571"/>
                    </a:cubicBez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0" y="-771"/>
                      <a:pt x="8485" y="-771"/>
                      <a:pt x="11571" y="2314"/>
                    </a:cubicBezTo>
                    <a:cubicBezTo>
                      <a:pt x="79457" y="64028"/>
                      <a:pt x="193628" y="48600"/>
                      <a:pt x="196714" y="48600"/>
                    </a:cubicBezTo>
                    <a:cubicBezTo>
                      <a:pt x="199800" y="48600"/>
                      <a:pt x="202886" y="51686"/>
                      <a:pt x="202886" y="54772"/>
                    </a:cubicBezTo>
                    <a:cubicBezTo>
                      <a:pt x="202886" y="57857"/>
                      <a:pt x="199800" y="60943"/>
                      <a:pt x="196714" y="60943"/>
                    </a:cubicBezTo>
                    <a:cubicBezTo>
                      <a:pt x="193628" y="60943"/>
                      <a:pt x="181285" y="64028"/>
                      <a:pt x="159686" y="640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C2B0DD47-E148-4317-A117-F43148216C0E}"/>
                  </a:ext>
                </a:extLst>
              </p:cNvPr>
              <p:cNvSpPr/>
              <p:nvPr/>
            </p:nvSpPr>
            <p:spPr>
              <a:xfrm>
                <a:off x="16680883" y="6502553"/>
                <a:ext cx="38571" cy="42428"/>
              </a:xfrm>
              <a:custGeom>
                <a:avLst/>
                <a:gdLst>
                  <a:gd name="connsiteX0" fmla="*/ 30086 w 38571"/>
                  <a:gd name="connsiteY0" fmla="*/ 42428 h 42428"/>
                  <a:gd name="connsiteX1" fmla="*/ 27000 w 38571"/>
                  <a:gd name="connsiteY1" fmla="*/ 39343 h 42428"/>
                  <a:gd name="connsiteX2" fmla="*/ 2314 w 38571"/>
                  <a:gd name="connsiteY2" fmla="*/ 11571 h 42428"/>
                  <a:gd name="connsiteX3" fmla="*/ 2314 w 38571"/>
                  <a:gd name="connsiteY3" fmla="*/ 2314 h 42428"/>
                  <a:gd name="connsiteX4" fmla="*/ 11571 w 38571"/>
                  <a:gd name="connsiteY4" fmla="*/ 2314 h 42428"/>
                  <a:gd name="connsiteX5" fmla="*/ 36257 w 38571"/>
                  <a:gd name="connsiteY5" fmla="*/ 30086 h 42428"/>
                  <a:gd name="connsiteX6" fmla="*/ 36257 w 38571"/>
                  <a:gd name="connsiteY6" fmla="*/ 39343 h 42428"/>
                  <a:gd name="connsiteX7" fmla="*/ 30086 w 38571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571" h="42428">
                    <a:moveTo>
                      <a:pt x="30086" y="42428"/>
                    </a:moveTo>
                    <a:cubicBezTo>
                      <a:pt x="30086" y="42428"/>
                      <a:pt x="27000" y="42428"/>
                      <a:pt x="27000" y="39343"/>
                    </a:cubicBezTo>
                    <a:lnTo>
                      <a:pt x="2314" y="11571"/>
                    </a:lnTo>
                    <a:cubicBezTo>
                      <a:pt x="-771" y="8485"/>
                      <a:pt x="-771" y="5400"/>
                      <a:pt x="2314" y="2314"/>
                    </a:cubicBezTo>
                    <a:cubicBezTo>
                      <a:pt x="5400" y="-771"/>
                      <a:pt x="8485" y="-771"/>
                      <a:pt x="11571" y="2314"/>
                    </a:cubicBezTo>
                    <a:lnTo>
                      <a:pt x="36257" y="30086"/>
                    </a:lnTo>
                    <a:cubicBezTo>
                      <a:pt x="39342" y="33171"/>
                      <a:pt x="39342" y="36257"/>
                      <a:pt x="36257" y="39343"/>
                    </a:cubicBezTo>
                    <a:cubicBezTo>
                      <a:pt x="30086" y="42428"/>
                      <a:pt x="30086" y="42428"/>
                      <a:pt x="30086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19E14DF3-C7DE-445E-8C6C-DE1E65CDA5AB}"/>
                  </a:ext>
                </a:extLst>
              </p:cNvPr>
              <p:cNvSpPr/>
              <p:nvPr/>
            </p:nvSpPr>
            <p:spPr>
              <a:xfrm>
                <a:off x="16637683" y="6530325"/>
                <a:ext cx="41656" cy="42428"/>
              </a:xfrm>
              <a:custGeom>
                <a:avLst/>
                <a:gdLst>
                  <a:gd name="connsiteX0" fmla="*/ 33172 w 41656"/>
                  <a:gd name="connsiteY0" fmla="*/ 42428 h 42428"/>
                  <a:gd name="connsiteX1" fmla="*/ 30086 w 41656"/>
                  <a:gd name="connsiteY1" fmla="*/ 39343 h 42428"/>
                  <a:gd name="connsiteX2" fmla="*/ 2314 w 41656"/>
                  <a:gd name="connsiteY2" fmla="*/ 11571 h 42428"/>
                  <a:gd name="connsiteX3" fmla="*/ 2314 w 41656"/>
                  <a:gd name="connsiteY3" fmla="*/ 2314 h 42428"/>
                  <a:gd name="connsiteX4" fmla="*/ 11571 w 41656"/>
                  <a:gd name="connsiteY4" fmla="*/ 2314 h 42428"/>
                  <a:gd name="connsiteX5" fmla="*/ 39342 w 41656"/>
                  <a:gd name="connsiteY5" fmla="*/ 30086 h 42428"/>
                  <a:gd name="connsiteX6" fmla="*/ 39342 w 41656"/>
                  <a:gd name="connsiteY6" fmla="*/ 39343 h 42428"/>
                  <a:gd name="connsiteX7" fmla="*/ 33172 w 41656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6" h="42428">
                    <a:moveTo>
                      <a:pt x="33172" y="42428"/>
                    </a:moveTo>
                    <a:cubicBezTo>
                      <a:pt x="33172" y="42428"/>
                      <a:pt x="30086" y="42428"/>
                      <a:pt x="30086" y="39343"/>
                    </a:cubicBezTo>
                    <a:lnTo>
                      <a:pt x="2314" y="11571"/>
                    </a:ln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399" y="-771"/>
                      <a:pt x="8485" y="-771"/>
                      <a:pt x="11571" y="2314"/>
                    </a:cubicBezTo>
                    <a:lnTo>
                      <a:pt x="39342" y="30086"/>
                    </a:lnTo>
                    <a:cubicBezTo>
                      <a:pt x="42428" y="33172"/>
                      <a:pt x="42428" y="36257"/>
                      <a:pt x="39342" y="39343"/>
                    </a:cubicBezTo>
                    <a:cubicBezTo>
                      <a:pt x="36257" y="42428"/>
                      <a:pt x="36257" y="42428"/>
                      <a:pt x="33172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AEEBCEEA-4C76-48B3-B532-F21F1D4C6E8B}"/>
                </a:ext>
              </a:extLst>
            </p:cNvPr>
            <p:cNvSpPr/>
            <p:nvPr/>
          </p:nvSpPr>
          <p:spPr>
            <a:xfrm>
              <a:off x="16488806" y="4027039"/>
              <a:ext cx="1209590" cy="2406856"/>
            </a:xfrm>
            <a:custGeom>
              <a:avLst/>
              <a:gdLst>
                <a:gd name="connsiteX0" fmla="*/ 111077 w 1209590"/>
                <a:gd name="connsiteY0" fmla="*/ 98743 h 2406856"/>
                <a:gd name="connsiteX1" fmla="*/ 6162 w 1209590"/>
                <a:gd name="connsiteY1" fmla="*/ 1512000 h 2406856"/>
                <a:gd name="connsiteX2" fmla="*/ 160448 w 1209590"/>
                <a:gd name="connsiteY2" fmla="*/ 2400686 h 2406856"/>
                <a:gd name="connsiteX3" fmla="*/ 459763 w 1209590"/>
                <a:gd name="connsiteY3" fmla="*/ 2400686 h 2406856"/>
                <a:gd name="connsiteX4" fmla="*/ 413477 w 1209590"/>
                <a:gd name="connsiteY4" fmla="*/ 1536686 h 2406856"/>
                <a:gd name="connsiteX5" fmla="*/ 610963 w 1209590"/>
                <a:gd name="connsiteY5" fmla="*/ 586286 h 2406856"/>
                <a:gd name="connsiteX6" fmla="*/ 694276 w 1209590"/>
                <a:gd name="connsiteY6" fmla="*/ 1564457 h 2406856"/>
                <a:gd name="connsiteX7" fmla="*/ 913362 w 1209590"/>
                <a:gd name="connsiteY7" fmla="*/ 2382172 h 2406856"/>
                <a:gd name="connsiteX8" fmla="*/ 1209591 w 1209590"/>
                <a:gd name="connsiteY8" fmla="*/ 2406857 h 2406856"/>
                <a:gd name="connsiteX9" fmla="*/ 1098505 w 1209590"/>
                <a:gd name="connsiteY9" fmla="*/ 1542857 h 2406856"/>
                <a:gd name="connsiteX10" fmla="*/ 1132448 w 1209590"/>
                <a:gd name="connsiteY10" fmla="*/ 0 h 2406856"/>
                <a:gd name="connsiteX11" fmla="*/ 111077 w 1209590"/>
                <a:gd name="connsiteY11" fmla="*/ 98743 h 2406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09590" h="2406856">
                  <a:moveTo>
                    <a:pt x="111077" y="98743"/>
                  </a:moveTo>
                  <a:cubicBezTo>
                    <a:pt x="111077" y="98743"/>
                    <a:pt x="-30867" y="1197257"/>
                    <a:pt x="6162" y="1512000"/>
                  </a:cubicBezTo>
                  <a:cubicBezTo>
                    <a:pt x="37020" y="1786629"/>
                    <a:pt x="160448" y="2400686"/>
                    <a:pt x="160448" y="2400686"/>
                  </a:cubicBezTo>
                  <a:lnTo>
                    <a:pt x="459763" y="2400686"/>
                  </a:lnTo>
                  <a:cubicBezTo>
                    <a:pt x="459763" y="2400686"/>
                    <a:pt x="407305" y="1635429"/>
                    <a:pt x="413477" y="1536686"/>
                  </a:cubicBezTo>
                  <a:cubicBezTo>
                    <a:pt x="419648" y="1394743"/>
                    <a:pt x="598620" y="617143"/>
                    <a:pt x="610963" y="586286"/>
                  </a:cubicBezTo>
                  <a:cubicBezTo>
                    <a:pt x="626391" y="555429"/>
                    <a:pt x="694276" y="1564457"/>
                    <a:pt x="694276" y="1564457"/>
                  </a:cubicBezTo>
                  <a:lnTo>
                    <a:pt x="913362" y="2382172"/>
                  </a:lnTo>
                  <a:lnTo>
                    <a:pt x="1209591" y="2406857"/>
                  </a:lnTo>
                  <a:cubicBezTo>
                    <a:pt x="1209591" y="2406857"/>
                    <a:pt x="1095419" y="1644686"/>
                    <a:pt x="1098505" y="1542857"/>
                  </a:cubicBezTo>
                  <a:cubicBezTo>
                    <a:pt x="1107763" y="1388571"/>
                    <a:pt x="1209591" y="120343"/>
                    <a:pt x="1132448" y="0"/>
                  </a:cubicBezTo>
                  <a:cubicBezTo>
                    <a:pt x="431991" y="33943"/>
                    <a:pt x="111077" y="98743"/>
                    <a:pt x="111077" y="98743"/>
                  </a:cubicBezTo>
                  <a:close/>
                </a:path>
              </a:pathLst>
            </a:custGeom>
            <a:solidFill>
              <a:srgbClr val="7F95BC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5BE2C8EE-A607-4F14-B956-0D855AAD694F}"/>
                </a:ext>
              </a:extLst>
            </p:cNvPr>
            <p:cNvSpPr/>
            <p:nvPr/>
          </p:nvSpPr>
          <p:spPr>
            <a:xfrm>
              <a:off x="17038054" y="4252296"/>
              <a:ext cx="70971" cy="367200"/>
            </a:xfrm>
            <a:custGeom>
              <a:avLst/>
              <a:gdLst>
                <a:gd name="connsiteX0" fmla="*/ 64800 w 70971"/>
                <a:gd name="connsiteY0" fmla="*/ 367200 h 367200"/>
                <a:gd name="connsiteX1" fmla="*/ 58628 w 70971"/>
                <a:gd name="connsiteY1" fmla="*/ 364114 h 367200"/>
                <a:gd name="connsiteX2" fmla="*/ 0 w 70971"/>
                <a:gd name="connsiteY2" fmla="*/ 6172 h 367200"/>
                <a:gd name="connsiteX3" fmla="*/ 6171 w 70971"/>
                <a:gd name="connsiteY3" fmla="*/ 0 h 367200"/>
                <a:gd name="connsiteX4" fmla="*/ 6171 w 70971"/>
                <a:gd name="connsiteY4" fmla="*/ 0 h 367200"/>
                <a:gd name="connsiteX5" fmla="*/ 12343 w 70971"/>
                <a:gd name="connsiteY5" fmla="*/ 6172 h 367200"/>
                <a:gd name="connsiteX6" fmla="*/ 70971 w 70971"/>
                <a:gd name="connsiteY6" fmla="*/ 361029 h 367200"/>
                <a:gd name="connsiteX7" fmla="*/ 64800 w 70971"/>
                <a:gd name="connsiteY7" fmla="*/ 367200 h 367200"/>
                <a:gd name="connsiteX8" fmla="*/ 64800 w 70971"/>
                <a:gd name="connsiteY8" fmla="*/ 367200 h 3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971" h="367200">
                  <a:moveTo>
                    <a:pt x="64800" y="367200"/>
                  </a:moveTo>
                  <a:cubicBezTo>
                    <a:pt x="61714" y="367200"/>
                    <a:pt x="61714" y="367200"/>
                    <a:pt x="58628" y="364114"/>
                  </a:cubicBezTo>
                  <a:cubicBezTo>
                    <a:pt x="9257" y="246857"/>
                    <a:pt x="0" y="15429"/>
                    <a:pt x="0" y="6172"/>
                  </a:cubicBezTo>
                  <a:cubicBezTo>
                    <a:pt x="0" y="3086"/>
                    <a:pt x="3086" y="0"/>
                    <a:pt x="6171" y="0"/>
                  </a:cubicBezTo>
                  <a:cubicBezTo>
                    <a:pt x="6171" y="0"/>
                    <a:pt x="6171" y="0"/>
                    <a:pt x="6171" y="0"/>
                  </a:cubicBezTo>
                  <a:cubicBezTo>
                    <a:pt x="9257" y="0"/>
                    <a:pt x="12343" y="3086"/>
                    <a:pt x="12343" y="6172"/>
                  </a:cubicBezTo>
                  <a:cubicBezTo>
                    <a:pt x="12343" y="9257"/>
                    <a:pt x="21599" y="246857"/>
                    <a:pt x="70971" y="361029"/>
                  </a:cubicBezTo>
                  <a:cubicBezTo>
                    <a:pt x="70971" y="364114"/>
                    <a:pt x="67885" y="367200"/>
                    <a:pt x="64800" y="367200"/>
                  </a:cubicBezTo>
                  <a:cubicBezTo>
                    <a:pt x="64800" y="367200"/>
                    <a:pt x="64800" y="367200"/>
                    <a:pt x="64800" y="367200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A8CB88A6-F73C-4C76-9737-70B1CA8CBE64}"/>
                </a:ext>
              </a:extLst>
            </p:cNvPr>
            <p:cNvSpPr/>
            <p:nvPr/>
          </p:nvSpPr>
          <p:spPr>
            <a:xfrm>
              <a:off x="16923883" y="4181325"/>
              <a:ext cx="157371" cy="357942"/>
            </a:xfrm>
            <a:custGeom>
              <a:avLst/>
              <a:gdLst>
                <a:gd name="connsiteX0" fmla="*/ 148115 w 157371"/>
                <a:gd name="connsiteY0" fmla="*/ 357943 h 357942"/>
                <a:gd name="connsiteX1" fmla="*/ 145029 w 157371"/>
                <a:gd name="connsiteY1" fmla="*/ 357943 h 357942"/>
                <a:gd name="connsiteX2" fmla="*/ 33943 w 157371"/>
                <a:gd name="connsiteY2" fmla="*/ 277714 h 357942"/>
                <a:gd name="connsiteX3" fmla="*/ 0 w 157371"/>
                <a:gd name="connsiteY3" fmla="*/ 6171 h 357942"/>
                <a:gd name="connsiteX4" fmla="*/ 6172 w 157371"/>
                <a:gd name="connsiteY4" fmla="*/ 0 h 357942"/>
                <a:gd name="connsiteX5" fmla="*/ 12343 w 157371"/>
                <a:gd name="connsiteY5" fmla="*/ 6171 h 357942"/>
                <a:gd name="connsiteX6" fmla="*/ 46286 w 157371"/>
                <a:gd name="connsiteY6" fmla="*/ 271543 h 357942"/>
                <a:gd name="connsiteX7" fmla="*/ 154286 w 157371"/>
                <a:gd name="connsiteY7" fmla="*/ 348686 h 357942"/>
                <a:gd name="connsiteX8" fmla="*/ 157372 w 157371"/>
                <a:gd name="connsiteY8" fmla="*/ 357943 h 357942"/>
                <a:gd name="connsiteX9" fmla="*/ 148115 w 157371"/>
                <a:gd name="connsiteY9" fmla="*/ 357943 h 35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1" h="357942">
                  <a:moveTo>
                    <a:pt x="148115" y="357943"/>
                  </a:moveTo>
                  <a:cubicBezTo>
                    <a:pt x="148115" y="357943"/>
                    <a:pt x="145029" y="357943"/>
                    <a:pt x="145029" y="357943"/>
                  </a:cubicBezTo>
                  <a:cubicBezTo>
                    <a:pt x="135771" y="351771"/>
                    <a:pt x="46286" y="293143"/>
                    <a:pt x="33943" y="277714"/>
                  </a:cubicBezTo>
                  <a:cubicBezTo>
                    <a:pt x="21600" y="262286"/>
                    <a:pt x="3086" y="49371"/>
                    <a:pt x="0" y="6171"/>
                  </a:cubicBezTo>
                  <a:cubicBezTo>
                    <a:pt x="0" y="3086"/>
                    <a:pt x="3086" y="0"/>
                    <a:pt x="6172" y="0"/>
                  </a:cubicBezTo>
                  <a:cubicBezTo>
                    <a:pt x="9258" y="0"/>
                    <a:pt x="12343" y="3086"/>
                    <a:pt x="12343" y="6171"/>
                  </a:cubicBezTo>
                  <a:cubicBezTo>
                    <a:pt x="21600" y="101828"/>
                    <a:pt x="37029" y="259200"/>
                    <a:pt x="46286" y="271543"/>
                  </a:cubicBezTo>
                  <a:cubicBezTo>
                    <a:pt x="55543" y="280800"/>
                    <a:pt x="114172" y="324000"/>
                    <a:pt x="154286" y="348686"/>
                  </a:cubicBezTo>
                  <a:cubicBezTo>
                    <a:pt x="157372" y="351771"/>
                    <a:pt x="157372" y="354857"/>
                    <a:pt x="157372" y="357943"/>
                  </a:cubicBezTo>
                  <a:cubicBezTo>
                    <a:pt x="151200" y="357943"/>
                    <a:pt x="151200" y="357943"/>
                    <a:pt x="148115" y="357943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5D646544-A173-4645-8C9B-3CA4ECDF4E3F}"/>
                </a:ext>
              </a:extLst>
            </p:cNvPr>
            <p:cNvSpPr/>
            <p:nvPr/>
          </p:nvSpPr>
          <p:spPr>
            <a:xfrm>
              <a:off x="16578283" y="2397782"/>
              <a:ext cx="280799" cy="284739"/>
            </a:xfrm>
            <a:custGeom>
              <a:avLst/>
              <a:gdLst>
                <a:gd name="connsiteX0" fmla="*/ 0 w 280799"/>
                <a:gd name="connsiteY0" fmla="*/ 86400 h 284739"/>
                <a:gd name="connsiteX1" fmla="*/ 40114 w 280799"/>
                <a:gd name="connsiteY1" fmla="*/ 259200 h 284739"/>
                <a:gd name="connsiteX2" fmla="*/ 280799 w 280799"/>
                <a:gd name="connsiteY2" fmla="*/ 200571 h 284739"/>
                <a:gd name="connsiteX3" fmla="*/ 225257 w 280799"/>
                <a:gd name="connsiteY3" fmla="*/ 0 h 284739"/>
                <a:gd name="connsiteX4" fmla="*/ 0 w 280799"/>
                <a:gd name="connsiteY4" fmla="*/ 86400 h 284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799" h="284739">
                  <a:moveTo>
                    <a:pt x="0" y="86400"/>
                  </a:moveTo>
                  <a:cubicBezTo>
                    <a:pt x="0" y="86400"/>
                    <a:pt x="27771" y="185143"/>
                    <a:pt x="40114" y="259200"/>
                  </a:cubicBezTo>
                  <a:cubicBezTo>
                    <a:pt x="40114" y="259200"/>
                    <a:pt x="154286" y="345600"/>
                    <a:pt x="280799" y="200571"/>
                  </a:cubicBezTo>
                  <a:cubicBezTo>
                    <a:pt x="268457" y="138857"/>
                    <a:pt x="240685" y="64800"/>
                    <a:pt x="225257" y="0"/>
                  </a:cubicBezTo>
                  <a:cubicBezTo>
                    <a:pt x="228343" y="0"/>
                    <a:pt x="55542" y="89486"/>
                    <a:pt x="0" y="86400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52FE88F2-364A-41E3-A48E-7B4412A955B7}"/>
                </a:ext>
              </a:extLst>
            </p:cNvPr>
            <p:cNvSpPr/>
            <p:nvPr/>
          </p:nvSpPr>
          <p:spPr>
            <a:xfrm>
              <a:off x="16828225" y="2258925"/>
              <a:ext cx="59317" cy="151199"/>
            </a:xfrm>
            <a:custGeom>
              <a:avLst/>
              <a:gdLst>
                <a:gd name="connsiteX0" fmla="*/ 58629 w 59317"/>
                <a:gd name="connsiteY0" fmla="*/ 0 h 151199"/>
                <a:gd name="connsiteX1" fmla="*/ 18514 w 59317"/>
                <a:gd name="connsiteY1" fmla="*/ 151200 h 151199"/>
                <a:gd name="connsiteX2" fmla="*/ 0 w 59317"/>
                <a:gd name="connsiteY2" fmla="*/ 67886 h 151199"/>
                <a:gd name="connsiteX3" fmla="*/ 58629 w 59317"/>
                <a:gd name="connsiteY3" fmla="*/ 0 h 151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17" h="151199">
                  <a:moveTo>
                    <a:pt x="58629" y="0"/>
                  </a:moveTo>
                  <a:cubicBezTo>
                    <a:pt x="58629" y="0"/>
                    <a:pt x="67886" y="120343"/>
                    <a:pt x="18514" y="151200"/>
                  </a:cubicBezTo>
                  <a:lnTo>
                    <a:pt x="0" y="67886"/>
                  </a:lnTo>
                  <a:lnTo>
                    <a:pt x="58629" y="0"/>
                  </a:ln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62B5C35D-FECE-40CD-8FCD-7579E174263B}"/>
                </a:ext>
              </a:extLst>
            </p:cNvPr>
            <p:cNvSpPr/>
            <p:nvPr/>
          </p:nvSpPr>
          <p:spPr>
            <a:xfrm>
              <a:off x="16396225" y="2138582"/>
              <a:ext cx="121495" cy="229666"/>
            </a:xfrm>
            <a:custGeom>
              <a:avLst/>
              <a:gdLst>
                <a:gd name="connsiteX0" fmla="*/ 0 w 121495"/>
                <a:gd name="connsiteY0" fmla="*/ 3086 h 229666"/>
                <a:gd name="connsiteX1" fmla="*/ 86401 w 121495"/>
                <a:gd name="connsiteY1" fmla="*/ 228343 h 229666"/>
                <a:gd name="connsiteX2" fmla="*/ 98743 w 121495"/>
                <a:gd name="connsiteY2" fmla="*/ 0 h 229666"/>
                <a:gd name="connsiteX3" fmla="*/ 0 w 121495"/>
                <a:gd name="connsiteY3" fmla="*/ 3086 h 229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495" h="229666">
                  <a:moveTo>
                    <a:pt x="0" y="3086"/>
                  </a:moveTo>
                  <a:cubicBezTo>
                    <a:pt x="0" y="3086"/>
                    <a:pt x="6172" y="203657"/>
                    <a:pt x="86401" y="228343"/>
                  </a:cubicBezTo>
                  <a:cubicBezTo>
                    <a:pt x="157372" y="249943"/>
                    <a:pt x="98743" y="0"/>
                    <a:pt x="98743" y="0"/>
                  </a:cubicBezTo>
                  <a:lnTo>
                    <a:pt x="0" y="3086"/>
                  </a:ln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3C21CA8D-52F4-4069-A656-382D226D16C8}"/>
                </a:ext>
              </a:extLst>
            </p:cNvPr>
            <p:cNvSpPr/>
            <p:nvPr/>
          </p:nvSpPr>
          <p:spPr>
            <a:xfrm>
              <a:off x="16445597" y="1958827"/>
              <a:ext cx="422868" cy="575247"/>
            </a:xfrm>
            <a:custGeom>
              <a:avLst/>
              <a:gdLst>
                <a:gd name="connsiteX0" fmla="*/ 0 w 422868"/>
                <a:gd name="connsiteY0" fmla="*/ 219869 h 575247"/>
                <a:gd name="connsiteX1" fmla="*/ 46286 w 422868"/>
                <a:gd name="connsiteY1" fmla="*/ 469812 h 575247"/>
                <a:gd name="connsiteX2" fmla="*/ 231429 w 422868"/>
                <a:gd name="connsiteY2" fmla="*/ 574726 h 575247"/>
                <a:gd name="connsiteX3" fmla="*/ 419657 w 422868"/>
                <a:gd name="connsiteY3" fmla="*/ 389583 h 575247"/>
                <a:gd name="connsiteX4" fmla="*/ 413486 w 422868"/>
                <a:gd name="connsiteY4" fmla="*/ 158154 h 575247"/>
                <a:gd name="connsiteX5" fmla="*/ 163543 w 422868"/>
                <a:gd name="connsiteY5" fmla="*/ 783 h 575247"/>
                <a:gd name="connsiteX6" fmla="*/ 0 w 422868"/>
                <a:gd name="connsiteY6" fmla="*/ 219869 h 575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2868" h="575247">
                  <a:moveTo>
                    <a:pt x="0" y="219869"/>
                  </a:moveTo>
                  <a:cubicBezTo>
                    <a:pt x="0" y="219869"/>
                    <a:pt x="12343" y="398840"/>
                    <a:pt x="46286" y="469812"/>
                  </a:cubicBezTo>
                  <a:cubicBezTo>
                    <a:pt x="77143" y="531526"/>
                    <a:pt x="178972" y="580897"/>
                    <a:pt x="231429" y="574726"/>
                  </a:cubicBezTo>
                  <a:cubicBezTo>
                    <a:pt x="299315" y="568554"/>
                    <a:pt x="410401" y="503754"/>
                    <a:pt x="419657" y="389583"/>
                  </a:cubicBezTo>
                  <a:cubicBezTo>
                    <a:pt x="425829" y="312440"/>
                    <a:pt x="422743" y="210611"/>
                    <a:pt x="413486" y="158154"/>
                  </a:cubicBezTo>
                  <a:cubicBezTo>
                    <a:pt x="394972" y="65583"/>
                    <a:pt x="351771" y="-8474"/>
                    <a:pt x="163543" y="783"/>
                  </a:cubicBezTo>
                  <a:cubicBezTo>
                    <a:pt x="74057" y="3869"/>
                    <a:pt x="3086" y="136554"/>
                    <a:pt x="0" y="219869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356D31E2-24C5-4850-A8F4-DFB2D4AABC89}"/>
                </a:ext>
              </a:extLst>
            </p:cNvPr>
            <p:cNvSpPr/>
            <p:nvPr/>
          </p:nvSpPr>
          <p:spPr>
            <a:xfrm>
              <a:off x="16602969" y="2228067"/>
              <a:ext cx="70971" cy="138857"/>
            </a:xfrm>
            <a:custGeom>
              <a:avLst/>
              <a:gdLst>
                <a:gd name="connsiteX0" fmla="*/ 27771 w 70971"/>
                <a:gd name="connsiteY0" fmla="*/ 138857 h 138857"/>
                <a:gd name="connsiteX1" fmla="*/ 15429 w 70971"/>
                <a:gd name="connsiteY1" fmla="*/ 135771 h 138857"/>
                <a:gd name="connsiteX2" fmla="*/ 6172 w 70971"/>
                <a:gd name="connsiteY2" fmla="*/ 123429 h 138857"/>
                <a:gd name="connsiteX3" fmla="*/ 0 w 70971"/>
                <a:gd name="connsiteY3" fmla="*/ 6171 h 138857"/>
                <a:gd name="connsiteX4" fmla="*/ 6172 w 70971"/>
                <a:gd name="connsiteY4" fmla="*/ 0 h 138857"/>
                <a:gd name="connsiteX5" fmla="*/ 12343 w 70971"/>
                <a:gd name="connsiteY5" fmla="*/ 6171 h 138857"/>
                <a:gd name="connsiteX6" fmla="*/ 18514 w 70971"/>
                <a:gd name="connsiteY6" fmla="*/ 120343 h 138857"/>
                <a:gd name="connsiteX7" fmla="*/ 21600 w 70971"/>
                <a:gd name="connsiteY7" fmla="*/ 123429 h 138857"/>
                <a:gd name="connsiteX8" fmla="*/ 61714 w 70971"/>
                <a:gd name="connsiteY8" fmla="*/ 117257 h 138857"/>
                <a:gd name="connsiteX9" fmla="*/ 70971 w 70971"/>
                <a:gd name="connsiteY9" fmla="*/ 120343 h 138857"/>
                <a:gd name="connsiteX10" fmla="*/ 67886 w 70971"/>
                <a:gd name="connsiteY10" fmla="*/ 129600 h 138857"/>
                <a:gd name="connsiteX11" fmla="*/ 27771 w 70971"/>
                <a:gd name="connsiteY11" fmla="*/ 138857 h 13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0971" h="138857">
                  <a:moveTo>
                    <a:pt x="27771" y="138857"/>
                  </a:moveTo>
                  <a:cubicBezTo>
                    <a:pt x="21600" y="138857"/>
                    <a:pt x="18514" y="138857"/>
                    <a:pt x="15429" y="135771"/>
                  </a:cubicBezTo>
                  <a:cubicBezTo>
                    <a:pt x="12343" y="132686"/>
                    <a:pt x="9257" y="129600"/>
                    <a:pt x="6172" y="123429"/>
                  </a:cubicBezTo>
                  <a:cubicBezTo>
                    <a:pt x="3086" y="101829"/>
                    <a:pt x="0" y="12343"/>
                    <a:pt x="0" y="6171"/>
                  </a:cubicBezTo>
                  <a:cubicBezTo>
                    <a:pt x="0" y="3086"/>
                    <a:pt x="3086" y="0"/>
                    <a:pt x="6172" y="0"/>
                  </a:cubicBezTo>
                  <a:cubicBezTo>
                    <a:pt x="9257" y="0"/>
                    <a:pt x="12343" y="3086"/>
                    <a:pt x="12343" y="6171"/>
                  </a:cubicBezTo>
                  <a:cubicBezTo>
                    <a:pt x="12343" y="6171"/>
                    <a:pt x="12343" y="101829"/>
                    <a:pt x="18514" y="120343"/>
                  </a:cubicBezTo>
                  <a:cubicBezTo>
                    <a:pt x="18514" y="120343"/>
                    <a:pt x="18514" y="123429"/>
                    <a:pt x="21600" y="123429"/>
                  </a:cubicBezTo>
                  <a:cubicBezTo>
                    <a:pt x="27771" y="126514"/>
                    <a:pt x="49372" y="123429"/>
                    <a:pt x="61714" y="117257"/>
                  </a:cubicBezTo>
                  <a:cubicBezTo>
                    <a:pt x="64800" y="117257"/>
                    <a:pt x="67886" y="117257"/>
                    <a:pt x="70971" y="120343"/>
                  </a:cubicBezTo>
                  <a:cubicBezTo>
                    <a:pt x="70971" y="123429"/>
                    <a:pt x="70971" y="126514"/>
                    <a:pt x="67886" y="129600"/>
                  </a:cubicBezTo>
                  <a:cubicBezTo>
                    <a:pt x="58628" y="132686"/>
                    <a:pt x="40114" y="138857"/>
                    <a:pt x="27771" y="138857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16B485CB-646C-481D-93CB-B564D2D11552}"/>
                </a:ext>
              </a:extLst>
            </p:cNvPr>
            <p:cNvSpPr/>
            <p:nvPr/>
          </p:nvSpPr>
          <p:spPr>
            <a:xfrm>
              <a:off x="16516569" y="2221896"/>
              <a:ext cx="40113" cy="40114"/>
            </a:xfrm>
            <a:custGeom>
              <a:avLst/>
              <a:gdLst>
                <a:gd name="connsiteX0" fmla="*/ 40114 w 40113"/>
                <a:gd name="connsiteY0" fmla="*/ 21600 h 40114"/>
                <a:gd name="connsiteX1" fmla="*/ 18514 w 40113"/>
                <a:gd name="connsiteY1" fmla="*/ 40114 h 40114"/>
                <a:gd name="connsiteX2" fmla="*/ 0 w 40113"/>
                <a:gd name="connsiteY2" fmla="*/ 18514 h 40114"/>
                <a:gd name="connsiteX3" fmla="*/ 21599 w 40113"/>
                <a:gd name="connsiteY3" fmla="*/ 0 h 40114"/>
                <a:gd name="connsiteX4" fmla="*/ 40114 w 40113"/>
                <a:gd name="connsiteY4" fmla="*/ 21600 h 4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13" h="40114">
                  <a:moveTo>
                    <a:pt x="40114" y="21600"/>
                  </a:moveTo>
                  <a:cubicBezTo>
                    <a:pt x="40114" y="33943"/>
                    <a:pt x="30857" y="40114"/>
                    <a:pt x="18514" y="40114"/>
                  </a:cubicBezTo>
                  <a:cubicBezTo>
                    <a:pt x="6171" y="40114"/>
                    <a:pt x="0" y="30857"/>
                    <a:pt x="0" y="18514"/>
                  </a:cubicBezTo>
                  <a:cubicBezTo>
                    <a:pt x="0" y="6171"/>
                    <a:pt x="9257" y="0"/>
                    <a:pt x="21599" y="0"/>
                  </a:cubicBezTo>
                  <a:cubicBezTo>
                    <a:pt x="30857" y="0"/>
                    <a:pt x="40114" y="9257"/>
                    <a:pt x="40114" y="21600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A7B86C3E-FA3B-46F3-932A-4934D21CB83A}"/>
                </a:ext>
              </a:extLst>
            </p:cNvPr>
            <p:cNvSpPr/>
            <p:nvPr/>
          </p:nvSpPr>
          <p:spPr>
            <a:xfrm>
              <a:off x="16701712" y="2203382"/>
              <a:ext cx="40113" cy="40114"/>
            </a:xfrm>
            <a:custGeom>
              <a:avLst/>
              <a:gdLst>
                <a:gd name="connsiteX0" fmla="*/ 40114 w 40113"/>
                <a:gd name="connsiteY0" fmla="*/ 21600 h 40114"/>
                <a:gd name="connsiteX1" fmla="*/ 18514 w 40113"/>
                <a:gd name="connsiteY1" fmla="*/ 40114 h 40114"/>
                <a:gd name="connsiteX2" fmla="*/ 0 w 40113"/>
                <a:gd name="connsiteY2" fmla="*/ 18514 h 40114"/>
                <a:gd name="connsiteX3" fmla="*/ 21599 w 40113"/>
                <a:gd name="connsiteY3" fmla="*/ 0 h 40114"/>
                <a:gd name="connsiteX4" fmla="*/ 40114 w 40113"/>
                <a:gd name="connsiteY4" fmla="*/ 21600 h 4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13" h="40114">
                  <a:moveTo>
                    <a:pt x="40114" y="21600"/>
                  </a:moveTo>
                  <a:cubicBezTo>
                    <a:pt x="40114" y="33943"/>
                    <a:pt x="30857" y="40114"/>
                    <a:pt x="18514" y="40114"/>
                  </a:cubicBezTo>
                  <a:cubicBezTo>
                    <a:pt x="6171" y="40114"/>
                    <a:pt x="0" y="30857"/>
                    <a:pt x="0" y="18514"/>
                  </a:cubicBezTo>
                  <a:cubicBezTo>
                    <a:pt x="0" y="6171"/>
                    <a:pt x="9257" y="0"/>
                    <a:pt x="21599" y="0"/>
                  </a:cubicBezTo>
                  <a:cubicBezTo>
                    <a:pt x="30857" y="3086"/>
                    <a:pt x="40114" y="12343"/>
                    <a:pt x="40114" y="21600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E7B41C95-D971-429A-943F-B369E5B6E626}"/>
                </a:ext>
              </a:extLst>
            </p:cNvPr>
            <p:cNvSpPr/>
            <p:nvPr/>
          </p:nvSpPr>
          <p:spPr>
            <a:xfrm>
              <a:off x="16481348" y="2173829"/>
              <a:ext cx="90763" cy="41895"/>
            </a:xfrm>
            <a:custGeom>
              <a:avLst/>
              <a:gdLst>
                <a:gd name="connsiteX0" fmla="*/ 7449 w 90763"/>
                <a:gd name="connsiteY0" fmla="*/ 41896 h 41895"/>
                <a:gd name="connsiteX1" fmla="*/ 4364 w 90763"/>
                <a:gd name="connsiteY1" fmla="*/ 41896 h 41895"/>
                <a:gd name="connsiteX2" fmla="*/ 1278 w 90763"/>
                <a:gd name="connsiteY2" fmla="*/ 29553 h 41895"/>
                <a:gd name="connsiteX3" fmla="*/ 84592 w 90763"/>
                <a:gd name="connsiteY3" fmla="*/ 1782 h 41895"/>
                <a:gd name="connsiteX4" fmla="*/ 90764 w 90763"/>
                <a:gd name="connsiteY4" fmla="*/ 11039 h 41895"/>
                <a:gd name="connsiteX5" fmla="*/ 81507 w 90763"/>
                <a:gd name="connsiteY5" fmla="*/ 17210 h 41895"/>
                <a:gd name="connsiteX6" fmla="*/ 16707 w 90763"/>
                <a:gd name="connsiteY6" fmla="*/ 35724 h 41895"/>
                <a:gd name="connsiteX7" fmla="*/ 7449 w 90763"/>
                <a:gd name="connsiteY7" fmla="*/ 41896 h 41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763" h="41895">
                  <a:moveTo>
                    <a:pt x="7449" y="41896"/>
                  </a:moveTo>
                  <a:cubicBezTo>
                    <a:pt x="7449" y="41896"/>
                    <a:pt x="4364" y="41896"/>
                    <a:pt x="4364" y="41896"/>
                  </a:cubicBezTo>
                  <a:cubicBezTo>
                    <a:pt x="1278" y="38810"/>
                    <a:pt x="-1808" y="35724"/>
                    <a:pt x="1278" y="29553"/>
                  </a:cubicBezTo>
                  <a:cubicBezTo>
                    <a:pt x="22878" y="-4390"/>
                    <a:pt x="66078" y="-1304"/>
                    <a:pt x="84592" y="1782"/>
                  </a:cubicBezTo>
                  <a:cubicBezTo>
                    <a:pt x="87678" y="1782"/>
                    <a:pt x="90764" y="7953"/>
                    <a:pt x="90764" y="11039"/>
                  </a:cubicBezTo>
                  <a:cubicBezTo>
                    <a:pt x="90764" y="14124"/>
                    <a:pt x="84592" y="17210"/>
                    <a:pt x="81507" y="17210"/>
                  </a:cubicBezTo>
                  <a:cubicBezTo>
                    <a:pt x="78421" y="17210"/>
                    <a:pt x="35221" y="4867"/>
                    <a:pt x="16707" y="35724"/>
                  </a:cubicBezTo>
                  <a:cubicBezTo>
                    <a:pt x="13621" y="38810"/>
                    <a:pt x="10535" y="41896"/>
                    <a:pt x="7449" y="41896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81162F32-7F40-42A4-B6AA-BCF11D1A3EAA}"/>
                </a:ext>
              </a:extLst>
            </p:cNvPr>
            <p:cNvSpPr/>
            <p:nvPr/>
          </p:nvSpPr>
          <p:spPr>
            <a:xfrm>
              <a:off x="16668540" y="2137729"/>
              <a:ext cx="91799" cy="34795"/>
            </a:xfrm>
            <a:custGeom>
              <a:avLst/>
              <a:gdLst>
                <a:gd name="connsiteX0" fmla="*/ 8485 w 91799"/>
                <a:gd name="connsiteY0" fmla="*/ 34795 h 34795"/>
                <a:gd name="connsiteX1" fmla="*/ 2314 w 91799"/>
                <a:gd name="connsiteY1" fmla="*/ 31709 h 34795"/>
                <a:gd name="connsiteX2" fmla="*/ 2314 w 91799"/>
                <a:gd name="connsiteY2" fmla="*/ 19367 h 34795"/>
                <a:gd name="connsiteX3" fmla="*/ 88714 w 91799"/>
                <a:gd name="connsiteY3" fmla="*/ 13195 h 34795"/>
                <a:gd name="connsiteX4" fmla="*/ 91800 w 91799"/>
                <a:gd name="connsiteY4" fmla="*/ 25538 h 34795"/>
                <a:gd name="connsiteX5" fmla="*/ 79457 w 91799"/>
                <a:gd name="connsiteY5" fmla="*/ 28624 h 34795"/>
                <a:gd name="connsiteX6" fmla="*/ 11571 w 91799"/>
                <a:gd name="connsiteY6" fmla="*/ 34795 h 34795"/>
                <a:gd name="connsiteX7" fmla="*/ 8485 w 91799"/>
                <a:gd name="connsiteY7" fmla="*/ 34795 h 34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99" h="34795">
                  <a:moveTo>
                    <a:pt x="8485" y="34795"/>
                  </a:moveTo>
                  <a:cubicBezTo>
                    <a:pt x="5399" y="34795"/>
                    <a:pt x="5399" y="34795"/>
                    <a:pt x="2314" y="31709"/>
                  </a:cubicBezTo>
                  <a:cubicBezTo>
                    <a:pt x="-771" y="28624"/>
                    <a:pt x="-771" y="22452"/>
                    <a:pt x="2314" y="19367"/>
                  </a:cubicBezTo>
                  <a:cubicBezTo>
                    <a:pt x="36257" y="-11491"/>
                    <a:pt x="73285" y="852"/>
                    <a:pt x="88714" y="13195"/>
                  </a:cubicBezTo>
                  <a:cubicBezTo>
                    <a:pt x="91800" y="16281"/>
                    <a:pt x="91800" y="19367"/>
                    <a:pt x="91800" y="25538"/>
                  </a:cubicBezTo>
                  <a:cubicBezTo>
                    <a:pt x="88714" y="28624"/>
                    <a:pt x="85628" y="28624"/>
                    <a:pt x="79457" y="28624"/>
                  </a:cubicBezTo>
                  <a:cubicBezTo>
                    <a:pt x="79457" y="28624"/>
                    <a:pt x="42428" y="3938"/>
                    <a:pt x="11571" y="34795"/>
                  </a:cubicBezTo>
                  <a:cubicBezTo>
                    <a:pt x="11571" y="34795"/>
                    <a:pt x="11571" y="34795"/>
                    <a:pt x="8485" y="34795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D21E990F-810C-4C5D-A437-76EBDBE80D8F}"/>
                </a:ext>
              </a:extLst>
            </p:cNvPr>
            <p:cNvSpPr/>
            <p:nvPr/>
          </p:nvSpPr>
          <p:spPr>
            <a:xfrm>
              <a:off x="16602969" y="2441753"/>
              <a:ext cx="224485" cy="94885"/>
            </a:xfrm>
            <a:custGeom>
              <a:avLst/>
              <a:gdLst>
                <a:gd name="connsiteX0" fmla="*/ 64800 w 224485"/>
                <a:gd name="connsiteY0" fmla="*/ 94886 h 94885"/>
                <a:gd name="connsiteX1" fmla="*/ 3086 w 224485"/>
                <a:gd name="connsiteY1" fmla="*/ 79457 h 94885"/>
                <a:gd name="connsiteX2" fmla="*/ 0 w 224485"/>
                <a:gd name="connsiteY2" fmla="*/ 70200 h 94885"/>
                <a:gd name="connsiteX3" fmla="*/ 9257 w 224485"/>
                <a:gd name="connsiteY3" fmla="*/ 67114 h 94885"/>
                <a:gd name="connsiteX4" fmla="*/ 83315 w 224485"/>
                <a:gd name="connsiteY4" fmla="*/ 79457 h 94885"/>
                <a:gd name="connsiteX5" fmla="*/ 212914 w 224485"/>
                <a:gd name="connsiteY5" fmla="*/ 2314 h 94885"/>
                <a:gd name="connsiteX6" fmla="*/ 222172 w 224485"/>
                <a:gd name="connsiteY6" fmla="*/ 2314 h 94885"/>
                <a:gd name="connsiteX7" fmla="*/ 222172 w 224485"/>
                <a:gd name="connsiteY7" fmla="*/ 11571 h 94885"/>
                <a:gd name="connsiteX8" fmla="*/ 86400 w 224485"/>
                <a:gd name="connsiteY8" fmla="*/ 91800 h 94885"/>
                <a:gd name="connsiteX9" fmla="*/ 64800 w 224485"/>
                <a:gd name="connsiteY9" fmla="*/ 94886 h 94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485" h="94885">
                  <a:moveTo>
                    <a:pt x="64800" y="94886"/>
                  </a:moveTo>
                  <a:cubicBezTo>
                    <a:pt x="30857" y="94886"/>
                    <a:pt x="6172" y="82543"/>
                    <a:pt x="3086" y="79457"/>
                  </a:cubicBezTo>
                  <a:cubicBezTo>
                    <a:pt x="0" y="79457"/>
                    <a:pt x="0" y="73286"/>
                    <a:pt x="0" y="70200"/>
                  </a:cubicBezTo>
                  <a:cubicBezTo>
                    <a:pt x="0" y="67114"/>
                    <a:pt x="6172" y="67114"/>
                    <a:pt x="9257" y="67114"/>
                  </a:cubicBezTo>
                  <a:cubicBezTo>
                    <a:pt x="9257" y="67114"/>
                    <a:pt x="46286" y="85629"/>
                    <a:pt x="83315" y="79457"/>
                  </a:cubicBezTo>
                  <a:cubicBezTo>
                    <a:pt x="132685" y="70200"/>
                    <a:pt x="212914" y="2314"/>
                    <a:pt x="212914" y="2314"/>
                  </a:cubicBezTo>
                  <a:cubicBezTo>
                    <a:pt x="216000" y="-771"/>
                    <a:pt x="219086" y="-771"/>
                    <a:pt x="222172" y="2314"/>
                  </a:cubicBezTo>
                  <a:cubicBezTo>
                    <a:pt x="225257" y="5400"/>
                    <a:pt x="225257" y="8486"/>
                    <a:pt x="222172" y="11571"/>
                  </a:cubicBezTo>
                  <a:cubicBezTo>
                    <a:pt x="219086" y="14657"/>
                    <a:pt x="138857" y="82543"/>
                    <a:pt x="86400" y="91800"/>
                  </a:cubicBezTo>
                  <a:cubicBezTo>
                    <a:pt x="80229" y="94886"/>
                    <a:pt x="74057" y="94886"/>
                    <a:pt x="64800" y="94886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0528B1D3-C2B9-4100-A7A9-83805FC56C78}"/>
                </a:ext>
              </a:extLst>
            </p:cNvPr>
            <p:cNvSpPr/>
            <p:nvPr/>
          </p:nvSpPr>
          <p:spPr>
            <a:xfrm>
              <a:off x="16772683" y="1947267"/>
              <a:ext cx="102067" cy="265371"/>
            </a:xfrm>
            <a:custGeom>
              <a:avLst/>
              <a:gdLst>
                <a:gd name="connsiteX0" fmla="*/ 0 w 102067"/>
                <a:gd name="connsiteY0" fmla="*/ 135771 h 265371"/>
                <a:gd name="connsiteX1" fmla="*/ 77143 w 102067"/>
                <a:gd name="connsiteY1" fmla="*/ 265371 h 265371"/>
                <a:gd name="connsiteX2" fmla="*/ 101828 w 102067"/>
                <a:gd name="connsiteY2" fmla="*/ 151200 h 265371"/>
                <a:gd name="connsiteX3" fmla="*/ 24685 w 102067"/>
                <a:gd name="connsiteY3" fmla="*/ 0 h 265371"/>
                <a:gd name="connsiteX4" fmla="*/ 0 w 102067"/>
                <a:gd name="connsiteY4" fmla="*/ 135771 h 265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067" h="265371">
                  <a:moveTo>
                    <a:pt x="0" y="135771"/>
                  </a:moveTo>
                  <a:cubicBezTo>
                    <a:pt x="0" y="135771"/>
                    <a:pt x="77143" y="234514"/>
                    <a:pt x="77143" y="265371"/>
                  </a:cubicBezTo>
                  <a:cubicBezTo>
                    <a:pt x="77143" y="265371"/>
                    <a:pt x="104914" y="240686"/>
                    <a:pt x="101828" y="151200"/>
                  </a:cubicBezTo>
                  <a:cubicBezTo>
                    <a:pt x="98743" y="89486"/>
                    <a:pt x="92571" y="3086"/>
                    <a:pt x="24685" y="0"/>
                  </a:cubicBezTo>
                  <a:cubicBezTo>
                    <a:pt x="24685" y="0"/>
                    <a:pt x="37029" y="108000"/>
                    <a:pt x="0" y="135771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169A7FCA-8EC3-44F5-B859-DB74E503474B}"/>
                </a:ext>
              </a:extLst>
            </p:cNvPr>
            <p:cNvSpPr/>
            <p:nvPr/>
          </p:nvSpPr>
          <p:spPr>
            <a:xfrm>
              <a:off x="16322168" y="1866004"/>
              <a:ext cx="497668" cy="298326"/>
            </a:xfrm>
            <a:custGeom>
              <a:avLst/>
              <a:gdLst>
                <a:gd name="connsiteX0" fmla="*/ 450514 w 497668"/>
                <a:gd name="connsiteY0" fmla="*/ 217035 h 298326"/>
                <a:gd name="connsiteX1" fmla="*/ 320914 w 497668"/>
                <a:gd name="connsiteY1" fmla="*/ 204692 h 298326"/>
                <a:gd name="connsiteX2" fmla="*/ 0 w 497668"/>
                <a:gd name="connsiteY2" fmla="*/ 257149 h 298326"/>
                <a:gd name="connsiteX3" fmla="*/ 333258 w 497668"/>
                <a:gd name="connsiteY3" fmla="*/ 1035 h 298326"/>
                <a:gd name="connsiteX4" fmla="*/ 472115 w 497668"/>
                <a:gd name="connsiteY4" fmla="*/ 84349 h 298326"/>
                <a:gd name="connsiteX5" fmla="*/ 450514 w 497668"/>
                <a:gd name="connsiteY5" fmla="*/ 217035 h 29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7668" h="298326">
                  <a:moveTo>
                    <a:pt x="450514" y="217035"/>
                  </a:moveTo>
                  <a:cubicBezTo>
                    <a:pt x="450514" y="217035"/>
                    <a:pt x="348686" y="198521"/>
                    <a:pt x="320914" y="204692"/>
                  </a:cubicBezTo>
                  <a:cubicBezTo>
                    <a:pt x="222172" y="229378"/>
                    <a:pt x="117258" y="365149"/>
                    <a:pt x="0" y="257149"/>
                  </a:cubicBezTo>
                  <a:cubicBezTo>
                    <a:pt x="24686" y="146063"/>
                    <a:pt x="160458" y="-14394"/>
                    <a:pt x="333258" y="1035"/>
                  </a:cubicBezTo>
                  <a:cubicBezTo>
                    <a:pt x="416571" y="7206"/>
                    <a:pt x="459771" y="50406"/>
                    <a:pt x="472115" y="84349"/>
                  </a:cubicBezTo>
                  <a:cubicBezTo>
                    <a:pt x="475200" y="81263"/>
                    <a:pt x="540000" y="186178"/>
                    <a:pt x="450514" y="217035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57F0D08B-591E-4C49-85CB-0550BC458737}"/>
                </a:ext>
              </a:extLst>
            </p:cNvPr>
            <p:cNvSpPr/>
            <p:nvPr/>
          </p:nvSpPr>
          <p:spPr>
            <a:xfrm>
              <a:off x="16843241" y="2172908"/>
              <a:ext cx="71463" cy="115812"/>
            </a:xfrm>
            <a:custGeom>
              <a:avLst/>
              <a:gdLst>
                <a:gd name="connsiteX0" fmla="*/ 3499 w 71463"/>
                <a:gd name="connsiteY0" fmla="*/ 24302 h 115812"/>
                <a:gd name="connsiteX1" fmla="*/ 59042 w 71463"/>
                <a:gd name="connsiteY1" fmla="*/ 2702 h 115812"/>
                <a:gd name="connsiteX2" fmla="*/ 22013 w 71463"/>
                <a:gd name="connsiteY2" fmla="*/ 113788 h 115812"/>
                <a:gd name="connsiteX3" fmla="*/ 3499 w 71463"/>
                <a:gd name="connsiteY3" fmla="*/ 24302 h 115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63" h="115812">
                  <a:moveTo>
                    <a:pt x="3499" y="24302"/>
                  </a:moveTo>
                  <a:cubicBezTo>
                    <a:pt x="3499" y="24302"/>
                    <a:pt x="31270" y="-9641"/>
                    <a:pt x="59042" y="2702"/>
                  </a:cubicBezTo>
                  <a:cubicBezTo>
                    <a:pt x="86813" y="18131"/>
                    <a:pt x="65213" y="132302"/>
                    <a:pt x="22013" y="113788"/>
                  </a:cubicBezTo>
                  <a:cubicBezTo>
                    <a:pt x="-11930" y="101445"/>
                    <a:pt x="3499" y="24302"/>
                    <a:pt x="3499" y="24302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94094AFA-6258-4033-8DBC-035E9CBB19A0}"/>
                </a:ext>
              </a:extLst>
            </p:cNvPr>
            <p:cNvSpPr/>
            <p:nvPr/>
          </p:nvSpPr>
          <p:spPr>
            <a:xfrm>
              <a:off x="16308948" y="2555153"/>
              <a:ext cx="1346249" cy="1632342"/>
            </a:xfrm>
            <a:custGeom>
              <a:avLst/>
              <a:gdLst>
                <a:gd name="connsiteX0" fmla="*/ 559392 w 1346249"/>
                <a:gd name="connsiteY0" fmla="*/ 0 h 1632342"/>
                <a:gd name="connsiteX1" fmla="*/ 272420 w 1346249"/>
                <a:gd name="connsiteY1" fmla="*/ 58629 h 1632342"/>
                <a:gd name="connsiteX2" fmla="*/ 878 w 1346249"/>
                <a:gd name="connsiteY2" fmla="*/ 246857 h 1632342"/>
                <a:gd name="connsiteX3" fmla="*/ 235392 w 1346249"/>
                <a:gd name="connsiteY3" fmla="*/ 1632343 h 1632342"/>
                <a:gd name="connsiteX4" fmla="*/ 1346249 w 1346249"/>
                <a:gd name="connsiteY4" fmla="*/ 1549029 h 1632342"/>
                <a:gd name="connsiteX5" fmla="*/ 858706 w 1346249"/>
                <a:gd name="connsiteY5" fmla="*/ 43200 h 1632342"/>
                <a:gd name="connsiteX6" fmla="*/ 559392 w 1346249"/>
                <a:gd name="connsiteY6" fmla="*/ 0 h 163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6249" h="1632342">
                  <a:moveTo>
                    <a:pt x="559392" y="0"/>
                  </a:moveTo>
                  <a:cubicBezTo>
                    <a:pt x="559392" y="0"/>
                    <a:pt x="398935" y="89486"/>
                    <a:pt x="272420" y="58629"/>
                  </a:cubicBezTo>
                  <a:cubicBezTo>
                    <a:pt x="272420" y="58629"/>
                    <a:pt x="19392" y="209829"/>
                    <a:pt x="878" y="246857"/>
                  </a:cubicBezTo>
                  <a:cubicBezTo>
                    <a:pt x="-17637" y="283886"/>
                    <a:pt x="263164" y="1481143"/>
                    <a:pt x="235392" y="1632343"/>
                  </a:cubicBezTo>
                  <a:cubicBezTo>
                    <a:pt x="235392" y="1632343"/>
                    <a:pt x="695164" y="1626172"/>
                    <a:pt x="1346249" y="1549029"/>
                  </a:cubicBezTo>
                  <a:cubicBezTo>
                    <a:pt x="1207392" y="552343"/>
                    <a:pt x="904992" y="67886"/>
                    <a:pt x="858706" y="43200"/>
                  </a:cubicBezTo>
                  <a:cubicBezTo>
                    <a:pt x="812420" y="21600"/>
                    <a:pt x="559392" y="0"/>
                    <a:pt x="559392" y="0"/>
                  </a:cubicBezTo>
                  <a:close/>
                </a:path>
              </a:pathLst>
            </a:custGeom>
            <a:solidFill>
              <a:srgbClr val="D1615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65460173-F7F8-4CD9-BCB6-2FF50920B695}"/>
                </a:ext>
              </a:extLst>
            </p:cNvPr>
            <p:cNvSpPr/>
            <p:nvPr/>
          </p:nvSpPr>
          <p:spPr>
            <a:xfrm>
              <a:off x="16306740" y="2795839"/>
              <a:ext cx="138857" cy="697371"/>
            </a:xfrm>
            <a:custGeom>
              <a:avLst/>
              <a:gdLst>
                <a:gd name="connsiteX0" fmla="*/ 132686 w 138857"/>
                <a:gd name="connsiteY0" fmla="*/ 697371 h 697371"/>
                <a:gd name="connsiteX1" fmla="*/ 126514 w 138857"/>
                <a:gd name="connsiteY1" fmla="*/ 694286 h 697371"/>
                <a:gd name="connsiteX2" fmla="*/ 0 w 138857"/>
                <a:gd name="connsiteY2" fmla="*/ 6171 h 697371"/>
                <a:gd name="connsiteX3" fmla="*/ 6172 w 138857"/>
                <a:gd name="connsiteY3" fmla="*/ 0 h 697371"/>
                <a:gd name="connsiteX4" fmla="*/ 6172 w 138857"/>
                <a:gd name="connsiteY4" fmla="*/ 0 h 697371"/>
                <a:gd name="connsiteX5" fmla="*/ 12343 w 138857"/>
                <a:gd name="connsiteY5" fmla="*/ 6171 h 697371"/>
                <a:gd name="connsiteX6" fmla="*/ 138857 w 138857"/>
                <a:gd name="connsiteY6" fmla="*/ 691200 h 697371"/>
                <a:gd name="connsiteX7" fmla="*/ 132686 w 138857"/>
                <a:gd name="connsiteY7" fmla="*/ 697371 h 697371"/>
                <a:gd name="connsiteX8" fmla="*/ 132686 w 138857"/>
                <a:gd name="connsiteY8" fmla="*/ 697371 h 69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857" h="697371">
                  <a:moveTo>
                    <a:pt x="132686" y="697371"/>
                  </a:moveTo>
                  <a:cubicBezTo>
                    <a:pt x="129600" y="697371"/>
                    <a:pt x="126514" y="694286"/>
                    <a:pt x="126514" y="694286"/>
                  </a:cubicBezTo>
                  <a:cubicBezTo>
                    <a:pt x="120343" y="666514"/>
                    <a:pt x="0" y="46286"/>
                    <a:pt x="0" y="6171"/>
                  </a:cubicBezTo>
                  <a:cubicBezTo>
                    <a:pt x="0" y="3086"/>
                    <a:pt x="3086" y="0"/>
                    <a:pt x="6172" y="0"/>
                  </a:cubicBezTo>
                  <a:lnTo>
                    <a:pt x="6172" y="0"/>
                  </a:lnTo>
                  <a:cubicBezTo>
                    <a:pt x="9258" y="0"/>
                    <a:pt x="12343" y="3086"/>
                    <a:pt x="12343" y="6171"/>
                  </a:cubicBezTo>
                  <a:cubicBezTo>
                    <a:pt x="12343" y="46286"/>
                    <a:pt x="135771" y="685029"/>
                    <a:pt x="138857" y="691200"/>
                  </a:cubicBezTo>
                  <a:cubicBezTo>
                    <a:pt x="138857" y="694286"/>
                    <a:pt x="135771" y="697371"/>
                    <a:pt x="132686" y="697371"/>
                  </a:cubicBezTo>
                  <a:cubicBezTo>
                    <a:pt x="132686" y="697371"/>
                    <a:pt x="132686" y="697371"/>
                    <a:pt x="132686" y="697371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C92473E1-BBE7-4E21-AE43-75F54D4C5084}"/>
                </a:ext>
              </a:extLst>
            </p:cNvPr>
            <p:cNvSpPr/>
            <p:nvPr/>
          </p:nvSpPr>
          <p:spPr>
            <a:xfrm>
              <a:off x="16590626" y="2410896"/>
              <a:ext cx="118628" cy="42428"/>
            </a:xfrm>
            <a:custGeom>
              <a:avLst/>
              <a:gdLst>
                <a:gd name="connsiteX0" fmla="*/ 37028 w 118628"/>
                <a:gd name="connsiteY0" fmla="*/ 42429 h 42428"/>
                <a:gd name="connsiteX1" fmla="*/ 3086 w 118628"/>
                <a:gd name="connsiteY1" fmla="*/ 36257 h 42428"/>
                <a:gd name="connsiteX2" fmla="*/ 0 w 118628"/>
                <a:gd name="connsiteY2" fmla="*/ 27000 h 42428"/>
                <a:gd name="connsiteX3" fmla="*/ 9257 w 118628"/>
                <a:gd name="connsiteY3" fmla="*/ 23914 h 42428"/>
                <a:gd name="connsiteX4" fmla="*/ 108000 w 118628"/>
                <a:gd name="connsiteY4" fmla="*/ 2314 h 42428"/>
                <a:gd name="connsiteX5" fmla="*/ 117257 w 118628"/>
                <a:gd name="connsiteY5" fmla="*/ 2314 h 42428"/>
                <a:gd name="connsiteX6" fmla="*/ 117257 w 118628"/>
                <a:gd name="connsiteY6" fmla="*/ 11571 h 42428"/>
                <a:gd name="connsiteX7" fmla="*/ 37028 w 118628"/>
                <a:gd name="connsiteY7" fmla="*/ 42429 h 4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628" h="42428">
                  <a:moveTo>
                    <a:pt x="37028" y="42429"/>
                  </a:moveTo>
                  <a:cubicBezTo>
                    <a:pt x="24685" y="42429"/>
                    <a:pt x="15429" y="39343"/>
                    <a:pt x="3086" y="36257"/>
                  </a:cubicBezTo>
                  <a:cubicBezTo>
                    <a:pt x="0" y="36257"/>
                    <a:pt x="0" y="30086"/>
                    <a:pt x="0" y="27000"/>
                  </a:cubicBezTo>
                  <a:cubicBezTo>
                    <a:pt x="0" y="23914"/>
                    <a:pt x="6171" y="23914"/>
                    <a:pt x="9257" y="23914"/>
                  </a:cubicBezTo>
                  <a:cubicBezTo>
                    <a:pt x="52457" y="45514"/>
                    <a:pt x="108000" y="2314"/>
                    <a:pt x="108000" y="2314"/>
                  </a:cubicBezTo>
                  <a:cubicBezTo>
                    <a:pt x="111086" y="-771"/>
                    <a:pt x="114171" y="-771"/>
                    <a:pt x="117257" y="2314"/>
                  </a:cubicBezTo>
                  <a:cubicBezTo>
                    <a:pt x="120343" y="5400"/>
                    <a:pt x="117257" y="8486"/>
                    <a:pt x="117257" y="11571"/>
                  </a:cubicBezTo>
                  <a:cubicBezTo>
                    <a:pt x="114171" y="14657"/>
                    <a:pt x="77143" y="42429"/>
                    <a:pt x="37028" y="42429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6" name="图形 1">
              <a:extLst>
                <a:ext uri="{FF2B5EF4-FFF2-40B4-BE49-F238E27FC236}">
                  <a16:creationId xmlns:a16="http://schemas.microsoft.com/office/drawing/2014/main" id="{DECB9DB7-5CD5-4124-92B8-89E2672B6792}"/>
                </a:ext>
              </a:extLst>
            </p:cNvPr>
            <p:cNvGrpSpPr/>
            <p:nvPr/>
          </p:nvGrpSpPr>
          <p:grpSpPr>
            <a:xfrm>
              <a:off x="14166474" y="3484139"/>
              <a:ext cx="2624537" cy="3088613"/>
              <a:chOff x="14166474" y="3484139"/>
              <a:chExt cx="2624537" cy="3088613"/>
            </a:xfrm>
          </p:grpSpPr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48F22CFF-6047-430D-8967-1CDC73A65553}"/>
                  </a:ext>
                </a:extLst>
              </p:cNvPr>
              <p:cNvSpPr/>
              <p:nvPr/>
            </p:nvSpPr>
            <p:spPr>
              <a:xfrm>
                <a:off x="14779311" y="3484139"/>
                <a:ext cx="2011699" cy="2486899"/>
              </a:xfrm>
              <a:custGeom>
                <a:avLst/>
                <a:gdLst>
                  <a:gd name="connsiteX0" fmla="*/ 74057 w 2011699"/>
                  <a:gd name="connsiteY0" fmla="*/ 2486900 h 2486899"/>
                  <a:gd name="connsiteX1" fmla="*/ 0 w 2011699"/>
                  <a:gd name="connsiteY1" fmla="*/ 2428271 h 2486899"/>
                  <a:gd name="connsiteX2" fmla="*/ 1928571 w 2011699"/>
                  <a:gd name="connsiteY2" fmla="*/ 18328 h 2486899"/>
                  <a:gd name="connsiteX3" fmla="*/ 1993372 w 2011699"/>
                  <a:gd name="connsiteY3" fmla="*/ 12157 h 2486899"/>
                  <a:gd name="connsiteX4" fmla="*/ 1993372 w 2011699"/>
                  <a:gd name="connsiteY4" fmla="*/ 12157 h 2486899"/>
                  <a:gd name="connsiteX5" fmla="*/ 1999543 w 2011699"/>
                  <a:gd name="connsiteY5" fmla="*/ 76957 h 2486899"/>
                  <a:gd name="connsiteX6" fmla="*/ 74057 w 2011699"/>
                  <a:gd name="connsiteY6" fmla="*/ 2486900 h 2486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11699" h="2486899">
                    <a:moveTo>
                      <a:pt x="74057" y="2486900"/>
                    </a:moveTo>
                    <a:lnTo>
                      <a:pt x="0" y="2428271"/>
                    </a:lnTo>
                    <a:lnTo>
                      <a:pt x="1928571" y="18328"/>
                    </a:lnTo>
                    <a:cubicBezTo>
                      <a:pt x="1944000" y="-3272"/>
                      <a:pt x="1974857" y="-6358"/>
                      <a:pt x="1993372" y="12157"/>
                    </a:cubicBezTo>
                    <a:lnTo>
                      <a:pt x="1993372" y="12157"/>
                    </a:lnTo>
                    <a:cubicBezTo>
                      <a:pt x="2014972" y="27585"/>
                      <a:pt x="2018057" y="58443"/>
                      <a:pt x="1999543" y="76957"/>
                    </a:cubicBezTo>
                    <a:lnTo>
                      <a:pt x="74057" y="2486900"/>
                    </a:ln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4721769D-7F41-4B78-AB02-5D235C13CB0A}"/>
                  </a:ext>
                </a:extLst>
              </p:cNvPr>
              <p:cNvSpPr/>
              <p:nvPr/>
            </p:nvSpPr>
            <p:spPr>
              <a:xfrm>
                <a:off x="14720647" y="5853746"/>
                <a:ext cx="191386" cy="177753"/>
              </a:xfrm>
              <a:custGeom>
                <a:avLst/>
                <a:gdLst>
                  <a:gd name="connsiteX0" fmla="*/ 83351 w 191386"/>
                  <a:gd name="connsiteY0" fmla="*/ 163579 h 177753"/>
                  <a:gd name="connsiteX1" fmla="*/ 24721 w 191386"/>
                  <a:gd name="connsiteY1" fmla="*/ 117293 h 177753"/>
                  <a:gd name="connsiteX2" fmla="*/ 15465 w 191386"/>
                  <a:gd name="connsiteY2" fmla="*/ 24722 h 177753"/>
                  <a:gd name="connsiteX3" fmla="*/ 15465 w 191386"/>
                  <a:gd name="connsiteY3" fmla="*/ 24722 h 177753"/>
                  <a:gd name="connsiteX4" fmla="*/ 108036 w 191386"/>
                  <a:gd name="connsiteY4" fmla="*/ 15465 h 177753"/>
                  <a:gd name="connsiteX5" fmla="*/ 166664 w 191386"/>
                  <a:gd name="connsiteY5" fmla="*/ 61751 h 177753"/>
                  <a:gd name="connsiteX6" fmla="*/ 175922 w 191386"/>
                  <a:gd name="connsiteY6" fmla="*/ 154322 h 177753"/>
                  <a:gd name="connsiteX7" fmla="*/ 175922 w 191386"/>
                  <a:gd name="connsiteY7" fmla="*/ 154322 h 177753"/>
                  <a:gd name="connsiteX8" fmla="*/ 83351 w 191386"/>
                  <a:gd name="connsiteY8" fmla="*/ 163579 h 177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1386" h="177753">
                    <a:moveTo>
                      <a:pt x="83351" y="163579"/>
                    </a:moveTo>
                    <a:lnTo>
                      <a:pt x="24721" y="117293"/>
                    </a:lnTo>
                    <a:cubicBezTo>
                      <a:pt x="-3050" y="95693"/>
                      <a:pt x="-9221" y="52493"/>
                      <a:pt x="15465" y="24722"/>
                    </a:cubicBezTo>
                    <a:lnTo>
                      <a:pt x="15465" y="24722"/>
                    </a:lnTo>
                    <a:cubicBezTo>
                      <a:pt x="37065" y="-3050"/>
                      <a:pt x="80265" y="-9221"/>
                      <a:pt x="108036" y="15465"/>
                    </a:cubicBezTo>
                    <a:lnTo>
                      <a:pt x="166664" y="61751"/>
                    </a:lnTo>
                    <a:cubicBezTo>
                      <a:pt x="194436" y="83350"/>
                      <a:pt x="200607" y="126550"/>
                      <a:pt x="175922" y="154322"/>
                    </a:cubicBezTo>
                    <a:lnTo>
                      <a:pt x="175922" y="154322"/>
                    </a:lnTo>
                    <a:cubicBezTo>
                      <a:pt x="154322" y="182093"/>
                      <a:pt x="111122" y="185179"/>
                      <a:pt x="83351" y="163579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06705A3E-B5EB-4DF2-A5E7-6269C54A29AA}"/>
                  </a:ext>
                </a:extLst>
              </p:cNvPr>
              <p:cNvSpPr/>
              <p:nvPr/>
            </p:nvSpPr>
            <p:spPr>
              <a:xfrm>
                <a:off x="14365826" y="5681178"/>
                <a:ext cx="786660" cy="653974"/>
              </a:xfrm>
              <a:custGeom>
                <a:avLst/>
                <a:gdLst>
                  <a:gd name="connsiteX0" fmla="*/ 746743 w 786660"/>
                  <a:gd name="connsiteY0" fmla="*/ 653975 h 653974"/>
                  <a:gd name="connsiteX1" fmla="*/ 0 w 786660"/>
                  <a:gd name="connsiteY1" fmla="*/ 55347 h 653974"/>
                  <a:gd name="connsiteX2" fmla="*/ 24685 w 786660"/>
                  <a:gd name="connsiteY2" fmla="*/ 27575 h 653974"/>
                  <a:gd name="connsiteX3" fmla="*/ 126514 w 786660"/>
                  <a:gd name="connsiteY3" fmla="*/ 15232 h 653974"/>
                  <a:gd name="connsiteX4" fmla="*/ 759086 w 786660"/>
                  <a:gd name="connsiteY4" fmla="*/ 521289 h 653974"/>
                  <a:gd name="connsiteX5" fmla="*/ 771429 w 786660"/>
                  <a:gd name="connsiteY5" fmla="*/ 623118 h 653974"/>
                  <a:gd name="connsiteX6" fmla="*/ 746743 w 786660"/>
                  <a:gd name="connsiteY6" fmla="*/ 653975 h 653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86660" h="653974">
                    <a:moveTo>
                      <a:pt x="746743" y="653975"/>
                    </a:moveTo>
                    <a:lnTo>
                      <a:pt x="0" y="55347"/>
                    </a:lnTo>
                    <a:lnTo>
                      <a:pt x="24685" y="27575"/>
                    </a:lnTo>
                    <a:cubicBezTo>
                      <a:pt x="49372" y="-3282"/>
                      <a:pt x="95657" y="-9454"/>
                      <a:pt x="126514" y="15232"/>
                    </a:cubicBezTo>
                    <a:lnTo>
                      <a:pt x="759086" y="521289"/>
                    </a:lnTo>
                    <a:cubicBezTo>
                      <a:pt x="789943" y="545975"/>
                      <a:pt x="796114" y="592261"/>
                      <a:pt x="771429" y="623118"/>
                    </a:cubicBezTo>
                    <a:lnTo>
                      <a:pt x="746743" y="653975"/>
                    </a:lnTo>
                    <a:close/>
                  </a:path>
                </a:pathLst>
              </a:custGeom>
              <a:solidFill>
                <a:srgbClr val="7F95BC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E79CC983-F6B2-4FC5-AFC5-702A958506F3}"/>
                  </a:ext>
                </a:extLst>
              </p:cNvPr>
              <p:cNvSpPr/>
              <p:nvPr/>
            </p:nvSpPr>
            <p:spPr>
              <a:xfrm>
                <a:off x="14166474" y="5718010"/>
                <a:ext cx="952266" cy="854742"/>
              </a:xfrm>
              <a:custGeom>
                <a:avLst/>
                <a:gdLst>
                  <a:gd name="connsiteX0" fmla="*/ 801066 w 952266"/>
                  <a:gd name="connsiteY0" fmla="*/ 851657 h 854742"/>
                  <a:gd name="connsiteX1" fmla="*/ 782552 w 952266"/>
                  <a:gd name="connsiteY1" fmla="*/ 854743 h 854742"/>
                  <a:gd name="connsiteX2" fmla="*/ 714667 w 952266"/>
                  <a:gd name="connsiteY2" fmla="*/ 833143 h 854742"/>
                  <a:gd name="connsiteX3" fmla="*/ 702323 w 952266"/>
                  <a:gd name="connsiteY3" fmla="*/ 826972 h 854742"/>
                  <a:gd name="connsiteX4" fmla="*/ 723923 w 952266"/>
                  <a:gd name="connsiteY4" fmla="*/ 737486 h 854742"/>
                  <a:gd name="connsiteX5" fmla="*/ 699238 w 952266"/>
                  <a:gd name="connsiteY5" fmla="*/ 722057 h 854742"/>
                  <a:gd name="connsiteX6" fmla="*/ 677638 w 952266"/>
                  <a:gd name="connsiteY6" fmla="*/ 756000 h 854742"/>
                  <a:gd name="connsiteX7" fmla="*/ 652952 w 952266"/>
                  <a:gd name="connsiteY7" fmla="*/ 802286 h 854742"/>
                  <a:gd name="connsiteX8" fmla="*/ 625180 w 952266"/>
                  <a:gd name="connsiteY8" fmla="*/ 786857 h 854742"/>
                  <a:gd name="connsiteX9" fmla="*/ 622095 w 952266"/>
                  <a:gd name="connsiteY9" fmla="*/ 783772 h 854742"/>
                  <a:gd name="connsiteX10" fmla="*/ 705409 w 952266"/>
                  <a:gd name="connsiteY10" fmla="*/ 626400 h 854742"/>
                  <a:gd name="connsiteX11" fmla="*/ 680724 w 952266"/>
                  <a:gd name="connsiteY11" fmla="*/ 614057 h 854742"/>
                  <a:gd name="connsiteX12" fmla="*/ 597409 w 952266"/>
                  <a:gd name="connsiteY12" fmla="*/ 768343 h 854742"/>
                  <a:gd name="connsiteX13" fmla="*/ 578895 w 952266"/>
                  <a:gd name="connsiteY13" fmla="*/ 759086 h 854742"/>
                  <a:gd name="connsiteX14" fmla="*/ 548037 w 952266"/>
                  <a:gd name="connsiteY14" fmla="*/ 740571 h 854742"/>
                  <a:gd name="connsiteX15" fmla="*/ 677638 w 952266"/>
                  <a:gd name="connsiteY15" fmla="*/ 521486 h 854742"/>
                  <a:gd name="connsiteX16" fmla="*/ 680724 w 952266"/>
                  <a:gd name="connsiteY16" fmla="*/ 512229 h 854742"/>
                  <a:gd name="connsiteX17" fmla="*/ 656037 w 952266"/>
                  <a:gd name="connsiteY17" fmla="*/ 502972 h 854742"/>
                  <a:gd name="connsiteX18" fmla="*/ 498667 w 952266"/>
                  <a:gd name="connsiteY18" fmla="*/ 706629 h 854742"/>
                  <a:gd name="connsiteX19" fmla="*/ 473980 w 952266"/>
                  <a:gd name="connsiteY19" fmla="*/ 691200 h 854742"/>
                  <a:gd name="connsiteX20" fmla="*/ 446209 w 952266"/>
                  <a:gd name="connsiteY20" fmla="*/ 669600 h 854742"/>
                  <a:gd name="connsiteX21" fmla="*/ 418438 w 952266"/>
                  <a:gd name="connsiteY21" fmla="*/ 648000 h 854742"/>
                  <a:gd name="connsiteX22" fmla="*/ 375238 w 952266"/>
                  <a:gd name="connsiteY22" fmla="*/ 614057 h 854742"/>
                  <a:gd name="connsiteX23" fmla="*/ 365980 w 952266"/>
                  <a:gd name="connsiteY23" fmla="*/ 607886 h 854742"/>
                  <a:gd name="connsiteX24" fmla="*/ 322781 w 952266"/>
                  <a:gd name="connsiteY24" fmla="*/ 570857 h 854742"/>
                  <a:gd name="connsiteX25" fmla="*/ 288838 w 952266"/>
                  <a:gd name="connsiteY25" fmla="*/ 540000 h 854742"/>
                  <a:gd name="connsiteX26" fmla="*/ 335123 w 952266"/>
                  <a:gd name="connsiteY26" fmla="*/ 472114 h 854742"/>
                  <a:gd name="connsiteX27" fmla="*/ 313524 w 952266"/>
                  <a:gd name="connsiteY27" fmla="*/ 453600 h 854742"/>
                  <a:gd name="connsiteX28" fmla="*/ 261066 w 952266"/>
                  <a:gd name="connsiteY28" fmla="*/ 512229 h 854742"/>
                  <a:gd name="connsiteX29" fmla="*/ 220952 w 952266"/>
                  <a:gd name="connsiteY29" fmla="*/ 472114 h 854742"/>
                  <a:gd name="connsiteX30" fmla="*/ 307352 w 952266"/>
                  <a:gd name="connsiteY30" fmla="*/ 354857 h 854742"/>
                  <a:gd name="connsiteX31" fmla="*/ 356724 w 952266"/>
                  <a:gd name="connsiteY31" fmla="*/ 296229 h 854742"/>
                  <a:gd name="connsiteX32" fmla="*/ 335123 w 952266"/>
                  <a:gd name="connsiteY32" fmla="*/ 277714 h 854742"/>
                  <a:gd name="connsiteX33" fmla="*/ 285752 w 952266"/>
                  <a:gd name="connsiteY33" fmla="*/ 336343 h 854742"/>
                  <a:gd name="connsiteX34" fmla="*/ 236381 w 952266"/>
                  <a:gd name="connsiteY34" fmla="*/ 382629 h 854742"/>
                  <a:gd name="connsiteX35" fmla="*/ 183923 w 952266"/>
                  <a:gd name="connsiteY35" fmla="*/ 435086 h 854742"/>
                  <a:gd name="connsiteX36" fmla="*/ 159238 w 952266"/>
                  <a:gd name="connsiteY36" fmla="*/ 410400 h 854742"/>
                  <a:gd name="connsiteX37" fmla="*/ 128381 w 952266"/>
                  <a:gd name="connsiteY37" fmla="*/ 373372 h 854742"/>
                  <a:gd name="connsiteX38" fmla="*/ 85180 w 952266"/>
                  <a:gd name="connsiteY38" fmla="*/ 320915 h 854742"/>
                  <a:gd name="connsiteX39" fmla="*/ 131466 w 952266"/>
                  <a:gd name="connsiteY39" fmla="*/ 283886 h 854742"/>
                  <a:gd name="connsiteX40" fmla="*/ 233295 w 952266"/>
                  <a:gd name="connsiteY40" fmla="*/ 191314 h 854742"/>
                  <a:gd name="connsiteX41" fmla="*/ 224037 w 952266"/>
                  <a:gd name="connsiteY41" fmla="*/ 169714 h 854742"/>
                  <a:gd name="connsiteX42" fmla="*/ 224037 w 952266"/>
                  <a:gd name="connsiteY42" fmla="*/ 169714 h 854742"/>
                  <a:gd name="connsiteX43" fmla="*/ 211695 w 952266"/>
                  <a:gd name="connsiteY43" fmla="*/ 172800 h 854742"/>
                  <a:gd name="connsiteX44" fmla="*/ 180838 w 952266"/>
                  <a:gd name="connsiteY44" fmla="*/ 203657 h 854742"/>
                  <a:gd name="connsiteX45" fmla="*/ 165409 w 952266"/>
                  <a:gd name="connsiteY45" fmla="*/ 219086 h 854742"/>
                  <a:gd name="connsiteX46" fmla="*/ 162323 w 952266"/>
                  <a:gd name="connsiteY46" fmla="*/ 222171 h 854742"/>
                  <a:gd name="connsiteX47" fmla="*/ 116037 w 952266"/>
                  <a:gd name="connsiteY47" fmla="*/ 262286 h 854742"/>
                  <a:gd name="connsiteX48" fmla="*/ 60495 w 952266"/>
                  <a:gd name="connsiteY48" fmla="*/ 286972 h 854742"/>
                  <a:gd name="connsiteX49" fmla="*/ 45066 w 952266"/>
                  <a:gd name="connsiteY49" fmla="*/ 265372 h 854742"/>
                  <a:gd name="connsiteX50" fmla="*/ 38895 w 952266"/>
                  <a:gd name="connsiteY50" fmla="*/ 256114 h 854742"/>
                  <a:gd name="connsiteX51" fmla="*/ 14209 w 952266"/>
                  <a:gd name="connsiteY51" fmla="*/ 212915 h 854742"/>
                  <a:gd name="connsiteX52" fmla="*/ 1867 w 952266"/>
                  <a:gd name="connsiteY52" fmla="*/ 188229 h 854742"/>
                  <a:gd name="connsiteX53" fmla="*/ 205524 w 952266"/>
                  <a:gd name="connsiteY53" fmla="*/ 0 h 854742"/>
                  <a:gd name="connsiteX54" fmla="*/ 952266 w 952266"/>
                  <a:gd name="connsiteY54" fmla="*/ 598629 h 854742"/>
                  <a:gd name="connsiteX55" fmla="*/ 801066 w 952266"/>
                  <a:gd name="connsiteY55" fmla="*/ 851657 h 854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952266" h="854742">
                    <a:moveTo>
                      <a:pt x="801066" y="851657"/>
                    </a:moveTo>
                    <a:cubicBezTo>
                      <a:pt x="794895" y="854743"/>
                      <a:pt x="788724" y="854743"/>
                      <a:pt x="782552" y="854743"/>
                    </a:cubicBezTo>
                    <a:cubicBezTo>
                      <a:pt x="760952" y="848571"/>
                      <a:pt x="739352" y="842400"/>
                      <a:pt x="714667" y="833143"/>
                    </a:cubicBezTo>
                    <a:cubicBezTo>
                      <a:pt x="711581" y="830057"/>
                      <a:pt x="705409" y="830057"/>
                      <a:pt x="702323" y="826972"/>
                    </a:cubicBezTo>
                    <a:cubicBezTo>
                      <a:pt x="711581" y="799200"/>
                      <a:pt x="714667" y="768343"/>
                      <a:pt x="723923" y="737486"/>
                    </a:cubicBezTo>
                    <a:cubicBezTo>
                      <a:pt x="730095" y="722057"/>
                      <a:pt x="708495" y="709714"/>
                      <a:pt x="699238" y="722057"/>
                    </a:cubicBezTo>
                    <a:cubicBezTo>
                      <a:pt x="689980" y="734400"/>
                      <a:pt x="683810" y="743657"/>
                      <a:pt x="677638" y="756000"/>
                    </a:cubicBezTo>
                    <a:cubicBezTo>
                      <a:pt x="668381" y="771429"/>
                      <a:pt x="659123" y="786857"/>
                      <a:pt x="652952" y="802286"/>
                    </a:cubicBezTo>
                    <a:cubicBezTo>
                      <a:pt x="643695" y="799200"/>
                      <a:pt x="634438" y="793029"/>
                      <a:pt x="625180" y="786857"/>
                    </a:cubicBezTo>
                    <a:cubicBezTo>
                      <a:pt x="625180" y="786857"/>
                      <a:pt x="622095" y="786857"/>
                      <a:pt x="622095" y="783772"/>
                    </a:cubicBezTo>
                    <a:cubicBezTo>
                      <a:pt x="646781" y="731314"/>
                      <a:pt x="677638" y="678857"/>
                      <a:pt x="705409" y="626400"/>
                    </a:cubicBezTo>
                    <a:cubicBezTo>
                      <a:pt x="714667" y="610972"/>
                      <a:pt x="686895" y="598629"/>
                      <a:pt x="680724" y="614057"/>
                    </a:cubicBezTo>
                    <a:cubicBezTo>
                      <a:pt x="652952" y="666515"/>
                      <a:pt x="622095" y="715886"/>
                      <a:pt x="597409" y="768343"/>
                    </a:cubicBezTo>
                    <a:cubicBezTo>
                      <a:pt x="591238" y="765257"/>
                      <a:pt x="585066" y="762171"/>
                      <a:pt x="578895" y="759086"/>
                    </a:cubicBezTo>
                    <a:cubicBezTo>
                      <a:pt x="569638" y="752915"/>
                      <a:pt x="560381" y="746743"/>
                      <a:pt x="548037" y="740571"/>
                    </a:cubicBezTo>
                    <a:cubicBezTo>
                      <a:pt x="581980" y="663429"/>
                      <a:pt x="631352" y="595543"/>
                      <a:pt x="677638" y="521486"/>
                    </a:cubicBezTo>
                    <a:cubicBezTo>
                      <a:pt x="680724" y="518400"/>
                      <a:pt x="680724" y="515314"/>
                      <a:pt x="680724" y="512229"/>
                    </a:cubicBezTo>
                    <a:cubicBezTo>
                      <a:pt x="680724" y="499886"/>
                      <a:pt x="665295" y="493714"/>
                      <a:pt x="656037" y="502972"/>
                    </a:cubicBezTo>
                    <a:cubicBezTo>
                      <a:pt x="600495" y="567772"/>
                      <a:pt x="551123" y="638743"/>
                      <a:pt x="498667" y="706629"/>
                    </a:cubicBezTo>
                    <a:cubicBezTo>
                      <a:pt x="489409" y="700457"/>
                      <a:pt x="483238" y="697372"/>
                      <a:pt x="473980" y="691200"/>
                    </a:cubicBezTo>
                    <a:cubicBezTo>
                      <a:pt x="464724" y="685029"/>
                      <a:pt x="455466" y="678857"/>
                      <a:pt x="446209" y="669600"/>
                    </a:cubicBezTo>
                    <a:cubicBezTo>
                      <a:pt x="436952" y="663429"/>
                      <a:pt x="427695" y="657257"/>
                      <a:pt x="418438" y="648000"/>
                    </a:cubicBezTo>
                    <a:cubicBezTo>
                      <a:pt x="403009" y="638743"/>
                      <a:pt x="390667" y="626400"/>
                      <a:pt x="375238" y="614057"/>
                    </a:cubicBezTo>
                    <a:cubicBezTo>
                      <a:pt x="372152" y="610972"/>
                      <a:pt x="369066" y="607886"/>
                      <a:pt x="365980" y="607886"/>
                    </a:cubicBezTo>
                    <a:cubicBezTo>
                      <a:pt x="350552" y="595543"/>
                      <a:pt x="335123" y="583200"/>
                      <a:pt x="322781" y="570857"/>
                    </a:cubicBezTo>
                    <a:cubicBezTo>
                      <a:pt x="310438" y="561600"/>
                      <a:pt x="301180" y="552343"/>
                      <a:pt x="288838" y="540000"/>
                    </a:cubicBezTo>
                    <a:cubicBezTo>
                      <a:pt x="301180" y="515314"/>
                      <a:pt x="319695" y="493714"/>
                      <a:pt x="335123" y="472114"/>
                    </a:cubicBezTo>
                    <a:cubicBezTo>
                      <a:pt x="347466" y="456686"/>
                      <a:pt x="325867" y="441257"/>
                      <a:pt x="313524" y="453600"/>
                    </a:cubicBezTo>
                    <a:cubicBezTo>
                      <a:pt x="298095" y="475200"/>
                      <a:pt x="279581" y="493714"/>
                      <a:pt x="261066" y="512229"/>
                    </a:cubicBezTo>
                    <a:cubicBezTo>
                      <a:pt x="245638" y="499886"/>
                      <a:pt x="233295" y="487543"/>
                      <a:pt x="220952" y="472114"/>
                    </a:cubicBezTo>
                    <a:cubicBezTo>
                      <a:pt x="248724" y="432000"/>
                      <a:pt x="276495" y="394972"/>
                      <a:pt x="307352" y="354857"/>
                    </a:cubicBezTo>
                    <a:cubicBezTo>
                      <a:pt x="325867" y="336343"/>
                      <a:pt x="344381" y="317829"/>
                      <a:pt x="356724" y="296229"/>
                    </a:cubicBezTo>
                    <a:cubicBezTo>
                      <a:pt x="365980" y="280800"/>
                      <a:pt x="347466" y="265372"/>
                      <a:pt x="335123" y="277714"/>
                    </a:cubicBezTo>
                    <a:cubicBezTo>
                      <a:pt x="316609" y="296229"/>
                      <a:pt x="301180" y="317829"/>
                      <a:pt x="285752" y="336343"/>
                    </a:cubicBezTo>
                    <a:cubicBezTo>
                      <a:pt x="270323" y="351772"/>
                      <a:pt x="251810" y="367200"/>
                      <a:pt x="236381" y="382629"/>
                    </a:cubicBezTo>
                    <a:cubicBezTo>
                      <a:pt x="217867" y="401143"/>
                      <a:pt x="199352" y="416571"/>
                      <a:pt x="183923" y="435086"/>
                    </a:cubicBezTo>
                    <a:cubicBezTo>
                      <a:pt x="174667" y="425829"/>
                      <a:pt x="168495" y="419657"/>
                      <a:pt x="159238" y="410400"/>
                    </a:cubicBezTo>
                    <a:cubicBezTo>
                      <a:pt x="146895" y="398057"/>
                      <a:pt x="137638" y="385714"/>
                      <a:pt x="128381" y="373372"/>
                    </a:cubicBezTo>
                    <a:cubicBezTo>
                      <a:pt x="112952" y="354857"/>
                      <a:pt x="97524" y="339429"/>
                      <a:pt x="85180" y="320915"/>
                    </a:cubicBezTo>
                    <a:cubicBezTo>
                      <a:pt x="100609" y="308571"/>
                      <a:pt x="116037" y="296229"/>
                      <a:pt x="131466" y="283886"/>
                    </a:cubicBezTo>
                    <a:cubicBezTo>
                      <a:pt x="168495" y="259200"/>
                      <a:pt x="202438" y="222171"/>
                      <a:pt x="233295" y="191314"/>
                    </a:cubicBezTo>
                    <a:cubicBezTo>
                      <a:pt x="242552" y="182057"/>
                      <a:pt x="233295" y="172800"/>
                      <a:pt x="224037" y="169714"/>
                    </a:cubicBezTo>
                    <a:lnTo>
                      <a:pt x="224037" y="169714"/>
                    </a:lnTo>
                    <a:cubicBezTo>
                      <a:pt x="220952" y="169714"/>
                      <a:pt x="214781" y="169714"/>
                      <a:pt x="211695" y="172800"/>
                    </a:cubicBezTo>
                    <a:cubicBezTo>
                      <a:pt x="202438" y="182057"/>
                      <a:pt x="190095" y="194400"/>
                      <a:pt x="180838" y="203657"/>
                    </a:cubicBezTo>
                    <a:cubicBezTo>
                      <a:pt x="174667" y="209829"/>
                      <a:pt x="171581" y="212915"/>
                      <a:pt x="165409" y="219086"/>
                    </a:cubicBezTo>
                    <a:cubicBezTo>
                      <a:pt x="165409" y="219086"/>
                      <a:pt x="162323" y="222171"/>
                      <a:pt x="162323" y="222171"/>
                    </a:cubicBezTo>
                    <a:cubicBezTo>
                      <a:pt x="146895" y="234514"/>
                      <a:pt x="131466" y="246857"/>
                      <a:pt x="116037" y="262286"/>
                    </a:cubicBezTo>
                    <a:cubicBezTo>
                      <a:pt x="97524" y="274629"/>
                      <a:pt x="79009" y="283886"/>
                      <a:pt x="60495" y="286972"/>
                    </a:cubicBezTo>
                    <a:cubicBezTo>
                      <a:pt x="54323" y="280800"/>
                      <a:pt x="51238" y="271543"/>
                      <a:pt x="45066" y="265372"/>
                    </a:cubicBezTo>
                    <a:cubicBezTo>
                      <a:pt x="41980" y="262286"/>
                      <a:pt x="41980" y="259200"/>
                      <a:pt x="38895" y="256114"/>
                    </a:cubicBezTo>
                    <a:cubicBezTo>
                      <a:pt x="29638" y="240686"/>
                      <a:pt x="20381" y="225257"/>
                      <a:pt x="14209" y="212915"/>
                    </a:cubicBezTo>
                    <a:cubicBezTo>
                      <a:pt x="11123" y="203657"/>
                      <a:pt x="4952" y="197486"/>
                      <a:pt x="1867" y="188229"/>
                    </a:cubicBezTo>
                    <a:cubicBezTo>
                      <a:pt x="-22820" y="126514"/>
                      <a:pt x="205524" y="0"/>
                      <a:pt x="205524" y="0"/>
                    </a:cubicBezTo>
                    <a:lnTo>
                      <a:pt x="952266" y="598629"/>
                    </a:lnTo>
                    <a:cubicBezTo>
                      <a:pt x="946095" y="617143"/>
                      <a:pt x="862781" y="823886"/>
                      <a:pt x="801066" y="851657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7" name="图形 1">
              <a:extLst>
                <a:ext uri="{FF2B5EF4-FFF2-40B4-BE49-F238E27FC236}">
                  <a16:creationId xmlns:a16="http://schemas.microsoft.com/office/drawing/2014/main" id="{51B6D842-87C7-4FD2-A6E1-919EE52D57AC}"/>
                </a:ext>
              </a:extLst>
            </p:cNvPr>
            <p:cNvGrpSpPr/>
            <p:nvPr/>
          </p:nvGrpSpPr>
          <p:grpSpPr>
            <a:xfrm>
              <a:off x="15948199" y="4405761"/>
              <a:ext cx="194998" cy="195220"/>
              <a:chOff x="15948199" y="4405761"/>
              <a:chExt cx="194998" cy="195220"/>
            </a:xfrm>
          </p:grpSpPr>
          <p:grpSp>
            <p:nvGrpSpPr>
              <p:cNvPr id="40" name="图形 1">
                <a:extLst>
                  <a:ext uri="{FF2B5EF4-FFF2-40B4-BE49-F238E27FC236}">
                    <a16:creationId xmlns:a16="http://schemas.microsoft.com/office/drawing/2014/main" id="{0029C6D7-122F-4A10-A5C2-725D3DBA9BC3}"/>
                  </a:ext>
                </a:extLst>
              </p:cNvPr>
              <p:cNvGrpSpPr/>
              <p:nvPr/>
            </p:nvGrpSpPr>
            <p:grpSpPr>
              <a:xfrm>
                <a:off x="15948199" y="4414998"/>
                <a:ext cx="180056" cy="185983"/>
                <a:chOff x="15948199" y="4414998"/>
                <a:chExt cx="180056" cy="185983"/>
              </a:xfrm>
            </p:grpSpPr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CAE45FE6-A4D1-414E-810C-8E2461D97C5A}"/>
                    </a:ext>
                  </a:extLst>
                </p:cNvPr>
                <p:cNvSpPr/>
                <p:nvPr/>
              </p:nvSpPr>
              <p:spPr>
                <a:xfrm>
                  <a:off x="15948199" y="4488214"/>
                  <a:ext cx="104087" cy="109682"/>
                </a:xfrm>
                <a:custGeom>
                  <a:avLst/>
                  <a:gdLst>
                    <a:gd name="connsiteX0" fmla="*/ 598 w 104087"/>
                    <a:gd name="connsiteY0" fmla="*/ 32539 h 109682"/>
                    <a:gd name="connsiteX1" fmla="*/ 49969 w 104087"/>
                    <a:gd name="connsiteY1" fmla="*/ 94253 h 109682"/>
                    <a:gd name="connsiteX2" fmla="*/ 56141 w 104087"/>
                    <a:gd name="connsiteY2" fmla="*/ 103510 h 109682"/>
                    <a:gd name="connsiteX3" fmla="*/ 68484 w 104087"/>
                    <a:gd name="connsiteY3" fmla="*/ 109682 h 109682"/>
                    <a:gd name="connsiteX4" fmla="*/ 102427 w 104087"/>
                    <a:gd name="connsiteY4" fmla="*/ 84996 h 109682"/>
                    <a:gd name="connsiteX5" fmla="*/ 86998 w 104087"/>
                    <a:gd name="connsiteY5" fmla="*/ 47968 h 109682"/>
                    <a:gd name="connsiteX6" fmla="*/ 53055 w 104087"/>
                    <a:gd name="connsiteY6" fmla="*/ 14025 h 109682"/>
                    <a:gd name="connsiteX7" fmla="*/ 19112 w 104087"/>
                    <a:gd name="connsiteY7" fmla="*/ 1682 h 109682"/>
                    <a:gd name="connsiteX8" fmla="*/ 598 w 104087"/>
                    <a:gd name="connsiteY8" fmla="*/ 32539 h 1096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4087" h="109682">
                      <a:moveTo>
                        <a:pt x="598" y="32539"/>
                      </a:moveTo>
                      <a:cubicBezTo>
                        <a:pt x="3684" y="60311"/>
                        <a:pt x="28370" y="72653"/>
                        <a:pt x="49969" y="94253"/>
                      </a:cubicBezTo>
                      <a:cubicBezTo>
                        <a:pt x="53055" y="97339"/>
                        <a:pt x="56141" y="103510"/>
                        <a:pt x="56141" y="103510"/>
                      </a:cubicBezTo>
                      <a:cubicBezTo>
                        <a:pt x="59227" y="106596"/>
                        <a:pt x="62312" y="106596"/>
                        <a:pt x="68484" y="109682"/>
                      </a:cubicBezTo>
                      <a:cubicBezTo>
                        <a:pt x="80827" y="109682"/>
                        <a:pt x="96255" y="100425"/>
                        <a:pt x="102427" y="84996"/>
                      </a:cubicBezTo>
                      <a:cubicBezTo>
                        <a:pt x="108598" y="66482"/>
                        <a:pt x="96255" y="57225"/>
                        <a:pt x="86998" y="47968"/>
                      </a:cubicBezTo>
                      <a:cubicBezTo>
                        <a:pt x="77741" y="35625"/>
                        <a:pt x="65398" y="23282"/>
                        <a:pt x="53055" y="14025"/>
                      </a:cubicBezTo>
                      <a:cubicBezTo>
                        <a:pt x="43799" y="7853"/>
                        <a:pt x="34541" y="-4490"/>
                        <a:pt x="19112" y="1682"/>
                      </a:cubicBezTo>
                      <a:cubicBezTo>
                        <a:pt x="6770" y="7853"/>
                        <a:pt x="-2487" y="23282"/>
                        <a:pt x="598" y="32539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3" name="任意多边形: 形状 42">
                  <a:extLst>
                    <a:ext uri="{FF2B5EF4-FFF2-40B4-BE49-F238E27FC236}">
                      <a16:creationId xmlns:a16="http://schemas.microsoft.com/office/drawing/2014/main" id="{568EAF92-9790-4E0F-8F45-34E7D198A840}"/>
                    </a:ext>
                  </a:extLst>
                </p:cNvPr>
                <p:cNvSpPr/>
                <p:nvPr/>
              </p:nvSpPr>
              <p:spPr>
                <a:xfrm>
                  <a:off x="15988912" y="4463528"/>
                  <a:ext cx="103489" cy="109681"/>
                </a:xfrm>
                <a:custGeom>
                  <a:avLst/>
                  <a:gdLst>
                    <a:gd name="connsiteX0" fmla="*/ 0 w 103489"/>
                    <a:gd name="connsiteY0" fmla="*/ 32539 h 109681"/>
                    <a:gd name="connsiteX1" fmla="*/ 49372 w 103489"/>
                    <a:gd name="connsiteY1" fmla="*/ 100425 h 109681"/>
                    <a:gd name="connsiteX2" fmla="*/ 55542 w 103489"/>
                    <a:gd name="connsiteY2" fmla="*/ 103511 h 109681"/>
                    <a:gd name="connsiteX3" fmla="*/ 67885 w 103489"/>
                    <a:gd name="connsiteY3" fmla="*/ 109682 h 109681"/>
                    <a:gd name="connsiteX4" fmla="*/ 101828 w 103489"/>
                    <a:gd name="connsiteY4" fmla="*/ 84996 h 109681"/>
                    <a:gd name="connsiteX5" fmla="*/ 86400 w 103489"/>
                    <a:gd name="connsiteY5" fmla="*/ 47968 h 109681"/>
                    <a:gd name="connsiteX6" fmla="*/ 52457 w 103489"/>
                    <a:gd name="connsiteY6" fmla="*/ 14025 h 109681"/>
                    <a:gd name="connsiteX7" fmla="*/ 18514 w 103489"/>
                    <a:gd name="connsiteY7" fmla="*/ 1682 h 109681"/>
                    <a:gd name="connsiteX8" fmla="*/ 0 w 103489"/>
                    <a:gd name="connsiteY8" fmla="*/ 32539 h 109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3489" h="109681">
                      <a:moveTo>
                        <a:pt x="0" y="32539"/>
                      </a:moveTo>
                      <a:cubicBezTo>
                        <a:pt x="0" y="69568"/>
                        <a:pt x="30857" y="78825"/>
                        <a:pt x="49372" y="100425"/>
                      </a:cubicBezTo>
                      <a:cubicBezTo>
                        <a:pt x="52457" y="103511"/>
                        <a:pt x="52457" y="103511"/>
                        <a:pt x="55542" y="103511"/>
                      </a:cubicBezTo>
                      <a:cubicBezTo>
                        <a:pt x="58628" y="106596"/>
                        <a:pt x="61714" y="106596"/>
                        <a:pt x="67885" y="109682"/>
                      </a:cubicBezTo>
                      <a:cubicBezTo>
                        <a:pt x="80229" y="109682"/>
                        <a:pt x="95657" y="100425"/>
                        <a:pt x="101828" y="84996"/>
                      </a:cubicBezTo>
                      <a:cubicBezTo>
                        <a:pt x="108000" y="66482"/>
                        <a:pt x="95657" y="57225"/>
                        <a:pt x="86400" y="47968"/>
                      </a:cubicBezTo>
                      <a:cubicBezTo>
                        <a:pt x="77143" y="35625"/>
                        <a:pt x="64800" y="23282"/>
                        <a:pt x="52457" y="14025"/>
                      </a:cubicBezTo>
                      <a:cubicBezTo>
                        <a:pt x="43200" y="7853"/>
                        <a:pt x="33943" y="-4489"/>
                        <a:pt x="18514" y="1682"/>
                      </a:cubicBezTo>
                      <a:cubicBezTo>
                        <a:pt x="6171" y="4768"/>
                        <a:pt x="0" y="20196"/>
                        <a:pt x="0" y="32539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87945035-6BAC-4295-9EE7-424BB0BFAAD4}"/>
                    </a:ext>
                  </a:extLst>
                </p:cNvPr>
                <p:cNvSpPr/>
                <p:nvPr/>
              </p:nvSpPr>
              <p:spPr>
                <a:xfrm>
                  <a:off x="16022855" y="4433740"/>
                  <a:ext cx="91167" cy="99355"/>
                </a:xfrm>
                <a:custGeom>
                  <a:avLst/>
                  <a:gdLst>
                    <a:gd name="connsiteX0" fmla="*/ 0 w 91167"/>
                    <a:gd name="connsiteY0" fmla="*/ 31470 h 99355"/>
                    <a:gd name="connsiteX1" fmla="*/ 43200 w 91167"/>
                    <a:gd name="connsiteY1" fmla="*/ 93184 h 99355"/>
                    <a:gd name="connsiteX2" fmla="*/ 49371 w 91167"/>
                    <a:gd name="connsiteY2" fmla="*/ 96270 h 99355"/>
                    <a:gd name="connsiteX3" fmla="*/ 58628 w 91167"/>
                    <a:gd name="connsiteY3" fmla="*/ 99356 h 99355"/>
                    <a:gd name="connsiteX4" fmla="*/ 89486 w 91167"/>
                    <a:gd name="connsiteY4" fmla="*/ 77756 h 99355"/>
                    <a:gd name="connsiteX5" fmla="*/ 77143 w 91167"/>
                    <a:gd name="connsiteY5" fmla="*/ 43813 h 99355"/>
                    <a:gd name="connsiteX6" fmla="*/ 46286 w 91167"/>
                    <a:gd name="connsiteY6" fmla="*/ 12956 h 99355"/>
                    <a:gd name="connsiteX7" fmla="*/ 18514 w 91167"/>
                    <a:gd name="connsiteY7" fmla="*/ 613 h 99355"/>
                    <a:gd name="connsiteX8" fmla="*/ 0 w 91167"/>
                    <a:gd name="connsiteY8" fmla="*/ 31470 h 99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1167" h="99355">
                      <a:moveTo>
                        <a:pt x="0" y="31470"/>
                      </a:moveTo>
                      <a:cubicBezTo>
                        <a:pt x="0" y="65413"/>
                        <a:pt x="24685" y="74670"/>
                        <a:pt x="43200" y="93184"/>
                      </a:cubicBezTo>
                      <a:cubicBezTo>
                        <a:pt x="43200" y="96270"/>
                        <a:pt x="46286" y="96270"/>
                        <a:pt x="49371" y="96270"/>
                      </a:cubicBezTo>
                      <a:cubicBezTo>
                        <a:pt x="52457" y="99356"/>
                        <a:pt x="55542" y="99356"/>
                        <a:pt x="58628" y="99356"/>
                      </a:cubicBezTo>
                      <a:cubicBezTo>
                        <a:pt x="67885" y="99356"/>
                        <a:pt x="83314" y="93184"/>
                        <a:pt x="89486" y="77756"/>
                      </a:cubicBezTo>
                      <a:cubicBezTo>
                        <a:pt x="95656" y="62327"/>
                        <a:pt x="83314" y="53070"/>
                        <a:pt x="77143" y="43813"/>
                      </a:cubicBezTo>
                      <a:cubicBezTo>
                        <a:pt x="67885" y="31470"/>
                        <a:pt x="58628" y="22213"/>
                        <a:pt x="46286" y="12956"/>
                      </a:cubicBezTo>
                      <a:cubicBezTo>
                        <a:pt x="40114" y="6784"/>
                        <a:pt x="30857" y="-2473"/>
                        <a:pt x="18514" y="613"/>
                      </a:cubicBezTo>
                      <a:cubicBezTo>
                        <a:pt x="6171" y="6784"/>
                        <a:pt x="0" y="19127"/>
                        <a:pt x="0" y="31470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13BD36D6-DEA7-409B-83E6-50AF5176BE94}"/>
                    </a:ext>
                  </a:extLst>
                </p:cNvPr>
                <p:cNvSpPr/>
                <p:nvPr/>
              </p:nvSpPr>
              <p:spPr>
                <a:xfrm>
                  <a:off x="16044454" y="4414998"/>
                  <a:ext cx="83801" cy="74898"/>
                </a:xfrm>
                <a:custGeom>
                  <a:avLst/>
                  <a:gdLst>
                    <a:gd name="connsiteX0" fmla="*/ 0 w 83801"/>
                    <a:gd name="connsiteY0" fmla="*/ 22441 h 74898"/>
                    <a:gd name="connsiteX1" fmla="*/ 43200 w 83801"/>
                    <a:gd name="connsiteY1" fmla="*/ 68727 h 74898"/>
                    <a:gd name="connsiteX2" fmla="*/ 46286 w 83801"/>
                    <a:gd name="connsiteY2" fmla="*/ 71813 h 74898"/>
                    <a:gd name="connsiteX3" fmla="*/ 52458 w 83801"/>
                    <a:gd name="connsiteY3" fmla="*/ 74898 h 74898"/>
                    <a:gd name="connsiteX4" fmla="*/ 83315 w 83801"/>
                    <a:gd name="connsiteY4" fmla="*/ 59470 h 74898"/>
                    <a:gd name="connsiteX5" fmla="*/ 67886 w 83801"/>
                    <a:gd name="connsiteY5" fmla="*/ 28612 h 74898"/>
                    <a:gd name="connsiteX6" fmla="*/ 43200 w 83801"/>
                    <a:gd name="connsiteY6" fmla="*/ 7012 h 74898"/>
                    <a:gd name="connsiteX7" fmla="*/ 18514 w 83801"/>
                    <a:gd name="connsiteY7" fmla="*/ 841 h 74898"/>
                    <a:gd name="connsiteX8" fmla="*/ 0 w 83801"/>
                    <a:gd name="connsiteY8" fmla="*/ 22441 h 74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3801" h="74898">
                      <a:moveTo>
                        <a:pt x="0" y="22441"/>
                      </a:moveTo>
                      <a:cubicBezTo>
                        <a:pt x="0" y="47127"/>
                        <a:pt x="30857" y="56384"/>
                        <a:pt x="43200" y="68727"/>
                      </a:cubicBezTo>
                      <a:cubicBezTo>
                        <a:pt x="43200" y="68727"/>
                        <a:pt x="46286" y="71813"/>
                        <a:pt x="46286" y="71813"/>
                      </a:cubicBezTo>
                      <a:cubicBezTo>
                        <a:pt x="49372" y="74898"/>
                        <a:pt x="49372" y="74898"/>
                        <a:pt x="52458" y="74898"/>
                      </a:cubicBezTo>
                      <a:cubicBezTo>
                        <a:pt x="61714" y="74898"/>
                        <a:pt x="80229" y="68727"/>
                        <a:pt x="83315" y="59470"/>
                      </a:cubicBezTo>
                      <a:cubicBezTo>
                        <a:pt x="86401" y="47127"/>
                        <a:pt x="74057" y="34784"/>
                        <a:pt x="67886" y="28612"/>
                      </a:cubicBezTo>
                      <a:cubicBezTo>
                        <a:pt x="61714" y="19355"/>
                        <a:pt x="49372" y="13184"/>
                        <a:pt x="43200" y="7012"/>
                      </a:cubicBezTo>
                      <a:cubicBezTo>
                        <a:pt x="37029" y="3927"/>
                        <a:pt x="27771" y="-2245"/>
                        <a:pt x="18514" y="841"/>
                      </a:cubicBezTo>
                      <a:cubicBezTo>
                        <a:pt x="12343" y="3927"/>
                        <a:pt x="0" y="13184"/>
                        <a:pt x="0" y="22441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560D85AE-D227-4C9C-AD39-17CCE479E2DC}"/>
                    </a:ext>
                  </a:extLst>
                </p:cNvPr>
                <p:cNvSpPr/>
                <p:nvPr/>
              </p:nvSpPr>
              <p:spPr>
                <a:xfrm>
                  <a:off x="15959769" y="4459039"/>
                  <a:ext cx="134200" cy="141942"/>
                </a:xfrm>
                <a:custGeom>
                  <a:avLst/>
                  <a:gdLst>
                    <a:gd name="connsiteX0" fmla="*/ 66171 w 134200"/>
                    <a:gd name="connsiteY0" fmla="*/ 141943 h 141942"/>
                    <a:gd name="connsiteX1" fmla="*/ 1372 w 134200"/>
                    <a:gd name="connsiteY1" fmla="*/ 92571 h 141942"/>
                    <a:gd name="connsiteX2" fmla="*/ 1372 w 134200"/>
                    <a:gd name="connsiteY2" fmla="*/ 83314 h 141942"/>
                    <a:gd name="connsiteX3" fmla="*/ 10628 w 134200"/>
                    <a:gd name="connsiteY3" fmla="*/ 83314 h 141942"/>
                    <a:gd name="connsiteX4" fmla="*/ 66171 w 134200"/>
                    <a:gd name="connsiteY4" fmla="*/ 129600 h 141942"/>
                    <a:gd name="connsiteX5" fmla="*/ 66171 w 134200"/>
                    <a:gd name="connsiteY5" fmla="*/ 129600 h 141942"/>
                    <a:gd name="connsiteX6" fmla="*/ 75428 w 134200"/>
                    <a:gd name="connsiteY6" fmla="*/ 123429 h 141942"/>
                    <a:gd name="connsiteX7" fmla="*/ 22971 w 134200"/>
                    <a:gd name="connsiteY7" fmla="*/ 40114 h 141942"/>
                    <a:gd name="connsiteX8" fmla="*/ 16800 w 134200"/>
                    <a:gd name="connsiteY8" fmla="*/ 30857 h 141942"/>
                    <a:gd name="connsiteX9" fmla="*/ 29143 w 134200"/>
                    <a:gd name="connsiteY9" fmla="*/ 9257 h 141942"/>
                    <a:gd name="connsiteX10" fmla="*/ 50742 w 134200"/>
                    <a:gd name="connsiteY10" fmla="*/ 0 h 141942"/>
                    <a:gd name="connsiteX11" fmla="*/ 109372 w 134200"/>
                    <a:gd name="connsiteY11" fmla="*/ 40114 h 141942"/>
                    <a:gd name="connsiteX12" fmla="*/ 127885 w 134200"/>
                    <a:gd name="connsiteY12" fmla="*/ 98743 h 141942"/>
                    <a:gd name="connsiteX13" fmla="*/ 90857 w 134200"/>
                    <a:gd name="connsiteY13" fmla="*/ 120343 h 141942"/>
                    <a:gd name="connsiteX14" fmla="*/ 84685 w 134200"/>
                    <a:gd name="connsiteY14" fmla="*/ 132686 h 141942"/>
                    <a:gd name="connsiteX15" fmla="*/ 66171 w 134200"/>
                    <a:gd name="connsiteY15" fmla="*/ 141943 h 141942"/>
                    <a:gd name="connsiteX16" fmla="*/ 66171 w 134200"/>
                    <a:gd name="connsiteY16" fmla="*/ 141943 h 141942"/>
                    <a:gd name="connsiteX17" fmla="*/ 50742 w 134200"/>
                    <a:gd name="connsiteY17" fmla="*/ 12343 h 141942"/>
                    <a:gd name="connsiteX18" fmla="*/ 38400 w 134200"/>
                    <a:gd name="connsiteY18" fmla="*/ 18514 h 141942"/>
                    <a:gd name="connsiteX19" fmla="*/ 32229 w 134200"/>
                    <a:gd name="connsiteY19" fmla="*/ 30857 h 141942"/>
                    <a:gd name="connsiteX20" fmla="*/ 93943 w 134200"/>
                    <a:gd name="connsiteY20" fmla="*/ 104914 h 141942"/>
                    <a:gd name="connsiteX21" fmla="*/ 121714 w 134200"/>
                    <a:gd name="connsiteY21" fmla="*/ 89486 h 141942"/>
                    <a:gd name="connsiteX22" fmla="*/ 103200 w 134200"/>
                    <a:gd name="connsiteY22" fmla="*/ 46286 h 141942"/>
                    <a:gd name="connsiteX23" fmla="*/ 50742 w 134200"/>
                    <a:gd name="connsiteY23" fmla="*/ 12343 h 141942"/>
                    <a:gd name="connsiteX24" fmla="*/ 50742 w 134200"/>
                    <a:gd name="connsiteY24" fmla="*/ 12343 h 1419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34200" h="141942">
                      <a:moveTo>
                        <a:pt x="66171" y="141943"/>
                      </a:moveTo>
                      <a:cubicBezTo>
                        <a:pt x="38400" y="141943"/>
                        <a:pt x="4456" y="95657"/>
                        <a:pt x="1372" y="92571"/>
                      </a:cubicBezTo>
                      <a:cubicBezTo>
                        <a:pt x="-1714" y="89486"/>
                        <a:pt x="1372" y="86400"/>
                        <a:pt x="1372" y="83314"/>
                      </a:cubicBezTo>
                      <a:cubicBezTo>
                        <a:pt x="4456" y="80229"/>
                        <a:pt x="7542" y="83314"/>
                        <a:pt x="10628" y="83314"/>
                      </a:cubicBezTo>
                      <a:cubicBezTo>
                        <a:pt x="19885" y="95657"/>
                        <a:pt x="47657" y="129600"/>
                        <a:pt x="66171" y="129600"/>
                      </a:cubicBezTo>
                      <a:cubicBezTo>
                        <a:pt x="66171" y="129600"/>
                        <a:pt x="66171" y="129600"/>
                        <a:pt x="66171" y="129600"/>
                      </a:cubicBezTo>
                      <a:cubicBezTo>
                        <a:pt x="69257" y="129600"/>
                        <a:pt x="72343" y="126514"/>
                        <a:pt x="75428" y="123429"/>
                      </a:cubicBezTo>
                      <a:cubicBezTo>
                        <a:pt x="81599" y="111086"/>
                        <a:pt x="97028" y="92571"/>
                        <a:pt x="22971" y="40114"/>
                      </a:cubicBezTo>
                      <a:cubicBezTo>
                        <a:pt x="22971" y="40114"/>
                        <a:pt x="16800" y="37028"/>
                        <a:pt x="16800" y="30857"/>
                      </a:cubicBezTo>
                      <a:cubicBezTo>
                        <a:pt x="16800" y="24686"/>
                        <a:pt x="19885" y="18514"/>
                        <a:pt x="29143" y="9257"/>
                      </a:cubicBezTo>
                      <a:cubicBezTo>
                        <a:pt x="35314" y="3086"/>
                        <a:pt x="41485" y="0"/>
                        <a:pt x="50742" y="0"/>
                      </a:cubicBezTo>
                      <a:cubicBezTo>
                        <a:pt x="66171" y="0"/>
                        <a:pt x="87771" y="12343"/>
                        <a:pt x="109372" y="40114"/>
                      </a:cubicBezTo>
                      <a:cubicBezTo>
                        <a:pt x="127885" y="61714"/>
                        <a:pt x="143314" y="80229"/>
                        <a:pt x="127885" y="98743"/>
                      </a:cubicBezTo>
                      <a:cubicBezTo>
                        <a:pt x="115542" y="114171"/>
                        <a:pt x="93943" y="117257"/>
                        <a:pt x="90857" y="120343"/>
                      </a:cubicBezTo>
                      <a:cubicBezTo>
                        <a:pt x="87771" y="123429"/>
                        <a:pt x="87771" y="129600"/>
                        <a:pt x="84685" y="132686"/>
                      </a:cubicBezTo>
                      <a:cubicBezTo>
                        <a:pt x="81599" y="138857"/>
                        <a:pt x="75428" y="141943"/>
                        <a:pt x="66171" y="141943"/>
                      </a:cubicBezTo>
                      <a:cubicBezTo>
                        <a:pt x="66171" y="141943"/>
                        <a:pt x="66171" y="141943"/>
                        <a:pt x="66171" y="141943"/>
                      </a:cubicBezTo>
                      <a:close/>
                      <a:moveTo>
                        <a:pt x="50742" y="12343"/>
                      </a:moveTo>
                      <a:cubicBezTo>
                        <a:pt x="47657" y="12343"/>
                        <a:pt x="41485" y="15429"/>
                        <a:pt x="38400" y="18514"/>
                      </a:cubicBezTo>
                      <a:cubicBezTo>
                        <a:pt x="32229" y="24686"/>
                        <a:pt x="29143" y="30857"/>
                        <a:pt x="32229" y="30857"/>
                      </a:cubicBezTo>
                      <a:cubicBezTo>
                        <a:pt x="78514" y="67886"/>
                        <a:pt x="93943" y="89486"/>
                        <a:pt x="93943" y="104914"/>
                      </a:cubicBezTo>
                      <a:cubicBezTo>
                        <a:pt x="100114" y="104914"/>
                        <a:pt x="112456" y="98743"/>
                        <a:pt x="121714" y="89486"/>
                      </a:cubicBezTo>
                      <a:cubicBezTo>
                        <a:pt x="127885" y="80229"/>
                        <a:pt x="124800" y="67886"/>
                        <a:pt x="103200" y="46286"/>
                      </a:cubicBezTo>
                      <a:cubicBezTo>
                        <a:pt x="75428" y="18514"/>
                        <a:pt x="60000" y="12343"/>
                        <a:pt x="50742" y="12343"/>
                      </a:cubicBezTo>
                      <a:cubicBezTo>
                        <a:pt x="50742" y="12343"/>
                        <a:pt x="50742" y="12343"/>
                        <a:pt x="50742" y="1234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430A41D9-B646-4F62-BFF0-CBFE3A7E8A1C}"/>
                    </a:ext>
                  </a:extLst>
                </p:cNvPr>
                <p:cNvSpPr/>
                <p:nvPr/>
              </p:nvSpPr>
              <p:spPr>
                <a:xfrm>
                  <a:off x="16013597" y="4429241"/>
                  <a:ext cx="97684" cy="113112"/>
                </a:xfrm>
                <a:custGeom>
                  <a:avLst/>
                  <a:gdLst>
                    <a:gd name="connsiteX0" fmla="*/ 74057 w 97684"/>
                    <a:gd name="connsiteY0" fmla="*/ 113113 h 113112"/>
                    <a:gd name="connsiteX1" fmla="*/ 67886 w 97684"/>
                    <a:gd name="connsiteY1" fmla="*/ 110027 h 113112"/>
                    <a:gd name="connsiteX2" fmla="*/ 70972 w 97684"/>
                    <a:gd name="connsiteY2" fmla="*/ 100770 h 113112"/>
                    <a:gd name="connsiteX3" fmla="*/ 86401 w 97684"/>
                    <a:gd name="connsiteY3" fmla="*/ 82255 h 113112"/>
                    <a:gd name="connsiteX4" fmla="*/ 83315 w 97684"/>
                    <a:gd name="connsiteY4" fmla="*/ 63741 h 113112"/>
                    <a:gd name="connsiteX5" fmla="*/ 27771 w 97684"/>
                    <a:gd name="connsiteY5" fmla="*/ 11284 h 113112"/>
                    <a:gd name="connsiteX6" fmla="*/ 24686 w 97684"/>
                    <a:gd name="connsiteY6" fmla="*/ 14370 h 113112"/>
                    <a:gd name="connsiteX7" fmla="*/ 12343 w 97684"/>
                    <a:gd name="connsiteY7" fmla="*/ 35970 h 113112"/>
                    <a:gd name="connsiteX8" fmla="*/ 6172 w 97684"/>
                    <a:gd name="connsiteY8" fmla="*/ 42141 h 113112"/>
                    <a:gd name="connsiteX9" fmla="*/ 0 w 97684"/>
                    <a:gd name="connsiteY9" fmla="*/ 35970 h 113112"/>
                    <a:gd name="connsiteX10" fmla="*/ 15429 w 97684"/>
                    <a:gd name="connsiteY10" fmla="*/ 5113 h 113112"/>
                    <a:gd name="connsiteX11" fmla="*/ 30857 w 97684"/>
                    <a:gd name="connsiteY11" fmla="*/ 2027 h 113112"/>
                    <a:gd name="connsiteX12" fmla="*/ 92571 w 97684"/>
                    <a:gd name="connsiteY12" fmla="*/ 60655 h 113112"/>
                    <a:gd name="connsiteX13" fmla="*/ 95657 w 97684"/>
                    <a:gd name="connsiteY13" fmla="*/ 88427 h 113112"/>
                    <a:gd name="connsiteX14" fmla="*/ 74057 w 97684"/>
                    <a:gd name="connsiteY14" fmla="*/ 113113 h 113112"/>
                    <a:gd name="connsiteX15" fmla="*/ 74057 w 97684"/>
                    <a:gd name="connsiteY15" fmla="*/ 113113 h 113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97684" h="113112">
                      <a:moveTo>
                        <a:pt x="74057" y="113113"/>
                      </a:moveTo>
                      <a:cubicBezTo>
                        <a:pt x="70972" y="113113"/>
                        <a:pt x="70972" y="113113"/>
                        <a:pt x="67886" y="110027"/>
                      </a:cubicBezTo>
                      <a:cubicBezTo>
                        <a:pt x="67886" y="106941"/>
                        <a:pt x="67886" y="103856"/>
                        <a:pt x="70972" y="100770"/>
                      </a:cubicBezTo>
                      <a:cubicBezTo>
                        <a:pt x="70972" y="100770"/>
                        <a:pt x="83315" y="94598"/>
                        <a:pt x="86401" y="82255"/>
                      </a:cubicBezTo>
                      <a:cubicBezTo>
                        <a:pt x="89486" y="76084"/>
                        <a:pt x="86401" y="69912"/>
                        <a:pt x="83315" y="63741"/>
                      </a:cubicBezTo>
                      <a:cubicBezTo>
                        <a:pt x="67886" y="35970"/>
                        <a:pt x="37029" y="14370"/>
                        <a:pt x="27771" y="11284"/>
                      </a:cubicBezTo>
                      <a:cubicBezTo>
                        <a:pt x="27771" y="11284"/>
                        <a:pt x="24686" y="11284"/>
                        <a:pt x="24686" y="14370"/>
                      </a:cubicBezTo>
                      <a:cubicBezTo>
                        <a:pt x="18514" y="20541"/>
                        <a:pt x="12343" y="32884"/>
                        <a:pt x="12343" y="35970"/>
                      </a:cubicBezTo>
                      <a:cubicBezTo>
                        <a:pt x="12343" y="39055"/>
                        <a:pt x="9258" y="42141"/>
                        <a:pt x="6172" y="42141"/>
                      </a:cubicBezTo>
                      <a:cubicBezTo>
                        <a:pt x="3086" y="42141"/>
                        <a:pt x="0" y="39055"/>
                        <a:pt x="0" y="35970"/>
                      </a:cubicBezTo>
                      <a:cubicBezTo>
                        <a:pt x="0" y="26713"/>
                        <a:pt x="6172" y="11284"/>
                        <a:pt x="15429" y="5113"/>
                      </a:cubicBezTo>
                      <a:cubicBezTo>
                        <a:pt x="21600" y="-1059"/>
                        <a:pt x="27771" y="-1059"/>
                        <a:pt x="30857" y="2027"/>
                      </a:cubicBezTo>
                      <a:cubicBezTo>
                        <a:pt x="46286" y="5113"/>
                        <a:pt x="77143" y="29798"/>
                        <a:pt x="92571" y="60655"/>
                      </a:cubicBezTo>
                      <a:cubicBezTo>
                        <a:pt x="98743" y="69912"/>
                        <a:pt x="98743" y="79170"/>
                        <a:pt x="95657" y="88427"/>
                      </a:cubicBezTo>
                      <a:cubicBezTo>
                        <a:pt x="95657" y="100770"/>
                        <a:pt x="80229" y="110027"/>
                        <a:pt x="74057" y="113113"/>
                      </a:cubicBezTo>
                      <a:cubicBezTo>
                        <a:pt x="77143" y="110027"/>
                        <a:pt x="77143" y="113113"/>
                        <a:pt x="74057" y="11311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0A5FFB6F-3D58-4E6F-B7AF-6E23AFBD6A6D}"/>
                  </a:ext>
                </a:extLst>
              </p:cNvPr>
              <p:cNvSpPr/>
              <p:nvPr/>
            </p:nvSpPr>
            <p:spPr>
              <a:xfrm>
                <a:off x="16043176" y="4405761"/>
                <a:ext cx="100021" cy="90306"/>
              </a:xfrm>
              <a:custGeom>
                <a:avLst/>
                <a:gdLst>
                  <a:gd name="connsiteX0" fmla="*/ 62993 w 100021"/>
                  <a:gd name="connsiteY0" fmla="*/ 90306 h 90306"/>
                  <a:gd name="connsiteX1" fmla="*/ 56822 w 100021"/>
                  <a:gd name="connsiteY1" fmla="*/ 84135 h 90306"/>
                  <a:gd name="connsiteX2" fmla="*/ 62993 w 100021"/>
                  <a:gd name="connsiteY2" fmla="*/ 77964 h 90306"/>
                  <a:gd name="connsiteX3" fmla="*/ 84593 w 100021"/>
                  <a:gd name="connsiteY3" fmla="*/ 59449 h 90306"/>
                  <a:gd name="connsiteX4" fmla="*/ 50650 w 100021"/>
                  <a:gd name="connsiteY4" fmla="*/ 22421 h 90306"/>
                  <a:gd name="connsiteX5" fmla="*/ 29049 w 100021"/>
                  <a:gd name="connsiteY5" fmla="*/ 13164 h 90306"/>
                  <a:gd name="connsiteX6" fmla="*/ 10536 w 100021"/>
                  <a:gd name="connsiteY6" fmla="*/ 28592 h 90306"/>
                  <a:gd name="connsiteX7" fmla="*/ 4364 w 100021"/>
                  <a:gd name="connsiteY7" fmla="*/ 31678 h 90306"/>
                  <a:gd name="connsiteX8" fmla="*/ 1278 w 100021"/>
                  <a:gd name="connsiteY8" fmla="*/ 25507 h 90306"/>
                  <a:gd name="connsiteX9" fmla="*/ 29049 w 100021"/>
                  <a:gd name="connsiteY9" fmla="*/ 821 h 90306"/>
                  <a:gd name="connsiteX10" fmla="*/ 59907 w 100021"/>
                  <a:gd name="connsiteY10" fmla="*/ 10078 h 90306"/>
                  <a:gd name="connsiteX11" fmla="*/ 100021 w 100021"/>
                  <a:gd name="connsiteY11" fmla="*/ 56364 h 90306"/>
                  <a:gd name="connsiteX12" fmla="*/ 84593 w 100021"/>
                  <a:gd name="connsiteY12" fmla="*/ 84135 h 90306"/>
                  <a:gd name="connsiteX13" fmla="*/ 62993 w 100021"/>
                  <a:gd name="connsiteY13" fmla="*/ 90306 h 90306"/>
                  <a:gd name="connsiteX14" fmla="*/ 62993 w 100021"/>
                  <a:gd name="connsiteY14" fmla="*/ 90306 h 90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0021" h="90306">
                    <a:moveTo>
                      <a:pt x="62993" y="90306"/>
                    </a:moveTo>
                    <a:cubicBezTo>
                      <a:pt x="59907" y="90306"/>
                      <a:pt x="56822" y="87221"/>
                      <a:pt x="56822" y="84135"/>
                    </a:cubicBezTo>
                    <a:cubicBezTo>
                      <a:pt x="56822" y="81049"/>
                      <a:pt x="59907" y="77964"/>
                      <a:pt x="62993" y="77964"/>
                    </a:cubicBezTo>
                    <a:cubicBezTo>
                      <a:pt x="62993" y="77964"/>
                      <a:pt x="87679" y="74878"/>
                      <a:pt x="84593" y="59449"/>
                    </a:cubicBezTo>
                    <a:cubicBezTo>
                      <a:pt x="84593" y="53278"/>
                      <a:pt x="69164" y="34764"/>
                      <a:pt x="50650" y="22421"/>
                    </a:cubicBezTo>
                    <a:cubicBezTo>
                      <a:pt x="38307" y="16249"/>
                      <a:pt x="32135" y="13164"/>
                      <a:pt x="29049" y="13164"/>
                    </a:cubicBezTo>
                    <a:cubicBezTo>
                      <a:pt x="16707" y="16249"/>
                      <a:pt x="10536" y="28592"/>
                      <a:pt x="10536" y="28592"/>
                    </a:cubicBezTo>
                    <a:cubicBezTo>
                      <a:pt x="10536" y="31678"/>
                      <a:pt x="7450" y="34764"/>
                      <a:pt x="4364" y="31678"/>
                    </a:cubicBezTo>
                    <a:cubicBezTo>
                      <a:pt x="1278" y="31678"/>
                      <a:pt x="-1808" y="28592"/>
                      <a:pt x="1278" y="25507"/>
                    </a:cubicBezTo>
                    <a:cubicBezTo>
                      <a:pt x="1278" y="25507"/>
                      <a:pt x="7450" y="6992"/>
                      <a:pt x="29049" y="821"/>
                    </a:cubicBezTo>
                    <a:cubicBezTo>
                      <a:pt x="35221" y="-2265"/>
                      <a:pt x="47564" y="3907"/>
                      <a:pt x="59907" y="10078"/>
                    </a:cubicBezTo>
                    <a:cubicBezTo>
                      <a:pt x="75335" y="19335"/>
                      <a:pt x="96936" y="40935"/>
                      <a:pt x="100021" y="56364"/>
                    </a:cubicBezTo>
                    <a:cubicBezTo>
                      <a:pt x="100021" y="68707"/>
                      <a:pt x="96936" y="77964"/>
                      <a:pt x="84593" y="84135"/>
                    </a:cubicBezTo>
                    <a:cubicBezTo>
                      <a:pt x="72250" y="87221"/>
                      <a:pt x="62993" y="90306"/>
                      <a:pt x="62993" y="90306"/>
                    </a:cubicBezTo>
                    <a:cubicBezTo>
                      <a:pt x="62993" y="90306"/>
                      <a:pt x="62993" y="90306"/>
                      <a:pt x="62993" y="9030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66D1365A-ABB6-4DAF-B4D0-2CEF782B0603}"/>
                </a:ext>
              </a:extLst>
            </p:cNvPr>
            <p:cNvSpPr/>
            <p:nvPr/>
          </p:nvSpPr>
          <p:spPr>
            <a:xfrm>
              <a:off x="15952208" y="4354125"/>
              <a:ext cx="81506" cy="186542"/>
            </a:xfrm>
            <a:custGeom>
              <a:avLst/>
              <a:gdLst>
                <a:gd name="connsiteX0" fmla="*/ 8932 w 81506"/>
                <a:gd name="connsiteY0" fmla="*/ 30857 h 186542"/>
                <a:gd name="connsiteX1" fmla="*/ 36703 w 81506"/>
                <a:gd name="connsiteY1" fmla="*/ 0 h 186542"/>
                <a:gd name="connsiteX2" fmla="*/ 70646 w 81506"/>
                <a:gd name="connsiteY2" fmla="*/ 0 h 186542"/>
                <a:gd name="connsiteX3" fmla="*/ 67560 w 81506"/>
                <a:gd name="connsiteY3" fmla="*/ 64800 h 186542"/>
                <a:gd name="connsiteX4" fmla="*/ 55218 w 81506"/>
                <a:gd name="connsiteY4" fmla="*/ 163543 h 186542"/>
                <a:gd name="connsiteX5" fmla="*/ 30531 w 81506"/>
                <a:gd name="connsiteY5" fmla="*/ 182057 h 186542"/>
                <a:gd name="connsiteX6" fmla="*/ 2760 w 81506"/>
                <a:gd name="connsiteY6" fmla="*/ 123429 h 186542"/>
                <a:gd name="connsiteX7" fmla="*/ 8932 w 81506"/>
                <a:gd name="connsiteY7" fmla="*/ 30857 h 186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506" h="186542">
                  <a:moveTo>
                    <a:pt x="8932" y="30857"/>
                  </a:moveTo>
                  <a:cubicBezTo>
                    <a:pt x="12017" y="21600"/>
                    <a:pt x="27445" y="9257"/>
                    <a:pt x="36703" y="0"/>
                  </a:cubicBezTo>
                  <a:cubicBezTo>
                    <a:pt x="39789" y="0"/>
                    <a:pt x="67560" y="0"/>
                    <a:pt x="70646" y="0"/>
                  </a:cubicBezTo>
                  <a:cubicBezTo>
                    <a:pt x="95332" y="21600"/>
                    <a:pt x="70646" y="46286"/>
                    <a:pt x="67560" y="64800"/>
                  </a:cubicBezTo>
                  <a:cubicBezTo>
                    <a:pt x="61388" y="86400"/>
                    <a:pt x="39789" y="141943"/>
                    <a:pt x="55218" y="163543"/>
                  </a:cubicBezTo>
                  <a:cubicBezTo>
                    <a:pt x="64474" y="178972"/>
                    <a:pt x="42874" y="194400"/>
                    <a:pt x="30531" y="182057"/>
                  </a:cubicBezTo>
                  <a:cubicBezTo>
                    <a:pt x="15103" y="166629"/>
                    <a:pt x="2760" y="145028"/>
                    <a:pt x="2760" y="123429"/>
                  </a:cubicBezTo>
                  <a:cubicBezTo>
                    <a:pt x="-326" y="95657"/>
                    <a:pt x="-3412" y="67886"/>
                    <a:pt x="8932" y="30857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52A4EBB9-A33F-463C-B105-98D8A1FD5D20}"/>
                </a:ext>
              </a:extLst>
            </p:cNvPr>
            <p:cNvSpPr/>
            <p:nvPr/>
          </p:nvSpPr>
          <p:spPr>
            <a:xfrm>
              <a:off x="15943454" y="4426904"/>
              <a:ext cx="74507" cy="115449"/>
            </a:xfrm>
            <a:custGeom>
              <a:avLst/>
              <a:gdLst>
                <a:gd name="connsiteX0" fmla="*/ 51629 w 74507"/>
                <a:gd name="connsiteY0" fmla="*/ 115449 h 115449"/>
                <a:gd name="connsiteX1" fmla="*/ 23858 w 74507"/>
                <a:gd name="connsiteY1" fmla="*/ 100021 h 115449"/>
                <a:gd name="connsiteX2" fmla="*/ 2258 w 74507"/>
                <a:gd name="connsiteY2" fmla="*/ 4364 h 115449"/>
                <a:gd name="connsiteX3" fmla="*/ 8429 w 74507"/>
                <a:gd name="connsiteY3" fmla="*/ 1278 h 115449"/>
                <a:gd name="connsiteX4" fmla="*/ 11515 w 74507"/>
                <a:gd name="connsiteY4" fmla="*/ 7449 h 115449"/>
                <a:gd name="connsiteX5" fmla="*/ 30030 w 74507"/>
                <a:gd name="connsiteY5" fmla="*/ 93850 h 115449"/>
                <a:gd name="connsiteX6" fmla="*/ 51629 w 74507"/>
                <a:gd name="connsiteY6" fmla="*/ 103107 h 115449"/>
                <a:gd name="connsiteX7" fmla="*/ 54715 w 74507"/>
                <a:gd name="connsiteY7" fmla="*/ 90764 h 115449"/>
                <a:gd name="connsiteX8" fmla="*/ 63973 w 74507"/>
                <a:gd name="connsiteY8" fmla="*/ 4364 h 115449"/>
                <a:gd name="connsiteX9" fmla="*/ 70143 w 74507"/>
                <a:gd name="connsiteY9" fmla="*/ 1278 h 115449"/>
                <a:gd name="connsiteX10" fmla="*/ 73229 w 74507"/>
                <a:gd name="connsiteY10" fmla="*/ 7449 h 115449"/>
                <a:gd name="connsiteX11" fmla="*/ 63973 w 74507"/>
                <a:gd name="connsiteY11" fmla="*/ 87678 h 115449"/>
                <a:gd name="connsiteX12" fmla="*/ 54715 w 74507"/>
                <a:gd name="connsiteY12" fmla="*/ 115449 h 115449"/>
                <a:gd name="connsiteX13" fmla="*/ 51629 w 74507"/>
                <a:gd name="connsiteY13" fmla="*/ 115449 h 115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507" h="115449">
                  <a:moveTo>
                    <a:pt x="51629" y="115449"/>
                  </a:moveTo>
                  <a:cubicBezTo>
                    <a:pt x="42372" y="115449"/>
                    <a:pt x="30030" y="109278"/>
                    <a:pt x="23858" y="100021"/>
                  </a:cubicBezTo>
                  <a:cubicBezTo>
                    <a:pt x="14601" y="84592"/>
                    <a:pt x="-6999" y="47564"/>
                    <a:pt x="2258" y="4364"/>
                  </a:cubicBezTo>
                  <a:cubicBezTo>
                    <a:pt x="2258" y="1278"/>
                    <a:pt x="5343" y="-1808"/>
                    <a:pt x="8429" y="1278"/>
                  </a:cubicBezTo>
                  <a:cubicBezTo>
                    <a:pt x="11515" y="1278"/>
                    <a:pt x="14601" y="4364"/>
                    <a:pt x="11515" y="7449"/>
                  </a:cubicBezTo>
                  <a:cubicBezTo>
                    <a:pt x="2258" y="44478"/>
                    <a:pt x="23858" y="78421"/>
                    <a:pt x="30030" y="93850"/>
                  </a:cubicBezTo>
                  <a:cubicBezTo>
                    <a:pt x="36200" y="103107"/>
                    <a:pt x="45458" y="106192"/>
                    <a:pt x="51629" y="103107"/>
                  </a:cubicBezTo>
                  <a:cubicBezTo>
                    <a:pt x="54715" y="100021"/>
                    <a:pt x="54715" y="93850"/>
                    <a:pt x="54715" y="90764"/>
                  </a:cubicBezTo>
                  <a:cubicBezTo>
                    <a:pt x="45458" y="62992"/>
                    <a:pt x="63973" y="7449"/>
                    <a:pt x="63973" y="4364"/>
                  </a:cubicBezTo>
                  <a:cubicBezTo>
                    <a:pt x="63973" y="1278"/>
                    <a:pt x="67058" y="-1808"/>
                    <a:pt x="70143" y="1278"/>
                  </a:cubicBezTo>
                  <a:cubicBezTo>
                    <a:pt x="73229" y="1278"/>
                    <a:pt x="76315" y="4364"/>
                    <a:pt x="73229" y="7449"/>
                  </a:cubicBezTo>
                  <a:cubicBezTo>
                    <a:pt x="67058" y="22878"/>
                    <a:pt x="57801" y="66078"/>
                    <a:pt x="63973" y="87678"/>
                  </a:cubicBezTo>
                  <a:cubicBezTo>
                    <a:pt x="70143" y="103107"/>
                    <a:pt x="63973" y="112364"/>
                    <a:pt x="54715" y="115449"/>
                  </a:cubicBezTo>
                  <a:cubicBezTo>
                    <a:pt x="57801" y="115449"/>
                    <a:pt x="54715" y="115449"/>
                    <a:pt x="51629" y="115449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F3C88676-5225-433A-A98C-614ECEB00012}"/>
                </a:ext>
              </a:extLst>
            </p:cNvPr>
            <p:cNvSpPr/>
            <p:nvPr/>
          </p:nvSpPr>
          <p:spPr>
            <a:xfrm>
              <a:off x="16476454" y="2984067"/>
              <a:ext cx="797241" cy="956571"/>
            </a:xfrm>
            <a:custGeom>
              <a:avLst/>
              <a:gdLst>
                <a:gd name="connsiteX0" fmla="*/ 499886 w 797241"/>
                <a:gd name="connsiteY0" fmla="*/ 0 h 956571"/>
                <a:gd name="connsiteX1" fmla="*/ 469029 w 797241"/>
                <a:gd name="connsiteY1" fmla="*/ 564686 h 956571"/>
                <a:gd name="connsiteX2" fmla="*/ 0 w 797241"/>
                <a:gd name="connsiteY2" fmla="*/ 833143 h 956571"/>
                <a:gd name="connsiteX3" fmla="*/ 108000 w 797241"/>
                <a:gd name="connsiteY3" fmla="*/ 956571 h 956571"/>
                <a:gd name="connsiteX4" fmla="*/ 728229 w 797241"/>
                <a:gd name="connsiteY4" fmla="*/ 663429 h 956571"/>
                <a:gd name="connsiteX5" fmla="*/ 796115 w 797241"/>
                <a:gd name="connsiteY5" fmla="*/ 33943 h 956571"/>
                <a:gd name="connsiteX6" fmla="*/ 499886 w 797241"/>
                <a:gd name="connsiteY6" fmla="*/ 0 h 95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7241" h="956571">
                  <a:moveTo>
                    <a:pt x="499886" y="0"/>
                  </a:moveTo>
                  <a:lnTo>
                    <a:pt x="469029" y="564686"/>
                  </a:lnTo>
                  <a:lnTo>
                    <a:pt x="0" y="833143"/>
                  </a:lnTo>
                  <a:lnTo>
                    <a:pt x="108000" y="956571"/>
                  </a:lnTo>
                  <a:cubicBezTo>
                    <a:pt x="108000" y="956571"/>
                    <a:pt x="644914" y="762172"/>
                    <a:pt x="728229" y="663429"/>
                  </a:cubicBezTo>
                  <a:cubicBezTo>
                    <a:pt x="811543" y="564686"/>
                    <a:pt x="796115" y="33943"/>
                    <a:pt x="796115" y="33943"/>
                  </a:cubicBezTo>
                  <a:lnTo>
                    <a:pt x="499886" y="0"/>
                  </a:ln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558AAF82-3962-40B4-A8AD-6080F5DBFB98}"/>
                </a:ext>
              </a:extLst>
            </p:cNvPr>
            <p:cNvGrpSpPr/>
            <p:nvPr/>
          </p:nvGrpSpPr>
          <p:grpSpPr>
            <a:xfrm>
              <a:off x="16232683" y="3795493"/>
              <a:ext cx="373093" cy="312748"/>
              <a:chOff x="16232683" y="3795493"/>
              <a:chExt cx="373093" cy="312748"/>
            </a:xfrm>
          </p:grpSpPr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7D42CCBC-4BFA-4693-A939-118D2DAAF54C}"/>
                  </a:ext>
                </a:extLst>
              </p:cNvPr>
              <p:cNvSpPr/>
              <p:nvPr/>
            </p:nvSpPr>
            <p:spPr>
              <a:xfrm>
                <a:off x="16239627" y="3795493"/>
                <a:ext cx="366149" cy="312748"/>
              </a:xfrm>
              <a:custGeom>
                <a:avLst/>
                <a:gdLst>
                  <a:gd name="connsiteX0" fmla="*/ 363341 w 366149"/>
                  <a:gd name="connsiteY0" fmla="*/ 95774 h 312748"/>
                  <a:gd name="connsiteX1" fmla="*/ 276942 w 366149"/>
                  <a:gd name="connsiteY1" fmla="*/ 117 h 312748"/>
                  <a:gd name="connsiteX2" fmla="*/ 45513 w 366149"/>
                  <a:gd name="connsiteY2" fmla="*/ 135888 h 312748"/>
                  <a:gd name="connsiteX3" fmla="*/ 5398 w 366149"/>
                  <a:gd name="connsiteY3" fmla="*/ 203774 h 312748"/>
                  <a:gd name="connsiteX4" fmla="*/ 26999 w 366149"/>
                  <a:gd name="connsiteY4" fmla="*/ 203774 h 312748"/>
                  <a:gd name="connsiteX5" fmla="*/ 67112 w 366149"/>
                  <a:gd name="connsiteY5" fmla="*/ 185260 h 312748"/>
                  <a:gd name="connsiteX6" fmla="*/ 26999 w 366149"/>
                  <a:gd name="connsiteY6" fmla="*/ 234631 h 312748"/>
                  <a:gd name="connsiteX7" fmla="*/ 8484 w 366149"/>
                  <a:gd name="connsiteY7" fmla="*/ 299431 h 312748"/>
                  <a:gd name="connsiteX8" fmla="*/ 42427 w 366149"/>
                  <a:gd name="connsiteY8" fmla="*/ 296346 h 312748"/>
                  <a:gd name="connsiteX9" fmla="*/ 51684 w 366149"/>
                  <a:gd name="connsiteY9" fmla="*/ 311774 h 312748"/>
                  <a:gd name="connsiteX10" fmla="*/ 122656 w 366149"/>
                  <a:gd name="connsiteY10" fmla="*/ 280917 h 312748"/>
                  <a:gd name="connsiteX11" fmla="*/ 168942 w 366149"/>
                  <a:gd name="connsiteY11" fmla="*/ 246974 h 312748"/>
                  <a:gd name="connsiteX12" fmla="*/ 147341 w 366149"/>
                  <a:gd name="connsiteY12" fmla="*/ 311774 h 312748"/>
                  <a:gd name="connsiteX13" fmla="*/ 196713 w 366149"/>
                  <a:gd name="connsiteY13" fmla="*/ 284003 h 312748"/>
                  <a:gd name="connsiteX14" fmla="*/ 267684 w 366149"/>
                  <a:gd name="connsiteY14" fmla="*/ 213031 h 312748"/>
                  <a:gd name="connsiteX15" fmla="*/ 344827 w 366149"/>
                  <a:gd name="connsiteY15" fmla="*/ 151317 h 312748"/>
                  <a:gd name="connsiteX16" fmla="*/ 363341 w 366149"/>
                  <a:gd name="connsiteY16" fmla="*/ 95774 h 312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66149" h="312748">
                    <a:moveTo>
                      <a:pt x="363341" y="95774"/>
                    </a:moveTo>
                    <a:cubicBezTo>
                      <a:pt x="354084" y="55660"/>
                      <a:pt x="276942" y="-2969"/>
                      <a:pt x="276942" y="117"/>
                    </a:cubicBezTo>
                    <a:cubicBezTo>
                      <a:pt x="199799" y="46403"/>
                      <a:pt x="116484" y="80346"/>
                      <a:pt x="45513" y="135888"/>
                    </a:cubicBezTo>
                    <a:cubicBezTo>
                      <a:pt x="33169" y="145145"/>
                      <a:pt x="-16201" y="182174"/>
                      <a:pt x="5398" y="203774"/>
                    </a:cubicBezTo>
                    <a:cubicBezTo>
                      <a:pt x="11570" y="209945"/>
                      <a:pt x="20827" y="206860"/>
                      <a:pt x="26999" y="203774"/>
                    </a:cubicBezTo>
                    <a:cubicBezTo>
                      <a:pt x="42427" y="197603"/>
                      <a:pt x="54770" y="191431"/>
                      <a:pt x="67112" y="185260"/>
                    </a:cubicBezTo>
                    <a:cubicBezTo>
                      <a:pt x="51684" y="200688"/>
                      <a:pt x="39341" y="216117"/>
                      <a:pt x="26999" y="234631"/>
                    </a:cubicBezTo>
                    <a:cubicBezTo>
                      <a:pt x="17741" y="250060"/>
                      <a:pt x="-3859" y="284003"/>
                      <a:pt x="8484" y="299431"/>
                    </a:cubicBezTo>
                    <a:cubicBezTo>
                      <a:pt x="14656" y="308688"/>
                      <a:pt x="26999" y="305603"/>
                      <a:pt x="42427" y="296346"/>
                    </a:cubicBezTo>
                    <a:cubicBezTo>
                      <a:pt x="42427" y="302517"/>
                      <a:pt x="42427" y="308688"/>
                      <a:pt x="51684" y="311774"/>
                    </a:cubicBezTo>
                    <a:cubicBezTo>
                      <a:pt x="73284" y="317945"/>
                      <a:pt x="107227" y="293260"/>
                      <a:pt x="122656" y="280917"/>
                    </a:cubicBezTo>
                    <a:cubicBezTo>
                      <a:pt x="138084" y="268574"/>
                      <a:pt x="153513" y="256231"/>
                      <a:pt x="168942" y="246974"/>
                    </a:cubicBezTo>
                    <a:cubicBezTo>
                      <a:pt x="147341" y="271660"/>
                      <a:pt x="125741" y="305603"/>
                      <a:pt x="147341" y="311774"/>
                    </a:cubicBezTo>
                    <a:cubicBezTo>
                      <a:pt x="162770" y="317945"/>
                      <a:pt x="187455" y="290174"/>
                      <a:pt x="196713" y="284003"/>
                    </a:cubicBezTo>
                    <a:cubicBezTo>
                      <a:pt x="221398" y="262403"/>
                      <a:pt x="242999" y="234631"/>
                      <a:pt x="267684" y="213031"/>
                    </a:cubicBezTo>
                    <a:cubicBezTo>
                      <a:pt x="292370" y="191431"/>
                      <a:pt x="320141" y="172917"/>
                      <a:pt x="344827" y="151317"/>
                    </a:cubicBezTo>
                    <a:cubicBezTo>
                      <a:pt x="366427" y="126631"/>
                      <a:pt x="369513" y="120460"/>
                      <a:pt x="363341" y="9577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3EF94FC7-1203-4E93-B2B4-AF49A1DEA14D}"/>
                  </a:ext>
                </a:extLst>
              </p:cNvPr>
              <p:cNvSpPr/>
              <p:nvPr/>
            </p:nvSpPr>
            <p:spPr>
              <a:xfrm>
                <a:off x="16232683" y="3865303"/>
                <a:ext cx="148113" cy="140135"/>
              </a:xfrm>
              <a:custGeom>
                <a:avLst/>
                <a:gdLst>
                  <a:gd name="connsiteX0" fmla="*/ 24685 w 148113"/>
                  <a:gd name="connsiteY0" fmla="*/ 140135 h 140135"/>
                  <a:gd name="connsiteX1" fmla="*/ 9257 w 148113"/>
                  <a:gd name="connsiteY1" fmla="*/ 137050 h 140135"/>
                  <a:gd name="connsiteX2" fmla="*/ 0 w 148113"/>
                  <a:gd name="connsiteY2" fmla="*/ 121621 h 140135"/>
                  <a:gd name="connsiteX3" fmla="*/ 135771 w 148113"/>
                  <a:gd name="connsiteY3" fmla="*/ 1278 h 140135"/>
                  <a:gd name="connsiteX4" fmla="*/ 141943 w 148113"/>
                  <a:gd name="connsiteY4" fmla="*/ 4364 h 140135"/>
                  <a:gd name="connsiteX5" fmla="*/ 138857 w 148113"/>
                  <a:gd name="connsiteY5" fmla="*/ 10535 h 140135"/>
                  <a:gd name="connsiteX6" fmla="*/ 9257 w 148113"/>
                  <a:gd name="connsiteY6" fmla="*/ 121621 h 140135"/>
                  <a:gd name="connsiteX7" fmla="*/ 12343 w 148113"/>
                  <a:gd name="connsiteY7" fmla="*/ 124707 h 140135"/>
                  <a:gd name="connsiteX8" fmla="*/ 70971 w 148113"/>
                  <a:gd name="connsiteY8" fmla="*/ 106192 h 140135"/>
                  <a:gd name="connsiteX9" fmla="*/ 141943 w 148113"/>
                  <a:gd name="connsiteY9" fmla="*/ 56821 h 140135"/>
                  <a:gd name="connsiteX10" fmla="*/ 148114 w 148113"/>
                  <a:gd name="connsiteY10" fmla="*/ 62992 h 140135"/>
                  <a:gd name="connsiteX11" fmla="*/ 141943 w 148113"/>
                  <a:gd name="connsiteY11" fmla="*/ 69164 h 140135"/>
                  <a:gd name="connsiteX12" fmla="*/ 77143 w 148113"/>
                  <a:gd name="connsiteY12" fmla="*/ 118535 h 140135"/>
                  <a:gd name="connsiteX13" fmla="*/ 24685 w 148113"/>
                  <a:gd name="connsiteY13" fmla="*/ 140135 h 140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113" h="140135">
                    <a:moveTo>
                      <a:pt x="24685" y="140135"/>
                    </a:moveTo>
                    <a:cubicBezTo>
                      <a:pt x="18514" y="140135"/>
                      <a:pt x="15429" y="140135"/>
                      <a:pt x="9257" y="137050"/>
                    </a:cubicBezTo>
                    <a:cubicBezTo>
                      <a:pt x="3086" y="133964"/>
                      <a:pt x="0" y="127793"/>
                      <a:pt x="0" y="121621"/>
                    </a:cubicBezTo>
                    <a:cubicBezTo>
                      <a:pt x="0" y="93850"/>
                      <a:pt x="58628" y="44478"/>
                      <a:pt x="135771" y="1278"/>
                    </a:cubicBezTo>
                    <a:cubicBezTo>
                      <a:pt x="138857" y="-1808"/>
                      <a:pt x="141943" y="1278"/>
                      <a:pt x="141943" y="4364"/>
                    </a:cubicBezTo>
                    <a:cubicBezTo>
                      <a:pt x="141943" y="7450"/>
                      <a:pt x="141943" y="10535"/>
                      <a:pt x="138857" y="10535"/>
                    </a:cubicBezTo>
                    <a:cubicBezTo>
                      <a:pt x="49372" y="59907"/>
                      <a:pt x="9257" y="103107"/>
                      <a:pt x="9257" y="121621"/>
                    </a:cubicBezTo>
                    <a:cubicBezTo>
                      <a:pt x="9257" y="124707"/>
                      <a:pt x="9257" y="124707"/>
                      <a:pt x="12343" y="124707"/>
                    </a:cubicBezTo>
                    <a:cubicBezTo>
                      <a:pt x="27771" y="133964"/>
                      <a:pt x="58628" y="112364"/>
                      <a:pt x="70971" y="106192"/>
                    </a:cubicBezTo>
                    <a:cubicBezTo>
                      <a:pt x="83315" y="93850"/>
                      <a:pt x="129600" y="56821"/>
                      <a:pt x="141943" y="56821"/>
                    </a:cubicBezTo>
                    <a:cubicBezTo>
                      <a:pt x="145029" y="56821"/>
                      <a:pt x="148114" y="59907"/>
                      <a:pt x="148114" y="62992"/>
                    </a:cubicBezTo>
                    <a:cubicBezTo>
                      <a:pt x="148114" y="66078"/>
                      <a:pt x="145029" y="69164"/>
                      <a:pt x="141943" y="69164"/>
                    </a:cubicBezTo>
                    <a:cubicBezTo>
                      <a:pt x="135771" y="69164"/>
                      <a:pt x="101828" y="93850"/>
                      <a:pt x="77143" y="118535"/>
                    </a:cubicBezTo>
                    <a:cubicBezTo>
                      <a:pt x="77143" y="118535"/>
                      <a:pt x="46286" y="140135"/>
                      <a:pt x="24685" y="14013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2D9F1942-1619-46F3-9047-F1BFF211234A}"/>
                  </a:ext>
                </a:extLst>
              </p:cNvPr>
              <p:cNvSpPr/>
              <p:nvPr/>
            </p:nvSpPr>
            <p:spPr>
              <a:xfrm>
                <a:off x="16279740" y="3965325"/>
                <a:ext cx="125742" cy="129599"/>
              </a:xfrm>
              <a:custGeom>
                <a:avLst/>
                <a:gdLst>
                  <a:gd name="connsiteX0" fmla="*/ 5400 w 125742"/>
                  <a:gd name="connsiteY0" fmla="*/ 129600 h 129599"/>
                  <a:gd name="connsiteX1" fmla="*/ 2314 w 125742"/>
                  <a:gd name="connsiteY1" fmla="*/ 129600 h 129599"/>
                  <a:gd name="connsiteX2" fmla="*/ 2314 w 125742"/>
                  <a:gd name="connsiteY2" fmla="*/ 120343 h 129599"/>
                  <a:gd name="connsiteX3" fmla="*/ 119571 w 125742"/>
                  <a:gd name="connsiteY3" fmla="*/ 0 h 129599"/>
                  <a:gd name="connsiteX4" fmla="*/ 125743 w 125742"/>
                  <a:gd name="connsiteY4" fmla="*/ 3086 h 129599"/>
                  <a:gd name="connsiteX5" fmla="*/ 122657 w 125742"/>
                  <a:gd name="connsiteY5" fmla="*/ 9257 h 129599"/>
                  <a:gd name="connsiteX6" fmla="*/ 11571 w 125742"/>
                  <a:gd name="connsiteY6" fmla="*/ 126514 h 129599"/>
                  <a:gd name="connsiteX7" fmla="*/ 5400 w 125742"/>
                  <a:gd name="connsiteY7" fmla="*/ 129600 h 129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5742" h="129599">
                    <a:moveTo>
                      <a:pt x="5400" y="129600"/>
                    </a:moveTo>
                    <a:cubicBezTo>
                      <a:pt x="5400" y="129600"/>
                      <a:pt x="2314" y="129600"/>
                      <a:pt x="2314" y="129600"/>
                    </a:cubicBezTo>
                    <a:cubicBezTo>
                      <a:pt x="-771" y="126514"/>
                      <a:pt x="-771" y="123429"/>
                      <a:pt x="2314" y="120343"/>
                    </a:cubicBezTo>
                    <a:cubicBezTo>
                      <a:pt x="5400" y="117257"/>
                      <a:pt x="85628" y="15429"/>
                      <a:pt x="119571" y="0"/>
                    </a:cubicBezTo>
                    <a:cubicBezTo>
                      <a:pt x="122657" y="0"/>
                      <a:pt x="125743" y="0"/>
                      <a:pt x="125743" y="3086"/>
                    </a:cubicBezTo>
                    <a:cubicBezTo>
                      <a:pt x="125743" y="6171"/>
                      <a:pt x="125743" y="9257"/>
                      <a:pt x="122657" y="9257"/>
                    </a:cubicBezTo>
                    <a:cubicBezTo>
                      <a:pt x="91800" y="24686"/>
                      <a:pt x="11571" y="126514"/>
                      <a:pt x="11571" y="126514"/>
                    </a:cubicBezTo>
                    <a:cubicBezTo>
                      <a:pt x="8485" y="129600"/>
                      <a:pt x="5400" y="129600"/>
                      <a:pt x="5400" y="1296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6026034D-7AD2-4978-8CC5-B38DCEB85FDF}"/>
                  </a:ext>
                </a:extLst>
              </p:cNvPr>
              <p:cNvSpPr/>
              <p:nvPr/>
            </p:nvSpPr>
            <p:spPr>
              <a:xfrm>
                <a:off x="16403169" y="3993867"/>
                <a:ext cx="57085" cy="48599"/>
              </a:xfrm>
              <a:custGeom>
                <a:avLst/>
                <a:gdLst>
                  <a:gd name="connsiteX0" fmla="*/ 5400 w 57085"/>
                  <a:gd name="connsiteY0" fmla="*/ 48600 h 48599"/>
                  <a:gd name="connsiteX1" fmla="*/ 2314 w 57085"/>
                  <a:gd name="connsiteY1" fmla="*/ 45514 h 48599"/>
                  <a:gd name="connsiteX2" fmla="*/ 2314 w 57085"/>
                  <a:gd name="connsiteY2" fmla="*/ 36257 h 48599"/>
                  <a:gd name="connsiteX3" fmla="*/ 45514 w 57085"/>
                  <a:gd name="connsiteY3" fmla="*/ 2314 h 48599"/>
                  <a:gd name="connsiteX4" fmla="*/ 54771 w 57085"/>
                  <a:gd name="connsiteY4" fmla="*/ 2314 h 48599"/>
                  <a:gd name="connsiteX5" fmla="*/ 54771 w 57085"/>
                  <a:gd name="connsiteY5" fmla="*/ 11571 h 48599"/>
                  <a:gd name="connsiteX6" fmla="*/ 11571 w 57085"/>
                  <a:gd name="connsiteY6" fmla="*/ 45514 h 48599"/>
                  <a:gd name="connsiteX7" fmla="*/ 5400 w 57085"/>
                  <a:gd name="connsiteY7" fmla="*/ 48600 h 48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085" h="48599">
                    <a:moveTo>
                      <a:pt x="5400" y="48600"/>
                    </a:moveTo>
                    <a:cubicBezTo>
                      <a:pt x="2314" y="48600"/>
                      <a:pt x="2314" y="48600"/>
                      <a:pt x="2314" y="45514"/>
                    </a:cubicBezTo>
                    <a:cubicBezTo>
                      <a:pt x="-771" y="42428"/>
                      <a:pt x="-771" y="39343"/>
                      <a:pt x="2314" y="36257"/>
                    </a:cubicBezTo>
                    <a:lnTo>
                      <a:pt x="45514" y="2314"/>
                    </a:lnTo>
                    <a:cubicBezTo>
                      <a:pt x="48600" y="-771"/>
                      <a:pt x="51686" y="-771"/>
                      <a:pt x="54771" y="2314"/>
                    </a:cubicBezTo>
                    <a:cubicBezTo>
                      <a:pt x="57857" y="5400"/>
                      <a:pt x="57857" y="8486"/>
                      <a:pt x="54771" y="11571"/>
                    </a:cubicBezTo>
                    <a:lnTo>
                      <a:pt x="11571" y="45514"/>
                    </a:lnTo>
                    <a:cubicBezTo>
                      <a:pt x="8485" y="48600"/>
                      <a:pt x="8485" y="48600"/>
                      <a:pt x="5400" y="486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4E602763-8A8F-426D-BDE7-1C9EBD927154}"/>
                  </a:ext>
                </a:extLst>
              </p:cNvPr>
              <p:cNvSpPr/>
              <p:nvPr/>
            </p:nvSpPr>
            <p:spPr>
              <a:xfrm>
                <a:off x="16423998" y="3885096"/>
                <a:ext cx="70971" cy="92571"/>
              </a:xfrm>
              <a:custGeom>
                <a:avLst/>
                <a:gdLst>
                  <a:gd name="connsiteX0" fmla="*/ 64799 w 70971"/>
                  <a:gd name="connsiteY0" fmla="*/ 92571 h 92571"/>
                  <a:gd name="connsiteX1" fmla="*/ 64799 w 70971"/>
                  <a:gd name="connsiteY1" fmla="*/ 92571 h 92571"/>
                  <a:gd name="connsiteX2" fmla="*/ 0 w 70971"/>
                  <a:gd name="connsiteY2" fmla="*/ 6171 h 92571"/>
                  <a:gd name="connsiteX3" fmla="*/ 3085 w 70971"/>
                  <a:gd name="connsiteY3" fmla="*/ 0 h 92571"/>
                  <a:gd name="connsiteX4" fmla="*/ 9257 w 70971"/>
                  <a:gd name="connsiteY4" fmla="*/ 3086 h 92571"/>
                  <a:gd name="connsiteX5" fmla="*/ 67885 w 70971"/>
                  <a:gd name="connsiteY5" fmla="*/ 80229 h 92571"/>
                  <a:gd name="connsiteX6" fmla="*/ 70971 w 70971"/>
                  <a:gd name="connsiteY6" fmla="*/ 89486 h 92571"/>
                  <a:gd name="connsiteX7" fmla="*/ 64799 w 70971"/>
                  <a:gd name="connsiteY7" fmla="*/ 92571 h 92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0971" h="92571">
                    <a:moveTo>
                      <a:pt x="64799" y="92571"/>
                    </a:moveTo>
                    <a:cubicBezTo>
                      <a:pt x="64799" y="92571"/>
                      <a:pt x="64799" y="92571"/>
                      <a:pt x="64799" y="92571"/>
                    </a:cubicBezTo>
                    <a:cubicBezTo>
                      <a:pt x="12343" y="61714"/>
                      <a:pt x="0" y="9257"/>
                      <a:pt x="0" y="6171"/>
                    </a:cubicBezTo>
                    <a:cubicBezTo>
                      <a:pt x="0" y="3086"/>
                      <a:pt x="0" y="0"/>
                      <a:pt x="3085" y="0"/>
                    </a:cubicBezTo>
                    <a:cubicBezTo>
                      <a:pt x="6171" y="0"/>
                      <a:pt x="9257" y="0"/>
                      <a:pt x="9257" y="3086"/>
                    </a:cubicBezTo>
                    <a:cubicBezTo>
                      <a:pt x="9257" y="3086"/>
                      <a:pt x="21599" y="55543"/>
                      <a:pt x="67885" y="80229"/>
                    </a:cubicBezTo>
                    <a:cubicBezTo>
                      <a:pt x="70971" y="83314"/>
                      <a:pt x="70971" y="86400"/>
                      <a:pt x="70971" y="89486"/>
                    </a:cubicBezTo>
                    <a:cubicBezTo>
                      <a:pt x="70971" y="92571"/>
                      <a:pt x="67885" y="92571"/>
                      <a:pt x="64799" y="9257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0247FD62-89A8-481C-9796-77B0108CDCF1}"/>
                </a:ext>
              </a:extLst>
            </p:cNvPr>
            <p:cNvSpPr/>
            <p:nvPr/>
          </p:nvSpPr>
          <p:spPr>
            <a:xfrm>
              <a:off x="16939311" y="2984067"/>
              <a:ext cx="78421" cy="592457"/>
            </a:xfrm>
            <a:custGeom>
              <a:avLst/>
              <a:gdLst>
                <a:gd name="connsiteX0" fmla="*/ 70972 w 78421"/>
                <a:gd name="connsiteY0" fmla="*/ 592457 h 592457"/>
                <a:gd name="connsiteX1" fmla="*/ 70972 w 78421"/>
                <a:gd name="connsiteY1" fmla="*/ 592457 h 592457"/>
                <a:gd name="connsiteX2" fmla="*/ 3086 w 78421"/>
                <a:gd name="connsiteY2" fmla="*/ 570857 h 592457"/>
                <a:gd name="connsiteX3" fmla="*/ 0 w 78421"/>
                <a:gd name="connsiteY3" fmla="*/ 564686 h 592457"/>
                <a:gd name="connsiteX4" fmla="*/ 30857 w 78421"/>
                <a:gd name="connsiteY4" fmla="*/ 0 h 592457"/>
                <a:gd name="connsiteX5" fmla="*/ 43200 w 78421"/>
                <a:gd name="connsiteY5" fmla="*/ 0 h 592457"/>
                <a:gd name="connsiteX6" fmla="*/ 15429 w 78421"/>
                <a:gd name="connsiteY6" fmla="*/ 561600 h 592457"/>
                <a:gd name="connsiteX7" fmla="*/ 74057 w 78421"/>
                <a:gd name="connsiteY7" fmla="*/ 580114 h 592457"/>
                <a:gd name="connsiteX8" fmla="*/ 77143 w 78421"/>
                <a:gd name="connsiteY8" fmla="*/ 586286 h 592457"/>
                <a:gd name="connsiteX9" fmla="*/ 70972 w 78421"/>
                <a:gd name="connsiteY9" fmla="*/ 592457 h 592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421" h="592457">
                  <a:moveTo>
                    <a:pt x="70972" y="592457"/>
                  </a:moveTo>
                  <a:cubicBezTo>
                    <a:pt x="70972" y="592457"/>
                    <a:pt x="70972" y="592457"/>
                    <a:pt x="70972" y="592457"/>
                  </a:cubicBezTo>
                  <a:cubicBezTo>
                    <a:pt x="49372" y="589372"/>
                    <a:pt x="6172" y="570857"/>
                    <a:pt x="3086" y="570857"/>
                  </a:cubicBezTo>
                  <a:cubicBezTo>
                    <a:pt x="0" y="570857"/>
                    <a:pt x="0" y="567772"/>
                    <a:pt x="0" y="564686"/>
                  </a:cubicBezTo>
                  <a:lnTo>
                    <a:pt x="30857" y="0"/>
                  </a:lnTo>
                  <a:lnTo>
                    <a:pt x="43200" y="0"/>
                  </a:lnTo>
                  <a:lnTo>
                    <a:pt x="15429" y="561600"/>
                  </a:lnTo>
                  <a:cubicBezTo>
                    <a:pt x="27771" y="564686"/>
                    <a:pt x="58628" y="577029"/>
                    <a:pt x="74057" y="580114"/>
                  </a:cubicBezTo>
                  <a:cubicBezTo>
                    <a:pt x="77143" y="580114"/>
                    <a:pt x="80229" y="583200"/>
                    <a:pt x="77143" y="586286"/>
                  </a:cubicBezTo>
                  <a:cubicBezTo>
                    <a:pt x="77143" y="589372"/>
                    <a:pt x="74057" y="592457"/>
                    <a:pt x="70972" y="592457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4E3679A1-B3F7-4824-A116-00A006A19281}"/>
                </a:ext>
              </a:extLst>
            </p:cNvPr>
            <p:cNvSpPr/>
            <p:nvPr/>
          </p:nvSpPr>
          <p:spPr>
            <a:xfrm>
              <a:off x="16905368" y="2598823"/>
              <a:ext cx="425829" cy="598776"/>
            </a:xfrm>
            <a:custGeom>
              <a:avLst/>
              <a:gdLst>
                <a:gd name="connsiteX0" fmla="*/ 425829 w 425829"/>
                <a:gd name="connsiteY0" fmla="*/ 585816 h 598776"/>
                <a:gd name="connsiteX1" fmla="*/ 259201 w 425829"/>
                <a:gd name="connsiteY1" fmla="*/ 2616 h 598776"/>
                <a:gd name="connsiteX2" fmla="*/ 0 w 425829"/>
                <a:gd name="connsiteY2" fmla="*/ 539530 h 598776"/>
                <a:gd name="connsiteX3" fmla="*/ 425829 w 425829"/>
                <a:gd name="connsiteY3" fmla="*/ 585816 h 598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829" h="598776">
                  <a:moveTo>
                    <a:pt x="425829" y="585816"/>
                  </a:moveTo>
                  <a:cubicBezTo>
                    <a:pt x="425829" y="585816"/>
                    <a:pt x="401143" y="42730"/>
                    <a:pt x="259201" y="2616"/>
                  </a:cubicBezTo>
                  <a:cubicBezTo>
                    <a:pt x="92571" y="-43669"/>
                    <a:pt x="0" y="539530"/>
                    <a:pt x="0" y="539530"/>
                  </a:cubicBezTo>
                  <a:cubicBezTo>
                    <a:pt x="0" y="539530"/>
                    <a:pt x="216000" y="632102"/>
                    <a:pt x="425829" y="585816"/>
                  </a:cubicBezTo>
                  <a:close/>
                </a:path>
              </a:pathLst>
            </a:custGeom>
            <a:solidFill>
              <a:srgbClr val="D1615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A296C813-147C-464C-91D4-23EDA1EE233B}"/>
                </a:ext>
              </a:extLst>
            </p:cNvPr>
            <p:cNvSpPr/>
            <p:nvPr/>
          </p:nvSpPr>
          <p:spPr>
            <a:xfrm>
              <a:off x="16899197" y="2598353"/>
              <a:ext cx="431999" cy="614057"/>
            </a:xfrm>
            <a:custGeom>
              <a:avLst/>
              <a:gdLst>
                <a:gd name="connsiteX0" fmla="*/ 302400 w 431999"/>
                <a:gd name="connsiteY0" fmla="*/ 614057 h 614057"/>
                <a:gd name="connsiteX1" fmla="*/ 3086 w 431999"/>
                <a:gd name="connsiteY1" fmla="*/ 549257 h 614057"/>
                <a:gd name="connsiteX2" fmla="*/ 0 w 431999"/>
                <a:gd name="connsiteY2" fmla="*/ 546171 h 614057"/>
                <a:gd name="connsiteX3" fmla="*/ 0 w 431999"/>
                <a:gd name="connsiteY3" fmla="*/ 543086 h 614057"/>
                <a:gd name="connsiteX4" fmla="*/ 89486 w 431999"/>
                <a:gd name="connsiteY4" fmla="*/ 188229 h 614057"/>
                <a:gd name="connsiteX5" fmla="*/ 262286 w 431999"/>
                <a:gd name="connsiteY5" fmla="*/ 0 h 614057"/>
                <a:gd name="connsiteX6" fmla="*/ 268457 w 431999"/>
                <a:gd name="connsiteY6" fmla="*/ 6171 h 614057"/>
                <a:gd name="connsiteX7" fmla="*/ 262286 w 431999"/>
                <a:gd name="connsiteY7" fmla="*/ 12343 h 614057"/>
                <a:gd name="connsiteX8" fmla="*/ 98742 w 431999"/>
                <a:gd name="connsiteY8" fmla="*/ 194400 h 614057"/>
                <a:gd name="connsiteX9" fmla="*/ 9257 w 431999"/>
                <a:gd name="connsiteY9" fmla="*/ 543086 h 614057"/>
                <a:gd name="connsiteX10" fmla="*/ 422742 w 431999"/>
                <a:gd name="connsiteY10" fmla="*/ 589371 h 614057"/>
                <a:gd name="connsiteX11" fmla="*/ 388800 w 431999"/>
                <a:gd name="connsiteY11" fmla="*/ 290057 h 614057"/>
                <a:gd name="connsiteX12" fmla="*/ 391885 w 431999"/>
                <a:gd name="connsiteY12" fmla="*/ 283886 h 614057"/>
                <a:gd name="connsiteX13" fmla="*/ 398057 w 431999"/>
                <a:gd name="connsiteY13" fmla="*/ 286971 h 614057"/>
                <a:gd name="connsiteX14" fmla="*/ 432000 w 431999"/>
                <a:gd name="connsiteY14" fmla="*/ 592457 h 614057"/>
                <a:gd name="connsiteX15" fmla="*/ 432000 w 431999"/>
                <a:gd name="connsiteY15" fmla="*/ 595543 h 614057"/>
                <a:gd name="connsiteX16" fmla="*/ 428914 w 431999"/>
                <a:gd name="connsiteY16" fmla="*/ 595543 h 614057"/>
                <a:gd name="connsiteX17" fmla="*/ 302400 w 431999"/>
                <a:gd name="connsiteY17" fmla="*/ 614057 h 614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1999" h="614057">
                  <a:moveTo>
                    <a:pt x="302400" y="614057"/>
                  </a:moveTo>
                  <a:cubicBezTo>
                    <a:pt x="151200" y="614057"/>
                    <a:pt x="6171" y="549257"/>
                    <a:pt x="3086" y="549257"/>
                  </a:cubicBezTo>
                  <a:lnTo>
                    <a:pt x="0" y="546171"/>
                  </a:lnTo>
                  <a:lnTo>
                    <a:pt x="0" y="543086"/>
                  </a:lnTo>
                  <a:cubicBezTo>
                    <a:pt x="0" y="540000"/>
                    <a:pt x="37028" y="367200"/>
                    <a:pt x="89486" y="188229"/>
                  </a:cubicBezTo>
                  <a:cubicBezTo>
                    <a:pt x="145028" y="9257"/>
                    <a:pt x="259200" y="0"/>
                    <a:pt x="262286" y="0"/>
                  </a:cubicBezTo>
                  <a:cubicBezTo>
                    <a:pt x="265372" y="0"/>
                    <a:pt x="268457" y="3086"/>
                    <a:pt x="268457" y="6171"/>
                  </a:cubicBezTo>
                  <a:cubicBezTo>
                    <a:pt x="268457" y="9257"/>
                    <a:pt x="265372" y="12343"/>
                    <a:pt x="262286" y="12343"/>
                  </a:cubicBezTo>
                  <a:cubicBezTo>
                    <a:pt x="262286" y="12343"/>
                    <a:pt x="151200" y="21600"/>
                    <a:pt x="98742" y="194400"/>
                  </a:cubicBezTo>
                  <a:cubicBezTo>
                    <a:pt x="49372" y="354857"/>
                    <a:pt x="15429" y="515314"/>
                    <a:pt x="9257" y="543086"/>
                  </a:cubicBezTo>
                  <a:cubicBezTo>
                    <a:pt x="43200" y="555429"/>
                    <a:pt x="256114" y="641829"/>
                    <a:pt x="422742" y="589371"/>
                  </a:cubicBezTo>
                  <a:cubicBezTo>
                    <a:pt x="422742" y="561600"/>
                    <a:pt x="413486" y="398057"/>
                    <a:pt x="388800" y="290057"/>
                  </a:cubicBezTo>
                  <a:cubicBezTo>
                    <a:pt x="388800" y="286971"/>
                    <a:pt x="388800" y="283886"/>
                    <a:pt x="391885" y="283886"/>
                  </a:cubicBezTo>
                  <a:cubicBezTo>
                    <a:pt x="394971" y="283886"/>
                    <a:pt x="398057" y="283886"/>
                    <a:pt x="398057" y="286971"/>
                  </a:cubicBezTo>
                  <a:cubicBezTo>
                    <a:pt x="425828" y="407314"/>
                    <a:pt x="432000" y="592457"/>
                    <a:pt x="432000" y="592457"/>
                  </a:cubicBezTo>
                  <a:lnTo>
                    <a:pt x="432000" y="595543"/>
                  </a:lnTo>
                  <a:lnTo>
                    <a:pt x="428914" y="595543"/>
                  </a:lnTo>
                  <a:cubicBezTo>
                    <a:pt x="391885" y="607886"/>
                    <a:pt x="348685" y="614057"/>
                    <a:pt x="302400" y="614057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4" name="图形 1">
            <a:extLst>
              <a:ext uri="{FF2B5EF4-FFF2-40B4-BE49-F238E27FC236}">
                <a16:creationId xmlns:a16="http://schemas.microsoft.com/office/drawing/2014/main" id="{ECEBFB9F-0327-4BE5-B9D5-9BB56C6265A8}"/>
              </a:ext>
            </a:extLst>
          </p:cNvPr>
          <p:cNvGrpSpPr/>
          <p:nvPr/>
        </p:nvGrpSpPr>
        <p:grpSpPr>
          <a:xfrm>
            <a:off x="1956705" y="2290439"/>
            <a:ext cx="3907828" cy="4481603"/>
            <a:chOff x="9862455" y="2290439"/>
            <a:chExt cx="3907828" cy="4481603"/>
          </a:xfrm>
        </p:grpSpPr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288F8DEB-8F7B-4F77-BEEF-0C5588E31D56}"/>
                </a:ext>
              </a:extLst>
            </p:cNvPr>
            <p:cNvSpPr/>
            <p:nvPr/>
          </p:nvSpPr>
          <p:spPr>
            <a:xfrm>
              <a:off x="12687316" y="2300643"/>
              <a:ext cx="563460" cy="928725"/>
            </a:xfrm>
            <a:custGeom>
              <a:avLst/>
              <a:gdLst>
                <a:gd name="connsiteX0" fmla="*/ 27652 w 563460"/>
                <a:gd name="connsiteY0" fmla="*/ 667996 h 928725"/>
                <a:gd name="connsiteX1" fmla="*/ 154167 w 563460"/>
                <a:gd name="connsiteY1" fmla="*/ 911767 h 928725"/>
                <a:gd name="connsiteX2" fmla="*/ 320795 w 563460"/>
                <a:gd name="connsiteY2" fmla="*/ 927196 h 928725"/>
                <a:gd name="connsiteX3" fmla="*/ 484338 w 563460"/>
                <a:gd name="connsiteY3" fmla="*/ 902510 h 928725"/>
                <a:gd name="connsiteX4" fmla="*/ 558396 w 563460"/>
                <a:gd name="connsiteY4" fmla="*/ 760567 h 928725"/>
                <a:gd name="connsiteX5" fmla="*/ 441138 w 563460"/>
                <a:gd name="connsiteY5" fmla="*/ 590853 h 928725"/>
                <a:gd name="connsiteX6" fmla="*/ 425709 w 563460"/>
                <a:gd name="connsiteY6" fmla="*/ 448910 h 928725"/>
                <a:gd name="connsiteX7" fmla="*/ 342396 w 563460"/>
                <a:gd name="connsiteY7" fmla="*/ 368681 h 928725"/>
                <a:gd name="connsiteX8" fmla="*/ 302281 w 563460"/>
                <a:gd name="connsiteY8" fmla="*/ 189710 h 928725"/>
                <a:gd name="connsiteX9" fmla="*/ 9138 w 563460"/>
                <a:gd name="connsiteY9" fmla="*/ 1481 h 928725"/>
                <a:gd name="connsiteX10" fmla="*/ 61596 w 563460"/>
                <a:gd name="connsiteY10" fmla="*/ 44681 h 928725"/>
                <a:gd name="connsiteX11" fmla="*/ 117138 w 563460"/>
                <a:gd name="connsiteY11" fmla="*/ 69367 h 928725"/>
                <a:gd name="connsiteX12" fmla="*/ 27652 w 563460"/>
                <a:gd name="connsiteY12" fmla="*/ 667996 h 92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3460" h="928725">
                  <a:moveTo>
                    <a:pt x="27652" y="667996"/>
                  </a:moveTo>
                  <a:cubicBezTo>
                    <a:pt x="46167" y="763653"/>
                    <a:pt x="49253" y="874739"/>
                    <a:pt x="154167" y="911767"/>
                  </a:cubicBezTo>
                  <a:cubicBezTo>
                    <a:pt x="206624" y="930281"/>
                    <a:pt x="265253" y="930281"/>
                    <a:pt x="320795" y="927196"/>
                  </a:cubicBezTo>
                  <a:cubicBezTo>
                    <a:pt x="373253" y="924110"/>
                    <a:pt x="434967" y="924110"/>
                    <a:pt x="484338" y="902510"/>
                  </a:cubicBezTo>
                  <a:cubicBezTo>
                    <a:pt x="542967" y="877824"/>
                    <a:pt x="576909" y="822281"/>
                    <a:pt x="558396" y="760567"/>
                  </a:cubicBezTo>
                  <a:cubicBezTo>
                    <a:pt x="536795" y="692681"/>
                    <a:pt x="453481" y="658739"/>
                    <a:pt x="441138" y="590853"/>
                  </a:cubicBezTo>
                  <a:cubicBezTo>
                    <a:pt x="431881" y="541481"/>
                    <a:pt x="456567" y="495196"/>
                    <a:pt x="425709" y="448910"/>
                  </a:cubicBezTo>
                  <a:cubicBezTo>
                    <a:pt x="404110" y="414967"/>
                    <a:pt x="363995" y="399539"/>
                    <a:pt x="342396" y="368681"/>
                  </a:cubicBezTo>
                  <a:cubicBezTo>
                    <a:pt x="302281" y="316224"/>
                    <a:pt x="326967" y="248339"/>
                    <a:pt x="302281" y="189710"/>
                  </a:cubicBezTo>
                  <a:cubicBezTo>
                    <a:pt x="262167" y="94053"/>
                    <a:pt x="120224" y="-13947"/>
                    <a:pt x="9138" y="1481"/>
                  </a:cubicBezTo>
                  <a:cubicBezTo>
                    <a:pt x="-9376" y="4567"/>
                    <a:pt x="43081" y="35424"/>
                    <a:pt x="61596" y="44681"/>
                  </a:cubicBezTo>
                  <a:cubicBezTo>
                    <a:pt x="80110" y="50853"/>
                    <a:pt x="98624" y="60110"/>
                    <a:pt x="117138" y="69367"/>
                  </a:cubicBezTo>
                  <a:cubicBezTo>
                    <a:pt x="-37148" y="205139"/>
                    <a:pt x="-6291" y="485939"/>
                    <a:pt x="27652" y="667996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249209BF-61A3-4997-8C06-BCAEC6F4422D}"/>
                </a:ext>
              </a:extLst>
            </p:cNvPr>
            <p:cNvSpPr/>
            <p:nvPr/>
          </p:nvSpPr>
          <p:spPr>
            <a:xfrm>
              <a:off x="12171953" y="2290439"/>
              <a:ext cx="524894" cy="864813"/>
            </a:xfrm>
            <a:custGeom>
              <a:avLst/>
              <a:gdLst>
                <a:gd name="connsiteX0" fmla="*/ 456616 w 524894"/>
                <a:gd name="connsiteY0" fmla="*/ 474543 h 864813"/>
                <a:gd name="connsiteX1" fmla="*/ 447358 w 524894"/>
                <a:gd name="connsiteY1" fmla="*/ 311000 h 864813"/>
                <a:gd name="connsiteX2" fmla="*/ 490558 w 524894"/>
                <a:gd name="connsiteY2" fmla="*/ 162886 h 864813"/>
                <a:gd name="connsiteX3" fmla="*/ 524501 w 524894"/>
                <a:gd name="connsiteY3" fmla="*/ 8600 h 864813"/>
                <a:gd name="connsiteX4" fmla="*/ 209759 w 524894"/>
                <a:gd name="connsiteY4" fmla="*/ 193743 h 864813"/>
                <a:gd name="connsiteX5" fmla="*/ 209759 w 524894"/>
                <a:gd name="connsiteY5" fmla="*/ 252371 h 864813"/>
                <a:gd name="connsiteX6" fmla="*/ 160387 w 524894"/>
                <a:gd name="connsiteY6" fmla="*/ 311000 h 864813"/>
                <a:gd name="connsiteX7" fmla="*/ 107929 w 524894"/>
                <a:gd name="connsiteY7" fmla="*/ 378886 h 864813"/>
                <a:gd name="connsiteX8" fmla="*/ 107929 w 524894"/>
                <a:gd name="connsiteY8" fmla="*/ 468371 h 864813"/>
                <a:gd name="connsiteX9" fmla="*/ 86330 w 524894"/>
                <a:gd name="connsiteY9" fmla="*/ 545514 h 864813"/>
                <a:gd name="connsiteX10" fmla="*/ 15358 w 524894"/>
                <a:gd name="connsiteY10" fmla="*/ 647343 h 864813"/>
                <a:gd name="connsiteX11" fmla="*/ 64730 w 524894"/>
                <a:gd name="connsiteY11" fmla="*/ 838657 h 864813"/>
                <a:gd name="connsiteX12" fmla="*/ 271473 w 524894"/>
                <a:gd name="connsiteY12" fmla="*/ 863343 h 864813"/>
                <a:gd name="connsiteX13" fmla="*/ 277644 w 524894"/>
                <a:gd name="connsiteY13" fmla="*/ 770771 h 864813"/>
                <a:gd name="connsiteX14" fmla="*/ 373301 w 524894"/>
                <a:gd name="connsiteY14" fmla="*/ 761514 h 864813"/>
                <a:gd name="connsiteX15" fmla="*/ 465873 w 524894"/>
                <a:gd name="connsiteY15" fmla="*/ 601057 h 864813"/>
                <a:gd name="connsiteX16" fmla="*/ 456616 w 524894"/>
                <a:gd name="connsiteY16" fmla="*/ 474543 h 864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24894" h="864813">
                  <a:moveTo>
                    <a:pt x="456616" y="474543"/>
                  </a:moveTo>
                  <a:cubicBezTo>
                    <a:pt x="447358" y="422086"/>
                    <a:pt x="441187" y="366543"/>
                    <a:pt x="447358" y="311000"/>
                  </a:cubicBezTo>
                  <a:cubicBezTo>
                    <a:pt x="453530" y="258543"/>
                    <a:pt x="468958" y="209171"/>
                    <a:pt x="490558" y="162886"/>
                  </a:cubicBezTo>
                  <a:cubicBezTo>
                    <a:pt x="512158" y="113514"/>
                    <a:pt x="527587" y="8600"/>
                    <a:pt x="524501" y="8600"/>
                  </a:cubicBezTo>
                  <a:cubicBezTo>
                    <a:pt x="407244" y="-28429"/>
                    <a:pt x="206673" y="57971"/>
                    <a:pt x="209759" y="193743"/>
                  </a:cubicBezTo>
                  <a:cubicBezTo>
                    <a:pt x="209759" y="215343"/>
                    <a:pt x="212844" y="233857"/>
                    <a:pt x="209759" y="252371"/>
                  </a:cubicBezTo>
                  <a:cubicBezTo>
                    <a:pt x="203587" y="283229"/>
                    <a:pt x="185072" y="295571"/>
                    <a:pt x="160387" y="311000"/>
                  </a:cubicBezTo>
                  <a:cubicBezTo>
                    <a:pt x="135701" y="329514"/>
                    <a:pt x="117187" y="351114"/>
                    <a:pt x="107929" y="378886"/>
                  </a:cubicBezTo>
                  <a:cubicBezTo>
                    <a:pt x="98673" y="409743"/>
                    <a:pt x="101759" y="437514"/>
                    <a:pt x="107929" y="468371"/>
                  </a:cubicBezTo>
                  <a:cubicBezTo>
                    <a:pt x="114101" y="499229"/>
                    <a:pt x="114101" y="523914"/>
                    <a:pt x="86330" y="545514"/>
                  </a:cubicBezTo>
                  <a:cubicBezTo>
                    <a:pt x="70901" y="560943"/>
                    <a:pt x="21530" y="628829"/>
                    <a:pt x="15358" y="647343"/>
                  </a:cubicBezTo>
                  <a:cubicBezTo>
                    <a:pt x="-24756" y="752257"/>
                    <a:pt x="21530" y="795457"/>
                    <a:pt x="64730" y="838657"/>
                  </a:cubicBezTo>
                  <a:cubicBezTo>
                    <a:pt x="123358" y="894200"/>
                    <a:pt x="209759" y="826314"/>
                    <a:pt x="271473" y="863343"/>
                  </a:cubicBezTo>
                  <a:cubicBezTo>
                    <a:pt x="296158" y="878771"/>
                    <a:pt x="246787" y="767686"/>
                    <a:pt x="277644" y="770771"/>
                  </a:cubicBezTo>
                  <a:cubicBezTo>
                    <a:pt x="305415" y="773857"/>
                    <a:pt x="345530" y="770771"/>
                    <a:pt x="373301" y="761514"/>
                  </a:cubicBezTo>
                  <a:cubicBezTo>
                    <a:pt x="425759" y="739914"/>
                    <a:pt x="456616" y="653514"/>
                    <a:pt x="465873" y="601057"/>
                  </a:cubicBezTo>
                  <a:cubicBezTo>
                    <a:pt x="475129" y="560943"/>
                    <a:pt x="465873" y="517743"/>
                    <a:pt x="456616" y="474543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7" name="图形 1">
              <a:extLst>
                <a:ext uri="{FF2B5EF4-FFF2-40B4-BE49-F238E27FC236}">
                  <a16:creationId xmlns:a16="http://schemas.microsoft.com/office/drawing/2014/main" id="{CDD70A23-8704-4D20-8EF8-FF794C4406BC}"/>
                </a:ext>
              </a:extLst>
            </p:cNvPr>
            <p:cNvGrpSpPr/>
            <p:nvPr/>
          </p:nvGrpSpPr>
          <p:grpSpPr>
            <a:xfrm>
              <a:off x="12165252" y="6406125"/>
              <a:ext cx="400059" cy="365917"/>
              <a:chOff x="12165252" y="6406125"/>
              <a:chExt cx="400059" cy="365917"/>
            </a:xfrm>
          </p:grpSpPr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33A1E2CA-8E5B-485B-9F90-6B8440AE3B90}"/>
                  </a:ext>
                </a:extLst>
              </p:cNvPr>
              <p:cNvSpPr/>
              <p:nvPr/>
            </p:nvSpPr>
            <p:spPr>
              <a:xfrm>
                <a:off x="12165252" y="6532639"/>
                <a:ext cx="400059" cy="239403"/>
              </a:xfrm>
              <a:custGeom>
                <a:avLst/>
                <a:gdLst>
                  <a:gd name="connsiteX0" fmla="*/ 290517 w 400059"/>
                  <a:gd name="connsiteY0" fmla="*/ 0 h 239403"/>
                  <a:gd name="connsiteX1" fmla="*/ 130060 w 400059"/>
                  <a:gd name="connsiteY1" fmla="*/ 126514 h 239403"/>
                  <a:gd name="connsiteX2" fmla="*/ 327545 w 400059"/>
                  <a:gd name="connsiteY2" fmla="*/ 77143 h 239403"/>
                  <a:gd name="connsiteX3" fmla="*/ 398517 w 400059"/>
                  <a:gd name="connsiteY3" fmla="*/ 52457 h 239403"/>
                  <a:gd name="connsiteX4" fmla="*/ 392345 w 400059"/>
                  <a:gd name="connsiteY4" fmla="*/ 160457 h 239403"/>
                  <a:gd name="connsiteX5" fmla="*/ 157831 w 400059"/>
                  <a:gd name="connsiteY5" fmla="*/ 234514 h 239403"/>
                  <a:gd name="connsiteX6" fmla="*/ 18974 w 400059"/>
                  <a:gd name="connsiteY6" fmla="*/ 234514 h 239403"/>
                  <a:gd name="connsiteX7" fmla="*/ 12803 w 400059"/>
                  <a:gd name="connsiteY7" fmla="*/ 178971 h 239403"/>
                  <a:gd name="connsiteX8" fmla="*/ 290517 w 400059"/>
                  <a:gd name="connsiteY8" fmla="*/ 0 h 239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0059" h="239403">
                    <a:moveTo>
                      <a:pt x="290517" y="0"/>
                    </a:moveTo>
                    <a:cubicBezTo>
                      <a:pt x="290517" y="0"/>
                      <a:pt x="114631" y="114171"/>
                      <a:pt x="130060" y="126514"/>
                    </a:cubicBezTo>
                    <a:cubicBezTo>
                      <a:pt x="142402" y="141943"/>
                      <a:pt x="327545" y="77143"/>
                      <a:pt x="327545" y="77143"/>
                    </a:cubicBezTo>
                    <a:lnTo>
                      <a:pt x="398517" y="52457"/>
                    </a:lnTo>
                    <a:cubicBezTo>
                      <a:pt x="398517" y="52457"/>
                      <a:pt x="404688" y="135771"/>
                      <a:pt x="392345" y="160457"/>
                    </a:cubicBezTo>
                    <a:cubicBezTo>
                      <a:pt x="318288" y="197486"/>
                      <a:pt x="231889" y="222171"/>
                      <a:pt x="157831" y="234514"/>
                    </a:cubicBezTo>
                    <a:cubicBezTo>
                      <a:pt x="111545" y="243771"/>
                      <a:pt x="28232" y="237600"/>
                      <a:pt x="18974" y="234514"/>
                    </a:cubicBezTo>
                    <a:cubicBezTo>
                      <a:pt x="9717" y="231429"/>
                      <a:pt x="-14968" y="206743"/>
                      <a:pt x="12803" y="178971"/>
                    </a:cubicBezTo>
                    <a:cubicBezTo>
                      <a:pt x="77603" y="111085"/>
                      <a:pt x="290517" y="0"/>
                      <a:pt x="290517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CCC15B07-70DF-48D1-A8B7-065D13C2A5DE}"/>
                  </a:ext>
                </a:extLst>
              </p:cNvPr>
              <p:cNvSpPr/>
              <p:nvPr/>
            </p:nvSpPr>
            <p:spPr>
              <a:xfrm>
                <a:off x="12293968" y="6406125"/>
                <a:ext cx="269800" cy="257151"/>
              </a:xfrm>
              <a:custGeom>
                <a:avLst/>
                <a:gdLst>
                  <a:gd name="connsiteX0" fmla="*/ 146372 w 269800"/>
                  <a:gd name="connsiteY0" fmla="*/ 0 h 257151"/>
                  <a:gd name="connsiteX1" fmla="*/ 161801 w 269800"/>
                  <a:gd name="connsiteY1" fmla="*/ 126514 h 257151"/>
                  <a:gd name="connsiteX2" fmla="*/ 1343 w 269800"/>
                  <a:gd name="connsiteY2" fmla="*/ 253028 h 257151"/>
                  <a:gd name="connsiteX3" fmla="*/ 242030 w 269800"/>
                  <a:gd name="connsiteY3" fmla="*/ 209829 h 257151"/>
                  <a:gd name="connsiteX4" fmla="*/ 269801 w 269800"/>
                  <a:gd name="connsiteY4" fmla="*/ 178972 h 257151"/>
                  <a:gd name="connsiteX5" fmla="*/ 269801 w 269800"/>
                  <a:gd name="connsiteY5" fmla="*/ 43200 h 257151"/>
                  <a:gd name="connsiteX6" fmla="*/ 146372 w 269800"/>
                  <a:gd name="connsiteY6" fmla="*/ 0 h 25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800" h="257151">
                    <a:moveTo>
                      <a:pt x="146372" y="0"/>
                    </a:moveTo>
                    <a:lnTo>
                      <a:pt x="161801" y="126514"/>
                    </a:lnTo>
                    <a:cubicBezTo>
                      <a:pt x="161801" y="126514"/>
                      <a:pt x="-17171" y="231429"/>
                      <a:pt x="1343" y="253028"/>
                    </a:cubicBezTo>
                    <a:cubicBezTo>
                      <a:pt x="13686" y="268457"/>
                      <a:pt x="171058" y="237600"/>
                      <a:pt x="242030" y="209829"/>
                    </a:cubicBezTo>
                    <a:cubicBezTo>
                      <a:pt x="266715" y="200571"/>
                      <a:pt x="269801" y="178972"/>
                      <a:pt x="269801" y="178972"/>
                    </a:cubicBezTo>
                    <a:lnTo>
                      <a:pt x="269801" y="43200"/>
                    </a:lnTo>
                    <a:lnTo>
                      <a:pt x="146372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8" name="图形 1">
              <a:extLst>
                <a:ext uri="{FF2B5EF4-FFF2-40B4-BE49-F238E27FC236}">
                  <a16:creationId xmlns:a16="http://schemas.microsoft.com/office/drawing/2014/main" id="{5F33F4B6-055F-4C92-BF49-9A7969D64D17}"/>
                </a:ext>
              </a:extLst>
            </p:cNvPr>
            <p:cNvGrpSpPr/>
            <p:nvPr/>
          </p:nvGrpSpPr>
          <p:grpSpPr>
            <a:xfrm>
              <a:off x="13464797" y="6079039"/>
              <a:ext cx="305486" cy="492049"/>
              <a:chOff x="13464797" y="6079039"/>
              <a:chExt cx="305486" cy="492049"/>
            </a:xfrm>
          </p:grpSpPr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72DF22DC-FA6C-4E72-B394-FE39FA7B5712}"/>
                  </a:ext>
                </a:extLst>
              </p:cNvPr>
              <p:cNvSpPr/>
              <p:nvPr/>
            </p:nvSpPr>
            <p:spPr>
              <a:xfrm>
                <a:off x="13561959" y="6153096"/>
                <a:ext cx="208323" cy="417992"/>
              </a:xfrm>
              <a:custGeom>
                <a:avLst/>
                <a:gdLst>
                  <a:gd name="connsiteX0" fmla="*/ 17009 w 208323"/>
                  <a:gd name="connsiteY0" fmla="*/ 61714 h 417992"/>
                  <a:gd name="connsiteX1" fmla="*/ 32438 w 208323"/>
                  <a:gd name="connsiteY1" fmla="*/ 265371 h 417992"/>
                  <a:gd name="connsiteX2" fmla="*/ 103409 w 208323"/>
                  <a:gd name="connsiteY2" fmla="*/ 74057 h 417992"/>
                  <a:gd name="connsiteX3" fmla="*/ 121923 w 208323"/>
                  <a:gd name="connsiteY3" fmla="*/ 0 h 417992"/>
                  <a:gd name="connsiteX4" fmla="*/ 208324 w 208323"/>
                  <a:gd name="connsiteY4" fmla="*/ 64800 h 417992"/>
                  <a:gd name="connsiteX5" fmla="*/ 137352 w 208323"/>
                  <a:gd name="connsiteY5" fmla="*/ 299314 h 417992"/>
                  <a:gd name="connsiteX6" fmla="*/ 57123 w 208323"/>
                  <a:gd name="connsiteY6" fmla="*/ 413486 h 417992"/>
                  <a:gd name="connsiteX7" fmla="*/ 4667 w 208323"/>
                  <a:gd name="connsiteY7" fmla="*/ 385714 h 417992"/>
                  <a:gd name="connsiteX8" fmla="*/ 17009 w 208323"/>
                  <a:gd name="connsiteY8" fmla="*/ 61714 h 417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8323" h="417992">
                    <a:moveTo>
                      <a:pt x="17009" y="61714"/>
                    </a:moveTo>
                    <a:cubicBezTo>
                      <a:pt x="17009" y="61714"/>
                      <a:pt x="13923" y="268457"/>
                      <a:pt x="32438" y="265371"/>
                    </a:cubicBezTo>
                    <a:cubicBezTo>
                      <a:pt x="50952" y="262286"/>
                      <a:pt x="103409" y="74057"/>
                      <a:pt x="103409" y="74057"/>
                    </a:cubicBezTo>
                    <a:lnTo>
                      <a:pt x="121923" y="0"/>
                    </a:lnTo>
                    <a:cubicBezTo>
                      <a:pt x="121923" y="0"/>
                      <a:pt x="192895" y="43200"/>
                      <a:pt x="208324" y="64800"/>
                    </a:cubicBezTo>
                    <a:cubicBezTo>
                      <a:pt x="199066" y="145028"/>
                      <a:pt x="168209" y="231429"/>
                      <a:pt x="137352" y="299314"/>
                    </a:cubicBezTo>
                    <a:cubicBezTo>
                      <a:pt x="118837" y="342514"/>
                      <a:pt x="66381" y="410400"/>
                      <a:pt x="57123" y="413486"/>
                    </a:cubicBezTo>
                    <a:cubicBezTo>
                      <a:pt x="47866" y="419657"/>
                      <a:pt x="13923" y="425829"/>
                      <a:pt x="4667" y="385714"/>
                    </a:cubicBezTo>
                    <a:cubicBezTo>
                      <a:pt x="-10762" y="302400"/>
                      <a:pt x="17009" y="61714"/>
                      <a:pt x="17009" y="61714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3A2CA8B0-F7AE-4661-A988-976D4D741D1A}"/>
                  </a:ext>
                </a:extLst>
              </p:cNvPr>
              <p:cNvSpPr/>
              <p:nvPr/>
            </p:nvSpPr>
            <p:spPr>
              <a:xfrm>
                <a:off x="13464797" y="6079039"/>
                <a:ext cx="229602" cy="339462"/>
              </a:xfrm>
              <a:custGeom>
                <a:avLst/>
                <a:gdLst>
                  <a:gd name="connsiteX0" fmla="*/ 0 w 229602"/>
                  <a:gd name="connsiteY0" fmla="*/ 77143 h 339462"/>
                  <a:gd name="connsiteX1" fmla="*/ 111086 w 229602"/>
                  <a:gd name="connsiteY1" fmla="*/ 135772 h 339462"/>
                  <a:gd name="connsiteX2" fmla="*/ 126514 w 229602"/>
                  <a:gd name="connsiteY2" fmla="*/ 339429 h 339462"/>
                  <a:gd name="connsiteX3" fmla="*/ 228344 w 229602"/>
                  <a:gd name="connsiteY3" fmla="*/ 117257 h 339462"/>
                  <a:gd name="connsiteX4" fmla="*/ 216000 w 229602"/>
                  <a:gd name="connsiteY4" fmla="*/ 77143 h 339462"/>
                  <a:gd name="connsiteX5" fmla="*/ 104915 w 229602"/>
                  <a:gd name="connsiteY5" fmla="*/ 0 h 339462"/>
                  <a:gd name="connsiteX6" fmla="*/ 0 w 229602"/>
                  <a:gd name="connsiteY6" fmla="*/ 77143 h 33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9602" h="339462">
                    <a:moveTo>
                      <a:pt x="0" y="77143"/>
                    </a:moveTo>
                    <a:lnTo>
                      <a:pt x="111086" y="135772"/>
                    </a:lnTo>
                    <a:cubicBezTo>
                      <a:pt x="111086" y="135772"/>
                      <a:pt x="98743" y="342514"/>
                      <a:pt x="126514" y="339429"/>
                    </a:cubicBezTo>
                    <a:cubicBezTo>
                      <a:pt x="148115" y="339429"/>
                      <a:pt x="209829" y="191315"/>
                      <a:pt x="228344" y="117257"/>
                    </a:cubicBezTo>
                    <a:cubicBezTo>
                      <a:pt x="234514" y="92571"/>
                      <a:pt x="216000" y="77143"/>
                      <a:pt x="216000" y="77143"/>
                    </a:cubicBezTo>
                    <a:lnTo>
                      <a:pt x="104915" y="0"/>
                    </a:lnTo>
                    <a:lnTo>
                      <a:pt x="0" y="77143"/>
                    </a:ln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9" name="图形 1">
              <a:extLst>
                <a:ext uri="{FF2B5EF4-FFF2-40B4-BE49-F238E27FC236}">
                  <a16:creationId xmlns:a16="http://schemas.microsoft.com/office/drawing/2014/main" id="{62C34498-49D4-4399-8BE8-573A5AB81078}"/>
                </a:ext>
              </a:extLst>
            </p:cNvPr>
            <p:cNvGrpSpPr/>
            <p:nvPr/>
          </p:nvGrpSpPr>
          <p:grpSpPr>
            <a:xfrm>
              <a:off x="11136958" y="3774437"/>
              <a:ext cx="376528" cy="237944"/>
              <a:chOff x="11136958" y="3774437"/>
              <a:chExt cx="376528" cy="237944"/>
            </a:xfrm>
          </p:grpSpPr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F20771CA-CFD5-4259-BB01-D68C4907CB97}"/>
                  </a:ext>
                </a:extLst>
              </p:cNvPr>
              <p:cNvSpPr/>
              <p:nvPr/>
            </p:nvSpPr>
            <p:spPr>
              <a:xfrm>
                <a:off x="11146210" y="3774437"/>
                <a:ext cx="367275" cy="237944"/>
              </a:xfrm>
              <a:custGeom>
                <a:avLst/>
                <a:gdLst>
                  <a:gd name="connsiteX0" fmla="*/ 143158 w 367275"/>
                  <a:gd name="connsiteY0" fmla="*/ 234087 h 237944"/>
                  <a:gd name="connsiteX1" fmla="*/ 223387 w 367275"/>
                  <a:gd name="connsiteY1" fmla="*/ 212487 h 237944"/>
                  <a:gd name="connsiteX2" fmla="*/ 343729 w 367275"/>
                  <a:gd name="connsiteY2" fmla="*/ 153858 h 237944"/>
                  <a:gd name="connsiteX3" fmla="*/ 356073 w 367275"/>
                  <a:gd name="connsiteY3" fmla="*/ 55116 h 237944"/>
                  <a:gd name="connsiteX4" fmla="*/ 349901 w 367275"/>
                  <a:gd name="connsiteY4" fmla="*/ 55116 h 237944"/>
                  <a:gd name="connsiteX5" fmla="*/ 346815 w 367275"/>
                  <a:gd name="connsiteY5" fmla="*/ 27344 h 237944"/>
                  <a:gd name="connsiteX6" fmla="*/ 38244 w 367275"/>
                  <a:gd name="connsiteY6" fmla="*/ 70544 h 237944"/>
                  <a:gd name="connsiteX7" fmla="*/ 22815 w 367275"/>
                  <a:gd name="connsiteY7" fmla="*/ 101401 h 237944"/>
                  <a:gd name="connsiteX8" fmla="*/ 72187 w 367275"/>
                  <a:gd name="connsiteY8" fmla="*/ 101401 h 237944"/>
                  <a:gd name="connsiteX9" fmla="*/ 136987 w 367275"/>
                  <a:gd name="connsiteY9" fmla="*/ 98316 h 237944"/>
                  <a:gd name="connsiteX10" fmla="*/ 59844 w 367275"/>
                  <a:gd name="connsiteY10" fmla="*/ 126087 h 237944"/>
                  <a:gd name="connsiteX11" fmla="*/ 7387 w 367275"/>
                  <a:gd name="connsiteY11" fmla="*/ 147687 h 237944"/>
                  <a:gd name="connsiteX12" fmla="*/ 4301 w 367275"/>
                  <a:gd name="connsiteY12" fmla="*/ 178544 h 237944"/>
                  <a:gd name="connsiteX13" fmla="*/ 35158 w 367275"/>
                  <a:gd name="connsiteY13" fmla="*/ 193973 h 237944"/>
                  <a:gd name="connsiteX14" fmla="*/ 35158 w 367275"/>
                  <a:gd name="connsiteY14" fmla="*/ 197059 h 237944"/>
                  <a:gd name="connsiteX15" fmla="*/ 35158 w 367275"/>
                  <a:gd name="connsiteY15" fmla="*/ 203230 h 237944"/>
                  <a:gd name="connsiteX16" fmla="*/ 87615 w 367275"/>
                  <a:gd name="connsiteY16" fmla="*/ 209401 h 237944"/>
                  <a:gd name="connsiteX17" fmla="*/ 115387 w 367275"/>
                  <a:gd name="connsiteY17" fmla="*/ 200144 h 237944"/>
                  <a:gd name="connsiteX18" fmla="*/ 109216 w 367275"/>
                  <a:gd name="connsiteY18" fmla="*/ 206316 h 237944"/>
                  <a:gd name="connsiteX19" fmla="*/ 106130 w 367275"/>
                  <a:gd name="connsiteY19" fmla="*/ 227916 h 237944"/>
                  <a:gd name="connsiteX20" fmla="*/ 143158 w 367275"/>
                  <a:gd name="connsiteY20" fmla="*/ 234087 h 237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67275" h="237944">
                    <a:moveTo>
                      <a:pt x="143158" y="234087"/>
                    </a:moveTo>
                    <a:cubicBezTo>
                      <a:pt x="170930" y="227916"/>
                      <a:pt x="195615" y="218659"/>
                      <a:pt x="223387" y="212487"/>
                    </a:cubicBezTo>
                    <a:cubicBezTo>
                      <a:pt x="266586" y="200144"/>
                      <a:pt x="319044" y="197059"/>
                      <a:pt x="343729" y="153858"/>
                    </a:cubicBezTo>
                    <a:cubicBezTo>
                      <a:pt x="359158" y="126087"/>
                      <a:pt x="380758" y="82887"/>
                      <a:pt x="356073" y="55116"/>
                    </a:cubicBezTo>
                    <a:cubicBezTo>
                      <a:pt x="352987" y="52030"/>
                      <a:pt x="352987" y="52030"/>
                      <a:pt x="349901" y="55116"/>
                    </a:cubicBezTo>
                    <a:cubicBezTo>
                      <a:pt x="349901" y="55116"/>
                      <a:pt x="346815" y="27344"/>
                      <a:pt x="346815" y="27344"/>
                    </a:cubicBezTo>
                    <a:cubicBezTo>
                      <a:pt x="294359" y="-43627"/>
                      <a:pt x="99958" y="42773"/>
                      <a:pt x="38244" y="70544"/>
                    </a:cubicBezTo>
                    <a:cubicBezTo>
                      <a:pt x="28987" y="73630"/>
                      <a:pt x="1216" y="92144"/>
                      <a:pt x="22815" y="101401"/>
                    </a:cubicBezTo>
                    <a:cubicBezTo>
                      <a:pt x="35158" y="107573"/>
                      <a:pt x="59844" y="101401"/>
                      <a:pt x="72187" y="101401"/>
                    </a:cubicBezTo>
                    <a:cubicBezTo>
                      <a:pt x="93787" y="101401"/>
                      <a:pt x="115387" y="101401"/>
                      <a:pt x="136987" y="98316"/>
                    </a:cubicBezTo>
                    <a:cubicBezTo>
                      <a:pt x="112301" y="107573"/>
                      <a:pt x="84529" y="116830"/>
                      <a:pt x="59844" y="126087"/>
                    </a:cubicBezTo>
                    <a:cubicBezTo>
                      <a:pt x="44416" y="132259"/>
                      <a:pt x="19729" y="135344"/>
                      <a:pt x="7387" y="147687"/>
                    </a:cubicBezTo>
                    <a:cubicBezTo>
                      <a:pt x="-1870" y="156944"/>
                      <a:pt x="-1870" y="166201"/>
                      <a:pt x="4301" y="178544"/>
                    </a:cubicBezTo>
                    <a:cubicBezTo>
                      <a:pt x="10472" y="187802"/>
                      <a:pt x="22815" y="190887"/>
                      <a:pt x="35158" y="193973"/>
                    </a:cubicBezTo>
                    <a:cubicBezTo>
                      <a:pt x="35158" y="193973"/>
                      <a:pt x="35158" y="193973"/>
                      <a:pt x="35158" y="197059"/>
                    </a:cubicBezTo>
                    <a:cubicBezTo>
                      <a:pt x="35158" y="200144"/>
                      <a:pt x="35158" y="203230"/>
                      <a:pt x="35158" y="203230"/>
                    </a:cubicBezTo>
                    <a:cubicBezTo>
                      <a:pt x="50586" y="215573"/>
                      <a:pt x="69101" y="215573"/>
                      <a:pt x="87615" y="209401"/>
                    </a:cubicBezTo>
                    <a:cubicBezTo>
                      <a:pt x="96872" y="206316"/>
                      <a:pt x="106130" y="203230"/>
                      <a:pt x="115387" y="200144"/>
                    </a:cubicBezTo>
                    <a:cubicBezTo>
                      <a:pt x="112301" y="200144"/>
                      <a:pt x="112301" y="203230"/>
                      <a:pt x="109216" y="206316"/>
                    </a:cubicBezTo>
                    <a:cubicBezTo>
                      <a:pt x="103044" y="212487"/>
                      <a:pt x="99958" y="221744"/>
                      <a:pt x="106130" y="227916"/>
                    </a:cubicBezTo>
                    <a:cubicBezTo>
                      <a:pt x="112301" y="243344"/>
                      <a:pt x="130815" y="237173"/>
                      <a:pt x="143158" y="23408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815D6C76-774D-4D1E-AEFA-DCEFCD57F89A}"/>
                  </a:ext>
                </a:extLst>
              </p:cNvPr>
              <p:cNvSpPr/>
              <p:nvPr/>
            </p:nvSpPr>
            <p:spPr>
              <a:xfrm>
                <a:off x="11136958" y="3866582"/>
                <a:ext cx="149325" cy="104914"/>
              </a:xfrm>
              <a:custGeom>
                <a:avLst/>
                <a:gdLst>
                  <a:gd name="connsiteX0" fmla="*/ 35154 w 149325"/>
                  <a:gd name="connsiteY0" fmla="*/ 104914 h 104914"/>
                  <a:gd name="connsiteX1" fmla="*/ 7382 w 149325"/>
                  <a:gd name="connsiteY1" fmla="*/ 92571 h 104914"/>
                  <a:gd name="connsiteX2" fmla="*/ 1211 w 149325"/>
                  <a:gd name="connsiteY2" fmla="*/ 64800 h 104914"/>
                  <a:gd name="connsiteX3" fmla="*/ 96868 w 149325"/>
                  <a:gd name="connsiteY3" fmla="*/ 15429 h 104914"/>
                  <a:gd name="connsiteX4" fmla="*/ 28982 w 149325"/>
                  <a:gd name="connsiteY4" fmla="*/ 15429 h 104914"/>
                  <a:gd name="connsiteX5" fmla="*/ 22811 w 149325"/>
                  <a:gd name="connsiteY5" fmla="*/ 9257 h 104914"/>
                  <a:gd name="connsiteX6" fmla="*/ 28982 w 149325"/>
                  <a:gd name="connsiteY6" fmla="*/ 3086 h 104914"/>
                  <a:gd name="connsiteX7" fmla="*/ 28982 w 149325"/>
                  <a:gd name="connsiteY7" fmla="*/ 3086 h 104914"/>
                  <a:gd name="connsiteX8" fmla="*/ 140068 w 149325"/>
                  <a:gd name="connsiteY8" fmla="*/ 0 h 104914"/>
                  <a:gd name="connsiteX9" fmla="*/ 146240 w 149325"/>
                  <a:gd name="connsiteY9" fmla="*/ 6172 h 104914"/>
                  <a:gd name="connsiteX10" fmla="*/ 143154 w 149325"/>
                  <a:gd name="connsiteY10" fmla="*/ 12343 h 104914"/>
                  <a:gd name="connsiteX11" fmla="*/ 10468 w 149325"/>
                  <a:gd name="connsiteY11" fmla="*/ 67886 h 104914"/>
                  <a:gd name="connsiteX12" fmla="*/ 13553 w 149325"/>
                  <a:gd name="connsiteY12" fmla="*/ 83314 h 104914"/>
                  <a:gd name="connsiteX13" fmla="*/ 35154 w 149325"/>
                  <a:gd name="connsiteY13" fmla="*/ 89486 h 104914"/>
                  <a:gd name="connsiteX14" fmla="*/ 143154 w 149325"/>
                  <a:gd name="connsiteY14" fmla="*/ 61714 h 104914"/>
                  <a:gd name="connsiteX15" fmla="*/ 149325 w 149325"/>
                  <a:gd name="connsiteY15" fmla="*/ 64800 h 104914"/>
                  <a:gd name="connsiteX16" fmla="*/ 146240 w 149325"/>
                  <a:gd name="connsiteY16" fmla="*/ 70972 h 104914"/>
                  <a:gd name="connsiteX17" fmla="*/ 35154 w 149325"/>
                  <a:gd name="connsiteY17" fmla="*/ 98743 h 104914"/>
                  <a:gd name="connsiteX18" fmla="*/ 35154 w 149325"/>
                  <a:gd name="connsiteY18" fmla="*/ 104914 h 104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9325" h="104914">
                    <a:moveTo>
                      <a:pt x="35154" y="104914"/>
                    </a:moveTo>
                    <a:cubicBezTo>
                      <a:pt x="22811" y="104914"/>
                      <a:pt x="13553" y="101829"/>
                      <a:pt x="7382" y="92571"/>
                    </a:cubicBezTo>
                    <a:cubicBezTo>
                      <a:pt x="1211" y="86400"/>
                      <a:pt x="-1875" y="77143"/>
                      <a:pt x="1211" y="64800"/>
                    </a:cubicBezTo>
                    <a:cubicBezTo>
                      <a:pt x="4297" y="52457"/>
                      <a:pt x="53668" y="30857"/>
                      <a:pt x="96868" y="15429"/>
                    </a:cubicBezTo>
                    <a:cubicBezTo>
                      <a:pt x="62925" y="15429"/>
                      <a:pt x="32068" y="15429"/>
                      <a:pt x="28982" y="15429"/>
                    </a:cubicBezTo>
                    <a:cubicBezTo>
                      <a:pt x="25897" y="15429"/>
                      <a:pt x="22811" y="12343"/>
                      <a:pt x="22811" y="9257"/>
                    </a:cubicBezTo>
                    <a:cubicBezTo>
                      <a:pt x="22811" y="6172"/>
                      <a:pt x="25897" y="3086"/>
                      <a:pt x="28982" y="3086"/>
                    </a:cubicBezTo>
                    <a:cubicBezTo>
                      <a:pt x="28982" y="3086"/>
                      <a:pt x="28982" y="3086"/>
                      <a:pt x="28982" y="3086"/>
                    </a:cubicBezTo>
                    <a:cubicBezTo>
                      <a:pt x="28982" y="3086"/>
                      <a:pt x="99954" y="6172"/>
                      <a:pt x="140068" y="0"/>
                    </a:cubicBezTo>
                    <a:cubicBezTo>
                      <a:pt x="143154" y="0"/>
                      <a:pt x="146240" y="3086"/>
                      <a:pt x="146240" y="6172"/>
                    </a:cubicBezTo>
                    <a:cubicBezTo>
                      <a:pt x="146240" y="9257"/>
                      <a:pt x="146240" y="12343"/>
                      <a:pt x="143154" y="12343"/>
                    </a:cubicBezTo>
                    <a:cubicBezTo>
                      <a:pt x="81439" y="30857"/>
                      <a:pt x="16639" y="58629"/>
                      <a:pt x="10468" y="67886"/>
                    </a:cubicBezTo>
                    <a:cubicBezTo>
                      <a:pt x="10468" y="74057"/>
                      <a:pt x="10468" y="80229"/>
                      <a:pt x="13553" y="83314"/>
                    </a:cubicBezTo>
                    <a:cubicBezTo>
                      <a:pt x="19725" y="89486"/>
                      <a:pt x="25897" y="92571"/>
                      <a:pt x="35154" y="89486"/>
                    </a:cubicBezTo>
                    <a:cubicBezTo>
                      <a:pt x="53668" y="86400"/>
                      <a:pt x="143154" y="61714"/>
                      <a:pt x="143154" y="61714"/>
                    </a:cubicBezTo>
                    <a:cubicBezTo>
                      <a:pt x="146240" y="61714"/>
                      <a:pt x="149325" y="61714"/>
                      <a:pt x="149325" y="64800"/>
                    </a:cubicBezTo>
                    <a:cubicBezTo>
                      <a:pt x="149325" y="67886"/>
                      <a:pt x="149325" y="70972"/>
                      <a:pt x="146240" y="70972"/>
                    </a:cubicBezTo>
                    <a:cubicBezTo>
                      <a:pt x="143154" y="70972"/>
                      <a:pt x="53668" y="95657"/>
                      <a:pt x="35154" y="98743"/>
                    </a:cubicBezTo>
                    <a:cubicBezTo>
                      <a:pt x="38240" y="104914"/>
                      <a:pt x="38240" y="104914"/>
                      <a:pt x="35154" y="10491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2012161E-55B2-45FA-A7F6-3FFB0690CE09}"/>
                  </a:ext>
                </a:extLst>
              </p:cNvPr>
              <p:cNvSpPr/>
              <p:nvPr/>
            </p:nvSpPr>
            <p:spPr>
              <a:xfrm>
                <a:off x="11169026" y="3946810"/>
                <a:ext cx="157371" cy="49371"/>
              </a:xfrm>
              <a:custGeom>
                <a:avLst/>
                <a:gdLst>
                  <a:gd name="connsiteX0" fmla="*/ 24686 w 157371"/>
                  <a:gd name="connsiteY0" fmla="*/ 49371 h 49371"/>
                  <a:gd name="connsiteX1" fmla="*/ 15429 w 157371"/>
                  <a:gd name="connsiteY1" fmla="*/ 49371 h 49371"/>
                  <a:gd name="connsiteX2" fmla="*/ 0 w 157371"/>
                  <a:gd name="connsiteY2" fmla="*/ 18514 h 49371"/>
                  <a:gd name="connsiteX3" fmla="*/ 6172 w 157371"/>
                  <a:gd name="connsiteY3" fmla="*/ 12343 h 49371"/>
                  <a:gd name="connsiteX4" fmla="*/ 12343 w 157371"/>
                  <a:gd name="connsiteY4" fmla="*/ 18514 h 49371"/>
                  <a:gd name="connsiteX5" fmla="*/ 18514 w 157371"/>
                  <a:gd name="connsiteY5" fmla="*/ 37028 h 49371"/>
                  <a:gd name="connsiteX6" fmla="*/ 86401 w 157371"/>
                  <a:gd name="connsiteY6" fmla="*/ 24686 h 49371"/>
                  <a:gd name="connsiteX7" fmla="*/ 154286 w 157371"/>
                  <a:gd name="connsiteY7" fmla="*/ 0 h 49371"/>
                  <a:gd name="connsiteX8" fmla="*/ 157372 w 157371"/>
                  <a:gd name="connsiteY8" fmla="*/ 12343 h 49371"/>
                  <a:gd name="connsiteX9" fmla="*/ 89486 w 157371"/>
                  <a:gd name="connsiteY9" fmla="*/ 37028 h 49371"/>
                  <a:gd name="connsiteX10" fmla="*/ 24686 w 157371"/>
                  <a:gd name="connsiteY10" fmla="*/ 49371 h 49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7371" h="49371">
                    <a:moveTo>
                      <a:pt x="24686" y="49371"/>
                    </a:moveTo>
                    <a:cubicBezTo>
                      <a:pt x="21600" y="49371"/>
                      <a:pt x="18514" y="49371"/>
                      <a:pt x="15429" y="49371"/>
                    </a:cubicBezTo>
                    <a:cubicBezTo>
                      <a:pt x="0" y="46286"/>
                      <a:pt x="0" y="27771"/>
                      <a:pt x="0" y="18514"/>
                    </a:cubicBezTo>
                    <a:cubicBezTo>
                      <a:pt x="0" y="15429"/>
                      <a:pt x="3086" y="12343"/>
                      <a:pt x="6172" y="12343"/>
                    </a:cubicBezTo>
                    <a:cubicBezTo>
                      <a:pt x="9258" y="12343"/>
                      <a:pt x="12343" y="15429"/>
                      <a:pt x="12343" y="18514"/>
                    </a:cubicBezTo>
                    <a:cubicBezTo>
                      <a:pt x="12343" y="18514"/>
                      <a:pt x="9258" y="33943"/>
                      <a:pt x="18514" y="37028"/>
                    </a:cubicBezTo>
                    <a:cubicBezTo>
                      <a:pt x="27771" y="40114"/>
                      <a:pt x="74057" y="27771"/>
                      <a:pt x="86401" y="24686"/>
                    </a:cubicBezTo>
                    <a:cubicBezTo>
                      <a:pt x="98743" y="21600"/>
                      <a:pt x="154286" y="0"/>
                      <a:pt x="154286" y="0"/>
                    </a:cubicBezTo>
                    <a:lnTo>
                      <a:pt x="157372" y="12343"/>
                    </a:lnTo>
                    <a:cubicBezTo>
                      <a:pt x="157372" y="12343"/>
                      <a:pt x="98743" y="33943"/>
                      <a:pt x="89486" y="37028"/>
                    </a:cubicBezTo>
                    <a:cubicBezTo>
                      <a:pt x="86401" y="37028"/>
                      <a:pt x="46286" y="49371"/>
                      <a:pt x="24686" y="4937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ED0884D9-5326-4EC7-8BC9-26DF6B2AC8B8}"/>
                </a:ext>
              </a:extLst>
            </p:cNvPr>
            <p:cNvSpPr/>
            <p:nvPr/>
          </p:nvSpPr>
          <p:spPr>
            <a:xfrm>
              <a:off x="11462877" y="3004688"/>
              <a:ext cx="1068322" cy="963545"/>
            </a:xfrm>
            <a:custGeom>
              <a:avLst/>
              <a:gdLst>
                <a:gd name="connsiteX0" fmla="*/ 699749 w 1068322"/>
                <a:gd name="connsiteY0" fmla="*/ 275608 h 963545"/>
                <a:gd name="connsiteX1" fmla="*/ 496091 w 1068322"/>
                <a:gd name="connsiteY1" fmla="*/ 615036 h 963545"/>
                <a:gd name="connsiteX2" fmla="*/ 2377 w 1068322"/>
                <a:gd name="connsiteY2" fmla="*/ 753893 h 963545"/>
                <a:gd name="connsiteX3" fmla="*/ 45577 w 1068322"/>
                <a:gd name="connsiteY3" fmla="*/ 960636 h 963545"/>
                <a:gd name="connsiteX4" fmla="*/ 671977 w 1068322"/>
                <a:gd name="connsiteY4" fmla="*/ 840293 h 963545"/>
                <a:gd name="connsiteX5" fmla="*/ 1029919 w 1068322"/>
                <a:gd name="connsiteY5" fmla="*/ 278693 h 963545"/>
                <a:gd name="connsiteX6" fmla="*/ 1029919 w 1068322"/>
                <a:gd name="connsiteY6" fmla="*/ 7151 h 963545"/>
                <a:gd name="connsiteX7" fmla="*/ 699749 w 1068322"/>
                <a:gd name="connsiteY7" fmla="*/ 275608 h 963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8322" h="963545">
                  <a:moveTo>
                    <a:pt x="699749" y="275608"/>
                  </a:moveTo>
                  <a:cubicBezTo>
                    <a:pt x="656549" y="355836"/>
                    <a:pt x="560891" y="550236"/>
                    <a:pt x="496091" y="615036"/>
                  </a:cubicBezTo>
                  <a:cubicBezTo>
                    <a:pt x="403520" y="710693"/>
                    <a:pt x="2377" y="747722"/>
                    <a:pt x="2377" y="753893"/>
                  </a:cubicBezTo>
                  <a:cubicBezTo>
                    <a:pt x="-3795" y="824865"/>
                    <a:pt x="-709" y="905093"/>
                    <a:pt x="45577" y="960636"/>
                  </a:cubicBezTo>
                  <a:cubicBezTo>
                    <a:pt x="51749" y="969893"/>
                    <a:pt x="486835" y="963722"/>
                    <a:pt x="671977" y="840293"/>
                  </a:cubicBezTo>
                  <a:cubicBezTo>
                    <a:pt x="730606" y="803265"/>
                    <a:pt x="955863" y="408293"/>
                    <a:pt x="1029919" y="278693"/>
                  </a:cubicBezTo>
                  <a:cubicBezTo>
                    <a:pt x="1073120" y="201551"/>
                    <a:pt x="1088549" y="38008"/>
                    <a:pt x="1029919" y="7151"/>
                  </a:cubicBezTo>
                  <a:cubicBezTo>
                    <a:pt x="931177" y="-36049"/>
                    <a:pt x="783062" y="124408"/>
                    <a:pt x="699749" y="275608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2CB6E823-BA7A-4B5A-A3BD-75AAEE76407A}"/>
                </a:ext>
              </a:extLst>
            </p:cNvPr>
            <p:cNvSpPr/>
            <p:nvPr/>
          </p:nvSpPr>
          <p:spPr>
            <a:xfrm>
              <a:off x="12220047" y="3946810"/>
              <a:ext cx="1392864" cy="2533371"/>
            </a:xfrm>
            <a:custGeom>
              <a:avLst/>
              <a:gdLst>
                <a:gd name="connsiteX0" fmla="*/ 797321 w 1392864"/>
                <a:gd name="connsiteY0" fmla="*/ 0 h 2533371"/>
                <a:gd name="connsiteX1" fmla="*/ 121550 w 1392864"/>
                <a:gd name="connsiteY1" fmla="*/ 0 h 2533371"/>
                <a:gd name="connsiteX2" fmla="*/ 1207 w 1392864"/>
                <a:gd name="connsiteY2" fmla="*/ 465943 h 2533371"/>
                <a:gd name="connsiteX3" fmla="*/ 183264 w 1392864"/>
                <a:gd name="connsiteY3" fmla="*/ 2514857 h 2533371"/>
                <a:gd name="connsiteX4" fmla="*/ 383836 w 1392864"/>
                <a:gd name="connsiteY4" fmla="*/ 2533371 h 2533371"/>
                <a:gd name="connsiteX5" fmla="*/ 467150 w 1392864"/>
                <a:gd name="connsiteY5" fmla="*/ 820800 h 2533371"/>
                <a:gd name="connsiteX6" fmla="*/ 550464 w 1392864"/>
                <a:gd name="connsiteY6" fmla="*/ 1718743 h 2533371"/>
                <a:gd name="connsiteX7" fmla="*/ 606007 w 1392864"/>
                <a:gd name="connsiteY7" fmla="*/ 1814400 h 2533371"/>
                <a:gd name="connsiteX8" fmla="*/ 1287951 w 1392864"/>
                <a:gd name="connsiteY8" fmla="*/ 2305029 h 2533371"/>
                <a:gd name="connsiteX9" fmla="*/ 1392865 w 1392864"/>
                <a:gd name="connsiteY9" fmla="*/ 2113714 h 2533371"/>
                <a:gd name="connsiteX10" fmla="*/ 892978 w 1392864"/>
                <a:gd name="connsiteY10" fmla="*/ 1678628 h 2533371"/>
                <a:gd name="connsiteX11" fmla="*/ 930007 w 1392864"/>
                <a:gd name="connsiteY11" fmla="*/ 422743 h 2533371"/>
                <a:gd name="connsiteX12" fmla="*/ 797321 w 1392864"/>
                <a:gd name="connsiteY12" fmla="*/ 0 h 2533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92864" h="2533371">
                  <a:moveTo>
                    <a:pt x="797321" y="0"/>
                  </a:moveTo>
                  <a:lnTo>
                    <a:pt x="121550" y="0"/>
                  </a:lnTo>
                  <a:cubicBezTo>
                    <a:pt x="121550" y="0"/>
                    <a:pt x="22808" y="308571"/>
                    <a:pt x="1207" y="465943"/>
                  </a:cubicBezTo>
                  <a:cubicBezTo>
                    <a:pt x="-17307" y="620229"/>
                    <a:pt x="183264" y="2514857"/>
                    <a:pt x="183264" y="2514857"/>
                  </a:cubicBezTo>
                  <a:lnTo>
                    <a:pt x="383836" y="2533371"/>
                  </a:lnTo>
                  <a:lnTo>
                    <a:pt x="467150" y="820800"/>
                  </a:lnTo>
                  <a:cubicBezTo>
                    <a:pt x="467150" y="820800"/>
                    <a:pt x="528865" y="1505828"/>
                    <a:pt x="550464" y="1718743"/>
                  </a:cubicBezTo>
                  <a:cubicBezTo>
                    <a:pt x="553550" y="1755771"/>
                    <a:pt x="575150" y="1792800"/>
                    <a:pt x="606007" y="1814400"/>
                  </a:cubicBezTo>
                  <a:lnTo>
                    <a:pt x="1287951" y="2305029"/>
                  </a:lnTo>
                  <a:lnTo>
                    <a:pt x="1392865" y="2113714"/>
                  </a:lnTo>
                  <a:lnTo>
                    <a:pt x="892978" y="1678628"/>
                  </a:lnTo>
                  <a:cubicBezTo>
                    <a:pt x="892978" y="1678628"/>
                    <a:pt x="923836" y="487543"/>
                    <a:pt x="930007" y="422743"/>
                  </a:cubicBezTo>
                  <a:cubicBezTo>
                    <a:pt x="942350" y="299314"/>
                    <a:pt x="797321" y="0"/>
                    <a:pt x="797321" y="0"/>
                  </a:cubicBezTo>
                  <a:close/>
                </a:path>
              </a:pathLst>
            </a:custGeom>
            <a:solidFill>
              <a:srgbClr val="7F95BC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F27C375E-3D6F-43A0-BDE2-F9103F2C1F04}"/>
                </a:ext>
              </a:extLst>
            </p:cNvPr>
            <p:cNvSpPr/>
            <p:nvPr/>
          </p:nvSpPr>
          <p:spPr>
            <a:xfrm>
              <a:off x="12640912" y="4341782"/>
              <a:ext cx="875571" cy="1919314"/>
            </a:xfrm>
            <a:custGeom>
              <a:avLst/>
              <a:gdLst>
                <a:gd name="connsiteX0" fmla="*/ 870171 w 875571"/>
                <a:gd name="connsiteY0" fmla="*/ 1916229 h 1919314"/>
                <a:gd name="connsiteX1" fmla="*/ 867086 w 875571"/>
                <a:gd name="connsiteY1" fmla="*/ 1916229 h 1919314"/>
                <a:gd name="connsiteX2" fmla="*/ 185143 w 875571"/>
                <a:gd name="connsiteY2" fmla="*/ 1425600 h 1919314"/>
                <a:gd name="connsiteX3" fmla="*/ 126514 w 875571"/>
                <a:gd name="connsiteY3" fmla="*/ 1326857 h 1919314"/>
                <a:gd name="connsiteX4" fmla="*/ 43200 w 875571"/>
                <a:gd name="connsiteY4" fmla="*/ 428914 h 1919314"/>
                <a:gd name="connsiteX5" fmla="*/ 0 w 875571"/>
                <a:gd name="connsiteY5" fmla="*/ 6172 h 1919314"/>
                <a:gd name="connsiteX6" fmla="*/ 6171 w 875571"/>
                <a:gd name="connsiteY6" fmla="*/ 0 h 1919314"/>
                <a:gd name="connsiteX7" fmla="*/ 12343 w 875571"/>
                <a:gd name="connsiteY7" fmla="*/ 6172 h 1919314"/>
                <a:gd name="connsiteX8" fmla="*/ 55542 w 875571"/>
                <a:gd name="connsiteY8" fmla="*/ 428914 h 1919314"/>
                <a:gd name="connsiteX9" fmla="*/ 138857 w 875571"/>
                <a:gd name="connsiteY9" fmla="*/ 1326857 h 1919314"/>
                <a:gd name="connsiteX10" fmla="*/ 191314 w 875571"/>
                <a:gd name="connsiteY10" fmla="*/ 1419429 h 1919314"/>
                <a:gd name="connsiteX11" fmla="*/ 873257 w 875571"/>
                <a:gd name="connsiteY11" fmla="*/ 1910057 h 1919314"/>
                <a:gd name="connsiteX12" fmla="*/ 873257 w 875571"/>
                <a:gd name="connsiteY12" fmla="*/ 1919314 h 1919314"/>
                <a:gd name="connsiteX13" fmla="*/ 870171 w 875571"/>
                <a:gd name="connsiteY13" fmla="*/ 1916229 h 1919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5571" h="1919314">
                  <a:moveTo>
                    <a:pt x="870171" y="1916229"/>
                  </a:moveTo>
                  <a:cubicBezTo>
                    <a:pt x="870171" y="1916229"/>
                    <a:pt x="867086" y="1916229"/>
                    <a:pt x="867086" y="1916229"/>
                  </a:cubicBezTo>
                  <a:lnTo>
                    <a:pt x="185143" y="1425600"/>
                  </a:lnTo>
                  <a:cubicBezTo>
                    <a:pt x="151200" y="1400914"/>
                    <a:pt x="132685" y="1366972"/>
                    <a:pt x="126514" y="1326857"/>
                  </a:cubicBezTo>
                  <a:cubicBezTo>
                    <a:pt x="104914" y="1117029"/>
                    <a:pt x="43200" y="438172"/>
                    <a:pt x="43200" y="428914"/>
                  </a:cubicBezTo>
                  <a:lnTo>
                    <a:pt x="0" y="6172"/>
                  </a:lnTo>
                  <a:cubicBezTo>
                    <a:pt x="0" y="3086"/>
                    <a:pt x="3086" y="0"/>
                    <a:pt x="6171" y="0"/>
                  </a:cubicBezTo>
                  <a:cubicBezTo>
                    <a:pt x="9257" y="0"/>
                    <a:pt x="12343" y="3086"/>
                    <a:pt x="12343" y="6172"/>
                  </a:cubicBezTo>
                  <a:lnTo>
                    <a:pt x="55542" y="428914"/>
                  </a:lnTo>
                  <a:cubicBezTo>
                    <a:pt x="55542" y="435086"/>
                    <a:pt x="117257" y="1117029"/>
                    <a:pt x="138857" y="1326857"/>
                  </a:cubicBezTo>
                  <a:cubicBezTo>
                    <a:pt x="141943" y="1363886"/>
                    <a:pt x="163542" y="1397828"/>
                    <a:pt x="191314" y="1419429"/>
                  </a:cubicBezTo>
                  <a:lnTo>
                    <a:pt x="873257" y="1910057"/>
                  </a:lnTo>
                  <a:cubicBezTo>
                    <a:pt x="876343" y="1913143"/>
                    <a:pt x="876343" y="1916229"/>
                    <a:pt x="873257" y="1919314"/>
                  </a:cubicBezTo>
                  <a:cubicBezTo>
                    <a:pt x="873257" y="1916229"/>
                    <a:pt x="873257" y="1916229"/>
                    <a:pt x="870171" y="1916229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583576DA-D0E6-4A3C-B431-47F8A5A95656}"/>
                </a:ext>
              </a:extLst>
            </p:cNvPr>
            <p:cNvSpPr/>
            <p:nvPr/>
          </p:nvSpPr>
          <p:spPr>
            <a:xfrm>
              <a:off x="12967998" y="4104182"/>
              <a:ext cx="183335" cy="191314"/>
            </a:xfrm>
            <a:custGeom>
              <a:avLst/>
              <a:gdLst>
                <a:gd name="connsiteX0" fmla="*/ 178971 w 183335"/>
                <a:gd name="connsiteY0" fmla="*/ 191314 h 191314"/>
                <a:gd name="connsiteX1" fmla="*/ 178971 w 183335"/>
                <a:gd name="connsiteY1" fmla="*/ 191314 h 191314"/>
                <a:gd name="connsiteX2" fmla="*/ 0 w 183335"/>
                <a:gd name="connsiteY2" fmla="*/ 6171 h 191314"/>
                <a:gd name="connsiteX3" fmla="*/ 3085 w 183335"/>
                <a:gd name="connsiteY3" fmla="*/ 0 h 191314"/>
                <a:gd name="connsiteX4" fmla="*/ 9257 w 183335"/>
                <a:gd name="connsiteY4" fmla="*/ 3086 h 191314"/>
                <a:gd name="connsiteX5" fmla="*/ 178971 w 183335"/>
                <a:gd name="connsiteY5" fmla="*/ 182057 h 191314"/>
                <a:gd name="connsiteX6" fmla="*/ 182057 w 183335"/>
                <a:gd name="connsiteY6" fmla="*/ 188229 h 191314"/>
                <a:gd name="connsiteX7" fmla="*/ 178971 w 183335"/>
                <a:gd name="connsiteY7" fmla="*/ 191314 h 191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335" h="191314">
                  <a:moveTo>
                    <a:pt x="178971" y="191314"/>
                  </a:moveTo>
                  <a:cubicBezTo>
                    <a:pt x="175885" y="191314"/>
                    <a:pt x="175885" y="191314"/>
                    <a:pt x="178971" y="191314"/>
                  </a:cubicBezTo>
                  <a:cubicBezTo>
                    <a:pt x="58628" y="157371"/>
                    <a:pt x="3085" y="12343"/>
                    <a:pt x="0" y="6171"/>
                  </a:cubicBezTo>
                  <a:cubicBezTo>
                    <a:pt x="0" y="3086"/>
                    <a:pt x="0" y="0"/>
                    <a:pt x="3085" y="0"/>
                  </a:cubicBezTo>
                  <a:cubicBezTo>
                    <a:pt x="6171" y="0"/>
                    <a:pt x="9257" y="0"/>
                    <a:pt x="9257" y="3086"/>
                  </a:cubicBezTo>
                  <a:cubicBezTo>
                    <a:pt x="9257" y="3086"/>
                    <a:pt x="64799" y="151200"/>
                    <a:pt x="178971" y="182057"/>
                  </a:cubicBezTo>
                  <a:cubicBezTo>
                    <a:pt x="182057" y="182057"/>
                    <a:pt x="185143" y="185143"/>
                    <a:pt x="182057" y="188229"/>
                  </a:cubicBezTo>
                  <a:cubicBezTo>
                    <a:pt x="182057" y="191314"/>
                    <a:pt x="178971" y="191314"/>
                    <a:pt x="178971" y="191314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45BB34DB-025B-4A57-B636-61D90773F5B1}"/>
                </a:ext>
              </a:extLst>
            </p:cNvPr>
            <p:cNvSpPr/>
            <p:nvPr/>
          </p:nvSpPr>
          <p:spPr>
            <a:xfrm>
              <a:off x="12239769" y="4104182"/>
              <a:ext cx="175885" cy="194399"/>
            </a:xfrm>
            <a:custGeom>
              <a:avLst/>
              <a:gdLst>
                <a:gd name="connsiteX0" fmla="*/ 6171 w 175885"/>
                <a:gd name="connsiteY0" fmla="*/ 194400 h 194399"/>
                <a:gd name="connsiteX1" fmla="*/ 0 w 175885"/>
                <a:gd name="connsiteY1" fmla="*/ 191314 h 194399"/>
                <a:gd name="connsiteX2" fmla="*/ 3086 w 175885"/>
                <a:gd name="connsiteY2" fmla="*/ 185143 h 194399"/>
                <a:gd name="connsiteX3" fmla="*/ 163542 w 175885"/>
                <a:gd name="connsiteY3" fmla="*/ 3086 h 194399"/>
                <a:gd name="connsiteX4" fmla="*/ 172800 w 175885"/>
                <a:gd name="connsiteY4" fmla="*/ 0 h 194399"/>
                <a:gd name="connsiteX5" fmla="*/ 175885 w 175885"/>
                <a:gd name="connsiteY5" fmla="*/ 9257 h 194399"/>
                <a:gd name="connsiteX6" fmla="*/ 6171 w 175885"/>
                <a:gd name="connsiteY6" fmla="*/ 194400 h 194399"/>
                <a:gd name="connsiteX7" fmla="*/ 6171 w 175885"/>
                <a:gd name="connsiteY7" fmla="*/ 194400 h 19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885" h="194399">
                  <a:moveTo>
                    <a:pt x="6171" y="194400"/>
                  </a:moveTo>
                  <a:cubicBezTo>
                    <a:pt x="3086" y="194400"/>
                    <a:pt x="3086" y="194400"/>
                    <a:pt x="0" y="191314"/>
                  </a:cubicBezTo>
                  <a:cubicBezTo>
                    <a:pt x="0" y="188229"/>
                    <a:pt x="0" y="185143"/>
                    <a:pt x="3086" y="185143"/>
                  </a:cubicBezTo>
                  <a:cubicBezTo>
                    <a:pt x="83314" y="154286"/>
                    <a:pt x="163542" y="3086"/>
                    <a:pt x="163542" y="3086"/>
                  </a:cubicBezTo>
                  <a:cubicBezTo>
                    <a:pt x="163542" y="0"/>
                    <a:pt x="169714" y="0"/>
                    <a:pt x="172800" y="0"/>
                  </a:cubicBezTo>
                  <a:cubicBezTo>
                    <a:pt x="175885" y="0"/>
                    <a:pt x="175885" y="6171"/>
                    <a:pt x="175885" y="9257"/>
                  </a:cubicBezTo>
                  <a:cubicBezTo>
                    <a:pt x="169714" y="12343"/>
                    <a:pt x="89486" y="160457"/>
                    <a:pt x="6171" y="194400"/>
                  </a:cubicBezTo>
                  <a:cubicBezTo>
                    <a:pt x="6171" y="194400"/>
                    <a:pt x="6171" y="194400"/>
                    <a:pt x="6171" y="194400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3BDB8886-4193-4083-B275-B125461AFE77}"/>
                </a:ext>
              </a:extLst>
            </p:cNvPr>
            <p:cNvSpPr/>
            <p:nvPr/>
          </p:nvSpPr>
          <p:spPr>
            <a:xfrm>
              <a:off x="12237804" y="2979549"/>
              <a:ext cx="830520" cy="998210"/>
            </a:xfrm>
            <a:custGeom>
              <a:avLst/>
              <a:gdLst>
                <a:gd name="connsiteX0" fmla="*/ 785736 w 830520"/>
                <a:gd name="connsiteY0" fmla="*/ 396404 h 998210"/>
                <a:gd name="connsiteX1" fmla="*/ 770308 w 830520"/>
                <a:gd name="connsiteY1" fmla="*/ 69319 h 998210"/>
                <a:gd name="connsiteX2" fmla="*/ 396936 w 830520"/>
                <a:gd name="connsiteY2" fmla="*/ 4519 h 998210"/>
                <a:gd name="connsiteX3" fmla="*/ 91451 w 830520"/>
                <a:gd name="connsiteY3" fmla="*/ 106347 h 998210"/>
                <a:gd name="connsiteX4" fmla="*/ 51337 w 830520"/>
                <a:gd name="connsiteY4" fmla="*/ 661776 h 998210"/>
                <a:gd name="connsiteX5" fmla="*/ 94537 w 830520"/>
                <a:gd name="connsiteY5" fmla="*/ 991947 h 998210"/>
                <a:gd name="connsiteX6" fmla="*/ 779565 w 830520"/>
                <a:gd name="connsiteY6" fmla="*/ 976519 h 998210"/>
                <a:gd name="connsiteX7" fmla="*/ 785736 w 830520"/>
                <a:gd name="connsiteY7" fmla="*/ 396404 h 998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0520" h="998210">
                  <a:moveTo>
                    <a:pt x="785736" y="396404"/>
                  </a:moveTo>
                  <a:cubicBezTo>
                    <a:pt x="794993" y="365547"/>
                    <a:pt x="890651" y="134119"/>
                    <a:pt x="770308" y="69319"/>
                  </a:cubicBezTo>
                  <a:cubicBezTo>
                    <a:pt x="665394" y="13776"/>
                    <a:pt x="517279" y="-10910"/>
                    <a:pt x="396936" y="4519"/>
                  </a:cubicBezTo>
                  <a:cubicBezTo>
                    <a:pt x="264251" y="19947"/>
                    <a:pt x="131565" y="41547"/>
                    <a:pt x="91451" y="106347"/>
                  </a:cubicBezTo>
                  <a:cubicBezTo>
                    <a:pt x="-22721" y="294576"/>
                    <a:pt x="-22721" y="461204"/>
                    <a:pt x="51337" y="661776"/>
                  </a:cubicBezTo>
                  <a:cubicBezTo>
                    <a:pt x="72936" y="720404"/>
                    <a:pt x="79108" y="856176"/>
                    <a:pt x="94537" y="991947"/>
                  </a:cubicBezTo>
                  <a:cubicBezTo>
                    <a:pt x="94537" y="991947"/>
                    <a:pt x="381508" y="1013547"/>
                    <a:pt x="779565" y="976519"/>
                  </a:cubicBezTo>
                  <a:cubicBezTo>
                    <a:pt x="751793" y="754347"/>
                    <a:pt x="779565" y="418004"/>
                    <a:pt x="785736" y="396404"/>
                  </a:cubicBezTo>
                  <a:close/>
                </a:path>
              </a:pathLst>
            </a:custGeom>
            <a:solidFill>
              <a:srgbClr val="F6EBE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6755F348-E0A5-4B0A-8BDE-2FA9DA113556}"/>
                </a:ext>
              </a:extLst>
            </p:cNvPr>
            <p:cNvSpPr/>
            <p:nvPr/>
          </p:nvSpPr>
          <p:spPr>
            <a:xfrm>
              <a:off x="12523654" y="2798924"/>
              <a:ext cx="311657" cy="330171"/>
            </a:xfrm>
            <a:custGeom>
              <a:avLst/>
              <a:gdLst>
                <a:gd name="connsiteX0" fmla="*/ 55543 w 311657"/>
                <a:gd name="connsiteY0" fmla="*/ 61714 h 330171"/>
                <a:gd name="connsiteX1" fmla="*/ 0 w 311657"/>
                <a:gd name="connsiteY1" fmla="*/ 203657 h 330171"/>
                <a:gd name="connsiteX2" fmla="*/ 40115 w 311657"/>
                <a:gd name="connsiteY2" fmla="*/ 330171 h 330171"/>
                <a:gd name="connsiteX3" fmla="*/ 311657 w 311657"/>
                <a:gd name="connsiteY3" fmla="*/ 188229 h 330171"/>
                <a:gd name="connsiteX4" fmla="*/ 259201 w 311657"/>
                <a:gd name="connsiteY4" fmla="*/ 0 h 330171"/>
                <a:gd name="connsiteX5" fmla="*/ 55543 w 311657"/>
                <a:gd name="connsiteY5" fmla="*/ 61714 h 330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1657" h="330171">
                  <a:moveTo>
                    <a:pt x="55543" y="61714"/>
                  </a:moveTo>
                  <a:cubicBezTo>
                    <a:pt x="55543" y="61714"/>
                    <a:pt x="61714" y="172800"/>
                    <a:pt x="0" y="203657"/>
                  </a:cubicBezTo>
                  <a:lnTo>
                    <a:pt x="40115" y="330171"/>
                  </a:lnTo>
                  <a:cubicBezTo>
                    <a:pt x="40115" y="330171"/>
                    <a:pt x="259201" y="219086"/>
                    <a:pt x="311657" y="188229"/>
                  </a:cubicBezTo>
                  <a:cubicBezTo>
                    <a:pt x="256115" y="145029"/>
                    <a:pt x="259201" y="61714"/>
                    <a:pt x="259201" y="0"/>
                  </a:cubicBezTo>
                  <a:cubicBezTo>
                    <a:pt x="262286" y="0"/>
                    <a:pt x="111086" y="67886"/>
                    <a:pt x="55543" y="61714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FA75C076-008D-47E5-A934-EC1E60D21416}"/>
                </a:ext>
              </a:extLst>
            </p:cNvPr>
            <p:cNvSpPr/>
            <p:nvPr/>
          </p:nvSpPr>
          <p:spPr>
            <a:xfrm>
              <a:off x="12238932" y="3082810"/>
              <a:ext cx="102665" cy="561600"/>
            </a:xfrm>
            <a:custGeom>
              <a:avLst/>
              <a:gdLst>
                <a:gd name="connsiteX0" fmla="*/ 56380 w 102665"/>
                <a:gd name="connsiteY0" fmla="*/ 561600 h 561600"/>
                <a:gd name="connsiteX1" fmla="*/ 50209 w 102665"/>
                <a:gd name="connsiteY1" fmla="*/ 558514 h 561600"/>
                <a:gd name="connsiteX2" fmla="*/ 34780 w 102665"/>
                <a:gd name="connsiteY2" fmla="*/ 502971 h 561600"/>
                <a:gd name="connsiteX3" fmla="*/ 837 w 102665"/>
                <a:gd name="connsiteY3" fmla="*/ 351771 h 561600"/>
                <a:gd name="connsiteX4" fmla="*/ 90323 w 102665"/>
                <a:gd name="connsiteY4" fmla="*/ 3086 h 561600"/>
                <a:gd name="connsiteX5" fmla="*/ 99579 w 102665"/>
                <a:gd name="connsiteY5" fmla="*/ 0 h 561600"/>
                <a:gd name="connsiteX6" fmla="*/ 102665 w 102665"/>
                <a:gd name="connsiteY6" fmla="*/ 9257 h 561600"/>
                <a:gd name="connsiteX7" fmla="*/ 13180 w 102665"/>
                <a:gd name="connsiteY7" fmla="*/ 351771 h 561600"/>
                <a:gd name="connsiteX8" fmla="*/ 47123 w 102665"/>
                <a:gd name="connsiteY8" fmla="*/ 502971 h 561600"/>
                <a:gd name="connsiteX9" fmla="*/ 62551 w 102665"/>
                <a:gd name="connsiteY9" fmla="*/ 558514 h 561600"/>
                <a:gd name="connsiteX10" fmla="*/ 56380 w 102665"/>
                <a:gd name="connsiteY10" fmla="*/ 561600 h 561600"/>
                <a:gd name="connsiteX11" fmla="*/ 56380 w 102665"/>
                <a:gd name="connsiteY11" fmla="*/ 561600 h 56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665" h="561600">
                  <a:moveTo>
                    <a:pt x="56380" y="561600"/>
                  </a:moveTo>
                  <a:cubicBezTo>
                    <a:pt x="53294" y="561600"/>
                    <a:pt x="50209" y="558514"/>
                    <a:pt x="50209" y="558514"/>
                  </a:cubicBezTo>
                  <a:cubicBezTo>
                    <a:pt x="44037" y="540000"/>
                    <a:pt x="40951" y="521486"/>
                    <a:pt x="34780" y="502971"/>
                  </a:cubicBezTo>
                  <a:cubicBezTo>
                    <a:pt x="19352" y="450514"/>
                    <a:pt x="3923" y="398057"/>
                    <a:pt x="837" y="351771"/>
                  </a:cubicBezTo>
                  <a:cubicBezTo>
                    <a:pt x="-5335" y="225257"/>
                    <a:pt x="22437" y="108000"/>
                    <a:pt x="90323" y="3086"/>
                  </a:cubicBezTo>
                  <a:cubicBezTo>
                    <a:pt x="93409" y="0"/>
                    <a:pt x="96494" y="0"/>
                    <a:pt x="99579" y="0"/>
                  </a:cubicBezTo>
                  <a:cubicBezTo>
                    <a:pt x="102665" y="3086"/>
                    <a:pt x="102665" y="6171"/>
                    <a:pt x="102665" y="9257"/>
                  </a:cubicBezTo>
                  <a:cubicBezTo>
                    <a:pt x="37865" y="114171"/>
                    <a:pt x="7008" y="228343"/>
                    <a:pt x="13180" y="351771"/>
                  </a:cubicBezTo>
                  <a:cubicBezTo>
                    <a:pt x="16266" y="398057"/>
                    <a:pt x="31694" y="450514"/>
                    <a:pt x="47123" y="502971"/>
                  </a:cubicBezTo>
                  <a:cubicBezTo>
                    <a:pt x="53294" y="521486"/>
                    <a:pt x="59465" y="540000"/>
                    <a:pt x="62551" y="558514"/>
                  </a:cubicBezTo>
                  <a:cubicBezTo>
                    <a:pt x="62551" y="558514"/>
                    <a:pt x="59465" y="561600"/>
                    <a:pt x="56380" y="561600"/>
                  </a:cubicBezTo>
                  <a:cubicBezTo>
                    <a:pt x="56380" y="561600"/>
                    <a:pt x="56380" y="561600"/>
                    <a:pt x="56380" y="561600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1DBB8509-AD73-456A-91BE-D9A5B28B8202}"/>
                </a:ext>
              </a:extLst>
            </p:cNvPr>
            <p:cNvSpPr/>
            <p:nvPr/>
          </p:nvSpPr>
          <p:spPr>
            <a:xfrm>
              <a:off x="12360111" y="3527349"/>
              <a:ext cx="405506" cy="36832"/>
            </a:xfrm>
            <a:custGeom>
              <a:avLst/>
              <a:gdLst>
                <a:gd name="connsiteX0" fmla="*/ 6172 w 405506"/>
                <a:gd name="connsiteY0" fmla="*/ 36832 h 36832"/>
                <a:gd name="connsiteX1" fmla="*/ 0 w 405506"/>
                <a:gd name="connsiteY1" fmla="*/ 33746 h 36832"/>
                <a:gd name="connsiteX2" fmla="*/ 3086 w 405506"/>
                <a:gd name="connsiteY2" fmla="*/ 27575 h 36832"/>
                <a:gd name="connsiteX3" fmla="*/ 401143 w 405506"/>
                <a:gd name="connsiteY3" fmla="*/ 15232 h 36832"/>
                <a:gd name="connsiteX4" fmla="*/ 404229 w 405506"/>
                <a:gd name="connsiteY4" fmla="*/ 21404 h 36832"/>
                <a:gd name="connsiteX5" fmla="*/ 398057 w 405506"/>
                <a:gd name="connsiteY5" fmla="*/ 24489 h 36832"/>
                <a:gd name="connsiteX6" fmla="*/ 6172 w 405506"/>
                <a:gd name="connsiteY6" fmla="*/ 36832 h 36832"/>
                <a:gd name="connsiteX7" fmla="*/ 6172 w 405506"/>
                <a:gd name="connsiteY7" fmla="*/ 36832 h 3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5506" h="36832">
                  <a:moveTo>
                    <a:pt x="6172" y="36832"/>
                  </a:moveTo>
                  <a:cubicBezTo>
                    <a:pt x="3086" y="36832"/>
                    <a:pt x="3086" y="36832"/>
                    <a:pt x="0" y="33746"/>
                  </a:cubicBezTo>
                  <a:cubicBezTo>
                    <a:pt x="0" y="30661"/>
                    <a:pt x="0" y="27575"/>
                    <a:pt x="3086" y="27575"/>
                  </a:cubicBezTo>
                  <a:cubicBezTo>
                    <a:pt x="89486" y="-3282"/>
                    <a:pt x="299315" y="-9453"/>
                    <a:pt x="401143" y="15232"/>
                  </a:cubicBezTo>
                  <a:cubicBezTo>
                    <a:pt x="404229" y="15232"/>
                    <a:pt x="407315" y="18318"/>
                    <a:pt x="404229" y="21404"/>
                  </a:cubicBezTo>
                  <a:cubicBezTo>
                    <a:pt x="404229" y="24489"/>
                    <a:pt x="401143" y="27575"/>
                    <a:pt x="398057" y="24489"/>
                  </a:cubicBezTo>
                  <a:cubicBezTo>
                    <a:pt x="302400" y="-196"/>
                    <a:pt x="92571" y="5975"/>
                    <a:pt x="6172" y="36832"/>
                  </a:cubicBezTo>
                  <a:cubicBezTo>
                    <a:pt x="9257" y="36832"/>
                    <a:pt x="6172" y="36832"/>
                    <a:pt x="6172" y="36832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3C2A443A-0FC1-4092-94D2-DD6B821B191B}"/>
                </a:ext>
              </a:extLst>
            </p:cNvPr>
            <p:cNvSpPr/>
            <p:nvPr/>
          </p:nvSpPr>
          <p:spPr>
            <a:xfrm>
              <a:off x="12332340" y="3943724"/>
              <a:ext cx="317828" cy="30857"/>
            </a:xfrm>
            <a:custGeom>
              <a:avLst/>
              <a:gdLst>
                <a:gd name="connsiteX0" fmla="*/ 6171 w 317828"/>
                <a:gd name="connsiteY0" fmla="*/ 30857 h 30857"/>
                <a:gd name="connsiteX1" fmla="*/ 0 w 317828"/>
                <a:gd name="connsiteY1" fmla="*/ 24686 h 30857"/>
                <a:gd name="connsiteX2" fmla="*/ 6171 w 317828"/>
                <a:gd name="connsiteY2" fmla="*/ 18514 h 30857"/>
                <a:gd name="connsiteX3" fmla="*/ 311657 w 317828"/>
                <a:gd name="connsiteY3" fmla="*/ 0 h 30857"/>
                <a:gd name="connsiteX4" fmla="*/ 317828 w 317828"/>
                <a:gd name="connsiteY4" fmla="*/ 3086 h 30857"/>
                <a:gd name="connsiteX5" fmla="*/ 314742 w 317828"/>
                <a:gd name="connsiteY5" fmla="*/ 9257 h 30857"/>
                <a:gd name="connsiteX6" fmla="*/ 6171 w 317828"/>
                <a:gd name="connsiteY6" fmla="*/ 30857 h 30857"/>
                <a:gd name="connsiteX7" fmla="*/ 6171 w 317828"/>
                <a:gd name="connsiteY7" fmla="*/ 30857 h 3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7828" h="30857">
                  <a:moveTo>
                    <a:pt x="6171" y="30857"/>
                  </a:moveTo>
                  <a:cubicBezTo>
                    <a:pt x="3086" y="30857"/>
                    <a:pt x="0" y="27771"/>
                    <a:pt x="0" y="24686"/>
                  </a:cubicBezTo>
                  <a:cubicBezTo>
                    <a:pt x="0" y="21600"/>
                    <a:pt x="3086" y="18514"/>
                    <a:pt x="6171" y="18514"/>
                  </a:cubicBezTo>
                  <a:cubicBezTo>
                    <a:pt x="9257" y="18514"/>
                    <a:pt x="219086" y="15429"/>
                    <a:pt x="311657" y="0"/>
                  </a:cubicBezTo>
                  <a:cubicBezTo>
                    <a:pt x="314742" y="0"/>
                    <a:pt x="317828" y="0"/>
                    <a:pt x="317828" y="3086"/>
                  </a:cubicBezTo>
                  <a:cubicBezTo>
                    <a:pt x="317828" y="6172"/>
                    <a:pt x="317828" y="9257"/>
                    <a:pt x="314742" y="9257"/>
                  </a:cubicBezTo>
                  <a:cubicBezTo>
                    <a:pt x="219086" y="27771"/>
                    <a:pt x="9257" y="27771"/>
                    <a:pt x="6171" y="30857"/>
                  </a:cubicBezTo>
                  <a:cubicBezTo>
                    <a:pt x="6171" y="30857"/>
                    <a:pt x="6171" y="30857"/>
                    <a:pt x="6171" y="30857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90F38FA6-425E-43FA-8B40-333D3FDA695B}"/>
                </a:ext>
              </a:extLst>
            </p:cNvPr>
            <p:cNvSpPr/>
            <p:nvPr/>
          </p:nvSpPr>
          <p:spPr>
            <a:xfrm>
              <a:off x="12632699" y="2974810"/>
              <a:ext cx="671640" cy="1629257"/>
            </a:xfrm>
            <a:custGeom>
              <a:avLst/>
              <a:gdLst>
                <a:gd name="connsiteX0" fmla="*/ 23641 w 671640"/>
                <a:gd name="connsiteY0" fmla="*/ 311657 h 1629257"/>
                <a:gd name="connsiteX1" fmla="*/ 76097 w 671640"/>
                <a:gd name="connsiteY1" fmla="*/ 1049143 h 1629257"/>
                <a:gd name="connsiteX2" fmla="*/ 227298 w 671640"/>
                <a:gd name="connsiteY2" fmla="*/ 1629257 h 1629257"/>
                <a:gd name="connsiteX3" fmla="*/ 671641 w 671640"/>
                <a:gd name="connsiteY3" fmla="*/ 1400914 h 1629257"/>
                <a:gd name="connsiteX4" fmla="*/ 455641 w 671640"/>
                <a:gd name="connsiteY4" fmla="*/ 870171 h 1629257"/>
                <a:gd name="connsiteX5" fmla="*/ 455641 w 671640"/>
                <a:gd name="connsiteY5" fmla="*/ 394971 h 1629257"/>
                <a:gd name="connsiteX6" fmla="*/ 455641 w 671640"/>
                <a:gd name="connsiteY6" fmla="*/ 120343 h 1629257"/>
                <a:gd name="connsiteX7" fmla="*/ 190269 w 671640"/>
                <a:gd name="connsiteY7" fmla="*/ 0 h 1629257"/>
                <a:gd name="connsiteX8" fmla="*/ 23641 w 671640"/>
                <a:gd name="connsiteY8" fmla="*/ 311657 h 1629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71640" h="1629257">
                  <a:moveTo>
                    <a:pt x="23641" y="311657"/>
                  </a:moveTo>
                  <a:cubicBezTo>
                    <a:pt x="-38073" y="549257"/>
                    <a:pt x="35984" y="802286"/>
                    <a:pt x="76097" y="1049143"/>
                  </a:cubicBezTo>
                  <a:cubicBezTo>
                    <a:pt x="110040" y="1246629"/>
                    <a:pt x="156326" y="1441029"/>
                    <a:pt x="227298" y="1629257"/>
                  </a:cubicBezTo>
                  <a:cubicBezTo>
                    <a:pt x="424784" y="1601486"/>
                    <a:pt x="572898" y="1521257"/>
                    <a:pt x="671641" y="1400914"/>
                  </a:cubicBezTo>
                  <a:cubicBezTo>
                    <a:pt x="609927" y="1271314"/>
                    <a:pt x="483412" y="1012114"/>
                    <a:pt x="455641" y="870171"/>
                  </a:cubicBezTo>
                  <a:cubicBezTo>
                    <a:pt x="424784" y="712800"/>
                    <a:pt x="415526" y="552343"/>
                    <a:pt x="455641" y="394971"/>
                  </a:cubicBezTo>
                  <a:cubicBezTo>
                    <a:pt x="480326" y="302400"/>
                    <a:pt x="517355" y="206743"/>
                    <a:pt x="455641" y="120343"/>
                  </a:cubicBezTo>
                  <a:cubicBezTo>
                    <a:pt x="403183" y="49372"/>
                    <a:pt x="270498" y="12343"/>
                    <a:pt x="190269" y="0"/>
                  </a:cubicBezTo>
                  <a:cubicBezTo>
                    <a:pt x="184097" y="0"/>
                    <a:pt x="48326" y="206743"/>
                    <a:pt x="23641" y="311657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18487FC9-80E4-4E5B-8B9C-CAAF7C59D88E}"/>
                </a:ext>
              </a:extLst>
            </p:cNvPr>
            <p:cNvSpPr/>
            <p:nvPr/>
          </p:nvSpPr>
          <p:spPr>
            <a:xfrm>
              <a:off x="12156360" y="2984067"/>
              <a:ext cx="395065" cy="1568453"/>
            </a:xfrm>
            <a:custGeom>
              <a:avLst/>
              <a:gdLst>
                <a:gd name="connsiteX0" fmla="*/ 94 w 395065"/>
                <a:gd name="connsiteY0" fmla="*/ 1539772 h 1568453"/>
                <a:gd name="connsiteX1" fmla="*/ 77237 w 395065"/>
                <a:gd name="connsiteY1" fmla="*/ 1564457 h 1568453"/>
                <a:gd name="connsiteX2" fmla="*/ 77237 w 395065"/>
                <a:gd name="connsiteY2" fmla="*/ 1459543 h 1568453"/>
                <a:gd name="connsiteX3" fmla="*/ 179066 w 395065"/>
                <a:gd name="connsiteY3" fmla="*/ 1092343 h 1568453"/>
                <a:gd name="connsiteX4" fmla="*/ 197579 w 395065"/>
                <a:gd name="connsiteY4" fmla="*/ 743657 h 1568453"/>
                <a:gd name="connsiteX5" fmla="*/ 370380 w 395065"/>
                <a:gd name="connsiteY5" fmla="*/ 18514 h 1568453"/>
                <a:gd name="connsiteX6" fmla="*/ 395066 w 395065"/>
                <a:gd name="connsiteY6" fmla="*/ 0 h 1568453"/>
                <a:gd name="connsiteX7" fmla="*/ 58722 w 395065"/>
                <a:gd name="connsiteY7" fmla="*/ 496800 h 1568453"/>
                <a:gd name="connsiteX8" fmla="*/ 89579 w 395065"/>
                <a:gd name="connsiteY8" fmla="*/ 731314 h 1568453"/>
                <a:gd name="connsiteX9" fmla="*/ 86494 w 395065"/>
                <a:gd name="connsiteY9" fmla="*/ 965829 h 1568453"/>
                <a:gd name="connsiteX10" fmla="*/ 94 w 395065"/>
                <a:gd name="connsiteY10" fmla="*/ 1539772 h 1568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5065" h="1568453">
                  <a:moveTo>
                    <a:pt x="94" y="1539772"/>
                  </a:moveTo>
                  <a:cubicBezTo>
                    <a:pt x="-2992" y="1558286"/>
                    <a:pt x="71066" y="1576800"/>
                    <a:pt x="77237" y="1564457"/>
                  </a:cubicBezTo>
                  <a:cubicBezTo>
                    <a:pt x="80323" y="1561371"/>
                    <a:pt x="77237" y="1465714"/>
                    <a:pt x="77237" y="1459543"/>
                  </a:cubicBezTo>
                  <a:cubicBezTo>
                    <a:pt x="95751" y="1326857"/>
                    <a:pt x="132780" y="1215772"/>
                    <a:pt x="179066" y="1092343"/>
                  </a:cubicBezTo>
                  <a:cubicBezTo>
                    <a:pt x="219180" y="978172"/>
                    <a:pt x="209923" y="864000"/>
                    <a:pt x="197579" y="743657"/>
                  </a:cubicBezTo>
                  <a:cubicBezTo>
                    <a:pt x="169808" y="484457"/>
                    <a:pt x="209923" y="231429"/>
                    <a:pt x="370380" y="18514"/>
                  </a:cubicBezTo>
                  <a:cubicBezTo>
                    <a:pt x="373465" y="15429"/>
                    <a:pt x="382722" y="15429"/>
                    <a:pt x="395066" y="0"/>
                  </a:cubicBezTo>
                  <a:cubicBezTo>
                    <a:pt x="135865" y="6171"/>
                    <a:pt x="34037" y="283886"/>
                    <a:pt x="58722" y="496800"/>
                  </a:cubicBezTo>
                  <a:cubicBezTo>
                    <a:pt x="67980" y="577029"/>
                    <a:pt x="86494" y="651086"/>
                    <a:pt x="89579" y="731314"/>
                  </a:cubicBezTo>
                  <a:cubicBezTo>
                    <a:pt x="92665" y="808457"/>
                    <a:pt x="89579" y="888686"/>
                    <a:pt x="86494" y="965829"/>
                  </a:cubicBezTo>
                  <a:cubicBezTo>
                    <a:pt x="77237" y="1132457"/>
                    <a:pt x="18608" y="1376229"/>
                    <a:pt x="94" y="1539772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2B3E7790-E6CB-485B-889D-C87ACF0DEF34}"/>
                </a:ext>
              </a:extLst>
            </p:cNvPr>
            <p:cNvSpPr/>
            <p:nvPr/>
          </p:nvSpPr>
          <p:spPr>
            <a:xfrm>
              <a:off x="12198093" y="3166125"/>
              <a:ext cx="66361" cy="765257"/>
            </a:xfrm>
            <a:custGeom>
              <a:avLst/>
              <a:gdLst>
                <a:gd name="connsiteX0" fmla="*/ 41676 w 66361"/>
                <a:gd name="connsiteY0" fmla="*/ 765257 h 765257"/>
                <a:gd name="connsiteX1" fmla="*/ 41676 w 66361"/>
                <a:gd name="connsiteY1" fmla="*/ 765257 h 765257"/>
                <a:gd name="connsiteX2" fmla="*/ 35504 w 66361"/>
                <a:gd name="connsiteY2" fmla="*/ 759086 h 765257"/>
                <a:gd name="connsiteX3" fmla="*/ 10819 w 66361"/>
                <a:gd name="connsiteY3" fmla="*/ 336343 h 765257"/>
                <a:gd name="connsiteX4" fmla="*/ 1561 w 66361"/>
                <a:gd name="connsiteY4" fmla="*/ 268457 h 765257"/>
                <a:gd name="connsiteX5" fmla="*/ 57105 w 66361"/>
                <a:gd name="connsiteY5" fmla="*/ 3086 h 765257"/>
                <a:gd name="connsiteX6" fmla="*/ 63275 w 66361"/>
                <a:gd name="connsiteY6" fmla="*/ 0 h 765257"/>
                <a:gd name="connsiteX7" fmla="*/ 66361 w 66361"/>
                <a:gd name="connsiteY7" fmla="*/ 6171 h 765257"/>
                <a:gd name="connsiteX8" fmla="*/ 10819 w 66361"/>
                <a:gd name="connsiteY8" fmla="*/ 265371 h 765257"/>
                <a:gd name="connsiteX9" fmla="*/ 20076 w 66361"/>
                <a:gd name="connsiteY9" fmla="*/ 333257 h 765257"/>
                <a:gd name="connsiteX10" fmla="*/ 44762 w 66361"/>
                <a:gd name="connsiteY10" fmla="*/ 759086 h 765257"/>
                <a:gd name="connsiteX11" fmla="*/ 41676 w 66361"/>
                <a:gd name="connsiteY11" fmla="*/ 765257 h 765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361" h="765257">
                  <a:moveTo>
                    <a:pt x="41676" y="765257"/>
                  </a:moveTo>
                  <a:cubicBezTo>
                    <a:pt x="41676" y="765257"/>
                    <a:pt x="41676" y="765257"/>
                    <a:pt x="41676" y="765257"/>
                  </a:cubicBezTo>
                  <a:cubicBezTo>
                    <a:pt x="38590" y="765257"/>
                    <a:pt x="35504" y="762171"/>
                    <a:pt x="35504" y="759086"/>
                  </a:cubicBezTo>
                  <a:cubicBezTo>
                    <a:pt x="47847" y="638743"/>
                    <a:pt x="26247" y="456686"/>
                    <a:pt x="10819" y="336343"/>
                  </a:cubicBezTo>
                  <a:cubicBezTo>
                    <a:pt x="7733" y="311657"/>
                    <a:pt x="4647" y="290057"/>
                    <a:pt x="1561" y="268457"/>
                  </a:cubicBezTo>
                  <a:cubicBezTo>
                    <a:pt x="-10781" y="160457"/>
                    <a:pt x="54019" y="9257"/>
                    <a:pt x="57105" y="3086"/>
                  </a:cubicBezTo>
                  <a:cubicBezTo>
                    <a:pt x="57105" y="0"/>
                    <a:pt x="60191" y="0"/>
                    <a:pt x="63275" y="0"/>
                  </a:cubicBezTo>
                  <a:cubicBezTo>
                    <a:pt x="66361" y="0"/>
                    <a:pt x="66361" y="3086"/>
                    <a:pt x="66361" y="6171"/>
                  </a:cubicBezTo>
                  <a:cubicBezTo>
                    <a:pt x="66361" y="6171"/>
                    <a:pt x="-1524" y="160457"/>
                    <a:pt x="10819" y="265371"/>
                  </a:cubicBezTo>
                  <a:cubicBezTo>
                    <a:pt x="13905" y="283886"/>
                    <a:pt x="16990" y="305486"/>
                    <a:pt x="20076" y="333257"/>
                  </a:cubicBezTo>
                  <a:cubicBezTo>
                    <a:pt x="35504" y="453600"/>
                    <a:pt x="60191" y="635657"/>
                    <a:pt x="44762" y="759086"/>
                  </a:cubicBezTo>
                  <a:cubicBezTo>
                    <a:pt x="47847" y="762171"/>
                    <a:pt x="44762" y="765257"/>
                    <a:pt x="41676" y="765257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3" name="图形 1">
              <a:extLst>
                <a:ext uri="{FF2B5EF4-FFF2-40B4-BE49-F238E27FC236}">
                  <a16:creationId xmlns:a16="http://schemas.microsoft.com/office/drawing/2014/main" id="{FDAC69C0-3A1E-4466-BEB9-8F55668B35BE}"/>
                </a:ext>
              </a:extLst>
            </p:cNvPr>
            <p:cNvGrpSpPr/>
            <p:nvPr/>
          </p:nvGrpSpPr>
          <p:grpSpPr>
            <a:xfrm>
              <a:off x="9862455" y="4006053"/>
              <a:ext cx="1291141" cy="2745671"/>
              <a:chOff x="9862455" y="4006053"/>
              <a:chExt cx="1291141" cy="2745671"/>
            </a:xfrm>
          </p:grpSpPr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3EF090EF-FCB7-49DE-A260-20C991CA2B76}"/>
                  </a:ext>
                </a:extLst>
              </p:cNvPr>
              <p:cNvSpPr/>
              <p:nvPr/>
            </p:nvSpPr>
            <p:spPr>
              <a:xfrm>
                <a:off x="9953254" y="4940410"/>
                <a:ext cx="1129371" cy="1690971"/>
              </a:xfrm>
              <a:custGeom>
                <a:avLst/>
                <a:gdLst>
                  <a:gd name="connsiteX0" fmla="*/ 1129372 w 1129371"/>
                  <a:gd name="connsiteY0" fmla="*/ 0 h 1690971"/>
                  <a:gd name="connsiteX1" fmla="*/ 1076914 w 1129371"/>
                  <a:gd name="connsiteY1" fmla="*/ 1576800 h 1690971"/>
                  <a:gd name="connsiteX2" fmla="*/ 962743 w 1129371"/>
                  <a:gd name="connsiteY2" fmla="*/ 1687886 h 1690971"/>
                  <a:gd name="connsiteX3" fmla="*/ 178972 w 1129371"/>
                  <a:gd name="connsiteY3" fmla="*/ 1690972 h 1690971"/>
                  <a:gd name="connsiteX4" fmla="*/ 61714 w 1129371"/>
                  <a:gd name="connsiteY4" fmla="*/ 1579886 h 1690971"/>
                  <a:gd name="connsiteX5" fmla="*/ 55543 w 1129371"/>
                  <a:gd name="connsiteY5" fmla="*/ 1462628 h 1690971"/>
                  <a:gd name="connsiteX6" fmla="*/ 0 w 1129371"/>
                  <a:gd name="connsiteY6" fmla="*/ 18514 h 1690971"/>
                  <a:gd name="connsiteX7" fmla="*/ 0 w 1129371"/>
                  <a:gd name="connsiteY7" fmla="*/ 6171 h 1690971"/>
                  <a:gd name="connsiteX8" fmla="*/ 1129372 w 1129371"/>
                  <a:gd name="connsiteY8" fmla="*/ 0 h 1690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9371" h="1690971">
                    <a:moveTo>
                      <a:pt x="1129372" y="0"/>
                    </a:moveTo>
                    <a:lnTo>
                      <a:pt x="1076914" y="1576800"/>
                    </a:lnTo>
                    <a:cubicBezTo>
                      <a:pt x="1073828" y="1638515"/>
                      <a:pt x="1024458" y="1687886"/>
                      <a:pt x="962743" y="1687886"/>
                    </a:cubicBezTo>
                    <a:lnTo>
                      <a:pt x="178972" y="1690972"/>
                    </a:lnTo>
                    <a:cubicBezTo>
                      <a:pt x="117257" y="1690972"/>
                      <a:pt x="64800" y="1641600"/>
                      <a:pt x="61714" y="1579886"/>
                    </a:cubicBezTo>
                    <a:lnTo>
                      <a:pt x="55543" y="1462628"/>
                    </a:lnTo>
                    <a:lnTo>
                      <a:pt x="0" y="18514"/>
                    </a:lnTo>
                    <a:lnTo>
                      <a:pt x="0" y="6171"/>
                    </a:lnTo>
                    <a:lnTo>
                      <a:pt x="1129372" y="0"/>
                    </a:lnTo>
                    <a:close/>
                  </a:path>
                </a:pathLst>
              </a:custGeom>
              <a:solidFill>
                <a:srgbClr val="708686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5CFCDEB9-2F60-403F-B1BF-585D951D17F8}"/>
                  </a:ext>
                </a:extLst>
              </p:cNvPr>
              <p:cNvSpPr/>
              <p:nvPr/>
            </p:nvSpPr>
            <p:spPr>
              <a:xfrm>
                <a:off x="9862455" y="4006053"/>
                <a:ext cx="1053542" cy="977557"/>
              </a:xfrm>
              <a:custGeom>
                <a:avLst/>
                <a:gdLst>
                  <a:gd name="connsiteX0" fmla="*/ 1053543 w 1053542"/>
                  <a:gd name="connsiteY0" fmla="*/ 252415 h 977557"/>
                  <a:gd name="connsiteX1" fmla="*/ 183371 w 1053542"/>
                  <a:gd name="connsiteY1" fmla="*/ 977558 h 977557"/>
                  <a:gd name="connsiteX2" fmla="*/ 137085 w 1053542"/>
                  <a:gd name="connsiteY2" fmla="*/ 903501 h 977557"/>
                  <a:gd name="connsiteX3" fmla="*/ 50685 w 1053542"/>
                  <a:gd name="connsiteY3" fmla="*/ 770815 h 977557"/>
                  <a:gd name="connsiteX4" fmla="*/ 1314 w 1053542"/>
                  <a:gd name="connsiteY4" fmla="*/ 573329 h 977557"/>
                  <a:gd name="connsiteX5" fmla="*/ 112399 w 1053542"/>
                  <a:gd name="connsiteY5" fmla="*/ 366586 h 977557"/>
                  <a:gd name="connsiteX6" fmla="*/ 467257 w 1053542"/>
                  <a:gd name="connsiteY6" fmla="*/ 70358 h 977557"/>
                  <a:gd name="connsiteX7" fmla="*/ 874571 w 1053542"/>
                  <a:gd name="connsiteY7" fmla="*/ 82701 h 977557"/>
                  <a:gd name="connsiteX8" fmla="*/ 1053543 w 1053542"/>
                  <a:gd name="connsiteY8" fmla="*/ 252415 h 977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3542" h="977557">
                    <a:moveTo>
                      <a:pt x="1053543" y="252415"/>
                    </a:moveTo>
                    <a:lnTo>
                      <a:pt x="183371" y="977558"/>
                    </a:lnTo>
                    <a:lnTo>
                      <a:pt x="137085" y="903501"/>
                    </a:lnTo>
                    <a:lnTo>
                      <a:pt x="50685" y="770815"/>
                    </a:lnTo>
                    <a:cubicBezTo>
                      <a:pt x="10570" y="709100"/>
                      <a:pt x="-4858" y="641215"/>
                      <a:pt x="1314" y="573329"/>
                    </a:cubicBezTo>
                    <a:cubicBezTo>
                      <a:pt x="7485" y="496186"/>
                      <a:pt x="47599" y="419044"/>
                      <a:pt x="112399" y="366586"/>
                    </a:cubicBezTo>
                    <a:lnTo>
                      <a:pt x="467257" y="70358"/>
                    </a:lnTo>
                    <a:cubicBezTo>
                      <a:pt x="587599" y="-28385"/>
                      <a:pt x="763485" y="-22214"/>
                      <a:pt x="874571" y="82701"/>
                    </a:cubicBezTo>
                    <a:lnTo>
                      <a:pt x="1053543" y="252415"/>
                    </a:lnTo>
                    <a:close/>
                  </a:path>
                </a:pathLst>
              </a:custGeom>
              <a:solidFill>
                <a:srgbClr val="708686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E53B17D5-E285-4A8C-9602-05EFA99C6121}"/>
                  </a:ext>
                </a:extLst>
              </p:cNvPr>
              <p:cNvSpPr/>
              <p:nvPr/>
            </p:nvSpPr>
            <p:spPr>
              <a:xfrm>
                <a:off x="9879197" y="4847839"/>
                <a:ext cx="1274399" cy="188228"/>
              </a:xfrm>
              <a:custGeom>
                <a:avLst/>
                <a:gdLst>
                  <a:gd name="connsiteX0" fmla="*/ 1274400 w 1274399"/>
                  <a:gd name="connsiteY0" fmla="*/ 185143 h 188228"/>
                  <a:gd name="connsiteX1" fmla="*/ 0 w 1274399"/>
                  <a:gd name="connsiteY1" fmla="*/ 188229 h 188228"/>
                  <a:gd name="connsiteX2" fmla="*/ 0 w 1274399"/>
                  <a:gd name="connsiteY2" fmla="*/ 129600 h 188228"/>
                  <a:gd name="connsiteX3" fmla="*/ 126514 w 1274399"/>
                  <a:gd name="connsiteY3" fmla="*/ 3086 h 188228"/>
                  <a:gd name="connsiteX4" fmla="*/ 1147885 w 1274399"/>
                  <a:gd name="connsiteY4" fmla="*/ 0 h 188228"/>
                  <a:gd name="connsiteX5" fmla="*/ 1274400 w 1274399"/>
                  <a:gd name="connsiteY5" fmla="*/ 126514 h 188228"/>
                  <a:gd name="connsiteX6" fmla="*/ 1274400 w 1274399"/>
                  <a:gd name="connsiteY6" fmla="*/ 185143 h 188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74399" h="188228">
                    <a:moveTo>
                      <a:pt x="1274400" y="185143"/>
                    </a:moveTo>
                    <a:lnTo>
                      <a:pt x="0" y="188229"/>
                    </a:lnTo>
                    <a:lnTo>
                      <a:pt x="0" y="129600"/>
                    </a:lnTo>
                    <a:cubicBezTo>
                      <a:pt x="0" y="58629"/>
                      <a:pt x="55542" y="3086"/>
                      <a:pt x="126514" y="3086"/>
                    </a:cubicBezTo>
                    <a:lnTo>
                      <a:pt x="1147885" y="0"/>
                    </a:lnTo>
                    <a:cubicBezTo>
                      <a:pt x="1218857" y="0"/>
                      <a:pt x="1274400" y="55543"/>
                      <a:pt x="1274400" y="126514"/>
                    </a:cubicBezTo>
                    <a:lnTo>
                      <a:pt x="1274400" y="185143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8" name="图形 1">
                <a:extLst>
                  <a:ext uri="{FF2B5EF4-FFF2-40B4-BE49-F238E27FC236}">
                    <a16:creationId xmlns:a16="http://schemas.microsoft.com/office/drawing/2014/main" id="{BAE6B6BF-7AD4-4135-9054-2B7449D5B2B2}"/>
                  </a:ext>
                </a:extLst>
              </p:cNvPr>
              <p:cNvGrpSpPr/>
              <p:nvPr/>
            </p:nvGrpSpPr>
            <p:grpSpPr>
              <a:xfrm>
                <a:off x="10848111" y="6461667"/>
                <a:ext cx="290056" cy="290056"/>
                <a:chOff x="10848111" y="6461667"/>
                <a:chExt cx="290056" cy="290056"/>
              </a:xfrm>
            </p:grpSpPr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7AFB3AD9-F1E6-44D9-865C-45A16395EB8B}"/>
                    </a:ext>
                  </a:extLst>
                </p:cNvPr>
                <p:cNvSpPr/>
                <p:nvPr/>
              </p:nvSpPr>
              <p:spPr>
                <a:xfrm>
                  <a:off x="10848111" y="6461667"/>
                  <a:ext cx="290056" cy="290056"/>
                </a:xfrm>
                <a:custGeom>
                  <a:avLst/>
                  <a:gdLst>
                    <a:gd name="connsiteX0" fmla="*/ 290057 w 290056"/>
                    <a:gd name="connsiteY0" fmla="*/ 145028 h 290056"/>
                    <a:gd name="connsiteX1" fmla="*/ 145029 w 290056"/>
                    <a:gd name="connsiteY1" fmla="*/ 0 h 290056"/>
                    <a:gd name="connsiteX2" fmla="*/ 0 w 290056"/>
                    <a:gd name="connsiteY2" fmla="*/ 145028 h 290056"/>
                    <a:gd name="connsiteX3" fmla="*/ 145029 w 290056"/>
                    <a:gd name="connsiteY3" fmla="*/ 290057 h 290056"/>
                    <a:gd name="connsiteX4" fmla="*/ 290057 w 290056"/>
                    <a:gd name="connsiteY4" fmla="*/ 145028 h 290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0056" h="290056">
                      <a:moveTo>
                        <a:pt x="290057" y="145028"/>
                      </a:moveTo>
                      <a:cubicBezTo>
                        <a:pt x="290057" y="64800"/>
                        <a:pt x="225257" y="0"/>
                        <a:pt x="145029" y="0"/>
                      </a:cubicBezTo>
                      <a:cubicBezTo>
                        <a:pt x="64800" y="0"/>
                        <a:pt x="0" y="64800"/>
                        <a:pt x="0" y="145028"/>
                      </a:cubicBezTo>
                      <a:cubicBezTo>
                        <a:pt x="0" y="225257"/>
                        <a:pt x="64800" y="290057"/>
                        <a:pt x="145029" y="290057"/>
                      </a:cubicBezTo>
                      <a:cubicBezTo>
                        <a:pt x="228343" y="290057"/>
                        <a:pt x="290057" y="225257"/>
                        <a:pt x="290057" y="145028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AA588D60-18FA-4732-B916-00C231CBD436}"/>
                    </a:ext>
                  </a:extLst>
                </p:cNvPr>
                <p:cNvSpPr/>
                <p:nvPr/>
              </p:nvSpPr>
              <p:spPr>
                <a:xfrm>
                  <a:off x="10912912" y="6523382"/>
                  <a:ext cx="166628" cy="166628"/>
                </a:xfrm>
                <a:custGeom>
                  <a:avLst/>
                  <a:gdLst>
                    <a:gd name="connsiteX0" fmla="*/ 166628 w 166628"/>
                    <a:gd name="connsiteY0" fmla="*/ 83314 h 166628"/>
                    <a:gd name="connsiteX1" fmla="*/ 83314 w 166628"/>
                    <a:gd name="connsiteY1" fmla="*/ 0 h 166628"/>
                    <a:gd name="connsiteX2" fmla="*/ 0 w 166628"/>
                    <a:gd name="connsiteY2" fmla="*/ 83314 h 166628"/>
                    <a:gd name="connsiteX3" fmla="*/ 83314 w 166628"/>
                    <a:gd name="connsiteY3" fmla="*/ 166628 h 166628"/>
                    <a:gd name="connsiteX4" fmla="*/ 166628 w 166628"/>
                    <a:gd name="connsiteY4" fmla="*/ 83314 h 166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6628" h="166628">
                      <a:moveTo>
                        <a:pt x="166628" y="83314"/>
                      </a:moveTo>
                      <a:cubicBezTo>
                        <a:pt x="166628" y="37028"/>
                        <a:pt x="129599" y="0"/>
                        <a:pt x="83314" y="0"/>
                      </a:cubicBezTo>
                      <a:cubicBezTo>
                        <a:pt x="37028" y="0"/>
                        <a:pt x="0" y="37028"/>
                        <a:pt x="0" y="83314"/>
                      </a:cubicBezTo>
                      <a:cubicBezTo>
                        <a:pt x="0" y="129600"/>
                        <a:pt x="37028" y="166628"/>
                        <a:pt x="83314" y="166628"/>
                      </a:cubicBezTo>
                      <a:cubicBezTo>
                        <a:pt x="129599" y="166628"/>
                        <a:pt x="166628" y="129600"/>
                        <a:pt x="166628" y="83314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19" name="图形 1">
                <a:extLst>
                  <a:ext uri="{FF2B5EF4-FFF2-40B4-BE49-F238E27FC236}">
                    <a16:creationId xmlns:a16="http://schemas.microsoft.com/office/drawing/2014/main" id="{FE2E7E52-9234-4D61-BF3F-CA5356A1B770}"/>
                  </a:ext>
                </a:extLst>
              </p:cNvPr>
              <p:cNvGrpSpPr/>
              <p:nvPr/>
            </p:nvGrpSpPr>
            <p:grpSpPr>
              <a:xfrm>
                <a:off x="9873026" y="6461667"/>
                <a:ext cx="290163" cy="290056"/>
                <a:chOff x="9873026" y="6461667"/>
                <a:chExt cx="290163" cy="290056"/>
              </a:xfrm>
            </p:grpSpPr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A3CB454E-E507-4874-B6CF-B59F2BA6451C}"/>
                    </a:ext>
                  </a:extLst>
                </p:cNvPr>
                <p:cNvSpPr/>
                <p:nvPr/>
              </p:nvSpPr>
              <p:spPr>
                <a:xfrm>
                  <a:off x="9873026" y="6461667"/>
                  <a:ext cx="290163" cy="290056"/>
                </a:xfrm>
                <a:custGeom>
                  <a:avLst/>
                  <a:gdLst>
                    <a:gd name="connsiteX0" fmla="*/ 290057 w 290163"/>
                    <a:gd name="connsiteY0" fmla="*/ 145028 h 290056"/>
                    <a:gd name="connsiteX1" fmla="*/ 145029 w 290163"/>
                    <a:gd name="connsiteY1" fmla="*/ 0 h 290056"/>
                    <a:gd name="connsiteX2" fmla="*/ 0 w 290163"/>
                    <a:gd name="connsiteY2" fmla="*/ 145028 h 290056"/>
                    <a:gd name="connsiteX3" fmla="*/ 145029 w 290163"/>
                    <a:gd name="connsiteY3" fmla="*/ 290057 h 290056"/>
                    <a:gd name="connsiteX4" fmla="*/ 290057 w 290163"/>
                    <a:gd name="connsiteY4" fmla="*/ 145028 h 290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0163" h="290056">
                      <a:moveTo>
                        <a:pt x="290057" y="145028"/>
                      </a:moveTo>
                      <a:cubicBezTo>
                        <a:pt x="290057" y="64800"/>
                        <a:pt x="225257" y="0"/>
                        <a:pt x="145029" y="0"/>
                      </a:cubicBezTo>
                      <a:cubicBezTo>
                        <a:pt x="64800" y="0"/>
                        <a:pt x="0" y="64800"/>
                        <a:pt x="0" y="145028"/>
                      </a:cubicBezTo>
                      <a:cubicBezTo>
                        <a:pt x="0" y="225257"/>
                        <a:pt x="64800" y="290057"/>
                        <a:pt x="145029" y="290057"/>
                      </a:cubicBezTo>
                      <a:cubicBezTo>
                        <a:pt x="228343" y="290057"/>
                        <a:pt x="293143" y="225257"/>
                        <a:pt x="290057" y="145028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5775017F-76EF-4EDE-90A8-7B74FB8B63AD}"/>
                    </a:ext>
                  </a:extLst>
                </p:cNvPr>
                <p:cNvSpPr/>
                <p:nvPr/>
              </p:nvSpPr>
              <p:spPr>
                <a:xfrm>
                  <a:off x="9937826" y="6523382"/>
                  <a:ext cx="166628" cy="166628"/>
                </a:xfrm>
                <a:custGeom>
                  <a:avLst/>
                  <a:gdLst>
                    <a:gd name="connsiteX0" fmla="*/ 166628 w 166628"/>
                    <a:gd name="connsiteY0" fmla="*/ 83314 h 166628"/>
                    <a:gd name="connsiteX1" fmla="*/ 83314 w 166628"/>
                    <a:gd name="connsiteY1" fmla="*/ 0 h 166628"/>
                    <a:gd name="connsiteX2" fmla="*/ 0 w 166628"/>
                    <a:gd name="connsiteY2" fmla="*/ 83314 h 166628"/>
                    <a:gd name="connsiteX3" fmla="*/ 83314 w 166628"/>
                    <a:gd name="connsiteY3" fmla="*/ 166628 h 166628"/>
                    <a:gd name="connsiteX4" fmla="*/ 166628 w 166628"/>
                    <a:gd name="connsiteY4" fmla="*/ 83314 h 166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6628" h="166628">
                      <a:moveTo>
                        <a:pt x="166628" y="83314"/>
                      </a:moveTo>
                      <a:cubicBezTo>
                        <a:pt x="166628" y="37028"/>
                        <a:pt x="129600" y="0"/>
                        <a:pt x="83314" y="0"/>
                      </a:cubicBezTo>
                      <a:cubicBezTo>
                        <a:pt x="37028" y="0"/>
                        <a:pt x="0" y="37028"/>
                        <a:pt x="0" y="83314"/>
                      </a:cubicBezTo>
                      <a:cubicBezTo>
                        <a:pt x="0" y="129600"/>
                        <a:pt x="37028" y="166628"/>
                        <a:pt x="83314" y="166628"/>
                      </a:cubicBezTo>
                      <a:cubicBezTo>
                        <a:pt x="129600" y="166628"/>
                        <a:pt x="166628" y="129600"/>
                        <a:pt x="166628" y="83314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20" name="图形 1">
                <a:extLst>
                  <a:ext uri="{FF2B5EF4-FFF2-40B4-BE49-F238E27FC236}">
                    <a16:creationId xmlns:a16="http://schemas.microsoft.com/office/drawing/2014/main" id="{F6A101F1-3BE2-46D3-91DF-07F4B914928F}"/>
                  </a:ext>
                </a:extLst>
              </p:cNvPr>
              <p:cNvGrpSpPr/>
              <p:nvPr/>
            </p:nvGrpSpPr>
            <p:grpSpPr>
              <a:xfrm>
                <a:off x="10218626" y="5230467"/>
                <a:ext cx="613285" cy="596820"/>
                <a:chOff x="10218626" y="5230467"/>
                <a:chExt cx="613285" cy="596820"/>
              </a:xfrm>
              <a:solidFill>
                <a:srgbClr val="FFFFFF"/>
              </a:solidFill>
            </p:grpSpPr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1EA683C4-4A96-4531-8F16-DE844FCBC41C}"/>
                    </a:ext>
                  </a:extLst>
                </p:cNvPr>
                <p:cNvSpPr/>
                <p:nvPr/>
              </p:nvSpPr>
              <p:spPr>
                <a:xfrm>
                  <a:off x="10218626" y="5380389"/>
                  <a:ext cx="262285" cy="402421"/>
                </a:xfrm>
                <a:custGeom>
                  <a:avLst/>
                  <a:gdLst>
                    <a:gd name="connsiteX0" fmla="*/ 219086 w 262285"/>
                    <a:gd name="connsiteY0" fmla="*/ 106192 h 402421"/>
                    <a:gd name="connsiteX1" fmla="*/ 253028 w 262285"/>
                    <a:gd name="connsiteY1" fmla="*/ 124707 h 402421"/>
                    <a:gd name="connsiteX2" fmla="*/ 262286 w 262285"/>
                    <a:gd name="connsiteY2" fmla="*/ 118535 h 402421"/>
                    <a:gd name="connsiteX3" fmla="*/ 231429 w 262285"/>
                    <a:gd name="connsiteY3" fmla="*/ 4364 h 402421"/>
                    <a:gd name="connsiteX4" fmla="*/ 225257 w 262285"/>
                    <a:gd name="connsiteY4" fmla="*/ 1278 h 402421"/>
                    <a:gd name="connsiteX5" fmla="*/ 169715 w 262285"/>
                    <a:gd name="connsiteY5" fmla="*/ 16707 h 402421"/>
                    <a:gd name="connsiteX6" fmla="*/ 166629 w 262285"/>
                    <a:gd name="connsiteY6" fmla="*/ 13621 h 402421"/>
                    <a:gd name="connsiteX7" fmla="*/ 163543 w 262285"/>
                    <a:gd name="connsiteY7" fmla="*/ 16707 h 402421"/>
                    <a:gd name="connsiteX8" fmla="*/ 114171 w 262285"/>
                    <a:gd name="connsiteY8" fmla="*/ 29049 h 402421"/>
                    <a:gd name="connsiteX9" fmla="*/ 114171 w 262285"/>
                    <a:gd name="connsiteY9" fmla="*/ 41392 h 402421"/>
                    <a:gd name="connsiteX10" fmla="*/ 141943 w 262285"/>
                    <a:gd name="connsiteY10" fmla="*/ 56821 h 402421"/>
                    <a:gd name="connsiteX11" fmla="*/ 9257 w 262285"/>
                    <a:gd name="connsiteY11" fmla="*/ 288250 h 402421"/>
                    <a:gd name="connsiteX12" fmla="*/ 9257 w 262285"/>
                    <a:gd name="connsiteY12" fmla="*/ 365393 h 402421"/>
                    <a:gd name="connsiteX13" fmla="*/ 74057 w 262285"/>
                    <a:gd name="connsiteY13" fmla="*/ 402421 h 402421"/>
                    <a:gd name="connsiteX14" fmla="*/ 135771 w 262285"/>
                    <a:gd name="connsiteY14" fmla="*/ 402421 h 402421"/>
                    <a:gd name="connsiteX15" fmla="*/ 135771 w 262285"/>
                    <a:gd name="connsiteY15" fmla="*/ 306764 h 402421"/>
                    <a:gd name="connsiteX16" fmla="*/ 108000 w 262285"/>
                    <a:gd name="connsiteY16" fmla="*/ 306764 h 402421"/>
                    <a:gd name="connsiteX17" fmla="*/ 219086 w 262285"/>
                    <a:gd name="connsiteY17" fmla="*/ 106192 h 4024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62285" h="402421">
                      <a:moveTo>
                        <a:pt x="219086" y="106192"/>
                      </a:moveTo>
                      <a:lnTo>
                        <a:pt x="253028" y="124707"/>
                      </a:lnTo>
                      <a:cubicBezTo>
                        <a:pt x="259200" y="127792"/>
                        <a:pt x="262286" y="121621"/>
                        <a:pt x="262286" y="118535"/>
                      </a:cubicBezTo>
                      <a:lnTo>
                        <a:pt x="231429" y="4364"/>
                      </a:lnTo>
                      <a:cubicBezTo>
                        <a:pt x="231429" y="1278"/>
                        <a:pt x="228343" y="-1808"/>
                        <a:pt x="225257" y="1278"/>
                      </a:cubicBezTo>
                      <a:lnTo>
                        <a:pt x="169715" y="16707"/>
                      </a:lnTo>
                      <a:lnTo>
                        <a:pt x="166629" y="13621"/>
                      </a:lnTo>
                      <a:lnTo>
                        <a:pt x="163543" y="16707"/>
                      </a:lnTo>
                      <a:lnTo>
                        <a:pt x="114171" y="29049"/>
                      </a:lnTo>
                      <a:cubicBezTo>
                        <a:pt x="108000" y="29049"/>
                        <a:pt x="108000" y="38307"/>
                        <a:pt x="114171" y="41392"/>
                      </a:cubicBezTo>
                      <a:lnTo>
                        <a:pt x="141943" y="56821"/>
                      </a:lnTo>
                      <a:lnTo>
                        <a:pt x="9257" y="288250"/>
                      </a:lnTo>
                      <a:cubicBezTo>
                        <a:pt x="-3086" y="312935"/>
                        <a:pt x="-3086" y="340707"/>
                        <a:pt x="9257" y="365393"/>
                      </a:cubicBezTo>
                      <a:cubicBezTo>
                        <a:pt x="21600" y="390078"/>
                        <a:pt x="49371" y="402421"/>
                        <a:pt x="74057" y="402421"/>
                      </a:cubicBezTo>
                      <a:lnTo>
                        <a:pt x="135771" y="402421"/>
                      </a:lnTo>
                      <a:lnTo>
                        <a:pt x="135771" y="306764"/>
                      </a:lnTo>
                      <a:lnTo>
                        <a:pt x="108000" y="306764"/>
                      </a:lnTo>
                      <a:lnTo>
                        <a:pt x="219086" y="10619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7A72B7CC-97F2-4342-BECD-6873502F3F4A}"/>
                    </a:ext>
                  </a:extLst>
                </p:cNvPr>
                <p:cNvSpPr/>
                <p:nvPr/>
              </p:nvSpPr>
              <p:spPr>
                <a:xfrm>
                  <a:off x="10428454" y="5230467"/>
                  <a:ext cx="334078" cy="376457"/>
                </a:xfrm>
                <a:custGeom>
                  <a:avLst/>
                  <a:gdLst>
                    <a:gd name="connsiteX0" fmla="*/ 92571 w 334078"/>
                    <a:gd name="connsiteY0" fmla="*/ 111086 h 376457"/>
                    <a:gd name="connsiteX1" fmla="*/ 209829 w 334078"/>
                    <a:gd name="connsiteY1" fmla="*/ 311657 h 376457"/>
                    <a:gd name="connsiteX2" fmla="*/ 175886 w 334078"/>
                    <a:gd name="connsiteY2" fmla="*/ 327086 h 376457"/>
                    <a:gd name="connsiteX3" fmla="*/ 175886 w 334078"/>
                    <a:gd name="connsiteY3" fmla="*/ 339429 h 376457"/>
                    <a:gd name="connsiteX4" fmla="*/ 286972 w 334078"/>
                    <a:gd name="connsiteY4" fmla="*/ 376457 h 376457"/>
                    <a:gd name="connsiteX5" fmla="*/ 296229 w 334078"/>
                    <a:gd name="connsiteY5" fmla="*/ 373371 h 376457"/>
                    <a:gd name="connsiteX6" fmla="*/ 333258 w 334078"/>
                    <a:gd name="connsiteY6" fmla="*/ 262286 h 376457"/>
                    <a:gd name="connsiteX7" fmla="*/ 324000 w 334078"/>
                    <a:gd name="connsiteY7" fmla="*/ 256114 h 376457"/>
                    <a:gd name="connsiteX8" fmla="*/ 293143 w 334078"/>
                    <a:gd name="connsiteY8" fmla="*/ 271543 h 376457"/>
                    <a:gd name="connsiteX9" fmla="*/ 157372 w 334078"/>
                    <a:gd name="connsiteY9" fmla="*/ 37028 h 376457"/>
                    <a:gd name="connsiteX10" fmla="*/ 92571 w 334078"/>
                    <a:gd name="connsiteY10" fmla="*/ 0 h 376457"/>
                    <a:gd name="connsiteX11" fmla="*/ 27771 w 334078"/>
                    <a:gd name="connsiteY11" fmla="*/ 40114 h 376457"/>
                    <a:gd name="connsiteX12" fmla="*/ 0 w 334078"/>
                    <a:gd name="connsiteY12" fmla="*/ 92571 h 376457"/>
                    <a:gd name="connsiteX13" fmla="*/ 83315 w 334078"/>
                    <a:gd name="connsiteY13" fmla="*/ 138857 h 376457"/>
                    <a:gd name="connsiteX14" fmla="*/ 92571 w 334078"/>
                    <a:gd name="connsiteY14" fmla="*/ 111086 h 376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334078" h="376457">
                      <a:moveTo>
                        <a:pt x="92571" y="111086"/>
                      </a:moveTo>
                      <a:lnTo>
                        <a:pt x="209829" y="311657"/>
                      </a:lnTo>
                      <a:lnTo>
                        <a:pt x="175886" y="327086"/>
                      </a:lnTo>
                      <a:cubicBezTo>
                        <a:pt x="169714" y="330171"/>
                        <a:pt x="172800" y="336343"/>
                        <a:pt x="175886" y="339429"/>
                      </a:cubicBezTo>
                      <a:lnTo>
                        <a:pt x="286972" y="376457"/>
                      </a:lnTo>
                      <a:cubicBezTo>
                        <a:pt x="290057" y="376457"/>
                        <a:pt x="293143" y="376457"/>
                        <a:pt x="296229" y="373371"/>
                      </a:cubicBezTo>
                      <a:lnTo>
                        <a:pt x="333258" y="262286"/>
                      </a:lnTo>
                      <a:cubicBezTo>
                        <a:pt x="336343" y="256114"/>
                        <a:pt x="330172" y="253028"/>
                        <a:pt x="324000" y="256114"/>
                      </a:cubicBezTo>
                      <a:lnTo>
                        <a:pt x="293143" y="271543"/>
                      </a:lnTo>
                      <a:lnTo>
                        <a:pt x="157372" y="37028"/>
                      </a:lnTo>
                      <a:cubicBezTo>
                        <a:pt x="145029" y="12343"/>
                        <a:pt x="117258" y="0"/>
                        <a:pt x="92571" y="0"/>
                      </a:cubicBezTo>
                      <a:cubicBezTo>
                        <a:pt x="64800" y="0"/>
                        <a:pt x="40115" y="15429"/>
                        <a:pt x="27771" y="40114"/>
                      </a:cubicBezTo>
                      <a:lnTo>
                        <a:pt x="0" y="92571"/>
                      </a:lnTo>
                      <a:lnTo>
                        <a:pt x="83315" y="138857"/>
                      </a:lnTo>
                      <a:lnTo>
                        <a:pt x="92571" y="11108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EDFC028E-412C-4392-98CA-97693BFA8AF3}"/>
                    </a:ext>
                  </a:extLst>
                </p:cNvPr>
                <p:cNvSpPr/>
                <p:nvPr/>
              </p:nvSpPr>
              <p:spPr>
                <a:xfrm>
                  <a:off x="10407626" y="5606924"/>
                  <a:ext cx="424285" cy="220363"/>
                </a:xfrm>
                <a:custGeom>
                  <a:avLst/>
                  <a:gdLst>
                    <a:gd name="connsiteX0" fmla="*/ 412714 w 424285"/>
                    <a:gd name="connsiteY0" fmla="*/ 61714 h 220363"/>
                    <a:gd name="connsiteX1" fmla="*/ 372599 w 424285"/>
                    <a:gd name="connsiteY1" fmla="*/ 0 h 220363"/>
                    <a:gd name="connsiteX2" fmla="*/ 292372 w 424285"/>
                    <a:gd name="connsiteY2" fmla="*/ 49371 h 220363"/>
                    <a:gd name="connsiteX3" fmla="*/ 313971 w 424285"/>
                    <a:gd name="connsiteY3" fmla="*/ 80229 h 220363"/>
                    <a:gd name="connsiteX4" fmla="*/ 94885 w 424285"/>
                    <a:gd name="connsiteY4" fmla="*/ 80229 h 220363"/>
                    <a:gd name="connsiteX5" fmla="*/ 94885 w 424285"/>
                    <a:gd name="connsiteY5" fmla="*/ 46286 h 220363"/>
                    <a:gd name="connsiteX6" fmla="*/ 85628 w 424285"/>
                    <a:gd name="connsiteY6" fmla="*/ 43200 h 220363"/>
                    <a:gd name="connsiteX7" fmla="*/ 2314 w 424285"/>
                    <a:gd name="connsiteY7" fmla="*/ 126514 h 220363"/>
                    <a:gd name="connsiteX8" fmla="*/ 2314 w 424285"/>
                    <a:gd name="connsiteY8" fmla="*/ 135771 h 220363"/>
                    <a:gd name="connsiteX9" fmla="*/ 85628 w 424285"/>
                    <a:gd name="connsiteY9" fmla="*/ 219086 h 220363"/>
                    <a:gd name="connsiteX10" fmla="*/ 94885 w 424285"/>
                    <a:gd name="connsiteY10" fmla="*/ 216000 h 220363"/>
                    <a:gd name="connsiteX11" fmla="*/ 94885 w 424285"/>
                    <a:gd name="connsiteY11" fmla="*/ 182057 h 220363"/>
                    <a:gd name="connsiteX12" fmla="*/ 347914 w 424285"/>
                    <a:gd name="connsiteY12" fmla="*/ 182057 h 220363"/>
                    <a:gd name="connsiteX13" fmla="*/ 412714 w 424285"/>
                    <a:gd name="connsiteY13" fmla="*/ 145029 h 220363"/>
                    <a:gd name="connsiteX14" fmla="*/ 412714 w 424285"/>
                    <a:gd name="connsiteY14" fmla="*/ 61714 h 220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24285" h="220363">
                      <a:moveTo>
                        <a:pt x="412714" y="61714"/>
                      </a:moveTo>
                      <a:lnTo>
                        <a:pt x="372599" y="0"/>
                      </a:lnTo>
                      <a:lnTo>
                        <a:pt x="292372" y="49371"/>
                      </a:lnTo>
                      <a:lnTo>
                        <a:pt x="313971" y="80229"/>
                      </a:lnTo>
                      <a:lnTo>
                        <a:pt x="94885" y="80229"/>
                      </a:lnTo>
                      <a:lnTo>
                        <a:pt x="94885" y="46286"/>
                      </a:lnTo>
                      <a:cubicBezTo>
                        <a:pt x="94885" y="40114"/>
                        <a:pt x="88714" y="37029"/>
                        <a:pt x="85628" y="43200"/>
                      </a:cubicBezTo>
                      <a:lnTo>
                        <a:pt x="2314" y="126514"/>
                      </a:lnTo>
                      <a:cubicBezTo>
                        <a:pt x="-771" y="129600"/>
                        <a:pt x="-771" y="132686"/>
                        <a:pt x="2314" y="135771"/>
                      </a:cubicBezTo>
                      <a:lnTo>
                        <a:pt x="85628" y="219086"/>
                      </a:lnTo>
                      <a:cubicBezTo>
                        <a:pt x="88714" y="222172"/>
                        <a:pt x="94885" y="219086"/>
                        <a:pt x="94885" y="216000"/>
                      </a:cubicBezTo>
                      <a:lnTo>
                        <a:pt x="94885" y="182057"/>
                      </a:lnTo>
                      <a:lnTo>
                        <a:pt x="347914" y="182057"/>
                      </a:lnTo>
                      <a:cubicBezTo>
                        <a:pt x="375685" y="182057"/>
                        <a:pt x="400372" y="166629"/>
                        <a:pt x="412714" y="145029"/>
                      </a:cubicBezTo>
                      <a:cubicBezTo>
                        <a:pt x="428143" y="114172"/>
                        <a:pt x="428143" y="86400"/>
                        <a:pt x="412714" y="6171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52538B0F-485B-4475-A1FE-112B07C554FC}"/>
                </a:ext>
              </a:extLst>
            </p:cNvPr>
            <p:cNvSpPr/>
            <p:nvPr/>
          </p:nvSpPr>
          <p:spPr>
            <a:xfrm>
              <a:off x="12452581" y="2338274"/>
              <a:ext cx="421540" cy="574899"/>
            </a:xfrm>
            <a:custGeom>
              <a:avLst/>
              <a:gdLst>
                <a:gd name="connsiteX0" fmla="*/ 3188 w 421540"/>
                <a:gd name="connsiteY0" fmla="*/ 189108 h 574899"/>
                <a:gd name="connsiteX1" fmla="*/ 24787 w 421540"/>
                <a:gd name="connsiteY1" fmla="*/ 448308 h 574899"/>
                <a:gd name="connsiteX2" fmla="*/ 179073 w 421540"/>
                <a:gd name="connsiteY2" fmla="*/ 574822 h 574899"/>
                <a:gd name="connsiteX3" fmla="*/ 391988 w 421540"/>
                <a:gd name="connsiteY3" fmla="*/ 420536 h 574899"/>
                <a:gd name="connsiteX4" fmla="*/ 419759 w 421540"/>
                <a:gd name="connsiteY4" fmla="*/ 192194 h 574899"/>
                <a:gd name="connsiteX5" fmla="*/ 194502 w 421540"/>
                <a:gd name="connsiteY5" fmla="*/ 879 h 574899"/>
                <a:gd name="connsiteX6" fmla="*/ 3188 w 421540"/>
                <a:gd name="connsiteY6" fmla="*/ 189108 h 57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540" h="574899">
                  <a:moveTo>
                    <a:pt x="3188" y="189108"/>
                  </a:moveTo>
                  <a:cubicBezTo>
                    <a:pt x="3188" y="189108"/>
                    <a:pt x="-12241" y="380422"/>
                    <a:pt x="24787" y="448308"/>
                  </a:cubicBezTo>
                  <a:cubicBezTo>
                    <a:pt x="64902" y="516194"/>
                    <a:pt x="129702" y="571737"/>
                    <a:pt x="179073" y="574822"/>
                  </a:cubicBezTo>
                  <a:cubicBezTo>
                    <a:pt x="246959" y="577908"/>
                    <a:pt x="358045" y="488422"/>
                    <a:pt x="391988" y="420536"/>
                  </a:cubicBezTo>
                  <a:cubicBezTo>
                    <a:pt x="425930" y="352651"/>
                    <a:pt x="422845" y="241565"/>
                    <a:pt x="419759" y="192194"/>
                  </a:cubicBezTo>
                  <a:cubicBezTo>
                    <a:pt x="413587" y="96536"/>
                    <a:pt x="382730" y="19394"/>
                    <a:pt x="194502" y="879"/>
                  </a:cubicBezTo>
                  <a:cubicBezTo>
                    <a:pt x="111188" y="-11464"/>
                    <a:pt x="18616" y="108879"/>
                    <a:pt x="3188" y="189108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7612531A-33E1-4F47-A1B5-B6E5F96CCF7A}"/>
                </a:ext>
              </a:extLst>
            </p:cNvPr>
            <p:cNvSpPr/>
            <p:nvPr/>
          </p:nvSpPr>
          <p:spPr>
            <a:xfrm>
              <a:off x="12594626" y="2606332"/>
              <a:ext cx="58628" cy="133963"/>
            </a:xfrm>
            <a:custGeom>
              <a:avLst/>
              <a:gdLst>
                <a:gd name="connsiteX0" fmla="*/ 27771 w 58628"/>
                <a:gd name="connsiteY0" fmla="*/ 133964 h 133963"/>
                <a:gd name="connsiteX1" fmla="*/ 6171 w 58628"/>
                <a:gd name="connsiteY1" fmla="*/ 127792 h 133963"/>
                <a:gd name="connsiteX2" fmla="*/ 0 w 58628"/>
                <a:gd name="connsiteY2" fmla="*/ 115450 h 133963"/>
                <a:gd name="connsiteX3" fmla="*/ 24685 w 58628"/>
                <a:gd name="connsiteY3" fmla="*/ 4364 h 133963"/>
                <a:gd name="connsiteX4" fmla="*/ 30857 w 58628"/>
                <a:gd name="connsiteY4" fmla="*/ 1278 h 133963"/>
                <a:gd name="connsiteX5" fmla="*/ 33943 w 58628"/>
                <a:gd name="connsiteY5" fmla="*/ 7450 h 133963"/>
                <a:gd name="connsiteX6" fmla="*/ 9257 w 58628"/>
                <a:gd name="connsiteY6" fmla="*/ 115450 h 133963"/>
                <a:gd name="connsiteX7" fmla="*/ 12343 w 58628"/>
                <a:gd name="connsiteY7" fmla="*/ 118535 h 133963"/>
                <a:gd name="connsiteX8" fmla="*/ 52457 w 58628"/>
                <a:gd name="connsiteY8" fmla="*/ 118535 h 133963"/>
                <a:gd name="connsiteX9" fmla="*/ 58628 w 58628"/>
                <a:gd name="connsiteY9" fmla="*/ 121621 h 133963"/>
                <a:gd name="connsiteX10" fmla="*/ 55542 w 58628"/>
                <a:gd name="connsiteY10" fmla="*/ 127792 h 133963"/>
                <a:gd name="connsiteX11" fmla="*/ 27771 w 58628"/>
                <a:gd name="connsiteY11" fmla="*/ 133964 h 133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628" h="133963">
                  <a:moveTo>
                    <a:pt x="27771" y="133964"/>
                  </a:moveTo>
                  <a:cubicBezTo>
                    <a:pt x="18514" y="133964"/>
                    <a:pt x="9257" y="133964"/>
                    <a:pt x="6171" y="127792"/>
                  </a:cubicBezTo>
                  <a:cubicBezTo>
                    <a:pt x="3086" y="124707"/>
                    <a:pt x="0" y="121621"/>
                    <a:pt x="0" y="115450"/>
                  </a:cubicBezTo>
                  <a:cubicBezTo>
                    <a:pt x="0" y="93850"/>
                    <a:pt x="21599" y="7450"/>
                    <a:pt x="24685" y="4364"/>
                  </a:cubicBezTo>
                  <a:cubicBezTo>
                    <a:pt x="24685" y="1278"/>
                    <a:pt x="27771" y="-1808"/>
                    <a:pt x="30857" y="1278"/>
                  </a:cubicBezTo>
                  <a:cubicBezTo>
                    <a:pt x="33943" y="1278"/>
                    <a:pt x="37028" y="4364"/>
                    <a:pt x="33943" y="7450"/>
                  </a:cubicBezTo>
                  <a:cubicBezTo>
                    <a:pt x="27771" y="32135"/>
                    <a:pt x="9257" y="100021"/>
                    <a:pt x="9257" y="115450"/>
                  </a:cubicBezTo>
                  <a:cubicBezTo>
                    <a:pt x="9257" y="115450"/>
                    <a:pt x="9257" y="118535"/>
                    <a:pt x="12343" y="118535"/>
                  </a:cubicBezTo>
                  <a:cubicBezTo>
                    <a:pt x="18514" y="124707"/>
                    <a:pt x="40114" y="121621"/>
                    <a:pt x="52457" y="118535"/>
                  </a:cubicBezTo>
                  <a:cubicBezTo>
                    <a:pt x="55542" y="118535"/>
                    <a:pt x="58628" y="118535"/>
                    <a:pt x="58628" y="121621"/>
                  </a:cubicBezTo>
                  <a:cubicBezTo>
                    <a:pt x="58628" y="124707"/>
                    <a:pt x="58628" y="127792"/>
                    <a:pt x="55542" y="127792"/>
                  </a:cubicBezTo>
                  <a:cubicBezTo>
                    <a:pt x="49372" y="130878"/>
                    <a:pt x="37028" y="133964"/>
                    <a:pt x="27771" y="133964"/>
                  </a:cubicBezTo>
                  <a:close/>
                </a:path>
              </a:pathLst>
            </a:custGeom>
            <a:solidFill>
              <a:srgbClr val="E58777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52BFC704-B5D5-4B55-B506-98CF69643C58}"/>
                </a:ext>
              </a:extLst>
            </p:cNvPr>
            <p:cNvSpPr/>
            <p:nvPr/>
          </p:nvSpPr>
          <p:spPr>
            <a:xfrm>
              <a:off x="12576111" y="2789667"/>
              <a:ext cx="107999" cy="59043"/>
            </a:xfrm>
            <a:custGeom>
              <a:avLst/>
              <a:gdLst>
                <a:gd name="connsiteX0" fmla="*/ 108000 w 107999"/>
                <a:gd name="connsiteY0" fmla="*/ 0 h 59043"/>
                <a:gd name="connsiteX1" fmla="*/ 0 w 107999"/>
                <a:gd name="connsiteY1" fmla="*/ 3086 h 59043"/>
                <a:gd name="connsiteX2" fmla="*/ 43200 w 107999"/>
                <a:gd name="connsiteY2" fmla="*/ 58629 h 59043"/>
                <a:gd name="connsiteX3" fmla="*/ 108000 w 107999"/>
                <a:gd name="connsiteY3" fmla="*/ 0 h 5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999" h="59043">
                  <a:moveTo>
                    <a:pt x="108000" y="0"/>
                  </a:moveTo>
                  <a:cubicBezTo>
                    <a:pt x="55542" y="30857"/>
                    <a:pt x="0" y="3086"/>
                    <a:pt x="0" y="3086"/>
                  </a:cubicBezTo>
                  <a:cubicBezTo>
                    <a:pt x="0" y="3086"/>
                    <a:pt x="9257" y="52457"/>
                    <a:pt x="43200" y="58629"/>
                  </a:cubicBezTo>
                  <a:cubicBezTo>
                    <a:pt x="77143" y="64800"/>
                    <a:pt x="108000" y="0"/>
                    <a:pt x="108000" y="0"/>
                  </a:cubicBezTo>
                  <a:close/>
                </a:path>
              </a:pathLst>
            </a:custGeom>
            <a:solidFill>
              <a:srgbClr val="FFFFFF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D6B8801E-3AF9-4F02-B962-AA1DC01BB2D1}"/>
                </a:ext>
              </a:extLst>
            </p:cNvPr>
            <p:cNvSpPr/>
            <p:nvPr/>
          </p:nvSpPr>
          <p:spPr>
            <a:xfrm>
              <a:off x="12516697" y="2582138"/>
              <a:ext cx="40900" cy="41686"/>
            </a:xfrm>
            <a:custGeom>
              <a:avLst/>
              <a:gdLst>
                <a:gd name="connsiteX0" fmla="*/ 40900 w 40900"/>
                <a:gd name="connsiteY0" fmla="*/ 25472 h 41686"/>
                <a:gd name="connsiteX1" fmla="*/ 16215 w 40900"/>
                <a:gd name="connsiteY1" fmla="*/ 40901 h 41686"/>
                <a:gd name="connsiteX2" fmla="*/ 786 w 40900"/>
                <a:gd name="connsiteY2" fmla="*/ 16215 h 41686"/>
                <a:gd name="connsiteX3" fmla="*/ 25472 w 40900"/>
                <a:gd name="connsiteY3" fmla="*/ 786 h 41686"/>
                <a:gd name="connsiteX4" fmla="*/ 40900 w 40900"/>
                <a:gd name="connsiteY4" fmla="*/ 25472 h 41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00" h="41686">
                  <a:moveTo>
                    <a:pt x="40900" y="25472"/>
                  </a:moveTo>
                  <a:cubicBezTo>
                    <a:pt x="37814" y="37815"/>
                    <a:pt x="28558" y="43986"/>
                    <a:pt x="16215" y="40901"/>
                  </a:cubicBezTo>
                  <a:cubicBezTo>
                    <a:pt x="3872" y="37815"/>
                    <a:pt x="-2300" y="28558"/>
                    <a:pt x="786" y="16215"/>
                  </a:cubicBezTo>
                  <a:cubicBezTo>
                    <a:pt x="3872" y="3872"/>
                    <a:pt x="13129" y="-2299"/>
                    <a:pt x="25472" y="786"/>
                  </a:cubicBezTo>
                  <a:cubicBezTo>
                    <a:pt x="34729" y="3872"/>
                    <a:pt x="40900" y="13129"/>
                    <a:pt x="40900" y="25472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C200539B-6FFA-4F99-B7D8-49BE4EC76078}"/>
                </a:ext>
              </a:extLst>
            </p:cNvPr>
            <p:cNvSpPr/>
            <p:nvPr/>
          </p:nvSpPr>
          <p:spPr>
            <a:xfrm>
              <a:off x="12708011" y="2582138"/>
              <a:ext cx="41506" cy="41686"/>
            </a:xfrm>
            <a:custGeom>
              <a:avLst/>
              <a:gdLst>
                <a:gd name="connsiteX0" fmla="*/ 40901 w 41506"/>
                <a:gd name="connsiteY0" fmla="*/ 25472 h 41686"/>
                <a:gd name="connsiteX1" fmla="*/ 16215 w 41506"/>
                <a:gd name="connsiteY1" fmla="*/ 40901 h 41686"/>
                <a:gd name="connsiteX2" fmla="*/ 786 w 41506"/>
                <a:gd name="connsiteY2" fmla="*/ 16215 h 41686"/>
                <a:gd name="connsiteX3" fmla="*/ 25472 w 41506"/>
                <a:gd name="connsiteY3" fmla="*/ 786 h 41686"/>
                <a:gd name="connsiteX4" fmla="*/ 40901 w 41506"/>
                <a:gd name="connsiteY4" fmla="*/ 25472 h 41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6" h="41686">
                  <a:moveTo>
                    <a:pt x="40901" y="25472"/>
                  </a:moveTo>
                  <a:cubicBezTo>
                    <a:pt x="37815" y="37815"/>
                    <a:pt x="28558" y="43986"/>
                    <a:pt x="16215" y="40901"/>
                  </a:cubicBezTo>
                  <a:cubicBezTo>
                    <a:pt x="3872" y="37815"/>
                    <a:pt x="-2299" y="28558"/>
                    <a:pt x="786" y="16215"/>
                  </a:cubicBezTo>
                  <a:cubicBezTo>
                    <a:pt x="3872" y="3872"/>
                    <a:pt x="13130" y="-2299"/>
                    <a:pt x="25472" y="786"/>
                  </a:cubicBezTo>
                  <a:cubicBezTo>
                    <a:pt x="34729" y="3872"/>
                    <a:pt x="43987" y="13129"/>
                    <a:pt x="40901" y="25472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1F065BED-1192-49E0-B1B4-316C816A57A4}"/>
                </a:ext>
              </a:extLst>
            </p:cNvPr>
            <p:cNvSpPr/>
            <p:nvPr/>
          </p:nvSpPr>
          <p:spPr>
            <a:xfrm>
              <a:off x="12487397" y="2530368"/>
              <a:ext cx="93078" cy="37128"/>
            </a:xfrm>
            <a:custGeom>
              <a:avLst/>
              <a:gdLst>
                <a:gd name="connsiteX0" fmla="*/ 8485 w 93078"/>
                <a:gd name="connsiteY0" fmla="*/ 37128 h 37128"/>
                <a:gd name="connsiteX1" fmla="*/ 2314 w 93078"/>
                <a:gd name="connsiteY1" fmla="*/ 34043 h 37128"/>
                <a:gd name="connsiteX2" fmla="*/ 2314 w 93078"/>
                <a:gd name="connsiteY2" fmla="*/ 21700 h 37128"/>
                <a:gd name="connsiteX3" fmla="*/ 88714 w 93078"/>
                <a:gd name="connsiteY3" fmla="*/ 6271 h 37128"/>
                <a:gd name="connsiteX4" fmla="*/ 91800 w 93078"/>
                <a:gd name="connsiteY4" fmla="*/ 15528 h 37128"/>
                <a:gd name="connsiteX5" fmla="*/ 82542 w 93078"/>
                <a:gd name="connsiteY5" fmla="*/ 18614 h 37128"/>
                <a:gd name="connsiteX6" fmla="*/ 14657 w 93078"/>
                <a:gd name="connsiteY6" fmla="*/ 27871 h 37128"/>
                <a:gd name="connsiteX7" fmla="*/ 8485 w 93078"/>
                <a:gd name="connsiteY7" fmla="*/ 37128 h 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7128">
                  <a:moveTo>
                    <a:pt x="8485" y="37128"/>
                  </a:moveTo>
                  <a:cubicBezTo>
                    <a:pt x="5399" y="37128"/>
                    <a:pt x="5399" y="37128"/>
                    <a:pt x="2314" y="34043"/>
                  </a:cubicBezTo>
                  <a:cubicBezTo>
                    <a:pt x="-771" y="30957"/>
                    <a:pt x="-771" y="24786"/>
                    <a:pt x="2314" y="21700"/>
                  </a:cubicBezTo>
                  <a:cubicBezTo>
                    <a:pt x="30086" y="-9157"/>
                    <a:pt x="70200" y="100"/>
                    <a:pt x="88714" y="6271"/>
                  </a:cubicBezTo>
                  <a:cubicBezTo>
                    <a:pt x="91800" y="9357"/>
                    <a:pt x="94886" y="12443"/>
                    <a:pt x="91800" y="15528"/>
                  </a:cubicBezTo>
                  <a:cubicBezTo>
                    <a:pt x="88714" y="18614"/>
                    <a:pt x="85628" y="21700"/>
                    <a:pt x="82542" y="18614"/>
                  </a:cubicBezTo>
                  <a:cubicBezTo>
                    <a:pt x="79457" y="18614"/>
                    <a:pt x="39342" y="100"/>
                    <a:pt x="14657" y="27871"/>
                  </a:cubicBezTo>
                  <a:cubicBezTo>
                    <a:pt x="14657" y="37128"/>
                    <a:pt x="11571" y="37128"/>
                    <a:pt x="8485" y="37128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FBF9E760-EF66-4284-B9C3-DE52D69BE045}"/>
                </a:ext>
              </a:extLst>
            </p:cNvPr>
            <p:cNvSpPr/>
            <p:nvPr/>
          </p:nvSpPr>
          <p:spPr>
            <a:xfrm>
              <a:off x="12678999" y="2525405"/>
              <a:ext cx="93826" cy="35919"/>
            </a:xfrm>
            <a:custGeom>
              <a:avLst/>
              <a:gdLst>
                <a:gd name="connsiteX0" fmla="*/ 88428 w 93826"/>
                <a:gd name="connsiteY0" fmla="*/ 35920 h 35919"/>
                <a:gd name="connsiteX1" fmla="*/ 82256 w 93826"/>
                <a:gd name="connsiteY1" fmla="*/ 32834 h 35919"/>
                <a:gd name="connsiteX2" fmla="*/ 14370 w 93826"/>
                <a:gd name="connsiteY2" fmla="*/ 29748 h 35919"/>
                <a:gd name="connsiteX3" fmla="*/ 2027 w 93826"/>
                <a:gd name="connsiteY3" fmla="*/ 26663 h 35919"/>
                <a:gd name="connsiteX4" fmla="*/ 5113 w 93826"/>
                <a:gd name="connsiteY4" fmla="*/ 14320 h 35919"/>
                <a:gd name="connsiteX5" fmla="*/ 91513 w 93826"/>
                <a:gd name="connsiteY5" fmla="*/ 20491 h 35919"/>
                <a:gd name="connsiteX6" fmla="*/ 91513 w 93826"/>
                <a:gd name="connsiteY6" fmla="*/ 32834 h 35919"/>
                <a:gd name="connsiteX7" fmla="*/ 88428 w 93826"/>
                <a:gd name="connsiteY7" fmla="*/ 35920 h 35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26" h="35919">
                  <a:moveTo>
                    <a:pt x="88428" y="35920"/>
                  </a:moveTo>
                  <a:cubicBezTo>
                    <a:pt x="85342" y="35920"/>
                    <a:pt x="85342" y="35920"/>
                    <a:pt x="82256" y="32834"/>
                  </a:cubicBezTo>
                  <a:cubicBezTo>
                    <a:pt x="82256" y="32834"/>
                    <a:pt x="51399" y="5062"/>
                    <a:pt x="14370" y="29748"/>
                  </a:cubicBezTo>
                  <a:cubicBezTo>
                    <a:pt x="11285" y="32834"/>
                    <a:pt x="5113" y="32834"/>
                    <a:pt x="2027" y="26663"/>
                  </a:cubicBezTo>
                  <a:cubicBezTo>
                    <a:pt x="-1059" y="23577"/>
                    <a:pt x="-1059" y="17405"/>
                    <a:pt x="5113" y="14320"/>
                  </a:cubicBezTo>
                  <a:cubicBezTo>
                    <a:pt x="42142" y="-13452"/>
                    <a:pt x="79170" y="5062"/>
                    <a:pt x="91513" y="20491"/>
                  </a:cubicBezTo>
                  <a:cubicBezTo>
                    <a:pt x="94598" y="23577"/>
                    <a:pt x="94598" y="29748"/>
                    <a:pt x="91513" y="32834"/>
                  </a:cubicBezTo>
                  <a:cubicBezTo>
                    <a:pt x="91513" y="32834"/>
                    <a:pt x="88428" y="35920"/>
                    <a:pt x="88428" y="35920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3E996D53-9954-483F-9EF5-F0FEBD138013}"/>
                </a:ext>
              </a:extLst>
            </p:cNvPr>
            <p:cNvSpPr/>
            <p:nvPr/>
          </p:nvSpPr>
          <p:spPr>
            <a:xfrm>
              <a:off x="12430390" y="2300975"/>
              <a:ext cx="272550" cy="269606"/>
            </a:xfrm>
            <a:custGeom>
              <a:avLst/>
              <a:gdLst>
                <a:gd name="connsiteX0" fmla="*/ 269150 w 272550"/>
                <a:gd name="connsiteY0" fmla="*/ 1149 h 269606"/>
                <a:gd name="connsiteX1" fmla="*/ 238293 w 272550"/>
                <a:gd name="connsiteY1" fmla="*/ 130749 h 269606"/>
                <a:gd name="connsiteX2" fmla="*/ 692 w 272550"/>
                <a:gd name="connsiteY2" fmla="*/ 269606 h 269606"/>
                <a:gd name="connsiteX3" fmla="*/ 269150 w 272550"/>
                <a:gd name="connsiteY3" fmla="*/ 1149 h 26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2550" h="269606">
                  <a:moveTo>
                    <a:pt x="269150" y="1149"/>
                  </a:moveTo>
                  <a:cubicBezTo>
                    <a:pt x="269150" y="1149"/>
                    <a:pt x="287664" y="90635"/>
                    <a:pt x="238293" y="130749"/>
                  </a:cubicBezTo>
                  <a:cubicBezTo>
                    <a:pt x="238293" y="130749"/>
                    <a:pt x="28465" y="183206"/>
                    <a:pt x="692" y="269606"/>
                  </a:cubicBezTo>
                  <a:cubicBezTo>
                    <a:pt x="692" y="269606"/>
                    <a:pt x="-27079" y="-20451"/>
                    <a:pt x="269150" y="1149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78DE9B74-B7BB-4296-BF48-733EB4D531D4}"/>
                </a:ext>
              </a:extLst>
            </p:cNvPr>
            <p:cNvSpPr/>
            <p:nvPr/>
          </p:nvSpPr>
          <p:spPr>
            <a:xfrm>
              <a:off x="12668683" y="2302125"/>
              <a:ext cx="235765" cy="311367"/>
            </a:xfrm>
            <a:custGeom>
              <a:avLst/>
              <a:gdLst>
                <a:gd name="connsiteX0" fmla="*/ 0 w 235765"/>
                <a:gd name="connsiteY0" fmla="*/ 129600 h 311367"/>
                <a:gd name="connsiteX1" fmla="*/ 145029 w 235765"/>
                <a:gd name="connsiteY1" fmla="*/ 178971 h 311367"/>
                <a:gd name="connsiteX2" fmla="*/ 209828 w 235765"/>
                <a:gd name="connsiteY2" fmla="*/ 299314 h 311367"/>
                <a:gd name="connsiteX3" fmla="*/ 234514 w 235765"/>
                <a:gd name="connsiteY3" fmla="*/ 293143 h 311367"/>
                <a:gd name="connsiteX4" fmla="*/ 30857 w 235765"/>
                <a:gd name="connsiteY4" fmla="*/ 0 h 311367"/>
                <a:gd name="connsiteX5" fmla="*/ 0 w 235765"/>
                <a:gd name="connsiteY5" fmla="*/ 129600 h 311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765" h="311367">
                  <a:moveTo>
                    <a:pt x="0" y="129600"/>
                  </a:moveTo>
                  <a:cubicBezTo>
                    <a:pt x="0" y="129600"/>
                    <a:pt x="92571" y="175886"/>
                    <a:pt x="145029" y="178971"/>
                  </a:cubicBezTo>
                  <a:cubicBezTo>
                    <a:pt x="197486" y="182057"/>
                    <a:pt x="209828" y="299314"/>
                    <a:pt x="209828" y="299314"/>
                  </a:cubicBezTo>
                  <a:cubicBezTo>
                    <a:pt x="209828" y="299314"/>
                    <a:pt x="231429" y="330171"/>
                    <a:pt x="234514" y="293143"/>
                  </a:cubicBezTo>
                  <a:cubicBezTo>
                    <a:pt x="240685" y="212914"/>
                    <a:pt x="231429" y="12343"/>
                    <a:pt x="30857" y="0"/>
                  </a:cubicBezTo>
                  <a:cubicBezTo>
                    <a:pt x="30857" y="0"/>
                    <a:pt x="21600" y="123429"/>
                    <a:pt x="0" y="129600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FCED8475-F939-416D-B3AD-F35AD026EB53}"/>
                </a:ext>
              </a:extLst>
            </p:cNvPr>
            <p:cNvSpPr/>
            <p:nvPr/>
          </p:nvSpPr>
          <p:spPr>
            <a:xfrm>
              <a:off x="12841392" y="2586266"/>
              <a:ext cx="77191" cy="114391"/>
            </a:xfrm>
            <a:custGeom>
              <a:avLst/>
              <a:gdLst>
                <a:gd name="connsiteX0" fmla="*/ 9348 w 77191"/>
                <a:gd name="connsiteY0" fmla="*/ 18259 h 114391"/>
                <a:gd name="connsiteX1" fmla="*/ 67977 w 77191"/>
                <a:gd name="connsiteY1" fmla="*/ 5916 h 114391"/>
                <a:gd name="connsiteX2" fmla="*/ 15520 w 77191"/>
                <a:gd name="connsiteY2" fmla="*/ 110830 h 114391"/>
                <a:gd name="connsiteX3" fmla="*/ 9348 w 77191"/>
                <a:gd name="connsiteY3" fmla="*/ 18259 h 114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91" h="114391">
                  <a:moveTo>
                    <a:pt x="9348" y="18259"/>
                  </a:moveTo>
                  <a:cubicBezTo>
                    <a:pt x="9348" y="18259"/>
                    <a:pt x="43291" y="-12598"/>
                    <a:pt x="67977" y="5916"/>
                  </a:cubicBezTo>
                  <a:cubicBezTo>
                    <a:pt x="95749" y="24430"/>
                    <a:pt x="55634" y="135516"/>
                    <a:pt x="15520" y="110830"/>
                  </a:cubicBezTo>
                  <a:cubicBezTo>
                    <a:pt x="-15337" y="92316"/>
                    <a:pt x="9348" y="18259"/>
                    <a:pt x="9348" y="18259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7AB4427E-A1C7-4BAA-8250-0F6B13F7A6A1}"/>
                </a:ext>
              </a:extLst>
            </p:cNvPr>
            <p:cNvSpPr/>
            <p:nvPr/>
          </p:nvSpPr>
          <p:spPr>
            <a:xfrm>
              <a:off x="12659426" y="2299039"/>
              <a:ext cx="217542" cy="296228"/>
            </a:xfrm>
            <a:custGeom>
              <a:avLst/>
              <a:gdLst>
                <a:gd name="connsiteX0" fmla="*/ 212914 w 217542"/>
                <a:gd name="connsiteY0" fmla="*/ 296229 h 296228"/>
                <a:gd name="connsiteX1" fmla="*/ 206742 w 217542"/>
                <a:gd name="connsiteY1" fmla="*/ 290057 h 296228"/>
                <a:gd name="connsiteX2" fmla="*/ 151200 w 217542"/>
                <a:gd name="connsiteY2" fmla="*/ 188229 h 296228"/>
                <a:gd name="connsiteX3" fmla="*/ 3085 w 217542"/>
                <a:gd name="connsiteY3" fmla="*/ 135771 h 296228"/>
                <a:gd name="connsiteX4" fmla="*/ 0 w 217542"/>
                <a:gd name="connsiteY4" fmla="*/ 132686 h 296228"/>
                <a:gd name="connsiteX5" fmla="*/ 0 w 217542"/>
                <a:gd name="connsiteY5" fmla="*/ 126514 h 296228"/>
                <a:gd name="connsiteX6" fmla="*/ 15429 w 217542"/>
                <a:gd name="connsiteY6" fmla="*/ 101829 h 296228"/>
                <a:gd name="connsiteX7" fmla="*/ 24685 w 217542"/>
                <a:gd name="connsiteY7" fmla="*/ 61714 h 296228"/>
                <a:gd name="connsiteX8" fmla="*/ 27771 w 217542"/>
                <a:gd name="connsiteY8" fmla="*/ 33943 h 296228"/>
                <a:gd name="connsiteX9" fmla="*/ 30857 w 217542"/>
                <a:gd name="connsiteY9" fmla="*/ 6171 h 296228"/>
                <a:gd name="connsiteX10" fmla="*/ 37028 w 217542"/>
                <a:gd name="connsiteY10" fmla="*/ 0 h 296228"/>
                <a:gd name="connsiteX11" fmla="*/ 43200 w 217542"/>
                <a:gd name="connsiteY11" fmla="*/ 6171 h 296228"/>
                <a:gd name="connsiteX12" fmla="*/ 40114 w 217542"/>
                <a:gd name="connsiteY12" fmla="*/ 33943 h 296228"/>
                <a:gd name="connsiteX13" fmla="*/ 37028 w 217542"/>
                <a:gd name="connsiteY13" fmla="*/ 61714 h 296228"/>
                <a:gd name="connsiteX14" fmla="*/ 27771 w 217542"/>
                <a:gd name="connsiteY14" fmla="*/ 108000 h 296228"/>
                <a:gd name="connsiteX15" fmla="*/ 12343 w 217542"/>
                <a:gd name="connsiteY15" fmla="*/ 129600 h 296228"/>
                <a:gd name="connsiteX16" fmla="*/ 148114 w 217542"/>
                <a:gd name="connsiteY16" fmla="*/ 175886 h 296228"/>
                <a:gd name="connsiteX17" fmla="*/ 212914 w 217542"/>
                <a:gd name="connsiteY17" fmla="*/ 290057 h 296228"/>
                <a:gd name="connsiteX18" fmla="*/ 212914 w 217542"/>
                <a:gd name="connsiteY18" fmla="*/ 296229 h 296228"/>
                <a:gd name="connsiteX19" fmla="*/ 212914 w 217542"/>
                <a:gd name="connsiteY19" fmla="*/ 296229 h 296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7542" h="296228">
                  <a:moveTo>
                    <a:pt x="212914" y="296229"/>
                  </a:moveTo>
                  <a:cubicBezTo>
                    <a:pt x="209828" y="296229"/>
                    <a:pt x="206742" y="293143"/>
                    <a:pt x="206742" y="290057"/>
                  </a:cubicBezTo>
                  <a:cubicBezTo>
                    <a:pt x="206742" y="290057"/>
                    <a:pt x="200571" y="194400"/>
                    <a:pt x="151200" y="188229"/>
                  </a:cubicBezTo>
                  <a:cubicBezTo>
                    <a:pt x="80228" y="178971"/>
                    <a:pt x="6171" y="138857"/>
                    <a:pt x="3085" y="135771"/>
                  </a:cubicBezTo>
                  <a:cubicBezTo>
                    <a:pt x="3085" y="135771"/>
                    <a:pt x="0" y="132686"/>
                    <a:pt x="0" y="132686"/>
                  </a:cubicBezTo>
                  <a:cubicBezTo>
                    <a:pt x="0" y="129600"/>
                    <a:pt x="0" y="129600"/>
                    <a:pt x="0" y="126514"/>
                  </a:cubicBezTo>
                  <a:cubicBezTo>
                    <a:pt x="6171" y="117257"/>
                    <a:pt x="12343" y="111086"/>
                    <a:pt x="15429" y="101829"/>
                  </a:cubicBezTo>
                  <a:cubicBezTo>
                    <a:pt x="21599" y="89486"/>
                    <a:pt x="21599" y="74057"/>
                    <a:pt x="24685" y="61714"/>
                  </a:cubicBezTo>
                  <a:cubicBezTo>
                    <a:pt x="24685" y="55543"/>
                    <a:pt x="24685" y="43200"/>
                    <a:pt x="27771" y="33943"/>
                  </a:cubicBezTo>
                  <a:cubicBezTo>
                    <a:pt x="27771" y="21600"/>
                    <a:pt x="30857" y="12343"/>
                    <a:pt x="30857" y="6171"/>
                  </a:cubicBezTo>
                  <a:cubicBezTo>
                    <a:pt x="30857" y="3086"/>
                    <a:pt x="33942" y="0"/>
                    <a:pt x="37028" y="0"/>
                  </a:cubicBezTo>
                  <a:cubicBezTo>
                    <a:pt x="40114" y="0"/>
                    <a:pt x="43200" y="3086"/>
                    <a:pt x="43200" y="6171"/>
                  </a:cubicBezTo>
                  <a:cubicBezTo>
                    <a:pt x="43200" y="12343"/>
                    <a:pt x="43200" y="24686"/>
                    <a:pt x="40114" y="33943"/>
                  </a:cubicBezTo>
                  <a:cubicBezTo>
                    <a:pt x="40114" y="46286"/>
                    <a:pt x="37028" y="55543"/>
                    <a:pt x="37028" y="61714"/>
                  </a:cubicBezTo>
                  <a:cubicBezTo>
                    <a:pt x="37028" y="77143"/>
                    <a:pt x="33942" y="92571"/>
                    <a:pt x="27771" y="108000"/>
                  </a:cubicBezTo>
                  <a:cubicBezTo>
                    <a:pt x="24685" y="114171"/>
                    <a:pt x="18514" y="123429"/>
                    <a:pt x="12343" y="129600"/>
                  </a:cubicBezTo>
                  <a:cubicBezTo>
                    <a:pt x="30857" y="138857"/>
                    <a:pt x="92571" y="169714"/>
                    <a:pt x="148114" y="175886"/>
                  </a:cubicBezTo>
                  <a:cubicBezTo>
                    <a:pt x="206742" y="182057"/>
                    <a:pt x="212914" y="283886"/>
                    <a:pt x="212914" y="290057"/>
                  </a:cubicBezTo>
                  <a:cubicBezTo>
                    <a:pt x="219085" y="293143"/>
                    <a:pt x="219085" y="296229"/>
                    <a:pt x="212914" y="296229"/>
                  </a:cubicBezTo>
                  <a:cubicBezTo>
                    <a:pt x="212914" y="296229"/>
                    <a:pt x="212914" y="296229"/>
                    <a:pt x="212914" y="296229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DF5E6424-4B50-4628-8AB5-CA831E7421EA}"/>
                </a:ext>
              </a:extLst>
            </p:cNvPr>
            <p:cNvSpPr/>
            <p:nvPr/>
          </p:nvSpPr>
          <p:spPr>
            <a:xfrm>
              <a:off x="12564540" y="2831496"/>
              <a:ext cx="225856" cy="84685"/>
            </a:xfrm>
            <a:custGeom>
              <a:avLst/>
              <a:gdLst>
                <a:gd name="connsiteX0" fmla="*/ 70200 w 225856"/>
                <a:gd name="connsiteY0" fmla="*/ 84686 h 84685"/>
                <a:gd name="connsiteX1" fmla="*/ 2314 w 225856"/>
                <a:gd name="connsiteY1" fmla="*/ 60000 h 84685"/>
                <a:gd name="connsiteX2" fmla="*/ 2314 w 225856"/>
                <a:gd name="connsiteY2" fmla="*/ 50743 h 84685"/>
                <a:gd name="connsiteX3" fmla="*/ 11571 w 225856"/>
                <a:gd name="connsiteY3" fmla="*/ 50743 h 84685"/>
                <a:gd name="connsiteX4" fmla="*/ 82542 w 225856"/>
                <a:gd name="connsiteY4" fmla="*/ 72343 h 84685"/>
                <a:gd name="connsiteX5" fmla="*/ 215229 w 225856"/>
                <a:gd name="connsiteY5" fmla="*/ 1371 h 84685"/>
                <a:gd name="connsiteX6" fmla="*/ 224485 w 225856"/>
                <a:gd name="connsiteY6" fmla="*/ 1371 h 84685"/>
                <a:gd name="connsiteX7" fmla="*/ 224485 w 225856"/>
                <a:gd name="connsiteY7" fmla="*/ 10629 h 84685"/>
                <a:gd name="connsiteX8" fmla="*/ 88714 w 225856"/>
                <a:gd name="connsiteY8" fmla="*/ 84686 h 84685"/>
                <a:gd name="connsiteX9" fmla="*/ 70200 w 225856"/>
                <a:gd name="connsiteY9" fmla="*/ 84686 h 84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856" h="84685">
                  <a:moveTo>
                    <a:pt x="70200" y="84686"/>
                  </a:moveTo>
                  <a:cubicBezTo>
                    <a:pt x="33172" y="84686"/>
                    <a:pt x="5399" y="60000"/>
                    <a:pt x="2314" y="60000"/>
                  </a:cubicBezTo>
                  <a:cubicBezTo>
                    <a:pt x="-771" y="56914"/>
                    <a:pt x="-771" y="53829"/>
                    <a:pt x="2314" y="50743"/>
                  </a:cubicBezTo>
                  <a:cubicBezTo>
                    <a:pt x="5399" y="47657"/>
                    <a:pt x="8485" y="47657"/>
                    <a:pt x="11571" y="50743"/>
                  </a:cubicBezTo>
                  <a:cubicBezTo>
                    <a:pt x="11571" y="50743"/>
                    <a:pt x="45514" y="78514"/>
                    <a:pt x="82542" y="72343"/>
                  </a:cubicBezTo>
                  <a:cubicBezTo>
                    <a:pt x="122657" y="66171"/>
                    <a:pt x="212143" y="1371"/>
                    <a:pt x="215229" y="1371"/>
                  </a:cubicBezTo>
                  <a:cubicBezTo>
                    <a:pt x="218314" y="-1714"/>
                    <a:pt x="221399" y="1371"/>
                    <a:pt x="224485" y="1371"/>
                  </a:cubicBezTo>
                  <a:cubicBezTo>
                    <a:pt x="227571" y="4457"/>
                    <a:pt x="224485" y="7543"/>
                    <a:pt x="224485" y="10629"/>
                  </a:cubicBezTo>
                  <a:cubicBezTo>
                    <a:pt x="221399" y="13714"/>
                    <a:pt x="128828" y="78514"/>
                    <a:pt x="88714" y="84686"/>
                  </a:cubicBezTo>
                  <a:cubicBezTo>
                    <a:pt x="79457" y="84686"/>
                    <a:pt x="73285" y="84686"/>
                    <a:pt x="70200" y="84686"/>
                  </a:cubicBezTo>
                  <a:close/>
                </a:path>
              </a:pathLst>
            </a:custGeom>
            <a:solidFill>
              <a:srgbClr val="E58777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C7028F85-6C57-4F19-BBF3-E2AE705C8A97}"/>
                </a:ext>
              </a:extLst>
            </p:cNvPr>
            <p:cNvSpPr/>
            <p:nvPr/>
          </p:nvSpPr>
          <p:spPr>
            <a:xfrm>
              <a:off x="12964912" y="2669324"/>
              <a:ext cx="122657" cy="299314"/>
            </a:xfrm>
            <a:custGeom>
              <a:avLst/>
              <a:gdLst>
                <a:gd name="connsiteX0" fmla="*/ 114171 w 122657"/>
                <a:gd name="connsiteY0" fmla="*/ 296229 h 299314"/>
                <a:gd name="connsiteX1" fmla="*/ 111086 w 122657"/>
                <a:gd name="connsiteY1" fmla="*/ 293143 h 299314"/>
                <a:gd name="connsiteX2" fmla="*/ 86400 w 122657"/>
                <a:gd name="connsiteY2" fmla="*/ 188229 h 299314"/>
                <a:gd name="connsiteX3" fmla="*/ 37028 w 122657"/>
                <a:gd name="connsiteY3" fmla="*/ 80229 h 299314"/>
                <a:gd name="connsiteX4" fmla="*/ 0 w 122657"/>
                <a:gd name="connsiteY4" fmla="*/ 6171 h 299314"/>
                <a:gd name="connsiteX5" fmla="*/ 6171 w 122657"/>
                <a:gd name="connsiteY5" fmla="*/ 0 h 299314"/>
                <a:gd name="connsiteX6" fmla="*/ 12343 w 122657"/>
                <a:gd name="connsiteY6" fmla="*/ 6171 h 299314"/>
                <a:gd name="connsiteX7" fmla="*/ 46286 w 122657"/>
                <a:gd name="connsiteY7" fmla="*/ 74057 h 299314"/>
                <a:gd name="connsiteX8" fmla="*/ 98742 w 122657"/>
                <a:gd name="connsiteY8" fmla="*/ 194400 h 299314"/>
                <a:gd name="connsiteX9" fmla="*/ 120343 w 122657"/>
                <a:gd name="connsiteY9" fmla="*/ 290057 h 299314"/>
                <a:gd name="connsiteX10" fmla="*/ 120343 w 122657"/>
                <a:gd name="connsiteY10" fmla="*/ 299314 h 299314"/>
                <a:gd name="connsiteX11" fmla="*/ 114171 w 122657"/>
                <a:gd name="connsiteY11" fmla="*/ 296229 h 299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657" h="299314">
                  <a:moveTo>
                    <a:pt x="114171" y="296229"/>
                  </a:moveTo>
                  <a:cubicBezTo>
                    <a:pt x="111086" y="296229"/>
                    <a:pt x="111086" y="296229"/>
                    <a:pt x="111086" y="293143"/>
                  </a:cubicBezTo>
                  <a:cubicBezTo>
                    <a:pt x="92571" y="271543"/>
                    <a:pt x="77143" y="225257"/>
                    <a:pt x="86400" y="188229"/>
                  </a:cubicBezTo>
                  <a:cubicBezTo>
                    <a:pt x="95657" y="151200"/>
                    <a:pt x="67885" y="108000"/>
                    <a:pt x="37028" y="80229"/>
                  </a:cubicBezTo>
                  <a:cubicBezTo>
                    <a:pt x="3086" y="52457"/>
                    <a:pt x="0" y="6171"/>
                    <a:pt x="0" y="6171"/>
                  </a:cubicBezTo>
                  <a:cubicBezTo>
                    <a:pt x="0" y="3086"/>
                    <a:pt x="3086" y="0"/>
                    <a:pt x="6171" y="0"/>
                  </a:cubicBezTo>
                  <a:cubicBezTo>
                    <a:pt x="9257" y="0"/>
                    <a:pt x="12343" y="3086"/>
                    <a:pt x="12343" y="6171"/>
                  </a:cubicBezTo>
                  <a:cubicBezTo>
                    <a:pt x="12343" y="6171"/>
                    <a:pt x="15429" y="49371"/>
                    <a:pt x="46286" y="74057"/>
                  </a:cubicBezTo>
                  <a:cubicBezTo>
                    <a:pt x="80229" y="101829"/>
                    <a:pt x="108000" y="151200"/>
                    <a:pt x="98742" y="194400"/>
                  </a:cubicBezTo>
                  <a:cubicBezTo>
                    <a:pt x="89486" y="231429"/>
                    <a:pt x="104914" y="271543"/>
                    <a:pt x="120343" y="290057"/>
                  </a:cubicBezTo>
                  <a:cubicBezTo>
                    <a:pt x="123429" y="293143"/>
                    <a:pt x="123429" y="296229"/>
                    <a:pt x="120343" y="299314"/>
                  </a:cubicBezTo>
                  <a:cubicBezTo>
                    <a:pt x="117257" y="296229"/>
                    <a:pt x="117257" y="296229"/>
                    <a:pt x="114171" y="296229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F5ECD6E1-8643-499B-999E-725B3BB7A8D8}"/>
                </a:ext>
              </a:extLst>
            </p:cNvPr>
            <p:cNvSpPr/>
            <p:nvPr/>
          </p:nvSpPr>
          <p:spPr>
            <a:xfrm>
              <a:off x="12330026" y="2640182"/>
              <a:ext cx="68485" cy="245142"/>
            </a:xfrm>
            <a:custGeom>
              <a:avLst/>
              <a:gdLst>
                <a:gd name="connsiteX0" fmla="*/ 5400 w 68485"/>
                <a:gd name="connsiteY0" fmla="*/ 245143 h 245142"/>
                <a:gd name="connsiteX1" fmla="*/ 2314 w 68485"/>
                <a:gd name="connsiteY1" fmla="*/ 242057 h 245142"/>
                <a:gd name="connsiteX2" fmla="*/ 2314 w 68485"/>
                <a:gd name="connsiteY2" fmla="*/ 232800 h 245142"/>
                <a:gd name="connsiteX3" fmla="*/ 14657 w 68485"/>
                <a:gd name="connsiteY3" fmla="*/ 93943 h 245142"/>
                <a:gd name="connsiteX4" fmla="*/ 57857 w 68485"/>
                <a:gd name="connsiteY4" fmla="*/ 1371 h 245142"/>
                <a:gd name="connsiteX5" fmla="*/ 67115 w 68485"/>
                <a:gd name="connsiteY5" fmla="*/ 1371 h 245142"/>
                <a:gd name="connsiteX6" fmla="*/ 67115 w 68485"/>
                <a:gd name="connsiteY6" fmla="*/ 10629 h 245142"/>
                <a:gd name="connsiteX7" fmla="*/ 30086 w 68485"/>
                <a:gd name="connsiteY7" fmla="*/ 90857 h 245142"/>
                <a:gd name="connsiteX8" fmla="*/ 14657 w 68485"/>
                <a:gd name="connsiteY8" fmla="*/ 242057 h 245142"/>
                <a:gd name="connsiteX9" fmla="*/ 5400 w 68485"/>
                <a:gd name="connsiteY9" fmla="*/ 245143 h 245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485" h="245142">
                  <a:moveTo>
                    <a:pt x="5400" y="245143"/>
                  </a:moveTo>
                  <a:cubicBezTo>
                    <a:pt x="2314" y="245143"/>
                    <a:pt x="2314" y="245143"/>
                    <a:pt x="2314" y="242057"/>
                  </a:cubicBezTo>
                  <a:cubicBezTo>
                    <a:pt x="-771" y="238971"/>
                    <a:pt x="-771" y="235886"/>
                    <a:pt x="2314" y="232800"/>
                  </a:cubicBezTo>
                  <a:cubicBezTo>
                    <a:pt x="33172" y="208114"/>
                    <a:pt x="27000" y="152571"/>
                    <a:pt x="14657" y="93943"/>
                  </a:cubicBezTo>
                  <a:cubicBezTo>
                    <a:pt x="2314" y="41486"/>
                    <a:pt x="54771" y="1371"/>
                    <a:pt x="57857" y="1371"/>
                  </a:cubicBezTo>
                  <a:cubicBezTo>
                    <a:pt x="60943" y="-1714"/>
                    <a:pt x="64029" y="1371"/>
                    <a:pt x="67115" y="1371"/>
                  </a:cubicBezTo>
                  <a:cubicBezTo>
                    <a:pt x="70200" y="4457"/>
                    <a:pt x="67115" y="7543"/>
                    <a:pt x="67115" y="10629"/>
                  </a:cubicBezTo>
                  <a:cubicBezTo>
                    <a:pt x="67115" y="10629"/>
                    <a:pt x="20829" y="47657"/>
                    <a:pt x="30086" y="90857"/>
                  </a:cubicBezTo>
                  <a:cubicBezTo>
                    <a:pt x="42428" y="149486"/>
                    <a:pt x="48600" y="211200"/>
                    <a:pt x="14657" y="242057"/>
                  </a:cubicBezTo>
                  <a:cubicBezTo>
                    <a:pt x="8485" y="245143"/>
                    <a:pt x="5400" y="245143"/>
                    <a:pt x="5400" y="245143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532159C6-5DB8-4081-B382-E0AF656DAA89}"/>
                </a:ext>
              </a:extLst>
            </p:cNvPr>
            <p:cNvSpPr/>
            <p:nvPr/>
          </p:nvSpPr>
          <p:spPr>
            <a:xfrm>
              <a:off x="12380340" y="2826696"/>
              <a:ext cx="60492" cy="120342"/>
            </a:xfrm>
            <a:custGeom>
              <a:avLst/>
              <a:gdLst>
                <a:gd name="connsiteX0" fmla="*/ 7542 w 60492"/>
                <a:gd name="connsiteY0" fmla="*/ 120343 h 120342"/>
                <a:gd name="connsiteX1" fmla="*/ 1372 w 60492"/>
                <a:gd name="connsiteY1" fmla="*/ 117257 h 120342"/>
                <a:gd name="connsiteX2" fmla="*/ 1372 w 60492"/>
                <a:gd name="connsiteY2" fmla="*/ 108000 h 120342"/>
                <a:gd name="connsiteX3" fmla="*/ 47657 w 60492"/>
                <a:gd name="connsiteY3" fmla="*/ 6171 h 120342"/>
                <a:gd name="connsiteX4" fmla="*/ 53828 w 60492"/>
                <a:gd name="connsiteY4" fmla="*/ 0 h 120342"/>
                <a:gd name="connsiteX5" fmla="*/ 60000 w 60492"/>
                <a:gd name="connsiteY5" fmla="*/ 6171 h 120342"/>
                <a:gd name="connsiteX6" fmla="*/ 7542 w 60492"/>
                <a:gd name="connsiteY6" fmla="*/ 117257 h 120342"/>
                <a:gd name="connsiteX7" fmla="*/ 7542 w 60492"/>
                <a:gd name="connsiteY7" fmla="*/ 120343 h 12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492" h="120342">
                  <a:moveTo>
                    <a:pt x="7542" y="120343"/>
                  </a:moveTo>
                  <a:cubicBezTo>
                    <a:pt x="4456" y="120343"/>
                    <a:pt x="4456" y="120343"/>
                    <a:pt x="1372" y="117257"/>
                  </a:cubicBezTo>
                  <a:cubicBezTo>
                    <a:pt x="-1714" y="114171"/>
                    <a:pt x="1372" y="111086"/>
                    <a:pt x="1372" y="108000"/>
                  </a:cubicBezTo>
                  <a:cubicBezTo>
                    <a:pt x="53828" y="70971"/>
                    <a:pt x="47657" y="9257"/>
                    <a:pt x="47657" y="6171"/>
                  </a:cubicBezTo>
                  <a:cubicBezTo>
                    <a:pt x="47657" y="3086"/>
                    <a:pt x="50742" y="0"/>
                    <a:pt x="53828" y="0"/>
                  </a:cubicBezTo>
                  <a:cubicBezTo>
                    <a:pt x="56914" y="0"/>
                    <a:pt x="60000" y="3086"/>
                    <a:pt x="60000" y="6171"/>
                  </a:cubicBezTo>
                  <a:cubicBezTo>
                    <a:pt x="60000" y="9257"/>
                    <a:pt x="69257" y="74057"/>
                    <a:pt x="7542" y="117257"/>
                  </a:cubicBezTo>
                  <a:cubicBezTo>
                    <a:pt x="10628" y="120343"/>
                    <a:pt x="10628" y="120343"/>
                    <a:pt x="7542" y="120343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1E826755-2982-4B83-A927-3AE08BE76795}"/>
                </a:ext>
              </a:extLst>
            </p:cNvPr>
            <p:cNvSpPr/>
            <p:nvPr/>
          </p:nvSpPr>
          <p:spPr>
            <a:xfrm>
              <a:off x="11867131" y="4110458"/>
              <a:ext cx="337151" cy="364015"/>
            </a:xfrm>
            <a:custGeom>
              <a:avLst/>
              <a:gdLst>
                <a:gd name="connsiteX0" fmla="*/ 150466 w 337151"/>
                <a:gd name="connsiteY0" fmla="*/ 333152 h 364015"/>
                <a:gd name="connsiteX1" fmla="*/ 243037 w 337151"/>
                <a:gd name="connsiteY1" fmla="*/ 357838 h 364015"/>
                <a:gd name="connsiteX2" fmla="*/ 276980 w 337151"/>
                <a:gd name="connsiteY2" fmla="*/ 274524 h 364015"/>
                <a:gd name="connsiteX3" fmla="*/ 326352 w 337151"/>
                <a:gd name="connsiteY3" fmla="*/ 237495 h 364015"/>
                <a:gd name="connsiteX4" fmla="*/ 323266 w 337151"/>
                <a:gd name="connsiteY4" fmla="*/ 200467 h 364015"/>
                <a:gd name="connsiteX5" fmla="*/ 323266 w 337151"/>
                <a:gd name="connsiteY5" fmla="*/ 104809 h 364015"/>
                <a:gd name="connsiteX6" fmla="*/ 310923 w 337151"/>
                <a:gd name="connsiteY6" fmla="*/ 67781 h 364015"/>
                <a:gd name="connsiteX7" fmla="*/ 267723 w 337151"/>
                <a:gd name="connsiteY7" fmla="*/ 49267 h 364015"/>
                <a:gd name="connsiteX8" fmla="*/ 239951 w 337151"/>
                <a:gd name="connsiteY8" fmla="*/ 9152 h 364015"/>
                <a:gd name="connsiteX9" fmla="*/ 181323 w 337151"/>
                <a:gd name="connsiteY9" fmla="*/ 12238 h 364015"/>
                <a:gd name="connsiteX10" fmla="*/ 138123 w 337151"/>
                <a:gd name="connsiteY10" fmla="*/ 15324 h 364015"/>
                <a:gd name="connsiteX11" fmla="*/ 45551 w 337151"/>
                <a:gd name="connsiteY11" fmla="*/ 58524 h 364015"/>
                <a:gd name="connsiteX12" fmla="*/ 23951 w 337151"/>
                <a:gd name="connsiteY12" fmla="*/ 104809 h 364015"/>
                <a:gd name="connsiteX13" fmla="*/ 45551 w 337151"/>
                <a:gd name="connsiteY13" fmla="*/ 277609 h 364015"/>
                <a:gd name="connsiteX14" fmla="*/ 150466 w 337151"/>
                <a:gd name="connsiteY14" fmla="*/ 333152 h 364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7151" h="364015">
                  <a:moveTo>
                    <a:pt x="150466" y="333152"/>
                  </a:moveTo>
                  <a:cubicBezTo>
                    <a:pt x="175152" y="357838"/>
                    <a:pt x="209094" y="373267"/>
                    <a:pt x="243037" y="357838"/>
                  </a:cubicBezTo>
                  <a:cubicBezTo>
                    <a:pt x="270808" y="342409"/>
                    <a:pt x="280066" y="308467"/>
                    <a:pt x="276980" y="274524"/>
                  </a:cubicBezTo>
                  <a:cubicBezTo>
                    <a:pt x="298580" y="271438"/>
                    <a:pt x="317094" y="262181"/>
                    <a:pt x="326352" y="237495"/>
                  </a:cubicBezTo>
                  <a:cubicBezTo>
                    <a:pt x="332523" y="222067"/>
                    <a:pt x="329438" y="209724"/>
                    <a:pt x="323266" y="200467"/>
                  </a:cubicBezTo>
                  <a:cubicBezTo>
                    <a:pt x="341780" y="172695"/>
                    <a:pt x="341780" y="129495"/>
                    <a:pt x="323266" y="104809"/>
                  </a:cubicBezTo>
                  <a:cubicBezTo>
                    <a:pt x="326352" y="92467"/>
                    <a:pt x="323266" y="77038"/>
                    <a:pt x="310923" y="67781"/>
                  </a:cubicBezTo>
                  <a:cubicBezTo>
                    <a:pt x="298580" y="52352"/>
                    <a:pt x="283152" y="49267"/>
                    <a:pt x="267723" y="49267"/>
                  </a:cubicBezTo>
                  <a:cubicBezTo>
                    <a:pt x="264637" y="33838"/>
                    <a:pt x="258466" y="18409"/>
                    <a:pt x="239951" y="9152"/>
                  </a:cubicBezTo>
                  <a:cubicBezTo>
                    <a:pt x="218352" y="-6276"/>
                    <a:pt x="196751" y="-105"/>
                    <a:pt x="181323" y="12238"/>
                  </a:cubicBezTo>
                  <a:cubicBezTo>
                    <a:pt x="168980" y="2981"/>
                    <a:pt x="147380" y="-105"/>
                    <a:pt x="138123" y="15324"/>
                  </a:cubicBezTo>
                  <a:cubicBezTo>
                    <a:pt x="119608" y="40010"/>
                    <a:pt x="70237" y="36924"/>
                    <a:pt x="45551" y="58524"/>
                  </a:cubicBezTo>
                  <a:cubicBezTo>
                    <a:pt x="30123" y="70867"/>
                    <a:pt x="27037" y="86295"/>
                    <a:pt x="23951" y="104809"/>
                  </a:cubicBezTo>
                  <a:cubicBezTo>
                    <a:pt x="-16163" y="144924"/>
                    <a:pt x="-3820" y="249838"/>
                    <a:pt x="45551" y="277609"/>
                  </a:cubicBezTo>
                  <a:cubicBezTo>
                    <a:pt x="57894" y="320809"/>
                    <a:pt x="104180" y="351667"/>
                    <a:pt x="150466" y="333152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0" name="图形 1">
              <a:extLst>
                <a:ext uri="{FF2B5EF4-FFF2-40B4-BE49-F238E27FC236}">
                  <a16:creationId xmlns:a16="http://schemas.microsoft.com/office/drawing/2014/main" id="{CFFABF87-FB21-4308-9786-3D501EDDB2D0}"/>
                </a:ext>
              </a:extLst>
            </p:cNvPr>
            <p:cNvGrpSpPr/>
            <p:nvPr/>
          </p:nvGrpSpPr>
          <p:grpSpPr>
            <a:xfrm>
              <a:off x="12005254" y="4094794"/>
              <a:ext cx="328099" cy="263507"/>
              <a:chOff x="12005254" y="4094794"/>
              <a:chExt cx="328099" cy="263507"/>
            </a:xfrm>
          </p:grpSpPr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BA502CD6-3377-44F6-A8ED-FB5822DD8E11}"/>
                  </a:ext>
                </a:extLst>
              </p:cNvPr>
              <p:cNvSpPr/>
              <p:nvPr/>
            </p:nvSpPr>
            <p:spPr>
              <a:xfrm>
                <a:off x="12010182" y="4094794"/>
                <a:ext cx="323171" cy="263507"/>
              </a:xfrm>
              <a:custGeom>
                <a:avLst/>
                <a:gdLst>
                  <a:gd name="connsiteX0" fmla="*/ 322158 w 323171"/>
                  <a:gd name="connsiteY0" fmla="*/ 86530 h 263507"/>
                  <a:gd name="connsiteX1" fmla="*/ 248101 w 323171"/>
                  <a:gd name="connsiteY1" fmla="*/ 130 h 263507"/>
                  <a:gd name="connsiteX2" fmla="*/ 41358 w 323171"/>
                  <a:gd name="connsiteY2" fmla="*/ 111216 h 263507"/>
                  <a:gd name="connsiteX3" fmla="*/ 4329 w 323171"/>
                  <a:gd name="connsiteY3" fmla="*/ 166759 h 263507"/>
                  <a:gd name="connsiteX4" fmla="*/ 22844 w 323171"/>
                  <a:gd name="connsiteY4" fmla="*/ 166759 h 263507"/>
                  <a:gd name="connsiteX5" fmla="*/ 59873 w 323171"/>
                  <a:gd name="connsiteY5" fmla="*/ 151330 h 263507"/>
                  <a:gd name="connsiteX6" fmla="*/ 22844 w 323171"/>
                  <a:gd name="connsiteY6" fmla="*/ 194530 h 263507"/>
                  <a:gd name="connsiteX7" fmla="*/ 4329 w 323171"/>
                  <a:gd name="connsiteY7" fmla="*/ 250073 h 263507"/>
                  <a:gd name="connsiteX8" fmla="*/ 32101 w 323171"/>
                  <a:gd name="connsiteY8" fmla="*/ 250073 h 263507"/>
                  <a:gd name="connsiteX9" fmla="*/ 38272 w 323171"/>
                  <a:gd name="connsiteY9" fmla="*/ 262416 h 263507"/>
                  <a:gd name="connsiteX10" fmla="*/ 103073 w 323171"/>
                  <a:gd name="connsiteY10" fmla="*/ 237730 h 263507"/>
                  <a:gd name="connsiteX11" fmla="*/ 143186 w 323171"/>
                  <a:gd name="connsiteY11" fmla="*/ 206873 h 263507"/>
                  <a:gd name="connsiteX12" fmla="*/ 124673 w 323171"/>
                  <a:gd name="connsiteY12" fmla="*/ 262416 h 263507"/>
                  <a:gd name="connsiteX13" fmla="*/ 167873 w 323171"/>
                  <a:gd name="connsiteY13" fmla="*/ 237730 h 263507"/>
                  <a:gd name="connsiteX14" fmla="*/ 232673 w 323171"/>
                  <a:gd name="connsiteY14" fmla="*/ 176016 h 263507"/>
                  <a:gd name="connsiteX15" fmla="*/ 300558 w 323171"/>
                  <a:gd name="connsiteY15" fmla="*/ 123559 h 263507"/>
                  <a:gd name="connsiteX16" fmla="*/ 322158 w 323171"/>
                  <a:gd name="connsiteY16" fmla="*/ 86530 h 263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23171" h="263507">
                    <a:moveTo>
                      <a:pt x="322158" y="86530"/>
                    </a:moveTo>
                    <a:cubicBezTo>
                      <a:pt x="312901" y="49502"/>
                      <a:pt x="248101" y="-2956"/>
                      <a:pt x="248101" y="130"/>
                    </a:cubicBezTo>
                    <a:cubicBezTo>
                      <a:pt x="180215" y="37159"/>
                      <a:pt x="106158" y="64930"/>
                      <a:pt x="41358" y="111216"/>
                    </a:cubicBezTo>
                    <a:cubicBezTo>
                      <a:pt x="32101" y="117387"/>
                      <a:pt x="-14184" y="151330"/>
                      <a:pt x="4329" y="166759"/>
                    </a:cubicBezTo>
                    <a:cubicBezTo>
                      <a:pt x="10501" y="172930"/>
                      <a:pt x="16673" y="169844"/>
                      <a:pt x="22844" y="166759"/>
                    </a:cubicBezTo>
                    <a:cubicBezTo>
                      <a:pt x="35186" y="163673"/>
                      <a:pt x="47530" y="157502"/>
                      <a:pt x="59873" y="151330"/>
                    </a:cubicBezTo>
                    <a:cubicBezTo>
                      <a:pt x="47530" y="163673"/>
                      <a:pt x="35186" y="179102"/>
                      <a:pt x="22844" y="194530"/>
                    </a:cubicBezTo>
                    <a:cubicBezTo>
                      <a:pt x="13587" y="206873"/>
                      <a:pt x="-4927" y="234644"/>
                      <a:pt x="4329" y="250073"/>
                    </a:cubicBezTo>
                    <a:cubicBezTo>
                      <a:pt x="10501" y="259330"/>
                      <a:pt x="19758" y="256245"/>
                      <a:pt x="32101" y="250073"/>
                    </a:cubicBezTo>
                    <a:cubicBezTo>
                      <a:pt x="32101" y="256245"/>
                      <a:pt x="32101" y="259330"/>
                      <a:pt x="38272" y="262416"/>
                    </a:cubicBezTo>
                    <a:cubicBezTo>
                      <a:pt x="56787" y="268587"/>
                      <a:pt x="87644" y="246987"/>
                      <a:pt x="103073" y="237730"/>
                    </a:cubicBezTo>
                    <a:cubicBezTo>
                      <a:pt x="115415" y="228473"/>
                      <a:pt x="130844" y="219216"/>
                      <a:pt x="143186" y="206873"/>
                    </a:cubicBezTo>
                    <a:cubicBezTo>
                      <a:pt x="124673" y="228473"/>
                      <a:pt x="103073" y="256245"/>
                      <a:pt x="124673" y="262416"/>
                    </a:cubicBezTo>
                    <a:cubicBezTo>
                      <a:pt x="137016" y="265502"/>
                      <a:pt x="158615" y="246987"/>
                      <a:pt x="167873" y="237730"/>
                    </a:cubicBezTo>
                    <a:cubicBezTo>
                      <a:pt x="189472" y="219216"/>
                      <a:pt x="211073" y="197616"/>
                      <a:pt x="232673" y="176016"/>
                    </a:cubicBezTo>
                    <a:cubicBezTo>
                      <a:pt x="254272" y="157502"/>
                      <a:pt x="278959" y="142073"/>
                      <a:pt x="300558" y="123559"/>
                    </a:cubicBezTo>
                    <a:cubicBezTo>
                      <a:pt x="322158" y="114302"/>
                      <a:pt x="325244" y="108130"/>
                      <a:pt x="322158" y="86530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15979EA6-5F9C-4749-BF03-634BE5CC77C7}"/>
                  </a:ext>
                </a:extLst>
              </p:cNvPr>
              <p:cNvSpPr/>
              <p:nvPr/>
            </p:nvSpPr>
            <p:spPr>
              <a:xfrm>
                <a:off x="12005254" y="4153553"/>
                <a:ext cx="132685" cy="117257"/>
              </a:xfrm>
              <a:custGeom>
                <a:avLst/>
                <a:gdLst>
                  <a:gd name="connsiteX0" fmla="*/ 21600 w 132685"/>
                  <a:gd name="connsiteY0" fmla="*/ 117257 h 117257"/>
                  <a:gd name="connsiteX1" fmla="*/ 6172 w 132685"/>
                  <a:gd name="connsiteY1" fmla="*/ 114171 h 117257"/>
                  <a:gd name="connsiteX2" fmla="*/ 0 w 132685"/>
                  <a:gd name="connsiteY2" fmla="*/ 101829 h 117257"/>
                  <a:gd name="connsiteX3" fmla="*/ 123429 w 132685"/>
                  <a:gd name="connsiteY3" fmla="*/ 0 h 117257"/>
                  <a:gd name="connsiteX4" fmla="*/ 132685 w 132685"/>
                  <a:gd name="connsiteY4" fmla="*/ 3086 h 117257"/>
                  <a:gd name="connsiteX5" fmla="*/ 129600 w 132685"/>
                  <a:gd name="connsiteY5" fmla="*/ 12343 h 117257"/>
                  <a:gd name="connsiteX6" fmla="*/ 12343 w 132685"/>
                  <a:gd name="connsiteY6" fmla="*/ 104914 h 117257"/>
                  <a:gd name="connsiteX7" fmla="*/ 12343 w 132685"/>
                  <a:gd name="connsiteY7" fmla="*/ 108000 h 117257"/>
                  <a:gd name="connsiteX8" fmla="*/ 61714 w 132685"/>
                  <a:gd name="connsiteY8" fmla="*/ 92571 h 117257"/>
                  <a:gd name="connsiteX9" fmla="*/ 126514 w 132685"/>
                  <a:gd name="connsiteY9" fmla="*/ 49371 h 117257"/>
                  <a:gd name="connsiteX10" fmla="*/ 132685 w 132685"/>
                  <a:gd name="connsiteY10" fmla="*/ 55543 h 117257"/>
                  <a:gd name="connsiteX11" fmla="*/ 126514 w 132685"/>
                  <a:gd name="connsiteY11" fmla="*/ 61714 h 117257"/>
                  <a:gd name="connsiteX12" fmla="*/ 67886 w 132685"/>
                  <a:gd name="connsiteY12" fmla="*/ 101829 h 117257"/>
                  <a:gd name="connsiteX13" fmla="*/ 21600 w 132685"/>
                  <a:gd name="connsiteY13" fmla="*/ 117257 h 117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685" h="117257">
                    <a:moveTo>
                      <a:pt x="21600" y="117257"/>
                    </a:moveTo>
                    <a:cubicBezTo>
                      <a:pt x="15429" y="117257"/>
                      <a:pt x="12343" y="117257"/>
                      <a:pt x="6172" y="114171"/>
                    </a:cubicBezTo>
                    <a:cubicBezTo>
                      <a:pt x="0" y="111086"/>
                      <a:pt x="0" y="104914"/>
                      <a:pt x="0" y="101829"/>
                    </a:cubicBezTo>
                    <a:cubicBezTo>
                      <a:pt x="0" y="77143"/>
                      <a:pt x="52458" y="33943"/>
                      <a:pt x="123429" y="0"/>
                    </a:cubicBezTo>
                    <a:cubicBezTo>
                      <a:pt x="126514" y="0"/>
                      <a:pt x="129600" y="0"/>
                      <a:pt x="132685" y="3086"/>
                    </a:cubicBezTo>
                    <a:cubicBezTo>
                      <a:pt x="132685" y="6171"/>
                      <a:pt x="132685" y="9257"/>
                      <a:pt x="129600" y="12343"/>
                    </a:cubicBezTo>
                    <a:cubicBezTo>
                      <a:pt x="52458" y="52457"/>
                      <a:pt x="12343" y="89486"/>
                      <a:pt x="12343" y="104914"/>
                    </a:cubicBezTo>
                    <a:cubicBezTo>
                      <a:pt x="12343" y="108000"/>
                      <a:pt x="12343" y="108000"/>
                      <a:pt x="12343" y="108000"/>
                    </a:cubicBezTo>
                    <a:cubicBezTo>
                      <a:pt x="21600" y="114171"/>
                      <a:pt x="49372" y="101829"/>
                      <a:pt x="61714" y="92571"/>
                    </a:cubicBezTo>
                    <a:cubicBezTo>
                      <a:pt x="74057" y="83314"/>
                      <a:pt x="114172" y="52457"/>
                      <a:pt x="126514" y="49371"/>
                    </a:cubicBezTo>
                    <a:cubicBezTo>
                      <a:pt x="129600" y="49371"/>
                      <a:pt x="132685" y="52457"/>
                      <a:pt x="132685" y="55543"/>
                    </a:cubicBezTo>
                    <a:cubicBezTo>
                      <a:pt x="132685" y="58629"/>
                      <a:pt x="129600" y="61714"/>
                      <a:pt x="126514" y="61714"/>
                    </a:cubicBezTo>
                    <a:cubicBezTo>
                      <a:pt x="120343" y="61714"/>
                      <a:pt x="92571" y="83314"/>
                      <a:pt x="67886" y="101829"/>
                    </a:cubicBezTo>
                    <a:cubicBezTo>
                      <a:pt x="67886" y="101829"/>
                      <a:pt x="43200" y="117257"/>
                      <a:pt x="21600" y="11725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00C9DD1B-C3BC-4168-BCA3-A5FA88CD656B}"/>
                  </a:ext>
                </a:extLst>
              </p:cNvPr>
              <p:cNvSpPr/>
              <p:nvPr/>
            </p:nvSpPr>
            <p:spPr>
              <a:xfrm>
                <a:off x="12043054" y="4239953"/>
                <a:ext cx="116485" cy="111085"/>
              </a:xfrm>
              <a:custGeom>
                <a:avLst/>
                <a:gdLst>
                  <a:gd name="connsiteX0" fmla="*/ 5400 w 116485"/>
                  <a:gd name="connsiteY0" fmla="*/ 111086 h 111085"/>
                  <a:gd name="connsiteX1" fmla="*/ 2314 w 116485"/>
                  <a:gd name="connsiteY1" fmla="*/ 111086 h 111085"/>
                  <a:gd name="connsiteX2" fmla="*/ 2314 w 116485"/>
                  <a:gd name="connsiteY2" fmla="*/ 101828 h 111085"/>
                  <a:gd name="connsiteX3" fmla="*/ 107229 w 116485"/>
                  <a:gd name="connsiteY3" fmla="*/ 0 h 111085"/>
                  <a:gd name="connsiteX4" fmla="*/ 116486 w 116485"/>
                  <a:gd name="connsiteY4" fmla="*/ 3086 h 111085"/>
                  <a:gd name="connsiteX5" fmla="*/ 113400 w 116485"/>
                  <a:gd name="connsiteY5" fmla="*/ 12343 h 111085"/>
                  <a:gd name="connsiteX6" fmla="*/ 11571 w 116485"/>
                  <a:gd name="connsiteY6" fmla="*/ 111086 h 111085"/>
                  <a:gd name="connsiteX7" fmla="*/ 5400 w 116485"/>
                  <a:gd name="connsiteY7" fmla="*/ 111086 h 111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6485" h="111085">
                    <a:moveTo>
                      <a:pt x="5400" y="111086"/>
                    </a:moveTo>
                    <a:cubicBezTo>
                      <a:pt x="5400" y="111086"/>
                      <a:pt x="2314" y="111086"/>
                      <a:pt x="2314" y="111086"/>
                    </a:cubicBezTo>
                    <a:cubicBezTo>
                      <a:pt x="-771" y="108000"/>
                      <a:pt x="-771" y="104914"/>
                      <a:pt x="2314" y="101828"/>
                    </a:cubicBezTo>
                    <a:cubicBezTo>
                      <a:pt x="5400" y="98743"/>
                      <a:pt x="79457" y="12343"/>
                      <a:pt x="107229" y="0"/>
                    </a:cubicBezTo>
                    <a:cubicBezTo>
                      <a:pt x="110314" y="0"/>
                      <a:pt x="113400" y="0"/>
                      <a:pt x="116486" y="3086"/>
                    </a:cubicBezTo>
                    <a:cubicBezTo>
                      <a:pt x="116486" y="6171"/>
                      <a:pt x="116486" y="9257"/>
                      <a:pt x="113400" y="12343"/>
                    </a:cubicBezTo>
                    <a:cubicBezTo>
                      <a:pt x="91800" y="21600"/>
                      <a:pt x="33171" y="86400"/>
                      <a:pt x="11571" y="111086"/>
                    </a:cubicBezTo>
                    <a:cubicBezTo>
                      <a:pt x="8486" y="111086"/>
                      <a:pt x="5400" y="111086"/>
                      <a:pt x="5400" y="11108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17F39B48-B0CC-4491-8086-AF3BD453648D}"/>
                  </a:ext>
                </a:extLst>
              </p:cNvPr>
              <p:cNvSpPr/>
              <p:nvPr/>
            </p:nvSpPr>
            <p:spPr>
              <a:xfrm>
                <a:off x="12148912" y="4266353"/>
                <a:ext cx="49028" cy="41485"/>
              </a:xfrm>
              <a:custGeom>
                <a:avLst/>
                <a:gdLst>
                  <a:gd name="connsiteX0" fmla="*/ 7542 w 49028"/>
                  <a:gd name="connsiteY0" fmla="*/ 41486 h 41485"/>
                  <a:gd name="connsiteX1" fmla="*/ 1372 w 49028"/>
                  <a:gd name="connsiteY1" fmla="*/ 38400 h 41485"/>
                  <a:gd name="connsiteX2" fmla="*/ 1372 w 49028"/>
                  <a:gd name="connsiteY2" fmla="*/ 29143 h 41485"/>
                  <a:gd name="connsiteX3" fmla="*/ 38400 w 49028"/>
                  <a:gd name="connsiteY3" fmla="*/ 1371 h 41485"/>
                  <a:gd name="connsiteX4" fmla="*/ 47657 w 49028"/>
                  <a:gd name="connsiteY4" fmla="*/ 1371 h 41485"/>
                  <a:gd name="connsiteX5" fmla="*/ 47657 w 49028"/>
                  <a:gd name="connsiteY5" fmla="*/ 10629 h 41485"/>
                  <a:gd name="connsiteX6" fmla="*/ 10628 w 49028"/>
                  <a:gd name="connsiteY6" fmla="*/ 38400 h 41485"/>
                  <a:gd name="connsiteX7" fmla="*/ 7542 w 49028"/>
                  <a:gd name="connsiteY7" fmla="*/ 41486 h 41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028" h="41485">
                    <a:moveTo>
                      <a:pt x="7542" y="41486"/>
                    </a:moveTo>
                    <a:cubicBezTo>
                      <a:pt x="4456" y="41486"/>
                      <a:pt x="4456" y="41486"/>
                      <a:pt x="1372" y="38400"/>
                    </a:cubicBezTo>
                    <a:cubicBezTo>
                      <a:pt x="-1714" y="35314"/>
                      <a:pt x="1372" y="32229"/>
                      <a:pt x="1372" y="29143"/>
                    </a:cubicBezTo>
                    <a:lnTo>
                      <a:pt x="38400" y="1371"/>
                    </a:lnTo>
                    <a:cubicBezTo>
                      <a:pt x="41485" y="-1714"/>
                      <a:pt x="44571" y="1371"/>
                      <a:pt x="47657" y="1371"/>
                    </a:cubicBezTo>
                    <a:cubicBezTo>
                      <a:pt x="50742" y="4457"/>
                      <a:pt x="47657" y="7543"/>
                      <a:pt x="47657" y="10629"/>
                    </a:cubicBezTo>
                    <a:lnTo>
                      <a:pt x="10628" y="38400"/>
                    </a:lnTo>
                    <a:cubicBezTo>
                      <a:pt x="10628" y="41486"/>
                      <a:pt x="10628" y="41486"/>
                      <a:pt x="7542" y="4148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55F70281-A4E7-4F61-8A9E-06C9D353ABCE}"/>
                  </a:ext>
                </a:extLst>
              </p:cNvPr>
              <p:cNvSpPr/>
              <p:nvPr/>
            </p:nvSpPr>
            <p:spPr>
              <a:xfrm>
                <a:off x="12174969" y="4172067"/>
                <a:ext cx="61714" cy="83314"/>
              </a:xfrm>
              <a:custGeom>
                <a:avLst/>
                <a:gdLst>
                  <a:gd name="connsiteX0" fmla="*/ 55542 w 61714"/>
                  <a:gd name="connsiteY0" fmla="*/ 83314 h 83314"/>
                  <a:gd name="connsiteX1" fmla="*/ 52458 w 61714"/>
                  <a:gd name="connsiteY1" fmla="*/ 83314 h 83314"/>
                  <a:gd name="connsiteX2" fmla="*/ 0 w 61714"/>
                  <a:gd name="connsiteY2" fmla="*/ 6172 h 83314"/>
                  <a:gd name="connsiteX3" fmla="*/ 6172 w 61714"/>
                  <a:gd name="connsiteY3" fmla="*/ 0 h 83314"/>
                  <a:gd name="connsiteX4" fmla="*/ 12343 w 61714"/>
                  <a:gd name="connsiteY4" fmla="*/ 6172 h 83314"/>
                  <a:gd name="connsiteX5" fmla="*/ 58628 w 61714"/>
                  <a:gd name="connsiteY5" fmla="*/ 74057 h 83314"/>
                  <a:gd name="connsiteX6" fmla="*/ 61714 w 61714"/>
                  <a:gd name="connsiteY6" fmla="*/ 83314 h 83314"/>
                  <a:gd name="connsiteX7" fmla="*/ 55542 w 61714"/>
                  <a:gd name="connsiteY7" fmla="*/ 83314 h 83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1714" h="83314">
                    <a:moveTo>
                      <a:pt x="55542" y="83314"/>
                    </a:moveTo>
                    <a:cubicBezTo>
                      <a:pt x="55542" y="83314"/>
                      <a:pt x="52458" y="83314"/>
                      <a:pt x="52458" y="83314"/>
                    </a:cubicBezTo>
                    <a:cubicBezTo>
                      <a:pt x="9257" y="55543"/>
                      <a:pt x="0" y="9257"/>
                      <a:pt x="0" y="6172"/>
                    </a:cubicBezTo>
                    <a:cubicBezTo>
                      <a:pt x="0" y="3086"/>
                      <a:pt x="3086" y="0"/>
                      <a:pt x="6172" y="0"/>
                    </a:cubicBezTo>
                    <a:cubicBezTo>
                      <a:pt x="9257" y="0"/>
                      <a:pt x="12343" y="3086"/>
                      <a:pt x="12343" y="6172"/>
                    </a:cubicBezTo>
                    <a:cubicBezTo>
                      <a:pt x="12343" y="6172"/>
                      <a:pt x="21600" y="49371"/>
                      <a:pt x="58628" y="74057"/>
                    </a:cubicBezTo>
                    <a:cubicBezTo>
                      <a:pt x="61714" y="77143"/>
                      <a:pt x="61714" y="80229"/>
                      <a:pt x="61714" y="83314"/>
                    </a:cubicBezTo>
                    <a:cubicBezTo>
                      <a:pt x="58628" y="80229"/>
                      <a:pt x="55542" y="83314"/>
                      <a:pt x="55542" y="8331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E913222E-9943-4E11-934F-C2B64C5F468A}"/>
                </a:ext>
              </a:extLst>
            </p:cNvPr>
            <p:cNvSpPr/>
            <p:nvPr/>
          </p:nvSpPr>
          <p:spPr>
            <a:xfrm>
              <a:off x="12224340" y="3056118"/>
              <a:ext cx="906552" cy="1177776"/>
            </a:xfrm>
            <a:custGeom>
              <a:avLst/>
              <a:gdLst>
                <a:gd name="connsiteX0" fmla="*/ 567771 w 906552"/>
                <a:gd name="connsiteY0" fmla="*/ 255035 h 1177776"/>
                <a:gd name="connsiteX1" fmla="*/ 444343 w 906552"/>
                <a:gd name="connsiteY1" fmla="*/ 594463 h 1177776"/>
                <a:gd name="connsiteX2" fmla="*/ 0 w 906552"/>
                <a:gd name="connsiteY2" fmla="*/ 1014121 h 1177776"/>
                <a:gd name="connsiteX3" fmla="*/ 101828 w 906552"/>
                <a:gd name="connsiteY3" fmla="*/ 1177663 h 1177776"/>
                <a:gd name="connsiteX4" fmla="*/ 663429 w 906552"/>
                <a:gd name="connsiteY4" fmla="*/ 770349 h 1177776"/>
                <a:gd name="connsiteX5" fmla="*/ 901028 w 906552"/>
                <a:gd name="connsiteY5" fmla="*/ 264292 h 1177776"/>
                <a:gd name="connsiteX6" fmla="*/ 836229 w 906552"/>
                <a:gd name="connsiteY6" fmla="*/ 2006 h 1177776"/>
                <a:gd name="connsiteX7" fmla="*/ 567771 w 906552"/>
                <a:gd name="connsiteY7" fmla="*/ 255035 h 1177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6552" h="1177776">
                  <a:moveTo>
                    <a:pt x="567771" y="255035"/>
                  </a:moveTo>
                  <a:cubicBezTo>
                    <a:pt x="536914" y="341435"/>
                    <a:pt x="490628" y="514235"/>
                    <a:pt x="444343" y="594463"/>
                  </a:cubicBezTo>
                  <a:cubicBezTo>
                    <a:pt x="376457" y="711721"/>
                    <a:pt x="0" y="1007949"/>
                    <a:pt x="0" y="1014121"/>
                  </a:cubicBezTo>
                  <a:cubicBezTo>
                    <a:pt x="12343" y="1085092"/>
                    <a:pt x="46286" y="1134463"/>
                    <a:pt x="101828" y="1177663"/>
                  </a:cubicBezTo>
                  <a:cubicBezTo>
                    <a:pt x="111086" y="1183835"/>
                    <a:pt x="515314" y="936978"/>
                    <a:pt x="663429" y="770349"/>
                  </a:cubicBezTo>
                  <a:cubicBezTo>
                    <a:pt x="709714" y="720978"/>
                    <a:pt x="870171" y="440178"/>
                    <a:pt x="901028" y="264292"/>
                  </a:cubicBezTo>
                  <a:cubicBezTo>
                    <a:pt x="916457" y="177892"/>
                    <a:pt x="901028" y="14349"/>
                    <a:pt x="836229" y="2006"/>
                  </a:cubicBezTo>
                  <a:cubicBezTo>
                    <a:pt x="737486" y="-19594"/>
                    <a:pt x="607885" y="137778"/>
                    <a:pt x="567771" y="255035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1B358B12-2E54-4C18-A02F-7E1FF9CDEBE2}"/>
                </a:ext>
              </a:extLst>
            </p:cNvPr>
            <p:cNvSpPr/>
            <p:nvPr/>
          </p:nvSpPr>
          <p:spPr>
            <a:xfrm>
              <a:off x="12739654" y="3054735"/>
              <a:ext cx="333257" cy="410703"/>
            </a:xfrm>
            <a:custGeom>
              <a:avLst/>
              <a:gdLst>
                <a:gd name="connsiteX0" fmla="*/ 6172 w 333257"/>
                <a:gd name="connsiteY0" fmla="*/ 410704 h 410703"/>
                <a:gd name="connsiteX1" fmla="*/ 6172 w 333257"/>
                <a:gd name="connsiteY1" fmla="*/ 410704 h 410703"/>
                <a:gd name="connsiteX2" fmla="*/ 0 w 333257"/>
                <a:gd name="connsiteY2" fmla="*/ 404532 h 410703"/>
                <a:gd name="connsiteX3" fmla="*/ 123429 w 333257"/>
                <a:gd name="connsiteY3" fmla="*/ 120647 h 410703"/>
                <a:gd name="connsiteX4" fmla="*/ 327086 w 333257"/>
                <a:gd name="connsiteY4" fmla="*/ 304 h 410703"/>
                <a:gd name="connsiteX5" fmla="*/ 333258 w 333257"/>
                <a:gd name="connsiteY5" fmla="*/ 6475 h 410703"/>
                <a:gd name="connsiteX6" fmla="*/ 327086 w 333257"/>
                <a:gd name="connsiteY6" fmla="*/ 12646 h 410703"/>
                <a:gd name="connsiteX7" fmla="*/ 135772 w 333257"/>
                <a:gd name="connsiteY7" fmla="*/ 129904 h 410703"/>
                <a:gd name="connsiteX8" fmla="*/ 15429 w 333257"/>
                <a:gd name="connsiteY8" fmla="*/ 407618 h 410703"/>
                <a:gd name="connsiteX9" fmla="*/ 6172 w 333257"/>
                <a:gd name="connsiteY9" fmla="*/ 410704 h 410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3257" h="410703">
                  <a:moveTo>
                    <a:pt x="6172" y="410704"/>
                  </a:moveTo>
                  <a:cubicBezTo>
                    <a:pt x="6172" y="410704"/>
                    <a:pt x="3086" y="410704"/>
                    <a:pt x="6172" y="410704"/>
                  </a:cubicBezTo>
                  <a:cubicBezTo>
                    <a:pt x="3086" y="410704"/>
                    <a:pt x="0" y="407618"/>
                    <a:pt x="0" y="404532"/>
                  </a:cubicBezTo>
                  <a:cubicBezTo>
                    <a:pt x="0" y="404532"/>
                    <a:pt x="21600" y="253332"/>
                    <a:pt x="123429" y="120647"/>
                  </a:cubicBezTo>
                  <a:cubicBezTo>
                    <a:pt x="225258" y="-12039"/>
                    <a:pt x="324000" y="304"/>
                    <a:pt x="327086" y="304"/>
                  </a:cubicBezTo>
                  <a:cubicBezTo>
                    <a:pt x="330172" y="304"/>
                    <a:pt x="333258" y="3389"/>
                    <a:pt x="333258" y="6475"/>
                  </a:cubicBezTo>
                  <a:cubicBezTo>
                    <a:pt x="333258" y="9561"/>
                    <a:pt x="330172" y="12646"/>
                    <a:pt x="327086" y="12646"/>
                  </a:cubicBezTo>
                  <a:cubicBezTo>
                    <a:pt x="327086" y="12646"/>
                    <a:pt x="234514" y="304"/>
                    <a:pt x="135772" y="129904"/>
                  </a:cubicBezTo>
                  <a:cubicBezTo>
                    <a:pt x="37029" y="259504"/>
                    <a:pt x="15429" y="407618"/>
                    <a:pt x="15429" y="407618"/>
                  </a:cubicBezTo>
                  <a:cubicBezTo>
                    <a:pt x="9258" y="407618"/>
                    <a:pt x="6172" y="410704"/>
                    <a:pt x="6172" y="410704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9534FC27-8BB8-4469-ADBA-ABC244D8A2B4}"/>
                </a:ext>
              </a:extLst>
            </p:cNvPr>
            <p:cNvSpPr/>
            <p:nvPr/>
          </p:nvSpPr>
          <p:spPr>
            <a:xfrm>
              <a:off x="12675626" y="3502467"/>
              <a:ext cx="397285" cy="509142"/>
            </a:xfrm>
            <a:custGeom>
              <a:avLst/>
              <a:gdLst>
                <a:gd name="connsiteX0" fmla="*/ 5400 w 397285"/>
                <a:gd name="connsiteY0" fmla="*/ 509143 h 509142"/>
                <a:gd name="connsiteX1" fmla="*/ 2314 w 397285"/>
                <a:gd name="connsiteY1" fmla="*/ 506057 h 509142"/>
                <a:gd name="connsiteX2" fmla="*/ 2314 w 397285"/>
                <a:gd name="connsiteY2" fmla="*/ 496800 h 509142"/>
                <a:gd name="connsiteX3" fmla="*/ 212143 w 397285"/>
                <a:gd name="connsiteY3" fmla="*/ 317828 h 509142"/>
                <a:gd name="connsiteX4" fmla="*/ 388028 w 397285"/>
                <a:gd name="connsiteY4" fmla="*/ 3086 h 509142"/>
                <a:gd name="connsiteX5" fmla="*/ 394200 w 397285"/>
                <a:gd name="connsiteY5" fmla="*/ 0 h 509142"/>
                <a:gd name="connsiteX6" fmla="*/ 397286 w 397285"/>
                <a:gd name="connsiteY6" fmla="*/ 6171 h 509142"/>
                <a:gd name="connsiteX7" fmla="*/ 218314 w 397285"/>
                <a:gd name="connsiteY7" fmla="*/ 324000 h 509142"/>
                <a:gd name="connsiteX8" fmla="*/ 8486 w 397285"/>
                <a:gd name="connsiteY8" fmla="*/ 502971 h 509142"/>
                <a:gd name="connsiteX9" fmla="*/ 5400 w 397285"/>
                <a:gd name="connsiteY9" fmla="*/ 509143 h 509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7285" h="509142">
                  <a:moveTo>
                    <a:pt x="5400" y="509143"/>
                  </a:moveTo>
                  <a:cubicBezTo>
                    <a:pt x="2314" y="509143"/>
                    <a:pt x="2314" y="509143"/>
                    <a:pt x="2314" y="506057"/>
                  </a:cubicBezTo>
                  <a:cubicBezTo>
                    <a:pt x="-771" y="502971"/>
                    <a:pt x="-771" y="499886"/>
                    <a:pt x="2314" y="496800"/>
                  </a:cubicBezTo>
                  <a:cubicBezTo>
                    <a:pt x="5400" y="496800"/>
                    <a:pt x="165857" y="364114"/>
                    <a:pt x="212143" y="317828"/>
                  </a:cubicBezTo>
                  <a:cubicBezTo>
                    <a:pt x="258429" y="271543"/>
                    <a:pt x="388028" y="6171"/>
                    <a:pt x="388028" y="3086"/>
                  </a:cubicBezTo>
                  <a:cubicBezTo>
                    <a:pt x="388028" y="0"/>
                    <a:pt x="394200" y="0"/>
                    <a:pt x="394200" y="0"/>
                  </a:cubicBezTo>
                  <a:cubicBezTo>
                    <a:pt x="397286" y="0"/>
                    <a:pt x="397286" y="6171"/>
                    <a:pt x="397286" y="6171"/>
                  </a:cubicBezTo>
                  <a:cubicBezTo>
                    <a:pt x="391114" y="18514"/>
                    <a:pt x="267685" y="277714"/>
                    <a:pt x="218314" y="324000"/>
                  </a:cubicBezTo>
                  <a:cubicBezTo>
                    <a:pt x="172028" y="370286"/>
                    <a:pt x="8486" y="502971"/>
                    <a:pt x="8486" y="502971"/>
                  </a:cubicBezTo>
                  <a:cubicBezTo>
                    <a:pt x="8486" y="509143"/>
                    <a:pt x="8486" y="509143"/>
                    <a:pt x="5400" y="509143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4" name="图形 1">
              <a:extLst>
                <a:ext uri="{FF2B5EF4-FFF2-40B4-BE49-F238E27FC236}">
                  <a16:creationId xmlns:a16="http://schemas.microsoft.com/office/drawing/2014/main" id="{7370D172-560D-4079-8E98-22F2F9F2336E}"/>
                </a:ext>
              </a:extLst>
            </p:cNvPr>
            <p:cNvGrpSpPr/>
            <p:nvPr/>
          </p:nvGrpSpPr>
          <p:grpSpPr>
            <a:xfrm>
              <a:off x="10965244" y="3489999"/>
              <a:ext cx="497476" cy="665504"/>
              <a:chOff x="10965244" y="3489999"/>
              <a:chExt cx="497476" cy="665504"/>
            </a:xfrm>
          </p:grpSpPr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349FCE7E-924C-45AB-A5E5-F4653A171A2A}"/>
                  </a:ext>
                </a:extLst>
              </p:cNvPr>
              <p:cNvSpPr/>
              <p:nvPr/>
            </p:nvSpPr>
            <p:spPr>
              <a:xfrm>
                <a:off x="11011076" y="3548753"/>
                <a:ext cx="451644" cy="606751"/>
              </a:xfrm>
              <a:custGeom>
                <a:avLst/>
                <a:gdLst>
                  <a:gd name="connsiteX0" fmla="*/ 188807 w 451644"/>
                  <a:gd name="connsiteY0" fmla="*/ 92571 h 606751"/>
                  <a:gd name="connsiteX1" fmla="*/ 111664 w 451644"/>
                  <a:gd name="connsiteY1" fmla="*/ 52457 h 606751"/>
                  <a:gd name="connsiteX2" fmla="*/ 80807 w 451644"/>
                  <a:gd name="connsiteY2" fmla="*/ 0 h 606751"/>
                  <a:gd name="connsiteX3" fmla="*/ 3664 w 451644"/>
                  <a:gd name="connsiteY3" fmla="*/ 43200 h 606751"/>
                  <a:gd name="connsiteX4" fmla="*/ 34521 w 451644"/>
                  <a:gd name="connsiteY4" fmla="*/ 98743 h 606751"/>
                  <a:gd name="connsiteX5" fmla="*/ 28351 w 451644"/>
                  <a:gd name="connsiteY5" fmla="*/ 185143 h 606751"/>
                  <a:gd name="connsiteX6" fmla="*/ 578 w 451644"/>
                  <a:gd name="connsiteY6" fmla="*/ 225257 h 606751"/>
                  <a:gd name="connsiteX7" fmla="*/ 578 w 451644"/>
                  <a:gd name="connsiteY7" fmla="*/ 225257 h 606751"/>
                  <a:gd name="connsiteX8" fmla="*/ 213493 w 451644"/>
                  <a:gd name="connsiteY8" fmla="*/ 601714 h 606751"/>
                  <a:gd name="connsiteX9" fmla="*/ 213493 w 451644"/>
                  <a:gd name="connsiteY9" fmla="*/ 601714 h 606751"/>
                  <a:gd name="connsiteX10" fmla="*/ 346179 w 451644"/>
                  <a:gd name="connsiteY10" fmla="*/ 558514 h 606751"/>
                  <a:gd name="connsiteX11" fmla="*/ 451093 w 451644"/>
                  <a:gd name="connsiteY11" fmla="*/ 465943 h 606751"/>
                  <a:gd name="connsiteX12" fmla="*/ 238179 w 451644"/>
                  <a:gd name="connsiteY12" fmla="*/ 89486 h 606751"/>
                  <a:gd name="connsiteX13" fmla="*/ 188807 w 451644"/>
                  <a:gd name="connsiteY13" fmla="*/ 92571 h 606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51644" h="606751">
                    <a:moveTo>
                      <a:pt x="188807" y="92571"/>
                    </a:moveTo>
                    <a:cubicBezTo>
                      <a:pt x="161036" y="101829"/>
                      <a:pt x="127093" y="83314"/>
                      <a:pt x="111664" y="52457"/>
                    </a:cubicBezTo>
                    <a:lnTo>
                      <a:pt x="80807" y="0"/>
                    </a:lnTo>
                    <a:lnTo>
                      <a:pt x="3664" y="43200"/>
                    </a:lnTo>
                    <a:lnTo>
                      <a:pt x="34521" y="98743"/>
                    </a:lnTo>
                    <a:cubicBezTo>
                      <a:pt x="53036" y="129600"/>
                      <a:pt x="49950" y="166629"/>
                      <a:pt x="28351" y="185143"/>
                    </a:cubicBezTo>
                    <a:cubicBezTo>
                      <a:pt x="6750" y="203657"/>
                      <a:pt x="-2507" y="219086"/>
                      <a:pt x="578" y="225257"/>
                    </a:cubicBezTo>
                    <a:lnTo>
                      <a:pt x="578" y="225257"/>
                    </a:lnTo>
                    <a:lnTo>
                      <a:pt x="213493" y="601714"/>
                    </a:lnTo>
                    <a:lnTo>
                      <a:pt x="213493" y="601714"/>
                    </a:lnTo>
                    <a:cubicBezTo>
                      <a:pt x="222750" y="617143"/>
                      <a:pt x="281379" y="595543"/>
                      <a:pt x="346179" y="558514"/>
                    </a:cubicBezTo>
                    <a:cubicBezTo>
                      <a:pt x="410979" y="521486"/>
                      <a:pt x="457265" y="478286"/>
                      <a:pt x="451093" y="465943"/>
                    </a:cubicBezTo>
                    <a:lnTo>
                      <a:pt x="238179" y="89486"/>
                    </a:lnTo>
                    <a:cubicBezTo>
                      <a:pt x="235093" y="80229"/>
                      <a:pt x="216578" y="83314"/>
                      <a:pt x="188807" y="92571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31282D99-7271-471D-93AF-C69DDB5E8013}"/>
                  </a:ext>
                </a:extLst>
              </p:cNvPr>
              <p:cNvSpPr/>
              <p:nvPr/>
            </p:nvSpPr>
            <p:spPr>
              <a:xfrm>
                <a:off x="10965244" y="3489999"/>
                <a:ext cx="163793" cy="135367"/>
              </a:xfrm>
              <a:custGeom>
                <a:avLst/>
                <a:gdLst>
                  <a:gd name="connsiteX0" fmla="*/ 52582 w 163793"/>
                  <a:gd name="connsiteY0" fmla="*/ 132811 h 135367"/>
                  <a:gd name="connsiteX1" fmla="*/ 154410 w 163793"/>
                  <a:gd name="connsiteY1" fmla="*/ 74182 h 135367"/>
                  <a:gd name="connsiteX2" fmla="*/ 160582 w 163793"/>
                  <a:gd name="connsiteY2" fmla="*/ 46411 h 135367"/>
                  <a:gd name="connsiteX3" fmla="*/ 138982 w 163793"/>
                  <a:gd name="connsiteY3" fmla="*/ 9382 h 135367"/>
                  <a:gd name="connsiteX4" fmla="*/ 111211 w 163793"/>
                  <a:gd name="connsiteY4" fmla="*/ 3211 h 135367"/>
                  <a:gd name="connsiteX5" fmla="*/ 9382 w 163793"/>
                  <a:gd name="connsiteY5" fmla="*/ 61839 h 135367"/>
                  <a:gd name="connsiteX6" fmla="*/ 3211 w 163793"/>
                  <a:gd name="connsiteY6" fmla="*/ 89611 h 135367"/>
                  <a:gd name="connsiteX7" fmla="*/ 24811 w 163793"/>
                  <a:gd name="connsiteY7" fmla="*/ 126639 h 135367"/>
                  <a:gd name="connsiteX8" fmla="*/ 52582 w 163793"/>
                  <a:gd name="connsiteY8" fmla="*/ 132811 h 135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793" h="135367">
                    <a:moveTo>
                      <a:pt x="52582" y="132811"/>
                    </a:moveTo>
                    <a:lnTo>
                      <a:pt x="154410" y="74182"/>
                    </a:lnTo>
                    <a:cubicBezTo>
                      <a:pt x="163668" y="68011"/>
                      <a:pt x="166754" y="55668"/>
                      <a:pt x="160582" y="46411"/>
                    </a:cubicBezTo>
                    <a:lnTo>
                      <a:pt x="138982" y="9382"/>
                    </a:lnTo>
                    <a:cubicBezTo>
                      <a:pt x="132811" y="125"/>
                      <a:pt x="120468" y="-2961"/>
                      <a:pt x="111211" y="3211"/>
                    </a:cubicBezTo>
                    <a:lnTo>
                      <a:pt x="9382" y="61839"/>
                    </a:lnTo>
                    <a:cubicBezTo>
                      <a:pt x="125" y="68011"/>
                      <a:pt x="-2960" y="80354"/>
                      <a:pt x="3211" y="89611"/>
                    </a:cubicBezTo>
                    <a:lnTo>
                      <a:pt x="24811" y="126639"/>
                    </a:lnTo>
                    <a:cubicBezTo>
                      <a:pt x="30982" y="132811"/>
                      <a:pt x="43325" y="138982"/>
                      <a:pt x="52582" y="132811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5" name="图形 1">
              <a:extLst>
                <a:ext uri="{FF2B5EF4-FFF2-40B4-BE49-F238E27FC236}">
                  <a16:creationId xmlns:a16="http://schemas.microsoft.com/office/drawing/2014/main" id="{7A7DF969-2541-4508-B11C-12ED9ED8794F}"/>
                </a:ext>
              </a:extLst>
            </p:cNvPr>
            <p:cNvGrpSpPr/>
            <p:nvPr/>
          </p:nvGrpSpPr>
          <p:grpSpPr>
            <a:xfrm>
              <a:off x="11278142" y="3777048"/>
              <a:ext cx="144987" cy="123476"/>
              <a:chOff x="11278142" y="3777048"/>
              <a:chExt cx="144987" cy="123476"/>
            </a:xfrm>
          </p:grpSpPr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07291A8C-F088-4282-B809-EEFB28C74CD4}"/>
                  </a:ext>
                </a:extLst>
              </p:cNvPr>
              <p:cNvSpPr/>
              <p:nvPr/>
            </p:nvSpPr>
            <p:spPr>
              <a:xfrm>
                <a:off x="11286636" y="3782700"/>
                <a:ext cx="136493" cy="111996"/>
              </a:xfrm>
              <a:custGeom>
                <a:avLst/>
                <a:gdLst>
                  <a:gd name="connsiteX0" fmla="*/ 15076 w 136493"/>
                  <a:gd name="connsiteY0" fmla="*/ 111653 h 111996"/>
                  <a:gd name="connsiteX1" fmla="*/ 30504 w 136493"/>
                  <a:gd name="connsiteY1" fmla="*/ 90053 h 111996"/>
                  <a:gd name="connsiteX2" fmla="*/ 79875 w 136493"/>
                  <a:gd name="connsiteY2" fmla="*/ 56110 h 111996"/>
                  <a:gd name="connsiteX3" fmla="*/ 135419 w 136493"/>
                  <a:gd name="connsiteY3" fmla="*/ 93138 h 111996"/>
                  <a:gd name="connsiteX4" fmla="*/ 101475 w 136493"/>
                  <a:gd name="connsiteY4" fmla="*/ 567 h 111996"/>
                  <a:gd name="connsiteX5" fmla="*/ 5818 w 136493"/>
                  <a:gd name="connsiteY5" fmla="*/ 34510 h 111996"/>
                  <a:gd name="connsiteX6" fmla="*/ 15076 w 136493"/>
                  <a:gd name="connsiteY6" fmla="*/ 111653 h 111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493" h="111996">
                    <a:moveTo>
                      <a:pt x="15076" y="111653"/>
                    </a:moveTo>
                    <a:cubicBezTo>
                      <a:pt x="24333" y="114738"/>
                      <a:pt x="27419" y="96224"/>
                      <a:pt x="30504" y="90053"/>
                    </a:cubicBezTo>
                    <a:cubicBezTo>
                      <a:pt x="42847" y="71539"/>
                      <a:pt x="55190" y="59196"/>
                      <a:pt x="79875" y="56110"/>
                    </a:cubicBezTo>
                    <a:cubicBezTo>
                      <a:pt x="92219" y="83881"/>
                      <a:pt x="119990" y="90053"/>
                      <a:pt x="135419" y="93138"/>
                    </a:cubicBezTo>
                    <a:cubicBezTo>
                      <a:pt x="141589" y="93138"/>
                      <a:pt x="119990" y="3653"/>
                      <a:pt x="101475" y="567"/>
                    </a:cubicBezTo>
                    <a:cubicBezTo>
                      <a:pt x="73704" y="-2519"/>
                      <a:pt x="21247" y="6738"/>
                      <a:pt x="5818" y="34510"/>
                    </a:cubicBezTo>
                    <a:cubicBezTo>
                      <a:pt x="-353" y="46853"/>
                      <a:pt x="-6525" y="105481"/>
                      <a:pt x="15076" y="111653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C35A44F5-983B-42B3-BB54-B152E0E789DC}"/>
                  </a:ext>
                </a:extLst>
              </p:cNvPr>
              <p:cNvSpPr/>
              <p:nvPr/>
            </p:nvSpPr>
            <p:spPr>
              <a:xfrm>
                <a:off x="11278142" y="3777048"/>
                <a:ext cx="137740" cy="123476"/>
              </a:xfrm>
              <a:custGeom>
                <a:avLst/>
                <a:gdLst>
                  <a:gd name="connsiteX0" fmla="*/ 23570 w 137740"/>
                  <a:gd name="connsiteY0" fmla="*/ 123477 h 123476"/>
                  <a:gd name="connsiteX1" fmla="*/ 8141 w 137740"/>
                  <a:gd name="connsiteY1" fmla="*/ 117305 h 123476"/>
                  <a:gd name="connsiteX2" fmla="*/ 8141 w 137740"/>
                  <a:gd name="connsiteY2" fmla="*/ 40162 h 123476"/>
                  <a:gd name="connsiteX3" fmla="*/ 109970 w 137740"/>
                  <a:gd name="connsiteY3" fmla="*/ 48 h 123476"/>
                  <a:gd name="connsiteX4" fmla="*/ 116141 w 137740"/>
                  <a:gd name="connsiteY4" fmla="*/ 6220 h 123476"/>
                  <a:gd name="connsiteX5" fmla="*/ 109970 w 137740"/>
                  <a:gd name="connsiteY5" fmla="*/ 12391 h 123476"/>
                  <a:gd name="connsiteX6" fmla="*/ 20484 w 137740"/>
                  <a:gd name="connsiteY6" fmla="*/ 43248 h 123476"/>
                  <a:gd name="connsiteX7" fmla="*/ 20484 w 137740"/>
                  <a:gd name="connsiteY7" fmla="*/ 108048 h 123476"/>
                  <a:gd name="connsiteX8" fmla="*/ 26655 w 137740"/>
                  <a:gd name="connsiteY8" fmla="*/ 111134 h 123476"/>
                  <a:gd name="connsiteX9" fmla="*/ 38999 w 137740"/>
                  <a:gd name="connsiteY9" fmla="*/ 95705 h 123476"/>
                  <a:gd name="connsiteX10" fmla="*/ 94541 w 137740"/>
                  <a:gd name="connsiteY10" fmla="*/ 52505 h 123476"/>
                  <a:gd name="connsiteX11" fmla="*/ 100713 w 137740"/>
                  <a:gd name="connsiteY11" fmla="*/ 55591 h 123476"/>
                  <a:gd name="connsiteX12" fmla="*/ 131570 w 137740"/>
                  <a:gd name="connsiteY12" fmla="*/ 83362 h 123476"/>
                  <a:gd name="connsiteX13" fmla="*/ 137741 w 137740"/>
                  <a:gd name="connsiteY13" fmla="*/ 89534 h 123476"/>
                  <a:gd name="connsiteX14" fmla="*/ 131570 w 137740"/>
                  <a:gd name="connsiteY14" fmla="*/ 95705 h 123476"/>
                  <a:gd name="connsiteX15" fmla="*/ 94541 w 137740"/>
                  <a:gd name="connsiteY15" fmla="*/ 64848 h 123476"/>
                  <a:gd name="connsiteX16" fmla="*/ 54427 w 137740"/>
                  <a:gd name="connsiteY16" fmla="*/ 98791 h 123476"/>
                  <a:gd name="connsiteX17" fmla="*/ 23570 w 137740"/>
                  <a:gd name="connsiteY17" fmla="*/ 123477 h 123476"/>
                  <a:gd name="connsiteX18" fmla="*/ 23570 w 137740"/>
                  <a:gd name="connsiteY18" fmla="*/ 123477 h 123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37740" h="123476">
                    <a:moveTo>
                      <a:pt x="23570" y="123477"/>
                    </a:moveTo>
                    <a:cubicBezTo>
                      <a:pt x="17398" y="123477"/>
                      <a:pt x="14312" y="120391"/>
                      <a:pt x="8141" y="117305"/>
                    </a:cubicBezTo>
                    <a:cubicBezTo>
                      <a:pt x="-1116" y="104962"/>
                      <a:pt x="-4202" y="71020"/>
                      <a:pt x="8141" y="40162"/>
                    </a:cubicBezTo>
                    <a:cubicBezTo>
                      <a:pt x="26655" y="-3038"/>
                      <a:pt x="106884" y="48"/>
                      <a:pt x="109970" y="48"/>
                    </a:cubicBezTo>
                    <a:cubicBezTo>
                      <a:pt x="113056" y="48"/>
                      <a:pt x="116141" y="3134"/>
                      <a:pt x="116141" y="6220"/>
                    </a:cubicBezTo>
                    <a:cubicBezTo>
                      <a:pt x="116141" y="9305"/>
                      <a:pt x="113056" y="12391"/>
                      <a:pt x="109970" y="12391"/>
                    </a:cubicBezTo>
                    <a:cubicBezTo>
                      <a:pt x="109970" y="12391"/>
                      <a:pt x="32827" y="9305"/>
                      <a:pt x="20484" y="43248"/>
                    </a:cubicBezTo>
                    <a:cubicBezTo>
                      <a:pt x="8141" y="71020"/>
                      <a:pt x="11226" y="98791"/>
                      <a:pt x="20484" y="108048"/>
                    </a:cubicBezTo>
                    <a:cubicBezTo>
                      <a:pt x="23570" y="111134"/>
                      <a:pt x="23570" y="111134"/>
                      <a:pt x="26655" y="111134"/>
                    </a:cubicBezTo>
                    <a:cubicBezTo>
                      <a:pt x="29741" y="111134"/>
                      <a:pt x="32827" y="101877"/>
                      <a:pt x="38999" y="95705"/>
                    </a:cubicBezTo>
                    <a:cubicBezTo>
                      <a:pt x="48255" y="80277"/>
                      <a:pt x="60598" y="55591"/>
                      <a:pt x="94541" y="52505"/>
                    </a:cubicBezTo>
                    <a:cubicBezTo>
                      <a:pt x="97627" y="52505"/>
                      <a:pt x="97627" y="52505"/>
                      <a:pt x="100713" y="55591"/>
                    </a:cubicBezTo>
                    <a:cubicBezTo>
                      <a:pt x="103798" y="61763"/>
                      <a:pt x="116141" y="80277"/>
                      <a:pt x="131570" y="83362"/>
                    </a:cubicBezTo>
                    <a:cubicBezTo>
                      <a:pt x="134655" y="83362"/>
                      <a:pt x="137741" y="86448"/>
                      <a:pt x="137741" y="89534"/>
                    </a:cubicBezTo>
                    <a:cubicBezTo>
                      <a:pt x="137741" y="92620"/>
                      <a:pt x="134655" y="95705"/>
                      <a:pt x="131570" y="95705"/>
                    </a:cubicBezTo>
                    <a:cubicBezTo>
                      <a:pt x="113056" y="92620"/>
                      <a:pt x="100713" y="74105"/>
                      <a:pt x="94541" y="64848"/>
                    </a:cubicBezTo>
                    <a:cubicBezTo>
                      <a:pt x="72941" y="67934"/>
                      <a:pt x="60598" y="86448"/>
                      <a:pt x="54427" y="98791"/>
                    </a:cubicBezTo>
                    <a:cubicBezTo>
                      <a:pt x="38999" y="111134"/>
                      <a:pt x="35913" y="120391"/>
                      <a:pt x="23570" y="123477"/>
                    </a:cubicBezTo>
                    <a:cubicBezTo>
                      <a:pt x="23570" y="123477"/>
                      <a:pt x="23570" y="123477"/>
                      <a:pt x="23570" y="12347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2948644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2B8C4E8E-4A99-4E37-88E2-0CC372E1036E}"/>
              </a:ext>
            </a:extLst>
          </p:cNvPr>
          <p:cNvGrpSpPr/>
          <p:nvPr/>
        </p:nvGrpSpPr>
        <p:grpSpPr>
          <a:xfrm>
            <a:off x="2464911" y="1941579"/>
            <a:ext cx="2746285" cy="4757688"/>
            <a:chOff x="19228911" y="1941579"/>
            <a:chExt cx="2746285" cy="4757688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69A5FAFA-F583-471E-B979-062B66D3BD71}"/>
                </a:ext>
              </a:extLst>
            </p:cNvPr>
            <p:cNvGrpSpPr/>
            <p:nvPr/>
          </p:nvGrpSpPr>
          <p:grpSpPr>
            <a:xfrm>
              <a:off x="21305137" y="6288867"/>
              <a:ext cx="401603" cy="365917"/>
              <a:chOff x="21305137" y="6288867"/>
              <a:chExt cx="401603" cy="365917"/>
            </a:xfrm>
          </p:grpSpPr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BCE5CD4E-0AF4-43AD-BBEC-968F7E6AEDDE}"/>
                  </a:ext>
                </a:extLst>
              </p:cNvPr>
              <p:cNvSpPr/>
              <p:nvPr/>
            </p:nvSpPr>
            <p:spPr>
              <a:xfrm>
                <a:off x="21305137" y="6415382"/>
                <a:ext cx="400059" cy="239403"/>
              </a:xfrm>
              <a:custGeom>
                <a:avLst/>
                <a:gdLst>
                  <a:gd name="connsiteX0" fmla="*/ 290517 w 400059"/>
                  <a:gd name="connsiteY0" fmla="*/ 0 h 239403"/>
                  <a:gd name="connsiteX1" fmla="*/ 130059 w 400059"/>
                  <a:gd name="connsiteY1" fmla="*/ 126514 h 239403"/>
                  <a:gd name="connsiteX2" fmla="*/ 327546 w 400059"/>
                  <a:gd name="connsiteY2" fmla="*/ 77143 h 239403"/>
                  <a:gd name="connsiteX3" fmla="*/ 398517 w 400059"/>
                  <a:gd name="connsiteY3" fmla="*/ 52457 h 239403"/>
                  <a:gd name="connsiteX4" fmla="*/ 392345 w 400059"/>
                  <a:gd name="connsiteY4" fmla="*/ 160457 h 239403"/>
                  <a:gd name="connsiteX5" fmla="*/ 157831 w 400059"/>
                  <a:gd name="connsiteY5" fmla="*/ 234514 h 239403"/>
                  <a:gd name="connsiteX6" fmla="*/ 18974 w 400059"/>
                  <a:gd name="connsiteY6" fmla="*/ 234514 h 239403"/>
                  <a:gd name="connsiteX7" fmla="*/ 12802 w 400059"/>
                  <a:gd name="connsiteY7" fmla="*/ 178972 h 239403"/>
                  <a:gd name="connsiteX8" fmla="*/ 290517 w 400059"/>
                  <a:gd name="connsiteY8" fmla="*/ 0 h 239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0059" h="239403">
                    <a:moveTo>
                      <a:pt x="290517" y="0"/>
                    </a:moveTo>
                    <a:cubicBezTo>
                      <a:pt x="290517" y="0"/>
                      <a:pt x="114630" y="114171"/>
                      <a:pt x="130059" y="126514"/>
                    </a:cubicBezTo>
                    <a:cubicBezTo>
                      <a:pt x="142403" y="141943"/>
                      <a:pt x="327546" y="77143"/>
                      <a:pt x="327546" y="77143"/>
                    </a:cubicBezTo>
                    <a:lnTo>
                      <a:pt x="398517" y="52457"/>
                    </a:lnTo>
                    <a:cubicBezTo>
                      <a:pt x="398517" y="52457"/>
                      <a:pt x="404688" y="135771"/>
                      <a:pt x="392345" y="160457"/>
                    </a:cubicBezTo>
                    <a:cubicBezTo>
                      <a:pt x="318289" y="197486"/>
                      <a:pt x="231889" y="222171"/>
                      <a:pt x="157831" y="234514"/>
                    </a:cubicBezTo>
                    <a:cubicBezTo>
                      <a:pt x="111546" y="243771"/>
                      <a:pt x="28231" y="237600"/>
                      <a:pt x="18974" y="234514"/>
                    </a:cubicBezTo>
                    <a:cubicBezTo>
                      <a:pt x="9717" y="231429"/>
                      <a:pt x="-14968" y="206743"/>
                      <a:pt x="12802" y="178972"/>
                    </a:cubicBezTo>
                    <a:cubicBezTo>
                      <a:pt x="77603" y="111085"/>
                      <a:pt x="290517" y="0"/>
                      <a:pt x="290517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E8CA73CC-E0B0-4EC3-80BA-D461B0E003CD}"/>
                  </a:ext>
                </a:extLst>
              </p:cNvPr>
              <p:cNvSpPr/>
              <p:nvPr/>
            </p:nvSpPr>
            <p:spPr>
              <a:xfrm>
                <a:off x="21436940" y="6288867"/>
                <a:ext cx="269801" cy="257151"/>
              </a:xfrm>
              <a:custGeom>
                <a:avLst/>
                <a:gdLst>
                  <a:gd name="connsiteX0" fmla="*/ 146373 w 269801"/>
                  <a:gd name="connsiteY0" fmla="*/ 0 h 257151"/>
                  <a:gd name="connsiteX1" fmla="*/ 161801 w 269801"/>
                  <a:gd name="connsiteY1" fmla="*/ 126514 h 257151"/>
                  <a:gd name="connsiteX2" fmla="*/ 1344 w 269801"/>
                  <a:gd name="connsiteY2" fmla="*/ 253028 h 257151"/>
                  <a:gd name="connsiteX3" fmla="*/ 242029 w 269801"/>
                  <a:gd name="connsiteY3" fmla="*/ 209829 h 257151"/>
                  <a:gd name="connsiteX4" fmla="*/ 269801 w 269801"/>
                  <a:gd name="connsiteY4" fmla="*/ 178972 h 257151"/>
                  <a:gd name="connsiteX5" fmla="*/ 269801 w 269801"/>
                  <a:gd name="connsiteY5" fmla="*/ 43200 h 257151"/>
                  <a:gd name="connsiteX6" fmla="*/ 146373 w 269801"/>
                  <a:gd name="connsiteY6" fmla="*/ 0 h 25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801" h="257151">
                    <a:moveTo>
                      <a:pt x="146373" y="0"/>
                    </a:moveTo>
                    <a:lnTo>
                      <a:pt x="161801" y="126514"/>
                    </a:lnTo>
                    <a:cubicBezTo>
                      <a:pt x="161801" y="126514"/>
                      <a:pt x="-17172" y="231429"/>
                      <a:pt x="1344" y="253028"/>
                    </a:cubicBezTo>
                    <a:cubicBezTo>
                      <a:pt x="13685" y="268457"/>
                      <a:pt x="171058" y="237600"/>
                      <a:pt x="242029" y="209829"/>
                    </a:cubicBezTo>
                    <a:cubicBezTo>
                      <a:pt x="266714" y="200571"/>
                      <a:pt x="269801" y="178972"/>
                      <a:pt x="269801" y="178972"/>
                    </a:cubicBezTo>
                    <a:lnTo>
                      <a:pt x="269801" y="43200"/>
                    </a:lnTo>
                    <a:lnTo>
                      <a:pt x="146373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6D31B48A-C1A6-487D-BD7F-4735CDDE930C}"/>
                </a:ext>
              </a:extLst>
            </p:cNvPr>
            <p:cNvGrpSpPr/>
            <p:nvPr/>
          </p:nvGrpSpPr>
          <p:grpSpPr>
            <a:xfrm>
              <a:off x="20586165" y="6288867"/>
              <a:ext cx="400060" cy="365917"/>
              <a:chOff x="20586165" y="6288867"/>
              <a:chExt cx="400060" cy="365917"/>
            </a:xfrm>
          </p:grpSpPr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BE1995C7-D743-4E6B-B986-210FA0E6B99E}"/>
                  </a:ext>
                </a:extLst>
              </p:cNvPr>
              <p:cNvSpPr/>
              <p:nvPr/>
            </p:nvSpPr>
            <p:spPr>
              <a:xfrm>
                <a:off x="20586165" y="6415382"/>
                <a:ext cx="400060" cy="239403"/>
              </a:xfrm>
              <a:custGeom>
                <a:avLst/>
                <a:gdLst>
                  <a:gd name="connsiteX0" fmla="*/ 290517 w 400060"/>
                  <a:gd name="connsiteY0" fmla="*/ 0 h 239403"/>
                  <a:gd name="connsiteX1" fmla="*/ 130060 w 400060"/>
                  <a:gd name="connsiteY1" fmla="*/ 126514 h 239403"/>
                  <a:gd name="connsiteX2" fmla="*/ 327546 w 400060"/>
                  <a:gd name="connsiteY2" fmla="*/ 77143 h 239403"/>
                  <a:gd name="connsiteX3" fmla="*/ 398517 w 400060"/>
                  <a:gd name="connsiteY3" fmla="*/ 52457 h 239403"/>
                  <a:gd name="connsiteX4" fmla="*/ 392346 w 400060"/>
                  <a:gd name="connsiteY4" fmla="*/ 160457 h 239403"/>
                  <a:gd name="connsiteX5" fmla="*/ 157832 w 400060"/>
                  <a:gd name="connsiteY5" fmla="*/ 234514 h 239403"/>
                  <a:gd name="connsiteX6" fmla="*/ 18975 w 400060"/>
                  <a:gd name="connsiteY6" fmla="*/ 234514 h 239403"/>
                  <a:gd name="connsiteX7" fmla="*/ 12803 w 400060"/>
                  <a:gd name="connsiteY7" fmla="*/ 178972 h 239403"/>
                  <a:gd name="connsiteX8" fmla="*/ 290517 w 400060"/>
                  <a:gd name="connsiteY8" fmla="*/ 0 h 239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0060" h="239403">
                    <a:moveTo>
                      <a:pt x="290517" y="0"/>
                    </a:moveTo>
                    <a:cubicBezTo>
                      <a:pt x="290517" y="0"/>
                      <a:pt x="114631" y="114171"/>
                      <a:pt x="130060" y="126514"/>
                    </a:cubicBezTo>
                    <a:cubicBezTo>
                      <a:pt x="142404" y="141943"/>
                      <a:pt x="327546" y="77143"/>
                      <a:pt x="327546" y="77143"/>
                    </a:cubicBezTo>
                    <a:lnTo>
                      <a:pt x="398517" y="52457"/>
                    </a:lnTo>
                    <a:cubicBezTo>
                      <a:pt x="398517" y="52457"/>
                      <a:pt x="404689" y="135771"/>
                      <a:pt x="392346" y="160457"/>
                    </a:cubicBezTo>
                    <a:cubicBezTo>
                      <a:pt x="318290" y="197486"/>
                      <a:pt x="231888" y="222171"/>
                      <a:pt x="157832" y="234514"/>
                    </a:cubicBezTo>
                    <a:cubicBezTo>
                      <a:pt x="111546" y="243771"/>
                      <a:pt x="28232" y="237600"/>
                      <a:pt x="18975" y="234514"/>
                    </a:cubicBezTo>
                    <a:cubicBezTo>
                      <a:pt x="9718" y="231429"/>
                      <a:pt x="-14969" y="206743"/>
                      <a:pt x="12803" y="178972"/>
                    </a:cubicBezTo>
                    <a:cubicBezTo>
                      <a:pt x="77602" y="111085"/>
                      <a:pt x="290517" y="0"/>
                      <a:pt x="290517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D1BF27FB-D5DF-4EE5-B449-E72FEB2BCD2F}"/>
                  </a:ext>
                </a:extLst>
              </p:cNvPr>
              <p:cNvSpPr/>
              <p:nvPr/>
            </p:nvSpPr>
            <p:spPr>
              <a:xfrm>
                <a:off x="20714882" y="6288867"/>
                <a:ext cx="269800" cy="257151"/>
              </a:xfrm>
              <a:custGeom>
                <a:avLst/>
                <a:gdLst>
                  <a:gd name="connsiteX0" fmla="*/ 146372 w 269800"/>
                  <a:gd name="connsiteY0" fmla="*/ 0 h 257151"/>
                  <a:gd name="connsiteX1" fmla="*/ 161801 w 269800"/>
                  <a:gd name="connsiteY1" fmla="*/ 126514 h 257151"/>
                  <a:gd name="connsiteX2" fmla="*/ 1343 w 269800"/>
                  <a:gd name="connsiteY2" fmla="*/ 253028 h 257151"/>
                  <a:gd name="connsiteX3" fmla="*/ 242029 w 269800"/>
                  <a:gd name="connsiteY3" fmla="*/ 209829 h 257151"/>
                  <a:gd name="connsiteX4" fmla="*/ 269801 w 269800"/>
                  <a:gd name="connsiteY4" fmla="*/ 178972 h 257151"/>
                  <a:gd name="connsiteX5" fmla="*/ 269801 w 269800"/>
                  <a:gd name="connsiteY5" fmla="*/ 43200 h 257151"/>
                  <a:gd name="connsiteX6" fmla="*/ 146372 w 269800"/>
                  <a:gd name="connsiteY6" fmla="*/ 0 h 25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800" h="257151">
                    <a:moveTo>
                      <a:pt x="146372" y="0"/>
                    </a:moveTo>
                    <a:lnTo>
                      <a:pt x="161801" y="126514"/>
                    </a:lnTo>
                    <a:cubicBezTo>
                      <a:pt x="161801" y="126514"/>
                      <a:pt x="-17170" y="231429"/>
                      <a:pt x="1343" y="253028"/>
                    </a:cubicBezTo>
                    <a:cubicBezTo>
                      <a:pt x="13687" y="268457"/>
                      <a:pt x="171058" y="237600"/>
                      <a:pt x="242029" y="209829"/>
                    </a:cubicBezTo>
                    <a:cubicBezTo>
                      <a:pt x="266716" y="200571"/>
                      <a:pt x="269801" y="178972"/>
                      <a:pt x="269801" y="178972"/>
                    </a:cubicBezTo>
                    <a:lnTo>
                      <a:pt x="269801" y="43200"/>
                    </a:lnTo>
                    <a:lnTo>
                      <a:pt x="146372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8F89E029-71E2-4579-BB65-6C8E45B12E1D}"/>
                </a:ext>
              </a:extLst>
            </p:cNvPr>
            <p:cNvSpPr/>
            <p:nvPr/>
          </p:nvSpPr>
          <p:spPr>
            <a:xfrm>
              <a:off x="20373678" y="3240160"/>
              <a:ext cx="493747" cy="506175"/>
            </a:xfrm>
            <a:custGeom>
              <a:avLst/>
              <a:gdLst>
                <a:gd name="connsiteX0" fmla="*/ 493748 w 493747"/>
                <a:gd name="connsiteY0" fmla="*/ 320936 h 506175"/>
                <a:gd name="connsiteX1" fmla="*/ 52491 w 493747"/>
                <a:gd name="connsiteY1" fmla="*/ 22 h 506175"/>
                <a:gd name="connsiteX2" fmla="*/ 34 w 493747"/>
                <a:gd name="connsiteY2" fmla="*/ 89508 h 506175"/>
                <a:gd name="connsiteX3" fmla="*/ 413518 w 493747"/>
                <a:gd name="connsiteY3" fmla="*/ 499908 h 506175"/>
                <a:gd name="connsiteX4" fmla="*/ 493748 w 493747"/>
                <a:gd name="connsiteY4" fmla="*/ 320936 h 50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3747" h="506175">
                  <a:moveTo>
                    <a:pt x="493748" y="320936"/>
                  </a:moveTo>
                  <a:cubicBezTo>
                    <a:pt x="493748" y="320936"/>
                    <a:pt x="58661" y="-3064"/>
                    <a:pt x="52491" y="22"/>
                  </a:cubicBezTo>
                  <a:cubicBezTo>
                    <a:pt x="-9223" y="30879"/>
                    <a:pt x="24719" y="24708"/>
                    <a:pt x="34" y="89508"/>
                  </a:cubicBezTo>
                  <a:cubicBezTo>
                    <a:pt x="-3053" y="98765"/>
                    <a:pt x="206777" y="348708"/>
                    <a:pt x="413518" y="499908"/>
                  </a:cubicBezTo>
                  <a:cubicBezTo>
                    <a:pt x="472148" y="546193"/>
                    <a:pt x="493748" y="320936"/>
                    <a:pt x="493748" y="320936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0EF10FB7-512C-4872-AE32-122BAD20D36F}"/>
                </a:ext>
              </a:extLst>
            </p:cNvPr>
            <p:cNvSpPr/>
            <p:nvPr/>
          </p:nvSpPr>
          <p:spPr>
            <a:xfrm>
              <a:off x="21283997" y="1941579"/>
              <a:ext cx="691198" cy="810838"/>
            </a:xfrm>
            <a:custGeom>
              <a:avLst/>
              <a:gdLst>
                <a:gd name="connsiteX0" fmla="*/ 0 w 691198"/>
                <a:gd name="connsiteY0" fmla="*/ 178488 h 810838"/>
                <a:gd name="connsiteX1" fmla="*/ 339429 w 691198"/>
                <a:gd name="connsiteY1" fmla="*/ 2602 h 810838"/>
                <a:gd name="connsiteX2" fmla="*/ 589371 w 691198"/>
                <a:gd name="connsiteY2" fmla="*/ 431517 h 810838"/>
                <a:gd name="connsiteX3" fmla="*/ 691199 w 691198"/>
                <a:gd name="connsiteY3" fmla="*/ 730831 h 810838"/>
                <a:gd name="connsiteX4" fmla="*/ 357942 w 691198"/>
                <a:gd name="connsiteY4" fmla="*/ 727745 h 810838"/>
                <a:gd name="connsiteX5" fmla="*/ 154286 w 691198"/>
                <a:gd name="connsiteY5" fmla="*/ 237117 h 810838"/>
                <a:gd name="connsiteX6" fmla="*/ 0 w 691198"/>
                <a:gd name="connsiteY6" fmla="*/ 178488 h 810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1198" h="810838">
                  <a:moveTo>
                    <a:pt x="0" y="178488"/>
                  </a:moveTo>
                  <a:cubicBezTo>
                    <a:pt x="0" y="178488"/>
                    <a:pt x="33942" y="-25169"/>
                    <a:pt x="339429" y="2602"/>
                  </a:cubicBezTo>
                  <a:cubicBezTo>
                    <a:pt x="527656" y="18031"/>
                    <a:pt x="620228" y="298831"/>
                    <a:pt x="589371" y="431517"/>
                  </a:cubicBezTo>
                  <a:cubicBezTo>
                    <a:pt x="558514" y="564202"/>
                    <a:pt x="580114" y="678374"/>
                    <a:pt x="691199" y="730831"/>
                  </a:cubicBezTo>
                  <a:cubicBezTo>
                    <a:pt x="691199" y="730831"/>
                    <a:pt x="472114" y="912888"/>
                    <a:pt x="357942" y="727745"/>
                  </a:cubicBezTo>
                  <a:cubicBezTo>
                    <a:pt x="311656" y="650602"/>
                    <a:pt x="296228" y="277231"/>
                    <a:pt x="154286" y="237117"/>
                  </a:cubicBezTo>
                  <a:cubicBezTo>
                    <a:pt x="89485" y="218602"/>
                    <a:pt x="0" y="178488"/>
                    <a:pt x="0" y="178488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9FF96817-B9B1-46A6-B3C5-504240ABE022}"/>
                </a:ext>
              </a:extLst>
            </p:cNvPr>
            <p:cNvSpPr/>
            <p:nvPr/>
          </p:nvSpPr>
          <p:spPr>
            <a:xfrm>
              <a:off x="21774625" y="2505782"/>
              <a:ext cx="200571" cy="169714"/>
            </a:xfrm>
            <a:custGeom>
              <a:avLst/>
              <a:gdLst>
                <a:gd name="connsiteX0" fmla="*/ 191315 w 200571"/>
                <a:gd name="connsiteY0" fmla="*/ 169714 h 169714"/>
                <a:gd name="connsiteX1" fmla="*/ 0 w 200571"/>
                <a:gd name="connsiteY1" fmla="*/ 6171 h 169714"/>
                <a:gd name="connsiteX2" fmla="*/ 3087 w 200571"/>
                <a:gd name="connsiteY2" fmla="*/ 0 h 169714"/>
                <a:gd name="connsiteX3" fmla="*/ 9259 w 200571"/>
                <a:gd name="connsiteY3" fmla="*/ 3086 h 169714"/>
                <a:gd name="connsiteX4" fmla="*/ 194402 w 200571"/>
                <a:gd name="connsiteY4" fmla="*/ 157371 h 169714"/>
                <a:gd name="connsiteX5" fmla="*/ 200571 w 200571"/>
                <a:gd name="connsiteY5" fmla="*/ 163543 h 169714"/>
                <a:gd name="connsiteX6" fmla="*/ 194402 w 200571"/>
                <a:gd name="connsiteY6" fmla="*/ 169714 h 169714"/>
                <a:gd name="connsiteX7" fmla="*/ 191315 w 200571"/>
                <a:gd name="connsiteY7" fmla="*/ 169714 h 16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571" h="169714">
                  <a:moveTo>
                    <a:pt x="191315" y="169714"/>
                  </a:moveTo>
                  <a:cubicBezTo>
                    <a:pt x="160458" y="169714"/>
                    <a:pt x="46286" y="157371"/>
                    <a:pt x="0" y="6171"/>
                  </a:cubicBezTo>
                  <a:cubicBezTo>
                    <a:pt x="0" y="3086"/>
                    <a:pt x="0" y="0"/>
                    <a:pt x="3087" y="0"/>
                  </a:cubicBezTo>
                  <a:cubicBezTo>
                    <a:pt x="6172" y="0"/>
                    <a:pt x="9259" y="0"/>
                    <a:pt x="9259" y="3086"/>
                  </a:cubicBezTo>
                  <a:cubicBezTo>
                    <a:pt x="58629" y="172800"/>
                    <a:pt x="194402" y="157371"/>
                    <a:pt x="194402" y="157371"/>
                  </a:cubicBezTo>
                  <a:cubicBezTo>
                    <a:pt x="197486" y="157371"/>
                    <a:pt x="200571" y="160457"/>
                    <a:pt x="200571" y="163543"/>
                  </a:cubicBezTo>
                  <a:cubicBezTo>
                    <a:pt x="200571" y="166629"/>
                    <a:pt x="197486" y="169714"/>
                    <a:pt x="194402" y="169714"/>
                  </a:cubicBezTo>
                  <a:cubicBezTo>
                    <a:pt x="200571" y="169714"/>
                    <a:pt x="197486" y="169714"/>
                    <a:pt x="191315" y="169714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DA250757-0023-46F2-850E-CA0CE9EF8F84}"/>
                </a:ext>
              </a:extLst>
            </p:cNvPr>
            <p:cNvSpPr/>
            <p:nvPr/>
          </p:nvSpPr>
          <p:spPr>
            <a:xfrm>
              <a:off x="21206820" y="2103348"/>
              <a:ext cx="234385" cy="150467"/>
            </a:xfrm>
            <a:custGeom>
              <a:avLst/>
              <a:gdLst>
                <a:gd name="connsiteX0" fmla="*/ 34 w 234385"/>
                <a:gd name="connsiteY0" fmla="*/ 69177 h 150467"/>
                <a:gd name="connsiteX1" fmla="*/ 120376 w 234385"/>
                <a:gd name="connsiteY1" fmla="*/ 1291 h 150467"/>
                <a:gd name="connsiteX2" fmla="*/ 228376 w 234385"/>
                <a:gd name="connsiteY2" fmla="*/ 124720 h 150467"/>
                <a:gd name="connsiteX3" fmla="*/ 34 w 234385"/>
                <a:gd name="connsiteY3" fmla="*/ 69177 h 150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85" h="150467">
                  <a:moveTo>
                    <a:pt x="34" y="69177"/>
                  </a:moveTo>
                  <a:cubicBezTo>
                    <a:pt x="34" y="69177"/>
                    <a:pt x="24720" y="-11052"/>
                    <a:pt x="120376" y="1291"/>
                  </a:cubicBezTo>
                  <a:cubicBezTo>
                    <a:pt x="182090" y="10548"/>
                    <a:pt x="256148" y="56834"/>
                    <a:pt x="228376" y="124720"/>
                  </a:cubicBezTo>
                  <a:cubicBezTo>
                    <a:pt x="203691" y="192605"/>
                    <a:pt x="-3053" y="109291"/>
                    <a:pt x="34" y="69177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A755862E-238A-4220-9910-98901DC41CFF}"/>
                </a:ext>
              </a:extLst>
            </p:cNvPr>
            <p:cNvSpPr/>
            <p:nvPr/>
          </p:nvSpPr>
          <p:spPr>
            <a:xfrm>
              <a:off x="20759346" y="3018805"/>
              <a:ext cx="242762" cy="745631"/>
            </a:xfrm>
            <a:custGeom>
              <a:avLst/>
              <a:gdLst>
                <a:gd name="connsiteX0" fmla="*/ 206824 w 242762"/>
                <a:gd name="connsiteY0" fmla="*/ 301605 h 745631"/>
                <a:gd name="connsiteX1" fmla="*/ 209909 w 242762"/>
                <a:gd name="connsiteY1" fmla="*/ 5377 h 745631"/>
                <a:gd name="connsiteX2" fmla="*/ 18594 w 242762"/>
                <a:gd name="connsiteY2" fmla="*/ 236805 h 745631"/>
                <a:gd name="connsiteX3" fmla="*/ 80 w 242762"/>
                <a:gd name="connsiteY3" fmla="*/ 619434 h 745631"/>
                <a:gd name="connsiteX4" fmla="*/ 166708 w 242762"/>
                <a:gd name="connsiteY4" fmla="*/ 702748 h 745631"/>
                <a:gd name="connsiteX5" fmla="*/ 206824 w 242762"/>
                <a:gd name="connsiteY5" fmla="*/ 301605 h 745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2762" h="745631">
                  <a:moveTo>
                    <a:pt x="206824" y="301605"/>
                  </a:moveTo>
                  <a:cubicBezTo>
                    <a:pt x="203737" y="116462"/>
                    <a:pt x="287051" y="33148"/>
                    <a:pt x="209909" y="5377"/>
                  </a:cubicBezTo>
                  <a:cubicBezTo>
                    <a:pt x="123509" y="-28566"/>
                    <a:pt x="40194" y="104120"/>
                    <a:pt x="18594" y="236805"/>
                  </a:cubicBezTo>
                  <a:cubicBezTo>
                    <a:pt x="3165" y="338634"/>
                    <a:pt x="80" y="619434"/>
                    <a:pt x="80" y="619434"/>
                  </a:cubicBezTo>
                  <a:cubicBezTo>
                    <a:pt x="-3007" y="724348"/>
                    <a:pt x="83395" y="795320"/>
                    <a:pt x="166708" y="702748"/>
                  </a:cubicBezTo>
                  <a:cubicBezTo>
                    <a:pt x="246937" y="613262"/>
                    <a:pt x="206824" y="489834"/>
                    <a:pt x="206824" y="301605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15A6B032-2981-4866-B8AB-669509A6B75A}"/>
                </a:ext>
              </a:extLst>
            </p:cNvPr>
            <p:cNvSpPr/>
            <p:nvPr/>
          </p:nvSpPr>
          <p:spPr>
            <a:xfrm>
              <a:off x="20700797" y="2902933"/>
              <a:ext cx="390104" cy="439243"/>
            </a:xfrm>
            <a:custGeom>
              <a:avLst/>
              <a:gdLst>
                <a:gd name="connsiteX0" fmla="*/ 361029 w 390104"/>
                <a:gd name="connsiteY0" fmla="*/ 439077 h 439243"/>
                <a:gd name="connsiteX1" fmla="*/ 320915 w 390104"/>
                <a:gd name="connsiteY1" fmla="*/ 7077 h 439243"/>
                <a:gd name="connsiteX2" fmla="*/ 0 w 390104"/>
                <a:gd name="connsiteY2" fmla="*/ 349591 h 439243"/>
                <a:gd name="connsiteX3" fmla="*/ 361029 w 390104"/>
                <a:gd name="connsiteY3" fmla="*/ 439077 h 43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0104" h="439243">
                  <a:moveTo>
                    <a:pt x="361029" y="439077"/>
                  </a:moveTo>
                  <a:cubicBezTo>
                    <a:pt x="413486" y="260105"/>
                    <a:pt x="391886" y="44105"/>
                    <a:pt x="320915" y="7077"/>
                  </a:cubicBezTo>
                  <a:cubicBezTo>
                    <a:pt x="228344" y="-42295"/>
                    <a:pt x="46286" y="176791"/>
                    <a:pt x="0" y="349591"/>
                  </a:cubicBezTo>
                  <a:cubicBezTo>
                    <a:pt x="58629" y="402048"/>
                    <a:pt x="259201" y="442163"/>
                    <a:pt x="361029" y="439077"/>
                  </a:cubicBezTo>
                  <a:close/>
                </a:path>
              </a:pathLst>
            </a:custGeom>
            <a:solidFill>
              <a:srgbClr val="7F95BC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919D241-E9DD-4665-AF53-79A70BE5276C}"/>
                </a:ext>
              </a:extLst>
            </p:cNvPr>
            <p:cNvSpPr/>
            <p:nvPr/>
          </p:nvSpPr>
          <p:spPr>
            <a:xfrm>
              <a:off x="20810087" y="3804867"/>
              <a:ext cx="934426" cy="2554971"/>
            </a:xfrm>
            <a:custGeom>
              <a:avLst/>
              <a:gdLst>
                <a:gd name="connsiteX0" fmla="*/ 800995 w 934426"/>
                <a:gd name="connsiteY0" fmla="*/ 0 h 2554971"/>
                <a:gd name="connsiteX1" fmla="*/ 125225 w 934426"/>
                <a:gd name="connsiteY1" fmla="*/ 0 h 2554971"/>
                <a:gd name="connsiteX2" fmla="*/ 4881 w 934426"/>
                <a:gd name="connsiteY2" fmla="*/ 465943 h 2554971"/>
                <a:gd name="connsiteX3" fmla="*/ 26482 w 934426"/>
                <a:gd name="connsiteY3" fmla="*/ 2554972 h 2554971"/>
                <a:gd name="connsiteX4" fmla="*/ 208538 w 934426"/>
                <a:gd name="connsiteY4" fmla="*/ 2554972 h 2554971"/>
                <a:gd name="connsiteX5" fmla="*/ 427625 w 934426"/>
                <a:gd name="connsiteY5" fmla="*/ 876343 h 2554971"/>
                <a:gd name="connsiteX6" fmla="*/ 733109 w 934426"/>
                <a:gd name="connsiteY6" fmla="*/ 2545714 h 2554971"/>
                <a:gd name="connsiteX7" fmla="*/ 930596 w 934426"/>
                <a:gd name="connsiteY7" fmla="*/ 2545714 h 2554971"/>
                <a:gd name="connsiteX8" fmla="*/ 933681 w 934426"/>
                <a:gd name="connsiteY8" fmla="*/ 425829 h 2554971"/>
                <a:gd name="connsiteX9" fmla="*/ 800995 w 934426"/>
                <a:gd name="connsiteY9" fmla="*/ 0 h 2554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4426" h="2554971">
                  <a:moveTo>
                    <a:pt x="800995" y="0"/>
                  </a:moveTo>
                  <a:lnTo>
                    <a:pt x="125225" y="0"/>
                  </a:lnTo>
                  <a:cubicBezTo>
                    <a:pt x="125225" y="0"/>
                    <a:pt x="26482" y="308571"/>
                    <a:pt x="4881" y="465943"/>
                  </a:cubicBezTo>
                  <a:cubicBezTo>
                    <a:pt x="-13632" y="620229"/>
                    <a:pt x="26482" y="2554972"/>
                    <a:pt x="26482" y="2554972"/>
                  </a:cubicBezTo>
                  <a:lnTo>
                    <a:pt x="208538" y="2554972"/>
                  </a:lnTo>
                  <a:lnTo>
                    <a:pt x="427625" y="876343"/>
                  </a:lnTo>
                  <a:lnTo>
                    <a:pt x="733109" y="2545714"/>
                  </a:lnTo>
                  <a:lnTo>
                    <a:pt x="930596" y="2545714"/>
                  </a:lnTo>
                  <a:cubicBezTo>
                    <a:pt x="930596" y="2545714"/>
                    <a:pt x="924424" y="546172"/>
                    <a:pt x="933681" y="425829"/>
                  </a:cubicBezTo>
                  <a:cubicBezTo>
                    <a:pt x="946024" y="299314"/>
                    <a:pt x="800995" y="0"/>
                    <a:pt x="800995" y="0"/>
                  </a:cubicBezTo>
                  <a:close/>
                </a:path>
              </a:pathLst>
            </a:custGeom>
            <a:solidFill>
              <a:srgbClr val="F6EBE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410BF28D-EBB1-45D5-8E90-B7A56A1FE200}"/>
                </a:ext>
              </a:extLst>
            </p:cNvPr>
            <p:cNvSpPr/>
            <p:nvPr/>
          </p:nvSpPr>
          <p:spPr>
            <a:xfrm>
              <a:off x="20910625" y="3848067"/>
              <a:ext cx="728229" cy="12342"/>
            </a:xfrm>
            <a:custGeom>
              <a:avLst/>
              <a:gdLst>
                <a:gd name="connsiteX0" fmla="*/ 722058 w 728229"/>
                <a:gd name="connsiteY0" fmla="*/ 12343 h 12342"/>
                <a:gd name="connsiteX1" fmla="*/ 6172 w 728229"/>
                <a:gd name="connsiteY1" fmla="*/ 12343 h 12342"/>
                <a:gd name="connsiteX2" fmla="*/ 0 w 728229"/>
                <a:gd name="connsiteY2" fmla="*/ 6172 h 12342"/>
                <a:gd name="connsiteX3" fmla="*/ 6172 w 728229"/>
                <a:gd name="connsiteY3" fmla="*/ 0 h 12342"/>
                <a:gd name="connsiteX4" fmla="*/ 722058 w 728229"/>
                <a:gd name="connsiteY4" fmla="*/ 0 h 12342"/>
                <a:gd name="connsiteX5" fmla="*/ 728230 w 728229"/>
                <a:gd name="connsiteY5" fmla="*/ 6172 h 12342"/>
                <a:gd name="connsiteX6" fmla="*/ 722058 w 728229"/>
                <a:gd name="connsiteY6" fmla="*/ 12343 h 1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8229" h="12342">
                  <a:moveTo>
                    <a:pt x="722058" y="12343"/>
                  </a:moveTo>
                  <a:lnTo>
                    <a:pt x="6172" y="12343"/>
                  </a:lnTo>
                  <a:cubicBezTo>
                    <a:pt x="3087" y="12343"/>
                    <a:pt x="0" y="9257"/>
                    <a:pt x="0" y="6172"/>
                  </a:cubicBezTo>
                  <a:cubicBezTo>
                    <a:pt x="0" y="3086"/>
                    <a:pt x="3087" y="0"/>
                    <a:pt x="6172" y="0"/>
                  </a:cubicBezTo>
                  <a:lnTo>
                    <a:pt x="722058" y="0"/>
                  </a:lnTo>
                  <a:cubicBezTo>
                    <a:pt x="725143" y="0"/>
                    <a:pt x="728230" y="3086"/>
                    <a:pt x="728230" y="6172"/>
                  </a:cubicBezTo>
                  <a:cubicBezTo>
                    <a:pt x="728230" y="9257"/>
                    <a:pt x="725143" y="12343"/>
                    <a:pt x="722058" y="12343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DDC4BEA9-D164-414C-9D37-991ADF074CD6}"/>
                </a:ext>
              </a:extLst>
            </p:cNvPr>
            <p:cNvSpPr/>
            <p:nvPr/>
          </p:nvSpPr>
          <p:spPr>
            <a:xfrm>
              <a:off x="21231540" y="4199839"/>
              <a:ext cx="317828" cy="2153828"/>
            </a:xfrm>
            <a:custGeom>
              <a:avLst/>
              <a:gdLst>
                <a:gd name="connsiteX0" fmla="*/ 311656 w 317828"/>
                <a:gd name="connsiteY0" fmla="*/ 2153829 h 2153828"/>
                <a:gd name="connsiteX1" fmla="*/ 305486 w 317828"/>
                <a:gd name="connsiteY1" fmla="*/ 2150743 h 2153828"/>
                <a:gd name="connsiteX2" fmla="*/ 0 w 317828"/>
                <a:gd name="connsiteY2" fmla="*/ 481371 h 2153828"/>
                <a:gd name="connsiteX3" fmla="*/ 0 w 317828"/>
                <a:gd name="connsiteY3" fmla="*/ 6171 h 2153828"/>
                <a:gd name="connsiteX4" fmla="*/ 6172 w 317828"/>
                <a:gd name="connsiteY4" fmla="*/ 0 h 2153828"/>
                <a:gd name="connsiteX5" fmla="*/ 12344 w 317828"/>
                <a:gd name="connsiteY5" fmla="*/ 6171 h 2153828"/>
                <a:gd name="connsiteX6" fmla="*/ 12344 w 317828"/>
                <a:gd name="connsiteY6" fmla="*/ 481371 h 2153828"/>
                <a:gd name="connsiteX7" fmla="*/ 317828 w 317828"/>
                <a:gd name="connsiteY7" fmla="*/ 2150743 h 2153828"/>
                <a:gd name="connsiteX8" fmla="*/ 311656 w 317828"/>
                <a:gd name="connsiteY8" fmla="*/ 2153829 h 2153828"/>
                <a:gd name="connsiteX9" fmla="*/ 311656 w 317828"/>
                <a:gd name="connsiteY9" fmla="*/ 2153829 h 2153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7828" h="2153828">
                  <a:moveTo>
                    <a:pt x="311656" y="2153829"/>
                  </a:moveTo>
                  <a:cubicBezTo>
                    <a:pt x="308571" y="2153829"/>
                    <a:pt x="305486" y="2150743"/>
                    <a:pt x="305486" y="2150743"/>
                  </a:cubicBezTo>
                  <a:lnTo>
                    <a:pt x="0" y="481371"/>
                  </a:lnTo>
                  <a:lnTo>
                    <a:pt x="0" y="6171"/>
                  </a:lnTo>
                  <a:cubicBezTo>
                    <a:pt x="0" y="3086"/>
                    <a:pt x="3085" y="0"/>
                    <a:pt x="6172" y="0"/>
                  </a:cubicBezTo>
                  <a:cubicBezTo>
                    <a:pt x="9257" y="0"/>
                    <a:pt x="12344" y="3086"/>
                    <a:pt x="12344" y="6171"/>
                  </a:cubicBezTo>
                  <a:lnTo>
                    <a:pt x="12344" y="481371"/>
                  </a:lnTo>
                  <a:lnTo>
                    <a:pt x="317828" y="2150743"/>
                  </a:lnTo>
                  <a:cubicBezTo>
                    <a:pt x="317828" y="2147657"/>
                    <a:pt x="314743" y="2150743"/>
                    <a:pt x="311656" y="2153829"/>
                  </a:cubicBezTo>
                  <a:cubicBezTo>
                    <a:pt x="311656" y="2153829"/>
                    <a:pt x="311656" y="2153829"/>
                    <a:pt x="311656" y="2153829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CC0F0650-DB73-46C5-8A08-0ED434E43DC0}"/>
                </a:ext>
              </a:extLst>
            </p:cNvPr>
            <p:cNvSpPr/>
            <p:nvPr/>
          </p:nvSpPr>
          <p:spPr>
            <a:xfrm>
              <a:off x="20840775" y="2837606"/>
              <a:ext cx="830521" cy="998209"/>
            </a:xfrm>
            <a:custGeom>
              <a:avLst/>
              <a:gdLst>
                <a:gd name="connsiteX0" fmla="*/ 785736 w 830521"/>
                <a:gd name="connsiteY0" fmla="*/ 396404 h 998209"/>
                <a:gd name="connsiteX1" fmla="*/ 770308 w 830521"/>
                <a:gd name="connsiteY1" fmla="*/ 69319 h 998209"/>
                <a:gd name="connsiteX2" fmla="*/ 396937 w 830521"/>
                <a:gd name="connsiteY2" fmla="*/ 4519 h 998209"/>
                <a:gd name="connsiteX3" fmla="*/ 91451 w 830521"/>
                <a:gd name="connsiteY3" fmla="*/ 106347 h 998209"/>
                <a:gd name="connsiteX4" fmla="*/ 51337 w 830521"/>
                <a:gd name="connsiteY4" fmla="*/ 661776 h 998209"/>
                <a:gd name="connsiteX5" fmla="*/ 94538 w 830521"/>
                <a:gd name="connsiteY5" fmla="*/ 991947 h 998209"/>
                <a:gd name="connsiteX6" fmla="*/ 779565 w 830521"/>
                <a:gd name="connsiteY6" fmla="*/ 976519 h 998209"/>
                <a:gd name="connsiteX7" fmla="*/ 785736 w 830521"/>
                <a:gd name="connsiteY7" fmla="*/ 396404 h 998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0521" h="998209">
                  <a:moveTo>
                    <a:pt x="785736" y="396404"/>
                  </a:moveTo>
                  <a:cubicBezTo>
                    <a:pt x="794993" y="365547"/>
                    <a:pt x="890651" y="134119"/>
                    <a:pt x="770308" y="69319"/>
                  </a:cubicBezTo>
                  <a:cubicBezTo>
                    <a:pt x="665395" y="13776"/>
                    <a:pt x="517279" y="-10910"/>
                    <a:pt x="396937" y="4519"/>
                  </a:cubicBezTo>
                  <a:cubicBezTo>
                    <a:pt x="264252" y="19947"/>
                    <a:pt x="131565" y="41547"/>
                    <a:pt x="91451" y="106347"/>
                  </a:cubicBezTo>
                  <a:cubicBezTo>
                    <a:pt x="-22721" y="294576"/>
                    <a:pt x="-22721" y="461204"/>
                    <a:pt x="51337" y="661776"/>
                  </a:cubicBezTo>
                  <a:cubicBezTo>
                    <a:pt x="72937" y="720404"/>
                    <a:pt x="79109" y="856176"/>
                    <a:pt x="94538" y="991947"/>
                  </a:cubicBezTo>
                  <a:cubicBezTo>
                    <a:pt x="94538" y="991947"/>
                    <a:pt x="381509" y="1013547"/>
                    <a:pt x="779565" y="976519"/>
                  </a:cubicBezTo>
                  <a:cubicBezTo>
                    <a:pt x="748708" y="754347"/>
                    <a:pt x="779565" y="421090"/>
                    <a:pt x="785736" y="396404"/>
                  </a:cubicBezTo>
                  <a:close/>
                </a:path>
              </a:pathLst>
            </a:custGeom>
            <a:solidFill>
              <a:srgbClr val="7F95BC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633EEE09-2DAF-434A-A85E-14C12D51CBAB}"/>
                </a:ext>
              </a:extLst>
            </p:cNvPr>
            <p:cNvSpPr/>
            <p:nvPr/>
          </p:nvSpPr>
          <p:spPr>
            <a:xfrm>
              <a:off x="21001735" y="2156453"/>
              <a:ext cx="328884" cy="606113"/>
            </a:xfrm>
            <a:custGeom>
              <a:avLst/>
              <a:gdLst>
                <a:gd name="connsiteX0" fmla="*/ 239062 w 328884"/>
                <a:gd name="connsiteY0" fmla="*/ 306129 h 606113"/>
                <a:gd name="connsiteX1" fmla="*/ 288435 w 328884"/>
                <a:gd name="connsiteY1" fmla="*/ 161100 h 606113"/>
                <a:gd name="connsiteX2" fmla="*/ 328549 w 328884"/>
                <a:gd name="connsiteY2" fmla="*/ 9900 h 606113"/>
                <a:gd name="connsiteX3" fmla="*/ 10720 w 328884"/>
                <a:gd name="connsiteY3" fmla="*/ 185786 h 606113"/>
                <a:gd name="connsiteX4" fmla="*/ 189692 w 328884"/>
                <a:gd name="connsiteY4" fmla="*/ 525215 h 606113"/>
                <a:gd name="connsiteX5" fmla="*/ 288435 w 328884"/>
                <a:gd name="connsiteY5" fmla="*/ 577672 h 606113"/>
                <a:gd name="connsiteX6" fmla="*/ 239062 w 328884"/>
                <a:gd name="connsiteY6" fmla="*/ 306129 h 606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8884" h="606113">
                  <a:moveTo>
                    <a:pt x="239062" y="306129"/>
                  </a:moveTo>
                  <a:cubicBezTo>
                    <a:pt x="248319" y="253672"/>
                    <a:pt x="263748" y="207386"/>
                    <a:pt x="288435" y="161100"/>
                  </a:cubicBezTo>
                  <a:cubicBezTo>
                    <a:pt x="313120" y="111729"/>
                    <a:pt x="331634" y="9900"/>
                    <a:pt x="328549" y="9900"/>
                  </a:cubicBezTo>
                  <a:cubicBezTo>
                    <a:pt x="214377" y="-30214"/>
                    <a:pt x="44663" y="56186"/>
                    <a:pt x="10720" y="185786"/>
                  </a:cubicBezTo>
                  <a:cubicBezTo>
                    <a:pt x="-4708" y="250586"/>
                    <a:pt x="-35565" y="441900"/>
                    <a:pt x="189692" y="525215"/>
                  </a:cubicBezTo>
                  <a:cubicBezTo>
                    <a:pt x="288435" y="608529"/>
                    <a:pt x="276091" y="630129"/>
                    <a:pt x="288435" y="577672"/>
                  </a:cubicBezTo>
                  <a:cubicBezTo>
                    <a:pt x="294605" y="531386"/>
                    <a:pt x="229805" y="358586"/>
                    <a:pt x="239062" y="306129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3FA2C72C-C481-488C-BB2D-E9FD085469D2}"/>
                </a:ext>
              </a:extLst>
            </p:cNvPr>
            <p:cNvSpPr/>
            <p:nvPr/>
          </p:nvSpPr>
          <p:spPr>
            <a:xfrm>
              <a:off x="21072279" y="2193224"/>
              <a:ext cx="427718" cy="575166"/>
            </a:xfrm>
            <a:custGeom>
              <a:avLst/>
              <a:gdLst>
                <a:gd name="connsiteX0" fmla="*/ 8060 w 427718"/>
                <a:gd name="connsiteY0" fmla="*/ 186043 h 575166"/>
                <a:gd name="connsiteX1" fmla="*/ 20404 w 427718"/>
                <a:gd name="connsiteY1" fmla="*/ 445243 h 575166"/>
                <a:gd name="connsiteX2" fmla="*/ 171605 w 427718"/>
                <a:gd name="connsiteY2" fmla="*/ 574843 h 575166"/>
                <a:gd name="connsiteX3" fmla="*/ 390690 w 427718"/>
                <a:gd name="connsiteY3" fmla="*/ 429815 h 575166"/>
                <a:gd name="connsiteX4" fmla="*/ 427719 w 427718"/>
                <a:gd name="connsiteY4" fmla="*/ 201472 h 575166"/>
                <a:gd name="connsiteX5" fmla="*/ 211719 w 427718"/>
                <a:gd name="connsiteY5" fmla="*/ 901 h 575166"/>
                <a:gd name="connsiteX6" fmla="*/ 8060 w 427718"/>
                <a:gd name="connsiteY6" fmla="*/ 186043 h 575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718" h="575166">
                  <a:moveTo>
                    <a:pt x="8060" y="186043"/>
                  </a:moveTo>
                  <a:cubicBezTo>
                    <a:pt x="8060" y="186043"/>
                    <a:pt x="-16625" y="377358"/>
                    <a:pt x="20404" y="445243"/>
                  </a:cubicBezTo>
                  <a:cubicBezTo>
                    <a:pt x="57433" y="513129"/>
                    <a:pt x="119147" y="571758"/>
                    <a:pt x="171605" y="574843"/>
                  </a:cubicBezTo>
                  <a:cubicBezTo>
                    <a:pt x="239489" y="581015"/>
                    <a:pt x="353661" y="497701"/>
                    <a:pt x="390690" y="429815"/>
                  </a:cubicBezTo>
                  <a:cubicBezTo>
                    <a:pt x="427719" y="361929"/>
                    <a:pt x="427719" y="253929"/>
                    <a:pt x="427719" y="201472"/>
                  </a:cubicBezTo>
                  <a:cubicBezTo>
                    <a:pt x="424632" y="105815"/>
                    <a:pt x="396861" y="25586"/>
                    <a:pt x="211719" y="901"/>
                  </a:cubicBezTo>
                  <a:cubicBezTo>
                    <a:pt x="122232" y="-11442"/>
                    <a:pt x="26576" y="105815"/>
                    <a:pt x="8060" y="186043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C584FF53-EC2B-44E2-8AF5-FD4EA977D1D5}"/>
                </a:ext>
              </a:extLst>
            </p:cNvPr>
            <p:cNvSpPr/>
            <p:nvPr/>
          </p:nvSpPr>
          <p:spPr>
            <a:xfrm>
              <a:off x="21206855" y="2464389"/>
              <a:ext cx="55542" cy="133963"/>
            </a:xfrm>
            <a:custGeom>
              <a:avLst/>
              <a:gdLst>
                <a:gd name="connsiteX0" fmla="*/ 30857 w 55542"/>
                <a:gd name="connsiteY0" fmla="*/ 133964 h 133963"/>
                <a:gd name="connsiteX1" fmla="*/ 6172 w 55542"/>
                <a:gd name="connsiteY1" fmla="*/ 127792 h 133963"/>
                <a:gd name="connsiteX2" fmla="*/ 0 w 55542"/>
                <a:gd name="connsiteY2" fmla="*/ 115450 h 133963"/>
                <a:gd name="connsiteX3" fmla="*/ 27770 w 55542"/>
                <a:gd name="connsiteY3" fmla="*/ 4364 h 133963"/>
                <a:gd name="connsiteX4" fmla="*/ 33942 w 55542"/>
                <a:gd name="connsiteY4" fmla="*/ 1278 h 133963"/>
                <a:gd name="connsiteX5" fmla="*/ 37029 w 55542"/>
                <a:gd name="connsiteY5" fmla="*/ 7450 h 133963"/>
                <a:gd name="connsiteX6" fmla="*/ 9257 w 55542"/>
                <a:gd name="connsiteY6" fmla="*/ 115450 h 133963"/>
                <a:gd name="connsiteX7" fmla="*/ 9257 w 55542"/>
                <a:gd name="connsiteY7" fmla="*/ 118535 h 133963"/>
                <a:gd name="connsiteX8" fmla="*/ 49371 w 55542"/>
                <a:gd name="connsiteY8" fmla="*/ 118535 h 133963"/>
                <a:gd name="connsiteX9" fmla="*/ 55542 w 55542"/>
                <a:gd name="connsiteY9" fmla="*/ 124707 h 133963"/>
                <a:gd name="connsiteX10" fmla="*/ 49371 w 55542"/>
                <a:gd name="connsiteY10" fmla="*/ 130878 h 133963"/>
                <a:gd name="connsiteX11" fmla="*/ 30857 w 55542"/>
                <a:gd name="connsiteY11" fmla="*/ 133964 h 133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542" h="133963">
                  <a:moveTo>
                    <a:pt x="30857" y="133964"/>
                  </a:moveTo>
                  <a:cubicBezTo>
                    <a:pt x="21600" y="133964"/>
                    <a:pt x="12342" y="133964"/>
                    <a:pt x="6172" y="127792"/>
                  </a:cubicBezTo>
                  <a:cubicBezTo>
                    <a:pt x="3085" y="124707"/>
                    <a:pt x="0" y="121621"/>
                    <a:pt x="0" y="115450"/>
                  </a:cubicBezTo>
                  <a:cubicBezTo>
                    <a:pt x="0" y="93850"/>
                    <a:pt x="27770" y="7450"/>
                    <a:pt x="27770" y="4364"/>
                  </a:cubicBezTo>
                  <a:cubicBezTo>
                    <a:pt x="27770" y="1278"/>
                    <a:pt x="30857" y="-1808"/>
                    <a:pt x="33942" y="1278"/>
                  </a:cubicBezTo>
                  <a:cubicBezTo>
                    <a:pt x="37029" y="1278"/>
                    <a:pt x="40114" y="4364"/>
                    <a:pt x="37029" y="7450"/>
                  </a:cubicBezTo>
                  <a:cubicBezTo>
                    <a:pt x="30857" y="32135"/>
                    <a:pt x="9257" y="96935"/>
                    <a:pt x="9257" y="115450"/>
                  </a:cubicBezTo>
                  <a:cubicBezTo>
                    <a:pt x="9257" y="115450"/>
                    <a:pt x="9257" y="118535"/>
                    <a:pt x="9257" y="118535"/>
                  </a:cubicBezTo>
                  <a:cubicBezTo>
                    <a:pt x="15429" y="124707"/>
                    <a:pt x="37029" y="121621"/>
                    <a:pt x="49371" y="118535"/>
                  </a:cubicBezTo>
                  <a:cubicBezTo>
                    <a:pt x="52458" y="118535"/>
                    <a:pt x="55542" y="118535"/>
                    <a:pt x="55542" y="124707"/>
                  </a:cubicBezTo>
                  <a:cubicBezTo>
                    <a:pt x="55542" y="127792"/>
                    <a:pt x="55542" y="130878"/>
                    <a:pt x="49371" y="130878"/>
                  </a:cubicBezTo>
                  <a:cubicBezTo>
                    <a:pt x="52458" y="133964"/>
                    <a:pt x="43199" y="133964"/>
                    <a:pt x="30857" y="133964"/>
                  </a:cubicBezTo>
                  <a:close/>
                </a:path>
              </a:pathLst>
            </a:custGeom>
            <a:solidFill>
              <a:srgbClr val="E58777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9D3B463C-7C85-4B7A-A22F-B14593BB0D10}"/>
                </a:ext>
              </a:extLst>
            </p:cNvPr>
            <p:cNvSpPr/>
            <p:nvPr/>
          </p:nvSpPr>
          <p:spPr>
            <a:xfrm>
              <a:off x="21191426" y="2650810"/>
              <a:ext cx="107999" cy="55542"/>
            </a:xfrm>
            <a:custGeom>
              <a:avLst/>
              <a:gdLst>
                <a:gd name="connsiteX0" fmla="*/ 108000 w 107999"/>
                <a:gd name="connsiteY0" fmla="*/ 0 h 55542"/>
                <a:gd name="connsiteX1" fmla="*/ 0 w 107999"/>
                <a:gd name="connsiteY1" fmla="*/ 0 h 55542"/>
                <a:gd name="connsiteX2" fmla="*/ 52458 w 107999"/>
                <a:gd name="connsiteY2" fmla="*/ 55543 h 55542"/>
                <a:gd name="connsiteX3" fmla="*/ 108000 w 107999"/>
                <a:gd name="connsiteY3" fmla="*/ 0 h 5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999" h="55542">
                  <a:moveTo>
                    <a:pt x="108000" y="0"/>
                  </a:moveTo>
                  <a:cubicBezTo>
                    <a:pt x="52458" y="24686"/>
                    <a:pt x="0" y="0"/>
                    <a:pt x="0" y="0"/>
                  </a:cubicBezTo>
                  <a:cubicBezTo>
                    <a:pt x="0" y="0"/>
                    <a:pt x="15429" y="55543"/>
                    <a:pt x="52458" y="55543"/>
                  </a:cubicBezTo>
                  <a:cubicBezTo>
                    <a:pt x="92571" y="52457"/>
                    <a:pt x="108000" y="0"/>
                    <a:pt x="108000" y="0"/>
                  </a:cubicBezTo>
                  <a:close/>
                </a:path>
              </a:pathLst>
            </a:custGeom>
            <a:solidFill>
              <a:srgbClr val="FFFFFF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2099A59F-8135-40CC-9553-98811E4C0472}"/>
                </a:ext>
              </a:extLst>
            </p:cNvPr>
            <p:cNvSpPr/>
            <p:nvPr/>
          </p:nvSpPr>
          <p:spPr>
            <a:xfrm>
              <a:off x="21135097" y="2437110"/>
              <a:ext cx="41686" cy="41686"/>
            </a:xfrm>
            <a:custGeom>
              <a:avLst/>
              <a:gdLst>
                <a:gd name="connsiteX0" fmla="*/ 40901 w 41686"/>
                <a:gd name="connsiteY0" fmla="*/ 25472 h 41686"/>
                <a:gd name="connsiteX1" fmla="*/ 16215 w 41686"/>
                <a:gd name="connsiteY1" fmla="*/ 40901 h 41686"/>
                <a:gd name="connsiteX2" fmla="*/ 787 w 41686"/>
                <a:gd name="connsiteY2" fmla="*/ 16215 h 41686"/>
                <a:gd name="connsiteX3" fmla="*/ 25472 w 41686"/>
                <a:gd name="connsiteY3" fmla="*/ 786 h 41686"/>
                <a:gd name="connsiteX4" fmla="*/ 40901 w 41686"/>
                <a:gd name="connsiteY4" fmla="*/ 25472 h 41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86" h="41686">
                  <a:moveTo>
                    <a:pt x="40901" y="25472"/>
                  </a:moveTo>
                  <a:cubicBezTo>
                    <a:pt x="37814" y="37815"/>
                    <a:pt x="28557" y="43986"/>
                    <a:pt x="16215" y="40901"/>
                  </a:cubicBezTo>
                  <a:cubicBezTo>
                    <a:pt x="3872" y="37815"/>
                    <a:pt x="-2300" y="28558"/>
                    <a:pt x="787" y="16215"/>
                  </a:cubicBezTo>
                  <a:cubicBezTo>
                    <a:pt x="3872" y="3872"/>
                    <a:pt x="13129" y="-2299"/>
                    <a:pt x="25472" y="786"/>
                  </a:cubicBezTo>
                  <a:cubicBezTo>
                    <a:pt x="37814" y="3872"/>
                    <a:pt x="43986" y="16215"/>
                    <a:pt x="40901" y="25472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BE38999B-8CCA-4760-8262-3B422A7F0B3A}"/>
                </a:ext>
              </a:extLst>
            </p:cNvPr>
            <p:cNvSpPr/>
            <p:nvPr/>
          </p:nvSpPr>
          <p:spPr>
            <a:xfrm>
              <a:off x="21329496" y="2443462"/>
              <a:ext cx="40900" cy="41324"/>
            </a:xfrm>
            <a:custGeom>
              <a:avLst/>
              <a:gdLst>
                <a:gd name="connsiteX0" fmla="*/ 40901 w 40900"/>
                <a:gd name="connsiteY0" fmla="*/ 25291 h 41324"/>
                <a:gd name="connsiteX1" fmla="*/ 16215 w 40900"/>
                <a:gd name="connsiteY1" fmla="*/ 40720 h 41324"/>
                <a:gd name="connsiteX2" fmla="*/ 787 w 40900"/>
                <a:gd name="connsiteY2" fmla="*/ 16034 h 41324"/>
                <a:gd name="connsiteX3" fmla="*/ 25472 w 40900"/>
                <a:gd name="connsiteY3" fmla="*/ 605 h 41324"/>
                <a:gd name="connsiteX4" fmla="*/ 40901 w 40900"/>
                <a:gd name="connsiteY4" fmla="*/ 25291 h 41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00" h="41324">
                  <a:moveTo>
                    <a:pt x="40901" y="25291"/>
                  </a:moveTo>
                  <a:cubicBezTo>
                    <a:pt x="37816" y="34548"/>
                    <a:pt x="28557" y="43805"/>
                    <a:pt x="16215" y="40720"/>
                  </a:cubicBezTo>
                  <a:cubicBezTo>
                    <a:pt x="3872" y="37634"/>
                    <a:pt x="-2300" y="28377"/>
                    <a:pt x="787" y="16034"/>
                  </a:cubicBezTo>
                  <a:cubicBezTo>
                    <a:pt x="3872" y="6777"/>
                    <a:pt x="13129" y="-2480"/>
                    <a:pt x="25472" y="605"/>
                  </a:cubicBezTo>
                  <a:cubicBezTo>
                    <a:pt x="34729" y="3691"/>
                    <a:pt x="40901" y="16034"/>
                    <a:pt x="40901" y="25291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53986914-6587-4473-B4C4-BCC784C33056}"/>
                </a:ext>
              </a:extLst>
            </p:cNvPr>
            <p:cNvSpPr/>
            <p:nvPr/>
          </p:nvSpPr>
          <p:spPr>
            <a:xfrm>
              <a:off x="21108883" y="2386982"/>
              <a:ext cx="93078" cy="35485"/>
            </a:xfrm>
            <a:custGeom>
              <a:avLst/>
              <a:gdLst>
                <a:gd name="connsiteX0" fmla="*/ 8486 w 93078"/>
                <a:gd name="connsiteY0" fmla="*/ 35486 h 35485"/>
                <a:gd name="connsiteX1" fmla="*/ 2314 w 93078"/>
                <a:gd name="connsiteY1" fmla="*/ 32400 h 35485"/>
                <a:gd name="connsiteX2" fmla="*/ 2314 w 93078"/>
                <a:gd name="connsiteY2" fmla="*/ 20057 h 35485"/>
                <a:gd name="connsiteX3" fmla="*/ 88715 w 93078"/>
                <a:gd name="connsiteY3" fmla="*/ 7714 h 35485"/>
                <a:gd name="connsiteX4" fmla="*/ 91800 w 93078"/>
                <a:gd name="connsiteY4" fmla="*/ 16971 h 35485"/>
                <a:gd name="connsiteX5" fmla="*/ 82543 w 93078"/>
                <a:gd name="connsiteY5" fmla="*/ 20057 h 35485"/>
                <a:gd name="connsiteX6" fmla="*/ 14657 w 93078"/>
                <a:gd name="connsiteY6" fmla="*/ 26229 h 35485"/>
                <a:gd name="connsiteX7" fmla="*/ 8486 w 93078"/>
                <a:gd name="connsiteY7" fmla="*/ 35486 h 35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5485">
                  <a:moveTo>
                    <a:pt x="8486" y="35486"/>
                  </a:moveTo>
                  <a:cubicBezTo>
                    <a:pt x="5401" y="35486"/>
                    <a:pt x="5401" y="35486"/>
                    <a:pt x="2314" y="32400"/>
                  </a:cubicBezTo>
                  <a:cubicBezTo>
                    <a:pt x="-771" y="29314"/>
                    <a:pt x="-771" y="23143"/>
                    <a:pt x="2314" y="20057"/>
                  </a:cubicBezTo>
                  <a:cubicBezTo>
                    <a:pt x="30086" y="-10800"/>
                    <a:pt x="70200" y="1543"/>
                    <a:pt x="88715" y="7714"/>
                  </a:cubicBezTo>
                  <a:cubicBezTo>
                    <a:pt x="91800" y="10800"/>
                    <a:pt x="94885" y="13886"/>
                    <a:pt x="91800" y="16971"/>
                  </a:cubicBezTo>
                  <a:cubicBezTo>
                    <a:pt x="88715" y="20057"/>
                    <a:pt x="85628" y="23143"/>
                    <a:pt x="82543" y="20057"/>
                  </a:cubicBezTo>
                  <a:cubicBezTo>
                    <a:pt x="79457" y="20057"/>
                    <a:pt x="39343" y="-1543"/>
                    <a:pt x="14657" y="26229"/>
                  </a:cubicBezTo>
                  <a:cubicBezTo>
                    <a:pt x="14657" y="35486"/>
                    <a:pt x="11572" y="35486"/>
                    <a:pt x="8486" y="35486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ED8FA730-728F-44F0-9415-3CA6C0B4211E}"/>
                </a:ext>
              </a:extLst>
            </p:cNvPr>
            <p:cNvSpPr/>
            <p:nvPr/>
          </p:nvSpPr>
          <p:spPr>
            <a:xfrm>
              <a:off x="21301233" y="2388838"/>
              <a:ext cx="93077" cy="36714"/>
            </a:xfrm>
            <a:custGeom>
              <a:avLst/>
              <a:gdLst>
                <a:gd name="connsiteX0" fmla="*/ 87677 w 93077"/>
                <a:gd name="connsiteY0" fmla="*/ 36715 h 36714"/>
                <a:gd name="connsiteX1" fmla="*/ 81507 w 93077"/>
                <a:gd name="connsiteY1" fmla="*/ 33629 h 36714"/>
                <a:gd name="connsiteX2" fmla="*/ 13621 w 93077"/>
                <a:gd name="connsiteY2" fmla="*/ 27457 h 36714"/>
                <a:gd name="connsiteX3" fmla="*/ 1278 w 93077"/>
                <a:gd name="connsiteY3" fmla="*/ 24372 h 36714"/>
                <a:gd name="connsiteX4" fmla="*/ 4365 w 93077"/>
                <a:gd name="connsiteY4" fmla="*/ 12029 h 36714"/>
                <a:gd name="connsiteX5" fmla="*/ 90764 w 93077"/>
                <a:gd name="connsiteY5" fmla="*/ 21286 h 36714"/>
                <a:gd name="connsiteX6" fmla="*/ 90764 w 93077"/>
                <a:gd name="connsiteY6" fmla="*/ 33629 h 36714"/>
                <a:gd name="connsiteX7" fmla="*/ 87677 w 93077"/>
                <a:gd name="connsiteY7" fmla="*/ 36715 h 3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7" h="36714">
                  <a:moveTo>
                    <a:pt x="87677" y="36715"/>
                  </a:moveTo>
                  <a:cubicBezTo>
                    <a:pt x="84592" y="36715"/>
                    <a:pt x="84592" y="36715"/>
                    <a:pt x="81507" y="33629"/>
                  </a:cubicBezTo>
                  <a:cubicBezTo>
                    <a:pt x="81507" y="33629"/>
                    <a:pt x="50650" y="2772"/>
                    <a:pt x="13621" y="27457"/>
                  </a:cubicBezTo>
                  <a:cubicBezTo>
                    <a:pt x="10535" y="30543"/>
                    <a:pt x="4365" y="27457"/>
                    <a:pt x="1278" y="24372"/>
                  </a:cubicBezTo>
                  <a:cubicBezTo>
                    <a:pt x="-1807" y="21286"/>
                    <a:pt x="1278" y="15115"/>
                    <a:pt x="4365" y="12029"/>
                  </a:cubicBezTo>
                  <a:cubicBezTo>
                    <a:pt x="41392" y="-12657"/>
                    <a:pt x="78421" y="5857"/>
                    <a:pt x="90764" y="21286"/>
                  </a:cubicBezTo>
                  <a:cubicBezTo>
                    <a:pt x="93849" y="24372"/>
                    <a:pt x="93849" y="30543"/>
                    <a:pt x="90764" y="33629"/>
                  </a:cubicBezTo>
                  <a:cubicBezTo>
                    <a:pt x="90764" y="33629"/>
                    <a:pt x="87677" y="36715"/>
                    <a:pt x="87677" y="36715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124CBD4D-8187-49DA-B462-F7D803E9A312}"/>
                </a:ext>
              </a:extLst>
            </p:cNvPr>
            <p:cNvSpPr/>
            <p:nvPr/>
          </p:nvSpPr>
          <p:spPr>
            <a:xfrm>
              <a:off x="21052340" y="2160969"/>
              <a:ext cx="280059" cy="261498"/>
            </a:xfrm>
            <a:custGeom>
              <a:avLst/>
              <a:gdLst>
                <a:gd name="connsiteX0" fmla="*/ 277943 w 280059"/>
                <a:gd name="connsiteY0" fmla="*/ 2298 h 261498"/>
                <a:gd name="connsiteX1" fmla="*/ 240914 w 280059"/>
                <a:gd name="connsiteY1" fmla="*/ 131898 h 261498"/>
                <a:gd name="connsiteX2" fmla="*/ 229 w 280059"/>
                <a:gd name="connsiteY2" fmla="*/ 261498 h 261498"/>
                <a:gd name="connsiteX3" fmla="*/ 277943 w 280059"/>
                <a:gd name="connsiteY3" fmla="*/ 2298 h 261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059" h="261498">
                  <a:moveTo>
                    <a:pt x="277943" y="2298"/>
                  </a:moveTo>
                  <a:cubicBezTo>
                    <a:pt x="277943" y="2298"/>
                    <a:pt x="293371" y="91784"/>
                    <a:pt x="240914" y="131898"/>
                  </a:cubicBezTo>
                  <a:cubicBezTo>
                    <a:pt x="240914" y="131898"/>
                    <a:pt x="27999" y="175098"/>
                    <a:pt x="229" y="261498"/>
                  </a:cubicBezTo>
                  <a:cubicBezTo>
                    <a:pt x="229" y="261498"/>
                    <a:pt x="-18287" y="-28559"/>
                    <a:pt x="277943" y="2298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10539D2B-3A34-4B5A-99D5-E61464A469DA}"/>
                </a:ext>
              </a:extLst>
            </p:cNvPr>
            <p:cNvSpPr/>
            <p:nvPr/>
          </p:nvSpPr>
          <p:spPr>
            <a:xfrm>
              <a:off x="21293254" y="2163267"/>
              <a:ext cx="226971" cy="318329"/>
            </a:xfrm>
            <a:custGeom>
              <a:avLst/>
              <a:gdLst>
                <a:gd name="connsiteX0" fmla="*/ 0 w 226971"/>
                <a:gd name="connsiteY0" fmla="*/ 129600 h 318329"/>
                <a:gd name="connsiteX1" fmla="*/ 141942 w 226971"/>
                <a:gd name="connsiteY1" fmla="*/ 185143 h 318329"/>
                <a:gd name="connsiteX2" fmla="*/ 200571 w 226971"/>
                <a:gd name="connsiteY2" fmla="*/ 305486 h 318329"/>
                <a:gd name="connsiteX3" fmla="*/ 225257 w 226971"/>
                <a:gd name="connsiteY3" fmla="*/ 302400 h 318329"/>
                <a:gd name="connsiteX4" fmla="*/ 33942 w 226971"/>
                <a:gd name="connsiteY4" fmla="*/ 0 h 318329"/>
                <a:gd name="connsiteX5" fmla="*/ 0 w 226971"/>
                <a:gd name="connsiteY5" fmla="*/ 129600 h 318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6971" h="318329">
                  <a:moveTo>
                    <a:pt x="0" y="129600"/>
                  </a:moveTo>
                  <a:cubicBezTo>
                    <a:pt x="0" y="129600"/>
                    <a:pt x="92571" y="178971"/>
                    <a:pt x="141942" y="185143"/>
                  </a:cubicBezTo>
                  <a:cubicBezTo>
                    <a:pt x="194400" y="191314"/>
                    <a:pt x="200571" y="305486"/>
                    <a:pt x="200571" y="305486"/>
                  </a:cubicBezTo>
                  <a:cubicBezTo>
                    <a:pt x="200571" y="305486"/>
                    <a:pt x="222172" y="336343"/>
                    <a:pt x="225257" y="302400"/>
                  </a:cubicBezTo>
                  <a:cubicBezTo>
                    <a:pt x="231429" y="222171"/>
                    <a:pt x="231429" y="21600"/>
                    <a:pt x="33942" y="0"/>
                  </a:cubicBezTo>
                  <a:cubicBezTo>
                    <a:pt x="37029" y="0"/>
                    <a:pt x="24685" y="123429"/>
                    <a:pt x="0" y="129600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7A45AA77-4076-4041-B802-A5BAA39857D5}"/>
                </a:ext>
              </a:extLst>
            </p:cNvPr>
            <p:cNvSpPr/>
            <p:nvPr/>
          </p:nvSpPr>
          <p:spPr>
            <a:xfrm>
              <a:off x="21290169" y="2209553"/>
              <a:ext cx="157370" cy="145028"/>
            </a:xfrm>
            <a:custGeom>
              <a:avLst/>
              <a:gdLst>
                <a:gd name="connsiteX0" fmla="*/ 148114 w 157370"/>
                <a:gd name="connsiteY0" fmla="*/ 145029 h 145028"/>
                <a:gd name="connsiteX1" fmla="*/ 148114 w 157370"/>
                <a:gd name="connsiteY1" fmla="*/ 145029 h 145028"/>
                <a:gd name="connsiteX2" fmla="*/ 49371 w 157370"/>
                <a:gd name="connsiteY2" fmla="*/ 111086 h 145028"/>
                <a:gd name="connsiteX3" fmla="*/ 3085 w 157370"/>
                <a:gd name="connsiteY3" fmla="*/ 86400 h 145028"/>
                <a:gd name="connsiteX4" fmla="*/ 0 w 157370"/>
                <a:gd name="connsiteY4" fmla="*/ 83314 h 145028"/>
                <a:gd name="connsiteX5" fmla="*/ 0 w 157370"/>
                <a:gd name="connsiteY5" fmla="*/ 77143 h 145028"/>
                <a:gd name="connsiteX6" fmla="*/ 27770 w 157370"/>
                <a:gd name="connsiteY6" fmla="*/ 6171 h 145028"/>
                <a:gd name="connsiteX7" fmla="*/ 33942 w 157370"/>
                <a:gd name="connsiteY7" fmla="*/ 0 h 145028"/>
                <a:gd name="connsiteX8" fmla="*/ 40114 w 157370"/>
                <a:gd name="connsiteY8" fmla="*/ 6171 h 145028"/>
                <a:gd name="connsiteX9" fmla="*/ 15429 w 157370"/>
                <a:gd name="connsiteY9" fmla="*/ 77143 h 145028"/>
                <a:gd name="connsiteX10" fmla="*/ 55542 w 157370"/>
                <a:gd name="connsiteY10" fmla="*/ 98743 h 145028"/>
                <a:gd name="connsiteX11" fmla="*/ 151199 w 157370"/>
                <a:gd name="connsiteY11" fmla="*/ 129600 h 145028"/>
                <a:gd name="connsiteX12" fmla="*/ 157371 w 157370"/>
                <a:gd name="connsiteY12" fmla="*/ 135771 h 145028"/>
                <a:gd name="connsiteX13" fmla="*/ 148114 w 157370"/>
                <a:gd name="connsiteY13" fmla="*/ 145029 h 145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370" h="145028">
                  <a:moveTo>
                    <a:pt x="148114" y="145029"/>
                  </a:moveTo>
                  <a:cubicBezTo>
                    <a:pt x="148114" y="145029"/>
                    <a:pt x="148114" y="145029"/>
                    <a:pt x="148114" y="145029"/>
                  </a:cubicBezTo>
                  <a:cubicBezTo>
                    <a:pt x="117257" y="141943"/>
                    <a:pt x="83313" y="129600"/>
                    <a:pt x="49371" y="111086"/>
                  </a:cubicBezTo>
                  <a:cubicBezTo>
                    <a:pt x="21598" y="98743"/>
                    <a:pt x="3085" y="86400"/>
                    <a:pt x="3085" y="86400"/>
                  </a:cubicBezTo>
                  <a:cubicBezTo>
                    <a:pt x="3085" y="86400"/>
                    <a:pt x="0" y="83314"/>
                    <a:pt x="0" y="83314"/>
                  </a:cubicBezTo>
                  <a:cubicBezTo>
                    <a:pt x="0" y="80229"/>
                    <a:pt x="0" y="80229"/>
                    <a:pt x="0" y="77143"/>
                  </a:cubicBezTo>
                  <a:cubicBezTo>
                    <a:pt x="6170" y="70971"/>
                    <a:pt x="24685" y="30857"/>
                    <a:pt x="27770" y="6171"/>
                  </a:cubicBezTo>
                  <a:cubicBezTo>
                    <a:pt x="27770" y="3086"/>
                    <a:pt x="30857" y="0"/>
                    <a:pt x="33942" y="0"/>
                  </a:cubicBezTo>
                  <a:cubicBezTo>
                    <a:pt x="37027" y="0"/>
                    <a:pt x="40114" y="3086"/>
                    <a:pt x="40114" y="6171"/>
                  </a:cubicBezTo>
                  <a:cubicBezTo>
                    <a:pt x="40114" y="30857"/>
                    <a:pt x="24685" y="64800"/>
                    <a:pt x="15429" y="77143"/>
                  </a:cubicBezTo>
                  <a:cubicBezTo>
                    <a:pt x="21598" y="80229"/>
                    <a:pt x="37027" y="89486"/>
                    <a:pt x="55542" y="98743"/>
                  </a:cubicBezTo>
                  <a:cubicBezTo>
                    <a:pt x="89485" y="114171"/>
                    <a:pt x="123429" y="126514"/>
                    <a:pt x="151199" y="129600"/>
                  </a:cubicBezTo>
                  <a:cubicBezTo>
                    <a:pt x="154286" y="129600"/>
                    <a:pt x="157371" y="132686"/>
                    <a:pt x="157371" y="135771"/>
                  </a:cubicBezTo>
                  <a:cubicBezTo>
                    <a:pt x="151199" y="141943"/>
                    <a:pt x="151199" y="145029"/>
                    <a:pt x="148114" y="145029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64BBF097-F1F6-4669-B471-9E56C348AC44}"/>
                </a:ext>
              </a:extLst>
            </p:cNvPr>
            <p:cNvSpPr/>
            <p:nvPr/>
          </p:nvSpPr>
          <p:spPr>
            <a:xfrm>
              <a:off x="21126625" y="2656982"/>
              <a:ext cx="311658" cy="227028"/>
            </a:xfrm>
            <a:custGeom>
              <a:avLst/>
              <a:gdLst>
                <a:gd name="connsiteX0" fmla="*/ 55544 w 311658"/>
                <a:gd name="connsiteY0" fmla="*/ 61714 h 227028"/>
                <a:gd name="connsiteX1" fmla="*/ 0 w 311658"/>
                <a:gd name="connsiteY1" fmla="*/ 203657 h 227028"/>
                <a:gd name="connsiteX2" fmla="*/ 311658 w 311658"/>
                <a:gd name="connsiteY2" fmla="*/ 188229 h 227028"/>
                <a:gd name="connsiteX3" fmla="*/ 259201 w 311658"/>
                <a:gd name="connsiteY3" fmla="*/ 0 h 227028"/>
                <a:gd name="connsiteX4" fmla="*/ 55544 w 311658"/>
                <a:gd name="connsiteY4" fmla="*/ 61714 h 227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658" h="227028">
                  <a:moveTo>
                    <a:pt x="55544" y="61714"/>
                  </a:moveTo>
                  <a:cubicBezTo>
                    <a:pt x="55544" y="61714"/>
                    <a:pt x="61714" y="172800"/>
                    <a:pt x="0" y="203657"/>
                  </a:cubicBezTo>
                  <a:cubicBezTo>
                    <a:pt x="0" y="203657"/>
                    <a:pt x="182058" y="265371"/>
                    <a:pt x="311658" y="188229"/>
                  </a:cubicBezTo>
                  <a:cubicBezTo>
                    <a:pt x="256116" y="145029"/>
                    <a:pt x="259201" y="61714"/>
                    <a:pt x="259201" y="0"/>
                  </a:cubicBezTo>
                  <a:cubicBezTo>
                    <a:pt x="259201" y="0"/>
                    <a:pt x="108000" y="70971"/>
                    <a:pt x="55544" y="61714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B7BA41FA-C30A-41FA-9896-7328D621810D}"/>
                </a:ext>
              </a:extLst>
            </p:cNvPr>
            <p:cNvSpPr/>
            <p:nvPr/>
          </p:nvSpPr>
          <p:spPr>
            <a:xfrm>
              <a:off x="21170597" y="2695818"/>
              <a:ext cx="225764" cy="81506"/>
            </a:xfrm>
            <a:custGeom>
              <a:avLst/>
              <a:gdLst>
                <a:gd name="connsiteX0" fmla="*/ 73287 w 225764"/>
                <a:gd name="connsiteY0" fmla="*/ 81507 h 81506"/>
                <a:gd name="connsiteX1" fmla="*/ 2314 w 225764"/>
                <a:gd name="connsiteY1" fmla="*/ 53735 h 81506"/>
                <a:gd name="connsiteX2" fmla="*/ 2314 w 225764"/>
                <a:gd name="connsiteY2" fmla="*/ 44478 h 81506"/>
                <a:gd name="connsiteX3" fmla="*/ 11572 w 225764"/>
                <a:gd name="connsiteY3" fmla="*/ 44478 h 81506"/>
                <a:gd name="connsiteX4" fmla="*/ 82543 w 225764"/>
                <a:gd name="connsiteY4" fmla="*/ 69164 h 81506"/>
                <a:gd name="connsiteX5" fmla="*/ 215229 w 225764"/>
                <a:gd name="connsiteY5" fmla="*/ 1278 h 81506"/>
                <a:gd name="connsiteX6" fmla="*/ 224486 w 225764"/>
                <a:gd name="connsiteY6" fmla="*/ 4364 h 81506"/>
                <a:gd name="connsiteX7" fmla="*/ 221401 w 225764"/>
                <a:gd name="connsiteY7" fmla="*/ 13621 h 81506"/>
                <a:gd name="connsiteX8" fmla="*/ 82543 w 225764"/>
                <a:gd name="connsiteY8" fmla="*/ 81507 h 81506"/>
                <a:gd name="connsiteX9" fmla="*/ 73287 w 225764"/>
                <a:gd name="connsiteY9" fmla="*/ 81507 h 8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764" h="81506">
                  <a:moveTo>
                    <a:pt x="73287" y="81507"/>
                  </a:moveTo>
                  <a:cubicBezTo>
                    <a:pt x="33171" y="81507"/>
                    <a:pt x="5401" y="53735"/>
                    <a:pt x="2314" y="53735"/>
                  </a:cubicBezTo>
                  <a:cubicBezTo>
                    <a:pt x="-771" y="50650"/>
                    <a:pt x="-771" y="47564"/>
                    <a:pt x="2314" y="44478"/>
                  </a:cubicBezTo>
                  <a:cubicBezTo>
                    <a:pt x="5401" y="41392"/>
                    <a:pt x="8486" y="41392"/>
                    <a:pt x="11572" y="44478"/>
                  </a:cubicBezTo>
                  <a:cubicBezTo>
                    <a:pt x="11572" y="44478"/>
                    <a:pt x="45514" y="75335"/>
                    <a:pt x="82543" y="69164"/>
                  </a:cubicBezTo>
                  <a:cubicBezTo>
                    <a:pt x="122657" y="62992"/>
                    <a:pt x="215229" y="1278"/>
                    <a:pt x="215229" y="1278"/>
                  </a:cubicBezTo>
                  <a:cubicBezTo>
                    <a:pt x="218314" y="-1808"/>
                    <a:pt x="221401" y="1278"/>
                    <a:pt x="224486" y="4364"/>
                  </a:cubicBezTo>
                  <a:cubicBezTo>
                    <a:pt x="227572" y="7450"/>
                    <a:pt x="224486" y="10535"/>
                    <a:pt x="221401" y="13621"/>
                  </a:cubicBezTo>
                  <a:cubicBezTo>
                    <a:pt x="218314" y="16707"/>
                    <a:pt x="125742" y="78421"/>
                    <a:pt x="82543" y="81507"/>
                  </a:cubicBezTo>
                  <a:cubicBezTo>
                    <a:pt x="82543" y="78421"/>
                    <a:pt x="79457" y="81507"/>
                    <a:pt x="73287" y="81507"/>
                  </a:cubicBezTo>
                  <a:close/>
                </a:path>
              </a:pathLst>
            </a:custGeom>
            <a:solidFill>
              <a:srgbClr val="E58777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1838E41F-9ADD-4F7E-9ADD-C7112809609C}"/>
                </a:ext>
              </a:extLst>
            </p:cNvPr>
            <p:cNvSpPr/>
            <p:nvPr/>
          </p:nvSpPr>
          <p:spPr>
            <a:xfrm>
              <a:off x="20838817" y="2940867"/>
              <a:ext cx="102665" cy="561600"/>
            </a:xfrm>
            <a:custGeom>
              <a:avLst/>
              <a:gdLst>
                <a:gd name="connsiteX0" fmla="*/ 56380 w 102665"/>
                <a:gd name="connsiteY0" fmla="*/ 561600 h 561600"/>
                <a:gd name="connsiteX1" fmla="*/ 50210 w 102665"/>
                <a:gd name="connsiteY1" fmla="*/ 558514 h 561600"/>
                <a:gd name="connsiteX2" fmla="*/ 34781 w 102665"/>
                <a:gd name="connsiteY2" fmla="*/ 502971 h 561600"/>
                <a:gd name="connsiteX3" fmla="*/ 837 w 102665"/>
                <a:gd name="connsiteY3" fmla="*/ 351771 h 561600"/>
                <a:gd name="connsiteX4" fmla="*/ 90324 w 102665"/>
                <a:gd name="connsiteY4" fmla="*/ 3086 h 561600"/>
                <a:gd name="connsiteX5" fmla="*/ 99580 w 102665"/>
                <a:gd name="connsiteY5" fmla="*/ 0 h 561600"/>
                <a:gd name="connsiteX6" fmla="*/ 102665 w 102665"/>
                <a:gd name="connsiteY6" fmla="*/ 9257 h 561600"/>
                <a:gd name="connsiteX7" fmla="*/ 13181 w 102665"/>
                <a:gd name="connsiteY7" fmla="*/ 351771 h 561600"/>
                <a:gd name="connsiteX8" fmla="*/ 47123 w 102665"/>
                <a:gd name="connsiteY8" fmla="*/ 502971 h 561600"/>
                <a:gd name="connsiteX9" fmla="*/ 62551 w 102665"/>
                <a:gd name="connsiteY9" fmla="*/ 558514 h 561600"/>
                <a:gd name="connsiteX10" fmla="*/ 56380 w 102665"/>
                <a:gd name="connsiteY10" fmla="*/ 561600 h 561600"/>
                <a:gd name="connsiteX11" fmla="*/ 56380 w 102665"/>
                <a:gd name="connsiteY11" fmla="*/ 561600 h 56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665" h="561600">
                  <a:moveTo>
                    <a:pt x="56380" y="561600"/>
                  </a:moveTo>
                  <a:cubicBezTo>
                    <a:pt x="53295" y="561600"/>
                    <a:pt x="50210" y="558514"/>
                    <a:pt x="50210" y="558514"/>
                  </a:cubicBezTo>
                  <a:cubicBezTo>
                    <a:pt x="44038" y="540000"/>
                    <a:pt x="40951" y="521486"/>
                    <a:pt x="34781" y="502971"/>
                  </a:cubicBezTo>
                  <a:cubicBezTo>
                    <a:pt x="19352" y="450514"/>
                    <a:pt x="3924" y="398057"/>
                    <a:pt x="837" y="351771"/>
                  </a:cubicBezTo>
                  <a:cubicBezTo>
                    <a:pt x="-5335" y="225257"/>
                    <a:pt x="22437" y="108000"/>
                    <a:pt x="90324" y="3086"/>
                  </a:cubicBezTo>
                  <a:cubicBezTo>
                    <a:pt x="93408" y="0"/>
                    <a:pt x="96495" y="0"/>
                    <a:pt x="99580" y="0"/>
                  </a:cubicBezTo>
                  <a:cubicBezTo>
                    <a:pt x="102665" y="3086"/>
                    <a:pt x="102665" y="6171"/>
                    <a:pt x="102665" y="9257"/>
                  </a:cubicBezTo>
                  <a:cubicBezTo>
                    <a:pt x="37866" y="114171"/>
                    <a:pt x="7009" y="228343"/>
                    <a:pt x="13181" y="351771"/>
                  </a:cubicBezTo>
                  <a:cubicBezTo>
                    <a:pt x="16266" y="398057"/>
                    <a:pt x="31694" y="450514"/>
                    <a:pt x="47123" y="502971"/>
                  </a:cubicBezTo>
                  <a:cubicBezTo>
                    <a:pt x="53295" y="521486"/>
                    <a:pt x="59466" y="540000"/>
                    <a:pt x="62551" y="558514"/>
                  </a:cubicBezTo>
                  <a:cubicBezTo>
                    <a:pt x="62551" y="558514"/>
                    <a:pt x="62551" y="561600"/>
                    <a:pt x="56380" y="561600"/>
                  </a:cubicBezTo>
                  <a:cubicBezTo>
                    <a:pt x="59466" y="561600"/>
                    <a:pt x="56380" y="561600"/>
                    <a:pt x="56380" y="561600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D0EB3894-66A9-4672-9C75-3873B9F6556A}"/>
                </a:ext>
              </a:extLst>
            </p:cNvPr>
            <p:cNvSpPr/>
            <p:nvPr/>
          </p:nvSpPr>
          <p:spPr>
            <a:xfrm>
              <a:off x="20963082" y="3385407"/>
              <a:ext cx="405507" cy="36832"/>
            </a:xfrm>
            <a:custGeom>
              <a:avLst/>
              <a:gdLst>
                <a:gd name="connsiteX0" fmla="*/ 6172 w 405507"/>
                <a:gd name="connsiteY0" fmla="*/ 36832 h 36832"/>
                <a:gd name="connsiteX1" fmla="*/ 0 w 405507"/>
                <a:gd name="connsiteY1" fmla="*/ 33747 h 36832"/>
                <a:gd name="connsiteX2" fmla="*/ 3087 w 405507"/>
                <a:gd name="connsiteY2" fmla="*/ 27575 h 36832"/>
                <a:gd name="connsiteX3" fmla="*/ 401143 w 405507"/>
                <a:gd name="connsiteY3" fmla="*/ 15232 h 36832"/>
                <a:gd name="connsiteX4" fmla="*/ 404230 w 405507"/>
                <a:gd name="connsiteY4" fmla="*/ 21404 h 36832"/>
                <a:gd name="connsiteX5" fmla="*/ 398058 w 405507"/>
                <a:gd name="connsiteY5" fmla="*/ 24489 h 36832"/>
                <a:gd name="connsiteX6" fmla="*/ 6172 w 405507"/>
                <a:gd name="connsiteY6" fmla="*/ 36832 h 36832"/>
                <a:gd name="connsiteX7" fmla="*/ 6172 w 405507"/>
                <a:gd name="connsiteY7" fmla="*/ 36832 h 3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5507" h="36832">
                  <a:moveTo>
                    <a:pt x="6172" y="36832"/>
                  </a:moveTo>
                  <a:cubicBezTo>
                    <a:pt x="3087" y="36832"/>
                    <a:pt x="3087" y="36832"/>
                    <a:pt x="0" y="33747"/>
                  </a:cubicBezTo>
                  <a:cubicBezTo>
                    <a:pt x="0" y="30661"/>
                    <a:pt x="0" y="27575"/>
                    <a:pt x="3087" y="27575"/>
                  </a:cubicBezTo>
                  <a:cubicBezTo>
                    <a:pt x="89486" y="-3282"/>
                    <a:pt x="299315" y="-9454"/>
                    <a:pt x="401143" y="15232"/>
                  </a:cubicBezTo>
                  <a:cubicBezTo>
                    <a:pt x="404230" y="15232"/>
                    <a:pt x="407315" y="18318"/>
                    <a:pt x="404230" y="21404"/>
                  </a:cubicBezTo>
                  <a:cubicBezTo>
                    <a:pt x="404230" y="24489"/>
                    <a:pt x="401143" y="27575"/>
                    <a:pt x="398058" y="24489"/>
                  </a:cubicBezTo>
                  <a:cubicBezTo>
                    <a:pt x="299315" y="2889"/>
                    <a:pt x="92571" y="5975"/>
                    <a:pt x="6172" y="36832"/>
                  </a:cubicBezTo>
                  <a:cubicBezTo>
                    <a:pt x="6172" y="36832"/>
                    <a:pt x="6172" y="36832"/>
                    <a:pt x="6172" y="36832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354BCB96-B420-444C-9FC1-9684EC9045DD}"/>
                </a:ext>
              </a:extLst>
            </p:cNvPr>
            <p:cNvSpPr/>
            <p:nvPr/>
          </p:nvSpPr>
          <p:spPr>
            <a:xfrm>
              <a:off x="21098855" y="2845210"/>
              <a:ext cx="364113" cy="64800"/>
            </a:xfrm>
            <a:custGeom>
              <a:avLst/>
              <a:gdLst>
                <a:gd name="connsiteX0" fmla="*/ 37029 w 364113"/>
                <a:gd name="connsiteY0" fmla="*/ 9257 h 64800"/>
                <a:gd name="connsiteX1" fmla="*/ 339429 w 364113"/>
                <a:gd name="connsiteY1" fmla="*/ 0 h 64800"/>
                <a:gd name="connsiteX2" fmla="*/ 364114 w 364113"/>
                <a:gd name="connsiteY2" fmla="*/ 9257 h 64800"/>
                <a:gd name="connsiteX3" fmla="*/ 172799 w 364113"/>
                <a:gd name="connsiteY3" fmla="*/ 64800 h 64800"/>
                <a:gd name="connsiteX4" fmla="*/ 0 w 364113"/>
                <a:gd name="connsiteY4" fmla="*/ 15429 h 64800"/>
                <a:gd name="connsiteX5" fmla="*/ 37029 w 364113"/>
                <a:gd name="connsiteY5" fmla="*/ 9257 h 6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4113" h="64800">
                  <a:moveTo>
                    <a:pt x="37029" y="9257"/>
                  </a:moveTo>
                  <a:cubicBezTo>
                    <a:pt x="37029" y="9257"/>
                    <a:pt x="151199" y="67886"/>
                    <a:pt x="339429" y="0"/>
                  </a:cubicBezTo>
                  <a:lnTo>
                    <a:pt x="364114" y="9257"/>
                  </a:lnTo>
                  <a:cubicBezTo>
                    <a:pt x="364114" y="9257"/>
                    <a:pt x="283886" y="64800"/>
                    <a:pt x="172799" y="64800"/>
                  </a:cubicBezTo>
                  <a:cubicBezTo>
                    <a:pt x="67886" y="64800"/>
                    <a:pt x="0" y="15429"/>
                    <a:pt x="0" y="15429"/>
                  </a:cubicBezTo>
                  <a:cubicBezTo>
                    <a:pt x="0" y="15429"/>
                    <a:pt x="18514" y="9257"/>
                    <a:pt x="37029" y="9257"/>
                  </a:cubicBezTo>
                  <a:close/>
                </a:path>
              </a:pathLst>
            </a:custGeom>
            <a:solidFill>
              <a:srgbClr val="F6EBE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BEABF22-1335-4F46-A8B8-9FE4DF214D18}"/>
                </a:ext>
              </a:extLst>
            </p:cNvPr>
            <p:cNvSpPr/>
            <p:nvPr/>
          </p:nvSpPr>
          <p:spPr>
            <a:xfrm>
              <a:off x="21558625" y="3959153"/>
              <a:ext cx="183335" cy="191314"/>
            </a:xfrm>
            <a:custGeom>
              <a:avLst/>
              <a:gdLst>
                <a:gd name="connsiteX0" fmla="*/ 178973 w 183335"/>
                <a:gd name="connsiteY0" fmla="*/ 191314 h 191314"/>
                <a:gd name="connsiteX1" fmla="*/ 178973 w 183335"/>
                <a:gd name="connsiteY1" fmla="*/ 191314 h 191314"/>
                <a:gd name="connsiteX2" fmla="*/ 0 w 183335"/>
                <a:gd name="connsiteY2" fmla="*/ 6172 h 191314"/>
                <a:gd name="connsiteX3" fmla="*/ 3087 w 183335"/>
                <a:gd name="connsiteY3" fmla="*/ 0 h 191314"/>
                <a:gd name="connsiteX4" fmla="*/ 9259 w 183335"/>
                <a:gd name="connsiteY4" fmla="*/ 3086 h 191314"/>
                <a:gd name="connsiteX5" fmla="*/ 178973 w 183335"/>
                <a:gd name="connsiteY5" fmla="*/ 182057 h 191314"/>
                <a:gd name="connsiteX6" fmla="*/ 182058 w 183335"/>
                <a:gd name="connsiteY6" fmla="*/ 188229 h 191314"/>
                <a:gd name="connsiteX7" fmla="*/ 178973 w 183335"/>
                <a:gd name="connsiteY7" fmla="*/ 191314 h 191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335" h="191314">
                  <a:moveTo>
                    <a:pt x="178973" y="191314"/>
                  </a:moveTo>
                  <a:cubicBezTo>
                    <a:pt x="178973" y="191314"/>
                    <a:pt x="178973" y="191314"/>
                    <a:pt x="178973" y="191314"/>
                  </a:cubicBezTo>
                  <a:cubicBezTo>
                    <a:pt x="58629" y="157372"/>
                    <a:pt x="3087" y="12343"/>
                    <a:pt x="0" y="6172"/>
                  </a:cubicBezTo>
                  <a:cubicBezTo>
                    <a:pt x="0" y="3086"/>
                    <a:pt x="0" y="0"/>
                    <a:pt x="3087" y="0"/>
                  </a:cubicBezTo>
                  <a:cubicBezTo>
                    <a:pt x="6172" y="0"/>
                    <a:pt x="9259" y="0"/>
                    <a:pt x="9259" y="3086"/>
                  </a:cubicBezTo>
                  <a:cubicBezTo>
                    <a:pt x="9259" y="3086"/>
                    <a:pt x="64801" y="151200"/>
                    <a:pt x="178973" y="182057"/>
                  </a:cubicBezTo>
                  <a:cubicBezTo>
                    <a:pt x="182058" y="182057"/>
                    <a:pt x="185143" y="185143"/>
                    <a:pt x="182058" y="188229"/>
                  </a:cubicBezTo>
                  <a:cubicBezTo>
                    <a:pt x="185143" y="191314"/>
                    <a:pt x="182058" y="191314"/>
                    <a:pt x="178973" y="191314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D9338D18-57C2-4790-9675-7112A8DD4C34}"/>
                </a:ext>
              </a:extLst>
            </p:cNvPr>
            <p:cNvSpPr/>
            <p:nvPr/>
          </p:nvSpPr>
          <p:spPr>
            <a:xfrm>
              <a:off x="20830397" y="3962239"/>
              <a:ext cx="172799" cy="194399"/>
            </a:xfrm>
            <a:custGeom>
              <a:avLst/>
              <a:gdLst>
                <a:gd name="connsiteX0" fmla="*/ 6172 w 172799"/>
                <a:gd name="connsiteY0" fmla="*/ 194400 h 194399"/>
                <a:gd name="connsiteX1" fmla="*/ 0 w 172799"/>
                <a:gd name="connsiteY1" fmla="*/ 191314 h 194399"/>
                <a:gd name="connsiteX2" fmla="*/ 3085 w 172799"/>
                <a:gd name="connsiteY2" fmla="*/ 185143 h 194399"/>
                <a:gd name="connsiteX3" fmla="*/ 163542 w 172799"/>
                <a:gd name="connsiteY3" fmla="*/ 3086 h 194399"/>
                <a:gd name="connsiteX4" fmla="*/ 169714 w 172799"/>
                <a:gd name="connsiteY4" fmla="*/ 0 h 194399"/>
                <a:gd name="connsiteX5" fmla="*/ 172799 w 172799"/>
                <a:gd name="connsiteY5" fmla="*/ 6171 h 194399"/>
                <a:gd name="connsiteX6" fmla="*/ 6172 w 172799"/>
                <a:gd name="connsiteY6" fmla="*/ 194400 h 194399"/>
                <a:gd name="connsiteX7" fmla="*/ 6172 w 172799"/>
                <a:gd name="connsiteY7" fmla="*/ 194400 h 19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2799" h="194399">
                  <a:moveTo>
                    <a:pt x="6172" y="194400"/>
                  </a:moveTo>
                  <a:cubicBezTo>
                    <a:pt x="3085" y="194400"/>
                    <a:pt x="3085" y="194400"/>
                    <a:pt x="0" y="191314"/>
                  </a:cubicBezTo>
                  <a:cubicBezTo>
                    <a:pt x="0" y="188229"/>
                    <a:pt x="0" y="185143"/>
                    <a:pt x="3085" y="185143"/>
                  </a:cubicBezTo>
                  <a:cubicBezTo>
                    <a:pt x="83315" y="154286"/>
                    <a:pt x="163542" y="3086"/>
                    <a:pt x="163542" y="3086"/>
                  </a:cubicBezTo>
                  <a:cubicBezTo>
                    <a:pt x="163542" y="0"/>
                    <a:pt x="169714" y="0"/>
                    <a:pt x="169714" y="0"/>
                  </a:cubicBezTo>
                  <a:cubicBezTo>
                    <a:pt x="172799" y="0"/>
                    <a:pt x="172799" y="6171"/>
                    <a:pt x="172799" y="6171"/>
                  </a:cubicBezTo>
                  <a:cubicBezTo>
                    <a:pt x="172799" y="12343"/>
                    <a:pt x="89486" y="160457"/>
                    <a:pt x="6172" y="194400"/>
                  </a:cubicBezTo>
                  <a:cubicBezTo>
                    <a:pt x="9257" y="194400"/>
                    <a:pt x="6172" y="194400"/>
                    <a:pt x="6172" y="194400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428E674C-525D-48F3-A3BA-0D7FC680676B}"/>
                </a:ext>
              </a:extLst>
            </p:cNvPr>
            <p:cNvSpPr/>
            <p:nvPr/>
          </p:nvSpPr>
          <p:spPr>
            <a:xfrm>
              <a:off x="21458511" y="2454908"/>
              <a:ext cx="79894" cy="115430"/>
            </a:xfrm>
            <a:custGeom>
              <a:avLst/>
              <a:gdLst>
                <a:gd name="connsiteX0" fmla="*/ 13714 w 79894"/>
                <a:gd name="connsiteY0" fmla="*/ 16931 h 115430"/>
                <a:gd name="connsiteX1" fmla="*/ 72344 w 79894"/>
                <a:gd name="connsiteY1" fmla="*/ 7674 h 115430"/>
                <a:gd name="connsiteX2" fmla="*/ 13714 w 79894"/>
                <a:gd name="connsiteY2" fmla="*/ 112588 h 115430"/>
                <a:gd name="connsiteX3" fmla="*/ 13714 w 79894"/>
                <a:gd name="connsiteY3" fmla="*/ 16931 h 115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894" h="115430">
                  <a:moveTo>
                    <a:pt x="13714" y="16931"/>
                  </a:moveTo>
                  <a:cubicBezTo>
                    <a:pt x="13714" y="16931"/>
                    <a:pt x="47658" y="-13926"/>
                    <a:pt x="72344" y="7674"/>
                  </a:cubicBezTo>
                  <a:cubicBezTo>
                    <a:pt x="97029" y="26188"/>
                    <a:pt x="56915" y="134188"/>
                    <a:pt x="13714" y="112588"/>
                  </a:cubicBezTo>
                  <a:cubicBezTo>
                    <a:pt x="-17143" y="90988"/>
                    <a:pt x="13714" y="16931"/>
                    <a:pt x="13714" y="16931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653C2060-BC66-4FE1-A384-B2AADADC5838}"/>
                </a:ext>
              </a:extLst>
            </p:cNvPr>
            <p:cNvSpPr/>
            <p:nvPr/>
          </p:nvSpPr>
          <p:spPr>
            <a:xfrm>
              <a:off x="21046397" y="2283610"/>
              <a:ext cx="256113" cy="160457"/>
            </a:xfrm>
            <a:custGeom>
              <a:avLst/>
              <a:gdLst>
                <a:gd name="connsiteX0" fmla="*/ 6172 w 256113"/>
                <a:gd name="connsiteY0" fmla="*/ 160457 h 160457"/>
                <a:gd name="connsiteX1" fmla="*/ 6172 w 256113"/>
                <a:gd name="connsiteY1" fmla="*/ 160457 h 160457"/>
                <a:gd name="connsiteX2" fmla="*/ 0 w 256113"/>
                <a:gd name="connsiteY2" fmla="*/ 154286 h 160457"/>
                <a:gd name="connsiteX3" fmla="*/ 111085 w 256113"/>
                <a:gd name="connsiteY3" fmla="*/ 46286 h 160457"/>
                <a:gd name="connsiteX4" fmla="*/ 246857 w 256113"/>
                <a:gd name="connsiteY4" fmla="*/ 0 h 160457"/>
                <a:gd name="connsiteX5" fmla="*/ 256114 w 256113"/>
                <a:gd name="connsiteY5" fmla="*/ 3086 h 160457"/>
                <a:gd name="connsiteX6" fmla="*/ 253029 w 256113"/>
                <a:gd name="connsiteY6" fmla="*/ 12343 h 160457"/>
                <a:gd name="connsiteX7" fmla="*/ 117257 w 256113"/>
                <a:gd name="connsiteY7" fmla="*/ 58629 h 160457"/>
                <a:gd name="connsiteX8" fmla="*/ 15429 w 256113"/>
                <a:gd name="connsiteY8" fmla="*/ 157371 h 160457"/>
                <a:gd name="connsiteX9" fmla="*/ 6172 w 256113"/>
                <a:gd name="connsiteY9" fmla="*/ 160457 h 160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6113" h="160457">
                  <a:moveTo>
                    <a:pt x="6172" y="160457"/>
                  </a:moveTo>
                  <a:cubicBezTo>
                    <a:pt x="6172" y="160457"/>
                    <a:pt x="6172" y="160457"/>
                    <a:pt x="6172" y="160457"/>
                  </a:cubicBezTo>
                  <a:cubicBezTo>
                    <a:pt x="3085" y="160457"/>
                    <a:pt x="0" y="157371"/>
                    <a:pt x="0" y="154286"/>
                  </a:cubicBezTo>
                  <a:cubicBezTo>
                    <a:pt x="12344" y="83314"/>
                    <a:pt x="61714" y="61714"/>
                    <a:pt x="111085" y="46286"/>
                  </a:cubicBezTo>
                  <a:cubicBezTo>
                    <a:pt x="178971" y="27771"/>
                    <a:pt x="243772" y="0"/>
                    <a:pt x="246857" y="0"/>
                  </a:cubicBezTo>
                  <a:cubicBezTo>
                    <a:pt x="249942" y="0"/>
                    <a:pt x="253029" y="0"/>
                    <a:pt x="256114" y="3086"/>
                  </a:cubicBezTo>
                  <a:cubicBezTo>
                    <a:pt x="256114" y="6171"/>
                    <a:pt x="256114" y="9257"/>
                    <a:pt x="253029" y="12343"/>
                  </a:cubicBezTo>
                  <a:cubicBezTo>
                    <a:pt x="253029" y="12343"/>
                    <a:pt x="185143" y="37029"/>
                    <a:pt x="117257" y="58629"/>
                  </a:cubicBezTo>
                  <a:cubicBezTo>
                    <a:pt x="61714" y="74057"/>
                    <a:pt x="24685" y="98743"/>
                    <a:pt x="15429" y="157371"/>
                  </a:cubicBezTo>
                  <a:cubicBezTo>
                    <a:pt x="12344" y="160457"/>
                    <a:pt x="9257" y="160457"/>
                    <a:pt x="6172" y="160457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1CE3ABE0-A519-498F-930D-7A61131CDEEC}"/>
                </a:ext>
              </a:extLst>
            </p:cNvPr>
            <p:cNvSpPr/>
            <p:nvPr/>
          </p:nvSpPr>
          <p:spPr>
            <a:xfrm>
              <a:off x="20760197" y="3478553"/>
              <a:ext cx="81771" cy="64028"/>
            </a:xfrm>
            <a:custGeom>
              <a:avLst/>
              <a:gdLst>
                <a:gd name="connsiteX0" fmla="*/ 73285 w 81771"/>
                <a:gd name="connsiteY0" fmla="*/ 64029 h 64028"/>
                <a:gd name="connsiteX1" fmla="*/ 70200 w 81771"/>
                <a:gd name="connsiteY1" fmla="*/ 64029 h 64028"/>
                <a:gd name="connsiteX2" fmla="*/ 2314 w 81771"/>
                <a:gd name="connsiteY2" fmla="*/ 11571 h 64028"/>
                <a:gd name="connsiteX3" fmla="*/ 2314 w 81771"/>
                <a:gd name="connsiteY3" fmla="*/ 2314 h 64028"/>
                <a:gd name="connsiteX4" fmla="*/ 11570 w 81771"/>
                <a:gd name="connsiteY4" fmla="*/ 2314 h 64028"/>
                <a:gd name="connsiteX5" fmla="*/ 79457 w 81771"/>
                <a:gd name="connsiteY5" fmla="*/ 54772 h 64028"/>
                <a:gd name="connsiteX6" fmla="*/ 79457 w 81771"/>
                <a:gd name="connsiteY6" fmla="*/ 64029 h 64028"/>
                <a:gd name="connsiteX7" fmla="*/ 73285 w 81771"/>
                <a:gd name="connsiteY7" fmla="*/ 64029 h 64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71" h="64028">
                  <a:moveTo>
                    <a:pt x="73285" y="64029"/>
                  </a:moveTo>
                  <a:cubicBezTo>
                    <a:pt x="73285" y="64029"/>
                    <a:pt x="70200" y="64029"/>
                    <a:pt x="70200" y="64029"/>
                  </a:cubicBezTo>
                  <a:cubicBezTo>
                    <a:pt x="33171" y="36257"/>
                    <a:pt x="2314" y="11571"/>
                    <a:pt x="2314" y="11571"/>
                  </a:cubicBezTo>
                  <a:cubicBezTo>
                    <a:pt x="-771" y="8486"/>
                    <a:pt x="-771" y="5400"/>
                    <a:pt x="2314" y="2314"/>
                  </a:cubicBezTo>
                  <a:cubicBezTo>
                    <a:pt x="5401" y="-771"/>
                    <a:pt x="8486" y="-771"/>
                    <a:pt x="11570" y="2314"/>
                  </a:cubicBezTo>
                  <a:cubicBezTo>
                    <a:pt x="11570" y="2314"/>
                    <a:pt x="45514" y="27000"/>
                    <a:pt x="79457" y="54772"/>
                  </a:cubicBezTo>
                  <a:cubicBezTo>
                    <a:pt x="82543" y="57857"/>
                    <a:pt x="82543" y="60943"/>
                    <a:pt x="79457" y="64029"/>
                  </a:cubicBezTo>
                  <a:cubicBezTo>
                    <a:pt x="76372" y="64029"/>
                    <a:pt x="73285" y="64029"/>
                    <a:pt x="73285" y="64029"/>
                  </a:cubicBezTo>
                  <a:close/>
                </a:path>
              </a:pathLst>
            </a:custGeom>
            <a:solidFill>
              <a:srgbClr val="E58777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40A27E3E-8E62-4B35-872F-A7EF5B5EF712}"/>
                </a:ext>
              </a:extLst>
            </p:cNvPr>
            <p:cNvSpPr/>
            <p:nvPr/>
          </p:nvSpPr>
          <p:spPr>
            <a:xfrm>
              <a:off x="20966169" y="3015044"/>
              <a:ext cx="777942" cy="788588"/>
            </a:xfrm>
            <a:custGeom>
              <a:avLst/>
              <a:gdLst>
                <a:gd name="connsiteX0" fmla="*/ 740571 w 777942"/>
                <a:gd name="connsiteY0" fmla="*/ 73937 h 788588"/>
                <a:gd name="connsiteX1" fmla="*/ 496799 w 777942"/>
                <a:gd name="connsiteY1" fmla="*/ 157251 h 788588"/>
                <a:gd name="connsiteX2" fmla="*/ 450514 w 777942"/>
                <a:gd name="connsiteY2" fmla="*/ 586166 h 788588"/>
                <a:gd name="connsiteX3" fmla="*/ 0 w 777942"/>
                <a:gd name="connsiteY3" fmla="*/ 657137 h 788588"/>
                <a:gd name="connsiteX4" fmla="*/ 0 w 777942"/>
                <a:gd name="connsiteY4" fmla="*/ 783651 h 788588"/>
                <a:gd name="connsiteX5" fmla="*/ 623313 w 777942"/>
                <a:gd name="connsiteY5" fmla="*/ 721937 h 788588"/>
                <a:gd name="connsiteX6" fmla="*/ 740571 w 777942"/>
                <a:gd name="connsiteY6" fmla="*/ 73937 h 788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7942" h="788588">
                  <a:moveTo>
                    <a:pt x="740571" y="73937"/>
                  </a:moveTo>
                  <a:cubicBezTo>
                    <a:pt x="629485" y="-74177"/>
                    <a:pt x="496799" y="24566"/>
                    <a:pt x="496799" y="157251"/>
                  </a:cubicBezTo>
                  <a:cubicBezTo>
                    <a:pt x="499884" y="286852"/>
                    <a:pt x="472114" y="558394"/>
                    <a:pt x="450514" y="586166"/>
                  </a:cubicBezTo>
                  <a:cubicBezTo>
                    <a:pt x="391884" y="604680"/>
                    <a:pt x="0" y="657137"/>
                    <a:pt x="0" y="657137"/>
                  </a:cubicBezTo>
                  <a:cubicBezTo>
                    <a:pt x="15429" y="684909"/>
                    <a:pt x="0" y="783651"/>
                    <a:pt x="0" y="783651"/>
                  </a:cubicBezTo>
                  <a:cubicBezTo>
                    <a:pt x="0" y="783651"/>
                    <a:pt x="527656" y="814509"/>
                    <a:pt x="623313" y="721937"/>
                  </a:cubicBezTo>
                  <a:cubicBezTo>
                    <a:pt x="675770" y="672566"/>
                    <a:pt x="854741" y="222051"/>
                    <a:pt x="740571" y="73937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2B786809-33CA-4D7B-A6AE-22AE1C7CDC0D}"/>
                </a:ext>
              </a:extLst>
            </p:cNvPr>
            <p:cNvSpPr/>
            <p:nvPr/>
          </p:nvSpPr>
          <p:spPr>
            <a:xfrm>
              <a:off x="21391997" y="2904716"/>
              <a:ext cx="388021" cy="405046"/>
            </a:xfrm>
            <a:custGeom>
              <a:avLst/>
              <a:gdLst>
                <a:gd name="connsiteX0" fmla="*/ 379542 w 388021"/>
                <a:gd name="connsiteY0" fmla="*/ 397180 h 405046"/>
                <a:gd name="connsiteX1" fmla="*/ 265371 w 388021"/>
                <a:gd name="connsiteY1" fmla="*/ 5294 h 405046"/>
                <a:gd name="connsiteX2" fmla="*/ 0 w 388021"/>
                <a:gd name="connsiteY2" fmla="*/ 366323 h 405046"/>
                <a:gd name="connsiteX3" fmla="*/ 379542 w 388021"/>
                <a:gd name="connsiteY3" fmla="*/ 397180 h 40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8021" h="405046">
                  <a:moveTo>
                    <a:pt x="379542" y="397180"/>
                  </a:moveTo>
                  <a:cubicBezTo>
                    <a:pt x="413485" y="215123"/>
                    <a:pt x="339429" y="36152"/>
                    <a:pt x="265371" y="5294"/>
                  </a:cubicBezTo>
                  <a:cubicBezTo>
                    <a:pt x="166627" y="-34820"/>
                    <a:pt x="18514" y="159580"/>
                    <a:pt x="0" y="366323"/>
                  </a:cubicBezTo>
                  <a:cubicBezTo>
                    <a:pt x="61714" y="412609"/>
                    <a:pt x="277714" y="409523"/>
                    <a:pt x="379542" y="397180"/>
                  </a:cubicBezTo>
                  <a:close/>
                </a:path>
              </a:pathLst>
            </a:custGeom>
            <a:solidFill>
              <a:srgbClr val="7F95BC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B965F105-E7D3-4917-B788-53E84AF64E3A}"/>
                </a:ext>
              </a:extLst>
            </p:cNvPr>
            <p:cNvSpPr/>
            <p:nvPr/>
          </p:nvSpPr>
          <p:spPr>
            <a:xfrm>
              <a:off x="21385826" y="2893997"/>
              <a:ext cx="243772" cy="414070"/>
            </a:xfrm>
            <a:custGeom>
              <a:avLst/>
              <a:gdLst>
                <a:gd name="connsiteX0" fmla="*/ 151201 w 243772"/>
                <a:gd name="connsiteY0" fmla="*/ 414070 h 414070"/>
                <a:gd name="connsiteX1" fmla="*/ 151201 w 243772"/>
                <a:gd name="connsiteY1" fmla="*/ 414070 h 414070"/>
                <a:gd name="connsiteX2" fmla="*/ 0 w 243772"/>
                <a:gd name="connsiteY2" fmla="*/ 380128 h 414070"/>
                <a:gd name="connsiteX3" fmla="*/ 0 w 243772"/>
                <a:gd name="connsiteY3" fmla="*/ 380128 h 414070"/>
                <a:gd name="connsiteX4" fmla="*/ 0 w 243772"/>
                <a:gd name="connsiteY4" fmla="*/ 377042 h 414070"/>
                <a:gd name="connsiteX5" fmla="*/ 169714 w 243772"/>
                <a:gd name="connsiteY5" fmla="*/ 25270 h 414070"/>
                <a:gd name="connsiteX6" fmla="*/ 237600 w 243772"/>
                <a:gd name="connsiteY6" fmla="*/ 585 h 414070"/>
                <a:gd name="connsiteX7" fmla="*/ 243772 w 243772"/>
                <a:gd name="connsiteY7" fmla="*/ 6756 h 414070"/>
                <a:gd name="connsiteX8" fmla="*/ 237600 w 243772"/>
                <a:gd name="connsiteY8" fmla="*/ 12928 h 414070"/>
                <a:gd name="connsiteX9" fmla="*/ 175886 w 243772"/>
                <a:gd name="connsiteY9" fmla="*/ 34528 h 414070"/>
                <a:gd name="connsiteX10" fmla="*/ 9257 w 243772"/>
                <a:gd name="connsiteY10" fmla="*/ 373956 h 414070"/>
                <a:gd name="connsiteX11" fmla="*/ 148114 w 243772"/>
                <a:gd name="connsiteY11" fmla="*/ 401728 h 414070"/>
                <a:gd name="connsiteX12" fmla="*/ 154286 w 243772"/>
                <a:gd name="connsiteY12" fmla="*/ 407899 h 414070"/>
                <a:gd name="connsiteX13" fmla="*/ 151201 w 243772"/>
                <a:gd name="connsiteY13" fmla="*/ 414070 h 414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3772" h="414070">
                  <a:moveTo>
                    <a:pt x="151201" y="414070"/>
                  </a:moveTo>
                  <a:cubicBezTo>
                    <a:pt x="151201" y="414070"/>
                    <a:pt x="151201" y="414070"/>
                    <a:pt x="151201" y="414070"/>
                  </a:cubicBezTo>
                  <a:cubicBezTo>
                    <a:pt x="21600" y="407899"/>
                    <a:pt x="3085" y="383213"/>
                    <a:pt x="0" y="380128"/>
                  </a:cubicBezTo>
                  <a:lnTo>
                    <a:pt x="0" y="380128"/>
                  </a:lnTo>
                  <a:lnTo>
                    <a:pt x="0" y="377042"/>
                  </a:lnTo>
                  <a:cubicBezTo>
                    <a:pt x="9257" y="275213"/>
                    <a:pt x="89486" y="93156"/>
                    <a:pt x="169714" y="25270"/>
                  </a:cubicBezTo>
                  <a:cubicBezTo>
                    <a:pt x="194400" y="6756"/>
                    <a:pt x="216000" y="-2501"/>
                    <a:pt x="237600" y="585"/>
                  </a:cubicBezTo>
                  <a:cubicBezTo>
                    <a:pt x="240685" y="585"/>
                    <a:pt x="243772" y="3670"/>
                    <a:pt x="243772" y="6756"/>
                  </a:cubicBezTo>
                  <a:cubicBezTo>
                    <a:pt x="243772" y="9842"/>
                    <a:pt x="240685" y="12928"/>
                    <a:pt x="237600" y="12928"/>
                  </a:cubicBezTo>
                  <a:cubicBezTo>
                    <a:pt x="219085" y="9842"/>
                    <a:pt x="200571" y="16013"/>
                    <a:pt x="175886" y="34528"/>
                  </a:cubicBezTo>
                  <a:cubicBezTo>
                    <a:pt x="95656" y="96242"/>
                    <a:pt x="18514" y="272128"/>
                    <a:pt x="9257" y="373956"/>
                  </a:cubicBezTo>
                  <a:cubicBezTo>
                    <a:pt x="12344" y="377042"/>
                    <a:pt x="40114" y="395556"/>
                    <a:pt x="148114" y="401728"/>
                  </a:cubicBezTo>
                  <a:cubicBezTo>
                    <a:pt x="151201" y="401728"/>
                    <a:pt x="154286" y="404813"/>
                    <a:pt x="154286" y="407899"/>
                  </a:cubicBezTo>
                  <a:cubicBezTo>
                    <a:pt x="157371" y="410985"/>
                    <a:pt x="154286" y="414070"/>
                    <a:pt x="151201" y="414070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9" name="图形 1">
              <a:extLst>
                <a:ext uri="{FF2B5EF4-FFF2-40B4-BE49-F238E27FC236}">
                  <a16:creationId xmlns:a16="http://schemas.microsoft.com/office/drawing/2014/main" id="{9F8F0F2A-7B5D-43A5-9101-8A5043A0C082}"/>
                </a:ext>
              </a:extLst>
            </p:cNvPr>
            <p:cNvGrpSpPr/>
            <p:nvPr/>
          </p:nvGrpSpPr>
          <p:grpSpPr>
            <a:xfrm>
              <a:off x="19272111" y="5242655"/>
              <a:ext cx="1086171" cy="1456612"/>
              <a:chOff x="19272111" y="5242655"/>
              <a:chExt cx="1086171" cy="1456612"/>
            </a:xfrm>
          </p:grpSpPr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8DFC8399-11C7-45A6-8413-407FC54C4444}"/>
                  </a:ext>
                </a:extLst>
              </p:cNvPr>
              <p:cNvSpPr/>
              <p:nvPr/>
            </p:nvSpPr>
            <p:spPr>
              <a:xfrm>
                <a:off x="19272111" y="5338467"/>
                <a:ext cx="1086171" cy="1262057"/>
              </a:xfrm>
              <a:custGeom>
                <a:avLst/>
                <a:gdLst>
                  <a:gd name="connsiteX0" fmla="*/ 104915 w 1086171"/>
                  <a:gd name="connsiteY0" fmla="*/ 1262057 h 1262057"/>
                  <a:gd name="connsiteX1" fmla="*/ 1009029 w 1086171"/>
                  <a:gd name="connsiteY1" fmla="*/ 1252800 h 1262057"/>
                  <a:gd name="connsiteX2" fmla="*/ 1086172 w 1086171"/>
                  <a:gd name="connsiteY2" fmla="*/ 0 h 1262057"/>
                  <a:gd name="connsiteX3" fmla="*/ 0 w 1086171"/>
                  <a:gd name="connsiteY3" fmla="*/ 12343 h 1262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6171" h="1262057">
                    <a:moveTo>
                      <a:pt x="104915" y="1262057"/>
                    </a:moveTo>
                    <a:lnTo>
                      <a:pt x="1009029" y="1252800"/>
                    </a:lnTo>
                    <a:lnTo>
                      <a:pt x="1086172" y="0"/>
                    </a:lnTo>
                    <a:lnTo>
                      <a:pt x="0" y="12343"/>
                    </a:lnTo>
                    <a:close/>
                  </a:path>
                </a:pathLst>
              </a:custGeom>
              <a:solidFill>
                <a:srgbClr val="7F95BC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D3449641-67CA-42F0-979B-992EED13185D}"/>
                  </a:ext>
                </a:extLst>
              </p:cNvPr>
              <p:cNvSpPr/>
              <p:nvPr/>
            </p:nvSpPr>
            <p:spPr>
              <a:xfrm>
                <a:off x="19272111" y="5242655"/>
                <a:ext cx="1086171" cy="203968"/>
              </a:xfrm>
              <a:custGeom>
                <a:avLst/>
                <a:gdLst>
                  <a:gd name="connsiteX0" fmla="*/ 0 w 1086171"/>
                  <a:gd name="connsiteY0" fmla="*/ 108156 h 203968"/>
                  <a:gd name="connsiteX1" fmla="*/ 543085 w 1086171"/>
                  <a:gd name="connsiteY1" fmla="*/ 203813 h 203968"/>
                  <a:gd name="connsiteX2" fmla="*/ 1086172 w 1086171"/>
                  <a:gd name="connsiteY2" fmla="*/ 95813 h 203968"/>
                  <a:gd name="connsiteX3" fmla="*/ 543085 w 1086171"/>
                  <a:gd name="connsiteY3" fmla="*/ 156 h 203968"/>
                  <a:gd name="connsiteX4" fmla="*/ 0 w 1086171"/>
                  <a:gd name="connsiteY4" fmla="*/ 108156 h 20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6171" h="203968">
                    <a:moveTo>
                      <a:pt x="0" y="108156"/>
                    </a:moveTo>
                    <a:cubicBezTo>
                      <a:pt x="0" y="163698"/>
                      <a:pt x="243772" y="206898"/>
                      <a:pt x="543085" y="203813"/>
                    </a:cubicBezTo>
                    <a:cubicBezTo>
                      <a:pt x="842400" y="200727"/>
                      <a:pt x="1086172" y="151355"/>
                      <a:pt x="1086172" y="95813"/>
                    </a:cubicBezTo>
                    <a:cubicBezTo>
                      <a:pt x="1086172" y="40270"/>
                      <a:pt x="842400" y="-2930"/>
                      <a:pt x="543085" y="156"/>
                    </a:cubicBezTo>
                    <a:cubicBezTo>
                      <a:pt x="243772" y="3241"/>
                      <a:pt x="0" y="49527"/>
                      <a:pt x="0" y="108156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B3F9811C-0FFE-4A53-BB6A-935E30351882}"/>
                  </a:ext>
                </a:extLst>
              </p:cNvPr>
              <p:cNvSpPr/>
              <p:nvPr/>
            </p:nvSpPr>
            <p:spPr>
              <a:xfrm>
                <a:off x="19352339" y="5270369"/>
                <a:ext cx="925714" cy="148539"/>
              </a:xfrm>
              <a:custGeom>
                <a:avLst/>
                <a:gdLst>
                  <a:gd name="connsiteX0" fmla="*/ 0 w 925714"/>
                  <a:gd name="connsiteY0" fmla="*/ 80442 h 148539"/>
                  <a:gd name="connsiteX1" fmla="*/ 462857 w 925714"/>
                  <a:gd name="connsiteY1" fmla="*/ 148327 h 148539"/>
                  <a:gd name="connsiteX2" fmla="*/ 925714 w 925714"/>
                  <a:gd name="connsiteY2" fmla="*/ 68099 h 148539"/>
                  <a:gd name="connsiteX3" fmla="*/ 462857 w 925714"/>
                  <a:gd name="connsiteY3" fmla="*/ 213 h 148539"/>
                  <a:gd name="connsiteX4" fmla="*/ 0 w 925714"/>
                  <a:gd name="connsiteY4" fmla="*/ 80442 h 14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5714" h="148539">
                    <a:moveTo>
                      <a:pt x="0" y="80442"/>
                    </a:moveTo>
                    <a:cubicBezTo>
                      <a:pt x="0" y="120556"/>
                      <a:pt x="206743" y="151413"/>
                      <a:pt x="462857" y="148327"/>
                    </a:cubicBezTo>
                    <a:cubicBezTo>
                      <a:pt x="718973" y="145241"/>
                      <a:pt x="925714" y="111299"/>
                      <a:pt x="925714" y="68099"/>
                    </a:cubicBezTo>
                    <a:cubicBezTo>
                      <a:pt x="925714" y="27984"/>
                      <a:pt x="718973" y="-2873"/>
                      <a:pt x="462857" y="213"/>
                    </a:cubicBezTo>
                    <a:cubicBezTo>
                      <a:pt x="206743" y="3299"/>
                      <a:pt x="0" y="37241"/>
                      <a:pt x="0" y="80442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C538CDC2-CCA2-4D08-B971-F8F8A3A2A103}"/>
                  </a:ext>
                </a:extLst>
              </p:cNvPr>
              <p:cNvSpPr/>
              <p:nvPr/>
            </p:nvSpPr>
            <p:spPr>
              <a:xfrm>
                <a:off x="19377026" y="6492525"/>
                <a:ext cx="904113" cy="206742"/>
              </a:xfrm>
              <a:custGeom>
                <a:avLst/>
                <a:gdLst>
                  <a:gd name="connsiteX0" fmla="*/ 0 w 904113"/>
                  <a:gd name="connsiteY0" fmla="*/ 108000 h 206742"/>
                  <a:gd name="connsiteX1" fmla="*/ 453599 w 904113"/>
                  <a:gd name="connsiteY1" fmla="*/ 206743 h 206742"/>
                  <a:gd name="connsiteX2" fmla="*/ 904114 w 904113"/>
                  <a:gd name="connsiteY2" fmla="*/ 98743 h 206742"/>
                  <a:gd name="connsiteX3" fmla="*/ 450514 w 904113"/>
                  <a:gd name="connsiteY3" fmla="*/ 0 h 206742"/>
                  <a:gd name="connsiteX4" fmla="*/ 0 w 904113"/>
                  <a:gd name="connsiteY4" fmla="*/ 108000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4113" h="206742">
                    <a:moveTo>
                      <a:pt x="0" y="108000"/>
                    </a:moveTo>
                    <a:cubicBezTo>
                      <a:pt x="0" y="163543"/>
                      <a:pt x="203656" y="206743"/>
                      <a:pt x="453599" y="206743"/>
                    </a:cubicBezTo>
                    <a:cubicBezTo>
                      <a:pt x="703543" y="203657"/>
                      <a:pt x="904114" y="157371"/>
                      <a:pt x="904114" y="98743"/>
                    </a:cubicBezTo>
                    <a:cubicBezTo>
                      <a:pt x="904114" y="43200"/>
                      <a:pt x="700456" y="0"/>
                      <a:pt x="450514" y="0"/>
                    </a:cubicBezTo>
                    <a:cubicBezTo>
                      <a:pt x="200571" y="3085"/>
                      <a:pt x="0" y="49371"/>
                      <a:pt x="0" y="10800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73" name="图形 1">
                <a:extLst>
                  <a:ext uri="{FF2B5EF4-FFF2-40B4-BE49-F238E27FC236}">
                    <a16:creationId xmlns:a16="http://schemas.microsoft.com/office/drawing/2014/main" id="{618F3B3F-3081-4A23-8DA2-AF975A74CF3F}"/>
                  </a:ext>
                </a:extLst>
              </p:cNvPr>
              <p:cNvGrpSpPr/>
              <p:nvPr/>
            </p:nvGrpSpPr>
            <p:grpSpPr>
              <a:xfrm>
                <a:off x="19410969" y="5517439"/>
                <a:ext cx="808457" cy="1107771"/>
                <a:chOff x="19410969" y="5517439"/>
                <a:chExt cx="808457" cy="1107771"/>
              </a:xfrm>
              <a:solidFill>
                <a:srgbClr val="F6EBEB"/>
              </a:solidFill>
            </p:grpSpPr>
            <p:sp>
              <p:nvSpPr>
                <p:cNvPr id="74" name="任意多边形: 形状 73">
                  <a:extLst>
                    <a:ext uri="{FF2B5EF4-FFF2-40B4-BE49-F238E27FC236}">
                      <a16:creationId xmlns:a16="http://schemas.microsoft.com/office/drawing/2014/main" id="{1C264361-7EBE-436F-BC30-F499AD24E6A8}"/>
                    </a:ext>
                  </a:extLst>
                </p:cNvPr>
                <p:cNvSpPr/>
                <p:nvPr/>
              </p:nvSpPr>
              <p:spPr>
                <a:xfrm>
                  <a:off x="19410969" y="5523005"/>
                  <a:ext cx="90091" cy="1037405"/>
                </a:xfrm>
                <a:custGeom>
                  <a:avLst/>
                  <a:gdLst>
                    <a:gd name="connsiteX0" fmla="*/ 74058 w 90091"/>
                    <a:gd name="connsiteY0" fmla="*/ 1037405 h 1037405"/>
                    <a:gd name="connsiteX1" fmla="*/ 74058 w 90091"/>
                    <a:gd name="connsiteY1" fmla="*/ 1037405 h 1037405"/>
                    <a:gd name="connsiteX2" fmla="*/ 89486 w 90091"/>
                    <a:gd name="connsiteY2" fmla="*/ 1018891 h 1037405"/>
                    <a:gd name="connsiteX3" fmla="*/ 33942 w 90091"/>
                    <a:gd name="connsiteY3" fmla="*/ 16034 h 1037405"/>
                    <a:gd name="connsiteX4" fmla="*/ 15429 w 90091"/>
                    <a:gd name="connsiteY4" fmla="*/ 605 h 1037405"/>
                    <a:gd name="connsiteX5" fmla="*/ 0 w 90091"/>
                    <a:gd name="connsiteY5" fmla="*/ 19120 h 1037405"/>
                    <a:gd name="connsiteX6" fmla="*/ 55542 w 90091"/>
                    <a:gd name="connsiteY6" fmla="*/ 1021977 h 1037405"/>
                    <a:gd name="connsiteX7" fmla="*/ 74058 w 90091"/>
                    <a:gd name="connsiteY7" fmla="*/ 1037405 h 1037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0091" h="1037405">
                      <a:moveTo>
                        <a:pt x="74058" y="1037405"/>
                      </a:moveTo>
                      <a:cubicBezTo>
                        <a:pt x="74058" y="1037405"/>
                        <a:pt x="74058" y="1037405"/>
                        <a:pt x="74058" y="1037405"/>
                      </a:cubicBezTo>
                      <a:cubicBezTo>
                        <a:pt x="83315" y="1037405"/>
                        <a:pt x="92571" y="1028148"/>
                        <a:pt x="89486" y="1018891"/>
                      </a:cubicBezTo>
                      <a:lnTo>
                        <a:pt x="33942" y="16034"/>
                      </a:lnTo>
                      <a:cubicBezTo>
                        <a:pt x="33942" y="6777"/>
                        <a:pt x="24685" y="-2480"/>
                        <a:pt x="15429" y="605"/>
                      </a:cubicBezTo>
                      <a:cubicBezTo>
                        <a:pt x="6172" y="605"/>
                        <a:pt x="0" y="9862"/>
                        <a:pt x="0" y="19120"/>
                      </a:cubicBezTo>
                      <a:lnTo>
                        <a:pt x="55542" y="1021977"/>
                      </a:lnTo>
                      <a:cubicBezTo>
                        <a:pt x="58629" y="1031234"/>
                        <a:pt x="64799" y="1037405"/>
                        <a:pt x="74058" y="1037405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: 形状 74">
                  <a:extLst>
                    <a:ext uri="{FF2B5EF4-FFF2-40B4-BE49-F238E27FC236}">
                      <a16:creationId xmlns:a16="http://schemas.microsoft.com/office/drawing/2014/main" id="{2BD1BA5B-D97E-4671-A3E8-26C6523BA28E}"/>
                    </a:ext>
                  </a:extLst>
                </p:cNvPr>
                <p:cNvSpPr/>
                <p:nvPr/>
              </p:nvSpPr>
              <p:spPr>
                <a:xfrm>
                  <a:off x="19605368" y="5560639"/>
                  <a:ext cx="68491" cy="1036799"/>
                </a:xfrm>
                <a:custGeom>
                  <a:avLst/>
                  <a:gdLst>
                    <a:gd name="connsiteX0" fmla="*/ 52458 w 68491"/>
                    <a:gd name="connsiteY0" fmla="*/ 1036800 h 1036799"/>
                    <a:gd name="connsiteX1" fmla="*/ 52458 w 68491"/>
                    <a:gd name="connsiteY1" fmla="*/ 1036800 h 1036799"/>
                    <a:gd name="connsiteX2" fmla="*/ 67886 w 68491"/>
                    <a:gd name="connsiteY2" fmla="*/ 1018286 h 1036799"/>
                    <a:gd name="connsiteX3" fmla="*/ 33944 w 68491"/>
                    <a:gd name="connsiteY3" fmla="*/ 15429 h 1036799"/>
                    <a:gd name="connsiteX4" fmla="*/ 15429 w 68491"/>
                    <a:gd name="connsiteY4" fmla="*/ 0 h 1036799"/>
                    <a:gd name="connsiteX5" fmla="*/ 0 w 68491"/>
                    <a:gd name="connsiteY5" fmla="*/ 18514 h 1036799"/>
                    <a:gd name="connsiteX6" fmla="*/ 33944 w 68491"/>
                    <a:gd name="connsiteY6" fmla="*/ 1021371 h 1036799"/>
                    <a:gd name="connsiteX7" fmla="*/ 52458 w 68491"/>
                    <a:gd name="connsiteY7" fmla="*/ 1036800 h 1036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8491" h="1036799">
                      <a:moveTo>
                        <a:pt x="52458" y="1036800"/>
                      </a:moveTo>
                      <a:cubicBezTo>
                        <a:pt x="52458" y="1036800"/>
                        <a:pt x="52458" y="1036800"/>
                        <a:pt x="52458" y="1036800"/>
                      </a:cubicBezTo>
                      <a:cubicBezTo>
                        <a:pt x="61714" y="1036800"/>
                        <a:pt x="70971" y="1027543"/>
                        <a:pt x="67886" y="1018286"/>
                      </a:cubicBezTo>
                      <a:lnTo>
                        <a:pt x="33944" y="15429"/>
                      </a:lnTo>
                      <a:cubicBezTo>
                        <a:pt x="33944" y="6172"/>
                        <a:pt x="24685" y="0"/>
                        <a:pt x="15429" y="0"/>
                      </a:cubicBezTo>
                      <a:cubicBezTo>
                        <a:pt x="6172" y="0"/>
                        <a:pt x="0" y="9257"/>
                        <a:pt x="0" y="18514"/>
                      </a:cubicBezTo>
                      <a:lnTo>
                        <a:pt x="33944" y="1021371"/>
                      </a:lnTo>
                      <a:cubicBezTo>
                        <a:pt x="33944" y="1030629"/>
                        <a:pt x="43201" y="1036800"/>
                        <a:pt x="52458" y="103680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6" name="任意多边形: 形状 75">
                  <a:extLst>
                    <a:ext uri="{FF2B5EF4-FFF2-40B4-BE49-F238E27FC236}">
                      <a16:creationId xmlns:a16="http://schemas.microsoft.com/office/drawing/2014/main" id="{50308961-A747-454E-AB8D-8EFAB03614B1}"/>
                    </a:ext>
                  </a:extLst>
                </p:cNvPr>
                <p:cNvSpPr/>
                <p:nvPr/>
              </p:nvSpPr>
              <p:spPr>
                <a:xfrm>
                  <a:off x="19799768" y="5588410"/>
                  <a:ext cx="43200" cy="1036800"/>
                </a:xfrm>
                <a:custGeom>
                  <a:avLst/>
                  <a:gdLst>
                    <a:gd name="connsiteX0" fmla="*/ 27772 w 43200"/>
                    <a:gd name="connsiteY0" fmla="*/ 1036800 h 1036800"/>
                    <a:gd name="connsiteX1" fmla="*/ 43201 w 43200"/>
                    <a:gd name="connsiteY1" fmla="*/ 1018286 h 1036800"/>
                    <a:gd name="connsiteX2" fmla="*/ 33944 w 43200"/>
                    <a:gd name="connsiteY2" fmla="*/ 15429 h 1036800"/>
                    <a:gd name="connsiteX3" fmla="*/ 15429 w 43200"/>
                    <a:gd name="connsiteY3" fmla="*/ 0 h 1036800"/>
                    <a:gd name="connsiteX4" fmla="*/ 0 w 43200"/>
                    <a:gd name="connsiteY4" fmla="*/ 18514 h 1036800"/>
                    <a:gd name="connsiteX5" fmla="*/ 9259 w 43200"/>
                    <a:gd name="connsiteY5" fmla="*/ 1021372 h 1036800"/>
                    <a:gd name="connsiteX6" fmla="*/ 27772 w 43200"/>
                    <a:gd name="connsiteY6" fmla="*/ 1036800 h 1036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200" h="1036800">
                      <a:moveTo>
                        <a:pt x="27772" y="1036800"/>
                      </a:moveTo>
                      <a:cubicBezTo>
                        <a:pt x="37029" y="1036800"/>
                        <a:pt x="43201" y="1027543"/>
                        <a:pt x="43201" y="1018286"/>
                      </a:cubicBezTo>
                      <a:lnTo>
                        <a:pt x="33944" y="15429"/>
                      </a:lnTo>
                      <a:cubicBezTo>
                        <a:pt x="33944" y="6171"/>
                        <a:pt x="24687" y="0"/>
                        <a:pt x="15429" y="0"/>
                      </a:cubicBezTo>
                      <a:cubicBezTo>
                        <a:pt x="6172" y="0"/>
                        <a:pt x="0" y="9257"/>
                        <a:pt x="0" y="18514"/>
                      </a:cubicBezTo>
                      <a:lnTo>
                        <a:pt x="9259" y="1021372"/>
                      </a:lnTo>
                      <a:cubicBezTo>
                        <a:pt x="12344" y="1027543"/>
                        <a:pt x="18515" y="1036800"/>
                        <a:pt x="27772" y="103680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7" name="任意多边形: 形状 76">
                  <a:extLst>
                    <a:ext uri="{FF2B5EF4-FFF2-40B4-BE49-F238E27FC236}">
                      <a16:creationId xmlns:a16="http://schemas.microsoft.com/office/drawing/2014/main" id="{94165910-B7E3-4F88-B28E-5AA801021EA0}"/>
                    </a:ext>
                  </a:extLst>
                </p:cNvPr>
                <p:cNvSpPr/>
                <p:nvPr/>
              </p:nvSpPr>
              <p:spPr>
                <a:xfrm>
                  <a:off x="19981826" y="5557553"/>
                  <a:ext cx="46285" cy="1036800"/>
                </a:xfrm>
                <a:custGeom>
                  <a:avLst/>
                  <a:gdLst>
                    <a:gd name="connsiteX0" fmla="*/ 18514 w 46285"/>
                    <a:gd name="connsiteY0" fmla="*/ 1036800 h 1036800"/>
                    <a:gd name="connsiteX1" fmla="*/ 33942 w 46285"/>
                    <a:gd name="connsiteY1" fmla="*/ 1021372 h 1036800"/>
                    <a:gd name="connsiteX2" fmla="*/ 46286 w 46285"/>
                    <a:gd name="connsiteY2" fmla="*/ 18514 h 1036800"/>
                    <a:gd name="connsiteX3" fmla="*/ 30857 w 46285"/>
                    <a:gd name="connsiteY3" fmla="*/ 0 h 1036800"/>
                    <a:gd name="connsiteX4" fmla="*/ 12344 w 46285"/>
                    <a:gd name="connsiteY4" fmla="*/ 15429 h 1036800"/>
                    <a:gd name="connsiteX5" fmla="*/ 0 w 46285"/>
                    <a:gd name="connsiteY5" fmla="*/ 1018286 h 1036800"/>
                    <a:gd name="connsiteX6" fmla="*/ 18514 w 46285"/>
                    <a:gd name="connsiteY6" fmla="*/ 1036800 h 1036800"/>
                    <a:gd name="connsiteX7" fmla="*/ 18514 w 46285"/>
                    <a:gd name="connsiteY7" fmla="*/ 1036800 h 1036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285" h="1036800">
                      <a:moveTo>
                        <a:pt x="18514" y="1036800"/>
                      </a:moveTo>
                      <a:cubicBezTo>
                        <a:pt x="27772" y="1036800"/>
                        <a:pt x="33942" y="1030628"/>
                        <a:pt x="33942" y="1021372"/>
                      </a:cubicBezTo>
                      <a:lnTo>
                        <a:pt x="46286" y="18514"/>
                      </a:lnTo>
                      <a:cubicBezTo>
                        <a:pt x="46286" y="9257"/>
                        <a:pt x="40114" y="0"/>
                        <a:pt x="30857" y="0"/>
                      </a:cubicBezTo>
                      <a:cubicBezTo>
                        <a:pt x="21600" y="0"/>
                        <a:pt x="12344" y="6171"/>
                        <a:pt x="12344" y="15429"/>
                      </a:cubicBezTo>
                      <a:lnTo>
                        <a:pt x="0" y="1018286"/>
                      </a:lnTo>
                      <a:cubicBezTo>
                        <a:pt x="0" y="1030628"/>
                        <a:pt x="9257" y="1036800"/>
                        <a:pt x="18514" y="1036800"/>
                      </a:cubicBezTo>
                      <a:cubicBezTo>
                        <a:pt x="18514" y="1036800"/>
                        <a:pt x="18514" y="1036800"/>
                        <a:pt x="18514" y="103680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: 形状 77">
                  <a:extLst>
                    <a:ext uri="{FF2B5EF4-FFF2-40B4-BE49-F238E27FC236}">
                      <a16:creationId xmlns:a16="http://schemas.microsoft.com/office/drawing/2014/main" id="{FE82C7EB-9E26-45D5-B293-500112E3BCF9}"/>
                    </a:ext>
                  </a:extLst>
                </p:cNvPr>
                <p:cNvSpPr/>
                <p:nvPr/>
              </p:nvSpPr>
              <p:spPr>
                <a:xfrm>
                  <a:off x="20151540" y="5517439"/>
                  <a:ext cx="67886" cy="1036800"/>
                </a:xfrm>
                <a:custGeom>
                  <a:avLst/>
                  <a:gdLst>
                    <a:gd name="connsiteX0" fmla="*/ 18514 w 67886"/>
                    <a:gd name="connsiteY0" fmla="*/ 1036800 h 1036800"/>
                    <a:gd name="connsiteX1" fmla="*/ 33942 w 67886"/>
                    <a:gd name="connsiteY1" fmla="*/ 1021372 h 1036800"/>
                    <a:gd name="connsiteX2" fmla="*/ 67886 w 67886"/>
                    <a:gd name="connsiteY2" fmla="*/ 18514 h 1036800"/>
                    <a:gd name="connsiteX3" fmla="*/ 52458 w 67886"/>
                    <a:gd name="connsiteY3" fmla="*/ 0 h 1036800"/>
                    <a:gd name="connsiteX4" fmla="*/ 33942 w 67886"/>
                    <a:gd name="connsiteY4" fmla="*/ 15429 h 1036800"/>
                    <a:gd name="connsiteX5" fmla="*/ 0 w 67886"/>
                    <a:gd name="connsiteY5" fmla="*/ 1018286 h 1036800"/>
                    <a:gd name="connsiteX6" fmla="*/ 18514 w 67886"/>
                    <a:gd name="connsiteY6" fmla="*/ 1036800 h 1036800"/>
                    <a:gd name="connsiteX7" fmla="*/ 18514 w 67886"/>
                    <a:gd name="connsiteY7" fmla="*/ 1036800 h 1036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7886" h="1036800">
                      <a:moveTo>
                        <a:pt x="18514" y="1036800"/>
                      </a:moveTo>
                      <a:cubicBezTo>
                        <a:pt x="27772" y="1036800"/>
                        <a:pt x="33942" y="1030629"/>
                        <a:pt x="33942" y="1021372"/>
                      </a:cubicBezTo>
                      <a:lnTo>
                        <a:pt x="67886" y="18514"/>
                      </a:lnTo>
                      <a:cubicBezTo>
                        <a:pt x="67886" y="9257"/>
                        <a:pt x="61714" y="0"/>
                        <a:pt x="52458" y="0"/>
                      </a:cubicBezTo>
                      <a:cubicBezTo>
                        <a:pt x="43201" y="0"/>
                        <a:pt x="33942" y="6172"/>
                        <a:pt x="33942" y="15429"/>
                      </a:cubicBezTo>
                      <a:lnTo>
                        <a:pt x="0" y="1018286"/>
                      </a:lnTo>
                      <a:cubicBezTo>
                        <a:pt x="0" y="1027543"/>
                        <a:pt x="9257" y="1033714"/>
                        <a:pt x="18514" y="1036800"/>
                      </a:cubicBezTo>
                      <a:cubicBezTo>
                        <a:pt x="18514" y="1036800"/>
                        <a:pt x="18514" y="1036800"/>
                        <a:pt x="18514" y="103680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40" name="图形 1">
              <a:extLst>
                <a:ext uri="{FF2B5EF4-FFF2-40B4-BE49-F238E27FC236}">
                  <a16:creationId xmlns:a16="http://schemas.microsoft.com/office/drawing/2014/main" id="{0ED8104C-8E94-4FF2-9D9E-662EEF287803}"/>
                </a:ext>
              </a:extLst>
            </p:cNvPr>
            <p:cNvGrpSpPr/>
            <p:nvPr/>
          </p:nvGrpSpPr>
          <p:grpSpPr>
            <a:xfrm>
              <a:off x="19228911" y="5242655"/>
              <a:ext cx="1086171" cy="1453526"/>
              <a:chOff x="19228911" y="5242655"/>
              <a:chExt cx="1086171" cy="1453526"/>
            </a:xfrm>
          </p:grpSpPr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BBEBFF5D-DE2A-432A-AA41-AEF0DD448740}"/>
                  </a:ext>
                </a:extLst>
              </p:cNvPr>
              <p:cNvSpPr/>
              <p:nvPr/>
            </p:nvSpPr>
            <p:spPr>
              <a:xfrm>
                <a:off x="19228911" y="5338467"/>
                <a:ext cx="1086171" cy="1258971"/>
              </a:xfrm>
              <a:custGeom>
                <a:avLst/>
                <a:gdLst>
                  <a:gd name="connsiteX0" fmla="*/ 101830 w 1086171"/>
                  <a:gd name="connsiteY0" fmla="*/ 1258971 h 1258971"/>
                  <a:gd name="connsiteX1" fmla="*/ 1005944 w 1086171"/>
                  <a:gd name="connsiteY1" fmla="*/ 1249714 h 1258971"/>
                  <a:gd name="connsiteX2" fmla="*/ 1086172 w 1086171"/>
                  <a:gd name="connsiteY2" fmla="*/ 0 h 1258971"/>
                  <a:gd name="connsiteX3" fmla="*/ 0 w 1086171"/>
                  <a:gd name="connsiteY3" fmla="*/ 12343 h 1258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6171" h="1258971">
                    <a:moveTo>
                      <a:pt x="101830" y="1258971"/>
                    </a:moveTo>
                    <a:lnTo>
                      <a:pt x="1005944" y="1249714"/>
                    </a:lnTo>
                    <a:lnTo>
                      <a:pt x="1086172" y="0"/>
                    </a:lnTo>
                    <a:lnTo>
                      <a:pt x="0" y="12343"/>
                    </a:lnTo>
                    <a:close/>
                  </a:path>
                </a:pathLst>
              </a:custGeom>
              <a:solidFill>
                <a:srgbClr val="7F95BC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44436019-DB75-41BC-A7EF-12E87C5D6F95}"/>
                  </a:ext>
                </a:extLst>
              </p:cNvPr>
              <p:cNvSpPr/>
              <p:nvPr/>
            </p:nvSpPr>
            <p:spPr>
              <a:xfrm>
                <a:off x="19228911" y="5242655"/>
                <a:ext cx="1086171" cy="203968"/>
              </a:xfrm>
              <a:custGeom>
                <a:avLst/>
                <a:gdLst>
                  <a:gd name="connsiteX0" fmla="*/ 0 w 1086171"/>
                  <a:gd name="connsiteY0" fmla="*/ 108156 h 203968"/>
                  <a:gd name="connsiteX1" fmla="*/ 543087 w 1086171"/>
                  <a:gd name="connsiteY1" fmla="*/ 203813 h 203968"/>
                  <a:gd name="connsiteX2" fmla="*/ 1086172 w 1086171"/>
                  <a:gd name="connsiteY2" fmla="*/ 95813 h 203968"/>
                  <a:gd name="connsiteX3" fmla="*/ 543087 w 1086171"/>
                  <a:gd name="connsiteY3" fmla="*/ 156 h 203968"/>
                  <a:gd name="connsiteX4" fmla="*/ 0 w 1086171"/>
                  <a:gd name="connsiteY4" fmla="*/ 108156 h 20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6171" h="203968">
                    <a:moveTo>
                      <a:pt x="0" y="108156"/>
                    </a:moveTo>
                    <a:cubicBezTo>
                      <a:pt x="0" y="163698"/>
                      <a:pt x="243772" y="206898"/>
                      <a:pt x="543087" y="203813"/>
                    </a:cubicBezTo>
                    <a:cubicBezTo>
                      <a:pt x="842402" y="200727"/>
                      <a:pt x="1086172" y="151355"/>
                      <a:pt x="1086172" y="95813"/>
                    </a:cubicBezTo>
                    <a:cubicBezTo>
                      <a:pt x="1086172" y="40270"/>
                      <a:pt x="842402" y="-2930"/>
                      <a:pt x="543087" y="156"/>
                    </a:cubicBezTo>
                    <a:cubicBezTo>
                      <a:pt x="240687" y="3241"/>
                      <a:pt x="0" y="49527"/>
                      <a:pt x="0" y="108156"/>
                    </a:cubicBezTo>
                    <a:close/>
                  </a:path>
                </a:pathLst>
              </a:custGeom>
              <a:solidFill>
                <a:srgbClr val="F6EBE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85919FC9-3B1C-4A62-BC3D-9261605C8A74}"/>
                  </a:ext>
                </a:extLst>
              </p:cNvPr>
              <p:cNvSpPr/>
              <p:nvPr/>
            </p:nvSpPr>
            <p:spPr>
              <a:xfrm>
                <a:off x="19309140" y="5267283"/>
                <a:ext cx="925714" cy="148539"/>
              </a:xfrm>
              <a:custGeom>
                <a:avLst/>
                <a:gdLst>
                  <a:gd name="connsiteX0" fmla="*/ 0 w 925714"/>
                  <a:gd name="connsiteY0" fmla="*/ 80441 h 148539"/>
                  <a:gd name="connsiteX1" fmla="*/ 462857 w 925714"/>
                  <a:gd name="connsiteY1" fmla="*/ 148327 h 148539"/>
                  <a:gd name="connsiteX2" fmla="*/ 925714 w 925714"/>
                  <a:gd name="connsiteY2" fmla="*/ 68099 h 148539"/>
                  <a:gd name="connsiteX3" fmla="*/ 462857 w 925714"/>
                  <a:gd name="connsiteY3" fmla="*/ 213 h 148539"/>
                  <a:gd name="connsiteX4" fmla="*/ 0 w 925714"/>
                  <a:gd name="connsiteY4" fmla="*/ 80441 h 14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5714" h="148539">
                    <a:moveTo>
                      <a:pt x="0" y="80441"/>
                    </a:moveTo>
                    <a:cubicBezTo>
                      <a:pt x="0" y="120556"/>
                      <a:pt x="206743" y="151413"/>
                      <a:pt x="462857" y="148327"/>
                    </a:cubicBezTo>
                    <a:cubicBezTo>
                      <a:pt x="718971" y="145241"/>
                      <a:pt x="925714" y="111298"/>
                      <a:pt x="925714" y="68099"/>
                    </a:cubicBezTo>
                    <a:cubicBezTo>
                      <a:pt x="925714" y="27984"/>
                      <a:pt x="718971" y="-2873"/>
                      <a:pt x="462857" y="213"/>
                    </a:cubicBezTo>
                    <a:cubicBezTo>
                      <a:pt x="206743" y="6384"/>
                      <a:pt x="0" y="40327"/>
                      <a:pt x="0" y="80441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B45452F1-EBED-42B2-9FED-60AF5D5BB405}"/>
                  </a:ext>
                </a:extLst>
              </p:cNvPr>
              <p:cNvSpPr/>
              <p:nvPr/>
            </p:nvSpPr>
            <p:spPr>
              <a:xfrm>
                <a:off x="19330741" y="6489439"/>
                <a:ext cx="904113" cy="206742"/>
              </a:xfrm>
              <a:custGeom>
                <a:avLst/>
                <a:gdLst>
                  <a:gd name="connsiteX0" fmla="*/ 0 w 904113"/>
                  <a:gd name="connsiteY0" fmla="*/ 108000 h 206742"/>
                  <a:gd name="connsiteX1" fmla="*/ 453599 w 904113"/>
                  <a:gd name="connsiteY1" fmla="*/ 206743 h 206742"/>
                  <a:gd name="connsiteX2" fmla="*/ 904114 w 904113"/>
                  <a:gd name="connsiteY2" fmla="*/ 98743 h 206742"/>
                  <a:gd name="connsiteX3" fmla="*/ 450514 w 904113"/>
                  <a:gd name="connsiteY3" fmla="*/ 0 h 206742"/>
                  <a:gd name="connsiteX4" fmla="*/ 0 w 904113"/>
                  <a:gd name="connsiteY4" fmla="*/ 108000 h 20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4113" h="206742">
                    <a:moveTo>
                      <a:pt x="0" y="108000"/>
                    </a:moveTo>
                    <a:cubicBezTo>
                      <a:pt x="0" y="163543"/>
                      <a:pt x="203656" y="206743"/>
                      <a:pt x="453599" y="206743"/>
                    </a:cubicBezTo>
                    <a:cubicBezTo>
                      <a:pt x="703543" y="203657"/>
                      <a:pt x="904114" y="157372"/>
                      <a:pt x="904114" y="98743"/>
                    </a:cubicBezTo>
                    <a:cubicBezTo>
                      <a:pt x="904114" y="43200"/>
                      <a:pt x="700456" y="0"/>
                      <a:pt x="450514" y="0"/>
                    </a:cubicBezTo>
                    <a:cubicBezTo>
                      <a:pt x="203656" y="6171"/>
                      <a:pt x="0" y="52457"/>
                      <a:pt x="0" y="10800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3" name="图形 1">
                <a:extLst>
                  <a:ext uri="{FF2B5EF4-FFF2-40B4-BE49-F238E27FC236}">
                    <a16:creationId xmlns:a16="http://schemas.microsoft.com/office/drawing/2014/main" id="{81D85509-481E-4700-AADB-1D4599BDD2AE}"/>
                  </a:ext>
                </a:extLst>
              </p:cNvPr>
              <p:cNvGrpSpPr/>
              <p:nvPr/>
            </p:nvGrpSpPr>
            <p:grpSpPr>
              <a:xfrm>
                <a:off x="19367768" y="5514353"/>
                <a:ext cx="808457" cy="1110857"/>
                <a:chOff x="19367768" y="5514353"/>
                <a:chExt cx="808457" cy="1110857"/>
              </a:xfrm>
              <a:solidFill>
                <a:srgbClr val="F6EBEB"/>
              </a:solidFill>
            </p:grpSpPr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2D7DFF95-5867-4580-90A7-D64A7EDED159}"/>
                    </a:ext>
                  </a:extLst>
                </p:cNvPr>
                <p:cNvSpPr/>
                <p:nvPr/>
              </p:nvSpPr>
              <p:spPr>
                <a:xfrm>
                  <a:off x="19367768" y="5523005"/>
                  <a:ext cx="90091" cy="1037405"/>
                </a:xfrm>
                <a:custGeom>
                  <a:avLst/>
                  <a:gdLst>
                    <a:gd name="connsiteX0" fmla="*/ 74058 w 90091"/>
                    <a:gd name="connsiteY0" fmla="*/ 1037405 h 1037405"/>
                    <a:gd name="connsiteX1" fmla="*/ 74058 w 90091"/>
                    <a:gd name="connsiteY1" fmla="*/ 1037405 h 1037405"/>
                    <a:gd name="connsiteX2" fmla="*/ 89486 w 90091"/>
                    <a:gd name="connsiteY2" fmla="*/ 1018891 h 1037405"/>
                    <a:gd name="connsiteX3" fmla="*/ 33944 w 90091"/>
                    <a:gd name="connsiteY3" fmla="*/ 16034 h 1037405"/>
                    <a:gd name="connsiteX4" fmla="*/ 15429 w 90091"/>
                    <a:gd name="connsiteY4" fmla="*/ 605 h 1037405"/>
                    <a:gd name="connsiteX5" fmla="*/ 0 w 90091"/>
                    <a:gd name="connsiteY5" fmla="*/ 19120 h 1037405"/>
                    <a:gd name="connsiteX6" fmla="*/ 55544 w 90091"/>
                    <a:gd name="connsiteY6" fmla="*/ 1021977 h 1037405"/>
                    <a:gd name="connsiteX7" fmla="*/ 74058 w 90091"/>
                    <a:gd name="connsiteY7" fmla="*/ 1037405 h 1037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0091" h="1037405">
                      <a:moveTo>
                        <a:pt x="74058" y="1037405"/>
                      </a:moveTo>
                      <a:cubicBezTo>
                        <a:pt x="74058" y="1037405"/>
                        <a:pt x="74058" y="1037405"/>
                        <a:pt x="74058" y="1037405"/>
                      </a:cubicBezTo>
                      <a:cubicBezTo>
                        <a:pt x="83315" y="1037405"/>
                        <a:pt x="92571" y="1028148"/>
                        <a:pt x="89486" y="1018891"/>
                      </a:cubicBezTo>
                      <a:lnTo>
                        <a:pt x="33944" y="16034"/>
                      </a:lnTo>
                      <a:cubicBezTo>
                        <a:pt x="33944" y="6777"/>
                        <a:pt x="24687" y="-2480"/>
                        <a:pt x="15429" y="605"/>
                      </a:cubicBezTo>
                      <a:cubicBezTo>
                        <a:pt x="6172" y="605"/>
                        <a:pt x="0" y="9862"/>
                        <a:pt x="0" y="19120"/>
                      </a:cubicBezTo>
                      <a:lnTo>
                        <a:pt x="55544" y="1021977"/>
                      </a:lnTo>
                      <a:cubicBezTo>
                        <a:pt x="55544" y="1028148"/>
                        <a:pt x="64801" y="1037405"/>
                        <a:pt x="74058" y="1037405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EEDA2E2B-D8EC-4CA0-AD83-476891AAD757}"/>
                    </a:ext>
                  </a:extLst>
                </p:cNvPr>
                <p:cNvSpPr/>
                <p:nvPr/>
              </p:nvSpPr>
              <p:spPr>
                <a:xfrm>
                  <a:off x="19559082" y="5560639"/>
                  <a:ext cx="68491" cy="1036799"/>
                </a:xfrm>
                <a:custGeom>
                  <a:avLst/>
                  <a:gdLst>
                    <a:gd name="connsiteX0" fmla="*/ 52458 w 68491"/>
                    <a:gd name="connsiteY0" fmla="*/ 1036800 h 1036799"/>
                    <a:gd name="connsiteX1" fmla="*/ 52458 w 68491"/>
                    <a:gd name="connsiteY1" fmla="*/ 1036800 h 1036799"/>
                    <a:gd name="connsiteX2" fmla="*/ 67886 w 68491"/>
                    <a:gd name="connsiteY2" fmla="*/ 1018286 h 1036799"/>
                    <a:gd name="connsiteX3" fmla="*/ 33944 w 68491"/>
                    <a:gd name="connsiteY3" fmla="*/ 15429 h 1036799"/>
                    <a:gd name="connsiteX4" fmla="*/ 15429 w 68491"/>
                    <a:gd name="connsiteY4" fmla="*/ 0 h 1036799"/>
                    <a:gd name="connsiteX5" fmla="*/ 0 w 68491"/>
                    <a:gd name="connsiteY5" fmla="*/ 18514 h 1036799"/>
                    <a:gd name="connsiteX6" fmla="*/ 33944 w 68491"/>
                    <a:gd name="connsiteY6" fmla="*/ 1021371 h 1036799"/>
                    <a:gd name="connsiteX7" fmla="*/ 52458 w 68491"/>
                    <a:gd name="connsiteY7" fmla="*/ 1036800 h 1036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8491" h="1036799">
                      <a:moveTo>
                        <a:pt x="52458" y="1036800"/>
                      </a:moveTo>
                      <a:cubicBezTo>
                        <a:pt x="52458" y="1036800"/>
                        <a:pt x="52458" y="1036800"/>
                        <a:pt x="52458" y="1036800"/>
                      </a:cubicBezTo>
                      <a:cubicBezTo>
                        <a:pt x="61714" y="1036800"/>
                        <a:pt x="70971" y="1027543"/>
                        <a:pt x="67886" y="1018286"/>
                      </a:cubicBezTo>
                      <a:lnTo>
                        <a:pt x="33944" y="15429"/>
                      </a:lnTo>
                      <a:cubicBezTo>
                        <a:pt x="33944" y="6172"/>
                        <a:pt x="24685" y="0"/>
                        <a:pt x="15429" y="0"/>
                      </a:cubicBezTo>
                      <a:cubicBezTo>
                        <a:pt x="6172" y="0"/>
                        <a:pt x="0" y="9257"/>
                        <a:pt x="0" y="18514"/>
                      </a:cubicBezTo>
                      <a:lnTo>
                        <a:pt x="33944" y="1021371"/>
                      </a:lnTo>
                      <a:cubicBezTo>
                        <a:pt x="37029" y="1030629"/>
                        <a:pt x="43201" y="1036800"/>
                        <a:pt x="52458" y="103680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3ACFE977-E825-499C-9AA1-77ACF5AE59BF}"/>
                    </a:ext>
                  </a:extLst>
                </p:cNvPr>
                <p:cNvSpPr/>
                <p:nvPr/>
              </p:nvSpPr>
              <p:spPr>
                <a:xfrm>
                  <a:off x="19756569" y="5588410"/>
                  <a:ext cx="43198" cy="1036800"/>
                </a:xfrm>
                <a:custGeom>
                  <a:avLst/>
                  <a:gdLst>
                    <a:gd name="connsiteX0" fmla="*/ 27770 w 43198"/>
                    <a:gd name="connsiteY0" fmla="*/ 1036800 h 1036800"/>
                    <a:gd name="connsiteX1" fmla="*/ 43199 w 43198"/>
                    <a:gd name="connsiteY1" fmla="*/ 1018286 h 1036800"/>
                    <a:gd name="connsiteX2" fmla="*/ 33942 w 43198"/>
                    <a:gd name="connsiteY2" fmla="*/ 15429 h 1036800"/>
                    <a:gd name="connsiteX3" fmla="*/ 15429 w 43198"/>
                    <a:gd name="connsiteY3" fmla="*/ 0 h 1036800"/>
                    <a:gd name="connsiteX4" fmla="*/ 0 w 43198"/>
                    <a:gd name="connsiteY4" fmla="*/ 18514 h 1036800"/>
                    <a:gd name="connsiteX5" fmla="*/ 9257 w 43198"/>
                    <a:gd name="connsiteY5" fmla="*/ 1018286 h 1036800"/>
                    <a:gd name="connsiteX6" fmla="*/ 27770 w 43198"/>
                    <a:gd name="connsiteY6" fmla="*/ 1036800 h 1036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198" h="1036800">
                      <a:moveTo>
                        <a:pt x="27770" y="1036800"/>
                      </a:moveTo>
                      <a:cubicBezTo>
                        <a:pt x="37029" y="1036800"/>
                        <a:pt x="43199" y="1027543"/>
                        <a:pt x="43199" y="1018286"/>
                      </a:cubicBezTo>
                      <a:lnTo>
                        <a:pt x="33942" y="15429"/>
                      </a:lnTo>
                      <a:cubicBezTo>
                        <a:pt x="33942" y="6171"/>
                        <a:pt x="24685" y="0"/>
                        <a:pt x="15429" y="0"/>
                      </a:cubicBezTo>
                      <a:cubicBezTo>
                        <a:pt x="6172" y="0"/>
                        <a:pt x="0" y="9257"/>
                        <a:pt x="0" y="18514"/>
                      </a:cubicBezTo>
                      <a:lnTo>
                        <a:pt x="9257" y="1018286"/>
                      </a:lnTo>
                      <a:cubicBezTo>
                        <a:pt x="9257" y="1027543"/>
                        <a:pt x="18514" y="1036800"/>
                        <a:pt x="27770" y="103680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7" name="任意多边形: 形状 66">
                  <a:extLst>
                    <a:ext uri="{FF2B5EF4-FFF2-40B4-BE49-F238E27FC236}">
                      <a16:creationId xmlns:a16="http://schemas.microsoft.com/office/drawing/2014/main" id="{EE252656-93A2-4474-870F-E2E2CB52B245}"/>
                    </a:ext>
                  </a:extLst>
                </p:cNvPr>
                <p:cNvSpPr/>
                <p:nvPr/>
              </p:nvSpPr>
              <p:spPr>
                <a:xfrm>
                  <a:off x="19935540" y="5557553"/>
                  <a:ext cx="46285" cy="1036800"/>
                </a:xfrm>
                <a:custGeom>
                  <a:avLst/>
                  <a:gdLst>
                    <a:gd name="connsiteX0" fmla="*/ 18514 w 46285"/>
                    <a:gd name="connsiteY0" fmla="*/ 1036800 h 1036800"/>
                    <a:gd name="connsiteX1" fmla="*/ 33942 w 46285"/>
                    <a:gd name="connsiteY1" fmla="*/ 1021372 h 1036800"/>
                    <a:gd name="connsiteX2" fmla="*/ 46286 w 46285"/>
                    <a:gd name="connsiteY2" fmla="*/ 18514 h 1036800"/>
                    <a:gd name="connsiteX3" fmla="*/ 30857 w 46285"/>
                    <a:gd name="connsiteY3" fmla="*/ 0 h 1036800"/>
                    <a:gd name="connsiteX4" fmla="*/ 12344 w 46285"/>
                    <a:gd name="connsiteY4" fmla="*/ 15429 h 1036800"/>
                    <a:gd name="connsiteX5" fmla="*/ 0 w 46285"/>
                    <a:gd name="connsiteY5" fmla="*/ 1018286 h 1036800"/>
                    <a:gd name="connsiteX6" fmla="*/ 18514 w 46285"/>
                    <a:gd name="connsiteY6" fmla="*/ 1036800 h 1036800"/>
                    <a:gd name="connsiteX7" fmla="*/ 18514 w 46285"/>
                    <a:gd name="connsiteY7" fmla="*/ 1036800 h 1036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285" h="1036800">
                      <a:moveTo>
                        <a:pt x="18514" y="1036800"/>
                      </a:moveTo>
                      <a:cubicBezTo>
                        <a:pt x="27772" y="1036800"/>
                        <a:pt x="33942" y="1030628"/>
                        <a:pt x="33942" y="1021372"/>
                      </a:cubicBezTo>
                      <a:lnTo>
                        <a:pt x="46286" y="18514"/>
                      </a:lnTo>
                      <a:cubicBezTo>
                        <a:pt x="46286" y="9257"/>
                        <a:pt x="40114" y="0"/>
                        <a:pt x="30857" y="0"/>
                      </a:cubicBezTo>
                      <a:cubicBezTo>
                        <a:pt x="21600" y="0"/>
                        <a:pt x="12344" y="6171"/>
                        <a:pt x="12344" y="15429"/>
                      </a:cubicBezTo>
                      <a:lnTo>
                        <a:pt x="0" y="1018286"/>
                      </a:lnTo>
                      <a:cubicBezTo>
                        <a:pt x="3085" y="1027543"/>
                        <a:pt x="9257" y="1036800"/>
                        <a:pt x="18514" y="1036800"/>
                      </a:cubicBezTo>
                      <a:cubicBezTo>
                        <a:pt x="18514" y="1036800"/>
                        <a:pt x="18514" y="1036800"/>
                        <a:pt x="18514" y="103680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8" name="任意多边形: 形状 67">
                  <a:extLst>
                    <a:ext uri="{FF2B5EF4-FFF2-40B4-BE49-F238E27FC236}">
                      <a16:creationId xmlns:a16="http://schemas.microsoft.com/office/drawing/2014/main" id="{E536740F-7500-4563-A68C-BE0A94CFE322}"/>
                    </a:ext>
                  </a:extLst>
                </p:cNvPr>
                <p:cNvSpPr/>
                <p:nvPr/>
              </p:nvSpPr>
              <p:spPr>
                <a:xfrm>
                  <a:off x="20108339" y="5514353"/>
                  <a:ext cx="67886" cy="1036799"/>
                </a:xfrm>
                <a:custGeom>
                  <a:avLst/>
                  <a:gdLst>
                    <a:gd name="connsiteX0" fmla="*/ 18515 w 67886"/>
                    <a:gd name="connsiteY0" fmla="*/ 1036800 h 1036799"/>
                    <a:gd name="connsiteX1" fmla="*/ 33944 w 67886"/>
                    <a:gd name="connsiteY1" fmla="*/ 1021371 h 1036799"/>
                    <a:gd name="connsiteX2" fmla="*/ 67886 w 67886"/>
                    <a:gd name="connsiteY2" fmla="*/ 18514 h 1036799"/>
                    <a:gd name="connsiteX3" fmla="*/ 52458 w 67886"/>
                    <a:gd name="connsiteY3" fmla="*/ 0 h 1036799"/>
                    <a:gd name="connsiteX4" fmla="*/ 33944 w 67886"/>
                    <a:gd name="connsiteY4" fmla="*/ 15429 h 1036799"/>
                    <a:gd name="connsiteX5" fmla="*/ 0 w 67886"/>
                    <a:gd name="connsiteY5" fmla="*/ 1018286 h 1036799"/>
                    <a:gd name="connsiteX6" fmla="*/ 18515 w 67886"/>
                    <a:gd name="connsiteY6" fmla="*/ 1036800 h 1036799"/>
                    <a:gd name="connsiteX7" fmla="*/ 18515 w 67886"/>
                    <a:gd name="connsiteY7" fmla="*/ 1036800 h 1036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7886" h="1036799">
                      <a:moveTo>
                        <a:pt x="18515" y="1036800"/>
                      </a:moveTo>
                      <a:cubicBezTo>
                        <a:pt x="27772" y="1036800"/>
                        <a:pt x="33944" y="1030629"/>
                        <a:pt x="33944" y="1021371"/>
                      </a:cubicBezTo>
                      <a:lnTo>
                        <a:pt x="67886" y="18514"/>
                      </a:lnTo>
                      <a:cubicBezTo>
                        <a:pt x="67886" y="9257"/>
                        <a:pt x="61714" y="0"/>
                        <a:pt x="52458" y="0"/>
                      </a:cubicBezTo>
                      <a:cubicBezTo>
                        <a:pt x="43201" y="0"/>
                        <a:pt x="33944" y="6172"/>
                        <a:pt x="33944" y="15429"/>
                      </a:cubicBezTo>
                      <a:lnTo>
                        <a:pt x="0" y="1018286"/>
                      </a:lnTo>
                      <a:cubicBezTo>
                        <a:pt x="0" y="1030629"/>
                        <a:pt x="6172" y="1036800"/>
                        <a:pt x="18515" y="1036800"/>
                      </a:cubicBezTo>
                      <a:cubicBezTo>
                        <a:pt x="18515" y="1036800"/>
                        <a:pt x="18515" y="1036800"/>
                        <a:pt x="18515" y="103680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E94CFEF9-4F78-4B49-BDF6-B2679507614E}"/>
                </a:ext>
              </a:extLst>
            </p:cNvPr>
            <p:cNvSpPr/>
            <p:nvPr/>
          </p:nvSpPr>
          <p:spPr>
            <a:xfrm>
              <a:off x="20272603" y="3075661"/>
              <a:ext cx="208270" cy="260178"/>
            </a:xfrm>
            <a:custGeom>
              <a:avLst/>
              <a:gdLst>
                <a:gd name="connsiteX0" fmla="*/ 17794 w 208270"/>
                <a:gd name="connsiteY0" fmla="*/ 173778 h 260178"/>
                <a:gd name="connsiteX1" fmla="*/ 98021 w 208270"/>
                <a:gd name="connsiteY1" fmla="*/ 260178 h 260178"/>
                <a:gd name="connsiteX2" fmla="*/ 202937 w 208270"/>
                <a:gd name="connsiteY2" fmla="*/ 198464 h 260178"/>
                <a:gd name="connsiteX3" fmla="*/ 76423 w 208270"/>
                <a:gd name="connsiteY3" fmla="*/ 978 h 260178"/>
                <a:gd name="connsiteX4" fmla="*/ 45566 w 208270"/>
                <a:gd name="connsiteY4" fmla="*/ 28750 h 260178"/>
                <a:gd name="connsiteX5" fmla="*/ 8537 w 208270"/>
                <a:gd name="connsiteY5" fmla="*/ 56521 h 260178"/>
                <a:gd name="connsiteX6" fmla="*/ 2365 w 208270"/>
                <a:gd name="connsiteY6" fmla="*/ 87378 h 260178"/>
                <a:gd name="connsiteX7" fmla="*/ 2365 w 208270"/>
                <a:gd name="connsiteY7" fmla="*/ 133664 h 260178"/>
                <a:gd name="connsiteX8" fmla="*/ 17794 w 208270"/>
                <a:gd name="connsiteY8" fmla="*/ 173778 h 26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8270" h="260178">
                  <a:moveTo>
                    <a:pt x="17794" y="173778"/>
                  </a:moveTo>
                  <a:cubicBezTo>
                    <a:pt x="42479" y="201550"/>
                    <a:pt x="57908" y="257093"/>
                    <a:pt x="98021" y="260178"/>
                  </a:cubicBezTo>
                  <a:cubicBezTo>
                    <a:pt x="125794" y="260178"/>
                    <a:pt x="199852" y="198464"/>
                    <a:pt x="202937" y="198464"/>
                  </a:cubicBezTo>
                  <a:cubicBezTo>
                    <a:pt x="233794" y="133664"/>
                    <a:pt x="122709" y="34921"/>
                    <a:pt x="76423" y="978"/>
                  </a:cubicBezTo>
                  <a:cubicBezTo>
                    <a:pt x="70251" y="-5193"/>
                    <a:pt x="42479" y="19492"/>
                    <a:pt x="45566" y="28750"/>
                  </a:cubicBezTo>
                  <a:cubicBezTo>
                    <a:pt x="54823" y="44178"/>
                    <a:pt x="11622" y="47264"/>
                    <a:pt x="8537" y="56521"/>
                  </a:cubicBezTo>
                  <a:cubicBezTo>
                    <a:pt x="2365" y="65778"/>
                    <a:pt x="2365" y="87378"/>
                    <a:pt x="2365" y="87378"/>
                  </a:cubicBezTo>
                  <a:cubicBezTo>
                    <a:pt x="-720" y="102807"/>
                    <a:pt x="5450" y="127492"/>
                    <a:pt x="2365" y="133664"/>
                  </a:cubicBezTo>
                  <a:cubicBezTo>
                    <a:pt x="-3807" y="152178"/>
                    <a:pt x="2365" y="158350"/>
                    <a:pt x="17794" y="173778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2" name="图形 1">
              <a:extLst>
                <a:ext uri="{FF2B5EF4-FFF2-40B4-BE49-F238E27FC236}">
                  <a16:creationId xmlns:a16="http://schemas.microsoft.com/office/drawing/2014/main" id="{D68ECC2E-3E2F-42C4-99BC-082F14BA0C7C}"/>
                </a:ext>
              </a:extLst>
            </p:cNvPr>
            <p:cNvGrpSpPr/>
            <p:nvPr/>
          </p:nvGrpSpPr>
          <p:grpSpPr>
            <a:xfrm>
              <a:off x="19866964" y="2583405"/>
              <a:ext cx="576852" cy="984728"/>
              <a:chOff x="19866964" y="2583405"/>
              <a:chExt cx="576852" cy="984728"/>
            </a:xfrm>
          </p:grpSpPr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3CC2F032-7D3E-413C-AA46-2554F479EBDD}"/>
                  </a:ext>
                </a:extLst>
              </p:cNvPr>
              <p:cNvSpPr/>
              <p:nvPr/>
            </p:nvSpPr>
            <p:spPr>
              <a:xfrm>
                <a:off x="19866964" y="2583405"/>
                <a:ext cx="576852" cy="984728"/>
              </a:xfrm>
              <a:custGeom>
                <a:avLst/>
                <a:gdLst>
                  <a:gd name="connsiteX0" fmla="*/ 562290 w 576852"/>
                  <a:gd name="connsiteY0" fmla="*/ 175405 h 984728"/>
                  <a:gd name="connsiteX1" fmla="*/ 192004 w 576852"/>
                  <a:gd name="connsiteY1" fmla="*/ 912891 h 984728"/>
                  <a:gd name="connsiteX2" fmla="*/ 16118 w 576852"/>
                  <a:gd name="connsiteY2" fmla="*/ 971519 h 984728"/>
                  <a:gd name="connsiteX3" fmla="*/ 167319 w 576852"/>
                  <a:gd name="connsiteY3" fmla="*/ 440777 h 984728"/>
                  <a:gd name="connsiteX4" fmla="*/ 503661 w 576852"/>
                  <a:gd name="connsiteY4" fmla="*/ 2605 h 984728"/>
                  <a:gd name="connsiteX5" fmla="*/ 562290 w 576852"/>
                  <a:gd name="connsiteY5" fmla="*/ 175405 h 984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6852" h="984728">
                    <a:moveTo>
                      <a:pt x="562290" y="175405"/>
                    </a:moveTo>
                    <a:lnTo>
                      <a:pt x="192004" y="912891"/>
                    </a:lnTo>
                    <a:cubicBezTo>
                      <a:pt x="158062" y="977691"/>
                      <a:pt x="80919" y="1002377"/>
                      <a:pt x="16118" y="971519"/>
                    </a:cubicBezTo>
                    <a:cubicBezTo>
                      <a:pt x="-33252" y="946834"/>
                      <a:pt x="34634" y="709234"/>
                      <a:pt x="167319" y="440777"/>
                    </a:cubicBezTo>
                    <a:cubicBezTo>
                      <a:pt x="303089" y="172320"/>
                      <a:pt x="451205" y="-25166"/>
                      <a:pt x="503661" y="2605"/>
                    </a:cubicBezTo>
                    <a:cubicBezTo>
                      <a:pt x="568462" y="30377"/>
                      <a:pt x="596232" y="110605"/>
                      <a:pt x="562290" y="175405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E7C05170-220F-4909-8BD1-1BB20A973355}"/>
                  </a:ext>
                </a:extLst>
              </p:cNvPr>
              <p:cNvSpPr/>
              <p:nvPr/>
            </p:nvSpPr>
            <p:spPr>
              <a:xfrm>
                <a:off x="20133026" y="2950125"/>
                <a:ext cx="280540" cy="360769"/>
              </a:xfrm>
              <a:custGeom>
                <a:avLst/>
                <a:gdLst>
                  <a:gd name="connsiteX0" fmla="*/ 157371 w 280540"/>
                  <a:gd name="connsiteY0" fmla="*/ 0 h 360769"/>
                  <a:gd name="connsiteX1" fmla="*/ 126514 w 280540"/>
                  <a:gd name="connsiteY1" fmla="*/ 61714 h 360769"/>
                  <a:gd name="connsiteX2" fmla="*/ 185143 w 280540"/>
                  <a:gd name="connsiteY2" fmla="*/ 89486 h 360769"/>
                  <a:gd name="connsiteX3" fmla="*/ 206741 w 280540"/>
                  <a:gd name="connsiteY3" fmla="*/ 151200 h 360769"/>
                  <a:gd name="connsiteX4" fmla="*/ 151199 w 280540"/>
                  <a:gd name="connsiteY4" fmla="*/ 265371 h 360769"/>
                  <a:gd name="connsiteX5" fmla="*/ 89485 w 280540"/>
                  <a:gd name="connsiteY5" fmla="*/ 286971 h 360769"/>
                  <a:gd name="connsiteX6" fmla="*/ 30857 w 280540"/>
                  <a:gd name="connsiteY6" fmla="*/ 259200 h 360769"/>
                  <a:gd name="connsiteX7" fmla="*/ 0 w 280540"/>
                  <a:gd name="connsiteY7" fmla="*/ 320914 h 360769"/>
                  <a:gd name="connsiteX8" fmla="*/ 58627 w 280540"/>
                  <a:gd name="connsiteY8" fmla="*/ 348686 h 360769"/>
                  <a:gd name="connsiteX9" fmla="*/ 212913 w 280540"/>
                  <a:gd name="connsiteY9" fmla="*/ 299314 h 360769"/>
                  <a:gd name="connsiteX10" fmla="*/ 268456 w 280540"/>
                  <a:gd name="connsiteY10" fmla="*/ 185143 h 360769"/>
                  <a:gd name="connsiteX11" fmla="*/ 219085 w 280540"/>
                  <a:gd name="connsiteY11" fmla="*/ 30857 h 360769"/>
                  <a:gd name="connsiteX12" fmla="*/ 157371 w 280540"/>
                  <a:gd name="connsiteY12" fmla="*/ 0 h 360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0540" h="360769">
                    <a:moveTo>
                      <a:pt x="157371" y="0"/>
                    </a:moveTo>
                    <a:lnTo>
                      <a:pt x="126514" y="61714"/>
                    </a:lnTo>
                    <a:lnTo>
                      <a:pt x="185143" y="89486"/>
                    </a:lnTo>
                    <a:cubicBezTo>
                      <a:pt x="206741" y="101829"/>
                      <a:pt x="216000" y="129600"/>
                      <a:pt x="206741" y="151200"/>
                    </a:cubicBezTo>
                    <a:lnTo>
                      <a:pt x="151199" y="265371"/>
                    </a:lnTo>
                    <a:cubicBezTo>
                      <a:pt x="138857" y="286971"/>
                      <a:pt x="111085" y="296229"/>
                      <a:pt x="89485" y="286971"/>
                    </a:cubicBezTo>
                    <a:lnTo>
                      <a:pt x="30857" y="259200"/>
                    </a:lnTo>
                    <a:lnTo>
                      <a:pt x="0" y="320914"/>
                    </a:lnTo>
                    <a:lnTo>
                      <a:pt x="58627" y="348686"/>
                    </a:lnTo>
                    <a:cubicBezTo>
                      <a:pt x="114170" y="376457"/>
                      <a:pt x="182056" y="354857"/>
                      <a:pt x="212913" y="299314"/>
                    </a:cubicBezTo>
                    <a:lnTo>
                      <a:pt x="268456" y="185143"/>
                    </a:lnTo>
                    <a:cubicBezTo>
                      <a:pt x="296228" y="129600"/>
                      <a:pt x="274627" y="61714"/>
                      <a:pt x="219085" y="30857"/>
                    </a:cubicBezTo>
                    <a:lnTo>
                      <a:pt x="157371" y="0"/>
                    </a:ln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7452A5C1-4100-428C-BDE4-AA497856AC74}"/>
                </a:ext>
              </a:extLst>
            </p:cNvPr>
            <p:cNvGrpSpPr/>
            <p:nvPr/>
          </p:nvGrpSpPr>
          <p:grpSpPr>
            <a:xfrm>
              <a:off x="20254140" y="3061210"/>
              <a:ext cx="148620" cy="196476"/>
              <a:chOff x="20254140" y="3061210"/>
              <a:chExt cx="148620" cy="196476"/>
            </a:xfrm>
          </p:grpSpPr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FA83517D-D6CF-4B1B-9B67-71DD839CC34E}"/>
                  </a:ext>
                </a:extLst>
              </p:cNvPr>
              <p:cNvSpPr/>
              <p:nvPr/>
            </p:nvSpPr>
            <p:spPr>
              <a:xfrm>
                <a:off x="20262012" y="3061210"/>
                <a:ext cx="137352" cy="196476"/>
              </a:xfrm>
              <a:custGeom>
                <a:avLst/>
                <a:gdLst>
                  <a:gd name="connsiteX0" fmla="*/ 96271 w 137352"/>
                  <a:gd name="connsiteY0" fmla="*/ 175886 h 196476"/>
                  <a:gd name="connsiteX1" fmla="*/ 105528 w 137352"/>
                  <a:gd name="connsiteY1" fmla="*/ 154286 h 196476"/>
                  <a:gd name="connsiteX2" fmla="*/ 120956 w 137352"/>
                  <a:gd name="connsiteY2" fmla="*/ 151200 h 196476"/>
                  <a:gd name="connsiteX3" fmla="*/ 127128 w 137352"/>
                  <a:gd name="connsiteY3" fmla="*/ 108000 h 196476"/>
                  <a:gd name="connsiteX4" fmla="*/ 124041 w 137352"/>
                  <a:gd name="connsiteY4" fmla="*/ 104914 h 196476"/>
                  <a:gd name="connsiteX5" fmla="*/ 127128 w 137352"/>
                  <a:gd name="connsiteY5" fmla="*/ 104914 h 196476"/>
                  <a:gd name="connsiteX6" fmla="*/ 133300 w 137352"/>
                  <a:gd name="connsiteY6" fmla="*/ 61714 h 196476"/>
                  <a:gd name="connsiteX7" fmla="*/ 124041 w 137352"/>
                  <a:gd name="connsiteY7" fmla="*/ 49372 h 196476"/>
                  <a:gd name="connsiteX8" fmla="*/ 111700 w 137352"/>
                  <a:gd name="connsiteY8" fmla="*/ 43200 h 196476"/>
                  <a:gd name="connsiteX9" fmla="*/ 34557 w 137352"/>
                  <a:gd name="connsiteY9" fmla="*/ 0 h 196476"/>
                  <a:gd name="connsiteX10" fmla="*/ 16041 w 137352"/>
                  <a:gd name="connsiteY10" fmla="*/ 27771 h 196476"/>
                  <a:gd name="connsiteX11" fmla="*/ 25300 w 137352"/>
                  <a:gd name="connsiteY11" fmla="*/ 49372 h 196476"/>
                  <a:gd name="connsiteX12" fmla="*/ 9871 w 137352"/>
                  <a:gd name="connsiteY12" fmla="*/ 74057 h 196476"/>
                  <a:gd name="connsiteX13" fmla="*/ 16041 w 137352"/>
                  <a:gd name="connsiteY13" fmla="*/ 89486 h 196476"/>
                  <a:gd name="connsiteX14" fmla="*/ 613 w 137352"/>
                  <a:gd name="connsiteY14" fmla="*/ 111086 h 196476"/>
                  <a:gd name="connsiteX15" fmla="*/ 12956 w 137352"/>
                  <a:gd name="connsiteY15" fmla="*/ 129600 h 196476"/>
                  <a:gd name="connsiteX16" fmla="*/ 613 w 137352"/>
                  <a:gd name="connsiteY16" fmla="*/ 148114 h 196476"/>
                  <a:gd name="connsiteX17" fmla="*/ 16041 w 137352"/>
                  <a:gd name="connsiteY17" fmla="*/ 169714 h 196476"/>
                  <a:gd name="connsiteX18" fmla="*/ 46898 w 137352"/>
                  <a:gd name="connsiteY18" fmla="*/ 188229 h 196476"/>
                  <a:gd name="connsiteX19" fmla="*/ 71586 w 137352"/>
                  <a:gd name="connsiteY19" fmla="*/ 194400 h 196476"/>
                  <a:gd name="connsiteX20" fmla="*/ 77756 w 137352"/>
                  <a:gd name="connsiteY20" fmla="*/ 172800 h 196476"/>
                  <a:gd name="connsiteX21" fmla="*/ 96271 w 137352"/>
                  <a:gd name="connsiteY21" fmla="*/ 175886 h 196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7352" h="196476">
                    <a:moveTo>
                      <a:pt x="96271" y="175886"/>
                    </a:moveTo>
                    <a:cubicBezTo>
                      <a:pt x="102443" y="169714"/>
                      <a:pt x="105528" y="160457"/>
                      <a:pt x="105528" y="154286"/>
                    </a:cubicBezTo>
                    <a:cubicBezTo>
                      <a:pt x="111700" y="154286"/>
                      <a:pt x="114784" y="154286"/>
                      <a:pt x="120956" y="151200"/>
                    </a:cubicBezTo>
                    <a:cubicBezTo>
                      <a:pt x="133300" y="141943"/>
                      <a:pt x="133300" y="123429"/>
                      <a:pt x="127128" y="108000"/>
                    </a:cubicBezTo>
                    <a:cubicBezTo>
                      <a:pt x="127128" y="108000"/>
                      <a:pt x="124041" y="104914"/>
                      <a:pt x="124041" y="104914"/>
                    </a:cubicBezTo>
                    <a:cubicBezTo>
                      <a:pt x="124041" y="104914"/>
                      <a:pt x="127128" y="104914"/>
                      <a:pt x="127128" y="104914"/>
                    </a:cubicBezTo>
                    <a:cubicBezTo>
                      <a:pt x="139470" y="95657"/>
                      <a:pt x="139470" y="77143"/>
                      <a:pt x="133300" y="61714"/>
                    </a:cubicBezTo>
                    <a:cubicBezTo>
                      <a:pt x="130213" y="55543"/>
                      <a:pt x="127128" y="52457"/>
                      <a:pt x="124041" y="49372"/>
                    </a:cubicBezTo>
                    <a:cubicBezTo>
                      <a:pt x="124041" y="46286"/>
                      <a:pt x="114784" y="43200"/>
                      <a:pt x="111700" y="43200"/>
                    </a:cubicBezTo>
                    <a:cubicBezTo>
                      <a:pt x="83927" y="24686"/>
                      <a:pt x="62327" y="0"/>
                      <a:pt x="34557" y="0"/>
                    </a:cubicBezTo>
                    <a:cubicBezTo>
                      <a:pt x="22213" y="0"/>
                      <a:pt x="12956" y="12343"/>
                      <a:pt x="16041" y="27771"/>
                    </a:cubicBezTo>
                    <a:cubicBezTo>
                      <a:pt x="16041" y="37029"/>
                      <a:pt x="22213" y="43200"/>
                      <a:pt x="25300" y="49372"/>
                    </a:cubicBezTo>
                    <a:cubicBezTo>
                      <a:pt x="16041" y="52457"/>
                      <a:pt x="6784" y="61714"/>
                      <a:pt x="9871" y="74057"/>
                    </a:cubicBezTo>
                    <a:cubicBezTo>
                      <a:pt x="9871" y="80229"/>
                      <a:pt x="12956" y="86400"/>
                      <a:pt x="16041" y="89486"/>
                    </a:cubicBezTo>
                    <a:cubicBezTo>
                      <a:pt x="6784" y="92571"/>
                      <a:pt x="-2472" y="98743"/>
                      <a:pt x="613" y="111086"/>
                    </a:cubicBezTo>
                    <a:cubicBezTo>
                      <a:pt x="613" y="120343"/>
                      <a:pt x="6784" y="126514"/>
                      <a:pt x="12956" y="129600"/>
                    </a:cubicBezTo>
                    <a:cubicBezTo>
                      <a:pt x="6784" y="129600"/>
                      <a:pt x="-2472" y="135771"/>
                      <a:pt x="613" y="148114"/>
                    </a:cubicBezTo>
                    <a:cubicBezTo>
                      <a:pt x="613" y="157372"/>
                      <a:pt x="9871" y="163543"/>
                      <a:pt x="16041" y="169714"/>
                    </a:cubicBezTo>
                    <a:cubicBezTo>
                      <a:pt x="25300" y="175886"/>
                      <a:pt x="34557" y="185143"/>
                      <a:pt x="46898" y="188229"/>
                    </a:cubicBezTo>
                    <a:cubicBezTo>
                      <a:pt x="53070" y="191314"/>
                      <a:pt x="65414" y="200571"/>
                      <a:pt x="71586" y="194400"/>
                    </a:cubicBezTo>
                    <a:cubicBezTo>
                      <a:pt x="77756" y="188229"/>
                      <a:pt x="77756" y="182057"/>
                      <a:pt x="77756" y="172800"/>
                    </a:cubicBezTo>
                    <a:cubicBezTo>
                      <a:pt x="80842" y="178972"/>
                      <a:pt x="90099" y="182057"/>
                      <a:pt x="96271" y="17588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3948F0D4-DDCA-4DB4-A872-21A112F2AA6F}"/>
                  </a:ext>
                </a:extLst>
              </p:cNvPr>
              <p:cNvSpPr/>
              <p:nvPr/>
            </p:nvSpPr>
            <p:spPr>
              <a:xfrm>
                <a:off x="20264269" y="3067382"/>
                <a:ext cx="138491" cy="151200"/>
              </a:xfrm>
              <a:custGeom>
                <a:avLst/>
                <a:gdLst>
                  <a:gd name="connsiteX0" fmla="*/ 109442 w 138491"/>
                  <a:gd name="connsiteY0" fmla="*/ 151200 h 151200"/>
                  <a:gd name="connsiteX1" fmla="*/ 63157 w 138491"/>
                  <a:gd name="connsiteY1" fmla="*/ 129600 h 151200"/>
                  <a:gd name="connsiteX2" fmla="*/ 1442 w 138491"/>
                  <a:gd name="connsiteY2" fmla="*/ 49372 h 151200"/>
                  <a:gd name="connsiteX3" fmla="*/ 13784 w 138491"/>
                  <a:gd name="connsiteY3" fmla="*/ 33943 h 151200"/>
                  <a:gd name="connsiteX4" fmla="*/ 26128 w 138491"/>
                  <a:gd name="connsiteY4" fmla="*/ 37029 h 151200"/>
                  <a:gd name="connsiteX5" fmla="*/ 112527 w 138491"/>
                  <a:gd name="connsiteY5" fmla="*/ 89486 h 151200"/>
                  <a:gd name="connsiteX6" fmla="*/ 124871 w 138491"/>
                  <a:gd name="connsiteY6" fmla="*/ 80229 h 151200"/>
                  <a:gd name="connsiteX7" fmla="*/ 124871 w 138491"/>
                  <a:gd name="connsiteY7" fmla="*/ 70971 h 151200"/>
                  <a:gd name="connsiteX8" fmla="*/ 56985 w 138491"/>
                  <a:gd name="connsiteY8" fmla="*/ 12343 h 151200"/>
                  <a:gd name="connsiteX9" fmla="*/ 53900 w 138491"/>
                  <a:gd name="connsiteY9" fmla="*/ 3086 h 151200"/>
                  <a:gd name="connsiteX10" fmla="*/ 63157 w 138491"/>
                  <a:gd name="connsiteY10" fmla="*/ 0 h 151200"/>
                  <a:gd name="connsiteX11" fmla="*/ 137213 w 138491"/>
                  <a:gd name="connsiteY11" fmla="*/ 64800 h 151200"/>
                  <a:gd name="connsiteX12" fmla="*/ 134128 w 138491"/>
                  <a:gd name="connsiteY12" fmla="*/ 83314 h 151200"/>
                  <a:gd name="connsiteX13" fmla="*/ 124871 w 138491"/>
                  <a:gd name="connsiteY13" fmla="*/ 92571 h 151200"/>
                  <a:gd name="connsiteX14" fmla="*/ 124871 w 138491"/>
                  <a:gd name="connsiteY14" fmla="*/ 135771 h 151200"/>
                  <a:gd name="connsiteX15" fmla="*/ 109442 w 138491"/>
                  <a:gd name="connsiteY15" fmla="*/ 151200 h 151200"/>
                  <a:gd name="connsiteX16" fmla="*/ 19956 w 138491"/>
                  <a:gd name="connsiteY16" fmla="*/ 46286 h 151200"/>
                  <a:gd name="connsiteX17" fmla="*/ 19956 w 138491"/>
                  <a:gd name="connsiteY17" fmla="*/ 46286 h 151200"/>
                  <a:gd name="connsiteX18" fmla="*/ 13784 w 138491"/>
                  <a:gd name="connsiteY18" fmla="*/ 55543 h 151200"/>
                  <a:gd name="connsiteX19" fmla="*/ 69328 w 138491"/>
                  <a:gd name="connsiteY19" fmla="*/ 120343 h 151200"/>
                  <a:gd name="connsiteX20" fmla="*/ 115614 w 138491"/>
                  <a:gd name="connsiteY20" fmla="*/ 135771 h 151200"/>
                  <a:gd name="connsiteX21" fmla="*/ 115614 w 138491"/>
                  <a:gd name="connsiteY21" fmla="*/ 101829 h 151200"/>
                  <a:gd name="connsiteX22" fmla="*/ 115614 w 138491"/>
                  <a:gd name="connsiteY22" fmla="*/ 101829 h 151200"/>
                  <a:gd name="connsiteX23" fmla="*/ 19956 w 138491"/>
                  <a:gd name="connsiteY23" fmla="*/ 46286 h 151200"/>
                  <a:gd name="connsiteX24" fmla="*/ 19956 w 138491"/>
                  <a:gd name="connsiteY24" fmla="*/ 46286 h 15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38491" h="151200">
                    <a:moveTo>
                      <a:pt x="109442" y="151200"/>
                    </a:moveTo>
                    <a:cubicBezTo>
                      <a:pt x="97099" y="151200"/>
                      <a:pt x="78585" y="141943"/>
                      <a:pt x="63157" y="129600"/>
                    </a:cubicBezTo>
                    <a:cubicBezTo>
                      <a:pt x="29213" y="108000"/>
                      <a:pt x="-7814" y="77143"/>
                      <a:pt x="1442" y="49372"/>
                    </a:cubicBezTo>
                    <a:cubicBezTo>
                      <a:pt x="4527" y="40114"/>
                      <a:pt x="7614" y="33943"/>
                      <a:pt x="13784" y="33943"/>
                    </a:cubicBezTo>
                    <a:cubicBezTo>
                      <a:pt x="19956" y="30857"/>
                      <a:pt x="26128" y="37029"/>
                      <a:pt x="26128" y="37029"/>
                    </a:cubicBezTo>
                    <a:cubicBezTo>
                      <a:pt x="69328" y="74057"/>
                      <a:pt x="97099" y="92571"/>
                      <a:pt x="112527" y="89486"/>
                    </a:cubicBezTo>
                    <a:cubicBezTo>
                      <a:pt x="118699" y="89486"/>
                      <a:pt x="118699" y="86400"/>
                      <a:pt x="124871" y="80229"/>
                    </a:cubicBezTo>
                    <a:cubicBezTo>
                      <a:pt x="127956" y="77143"/>
                      <a:pt x="127956" y="74057"/>
                      <a:pt x="124871" y="70971"/>
                    </a:cubicBezTo>
                    <a:cubicBezTo>
                      <a:pt x="118699" y="49372"/>
                      <a:pt x="75498" y="21600"/>
                      <a:pt x="56985" y="12343"/>
                    </a:cubicBezTo>
                    <a:cubicBezTo>
                      <a:pt x="53900" y="9257"/>
                      <a:pt x="53900" y="6171"/>
                      <a:pt x="53900" y="3086"/>
                    </a:cubicBezTo>
                    <a:cubicBezTo>
                      <a:pt x="56985" y="0"/>
                      <a:pt x="60070" y="0"/>
                      <a:pt x="63157" y="0"/>
                    </a:cubicBezTo>
                    <a:cubicBezTo>
                      <a:pt x="69328" y="3086"/>
                      <a:pt x="127956" y="37029"/>
                      <a:pt x="137213" y="64800"/>
                    </a:cubicBezTo>
                    <a:cubicBezTo>
                      <a:pt x="140299" y="70971"/>
                      <a:pt x="137213" y="77143"/>
                      <a:pt x="134128" y="83314"/>
                    </a:cubicBezTo>
                    <a:cubicBezTo>
                      <a:pt x="131043" y="86400"/>
                      <a:pt x="131043" y="89486"/>
                      <a:pt x="124871" y="92571"/>
                    </a:cubicBezTo>
                    <a:cubicBezTo>
                      <a:pt x="124871" y="95657"/>
                      <a:pt x="134128" y="120343"/>
                      <a:pt x="124871" y="135771"/>
                    </a:cubicBezTo>
                    <a:cubicBezTo>
                      <a:pt x="121784" y="148114"/>
                      <a:pt x="115614" y="151200"/>
                      <a:pt x="109442" y="151200"/>
                    </a:cubicBezTo>
                    <a:close/>
                    <a:moveTo>
                      <a:pt x="19956" y="46286"/>
                    </a:moveTo>
                    <a:cubicBezTo>
                      <a:pt x="19956" y="46286"/>
                      <a:pt x="19956" y="46286"/>
                      <a:pt x="19956" y="46286"/>
                    </a:cubicBezTo>
                    <a:cubicBezTo>
                      <a:pt x="16871" y="46286"/>
                      <a:pt x="16871" y="49372"/>
                      <a:pt x="13784" y="55543"/>
                    </a:cubicBezTo>
                    <a:cubicBezTo>
                      <a:pt x="7614" y="70971"/>
                      <a:pt x="29213" y="95657"/>
                      <a:pt x="69328" y="120343"/>
                    </a:cubicBezTo>
                    <a:cubicBezTo>
                      <a:pt x="100186" y="138857"/>
                      <a:pt x="109442" y="141943"/>
                      <a:pt x="115614" y="135771"/>
                    </a:cubicBezTo>
                    <a:cubicBezTo>
                      <a:pt x="121784" y="126514"/>
                      <a:pt x="118699" y="111086"/>
                      <a:pt x="115614" y="101829"/>
                    </a:cubicBezTo>
                    <a:cubicBezTo>
                      <a:pt x="115614" y="101829"/>
                      <a:pt x="115614" y="101829"/>
                      <a:pt x="115614" y="101829"/>
                    </a:cubicBezTo>
                    <a:cubicBezTo>
                      <a:pt x="106355" y="101829"/>
                      <a:pt x="81670" y="98743"/>
                      <a:pt x="19956" y="46286"/>
                    </a:cubicBezTo>
                    <a:cubicBezTo>
                      <a:pt x="19956" y="46286"/>
                      <a:pt x="19956" y="46286"/>
                      <a:pt x="19956" y="4628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AB5502D1-F857-4FE1-B206-796A54902701}"/>
                  </a:ext>
                </a:extLst>
              </p:cNvPr>
              <p:cNvSpPr/>
              <p:nvPr/>
            </p:nvSpPr>
            <p:spPr>
              <a:xfrm>
                <a:off x="20254140" y="3144524"/>
                <a:ext cx="125743" cy="101828"/>
              </a:xfrm>
              <a:custGeom>
                <a:avLst/>
                <a:gdLst>
                  <a:gd name="connsiteX0" fmla="*/ 94887 w 125743"/>
                  <a:gd name="connsiteY0" fmla="*/ 101829 h 101828"/>
                  <a:gd name="connsiteX1" fmla="*/ 79458 w 125743"/>
                  <a:gd name="connsiteY1" fmla="*/ 98743 h 101828"/>
                  <a:gd name="connsiteX2" fmla="*/ 2315 w 125743"/>
                  <a:gd name="connsiteY2" fmla="*/ 40114 h 101828"/>
                  <a:gd name="connsiteX3" fmla="*/ 2315 w 125743"/>
                  <a:gd name="connsiteY3" fmla="*/ 18514 h 101828"/>
                  <a:gd name="connsiteX4" fmla="*/ 23914 w 125743"/>
                  <a:gd name="connsiteY4" fmla="*/ 0 h 101828"/>
                  <a:gd name="connsiteX5" fmla="*/ 30085 w 125743"/>
                  <a:gd name="connsiteY5" fmla="*/ 6171 h 101828"/>
                  <a:gd name="connsiteX6" fmla="*/ 23914 w 125743"/>
                  <a:gd name="connsiteY6" fmla="*/ 12343 h 101828"/>
                  <a:gd name="connsiteX7" fmla="*/ 11572 w 125743"/>
                  <a:gd name="connsiteY7" fmla="*/ 24686 h 101828"/>
                  <a:gd name="connsiteX8" fmla="*/ 11572 w 125743"/>
                  <a:gd name="connsiteY8" fmla="*/ 33943 h 101828"/>
                  <a:gd name="connsiteX9" fmla="*/ 85628 w 125743"/>
                  <a:gd name="connsiteY9" fmla="*/ 86400 h 101828"/>
                  <a:gd name="connsiteX10" fmla="*/ 104143 w 125743"/>
                  <a:gd name="connsiteY10" fmla="*/ 86400 h 101828"/>
                  <a:gd name="connsiteX11" fmla="*/ 113400 w 125743"/>
                  <a:gd name="connsiteY11" fmla="*/ 64800 h 101828"/>
                  <a:gd name="connsiteX12" fmla="*/ 119572 w 125743"/>
                  <a:gd name="connsiteY12" fmla="*/ 58629 h 101828"/>
                  <a:gd name="connsiteX13" fmla="*/ 119572 w 125743"/>
                  <a:gd name="connsiteY13" fmla="*/ 58629 h 101828"/>
                  <a:gd name="connsiteX14" fmla="*/ 125744 w 125743"/>
                  <a:gd name="connsiteY14" fmla="*/ 64800 h 101828"/>
                  <a:gd name="connsiteX15" fmla="*/ 113400 w 125743"/>
                  <a:gd name="connsiteY15" fmla="*/ 95657 h 101828"/>
                  <a:gd name="connsiteX16" fmla="*/ 94887 w 125743"/>
                  <a:gd name="connsiteY16" fmla="*/ 101829 h 101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5743" h="101828">
                    <a:moveTo>
                      <a:pt x="94887" y="101829"/>
                    </a:moveTo>
                    <a:cubicBezTo>
                      <a:pt x="88715" y="101829"/>
                      <a:pt x="85628" y="101829"/>
                      <a:pt x="79458" y="98743"/>
                    </a:cubicBezTo>
                    <a:cubicBezTo>
                      <a:pt x="42429" y="83314"/>
                      <a:pt x="8485" y="52457"/>
                      <a:pt x="2315" y="40114"/>
                    </a:cubicBezTo>
                    <a:cubicBezTo>
                      <a:pt x="-772" y="33943"/>
                      <a:pt x="-772" y="24686"/>
                      <a:pt x="2315" y="18514"/>
                    </a:cubicBezTo>
                    <a:cubicBezTo>
                      <a:pt x="5400" y="9257"/>
                      <a:pt x="14657" y="0"/>
                      <a:pt x="23914" y="0"/>
                    </a:cubicBezTo>
                    <a:cubicBezTo>
                      <a:pt x="27000" y="0"/>
                      <a:pt x="30085" y="3086"/>
                      <a:pt x="30085" y="6171"/>
                    </a:cubicBezTo>
                    <a:cubicBezTo>
                      <a:pt x="30085" y="9257"/>
                      <a:pt x="27000" y="12343"/>
                      <a:pt x="23914" y="12343"/>
                    </a:cubicBezTo>
                    <a:cubicBezTo>
                      <a:pt x="20829" y="12343"/>
                      <a:pt x="14657" y="15429"/>
                      <a:pt x="11572" y="24686"/>
                    </a:cubicBezTo>
                    <a:cubicBezTo>
                      <a:pt x="11572" y="27771"/>
                      <a:pt x="8485" y="30857"/>
                      <a:pt x="11572" y="33943"/>
                    </a:cubicBezTo>
                    <a:cubicBezTo>
                      <a:pt x="17744" y="46286"/>
                      <a:pt x="51686" y="74057"/>
                      <a:pt x="85628" y="86400"/>
                    </a:cubicBezTo>
                    <a:cubicBezTo>
                      <a:pt x="91800" y="89486"/>
                      <a:pt x="97972" y="89486"/>
                      <a:pt x="104143" y="86400"/>
                    </a:cubicBezTo>
                    <a:cubicBezTo>
                      <a:pt x="110315" y="83314"/>
                      <a:pt x="113400" y="70971"/>
                      <a:pt x="113400" y="64800"/>
                    </a:cubicBezTo>
                    <a:cubicBezTo>
                      <a:pt x="113400" y="61714"/>
                      <a:pt x="116485" y="58629"/>
                      <a:pt x="119572" y="58629"/>
                    </a:cubicBezTo>
                    <a:cubicBezTo>
                      <a:pt x="119572" y="58629"/>
                      <a:pt x="119572" y="58629"/>
                      <a:pt x="119572" y="58629"/>
                    </a:cubicBezTo>
                    <a:cubicBezTo>
                      <a:pt x="122657" y="58629"/>
                      <a:pt x="125744" y="61714"/>
                      <a:pt x="125744" y="64800"/>
                    </a:cubicBezTo>
                    <a:cubicBezTo>
                      <a:pt x="125744" y="64800"/>
                      <a:pt x="125744" y="86400"/>
                      <a:pt x="113400" y="95657"/>
                    </a:cubicBezTo>
                    <a:cubicBezTo>
                      <a:pt x="104143" y="98743"/>
                      <a:pt x="101056" y="101829"/>
                      <a:pt x="94887" y="10182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4" name="图形 1">
              <a:extLst>
                <a:ext uri="{FF2B5EF4-FFF2-40B4-BE49-F238E27FC236}">
                  <a16:creationId xmlns:a16="http://schemas.microsoft.com/office/drawing/2014/main" id="{182E039F-CB4B-4BE0-90E3-5C7268F8FC36}"/>
                </a:ext>
              </a:extLst>
            </p:cNvPr>
            <p:cNvGrpSpPr/>
            <p:nvPr/>
          </p:nvGrpSpPr>
          <p:grpSpPr>
            <a:xfrm>
              <a:off x="20322025" y="3138251"/>
              <a:ext cx="144257" cy="132944"/>
              <a:chOff x="20322025" y="3138251"/>
              <a:chExt cx="144257" cy="132944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3F5FBAAA-AC36-4651-A602-FA7F8A511E33}"/>
                  </a:ext>
                </a:extLst>
              </p:cNvPr>
              <p:cNvSpPr/>
              <p:nvPr/>
            </p:nvSpPr>
            <p:spPr>
              <a:xfrm>
                <a:off x="20326895" y="3147315"/>
                <a:ext cx="130775" cy="123881"/>
              </a:xfrm>
              <a:custGeom>
                <a:avLst/>
                <a:gdLst>
                  <a:gd name="connsiteX0" fmla="*/ 531 w 130775"/>
                  <a:gd name="connsiteY0" fmla="*/ 40410 h 123881"/>
                  <a:gd name="connsiteX1" fmla="*/ 25216 w 130775"/>
                  <a:gd name="connsiteY1" fmla="*/ 43496 h 123881"/>
                  <a:gd name="connsiteX2" fmla="*/ 74587 w 130775"/>
                  <a:gd name="connsiteY2" fmla="*/ 71267 h 123881"/>
                  <a:gd name="connsiteX3" fmla="*/ 93102 w 130775"/>
                  <a:gd name="connsiteY3" fmla="*/ 123724 h 123881"/>
                  <a:gd name="connsiteX4" fmla="*/ 130131 w 130775"/>
                  <a:gd name="connsiteY4" fmla="*/ 65096 h 123881"/>
                  <a:gd name="connsiteX5" fmla="*/ 59158 w 130775"/>
                  <a:gd name="connsiteY5" fmla="*/ 296 h 123881"/>
                  <a:gd name="connsiteX6" fmla="*/ 531 w 130775"/>
                  <a:gd name="connsiteY6" fmla="*/ 40410 h 123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775" h="123881">
                    <a:moveTo>
                      <a:pt x="531" y="40410"/>
                    </a:moveTo>
                    <a:cubicBezTo>
                      <a:pt x="3616" y="49667"/>
                      <a:pt x="19044" y="43496"/>
                      <a:pt x="25216" y="43496"/>
                    </a:cubicBezTo>
                    <a:cubicBezTo>
                      <a:pt x="46817" y="46581"/>
                      <a:pt x="62245" y="52753"/>
                      <a:pt x="74587" y="71267"/>
                    </a:cubicBezTo>
                    <a:cubicBezTo>
                      <a:pt x="80759" y="80524"/>
                      <a:pt x="86930" y="111381"/>
                      <a:pt x="93102" y="123724"/>
                    </a:cubicBezTo>
                    <a:cubicBezTo>
                      <a:pt x="96187" y="126810"/>
                      <a:pt x="136301" y="83610"/>
                      <a:pt x="130131" y="65096"/>
                    </a:cubicBezTo>
                    <a:cubicBezTo>
                      <a:pt x="120873" y="40410"/>
                      <a:pt x="90015" y="3381"/>
                      <a:pt x="59158" y="296"/>
                    </a:cubicBezTo>
                    <a:cubicBezTo>
                      <a:pt x="43730" y="-2790"/>
                      <a:pt x="-5641" y="18810"/>
                      <a:pt x="531" y="40410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6C744786-4DFA-4561-BBE5-136D2FE43431}"/>
                  </a:ext>
                </a:extLst>
              </p:cNvPr>
              <p:cNvSpPr/>
              <p:nvPr/>
            </p:nvSpPr>
            <p:spPr>
              <a:xfrm>
                <a:off x="20322025" y="3138251"/>
                <a:ext cx="144257" cy="123530"/>
              </a:xfrm>
              <a:custGeom>
                <a:avLst/>
                <a:gdLst>
                  <a:gd name="connsiteX0" fmla="*/ 70200 w 144257"/>
                  <a:gd name="connsiteY0" fmla="*/ 123531 h 123530"/>
                  <a:gd name="connsiteX1" fmla="*/ 64028 w 144257"/>
                  <a:gd name="connsiteY1" fmla="*/ 120445 h 123530"/>
                  <a:gd name="connsiteX2" fmla="*/ 73287 w 144257"/>
                  <a:gd name="connsiteY2" fmla="*/ 77245 h 123530"/>
                  <a:gd name="connsiteX3" fmla="*/ 27001 w 144257"/>
                  <a:gd name="connsiteY3" fmla="*/ 58731 h 123530"/>
                  <a:gd name="connsiteX4" fmla="*/ 2314 w 144257"/>
                  <a:gd name="connsiteY4" fmla="*/ 49474 h 123530"/>
                  <a:gd name="connsiteX5" fmla="*/ 2314 w 144257"/>
                  <a:gd name="connsiteY5" fmla="*/ 34045 h 123530"/>
                  <a:gd name="connsiteX6" fmla="*/ 67115 w 144257"/>
                  <a:gd name="connsiteY6" fmla="*/ 102 h 123530"/>
                  <a:gd name="connsiteX7" fmla="*/ 144258 w 144257"/>
                  <a:gd name="connsiteY7" fmla="*/ 67988 h 123530"/>
                  <a:gd name="connsiteX8" fmla="*/ 141171 w 144257"/>
                  <a:gd name="connsiteY8" fmla="*/ 77245 h 123530"/>
                  <a:gd name="connsiteX9" fmla="*/ 131914 w 144257"/>
                  <a:gd name="connsiteY9" fmla="*/ 74159 h 123530"/>
                  <a:gd name="connsiteX10" fmla="*/ 70200 w 144257"/>
                  <a:gd name="connsiteY10" fmla="*/ 12445 h 123530"/>
                  <a:gd name="connsiteX11" fmla="*/ 67115 w 144257"/>
                  <a:gd name="connsiteY11" fmla="*/ 12445 h 123530"/>
                  <a:gd name="connsiteX12" fmla="*/ 14657 w 144257"/>
                  <a:gd name="connsiteY12" fmla="*/ 40216 h 123530"/>
                  <a:gd name="connsiteX13" fmla="*/ 14657 w 144257"/>
                  <a:gd name="connsiteY13" fmla="*/ 46388 h 123530"/>
                  <a:gd name="connsiteX14" fmla="*/ 30086 w 144257"/>
                  <a:gd name="connsiteY14" fmla="*/ 49474 h 123530"/>
                  <a:gd name="connsiteX15" fmla="*/ 88715 w 144257"/>
                  <a:gd name="connsiteY15" fmla="*/ 77245 h 123530"/>
                  <a:gd name="connsiteX16" fmla="*/ 88715 w 144257"/>
                  <a:gd name="connsiteY16" fmla="*/ 83416 h 123530"/>
                  <a:gd name="connsiteX17" fmla="*/ 79457 w 144257"/>
                  <a:gd name="connsiteY17" fmla="*/ 120445 h 123530"/>
                  <a:gd name="connsiteX18" fmla="*/ 70200 w 144257"/>
                  <a:gd name="connsiteY18" fmla="*/ 123531 h 123530"/>
                  <a:gd name="connsiteX19" fmla="*/ 70200 w 144257"/>
                  <a:gd name="connsiteY19" fmla="*/ 123531 h 123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44257" h="123530">
                    <a:moveTo>
                      <a:pt x="70200" y="123531"/>
                    </a:moveTo>
                    <a:cubicBezTo>
                      <a:pt x="67115" y="123531"/>
                      <a:pt x="64028" y="120445"/>
                      <a:pt x="64028" y="120445"/>
                    </a:cubicBezTo>
                    <a:cubicBezTo>
                      <a:pt x="57858" y="105016"/>
                      <a:pt x="67115" y="86502"/>
                      <a:pt x="73287" y="77245"/>
                    </a:cubicBezTo>
                    <a:cubicBezTo>
                      <a:pt x="60943" y="61816"/>
                      <a:pt x="42430" y="58731"/>
                      <a:pt x="27001" y="58731"/>
                    </a:cubicBezTo>
                    <a:cubicBezTo>
                      <a:pt x="14657" y="58731"/>
                      <a:pt x="5401" y="58731"/>
                      <a:pt x="2314" y="49474"/>
                    </a:cubicBezTo>
                    <a:cubicBezTo>
                      <a:pt x="-771" y="43302"/>
                      <a:pt x="-771" y="40216"/>
                      <a:pt x="2314" y="34045"/>
                    </a:cubicBezTo>
                    <a:cubicBezTo>
                      <a:pt x="8486" y="18616"/>
                      <a:pt x="33171" y="3188"/>
                      <a:pt x="67115" y="102"/>
                    </a:cubicBezTo>
                    <a:cubicBezTo>
                      <a:pt x="110314" y="-2984"/>
                      <a:pt x="141171" y="64902"/>
                      <a:pt x="144258" y="67988"/>
                    </a:cubicBezTo>
                    <a:cubicBezTo>
                      <a:pt x="144258" y="71074"/>
                      <a:pt x="144258" y="74159"/>
                      <a:pt x="141171" y="77245"/>
                    </a:cubicBezTo>
                    <a:cubicBezTo>
                      <a:pt x="138086" y="77245"/>
                      <a:pt x="135001" y="77245"/>
                      <a:pt x="131914" y="74159"/>
                    </a:cubicBezTo>
                    <a:cubicBezTo>
                      <a:pt x="122657" y="55645"/>
                      <a:pt x="97972" y="12445"/>
                      <a:pt x="70200" y="12445"/>
                    </a:cubicBezTo>
                    <a:cubicBezTo>
                      <a:pt x="70200" y="12445"/>
                      <a:pt x="70200" y="12445"/>
                      <a:pt x="67115" y="12445"/>
                    </a:cubicBezTo>
                    <a:cubicBezTo>
                      <a:pt x="39343" y="15531"/>
                      <a:pt x="17742" y="30959"/>
                      <a:pt x="14657" y="40216"/>
                    </a:cubicBezTo>
                    <a:cubicBezTo>
                      <a:pt x="14657" y="43302"/>
                      <a:pt x="14657" y="43302"/>
                      <a:pt x="14657" y="46388"/>
                    </a:cubicBezTo>
                    <a:cubicBezTo>
                      <a:pt x="17742" y="49474"/>
                      <a:pt x="23914" y="49474"/>
                      <a:pt x="30086" y="49474"/>
                    </a:cubicBezTo>
                    <a:cubicBezTo>
                      <a:pt x="45514" y="49474"/>
                      <a:pt x="73287" y="52559"/>
                      <a:pt x="88715" y="77245"/>
                    </a:cubicBezTo>
                    <a:cubicBezTo>
                      <a:pt x="88715" y="80331"/>
                      <a:pt x="88715" y="80331"/>
                      <a:pt x="88715" y="83416"/>
                    </a:cubicBezTo>
                    <a:cubicBezTo>
                      <a:pt x="85628" y="89588"/>
                      <a:pt x="76372" y="108102"/>
                      <a:pt x="79457" y="120445"/>
                    </a:cubicBezTo>
                    <a:cubicBezTo>
                      <a:pt x="76372" y="120445"/>
                      <a:pt x="73287" y="123531"/>
                      <a:pt x="70200" y="123531"/>
                    </a:cubicBezTo>
                    <a:cubicBezTo>
                      <a:pt x="70200" y="123531"/>
                      <a:pt x="70200" y="123531"/>
                      <a:pt x="70200" y="12353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41C50951-0D07-4A83-86A4-4A1AB82AB177}"/>
                </a:ext>
              </a:extLst>
            </p:cNvPr>
            <p:cNvSpPr/>
            <p:nvPr/>
          </p:nvSpPr>
          <p:spPr>
            <a:xfrm>
              <a:off x="20557822" y="3557103"/>
              <a:ext cx="341618" cy="361936"/>
            </a:xfrm>
            <a:custGeom>
              <a:avLst/>
              <a:gdLst>
                <a:gd name="connsiteX0" fmla="*/ 65832 w 341618"/>
                <a:gd name="connsiteY0" fmla="*/ 294050 h 361936"/>
                <a:gd name="connsiteX1" fmla="*/ 133718 w 341618"/>
                <a:gd name="connsiteY1" fmla="*/ 361936 h 361936"/>
                <a:gd name="connsiteX2" fmla="*/ 204689 w 341618"/>
                <a:gd name="connsiteY2" fmla="*/ 306393 h 361936"/>
                <a:gd name="connsiteX3" fmla="*/ 263318 w 341618"/>
                <a:gd name="connsiteY3" fmla="*/ 300222 h 361936"/>
                <a:gd name="connsiteX4" fmla="*/ 281832 w 341618"/>
                <a:gd name="connsiteY4" fmla="*/ 266279 h 361936"/>
                <a:gd name="connsiteX5" fmla="*/ 331204 w 341618"/>
                <a:gd name="connsiteY5" fmla="*/ 182965 h 361936"/>
                <a:gd name="connsiteX6" fmla="*/ 340461 w 341618"/>
                <a:gd name="connsiteY6" fmla="*/ 145936 h 361936"/>
                <a:gd name="connsiteX7" fmla="*/ 312689 w 341618"/>
                <a:gd name="connsiteY7" fmla="*/ 105822 h 361936"/>
                <a:gd name="connsiteX8" fmla="*/ 309604 w 341618"/>
                <a:gd name="connsiteY8" fmla="*/ 56450 h 361936"/>
                <a:gd name="connsiteX9" fmla="*/ 257147 w 341618"/>
                <a:gd name="connsiteY9" fmla="*/ 28679 h 361936"/>
                <a:gd name="connsiteX10" fmla="*/ 220118 w 341618"/>
                <a:gd name="connsiteY10" fmla="*/ 10165 h 361936"/>
                <a:gd name="connsiteX11" fmla="*/ 121374 w 341618"/>
                <a:gd name="connsiteY11" fmla="*/ 908 h 361936"/>
                <a:gd name="connsiteX12" fmla="*/ 78175 w 341618"/>
                <a:gd name="connsiteY12" fmla="*/ 28679 h 361936"/>
                <a:gd name="connsiteX13" fmla="*/ 10289 w 341618"/>
                <a:gd name="connsiteY13" fmla="*/ 189136 h 361936"/>
                <a:gd name="connsiteX14" fmla="*/ 65832 w 341618"/>
                <a:gd name="connsiteY14" fmla="*/ 294050 h 36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1618" h="361936">
                  <a:moveTo>
                    <a:pt x="65832" y="294050"/>
                  </a:moveTo>
                  <a:cubicBezTo>
                    <a:pt x="75089" y="327993"/>
                    <a:pt x="96689" y="358851"/>
                    <a:pt x="133718" y="361936"/>
                  </a:cubicBezTo>
                  <a:cubicBezTo>
                    <a:pt x="167660" y="361936"/>
                    <a:pt x="189260" y="337250"/>
                    <a:pt x="204689" y="306393"/>
                  </a:cubicBezTo>
                  <a:cubicBezTo>
                    <a:pt x="223204" y="315651"/>
                    <a:pt x="244803" y="315651"/>
                    <a:pt x="263318" y="300222"/>
                  </a:cubicBezTo>
                  <a:cubicBezTo>
                    <a:pt x="275660" y="290965"/>
                    <a:pt x="278747" y="278622"/>
                    <a:pt x="281832" y="266279"/>
                  </a:cubicBezTo>
                  <a:cubicBezTo>
                    <a:pt x="312689" y="253936"/>
                    <a:pt x="331204" y="213822"/>
                    <a:pt x="331204" y="182965"/>
                  </a:cubicBezTo>
                  <a:cubicBezTo>
                    <a:pt x="340461" y="173708"/>
                    <a:pt x="343546" y="158279"/>
                    <a:pt x="340461" y="145936"/>
                  </a:cubicBezTo>
                  <a:cubicBezTo>
                    <a:pt x="337374" y="127422"/>
                    <a:pt x="325033" y="115079"/>
                    <a:pt x="312689" y="105822"/>
                  </a:cubicBezTo>
                  <a:cubicBezTo>
                    <a:pt x="318861" y="90393"/>
                    <a:pt x="318861" y="74965"/>
                    <a:pt x="309604" y="56450"/>
                  </a:cubicBezTo>
                  <a:cubicBezTo>
                    <a:pt x="297260" y="31765"/>
                    <a:pt x="278747" y="25593"/>
                    <a:pt x="257147" y="28679"/>
                  </a:cubicBezTo>
                  <a:cubicBezTo>
                    <a:pt x="250975" y="13250"/>
                    <a:pt x="232461" y="908"/>
                    <a:pt x="220118" y="10165"/>
                  </a:cubicBezTo>
                  <a:cubicBezTo>
                    <a:pt x="192347" y="22508"/>
                    <a:pt x="152231" y="-5264"/>
                    <a:pt x="121374" y="908"/>
                  </a:cubicBezTo>
                  <a:cubicBezTo>
                    <a:pt x="102861" y="3993"/>
                    <a:pt x="90517" y="16336"/>
                    <a:pt x="78175" y="28679"/>
                  </a:cubicBezTo>
                  <a:cubicBezTo>
                    <a:pt x="22633" y="44108"/>
                    <a:pt x="-20568" y="139765"/>
                    <a:pt x="10289" y="189136"/>
                  </a:cubicBezTo>
                  <a:cubicBezTo>
                    <a:pt x="-11311" y="232336"/>
                    <a:pt x="13374" y="281708"/>
                    <a:pt x="65832" y="294050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6" name="图形 1">
              <a:extLst>
                <a:ext uri="{FF2B5EF4-FFF2-40B4-BE49-F238E27FC236}">
                  <a16:creationId xmlns:a16="http://schemas.microsoft.com/office/drawing/2014/main" id="{1554EC70-DF1E-4F34-B8C1-23E9280695FC}"/>
                </a:ext>
              </a:extLst>
            </p:cNvPr>
            <p:cNvGrpSpPr/>
            <p:nvPr/>
          </p:nvGrpSpPr>
          <p:grpSpPr>
            <a:xfrm>
              <a:off x="20669742" y="3651790"/>
              <a:ext cx="357968" cy="185737"/>
              <a:chOff x="20669742" y="3651790"/>
              <a:chExt cx="357968" cy="185737"/>
            </a:xfrm>
          </p:grpSpPr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1FC9D117-9DBC-4D82-8B3E-DCF77CAAE886}"/>
                  </a:ext>
                </a:extLst>
              </p:cNvPr>
              <p:cNvSpPr/>
              <p:nvPr/>
            </p:nvSpPr>
            <p:spPr>
              <a:xfrm>
                <a:off x="20669742" y="3659541"/>
                <a:ext cx="357968" cy="177986"/>
              </a:xfrm>
              <a:custGeom>
                <a:avLst/>
                <a:gdLst>
                  <a:gd name="connsiteX0" fmla="*/ 355054 w 357968"/>
                  <a:gd name="connsiteY0" fmla="*/ 120640 h 177986"/>
                  <a:gd name="connsiteX1" fmla="*/ 336541 w 357968"/>
                  <a:gd name="connsiteY1" fmla="*/ 9555 h 177986"/>
                  <a:gd name="connsiteX2" fmla="*/ 102025 w 357968"/>
                  <a:gd name="connsiteY2" fmla="*/ 3383 h 177986"/>
                  <a:gd name="connsiteX3" fmla="*/ 40311 w 357968"/>
                  <a:gd name="connsiteY3" fmla="*/ 34240 h 177986"/>
                  <a:gd name="connsiteX4" fmla="*/ 55740 w 357968"/>
                  <a:gd name="connsiteY4" fmla="*/ 43497 h 177986"/>
                  <a:gd name="connsiteX5" fmla="*/ 95856 w 357968"/>
                  <a:gd name="connsiteY5" fmla="*/ 46583 h 177986"/>
                  <a:gd name="connsiteX6" fmla="*/ 43398 w 357968"/>
                  <a:gd name="connsiteY6" fmla="*/ 65097 h 177986"/>
                  <a:gd name="connsiteX7" fmla="*/ 197 w 357968"/>
                  <a:gd name="connsiteY7" fmla="*/ 105212 h 177986"/>
                  <a:gd name="connsiteX8" fmla="*/ 24883 w 357968"/>
                  <a:gd name="connsiteY8" fmla="*/ 117555 h 177986"/>
                  <a:gd name="connsiteX9" fmla="*/ 24883 w 357968"/>
                  <a:gd name="connsiteY9" fmla="*/ 132983 h 177986"/>
                  <a:gd name="connsiteX10" fmla="*/ 92769 w 357968"/>
                  <a:gd name="connsiteY10" fmla="*/ 142240 h 177986"/>
                  <a:gd name="connsiteX11" fmla="*/ 142141 w 357968"/>
                  <a:gd name="connsiteY11" fmla="*/ 136069 h 177986"/>
                  <a:gd name="connsiteX12" fmla="*/ 95856 w 357968"/>
                  <a:gd name="connsiteY12" fmla="*/ 173097 h 177986"/>
                  <a:gd name="connsiteX13" fmla="*/ 145226 w 357968"/>
                  <a:gd name="connsiteY13" fmla="*/ 173097 h 177986"/>
                  <a:gd name="connsiteX14" fmla="*/ 231626 w 357968"/>
                  <a:gd name="connsiteY14" fmla="*/ 154583 h 177986"/>
                  <a:gd name="connsiteX15" fmla="*/ 318025 w 357968"/>
                  <a:gd name="connsiteY15" fmla="*/ 145326 h 177986"/>
                  <a:gd name="connsiteX16" fmla="*/ 355054 w 357968"/>
                  <a:gd name="connsiteY16" fmla="*/ 120640 h 177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57968" h="177986">
                    <a:moveTo>
                      <a:pt x="355054" y="120640"/>
                    </a:moveTo>
                    <a:cubicBezTo>
                      <a:pt x="367398" y="83612"/>
                      <a:pt x="336541" y="6469"/>
                      <a:pt x="336541" y="9555"/>
                    </a:cubicBezTo>
                    <a:cubicBezTo>
                      <a:pt x="259398" y="6469"/>
                      <a:pt x="179168" y="-5874"/>
                      <a:pt x="102025" y="3383"/>
                    </a:cubicBezTo>
                    <a:cubicBezTo>
                      <a:pt x="89684" y="3383"/>
                      <a:pt x="34141" y="9555"/>
                      <a:pt x="40311" y="34240"/>
                    </a:cubicBezTo>
                    <a:cubicBezTo>
                      <a:pt x="43398" y="43497"/>
                      <a:pt x="49570" y="43497"/>
                      <a:pt x="55740" y="43497"/>
                    </a:cubicBezTo>
                    <a:cubicBezTo>
                      <a:pt x="68083" y="46583"/>
                      <a:pt x="83512" y="46583"/>
                      <a:pt x="95856" y="46583"/>
                    </a:cubicBezTo>
                    <a:cubicBezTo>
                      <a:pt x="77340" y="49669"/>
                      <a:pt x="58827" y="55840"/>
                      <a:pt x="43398" y="65097"/>
                    </a:cubicBezTo>
                    <a:cubicBezTo>
                      <a:pt x="31054" y="71269"/>
                      <a:pt x="-2888" y="86698"/>
                      <a:pt x="197" y="105212"/>
                    </a:cubicBezTo>
                    <a:cubicBezTo>
                      <a:pt x="197" y="114469"/>
                      <a:pt x="12541" y="117555"/>
                      <a:pt x="24883" y="117555"/>
                    </a:cubicBezTo>
                    <a:cubicBezTo>
                      <a:pt x="21798" y="120640"/>
                      <a:pt x="18713" y="126812"/>
                      <a:pt x="24883" y="132983"/>
                    </a:cubicBezTo>
                    <a:cubicBezTo>
                      <a:pt x="37226" y="148412"/>
                      <a:pt x="74255" y="145326"/>
                      <a:pt x="92769" y="142240"/>
                    </a:cubicBezTo>
                    <a:cubicBezTo>
                      <a:pt x="108197" y="142240"/>
                      <a:pt x="126713" y="139155"/>
                      <a:pt x="142141" y="136069"/>
                    </a:cubicBezTo>
                    <a:cubicBezTo>
                      <a:pt x="114369" y="145326"/>
                      <a:pt x="83512" y="157669"/>
                      <a:pt x="95856" y="173097"/>
                    </a:cubicBezTo>
                    <a:cubicBezTo>
                      <a:pt x="105112" y="182355"/>
                      <a:pt x="135969" y="176183"/>
                      <a:pt x="145226" y="173097"/>
                    </a:cubicBezTo>
                    <a:cubicBezTo>
                      <a:pt x="172998" y="166926"/>
                      <a:pt x="203856" y="157669"/>
                      <a:pt x="231626" y="154583"/>
                    </a:cubicBezTo>
                    <a:cubicBezTo>
                      <a:pt x="259398" y="148412"/>
                      <a:pt x="290255" y="148412"/>
                      <a:pt x="318025" y="145326"/>
                    </a:cubicBezTo>
                    <a:cubicBezTo>
                      <a:pt x="342713" y="145326"/>
                      <a:pt x="348883" y="142240"/>
                      <a:pt x="355054" y="120640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8C4CA839-86D5-4CCA-8A54-1E9739789DF3}"/>
                  </a:ext>
                </a:extLst>
              </p:cNvPr>
              <p:cNvSpPr/>
              <p:nvPr/>
            </p:nvSpPr>
            <p:spPr>
              <a:xfrm>
                <a:off x="20704655" y="3651790"/>
                <a:ext cx="165856" cy="66676"/>
              </a:xfrm>
              <a:custGeom>
                <a:avLst/>
                <a:gdLst>
                  <a:gd name="connsiteX0" fmla="*/ 51684 w 165856"/>
                  <a:gd name="connsiteY0" fmla="*/ 60506 h 66676"/>
                  <a:gd name="connsiteX1" fmla="*/ 2314 w 165856"/>
                  <a:gd name="connsiteY1" fmla="*/ 41991 h 66676"/>
                  <a:gd name="connsiteX2" fmla="*/ 2314 w 165856"/>
                  <a:gd name="connsiteY2" fmla="*/ 26563 h 66676"/>
                  <a:gd name="connsiteX3" fmla="*/ 159684 w 165856"/>
                  <a:gd name="connsiteY3" fmla="*/ 1877 h 66676"/>
                  <a:gd name="connsiteX4" fmla="*/ 165856 w 165856"/>
                  <a:gd name="connsiteY4" fmla="*/ 8048 h 66676"/>
                  <a:gd name="connsiteX5" fmla="*/ 159684 w 165856"/>
                  <a:gd name="connsiteY5" fmla="*/ 14220 h 66676"/>
                  <a:gd name="connsiteX6" fmla="*/ 11570 w 165856"/>
                  <a:gd name="connsiteY6" fmla="*/ 35820 h 66676"/>
                  <a:gd name="connsiteX7" fmla="*/ 11570 w 165856"/>
                  <a:gd name="connsiteY7" fmla="*/ 38905 h 66676"/>
                  <a:gd name="connsiteX8" fmla="*/ 60943 w 165856"/>
                  <a:gd name="connsiteY8" fmla="*/ 51248 h 66676"/>
                  <a:gd name="connsiteX9" fmla="*/ 138086 w 165856"/>
                  <a:gd name="connsiteY9" fmla="*/ 48163 h 66676"/>
                  <a:gd name="connsiteX10" fmla="*/ 141171 w 165856"/>
                  <a:gd name="connsiteY10" fmla="*/ 57420 h 66676"/>
                  <a:gd name="connsiteX11" fmla="*/ 131914 w 165856"/>
                  <a:gd name="connsiteY11" fmla="*/ 60506 h 66676"/>
                  <a:gd name="connsiteX12" fmla="*/ 60943 w 165856"/>
                  <a:gd name="connsiteY12" fmla="*/ 66677 h 66676"/>
                  <a:gd name="connsiteX13" fmla="*/ 51684 w 165856"/>
                  <a:gd name="connsiteY13" fmla="*/ 60506 h 66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5856" h="66676">
                    <a:moveTo>
                      <a:pt x="51684" y="60506"/>
                    </a:moveTo>
                    <a:cubicBezTo>
                      <a:pt x="36256" y="60506"/>
                      <a:pt x="8486" y="57420"/>
                      <a:pt x="2314" y="41991"/>
                    </a:cubicBezTo>
                    <a:cubicBezTo>
                      <a:pt x="-771" y="35820"/>
                      <a:pt x="-771" y="32734"/>
                      <a:pt x="2314" y="26563"/>
                    </a:cubicBezTo>
                    <a:cubicBezTo>
                      <a:pt x="14657" y="4963"/>
                      <a:pt x="79457" y="-4295"/>
                      <a:pt x="159684" y="1877"/>
                    </a:cubicBezTo>
                    <a:cubicBezTo>
                      <a:pt x="162771" y="1877"/>
                      <a:pt x="165856" y="4963"/>
                      <a:pt x="165856" y="8048"/>
                    </a:cubicBezTo>
                    <a:cubicBezTo>
                      <a:pt x="165856" y="11134"/>
                      <a:pt x="162771" y="14220"/>
                      <a:pt x="159684" y="14220"/>
                    </a:cubicBezTo>
                    <a:cubicBezTo>
                      <a:pt x="73285" y="8048"/>
                      <a:pt x="20827" y="23477"/>
                      <a:pt x="11570" y="35820"/>
                    </a:cubicBezTo>
                    <a:cubicBezTo>
                      <a:pt x="11570" y="35820"/>
                      <a:pt x="11570" y="38905"/>
                      <a:pt x="11570" y="38905"/>
                    </a:cubicBezTo>
                    <a:cubicBezTo>
                      <a:pt x="17742" y="51248"/>
                      <a:pt x="45514" y="51248"/>
                      <a:pt x="60943" y="51248"/>
                    </a:cubicBezTo>
                    <a:cubicBezTo>
                      <a:pt x="76372" y="48163"/>
                      <a:pt x="125742" y="41991"/>
                      <a:pt x="138086" y="48163"/>
                    </a:cubicBezTo>
                    <a:cubicBezTo>
                      <a:pt x="141171" y="48163"/>
                      <a:pt x="141171" y="54334"/>
                      <a:pt x="141171" y="57420"/>
                    </a:cubicBezTo>
                    <a:cubicBezTo>
                      <a:pt x="141171" y="60506"/>
                      <a:pt x="134999" y="60506"/>
                      <a:pt x="131914" y="60506"/>
                    </a:cubicBezTo>
                    <a:cubicBezTo>
                      <a:pt x="125742" y="57420"/>
                      <a:pt x="91800" y="60506"/>
                      <a:pt x="60943" y="66677"/>
                    </a:cubicBezTo>
                    <a:cubicBezTo>
                      <a:pt x="60943" y="60506"/>
                      <a:pt x="57856" y="60506"/>
                      <a:pt x="51684" y="6050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D028A5AC-FE1A-4CEA-9168-6AAE23119DFE}"/>
                  </a:ext>
                </a:extLst>
              </p:cNvPr>
              <p:cNvSpPr/>
              <p:nvPr/>
            </p:nvSpPr>
            <p:spPr>
              <a:xfrm>
                <a:off x="20691540" y="3736799"/>
                <a:ext cx="151200" cy="46468"/>
              </a:xfrm>
              <a:custGeom>
                <a:avLst/>
                <a:gdLst>
                  <a:gd name="connsiteX0" fmla="*/ 6172 w 151200"/>
                  <a:gd name="connsiteY0" fmla="*/ 46468 h 46468"/>
                  <a:gd name="connsiteX1" fmla="*/ 0 w 151200"/>
                  <a:gd name="connsiteY1" fmla="*/ 43383 h 46468"/>
                  <a:gd name="connsiteX2" fmla="*/ 3085 w 151200"/>
                  <a:gd name="connsiteY2" fmla="*/ 37211 h 46468"/>
                  <a:gd name="connsiteX3" fmla="*/ 145029 w 151200"/>
                  <a:gd name="connsiteY3" fmla="*/ 182 h 46468"/>
                  <a:gd name="connsiteX4" fmla="*/ 151201 w 151200"/>
                  <a:gd name="connsiteY4" fmla="*/ 6354 h 46468"/>
                  <a:gd name="connsiteX5" fmla="*/ 145029 w 151200"/>
                  <a:gd name="connsiteY5" fmla="*/ 12525 h 46468"/>
                  <a:gd name="connsiteX6" fmla="*/ 6172 w 151200"/>
                  <a:gd name="connsiteY6" fmla="*/ 46468 h 46468"/>
                  <a:gd name="connsiteX7" fmla="*/ 6172 w 151200"/>
                  <a:gd name="connsiteY7" fmla="*/ 46468 h 4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1200" h="46468">
                    <a:moveTo>
                      <a:pt x="6172" y="46468"/>
                    </a:moveTo>
                    <a:cubicBezTo>
                      <a:pt x="3085" y="46468"/>
                      <a:pt x="0" y="46468"/>
                      <a:pt x="0" y="43383"/>
                    </a:cubicBezTo>
                    <a:cubicBezTo>
                      <a:pt x="0" y="40297"/>
                      <a:pt x="0" y="37211"/>
                      <a:pt x="3085" y="37211"/>
                    </a:cubicBezTo>
                    <a:cubicBezTo>
                      <a:pt x="6172" y="34125"/>
                      <a:pt x="114172" y="-2903"/>
                      <a:pt x="145029" y="182"/>
                    </a:cubicBezTo>
                    <a:cubicBezTo>
                      <a:pt x="148114" y="182"/>
                      <a:pt x="151201" y="3268"/>
                      <a:pt x="151201" y="6354"/>
                    </a:cubicBezTo>
                    <a:cubicBezTo>
                      <a:pt x="151201" y="9440"/>
                      <a:pt x="148114" y="12525"/>
                      <a:pt x="145029" y="12525"/>
                    </a:cubicBezTo>
                    <a:cubicBezTo>
                      <a:pt x="120344" y="9440"/>
                      <a:pt x="37029" y="37211"/>
                      <a:pt x="6172" y="46468"/>
                    </a:cubicBezTo>
                    <a:cubicBezTo>
                      <a:pt x="6172" y="46468"/>
                      <a:pt x="6172" y="46468"/>
                      <a:pt x="6172" y="4646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8DD706D0-532C-4C73-B008-0BB5AEF31484}"/>
                  </a:ext>
                </a:extLst>
              </p:cNvPr>
              <p:cNvSpPr/>
              <p:nvPr/>
            </p:nvSpPr>
            <p:spPr>
              <a:xfrm>
                <a:off x="20805712" y="3786353"/>
                <a:ext cx="58627" cy="18514"/>
              </a:xfrm>
              <a:custGeom>
                <a:avLst/>
                <a:gdLst>
                  <a:gd name="connsiteX0" fmla="*/ 6172 w 58627"/>
                  <a:gd name="connsiteY0" fmla="*/ 18514 h 18514"/>
                  <a:gd name="connsiteX1" fmla="*/ 0 w 58627"/>
                  <a:gd name="connsiteY1" fmla="*/ 12343 h 18514"/>
                  <a:gd name="connsiteX2" fmla="*/ 6172 w 58627"/>
                  <a:gd name="connsiteY2" fmla="*/ 6172 h 18514"/>
                  <a:gd name="connsiteX3" fmla="*/ 52458 w 58627"/>
                  <a:gd name="connsiteY3" fmla="*/ 0 h 18514"/>
                  <a:gd name="connsiteX4" fmla="*/ 58627 w 58627"/>
                  <a:gd name="connsiteY4" fmla="*/ 6172 h 18514"/>
                  <a:gd name="connsiteX5" fmla="*/ 52458 w 58627"/>
                  <a:gd name="connsiteY5" fmla="*/ 12343 h 18514"/>
                  <a:gd name="connsiteX6" fmla="*/ 6172 w 58627"/>
                  <a:gd name="connsiteY6" fmla="*/ 18514 h 18514"/>
                  <a:gd name="connsiteX7" fmla="*/ 6172 w 58627"/>
                  <a:gd name="connsiteY7" fmla="*/ 18514 h 18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8627" h="18514">
                    <a:moveTo>
                      <a:pt x="6172" y="18514"/>
                    </a:moveTo>
                    <a:cubicBezTo>
                      <a:pt x="3085" y="18514"/>
                      <a:pt x="0" y="15429"/>
                      <a:pt x="0" y="12343"/>
                    </a:cubicBezTo>
                    <a:cubicBezTo>
                      <a:pt x="0" y="9257"/>
                      <a:pt x="3085" y="6172"/>
                      <a:pt x="6172" y="6172"/>
                    </a:cubicBezTo>
                    <a:lnTo>
                      <a:pt x="52458" y="0"/>
                    </a:lnTo>
                    <a:cubicBezTo>
                      <a:pt x="55542" y="0"/>
                      <a:pt x="58627" y="3086"/>
                      <a:pt x="58627" y="6172"/>
                    </a:cubicBezTo>
                    <a:cubicBezTo>
                      <a:pt x="58627" y="9257"/>
                      <a:pt x="55542" y="12343"/>
                      <a:pt x="52458" y="12343"/>
                    </a:cubicBezTo>
                    <a:lnTo>
                      <a:pt x="6172" y="18514"/>
                    </a:lnTo>
                    <a:cubicBezTo>
                      <a:pt x="9257" y="18514"/>
                      <a:pt x="6172" y="18514"/>
                      <a:pt x="6172" y="1851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DE1636AF-A901-4170-8E44-E58B4BD60F7A}"/>
                  </a:ext>
                </a:extLst>
              </p:cNvPr>
              <p:cNvSpPr/>
              <p:nvPr/>
            </p:nvSpPr>
            <p:spPr>
              <a:xfrm>
                <a:off x="20882360" y="3693782"/>
                <a:ext cx="26389" cy="98742"/>
              </a:xfrm>
              <a:custGeom>
                <a:avLst/>
                <a:gdLst>
                  <a:gd name="connsiteX0" fmla="*/ 19008 w 26389"/>
                  <a:gd name="connsiteY0" fmla="*/ 98743 h 98742"/>
                  <a:gd name="connsiteX1" fmla="*/ 12836 w 26389"/>
                  <a:gd name="connsiteY1" fmla="*/ 95657 h 98742"/>
                  <a:gd name="connsiteX2" fmla="*/ 6666 w 26389"/>
                  <a:gd name="connsiteY2" fmla="*/ 3086 h 98742"/>
                  <a:gd name="connsiteX3" fmla="*/ 15923 w 26389"/>
                  <a:gd name="connsiteY3" fmla="*/ 0 h 98742"/>
                  <a:gd name="connsiteX4" fmla="*/ 19008 w 26389"/>
                  <a:gd name="connsiteY4" fmla="*/ 9257 h 98742"/>
                  <a:gd name="connsiteX5" fmla="*/ 25179 w 26389"/>
                  <a:gd name="connsiteY5" fmla="*/ 92571 h 98742"/>
                  <a:gd name="connsiteX6" fmla="*/ 19008 w 26389"/>
                  <a:gd name="connsiteY6" fmla="*/ 98743 h 98742"/>
                  <a:gd name="connsiteX7" fmla="*/ 19008 w 26389"/>
                  <a:gd name="connsiteY7" fmla="*/ 98743 h 98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389" h="98742">
                    <a:moveTo>
                      <a:pt x="19008" y="98743"/>
                    </a:moveTo>
                    <a:cubicBezTo>
                      <a:pt x="15923" y="98743"/>
                      <a:pt x="15923" y="98743"/>
                      <a:pt x="12836" y="95657"/>
                    </a:cubicBezTo>
                    <a:cubicBezTo>
                      <a:pt x="-11849" y="49371"/>
                      <a:pt x="6666" y="3086"/>
                      <a:pt x="6666" y="3086"/>
                    </a:cubicBezTo>
                    <a:cubicBezTo>
                      <a:pt x="6666" y="0"/>
                      <a:pt x="12836" y="0"/>
                      <a:pt x="15923" y="0"/>
                    </a:cubicBezTo>
                    <a:cubicBezTo>
                      <a:pt x="19008" y="0"/>
                      <a:pt x="22095" y="6171"/>
                      <a:pt x="19008" y="9257"/>
                    </a:cubicBezTo>
                    <a:cubicBezTo>
                      <a:pt x="19008" y="9257"/>
                      <a:pt x="3579" y="52457"/>
                      <a:pt x="25179" y="92571"/>
                    </a:cubicBezTo>
                    <a:cubicBezTo>
                      <a:pt x="28264" y="92571"/>
                      <a:pt x="25179" y="98743"/>
                      <a:pt x="19008" y="98743"/>
                    </a:cubicBezTo>
                    <a:cubicBezTo>
                      <a:pt x="22095" y="98743"/>
                      <a:pt x="22095" y="98743"/>
                      <a:pt x="19008" y="9874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83" name="图形 1">
            <a:extLst>
              <a:ext uri="{FF2B5EF4-FFF2-40B4-BE49-F238E27FC236}">
                <a16:creationId xmlns:a16="http://schemas.microsoft.com/office/drawing/2014/main" id="{CA880580-0C7C-4B45-8721-371F4772031B}"/>
              </a:ext>
            </a:extLst>
          </p:cNvPr>
          <p:cNvGrpSpPr/>
          <p:nvPr/>
        </p:nvGrpSpPr>
        <p:grpSpPr>
          <a:xfrm>
            <a:off x="6068554" y="1760244"/>
            <a:ext cx="3391671" cy="4864966"/>
            <a:chOff x="22832554" y="1760244"/>
            <a:chExt cx="3391671" cy="4864966"/>
          </a:xfrm>
        </p:grpSpPr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7D601B05-036F-40F4-A03E-E10DDA0E6AC0}"/>
                </a:ext>
              </a:extLst>
            </p:cNvPr>
            <p:cNvSpPr/>
            <p:nvPr/>
          </p:nvSpPr>
          <p:spPr>
            <a:xfrm>
              <a:off x="23934425" y="3403569"/>
              <a:ext cx="281337" cy="221585"/>
            </a:xfrm>
            <a:custGeom>
              <a:avLst/>
              <a:gdLst>
                <a:gd name="connsiteX0" fmla="*/ 102030 w 281337"/>
                <a:gd name="connsiteY0" fmla="*/ 197641 h 221585"/>
                <a:gd name="connsiteX1" fmla="*/ 240887 w 281337"/>
                <a:gd name="connsiteY1" fmla="*/ 209984 h 221585"/>
                <a:gd name="connsiteX2" fmla="*/ 281001 w 281337"/>
                <a:gd name="connsiteY2" fmla="*/ 74213 h 221585"/>
                <a:gd name="connsiteX3" fmla="*/ 12544 w 281337"/>
                <a:gd name="connsiteY3" fmla="*/ 3241 h 221585"/>
                <a:gd name="connsiteX4" fmla="*/ 9459 w 281337"/>
                <a:gd name="connsiteY4" fmla="*/ 52613 h 221585"/>
                <a:gd name="connsiteX5" fmla="*/ 200 w 281337"/>
                <a:gd name="connsiteY5" fmla="*/ 108156 h 221585"/>
                <a:gd name="connsiteX6" fmla="*/ 21800 w 281337"/>
                <a:gd name="connsiteY6" fmla="*/ 139013 h 221585"/>
                <a:gd name="connsiteX7" fmla="*/ 58829 w 281337"/>
                <a:gd name="connsiteY7" fmla="*/ 179127 h 221585"/>
                <a:gd name="connsiteX8" fmla="*/ 102030 w 281337"/>
                <a:gd name="connsiteY8" fmla="*/ 197641 h 22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1337" h="221585">
                  <a:moveTo>
                    <a:pt x="102030" y="197641"/>
                  </a:moveTo>
                  <a:cubicBezTo>
                    <a:pt x="148316" y="200727"/>
                    <a:pt x="203858" y="240841"/>
                    <a:pt x="240887" y="209984"/>
                  </a:cubicBezTo>
                  <a:cubicBezTo>
                    <a:pt x="265573" y="188384"/>
                    <a:pt x="284086" y="74213"/>
                    <a:pt x="281001" y="74213"/>
                  </a:cubicBezTo>
                  <a:cubicBezTo>
                    <a:pt x="256316" y="-9101"/>
                    <a:pt x="80430" y="-2930"/>
                    <a:pt x="12544" y="3241"/>
                  </a:cubicBezTo>
                  <a:cubicBezTo>
                    <a:pt x="200" y="3241"/>
                    <a:pt x="-2885" y="49527"/>
                    <a:pt x="9459" y="52613"/>
                  </a:cubicBezTo>
                  <a:cubicBezTo>
                    <a:pt x="31057" y="58784"/>
                    <a:pt x="-2885" y="95813"/>
                    <a:pt x="200" y="108156"/>
                  </a:cubicBezTo>
                  <a:cubicBezTo>
                    <a:pt x="3287" y="120499"/>
                    <a:pt x="18715" y="139013"/>
                    <a:pt x="21800" y="139013"/>
                  </a:cubicBezTo>
                  <a:cubicBezTo>
                    <a:pt x="31057" y="154441"/>
                    <a:pt x="58829" y="169870"/>
                    <a:pt x="58829" y="179127"/>
                  </a:cubicBezTo>
                  <a:cubicBezTo>
                    <a:pt x="68086" y="194556"/>
                    <a:pt x="74258" y="194556"/>
                    <a:pt x="102030" y="197641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ECBAE5F7-73A5-4670-B13B-5A08B497F458}"/>
                </a:ext>
              </a:extLst>
            </p:cNvPr>
            <p:cNvSpPr/>
            <p:nvPr/>
          </p:nvSpPr>
          <p:spPr>
            <a:xfrm>
              <a:off x="24150625" y="3008753"/>
              <a:ext cx="1005943" cy="767392"/>
            </a:xfrm>
            <a:custGeom>
              <a:avLst/>
              <a:gdLst>
                <a:gd name="connsiteX0" fmla="*/ 752915 w 1005943"/>
                <a:gd name="connsiteY0" fmla="*/ 0 h 767392"/>
                <a:gd name="connsiteX1" fmla="*/ 598629 w 1005943"/>
                <a:gd name="connsiteY1" fmla="*/ 527657 h 767392"/>
                <a:gd name="connsiteX2" fmla="*/ 46286 w 1005943"/>
                <a:gd name="connsiteY2" fmla="*/ 462857 h 767392"/>
                <a:gd name="connsiteX3" fmla="*/ 0 w 1005943"/>
                <a:gd name="connsiteY3" fmla="*/ 592457 h 767392"/>
                <a:gd name="connsiteX4" fmla="*/ 743658 w 1005943"/>
                <a:gd name="connsiteY4" fmla="*/ 765257 h 767392"/>
                <a:gd name="connsiteX5" fmla="*/ 1005944 w 1005943"/>
                <a:gd name="connsiteY5" fmla="*/ 104914 h 767392"/>
                <a:gd name="connsiteX6" fmla="*/ 752915 w 1005943"/>
                <a:gd name="connsiteY6" fmla="*/ 0 h 767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5943" h="767392">
                  <a:moveTo>
                    <a:pt x="752915" y="0"/>
                  </a:moveTo>
                  <a:lnTo>
                    <a:pt x="598629" y="527657"/>
                  </a:lnTo>
                  <a:lnTo>
                    <a:pt x="46286" y="462857"/>
                  </a:lnTo>
                  <a:lnTo>
                    <a:pt x="0" y="592457"/>
                  </a:lnTo>
                  <a:cubicBezTo>
                    <a:pt x="0" y="592457"/>
                    <a:pt x="617143" y="789943"/>
                    <a:pt x="743658" y="765257"/>
                  </a:cubicBezTo>
                  <a:cubicBezTo>
                    <a:pt x="870172" y="740571"/>
                    <a:pt x="1005944" y="104914"/>
                    <a:pt x="1005944" y="104914"/>
                  </a:cubicBezTo>
                  <a:lnTo>
                    <a:pt x="752915" y="0"/>
                  </a:ln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A31BABEB-C4D3-42C9-AF55-65BBB8F7AC9E}"/>
                </a:ext>
              </a:extLst>
            </p:cNvPr>
            <p:cNvSpPr/>
            <p:nvPr/>
          </p:nvSpPr>
          <p:spPr>
            <a:xfrm>
              <a:off x="24746169" y="3107496"/>
              <a:ext cx="138857" cy="493714"/>
            </a:xfrm>
            <a:custGeom>
              <a:avLst/>
              <a:gdLst>
                <a:gd name="connsiteX0" fmla="*/ 40114 w 138857"/>
                <a:gd name="connsiteY0" fmla="*/ 493714 h 493714"/>
                <a:gd name="connsiteX1" fmla="*/ 37027 w 138857"/>
                <a:gd name="connsiteY1" fmla="*/ 490629 h 493714"/>
                <a:gd name="connsiteX2" fmla="*/ 0 w 138857"/>
                <a:gd name="connsiteY2" fmla="*/ 432000 h 493714"/>
                <a:gd name="connsiteX3" fmla="*/ 0 w 138857"/>
                <a:gd name="connsiteY3" fmla="*/ 428914 h 493714"/>
                <a:gd name="connsiteX4" fmla="*/ 126514 w 138857"/>
                <a:gd name="connsiteY4" fmla="*/ 0 h 493714"/>
                <a:gd name="connsiteX5" fmla="*/ 138857 w 138857"/>
                <a:gd name="connsiteY5" fmla="*/ 3086 h 493714"/>
                <a:gd name="connsiteX6" fmla="*/ 12342 w 138857"/>
                <a:gd name="connsiteY6" fmla="*/ 428914 h 493714"/>
                <a:gd name="connsiteX7" fmla="*/ 49371 w 138857"/>
                <a:gd name="connsiteY7" fmla="*/ 481372 h 493714"/>
                <a:gd name="connsiteX8" fmla="*/ 49371 w 138857"/>
                <a:gd name="connsiteY8" fmla="*/ 490629 h 493714"/>
                <a:gd name="connsiteX9" fmla="*/ 40114 w 138857"/>
                <a:gd name="connsiteY9" fmla="*/ 493714 h 493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857" h="493714">
                  <a:moveTo>
                    <a:pt x="40114" y="493714"/>
                  </a:moveTo>
                  <a:cubicBezTo>
                    <a:pt x="37027" y="493714"/>
                    <a:pt x="37027" y="493714"/>
                    <a:pt x="37027" y="490629"/>
                  </a:cubicBezTo>
                  <a:cubicBezTo>
                    <a:pt x="24685" y="475200"/>
                    <a:pt x="0" y="435086"/>
                    <a:pt x="0" y="432000"/>
                  </a:cubicBezTo>
                  <a:cubicBezTo>
                    <a:pt x="0" y="432000"/>
                    <a:pt x="0" y="428914"/>
                    <a:pt x="0" y="428914"/>
                  </a:cubicBezTo>
                  <a:cubicBezTo>
                    <a:pt x="33942" y="314743"/>
                    <a:pt x="126514" y="0"/>
                    <a:pt x="126514" y="0"/>
                  </a:cubicBezTo>
                  <a:lnTo>
                    <a:pt x="138857" y="3086"/>
                  </a:lnTo>
                  <a:cubicBezTo>
                    <a:pt x="138857" y="3086"/>
                    <a:pt x="46286" y="311657"/>
                    <a:pt x="12342" y="428914"/>
                  </a:cubicBezTo>
                  <a:cubicBezTo>
                    <a:pt x="18514" y="438171"/>
                    <a:pt x="37027" y="469029"/>
                    <a:pt x="49371" y="481372"/>
                  </a:cubicBezTo>
                  <a:cubicBezTo>
                    <a:pt x="52456" y="484457"/>
                    <a:pt x="52456" y="487543"/>
                    <a:pt x="49371" y="490629"/>
                  </a:cubicBezTo>
                  <a:cubicBezTo>
                    <a:pt x="43199" y="490629"/>
                    <a:pt x="40114" y="493714"/>
                    <a:pt x="40114" y="493714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7" name="图形 1">
              <a:extLst>
                <a:ext uri="{FF2B5EF4-FFF2-40B4-BE49-F238E27FC236}">
                  <a16:creationId xmlns:a16="http://schemas.microsoft.com/office/drawing/2014/main" id="{E72193D2-39C5-4E1C-89C5-FED7AFFD394D}"/>
                </a:ext>
              </a:extLst>
            </p:cNvPr>
            <p:cNvGrpSpPr/>
            <p:nvPr/>
          </p:nvGrpSpPr>
          <p:grpSpPr>
            <a:xfrm>
              <a:off x="24851082" y="6276525"/>
              <a:ext cx="502971" cy="348685"/>
              <a:chOff x="24851082" y="6276525"/>
              <a:chExt cx="502971" cy="348685"/>
            </a:xfrm>
          </p:grpSpPr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4B6C70D4-448A-4D09-AE49-E898B2DA782D}"/>
                  </a:ext>
                </a:extLst>
              </p:cNvPr>
              <p:cNvSpPr/>
              <p:nvPr/>
            </p:nvSpPr>
            <p:spPr>
              <a:xfrm>
                <a:off x="25150397" y="6276525"/>
                <a:ext cx="185142" cy="228342"/>
              </a:xfrm>
              <a:custGeom>
                <a:avLst/>
                <a:gdLst>
                  <a:gd name="connsiteX0" fmla="*/ 182058 w 185142"/>
                  <a:gd name="connsiteY0" fmla="*/ 188228 h 228342"/>
                  <a:gd name="connsiteX1" fmla="*/ 185143 w 185142"/>
                  <a:gd name="connsiteY1" fmla="*/ 0 h 228342"/>
                  <a:gd name="connsiteX2" fmla="*/ 0 w 185142"/>
                  <a:gd name="connsiteY2" fmla="*/ 0 h 228342"/>
                  <a:gd name="connsiteX3" fmla="*/ 15429 w 185142"/>
                  <a:gd name="connsiteY3" fmla="*/ 197486 h 228342"/>
                  <a:gd name="connsiteX4" fmla="*/ 169714 w 185142"/>
                  <a:gd name="connsiteY4" fmla="*/ 228343 h 228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142" h="228342">
                    <a:moveTo>
                      <a:pt x="182058" y="188228"/>
                    </a:moveTo>
                    <a:lnTo>
                      <a:pt x="185143" y="0"/>
                    </a:lnTo>
                    <a:lnTo>
                      <a:pt x="0" y="0"/>
                    </a:lnTo>
                    <a:lnTo>
                      <a:pt x="15429" y="197486"/>
                    </a:lnTo>
                    <a:lnTo>
                      <a:pt x="169714" y="228343"/>
                    </a:ln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CF4D2602-FE97-4F76-9047-606A95BD968F}"/>
                  </a:ext>
                </a:extLst>
              </p:cNvPr>
              <p:cNvSpPr/>
              <p:nvPr/>
            </p:nvSpPr>
            <p:spPr>
              <a:xfrm>
                <a:off x="24851082" y="6418467"/>
                <a:ext cx="501943" cy="160457"/>
              </a:xfrm>
              <a:custGeom>
                <a:avLst/>
                <a:gdLst>
                  <a:gd name="connsiteX0" fmla="*/ 493714 w 501943"/>
                  <a:gd name="connsiteY0" fmla="*/ 46286 h 160457"/>
                  <a:gd name="connsiteX1" fmla="*/ 305486 w 501943"/>
                  <a:gd name="connsiteY1" fmla="*/ 0 h 160457"/>
                  <a:gd name="connsiteX2" fmla="*/ 169714 w 501943"/>
                  <a:gd name="connsiteY2" fmla="*/ 80229 h 160457"/>
                  <a:gd name="connsiteX3" fmla="*/ 0 w 501943"/>
                  <a:gd name="connsiteY3" fmla="*/ 160458 h 160457"/>
                  <a:gd name="connsiteX4" fmla="*/ 493714 w 501943"/>
                  <a:gd name="connsiteY4" fmla="*/ 160458 h 160457"/>
                  <a:gd name="connsiteX5" fmla="*/ 493714 w 501943"/>
                  <a:gd name="connsiteY5" fmla="*/ 46286 h 160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943" h="160457">
                    <a:moveTo>
                      <a:pt x="493714" y="46286"/>
                    </a:moveTo>
                    <a:cubicBezTo>
                      <a:pt x="493714" y="46286"/>
                      <a:pt x="367201" y="64800"/>
                      <a:pt x="305486" y="0"/>
                    </a:cubicBezTo>
                    <a:cubicBezTo>
                      <a:pt x="305486" y="0"/>
                      <a:pt x="216000" y="70972"/>
                      <a:pt x="169714" y="80229"/>
                    </a:cubicBezTo>
                    <a:cubicBezTo>
                      <a:pt x="123429" y="89486"/>
                      <a:pt x="12344" y="86400"/>
                      <a:pt x="0" y="160458"/>
                    </a:cubicBezTo>
                    <a:lnTo>
                      <a:pt x="493714" y="160458"/>
                    </a:lnTo>
                    <a:cubicBezTo>
                      <a:pt x="493714" y="160458"/>
                      <a:pt x="512230" y="95657"/>
                      <a:pt x="493714" y="4628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8" name="任意多边形: 形状 167">
                <a:extLst>
                  <a:ext uri="{FF2B5EF4-FFF2-40B4-BE49-F238E27FC236}">
                    <a16:creationId xmlns:a16="http://schemas.microsoft.com/office/drawing/2014/main" id="{FDD8CCD2-F1CC-4DCB-B012-5A6585530E30}"/>
                  </a:ext>
                </a:extLst>
              </p:cNvPr>
              <p:cNvSpPr/>
              <p:nvPr/>
            </p:nvSpPr>
            <p:spPr>
              <a:xfrm>
                <a:off x="24851083" y="6578925"/>
                <a:ext cx="493714" cy="46285"/>
              </a:xfrm>
              <a:custGeom>
                <a:avLst/>
                <a:gdLst>
                  <a:gd name="connsiteX0" fmla="*/ 0 w 493714"/>
                  <a:gd name="connsiteY0" fmla="*/ 0 h 46285"/>
                  <a:gd name="connsiteX1" fmla="*/ 493714 w 493714"/>
                  <a:gd name="connsiteY1" fmla="*/ 0 h 46285"/>
                  <a:gd name="connsiteX2" fmla="*/ 493714 w 493714"/>
                  <a:gd name="connsiteY2" fmla="*/ 46286 h 46285"/>
                  <a:gd name="connsiteX3" fmla="*/ 0 w 493714"/>
                  <a:gd name="connsiteY3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714" h="46285">
                    <a:moveTo>
                      <a:pt x="0" y="0"/>
                    </a:moveTo>
                    <a:lnTo>
                      <a:pt x="493714" y="0"/>
                    </a:lnTo>
                    <a:lnTo>
                      <a:pt x="493714" y="46286"/>
                    </a:lnTo>
                    <a:lnTo>
                      <a:pt x="0" y="46286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9" name="任意多边形: 形状 168">
                <a:extLst>
                  <a:ext uri="{FF2B5EF4-FFF2-40B4-BE49-F238E27FC236}">
                    <a16:creationId xmlns:a16="http://schemas.microsoft.com/office/drawing/2014/main" id="{749D6621-A3A8-4763-AF28-82419D443E84}"/>
                  </a:ext>
                </a:extLst>
              </p:cNvPr>
              <p:cNvSpPr/>
              <p:nvPr/>
            </p:nvSpPr>
            <p:spPr>
              <a:xfrm>
                <a:off x="25151168" y="6406896"/>
                <a:ext cx="202885" cy="64028"/>
              </a:xfrm>
              <a:custGeom>
                <a:avLst/>
                <a:gdLst>
                  <a:gd name="connsiteX0" fmla="*/ 159686 w 202885"/>
                  <a:gd name="connsiteY0" fmla="*/ 64029 h 64028"/>
                  <a:gd name="connsiteX1" fmla="*/ 2314 w 202885"/>
                  <a:gd name="connsiteY1" fmla="*/ 11571 h 64028"/>
                  <a:gd name="connsiteX2" fmla="*/ 2314 w 202885"/>
                  <a:gd name="connsiteY2" fmla="*/ 2314 h 64028"/>
                  <a:gd name="connsiteX3" fmla="*/ 11572 w 202885"/>
                  <a:gd name="connsiteY3" fmla="*/ 2314 h 64028"/>
                  <a:gd name="connsiteX4" fmla="*/ 196715 w 202885"/>
                  <a:gd name="connsiteY4" fmla="*/ 48600 h 64028"/>
                  <a:gd name="connsiteX5" fmla="*/ 202885 w 202885"/>
                  <a:gd name="connsiteY5" fmla="*/ 54771 h 64028"/>
                  <a:gd name="connsiteX6" fmla="*/ 196715 w 202885"/>
                  <a:gd name="connsiteY6" fmla="*/ 60943 h 64028"/>
                  <a:gd name="connsiteX7" fmla="*/ 159686 w 202885"/>
                  <a:gd name="connsiteY7" fmla="*/ 64029 h 6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885" h="64028">
                    <a:moveTo>
                      <a:pt x="159686" y="64029"/>
                    </a:moveTo>
                    <a:cubicBezTo>
                      <a:pt x="119572" y="64029"/>
                      <a:pt x="51686" y="57857"/>
                      <a:pt x="2314" y="11571"/>
                    </a:cubicBez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1" y="-771"/>
                      <a:pt x="8486" y="-771"/>
                      <a:pt x="11572" y="2314"/>
                    </a:cubicBezTo>
                    <a:cubicBezTo>
                      <a:pt x="79457" y="64029"/>
                      <a:pt x="193628" y="48600"/>
                      <a:pt x="196715" y="48600"/>
                    </a:cubicBezTo>
                    <a:cubicBezTo>
                      <a:pt x="199800" y="48600"/>
                      <a:pt x="202885" y="51686"/>
                      <a:pt x="202885" y="54771"/>
                    </a:cubicBezTo>
                    <a:cubicBezTo>
                      <a:pt x="202885" y="57857"/>
                      <a:pt x="199800" y="60943"/>
                      <a:pt x="196715" y="60943"/>
                    </a:cubicBezTo>
                    <a:cubicBezTo>
                      <a:pt x="193628" y="64029"/>
                      <a:pt x="178200" y="64029"/>
                      <a:pt x="159686" y="640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0" name="任意多边形: 形状 169">
                <a:extLst>
                  <a:ext uri="{FF2B5EF4-FFF2-40B4-BE49-F238E27FC236}">
                    <a16:creationId xmlns:a16="http://schemas.microsoft.com/office/drawing/2014/main" id="{59FB93E4-7EC0-46ED-AB0D-0067D48C1E2F}"/>
                  </a:ext>
                </a:extLst>
              </p:cNvPr>
              <p:cNvSpPr/>
              <p:nvPr/>
            </p:nvSpPr>
            <p:spPr>
              <a:xfrm>
                <a:off x="25114140" y="6434667"/>
                <a:ext cx="41657" cy="42428"/>
              </a:xfrm>
              <a:custGeom>
                <a:avLst/>
                <a:gdLst>
                  <a:gd name="connsiteX0" fmla="*/ 33172 w 41657"/>
                  <a:gd name="connsiteY0" fmla="*/ 42429 h 42428"/>
                  <a:gd name="connsiteX1" fmla="*/ 30085 w 41657"/>
                  <a:gd name="connsiteY1" fmla="*/ 39343 h 42428"/>
                  <a:gd name="connsiteX2" fmla="*/ 2315 w 41657"/>
                  <a:gd name="connsiteY2" fmla="*/ 11572 h 42428"/>
                  <a:gd name="connsiteX3" fmla="*/ 2315 w 41657"/>
                  <a:gd name="connsiteY3" fmla="*/ 2314 h 42428"/>
                  <a:gd name="connsiteX4" fmla="*/ 11572 w 41657"/>
                  <a:gd name="connsiteY4" fmla="*/ 2314 h 42428"/>
                  <a:gd name="connsiteX5" fmla="*/ 39342 w 41657"/>
                  <a:gd name="connsiteY5" fmla="*/ 30086 h 42428"/>
                  <a:gd name="connsiteX6" fmla="*/ 39342 w 41657"/>
                  <a:gd name="connsiteY6" fmla="*/ 39343 h 42428"/>
                  <a:gd name="connsiteX7" fmla="*/ 33172 w 41657"/>
                  <a:gd name="connsiteY7" fmla="*/ 42429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7" h="42428">
                    <a:moveTo>
                      <a:pt x="33172" y="42429"/>
                    </a:moveTo>
                    <a:cubicBezTo>
                      <a:pt x="33172" y="42429"/>
                      <a:pt x="30085" y="42429"/>
                      <a:pt x="30085" y="39343"/>
                    </a:cubicBezTo>
                    <a:lnTo>
                      <a:pt x="2315" y="11572"/>
                    </a:lnTo>
                    <a:cubicBezTo>
                      <a:pt x="-772" y="8486"/>
                      <a:pt x="-772" y="5400"/>
                      <a:pt x="2315" y="2314"/>
                    </a:cubicBezTo>
                    <a:cubicBezTo>
                      <a:pt x="5400" y="-771"/>
                      <a:pt x="8485" y="-771"/>
                      <a:pt x="11572" y="2314"/>
                    </a:cubicBezTo>
                    <a:lnTo>
                      <a:pt x="39342" y="30086"/>
                    </a:lnTo>
                    <a:cubicBezTo>
                      <a:pt x="42429" y="33172"/>
                      <a:pt x="42429" y="36257"/>
                      <a:pt x="39342" y="39343"/>
                    </a:cubicBezTo>
                    <a:cubicBezTo>
                      <a:pt x="36257" y="42429"/>
                      <a:pt x="33172" y="42429"/>
                      <a:pt x="33172" y="424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1" name="任意多边形: 形状 170">
                <a:extLst>
                  <a:ext uri="{FF2B5EF4-FFF2-40B4-BE49-F238E27FC236}">
                    <a16:creationId xmlns:a16="http://schemas.microsoft.com/office/drawing/2014/main" id="{042CED0F-5CDA-427D-B735-015DEFB2FC88}"/>
                  </a:ext>
                </a:extLst>
              </p:cNvPr>
              <p:cNvSpPr/>
              <p:nvPr/>
            </p:nvSpPr>
            <p:spPr>
              <a:xfrm>
                <a:off x="25074025" y="6462439"/>
                <a:ext cx="41657" cy="42428"/>
              </a:xfrm>
              <a:custGeom>
                <a:avLst/>
                <a:gdLst>
                  <a:gd name="connsiteX0" fmla="*/ 33171 w 41657"/>
                  <a:gd name="connsiteY0" fmla="*/ 42428 h 42428"/>
                  <a:gd name="connsiteX1" fmla="*/ 30086 w 41657"/>
                  <a:gd name="connsiteY1" fmla="*/ 39343 h 42428"/>
                  <a:gd name="connsiteX2" fmla="*/ 2314 w 41657"/>
                  <a:gd name="connsiteY2" fmla="*/ 11571 h 42428"/>
                  <a:gd name="connsiteX3" fmla="*/ 2314 w 41657"/>
                  <a:gd name="connsiteY3" fmla="*/ 2314 h 42428"/>
                  <a:gd name="connsiteX4" fmla="*/ 11572 w 41657"/>
                  <a:gd name="connsiteY4" fmla="*/ 2314 h 42428"/>
                  <a:gd name="connsiteX5" fmla="*/ 39343 w 41657"/>
                  <a:gd name="connsiteY5" fmla="*/ 30086 h 42428"/>
                  <a:gd name="connsiteX6" fmla="*/ 39343 w 41657"/>
                  <a:gd name="connsiteY6" fmla="*/ 39343 h 42428"/>
                  <a:gd name="connsiteX7" fmla="*/ 33171 w 41657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7" h="42428">
                    <a:moveTo>
                      <a:pt x="33171" y="42428"/>
                    </a:moveTo>
                    <a:cubicBezTo>
                      <a:pt x="33171" y="42428"/>
                      <a:pt x="30086" y="42428"/>
                      <a:pt x="30086" y="39343"/>
                    </a:cubicBezTo>
                    <a:lnTo>
                      <a:pt x="2314" y="11571"/>
                    </a:ln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1" y="-771"/>
                      <a:pt x="8486" y="-771"/>
                      <a:pt x="11572" y="2314"/>
                    </a:cubicBezTo>
                    <a:lnTo>
                      <a:pt x="39343" y="30086"/>
                    </a:lnTo>
                    <a:cubicBezTo>
                      <a:pt x="42430" y="33171"/>
                      <a:pt x="42430" y="36257"/>
                      <a:pt x="39343" y="39343"/>
                    </a:cubicBezTo>
                    <a:cubicBezTo>
                      <a:pt x="36258" y="39343"/>
                      <a:pt x="36258" y="42428"/>
                      <a:pt x="33171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8" name="图形 1">
              <a:extLst>
                <a:ext uri="{FF2B5EF4-FFF2-40B4-BE49-F238E27FC236}">
                  <a16:creationId xmlns:a16="http://schemas.microsoft.com/office/drawing/2014/main" id="{428C860C-F99D-4BAA-8AEB-3E059257B5DF}"/>
                </a:ext>
              </a:extLst>
            </p:cNvPr>
            <p:cNvGrpSpPr/>
            <p:nvPr/>
          </p:nvGrpSpPr>
          <p:grpSpPr>
            <a:xfrm>
              <a:off x="25616339" y="6276525"/>
              <a:ext cx="503314" cy="348685"/>
              <a:chOff x="25616339" y="6276525"/>
              <a:chExt cx="503314" cy="348685"/>
            </a:xfrm>
          </p:grpSpPr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A05C53F3-A4C9-43C7-80E7-3F37483BD58D}"/>
                  </a:ext>
                </a:extLst>
              </p:cNvPr>
              <p:cNvSpPr/>
              <p:nvPr/>
            </p:nvSpPr>
            <p:spPr>
              <a:xfrm>
                <a:off x="25887884" y="6276525"/>
                <a:ext cx="209828" cy="228342"/>
              </a:xfrm>
              <a:custGeom>
                <a:avLst/>
                <a:gdLst>
                  <a:gd name="connsiteX0" fmla="*/ 209828 w 209828"/>
                  <a:gd name="connsiteY0" fmla="*/ 188228 h 228342"/>
                  <a:gd name="connsiteX1" fmla="*/ 185143 w 209828"/>
                  <a:gd name="connsiteY1" fmla="*/ 0 h 228342"/>
                  <a:gd name="connsiteX2" fmla="*/ 0 w 209828"/>
                  <a:gd name="connsiteY2" fmla="*/ 0 h 228342"/>
                  <a:gd name="connsiteX3" fmla="*/ 43199 w 209828"/>
                  <a:gd name="connsiteY3" fmla="*/ 197486 h 228342"/>
                  <a:gd name="connsiteX4" fmla="*/ 197485 w 209828"/>
                  <a:gd name="connsiteY4" fmla="*/ 228343 h 228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828" h="228342">
                    <a:moveTo>
                      <a:pt x="209828" y="188228"/>
                    </a:moveTo>
                    <a:lnTo>
                      <a:pt x="185143" y="0"/>
                    </a:lnTo>
                    <a:lnTo>
                      <a:pt x="0" y="0"/>
                    </a:lnTo>
                    <a:lnTo>
                      <a:pt x="43199" y="197486"/>
                    </a:lnTo>
                    <a:lnTo>
                      <a:pt x="197485" y="228343"/>
                    </a:ln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5C0F236A-A510-4869-AC01-D4D995D1E78C}"/>
                  </a:ext>
                </a:extLst>
              </p:cNvPr>
              <p:cNvSpPr/>
              <p:nvPr/>
            </p:nvSpPr>
            <p:spPr>
              <a:xfrm>
                <a:off x="25616339" y="6418467"/>
                <a:ext cx="503314" cy="160457"/>
              </a:xfrm>
              <a:custGeom>
                <a:avLst/>
                <a:gdLst>
                  <a:gd name="connsiteX0" fmla="*/ 493714 w 503314"/>
                  <a:gd name="connsiteY0" fmla="*/ 46286 h 160457"/>
                  <a:gd name="connsiteX1" fmla="*/ 305486 w 503314"/>
                  <a:gd name="connsiteY1" fmla="*/ 0 h 160457"/>
                  <a:gd name="connsiteX2" fmla="*/ 169714 w 503314"/>
                  <a:gd name="connsiteY2" fmla="*/ 80229 h 160457"/>
                  <a:gd name="connsiteX3" fmla="*/ 0 w 503314"/>
                  <a:gd name="connsiteY3" fmla="*/ 160458 h 160457"/>
                  <a:gd name="connsiteX4" fmla="*/ 493714 w 503314"/>
                  <a:gd name="connsiteY4" fmla="*/ 160458 h 160457"/>
                  <a:gd name="connsiteX5" fmla="*/ 493714 w 503314"/>
                  <a:gd name="connsiteY5" fmla="*/ 46286 h 160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3314" h="160457">
                    <a:moveTo>
                      <a:pt x="493714" y="46286"/>
                    </a:moveTo>
                    <a:cubicBezTo>
                      <a:pt x="493714" y="46286"/>
                      <a:pt x="367201" y="64800"/>
                      <a:pt x="305486" y="0"/>
                    </a:cubicBezTo>
                    <a:cubicBezTo>
                      <a:pt x="305486" y="0"/>
                      <a:pt x="216000" y="70972"/>
                      <a:pt x="169714" y="80229"/>
                    </a:cubicBezTo>
                    <a:cubicBezTo>
                      <a:pt x="123429" y="89486"/>
                      <a:pt x="12344" y="86400"/>
                      <a:pt x="0" y="160458"/>
                    </a:cubicBezTo>
                    <a:lnTo>
                      <a:pt x="493714" y="160458"/>
                    </a:lnTo>
                    <a:cubicBezTo>
                      <a:pt x="493714" y="160458"/>
                      <a:pt x="515315" y="95657"/>
                      <a:pt x="493714" y="4628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026C53E2-7704-413D-A561-CA98F2B86995}"/>
                  </a:ext>
                </a:extLst>
              </p:cNvPr>
              <p:cNvSpPr/>
              <p:nvPr/>
            </p:nvSpPr>
            <p:spPr>
              <a:xfrm>
                <a:off x="25616340" y="6578925"/>
                <a:ext cx="493714" cy="46285"/>
              </a:xfrm>
              <a:custGeom>
                <a:avLst/>
                <a:gdLst>
                  <a:gd name="connsiteX0" fmla="*/ -1 w 493714"/>
                  <a:gd name="connsiteY0" fmla="*/ 0 h 46285"/>
                  <a:gd name="connsiteX1" fmla="*/ 493714 w 493714"/>
                  <a:gd name="connsiteY1" fmla="*/ 0 h 46285"/>
                  <a:gd name="connsiteX2" fmla="*/ 493714 w 493714"/>
                  <a:gd name="connsiteY2" fmla="*/ 46286 h 46285"/>
                  <a:gd name="connsiteX3" fmla="*/ -1 w 493714"/>
                  <a:gd name="connsiteY3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714" h="46285">
                    <a:moveTo>
                      <a:pt x="-1" y="0"/>
                    </a:moveTo>
                    <a:lnTo>
                      <a:pt x="493714" y="0"/>
                    </a:lnTo>
                    <a:lnTo>
                      <a:pt x="493714" y="46286"/>
                    </a:lnTo>
                    <a:lnTo>
                      <a:pt x="-1" y="46286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B821BE5C-B2A0-4F3C-A5C4-E7ADB82E2830}"/>
                  </a:ext>
                </a:extLst>
              </p:cNvPr>
              <p:cNvSpPr/>
              <p:nvPr/>
            </p:nvSpPr>
            <p:spPr>
              <a:xfrm>
                <a:off x="25916426" y="6406896"/>
                <a:ext cx="202886" cy="64028"/>
              </a:xfrm>
              <a:custGeom>
                <a:avLst/>
                <a:gdLst>
                  <a:gd name="connsiteX0" fmla="*/ 159686 w 202886"/>
                  <a:gd name="connsiteY0" fmla="*/ 64029 h 64028"/>
                  <a:gd name="connsiteX1" fmla="*/ 2315 w 202886"/>
                  <a:gd name="connsiteY1" fmla="*/ 11571 h 64028"/>
                  <a:gd name="connsiteX2" fmla="*/ 2315 w 202886"/>
                  <a:gd name="connsiteY2" fmla="*/ 2314 h 64028"/>
                  <a:gd name="connsiteX3" fmla="*/ 11572 w 202886"/>
                  <a:gd name="connsiteY3" fmla="*/ 2314 h 64028"/>
                  <a:gd name="connsiteX4" fmla="*/ 196715 w 202886"/>
                  <a:gd name="connsiteY4" fmla="*/ 48600 h 64028"/>
                  <a:gd name="connsiteX5" fmla="*/ 202887 w 202886"/>
                  <a:gd name="connsiteY5" fmla="*/ 54771 h 64028"/>
                  <a:gd name="connsiteX6" fmla="*/ 196715 w 202886"/>
                  <a:gd name="connsiteY6" fmla="*/ 60943 h 64028"/>
                  <a:gd name="connsiteX7" fmla="*/ 159686 w 202886"/>
                  <a:gd name="connsiteY7" fmla="*/ 64029 h 6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886" h="64028">
                    <a:moveTo>
                      <a:pt x="159686" y="64029"/>
                    </a:moveTo>
                    <a:cubicBezTo>
                      <a:pt x="119572" y="64029"/>
                      <a:pt x="51686" y="57857"/>
                      <a:pt x="2315" y="11571"/>
                    </a:cubicBezTo>
                    <a:cubicBezTo>
                      <a:pt x="-772" y="8486"/>
                      <a:pt x="-772" y="5400"/>
                      <a:pt x="2315" y="2314"/>
                    </a:cubicBezTo>
                    <a:cubicBezTo>
                      <a:pt x="5400" y="-771"/>
                      <a:pt x="8485" y="-771"/>
                      <a:pt x="11572" y="2314"/>
                    </a:cubicBezTo>
                    <a:cubicBezTo>
                      <a:pt x="79458" y="64029"/>
                      <a:pt x="193628" y="48600"/>
                      <a:pt x="196715" y="48600"/>
                    </a:cubicBezTo>
                    <a:cubicBezTo>
                      <a:pt x="199800" y="48600"/>
                      <a:pt x="202887" y="51686"/>
                      <a:pt x="202887" y="54771"/>
                    </a:cubicBezTo>
                    <a:cubicBezTo>
                      <a:pt x="202887" y="57857"/>
                      <a:pt x="199800" y="60943"/>
                      <a:pt x="196715" y="60943"/>
                    </a:cubicBezTo>
                    <a:cubicBezTo>
                      <a:pt x="193628" y="64029"/>
                      <a:pt x="181286" y="64029"/>
                      <a:pt x="159686" y="640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4" name="任意多边形: 形状 163">
                <a:extLst>
                  <a:ext uri="{FF2B5EF4-FFF2-40B4-BE49-F238E27FC236}">
                    <a16:creationId xmlns:a16="http://schemas.microsoft.com/office/drawing/2014/main" id="{90B6DFED-387B-40B1-BC09-F88F73EBB591}"/>
                  </a:ext>
                </a:extLst>
              </p:cNvPr>
              <p:cNvSpPr/>
              <p:nvPr/>
            </p:nvSpPr>
            <p:spPr>
              <a:xfrm>
                <a:off x="25882483" y="6434667"/>
                <a:ext cx="38571" cy="42428"/>
              </a:xfrm>
              <a:custGeom>
                <a:avLst/>
                <a:gdLst>
                  <a:gd name="connsiteX0" fmla="*/ 30086 w 38571"/>
                  <a:gd name="connsiteY0" fmla="*/ 42429 h 42428"/>
                  <a:gd name="connsiteX1" fmla="*/ 26999 w 38571"/>
                  <a:gd name="connsiteY1" fmla="*/ 39343 h 42428"/>
                  <a:gd name="connsiteX2" fmla="*/ 2314 w 38571"/>
                  <a:gd name="connsiteY2" fmla="*/ 11572 h 42428"/>
                  <a:gd name="connsiteX3" fmla="*/ 2314 w 38571"/>
                  <a:gd name="connsiteY3" fmla="*/ 2314 h 42428"/>
                  <a:gd name="connsiteX4" fmla="*/ 11570 w 38571"/>
                  <a:gd name="connsiteY4" fmla="*/ 2314 h 42428"/>
                  <a:gd name="connsiteX5" fmla="*/ 36258 w 38571"/>
                  <a:gd name="connsiteY5" fmla="*/ 30086 h 42428"/>
                  <a:gd name="connsiteX6" fmla="*/ 36258 w 38571"/>
                  <a:gd name="connsiteY6" fmla="*/ 39343 h 42428"/>
                  <a:gd name="connsiteX7" fmla="*/ 30086 w 38571"/>
                  <a:gd name="connsiteY7" fmla="*/ 42429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571" h="42428">
                    <a:moveTo>
                      <a:pt x="30086" y="42429"/>
                    </a:moveTo>
                    <a:cubicBezTo>
                      <a:pt x="30086" y="42429"/>
                      <a:pt x="26999" y="42429"/>
                      <a:pt x="26999" y="39343"/>
                    </a:cubicBezTo>
                    <a:lnTo>
                      <a:pt x="2314" y="11572"/>
                    </a:ln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1" y="-771"/>
                      <a:pt x="8486" y="-771"/>
                      <a:pt x="11570" y="2314"/>
                    </a:cubicBezTo>
                    <a:lnTo>
                      <a:pt x="36258" y="30086"/>
                    </a:lnTo>
                    <a:cubicBezTo>
                      <a:pt x="39343" y="33172"/>
                      <a:pt x="39343" y="36257"/>
                      <a:pt x="36258" y="39343"/>
                    </a:cubicBezTo>
                    <a:cubicBezTo>
                      <a:pt x="33171" y="42429"/>
                      <a:pt x="33171" y="42429"/>
                      <a:pt x="30086" y="424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E73AD7C9-8576-4DD6-987B-8978C4E6D55B}"/>
                  </a:ext>
                </a:extLst>
              </p:cNvPr>
              <p:cNvSpPr/>
              <p:nvPr/>
            </p:nvSpPr>
            <p:spPr>
              <a:xfrm>
                <a:off x="25842369" y="6462439"/>
                <a:ext cx="41656" cy="42428"/>
              </a:xfrm>
              <a:custGeom>
                <a:avLst/>
                <a:gdLst>
                  <a:gd name="connsiteX0" fmla="*/ 33171 w 41656"/>
                  <a:gd name="connsiteY0" fmla="*/ 42428 h 42428"/>
                  <a:gd name="connsiteX1" fmla="*/ 30086 w 41656"/>
                  <a:gd name="connsiteY1" fmla="*/ 39343 h 42428"/>
                  <a:gd name="connsiteX2" fmla="*/ 2314 w 41656"/>
                  <a:gd name="connsiteY2" fmla="*/ 11571 h 42428"/>
                  <a:gd name="connsiteX3" fmla="*/ 2314 w 41656"/>
                  <a:gd name="connsiteY3" fmla="*/ 2314 h 42428"/>
                  <a:gd name="connsiteX4" fmla="*/ 11570 w 41656"/>
                  <a:gd name="connsiteY4" fmla="*/ 2314 h 42428"/>
                  <a:gd name="connsiteX5" fmla="*/ 39343 w 41656"/>
                  <a:gd name="connsiteY5" fmla="*/ 30086 h 42428"/>
                  <a:gd name="connsiteX6" fmla="*/ 39343 w 41656"/>
                  <a:gd name="connsiteY6" fmla="*/ 39343 h 42428"/>
                  <a:gd name="connsiteX7" fmla="*/ 33171 w 41656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6" h="42428">
                    <a:moveTo>
                      <a:pt x="33171" y="42428"/>
                    </a:moveTo>
                    <a:cubicBezTo>
                      <a:pt x="33171" y="42428"/>
                      <a:pt x="30086" y="42428"/>
                      <a:pt x="30086" y="39343"/>
                    </a:cubicBezTo>
                    <a:lnTo>
                      <a:pt x="2314" y="11571"/>
                    </a:ln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399" y="-771"/>
                      <a:pt x="8486" y="-771"/>
                      <a:pt x="11570" y="2314"/>
                    </a:cubicBezTo>
                    <a:lnTo>
                      <a:pt x="39343" y="30086"/>
                    </a:lnTo>
                    <a:cubicBezTo>
                      <a:pt x="42428" y="33171"/>
                      <a:pt x="42428" y="36257"/>
                      <a:pt x="39343" y="39343"/>
                    </a:cubicBezTo>
                    <a:cubicBezTo>
                      <a:pt x="36256" y="39343"/>
                      <a:pt x="33171" y="42428"/>
                      <a:pt x="33171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516BDF60-F29C-4E10-AA71-921E8836E061}"/>
                </a:ext>
              </a:extLst>
            </p:cNvPr>
            <p:cNvSpPr/>
            <p:nvPr/>
          </p:nvSpPr>
          <p:spPr>
            <a:xfrm>
              <a:off x="25011155" y="4036296"/>
              <a:ext cx="1111242" cy="2323542"/>
            </a:xfrm>
            <a:custGeom>
              <a:avLst/>
              <a:gdLst>
                <a:gd name="connsiteX0" fmla="*/ 31242 w 1111242"/>
                <a:gd name="connsiteY0" fmla="*/ 21600 h 2323542"/>
                <a:gd name="connsiteX1" fmla="*/ 12729 w 1111242"/>
                <a:gd name="connsiteY1" fmla="*/ 1422515 h 2323542"/>
                <a:gd name="connsiteX2" fmla="*/ 83700 w 1111242"/>
                <a:gd name="connsiteY2" fmla="*/ 2323543 h 2323542"/>
                <a:gd name="connsiteX3" fmla="*/ 383015 w 1111242"/>
                <a:gd name="connsiteY3" fmla="*/ 2323543 h 2323542"/>
                <a:gd name="connsiteX4" fmla="*/ 423128 w 1111242"/>
                <a:gd name="connsiteY4" fmla="*/ 1447200 h 2323542"/>
                <a:gd name="connsiteX5" fmla="*/ 537300 w 1111242"/>
                <a:gd name="connsiteY5" fmla="*/ 509143 h 2323542"/>
                <a:gd name="connsiteX6" fmla="*/ 645300 w 1111242"/>
                <a:gd name="connsiteY6" fmla="*/ 1437943 h 2323542"/>
                <a:gd name="connsiteX7" fmla="*/ 821185 w 1111242"/>
                <a:gd name="connsiteY7" fmla="*/ 2301943 h 2323542"/>
                <a:gd name="connsiteX8" fmla="*/ 1111242 w 1111242"/>
                <a:gd name="connsiteY8" fmla="*/ 2311200 h 2323542"/>
                <a:gd name="connsiteX9" fmla="*/ 1049528 w 1111242"/>
                <a:gd name="connsiteY9" fmla="*/ 1419429 h 2323542"/>
                <a:gd name="connsiteX10" fmla="*/ 1068042 w 1111242"/>
                <a:gd name="connsiteY10" fmla="*/ 0 h 2323542"/>
                <a:gd name="connsiteX11" fmla="*/ 31242 w 1111242"/>
                <a:gd name="connsiteY11" fmla="*/ 21600 h 2323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11242" h="2323542">
                  <a:moveTo>
                    <a:pt x="31242" y="21600"/>
                  </a:moveTo>
                  <a:cubicBezTo>
                    <a:pt x="31242" y="21600"/>
                    <a:pt x="-24300" y="1107772"/>
                    <a:pt x="12729" y="1422515"/>
                  </a:cubicBezTo>
                  <a:cubicBezTo>
                    <a:pt x="43586" y="1697143"/>
                    <a:pt x="83700" y="2323543"/>
                    <a:pt x="83700" y="2323543"/>
                  </a:cubicBezTo>
                  <a:lnTo>
                    <a:pt x="383015" y="2323543"/>
                  </a:lnTo>
                  <a:cubicBezTo>
                    <a:pt x="383015" y="2323543"/>
                    <a:pt x="416957" y="1545943"/>
                    <a:pt x="423128" y="1447200"/>
                  </a:cubicBezTo>
                  <a:cubicBezTo>
                    <a:pt x="429300" y="1305257"/>
                    <a:pt x="521872" y="540000"/>
                    <a:pt x="537300" y="509143"/>
                  </a:cubicBezTo>
                  <a:cubicBezTo>
                    <a:pt x="552729" y="478286"/>
                    <a:pt x="645300" y="1437943"/>
                    <a:pt x="645300" y="1437943"/>
                  </a:cubicBezTo>
                  <a:lnTo>
                    <a:pt x="821185" y="2301943"/>
                  </a:lnTo>
                  <a:lnTo>
                    <a:pt x="1111242" y="2311200"/>
                  </a:lnTo>
                  <a:cubicBezTo>
                    <a:pt x="1111242" y="2311200"/>
                    <a:pt x="1046443" y="1518172"/>
                    <a:pt x="1049528" y="1419429"/>
                  </a:cubicBezTo>
                  <a:cubicBezTo>
                    <a:pt x="1058785" y="1265143"/>
                    <a:pt x="1111242" y="98743"/>
                    <a:pt x="1068042" y="0"/>
                  </a:cubicBezTo>
                  <a:cubicBezTo>
                    <a:pt x="361414" y="33943"/>
                    <a:pt x="31242" y="21600"/>
                    <a:pt x="31242" y="21600"/>
                  </a:cubicBezTo>
                  <a:close/>
                </a:path>
              </a:pathLst>
            </a:custGeom>
            <a:solidFill>
              <a:srgbClr val="D1615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C5C67127-6A01-4F96-8D74-B541E06096B6}"/>
                </a:ext>
              </a:extLst>
            </p:cNvPr>
            <p:cNvSpPr/>
            <p:nvPr/>
          </p:nvSpPr>
          <p:spPr>
            <a:xfrm>
              <a:off x="25480569" y="4184410"/>
              <a:ext cx="70971" cy="367200"/>
            </a:xfrm>
            <a:custGeom>
              <a:avLst/>
              <a:gdLst>
                <a:gd name="connsiteX0" fmla="*/ 64799 w 70971"/>
                <a:gd name="connsiteY0" fmla="*/ 367200 h 367200"/>
                <a:gd name="connsiteX1" fmla="*/ 58627 w 70971"/>
                <a:gd name="connsiteY1" fmla="*/ 364114 h 367200"/>
                <a:gd name="connsiteX2" fmla="*/ 0 w 70971"/>
                <a:gd name="connsiteY2" fmla="*/ 6171 h 367200"/>
                <a:gd name="connsiteX3" fmla="*/ 6172 w 70971"/>
                <a:gd name="connsiteY3" fmla="*/ 0 h 367200"/>
                <a:gd name="connsiteX4" fmla="*/ 12342 w 70971"/>
                <a:gd name="connsiteY4" fmla="*/ 6171 h 367200"/>
                <a:gd name="connsiteX5" fmla="*/ 70971 w 70971"/>
                <a:gd name="connsiteY5" fmla="*/ 361028 h 367200"/>
                <a:gd name="connsiteX6" fmla="*/ 64799 w 70971"/>
                <a:gd name="connsiteY6" fmla="*/ 367200 h 367200"/>
                <a:gd name="connsiteX7" fmla="*/ 64799 w 70971"/>
                <a:gd name="connsiteY7" fmla="*/ 367200 h 3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71" h="367200">
                  <a:moveTo>
                    <a:pt x="64799" y="367200"/>
                  </a:moveTo>
                  <a:cubicBezTo>
                    <a:pt x="61714" y="367200"/>
                    <a:pt x="61714" y="367200"/>
                    <a:pt x="58627" y="364114"/>
                  </a:cubicBezTo>
                  <a:cubicBezTo>
                    <a:pt x="9257" y="246857"/>
                    <a:pt x="0" y="15429"/>
                    <a:pt x="0" y="6171"/>
                  </a:cubicBezTo>
                  <a:cubicBezTo>
                    <a:pt x="0" y="3086"/>
                    <a:pt x="3085" y="0"/>
                    <a:pt x="6172" y="0"/>
                  </a:cubicBezTo>
                  <a:cubicBezTo>
                    <a:pt x="9257" y="0"/>
                    <a:pt x="12342" y="3086"/>
                    <a:pt x="12342" y="6171"/>
                  </a:cubicBezTo>
                  <a:cubicBezTo>
                    <a:pt x="12342" y="9257"/>
                    <a:pt x="21600" y="246857"/>
                    <a:pt x="70971" y="361028"/>
                  </a:cubicBezTo>
                  <a:cubicBezTo>
                    <a:pt x="70971" y="361028"/>
                    <a:pt x="70971" y="364114"/>
                    <a:pt x="64799" y="367200"/>
                  </a:cubicBezTo>
                  <a:cubicBezTo>
                    <a:pt x="67886" y="367200"/>
                    <a:pt x="64799" y="367200"/>
                    <a:pt x="64799" y="367200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17C39AA5-9B2F-4AF1-A014-DC44A05C2BCE}"/>
                </a:ext>
              </a:extLst>
            </p:cNvPr>
            <p:cNvSpPr/>
            <p:nvPr/>
          </p:nvSpPr>
          <p:spPr>
            <a:xfrm>
              <a:off x="25366397" y="4113439"/>
              <a:ext cx="157370" cy="357943"/>
            </a:xfrm>
            <a:custGeom>
              <a:avLst/>
              <a:gdLst>
                <a:gd name="connsiteX0" fmla="*/ 148114 w 157370"/>
                <a:gd name="connsiteY0" fmla="*/ 357943 h 357943"/>
                <a:gd name="connsiteX1" fmla="*/ 145029 w 157370"/>
                <a:gd name="connsiteY1" fmla="*/ 357943 h 357943"/>
                <a:gd name="connsiteX2" fmla="*/ 33942 w 157370"/>
                <a:gd name="connsiteY2" fmla="*/ 277714 h 357943"/>
                <a:gd name="connsiteX3" fmla="*/ 0 w 157370"/>
                <a:gd name="connsiteY3" fmla="*/ 6172 h 357943"/>
                <a:gd name="connsiteX4" fmla="*/ 6172 w 157370"/>
                <a:gd name="connsiteY4" fmla="*/ 0 h 357943"/>
                <a:gd name="connsiteX5" fmla="*/ 12344 w 157370"/>
                <a:gd name="connsiteY5" fmla="*/ 6172 h 357943"/>
                <a:gd name="connsiteX6" fmla="*/ 46286 w 157370"/>
                <a:gd name="connsiteY6" fmla="*/ 271543 h 357943"/>
                <a:gd name="connsiteX7" fmla="*/ 154286 w 157370"/>
                <a:gd name="connsiteY7" fmla="*/ 348686 h 357943"/>
                <a:gd name="connsiteX8" fmla="*/ 157371 w 157370"/>
                <a:gd name="connsiteY8" fmla="*/ 357943 h 357943"/>
                <a:gd name="connsiteX9" fmla="*/ 148114 w 157370"/>
                <a:gd name="connsiteY9" fmla="*/ 357943 h 357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0" h="357943">
                  <a:moveTo>
                    <a:pt x="148114" y="357943"/>
                  </a:moveTo>
                  <a:cubicBezTo>
                    <a:pt x="148114" y="357943"/>
                    <a:pt x="145029" y="357943"/>
                    <a:pt x="145029" y="357943"/>
                  </a:cubicBezTo>
                  <a:cubicBezTo>
                    <a:pt x="135772" y="351771"/>
                    <a:pt x="46286" y="293143"/>
                    <a:pt x="33942" y="277714"/>
                  </a:cubicBezTo>
                  <a:cubicBezTo>
                    <a:pt x="21600" y="262286"/>
                    <a:pt x="3085" y="49372"/>
                    <a:pt x="0" y="6172"/>
                  </a:cubicBezTo>
                  <a:cubicBezTo>
                    <a:pt x="0" y="3086"/>
                    <a:pt x="3085" y="0"/>
                    <a:pt x="6172" y="0"/>
                  </a:cubicBezTo>
                  <a:cubicBezTo>
                    <a:pt x="9257" y="0"/>
                    <a:pt x="12344" y="3086"/>
                    <a:pt x="12344" y="6172"/>
                  </a:cubicBezTo>
                  <a:cubicBezTo>
                    <a:pt x="21600" y="101829"/>
                    <a:pt x="37029" y="259200"/>
                    <a:pt x="46286" y="271543"/>
                  </a:cubicBezTo>
                  <a:cubicBezTo>
                    <a:pt x="55542" y="280800"/>
                    <a:pt x="114172" y="324000"/>
                    <a:pt x="154286" y="348686"/>
                  </a:cubicBezTo>
                  <a:cubicBezTo>
                    <a:pt x="157371" y="351771"/>
                    <a:pt x="157371" y="354857"/>
                    <a:pt x="157371" y="357943"/>
                  </a:cubicBezTo>
                  <a:cubicBezTo>
                    <a:pt x="154286" y="357943"/>
                    <a:pt x="151201" y="357943"/>
                    <a:pt x="148114" y="357943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051C2F3F-350B-495C-88C4-A7C8B772ED2A}"/>
                </a:ext>
              </a:extLst>
            </p:cNvPr>
            <p:cNvSpPr/>
            <p:nvPr/>
          </p:nvSpPr>
          <p:spPr>
            <a:xfrm>
              <a:off x="24792455" y="2621455"/>
              <a:ext cx="456057" cy="618726"/>
            </a:xfrm>
            <a:custGeom>
              <a:avLst/>
              <a:gdLst>
                <a:gd name="connsiteX0" fmla="*/ 391884 w 456057"/>
                <a:gd name="connsiteY0" fmla="*/ 618726 h 618726"/>
                <a:gd name="connsiteX1" fmla="*/ 404228 w 456057"/>
                <a:gd name="connsiteY1" fmla="*/ 10840 h 618726"/>
                <a:gd name="connsiteX2" fmla="*/ 0 w 456057"/>
                <a:gd name="connsiteY2" fmla="*/ 449012 h 618726"/>
                <a:gd name="connsiteX3" fmla="*/ 391884 w 456057"/>
                <a:gd name="connsiteY3" fmla="*/ 618726 h 61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057" h="618726">
                  <a:moveTo>
                    <a:pt x="391884" y="618726"/>
                  </a:moveTo>
                  <a:cubicBezTo>
                    <a:pt x="391884" y="618726"/>
                    <a:pt x="527656" y="91069"/>
                    <a:pt x="404228" y="10840"/>
                  </a:cubicBezTo>
                  <a:cubicBezTo>
                    <a:pt x="259199" y="-81731"/>
                    <a:pt x="0" y="449012"/>
                    <a:pt x="0" y="449012"/>
                  </a:cubicBezTo>
                  <a:cubicBezTo>
                    <a:pt x="0" y="449012"/>
                    <a:pt x="175884" y="600212"/>
                    <a:pt x="391884" y="618726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3B51B8FA-6EAF-4E06-BE58-04E3DFF0381D}"/>
                </a:ext>
              </a:extLst>
            </p:cNvPr>
            <p:cNvSpPr/>
            <p:nvPr/>
          </p:nvSpPr>
          <p:spPr>
            <a:xfrm>
              <a:off x="25425026" y="2354582"/>
              <a:ext cx="253027" cy="261370"/>
            </a:xfrm>
            <a:custGeom>
              <a:avLst/>
              <a:gdLst>
                <a:gd name="connsiteX0" fmla="*/ 0 w 253027"/>
                <a:gd name="connsiteY0" fmla="*/ 40114 h 261370"/>
                <a:gd name="connsiteX1" fmla="*/ 6170 w 253027"/>
                <a:gd name="connsiteY1" fmla="*/ 216000 h 261370"/>
                <a:gd name="connsiteX2" fmla="*/ 253027 w 253027"/>
                <a:gd name="connsiteY2" fmla="*/ 206743 h 261370"/>
                <a:gd name="connsiteX3" fmla="*/ 237598 w 253027"/>
                <a:gd name="connsiteY3" fmla="*/ 0 h 261370"/>
                <a:gd name="connsiteX4" fmla="*/ 0 w 253027"/>
                <a:gd name="connsiteY4" fmla="*/ 40114 h 261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027" h="261370">
                  <a:moveTo>
                    <a:pt x="0" y="40114"/>
                  </a:moveTo>
                  <a:cubicBezTo>
                    <a:pt x="0" y="40114"/>
                    <a:pt x="6170" y="141943"/>
                    <a:pt x="6170" y="216000"/>
                  </a:cubicBezTo>
                  <a:cubicBezTo>
                    <a:pt x="6170" y="216000"/>
                    <a:pt x="101828" y="324000"/>
                    <a:pt x="253027" y="206743"/>
                  </a:cubicBezTo>
                  <a:cubicBezTo>
                    <a:pt x="253027" y="145029"/>
                    <a:pt x="240685" y="64800"/>
                    <a:pt x="237598" y="0"/>
                  </a:cubicBezTo>
                  <a:cubicBezTo>
                    <a:pt x="240685" y="0"/>
                    <a:pt x="55542" y="52457"/>
                    <a:pt x="0" y="40114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1A87EBE2-EFF5-439D-8BFC-E9C1E8ED4A06}"/>
                </a:ext>
              </a:extLst>
            </p:cNvPr>
            <p:cNvSpPr/>
            <p:nvPr/>
          </p:nvSpPr>
          <p:spPr>
            <a:xfrm>
              <a:off x="25013798" y="2521210"/>
              <a:ext cx="1083913" cy="1585870"/>
            </a:xfrm>
            <a:custGeom>
              <a:avLst/>
              <a:gdLst>
                <a:gd name="connsiteX0" fmla="*/ 682771 w 1083913"/>
                <a:gd name="connsiteY0" fmla="*/ 0 h 1585870"/>
                <a:gd name="connsiteX1" fmla="*/ 389628 w 1083913"/>
                <a:gd name="connsiteY1" fmla="*/ 0 h 1585870"/>
                <a:gd name="connsiteX2" fmla="*/ 87229 w 1083913"/>
                <a:gd name="connsiteY2" fmla="*/ 132686 h 1585870"/>
                <a:gd name="connsiteX3" fmla="*/ 827 w 1083913"/>
                <a:gd name="connsiteY3" fmla="*/ 1555200 h 1585870"/>
                <a:gd name="connsiteX4" fmla="*/ 1083914 w 1083913"/>
                <a:gd name="connsiteY4" fmla="*/ 1530514 h 1585870"/>
                <a:gd name="connsiteX5" fmla="*/ 966657 w 1083913"/>
                <a:gd name="connsiteY5" fmla="*/ 104914 h 1585870"/>
                <a:gd name="connsiteX6" fmla="*/ 682771 w 1083913"/>
                <a:gd name="connsiteY6" fmla="*/ 0 h 15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3913" h="1585870">
                  <a:moveTo>
                    <a:pt x="682771" y="0"/>
                  </a:moveTo>
                  <a:cubicBezTo>
                    <a:pt x="682771" y="0"/>
                    <a:pt x="506885" y="55543"/>
                    <a:pt x="389628" y="0"/>
                  </a:cubicBezTo>
                  <a:cubicBezTo>
                    <a:pt x="389628" y="0"/>
                    <a:pt x="111914" y="98743"/>
                    <a:pt x="87229" y="132686"/>
                  </a:cubicBezTo>
                  <a:cubicBezTo>
                    <a:pt x="62541" y="163543"/>
                    <a:pt x="-8430" y="1487314"/>
                    <a:pt x="827" y="1555200"/>
                  </a:cubicBezTo>
                  <a:cubicBezTo>
                    <a:pt x="827" y="1555200"/>
                    <a:pt x="497628" y="1638514"/>
                    <a:pt x="1083914" y="1530514"/>
                  </a:cubicBezTo>
                  <a:cubicBezTo>
                    <a:pt x="1083914" y="1169486"/>
                    <a:pt x="1009856" y="135771"/>
                    <a:pt x="966657" y="104914"/>
                  </a:cubicBezTo>
                  <a:cubicBezTo>
                    <a:pt x="923457" y="74057"/>
                    <a:pt x="682771" y="0"/>
                    <a:pt x="682771" y="0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C77E1E2B-3A6F-4FE9-A3D8-E32C77AB7717}"/>
                </a:ext>
              </a:extLst>
            </p:cNvPr>
            <p:cNvSpPr/>
            <p:nvPr/>
          </p:nvSpPr>
          <p:spPr>
            <a:xfrm>
              <a:off x="25054741" y="2646446"/>
              <a:ext cx="53734" cy="751106"/>
            </a:xfrm>
            <a:custGeom>
              <a:avLst/>
              <a:gdLst>
                <a:gd name="connsiteX0" fmla="*/ 6170 w 53734"/>
                <a:gd name="connsiteY0" fmla="*/ 751107 h 751106"/>
                <a:gd name="connsiteX1" fmla="*/ 6170 w 53734"/>
                <a:gd name="connsiteY1" fmla="*/ 751107 h 751106"/>
                <a:gd name="connsiteX2" fmla="*/ 0 w 53734"/>
                <a:gd name="connsiteY2" fmla="*/ 744935 h 751106"/>
                <a:gd name="connsiteX3" fmla="*/ 43199 w 53734"/>
                <a:gd name="connsiteY3" fmla="*/ 4364 h 751106"/>
                <a:gd name="connsiteX4" fmla="*/ 49371 w 53734"/>
                <a:gd name="connsiteY4" fmla="*/ 1278 h 751106"/>
                <a:gd name="connsiteX5" fmla="*/ 52456 w 53734"/>
                <a:gd name="connsiteY5" fmla="*/ 7450 h 751106"/>
                <a:gd name="connsiteX6" fmla="*/ 9257 w 53734"/>
                <a:gd name="connsiteY6" fmla="*/ 744935 h 751106"/>
                <a:gd name="connsiteX7" fmla="*/ 6170 w 53734"/>
                <a:gd name="connsiteY7" fmla="*/ 751107 h 751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734" h="751106">
                  <a:moveTo>
                    <a:pt x="6170" y="751107"/>
                  </a:moveTo>
                  <a:cubicBezTo>
                    <a:pt x="6170" y="751107"/>
                    <a:pt x="6170" y="751107"/>
                    <a:pt x="6170" y="751107"/>
                  </a:cubicBezTo>
                  <a:cubicBezTo>
                    <a:pt x="3085" y="751107"/>
                    <a:pt x="0" y="748021"/>
                    <a:pt x="0" y="744935"/>
                  </a:cubicBezTo>
                  <a:cubicBezTo>
                    <a:pt x="0" y="717164"/>
                    <a:pt x="37027" y="44478"/>
                    <a:pt x="43199" y="4364"/>
                  </a:cubicBezTo>
                  <a:cubicBezTo>
                    <a:pt x="43199" y="1278"/>
                    <a:pt x="46286" y="-1808"/>
                    <a:pt x="49371" y="1278"/>
                  </a:cubicBezTo>
                  <a:cubicBezTo>
                    <a:pt x="52456" y="1278"/>
                    <a:pt x="55542" y="4364"/>
                    <a:pt x="52456" y="7450"/>
                  </a:cubicBezTo>
                  <a:cubicBezTo>
                    <a:pt x="43199" y="47564"/>
                    <a:pt x="9257" y="738764"/>
                    <a:pt x="9257" y="744935"/>
                  </a:cubicBezTo>
                  <a:cubicBezTo>
                    <a:pt x="9257" y="751107"/>
                    <a:pt x="9257" y="751107"/>
                    <a:pt x="6170" y="751107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5FF07A5F-9D21-4B23-86C4-817CCE32E6AC}"/>
                </a:ext>
              </a:extLst>
            </p:cNvPr>
            <p:cNvSpPr/>
            <p:nvPr/>
          </p:nvSpPr>
          <p:spPr>
            <a:xfrm>
              <a:off x="25415768" y="3095153"/>
              <a:ext cx="804799" cy="836228"/>
            </a:xfrm>
            <a:custGeom>
              <a:avLst/>
              <a:gdLst>
                <a:gd name="connsiteX0" fmla="*/ 478286 w 804799"/>
                <a:gd name="connsiteY0" fmla="*/ 3086 h 836228"/>
                <a:gd name="connsiteX1" fmla="*/ 536915 w 804799"/>
                <a:gd name="connsiteY1" fmla="*/ 549257 h 836228"/>
                <a:gd name="connsiteX2" fmla="*/ 0 w 804799"/>
                <a:gd name="connsiteY2" fmla="*/ 700457 h 836228"/>
                <a:gd name="connsiteX3" fmla="*/ 6172 w 804799"/>
                <a:gd name="connsiteY3" fmla="*/ 836229 h 836228"/>
                <a:gd name="connsiteX4" fmla="*/ 759087 w 804799"/>
                <a:gd name="connsiteY4" fmla="*/ 712800 h 836228"/>
                <a:gd name="connsiteX5" fmla="*/ 749830 w 804799"/>
                <a:gd name="connsiteY5" fmla="*/ 0 h 836228"/>
                <a:gd name="connsiteX6" fmla="*/ 478286 w 804799"/>
                <a:gd name="connsiteY6" fmla="*/ 3086 h 836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4799" h="836228">
                  <a:moveTo>
                    <a:pt x="478286" y="3086"/>
                  </a:moveTo>
                  <a:lnTo>
                    <a:pt x="536915" y="549257"/>
                  </a:lnTo>
                  <a:lnTo>
                    <a:pt x="0" y="700457"/>
                  </a:lnTo>
                  <a:lnTo>
                    <a:pt x="6172" y="836229"/>
                  </a:lnTo>
                  <a:cubicBezTo>
                    <a:pt x="6172" y="836229"/>
                    <a:pt x="651087" y="783771"/>
                    <a:pt x="759087" y="712800"/>
                  </a:cubicBezTo>
                  <a:cubicBezTo>
                    <a:pt x="867087" y="641829"/>
                    <a:pt x="749830" y="0"/>
                    <a:pt x="749830" y="0"/>
                  </a:cubicBezTo>
                  <a:lnTo>
                    <a:pt x="478286" y="3086"/>
                  </a:ln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5CE46821-7CFC-40E3-B392-4F05DD2BC130}"/>
                </a:ext>
              </a:extLst>
            </p:cNvPr>
            <p:cNvSpPr/>
            <p:nvPr/>
          </p:nvSpPr>
          <p:spPr>
            <a:xfrm>
              <a:off x="25900225" y="3200067"/>
              <a:ext cx="114171" cy="487542"/>
            </a:xfrm>
            <a:custGeom>
              <a:avLst/>
              <a:gdLst>
                <a:gd name="connsiteX0" fmla="*/ 108000 w 114171"/>
                <a:gd name="connsiteY0" fmla="*/ 487543 h 487542"/>
                <a:gd name="connsiteX1" fmla="*/ 108000 w 114171"/>
                <a:gd name="connsiteY1" fmla="*/ 487543 h 487542"/>
                <a:gd name="connsiteX2" fmla="*/ 49373 w 114171"/>
                <a:gd name="connsiteY2" fmla="*/ 447429 h 487542"/>
                <a:gd name="connsiteX3" fmla="*/ 46286 w 114171"/>
                <a:gd name="connsiteY3" fmla="*/ 444343 h 487542"/>
                <a:gd name="connsiteX4" fmla="*/ 0 w 114171"/>
                <a:gd name="connsiteY4" fmla="*/ 0 h 487542"/>
                <a:gd name="connsiteX5" fmla="*/ 12344 w 114171"/>
                <a:gd name="connsiteY5" fmla="*/ 0 h 487542"/>
                <a:gd name="connsiteX6" fmla="*/ 58629 w 114171"/>
                <a:gd name="connsiteY6" fmla="*/ 441257 h 487542"/>
                <a:gd name="connsiteX7" fmla="*/ 111087 w 114171"/>
                <a:gd name="connsiteY7" fmla="*/ 478286 h 487542"/>
                <a:gd name="connsiteX8" fmla="*/ 114172 w 114171"/>
                <a:gd name="connsiteY8" fmla="*/ 484457 h 487542"/>
                <a:gd name="connsiteX9" fmla="*/ 108000 w 114171"/>
                <a:gd name="connsiteY9" fmla="*/ 487543 h 487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4171" h="487542">
                  <a:moveTo>
                    <a:pt x="108000" y="487543"/>
                  </a:moveTo>
                  <a:cubicBezTo>
                    <a:pt x="108000" y="487543"/>
                    <a:pt x="104915" y="487543"/>
                    <a:pt x="108000" y="487543"/>
                  </a:cubicBezTo>
                  <a:cubicBezTo>
                    <a:pt x="86400" y="478286"/>
                    <a:pt x="49373" y="450514"/>
                    <a:pt x="49373" y="447429"/>
                  </a:cubicBezTo>
                  <a:cubicBezTo>
                    <a:pt x="49373" y="447429"/>
                    <a:pt x="46286" y="444343"/>
                    <a:pt x="46286" y="444343"/>
                  </a:cubicBezTo>
                  <a:cubicBezTo>
                    <a:pt x="33944" y="324000"/>
                    <a:pt x="0" y="0"/>
                    <a:pt x="0" y="0"/>
                  </a:cubicBezTo>
                  <a:lnTo>
                    <a:pt x="12344" y="0"/>
                  </a:lnTo>
                  <a:cubicBezTo>
                    <a:pt x="12344" y="0"/>
                    <a:pt x="46286" y="320914"/>
                    <a:pt x="58629" y="441257"/>
                  </a:cubicBezTo>
                  <a:cubicBezTo>
                    <a:pt x="67886" y="447429"/>
                    <a:pt x="98743" y="469029"/>
                    <a:pt x="111087" y="478286"/>
                  </a:cubicBezTo>
                  <a:cubicBezTo>
                    <a:pt x="114172" y="478286"/>
                    <a:pt x="114172" y="484457"/>
                    <a:pt x="114172" y="484457"/>
                  </a:cubicBezTo>
                  <a:cubicBezTo>
                    <a:pt x="111087" y="487543"/>
                    <a:pt x="108000" y="487543"/>
                    <a:pt x="108000" y="487543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7FFBAD54-5783-4B8E-8FF4-0783B12CF7F0}"/>
                </a:ext>
              </a:extLst>
            </p:cNvPr>
            <p:cNvSpPr/>
            <p:nvPr/>
          </p:nvSpPr>
          <p:spPr>
            <a:xfrm>
              <a:off x="25798204" y="2607312"/>
              <a:ext cx="426021" cy="591085"/>
            </a:xfrm>
            <a:custGeom>
              <a:avLst/>
              <a:gdLst>
                <a:gd name="connsiteX0" fmla="*/ 426021 w 426021"/>
                <a:gd name="connsiteY0" fmla="*/ 546469 h 591085"/>
                <a:gd name="connsiteX1" fmla="*/ 160650 w 426021"/>
                <a:gd name="connsiteY1" fmla="*/ 298 h 591085"/>
                <a:gd name="connsiteX2" fmla="*/ 193 w 426021"/>
                <a:gd name="connsiteY2" fmla="*/ 574241 h 591085"/>
                <a:gd name="connsiteX3" fmla="*/ 426021 w 426021"/>
                <a:gd name="connsiteY3" fmla="*/ 546469 h 591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021" h="591085">
                  <a:moveTo>
                    <a:pt x="426021" y="546469"/>
                  </a:moveTo>
                  <a:cubicBezTo>
                    <a:pt x="426021" y="546469"/>
                    <a:pt x="308764" y="15726"/>
                    <a:pt x="160650" y="298"/>
                  </a:cubicBezTo>
                  <a:cubicBezTo>
                    <a:pt x="-12151" y="-15131"/>
                    <a:pt x="193" y="574241"/>
                    <a:pt x="193" y="574241"/>
                  </a:cubicBezTo>
                  <a:cubicBezTo>
                    <a:pt x="193" y="574241"/>
                    <a:pt x="225450" y="626698"/>
                    <a:pt x="426021" y="546469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AC8CD743-CD60-487F-8BAD-E196C1F1D9FC}"/>
                </a:ext>
              </a:extLst>
            </p:cNvPr>
            <p:cNvSpPr/>
            <p:nvPr/>
          </p:nvSpPr>
          <p:spPr>
            <a:xfrm>
              <a:off x="25792225" y="2604524"/>
              <a:ext cx="172801" cy="601714"/>
            </a:xfrm>
            <a:custGeom>
              <a:avLst/>
              <a:gdLst>
                <a:gd name="connsiteX0" fmla="*/ 135772 w 172801"/>
                <a:gd name="connsiteY0" fmla="*/ 601714 h 601714"/>
                <a:gd name="connsiteX1" fmla="*/ 3087 w 172801"/>
                <a:gd name="connsiteY1" fmla="*/ 583200 h 601714"/>
                <a:gd name="connsiteX2" fmla="*/ 0 w 172801"/>
                <a:gd name="connsiteY2" fmla="*/ 583200 h 601714"/>
                <a:gd name="connsiteX3" fmla="*/ 0 w 172801"/>
                <a:gd name="connsiteY3" fmla="*/ 580114 h 601714"/>
                <a:gd name="connsiteX4" fmla="*/ 27772 w 172801"/>
                <a:gd name="connsiteY4" fmla="*/ 216000 h 601714"/>
                <a:gd name="connsiteX5" fmla="*/ 166629 w 172801"/>
                <a:gd name="connsiteY5" fmla="*/ 0 h 601714"/>
                <a:gd name="connsiteX6" fmla="*/ 172801 w 172801"/>
                <a:gd name="connsiteY6" fmla="*/ 3086 h 601714"/>
                <a:gd name="connsiteX7" fmla="*/ 169714 w 172801"/>
                <a:gd name="connsiteY7" fmla="*/ 9257 h 601714"/>
                <a:gd name="connsiteX8" fmla="*/ 40114 w 172801"/>
                <a:gd name="connsiteY8" fmla="*/ 216000 h 601714"/>
                <a:gd name="connsiteX9" fmla="*/ 15429 w 172801"/>
                <a:gd name="connsiteY9" fmla="*/ 573943 h 601714"/>
                <a:gd name="connsiteX10" fmla="*/ 145029 w 172801"/>
                <a:gd name="connsiteY10" fmla="*/ 589372 h 601714"/>
                <a:gd name="connsiteX11" fmla="*/ 145029 w 172801"/>
                <a:gd name="connsiteY11" fmla="*/ 589372 h 601714"/>
                <a:gd name="connsiteX12" fmla="*/ 151201 w 172801"/>
                <a:gd name="connsiteY12" fmla="*/ 595543 h 601714"/>
                <a:gd name="connsiteX13" fmla="*/ 145029 w 172801"/>
                <a:gd name="connsiteY13" fmla="*/ 601714 h 601714"/>
                <a:gd name="connsiteX14" fmla="*/ 135772 w 172801"/>
                <a:gd name="connsiteY14" fmla="*/ 601714 h 601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2801" h="601714">
                  <a:moveTo>
                    <a:pt x="135772" y="601714"/>
                  </a:moveTo>
                  <a:cubicBezTo>
                    <a:pt x="70971" y="601714"/>
                    <a:pt x="6172" y="583200"/>
                    <a:pt x="3087" y="583200"/>
                  </a:cubicBezTo>
                  <a:lnTo>
                    <a:pt x="0" y="583200"/>
                  </a:lnTo>
                  <a:lnTo>
                    <a:pt x="0" y="580114"/>
                  </a:lnTo>
                  <a:cubicBezTo>
                    <a:pt x="0" y="577029"/>
                    <a:pt x="6172" y="398057"/>
                    <a:pt x="27772" y="216000"/>
                  </a:cubicBezTo>
                  <a:cubicBezTo>
                    <a:pt x="49373" y="27771"/>
                    <a:pt x="160458" y="0"/>
                    <a:pt x="166629" y="0"/>
                  </a:cubicBezTo>
                  <a:cubicBezTo>
                    <a:pt x="169714" y="0"/>
                    <a:pt x="172801" y="0"/>
                    <a:pt x="172801" y="3086"/>
                  </a:cubicBezTo>
                  <a:cubicBezTo>
                    <a:pt x="172801" y="6171"/>
                    <a:pt x="172801" y="9257"/>
                    <a:pt x="169714" y="9257"/>
                  </a:cubicBezTo>
                  <a:cubicBezTo>
                    <a:pt x="169714" y="9257"/>
                    <a:pt x="61714" y="37029"/>
                    <a:pt x="40114" y="216000"/>
                  </a:cubicBezTo>
                  <a:cubicBezTo>
                    <a:pt x="21600" y="382629"/>
                    <a:pt x="15429" y="546171"/>
                    <a:pt x="15429" y="573943"/>
                  </a:cubicBezTo>
                  <a:cubicBezTo>
                    <a:pt x="30857" y="577029"/>
                    <a:pt x="89486" y="592457"/>
                    <a:pt x="145029" y="589372"/>
                  </a:cubicBezTo>
                  <a:cubicBezTo>
                    <a:pt x="145029" y="589372"/>
                    <a:pt x="145029" y="589372"/>
                    <a:pt x="145029" y="589372"/>
                  </a:cubicBezTo>
                  <a:cubicBezTo>
                    <a:pt x="148114" y="589372"/>
                    <a:pt x="151201" y="592457"/>
                    <a:pt x="151201" y="595543"/>
                  </a:cubicBezTo>
                  <a:cubicBezTo>
                    <a:pt x="151201" y="598629"/>
                    <a:pt x="148114" y="601714"/>
                    <a:pt x="145029" y="601714"/>
                  </a:cubicBezTo>
                  <a:cubicBezTo>
                    <a:pt x="138857" y="601714"/>
                    <a:pt x="135772" y="601714"/>
                    <a:pt x="135772" y="601714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1C0F523A-0557-451F-B4F8-CB07B78B167D}"/>
                </a:ext>
              </a:extLst>
            </p:cNvPr>
            <p:cNvSpPr/>
            <p:nvPr/>
          </p:nvSpPr>
          <p:spPr>
            <a:xfrm>
              <a:off x="25254691" y="2104639"/>
              <a:ext cx="70478" cy="150141"/>
            </a:xfrm>
            <a:custGeom>
              <a:avLst/>
              <a:gdLst>
                <a:gd name="connsiteX0" fmla="*/ 12963 w 70478"/>
                <a:gd name="connsiteY0" fmla="*/ 64800 h 150141"/>
                <a:gd name="connsiteX1" fmla="*/ 6791 w 70478"/>
                <a:gd name="connsiteY1" fmla="*/ 55543 h 150141"/>
                <a:gd name="connsiteX2" fmla="*/ 3706 w 70478"/>
                <a:gd name="connsiteY2" fmla="*/ 15429 h 150141"/>
                <a:gd name="connsiteX3" fmla="*/ 25307 w 70478"/>
                <a:gd name="connsiteY3" fmla="*/ 0 h 150141"/>
                <a:gd name="connsiteX4" fmla="*/ 40735 w 70478"/>
                <a:gd name="connsiteY4" fmla="*/ 6171 h 150141"/>
                <a:gd name="connsiteX5" fmla="*/ 68506 w 70478"/>
                <a:gd name="connsiteY5" fmla="*/ 86400 h 150141"/>
                <a:gd name="connsiteX6" fmla="*/ 56164 w 70478"/>
                <a:gd name="connsiteY6" fmla="*/ 148114 h 150141"/>
                <a:gd name="connsiteX7" fmla="*/ 25307 w 70478"/>
                <a:gd name="connsiteY7" fmla="*/ 145029 h 150141"/>
                <a:gd name="connsiteX8" fmla="*/ 9878 w 70478"/>
                <a:gd name="connsiteY8" fmla="*/ 114171 h 150141"/>
                <a:gd name="connsiteX9" fmla="*/ 621 w 70478"/>
                <a:gd name="connsiteY9" fmla="*/ 80229 h 150141"/>
                <a:gd name="connsiteX10" fmla="*/ 12963 w 70478"/>
                <a:gd name="connsiteY10" fmla="*/ 64800 h 150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478" h="150141">
                  <a:moveTo>
                    <a:pt x="12963" y="64800"/>
                  </a:moveTo>
                  <a:cubicBezTo>
                    <a:pt x="12963" y="58629"/>
                    <a:pt x="9878" y="58629"/>
                    <a:pt x="6791" y="55543"/>
                  </a:cubicBezTo>
                  <a:cubicBezTo>
                    <a:pt x="-5550" y="40114"/>
                    <a:pt x="3706" y="30857"/>
                    <a:pt x="3706" y="15429"/>
                  </a:cubicBezTo>
                  <a:cubicBezTo>
                    <a:pt x="3706" y="3086"/>
                    <a:pt x="16050" y="0"/>
                    <a:pt x="25307" y="0"/>
                  </a:cubicBezTo>
                  <a:cubicBezTo>
                    <a:pt x="31479" y="0"/>
                    <a:pt x="37649" y="0"/>
                    <a:pt x="40735" y="6171"/>
                  </a:cubicBezTo>
                  <a:cubicBezTo>
                    <a:pt x="56164" y="33943"/>
                    <a:pt x="68506" y="55543"/>
                    <a:pt x="68506" y="86400"/>
                  </a:cubicBezTo>
                  <a:cubicBezTo>
                    <a:pt x="68506" y="111086"/>
                    <a:pt x="77764" y="135771"/>
                    <a:pt x="56164" y="148114"/>
                  </a:cubicBezTo>
                  <a:cubicBezTo>
                    <a:pt x="49992" y="151200"/>
                    <a:pt x="31479" y="151200"/>
                    <a:pt x="25307" y="145029"/>
                  </a:cubicBezTo>
                  <a:cubicBezTo>
                    <a:pt x="12963" y="138857"/>
                    <a:pt x="16050" y="117257"/>
                    <a:pt x="9878" y="114171"/>
                  </a:cubicBezTo>
                  <a:cubicBezTo>
                    <a:pt x="6791" y="101829"/>
                    <a:pt x="-2465" y="95657"/>
                    <a:pt x="621" y="80229"/>
                  </a:cubicBezTo>
                  <a:cubicBezTo>
                    <a:pt x="3706" y="77143"/>
                    <a:pt x="9878" y="70971"/>
                    <a:pt x="12963" y="64800"/>
                  </a:cubicBezTo>
                  <a:close/>
                </a:path>
              </a:pathLst>
            </a:custGeom>
            <a:solidFill>
              <a:srgbClr val="664241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45987B93-B251-4AC6-AE5E-465A11BD05EC}"/>
                </a:ext>
              </a:extLst>
            </p:cNvPr>
            <p:cNvSpPr/>
            <p:nvPr/>
          </p:nvSpPr>
          <p:spPr>
            <a:xfrm>
              <a:off x="25668797" y="2212639"/>
              <a:ext cx="67886" cy="141942"/>
            </a:xfrm>
            <a:custGeom>
              <a:avLst/>
              <a:gdLst>
                <a:gd name="connsiteX0" fmla="*/ 67886 w 67886"/>
                <a:gd name="connsiteY0" fmla="*/ 0 h 141942"/>
                <a:gd name="connsiteX1" fmla="*/ 6172 w 67886"/>
                <a:gd name="connsiteY1" fmla="*/ 141943 h 141942"/>
                <a:gd name="connsiteX2" fmla="*/ 0 w 67886"/>
                <a:gd name="connsiteY2" fmla="*/ 55543 h 141942"/>
                <a:gd name="connsiteX3" fmla="*/ 67886 w 67886"/>
                <a:gd name="connsiteY3" fmla="*/ 0 h 141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86" h="141942">
                  <a:moveTo>
                    <a:pt x="67886" y="0"/>
                  </a:moveTo>
                  <a:cubicBezTo>
                    <a:pt x="67886" y="0"/>
                    <a:pt x="58629" y="120343"/>
                    <a:pt x="6172" y="141943"/>
                  </a:cubicBezTo>
                  <a:lnTo>
                    <a:pt x="0" y="55543"/>
                  </a:lnTo>
                  <a:lnTo>
                    <a:pt x="67886" y="0"/>
                  </a:lnTo>
                  <a:close/>
                </a:path>
              </a:pathLst>
            </a:custGeom>
            <a:solidFill>
              <a:srgbClr val="664241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5AF2D758-31D2-4160-B617-3C1467584D5A}"/>
                </a:ext>
              </a:extLst>
            </p:cNvPr>
            <p:cNvSpPr/>
            <p:nvPr/>
          </p:nvSpPr>
          <p:spPr>
            <a:xfrm>
              <a:off x="25266981" y="2021324"/>
              <a:ext cx="104949" cy="240664"/>
            </a:xfrm>
            <a:custGeom>
              <a:avLst/>
              <a:gdLst>
                <a:gd name="connsiteX0" fmla="*/ 3760 w 104949"/>
                <a:gd name="connsiteY0" fmla="*/ 0 h 240664"/>
                <a:gd name="connsiteX1" fmla="*/ 56216 w 104949"/>
                <a:gd name="connsiteY1" fmla="*/ 237600 h 240664"/>
                <a:gd name="connsiteX2" fmla="*/ 102501 w 104949"/>
                <a:gd name="connsiteY2" fmla="*/ 12343 h 240664"/>
                <a:gd name="connsiteX3" fmla="*/ 3760 w 104949"/>
                <a:gd name="connsiteY3" fmla="*/ 0 h 24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949" h="240664">
                  <a:moveTo>
                    <a:pt x="3760" y="0"/>
                  </a:moveTo>
                  <a:cubicBezTo>
                    <a:pt x="3760" y="0"/>
                    <a:pt x="-20927" y="197486"/>
                    <a:pt x="56216" y="237600"/>
                  </a:cubicBezTo>
                  <a:cubicBezTo>
                    <a:pt x="121017" y="271543"/>
                    <a:pt x="102501" y="12343"/>
                    <a:pt x="102501" y="12343"/>
                  </a:cubicBezTo>
                  <a:lnTo>
                    <a:pt x="3760" y="0"/>
                  </a:lnTo>
                  <a:close/>
                </a:path>
              </a:pathLst>
            </a:custGeom>
            <a:solidFill>
              <a:srgbClr val="664241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77F06F80-6DEB-4FB1-A3BF-36A819C7C0BE}"/>
                </a:ext>
              </a:extLst>
            </p:cNvPr>
            <p:cNvSpPr/>
            <p:nvPr/>
          </p:nvSpPr>
          <p:spPr>
            <a:xfrm>
              <a:off x="25308601" y="1875417"/>
              <a:ext cx="421909" cy="574975"/>
            </a:xfrm>
            <a:custGeom>
              <a:avLst/>
              <a:gdLst>
                <a:gd name="connsiteX0" fmla="*/ 5339 w 421909"/>
                <a:gd name="connsiteY0" fmla="*/ 189108 h 574975"/>
                <a:gd name="connsiteX1" fmla="*/ 11510 w 421909"/>
                <a:gd name="connsiteY1" fmla="*/ 442137 h 574975"/>
                <a:gd name="connsiteX2" fmla="*/ 178140 w 421909"/>
                <a:gd name="connsiteY2" fmla="*/ 574822 h 574975"/>
                <a:gd name="connsiteX3" fmla="*/ 391053 w 421909"/>
                <a:gd name="connsiteY3" fmla="*/ 423622 h 574975"/>
                <a:gd name="connsiteX4" fmla="*/ 421910 w 421909"/>
                <a:gd name="connsiteY4" fmla="*/ 195279 h 574975"/>
                <a:gd name="connsiteX5" fmla="*/ 199738 w 421909"/>
                <a:gd name="connsiteY5" fmla="*/ 879 h 574975"/>
                <a:gd name="connsiteX6" fmla="*/ 5339 w 421909"/>
                <a:gd name="connsiteY6" fmla="*/ 189108 h 574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909" h="574975">
                  <a:moveTo>
                    <a:pt x="5339" y="189108"/>
                  </a:moveTo>
                  <a:cubicBezTo>
                    <a:pt x="5339" y="189108"/>
                    <a:pt x="-10090" y="368079"/>
                    <a:pt x="11510" y="442137"/>
                  </a:cubicBezTo>
                  <a:cubicBezTo>
                    <a:pt x="33111" y="506937"/>
                    <a:pt x="125682" y="571737"/>
                    <a:pt x="178140" y="574822"/>
                  </a:cubicBezTo>
                  <a:cubicBezTo>
                    <a:pt x="246024" y="577908"/>
                    <a:pt x="363283" y="534708"/>
                    <a:pt x="391053" y="423622"/>
                  </a:cubicBezTo>
                  <a:cubicBezTo>
                    <a:pt x="409568" y="349565"/>
                    <a:pt x="421910" y="247737"/>
                    <a:pt x="421910" y="195279"/>
                  </a:cubicBezTo>
                  <a:cubicBezTo>
                    <a:pt x="415738" y="99622"/>
                    <a:pt x="387968" y="19394"/>
                    <a:pt x="199738" y="879"/>
                  </a:cubicBezTo>
                  <a:cubicBezTo>
                    <a:pt x="113339" y="-11464"/>
                    <a:pt x="20767" y="108879"/>
                    <a:pt x="5339" y="189108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DF6A5EAA-AF95-4702-93A1-49644FA38406}"/>
                </a:ext>
              </a:extLst>
            </p:cNvPr>
            <p:cNvSpPr/>
            <p:nvPr/>
          </p:nvSpPr>
          <p:spPr>
            <a:xfrm>
              <a:off x="25446625" y="2141667"/>
              <a:ext cx="58629" cy="138857"/>
            </a:xfrm>
            <a:custGeom>
              <a:avLst/>
              <a:gdLst>
                <a:gd name="connsiteX0" fmla="*/ 30857 w 58629"/>
                <a:gd name="connsiteY0" fmla="*/ 138857 h 138857"/>
                <a:gd name="connsiteX1" fmla="*/ 6172 w 58629"/>
                <a:gd name="connsiteY1" fmla="*/ 132686 h 138857"/>
                <a:gd name="connsiteX2" fmla="*/ 0 w 58629"/>
                <a:gd name="connsiteY2" fmla="*/ 120343 h 138857"/>
                <a:gd name="connsiteX3" fmla="*/ 12344 w 58629"/>
                <a:gd name="connsiteY3" fmla="*/ 6171 h 138857"/>
                <a:gd name="connsiteX4" fmla="*/ 18515 w 58629"/>
                <a:gd name="connsiteY4" fmla="*/ 0 h 138857"/>
                <a:gd name="connsiteX5" fmla="*/ 24687 w 58629"/>
                <a:gd name="connsiteY5" fmla="*/ 6171 h 138857"/>
                <a:gd name="connsiteX6" fmla="*/ 12344 w 58629"/>
                <a:gd name="connsiteY6" fmla="*/ 120343 h 138857"/>
                <a:gd name="connsiteX7" fmla="*/ 12344 w 58629"/>
                <a:gd name="connsiteY7" fmla="*/ 123429 h 138857"/>
                <a:gd name="connsiteX8" fmla="*/ 52458 w 58629"/>
                <a:gd name="connsiteY8" fmla="*/ 123429 h 138857"/>
                <a:gd name="connsiteX9" fmla="*/ 58629 w 58629"/>
                <a:gd name="connsiteY9" fmla="*/ 126514 h 138857"/>
                <a:gd name="connsiteX10" fmla="*/ 55544 w 58629"/>
                <a:gd name="connsiteY10" fmla="*/ 132686 h 138857"/>
                <a:gd name="connsiteX11" fmla="*/ 30857 w 58629"/>
                <a:gd name="connsiteY11" fmla="*/ 138857 h 13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629" h="138857">
                  <a:moveTo>
                    <a:pt x="30857" y="138857"/>
                  </a:moveTo>
                  <a:cubicBezTo>
                    <a:pt x="21600" y="138857"/>
                    <a:pt x="12344" y="138857"/>
                    <a:pt x="6172" y="132686"/>
                  </a:cubicBezTo>
                  <a:cubicBezTo>
                    <a:pt x="3087" y="129600"/>
                    <a:pt x="0" y="126514"/>
                    <a:pt x="0" y="120343"/>
                  </a:cubicBezTo>
                  <a:cubicBezTo>
                    <a:pt x="0" y="98743"/>
                    <a:pt x="12344" y="9257"/>
                    <a:pt x="12344" y="6171"/>
                  </a:cubicBezTo>
                  <a:cubicBezTo>
                    <a:pt x="12344" y="3086"/>
                    <a:pt x="15429" y="0"/>
                    <a:pt x="18515" y="0"/>
                  </a:cubicBezTo>
                  <a:cubicBezTo>
                    <a:pt x="21600" y="0"/>
                    <a:pt x="24687" y="3086"/>
                    <a:pt x="24687" y="6171"/>
                  </a:cubicBezTo>
                  <a:cubicBezTo>
                    <a:pt x="24687" y="6171"/>
                    <a:pt x="12344" y="98743"/>
                    <a:pt x="12344" y="120343"/>
                  </a:cubicBezTo>
                  <a:cubicBezTo>
                    <a:pt x="12344" y="120343"/>
                    <a:pt x="12344" y="123429"/>
                    <a:pt x="12344" y="123429"/>
                  </a:cubicBezTo>
                  <a:cubicBezTo>
                    <a:pt x="18515" y="129600"/>
                    <a:pt x="40116" y="126514"/>
                    <a:pt x="52458" y="123429"/>
                  </a:cubicBezTo>
                  <a:cubicBezTo>
                    <a:pt x="55544" y="123429"/>
                    <a:pt x="58629" y="123429"/>
                    <a:pt x="58629" y="126514"/>
                  </a:cubicBezTo>
                  <a:cubicBezTo>
                    <a:pt x="58629" y="129600"/>
                    <a:pt x="58629" y="132686"/>
                    <a:pt x="55544" y="132686"/>
                  </a:cubicBezTo>
                  <a:cubicBezTo>
                    <a:pt x="52458" y="135771"/>
                    <a:pt x="40116" y="138857"/>
                    <a:pt x="30857" y="138857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0A40AF28-4084-41B8-9F62-2CF7601D3976}"/>
                </a:ext>
              </a:extLst>
            </p:cNvPr>
            <p:cNvSpPr/>
            <p:nvPr/>
          </p:nvSpPr>
          <p:spPr>
            <a:xfrm>
              <a:off x="25371782" y="2119281"/>
              <a:ext cx="41505" cy="41686"/>
            </a:xfrm>
            <a:custGeom>
              <a:avLst/>
              <a:gdLst>
                <a:gd name="connsiteX0" fmla="*/ 40901 w 41505"/>
                <a:gd name="connsiteY0" fmla="*/ 25472 h 41686"/>
                <a:gd name="connsiteX1" fmla="*/ 16215 w 41505"/>
                <a:gd name="connsiteY1" fmla="*/ 40901 h 41686"/>
                <a:gd name="connsiteX2" fmla="*/ 787 w 41505"/>
                <a:gd name="connsiteY2" fmla="*/ 16215 h 41686"/>
                <a:gd name="connsiteX3" fmla="*/ 25472 w 41505"/>
                <a:gd name="connsiteY3" fmla="*/ 786 h 41686"/>
                <a:gd name="connsiteX4" fmla="*/ 40901 w 41505"/>
                <a:gd name="connsiteY4" fmla="*/ 25472 h 41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5" h="41686">
                  <a:moveTo>
                    <a:pt x="40901" y="25472"/>
                  </a:moveTo>
                  <a:cubicBezTo>
                    <a:pt x="37816" y="37815"/>
                    <a:pt x="28557" y="43986"/>
                    <a:pt x="16215" y="40901"/>
                  </a:cubicBezTo>
                  <a:cubicBezTo>
                    <a:pt x="3872" y="37815"/>
                    <a:pt x="-2300" y="28558"/>
                    <a:pt x="787" y="16215"/>
                  </a:cubicBezTo>
                  <a:cubicBezTo>
                    <a:pt x="3872" y="3872"/>
                    <a:pt x="13129" y="-2299"/>
                    <a:pt x="25472" y="786"/>
                  </a:cubicBezTo>
                  <a:cubicBezTo>
                    <a:pt x="34729" y="3872"/>
                    <a:pt x="43986" y="16215"/>
                    <a:pt x="40901" y="25472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E9F5F958-78A0-4292-8A36-A65EB6BB58C9}"/>
                </a:ext>
              </a:extLst>
            </p:cNvPr>
            <p:cNvSpPr/>
            <p:nvPr/>
          </p:nvSpPr>
          <p:spPr>
            <a:xfrm>
              <a:off x="25556925" y="2131624"/>
              <a:ext cx="41505" cy="41686"/>
            </a:xfrm>
            <a:custGeom>
              <a:avLst/>
              <a:gdLst>
                <a:gd name="connsiteX0" fmla="*/ 40901 w 41505"/>
                <a:gd name="connsiteY0" fmla="*/ 25472 h 41686"/>
                <a:gd name="connsiteX1" fmla="*/ 16215 w 41505"/>
                <a:gd name="connsiteY1" fmla="*/ 40901 h 41686"/>
                <a:gd name="connsiteX2" fmla="*/ 787 w 41505"/>
                <a:gd name="connsiteY2" fmla="*/ 16215 h 41686"/>
                <a:gd name="connsiteX3" fmla="*/ 25472 w 41505"/>
                <a:gd name="connsiteY3" fmla="*/ 786 h 41686"/>
                <a:gd name="connsiteX4" fmla="*/ 40901 w 41505"/>
                <a:gd name="connsiteY4" fmla="*/ 25472 h 41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5" h="41686">
                  <a:moveTo>
                    <a:pt x="40901" y="25472"/>
                  </a:moveTo>
                  <a:cubicBezTo>
                    <a:pt x="37816" y="37815"/>
                    <a:pt x="28557" y="43986"/>
                    <a:pt x="16215" y="40901"/>
                  </a:cubicBezTo>
                  <a:cubicBezTo>
                    <a:pt x="3872" y="37815"/>
                    <a:pt x="-2300" y="28558"/>
                    <a:pt x="787" y="16215"/>
                  </a:cubicBezTo>
                  <a:cubicBezTo>
                    <a:pt x="3872" y="3872"/>
                    <a:pt x="13129" y="-2299"/>
                    <a:pt x="25472" y="786"/>
                  </a:cubicBezTo>
                  <a:cubicBezTo>
                    <a:pt x="34729" y="3872"/>
                    <a:pt x="43986" y="16215"/>
                    <a:pt x="40901" y="25472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2E7235EC-194E-4B5C-9EC9-94B31D099CFE}"/>
                </a:ext>
              </a:extLst>
            </p:cNvPr>
            <p:cNvSpPr/>
            <p:nvPr/>
          </p:nvSpPr>
          <p:spPr>
            <a:xfrm>
              <a:off x="25345568" y="2071059"/>
              <a:ext cx="93078" cy="36665"/>
            </a:xfrm>
            <a:custGeom>
              <a:avLst/>
              <a:gdLst>
                <a:gd name="connsiteX0" fmla="*/ 8485 w 93078"/>
                <a:gd name="connsiteY0" fmla="*/ 36665 h 36665"/>
                <a:gd name="connsiteX1" fmla="*/ 2315 w 93078"/>
                <a:gd name="connsiteY1" fmla="*/ 33580 h 36665"/>
                <a:gd name="connsiteX2" fmla="*/ 2315 w 93078"/>
                <a:gd name="connsiteY2" fmla="*/ 21237 h 36665"/>
                <a:gd name="connsiteX3" fmla="*/ 88715 w 93078"/>
                <a:gd name="connsiteY3" fmla="*/ 8894 h 36665"/>
                <a:gd name="connsiteX4" fmla="*/ 91800 w 93078"/>
                <a:gd name="connsiteY4" fmla="*/ 18151 h 36665"/>
                <a:gd name="connsiteX5" fmla="*/ 82543 w 93078"/>
                <a:gd name="connsiteY5" fmla="*/ 21237 h 36665"/>
                <a:gd name="connsiteX6" fmla="*/ 14657 w 93078"/>
                <a:gd name="connsiteY6" fmla="*/ 30494 h 36665"/>
                <a:gd name="connsiteX7" fmla="*/ 8485 w 93078"/>
                <a:gd name="connsiteY7" fmla="*/ 36665 h 36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6665">
                  <a:moveTo>
                    <a:pt x="8485" y="36665"/>
                  </a:moveTo>
                  <a:cubicBezTo>
                    <a:pt x="5400" y="36665"/>
                    <a:pt x="5400" y="36665"/>
                    <a:pt x="2315" y="33580"/>
                  </a:cubicBezTo>
                  <a:cubicBezTo>
                    <a:pt x="-772" y="30494"/>
                    <a:pt x="-772" y="24323"/>
                    <a:pt x="2315" y="21237"/>
                  </a:cubicBezTo>
                  <a:cubicBezTo>
                    <a:pt x="30085" y="-9620"/>
                    <a:pt x="70199" y="-363"/>
                    <a:pt x="88715" y="8894"/>
                  </a:cubicBezTo>
                  <a:cubicBezTo>
                    <a:pt x="91800" y="11980"/>
                    <a:pt x="94887" y="15065"/>
                    <a:pt x="91800" y="18151"/>
                  </a:cubicBezTo>
                  <a:cubicBezTo>
                    <a:pt x="88715" y="21237"/>
                    <a:pt x="85628" y="24323"/>
                    <a:pt x="82543" y="21237"/>
                  </a:cubicBezTo>
                  <a:cubicBezTo>
                    <a:pt x="79458" y="21237"/>
                    <a:pt x="39342" y="2723"/>
                    <a:pt x="14657" y="30494"/>
                  </a:cubicBezTo>
                  <a:cubicBezTo>
                    <a:pt x="11572" y="36665"/>
                    <a:pt x="8485" y="36665"/>
                    <a:pt x="8485" y="36665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4F2D3F3B-E3B8-422C-BA5E-53C4647ACCE3}"/>
                </a:ext>
              </a:extLst>
            </p:cNvPr>
            <p:cNvSpPr/>
            <p:nvPr/>
          </p:nvSpPr>
          <p:spPr>
            <a:xfrm>
              <a:off x="25534085" y="2067785"/>
              <a:ext cx="93826" cy="33767"/>
            </a:xfrm>
            <a:custGeom>
              <a:avLst/>
              <a:gdLst>
                <a:gd name="connsiteX0" fmla="*/ 88426 w 93826"/>
                <a:gd name="connsiteY0" fmla="*/ 33768 h 33767"/>
                <a:gd name="connsiteX1" fmla="*/ 82254 w 93826"/>
                <a:gd name="connsiteY1" fmla="*/ 30682 h 33767"/>
                <a:gd name="connsiteX2" fmla="*/ 14370 w 93826"/>
                <a:gd name="connsiteY2" fmla="*/ 27596 h 33767"/>
                <a:gd name="connsiteX3" fmla="*/ 2026 w 93826"/>
                <a:gd name="connsiteY3" fmla="*/ 24511 h 33767"/>
                <a:gd name="connsiteX4" fmla="*/ 5111 w 93826"/>
                <a:gd name="connsiteY4" fmla="*/ 12168 h 33767"/>
                <a:gd name="connsiteX5" fmla="*/ 91513 w 93826"/>
                <a:gd name="connsiteY5" fmla="*/ 18339 h 33767"/>
                <a:gd name="connsiteX6" fmla="*/ 91513 w 93826"/>
                <a:gd name="connsiteY6" fmla="*/ 30682 h 33767"/>
                <a:gd name="connsiteX7" fmla="*/ 88426 w 93826"/>
                <a:gd name="connsiteY7" fmla="*/ 33768 h 33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26" h="33767">
                  <a:moveTo>
                    <a:pt x="88426" y="33768"/>
                  </a:moveTo>
                  <a:cubicBezTo>
                    <a:pt x="85341" y="33768"/>
                    <a:pt x="85341" y="33768"/>
                    <a:pt x="82254" y="30682"/>
                  </a:cubicBezTo>
                  <a:cubicBezTo>
                    <a:pt x="82254" y="30682"/>
                    <a:pt x="51397" y="-175"/>
                    <a:pt x="14370" y="27596"/>
                  </a:cubicBezTo>
                  <a:cubicBezTo>
                    <a:pt x="11283" y="30682"/>
                    <a:pt x="5111" y="30682"/>
                    <a:pt x="2026" y="24511"/>
                  </a:cubicBezTo>
                  <a:cubicBezTo>
                    <a:pt x="-1059" y="21425"/>
                    <a:pt x="-1059" y="15254"/>
                    <a:pt x="5111" y="12168"/>
                  </a:cubicBezTo>
                  <a:cubicBezTo>
                    <a:pt x="42140" y="-12518"/>
                    <a:pt x="79169" y="5996"/>
                    <a:pt x="91513" y="18339"/>
                  </a:cubicBezTo>
                  <a:cubicBezTo>
                    <a:pt x="94598" y="21425"/>
                    <a:pt x="94598" y="27596"/>
                    <a:pt x="91513" y="30682"/>
                  </a:cubicBezTo>
                  <a:cubicBezTo>
                    <a:pt x="91513" y="30682"/>
                    <a:pt x="91513" y="33768"/>
                    <a:pt x="88426" y="33768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19249119-9552-473F-A0D9-DFC58DEAD258}"/>
                </a:ext>
              </a:extLst>
            </p:cNvPr>
            <p:cNvSpPr/>
            <p:nvPr/>
          </p:nvSpPr>
          <p:spPr>
            <a:xfrm>
              <a:off x="25416539" y="2387246"/>
              <a:ext cx="231935" cy="72249"/>
            </a:xfrm>
            <a:custGeom>
              <a:avLst/>
              <a:gdLst>
                <a:gd name="connsiteX0" fmla="*/ 79458 w 231935"/>
                <a:gd name="connsiteY0" fmla="*/ 69164 h 72249"/>
                <a:gd name="connsiteX1" fmla="*/ 2315 w 231935"/>
                <a:gd name="connsiteY1" fmla="*/ 44478 h 72249"/>
                <a:gd name="connsiteX2" fmla="*/ 2315 w 231935"/>
                <a:gd name="connsiteY2" fmla="*/ 35221 h 72249"/>
                <a:gd name="connsiteX3" fmla="*/ 11572 w 231935"/>
                <a:gd name="connsiteY3" fmla="*/ 35221 h 72249"/>
                <a:gd name="connsiteX4" fmla="*/ 79458 w 231935"/>
                <a:gd name="connsiteY4" fmla="*/ 56821 h 72249"/>
                <a:gd name="connsiteX5" fmla="*/ 82543 w 231935"/>
                <a:gd name="connsiteY5" fmla="*/ 56821 h 72249"/>
                <a:gd name="connsiteX6" fmla="*/ 221400 w 231935"/>
                <a:gd name="connsiteY6" fmla="*/ 1278 h 72249"/>
                <a:gd name="connsiteX7" fmla="*/ 230657 w 231935"/>
                <a:gd name="connsiteY7" fmla="*/ 4364 h 72249"/>
                <a:gd name="connsiteX8" fmla="*/ 227572 w 231935"/>
                <a:gd name="connsiteY8" fmla="*/ 13621 h 72249"/>
                <a:gd name="connsiteX9" fmla="*/ 82543 w 231935"/>
                <a:gd name="connsiteY9" fmla="*/ 72250 h 72249"/>
                <a:gd name="connsiteX10" fmla="*/ 79458 w 231935"/>
                <a:gd name="connsiteY10" fmla="*/ 69164 h 72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1935" h="72249">
                  <a:moveTo>
                    <a:pt x="79458" y="69164"/>
                  </a:moveTo>
                  <a:cubicBezTo>
                    <a:pt x="36257" y="69164"/>
                    <a:pt x="5400" y="44478"/>
                    <a:pt x="2315" y="44478"/>
                  </a:cubicBezTo>
                  <a:cubicBezTo>
                    <a:pt x="-772" y="41392"/>
                    <a:pt x="-772" y="38307"/>
                    <a:pt x="2315" y="35221"/>
                  </a:cubicBezTo>
                  <a:cubicBezTo>
                    <a:pt x="5400" y="32135"/>
                    <a:pt x="8487" y="32135"/>
                    <a:pt x="11572" y="35221"/>
                  </a:cubicBezTo>
                  <a:cubicBezTo>
                    <a:pt x="11572" y="35221"/>
                    <a:pt x="42429" y="56821"/>
                    <a:pt x="79458" y="56821"/>
                  </a:cubicBezTo>
                  <a:cubicBezTo>
                    <a:pt x="79458" y="56821"/>
                    <a:pt x="82543" y="56821"/>
                    <a:pt x="82543" y="56821"/>
                  </a:cubicBezTo>
                  <a:cubicBezTo>
                    <a:pt x="131916" y="53735"/>
                    <a:pt x="221400" y="1278"/>
                    <a:pt x="221400" y="1278"/>
                  </a:cubicBezTo>
                  <a:cubicBezTo>
                    <a:pt x="224487" y="-1808"/>
                    <a:pt x="227572" y="1278"/>
                    <a:pt x="230657" y="4364"/>
                  </a:cubicBezTo>
                  <a:cubicBezTo>
                    <a:pt x="233744" y="7450"/>
                    <a:pt x="230657" y="10535"/>
                    <a:pt x="227572" y="13621"/>
                  </a:cubicBezTo>
                  <a:cubicBezTo>
                    <a:pt x="224487" y="16707"/>
                    <a:pt x="135000" y="69164"/>
                    <a:pt x="82543" y="72250"/>
                  </a:cubicBezTo>
                  <a:cubicBezTo>
                    <a:pt x="82543" y="69164"/>
                    <a:pt x="79458" y="69164"/>
                    <a:pt x="79458" y="69164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17B2933F-7B4F-4870-8A1D-3CEAE2723FAD}"/>
                </a:ext>
              </a:extLst>
            </p:cNvPr>
            <p:cNvSpPr/>
            <p:nvPr/>
          </p:nvSpPr>
          <p:spPr>
            <a:xfrm>
              <a:off x="25695714" y="2126494"/>
              <a:ext cx="77917" cy="114391"/>
            </a:xfrm>
            <a:custGeom>
              <a:avLst/>
              <a:gdLst>
                <a:gd name="connsiteX0" fmla="*/ 10111 w 77917"/>
                <a:gd name="connsiteY0" fmla="*/ 18259 h 114391"/>
                <a:gd name="connsiteX1" fmla="*/ 68741 w 77917"/>
                <a:gd name="connsiteY1" fmla="*/ 5916 h 114391"/>
                <a:gd name="connsiteX2" fmla="*/ 13196 w 77917"/>
                <a:gd name="connsiteY2" fmla="*/ 110830 h 114391"/>
                <a:gd name="connsiteX3" fmla="*/ 10111 w 77917"/>
                <a:gd name="connsiteY3" fmla="*/ 18259 h 114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917" h="114391">
                  <a:moveTo>
                    <a:pt x="10111" y="18259"/>
                  </a:moveTo>
                  <a:cubicBezTo>
                    <a:pt x="10111" y="18259"/>
                    <a:pt x="44053" y="-12598"/>
                    <a:pt x="68741" y="5916"/>
                  </a:cubicBezTo>
                  <a:cubicBezTo>
                    <a:pt x="96511" y="24430"/>
                    <a:pt x="56397" y="135516"/>
                    <a:pt x="13196" y="110830"/>
                  </a:cubicBezTo>
                  <a:cubicBezTo>
                    <a:pt x="-14574" y="95402"/>
                    <a:pt x="10111" y="18259"/>
                    <a:pt x="10111" y="18259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DCF72346-4049-4774-B6AE-025A329028A4}"/>
                </a:ext>
              </a:extLst>
            </p:cNvPr>
            <p:cNvSpPr/>
            <p:nvPr/>
          </p:nvSpPr>
          <p:spPr>
            <a:xfrm>
              <a:off x="25253044" y="1760244"/>
              <a:ext cx="517264" cy="387594"/>
            </a:xfrm>
            <a:custGeom>
              <a:avLst/>
              <a:gdLst>
                <a:gd name="connsiteX0" fmla="*/ 452782 w 517264"/>
                <a:gd name="connsiteY0" fmla="*/ 131480 h 387594"/>
                <a:gd name="connsiteX1" fmla="*/ 434268 w 517264"/>
                <a:gd name="connsiteY1" fmla="*/ 91366 h 387594"/>
                <a:gd name="connsiteX2" fmla="*/ 421925 w 517264"/>
                <a:gd name="connsiteY2" fmla="*/ 94452 h 387594"/>
                <a:gd name="connsiteX3" fmla="*/ 391068 w 517264"/>
                <a:gd name="connsiteY3" fmla="*/ 72852 h 387594"/>
                <a:gd name="connsiteX4" fmla="*/ 375639 w 517264"/>
                <a:gd name="connsiteY4" fmla="*/ 54338 h 387594"/>
                <a:gd name="connsiteX5" fmla="*/ 344782 w 517264"/>
                <a:gd name="connsiteY5" fmla="*/ 23480 h 387594"/>
                <a:gd name="connsiteX6" fmla="*/ 310840 w 517264"/>
                <a:gd name="connsiteY6" fmla="*/ 20395 h 387594"/>
                <a:gd name="connsiteX7" fmla="*/ 252210 w 517264"/>
                <a:gd name="connsiteY7" fmla="*/ 8052 h 387594"/>
                <a:gd name="connsiteX8" fmla="*/ 239867 w 517264"/>
                <a:gd name="connsiteY8" fmla="*/ 1880 h 387594"/>
                <a:gd name="connsiteX9" fmla="*/ 116438 w 517264"/>
                <a:gd name="connsiteY9" fmla="*/ 41995 h 387594"/>
                <a:gd name="connsiteX10" fmla="*/ 54724 w 517264"/>
                <a:gd name="connsiteY10" fmla="*/ 66680 h 387594"/>
                <a:gd name="connsiteX11" fmla="*/ 39295 w 517264"/>
                <a:gd name="connsiteY11" fmla="*/ 109880 h 387594"/>
                <a:gd name="connsiteX12" fmla="*/ 20782 w 517264"/>
                <a:gd name="connsiteY12" fmla="*/ 140738 h 387594"/>
                <a:gd name="connsiteX13" fmla="*/ 14610 w 517264"/>
                <a:gd name="connsiteY13" fmla="*/ 177766 h 387594"/>
                <a:gd name="connsiteX14" fmla="*/ 20782 w 517264"/>
                <a:gd name="connsiteY14" fmla="*/ 211709 h 387594"/>
                <a:gd name="connsiteX15" fmla="*/ 2268 w 517264"/>
                <a:gd name="connsiteY15" fmla="*/ 254909 h 387594"/>
                <a:gd name="connsiteX16" fmla="*/ 23867 w 517264"/>
                <a:gd name="connsiteY16" fmla="*/ 353652 h 387594"/>
                <a:gd name="connsiteX17" fmla="*/ 33126 w 517264"/>
                <a:gd name="connsiteY17" fmla="*/ 356738 h 387594"/>
                <a:gd name="connsiteX18" fmla="*/ 42382 w 517264"/>
                <a:gd name="connsiteY18" fmla="*/ 387595 h 387594"/>
                <a:gd name="connsiteX19" fmla="*/ 57811 w 517264"/>
                <a:gd name="connsiteY19" fmla="*/ 332052 h 387594"/>
                <a:gd name="connsiteX20" fmla="*/ 85581 w 517264"/>
                <a:gd name="connsiteY20" fmla="*/ 319709 h 387594"/>
                <a:gd name="connsiteX21" fmla="*/ 104097 w 517264"/>
                <a:gd name="connsiteY21" fmla="*/ 298109 h 387594"/>
                <a:gd name="connsiteX22" fmla="*/ 110268 w 517264"/>
                <a:gd name="connsiteY22" fmla="*/ 288852 h 387594"/>
                <a:gd name="connsiteX23" fmla="*/ 116438 w 517264"/>
                <a:gd name="connsiteY23" fmla="*/ 285766 h 387594"/>
                <a:gd name="connsiteX24" fmla="*/ 122610 w 517264"/>
                <a:gd name="connsiteY24" fmla="*/ 282681 h 387594"/>
                <a:gd name="connsiteX25" fmla="*/ 128782 w 517264"/>
                <a:gd name="connsiteY25" fmla="*/ 276509 h 387594"/>
                <a:gd name="connsiteX26" fmla="*/ 138039 w 517264"/>
                <a:gd name="connsiteY26" fmla="*/ 270338 h 387594"/>
                <a:gd name="connsiteX27" fmla="*/ 150382 w 517264"/>
                <a:gd name="connsiteY27" fmla="*/ 273423 h 387594"/>
                <a:gd name="connsiteX28" fmla="*/ 162724 w 517264"/>
                <a:gd name="connsiteY28" fmla="*/ 273423 h 387594"/>
                <a:gd name="connsiteX29" fmla="*/ 199753 w 517264"/>
                <a:gd name="connsiteY29" fmla="*/ 264166 h 387594"/>
                <a:gd name="connsiteX30" fmla="*/ 252210 w 517264"/>
                <a:gd name="connsiteY30" fmla="*/ 245652 h 387594"/>
                <a:gd name="connsiteX31" fmla="*/ 267639 w 517264"/>
                <a:gd name="connsiteY31" fmla="*/ 254909 h 387594"/>
                <a:gd name="connsiteX32" fmla="*/ 304668 w 517264"/>
                <a:gd name="connsiteY32" fmla="*/ 233309 h 387594"/>
                <a:gd name="connsiteX33" fmla="*/ 317010 w 517264"/>
                <a:gd name="connsiteY33" fmla="*/ 236395 h 387594"/>
                <a:gd name="connsiteX34" fmla="*/ 397239 w 517264"/>
                <a:gd name="connsiteY34" fmla="*/ 261080 h 387594"/>
                <a:gd name="connsiteX35" fmla="*/ 406496 w 517264"/>
                <a:gd name="connsiteY35" fmla="*/ 264166 h 387594"/>
                <a:gd name="connsiteX36" fmla="*/ 458954 w 517264"/>
                <a:gd name="connsiteY36" fmla="*/ 387595 h 387594"/>
                <a:gd name="connsiteX37" fmla="*/ 514496 w 517264"/>
                <a:gd name="connsiteY37" fmla="*/ 301195 h 387594"/>
                <a:gd name="connsiteX38" fmla="*/ 452782 w 517264"/>
                <a:gd name="connsiteY38" fmla="*/ 131480 h 387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7264" h="387594">
                  <a:moveTo>
                    <a:pt x="452782" y="131480"/>
                  </a:moveTo>
                  <a:cubicBezTo>
                    <a:pt x="452782" y="116052"/>
                    <a:pt x="449697" y="100623"/>
                    <a:pt x="434268" y="91366"/>
                  </a:cubicBezTo>
                  <a:cubicBezTo>
                    <a:pt x="418840" y="79023"/>
                    <a:pt x="421925" y="91366"/>
                    <a:pt x="421925" y="94452"/>
                  </a:cubicBezTo>
                  <a:cubicBezTo>
                    <a:pt x="412668" y="88280"/>
                    <a:pt x="403411" y="82109"/>
                    <a:pt x="391068" y="72852"/>
                  </a:cubicBezTo>
                  <a:cubicBezTo>
                    <a:pt x="384896" y="66680"/>
                    <a:pt x="381811" y="60509"/>
                    <a:pt x="375639" y="54338"/>
                  </a:cubicBezTo>
                  <a:cubicBezTo>
                    <a:pt x="366382" y="41995"/>
                    <a:pt x="357126" y="29652"/>
                    <a:pt x="344782" y="23480"/>
                  </a:cubicBezTo>
                  <a:cubicBezTo>
                    <a:pt x="332438" y="17309"/>
                    <a:pt x="323182" y="20395"/>
                    <a:pt x="310840" y="20395"/>
                  </a:cubicBezTo>
                  <a:cubicBezTo>
                    <a:pt x="289239" y="23480"/>
                    <a:pt x="273811" y="17309"/>
                    <a:pt x="252210" y="8052"/>
                  </a:cubicBezTo>
                  <a:cubicBezTo>
                    <a:pt x="246039" y="4966"/>
                    <a:pt x="242954" y="1880"/>
                    <a:pt x="239867" y="1880"/>
                  </a:cubicBezTo>
                  <a:cubicBezTo>
                    <a:pt x="193581" y="-10462"/>
                    <a:pt x="159639" y="41995"/>
                    <a:pt x="116438" y="41995"/>
                  </a:cubicBezTo>
                  <a:cubicBezTo>
                    <a:pt x="91753" y="41995"/>
                    <a:pt x="67068" y="38909"/>
                    <a:pt x="54724" y="66680"/>
                  </a:cubicBezTo>
                  <a:cubicBezTo>
                    <a:pt x="48554" y="82109"/>
                    <a:pt x="48554" y="94452"/>
                    <a:pt x="39295" y="109880"/>
                  </a:cubicBezTo>
                  <a:cubicBezTo>
                    <a:pt x="33126" y="119138"/>
                    <a:pt x="26954" y="128395"/>
                    <a:pt x="20782" y="140738"/>
                  </a:cubicBezTo>
                  <a:cubicBezTo>
                    <a:pt x="14610" y="149995"/>
                    <a:pt x="11525" y="165423"/>
                    <a:pt x="14610" y="177766"/>
                  </a:cubicBezTo>
                  <a:cubicBezTo>
                    <a:pt x="17697" y="196281"/>
                    <a:pt x="26954" y="196281"/>
                    <a:pt x="20782" y="211709"/>
                  </a:cubicBezTo>
                  <a:cubicBezTo>
                    <a:pt x="14610" y="227138"/>
                    <a:pt x="5353" y="239480"/>
                    <a:pt x="2268" y="254909"/>
                  </a:cubicBezTo>
                  <a:cubicBezTo>
                    <a:pt x="-3903" y="288852"/>
                    <a:pt x="2268" y="322795"/>
                    <a:pt x="23867" y="353652"/>
                  </a:cubicBezTo>
                  <a:cubicBezTo>
                    <a:pt x="26954" y="356738"/>
                    <a:pt x="30039" y="356738"/>
                    <a:pt x="33126" y="356738"/>
                  </a:cubicBezTo>
                  <a:cubicBezTo>
                    <a:pt x="36210" y="375252"/>
                    <a:pt x="42382" y="387595"/>
                    <a:pt x="42382" y="387595"/>
                  </a:cubicBezTo>
                  <a:cubicBezTo>
                    <a:pt x="36210" y="369080"/>
                    <a:pt x="45467" y="350566"/>
                    <a:pt x="57811" y="332052"/>
                  </a:cubicBezTo>
                  <a:cubicBezTo>
                    <a:pt x="67068" y="328966"/>
                    <a:pt x="79411" y="325881"/>
                    <a:pt x="85581" y="319709"/>
                  </a:cubicBezTo>
                  <a:cubicBezTo>
                    <a:pt x="94840" y="313538"/>
                    <a:pt x="97925" y="304281"/>
                    <a:pt x="104097" y="298109"/>
                  </a:cubicBezTo>
                  <a:cubicBezTo>
                    <a:pt x="104097" y="295023"/>
                    <a:pt x="107182" y="291938"/>
                    <a:pt x="110268" y="288852"/>
                  </a:cubicBezTo>
                  <a:cubicBezTo>
                    <a:pt x="113353" y="288852"/>
                    <a:pt x="116438" y="285766"/>
                    <a:pt x="116438" y="285766"/>
                  </a:cubicBezTo>
                  <a:cubicBezTo>
                    <a:pt x="119525" y="285766"/>
                    <a:pt x="119525" y="285766"/>
                    <a:pt x="122610" y="282681"/>
                  </a:cubicBezTo>
                  <a:cubicBezTo>
                    <a:pt x="122610" y="279595"/>
                    <a:pt x="125697" y="279595"/>
                    <a:pt x="128782" y="276509"/>
                  </a:cubicBezTo>
                  <a:cubicBezTo>
                    <a:pt x="131867" y="273423"/>
                    <a:pt x="134954" y="273423"/>
                    <a:pt x="138039" y="270338"/>
                  </a:cubicBezTo>
                  <a:cubicBezTo>
                    <a:pt x="141126" y="270338"/>
                    <a:pt x="147295" y="270338"/>
                    <a:pt x="150382" y="273423"/>
                  </a:cubicBezTo>
                  <a:cubicBezTo>
                    <a:pt x="153467" y="273423"/>
                    <a:pt x="159639" y="273423"/>
                    <a:pt x="162724" y="273423"/>
                  </a:cubicBezTo>
                  <a:cubicBezTo>
                    <a:pt x="175068" y="273423"/>
                    <a:pt x="187411" y="270338"/>
                    <a:pt x="199753" y="264166"/>
                  </a:cubicBezTo>
                  <a:cubicBezTo>
                    <a:pt x="218268" y="254909"/>
                    <a:pt x="227525" y="239480"/>
                    <a:pt x="252210" y="245652"/>
                  </a:cubicBezTo>
                  <a:cubicBezTo>
                    <a:pt x="258382" y="248738"/>
                    <a:pt x="261467" y="254909"/>
                    <a:pt x="267639" y="254909"/>
                  </a:cubicBezTo>
                  <a:cubicBezTo>
                    <a:pt x="283068" y="257995"/>
                    <a:pt x="295411" y="245652"/>
                    <a:pt x="304668" y="233309"/>
                  </a:cubicBezTo>
                  <a:cubicBezTo>
                    <a:pt x="307753" y="233309"/>
                    <a:pt x="313925" y="236395"/>
                    <a:pt x="317010" y="236395"/>
                  </a:cubicBezTo>
                  <a:cubicBezTo>
                    <a:pt x="341697" y="251823"/>
                    <a:pt x="366382" y="261080"/>
                    <a:pt x="397239" y="261080"/>
                  </a:cubicBezTo>
                  <a:cubicBezTo>
                    <a:pt x="403411" y="264166"/>
                    <a:pt x="406496" y="264166"/>
                    <a:pt x="406496" y="264166"/>
                  </a:cubicBezTo>
                  <a:cubicBezTo>
                    <a:pt x="406496" y="264166"/>
                    <a:pt x="465126" y="356738"/>
                    <a:pt x="458954" y="387595"/>
                  </a:cubicBezTo>
                  <a:cubicBezTo>
                    <a:pt x="458954" y="387595"/>
                    <a:pt x="502153" y="356738"/>
                    <a:pt x="514496" y="301195"/>
                  </a:cubicBezTo>
                  <a:cubicBezTo>
                    <a:pt x="523753" y="239480"/>
                    <a:pt x="511411" y="153081"/>
                    <a:pt x="452782" y="131480"/>
                  </a:cubicBezTo>
                  <a:close/>
                </a:path>
              </a:pathLst>
            </a:custGeom>
            <a:solidFill>
              <a:srgbClr val="664241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1A987523-67D5-4FB2-9D0C-35A690EBDC03}"/>
                </a:ext>
              </a:extLst>
            </p:cNvPr>
            <p:cNvSpPr/>
            <p:nvPr/>
          </p:nvSpPr>
          <p:spPr>
            <a:xfrm>
              <a:off x="25443540" y="2333753"/>
              <a:ext cx="116485" cy="39342"/>
            </a:xfrm>
            <a:custGeom>
              <a:avLst/>
              <a:gdLst>
                <a:gd name="connsiteX0" fmla="*/ 37029 w 116485"/>
                <a:gd name="connsiteY0" fmla="*/ 39343 h 39342"/>
                <a:gd name="connsiteX1" fmla="*/ 6172 w 116485"/>
                <a:gd name="connsiteY1" fmla="*/ 36257 h 39342"/>
                <a:gd name="connsiteX2" fmla="*/ 0 w 116485"/>
                <a:gd name="connsiteY2" fmla="*/ 30086 h 39342"/>
                <a:gd name="connsiteX3" fmla="*/ 6172 w 116485"/>
                <a:gd name="connsiteY3" fmla="*/ 23914 h 39342"/>
                <a:gd name="connsiteX4" fmla="*/ 104915 w 116485"/>
                <a:gd name="connsiteY4" fmla="*/ 2314 h 39342"/>
                <a:gd name="connsiteX5" fmla="*/ 114172 w 116485"/>
                <a:gd name="connsiteY5" fmla="*/ 2314 h 39342"/>
                <a:gd name="connsiteX6" fmla="*/ 114172 w 116485"/>
                <a:gd name="connsiteY6" fmla="*/ 11571 h 39342"/>
                <a:gd name="connsiteX7" fmla="*/ 37029 w 116485"/>
                <a:gd name="connsiteY7" fmla="*/ 39343 h 3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485" h="39342">
                  <a:moveTo>
                    <a:pt x="37029" y="39343"/>
                  </a:moveTo>
                  <a:cubicBezTo>
                    <a:pt x="21600" y="39343"/>
                    <a:pt x="9257" y="36257"/>
                    <a:pt x="6172" y="36257"/>
                  </a:cubicBezTo>
                  <a:cubicBezTo>
                    <a:pt x="3085" y="36257"/>
                    <a:pt x="0" y="33171"/>
                    <a:pt x="0" y="30086"/>
                  </a:cubicBezTo>
                  <a:cubicBezTo>
                    <a:pt x="0" y="27000"/>
                    <a:pt x="3085" y="23914"/>
                    <a:pt x="6172" y="23914"/>
                  </a:cubicBezTo>
                  <a:cubicBezTo>
                    <a:pt x="6172" y="23914"/>
                    <a:pt x="74058" y="36257"/>
                    <a:pt x="104915" y="2314"/>
                  </a:cubicBezTo>
                  <a:cubicBezTo>
                    <a:pt x="108000" y="-771"/>
                    <a:pt x="111085" y="-771"/>
                    <a:pt x="114172" y="2314"/>
                  </a:cubicBezTo>
                  <a:cubicBezTo>
                    <a:pt x="117257" y="5400"/>
                    <a:pt x="117257" y="8486"/>
                    <a:pt x="114172" y="11571"/>
                  </a:cubicBezTo>
                  <a:cubicBezTo>
                    <a:pt x="95656" y="36257"/>
                    <a:pt x="61714" y="39343"/>
                    <a:pt x="37029" y="39343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3" name="图形 1">
              <a:extLst>
                <a:ext uri="{FF2B5EF4-FFF2-40B4-BE49-F238E27FC236}">
                  <a16:creationId xmlns:a16="http://schemas.microsoft.com/office/drawing/2014/main" id="{1FC158D9-6A50-4F1B-B4B4-648F45D08A0C}"/>
                </a:ext>
              </a:extLst>
            </p:cNvPr>
            <p:cNvGrpSpPr/>
            <p:nvPr/>
          </p:nvGrpSpPr>
          <p:grpSpPr>
            <a:xfrm>
              <a:off x="25152120" y="1761758"/>
              <a:ext cx="617034" cy="382995"/>
              <a:chOff x="25152120" y="1761758"/>
              <a:chExt cx="617034" cy="382995"/>
            </a:xfrm>
          </p:grpSpPr>
          <p:grpSp>
            <p:nvGrpSpPr>
              <p:cNvPr id="155" name="图形 1">
                <a:extLst>
                  <a:ext uri="{FF2B5EF4-FFF2-40B4-BE49-F238E27FC236}">
                    <a16:creationId xmlns:a16="http://schemas.microsoft.com/office/drawing/2014/main" id="{7665DD89-4027-45FC-A7B9-134790E2CD9B}"/>
                  </a:ext>
                </a:extLst>
              </p:cNvPr>
              <p:cNvGrpSpPr/>
              <p:nvPr/>
            </p:nvGrpSpPr>
            <p:grpSpPr>
              <a:xfrm>
                <a:off x="25152314" y="1761758"/>
                <a:ext cx="616840" cy="382995"/>
                <a:chOff x="25152314" y="1761758"/>
                <a:chExt cx="616840" cy="382995"/>
              </a:xfrm>
            </p:grpSpPr>
            <p:sp>
              <p:nvSpPr>
                <p:cNvPr id="157" name="任意多边形: 形状 156">
                  <a:extLst>
                    <a:ext uri="{FF2B5EF4-FFF2-40B4-BE49-F238E27FC236}">
                      <a16:creationId xmlns:a16="http://schemas.microsoft.com/office/drawing/2014/main" id="{C524A2B9-6914-4A64-89EA-E99E44E6961A}"/>
                    </a:ext>
                  </a:extLst>
                </p:cNvPr>
                <p:cNvSpPr/>
                <p:nvPr/>
              </p:nvSpPr>
              <p:spPr>
                <a:xfrm>
                  <a:off x="25270712" y="1761758"/>
                  <a:ext cx="498441" cy="382995"/>
                </a:xfrm>
                <a:custGeom>
                  <a:avLst/>
                  <a:gdLst>
                    <a:gd name="connsiteX0" fmla="*/ 398084 w 498441"/>
                    <a:gd name="connsiteY0" fmla="*/ 219453 h 382995"/>
                    <a:gd name="connsiteX1" fmla="*/ 435113 w 498441"/>
                    <a:gd name="connsiteY1" fmla="*/ 382995 h 382995"/>
                    <a:gd name="connsiteX2" fmla="*/ 462885 w 498441"/>
                    <a:gd name="connsiteY2" fmla="*/ 367567 h 382995"/>
                    <a:gd name="connsiteX3" fmla="*/ 370314 w 498441"/>
                    <a:gd name="connsiteY3" fmla="*/ 37395 h 382995"/>
                    <a:gd name="connsiteX4" fmla="*/ 28 w 498441"/>
                    <a:gd name="connsiteY4" fmla="*/ 136138 h 382995"/>
                    <a:gd name="connsiteX5" fmla="*/ 398084 w 498441"/>
                    <a:gd name="connsiteY5" fmla="*/ 219453 h 3829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8441" h="382995">
                      <a:moveTo>
                        <a:pt x="398084" y="219453"/>
                      </a:moveTo>
                      <a:cubicBezTo>
                        <a:pt x="413513" y="234881"/>
                        <a:pt x="432028" y="315110"/>
                        <a:pt x="435113" y="382995"/>
                      </a:cubicBezTo>
                      <a:cubicBezTo>
                        <a:pt x="435113" y="382995"/>
                        <a:pt x="450542" y="373738"/>
                        <a:pt x="462885" y="367567"/>
                      </a:cubicBezTo>
                      <a:cubicBezTo>
                        <a:pt x="499913" y="302767"/>
                        <a:pt x="549285" y="142310"/>
                        <a:pt x="370314" y="37395"/>
                      </a:cubicBezTo>
                      <a:cubicBezTo>
                        <a:pt x="216028" y="-52090"/>
                        <a:pt x="64828" y="34310"/>
                        <a:pt x="28" y="136138"/>
                      </a:cubicBezTo>
                      <a:cubicBezTo>
                        <a:pt x="-3059" y="139224"/>
                        <a:pt x="246885" y="68253"/>
                        <a:pt x="398084" y="21945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8" name="任意多边形: 形状 157">
                  <a:extLst>
                    <a:ext uri="{FF2B5EF4-FFF2-40B4-BE49-F238E27FC236}">
                      <a16:creationId xmlns:a16="http://schemas.microsoft.com/office/drawing/2014/main" id="{8545BAA1-C42E-4075-BCC7-034474919E59}"/>
                    </a:ext>
                  </a:extLst>
                </p:cNvPr>
                <p:cNvSpPr/>
                <p:nvPr/>
              </p:nvSpPr>
              <p:spPr>
                <a:xfrm>
                  <a:off x="25152314" y="1800824"/>
                  <a:ext cx="528826" cy="257529"/>
                </a:xfrm>
                <a:custGeom>
                  <a:avLst/>
                  <a:gdLst>
                    <a:gd name="connsiteX0" fmla="*/ 528827 w 528826"/>
                    <a:gd name="connsiteY0" fmla="*/ 195815 h 257529"/>
                    <a:gd name="connsiteX1" fmla="*/ 325168 w 528826"/>
                    <a:gd name="connsiteY1" fmla="*/ 44615 h 257529"/>
                    <a:gd name="connsiteX2" fmla="*/ 4255 w 528826"/>
                    <a:gd name="connsiteY2" fmla="*/ 66215 h 257529"/>
                    <a:gd name="connsiteX3" fmla="*/ 93740 w 528826"/>
                    <a:gd name="connsiteY3" fmla="*/ 257529 h 257529"/>
                    <a:gd name="connsiteX4" fmla="*/ 528827 w 528826"/>
                    <a:gd name="connsiteY4" fmla="*/ 195815 h 257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8826" h="257529">
                      <a:moveTo>
                        <a:pt x="528827" y="195815"/>
                      </a:moveTo>
                      <a:cubicBezTo>
                        <a:pt x="528827" y="195815"/>
                        <a:pt x="470197" y="112501"/>
                        <a:pt x="325168" y="44615"/>
                      </a:cubicBezTo>
                      <a:cubicBezTo>
                        <a:pt x="173970" y="-26356"/>
                        <a:pt x="32026" y="-7842"/>
                        <a:pt x="4255" y="66215"/>
                      </a:cubicBezTo>
                      <a:cubicBezTo>
                        <a:pt x="-23517" y="140272"/>
                        <a:pt x="93740" y="257529"/>
                        <a:pt x="93740" y="257529"/>
                      </a:cubicBezTo>
                      <a:cubicBezTo>
                        <a:pt x="93740" y="257529"/>
                        <a:pt x="263454" y="84729"/>
                        <a:pt x="528827" y="195815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9" name="任意多边形: 形状 158">
                  <a:extLst>
                    <a:ext uri="{FF2B5EF4-FFF2-40B4-BE49-F238E27FC236}">
                      <a16:creationId xmlns:a16="http://schemas.microsoft.com/office/drawing/2014/main" id="{44AAB9C9-5700-44CC-AE47-5680952E27C7}"/>
                    </a:ext>
                  </a:extLst>
                </p:cNvPr>
                <p:cNvSpPr/>
                <p:nvPr/>
              </p:nvSpPr>
              <p:spPr>
                <a:xfrm>
                  <a:off x="25613254" y="1762125"/>
                  <a:ext cx="58629" cy="55542"/>
                </a:xfrm>
                <a:custGeom>
                  <a:avLst/>
                  <a:gdLst>
                    <a:gd name="connsiteX0" fmla="*/ 58629 w 58629"/>
                    <a:gd name="connsiteY0" fmla="*/ 27771 h 55542"/>
                    <a:gd name="connsiteX1" fmla="*/ 27772 w 58629"/>
                    <a:gd name="connsiteY1" fmla="*/ 0 h 55542"/>
                    <a:gd name="connsiteX2" fmla="*/ 0 w 58629"/>
                    <a:gd name="connsiteY2" fmla="*/ 27771 h 55542"/>
                    <a:gd name="connsiteX3" fmla="*/ 30857 w 58629"/>
                    <a:gd name="connsiteY3" fmla="*/ 55543 h 55542"/>
                    <a:gd name="connsiteX4" fmla="*/ 58629 w 58629"/>
                    <a:gd name="connsiteY4" fmla="*/ 27771 h 55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8629" h="55542">
                      <a:moveTo>
                        <a:pt x="58629" y="27771"/>
                      </a:moveTo>
                      <a:cubicBezTo>
                        <a:pt x="58629" y="12343"/>
                        <a:pt x="46286" y="0"/>
                        <a:pt x="27772" y="0"/>
                      </a:cubicBezTo>
                      <a:cubicBezTo>
                        <a:pt x="12344" y="0"/>
                        <a:pt x="0" y="12343"/>
                        <a:pt x="0" y="27771"/>
                      </a:cubicBezTo>
                      <a:cubicBezTo>
                        <a:pt x="0" y="43200"/>
                        <a:pt x="12344" y="55543"/>
                        <a:pt x="30857" y="55543"/>
                      </a:cubicBezTo>
                      <a:cubicBezTo>
                        <a:pt x="43201" y="55543"/>
                        <a:pt x="58629" y="43200"/>
                        <a:pt x="58629" y="27771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08801A67-2023-4AF6-B2CA-77E9F4CB8F45}"/>
                  </a:ext>
                </a:extLst>
              </p:cNvPr>
              <p:cNvSpPr/>
              <p:nvPr/>
            </p:nvSpPr>
            <p:spPr>
              <a:xfrm>
                <a:off x="25152120" y="1793198"/>
                <a:ext cx="537505" cy="271326"/>
              </a:xfrm>
              <a:custGeom>
                <a:avLst/>
                <a:gdLst>
                  <a:gd name="connsiteX0" fmla="*/ 97020 w 537505"/>
                  <a:gd name="connsiteY0" fmla="*/ 268241 h 271326"/>
                  <a:gd name="connsiteX1" fmla="*/ 93933 w 537505"/>
                  <a:gd name="connsiteY1" fmla="*/ 265155 h 271326"/>
                  <a:gd name="connsiteX2" fmla="*/ 4449 w 537505"/>
                  <a:gd name="connsiteY2" fmla="*/ 67669 h 271326"/>
                  <a:gd name="connsiteX3" fmla="*/ 195764 w 537505"/>
                  <a:gd name="connsiteY3" fmla="*/ 5955 h 271326"/>
                  <a:gd name="connsiteX4" fmla="*/ 535192 w 537505"/>
                  <a:gd name="connsiteY4" fmla="*/ 197269 h 271326"/>
                  <a:gd name="connsiteX5" fmla="*/ 535192 w 537505"/>
                  <a:gd name="connsiteY5" fmla="*/ 206526 h 271326"/>
                  <a:gd name="connsiteX6" fmla="*/ 525934 w 537505"/>
                  <a:gd name="connsiteY6" fmla="*/ 206526 h 271326"/>
                  <a:gd name="connsiteX7" fmla="*/ 192677 w 537505"/>
                  <a:gd name="connsiteY7" fmla="*/ 21383 h 271326"/>
                  <a:gd name="connsiteX8" fmla="*/ 13706 w 537505"/>
                  <a:gd name="connsiteY8" fmla="*/ 76926 h 271326"/>
                  <a:gd name="connsiteX9" fmla="*/ 103192 w 537505"/>
                  <a:gd name="connsiteY9" fmla="*/ 262069 h 271326"/>
                  <a:gd name="connsiteX10" fmla="*/ 103192 w 537505"/>
                  <a:gd name="connsiteY10" fmla="*/ 271326 h 271326"/>
                  <a:gd name="connsiteX11" fmla="*/ 97020 w 537505"/>
                  <a:gd name="connsiteY11" fmla="*/ 268241 h 271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7505" h="271326">
                    <a:moveTo>
                      <a:pt x="97020" y="268241"/>
                    </a:moveTo>
                    <a:cubicBezTo>
                      <a:pt x="93933" y="268241"/>
                      <a:pt x="93933" y="268241"/>
                      <a:pt x="93933" y="265155"/>
                    </a:cubicBezTo>
                    <a:cubicBezTo>
                      <a:pt x="87764" y="258983"/>
                      <a:pt x="-23323" y="132469"/>
                      <a:pt x="4449" y="67669"/>
                    </a:cubicBezTo>
                    <a:cubicBezTo>
                      <a:pt x="35306" y="-12559"/>
                      <a:pt x="149478" y="-3302"/>
                      <a:pt x="195764" y="5955"/>
                    </a:cubicBezTo>
                    <a:cubicBezTo>
                      <a:pt x="288335" y="21383"/>
                      <a:pt x="424105" y="58412"/>
                      <a:pt x="535192" y="197269"/>
                    </a:cubicBezTo>
                    <a:cubicBezTo>
                      <a:pt x="538277" y="200355"/>
                      <a:pt x="538277" y="203441"/>
                      <a:pt x="535192" y="206526"/>
                    </a:cubicBezTo>
                    <a:cubicBezTo>
                      <a:pt x="532105" y="209612"/>
                      <a:pt x="529020" y="209612"/>
                      <a:pt x="525934" y="206526"/>
                    </a:cubicBezTo>
                    <a:cubicBezTo>
                      <a:pt x="417934" y="70755"/>
                      <a:pt x="285248" y="33726"/>
                      <a:pt x="192677" y="21383"/>
                    </a:cubicBezTo>
                    <a:cubicBezTo>
                      <a:pt x="149478" y="15212"/>
                      <a:pt x="41478" y="5955"/>
                      <a:pt x="13706" y="76926"/>
                    </a:cubicBezTo>
                    <a:cubicBezTo>
                      <a:pt x="-7895" y="135555"/>
                      <a:pt x="100105" y="262069"/>
                      <a:pt x="103192" y="262069"/>
                    </a:cubicBezTo>
                    <a:cubicBezTo>
                      <a:pt x="106277" y="265155"/>
                      <a:pt x="106277" y="268241"/>
                      <a:pt x="103192" y="271326"/>
                    </a:cubicBezTo>
                    <a:cubicBezTo>
                      <a:pt x="100105" y="268241"/>
                      <a:pt x="100105" y="268241"/>
                      <a:pt x="97020" y="26824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7F95D263-1170-4439-8745-3AAA5BFF84A8}"/>
                </a:ext>
              </a:extLst>
            </p:cNvPr>
            <p:cNvSpPr/>
            <p:nvPr/>
          </p:nvSpPr>
          <p:spPr>
            <a:xfrm>
              <a:off x="25242969" y="1943395"/>
              <a:ext cx="255250" cy="129486"/>
            </a:xfrm>
            <a:custGeom>
              <a:avLst/>
              <a:gdLst>
                <a:gd name="connsiteX0" fmla="*/ 9257 w 255250"/>
                <a:gd name="connsiteY0" fmla="*/ 71758 h 129486"/>
                <a:gd name="connsiteX1" fmla="*/ 49371 w 255250"/>
                <a:gd name="connsiteY1" fmla="*/ 28558 h 129486"/>
                <a:gd name="connsiteX2" fmla="*/ 89486 w 255250"/>
                <a:gd name="connsiteY2" fmla="*/ 13129 h 129486"/>
                <a:gd name="connsiteX3" fmla="*/ 135772 w 255250"/>
                <a:gd name="connsiteY3" fmla="*/ 19301 h 129486"/>
                <a:gd name="connsiteX4" fmla="*/ 200571 w 255250"/>
                <a:gd name="connsiteY4" fmla="*/ 786 h 129486"/>
                <a:gd name="connsiteX5" fmla="*/ 249942 w 255250"/>
                <a:gd name="connsiteY5" fmla="*/ 16215 h 129486"/>
                <a:gd name="connsiteX6" fmla="*/ 228344 w 255250"/>
                <a:gd name="connsiteY6" fmla="*/ 37815 h 129486"/>
                <a:gd name="connsiteX7" fmla="*/ 138857 w 255250"/>
                <a:gd name="connsiteY7" fmla="*/ 56329 h 129486"/>
                <a:gd name="connsiteX8" fmla="*/ 129600 w 255250"/>
                <a:gd name="connsiteY8" fmla="*/ 53243 h 129486"/>
                <a:gd name="connsiteX9" fmla="*/ 123429 w 255250"/>
                <a:gd name="connsiteY9" fmla="*/ 62501 h 129486"/>
                <a:gd name="connsiteX10" fmla="*/ 40114 w 255250"/>
                <a:gd name="connsiteY10" fmla="*/ 99529 h 129486"/>
                <a:gd name="connsiteX11" fmla="*/ 37029 w 255250"/>
                <a:gd name="connsiteY11" fmla="*/ 102615 h 129486"/>
                <a:gd name="connsiteX12" fmla="*/ 37029 w 255250"/>
                <a:gd name="connsiteY12" fmla="*/ 105701 h 129486"/>
                <a:gd name="connsiteX13" fmla="*/ 9257 w 255250"/>
                <a:gd name="connsiteY13" fmla="*/ 121129 h 129486"/>
                <a:gd name="connsiteX14" fmla="*/ 0 w 255250"/>
                <a:gd name="connsiteY14" fmla="*/ 90272 h 129486"/>
                <a:gd name="connsiteX15" fmla="*/ 9257 w 255250"/>
                <a:gd name="connsiteY15" fmla="*/ 71758 h 129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5250" h="129486">
                  <a:moveTo>
                    <a:pt x="9257" y="71758"/>
                  </a:moveTo>
                  <a:cubicBezTo>
                    <a:pt x="0" y="40901"/>
                    <a:pt x="21600" y="22386"/>
                    <a:pt x="49371" y="28558"/>
                  </a:cubicBezTo>
                  <a:cubicBezTo>
                    <a:pt x="74058" y="34729"/>
                    <a:pt x="64799" y="22386"/>
                    <a:pt x="89486" y="13129"/>
                  </a:cubicBezTo>
                  <a:cubicBezTo>
                    <a:pt x="108000" y="6958"/>
                    <a:pt x="117257" y="16215"/>
                    <a:pt x="135772" y="19301"/>
                  </a:cubicBezTo>
                  <a:cubicBezTo>
                    <a:pt x="157371" y="22386"/>
                    <a:pt x="175886" y="786"/>
                    <a:pt x="200571" y="786"/>
                  </a:cubicBezTo>
                  <a:cubicBezTo>
                    <a:pt x="219085" y="-2299"/>
                    <a:pt x="234514" y="3872"/>
                    <a:pt x="249942" y="16215"/>
                  </a:cubicBezTo>
                  <a:cubicBezTo>
                    <a:pt x="265371" y="28558"/>
                    <a:pt x="243772" y="50158"/>
                    <a:pt x="228344" y="37815"/>
                  </a:cubicBezTo>
                  <a:cubicBezTo>
                    <a:pt x="197486" y="13129"/>
                    <a:pt x="169714" y="56329"/>
                    <a:pt x="138857" y="56329"/>
                  </a:cubicBezTo>
                  <a:cubicBezTo>
                    <a:pt x="135772" y="56329"/>
                    <a:pt x="132685" y="53243"/>
                    <a:pt x="129600" y="53243"/>
                  </a:cubicBezTo>
                  <a:cubicBezTo>
                    <a:pt x="129600" y="56329"/>
                    <a:pt x="126514" y="59415"/>
                    <a:pt x="123429" y="62501"/>
                  </a:cubicBezTo>
                  <a:cubicBezTo>
                    <a:pt x="101828" y="74843"/>
                    <a:pt x="67886" y="102615"/>
                    <a:pt x="40114" y="99529"/>
                  </a:cubicBezTo>
                  <a:cubicBezTo>
                    <a:pt x="40114" y="99529"/>
                    <a:pt x="37029" y="99529"/>
                    <a:pt x="37029" y="102615"/>
                  </a:cubicBezTo>
                  <a:cubicBezTo>
                    <a:pt x="37029" y="102615"/>
                    <a:pt x="37029" y="102615"/>
                    <a:pt x="37029" y="105701"/>
                  </a:cubicBezTo>
                  <a:cubicBezTo>
                    <a:pt x="46286" y="124215"/>
                    <a:pt x="18514" y="139643"/>
                    <a:pt x="9257" y="121129"/>
                  </a:cubicBezTo>
                  <a:cubicBezTo>
                    <a:pt x="3085" y="108786"/>
                    <a:pt x="0" y="105701"/>
                    <a:pt x="0" y="90272"/>
                  </a:cubicBezTo>
                  <a:cubicBezTo>
                    <a:pt x="0" y="77929"/>
                    <a:pt x="3085" y="74843"/>
                    <a:pt x="9257" y="71758"/>
                  </a:cubicBezTo>
                  <a:close/>
                </a:path>
              </a:pathLst>
            </a:custGeom>
            <a:solidFill>
              <a:srgbClr val="664241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5" name="图形 1">
              <a:extLst>
                <a:ext uri="{FF2B5EF4-FFF2-40B4-BE49-F238E27FC236}">
                  <a16:creationId xmlns:a16="http://schemas.microsoft.com/office/drawing/2014/main" id="{CF30BE95-6A6A-4F09-A3CE-C6A7D1490D39}"/>
                </a:ext>
              </a:extLst>
            </p:cNvPr>
            <p:cNvGrpSpPr/>
            <p:nvPr/>
          </p:nvGrpSpPr>
          <p:grpSpPr>
            <a:xfrm>
              <a:off x="22832554" y="3300273"/>
              <a:ext cx="1277071" cy="3183399"/>
              <a:chOff x="22832554" y="3300273"/>
              <a:chExt cx="1277071" cy="3183399"/>
            </a:xfrm>
          </p:grpSpPr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2ED25BE5-B09C-4641-B93D-FA8C9EFF2050}"/>
                  </a:ext>
                </a:extLst>
              </p:cNvPr>
              <p:cNvSpPr/>
              <p:nvPr/>
            </p:nvSpPr>
            <p:spPr>
              <a:xfrm>
                <a:off x="22908492" y="5869210"/>
                <a:ext cx="220762" cy="497397"/>
              </a:xfrm>
              <a:custGeom>
                <a:avLst/>
                <a:gdLst>
                  <a:gd name="connsiteX0" fmla="*/ 220762 w 220762"/>
                  <a:gd name="connsiteY0" fmla="*/ 30857 h 497397"/>
                  <a:gd name="connsiteX1" fmla="*/ 91162 w 220762"/>
                  <a:gd name="connsiteY1" fmla="*/ 141943 h 497397"/>
                  <a:gd name="connsiteX2" fmla="*/ 112762 w 220762"/>
                  <a:gd name="connsiteY2" fmla="*/ 357943 h 497397"/>
                  <a:gd name="connsiteX3" fmla="*/ 94249 w 220762"/>
                  <a:gd name="connsiteY3" fmla="*/ 478286 h 497397"/>
                  <a:gd name="connsiteX4" fmla="*/ 66476 w 220762"/>
                  <a:gd name="connsiteY4" fmla="*/ 496800 h 497397"/>
                  <a:gd name="connsiteX5" fmla="*/ 66476 w 220762"/>
                  <a:gd name="connsiteY5" fmla="*/ 496800 h 497397"/>
                  <a:gd name="connsiteX6" fmla="*/ 51048 w 220762"/>
                  <a:gd name="connsiteY6" fmla="*/ 469028 h 497397"/>
                  <a:gd name="connsiteX7" fmla="*/ 54133 w 220762"/>
                  <a:gd name="connsiteY7" fmla="*/ 385714 h 497397"/>
                  <a:gd name="connsiteX8" fmla="*/ 10934 w 220762"/>
                  <a:gd name="connsiteY8" fmla="*/ 138857 h 497397"/>
                  <a:gd name="connsiteX9" fmla="*/ 180648 w 220762"/>
                  <a:gd name="connsiteY9" fmla="*/ 0 h 497397"/>
                  <a:gd name="connsiteX10" fmla="*/ 220762 w 220762"/>
                  <a:gd name="connsiteY10" fmla="*/ 30857 h 49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0762" h="497397">
                    <a:moveTo>
                      <a:pt x="220762" y="30857"/>
                    </a:moveTo>
                    <a:cubicBezTo>
                      <a:pt x="220762" y="30857"/>
                      <a:pt x="134363" y="70971"/>
                      <a:pt x="91162" y="141943"/>
                    </a:cubicBezTo>
                    <a:cubicBezTo>
                      <a:pt x="47963" y="212914"/>
                      <a:pt x="106590" y="317828"/>
                      <a:pt x="112762" y="357943"/>
                    </a:cubicBezTo>
                    <a:cubicBezTo>
                      <a:pt x="115847" y="385714"/>
                      <a:pt x="103505" y="444343"/>
                      <a:pt x="94249" y="478286"/>
                    </a:cubicBezTo>
                    <a:cubicBezTo>
                      <a:pt x="91162" y="490628"/>
                      <a:pt x="78820" y="499886"/>
                      <a:pt x="66476" y="496800"/>
                    </a:cubicBezTo>
                    <a:lnTo>
                      <a:pt x="66476" y="496800"/>
                    </a:lnTo>
                    <a:cubicBezTo>
                      <a:pt x="57220" y="493714"/>
                      <a:pt x="51048" y="481371"/>
                      <a:pt x="51048" y="469028"/>
                    </a:cubicBezTo>
                    <a:cubicBezTo>
                      <a:pt x="57220" y="444343"/>
                      <a:pt x="60305" y="401143"/>
                      <a:pt x="54133" y="385714"/>
                    </a:cubicBezTo>
                    <a:cubicBezTo>
                      <a:pt x="41791" y="364114"/>
                      <a:pt x="-26095" y="274628"/>
                      <a:pt x="10934" y="138857"/>
                    </a:cubicBezTo>
                    <a:cubicBezTo>
                      <a:pt x="47963" y="6171"/>
                      <a:pt x="180648" y="0"/>
                      <a:pt x="180648" y="0"/>
                    </a:cubicBezTo>
                    <a:lnTo>
                      <a:pt x="220762" y="30857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52C0393B-6EA8-4B16-8BCC-74F50AFE0414}"/>
                  </a:ext>
                </a:extLst>
              </p:cNvPr>
              <p:cNvSpPr/>
              <p:nvPr/>
            </p:nvSpPr>
            <p:spPr>
              <a:xfrm>
                <a:off x="23101482" y="3303393"/>
                <a:ext cx="782275" cy="2553474"/>
              </a:xfrm>
              <a:custGeom>
                <a:avLst/>
                <a:gdLst>
                  <a:gd name="connsiteX0" fmla="*/ 0 w 782275"/>
                  <a:gd name="connsiteY0" fmla="*/ 2531874 h 2553474"/>
                  <a:gd name="connsiteX1" fmla="*/ 74058 w 782275"/>
                  <a:gd name="connsiteY1" fmla="*/ 2553474 h 2553474"/>
                  <a:gd name="connsiteX2" fmla="*/ 780687 w 782275"/>
                  <a:gd name="connsiteY2" fmla="*/ 47874 h 2553474"/>
                  <a:gd name="connsiteX3" fmla="*/ 752915 w 782275"/>
                  <a:gd name="connsiteY3" fmla="*/ 1589 h 2553474"/>
                  <a:gd name="connsiteX4" fmla="*/ 752915 w 782275"/>
                  <a:gd name="connsiteY4" fmla="*/ 1589 h 2553474"/>
                  <a:gd name="connsiteX5" fmla="*/ 706629 w 782275"/>
                  <a:gd name="connsiteY5" fmla="*/ 29360 h 2553474"/>
                  <a:gd name="connsiteX6" fmla="*/ 0 w 782275"/>
                  <a:gd name="connsiteY6" fmla="*/ 2531874 h 2553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82275" h="2553474">
                    <a:moveTo>
                      <a:pt x="0" y="2531874"/>
                    </a:moveTo>
                    <a:lnTo>
                      <a:pt x="74058" y="2553474"/>
                    </a:lnTo>
                    <a:lnTo>
                      <a:pt x="780687" y="47874"/>
                    </a:lnTo>
                    <a:cubicBezTo>
                      <a:pt x="786857" y="26274"/>
                      <a:pt x="774515" y="7760"/>
                      <a:pt x="752915" y="1589"/>
                    </a:cubicBezTo>
                    <a:lnTo>
                      <a:pt x="752915" y="1589"/>
                    </a:lnTo>
                    <a:cubicBezTo>
                      <a:pt x="731315" y="-4583"/>
                      <a:pt x="712801" y="7760"/>
                      <a:pt x="706629" y="29360"/>
                    </a:cubicBezTo>
                    <a:lnTo>
                      <a:pt x="0" y="2531874"/>
                    </a:lnTo>
                    <a:close/>
                  </a:path>
                </a:pathLst>
              </a:custGeom>
              <a:solidFill>
                <a:srgbClr val="7F95BC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5DC3B860-B499-4ACC-B1F9-475F8023F10A}"/>
                  </a:ext>
                </a:extLst>
              </p:cNvPr>
              <p:cNvSpPr/>
              <p:nvPr/>
            </p:nvSpPr>
            <p:spPr>
              <a:xfrm>
                <a:off x="23021254" y="5731064"/>
                <a:ext cx="243060" cy="165917"/>
              </a:xfrm>
              <a:custGeom>
                <a:avLst/>
                <a:gdLst>
                  <a:gd name="connsiteX0" fmla="*/ 0 w 243060"/>
                  <a:gd name="connsiteY0" fmla="*/ 104204 h 165917"/>
                  <a:gd name="connsiteX1" fmla="*/ 225257 w 243060"/>
                  <a:gd name="connsiteY1" fmla="*/ 165918 h 165917"/>
                  <a:gd name="connsiteX2" fmla="*/ 240685 w 243060"/>
                  <a:gd name="connsiteY2" fmla="*/ 110375 h 165917"/>
                  <a:gd name="connsiteX3" fmla="*/ 197486 w 243060"/>
                  <a:gd name="connsiteY3" fmla="*/ 30147 h 165917"/>
                  <a:gd name="connsiteX4" fmla="*/ 95656 w 243060"/>
                  <a:gd name="connsiteY4" fmla="*/ 2375 h 165917"/>
                  <a:gd name="connsiteX5" fmla="*/ 15429 w 243060"/>
                  <a:gd name="connsiteY5" fmla="*/ 45575 h 165917"/>
                  <a:gd name="connsiteX6" fmla="*/ 0 w 243060"/>
                  <a:gd name="connsiteY6" fmla="*/ 104204 h 165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3060" h="165917">
                    <a:moveTo>
                      <a:pt x="0" y="104204"/>
                    </a:moveTo>
                    <a:lnTo>
                      <a:pt x="225257" y="165918"/>
                    </a:lnTo>
                    <a:lnTo>
                      <a:pt x="240685" y="110375"/>
                    </a:lnTo>
                    <a:cubicBezTo>
                      <a:pt x="249942" y="76432"/>
                      <a:pt x="231429" y="39403"/>
                      <a:pt x="197486" y="30147"/>
                    </a:cubicBezTo>
                    <a:lnTo>
                      <a:pt x="95656" y="2375"/>
                    </a:lnTo>
                    <a:cubicBezTo>
                      <a:pt x="61714" y="-6882"/>
                      <a:pt x="24685" y="11632"/>
                      <a:pt x="15429" y="45575"/>
                    </a:cubicBezTo>
                    <a:lnTo>
                      <a:pt x="0" y="104204"/>
                    </a:ln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9C0B90CE-CC23-4628-A4E4-8C3A434BDD1B}"/>
                  </a:ext>
                </a:extLst>
              </p:cNvPr>
              <p:cNvSpPr/>
              <p:nvPr/>
            </p:nvSpPr>
            <p:spPr>
              <a:xfrm>
                <a:off x="23737140" y="3300273"/>
                <a:ext cx="372485" cy="343251"/>
              </a:xfrm>
              <a:custGeom>
                <a:avLst/>
                <a:gdLst>
                  <a:gd name="connsiteX0" fmla="*/ 114172 w 372485"/>
                  <a:gd name="connsiteY0" fmla="*/ 1623 h 343251"/>
                  <a:gd name="connsiteX1" fmla="*/ 74056 w 372485"/>
                  <a:gd name="connsiteY1" fmla="*/ 23223 h 343251"/>
                  <a:gd name="connsiteX2" fmla="*/ 0 w 372485"/>
                  <a:gd name="connsiteY2" fmla="*/ 288594 h 343251"/>
                  <a:gd name="connsiteX3" fmla="*/ 175886 w 372485"/>
                  <a:gd name="connsiteY3" fmla="*/ 337966 h 343251"/>
                  <a:gd name="connsiteX4" fmla="*/ 367199 w 372485"/>
                  <a:gd name="connsiteY4" fmla="*/ 229966 h 343251"/>
                  <a:gd name="connsiteX5" fmla="*/ 367199 w 372485"/>
                  <a:gd name="connsiteY5" fmla="*/ 229966 h 343251"/>
                  <a:gd name="connsiteX6" fmla="*/ 259199 w 372485"/>
                  <a:gd name="connsiteY6" fmla="*/ 38651 h 343251"/>
                  <a:gd name="connsiteX7" fmla="*/ 114172 w 372485"/>
                  <a:gd name="connsiteY7" fmla="*/ 1623 h 343251"/>
                  <a:gd name="connsiteX8" fmla="*/ 185143 w 372485"/>
                  <a:gd name="connsiteY8" fmla="*/ 60251 h 343251"/>
                  <a:gd name="connsiteX9" fmla="*/ 268458 w 372485"/>
                  <a:gd name="connsiteY9" fmla="*/ 81852 h 343251"/>
                  <a:gd name="connsiteX10" fmla="*/ 320913 w 372485"/>
                  <a:gd name="connsiteY10" fmla="*/ 214537 h 343251"/>
                  <a:gd name="connsiteX11" fmla="*/ 302400 w 372485"/>
                  <a:gd name="connsiteY11" fmla="*/ 245394 h 343251"/>
                  <a:gd name="connsiteX12" fmla="*/ 178971 w 372485"/>
                  <a:gd name="connsiteY12" fmla="*/ 294766 h 343251"/>
                  <a:gd name="connsiteX13" fmla="*/ 123429 w 372485"/>
                  <a:gd name="connsiteY13" fmla="*/ 279337 h 343251"/>
                  <a:gd name="connsiteX14" fmla="*/ 185143 w 372485"/>
                  <a:gd name="connsiteY14" fmla="*/ 60251 h 343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72485" h="343251">
                    <a:moveTo>
                      <a:pt x="114172" y="1623"/>
                    </a:moveTo>
                    <a:cubicBezTo>
                      <a:pt x="95656" y="-4548"/>
                      <a:pt x="80228" y="7794"/>
                      <a:pt x="74056" y="23223"/>
                    </a:cubicBezTo>
                    <a:lnTo>
                      <a:pt x="0" y="288594"/>
                    </a:lnTo>
                    <a:lnTo>
                      <a:pt x="175886" y="337966"/>
                    </a:lnTo>
                    <a:cubicBezTo>
                      <a:pt x="259199" y="359566"/>
                      <a:pt x="342514" y="313280"/>
                      <a:pt x="367199" y="229966"/>
                    </a:cubicBezTo>
                    <a:lnTo>
                      <a:pt x="367199" y="229966"/>
                    </a:lnTo>
                    <a:cubicBezTo>
                      <a:pt x="388799" y="146651"/>
                      <a:pt x="342514" y="63337"/>
                      <a:pt x="259199" y="38651"/>
                    </a:cubicBezTo>
                    <a:lnTo>
                      <a:pt x="114172" y="1623"/>
                    </a:lnTo>
                    <a:close/>
                    <a:moveTo>
                      <a:pt x="185143" y="60251"/>
                    </a:moveTo>
                    <a:lnTo>
                      <a:pt x="268458" y="81852"/>
                    </a:lnTo>
                    <a:cubicBezTo>
                      <a:pt x="330172" y="100366"/>
                      <a:pt x="354857" y="158994"/>
                      <a:pt x="320913" y="214537"/>
                    </a:cubicBezTo>
                    <a:lnTo>
                      <a:pt x="302400" y="245394"/>
                    </a:lnTo>
                    <a:cubicBezTo>
                      <a:pt x="277714" y="285509"/>
                      <a:pt x="225257" y="307109"/>
                      <a:pt x="178971" y="294766"/>
                    </a:cubicBezTo>
                    <a:lnTo>
                      <a:pt x="123429" y="279337"/>
                    </a:lnTo>
                    <a:lnTo>
                      <a:pt x="185143" y="60251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A99DD735-EC5E-45C9-A06D-32C01AA68D6A}"/>
                  </a:ext>
                </a:extLst>
              </p:cNvPr>
              <p:cNvSpPr/>
              <p:nvPr/>
            </p:nvSpPr>
            <p:spPr>
              <a:xfrm>
                <a:off x="22832554" y="6192090"/>
                <a:ext cx="333161" cy="291582"/>
              </a:xfrm>
              <a:custGeom>
                <a:avLst/>
                <a:gdLst>
                  <a:gd name="connsiteX0" fmla="*/ 28243 w 333161"/>
                  <a:gd name="connsiteY0" fmla="*/ 177006 h 291582"/>
                  <a:gd name="connsiteX1" fmla="*/ 68357 w 333161"/>
                  <a:gd name="connsiteY1" fmla="*/ 275749 h 291582"/>
                  <a:gd name="connsiteX2" fmla="*/ 151672 w 333161"/>
                  <a:gd name="connsiteY2" fmla="*/ 272663 h 291582"/>
                  <a:gd name="connsiteX3" fmla="*/ 244243 w 333161"/>
                  <a:gd name="connsiteY3" fmla="*/ 275749 h 291582"/>
                  <a:gd name="connsiteX4" fmla="*/ 305957 w 333161"/>
                  <a:gd name="connsiteY4" fmla="*/ 207863 h 291582"/>
                  <a:gd name="connsiteX5" fmla="*/ 305957 w 333161"/>
                  <a:gd name="connsiteY5" fmla="*/ 81349 h 291582"/>
                  <a:gd name="connsiteX6" fmla="*/ 296701 w 333161"/>
                  <a:gd name="connsiteY6" fmla="*/ 75177 h 291582"/>
                  <a:gd name="connsiteX7" fmla="*/ 253500 w 333161"/>
                  <a:gd name="connsiteY7" fmla="*/ 16549 h 291582"/>
                  <a:gd name="connsiteX8" fmla="*/ 105386 w 333161"/>
                  <a:gd name="connsiteY8" fmla="*/ 28892 h 291582"/>
                  <a:gd name="connsiteX9" fmla="*/ 473 w 333161"/>
                  <a:gd name="connsiteY9" fmla="*/ 133806 h 291582"/>
                  <a:gd name="connsiteX10" fmla="*/ 28243 w 333161"/>
                  <a:gd name="connsiteY10" fmla="*/ 177006 h 291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3161" h="291582">
                    <a:moveTo>
                      <a:pt x="28243" y="177006"/>
                    </a:moveTo>
                    <a:cubicBezTo>
                      <a:pt x="25158" y="214034"/>
                      <a:pt x="31330" y="254149"/>
                      <a:pt x="68357" y="275749"/>
                    </a:cubicBezTo>
                    <a:cubicBezTo>
                      <a:pt x="96129" y="294263"/>
                      <a:pt x="126986" y="291177"/>
                      <a:pt x="151672" y="272663"/>
                    </a:cubicBezTo>
                    <a:cubicBezTo>
                      <a:pt x="179444" y="297349"/>
                      <a:pt x="213386" y="297349"/>
                      <a:pt x="244243" y="275749"/>
                    </a:cubicBezTo>
                    <a:cubicBezTo>
                      <a:pt x="272015" y="257234"/>
                      <a:pt x="302872" y="241806"/>
                      <a:pt x="305957" y="207863"/>
                    </a:cubicBezTo>
                    <a:cubicBezTo>
                      <a:pt x="352243" y="189349"/>
                      <a:pt x="330643" y="106034"/>
                      <a:pt x="305957" y="81349"/>
                    </a:cubicBezTo>
                    <a:cubicBezTo>
                      <a:pt x="302872" y="78263"/>
                      <a:pt x="299786" y="78263"/>
                      <a:pt x="296701" y="75177"/>
                    </a:cubicBezTo>
                    <a:cubicBezTo>
                      <a:pt x="299786" y="47406"/>
                      <a:pt x="278187" y="31977"/>
                      <a:pt x="253500" y="16549"/>
                    </a:cubicBezTo>
                    <a:cubicBezTo>
                      <a:pt x="207214" y="-11223"/>
                      <a:pt x="148587" y="-1966"/>
                      <a:pt x="105386" y="28892"/>
                    </a:cubicBezTo>
                    <a:cubicBezTo>
                      <a:pt x="71444" y="56663"/>
                      <a:pt x="3558" y="81349"/>
                      <a:pt x="473" y="133806"/>
                    </a:cubicBezTo>
                    <a:cubicBezTo>
                      <a:pt x="-2614" y="161577"/>
                      <a:pt x="9730" y="173920"/>
                      <a:pt x="28243" y="177006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44C186C6-8DCB-45F7-A0C8-7235C76BEAE3}"/>
                  </a:ext>
                </a:extLst>
              </p:cNvPr>
              <p:cNvSpPr/>
              <p:nvPr/>
            </p:nvSpPr>
            <p:spPr>
              <a:xfrm>
                <a:off x="23014280" y="5896982"/>
                <a:ext cx="249044" cy="482157"/>
              </a:xfrm>
              <a:custGeom>
                <a:avLst/>
                <a:gdLst>
                  <a:gd name="connsiteX0" fmla="*/ 124231 w 249044"/>
                  <a:gd name="connsiteY0" fmla="*/ 6171 h 482157"/>
                  <a:gd name="connsiteX1" fmla="*/ 176688 w 249044"/>
                  <a:gd name="connsiteY1" fmla="*/ 169714 h 482157"/>
                  <a:gd name="connsiteX2" fmla="*/ 47088 w 249044"/>
                  <a:gd name="connsiteY2" fmla="*/ 339429 h 482157"/>
                  <a:gd name="connsiteX3" fmla="*/ 802 w 249044"/>
                  <a:gd name="connsiteY3" fmla="*/ 450514 h 482157"/>
                  <a:gd name="connsiteX4" fmla="*/ 13146 w 249044"/>
                  <a:gd name="connsiteY4" fmla="*/ 481372 h 482157"/>
                  <a:gd name="connsiteX5" fmla="*/ 13146 w 249044"/>
                  <a:gd name="connsiteY5" fmla="*/ 481372 h 482157"/>
                  <a:gd name="connsiteX6" fmla="*/ 37831 w 249044"/>
                  <a:gd name="connsiteY6" fmla="*/ 465943 h 482157"/>
                  <a:gd name="connsiteX7" fmla="*/ 77945 w 249044"/>
                  <a:gd name="connsiteY7" fmla="*/ 394972 h 482157"/>
                  <a:gd name="connsiteX8" fmla="*/ 241488 w 249044"/>
                  <a:gd name="connsiteY8" fmla="*/ 209829 h 482157"/>
                  <a:gd name="connsiteX9" fmla="*/ 167432 w 249044"/>
                  <a:gd name="connsiteY9" fmla="*/ 0 h 482157"/>
                  <a:gd name="connsiteX10" fmla="*/ 124231 w 249044"/>
                  <a:gd name="connsiteY10" fmla="*/ 6171 h 482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9044" h="482157">
                    <a:moveTo>
                      <a:pt x="124231" y="6171"/>
                    </a:moveTo>
                    <a:cubicBezTo>
                      <a:pt x="124231" y="6171"/>
                      <a:pt x="176688" y="86400"/>
                      <a:pt x="176688" y="169714"/>
                    </a:cubicBezTo>
                    <a:cubicBezTo>
                      <a:pt x="176688" y="253028"/>
                      <a:pt x="71773" y="311657"/>
                      <a:pt x="47088" y="339429"/>
                    </a:cubicBezTo>
                    <a:cubicBezTo>
                      <a:pt x="28575" y="361028"/>
                      <a:pt x="10059" y="419657"/>
                      <a:pt x="802" y="450514"/>
                    </a:cubicBezTo>
                    <a:cubicBezTo>
                      <a:pt x="-2283" y="462857"/>
                      <a:pt x="3889" y="478286"/>
                      <a:pt x="13146" y="481372"/>
                    </a:cubicBezTo>
                    <a:lnTo>
                      <a:pt x="13146" y="481372"/>
                    </a:lnTo>
                    <a:cubicBezTo>
                      <a:pt x="22403" y="484457"/>
                      <a:pt x="34746" y="478286"/>
                      <a:pt x="37831" y="465943"/>
                    </a:cubicBezTo>
                    <a:cubicBezTo>
                      <a:pt x="47088" y="441257"/>
                      <a:pt x="65603" y="401143"/>
                      <a:pt x="77945" y="394972"/>
                    </a:cubicBezTo>
                    <a:cubicBezTo>
                      <a:pt x="99546" y="382628"/>
                      <a:pt x="204461" y="345600"/>
                      <a:pt x="241488" y="209829"/>
                    </a:cubicBezTo>
                    <a:cubicBezTo>
                      <a:pt x="278517" y="77143"/>
                      <a:pt x="167432" y="0"/>
                      <a:pt x="167432" y="0"/>
                    </a:cubicBezTo>
                    <a:lnTo>
                      <a:pt x="124231" y="6171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818A4450-32E4-4E5F-B1C6-EA58D37D9F8E}"/>
                  </a:ext>
                </a:extLst>
              </p:cNvPr>
              <p:cNvSpPr/>
              <p:nvPr/>
            </p:nvSpPr>
            <p:spPr>
              <a:xfrm>
                <a:off x="22978766" y="5795864"/>
                <a:ext cx="297892" cy="171378"/>
              </a:xfrm>
              <a:custGeom>
                <a:avLst/>
                <a:gdLst>
                  <a:gd name="connsiteX0" fmla="*/ 45574 w 297892"/>
                  <a:gd name="connsiteY0" fmla="*/ 119632 h 171378"/>
                  <a:gd name="connsiteX1" fmla="*/ 221460 w 297892"/>
                  <a:gd name="connsiteY1" fmla="*/ 169003 h 171378"/>
                  <a:gd name="connsiteX2" fmla="*/ 295518 w 297892"/>
                  <a:gd name="connsiteY2" fmla="*/ 125803 h 171378"/>
                  <a:gd name="connsiteX3" fmla="*/ 295518 w 297892"/>
                  <a:gd name="connsiteY3" fmla="*/ 125803 h 171378"/>
                  <a:gd name="connsiteX4" fmla="*/ 252317 w 297892"/>
                  <a:gd name="connsiteY4" fmla="*/ 51746 h 171378"/>
                  <a:gd name="connsiteX5" fmla="*/ 76431 w 297892"/>
                  <a:gd name="connsiteY5" fmla="*/ 2375 h 171378"/>
                  <a:gd name="connsiteX6" fmla="*/ 2375 w 297892"/>
                  <a:gd name="connsiteY6" fmla="*/ 45575 h 171378"/>
                  <a:gd name="connsiteX7" fmla="*/ 2375 w 297892"/>
                  <a:gd name="connsiteY7" fmla="*/ 45575 h 171378"/>
                  <a:gd name="connsiteX8" fmla="*/ 45574 w 297892"/>
                  <a:gd name="connsiteY8" fmla="*/ 119632 h 171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7892" h="171378">
                    <a:moveTo>
                      <a:pt x="45574" y="119632"/>
                    </a:moveTo>
                    <a:lnTo>
                      <a:pt x="221460" y="169003"/>
                    </a:lnTo>
                    <a:cubicBezTo>
                      <a:pt x="255404" y="178261"/>
                      <a:pt x="289346" y="159746"/>
                      <a:pt x="295518" y="125803"/>
                    </a:cubicBezTo>
                    <a:lnTo>
                      <a:pt x="295518" y="125803"/>
                    </a:lnTo>
                    <a:cubicBezTo>
                      <a:pt x="304774" y="91860"/>
                      <a:pt x="286261" y="57918"/>
                      <a:pt x="252317" y="51746"/>
                    </a:cubicBezTo>
                    <a:lnTo>
                      <a:pt x="76431" y="2375"/>
                    </a:lnTo>
                    <a:cubicBezTo>
                      <a:pt x="42489" y="-6882"/>
                      <a:pt x="8547" y="11632"/>
                      <a:pt x="2375" y="45575"/>
                    </a:cubicBezTo>
                    <a:lnTo>
                      <a:pt x="2375" y="45575"/>
                    </a:lnTo>
                    <a:cubicBezTo>
                      <a:pt x="-6882" y="76432"/>
                      <a:pt x="11632" y="110375"/>
                      <a:pt x="45574" y="119632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6" name="图形 1">
              <a:extLst>
                <a:ext uri="{FF2B5EF4-FFF2-40B4-BE49-F238E27FC236}">
                  <a16:creationId xmlns:a16="http://schemas.microsoft.com/office/drawing/2014/main" id="{8ACE892A-70E0-47BC-8DB3-F8E91DCADE84}"/>
                </a:ext>
              </a:extLst>
            </p:cNvPr>
            <p:cNvGrpSpPr/>
            <p:nvPr/>
          </p:nvGrpSpPr>
          <p:grpSpPr>
            <a:xfrm>
              <a:off x="23881741" y="3403382"/>
              <a:ext cx="213749" cy="189065"/>
              <a:chOff x="23881741" y="3403382"/>
              <a:chExt cx="213749" cy="189065"/>
            </a:xfrm>
          </p:grpSpPr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6B79B974-29C8-4002-8152-1C06D7350EE7}"/>
                  </a:ext>
                </a:extLst>
              </p:cNvPr>
              <p:cNvSpPr/>
              <p:nvPr/>
            </p:nvSpPr>
            <p:spPr>
              <a:xfrm>
                <a:off x="23881741" y="3405946"/>
                <a:ext cx="170539" cy="82311"/>
              </a:xfrm>
              <a:custGeom>
                <a:avLst/>
                <a:gdLst>
                  <a:gd name="connsiteX0" fmla="*/ 6598 w 170539"/>
                  <a:gd name="connsiteY0" fmla="*/ 25550 h 82311"/>
                  <a:gd name="connsiteX1" fmla="*/ 108428 w 170539"/>
                  <a:gd name="connsiteY1" fmla="*/ 3950 h 82311"/>
                  <a:gd name="connsiteX2" fmla="*/ 123857 w 170539"/>
                  <a:gd name="connsiteY2" fmla="*/ 864 h 82311"/>
                  <a:gd name="connsiteX3" fmla="*/ 142370 w 170539"/>
                  <a:gd name="connsiteY3" fmla="*/ 3950 h 82311"/>
                  <a:gd name="connsiteX4" fmla="*/ 170143 w 170539"/>
                  <a:gd name="connsiteY4" fmla="*/ 47150 h 82311"/>
                  <a:gd name="connsiteX5" fmla="*/ 126942 w 170539"/>
                  <a:gd name="connsiteY5" fmla="*/ 71835 h 82311"/>
                  <a:gd name="connsiteX6" fmla="*/ 59056 w 170539"/>
                  <a:gd name="connsiteY6" fmla="*/ 81093 h 82311"/>
                  <a:gd name="connsiteX7" fmla="*/ 9685 w 170539"/>
                  <a:gd name="connsiteY7" fmla="*/ 71835 h 82311"/>
                  <a:gd name="connsiteX8" fmla="*/ 6598 w 170539"/>
                  <a:gd name="connsiteY8" fmla="*/ 25550 h 82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0539" h="82311">
                    <a:moveTo>
                      <a:pt x="6598" y="25550"/>
                    </a:moveTo>
                    <a:cubicBezTo>
                      <a:pt x="28199" y="3950"/>
                      <a:pt x="68313" y="7035"/>
                      <a:pt x="108428" y="3950"/>
                    </a:cubicBezTo>
                    <a:cubicBezTo>
                      <a:pt x="111513" y="3950"/>
                      <a:pt x="120770" y="-2222"/>
                      <a:pt x="123857" y="864"/>
                    </a:cubicBezTo>
                    <a:cubicBezTo>
                      <a:pt x="130027" y="864"/>
                      <a:pt x="136199" y="864"/>
                      <a:pt x="142370" y="3950"/>
                    </a:cubicBezTo>
                    <a:cubicBezTo>
                      <a:pt x="157799" y="10121"/>
                      <a:pt x="173228" y="28635"/>
                      <a:pt x="170143" y="47150"/>
                    </a:cubicBezTo>
                    <a:cubicBezTo>
                      <a:pt x="167056" y="65664"/>
                      <a:pt x="142370" y="68750"/>
                      <a:pt x="126942" y="71835"/>
                    </a:cubicBezTo>
                    <a:cubicBezTo>
                      <a:pt x="105341" y="74921"/>
                      <a:pt x="83741" y="78007"/>
                      <a:pt x="59056" y="81093"/>
                    </a:cubicBezTo>
                    <a:cubicBezTo>
                      <a:pt x="43627" y="81093"/>
                      <a:pt x="25114" y="87264"/>
                      <a:pt x="9685" y="71835"/>
                    </a:cubicBezTo>
                    <a:cubicBezTo>
                      <a:pt x="-2659" y="50235"/>
                      <a:pt x="-2659" y="31721"/>
                      <a:pt x="6598" y="2555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97D6A89D-6AA3-47A5-A298-34D2238983BA}"/>
                  </a:ext>
                </a:extLst>
              </p:cNvPr>
              <p:cNvSpPr/>
              <p:nvPr/>
            </p:nvSpPr>
            <p:spPr>
              <a:xfrm>
                <a:off x="23915685" y="3450010"/>
                <a:ext cx="170537" cy="81447"/>
              </a:xfrm>
              <a:custGeom>
                <a:avLst/>
                <a:gdLst>
                  <a:gd name="connsiteX0" fmla="*/ 6598 w 170537"/>
                  <a:gd name="connsiteY0" fmla="*/ 27771 h 81447"/>
                  <a:gd name="connsiteX1" fmla="*/ 114598 w 170537"/>
                  <a:gd name="connsiteY1" fmla="*/ 0 h 81447"/>
                  <a:gd name="connsiteX2" fmla="*/ 123855 w 170537"/>
                  <a:gd name="connsiteY2" fmla="*/ 0 h 81447"/>
                  <a:gd name="connsiteX3" fmla="*/ 142369 w 170537"/>
                  <a:gd name="connsiteY3" fmla="*/ 3086 h 81447"/>
                  <a:gd name="connsiteX4" fmla="*/ 170141 w 170537"/>
                  <a:gd name="connsiteY4" fmla="*/ 46286 h 81447"/>
                  <a:gd name="connsiteX5" fmla="*/ 126940 w 170537"/>
                  <a:gd name="connsiteY5" fmla="*/ 70971 h 81447"/>
                  <a:gd name="connsiteX6" fmla="*/ 59056 w 170537"/>
                  <a:gd name="connsiteY6" fmla="*/ 80229 h 81447"/>
                  <a:gd name="connsiteX7" fmla="*/ 9683 w 170537"/>
                  <a:gd name="connsiteY7" fmla="*/ 70971 h 81447"/>
                  <a:gd name="connsiteX8" fmla="*/ 6598 w 170537"/>
                  <a:gd name="connsiteY8" fmla="*/ 27771 h 81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0537" h="81447">
                    <a:moveTo>
                      <a:pt x="6598" y="27771"/>
                    </a:moveTo>
                    <a:cubicBezTo>
                      <a:pt x="31284" y="-3086"/>
                      <a:pt x="77569" y="6171"/>
                      <a:pt x="114598" y="0"/>
                    </a:cubicBezTo>
                    <a:cubicBezTo>
                      <a:pt x="117683" y="0"/>
                      <a:pt x="120770" y="0"/>
                      <a:pt x="123855" y="0"/>
                    </a:cubicBezTo>
                    <a:cubicBezTo>
                      <a:pt x="130027" y="0"/>
                      <a:pt x="136199" y="0"/>
                      <a:pt x="142369" y="3086"/>
                    </a:cubicBezTo>
                    <a:cubicBezTo>
                      <a:pt x="157797" y="9257"/>
                      <a:pt x="173226" y="27771"/>
                      <a:pt x="170141" y="46286"/>
                    </a:cubicBezTo>
                    <a:cubicBezTo>
                      <a:pt x="167056" y="64800"/>
                      <a:pt x="142369" y="67886"/>
                      <a:pt x="126940" y="70971"/>
                    </a:cubicBezTo>
                    <a:cubicBezTo>
                      <a:pt x="105342" y="74057"/>
                      <a:pt x="83741" y="77143"/>
                      <a:pt x="59056" y="80229"/>
                    </a:cubicBezTo>
                    <a:cubicBezTo>
                      <a:pt x="43627" y="80229"/>
                      <a:pt x="25112" y="86400"/>
                      <a:pt x="9683" y="70971"/>
                    </a:cubicBezTo>
                    <a:cubicBezTo>
                      <a:pt x="-2658" y="52457"/>
                      <a:pt x="-2658" y="37029"/>
                      <a:pt x="6598" y="2777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20007448-904C-4464-8465-5698558A07AA}"/>
                  </a:ext>
                </a:extLst>
              </p:cNvPr>
              <p:cNvSpPr/>
              <p:nvPr/>
            </p:nvSpPr>
            <p:spPr>
              <a:xfrm>
                <a:off x="23939582" y="3496296"/>
                <a:ext cx="146243" cy="72514"/>
              </a:xfrm>
              <a:custGeom>
                <a:avLst/>
                <a:gdLst>
                  <a:gd name="connsiteX0" fmla="*/ 4301 w 146243"/>
                  <a:gd name="connsiteY0" fmla="*/ 27771 h 72514"/>
                  <a:gd name="connsiteX1" fmla="*/ 96873 w 146243"/>
                  <a:gd name="connsiteY1" fmla="*/ 0 h 72514"/>
                  <a:gd name="connsiteX2" fmla="*/ 106130 w 146243"/>
                  <a:gd name="connsiteY2" fmla="*/ 0 h 72514"/>
                  <a:gd name="connsiteX3" fmla="*/ 121558 w 146243"/>
                  <a:gd name="connsiteY3" fmla="*/ 3086 h 72514"/>
                  <a:gd name="connsiteX4" fmla="*/ 146244 w 146243"/>
                  <a:gd name="connsiteY4" fmla="*/ 40114 h 72514"/>
                  <a:gd name="connsiteX5" fmla="*/ 109215 w 146243"/>
                  <a:gd name="connsiteY5" fmla="*/ 61714 h 72514"/>
                  <a:gd name="connsiteX6" fmla="*/ 50587 w 146243"/>
                  <a:gd name="connsiteY6" fmla="*/ 70971 h 72514"/>
                  <a:gd name="connsiteX7" fmla="*/ 7386 w 146243"/>
                  <a:gd name="connsiteY7" fmla="*/ 64800 h 72514"/>
                  <a:gd name="connsiteX8" fmla="*/ 4301 w 146243"/>
                  <a:gd name="connsiteY8" fmla="*/ 27771 h 72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6243" h="72514">
                    <a:moveTo>
                      <a:pt x="4301" y="27771"/>
                    </a:moveTo>
                    <a:cubicBezTo>
                      <a:pt x="25900" y="0"/>
                      <a:pt x="66016" y="6171"/>
                      <a:pt x="96873" y="0"/>
                    </a:cubicBezTo>
                    <a:cubicBezTo>
                      <a:pt x="99958" y="0"/>
                      <a:pt x="103043" y="0"/>
                      <a:pt x="106130" y="0"/>
                    </a:cubicBezTo>
                    <a:cubicBezTo>
                      <a:pt x="112301" y="0"/>
                      <a:pt x="115386" y="0"/>
                      <a:pt x="121558" y="3086"/>
                    </a:cubicBezTo>
                    <a:cubicBezTo>
                      <a:pt x="136987" y="9257"/>
                      <a:pt x="146244" y="24686"/>
                      <a:pt x="146244" y="40114"/>
                    </a:cubicBezTo>
                    <a:cubicBezTo>
                      <a:pt x="143159" y="55543"/>
                      <a:pt x="121558" y="58629"/>
                      <a:pt x="109215" y="61714"/>
                    </a:cubicBezTo>
                    <a:cubicBezTo>
                      <a:pt x="90701" y="64800"/>
                      <a:pt x="72186" y="67886"/>
                      <a:pt x="50587" y="70971"/>
                    </a:cubicBezTo>
                    <a:cubicBezTo>
                      <a:pt x="38244" y="70971"/>
                      <a:pt x="19730" y="77143"/>
                      <a:pt x="7386" y="64800"/>
                    </a:cubicBezTo>
                    <a:cubicBezTo>
                      <a:pt x="-1870" y="52457"/>
                      <a:pt x="-1870" y="37029"/>
                      <a:pt x="4301" y="2777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87DF0EC9-7610-4E34-9A5A-1C1A25D456C0}"/>
                  </a:ext>
                </a:extLst>
              </p:cNvPr>
              <p:cNvSpPr/>
              <p:nvPr/>
            </p:nvSpPr>
            <p:spPr>
              <a:xfrm>
                <a:off x="23969340" y="3545667"/>
                <a:ext cx="110313" cy="46779"/>
              </a:xfrm>
              <a:custGeom>
                <a:avLst/>
                <a:gdLst>
                  <a:gd name="connsiteX0" fmla="*/ 5401 w 110313"/>
                  <a:gd name="connsiteY0" fmla="*/ 21600 h 46779"/>
                  <a:gd name="connsiteX1" fmla="*/ 73285 w 110313"/>
                  <a:gd name="connsiteY1" fmla="*/ 0 h 46779"/>
                  <a:gd name="connsiteX2" fmla="*/ 79457 w 110313"/>
                  <a:gd name="connsiteY2" fmla="*/ 0 h 46779"/>
                  <a:gd name="connsiteX3" fmla="*/ 91800 w 110313"/>
                  <a:gd name="connsiteY3" fmla="*/ 0 h 46779"/>
                  <a:gd name="connsiteX4" fmla="*/ 110314 w 110313"/>
                  <a:gd name="connsiteY4" fmla="*/ 24686 h 46779"/>
                  <a:gd name="connsiteX5" fmla="*/ 82544 w 110313"/>
                  <a:gd name="connsiteY5" fmla="*/ 40114 h 46779"/>
                  <a:gd name="connsiteX6" fmla="*/ 39343 w 110313"/>
                  <a:gd name="connsiteY6" fmla="*/ 46286 h 46779"/>
                  <a:gd name="connsiteX7" fmla="*/ 8486 w 110313"/>
                  <a:gd name="connsiteY7" fmla="*/ 40114 h 46779"/>
                  <a:gd name="connsiteX8" fmla="*/ 5401 w 110313"/>
                  <a:gd name="connsiteY8" fmla="*/ 2160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313" h="46779">
                    <a:moveTo>
                      <a:pt x="5401" y="21600"/>
                    </a:moveTo>
                    <a:cubicBezTo>
                      <a:pt x="20829" y="0"/>
                      <a:pt x="51687" y="6171"/>
                      <a:pt x="73285" y="0"/>
                    </a:cubicBezTo>
                    <a:cubicBezTo>
                      <a:pt x="76372" y="0"/>
                      <a:pt x="76372" y="0"/>
                      <a:pt x="79457" y="0"/>
                    </a:cubicBezTo>
                    <a:cubicBezTo>
                      <a:pt x="82544" y="0"/>
                      <a:pt x="85629" y="0"/>
                      <a:pt x="91800" y="0"/>
                    </a:cubicBezTo>
                    <a:cubicBezTo>
                      <a:pt x="101057" y="3086"/>
                      <a:pt x="110314" y="15429"/>
                      <a:pt x="110314" y="24686"/>
                    </a:cubicBezTo>
                    <a:cubicBezTo>
                      <a:pt x="107229" y="37029"/>
                      <a:pt x="91800" y="37029"/>
                      <a:pt x="82544" y="40114"/>
                    </a:cubicBezTo>
                    <a:cubicBezTo>
                      <a:pt x="70200" y="43200"/>
                      <a:pt x="54771" y="46286"/>
                      <a:pt x="39343" y="46286"/>
                    </a:cubicBezTo>
                    <a:cubicBezTo>
                      <a:pt x="30086" y="46286"/>
                      <a:pt x="17743" y="49372"/>
                      <a:pt x="8486" y="40114"/>
                    </a:cubicBezTo>
                    <a:cubicBezTo>
                      <a:pt x="-3858" y="40114"/>
                      <a:pt x="-771" y="27771"/>
                      <a:pt x="5401" y="2160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D4D4477C-669F-415C-A5E1-E44EDD78265A}"/>
                  </a:ext>
                </a:extLst>
              </p:cNvPr>
              <p:cNvSpPr/>
              <p:nvPr/>
            </p:nvSpPr>
            <p:spPr>
              <a:xfrm>
                <a:off x="23906377" y="3403382"/>
                <a:ext cx="183214" cy="123771"/>
              </a:xfrm>
              <a:custGeom>
                <a:avLst/>
                <a:gdLst>
                  <a:gd name="connsiteX0" fmla="*/ 65277 w 183214"/>
                  <a:gd name="connsiteY0" fmla="*/ 123771 h 123771"/>
                  <a:gd name="connsiteX1" fmla="*/ 3563 w 183214"/>
                  <a:gd name="connsiteY1" fmla="*/ 99086 h 123771"/>
                  <a:gd name="connsiteX2" fmla="*/ 3563 w 183214"/>
                  <a:gd name="connsiteY2" fmla="*/ 74400 h 123771"/>
                  <a:gd name="connsiteX3" fmla="*/ 15907 w 183214"/>
                  <a:gd name="connsiteY3" fmla="*/ 68229 h 123771"/>
                  <a:gd name="connsiteX4" fmla="*/ 133163 w 183214"/>
                  <a:gd name="connsiteY4" fmla="*/ 43543 h 123771"/>
                  <a:gd name="connsiteX5" fmla="*/ 136248 w 183214"/>
                  <a:gd name="connsiteY5" fmla="*/ 25029 h 123771"/>
                  <a:gd name="connsiteX6" fmla="*/ 130078 w 183214"/>
                  <a:gd name="connsiteY6" fmla="*/ 15771 h 123771"/>
                  <a:gd name="connsiteX7" fmla="*/ 22078 w 183214"/>
                  <a:gd name="connsiteY7" fmla="*/ 18857 h 123771"/>
                  <a:gd name="connsiteX8" fmla="*/ 15907 w 183214"/>
                  <a:gd name="connsiteY8" fmla="*/ 15771 h 123771"/>
                  <a:gd name="connsiteX9" fmla="*/ 18992 w 183214"/>
                  <a:gd name="connsiteY9" fmla="*/ 9600 h 123771"/>
                  <a:gd name="connsiteX10" fmla="*/ 136248 w 183214"/>
                  <a:gd name="connsiteY10" fmla="*/ 9600 h 123771"/>
                  <a:gd name="connsiteX11" fmla="*/ 148592 w 183214"/>
                  <a:gd name="connsiteY11" fmla="*/ 28114 h 123771"/>
                  <a:gd name="connsiteX12" fmla="*/ 148592 w 183214"/>
                  <a:gd name="connsiteY12" fmla="*/ 43543 h 123771"/>
                  <a:gd name="connsiteX13" fmla="*/ 148592 w 183214"/>
                  <a:gd name="connsiteY13" fmla="*/ 43543 h 123771"/>
                  <a:gd name="connsiteX14" fmla="*/ 182534 w 183214"/>
                  <a:gd name="connsiteY14" fmla="*/ 83657 h 123771"/>
                  <a:gd name="connsiteX15" fmla="*/ 120820 w 183214"/>
                  <a:gd name="connsiteY15" fmla="*/ 123771 h 123771"/>
                  <a:gd name="connsiteX16" fmla="*/ 65277 w 183214"/>
                  <a:gd name="connsiteY16" fmla="*/ 123771 h 123771"/>
                  <a:gd name="connsiteX17" fmla="*/ 15907 w 183214"/>
                  <a:gd name="connsiteY17" fmla="*/ 80571 h 123771"/>
                  <a:gd name="connsiteX18" fmla="*/ 15907 w 183214"/>
                  <a:gd name="connsiteY18" fmla="*/ 80571 h 123771"/>
                  <a:gd name="connsiteX19" fmla="*/ 15907 w 183214"/>
                  <a:gd name="connsiteY19" fmla="*/ 96000 h 123771"/>
                  <a:gd name="connsiteX20" fmla="*/ 117735 w 183214"/>
                  <a:gd name="connsiteY20" fmla="*/ 108343 h 123771"/>
                  <a:gd name="connsiteX21" fmla="*/ 170192 w 183214"/>
                  <a:gd name="connsiteY21" fmla="*/ 80571 h 123771"/>
                  <a:gd name="connsiteX22" fmla="*/ 142420 w 183214"/>
                  <a:gd name="connsiteY22" fmla="*/ 49714 h 123771"/>
                  <a:gd name="connsiteX23" fmla="*/ 142420 w 183214"/>
                  <a:gd name="connsiteY23" fmla="*/ 49714 h 123771"/>
                  <a:gd name="connsiteX24" fmla="*/ 15907 w 183214"/>
                  <a:gd name="connsiteY24" fmla="*/ 80571 h 123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83214" h="123771">
                    <a:moveTo>
                      <a:pt x="65277" y="123771"/>
                    </a:moveTo>
                    <a:cubicBezTo>
                      <a:pt x="37507" y="123771"/>
                      <a:pt x="12820" y="117600"/>
                      <a:pt x="3563" y="99086"/>
                    </a:cubicBezTo>
                    <a:cubicBezTo>
                      <a:pt x="478" y="89829"/>
                      <a:pt x="-2609" y="80571"/>
                      <a:pt x="3563" y="74400"/>
                    </a:cubicBezTo>
                    <a:cubicBezTo>
                      <a:pt x="6650" y="68229"/>
                      <a:pt x="15907" y="68229"/>
                      <a:pt x="15907" y="68229"/>
                    </a:cubicBezTo>
                    <a:cubicBezTo>
                      <a:pt x="83793" y="65143"/>
                      <a:pt x="123907" y="58971"/>
                      <a:pt x="133163" y="43543"/>
                    </a:cubicBezTo>
                    <a:cubicBezTo>
                      <a:pt x="136248" y="37371"/>
                      <a:pt x="136248" y="34286"/>
                      <a:pt x="136248" y="25029"/>
                    </a:cubicBezTo>
                    <a:cubicBezTo>
                      <a:pt x="136248" y="21943"/>
                      <a:pt x="133163" y="18857"/>
                      <a:pt x="130078" y="15771"/>
                    </a:cubicBezTo>
                    <a:cubicBezTo>
                      <a:pt x="108478" y="343"/>
                      <a:pt x="43677" y="12686"/>
                      <a:pt x="22078" y="18857"/>
                    </a:cubicBezTo>
                    <a:cubicBezTo>
                      <a:pt x="18992" y="18857"/>
                      <a:pt x="15907" y="18857"/>
                      <a:pt x="15907" y="15771"/>
                    </a:cubicBezTo>
                    <a:cubicBezTo>
                      <a:pt x="15907" y="12686"/>
                      <a:pt x="15907" y="9600"/>
                      <a:pt x="18992" y="9600"/>
                    </a:cubicBezTo>
                    <a:cubicBezTo>
                      <a:pt x="22078" y="9600"/>
                      <a:pt x="105391" y="-12000"/>
                      <a:pt x="136248" y="9600"/>
                    </a:cubicBezTo>
                    <a:cubicBezTo>
                      <a:pt x="142420" y="12686"/>
                      <a:pt x="148592" y="18857"/>
                      <a:pt x="148592" y="28114"/>
                    </a:cubicBezTo>
                    <a:cubicBezTo>
                      <a:pt x="148592" y="31200"/>
                      <a:pt x="148592" y="37371"/>
                      <a:pt x="148592" y="43543"/>
                    </a:cubicBezTo>
                    <a:cubicBezTo>
                      <a:pt x="148592" y="43543"/>
                      <a:pt x="148592" y="43543"/>
                      <a:pt x="148592" y="43543"/>
                    </a:cubicBezTo>
                    <a:cubicBezTo>
                      <a:pt x="148592" y="43543"/>
                      <a:pt x="179449" y="62057"/>
                      <a:pt x="182534" y="83657"/>
                    </a:cubicBezTo>
                    <a:cubicBezTo>
                      <a:pt x="188706" y="111429"/>
                      <a:pt x="151677" y="117600"/>
                      <a:pt x="120820" y="123771"/>
                    </a:cubicBezTo>
                    <a:cubicBezTo>
                      <a:pt x="102306" y="123771"/>
                      <a:pt x="83793" y="123771"/>
                      <a:pt x="65277" y="123771"/>
                    </a:cubicBezTo>
                    <a:close/>
                    <a:moveTo>
                      <a:pt x="15907" y="80571"/>
                    </a:moveTo>
                    <a:cubicBezTo>
                      <a:pt x="15907" y="80571"/>
                      <a:pt x="12820" y="80571"/>
                      <a:pt x="15907" y="80571"/>
                    </a:cubicBezTo>
                    <a:cubicBezTo>
                      <a:pt x="12820" y="83657"/>
                      <a:pt x="12820" y="86743"/>
                      <a:pt x="15907" y="96000"/>
                    </a:cubicBezTo>
                    <a:cubicBezTo>
                      <a:pt x="25163" y="114514"/>
                      <a:pt x="62192" y="120686"/>
                      <a:pt x="117735" y="108343"/>
                    </a:cubicBezTo>
                    <a:cubicBezTo>
                      <a:pt x="160936" y="99086"/>
                      <a:pt x="173277" y="92914"/>
                      <a:pt x="170192" y="80571"/>
                    </a:cubicBezTo>
                    <a:cubicBezTo>
                      <a:pt x="167105" y="68229"/>
                      <a:pt x="151677" y="52800"/>
                      <a:pt x="142420" y="49714"/>
                    </a:cubicBezTo>
                    <a:cubicBezTo>
                      <a:pt x="142420" y="49714"/>
                      <a:pt x="142420" y="49714"/>
                      <a:pt x="142420" y="49714"/>
                    </a:cubicBezTo>
                    <a:cubicBezTo>
                      <a:pt x="133163" y="62057"/>
                      <a:pt x="111563" y="77486"/>
                      <a:pt x="15907" y="8057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85ED230E-14EA-47DC-8269-5F9F5FB859A1}"/>
                  </a:ext>
                </a:extLst>
              </p:cNvPr>
              <p:cNvSpPr/>
              <p:nvPr/>
            </p:nvSpPr>
            <p:spPr>
              <a:xfrm>
                <a:off x="23935684" y="3493982"/>
                <a:ext cx="159806" cy="79457"/>
              </a:xfrm>
              <a:custGeom>
                <a:avLst/>
                <a:gdLst>
                  <a:gd name="connsiteX0" fmla="*/ 45227 w 159806"/>
                  <a:gd name="connsiteY0" fmla="*/ 79457 h 79457"/>
                  <a:gd name="connsiteX1" fmla="*/ 20541 w 159806"/>
                  <a:gd name="connsiteY1" fmla="*/ 76371 h 79457"/>
                  <a:gd name="connsiteX2" fmla="*/ 2028 w 159806"/>
                  <a:gd name="connsiteY2" fmla="*/ 57857 h 79457"/>
                  <a:gd name="connsiteX3" fmla="*/ 5113 w 159806"/>
                  <a:gd name="connsiteY3" fmla="*/ 27000 h 79457"/>
                  <a:gd name="connsiteX4" fmla="*/ 14369 w 159806"/>
                  <a:gd name="connsiteY4" fmla="*/ 27000 h 79457"/>
                  <a:gd name="connsiteX5" fmla="*/ 14369 w 159806"/>
                  <a:gd name="connsiteY5" fmla="*/ 36257 h 79457"/>
                  <a:gd name="connsiteX6" fmla="*/ 14369 w 159806"/>
                  <a:gd name="connsiteY6" fmla="*/ 54772 h 79457"/>
                  <a:gd name="connsiteX7" fmla="*/ 23628 w 159806"/>
                  <a:gd name="connsiteY7" fmla="*/ 64029 h 79457"/>
                  <a:gd name="connsiteX8" fmla="*/ 131628 w 159806"/>
                  <a:gd name="connsiteY8" fmla="*/ 51686 h 79457"/>
                  <a:gd name="connsiteX9" fmla="*/ 147057 w 159806"/>
                  <a:gd name="connsiteY9" fmla="*/ 36257 h 79457"/>
                  <a:gd name="connsiteX10" fmla="*/ 137798 w 159806"/>
                  <a:gd name="connsiteY10" fmla="*/ 11571 h 79457"/>
                  <a:gd name="connsiteX11" fmla="*/ 137798 w 159806"/>
                  <a:gd name="connsiteY11" fmla="*/ 2314 h 79457"/>
                  <a:gd name="connsiteX12" fmla="*/ 147057 w 159806"/>
                  <a:gd name="connsiteY12" fmla="*/ 2314 h 79457"/>
                  <a:gd name="connsiteX13" fmla="*/ 159398 w 159806"/>
                  <a:gd name="connsiteY13" fmla="*/ 39343 h 79457"/>
                  <a:gd name="connsiteX14" fmla="*/ 134713 w 159806"/>
                  <a:gd name="connsiteY14" fmla="*/ 60943 h 79457"/>
                  <a:gd name="connsiteX15" fmla="*/ 45227 w 159806"/>
                  <a:gd name="connsiteY15" fmla="*/ 79457 h 79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9806" h="79457">
                    <a:moveTo>
                      <a:pt x="45227" y="79457"/>
                    </a:moveTo>
                    <a:cubicBezTo>
                      <a:pt x="32885" y="79457"/>
                      <a:pt x="23628" y="79457"/>
                      <a:pt x="20541" y="76371"/>
                    </a:cubicBezTo>
                    <a:cubicBezTo>
                      <a:pt x="11285" y="73286"/>
                      <a:pt x="5113" y="67114"/>
                      <a:pt x="2028" y="57857"/>
                    </a:cubicBezTo>
                    <a:cubicBezTo>
                      <a:pt x="-1059" y="45514"/>
                      <a:pt x="-1059" y="33171"/>
                      <a:pt x="5113" y="27000"/>
                    </a:cubicBezTo>
                    <a:cubicBezTo>
                      <a:pt x="8200" y="23914"/>
                      <a:pt x="11285" y="23914"/>
                      <a:pt x="14369" y="27000"/>
                    </a:cubicBezTo>
                    <a:cubicBezTo>
                      <a:pt x="17456" y="30086"/>
                      <a:pt x="17456" y="33171"/>
                      <a:pt x="14369" y="36257"/>
                    </a:cubicBezTo>
                    <a:cubicBezTo>
                      <a:pt x="11285" y="39343"/>
                      <a:pt x="11285" y="48600"/>
                      <a:pt x="14369" y="54772"/>
                    </a:cubicBezTo>
                    <a:cubicBezTo>
                      <a:pt x="14369" y="57857"/>
                      <a:pt x="17456" y="64029"/>
                      <a:pt x="23628" y="64029"/>
                    </a:cubicBezTo>
                    <a:cubicBezTo>
                      <a:pt x="39057" y="67114"/>
                      <a:pt x="91512" y="67114"/>
                      <a:pt x="131628" y="51686"/>
                    </a:cubicBezTo>
                    <a:cubicBezTo>
                      <a:pt x="140885" y="48600"/>
                      <a:pt x="147057" y="42429"/>
                      <a:pt x="147057" y="36257"/>
                    </a:cubicBezTo>
                    <a:cubicBezTo>
                      <a:pt x="150142" y="23914"/>
                      <a:pt x="137798" y="11571"/>
                      <a:pt x="137798" y="11571"/>
                    </a:cubicBezTo>
                    <a:cubicBezTo>
                      <a:pt x="134713" y="8486"/>
                      <a:pt x="134713" y="5400"/>
                      <a:pt x="137798" y="2314"/>
                    </a:cubicBezTo>
                    <a:cubicBezTo>
                      <a:pt x="140885" y="-771"/>
                      <a:pt x="143970" y="-771"/>
                      <a:pt x="147057" y="2314"/>
                    </a:cubicBezTo>
                    <a:cubicBezTo>
                      <a:pt x="147057" y="2314"/>
                      <a:pt x="162485" y="20829"/>
                      <a:pt x="159398" y="39343"/>
                    </a:cubicBezTo>
                    <a:cubicBezTo>
                      <a:pt x="156313" y="48600"/>
                      <a:pt x="150142" y="57857"/>
                      <a:pt x="134713" y="60943"/>
                    </a:cubicBezTo>
                    <a:cubicBezTo>
                      <a:pt x="103856" y="73286"/>
                      <a:pt x="69914" y="79457"/>
                      <a:pt x="45227" y="7945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7" name="图形 1">
              <a:extLst>
                <a:ext uri="{FF2B5EF4-FFF2-40B4-BE49-F238E27FC236}">
                  <a16:creationId xmlns:a16="http://schemas.microsoft.com/office/drawing/2014/main" id="{E8DE1972-69D9-40FB-A6AC-8072E30B68DC}"/>
                </a:ext>
              </a:extLst>
            </p:cNvPr>
            <p:cNvGrpSpPr/>
            <p:nvPr/>
          </p:nvGrpSpPr>
          <p:grpSpPr>
            <a:xfrm>
              <a:off x="24003746" y="3408160"/>
              <a:ext cx="162773" cy="122078"/>
              <a:chOff x="24003746" y="3408160"/>
              <a:chExt cx="162773" cy="122078"/>
            </a:xfrm>
          </p:grpSpPr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10467526-EBBC-4A37-85FA-B3F39D984F03}"/>
                  </a:ext>
                </a:extLst>
              </p:cNvPr>
              <p:cNvSpPr/>
              <p:nvPr/>
            </p:nvSpPr>
            <p:spPr>
              <a:xfrm>
                <a:off x="24009904" y="3416258"/>
                <a:ext cx="156614" cy="99794"/>
              </a:xfrm>
              <a:custGeom>
                <a:avLst/>
                <a:gdLst>
                  <a:gd name="connsiteX0" fmla="*/ 8035 w 156614"/>
                  <a:gd name="connsiteY0" fmla="*/ 98552 h 99794"/>
                  <a:gd name="connsiteX1" fmla="*/ 32720 w 156614"/>
                  <a:gd name="connsiteY1" fmla="*/ 80038 h 99794"/>
                  <a:gd name="connsiteX2" fmla="*/ 97522 w 156614"/>
                  <a:gd name="connsiteY2" fmla="*/ 64610 h 99794"/>
                  <a:gd name="connsiteX3" fmla="*/ 153064 w 156614"/>
                  <a:gd name="connsiteY3" fmla="*/ 95467 h 99794"/>
                  <a:gd name="connsiteX4" fmla="*/ 137635 w 156614"/>
                  <a:gd name="connsiteY4" fmla="*/ 15238 h 99794"/>
                  <a:gd name="connsiteX5" fmla="*/ 23464 w 156614"/>
                  <a:gd name="connsiteY5" fmla="*/ 15238 h 99794"/>
                  <a:gd name="connsiteX6" fmla="*/ 8035 w 156614"/>
                  <a:gd name="connsiteY6" fmla="*/ 98552 h 99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6614" h="99794">
                    <a:moveTo>
                      <a:pt x="8035" y="98552"/>
                    </a:moveTo>
                    <a:cubicBezTo>
                      <a:pt x="17292" y="104724"/>
                      <a:pt x="26550" y="86210"/>
                      <a:pt x="32720" y="80038"/>
                    </a:cubicBezTo>
                    <a:cubicBezTo>
                      <a:pt x="54321" y="64610"/>
                      <a:pt x="69749" y="58438"/>
                      <a:pt x="97522" y="64610"/>
                    </a:cubicBezTo>
                    <a:cubicBezTo>
                      <a:pt x="112950" y="67695"/>
                      <a:pt x="140720" y="89295"/>
                      <a:pt x="153064" y="95467"/>
                    </a:cubicBezTo>
                    <a:cubicBezTo>
                      <a:pt x="159236" y="98552"/>
                      <a:pt x="159236" y="24495"/>
                      <a:pt x="137635" y="15238"/>
                    </a:cubicBezTo>
                    <a:cubicBezTo>
                      <a:pt x="109863" y="-190"/>
                      <a:pt x="51236" y="-9448"/>
                      <a:pt x="23464" y="15238"/>
                    </a:cubicBezTo>
                    <a:cubicBezTo>
                      <a:pt x="14207" y="27581"/>
                      <a:pt x="-13565" y="86210"/>
                      <a:pt x="8035" y="9855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BF5F641A-6D8A-41B7-883D-6224295AC859}"/>
                  </a:ext>
                </a:extLst>
              </p:cNvPr>
              <p:cNvSpPr/>
              <p:nvPr/>
            </p:nvSpPr>
            <p:spPr>
              <a:xfrm>
                <a:off x="24003746" y="3408160"/>
                <a:ext cx="153050" cy="122078"/>
              </a:xfrm>
              <a:custGeom>
                <a:avLst/>
                <a:gdLst>
                  <a:gd name="connsiteX0" fmla="*/ 128365 w 153050"/>
                  <a:gd name="connsiteY0" fmla="*/ 122079 h 122078"/>
                  <a:gd name="connsiteX1" fmla="*/ 128365 w 153050"/>
                  <a:gd name="connsiteY1" fmla="*/ 122079 h 122078"/>
                  <a:gd name="connsiteX2" fmla="*/ 97508 w 153050"/>
                  <a:gd name="connsiteY2" fmla="*/ 75793 h 122078"/>
                  <a:gd name="connsiteX3" fmla="*/ 41966 w 153050"/>
                  <a:gd name="connsiteY3" fmla="*/ 97393 h 122078"/>
                  <a:gd name="connsiteX4" fmla="*/ 14193 w 153050"/>
                  <a:gd name="connsiteY4" fmla="*/ 109736 h 122078"/>
                  <a:gd name="connsiteX5" fmla="*/ 1852 w 153050"/>
                  <a:gd name="connsiteY5" fmla="*/ 97393 h 122078"/>
                  <a:gd name="connsiteX6" fmla="*/ 29622 w 153050"/>
                  <a:gd name="connsiteY6" fmla="*/ 17165 h 122078"/>
                  <a:gd name="connsiteX7" fmla="*/ 149966 w 153050"/>
                  <a:gd name="connsiteY7" fmla="*/ 17165 h 122078"/>
                  <a:gd name="connsiteX8" fmla="*/ 153051 w 153050"/>
                  <a:gd name="connsiteY8" fmla="*/ 23336 h 122078"/>
                  <a:gd name="connsiteX9" fmla="*/ 146879 w 153050"/>
                  <a:gd name="connsiteY9" fmla="*/ 26422 h 122078"/>
                  <a:gd name="connsiteX10" fmla="*/ 41966 w 153050"/>
                  <a:gd name="connsiteY10" fmla="*/ 26422 h 122078"/>
                  <a:gd name="connsiteX11" fmla="*/ 17280 w 153050"/>
                  <a:gd name="connsiteY11" fmla="*/ 94307 h 122078"/>
                  <a:gd name="connsiteX12" fmla="*/ 23450 w 153050"/>
                  <a:gd name="connsiteY12" fmla="*/ 100479 h 122078"/>
                  <a:gd name="connsiteX13" fmla="*/ 41966 w 153050"/>
                  <a:gd name="connsiteY13" fmla="*/ 88136 h 122078"/>
                  <a:gd name="connsiteX14" fmla="*/ 112937 w 153050"/>
                  <a:gd name="connsiteY14" fmla="*/ 66536 h 122078"/>
                  <a:gd name="connsiteX15" fmla="*/ 116022 w 153050"/>
                  <a:gd name="connsiteY15" fmla="*/ 69622 h 122078"/>
                  <a:gd name="connsiteX16" fmla="*/ 137622 w 153050"/>
                  <a:gd name="connsiteY16" fmla="*/ 109736 h 122078"/>
                  <a:gd name="connsiteX17" fmla="*/ 140709 w 153050"/>
                  <a:gd name="connsiteY17" fmla="*/ 118993 h 122078"/>
                  <a:gd name="connsiteX18" fmla="*/ 128365 w 153050"/>
                  <a:gd name="connsiteY18" fmla="*/ 122079 h 122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53050" h="122078">
                    <a:moveTo>
                      <a:pt x="128365" y="122079"/>
                    </a:moveTo>
                    <a:cubicBezTo>
                      <a:pt x="125280" y="122079"/>
                      <a:pt x="125280" y="122079"/>
                      <a:pt x="128365" y="122079"/>
                    </a:cubicBezTo>
                    <a:cubicBezTo>
                      <a:pt x="106765" y="112822"/>
                      <a:pt x="100593" y="85050"/>
                      <a:pt x="97508" y="75793"/>
                    </a:cubicBezTo>
                    <a:cubicBezTo>
                      <a:pt x="72823" y="69622"/>
                      <a:pt x="54307" y="85050"/>
                      <a:pt x="41966" y="97393"/>
                    </a:cubicBezTo>
                    <a:cubicBezTo>
                      <a:pt x="32709" y="106650"/>
                      <a:pt x="23450" y="112822"/>
                      <a:pt x="14193" y="109736"/>
                    </a:cubicBezTo>
                    <a:cubicBezTo>
                      <a:pt x="8022" y="109736"/>
                      <a:pt x="1852" y="103565"/>
                      <a:pt x="1852" y="97393"/>
                    </a:cubicBezTo>
                    <a:cubicBezTo>
                      <a:pt x="-4320" y="78879"/>
                      <a:pt x="4937" y="44936"/>
                      <a:pt x="29622" y="17165"/>
                    </a:cubicBezTo>
                    <a:cubicBezTo>
                      <a:pt x="63566" y="-19864"/>
                      <a:pt x="143794" y="14079"/>
                      <a:pt x="149966" y="17165"/>
                    </a:cubicBezTo>
                    <a:cubicBezTo>
                      <a:pt x="153051" y="17165"/>
                      <a:pt x="153051" y="20250"/>
                      <a:pt x="153051" y="23336"/>
                    </a:cubicBezTo>
                    <a:cubicBezTo>
                      <a:pt x="153051" y="26422"/>
                      <a:pt x="149966" y="26422"/>
                      <a:pt x="146879" y="26422"/>
                    </a:cubicBezTo>
                    <a:cubicBezTo>
                      <a:pt x="146879" y="26422"/>
                      <a:pt x="69736" y="-4435"/>
                      <a:pt x="41966" y="26422"/>
                    </a:cubicBezTo>
                    <a:cubicBezTo>
                      <a:pt x="20365" y="51107"/>
                      <a:pt x="11108" y="78879"/>
                      <a:pt x="17280" y="94307"/>
                    </a:cubicBezTo>
                    <a:cubicBezTo>
                      <a:pt x="17280" y="100479"/>
                      <a:pt x="20365" y="100479"/>
                      <a:pt x="23450" y="100479"/>
                    </a:cubicBezTo>
                    <a:cubicBezTo>
                      <a:pt x="26537" y="100479"/>
                      <a:pt x="35794" y="94307"/>
                      <a:pt x="41966" y="88136"/>
                    </a:cubicBezTo>
                    <a:cubicBezTo>
                      <a:pt x="57394" y="75793"/>
                      <a:pt x="78995" y="57279"/>
                      <a:pt x="112937" y="66536"/>
                    </a:cubicBezTo>
                    <a:cubicBezTo>
                      <a:pt x="116022" y="66536"/>
                      <a:pt x="116022" y="69622"/>
                      <a:pt x="116022" y="69622"/>
                    </a:cubicBezTo>
                    <a:cubicBezTo>
                      <a:pt x="116022" y="69622"/>
                      <a:pt x="122193" y="100479"/>
                      <a:pt x="137622" y="109736"/>
                    </a:cubicBezTo>
                    <a:cubicBezTo>
                      <a:pt x="140709" y="109736"/>
                      <a:pt x="140709" y="115907"/>
                      <a:pt x="140709" y="118993"/>
                    </a:cubicBezTo>
                    <a:cubicBezTo>
                      <a:pt x="131450" y="122079"/>
                      <a:pt x="128365" y="122079"/>
                      <a:pt x="128365" y="12207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8" name="图形 1">
              <a:extLst>
                <a:ext uri="{FF2B5EF4-FFF2-40B4-BE49-F238E27FC236}">
                  <a16:creationId xmlns:a16="http://schemas.microsoft.com/office/drawing/2014/main" id="{41E4BBE9-2A7A-4FD9-9CC6-1E865394C4A5}"/>
                </a:ext>
              </a:extLst>
            </p:cNvPr>
            <p:cNvGrpSpPr/>
            <p:nvPr/>
          </p:nvGrpSpPr>
          <p:grpSpPr>
            <a:xfrm>
              <a:off x="24582958" y="3937975"/>
              <a:ext cx="1101798" cy="1900847"/>
              <a:chOff x="24582958" y="3937975"/>
              <a:chExt cx="1101798" cy="1900847"/>
            </a:xfrm>
          </p:grpSpPr>
          <p:grpSp>
            <p:nvGrpSpPr>
              <p:cNvPr id="125" name="图形 1">
                <a:extLst>
                  <a:ext uri="{FF2B5EF4-FFF2-40B4-BE49-F238E27FC236}">
                    <a16:creationId xmlns:a16="http://schemas.microsoft.com/office/drawing/2014/main" id="{13180B2B-932C-47D1-83B0-D9F361D174C4}"/>
                  </a:ext>
                </a:extLst>
              </p:cNvPr>
              <p:cNvGrpSpPr/>
              <p:nvPr/>
            </p:nvGrpSpPr>
            <p:grpSpPr>
              <a:xfrm>
                <a:off x="24582958" y="3937975"/>
                <a:ext cx="1101798" cy="1900847"/>
                <a:chOff x="24582958" y="3937975"/>
                <a:chExt cx="1101798" cy="1900847"/>
              </a:xfrm>
            </p:grpSpPr>
            <p:sp>
              <p:nvSpPr>
                <p:cNvPr id="132" name="任意多边形: 形状 131">
                  <a:extLst>
                    <a:ext uri="{FF2B5EF4-FFF2-40B4-BE49-F238E27FC236}">
                      <a16:creationId xmlns:a16="http://schemas.microsoft.com/office/drawing/2014/main" id="{AD7453F7-6917-4E49-86B3-9962CF948683}"/>
                    </a:ext>
                  </a:extLst>
                </p:cNvPr>
                <p:cNvSpPr/>
                <p:nvPr/>
              </p:nvSpPr>
              <p:spPr>
                <a:xfrm>
                  <a:off x="24582958" y="3937975"/>
                  <a:ext cx="1101798" cy="1900847"/>
                </a:xfrm>
                <a:custGeom>
                  <a:avLst/>
                  <a:gdLst>
                    <a:gd name="connsiteX0" fmla="*/ 8926 w 1101798"/>
                    <a:gd name="connsiteY0" fmla="*/ 786435 h 1900847"/>
                    <a:gd name="connsiteX1" fmla="*/ 18182 w 1101798"/>
                    <a:gd name="connsiteY1" fmla="*/ 817292 h 1900847"/>
                    <a:gd name="connsiteX2" fmla="*/ 18182 w 1101798"/>
                    <a:gd name="connsiteY2" fmla="*/ 817292 h 1900847"/>
                    <a:gd name="connsiteX3" fmla="*/ 18182 w 1101798"/>
                    <a:gd name="connsiteY3" fmla="*/ 820378 h 1900847"/>
                    <a:gd name="connsiteX4" fmla="*/ 36696 w 1101798"/>
                    <a:gd name="connsiteY4" fmla="*/ 891349 h 1900847"/>
                    <a:gd name="connsiteX5" fmla="*/ 144696 w 1101798"/>
                    <a:gd name="connsiteY5" fmla="*/ 1314092 h 1900847"/>
                    <a:gd name="connsiteX6" fmla="*/ 194068 w 1101798"/>
                    <a:gd name="connsiteY6" fmla="*/ 1489978 h 1900847"/>
                    <a:gd name="connsiteX7" fmla="*/ 1101267 w 1101798"/>
                    <a:gd name="connsiteY7" fmla="*/ 1631921 h 1900847"/>
                    <a:gd name="connsiteX8" fmla="*/ 903783 w 1101798"/>
                    <a:gd name="connsiteY8" fmla="*/ 808035 h 1900847"/>
                    <a:gd name="connsiteX9" fmla="*/ 925381 w 1101798"/>
                    <a:gd name="connsiteY9" fmla="*/ 595121 h 1900847"/>
                    <a:gd name="connsiteX10" fmla="*/ 950068 w 1101798"/>
                    <a:gd name="connsiteY10" fmla="*/ 536492 h 1900847"/>
                    <a:gd name="connsiteX11" fmla="*/ 950068 w 1101798"/>
                    <a:gd name="connsiteY11" fmla="*/ 536492 h 1900847"/>
                    <a:gd name="connsiteX12" fmla="*/ 953153 w 1101798"/>
                    <a:gd name="connsiteY12" fmla="*/ 471692 h 1900847"/>
                    <a:gd name="connsiteX13" fmla="*/ 746410 w 1101798"/>
                    <a:gd name="connsiteY13" fmla="*/ 52035 h 1900847"/>
                    <a:gd name="connsiteX14" fmla="*/ 76810 w 1101798"/>
                    <a:gd name="connsiteY14" fmla="*/ 592035 h 1900847"/>
                    <a:gd name="connsiteX15" fmla="*/ 8926 w 1101798"/>
                    <a:gd name="connsiteY15" fmla="*/ 786435 h 1900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01798" h="1900847">
                      <a:moveTo>
                        <a:pt x="8926" y="786435"/>
                      </a:moveTo>
                      <a:cubicBezTo>
                        <a:pt x="12011" y="792606"/>
                        <a:pt x="15095" y="804949"/>
                        <a:pt x="18182" y="817292"/>
                      </a:cubicBezTo>
                      <a:cubicBezTo>
                        <a:pt x="18182" y="817292"/>
                        <a:pt x="18182" y="817292"/>
                        <a:pt x="18182" y="817292"/>
                      </a:cubicBezTo>
                      <a:cubicBezTo>
                        <a:pt x="18182" y="817292"/>
                        <a:pt x="18182" y="817292"/>
                        <a:pt x="18182" y="820378"/>
                      </a:cubicBezTo>
                      <a:lnTo>
                        <a:pt x="36696" y="891349"/>
                      </a:lnTo>
                      <a:cubicBezTo>
                        <a:pt x="70640" y="1020949"/>
                        <a:pt x="126182" y="1227692"/>
                        <a:pt x="144696" y="1314092"/>
                      </a:cubicBezTo>
                      <a:cubicBezTo>
                        <a:pt x="150868" y="1341864"/>
                        <a:pt x="169381" y="1406664"/>
                        <a:pt x="194068" y="1489978"/>
                      </a:cubicBezTo>
                      <a:cubicBezTo>
                        <a:pt x="326754" y="1915807"/>
                        <a:pt x="1076582" y="2085521"/>
                        <a:pt x="1101267" y="1631921"/>
                      </a:cubicBezTo>
                      <a:cubicBezTo>
                        <a:pt x="1113611" y="1422092"/>
                        <a:pt x="906868" y="854321"/>
                        <a:pt x="903783" y="808035"/>
                      </a:cubicBezTo>
                      <a:cubicBezTo>
                        <a:pt x="894524" y="715464"/>
                        <a:pt x="909953" y="641407"/>
                        <a:pt x="925381" y="595121"/>
                      </a:cubicBezTo>
                      <a:cubicBezTo>
                        <a:pt x="937725" y="576606"/>
                        <a:pt x="943897" y="555007"/>
                        <a:pt x="950068" y="536492"/>
                      </a:cubicBezTo>
                      <a:cubicBezTo>
                        <a:pt x="950068" y="536492"/>
                        <a:pt x="950068" y="536492"/>
                        <a:pt x="950068" y="536492"/>
                      </a:cubicBezTo>
                      <a:cubicBezTo>
                        <a:pt x="956238" y="514892"/>
                        <a:pt x="956238" y="493292"/>
                        <a:pt x="953153" y="471692"/>
                      </a:cubicBezTo>
                      <a:cubicBezTo>
                        <a:pt x="928468" y="277292"/>
                        <a:pt x="835897" y="126092"/>
                        <a:pt x="746410" y="52035"/>
                      </a:cubicBezTo>
                      <a:cubicBezTo>
                        <a:pt x="459439" y="-176308"/>
                        <a:pt x="366868" y="409978"/>
                        <a:pt x="76810" y="592035"/>
                      </a:cubicBezTo>
                      <a:cubicBezTo>
                        <a:pt x="12011" y="635235"/>
                        <a:pt x="-15762" y="715464"/>
                        <a:pt x="8926" y="786435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3" name="任意多边形: 形状 132">
                  <a:extLst>
                    <a:ext uri="{FF2B5EF4-FFF2-40B4-BE49-F238E27FC236}">
                      <a16:creationId xmlns:a16="http://schemas.microsoft.com/office/drawing/2014/main" id="{C6540543-AEC4-4A9E-89FF-ECD006416FAE}"/>
                    </a:ext>
                  </a:extLst>
                </p:cNvPr>
                <p:cNvSpPr/>
                <p:nvPr/>
              </p:nvSpPr>
              <p:spPr>
                <a:xfrm>
                  <a:off x="24655860" y="4017258"/>
                  <a:ext cx="804053" cy="770841"/>
                </a:xfrm>
                <a:custGeom>
                  <a:avLst/>
                  <a:gdLst>
                    <a:gd name="connsiteX0" fmla="*/ 580936 w 804053"/>
                    <a:gd name="connsiteY0" fmla="*/ 25209 h 770841"/>
                    <a:gd name="connsiteX1" fmla="*/ 803108 w 804053"/>
                    <a:gd name="connsiteY1" fmla="*/ 395495 h 770841"/>
                    <a:gd name="connsiteX2" fmla="*/ 275452 w 804053"/>
                    <a:gd name="connsiteY2" fmla="*/ 762695 h 770841"/>
                    <a:gd name="connsiteX3" fmla="*/ 65622 w 804053"/>
                    <a:gd name="connsiteY3" fmla="*/ 494238 h 770841"/>
                    <a:gd name="connsiteX4" fmla="*/ 580936 w 804053"/>
                    <a:gd name="connsiteY4" fmla="*/ 25209 h 7708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4053" h="770841">
                      <a:moveTo>
                        <a:pt x="580936" y="25209"/>
                      </a:moveTo>
                      <a:cubicBezTo>
                        <a:pt x="658079" y="86923"/>
                        <a:pt x="784595" y="231952"/>
                        <a:pt x="803108" y="395495"/>
                      </a:cubicBezTo>
                      <a:cubicBezTo>
                        <a:pt x="821622" y="559038"/>
                        <a:pt x="565508" y="707152"/>
                        <a:pt x="275452" y="762695"/>
                      </a:cubicBezTo>
                      <a:cubicBezTo>
                        <a:pt x="-11521" y="818238"/>
                        <a:pt x="-60892" y="574466"/>
                        <a:pt x="65622" y="494238"/>
                      </a:cubicBezTo>
                      <a:cubicBezTo>
                        <a:pt x="349508" y="318352"/>
                        <a:pt x="417394" y="-107477"/>
                        <a:pt x="580936" y="25209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34" name="图形 1">
                  <a:extLst>
                    <a:ext uri="{FF2B5EF4-FFF2-40B4-BE49-F238E27FC236}">
                      <a16:creationId xmlns:a16="http://schemas.microsoft.com/office/drawing/2014/main" id="{FC2891F2-40FD-47F0-B182-7BF5BB40BB5A}"/>
                    </a:ext>
                  </a:extLst>
                </p:cNvPr>
                <p:cNvGrpSpPr/>
                <p:nvPr/>
              </p:nvGrpSpPr>
              <p:grpSpPr>
                <a:xfrm>
                  <a:off x="24948562" y="4982853"/>
                  <a:ext cx="504130" cy="489071"/>
                  <a:chOff x="24948562" y="4982853"/>
                  <a:chExt cx="504130" cy="489071"/>
                </a:xfrm>
                <a:solidFill>
                  <a:srgbClr val="F1DDBA"/>
                </a:solidFill>
              </p:grpSpPr>
              <p:sp>
                <p:nvSpPr>
                  <p:cNvPr id="137" name="任意多边形: 形状 136">
                    <a:extLst>
                      <a:ext uri="{FF2B5EF4-FFF2-40B4-BE49-F238E27FC236}">
                        <a16:creationId xmlns:a16="http://schemas.microsoft.com/office/drawing/2014/main" id="{D9AF32BD-20E6-4D1B-9DA1-BCD6734B915F}"/>
                      </a:ext>
                    </a:extLst>
                  </p:cNvPr>
                  <p:cNvSpPr/>
                  <p:nvPr/>
                </p:nvSpPr>
                <p:spPr>
                  <a:xfrm>
                    <a:off x="25196683" y="5094696"/>
                    <a:ext cx="256008" cy="308571"/>
                  </a:xfrm>
                  <a:custGeom>
                    <a:avLst/>
                    <a:gdLst>
                      <a:gd name="connsiteX0" fmla="*/ 33942 w 256008"/>
                      <a:gd name="connsiteY0" fmla="*/ 83314 h 308571"/>
                      <a:gd name="connsiteX1" fmla="*/ 9257 w 256008"/>
                      <a:gd name="connsiteY1" fmla="*/ 104914 h 308571"/>
                      <a:gd name="connsiteX2" fmla="*/ 0 w 256008"/>
                      <a:gd name="connsiteY2" fmla="*/ 101829 h 308571"/>
                      <a:gd name="connsiteX3" fmla="*/ 6172 w 256008"/>
                      <a:gd name="connsiteY3" fmla="*/ 6171 h 308571"/>
                      <a:gd name="connsiteX4" fmla="*/ 12344 w 256008"/>
                      <a:gd name="connsiteY4" fmla="*/ 0 h 308571"/>
                      <a:gd name="connsiteX5" fmla="*/ 61714 w 256008"/>
                      <a:gd name="connsiteY5" fmla="*/ 3086 h 308571"/>
                      <a:gd name="connsiteX6" fmla="*/ 64799 w 256008"/>
                      <a:gd name="connsiteY6" fmla="*/ 0 h 308571"/>
                      <a:gd name="connsiteX7" fmla="*/ 67886 w 256008"/>
                      <a:gd name="connsiteY7" fmla="*/ 3086 h 308571"/>
                      <a:gd name="connsiteX8" fmla="*/ 111085 w 256008"/>
                      <a:gd name="connsiteY8" fmla="*/ 6171 h 308571"/>
                      <a:gd name="connsiteX9" fmla="*/ 114172 w 256008"/>
                      <a:gd name="connsiteY9" fmla="*/ 15429 h 308571"/>
                      <a:gd name="connsiteX10" fmla="*/ 92571 w 256008"/>
                      <a:gd name="connsiteY10" fmla="*/ 30857 h 308571"/>
                      <a:gd name="connsiteX11" fmla="*/ 240685 w 256008"/>
                      <a:gd name="connsiteY11" fmla="*/ 194400 h 308571"/>
                      <a:gd name="connsiteX12" fmla="*/ 253029 w 256008"/>
                      <a:gd name="connsiteY12" fmla="*/ 256114 h 308571"/>
                      <a:gd name="connsiteX13" fmla="*/ 206743 w 256008"/>
                      <a:gd name="connsiteY13" fmla="*/ 299314 h 308571"/>
                      <a:gd name="connsiteX14" fmla="*/ 157371 w 256008"/>
                      <a:gd name="connsiteY14" fmla="*/ 308571 h 308571"/>
                      <a:gd name="connsiteX15" fmla="*/ 141942 w 256008"/>
                      <a:gd name="connsiteY15" fmla="*/ 231429 h 308571"/>
                      <a:gd name="connsiteX16" fmla="*/ 163542 w 256008"/>
                      <a:gd name="connsiteY16" fmla="*/ 225257 h 308571"/>
                      <a:gd name="connsiteX17" fmla="*/ 33942 w 256008"/>
                      <a:gd name="connsiteY17" fmla="*/ 83314 h 3085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256008" h="308571">
                        <a:moveTo>
                          <a:pt x="33942" y="83314"/>
                        </a:moveTo>
                        <a:lnTo>
                          <a:pt x="9257" y="104914"/>
                        </a:lnTo>
                        <a:cubicBezTo>
                          <a:pt x="6172" y="108000"/>
                          <a:pt x="0" y="104914"/>
                          <a:pt x="0" y="101829"/>
                        </a:cubicBezTo>
                        <a:lnTo>
                          <a:pt x="6172" y="6171"/>
                        </a:lnTo>
                        <a:cubicBezTo>
                          <a:pt x="6172" y="3086"/>
                          <a:pt x="9257" y="0"/>
                          <a:pt x="12344" y="0"/>
                        </a:cubicBezTo>
                        <a:lnTo>
                          <a:pt x="61714" y="3086"/>
                        </a:lnTo>
                        <a:lnTo>
                          <a:pt x="64799" y="0"/>
                        </a:lnTo>
                        <a:lnTo>
                          <a:pt x="67886" y="3086"/>
                        </a:lnTo>
                        <a:lnTo>
                          <a:pt x="111085" y="6171"/>
                        </a:lnTo>
                        <a:cubicBezTo>
                          <a:pt x="114172" y="6171"/>
                          <a:pt x="117257" y="12343"/>
                          <a:pt x="114172" y="15429"/>
                        </a:cubicBezTo>
                        <a:lnTo>
                          <a:pt x="92571" y="30857"/>
                        </a:lnTo>
                        <a:lnTo>
                          <a:pt x="240685" y="194400"/>
                        </a:lnTo>
                        <a:cubicBezTo>
                          <a:pt x="256114" y="209829"/>
                          <a:pt x="259201" y="234514"/>
                          <a:pt x="253029" y="256114"/>
                        </a:cubicBezTo>
                        <a:cubicBezTo>
                          <a:pt x="246857" y="277714"/>
                          <a:pt x="228344" y="293143"/>
                          <a:pt x="206743" y="299314"/>
                        </a:cubicBezTo>
                        <a:lnTo>
                          <a:pt x="157371" y="308571"/>
                        </a:lnTo>
                        <a:lnTo>
                          <a:pt x="141942" y="231429"/>
                        </a:lnTo>
                        <a:lnTo>
                          <a:pt x="163542" y="225257"/>
                        </a:lnTo>
                        <a:lnTo>
                          <a:pt x="33942" y="83314"/>
                        </a:lnTo>
                        <a:close/>
                      </a:path>
                    </a:pathLst>
                  </a:custGeom>
                  <a:solidFill>
                    <a:srgbClr val="F1DDBA"/>
                  </a:solidFill>
                  <a:ln w="30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" name="任意多边形: 形状 137">
                    <a:extLst>
                      <a:ext uri="{FF2B5EF4-FFF2-40B4-BE49-F238E27FC236}">
                        <a16:creationId xmlns:a16="http://schemas.microsoft.com/office/drawing/2014/main" id="{0B224743-468F-4B4A-91D8-0734EBAD95AE}"/>
                      </a:ext>
                    </a:extLst>
                  </p:cNvPr>
                  <p:cNvSpPr/>
                  <p:nvPr/>
                </p:nvSpPr>
                <p:spPr>
                  <a:xfrm>
                    <a:off x="24964044" y="4982853"/>
                    <a:ext cx="244982" cy="343271"/>
                  </a:xfrm>
                  <a:custGeom>
                    <a:avLst/>
                    <a:gdLst>
                      <a:gd name="connsiteX0" fmla="*/ 174009 w 244982"/>
                      <a:gd name="connsiteY0" fmla="*/ 93329 h 343271"/>
                      <a:gd name="connsiteX1" fmla="*/ 112295 w 244982"/>
                      <a:gd name="connsiteY1" fmla="*/ 275386 h 343271"/>
                      <a:gd name="connsiteX2" fmla="*/ 140067 w 244982"/>
                      <a:gd name="connsiteY2" fmla="*/ 284643 h 343271"/>
                      <a:gd name="connsiteX3" fmla="*/ 140067 w 244982"/>
                      <a:gd name="connsiteY3" fmla="*/ 293901 h 343271"/>
                      <a:gd name="connsiteX4" fmla="*/ 56753 w 244982"/>
                      <a:gd name="connsiteY4" fmla="*/ 343272 h 343271"/>
                      <a:gd name="connsiteX5" fmla="*/ 50581 w 244982"/>
                      <a:gd name="connsiteY5" fmla="*/ 340186 h 343271"/>
                      <a:gd name="connsiteX6" fmla="*/ 1210 w 244982"/>
                      <a:gd name="connsiteY6" fmla="*/ 256872 h 343271"/>
                      <a:gd name="connsiteX7" fmla="*/ 7382 w 244982"/>
                      <a:gd name="connsiteY7" fmla="*/ 250701 h 343271"/>
                      <a:gd name="connsiteX8" fmla="*/ 35152 w 244982"/>
                      <a:gd name="connsiteY8" fmla="*/ 256872 h 343271"/>
                      <a:gd name="connsiteX9" fmla="*/ 106125 w 244982"/>
                      <a:gd name="connsiteY9" fmla="*/ 43958 h 343271"/>
                      <a:gd name="connsiteX10" fmla="*/ 152411 w 244982"/>
                      <a:gd name="connsiteY10" fmla="*/ 758 h 343271"/>
                      <a:gd name="connsiteX11" fmla="*/ 214125 w 244982"/>
                      <a:gd name="connsiteY11" fmla="*/ 22358 h 343271"/>
                      <a:gd name="connsiteX12" fmla="*/ 244982 w 244982"/>
                      <a:gd name="connsiteY12" fmla="*/ 59386 h 343271"/>
                      <a:gd name="connsiteX13" fmla="*/ 186353 w 244982"/>
                      <a:gd name="connsiteY13" fmla="*/ 108758 h 343271"/>
                      <a:gd name="connsiteX14" fmla="*/ 174009 w 244982"/>
                      <a:gd name="connsiteY14" fmla="*/ 93329 h 3432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44982" h="343271">
                        <a:moveTo>
                          <a:pt x="174009" y="93329"/>
                        </a:moveTo>
                        <a:lnTo>
                          <a:pt x="112295" y="275386"/>
                        </a:lnTo>
                        <a:lnTo>
                          <a:pt x="140067" y="284643"/>
                        </a:lnTo>
                        <a:cubicBezTo>
                          <a:pt x="143152" y="284643"/>
                          <a:pt x="146239" y="290815"/>
                          <a:pt x="140067" y="293901"/>
                        </a:cubicBezTo>
                        <a:lnTo>
                          <a:pt x="56753" y="343272"/>
                        </a:lnTo>
                        <a:cubicBezTo>
                          <a:pt x="53668" y="343272"/>
                          <a:pt x="50581" y="343272"/>
                          <a:pt x="50581" y="340186"/>
                        </a:cubicBezTo>
                        <a:lnTo>
                          <a:pt x="1210" y="256872"/>
                        </a:lnTo>
                        <a:cubicBezTo>
                          <a:pt x="-1875" y="253786"/>
                          <a:pt x="1210" y="247615"/>
                          <a:pt x="7382" y="250701"/>
                        </a:cubicBezTo>
                        <a:lnTo>
                          <a:pt x="35152" y="256872"/>
                        </a:lnTo>
                        <a:lnTo>
                          <a:pt x="106125" y="43958"/>
                        </a:lnTo>
                        <a:cubicBezTo>
                          <a:pt x="112295" y="22358"/>
                          <a:pt x="130811" y="6929"/>
                          <a:pt x="152411" y="758"/>
                        </a:cubicBezTo>
                        <a:cubicBezTo>
                          <a:pt x="174009" y="-2328"/>
                          <a:pt x="198697" y="3843"/>
                          <a:pt x="214125" y="22358"/>
                        </a:cubicBezTo>
                        <a:lnTo>
                          <a:pt x="244982" y="59386"/>
                        </a:lnTo>
                        <a:lnTo>
                          <a:pt x="186353" y="108758"/>
                        </a:lnTo>
                        <a:lnTo>
                          <a:pt x="174009" y="93329"/>
                        </a:lnTo>
                        <a:close/>
                      </a:path>
                    </a:pathLst>
                  </a:custGeom>
                  <a:solidFill>
                    <a:srgbClr val="F1DDBA"/>
                  </a:solidFill>
                  <a:ln w="30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" name="任意多边形: 形状 138">
                    <a:extLst>
                      <a:ext uri="{FF2B5EF4-FFF2-40B4-BE49-F238E27FC236}">
                        <a16:creationId xmlns:a16="http://schemas.microsoft.com/office/drawing/2014/main" id="{979D0C34-1539-4772-8878-D945FE1B909B}"/>
                      </a:ext>
                    </a:extLst>
                  </p:cNvPr>
                  <p:cNvSpPr/>
                  <p:nvPr/>
                </p:nvSpPr>
                <p:spPr>
                  <a:xfrm>
                    <a:off x="24948562" y="5319112"/>
                    <a:ext cx="349178" cy="152812"/>
                  </a:xfrm>
                  <a:custGeom>
                    <a:avLst/>
                    <a:gdLst>
                      <a:gd name="connsiteX0" fmla="*/ 4349 w 349178"/>
                      <a:gd name="connsiteY0" fmla="*/ 71812 h 152812"/>
                      <a:gd name="connsiteX1" fmla="*/ 25949 w 349178"/>
                      <a:gd name="connsiteY1" fmla="*/ 13184 h 152812"/>
                      <a:gd name="connsiteX2" fmla="*/ 100007 w 349178"/>
                      <a:gd name="connsiteY2" fmla="*/ 40955 h 152812"/>
                      <a:gd name="connsiteX3" fmla="*/ 87664 w 349178"/>
                      <a:gd name="connsiteY3" fmla="*/ 71812 h 152812"/>
                      <a:gd name="connsiteX4" fmla="*/ 263550 w 349178"/>
                      <a:gd name="connsiteY4" fmla="*/ 34784 h 152812"/>
                      <a:gd name="connsiteX5" fmla="*/ 257378 w 349178"/>
                      <a:gd name="connsiteY5" fmla="*/ 7012 h 152812"/>
                      <a:gd name="connsiteX6" fmla="*/ 266635 w 349178"/>
                      <a:gd name="connsiteY6" fmla="*/ 841 h 152812"/>
                      <a:gd name="connsiteX7" fmla="*/ 346865 w 349178"/>
                      <a:gd name="connsiteY7" fmla="*/ 53298 h 152812"/>
                      <a:gd name="connsiteX8" fmla="*/ 346865 w 349178"/>
                      <a:gd name="connsiteY8" fmla="*/ 59469 h 152812"/>
                      <a:gd name="connsiteX9" fmla="*/ 294407 w 349178"/>
                      <a:gd name="connsiteY9" fmla="*/ 139698 h 152812"/>
                      <a:gd name="connsiteX10" fmla="*/ 285150 w 349178"/>
                      <a:gd name="connsiteY10" fmla="*/ 136612 h 152812"/>
                      <a:gd name="connsiteX11" fmla="*/ 278978 w 349178"/>
                      <a:gd name="connsiteY11" fmla="*/ 108841 h 152812"/>
                      <a:gd name="connsiteX12" fmla="*/ 75322 w 349178"/>
                      <a:gd name="connsiteY12" fmla="*/ 152041 h 152812"/>
                      <a:gd name="connsiteX13" fmla="*/ 16693 w 349178"/>
                      <a:gd name="connsiteY13" fmla="*/ 133527 h 152812"/>
                      <a:gd name="connsiteX14" fmla="*/ 4349 w 349178"/>
                      <a:gd name="connsiteY14" fmla="*/ 71812 h 1528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349178" h="152812">
                        <a:moveTo>
                          <a:pt x="4349" y="71812"/>
                        </a:moveTo>
                        <a:lnTo>
                          <a:pt x="25949" y="13184"/>
                        </a:lnTo>
                        <a:lnTo>
                          <a:pt x="100007" y="40955"/>
                        </a:lnTo>
                        <a:lnTo>
                          <a:pt x="87664" y="71812"/>
                        </a:lnTo>
                        <a:lnTo>
                          <a:pt x="263550" y="34784"/>
                        </a:lnTo>
                        <a:lnTo>
                          <a:pt x="257378" y="7012"/>
                        </a:lnTo>
                        <a:cubicBezTo>
                          <a:pt x="257378" y="3927"/>
                          <a:pt x="260465" y="-2245"/>
                          <a:pt x="266635" y="841"/>
                        </a:cubicBezTo>
                        <a:lnTo>
                          <a:pt x="346865" y="53298"/>
                        </a:lnTo>
                        <a:cubicBezTo>
                          <a:pt x="349949" y="56384"/>
                          <a:pt x="349949" y="59469"/>
                          <a:pt x="346865" y="59469"/>
                        </a:cubicBezTo>
                        <a:lnTo>
                          <a:pt x="294407" y="139698"/>
                        </a:lnTo>
                        <a:cubicBezTo>
                          <a:pt x="291322" y="142784"/>
                          <a:pt x="285150" y="142784"/>
                          <a:pt x="285150" y="136612"/>
                        </a:cubicBezTo>
                        <a:lnTo>
                          <a:pt x="278978" y="108841"/>
                        </a:lnTo>
                        <a:lnTo>
                          <a:pt x="75322" y="152041"/>
                        </a:lnTo>
                        <a:cubicBezTo>
                          <a:pt x="53722" y="155127"/>
                          <a:pt x="32121" y="148955"/>
                          <a:pt x="16693" y="133527"/>
                        </a:cubicBezTo>
                        <a:cubicBezTo>
                          <a:pt x="1264" y="118098"/>
                          <a:pt x="-4908" y="93412"/>
                          <a:pt x="4349" y="71812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0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120242F6-3462-443F-ABE6-CDE4916FB7D2}"/>
                    </a:ext>
                  </a:extLst>
                </p:cNvPr>
                <p:cNvSpPr/>
                <p:nvPr/>
              </p:nvSpPr>
              <p:spPr>
                <a:xfrm>
                  <a:off x="25279997" y="4536182"/>
                  <a:ext cx="228341" cy="247312"/>
                </a:xfrm>
                <a:custGeom>
                  <a:avLst/>
                  <a:gdLst>
                    <a:gd name="connsiteX0" fmla="*/ 228342 w 228341"/>
                    <a:gd name="connsiteY0" fmla="*/ 0 h 247312"/>
                    <a:gd name="connsiteX1" fmla="*/ 0 w 228341"/>
                    <a:gd name="connsiteY1" fmla="*/ 194400 h 247312"/>
                    <a:gd name="connsiteX2" fmla="*/ 43199 w 228341"/>
                    <a:gd name="connsiteY2" fmla="*/ 246857 h 247312"/>
                    <a:gd name="connsiteX3" fmla="*/ 203656 w 228341"/>
                    <a:gd name="connsiteY3" fmla="*/ 117257 h 247312"/>
                    <a:gd name="connsiteX4" fmla="*/ 228342 w 228341"/>
                    <a:gd name="connsiteY4" fmla="*/ 0 h 247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8341" h="247312">
                      <a:moveTo>
                        <a:pt x="228342" y="0"/>
                      </a:moveTo>
                      <a:cubicBezTo>
                        <a:pt x="228342" y="0"/>
                        <a:pt x="129600" y="160457"/>
                        <a:pt x="0" y="194400"/>
                      </a:cubicBezTo>
                      <a:cubicBezTo>
                        <a:pt x="0" y="194400"/>
                        <a:pt x="3085" y="253028"/>
                        <a:pt x="43199" y="246857"/>
                      </a:cubicBezTo>
                      <a:cubicBezTo>
                        <a:pt x="83315" y="240686"/>
                        <a:pt x="203656" y="117257"/>
                        <a:pt x="203656" y="117257"/>
                      </a:cubicBezTo>
                      <a:lnTo>
                        <a:pt x="228342" y="0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57D1131D-75E3-4AC0-B21D-66A982635ED4}"/>
                    </a:ext>
                  </a:extLst>
                </p:cNvPr>
                <p:cNvSpPr/>
                <p:nvPr/>
              </p:nvSpPr>
              <p:spPr>
                <a:xfrm>
                  <a:off x="24598053" y="4758353"/>
                  <a:ext cx="194637" cy="672685"/>
                </a:xfrm>
                <a:custGeom>
                  <a:avLst/>
                  <a:gdLst>
                    <a:gd name="connsiteX0" fmla="*/ 0 w 194637"/>
                    <a:gd name="connsiteY0" fmla="*/ 0 h 672685"/>
                    <a:gd name="connsiteX1" fmla="*/ 0 w 194637"/>
                    <a:gd name="connsiteY1" fmla="*/ 0 h 672685"/>
                    <a:gd name="connsiteX2" fmla="*/ 18515 w 194637"/>
                    <a:gd name="connsiteY2" fmla="*/ 74057 h 672685"/>
                    <a:gd name="connsiteX3" fmla="*/ 126515 w 194637"/>
                    <a:gd name="connsiteY3" fmla="*/ 496800 h 672685"/>
                    <a:gd name="connsiteX4" fmla="*/ 175886 w 194637"/>
                    <a:gd name="connsiteY4" fmla="*/ 672686 h 672685"/>
                    <a:gd name="connsiteX5" fmla="*/ 194402 w 194637"/>
                    <a:gd name="connsiteY5" fmla="*/ 583200 h 672685"/>
                    <a:gd name="connsiteX6" fmla="*/ 145029 w 194637"/>
                    <a:gd name="connsiteY6" fmla="*/ 376457 h 672685"/>
                    <a:gd name="connsiteX7" fmla="*/ 98743 w 194637"/>
                    <a:gd name="connsiteY7" fmla="*/ 123429 h 672685"/>
                    <a:gd name="connsiteX8" fmla="*/ 120344 w 194637"/>
                    <a:gd name="connsiteY8" fmla="*/ 132686 h 672685"/>
                    <a:gd name="connsiteX9" fmla="*/ 148116 w 194637"/>
                    <a:gd name="connsiteY9" fmla="*/ 101829 h 672685"/>
                    <a:gd name="connsiteX10" fmla="*/ 0 w 194637"/>
                    <a:gd name="connsiteY10" fmla="*/ 0 h 672685"/>
                    <a:gd name="connsiteX11" fmla="*/ 0 w 194637"/>
                    <a:gd name="connsiteY11" fmla="*/ 0 h 672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94637" h="672685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8515" y="74057"/>
                      </a:lnTo>
                      <a:cubicBezTo>
                        <a:pt x="52458" y="203657"/>
                        <a:pt x="108000" y="410400"/>
                        <a:pt x="126515" y="496800"/>
                      </a:cubicBezTo>
                      <a:cubicBezTo>
                        <a:pt x="132687" y="524571"/>
                        <a:pt x="151201" y="592457"/>
                        <a:pt x="175886" y="672686"/>
                      </a:cubicBezTo>
                      <a:cubicBezTo>
                        <a:pt x="188230" y="644914"/>
                        <a:pt x="194402" y="614057"/>
                        <a:pt x="194402" y="583200"/>
                      </a:cubicBezTo>
                      <a:cubicBezTo>
                        <a:pt x="197486" y="509143"/>
                        <a:pt x="169714" y="441257"/>
                        <a:pt x="145029" y="376457"/>
                      </a:cubicBezTo>
                      <a:cubicBezTo>
                        <a:pt x="117259" y="293143"/>
                        <a:pt x="104915" y="209829"/>
                        <a:pt x="98743" y="123429"/>
                      </a:cubicBezTo>
                      <a:cubicBezTo>
                        <a:pt x="104915" y="126514"/>
                        <a:pt x="114172" y="129600"/>
                        <a:pt x="120344" y="132686"/>
                      </a:cubicBezTo>
                      <a:cubicBezTo>
                        <a:pt x="145029" y="135771"/>
                        <a:pt x="148116" y="101829"/>
                        <a:pt x="148116" y="101829"/>
                      </a:cubicBezTo>
                      <a:cubicBezTo>
                        <a:pt x="67886" y="86400"/>
                        <a:pt x="6172" y="3086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26" name="图形 1">
                <a:extLst>
                  <a:ext uri="{FF2B5EF4-FFF2-40B4-BE49-F238E27FC236}">
                    <a16:creationId xmlns:a16="http://schemas.microsoft.com/office/drawing/2014/main" id="{987E54FD-5398-4FF3-89B5-3D91A34B00C0}"/>
                  </a:ext>
                </a:extLst>
              </p:cNvPr>
              <p:cNvGrpSpPr/>
              <p:nvPr/>
            </p:nvGrpSpPr>
            <p:grpSpPr>
              <a:xfrm>
                <a:off x="24720808" y="4449985"/>
                <a:ext cx="710682" cy="385510"/>
                <a:chOff x="24720808" y="4449985"/>
                <a:chExt cx="710682" cy="385510"/>
              </a:xfrm>
            </p:grpSpPr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5A9E413A-9015-455A-9B18-DB7DCED04875}"/>
                    </a:ext>
                  </a:extLst>
                </p:cNvPr>
                <p:cNvSpPr/>
                <p:nvPr/>
              </p:nvSpPr>
              <p:spPr>
                <a:xfrm>
                  <a:off x="24909036" y="4561952"/>
                  <a:ext cx="266340" cy="242687"/>
                </a:xfrm>
                <a:custGeom>
                  <a:avLst/>
                  <a:gdLst>
                    <a:gd name="connsiteX0" fmla="*/ 16104 w 266340"/>
                    <a:gd name="connsiteY0" fmla="*/ 116173 h 242687"/>
                    <a:gd name="connsiteX1" fmla="*/ 28446 w 266340"/>
                    <a:gd name="connsiteY1" fmla="*/ 202573 h 242687"/>
                    <a:gd name="connsiteX2" fmla="*/ 96332 w 266340"/>
                    <a:gd name="connsiteY2" fmla="*/ 218001 h 242687"/>
                    <a:gd name="connsiteX3" fmla="*/ 170390 w 266340"/>
                    <a:gd name="connsiteY3" fmla="*/ 236516 h 242687"/>
                    <a:gd name="connsiteX4" fmla="*/ 232104 w 266340"/>
                    <a:gd name="connsiteY4" fmla="*/ 193316 h 242687"/>
                    <a:gd name="connsiteX5" fmla="*/ 256789 w 266340"/>
                    <a:gd name="connsiteY5" fmla="*/ 91487 h 242687"/>
                    <a:gd name="connsiteX6" fmla="*/ 250618 w 266340"/>
                    <a:gd name="connsiteY6" fmla="*/ 85316 h 242687"/>
                    <a:gd name="connsiteX7" fmla="*/ 229017 w 266340"/>
                    <a:gd name="connsiteY7" fmla="*/ 29773 h 242687"/>
                    <a:gd name="connsiteX8" fmla="*/ 108676 w 266340"/>
                    <a:gd name="connsiteY8" fmla="*/ 11258 h 242687"/>
                    <a:gd name="connsiteX9" fmla="*/ 3760 w 266340"/>
                    <a:gd name="connsiteY9" fmla="*/ 76058 h 242687"/>
                    <a:gd name="connsiteX10" fmla="*/ 16104 w 266340"/>
                    <a:gd name="connsiteY10" fmla="*/ 116173 h 242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66340" h="242687">
                      <a:moveTo>
                        <a:pt x="16104" y="116173"/>
                      </a:moveTo>
                      <a:cubicBezTo>
                        <a:pt x="6847" y="147030"/>
                        <a:pt x="3760" y="177887"/>
                        <a:pt x="28446" y="202573"/>
                      </a:cubicBezTo>
                      <a:cubicBezTo>
                        <a:pt x="46961" y="221087"/>
                        <a:pt x="71647" y="227258"/>
                        <a:pt x="96332" y="218001"/>
                      </a:cubicBezTo>
                      <a:cubicBezTo>
                        <a:pt x="111760" y="242687"/>
                        <a:pt x="139533" y="248859"/>
                        <a:pt x="170390" y="236516"/>
                      </a:cubicBezTo>
                      <a:cubicBezTo>
                        <a:pt x="195075" y="227258"/>
                        <a:pt x="222847" y="221087"/>
                        <a:pt x="232104" y="193316"/>
                      </a:cubicBezTo>
                      <a:cubicBezTo>
                        <a:pt x="272218" y="187144"/>
                        <a:pt x="272218" y="119258"/>
                        <a:pt x="256789" y="91487"/>
                      </a:cubicBezTo>
                      <a:cubicBezTo>
                        <a:pt x="253704" y="88401"/>
                        <a:pt x="253704" y="85316"/>
                        <a:pt x="250618" y="85316"/>
                      </a:cubicBezTo>
                      <a:cubicBezTo>
                        <a:pt x="256789" y="63716"/>
                        <a:pt x="244446" y="45201"/>
                        <a:pt x="229017" y="29773"/>
                      </a:cubicBezTo>
                      <a:cubicBezTo>
                        <a:pt x="198160" y="-4170"/>
                        <a:pt x="148789" y="-7256"/>
                        <a:pt x="108676" y="11258"/>
                      </a:cubicBezTo>
                      <a:cubicBezTo>
                        <a:pt x="74732" y="26687"/>
                        <a:pt x="16104" y="32859"/>
                        <a:pt x="3760" y="76058"/>
                      </a:cubicBezTo>
                      <a:cubicBezTo>
                        <a:pt x="-5496" y="97659"/>
                        <a:pt x="3760" y="110001"/>
                        <a:pt x="16104" y="116173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84916142-451E-41EF-86CC-FCD468E2AFE8}"/>
                    </a:ext>
                  </a:extLst>
                </p:cNvPr>
                <p:cNvSpPr/>
                <p:nvPr/>
              </p:nvSpPr>
              <p:spPr>
                <a:xfrm>
                  <a:off x="25044769" y="4449985"/>
                  <a:ext cx="197646" cy="228348"/>
                </a:xfrm>
                <a:custGeom>
                  <a:avLst/>
                  <a:gdLst>
                    <a:gd name="connsiteX0" fmla="*/ 176599 w 197646"/>
                    <a:gd name="connsiteY0" fmla="*/ 178768 h 228348"/>
                    <a:gd name="connsiteX1" fmla="*/ 195115 w 197646"/>
                    <a:gd name="connsiteY1" fmla="*/ 15225 h 228348"/>
                    <a:gd name="connsiteX2" fmla="*/ 13057 w 197646"/>
                    <a:gd name="connsiteY2" fmla="*/ 86197 h 228348"/>
                    <a:gd name="connsiteX3" fmla="*/ 6885 w 197646"/>
                    <a:gd name="connsiteY3" fmla="*/ 212711 h 228348"/>
                    <a:gd name="connsiteX4" fmla="*/ 176599 w 197646"/>
                    <a:gd name="connsiteY4" fmla="*/ 178768 h 228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7646" h="228348">
                      <a:moveTo>
                        <a:pt x="176599" y="178768"/>
                      </a:moveTo>
                      <a:cubicBezTo>
                        <a:pt x="176599" y="178768"/>
                        <a:pt x="167343" y="73854"/>
                        <a:pt x="195115" y="15225"/>
                      </a:cubicBezTo>
                      <a:cubicBezTo>
                        <a:pt x="222885" y="-43404"/>
                        <a:pt x="13057" y="86197"/>
                        <a:pt x="13057" y="86197"/>
                      </a:cubicBezTo>
                      <a:cubicBezTo>
                        <a:pt x="13057" y="86197"/>
                        <a:pt x="-11628" y="163339"/>
                        <a:pt x="6885" y="212711"/>
                      </a:cubicBezTo>
                      <a:cubicBezTo>
                        <a:pt x="28485" y="262082"/>
                        <a:pt x="176599" y="178768"/>
                        <a:pt x="176599" y="178768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65F0BDF2-7699-47BC-B1F1-E492DDE39CAD}"/>
                    </a:ext>
                  </a:extLst>
                </p:cNvPr>
                <p:cNvSpPr/>
                <p:nvPr/>
              </p:nvSpPr>
              <p:spPr>
                <a:xfrm>
                  <a:off x="24877249" y="4557388"/>
                  <a:ext cx="159748" cy="140465"/>
                </a:xfrm>
                <a:custGeom>
                  <a:avLst/>
                  <a:gdLst>
                    <a:gd name="connsiteX0" fmla="*/ 152804 w 159748"/>
                    <a:gd name="connsiteY0" fmla="*/ 46679 h 140465"/>
                    <a:gd name="connsiteX1" fmla="*/ 158976 w 159748"/>
                    <a:gd name="connsiteY1" fmla="*/ 71365 h 140465"/>
                    <a:gd name="connsiteX2" fmla="*/ 140463 w 159748"/>
                    <a:gd name="connsiteY2" fmla="*/ 117650 h 140465"/>
                    <a:gd name="connsiteX3" fmla="*/ 115777 w 159748"/>
                    <a:gd name="connsiteY3" fmla="*/ 133079 h 140465"/>
                    <a:gd name="connsiteX4" fmla="*/ 72577 w 159748"/>
                    <a:gd name="connsiteY4" fmla="*/ 136165 h 140465"/>
                    <a:gd name="connsiteX5" fmla="*/ 26291 w 159748"/>
                    <a:gd name="connsiteY5" fmla="*/ 114565 h 140465"/>
                    <a:gd name="connsiteX6" fmla="*/ 1605 w 159748"/>
                    <a:gd name="connsiteY6" fmla="*/ 62107 h 140465"/>
                    <a:gd name="connsiteX7" fmla="*/ 7777 w 159748"/>
                    <a:gd name="connsiteY7" fmla="*/ 34336 h 140465"/>
                    <a:gd name="connsiteX8" fmla="*/ 57148 w 159748"/>
                    <a:gd name="connsiteY8" fmla="*/ 393 h 140465"/>
                    <a:gd name="connsiteX9" fmla="*/ 115777 w 159748"/>
                    <a:gd name="connsiteY9" fmla="*/ 9650 h 140465"/>
                    <a:gd name="connsiteX10" fmla="*/ 152804 w 159748"/>
                    <a:gd name="connsiteY10" fmla="*/ 46679 h 1404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59748" h="140465">
                      <a:moveTo>
                        <a:pt x="152804" y="46679"/>
                      </a:moveTo>
                      <a:lnTo>
                        <a:pt x="158976" y="71365"/>
                      </a:lnTo>
                      <a:cubicBezTo>
                        <a:pt x="162063" y="89879"/>
                        <a:pt x="155891" y="108393"/>
                        <a:pt x="140463" y="117650"/>
                      </a:cubicBezTo>
                      <a:lnTo>
                        <a:pt x="115777" y="133079"/>
                      </a:lnTo>
                      <a:cubicBezTo>
                        <a:pt x="103434" y="142336"/>
                        <a:pt x="88005" y="142336"/>
                        <a:pt x="72577" y="136165"/>
                      </a:cubicBezTo>
                      <a:lnTo>
                        <a:pt x="26291" y="114565"/>
                      </a:lnTo>
                      <a:cubicBezTo>
                        <a:pt x="7777" y="105307"/>
                        <a:pt x="-4566" y="83708"/>
                        <a:pt x="1605" y="62107"/>
                      </a:cubicBezTo>
                      <a:lnTo>
                        <a:pt x="7777" y="34336"/>
                      </a:lnTo>
                      <a:cubicBezTo>
                        <a:pt x="13947" y="12736"/>
                        <a:pt x="35548" y="-2693"/>
                        <a:pt x="57148" y="393"/>
                      </a:cubicBezTo>
                      <a:lnTo>
                        <a:pt x="115777" y="9650"/>
                      </a:lnTo>
                      <a:cubicBezTo>
                        <a:pt x="134291" y="15822"/>
                        <a:pt x="149719" y="28165"/>
                        <a:pt x="152804" y="46679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0F691B0E-71C7-4C11-9C13-B60308509F9F}"/>
                    </a:ext>
                  </a:extLst>
                </p:cNvPr>
                <p:cNvSpPr/>
                <p:nvPr/>
              </p:nvSpPr>
              <p:spPr>
                <a:xfrm>
                  <a:off x="25165150" y="4512580"/>
                  <a:ext cx="266340" cy="242687"/>
                </a:xfrm>
                <a:custGeom>
                  <a:avLst/>
                  <a:gdLst>
                    <a:gd name="connsiteX0" fmla="*/ 16104 w 266340"/>
                    <a:gd name="connsiteY0" fmla="*/ 116173 h 242687"/>
                    <a:gd name="connsiteX1" fmla="*/ 28448 w 266340"/>
                    <a:gd name="connsiteY1" fmla="*/ 202573 h 242687"/>
                    <a:gd name="connsiteX2" fmla="*/ 96332 w 266340"/>
                    <a:gd name="connsiteY2" fmla="*/ 218001 h 242687"/>
                    <a:gd name="connsiteX3" fmla="*/ 170390 w 266340"/>
                    <a:gd name="connsiteY3" fmla="*/ 236516 h 242687"/>
                    <a:gd name="connsiteX4" fmla="*/ 232104 w 266340"/>
                    <a:gd name="connsiteY4" fmla="*/ 193316 h 242687"/>
                    <a:gd name="connsiteX5" fmla="*/ 256789 w 266340"/>
                    <a:gd name="connsiteY5" fmla="*/ 91487 h 242687"/>
                    <a:gd name="connsiteX6" fmla="*/ 250618 w 266340"/>
                    <a:gd name="connsiteY6" fmla="*/ 85316 h 242687"/>
                    <a:gd name="connsiteX7" fmla="*/ 229019 w 266340"/>
                    <a:gd name="connsiteY7" fmla="*/ 29773 h 242687"/>
                    <a:gd name="connsiteX8" fmla="*/ 108676 w 266340"/>
                    <a:gd name="connsiteY8" fmla="*/ 11258 h 242687"/>
                    <a:gd name="connsiteX9" fmla="*/ 3760 w 266340"/>
                    <a:gd name="connsiteY9" fmla="*/ 76058 h 242687"/>
                    <a:gd name="connsiteX10" fmla="*/ 16104 w 266340"/>
                    <a:gd name="connsiteY10" fmla="*/ 116173 h 242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66340" h="242687">
                      <a:moveTo>
                        <a:pt x="16104" y="116173"/>
                      </a:moveTo>
                      <a:cubicBezTo>
                        <a:pt x="6847" y="147030"/>
                        <a:pt x="3760" y="177887"/>
                        <a:pt x="28448" y="202573"/>
                      </a:cubicBezTo>
                      <a:cubicBezTo>
                        <a:pt x="46961" y="221087"/>
                        <a:pt x="71647" y="227258"/>
                        <a:pt x="96332" y="218001"/>
                      </a:cubicBezTo>
                      <a:cubicBezTo>
                        <a:pt x="111760" y="242687"/>
                        <a:pt x="139533" y="248858"/>
                        <a:pt x="170390" y="236516"/>
                      </a:cubicBezTo>
                      <a:cubicBezTo>
                        <a:pt x="195075" y="227258"/>
                        <a:pt x="222847" y="221087"/>
                        <a:pt x="232104" y="193316"/>
                      </a:cubicBezTo>
                      <a:cubicBezTo>
                        <a:pt x="272218" y="187144"/>
                        <a:pt x="272218" y="119258"/>
                        <a:pt x="256789" y="91487"/>
                      </a:cubicBezTo>
                      <a:cubicBezTo>
                        <a:pt x="253704" y="88401"/>
                        <a:pt x="253704" y="85316"/>
                        <a:pt x="250618" y="85316"/>
                      </a:cubicBezTo>
                      <a:cubicBezTo>
                        <a:pt x="256789" y="63716"/>
                        <a:pt x="244448" y="45201"/>
                        <a:pt x="229019" y="29773"/>
                      </a:cubicBezTo>
                      <a:cubicBezTo>
                        <a:pt x="198162" y="-4170"/>
                        <a:pt x="148789" y="-7256"/>
                        <a:pt x="108676" y="11258"/>
                      </a:cubicBezTo>
                      <a:cubicBezTo>
                        <a:pt x="74733" y="26687"/>
                        <a:pt x="16104" y="32858"/>
                        <a:pt x="3760" y="76058"/>
                      </a:cubicBezTo>
                      <a:cubicBezTo>
                        <a:pt x="-5496" y="97659"/>
                        <a:pt x="3760" y="113087"/>
                        <a:pt x="16104" y="116173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BE9BC977-E24C-4E84-9E7F-589EB87CD2BD}"/>
                    </a:ext>
                  </a:extLst>
                </p:cNvPr>
                <p:cNvSpPr/>
                <p:nvPr/>
              </p:nvSpPr>
              <p:spPr>
                <a:xfrm>
                  <a:off x="24720808" y="4592809"/>
                  <a:ext cx="266340" cy="242687"/>
                </a:xfrm>
                <a:custGeom>
                  <a:avLst/>
                  <a:gdLst>
                    <a:gd name="connsiteX0" fmla="*/ 16102 w 266340"/>
                    <a:gd name="connsiteY0" fmla="*/ 116173 h 242687"/>
                    <a:gd name="connsiteX1" fmla="*/ 28446 w 266340"/>
                    <a:gd name="connsiteY1" fmla="*/ 202573 h 242687"/>
                    <a:gd name="connsiteX2" fmla="*/ 96332 w 266340"/>
                    <a:gd name="connsiteY2" fmla="*/ 218001 h 242687"/>
                    <a:gd name="connsiteX3" fmla="*/ 170388 w 266340"/>
                    <a:gd name="connsiteY3" fmla="*/ 236516 h 242687"/>
                    <a:gd name="connsiteX4" fmla="*/ 232102 w 266340"/>
                    <a:gd name="connsiteY4" fmla="*/ 193316 h 242687"/>
                    <a:gd name="connsiteX5" fmla="*/ 256789 w 266340"/>
                    <a:gd name="connsiteY5" fmla="*/ 91487 h 242687"/>
                    <a:gd name="connsiteX6" fmla="*/ 250618 w 266340"/>
                    <a:gd name="connsiteY6" fmla="*/ 85316 h 242687"/>
                    <a:gd name="connsiteX7" fmla="*/ 229017 w 266340"/>
                    <a:gd name="connsiteY7" fmla="*/ 29773 h 242687"/>
                    <a:gd name="connsiteX8" fmla="*/ 108674 w 266340"/>
                    <a:gd name="connsiteY8" fmla="*/ 11258 h 242687"/>
                    <a:gd name="connsiteX9" fmla="*/ 3761 w 266340"/>
                    <a:gd name="connsiteY9" fmla="*/ 76058 h 242687"/>
                    <a:gd name="connsiteX10" fmla="*/ 16102 w 266340"/>
                    <a:gd name="connsiteY10" fmla="*/ 116173 h 242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66340" h="242687">
                      <a:moveTo>
                        <a:pt x="16102" y="116173"/>
                      </a:moveTo>
                      <a:cubicBezTo>
                        <a:pt x="6845" y="147030"/>
                        <a:pt x="3761" y="177887"/>
                        <a:pt x="28446" y="202573"/>
                      </a:cubicBezTo>
                      <a:cubicBezTo>
                        <a:pt x="46959" y="221087"/>
                        <a:pt x="71647" y="227258"/>
                        <a:pt x="96332" y="218001"/>
                      </a:cubicBezTo>
                      <a:cubicBezTo>
                        <a:pt x="111761" y="242687"/>
                        <a:pt x="139531" y="248859"/>
                        <a:pt x="170388" y="236516"/>
                      </a:cubicBezTo>
                      <a:cubicBezTo>
                        <a:pt x="195075" y="227258"/>
                        <a:pt x="222845" y="221087"/>
                        <a:pt x="232102" y="193316"/>
                      </a:cubicBezTo>
                      <a:cubicBezTo>
                        <a:pt x="272218" y="187144"/>
                        <a:pt x="272218" y="119258"/>
                        <a:pt x="256789" y="91487"/>
                      </a:cubicBezTo>
                      <a:cubicBezTo>
                        <a:pt x="253703" y="88401"/>
                        <a:pt x="253703" y="85316"/>
                        <a:pt x="250618" y="85316"/>
                      </a:cubicBezTo>
                      <a:cubicBezTo>
                        <a:pt x="256789" y="63716"/>
                        <a:pt x="244446" y="45201"/>
                        <a:pt x="229017" y="29773"/>
                      </a:cubicBezTo>
                      <a:cubicBezTo>
                        <a:pt x="198160" y="-4170"/>
                        <a:pt x="148789" y="-7256"/>
                        <a:pt x="108674" y="11258"/>
                      </a:cubicBezTo>
                      <a:cubicBezTo>
                        <a:pt x="74732" y="26687"/>
                        <a:pt x="16102" y="32859"/>
                        <a:pt x="3761" y="76058"/>
                      </a:cubicBezTo>
                      <a:cubicBezTo>
                        <a:pt x="-5496" y="97659"/>
                        <a:pt x="3761" y="110001"/>
                        <a:pt x="16102" y="116173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19" name="图形 1">
              <a:extLst>
                <a:ext uri="{FF2B5EF4-FFF2-40B4-BE49-F238E27FC236}">
                  <a16:creationId xmlns:a16="http://schemas.microsoft.com/office/drawing/2014/main" id="{05558BFB-E746-443E-B614-C69CE5402D13}"/>
                </a:ext>
              </a:extLst>
            </p:cNvPr>
            <p:cNvGrpSpPr/>
            <p:nvPr/>
          </p:nvGrpSpPr>
          <p:grpSpPr>
            <a:xfrm>
              <a:off x="25116455" y="3792418"/>
              <a:ext cx="378681" cy="300402"/>
              <a:chOff x="25116455" y="3792418"/>
              <a:chExt cx="378681" cy="300402"/>
            </a:xfrm>
          </p:grpSpPr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A4BA43DA-4D39-46E9-B504-0F2AD113940C}"/>
                  </a:ext>
                </a:extLst>
              </p:cNvPr>
              <p:cNvSpPr/>
              <p:nvPr/>
            </p:nvSpPr>
            <p:spPr>
              <a:xfrm>
                <a:off x="25120583" y="3792418"/>
                <a:ext cx="374553" cy="300402"/>
              </a:xfrm>
              <a:custGeom>
                <a:avLst/>
                <a:gdLst>
                  <a:gd name="connsiteX0" fmla="*/ 372328 w 374553"/>
                  <a:gd name="connsiteY0" fmla="*/ 105020 h 300402"/>
                  <a:gd name="connsiteX1" fmla="*/ 292100 w 374553"/>
                  <a:gd name="connsiteY1" fmla="*/ 106 h 300402"/>
                  <a:gd name="connsiteX2" fmla="*/ 51415 w 374553"/>
                  <a:gd name="connsiteY2" fmla="*/ 117363 h 300402"/>
                  <a:gd name="connsiteX3" fmla="*/ 5129 w 374553"/>
                  <a:gd name="connsiteY3" fmla="*/ 179078 h 300402"/>
                  <a:gd name="connsiteX4" fmla="*/ 26729 w 374553"/>
                  <a:gd name="connsiteY4" fmla="*/ 182163 h 300402"/>
                  <a:gd name="connsiteX5" fmla="*/ 69928 w 374553"/>
                  <a:gd name="connsiteY5" fmla="*/ 166735 h 300402"/>
                  <a:gd name="connsiteX6" fmla="*/ 26729 w 374553"/>
                  <a:gd name="connsiteY6" fmla="*/ 213020 h 300402"/>
                  <a:gd name="connsiteX7" fmla="*/ 2042 w 374553"/>
                  <a:gd name="connsiteY7" fmla="*/ 277821 h 300402"/>
                  <a:gd name="connsiteX8" fmla="*/ 35986 w 374553"/>
                  <a:gd name="connsiteY8" fmla="*/ 277821 h 300402"/>
                  <a:gd name="connsiteX9" fmla="*/ 42158 w 374553"/>
                  <a:gd name="connsiteY9" fmla="*/ 293249 h 300402"/>
                  <a:gd name="connsiteX10" fmla="*/ 116214 w 374553"/>
                  <a:gd name="connsiteY10" fmla="*/ 268563 h 300402"/>
                  <a:gd name="connsiteX11" fmla="*/ 162500 w 374553"/>
                  <a:gd name="connsiteY11" fmla="*/ 237706 h 300402"/>
                  <a:gd name="connsiteX12" fmla="*/ 137814 w 374553"/>
                  <a:gd name="connsiteY12" fmla="*/ 299420 h 300402"/>
                  <a:gd name="connsiteX13" fmla="*/ 187185 w 374553"/>
                  <a:gd name="connsiteY13" fmla="*/ 274735 h 300402"/>
                  <a:gd name="connsiteX14" fmla="*/ 264328 w 374553"/>
                  <a:gd name="connsiteY14" fmla="*/ 209935 h 300402"/>
                  <a:gd name="connsiteX15" fmla="*/ 347642 w 374553"/>
                  <a:gd name="connsiteY15" fmla="*/ 154392 h 300402"/>
                  <a:gd name="connsiteX16" fmla="*/ 372328 w 374553"/>
                  <a:gd name="connsiteY16" fmla="*/ 105020 h 300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74553" h="300402">
                    <a:moveTo>
                      <a:pt x="372328" y="105020"/>
                    </a:moveTo>
                    <a:cubicBezTo>
                      <a:pt x="366158" y="61821"/>
                      <a:pt x="292100" y="-2980"/>
                      <a:pt x="292100" y="106"/>
                    </a:cubicBezTo>
                    <a:cubicBezTo>
                      <a:pt x="211872" y="37135"/>
                      <a:pt x="125471" y="64906"/>
                      <a:pt x="51415" y="117363"/>
                    </a:cubicBezTo>
                    <a:cubicBezTo>
                      <a:pt x="39071" y="126621"/>
                      <a:pt x="-16471" y="157478"/>
                      <a:pt x="5129" y="179078"/>
                    </a:cubicBezTo>
                    <a:cubicBezTo>
                      <a:pt x="11301" y="185249"/>
                      <a:pt x="20557" y="182163"/>
                      <a:pt x="26729" y="182163"/>
                    </a:cubicBezTo>
                    <a:cubicBezTo>
                      <a:pt x="42158" y="179078"/>
                      <a:pt x="54500" y="172906"/>
                      <a:pt x="69928" y="166735"/>
                    </a:cubicBezTo>
                    <a:cubicBezTo>
                      <a:pt x="54500" y="182163"/>
                      <a:pt x="39071" y="194506"/>
                      <a:pt x="26729" y="213020"/>
                    </a:cubicBezTo>
                    <a:cubicBezTo>
                      <a:pt x="17471" y="225363"/>
                      <a:pt x="-7215" y="259306"/>
                      <a:pt x="2042" y="277821"/>
                    </a:cubicBezTo>
                    <a:cubicBezTo>
                      <a:pt x="8214" y="287078"/>
                      <a:pt x="20557" y="287078"/>
                      <a:pt x="35986" y="277821"/>
                    </a:cubicBezTo>
                    <a:cubicBezTo>
                      <a:pt x="32899" y="283992"/>
                      <a:pt x="35986" y="290163"/>
                      <a:pt x="42158" y="293249"/>
                    </a:cubicBezTo>
                    <a:cubicBezTo>
                      <a:pt x="63756" y="302506"/>
                      <a:pt x="100785" y="277821"/>
                      <a:pt x="116214" y="268563"/>
                    </a:cubicBezTo>
                    <a:cubicBezTo>
                      <a:pt x="131642" y="259306"/>
                      <a:pt x="147071" y="246963"/>
                      <a:pt x="162500" y="237706"/>
                    </a:cubicBezTo>
                    <a:cubicBezTo>
                      <a:pt x="137814" y="262392"/>
                      <a:pt x="116214" y="290163"/>
                      <a:pt x="137814" y="299420"/>
                    </a:cubicBezTo>
                    <a:cubicBezTo>
                      <a:pt x="153243" y="305592"/>
                      <a:pt x="177928" y="280906"/>
                      <a:pt x="187185" y="274735"/>
                    </a:cubicBezTo>
                    <a:cubicBezTo>
                      <a:pt x="214957" y="253135"/>
                      <a:pt x="236557" y="228449"/>
                      <a:pt x="264328" y="209935"/>
                    </a:cubicBezTo>
                    <a:cubicBezTo>
                      <a:pt x="289015" y="191420"/>
                      <a:pt x="319872" y="172906"/>
                      <a:pt x="347642" y="154392"/>
                    </a:cubicBezTo>
                    <a:cubicBezTo>
                      <a:pt x="372328" y="135878"/>
                      <a:pt x="378500" y="129706"/>
                      <a:pt x="372328" y="10502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B93E915B-223E-4082-8AAB-7F6DD296AFD4}"/>
                  </a:ext>
                </a:extLst>
              </p:cNvPr>
              <p:cNvSpPr/>
              <p:nvPr/>
            </p:nvSpPr>
            <p:spPr>
              <a:xfrm>
                <a:off x="25116455" y="3854239"/>
                <a:ext cx="154285" cy="129599"/>
              </a:xfrm>
              <a:custGeom>
                <a:avLst/>
                <a:gdLst>
                  <a:gd name="connsiteX0" fmla="*/ 24685 w 154285"/>
                  <a:gd name="connsiteY0" fmla="*/ 129600 h 129599"/>
                  <a:gd name="connsiteX1" fmla="*/ 6170 w 154285"/>
                  <a:gd name="connsiteY1" fmla="*/ 123429 h 129599"/>
                  <a:gd name="connsiteX2" fmla="*/ 0 w 154285"/>
                  <a:gd name="connsiteY2" fmla="*/ 108000 h 129599"/>
                  <a:gd name="connsiteX3" fmla="*/ 145027 w 154285"/>
                  <a:gd name="connsiteY3" fmla="*/ 0 h 129599"/>
                  <a:gd name="connsiteX4" fmla="*/ 151199 w 154285"/>
                  <a:gd name="connsiteY4" fmla="*/ 3086 h 129599"/>
                  <a:gd name="connsiteX5" fmla="*/ 148114 w 154285"/>
                  <a:gd name="connsiteY5" fmla="*/ 9257 h 129599"/>
                  <a:gd name="connsiteX6" fmla="*/ 9257 w 154285"/>
                  <a:gd name="connsiteY6" fmla="*/ 108000 h 129599"/>
                  <a:gd name="connsiteX7" fmla="*/ 12342 w 154285"/>
                  <a:gd name="connsiteY7" fmla="*/ 111086 h 129599"/>
                  <a:gd name="connsiteX8" fmla="*/ 70971 w 154285"/>
                  <a:gd name="connsiteY8" fmla="*/ 95657 h 129599"/>
                  <a:gd name="connsiteX9" fmla="*/ 148114 w 154285"/>
                  <a:gd name="connsiteY9" fmla="*/ 52457 h 129599"/>
                  <a:gd name="connsiteX10" fmla="*/ 154286 w 154285"/>
                  <a:gd name="connsiteY10" fmla="*/ 58628 h 129599"/>
                  <a:gd name="connsiteX11" fmla="*/ 148114 w 154285"/>
                  <a:gd name="connsiteY11" fmla="*/ 64800 h 129599"/>
                  <a:gd name="connsiteX12" fmla="*/ 77143 w 154285"/>
                  <a:gd name="connsiteY12" fmla="*/ 108000 h 129599"/>
                  <a:gd name="connsiteX13" fmla="*/ 24685 w 154285"/>
                  <a:gd name="connsiteY13" fmla="*/ 129600 h 129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4285" h="129599">
                    <a:moveTo>
                      <a:pt x="24685" y="129600"/>
                    </a:moveTo>
                    <a:cubicBezTo>
                      <a:pt x="18514" y="129600"/>
                      <a:pt x="12342" y="129600"/>
                      <a:pt x="6170" y="123429"/>
                    </a:cubicBezTo>
                    <a:cubicBezTo>
                      <a:pt x="0" y="120343"/>
                      <a:pt x="0" y="114171"/>
                      <a:pt x="0" y="108000"/>
                    </a:cubicBezTo>
                    <a:cubicBezTo>
                      <a:pt x="3085" y="80229"/>
                      <a:pt x="64799" y="33943"/>
                      <a:pt x="145027" y="0"/>
                    </a:cubicBezTo>
                    <a:cubicBezTo>
                      <a:pt x="148114" y="0"/>
                      <a:pt x="151199" y="0"/>
                      <a:pt x="151199" y="3086"/>
                    </a:cubicBezTo>
                    <a:cubicBezTo>
                      <a:pt x="151199" y="6171"/>
                      <a:pt x="151199" y="9257"/>
                      <a:pt x="148114" y="9257"/>
                    </a:cubicBezTo>
                    <a:cubicBezTo>
                      <a:pt x="55542" y="49371"/>
                      <a:pt x="12342" y="92571"/>
                      <a:pt x="9257" y="108000"/>
                    </a:cubicBezTo>
                    <a:cubicBezTo>
                      <a:pt x="9257" y="111086"/>
                      <a:pt x="9257" y="111086"/>
                      <a:pt x="12342" y="111086"/>
                    </a:cubicBezTo>
                    <a:cubicBezTo>
                      <a:pt x="27770" y="120343"/>
                      <a:pt x="58627" y="101828"/>
                      <a:pt x="70971" y="95657"/>
                    </a:cubicBezTo>
                    <a:cubicBezTo>
                      <a:pt x="86400" y="86400"/>
                      <a:pt x="132685" y="52457"/>
                      <a:pt x="148114" y="52457"/>
                    </a:cubicBezTo>
                    <a:cubicBezTo>
                      <a:pt x="151199" y="52457"/>
                      <a:pt x="154286" y="55543"/>
                      <a:pt x="154286" y="58628"/>
                    </a:cubicBezTo>
                    <a:cubicBezTo>
                      <a:pt x="154286" y="61714"/>
                      <a:pt x="151199" y="64800"/>
                      <a:pt x="148114" y="64800"/>
                    </a:cubicBezTo>
                    <a:cubicBezTo>
                      <a:pt x="141942" y="64800"/>
                      <a:pt x="104913" y="86400"/>
                      <a:pt x="77143" y="108000"/>
                    </a:cubicBezTo>
                    <a:cubicBezTo>
                      <a:pt x="77143" y="111086"/>
                      <a:pt x="49371" y="129600"/>
                      <a:pt x="24685" y="1296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E60D06EF-BE5A-4981-AD77-D2EC243BBEC0}"/>
                  </a:ext>
                </a:extLst>
              </p:cNvPr>
              <p:cNvSpPr/>
              <p:nvPr/>
            </p:nvSpPr>
            <p:spPr>
              <a:xfrm>
                <a:off x="25154254" y="3952982"/>
                <a:ext cx="135000" cy="120342"/>
              </a:xfrm>
              <a:custGeom>
                <a:avLst/>
                <a:gdLst>
                  <a:gd name="connsiteX0" fmla="*/ 5400 w 135000"/>
                  <a:gd name="connsiteY0" fmla="*/ 120343 h 120342"/>
                  <a:gd name="connsiteX1" fmla="*/ 2315 w 135000"/>
                  <a:gd name="connsiteY1" fmla="*/ 120343 h 120342"/>
                  <a:gd name="connsiteX2" fmla="*/ 2315 w 135000"/>
                  <a:gd name="connsiteY2" fmla="*/ 111086 h 120342"/>
                  <a:gd name="connsiteX3" fmla="*/ 128829 w 135000"/>
                  <a:gd name="connsiteY3" fmla="*/ 0 h 120342"/>
                  <a:gd name="connsiteX4" fmla="*/ 135000 w 135000"/>
                  <a:gd name="connsiteY4" fmla="*/ 3086 h 120342"/>
                  <a:gd name="connsiteX5" fmla="*/ 131916 w 135000"/>
                  <a:gd name="connsiteY5" fmla="*/ 9257 h 120342"/>
                  <a:gd name="connsiteX6" fmla="*/ 8487 w 135000"/>
                  <a:gd name="connsiteY6" fmla="*/ 117257 h 120342"/>
                  <a:gd name="connsiteX7" fmla="*/ 5400 w 135000"/>
                  <a:gd name="connsiteY7" fmla="*/ 120343 h 120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000" h="120342">
                    <a:moveTo>
                      <a:pt x="5400" y="120343"/>
                    </a:moveTo>
                    <a:cubicBezTo>
                      <a:pt x="5400" y="120343"/>
                      <a:pt x="2315" y="120343"/>
                      <a:pt x="2315" y="120343"/>
                    </a:cubicBezTo>
                    <a:cubicBezTo>
                      <a:pt x="-772" y="117257"/>
                      <a:pt x="-772" y="114171"/>
                      <a:pt x="2315" y="111086"/>
                    </a:cubicBezTo>
                    <a:cubicBezTo>
                      <a:pt x="5400" y="108000"/>
                      <a:pt x="94887" y="12343"/>
                      <a:pt x="128829" y="0"/>
                    </a:cubicBezTo>
                    <a:cubicBezTo>
                      <a:pt x="131916" y="0"/>
                      <a:pt x="135000" y="0"/>
                      <a:pt x="135000" y="3086"/>
                    </a:cubicBezTo>
                    <a:cubicBezTo>
                      <a:pt x="135000" y="6171"/>
                      <a:pt x="135000" y="9257"/>
                      <a:pt x="131916" y="9257"/>
                    </a:cubicBezTo>
                    <a:cubicBezTo>
                      <a:pt x="97972" y="21600"/>
                      <a:pt x="11572" y="117257"/>
                      <a:pt x="8487" y="117257"/>
                    </a:cubicBezTo>
                    <a:cubicBezTo>
                      <a:pt x="8487" y="120343"/>
                      <a:pt x="5400" y="120343"/>
                      <a:pt x="5400" y="12034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309464D1-F40D-4CC5-8D5B-7EA398BC3EE5}"/>
                  </a:ext>
                </a:extLst>
              </p:cNvPr>
              <p:cNvSpPr/>
              <p:nvPr/>
            </p:nvSpPr>
            <p:spPr>
              <a:xfrm>
                <a:off x="25281711" y="3988639"/>
                <a:ext cx="58285" cy="44571"/>
              </a:xfrm>
              <a:custGeom>
                <a:avLst/>
                <a:gdLst>
                  <a:gd name="connsiteX0" fmla="*/ 7543 w 58285"/>
                  <a:gd name="connsiteY0" fmla="*/ 44571 h 44571"/>
                  <a:gd name="connsiteX1" fmla="*/ 1371 w 58285"/>
                  <a:gd name="connsiteY1" fmla="*/ 41486 h 44571"/>
                  <a:gd name="connsiteX2" fmla="*/ 1371 w 58285"/>
                  <a:gd name="connsiteY2" fmla="*/ 32229 h 44571"/>
                  <a:gd name="connsiteX3" fmla="*/ 47657 w 58285"/>
                  <a:gd name="connsiteY3" fmla="*/ 1371 h 44571"/>
                  <a:gd name="connsiteX4" fmla="*/ 56914 w 58285"/>
                  <a:gd name="connsiteY4" fmla="*/ 1371 h 44571"/>
                  <a:gd name="connsiteX5" fmla="*/ 56914 w 58285"/>
                  <a:gd name="connsiteY5" fmla="*/ 10629 h 44571"/>
                  <a:gd name="connsiteX6" fmla="*/ 10628 w 58285"/>
                  <a:gd name="connsiteY6" fmla="*/ 41486 h 44571"/>
                  <a:gd name="connsiteX7" fmla="*/ 7543 w 58285"/>
                  <a:gd name="connsiteY7" fmla="*/ 44571 h 44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8285" h="44571">
                    <a:moveTo>
                      <a:pt x="7543" y="44571"/>
                    </a:moveTo>
                    <a:cubicBezTo>
                      <a:pt x="4458" y="44571"/>
                      <a:pt x="4458" y="44571"/>
                      <a:pt x="1371" y="41486"/>
                    </a:cubicBezTo>
                    <a:cubicBezTo>
                      <a:pt x="-1714" y="38400"/>
                      <a:pt x="1371" y="35314"/>
                      <a:pt x="1371" y="32229"/>
                    </a:cubicBezTo>
                    <a:lnTo>
                      <a:pt x="47657" y="1371"/>
                    </a:lnTo>
                    <a:cubicBezTo>
                      <a:pt x="50744" y="-1714"/>
                      <a:pt x="53829" y="1371"/>
                      <a:pt x="56914" y="1371"/>
                    </a:cubicBezTo>
                    <a:cubicBezTo>
                      <a:pt x="60000" y="4457"/>
                      <a:pt x="56914" y="7543"/>
                      <a:pt x="56914" y="10629"/>
                    </a:cubicBezTo>
                    <a:lnTo>
                      <a:pt x="10628" y="41486"/>
                    </a:lnTo>
                    <a:cubicBezTo>
                      <a:pt x="7543" y="44571"/>
                      <a:pt x="7543" y="44571"/>
                      <a:pt x="7543" y="4457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62CA7EE1-C880-4E22-9115-A439D3566745}"/>
                  </a:ext>
                </a:extLst>
              </p:cNvPr>
              <p:cNvSpPr/>
              <p:nvPr/>
            </p:nvSpPr>
            <p:spPr>
              <a:xfrm>
                <a:off x="25313940" y="3878924"/>
                <a:ext cx="64029" cy="98742"/>
              </a:xfrm>
              <a:custGeom>
                <a:avLst/>
                <a:gdLst>
                  <a:gd name="connsiteX0" fmla="*/ 58629 w 64029"/>
                  <a:gd name="connsiteY0" fmla="*/ 95657 h 98742"/>
                  <a:gd name="connsiteX1" fmla="*/ 55542 w 64029"/>
                  <a:gd name="connsiteY1" fmla="*/ 95657 h 98742"/>
                  <a:gd name="connsiteX2" fmla="*/ 0 w 64029"/>
                  <a:gd name="connsiteY2" fmla="*/ 6172 h 98742"/>
                  <a:gd name="connsiteX3" fmla="*/ 6172 w 64029"/>
                  <a:gd name="connsiteY3" fmla="*/ 0 h 98742"/>
                  <a:gd name="connsiteX4" fmla="*/ 12344 w 64029"/>
                  <a:gd name="connsiteY4" fmla="*/ 6172 h 98742"/>
                  <a:gd name="connsiteX5" fmla="*/ 61714 w 64029"/>
                  <a:gd name="connsiteY5" fmla="*/ 89486 h 98742"/>
                  <a:gd name="connsiteX6" fmla="*/ 61714 w 64029"/>
                  <a:gd name="connsiteY6" fmla="*/ 98743 h 98742"/>
                  <a:gd name="connsiteX7" fmla="*/ 58629 w 64029"/>
                  <a:gd name="connsiteY7" fmla="*/ 95657 h 98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4029" h="98742">
                    <a:moveTo>
                      <a:pt x="58629" y="95657"/>
                    </a:moveTo>
                    <a:cubicBezTo>
                      <a:pt x="58629" y="95657"/>
                      <a:pt x="55542" y="95657"/>
                      <a:pt x="55542" y="95657"/>
                    </a:cubicBezTo>
                    <a:cubicBezTo>
                      <a:pt x="6172" y="61714"/>
                      <a:pt x="0" y="6172"/>
                      <a:pt x="0" y="6172"/>
                    </a:cubicBezTo>
                    <a:cubicBezTo>
                      <a:pt x="0" y="3086"/>
                      <a:pt x="3087" y="0"/>
                      <a:pt x="6172" y="0"/>
                    </a:cubicBezTo>
                    <a:cubicBezTo>
                      <a:pt x="9257" y="0"/>
                      <a:pt x="12344" y="3086"/>
                      <a:pt x="12344" y="6172"/>
                    </a:cubicBezTo>
                    <a:cubicBezTo>
                      <a:pt x="12344" y="6172"/>
                      <a:pt x="18515" y="58629"/>
                      <a:pt x="61714" y="89486"/>
                    </a:cubicBezTo>
                    <a:cubicBezTo>
                      <a:pt x="64801" y="92571"/>
                      <a:pt x="64801" y="95657"/>
                      <a:pt x="61714" y="98743"/>
                    </a:cubicBezTo>
                    <a:cubicBezTo>
                      <a:pt x="61714" y="95657"/>
                      <a:pt x="61714" y="95657"/>
                      <a:pt x="58629" y="9565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29274226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01CF58E9-6656-4F29-BD10-D43C7661F391}"/>
              </a:ext>
            </a:extLst>
          </p:cNvPr>
          <p:cNvGrpSpPr/>
          <p:nvPr/>
        </p:nvGrpSpPr>
        <p:grpSpPr>
          <a:xfrm>
            <a:off x="2553711" y="2050796"/>
            <a:ext cx="3431786" cy="4577578"/>
            <a:chOff x="2553711" y="7745663"/>
            <a:chExt cx="3431786" cy="4577578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CF226BFE-94FB-4A7A-B226-BF05F7641E5E}"/>
                </a:ext>
              </a:extLst>
            </p:cNvPr>
            <p:cNvSpPr/>
            <p:nvPr/>
          </p:nvSpPr>
          <p:spPr>
            <a:xfrm>
              <a:off x="4704786" y="9308209"/>
              <a:ext cx="242651" cy="175560"/>
            </a:xfrm>
            <a:custGeom>
              <a:avLst/>
              <a:gdLst>
                <a:gd name="connsiteX0" fmla="*/ 163211 w 242651"/>
                <a:gd name="connsiteY0" fmla="*/ 162030 h 175560"/>
                <a:gd name="connsiteX1" fmla="*/ 203326 w 242651"/>
                <a:gd name="connsiteY1" fmla="*/ 137344 h 175560"/>
                <a:gd name="connsiteX2" fmla="*/ 228011 w 242651"/>
                <a:gd name="connsiteY2" fmla="*/ 115744 h 175560"/>
                <a:gd name="connsiteX3" fmla="*/ 231097 w 242651"/>
                <a:gd name="connsiteY3" fmla="*/ 69458 h 175560"/>
                <a:gd name="connsiteX4" fmla="*/ 237268 w 242651"/>
                <a:gd name="connsiteY4" fmla="*/ 29344 h 175560"/>
                <a:gd name="connsiteX5" fmla="*/ 2754 w 242651"/>
                <a:gd name="connsiteY5" fmla="*/ 35515 h 175560"/>
                <a:gd name="connsiteX6" fmla="*/ 8926 w 242651"/>
                <a:gd name="connsiteY6" fmla="*/ 155858 h 175560"/>
                <a:gd name="connsiteX7" fmla="*/ 126183 w 242651"/>
                <a:gd name="connsiteY7" fmla="*/ 174372 h 175560"/>
                <a:gd name="connsiteX8" fmla="*/ 163211 w 242651"/>
                <a:gd name="connsiteY8" fmla="*/ 162030 h 175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2651" h="175560">
                  <a:moveTo>
                    <a:pt x="163211" y="162030"/>
                  </a:moveTo>
                  <a:cubicBezTo>
                    <a:pt x="166297" y="155858"/>
                    <a:pt x="190983" y="146601"/>
                    <a:pt x="203326" y="137344"/>
                  </a:cubicBezTo>
                  <a:cubicBezTo>
                    <a:pt x="203326" y="137344"/>
                    <a:pt x="221840" y="125001"/>
                    <a:pt x="228011" y="115744"/>
                  </a:cubicBezTo>
                  <a:cubicBezTo>
                    <a:pt x="234183" y="106487"/>
                    <a:pt x="212583" y="69458"/>
                    <a:pt x="231097" y="69458"/>
                  </a:cubicBezTo>
                  <a:cubicBezTo>
                    <a:pt x="243440" y="69458"/>
                    <a:pt x="246526" y="32430"/>
                    <a:pt x="237268" y="29344"/>
                  </a:cubicBezTo>
                  <a:cubicBezTo>
                    <a:pt x="181726" y="10829"/>
                    <a:pt x="39783" y="-29285"/>
                    <a:pt x="2754" y="35515"/>
                  </a:cubicBezTo>
                  <a:cubicBezTo>
                    <a:pt x="2754" y="35515"/>
                    <a:pt x="-6503" y="134258"/>
                    <a:pt x="8926" y="155858"/>
                  </a:cubicBezTo>
                  <a:cubicBezTo>
                    <a:pt x="33611" y="189801"/>
                    <a:pt x="89154" y="168201"/>
                    <a:pt x="126183" y="174372"/>
                  </a:cubicBezTo>
                  <a:cubicBezTo>
                    <a:pt x="150869" y="174372"/>
                    <a:pt x="157040" y="177458"/>
                    <a:pt x="163211" y="162030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1FF3A939-420B-4CB0-9849-111B0B08350F}"/>
                </a:ext>
              </a:extLst>
            </p:cNvPr>
            <p:cNvGrpSpPr/>
            <p:nvPr/>
          </p:nvGrpSpPr>
          <p:grpSpPr>
            <a:xfrm>
              <a:off x="3755597" y="11957324"/>
              <a:ext cx="400060" cy="365918"/>
              <a:chOff x="3755597" y="11957324"/>
              <a:chExt cx="400060" cy="365918"/>
            </a:xfrm>
          </p:grpSpPr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CAA52AC1-C215-4C41-9F7B-EC909B83EFC0}"/>
                  </a:ext>
                </a:extLst>
              </p:cNvPr>
              <p:cNvSpPr/>
              <p:nvPr/>
            </p:nvSpPr>
            <p:spPr>
              <a:xfrm>
                <a:off x="3755597" y="12083839"/>
                <a:ext cx="400060" cy="239403"/>
              </a:xfrm>
              <a:custGeom>
                <a:avLst/>
                <a:gdLst>
                  <a:gd name="connsiteX0" fmla="*/ 109543 w 400060"/>
                  <a:gd name="connsiteY0" fmla="*/ 0 h 239403"/>
                  <a:gd name="connsiteX1" fmla="*/ 270000 w 400060"/>
                  <a:gd name="connsiteY1" fmla="*/ 126514 h 239403"/>
                  <a:gd name="connsiteX2" fmla="*/ 72514 w 400060"/>
                  <a:gd name="connsiteY2" fmla="*/ 77143 h 239403"/>
                  <a:gd name="connsiteX3" fmla="*/ 1543 w 400060"/>
                  <a:gd name="connsiteY3" fmla="*/ 52458 h 239403"/>
                  <a:gd name="connsiteX4" fmla="*/ 7714 w 400060"/>
                  <a:gd name="connsiteY4" fmla="*/ 160458 h 239403"/>
                  <a:gd name="connsiteX5" fmla="*/ 242229 w 400060"/>
                  <a:gd name="connsiteY5" fmla="*/ 234514 h 239403"/>
                  <a:gd name="connsiteX6" fmla="*/ 381086 w 400060"/>
                  <a:gd name="connsiteY6" fmla="*/ 234514 h 239403"/>
                  <a:gd name="connsiteX7" fmla="*/ 387257 w 400060"/>
                  <a:gd name="connsiteY7" fmla="*/ 178971 h 239403"/>
                  <a:gd name="connsiteX8" fmla="*/ 109543 w 400060"/>
                  <a:gd name="connsiteY8" fmla="*/ 0 h 239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0060" h="239403">
                    <a:moveTo>
                      <a:pt x="109543" y="0"/>
                    </a:moveTo>
                    <a:cubicBezTo>
                      <a:pt x="109543" y="0"/>
                      <a:pt x="285429" y="114172"/>
                      <a:pt x="270000" y="126514"/>
                    </a:cubicBezTo>
                    <a:cubicBezTo>
                      <a:pt x="257657" y="141943"/>
                      <a:pt x="72514" y="77143"/>
                      <a:pt x="72514" y="77143"/>
                    </a:cubicBezTo>
                    <a:lnTo>
                      <a:pt x="1543" y="52458"/>
                    </a:lnTo>
                    <a:cubicBezTo>
                      <a:pt x="1543" y="52458"/>
                      <a:pt x="-4629" y="135771"/>
                      <a:pt x="7714" y="160458"/>
                    </a:cubicBezTo>
                    <a:cubicBezTo>
                      <a:pt x="81771" y="197486"/>
                      <a:pt x="168171" y="222172"/>
                      <a:pt x="242229" y="234514"/>
                    </a:cubicBezTo>
                    <a:cubicBezTo>
                      <a:pt x="288514" y="243771"/>
                      <a:pt x="371829" y="237600"/>
                      <a:pt x="381086" y="234514"/>
                    </a:cubicBezTo>
                    <a:cubicBezTo>
                      <a:pt x="390343" y="231429"/>
                      <a:pt x="415029" y="206743"/>
                      <a:pt x="387257" y="178971"/>
                    </a:cubicBezTo>
                    <a:cubicBezTo>
                      <a:pt x="325543" y="111086"/>
                      <a:pt x="109543" y="0"/>
                      <a:pt x="109543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2554172C-AC98-4687-BEC9-6E1C4DFCABF3}"/>
                  </a:ext>
                </a:extLst>
              </p:cNvPr>
              <p:cNvSpPr/>
              <p:nvPr/>
            </p:nvSpPr>
            <p:spPr>
              <a:xfrm>
                <a:off x="3757140" y="11957324"/>
                <a:ext cx="269800" cy="257152"/>
              </a:xfrm>
              <a:custGeom>
                <a:avLst/>
                <a:gdLst>
                  <a:gd name="connsiteX0" fmla="*/ 123429 w 269800"/>
                  <a:gd name="connsiteY0" fmla="*/ 0 h 257152"/>
                  <a:gd name="connsiteX1" fmla="*/ 108000 w 269800"/>
                  <a:gd name="connsiteY1" fmla="*/ 126514 h 257152"/>
                  <a:gd name="connsiteX2" fmla="*/ 268457 w 269800"/>
                  <a:gd name="connsiteY2" fmla="*/ 253029 h 257152"/>
                  <a:gd name="connsiteX3" fmla="*/ 27771 w 269800"/>
                  <a:gd name="connsiteY3" fmla="*/ 209829 h 257152"/>
                  <a:gd name="connsiteX4" fmla="*/ 0 w 269800"/>
                  <a:gd name="connsiteY4" fmla="*/ 178972 h 257152"/>
                  <a:gd name="connsiteX5" fmla="*/ 0 w 269800"/>
                  <a:gd name="connsiteY5" fmla="*/ 43200 h 257152"/>
                  <a:gd name="connsiteX6" fmla="*/ 123429 w 269800"/>
                  <a:gd name="connsiteY6" fmla="*/ 0 h 257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800" h="257152">
                    <a:moveTo>
                      <a:pt x="123429" y="0"/>
                    </a:moveTo>
                    <a:lnTo>
                      <a:pt x="108000" y="126514"/>
                    </a:lnTo>
                    <a:cubicBezTo>
                      <a:pt x="108000" y="126514"/>
                      <a:pt x="286971" y="231429"/>
                      <a:pt x="268457" y="253029"/>
                    </a:cubicBezTo>
                    <a:cubicBezTo>
                      <a:pt x="256114" y="268458"/>
                      <a:pt x="98743" y="237600"/>
                      <a:pt x="27771" y="209829"/>
                    </a:cubicBezTo>
                    <a:cubicBezTo>
                      <a:pt x="3086" y="200571"/>
                      <a:pt x="0" y="178972"/>
                      <a:pt x="0" y="178972"/>
                    </a:cubicBezTo>
                    <a:lnTo>
                      <a:pt x="0" y="43200"/>
                    </a:lnTo>
                    <a:lnTo>
                      <a:pt x="123429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1862C99F-9C56-442F-BF11-221B249D07D2}"/>
                </a:ext>
              </a:extLst>
            </p:cNvPr>
            <p:cNvGrpSpPr/>
            <p:nvPr/>
          </p:nvGrpSpPr>
          <p:grpSpPr>
            <a:xfrm>
              <a:off x="2553711" y="11630238"/>
              <a:ext cx="305485" cy="495135"/>
              <a:chOff x="2553711" y="11630238"/>
              <a:chExt cx="305485" cy="495135"/>
            </a:xfrm>
          </p:grpSpPr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6CDF01D4-C860-49B0-9C99-CBDF5E91CEE8}"/>
                  </a:ext>
                </a:extLst>
              </p:cNvPr>
              <p:cNvSpPr/>
              <p:nvPr/>
            </p:nvSpPr>
            <p:spPr>
              <a:xfrm>
                <a:off x="2553711" y="11707381"/>
                <a:ext cx="208323" cy="417993"/>
              </a:xfrm>
              <a:custGeom>
                <a:avLst/>
                <a:gdLst>
                  <a:gd name="connsiteX0" fmla="*/ 191314 w 208323"/>
                  <a:gd name="connsiteY0" fmla="*/ 58629 h 417993"/>
                  <a:gd name="connsiteX1" fmla="*/ 175886 w 208323"/>
                  <a:gd name="connsiteY1" fmla="*/ 262286 h 417993"/>
                  <a:gd name="connsiteX2" fmla="*/ 104914 w 208323"/>
                  <a:gd name="connsiteY2" fmla="*/ 70972 h 417993"/>
                  <a:gd name="connsiteX3" fmla="*/ 86400 w 208323"/>
                  <a:gd name="connsiteY3" fmla="*/ 0 h 417993"/>
                  <a:gd name="connsiteX4" fmla="*/ 0 w 208323"/>
                  <a:gd name="connsiteY4" fmla="*/ 64800 h 417993"/>
                  <a:gd name="connsiteX5" fmla="*/ 70971 w 208323"/>
                  <a:gd name="connsiteY5" fmla="*/ 299315 h 417993"/>
                  <a:gd name="connsiteX6" fmla="*/ 151200 w 208323"/>
                  <a:gd name="connsiteY6" fmla="*/ 413486 h 417993"/>
                  <a:gd name="connsiteX7" fmla="*/ 203657 w 208323"/>
                  <a:gd name="connsiteY7" fmla="*/ 385714 h 417993"/>
                  <a:gd name="connsiteX8" fmla="*/ 191314 w 208323"/>
                  <a:gd name="connsiteY8" fmla="*/ 58629 h 4179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8323" h="417993">
                    <a:moveTo>
                      <a:pt x="191314" y="58629"/>
                    </a:moveTo>
                    <a:cubicBezTo>
                      <a:pt x="191314" y="58629"/>
                      <a:pt x="194400" y="268458"/>
                      <a:pt x="175886" y="262286"/>
                    </a:cubicBezTo>
                    <a:cubicBezTo>
                      <a:pt x="157371" y="259201"/>
                      <a:pt x="104914" y="70972"/>
                      <a:pt x="104914" y="70972"/>
                    </a:cubicBezTo>
                    <a:lnTo>
                      <a:pt x="86400" y="0"/>
                    </a:lnTo>
                    <a:cubicBezTo>
                      <a:pt x="86400" y="0"/>
                      <a:pt x="15429" y="43201"/>
                      <a:pt x="0" y="64800"/>
                    </a:cubicBezTo>
                    <a:cubicBezTo>
                      <a:pt x="9257" y="145029"/>
                      <a:pt x="40114" y="231429"/>
                      <a:pt x="70971" y="299315"/>
                    </a:cubicBezTo>
                    <a:cubicBezTo>
                      <a:pt x="89486" y="342514"/>
                      <a:pt x="141943" y="410401"/>
                      <a:pt x="151200" y="413486"/>
                    </a:cubicBezTo>
                    <a:cubicBezTo>
                      <a:pt x="160457" y="419657"/>
                      <a:pt x="194400" y="425829"/>
                      <a:pt x="203657" y="385714"/>
                    </a:cubicBezTo>
                    <a:cubicBezTo>
                      <a:pt x="219086" y="299315"/>
                      <a:pt x="191314" y="58629"/>
                      <a:pt x="191314" y="58629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EF3B38CD-1C08-4B37-87A1-6E242603DA22}"/>
                  </a:ext>
                </a:extLst>
              </p:cNvPr>
              <p:cNvSpPr/>
              <p:nvPr/>
            </p:nvSpPr>
            <p:spPr>
              <a:xfrm>
                <a:off x="2629595" y="11630238"/>
                <a:ext cx="229602" cy="339462"/>
              </a:xfrm>
              <a:custGeom>
                <a:avLst/>
                <a:gdLst>
                  <a:gd name="connsiteX0" fmla="*/ 229602 w 229602"/>
                  <a:gd name="connsiteY0" fmla="*/ 77143 h 339462"/>
                  <a:gd name="connsiteX1" fmla="*/ 118517 w 229602"/>
                  <a:gd name="connsiteY1" fmla="*/ 135772 h 339462"/>
                  <a:gd name="connsiteX2" fmla="*/ 103088 w 229602"/>
                  <a:gd name="connsiteY2" fmla="*/ 339429 h 339462"/>
                  <a:gd name="connsiteX3" fmla="*/ 1259 w 229602"/>
                  <a:gd name="connsiteY3" fmla="*/ 117258 h 339462"/>
                  <a:gd name="connsiteX4" fmla="*/ 13602 w 229602"/>
                  <a:gd name="connsiteY4" fmla="*/ 77143 h 339462"/>
                  <a:gd name="connsiteX5" fmla="*/ 124688 w 229602"/>
                  <a:gd name="connsiteY5" fmla="*/ 0 h 339462"/>
                  <a:gd name="connsiteX6" fmla="*/ 229602 w 229602"/>
                  <a:gd name="connsiteY6" fmla="*/ 77143 h 33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9602" h="339462">
                    <a:moveTo>
                      <a:pt x="229602" y="77143"/>
                    </a:moveTo>
                    <a:lnTo>
                      <a:pt x="118517" y="135772"/>
                    </a:lnTo>
                    <a:cubicBezTo>
                      <a:pt x="118517" y="135772"/>
                      <a:pt x="130859" y="342514"/>
                      <a:pt x="103088" y="339429"/>
                    </a:cubicBezTo>
                    <a:cubicBezTo>
                      <a:pt x="81488" y="339429"/>
                      <a:pt x="19774" y="191315"/>
                      <a:pt x="1259" y="117258"/>
                    </a:cubicBezTo>
                    <a:cubicBezTo>
                      <a:pt x="-4912" y="92571"/>
                      <a:pt x="13602" y="77143"/>
                      <a:pt x="13602" y="77143"/>
                    </a:cubicBezTo>
                    <a:lnTo>
                      <a:pt x="124688" y="0"/>
                    </a:lnTo>
                    <a:lnTo>
                      <a:pt x="229602" y="77143"/>
                    </a:ln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5753D848-366C-47AA-A9F6-A4D7BE84BCD9}"/>
                </a:ext>
              </a:extLst>
            </p:cNvPr>
            <p:cNvSpPr/>
            <p:nvPr/>
          </p:nvSpPr>
          <p:spPr>
            <a:xfrm>
              <a:off x="2707997" y="9498010"/>
              <a:ext cx="1395950" cy="2533371"/>
            </a:xfrm>
            <a:custGeom>
              <a:avLst/>
              <a:gdLst>
                <a:gd name="connsiteX0" fmla="*/ 598629 w 1395950"/>
                <a:gd name="connsiteY0" fmla="*/ 0 h 2533371"/>
                <a:gd name="connsiteX1" fmla="*/ 1274400 w 1395950"/>
                <a:gd name="connsiteY1" fmla="*/ 0 h 2533371"/>
                <a:gd name="connsiteX2" fmla="*/ 1394743 w 1395950"/>
                <a:gd name="connsiteY2" fmla="*/ 465943 h 2533371"/>
                <a:gd name="connsiteX3" fmla="*/ 1212686 w 1395950"/>
                <a:gd name="connsiteY3" fmla="*/ 2514858 h 2533371"/>
                <a:gd name="connsiteX4" fmla="*/ 1012114 w 1395950"/>
                <a:gd name="connsiteY4" fmla="*/ 2533371 h 2533371"/>
                <a:gd name="connsiteX5" fmla="*/ 928800 w 1395950"/>
                <a:gd name="connsiteY5" fmla="*/ 820800 h 2533371"/>
                <a:gd name="connsiteX6" fmla="*/ 836229 w 1395950"/>
                <a:gd name="connsiteY6" fmla="*/ 1777371 h 2533371"/>
                <a:gd name="connsiteX7" fmla="*/ 104914 w 1395950"/>
                <a:gd name="connsiteY7" fmla="*/ 2301943 h 2533371"/>
                <a:gd name="connsiteX8" fmla="*/ 0 w 1395950"/>
                <a:gd name="connsiteY8" fmla="*/ 2110629 h 2533371"/>
                <a:gd name="connsiteX9" fmla="*/ 499886 w 1395950"/>
                <a:gd name="connsiteY9" fmla="*/ 1675543 h 2533371"/>
                <a:gd name="connsiteX10" fmla="*/ 462857 w 1395950"/>
                <a:gd name="connsiteY10" fmla="*/ 419657 h 2533371"/>
                <a:gd name="connsiteX11" fmla="*/ 598629 w 1395950"/>
                <a:gd name="connsiteY11" fmla="*/ 0 h 2533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95950" h="2533371">
                  <a:moveTo>
                    <a:pt x="598629" y="0"/>
                  </a:moveTo>
                  <a:lnTo>
                    <a:pt x="1274400" y="0"/>
                  </a:lnTo>
                  <a:cubicBezTo>
                    <a:pt x="1274400" y="0"/>
                    <a:pt x="1373143" y="308572"/>
                    <a:pt x="1394743" y="465943"/>
                  </a:cubicBezTo>
                  <a:cubicBezTo>
                    <a:pt x="1413257" y="620228"/>
                    <a:pt x="1212686" y="2514858"/>
                    <a:pt x="1212686" y="2514858"/>
                  </a:cubicBezTo>
                  <a:lnTo>
                    <a:pt x="1012114" y="2533371"/>
                  </a:lnTo>
                  <a:lnTo>
                    <a:pt x="928800" y="820800"/>
                  </a:lnTo>
                  <a:cubicBezTo>
                    <a:pt x="928800" y="820800"/>
                    <a:pt x="842400" y="1761943"/>
                    <a:pt x="836229" y="1777371"/>
                  </a:cubicBezTo>
                  <a:lnTo>
                    <a:pt x="104914" y="2301943"/>
                  </a:lnTo>
                  <a:lnTo>
                    <a:pt x="0" y="2110629"/>
                  </a:lnTo>
                  <a:lnTo>
                    <a:pt x="499886" y="1675543"/>
                  </a:lnTo>
                  <a:cubicBezTo>
                    <a:pt x="499886" y="1675543"/>
                    <a:pt x="469029" y="484457"/>
                    <a:pt x="462857" y="419657"/>
                  </a:cubicBezTo>
                  <a:cubicBezTo>
                    <a:pt x="453600" y="299314"/>
                    <a:pt x="598629" y="0"/>
                    <a:pt x="598629" y="0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C581545-3A9A-4E56-952C-F41EE5749B8A}"/>
                </a:ext>
              </a:extLst>
            </p:cNvPr>
            <p:cNvSpPr/>
            <p:nvPr/>
          </p:nvSpPr>
          <p:spPr>
            <a:xfrm>
              <a:off x="2808454" y="9889896"/>
              <a:ext cx="877714" cy="1919314"/>
            </a:xfrm>
            <a:custGeom>
              <a:avLst/>
              <a:gdLst>
                <a:gd name="connsiteX0" fmla="*/ 4457 w 877714"/>
                <a:gd name="connsiteY0" fmla="*/ 1919315 h 1919314"/>
                <a:gd name="connsiteX1" fmla="*/ 1371 w 877714"/>
                <a:gd name="connsiteY1" fmla="*/ 1916229 h 1919314"/>
                <a:gd name="connsiteX2" fmla="*/ 1371 w 877714"/>
                <a:gd name="connsiteY2" fmla="*/ 1906972 h 1919314"/>
                <a:gd name="connsiteX3" fmla="*/ 729600 w 877714"/>
                <a:gd name="connsiteY3" fmla="*/ 1382401 h 1919314"/>
                <a:gd name="connsiteX4" fmla="*/ 822171 w 877714"/>
                <a:gd name="connsiteY4" fmla="*/ 428914 h 1919314"/>
                <a:gd name="connsiteX5" fmla="*/ 865371 w 877714"/>
                <a:gd name="connsiteY5" fmla="*/ 6172 h 1919314"/>
                <a:gd name="connsiteX6" fmla="*/ 871543 w 877714"/>
                <a:gd name="connsiteY6" fmla="*/ 0 h 1919314"/>
                <a:gd name="connsiteX7" fmla="*/ 877714 w 877714"/>
                <a:gd name="connsiteY7" fmla="*/ 6172 h 1919314"/>
                <a:gd name="connsiteX8" fmla="*/ 834514 w 877714"/>
                <a:gd name="connsiteY8" fmla="*/ 428914 h 1919314"/>
                <a:gd name="connsiteX9" fmla="*/ 741943 w 877714"/>
                <a:gd name="connsiteY9" fmla="*/ 1388571 h 1919314"/>
                <a:gd name="connsiteX10" fmla="*/ 741943 w 877714"/>
                <a:gd name="connsiteY10" fmla="*/ 1391657 h 1919314"/>
                <a:gd name="connsiteX11" fmla="*/ 741943 w 877714"/>
                <a:gd name="connsiteY11" fmla="*/ 1391657 h 1919314"/>
                <a:gd name="connsiteX12" fmla="*/ 10629 w 877714"/>
                <a:gd name="connsiteY12" fmla="*/ 1916229 h 1919314"/>
                <a:gd name="connsiteX13" fmla="*/ 4457 w 877714"/>
                <a:gd name="connsiteY13" fmla="*/ 1919315 h 1919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7714" h="1919314">
                  <a:moveTo>
                    <a:pt x="4457" y="1919315"/>
                  </a:moveTo>
                  <a:cubicBezTo>
                    <a:pt x="1371" y="1919315"/>
                    <a:pt x="1371" y="1919315"/>
                    <a:pt x="1371" y="1916229"/>
                  </a:cubicBezTo>
                  <a:cubicBezTo>
                    <a:pt x="-1714" y="1913143"/>
                    <a:pt x="1371" y="1910057"/>
                    <a:pt x="1371" y="1906972"/>
                  </a:cubicBezTo>
                  <a:lnTo>
                    <a:pt x="729600" y="1382401"/>
                  </a:lnTo>
                  <a:cubicBezTo>
                    <a:pt x="735771" y="1345372"/>
                    <a:pt x="791314" y="743657"/>
                    <a:pt x="822171" y="428914"/>
                  </a:cubicBezTo>
                  <a:lnTo>
                    <a:pt x="865371" y="6172"/>
                  </a:lnTo>
                  <a:cubicBezTo>
                    <a:pt x="865371" y="3086"/>
                    <a:pt x="868457" y="0"/>
                    <a:pt x="871543" y="0"/>
                  </a:cubicBezTo>
                  <a:cubicBezTo>
                    <a:pt x="874629" y="0"/>
                    <a:pt x="877714" y="3086"/>
                    <a:pt x="877714" y="6172"/>
                  </a:cubicBezTo>
                  <a:lnTo>
                    <a:pt x="834514" y="428914"/>
                  </a:lnTo>
                  <a:cubicBezTo>
                    <a:pt x="825257" y="524571"/>
                    <a:pt x="748114" y="1370057"/>
                    <a:pt x="741943" y="1388571"/>
                  </a:cubicBezTo>
                  <a:lnTo>
                    <a:pt x="741943" y="1391657"/>
                  </a:lnTo>
                  <a:lnTo>
                    <a:pt x="741943" y="1391657"/>
                  </a:lnTo>
                  <a:lnTo>
                    <a:pt x="10629" y="1916229"/>
                  </a:lnTo>
                  <a:cubicBezTo>
                    <a:pt x="4457" y="1919315"/>
                    <a:pt x="4457" y="1919315"/>
                    <a:pt x="4457" y="1919315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74427E9B-DB57-4D82-B1B4-D86D6402A719}"/>
                </a:ext>
              </a:extLst>
            </p:cNvPr>
            <p:cNvSpPr/>
            <p:nvPr/>
          </p:nvSpPr>
          <p:spPr>
            <a:xfrm>
              <a:off x="3170854" y="9655382"/>
              <a:ext cx="182057" cy="191314"/>
            </a:xfrm>
            <a:custGeom>
              <a:avLst/>
              <a:gdLst>
                <a:gd name="connsiteX0" fmla="*/ 6171 w 182057"/>
                <a:gd name="connsiteY0" fmla="*/ 191314 h 191314"/>
                <a:gd name="connsiteX1" fmla="*/ 0 w 182057"/>
                <a:gd name="connsiteY1" fmla="*/ 188228 h 191314"/>
                <a:gd name="connsiteX2" fmla="*/ 3086 w 182057"/>
                <a:gd name="connsiteY2" fmla="*/ 182057 h 191314"/>
                <a:gd name="connsiteX3" fmla="*/ 172800 w 182057"/>
                <a:gd name="connsiteY3" fmla="*/ 3085 h 191314"/>
                <a:gd name="connsiteX4" fmla="*/ 178971 w 182057"/>
                <a:gd name="connsiteY4" fmla="*/ 0 h 191314"/>
                <a:gd name="connsiteX5" fmla="*/ 182057 w 182057"/>
                <a:gd name="connsiteY5" fmla="*/ 6171 h 191314"/>
                <a:gd name="connsiteX6" fmla="*/ 6171 w 182057"/>
                <a:gd name="connsiteY6" fmla="*/ 191314 h 191314"/>
                <a:gd name="connsiteX7" fmla="*/ 6171 w 182057"/>
                <a:gd name="connsiteY7" fmla="*/ 191314 h 191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057" h="191314">
                  <a:moveTo>
                    <a:pt x="6171" y="191314"/>
                  </a:moveTo>
                  <a:cubicBezTo>
                    <a:pt x="3086" y="191314"/>
                    <a:pt x="0" y="188228"/>
                    <a:pt x="0" y="188228"/>
                  </a:cubicBezTo>
                  <a:cubicBezTo>
                    <a:pt x="0" y="185142"/>
                    <a:pt x="0" y="182057"/>
                    <a:pt x="3086" y="182057"/>
                  </a:cubicBezTo>
                  <a:cubicBezTo>
                    <a:pt x="117257" y="151200"/>
                    <a:pt x="169714" y="6171"/>
                    <a:pt x="172800" y="3085"/>
                  </a:cubicBezTo>
                  <a:cubicBezTo>
                    <a:pt x="172800" y="0"/>
                    <a:pt x="175886" y="0"/>
                    <a:pt x="178971" y="0"/>
                  </a:cubicBezTo>
                  <a:cubicBezTo>
                    <a:pt x="182057" y="0"/>
                    <a:pt x="182057" y="3085"/>
                    <a:pt x="182057" y="6171"/>
                  </a:cubicBezTo>
                  <a:cubicBezTo>
                    <a:pt x="182057" y="12343"/>
                    <a:pt x="126514" y="157371"/>
                    <a:pt x="6171" y="191314"/>
                  </a:cubicBezTo>
                  <a:cubicBezTo>
                    <a:pt x="9257" y="191314"/>
                    <a:pt x="6171" y="191314"/>
                    <a:pt x="6171" y="191314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4F5CED33-2968-46A0-94AF-56042146B57B}"/>
                </a:ext>
              </a:extLst>
            </p:cNvPr>
            <p:cNvSpPr/>
            <p:nvPr/>
          </p:nvSpPr>
          <p:spPr>
            <a:xfrm>
              <a:off x="3908340" y="9655382"/>
              <a:ext cx="175885" cy="194400"/>
            </a:xfrm>
            <a:custGeom>
              <a:avLst/>
              <a:gdLst>
                <a:gd name="connsiteX0" fmla="*/ 169714 w 175885"/>
                <a:gd name="connsiteY0" fmla="*/ 194400 h 194400"/>
                <a:gd name="connsiteX1" fmla="*/ 169714 w 175885"/>
                <a:gd name="connsiteY1" fmla="*/ 194400 h 194400"/>
                <a:gd name="connsiteX2" fmla="*/ 0 w 175885"/>
                <a:gd name="connsiteY2" fmla="*/ 6171 h 194400"/>
                <a:gd name="connsiteX3" fmla="*/ 3086 w 175885"/>
                <a:gd name="connsiteY3" fmla="*/ 0 h 194400"/>
                <a:gd name="connsiteX4" fmla="*/ 12343 w 175885"/>
                <a:gd name="connsiteY4" fmla="*/ 3085 h 194400"/>
                <a:gd name="connsiteX5" fmla="*/ 172800 w 175885"/>
                <a:gd name="connsiteY5" fmla="*/ 185142 h 194400"/>
                <a:gd name="connsiteX6" fmla="*/ 175886 w 175885"/>
                <a:gd name="connsiteY6" fmla="*/ 191314 h 194400"/>
                <a:gd name="connsiteX7" fmla="*/ 169714 w 175885"/>
                <a:gd name="connsiteY7" fmla="*/ 194400 h 19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885" h="194400">
                  <a:moveTo>
                    <a:pt x="169714" y="194400"/>
                  </a:moveTo>
                  <a:cubicBezTo>
                    <a:pt x="169714" y="194400"/>
                    <a:pt x="169714" y="194400"/>
                    <a:pt x="169714" y="194400"/>
                  </a:cubicBezTo>
                  <a:cubicBezTo>
                    <a:pt x="86400" y="160457"/>
                    <a:pt x="3086" y="12343"/>
                    <a:pt x="0" y="6171"/>
                  </a:cubicBezTo>
                  <a:cubicBezTo>
                    <a:pt x="0" y="3085"/>
                    <a:pt x="0" y="0"/>
                    <a:pt x="3086" y="0"/>
                  </a:cubicBezTo>
                  <a:cubicBezTo>
                    <a:pt x="6171" y="0"/>
                    <a:pt x="9257" y="0"/>
                    <a:pt x="12343" y="3085"/>
                  </a:cubicBezTo>
                  <a:cubicBezTo>
                    <a:pt x="12343" y="3085"/>
                    <a:pt x="95657" y="154285"/>
                    <a:pt x="172800" y="185142"/>
                  </a:cubicBezTo>
                  <a:cubicBezTo>
                    <a:pt x="175886" y="185142"/>
                    <a:pt x="175886" y="188228"/>
                    <a:pt x="175886" y="191314"/>
                  </a:cubicBezTo>
                  <a:cubicBezTo>
                    <a:pt x="175886" y="194400"/>
                    <a:pt x="172800" y="194400"/>
                    <a:pt x="169714" y="194400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32B43EAF-EE56-4876-9EDB-1D849BAE45C9}"/>
                </a:ext>
              </a:extLst>
            </p:cNvPr>
            <p:cNvSpPr/>
            <p:nvPr/>
          </p:nvSpPr>
          <p:spPr>
            <a:xfrm>
              <a:off x="3988103" y="8701822"/>
              <a:ext cx="808258" cy="803885"/>
            </a:xfrm>
            <a:custGeom>
              <a:avLst/>
              <a:gdLst>
                <a:gd name="connsiteX0" fmla="*/ 191780 w 808258"/>
                <a:gd name="connsiteY0" fmla="*/ 46360 h 803885"/>
                <a:gd name="connsiteX1" fmla="*/ 376923 w 808258"/>
                <a:gd name="connsiteY1" fmla="*/ 601788 h 803885"/>
                <a:gd name="connsiteX2" fmla="*/ 802751 w 808258"/>
                <a:gd name="connsiteY2" fmla="*/ 651160 h 803885"/>
                <a:gd name="connsiteX3" fmla="*/ 750294 w 808258"/>
                <a:gd name="connsiteY3" fmla="*/ 765331 h 803885"/>
                <a:gd name="connsiteX4" fmla="*/ 287437 w 808258"/>
                <a:gd name="connsiteY4" fmla="*/ 780760 h 803885"/>
                <a:gd name="connsiteX5" fmla="*/ 3551 w 808258"/>
                <a:gd name="connsiteY5" fmla="*/ 259274 h 803885"/>
                <a:gd name="connsiteX6" fmla="*/ 191780 w 808258"/>
                <a:gd name="connsiteY6" fmla="*/ 46360 h 8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8258" h="803885">
                  <a:moveTo>
                    <a:pt x="191780" y="46360"/>
                  </a:moveTo>
                  <a:cubicBezTo>
                    <a:pt x="241151" y="151274"/>
                    <a:pt x="376923" y="601788"/>
                    <a:pt x="376923" y="601788"/>
                  </a:cubicBezTo>
                  <a:cubicBezTo>
                    <a:pt x="376923" y="601788"/>
                    <a:pt x="802751" y="641903"/>
                    <a:pt x="802751" y="651160"/>
                  </a:cubicBezTo>
                  <a:cubicBezTo>
                    <a:pt x="821266" y="719045"/>
                    <a:pt x="790408" y="756074"/>
                    <a:pt x="750294" y="765331"/>
                  </a:cubicBezTo>
                  <a:cubicBezTo>
                    <a:pt x="741037" y="768417"/>
                    <a:pt x="537380" y="839389"/>
                    <a:pt x="287437" y="780760"/>
                  </a:cubicBezTo>
                  <a:cubicBezTo>
                    <a:pt x="219551" y="765331"/>
                    <a:pt x="59094" y="404303"/>
                    <a:pt x="3551" y="259274"/>
                  </a:cubicBezTo>
                  <a:cubicBezTo>
                    <a:pt x="-24220" y="175960"/>
                    <a:pt x="117723" y="-111012"/>
                    <a:pt x="191780" y="46360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51632DE8-2E1E-43EE-9663-713EC8A825B2}"/>
                </a:ext>
              </a:extLst>
            </p:cNvPr>
            <p:cNvSpPr/>
            <p:nvPr/>
          </p:nvSpPr>
          <p:spPr>
            <a:xfrm>
              <a:off x="3750969" y="8201122"/>
              <a:ext cx="151200" cy="207631"/>
            </a:xfrm>
            <a:custGeom>
              <a:avLst/>
              <a:gdLst>
                <a:gd name="connsiteX0" fmla="*/ 151200 w 151200"/>
                <a:gd name="connsiteY0" fmla="*/ 888 h 207631"/>
                <a:gd name="connsiteX1" fmla="*/ 111086 w 151200"/>
                <a:gd name="connsiteY1" fmla="*/ 192203 h 207631"/>
                <a:gd name="connsiteX2" fmla="*/ 46286 w 151200"/>
                <a:gd name="connsiteY2" fmla="*/ 207631 h 207631"/>
                <a:gd name="connsiteX3" fmla="*/ 0 w 151200"/>
                <a:gd name="connsiteY3" fmla="*/ 108888 h 207631"/>
                <a:gd name="connsiteX4" fmla="*/ 151200 w 151200"/>
                <a:gd name="connsiteY4" fmla="*/ 888 h 207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200" h="207631">
                  <a:moveTo>
                    <a:pt x="151200" y="888"/>
                  </a:moveTo>
                  <a:lnTo>
                    <a:pt x="111086" y="192203"/>
                  </a:lnTo>
                  <a:lnTo>
                    <a:pt x="46286" y="207631"/>
                  </a:lnTo>
                  <a:lnTo>
                    <a:pt x="0" y="108888"/>
                  </a:lnTo>
                  <a:cubicBezTo>
                    <a:pt x="0" y="108888"/>
                    <a:pt x="49371" y="-11454"/>
                    <a:pt x="151200" y="888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CAF6D89D-F247-4D80-8C2E-0520013BCD37}"/>
                </a:ext>
              </a:extLst>
            </p:cNvPr>
            <p:cNvSpPr/>
            <p:nvPr/>
          </p:nvSpPr>
          <p:spPr>
            <a:xfrm>
              <a:off x="3349819" y="8044639"/>
              <a:ext cx="249949" cy="370285"/>
            </a:xfrm>
            <a:custGeom>
              <a:avLst/>
              <a:gdLst>
                <a:gd name="connsiteX0" fmla="*/ 7 w 249949"/>
                <a:gd name="connsiteY0" fmla="*/ 0 h 370285"/>
                <a:gd name="connsiteX1" fmla="*/ 123435 w 249949"/>
                <a:gd name="connsiteY1" fmla="*/ 364114 h 370285"/>
                <a:gd name="connsiteX2" fmla="*/ 203664 w 249949"/>
                <a:gd name="connsiteY2" fmla="*/ 370286 h 370285"/>
                <a:gd name="connsiteX3" fmla="*/ 249949 w 249949"/>
                <a:gd name="connsiteY3" fmla="*/ 253028 h 370285"/>
                <a:gd name="connsiteX4" fmla="*/ 157378 w 249949"/>
                <a:gd name="connsiteY4" fmla="*/ 114171 h 370285"/>
                <a:gd name="connsiteX5" fmla="*/ 7 w 249949"/>
                <a:gd name="connsiteY5" fmla="*/ 0 h 37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949" h="370285">
                  <a:moveTo>
                    <a:pt x="7" y="0"/>
                  </a:moveTo>
                  <a:cubicBezTo>
                    <a:pt x="7" y="0"/>
                    <a:pt x="-3079" y="185143"/>
                    <a:pt x="123435" y="364114"/>
                  </a:cubicBezTo>
                  <a:lnTo>
                    <a:pt x="203664" y="370286"/>
                  </a:lnTo>
                  <a:lnTo>
                    <a:pt x="249949" y="253028"/>
                  </a:lnTo>
                  <a:lnTo>
                    <a:pt x="157378" y="114171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A79F1EF4-05DC-4738-89DB-208D19B19BC9}"/>
                </a:ext>
              </a:extLst>
            </p:cNvPr>
            <p:cNvSpPr/>
            <p:nvPr/>
          </p:nvSpPr>
          <p:spPr>
            <a:xfrm>
              <a:off x="3837796" y="8498242"/>
              <a:ext cx="406887" cy="425825"/>
            </a:xfrm>
            <a:custGeom>
              <a:avLst/>
              <a:gdLst>
                <a:gd name="connsiteX0" fmla="*/ 52030 w 406887"/>
                <a:gd name="connsiteY0" fmla="*/ 425825 h 425825"/>
                <a:gd name="connsiteX1" fmla="*/ 58201 w 406887"/>
                <a:gd name="connsiteY1" fmla="*/ 15425 h 425825"/>
                <a:gd name="connsiteX2" fmla="*/ 406887 w 406887"/>
                <a:gd name="connsiteY2" fmla="*/ 296225 h 425825"/>
                <a:gd name="connsiteX3" fmla="*/ 52030 w 406887"/>
                <a:gd name="connsiteY3" fmla="*/ 425825 h 42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887" h="425825">
                  <a:moveTo>
                    <a:pt x="52030" y="425825"/>
                  </a:moveTo>
                  <a:cubicBezTo>
                    <a:pt x="-31284" y="259196"/>
                    <a:pt x="-3513" y="64796"/>
                    <a:pt x="58201" y="15425"/>
                  </a:cubicBezTo>
                  <a:cubicBezTo>
                    <a:pt x="141516" y="-49375"/>
                    <a:pt x="335916" y="98739"/>
                    <a:pt x="406887" y="296225"/>
                  </a:cubicBezTo>
                  <a:cubicBezTo>
                    <a:pt x="363687" y="357939"/>
                    <a:pt x="153859" y="413482"/>
                    <a:pt x="52030" y="425825"/>
                  </a:cubicBezTo>
                  <a:close/>
                </a:path>
              </a:pathLst>
            </a:custGeom>
            <a:solidFill>
              <a:srgbClr val="D1615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F022F37C-3EBD-4D99-9925-871CB95AA6DB}"/>
                </a:ext>
              </a:extLst>
            </p:cNvPr>
            <p:cNvSpPr/>
            <p:nvPr/>
          </p:nvSpPr>
          <p:spPr>
            <a:xfrm>
              <a:off x="3274184" y="8444349"/>
              <a:ext cx="830520" cy="998209"/>
            </a:xfrm>
            <a:custGeom>
              <a:avLst/>
              <a:gdLst>
                <a:gd name="connsiteX0" fmla="*/ 44785 w 830520"/>
                <a:gd name="connsiteY0" fmla="*/ 396404 h 998209"/>
                <a:gd name="connsiteX1" fmla="*/ 60213 w 830520"/>
                <a:gd name="connsiteY1" fmla="*/ 69319 h 998209"/>
                <a:gd name="connsiteX2" fmla="*/ 433585 w 830520"/>
                <a:gd name="connsiteY2" fmla="*/ 4519 h 998209"/>
                <a:gd name="connsiteX3" fmla="*/ 739070 w 830520"/>
                <a:gd name="connsiteY3" fmla="*/ 106347 h 998209"/>
                <a:gd name="connsiteX4" fmla="*/ 779185 w 830520"/>
                <a:gd name="connsiteY4" fmla="*/ 661776 h 998209"/>
                <a:gd name="connsiteX5" fmla="*/ 735985 w 830520"/>
                <a:gd name="connsiteY5" fmla="*/ 991947 h 998209"/>
                <a:gd name="connsiteX6" fmla="*/ 50956 w 830520"/>
                <a:gd name="connsiteY6" fmla="*/ 976519 h 998209"/>
                <a:gd name="connsiteX7" fmla="*/ 44785 w 830520"/>
                <a:gd name="connsiteY7" fmla="*/ 396404 h 998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0520" h="998209">
                  <a:moveTo>
                    <a:pt x="44785" y="396404"/>
                  </a:moveTo>
                  <a:cubicBezTo>
                    <a:pt x="35527" y="365547"/>
                    <a:pt x="-60130" y="134119"/>
                    <a:pt x="60213" y="69319"/>
                  </a:cubicBezTo>
                  <a:cubicBezTo>
                    <a:pt x="165127" y="13776"/>
                    <a:pt x="313242" y="-10910"/>
                    <a:pt x="433585" y="4519"/>
                  </a:cubicBezTo>
                  <a:cubicBezTo>
                    <a:pt x="566270" y="19947"/>
                    <a:pt x="698956" y="41547"/>
                    <a:pt x="739070" y="106347"/>
                  </a:cubicBezTo>
                  <a:cubicBezTo>
                    <a:pt x="853242" y="294576"/>
                    <a:pt x="853242" y="461204"/>
                    <a:pt x="779185" y="661776"/>
                  </a:cubicBezTo>
                  <a:cubicBezTo>
                    <a:pt x="757585" y="720404"/>
                    <a:pt x="751413" y="856176"/>
                    <a:pt x="735985" y="991947"/>
                  </a:cubicBezTo>
                  <a:cubicBezTo>
                    <a:pt x="735985" y="991947"/>
                    <a:pt x="449013" y="1013547"/>
                    <a:pt x="50956" y="976519"/>
                  </a:cubicBezTo>
                  <a:cubicBezTo>
                    <a:pt x="81813" y="754347"/>
                    <a:pt x="54042" y="421090"/>
                    <a:pt x="44785" y="396404"/>
                  </a:cubicBezTo>
                  <a:close/>
                </a:path>
              </a:pathLst>
            </a:custGeom>
            <a:solidFill>
              <a:srgbClr val="D1615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D5E23EBF-9E99-49BB-9729-E513AB7C25A5}"/>
                </a:ext>
              </a:extLst>
            </p:cNvPr>
            <p:cNvSpPr/>
            <p:nvPr/>
          </p:nvSpPr>
          <p:spPr>
            <a:xfrm>
              <a:off x="3617892" y="7745663"/>
              <a:ext cx="325172" cy="596921"/>
            </a:xfrm>
            <a:custGeom>
              <a:avLst/>
              <a:gdLst>
                <a:gd name="connsiteX0" fmla="*/ 145420 w 325172"/>
                <a:gd name="connsiteY0" fmla="*/ 582861 h 596921"/>
                <a:gd name="connsiteX1" fmla="*/ 324391 w 325172"/>
                <a:gd name="connsiteY1" fmla="*/ 234175 h 596921"/>
                <a:gd name="connsiteX2" fmla="*/ 391 w 325172"/>
                <a:gd name="connsiteY2" fmla="*/ 8918 h 596921"/>
                <a:gd name="connsiteX3" fmla="*/ 37420 w 325172"/>
                <a:gd name="connsiteY3" fmla="*/ 178632 h 596921"/>
                <a:gd name="connsiteX4" fmla="*/ 86791 w 325172"/>
                <a:gd name="connsiteY4" fmla="*/ 323661 h 596921"/>
                <a:gd name="connsiteX5" fmla="*/ 145420 w 325172"/>
                <a:gd name="connsiteY5" fmla="*/ 582861 h 596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5172" h="596921">
                  <a:moveTo>
                    <a:pt x="145420" y="582861"/>
                  </a:moveTo>
                  <a:cubicBezTo>
                    <a:pt x="302791" y="552004"/>
                    <a:pt x="330563" y="298976"/>
                    <a:pt x="324391" y="234175"/>
                  </a:cubicBezTo>
                  <a:cubicBezTo>
                    <a:pt x="302791" y="67547"/>
                    <a:pt x="117648" y="-31196"/>
                    <a:pt x="391" y="8918"/>
                  </a:cubicBezTo>
                  <a:cubicBezTo>
                    <a:pt x="-2695" y="8918"/>
                    <a:pt x="12734" y="129261"/>
                    <a:pt x="37420" y="178632"/>
                  </a:cubicBezTo>
                  <a:cubicBezTo>
                    <a:pt x="59020" y="224918"/>
                    <a:pt x="77534" y="274290"/>
                    <a:pt x="86791" y="323661"/>
                  </a:cubicBezTo>
                  <a:cubicBezTo>
                    <a:pt x="96048" y="376118"/>
                    <a:pt x="46677" y="663089"/>
                    <a:pt x="145420" y="582861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08F27E6D-8AA6-4534-86D2-F47ABF3FD210}"/>
                </a:ext>
              </a:extLst>
            </p:cNvPr>
            <p:cNvSpPr/>
            <p:nvPr/>
          </p:nvSpPr>
          <p:spPr>
            <a:xfrm>
              <a:off x="3448569" y="7799988"/>
              <a:ext cx="427717" cy="575146"/>
            </a:xfrm>
            <a:custGeom>
              <a:avLst/>
              <a:gdLst>
                <a:gd name="connsiteX0" fmla="*/ 419657 w 427717"/>
                <a:gd name="connsiteY0" fmla="*/ 186023 h 575146"/>
                <a:gd name="connsiteX1" fmla="*/ 407314 w 427717"/>
                <a:gd name="connsiteY1" fmla="*/ 445223 h 575146"/>
                <a:gd name="connsiteX2" fmla="*/ 256114 w 427717"/>
                <a:gd name="connsiteY2" fmla="*/ 574823 h 575146"/>
                <a:gd name="connsiteX3" fmla="*/ 37029 w 427717"/>
                <a:gd name="connsiteY3" fmla="*/ 429794 h 575146"/>
                <a:gd name="connsiteX4" fmla="*/ 0 w 427717"/>
                <a:gd name="connsiteY4" fmla="*/ 201451 h 575146"/>
                <a:gd name="connsiteX5" fmla="*/ 216000 w 427717"/>
                <a:gd name="connsiteY5" fmla="*/ 880 h 575146"/>
                <a:gd name="connsiteX6" fmla="*/ 419657 w 427717"/>
                <a:gd name="connsiteY6" fmla="*/ 186023 h 57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717" h="575146">
                  <a:moveTo>
                    <a:pt x="419657" y="186023"/>
                  </a:moveTo>
                  <a:cubicBezTo>
                    <a:pt x="419657" y="186023"/>
                    <a:pt x="444343" y="377337"/>
                    <a:pt x="407314" y="445223"/>
                  </a:cubicBezTo>
                  <a:cubicBezTo>
                    <a:pt x="370286" y="513108"/>
                    <a:pt x="308571" y="571737"/>
                    <a:pt x="256114" y="574823"/>
                  </a:cubicBezTo>
                  <a:cubicBezTo>
                    <a:pt x="188229" y="580994"/>
                    <a:pt x="74057" y="497680"/>
                    <a:pt x="37029" y="429794"/>
                  </a:cubicBezTo>
                  <a:cubicBezTo>
                    <a:pt x="0" y="361908"/>
                    <a:pt x="0" y="253908"/>
                    <a:pt x="0" y="201451"/>
                  </a:cubicBezTo>
                  <a:cubicBezTo>
                    <a:pt x="3086" y="105794"/>
                    <a:pt x="30857" y="25565"/>
                    <a:pt x="216000" y="880"/>
                  </a:cubicBezTo>
                  <a:cubicBezTo>
                    <a:pt x="302400" y="-11463"/>
                    <a:pt x="398057" y="108880"/>
                    <a:pt x="419657" y="186023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483C55EF-4CE0-4721-BCE2-C9A65B4471EF}"/>
                </a:ext>
              </a:extLst>
            </p:cNvPr>
            <p:cNvSpPr/>
            <p:nvPr/>
          </p:nvSpPr>
          <p:spPr>
            <a:xfrm>
              <a:off x="3676911" y="8075496"/>
              <a:ext cx="55542" cy="132685"/>
            </a:xfrm>
            <a:custGeom>
              <a:avLst/>
              <a:gdLst>
                <a:gd name="connsiteX0" fmla="*/ 30857 w 55542"/>
                <a:gd name="connsiteY0" fmla="*/ 132685 h 132685"/>
                <a:gd name="connsiteX1" fmla="*/ 6171 w 55542"/>
                <a:gd name="connsiteY1" fmla="*/ 129600 h 132685"/>
                <a:gd name="connsiteX2" fmla="*/ 0 w 55542"/>
                <a:gd name="connsiteY2" fmla="*/ 123429 h 132685"/>
                <a:gd name="connsiteX3" fmla="*/ 6171 w 55542"/>
                <a:gd name="connsiteY3" fmla="*/ 117257 h 132685"/>
                <a:gd name="connsiteX4" fmla="*/ 46286 w 55542"/>
                <a:gd name="connsiteY4" fmla="*/ 117257 h 132685"/>
                <a:gd name="connsiteX5" fmla="*/ 46286 w 55542"/>
                <a:gd name="connsiteY5" fmla="*/ 114171 h 132685"/>
                <a:gd name="connsiteX6" fmla="*/ 18514 w 55542"/>
                <a:gd name="connsiteY6" fmla="*/ 6171 h 132685"/>
                <a:gd name="connsiteX7" fmla="*/ 21600 w 55542"/>
                <a:gd name="connsiteY7" fmla="*/ 0 h 132685"/>
                <a:gd name="connsiteX8" fmla="*/ 27771 w 55542"/>
                <a:gd name="connsiteY8" fmla="*/ 3085 h 132685"/>
                <a:gd name="connsiteX9" fmla="*/ 55543 w 55542"/>
                <a:gd name="connsiteY9" fmla="*/ 114171 h 132685"/>
                <a:gd name="connsiteX10" fmla="*/ 49372 w 55542"/>
                <a:gd name="connsiteY10" fmla="*/ 126514 h 132685"/>
                <a:gd name="connsiteX11" fmla="*/ 30857 w 55542"/>
                <a:gd name="connsiteY11" fmla="*/ 132685 h 132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542" h="132685">
                  <a:moveTo>
                    <a:pt x="30857" y="132685"/>
                  </a:moveTo>
                  <a:cubicBezTo>
                    <a:pt x="18514" y="132685"/>
                    <a:pt x="9257" y="129600"/>
                    <a:pt x="6171" y="129600"/>
                  </a:cubicBezTo>
                  <a:cubicBezTo>
                    <a:pt x="3086" y="129600"/>
                    <a:pt x="0" y="126514"/>
                    <a:pt x="0" y="123429"/>
                  </a:cubicBezTo>
                  <a:cubicBezTo>
                    <a:pt x="0" y="120343"/>
                    <a:pt x="3086" y="117257"/>
                    <a:pt x="6171" y="117257"/>
                  </a:cubicBezTo>
                  <a:cubicBezTo>
                    <a:pt x="18514" y="120343"/>
                    <a:pt x="40114" y="120343"/>
                    <a:pt x="46286" y="117257"/>
                  </a:cubicBezTo>
                  <a:cubicBezTo>
                    <a:pt x="46286" y="117257"/>
                    <a:pt x="46286" y="114171"/>
                    <a:pt x="46286" y="114171"/>
                  </a:cubicBezTo>
                  <a:cubicBezTo>
                    <a:pt x="46286" y="98743"/>
                    <a:pt x="24686" y="30857"/>
                    <a:pt x="18514" y="6171"/>
                  </a:cubicBezTo>
                  <a:cubicBezTo>
                    <a:pt x="18514" y="3085"/>
                    <a:pt x="18514" y="0"/>
                    <a:pt x="21600" y="0"/>
                  </a:cubicBezTo>
                  <a:cubicBezTo>
                    <a:pt x="24686" y="0"/>
                    <a:pt x="27771" y="0"/>
                    <a:pt x="27771" y="3085"/>
                  </a:cubicBezTo>
                  <a:cubicBezTo>
                    <a:pt x="27771" y="6171"/>
                    <a:pt x="55543" y="92571"/>
                    <a:pt x="55543" y="114171"/>
                  </a:cubicBezTo>
                  <a:cubicBezTo>
                    <a:pt x="55543" y="120343"/>
                    <a:pt x="52457" y="123429"/>
                    <a:pt x="49372" y="126514"/>
                  </a:cubicBezTo>
                  <a:cubicBezTo>
                    <a:pt x="49372" y="129600"/>
                    <a:pt x="40114" y="132685"/>
                    <a:pt x="30857" y="132685"/>
                  </a:cubicBezTo>
                  <a:close/>
                </a:path>
              </a:pathLst>
            </a:custGeom>
            <a:solidFill>
              <a:srgbClr val="E58777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91735614-74F6-4C51-BC30-91C3846471A4}"/>
                </a:ext>
              </a:extLst>
            </p:cNvPr>
            <p:cNvSpPr/>
            <p:nvPr/>
          </p:nvSpPr>
          <p:spPr>
            <a:xfrm>
              <a:off x="3649140" y="8257553"/>
              <a:ext cx="107999" cy="55542"/>
            </a:xfrm>
            <a:custGeom>
              <a:avLst/>
              <a:gdLst>
                <a:gd name="connsiteX0" fmla="*/ 0 w 107999"/>
                <a:gd name="connsiteY0" fmla="*/ 0 h 55542"/>
                <a:gd name="connsiteX1" fmla="*/ 108000 w 107999"/>
                <a:gd name="connsiteY1" fmla="*/ 0 h 55542"/>
                <a:gd name="connsiteX2" fmla="*/ 55543 w 107999"/>
                <a:gd name="connsiteY2" fmla="*/ 55543 h 55542"/>
                <a:gd name="connsiteX3" fmla="*/ 0 w 107999"/>
                <a:gd name="connsiteY3" fmla="*/ 0 h 5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999" h="55542">
                  <a:moveTo>
                    <a:pt x="0" y="0"/>
                  </a:moveTo>
                  <a:cubicBezTo>
                    <a:pt x="55543" y="24686"/>
                    <a:pt x="108000" y="0"/>
                    <a:pt x="108000" y="0"/>
                  </a:cubicBezTo>
                  <a:cubicBezTo>
                    <a:pt x="108000" y="0"/>
                    <a:pt x="92571" y="55543"/>
                    <a:pt x="55543" y="55543"/>
                  </a:cubicBezTo>
                  <a:cubicBezTo>
                    <a:pt x="12343" y="5554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FD59B819-E316-4F8F-A3DE-E298AA0B490D}"/>
                </a:ext>
              </a:extLst>
            </p:cNvPr>
            <p:cNvSpPr/>
            <p:nvPr/>
          </p:nvSpPr>
          <p:spPr>
            <a:xfrm>
              <a:off x="3768697" y="8043853"/>
              <a:ext cx="41687" cy="41686"/>
            </a:xfrm>
            <a:custGeom>
              <a:avLst/>
              <a:gdLst>
                <a:gd name="connsiteX0" fmla="*/ 786 w 41687"/>
                <a:gd name="connsiteY0" fmla="*/ 25472 h 41686"/>
                <a:gd name="connsiteX1" fmla="*/ 25472 w 41687"/>
                <a:gd name="connsiteY1" fmla="*/ 40900 h 41686"/>
                <a:gd name="connsiteX2" fmla="*/ 40901 w 41687"/>
                <a:gd name="connsiteY2" fmla="*/ 16215 h 41686"/>
                <a:gd name="connsiteX3" fmla="*/ 16215 w 41687"/>
                <a:gd name="connsiteY3" fmla="*/ 786 h 41686"/>
                <a:gd name="connsiteX4" fmla="*/ 786 w 41687"/>
                <a:gd name="connsiteY4" fmla="*/ 25472 h 41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87" h="41686">
                  <a:moveTo>
                    <a:pt x="786" y="25472"/>
                  </a:moveTo>
                  <a:cubicBezTo>
                    <a:pt x="3872" y="37815"/>
                    <a:pt x="13129" y="43986"/>
                    <a:pt x="25472" y="40900"/>
                  </a:cubicBezTo>
                  <a:cubicBezTo>
                    <a:pt x="37815" y="37815"/>
                    <a:pt x="43986" y="28558"/>
                    <a:pt x="40901" y="16215"/>
                  </a:cubicBezTo>
                  <a:cubicBezTo>
                    <a:pt x="37815" y="3872"/>
                    <a:pt x="28558" y="-2299"/>
                    <a:pt x="16215" y="786"/>
                  </a:cubicBezTo>
                  <a:cubicBezTo>
                    <a:pt x="3872" y="6958"/>
                    <a:pt x="-2299" y="16215"/>
                    <a:pt x="786" y="25472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EF03C672-D1BD-4630-B9C7-EB90B0521F4A}"/>
                </a:ext>
              </a:extLst>
            </p:cNvPr>
            <p:cNvSpPr/>
            <p:nvPr/>
          </p:nvSpPr>
          <p:spPr>
            <a:xfrm>
              <a:off x="3577382" y="8053110"/>
              <a:ext cx="41686" cy="41687"/>
            </a:xfrm>
            <a:custGeom>
              <a:avLst/>
              <a:gdLst>
                <a:gd name="connsiteX0" fmla="*/ 786 w 41686"/>
                <a:gd name="connsiteY0" fmla="*/ 25472 h 41687"/>
                <a:gd name="connsiteX1" fmla="*/ 25472 w 41686"/>
                <a:gd name="connsiteY1" fmla="*/ 40901 h 41687"/>
                <a:gd name="connsiteX2" fmla="*/ 40901 w 41686"/>
                <a:gd name="connsiteY2" fmla="*/ 16215 h 41687"/>
                <a:gd name="connsiteX3" fmla="*/ 16215 w 41686"/>
                <a:gd name="connsiteY3" fmla="*/ 786 h 41687"/>
                <a:gd name="connsiteX4" fmla="*/ 786 w 41686"/>
                <a:gd name="connsiteY4" fmla="*/ 25472 h 41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86" h="41687">
                  <a:moveTo>
                    <a:pt x="786" y="25472"/>
                  </a:moveTo>
                  <a:cubicBezTo>
                    <a:pt x="3872" y="37815"/>
                    <a:pt x="13129" y="43987"/>
                    <a:pt x="25472" y="40901"/>
                  </a:cubicBezTo>
                  <a:cubicBezTo>
                    <a:pt x="37815" y="37815"/>
                    <a:pt x="43986" y="28558"/>
                    <a:pt x="40901" y="16215"/>
                  </a:cubicBezTo>
                  <a:cubicBezTo>
                    <a:pt x="37815" y="3872"/>
                    <a:pt x="28558" y="-2299"/>
                    <a:pt x="16215" y="786"/>
                  </a:cubicBezTo>
                  <a:cubicBezTo>
                    <a:pt x="3872" y="3872"/>
                    <a:pt x="-2299" y="13129"/>
                    <a:pt x="786" y="25472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6BAB7EDB-BDEE-468F-8DB3-84C14639F47F}"/>
                </a:ext>
              </a:extLst>
            </p:cNvPr>
            <p:cNvSpPr/>
            <p:nvPr/>
          </p:nvSpPr>
          <p:spPr>
            <a:xfrm>
              <a:off x="3743519" y="7998353"/>
              <a:ext cx="93078" cy="30857"/>
            </a:xfrm>
            <a:custGeom>
              <a:avLst/>
              <a:gdLst>
                <a:gd name="connsiteX0" fmla="*/ 84592 w 93078"/>
                <a:gd name="connsiteY0" fmla="*/ 30857 h 30857"/>
                <a:gd name="connsiteX1" fmla="*/ 78421 w 93078"/>
                <a:gd name="connsiteY1" fmla="*/ 27771 h 30857"/>
                <a:gd name="connsiteX2" fmla="*/ 10535 w 93078"/>
                <a:gd name="connsiteY2" fmla="*/ 21600 h 30857"/>
                <a:gd name="connsiteX3" fmla="*/ 1278 w 93078"/>
                <a:gd name="connsiteY3" fmla="*/ 18514 h 30857"/>
                <a:gd name="connsiteX4" fmla="*/ 4364 w 93078"/>
                <a:gd name="connsiteY4" fmla="*/ 9257 h 30857"/>
                <a:gd name="connsiteX5" fmla="*/ 90764 w 93078"/>
                <a:gd name="connsiteY5" fmla="*/ 18514 h 30857"/>
                <a:gd name="connsiteX6" fmla="*/ 90764 w 93078"/>
                <a:gd name="connsiteY6" fmla="*/ 30857 h 30857"/>
                <a:gd name="connsiteX7" fmla="*/ 84592 w 93078"/>
                <a:gd name="connsiteY7" fmla="*/ 30857 h 3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0857">
                  <a:moveTo>
                    <a:pt x="84592" y="30857"/>
                  </a:moveTo>
                  <a:cubicBezTo>
                    <a:pt x="81507" y="30857"/>
                    <a:pt x="81507" y="30857"/>
                    <a:pt x="78421" y="27771"/>
                  </a:cubicBezTo>
                  <a:cubicBezTo>
                    <a:pt x="53735" y="0"/>
                    <a:pt x="10535" y="21600"/>
                    <a:pt x="10535" y="21600"/>
                  </a:cubicBezTo>
                  <a:cubicBezTo>
                    <a:pt x="7450" y="24685"/>
                    <a:pt x="1278" y="21600"/>
                    <a:pt x="1278" y="18514"/>
                  </a:cubicBezTo>
                  <a:cubicBezTo>
                    <a:pt x="-1808" y="15429"/>
                    <a:pt x="1278" y="9257"/>
                    <a:pt x="4364" y="9257"/>
                  </a:cubicBezTo>
                  <a:cubicBezTo>
                    <a:pt x="22878" y="0"/>
                    <a:pt x="62992" y="-9257"/>
                    <a:pt x="90764" y="18514"/>
                  </a:cubicBezTo>
                  <a:cubicBezTo>
                    <a:pt x="93850" y="21600"/>
                    <a:pt x="93850" y="27771"/>
                    <a:pt x="90764" y="30857"/>
                  </a:cubicBezTo>
                  <a:cubicBezTo>
                    <a:pt x="87678" y="30857"/>
                    <a:pt x="84592" y="30857"/>
                    <a:pt x="84592" y="30857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B333F681-ABD1-4CD8-A985-CD65E2EE2230}"/>
                </a:ext>
              </a:extLst>
            </p:cNvPr>
            <p:cNvSpPr/>
            <p:nvPr/>
          </p:nvSpPr>
          <p:spPr>
            <a:xfrm>
              <a:off x="3548083" y="7996296"/>
              <a:ext cx="93078" cy="35999"/>
            </a:xfrm>
            <a:custGeom>
              <a:avLst/>
              <a:gdLst>
                <a:gd name="connsiteX0" fmla="*/ 8486 w 93078"/>
                <a:gd name="connsiteY0" fmla="*/ 36000 h 35999"/>
                <a:gd name="connsiteX1" fmla="*/ 2314 w 93078"/>
                <a:gd name="connsiteY1" fmla="*/ 32914 h 35999"/>
                <a:gd name="connsiteX2" fmla="*/ 2314 w 93078"/>
                <a:gd name="connsiteY2" fmla="*/ 20571 h 35999"/>
                <a:gd name="connsiteX3" fmla="*/ 88714 w 93078"/>
                <a:gd name="connsiteY3" fmla="*/ 11314 h 35999"/>
                <a:gd name="connsiteX4" fmla="*/ 91800 w 93078"/>
                <a:gd name="connsiteY4" fmla="*/ 23657 h 35999"/>
                <a:gd name="connsiteX5" fmla="*/ 79457 w 93078"/>
                <a:gd name="connsiteY5" fmla="*/ 26743 h 35999"/>
                <a:gd name="connsiteX6" fmla="*/ 11571 w 93078"/>
                <a:gd name="connsiteY6" fmla="*/ 32914 h 35999"/>
                <a:gd name="connsiteX7" fmla="*/ 8486 w 93078"/>
                <a:gd name="connsiteY7" fmla="*/ 36000 h 35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5999">
                  <a:moveTo>
                    <a:pt x="8486" y="36000"/>
                  </a:moveTo>
                  <a:cubicBezTo>
                    <a:pt x="5400" y="36000"/>
                    <a:pt x="5400" y="36000"/>
                    <a:pt x="2314" y="32914"/>
                  </a:cubicBezTo>
                  <a:cubicBezTo>
                    <a:pt x="-771" y="29829"/>
                    <a:pt x="-771" y="23657"/>
                    <a:pt x="2314" y="20571"/>
                  </a:cubicBezTo>
                  <a:cubicBezTo>
                    <a:pt x="14657" y="8229"/>
                    <a:pt x="51686" y="-13371"/>
                    <a:pt x="88714" y="11314"/>
                  </a:cubicBezTo>
                  <a:cubicBezTo>
                    <a:pt x="91800" y="14400"/>
                    <a:pt x="94886" y="17486"/>
                    <a:pt x="91800" y="23657"/>
                  </a:cubicBezTo>
                  <a:cubicBezTo>
                    <a:pt x="88714" y="26743"/>
                    <a:pt x="85629" y="29829"/>
                    <a:pt x="79457" y="26743"/>
                  </a:cubicBezTo>
                  <a:cubicBezTo>
                    <a:pt x="42429" y="2057"/>
                    <a:pt x="14657" y="32914"/>
                    <a:pt x="11571" y="32914"/>
                  </a:cubicBezTo>
                  <a:cubicBezTo>
                    <a:pt x="14657" y="36000"/>
                    <a:pt x="11571" y="36000"/>
                    <a:pt x="8486" y="36000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ECDD4247-C4D9-452C-BCC5-88D238E9F32E}"/>
                </a:ext>
              </a:extLst>
            </p:cNvPr>
            <p:cNvSpPr/>
            <p:nvPr/>
          </p:nvSpPr>
          <p:spPr>
            <a:xfrm>
              <a:off x="3615113" y="7749327"/>
              <a:ext cx="278148" cy="279883"/>
            </a:xfrm>
            <a:custGeom>
              <a:avLst/>
              <a:gdLst>
                <a:gd name="connsiteX0" fmla="*/ 3170 w 278148"/>
                <a:gd name="connsiteY0" fmla="*/ 2169 h 279883"/>
                <a:gd name="connsiteX1" fmla="*/ 37113 w 278148"/>
                <a:gd name="connsiteY1" fmla="*/ 150283 h 279883"/>
                <a:gd name="connsiteX2" fmla="*/ 277799 w 278148"/>
                <a:gd name="connsiteY2" fmla="*/ 279883 h 279883"/>
                <a:gd name="connsiteX3" fmla="*/ 3170 w 278148"/>
                <a:gd name="connsiteY3" fmla="*/ 2169 h 279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148" h="279883">
                  <a:moveTo>
                    <a:pt x="3170" y="2169"/>
                  </a:moveTo>
                  <a:cubicBezTo>
                    <a:pt x="3170" y="2169"/>
                    <a:pt x="-15344" y="110169"/>
                    <a:pt x="37113" y="150283"/>
                  </a:cubicBezTo>
                  <a:cubicBezTo>
                    <a:pt x="37113" y="150283"/>
                    <a:pt x="250027" y="193483"/>
                    <a:pt x="277799" y="279883"/>
                  </a:cubicBezTo>
                  <a:cubicBezTo>
                    <a:pt x="277799" y="279883"/>
                    <a:pt x="299399" y="-28688"/>
                    <a:pt x="3170" y="2169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63C18FD8-6847-471F-8219-69D7B6CD54AD}"/>
                </a:ext>
              </a:extLst>
            </p:cNvPr>
            <p:cNvSpPr/>
            <p:nvPr/>
          </p:nvSpPr>
          <p:spPr>
            <a:xfrm>
              <a:off x="3351503" y="7751496"/>
              <a:ext cx="300722" cy="355322"/>
            </a:xfrm>
            <a:custGeom>
              <a:avLst/>
              <a:gdLst>
                <a:gd name="connsiteX0" fmla="*/ 300722 w 300722"/>
                <a:gd name="connsiteY0" fmla="*/ 148114 h 355322"/>
                <a:gd name="connsiteX1" fmla="*/ 158780 w 300722"/>
                <a:gd name="connsiteY1" fmla="*/ 203657 h 355322"/>
                <a:gd name="connsiteX2" fmla="*/ 100151 w 300722"/>
                <a:gd name="connsiteY2" fmla="*/ 324000 h 355322"/>
                <a:gd name="connsiteX3" fmla="*/ 10665 w 300722"/>
                <a:gd name="connsiteY3" fmla="*/ 345600 h 355322"/>
                <a:gd name="connsiteX4" fmla="*/ 269865 w 300722"/>
                <a:gd name="connsiteY4" fmla="*/ 0 h 355322"/>
                <a:gd name="connsiteX5" fmla="*/ 300722 w 300722"/>
                <a:gd name="connsiteY5" fmla="*/ 148114 h 355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0722" h="355322">
                  <a:moveTo>
                    <a:pt x="300722" y="148114"/>
                  </a:moveTo>
                  <a:cubicBezTo>
                    <a:pt x="300722" y="148114"/>
                    <a:pt x="208151" y="197486"/>
                    <a:pt x="158780" y="203657"/>
                  </a:cubicBezTo>
                  <a:cubicBezTo>
                    <a:pt x="106322" y="209828"/>
                    <a:pt x="100151" y="324000"/>
                    <a:pt x="100151" y="324000"/>
                  </a:cubicBezTo>
                  <a:cubicBezTo>
                    <a:pt x="100151" y="324000"/>
                    <a:pt x="26094" y="376457"/>
                    <a:pt x="10665" y="345600"/>
                  </a:cubicBezTo>
                  <a:cubicBezTo>
                    <a:pt x="-23278" y="277714"/>
                    <a:pt x="13751" y="0"/>
                    <a:pt x="269865" y="0"/>
                  </a:cubicBezTo>
                  <a:cubicBezTo>
                    <a:pt x="266780" y="0"/>
                    <a:pt x="276037" y="145028"/>
                    <a:pt x="300722" y="148114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33968908-4E06-4B33-8D1D-DCC092179623}"/>
                </a:ext>
              </a:extLst>
            </p:cNvPr>
            <p:cNvSpPr/>
            <p:nvPr/>
          </p:nvSpPr>
          <p:spPr>
            <a:xfrm>
              <a:off x="3501026" y="7748410"/>
              <a:ext cx="155657" cy="212914"/>
            </a:xfrm>
            <a:custGeom>
              <a:avLst/>
              <a:gdLst>
                <a:gd name="connsiteX0" fmla="*/ 6171 w 155657"/>
                <a:gd name="connsiteY0" fmla="*/ 212914 h 212914"/>
                <a:gd name="connsiteX1" fmla="*/ 0 w 155657"/>
                <a:gd name="connsiteY1" fmla="*/ 206743 h 212914"/>
                <a:gd name="connsiteX2" fmla="*/ 6171 w 155657"/>
                <a:gd name="connsiteY2" fmla="*/ 200571 h 212914"/>
                <a:gd name="connsiteX3" fmla="*/ 101829 w 155657"/>
                <a:gd name="connsiteY3" fmla="*/ 169714 h 212914"/>
                <a:gd name="connsiteX4" fmla="*/ 141943 w 155657"/>
                <a:gd name="connsiteY4" fmla="*/ 148114 h 212914"/>
                <a:gd name="connsiteX5" fmla="*/ 126514 w 155657"/>
                <a:gd name="connsiteY5" fmla="*/ 126514 h 212914"/>
                <a:gd name="connsiteX6" fmla="*/ 114171 w 155657"/>
                <a:gd name="connsiteY6" fmla="*/ 83314 h 212914"/>
                <a:gd name="connsiteX7" fmla="*/ 111086 w 155657"/>
                <a:gd name="connsiteY7" fmla="*/ 43200 h 212914"/>
                <a:gd name="connsiteX8" fmla="*/ 108000 w 155657"/>
                <a:gd name="connsiteY8" fmla="*/ 6171 h 212914"/>
                <a:gd name="connsiteX9" fmla="*/ 114171 w 155657"/>
                <a:gd name="connsiteY9" fmla="*/ 0 h 212914"/>
                <a:gd name="connsiteX10" fmla="*/ 120343 w 155657"/>
                <a:gd name="connsiteY10" fmla="*/ 6171 h 212914"/>
                <a:gd name="connsiteX11" fmla="*/ 123429 w 155657"/>
                <a:gd name="connsiteY11" fmla="*/ 46286 h 212914"/>
                <a:gd name="connsiteX12" fmla="*/ 126514 w 155657"/>
                <a:gd name="connsiteY12" fmla="*/ 83314 h 212914"/>
                <a:gd name="connsiteX13" fmla="*/ 135771 w 155657"/>
                <a:gd name="connsiteY13" fmla="*/ 123429 h 212914"/>
                <a:gd name="connsiteX14" fmla="*/ 154286 w 155657"/>
                <a:gd name="connsiteY14" fmla="*/ 148114 h 212914"/>
                <a:gd name="connsiteX15" fmla="*/ 154286 w 155657"/>
                <a:gd name="connsiteY15" fmla="*/ 151200 h 212914"/>
                <a:gd name="connsiteX16" fmla="*/ 151200 w 155657"/>
                <a:gd name="connsiteY16" fmla="*/ 154286 h 212914"/>
                <a:gd name="connsiteX17" fmla="*/ 104914 w 155657"/>
                <a:gd name="connsiteY17" fmla="*/ 178972 h 212914"/>
                <a:gd name="connsiteX18" fmla="*/ 6171 w 155657"/>
                <a:gd name="connsiteY18" fmla="*/ 212914 h 212914"/>
                <a:gd name="connsiteX19" fmla="*/ 6171 w 155657"/>
                <a:gd name="connsiteY19" fmla="*/ 212914 h 212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5657" h="212914">
                  <a:moveTo>
                    <a:pt x="6171" y="212914"/>
                  </a:moveTo>
                  <a:cubicBezTo>
                    <a:pt x="3086" y="212914"/>
                    <a:pt x="0" y="209829"/>
                    <a:pt x="0" y="206743"/>
                  </a:cubicBezTo>
                  <a:cubicBezTo>
                    <a:pt x="0" y="203657"/>
                    <a:pt x="3086" y="200571"/>
                    <a:pt x="6171" y="200571"/>
                  </a:cubicBezTo>
                  <a:cubicBezTo>
                    <a:pt x="40114" y="194400"/>
                    <a:pt x="77143" y="178972"/>
                    <a:pt x="101829" y="169714"/>
                  </a:cubicBezTo>
                  <a:cubicBezTo>
                    <a:pt x="120343" y="160457"/>
                    <a:pt x="132686" y="154286"/>
                    <a:pt x="141943" y="148114"/>
                  </a:cubicBezTo>
                  <a:cubicBezTo>
                    <a:pt x="135771" y="141943"/>
                    <a:pt x="129600" y="135771"/>
                    <a:pt x="126514" y="126514"/>
                  </a:cubicBezTo>
                  <a:cubicBezTo>
                    <a:pt x="120343" y="111086"/>
                    <a:pt x="117257" y="95657"/>
                    <a:pt x="114171" y="83314"/>
                  </a:cubicBezTo>
                  <a:cubicBezTo>
                    <a:pt x="114171" y="77143"/>
                    <a:pt x="114171" y="61714"/>
                    <a:pt x="111086" y="43200"/>
                  </a:cubicBezTo>
                  <a:cubicBezTo>
                    <a:pt x="111086" y="27771"/>
                    <a:pt x="111086" y="12343"/>
                    <a:pt x="108000" y="6171"/>
                  </a:cubicBezTo>
                  <a:cubicBezTo>
                    <a:pt x="108000" y="3086"/>
                    <a:pt x="111086" y="0"/>
                    <a:pt x="114171" y="0"/>
                  </a:cubicBezTo>
                  <a:cubicBezTo>
                    <a:pt x="117257" y="0"/>
                    <a:pt x="120343" y="3086"/>
                    <a:pt x="120343" y="6171"/>
                  </a:cubicBezTo>
                  <a:cubicBezTo>
                    <a:pt x="120343" y="12343"/>
                    <a:pt x="120343" y="27771"/>
                    <a:pt x="123429" y="46286"/>
                  </a:cubicBezTo>
                  <a:cubicBezTo>
                    <a:pt x="123429" y="61714"/>
                    <a:pt x="123429" y="77143"/>
                    <a:pt x="126514" y="83314"/>
                  </a:cubicBezTo>
                  <a:cubicBezTo>
                    <a:pt x="129600" y="98743"/>
                    <a:pt x="129600" y="111086"/>
                    <a:pt x="135771" y="123429"/>
                  </a:cubicBezTo>
                  <a:cubicBezTo>
                    <a:pt x="138857" y="132686"/>
                    <a:pt x="148114" y="138857"/>
                    <a:pt x="154286" y="148114"/>
                  </a:cubicBezTo>
                  <a:cubicBezTo>
                    <a:pt x="154286" y="148114"/>
                    <a:pt x="157371" y="151200"/>
                    <a:pt x="154286" y="151200"/>
                  </a:cubicBezTo>
                  <a:cubicBezTo>
                    <a:pt x="154286" y="154286"/>
                    <a:pt x="154286" y="154286"/>
                    <a:pt x="151200" y="154286"/>
                  </a:cubicBezTo>
                  <a:cubicBezTo>
                    <a:pt x="151200" y="154286"/>
                    <a:pt x="132686" y="166628"/>
                    <a:pt x="104914" y="178972"/>
                  </a:cubicBezTo>
                  <a:cubicBezTo>
                    <a:pt x="83314" y="191314"/>
                    <a:pt x="46286" y="206743"/>
                    <a:pt x="6171" y="212914"/>
                  </a:cubicBezTo>
                  <a:cubicBezTo>
                    <a:pt x="9257" y="212914"/>
                    <a:pt x="9257" y="212914"/>
                    <a:pt x="6171" y="212914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B986F4F8-BA3A-49D5-993E-28DE32A261AF}"/>
                </a:ext>
              </a:extLst>
            </p:cNvPr>
            <p:cNvSpPr/>
            <p:nvPr/>
          </p:nvSpPr>
          <p:spPr>
            <a:xfrm>
              <a:off x="3504111" y="8266712"/>
              <a:ext cx="314742" cy="330269"/>
            </a:xfrm>
            <a:custGeom>
              <a:avLst/>
              <a:gdLst>
                <a:gd name="connsiteX0" fmla="*/ 259200 w 314742"/>
                <a:gd name="connsiteY0" fmla="*/ 61812 h 330269"/>
                <a:gd name="connsiteX1" fmla="*/ 314743 w 314742"/>
                <a:gd name="connsiteY1" fmla="*/ 203755 h 330269"/>
                <a:gd name="connsiteX2" fmla="*/ 197486 w 314742"/>
                <a:gd name="connsiteY2" fmla="*/ 330269 h 330269"/>
                <a:gd name="connsiteX3" fmla="*/ 0 w 314742"/>
                <a:gd name="connsiteY3" fmla="*/ 188326 h 330269"/>
                <a:gd name="connsiteX4" fmla="*/ 52457 w 314742"/>
                <a:gd name="connsiteY4" fmla="*/ 98 h 330269"/>
                <a:gd name="connsiteX5" fmla="*/ 259200 w 314742"/>
                <a:gd name="connsiteY5" fmla="*/ 61812 h 33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4742" h="330269">
                  <a:moveTo>
                    <a:pt x="259200" y="61812"/>
                  </a:moveTo>
                  <a:cubicBezTo>
                    <a:pt x="259200" y="61812"/>
                    <a:pt x="253029" y="172898"/>
                    <a:pt x="314743" y="203755"/>
                  </a:cubicBezTo>
                  <a:lnTo>
                    <a:pt x="197486" y="330269"/>
                  </a:lnTo>
                  <a:cubicBezTo>
                    <a:pt x="197486" y="330269"/>
                    <a:pt x="55543" y="219183"/>
                    <a:pt x="0" y="188326"/>
                  </a:cubicBezTo>
                  <a:cubicBezTo>
                    <a:pt x="55543" y="145126"/>
                    <a:pt x="52457" y="61812"/>
                    <a:pt x="52457" y="98"/>
                  </a:cubicBezTo>
                  <a:cubicBezTo>
                    <a:pt x="55543" y="-2988"/>
                    <a:pt x="206743" y="67983"/>
                    <a:pt x="259200" y="61812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B14EAA9B-413B-4935-86EB-A45BAFA2C85F}"/>
                </a:ext>
              </a:extLst>
            </p:cNvPr>
            <p:cNvSpPr/>
            <p:nvPr/>
          </p:nvSpPr>
          <p:spPr>
            <a:xfrm>
              <a:off x="3550397" y="8303839"/>
              <a:ext cx="224485" cy="80228"/>
            </a:xfrm>
            <a:custGeom>
              <a:avLst/>
              <a:gdLst>
                <a:gd name="connsiteX0" fmla="*/ 151200 w 224485"/>
                <a:gd name="connsiteY0" fmla="*/ 80229 h 80228"/>
                <a:gd name="connsiteX1" fmla="*/ 141943 w 224485"/>
                <a:gd name="connsiteY1" fmla="*/ 80229 h 80228"/>
                <a:gd name="connsiteX2" fmla="*/ 3086 w 224485"/>
                <a:gd name="connsiteY2" fmla="*/ 12343 h 80228"/>
                <a:gd name="connsiteX3" fmla="*/ 0 w 224485"/>
                <a:gd name="connsiteY3" fmla="*/ 3086 h 80228"/>
                <a:gd name="connsiteX4" fmla="*/ 9257 w 224485"/>
                <a:gd name="connsiteY4" fmla="*/ 0 h 80228"/>
                <a:gd name="connsiteX5" fmla="*/ 141943 w 224485"/>
                <a:gd name="connsiteY5" fmla="*/ 67886 h 80228"/>
                <a:gd name="connsiteX6" fmla="*/ 212914 w 224485"/>
                <a:gd name="connsiteY6" fmla="*/ 43200 h 80228"/>
                <a:gd name="connsiteX7" fmla="*/ 222171 w 224485"/>
                <a:gd name="connsiteY7" fmla="*/ 43200 h 80228"/>
                <a:gd name="connsiteX8" fmla="*/ 222171 w 224485"/>
                <a:gd name="connsiteY8" fmla="*/ 52457 h 80228"/>
                <a:gd name="connsiteX9" fmla="*/ 151200 w 224485"/>
                <a:gd name="connsiteY9" fmla="*/ 80229 h 8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485" h="80228">
                  <a:moveTo>
                    <a:pt x="151200" y="80229"/>
                  </a:moveTo>
                  <a:cubicBezTo>
                    <a:pt x="148114" y="80229"/>
                    <a:pt x="145029" y="80229"/>
                    <a:pt x="141943" y="80229"/>
                  </a:cubicBezTo>
                  <a:cubicBezTo>
                    <a:pt x="98743" y="74057"/>
                    <a:pt x="6171" y="12343"/>
                    <a:pt x="3086" y="12343"/>
                  </a:cubicBezTo>
                  <a:cubicBezTo>
                    <a:pt x="0" y="9257"/>
                    <a:pt x="0" y="6171"/>
                    <a:pt x="0" y="3086"/>
                  </a:cubicBezTo>
                  <a:cubicBezTo>
                    <a:pt x="3086" y="0"/>
                    <a:pt x="6171" y="0"/>
                    <a:pt x="9257" y="0"/>
                  </a:cubicBezTo>
                  <a:cubicBezTo>
                    <a:pt x="9257" y="0"/>
                    <a:pt x="104914" y="61714"/>
                    <a:pt x="141943" y="67886"/>
                  </a:cubicBezTo>
                  <a:cubicBezTo>
                    <a:pt x="182057" y="74057"/>
                    <a:pt x="212914" y="43200"/>
                    <a:pt x="212914" y="43200"/>
                  </a:cubicBezTo>
                  <a:cubicBezTo>
                    <a:pt x="216000" y="40114"/>
                    <a:pt x="219086" y="40114"/>
                    <a:pt x="222171" y="43200"/>
                  </a:cubicBezTo>
                  <a:cubicBezTo>
                    <a:pt x="225257" y="46286"/>
                    <a:pt x="225257" y="49372"/>
                    <a:pt x="222171" y="52457"/>
                  </a:cubicBezTo>
                  <a:cubicBezTo>
                    <a:pt x="219086" y="52457"/>
                    <a:pt x="188229" y="80229"/>
                    <a:pt x="151200" y="80229"/>
                  </a:cubicBezTo>
                  <a:close/>
                </a:path>
              </a:pathLst>
            </a:custGeom>
            <a:solidFill>
              <a:srgbClr val="E58777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1F59BDCC-8533-459C-8EC2-04C4CEE4C983}"/>
                </a:ext>
              </a:extLst>
            </p:cNvPr>
            <p:cNvSpPr/>
            <p:nvPr/>
          </p:nvSpPr>
          <p:spPr>
            <a:xfrm>
              <a:off x="4002719" y="8546332"/>
              <a:ext cx="104713" cy="565963"/>
            </a:xfrm>
            <a:custGeom>
              <a:avLst/>
              <a:gdLst>
                <a:gd name="connsiteX0" fmla="*/ 47564 w 104713"/>
                <a:gd name="connsiteY0" fmla="*/ 565964 h 565963"/>
                <a:gd name="connsiteX1" fmla="*/ 47564 w 104713"/>
                <a:gd name="connsiteY1" fmla="*/ 565964 h 565963"/>
                <a:gd name="connsiteX2" fmla="*/ 41392 w 104713"/>
                <a:gd name="connsiteY2" fmla="*/ 559793 h 565963"/>
                <a:gd name="connsiteX3" fmla="*/ 56821 w 104713"/>
                <a:gd name="connsiteY3" fmla="*/ 504250 h 565963"/>
                <a:gd name="connsiteX4" fmla="*/ 90764 w 104713"/>
                <a:gd name="connsiteY4" fmla="*/ 353050 h 565963"/>
                <a:gd name="connsiteX5" fmla="*/ 1278 w 104713"/>
                <a:gd name="connsiteY5" fmla="*/ 10535 h 565963"/>
                <a:gd name="connsiteX6" fmla="*/ 4364 w 104713"/>
                <a:gd name="connsiteY6" fmla="*/ 1278 h 565963"/>
                <a:gd name="connsiteX7" fmla="*/ 13621 w 104713"/>
                <a:gd name="connsiteY7" fmla="*/ 4364 h 565963"/>
                <a:gd name="connsiteX8" fmla="*/ 103107 w 104713"/>
                <a:gd name="connsiteY8" fmla="*/ 353050 h 565963"/>
                <a:gd name="connsiteX9" fmla="*/ 69164 w 104713"/>
                <a:gd name="connsiteY9" fmla="*/ 504250 h 565963"/>
                <a:gd name="connsiteX10" fmla="*/ 53735 w 104713"/>
                <a:gd name="connsiteY10" fmla="*/ 559793 h 565963"/>
                <a:gd name="connsiteX11" fmla="*/ 47564 w 104713"/>
                <a:gd name="connsiteY11" fmla="*/ 565964 h 565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713" h="565963">
                  <a:moveTo>
                    <a:pt x="47564" y="565964"/>
                  </a:moveTo>
                  <a:cubicBezTo>
                    <a:pt x="47564" y="565964"/>
                    <a:pt x="47564" y="562878"/>
                    <a:pt x="47564" y="565964"/>
                  </a:cubicBezTo>
                  <a:cubicBezTo>
                    <a:pt x="44478" y="565964"/>
                    <a:pt x="41392" y="562878"/>
                    <a:pt x="41392" y="559793"/>
                  </a:cubicBezTo>
                  <a:cubicBezTo>
                    <a:pt x="47564" y="541278"/>
                    <a:pt x="50650" y="522764"/>
                    <a:pt x="56821" y="504250"/>
                  </a:cubicBezTo>
                  <a:cubicBezTo>
                    <a:pt x="72250" y="451793"/>
                    <a:pt x="87678" y="399335"/>
                    <a:pt x="90764" y="353050"/>
                  </a:cubicBezTo>
                  <a:cubicBezTo>
                    <a:pt x="96935" y="229621"/>
                    <a:pt x="69164" y="115450"/>
                    <a:pt x="1278" y="10535"/>
                  </a:cubicBezTo>
                  <a:cubicBezTo>
                    <a:pt x="-1808" y="7450"/>
                    <a:pt x="1278" y="4364"/>
                    <a:pt x="4364" y="1278"/>
                  </a:cubicBezTo>
                  <a:cubicBezTo>
                    <a:pt x="7450" y="-1807"/>
                    <a:pt x="10535" y="1278"/>
                    <a:pt x="13621" y="4364"/>
                  </a:cubicBezTo>
                  <a:cubicBezTo>
                    <a:pt x="81507" y="112364"/>
                    <a:pt x="112364" y="229621"/>
                    <a:pt x="103107" y="353050"/>
                  </a:cubicBezTo>
                  <a:cubicBezTo>
                    <a:pt x="100021" y="399335"/>
                    <a:pt x="84592" y="454878"/>
                    <a:pt x="69164" y="504250"/>
                  </a:cubicBezTo>
                  <a:cubicBezTo>
                    <a:pt x="62992" y="522764"/>
                    <a:pt x="56821" y="541278"/>
                    <a:pt x="53735" y="559793"/>
                  </a:cubicBezTo>
                  <a:cubicBezTo>
                    <a:pt x="50650" y="562878"/>
                    <a:pt x="50650" y="565964"/>
                    <a:pt x="47564" y="565964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E1446A87-90CB-4797-B9E8-65E46ED549CE}"/>
                </a:ext>
              </a:extLst>
            </p:cNvPr>
            <p:cNvSpPr/>
            <p:nvPr/>
          </p:nvSpPr>
          <p:spPr>
            <a:xfrm>
              <a:off x="3575083" y="8992149"/>
              <a:ext cx="405506" cy="36832"/>
            </a:xfrm>
            <a:custGeom>
              <a:avLst/>
              <a:gdLst>
                <a:gd name="connsiteX0" fmla="*/ 401143 w 405506"/>
                <a:gd name="connsiteY0" fmla="*/ 36832 h 36832"/>
                <a:gd name="connsiteX1" fmla="*/ 401143 w 405506"/>
                <a:gd name="connsiteY1" fmla="*/ 36832 h 36832"/>
                <a:gd name="connsiteX2" fmla="*/ 6171 w 405506"/>
                <a:gd name="connsiteY2" fmla="*/ 24490 h 36832"/>
                <a:gd name="connsiteX3" fmla="*/ 0 w 405506"/>
                <a:gd name="connsiteY3" fmla="*/ 21404 h 36832"/>
                <a:gd name="connsiteX4" fmla="*/ 3086 w 405506"/>
                <a:gd name="connsiteY4" fmla="*/ 15232 h 36832"/>
                <a:gd name="connsiteX5" fmla="*/ 401143 w 405506"/>
                <a:gd name="connsiteY5" fmla="*/ 27575 h 36832"/>
                <a:gd name="connsiteX6" fmla="*/ 404229 w 405506"/>
                <a:gd name="connsiteY6" fmla="*/ 33746 h 36832"/>
                <a:gd name="connsiteX7" fmla="*/ 401143 w 405506"/>
                <a:gd name="connsiteY7" fmla="*/ 36832 h 3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5506" h="36832">
                  <a:moveTo>
                    <a:pt x="401143" y="36832"/>
                  </a:moveTo>
                  <a:cubicBezTo>
                    <a:pt x="401143" y="36832"/>
                    <a:pt x="401143" y="36832"/>
                    <a:pt x="401143" y="36832"/>
                  </a:cubicBezTo>
                  <a:cubicBezTo>
                    <a:pt x="314743" y="5975"/>
                    <a:pt x="108000" y="-196"/>
                    <a:pt x="6171" y="24490"/>
                  </a:cubicBezTo>
                  <a:cubicBezTo>
                    <a:pt x="3086" y="24490"/>
                    <a:pt x="0" y="24490"/>
                    <a:pt x="0" y="21404"/>
                  </a:cubicBezTo>
                  <a:cubicBezTo>
                    <a:pt x="0" y="18318"/>
                    <a:pt x="0" y="15232"/>
                    <a:pt x="3086" y="15232"/>
                  </a:cubicBezTo>
                  <a:cubicBezTo>
                    <a:pt x="104914" y="-9454"/>
                    <a:pt x="314743" y="-3282"/>
                    <a:pt x="401143" y="27575"/>
                  </a:cubicBezTo>
                  <a:cubicBezTo>
                    <a:pt x="404229" y="27575"/>
                    <a:pt x="404229" y="30661"/>
                    <a:pt x="404229" y="33746"/>
                  </a:cubicBezTo>
                  <a:cubicBezTo>
                    <a:pt x="407314" y="36832"/>
                    <a:pt x="404229" y="36832"/>
                    <a:pt x="401143" y="36832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14177CD5-0186-44E6-AFD8-68696EA7ACF5}"/>
                </a:ext>
              </a:extLst>
            </p:cNvPr>
            <p:cNvSpPr/>
            <p:nvPr/>
          </p:nvSpPr>
          <p:spPr>
            <a:xfrm>
              <a:off x="3410160" y="8061650"/>
              <a:ext cx="78522" cy="115431"/>
            </a:xfrm>
            <a:custGeom>
              <a:avLst/>
              <a:gdLst>
                <a:gd name="connsiteX0" fmla="*/ 66180 w 78522"/>
                <a:gd name="connsiteY0" fmla="*/ 16931 h 115431"/>
                <a:gd name="connsiteX1" fmla="*/ 7551 w 78522"/>
                <a:gd name="connsiteY1" fmla="*/ 7674 h 115431"/>
                <a:gd name="connsiteX2" fmla="*/ 66180 w 78522"/>
                <a:gd name="connsiteY2" fmla="*/ 112589 h 115431"/>
                <a:gd name="connsiteX3" fmla="*/ 66180 w 78522"/>
                <a:gd name="connsiteY3" fmla="*/ 16931 h 115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22" h="115431">
                  <a:moveTo>
                    <a:pt x="66180" y="16931"/>
                  </a:moveTo>
                  <a:cubicBezTo>
                    <a:pt x="66180" y="16931"/>
                    <a:pt x="32237" y="-13926"/>
                    <a:pt x="7551" y="7674"/>
                  </a:cubicBezTo>
                  <a:cubicBezTo>
                    <a:pt x="-17135" y="26188"/>
                    <a:pt x="22980" y="134189"/>
                    <a:pt x="66180" y="112589"/>
                  </a:cubicBezTo>
                  <a:cubicBezTo>
                    <a:pt x="93951" y="90989"/>
                    <a:pt x="66180" y="16931"/>
                    <a:pt x="66180" y="16931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7009771-CB63-4B62-88BB-9CF9FC52E2D0}"/>
                </a:ext>
              </a:extLst>
            </p:cNvPr>
            <p:cNvSpPr/>
            <p:nvPr/>
          </p:nvSpPr>
          <p:spPr>
            <a:xfrm>
              <a:off x="3777462" y="7938446"/>
              <a:ext cx="149392" cy="164820"/>
            </a:xfrm>
            <a:custGeom>
              <a:avLst/>
              <a:gdLst>
                <a:gd name="connsiteX0" fmla="*/ 143221 w 149392"/>
                <a:gd name="connsiteY0" fmla="*/ 164821 h 164820"/>
                <a:gd name="connsiteX1" fmla="*/ 137050 w 149392"/>
                <a:gd name="connsiteY1" fmla="*/ 161735 h 164820"/>
                <a:gd name="connsiteX2" fmla="*/ 4364 w 149392"/>
                <a:gd name="connsiteY2" fmla="*/ 10535 h 164820"/>
                <a:gd name="connsiteX3" fmla="*/ 1278 w 149392"/>
                <a:gd name="connsiteY3" fmla="*/ 4364 h 164820"/>
                <a:gd name="connsiteX4" fmla="*/ 7450 w 149392"/>
                <a:gd name="connsiteY4" fmla="*/ 1278 h 164820"/>
                <a:gd name="connsiteX5" fmla="*/ 149392 w 149392"/>
                <a:gd name="connsiteY5" fmla="*/ 161735 h 164820"/>
                <a:gd name="connsiteX6" fmla="*/ 143221 w 149392"/>
                <a:gd name="connsiteY6" fmla="*/ 164821 h 164820"/>
                <a:gd name="connsiteX7" fmla="*/ 143221 w 149392"/>
                <a:gd name="connsiteY7" fmla="*/ 164821 h 16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392" h="164820">
                  <a:moveTo>
                    <a:pt x="143221" y="164821"/>
                  </a:moveTo>
                  <a:cubicBezTo>
                    <a:pt x="140135" y="164821"/>
                    <a:pt x="137050" y="161735"/>
                    <a:pt x="137050" y="161735"/>
                  </a:cubicBezTo>
                  <a:cubicBezTo>
                    <a:pt x="112364" y="38306"/>
                    <a:pt x="4364" y="10535"/>
                    <a:pt x="4364" y="10535"/>
                  </a:cubicBezTo>
                  <a:cubicBezTo>
                    <a:pt x="1278" y="10535"/>
                    <a:pt x="-1808" y="7449"/>
                    <a:pt x="1278" y="4364"/>
                  </a:cubicBezTo>
                  <a:cubicBezTo>
                    <a:pt x="1278" y="1278"/>
                    <a:pt x="4364" y="-1807"/>
                    <a:pt x="7450" y="1278"/>
                  </a:cubicBezTo>
                  <a:cubicBezTo>
                    <a:pt x="7450" y="1278"/>
                    <a:pt x="124707" y="32135"/>
                    <a:pt x="149392" y="161735"/>
                  </a:cubicBezTo>
                  <a:cubicBezTo>
                    <a:pt x="149392" y="161735"/>
                    <a:pt x="149392" y="164821"/>
                    <a:pt x="143221" y="164821"/>
                  </a:cubicBezTo>
                  <a:cubicBezTo>
                    <a:pt x="143221" y="164821"/>
                    <a:pt x="143221" y="164821"/>
                    <a:pt x="143221" y="164821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D61D0F90-6CA0-4A0B-B451-1CC70BC80FE4}"/>
                </a:ext>
              </a:extLst>
            </p:cNvPr>
            <p:cNvSpPr/>
            <p:nvPr/>
          </p:nvSpPr>
          <p:spPr>
            <a:xfrm>
              <a:off x="3445483" y="7884181"/>
              <a:ext cx="111085" cy="188228"/>
            </a:xfrm>
            <a:custGeom>
              <a:avLst/>
              <a:gdLst>
                <a:gd name="connsiteX0" fmla="*/ 6171 w 111085"/>
                <a:gd name="connsiteY0" fmla="*/ 188229 h 188228"/>
                <a:gd name="connsiteX1" fmla="*/ 6171 w 111085"/>
                <a:gd name="connsiteY1" fmla="*/ 188229 h 188228"/>
                <a:gd name="connsiteX2" fmla="*/ 0 w 111085"/>
                <a:gd name="connsiteY2" fmla="*/ 182057 h 188228"/>
                <a:gd name="connsiteX3" fmla="*/ 52457 w 111085"/>
                <a:gd name="connsiteY3" fmla="*/ 67886 h 188228"/>
                <a:gd name="connsiteX4" fmla="*/ 101829 w 111085"/>
                <a:gd name="connsiteY4" fmla="*/ 3086 h 188228"/>
                <a:gd name="connsiteX5" fmla="*/ 108000 w 111085"/>
                <a:gd name="connsiteY5" fmla="*/ 0 h 188228"/>
                <a:gd name="connsiteX6" fmla="*/ 111086 w 111085"/>
                <a:gd name="connsiteY6" fmla="*/ 6172 h 188228"/>
                <a:gd name="connsiteX7" fmla="*/ 55543 w 111085"/>
                <a:gd name="connsiteY7" fmla="*/ 74057 h 188228"/>
                <a:gd name="connsiteX8" fmla="*/ 9257 w 111085"/>
                <a:gd name="connsiteY8" fmla="*/ 182057 h 188228"/>
                <a:gd name="connsiteX9" fmla="*/ 6171 w 111085"/>
                <a:gd name="connsiteY9" fmla="*/ 188229 h 188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1085" h="188228">
                  <a:moveTo>
                    <a:pt x="6171" y="188229"/>
                  </a:moveTo>
                  <a:cubicBezTo>
                    <a:pt x="6171" y="188229"/>
                    <a:pt x="3086" y="188229"/>
                    <a:pt x="6171" y="188229"/>
                  </a:cubicBezTo>
                  <a:cubicBezTo>
                    <a:pt x="3086" y="188229"/>
                    <a:pt x="0" y="185143"/>
                    <a:pt x="0" y="182057"/>
                  </a:cubicBezTo>
                  <a:cubicBezTo>
                    <a:pt x="0" y="166629"/>
                    <a:pt x="12343" y="95657"/>
                    <a:pt x="52457" y="67886"/>
                  </a:cubicBezTo>
                  <a:cubicBezTo>
                    <a:pt x="83314" y="46286"/>
                    <a:pt x="101829" y="3086"/>
                    <a:pt x="101829" y="3086"/>
                  </a:cubicBezTo>
                  <a:cubicBezTo>
                    <a:pt x="101829" y="0"/>
                    <a:pt x="108000" y="0"/>
                    <a:pt x="108000" y="0"/>
                  </a:cubicBezTo>
                  <a:cubicBezTo>
                    <a:pt x="111086" y="0"/>
                    <a:pt x="111086" y="6172"/>
                    <a:pt x="111086" y="6172"/>
                  </a:cubicBezTo>
                  <a:cubicBezTo>
                    <a:pt x="111086" y="9257"/>
                    <a:pt x="89486" y="49372"/>
                    <a:pt x="55543" y="74057"/>
                  </a:cubicBezTo>
                  <a:cubicBezTo>
                    <a:pt x="18514" y="98743"/>
                    <a:pt x="9257" y="166629"/>
                    <a:pt x="9257" y="182057"/>
                  </a:cubicBezTo>
                  <a:cubicBezTo>
                    <a:pt x="9257" y="185143"/>
                    <a:pt x="9257" y="188229"/>
                    <a:pt x="6171" y="188229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8EE6CD81-4C86-4A9F-9B9C-937DFA6A12A8}"/>
                </a:ext>
              </a:extLst>
            </p:cNvPr>
            <p:cNvSpPr/>
            <p:nvPr/>
          </p:nvSpPr>
          <p:spPr>
            <a:xfrm>
              <a:off x="3482511" y="8455039"/>
              <a:ext cx="364114" cy="157371"/>
            </a:xfrm>
            <a:custGeom>
              <a:avLst/>
              <a:gdLst>
                <a:gd name="connsiteX0" fmla="*/ 327086 w 364114"/>
                <a:gd name="connsiteY0" fmla="*/ 6172 h 157371"/>
                <a:gd name="connsiteX1" fmla="*/ 222171 w 364114"/>
                <a:gd name="connsiteY1" fmla="*/ 123429 h 157371"/>
                <a:gd name="connsiteX2" fmla="*/ 24686 w 364114"/>
                <a:gd name="connsiteY2" fmla="*/ 0 h 157371"/>
                <a:gd name="connsiteX3" fmla="*/ 0 w 364114"/>
                <a:gd name="connsiteY3" fmla="*/ 9257 h 157371"/>
                <a:gd name="connsiteX4" fmla="*/ 225257 w 364114"/>
                <a:gd name="connsiteY4" fmla="*/ 157372 h 157371"/>
                <a:gd name="connsiteX5" fmla="*/ 364114 w 364114"/>
                <a:gd name="connsiteY5" fmla="*/ 15429 h 157371"/>
                <a:gd name="connsiteX6" fmla="*/ 327086 w 364114"/>
                <a:gd name="connsiteY6" fmla="*/ 6172 h 15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114" h="157371">
                  <a:moveTo>
                    <a:pt x="327086" y="6172"/>
                  </a:moveTo>
                  <a:lnTo>
                    <a:pt x="222171" y="123429"/>
                  </a:lnTo>
                  <a:cubicBezTo>
                    <a:pt x="222171" y="123429"/>
                    <a:pt x="89486" y="21600"/>
                    <a:pt x="24686" y="0"/>
                  </a:cubicBezTo>
                  <a:lnTo>
                    <a:pt x="0" y="9257"/>
                  </a:lnTo>
                  <a:lnTo>
                    <a:pt x="225257" y="157372"/>
                  </a:lnTo>
                  <a:lnTo>
                    <a:pt x="364114" y="15429"/>
                  </a:lnTo>
                  <a:cubicBezTo>
                    <a:pt x="364114" y="15429"/>
                    <a:pt x="348686" y="9257"/>
                    <a:pt x="327086" y="6172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B9731BCF-373D-4C1E-89C5-AD79B996FE80}"/>
                </a:ext>
              </a:extLst>
            </p:cNvPr>
            <p:cNvSpPr/>
            <p:nvPr/>
          </p:nvSpPr>
          <p:spPr>
            <a:xfrm>
              <a:off x="3207883" y="9393096"/>
              <a:ext cx="904114" cy="273899"/>
            </a:xfrm>
            <a:custGeom>
              <a:avLst/>
              <a:gdLst>
                <a:gd name="connsiteX0" fmla="*/ 117257 w 904114"/>
                <a:gd name="connsiteY0" fmla="*/ 0 h 273899"/>
                <a:gd name="connsiteX1" fmla="*/ 0 w 904114"/>
                <a:gd name="connsiteY1" fmla="*/ 185143 h 273899"/>
                <a:gd name="connsiteX2" fmla="*/ 904114 w 904114"/>
                <a:gd name="connsiteY2" fmla="*/ 209829 h 273899"/>
                <a:gd name="connsiteX3" fmla="*/ 799200 w 904114"/>
                <a:gd name="connsiteY3" fmla="*/ 46286 h 273899"/>
                <a:gd name="connsiteX4" fmla="*/ 117257 w 904114"/>
                <a:gd name="connsiteY4" fmla="*/ 0 h 273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4114" h="273899">
                  <a:moveTo>
                    <a:pt x="117257" y="0"/>
                  </a:moveTo>
                  <a:lnTo>
                    <a:pt x="0" y="185143"/>
                  </a:lnTo>
                  <a:cubicBezTo>
                    <a:pt x="0" y="185143"/>
                    <a:pt x="496800" y="367200"/>
                    <a:pt x="904114" y="209829"/>
                  </a:cubicBezTo>
                  <a:lnTo>
                    <a:pt x="799200" y="46286"/>
                  </a:lnTo>
                  <a:cubicBezTo>
                    <a:pt x="799200" y="40114"/>
                    <a:pt x="209829" y="21600"/>
                    <a:pt x="117257" y="0"/>
                  </a:cubicBezTo>
                  <a:close/>
                </a:path>
              </a:pathLst>
            </a:custGeom>
            <a:solidFill>
              <a:srgbClr val="D1615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81C38E6D-397C-46D8-9F3C-5E38C791DEBA}"/>
                </a:ext>
              </a:extLst>
            </p:cNvPr>
            <p:cNvSpPr/>
            <p:nvPr/>
          </p:nvSpPr>
          <p:spPr>
            <a:xfrm>
              <a:off x="3694148" y="9410332"/>
              <a:ext cx="319106" cy="29049"/>
            </a:xfrm>
            <a:custGeom>
              <a:avLst/>
              <a:gdLst>
                <a:gd name="connsiteX0" fmla="*/ 312935 w 319106"/>
                <a:gd name="connsiteY0" fmla="*/ 29050 h 29049"/>
                <a:gd name="connsiteX1" fmla="*/ 312935 w 319106"/>
                <a:gd name="connsiteY1" fmla="*/ 29050 h 29049"/>
                <a:gd name="connsiteX2" fmla="*/ 4364 w 319106"/>
                <a:gd name="connsiteY2" fmla="*/ 10535 h 29049"/>
                <a:gd name="connsiteX3" fmla="*/ 1278 w 319106"/>
                <a:gd name="connsiteY3" fmla="*/ 4364 h 29049"/>
                <a:gd name="connsiteX4" fmla="*/ 7450 w 319106"/>
                <a:gd name="connsiteY4" fmla="*/ 1278 h 29049"/>
                <a:gd name="connsiteX5" fmla="*/ 312935 w 319106"/>
                <a:gd name="connsiteY5" fmla="*/ 19792 h 29049"/>
                <a:gd name="connsiteX6" fmla="*/ 319107 w 319106"/>
                <a:gd name="connsiteY6" fmla="*/ 25964 h 29049"/>
                <a:gd name="connsiteX7" fmla="*/ 312935 w 319106"/>
                <a:gd name="connsiteY7" fmla="*/ 29050 h 2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9106" h="29049">
                  <a:moveTo>
                    <a:pt x="312935" y="29050"/>
                  </a:moveTo>
                  <a:cubicBezTo>
                    <a:pt x="312935" y="29050"/>
                    <a:pt x="312935" y="29050"/>
                    <a:pt x="312935" y="29050"/>
                  </a:cubicBezTo>
                  <a:cubicBezTo>
                    <a:pt x="309850" y="29050"/>
                    <a:pt x="100021" y="25964"/>
                    <a:pt x="4364" y="10535"/>
                  </a:cubicBezTo>
                  <a:cubicBezTo>
                    <a:pt x="1278" y="10535"/>
                    <a:pt x="-1808" y="7450"/>
                    <a:pt x="1278" y="4364"/>
                  </a:cubicBezTo>
                  <a:cubicBezTo>
                    <a:pt x="1278" y="1278"/>
                    <a:pt x="4364" y="-1807"/>
                    <a:pt x="7450" y="1278"/>
                  </a:cubicBezTo>
                  <a:cubicBezTo>
                    <a:pt x="103107" y="19792"/>
                    <a:pt x="312935" y="19792"/>
                    <a:pt x="312935" y="19792"/>
                  </a:cubicBezTo>
                  <a:cubicBezTo>
                    <a:pt x="316021" y="19792"/>
                    <a:pt x="319107" y="22878"/>
                    <a:pt x="319107" y="25964"/>
                  </a:cubicBezTo>
                  <a:cubicBezTo>
                    <a:pt x="316021" y="25964"/>
                    <a:pt x="316021" y="29050"/>
                    <a:pt x="312935" y="29050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14251031-42B8-49AC-A102-67A652734575}"/>
                </a:ext>
              </a:extLst>
            </p:cNvPr>
            <p:cNvSpPr/>
            <p:nvPr/>
          </p:nvSpPr>
          <p:spPr>
            <a:xfrm>
              <a:off x="3473254" y="8368639"/>
              <a:ext cx="242280" cy="416571"/>
            </a:xfrm>
            <a:custGeom>
              <a:avLst/>
              <a:gdLst>
                <a:gd name="connsiteX0" fmla="*/ 33943 w 242280"/>
                <a:gd name="connsiteY0" fmla="*/ 0 h 416571"/>
                <a:gd name="connsiteX1" fmla="*/ 212914 w 242280"/>
                <a:gd name="connsiteY1" fmla="*/ 197486 h 416571"/>
                <a:gd name="connsiteX2" fmla="*/ 231429 w 242280"/>
                <a:gd name="connsiteY2" fmla="*/ 394971 h 416571"/>
                <a:gd name="connsiteX3" fmla="*/ 185143 w 242280"/>
                <a:gd name="connsiteY3" fmla="*/ 394971 h 416571"/>
                <a:gd name="connsiteX4" fmla="*/ 108000 w 242280"/>
                <a:gd name="connsiteY4" fmla="*/ 416571 h 416571"/>
                <a:gd name="connsiteX5" fmla="*/ 64800 w 242280"/>
                <a:gd name="connsiteY5" fmla="*/ 388800 h 416571"/>
                <a:gd name="connsiteX6" fmla="*/ 0 w 242280"/>
                <a:gd name="connsiteY6" fmla="*/ 37028 h 416571"/>
                <a:gd name="connsiteX7" fmla="*/ 33943 w 242280"/>
                <a:gd name="connsiteY7" fmla="*/ 0 h 41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280" h="416571">
                  <a:moveTo>
                    <a:pt x="33943" y="0"/>
                  </a:moveTo>
                  <a:cubicBezTo>
                    <a:pt x="33943" y="0"/>
                    <a:pt x="175886" y="92571"/>
                    <a:pt x="212914" y="197486"/>
                  </a:cubicBezTo>
                  <a:cubicBezTo>
                    <a:pt x="249943" y="305486"/>
                    <a:pt x="246857" y="385714"/>
                    <a:pt x="231429" y="394971"/>
                  </a:cubicBezTo>
                  <a:cubicBezTo>
                    <a:pt x="219086" y="404228"/>
                    <a:pt x="203657" y="385714"/>
                    <a:pt x="185143" y="394971"/>
                  </a:cubicBezTo>
                  <a:cubicBezTo>
                    <a:pt x="166629" y="404228"/>
                    <a:pt x="120343" y="416571"/>
                    <a:pt x="108000" y="416571"/>
                  </a:cubicBezTo>
                  <a:cubicBezTo>
                    <a:pt x="92571" y="416571"/>
                    <a:pt x="58629" y="401143"/>
                    <a:pt x="64800" y="388800"/>
                  </a:cubicBezTo>
                  <a:cubicBezTo>
                    <a:pt x="70971" y="376457"/>
                    <a:pt x="24686" y="64800"/>
                    <a:pt x="0" y="37028"/>
                  </a:cubicBezTo>
                  <a:lnTo>
                    <a:pt x="33943" y="0"/>
                  </a:ln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BCD0B175-B4BA-4FEA-A2E9-8FFB9596BCBD}"/>
                </a:ext>
              </a:extLst>
            </p:cNvPr>
            <p:cNvSpPr/>
            <p:nvPr/>
          </p:nvSpPr>
          <p:spPr>
            <a:xfrm>
              <a:off x="3520311" y="8403353"/>
              <a:ext cx="150428" cy="270771"/>
            </a:xfrm>
            <a:custGeom>
              <a:avLst/>
              <a:gdLst>
                <a:gd name="connsiteX0" fmla="*/ 144257 w 150428"/>
                <a:gd name="connsiteY0" fmla="*/ 270771 h 270771"/>
                <a:gd name="connsiteX1" fmla="*/ 138086 w 150428"/>
                <a:gd name="connsiteY1" fmla="*/ 264600 h 270771"/>
                <a:gd name="connsiteX2" fmla="*/ 2314 w 150428"/>
                <a:gd name="connsiteY2" fmla="*/ 11572 h 270771"/>
                <a:gd name="connsiteX3" fmla="*/ 2314 w 150428"/>
                <a:gd name="connsiteY3" fmla="*/ 2314 h 270771"/>
                <a:gd name="connsiteX4" fmla="*/ 11571 w 150428"/>
                <a:gd name="connsiteY4" fmla="*/ 2314 h 270771"/>
                <a:gd name="connsiteX5" fmla="*/ 150429 w 150428"/>
                <a:gd name="connsiteY5" fmla="*/ 261514 h 270771"/>
                <a:gd name="connsiteX6" fmla="*/ 144257 w 150428"/>
                <a:gd name="connsiteY6" fmla="*/ 270771 h 270771"/>
                <a:gd name="connsiteX7" fmla="*/ 144257 w 150428"/>
                <a:gd name="connsiteY7" fmla="*/ 270771 h 27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0428" h="270771">
                  <a:moveTo>
                    <a:pt x="144257" y="270771"/>
                  </a:moveTo>
                  <a:cubicBezTo>
                    <a:pt x="141171" y="270771"/>
                    <a:pt x="138086" y="267686"/>
                    <a:pt x="138086" y="264600"/>
                  </a:cubicBezTo>
                  <a:cubicBezTo>
                    <a:pt x="131914" y="147343"/>
                    <a:pt x="5400" y="11572"/>
                    <a:pt x="2314" y="11572"/>
                  </a:cubicBezTo>
                  <a:cubicBezTo>
                    <a:pt x="-771" y="8486"/>
                    <a:pt x="-771" y="5400"/>
                    <a:pt x="2314" y="2314"/>
                  </a:cubicBezTo>
                  <a:cubicBezTo>
                    <a:pt x="5400" y="-771"/>
                    <a:pt x="8486" y="-771"/>
                    <a:pt x="11571" y="2314"/>
                  </a:cubicBezTo>
                  <a:cubicBezTo>
                    <a:pt x="17743" y="8486"/>
                    <a:pt x="144257" y="141172"/>
                    <a:pt x="150429" y="261514"/>
                  </a:cubicBezTo>
                  <a:cubicBezTo>
                    <a:pt x="150429" y="267686"/>
                    <a:pt x="147343" y="270771"/>
                    <a:pt x="144257" y="270771"/>
                  </a:cubicBezTo>
                  <a:cubicBezTo>
                    <a:pt x="144257" y="270771"/>
                    <a:pt x="144257" y="270771"/>
                    <a:pt x="144257" y="270771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71E14B6A-997E-4F2D-827D-4F24AD786D77}"/>
                </a:ext>
              </a:extLst>
            </p:cNvPr>
            <p:cNvSpPr/>
            <p:nvPr/>
          </p:nvSpPr>
          <p:spPr>
            <a:xfrm>
              <a:off x="3459512" y="8352605"/>
              <a:ext cx="106313" cy="79790"/>
            </a:xfrm>
            <a:custGeom>
              <a:avLst/>
              <a:gdLst>
                <a:gd name="connsiteX0" fmla="*/ 106314 w 106313"/>
                <a:gd name="connsiteY0" fmla="*/ 16034 h 79790"/>
                <a:gd name="connsiteX1" fmla="*/ 87800 w 106313"/>
                <a:gd name="connsiteY1" fmla="*/ 605 h 79790"/>
                <a:gd name="connsiteX2" fmla="*/ 10657 w 106313"/>
                <a:gd name="connsiteY2" fmla="*/ 25291 h 79790"/>
                <a:gd name="connsiteX3" fmla="*/ 4485 w 106313"/>
                <a:gd name="connsiteY3" fmla="*/ 53062 h 79790"/>
                <a:gd name="connsiteX4" fmla="*/ 23000 w 106313"/>
                <a:gd name="connsiteY4" fmla="*/ 77748 h 79790"/>
                <a:gd name="connsiteX5" fmla="*/ 90885 w 106313"/>
                <a:gd name="connsiteY5" fmla="*/ 56148 h 79790"/>
                <a:gd name="connsiteX6" fmla="*/ 100142 w 106313"/>
                <a:gd name="connsiteY6" fmla="*/ 40719 h 79790"/>
                <a:gd name="connsiteX7" fmla="*/ 106314 w 106313"/>
                <a:gd name="connsiteY7" fmla="*/ 16034 h 79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313" h="79790">
                  <a:moveTo>
                    <a:pt x="106314" y="16034"/>
                  </a:moveTo>
                  <a:cubicBezTo>
                    <a:pt x="106314" y="6777"/>
                    <a:pt x="97057" y="-2481"/>
                    <a:pt x="87800" y="605"/>
                  </a:cubicBezTo>
                  <a:cubicBezTo>
                    <a:pt x="63114" y="9862"/>
                    <a:pt x="35342" y="16034"/>
                    <a:pt x="10657" y="25291"/>
                  </a:cubicBezTo>
                  <a:cubicBezTo>
                    <a:pt x="-1686" y="28377"/>
                    <a:pt x="-1686" y="46891"/>
                    <a:pt x="4485" y="53062"/>
                  </a:cubicBezTo>
                  <a:cubicBezTo>
                    <a:pt x="-7858" y="62320"/>
                    <a:pt x="7571" y="87005"/>
                    <a:pt x="23000" y="77748"/>
                  </a:cubicBezTo>
                  <a:cubicBezTo>
                    <a:pt x="44600" y="65405"/>
                    <a:pt x="66200" y="59234"/>
                    <a:pt x="90885" y="56148"/>
                  </a:cubicBezTo>
                  <a:cubicBezTo>
                    <a:pt x="100142" y="56148"/>
                    <a:pt x="103228" y="46891"/>
                    <a:pt x="100142" y="40719"/>
                  </a:cubicBezTo>
                  <a:cubicBezTo>
                    <a:pt x="103228" y="31462"/>
                    <a:pt x="106314" y="25291"/>
                    <a:pt x="106314" y="16034"/>
                  </a:cubicBezTo>
                  <a:close/>
                </a:path>
              </a:pathLst>
            </a:custGeom>
            <a:solidFill>
              <a:srgbClr val="D1615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B0C7BF12-CB93-4A35-A97C-83F5FF4615E8}"/>
                </a:ext>
              </a:extLst>
            </p:cNvPr>
            <p:cNvSpPr/>
            <p:nvPr/>
          </p:nvSpPr>
          <p:spPr>
            <a:xfrm>
              <a:off x="3797254" y="8368639"/>
              <a:ext cx="242280" cy="416571"/>
            </a:xfrm>
            <a:custGeom>
              <a:avLst/>
              <a:gdLst>
                <a:gd name="connsiteX0" fmla="*/ 33943 w 242280"/>
                <a:gd name="connsiteY0" fmla="*/ 0 h 416571"/>
                <a:gd name="connsiteX1" fmla="*/ 212914 w 242280"/>
                <a:gd name="connsiteY1" fmla="*/ 197486 h 416571"/>
                <a:gd name="connsiteX2" fmla="*/ 231429 w 242280"/>
                <a:gd name="connsiteY2" fmla="*/ 394971 h 416571"/>
                <a:gd name="connsiteX3" fmla="*/ 185143 w 242280"/>
                <a:gd name="connsiteY3" fmla="*/ 394971 h 416571"/>
                <a:gd name="connsiteX4" fmla="*/ 108000 w 242280"/>
                <a:gd name="connsiteY4" fmla="*/ 416571 h 416571"/>
                <a:gd name="connsiteX5" fmla="*/ 64800 w 242280"/>
                <a:gd name="connsiteY5" fmla="*/ 388800 h 416571"/>
                <a:gd name="connsiteX6" fmla="*/ 0 w 242280"/>
                <a:gd name="connsiteY6" fmla="*/ 37028 h 416571"/>
                <a:gd name="connsiteX7" fmla="*/ 33943 w 242280"/>
                <a:gd name="connsiteY7" fmla="*/ 0 h 41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280" h="416571">
                  <a:moveTo>
                    <a:pt x="33943" y="0"/>
                  </a:moveTo>
                  <a:cubicBezTo>
                    <a:pt x="33943" y="0"/>
                    <a:pt x="175886" y="92571"/>
                    <a:pt x="212914" y="197486"/>
                  </a:cubicBezTo>
                  <a:cubicBezTo>
                    <a:pt x="249943" y="305486"/>
                    <a:pt x="246857" y="385714"/>
                    <a:pt x="231429" y="394971"/>
                  </a:cubicBezTo>
                  <a:cubicBezTo>
                    <a:pt x="219086" y="404228"/>
                    <a:pt x="203657" y="385714"/>
                    <a:pt x="185143" y="394971"/>
                  </a:cubicBezTo>
                  <a:cubicBezTo>
                    <a:pt x="166629" y="404228"/>
                    <a:pt x="120343" y="416571"/>
                    <a:pt x="108000" y="416571"/>
                  </a:cubicBezTo>
                  <a:cubicBezTo>
                    <a:pt x="92571" y="416571"/>
                    <a:pt x="58629" y="401143"/>
                    <a:pt x="64800" y="388800"/>
                  </a:cubicBezTo>
                  <a:cubicBezTo>
                    <a:pt x="70971" y="376457"/>
                    <a:pt x="24686" y="64800"/>
                    <a:pt x="0" y="37028"/>
                  </a:cubicBezTo>
                  <a:lnTo>
                    <a:pt x="33943" y="0"/>
                  </a:ln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2576E135-C614-403D-A432-AF91E03AFD09}"/>
                </a:ext>
              </a:extLst>
            </p:cNvPr>
            <p:cNvSpPr/>
            <p:nvPr/>
          </p:nvSpPr>
          <p:spPr>
            <a:xfrm>
              <a:off x="3844311" y="8403353"/>
              <a:ext cx="150428" cy="270771"/>
            </a:xfrm>
            <a:custGeom>
              <a:avLst/>
              <a:gdLst>
                <a:gd name="connsiteX0" fmla="*/ 144257 w 150428"/>
                <a:gd name="connsiteY0" fmla="*/ 270771 h 270771"/>
                <a:gd name="connsiteX1" fmla="*/ 138086 w 150428"/>
                <a:gd name="connsiteY1" fmla="*/ 264600 h 270771"/>
                <a:gd name="connsiteX2" fmla="*/ 2314 w 150428"/>
                <a:gd name="connsiteY2" fmla="*/ 11572 h 270771"/>
                <a:gd name="connsiteX3" fmla="*/ 2314 w 150428"/>
                <a:gd name="connsiteY3" fmla="*/ 2314 h 270771"/>
                <a:gd name="connsiteX4" fmla="*/ 11571 w 150428"/>
                <a:gd name="connsiteY4" fmla="*/ 2314 h 270771"/>
                <a:gd name="connsiteX5" fmla="*/ 150429 w 150428"/>
                <a:gd name="connsiteY5" fmla="*/ 261514 h 270771"/>
                <a:gd name="connsiteX6" fmla="*/ 144257 w 150428"/>
                <a:gd name="connsiteY6" fmla="*/ 270771 h 270771"/>
                <a:gd name="connsiteX7" fmla="*/ 144257 w 150428"/>
                <a:gd name="connsiteY7" fmla="*/ 270771 h 27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0428" h="270771">
                  <a:moveTo>
                    <a:pt x="144257" y="270771"/>
                  </a:moveTo>
                  <a:cubicBezTo>
                    <a:pt x="141171" y="270771"/>
                    <a:pt x="138086" y="267686"/>
                    <a:pt x="138086" y="264600"/>
                  </a:cubicBezTo>
                  <a:cubicBezTo>
                    <a:pt x="131914" y="147343"/>
                    <a:pt x="5400" y="11572"/>
                    <a:pt x="2314" y="11572"/>
                  </a:cubicBezTo>
                  <a:cubicBezTo>
                    <a:pt x="-771" y="8486"/>
                    <a:pt x="-771" y="5400"/>
                    <a:pt x="2314" y="2314"/>
                  </a:cubicBezTo>
                  <a:cubicBezTo>
                    <a:pt x="5400" y="-771"/>
                    <a:pt x="8486" y="-771"/>
                    <a:pt x="11571" y="2314"/>
                  </a:cubicBezTo>
                  <a:cubicBezTo>
                    <a:pt x="17743" y="8486"/>
                    <a:pt x="144257" y="141172"/>
                    <a:pt x="150429" y="261514"/>
                  </a:cubicBezTo>
                  <a:cubicBezTo>
                    <a:pt x="150429" y="267686"/>
                    <a:pt x="147343" y="270771"/>
                    <a:pt x="144257" y="270771"/>
                  </a:cubicBezTo>
                  <a:cubicBezTo>
                    <a:pt x="144257" y="270771"/>
                    <a:pt x="144257" y="270771"/>
                    <a:pt x="144257" y="270771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85EF6E2E-E01C-4353-969A-D0FAE3C19DB1}"/>
                </a:ext>
              </a:extLst>
            </p:cNvPr>
            <p:cNvSpPr/>
            <p:nvPr/>
          </p:nvSpPr>
          <p:spPr>
            <a:xfrm>
              <a:off x="3783512" y="8352605"/>
              <a:ext cx="106313" cy="79790"/>
            </a:xfrm>
            <a:custGeom>
              <a:avLst/>
              <a:gdLst>
                <a:gd name="connsiteX0" fmla="*/ 106314 w 106313"/>
                <a:gd name="connsiteY0" fmla="*/ 16034 h 79790"/>
                <a:gd name="connsiteX1" fmla="*/ 87800 w 106313"/>
                <a:gd name="connsiteY1" fmla="*/ 605 h 79790"/>
                <a:gd name="connsiteX2" fmla="*/ 10657 w 106313"/>
                <a:gd name="connsiteY2" fmla="*/ 25291 h 79790"/>
                <a:gd name="connsiteX3" fmla="*/ 4485 w 106313"/>
                <a:gd name="connsiteY3" fmla="*/ 53062 h 79790"/>
                <a:gd name="connsiteX4" fmla="*/ 23000 w 106313"/>
                <a:gd name="connsiteY4" fmla="*/ 77748 h 79790"/>
                <a:gd name="connsiteX5" fmla="*/ 90885 w 106313"/>
                <a:gd name="connsiteY5" fmla="*/ 56148 h 79790"/>
                <a:gd name="connsiteX6" fmla="*/ 100142 w 106313"/>
                <a:gd name="connsiteY6" fmla="*/ 40719 h 79790"/>
                <a:gd name="connsiteX7" fmla="*/ 106314 w 106313"/>
                <a:gd name="connsiteY7" fmla="*/ 16034 h 79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313" h="79790">
                  <a:moveTo>
                    <a:pt x="106314" y="16034"/>
                  </a:moveTo>
                  <a:cubicBezTo>
                    <a:pt x="106314" y="6777"/>
                    <a:pt x="97057" y="-2481"/>
                    <a:pt x="87800" y="605"/>
                  </a:cubicBezTo>
                  <a:cubicBezTo>
                    <a:pt x="63114" y="9862"/>
                    <a:pt x="35342" y="16034"/>
                    <a:pt x="10657" y="25291"/>
                  </a:cubicBezTo>
                  <a:cubicBezTo>
                    <a:pt x="-1686" y="28377"/>
                    <a:pt x="-1686" y="46891"/>
                    <a:pt x="4485" y="53062"/>
                  </a:cubicBezTo>
                  <a:cubicBezTo>
                    <a:pt x="-7858" y="62320"/>
                    <a:pt x="7571" y="87005"/>
                    <a:pt x="23000" y="77748"/>
                  </a:cubicBezTo>
                  <a:cubicBezTo>
                    <a:pt x="44600" y="65405"/>
                    <a:pt x="66200" y="59234"/>
                    <a:pt x="90885" y="56148"/>
                  </a:cubicBezTo>
                  <a:cubicBezTo>
                    <a:pt x="100142" y="56148"/>
                    <a:pt x="103228" y="46891"/>
                    <a:pt x="100142" y="40719"/>
                  </a:cubicBezTo>
                  <a:cubicBezTo>
                    <a:pt x="103228" y="31462"/>
                    <a:pt x="106314" y="25291"/>
                    <a:pt x="106314" y="16034"/>
                  </a:cubicBezTo>
                  <a:close/>
                </a:path>
              </a:pathLst>
            </a:custGeom>
            <a:solidFill>
              <a:srgbClr val="D1615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B7E93E60-FE2F-4B03-842A-D4204B1EFD14}"/>
                </a:ext>
              </a:extLst>
            </p:cNvPr>
            <p:cNvSpPr/>
            <p:nvPr/>
          </p:nvSpPr>
          <p:spPr>
            <a:xfrm>
              <a:off x="3206654" y="8668728"/>
              <a:ext cx="732543" cy="838539"/>
            </a:xfrm>
            <a:custGeom>
              <a:avLst/>
              <a:gdLst>
                <a:gd name="connsiteX0" fmla="*/ 50600 w 732543"/>
                <a:gd name="connsiteY0" fmla="*/ 64025 h 838539"/>
                <a:gd name="connsiteX1" fmla="*/ 285115 w 732543"/>
                <a:gd name="connsiteY1" fmla="*/ 168939 h 838539"/>
                <a:gd name="connsiteX2" fmla="*/ 291286 w 732543"/>
                <a:gd name="connsiteY2" fmla="*/ 600939 h 838539"/>
                <a:gd name="connsiteX3" fmla="*/ 732543 w 732543"/>
                <a:gd name="connsiteY3" fmla="*/ 712025 h 838539"/>
                <a:gd name="connsiteX4" fmla="*/ 720201 w 732543"/>
                <a:gd name="connsiteY4" fmla="*/ 838539 h 838539"/>
                <a:gd name="connsiteX5" fmla="*/ 106143 w 732543"/>
                <a:gd name="connsiteY5" fmla="*/ 721282 h 838539"/>
                <a:gd name="connsiteX6" fmla="*/ 50600 w 732543"/>
                <a:gd name="connsiteY6" fmla="*/ 64025 h 83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2543" h="838539">
                  <a:moveTo>
                    <a:pt x="50600" y="64025"/>
                  </a:moveTo>
                  <a:cubicBezTo>
                    <a:pt x="174029" y="-74832"/>
                    <a:pt x="297458" y="36253"/>
                    <a:pt x="285115" y="168939"/>
                  </a:cubicBezTo>
                  <a:cubicBezTo>
                    <a:pt x="272772" y="298539"/>
                    <a:pt x="275858" y="573168"/>
                    <a:pt x="291286" y="600939"/>
                  </a:cubicBezTo>
                  <a:cubicBezTo>
                    <a:pt x="346829" y="625625"/>
                    <a:pt x="732543" y="712025"/>
                    <a:pt x="732543" y="712025"/>
                  </a:cubicBezTo>
                  <a:cubicBezTo>
                    <a:pt x="714029" y="739796"/>
                    <a:pt x="720201" y="838539"/>
                    <a:pt x="720201" y="838539"/>
                  </a:cubicBezTo>
                  <a:cubicBezTo>
                    <a:pt x="720201" y="838539"/>
                    <a:pt x="192543" y="823111"/>
                    <a:pt x="106143" y="721282"/>
                  </a:cubicBezTo>
                  <a:cubicBezTo>
                    <a:pt x="62943" y="665739"/>
                    <a:pt x="-72828" y="199796"/>
                    <a:pt x="50600" y="64025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2D13A2C0-3821-4B44-96C7-4D24FC3DC367}"/>
                </a:ext>
              </a:extLst>
            </p:cNvPr>
            <p:cNvSpPr/>
            <p:nvPr/>
          </p:nvSpPr>
          <p:spPr>
            <a:xfrm>
              <a:off x="3136845" y="8515256"/>
              <a:ext cx="379240" cy="439120"/>
            </a:xfrm>
            <a:custGeom>
              <a:avLst/>
              <a:gdLst>
                <a:gd name="connsiteX0" fmla="*/ 67 w 379240"/>
                <a:gd name="connsiteY0" fmla="*/ 418068 h 439120"/>
                <a:gd name="connsiteX1" fmla="*/ 182124 w 379240"/>
                <a:gd name="connsiteY1" fmla="*/ 1496 h 439120"/>
                <a:gd name="connsiteX2" fmla="*/ 376524 w 379240"/>
                <a:gd name="connsiteY2" fmla="*/ 405725 h 439120"/>
                <a:gd name="connsiteX3" fmla="*/ 67 w 379240"/>
                <a:gd name="connsiteY3" fmla="*/ 418068 h 439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9240" h="439120">
                  <a:moveTo>
                    <a:pt x="67" y="418068"/>
                  </a:moveTo>
                  <a:cubicBezTo>
                    <a:pt x="-3019" y="232925"/>
                    <a:pt x="101895" y="20011"/>
                    <a:pt x="182124" y="1496"/>
                  </a:cubicBezTo>
                  <a:cubicBezTo>
                    <a:pt x="287038" y="-20103"/>
                    <a:pt x="398124" y="195897"/>
                    <a:pt x="376524" y="405725"/>
                  </a:cubicBezTo>
                  <a:cubicBezTo>
                    <a:pt x="308638" y="442754"/>
                    <a:pt x="98809" y="452011"/>
                    <a:pt x="67" y="418068"/>
                  </a:cubicBezTo>
                  <a:close/>
                </a:path>
              </a:pathLst>
            </a:custGeom>
            <a:solidFill>
              <a:srgbClr val="D1615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A9FAB4C4-3B1C-441A-A410-EB6F1724CC8B}"/>
                </a:ext>
              </a:extLst>
            </p:cNvPr>
            <p:cNvSpPr/>
            <p:nvPr/>
          </p:nvSpPr>
          <p:spPr>
            <a:xfrm>
              <a:off x="3328226" y="8510582"/>
              <a:ext cx="194441" cy="447428"/>
            </a:xfrm>
            <a:custGeom>
              <a:avLst/>
              <a:gdLst>
                <a:gd name="connsiteX0" fmla="*/ 37029 w 194441"/>
                <a:gd name="connsiteY0" fmla="*/ 447429 h 447428"/>
                <a:gd name="connsiteX1" fmla="*/ 30857 w 194441"/>
                <a:gd name="connsiteY1" fmla="*/ 441257 h 447428"/>
                <a:gd name="connsiteX2" fmla="*/ 37029 w 194441"/>
                <a:gd name="connsiteY2" fmla="*/ 435086 h 447428"/>
                <a:gd name="connsiteX3" fmla="*/ 182057 w 194441"/>
                <a:gd name="connsiteY3" fmla="*/ 407314 h 447428"/>
                <a:gd name="connsiteX4" fmla="*/ 126514 w 194441"/>
                <a:gd name="connsiteY4" fmla="*/ 117257 h 447428"/>
                <a:gd name="connsiteX5" fmla="*/ 120343 w 194441"/>
                <a:gd name="connsiteY5" fmla="*/ 108000 h 447428"/>
                <a:gd name="connsiteX6" fmla="*/ 6171 w 194441"/>
                <a:gd name="connsiteY6" fmla="*/ 12343 h 447428"/>
                <a:gd name="connsiteX7" fmla="*/ 0 w 194441"/>
                <a:gd name="connsiteY7" fmla="*/ 6171 h 447428"/>
                <a:gd name="connsiteX8" fmla="*/ 6171 w 194441"/>
                <a:gd name="connsiteY8" fmla="*/ 0 h 447428"/>
                <a:gd name="connsiteX9" fmla="*/ 129600 w 194441"/>
                <a:gd name="connsiteY9" fmla="*/ 101829 h 447428"/>
                <a:gd name="connsiteX10" fmla="*/ 135771 w 194441"/>
                <a:gd name="connsiteY10" fmla="*/ 111086 h 447428"/>
                <a:gd name="connsiteX11" fmla="*/ 191314 w 194441"/>
                <a:gd name="connsiteY11" fmla="*/ 413486 h 447428"/>
                <a:gd name="connsiteX12" fmla="*/ 191314 w 194441"/>
                <a:gd name="connsiteY12" fmla="*/ 416571 h 447428"/>
                <a:gd name="connsiteX13" fmla="*/ 188229 w 194441"/>
                <a:gd name="connsiteY13" fmla="*/ 416571 h 447428"/>
                <a:gd name="connsiteX14" fmla="*/ 37029 w 194441"/>
                <a:gd name="connsiteY14" fmla="*/ 447429 h 447428"/>
                <a:gd name="connsiteX15" fmla="*/ 37029 w 194441"/>
                <a:gd name="connsiteY15" fmla="*/ 447429 h 447428"/>
                <a:gd name="connsiteX16" fmla="*/ 185143 w 194441"/>
                <a:gd name="connsiteY16" fmla="*/ 410400 h 447428"/>
                <a:gd name="connsiteX17" fmla="*/ 185143 w 194441"/>
                <a:gd name="connsiteY17" fmla="*/ 410400 h 447428"/>
                <a:gd name="connsiteX18" fmla="*/ 185143 w 194441"/>
                <a:gd name="connsiteY18" fmla="*/ 410400 h 447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4441" h="447428">
                  <a:moveTo>
                    <a:pt x="37029" y="447429"/>
                  </a:moveTo>
                  <a:cubicBezTo>
                    <a:pt x="33943" y="447429"/>
                    <a:pt x="30857" y="444343"/>
                    <a:pt x="30857" y="441257"/>
                  </a:cubicBezTo>
                  <a:cubicBezTo>
                    <a:pt x="30857" y="438171"/>
                    <a:pt x="33943" y="435086"/>
                    <a:pt x="37029" y="435086"/>
                  </a:cubicBezTo>
                  <a:cubicBezTo>
                    <a:pt x="111086" y="435086"/>
                    <a:pt x="157372" y="419657"/>
                    <a:pt x="182057" y="407314"/>
                  </a:cubicBezTo>
                  <a:cubicBezTo>
                    <a:pt x="188229" y="370286"/>
                    <a:pt x="178971" y="203657"/>
                    <a:pt x="126514" y="117257"/>
                  </a:cubicBezTo>
                  <a:cubicBezTo>
                    <a:pt x="126514" y="114171"/>
                    <a:pt x="123429" y="111086"/>
                    <a:pt x="120343" y="108000"/>
                  </a:cubicBezTo>
                  <a:cubicBezTo>
                    <a:pt x="104914" y="77143"/>
                    <a:pt x="67886" y="18514"/>
                    <a:pt x="6171" y="12343"/>
                  </a:cubicBezTo>
                  <a:cubicBezTo>
                    <a:pt x="3086" y="12343"/>
                    <a:pt x="0" y="9257"/>
                    <a:pt x="0" y="6171"/>
                  </a:cubicBezTo>
                  <a:cubicBezTo>
                    <a:pt x="0" y="3086"/>
                    <a:pt x="3086" y="0"/>
                    <a:pt x="6171" y="0"/>
                  </a:cubicBezTo>
                  <a:cubicBezTo>
                    <a:pt x="74057" y="6171"/>
                    <a:pt x="111086" y="70972"/>
                    <a:pt x="129600" y="101829"/>
                  </a:cubicBezTo>
                  <a:cubicBezTo>
                    <a:pt x="132686" y="104915"/>
                    <a:pt x="132686" y="108000"/>
                    <a:pt x="135771" y="111086"/>
                  </a:cubicBezTo>
                  <a:cubicBezTo>
                    <a:pt x="191314" y="203657"/>
                    <a:pt x="200571" y="379543"/>
                    <a:pt x="191314" y="413486"/>
                  </a:cubicBezTo>
                  <a:lnTo>
                    <a:pt x="191314" y="416571"/>
                  </a:lnTo>
                  <a:lnTo>
                    <a:pt x="188229" y="416571"/>
                  </a:lnTo>
                  <a:cubicBezTo>
                    <a:pt x="163543" y="428915"/>
                    <a:pt x="114171" y="447429"/>
                    <a:pt x="37029" y="447429"/>
                  </a:cubicBezTo>
                  <a:cubicBezTo>
                    <a:pt x="37029" y="447429"/>
                    <a:pt x="37029" y="447429"/>
                    <a:pt x="37029" y="447429"/>
                  </a:cubicBezTo>
                  <a:close/>
                  <a:moveTo>
                    <a:pt x="185143" y="410400"/>
                  </a:moveTo>
                  <a:lnTo>
                    <a:pt x="185143" y="410400"/>
                  </a:lnTo>
                  <a:lnTo>
                    <a:pt x="185143" y="410400"/>
                  </a:ln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5" name="图形 1">
              <a:extLst>
                <a:ext uri="{FF2B5EF4-FFF2-40B4-BE49-F238E27FC236}">
                  <a16:creationId xmlns:a16="http://schemas.microsoft.com/office/drawing/2014/main" id="{0E00AEF0-4DB6-448B-AA95-447875AA6D7A}"/>
                </a:ext>
              </a:extLst>
            </p:cNvPr>
            <p:cNvGrpSpPr/>
            <p:nvPr/>
          </p:nvGrpSpPr>
          <p:grpSpPr>
            <a:xfrm>
              <a:off x="4806902" y="9253648"/>
              <a:ext cx="1178596" cy="2947853"/>
              <a:chOff x="4806902" y="9253648"/>
              <a:chExt cx="1178596" cy="2947853"/>
            </a:xfrm>
          </p:grpSpPr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703F54FF-05AE-4EE4-A13A-1631EAE0B0C3}"/>
                  </a:ext>
                </a:extLst>
              </p:cNvPr>
              <p:cNvSpPr/>
              <p:nvPr/>
            </p:nvSpPr>
            <p:spPr>
              <a:xfrm>
                <a:off x="5710397" y="11627153"/>
                <a:ext cx="201069" cy="460557"/>
              </a:xfrm>
              <a:custGeom>
                <a:avLst/>
                <a:gdLst>
                  <a:gd name="connsiteX0" fmla="*/ 0 w 201069"/>
                  <a:gd name="connsiteY0" fmla="*/ 33942 h 460557"/>
                  <a:gd name="connsiteX1" fmla="*/ 120343 w 201069"/>
                  <a:gd name="connsiteY1" fmla="*/ 135771 h 460557"/>
                  <a:gd name="connsiteX2" fmla="*/ 98743 w 201069"/>
                  <a:gd name="connsiteY2" fmla="*/ 333257 h 460557"/>
                  <a:gd name="connsiteX3" fmla="*/ 117257 w 201069"/>
                  <a:gd name="connsiteY3" fmla="*/ 444343 h 460557"/>
                  <a:gd name="connsiteX4" fmla="*/ 141943 w 201069"/>
                  <a:gd name="connsiteY4" fmla="*/ 459771 h 460557"/>
                  <a:gd name="connsiteX5" fmla="*/ 141943 w 201069"/>
                  <a:gd name="connsiteY5" fmla="*/ 459771 h 460557"/>
                  <a:gd name="connsiteX6" fmla="*/ 154286 w 201069"/>
                  <a:gd name="connsiteY6" fmla="*/ 435085 h 460557"/>
                  <a:gd name="connsiteX7" fmla="*/ 151200 w 201069"/>
                  <a:gd name="connsiteY7" fmla="*/ 357942 h 460557"/>
                  <a:gd name="connsiteX8" fmla="*/ 191314 w 201069"/>
                  <a:gd name="connsiteY8" fmla="*/ 129599 h 460557"/>
                  <a:gd name="connsiteX9" fmla="*/ 33943 w 201069"/>
                  <a:gd name="connsiteY9" fmla="*/ 0 h 460557"/>
                  <a:gd name="connsiteX10" fmla="*/ 0 w 201069"/>
                  <a:gd name="connsiteY10" fmla="*/ 33942 h 460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1069" h="460557">
                    <a:moveTo>
                      <a:pt x="0" y="33942"/>
                    </a:moveTo>
                    <a:cubicBezTo>
                      <a:pt x="0" y="33942"/>
                      <a:pt x="80229" y="70971"/>
                      <a:pt x="120343" y="135771"/>
                    </a:cubicBezTo>
                    <a:cubicBezTo>
                      <a:pt x="160457" y="200571"/>
                      <a:pt x="104914" y="299314"/>
                      <a:pt x="98743" y="333257"/>
                    </a:cubicBezTo>
                    <a:cubicBezTo>
                      <a:pt x="95657" y="357942"/>
                      <a:pt x="108000" y="413486"/>
                      <a:pt x="117257" y="444343"/>
                    </a:cubicBezTo>
                    <a:cubicBezTo>
                      <a:pt x="120343" y="456685"/>
                      <a:pt x="132686" y="462857"/>
                      <a:pt x="141943" y="459771"/>
                    </a:cubicBezTo>
                    <a:lnTo>
                      <a:pt x="141943" y="459771"/>
                    </a:lnTo>
                    <a:cubicBezTo>
                      <a:pt x="151200" y="456685"/>
                      <a:pt x="157371" y="447429"/>
                      <a:pt x="154286" y="435085"/>
                    </a:cubicBezTo>
                    <a:cubicBezTo>
                      <a:pt x="151200" y="410400"/>
                      <a:pt x="145028" y="373371"/>
                      <a:pt x="151200" y="357942"/>
                    </a:cubicBezTo>
                    <a:cubicBezTo>
                      <a:pt x="160457" y="339429"/>
                      <a:pt x="225257" y="256114"/>
                      <a:pt x="191314" y="129599"/>
                    </a:cubicBezTo>
                    <a:cubicBezTo>
                      <a:pt x="157371" y="9257"/>
                      <a:pt x="33943" y="0"/>
                      <a:pt x="33943" y="0"/>
                    </a:cubicBezTo>
                    <a:lnTo>
                      <a:pt x="0" y="33942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1C34E15B-291C-454A-848D-262CEBA73DB2}"/>
                  </a:ext>
                </a:extLst>
              </p:cNvPr>
              <p:cNvSpPr/>
              <p:nvPr/>
            </p:nvSpPr>
            <p:spPr>
              <a:xfrm>
                <a:off x="5011420" y="9255719"/>
                <a:ext cx="723662" cy="2362176"/>
              </a:xfrm>
              <a:custGeom>
                <a:avLst/>
                <a:gdLst>
                  <a:gd name="connsiteX0" fmla="*/ 723663 w 723662"/>
                  <a:gd name="connsiteY0" fmla="*/ 2343662 h 2362176"/>
                  <a:gd name="connsiteX1" fmla="*/ 655777 w 723662"/>
                  <a:gd name="connsiteY1" fmla="*/ 2362177 h 2362176"/>
                  <a:gd name="connsiteX2" fmla="*/ 1605 w 723662"/>
                  <a:gd name="connsiteY2" fmla="*/ 44806 h 2362176"/>
                  <a:gd name="connsiteX3" fmla="*/ 26291 w 723662"/>
                  <a:gd name="connsiteY3" fmla="*/ 1605 h 2362176"/>
                  <a:gd name="connsiteX4" fmla="*/ 26291 w 723662"/>
                  <a:gd name="connsiteY4" fmla="*/ 1605 h 2362176"/>
                  <a:gd name="connsiteX5" fmla="*/ 69491 w 723662"/>
                  <a:gd name="connsiteY5" fmla="*/ 26291 h 2362176"/>
                  <a:gd name="connsiteX6" fmla="*/ 723663 w 723662"/>
                  <a:gd name="connsiteY6" fmla="*/ 2343662 h 2362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3662" h="2362176">
                    <a:moveTo>
                      <a:pt x="723663" y="2343662"/>
                    </a:moveTo>
                    <a:lnTo>
                      <a:pt x="655777" y="2362177"/>
                    </a:lnTo>
                    <a:lnTo>
                      <a:pt x="1605" y="44806"/>
                    </a:lnTo>
                    <a:cubicBezTo>
                      <a:pt x="-4566" y="26291"/>
                      <a:pt x="7777" y="7777"/>
                      <a:pt x="26291" y="1605"/>
                    </a:cubicBezTo>
                    <a:lnTo>
                      <a:pt x="26291" y="1605"/>
                    </a:lnTo>
                    <a:cubicBezTo>
                      <a:pt x="44805" y="-4566"/>
                      <a:pt x="63320" y="7777"/>
                      <a:pt x="69491" y="26291"/>
                    </a:cubicBezTo>
                    <a:lnTo>
                      <a:pt x="723663" y="2343662"/>
                    </a:lnTo>
                    <a:close/>
                  </a:path>
                </a:pathLst>
              </a:custGeom>
              <a:solidFill>
                <a:srgbClr val="7F95BC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6E4CBE04-FEAB-45E1-90D7-0E05DD2DEFC3}"/>
                  </a:ext>
                </a:extLst>
              </p:cNvPr>
              <p:cNvSpPr/>
              <p:nvPr/>
            </p:nvSpPr>
            <p:spPr>
              <a:xfrm>
                <a:off x="5584577" y="11507505"/>
                <a:ext cx="224562" cy="153590"/>
              </a:xfrm>
              <a:custGeom>
                <a:avLst/>
                <a:gdLst>
                  <a:gd name="connsiteX0" fmla="*/ 224563 w 224562"/>
                  <a:gd name="connsiteY0" fmla="*/ 94962 h 153590"/>
                  <a:gd name="connsiteX1" fmla="*/ 17820 w 224562"/>
                  <a:gd name="connsiteY1" fmla="*/ 153591 h 153590"/>
                  <a:gd name="connsiteX2" fmla="*/ 2391 w 224562"/>
                  <a:gd name="connsiteY2" fmla="*/ 101134 h 153590"/>
                  <a:gd name="connsiteX3" fmla="*/ 42506 w 224562"/>
                  <a:gd name="connsiteY3" fmla="*/ 27077 h 153590"/>
                  <a:gd name="connsiteX4" fmla="*/ 135077 w 224562"/>
                  <a:gd name="connsiteY4" fmla="*/ 2391 h 153590"/>
                  <a:gd name="connsiteX5" fmla="*/ 209134 w 224562"/>
                  <a:gd name="connsiteY5" fmla="*/ 42506 h 153590"/>
                  <a:gd name="connsiteX6" fmla="*/ 224563 w 224562"/>
                  <a:gd name="connsiteY6" fmla="*/ 94962 h 153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4562" h="153590">
                    <a:moveTo>
                      <a:pt x="224563" y="94962"/>
                    </a:moveTo>
                    <a:lnTo>
                      <a:pt x="17820" y="153591"/>
                    </a:lnTo>
                    <a:lnTo>
                      <a:pt x="2391" y="101134"/>
                    </a:lnTo>
                    <a:cubicBezTo>
                      <a:pt x="-6866" y="70277"/>
                      <a:pt x="11648" y="36334"/>
                      <a:pt x="42506" y="27077"/>
                    </a:cubicBezTo>
                    <a:lnTo>
                      <a:pt x="135077" y="2391"/>
                    </a:lnTo>
                    <a:cubicBezTo>
                      <a:pt x="165934" y="-6866"/>
                      <a:pt x="199877" y="11649"/>
                      <a:pt x="209134" y="42506"/>
                    </a:cubicBezTo>
                    <a:lnTo>
                      <a:pt x="224563" y="94962"/>
                    </a:ln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0F115ECC-7C5A-47F4-BAC6-3939BE822DAF}"/>
                  </a:ext>
                </a:extLst>
              </p:cNvPr>
              <p:cNvSpPr/>
              <p:nvPr/>
            </p:nvSpPr>
            <p:spPr>
              <a:xfrm>
                <a:off x="4806902" y="9253648"/>
                <a:ext cx="344980" cy="320886"/>
              </a:xfrm>
              <a:custGeom>
                <a:avLst/>
                <a:gdLst>
                  <a:gd name="connsiteX0" fmla="*/ 104295 w 344980"/>
                  <a:gd name="connsiteY0" fmla="*/ 40706 h 320886"/>
                  <a:gd name="connsiteX1" fmla="*/ 5552 w 344980"/>
                  <a:gd name="connsiteY1" fmla="*/ 216591 h 320886"/>
                  <a:gd name="connsiteX2" fmla="*/ 5552 w 344980"/>
                  <a:gd name="connsiteY2" fmla="*/ 216591 h 320886"/>
                  <a:gd name="connsiteX3" fmla="*/ 181438 w 344980"/>
                  <a:gd name="connsiteY3" fmla="*/ 315334 h 320886"/>
                  <a:gd name="connsiteX4" fmla="*/ 344981 w 344980"/>
                  <a:gd name="connsiteY4" fmla="*/ 269048 h 320886"/>
                  <a:gd name="connsiteX5" fmla="*/ 277095 w 344980"/>
                  <a:gd name="connsiteY5" fmla="*/ 22191 h 320886"/>
                  <a:gd name="connsiteX6" fmla="*/ 240066 w 344980"/>
                  <a:gd name="connsiteY6" fmla="*/ 591 h 320886"/>
                  <a:gd name="connsiteX7" fmla="*/ 104295 w 344980"/>
                  <a:gd name="connsiteY7" fmla="*/ 40706 h 320886"/>
                  <a:gd name="connsiteX8" fmla="*/ 227724 w 344980"/>
                  <a:gd name="connsiteY8" fmla="*/ 265962 h 320886"/>
                  <a:gd name="connsiteX9" fmla="*/ 178352 w 344980"/>
                  <a:gd name="connsiteY9" fmla="*/ 281391 h 320886"/>
                  <a:gd name="connsiteX10" fmla="*/ 64181 w 344980"/>
                  <a:gd name="connsiteY10" fmla="*/ 238191 h 320886"/>
                  <a:gd name="connsiteX11" fmla="*/ 45666 w 344980"/>
                  <a:gd name="connsiteY11" fmla="*/ 210420 h 320886"/>
                  <a:gd name="connsiteX12" fmla="*/ 95038 w 344980"/>
                  <a:gd name="connsiteY12" fmla="*/ 86991 h 320886"/>
                  <a:gd name="connsiteX13" fmla="*/ 172181 w 344980"/>
                  <a:gd name="connsiteY13" fmla="*/ 65391 h 320886"/>
                  <a:gd name="connsiteX14" fmla="*/ 227724 w 344980"/>
                  <a:gd name="connsiteY14" fmla="*/ 265962 h 320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4980" h="320886">
                    <a:moveTo>
                      <a:pt x="104295" y="40706"/>
                    </a:moveTo>
                    <a:cubicBezTo>
                      <a:pt x="27152" y="62306"/>
                      <a:pt x="-16048" y="139448"/>
                      <a:pt x="5552" y="216591"/>
                    </a:cubicBezTo>
                    <a:lnTo>
                      <a:pt x="5552" y="216591"/>
                    </a:lnTo>
                    <a:cubicBezTo>
                      <a:pt x="27152" y="293734"/>
                      <a:pt x="104295" y="336934"/>
                      <a:pt x="181438" y="315334"/>
                    </a:cubicBezTo>
                    <a:lnTo>
                      <a:pt x="344981" y="269048"/>
                    </a:lnTo>
                    <a:lnTo>
                      <a:pt x="277095" y="22191"/>
                    </a:lnTo>
                    <a:cubicBezTo>
                      <a:pt x="274009" y="6763"/>
                      <a:pt x="255495" y="-2495"/>
                      <a:pt x="240066" y="591"/>
                    </a:cubicBezTo>
                    <a:lnTo>
                      <a:pt x="104295" y="40706"/>
                    </a:lnTo>
                    <a:close/>
                    <a:moveTo>
                      <a:pt x="227724" y="265962"/>
                    </a:moveTo>
                    <a:lnTo>
                      <a:pt x="178352" y="281391"/>
                    </a:lnTo>
                    <a:cubicBezTo>
                      <a:pt x="138238" y="293734"/>
                      <a:pt x="85781" y="272134"/>
                      <a:pt x="64181" y="238191"/>
                    </a:cubicBezTo>
                    <a:lnTo>
                      <a:pt x="45666" y="210420"/>
                    </a:lnTo>
                    <a:cubicBezTo>
                      <a:pt x="14809" y="157962"/>
                      <a:pt x="36409" y="102420"/>
                      <a:pt x="95038" y="86991"/>
                    </a:cubicBezTo>
                    <a:lnTo>
                      <a:pt x="172181" y="65391"/>
                    </a:lnTo>
                    <a:lnTo>
                      <a:pt x="227724" y="265962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F14872E3-1AFD-4E31-BEB2-5830BD69A740}"/>
                  </a:ext>
                </a:extLst>
              </p:cNvPr>
              <p:cNvSpPr/>
              <p:nvPr/>
            </p:nvSpPr>
            <p:spPr>
              <a:xfrm>
                <a:off x="5675226" y="11931519"/>
                <a:ext cx="310272" cy="269982"/>
              </a:xfrm>
              <a:custGeom>
                <a:avLst/>
                <a:gdLst>
                  <a:gd name="connsiteX0" fmla="*/ 309800 w 310272"/>
                  <a:gd name="connsiteY0" fmla="*/ 124549 h 269982"/>
                  <a:gd name="connsiteX1" fmla="*/ 211057 w 310272"/>
                  <a:gd name="connsiteY1" fmla="*/ 28891 h 269982"/>
                  <a:gd name="connsiteX2" fmla="*/ 75286 w 310272"/>
                  <a:gd name="connsiteY2" fmla="*/ 16549 h 269982"/>
                  <a:gd name="connsiteX3" fmla="*/ 35171 w 310272"/>
                  <a:gd name="connsiteY3" fmla="*/ 72091 h 269982"/>
                  <a:gd name="connsiteX4" fmla="*/ 25914 w 310272"/>
                  <a:gd name="connsiteY4" fmla="*/ 75177 h 269982"/>
                  <a:gd name="connsiteX5" fmla="*/ 25914 w 310272"/>
                  <a:gd name="connsiteY5" fmla="*/ 192434 h 269982"/>
                  <a:gd name="connsiteX6" fmla="*/ 81457 w 310272"/>
                  <a:gd name="connsiteY6" fmla="*/ 254148 h 269982"/>
                  <a:gd name="connsiteX7" fmla="*/ 167857 w 310272"/>
                  <a:gd name="connsiteY7" fmla="*/ 251063 h 269982"/>
                  <a:gd name="connsiteX8" fmla="*/ 245000 w 310272"/>
                  <a:gd name="connsiteY8" fmla="*/ 254148 h 269982"/>
                  <a:gd name="connsiteX9" fmla="*/ 282029 w 310272"/>
                  <a:gd name="connsiteY9" fmla="*/ 161577 h 269982"/>
                  <a:gd name="connsiteX10" fmla="*/ 309800 w 310272"/>
                  <a:gd name="connsiteY10" fmla="*/ 124549 h 269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10272" h="269982">
                    <a:moveTo>
                      <a:pt x="309800" y="124549"/>
                    </a:moveTo>
                    <a:cubicBezTo>
                      <a:pt x="306714" y="75177"/>
                      <a:pt x="241914" y="53577"/>
                      <a:pt x="211057" y="28891"/>
                    </a:cubicBezTo>
                    <a:cubicBezTo>
                      <a:pt x="174029" y="-1966"/>
                      <a:pt x="118486" y="-11223"/>
                      <a:pt x="75286" y="16549"/>
                    </a:cubicBezTo>
                    <a:cubicBezTo>
                      <a:pt x="53686" y="28891"/>
                      <a:pt x="35171" y="44320"/>
                      <a:pt x="35171" y="72091"/>
                    </a:cubicBezTo>
                    <a:cubicBezTo>
                      <a:pt x="32086" y="72091"/>
                      <a:pt x="29000" y="72091"/>
                      <a:pt x="25914" y="75177"/>
                    </a:cubicBezTo>
                    <a:cubicBezTo>
                      <a:pt x="1229" y="99862"/>
                      <a:pt x="-17286" y="177005"/>
                      <a:pt x="25914" y="192434"/>
                    </a:cubicBezTo>
                    <a:cubicBezTo>
                      <a:pt x="29000" y="223291"/>
                      <a:pt x="56771" y="235635"/>
                      <a:pt x="81457" y="254148"/>
                    </a:cubicBezTo>
                    <a:cubicBezTo>
                      <a:pt x="112314" y="275749"/>
                      <a:pt x="143171" y="275749"/>
                      <a:pt x="167857" y="251063"/>
                    </a:cubicBezTo>
                    <a:cubicBezTo>
                      <a:pt x="189457" y="266492"/>
                      <a:pt x="220314" y="269577"/>
                      <a:pt x="245000" y="254148"/>
                    </a:cubicBezTo>
                    <a:cubicBezTo>
                      <a:pt x="275857" y="232549"/>
                      <a:pt x="285114" y="198606"/>
                      <a:pt x="282029" y="161577"/>
                    </a:cubicBezTo>
                    <a:cubicBezTo>
                      <a:pt x="300543" y="161577"/>
                      <a:pt x="312886" y="146148"/>
                      <a:pt x="309800" y="124549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E32A7FFA-E566-4ED5-8F8E-A2D1FEF1D069}"/>
                  </a:ext>
                </a:extLst>
              </p:cNvPr>
              <p:cNvSpPr/>
              <p:nvPr/>
            </p:nvSpPr>
            <p:spPr>
              <a:xfrm>
                <a:off x="5586213" y="11661096"/>
                <a:ext cx="232986" cy="445146"/>
              </a:xfrm>
              <a:custGeom>
                <a:avLst/>
                <a:gdLst>
                  <a:gd name="connsiteX0" fmla="*/ 114927 w 232986"/>
                  <a:gd name="connsiteY0" fmla="*/ 3086 h 445146"/>
                  <a:gd name="connsiteX1" fmla="*/ 68641 w 232986"/>
                  <a:gd name="connsiteY1" fmla="*/ 154286 h 445146"/>
                  <a:gd name="connsiteX2" fmla="*/ 188984 w 232986"/>
                  <a:gd name="connsiteY2" fmla="*/ 311657 h 445146"/>
                  <a:gd name="connsiteX3" fmla="*/ 232184 w 232986"/>
                  <a:gd name="connsiteY3" fmla="*/ 416571 h 445146"/>
                  <a:gd name="connsiteX4" fmla="*/ 219841 w 232986"/>
                  <a:gd name="connsiteY4" fmla="*/ 444344 h 445146"/>
                  <a:gd name="connsiteX5" fmla="*/ 219841 w 232986"/>
                  <a:gd name="connsiteY5" fmla="*/ 444344 h 445146"/>
                  <a:gd name="connsiteX6" fmla="*/ 195156 w 232986"/>
                  <a:gd name="connsiteY6" fmla="*/ 432000 h 445146"/>
                  <a:gd name="connsiteX7" fmla="*/ 158127 w 232986"/>
                  <a:gd name="connsiteY7" fmla="*/ 367201 h 445146"/>
                  <a:gd name="connsiteX8" fmla="*/ 6927 w 232986"/>
                  <a:gd name="connsiteY8" fmla="*/ 194401 h 445146"/>
                  <a:gd name="connsiteX9" fmla="*/ 74813 w 232986"/>
                  <a:gd name="connsiteY9" fmla="*/ 0 h 445146"/>
                  <a:gd name="connsiteX10" fmla="*/ 114927 w 232986"/>
                  <a:gd name="connsiteY10" fmla="*/ 3086 h 445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2986" h="445146">
                    <a:moveTo>
                      <a:pt x="114927" y="3086"/>
                    </a:moveTo>
                    <a:cubicBezTo>
                      <a:pt x="114927" y="3086"/>
                      <a:pt x="65556" y="77143"/>
                      <a:pt x="68641" y="154286"/>
                    </a:cubicBezTo>
                    <a:cubicBezTo>
                      <a:pt x="68641" y="231429"/>
                      <a:pt x="167384" y="283886"/>
                      <a:pt x="188984" y="311657"/>
                    </a:cubicBezTo>
                    <a:cubicBezTo>
                      <a:pt x="204413" y="330172"/>
                      <a:pt x="222927" y="385714"/>
                      <a:pt x="232184" y="416571"/>
                    </a:cubicBezTo>
                    <a:cubicBezTo>
                      <a:pt x="235270" y="428915"/>
                      <a:pt x="229099" y="441258"/>
                      <a:pt x="219841" y="444344"/>
                    </a:cubicBezTo>
                    <a:lnTo>
                      <a:pt x="219841" y="444344"/>
                    </a:lnTo>
                    <a:cubicBezTo>
                      <a:pt x="210584" y="447429"/>
                      <a:pt x="201327" y="441258"/>
                      <a:pt x="195156" y="432000"/>
                    </a:cubicBezTo>
                    <a:cubicBezTo>
                      <a:pt x="185899" y="410401"/>
                      <a:pt x="170470" y="373372"/>
                      <a:pt x="158127" y="367201"/>
                    </a:cubicBezTo>
                    <a:cubicBezTo>
                      <a:pt x="139613" y="357943"/>
                      <a:pt x="40870" y="320915"/>
                      <a:pt x="6927" y="194401"/>
                    </a:cubicBezTo>
                    <a:cubicBezTo>
                      <a:pt x="-27016" y="74058"/>
                      <a:pt x="74813" y="0"/>
                      <a:pt x="74813" y="0"/>
                    </a:cubicBezTo>
                    <a:lnTo>
                      <a:pt x="114927" y="3086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465C9595-BED2-4055-B549-B486B5625680}"/>
                  </a:ext>
                </a:extLst>
              </p:cNvPr>
              <p:cNvSpPr/>
              <p:nvPr/>
            </p:nvSpPr>
            <p:spPr>
              <a:xfrm>
                <a:off x="5569149" y="11563048"/>
                <a:ext cx="279410" cy="162153"/>
              </a:xfrm>
              <a:custGeom>
                <a:avLst/>
                <a:gdLst>
                  <a:gd name="connsiteX0" fmla="*/ 236905 w 279410"/>
                  <a:gd name="connsiteY0" fmla="*/ 113476 h 162153"/>
                  <a:gd name="connsiteX1" fmla="*/ 73363 w 279410"/>
                  <a:gd name="connsiteY1" fmla="*/ 159762 h 162153"/>
                  <a:gd name="connsiteX2" fmla="*/ 2391 w 279410"/>
                  <a:gd name="connsiteY2" fmla="*/ 119648 h 162153"/>
                  <a:gd name="connsiteX3" fmla="*/ 2391 w 279410"/>
                  <a:gd name="connsiteY3" fmla="*/ 119648 h 162153"/>
                  <a:gd name="connsiteX4" fmla="*/ 42506 w 279410"/>
                  <a:gd name="connsiteY4" fmla="*/ 48677 h 162153"/>
                  <a:gd name="connsiteX5" fmla="*/ 206048 w 279410"/>
                  <a:gd name="connsiteY5" fmla="*/ 2391 h 162153"/>
                  <a:gd name="connsiteX6" fmla="*/ 277020 w 279410"/>
                  <a:gd name="connsiteY6" fmla="*/ 42505 h 162153"/>
                  <a:gd name="connsiteX7" fmla="*/ 277020 w 279410"/>
                  <a:gd name="connsiteY7" fmla="*/ 42505 h 162153"/>
                  <a:gd name="connsiteX8" fmla="*/ 236905 w 279410"/>
                  <a:gd name="connsiteY8" fmla="*/ 113476 h 162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9410" h="162153">
                    <a:moveTo>
                      <a:pt x="236905" y="113476"/>
                    </a:moveTo>
                    <a:lnTo>
                      <a:pt x="73363" y="159762"/>
                    </a:lnTo>
                    <a:cubicBezTo>
                      <a:pt x="42506" y="169020"/>
                      <a:pt x="11648" y="150505"/>
                      <a:pt x="2391" y="119648"/>
                    </a:cubicBezTo>
                    <a:lnTo>
                      <a:pt x="2391" y="119648"/>
                    </a:lnTo>
                    <a:cubicBezTo>
                      <a:pt x="-6866" y="88791"/>
                      <a:pt x="11648" y="57934"/>
                      <a:pt x="42506" y="48677"/>
                    </a:cubicBezTo>
                    <a:lnTo>
                      <a:pt x="206048" y="2391"/>
                    </a:lnTo>
                    <a:cubicBezTo>
                      <a:pt x="236905" y="-6866"/>
                      <a:pt x="267763" y="11648"/>
                      <a:pt x="277020" y="42505"/>
                    </a:cubicBezTo>
                    <a:lnTo>
                      <a:pt x="277020" y="42505"/>
                    </a:lnTo>
                    <a:cubicBezTo>
                      <a:pt x="286277" y="73362"/>
                      <a:pt x="267763" y="104220"/>
                      <a:pt x="236905" y="11347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6" name="图形 1">
              <a:extLst>
                <a:ext uri="{FF2B5EF4-FFF2-40B4-BE49-F238E27FC236}">
                  <a16:creationId xmlns:a16="http://schemas.microsoft.com/office/drawing/2014/main" id="{9E38E0DA-74A5-4C15-B46B-AB8B66B62381}"/>
                </a:ext>
              </a:extLst>
            </p:cNvPr>
            <p:cNvGrpSpPr/>
            <p:nvPr/>
          </p:nvGrpSpPr>
          <p:grpSpPr>
            <a:xfrm>
              <a:off x="4800111" y="9320399"/>
              <a:ext cx="188122" cy="167909"/>
              <a:chOff x="4800111" y="9320399"/>
              <a:chExt cx="188122" cy="167909"/>
            </a:xfrm>
          </p:grpSpPr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6A9E146B-1119-4F5E-90FC-02FF738912F8}"/>
                  </a:ext>
                </a:extLst>
              </p:cNvPr>
              <p:cNvSpPr/>
              <p:nvPr/>
            </p:nvSpPr>
            <p:spPr>
              <a:xfrm>
                <a:off x="4806283" y="9325210"/>
                <a:ext cx="181951" cy="163097"/>
              </a:xfrm>
              <a:custGeom>
                <a:avLst/>
                <a:gdLst>
                  <a:gd name="connsiteX0" fmla="*/ 0 w 181951"/>
                  <a:gd name="connsiteY0" fmla="*/ 89486 h 163097"/>
                  <a:gd name="connsiteX1" fmla="*/ 15429 w 181951"/>
                  <a:gd name="connsiteY1" fmla="*/ 70971 h 163097"/>
                  <a:gd name="connsiteX2" fmla="*/ 9257 w 181951"/>
                  <a:gd name="connsiteY2" fmla="*/ 58628 h 163097"/>
                  <a:gd name="connsiteX3" fmla="*/ 40114 w 181951"/>
                  <a:gd name="connsiteY3" fmla="*/ 30857 h 163097"/>
                  <a:gd name="connsiteX4" fmla="*/ 43200 w 181951"/>
                  <a:gd name="connsiteY4" fmla="*/ 30857 h 163097"/>
                  <a:gd name="connsiteX5" fmla="*/ 43200 w 181951"/>
                  <a:gd name="connsiteY5" fmla="*/ 27771 h 163097"/>
                  <a:gd name="connsiteX6" fmla="*/ 74057 w 181951"/>
                  <a:gd name="connsiteY6" fmla="*/ 0 h 163097"/>
                  <a:gd name="connsiteX7" fmla="*/ 89486 w 181951"/>
                  <a:gd name="connsiteY7" fmla="*/ 0 h 163097"/>
                  <a:gd name="connsiteX8" fmla="*/ 101829 w 181951"/>
                  <a:gd name="connsiteY8" fmla="*/ 6171 h 163097"/>
                  <a:gd name="connsiteX9" fmla="*/ 178972 w 181951"/>
                  <a:gd name="connsiteY9" fmla="*/ 46286 h 163097"/>
                  <a:gd name="connsiteX10" fmla="*/ 166629 w 181951"/>
                  <a:gd name="connsiteY10" fmla="*/ 77143 h 163097"/>
                  <a:gd name="connsiteX11" fmla="*/ 145029 w 181951"/>
                  <a:gd name="connsiteY11" fmla="*/ 80228 h 163097"/>
                  <a:gd name="connsiteX12" fmla="*/ 132686 w 181951"/>
                  <a:gd name="connsiteY12" fmla="*/ 108000 h 163097"/>
                  <a:gd name="connsiteX13" fmla="*/ 117257 w 181951"/>
                  <a:gd name="connsiteY13" fmla="*/ 111085 h 163097"/>
                  <a:gd name="connsiteX14" fmla="*/ 108000 w 181951"/>
                  <a:gd name="connsiteY14" fmla="*/ 138857 h 163097"/>
                  <a:gd name="connsiteX15" fmla="*/ 86400 w 181951"/>
                  <a:gd name="connsiteY15" fmla="*/ 138857 h 163097"/>
                  <a:gd name="connsiteX16" fmla="*/ 80229 w 181951"/>
                  <a:gd name="connsiteY16" fmla="*/ 160457 h 163097"/>
                  <a:gd name="connsiteX17" fmla="*/ 52457 w 181951"/>
                  <a:gd name="connsiteY17" fmla="*/ 157371 h 163097"/>
                  <a:gd name="connsiteX18" fmla="*/ 18514 w 181951"/>
                  <a:gd name="connsiteY18" fmla="*/ 141943 h 163097"/>
                  <a:gd name="connsiteX19" fmla="*/ 0 w 181951"/>
                  <a:gd name="connsiteY19" fmla="*/ 123429 h 163097"/>
                  <a:gd name="connsiteX20" fmla="*/ 15429 w 181951"/>
                  <a:gd name="connsiteY20" fmla="*/ 108000 h 163097"/>
                  <a:gd name="connsiteX21" fmla="*/ 0 w 181951"/>
                  <a:gd name="connsiteY21" fmla="*/ 89486 h 163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81951" h="163097">
                    <a:moveTo>
                      <a:pt x="0" y="89486"/>
                    </a:moveTo>
                    <a:cubicBezTo>
                      <a:pt x="0" y="80228"/>
                      <a:pt x="6172" y="74057"/>
                      <a:pt x="15429" y="70971"/>
                    </a:cubicBezTo>
                    <a:cubicBezTo>
                      <a:pt x="12343" y="67886"/>
                      <a:pt x="9257" y="64800"/>
                      <a:pt x="9257" y="58628"/>
                    </a:cubicBezTo>
                    <a:cubicBezTo>
                      <a:pt x="12343" y="43200"/>
                      <a:pt x="27771" y="30857"/>
                      <a:pt x="40114" y="30857"/>
                    </a:cubicBezTo>
                    <a:cubicBezTo>
                      <a:pt x="40114" y="30857"/>
                      <a:pt x="43200" y="30857"/>
                      <a:pt x="43200" y="30857"/>
                    </a:cubicBezTo>
                    <a:cubicBezTo>
                      <a:pt x="43200" y="30857"/>
                      <a:pt x="43200" y="27771"/>
                      <a:pt x="43200" y="27771"/>
                    </a:cubicBezTo>
                    <a:cubicBezTo>
                      <a:pt x="46286" y="12343"/>
                      <a:pt x="61714" y="0"/>
                      <a:pt x="74057" y="0"/>
                    </a:cubicBezTo>
                    <a:cubicBezTo>
                      <a:pt x="80229" y="0"/>
                      <a:pt x="83314" y="0"/>
                      <a:pt x="89486" y="0"/>
                    </a:cubicBezTo>
                    <a:cubicBezTo>
                      <a:pt x="92571" y="0"/>
                      <a:pt x="98743" y="6171"/>
                      <a:pt x="101829" y="6171"/>
                    </a:cubicBezTo>
                    <a:cubicBezTo>
                      <a:pt x="132686" y="18514"/>
                      <a:pt x="163543" y="24685"/>
                      <a:pt x="178972" y="46286"/>
                    </a:cubicBezTo>
                    <a:cubicBezTo>
                      <a:pt x="185143" y="55542"/>
                      <a:pt x="182057" y="70971"/>
                      <a:pt x="166629" y="77143"/>
                    </a:cubicBezTo>
                    <a:cubicBezTo>
                      <a:pt x="157372" y="80228"/>
                      <a:pt x="151200" y="80228"/>
                      <a:pt x="145029" y="80228"/>
                    </a:cubicBezTo>
                    <a:cubicBezTo>
                      <a:pt x="148114" y="89486"/>
                      <a:pt x="145029" y="101828"/>
                      <a:pt x="132686" y="108000"/>
                    </a:cubicBezTo>
                    <a:cubicBezTo>
                      <a:pt x="126514" y="111085"/>
                      <a:pt x="120343" y="111085"/>
                      <a:pt x="117257" y="111085"/>
                    </a:cubicBezTo>
                    <a:cubicBezTo>
                      <a:pt x="120343" y="120343"/>
                      <a:pt x="117257" y="132685"/>
                      <a:pt x="108000" y="138857"/>
                    </a:cubicBezTo>
                    <a:cubicBezTo>
                      <a:pt x="101829" y="141943"/>
                      <a:pt x="92571" y="141943"/>
                      <a:pt x="86400" y="138857"/>
                    </a:cubicBezTo>
                    <a:cubicBezTo>
                      <a:pt x="89486" y="145028"/>
                      <a:pt x="89486" y="154286"/>
                      <a:pt x="80229" y="160457"/>
                    </a:cubicBezTo>
                    <a:cubicBezTo>
                      <a:pt x="70972" y="166628"/>
                      <a:pt x="61714" y="160457"/>
                      <a:pt x="52457" y="157371"/>
                    </a:cubicBezTo>
                    <a:cubicBezTo>
                      <a:pt x="40114" y="154286"/>
                      <a:pt x="30857" y="148114"/>
                      <a:pt x="18514" y="141943"/>
                    </a:cubicBezTo>
                    <a:cubicBezTo>
                      <a:pt x="12343" y="138857"/>
                      <a:pt x="0" y="132685"/>
                      <a:pt x="0" y="123429"/>
                    </a:cubicBezTo>
                    <a:cubicBezTo>
                      <a:pt x="0" y="117257"/>
                      <a:pt x="6172" y="111085"/>
                      <a:pt x="15429" y="108000"/>
                    </a:cubicBezTo>
                    <a:cubicBezTo>
                      <a:pt x="6172" y="104914"/>
                      <a:pt x="0" y="98743"/>
                      <a:pt x="0" y="8948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518E841E-6BD4-4D66-9E4E-B4F0E75D166E}"/>
                  </a:ext>
                </a:extLst>
              </p:cNvPr>
              <p:cNvSpPr/>
              <p:nvPr/>
            </p:nvSpPr>
            <p:spPr>
              <a:xfrm>
                <a:off x="4813560" y="9320399"/>
                <a:ext cx="157476" cy="115897"/>
              </a:xfrm>
              <a:custGeom>
                <a:avLst/>
                <a:gdLst>
                  <a:gd name="connsiteX0" fmla="*/ 113066 w 157476"/>
                  <a:gd name="connsiteY0" fmla="*/ 115897 h 115897"/>
                  <a:gd name="connsiteX1" fmla="*/ 45180 w 157476"/>
                  <a:gd name="connsiteY1" fmla="*/ 97383 h 115897"/>
                  <a:gd name="connsiteX2" fmla="*/ 1980 w 157476"/>
                  <a:gd name="connsiteY2" fmla="*/ 51097 h 115897"/>
                  <a:gd name="connsiteX3" fmla="*/ 39009 w 157476"/>
                  <a:gd name="connsiteY3" fmla="*/ 26411 h 115897"/>
                  <a:gd name="connsiteX4" fmla="*/ 42094 w 157476"/>
                  <a:gd name="connsiteY4" fmla="*/ 14068 h 115897"/>
                  <a:gd name="connsiteX5" fmla="*/ 57523 w 157476"/>
                  <a:gd name="connsiteY5" fmla="*/ 1726 h 115897"/>
                  <a:gd name="connsiteX6" fmla="*/ 153180 w 157476"/>
                  <a:gd name="connsiteY6" fmla="*/ 26411 h 115897"/>
                  <a:gd name="connsiteX7" fmla="*/ 156266 w 157476"/>
                  <a:gd name="connsiteY7" fmla="*/ 35669 h 115897"/>
                  <a:gd name="connsiteX8" fmla="*/ 147009 w 157476"/>
                  <a:gd name="connsiteY8" fmla="*/ 38754 h 115897"/>
                  <a:gd name="connsiteX9" fmla="*/ 60609 w 157476"/>
                  <a:gd name="connsiteY9" fmla="*/ 14068 h 115897"/>
                  <a:gd name="connsiteX10" fmla="*/ 54437 w 157476"/>
                  <a:gd name="connsiteY10" fmla="*/ 20240 h 115897"/>
                  <a:gd name="connsiteX11" fmla="*/ 54437 w 157476"/>
                  <a:gd name="connsiteY11" fmla="*/ 32583 h 115897"/>
                  <a:gd name="connsiteX12" fmla="*/ 147009 w 157476"/>
                  <a:gd name="connsiteY12" fmla="*/ 75783 h 115897"/>
                  <a:gd name="connsiteX13" fmla="*/ 156266 w 157476"/>
                  <a:gd name="connsiteY13" fmla="*/ 85040 h 115897"/>
                  <a:gd name="connsiteX14" fmla="*/ 150094 w 157476"/>
                  <a:gd name="connsiteY14" fmla="*/ 106640 h 115897"/>
                  <a:gd name="connsiteX15" fmla="*/ 113066 w 157476"/>
                  <a:gd name="connsiteY15" fmla="*/ 115897 h 115897"/>
                  <a:gd name="connsiteX16" fmla="*/ 35923 w 157476"/>
                  <a:gd name="connsiteY16" fmla="*/ 35669 h 115897"/>
                  <a:gd name="connsiteX17" fmla="*/ 8151 w 157476"/>
                  <a:gd name="connsiteY17" fmla="*/ 54183 h 115897"/>
                  <a:gd name="connsiteX18" fmla="*/ 45180 w 157476"/>
                  <a:gd name="connsiteY18" fmla="*/ 85040 h 115897"/>
                  <a:gd name="connsiteX19" fmla="*/ 131580 w 157476"/>
                  <a:gd name="connsiteY19" fmla="*/ 94297 h 115897"/>
                  <a:gd name="connsiteX20" fmla="*/ 134666 w 157476"/>
                  <a:gd name="connsiteY20" fmla="*/ 85040 h 115897"/>
                  <a:gd name="connsiteX21" fmla="*/ 134666 w 157476"/>
                  <a:gd name="connsiteY21" fmla="*/ 85040 h 115897"/>
                  <a:gd name="connsiteX22" fmla="*/ 35923 w 157476"/>
                  <a:gd name="connsiteY22" fmla="*/ 35669 h 115897"/>
                  <a:gd name="connsiteX23" fmla="*/ 35923 w 157476"/>
                  <a:gd name="connsiteY23" fmla="*/ 35669 h 115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57476" h="115897">
                    <a:moveTo>
                      <a:pt x="113066" y="115897"/>
                    </a:moveTo>
                    <a:cubicBezTo>
                      <a:pt x="94552" y="115897"/>
                      <a:pt x="72952" y="109726"/>
                      <a:pt x="45180" y="97383"/>
                    </a:cubicBezTo>
                    <a:cubicBezTo>
                      <a:pt x="17409" y="85040"/>
                      <a:pt x="-7277" y="72697"/>
                      <a:pt x="1980" y="51097"/>
                    </a:cubicBezTo>
                    <a:cubicBezTo>
                      <a:pt x="8151" y="35669"/>
                      <a:pt x="32837" y="26411"/>
                      <a:pt x="39009" y="26411"/>
                    </a:cubicBezTo>
                    <a:cubicBezTo>
                      <a:pt x="39009" y="20240"/>
                      <a:pt x="42094" y="17154"/>
                      <a:pt x="42094" y="14068"/>
                    </a:cubicBezTo>
                    <a:cubicBezTo>
                      <a:pt x="45180" y="7897"/>
                      <a:pt x="48266" y="4812"/>
                      <a:pt x="57523" y="1726"/>
                    </a:cubicBezTo>
                    <a:cubicBezTo>
                      <a:pt x="85294" y="-7532"/>
                      <a:pt x="147009" y="23326"/>
                      <a:pt x="153180" y="26411"/>
                    </a:cubicBezTo>
                    <a:cubicBezTo>
                      <a:pt x="156266" y="29497"/>
                      <a:pt x="156266" y="32583"/>
                      <a:pt x="156266" y="35669"/>
                    </a:cubicBezTo>
                    <a:cubicBezTo>
                      <a:pt x="153180" y="38754"/>
                      <a:pt x="150094" y="38754"/>
                      <a:pt x="147009" y="38754"/>
                    </a:cubicBezTo>
                    <a:cubicBezTo>
                      <a:pt x="128494" y="29497"/>
                      <a:pt x="82209" y="7897"/>
                      <a:pt x="60609" y="14068"/>
                    </a:cubicBezTo>
                    <a:cubicBezTo>
                      <a:pt x="57523" y="14068"/>
                      <a:pt x="54437" y="17154"/>
                      <a:pt x="54437" y="20240"/>
                    </a:cubicBezTo>
                    <a:cubicBezTo>
                      <a:pt x="51351" y="26411"/>
                      <a:pt x="51351" y="29497"/>
                      <a:pt x="54437" y="32583"/>
                    </a:cubicBezTo>
                    <a:cubicBezTo>
                      <a:pt x="60609" y="44925"/>
                      <a:pt x="91466" y="60354"/>
                      <a:pt x="147009" y="75783"/>
                    </a:cubicBezTo>
                    <a:cubicBezTo>
                      <a:pt x="147009" y="75783"/>
                      <a:pt x="153180" y="78869"/>
                      <a:pt x="156266" y="85040"/>
                    </a:cubicBezTo>
                    <a:cubicBezTo>
                      <a:pt x="159352" y="91211"/>
                      <a:pt x="156266" y="97383"/>
                      <a:pt x="150094" y="106640"/>
                    </a:cubicBezTo>
                    <a:cubicBezTo>
                      <a:pt x="137752" y="112812"/>
                      <a:pt x="125409" y="115897"/>
                      <a:pt x="113066" y="115897"/>
                    </a:cubicBezTo>
                    <a:close/>
                    <a:moveTo>
                      <a:pt x="35923" y="35669"/>
                    </a:moveTo>
                    <a:cubicBezTo>
                      <a:pt x="29752" y="38754"/>
                      <a:pt x="11237" y="44925"/>
                      <a:pt x="8151" y="54183"/>
                    </a:cubicBezTo>
                    <a:cubicBezTo>
                      <a:pt x="5066" y="63440"/>
                      <a:pt x="11237" y="69611"/>
                      <a:pt x="45180" y="85040"/>
                    </a:cubicBezTo>
                    <a:cubicBezTo>
                      <a:pt x="88380" y="103554"/>
                      <a:pt x="119237" y="109726"/>
                      <a:pt x="131580" y="94297"/>
                    </a:cubicBezTo>
                    <a:cubicBezTo>
                      <a:pt x="134666" y="88126"/>
                      <a:pt x="134666" y="85040"/>
                      <a:pt x="134666" y="85040"/>
                    </a:cubicBezTo>
                    <a:cubicBezTo>
                      <a:pt x="134666" y="85040"/>
                      <a:pt x="134666" y="85040"/>
                      <a:pt x="134666" y="85040"/>
                    </a:cubicBezTo>
                    <a:cubicBezTo>
                      <a:pt x="57523" y="63440"/>
                      <a:pt x="42094" y="48011"/>
                      <a:pt x="35923" y="35669"/>
                    </a:cubicBezTo>
                    <a:cubicBezTo>
                      <a:pt x="35923" y="35669"/>
                      <a:pt x="35923" y="35669"/>
                      <a:pt x="35923" y="3566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3BA4A34D-CEB7-4ED4-AB73-D6BB9CC45184}"/>
                  </a:ext>
                </a:extLst>
              </p:cNvPr>
              <p:cNvSpPr/>
              <p:nvPr/>
            </p:nvSpPr>
            <p:spPr>
              <a:xfrm>
                <a:off x="4800111" y="9382467"/>
                <a:ext cx="133963" cy="87771"/>
              </a:xfrm>
              <a:custGeom>
                <a:avLst/>
                <a:gdLst>
                  <a:gd name="connsiteX0" fmla="*/ 104914 w 133963"/>
                  <a:gd name="connsiteY0" fmla="*/ 87772 h 87771"/>
                  <a:gd name="connsiteX1" fmla="*/ 104914 w 133963"/>
                  <a:gd name="connsiteY1" fmla="*/ 87772 h 87771"/>
                  <a:gd name="connsiteX2" fmla="*/ 15429 w 133963"/>
                  <a:gd name="connsiteY2" fmla="*/ 53829 h 87771"/>
                  <a:gd name="connsiteX3" fmla="*/ 0 w 133963"/>
                  <a:gd name="connsiteY3" fmla="*/ 29143 h 87771"/>
                  <a:gd name="connsiteX4" fmla="*/ 18514 w 133963"/>
                  <a:gd name="connsiteY4" fmla="*/ 1372 h 87771"/>
                  <a:gd name="connsiteX5" fmla="*/ 27771 w 133963"/>
                  <a:gd name="connsiteY5" fmla="*/ 1372 h 87771"/>
                  <a:gd name="connsiteX6" fmla="*/ 27771 w 133963"/>
                  <a:gd name="connsiteY6" fmla="*/ 10629 h 87771"/>
                  <a:gd name="connsiteX7" fmla="*/ 15429 w 133963"/>
                  <a:gd name="connsiteY7" fmla="*/ 29143 h 87771"/>
                  <a:gd name="connsiteX8" fmla="*/ 24686 w 133963"/>
                  <a:gd name="connsiteY8" fmla="*/ 44571 h 87771"/>
                  <a:gd name="connsiteX9" fmla="*/ 108000 w 133963"/>
                  <a:gd name="connsiteY9" fmla="*/ 75428 h 87771"/>
                  <a:gd name="connsiteX10" fmla="*/ 108000 w 133963"/>
                  <a:gd name="connsiteY10" fmla="*/ 75428 h 87771"/>
                  <a:gd name="connsiteX11" fmla="*/ 117257 w 133963"/>
                  <a:gd name="connsiteY11" fmla="*/ 69257 h 87771"/>
                  <a:gd name="connsiteX12" fmla="*/ 120343 w 133963"/>
                  <a:gd name="connsiteY12" fmla="*/ 53829 h 87771"/>
                  <a:gd name="connsiteX13" fmla="*/ 123429 w 133963"/>
                  <a:gd name="connsiteY13" fmla="*/ 44571 h 87771"/>
                  <a:gd name="connsiteX14" fmla="*/ 132686 w 133963"/>
                  <a:gd name="connsiteY14" fmla="*/ 47657 h 87771"/>
                  <a:gd name="connsiteX15" fmla="*/ 129600 w 133963"/>
                  <a:gd name="connsiteY15" fmla="*/ 75428 h 87771"/>
                  <a:gd name="connsiteX16" fmla="*/ 104914 w 133963"/>
                  <a:gd name="connsiteY16" fmla="*/ 87772 h 87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3963" h="87771">
                    <a:moveTo>
                      <a:pt x="104914" y="87772"/>
                    </a:moveTo>
                    <a:cubicBezTo>
                      <a:pt x="104914" y="87772"/>
                      <a:pt x="104914" y="87772"/>
                      <a:pt x="104914" y="87772"/>
                    </a:cubicBezTo>
                    <a:cubicBezTo>
                      <a:pt x="89486" y="87772"/>
                      <a:pt x="46286" y="75428"/>
                      <a:pt x="15429" y="53829"/>
                    </a:cubicBezTo>
                    <a:cubicBezTo>
                      <a:pt x="6171" y="47657"/>
                      <a:pt x="0" y="38400"/>
                      <a:pt x="0" y="29143"/>
                    </a:cubicBezTo>
                    <a:cubicBezTo>
                      <a:pt x="0" y="13714"/>
                      <a:pt x="15429" y="1372"/>
                      <a:pt x="18514" y="1372"/>
                    </a:cubicBezTo>
                    <a:cubicBezTo>
                      <a:pt x="21600" y="-1714"/>
                      <a:pt x="24686" y="1372"/>
                      <a:pt x="27771" y="1372"/>
                    </a:cubicBezTo>
                    <a:cubicBezTo>
                      <a:pt x="30857" y="4457"/>
                      <a:pt x="27771" y="7543"/>
                      <a:pt x="27771" y="10629"/>
                    </a:cubicBezTo>
                    <a:cubicBezTo>
                      <a:pt x="24686" y="13714"/>
                      <a:pt x="15429" y="19886"/>
                      <a:pt x="15429" y="29143"/>
                    </a:cubicBezTo>
                    <a:cubicBezTo>
                      <a:pt x="15429" y="35315"/>
                      <a:pt x="18514" y="38400"/>
                      <a:pt x="24686" y="44571"/>
                    </a:cubicBezTo>
                    <a:cubicBezTo>
                      <a:pt x="55543" y="63086"/>
                      <a:pt x="95657" y="75428"/>
                      <a:pt x="108000" y="75428"/>
                    </a:cubicBezTo>
                    <a:cubicBezTo>
                      <a:pt x="108000" y="75428"/>
                      <a:pt x="108000" y="75428"/>
                      <a:pt x="108000" y="75428"/>
                    </a:cubicBezTo>
                    <a:cubicBezTo>
                      <a:pt x="111086" y="75428"/>
                      <a:pt x="114171" y="72343"/>
                      <a:pt x="117257" y="69257"/>
                    </a:cubicBezTo>
                    <a:cubicBezTo>
                      <a:pt x="120343" y="63086"/>
                      <a:pt x="120343" y="56914"/>
                      <a:pt x="120343" y="53829"/>
                    </a:cubicBezTo>
                    <a:cubicBezTo>
                      <a:pt x="117257" y="50743"/>
                      <a:pt x="120343" y="47657"/>
                      <a:pt x="123429" y="44571"/>
                    </a:cubicBezTo>
                    <a:cubicBezTo>
                      <a:pt x="126514" y="41486"/>
                      <a:pt x="129600" y="44571"/>
                      <a:pt x="132686" y="47657"/>
                    </a:cubicBezTo>
                    <a:cubicBezTo>
                      <a:pt x="135771" y="53829"/>
                      <a:pt x="132686" y="66172"/>
                      <a:pt x="129600" y="75428"/>
                    </a:cubicBezTo>
                    <a:cubicBezTo>
                      <a:pt x="120343" y="84686"/>
                      <a:pt x="114171" y="87772"/>
                      <a:pt x="104914" y="8777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7" name="图形 1">
              <a:extLst>
                <a:ext uri="{FF2B5EF4-FFF2-40B4-BE49-F238E27FC236}">
                  <a16:creationId xmlns:a16="http://schemas.microsoft.com/office/drawing/2014/main" id="{388F4899-1AFB-4E89-AA8C-442B68134C4D}"/>
                </a:ext>
              </a:extLst>
            </p:cNvPr>
            <p:cNvGrpSpPr/>
            <p:nvPr/>
          </p:nvGrpSpPr>
          <p:grpSpPr>
            <a:xfrm>
              <a:off x="4746272" y="9313978"/>
              <a:ext cx="143471" cy="103803"/>
              <a:chOff x="4746272" y="9313978"/>
              <a:chExt cx="143471" cy="103803"/>
            </a:xfrm>
          </p:grpSpPr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AF2EC355-06F8-49C9-9920-AC2DC7F2A3CA}"/>
                  </a:ext>
                </a:extLst>
              </p:cNvPr>
              <p:cNvSpPr/>
              <p:nvPr/>
            </p:nvSpPr>
            <p:spPr>
              <a:xfrm>
                <a:off x="4746272" y="9314953"/>
                <a:ext cx="130865" cy="93975"/>
              </a:xfrm>
              <a:custGeom>
                <a:avLst/>
                <a:gdLst>
                  <a:gd name="connsiteX0" fmla="*/ 121725 w 130865"/>
                  <a:gd name="connsiteY0" fmla="*/ 25686 h 93975"/>
                  <a:gd name="connsiteX1" fmla="*/ 29153 w 130865"/>
                  <a:gd name="connsiteY1" fmla="*/ 4086 h 93975"/>
                  <a:gd name="connsiteX2" fmla="*/ 1382 w 130865"/>
                  <a:gd name="connsiteY2" fmla="*/ 65800 h 93975"/>
                  <a:gd name="connsiteX3" fmla="*/ 53839 w 130865"/>
                  <a:gd name="connsiteY3" fmla="*/ 50371 h 93975"/>
                  <a:gd name="connsiteX4" fmla="*/ 103211 w 130865"/>
                  <a:gd name="connsiteY4" fmla="*/ 75057 h 93975"/>
                  <a:gd name="connsiteX5" fmla="*/ 118639 w 130865"/>
                  <a:gd name="connsiteY5" fmla="*/ 93572 h 93975"/>
                  <a:gd name="connsiteX6" fmla="*/ 121725 w 130865"/>
                  <a:gd name="connsiteY6" fmla="*/ 25686 h 93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865" h="93975">
                    <a:moveTo>
                      <a:pt x="121725" y="25686"/>
                    </a:moveTo>
                    <a:cubicBezTo>
                      <a:pt x="103211" y="1000"/>
                      <a:pt x="53839" y="-5171"/>
                      <a:pt x="29153" y="4086"/>
                    </a:cubicBezTo>
                    <a:cubicBezTo>
                      <a:pt x="10639" y="10258"/>
                      <a:pt x="-4789" y="68886"/>
                      <a:pt x="1382" y="65800"/>
                    </a:cubicBezTo>
                    <a:cubicBezTo>
                      <a:pt x="13725" y="62715"/>
                      <a:pt x="41496" y="50371"/>
                      <a:pt x="53839" y="50371"/>
                    </a:cubicBezTo>
                    <a:cubicBezTo>
                      <a:pt x="75439" y="50371"/>
                      <a:pt x="87782" y="59629"/>
                      <a:pt x="103211" y="75057"/>
                    </a:cubicBezTo>
                    <a:cubicBezTo>
                      <a:pt x="109382" y="81229"/>
                      <a:pt x="109382" y="96657"/>
                      <a:pt x="118639" y="93572"/>
                    </a:cubicBezTo>
                    <a:cubicBezTo>
                      <a:pt x="140239" y="90486"/>
                      <a:pt x="127896" y="38029"/>
                      <a:pt x="121725" y="2568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7D1B5415-50B5-480C-AE00-8FABDA6A738D}"/>
                  </a:ext>
                </a:extLst>
              </p:cNvPr>
              <p:cNvSpPr/>
              <p:nvPr/>
            </p:nvSpPr>
            <p:spPr>
              <a:xfrm>
                <a:off x="4766169" y="9313978"/>
                <a:ext cx="123574" cy="103803"/>
              </a:xfrm>
              <a:custGeom>
                <a:avLst/>
                <a:gdLst>
                  <a:gd name="connsiteX0" fmla="*/ 98743 w 123574"/>
                  <a:gd name="connsiteY0" fmla="*/ 103804 h 103803"/>
                  <a:gd name="connsiteX1" fmla="*/ 98743 w 123574"/>
                  <a:gd name="connsiteY1" fmla="*/ 103804 h 103803"/>
                  <a:gd name="connsiteX2" fmla="*/ 77143 w 123574"/>
                  <a:gd name="connsiteY2" fmla="*/ 85289 h 103803"/>
                  <a:gd name="connsiteX3" fmla="*/ 37028 w 123574"/>
                  <a:gd name="connsiteY3" fmla="*/ 57518 h 103803"/>
                  <a:gd name="connsiteX4" fmla="*/ 6171 w 123574"/>
                  <a:gd name="connsiteY4" fmla="*/ 88375 h 103803"/>
                  <a:gd name="connsiteX5" fmla="*/ 0 w 123574"/>
                  <a:gd name="connsiteY5" fmla="*/ 85289 h 103803"/>
                  <a:gd name="connsiteX6" fmla="*/ 3086 w 123574"/>
                  <a:gd name="connsiteY6" fmla="*/ 79118 h 103803"/>
                  <a:gd name="connsiteX7" fmla="*/ 27771 w 123574"/>
                  <a:gd name="connsiteY7" fmla="*/ 51346 h 103803"/>
                  <a:gd name="connsiteX8" fmla="*/ 33943 w 123574"/>
                  <a:gd name="connsiteY8" fmla="*/ 48261 h 103803"/>
                  <a:gd name="connsiteX9" fmla="*/ 37028 w 123574"/>
                  <a:gd name="connsiteY9" fmla="*/ 48261 h 103803"/>
                  <a:gd name="connsiteX10" fmla="*/ 89486 w 123574"/>
                  <a:gd name="connsiteY10" fmla="*/ 82203 h 103803"/>
                  <a:gd name="connsiteX11" fmla="*/ 101828 w 123574"/>
                  <a:gd name="connsiteY11" fmla="*/ 94546 h 103803"/>
                  <a:gd name="connsiteX12" fmla="*/ 104914 w 123574"/>
                  <a:gd name="connsiteY12" fmla="*/ 91460 h 103803"/>
                  <a:gd name="connsiteX13" fmla="*/ 98743 w 123574"/>
                  <a:gd name="connsiteY13" fmla="*/ 32832 h 103803"/>
                  <a:gd name="connsiteX14" fmla="*/ 12343 w 123574"/>
                  <a:gd name="connsiteY14" fmla="*/ 14318 h 103803"/>
                  <a:gd name="connsiteX15" fmla="*/ 6171 w 123574"/>
                  <a:gd name="connsiteY15" fmla="*/ 8146 h 103803"/>
                  <a:gd name="connsiteX16" fmla="*/ 12343 w 123574"/>
                  <a:gd name="connsiteY16" fmla="*/ 1975 h 103803"/>
                  <a:gd name="connsiteX17" fmla="*/ 111086 w 123574"/>
                  <a:gd name="connsiteY17" fmla="*/ 26661 h 103803"/>
                  <a:gd name="connsiteX18" fmla="*/ 117257 w 123574"/>
                  <a:gd name="connsiteY18" fmla="*/ 97632 h 103803"/>
                  <a:gd name="connsiteX19" fmla="*/ 98743 w 123574"/>
                  <a:gd name="connsiteY19" fmla="*/ 103804 h 103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3574" h="103803">
                    <a:moveTo>
                      <a:pt x="98743" y="103804"/>
                    </a:moveTo>
                    <a:cubicBezTo>
                      <a:pt x="98743" y="103804"/>
                      <a:pt x="98743" y="103804"/>
                      <a:pt x="98743" y="103804"/>
                    </a:cubicBezTo>
                    <a:cubicBezTo>
                      <a:pt x="89486" y="103804"/>
                      <a:pt x="83314" y="94546"/>
                      <a:pt x="77143" y="85289"/>
                    </a:cubicBezTo>
                    <a:cubicBezTo>
                      <a:pt x="67886" y="72946"/>
                      <a:pt x="58629" y="57518"/>
                      <a:pt x="37028" y="57518"/>
                    </a:cubicBezTo>
                    <a:cubicBezTo>
                      <a:pt x="33943" y="66775"/>
                      <a:pt x="21600" y="82203"/>
                      <a:pt x="6171" y="88375"/>
                    </a:cubicBezTo>
                    <a:cubicBezTo>
                      <a:pt x="3086" y="88375"/>
                      <a:pt x="0" y="88375"/>
                      <a:pt x="0" y="85289"/>
                    </a:cubicBezTo>
                    <a:cubicBezTo>
                      <a:pt x="0" y="82203"/>
                      <a:pt x="0" y="79118"/>
                      <a:pt x="3086" y="79118"/>
                    </a:cubicBezTo>
                    <a:cubicBezTo>
                      <a:pt x="15429" y="76032"/>
                      <a:pt x="24686" y="57518"/>
                      <a:pt x="27771" y="51346"/>
                    </a:cubicBezTo>
                    <a:cubicBezTo>
                      <a:pt x="27771" y="48261"/>
                      <a:pt x="30857" y="48261"/>
                      <a:pt x="33943" y="48261"/>
                    </a:cubicBezTo>
                    <a:cubicBezTo>
                      <a:pt x="33943" y="48261"/>
                      <a:pt x="33943" y="48261"/>
                      <a:pt x="37028" y="48261"/>
                    </a:cubicBezTo>
                    <a:cubicBezTo>
                      <a:pt x="64800" y="48261"/>
                      <a:pt x="80229" y="66775"/>
                      <a:pt x="89486" y="82203"/>
                    </a:cubicBezTo>
                    <a:cubicBezTo>
                      <a:pt x="92571" y="88375"/>
                      <a:pt x="98743" y="94546"/>
                      <a:pt x="101828" y="94546"/>
                    </a:cubicBezTo>
                    <a:cubicBezTo>
                      <a:pt x="101828" y="94546"/>
                      <a:pt x="104914" y="94546"/>
                      <a:pt x="104914" y="91460"/>
                    </a:cubicBezTo>
                    <a:cubicBezTo>
                      <a:pt x="111086" y="82203"/>
                      <a:pt x="111086" y="57518"/>
                      <a:pt x="98743" y="32832"/>
                    </a:cubicBezTo>
                    <a:cubicBezTo>
                      <a:pt x="86400" y="8146"/>
                      <a:pt x="30857" y="11232"/>
                      <a:pt x="12343" y="14318"/>
                    </a:cubicBezTo>
                    <a:cubicBezTo>
                      <a:pt x="9257" y="14318"/>
                      <a:pt x="6171" y="11232"/>
                      <a:pt x="6171" y="8146"/>
                    </a:cubicBezTo>
                    <a:cubicBezTo>
                      <a:pt x="6171" y="5060"/>
                      <a:pt x="9257" y="1975"/>
                      <a:pt x="12343" y="1975"/>
                    </a:cubicBezTo>
                    <a:cubicBezTo>
                      <a:pt x="15429" y="1975"/>
                      <a:pt x="89486" y="-10368"/>
                      <a:pt x="111086" y="26661"/>
                    </a:cubicBezTo>
                    <a:cubicBezTo>
                      <a:pt x="126514" y="54432"/>
                      <a:pt x="126514" y="85289"/>
                      <a:pt x="117257" y="97632"/>
                    </a:cubicBezTo>
                    <a:cubicBezTo>
                      <a:pt x="111086" y="100718"/>
                      <a:pt x="104914" y="103804"/>
                      <a:pt x="98743" y="10380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8" name="图形 1">
              <a:extLst>
                <a:ext uri="{FF2B5EF4-FFF2-40B4-BE49-F238E27FC236}">
                  <a16:creationId xmlns:a16="http://schemas.microsoft.com/office/drawing/2014/main" id="{B3A520CF-C1DE-4A69-B0E7-7A3045942AF7}"/>
                </a:ext>
              </a:extLst>
            </p:cNvPr>
            <p:cNvGrpSpPr/>
            <p:nvPr/>
          </p:nvGrpSpPr>
          <p:grpSpPr>
            <a:xfrm>
              <a:off x="3896289" y="9459957"/>
              <a:ext cx="903050" cy="1615086"/>
              <a:chOff x="3896289" y="9459957"/>
              <a:chExt cx="903050" cy="1615086"/>
            </a:xfrm>
          </p:grpSpPr>
          <p:grpSp>
            <p:nvGrpSpPr>
              <p:cNvPr id="55" name="图形 1">
                <a:extLst>
                  <a:ext uri="{FF2B5EF4-FFF2-40B4-BE49-F238E27FC236}">
                    <a16:creationId xmlns:a16="http://schemas.microsoft.com/office/drawing/2014/main" id="{4B8601C4-4127-4677-A850-9E8253E6683F}"/>
                  </a:ext>
                </a:extLst>
              </p:cNvPr>
              <p:cNvGrpSpPr/>
              <p:nvPr/>
            </p:nvGrpSpPr>
            <p:grpSpPr>
              <a:xfrm>
                <a:off x="3896289" y="9459957"/>
                <a:ext cx="903050" cy="1615086"/>
                <a:chOff x="3896289" y="9459957"/>
                <a:chExt cx="903050" cy="1615086"/>
              </a:xfrm>
            </p:grpSpPr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A5533805-9BD8-438C-819E-A6BC40527BD2}"/>
                    </a:ext>
                  </a:extLst>
                </p:cNvPr>
                <p:cNvSpPr/>
                <p:nvPr/>
              </p:nvSpPr>
              <p:spPr>
                <a:xfrm>
                  <a:off x="3896289" y="9459957"/>
                  <a:ext cx="901436" cy="1615086"/>
                </a:xfrm>
                <a:custGeom>
                  <a:avLst/>
                  <a:gdLst>
                    <a:gd name="connsiteX0" fmla="*/ 888394 w 901436"/>
                    <a:gd name="connsiteY0" fmla="*/ 522510 h 1615086"/>
                    <a:gd name="connsiteX1" fmla="*/ 888394 w 901436"/>
                    <a:gd name="connsiteY1" fmla="*/ 550282 h 1615086"/>
                    <a:gd name="connsiteX2" fmla="*/ 888394 w 901436"/>
                    <a:gd name="connsiteY2" fmla="*/ 550282 h 1615086"/>
                    <a:gd name="connsiteX3" fmla="*/ 888394 w 901436"/>
                    <a:gd name="connsiteY3" fmla="*/ 553367 h 1615086"/>
                    <a:gd name="connsiteX4" fmla="*/ 888394 w 901436"/>
                    <a:gd name="connsiteY4" fmla="*/ 618168 h 1615086"/>
                    <a:gd name="connsiteX5" fmla="*/ 900737 w 901436"/>
                    <a:gd name="connsiteY5" fmla="*/ 1003882 h 1615086"/>
                    <a:gd name="connsiteX6" fmla="*/ 900737 w 901436"/>
                    <a:gd name="connsiteY6" fmla="*/ 1164339 h 1615086"/>
                    <a:gd name="connsiteX7" fmla="*/ 160165 w 901436"/>
                    <a:gd name="connsiteY7" fmla="*/ 1364911 h 1615086"/>
                    <a:gd name="connsiteX8" fmla="*/ 132394 w 901436"/>
                    <a:gd name="connsiteY8" fmla="*/ 760111 h 1615086"/>
                    <a:gd name="connsiteX9" fmla="*/ 61422 w 901436"/>
                    <a:gd name="connsiteY9" fmla="*/ 584225 h 1615086"/>
                    <a:gd name="connsiteX10" fmla="*/ 27480 w 901436"/>
                    <a:gd name="connsiteY10" fmla="*/ 541025 h 1615086"/>
                    <a:gd name="connsiteX11" fmla="*/ 27480 w 901436"/>
                    <a:gd name="connsiteY11" fmla="*/ 541025 h 1615086"/>
                    <a:gd name="connsiteX12" fmla="*/ 8965 w 901436"/>
                    <a:gd name="connsiteY12" fmla="*/ 485482 h 1615086"/>
                    <a:gd name="connsiteX13" fmla="*/ 83022 w 901436"/>
                    <a:gd name="connsiteY13" fmla="*/ 78168 h 1615086"/>
                    <a:gd name="connsiteX14" fmla="*/ 780394 w 901436"/>
                    <a:gd name="connsiteY14" fmla="*/ 371310 h 1615086"/>
                    <a:gd name="connsiteX15" fmla="*/ 888394 w 901436"/>
                    <a:gd name="connsiteY15" fmla="*/ 522510 h 16150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901436" h="1615086">
                      <a:moveTo>
                        <a:pt x="888394" y="522510"/>
                      </a:moveTo>
                      <a:cubicBezTo>
                        <a:pt x="888394" y="528682"/>
                        <a:pt x="888394" y="537939"/>
                        <a:pt x="888394" y="550282"/>
                      </a:cubicBezTo>
                      <a:cubicBezTo>
                        <a:pt x="888394" y="550282"/>
                        <a:pt x="888394" y="550282"/>
                        <a:pt x="888394" y="550282"/>
                      </a:cubicBezTo>
                      <a:cubicBezTo>
                        <a:pt x="888394" y="550282"/>
                        <a:pt x="888394" y="550282"/>
                        <a:pt x="888394" y="553367"/>
                      </a:cubicBezTo>
                      <a:lnTo>
                        <a:pt x="888394" y="618168"/>
                      </a:lnTo>
                      <a:cubicBezTo>
                        <a:pt x="891480" y="738510"/>
                        <a:pt x="894565" y="923653"/>
                        <a:pt x="900737" y="1003882"/>
                      </a:cubicBezTo>
                      <a:cubicBezTo>
                        <a:pt x="900737" y="1028567"/>
                        <a:pt x="897651" y="1090282"/>
                        <a:pt x="900737" y="1164339"/>
                      </a:cubicBezTo>
                      <a:cubicBezTo>
                        <a:pt x="925422" y="1707424"/>
                        <a:pt x="289765" y="1741367"/>
                        <a:pt x="160165" y="1364911"/>
                      </a:cubicBezTo>
                      <a:cubicBezTo>
                        <a:pt x="98451" y="1192111"/>
                        <a:pt x="141651" y="800225"/>
                        <a:pt x="132394" y="760111"/>
                      </a:cubicBezTo>
                      <a:cubicBezTo>
                        <a:pt x="116965" y="679882"/>
                        <a:pt x="86108" y="621254"/>
                        <a:pt x="61422" y="584225"/>
                      </a:cubicBezTo>
                      <a:cubicBezTo>
                        <a:pt x="45994" y="571882"/>
                        <a:pt x="36737" y="556453"/>
                        <a:pt x="27480" y="541025"/>
                      </a:cubicBezTo>
                      <a:cubicBezTo>
                        <a:pt x="27480" y="541025"/>
                        <a:pt x="27480" y="541025"/>
                        <a:pt x="27480" y="541025"/>
                      </a:cubicBezTo>
                      <a:cubicBezTo>
                        <a:pt x="18222" y="522510"/>
                        <a:pt x="12051" y="507082"/>
                        <a:pt x="8965" y="485482"/>
                      </a:cubicBezTo>
                      <a:cubicBezTo>
                        <a:pt x="-18806" y="312682"/>
                        <a:pt x="21308" y="164568"/>
                        <a:pt x="83022" y="78168"/>
                      </a:cubicBezTo>
                      <a:cubicBezTo>
                        <a:pt x="268165" y="-184118"/>
                        <a:pt x="493422" y="291082"/>
                        <a:pt x="780394" y="371310"/>
                      </a:cubicBezTo>
                      <a:cubicBezTo>
                        <a:pt x="848279" y="392911"/>
                        <a:pt x="891480" y="457710"/>
                        <a:pt x="888394" y="52251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847FBBF8-D719-4F5F-B737-0087EE0DB2A6}"/>
                    </a:ext>
                  </a:extLst>
                </p:cNvPr>
                <p:cNvSpPr/>
                <p:nvPr/>
              </p:nvSpPr>
              <p:spPr>
                <a:xfrm>
                  <a:off x="3965151" y="9521885"/>
                  <a:ext cx="744266" cy="592394"/>
                </a:xfrm>
                <a:custGeom>
                  <a:avLst/>
                  <a:gdLst>
                    <a:gd name="connsiteX0" fmla="*/ 103646 w 744266"/>
                    <a:gd name="connsiteY0" fmla="*/ 37839 h 592394"/>
                    <a:gd name="connsiteX1" fmla="*/ 4903 w 744266"/>
                    <a:gd name="connsiteY1" fmla="*/ 405039 h 592394"/>
                    <a:gd name="connsiteX2" fmla="*/ 541818 w 744266"/>
                    <a:gd name="connsiteY2" fmla="*/ 587096 h 592394"/>
                    <a:gd name="connsiteX3" fmla="*/ 652903 w 744266"/>
                    <a:gd name="connsiteY3" fmla="*/ 309382 h 592394"/>
                    <a:gd name="connsiteX4" fmla="*/ 103646 w 744266"/>
                    <a:gd name="connsiteY4" fmla="*/ 37839 h 5923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4266" h="592394">
                      <a:moveTo>
                        <a:pt x="103646" y="37839"/>
                      </a:moveTo>
                      <a:cubicBezTo>
                        <a:pt x="54275" y="108810"/>
                        <a:pt x="-19782" y="263096"/>
                        <a:pt x="4903" y="405039"/>
                      </a:cubicBezTo>
                      <a:cubicBezTo>
                        <a:pt x="26503" y="550067"/>
                        <a:pt x="282618" y="611782"/>
                        <a:pt x="541818" y="587096"/>
                      </a:cubicBezTo>
                      <a:cubicBezTo>
                        <a:pt x="797932" y="562411"/>
                        <a:pt x="782503" y="346411"/>
                        <a:pt x="652903" y="309382"/>
                      </a:cubicBezTo>
                      <a:cubicBezTo>
                        <a:pt x="375189" y="232239"/>
                        <a:pt x="211646" y="-113361"/>
                        <a:pt x="103646" y="37839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64" name="图形 1">
                  <a:extLst>
                    <a:ext uri="{FF2B5EF4-FFF2-40B4-BE49-F238E27FC236}">
                      <a16:creationId xmlns:a16="http://schemas.microsoft.com/office/drawing/2014/main" id="{FA4C6D61-27FD-417F-ABCA-5F04F1F8650B}"/>
                    </a:ext>
                  </a:extLst>
                </p:cNvPr>
                <p:cNvGrpSpPr/>
                <p:nvPr/>
              </p:nvGrpSpPr>
              <p:grpSpPr>
                <a:xfrm>
                  <a:off x="4202065" y="10328068"/>
                  <a:ext cx="446846" cy="439449"/>
                  <a:chOff x="4202065" y="10328068"/>
                  <a:chExt cx="446846" cy="439449"/>
                </a:xfrm>
                <a:solidFill>
                  <a:srgbClr val="F1DDBA"/>
                </a:solidFill>
              </p:grpSpPr>
              <p:sp>
                <p:nvSpPr>
                  <p:cNvPr id="67" name="任意多边形: 形状 66">
                    <a:extLst>
                      <a:ext uri="{FF2B5EF4-FFF2-40B4-BE49-F238E27FC236}">
                        <a16:creationId xmlns:a16="http://schemas.microsoft.com/office/drawing/2014/main" id="{FCF192DB-8FB2-447C-A0D4-9F826E6B7370}"/>
                      </a:ext>
                    </a:extLst>
                  </p:cNvPr>
                  <p:cNvSpPr/>
                  <p:nvPr/>
                </p:nvSpPr>
                <p:spPr>
                  <a:xfrm>
                    <a:off x="4202065" y="10445324"/>
                    <a:ext cx="181475" cy="302400"/>
                  </a:xfrm>
                  <a:custGeom>
                    <a:avLst/>
                    <a:gdLst>
                      <a:gd name="connsiteX0" fmla="*/ 150618 w 181475"/>
                      <a:gd name="connsiteY0" fmla="*/ 77143 h 302400"/>
                      <a:gd name="connsiteX1" fmla="*/ 175304 w 181475"/>
                      <a:gd name="connsiteY1" fmla="*/ 89486 h 302400"/>
                      <a:gd name="connsiteX2" fmla="*/ 181475 w 181475"/>
                      <a:gd name="connsiteY2" fmla="*/ 83315 h 302400"/>
                      <a:gd name="connsiteX3" fmla="*/ 153704 w 181475"/>
                      <a:gd name="connsiteY3" fmla="*/ 3086 h 302400"/>
                      <a:gd name="connsiteX4" fmla="*/ 147532 w 181475"/>
                      <a:gd name="connsiteY4" fmla="*/ 0 h 302400"/>
                      <a:gd name="connsiteX5" fmla="*/ 107418 w 181475"/>
                      <a:gd name="connsiteY5" fmla="*/ 15429 h 302400"/>
                      <a:gd name="connsiteX6" fmla="*/ 104332 w 181475"/>
                      <a:gd name="connsiteY6" fmla="*/ 12343 h 302400"/>
                      <a:gd name="connsiteX7" fmla="*/ 101247 w 181475"/>
                      <a:gd name="connsiteY7" fmla="*/ 15429 h 302400"/>
                      <a:gd name="connsiteX8" fmla="*/ 67304 w 181475"/>
                      <a:gd name="connsiteY8" fmla="*/ 27771 h 302400"/>
                      <a:gd name="connsiteX9" fmla="*/ 67304 w 181475"/>
                      <a:gd name="connsiteY9" fmla="*/ 37029 h 302400"/>
                      <a:gd name="connsiteX10" fmla="*/ 88904 w 181475"/>
                      <a:gd name="connsiteY10" fmla="*/ 46286 h 302400"/>
                      <a:gd name="connsiteX11" fmla="*/ 5589 w 181475"/>
                      <a:gd name="connsiteY11" fmla="*/ 222172 h 302400"/>
                      <a:gd name="connsiteX12" fmla="*/ 8675 w 181475"/>
                      <a:gd name="connsiteY12" fmla="*/ 277714 h 302400"/>
                      <a:gd name="connsiteX13" fmla="*/ 58047 w 181475"/>
                      <a:gd name="connsiteY13" fmla="*/ 302401 h 302400"/>
                      <a:gd name="connsiteX14" fmla="*/ 101247 w 181475"/>
                      <a:gd name="connsiteY14" fmla="*/ 299315 h 302400"/>
                      <a:gd name="connsiteX15" fmla="*/ 95075 w 181475"/>
                      <a:gd name="connsiteY15" fmla="*/ 231429 h 302400"/>
                      <a:gd name="connsiteX16" fmla="*/ 73475 w 181475"/>
                      <a:gd name="connsiteY16" fmla="*/ 231429 h 302400"/>
                      <a:gd name="connsiteX17" fmla="*/ 150618 w 181475"/>
                      <a:gd name="connsiteY17" fmla="*/ 77143 h 3024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81475" h="302400">
                        <a:moveTo>
                          <a:pt x="150618" y="77143"/>
                        </a:moveTo>
                        <a:lnTo>
                          <a:pt x="175304" y="89486"/>
                        </a:lnTo>
                        <a:cubicBezTo>
                          <a:pt x="178389" y="92571"/>
                          <a:pt x="181475" y="86401"/>
                          <a:pt x="181475" y="83315"/>
                        </a:cubicBezTo>
                        <a:lnTo>
                          <a:pt x="153704" y="3086"/>
                        </a:lnTo>
                        <a:cubicBezTo>
                          <a:pt x="153704" y="0"/>
                          <a:pt x="150618" y="0"/>
                          <a:pt x="147532" y="0"/>
                        </a:cubicBezTo>
                        <a:lnTo>
                          <a:pt x="107418" y="15429"/>
                        </a:lnTo>
                        <a:lnTo>
                          <a:pt x="104332" y="12343"/>
                        </a:lnTo>
                        <a:lnTo>
                          <a:pt x="101247" y="15429"/>
                        </a:lnTo>
                        <a:lnTo>
                          <a:pt x="67304" y="27771"/>
                        </a:lnTo>
                        <a:cubicBezTo>
                          <a:pt x="64218" y="27771"/>
                          <a:pt x="64218" y="33943"/>
                          <a:pt x="67304" y="37029"/>
                        </a:cubicBezTo>
                        <a:lnTo>
                          <a:pt x="88904" y="46286"/>
                        </a:lnTo>
                        <a:lnTo>
                          <a:pt x="5589" y="222172"/>
                        </a:lnTo>
                        <a:cubicBezTo>
                          <a:pt x="-3668" y="240686"/>
                          <a:pt x="-582" y="262286"/>
                          <a:pt x="8675" y="277714"/>
                        </a:cubicBezTo>
                        <a:cubicBezTo>
                          <a:pt x="21018" y="293143"/>
                          <a:pt x="39532" y="302401"/>
                          <a:pt x="58047" y="302401"/>
                        </a:cubicBezTo>
                        <a:lnTo>
                          <a:pt x="101247" y="299315"/>
                        </a:lnTo>
                        <a:lnTo>
                          <a:pt x="95075" y="231429"/>
                        </a:lnTo>
                        <a:lnTo>
                          <a:pt x="73475" y="231429"/>
                        </a:lnTo>
                        <a:lnTo>
                          <a:pt x="150618" y="77143"/>
                        </a:lnTo>
                        <a:close/>
                      </a:path>
                    </a:pathLst>
                  </a:custGeom>
                  <a:solidFill>
                    <a:srgbClr val="F1DDBA"/>
                  </a:solidFill>
                  <a:ln w="30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68" name="任意多边形: 形状 67">
                    <a:extLst>
                      <a:ext uri="{FF2B5EF4-FFF2-40B4-BE49-F238E27FC236}">
                        <a16:creationId xmlns:a16="http://schemas.microsoft.com/office/drawing/2014/main" id="{8968F10E-9E8B-44B5-A29B-89DCB4A9432E}"/>
                      </a:ext>
                    </a:extLst>
                  </p:cNvPr>
                  <p:cNvSpPr/>
                  <p:nvPr/>
                </p:nvSpPr>
                <p:spPr>
                  <a:xfrm>
                    <a:off x="4337254" y="10328068"/>
                    <a:ext cx="253028" cy="268456"/>
                  </a:xfrm>
                  <a:custGeom>
                    <a:avLst/>
                    <a:gdLst>
                      <a:gd name="connsiteX0" fmla="*/ 67886 w 253028"/>
                      <a:gd name="connsiteY0" fmla="*/ 86400 h 268456"/>
                      <a:gd name="connsiteX1" fmla="*/ 163543 w 253028"/>
                      <a:gd name="connsiteY1" fmla="*/ 225257 h 268456"/>
                      <a:gd name="connsiteX2" fmla="*/ 141943 w 253028"/>
                      <a:gd name="connsiteY2" fmla="*/ 237599 h 268456"/>
                      <a:gd name="connsiteX3" fmla="*/ 141943 w 253028"/>
                      <a:gd name="connsiteY3" fmla="*/ 246857 h 268456"/>
                      <a:gd name="connsiteX4" fmla="*/ 225257 w 253028"/>
                      <a:gd name="connsiteY4" fmla="*/ 268457 h 268456"/>
                      <a:gd name="connsiteX5" fmla="*/ 231429 w 253028"/>
                      <a:gd name="connsiteY5" fmla="*/ 265372 h 268456"/>
                      <a:gd name="connsiteX6" fmla="*/ 253028 w 253028"/>
                      <a:gd name="connsiteY6" fmla="*/ 182057 h 268456"/>
                      <a:gd name="connsiteX7" fmla="*/ 246857 w 253028"/>
                      <a:gd name="connsiteY7" fmla="*/ 175885 h 268456"/>
                      <a:gd name="connsiteX8" fmla="*/ 225257 w 253028"/>
                      <a:gd name="connsiteY8" fmla="*/ 188229 h 268456"/>
                      <a:gd name="connsiteX9" fmla="*/ 114171 w 253028"/>
                      <a:gd name="connsiteY9" fmla="*/ 24685 h 268456"/>
                      <a:gd name="connsiteX10" fmla="*/ 64800 w 253028"/>
                      <a:gd name="connsiteY10" fmla="*/ 0 h 268456"/>
                      <a:gd name="connsiteX11" fmla="*/ 18514 w 253028"/>
                      <a:gd name="connsiteY11" fmla="*/ 30857 h 268456"/>
                      <a:gd name="connsiteX12" fmla="*/ 0 w 253028"/>
                      <a:gd name="connsiteY12" fmla="*/ 67885 h 268456"/>
                      <a:gd name="connsiteX13" fmla="*/ 61714 w 253028"/>
                      <a:gd name="connsiteY13" fmla="*/ 95657 h 268456"/>
                      <a:gd name="connsiteX14" fmla="*/ 67886 w 253028"/>
                      <a:gd name="connsiteY14" fmla="*/ 86400 h 2684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53028" h="268456">
                        <a:moveTo>
                          <a:pt x="67886" y="86400"/>
                        </a:moveTo>
                        <a:lnTo>
                          <a:pt x="163543" y="225257"/>
                        </a:lnTo>
                        <a:lnTo>
                          <a:pt x="141943" y="237599"/>
                        </a:lnTo>
                        <a:cubicBezTo>
                          <a:pt x="138857" y="240685"/>
                          <a:pt x="138857" y="243771"/>
                          <a:pt x="141943" y="246857"/>
                        </a:cubicBezTo>
                        <a:lnTo>
                          <a:pt x="225257" y="268457"/>
                        </a:lnTo>
                        <a:cubicBezTo>
                          <a:pt x="228343" y="268457"/>
                          <a:pt x="231429" y="268457"/>
                          <a:pt x="231429" y="265372"/>
                        </a:cubicBezTo>
                        <a:lnTo>
                          <a:pt x="253028" y="182057"/>
                        </a:lnTo>
                        <a:cubicBezTo>
                          <a:pt x="253028" y="178971"/>
                          <a:pt x="249943" y="175885"/>
                          <a:pt x="246857" y="175885"/>
                        </a:cubicBezTo>
                        <a:lnTo>
                          <a:pt x="225257" y="188229"/>
                        </a:lnTo>
                        <a:lnTo>
                          <a:pt x="114171" y="24685"/>
                        </a:lnTo>
                        <a:cubicBezTo>
                          <a:pt x="101829" y="9257"/>
                          <a:pt x="83314" y="0"/>
                          <a:pt x="64800" y="0"/>
                        </a:cubicBezTo>
                        <a:cubicBezTo>
                          <a:pt x="46286" y="0"/>
                          <a:pt x="27771" y="12343"/>
                          <a:pt x="18514" y="30857"/>
                        </a:cubicBezTo>
                        <a:lnTo>
                          <a:pt x="0" y="67885"/>
                        </a:lnTo>
                        <a:lnTo>
                          <a:pt x="61714" y="95657"/>
                        </a:lnTo>
                        <a:lnTo>
                          <a:pt x="67886" y="86400"/>
                        </a:lnTo>
                        <a:close/>
                      </a:path>
                    </a:pathLst>
                  </a:custGeom>
                  <a:solidFill>
                    <a:srgbClr val="F1DDBA"/>
                  </a:solidFill>
                  <a:ln w="30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69" name="任意多边形: 形状 68">
                    <a:extLst>
                      <a:ext uri="{FF2B5EF4-FFF2-40B4-BE49-F238E27FC236}">
                        <a16:creationId xmlns:a16="http://schemas.microsoft.com/office/drawing/2014/main" id="{9CA97061-3CA9-47A9-953B-5BFB7CC8C896}"/>
                      </a:ext>
                    </a:extLst>
                  </p:cNvPr>
                  <p:cNvSpPr/>
                  <p:nvPr/>
                </p:nvSpPr>
                <p:spPr>
                  <a:xfrm>
                    <a:off x="4342054" y="10593439"/>
                    <a:ext cx="306857" cy="174077"/>
                  </a:xfrm>
                  <a:custGeom>
                    <a:avLst/>
                    <a:gdLst>
                      <a:gd name="connsiteX0" fmla="*/ 297600 w 306857"/>
                      <a:gd name="connsiteY0" fmla="*/ 43200 h 174077"/>
                      <a:gd name="connsiteX1" fmla="*/ 266743 w 306857"/>
                      <a:gd name="connsiteY1" fmla="*/ 0 h 174077"/>
                      <a:gd name="connsiteX2" fmla="*/ 211200 w 306857"/>
                      <a:gd name="connsiteY2" fmla="*/ 40114 h 174077"/>
                      <a:gd name="connsiteX3" fmla="*/ 226629 w 306857"/>
                      <a:gd name="connsiteY3" fmla="*/ 61714 h 174077"/>
                      <a:gd name="connsiteX4" fmla="*/ 69257 w 306857"/>
                      <a:gd name="connsiteY4" fmla="*/ 74057 h 174077"/>
                      <a:gd name="connsiteX5" fmla="*/ 66172 w 306857"/>
                      <a:gd name="connsiteY5" fmla="*/ 49371 h 174077"/>
                      <a:gd name="connsiteX6" fmla="*/ 56914 w 306857"/>
                      <a:gd name="connsiteY6" fmla="*/ 46286 h 174077"/>
                      <a:gd name="connsiteX7" fmla="*/ 1371 w 306857"/>
                      <a:gd name="connsiteY7" fmla="*/ 111085 h 174077"/>
                      <a:gd name="connsiteX8" fmla="*/ 1371 w 306857"/>
                      <a:gd name="connsiteY8" fmla="*/ 117257 h 174077"/>
                      <a:gd name="connsiteX9" fmla="*/ 66172 w 306857"/>
                      <a:gd name="connsiteY9" fmla="*/ 172799 h 174077"/>
                      <a:gd name="connsiteX10" fmla="*/ 72343 w 306857"/>
                      <a:gd name="connsiteY10" fmla="*/ 169714 h 174077"/>
                      <a:gd name="connsiteX11" fmla="*/ 69257 w 306857"/>
                      <a:gd name="connsiteY11" fmla="*/ 145028 h 174077"/>
                      <a:gd name="connsiteX12" fmla="*/ 251314 w 306857"/>
                      <a:gd name="connsiteY12" fmla="*/ 132685 h 174077"/>
                      <a:gd name="connsiteX13" fmla="*/ 297600 w 306857"/>
                      <a:gd name="connsiteY13" fmla="*/ 101828 h 174077"/>
                      <a:gd name="connsiteX14" fmla="*/ 297600 w 306857"/>
                      <a:gd name="connsiteY14" fmla="*/ 43200 h 1740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306857" h="174077">
                        <a:moveTo>
                          <a:pt x="297600" y="43200"/>
                        </a:moveTo>
                        <a:lnTo>
                          <a:pt x="266743" y="0"/>
                        </a:lnTo>
                        <a:lnTo>
                          <a:pt x="211200" y="40114"/>
                        </a:lnTo>
                        <a:lnTo>
                          <a:pt x="226629" y="61714"/>
                        </a:lnTo>
                        <a:lnTo>
                          <a:pt x="69257" y="74057"/>
                        </a:lnTo>
                        <a:lnTo>
                          <a:pt x="66172" y="49371"/>
                        </a:lnTo>
                        <a:cubicBezTo>
                          <a:pt x="66172" y="46286"/>
                          <a:pt x="60000" y="43200"/>
                          <a:pt x="56914" y="46286"/>
                        </a:cubicBezTo>
                        <a:lnTo>
                          <a:pt x="1371" y="111085"/>
                        </a:lnTo>
                        <a:cubicBezTo>
                          <a:pt x="-1714" y="114171"/>
                          <a:pt x="1371" y="117257"/>
                          <a:pt x="1371" y="117257"/>
                        </a:cubicBezTo>
                        <a:lnTo>
                          <a:pt x="66172" y="172799"/>
                        </a:lnTo>
                        <a:cubicBezTo>
                          <a:pt x="69257" y="175885"/>
                          <a:pt x="75429" y="172799"/>
                          <a:pt x="72343" y="169714"/>
                        </a:cubicBezTo>
                        <a:lnTo>
                          <a:pt x="69257" y="145028"/>
                        </a:lnTo>
                        <a:lnTo>
                          <a:pt x="251314" y="132685"/>
                        </a:lnTo>
                        <a:cubicBezTo>
                          <a:pt x="269829" y="132685"/>
                          <a:pt x="288343" y="120343"/>
                          <a:pt x="297600" y="101828"/>
                        </a:cubicBezTo>
                        <a:cubicBezTo>
                          <a:pt x="309943" y="80228"/>
                          <a:pt x="309943" y="58628"/>
                          <a:pt x="297600" y="43200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0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F315A6F7-DE47-4EC2-BC90-FD331FD4382B}"/>
                    </a:ext>
                  </a:extLst>
                </p:cNvPr>
                <p:cNvSpPr/>
                <p:nvPr/>
              </p:nvSpPr>
              <p:spPr>
                <a:xfrm>
                  <a:off x="3960797" y="10047267"/>
                  <a:ext cx="242873" cy="166979"/>
                </a:xfrm>
                <a:custGeom>
                  <a:avLst/>
                  <a:gdLst>
                    <a:gd name="connsiteX0" fmla="*/ 0 w 242873"/>
                    <a:gd name="connsiteY0" fmla="*/ 0 h 166979"/>
                    <a:gd name="connsiteX1" fmla="*/ 240686 w 242873"/>
                    <a:gd name="connsiteY1" fmla="*/ 111086 h 166979"/>
                    <a:gd name="connsiteX2" fmla="*/ 219086 w 242873"/>
                    <a:gd name="connsiteY2" fmla="*/ 166628 h 166979"/>
                    <a:gd name="connsiteX3" fmla="*/ 52457 w 242873"/>
                    <a:gd name="connsiteY3" fmla="*/ 95657 h 166979"/>
                    <a:gd name="connsiteX4" fmla="*/ 0 w 242873"/>
                    <a:gd name="connsiteY4" fmla="*/ 0 h 1669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2873" h="166979">
                      <a:moveTo>
                        <a:pt x="0" y="0"/>
                      </a:moveTo>
                      <a:cubicBezTo>
                        <a:pt x="0" y="0"/>
                        <a:pt x="123429" y="111086"/>
                        <a:pt x="240686" y="111086"/>
                      </a:cubicBezTo>
                      <a:cubicBezTo>
                        <a:pt x="240686" y="111086"/>
                        <a:pt x="253029" y="160458"/>
                        <a:pt x="219086" y="166628"/>
                      </a:cubicBezTo>
                      <a:cubicBezTo>
                        <a:pt x="185143" y="172800"/>
                        <a:pt x="52457" y="95657"/>
                        <a:pt x="52457" y="95657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C5EC5099-9BCC-4FF7-8A48-A7BE52172457}"/>
                    </a:ext>
                  </a:extLst>
                </p:cNvPr>
                <p:cNvSpPr/>
                <p:nvPr/>
              </p:nvSpPr>
              <p:spPr>
                <a:xfrm>
                  <a:off x="4679769" y="10011010"/>
                  <a:ext cx="119571" cy="616371"/>
                </a:xfrm>
                <a:custGeom>
                  <a:avLst/>
                  <a:gdLst>
                    <a:gd name="connsiteX0" fmla="*/ 104914 w 119571"/>
                    <a:gd name="connsiteY0" fmla="*/ 2314 h 616371"/>
                    <a:gd name="connsiteX1" fmla="*/ 0 w 119571"/>
                    <a:gd name="connsiteY1" fmla="*/ 125743 h 616371"/>
                    <a:gd name="connsiteX2" fmla="*/ 30857 w 119571"/>
                    <a:gd name="connsiteY2" fmla="*/ 144257 h 616371"/>
                    <a:gd name="connsiteX3" fmla="*/ 46286 w 119571"/>
                    <a:gd name="connsiteY3" fmla="*/ 131915 h 616371"/>
                    <a:gd name="connsiteX4" fmla="*/ 70972 w 119571"/>
                    <a:gd name="connsiteY4" fmla="*/ 357172 h 616371"/>
                    <a:gd name="connsiteX5" fmla="*/ 80229 w 119571"/>
                    <a:gd name="connsiteY5" fmla="*/ 545400 h 616371"/>
                    <a:gd name="connsiteX6" fmla="*/ 117257 w 119571"/>
                    <a:gd name="connsiteY6" fmla="*/ 616371 h 616371"/>
                    <a:gd name="connsiteX7" fmla="*/ 117257 w 119571"/>
                    <a:gd name="connsiteY7" fmla="*/ 455915 h 616371"/>
                    <a:gd name="connsiteX8" fmla="*/ 104914 w 119571"/>
                    <a:gd name="connsiteY8" fmla="*/ 70201 h 616371"/>
                    <a:gd name="connsiteX9" fmla="*/ 104914 w 119571"/>
                    <a:gd name="connsiteY9" fmla="*/ 2314 h 616371"/>
                    <a:gd name="connsiteX10" fmla="*/ 104914 w 119571"/>
                    <a:gd name="connsiteY10" fmla="*/ 2314 h 616371"/>
                    <a:gd name="connsiteX11" fmla="*/ 104914 w 119571"/>
                    <a:gd name="connsiteY11" fmla="*/ 2314 h 6163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19571" h="616371">
                      <a:moveTo>
                        <a:pt x="104914" y="2314"/>
                      </a:moveTo>
                      <a:cubicBezTo>
                        <a:pt x="101829" y="8486"/>
                        <a:pt x="67886" y="91800"/>
                        <a:pt x="0" y="125743"/>
                      </a:cubicBezTo>
                      <a:cubicBezTo>
                        <a:pt x="0" y="125743"/>
                        <a:pt x="9257" y="153514"/>
                        <a:pt x="30857" y="144257"/>
                      </a:cubicBezTo>
                      <a:cubicBezTo>
                        <a:pt x="33943" y="141172"/>
                        <a:pt x="40114" y="138086"/>
                        <a:pt x="46286" y="131915"/>
                      </a:cubicBezTo>
                      <a:cubicBezTo>
                        <a:pt x="61714" y="205972"/>
                        <a:pt x="74057" y="280029"/>
                        <a:pt x="70972" y="357172"/>
                      </a:cubicBezTo>
                      <a:cubicBezTo>
                        <a:pt x="67886" y="418886"/>
                        <a:pt x="58629" y="483686"/>
                        <a:pt x="80229" y="545400"/>
                      </a:cubicBezTo>
                      <a:cubicBezTo>
                        <a:pt x="89486" y="573172"/>
                        <a:pt x="101829" y="594772"/>
                        <a:pt x="117257" y="616371"/>
                      </a:cubicBezTo>
                      <a:cubicBezTo>
                        <a:pt x="120343" y="542314"/>
                        <a:pt x="120343" y="480600"/>
                        <a:pt x="117257" y="455915"/>
                      </a:cubicBezTo>
                      <a:cubicBezTo>
                        <a:pt x="111086" y="375686"/>
                        <a:pt x="108000" y="190543"/>
                        <a:pt x="104914" y="70201"/>
                      </a:cubicBezTo>
                      <a:lnTo>
                        <a:pt x="104914" y="2314"/>
                      </a:lnTo>
                      <a:lnTo>
                        <a:pt x="104914" y="2314"/>
                      </a:lnTo>
                      <a:cubicBezTo>
                        <a:pt x="104914" y="-771"/>
                        <a:pt x="104914" y="-771"/>
                        <a:pt x="104914" y="2314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56" name="图形 1">
                <a:extLst>
                  <a:ext uri="{FF2B5EF4-FFF2-40B4-BE49-F238E27FC236}">
                    <a16:creationId xmlns:a16="http://schemas.microsoft.com/office/drawing/2014/main" id="{42B694EA-A5A6-4640-BA47-6B9D686CBD21}"/>
                  </a:ext>
                </a:extLst>
              </p:cNvPr>
              <p:cNvGrpSpPr/>
              <p:nvPr/>
            </p:nvGrpSpPr>
            <p:grpSpPr>
              <a:xfrm>
                <a:off x="4048960" y="9901787"/>
                <a:ext cx="623169" cy="284803"/>
                <a:chOff x="4048960" y="9901787"/>
                <a:chExt cx="623169" cy="284803"/>
              </a:xfrm>
            </p:grpSpPr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89913517-4079-47BD-B54E-AA56B166C26A}"/>
                    </a:ext>
                  </a:extLst>
                </p:cNvPr>
                <p:cNvSpPr/>
                <p:nvPr/>
              </p:nvSpPr>
              <p:spPr>
                <a:xfrm>
                  <a:off x="4274218" y="9959536"/>
                  <a:ext cx="228197" cy="205454"/>
                </a:xfrm>
                <a:custGeom>
                  <a:avLst/>
                  <a:gdLst>
                    <a:gd name="connsiteX0" fmla="*/ 217322 w 228197"/>
                    <a:gd name="connsiteY0" fmla="*/ 29103 h 205454"/>
                    <a:gd name="connsiteX1" fmla="*/ 112408 w 228197"/>
                    <a:gd name="connsiteY1" fmla="*/ 1332 h 205454"/>
                    <a:gd name="connsiteX2" fmla="*/ 13665 w 228197"/>
                    <a:gd name="connsiteY2" fmla="*/ 44532 h 205454"/>
                    <a:gd name="connsiteX3" fmla="*/ 7494 w 228197"/>
                    <a:gd name="connsiteY3" fmla="*/ 96988 h 205454"/>
                    <a:gd name="connsiteX4" fmla="*/ 1322 w 228197"/>
                    <a:gd name="connsiteY4" fmla="*/ 103160 h 205454"/>
                    <a:gd name="connsiteX5" fmla="*/ 47608 w 228197"/>
                    <a:gd name="connsiteY5" fmla="*/ 183389 h 205454"/>
                    <a:gd name="connsiteX6" fmla="*/ 109322 w 228197"/>
                    <a:gd name="connsiteY6" fmla="*/ 204988 h 205454"/>
                    <a:gd name="connsiteX7" fmla="*/ 167951 w 228197"/>
                    <a:gd name="connsiteY7" fmla="*/ 171046 h 205454"/>
                    <a:gd name="connsiteX8" fmla="*/ 220408 w 228197"/>
                    <a:gd name="connsiteY8" fmla="*/ 143274 h 205454"/>
                    <a:gd name="connsiteX9" fmla="*/ 208065 w 228197"/>
                    <a:gd name="connsiteY9" fmla="*/ 66131 h 205454"/>
                    <a:gd name="connsiteX10" fmla="*/ 217322 w 228197"/>
                    <a:gd name="connsiteY10" fmla="*/ 29103 h 205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28197" h="205454">
                      <a:moveTo>
                        <a:pt x="217322" y="29103"/>
                      </a:moveTo>
                      <a:cubicBezTo>
                        <a:pt x="195723" y="-1754"/>
                        <a:pt x="143265" y="4417"/>
                        <a:pt x="112408" y="1332"/>
                      </a:cubicBezTo>
                      <a:cubicBezTo>
                        <a:pt x="75380" y="-4840"/>
                        <a:pt x="35265" y="10588"/>
                        <a:pt x="13665" y="44532"/>
                      </a:cubicBezTo>
                      <a:cubicBezTo>
                        <a:pt x="4408" y="59960"/>
                        <a:pt x="-1763" y="78475"/>
                        <a:pt x="7494" y="96988"/>
                      </a:cubicBezTo>
                      <a:cubicBezTo>
                        <a:pt x="4408" y="96988"/>
                        <a:pt x="4408" y="100074"/>
                        <a:pt x="1322" y="103160"/>
                      </a:cubicBezTo>
                      <a:cubicBezTo>
                        <a:pt x="-4849" y="130931"/>
                        <a:pt x="10580" y="189560"/>
                        <a:pt x="47608" y="183389"/>
                      </a:cubicBezTo>
                      <a:cubicBezTo>
                        <a:pt x="59951" y="201903"/>
                        <a:pt x="87722" y="201903"/>
                        <a:pt x="109322" y="204988"/>
                      </a:cubicBezTo>
                      <a:cubicBezTo>
                        <a:pt x="137094" y="208074"/>
                        <a:pt x="161780" y="195731"/>
                        <a:pt x="167951" y="171046"/>
                      </a:cubicBezTo>
                      <a:cubicBezTo>
                        <a:pt x="189551" y="174131"/>
                        <a:pt x="211151" y="161788"/>
                        <a:pt x="220408" y="143274"/>
                      </a:cubicBezTo>
                      <a:cubicBezTo>
                        <a:pt x="235837" y="115503"/>
                        <a:pt x="226580" y="87731"/>
                        <a:pt x="208065" y="66131"/>
                      </a:cubicBezTo>
                      <a:cubicBezTo>
                        <a:pt x="223494" y="56874"/>
                        <a:pt x="226580" y="41446"/>
                        <a:pt x="217322" y="29103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EDC9C33C-EA63-43C8-8943-BEA4E50F8EF5}"/>
                    </a:ext>
                  </a:extLst>
                </p:cNvPr>
                <p:cNvSpPr/>
                <p:nvPr/>
              </p:nvSpPr>
              <p:spPr>
                <a:xfrm>
                  <a:off x="4165594" y="9901787"/>
                  <a:ext cx="215029" cy="163029"/>
                </a:xfrm>
                <a:custGeom>
                  <a:avLst/>
                  <a:gdLst>
                    <a:gd name="connsiteX0" fmla="*/ 60575 w 215029"/>
                    <a:gd name="connsiteY0" fmla="*/ 151653 h 163029"/>
                    <a:gd name="connsiteX1" fmla="*/ 5032 w 215029"/>
                    <a:gd name="connsiteY1" fmla="*/ 15880 h 163029"/>
                    <a:gd name="connsiteX2" fmla="*/ 177832 w 215029"/>
                    <a:gd name="connsiteY2" fmla="*/ 31309 h 163029"/>
                    <a:gd name="connsiteX3" fmla="*/ 214860 w 215029"/>
                    <a:gd name="connsiteY3" fmla="*/ 136224 h 163029"/>
                    <a:gd name="connsiteX4" fmla="*/ 60575 w 215029"/>
                    <a:gd name="connsiteY4" fmla="*/ 151653 h 1630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029" h="163029">
                      <a:moveTo>
                        <a:pt x="60575" y="151653"/>
                      </a:moveTo>
                      <a:cubicBezTo>
                        <a:pt x="60575" y="151653"/>
                        <a:pt x="42060" y="59081"/>
                        <a:pt x="5032" y="15880"/>
                      </a:cubicBezTo>
                      <a:cubicBezTo>
                        <a:pt x="-35083" y="-27319"/>
                        <a:pt x="177832" y="31309"/>
                        <a:pt x="177832" y="31309"/>
                      </a:cubicBezTo>
                      <a:cubicBezTo>
                        <a:pt x="177832" y="31309"/>
                        <a:pt x="217946" y="93023"/>
                        <a:pt x="214860" y="136224"/>
                      </a:cubicBezTo>
                      <a:cubicBezTo>
                        <a:pt x="208689" y="185595"/>
                        <a:pt x="60575" y="151653"/>
                        <a:pt x="60575" y="151653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EF25FDF8-C2AE-4112-8365-EE9D5456857E}"/>
                    </a:ext>
                  </a:extLst>
                </p:cNvPr>
                <p:cNvSpPr/>
                <p:nvPr/>
              </p:nvSpPr>
              <p:spPr>
                <a:xfrm>
                  <a:off x="4382949" y="9922671"/>
                  <a:ext cx="138484" cy="128892"/>
                </a:xfrm>
                <a:custGeom>
                  <a:avLst/>
                  <a:gdLst>
                    <a:gd name="connsiteX0" fmla="*/ 591 w 138484"/>
                    <a:gd name="connsiteY0" fmla="*/ 62882 h 128892"/>
                    <a:gd name="connsiteX1" fmla="*/ 591 w 138484"/>
                    <a:gd name="connsiteY1" fmla="*/ 84482 h 128892"/>
                    <a:gd name="connsiteX2" fmla="*/ 28363 w 138484"/>
                    <a:gd name="connsiteY2" fmla="*/ 121510 h 128892"/>
                    <a:gd name="connsiteX3" fmla="*/ 53048 w 138484"/>
                    <a:gd name="connsiteY3" fmla="*/ 127682 h 128892"/>
                    <a:gd name="connsiteX4" fmla="*/ 90077 w 138484"/>
                    <a:gd name="connsiteY4" fmla="*/ 121510 h 128892"/>
                    <a:gd name="connsiteX5" fmla="*/ 124020 w 138484"/>
                    <a:gd name="connsiteY5" fmla="*/ 90653 h 128892"/>
                    <a:gd name="connsiteX6" fmla="*/ 133277 w 138484"/>
                    <a:gd name="connsiteY6" fmla="*/ 41281 h 128892"/>
                    <a:gd name="connsiteX7" fmla="*/ 120934 w 138484"/>
                    <a:gd name="connsiteY7" fmla="*/ 19682 h 128892"/>
                    <a:gd name="connsiteX8" fmla="*/ 68477 w 138484"/>
                    <a:gd name="connsiteY8" fmla="*/ 4253 h 128892"/>
                    <a:gd name="connsiteX9" fmla="*/ 22191 w 138484"/>
                    <a:gd name="connsiteY9" fmla="*/ 25853 h 128892"/>
                    <a:gd name="connsiteX10" fmla="*/ 591 w 138484"/>
                    <a:gd name="connsiteY10" fmla="*/ 62882 h 128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38484" h="128892">
                      <a:moveTo>
                        <a:pt x="591" y="62882"/>
                      </a:moveTo>
                      <a:lnTo>
                        <a:pt x="591" y="84482"/>
                      </a:lnTo>
                      <a:cubicBezTo>
                        <a:pt x="591" y="99911"/>
                        <a:pt x="12934" y="115339"/>
                        <a:pt x="28363" y="121510"/>
                      </a:cubicBezTo>
                      <a:lnTo>
                        <a:pt x="53048" y="127682"/>
                      </a:lnTo>
                      <a:cubicBezTo>
                        <a:pt x="65391" y="130768"/>
                        <a:pt x="80820" y="127682"/>
                        <a:pt x="90077" y="121510"/>
                      </a:cubicBezTo>
                      <a:lnTo>
                        <a:pt x="124020" y="90653"/>
                      </a:lnTo>
                      <a:cubicBezTo>
                        <a:pt x="139448" y="78310"/>
                        <a:pt x="142534" y="56710"/>
                        <a:pt x="133277" y="41281"/>
                      </a:cubicBezTo>
                      <a:lnTo>
                        <a:pt x="120934" y="19682"/>
                      </a:lnTo>
                      <a:cubicBezTo>
                        <a:pt x="111677" y="1167"/>
                        <a:pt x="90077" y="-5004"/>
                        <a:pt x="68477" y="4253"/>
                      </a:cubicBezTo>
                      <a:lnTo>
                        <a:pt x="22191" y="25853"/>
                      </a:lnTo>
                      <a:cubicBezTo>
                        <a:pt x="6763" y="32025"/>
                        <a:pt x="-2494" y="47453"/>
                        <a:pt x="591" y="62882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3E3EA3D0-B6F5-4D7D-A798-F7DFDE1CBA41}"/>
                    </a:ext>
                  </a:extLst>
                </p:cNvPr>
                <p:cNvSpPr/>
                <p:nvPr/>
              </p:nvSpPr>
              <p:spPr>
                <a:xfrm>
                  <a:off x="4048960" y="9981136"/>
                  <a:ext cx="228197" cy="205454"/>
                </a:xfrm>
                <a:custGeom>
                  <a:avLst/>
                  <a:gdLst>
                    <a:gd name="connsiteX0" fmla="*/ 217322 w 228197"/>
                    <a:gd name="connsiteY0" fmla="*/ 29103 h 205454"/>
                    <a:gd name="connsiteX1" fmla="*/ 112408 w 228197"/>
                    <a:gd name="connsiteY1" fmla="*/ 1331 h 205454"/>
                    <a:gd name="connsiteX2" fmla="*/ 13665 w 228197"/>
                    <a:gd name="connsiteY2" fmla="*/ 44531 h 205454"/>
                    <a:gd name="connsiteX3" fmla="*/ 7494 w 228197"/>
                    <a:gd name="connsiteY3" fmla="*/ 96989 h 205454"/>
                    <a:gd name="connsiteX4" fmla="*/ 1322 w 228197"/>
                    <a:gd name="connsiteY4" fmla="*/ 103161 h 205454"/>
                    <a:gd name="connsiteX5" fmla="*/ 47608 w 228197"/>
                    <a:gd name="connsiteY5" fmla="*/ 183388 h 205454"/>
                    <a:gd name="connsiteX6" fmla="*/ 109322 w 228197"/>
                    <a:gd name="connsiteY6" fmla="*/ 204989 h 205454"/>
                    <a:gd name="connsiteX7" fmla="*/ 167951 w 228197"/>
                    <a:gd name="connsiteY7" fmla="*/ 171046 h 205454"/>
                    <a:gd name="connsiteX8" fmla="*/ 220408 w 228197"/>
                    <a:gd name="connsiteY8" fmla="*/ 143274 h 205454"/>
                    <a:gd name="connsiteX9" fmla="*/ 208065 w 228197"/>
                    <a:gd name="connsiteY9" fmla="*/ 66132 h 205454"/>
                    <a:gd name="connsiteX10" fmla="*/ 217322 w 228197"/>
                    <a:gd name="connsiteY10" fmla="*/ 29103 h 205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28197" h="205454">
                      <a:moveTo>
                        <a:pt x="217322" y="29103"/>
                      </a:moveTo>
                      <a:cubicBezTo>
                        <a:pt x="195722" y="-1755"/>
                        <a:pt x="143265" y="4417"/>
                        <a:pt x="112408" y="1331"/>
                      </a:cubicBezTo>
                      <a:cubicBezTo>
                        <a:pt x="75380" y="-4839"/>
                        <a:pt x="35265" y="10589"/>
                        <a:pt x="13665" y="44531"/>
                      </a:cubicBezTo>
                      <a:cubicBezTo>
                        <a:pt x="4408" y="59960"/>
                        <a:pt x="-1763" y="78474"/>
                        <a:pt x="7494" y="96989"/>
                      </a:cubicBezTo>
                      <a:cubicBezTo>
                        <a:pt x="4408" y="96989"/>
                        <a:pt x="4408" y="100075"/>
                        <a:pt x="1322" y="103161"/>
                      </a:cubicBezTo>
                      <a:cubicBezTo>
                        <a:pt x="-4849" y="130932"/>
                        <a:pt x="10580" y="189560"/>
                        <a:pt x="47608" y="183388"/>
                      </a:cubicBezTo>
                      <a:cubicBezTo>
                        <a:pt x="59951" y="201903"/>
                        <a:pt x="87722" y="201903"/>
                        <a:pt x="109322" y="204989"/>
                      </a:cubicBezTo>
                      <a:cubicBezTo>
                        <a:pt x="137094" y="208075"/>
                        <a:pt x="161780" y="195732"/>
                        <a:pt x="167951" y="171046"/>
                      </a:cubicBezTo>
                      <a:cubicBezTo>
                        <a:pt x="189551" y="174132"/>
                        <a:pt x="211151" y="161789"/>
                        <a:pt x="220408" y="143274"/>
                      </a:cubicBezTo>
                      <a:cubicBezTo>
                        <a:pt x="235837" y="115503"/>
                        <a:pt x="226580" y="87732"/>
                        <a:pt x="208065" y="66132"/>
                      </a:cubicBezTo>
                      <a:cubicBezTo>
                        <a:pt x="223494" y="56875"/>
                        <a:pt x="226580" y="41446"/>
                        <a:pt x="217322" y="29103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B9FB0FE1-D522-483D-8E2D-9DD49400093A}"/>
                    </a:ext>
                  </a:extLst>
                </p:cNvPr>
                <p:cNvSpPr/>
                <p:nvPr/>
              </p:nvSpPr>
              <p:spPr>
                <a:xfrm>
                  <a:off x="4443932" y="9937936"/>
                  <a:ext cx="228197" cy="205455"/>
                </a:xfrm>
                <a:custGeom>
                  <a:avLst/>
                  <a:gdLst>
                    <a:gd name="connsiteX0" fmla="*/ 217322 w 228197"/>
                    <a:gd name="connsiteY0" fmla="*/ 29103 h 205455"/>
                    <a:gd name="connsiteX1" fmla="*/ 112408 w 228197"/>
                    <a:gd name="connsiteY1" fmla="*/ 1332 h 205455"/>
                    <a:gd name="connsiteX2" fmla="*/ 13665 w 228197"/>
                    <a:gd name="connsiteY2" fmla="*/ 44532 h 205455"/>
                    <a:gd name="connsiteX3" fmla="*/ 7494 w 228197"/>
                    <a:gd name="connsiteY3" fmla="*/ 96989 h 205455"/>
                    <a:gd name="connsiteX4" fmla="*/ 1322 w 228197"/>
                    <a:gd name="connsiteY4" fmla="*/ 103160 h 205455"/>
                    <a:gd name="connsiteX5" fmla="*/ 47608 w 228197"/>
                    <a:gd name="connsiteY5" fmla="*/ 183389 h 205455"/>
                    <a:gd name="connsiteX6" fmla="*/ 109322 w 228197"/>
                    <a:gd name="connsiteY6" fmla="*/ 204989 h 205455"/>
                    <a:gd name="connsiteX7" fmla="*/ 167951 w 228197"/>
                    <a:gd name="connsiteY7" fmla="*/ 171046 h 205455"/>
                    <a:gd name="connsiteX8" fmla="*/ 220408 w 228197"/>
                    <a:gd name="connsiteY8" fmla="*/ 143275 h 205455"/>
                    <a:gd name="connsiteX9" fmla="*/ 208065 w 228197"/>
                    <a:gd name="connsiteY9" fmla="*/ 66132 h 205455"/>
                    <a:gd name="connsiteX10" fmla="*/ 217322 w 228197"/>
                    <a:gd name="connsiteY10" fmla="*/ 29103 h 2054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28197" h="205455">
                      <a:moveTo>
                        <a:pt x="217322" y="29103"/>
                      </a:moveTo>
                      <a:cubicBezTo>
                        <a:pt x="195723" y="-1754"/>
                        <a:pt x="143265" y="4418"/>
                        <a:pt x="112408" y="1332"/>
                      </a:cubicBezTo>
                      <a:cubicBezTo>
                        <a:pt x="75380" y="-4840"/>
                        <a:pt x="35265" y="10588"/>
                        <a:pt x="13665" y="44532"/>
                      </a:cubicBezTo>
                      <a:cubicBezTo>
                        <a:pt x="4408" y="59960"/>
                        <a:pt x="-1763" y="78475"/>
                        <a:pt x="7494" y="96989"/>
                      </a:cubicBezTo>
                      <a:cubicBezTo>
                        <a:pt x="4408" y="96989"/>
                        <a:pt x="4408" y="100075"/>
                        <a:pt x="1322" y="103160"/>
                      </a:cubicBezTo>
                      <a:cubicBezTo>
                        <a:pt x="-4849" y="130932"/>
                        <a:pt x="10580" y="189560"/>
                        <a:pt x="47608" y="183389"/>
                      </a:cubicBezTo>
                      <a:cubicBezTo>
                        <a:pt x="59951" y="201903"/>
                        <a:pt x="87723" y="201903"/>
                        <a:pt x="109322" y="204989"/>
                      </a:cubicBezTo>
                      <a:cubicBezTo>
                        <a:pt x="137094" y="208075"/>
                        <a:pt x="161779" y="195731"/>
                        <a:pt x="167951" y="171046"/>
                      </a:cubicBezTo>
                      <a:cubicBezTo>
                        <a:pt x="189551" y="174132"/>
                        <a:pt x="211151" y="161789"/>
                        <a:pt x="220408" y="143275"/>
                      </a:cubicBezTo>
                      <a:cubicBezTo>
                        <a:pt x="235837" y="115504"/>
                        <a:pt x="226580" y="87731"/>
                        <a:pt x="208065" y="66132"/>
                      </a:cubicBezTo>
                      <a:cubicBezTo>
                        <a:pt x="223494" y="59960"/>
                        <a:pt x="226580" y="44532"/>
                        <a:pt x="217322" y="29103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49" name="图形 1">
              <a:extLst>
                <a:ext uri="{FF2B5EF4-FFF2-40B4-BE49-F238E27FC236}">
                  <a16:creationId xmlns:a16="http://schemas.microsoft.com/office/drawing/2014/main" id="{6B26998B-B899-46FA-9895-79EC5A20F4C8}"/>
                </a:ext>
              </a:extLst>
            </p:cNvPr>
            <p:cNvGrpSpPr/>
            <p:nvPr/>
          </p:nvGrpSpPr>
          <p:grpSpPr>
            <a:xfrm>
              <a:off x="3868087" y="9380655"/>
              <a:ext cx="349707" cy="217540"/>
              <a:chOff x="3868087" y="9380655"/>
              <a:chExt cx="349707" cy="217540"/>
            </a:xfrm>
          </p:grpSpPr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C311E6B3-22D8-4394-AB88-E6908F1570CF}"/>
                  </a:ext>
                </a:extLst>
              </p:cNvPr>
              <p:cNvSpPr/>
              <p:nvPr/>
            </p:nvSpPr>
            <p:spPr>
              <a:xfrm>
                <a:off x="3868087" y="9380655"/>
                <a:ext cx="349707" cy="217540"/>
              </a:xfrm>
              <a:custGeom>
                <a:avLst/>
                <a:gdLst>
                  <a:gd name="connsiteX0" fmla="*/ 27910 w 349707"/>
                  <a:gd name="connsiteY0" fmla="*/ 132783 h 217540"/>
                  <a:gd name="connsiteX1" fmla="*/ 108139 w 349707"/>
                  <a:gd name="connsiteY1" fmla="*/ 163640 h 217540"/>
                  <a:gd name="connsiteX2" fmla="*/ 188367 w 349707"/>
                  <a:gd name="connsiteY2" fmla="*/ 203755 h 217540"/>
                  <a:gd name="connsiteX3" fmla="*/ 237739 w 349707"/>
                  <a:gd name="connsiteY3" fmla="*/ 216097 h 217540"/>
                  <a:gd name="connsiteX4" fmla="*/ 203796 w 349707"/>
                  <a:gd name="connsiteY4" fmla="*/ 169812 h 217540"/>
                  <a:gd name="connsiteX5" fmla="*/ 250082 w 349707"/>
                  <a:gd name="connsiteY5" fmla="*/ 188326 h 217540"/>
                  <a:gd name="connsiteX6" fmla="*/ 317967 w 349707"/>
                  <a:gd name="connsiteY6" fmla="*/ 194498 h 217540"/>
                  <a:gd name="connsiteX7" fmla="*/ 321053 w 349707"/>
                  <a:gd name="connsiteY7" fmla="*/ 179069 h 217540"/>
                  <a:gd name="connsiteX8" fmla="*/ 348825 w 349707"/>
                  <a:gd name="connsiteY8" fmla="*/ 172898 h 217540"/>
                  <a:gd name="connsiteX9" fmla="*/ 314882 w 349707"/>
                  <a:gd name="connsiteY9" fmla="*/ 123526 h 217540"/>
                  <a:gd name="connsiteX10" fmla="*/ 268596 w 349707"/>
                  <a:gd name="connsiteY10" fmla="*/ 92669 h 217540"/>
                  <a:gd name="connsiteX11" fmla="*/ 308710 w 349707"/>
                  <a:gd name="connsiteY11" fmla="*/ 98841 h 217540"/>
                  <a:gd name="connsiteX12" fmla="*/ 327225 w 349707"/>
                  <a:gd name="connsiteY12" fmla="*/ 92669 h 217540"/>
                  <a:gd name="connsiteX13" fmla="*/ 274767 w 349707"/>
                  <a:gd name="connsiteY13" fmla="*/ 49469 h 217540"/>
                  <a:gd name="connsiteX14" fmla="*/ 46425 w 349707"/>
                  <a:gd name="connsiteY14" fmla="*/ 97 h 217540"/>
                  <a:gd name="connsiteX15" fmla="*/ 139 w 349707"/>
                  <a:gd name="connsiteY15" fmla="*/ 105012 h 217540"/>
                  <a:gd name="connsiteX16" fmla="*/ 27910 w 349707"/>
                  <a:gd name="connsiteY16" fmla="*/ 132783 h 217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49707" h="217540">
                    <a:moveTo>
                      <a:pt x="27910" y="132783"/>
                    </a:moveTo>
                    <a:cubicBezTo>
                      <a:pt x="55682" y="145126"/>
                      <a:pt x="83453" y="151298"/>
                      <a:pt x="108139" y="163640"/>
                    </a:cubicBezTo>
                    <a:cubicBezTo>
                      <a:pt x="135910" y="175984"/>
                      <a:pt x="160596" y="191412"/>
                      <a:pt x="188367" y="203755"/>
                    </a:cubicBezTo>
                    <a:cubicBezTo>
                      <a:pt x="197625" y="206841"/>
                      <a:pt x="225396" y="222269"/>
                      <a:pt x="237739" y="216097"/>
                    </a:cubicBezTo>
                    <a:cubicBezTo>
                      <a:pt x="253167" y="203755"/>
                      <a:pt x="228482" y="185240"/>
                      <a:pt x="203796" y="169812"/>
                    </a:cubicBezTo>
                    <a:cubicBezTo>
                      <a:pt x="219225" y="175984"/>
                      <a:pt x="234653" y="182155"/>
                      <a:pt x="250082" y="188326"/>
                    </a:cubicBezTo>
                    <a:cubicBezTo>
                      <a:pt x="265510" y="194498"/>
                      <a:pt x="302539" y="206841"/>
                      <a:pt x="317967" y="194498"/>
                    </a:cubicBezTo>
                    <a:cubicBezTo>
                      <a:pt x="324139" y="191412"/>
                      <a:pt x="324139" y="185240"/>
                      <a:pt x="321053" y="179069"/>
                    </a:cubicBezTo>
                    <a:cubicBezTo>
                      <a:pt x="336482" y="182155"/>
                      <a:pt x="345739" y="182155"/>
                      <a:pt x="348825" y="172898"/>
                    </a:cubicBezTo>
                    <a:cubicBezTo>
                      <a:pt x="354996" y="154383"/>
                      <a:pt x="327225" y="132783"/>
                      <a:pt x="314882" y="123526"/>
                    </a:cubicBezTo>
                    <a:cubicBezTo>
                      <a:pt x="299453" y="111183"/>
                      <a:pt x="284025" y="101926"/>
                      <a:pt x="268596" y="92669"/>
                    </a:cubicBezTo>
                    <a:cubicBezTo>
                      <a:pt x="280939" y="95755"/>
                      <a:pt x="296367" y="98841"/>
                      <a:pt x="308710" y="98841"/>
                    </a:cubicBezTo>
                    <a:cubicBezTo>
                      <a:pt x="314882" y="98841"/>
                      <a:pt x="324139" y="98841"/>
                      <a:pt x="327225" y="92669"/>
                    </a:cubicBezTo>
                    <a:cubicBezTo>
                      <a:pt x="339567" y="71069"/>
                      <a:pt x="287110" y="52555"/>
                      <a:pt x="274767" y="49469"/>
                    </a:cubicBezTo>
                    <a:cubicBezTo>
                      <a:pt x="200710" y="21698"/>
                      <a:pt x="123567" y="15526"/>
                      <a:pt x="46425" y="97"/>
                    </a:cubicBezTo>
                    <a:cubicBezTo>
                      <a:pt x="46425" y="-2988"/>
                      <a:pt x="-2947" y="67984"/>
                      <a:pt x="139" y="105012"/>
                    </a:cubicBezTo>
                    <a:cubicBezTo>
                      <a:pt x="139" y="120441"/>
                      <a:pt x="6310" y="123526"/>
                      <a:pt x="27910" y="132783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FA7AF34D-7000-48B0-81D2-E2A0B99C7FD4}"/>
                  </a:ext>
                </a:extLst>
              </p:cNvPr>
              <p:cNvSpPr/>
              <p:nvPr/>
            </p:nvSpPr>
            <p:spPr>
              <a:xfrm>
                <a:off x="4044111" y="9393096"/>
                <a:ext cx="155563" cy="86400"/>
              </a:xfrm>
              <a:custGeom>
                <a:avLst/>
                <a:gdLst>
                  <a:gd name="connsiteX0" fmla="*/ 126514 w 155563"/>
                  <a:gd name="connsiteY0" fmla="*/ 86400 h 86400"/>
                  <a:gd name="connsiteX1" fmla="*/ 89486 w 155563"/>
                  <a:gd name="connsiteY1" fmla="*/ 80228 h 86400"/>
                  <a:gd name="connsiteX2" fmla="*/ 21600 w 155563"/>
                  <a:gd name="connsiteY2" fmla="*/ 58628 h 86400"/>
                  <a:gd name="connsiteX3" fmla="*/ 15429 w 155563"/>
                  <a:gd name="connsiteY3" fmla="*/ 55543 h 86400"/>
                  <a:gd name="connsiteX4" fmla="*/ 18514 w 155563"/>
                  <a:gd name="connsiteY4" fmla="*/ 49371 h 86400"/>
                  <a:gd name="connsiteX5" fmla="*/ 92571 w 155563"/>
                  <a:gd name="connsiteY5" fmla="*/ 70972 h 86400"/>
                  <a:gd name="connsiteX6" fmla="*/ 145029 w 155563"/>
                  <a:gd name="connsiteY6" fmla="*/ 70972 h 86400"/>
                  <a:gd name="connsiteX7" fmla="*/ 145029 w 155563"/>
                  <a:gd name="connsiteY7" fmla="*/ 67886 h 86400"/>
                  <a:gd name="connsiteX8" fmla="*/ 6171 w 155563"/>
                  <a:gd name="connsiteY8" fmla="*/ 12343 h 86400"/>
                  <a:gd name="connsiteX9" fmla="*/ 0 w 155563"/>
                  <a:gd name="connsiteY9" fmla="*/ 6171 h 86400"/>
                  <a:gd name="connsiteX10" fmla="*/ 6171 w 155563"/>
                  <a:gd name="connsiteY10" fmla="*/ 0 h 86400"/>
                  <a:gd name="connsiteX11" fmla="*/ 154286 w 155563"/>
                  <a:gd name="connsiteY11" fmla="*/ 61714 h 86400"/>
                  <a:gd name="connsiteX12" fmla="*/ 151200 w 155563"/>
                  <a:gd name="connsiteY12" fmla="*/ 77143 h 86400"/>
                  <a:gd name="connsiteX13" fmla="*/ 126514 w 155563"/>
                  <a:gd name="connsiteY13" fmla="*/ 86400 h 86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5563" h="86400">
                    <a:moveTo>
                      <a:pt x="126514" y="86400"/>
                    </a:moveTo>
                    <a:cubicBezTo>
                      <a:pt x="111086" y="86400"/>
                      <a:pt x="92571" y="80228"/>
                      <a:pt x="89486" y="80228"/>
                    </a:cubicBezTo>
                    <a:cubicBezTo>
                      <a:pt x="61714" y="67886"/>
                      <a:pt x="27771" y="58628"/>
                      <a:pt x="21600" y="58628"/>
                    </a:cubicBezTo>
                    <a:cubicBezTo>
                      <a:pt x="18514" y="58628"/>
                      <a:pt x="15429" y="58628"/>
                      <a:pt x="15429" y="55543"/>
                    </a:cubicBezTo>
                    <a:cubicBezTo>
                      <a:pt x="15429" y="52457"/>
                      <a:pt x="15429" y="49371"/>
                      <a:pt x="18514" y="49371"/>
                    </a:cubicBezTo>
                    <a:cubicBezTo>
                      <a:pt x="30857" y="46286"/>
                      <a:pt x="80229" y="64800"/>
                      <a:pt x="92571" y="70972"/>
                    </a:cubicBezTo>
                    <a:cubicBezTo>
                      <a:pt x="108000" y="77143"/>
                      <a:pt x="135771" y="80228"/>
                      <a:pt x="145029" y="70972"/>
                    </a:cubicBezTo>
                    <a:cubicBezTo>
                      <a:pt x="145029" y="70972"/>
                      <a:pt x="145029" y="70972"/>
                      <a:pt x="145029" y="67886"/>
                    </a:cubicBezTo>
                    <a:cubicBezTo>
                      <a:pt x="141943" y="55543"/>
                      <a:pt x="92571" y="27771"/>
                      <a:pt x="6171" y="12343"/>
                    </a:cubicBezTo>
                    <a:cubicBezTo>
                      <a:pt x="3086" y="12343"/>
                      <a:pt x="0" y="9257"/>
                      <a:pt x="0" y="6171"/>
                    </a:cubicBezTo>
                    <a:cubicBezTo>
                      <a:pt x="0" y="3085"/>
                      <a:pt x="3086" y="0"/>
                      <a:pt x="6171" y="0"/>
                    </a:cubicBezTo>
                    <a:cubicBezTo>
                      <a:pt x="83314" y="12343"/>
                      <a:pt x="145029" y="40114"/>
                      <a:pt x="154286" y="61714"/>
                    </a:cubicBezTo>
                    <a:cubicBezTo>
                      <a:pt x="157371" y="67886"/>
                      <a:pt x="154286" y="70972"/>
                      <a:pt x="151200" y="77143"/>
                    </a:cubicBezTo>
                    <a:cubicBezTo>
                      <a:pt x="148114" y="83314"/>
                      <a:pt x="138857" y="86400"/>
                      <a:pt x="126514" y="8640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8D11CDCC-9B92-48F9-9156-6B5CA6580224}"/>
                  </a:ext>
                </a:extLst>
              </p:cNvPr>
              <p:cNvSpPr/>
              <p:nvPr/>
            </p:nvSpPr>
            <p:spPr>
              <a:xfrm>
                <a:off x="4050283" y="9479496"/>
                <a:ext cx="140135" cy="80228"/>
              </a:xfrm>
              <a:custGeom>
                <a:avLst/>
                <a:gdLst>
                  <a:gd name="connsiteX0" fmla="*/ 135771 w 140135"/>
                  <a:gd name="connsiteY0" fmla="*/ 80228 h 80228"/>
                  <a:gd name="connsiteX1" fmla="*/ 132686 w 140135"/>
                  <a:gd name="connsiteY1" fmla="*/ 80228 h 80228"/>
                  <a:gd name="connsiteX2" fmla="*/ 6171 w 140135"/>
                  <a:gd name="connsiteY2" fmla="*/ 12343 h 80228"/>
                  <a:gd name="connsiteX3" fmla="*/ 0 w 140135"/>
                  <a:gd name="connsiteY3" fmla="*/ 6171 h 80228"/>
                  <a:gd name="connsiteX4" fmla="*/ 6171 w 140135"/>
                  <a:gd name="connsiteY4" fmla="*/ 0 h 80228"/>
                  <a:gd name="connsiteX5" fmla="*/ 135771 w 140135"/>
                  <a:gd name="connsiteY5" fmla="*/ 67886 h 80228"/>
                  <a:gd name="connsiteX6" fmla="*/ 138857 w 140135"/>
                  <a:gd name="connsiteY6" fmla="*/ 77143 h 80228"/>
                  <a:gd name="connsiteX7" fmla="*/ 135771 w 140135"/>
                  <a:gd name="connsiteY7" fmla="*/ 80228 h 80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135" h="80228">
                    <a:moveTo>
                      <a:pt x="135771" y="80228"/>
                    </a:moveTo>
                    <a:cubicBezTo>
                      <a:pt x="135771" y="80228"/>
                      <a:pt x="132686" y="80228"/>
                      <a:pt x="132686" y="80228"/>
                    </a:cubicBezTo>
                    <a:cubicBezTo>
                      <a:pt x="104914" y="61714"/>
                      <a:pt x="30857" y="15429"/>
                      <a:pt x="6171" y="12343"/>
                    </a:cubicBezTo>
                    <a:cubicBezTo>
                      <a:pt x="3086" y="12343"/>
                      <a:pt x="0" y="9257"/>
                      <a:pt x="0" y="6171"/>
                    </a:cubicBezTo>
                    <a:cubicBezTo>
                      <a:pt x="0" y="3085"/>
                      <a:pt x="3086" y="0"/>
                      <a:pt x="6171" y="0"/>
                    </a:cubicBezTo>
                    <a:cubicBezTo>
                      <a:pt x="40114" y="3085"/>
                      <a:pt x="132686" y="67886"/>
                      <a:pt x="135771" y="67886"/>
                    </a:cubicBezTo>
                    <a:cubicBezTo>
                      <a:pt x="138857" y="70971"/>
                      <a:pt x="138857" y="74057"/>
                      <a:pt x="138857" y="77143"/>
                    </a:cubicBezTo>
                    <a:cubicBezTo>
                      <a:pt x="141943" y="80228"/>
                      <a:pt x="138857" y="80228"/>
                      <a:pt x="135771" y="8022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7BDF46C9-B2F9-405F-BF65-6D3C748E5CC7}"/>
                  </a:ext>
                </a:extLst>
              </p:cNvPr>
              <p:cNvSpPr/>
              <p:nvPr/>
            </p:nvSpPr>
            <p:spPr>
              <a:xfrm>
                <a:off x="4018148" y="9519610"/>
                <a:ext cx="61184" cy="30857"/>
              </a:xfrm>
              <a:custGeom>
                <a:avLst/>
                <a:gdLst>
                  <a:gd name="connsiteX0" fmla="*/ 50650 w 61184"/>
                  <a:gd name="connsiteY0" fmla="*/ 30857 h 30857"/>
                  <a:gd name="connsiteX1" fmla="*/ 50650 w 61184"/>
                  <a:gd name="connsiteY1" fmla="*/ 30857 h 30857"/>
                  <a:gd name="connsiteX2" fmla="*/ 4364 w 61184"/>
                  <a:gd name="connsiteY2" fmla="*/ 12343 h 30857"/>
                  <a:gd name="connsiteX3" fmla="*/ 1278 w 61184"/>
                  <a:gd name="connsiteY3" fmla="*/ 3086 h 30857"/>
                  <a:gd name="connsiteX4" fmla="*/ 10535 w 61184"/>
                  <a:gd name="connsiteY4" fmla="*/ 0 h 30857"/>
                  <a:gd name="connsiteX5" fmla="*/ 56821 w 61184"/>
                  <a:gd name="connsiteY5" fmla="*/ 15429 h 30857"/>
                  <a:gd name="connsiteX6" fmla="*/ 59907 w 61184"/>
                  <a:gd name="connsiteY6" fmla="*/ 24686 h 30857"/>
                  <a:gd name="connsiteX7" fmla="*/ 50650 w 61184"/>
                  <a:gd name="connsiteY7" fmla="*/ 30857 h 30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1184" h="30857">
                    <a:moveTo>
                      <a:pt x="50650" y="30857"/>
                    </a:moveTo>
                    <a:cubicBezTo>
                      <a:pt x="50650" y="30857"/>
                      <a:pt x="50650" y="30857"/>
                      <a:pt x="50650" y="30857"/>
                    </a:cubicBezTo>
                    <a:lnTo>
                      <a:pt x="4364" y="12343"/>
                    </a:lnTo>
                    <a:cubicBezTo>
                      <a:pt x="1278" y="12343"/>
                      <a:pt x="-1808" y="6172"/>
                      <a:pt x="1278" y="3086"/>
                    </a:cubicBezTo>
                    <a:cubicBezTo>
                      <a:pt x="1278" y="0"/>
                      <a:pt x="7450" y="0"/>
                      <a:pt x="10535" y="0"/>
                    </a:cubicBezTo>
                    <a:lnTo>
                      <a:pt x="56821" y="15429"/>
                    </a:lnTo>
                    <a:cubicBezTo>
                      <a:pt x="59907" y="15429"/>
                      <a:pt x="62992" y="21600"/>
                      <a:pt x="59907" y="24686"/>
                    </a:cubicBezTo>
                    <a:cubicBezTo>
                      <a:pt x="56821" y="30857"/>
                      <a:pt x="53735" y="30857"/>
                      <a:pt x="50650" y="3085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04A1D9A3-8CDF-4A1A-ABD1-58A381D63633}"/>
                  </a:ext>
                </a:extLst>
              </p:cNvPr>
              <p:cNvSpPr/>
              <p:nvPr/>
            </p:nvSpPr>
            <p:spPr>
              <a:xfrm>
                <a:off x="3980083" y="9423953"/>
                <a:ext cx="39781" cy="95656"/>
              </a:xfrm>
              <a:custGeom>
                <a:avLst/>
                <a:gdLst>
                  <a:gd name="connsiteX0" fmla="*/ 5400 w 39781"/>
                  <a:gd name="connsiteY0" fmla="*/ 95657 h 95656"/>
                  <a:gd name="connsiteX1" fmla="*/ 2314 w 39781"/>
                  <a:gd name="connsiteY1" fmla="*/ 95657 h 95656"/>
                  <a:gd name="connsiteX2" fmla="*/ 2314 w 39781"/>
                  <a:gd name="connsiteY2" fmla="*/ 86400 h 95656"/>
                  <a:gd name="connsiteX3" fmla="*/ 27000 w 39781"/>
                  <a:gd name="connsiteY3" fmla="*/ 6171 h 95656"/>
                  <a:gd name="connsiteX4" fmla="*/ 33171 w 39781"/>
                  <a:gd name="connsiteY4" fmla="*/ 0 h 95656"/>
                  <a:gd name="connsiteX5" fmla="*/ 39343 w 39781"/>
                  <a:gd name="connsiteY5" fmla="*/ 6171 h 95656"/>
                  <a:gd name="connsiteX6" fmla="*/ 11571 w 39781"/>
                  <a:gd name="connsiteY6" fmla="*/ 95657 h 95656"/>
                  <a:gd name="connsiteX7" fmla="*/ 5400 w 39781"/>
                  <a:gd name="connsiteY7" fmla="*/ 95657 h 95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781" h="95656">
                    <a:moveTo>
                      <a:pt x="5400" y="95657"/>
                    </a:moveTo>
                    <a:cubicBezTo>
                      <a:pt x="5400" y="95657"/>
                      <a:pt x="2314" y="95657"/>
                      <a:pt x="2314" y="95657"/>
                    </a:cubicBezTo>
                    <a:cubicBezTo>
                      <a:pt x="-771" y="92571"/>
                      <a:pt x="-771" y="89486"/>
                      <a:pt x="2314" y="86400"/>
                    </a:cubicBezTo>
                    <a:cubicBezTo>
                      <a:pt x="33171" y="52457"/>
                      <a:pt x="27000" y="6171"/>
                      <a:pt x="27000" y="6171"/>
                    </a:cubicBezTo>
                    <a:cubicBezTo>
                      <a:pt x="27000" y="3085"/>
                      <a:pt x="30086" y="0"/>
                      <a:pt x="33171" y="0"/>
                    </a:cubicBezTo>
                    <a:cubicBezTo>
                      <a:pt x="36257" y="0"/>
                      <a:pt x="39343" y="3085"/>
                      <a:pt x="39343" y="6171"/>
                    </a:cubicBezTo>
                    <a:cubicBezTo>
                      <a:pt x="39343" y="9257"/>
                      <a:pt x="45514" y="55543"/>
                      <a:pt x="11571" y="95657"/>
                    </a:cubicBezTo>
                    <a:cubicBezTo>
                      <a:pt x="8486" y="95657"/>
                      <a:pt x="5400" y="95657"/>
                      <a:pt x="5400" y="9565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86" name="图形 1">
            <a:extLst>
              <a:ext uri="{FF2B5EF4-FFF2-40B4-BE49-F238E27FC236}">
                <a16:creationId xmlns:a16="http://schemas.microsoft.com/office/drawing/2014/main" id="{2DFDC1A7-E1A5-44AF-9BDF-CB734EE58D32}"/>
              </a:ext>
            </a:extLst>
          </p:cNvPr>
          <p:cNvGrpSpPr/>
          <p:nvPr/>
        </p:nvGrpSpPr>
        <p:grpSpPr>
          <a:xfrm>
            <a:off x="6949988" y="1881281"/>
            <a:ext cx="3334751" cy="4976719"/>
            <a:chOff x="6949988" y="7576148"/>
            <a:chExt cx="3334751" cy="4976719"/>
          </a:xfrm>
        </p:grpSpPr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F4CF7D9D-1DD5-4228-9742-2B6EA2D53D1A}"/>
                </a:ext>
              </a:extLst>
            </p:cNvPr>
            <p:cNvSpPr/>
            <p:nvPr/>
          </p:nvSpPr>
          <p:spPr>
            <a:xfrm>
              <a:off x="8138854" y="8822239"/>
              <a:ext cx="965828" cy="762960"/>
            </a:xfrm>
            <a:custGeom>
              <a:avLst/>
              <a:gdLst>
                <a:gd name="connsiteX0" fmla="*/ 246857 w 965828"/>
                <a:gd name="connsiteY0" fmla="*/ 0 h 762960"/>
                <a:gd name="connsiteX1" fmla="*/ 438171 w 965828"/>
                <a:gd name="connsiteY1" fmla="*/ 515314 h 762960"/>
                <a:gd name="connsiteX2" fmla="*/ 965829 w 965828"/>
                <a:gd name="connsiteY2" fmla="*/ 398057 h 762960"/>
                <a:gd name="connsiteX3" fmla="*/ 965829 w 965828"/>
                <a:gd name="connsiteY3" fmla="*/ 561600 h 762960"/>
                <a:gd name="connsiteX4" fmla="*/ 308571 w 965828"/>
                <a:gd name="connsiteY4" fmla="*/ 762171 h 762960"/>
                <a:gd name="connsiteX5" fmla="*/ 0 w 965828"/>
                <a:gd name="connsiteY5" fmla="*/ 120343 h 762960"/>
                <a:gd name="connsiteX6" fmla="*/ 246857 w 965828"/>
                <a:gd name="connsiteY6" fmla="*/ 0 h 76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65828" h="762960">
                  <a:moveTo>
                    <a:pt x="246857" y="0"/>
                  </a:moveTo>
                  <a:lnTo>
                    <a:pt x="438171" y="515314"/>
                  </a:lnTo>
                  <a:lnTo>
                    <a:pt x="965829" y="398057"/>
                  </a:lnTo>
                  <a:lnTo>
                    <a:pt x="965829" y="561600"/>
                  </a:lnTo>
                  <a:cubicBezTo>
                    <a:pt x="965829" y="561600"/>
                    <a:pt x="438171" y="777600"/>
                    <a:pt x="308571" y="762171"/>
                  </a:cubicBezTo>
                  <a:cubicBezTo>
                    <a:pt x="178972" y="746743"/>
                    <a:pt x="0" y="120343"/>
                    <a:pt x="0" y="120343"/>
                  </a:cubicBezTo>
                  <a:lnTo>
                    <a:pt x="246857" y="0"/>
                  </a:ln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8" name="图形 1">
              <a:extLst>
                <a:ext uri="{FF2B5EF4-FFF2-40B4-BE49-F238E27FC236}">
                  <a16:creationId xmlns:a16="http://schemas.microsoft.com/office/drawing/2014/main" id="{CF326B66-37C6-442A-BE07-817F9A0FB5D9}"/>
                </a:ext>
              </a:extLst>
            </p:cNvPr>
            <p:cNvGrpSpPr/>
            <p:nvPr/>
          </p:nvGrpSpPr>
          <p:grpSpPr>
            <a:xfrm>
              <a:off x="7846740" y="12049896"/>
              <a:ext cx="489600" cy="345600"/>
              <a:chOff x="7846740" y="12049896"/>
              <a:chExt cx="489600" cy="345600"/>
            </a:xfrm>
          </p:grpSpPr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BBF155A6-547A-4483-A9BF-F0E40B329376}"/>
                  </a:ext>
                </a:extLst>
              </p:cNvPr>
              <p:cNvSpPr/>
              <p:nvPr/>
            </p:nvSpPr>
            <p:spPr>
              <a:xfrm>
                <a:off x="7854969" y="12049896"/>
                <a:ext cx="215999" cy="225257"/>
              </a:xfrm>
              <a:custGeom>
                <a:avLst/>
                <a:gdLst>
                  <a:gd name="connsiteX0" fmla="*/ 0 w 215999"/>
                  <a:gd name="connsiteY0" fmla="*/ 188229 h 225257"/>
                  <a:gd name="connsiteX1" fmla="*/ 12343 w 215999"/>
                  <a:gd name="connsiteY1" fmla="*/ 0 h 225257"/>
                  <a:gd name="connsiteX2" fmla="*/ 216000 w 215999"/>
                  <a:gd name="connsiteY2" fmla="*/ 0 h 225257"/>
                  <a:gd name="connsiteX3" fmla="*/ 166628 w 215999"/>
                  <a:gd name="connsiteY3" fmla="*/ 197486 h 225257"/>
                  <a:gd name="connsiteX4" fmla="*/ 12343 w 215999"/>
                  <a:gd name="connsiteY4" fmla="*/ 225258 h 225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5999" h="225257">
                    <a:moveTo>
                      <a:pt x="0" y="188229"/>
                    </a:moveTo>
                    <a:lnTo>
                      <a:pt x="12343" y="0"/>
                    </a:lnTo>
                    <a:lnTo>
                      <a:pt x="216000" y="0"/>
                    </a:lnTo>
                    <a:lnTo>
                      <a:pt x="166628" y="197486"/>
                    </a:lnTo>
                    <a:lnTo>
                      <a:pt x="12343" y="225258"/>
                    </a:ln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6EACE268-F717-4F0A-B09A-1102AE38266C}"/>
                  </a:ext>
                </a:extLst>
              </p:cNvPr>
              <p:cNvSpPr/>
              <p:nvPr/>
            </p:nvSpPr>
            <p:spPr>
              <a:xfrm>
                <a:off x="7846740" y="12191839"/>
                <a:ext cx="489600" cy="160457"/>
              </a:xfrm>
              <a:custGeom>
                <a:avLst/>
                <a:gdLst>
                  <a:gd name="connsiteX0" fmla="*/ 8229 w 489600"/>
                  <a:gd name="connsiteY0" fmla="*/ 46286 h 160457"/>
                  <a:gd name="connsiteX1" fmla="*/ 184114 w 489600"/>
                  <a:gd name="connsiteY1" fmla="*/ 0 h 160457"/>
                  <a:gd name="connsiteX2" fmla="*/ 319886 w 489600"/>
                  <a:gd name="connsiteY2" fmla="*/ 80229 h 160457"/>
                  <a:gd name="connsiteX3" fmla="*/ 489600 w 489600"/>
                  <a:gd name="connsiteY3" fmla="*/ 160458 h 160457"/>
                  <a:gd name="connsiteX4" fmla="*/ 8229 w 489600"/>
                  <a:gd name="connsiteY4" fmla="*/ 160458 h 160457"/>
                  <a:gd name="connsiteX5" fmla="*/ 8229 w 489600"/>
                  <a:gd name="connsiteY5" fmla="*/ 46286 h 160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9600" h="160457">
                    <a:moveTo>
                      <a:pt x="8229" y="46286"/>
                    </a:moveTo>
                    <a:cubicBezTo>
                      <a:pt x="8229" y="46286"/>
                      <a:pt x="119315" y="64800"/>
                      <a:pt x="184114" y="0"/>
                    </a:cubicBezTo>
                    <a:cubicBezTo>
                      <a:pt x="184114" y="0"/>
                      <a:pt x="273600" y="70971"/>
                      <a:pt x="319886" y="80229"/>
                    </a:cubicBezTo>
                    <a:cubicBezTo>
                      <a:pt x="366172" y="89486"/>
                      <a:pt x="477257" y="86400"/>
                      <a:pt x="489600" y="160458"/>
                    </a:cubicBezTo>
                    <a:lnTo>
                      <a:pt x="8229" y="160458"/>
                    </a:lnTo>
                    <a:cubicBezTo>
                      <a:pt x="8229" y="157372"/>
                      <a:pt x="-10286" y="95657"/>
                      <a:pt x="8229" y="4628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71038739-F7C5-4A2D-A2A8-355DFF7F1E63}"/>
                  </a:ext>
                </a:extLst>
              </p:cNvPr>
              <p:cNvSpPr/>
              <p:nvPr/>
            </p:nvSpPr>
            <p:spPr>
              <a:xfrm>
                <a:off x="7854969" y="12349210"/>
                <a:ext cx="481371" cy="46285"/>
              </a:xfrm>
              <a:custGeom>
                <a:avLst/>
                <a:gdLst>
                  <a:gd name="connsiteX0" fmla="*/ 0 w 481371"/>
                  <a:gd name="connsiteY0" fmla="*/ 0 h 46285"/>
                  <a:gd name="connsiteX1" fmla="*/ 481372 w 481371"/>
                  <a:gd name="connsiteY1" fmla="*/ 0 h 46285"/>
                  <a:gd name="connsiteX2" fmla="*/ 481372 w 481371"/>
                  <a:gd name="connsiteY2" fmla="*/ 46286 h 46285"/>
                  <a:gd name="connsiteX3" fmla="*/ 0 w 481371"/>
                  <a:gd name="connsiteY3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1371" h="46285">
                    <a:moveTo>
                      <a:pt x="0" y="0"/>
                    </a:moveTo>
                    <a:lnTo>
                      <a:pt x="481372" y="0"/>
                    </a:lnTo>
                    <a:lnTo>
                      <a:pt x="481372" y="46286"/>
                    </a:lnTo>
                    <a:lnTo>
                      <a:pt x="0" y="46286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1595CA18-4B55-4E9E-BB12-AAEC3607DEE3}"/>
                  </a:ext>
                </a:extLst>
              </p:cNvPr>
              <p:cNvSpPr/>
              <p:nvPr/>
            </p:nvSpPr>
            <p:spPr>
              <a:xfrm>
                <a:off x="7848797" y="12180268"/>
                <a:ext cx="187456" cy="64028"/>
              </a:xfrm>
              <a:custGeom>
                <a:avLst/>
                <a:gdLst>
                  <a:gd name="connsiteX0" fmla="*/ 40114 w 187456"/>
                  <a:gd name="connsiteY0" fmla="*/ 64029 h 64028"/>
                  <a:gd name="connsiteX1" fmla="*/ 6171 w 187456"/>
                  <a:gd name="connsiteY1" fmla="*/ 60943 h 64028"/>
                  <a:gd name="connsiteX2" fmla="*/ 0 w 187456"/>
                  <a:gd name="connsiteY2" fmla="*/ 54771 h 64028"/>
                  <a:gd name="connsiteX3" fmla="*/ 6171 w 187456"/>
                  <a:gd name="connsiteY3" fmla="*/ 48600 h 64028"/>
                  <a:gd name="connsiteX4" fmla="*/ 175886 w 187456"/>
                  <a:gd name="connsiteY4" fmla="*/ 2314 h 64028"/>
                  <a:gd name="connsiteX5" fmla="*/ 185143 w 187456"/>
                  <a:gd name="connsiteY5" fmla="*/ 2314 h 64028"/>
                  <a:gd name="connsiteX6" fmla="*/ 185143 w 187456"/>
                  <a:gd name="connsiteY6" fmla="*/ 11571 h 64028"/>
                  <a:gd name="connsiteX7" fmla="*/ 40114 w 187456"/>
                  <a:gd name="connsiteY7" fmla="*/ 64029 h 6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7456" h="64028">
                    <a:moveTo>
                      <a:pt x="40114" y="64029"/>
                    </a:moveTo>
                    <a:cubicBezTo>
                      <a:pt x="21600" y="64029"/>
                      <a:pt x="9257" y="60943"/>
                      <a:pt x="6171" y="60943"/>
                    </a:cubicBezTo>
                    <a:cubicBezTo>
                      <a:pt x="3085" y="60943"/>
                      <a:pt x="0" y="57857"/>
                      <a:pt x="0" y="54771"/>
                    </a:cubicBezTo>
                    <a:cubicBezTo>
                      <a:pt x="0" y="51685"/>
                      <a:pt x="3085" y="48600"/>
                      <a:pt x="6171" y="48600"/>
                    </a:cubicBezTo>
                    <a:cubicBezTo>
                      <a:pt x="6171" y="48600"/>
                      <a:pt x="108000" y="64029"/>
                      <a:pt x="175886" y="2314"/>
                    </a:cubicBezTo>
                    <a:cubicBezTo>
                      <a:pt x="178972" y="-771"/>
                      <a:pt x="182057" y="-771"/>
                      <a:pt x="185143" y="2314"/>
                    </a:cubicBezTo>
                    <a:cubicBezTo>
                      <a:pt x="188228" y="5399"/>
                      <a:pt x="188228" y="8485"/>
                      <a:pt x="185143" y="11571"/>
                    </a:cubicBezTo>
                    <a:cubicBezTo>
                      <a:pt x="138857" y="57857"/>
                      <a:pt x="77143" y="64029"/>
                      <a:pt x="40114" y="640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ED85A77F-6672-4FA3-8AA6-DD430267AF7A}"/>
                  </a:ext>
                </a:extLst>
              </p:cNvPr>
              <p:cNvSpPr/>
              <p:nvPr/>
            </p:nvSpPr>
            <p:spPr>
              <a:xfrm>
                <a:off x="8034711" y="12208039"/>
                <a:ext cx="41657" cy="42428"/>
              </a:xfrm>
              <a:custGeom>
                <a:avLst/>
                <a:gdLst>
                  <a:gd name="connsiteX0" fmla="*/ 5400 w 41657"/>
                  <a:gd name="connsiteY0" fmla="*/ 42428 h 42428"/>
                  <a:gd name="connsiteX1" fmla="*/ 2314 w 41657"/>
                  <a:gd name="connsiteY1" fmla="*/ 39342 h 42428"/>
                  <a:gd name="connsiteX2" fmla="*/ 2314 w 41657"/>
                  <a:gd name="connsiteY2" fmla="*/ 30086 h 42428"/>
                  <a:gd name="connsiteX3" fmla="*/ 30086 w 41657"/>
                  <a:gd name="connsiteY3" fmla="*/ 2314 h 42428"/>
                  <a:gd name="connsiteX4" fmla="*/ 39343 w 41657"/>
                  <a:gd name="connsiteY4" fmla="*/ 2314 h 42428"/>
                  <a:gd name="connsiteX5" fmla="*/ 39343 w 41657"/>
                  <a:gd name="connsiteY5" fmla="*/ 11571 h 42428"/>
                  <a:gd name="connsiteX6" fmla="*/ 11571 w 41657"/>
                  <a:gd name="connsiteY6" fmla="*/ 39342 h 42428"/>
                  <a:gd name="connsiteX7" fmla="*/ 5400 w 41657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7" h="42428">
                    <a:moveTo>
                      <a:pt x="5400" y="42428"/>
                    </a:moveTo>
                    <a:cubicBezTo>
                      <a:pt x="5400" y="42428"/>
                      <a:pt x="2314" y="42428"/>
                      <a:pt x="2314" y="39342"/>
                    </a:cubicBezTo>
                    <a:cubicBezTo>
                      <a:pt x="-771" y="36257"/>
                      <a:pt x="-771" y="33172"/>
                      <a:pt x="2314" y="30086"/>
                    </a:cubicBezTo>
                    <a:lnTo>
                      <a:pt x="30086" y="2314"/>
                    </a:lnTo>
                    <a:cubicBezTo>
                      <a:pt x="33171" y="-771"/>
                      <a:pt x="36257" y="-771"/>
                      <a:pt x="39343" y="2314"/>
                    </a:cubicBezTo>
                    <a:cubicBezTo>
                      <a:pt x="42428" y="5400"/>
                      <a:pt x="42428" y="8485"/>
                      <a:pt x="39343" y="11571"/>
                    </a:cubicBezTo>
                    <a:lnTo>
                      <a:pt x="11571" y="39342"/>
                    </a:lnTo>
                    <a:cubicBezTo>
                      <a:pt x="8486" y="39342"/>
                      <a:pt x="8486" y="42428"/>
                      <a:pt x="5400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286B7AB7-B491-4407-8B95-1051A462E319}"/>
                  </a:ext>
                </a:extLst>
              </p:cNvPr>
              <p:cNvSpPr/>
              <p:nvPr/>
            </p:nvSpPr>
            <p:spPr>
              <a:xfrm>
                <a:off x="8074826" y="12232724"/>
                <a:ext cx="38571" cy="42429"/>
              </a:xfrm>
              <a:custGeom>
                <a:avLst/>
                <a:gdLst>
                  <a:gd name="connsiteX0" fmla="*/ 5400 w 38571"/>
                  <a:gd name="connsiteY0" fmla="*/ 42429 h 42429"/>
                  <a:gd name="connsiteX1" fmla="*/ 2314 w 38571"/>
                  <a:gd name="connsiteY1" fmla="*/ 39343 h 42429"/>
                  <a:gd name="connsiteX2" fmla="*/ 2314 w 38571"/>
                  <a:gd name="connsiteY2" fmla="*/ 30086 h 42429"/>
                  <a:gd name="connsiteX3" fmla="*/ 27000 w 38571"/>
                  <a:gd name="connsiteY3" fmla="*/ 2314 h 42429"/>
                  <a:gd name="connsiteX4" fmla="*/ 36257 w 38571"/>
                  <a:gd name="connsiteY4" fmla="*/ 2314 h 42429"/>
                  <a:gd name="connsiteX5" fmla="*/ 36257 w 38571"/>
                  <a:gd name="connsiteY5" fmla="*/ 11572 h 42429"/>
                  <a:gd name="connsiteX6" fmla="*/ 11571 w 38571"/>
                  <a:gd name="connsiteY6" fmla="*/ 39343 h 42429"/>
                  <a:gd name="connsiteX7" fmla="*/ 5400 w 38571"/>
                  <a:gd name="connsiteY7" fmla="*/ 42429 h 42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571" h="42429">
                    <a:moveTo>
                      <a:pt x="5400" y="42429"/>
                    </a:moveTo>
                    <a:cubicBezTo>
                      <a:pt x="5400" y="42429"/>
                      <a:pt x="2314" y="42429"/>
                      <a:pt x="2314" y="39343"/>
                    </a:cubicBezTo>
                    <a:cubicBezTo>
                      <a:pt x="-771" y="36257"/>
                      <a:pt x="-771" y="33172"/>
                      <a:pt x="2314" y="30086"/>
                    </a:cubicBezTo>
                    <a:lnTo>
                      <a:pt x="27000" y="2314"/>
                    </a:lnTo>
                    <a:cubicBezTo>
                      <a:pt x="30086" y="-771"/>
                      <a:pt x="33171" y="-771"/>
                      <a:pt x="36257" y="2314"/>
                    </a:cubicBezTo>
                    <a:cubicBezTo>
                      <a:pt x="39343" y="5400"/>
                      <a:pt x="39343" y="8486"/>
                      <a:pt x="36257" y="11572"/>
                    </a:cubicBezTo>
                    <a:lnTo>
                      <a:pt x="11571" y="39343"/>
                    </a:lnTo>
                    <a:cubicBezTo>
                      <a:pt x="8485" y="42429"/>
                      <a:pt x="5400" y="42429"/>
                      <a:pt x="5400" y="424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4E4C0FA7-B83E-475B-AE60-09A814F0E00B}"/>
                </a:ext>
              </a:extLst>
            </p:cNvPr>
            <p:cNvSpPr/>
            <p:nvPr/>
          </p:nvSpPr>
          <p:spPr>
            <a:xfrm>
              <a:off x="7611197" y="8140296"/>
              <a:ext cx="253028" cy="261370"/>
            </a:xfrm>
            <a:custGeom>
              <a:avLst/>
              <a:gdLst>
                <a:gd name="connsiteX0" fmla="*/ 253028 w 253028"/>
                <a:gd name="connsiteY0" fmla="*/ 40114 h 261370"/>
                <a:gd name="connsiteX1" fmla="*/ 246857 w 253028"/>
                <a:gd name="connsiteY1" fmla="*/ 216000 h 261370"/>
                <a:gd name="connsiteX2" fmla="*/ 0 w 253028"/>
                <a:gd name="connsiteY2" fmla="*/ 206743 h 261370"/>
                <a:gd name="connsiteX3" fmla="*/ 15429 w 253028"/>
                <a:gd name="connsiteY3" fmla="*/ 0 h 261370"/>
                <a:gd name="connsiteX4" fmla="*/ 253028 w 253028"/>
                <a:gd name="connsiteY4" fmla="*/ 40114 h 261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028" h="261370">
                  <a:moveTo>
                    <a:pt x="253028" y="40114"/>
                  </a:moveTo>
                  <a:cubicBezTo>
                    <a:pt x="253028" y="40114"/>
                    <a:pt x="246857" y="141943"/>
                    <a:pt x="246857" y="216000"/>
                  </a:cubicBezTo>
                  <a:cubicBezTo>
                    <a:pt x="246857" y="216000"/>
                    <a:pt x="151200" y="324000"/>
                    <a:pt x="0" y="206743"/>
                  </a:cubicBezTo>
                  <a:cubicBezTo>
                    <a:pt x="0" y="145028"/>
                    <a:pt x="12343" y="64800"/>
                    <a:pt x="15429" y="0"/>
                  </a:cubicBezTo>
                  <a:cubicBezTo>
                    <a:pt x="15429" y="0"/>
                    <a:pt x="200571" y="52457"/>
                    <a:pt x="253028" y="40114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689D6615-AD1F-49E8-834B-9860F35AD7D3}"/>
                </a:ext>
              </a:extLst>
            </p:cNvPr>
            <p:cNvSpPr/>
            <p:nvPr/>
          </p:nvSpPr>
          <p:spPr>
            <a:xfrm>
              <a:off x="7518626" y="8019953"/>
              <a:ext cx="70971" cy="138857"/>
            </a:xfrm>
            <a:custGeom>
              <a:avLst/>
              <a:gdLst>
                <a:gd name="connsiteX0" fmla="*/ 0 w 70971"/>
                <a:gd name="connsiteY0" fmla="*/ 0 h 138857"/>
                <a:gd name="connsiteX1" fmla="*/ 67886 w 70971"/>
                <a:gd name="connsiteY1" fmla="*/ 138857 h 138857"/>
                <a:gd name="connsiteX2" fmla="*/ 70971 w 70971"/>
                <a:gd name="connsiteY2" fmla="*/ 52457 h 138857"/>
                <a:gd name="connsiteX3" fmla="*/ 0 w 70971"/>
                <a:gd name="connsiteY3" fmla="*/ 0 h 13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971" h="138857">
                  <a:moveTo>
                    <a:pt x="0" y="0"/>
                  </a:moveTo>
                  <a:cubicBezTo>
                    <a:pt x="0" y="0"/>
                    <a:pt x="15429" y="120343"/>
                    <a:pt x="67886" y="138857"/>
                  </a:cubicBezTo>
                  <a:lnTo>
                    <a:pt x="70971" y="524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2BE18055-1EEA-4232-A55D-9C72304A3310}"/>
                </a:ext>
              </a:extLst>
            </p:cNvPr>
            <p:cNvSpPr/>
            <p:nvPr/>
          </p:nvSpPr>
          <p:spPr>
            <a:xfrm>
              <a:off x="7879197" y="7807039"/>
              <a:ext cx="103877" cy="240698"/>
            </a:xfrm>
            <a:custGeom>
              <a:avLst/>
              <a:gdLst>
                <a:gd name="connsiteX0" fmla="*/ 96114 w 103877"/>
                <a:gd name="connsiteY0" fmla="*/ 0 h 240698"/>
                <a:gd name="connsiteX1" fmla="*/ 56000 w 103877"/>
                <a:gd name="connsiteY1" fmla="*/ 237600 h 240698"/>
                <a:gd name="connsiteX2" fmla="*/ 457 w 103877"/>
                <a:gd name="connsiteY2" fmla="*/ 15429 h 240698"/>
                <a:gd name="connsiteX3" fmla="*/ 96114 w 103877"/>
                <a:gd name="connsiteY3" fmla="*/ 0 h 24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77" h="240698">
                  <a:moveTo>
                    <a:pt x="96114" y="0"/>
                  </a:moveTo>
                  <a:cubicBezTo>
                    <a:pt x="96114" y="0"/>
                    <a:pt x="130057" y="197486"/>
                    <a:pt x="56000" y="237600"/>
                  </a:cubicBezTo>
                  <a:cubicBezTo>
                    <a:pt x="-8800" y="271543"/>
                    <a:pt x="457" y="15429"/>
                    <a:pt x="457" y="15429"/>
                  </a:cubicBezTo>
                  <a:lnTo>
                    <a:pt x="96114" y="0"/>
                  </a:lnTo>
                  <a:close/>
                </a:path>
              </a:pathLst>
            </a:custGeom>
            <a:solidFill>
              <a:srgbClr val="664241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19B9DC95-0A3E-4450-A5FB-E7BADFE00FF4}"/>
                </a:ext>
              </a:extLst>
            </p:cNvPr>
            <p:cNvSpPr/>
            <p:nvPr/>
          </p:nvSpPr>
          <p:spPr>
            <a:xfrm>
              <a:off x="7518626" y="7670345"/>
              <a:ext cx="428517" cy="575476"/>
            </a:xfrm>
            <a:custGeom>
              <a:avLst/>
              <a:gdLst>
                <a:gd name="connsiteX0" fmla="*/ 416571 w 428517"/>
                <a:gd name="connsiteY0" fmla="*/ 182980 h 575476"/>
                <a:gd name="connsiteX1" fmla="*/ 419657 w 428517"/>
                <a:gd name="connsiteY1" fmla="*/ 436009 h 575476"/>
                <a:gd name="connsiteX2" fmla="*/ 259200 w 428517"/>
                <a:gd name="connsiteY2" fmla="*/ 574866 h 575476"/>
                <a:gd name="connsiteX3" fmla="*/ 40114 w 428517"/>
                <a:gd name="connsiteY3" fmla="*/ 432923 h 575476"/>
                <a:gd name="connsiteX4" fmla="*/ 0 w 428517"/>
                <a:gd name="connsiteY4" fmla="*/ 204580 h 575476"/>
                <a:gd name="connsiteX5" fmla="*/ 212914 w 428517"/>
                <a:gd name="connsiteY5" fmla="*/ 923 h 575476"/>
                <a:gd name="connsiteX6" fmla="*/ 416571 w 428517"/>
                <a:gd name="connsiteY6" fmla="*/ 182980 h 575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8517" h="575476">
                  <a:moveTo>
                    <a:pt x="416571" y="182980"/>
                  </a:moveTo>
                  <a:cubicBezTo>
                    <a:pt x="416571" y="182980"/>
                    <a:pt x="441257" y="361951"/>
                    <a:pt x="419657" y="436009"/>
                  </a:cubicBezTo>
                  <a:cubicBezTo>
                    <a:pt x="401143" y="503894"/>
                    <a:pt x="311657" y="568694"/>
                    <a:pt x="259200" y="574866"/>
                  </a:cubicBezTo>
                  <a:cubicBezTo>
                    <a:pt x="191314" y="581037"/>
                    <a:pt x="70971" y="540923"/>
                    <a:pt x="40114" y="432923"/>
                  </a:cubicBezTo>
                  <a:cubicBezTo>
                    <a:pt x="18514" y="358866"/>
                    <a:pt x="0" y="257037"/>
                    <a:pt x="0" y="204580"/>
                  </a:cubicBezTo>
                  <a:cubicBezTo>
                    <a:pt x="0" y="108923"/>
                    <a:pt x="27771" y="28694"/>
                    <a:pt x="212914" y="923"/>
                  </a:cubicBezTo>
                  <a:cubicBezTo>
                    <a:pt x="299314" y="-11420"/>
                    <a:pt x="398057" y="102751"/>
                    <a:pt x="416571" y="182980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CFFD7CAD-E37C-4F4B-BB68-5A9EDD5E3D70}"/>
                </a:ext>
              </a:extLst>
            </p:cNvPr>
            <p:cNvSpPr/>
            <p:nvPr/>
          </p:nvSpPr>
          <p:spPr>
            <a:xfrm>
              <a:off x="7750055" y="7933553"/>
              <a:ext cx="58628" cy="141943"/>
            </a:xfrm>
            <a:custGeom>
              <a:avLst/>
              <a:gdLst>
                <a:gd name="connsiteX0" fmla="*/ 27771 w 58628"/>
                <a:gd name="connsiteY0" fmla="*/ 141943 h 141943"/>
                <a:gd name="connsiteX1" fmla="*/ 6171 w 58628"/>
                <a:gd name="connsiteY1" fmla="*/ 138857 h 141943"/>
                <a:gd name="connsiteX2" fmla="*/ 0 w 58628"/>
                <a:gd name="connsiteY2" fmla="*/ 132686 h 141943"/>
                <a:gd name="connsiteX3" fmla="*/ 6171 w 58628"/>
                <a:gd name="connsiteY3" fmla="*/ 126514 h 141943"/>
                <a:gd name="connsiteX4" fmla="*/ 46286 w 58628"/>
                <a:gd name="connsiteY4" fmla="*/ 123429 h 141943"/>
                <a:gd name="connsiteX5" fmla="*/ 46286 w 58628"/>
                <a:gd name="connsiteY5" fmla="*/ 120343 h 141943"/>
                <a:gd name="connsiteX6" fmla="*/ 27771 w 58628"/>
                <a:gd name="connsiteY6" fmla="*/ 6171 h 141943"/>
                <a:gd name="connsiteX7" fmla="*/ 33943 w 58628"/>
                <a:gd name="connsiteY7" fmla="*/ 0 h 141943"/>
                <a:gd name="connsiteX8" fmla="*/ 40114 w 58628"/>
                <a:gd name="connsiteY8" fmla="*/ 6171 h 141943"/>
                <a:gd name="connsiteX9" fmla="*/ 58628 w 58628"/>
                <a:gd name="connsiteY9" fmla="*/ 120343 h 141943"/>
                <a:gd name="connsiteX10" fmla="*/ 52457 w 58628"/>
                <a:gd name="connsiteY10" fmla="*/ 132686 h 141943"/>
                <a:gd name="connsiteX11" fmla="*/ 27771 w 58628"/>
                <a:gd name="connsiteY11" fmla="*/ 141943 h 141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628" h="141943">
                  <a:moveTo>
                    <a:pt x="27771" y="141943"/>
                  </a:moveTo>
                  <a:cubicBezTo>
                    <a:pt x="18514" y="141943"/>
                    <a:pt x="9257" y="138857"/>
                    <a:pt x="6171" y="138857"/>
                  </a:cubicBezTo>
                  <a:cubicBezTo>
                    <a:pt x="3085" y="138857"/>
                    <a:pt x="0" y="135771"/>
                    <a:pt x="0" y="132686"/>
                  </a:cubicBezTo>
                  <a:cubicBezTo>
                    <a:pt x="0" y="129600"/>
                    <a:pt x="3085" y="126514"/>
                    <a:pt x="6171" y="126514"/>
                  </a:cubicBezTo>
                  <a:cubicBezTo>
                    <a:pt x="18514" y="129600"/>
                    <a:pt x="40114" y="129600"/>
                    <a:pt x="46286" y="123429"/>
                  </a:cubicBezTo>
                  <a:cubicBezTo>
                    <a:pt x="46286" y="123429"/>
                    <a:pt x="46286" y="120343"/>
                    <a:pt x="46286" y="120343"/>
                  </a:cubicBezTo>
                  <a:cubicBezTo>
                    <a:pt x="46286" y="101829"/>
                    <a:pt x="27771" y="9257"/>
                    <a:pt x="27771" y="6171"/>
                  </a:cubicBezTo>
                  <a:cubicBezTo>
                    <a:pt x="27771" y="3086"/>
                    <a:pt x="27771" y="0"/>
                    <a:pt x="33943" y="0"/>
                  </a:cubicBezTo>
                  <a:cubicBezTo>
                    <a:pt x="37028" y="0"/>
                    <a:pt x="40114" y="0"/>
                    <a:pt x="40114" y="6171"/>
                  </a:cubicBezTo>
                  <a:cubicBezTo>
                    <a:pt x="40114" y="9257"/>
                    <a:pt x="58628" y="101829"/>
                    <a:pt x="58628" y="120343"/>
                  </a:cubicBezTo>
                  <a:cubicBezTo>
                    <a:pt x="58628" y="126514"/>
                    <a:pt x="55542" y="129600"/>
                    <a:pt x="52457" y="132686"/>
                  </a:cubicBezTo>
                  <a:cubicBezTo>
                    <a:pt x="49371" y="141943"/>
                    <a:pt x="37028" y="141943"/>
                    <a:pt x="27771" y="141943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79069849-00D9-4AA6-B156-D5BF3B69864F}"/>
                </a:ext>
              </a:extLst>
            </p:cNvPr>
            <p:cNvSpPr/>
            <p:nvPr/>
          </p:nvSpPr>
          <p:spPr>
            <a:xfrm>
              <a:off x="7719197" y="8124867"/>
              <a:ext cx="107999" cy="52581"/>
            </a:xfrm>
            <a:custGeom>
              <a:avLst/>
              <a:gdLst>
                <a:gd name="connsiteX0" fmla="*/ 108000 w 107999"/>
                <a:gd name="connsiteY0" fmla="*/ 0 h 52581"/>
                <a:gd name="connsiteX1" fmla="*/ 0 w 107999"/>
                <a:gd name="connsiteY1" fmla="*/ 0 h 52581"/>
                <a:gd name="connsiteX2" fmla="*/ 52457 w 107999"/>
                <a:gd name="connsiteY2" fmla="*/ 52457 h 52581"/>
                <a:gd name="connsiteX3" fmla="*/ 108000 w 107999"/>
                <a:gd name="connsiteY3" fmla="*/ 0 h 52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999" h="52581">
                  <a:moveTo>
                    <a:pt x="108000" y="0"/>
                  </a:moveTo>
                  <a:cubicBezTo>
                    <a:pt x="108000" y="0"/>
                    <a:pt x="52457" y="15429"/>
                    <a:pt x="0" y="0"/>
                  </a:cubicBezTo>
                  <a:cubicBezTo>
                    <a:pt x="0" y="0"/>
                    <a:pt x="3085" y="52457"/>
                    <a:pt x="52457" y="52457"/>
                  </a:cubicBezTo>
                  <a:cubicBezTo>
                    <a:pt x="98743" y="55543"/>
                    <a:pt x="108000" y="0"/>
                    <a:pt x="108000" y="0"/>
                  </a:cubicBezTo>
                  <a:close/>
                </a:path>
              </a:pathLst>
            </a:custGeom>
            <a:solidFill>
              <a:srgbClr val="FFFFFF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AC6BD42F-E90C-4B12-AE16-51829D1A4971}"/>
                </a:ext>
              </a:extLst>
            </p:cNvPr>
            <p:cNvSpPr/>
            <p:nvPr/>
          </p:nvSpPr>
          <p:spPr>
            <a:xfrm>
              <a:off x="7838935" y="7911348"/>
              <a:ext cx="41324" cy="41324"/>
            </a:xfrm>
            <a:custGeom>
              <a:avLst/>
              <a:gdLst>
                <a:gd name="connsiteX0" fmla="*/ 605 w 41324"/>
                <a:gd name="connsiteY0" fmla="*/ 25291 h 41324"/>
                <a:gd name="connsiteX1" fmla="*/ 25291 w 41324"/>
                <a:gd name="connsiteY1" fmla="*/ 40720 h 41324"/>
                <a:gd name="connsiteX2" fmla="*/ 40720 w 41324"/>
                <a:gd name="connsiteY2" fmla="*/ 16034 h 41324"/>
                <a:gd name="connsiteX3" fmla="*/ 16034 w 41324"/>
                <a:gd name="connsiteY3" fmla="*/ 605 h 41324"/>
                <a:gd name="connsiteX4" fmla="*/ 605 w 41324"/>
                <a:gd name="connsiteY4" fmla="*/ 25291 h 41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24" h="41324">
                  <a:moveTo>
                    <a:pt x="605" y="25291"/>
                  </a:moveTo>
                  <a:cubicBezTo>
                    <a:pt x="3691" y="34548"/>
                    <a:pt x="12948" y="43805"/>
                    <a:pt x="25291" y="40720"/>
                  </a:cubicBezTo>
                  <a:cubicBezTo>
                    <a:pt x="34548" y="37634"/>
                    <a:pt x="43805" y="28377"/>
                    <a:pt x="40720" y="16034"/>
                  </a:cubicBezTo>
                  <a:cubicBezTo>
                    <a:pt x="37634" y="6777"/>
                    <a:pt x="28377" y="-2481"/>
                    <a:pt x="16034" y="605"/>
                  </a:cubicBezTo>
                  <a:cubicBezTo>
                    <a:pt x="6777" y="3691"/>
                    <a:pt x="-2481" y="16034"/>
                    <a:pt x="605" y="25291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4AD42435-846B-4D1C-88FD-1AA34D1B18F6}"/>
                </a:ext>
              </a:extLst>
            </p:cNvPr>
            <p:cNvSpPr/>
            <p:nvPr/>
          </p:nvSpPr>
          <p:spPr>
            <a:xfrm>
              <a:off x="7653792" y="7932767"/>
              <a:ext cx="41324" cy="41505"/>
            </a:xfrm>
            <a:custGeom>
              <a:avLst/>
              <a:gdLst>
                <a:gd name="connsiteX0" fmla="*/ 605 w 41324"/>
                <a:gd name="connsiteY0" fmla="*/ 25472 h 41505"/>
                <a:gd name="connsiteX1" fmla="*/ 25291 w 41324"/>
                <a:gd name="connsiteY1" fmla="*/ 40901 h 41505"/>
                <a:gd name="connsiteX2" fmla="*/ 40720 w 41324"/>
                <a:gd name="connsiteY2" fmla="*/ 16215 h 41505"/>
                <a:gd name="connsiteX3" fmla="*/ 16034 w 41324"/>
                <a:gd name="connsiteY3" fmla="*/ 786 h 41505"/>
                <a:gd name="connsiteX4" fmla="*/ 605 w 41324"/>
                <a:gd name="connsiteY4" fmla="*/ 25472 h 4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24" h="41505">
                  <a:moveTo>
                    <a:pt x="605" y="25472"/>
                  </a:moveTo>
                  <a:cubicBezTo>
                    <a:pt x="3691" y="34729"/>
                    <a:pt x="12948" y="43986"/>
                    <a:pt x="25291" y="40901"/>
                  </a:cubicBezTo>
                  <a:cubicBezTo>
                    <a:pt x="34548" y="37815"/>
                    <a:pt x="43805" y="28558"/>
                    <a:pt x="40720" y="16215"/>
                  </a:cubicBezTo>
                  <a:cubicBezTo>
                    <a:pt x="37634" y="3872"/>
                    <a:pt x="28377" y="-2300"/>
                    <a:pt x="16034" y="786"/>
                  </a:cubicBezTo>
                  <a:cubicBezTo>
                    <a:pt x="6777" y="3872"/>
                    <a:pt x="-2481" y="13129"/>
                    <a:pt x="605" y="25472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3E55BB2D-CCAB-43B2-B5D9-99A526DA3DDC}"/>
                </a:ext>
              </a:extLst>
            </p:cNvPr>
            <p:cNvSpPr/>
            <p:nvPr/>
          </p:nvSpPr>
          <p:spPr>
            <a:xfrm>
              <a:off x="7810491" y="7862582"/>
              <a:ext cx="93078" cy="33943"/>
            </a:xfrm>
            <a:custGeom>
              <a:avLst/>
              <a:gdLst>
                <a:gd name="connsiteX0" fmla="*/ 87678 w 93078"/>
                <a:gd name="connsiteY0" fmla="*/ 33943 h 33943"/>
                <a:gd name="connsiteX1" fmla="*/ 81507 w 93078"/>
                <a:gd name="connsiteY1" fmla="*/ 30857 h 33943"/>
                <a:gd name="connsiteX2" fmla="*/ 13621 w 93078"/>
                <a:gd name="connsiteY2" fmla="*/ 24686 h 33943"/>
                <a:gd name="connsiteX3" fmla="*/ 1278 w 93078"/>
                <a:gd name="connsiteY3" fmla="*/ 21600 h 33943"/>
                <a:gd name="connsiteX4" fmla="*/ 4364 w 93078"/>
                <a:gd name="connsiteY4" fmla="*/ 9257 h 33943"/>
                <a:gd name="connsiteX5" fmla="*/ 90764 w 93078"/>
                <a:gd name="connsiteY5" fmla="*/ 18514 h 33943"/>
                <a:gd name="connsiteX6" fmla="*/ 90764 w 93078"/>
                <a:gd name="connsiteY6" fmla="*/ 30857 h 33943"/>
                <a:gd name="connsiteX7" fmla="*/ 87678 w 93078"/>
                <a:gd name="connsiteY7" fmla="*/ 33943 h 33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3943">
                  <a:moveTo>
                    <a:pt x="87678" y="33943"/>
                  </a:moveTo>
                  <a:cubicBezTo>
                    <a:pt x="84592" y="33943"/>
                    <a:pt x="84592" y="33943"/>
                    <a:pt x="81507" y="30857"/>
                  </a:cubicBezTo>
                  <a:cubicBezTo>
                    <a:pt x="53735" y="3086"/>
                    <a:pt x="13621" y="24686"/>
                    <a:pt x="13621" y="24686"/>
                  </a:cubicBezTo>
                  <a:cubicBezTo>
                    <a:pt x="10535" y="27772"/>
                    <a:pt x="4364" y="24686"/>
                    <a:pt x="1278" y="21600"/>
                  </a:cubicBezTo>
                  <a:cubicBezTo>
                    <a:pt x="-1808" y="18514"/>
                    <a:pt x="1278" y="12343"/>
                    <a:pt x="4364" y="9257"/>
                  </a:cubicBezTo>
                  <a:cubicBezTo>
                    <a:pt x="22878" y="0"/>
                    <a:pt x="62993" y="-9257"/>
                    <a:pt x="90764" y="18514"/>
                  </a:cubicBezTo>
                  <a:cubicBezTo>
                    <a:pt x="93850" y="21600"/>
                    <a:pt x="93850" y="27772"/>
                    <a:pt x="90764" y="30857"/>
                  </a:cubicBezTo>
                  <a:cubicBezTo>
                    <a:pt x="90764" y="33943"/>
                    <a:pt x="87678" y="33943"/>
                    <a:pt x="87678" y="33943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4C9917A4-4EE8-4053-B9C1-748A43524A15}"/>
                </a:ext>
              </a:extLst>
            </p:cNvPr>
            <p:cNvSpPr/>
            <p:nvPr/>
          </p:nvSpPr>
          <p:spPr>
            <a:xfrm>
              <a:off x="7618140" y="7865981"/>
              <a:ext cx="93078" cy="36714"/>
            </a:xfrm>
            <a:custGeom>
              <a:avLst/>
              <a:gdLst>
                <a:gd name="connsiteX0" fmla="*/ 8486 w 93078"/>
                <a:gd name="connsiteY0" fmla="*/ 36715 h 36714"/>
                <a:gd name="connsiteX1" fmla="*/ 2314 w 93078"/>
                <a:gd name="connsiteY1" fmla="*/ 33629 h 36714"/>
                <a:gd name="connsiteX2" fmla="*/ 2314 w 93078"/>
                <a:gd name="connsiteY2" fmla="*/ 21286 h 36714"/>
                <a:gd name="connsiteX3" fmla="*/ 88714 w 93078"/>
                <a:gd name="connsiteY3" fmla="*/ 12029 h 36714"/>
                <a:gd name="connsiteX4" fmla="*/ 91800 w 93078"/>
                <a:gd name="connsiteY4" fmla="*/ 24372 h 36714"/>
                <a:gd name="connsiteX5" fmla="*/ 79457 w 93078"/>
                <a:gd name="connsiteY5" fmla="*/ 27457 h 36714"/>
                <a:gd name="connsiteX6" fmla="*/ 11571 w 93078"/>
                <a:gd name="connsiteY6" fmla="*/ 33629 h 36714"/>
                <a:gd name="connsiteX7" fmla="*/ 8486 w 93078"/>
                <a:gd name="connsiteY7" fmla="*/ 36715 h 3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6714">
                  <a:moveTo>
                    <a:pt x="8486" y="36715"/>
                  </a:moveTo>
                  <a:cubicBezTo>
                    <a:pt x="5400" y="36715"/>
                    <a:pt x="5400" y="36715"/>
                    <a:pt x="2314" y="33629"/>
                  </a:cubicBezTo>
                  <a:cubicBezTo>
                    <a:pt x="-771" y="30543"/>
                    <a:pt x="-771" y="24372"/>
                    <a:pt x="2314" y="21286"/>
                  </a:cubicBezTo>
                  <a:cubicBezTo>
                    <a:pt x="14657" y="5858"/>
                    <a:pt x="51686" y="-12657"/>
                    <a:pt x="88714" y="12029"/>
                  </a:cubicBezTo>
                  <a:cubicBezTo>
                    <a:pt x="91800" y="15115"/>
                    <a:pt x="94886" y="18200"/>
                    <a:pt x="91800" y="24372"/>
                  </a:cubicBezTo>
                  <a:cubicBezTo>
                    <a:pt x="88714" y="27457"/>
                    <a:pt x="85629" y="30543"/>
                    <a:pt x="79457" y="27457"/>
                  </a:cubicBezTo>
                  <a:cubicBezTo>
                    <a:pt x="42428" y="2772"/>
                    <a:pt x="14657" y="33629"/>
                    <a:pt x="11571" y="33629"/>
                  </a:cubicBezTo>
                  <a:cubicBezTo>
                    <a:pt x="14657" y="36715"/>
                    <a:pt x="11571" y="36715"/>
                    <a:pt x="8486" y="36715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29532182-C956-4418-89F5-2CF10D786206}"/>
                </a:ext>
              </a:extLst>
            </p:cNvPr>
            <p:cNvSpPr/>
            <p:nvPr/>
          </p:nvSpPr>
          <p:spPr>
            <a:xfrm>
              <a:off x="7614283" y="8186582"/>
              <a:ext cx="233742" cy="64800"/>
            </a:xfrm>
            <a:custGeom>
              <a:avLst/>
              <a:gdLst>
                <a:gd name="connsiteX0" fmla="*/ 151200 w 233742"/>
                <a:gd name="connsiteY0" fmla="*/ 64800 h 64800"/>
                <a:gd name="connsiteX1" fmla="*/ 3086 w 233742"/>
                <a:gd name="connsiteY1" fmla="*/ 12343 h 64800"/>
                <a:gd name="connsiteX2" fmla="*/ 0 w 233742"/>
                <a:gd name="connsiteY2" fmla="*/ 3086 h 64800"/>
                <a:gd name="connsiteX3" fmla="*/ 9257 w 233742"/>
                <a:gd name="connsiteY3" fmla="*/ 0 h 64800"/>
                <a:gd name="connsiteX4" fmla="*/ 151200 w 233742"/>
                <a:gd name="connsiteY4" fmla="*/ 49372 h 64800"/>
                <a:gd name="connsiteX5" fmla="*/ 151200 w 233742"/>
                <a:gd name="connsiteY5" fmla="*/ 49372 h 64800"/>
                <a:gd name="connsiteX6" fmla="*/ 222171 w 233742"/>
                <a:gd name="connsiteY6" fmla="*/ 24686 h 64800"/>
                <a:gd name="connsiteX7" fmla="*/ 231429 w 233742"/>
                <a:gd name="connsiteY7" fmla="*/ 24686 h 64800"/>
                <a:gd name="connsiteX8" fmla="*/ 231429 w 233742"/>
                <a:gd name="connsiteY8" fmla="*/ 33943 h 64800"/>
                <a:gd name="connsiteX9" fmla="*/ 151200 w 233742"/>
                <a:gd name="connsiteY9" fmla="*/ 64800 h 64800"/>
                <a:gd name="connsiteX10" fmla="*/ 151200 w 233742"/>
                <a:gd name="connsiteY10" fmla="*/ 64800 h 6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742" h="64800">
                  <a:moveTo>
                    <a:pt x="151200" y="64800"/>
                  </a:moveTo>
                  <a:cubicBezTo>
                    <a:pt x="98743" y="64800"/>
                    <a:pt x="9257" y="15429"/>
                    <a:pt x="3086" y="12343"/>
                  </a:cubicBezTo>
                  <a:cubicBezTo>
                    <a:pt x="0" y="9257"/>
                    <a:pt x="0" y="6171"/>
                    <a:pt x="0" y="3086"/>
                  </a:cubicBezTo>
                  <a:cubicBezTo>
                    <a:pt x="3086" y="0"/>
                    <a:pt x="6171" y="0"/>
                    <a:pt x="9257" y="0"/>
                  </a:cubicBezTo>
                  <a:cubicBezTo>
                    <a:pt x="9257" y="0"/>
                    <a:pt x="101829" y="49372"/>
                    <a:pt x="151200" y="49372"/>
                  </a:cubicBezTo>
                  <a:cubicBezTo>
                    <a:pt x="151200" y="49372"/>
                    <a:pt x="151200" y="49372"/>
                    <a:pt x="151200" y="49372"/>
                  </a:cubicBezTo>
                  <a:cubicBezTo>
                    <a:pt x="191314" y="49372"/>
                    <a:pt x="222171" y="24686"/>
                    <a:pt x="222171" y="24686"/>
                  </a:cubicBezTo>
                  <a:cubicBezTo>
                    <a:pt x="225257" y="21600"/>
                    <a:pt x="228343" y="21600"/>
                    <a:pt x="231429" y="24686"/>
                  </a:cubicBezTo>
                  <a:cubicBezTo>
                    <a:pt x="234514" y="27772"/>
                    <a:pt x="234514" y="30857"/>
                    <a:pt x="231429" y="33943"/>
                  </a:cubicBezTo>
                  <a:cubicBezTo>
                    <a:pt x="228343" y="37028"/>
                    <a:pt x="194400" y="64800"/>
                    <a:pt x="151200" y="64800"/>
                  </a:cubicBezTo>
                  <a:cubicBezTo>
                    <a:pt x="151200" y="64800"/>
                    <a:pt x="151200" y="64800"/>
                    <a:pt x="151200" y="64800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D799F258-2130-47F0-BEB1-37B94BA44D31}"/>
                </a:ext>
              </a:extLst>
            </p:cNvPr>
            <p:cNvSpPr/>
            <p:nvPr/>
          </p:nvSpPr>
          <p:spPr>
            <a:xfrm>
              <a:off x="7481277" y="7692867"/>
              <a:ext cx="114491" cy="271542"/>
            </a:xfrm>
            <a:custGeom>
              <a:avLst/>
              <a:gdLst>
                <a:gd name="connsiteX0" fmla="*/ 114492 w 114491"/>
                <a:gd name="connsiteY0" fmla="*/ 129600 h 271542"/>
                <a:gd name="connsiteX1" fmla="*/ 65120 w 114491"/>
                <a:gd name="connsiteY1" fmla="*/ 271543 h 271542"/>
                <a:gd name="connsiteX2" fmla="*/ 6492 w 114491"/>
                <a:gd name="connsiteY2" fmla="*/ 169714 h 271542"/>
                <a:gd name="connsiteX3" fmla="*/ 65120 w 114491"/>
                <a:gd name="connsiteY3" fmla="*/ 0 h 271542"/>
                <a:gd name="connsiteX4" fmla="*/ 114492 w 114491"/>
                <a:gd name="connsiteY4" fmla="*/ 129600 h 27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491" h="271542">
                  <a:moveTo>
                    <a:pt x="114492" y="129600"/>
                  </a:moveTo>
                  <a:cubicBezTo>
                    <a:pt x="114492" y="129600"/>
                    <a:pt x="58949" y="240686"/>
                    <a:pt x="65120" y="271543"/>
                  </a:cubicBezTo>
                  <a:cubicBezTo>
                    <a:pt x="65120" y="271543"/>
                    <a:pt x="21920" y="225257"/>
                    <a:pt x="6492" y="169714"/>
                  </a:cubicBezTo>
                  <a:cubicBezTo>
                    <a:pt x="-8937" y="111086"/>
                    <a:pt x="320" y="15429"/>
                    <a:pt x="65120" y="0"/>
                  </a:cubicBezTo>
                  <a:cubicBezTo>
                    <a:pt x="65120" y="3086"/>
                    <a:pt x="71291" y="111086"/>
                    <a:pt x="114492" y="129600"/>
                  </a:cubicBezTo>
                  <a:close/>
                </a:path>
              </a:pathLst>
            </a:custGeom>
            <a:solidFill>
              <a:srgbClr val="664241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DE30A386-0790-441F-B1DF-79D80E537586}"/>
                </a:ext>
              </a:extLst>
            </p:cNvPr>
            <p:cNvSpPr/>
            <p:nvPr/>
          </p:nvSpPr>
          <p:spPr>
            <a:xfrm>
              <a:off x="7535202" y="7576148"/>
              <a:ext cx="443809" cy="354319"/>
            </a:xfrm>
            <a:custGeom>
              <a:avLst/>
              <a:gdLst>
                <a:gd name="connsiteX0" fmla="*/ 60567 w 443809"/>
                <a:gd name="connsiteY0" fmla="*/ 246319 h 354319"/>
                <a:gd name="connsiteX1" fmla="*/ 183995 w 443809"/>
                <a:gd name="connsiteY1" fmla="*/ 206205 h 354319"/>
                <a:gd name="connsiteX2" fmla="*/ 427767 w 443809"/>
                <a:gd name="connsiteY2" fmla="*/ 354319 h 354319"/>
                <a:gd name="connsiteX3" fmla="*/ 430852 w 443809"/>
                <a:gd name="connsiteY3" fmla="*/ 184605 h 354319"/>
                <a:gd name="connsiteX4" fmla="*/ 338281 w 443809"/>
                <a:gd name="connsiteY4" fmla="*/ 33405 h 354319"/>
                <a:gd name="connsiteX5" fmla="*/ 134624 w 443809"/>
                <a:gd name="connsiteY5" fmla="*/ 17977 h 354319"/>
                <a:gd name="connsiteX6" fmla="*/ 11195 w 443809"/>
                <a:gd name="connsiteY6" fmla="*/ 113634 h 354319"/>
                <a:gd name="connsiteX7" fmla="*/ 60567 w 443809"/>
                <a:gd name="connsiteY7" fmla="*/ 246319 h 35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3809" h="354319">
                  <a:moveTo>
                    <a:pt x="60567" y="246319"/>
                  </a:moveTo>
                  <a:cubicBezTo>
                    <a:pt x="60567" y="246319"/>
                    <a:pt x="156224" y="206205"/>
                    <a:pt x="183995" y="206205"/>
                  </a:cubicBezTo>
                  <a:cubicBezTo>
                    <a:pt x="285824" y="209291"/>
                    <a:pt x="443195" y="280262"/>
                    <a:pt x="427767" y="354319"/>
                  </a:cubicBezTo>
                  <a:cubicBezTo>
                    <a:pt x="427767" y="354319"/>
                    <a:pt x="461710" y="249405"/>
                    <a:pt x="430852" y="184605"/>
                  </a:cubicBezTo>
                  <a:cubicBezTo>
                    <a:pt x="430852" y="184605"/>
                    <a:pt x="430852" y="58091"/>
                    <a:pt x="338281" y="33405"/>
                  </a:cubicBezTo>
                  <a:cubicBezTo>
                    <a:pt x="245710" y="8719"/>
                    <a:pt x="205595" y="-19052"/>
                    <a:pt x="134624" y="17977"/>
                  </a:cubicBezTo>
                  <a:cubicBezTo>
                    <a:pt x="63652" y="58091"/>
                    <a:pt x="17366" y="76605"/>
                    <a:pt x="11195" y="113634"/>
                  </a:cubicBezTo>
                  <a:cubicBezTo>
                    <a:pt x="11195" y="119805"/>
                    <a:pt x="-35091" y="233977"/>
                    <a:pt x="60567" y="246319"/>
                  </a:cubicBezTo>
                  <a:close/>
                </a:path>
              </a:pathLst>
            </a:custGeom>
            <a:solidFill>
              <a:srgbClr val="664241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D669098F-8C08-4D30-B653-C661C3D804F2}"/>
                </a:ext>
              </a:extLst>
            </p:cNvPr>
            <p:cNvSpPr/>
            <p:nvPr/>
          </p:nvSpPr>
          <p:spPr>
            <a:xfrm>
              <a:off x="7480534" y="7933360"/>
              <a:ext cx="79577" cy="111841"/>
            </a:xfrm>
            <a:custGeom>
              <a:avLst/>
              <a:gdLst>
                <a:gd name="connsiteX0" fmla="*/ 65863 w 79577"/>
                <a:gd name="connsiteY0" fmla="*/ 15621 h 111841"/>
                <a:gd name="connsiteX1" fmla="*/ 7235 w 79577"/>
                <a:gd name="connsiteY1" fmla="*/ 6364 h 111841"/>
                <a:gd name="connsiteX2" fmla="*/ 65863 w 79577"/>
                <a:gd name="connsiteY2" fmla="*/ 108193 h 111841"/>
                <a:gd name="connsiteX3" fmla="*/ 65863 w 79577"/>
                <a:gd name="connsiteY3" fmla="*/ 15621 h 111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577" h="111841">
                  <a:moveTo>
                    <a:pt x="65863" y="15621"/>
                  </a:moveTo>
                  <a:cubicBezTo>
                    <a:pt x="65863" y="15621"/>
                    <a:pt x="31920" y="-12150"/>
                    <a:pt x="7235" y="6364"/>
                  </a:cubicBezTo>
                  <a:cubicBezTo>
                    <a:pt x="-17451" y="24879"/>
                    <a:pt x="25749" y="132879"/>
                    <a:pt x="65863" y="108193"/>
                  </a:cubicBezTo>
                  <a:cubicBezTo>
                    <a:pt x="96720" y="89678"/>
                    <a:pt x="65863" y="15621"/>
                    <a:pt x="65863" y="15621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45844B29-3EA8-4FCA-8977-7D6564401B07}"/>
                </a:ext>
              </a:extLst>
            </p:cNvPr>
            <p:cNvSpPr/>
            <p:nvPr/>
          </p:nvSpPr>
          <p:spPr>
            <a:xfrm>
              <a:off x="7528465" y="7710104"/>
              <a:ext cx="73475" cy="245049"/>
            </a:xfrm>
            <a:custGeom>
              <a:avLst/>
              <a:gdLst>
                <a:gd name="connsiteX0" fmla="*/ 17932 w 73475"/>
                <a:gd name="connsiteY0" fmla="*/ 245049 h 245049"/>
                <a:gd name="connsiteX1" fmla="*/ 17932 w 73475"/>
                <a:gd name="connsiteY1" fmla="*/ 245049 h 245049"/>
                <a:gd name="connsiteX2" fmla="*/ 11761 w 73475"/>
                <a:gd name="connsiteY2" fmla="*/ 238878 h 245049"/>
                <a:gd name="connsiteX3" fmla="*/ 58047 w 73475"/>
                <a:gd name="connsiteY3" fmla="*/ 115450 h 245049"/>
                <a:gd name="connsiteX4" fmla="*/ 8675 w 73475"/>
                <a:gd name="connsiteY4" fmla="*/ 72250 h 245049"/>
                <a:gd name="connsiteX5" fmla="*/ 5590 w 73475"/>
                <a:gd name="connsiteY5" fmla="*/ 4364 h 245049"/>
                <a:gd name="connsiteX6" fmla="*/ 11761 w 73475"/>
                <a:gd name="connsiteY6" fmla="*/ 1278 h 245049"/>
                <a:gd name="connsiteX7" fmla="*/ 14846 w 73475"/>
                <a:gd name="connsiteY7" fmla="*/ 7450 h 245049"/>
                <a:gd name="connsiteX8" fmla="*/ 14846 w 73475"/>
                <a:gd name="connsiteY8" fmla="*/ 66078 h 245049"/>
                <a:gd name="connsiteX9" fmla="*/ 64218 w 73475"/>
                <a:gd name="connsiteY9" fmla="*/ 106192 h 245049"/>
                <a:gd name="connsiteX10" fmla="*/ 73475 w 73475"/>
                <a:gd name="connsiteY10" fmla="*/ 109278 h 245049"/>
                <a:gd name="connsiteX11" fmla="*/ 67304 w 73475"/>
                <a:gd name="connsiteY11" fmla="*/ 115450 h 245049"/>
                <a:gd name="connsiteX12" fmla="*/ 21018 w 73475"/>
                <a:gd name="connsiteY12" fmla="*/ 238878 h 245049"/>
                <a:gd name="connsiteX13" fmla="*/ 17932 w 73475"/>
                <a:gd name="connsiteY13" fmla="*/ 245049 h 24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475" h="245049">
                  <a:moveTo>
                    <a:pt x="17932" y="245049"/>
                  </a:moveTo>
                  <a:cubicBezTo>
                    <a:pt x="17932" y="245049"/>
                    <a:pt x="17932" y="245049"/>
                    <a:pt x="17932" y="245049"/>
                  </a:cubicBezTo>
                  <a:cubicBezTo>
                    <a:pt x="14846" y="245049"/>
                    <a:pt x="11761" y="241964"/>
                    <a:pt x="11761" y="238878"/>
                  </a:cubicBezTo>
                  <a:cubicBezTo>
                    <a:pt x="14846" y="186421"/>
                    <a:pt x="45704" y="133964"/>
                    <a:pt x="58047" y="115450"/>
                  </a:cubicBezTo>
                  <a:cubicBezTo>
                    <a:pt x="45704" y="109278"/>
                    <a:pt x="21018" y="96935"/>
                    <a:pt x="8675" y="72250"/>
                  </a:cubicBezTo>
                  <a:cubicBezTo>
                    <a:pt x="-582" y="53735"/>
                    <a:pt x="-3668" y="29049"/>
                    <a:pt x="5590" y="4364"/>
                  </a:cubicBezTo>
                  <a:cubicBezTo>
                    <a:pt x="5590" y="1278"/>
                    <a:pt x="8675" y="-1808"/>
                    <a:pt x="11761" y="1278"/>
                  </a:cubicBezTo>
                  <a:cubicBezTo>
                    <a:pt x="14846" y="1278"/>
                    <a:pt x="17932" y="4364"/>
                    <a:pt x="14846" y="7450"/>
                  </a:cubicBezTo>
                  <a:cubicBezTo>
                    <a:pt x="8675" y="29049"/>
                    <a:pt x="8675" y="47564"/>
                    <a:pt x="14846" y="66078"/>
                  </a:cubicBezTo>
                  <a:cubicBezTo>
                    <a:pt x="30275" y="93850"/>
                    <a:pt x="64218" y="106192"/>
                    <a:pt x="64218" y="106192"/>
                  </a:cubicBezTo>
                  <a:lnTo>
                    <a:pt x="73475" y="109278"/>
                  </a:lnTo>
                  <a:lnTo>
                    <a:pt x="67304" y="115450"/>
                  </a:lnTo>
                  <a:cubicBezTo>
                    <a:pt x="67304" y="115450"/>
                    <a:pt x="24104" y="177164"/>
                    <a:pt x="21018" y="238878"/>
                  </a:cubicBezTo>
                  <a:cubicBezTo>
                    <a:pt x="24104" y="241964"/>
                    <a:pt x="21018" y="245049"/>
                    <a:pt x="17932" y="245049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D0058D6D-5959-44A1-88AE-C1094348E668}"/>
                </a:ext>
              </a:extLst>
            </p:cNvPr>
            <p:cNvSpPr/>
            <p:nvPr/>
          </p:nvSpPr>
          <p:spPr>
            <a:xfrm>
              <a:off x="7299540" y="12015953"/>
              <a:ext cx="206742" cy="259200"/>
            </a:xfrm>
            <a:custGeom>
              <a:avLst/>
              <a:gdLst>
                <a:gd name="connsiteX0" fmla="*/ 0 w 206742"/>
                <a:gd name="connsiteY0" fmla="*/ 219086 h 259200"/>
                <a:gd name="connsiteX1" fmla="*/ 0 w 206742"/>
                <a:gd name="connsiteY1" fmla="*/ 0 h 259200"/>
                <a:gd name="connsiteX2" fmla="*/ 206743 w 206742"/>
                <a:gd name="connsiteY2" fmla="*/ 0 h 259200"/>
                <a:gd name="connsiteX3" fmla="*/ 166628 w 206742"/>
                <a:gd name="connsiteY3" fmla="*/ 228344 h 259200"/>
                <a:gd name="connsiteX4" fmla="*/ 12343 w 206742"/>
                <a:gd name="connsiteY4" fmla="*/ 259201 h 25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742" h="259200">
                  <a:moveTo>
                    <a:pt x="0" y="219086"/>
                  </a:moveTo>
                  <a:lnTo>
                    <a:pt x="0" y="0"/>
                  </a:lnTo>
                  <a:lnTo>
                    <a:pt x="206743" y="0"/>
                  </a:lnTo>
                  <a:lnTo>
                    <a:pt x="166628" y="228344"/>
                  </a:lnTo>
                  <a:lnTo>
                    <a:pt x="12343" y="259201"/>
                  </a:ln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DB74A042-A321-4341-8B4B-8E77C4C889EE}"/>
                </a:ext>
              </a:extLst>
            </p:cNvPr>
            <p:cNvSpPr/>
            <p:nvPr/>
          </p:nvSpPr>
          <p:spPr>
            <a:xfrm>
              <a:off x="7195879" y="9834353"/>
              <a:ext cx="1163164" cy="2283428"/>
            </a:xfrm>
            <a:custGeom>
              <a:avLst/>
              <a:gdLst>
                <a:gd name="connsiteX0" fmla="*/ 1057146 w 1163164"/>
                <a:gd name="connsiteY0" fmla="*/ 18514 h 2283428"/>
                <a:gd name="connsiteX1" fmla="*/ 1155890 w 1163164"/>
                <a:gd name="connsiteY1" fmla="*/ 1407086 h 2283428"/>
                <a:gd name="connsiteX2" fmla="*/ 872004 w 1163164"/>
                <a:gd name="connsiteY2" fmla="*/ 2283429 h 2283428"/>
                <a:gd name="connsiteX3" fmla="*/ 581947 w 1163164"/>
                <a:gd name="connsiteY3" fmla="*/ 2283429 h 2283428"/>
                <a:gd name="connsiteX4" fmla="*/ 736232 w 1163164"/>
                <a:gd name="connsiteY4" fmla="*/ 1271314 h 2283428"/>
                <a:gd name="connsiteX5" fmla="*/ 554175 w 1163164"/>
                <a:gd name="connsiteY5" fmla="*/ 506057 h 2283428"/>
                <a:gd name="connsiteX6" fmla="*/ 523318 w 1163164"/>
                <a:gd name="connsiteY6" fmla="*/ 1255885 h 2283428"/>
                <a:gd name="connsiteX7" fmla="*/ 356689 w 1163164"/>
                <a:gd name="connsiteY7" fmla="*/ 2277257 h 2283428"/>
                <a:gd name="connsiteX8" fmla="*/ 45032 w 1163164"/>
                <a:gd name="connsiteY8" fmla="*/ 2261828 h 2283428"/>
                <a:gd name="connsiteX9" fmla="*/ 26518 w 1163164"/>
                <a:gd name="connsiteY9" fmla="*/ 1175657 h 2283428"/>
                <a:gd name="connsiteX10" fmla="*/ 23432 w 1163164"/>
                <a:gd name="connsiteY10" fmla="*/ 0 h 2283428"/>
                <a:gd name="connsiteX11" fmla="*/ 1057146 w 1163164"/>
                <a:gd name="connsiteY11" fmla="*/ 18514 h 2283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3164" h="2283428">
                  <a:moveTo>
                    <a:pt x="1057146" y="18514"/>
                  </a:moveTo>
                  <a:cubicBezTo>
                    <a:pt x="1057146" y="18514"/>
                    <a:pt x="1196004" y="1302171"/>
                    <a:pt x="1155890" y="1407086"/>
                  </a:cubicBezTo>
                  <a:cubicBezTo>
                    <a:pt x="1118861" y="1515086"/>
                    <a:pt x="872004" y="2283429"/>
                    <a:pt x="872004" y="2283429"/>
                  </a:cubicBezTo>
                  <a:lnTo>
                    <a:pt x="581947" y="2283429"/>
                  </a:lnTo>
                  <a:cubicBezTo>
                    <a:pt x="581947" y="2283429"/>
                    <a:pt x="730061" y="1370057"/>
                    <a:pt x="736232" y="1271314"/>
                  </a:cubicBezTo>
                  <a:cubicBezTo>
                    <a:pt x="742404" y="1172571"/>
                    <a:pt x="569604" y="536914"/>
                    <a:pt x="554175" y="506057"/>
                  </a:cubicBezTo>
                  <a:cubicBezTo>
                    <a:pt x="538747" y="475200"/>
                    <a:pt x="523318" y="1255885"/>
                    <a:pt x="523318" y="1255885"/>
                  </a:cubicBezTo>
                  <a:lnTo>
                    <a:pt x="356689" y="2277257"/>
                  </a:lnTo>
                  <a:lnTo>
                    <a:pt x="45032" y="2261828"/>
                  </a:lnTo>
                  <a:cubicBezTo>
                    <a:pt x="45032" y="2261828"/>
                    <a:pt x="41947" y="1274400"/>
                    <a:pt x="26518" y="1175657"/>
                  </a:cubicBezTo>
                  <a:cubicBezTo>
                    <a:pt x="11089" y="1076914"/>
                    <a:pt x="-22854" y="98742"/>
                    <a:pt x="23432" y="0"/>
                  </a:cubicBezTo>
                  <a:cubicBezTo>
                    <a:pt x="730061" y="30857"/>
                    <a:pt x="1057146" y="18514"/>
                    <a:pt x="1057146" y="18514"/>
                  </a:cubicBezTo>
                  <a:close/>
                </a:path>
              </a:pathLst>
            </a:custGeom>
            <a:solidFill>
              <a:srgbClr val="70868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857B1D47-E74C-4842-B298-39A2DA625090}"/>
                </a:ext>
              </a:extLst>
            </p:cNvPr>
            <p:cNvSpPr/>
            <p:nvPr/>
          </p:nvSpPr>
          <p:spPr>
            <a:xfrm>
              <a:off x="7709940" y="7752025"/>
              <a:ext cx="196714" cy="39584"/>
            </a:xfrm>
            <a:custGeom>
              <a:avLst/>
              <a:gdLst>
                <a:gd name="connsiteX0" fmla="*/ 6171 w 196714"/>
                <a:gd name="connsiteY0" fmla="*/ 39585 h 39584"/>
                <a:gd name="connsiteX1" fmla="*/ 0 w 196714"/>
                <a:gd name="connsiteY1" fmla="*/ 36499 h 39584"/>
                <a:gd name="connsiteX2" fmla="*/ 3085 w 196714"/>
                <a:gd name="connsiteY2" fmla="*/ 27242 h 39584"/>
                <a:gd name="connsiteX3" fmla="*/ 194400 w 196714"/>
                <a:gd name="connsiteY3" fmla="*/ 21071 h 39584"/>
                <a:gd name="connsiteX4" fmla="*/ 194400 w 196714"/>
                <a:gd name="connsiteY4" fmla="*/ 30328 h 39584"/>
                <a:gd name="connsiteX5" fmla="*/ 185143 w 196714"/>
                <a:gd name="connsiteY5" fmla="*/ 30328 h 39584"/>
                <a:gd name="connsiteX6" fmla="*/ 6171 w 196714"/>
                <a:gd name="connsiteY6" fmla="*/ 39585 h 39584"/>
                <a:gd name="connsiteX7" fmla="*/ 6171 w 196714"/>
                <a:gd name="connsiteY7" fmla="*/ 39585 h 39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714" h="39584">
                  <a:moveTo>
                    <a:pt x="6171" y="39585"/>
                  </a:moveTo>
                  <a:cubicBezTo>
                    <a:pt x="3085" y="39585"/>
                    <a:pt x="3085" y="39585"/>
                    <a:pt x="0" y="36499"/>
                  </a:cubicBezTo>
                  <a:cubicBezTo>
                    <a:pt x="0" y="33414"/>
                    <a:pt x="0" y="30328"/>
                    <a:pt x="3085" y="27242"/>
                  </a:cubicBezTo>
                  <a:cubicBezTo>
                    <a:pt x="9257" y="24156"/>
                    <a:pt x="123429" y="-28301"/>
                    <a:pt x="194400" y="21071"/>
                  </a:cubicBezTo>
                  <a:cubicBezTo>
                    <a:pt x="197486" y="24156"/>
                    <a:pt x="197486" y="27242"/>
                    <a:pt x="194400" y="30328"/>
                  </a:cubicBezTo>
                  <a:cubicBezTo>
                    <a:pt x="191314" y="33414"/>
                    <a:pt x="188228" y="33414"/>
                    <a:pt x="185143" y="30328"/>
                  </a:cubicBezTo>
                  <a:cubicBezTo>
                    <a:pt x="123429" y="-12872"/>
                    <a:pt x="12343" y="39585"/>
                    <a:pt x="6171" y="39585"/>
                  </a:cubicBezTo>
                  <a:cubicBezTo>
                    <a:pt x="9257" y="39585"/>
                    <a:pt x="9257" y="39585"/>
                    <a:pt x="6171" y="39585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77F63726-326B-4D3D-92ED-64C81DF0FA18}"/>
                </a:ext>
              </a:extLst>
            </p:cNvPr>
            <p:cNvSpPr/>
            <p:nvPr/>
          </p:nvSpPr>
          <p:spPr>
            <a:xfrm>
              <a:off x="7194626" y="8306925"/>
              <a:ext cx="1083912" cy="1585870"/>
            </a:xfrm>
            <a:custGeom>
              <a:avLst/>
              <a:gdLst>
                <a:gd name="connsiteX0" fmla="*/ 401143 w 1083912"/>
                <a:gd name="connsiteY0" fmla="*/ 0 h 1585870"/>
                <a:gd name="connsiteX1" fmla="*/ 694286 w 1083912"/>
                <a:gd name="connsiteY1" fmla="*/ 0 h 1585870"/>
                <a:gd name="connsiteX2" fmla="*/ 996685 w 1083912"/>
                <a:gd name="connsiteY2" fmla="*/ 132685 h 1585870"/>
                <a:gd name="connsiteX3" fmla="*/ 1083085 w 1083912"/>
                <a:gd name="connsiteY3" fmla="*/ 1555200 h 1585870"/>
                <a:gd name="connsiteX4" fmla="*/ 0 w 1083912"/>
                <a:gd name="connsiteY4" fmla="*/ 1530515 h 1585870"/>
                <a:gd name="connsiteX5" fmla="*/ 117257 w 1083912"/>
                <a:gd name="connsiteY5" fmla="*/ 104914 h 1585870"/>
                <a:gd name="connsiteX6" fmla="*/ 401143 w 1083912"/>
                <a:gd name="connsiteY6" fmla="*/ 0 h 15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3912" h="1585870">
                  <a:moveTo>
                    <a:pt x="401143" y="0"/>
                  </a:moveTo>
                  <a:cubicBezTo>
                    <a:pt x="401143" y="0"/>
                    <a:pt x="577029" y="55542"/>
                    <a:pt x="694286" y="0"/>
                  </a:cubicBezTo>
                  <a:cubicBezTo>
                    <a:pt x="694286" y="0"/>
                    <a:pt x="972000" y="98743"/>
                    <a:pt x="996685" y="132685"/>
                  </a:cubicBezTo>
                  <a:cubicBezTo>
                    <a:pt x="1021371" y="163542"/>
                    <a:pt x="1092343" y="1487314"/>
                    <a:pt x="1083085" y="1555200"/>
                  </a:cubicBezTo>
                  <a:cubicBezTo>
                    <a:pt x="1083085" y="1555200"/>
                    <a:pt x="586286" y="1638515"/>
                    <a:pt x="0" y="1530515"/>
                  </a:cubicBezTo>
                  <a:cubicBezTo>
                    <a:pt x="0" y="1169486"/>
                    <a:pt x="74057" y="135771"/>
                    <a:pt x="117257" y="104914"/>
                  </a:cubicBezTo>
                  <a:cubicBezTo>
                    <a:pt x="157371" y="70971"/>
                    <a:pt x="401143" y="0"/>
                    <a:pt x="401143" y="0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50B2FC47-01F2-43B6-B30D-C9EA0F35C05D}"/>
                </a:ext>
              </a:extLst>
            </p:cNvPr>
            <p:cNvSpPr/>
            <p:nvPr/>
          </p:nvSpPr>
          <p:spPr>
            <a:xfrm>
              <a:off x="7592683" y="8306925"/>
              <a:ext cx="182056" cy="120342"/>
            </a:xfrm>
            <a:custGeom>
              <a:avLst/>
              <a:gdLst>
                <a:gd name="connsiteX0" fmla="*/ 182057 w 182056"/>
                <a:gd name="connsiteY0" fmla="*/ 21600 h 120342"/>
                <a:gd name="connsiteX1" fmla="*/ 154286 w 182056"/>
                <a:gd name="connsiteY1" fmla="*/ 120343 h 120342"/>
                <a:gd name="connsiteX2" fmla="*/ 0 w 182056"/>
                <a:gd name="connsiteY2" fmla="*/ 0 h 120342"/>
                <a:gd name="connsiteX3" fmla="*/ 182057 w 182056"/>
                <a:gd name="connsiteY3" fmla="*/ 21600 h 12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056" h="120342">
                  <a:moveTo>
                    <a:pt x="182057" y="21600"/>
                  </a:moveTo>
                  <a:lnTo>
                    <a:pt x="154286" y="120343"/>
                  </a:lnTo>
                  <a:lnTo>
                    <a:pt x="0" y="0"/>
                  </a:lnTo>
                  <a:cubicBezTo>
                    <a:pt x="3086" y="0"/>
                    <a:pt x="138857" y="21600"/>
                    <a:pt x="182057" y="21600"/>
                  </a:cubicBezTo>
                  <a:close/>
                </a:path>
              </a:pathLst>
            </a:custGeom>
            <a:solidFill>
              <a:srgbClr val="FFFFFF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3B49EB0E-900D-44D1-9990-AC077D619CBF}"/>
                </a:ext>
              </a:extLst>
            </p:cNvPr>
            <p:cNvSpPr/>
            <p:nvPr/>
          </p:nvSpPr>
          <p:spPr>
            <a:xfrm>
              <a:off x="7774740" y="8306925"/>
              <a:ext cx="111085" cy="117256"/>
            </a:xfrm>
            <a:custGeom>
              <a:avLst/>
              <a:gdLst>
                <a:gd name="connsiteX0" fmla="*/ 0 w 111085"/>
                <a:gd name="connsiteY0" fmla="*/ 21600 h 117256"/>
                <a:gd name="connsiteX1" fmla="*/ 37029 w 111085"/>
                <a:gd name="connsiteY1" fmla="*/ 117257 h 117256"/>
                <a:gd name="connsiteX2" fmla="*/ 111086 w 111085"/>
                <a:gd name="connsiteY2" fmla="*/ 0 h 117256"/>
                <a:gd name="connsiteX3" fmla="*/ 0 w 111085"/>
                <a:gd name="connsiteY3" fmla="*/ 21600 h 11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085" h="117256">
                  <a:moveTo>
                    <a:pt x="0" y="21600"/>
                  </a:moveTo>
                  <a:lnTo>
                    <a:pt x="37029" y="117257"/>
                  </a:lnTo>
                  <a:lnTo>
                    <a:pt x="111086" y="0"/>
                  </a:lnTo>
                  <a:cubicBezTo>
                    <a:pt x="111086" y="0"/>
                    <a:pt x="40114" y="21600"/>
                    <a:pt x="0" y="21600"/>
                  </a:cubicBezTo>
                  <a:close/>
                </a:path>
              </a:pathLst>
            </a:custGeom>
            <a:solidFill>
              <a:srgbClr val="FFFFFF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75D5EBD8-B39C-4FE6-B4E6-3F0FE1820E9B}"/>
                </a:ext>
              </a:extLst>
            </p:cNvPr>
            <p:cNvSpPr/>
            <p:nvPr/>
          </p:nvSpPr>
          <p:spPr>
            <a:xfrm>
              <a:off x="8031481" y="8394827"/>
              <a:ext cx="456059" cy="618726"/>
            </a:xfrm>
            <a:custGeom>
              <a:avLst/>
              <a:gdLst>
                <a:gd name="connsiteX0" fmla="*/ 64173 w 456059"/>
                <a:gd name="connsiteY0" fmla="*/ 618726 h 618726"/>
                <a:gd name="connsiteX1" fmla="*/ 51830 w 456059"/>
                <a:gd name="connsiteY1" fmla="*/ 10840 h 618726"/>
                <a:gd name="connsiteX2" fmla="*/ 456059 w 456059"/>
                <a:gd name="connsiteY2" fmla="*/ 449012 h 618726"/>
                <a:gd name="connsiteX3" fmla="*/ 64173 w 456059"/>
                <a:gd name="connsiteY3" fmla="*/ 618726 h 61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059" h="618726">
                  <a:moveTo>
                    <a:pt x="64173" y="618726"/>
                  </a:moveTo>
                  <a:cubicBezTo>
                    <a:pt x="64173" y="618726"/>
                    <a:pt x="-71598" y="91069"/>
                    <a:pt x="51830" y="10840"/>
                  </a:cubicBezTo>
                  <a:cubicBezTo>
                    <a:pt x="196859" y="-81731"/>
                    <a:pt x="456059" y="449012"/>
                    <a:pt x="456059" y="449012"/>
                  </a:cubicBezTo>
                  <a:cubicBezTo>
                    <a:pt x="456059" y="449012"/>
                    <a:pt x="277088" y="600212"/>
                    <a:pt x="64173" y="618726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748AB390-A4CC-45BD-9C9F-A08752112628}"/>
                </a:ext>
              </a:extLst>
            </p:cNvPr>
            <p:cNvSpPr/>
            <p:nvPr/>
          </p:nvSpPr>
          <p:spPr>
            <a:xfrm>
              <a:off x="8182055" y="8433439"/>
              <a:ext cx="53735" cy="558514"/>
            </a:xfrm>
            <a:custGeom>
              <a:avLst/>
              <a:gdLst>
                <a:gd name="connsiteX0" fmla="*/ 49371 w 53735"/>
                <a:gd name="connsiteY0" fmla="*/ 558515 h 558514"/>
                <a:gd name="connsiteX1" fmla="*/ 43200 w 53735"/>
                <a:gd name="connsiteY1" fmla="*/ 552343 h 558514"/>
                <a:gd name="connsiteX2" fmla="*/ 0 w 53735"/>
                <a:gd name="connsiteY2" fmla="*/ 6171 h 558514"/>
                <a:gd name="connsiteX3" fmla="*/ 3085 w 53735"/>
                <a:gd name="connsiteY3" fmla="*/ 0 h 558514"/>
                <a:gd name="connsiteX4" fmla="*/ 9257 w 53735"/>
                <a:gd name="connsiteY4" fmla="*/ 3086 h 558514"/>
                <a:gd name="connsiteX5" fmla="*/ 52457 w 53735"/>
                <a:gd name="connsiteY5" fmla="*/ 552343 h 558514"/>
                <a:gd name="connsiteX6" fmla="*/ 49371 w 53735"/>
                <a:gd name="connsiteY6" fmla="*/ 558515 h 558514"/>
                <a:gd name="connsiteX7" fmla="*/ 49371 w 53735"/>
                <a:gd name="connsiteY7" fmla="*/ 558515 h 55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735" h="558514">
                  <a:moveTo>
                    <a:pt x="49371" y="558515"/>
                  </a:moveTo>
                  <a:cubicBezTo>
                    <a:pt x="46286" y="558515"/>
                    <a:pt x="43200" y="555429"/>
                    <a:pt x="43200" y="552343"/>
                  </a:cubicBezTo>
                  <a:cubicBezTo>
                    <a:pt x="43200" y="546171"/>
                    <a:pt x="6171" y="46286"/>
                    <a:pt x="0" y="6171"/>
                  </a:cubicBezTo>
                  <a:cubicBezTo>
                    <a:pt x="0" y="3086"/>
                    <a:pt x="0" y="0"/>
                    <a:pt x="3085" y="0"/>
                  </a:cubicBezTo>
                  <a:cubicBezTo>
                    <a:pt x="6171" y="0"/>
                    <a:pt x="9257" y="0"/>
                    <a:pt x="9257" y="3086"/>
                  </a:cubicBezTo>
                  <a:cubicBezTo>
                    <a:pt x="18514" y="43200"/>
                    <a:pt x="52457" y="530743"/>
                    <a:pt x="52457" y="552343"/>
                  </a:cubicBezTo>
                  <a:cubicBezTo>
                    <a:pt x="55542" y="555429"/>
                    <a:pt x="52457" y="558515"/>
                    <a:pt x="49371" y="558515"/>
                  </a:cubicBezTo>
                  <a:cubicBezTo>
                    <a:pt x="49371" y="558515"/>
                    <a:pt x="49371" y="558515"/>
                    <a:pt x="49371" y="558515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8634CE49-70C4-4D99-A7D3-3B88AC3C2D57}"/>
                </a:ext>
              </a:extLst>
            </p:cNvPr>
            <p:cNvSpPr/>
            <p:nvPr/>
          </p:nvSpPr>
          <p:spPr>
            <a:xfrm>
              <a:off x="7746969" y="9979381"/>
              <a:ext cx="70971" cy="370285"/>
            </a:xfrm>
            <a:custGeom>
              <a:avLst/>
              <a:gdLst>
                <a:gd name="connsiteX0" fmla="*/ 6171 w 70971"/>
                <a:gd name="connsiteY0" fmla="*/ 370286 h 370285"/>
                <a:gd name="connsiteX1" fmla="*/ 6171 w 70971"/>
                <a:gd name="connsiteY1" fmla="*/ 370286 h 370285"/>
                <a:gd name="connsiteX2" fmla="*/ 0 w 70971"/>
                <a:gd name="connsiteY2" fmla="*/ 361029 h 370285"/>
                <a:gd name="connsiteX3" fmla="*/ 58628 w 70971"/>
                <a:gd name="connsiteY3" fmla="*/ 6172 h 370285"/>
                <a:gd name="connsiteX4" fmla="*/ 64800 w 70971"/>
                <a:gd name="connsiteY4" fmla="*/ 0 h 370285"/>
                <a:gd name="connsiteX5" fmla="*/ 70972 w 70971"/>
                <a:gd name="connsiteY5" fmla="*/ 6172 h 370285"/>
                <a:gd name="connsiteX6" fmla="*/ 12343 w 70971"/>
                <a:gd name="connsiteY6" fmla="*/ 364115 h 370285"/>
                <a:gd name="connsiteX7" fmla="*/ 6171 w 70971"/>
                <a:gd name="connsiteY7" fmla="*/ 370286 h 37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71" h="370285">
                  <a:moveTo>
                    <a:pt x="6171" y="370286"/>
                  </a:moveTo>
                  <a:cubicBezTo>
                    <a:pt x="3086" y="370286"/>
                    <a:pt x="3086" y="370286"/>
                    <a:pt x="6171" y="370286"/>
                  </a:cubicBezTo>
                  <a:cubicBezTo>
                    <a:pt x="0" y="367201"/>
                    <a:pt x="0" y="364115"/>
                    <a:pt x="0" y="361029"/>
                  </a:cubicBezTo>
                  <a:cubicBezTo>
                    <a:pt x="49372" y="246857"/>
                    <a:pt x="58628" y="9258"/>
                    <a:pt x="58628" y="6172"/>
                  </a:cubicBezTo>
                  <a:cubicBezTo>
                    <a:pt x="58628" y="3086"/>
                    <a:pt x="61714" y="0"/>
                    <a:pt x="64800" y="0"/>
                  </a:cubicBezTo>
                  <a:cubicBezTo>
                    <a:pt x="67886" y="0"/>
                    <a:pt x="70972" y="3086"/>
                    <a:pt x="70972" y="6172"/>
                  </a:cubicBezTo>
                  <a:cubicBezTo>
                    <a:pt x="70972" y="15429"/>
                    <a:pt x="61714" y="246857"/>
                    <a:pt x="12343" y="364115"/>
                  </a:cubicBezTo>
                  <a:cubicBezTo>
                    <a:pt x="9257" y="367201"/>
                    <a:pt x="6171" y="370286"/>
                    <a:pt x="6171" y="370286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96CABF7F-4ECE-4733-903C-2C1BD13757B9}"/>
                </a:ext>
              </a:extLst>
            </p:cNvPr>
            <p:cNvSpPr/>
            <p:nvPr/>
          </p:nvSpPr>
          <p:spPr>
            <a:xfrm>
              <a:off x="7773462" y="9908410"/>
              <a:ext cx="158649" cy="361028"/>
            </a:xfrm>
            <a:custGeom>
              <a:avLst/>
              <a:gdLst>
                <a:gd name="connsiteX0" fmla="*/ 7450 w 158649"/>
                <a:gd name="connsiteY0" fmla="*/ 361029 h 361028"/>
                <a:gd name="connsiteX1" fmla="*/ 1278 w 158649"/>
                <a:gd name="connsiteY1" fmla="*/ 357943 h 361028"/>
                <a:gd name="connsiteX2" fmla="*/ 4364 w 158649"/>
                <a:gd name="connsiteY2" fmla="*/ 348685 h 361028"/>
                <a:gd name="connsiteX3" fmla="*/ 112364 w 158649"/>
                <a:gd name="connsiteY3" fmla="*/ 271542 h 361028"/>
                <a:gd name="connsiteX4" fmla="*/ 146307 w 158649"/>
                <a:gd name="connsiteY4" fmla="*/ 6172 h 361028"/>
                <a:gd name="connsiteX5" fmla="*/ 152478 w 158649"/>
                <a:gd name="connsiteY5" fmla="*/ 0 h 361028"/>
                <a:gd name="connsiteX6" fmla="*/ 158650 w 158649"/>
                <a:gd name="connsiteY6" fmla="*/ 6172 h 361028"/>
                <a:gd name="connsiteX7" fmla="*/ 124707 w 158649"/>
                <a:gd name="connsiteY7" fmla="*/ 277714 h 361028"/>
                <a:gd name="connsiteX8" fmla="*/ 13621 w 158649"/>
                <a:gd name="connsiteY8" fmla="*/ 357943 h 361028"/>
                <a:gd name="connsiteX9" fmla="*/ 7450 w 158649"/>
                <a:gd name="connsiteY9" fmla="*/ 361029 h 36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8649" h="361028">
                  <a:moveTo>
                    <a:pt x="7450" y="361029"/>
                  </a:moveTo>
                  <a:cubicBezTo>
                    <a:pt x="4364" y="361029"/>
                    <a:pt x="4364" y="361029"/>
                    <a:pt x="1278" y="357943"/>
                  </a:cubicBezTo>
                  <a:cubicBezTo>
                    <a:pt x="-1807" y="354857"/>
                    <a:pt x="1278" y="351771"/>
                    <a:pt x="4364" y="348685"/>
                  </a:cubicBezTo>
                  <a:cubicBezTo>
                    <a:pt x="44478" y="324000"/>
                    <a:pt x="103107" y="280800"/>
                    <a:pt x="112364" y="271542"/>
                  </a:cubicBezTo>
                  <a:cubicBezTo>
                    <a:pt x="121621" y="259200"/>
                    <a:pt x="137050" y="101828"/>
                    <a:pt x="146307" y="6172"/>
                  </a:cubicBezTo>
                  <a:cubicBezTo>
                    <a:pt x="146307" y="3086"/>
                    <a:pt x="149392" y="0"/>
                    <a:pt x="152478" y="0"/>
                  </a:cubicBezTo>
                  <a:cubicBezTo>
                    <a:pt x="155564" y="0"/>
                    <a:pt x="158650" y="3086"/>
                    <a:pt x="158650" y="6172"/>
                  </a:cubicBezTo>
                  <a:cubicBezTo>
                    <a:pt x="155564" y="49372"/>
                    <a:pt x="133964" y="262286"/>
                    <a:pt x="124707" y="277714"/>
                  </a:cubicBezTo>
                  <a:cubicBezTo>
                    <a:pt x="112364" y="293143"/>
                    <a:pt x="22878" y="351771"/>
                    <a:pt x="13621" y="357943"/>
                  </a:cubicBezTo>
                  <a:cubicBezTo>
                    <a:pt x="10535" y="361029"/>
                    <a:pt x="7450" y="361029"/>
                    <a:pt x="7450" y="361029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2168E334-F59A-4815-84F5-D2D7E84E0F2B}"/>
                </a:ext>
              </a:extLst>
            </p:cNvPr>
            <p:cNvSpPr/>
            <p:nvPr/>
          </p:nvSpPr>
          <p:spPr>
            <a:xfrm>
              <a:off x="7216568" y="12213439"/>
              <a:ext cx="289458" cy="339428"/>
            </a:xfrm>
            <a:custGeom>
              <a:avLst/>
              <a:gdLst>
                <a:gd name="connsiteX0" fmla="*/ 2743 w 289458"/>
                <a:gd name="connsiteY0" fmla="*/ 228343 h 339428"/>
                <a:gd name="connsiteX1" fmla="*/ 2743 w 289458"/>
                <a:gd name="connsiteY1" fmla="*/ 283885 h 339428"/>
                <a:gd name="connsiteX2" fmla="*/ 138515 w 289458"/>
                <a:gd name="connsiteY2" fmla="*/ 339429 h 339428"/>
                <a:gd name="connsiteX3" fmla="*/ 283543 w 289458"/>
                <a:gd name="connsiteY3" fmla="*/ 283885 h 339428"/>
                <a:gd name="connsiteX4" fmla="*/ 271200 w 289458"/>
                <a:gd name="connsiteY4" fmla="*/ 40114 h 339428"/>
                <a:gd name="connsiteX5" fmla="*/ 255772 w 289458"/>
                <a:gd name="connsiteY5" fmla="*/ 0 h 339428"/>
                <a:gd name="connsiteX6" fmla="*/ 237257 w 289458"/>
                <a:gd name="connsiteY6" fmla="*/ 228343 h 339428"/>
                <a:gd name="connsiteX7" fmla="*/ 2743 w 289458"/>
                <a:gd name="connsiteY7" fmla="*/ 228343 h 339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9458" h="339428">
                  <a:moveTo>
                    <a:pt x="2743" y="228343"/>
                  </a:moveTo>
                  <a:cubicBezTo>
                    <a:pt x="2743" y="228343"/>
                    <a:pt x="-3429" y="271542"/>
                    <a:pt x="2743" y="283885"/>
                  </a:cubicBezTo>
                  <a:cubicBezTo>
                    <a:pt x="12000" y="302400"/>
                    <a:pt x="73714" y="339429"/>
                    <a:pt x="138515" y="339429"/>
                  </a:cubicBezTo>
                  <a:cubicBezTo>
                    <a:pt x="215657" y="339429"/>
                    <a:pt x="268114" y="302400"/>
                    <a:pt x="283543" y="283885"/>
                  </a:cubicBezTo>
                  <a:cubicBezTo>
                    <a:pt x="302057" y="265371"/>
                    <a:pt x="271200" y="40114"/>
                    <a:pt x="271200" y="40114"/>
                  </a:cubicBezTo>
                  <a:lnTo>
                    <a:pt x="255772" y="0"/>
                  </a:lnTo>
                  <a:lnTo>
                    <a:pt x="237257" y="228343"/>
                  </a:lnTo>
                  <a:lnTo>
                    <a:pt x="2743" y="228343"/>
                  </a:ln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5E3ACE55-DB2E-44C5-993B-99704B38D5E7}"/>
                </a:ext>
              </a:extLst>
            </p:cNvPr>
            <p:cNvSpPr/>
            <p:nvPr/>
          </p:nvSpPr>
          <p:spPr>
            <a:xfrm>
              <a:off x="7218449" y="12198011"/>
              <a:ext cx="274482" cy="314955"/>
            </a:xfrm>
            <a:custGeom>
              <a:avLst/>
              <a:gdLst>
                <a:gd name="connsiteX0" fmla="*/ 78006 w 274482"/>
                <a:gd name="connsiteY0" fmla="*/ 0 h 314955"/>
                <a:gd name="connsiteX1" fmla="*/ 256977 w 274482"/>
                <a:gd name="connsiteY1" fmla="*/ 15429 h 314955"/>
                <a:gd name="connsiteX2" fmla="*/ 272406 w 274482"/>
                <a:gd name="connsiteY2" fmla="*/ 253028 h 314955"/>
                <a:gd name="connsiteX3" fmla="*/ 130463 w 274482"/>
                <a:gd name="connsiteY3" fmla="*/ 314742 h 314955"/>
                <a:gd name="connsiteX4" fmla="*/ 863 w 274482"/>
                <a:gd name="connsiteY4" fmla="*/ 249942 h 314955"/>
                <a:gd name="connsiteX5" fmla="*/ 78006 w 274482"/>
                <a:gd name="connsiteY5" fmla="*/ 0 h 314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4482" h="314955">
                  <a:moveTo>
                    <a:pt x="78006" y="0"/>
                  </a:moveTo>
                  <a:cubicBezTo>
                    <a:pt x="78006" y="0"/>
                    <a:pt x="139720" y="70971"/>
                    <a:pt x="256977" y="15429"/>
                  </a:cubicBezTo>
                  <a:cubicBezTo>
                    <a:pt x="256977" y="15429"/>
                    <a:pt x="281663" y="219085"/>
                    <a:pt x="272406" y="253028"/>
                  </a:cubicBezTo>
                  <a:cubicBezTo>
                    <a:pt x="260063" y="286971"/>
                    <a:pt x="170577" y="317828"/>
                    <a:pt x="130463" y="314742"/>
                  </a:cubicBezTo>
                  <a:cubicBezTo>
                    <a:pt x="90349" y="311656"/>
                    <a:pt x="13206" y="274628"/>
                    <a:pt x="863" y="249942"/>
                  </a:cubicBezTo>
                  <a:cubicBezTo>
                    <a:pt x="-8394" y="228343"/>
                    <a:pt x="59492" y="55542"/>
                    <a:pt x="78006" y="0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28B5DCAE-3DEE-4245-8D94-EAAC3734D674}"/>
                </a:ext>
              </a:extLst>
            </p:cNvPr>
            <p:cNvSpPr/>
            <p:nvPr/>
          </p:nvSpPr>
          <p:spPr>
            <a:xfrm>
              <a:off x="7289005" y="12190561"/>
              <a:ext cx="192592" cy="50649"/>
            </a:xfrm>
            <a:custGeom>
              <a:avLst/>
              <a:gdLst>
                <a:gd name="connsiteX0" fmla="*/ 93849 w 192592"/>
                <a:gd name="connsiteY0" fmla="*/ 50650 h 50649"/>
                <a:gd name="connsiteX1" fmla="*/ 1278 w 192592"/>
                <a:gd name="connsiteY1" fmla="*/ 10535 h 50649"/>
                <a:gd name="connsiteX2" fmla="*/ 4364 w 192592"/>
                <a:gd name="connsiteY2" fmla="*/ 1278 h 50649"/>
                <a:gd name="connsiteX3" fmla="*/ 13621 w 192592"/>
                <a:gd name="connsiteY3" fmla="*/ 4364 h 50649"/>
                <a:gd name="connsiteX4" fmla="*/ 186421 w 192592"/>
                <a:gd name="connsiteY4" fmla="*/ 16707 h 50649"/>
                <a:gd name="connsiteX5" fmla="*/ 192592 w 192592"/>
                <a:gd name="connsiteY5" fmla="*/ 19793 h 50649"/>
                <a:gd name="connsiteX6" fmla="*/ 189507 w 192592"/>
                <a:gd name="connsiteY6" fmla="*/ 25964 h 50649"/>
                <a:gd name="connsiteX7" fmla="*/ 93849 w 192592"/>
                <a:gd name="connsiteY7" fmla="*/ 50650 h 50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2592" h="50649">
                  <a:moveTo>
                    <a:pt x="93849" y="50650"/>
                  </a:moveTo>
                  <a:cubicBezTo>
                    <a:pt x="29050" y="50650"/>
                    <a:pt x="4364" y="13621"/>
                    <a:pt x="1278" y="10535"/>
                  </a:cubicBezTo>
                  <a:cubicBezTo>
                    <a:pt x="-1807" y="7450"/>
                    <a:pt x="1278" y="4364"/>
                    <a:pt x="4364" y="1278"/>
                  </a:cubicBezTo>
                  <a:cubicBezTo>
                    <a:pt x="7449" y="-1808"/>
                    <a:pt x="10535" y="1278"/>
                    <a:pt x="13621" y="4364"/>
                  </a:cubicBezTo>
                  <a:cubicBezTo>
                    <a:pt x="16707" y="7450"/>
                    <a:pt x="59907" y="72249"/>
                    <a:pt x="186421" y="16707"/>
                  </a:cubicBezTo>
                  <a:cubicBezTo>
                    <a:pt x="189507" y="16707"/>
                    <a:pt x="192592" y="16707"/>
                    <a:pt x="192592" y="19793"/>
                  </a:cubicBezTo>
                  <a:cubicBezTo>
                    <a:pt x="192592" y="22879"/>
                    <a:pt x="192592" y="25964"/>
                    <a:pt x="189507" y="25964"/>
                  </a:cubicBezTo>
                  <a:cubicBezTo>
                    <a:pt x="152478" y="44478"/>
                    <a:pt x="118535" y="50650"/>
                    <a:pt x="93849" y="50650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4F70BD6D-A12A-4819-868D-752F91C63A75}"/>
                </a:ext>
              </a:extLst>
            </p:cNvPr>
            <p:cNvSpPr/>
            <p:nvPr/>
          </p:nvSpPr>
          <p:spPr>
            <a:xfrm>
              <a:off x="7308797" y="12268982"/>
              <a:ext cx="123428" cy="27771"/>
            </a:xfrm>
            <a:custGeom>
              <a:avLst/>
              <a:gdLst>
                <a:gd name="connsiteX0" fmla="*/ 80228 w 123428"/>
                <a:gd name="connsiteY0" fmla="*/ 27771 h 27771"/>
                <a:gd name="connsiteX1" fmla="*/ 3085 w 123428"/>
                <a:gd name="connsiteY1" fmla="*/ 9257 h 27771"/>
                <a:gd name="connsiteX2" fmla="*/ 0 w 123428"/>
                <a:gd name="connsiteY2" fmla="*/ 3086 h 27771"/>
                <a:gd name="connsiteX3" fmla="*/ 6171 w 123428"/>
                <a:gd name="connsiteY3" fmla="*/ 0 h 27771"/>
                <a:gd name="connsiteX4" fmla="*/ 117257 w 123428"/>
                <a:gd name="connsiteY4" fmla="*/ 12343 h 27771"/>
                <a:gd name="connsiteX5" fmla="*/ 123429 w 123428"/>
                <a:gd name="connsiteY5" fmla="*/ 15429 h 27771"/>
                <a:gd name="connsiteX6" fmla="*/ 120343 w 123428"/>
                <a:gd name="connsiteY6" fmla="*/ 21600 h 27771"/>
                <a:gd name="connsiteX7" fmla="*/ 80228 w 123428"/>
                <a:gd name="connsiteY7" fmla="*/ 27771 h 27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428" h="27771">
                  <a:moveTo>
                    <a:pt x="80228" y="27771"/>
                  </a:moveTo>
                  <a:cubicBezTo>
                    <a:pt x="33943" y="27771"/>
                    <a:pt x="3085" y="12343"/>
                    <a:pt x="3085" y="9257"/>
                  </a:cubicBezTo>
                  <a:cubicBezTo>
                    <a:pt x="0" y="9257"/>
                    <a:pt x="0" y="3086"/>
                    <a:pt x="0" y="3086"/>
                  </a:cubicBezTo>
                  <a:cubicBezTo>
                    <a:pt x="0" y="0"/>
                    <a:pt x="6171" y="0"/>
                    <a:pt x="6171" y="0"/>
                  </a:cubicBezTo>
                  <a:cubicBezTo>
                    <a:pt x="6171" y="0"/>
                    <a:pt x="55543" y="24685"/>
                    <a:pt x="117257" y="12343"/>
                  </a:cubicBezTo>
                  <a:cubicBezTo>
                    <a:pt x="120343" y="12343"/>
                    <a:pt x="123429" y="12343"/>
                    <a:pt x="123429" y="15429"/>
                  </a:cubicBezTo>
                  <a:cubicBezTo>
                    <a:pt x="123429" y="18514"/>
                    <a:pt x="123429" y="21600"/>
                    <a:pt x="120343" y="21600"/>
                  </a:cubicBezTo>
                  <a:cubicBezTo>
                    <a:pt x="104914" y="24685"/>
                    <a:pt x="92571" y="27771"/>
                    <a:pt x="80228" y="27771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9431F86D-607D-4FCC-A0D9-45C9736F850B}"/>
                </a:ext>
              </a:extLst>
            </p:cNvPr>
            <p:cNvSpPr/>
            <p:nvPr/>
          </p:nvSpPr>
          <p:spPr>
            <a:xfrm>
              <a:off x="7293369" y="12324524"/>
              <a:ext cx="126514" cy="27772"/>
            </a:xfrm>
            <a:custGeom>
              <a:avLst/>
              <a:gdLst>
                <a:gd name="connsiteX0" fmla="*/ 80228 w 126514"/>
                <a:gd name="connsiteY0" fmla="*/ 27772 h 27772"/>
                <a:gd name="connsiteX1" fmla="*/ 3085 w 126514"/>
                <a:gd name="connsiteY1" fmla="*/ 9258 h 27772"/>
                <a:gd name="connsiteX2" fmla="*/ 0 w 126514"/>
                <a:gd name="connsiteY2" fmla="*/ 3086 h 27772"/>
                <a:gd name="connsiteX3" fmla="*/ 9257 w 126514"/>
                <a:gd name="connsiteY3" fmla="*/ 0 h 27772"/>
                <a:gd name="connsiteX4" fmla="*/ 120343 w 126514"/>
                <a:gd name="connsiteY4" fmla="*/ 12344 h 27772"/>
                <a:gd name="connsiteX5" fmla="*/ 126514 w 126514"/>
                <a:gd name="connsiteY5" fmla="*/ 15429 h 27772"/>
                <a:gd name="connsiteX6" fmla="*/ 123429 w 126514"/>
                <a:gd name="connsiteY6" fmla="*/ 21600 h 27772"/>
                <a:gd name="connsiteX7" fmla="*/ 80228 w 126514"/>
                <a:gd name="connsiteY7" fmla="*/ 27772 h 2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514" h="27772">
                  <a:moveTo>
                    <a:pt x="80228" y="27772"/>
                  </a:moveTo>
                  <a:cubicBezTo>
                    <a:pt x="33943" y="27772"/>
                    <a:pt x="3085" y="12344"/>
                    <a:pt x="3085" y="9258"/>
                  </a:cubicBezTo>
                  <a:cubicBezTo>
                    <a:pt x="0" y="9258"/>
                    <a:pt x="0" y="3086"/>
                    <a:pt x="0" y="3086"/>
                  </a:cubicBezTo>
                  <a:cubicBezTo>
                    <a:pt x="0" y="0"/>
                    <a:pt x="6171" y="0"/>
                    <a:pt x="9257" y="0"/>
                  </a:cubicBezTo>
                  <a:cubicBezTo>
                    <a:pt x="9257" y="0"/>
                    <a:pt x="58628" y="24686"/>
                    <a:pt x="120343" y="12344"/>
                  </a:cubicBezTo>
                  <a:cubicBezTo>
                    <a:pt x="123429" y="12344"/>
                    <a:pt x="126514" y="12344"/>
                    <a:pt x="126514" y="15429"/>
                  </a:cubicBezTo>
                  <a:cubicBezTo>
                    <a:pt x="126514" y="18514"/>
                    <a:pt x="126514" y="21600"/>
                    <a:pt x="123429" y="21600"/>
                  </a:cubicBezTo>
                  <a:cubicBezTo>
                    <a:pt x="108000" y="24686"/>
                    <a:pt x="92571" y="27772"/>
                    <a:pt x="80228" y="27772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AF2F564C-44DC-4313-9DF8-3BB78C564450}"/>
                </a:ext>
              </a:extLst>
            </p:cNvPr>
            <p:cNvSpPr/>
            <p:nvPr/>
          </p:nvSpPr>
          <p:spPr>
            <a:xfrm>
              <a:off x="6949988" y="8877782"/>
              <a:ext cx="778466" cy="879428"/>
            </a:xfrm>
            <a:custGeom>
              <a:avLst/>
              <a:gdLst>
                <a:gd name="connsiteX0" fmla="*/ 377323 w 778466"/>
                <a:gd name="connsiteY0" fmla="*/ 24685 h 879428"/>
                <a:gd name="connsiteX1" fmla="*/ 269323 w 778466"/>
                <a:gd name="connsiteY1" fmla="*/ 564685 h 879428"/>
                <a:gd name="connsiteX2" fmla="*/ 778466 w 778466"/>
                <a:gd name="connsiteY2" fmla="*/ 740571 h 879428"/>
                <a:gd name="connsiteX3" fmla="*/ 695152 w 778466"/>
                <a:gd name="connsiteY3" fmla="*/ 879429 h 879428"/>
                <a:gd name="connsiteX4" fmla="*/ 31723 w 778466"/>
                <a:gd name="connsiteY4" fmla="*/ 706628 h 879428"/>
                <a:gd name="connsiteX5" fmla="*/ 105781 w 778466"/>
                <a:gd name="connsiteY5" fmla="*/ 0 h 879428"/>
                <a:gd name="connsiteX6" fmla="*/ 377323 w 778466"/>
                <a:gd name="connsiteY6" fmla="*/ 24685 h 879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8466" h="879428">
                  <a:moveTo>
                    <a:pt x="377323" y="24685"/>
                  </a:moveTo>
                  <a:lnTo>
                    <a:pt x="269323" y="564685"/>
                  </a:lnTo>
                  <a:lnTo>
                    <a:pt x="778466" y="740571"/>
                  </a:lnTo>
                  <a:lnTo>
                    <a:pt x="695152" y="879429"/>
                  </a:lnTo>
                  <a:cubicBezTo>
                    <a:pt x="695152" y="879429"/>
                    <a:pt x="133552" y="786857"/>
                    <a:pt x="31723" y="706628"/>
                  </a:cubicBezTo>
                  <a:cubicBezTo>
                    <a:pt x="-70105" y="626400"/>
                    <a:pt x="105781" y="0"/>
                    <a:pt x="105781" y="0"/>
                  </a:cubicBezTo>
                  <a:lnTo>
                    <a:pt x="377323" y="24685"/>
                  </a:ln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4B6F9AC2-4353-4687-8636-F664AD3E4FEF}"/>
                </a:ext>
              </a:extLst>
            </p:cNvPr>
            <p:cNvSpPr/>
            <p:nvPr/>
          </p:nvSpPr>
          <p:spPr>
            <a:xfrm>
              <a:off x="7154512" y="9004296"/>
              <a:ext cx="157371" cy="475200"/>
            </a:xfrm>
            <a:custGeom>
              <a:avLst/>
              <a:gdLst>
                <a:gd name="connsiteX0" fmla="*/ 6171 w 157371"/>
                <a:gd name="connsiteY0" fmla="*/ 475200 h 475200"/>
                <a:gd name="connsiteX1" fmla="*/ 0 w 157371"/>
                <a:gd name="connsiteY1" fmla="*/ 472114 h 475200"/>
                <a:gd name="connsiteX2" fmla="*/ 3085 w 157371"/>
                <a:gd name="connsiteY2" fmla="*/ 465943 h 475200"/>
                <a:gd name="connsiteX3" fmla="*/ 58628 w 157371"/>
                <a:gd name="connsiteY3" fmla="*/ 435086 h 475200"/>
                <a:gd name="connsiteX4" fmla="*/ 145028 w 157371"/>
                <a:gd name="connsiteY4" fmla="*/ 0 h 475200"/>
                <a:gd name="connsiteX5" fmla="*/ 157371 w 157371"/>
                <a:gd name="connsiteY5" fmla="*/ 3086 h 475200"/>
                <a:gd name="connsiteX6" fmla="*/ 70972 w 157371"/>
                <a:gd name="connsiteY6" fmla="*/ 441257 h 475200"/>
                <a:gd name="connsiteX7" fmla="*/ 67886 w 157371"/>
                <a:gd name="connsiteY7" fmla="*/ 444343 h 475200"/>
                <a:gd name="connsiteX8" fmla="*/ 6171 w 157371"/>
                <a:gd name="connsiteY8" fmla="*/ 475200 h 475200"/>
                <a:gd name="connsiteX9" fmla="*/ 6171 w 157371"/>
                <a:gd name="connsiteY9" fmla="*/ 475200 h 47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1" h="475200">
                  <a:moveTo>
                    <a:pt x="6171" y="475200"/>
                  </a:moveTo>
                  <a:cubicBezTo>
                    <a:pt x="3085" y="475200"/>
                    <a:pt x="3085" y="475200"/>
                    <a:pt x="0" y="472114"/>
                  </a:cubicBezTo>
                  <a:cubicBezTo>
                    <a:pt x="0" y="469028"/>
                    <a:pt x="0" y="465943"/>
                    <a:pt x="3085" y="465943"/>
                  </a:cubicBezTo>
                  <a:cubicBezTo>
                    <a:pt x="18514" y="459772"/>
                    <a:pt x="52457" y="441257"/>
                    <a:pt x="58628" y="435086"/>
                  </a:cubicBezTo>
                  <a:cubicBezTo>
                    <a:pt x="83314" y="314743"/>
                    <a:pt x="145028" y="0"/>
                    <a:pt x="145028" y="0"/>
                  </a:cubicBezTo>
                  <a:lnTo>
                    <a:pt x="157371" y="3086"/>
                  </a:lnTo>
                  <a:cubicBezTo>
                    <a:pt x="157371" y="3086"/>
                    <a:pt x="92571" y="324000"/>
                    <a:pt x="70972" y="441257"/>
                  </a:cubicBezTo>
                  <a:cubicBezTo>
                    <a:pt x="70972" y="441257"/>
                    <a:pt x="70972" y="444343"/>
                    <a:pt x="67886" y="444343"/>
                  </a:cubicBezTo>
                  <a:cubicBezTo>
                    <a:pt x="67886" y="444343"/>
                    <a:pt x="27771" y="469028"/>
                    <a:pt x="6171" y="475200"/>
                  </a:cubicBezTo>
                  <a:cubicBezTo>
                    <a:pt x="6171" y="475200"/>
                    <a:pt x="6171" y="475200"/>
                    <a:pt x="6171" y="475200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E73315C2-F037-47F0-B427-7B5CEDF0081E}"/>
                </a:ext>
              </a:extLst>
            </p:cNvPr>
            <p:cNvSpPr/>
            <p:nvPr/>
          </p:nvSpPr>
          <p:spPr>
            <a:xfrm>
              <a:off x="6994055" y="8411839"/>
              <a:ext cx="434644" cy="590850"/>
            </a:xfrm>
            <a:custGeom>
              <a:avLst/>
              <a:gdLst>
                <a:gd name="connsiteX0" fmla="*/ 0 w 434644"/>
                <a:gd name="connsiteY0" fmla="*/ 518400 h 590850"/>
                <a:gd name="connsiteX1" fmla="*/ 314743 w 434644"/>
                <a:gd name="connsiteY1" fmla="*/ 0 h 590850"/>
                <a:gd name="connsiteX2" fmla="*/ 422743 w 434644"/>
                <a:gd name="connsiteY2" fmla="*/ 586286 h 590850"/>
                <a:gd name="connsiteX3" fmla="*/ 0 w 434644"/>
                <a:gd name="connsiteY3" fmla="*/ 518400 h 59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4644" h="590850">
                  <a:moveTo>
                    <a:pt x="0" y="518400"/>
                  </a:moveTo>
                  <a:cubicBezTo>
                    <a:pt x="0" y="518400"/>
                    <a:pt x="166628" y="0"/>
                    <a:pt x="314743" y="0"/>
                  </a:cubicBezTo>
                  <a:cubicBezTo>
                    <a:pt x="487542" y="0"/>
                    <a:pt x="422743" y="586286"/>
                    <a:pt x="422743" y="586286"/>
                  </a:cubicBezTo>
                  <a:cubicBezTo>
                    <a:pt x="422743" y="586286"/>
                    <a:pt x="191314" y="617143"/>
                    <a:pt x="0" y="518400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ABCCB6FE-F710-456D-8EDF-6F6E4F424938}"/>
                </a:ext>
              </a:extLst>
            </p:cNvPr>
            <p:cNvSpPr/>
            <p:nvPr/>
          </p:nvSpPr>
          <p:spPr>
            <a:xfrm>
              <a:off x="7271769" y="8407475"/>
              <a:ext cx="154915" cy="602992"/>
            </a:xfrm>
            <a:custGeom>
              <a:avLst/>
              <a:gdLst>
                <a:gd name="connsiteX0" fmla="*/ 52457 w 154915"/>
                <a:gd name="connsiteY0" fmla="*/ 602992 h 602992"/>
                <a:gd name="connsiteX1" fmla="*/ 6171 w 154915"/>
                <a:gd name="connsiteY1" fmla="*/ 599907 h 602992"/>
                <a:gd name="connsiteX2" fmla="*/ 0 w 154915"/>
                <a:gd name="connsiteY2" fmla="*/ 593736 h 602992"/>
                <a:gd name="connsiteX3" fmla="*/ 6171 w 154915"/>
                <a:gd name="connsiteY3" fmla="*/ 587564 h 602992"/>
                <a:gd name="connsiteX4" fmla="*/ 138857 w 154915"/>
                <a:gd name="connsiteY4" fmla="*/ 584478 h 602992"/>
                <a:gd name="connsiteX5" fmla="*/ 145028 w 154915"/>
                <a:gd name="connsiteY5" fmla="*/ 226535 h 602992"/>
                <a:gd name="connsiteX6" fmla="*/ 33943 w 154915"/>
                <a:gd name="connsiteY6" fmla="*/ 10535 h 602992"/>
                <a:gd name="connsiteX7" fmla="*/ 30857 w 154915"/>
                <a:gd name="connsiteY7" fmla="*/ 4364 h 602992"/>
                <a:gd name="connsiteX8" fmla="*/ 37028 w 154915"/>
                <a:gd name="connsiteY8" fmla="*/ 1278 h 602992"/>
                <a:gd name="connsiteX9" fmla="*/ 154286 w 154915"/>
                <a:gd name="connsiteY9" fmla="*/ 229621 h 602992"/>
                <a:gd name="connsiteX10" fmla="*/ 148114 w 154915"/>
                <a:gd name="connsiteY10" fmla="*/ 593736 h 602992"/>
                <a:gd name="connsiteX11" fmla="*/ 148114 w 154915"/>
                <a:gd name="connsiteY11" fmla="*/ 596821 h 602992"/>
                <a:gd name="connsiteX12" fmla="*/ 145028 w 154915"/>
                <a:gd name="connsiteY12" fmla="*/ 596821 h 602992"/>
                <a:gd name="connsiteX13" fmla="*/ 52457 w 154915"/>
                <a:gd name="connsiteY13" fmla="*/ 602992 h 602992"/>
                <a:gd name="connsiteX14" fmla="*/ 145028 w 154915"/>
                <a:gd name="connsiteY14" fmla="*/ 590650 h 602992"/>
                <a:gd name="connsiteX15" fmla="*/ 145028 w 154915"/>
                <a:gd name="connsiteY15" fmla="*/ 590650 h 602992"/>
                <a:gd name="connsiteX16" fmla="*/ 145028 w 154915"/>
                <a:gd name="connsiteY16" fmla="*/ 590650 h 602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4915" h="602992">
                  <a:moveTo>
                    <a:pt x="52457" y="602992"/>
                  </a:moveTo>
                  <a:cubicBezTo>
                    <a:pt x="37028" y="602992"/>
                    <a:pt x="21600" y="602992"/>
                    <a:pt x="6171" y="599907"/>
                  </a:cubicBezTo>
                  <a:cubicBezTo>
                    <a:pt x="3085" y="599907"/>
                    <a:pt x="0" y="596821"/>
                    <a:pt x="0" y="593736"/>
                  </a:cubicBezTo>
                  <a:cubicBezTo>
                    <a:pt x="0" y="590650"/>
                    <a:pt x="3085" y="587564"/>
                    <a:pt x="6171" y="587564"/>
                  </a:cubicBezTo>
                  <a:cubicBezTo>
                    <a:pt x="61714" y="593736"/>
                    <a:pt x="120343" y="587564"/>
                    <a:pt x="138857" y="584478"/>
                  </a:cubicBezTo>
                  <a:cubicBezTo>
                    <a:pt x="141943" y="556707"/>
                    <a:pt x="151200" y="393164"/>
                    <a:pt x="145028" y="226535"/>
                  </a:cubicBezTo>
                  <a:cubicBezTo>
                    <a:pt x="141943" y="47564"/>
                    <a:pt x="37028" y="10535"/>
                    <a:pt x="33943" y="10535"/>
                  </a:cubicBezTo>
                  <a:cubicBezTo>
                    <a:pt x="30857" y="10535"/>
                    <a:pt x="30857" y="7450"/>
                    <a:pt x="30857" y="4364"/>
                  </a:cubicBezTo>
                  <a:cubicBezTo>
                    <a:pt x="30857" y="1278"/>
                    <a:pt x="33943" y="-1807"/>
                    <a:pt x="37028" y="1278"/>
                  </a:cubicBezTo>
                  <a:cubicBezTo>
                    <a:pt x="43200" y="1278"/>
                    <a:pt x="151200" y="41392"/>
                    <a:pt x="154286" y="229621"/>
                  </a:cubicBezTo>
                  <a:cubicBezTo>
                    <a:pt x="157371" y="414764"/>
                    <a:pt x="148114" y="593736"/>
                    <a:pt x="148114" y="593736"/>
                  </a:cubicBezTo>
                  <a:lnTo>
                    <a:pt x="148114" y="596821"/>
                  </a:lnTo>
                  <a:lnTo>
                    <a:pt x="145028" y="596821"/>
                  </a:lnTo>
                  <a:cubicBezTo>
                    <a:pt x="145028" y="593736"/>
                    <a:pt x="101828" y="602992"/>
                    <a:pt x="52457" y="602992"/>
                  </a:cubicBezTo>
                  <a:close/>
                  <a:moveTo>
                    <a:pt x="145028" y="590650"/>
                  </a:moveTo>
                  <a:lnTo>
                    <a:pt x="145028" y="590650"/>
                  </a:lnTo>
                  <a:lnTo>
                    <a:pt x="145028" y="590650"/>
                  </a:ln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3" name="图形 1">
              <a:extLst>
                <a:ext uri="{FF2B5EF4-FFF2-40B4-BE49-F238E27FC236}">
                  <a16:creationId xmlns:a16="http://schemas.microsoft.com/office/drawing/2014/main" id="{AAACA9CF-25CC-4C6B-824E-34771A5F9028}"/>
                </a:ext>
              </a:extLst>
            </p:cNvPr>
            <p:cNvGrpSpPr/>
            <p:nvPr/>
          </p:nvGrpSpPr>
          <p:grpSpPr>
            <a:xfrm>
              <a:off x="9025249" y="9143153"/>
              <a:ext cx="416986" cy="247440"/>
              <a:chOff x="9025249" y="9143153"/>
              <a:chExt cx="416986" cy="247440"/>
            </a:xfrm>
          </p:grpSpPr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B17F07AF-21E5-48C7-9021-6BE8EC853C3F}"/>
                  </a:ext>
                </a:extLst>
              </p:cNvPr>
              <p:cNvSpPr/>
              <p:nvPr/>
            </p:nvSpPr>
            <p:spPr>
              <a:xfrm>
                <a:off x="9025249" y="9143153"/>
                <a:ext cx="410376" cy="247440"/>
              </a:xfrm>
              <a:custGeom>
                <a:avLst/>
                <a:gdLst>
                  <a:gd name="connsiteX0" fmla="*/ 335548 w 410376"/>
                  <a:gd name="connsiteY0" fmla="*/ 191314 h 247440"/>
                  <a:gd name="connsiteX1" fmla="*/ 323205 w 410376"/>
                  <a:gd name="connsiteY1" fmla="*/ 169714 h 247440"/>
                  <a:gd name="connsiteX2" fmla="*/ 313948 w 410376"/>
                  <a:gd name="connsiteY2" fmla="*/ 166629 h 247440"/>
                  <a:gd name="connsiteX3" fmla="*/ 344805 w 410376"/>
                  <a:gd name="connsiteY3" fmla="*/ 163543 h 247440"/>
                  <a:gd name="connsiteX4" fmla="*/ 391091 w 410376"/>
                  <a:gd name="connsiteY4" fmla="*/ 132686 h 247440"/>
                  <a:gd name="connsiteX5" fmla="*/ 388005 w 410376"/>
                  <a:gd name="connsiteY5" fmla="*/ 126514 h 247440"/>
                  <a:gd name="connsiteX6" fmla="*/ 384919 w 410376"/>
                  <a:gd name="connsiteY6" fmla="*/ 123429 h 247440"/>
                  <a:gd name="connsiteX7" fmla="*/ 409605 w 410376"/>
                  <a:gd name="connsiteY7" fmla="*/ 92571 h 247440"/>
                  <a:gd name="connsiteX8" fmla="*/ 391091 w 410376"/>
                  <a:gd name="connsiteY8" fmla="*/ 64800 h 247440"/>
                  <a:gd name="connsiteX9" fmla="*/ 326291 w 410376"/>
                  <a:gd name="connsiteY9" fmla="*/ 67886 h 247440"/>
                  <a:gd name="connsiteX10" fmla="*/ 236805 w 410376"/>
                  <a:gd name="connsiteY10" fmla="*/ 77143 h 247440"/>
                  <a:gd name="connsiteX11" fmla="*/ 301605 w 410376"/>
                  <a:gd name="connsiteY11" fmla="*/ 49372 h 247440"/>
                  <a:gd name="connsiteX12" fmla="*/ 350977 w 410376"/>
                  <a:gd name="connsiteY12" fmla="*/ 24686 h 247440"/>
                  <a:gd name="connsiteX13" fmla="*/ 320119 w 410376"/>
                  <a:gd name="connsiteY13" fmla="*/ 0 h 247440"/>
                  <a:gd name="connsiteX14" fmla="*/ 175091 w 410376"/>
                  <a:gd name="connsiteY14" fmla="*/ 6171 h 247440"/>
                  <a:gd name="connsiteX15" fmla="*/ 5377 w 410376"/>
                  <a:gd name="connsiteY15" fmla="*/ 132686 h 247440"/>
                  <a:gd name="connsiteX16" fmla="*/ 5377 w 410376"/>
                  <a:gd name="connsiteY16" fmla="*/ 135772 h 247440"/>
                  <a:gd name="connsiteX17" fmla="*/ 2291 w 410376"/>
                  <a:gd name="connsiteY17" fmla="*/ 138857 h 247440"/>
                  <a:gd name="connsiteX18" fmla="*/ 60919 w 410376"/>
                  <a:gd name="connsiteY18" fmla="*/ 231429 h 247440"/>
                  <a:gd name="connsiteX19" fmla="*/ 205948 w 410376"/>
                  <a:gd name="connsiteY19" fmla="*/ 231429 h 247440"/>
                  <a:gd name="connsiteX20" fmla="*/ 295434 w 410376"/>
                  <a:gd name="connsiteY20" fmla="*/ 212915 h 247440"/>
                  <a:gd name="connsiteX21" fmla="*/ 335548 w 410376"/>
                  <a:gd name="connsiteY21" fmla="*/ 191314 h 247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10376" h="247440">
                    <a:moveTo>
                      <a:pt x="335548" y="191314"/>
                    </a:moveTo>
                    <a:cubicBezTo>
                      <a:pt x="338633" y="182057"/>
                      <a:pt x="329377" y="172800"/>
                      <a:pt x="323205" y="169714"/>
                    </a:cubicBezTo>
                    <a:cubicBezTo>
                      <a:pt x="320119" y="169714"/>
                      <a:pt x="317034" y="166629"/>
                      <a:pt x="313948" y="166629"/>
                    </a:cubicBezTo>
                    <a:cubicBezTo>
                      <a:pt x="323205" y="166629"/>
                      <a:pt x="335548" y="163543"/>
                      <a:pt x="344805" y="163543"/>
                    </a:cubicBezTo>
                    <a:cubicBezTo>
                      <a:pt x="366405" y="160457"/>
                      <a:pt x="381834" y="151200"/>
                      <a:pt x="391091" y="132686"/>
                    </a:cubicBezTo>
                    <a:cubicBezTo>
                      <a:pt x="391091" y="129600"/>
                      <a:pt x="391091" y="126514"/>
                      <a:pt x="388005" y="126514"/>
                    </a:cubicBezTo>
                    <a:cubicBezTo>
                      <a:pt x="388005" y="126514"/>
                      <a:pt x="384919" y="126514"/>
                      <a:pt x="384919" y="123429"/>
                    </a:cubicBezTo>
                    <a:cubicBezTo>
                      <a:pt x="397262" y="117257"/>
                      <a:pt x="406520" y="108000"/>
                      <a:pt x="409605" y="92571"/>
                    </a:cubicBezTo>
                    <a:cubicBezTo>
                      <a:pt x="412691" y="80229"/>
                      <a:pt x="406520" y="67886"/>
                      <a:pt x="391091" y="64800"/>
                    </a:cubicBezTo>
                    <a:cubicBezTo>
                      <a:pt x="372576" y="58629"/>
                      <a:pt x="347891" y="64800"/>
                      <a:pt x="326291" y="67886"/>
                    </a:cubicBezTo>
                    <a:cubicBezTo>
                      <a:pt x="295434" y="70972"/>
                      <a:pt x="267662" y="74057"/>
                      <a:pt x="236805" y="77143"/>
                    </a:cubicBezTo>
                    <a:cubicBezTo>
                      <a:pt x="258405" y="67886"/>
                      <a:pt x="280005" y="58629"/>
                      <a:pt x="301605" y="49372"/>
                    </a:cubicBezTo>
                    <a:cubicBezTo>
                      <a:pt x="313948" y="43200"/>
                      <a:pt x="341719" y="37028"/>
                      <a:pt x="350977" y="24686"/>
                    </a:cubicBezTo>
                    <a:cubicBezTo>
                      <a:pt x="366405" y="3086"/>
                      <a:pt x="332462" y="0"/>
                      <a:pt x="320119" y="0"/>
                    </a:cubicBezTo>
                    <a:cubicBezTo>
                      <a:pt x="246062" y="0"/>
                      <a:pt x="181262" y="6171"/>
                      <a:pt x="175091" y="6171"/>
                    </a:cubicBezTo>
                    <a:cubicBezTo>
                      <a:pt x="104119" y="9257"/>
                      <a:pt x="20805" y="37028"/>
                      <a:pt x="5377" y="132686"/>
                    </a:cubicBezTo>
                    <a:cubicBezTo>
                      <a:pt x="5377" y="132686"/>
                      <a:pt x="5377" y="132686"/>
                      <a:pt x="5377" y="135772"/>
                    </a:cubicBezTo>
                    <a:cubicBezTo>
                      <a:pt x="2291" y="135772"/>
                      <a:pt x="2291" y="135772"/>
                      <a:pt x="2291" y="138857"/>
                    </a:cubicBezTo>
                    <a:cubicBezTo>
                      <a:pt x="-10052" y="178972"/>
                      <a:pt x="30062" y="212915"/>
                      <a:pt x="60919" y="231429"/>
                    </a:cubicBezTo>
                    <a:cubicBezTo>
                      <a:pt x="107205" y="262286"/>
                      <a:pt x="156576" y="240686"/>
                      <a:pt x="205948" y="231429"/>
                    </a:cubicBezTo>
                    <a:cubicBezTo>
                      <a:pt x="236805" y="225257"/>
                      <a:pt x="264576" y="219086"/>
                      <a:pt x="295434" y="212915"/>
                    </a:cubicBezTo>
                    <a:cubicBezTo>
                      <a:pt x="307776" y="212915"/>
                      <a:pt x="332462" y="209829"/>
                      <a:pt x="335548" y="19131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3B33D88A-10F6-40C5-8083-D73D549C6138}"/>
                  </a:ext>
                </a:extLst>
              </p:cNvPr>
              <p:cNvSpPr/>
              <p:nvPr/>
            </p:nvSpPr>
            <p:spPr>
              <a:xfrm>
                <a:off x="9262055" y="9164753"/>
                <a:ext cx="180181" cy="126514"/>
              </a:xfrm>
              <a:custGeom>
                <a:avLst/>
                <a:gdLst>
                  <a:gd name="connsiteX0" fmla="*/ 27771 w 180181"/>
                  <a:gd name="connsiteY0" fmla="*/ 126514 h 126514"/>
                  <a:gd name="connsiteX1" fmla="*/ 21600 w 180181"/>
                  <a:gd name="connsiteY1" fmla="*/ 120343 h 126514"/>
                  <a:gd name="connsiteX2" fmla="*/ 27771 w 180181"/>
                  <a:gd name="connsiteY2" fmla="*/ 114172 h 126514"/>
                  <a:gd name="connsiteX3" fmla="*/ 148114 w 180181"/>
                  <a:gd name="connsiteY3" fmla="*/ 89486 h 126514"/>
                  <a:gd name="connsiteX4" fmla="*/ 166628 w 180181"/>
                  <a:gd name="connsiteY4" fmla="*/ 70972 h 126514"/>
                  <a:gd name="connsiteX5" fmla="*/ 163542 w 180181"/>
                  <a:gd name="connsiteY5" fmla="*/ 52458 h 126514"/>
                  <a:gd name="connsiteX6" fmla="*/ 6171 w 180181"/>
                  <a:gd name="connsiteY6" fmla="*/ 61714 h 126514"/>
                  <a:gd name="connsiteX7" fmla="*/ 0 w 180181"/>
                  <a:gd name="connsiteY7" fmla="*/ 58629 h 126514"/>
                  <a:gd name="connsiteX8" fmla="*/ 3085 w 180181"/>
                  <a:gd name="connsiteY8" fmla="*/ 52458 h 126514"/>
                  <a:gd name="connsiteX9" fmla="*/ 114171 w 180181"/>
                  <a:gd name="connsiteY9" fmla="*/ 0 h 126514"/>
                  <a:gd name="connsiteX10" fmla="*/ 123429 w 180181"/>
                  <a:gd name="connsiteY10" fmla="*/ 3086 h 126514"/>
                  <a:gd name="connsiteX11" fmla="*/ 120343 w 180181"/>
                  <a:gd name="connsiteY11" fmla="*/ 12343 h 126514"/>
                  <a:gd name="connsiteX12" fmla="*/ 49371 w 180181"/>
                  <a:gd name="connsiteY12" fmla="*/ 46286 h 126514"/>
                  <a:gd name="connsiteX13" fmla="*/ 172800 w 180181"/>
                  <a:gd name="connsiteY13" fmla="*/ 49372 h 126514"/>
                  <a:gd name="connsiteX14" fmla="*/ 178971 w 180181"/>
                  <a:gd name="connsiteY14" fmla="*/ 80229 h 126514"/>
                  <a:gd name="connsiteX15" fmla="*/ 151200 w 180181"/>
                  <a:gd name="connsiteY15" fmla="*/ 104915 h 126514"/>
                  <a:gd name="connsiteX16" fmla="*/ 27771 w 180181"/>
                  <a:gd name="connsiteY16" fmla="*/ 126514 h 126514"/>
                  <a:gd name="connsiteX17" fmla="*/ 27771 w 180181"/>
                  <a:gd name="connsiteY17" fmla="*/ 126514 h 126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80181" h="126514">
                    <a:moveTo>
                      <a:pt x="27771" y="126514"/>
                    </a:moveTo>
                    <a:cubicBezTo>
                      <a:pt x="24685" y="126514"/>
                      <a:pt x="21600" y="123429"/>
                      <a:pt x="21600" y="120343"/>
                    </a:cubicBezTo>
                    <a:cubicBezTo>
                      <a:pt x="21600" y="117257"/>
                      <a:pt x="24685" y="114172"/>
                      <a:pt x="27771" y="114172"/>
                    </a:cubicBezTo>
                    <a:cubicBezTo>
                      <a:pt x="27771" y="114172"/>
                      <a:pt x="129600" y="95657"/>
                      <a:pt x="148114" y="89486"/>
                    </a:cubicBezTo>
                    <a:cubicBezTo>
                      <a:pt x="157371" y="86400"/>
                      <a:pt x="163542" y="80229"/>
                      <a:pt x="166628" y="70972"/>
                    </a:cubicBezTo>
                    <a:cubicBezTo>
                      <a:pt x="169714" y="64800"/>
                      <a:pt x="166628" y="58629"/>
                      <a:pt x="163542" y="52458"/>
                    </a:cubicBezTo>
                    <a:cubicBezTo>
                      <a:pt x="154286" y="43200"/>
                      <a:pt x="74057" y="49372"/>
                      <a:pt x="6171" y="61714"/>
                    </a:cubicBezTo>
                    <a:cubicBezTo>
                      <a:pt x="3085" y="61714"/>
                      <a:pt x="0" y="61714"/>
                      <a:pt x="0" y="58629"/>
                    </a:cubicBezTo>
                    <a:cubicBezTo>
                      <a:pt x="0" y="55543"/>
                      <a:pt x="0" y="52458"/>
                      <a:pt x="3085" y="52458"/>
                    </a:cubicBezTo>
                    <a:cubicBezTo>
                      <a:pt x="46286" y="37029"/>
                      <a:pt x="114171" y="0"/>
                      <a:pt x="114171" y="0"/>
                    </a:cubicBezTo>
                    <a:cubicBezTo>
                      <a:pt x="117257" y="0"/>
                      <a:pt x="120343" y="0"/>
                      <a:pt x="123429" y="3086"/>
                    </a:cubicBezTo>
                    <a:cubicBezTo>
                      <a:pt x="126514" y="6172"/>
                      <a:pt x="123429" y="9257"/>
                      <a:pt x="120343" y="12343"/>
                    </a:cubicBezTo>
                    <a:cubicBezTo>
                      <a:pt x="117257" y="12343"/>
                      <a:pt x="83314" y="30857"/>
                      <a:pt x="49371" y="46286"/>
                    </a:cubicBezTo>
                    <a:cubicBezTo>
                      <a:pt x="98743" y="40114"/>
                      <a:pt x="160457" y="37029"/>
                      <a:pt x="172800" y="49372"/>
                    </a:cubicBezTo>
                    <a:cubicBezTo>
                      <a:pt x="178971" y="58629"/>
                      <a:pt x="182057" y="67886"/>
                      <a:pt x="178971" y="80229"/>
                    </a:cubicBezTo>
                    <a:cubicBezTo>
                      <a:pt x="175886" y="92571"/>
                      <a:pt x="166628" y="101829"/>
                      <a:pt x="151200" y="104915"/>
                    </a:cubicBezTo>
                    <a:cubicBezTo>
                      <a:pt x="132685" y="108000"/>
                      <a:pt x="33943" y="123429"/>
                      <a:pt x="27771" y="126514"/>
                    </a:cubicBezTo>
                    <a:cubicBezTo>
                      <a:pt x="27771" y="126514"/>
                      <a:pt x="27771" y="126514"/>
                      <a:pt x="27771" y="12651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441240B1-5BA4-4198-B23C-FCA86392942A}"/>
                  </a:ext>
                </a:extLst>
              </p:cNvPr>
              <p:cNvSpPr/>
              <p:nvPr/>
            </p:nvSpPr>
            <p:spPr>
              <a:xfrm>
                <a:off x="9255883" y="9252961"/>
                <a:ext cx="170669" cy="72249"/>
              </a:xfrm>
              <a:custGeom>
                <a:avLst/>
                <a:gdLst>
                  <a:gd name="connsiteX0" fmla="*/ 0 w 170669"/>
                  <a:gd name="connsiteY0" fmla="*/ 72250 h 72249"/>
                  <a:gd name="connsiteX1" fmla="*/ 0 w 170669"/>
                  <a:gd name="connsiteY1" fmla="*/ 59907 h 72249"/>
                  <a:gd name="connsiteX2" fmla="*/ 80229 w 170669"/>
                  <a:gd name="connsiteY2" fmla="*/ 50649 h 72249"/>
                  <a:gd name="connsiteX3" fmla="*/ 154286 w 170669"/>
                  <a:gd name="connsiteY3" fmla="*/ 32135 h 72249"/>
                  <a:gd name="connsiteX4" fmla="*/ 151200 w 170669"/>
                  <a:gd name="connsiteY4" fmla="*/ 10535 h 72249"/>
                  <a:gd name="connsiteX5" fmla="*/ 154286 w 170669"/>
                  <a:gd name="connsiteY5" fmla="*/ 1278 h 72249"/>
                  <a:gd name="connsiteX6" fmla="*/ 163543 w 170669"/>
                  <a:gd name="connsiteY6" fmla="*/ 4364 h 72249"/>
                  <a:gd name="connsiteX7" fmla="*/ 163543 w 170669"/>
                  <a:gd name="connsiteY7" fmla="*/ 41393 h 72249"/>
                  <a:gd name="connsiteX8" fmla="*/ 80229 w 170669"/>
                  <a:gd name="connsiteY8" fmla="*/ 62993 h 72249"/>
                  <a:gd name="connsiteX9" fmla="*/ 0 w 170669"/>
                  <a:gd name="connsiteY9" fmla="*/ 72250 h 72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0669" h="72249">
                    <a:moveTo>
                      <a:pt x="0" y="72250"/>
                    </a:moveTo>
                    <a:lnTo>
                      <a:pt x="0" y="59907"/>
                    </a:lnTo>
                    <a:cubicBezTo>
                      <a:pt x="0" y="59907"/>
                      <a:pt x="67886" y="53735"/>
                      <a:pt x="80229" y="50649"/>
                    </a:cubicBezTo>
                    <a:cubicBezTo>
                      <a:pt x="92571" y="50649"/>
                      <a:pt x="145029" y="38307"/>
                      <a:pt x="154286" y="32135"/>
                    </a:cubicBezTo>
                    <a:cubicBezTo>
                      <a:pt x="160458" y="25964"/>
                      <a:pt x="151200" y="10535"/>
                      <a:pt x="151200" y="10535"/>
                    </a:cubicBezTo>
                    <a:cubicBezTo>
                      <a:pt x="148114" y="7450"/>
                      <a:pt x="151200" y="4364"/>
                      <a:pt x="154286" y="1278"/>
                    </a:cubicBezTo>
                    <a:cubicBezTo>
                      <a:pt x="157372" y="-1808"/>
                      <a:pt x="160458" y="1278"/>
                      <a:pt x="163543" y="4364"/>
                    </a:cubicBezTo>
                    <a:cubicBezTo>
                      <a:pt x="169714" y="13621"/>
                      <a:pt x="175886" y="32135"/>
                      <a:pt x="163543" y="41393"/>
                    </a:cubicBezTo>
                    <a:cubicBezTo>
                      <a:pt x="148114" y="53735"/>
                      <a:pt x="89486" y="62993"/>
                      <a:pt x="80229" y="62993"/>
                    </a:cubicBezTo>
                    <a:cubicBezTo>
                      <a:pt x="67886" y="66078"/>
                      <a:pt x="0" y="72250"/>
                      <a:pt x="0" y="7225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4" name="图形 1">
              <a:extLst>
                <a:ext uri="{FF2B5EF4-FFF2-40B4-BE49-F238E27FC236}">
                  <a16:creationId xmlns:a16="http://schemas.microsoft.com/office/drawing/2014/main" id="{50A5BE79-35DE-4C36-9E85-AD36FC071E3A}"/>
                </a:ext>
              </a:extLst>
            </p:cNvPr>
            <p:cNvGrpSpPr/>
            <p:nvPr/>
          </p:nvGrpSpPr>
          <p:grpSpPr>
            <a:xfrm>
              <a:off x="8990512" y="9600453"/>
              <a:ext cx="1294227" cy="2748757"/>
              <a:chOff x="8990512" y="9600453"/>
              <a:chExt cx="1294227" cy="2748757"/>
            </a:xfrm>
          </p:grpSpPr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BAE4169B-29CC-4C19-9705-7BDEFF401F1C}"/>
                  </a:ext>
                </a:extLst>
              </p:cNvPr>
              <p:cNvSpPr/>
              <p:nvPr/>
            </p:nvSpPr>
            <p:spPr>
              <a:xfrm>
                <a:off x="9064569" y="10537896"/>
                <a:ext cx="1129371" cy="1690971"/>
              </a:xfrm>
              <a:custGeom>
                <a:avLst/>
                <a:gdLst>
                  <a:gd name="connsiteX0" fmla="*/ 0 w 1129371"/>
                  <a:gd name="connsiteY0" fmla="*/ 0 h 1690971"/>
                  <a:gd name="connsiteX1" fmla="*/ 52457 w 1129371"/>
                  <a:gd name="connsiteY1" fmla="*/ 1576800 h 1690971"/>
                  <a:gd name="connsiteX2" fmla="*/ 166629 w 1129371"/>
                  <a:gd name="connsiteY2" fmla="*/ 1687886 h 1690971"/>
                  <a:gd name="connsiteX3" fmla="*/ 950400 w 1129371"/>
                  <a:gd name="connsiteY3" fmla="*/ 1690972 h 1690971"/>
                  <a:gd name="connsiteX4" fmla="*/ 1067657 w 1129371"/>
                  <a:gd name="connsiteY4" fmla="*/ 1579886 h 1690971"/>
                  <a:gd name="connsiteX5" fmla="*/ 1073829 w 1129371"/>
                  <a:gd name="connsiteY5" fmla="*/ 1462628 h 1690971"/>
                  <a:gd name="connsiteX6" fmla="*/ 1129372 w 1129371"/>
                  <a:gd name="connsiteY6" fmla="*/ 18514 h 1690971"/>
                  <a:gd name="connsiteX7" fmla="*/ 1129372 w 1129371"/>
                  <a:gd name="connsiteY7" fmla="*/ 6172 h 1690971"/>
                  <a:gd name="connsiteX8" fmla="*/ 0 w 1129371"/>
                  <a:gd name="connsiteY8" fmla="*/ 0 h 1690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9371" h="1690971">
                    <a:moveTo>
                      <a:pt x="0" y="0"/>
                    </a:moveTo>
                    <a:lnTo>
                      <a:pt x="52457" y="1576800"/>
                    </a:lnTo>
                    <a:cubicBezTo>
                      <a:pt x="55543" y="1638515"/>
                      <a:pt x="104915" y="1687886"/>
                      <a:pt x="166629" y="1687886"/>
                    </a:cubicBezTo>
                    <a:lnTo>
                      <a:pt x="950400" y="1690972"/>
                    </a:lnTo>
                    <a:cubicBezTo>
                      <a:pt x="1012114" y="1690972"/>
                      <a:pt x="1064571" y="1641600"/>
                      <a:pt x="1067657" y="1579886"/>
                    </a:cubicBezTo>
                    <a:lnTo>
                      <a:pt x="1073829" y="1462628"/>
                    </a:lnTo>
                    <a:lnTo>
                      <a:pt x="1129372" y="18514"/>
                    </a:lnTo>
                    <a:lnTo>
                      <a:pt x="1129372" y="61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F95BC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69928C7E-FEF2-491A-8E59-DBA066919F9F}"/>
                  </a:ext>
                </a:extLst>
              </p:cNvPr>
              <p:cNvSpPr/>
              <p:nvPr/>
            </p:nvSpPr>
            <p:spPr>
              <a:xfrm>
                <a:off x="9231197" y="9600453"/>
                <a:ext cx="1053541" cy="977558"/>
              </a:xfrm>
              <a:custGeom>
                <a:avLst/>
                <a:gdLst>
                  <a:gd name="connsiteX0" fmla="*/ 0 w 1053541"/>
                  <a:gd name="connsiteY0" fmla="*/ 255500 h 977558"/>
                  <a:gd name="connsiteX1" fmla="*/ 870171 w 1053541"/>
                  <a:gd name="connsiteY1" fmla="*/ 977558 h 977558"/>
                  <a:gd name="connsiteX2" fmla="*/ 916457 w 1053541"/>
                  <a:gd name="connsiteY2" fmla="*/ 903500 h 977558"/>
                  <a:gd name="connsiteX3" fmla="*/ 1002857 w 1053541"/>
                  <a:gd name="connsiteY3" fmla="*/ 770815 h 977558"/>
                  <a:gd name="connsiteX4" fmla="*/ 1052228 w 1053541"/>
                  <a:gd name="connsiteY4" fmla="*/ 573329 h 977558"/>
                  <a:gd name="connsiteX5" fmla="*/ 941143 w 1053541"/>
                  <a:gd name="connsiteY5" fmla="*/ 366586 h 977558"/>
                  <a:gd name="connsiteX6" fmla="*/ 586286 w 1053541"/>
                  <a:gd name="connsiteY6" fmla="*/ 70357 h 977558"/>
                  <a:gd name="connsiteX7" fmla="*/ 178971 w 1053541"/>
                  <a:gd name="connsiteY7" fmla="*/ 82701 h 977558"/>
                  <a:gd name="connsiteX8" fmla="*/ 0 w 1053541"/>
                  <a:gd name="connsiteY8" fmla="*/ 255500 h 977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3541" h="977558">
                    <a:moveTo>
                      <a:pt x="0" y="255500"/>
                    </a:moveTo>
                    <a:lnTo>
                      <a:pt x="870171" y="977558"/>
                    </a:lnTo>
                    <a:lnTo>
                      <a:pt x="916457" y="903500"/>
                    </a:lnTo>
                    <a:lnTo>
                      <a:pt x="1002857" y="770815"/>
                    </a:lnTo>
                    <a:cubicBezTo>
                      <a:pt x="1042971" y="709101"/>
                      <a:pt x="1058400" y="641214"/>
                      <a:pt x="1052228" y="573329"/>
                    </a:cubicBezTo>
                    <a:cubicBezTo>
                      <a:pt x="1046057" y="496186"/>
                      <a:pt x="1005943" y="419044"/>
                      <a:pt x="941143" y="366586"/>
                    </a:cubicBezTo>
                    <a:lnTo>
                      <a:pt x="586286" y="70357"/>
                    </a:lnTo>
                    <a:cubicBezTo>
                      <a:pt x="465943" y="-28385"/>
                      <a:pt x="290057" y="-22214"/>
                      <a:pt x="178971" y="82701"/>
                    </a:cubicBezTo>
                    <a:lnTo>
                      <a:pt x="0" y="255500"/>
                    </a:lnTo>
                    <a:close/>
                  </a:path>
                </a:pathLst>
              </a:custGeom>
              <a:solidFill>
                <a:srgbClr val="7F95BC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41D022A9-D3BC-49A3-A139-B89A95C4D547}"/>
                  </a:ext>
                </a:extLst>
              </p:cNvPr>
              <p:cNvSpPr/>
              <p:nvPr/>
            </p:nvSpPr>
            <p:spPr>
              <a:xfrm>
                <a:off x="8990512" y="10445324"/>
                <a:ext cx="1274400" cy="188228"/>
              </a:xfrm>
              <a:custGeom>
                <a:avLst/>
                <a:gdLst>
                  <a:gd name="connsiteX0" fmla="*/ 0 w 1274400"/>
                  <a:gd name="connsiteY0" fmla="*/ 185143 h 188228"/>
                  <a:gd name="connsiteX1" fmla="*/ 1274400 w 1274400"/>
                  <a:gd name="connsiteY1" fmla="*/ 188229 h 188228"/>
                  <a:gd name="connsiteX2" fmla="*/ 1274400 w 1274400"/>
                  <a:gd name="connsiteY2" fmla="*/ 129600 h 188228"/>
                  <a:gd name="connsiteX3" fmla="*/ 1147886 w 1274400"/>
                  <a:gd name="connsiteY3" fmla="*/ 3086 h 188228"/>
                  <a:gd name="connsiteX4" fmla="*/ 126514 w 1274400"/>
                  <a:gd name="connsiteY4" fmla="*/ 0 h 188228"/>
                  <a:gd name="connsiteX5" fmla="*/ 0 w 1274400"/>
                  <a:gd name="connsiteY5" fmla="*/ 126514 h 188228"/>
                  <a:gd name="connsiteX6" fmla="*/ 0 w 1274400"/>
                  <a:gd name="connsiteY6" fmla="*/ 185143 h 188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74400" h="188228">
                    <a:moveTo>
                      <a:pt x="0" y="185143"/>
                    </a:moveTo>
                    <a:lnTo>
                      <a:pt x="1274400" y="188229"/>
                    </a:lnTo>
                    <a:lnTo>
                      <a:pt x="1274400" y="129600"/>
                    </a:lnTo>
                    <a:cubicBezTo>
                      <a:pt x="1274400" y="58628"/>
                      <a:pt x="1218857" y="3086"/>
                      <a:pt x="1147886" y="3086"/>
                    </a:cubicBezTo>
                    <a:lnTo>
                      <a:pt x="126514" y="0"/>
                    </a:lnTo>
                    <a:cubicBezTo>
                      <a:pt x="55543" y="0"/>
                      <a:pt x="0" y="55543"/>
                      <a:pt x="0" y="126514"/>
                    </a:cubicBezTo>
                    <a:lnTo>
                      <a:pt x="0" y="185143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41" name="图形 1">
                <a:extLst>
                  <a:ext uri="{FF2B5EF4-FFF2-40B4-BE49-F238E27FC236}">
                    <a16:creationId xmlns:a16="http://schemas.microsoft.com/office/drawing/2014/main" id="{16CF19F8-51B9-43FA-BCFB-2B96AD18437E}"/>
                  </a:ext>
                </a:extLst>
              </p:cNvPr>
              <p:cNvGrpSpPr/>
              <p:nvPr/>
            </p:nvGrpSpPr>
            <p:grpSpPr>
              <a:xfrm>
                <a:off x="9009026" y="12059153"/>
                <a:ext cx="290057" cy="290056"/>
                <a:chOff x="9009026" y="12059153"/>
                <a:chExt cx="290057" cy="290056"/>
              </a:xfrm>
            </p:grpSpPr>
            <p:sp>
              <p:nvSpPr>
                <p:cNvPr id="149" name="任意多边形: 形状 148">
                  <a:extLst>
                    <a:ext uri="{FF2B5EF4-FFF2-40B4-BE49-F238E27FC236}">
                      <a16:creationId xmlns:a16="http://schemas.microsoft.com/office/drawing/2014/main" id="{6B9E39EA-AF29-4C8F-9B66-28798FD7B62C}"/>
                    </a:ext>
                  </a:extLst>
                </p:cNvPr>
                <p:cNvSpPr/>
                <p:nvPr/>
              </p:nvSpPr>
              <p:spPr>
                <a:xfrm>
                  <a:off x="9009026" y="12059153"/>
                  <a:ext cx="290057" cy="290056"/>
                </a:xfrm>
                <a:custGeom>
                  <a:avLst/>
                  <a:gdLst>
                    <a:gd name="connsiteX0" fmla="*/ 0 w 290057"/>
                    <a:gd name="connsiteY0" fmla="*/ 145028 h 290056"/>
                    <a:gd name="connsiteX1" fmla="*/ 145029 w 290057"/>
                    <a:gd name="connsiteY1" fmla="*/ 0 h 290056"/>
                    <a:gd name="connsiteX2" fmla="*/ 290057 w 290057"/>
                    <a:gd name="connsiteY2" fmla="*/ 145028 h 290056"/>
                    <a:gd name="connsiteX3" fmla="*/ 145029 w 290057"/>
                    <a:gd name="connsiteY3" fmla="*/ 290057 h 290056"/>
                    <a:gd name="connsiteX4" fmla="*/ 0 w 290057"/>
                    <a:gd name="connsiteY4" fmla="*/ 145028 h 290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0057" h="290056">
                      <a:moveTo>
                        <a:pt x="0" y="145028"/>
                      </a:moveTo>
                      <a:cubicBezTo>
                        <a:pt x="0" y="64799"/>
                        <a:pt x="64800" y="0"/>
                        <a:pt x="145029" y="0"/>
                      </a:cubicBezTo>
                      <a:cubicBezTo>
                        <a:pt x="225257" y="0"/>
                        <a:pt x="290057" y="64799"/>
                        <a:pt x="290057" y="145028"/>
                      </a:cubicBezTo>
                      <a:cubicBezTo>
                        <a:pt x="290057" y="225257"/>
                        <a:pt x="225257" y="290057"/>
                        <a:pt x="145029" y="290057"/>
                      </a:cubicBezTo>
                      <a:cubicBezTo>
                        <a:pt x="61714" y="290057"/>
                        <a:pt x="0" y="225257"/>
                        <a:pt x="0" y="145028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0" name="任意多边形: 形状 149">
                  <a:extLst>
                    <a:ext uri="{FF2B5EF4-FFF2-40B4-BE49-F238E27FC236}">
                      <a16:creationId xmlns:a16="http://schemas.microsoft.com/office/drawing/2014/main" id="{A4D116D3-6DD6-4AB6-9F4B-C9567152444B}"/>
                    </a:ext>
                  </a:extLst>
                </p:cNvPr>
                <p:cNvSpPr/>
                <p:nvPr/>
              </p:nvSpPr>
              <p:spPr>
                <a:xfrm>
                  <a:off x="9067654" y="12120868"/>
                  <a:ext cx="166628" cy="166628"/>
                </a:xfrm>
                <a:custGeom>
                  <a:avLst/>
                  <a:gdLst>
                    <a:gd name="connsiteX0" fmla="*/ 0 w 166628"/>
                    <a:gd name="connsiteY0" fmla="*/ 83314 h 166628"/>
                    <a:gd name="connsiteX1" fmla="*/ 83314 w 166628"/>
                    <a:gd name="connsiteY1" fmla="*/ 0 h 166628"/>
                    <a:gd name="connsiteX2" fmla="*/ 166628 w 166628"/>
                    <a:gd name="connsiteY2" fmla="*/ 83314 h 166628"/>
                    <a:gd name="connsiteX3" fmla="*/ 83314 w 166628"/>
                    <a:gd name="connsiteY3" fmla="*/ 166628 h 166628"/>
                    <a:gd name="connsiteX4" fmla="*/ 0 w 166628"/>
                    <a:gd name="connsiteY4" fmla="*/ 83314 h 166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6628" h="166628">
                      <a:moveTo>
                        <a:pt x="0" y="83314"/>
                      </a:moveTo>
                      <a:cubicBezTo>
                        <a:pt x="0" y="37028"/>
                        <a:pt x="37028" y="0"/>
                        <a:pt x="83314" y="0"/>
                      </a:cubicBezTo>
                      <a:cubicBezTo>
                        <a:pt x="129600" y="0"/>
                        <a:pt x="166628" y="37028"/>
                        <a:pt x="166628" y="83314"/>
                      </a:cubicBezTo>
                      <a:cubicBezTo>
                        <a:pt x="166628" y="129599"/>
                        <a:pt x="129600" y="166628"/>
                        <a:pt x="83314" y="166628"/>
                      </a:cubicBezTo>
                      <a:cubicBezTo>
                        <a:pt x="37028" y="166628"/>
                        <a:pt x="0" y="129599"/>
                        <a:pt x="0" y="83314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42" name="图形 1">
                <a:extLst>
                  <a:ext uri="{FF2B5EF4-FFF2-40B4-BE49-F238E27FC236}">
                    <a16:creationId xmlns:a16="http://schemas.microsoft.com/office/drawing/2014/main" id="{5949FB40-1953-401E-B770-189A2DB431CB}"/>
                  </a:ext>
                </a:extLst>
              </p:cNvPr>
              <p:cNvGrpSpPr/>
              <p:nvPr/>
            </p:nvGrpSpPr>
            <p:grpSpPr>
              <a:xfrm>
                <a:off x="9981026" y="12059153"/>
                <a:ext cx="290057" cy="290056"/>
                <a:chOff x="9981026" y="12059153"/>
                <a:chExt cx="290057" cy="290056"/>
              </a:xfrm>
            </p:grpSpPr>
            <p:sp>
              <p:nvSpPr>
                <p:cNvPr id="147" name="任意多边形: 形状 146">
                  <a:extLst>
                    <a:ext uri="{FF2B5EF4-FFF2-40B4-BE49-F238E27FC236}">
                      <a16:creationId xmlns:a16="http://schemas.microsoft.com/office/drawing/2014/main" id="{7C2D920C-62E2-4249-B9E5-674FF9A0CFED}"/>
                    </a:ext>
                  </a:extLst>
                </p:cNvPr>
                <p:cNvSpPr/>
                <p:nvPr/>
              </p:nvSpPr>
              <p:spPr>
                <a:xfrm>
                  <a:off x="9981026" y="12059153"/>
                  <a:ext cx="290057" cy="290056"/>
                </a:xfrm>
                <a:custGeom>
                  <a:avLst/>
                  <a:gdLst>
                    <a:gd name="connsiteX0" fmla="*/ 0 w 290057"/>
                    <a:gd name="connsiteY0" fmla="*/ 145028 h 290056"/>
                    <a:gd name="connsiteX1" fmla="*/ 145029 w 290057"/>
                    <a:gd name="connsiteY1" fmla="*/ 0 h 290056"/>
                    <a:gd name="connsiteX2" fmla="*/ 290057 w 290057"/>
                    <a:gd name="connsiteY2" fmla="*/ 145028 h 290056"/>
                    <a:gd name="connsiteX3" fmla="*/ 145029 w 290057"/>
                    <a:gd name="connsiteY3" fmla="*/ 290057 h 290056"/>
                    <a:gd name="connsiteX4" fmla="*/ 0 w 290057"/>
                    <a:gd name="connsiteY4" fmla="*/ 145028 h 290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0057" h="290056">
                      <a:moveTo>
                        <a:pt x="0" y="145028"/>
                      </a:moveTo>
                      <a:cubicBezTo>
                        <a:pt x="0" y="64799"/>
                        <a:pt x="64800" y="0"/>
                        <a:pt x="145029" y="0"/>
                      </a:cubicBezTo>
                      <a:cubicBezTo>
                        <a:pt x="225257" y="0"/>
                        <a:pt x="290057" y="64799"/>
                        <a:pt x="290057" y="145028"/>
                      </a:cubicBezTo>
                      <a:cubicBezTo>
                        <a:pt x="290057" y="225257"/>
                        <a:pt x="225257" y="290057"/>
                        <a:pt x="145029" y="290057"/>
                      </a:cubicBezTo>
                      <a:cubicBezTo>
                        <a:pt x="64800" y="290057"/>
                        <a:pt x="0" y="225257"/>
                        <a:pt x="0" y="145028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3D32B35D-5844-4B7C-A92F-19894C72C740}"/>
                    </a:ext>
                  </a:extLst>
                </p:cNvPr>
                <p:cNvSpPr/>
                <p:nvPr/>
              </p:nvSpPr>
              <p:spPr>
                <a:xfrm>
                  <a:off x="10042740" y="12120868"/>
                  <a:ext cx="166628" cy="166628"/>
                </a:xfrm>
                <a:custGeom>
                  <a:avLst/>
                  <a:gdLst>
                    <a:gd name="connsiteX0" fmla="*/ 0 w 166628"/>
                    <a:gd name="connsiteY0" fmla="*/ 83314 h 166628"/>
                    <a:gd name="connsiteX1" fmla="*/ 83315 w 166628"/>
                    <a:gd name="connsiteY1" fmla="*/ 0 h 166628"/>
                    <a:gd name="connsiteX2" fmla="*/ 166629 w 166628"/>
                    <a:gd name="connsiteY2" fmla="*/ 83314 h 166628"/>
                    <a:gd name="connsiteX3" fmla="*/ 83315 w 166628"/>
                    <a:gd name="connsiteY3" fmla="*/ 166628 h 166628"/>
                    <a:gd name="connsiteX4" fmla="*/ 0 w 166628"/>
                    <a:gd name="connsiteY4" fmla="*/ 83314 h 166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6628" h="166628">
                      <a:moveTo>
                        <a:pt x="0" y="83314"/>
                      </a:moveTo>
                      <a:cubicBezTo>
                        <a:pt x="0" y="37028"/>
                        <a:pt x="37029" y="0"/>
                        <a:pt x="83315" y="0"/>
                      </a:cubicBezTo>
                      <a:cubicBezTo>
                        <a:pt x="129600" y="0"/>
                        <a:pt x="166629" y="37028"/>
                        <a:pt x="166629" y="83314"/>
                      </a:cubicBezTo>
                      <a:cubicBezTo>
                        <a:pt x="166629" y="129599"/>
                        <a:pt x="129600" y="166628"/>
                        <a:pt x="83315" y="166628"/>
                      </a:cubicBezTo>
                      <a:cubicBezTo>
                        <a:pt x="37029" y="166628"/>
                        <a:pt x="0" y="129599"/>
                        <a:pt x="0" y="83314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43" name="图形 1">
                <a:extLst>
                  <a:ext uri="{FF2B5EF4-FFF2-40B4-BE49-F238E27FC236}">
                    <a16:creationId xmlns:a16="http://schemas.microsoft.com/office/drawing/2014/main" id="{5F99B721-FD40-451B-9E8B-50A9E6F18E83}"/>
                  </a:ext>
                </a:extLst>
              </p:cNvPr>
              <p:cNvGrpSpPr/>
              <p:nvPr/>
            </p:nvGrpSpPr>
            <p:grpSpPr>
              <a:xfrm>
                <a:off x="9315283" y="10827953"/>
                <a:ext cx="613285" cy="596821"/>
                <a:chOff x="9315283" y="10827953"/>
                <a:chExt cx="613285" cy="596821"/>
              </a:xfrm>
              <a:solidFill>
                <a:srgbClr val="F1DDBA"/>
              </a:solidFill>
            </p:grpSpPr>
            <p:sp>
              <p:nvSpPr>
                <p:cNvPr id="144" name="任意多边形: 形状 143">
                  <a:extLst>
                    <a:ext uri="{FF2B5EF4-FFF2-40B4-BE49-F238E27FC236}">
                      <a16:creationId xmlns:a16="http://schemas.microsoft.com/office/drawing/2014/main" id="{8CD10417-1509-4917-929B-F875CA62251A}"/>
                    </a:ext>
                  </a:extLst>
                </p:cNvPr>
                <p:cNvSpPr/>
                <p:nvPr/>
              </p:nvSpPr>
              <p:spPr>
                <a:xfrm>
                  <a:off x="9666283" y="10977875"/>
                  <a:ext cx="262285" cy="402421"/>
                </a:xfrm>
                <a:custGeom>
                  <a:avLst/>
                  <a:gdLst>
                    <a:gd name="connsiteX0" fmla="*/ 43200 w 262285"/>
                    <a:gd name="connsiteY0" fmla="*/ 106192 h 402421"/>
                    <a:gd name="connsiteX1" fmla="*/ 9257 w 262285"/>
                    <a:gd name="connsiteY1" fmla="*/ 124707 h 402421"/>
                    <a:gd name="connsiteX2" fmla="*/ 0 w 262285"/>
                    <a:gd name="connsiteY2" fmla="*/ 118535 h 402421"/>
                    <a:gd name="connsiteX3" fmla="*/ 30857 w 262285"/>
                    <a:gd name="connsiteY3" fmla="*/ 4363 h 402421"/>
                    <a:gd name="connsiteX4" fmla="*/ 37028 w 262285"/>
                    <a:gd name="connsiteY4" fmla="*/ 1278 h 402421"/>
                    <a:gd name="connsiteX5" fmla="*/ 92571 w 262285"/>
                    <a:gd name="connsiteY5" fmla="*/ 16707 h 402421"/>
                    <a:gd name="connsiteX6" fmla="*/ 95657 w 262285"/>
                    <a:gd name="connsiteY6" fmla="*/ 13621 h 402421"/>
                    <a:gd name="connsiteX7" fmla="*/ 98743 w 262285"/>
                    <a:gd name="connsiteY7" fmla="*/ 16707 h 402421"/>
                    <a:gd name="connsiteX8" fmla="*/ 148114 w 262285"/>
                    <a:gd name="connsiteY8" fmla="*/ 29049 h 402421"/>
                    <a:gd name="connsiteX9" fmla="*/ 148114 w 262285"/>
                    <a:gd name="connsiteY9" fmla="*/ 41392 h 402421"/>
                    <a:gd name="connsiteX10" fmla="*/ 120343 w 262285"/>
                    <a:gd name="connsiteY10" fmla="*/ 56821 h 402421"/>
                    <a:gd name="connsiteX11" fmla="*/ 253028 w 262285"/>
                    <a:gd name="connsiteY11" fmla="*/ 288249 h 402421"/>
                    <a:gd name="connsiteX12" fmla="*/ 253028 w 262285"/>
                    <a:gd name="connsiteY12" fmla="*/ 365392 h 402421"/>
                    <a:gd name="connsiteX13" fmla="*/ 188229 w 262285"/>
                    <a:gd name="connsiteY13" fmla="*/ 402421 h 402421"/>
                    <a:gd name="connsiteX14" fmla="*/ 126514 w 262285"/>
                    <a:gd name="connsiteY14" fmla="*/ 402421 h 402421"/>
                    <a:gd name="connsiteX15" fmla="*/ 126514 w 262285"/>
                    <a:gd name="connsiteY15" fmla="*/ 306764 h 402421"/>
                    <a:gd name="connsiteX16" fmla="*/ 154286 w 262285"/>
                    <a:gd name="connsiteY16" fmla="*/ 306764 h 402421"/>
                    <a:gd name="connsiteX17" fmla="*/ 43200 w 262285"/>
                    <a:gd name="connsiteY17" fmla="*/ 106192 h 4024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62285" h="402421">
                      <a:moveTo>
                        <a:pt x="43200" y="106192"/>
                      </a:moveTo>
                      <a:lnTo>
                        <a:pt x="9257" y="124707"/>
                      </a:lnTo>
                      <a:cubicBezTo>
                        <a:pt x="3086" y="127792"/>
                        <a:pt x="0" y="121621"/>
                        <a:pt x="0" y="118535"/>
                      </a:cubicBezTo>
                      <a:lnTo>
                        <a:pt x="30857" y="4363"/>
                      </a:lnTo>
                      <a:cubicBezTo>
                        <a:pt x="30857" y="1278"/>
                        <a:pt x="33943" y="-1808"/>
                        <a:pt x="37028" y="1278"/>
                      </a:cubicBezTo>
                      <a:lnTo>
                        <a:pt x="92571" y="16707"/>
                      </a:lnTo>
                      <a:lnTo>
                        <a:pt x="95657" y="13621"/>
                      </a:lnTo>
                      <a:lnTo>
                        <a:pt x="98743" y="16707"/>
                      </a:lnTo>
                      <a:lnTo>
                        <a:pt x="148114" y="29049"/>
                      </a:lnTo>
                      <a:cubicBezTo>
                        <a:pt x="154286" y="29049"/>
                        <a:pt x="154286" y="38306"/>
                        <a:pt x="148114" y="41392"/>
                      </a:cubicBezTo>
                      <a:lnTo>
                        <a:pt x="120343" y="56821"/>
                      </a:lnTo>
                      <a:lnTo>
                        <a:pt x="253028" y="288249"/>
                      </a:lnTo>
                      <a:cubicBezTo>
                        <a:pt x="265372" y="312935"/>
                        <a:pt x="265372" y="340707"/>
                        <a:pt x="253028" y="365392"/>
                      </a:cubicBezTo>
                      <a:cubicBezTo>
                        <a:pt x="240686" y="390078"/>
                        <a:pt x="212915" y="402421"/>
                        <a:pt x="188229" y="402421"/>
                      </a:cubicBezTo>
                      <a:lnTo>
                        <a:pt x="126514" y="402421"/>
                      </a:lnTo>
                      <a:lnTo>
                        <a:pt x="126514" y="306764"/>
                      </a:lnTo>
                      <a:lnTo>
                        <a:pt x="154286" y="306764"/>
                      </a:lnTo>
                      <a:lnTo>
                        <a:pt x="43200" y="106192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5" name="任意多边形: 形状 144">
                  <a:extLst>
                    <a:ext uri="{FF2B5EF4-FFF2-40B4-BE49-F238E27FC236}">
                      <a16:creationId xmlns:a16="http://schemas.microsoft.com/office/drawing/2014/main" id="{540E785D-48A9-43CA-A631-B0A4F323AE31}"/>
                    </a:ext>
                  </a:extLst>
                </p:cNvPr>
                <p:cNvSpPr/>
                <p:nvPr/>
              </p:nvSpPr>
              <p:spPr>
                <a:xfrm>
                  <a:off x="9381576" y="10827953"/>
                  <a:ext cx="334078" cy="376457"/>
                </a:xfrm>
                <a:custGeom>
                  <a:avLst/>
                  <a:gdLst>
                    <a:gd name="connsiteX0" fmla="*/ 244592 w 334078"/>
                    <a:gd name="connsiteY0" fmla="*/ 111086 h 376457"/>
                    <a:gd name="connsiteX1" fmla="*/ 127335 w 334078"/>
                    <a:gd name="connsiteY1" fmla="*/ 311657 h 376457"/>
                    <a:gd name="connsiteX2" fmla="*/ 161278 w 334078"/>
                    <a:gd name="connsiteY2" fmla="*/ 327086 h 376457"/>
                    <a:gd name="connsiteX3" fmla="*/ 161278 w 334078"/>
                    <a:gd name="connsiteY3" fmla="*/ 339429 h 376457"/>
                    <a:gd name="connsiteX4" fmla="*/ 47107 w 334078"/>
                    <a:gd name="connsiteY4" fmla="*/ 376458 h 376457"/>
                    <a:gd name="connsiteX5" fmla="*/ 37849 w 334078"/>
                    <a:gd name="connsiteY5" fmla="*/ 373372 h 376457"/>
                    <a:gd name="connsiteX6" fmla="*/ 821 w 334078"/>
                    <a:gd name="connsiteY6" fmla="*/ 262286 h 376457"/>
                    <a:gd name="connsiteX7" fmla="*/ 10078 w 334078"/>
                    <a:gd name="connsiteY7" fmla="*/ 256115 h 376457"/>
                    <a:gd name="connsiteX8" fmla="*/ 40935 w 334078"/>
                    <a:gd name="connsiteY8" fmla="*/ 271543 h 376457"/>
                    <a:gd name="connsiteX9" fmla="*/ 176706 w 334078"/>
                    <a:gd name="connsiteY9" fmla="*/ 37029 h 376457"/>
                    <a:gd name="connsiteX10" fmla="*/ 241507 w 334078"/>
                    <a:gd name="connsiteY10" fmla="*/ 0 h 376457"/>
                    <a:gd name="connsiteX11" fmla="*/ 306306 w 334078"/>
                    <a:gd name="connsiteY11" fmla="*/ 40115 h 376457"/>
                    <a:gd name="connsiteX12" fmla="*/ 334078 w 334078"/>
                    <a:gd name="connsiteY12" fmla="*/ 92571 h 376457"/>
                    <a:gd name="connsiteX13" fmla="*/ 250764 w 334078"/>
                    <a:gd name="connsiteY13" fmla="*/ 138857 h 376457"/>
                    <a:gd name="connsiteX14" fmla="*/ 244592 w 334078"/>
                    <a:gd name="connsiteY14" fmla="*/ 111086 h 376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334078" h="376457">
                      <a:moveTo>
                        <a:pt x="244592" y="111086"/>
                      </a:moveTo>
                      <a:lnTo>
                        <a:pt x="127335" y="311657"/>
                      </a:lnTo>
                      <a:lnTo>
                        <a:pt x="161278" y="327086"/>
                      </a:lnTo>
                      <a:cubicBezTo>
                        <a:pt x="167449" y="330172"/>
                        <a:pt x="164364" y="336344"/>
                        <a:pt x="161278" y="339429"/>
                      </a:cubicBezTo>
                      <a:lnTo>
                        <a:pt x="47107" y="376458"/>
                      </a:lnTo>
                      <a:cubicBezTo>
                        <a:pt x="44021" y="376458"/>
                        <a:pt x="40935" y="376458"/>
                        <a:pt x="37849" y="373372"/>
                      </a:cubicBezTo>
                      <a:lnTo>
                        <a:pt x="821" y="262286"/>
                      </a:lnTo>
                      <a:cubicBezTo>
                        <a:pt x="-2265" y="256115"/>
                        <a:pt x="3907" y="253029"/>
                        <a:pt x="10078" y="256115"/>
                      </a:cubicBezTo>
                      <a:lnTo>
                        <a:pt x="40935" y="271543"/>
                      </a:lnTo>
                      <a:lnTo>
                        <a:pt x="176706" y="37029"/>
                      </a:lnTo>
                      <a:cubicBezTo>
                        <a:pt x="189050" y="12344"/>
                        <a:pt x="216821" y="0"/>
                        <a:pt x="241507" y="0"/>
                      </a:cubicBezTo>
                      <a:cubicBezTo>
                        <a:pt x="269278" y="0"/>
                        <a:pt x="293964" y="15429"/>
                        <a:pt x="306306" y="40115"/>
                      </a:cubicBezTo>
                      <a:lnTo>
                        <a:pt x="334078" y="92571"/>
                      </a:lnTo>
                      <a:lnTo>
                        <a:pt x="250764" y="138857"/>
                      </a:lnTo>
                      <a:lnTo>
                        <a:pt x="244592" y="111086"/>
                      </a:lnTo>
                      <a:close/>
                    </a:path>
                  </a:pathLst>
                </a:custGeom>
                <a:solidFill>
                  <a:srgbClr val="F1DDBA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6" name="任意多边形: 形状 145">
                  <a:extLst>
                    <a:ext uri="{FF2B5EF4-FFF2-40B4-BE49-F238E27FC236}">
                      <a16:creationId xmlns:a16="http://schemas.microsoft.com/office/drawing/2014/main" id="{D28B1C3A-5E32-4B0B-BE0B-9EBA4ED6B423}"/>
                    </a:ext>
                  </a:extLst>
                </p:cNvPr>
                <p:cNvSpPr/>
                <p:nvPr/>
              </p:nvSpPr>
              <p:spPr>
                <a:xfrm>
                  <a:off x="9315283" y="11204410"/>
                  <a:ext cx="424285" cy="220364"/>
                </a:xfrm>
                <a:custGeom>
                  <a:avLst/>
                  <a:gdLst>
                    <a:gd name="connsiteX0" fmla="*/ 11571 w 424285"/>
                    <a:gd name="connsiteY0" fmla="*/ 61714 h 220364"/>
                    <a:gd name="connsiteX1" fmla="*/ 51686 w 424285"/>
                    <a:gd name="connsiteY1" fmla="*/ 0 h 220364"/>
                    <a:gd name="connsiteX2" fmla="*/ 131915 w 424285"/>
                    <a:gd name="connsiteY2" fmla="*/ 49372 h 220364"/>
                    <a:gd name="connsiteX3" fmla="*/ 110314 w 424285"/>
                    <a:gd name="connsiteY3" fmla="*/ 80229 h 220364"/>
                    <a:gd name="connsiteX4" fmla="*/ 329400 w 424285"/>
                    <a:gd name="connsiteY4" fmla="*/ 80229 h 220364"/>
                    <a:gd name="connsiteX5" fmla="*/ 329400 w 424285"/>
                    <a:gd name="connsiteY5" fmla="*/ 46286 h 220364"/>
                    <a:gd name="connsiteX6" fmla="*/ 338657 w 424285"/>
                    <a:gd name="connsiteY6" fmla="*/ 43200 h 220364"/>
                    <a:gd name="connsiteX7" fmla="*/ 421972 w 424285"/>
                    <a:gd name="connsiteY7" fmla="*/ 126514 h 220364"/>
                    <a:gd name="connsiteX8" fmla="*/ 421972 w 424285"/>
                    <a:gd name="connsiteY8" fmla="*/ 135771 h 220364"/>
                    <a:gd name="connsiteX9" fmla="*/ 338657 w 424285"/>
                    <a:gd name="connsiteY9" fmla="*/ 219086 h 220364"/>
                    <a:gd name="connsiteX10" fmla="*/ 329400 w 424285"/>
                    <a:gd name="connsiteY10" fmla="*/ 216000 h 220364"/>
                    <a:gd name="connsiteX11" fmla="*/ 329400 w 424285"/>
                    <a:gd name="connsiteY11" fmla="*/ 182057 h 220364"/>
                    <a:gd name="connsiteX12" fmla="*/ 76372 w 424285"/>
                    <a:gd name="connsiteY12" fmla="*/ 182057 h 220364"/>
                    <a:gd name="connsiteX13" fmla="*/ 11571 w 424285"/>
                    <a:gd name="connsiteY13" fmla="*/ 145029 h 220364"/>
                    <a:gd name="connsiteX14" fmla="*/ 11571 w 424285"/>
                    <a:gd name="connsiteY14" fmla="*/ 61714 h 2203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24285" h="220364">
                      <a:moveTo>
                        <a:pt x="11571" y="61714"/>
                      </a:moveTo>
                      <a:lnTo>
                        <a:pt x="51686" y="0"/>
                      </a:lnTo>
                      <a:lnTo>
                        <a:pt x="131915" y="49372"/>
                      </a:lnTo>
                      <a:lnTo>
                        <a:pt x="110314" y="80229"/>
                      </a:lnTo>
                      <a:lnTo>
                        <a:pt x="329400" y="80229"/>
                      </a:lnTo>
                      <a:lnTo>
                        <a:pt x="329400" y="46286"/>
                      </a:lnTo>
                      <a:cubicBezTo>
                        <a:pt x="329400" y="40114"/>
                        <a:pt x="335571" y="37029"/>
                        <a:pt x="338657" y="43200"/>
                      </a:cubicBezTo>
                      <a:lnTo>
                        <a:pt x="421972" y="126514"/>
                      </a:lnTo>
                      <a:cubicBezTo>
                        <a:pt x="425057" y="129600"/>
                        <a:pt x="425057" y="132685"/>
                        <a:pt x="421972" y="135771"/>
                      </a:cubicBezTo>
                      <a:lnTo>
                        <a:pt x="338657" y="219086"/>
                      </a:lnTo>
                      <a:cubicBezTo>
                        <a:pt x="335571" y="222172"/>
                        <a:pt x="329400" y="219086"/>
                        <a:pt x="329400" y="216000"/>
                      </a:cubicBezTo>
                      <a:lnTo>
                        <a:pt x="329400" y="182057"/>
                      </a:lnTo>
                      <a:lnTo>
                        <a:pt x="76372" y="182057"/>
                      </a:lnTo>
                      <a:cubicBezTo>
                        <a:pt x="48600" y="182057"/>
                        <a:pt x="23915" y="166628"/>
                        <a:pt x="11571" y="145029"/>
                      </a:cubicBezTo>
                      <a:cubicBezTo>
                        <a:pt x="-3857" y="114172"/>
                        <a:pt x="-3857" y="86400"/>
                        <a:pt x="11571" y="6171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0167E170-DFC9-47D5-8D47-D2A1D17C3D42}"/>
                </a:ext>
              </a:extLst>
            </p:cNvPr>
            <p:cNvSpPr/>
            <p:nvPr/>
          </p:nvSpPr>
          <p:spPr>
            <a:xfrm>
              <a:off x="7790903" y="9621298"/>
              <a:ext cx="337151" cy="364260"/>
            </a:xfrm>
            <a:custGeom>
              <a:avLst/>
              <a:gdLst>
                <a:gd name="connsiteX0" fmla="*/ 150466 w 337151"/>
                <a:gd name="connsiteY0" fmla="*/ 333398 h 364260"/>
                <a:gd name="connsiteX1" fmla="*/ 243037 w 337151"/>
                <a:gd name="connsiteY1" fmla="*/ 358083 h 364260"/>
                <a:gd name="connsiteX2" fmla="*/ 276980 w 337151"/>
                <a:gd name="connsiteY2" fmla="*/ 274769 h 364260"/>
                <a:gd name="connsiteX3" fmla="*/ 326351 w 337151"/>
                <a:gd name="connsiteY3" fmla="*/ 237740 h 364260"/>
                <a:gd name="connsiteX4" fmla="*/ 323266 w 337151"/>
                <a:gd name="connsiteY4" fmla="*/ 200712 h 364260"/>
                <a:gd name="connsiteX5" fmla="*/ 323266 w 337151"/>
                <a:gd name="connsiteY5" fmla="*/ 105055 h 364260"/>
                <a:gd name="connsiteX6" fmla="*/ 310923 w 337151"/>
                <a:gd name="connsiteY6" fmla="*/ 68026 h 364260"/>
                <a:gd name="connsiteX7" fmla="*/ 267723 w 337151"/>
                <a:gd name="connsiteY7" fmla="*/ 49511 h 364260"/>
                <a:gd name="connsiteX8" fmla="*/ 239951 w 337151"/>
                <a:gd name="connsiteY8" fmla="*/ 9398 h 364260"/>
                <a:gd name="connsiteX9" fmla="*/ 181323 w 337151"/>
                <a:gd name="connsiteY9" fmla="*/ 9398 h 364260"/>
                <a:gd name="connsiteX10" fmla="*/ 138123 w 337151"/>
                <a:gd name="connsiteY10" fmla="*/ 12483 h 364260"/>
                <a:gd name="connsiteX11" fmla="*/ 45551 w 337151"/>
                <a:gd name="connsiteY11" fmla="*/ 55683 h 364260"/>
                <a:gd name="connsiteX12" fmla="*/ 23951 w 337151"/>
                <a:gd name="connsiteY12" fmla="*/ 101969 h 364260"/>
                <a:gd name="connsiteX13" fmla="*/ 45551 w 337151"/>
                <a:gd name="connsiteY13" fmla="*/ 274769 h 364260"/>
                <a:gd name="connsiteX14" fmla="*/ 150466 w 337151"/>
                <a:gd name="connsiteY14" fmla="*/ 333398 h 364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7151" h="364260">
                  <a:moveTo>
                    <a:pt x="150466" y="333398"/>
                  </a:moveTo>
                  <a:cubicBezTo>
                    <a:pt x="175152" y="358083"/>
                    <a:pt x="209094" y="373512"/>
                    <a:pt x="243037" y="358083"/>
                  </a:cubicBezTo>
                  <a:cubicBezTo>
                    <a:pt x="270808" y="342654"/>
                    <a:pt x="280066" y="308712"/>
                    <a:pt x="276980" y="274769"/>
                  </a:cubicBezTo>
                  <a:cubicBezTo>
                    <a:pt x="298580" y="271683"/>
                    <a:pt x="317094" y="262427"/>
                    <a:pt x="326351" y="237740"/>
                  </a:cubicBezTo>
                  <a:cubicBezTo>
                    <a:pt x="332523" y="222312"/>
                    <a:pt x="329437" y="209969"/>
                    <a:pt x="323266" y="200712"/>
                  </a:cubicBezTo>
                  <a:cubicBezTo>
                    <a:pt x="341780" y="172940"/>
                    <a:pt x="341780" y="129740"/>
                    <a:pt x="323266" y="105055"/>
                  </a:cubicBezTo>
                  <a:cubicBezTo>
                    <a:pt x="326351" y="92712"/>
                    <a:pt x="323266" y="77284"/>
                    <a:pt x="310923" y="68026"/>
                  </a:cubicBezTo>
                  <a:cubicBezTo>
                    <a:pt x="298580" y="52597"/>
                    <a:pt x="283152" y="49511"/>
                    <a:pt x="267723" y="49511"/>
                  </a:cubicBezTo>
                  <a:cubicBezTo>
                    <a:pt x="264637" y="34083"/>
                    <a:pt x="258466" y="18655"/>
                    <a:pt x="239951" y="9398"/>
                  </a:cubicBezTo>
                  <a:cubicBezTo>
                    <a:pt x="218351" y="-6031"/>
                    <a:pt x="196752" y="140"/>
                    <a:pt x="181323" y="9398"/>
                  </a:cubicBezTo>
                  <a:cubicBezTo>
                    <a:pt x="168980" y="140"/>
                    <a:pt x="147380" y="-2945"/>
                    <a:pt x="138123" y="12483"/>
                  </a:cubicBezTo>
                  <a:cubicBezTo>
                    <a:pt x="119609" y="37169"/>
                    <a:pt x="70237" y="34083"/>
                    <a:pt x="45551" y="55683"/>
                  </a:cubicBezTo>
                  <a:cubicBezTo>
                    <a:pt x="30123" y="68026"/>
                    <a:pt x="27037" y="83455"/>
                    <a:pt x="23951" y="101969"/>
                  </a:cubicBezTo>
                  <a:cubicBezTo>
                    <a:pt x="-16163" y="142083"/>
                    <a:pt x="-3820" y="246998"/>
                    <a:pt x="45551" y="274769"/>
                  </a:cubicBezTo>
                  <a:cubicBezTo>
                    <a:pt x="57894" y="317969"/>
                    <a:pt x="101094" y="348826"/>
                    <a:pt x="150466" y="333398"/>
                  </a:cubicBezTo>
                  <a:close/>
                </a:path>
              </a:pathLst>
            </a:custGeom>
            <a:solidFill>
              <a:srgbClr val="FFFFFF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6" name="图形 1">
              <a:extLst>
                <a:ext uri="{FF2B5EF4-FFF2-40B4-BE49-F238E27FC236}">
                  <a16:creationId xmlns:a16="http://schemas.microsoft.com/office/drawing/2014/main" id="{2CB80515-C3A2-4B0D-BFD7-2BA7CC4A4E65}"/>
                </a:ext>
              </a:extLst>
            </p:cNvPr>
            <p:cNvGrpSpPr/>
            <p:nvPr/>
          </p:nvGrpSpPr>
          <p:grpSpPr>
            <a:xfrm>
              <a:off x="9141711" y="8846925"/>
              <a:ext cx="330560" cy="682337"/>
              <a:chOff x="9141711" y="8846925"/>
              <a:chExt cx="330560" cy="682337"/>
            </a:xfrm>
          </p:grpSpPr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DADBDB7B-E3DE-415D-AF2E-C4EAA65D29F1}"/>
                  </a:ext>
                </a:extLst>
              </p:cNvPr>
              <p:cNvSpPr/>
              <p:nvPr/>
            </p:nvSpPr>
            <p:spPr>
              <a:xfrm>
                <a:off x="9141711" y="8902467"/>
                <a:ext cx="330560" cy="626794"/>
              </a:xfrm>
              <a:custGeom>
                <a:avLst/>
                <a:gdLst>
                  <a:gd name="connsiteX0" fmla="*/ 108000 w 330560"/>
                  <a:gd name="connsiteY0" fmla="*/ 129600 h 626794"/>
                  <a:gd name="connsiteX1" fmla="*/ 166629 w 330560"/>
                  <a:gd name="connsiteY1" fmla="*/ 61714 h 626794"/>
                  <a:gd name="connsiteX2" fmla="*/ 175886 w 330560"/>
                  <a:gd name="connsiteY2" fmla="*/ 0 h 626794"/>
                  <a:gd name="connsiteX3" fmla="*/ 262286 w 330560"/>
                  <a:gd name="connsiteY3" fmla="*/ 12343 h 626794"/>
                  <a:gd name="connsiteX4" fmla="*/ 253028 w 330560"/>
                  <a:gd name="connsiteY4" fmla="*/ 74057 h 626794"/>
                  <a:gd name="connsiteX5" fmla="*/ 290057 w 330560"/>
                  <a:gd name="connsiteY5" fmla="*/ 154286 h 626794"/>
                  <a:gd name="connsiteX6" fmla="*/ 330171 w 330560"/>
                  <a:gd name="connsiteY6" fmla="*/ 182057 h 626794"/>
                  <a:gd name="connsiteX7" fmla="*/ 330171 w 330560"/>
                  <a:gd name="connsiteY7" fmla="*/ 182057 h 626794"/>
                  <a:gd name="connsiteX8" fmla="*/ 271543 w 330560"/>
                  <a:gd name="connsiteY8" fmla="*/ 610972 h 626794"/>
                  <a:gd name="connsiteX9" fmla="*/ 271543 w 330560"/>
                  <a:gd name="connsiteY9" fmla="*/ 610972 h 626794"/>
                  <a:gd name="connsiteX10" fmla="*/ 132686 w 330560"/>
                  <a:gd name="connsiteY10" fmla="*/ 620229 h 626794"/>
                  <a:gd name="connsiteX11" fmla="*/ 0 w 330560"/>
                  <a:gd name="connsiteY11" fmla="*/ 573943 h 626794"/>
                  <a:gd name="connsiteX12" fmla="*/ 58629 w 330560"/>
                  <a:gd name="connsiteY12" fmla="*/ 145029 h 626794"/>
                  <a:gd name="connsiteX13" fmla="*/ 108000 w 330560"/>
                  <a:gd name="connsiteY13" fmla="*/ 129600 h 626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30560" h="626794">
                    <a:moveTo>
                      <a:pt x="108000" y="129600"/>
                    </a:moveTo>
                    <a:cubicBezTo>
                      <a:pt x="135772" y="126514"/>
                      <a:pt x="160457" y="98743"/>
                      <a:pt x="166629" y="61714"/>
                    </a:cubicBezTo>
                    <a:lnTo>
                      <a:pt x="175886" y="0"/>
                    </a:lnTo>
                    <a:lnTo>
                      <a:pt x="262286" y="12343"/>
                    </a:lnTo>
                    <a:lnTo>
                      <a:pt x="253028" y="74057"/>
                    </a:lnTo>
                    <a:cubicBezTo>
                      <a:pt x="246857" y="111086"/>
                      <a:pt x="265372" y="145029"/>
                      <a:pt x="290057" y="154286"/>
                    </a:cubicBezTo>
                    <a:cubicBezTo>
                      <a:pt x="317829" y="163543"/>
                      <a:pt x="333257" y="172800"/>
                      <a:pt x="330171" y="182057"/>
                    </a:cubicBezTo>
                    <a:lnTo>
                      <a:pt x="330171" y="182057"/>
                    </a:lnTo>
                    <a:lnTo>
                      <a:pt x="271543" y="610972"/>
                    </a:lnTo>
                    <a:lnTo>
                      <a:pt x="271543" y="610972"/>
                    </a:lnTo>
                    <a:cubicBezTo>
                      <a:pt x="268457" y="626400"/>
                      <a:pt x="206743" y="632571"/>
                      <a:pt x="132686" y="620229"/>
                    </a:cubicBezTo>
                    <a:cubicBezTo>
                      <a:pt x="58629" y="610972"/>
                      <a:pt x="0" y="589372"/>
                      <a:pt x="0" y="573943"/>
                    </a:cubicBezTo>
                    <a:lnTo>
                      <a:pt x="58629" y="145029"/>
                    </a:lnTo>
                    <a:cubicBezTo>
                      <a:pt x="61714" y="135772"/>
                      <a:pt x="80229" y="129600"/>
                      <a:pt x="108000" y="12960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236B984A-54E5-4CD3-94CB-58C59F474526}"/>
                  </a:ext>
                </a:extLst>
              </p:cNvPr>
              <p:cNvSpPr/>
              <p:nvPr/>
            </p:nvSpPr>
            <p:spPr>
              <a:xfrm>
                <a:off x="9280569" y="8846925"/>
                <a:ext cx="160457" cy="98742"/>
              </a:xfrm>
              <a:custGeom>
                <a:avLst/>
                <a:gdLst>
                  <a:gd name="connsiteX0" fmla="*/ 132686 w 160457"/>
                  <a:gd name="connsiteY0" fmla="*/ 98743 h 98742"/>
                  <a:gd name="connsiteX1" fmla="*/ 18514 w 160457"/>
                  <a:gd name="connsiteY1" fmla="*/ 83314 h 98742"/>
                  <a:gd name="connsiteX2" fmla="*/ 0 w 160457"/>
                  <a:gd name="connsiteY2" fmla="*/ 61714 h 98742"/>
                  <a:gd name="connsiteX3" fmla="*/ 6171 w 160457"/>
                  <a:gd name="connsiteY3" fmla="*/ 18514 h 98742"/>
                  <a:gd name="connsiteX4" fmla="*/ 27772 w 160457"/>
                  <a:gd name="connsiteY4" fmla="*/ 0 h 98742"/>
                  <a:gd name="connsiteX5" fmla="*/ 141943 w 160457"/>
                  <a:gd name="connsiteY5" fmla="*/ 15429 h 98742"/>
                  <a:gd name="connsiteX6" fmla="*/ 160457 w 160457"/>
                  <a:gd name="connsiteY6" fmla="*/ 37028 h 98742"/>
                  <a:gd name="connsiteX7" fmla="*/ 154286 w 160457"/>
                  <a:gd name="connsiteY7" fmla="*/ 80228 h 98742"/>
                  <a:gd name="connsiteX8" fmla="*/ 132686 w 160457"/>
                  <a:gd name="connsiteY8" fmla="*/ 98743 h 98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0457" h="98742">
                    <a:moveTo>
                      <a:pt x="132686" y="98743"/>
                    </a:moveTo>
                    <a:lnTo>
                      <a:pt x="18514" y="83314"/>
                    </a:lnTo>
                    <a:cubicBezTo>
                      <a:pt x="6171" y="83314"/>
                      <a:pt x="0" y="70971"/>
                      <a:pt x="0" y="61714"/>
                    </a:cubicBezTo>
                    <a:lnTo>
                      <a:pt x="6171" y="18514"/>
                    </a:lnTo>
                    <a:cubicBezTo>
                      <a:pt x="6171" y="6171"/>
                      <a:pt x="18514" y="0"/>
                      <a:pt x="27772" y="0"/>
                    </a:cubicBezTo>
                    <a:lnTo>
                      <a:pt x="141943" y="15429"/>
                    </a:lnTo>
                    <a:cubicBezTo>
                      <a:pt x="154286" y="15429"/>
                      <a:pt x="160457" y="27771"/>
                      <a:pt x="160457" y="37028"/>
                    </a:cubicBezTo>
                    <a:lnTo>
                      <a:pt x="154286" y="80228"/>
                    </a:lnTo>
                    <a:cubicBezTo>
                      <a:pt x="154286" y="92571"/>
                      <a:pt x="145028" y="98743"/>
                      <a:pt x="132686" y="9874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7" name="图形 1">
              <a:extLst>
                <a:ext uri="{FF2B5EF4-FFF2-40B4-BE49-F238E27FC236}">
                  <a16:creationId xmlns:a16="http://schemas.microsoft.com/office/drawing/2014/main" id="{E4A6A404-DA6B-4A4D-B66C-7EABC1371DAE}"/>
                </a:ext>
              </a:extLst>
            </p:cNvPr>
            <p:cNvGrpSpPr/>
            <p:nvPr/>
          </p:nvGrpSpPr>
          <p:grpSpPr>
            <a:xfrm>
              <a:off x="9069810" y="9163836"/>
              <a:ext cx="160128" cy="136756"/>
              <a:chOff x="9069810" y="9163836"/>
              <a:chExt cx="160128" cy="136756"/>
            </a:xfrm>
          </p:grpSpPr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8A7D443E-C05D-48C6-A5F2-C949472F4ED4}"/>
                  </a:ext>
                </a:extLst>
              </p:cNvPr>
              <p:cNvSpPr/>
              <p:nvPr/>
            </p:nvSpPr>
            <p:spPr>
              <a:xfrm>
                <a:off x="9069810" y="9172324"/>
                <a:ext cx="152144" cy="128269"/>
              </a:xfrm>
              <a:custGeom>
                <a:avLst/>
                <a:gdLst>
                  <a:gd name="connsiteX0" fmla="*/ 124358 w 152144"/>
                  <a:gd name="connsiteY0" fmla="*/ 14029 h 128269"/>
                  <a:gd name="connsiteX1" fmla="*/ 10187 w 152144"/>
                  <a:gd name="connsiteY1" fmla="*/ 17115 h 128269"/>
                  <a:gd name="connsiteX2" fmla="*/ 13273 w 152144"/>
                  <a:gd name="connsiteY2" fmla="*/ 128201 h 128269"/>
                  <a:gd name="connsiteX3" fmla="*/ 56473 w 152144"/>
                  <a:gd name="connsiteY3" fmla="*/ 66487 h 128269"/>
                  <a:gd name="connsiteX4" fmla="*/ 121273 w 152144"/>
                  <a:gd name="connsiteY4" fmla="*/ 81915 h 128269"/>
                  <a:gd name="connsiteX5" fmla="*/ 145959 w 152144"/>
                  <a:gd name="connsiteY5" fmla="*/ 100429 h 128269"/>
                  <a:gd name="connsiteX6" fmla="*/ 124358 w 152144"/>
                  <a:gd name="connsiteY6" fmla="*/ 14029 h 128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2144" h="128269">
                    <a:moveTo>
                      <a:pt x="124358" y="14029"/>
                    </a:moveTo>
                    <a:cubicBezTo>
                      <a:pt x="96587" y="-10656"/>
                      <a:pt x="37959" y="1686"/>
                      <a:pt x="10187" y="17115"/>
                    </a:cubicBezTo>
                    <a:cubicBezTo>
                      <a:pt x="-11413" y="29458"/>
                      <a:pt x="7102" y="131286"/>
                      <a:pt x="13273" y="128201"/>
                    </a:cubicBezTo>
                    <a:cubicBezTo>
                      <a:pt x="25616" y="122029"/>
                      <a:pt x="53387" y="100429"/>
                      <a:pt x="56473" y="66487"/>
                    </a:cubicBezTo>
                    <a:cubicBezTo>
                      <a:pt x="81159" y="60315"/>
                      <a:pt x="99673" y="66487"/>
                      <a:pt x="121273" y="81915"/>
                    </a:cubicBezTo>
                    <a:cubicBezTo>
                      <a:pt x="127444" y="88086"/>
                      <a:pt x="136702" y="106601"/>
                      <a:pt x="145959" y="100429"/>
                    </a:cubicBezTo>
                    <a:cubicBezTo>
                      <a:pt x="164473" y="85001"/>
                      <a:pt x="136702" y="26372"/>
                      <a:pt x="124358" y="14029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7F60AF02-6C82-41BD-88E5-59D12F33F9CC}"/>
                  </a:ext>
                </a:extLst>
              </p:cNvPr>
              <p:cNvSpPr/>
              <p:nvPr/>
            </p:nvSpPr>
            <p:spPr>
              <a:xfrm>
                <a:off x="9070740" y="9163836"/>
                <a:ext cx="159199" cy="127431"/>
              </a:xfrm>
              <a:custGeom>
                <a:avLst/>
                <a:gdLst>
                  <a:gd name="connsiteX0" fmla="*/ 27772 w 159199"/>
                  <a:gd name="connsiteY0" fmla="*/ 127431 h 127431"/>
                  <a:gd name="connsiteX1" fmla="*/ 21600 w 159199"/>
                  <a:gd name="connsiteY1" fmla="*/ 124345 h 127431"/>
                  <a:gd name="connsiteX2" fmla="*/ 24686 w 159199"/>
                  <a:gd name="connsiteY2" fmla="*/ 115088 h 127431"/>
                  <a:gd name="connsiteX3" fmla="*/ 46286 w 159199"/>
                  <a:gd name="connsiteY3" fmla="*/ 74974 h 127431"/>
                  <a:gd name="connsiteX4" fmla="*/ 49372 w 159199"/>
                  <a:gd name="connsiteY4" fmla="*/ 68803 h 127431"/>
                  <a:gd name="connsiteX5" fmla="*/ 123429 w 159199"/>
                  <a:gd name="connsiteY5" fmla="*/ 90403 h 127431"/>
                  <a:gd name="connsiteX6" fmla="*/ 141943 w 159199"/>
                  <a:gd name="connsiteY6" fmla="*/ 99660 h 127431"/>
                  <a:gd name="connsiteX7" fmla="*/ 145029 w 159199"/>
                  <a:gd name="connsiteY7" fmla="*/ 93488 h 127431"/>
                  <a:gd name="connsiteX8" fmla="*/ 117257 w 159199"/>
                  <a:gd name="connsiteY8" fmla="*/ 25602 h 127431"/>
                  <a:gd name="connsiteX9" fmla="*/ 9257 w 159199"/>
                  <a:gd name="connsiteY9" fmla="*/ 31774 h 127431"/>
                  <a:gd name="connsiteX10" fmla="*/ 0 w 159199"/>
                  <a:gd name="connsiteY10" fmla="*/ 28688 h 127431"/>
                  <a:gd name="connsiteX11" fmla="*/ 3086 w 159199"/>
                  <a:gd name="connsiteY11" fmla="*/ 19431 h 127431"/>
                  <a:gd name="connsiteX12" fmla="*/ 126514 w 159199"/>
                  <a:gd name="connsiteY12" fmla="*/ 16345 h 127431"/>
                  <a:gd name="connsiteX13" fmla="*/ 157372 w 159199"/>
                  <a:gd name="connsiteY13" fmla="*/ 96574 h 127431"/>
                  <a:gd name="connsiteX14" fmla="*/ 145029 w 159199"/>
                  <a:gd name="connsiteY14" fmla="*/ 112002 h 127431"/>
                  <a:gd name="connsiteX15" fmla="*/ 114172 w 159199"/>
                  <a:gd name="connsiteY15" fmla="*/ 99660 h 127431"/>
                  <a:gd name="connsiteX16" fmla="*/ 55543 w 159199"/>
                  <a:gd name="connsiteY16" fmla="*/ 81145 h 127431"/>
                  <a:gd name="connsiteX17" fmla="*/ 30857 w 159199"/>
                  <a:gd name="connsiteY17" fmla="*/ 127431 h 127431"/>
                  <a:gd name="connsiteX18" fmla="*/ 27772 w 159199"/>
                  <a:gd name="connsiteY18" fmla="*/ 127431 h 127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59199" h="127431">
                    <a:moveTo>
                      <a:pt x="27772" y="127431"/>
                    </a:moveTo>
                    <a:cubicBezTo>
                      <a:pt x="24686" y="127431"/>
                      <a:pt x="24686" y="127431"/>
                      <a:pt x="21600" y="124345"/>
                    </a:cubicBezTo>
                    <a:cubicBezTo>
                      <a:pt x="18514" y="121260"/>
                      <a:pt x="21600" y="118174"/>
                      <a:pt x="24686" y="115088"/>
                    </a:cubicBezTo>
                    <a:cubicBezTo>
                      <a:pt x="40114" y="105831"/>
                      <a:pt x="46286" y="74974"/>
                      <a:pt x="46286" y="74974"/>
                    </a:cubicBezTo>
                    <a:cubicBezTo>
                      <a:pt x="46286" y="71888"/>
                      <a:pt x="49372" y="71888"/>
                      <a:pt x="49372" y="68803"/>
                    </a:cubicBezTo>
                    <a:cubicBezTo>
                      <a:pt x="83315" y="59545"/>
                      <a:pt x="104915" y="74974"/>
                      <a:pt x="123429" y="90403"/>
                    </a:cubicBezTo>
                    <a:cubicBezTo>
                      <a:pt x="129600" y="96574"/>
                      <a:pt x="138857" y="102745"/>
                      <a:pt x="141943" y="99660"/>
                    </a:cubicBezTo>
                    <a:cubicBezTo>
                      <a:pt x="141943" y="99660"/>
                      <a:pt x="145029" y="99660"/>
                      <a:pt x="145029" y="93488"/>
                    </a:cubicBezTo>
                    <a:cubicBezTo>
                      <a:pt x="148114" y="78059"/>
                      <a:pt x="138857" y="47202"/>
                      <a:pt x="117257" y="25602"/>
                    </a:cubicBezTo>
                    <a:cubicBezTo>
                      <a:pt x="86400" y="-5255"/>
                      <a:pt x="9257" y="31774"/>
                      <a:pt x="9257" y="31774"/>
                    </a:cubicBezTo>
                    <a:cubicBezTo>
                      <a:pt x="6172" y="31774"/>
                      <a:pt x="3086" y="31774"/>
                      <a:pt x="0" y="28688"/>
                    </a:cubicBezTo>
                    <a:cubicBezTo>
                      <a:pt x="0" y="25602"/>
                      <a:pt x="0" y="22517"/>
                      <a:pt x="3086" y="19431"/>
                    </a:cubicBezTo>
                    <a:cubicBezTo>
                      <a:pt x="6172" y="16345"/>
                      <a:pt x="89486" y="-20683"/>
                      <a:pt x="126514" y="16345"/>
                    </a:cubicBezTo>
                    <a:cubicBezTo>
                      <a:pt x="154286" y="44117"/>
                      <a:pt x="163543" y="78059"/>
                      <a:pt x="157372" y="96574"/>
                    </a:cubicBezTo>
                    <a:cubicBezTo>
                      <a:pt x="154286" y="102745"/>
                      <a:pt x="151200" y="108917"/>
                      <a:pt x="145029" y="112002"/>
                    </a:cubicBezTo>
                    <a:cubicBezTo>
                      <a:pt x="135772" y="115088"/>
                      <a:pt x="126514" y="105831"/>
                      <a:pt x="114172" y="99660"/>
                    </a:cubicBezTo>
                    <a:cubicBezTo>
                      <a:pt x="98743" y="87317"/>
                      <a:pt x="80229" y="74974"/>
                      <a:pt x="55543" y="81145"/>
                    </a:cubicBezTo>
                    <a:cubicBezTo>
                      <a:pt x="52458" y="90403"/>
                      <a:pt x="46286" y="118174"/>
                      <a:pt x="30857" y="127431"/>
                    </a:cubicBezTo>
                    <a:cubicBezTo>
                      <a:pt x="30857" y="127431"/>
                      <a:pt x="27772" y="127431"/>
                      <a:pt x="27772" y="12743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8" name="图形 1">
              <a:extLst>
                <a:ext uri="{FF2B5EF4-FFF2-40B4-BE49-F238E27FC236}">
                  <a16:creationId xmlns:a16="http://schemas.microsoft.com/office/drawing/2014/main" id="{77C6F517-4FA9-4A98-87AB-210801BE2A57}"/>
                </a:ext>
              </a:extLst>
            </p:cNvPr>
            <p:cNvGrpSpPr/>
            <p:nvPr/>
          </p:nvGrpSpPr>
          <p:grpSpPr>
            <a:xfrm>
              <a:off x="7614283" y="9605913"/>
              <a:ext cx="390655" cy="276999"/>
              <a:chOff x="7614283" y="9605913"/>
              <a:chExt cx="390655" cy="276999"/>
            </a:xfrm>
          </p:grpSpPr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074E9A98-F814-48C9-A26E-0B7B6346A958}"/>
                  </a:ext>
                </a:extLst>
              </p:cNvPr>
              <p:cNvSpPr/>
              <p:nvPr/>
            </p:nvSpPr>
            <p:spPr>
              <a:xfrm>
                <a:off x="7614283" y="9605913"/>
                <a:ext cx="390655" cy="276999"/>
              </a:xfrm>
              <a:custGeom>
                <a:avLst/>
                <a:gdLst>
                  <a:gd name="connsiteX0" fmla="*/ 30857 w 390655"/>
                  <a:gd name="connsiteY0" fmla="*/ 151298 h 276999"/>
                  <a:gd name="connsiteX1" fmla="*/ 117257 w 390655"/>
                  <a:gd name="connsiteY1" fmla="*/ 197583 h 276999"/>
                  <a:gd name="connsiteX2" fmla="*/ 200571 w 390655"/>
                  <a:gd name="connsiteY2" fmla="*/ 256212 h 276999"/>
                  <a:gd name="connsiteX3" fmla="*/ 253028 w 390655"/>
                  <a:gd name="connsiteY3" fmla="*/ 274726 h 276999"/>
                  <a:gd name="connsiteX4" fmla="*/ 222171 w 390655"/>
                  <a:gd name="connsiteY4" fmla="*/ 216098 h 276999"/>
                  <a:gd name="connsiteX5" fmla="*/ 271543 w 390655"/>
                  <a:gd name="connsiteY5" fmla="*/ 243869 h 276999"/>
                  <a:gd name="connsiteX6" fmla="*/ 348686 w 390655"/>
                  <a:gd name="connsiteY6" fmla="*/ 259298 h 276999"/>
                  <a:gd name="connsiteX7" fmla="*/ 354857 w 390655"/>
                  <a:gd name="connsiteY7" fmla="*/ 243869 h 276999"/>
                  <a:gd name="connsiteX8" fmla="*/ 388800 w 390655"/>
                  <a:gd name="connsiteY8" fmla="*/ 240783 h 276999"/>
                  <a:gd name="connsiteX9" fmla="*/ 357943 w 390655"/>
                  <a:gd name="connsiteY9" fmla="*/ 179069 h 276999"/>
                  <a:gd name="connsiteX10" fmla="*/ 308571 w 390655"/>
                  <a:gd name="connsiteY10" fmla="*/ 138955 h 276999"/>
                  <a:gd name="connsiteX11" fmla="*/ 351772 w 390655"/>
                  <a:gd name="connsiteY11" fmla="*/ 151298 h 276999"/>
                  <a:gd name="connsiteX12" fmla="*/ 373372 w 390655"/>
                  <a:gd name="connsiteY12" fmla="*/ 148212 h 276999"/>
                  <a:gd name="connsiteX13" fmla="*/ 320915 w 390655"/>
                  <a:gd name="connsiteY13" fmla="*/ 89583 h 276999"/>
                  <a:gd name="connsiteX14" fmla="*/ 67886 w 390655"/>
                  <a:gd name="connsiteY14" fmla="*/ 97 h 276999"/>
                  <a:gd name="connsiteX15" fmla="*/ 0 w 390655"/>
                  <a:gd name="connsiteY15" fmla="*/ 111183 h 276999"/>
                  <a:gd name="connsiteX16" fmla="*/ 30857 w 390655"/>
                  <a:gd name="connsiteY16" fmla="*/ 151298 h 276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90655" h="276999">
                    <a:moveTo>
                      <a:pt x="30857" y="151298"/>
                    </a:moveTo>
                    <a:cubicBezTo>
                      <a:pt x="58629" y="166726"/>
                      <a:pt x="89486" y="179069"/>
                      <a:pt x="117257" y="197583"/>
                    </a:cubicBezTo>
                    <a:cubicBezTo>
                      <a:pt x="145028" y="216098"/>
                      <a:pt x="172800" y="237697"/>
                      <a:pt x="200571" y="256212"/>
                    </a:cubicBezTo>
                    <a:cubicBezTo>
                      <a:pt x="209829" y="262384"/>
                      <a:pt x="240686" y="283983"/>
                      <a:pt x="253028" y="274726"/>
                    </a:cubicBezTo>
                    <a:cubicBezTo>
                      <a:pt x="271543" y="265469"/>
                      <a:pt x="246857" y="237697"/>
                      <a:pt x="222171" y="216098"/>
                    </a:cubicBezTo>
                    <a:cubicBezTo>
                      <a:pt x="237600" y="225355"/>
                      <a:pt x="256114" y="234611"/>
                      <a:pt x="271543" y="243869"/>
                    </a:cubicBezTo>
                    <a:cubicBezTo>
                      <a:pt x="290057" y="253126"/>
                      <a:pt x="327086" y="271640"/>
                      <a:pt x="348686" y="259298"/>
                    </a:cubicBezTo>
                    <a:cubicBezTo>
                      <a:pt x="354857" y="256212"/>
                      <a:pt x="357943" y="250040"/>
                      <a:pt x="354857" y="243869"/>
                    </a:cubicBezTo>
                    <a:cubicBezTo>
                      <a:pt x="370286" y="250040"/>
                      <a:pt x="382629" y="250040"/>
                      <a:pt x="388800" y="240783"/>
                    </a:cubicBezTo>
                    <a:cubicBezTo>
                      <a:pt x="398057" y="222269"/>
                      <a:pt x="370286" y="191412"/>
                      <a:pt x="357943" y="179069"/>
                    </a:cubicBezTo>
                    <a:cubicBezTo>
                      <a:pt x="342514" y="163640"/>
                      <a:pt x="327086" y="151298"/>
                      <a:pt x="308571" y="138955"/>
                    </a:cubicBezTo>
                    <a:cubicBezTo>
                      <a:pt x="324000" y="145126"/>
                      <a:pt x="339429" y="148212"/>
                      <a:pt x="351772" y="151298"/>
                    </a:cubicBezTo>
                    <a:cubicBezTo>
                      <a:pt x="361028" y="151298"/>
                      <a:pt x="367200" y="154384"/>
                      <a:pt x="373372" y="148212"/>
                    </a:cubicBezTo>
                    <a:cubicBezTo>
                      <a:pt x="391886" y="123526"/>
                      <a:pt x="333257" y="95754"/>
                      <a:pt x="320915" y="89583"/>
                    </a:cubicBezTo>
                    <a:cubicBezTo>
                      <a:pt x="240686" y="46383"/>
                      <a:pt x="154286" y="27869"/>
                      <a:pt x="67886" y="97"/>
                    </a:cubicBezTo>
                    <a:cubicBezTo>
                      <a:pt x="67886" y="-2988"/>
                      <a:pt x="3086" y="67983"/>
                      <a:pt x="0" y="111183"/>
                    </a:cubicBezTo>
                    <a:cubicBezTo>
                      <a:pt x="3086" y="132783"/>
                      <a:pt x="9257" y="138955"/>
                      <a:pt x="30857" y="151298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5CC30C0F-2051-4040-9DBC-E051AE4046B8}"/>
                  </a:ext>
                </a:extLst>
              </p:cNvPr>
              <p:cNvSpPr/>
              <p:nvPr/>
            </p:nvSpPr>
            <p:spPr>
              <a:xfrm>
                <a:off x="7835176" y="9652296"/>
                <a:ext cx="164820" cy="111085"/>
              </a:xfrm>
              <a:custGeom>
                <a:avLst/>
                <a:gdLst>
                  <a:gd name="connsiteX0" fmla="*/ 137050 w 164820"/>
                  <a:gd name="connsiteY0" fmla="*/ 111085 h 111085"/>
                  <a:gd name="connsiteX1" fmla="*/ 87678 w 164820"/>
                  <a:gd name="connsiteY1" fmla="*/ 95657 h 111085"/>
                  <a:gd name="connsiteX2" fmla="*/ 13621 w 164820"/>
                  <a:gd name="connsiteY2" fmla="*/ 61715 h 111085"/>
                  <a:gd name="connsiteX3" fmla="*/ 13621 w 164820"/>
                  <a:gd name="connsiteY3" fmla="*/ 61715 h 111085"/>
                  <a:gd name="connsiteX4" fmla="*/ 7450 w 164820"/>
                  <a:gd name="connsiteY4" fmla="*/ 55543 h 111085"/>
                  <a:gd name="connsiteX5" fmla="*/ 13621 w 164820"/>
                  <a:gd name="connsiteY5" fmla="*/ 49371 h 111085"/>
                  <a:gd name="connsiteX6" fmla="*/ 13621 w 164820"/>
                  <a:gd name="connsiteY6" fmla="*/ 49371 h 111085"/>
                  <a:gd name="connsiteX7" fmla="*/ 93849 w 164820"/>
                  <a:gd name="connsiteY7" fmla="*/ 86400 h 111085"/>
                  <a:gd name="connsiteX8" fmla="*/ 152478 w 164820"/>
                  <a:gd name="connsiteY8" fmla="*/ 95657 h 111085"/>
                  <a:gd name="connsiteX9" fmla="*/ 152478 w 164820"/>
                  <a:gd name="connsiteY9" fmla="*/ 92572 h 111085"/>
                  <a:gd name="connsiteX10" fmla="*/ 4364 w 164820"/>
                  <a:gd name="connsiteY10" fmla="*/ 9257 h 111085"/>
                  <a:gd name="connsiteX11" fmla="*/ 1278 w 164820"/>
                  <a:gd name="connsiteY11" fmla="*/ 3086 h 111085"/>
                  <a:gd name="connsiteX12" fmla="*/ 7450 w 164820"/>
                  <a:gd name="connsiteY12" fmla="*/ 0 h 111085"/>
                  <a:gd name="connsiteX13" fmla="*/ 164821 w 164820"/>
                  <a:gd name="connsiteY13" fmla="*/ 92572 h 111085"/>
                  <a:gd name="connsiteX14" fmla="*/ 158650 w 164820"/>
                  <a:gd name="connsiteY14" fmla="*/ 108000 h 111085"/>
                  <a:gd name="connsiteX15" fmla="*/ 137050 w 164820"/>
                  <a:gd name="connsiteY15" fmla="*/ 111085 h 111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4820" h="111085">
                    <a:moveTo>
                      <a:pt x="137050" y="111085"/>
                    </a:moveTo>
                    <a:cubicBezTo>
                      <a:pt x="115450" y="111085"/>
                      <a:pt x="90764" y="98743"/>
                      <a:pt x="87678" y="95657"/>
                    </a:cubicBezTo>
                    <a:cubicBezTo>
                      <a:pt x="56821" y="77143"/>
                      <a:pt x="22878" y="61715"/>
                      <a:pt x="13621" y="61715"/>
                    </a:cubicBezTo>
                    <a:cubicBezTo>
                      <a:pt x="13621" y="61715"/>
                      <a:pt x="13621" y="61715"/>
                      <a:pt x="13621" y="61715"/>
                    </a:cubicBezTo>
                    <a:cubicBezTo>
                      <a:pt x="10535" y="61715"/>
                      <a:pt x="7450" y="58629"/>
                      <a:pt x="7450" y="55543"/>
                    </a:cubicBezTo>
                    <a:cubicBezTo>
                      <a:pt x="7450" y="52457"/>
                      <a:pt x="10535" y="49371"/>
                      <a:pt x="13621" y="49371"/>
                    </a:cubicBezTo>
                    <a:cubicBezTo>
                      <a:pt x="13621" y="49371"/>
                      <a:pt x="13621" y="49371"/>
                      <a:pt x="13621" y="49371"/>
                    </a:cubicBezTo>
                    <a:cubicBezTo>
                      <a:pt x="29050" y="49371"/>
                      <a:pt x="78421" y="77143"/>
                      <a:pt x="93849" y="86400"/>
                    </a:cubicBezTo>
                    <a:cubicBezTo>
                      <a:pt x="106193" y="92572"/>
                      <a:pt x="140135" y="104915"/>
                      <a:pt x="152478" y="95657"/>
                    </a:cubicBezTo>
                    <a:cubicBezTo>
                      <a:pt x="152478" y="95657"/>
                      <a:pt x="155564" y="92572"/>
                      <a:pt x="152478" y="92572"/>
                    </a:cubicBezTo>
                    <a:cubicBezTo>
                      <a:pt x="149392" y="77143"/>
                      <a:pt x="100021" y="40114"/>
                      <a:pt x="4364" y="9257"/>
                    </a:cubicBezTo>
                    <a:cubicBezTo>
                      <a:pt x="1278" y="9257"/>
                      <a:pt x="-1807" y="6171"/>
                      <a:pt x="1278" y="3086"/>
                    </a:cubicBezTo>
                    <a:cubicBezTo>
                      <a:pt x="1278" y="0"/>
                      <a:pt x="4364" y="0"/>
                      <a:pt x="7450" y="0"/>
                    </a:cubicBezTo>
                    <a:cubicBezTo>
                      <a:pt x="93849" y="27772"/>
                      <a:pt x="158650" y="64800"/>
                      <a:pt x="164821" y="92572"/>
                    </a:cubicBezTo>
                    <a:cubicBezTo>
                      <a:pt x="164821" y="98743"/>
                      <a:pt x="164821" y="104915"/>
                      <a:pt x="158650" y="108000"/>
                    </a:cubicBezTo>
                    <a:cubicBezTo>
                      <a:pt x="155564" y="108000"/>
                      <a:pt x="146307" y="111085"/>
                      <a:pt x="137050" y="11108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F97FACBF-A7D1-42C7-8160-7A6575D0E066}"/>
                  </a:ext>
                </a:extLst>
              </p:cNvPr>
              <p:cNvSpPr/>
              <p:nvPr/>
            </p:nvSpPr>
            <p:spPr>
              <a:xfrm>
                <a:off x="7832090" y="9749760"/>
                <a:ext cx="145535" cy="109278"/>
              </a:xfrm>
              <a:custGeom>
                <a:avLst/>
                <a:gdLst>
                  <a:gd name="connsiteX0" fmla="*/ 140135 w 145535"/>
                  <a:gd name="connsiteY0" fmla="*/ 106192 h 109278"/>
                  <a:gd name="connsiteX1" fmla="*/ 137049 w 145535"/>
                  <a:gd name="connsiteY1" fmla="*/ 106192 h 109278"/>
                  <a:gd name="connsiteX2" fmla="*/ 4364 w 145535"/>
                  <a:gd name="connsiteY2" fmla="*/ 10536 h 109278"/>
                  <a:gd name="connsiteX3" fmla="*/ 1278 w 145535"/>
                  <a:gd name="connsiteY3" fmla="*/ 4364 h 109278"/>
                  <a:gd name="connsiteX4" fmla="*/ 7450 w 145535"/>
                  <a:gd name="connsiteY4" fmla="*/ 1278 h 109278"/>
                  <a:gd name="connsiteX5" fmla="*/ 143221 w 145535"/>
                  <a:gd name="connsiteY5" fmla="*/ 100021 h 109278"/>
                  <a:gd name="connsiteX6" fmla="*/ 143221 w 145535"/>
                  <a:gd name="connsiteY6" fmla="*/ 109278 h 109278"/>
                  <a:gd name="connsiteX7" fmla="*/ 140135 w 145535"/>
                  <a:gd name="connsiteY7" fmla="*/ 106192 h 109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5535" h="109278">
                    <a:moveTo>
                      <a:pt x="140135" y="106192"/>
                    </a:moveTo>
                    <a:cubicBezTo>
                      <a:pt x="140135" y="106192"/>
                      <a:pt x="137049" y="106192"/>
                      <a:pt x="137049" y="106192"/>
                    </a:cubicBezTo>
                    <a:cubicBezTo>
                      <a:pt x="137049" y="106192"/>
                      <a:pt x="38307" y="19793"/>
                      <a:pt x="4364" y="10536"/>
                    </a:cubicBezTo>
                    <a:cubicBezTo>
                      <a:pt x="1278" y="10536"/>
                      <a:pt x="-1808" y="7450"/>
                      <a:pt x="1278" y="4364"/>
                    </a:cubicBezTo>
                    <a:cubicBezTo>
                      <a:pt x="1278" y="1278"/>
                      <a:pt x="4364" y="-1808"/>
                      <a:pt x="7450" y="1278"/>
                    </a:cubicBezTo>
                    <a:cubicBezTo>
                      <a:pt x="44478" y="10536"/>
                      <a:pt x="140135" y="96936"/>
                      <a:pt x="143221" y="100021"/>
                    </a:cubicBezTo>
                    <a:cubicBezTo>
                      <a:pt x="146307" y="103107"/>
                      <a:pt x="146307" y="106192"/>
                      <a:pt x="143221" y="109278"/>
                    </a:cubicBezTo>
                    <a:cubicBezTo>
                      <a:pt x="143221" y="103107"/>
                      <a:pt x="140135" y="106192"/>
                      <a:pt x="140135" y="10619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1B031CFD-64A4-4A64-9267-7A586B7F6466}"/>
                  </a:ext>
                </a:extLst>
              </p:cNvPr>
              <p:cNvSpPr/>
              <p:nvPr/>
            </p:nvSpPr>
            <p:spPr>
              <a:xfrm>
                <a:off x="7783997" y="9791153"/>
                <a:ext cx="58628" cy="37028"/>
              </a:xfrm>
              <a:custGeom>
                <a:avLst/>
                <a:gdLst>
                  <a:gd name="connsiteX0" fmla="*/ 55543 w 58628"/>
                  <a:gd name="connsiteY0" fmla="*/ 37028 h 37028"/>
                  <a:gd name="connsiteX1" fmla="*/ 55543 w 58628"/>
                  <a:gd name="connsiteY1" fmla="*/ 37028 h 37028"/>
                  <a:gd name="connsiteX2" fmla="*/ 3086 w 58628"/>
                  <a:gd name="connsiteY2" fmla="*/ 9257 h 37028"/>
                  <a:gd name="connsiteX3" fmla="*/ 0 w 58628"/>
                  <a:gd name="connsiteY3" fmla="*/ 3085 h 37028"/>
                  <a:gd name="connsiteX4" fmla="*/ 6171 w 58628"/>
                  <a:gd name="connsiteY4" fmla="*/ 0 h 37028"/>
                  <a:gd name="connsiteX5" fmla="*/ 55543 w 58628"/>
                  <a:gd name="connsiteY5" fmla="*/ 24685 h 37028"/>
                  <a:gd name="connsiteX6" fmla="*/ 58629 w 58628"/>
                  <a:gd name="connsiteY6" fmla="*/ 30857 h 37028"/>
                  <a:gd name="connsiteX7" fmla="*/ 55543 w 58628"/>
                  <a:gd name="connsiteY7" fmla="*/ 37028 h 37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8628" h="37028">
                    <a:moveTo>
                      <a:pt x="55543" y="37028"/>
                    </a:moveTo>
                    <a:cubicBezTo>
                      <a:pt x="52457" y="37028"/>
                      <a:pt x="52457" y="37028"/>
                      <a:pt x="55543" y="37028"/>
                    </a:cubicBezTo>
                    <a:lnTo>
                      <a:pt x="3086" y="9257"/>
                    </a:lnTo>
                    <a:cubicBezTo>
                      <a:pt x="0" y="9257"/>
                      <a:pt x="0" y="3085"/>
                      <a:pt x="0" y="3085"/>
                    </a:cubicBezTo>
                    <a:cubicBezTo>
                      <a:pt x="0" y="0"/>
                      <a:pt x="6171" y="0"/>
                      <a:pt x="6171" y="0"/>
                    </a:cubicBezTo>
                    <a:lnTo>
                      <a:pt x="55543" y="24685"/>
                    </a:lnTo>
                    <a:cubicBezTo>
                      <a:pt x="58629" y="24685"/>
                      <a:pt x="58629" y="30857"/>
                      <a:pt x="58629" y="30857"/>
                    </a:cubicBezTo>
                    <a:cubicBezTo>
                      <a:pt x="58629" y="33942"/>
                      <a:pt x="55543" y="37028"/>
                      <a:pt x="55543" y="3702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4A49D83B-8F67-45A3-860F-0BE287E3FB1B}"/>
                  </a:ext>
                </a:extLst>
              </p:cNvPr>
              <p:cNvSpPr/>
              <p:nvPr/>
            </p:nvSpPr>
            <p:spPr>
              <a:xfrm>
                <a:off x="7741569" y="9673896"/>
                <a:ext cx="57857" cy="104914"/>
              </a:xfrm>
              <a:custGeom>
                <a:avLst/>
                <a:gdLst>
                  <a:gd name="connsiteX0" fmla="*/ 5400 w 57857"/>
                  <a:gd name="connsiteY0" fmla="*/ 104914 h 104914"/>
                  <a:gd name="connsiteX1" fmla="*/ 2314 w 57857"/>
                  <a:gd name="connsiteY1" fmla="*/ 101829 h 104914"/>
                  <a:gd name="connsiteX2" fmla="*/ 2314 w 57857"/>
                  <a:gd name="connsiteY2" fmla="*/ 92571 h 104914"/>
                  <a:gd name="connsiteX3" fmla="*/ 45514 w 57857"/>
                  <a:gd name="connsiteY3" fmla="*/ 6172 h 104914"/>
                  <a:gd name="connsiteX4" fmla="*/ 51686 w 57857"/>
                  <a:gd name="connsiteY4" fmla="*/ 0 h 104914"/>
                  <a:gd name="connsiteX5" fmla="*/ 51686 w 57857"/>
                  <a:gd name="connsiteY5" fmla="*/ 0 h 104914"/>
                  <a:gd name="connsiteX6" fmla="*/ 57857 w 57857"/>
                  <a:gd name="connsiteY6" fmla="*/ 6172 h 104914"/>
                  <a:gd name="connsiteX7" fmla="*/ 11571 w 57857"/>
                  <a:gd name="connsiteY7" fmla="*/ 101829 h 104914"/>
                  <a:gd name="connsiteX8" fmla="*/ 5400 w 57857"/>
                  <a:gd name="connsiteY8" fmla="*/ 104914 h 104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857" h="104914">
                    <a:moveTo>
                      <a:pt x="5400" y="104914"/>
                    </a:moveTo>
                    <a:cubicBezTo>
                      <a:pt x="2314" y="104914"/>
                      <a:pt x="2314" y="104914"/>
                      <a:pt x="2314" y="101829"/>
                    </a:cubicBezTo>
                    <a:cubicBezTo>
                      <a:pt x="-771" y="98743"/>
                      <a:pt x="-771" y="95657"/>
                      <a:pt x="2314" y="92571"/>
                    </a:cubicBezTo>
                    <a:cubicBezTo>
                      <a:pt x="42428" y="58628"/>
                      <a:pt x="45514" y="6172"/>
                      <a:pt x="45514" y="6172"/>
                    </a:cubicBezTo>
                    <a:cubicBezTo>
                      <a:pt x="45514" y="3086"/>
                      <a:pt x="48600" y="0"/>
                      <a:pt x="51686" y="0"/>
                    </a:cubicBezTo>
                    <a:cubicBezTo>
                      <a:pt x="51686" y="0"/>
                      <a:pt x="51686" y="0"/>
                      <a:pt x="51686" y="0"/>
                    </a:cubicBezTo>
                    <a:cubicBezTo>
                      <a:pt x="54772" y="0"/>
                      <a:pt x="57857" y="3086"/>
                      <a:pt x="57857" y="6172"/>
                    </a:cubicBezTo>
                    <a:cubicBezTo>
                      <a:pt x="57857" y="9258"/>
                      <a:pt x="57857" y="64800"/>
                      <a:pt x="11571" y="101829"/>
                    </a:cubicBezTo>
                    <a:cubicBezTo>
                      <a:pt x="8486" y="104914"/>
                      <a:pt x="8486" y="104914"/>
                      <a:pt x="5400" y="10491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4116155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A2820989-DB26-4C89-B710-EB1D8FA9B7D2}"/>
              </a:ext>
            </a:extLst>
          </p:cNvPr>
          <p:cNvGrpSpPr/>
          <p:nvPr/>
        </p:nvGrpSpPr>
        <p:grpSpPr>
          <a:xfrm>
            <a:off x="5814571" y="1951606"/>
            <a:ext cx="2713682" cy="4845962"/>
            <a:chOff x="15339571" y="7490905"/>
            <a:chExt cx="2713682" cy="4845962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69430373-3D99-4440-9A3D-AD8ED9B24C8B}"/>
                </a:ext>
              </a:extLst>
            </p:cNvPr>
            <p:cNvSpPr/>
            <p:nvPr/>
          </p:nvSpPr>
          <p:spPr>
            <a:xfrm>
              <a:off x="15970397" y="8573797"/>
              <a:ext cx="1023678" cy="883539"/>
            </a:xfrm>
            <a:custGeom>
              <a:avLst/>
              <a:gdLst>
                <a:gd name="connsiteX0" fmla="*/ 1015200 w 1023678"/>
                <a:gd name="connsiteY0" fmla="*/ 273127 h 883539"/>
                <a:gd name="connsiteX1" fmla="*/ 901029 w 1023678"/>
                <a:gd name="connsiteY1" fmla="*/ 4670 h 883539"/>
                <a:gd name="connsiteX2" fmla="*/ 691200 w 1023678"/>
                <a:gd name="connsiteY2" fmla="*/ 325584 h 883539"/>
                <a:gd name="connsiteX3" fmla="*/ 583200 w 1023678"/>
                <a:gd name="connsiteY3" fmla="*/ 646499 h 883539"/>
                <a:gd name="connsiteX4" fmla="*/ 18514 w 1023678"/>
                <a:gd name="connsiteY4" fmla="*/ 686613 h 883539"/>
                <a:gd name="connsiteX5" fmla="*/ 0 w 1023678"/>
                <a:gd name="connsiteY5" fmla="*/ 825470 h 883539"/>
                <a:gd name="connsiteX6" fmla="*/ 746743 w 1023678"/>
                <a:gd name="connsiteY6" fmla="*/ 871756 h 883539"/>
                <a:gd name="connsiteX7" fmla="*/ 1015200 w 1023678"/>
                <a:gd name="connsiteY7" fmla="*/ 273127 h 883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3678" h="883539">
                  <a:moveTo>
                    <a:pt x="1015200" y="273127"/>
                  </a:moveTo>
                  <a:cubicBezTo>
                    <a:pt x="1049143" y="128098"/>
                    <a:pt x="975086" y="-29273"/>
                    <a:pt x="901029" y="4670"/>
                  </a:cubicBezTo>
                  <a:cubicBezTo>
                    <a:pt x="814628" y="41699"/>
                    <a:pt x="725143" y="149699"/>
                    <a:pt x="691200" y="325584"/>
                  </a:cubicBezTo>
                  <a:cubicBezTo>
                    <a:pt x="669600" y="427413"/>
                    <a:pt x="601714" y="646499"/>
                    <a:pt x="583200" y="646499"/>
                  </a:cubicBezTo>
                  <a:cubicBezTo>
                    <a:pt x="577029" y="646499"/>
                    <a:pt x="18514" y="686613"/>
                    <a:pt x="18514" y="686613"/>
                  </a:cubicBezTo>
                  <a:cubicBezTo>
                    <a:pt x="27771" y="748327"/>
                    <a:pt x="0" y="825470"/>
                    <a:pt x="0" y="825470"/>
                  </a:cubicBezTo>
                  <a:cubicBezTo>
                    <a:pt x="0" y="825470"/>
                    <a:pt x="672685" y="914956"/>
                    <a:pt x="746743" y="871756"/>
                  </a:cubicBezTo>
                  <a:cubicBezTo>
                    <a:pt x="839315" y="819299"/>
                    <a:pt x="972000" y="452098"/>
                    <a:pt x="1015200" y="273127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F544726F-8BC7-4E5B-9A5A-B8304193ED31}"/>
                </a:ext>
              </a:extLst>
            </p:cNvPr>
            <p:cNvSpPr/>
            <p:nvPr/>
          </p:nvSpPr>
          <p:spPr>
            <a:xfrm>
              <a:off x="16621483" y="8320770"/>
              <a:ext cx="456058" cy="618726"/>
            </a:xfrm>
            <a:custGeom>
              <a:avLst/>
              <a:gdLst>
                <a:gd name="connsiteX0" fmla="*/ 391885 w 456058"/>
                <a:gd name="connsiteY0" fmla="*/ 618727 h 618726"/>
                <a:gd name="connsiteX1" fmla="*/ 404229 w 456058"/>
                <a:gd name="connsiteY1" fmla="*/ 10840 h 618726"/>
                <a:gd name="connsiteX2" fmla="*/ 0 w 456058"/>
                <a:gd name="connsiteY2" fmla="*/ 449012 h 618726"/>
                <a:gd name="connsiteX3" fmla="*/ 391885 w 456058"/>
                <a:gd name="connsiteY3" fmla="*/ 618727 h 61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058" h="618726">
                  <a:moveTo>
                    <a:pt x="391885" y="618727"/>
                  </a:moveTo>
                  <a:cubicBezTo>
                    <a:pt x="391885" y="618727"/>
                    <a:pt x="527657" y="91069"/>
                    <a:pt x="404229" y="10840"/>
                  </a:cubicBezTo>
                  <a:cubicBezTo>
                    <a:pt x="259200" y="-81731"/>
                    <a:pt x="0" y="449012"/>
                    <a:pt x="0" y="449012"/>
                  </a:cubicBezTo>
                  <a:cubicBezTo>
                    <a:pt x="0" y="449012"/>
                    <a:pt x="178971" y="600212"/>
                    <a:pt x="391885" y="618727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1195BDAE-B101-4B8A-9758-FBC58D91F687}"/>
                </a:ext>
              </a:extLst>
            </p:cNvPr>
            <p:cNvSpPr/>
            <p:nvPr/>
          </p:nvSpPr>
          <p:spPr>
            <a:xfrm>
              <a:off x="16516569" y="10056524"/>
              <a:ext cx="737485" cy="2172343"/>
            </a:xfrm>
            <a:custGeom>
              <a:avLst/>
              <a:gdLst>
                <a:gd name="connsiteX0" fmla="*/ 0 w 737485"/>
                <a:gd name="connsiteY0" fmla="*/ 2024229 h 2172343"/>
                <a:gd name="connsiteX1" fmla="*/ 185143 w 737485"/>
                <a:gd name="connsiteY1" fmla="*/ 916458 h 2172343"/>
                <a:gd name="connsiteX2" fmla="*/ 379542 w 737485"/>
                <a:gd name="connsiteY2" fmla="*/ 0 h 2172343"/>
                <a:gd name="connsiteX3" fmla="*/ 737486 w 737485"/>
                <a:gd name="connsiteY3" fmla="*/ 231429 h 2172343"/>
                <a:gd name="connsiteX4" fmla="*/ 502971 w 737485"/>
                <a:gd name="connsiteY4" fmla="*/ 1061487 h 2172343"/>
                <a:gd name="connsiteX5" fmla="*/ 120343 w 737485"/>
                <a:gd name="connsiteY5" fmla="*/ 2172344 h 2172343"/>
                <a:gd name="connsiteX6" fmla="*/ 0 w 737485"/>
                <a:gd name="connsiteY6" fmla="*/ 2024229 h 217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485" h="2172343">
                  <a:moveTo>
                    <a:pt x="0" y="2024229"/>
                  </a:moveTo>
                  <a:cubicBezTo>
                    <a:pt x="0" y="2024229"/>
                    <a:pt x="172799" y="956571"/>
                    <a:pt x="185143" y="916458"/>
                  </a:cubicBezTo>
                  <a:cubicBezTo>
                    <a:pt x="197486" y="876344"/>
                    <a:pt x="379542" y="0"/>
                    <a:pt x="379542" y="0"/>
                  </a:cubicBezTo>
                  <a:lnTo>
                    <a:pt x="737486" y="231429"/>
                  </a:lnTo>
                  <a:cubicBezTo>
                    <a:pt x="737486" y="231429"/>
                    <a:pt x="549257" y="956571"/>
                    <a:pt x="502971" y="1061487"/>
                  </a:cubicBezTo>
                  <a:cubicBezTo>
                    <a:pt x="484457" y="1101600"/>
                    <a:pt x="120343" y="2172344"/>
                    <a:pt x="120343" y="2172344"/>
                  </a:cubicBezTo>
                  <a:lnTo>
                    <a:pt x="0" y="2024229"/>
                  </a:ln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B66CDBEF-0184-4F39-AD0A-069E60B8BF85}"/>
                </a:ext>
              </a:extLst>
            </p:cNvPr>
            <p:cNvSpPr/>
            <p:nvPr/>
          </p:nvSpPr>
          <p:spPr>
            <a:xfrm>
              <a:off x="17442283" y="10220068"/>
              <a:ext cx="410399" cy="1996456"/>
            </a:xfrm>
            <a:custGeom>
              <a:avLst/>
              <a:gdLst>
                <a:gd name="connsiteX0" fmla="*/ 357942 w 410399"/>
                <a:gd name="connsiteY0" fmla="*/ 1996457 h 1996456"/>
                <a:gd name="connsiteX1" fmla="*/ 311656 w 410399"/>
                <a:gd name="connsiteY1" fmla="*/ 1024457 h 1996456"/>
                <a:gd name="connsiteX2" fmla="*/ 410400 w 410399"/>
                <a:gd name="connsiteY2" fmla="*/ 24685 h 1996456"/>
                <a:gd name="connsiteX3" fmla="*/ 0 w 410399"/>
                <a:gd name="connsiteY3" fmla="*/ 0 h 1996456"/>
                <a:gd name="connsiteX4" fmla="*/ 15429 w 410399"/>
                <a:gd name="connsiteY4" fmla="*/ 1012114 h 1996456"/>
                <a:gd name="connsiteX5" fmla="*/ 209828 w 410399"/>
                <a:gd name="connsiteY5" fmla="*/ 1965599 h 1996456"/>
                <a:gd name="connsiteX6" fmla="*/ 357942 w 410399"/>
                <a:gd name="connsiteY6" fmla="*/ 1996457 h 1996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0399" h="1996456">
                  <a:moveTo>
                    <a:pt x="357942" y="1996457"/>
                  </a:moveTo>
                  <a:cubicBezTo>
                    <a:pt x="357942" y="1996457"/>
                    <a:pt x="308571" y="1055314"/>
                    <a:pt x="311656" y="1024457"/>
                  </a:cubicBezTo>
                  <a:cubicBezTo>
                    <a:pt x="314742" y="993599"/>
                    <a:pt x="410400" y="24685"/>
                    <a:pt x="410400" y="24685"/>
                  </a:cubicBezTo>
                  <a:lnTo>
                    <a:pt x="0" y="0"/>
                  </a:lnTo>
                  <a:cubicBezTo>
                    <a:pt x="0" y="0"/>
                    <a:pt x="9257" y="938057"/>
                    <a:pt x="15429" y="1012114"/>
                  </a:cubicBezTo>
                  <a:cubicBezTo>
                    <a:pt x="24685" y="1086171"/>
                    <a:pt x="209828" y="1965599"/>
                    <a:pt x="209828" y="1965599"/>
                  </a:cubicBezTo>
                  <a:lnTo>
                    <a:pt x="357942" y="1996457"/>
                  </a:ln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9B92B0D7-6C60-48B9-A088-67970A1D8CC6}"/>
                </a:ext>
              </a:extLst>
            </p:cNvPr>
            <p:cNvGrpSpPr/>
            <p:nvPr/>
          </p:nvGrpSpPr>
          <p:grpSpPr>
            <a:xfrm>
              <a:off x="16156221" y="12040639"/>
              <a:ext cx="528254" cy="266419"/>
              <a:chOff x="16156221" y="12040639"/>
              <a:chExt cx="528254" cy="266419"/>
            </a:xfrm>
          </p:grpSpPr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CC2C555C-1E2E-402F-8689-719C3B3E79D7}"/>
                  </a:ext>
                </a:extLst>
              </p:cNvPr>
              <p:cNvSpPr/>
              <p:nvPr/>
            </p:nvSpPr>
            <p:spPr>
              <a:xfrm>
                <a:off x="16174054" y="12049896"/>
                <a:ext cx="502971" cy="216000"/>
              </a:xfrm>
              <a:custGeom>
                <a:avLst/>
                <a:gdLst>
                  <a:gd name="connsiteX0" fmla="*/ 502971 w 502971"/>
                  <a:gd name="connsiteY0" fmla="*/ 108000 h 216000"/>
                  <a:gd name="connsiteX1" fmla="*/ 342514 w 502971"/>
                  <a:gd name="connsiteY1" fmla="*/ 0 h 216000"/>
                  <a:gd name="connsiteX2" fmla="*/ 188229 w 502971"/>
                  <a:gd name="connsiteY2" fmla="*/ 30857 h 216000"/>
                  <a:gd name="connsiteX3" fmla="*/ 0 w 502971"/>
                  <a:gd name="connsiteY3" fmla="*/ 49372 h 216000"/>
                  <a:gd name="connsiteX4" fmla="*/ 465943 w 502971"/>
                  <a:gd name="connsiteY4" fmla="*/ 216000 h 216000"/>
                  <a:gd name="connsiteX5" fmla="*/ 502971 w 502971"/>
                  <a:gd name="connsiteY5" fmla="*/ 108000 h 216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2971" h="216000">
                    <a:moveTo>
                      <a:pt x="502971" y="108000"/>
                    </a:moveTo>
                    <a:cubicBezTo>
                      <a:pt x="502971" y="108000"/>
                      <a:pt x="379542" y="83315"/>
                      <a:pt x="342514" y="0"/>
                    </a:cubicBezTo>
                    <a:cubicBezTo>
                      <a:pt x="342514" y="0"/>
                      <a:pt x="234514" y="37029"/>
                      <a:pt x="188229" y="30857"/>
                    </a:cubicBezTo>
                    <a:cubicBezTo>
                      <a:pt x="141943" y="24686"/>
                      <a:pt x="37028" y="-15429"/>
                      <a:pt x="0" y="49372"/>
                    </a:cubicBezTo>
                    <a:lnTo>
                      <a:pt x="465943" y="216000"/>
                    </a:lnTo>
                    <a:cubicBezTo>
                      <a:pt x="465943" y="212914"/>
                      <a:pt x="502971" y="160458"/>
                      <a:pt x="502971" y="108000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E6F53805-C4D3-4058-83F0-75C3644560C0}"/>
                  </a:ext>
                </a:extLst>
              </p:cNvPr>
              <p:cNvSpPr/>
              <p:nvPr/>
            </p:nvSpPr>
            <p:spPr>
              <a:xfrm rot="-4224540">
                <a:off x="16373402" y="11955630"/>
                <a:ext cx="46285" cy="493708"/>
              </a:xfrm>
              <a:custGeom>
                <a:avLst/>
                <a:gdLst>
                  <a:gd name="connsiteX0" fmla="*/ 0 w 46285"/>
                  <a:gd name="connsiteY0" fmla="*/ 0 h 493708"/>
                  <a:gd name="connsiteX1" fmla="*/ 46285 w 46285"/>
                  <a:gd name="connsiteY1" fmla="*/ 0 h 493708"/>
                  <a:gd name="connsiteX2" fmla="*/ 46285 w 46285"/>
                  <a:gd name="connsiteY2" fmla="*/ 493709 h 493708"/>
                  <a:gd name="connsiteX3" fmla="*/ 0 w 46285"/>
                  <a:gd name="connsiteY3" fmla="*/ 493709 h 493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285" h="493708">
                    <a:moveTo>
                      <a:pt x="0" y="0"/>
                    </a:moveTo>
                    <a:lnTo>
                      <a:pt x="46285" y="0"/>
                    </a:lnTo>
                    <a:lnTo>
                      <a:pt x="46285" y="493709"/>
                    </a:lnTo>
                    <a:lnTo>
                      <a:pt x="0" y="493709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4B441069-7C6E-4CC4-835B-EA1D1C3FD27B}"/>
                  </a:ext>
                </a:extLst>
              </p:cNvPr>
              <p:cNvSpPr/>
              <p:nvPr/>
            </p:nvSpPr>
            <p:spPr>
              <a:xfrm>
                <a:off x="16510397" y="12040639"/>
                <a:ext cx="174078" cy="120342"/>
              </a:xfrm>
              <a:custGeom>
                <a:avLst/>
                <a:gdLst>
                  <a:gd name="connsiteX0" fmla="*/ 166628 w 174078"/>
                  <a:gd name="connsiteY0" fmla="*/ 120343 h 120342"/>
                  <a:gd name="connsiteX1" fmla="*/ 166628 w 174078"/>
                  <a:gd name="connsiteY1" fmla="*/ 120343 h 120342"/>
                  <a:gd name="connsiteX2" fmla="*/ 0 w 174078"/>
                  <a:gd name="connsiteY2" fmla="*/ 9257 h 120342"/>
                  <a:gd name="connsiteX3" fmla="*/ 3086 w 174078"/>
                  <a:gd name="connsiteY3" fmla="*/ 0 h 120342"/>
                  <a:gd name="connsiteX4" fmla="*/ 12343 w 174078"/>
                  <a:gd name="connsiteY4" fmla="*/ 3086 h 120342"/>
                  <a:gd name="connsiteX5" fmla="*/ 169714 w 174078"/>
                  <a:gd name="connsiteY5" fmla="*/ 108000 h 120342"/>
                  <a:gd name="connsiteX6" fmla="*/ 172800 w 174078"/>
                  <a:gd name="connsiteY6" fmla="*/ 114171 h 120342"/>
                  <a:gd name="connsiteX7" fmla="*/ 166628 w 174078"/>
                  <a:gd name="connsiteY7" fmla="*/ 120343 h 120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4078" h="120342">
                    <a:moveTo>
                      <a:pt x="166628" y="120343"/>
                    </a:moveTo>
                    <a:cubicBezTo>
                      <a:pt x="166628" y="120343"/>
                      <a:pt x="166628" y="120343"/>
                      <a:pt x="166628" y="120343"/>
                    </a:cubicBezTo>
                    <a:cubicBezTo>
                      <a:pt x="160458" y="120343"/>
                      <a:pt x="46286" y="95657"/>
                      <a:pt x="0" y="9257"/>
                    </a:cubicBezTo>
                    <a:cubicBezTo>
                      <a:pt x="0" y="6171"/>
                      <a:pt x="0" y="3086"/>
                      <a:pt x="3086" y="0"/>
                    </a:cubicBezTo>
                    <a:cubicBezTo>
                      <a:pt x="6172" y="0"/>
                      <a:pt x="9257" y="0"/>
                      <a:pt x="12343" y="3086"/>
                    </a:cubicBezTo>
                    <a:cubicBezTo>
                      <a:pt x="55542" y="83314"/>
                      <a:pt x="169714" y="108000"/>
                      <a:pt x="169714" y="108000"/>
                    </a:cubicBezTo>
                    <a:cubicBezTo>
                      <a:pt x="172800" y="108000"/>
                      <a:pt x="175886" y="111086"/>
                      <a:pt x="172800" y="114171"/>
                    </a:cubicBezTo>
                    <a:cubicBezTo>
                      <a:pt x="172800" y="120343"/>
                      <a:pt x="169714" y="120343"/>
                      <a:pt x="166628" y="12034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50CCC10A-19A7-4CA9-9207-C5D0207F7D34}"/>
                  </a:ext>
                </a:extLst>
              </p:cNvPr>
              <p:cNvSpPr/>
              <p:nvPr/>
            </p:nvSpPr>
            <p:spPr>
              <a:xfrm>
                <a:off x="16467197" y="12059153"/>
                <a:ext cx="26712" cy="43199"/>
              </a:xfrm>
              <a:custGeom>
                <a:avLst/>
                <a:gdLst>
                  <a:gd name="connsiteX0" fmla="*/ 21599 w 26712"/>
                  <a:gd name="connsiteY0" fmla="*/ 43200 h 43199"/>
                  <a:gd name="connsiteX1" fmla="*/ 15429 w 26712"/>
                  <a:gd name="connsiteY1" fmla="*/ 40114 h 43199"/>
                  <a:gd name="connsiteX2" fmla="*/ 0 w 26712"/>
                  <a:gd name="connsiteY2" fmla="*/ 6171 h 43199"/>
                  <a:gd name="connsiteX3" fmla="*/ 3086 w 26712"/>
                  <a:gd name="connsiteY3" fmla="*/ 0 h 43199"/>
                  <a:gd name="connsiteX4" fmla="*/ 9257 w 26712"/>
                  <a:gd name="connsiteY4" fmla="*/ 3085 h 43199"/>
                  <a:gd name="connsiteX5" fmla="*/ 24685 w 26712"/>
                  <a:gd name="connsiteY5" fmla="*/ 37028 h 43199"/>
                  <a:gd name="connsiteX6" fmla="*/ 21599 w 26712"/>
                  <a:gd name="connsiteY6" fmla="*/ 43200 h 43199"/>
                  <a:gd name="connsiteX7" fmla="*/ 21599 w 26712"/>
                  <a:gd name="connsiteY7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712" h="43199">
                    <a:moveTo>
                      <a:pt x="21599" y="43200"/>
                    </a:moveTo>
                    <a:cubicBezTo>
                      <a:pt x="18514" y="43200"/>
                      <a:pt x="18514" y="43200"/>
                      <a:pt x="15429" y="40114"/>
                    </a:cubicBezTo>
                    <a:lnTo>
                      <a:pt x="0" y="6171"/>
                    </a:lnTo>
                    <a:cubicBezTo>
                      <a:pt x="0" y="3085"/>
                      <a:pt x="0" y="0"/>
                      <a:pt x="3086" y="0"/>
                    </a:cubicBezTo>
                    <a:cubicBezTo>
                      <a:pt x="6171" y="0"/>
                      <a:pt x="9257" y="0"/>
                      <a:pt x="9257" y="3085"/>
                    </a:cubicBezTo>
                    <a:lnTo>
                      <a:pt x="24685" y="37028"/>
                    </a:lnTo>
                    <a:cubicBezTo>
                      <a:pt x="27771" y="37028"/>
                      <a:pt x="27771" y="40114"/>
                      <a:pt x="21599" y="43200"/>
                    </a:cubicBezTo>
                    <a:cubicBezTo>
                      <a:pt x="21599" y="43200"/>
                      <a:pt x="21599" y="43200"/>
                      <a:pt x="21599" y="432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B31F5A09-1DF9-4EAA-BC7F-507A9C07A511}"/>
                  </a:ext>
                </a:extLst>
              </p:cNvPr>
              <p:cNvSpPr/>
              <p:nvPr/>
            </p:nvSpPr>
            <p:spPr>
              <a:xfrm>
                <a:off x="16420912" y="12071496"/>
                <a:ext cx="26712" cy="43199"/>
              </a:xfrm>
              <a:custGeom>
                <a:avLst/>
                <a:gdLst>
                  <a:gd name="connsiteX0" fmla="*/ 21599 w 26712"/>
                  <a:gd name="connsiteY0" fmla="*/ 43200 h 43199"/>
                  <a:gd name="connsiteX1" fmla="*/ 15429 w 26712"/>
                  <a:gd name="connsiteY1" fmla="*/ 40114 h 43199"/>
                  <a:gd name="connsiteX2" fmla="*/ 0 w 26712"/>
                  <a:gd name="connsiteY2" fmla="*/ 6171 h 43199"/>
                  <a:gd name="connsiteX3" fmla="*/ 3086 w 26712"/>
                  <a:gd name="connsiteY3" fmla="*/ 0 h 43199"/>
                  <a:gd name="connsiteX4" fmla="*/ 9257 w 26712"/>
                  <a:gd name="connsiteY4" fmla="*/ 3086 h 43199"/>
                  <a:gd name="connsiteX5" fmla="*/ 24685 w 26712"/>
                  <a:gd name="connsiteY5" fmla="*/ 37028 h 43199"/>
                  <a:gd name="connsiteX6" fmla="*/ 21599 w 26712"/>
                  <a:gd name="connsiteY6" fmla="*/ 43200 h 43199"/>
                  <a:gd name="connsiteX7" fmla="*/ 21599 w 26712"/>
                  <a:gd name="connsiteY7" fmla="*/ 43200 h 43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712" h="43199">
                    <a:moveTo>
                      <a:pt x="21599" y="43200"/>
                    </a:moveTo>
                    <a:cubicBezTo>
                      <a:pt x="18514" y="43200"/>
                      <a:pt x="18514" y="43200"/>
                      <a:pt x="15429" y="40114"/>
                    </a:cubicBezTo>
                    <a:lnTo>
                      <a:pt x="0" y="6171"/>
                    </a:lnTo>
                    <a:cubicBezTo>
                      <a:pt x="0" y="3086"/>
                      <a:pt x="0" y="0"/>
                      <a:pt x="3086" y="0"/>
                    </a:cubicBezTo>
                    <a:cubicBezTo>
                      <a:pt x="6171" y="0"/>
                      <a:pt x="9257" y="0"/>
                      <a:pt x="9257" y="3086"/>
                    </a:cubicBezTo>
                    <a:lnTo>
                      <a:pt x="24685" y="37028"/>
                    </a:lnTo>
                    <a:cubicBezTo>
                      <a:pt x="27771" y="37028"/>
                      <a:pt x="27771" y="40114"/>
                      <a:pt x="21599" y="43200"/>
                    </a:cubicBezTo>
                    <a:cubicBezTo>
                      <a:pt x="24685" y="43200"/>
                      <a:pt x="21599" y="43200"/>
                      <a:pt x="21599" y="432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8F3A1D9C-BE99-4C79-88A7-2BD1F5B7C596}"/>
                </a:ext>
              </a:extLst>
            </p:cNvPr>
            <p:cNvGrpSpPr/>
            <p:nvPr/>
          </p:nvGrpSpPr>
          <p:grpSpPr>
            <a:xfrm>
              <a:off x="17318854" y="12121639"/>
              <a:ext cx="501942" cy="215228"/>
              <a:chOff x="17318854" y="12121639"/>
              <a:chExt cx="501942" cy="215228"/>
            </a:xfrm>
          </p:grpSpPr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1276B70B-3894-4A4E-B96A-ED8FD56831BF}"/>
                  </a:ext>
                </a:extLst>
              </p:cNvPr>
              <p:cNvSpPr/>
              <p:nvPr/>
            </p:nvSpPr>
            <p:spPr>
              <a:xfrm>
                <a:off x="17318855" y="12130125"/>
                <a:ext cx="501942" cy="160457"/>
              </a:xfrm>
              <a:custGeom>
                <a:avLst/>
                <a:gdLst>
                  <a:gd name="connsiteX0" fmla="*/ 493714 w 501942"/>
                  <a:gd name="connsiteY0" fmla="*/ 46286 h 160457"/>
                  <a:gd name="connsiteX1" fmla="*/ 305486 w 501942"/>
                  <a:gd name="connsiteY1" fmla="*/ 0 h 160457"/>
                  <a:gd name="connsiteX2" fmla="*/ 169714 w 501942"/>
                  <a:gd name="connsiteY2" fmla="*/ 80229 h 160457"/>
                  <a:gd name="connsiteX3" fmla="*/ 0 w 501942"/>
                  <a:gd name="connsiteY3" fmla="*/ 160458 h 160457"/>
                  <a:gd name="connsiteX4" fmla="*/ 493714 w 501942"/>
                  <a:gd name="connsiteY4" fmla="*/ 160458 h 160457"/>
                  <a:gd name="connsiteX5" fmla="*/ 493714 w 501942"/>
                  <a:gd name="connsiteY5" fmla="*/ 46286 h 160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942" h="160457">
                    <a:moveTo>
                      <a:pt x="493714" y="46286"/>
                    </a:moveTo>
                    <a:cubicBezTo>
                      <a:pt x="493714" y="46286"/>
                      <a:pt x="367200" y="64800"/>
                      <a:pt x="305486" y="0"/>
                    </a:cubicBezTo>
                    <a:cubicBezTo>
                      <a:pt x="305486" y="0"/>
                      <a:pt x="216000" y="70971"/>
                      <a:pt x="169714" y="80229"/>
                    </a:cubicBezTo>
                    <a:cubicBezTo>
                      <a:pt x="123429" y="89486"/>
                      <a:pt x="12343" y="86400"/>
                      <a:pt x="0" y="160458"/>
                    </a:cubicBezTo>
                    <a:lnTo>
                      <a:pt x="493714" y="160458"/>
                    </a:lnTo>
                    <a:cubicBezTo>
                      <a:pt x="493714" y="160458"/>
                      <a:pt x="512228" y="98743"/>
                      <a:pt x="493714" y="46286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05F4FF0E-8738-44C7-8B24-2D6A6CC2E85E}"/>
                  </a:ext>
                </a:extLst>
              </p:cNvPr>
              <p:cNvSpPr/>
              <p:nvPr/>
            </p:nvSpPr>
            <p:spPr>
              <a:xfrm>
                <a:off x="17318854" y="12290582"/>
                <a:ext cx="493714" cy="46285"/>
              </a:xfrm>
              <a:custGeom>
                <a:avLst/>
                <a:gdLst>
                  <a:gd name="connsiteX0" fmla="*/ 0 w 493714"/>
                  <a:gd name="connsiteY0" fmla="*/ 0 h 46285"/>
                  <a:gd name="connsiteX1" fmla="*/ 493715 w 493714"/>
                  <a:gd name="connsiteY1" fmla="*/ 0 h 46285"/>
                  <a:gd name="connsiteX2" fmla="*/ 493715 w 493714"/>
                  <a:gd name="connsiteY2" fmla="*/ 46286 h 46285"/>
                  <a:gd name="connsiteX3" fmla="*/ 0 w 493714"/>
                  <a:gd name="connsiteY3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714" h="46285">
                    <a:moveTo>
                      <a:pt x="0" y="0"/>
                    </a:moveTo>
                    <a:lnTo>
                      <a:pt x="493715" y="0"/>
                    </a:lnTo>
                    <a:lnTo>
                      <a:pt x="493715" y="46286"/>
                    </a:lnTo>
                    <a:lnTo>
                      <a:pt x="0" y="46286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EEA3D9EE-6B6E-48EA-AFAF-DC0FF5F8FBBC}"/>
                  </a:ext>
                </a:extLst>
              </p:cNvPr>
              <p:cNvSpPr/>
              <p:nvPr/>
            </p:nvSpPr>
            <p:spPr>
              <a:xfrm>
                <a:off x="17615854" y="12121639"/>
                <a:ext cx="202885" cy="64028"/>
              </a:xfrm>
              <a:custGeom>
                <a:avLst/>
                <a:gdLst>
                  <a:gd name="connsiteX0" fmla="*/ 159686 w 202885"/>
                  <a:gd name="connsiteY0" fmla="*/ 64028 h 64028"/>
                  <a:gd name="connsiteX1" fmla="*/ 2314 w 202885"/>
                  <a:gd name="connsiteY1" fmla="*/ 11571 h 64028"/>
                  <a:gd name="connsiteX2" fmla="*/ 2314 w 202885"/>
                  <a:gd name="connsiteY2" fmla="*/ 2314 h 64028"/>
                  <a:gd name="connsiteX3" fmla="*/ 11572 w 202885"/>
                  <a:gd name="connsiteY3" fmla="*/ 2314 h 64028"/>
                  <a:gd name="connsiteX4" fmla="*/ 196715 w 202885"/>
                  <a:gd name="connsiteY4" fmla="*/ 48599 h 64028"/>
                  <a:gd name="connsiteX5" fmla="*/ 202886 w 202885"/>
                  <a:gd name="connsiteY5" fmla="*/ 54771 h 64028"/>
                  <a:gd name="connsiteX6" fmla="*/ 196715 w 202885"/>
                  <a:gd name="connsiteY6" fmla="*/ 60943 h 64028"/>
                  <a:gd name="connsiteX7" fmla="*/ 159686 w 202885"/>
                  <a:gd name="connsiteY7" fmla="*/ 64028 h 6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885" h="64028">
                    <a:moveTo>
                      <a:pt x="159686" y="64028"/>
                    </a:moveTo>
                    <a:cubicBezTo>
                      <a:pt x="119572" y="64028"/>
                      <a:pt x="51686" y="57857"/>
                      <a:pt x="2314" y="11571"/>
                    </a:cubicBez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0" y="-771"/>
                      <a:pt x="8486" y="-771"/>
                      <a:pt x="11572" y="2314"/>
                    </a:cubicBezTo>
                    <a:cubicBezTo>
                      <a:pt x="79457" y="64028"/>
                      <a:pt x="193629" y="48599"/>
                      <a:pt x="196715" y="48599"/>
                    </a:cubicBezTo>
                    <a:cubicBezTo>
                      <a:pt x="199800" y="48599"/>
                      <a:pt x="202886" y="51685"/>
                      <a:pt x="202886" y="54771"/>
                    </a:cubicBezTo>
                    <a:cubicBezTo>
                      <a:pt x="202886" y="57857"/>
                      <a:pt x="199800" y="60943"/>
                      <a:pt x="196715" y="60943"/>
                    </a:cubicBezTo>
                    <a:cubicBezTo>
                      <a:pt x="193629" y="60943"/>
                      <a:pt x="181286" y="64028"/>
                      <a:pt x="159686" y="640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9E7D766A-E4C1-4669-AE50-2F1D1A09E055}"/>
                  </a:ext>
                </a:extLst>
              </p:cNvPr>
              <p:cNvSpPr/>
              <p:nvPr/>
            </p:nvSpPr>
            <p:spPr>
              <a:xfrm>
                <a:off x="17581912" y="12146325"/>
                <a:ext cx="41657" cy="42428"/>
              </a:xfrm>
              <a:custGeom>
                <a:avLst/>
                <a:gdLst>
                  <a:gd name="connsiteX0" fmla="*/ 33171 w 41657"/>
                  <a:gd name="connsiteY0" fmla="*/ 42428 h 42428"/>
                  <a:gd name="connsiteX1" fmla="*/ 30086 w 41657"/>
                  <a:gd name="connsiteY1" fmla="*/ 39342 h 42428"/>
                  <a:gd name="connsiteX2" fmla="*/ 2314 w 41657"/>
                  <a:gd name="connsiteY2" fmla="*/ 11571 h 42428"/>
                  <a:gd name="connsiteX3" fmla="*/ 2314 w 41657"/>
                  <a:gd name="connsiteY3" fmla="*/ 2314 h 42428"/>
                  <a:gd name="connsiteX4" fmla="*/ 11571 w 41657"/>
                  <a:gd name="connsiteY4" fmla="*/ 2314 h 42428"/>
                  <a:gd name="connsiteX5" fmla="*/ 39343 w 41657"/>
                  <a:gd name="connsiteY5" fmla="*/ 30086 h 42428"/>
                  <a:gd name="connsiteX6" fmla="*/ 39343 w 41657"/>
                  <a:gd name="connsiteY6" fmla="*/ 39342 h 42428"/>
                  <a:gd name="connsiteX7" fmla="*/ 33171 w 41657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7" h="42428">
                    <a:moveTo>
                      <a:pt x="33171" y="42428"/>
                    </a:moveTo>
                    <a:cubicBezTo>
                      <a:pt x="33171" y="42428"/>
                      <a:pt x="30086" y="42428"/>
                      <a:pt x="30086" y="39342"/>
                    </a:cubicBezTo>
                    <a:lnTo>
                      <a:pt x="2314" y="11571"/>
                    </a:lnTo>
                    <a:cubicBezTo>
                      <a:pt x="-771" y="8485"/>
                      <a:pt x="-771" y="5400"/>
                      <a:pt x="2314" y="2314"/>
                    </a:cubicBezTo>
                    <a:cubicBezTo>
                      <a:pt x="5400" y="-771"/>
                      <a:pt x="8486" y="-771"/>
                      <a:pt x="11571" y="2314"/>
                    </a:cubicBezTo>
                    <a:lnTo>
                      <a:pt x="39343" y="30086"/>
                    </a:lnTo>
                    <a:cubicBezTo>
                      <a:pt x="42429" y="33172"/>
                      <a:pt x="42429" y="36257"/>
                      <a:pt x="39343" y="39342"/>
                    </a:cubicBezTo>
                    <a:cubicBezTo>
                      <a:pt x="36257" y="42428"/>
                      <a:pt x="33171" y="42428"/>
                      <a:pt x="33171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AF6AC6E0-51B4-4E66-980A-1858FDE81FF5}"/>
                  </a:ext>
                </a:extLst>
              </p:cNvPr>
              <p:cNvSpPr/>
              <p:nvPr/>
            </p:nvSpPr>
            <p:spPr>
              <a:xfrm>
                <a:off x="17544883" y="12174096"/>
                <a:ext cx="38571" cy="42428"/>
              </a:xfrm>
              <a:custGeom>
                <a:avLst/>
                <a:gdLst>
                  <a:gd name="connsiteX0" fmla="*/ 30086 w 38571"/>
                  <a:gd name="connsiteY0" fmla="*/ 42428 h 42428"/>
                  <a:gd name="connsiteX1" fmla="*/ 27000 w 38571"/>
                  <a:gd name="connsiteY1" fmla="*/ 39343 h 42428"/>
                  <a:gd name="connsiteX2" fmla="*/ 2314 w 38571"/>
                  <a:gd name="connsiteY2" fmla="*/ 11571 h 42428"/>
                  <a:gd name="connsiteX3" fmla="*/ 2314 w 38571"/>
                  <a:gd name="connsiteY3" fmla="*/ 2314 h 42428"/>
                  <a:gd name="connsiteX4" fmla="*/ 11571 w 38571"/>
                  <a:gd name="connsiteY4" fmla="*/ 2314 h 42428"/>
                  <a:gd name="connsiteX5" fmla="*/ 36257 w 38571"/>
                  <a:gd name="connsiteY5" fmla="*/ 30086 h 42428"/>
                  <a:gd name="connsiteX6" fmla="*/ 36257 w 38571"/>
                  <a:gd name="connsiteY6" fmla="*/ 39343 h 42428"/>
                  <a:gd name="connsiteX7" fmla="*/ 30086 w 38571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571" h="42428">
                    <a:moveTo>
                      <a:pt x="30086" y="42428"/>
                    </a:moveTo>
                    <a:cubicBezTo>
                      <a:pt x="30086" y="42428"/>
                      <a:pt x="27000" y="42428"/>
                      <a:pt x="27000" y="39343"/>
                    </a:cubicBezTo>
                    <a:lnTo>
                      <a:pt x="2314" y="11571"/>
                    </a:ln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0" y="-771"/>
                      <a:pt x="8485" y="-771"/>
                      <a:pt x="11571" y="2314"/>
                    </a:cubicBezTo>
                    <a:lnTo>
                      <a:pt x="36257" y="30086"/>
                    </a:lnTo>
                    <a:cubicBezTo>
                      <a:pt x="39342" y="33172"/>
                      <a:pt x="39342" y="36257"/>
                      <a:pt x="36257" y="39343"/>
                    </a:cubicBezTo>
                    <a:cubicBezTo>
                      <a:pt x="33172" y="42428"/>
                      <a:pt x="33172" y="42428"/>
                      <a:pt x="30086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3773E7F4-713D-4CEC-954E-6B30F28BA6AB}"/>
                </a:ext>
              </a:extLst>
            </p:cNvPr>
            <p:cNvSpPr/>
            <p:nvPr/>
          </p:nvSpPr>
          <p:spPr>
            <a:xfrm>
              <a:off x="16667769" y="9747953"/>
              <a:ext cx="1249824" cy="1398171"/>
            </a:xfrm>
            <a:custGeom>
              <a:avLst/>
              <a:gdLst>
                <a:gd name="connsiteX0" fmla="*/ 200571 w 1249824"/>
                <a:gd name="connsiteY0" fmla="*/ 21600 h 1398171"/>
                <a:gd name="connsiteX1" fmla="*/ 0 w 1249824"/>
                <a:gd name="connsiteY1" fmla="*/ 1175657 h 1398171"/>
                <a:gd name="connsiteX2" fmla="*/ 447429 w 1249824"/>
                <a:gd name="connsiteY2" fmla="*/ 1348458 h 1398171"/>
                <a:gd name="connsiteX3" fmla="*/ 703543 w 1249824"/>
                <a:gd name="connsiteY3" fmla="*/ 509143 h 1398171"/>
                <a:gd name="connsiteX4" fmla="*/ 703543 w 1249824"/>
                <a:gd name="connsiteY4" fmla="*/ 1376229 h 1398171"/>
                <a:gd name="connsiteX5" fmla="*/ 1200343 w 1249824"/>
                <a:gd name="connsiteY5" fmla="*/ 1376229 h 1398171"/>
                <a:gd name="connsiteX6" fmla="*/ 1234286 w 1249824"/>
                <a:gd name="connsiteY6" fmla="*/ 0 h 1398171"/>
                <a:gd name="connsiteX7" fmla="*/ 200571 w 1249824"/>
                <a:gd name="connsiteY7" fmla="*/ 21600 h 139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9824" h="1398171">
                  <a:moveTo>
                    <a:pt x="200571" y="21600"/>
                  </a:moveTo>
                  <a:lnTo>
                    <a:pt x="0" y="1175657"/>
                  </a:lnTo>
                  <a:cubicBezTo>
                    <a:pt x="0" y="1175657"/>
                    <a:pt x="283885" y="1357714"/>
                    <a:pt x="447429" y="1348458"/>
                  </a:cubicBezTo>
                  <a:cubicBezTo>
                    <a:pt x="604800" y="925714"/>
                    <a:pt x="697372" y="524571"/>
                    <a:pt x="703543" y="509143"/>
                  </a:cubicBezTo>
                  <a:cubicBezTo>
                    <a:pt x="718971" y="478286"/>
                    <a:pt x="703543" y="1376229"/>
                    <a:pt x="703543" y="1376229"/>
                  </a:cubicBezTo>
                  <a:cubicBezTo>
                    <a:pt x="703543" y="1376229"/>
                    <a:pt x="965828" y="1425600"/>
                    <a:pt x="1200343" y="1376229"/>
                  </a:cubicBezTo>
                  <a:cubicBezTo>
                    <a:pt x="1209599" y="1221943"/>
                    <a:pt x="1280571" y="98743"/>
                    <a:pt x="1234286" y="0"/>
                  </a:cubicBezTo>
                  <a:cubicBezTo>
                    <a:pt x="527657" y="33943"/>
                    <a:pt x="200571" y="21600"/>
                    <a:pt x="200571" y="21600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A7D96A11-A7DC-4865-8579-3FB675099EF8}"/>
                </a:ext>
              </a:extLst>
            </p:cNvPr>
            <p:cNvSpPr/>
            <p:nvPr/>
          </p:nvSpPr>
          <p:spPr>
            <a:xfrm>
              <a:off x="17306511" y="9896068"/>
              <a:ext cx="70971" cy="367199"/>
            </a:xfrm>
            <a:custGeom>
              <a:avLst/>
              <a:gdLst>
                <a:gd name="connsiteX0" fmla="*/ 64800 w 70971"/>
                <a:gd name="connsiteY0" fmla="*/ 367200 h 367199"/>
                <a:gd name="connsiteX1" fmla="*/ 58629 w 70971"/>
                <a:gd name="connsiteY1" fmla="*/ 364114 h 367199"/>
                <a:gd name="connsiteX2" fmla="*/ 0 w 70971"/>
                <a:gd name="connsiteY2" fmla="*/ 6171 h 367199"/>
                <a:gd name="connsiteX3" fmla="*/ 6172 w 70971"/>
                <a:gd name="connsiteY3" fmla="*/ 0 h 367199"/>
                <a:gd name="connsiteX4" fmla="*/ 6172 w 70971"/>
                <a:gd name="connsiteY4" fmla="*/ 0 h 367199"/>
                <a:gd name="connsiteX5" fmla="*/ 12344 w 70971"/>
                <a:gd name="connsiteY5" fmla="*/ 6171 h 367199"/>
                <a:gd name="connsiteX6" fmla="*/ 70972 w 70971"/>
                <a:gd name="connsiteY6" fmla="*/ 361028 h 367199"/>
                <a:gd name="connsiteX7" fmla="*/ 64800 w 70971"/>
                <a:gd name="connsiteY7" fmla="*/ 367200 h 367199"/>
                <a:gd name="connsiteX8" fmla="*/ 64800 w 70971"/>
                <a:gd name="connsiteY8" fmla="*/ 367200 h 367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971" h="367199">
                  <a:moveTo>
                    <a:pt x="64800" y="367200"/>
                  </a:moveTo>
                  <a:cubicBezTo>
                    <a:pt x="61714" y="367200"/>
                    <a:pt x="61714" y="367200"/>
                    <a:pt x="58629" y="364114"/>
                  </a:cubicBezTo>
                  <a:cubicBezTo>
                    <a:pt x="9258" y="246857"/>
                    <a:pt x="0" y="15429"/>
                    <a:pt x="0" y="6171"/>
                  </a:cubicBezTo>
                  <a:cubicBezTo>
                    <a:pt x="0" y="3086"/>
                    <a:pt x="3086" y="0"/>
                    <a:pt x="6172" y="0"/>
                  </a:cubicBezTo>
                  <a:cubicBezTo>
                    <a:pt x="6172" y="0"/>
                    <a:pt x="6172" y="0"/>
                    <a:pt x="6172" y="0"/>
                  </a:cubicBezTo>
                  <a:cubicBezTo>
                    <a:pt x="9258" y="0"/>
                    <a:pt x="12344" y="3086"/>
                    <a:pt x="12344" y="6171"/>
                  </a:cubicBezTo>
                  <a:cubicBezTo>
                    <a:pt x="12344" y="9257"/>
                    <a:pt x="21600" y="246857"/>
                    <a:pt x="70972" y="361028"/>
                  </a:cubicBezTo>
                  <a:cubicBezTo>
                    <a:pt x="70972" y="364114"/>
                    <a:pt x="67886" y="367200"/>
                    <a:pt x="64800" y="367200"/>
                  </a:cubicBezTo>
                  <a:cubicBezTo>
                    <a:pt x="64800" y="367200"/>
                    <a:pt x="64800" y="367200"/>
                    <a:pt x="64800" y="367200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98B3E246-7212-460E-9800-8C843B50B87A}"/>
                </a:ext>
              </a:extLst>
            </p:cNvPr>
            <p:cNvSpPr/>
            <p:nvPr/>
          </p:nvSpPr>
          <p:spPr>
            <a:xfrm>
              <a:off x="17192340" y="9828181"/>
              <a:ext cx="157371" cy="357943"/>
            </a:xfrm>
            <a:custGeom>
              <a:avLst/>
              <a:gdLst>
                <a:gd name="connsiteX0" fmla="*/ 148114 w 157371"/>
                <a:gd name="connsiteY0" fmla="*/ 357943 h 357943"/>
                <a:gd name="connsiteX1" fmla="*/ 145028 w 157371"/>
                <a:gd name="connsiteY1" fmla="*/ 357943 h 357943"/>
                <a:gd name="connsiteX2" fmla="*/ 33943 w 157371"/>
                <a:gd name="connsiteY2" fmla="*/ 277714 h 357943"/>
                <a:gd name="connsiteX3" fmla="*/ 0 w 157371"/>
                <a:gd name="connsiteY3" fmla="*/ 6172 h 357943"/>
                <a:gd name="connsiteX4" fmla="*/ 6171 w 157371"/>
                <a:gd name="connsiteY4" fmla="*/ 0 h 357943"/>
                <a:gd name="connsiteX5" fmla="*/ 12343 w 157371"/>
                <a:gd name="connsiteY5" fmla="*/ 6172 h 357943"/>
                <a:gd name="connsiteX6" fmla="*/ 46286 w 157371"/>
                <a:gd name="connsiteY6" fmla="*/ 271543 h 357943"/>
                <a:gd name="connsiteX7" fmla="*/ 154286 w 157371"/>
                <a:gd name="connsiteY7" fmla="*/ 348686 h 357943"/>
                <a:gd name="connsiteX8" fmla="*/ 157372 w 157371"/>
                <a:gd name="connsiteY8" fmla="*/ 357943 h 357943"/>
                <a:gd name="connsiteX9" fmla="*/ 148114 w 157371"/>
                <a:gd name="connsiteY9" fmla="*/ 357943 h 357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371" h="357943">
                  <a:moveTo>
                    <a:pt x="148114" y="357943"/>
                  </a:moveTo>
                  <a:cubicBezTo>
                    <a:pt x="148114" y="357943"/>
                    <a:pt x="145028" y="357943"/>
                    <a:pt x="145028" y="357943"/>
                  </a:cubicBezTo>
                  <a:cubicBezTo>
                    <a:pt x="135771" y="351771"/>
                    <a:pt x="46286" y="293143"/>
                    <a:pt x="33943" y="277714"/>
                  </a:cubicBezTo>
                  <a:cubicBezTo>
                    <a:pt x="21599" y="262286"/>
                    <a:pt x="3086" y="49372"/>
                    <a:pt x="0" y="6172"/>
                  </a:cubicBezTo>
                  <a:cubicBezTo>
                    <a:pt x="0" y="3086"/>
                    <a:pt x="3086" y="0"/>
                    <a:pt x="6171" y="0"/>
                  </a:cubicBezTo>
                  <a:cubicBezTo>
                    <a:pt x="9257" y="0"/>
                    <a:pt x="12343" y="3086"/>
                    <a:pt x="12343" y="6172"/>
                  </a:cubicBezTo>
                  <a:cubicBezTo>
                    <a:pt x="21599" y="101829"/>
                    <a:pt x="37028" y="259200"/>
                    <a:pt x="46286" y="271543"/>
                  </a:cubicBezTo>
                  <a:cubicBezTo>
                    <a:pt x="55542" y="280800"/>
                    <a:pt x="114171" y="324000"/>
                    <a:pt x="154286" y="348686"/>
                  </a:cubicBezTo>
                  <a:cubicBezTo>
                    <a:pt x="157372" y="351771"/>
                    <a:pt x="157372" y="354857"/>
                    <a:pt x="157372" y="357943"/>
                  </a:cubicBezTo>
                  <a:cubicBezTo>
                    <a:pt x="151200" y="354857"/>
                    <a:pt x="151200" y="357943"/>
                    <a:pt x="148114" y="357943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7F40D165-229B-466B-BD31-D6CC0631B1FC}"/>
                </a:ext>
              </a:extLst>
            </p:cNvPr>
            <p:cNvSpPr/>
            <p:nvPr/>
          </p:nvSpPr>
          <p:spPr>
            <a:xfrm>
              <a:off x="17257140" y="8056982"/>
              <a:ext cx="253028" cy="261370"/>
            </a:xfrm>
            <a:custGeom>
              <a:avLst/>
              <a:gdLst>
                <a:gd name="connsiteX0" fmla="*/ 0 w 253028"/>
                <a:gd name="connsiteY0" fmla="*/ 40114 h 261370"/>
                <a:gd name="connsiteX1" fmla="*/ 6171 w 253028"/>
                <a:gd name="connsiteY1" fmla="*/ 216000 h 261370"/>
                <a:gd name="connsiteX2" fmla="*/ 253028 w 253028"/>
                <a:gd name="connsiteY2" fmla="*/ 206743 h 261370"/>
                <a:gd name="connsiteX3" fmla="*/ 237599 w 253028"/>
                <a:gd name="connsiteY3" fmla="*/ 0 h 261370"/>
                <a:gd name="connsiteX4" fmla="*/ 0 w 253028"/>
                <a:gd name="connsiteY4" fmla="*/ 40114 h 261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028" h="261370">
                  <a:moveTo>
                    <a:pt x="0" y="40114"/>
                  </a:moveTo>
                  <a:cubicBezTo>
                    <a:pt x="0" y="40114"/>
                    <a:pt x="6171" y="141943"/>
                    <a:pt x="6171" y="216000"/>
                  </a:cubicBezTo>
                  <a:cubicBezTo>
                    <a:pt x="6171" y="216000"/>
                    <a:pt x="101828" y="324000"/>
                    <a:pt x="253028" y="206743"/>
                  </a:cubicBezTo>
                  <a:cubicBezTo>
                    <a:pt x="253028" y="145028"/>
                    <a:pt x="240685" y="64800"/>
                    <a:pt x="237599" y="0"/>
                  </a:cubicBezTo>
                  <a:cubicBezTo>
                    <a:pt x="240685" y="0"/>
                    <a:pt x="52457" y="52457"/>
                    <a:pt x="0" y="40114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485262DD-345F-400A-864A-042E2F9CA41A}"/>
                </a:ext>
              </a:extLst>
            </p:cNvPr>
            <p:cNvSpPr/>
            <p:nvPr/>
          </p:nvSpPr>
          <p:spPr>
            <a:xfrm>
              <a:off x="17531769" y="7936639"/>
              <a:ext cx="70971" cy="138857"/>
            </a:xfrm>
            <a:custGeom>
              <a:avLst/>
              <a:gdLst>
                <a:gd name="connsiteX0" fmla="*/ 70971 w 70971"/>
                <a:gd name="connsiteY0" fmla="*/ 0 h 138857"/>
                <a:gd name="connsiteX1" fmla="*/ 3086 w 70971"/>
                <a:gd name="connsiteY1" fmla="*/ 138857 h 138857"/>
                <a:gd name="connsiteX2" fmla="*/ 0 w 70971"/>
                <a:gd name="connsiteY2" fmla="*/ 52457 h 138857"/>
                <a:gd name="connsiteX3" fmla="*/ 70971 w 70971"/>
                <a:gd name="connsiteY3" fmla="*/ 0 h 13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971" h="138857">
                  <a:moveTo>
                    <a:pt x="70971" y="0"/>
                  </a:moveTo>
                  <a:cubicBezTo>
                    <a:pt x="70971" y="0"/>
                    <a:pt x="55542" y="120343"/>
                    <a:pt x="3086" y="138857"/>
                  </a:cubicBezTo>
                  <a:lnTo>
                    <a:pt x="0" y="52457"/>
                  </a:lnTo>
                  <a:lnTo>
                    <a:pt x="70971" y="0"/>
                  </a:ln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29E1F8AA-A165-40E4-818F-6DB274043286}"/>
                </a:ext>
              </a:extLst>
            </p:cNvPr>
            <p:cNvSpPr/>
            <p:nvPr/>
          </p:nvSpPr>
          <p:spPr>
            <a:xfrm>
              <a:off x="17138290" y="7723724"/>
              <a:ext cx="103878" cy="240698"/>
            </a:xfrm>
            <a:custGeom>
              <a:avLst/>
              <a:gdLst>
                <a:gd name="connsiteX0" fmla="*/ 7764 w 103878"/>
                <a:gd name="connsiteY0" fmla="*/ 0 h 240698"/>
                <a:gd name="connsiteX1" fmla="*/ 47878 w 103878"/>
                <a:gd name="connsiteY1" fmla="*/ 237600 h 240698"/>
                <a:gd name="connsiteX2" fmla="*/ 103421 w 103878"/>
                <a:gd name="connsiteY2" fmla="*/ 15429 h 240698"/>
                <a:gd name="connsiteX3" fmla="*/ 7764 w 103878"/>
                <a:gd name="connsiteY3" fmla="*/ 0 h 24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78" h="240698">
                  <a:moveTo>
                    <a:pt x="7764" y="0"/>
                  </a:moveTo>
                  <a:cubicBezTo>
                    <a:pt x="7764" y="0"/>
                    <a:pt x="-26179" y="197486"/>
                    <a:pt x="47878" y="237600"/>
                  </a:cubicBezTo>
                  <a:cubicBezTo>
                    <a:pt x="112678" y="271543"/>
                    <a:pt x="103421" y="15429"/>
                    <a:pt x="103421" y="15429"/>
                  </a:cubicBezTo>
                  <a:lnTo>
                    <a:pt x="7764" y="0"/>
                  </a:ln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B0218E28-9A54-4EAB-919C-4C19FD8921DA}"/>
                </a:ext>
              </a:extLst>
            </p:cNvPr>
            <p:cNvSpPr/>
            <p:nvPr/>
          </p:nvSpPr>
          <p:spPr>
            <a:xfrm>
              <a:off x="17174222" y="7586572"/>
              <a:ext cx="428517" cy="575934"/>
            </a:xfrm>
            <a:custGeom>
              <a:avLst/>
              <a:gdLst>
                <a:gd name="connsiteX0" fmla="*/ 11946 w 428517"/>
                <a:gd name="connsiteY0" fmla="*/ 183438 h 575934"/>
                <a:gd name="connsiteX1" fmla="*/ 8860 w 428517"/>
                <a:gd name="connsiteY1" fmla="*/ 436466 h 575934"/>
                <a:gd name="connsiteX2" fmla="*/ 169318 w 428517"/>
                <a:gd name="connsiteY2" fmla="*/ 575323 h 575934"/>
                <a:gd name="connsiteX3" fmla="*/ 388404 w 428517"/>
                <a:gd name="connsiteY3" fmla="*/ 433381 h 575934"/>
                <a:gd name="connsiteX4" fmla="*/ 428518 w 428517"/>
                <a:gd name="connsiteY4" fmla="*/ 205038 h 575934"/>
                <a:gd name="connsiteX5" fmla="*/ 215603 w 428517"/>
                <a:gd name="connsiteY5" fmla="*/ 1381 h 575934"/>
                <a:gd name="connsiteX6" fmla="*/ 11946 w 428517"/>
                <a:gd name="connsiteY6" fmla="*/ 183438 h 575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8517" h="575934">
                  <a:moveTo>
                    <a:pt x="11946" y="183438"/>
                  </a:moveTo>
                  <a:cubicBezTo>
                    <a:pt x="11946" y="183438"/>
                    <a:pt x="-12739" y="362409"/>
                    <a:pt x="8860" y="436466"/>
                  </a:cubicBezTo>
                  <a:cubicBezTo>
                    <a:pt x="27375" y="504352"/>
                    <a:pt x="116860" y="569152"/>
                    <a:pt x="169318" y="575323"/>
                  </a:cubicBezTo>
                  <a:cubicBezTo>
                    <a:pt x="237204" y="581495"/>
                    <a:pt x="357546" y="541381"/>
                    <a:pt x="388404" y="433381"/>
                  </a:cubicBezTo>
                  <a:cubicBezTo>
                    <a:pt x="410003" y="359323"/>
                    <a:pt x="428518" y="257495"/>
                    <a:pt x="428518" y="205038"/>
                  </a:cubicBezTo>
                  <a:cubicBezTo>
                    <a:pt x="428518" y="109381"/>
                    <a:pt x="400746" y="29152"/>
                    <a:pt x="215603" y="1381"/>
                  </a:cubicBezTo>
                  <a:cubicBezTo>
                    <a:pt x="129204" y="-14048"/>
                    <a:pt x="33546" y="103210"/>
                    <a:pt x="11946" y="183438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3FDDC6AA-85AF-4F95-B850-13E23631526B}"/>
                </a:ext>
              </a:extLst>
            </p:cNvPr>
            <p:cNvSpPr/>
            <p:nvPr/>
          </p:nvSpPr>
          <p:spPr>
            <a:xfrm>
              <a:off x="17309597" y="7853324"/>
              <a:ext cx="58628" cy="138857"/>
            </a:xfrm>
            <a:custGeom>
              <a:avLst/>
              <a:gdLst>
                <a:gd name="connsiteX0" fmla="*/ 33943 w 58628"/>
                <a:gd name="connsiteY0" fmla="*/ 138857 h 138857"/>
                <a:gd name="connsiteX1" fmla="*/ 6172 w 58628"/>
                <a:gd name="connsiteY1" fmla="*/ 132686 h 138857"/>
                <a:gd name="connsiteX2" fmla="*/ 0 w 58628"/>
                <a:gd name="connsiteY2" fmla="*/ 120343 h 138857"/>
                <a:gd name="connsiteX3" fmla="*/ 18514 w 58628"/>
                <a:gd name="connsiteY3" fmla="*/ 6172 h 138857"/>
                <a:gd name="connsiteX4" fmla="*/ 24686 w 58628"/>
                <a:gd name="connsiteY4" fmla="*/ 0 h 138857"/>
                <a:gd name="connsiteX5" fmla="*/ 30857 w 58628"/>
                <a:gd name="connsiteY5" fmla="*/ 6172 h 138857"/>
                <a:gd name="connsiteX6" fmla="*/ 12343 w 58628"/>
                <a:gd name="connsiteY6" fmla="*/ 120343 h 138857"/>
                <a:gd name="connsiteX7" fmla="*/ 12343 w 58628"/>
                <a:gd name="connsiteY7" fmla="*/ 123429 h 138857"/>
                <a:gd name="connsiteX8" fmla="*/ 52458 w 58628"/>
                <a:gd name="connsiteY8" fmla="*/ 126514 h 138857"/>
                <a:gd name="connsiteX9" fmla="*/ 58628 w 58628"/>
                <a:gd name="connsiteY9" fmla="*/ 132686 h 138857"/>
                <a:gd name="connsiteX10" fmla="*/ 52458 w 58628"/>
                <a:gd name="connsiteY10" fmla="*/ 138857 h 138857"/>
                <a:gd name="connsiteX11" fmla="*/ 33943 w 58628"/>
                <a:gd name="connsiteY11" fmla="*/ 138857 h 13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628" h="138857">
                  <a:moveTo>
                    <a:pt x="33943" y="138857"/>
                  </a:moveTo>
                  <a:cubicBezTo>
                    <a:pt x="24686" y="138857"/>
                    <a:pt x="12343" y="138857"/>
                    <a:pt x="6172" y="132686"/>
                  </a:cubicBezTo>
                  <a:cubicBezTo>
                    <a:pt x="3086" y="129600"/>
                    <a:pt x="0" y="126514"/>
                    <a:pt x="0" y="120343"/>
                  </a:cubicBezTo>
                  <a:cubicBezTo>
                    <a:pt x="0" y="98743"/>
                    <a:pt x="18514" y="9257"/>
                    <a:pt x="18514" y="6172"/>
                  </a:cubicBezTo>
                  <a:cubicBezTo>
                    <a:pt x="18514" y="3086"/>
                    <a:pt x="21600" y="0"/>
                    <a:pt x="24686" y="0"/>
                  </a:cubicBezTo>
                  <a:cubicBezTo>
                    <a:pt x="27771" y="0"/>
                    <a:pt x="30857" y="3086"/>
                    <a:pt x="30857" y="6172"/>
                  </a:cubicBezTo>
                  <a:cubicBezTo>
                    <a:pt x="30857" y="6172"/>
                    <a:pt x="12343" y="98743"/>
                    <a:pt x="12343" y="120343"/>
                  </a:cubicBezTo>
                  <a:cubicBezTo>
                    <a:pt x="12343" y="120343"/>
                    <a:pt x="12343" y="123429"/>
                    <a:pt x="12343" y="123429"/>
                  </a:cubicBezTo>
                  <a:cubicBezTo>
                    <a:pt x="18514" y="129600"/>
                    <a:pt x="40115" y="126514"/>
                    <a:pt x="52458" y="126514"/>
                  </a:cubicBezTo>
                  <a:cubicBezTo>
                    <a:pt x="55543" y="126514"/>
                    <a:pt x="58628" y="129600"/>
                    <a:pt x="58628" y="132686"/>
                  </a:cubicBezTo>
                  <a:cubicBezTo>
                    <a:pt x="58628" y="135772"/>
                    <a:pt x="55543" y="138857"/>
                    <a:pt x="52458" y="138857"/>
                  </a:cubicBezTo>
                  <a:cubicBezTo>
                    <a:pt x="55543" y="135772"/>
                    <a:pt x="43200" y="138857"/>
                    <a:pt x="33943" y="138857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77DEDFFA-D49B-4961-B0C5-B065E4864676}"/>
                </a:ext>
              </a:extLst>
            </p:cNvPr>
            <p:cNvSpPr/>
            <p:nvPr/>
          </p:nvSpPr>
          <p:spPr>
            <a:xfrm>
              <a:off x="17241106" y="7828034"/>
              <a:ext cx="41505" cy="41324"/>
            </a:xfrm>
            <a:custGeom>
              <a:avLst/>
              <a:gdLst>
                <a:gd name="connsiteX0" fmla="*/ 40719 w 41505"/>
                <a:gd name="connsiteY0" fmla="*/ 25291 h 41324"/>
                <a:gd name="connsiteX1" fmla="*/ 16034 w 41505"/>
                <a:gd name="connsiteY1" fmla="*/ 40719 h 41324"/>
                <a:gd name="connsiteX2" fmla="*/ 605 w 41505"/>
                <a:gd name="connsiteY2" fmla="*/ 16034 h 41324"/>
                <a:gd name="connsiteX3" fmla="*/ 25291 w 41505"/>
                <a:gd name="connsiteY3" fmla="*/ 605 h 41324"/>
                <a:gd name="connsiteX4" fmla="*/ 40719 w 41505"/>
                <a:gd name="connsiteY4" fmla="*/ 25291 h 41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5" h="41324">
                  <a:moveTo>
                    <a:pt x="40719" y="25291"/>
                  </a:moveTo>
                  <a:cubicBezTo>
                    <a:pt x="37633" y="34548"/>
                    <a:pt x="28377" y="43805"/>
                    <a:pt x="16034" y="40719"/>
                  </a:cubicBezTo>
                  <a:cubicBezTo>
                    <a:pt x="6776" y="37634"/>
                    <a:pt x="-2481" y="28377"/>
                    <a:pt x="605" y="16034"/>
                  </a:cubicBezTo>
                  <a:cubicBezTo>
                    <a:pt x="3690" y="6777"/>
                    <a:pt x="12948" y="-2481"/>
                    <a:pt x="25291" y="605"/>
                  </a:cubicBezTo>
                  <a:cubicBezTo>
                    <a:pt x="37633" y="3691"/>
                    <a:pt x="43805" y="16034"/>
                    <a:pt x="40719" y="25291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D2C895A7-B9F4-4E75-AA7F-4BCA425A3D97}"/>
                </a:ext>
              </a:extLst>
            </p:cNvPr>
            <p:cNvSpPr/>
            <p:nvPr/>
          </p:nvSpPr>
          <p:spPr>
            <a:xfrm>
              <a:off x="17426249" y="7849634"/>
              <a:ext cx="41505" cy="41324"/>
            </a:xfrm>
            <a:custGeom>
              <a:avLst/>
              <a:gdLst>
                <a:gd name="connsiteX0" fmla="*/ 40719 w 41505"/>
                <a:gd name="connsiteY0" fmla="*/ 25291 h 41324"/>
                <a:gd name="connsiteX1" fmla="*/ 16034 w 41505"/>
                <a:gd name="connsiteY1" fmla="*/ 40720 h 41324"/>
                <a:gd name="connsiteX2" fmla="*/ 605 w 41505"/>
                <a:gd name="connsiteY2" fmla="*/ 16034 h 41324"/>
                <a:gd name="connsiteX3" fmla="*/ 25291 w 41505"/>
                <a:gd name="connsiteY3" fmla="*/ 605 h 41324"/>
                <a:gd name="connsiteX4" fmla="*/ 40719 w 41505"/>
                <a:gd name="connsiteY4" fmla="*/ 25291 h 41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5" h="41324">
                  <a:moveTo>
                    <a:pt x="40719" y="25291"/>
                  </a:moveTo>
                  <a:cubicBezTo>
                    <a:pt x="37633" y="34548"/>
                    <a:pt x="28377" y="43805"/>
                    <a:pt x="16034" y="40720"/>
                  </a:cubicBezTo>
                  <a:cubicBezTo>
                    <a:pt x="6776" y="37634"/>
                    <a:pt x="-2481" y="28377"/>
                    <a:pt x="605" y="16034"/>
                  </a:cubicBezTo>
                  <a:cubicBezTo>
                    <a:pt x="3690" y="6777"/>
                    <a:pt x="12948" y="-2481"/>
                    <a:pt x="25291" y="605"/>
                  </a:cubicBezTo>
                  <a:cubicBezTo>
                    <a:pt x="37633" y="3691"/>
                    <a:pt x="43805" y="12948"/>
                    <a:pt x="40719" y="25291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DBB30B3A-0F63-4C6C-8A2F-9B74872012D9}"/>
                </a:ext>
              </a:extLst>
            </p:cNvPr>
            <p:cNvSpPr/>
            <p:nvPr/>
          </p:nvSpPr>
          <p:spPr>
            <a:xfrm>
              <a:off x="17217797" y="7779267"/>
              <a:ext cx="93078" cy="33943"/>
            </a:xfrm>
            <a:custGeom>
              <a:avLst/>
              <a:gdLst>
                <a:gd name="connsiteX0" fmla="*/ 8486 w 93078"/>
                <a:gd name="connsiteY0" fmla="*/ 33943 h 33943"/>
                <a:gd name="connsiteX1" fmla="*/ 2314 w 93078"/>
                <a:gd name="connsiteY1" fmla="*/ 30857 h 33943"/>
                <a:gd name="connsiteX2" fmla="*/ 2314 w 93078"/>
                <a:gd name="connsiteY2" fmla="*/ 18514 h 33943"/>
                <a:gd name="connsiteX3" fmla="*/ 88714 w 93078"/>
                <a:gd name="connsiteY3" fmla="*/ 9257 h 33943"/>
                <a:gd name="connsiteX4" fmla="*/ 91800 w 93078"/>
                <a:gd name="connsiteY4" fmla="*/ 21600 h 33943"/>
                <a:gd name="connsiteX5" fmla="*/ 79457 w 93078"/>
                <a:gd name="connsiteY5" fmla="*/ 24686 h 33943"/>
                <a:gd name="connsiteX6" fmla="*/ 11571 w 93078"/>
                <a:gd name="connsiteY6" fmla="*/ 30857 h 33943"/>
                <a:gd name="connsiteX7" fmla="*/ 8486 w 93078"/>
                <a:gd name="connsiteY7" fmla="*/ 33943 h 33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3943">
                  <a:moveTo>
                    <a:pt x="8486" y="33943"/>
                  </a:moveTo>
                  <a:cubicBezTo>
                    <a:pt x="5400" y="33943"/>
                    <a:pt x="5400" y="33943"/>
                    <a:pt x="2314" y="30857"/>
                  </a:cubicBezTo>
                  <a:cubicBezTo>
                    <a:pt x="-771" y="27771"/>
                    <a:pt x="-771" y="21600"/>
                    <a:pt x="2314" y="18514"/>
                  </a:cubicBezTo>
                  <a:cubicBezTo>
                    <a:pt x="30086" y="-9257"/>
                    <a:pt x="70201" y="0"/>
                    <a:pt x="88714" y="9257"/>
                  </a:cubicBezTo>
                  <a:cubicBezTo>
                    <a:pt x="91800" y="12343"/>
                    <a:pt x="94886" y="15429"/>
                    <a:pt x="91800" y="21600"/>
                  </a:cubicBezTo>
                  <a:cubicBezTo>
                    <a:pt x="88714" y="24686"/>
                    <a:pt x="85629" y="27771"/>
                    <a:pt x="79457" y="24686"/>
                  </a:cubicBezTo>
                  <a:cubicBezTo>
                    <a:pt x="76371" y="24686"/>
                    <a:pt x="39343" y="3086"/>
                    <a:pt x="11571" y="30857"/>
                  </a:cubicBezTo>
                  <a:cubicBezTo>
                    <a:pt x="11571" y="33943"/>
                    <a:pt x="8486" y="33943"/>
                    <a:pt x="8486" y="33943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F0923B4E-E1DE-49D5-A386-BF2948AE5D5C}"/>
                </a:ext>
              </a:extLst>
            </p:cNvPr>
            <p:cNvSpPr/>
            <p:nvPr/>
          </p:nvSpPr>
          <p:spPr>
            <a:xfrm>
              <a:off x="17407062" y="7783382"/>
              <a:ext cx="93078" cy="36000"/>
            </a:xfrm>
            <a:custGeom>
              <a:avLst/>
              <a:gdLst>
                <a:gd name="connsiteX0" fmla="*/ 87678 w 93078"/>
                <a:gd name="connsiteY0" fmla="*/ 36000 h 36000"/>
                <a:gd name="connsiteX1" fmla="*/ 81507 w 93078"/>
                <a:gd name="connsiteY1" fmla="*/ 32914 h 36000"/>
                <a:gd name="connsiteX2" fmla="*/ 13621 w 93078"/>
                <a:gd name="connsiteY2" fmla="*/ 26743 h 36000"/>
                <a:gd name="connsiteX3" fmla="*/ 1278 w 93078"/>
                <a:gd name="connsiteY3" fmla="*/ 23657 h 36000"/>
                <a:gd name="connsiteX4" fmla="*/ 4364 w 93078"/>
                <a:gd name="connsiteY4" fmla="*/ 11314 h 36000"/>
                <a:gd name="connsiteX5" fmla="*/ 90764 w 93078"/>
                <a:gd name="connsiteY5" fmla="*/ 20572 h 36000"/>
                <a:gd name="connsiteX6" fmla="*/ 90764 w 93078"/>
                <a:gd name="connsiteY6" fmla="*/ 32914 h 36000"/>
                <a:gd name="connsiteX7" fmla="*/ 87678 w 93078"/>
                <a:gd name="connsiteY7" fmla="*/ 36000 h 3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6000">
                  <a:moveTo>
                    <a:pt x="87678" y="36000"/>
                  </a:moveTo>
                  <a:cubicBezTo>
                    <a:pt x="84592" y="36000"/>
                    <a:pt x="84592" y="36000"/>
                    <a:pt x="81507" y="32914"/>
                  </a:cubicBezTo>
                  <a:cubicBezTo>
                    <a:pt x="81507" y="32914"/>
                    <a:pt x="50650" y="2057"/>
                    <a:pt x="13621" y="26743"/>
                  </a:cubicBezTo>
                  <a:cubicBezTo>
                    <a:pt x="10535" y="29829"/>
                    <a:pt x="4364" y="26743"/>
                    <a:pt x="1278" y="23657"/>
                  </a:cubicBezTo>
                  <a:cubicBezTo>
                    <a:pt x="-1808" y="20572"/>
                    <a:pt x="1278" y="14400"/>
                    <a:pt x="4364" y="11314"/>
                  </a:cubicBezTo>
                  <a:cubicBezTo>
                    <a:pt x="41392" y="-13371"/>
                    <a:pt x="78421" y="8228"/>
                    <a:pt x="90764" y="20572"/>
                  </a:cubicBezTo>
                  <a:cubicBezTo>
                    <a:pt x="93850" y="23657"/>
                    <a:pt x="93850" y="29829"/>
                    <a:pt x="90764" y="32914"/>
                  </a:cubicBezTo>
                  <a:cubicBezTo>
                    <a:pt x="90764" y="32914"/>
                    <a:pt x="87678" y="36000"/>
                    <a:pt x="87678" y="36000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E93ACA89-1B77-4F16-A3F8-20D05C8D8EC9}"/>
                </a:ext>
              </a:extLst>
            </p:cNvPr>
            <p:cNvSpPr/>
            <p:nvPr/>
          </p:nvSpPr>
          <p:spPr>
            <a:xfrm>
              <a:off x="17273340" y="8106353"/>
              <a:ext cx="235020" cy="61714"/>
            </a:xfrm>
            <a:custGeom>
              <a:avLst/>
              <a:gdLst>
                <a:gd name="connsiteX0" fmla="*/ 82542 w 235020"/>
                <a:gd name="connsiteY0" fmla="*/ 61714 h 61714"/>
                <a:gd name="connsiteX1" fmla="*/ 82542 w 235020"/>
                <a:gd name="connsiteY1" fmla="*/ 61714 h 61714"/>
                <a:gd name="connsiteX2" fmla="*/ 2314 w 235020"/>
                <a:gd name="connsiteY2" fmla="*/ 33943 h 61714"/>
                <a:gd name="connsiteX3" fmla="*/ 2314 w 235020"/>
                <a:gd name="connsiteY3" fmla="*/ 24685 h 61714"/>
                <a:gd name="connsiteX4" fmla="*/ 11571 w 235020"/>
                <a:gd name="connsiteY4" fmla="*/ 24685 h 61714"/>
                <a:gd name="connsiteX5" fmla="*/ 82542 w 235020"/>
                <a:gd name="connsiteY5" fmla="*/ 49371 h 61714"/>
                <a:gd name="connsiteX6" fmla="*/ 82542 w 235020"/>
                <a:gd name="connsiteY6" fmla="*/ 49371 h 61714"/>
                <a:gd name="connsiteX7" fmla="*/ 224486 w 235020"/>
                <a:gd name="connsiteY7" fmla="*/ 0 h 61714"/>
                <a:gd name="connsiteX8" fmla="*/ 233742 w 235020"/>
                <a:gd name="connsiteY8" fmla="*/ 3085 h 61714"/>
                <a:gd name="connsiteX9" fmla="*/ 230657 w 235020"/>
                <a:gd name="connsiteY9" fmla="*/ 12343 h 61714"/>
                <a:gd name="connsiteX10" fmla="*/ 82542 w 235020"/>
                <a:gd name="connsiteY10" fmla="*/ 61714 h 61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5020" h="61714">
                  <a:moveTo>
                    <a:pt x="82542" y="61714"/>
                  </a:moveTo>
                  <a:cubicBezTo>
                    <a:pt x="82542" y="61714"/>
                    <a:pt x="82542" y="61714"/>
                    <a:pt x="82542" y="61714"/>
                  </a:cubicBezTo>
                  <a:cubicBezTo>
                    <a:pt x="39343" y="61714"/>
                    <a:pt x="5400" y="33943"/>
                    <a:pt x="2314" y="33943"/>
                  </a:cubicBezTo>
                  <a:cubicBezTo>
                    <a:pt x="-771" y="30857"/>
                    <a:pt x="-771" y="27771"/>
                    <a:pt x="2314" y="24685"/>
                  </a:cubicBezTo>
                  <a:cubicBezTo>
                    <a:pt x="5400" y="21600"/>
                    <a:pt x="8486" y="21600"/>
                    <a:pt x="11571" y="24685"/>
                  </a:cubicBezTo>
                  <a:cubicBezTo>
                    <a:pt x="11571" y="24685"/>
                    <a:pt x="42429" y="49371"/>
                    <a:pt x="82542" y="49371"/>
                  </a:cubicBezTo>
                  <a:cubicBezTo>
                    <a:pt x="82542" y="49371"/>
                    <a:pt x="82542" y="49371"/>
                    <a:pt x="82542" y="49371"/>
                  </a:cubicBezTo>
                  <a:cubicBezTo>
                    <a:pt x="131914" y="49371"/>
                    <a:pt x="221400" y="0"/>
                    <a:pt x="224486" y="0"/>
                  </a:cubicBezTo>
                  <a:cubicBezTo>
                    <a:pt x="227571" y="0"/>
                    <a:pt x="230657" y="0"/>
                    <a:pt x="233742" y="3085"/>
                  </a:cubicBezTo>
                  <a:cubicBezTo>
                    <a:pt x="236828" y="6171"/>
                    <a:pt x="233742" y="9257"/>
                    <a:pt x="230657" y="12343"/>
                  </a:cubicBezTo>
                  <a:cubicBezTo>
                    <a:pt x="227571" y="12343"/>
                    <a:pt x="135000" y="61714"/>
                    <a:pt x="82542" y="61714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0B67831D-DF9B-40FC-B528-0C59FDD62F6B}"/>
                </a:ext>
              </a:extLst>
            </p:cNvPr>
            <p:cNvSpPr/>
            <p:nvPr/>
          </p:nvSpPr>
          <p:spPr>
            <a:xfrm>
              <a:off x="17528683" y="7609553"/>
              <a:ext cx="114491" cy="271542"/>
            </a:xfrm>
            <a:custGeom>
              <a:avLst/>
              <a:gdLst>
                <a:gd name="connsiteX0" fmla="*/ 0 w 114491"/>
                <a:gd name="connsiteY0" fmla="*/ 129600 h 271542"/>
                <a:gd name="connsiteX1" fmla="*/ 49372 w 114491"/>
                <a:gd name="connsiteY1" fmla="*/ 271543 h 271542"/>
                <a:gd name="connsiteX2" fmla="*/ 108000 w 114491"/>
                <a:gd name="connsiteY2" fmla="*/ 169714 h 271542"/>
                <a:gd name="connsiteX3" fmla="*/ 49372 w 114491"/>
                <a:gd name="connsiteY3" fmla="*/ 0 h 271542"/>
                <a:gd name="connsiteX4" fmla="*/ 0 w 114491"/>
                <a:gd name="connsiteY4" fmla="*/ 129600 h 27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491" h="271542">
                  <a:moveTo>
                    <a:pt x="0" y="129600"/>
                  </a:moveTo>
                  <a:cubicBezTo>
                    <a:pt x="0" y="129600"/>
                    <a:pt x="55542" y="240686"/>
                    <a:pt x="49372" y="271543"/>
                  </a:cubicBezTo>
                  <a:cubicBezTo>
                    <a:pt x="49372" y="271543"/>
                    <a:pt x="92571" y="225257"/>
                    <a:pt x="108000" y="169714"/>
                  </a:cubicBezTo>
                  <a:cubicBezTo>
                    <a:pt x="123429" y="111086"/>
                    <a:pt x="114172" y="15429"/>
                    <a:pt x="49372" y="0"/>
                  </a:cubicBezTo>
                  <a:cubicBezTo>
                    <a:pt x="46286" y="3086"/>
                    <a:pt x="40114" y="111086"/>
                    <a:pt x="0" y="129600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0E2B1A96-2A07-4615-BBD7-8B09E30F70F0}"/>
                </a:ext>
              </a:extLst>
            </p:cNvPr>
            <p:cNvSpPr/>
            <p:nvPr/>
          </p:nvSpPr>
          <p:spPr>
            <a:xfrm>
              <a:off x="17081254" y="7490905"/>
              <a:ext cx="505681" cy="257536"/>
            </a:xfrm>
            <a:custGeom>
              <a:avLst/>
              <a:gdLst>
                <a:gd name="connsiteX0" fmla="*/ 447429 w 505681"/>
                <a:gd name="connsiteY0" fmla="*/ 248248 h 257536"/>
                <a:gd name="connsiteX1" fmla="*/ 324000 w 505681"/>
                <a:gd name="connsiteY1" fmla="*/ 208134 h 257536"/>
                <a:gd name="connsiteX2" fmla="*/ 0 w 505681"/>
                <a:gd name="connsiteY2" fmla="*/ 195791 h 257536"/>
                <a:gd name="connsiteX3" fmla="*/ 376458 w 505681"/>
                <a:gd name="connsiteY3" fmla="*/ 10648 h 257536"/>
                <a:gd name="connsiteX4" fmla="*/ 496800 w 505681"/>
                <a:gd name="connsiteY4" fmla="*/ 118648 h 257536"/>
                <a:gd name="connsiteX5" fmla="*/ 447429 w 505681"/>
                <a:gd name="connsiteY5" fmla="*/ 248248 h 257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681" h="257536">
                  <a:moveTo>
                    <a:pt x="447429" y="248248"/>
                  </a:moveTo>
                  <a:cubicBezTo>
                    <a:pt x="447429" y="248248"/>
                    <a:pt x="351771" y="208134"/>
                    <a:pt x="324000" y="208134"/>
                  </a:cubicBezTo>
                  <a:cubicBezTo>
                    <a:pt x="222172" y="211219"/>
                    <a:pt x="92571" y="325391"/>
                    <a:pt x="0" y="195791"/>
                  </a:cubicBezTo>
                  <a:cubicBezTo>
                    <a:pt x="46286" y="93962"/>
                    <a:pt x="209828" y="-38724"/>
                    <a:pt x="376458" y="10648"/>
                  </a:cubicBezTo>
                  <a:cubicBezTo>
                    <a:pt x="456685" y="32248"/>
                    <a:pt x="490628" y="81619"/>
                    <a:pt x="496800" y="118648"/>
                  </a:cubicBezTo>
                  <a:cubicBezTo>
                    <a:pt x="493714" y="121734"/>
                    <a:pt x="540000" y="235905"/>
                    <a:pt x="447429" y="248248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85B06D28-D79D-476D-86BC-7A9965CE0823}"/>
                </a:ext>
              </a:extLst>
            </p:cNvPr>
            <p:cNvSpPr/>
            <p:nvPr/>
          </p:nvSpPr>
          <p:spPr>
            <a:xfrm>
              <a:off x="17562626" y="7850046"/>
              <a:ext cx="78206" cy="111841"/>
            </a:xfrm>
            <a:custGeom>
              <a:avLst/>
              <a:gdLst>
                <a:gd name="connsiteX0" fmla="*/ 12343 w 78206"/>
                <a:gd name="connsiteY0" fmla="*/ 15622 h 111841"/>
                <a:gd name="connsiteX1" fmla="*/ 70971 w 78206"/>
                <a:gd name="connsiteY1" fmla="*/ 6364 h 111841"/>
                <a:gd name="connsiteX2" fmla="*/ 12343 w 78206"/>
                <a:gd name="connsiteY2" fmla="*/ 108193 h 111841"/>
                <a:gd name="connsiteX3" fmla="*/ 12343 w 78206"/>
                <a:gd name="connsiteY3" fmla="*/ 15622 h 111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06" h="111841">
                  <a:moveTo>
                    <a:pt x="12343" y="15622"/>
                  </a:moveTo>
                  <a:cubicBezTo>
                    <a:pt x="12343" y="15622"/>
                    <a:pt x="46286" y="-12150"/>
                    <a:pt x="70971" y="6364"/>
                  </a:cubicBezTo>
                  <a:cubicBezTo>
                    <a:pt x="95657" y="24879"/>
                    <a:pt x="52457" y="132879"/>
                    <a:pt x="12343" y="108193"/>
                  </a:cubicBezTo>
                  <a:cubicBezTo>
                    <a:pt x="-15428" y="89679"/>
                    <a:pt x="12343" y="15622"/>
                    <a:pt x="12343" y="15622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184AB554-2FC0-4850-BF6C-DFADCEE8B8D7}"/>
                </a:ext>
              </a:extLst>
            </p:cNvPr>
            <p:cNvSpPr/>
            <p:nvPr/>
          </p:nvSpPr>
          <p:spPr>
            <a:xfrm>
              <a:off x="17522511" y="7628068"/>
              <a:ext cx="68313" cy="243771"/>
            </a:xfrm>
            <a:custGeom>
              <a:avLst/>
              <a:gdLst>
                <a:gd name="connsiteX0" fmla="*/ 52458 w 68313"/>
                <a:gd name="connsiteY0" fmla="*/ 243771 h 243771"/>
                <a:gd name="connsiteX1" fmla="*/ 46286 w 68313"/>
                <a:gd name="connsiteY1" fmla="*/ 237600 h 243771"/>
                <a:gd name="connsiteX2" fmla="*/ 0 w 68313"/>
                <a:gd name="connsiteY2" fmla="*/ 114171 h 243771"/>
                <a:gd name="connsiteX3" fmla="*/ 0 w 68313"/>
                <a:gd name="connsiteY3" fmla="*/ 108000 h 243771"/>
                <a:gd name="connsiteX4" fmla="*/ 3086 w 68313"/>
                <a:gd name="connsiteY4" fmla="*/ 104914 h 243771"/>
                <a:gd name="connsiteX5" fmla="*/ 52458 w 68313"/>
                <a:gd name="connsiteY5" fmla="*/ 64800 h 243771"/>
                <a:gd name="connsiteX6" fmla="*/ 52458 w 68313"/>
                <a:gd name="connsiteY6" fmla="*/ 6171 h 243771"/>
                <a:gd name="connsiteX7" fmla="*/ 55543 w 68313"/>
                <a:gd name="connsiteY7" fmla="*/ 0 h 243771"/>
                <a:gd name="connsiteX8" fmla="*/ 61714 w 68313"/>
                <a:gd name="connsiteY8" fmla="*/ 3085 h 243771"/>
                <a:gd name="connsiteX9" fmla="*/ 58629 w 68313"/>
                <a:gd name="connsiteY9" fmla="*/ 70971 h 243771"/>
                <a:gd name="connsiteX10" fmla="*/ 9258 w 68313"/>
                <a:gd name="connsiteY10" fmla="*/ 114171 h 243771"/>
                <a:gd name="connsiteX11" fmla="*/ 55543 w 68313"/>
                <a:gd name="connsiteY11" fmla="*/ 237600 h 243771"/>
                <a:gd name="connsiteX12" fmla="*/ 52458 w 68313"/>
                <a:gd name="connsiteY12" fmla="*/ 243771 h 243771"/>
                <a:gd name="connsiteX13" fmla="*/ 52458 w 68313"/>
                <a:gd name="connsiteY13" fmla="*/ 243771 h 24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313" h="243771">
                  <a:moveTo>
                    <a:pt x="52458" y="243771"/>
                  </a:moveTo>
                  <a:cubicBezTo>
                    <a:pt x="49372" y="243771"/>
                    <a:pt x="46286" y="240685"/>
                    <a:pt x="46286" y="237600"/>
                  </a:cubicBezTo>
                  <a:cubicBezTo>
                    <a:pt x="40115" y="175886"/>
                    <a:pt x="0" y="114171"/>
                    <a:pt x="0" y="114171"/>
                  </a:cubicBezTo>
                  <a:cubicBezTo>
                    <a:pt x="0" y="111085"/>
                    <a:pt x="0" y="111085"/>
                    <a:pt x="0" y="108000"/>
                  </a:cubicBezTo>
                  <a:cubicBezTo>
                    <a:pt x="0" y="104914"/>
                    <a:pt x="3086" y="104914"/>
                    <a:pt x="3086" y="104914"/>
                  </a:cubicBezTo>
                  <a:cubicBezTo>
                    <a:pt x="3086" y="104914"/>
                    <a:pt x="37029" y="92571"/>
                    <a:pt x="52458" y="64800"/>
                  </a:cubicBezTo>
                  <a:cubicBezTo>
                    <a:pt x="61714" y="49371"/>
                    <a:pt x="61714" y="27771"/>
                    <a:pt x="52458" y="6171"/>
                  </a:cubicBezTo>
                  <a:cubicBezTo>
                    <a:pt x="52458" y="3085"/>
                    <a:pt x="52458" y="0"/>
                    <a:pt x="55543" y="0"/>
                  </a:cubicBezTo>
                  <a:cubicBezTo>
                    <a:pt x="58629" y="0"/>
                    <a:pt x="61714" y="0"/>
                    <a:pt x="61714" y="3085"/>
                  </a:cubicBezTo>
                  <a:cubicBezTo>
                    <a:pt x="70972" y="27771"/>
                    <a:pt x="70972" y="52457"/>
                    <a:pt x="58629" y="70971"/>
                  </a:cubicBezTo>
                  <a:cubicBezTo>
                    <a:pt x="46286" y="95657"/>
                    <a:pt x="21600" y="108000"/>
                    <a:pt x="9258" y="114171"/>
                  </a:cubicBezTo>
                  <a:cubicBezTo>
                    <a:pt x="21600" y="132685"/>
                    <a:pt x="49372" y="182057"/>
                    <a:pt x="55543" y="237600"/>
                  </a:cubicBezTo>
                  <a:cubicBezTo>
                    <a:pt x="58629" y="240685"/>
                    <a:pt x="58629" y="243771"/>
                    <a:pt x="52458" y="243771"/>
                  </a:cubicBezTo>
                  <a:cubicBezTo>
                    <a:pt x="52458" y="243771"/>
                    <a:pt x="52458" y="243771"/>
                    <a:pt x="52458" y="243771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F8BFED3D-6E0E-4764-B8E8-FD8819F6A049}"/>
                </a:ext>
              </a:extLst>
            </p:cNvPr>
            <p:cNvSpPr/>
            <p:nvPr/>
          </p:nvSpPr>
          <p:spPr>
            <a:xfrm>
              <a:off x="17212569" y="7671797"/>
              <a:ext cx="195771" cy="36499"/>
            </a:xfrm>
            <a:custGeom>
              <a:avLst/>
              <a:gdLst>
                <a:gd name="connsiteX0" fmla="*/ 192686 w 195771"/>
                <a:gd name="connsiteY0" fmla="*/ 36499 h 36499"/>
                <a:gd name="connsiteX1" fmla="*/ 192686 w 195771"/>
                <a:gd name="connsiteY1" fmla="*/ 36499 h 36499"/>
                <a:gd name="connsiteX2" fmla="*/ 10629 w 195771"/>
                <a:gd name="connsiteY2" fmla="*/ 30328 h 36499"/>
                <a:gd name="connsiteX3" fmla="*/ 1371 w 195771"/>
                <a:gd name="connsiteY3" fmla="*/ 30328 h 36499"/>
                <a:gd name="connsiteX4" fmla="*/ 1371 w 195771"/>
                <a:gd name="connsiteY4" fmla="*/ 21071 h 36499"/>
                <a:gd name="connsiteX5" fmla="*/ 192686 w 195771"/>
                <a:gd name="connsiteY5" fmla="*/ 27242 h 36499"/>
                <a:gd name="connsiteX6" fmla="*/ 195772 w 195771"/>
                <a:gd name="connsiteY6" fmla="*/ 36499 h 36499"/>
                <a:gd name="connsiteX7" fmla="*/ 192686 w 195771"/>
                <a:gd name="connsiteY7" fmla="*/ 36499 h 36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771" h="36499">
                  <a:moveTo>
                    <a:pt x="192686" y="36499"/>
                  </a:moveTo>
                  <a:cubicBezTo>
                    <a:pt x="189600" y="36499"/>
                    <a:pt x="189600" y="36499"/>
                    <a:pt x="192686" y="36499"/>
                  </a:cubicBezTo>
                  <a:cubicBezTo>
                    <a:pt x="189600" y="36499"/>
                    <a:pt x="75429" y="-15958"/>
                    <a:pt x="10629" y="30328"/>
                  </a:cubicBezTo>
                  <a:cubicBezTo>
                    <a:pt x="7543" y="33414"/>
                    <a:pt x="4457" y="30328"/>
                    <a:pt x="1371" y="30328"/>
                  </a:cubicBezTo>
                  <a:cubicBezTo>
                    <a:pt x="-1714" y="27242"/>
                    <a:pt x="1371" y="24156"/>
                    <a:pt x="1371" y="21071"/>
                  </a:cubicBezTo>
                  <a:cubicBezTo>
                    <a:pt x="75429" y="-28301"/>
                    <a:pt x="189600" y="24156"/>
                    <a:pt x="192686" y="27242"/>
                  </a:cubicBezTo>
                  <a:cubicBezTo>
                    <a:pt x="195772" y="27242"/>
                    <a:pt x="195772" y="33414"/>
                    <a:pt x="195772" y="36499"/>
                  </a:cubicBezTo>
                  <a:cubicBezTo>
                    <a:pt x="195772" y="33414"/>
                    <a:pt x="192686" y="36499"/>
                    <a:pt x="192686" y="36499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23E2BF44-D01F-4008-9ABA-D3CC1C85FF7E}"/>
                </a:ext>
              </a:extLst>
            </p:cNvPr>
            <p:cNvSpPr/>
            <p:nvPr/>
          </p:nvSpPr>
          <p:spPr>
            <a:xfrm>
              <a:off x="16845913" y="8223610"/>
              <a:ext cx="1083913" cy="1585870"/>
            </a:xfrm>
            <a:custGeom>
              <a:avLst/>
              <a:gdLst>
                <a:gd name="connsiteX0" fmla="*/ 682770 w 1083913"/>
                <a:gd name="connsiteY0" fmla="*/ 0 h 1585870"/>
                <a:gd name="connsiteX1" fmla="*/ 389627 w 1083913"/>
                <a:gd name="connsiteY1" fmla="*/ 0 h 1585870"/>
                <a:gd name="connsiteX2" fmla="*/ 87228 w 1083913"/>
                <a:gd name="connsiteY2" fmla="*/ 132686 h 1585870"/>
                <a:gd name="connsiteX3" fmla="*/ 827 w 1083913"/>
                <a:gd name="connsiteY3" fmla="*/ 1555200 h 1585870"/>
                <a:gd name="connsiteX4" fmla="*/ 1083913 w 1083913"/>
                <a:gd name="connsiteY4" fmla="*/ 1530515 h 1585870"/>
                <a:gd name="connsiteX5" fmla="*/ 966656 w 1083913"/>
                <a:gd name="connsiteY5" fmla="*/ 104915 h 1585870"/>
                <a:gd name="connsiteX6" fmla="*/ 682770 w 1083913"/>
                <a:gd name="connsiteY6" fmla="*/ 0 h 15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3913" h="1585870">
                  <a:moveTo>
                    <a:pt x="682770" y="0"/>
                  </a:moveTo>
                  <a:cubicBezTo>
                    <a:pt x="682770" y="0"/>
                    <a:pt x="506884" y="55543"/>
                    <a:pt x="389627" y="0"/>
                  </a:cubicBezTo>
                  <a:cubicBezTo>
                    <a:pt x="389627" y="0"/>
                    <a:pt x="111913" y="98743"/>
                    <a:pt x="87228" y="132686"/>
                  </a:cubicBezTo>
                  <a:cubicBezTo>
                    <a:pt x="62541" y="163543"/>
                    <a:pt x="-8430" y="1487315"/>
                    <a:pt x="827" y="1555200"/>
                  </a:cubicBezTo>
                  <a:cubicBezTo>
                    <a:pt x="827" y="1555200"/>
                    <a:pt x="497627" y="1638515"/>
                    <a:pt x="1083913" y="1530515"/>
                  </a:cubicBezTo>
                  <a:cubicBezTo>
                    <a:pt x="1083913" y="1169486"/>
                    <a:pt x="1009856" y="135772"/>
                    <a:pt x="966656" y="104915"/>
                  </a:cubicBezTo>
                  <a:cubicBezTo>
                    <a:pt x="923456" y="70972"/>
                    <a:pt x="682770" y="0"/>
                    <a:pt x="682770" y="0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7F6CAF4A-1EE1-4BE1-B041-DF99408140C5}"/>
                </a:ext>
              </a:extLst>
            </p:cNvPr>
            <p:cNvSpPr/>
            <p:nvPr/>
          </p:nvSpPr>
          <p:spPr>
            <a:xfrm>
              <a:off x="16883769" y="8348846"/>
              <a:ext cx="53734" cy="751106"/>
            </a:xfrm>
            <a:custGeom>
              <a:avLst/>
              <a:gdLst>
                <a:gd name="connsiteX0" fmla="*/ 6171 w 53734"/>
                <a:gd name="connsiteY0" fmla="*/ 751107 h 751106"/>
                <a:gd name="connsiteX1" fmla="*/ 6171 w 53734"/>
                <a:gd name="connsiteY1" fmla="*/ 751107 h 751106"/>
                <a:gd name="connsiteX2" fmla="*/ 0 w 53734"/>
                <a:gd name="connsiteY2" fmla="*/ 744936 h 751106"/>
                <a:gd name="connsiteX3" fmla="*/ 43200 w 53734"/>
                <a:gd name="connsiteY3" fmla="*/ 4364 h 751106"/>
                <a:gd name="connsiteX4" fmla="*/ 49372 w 53734"/>
                <a:gd name="connsiteY4" fmla="*/ 1278 h 751106"/>
                <a:gd name="connsiteX5" fmla="*/ 52457 w 53734"/>
                <a:gd name="connsiteY5" fmla="*/ 7450 h 751106"/>
                <a:gd name="connsiteX6" fmla="*/ 9257 w 53734"/>
                <a:gd name="connsiteY6" fmla="*/ 744936 h 751106"/>
                <a:gd name="connsiteX7" fmla="*/ 6171 w 53734"/>
                <a:gd name="connsiteY7" fmla="*/ 751107 h 751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734" h="751106">
                  <a:moveTo>
                    <a:pt x="6171" y="751107"/>
                  </a:moveTo>
                  <a:cubicBezTo>
                    <a:pt x="6171" y="751107"/>
                    <a:pt x="6171" y="751107"/>
                    <a:pt x="6171" y="751107"/>
                  </a:cubicBezTo>
                  <a:cubicBezTo>
                    <a:pt x="3086" y="751107"/>
                    <a:pt x="0" y="748021"/>
                    <a:pt x="0" y="744936"/>
                  </a:cubicBezTo>
                  <a:cubicBezTo>
                    <a:pt x="0" y="717164"/>
                    <a:pt x="37028" y="44478"/>
                    <a:pt x="43200" y="4364"/>
                  </a:cubicBezTo>
                  <a:cubicBezTo>
                    <a:pt x="43200" y="1278"/>
                    <a:pt x="46286" y="-1808"/>
                    <a:pt x="49372" y="1278"/>
                  </a:cubicBezTo>
                  <a:cubicBezTo>
                    <a:pt x="52457" y="1278"/>
                    <a:pt x="55542" y="4364"/>
                    <a:pt x="52457" y="7450"/>
                  </a:cubicBezTo>
                  <a:cubicBezTo>
                    <a:pt x="43200" y="47564"/>
                    <a:pt x="9257" y="738764"/>
                    <a:pt x="9257" y="744936"/>
                  </a:cubicBezTo>
                  <a:cubicBezTo>
                    <a:pt x="12343" y="748021"/>
                    <a:pt x="9257" y="751107"/>
                    <a:pt x="6171" y="751107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575C3660-340C-4C9A-9EEB-17C96333D64A}"/>
                </a:ext>
              </a:extLst>
            </p:cNvPr>
            <p:cNvSpPr/>
            <p:nvPr/>
          </p:nvSpPr>
          <p:spPr>
            <a:xfrm>
              <a:off x="17276425" y="8048496"/>
              <a:ext cx="122657" cy="27000"/>
            </a:xfrm>
            <a:custGeom>
              <a:avLst/>
              <a:gdLst>
                <a:gd name="connsiteX0" fmla="*/ 51686 w 122657"/>
                <a:gd name="connsiteY0" fmla="*/ 27000 h 27000"/>
                <a:gd name="connsiteX1" fmla="*/ 2314 w 122657"/>
                <a:gd name="connsiteY1" fmla="*/ 11572 h 27000"/>
                <a:gd name="connsiteX2" fmla="*/ 2314 w 122657"/>
                <a:gd name="connsiteY2" fmla="*/ 2314 h 27000"/>
                <a:gd name="connsiteX3" fmla="*/ 11572 w 122657"/>
                <a:gd name="connsiteY3" fmla="*/ 2314 h 27000"/>
                <a:gd name="connsiteX4" fmla="*/ 113400 w 122657"/>
                <a:gd name="connsiteY4" fmla="*/ 2314 h 27000"/>
                <a:gd name="connsiteX5" fmla="*/ 122657 w 122657"/>
                <a:gd name="connsiteY5" fmla="*/ 5400 h 27000"/>
                <a:gd name="connsiteX6" fmla="*/ 119572 w 122657"/>
                <a:gd name="connsiteY6" fmla="*/ 14657 h 27000"/>
                <a:gd name="connsiteX7" fmla="*/ 51686 w 122657"/>
                <a:gd name="connsiteY7" fmla="*/ 27000 h 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657" h="27000">
                  <a:moveTo>
                    <a:pt x="51686" y="27000"/>
                  </a:moveTo>
                  <a:cubicBezTo>
                    <a:pt x="33172" y="27000"/>
                    <a:pt x="17743" y="23914"/>
                    <a:pt x="2314" y="11572"/>
                  </a:cubicBezTo>
                  <a:cubicBezTo>
                    <a:pt x="-771" y="8486"/>
                    <a:pt x="-771" y="5400"/>
                    <a:pt x="2314" y="2314"/>
                  </a:cubicBezTo>
                  <a:cubicBezTo>
                    <a:pt x="5400" y="-771"/>
                    <a:pt x="8486" y="-771"/>
                    <a:pt x="11572" y="2314"/>
                  </a:cubicBezTo>
                  <a:cubicBezTo>
                    <a:pt x="51686" y="33172"/>
                    <a:pt x="113400" y="2314"/>
                    <a:pt x="113400" y="2314"/>
                  </a:cubicBezTo>
                  <a:cubicBezTo>
                    <a:pt x="116486" y="2314"/>
                    <a:pt x="119572" y="2314"/>
                    <a:pt x="122657" y="5400"/>
                  </a:cubicBezTo>
                  <a:cubicBezTo>
                    <a:pt x="122657" y="8486"/>
                    <a:pt x="122657" y="11572"/>
                    <a:pt x="119572" y="14657"/>
                  </a:cubicBezTo>
                  <a:cubicBezTo>
                    <a:pt x="116486" y="14657"/>
                    <a:pt x="85629" y="27000"/>
                    <a:pt x="51686" y="27000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3B50E03F-AB25-4E9E-AB82-A02737A5BC98}"/>
                </a:ext>
              </a:extLst>
            </p:cNvPr>
            <p:cNvSpPr/>
            <p:nvPr/>
          </p:nvSpPr>
          <p:spPr>
            <a:xfrm>
              <a:off x="15339571" y="9057894"/>
              <a:ext cx="1001680" cy="1742400"/>
            </a:xfrm>
            <a:custGeom>
              <a:avLst/>
              <a:gdLst>
                <a:gd name="connsiteX0" fmla="*/ 226597 w 1001680"/>
                <a:gd name="connsiteY0" fmla="*/ 1692916 h 1742400"/>
                <a:gd name="connsiteX1" fmla="*/ 936311 w 1001680"/>
                <a:gd name="connsiteY1" fmla="*/ 1591087 h 1742400"/>
                <a:gd name="connsiteX2" fmla="*/ 914712 w 1001680"/>
                <a:gd name="connsiteY2" fmla="*/ 816573 h 1742400"/>
                <a:gd name="connsiteX3" fmla="*/ 652426 w 1001680"/>
                <a:gd name="connsiteY3" fmla="*/ 288916 h 1742400"/>
                <a:gd name="connsiteX4" fmla="*/ 658597 w 1001680"/>
                <a:gd name="connsiteY4" fmla="*/ 288916 h 1742400"/>
                <a:gd name="connsiteX5" fmla="*/ 726483 w 1001680"/>
                <a:gd name="connsiteY5" fmla="*/ 202516 h 1742400"/>
                <a:gd name="connsiteX6" fmla="*/ 717225 w 1001680"/>
                <a:gd name="connsiteY6" fmla="*/ 143888 h 1742400"/>
                <a:gd name="connsiteX7" fmla="*/ 704883 w 1001680"/>
                <a:gd name="connsiteY7" fmla="*/ 143888 h 1742400"/>
                <a:gd name="connsiteX8" fmla="*/ 711055 w 1001680"/>
                <a:gd name="connsiteY8" fmla="*/ 1944 h 1742400"/>
                <a:gd name="connsiteX9" fmla="*/ 624654 w 1001680"/>
                <a:gd name="connsiteY9" fmla="*/ 66745 h 1742400"/>
                <a:gd name="connsiteX10" fmla="*/ 612311 w 1001680"/>
                <a:gd name="connsiteY10" fmla="*/ 85259 h 1742400"/>
                <a:gd name="connsiteX11" fmla="*/ 575283 w 1001680"/>
                <a:gd name="connsiteY11" fmla="*/ 20459 h 1742400"/>
                <a:gd name="connsiteX12" fmla="*/ 519740 w 1001680"/>
                <a:gd name="connsiteY12" fmla="*/ 35888 h 1742400"/>
                <a:gd name="connsiteX13" fmla="*/ 519740 w 1001680"/>
                <a:gd name="connsiteY13" fmla="*/ 72916 h 1742400"/>
                <a:gd name="connsiteX14" fmla="*/ 476540 w 1001680"/>
                <a:gd name="connsiteY14" fmla="*/ 54402 h 1742400"/>
                <a:gd name="connsiteX15" fmla="*/ 427168 w 1001680"/>
                <a:gd name="connsiteY15" fmla="*/ 128459 h 1742400"/>
                <a:gd name="connsiteX16" fmla="*/ 569112 w 1001680"/>
                <a:gd name="connsiteY16" fmla="*/ 288916 h 1742400"/>
                <a:gd name="connsiteX17" fmla="*/ 38368 w 1001680"/>
                <a:gd name="connsiteY17" fmla="*/ 930745 h 1742400"/>
                <a:gd name="connsiteX18" fmla="*/ 226597 w 1001680"/>
                <a:gd name="connsiteY18" fmla="*/ 1692916 h 174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01680" h="1742400">
                  <a:moveTo>
                    <a:pt x="226597" y="1692916"/>
                  </a:moveTo>
                  <a:cubicBezTo>
                    <a:pt x="371626" y="1766973"/>
                    <a:pt x="809797" y="1776230"/>
                    <a:pt x="936311" y="1591087"/>
                  </a:cubicBezTo>
                  <a:cubicBezTo>
                    <a:pt x="1068998" y="1396688"/>
                    <a:pt x="967168" y="961602"/>
                    <a:pt x="914712" y="816573"/>
                  </a:cubicBezTo>
                  <a:cubicBezTo>
                    <a:pt x="846826" y="631430"/>
                    <a:pt x="757340" y="455544"/>
                    <a:pt x="652426" y="288916"/>
                  </a:cubicBezTo>
                  <a:cubicBezTo>
                    <a:pt x="655511" y="288916"/>
                    <a:pt x="655511" y="288916"/>
                    <a:pt x="658597" y="288916"/>
                  </a:cubicBezTo>
                  <a:cubicBezTo>
                    <a:pt x="680197" y="282745"/>
                    <a:pt x="704883" y="227202"/>
                    <a:pt x="726483" y="202516"/>
                  </a:cubicBezTo>
                  <a:cubicBezTo>
                    <a:pt x="748083" y="180916"/>
                    <a:pt x="748083" y="146973"/>
                    <a:pt x="717225" y="143888"/>
                  </a:cubicBezTo>
                  <a:cubicBezTo>
                    <a:pt x="714140" y="143888"/>
                    <a:pt x="711055" y="143888"/>
                    <a:pt x="704883" y="143888"/>
                  </a:cubicBezTo>
                  <a:cubicBezTo>
                    <a:pt x="744998" y="91430"/>
                    <a:pt x="778940" y="20459"/>
                    <a:pt x="711055" y="1944"/>
                  </a:cubicBezTo>
                  <a:cubicBezTo>
                    <a:pt x="670940" y="-10398"/>
                    <a:pt x="643168" y="38973"/>
                    <a:pt x="624654" y="66745"/>
                  </a:cubicBezTo>
                  <a:cubicBezTo>
                    <a:pt x="621569" y="72916"/>
                    <a:pt x="618483" y="79087"/>
                    <a:pt x="612311" y="85259"/>
                  </a:cubicBezTo>
                  <a:cubicBezTo>
                    <a:pt x="603055" y="63659"/>
                    <a:pt x="590712" y="38973"/>
                    <a:pt x="575283" y="20459"/>
                  </a:cubicBezTo>
                  <a:cubicBezTo>
                    <a:pt x="559855" y="1944"/>
                    <a:pt x="522826" y="8116"/>
                    <a:pt x="519740" y="35888"/>
                  </a:cubicBezTo>
                  <a:cubicBezTo>
                    <a:pt x="519740" y="48230"/>
                    <a:pt x="519740" y="60573"/>
                    <a:pt x="519740" y="72916"/>
                  </a:cubicBezTo>
                  <a:cubicBezTo>
                    <a:pt x="507397" y="63659"/>
                    <a:pt x="491969" y="54402"/>
                    <a:pt x="476540" y="54402"/>
                  </a:cubicBezTo>
                  <a:cubicBezTo>
                    <a:pt x="430254" y="48230"/>
                    <a:pt x="417912" y="94516"/>
                    <a:pt x="427168" y="128459"/>
                  </a:cubicBezTo>
                  <a:cubicBezTo>
                    <a:pt x="442597" y="180916"/>
                    <a:pt x="522826" y="282745"/>
                    <a:pt x="569112" y="288916"/>
                  </a:cubicBezTo>
                  <a:cubicBezTo>
                    <a:pt x="334597" y="443202"/>
                    <a:pt x="112426" y="656116"/>
                    <a:pt x="38368" y="930745"/>
                  </a:cubicBezTo>
                  <a:cubicBezTo>
                    <a:pt x="-26431" y="1174516"/>
                    <a:pt x="-35689" y="1560230"/>
                    <a:pt x="226597" y="1692916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C8A9391E-6117-4CA3-B105-DBBDC0728677}"/>
                </a:ext>
              </a:extLst>
            </p:cNvPr>
            <p:cNvGrpSpPr/>
            <p:nvPr/>
          </p:nvGrpSpPr>
          <p:grpSpPr>
            <a:xfrm>
              <a:off x="15864205" y="9467153"/>
              <a:ext cx="178026" cy="432000"/>
              <a:chOff x="15864205" y="9467153"/>
              <a:chExt cx="178026" cy="432000"/>
            </a:xfrm>
            <a:solidFill>
              <a:srgbClr val="38343B"/>
            </a:solidFill>
          </p:grpSpPr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99597A7A-9618-4D9D-81D2-B44424F11083}"/>
                  </a:ext>
                </a:extLst>
              </p:cNvPr>
              <p:cNvSpPr/>
              <p:nvPr/>
            </p:nvSpPr>
            <p:spPr>
              <a:xfrm>
                <a:off x="15864205" y="9472046"/>
                <a:ext cx="178026" cy="427107"/>
              </a:xfrm>
              <a:custGeom>
                <a:avLst/>
                <a:gdLst>
                  <a:gd name="connsiteX0" fmla="*/ 161735 w 178026"/>
                  <a:gd name="connsiteY0" fmla="*/ 427107 h 427107"/>
                  <a:gd name="connsiteX1" fmla="*/ 161735 w 178026"/>
                  <a:gd name="connsiteY1" fmla="*/ 427107 h 427107"/>
                  <a:gd name="connsiteX2" fmla="*/ 155564 w 178026"/>
                  <a:gd name="connsiteY2" fmla="*/ 420935 h 427107"/>
                  <a:gd name="connsiteX3" fmla="*/ 84592 w 178026"/>
                  <a:gd name="connsiteY3" fmla="*/ 10535 h 427107"/>
                  <a:gd name="connsiteX4" fmla="*/ 4364 w 178026"/>
                  <a:gd name="connsiteY4" fmla="*/ 10535 h 427107"/>
                  <a:gd name="connsiteX5" fmla="*/ 1278 w 178026"/>
                  <a:gd name="connsiteY5" fmla="*/ 4364 h 427107"/>
                  <a:gd name="connsiteX6" fmla="*/ 7449 w 178026"/>
                  <a:gd name="connsiteY6" fmla="*/ 1278 h 427107"/>
                  <a:gd name="connsiteX7" fmla="*/ 84592 w 178026"/>
                  <a:gd name="connsiteY7" fmla="*/ 1278 h 427107"/>
                  <a:gd name="connsiteX8" fmla="*/ 87678 w 178026"/>
                  <a:gd name="connsiteY8" fmla="*/ 1278 h 427107"/>
                  <a:gd name="connsiteX9" fmla="*/ 90764 w 178026"/>
                  <a:gd name="connsiteY9" fmla="*/ 4364 h 427107"/>
                  <a:gd name="connsiteX10" fmla="*/ 164821 w 178026"/>
                  <a:gd name="connsiteY10" fmla="*/ 427107 h 427107"/>
                  <a:gd name="connsiteX11" fmla="*/ 161735 w 178026"/>
                  <a:gd name="connsiteY11" fmla="*/ 427107 h 427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8026" h="427107">
                    <a:moveTo>
                      <a:pt x="161735" y="427107"/>
                    </a:moveTo>
                    <a:cubicBezTo>
                      <a:pt x="161735" y="427107"/>
                      <a:pt x="161735" y="427107"/>
                      <a:pt x="161735" y="427107"/>
                    </a:cubicBezTo>
                    <a:cubicBezTo>
                      <a:pt x="155564" y="427107"/>
                      <a:pt x="155564" y="424021"/>
                      <a:pt x="155564" y="420935"/>
                    </a:cubicBezTo>
                    <a:cubicBezTo>
                      <a:pt x="201850" y="272821"/>
                      <a:pt x="100021" y="41392"/>
                      <a:pt x="84592" y="10535"/>
                    </a:cubicBezTo>
                    <a:cubicBezTo>
                      <a:pt x="72249" y="13621"/>
                      <a:pt x="32135" y="16707"/>
                      <a:pt x="4364" y="10535"/>
                    </a:cubicBezTo>
                    <a:cubicBezTo>
                      <a:pt x="1278" y="10535"/>
                      <a:pt x="-1808" y="7450"/>
                      <a:pt x="1278" y="4364"/>
                    </a:cubicBezTo>
                    <a:cubicBezTo>
                      <a:pt x="1278" y="1278"/>
                      <a:pt x="4364" y="-1807"/>
                      <a:pt x="7449" y="1278"/>
                    </a:cubicBezTo>
                    <a:cubicBezTo>
                      <a:pt x="35221" y="10535"/>
                      <a:pt x="84592" y="1278"/>
                      <a:pt x="84592" y="1278"/>
                    </a:cubicBezTo>
                    <a:lnTo>
                      <a:pt x="87678" y="1278"/>
                    </a:lnTo>
                    <a:lnTo>
                      <a:pt x="90764" y="4364"/>
                    </a:lnTo>
                    <a:cubicBezTo>
                      <a:pt x="96936" y="13621"/>
                      <a:pt x="217278" y="263564"/>
                      <a:pt x="164821" y="427107"/>
                    </a:cubicBezTo>
                    <a:cubicBezTo>
                      <a:pt x="167907" y="424021"/>
                      <a:pt x="164821" y="427107"/>
                      <a:pt x="161735" y="4271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67860150-3139-4B95-8DD1-03CEDA6FDC53}"/>
                  </a:ext>
                </a:extLst>
              </p:cNvPr>
              <p:cNvSpPr/>
              <p:nvPr/>
            </p:nvSpPr>
            <p:spPr>
              <a:xfrm>
                <a:off x="15937226" y="9467153"/>
                <a:ext cx="29497" cy="259200"/>
              </a:xfrm>
              <a:custGeom>
                <a:avLst/>
                <a:gdLst>
                  <a:gd name="connsiteX0" fmla="*/ 5400 w 29497"/>
                  <a:gd name="connsiteY0" fmla="*/ 259200 h 259200"/>
                  <a:gd name="connsiteX1" fmla="*/ 2314 w 29497"/>
                  <a:gd name="connsiteY1" fmla="*/ 259200 h 259200"/>
                  <a:gd name="connsiteX2" fmla="*/ 2314 w 29497"/>
                  <a:gd name="connsiteY2" fmla="*/ 249943 h 259200"/>
                  <a:gd name="connsiteX3" fmla="*/ 8486 w 29497"/>
                  <a:gd name="connsiteY3" fmla="*/ 6171 h 259200"/>
                  <a:gd name="connsiteX4" fmla="*/ 14657 w 29497"/>
                  <a:gd name="connsiteY4" fmla="*/ 0 h 259200"/>
                  <a:gd name="connsiteX5" fmla="*/ 20829 w 29497"/>
                  <a:gd name="connsiteY5" fmla="*/ 6171 h 259200"/>
                  <a:gd name="connsiteX6" fmla="*/ 11571 w 29497"/>
                  <a:gd name="connsiteY6" fmla="*/ 256114 h 259200"/>
                  <a:gd name="connsiteX7" fmla="*/ 5400 w 29497"/>
                  <a:gd name="connsiteY7" fmla="*/ 259200 h 259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497" h="259200">
                    <a:moveTo>
                      <a:pt x="5400" y="259200"/>
                    </a:moveTo>
                    <a:cubicBezTo>
                      <a:pt x="5400" y="259200"/>
                      <a:pt x="2314" y="259200"/>
                      <a:pt x="2314" y="259200"/>
                    </a:cubicBezTo>
                    <a:cubicBezTo>
                      <a:pt x="-771" y="256114"/>
                      <a:pt x="-771" y="253028"/>
                      <a:pt x="2314" y="249943"/>
                    </a:cubicBezTo>
                    <a:cubicBezTo>
                      <a:pt x="33172" y="203657"/>
                      <a:pt x="8486" y="9257"/>
                      <a:pt x="8486" y="6171"/>
                    </a:cubicBezTo>
                    <a:cubicBezTo>
                      <a:pt x="8486" y="3086"/>
                      <a:pt x="11571" y="0"/>
                      <a:pt x="14657" y="0"/>
                    </a:cubicBezTo>
                    <a:cubicBezTo>
                      <a:pt x="17743" y="0"/>
                      <a:pt x="20829" y="3086"/>
                      <a:pt x="20829" y="6171"/>
                    </a:cubicBezTo>
                    <a:cubicBezTo>
                      <a:pt x="20829" y="15429"/>
                      <a:pt x="45514" y="209829"/>
                      <a:pt x="11571" y="256114"/>
                    </a:cubicBezTo>
                    <a:cubicBezTo>
                      <a:pt x="8486" y="259200"/>
                      <a:pt x="8486" y="259200"/>
                      <a:pt x="5400" y="2592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2" name="图形 1">
              <a:extLst>
                <a:ext uri="{FF2B5EF4-FFF2-40B4-BE49-F238E27FC236}">
                  <a16:creationId xmlns:a16="http://schemas.microsoft.com/office/drawing/2014/main" id="{BC5A2E0C-4375-4262-8EBF-FCFF12C4DB86}"/>
                </a:ext>
              </a:extLst>
            </p:cNvPr>
            <p:cNvGrpSpPr/>
            <p:nvPr/>
          </p:nvGrpSpPr>
          <p:grpSpPr>
            <a:xfrm>
              <a:off x="15804370" y="9229401"/>
              <a:ext cx="147920" cy="194895"/>
              <a:chOff x="15804370" y="9229401"/>
              <a:chExt cx="147920" cy="194895"/>
            </a:xfrm>
          </p:grpSpPr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FA824315-F49E-4507-AEB9-83F0DBA0CA42}"/>
                  </a:ext>
                </a:extLst>
              </p:cNvPr>
              <p:cNvSpPr/>
              <p:nvPr/>
            </p:nvSpPr>
            <p:spPr>
              <a:xfrm>
                <a:off x="15804370" y="9236318"/>
                <a:ext cx="136663" cy="187977"/>
              </a:xfrm>
              <a:custGeom>
                <a:avLst/>
                <a:gdLst>
                  <a:gd name="connsiteX0" fmla="*/ 2484 w 136663"/>
                  <a:gd name="connsiteY0" fmla="*/ 45692 h 187977"/>
                  <a:gd name="connsiteX1" fmla="*/ 11741 w 136663"/>
                  <a:gd name="connsiteY1" fmla="*/ 8664 h 187977"/>
                  <a:gd name="connsiteX2" fmla="*/ 95056 w 136663"/>
                  <a:gd name="connsiteY2" fmla="*/ 5578 h 187977"/>
                  <a:gd name="connsiteX3" fmla="*/ 107398 w 136663"/>
                  <a:gd name="connsiteY3" fmla="*/ 5578 h 187977"/>
                  <a:gd name="connsiteX4" fmla="*/ 119741 w 136663"/>
                  <a:gd name="connsiteY4" fmla="*/ 11750 h 187977"/>
                  <a:gd name="connsiteX5" fmla="*/ 125913 w 136663"/>
                  <a:gd name="connsiteY5" fmla="*/ 54949 h 187977"/>
                  <a:gd name="connsiteX6" fmla="*/ 122827 w 136663"/>
                  <a:gd name="connsiteY6" fmla="*/ 58035 h 187977"/>
                  <a:gd name="connsiteX7" fmla="*/ 125913 w 136663"/>
                  <a:gd name="connsiteY7" fmla="*/ 61121 h 187977"/>
                  <a:gd name="connsiteX8" fmla="*/ 132084 w 136663"/>
                  <a:gd name="connsiteY8" fmla="*/ 104321 h 187977"/>
                  <a:gd name="connsiteX9" fmla="*/ 119741 w 136663"/>
                  <a:gd name="connsiteY9" fmla="*/ 116664 h 187977"/>
                  <a:gd name="connsiteX10" fmla="*/ 119741 w 136663"/>
                  <a:gd name="connsiteY10" fmla="*/ 141349 h 187977"/>
                  <a:gd name="connsiteX11" fmla="*/ 98141 w 136663"/>
                  <a:gd name="connsiteY11" fmla="*/ 153692 h 187977"/>
                  <a:gd name="connsiteX12" fmla="*/ 98141 w 136663"/>
                  <a:gd name="connsiteY12" fmla="*/ 178378 h 187977"/>
                  <a:gd name="connsiteX13" fmla="*/ 73455 w 136663"/>
                  <a:gd name="connsiteY13" fmla="*/ 187635 h 187977"/>
                  <a:gd name="connsiteX14" fmla="*/ 39512 w 136663"/>
                  <a:gd name="connsiteY14" fmla="*/ 187635 h 187977"/>
                  <a:gd name="connsiteX15" fmla="*/ 17913 w 136663"/>
                  <a:gd name="connsiteY15" fmla="*/ 178378 h 187977"/>
                  <a:gd name="connsiteX16" fmla="*/ 24084 w 136663"/>
                  <a:gd name="connsiteY16" fmla="*/ 153692 h 187977"/>
                  <a:gd name="connsiteX17" fmla="*/ 24084 w 136663"/>
                  <a:gd name="connsiteY17" fmla="*/ 153692 h 187977"/>
                  <a:gd name="connsiteX18" fmla="*/ 8655 w 136663"/>
                  <a:gd name="connsiteY18" fmla="*/ 141349 h 187977"/>
                  <a:gd name="connsiteX19" fmla="*/ 17913 w 136663"/>
                  <a:gd name="connsiteY19" fmla="*/ 110492 h 187977"/>
                  <a:gd name="connsiteX20" fmla="*/ 8655 w 136663"/>
                  <a:gd name="connsiteY20" fmla="*/ 98149 h 187977"/>
                  <a:gd name="connsiteX21" fmla="*/ 14827 w 136663"/>
                  <a:gd name="connsiteY21" fmla="*/ 64207 h 187977"/>
                  <a:gd name="connsiteX22" fmla="*/ 2484 w 136663"/>
                  <a:gd name="connsiteY22" fmla="*/ 45692 h 187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6663" h="187977">
                    <a:moveTo>
                      <a:pt x="2484" y="45692"/>
                    </a:moveTo>
                    <a:cubicBezTo>
                      <a:pt x="-3687" y="30264"/>
                      <a:pt x="2484" y="14835"/>
                      <a:pt x="11741" y="8664"/>
                    </a:cubicBezTo>
                    <a:cubicBezTo>
                      <a:pt x="36426" y="-6765"/>
                      <a:pt x="64199" y="2492"/>
                      <a:pt x="95056" y="5578"/>
                    </a:cubicBezTo>
                    <a:cubicBezTo>
                      <a:pt x="98141" y="5578"/>
                      <a:pt x="107398" y="2492"/>
                      <a:pt x="107398" y="5578"/>
                    </a:cubicBezTo>
                    <a:cubicBezTo>
                      <a:pt x="110484" y="5578"/>
                      <a:pt x="116655" y="8664"/>
                      <a:pt x="119741" y="11750"/>
                    </a:cubicBezTo>
                    <a:cubicBezTo>
                      <a:pt x="128998" y="21006"/>
                      <a:pt x="135170" y="39521"/>
                      <a:pt x="125913" y="54949"/>
                    </a:cubicBezTo>
                    <a:cubicBezTo>
                      <a:pt x="125913" y="54949"/>
                      <a:pt x="125913" y="58035"/>
                      <a:pt x="122827" y="58035"/>
                    </a:cubicBezTo>
                    <a:cubicBezTo>
                      <a:pt x="122827" y="58035"/>
                      <a:pt x="125913" y="58035"/>
                      <a:pt x="125913" y="61121"/>
                    </a:cubicBezTo>
                    <a:cubicBezTo>
                      <a:pt x="135170" y="70378"/>
                      <a:pt x="141342" y="88892"/>
                      <a:pt x="132084" y="104321"/>
                    </a:cubicBezTo>
                    <a:cubicBezTo>
                      <a:pt x="128998" y="110492"/>
                      <a:pt x="125913" y="113578"/>
                      <a:pt x="119741" y="116664"/>
                    </a:cubicBezTo>
                    <a:cubicBezTo>
                      <a:pt x="122827" y="125921"/>
                      <a:pt x="122827" y="135178"/>
                      <a:pt x="119741" y="141349"/>
                    </a:cubicBezTo>
                    <a:cubicBezTo>
                      <a:pt x="113569" y="150607"/>
                      <a:pt x="107398" y="153692"/>
                      <a:pt x="98141" y="153692"/>
                    </a:cubicBezTo>
                    <a:cubicBezTo>
                      <a:pt x="101227" y="159863"/>
                      <a:pt x="104313" y="169121"/>
                      <a:pt x="98141" y="178378"/>
                    </a:cubicBezTo>
                    <a:cubicBezTo>
                      <a:pt x="91970" y="190721"/>
                      <a:pt x="79627" y="187635"/>
                      <a:pt x="73455" y="187635"/>
                    </a:cubicBezTo>
                    <a:cubicBezTo>
                      <a:pt x="61113" y="187635"/>
                      <a:pt x="51855" y="187635"/>
                      <a:pt x="39512" y="187635"/>
                    </a:cubicBezTo>
                    <a:cubicBezTo>
                      <a:pt x="33342" y="187635"/>
                      <a:pt x="20998" y="187635"/>
                      <a:pt x="17913" y="178378"/>
                    </a:cubicBezTo>
                    <a:cubicBezTo>
                      <a:pt x="14827" y="169121"/>
                      <a:pt x="17913" y="159863"/>
                      <a:pt x="24084" y="153692"/>
                    </a:cubicBezTo>
                    <a:lnTo>
                      <a:pt x="24084" y="153692"/>
                    </a:lnTo>
                    <a:cubicBezTo>
                      <a:pt x="17913" y="153692"/>
                      <a:pt x="11741" y="150607"/>
                      <a:pt x="8655" y="141349"/>
                    </a:cubicBezTo>
                    <a:cubicBezTo>
                      <a:pt x="5569" y="129006"/>
                      <a:pt x="8655" y="116664"/>
                      <a:pt x="17913" y="110492"/>
                    </a:cubicBezTo>
                    <a:cubicBezTo>
                      <a:pt x="14827" y="107406"/>
                      <a:pt x="8655" y="104321"/>
                      <a:pt x="8655" y="98149"/>
                    </a:cubicBezTo>
                    <a:cubicBezTo>
                      <a:pt x="2484" y="85806"/>
                      <a:pt x="8655" y="73464"/>
                      <a:pt x="14827" y="64207"/>
                    </a:cubicBezTo>
                    <a:cubicBezTo>
                      <a:pt x="11741" y="58035"/>
                      <a:pt x="5569" y="51863"/>
                      <a:pt x="2484" y="4569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C97533FC-F480-45BC-8428-91F103247C6D}"/>
                  </a:ext>
                </a:extLst>
              </p:cNvPr>
              <p:cNvSpPr/>
              <p:nvPr/>
            </p:nvSpPr>
            <p:spPr>
              <a:xfrm>
                <a:off x="15806855" y="9229401"/>
                <a:ext cx="145436" cy="123580"/>
              </a:xfrm>
              <a:custGeom>
                <a:avLst/>
                <a:gdLst>
                  <a:gd name="connsiteX0" fmla="*/ 89486 w 145436"/>
                  <a:gd name="connsiteY0" fmla="*/ 123581 h 123580"/>
                  <a:gd name="connsiteX1" fmla="*/ 83314 w 145436"/>
                  <a:gd name="connsiteY1" fmla="*/ 123581 h 123580"/>
                  <a:gd name="connsiteX2" fmla="*/ 0 w 145436"/>
                  <a:gd name="connsiteY2" fmla="*/ 83467 h 123580"/>
                  <a:gd name="connsiteX3" fmla="*/ 9257 w 145436"/>
                  <a:gd name="connsiteY3" fmla="*/ 61867 h 123580"/>
                  <a:gd name="connsiteX4" fmla="*/ 21599 w 145436"/>
                  <a:gd name="connsiteY4" fmla="*/ 58781 h 123580"/>
                  <a:gd name="connsiteX5" fmla="*/ 126514 w 145436"/>
                  <a:gd name="connsiteY5" fmla="*/ 40267 h 123580"/>
                  <a:gd name="connsiteX6" fmla="*/ 123429 w 145436"/>
                  <a:gd name="connsiteY6" fmla="*/ 27924 h 123580"/>
                  <a:gd name="connsiteX7" fmla="*/ 46286 w 145436"/>
                  <a:gd name="connsiteY7" fmla="*/ 12495 h 123580"/>
                  <a:gd name="connsiteX8" fmla="*/ 40114 w 145436"/>
                  <a:gd name="connsiteY8" fmla="*/ 6324 h 123580"/>
                  <a:gd name="connsiteX9" fmla="*/ 46286 w 145436"/>
                  <a:gd name="connsiteY9" fmla="*/ 152 h 123580"/>
                  <a:gd name="connsiteX10" fmla="*/ 132685 w 145436"/>
                  <a:gd name="connsiteY10" fmla="*/ 18667 h 123580"/>
                  <a:gd name="connsiteX11" fmla="*/ 138857 w 145436"/>
                  <a:gd name="connsiteY11" fmla="*/ 40267 h 123580"/>
                  <a:gd name="connsiteX12" fmla="*/ 132685 w 145436"/>
                  <a:gd name="connsiteY12" fmla="*/ 52609 h 123580"/>
                  <a:gd name="connsiteX13" fmla="*/ 145028 w 145436"/>
                  <a:gd name="connsiteY13" fmla="*/ 95810 h 123580"/>
                  <a:gd name="connsiteX14" fmla="*/ 89486 w 145436"/>
                  <a:gd name="connsiteY14" fmla="*/ 123581 h 123580"/>
                  <a:gd name="connsiteX15" fmla="*/ 18514 w 145436"/>
                  <a:gd name="connsiteY15" fmla="*/ 68038 h 123580"/>
                  <a:gd name="connsiteX16" fmla="*/ 18514 w 145436"/>
                  <a:gd name="connsiteY16" fmla="*/ 68038 h 123580"/>
                  <a:gd name="connsiteX17" fmla="*/ 12343 w 145436"/>
                  <a:gd name="connsiteY17" fmla="*/ 83467 h 123580"/>
                  <a:gd name="connsiteX18" fmla="*/ 83314 w 145436"/>
                  <a:gd name="connsiteY18" fmla="*/ 114324 h 123580"/>
                  <a:gd name="connsiteX19" fmla="*/ 132685 w 145436"/>
                  <a:gd name="connsiteY19" fmla="*/ 98895 h 123580"/>
                  <a:gd name="connsiteX20" fmla="*/ 123429 w 145436"/>
                  <a:gd name="connsiteY20" fmla="*/ 68038 h 123580"/>
                  <a:gd name="connsiteX21" fmla="*/ 18514 w 145436"/>
                  <a:gd name="connsiteY21" fmla="*/ 68038 h 123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45436" h="123580">
                    <a:moveTo>
                      <a:pt x="89486" y="123581"/>
                    </a:moveTo>
                    <a:cubicBezTo>
                      <a:pt x="86400" y="123581"/>
                      <a:pt x="83314" y="123581"/>
                      <a:pt x="83314" y="123581"/>
                    </a:cubicBezTo>
                    <a:cubicBezTo>
                      <a:pt x="30857" y="123581"/>
                      <a:pt x="0" y="108152"/>
                      <a:pt x="0" y="83467"/>
                    </a:cubicBezTo>
                    <a:cubicBezTo>
                      <a:pt x="0" y="74209"/>
                      <a:pt x="3085" y="64953"/>
                      <a:pt x="9257" y="61867"/>
                    </a:cubicBezTo>
                    <a:cubicBezTo>
                      <a:pt x="15429" y="58781"/>
                      <a:pt x="18514" y="58781"/>
                      <a:pt x="21599" y="58781"/>
                    </a:cubicBezTo>
                    <a:cubicBezTo>
                      <a:pt x="117257" y="77295"/>
                      <a:pt x="123429" y="55695"/>
                      <a:pt x="126514" y="40267"/>
                    </a:cubicBezTo>
                    <a:cubicBezTo>
                      <a:pt x="126514" y="34095"/>
                      <a:pt x="126514" y="31010"/>
                      <a:pt x="123429" y="27924"/>
                    </a:cubicBezTo>
                    <a:cubicBezTo>
                      <a:pt x="111085" y="12495"/>
                      <a:pt x="61714" y="12495"/>
                      <a:pt x="46286" y="12495"/>
                    </a:cubicBezTo>
                    <a:cubicBezTo>
                      <a:pt x="43200" y="12495"/>
                      <a:pt x="40114" y="9410"/>
                      <a:pt x="40114" y="6324"/>
                    </a:cubicBezTo>
                    <a:cubicBezTo>
                      <a:pt x="40114" y="3238"/>
                      <a:pt x="43200" y="152"/>
                      <a:pt x="46286" y="152"/>
                    </a:cubicBezTo>
                    <a:cubicBezTo>
                      <a:pt x="52457" y="152"/>
                      <a:pt x="114171" y="-2934"/>
                      <a:pt x="132685" y="18667"/>
                    </a:cubicBezTo>
                    <a:cubicBezTo>
                      <a:pt x="138857" y="24838"/>
                      <a:pt x="138857" y="31010"/>
                      <a:pt x="138857" y="40267"/>
                    </a:cubicBezTo>
                    <a:cubicBezTo>
                      <a:pt x="138857" y="43352"/>
                      <a:pt x="135771" y="49524"/>
                      <a:pt x="132685" y="52609"/>
                    </a:cubicBezTo>
                    <a:cubicBezTo>
                      <a:pt x="132685" y="52609"/>
                      <a:pt x="148114" y="74209"/>
                      <a:pt x="145028" y="95810"/>
                    </a:cubicBezTo>
                    <a:cubicBezTo>
                      <a:pt x="138857" y="120495"/>
                      <a:pt x="117257" y="123581"/>
                      <a:pt x="89486" y="123581"/>
                    </a:cubicBezTo>
                    <a:close/>
                    <a:moveTo>
                      <a:pt x="18514" y="68038"/>
                    </a:moveTo>
                    <a:cubicBezTo>
                      <a:pt x="18514" y="68038"/>
                      <a:pt x="15429" y="68038"/>
                      <a:pt x="18514" y="68038"/>
                    </a:cubicBezTo>
                    <a:cubicBezTo>
                      <a:pt x="15429" y="71124"/>
                      <a:pt x="12343" y="74209"/>
                      <a:pt x="12343" y="83467"/>
                    </a:cubicBezTo>
                    <a:cubicBezTo>
                      <a:pt x="12343" y="108152"/>
                      <a:pt x="61714" y="111238"/>
                      <a:pt x="83314" y="114324"/>
                    </a:cubicBezTo>
                    <a:cubicBezTo>
                      <a:pt x="117257" y="114324"/>
                      <a:pt x="129599" y="111238"/>
                      <a:pt x="132685" y="98895"/>
                    </a:cubicBezTo>
                    <a:cubicBezTo>
                      <a:pt x="135771" y="86552"/>
                      <a:pt x="129599" y="74209"/>
                      <a:pt x="123429" y="68038"/>
                    </a:cubicBezTo>
                    <a:cubicBezTo>
                      <a:pt x="108000" y="77295"/>
                      <a:pt x="80228" y="80381"/>
                      <a:pt x="18514" y="6803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E835158F-9FC4-4A57-9935-007C6AD3F2C7}"/>
                  </a:ext>
                </a:extLst>
              </p:cNvPr>
              <p:cNvSpPr/>
              <p:nvPr/>
            </p:nvSpPr>
            <p:spPr>
              <a:xfrm>
                <a:off x="15809940" y="9333096"/>
                <a:ext cx="131615" cy="63085"/>
              </a:xfrm>
              <a:custGeom>
                <a:avLst/>
                <a:gdLst>
                  <a:gd name="connsiteX0" fmla="*/ 70972 w 131615"/>
                  <a:gd name="connsiteY0" fmla="*/ 63086 h 63085"/>
                  <a:gd name="connsiteX1" fmla="*/ 9258 w 131615"/>
                  <a:gd name="connsiteY1" fmla="*/ 50743 h 63085"/>
                  <a:gd name="connsiteX2" fmla="*/ 0 w 131615"/>
                  <a:gd name="connsiteY2" fmla="*/ 35314 h 63085"/>
                  <a:gd name="connsiteX3" fmla="*/ 12344 w 131615"/>
                  <a:gd name="connsiteY3" fmla="*/ 1371 h 63085"/>
                  <a:gd name="connsiteX4" fmla="*/ 21600 w 131615"/>
                  <a:gd name="connsiteY4" fmla="*/ 1371 h 63085"/>
                  <a:gd name="connsiteX5" fmla="*/ 21600 w 131615"/>
                  <a:gd name="connsiteY5" fmla="*/ 10629 h 63085"/>
                  <a:gd name="connsiteX6" fmla="*/ 12344 w 131615"/>
                  <a:gd name="connsiteY6" fmla="*/ 35314 h 63085"/>
                  <a:gd name="connsiteX7" fmla="*/ 15429 w 131615"/>
                  <a:gd name="connsiteY7" fmla="*/ 41486 h 63085"/>
                  <a:gd name="connsiteX8" fmla="*/ 98743 w 131615"/>
                  <a:gd name="connsiteY8" fmla="*/ 50743 h 63085"/>
                  <a:gd name="connsiteX9" fmla="*/ 117258 w 131615"/>
                  <a:gd name="connsiteY9" fmla="*/ 41486 h 63085"/>
                  <a:gd name="connsiteX10" fmla="*/ 120344 w 131615"/>
                  <a:gd name="connsiteY10" fmla="*/ 16800 h 63085"/>
                  <a:gd name="connsiteX11" fmla="*/ 123429 w 131615"/>
                  <a:gd name="connsiteY11" fmla="*/ 10629 h 63085"/>
                  <a:gd name="connsiteX12" fmla="*/ 129600 w 131615"/>
                  <a:gd name="connsiteY12" fmla="*/ 13714 h 63085"/>
                  <a:gd name="connsiteX13" fmla="*/ 126514 w 131615"/>
                  <a:gd name="connsiteY13" fmla="*/ 47657 h 63085"/>
                  <a:gd name="connsiteX14" fmla="*/ 101829 w 131615"/>
                  <a:gd name="connsiteY14" fmla="*/ 63086 h 63085"/>
                  <a:gd name="connsiteX15" fmla="*/ 70972 w 131615"/>
                  <a:gd name="connsiteY15" fmla="*/ 63086 h 63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1615" h="63085">
                    <a:moveTo>
                      <a:pt x="70972" y="63086"/>
                    </a:moveTo>
                    <a:cubicBezTo>
                      <a:pt x="43201" y="63086"/>
                      <a:pt x="18514" y="56914"/>
                      <a:pt x="9258" y="50743"/>
                    </a:cubicBezTo>
                    <a:cubicBezTo>
                      <a:pt x="6172" y="47657"/>
                      <a:pt x="3086" y="44572"/>
                      <a:pt x="0" y="35314"/>
                    </a:cubicBezTo>
                    <a:cubicBezTo>
                      <a:pt x="0" y="22972"/>
                      <a:pt x="6172" y="7543"/>
                      <a:pt x="12344" y="1371"/>
                    </a:cubicBezTo>
                    <a:cubicBezTo>
                      <a:pt x="15429" y="-1714"/>
                      <a:pt x="18514" y="1371"/>
                      <a:pt x="21600" y="1371"/>
                    </a:cubicBezTo>
                    <a:cubicBezTo>
                      <a:pt x="24686" y="4457"/>
                      <a:pt x="21600" y="7543"/>
                      <a:pt x="21600" y="10629"/>
                    </a:cubicBezTo>
                    <a:cubicBezTo>
                      <a:pt x="18514" y="13714"/>
                      <a:pt x="12344" y="26057"/>
                      <a:pt x="12344" y="35314"/>
                    </a:cubicBezTo>
                    <a:cubicBezTo>
                      <a:pt x="12344" y="38400"/>
                      <a:pt x="12344" y="41486"/>
                      <a:pt x="15429" y="41486"/>
                    </a:cubicBezTo>
                    <a:cubicBezTo>
                      <a:pt x="24686" y="47657"/>
                      <a:pt x="64800" y="56914"/>
                      <a:pt x="98743" y="50743"/>
                    </a:cubicBezTo>
                    <a:cubicBezTo>
                      <a:pt x="108000" y="50743"/>
                      <a:pt x="114172" y="44572"/>
                      <a:pt x="117258" y="41486"/>
                    </a:cubicBezTo>
                    <a:cubicBezTo>
                      <a:pt x="123429" y="32228"/>
                      <a:pt x="120344" y="16800"/>
                      <a:pt x="120344" y="16800"/>
                    </a:cubicBezTo>
                    <a:cubicBezTo>
                      <a:pt x="120344" y="13714"/>
                      <a:pt x="120344" y="10629"/>
                      <a:pt x="123429" y="10629"/>
                    </a:cubicBezTo>
                    <a:cubicBezTo>
                      <a:pt x="126514" y="10629"/>
                      <a:pt x="129600" y="10629"/>
                      <a:pt x="129600" y="13714"/>
                    </a:cubicBezTo>
                    <a:cubicBezTo>
                      <a:pt x="129600" y="13714"/>
                      <a:pt x="135772" y="35314"/>
                      <a:pt x="126514" y="47657"/>
                    </a:cubicBezTo>
                    <a:cubicBezTo>
                      <a:pt x="120344" y="56914"/>
                      <a:pt x="114172" y="60000"/>
                      <a:pt x="101829" y="63086"/>
                    </a:cubicBezTo>
                    <a:cubicBezTo>
                      <a:pt x="89486" y="63086"/>
                      <a:pt x="80229" y="63086"/>
                      <a:pt x="70972" y="6308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3" name="图形 1">
              <a:extLst>
                <a:ext uri="{FF2B5EF4-FFF2-40B4-BE49-F238E27FC236}">
                  <a16:creationId xmlns:a16="http://schemas.microsoft.com/office/drawing/2014/main" id="{C7F912C4-CDF8-4FB8-AD37-5D0BA636E21B}"/>
                </a:ext>
              </a:extLst>
            </p:cNvPr>
            <p:cNvGrpSpPr/>
            <p:nvPr/>
          </p:nvGrpSpPr>
          <p:grpSpPr>
            <a:xfrm>
              <a:off x="16601629" y="9267723"/>
              <a:ext cx="1001679" cy="1742400"/>
              <a:chOff x="16601629" y="9267723"/>
              <a:chExt cx="1001679" cy="1742400"/>
            </a:xfrm>
          </p:grpSpPr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37615F54-AE0D-4728-AB02-0CAD2506E575}"/>
                  </a:ext>
                </a:extLst>
              </p:cNvPr>
              <p:cNvSpPr/>
              <p:nvPr/>
            </p:nvSpPr>
            <p:spPr>
              <a:xfrm>
                <a:off x="16601629" y="9267723"/>
                <a:ext cx="1001679" cy="1742400"/>
              </a:xfrm>
              <a:custGeom>
                <a:avLst/>
                <a:gdLst>
                  <a:gd name="connsiteX0" fmla="*/ 226597 w 1001679"/>
                  <a:gd name="connsiteY0" fmla="*/ 1692916 h 1742400"/>
                  <a:gd name="connsiteX1" fmla="*/ 936311 w 1001679"/>
                  <a:gd name="connsiteY1" fmla="*/ 1591087 h 1742400"/>
                  <a:gd name="connsiteX2" fmla="*/ 914712 w 1001679"/>
                  <a:gd name="connsiteY2" fmla="*/ 816573 h 1742400"/>
                  <a:gd name="connsiteX3" fmla="*/ 652426 w 1001679"/>
                  <a:gd name="connsiteY3" fmla="*/ 288916 h 1742400"/>
                  <a:gd name="connsiteX4" fmla="*/ 658597 w 1001679"/>
                  <a:gd name="connsiteY4" fmla="*/ 288916 h 1742400"/>
                  <a:gd name="connsiteX5" fmla="*/ 726483 w 1001679"/>
                  <a:gd name="connsiteY5" fmla="*/ 202516 h 1742400"/>
                  <a:gd name="connsiteX6" fmla="*/ 717226 w 1001679"/>
                  <a:gd name="connsiteY6" fmla="*/ 143887 h 1742400"/>
                  <a:gd name="connsiteX7" fmla="*/ 704883 w 1001679"/>
                  <a:gd name="connsiteY7" fmla="*/ 143887 h 1742400"/>
                  <a:gd name="connsiteX8" fmla="*/ 711054 w 1001679"/>
                  <a:gd name="connsiteY8" fmla="*/ 1945 h 1742400"/>
                  <a:gd name="connsiteX9" fmla="*/ 624655 w 1001679"/>
                  <a:gd name="connsiteY9" fmla="*/ 66744 h 1742400"/>
                  <a:gd name="connsiteX10" fmla="*/ 612311 w 1001679"/>
                  <a:gd name="connsiteY10" fmla="*/ 85259 h 1742400"/>
                  <a:gd name="connsiteX11" fmla="*/ 575283 w 1001679"/>
                  <a:gd name="connsiteY11" fmla="*/ 20459 h 1742400"/>
                  <a:gd name="connsiteX12" fmla="*/ 519740 w 1001679"/>
                  <a:gd name="connsiteY12" fmla="*/ 35887 h 1742400"/>
                  <a:gd name="connsiteX13" fmla="*/ 519740 w 1001679"/>
                  <a:gd name="connsiteY13" fmla="*/ 72916 h 1742400"/>
                  <a:gd name="connsiteX14" fmla="*/ 476540 w 1001679"/>
                  <a:gd name="connsiteY14" fmla="*/ 54402 h 1742400"/>
                  <a:gd name="connsiteX15" fmla="*/ 427168 w 1001679"/>
                  <a:gd name="connsiteY15" fmla="*/ 128459 h 1742400"/>
                  <a:gd name="connsiteX16" fmla="*/ 569111 w 1001679"/>
                  <a:gd name="connsiteY16" fmla="*/ 288916 h 1742400"/>
                  <a:gd name="connsiteX17" fmla="*/ 38369 w 1001679"/>
                  <a:gd name="connsiteY17" fmla="*/ 930744 h 1742400"/>
                  <a:gd name="connsiteX18" fmla="*/ 226597 w 1001679"/>
                  <a:gd name="connsiteY18" fmla="*/ 1692916 h 174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01679" h="1742400">
                    <a:moveTo>
                      <a:pt x="226597" y="1692916"/>
                    </a:moveTo>
                    <a:cubicBezTo>
                      <a:pt x="371626" y="1766973"/>
                      <a:pt x="809798" y="1776230"/>
                      <a:pt x="936311" y="1591087"/>
                    </a:cubicBezTo>
                    <a:cubicBezTo>
                      <a:pt x="1068997" y="1396687"/>
                      <a:pt x="967168" y="961602"/>
                      <a:pt x="914712" y="816573"/>
                    </a:cubicBezTo>
                    <a:cubicBezTo>
                      <a:pt x="846826" y="631431"/>
                      <a:pt x="757340" y="455545"/>
                      <a:pt x="652426" y="288916"/>
                    </a:cubicBezTo>
                    <a:cubicBezTo>
                      <a:pt x="655512" y="288916"/>
                      <a:pt x="655512" y="288916"/>
                      <a:pt x="658597" y="288916"/>
                    </a:cubicBezTo>
                    <a:cubicBezTo>
                      <a:pt x="680197" y="282744"/>
                      <a:pt x="704883" y="227202"/>
                      <a:pt x="726483" y="202516"/>
                    </a:cubicBezTo>
                    <a:cubicBezTo>
                      <a:pt x="748083" y="180916"/>
                      <a:pt x="748083" y="146973"/>
                      <a:pt x="717226" y="143887"/>
                    </a:cubicBezTo>
                    <a:cubicBezTo>
                      <a:pt x="714140" y="143887"/>
                      <a:pt x="711054" y="143887"/>
                      <a:pt x="704883" y="143887"/>
                    </a:cubicBezTo>
                    <a:cubicBezTo>
                      <a:pt x="744997" y="91430"/>
                      <a:pt x="778940" y="20459"/>
                      <a:pt x="711054" y="1945"/>
                    </a:cubicBezTo>
                    <a:cubicBezTo>
                      <a:pt x="670940" y="-10399"/>
                      <a:pt x="643168" y="38973"/>
                      <a:pt x="624655" y="66744"/>
                    </a:cubicBezTo>
                    <a:cubicBezTo>
                      <a:pt x="621569" y="72916"/>
                      <a:pt x="618483" y="79087"/>
                      <a:pt x="612311" y="85259"/>
                    </a:cubicBezTo>
                    <a:cubicBezTo>
                      <a:pt x="603054" y="63659"/>
                      <a:pt x="590712" y="38973"/>
                      <a:pt x="575283" y="20459"/>
                    </a:cubicBezTo>
                    <a:cubicBezTo>
                      <a:pt x="559855" y="1945"/>
                      <a:pt x="522826" y="8116"/>
                      <a:pt x="519740" y="35887"/>
                    </a:cubicBezTo>
                    <a:cubicBezTo>
                      <a:pt x="519740" y="48230"/>
                      <a:pt x="519740" y="60573"/>
                      <a:pt x="519740" y="72916"/>
                    </a:cubicBezTo>
                    <a:cubicBezTo>
                      <a:pt x="507397" y="63659"/>
                      <a:pt x="491968" y="54402"/>
                      <a:pt x="476540" y="54402"/>
                    </a:cubicBezTo>
                    <a:cubicBezTo>
                      <a:pt x="430254" y="48230"/>
                      <a:pt x="417911" y="94516"/>
                      <a:pt x="427168" y="128459"/>
                    </a:cubicBezTo>
                    <a:cubicBezTo>
                      <a:pt x="442597" y="180916"/>
                      <a:pt x="522826" y="282744"/>
                      <a:pt x="569111" y="288916"/>
                    </a:cubicBezTo>
                    <a:cubicBezTo>
                      <a:pt x="334597" y="443202"/>
                      <a:pt x="112426" y="656116"/>
                      <a:pt x="38369" y="930744"/>
                    </a:cubicBezTo>
                    <a:cubicBezTo>
                      <a:pt x="-26431" y="1171431"/>
                      <a:pt x="-35689" y="1560230"/>
                      <a:pt x="226597" y="169291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43" name="图形 1">
                <a:extLst>
                  <a:ext uri="{FF2B5EF4-FFF2-40B4-BE49-F238E27FC236}">
                    <a16:creationId xmlns:a16="http://schemas.microsoft.com/office/drawing/2014/main" id="{6CA4BED3-8F0F-4742-81C3-69AE803C2831}"/>
                  </a:ext>
                </a:extLst>
              </p:cNvPr>
              <p:cNvGrpSpPr/>
              <p:nvPr/>
            </p:nvGrpSpPr>
            <p:grpSpPr>
              <a:xfrm>
                <a:off x="17166376" y="9550467"/>
                <a:ext cx="178026" cy="432000"/>
                <a:chOff x="17166376" y="9550467"/>
                <a:chExt cx="178026" cy="432000"/>
              </a:xfrm>
              <a:solidFill>
                <a:srgbClr val="38343B"/>
              </a:solidFill>
            </p:grpSpPr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B841E1DD-ADE7-490D-9A29-D42A1E82EB13}"/>
                    </a:ext>
                  </a:extLst>
                </p:cNvPr>
                <p:cNvSpPr/>
                <p:nvPr/>
              </p:nvSpPr>
              <p:spPr>
                <a:xfrm>
                  <a:off x="17166376" y="9555361"/>
                  <a:ext cx="178026" cy="427106"/>
                </a:xfrm>
                <a:custGeom>
                  <a:avLst/>
                  <a:gdLst>
                    <a:gd name="connsiteX0" fmla="*/ 161735 w 178026"/>
                    <a:gd name="connsiteY0" fmla="*/ 427106 h 427106"/>
                    <a:gd name="connsiteX1" fmla="*/ 161735 w 178026"/>
                    <a:gd name="connsiteY1" fmla="*/ 427106 h 427106"/>
                    <a:gd name="connsiteX2" fmla="*/ 155564 w 178026"/>
                    <a:gd name="connsiteY2" fmla="*/ 420936 h 427106"/>
                    <a:gd name="connsiteX3" fmla="*/ 84592 w 178026"/>
                    <a:gd name="connsiteY3" fmla="*/ 10535 h 427106"/>
                    <a:gd name="connsiteX4" fmla="*/ 4364 w 178026"/>
                    <a:gd name="connsiteY4" fmla="*/ 10535 h 427106"/>
                    <a:gd name="connsiteX5" fmla="*/ 1278 w 178026"/>
                    <a:gd name="connsiteY5" fmla="*/ 4364 h 427106"/>
                    <a:gd name="connsiteX6" fmla="*/ 7450 w 178026"/>
                    <a:gd name="connsiteY6" fmla="*/ 1278 h 427106"/>
                    <a:gd name="connsiteX7" fmla="*/ 84592 w 178026"/>
                    <a:gd name="connsiteY7" fmla="*/ 1278 h 427106"/>
                    <a:gd name="connsiteX8" fmla="*/ 87678 w 178026"/>
                    <a:gd name="connsiteY8" fmla="*/ 1278 h 427106"/>
                    <a:gd name="connsiteX9" fmla="*/ 90764 w 178026"/>
                    <a:gd name="connsiteY9" fmla="*/ 4364 h 427106"/>
                    <a:gd name="connsiteX10" fmla="*/ 164821 w 178026"/>
                    <a:gd name="connsiteY10" fmla="*/ 427106 h 427106"/>
                    <a:gd name="connsiteX11" fmla="*/ 161735 w 178026"/>
                    <a:gd name="connsiteY11" fmla="*/ 427106 h 4271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8026" h="427106">
                      <a:moveTo>
                        <a:pt x="161735" y="427106"/>
                      </a:moveTo>
                      <a:cubicBezTo>
                        <a:pt x="161735" y="427106"/>
                        <a:pt x="161735" y="427106"/>
                        <a:pt x="161735" y="427106"/>
                      </a:cubicBezTo>
                      <a:cubicBezTo>
                        <a:pt x="155564" y="427106"/>
                        <a:pt x="155564" y="424021"/>
                        <a:pt x="155564" y="420936"/>
                      </a:cubicBezTo>
                      <a:cubicBezTo>
                        <a:pt x="201849" y="272821"/>
                        <a:pt x="100021" y="41392"/>
                        <a:pt x="84592" y="10535"/>
                      </a:cubicBezTo>
                      <a:cubicBezTo>
                        <a:pt x="72250" y="13621"/>
                        <a:pt x="32135" y="16707"/>
                        <a:pt x="4364" y="10535"/>
                      </a:cubicBezTo>
                      <a:cubicBezTo>
                        <a:pt x="1278" y="10535"/>
                        <a:pt x="-1807" y="7450"/>
                        <a:pt x="1278" y="4364"/>
                      </a:cubicBezTo>
                      <a:cubicBezTo>
                        <a:pt x="1278" y="1278"/>
                        <a:pt x="4364" y="-1808"/>
                        <a:pt x="7450" y="1278"/>
                      </a:cubicBezTo>
                      <a:cubicBezTo>
                        <a:pt x="35221" y="10535"/>
                        <a:pt x="84592" y="1278"/>
                        <a:pt x="84592" y="1278"/>
                      </a:cubicBezTo>
                      <a:lnTo>
                        <a:pt x="87678" y="1278"/>
                      </a:lnTo>
                      <a:lnTo>
                        <a:pt x="90764" y="4364"/>
                      </a:lnTo>
                      <a:cubicBezTo>
                        <a:pt x="96935" y="13621"/>
                        <a:pt x="217278" y="263564"/>
                        <a:pt x="164821" y="427106"/>
                      </a:cubicBezTo>
                      <a:cubicBezTo>
                        <a:pt x="167907" y="427106"/>
                        <a:pt x="164821" y="427106"/>
                        <a:pt x="161735" y="427106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96B04062-FA0A-49AB-9DED-59062F617B2A}"/>
                    </a:ext>
                  </a:extLst>
                </p:cNvPr>
                <p:cNvSpPr/>
                <p:nvPr/>
              </p:nvSpPr>
              <p:spPr>
                <a:xfrm>
                  <a:off x="17239397" y="9550467"/>
                  <a:ext cx="29497" cy="259199"/>
                </a:xfrm>
                <a:custGeom>
                  <a:avLst/>
                  <a:gdLst>
                    <a:gd name="connsiteX0" fmla="*/ 5399 w 29497"/>
                    <a:gd name="connsiteY0" fmla="*/ 259200 h 259199"/>
                    <a:gd name="connsiteX1" fmla="*/ 2314 w 29497"/>
                    <a:gd name="connsiteY1" fmla="*/ 259200 h 259199"/>
                    <a:gd name="connsiteX2" fmla="*/ 2314 w 29497"/>
                    <a:gd name="connsiteY2" fmla="*/ 249943 h 259199"/>
                    <a:gd name="connsiteX3" fmla="*/ 8485 w 29497"/>
                    <a:gd name="connsiteY3" fmla="*/ 6172 h 259199"/>
                    <a:gd name="connsiteX4" fmla="*/ 14657 w 29497"/>
                    <a:gd name="connsiteY4" fmla="*/ 0 h 259199"/>
                    <a:gd name="connsiteX5" fmla="*/ 20828 w 29497"/>
                    <a:gd name="connsiteY5" fmla="*/ 6172 h 259199"/>
                    <a:gd name="connsiteX6" fmla="*/ 11571 w 29497"/>
                    <a:gd name="connsiteY6" fmla="*/ 256115 h 259199"/>
                    <a:gd name="connsiteX7" fmla="*/ 5399 w 29497"/>
                    <a:gd name="connsiteY7" fmla="*/ 259200 h 259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497" h="259199">
                      <a:moveTo>
                        <a:pt x="5399" y="259200"/>
                      </a:moveTo>
                      <a:cubicBezTo>
                        <a:pt x="5399" y="259200"/>
                        <a:pt x="2314" y="259200"/>
                        <a:pt x="2314" y="259200"/>
                      </a:cubicBezTo>
                      <a:cubicBezTo>
                        <a:pt x="-771" y="256115"/>
                        <a:pt x="-771" y="253029"/>
                        <a:pt x="2314" y="249943"/>
                      </a:cubicBezTo>
                      <a:cubicBezTo>
                        <a:pt x="33172" y="203657"/>
                        <a:pt x="8485" y="9257"/>
                        <a:pt x="8485" y="6172"/>
                      </a:cubicBezTo>
                      <a:cubicBezTo>
                        <a:pt x="8485" y="3086"/>
                        <a:pt x="11571" y="0"/>
                        <a:pt x="14657" y="0"/>
                      </a:cubicBezTo>
                      <a:cubicBezTo>
                        <a:pt x="17743" y="0"/>
                        <a:pt x="20828" y="3086"/>
                        <a:pt x="20828" y="6172"/>
                      </a:cubicBezTo>
                      <a:cubicBezTo>
                        <a:pt x="20828" y="15429"/>
                        <a:pt x="45514" y="209829"/>
                        <a:pt x="11571" y="256115"/>
                      </a:cubicBezTo>
                      <a:cubicBezTo>
                        <a:pt x="11571" y="259200"/>
                        <a:pt x="8485" y="259200"/>
                        <a:pt x="5399" y="259200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F37E14C4-4200-48CA-A9B5-2C752CEBE914}"/>
                </a:ext>
              </a:extLst>
            </p:cNvPr>
            <p:cNvGrpSpPr/>
            <p:nvPr/>
          </p:nvGrpSpPr>
          <p:grpSpPr>
            <a:xfrm>
              <a:off x="17058687" y="9395963"/>
              <a:ext cx="225339" cy="296447"/>
              <a:chOff x="17058687" y="9395963"/>
              <a:chExt cx="225339" cy="296447"/>
            </a:xfrm>
          </p:grpSpPr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995315FD-C62B-4529-B3EF-16D5E3B6E15B}"/>
                  </a:ext>
                </a:extLst>
              </p:cNvPr>
              <p:cNvSpPr/>
              <p:nvPr/>
            </p:nvSpPr>
            <p:spPr>
              <a:xfrm>
                <a:off x="17084340" y="9467173"/>
                <a:ext cx="199685" cy="215980"/>
              </a:xfrm>
              <a:custGeom>
                <a:avLst/>
                <a:gdLst>
                  <a:gd name="connsiteX0" fmla="*/ 12343 w 199685"/>
                  <a:gd name="connsiteY0" fmla="*/ 74038 h 215980"/>
                  <a:gd name="connsiteX1" fmla="*/ 6171 w 199685"/>
                  <a:gd name="connsiteY1" fmla="*/ 95637 h 215980"/>
                  <a:gd name="connsiteX2" fmla="*/ 15429 w 199685"/>
                  <a:gd name="connsiteY2" fmla="*/ 114151 h 215980"/>
                  <a:gd name="connsiteX3" fmla="*/ 27771 w 199685"/>
                  <a:gd name="connsiteY3" fmla="*/ 138837 h 215980"/>
                  <a:gd name="connsiteX4" fmla="*/ 27771 w 199685"/>
                  <a:gd name="connsiteY4" fmla="*/ 157352 h 215980"/>
                  <a:gd name="connsiteX5" fmla="*/ 43200 w 199685"/>
                  <a:gd name="connsiteY5" fmla="*/ 175866 h 215980"/>
                  <a:gd name="connsiteX6" fmla="*/ 52457 w 199685"/>
                  <a:gd name="connsiteY6" fmla="*/ 197466 h 215980"/>
                  <a:gd name="connsiteX7" fmla="*/ 98742 w 199685"/>
                  <a:gd name="connsiteY7" fmla="*/ 215981 h 215980"/>
                  <a:gd name="connsiteX8" fmla="*/ 197486 w 199685"/>
                  <a:gd name="connsiteY8" fmla="*/ 157352 h 215980"/>
                  <a:gd name="connsiteX9" fmla="*/ 157372 w 199685"/>
                  <a:gd name="connsiteY9" fmla="*/ 9237 h 215980"/>
                  <a:gd name="connsiteX10" fmla="*/ 3086 w 199685"/>
                  <a:gd name="connsiteY10" fmla="*/ 24666 h 215980"/>
                  <a:gd name="connsiteX11" fmla="*/ 12343 w 199685"/>
                  <a:gd name="connsiteY11" fmla="*/ 74038 h 215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9685" h="215980">
                    <a:moveTo>
                      <a:pt x="12343" y="74038"/>
                    </a:moveTo>
                    <a:cubicBezTo>
                      <a:pt x="9257" y="80209"/>
                      <a:pt x="6171" y="86380"/>
                      <a:pt x="6171" y="95637"/>
                    </a:cubicBezTo>
                    <a:cubicBezTo>
                      <a:pt x="6171" y="101809"/>
                      <a:pt x="9257" y="111066"/>
                      <a:pt x="15429" y="114151"/>
                    </a:cubicBezTo>
                    <a:cubicBezTo>
                      <a:pt x="27771" y="132666"/>
                      <a:pt x="24685" y="120323"/>
                      <a:pt x="27771" y="138837"/>
                    </a:cubicBezTo>
                    <a:cubicBezTo>
                      <a:pt x="27771" y="145009"/>
                      <a:pt x="27771" y="151180"/>
                      <a:pt x="27771" y="157352"/>
                    </a:cubicBezTo>
                    <a:cubicBezTo>
                      <a:pt x="30857" y="166609"/>
                      <a:pt x="37028" y="166609"/>
                      <a:pt x="43200" y="175866"/>
                    </a:cubicBezTo>
                    <a:cubicBezTo>
                      <a:pt x="49372" y="185123"/>
                      <a:pt x="40114" y="185123"/>
                      <a:pt x="52457" y="197466"/>
                    </a:cubicBezTo>
                    <a:cubicBezTo>
                      <a:pt x="64800" y="212895"/>
                      <a:pt x="77143" y="215981"/>
                      <a:pt x="98742" y="215981"/>
                    </a:cubicBezTo>
                    <a:cubicBezTo>
                      <a:pt x="111086" y="215981"/>
                      <a:pt x="178971" y="185123"/>
                      <a:pt x="197486" y="157352"/>
                    </a:cubicBezTo>
                    <a:cubicBezTo>
                      <a:pt x="209828" y="138837"/>
                      <a:pt x="166628" y="9237"/>
                      <a:pt x="157372" y="9237"/>
                    </a:cubicBezTo>
                    <a:cubicBezTo>
                      <a:pt x="92571" y="-6191"/>
                      <a:pt x="9257" y="-3105"/>
                      <a:pt x="3086" y="24666"/>
                    </a:cubicBezTo>
                    <a:cubicBezTo>
                      <a:pt x="-3086" y="46266"/>
                      <a:pt x="0" y="61694"/>
                      <a:pt x="12343" y="74038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7A58CB85-7D6E-4E47-9FF3-2FB5A93B2D8B}"/>
                  </a:ext>
                </a:extLst>
              </p:cNvPr>
              <p:cNvSpPr/>
              <p:nvPr/>
            </p:nvSpPr>
            <p:spPr>
              <a:xfrm>
                <a:off x="17058687" y="9395963"/>
                <a:ext cx="221039" cy="112515"/>
              </a:xfrm>
              <a:custGeom>
                <a:avLst/>
                <a:gdLst>
                  <a:gd name="connsiteX0" fmla="*/ 10225 w 221039"/>
                  <a:gd name="connsiteY0" fmla="*/ 21819 h 112515"/>
                  <a:gd name="connsiteX1" fmla="*/ 93539 w 221039"/>
                  <a:gd name="connsiteY1" fmla="*/ 6391 h 112515"/>
                  <a:gd name="connsiteX2" fmla="*/ 220053 w 221039"/>
                  <a:gd name="connsiteY2" fmla="*/ 98962 h 112515"/>
                  <a:gd name="connsiteX3" fmla="*/ 158339 w 221039"/>
                  <a:gd name="connsiteY3" fmla="*/ 105133 h 112515"/>
                  <a:gd name="connsiteX4" fmla="*/ 139825 w 221039"/>
                  <a:gd name="connsiteY4" fmla="*/ 111305 h 112515"/>
                  <a:gd name="connsiteX5" fmla="*/ 102797 w 221039"/>
                  <a:gd name="connsiteY5" fmla="*/ 95876 h 112515"/>
                  <a:gd name="connsiteX6" fmla="*/ 71939 w 221039"/>
                  <a:gd name="connsiteY6" fmla="*/ 65019 h 112515"/>
                  <a:gd name="connsiteX7" fmla="*/ 37996 w 221039"/>
                  <a:gd name="connsiteY7" fmla="*/ 65019 h 112515"/>
                  <a:gd name="connsiteX8" fmla="*/ 4053 w 221039"/>
                  <a:gd name="connsiteY8" fmla="*/ 49591 h 112515"/>
                  <a:gd name="connsiteX9" fmla="*/ 10225 w 221039"/>
                  <a:gd name="connsiteY9" fmla="*/ 21819 h 112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1039" h="112515">
                    <a:moveTo>
                      <a:pt x="10225" y="21819"/>
                    </a:moveTo>
                    <a:cubicBezTo>
                      <a:pt x="37996" y="6391"/>
                      <a:pt x="62682" y="-9038"/>
                      <a:pt x="93539" y="6391"/>
                    </a:cubicBezTo>
                    <a:cubicBezTo>
                      <a:pt x="124396" y="21819"/>
                      <a:pt x="198454" y="68105"/>
                      <a:pt x="220053" y="98962"/>
                    </a:cubicBezTo>
                    <a:cubicBezTo>
                      <a:pt x="229311" y="111305"/>
                      <a:pt x="170682" y="102048"/>
                      <a:pt x="158339" y="105133"/>
                    </a:cubicBezTo>
                    <a:cubicBezTo>
                      <a:pt x="155253" y="111305"/>
                      <a:pt x="149082" y="114391"/>
                      <a:pt x="139825" y="111305"/>
                    </a:cubicBezTo>
                    <a:cubicBezTo>
                      <a:pt x="127482" y="108219"/>
                      <a:pt x="115139" y="102048"/>
                      <a:pt x="102797" y="95876"/>
                    </a:cubicBezTo>
                    <a:cubicBezTo>
                      <a:pt x="90454" y="89705"/>
                      <a:pt x="81196" y="71190"/>
                      <a:pt x="71939" y="65019"/>
                    </a:cubicBezTo>
                    <a:cubicBezTo>
                      <a:pt x="62682" y="58848"/>
                      <a:pt x="50339" y="65019"/>
                      <a:pt x="37996" y="65019"/>
                    </a:cubicBezTo>
                    <a:cubicBezTo>
                      <a:pt x="25654" y="65019"/>
                      <a:pt x="13311" y="58848"/>
                      <a:pt x="4053" y="49591"/>
                    </a:cubicBezTo>
                    <a:cubicBezTo>
                      <a:pt x="-2118" y="43419"/>
                      <a:pt x="-2118" y="27991"/>
                      <a:pt x="10225" y="21819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A17269D5-0B40-4D0D-A165-8DF14757FBAD}"/>
                  </a:ext>
                </a:extLst>
              </p:cNvPr>
              <p:cNvSpPr/>
              <p:nvPr/>
            </p:nvSpPr>
            <p:spPr>
              <a:xfrm>
                <a:off x="17077366" y="9464068"/>
                <a:ext cx="197517" cy="228342"/>
              </a:xfrm>
              <a:custGeom>
                <a:avLst/>
                <a:gdLst>
                  <a:gd name="connsiteX0" fmla="*/ 96460 w 197517"/>
                  <a:gd name="connsiteY0" fmla="*/ 228343 h 228342"/>
                  <a:gd name="connsiteX1" fmla="*/ 44003 w 197517"/>
                  <a:gd name="connsiteY1" fmla="*/ 185143 h 228342"/>
                  <a:gd name="connsiteX2" fmla="*/ 25489 w 197517"/>
                  <a:gd name="connsiteY2" fmla="*/ 166628 h 228342"/>
                  <a:gd name="connsiteX3" fmla="*/ 25489 w 197517"/>
                  <a:gd name="connsiteY3" fmla="*/ 135771 h 228342"/>
                  <a:gd name="connsiteX4" fmla="*/ 6975 w 197517"/>
                  <a:gd name="connsiteY4" fmla="*/ 101828 h 228342"/>
                  <a:gd name="connsiteX5" fmla="*/ 13145 w 197517"/>
                  <a:gd name="connsiteY5" fmla="*/ 80228 h 228342"/>
                  <a:gd name="connsiteX6" fmla="*/ 803 w 197517"/>
                  <a:gd name="connsiteY6" fmla="*/ 55542 h 228342"/>
                  <a:gd name="connsiteX7" fmla="*/ 13145 w 197517"/>
                  <a:gd name="connsiteY7" fmla="*/ 15429 h 228342"/>
                  <a:gd name="connsiteX8" fmla="*/ 121145 w 197517"/>
                  <a:gd name="connsiteY8" fmla="*/ 0 h 228342"/>
                  <a:gd name="connsiteX9" fmla="*/ 127317 w 197517"/>
                  <a:gd name="connsiteY9" fmla="*/ 6171 h 228342"/>
                  <a:gd name="connsiteX10" fmla="*/ 121145 w 197517"/>
                  <a:gd name="connsiteY10" fmla="*/ 12343 h 228342"/>
                  <a:gd name="connsiteX11" fmla="*/ 121145 w 197517"/>
                  <a:gd name="connsiteY11" fmla="*/ 12343 h 228342"/>
                  <a:gd name="connsiteX12" fmla="*/ 22403 w 197517"/>
                  <a:gd name="connsiteY12" fmla="*/ 24685 h 228342"/>
                  <a:gd name="connsiteX13" fmla="*/ 13145 w 197517"/>
                  <a:gd name="connsiteY13" fmla="*/ 55542 h 228342"/>
                  <a:gd name="connsiteX14" fmla="*/ 25489 w 197517"/>
                  <a:gd name="connsiteY14" fmla="*/ 74057 h 228342"/>
                  <a:gd name="connsiteX15" fmla="*/ 28574 w 197517"/>
                  <a:gd name="connsiteY15" fmla="*/ 77143 h 228342"/>
                  <a:gd name="connsiteX16" fmla="*/ 28574 w 197517"/>
                  <a:gd name="connsiteY16" fmla="*/ 83314 h 228342"/>
                  <a:gd name="connsiteX17" fmla="*/ 22403 w 197517"/>
                  <a:gd name="connsiteY17" fmla="*/ 101828 h 228342"/>
                  <a:gd name="connsiteX18" fmla="*/ 40918 w 197517"/>
                  <a:gd name="connsiteY18" fmla="*/ 129600 h 228342"/>
                  <a:gd name="connsiteX19" fmla="*/ 40918 w 197517"/>
                  <a:gd name="connsiteY19" fmla="*/ 135771 h 228342"/>
                  <a:gd name="connsiteX20" fmla="*/ 37832 w 197517"/>
                  <a:gd name="connsiteY20" fmla="*/ 160457 h 228342"/>
                  <a:gd name="connsiteX21" fmla="*/ 53260 w 197517"/>
                  <a:gd name="connsiteY21" fmla="*/ 172800 h 228342"/>
                  <a:gd name="connsiteX22" fmla="*/ 56346 w 197517"/>
                  <a:gd name="connsiteY22" fmla="*/ 175886 h 228342"/>
                  <a:gd name="connsiteX23" fmla="*/ 99546 w 197517"/>
                  <a:gd name="connsiteY23" fmla="*/ 212914 h 228342"/>
                  <a:gd name="connsiteX24" fmla="*/ 105717 w 197517"/>
                  <a:gd name="connsiteY24" fmla="*/ 212914 h 228342"/>
                  <a:gd name="connsiteX25" fmla="*/ 185946 w 197517"/>
                  <a:gd name="connsiteY25" fmla="*/ 172800 h 228342"/>
                  <a:gd name="connsiteX26" fmla="*/ 195203 w 197517"/>
                  <a:gd name="connsiteY26" fmla="*/ 172800 h 228342"/>
                  <a:gd name="connsiteX27" fmla="*/ 195203 w 197517"/>
                  <a:gd name="connsiteY27" fmla="*/ 182057 h 228342"/>
                  <a:gd name="connsiteX28" fmla="*/ 108803 w 197517"/>
                  <a:gd name="connsiteY28" fmla="*/ 225257 h 228342"/>
                  <a:gd name="connsiteX29" fmla="*/ 96460 w 197517"/>
                  <a:gd name="connsiteY29" fmla="*/ 228343 h 228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97517" h="228342">
                    <a:moveTo>
                      <a:pt x="96460" y="228343"/>
                    </a:moveTo>
                    <a:cubicBezTo>
                      <a:pt x="62517" y="228343"/>
                      <a:pt x="47088" y="200571"/>
                      <a:pt x="44003" y="185143"/>
                    </a:cubicBezTo>
                    <a:cubicBezTo>
                      <a:pt x="34746" y="182057"/>
                      <a:pt x="28574" y="175886"/>
                      <a:pt x="25489" y="166628"/>
                    </a:cubicBezTo>
                    <a:cubicBezTo>
                      <a:pt x="22403" y="154286"/>
                      <a:pt x="25489" y="141943"/>
                      <a:pt x="25489" y="135771"/>
                    </a:cubicBezTo>
                    <a:cubicBezTo>
                      <a:pt x="13145" y="126514"/>
                      <a:pt x="6975" y="114171"/>
                      <a:pt x="6975" y="101828"/>
                    </a:cubicBezTo>
                    <a:cubicBezTo>
                      <a:pt x="6975" y="92571"/>
                      <a:pt x="10060" y="83314"/>
                      <a:pt x="13145" y="80228"/>
                    </a:cubicBezTo>
                    <a:cubicBezTo>
                      <a:pt x="6975" y="74057"/>
                      <a:pt x="3889" y="64800"/>
                      <a:pt x="803" y="55542"/>
                    </a:cubicBezTo>
                    <a:cubicBezTo>
                      <a:pt x="-2283" y="40114"/>
                      <a:pt x="3889" y="24685"/>
                      <a:pt x="13145" y="15429"/>
                    </a:cubicBezTo>
                    <a:cubicBezTo>
                      <a:pt x="31660" y="0"/>
                      <a:pt x="111889" y="0"/>
                      <a:pt x="121145" y="0"/>
                    </a:cubicBezTo>
                    <a:cubicBezTo>
                      <a:pt x="124231" y="0"/>
                      <a:pt x="127317" y="3085"/>
                      <a:pt x="127317" y="6171"/>
                    </a:cubicBezTo>
                    <a:cubicBezTo>
                      <a:pt x="127317" y="9257"/>
                      <a:pt x="124231" y="12343"/>
                      <a:pt x="121145" y="12343"/>
                    </a:cubicBezTo>
                    <a:cubicBezTo>
                      <a:pt x="121145" y="12343"/>
                      <a:pt x="121145" y="12343"/>
                      <a:pt x="121145" y="12343"/>
                    </a:cubicBezTo>
                    <a:cubicBezTo>
                      <a:pt x="90288" y="12343"/>
                      <a:pt x="34746" y="12343"/>
                      <a:pt x="22403" y="24685"/>
                    </a:cubicBezTo>
                    <a:cubicBezTo>
                      <a:pt x="16231" y="30857"/>
                      <a:pt x="10060" y="43200"/>
                      <a:pt x="13145" y="55542"/>
                    </a:cubicBezTo>
                    <a:cubicBezTo>
                      <a:pt x="13145" y="64800"/>
                      <a:pt x="19317" y="70971"/>
                      <a:pt x="25489" y="74057"/>
                    </a:cubicBezTo>
                    <a:cubicBezTo>
                      <a:pt x="28574" y="74057"/>
                      <a:pt x="28574" y="77143"/>
                      <a:pt x="28574" y="77143"/>
                    </a:cubicBezTo>
                    <a:cubicBezTo>
                      <a:pt x="28574" y="80228"/>
                      <a:pt x="28574" y="80228"/>
                      <a:pt x="28574" y="83314"/>
                    </a:cubicBezTo>
                    <a:cubicBezTo>
                      <a:pt x="28574" y="83314"/>
                      <a:pt x="22403" y="92571"/>
                      <a:pt x="22403" y="101828"/>
                    </a:cubicBezTo>
                    <a:cubicBezTo>
                      <a:pt x="22403" y="111085"/>
                      <a:pt x="28574" y="120343"/>
                      <a:pt x="40918" y="129600"/>
                    </a:cubicBezTo>
                    <a:cubicBezTo>
                      <a:pt x="44003" y="132685"/>
                      <a:pt x="44003" y="135771"/>
                      <a:pt x="40918" y="135771"/>
                    </a:cubicBezTo>
                    <a:cubicBezTo>
                      <a:pt x="40918" y="135771"/>
                      <a:pt x="34746" y="148114"/>
                      <a:pt x="37832" y="160457"/>
                    </a:cubicBezTo>
                    <a:cubicBezTo>
                      <a:pt x="40918" y="166628"/>
                      <a:pt x="47088" y="169714"/>
                      <a:pt x="53260" y="172800"/>
                    </a:cubicBezTo>
                    <a:cubicBezTo>
                      <a:pt x="56346" y="172800"/>
                      <a:pt x="56346" y="175886"/>
                      <a:pt x="56346" y="175886"/>
                    </a:cubicBezTo>
                    <a:cubicBezTo>
                      <a:pt x="56346" y="178971"/>
                      <a:pt x="65603" y="212914"/>
                      <a:pt x="99546" y="212914"/>
                    </a:cubicBezTo>
                    <a:cubicBezTo>
                      <a:pt x="102632" y="212914"/>
                      <a:pt x="102632" y="212914"/>
                      <a:pt x="105717" y="212914"/>
                    </a:cubicBezTo>
                    <a:cubicBezTo>
                      <a:pt x="148918" y="209828"/>
                      <a:pt x="185946" y="172800"/>
                      <a:pt x="185946" y="172800"/>
                    </a:cubicBezTo>
                    <a:cubicBezTo>
                      <a:pt x="189032" y="169714"/>
                      <a:pt x="192117" y="169714"/>
                      <a:pt x="195203" y="172800"/>
                    </a:cubicBezTo>
                    <a:cubicBezTo>
                      <a:pt x="198288" y="175886"/>
                      <a:pt x="198288" y="178971"/>
                      <a:pt x="195203" y="182057"/>
                    </a:cubicBezTo>
                    <a:cubicBezTo>
                      <a:pt x="192117" y="185143"/>
                      <a:pt x="155088" y="222171"/>
                      <a:pt x="108803" y="225257"/>
                    </a:cubicBezTo>
                    <a:cubicBezTo>
                      <a:pt x="102632" y="228343"/>
                      <a:pt x="99546" y="228343"/>
                      <a:pt x="96460" y="22834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42A2E672-37F0-41C8-BDFF-6EB787F48A78}"/>
                </a:ext>
              </a:extLst>
            </p:cNvPr>
            <p:cNvSpPr/>
            <p:nvPr/>
          </p:nvSpPr>
          <p:spPr>
            <a:xfrm>
              <a:off x="17244797" y="8794467"/>
              <a:ext cx="804798" cy="836228"/>
            </a:xfrm>
            <a:custGeom>
              <a:avLst/>
              <a:gdLst>
                <a:gd name="connsiteX0" fmla="*/ 478286 w 804798"/>
                <a:gd name="connsiteY0" fmla="*/ 3086 h 836228"/>
                <a:gd name="connsiteX1" fmla="*/ 536915 w 804798"/>
                <a:gd name="connsiteY1" fmla="*/ 549257 h 836228"/>
                <a:gd name="connsiteX2" fmla="*/ 0 w 804798"/>
                <a:gd name="connsiteY2" fmla="*/ 700458 h 836228"/>
                <a:gd name="connsiteX3" fmla="*/ 6172 w 804798"/>
                <a:gd name="connsiteY3" fmla="*/ 836229 h 836228"/>
                <a:gd name="connsiteX4" fmla="*/ 759086 w 804798"/>
                <a:gd name="connsiteY4" fmla="*/ 712800 h 836228"/>
                <a:gd name="connsiteX5" fmla="*/ 749829 w 804798"/>
                <a:gd name="connsiteY5" fmla="*/ 0 h 836228"/>
                <a:gd name="connsiteX6" fmla="*/ 478286 w 804798"/>
                <a:gd name="connsiteY6" fmla="*/ 3086 h 836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4798" h="836228">
                  <a:moveTo>
                    <a:pt x="478286" y="3086"/>
                  </a:moveTo>
                  <a:lnTo>
                    <a:pt x="536915" y="549257"/>
                  </a:lnTo>
                  <a:lnTo>
                    <a:pt x="0" y="700458"/>
                  </a:lnTo>
                  <a:lnTo>
                    <a:pt x="6172" y="836229"/>
                  </a:lnTo>
                  <a:cubicBezTo>
                    <a:pt x="6172" y="836229"/>
                    <a:pt x="651086" y="783772"/>
                    <a:pt x="759086" y="712800"/>
                  </a:cubicBezTo>
                  <a:cubicBezTo>
                    <a:pt x="867086" y="641829"/>
                    <a:pt x="749829" y="0"/>
                    <a:pt x="749829" y="0"/>
                  </a:cubicBezTo>
                  <a:lnTo>
                    <a:pt x="478286" y="3086"/>
                  </a:ln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A724A597-E264-4DCB-90D6-4568B2856DCA}"/>
                </a:ext>
              </a:extLst>
            </p:cNvPr>
            <p:cNvSpPr/>
            <p:nvPr/>
          </p:nvSpPr>
          <p:spPr>
            <a:xfrm>
              <a:off x="17729254" y="8899382"/>
              <a:ext cx="114171" cy="487542"/>
            </a:xfrm>
            <a:custGeom>
              <a:avLst/>
              <a:gdLst>
                <a:gd name="connsiteX0" fmla="*/ 108000 w 114171"/>
                <a:gd name="connsiteY0" fmla="*/ 487543 h 487542"/>
                <a:gd name="connsiteX1" fmla="*/ 108000 w 114171"/>
                <a:gd name="connsiteY1" fmla="*/ 487543 h 487542"/>
                <a:gd name="connsiteX2" fmla="*/ 49372 w 114171"/>
                <a:gd name="connsiteY2" fmla="*/ 447429 h 487542"/>
                <a:gd name="connsiteX3" fmla="*/ 46286 w 114171"/>
                <a:gd name="connsiteY3" fmla="*/ 444343 h 487542"/>
                <a:gd name="connsiteX4" fmla="*/ 0 w 114171"/>
                <a:gd name="connsiteY4" fmla="*/ 0 h 487542"/>
                <a:gd name="connsiteX5" fmla="*/ 12343 w 114171"/>
                <a:gd name="connsiteY5" fmla="*/ 0 h 487542"/>
                <a:gd name="connsiteX6" fmla="*/ 58628 w 114171"/>
                <a:gd name="connsiteY6" fmla="*/ 441257 h 487542"/>
                <a:gd name="connsiteX7" fmla="*/ 111086 w 114171"/>
                <a:gd name="connsiteY7" fmla="*/ 478286 h 487542"/>
                <a:gd name="connsiteX8" fmla="*/ 114172 w 114171"/>
                <a:gd name="connsiteY8" fmla="*/ 484457 h 487542"/>
                <a:gd name="connsiteX9" fmla="*/ 108000 w 114171"/>
                <a:gd name="connsiteY9" fmla="*/ 487543 h 487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4171" h="487542">
                  <a:moveTo>
                    <a:pt x="108000" y="487543"/>
                  </a:moveTo>
                  <a:cubicBezTo>
                    <a:pt x="108000" y="487543"/>
                    <a:pt x="108000" y="487543"/>
                    <a:pt x="108000" y="487543"/>
                  </a:cubicBezTo>
                  <a:cubicBezTo>
                    <a:pt x="86400" y="478286"/>
                    <a:pt x="49372" y="450514"/>
                    <a:pt x="49372" y="447429"/>
                  </a:cubicBezTo>
                  <a:cubicBezTo>
                    <a:pt x="49372" y="447429"/>
                    <a:pt x="46286" y="444343"/>
                    <a:pt x="46286" y="444343"/>
                  </a:cubicBezTo>
                  <a:cubicBezTo>
                    <a:pt x="33943" y="324000"/>
                    <a:pt x="0" y="0"/>
                    <a:pt x="0" y="0"/>
                  </a:cubicBezTo>
                  <a:lnTo>
                    <a:pt x="12343" y="0"/>
                  </a:lnTo>
                  <a:cubicBezTo>
                    <a:pt x="12343" y="0"/>
                    <a:pt x="46286" y="320914"/>
                    <a:pt x="58628" y="441257"/>
                  </a:cubicBezTo>
                  <a:cubicBezTo>
                    <a:pt x="67886" y="447429"/>
                    <a:pt x="98743" y="469028"/>
                    <a:pt x="111086" y="478286"/>
                  </a:cubicBezTo>
                  <a:cubicBezTo>
                    <a:pt x="114172" y="478286"/>
                    <a:pt x="114172" y="484457"/>
                    <a:pt x="114172" y="484457"/>
                  </a:cubicBezTo>
                  <a:cubicBezTo>
                    <a:pt x="114172" y="487543"/>
                    <a:pt x="111086" y="487543"/>
                    <a:pt x="108000" y="487543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A5E7CAEB-9B5D-4D2F-AFCB-187D34AE07D6}"/>
                </a:ext>
              </a:extLst>
            </p:cNvPr>
            <p:cNvSpPr/>
            <p:nvPr/>
          </p:nvSpPr>
          <p:spPr>
            <a:xfrm>
              <a:off x="17627233" y="8306627"/>
              <a:ext cx="426021" cy="592376"/>
            </a:xfrm>
            <a:custGeom>
              <a:avLst/>
              <a:gdLst>
                <a:gd name="connsiteX0" fmla="*/ 426021 w 426021"/>
                <a:gd name="connsiteY0" fmla="*/ 546469 h 592376"/>
                <a:gd name="connsiteX1" fmla="*/ 160649 w 426021"/>
                <a:gd name="connsiteY1" fmla="*/ 298 h 592376"/>
                <a:gd name="connsiteX2" fmla="*/ 193 w 426021"/>
                <a:gd name="connsiteY2" fmla="*/ 574240 h 592376"/>
                <a:gd name="connsiteX3" fmla="*/ 426021 w 426021"/>
                <a:gd name="connsiteY3" fmla="*/ 546469 h 592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021" h="592376">
                  <a:moveTo>
                    <a:pt x="426021" y="546469"/>
                  </a:moveTo>
                  <a:cubicBezTo>
                    <a:pt x="426021" y="546469"/>
                    <a:pt x="308764" y="15726"/>
                    <a:pt x="160649" y="298"/>
                  </a:cubicBezTo>
                  <a:cubicBezTo>
                    <a:pt x="-12151" y="-15131"/>
                    <a:pt x="193" y="574240"/>
                    <a:pt x="193" y="574240"/>
                  </a:cubicBezTo>
                  <a:cubicBezTo>
                    <a:pt x="193" y="574240"/>
                    <a:pt x="225450" y="629783"/>
                    <a:pt x="426021" y="546469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965AE9A2-237D-48B1-9D16-189217EE3D8A}"/>
                </a:ext>
              </a:extLst>
            </p:cNvPr>
            <p:cNvSpPr/>
            <p:nvPr/>
          </p:nvSpPr>
          <p:spPr>
            <a:xfrm>
              <a:off x="17621254" y="8303839"/>
              <a:ext cx="172800" cy="601714"/>
            </a:xfrm>
            <a:custGeom>
              <a:avLst/>
              <a:gdLst>
                <a:gd name="connsiteX0" fmla="*/ 135771 w 172800"/>
                <a:gd name="connsiteY0" fmla="*/ 601714 h 601714"/>
                <a:gd name="connsiteX1" fmla="*/ 3086 w 172800"/>
                <a:gd name="connsiteY1" fmla="*/ 583200 h 601714"/>
                <a:gd name="connsiteX2" fmla="*/ 0 w 172800"/>
                <a:gd name="connsiteY2" fmla="*/ 583200 h 601714"/>
                <a:gd name="connsiteX3" fmla="*/ 0 w 172800"/>
                <a:gd name="connsiteY3" fmla="*/ 580114 h 601714"/>
                <a:gd name="connsiteX4" fmla="*/ 27771 w 172800"/>
                <a:gd name="connsiteY4" fmla="*/ 216000 h 601714"/>
                <a:gd name="connsiteX5" fmla="*/ 166628 w 172800"/>
                <a:gd name="connsiteY5" fmla="*/ 0 h 601714"/>
                <a:gd name="connsiteX6" fmla="*/ 172800 w 172800"/>
                <a:gd name="connsiteY6" fmla="*/ 3086 h 601714"/>
                <a:gd name="connsiteX7" fmla="*/ 169714 w 172800"/>
                <a:gd name="connsiteY7" fmla="*/ 9257 h 601714"/>
                <a:gd name="connsiteX8" fmla="*/ 40114 w 172800"/>
                <a:gd name="connsiteY8" fmla="*/ 216000 h 601714"/>
                <a:gd name="connsiteX9" fmla="*/ 15429 w 172800"/>
                <a:gd name="connsiteY9" fmla="*/ 573943 h 601714"/>
                <a:gd name="connsiteX10" fmla="*/ 145029 w 172800"/>
                <a:gd name="connsiteY10" fmla="*/ 589372 h 601714"/>
                <a:gd name="connsiteX11" fmla="*/ 145029 w 172800"/>
                <a:gd name="connsiteY11" fmla="*/ 589372 h 601714"/>
                <a:gd name="connsiteX12" fmla="*/ 151200 w 172800"/>
                <a:gd name="connsiteY12" fmla="*/ 595543 h 601714"/>
                <a:gd name="connsiteX13" fmla="*/ 145029 w 172800"/>
                <a:gd name="connsiteY13" fmla="*/ 601714 h 601714"/>
                <a:gd name="connsiteX14" fmla="*/ 135771 w 172800"/>
                <a:gd name="connsiteY14" fmla="*/ 601714 h 601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2800" h="601714">
                  <a:moveTo>
                    <a:pt x="135771" y="601714"/>
                  </a:moveTo>
                  <a:cubicBezTo>
                    <a:pt x="70971" y="601714"/>
                    <a:pt x="6172" y="583200"/>
                    <a:pt x="3086" y="583200"/>
                  </a:cubicBezTo>
                  <a:lnTo>
                    <a:pt x="0" y="583200"/>
                  </a:lnTo>
                  <a:lnTo>
                    <a:pt x="0" y="580114"/>
                  </a:lnTo>
                  <a:cubicBezTo>
                    <a:pt x="0" y="577029"/>
                    <a:pt x="6172" y="398057"/>
                    <a:pt x="27771" y="216000"/>
                  </a:cubicBezTo>
                  <a:cubicBezTo>
                    <a:pt x="49372" y="27771"/>
                    <a:pt x="160458" y="0"/>
                    <a:pt x="166628" y="0"/>
                  </a:cubicBezTo>
                  <a:cubicBezTo>
                    <a:pt x="169714" y="0"/>
                    <a:pt x="172800" y="0"/>
                    <a:pt x="172800" y="3086"/>
                  </a:cubicBezTo>
                  <a:cubicBezTo>
                    <a:pt x="172800" y="6171"/>
                    <a:pt x="172800" y="9257"/>
                    <a:pt x="169714" y="9257"/>
                  </a:cubicBezTo>
                  <a:cubicBezTo>
                    <a:pt x="169714" y="9257"/>
                    <a:pt x="61714" y="37028"/>
                    <a:pt x="40114" y="216000"/>
                  </a:cubicBezTo>
                  <a:cubicBezTo>
                    <a:pt x="21600" y="382628"/>
                    <a:pt x="15429" y="546171"/>
                    <a:pt x="15429" y="573943"/>
                  </a:cubicBezTo>
                  <a:cubicBezTo>
                    <a:pt x="30857" y="577029"/>
                    <a:pt x="89486" y="592457"/>
                    <a:pt x="145029" y="589372"/>
                  </a:cubicBezTo>
                  <a:cubicBezTo>
                    <a:pt x="145029" y="589372"/>
                    <a:pt x="145029" y="589372"/>
                    <a:pt x="145029" y="589372"/>
                  </a:cubicBezTo>
                  <a:cubicBezTo>
                    <a:pt x="148114" y="589372"/>
                    <a:pt x="151200" y="592457"/>
                    <a:pt x="151200" y="595543"/>
                  </a:cubicBezTo>
                  <a:cubicBezTo>
                    <a:pt x="151200" y="598628"/>
                    <a:pt x="148114" y="601714"/>
                    <a:pt x="145029" y="601714"/>
                  </a:cubicBezTo>
                  <a:cubicBezTo>
                    <a:pt x="141943" y="601714"/>
                    <a:pt x="138857" y="601714"/>
                    <a:pt x="135771" y="601714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1" name="图形 1">
            <a:extLst>
              <a:ext uri="{FF2B5EF4-FFF2-40B4-BE49-F238E27FC236}">
                <a16:creationId xmlns:a16="http://schemas.microsoft.com/office/drawing/2014/main" id="{CDF64C0C-E3C3-4ECC-AFFB-A240C05168BF}"/>
              </a:ext>
            </a:extLst>
          </p:cNvPr>
          <p:cNvGrpSpPr/>
          <p:nvPr/>
        </p:nvGrpSpPr>
        <p:grpSpPr>
          <a:xfrm>
            <a:off x="1965779" y="2363736"/>
            <a:ext cx="3137332" cy="4494264"/>
            <a:chOff x="11490779" y="7903035"/>
            <a:chExt cx="3137332" cy="4494264"/>
          </a:xfrm>
        </p:grpSpPr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F9DC1278-2DDA-47FB-B6FD-BFEFC410ECC5}"/>
                </a:ext>
              </a:extLst>
            </p:cNvPr>
            <p:cNvSpPr/>
            <p:nvPr/>
          </p:nvSpPr>
          <p:spPr>
            <a:xfrm>
              <a:off x="13637597" y="10096639"/>
              <a:ext cx="910285" cy="1724914"/>
            </a:xfrm>
            <a:custGeom>
              <a:avLst/>
              <a:gdLst>
                <a:gd name="connsiteX0" fmla="*/ 805372 w 910285"/>
                <a:gd name="connsiteY0" fmla="*/ 1724914 h 1724914"/>
                <a:gd name="connsiteX1" fmla="*/ 95657 w 910285"/>
                <a:gd name="connsiteY1" fmla="*/ 1188000 h 1724914"/>
                <a:gd name="connsiteX2" fmla="*/ 0 w 910285"/>
                <a:gd name="connsiteY2" fmla="*/ 70971 h 1724914"/>
                <a:gd name="connsiteX3" fmla="*/ 382628 w 910285"/>
                <a:gd name="connsiteY3" fmla="*/ 0 h 1724914"/>
                <a:gd name="connsiteX4" fmla="*/ 382628 w 910285"/>
                <a:gd name="connsiteY4" fmla="*/ 1076914 h 1724914"/>
                <a:gd name="connsiteX5" fmla="*/ 910286 w 910285"/>
                <a:gd name="connsiteY5" fmla="*/ 1663200 h 1724914"/>
                <a:gd name="connsiteX6" fmla="*/ 805372 w 910285"/>
                <a:gd name="connsiteY6" fmla="*/ 1724914 h 1724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0285" h="1724914">
                  <a:moveTo>
                    <a:pt x="805372" y="1724914"/>
                  </a:moveTo>
                  <a:cubicBezTo>
                    <a:pt x="805372" y="1724914"/>
                    <a:pt x="129600" y="1255885"/>
                    <a:pt x="95657" y="1188000"/>
                  </a:cubicBezTo>
                  <a:cubicBezTo>
                    <a:pt x="61714" y="1120114"/>
                    <a:pt x="0" y="70971"/>
                    <a:pt x="0" y="70971"/>
                  </a:cubicBezTo>
                  <a:lnTo>
                    <a:pt x="382628" y="0"/>
                  </a:lnTo>
                  <a:cubicBezTo>
                    <a:pt x="382628" y="0"/>
                    <a:pt x="336343" y="1024457"/>
                    <a:pt x="382628" y="1076914"/>
                  </a:cubicBezTo>
                  <a:cubicBezTo>
                    <a:pt x="428914" y="1129372"/>
                    <a:pt x="910286" y="1663200"/>
                    <a:pt x="910286" y="1663200"/>
                  </a:cubicBezTo>
                  <a:lnTo>
                    <a:pt x="805372" y="1724914"/>
                  </a:ln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B82C4D83-4502-41CC-8B06-A08E29C56FCE}"/>
                </a:ext>
              </a:extLst>
            </p:cNvPr>
            <p:cNvSpPr/>
            <p:nvPr/>
          </p:nvSpPr>
          <p:spPr>
            <a:xfrm>
              <a:off x="13124120" y="10210810"/>
              <a:ext cx="464105" cy="1999543"/>
            </a:xfrm>
            <a:custGeom>
              <a:avLst/>
              <a:gdLst>
                <a:gd name="connsiteX0" fmla="*/ 300563 w 464105"/>
                <a:gd name="connsiteY0" fmla="*/ 1999543 h 1999543"/>
                <a:gd name="connsiteX1" fmla="*/ 288220 w 464105"/>
                <a:gd name="connsiteY1" fmla="*/ 897943 h 1999543"/>
                <a:gd name="connsiteX2" fmla="*/ 464105 w 464105"/>
                <a:gd name="connsiteY2" fmla="*/ 148115 h 1999543"/>
                <a:gd name="connsiteX3" fmla="*/ 118506 w 464105"/>
                <a:gd name="connsiteY3" fmla="*/ 0 h 1999543"/>
                <a:gd name="connsiteX4" fmla="*/ 1248 w 464105"/>
                <a:gd name="connsiteY4" fmla="*/ 873258 h 1999543"/>
                <a:gd name="connsiteX5" fmla="*/ 195649 w 464105"/>
                <a:gd name="connsiteY5" fmla="*/ 1944000 h 1999543"/>
                <a:gd name="connsiteX6" fmla="*/ 300563 w 464105"/>
                <a:gd name="connsiteY6" fmla="*/ 1999543 h 1999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105" h="1999543">
                  <a:moveTo>
                    <a:pt x="300563" y="1999543"/>
                  </a:moveTo>
                  <a:cubicBezTo>
                    <a:pt x="300563" y="1999543"/>
                    <a:pt x="275878" y="987429"/>
                    <a:pt x="288220" y="897943"/>
                  </a:cubicBezTo>
                  <a:cubicBezTo>
                    <a:pt x="300563" y="811543"/>
                    <a:pt x="464105" y="148115"/>
                    <a:pt x="464105" y="148115"/>
                  </a:cubicBezTo>
                  <a:lnTo>
                    <a:pt x="118506" y="0"/>
                  </a:lnTo>
                  <a:cubicBezTo>
                    <a:pt x="118506" y="0"/>
                    <a:pt x="-14180" y="802286"/>
                    <a:pt x="1248" y="873258"/>
                  </a:cubicBezTo>
                  <a:cubicBezTo>
                    <a:pt x="16677" y="944229"/>
                    <a:pt x="195649" y="1944000"/>
                    <a:pt x="195649" y="1944000"/>
                  </a:cubicBezTo>
                  <a:lnTo>
                    <a:pt x="300563" y="1999543"/>
                  </a:ln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4" name="图形 1">
              <a:extLst>
                <a:ext uri="{FF2B5EF4-FFF2-40B4-BE49-F238E27FC236}">
                  <a16:creationId xmlns:a16="http://schemas.microsoft.com/office/drawing/2014/main" id="{FE64652A-7BE8-4375-BE61-F4893A85A727}"/>
                </a:ext>
              </a:extLst>
            </p:cNvPr>
            <p:cNvGrpSpPr/>
            <p:nvPr/>
          </p:nvGrpSpPr>
          <p:grpSpPr>
            <a:xfrm>
              <a:off x="13026166" y="12031381"/>
              <a:ext cx="400060" cy="365918"/>
              <a:chOff x="13026166" y="12031381"/>
              <a:chExt cx="400060" cy="365918"/>
            </a:xfrm>
          </p:grpSpPr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5274960E-8DC0-46F8-8895-7D4DC6C66D27}"/>
                  </a:ext>
                </a:extLst>
              </p:cNvPr>
              <p:cNvSpPr/>
              <p:nvPr/>
            </p:nvSpPr>
            <p:spPr>
              <a:xfrm>
                <a:off x="13026166" y="12157896"/>
                <a:ext cx="400060" cy="239403"/>
              </a:xfrm>
              <a:custGeom>
                <a:avLst/>
                <a:gdLst>
                  <a:gd name="connsiteX0" fmla="*/ 290517 w 400060"/>
                  <a:gd name="connsiteY0" fmla="*/ 0 h 239403"/>
                  <a:gd name="connsiteX1" fmla="*/ 130060 w 400060"/>
                  <a:gd name="connsiteY1" fmla="*/ 126514 h 239403"/>
                  <a:gd name="connsiteX2" fmla="*/ 327546 w 400060"/>
                  <a:gd name="connsiteY2" fmla="*/ 77143 h 239403"/>
                  <a:gd name="connsiteX3" fmla="*/ 398517 w 400060"/>
                  <a:gd name="connsiteY3" fmla="*/ 52458 h 239403"/>
                  <a:gd name="connsiteX4" fmla="*/ 392345 w 400060"/>
                  <a:gd name="connsiteY4" fmla="*/ 160458 h 239403"/>
                  <a:gd name="connsiteX5" fmla="*/ 157832 w 400060"/>
                  <a:gd name="connsiteY5" fmla="*/ 234514 h 239403"/>
                  <a:gd name="connsiteX6" fmla="*/ 18975 w 400060"/>
                  <a:gd name="connsiteY6" fmla="*/ 234514 h 239403"/>
                  <a:gd name="connsiteX7" fmla="*/ 12803 w 400060"/>
                  <a:gd name="connsiteY7" fmla="*/ 178972 h 239403"/>
                  <a:gd name="connsiteX8" fmla="*/ 290517 w 400060"/>
                  <a:gd name="connsiteY8" fmla="*/ 0 h 239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0060" h="239403">
                    <a:moveTo>
                      <a:pt x="290517" y="0"/>
                    </a:moveTo>
                    <a:cubicBezTo>
                      <a:pt x="290517" y="0"/>
                      <a:pt x="114631" y="114172"/>
                      <a:pt x="130060" y="126514"/>
                    </a:cubicBezTo>
                    <a:cubicBezTo>
                      <a:pt x="142403" y="141943"/>
                      <a:pt x="327546" y="77143"/>
                      <a:pt x="327546" y="77143"/>
                    </a:cubicBezTo>
                    <a:lnTo>
                      <a:pt x="398517" y="52458"/>
                    </a:lnTo>
                    <a:cubicBezTo>
                      <a:pt x="398517" y="52458"/>
                      <a:pt x="404689" y="135771"/>
                      <a:pt x="392345" y="160458"/>
                    </a:cubicBezTo>
                    <a:cubicBezTo>
                      <a:pt x="318288" y="197486"/>
                      <a:pt x="231889" y="222172"/>
                      <a:pt x="157832" y="234514"/>
                    </a:cubicBezTo>
                    <a:cubicBezTo>
                      <a:pt x="111546" y="243771"/>
                      <a:pt x="28231" y="237600"/>
                      <a:pt x="18975" y="234514"/>
                    </a:cubicBezTo>
                    <a:cubicBezTo>
                      <a:pt x="9717" y="231429"/>
                      <a:pt x="-14968" y="206743"/>
                      <a:pt x="12803" y="178972"/>
                    </a:cubicBezTo>
                    <a:cubicBezTo>
                      <a:pt x="74517" y="111086"/>
                      <a:pt x="290517" y="0"/>
                      <a:pt x="290517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3BCE9E01-CCC6-409D-938F-72E3E396224A}"/>
                  </a:ext>
                </a:extLst>
              </p:cNvPr>
              <p:cNvSpPr/>
              <p:nvPr/>
            </p:nvSpPr>
            <p:spPr>
              <a:xfrm>
                <a:off x="13154882" y="12031381"/>
                <a:ext cx="269800" cy="257152"/>
              </a:xfrm>
              <a:custGeom>
                <a:avLst/>
                <a:gdLst>
                  <a:gd name="connsiteX0" fmla="*/ 146372 w 269800"/>
                  <a:gd name="connsiteY0" fmla="*/ 0 h 257152"/>
                  <a:gd name="connsiteX1" fmla="*/ 161801 w 269800"/>
                  <a:gd name="connsiteY1" fmla="*/ 126514 h 257152"/>
                  <a:gd name="connsiteX2" fmla="*/ 1343 w 269800"/>
                  <a:gd name="connsiteY2" fmla="*/ 253029 h 257152"/>
                  <a:gd name="connsiteX3" fmla="*/ 242030 w 269800"/>
                  <a:gd name="connsiteY3" fmla="*/ 209829 h 257152"/>
                  <a:gd name="connsiteX4" fmla="*/ 269801 w 269800"/>
                  <a:gd name="connsiteY4" fmla="*/ 178972 h 257152"/>
                  <a:gd name="connsiteX5" fmla="*/ 266715 w 269800"/>
                  <a:gd name="connsiteY5" fmla="*/ 40115 h 257152"/>
                  <a:gd name="connsiteX6" fmla="*/ 146372 w 269800"/>
                  <a:gd name="connsiteY6" fmla="*/ 0 h 257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800" h="257152">
                    <a:moveTo>
                      <a:pt x="146372" y="0"/>
                    </a:moveTo>
                    <a:lnTo>
                      <a:pt x="161801" y="126514"/>
                    </a:lnTo>
                    <a:cubicBezTo>
                      <a:pt x="161801" y="126514"/>
                      <a:pt x="-17170" y="231429"/>
                      <a:pt x="1343" y="253029"/>
                    </a:cubicBezTo>
                    <a:cubicBezTo>
                      <a:pt x="13687" y="268458"/>
                      <a:pt x="171058" y="237600"/>
                      <a:pt x="242030" y="209829"/>
                    </a:cubicBezTo>
                    <a:cubicBezTo>
                      <a:pt x="266715" y="200571"/>
                      <a:pt x="269801" y="178972"/>
                      <a:pt x="269801" y="178972"/>
                    </a:cubicBezTo>
                    <a:lnTo>
                      <a:pt x="266715" y="40115"/>
                    </a:lnTo>
                    <a:lnTo>
                      <a:pt x="146372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5" name="图形 1">
              <a:extLst>
                <a:ext uri="{FF2B5EF4-FFF2-40B4-BE49-F238E27FC236}">
                  <a16:creationId xmlns:a16="http://schemas.microsoft.com/office/drawing/2014/main" id="{BE47EEE7-9494-428A-AB00-3E8270547600}"/>
                </a:ext>
              </a:extLst>
            </p:cNvPr>
            <p:cNvGrpSpPr/>
            <p:nvPr/>
          </p:nvGrpSpPr>
          <p:grpSpPr>
            <a:xfrm>
              <a:off x="14331883" y="11673439"/>
              <a:ext cx="296228" cy="502177"/>
              <a:chOff x="14331883" y="11673439"/>
              <a:chExt cx="296228" cy="502177"/>
            </a:xfrm>
          </p:grpSpPr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DAC9EC80-3F18-4FB7-88B7-46D5C33D2ABC}"/>
                  </a:ext>
                </a:extLst>
              </p:cNvPr>
              <p:cNvSpPr/>
              <p:nvPr/>
            </p:nvSpPr>
            <p:spPr>
              <a:xfrm>
                <a:off x="14397788" y="11762925"/>
                <a:ext cx="230323" cy="412692"/>
              </a:xfrm>
              <a:custGeom>
                <a:avLst/>
                <a:gdLst>
                  <a:gd name="connsiteX0" fmla="*/ 39009 w 230323"/>
                  <a:gd name="connsiteY0" fmla="*/ 49372 h 412692"/>
                  <a:gd name="connsiteX1" fmla="*/ 39009 w 230323"/>
                  <a:gd name="connsiteY1" fmla="*/ 256114 h 412692"/>
                  <a:gd name="connsiteX2" fmla="*/ 125409 w 230323"/>
                  <a:gd name="connsiteY2" fmla="*/ 70971 h 412692"/>
                  <a:gd name="connsiteX3" fmla="*/ 150095 w 230323"/>
                  <a:gd name="connsiteY3" fmla="*/ 0 h 412692"/>
                  <a:gd name="connsiteX4" fmla="*/ 230324 w 230323"/>
                  <a:gd name="connsiteY4" fmla="*/ 74057 h 412692"/>
                  <a:gd name="connsiteX5" fmla="*/ 140838 w 230323"/>
                  <a:gd name="connsiteY5" fmla="*/ 302400 h 412692"/>
                  <a:gd name="connsiteX6" fmla="*/ 51353 w 230323"/>
                  <a:gd name="connsiteY6" fmla="*/ 410400 h 412692"/>
                  <a:gd name="connsiteX7" fmla="*/ 1981 w 230323"/>
                  <a:gd name="connsiteY7" fmla="*/ 379542 h 412692"/>
                  <a:gd name="connsiteX8" fmla="*/ 39009 w 230323"/>
                  <a:gd name="connsiteY8" fmla="*/ 49372 h 412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0323" h="412692">
                    <a:moveTo>
                      <a:pt x="39009" y="49372"/>
                    </a:moveTo>
                    <a:cubicBezTo>
                      <a:pt x="39009" y="49372"/>
                      <a:pt x="17409" y="256114"/>
                      <a:pt x="39009" y="256114"/>
                    </a:cubicBezTo>
                    <a:cubicBezTo>
                      <a:pt x="57523" y="253028"/>
                      <a:pt x="125409" y="70971"/>
                      <a:pt x="125409" y="70971"/>
                    </a:cubicBezTo>
                    <a:lnTo>
                      <a:pt x="150095" y="0"/>
                    </a:lnTo>
                    <a:cubicBezTo>
                      <a:pt x="150095" y="0"/>
                      <a:pt x="217981" y="46286"/>
                      <a:pt x="230324" y="74057"/>
                    </a:cubicBezTo>
                    <a:cubicBezTo>
                      <a:pt x="211809" y="154286"/>
                      <a:pt x="177866" y="237599"/>
                      <a:pt x="140838" y="302400"/>
                    </a:cubicBezTo>
                    <a:cubicBezTo>
                      <a:pt x="116152" y="342514"/>
                      <a:pt x="60609" y="407314"/>
                      <a:pt x="51353" y="410400"/>
                    </a:cubicBezTo>
                    <a:cubicBezTo>
                      <a:pt x="42095" y="413486"/>
                      <a:pt x="8152" y="419657"/>
                      <a:pt x="1981" y="379542"/>
                    </a:cubicBezTo>
                    <a:cubicBezTo>
                      <a:pt x="-10362" y="286971"/>
                      <a:pt x="39009" y="49372"/>
                      <a:pt x="39009" y="49372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B0AEAB3D-7B98-44A5-A05F-63925A1035D2}"/>
                  </a:ext>
                </a:extLst>
              </p:cNvPr>
              <p:cNvSpPr/>
              <p:nvPr/>
            </p:nvSpPr>
            <p:spPr>
              <a:xfrm>
                <a:off x="14331883" y="11673439"/>
                <a:ext cx="225129" cy="345599"/>
              </a:xfrm>
              <a:custGeom>
                <a:avLst/>
                <a:gdLst>
                  <a:gd name="connsiteX0" fmla="*/ 0 w 225129"/>
                  <a:gd name="connsiteY0" fmla="*/ 67885 h 345599"/>
                  <a:gd name="connsiteX1" fmla="*/ 101829 w 225129"/>
                  <a:gd name="connsiteY1" fmla="*/ 138857 h 345599"/>
                  <a:gd name="connsiteX2" fmla="*/ 101829 w 225129"/>
                  <a:gd name="connsiteY2" fmla="*/ 345599 h 345599"/>
                  <a:gd name="connsiteX3" fmla="*/ 222172 w 225129"/>
                  <a:gd name="connsiteY3" fmla="*/ 129599 h 345599"/>
                  <a:gd name="connsiteX4" fmla="*/ 216000 w 225129"/>
                  <a:gd name="connsiteY4" fmla="*/ 86400 h 345599"/>
                  <a:gd name="connsiteX5" fmla="*/ 111086 w 225129"/>
                  <a:gd name="connsiteY5" fmla="*/ 0 h 345599"/>
                  <a:gd name="connsiteX6" fmla="*/ 0 w 225129"/>
                  <a:gd name="connsiteY6" fmla="*/ 67885 h 34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5129" h="345599">
                    <a:moveTo>
                      <a:pt x="0" y="67885"/>
                    </a:moveTo>
                    <a:lnTo>
                      <a:pt x="101829" y="138857"/>
                    </a:lnTo>
                    <a:cubicBezTo>
                      <a:pt x="101829" y="138857"/>
                      <a:pt x="70972" y="342514"/>
                      <a:pt x="101829" y="345599"/>
                    </a:cubicBezTo>
                    <a:cubicBezTo>
                      <a:pt x="123429" y="345599"/>
                      <a:pt x="197486" y="203656"/>
                      <a:pt x="222172" y="129599"/>
                    </a:cubicBezTo>
                    <a:cubicBezTo>
                      <a:pt x="231429" y="104914"/>
                      <a:pt x="216000" y="86400"/>
                      <a:pt x="216000" y="86400"/>
                    </a:cubicBezTo>
                    <a:lnTo>
                      <a:pt x="111086" y="0"/>
                    </a:lnTo>
                    <a:lnTo>
                      <a:pt x="0" y="67885"/>
                    </a:ln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72927860-B5FA-49C5-A5A0-CCA9EC3E8D2B}"/>
                </a:ext>
              </a:extLst>
            </p:cNvPr>
            <p:cNvSpPr/>
            <p:nvPr/>
          </p:nvSpPr>
          <p:spPr>
            <a:xfrm>
              <a:off x="13023540" y="9568982"/>
              <a:ext cx="1075355" cy="1458884"/>
            </a:xfrm>
            <a:custGeom>
              <a:avLst/>
              <a:gdLst>
                <a:gd name="connsiteX0" fmla="*/ 1046057 w 1075355"/>
                <a:gd name="connsiteY0" fmla="*/ 1422515 h 1458884"/>
                <a:gd name="connsiteX1" fmla="*/ 962743 w 1075355"/>
                <a:gd name="connsiteY1" fmla="*/ 1437943 h 1458884"/>
                <a:gd name="connsiteX2" fmla="*/ 901029 w 1075355"/>
                <a:gd name="connsiteY2" fmla="*/ 1447200 h 1458884"/>
                <a:gd name="connsiteX3" fmla="*/ 595543 w 1075355"/>
                <a:gd name="connsiteY3" fmla="*/ 1447200 h 1458884"/>
                <a:gd name="connsiteX4" fmla="*/ 610971 w 1075355"/>
                <a:gd name="connsiteY4" fmla="*/ 823886 h 1458884"/>
                <a:gd name="connsiteX5" fmla="*/ 478286 w 1075355"/>
                <a:gd name="connsiteY5" fmla="*/ 1437943 h 1458884"/>
                <a:gd name="connsiteX6" fmla="*/ 0 w 1075355"/>
                <a:gd name="connsiteY6" fmla="*/ 1385486 h 1458884"/>
                <a:gd name="connsiteX7" fmla="*/ 141943 w 1075355"/>
                <a:gd name="connsiteY7" fmla="*/ 465943 h 1458884"/>
                <a:gd name="connsiteX8" fmla="*/ 262286 w 1075355"/>
                <a:gd name="connsiteY8" fmla="*/ 0 h 1458884"/>
                <a:gd name="connsiteX9" fmla="*/ 938057 w 1075355"/>
                <a:gd name="connsiteY9" fmla="*/ 0 h 1458884"/>
                <a:gd name="connsiteX10" fmla="*/ 1070743 w 1075355"/>
                <a:gd name="connsiteY10" fmla="*/ 478286 h 1458884"/>
                <a:gd name="connsiteX11" fmla="*/ 1046057 w 1075355"/>
                <a:gd name="connsiteY11" fmla="*/ 1422515 h 1458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75355" h="1458884">
                  <a:moveTo>
                    <a:pt x="1046057" y="1422515"/>
                  </a:moveTo>
                  <a:cubicBezTo>
                    <a:pt x="1046057" y="1422515"/>
                    <a:pt x="1015200" y="1431771"/>
                    <a:pt x="962743" y="1437943"/>
                  </a:cubicBezTo>
                  <a:cubicBezTo>
                    <a:pt x="944229" y="1441029"/>
                    <a:pt x="922628" y="1444114"/>
                    <a:pt x="901029" y="1447200"/>
                  </a:cubicBezTo>
                  <a:cubicBezTo>
                    <a:pt x="814628" y="1459543"/>
                    <a:pt x="700458" y="1465714"/>
                    <a:pt x="595543" y="1447200"/>
                  </a:cubicBezTo>
                  <a:cubicBezTo>
                    <a:pt x="573943" y="1286743"/>
                    <a:pt x="610971" y="823886"/>
                    <a:pt x="610971" y="823886"/>
                  </a:cubicBezTo>
                  <a:lnTo>
                    <a:pt x="478286" y="1437943"/>
                  </a:lnTo>
                  <a:cubicBezTo>
                    <a:pt x="333257" y="1456458"/>
                    <a:pt x="160458" y="1434857"/>
                    <a:pt x="0" y="1385486"/>
                  </a:cubicBezTo>
                  <a:cubicBezTo>
                    <a:pt x="27771" y="1154057"/>
                    <a:pt x="135771" y="527657"/>
                    <a:pt x="141943" y="465943"/>
                  </a:cubicBezTo>
                  <a:cubicBezTo>
                    <a:pt x="160458" y="311657"/>
                    <a:pt x="262286" y="0"/>
                    <a:pt x="262286" y="0"/>
                  </a:cubicBezTo>
                  <a:lnTo>
                    <a:pt x="938057" y="0"/>
                  </a:lnTo>
                  <a:cubicBezTo>
                    <a:pt x="938057" y="0"/>
                    <a:pt x="1042971" y="225257"/>
                    <a:pt x="1070743" y="478286"/>
                  </a:cubicBezTo>
                  <a:cubicBezTo>
                    <a:pt x="1089257" y="660343"/>
                    <a:pt x="1046057" y="1422515"/>
                    <a:pt x="1046057" y="1422515"/>
                  </a:cubicBezTo>
                  <a:close/>
                </a:path>
              </a:pathLst>
            </a:custGeom>
            <a:solidFill>
              <a:srgbClr val="F6EBE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90EAE6D5-DAE0-49AE-BF13-A086A882BFC0}"/>
                </a:ext>
              </a:extLst>
            </p:cNvPr>
            <p:cNvSpPr/>
            <p:nvPr/>
          </p:nvSpPr>
          <p:spPr>
            <a:xfrm>
              <a:off x="13582054" y="9963953"/>
              <a:ext cx="55542" cy="435085"/>
            </a:xfrm>
            <a:custGeom>
              <a:avLst/>
              <a:gdLst>
                <a:gd name="connsiteX0" fmla="*/ 49372 w 55542"/>
                <a:gd name="connsiteY0" fmla="*/ 435086 h 435085"/>
                <a:gd name="connsiteX1" fmla="*/ 43200 w 55542"/>
                <a:gd name="connsiteY1" fmla="*/ 428915 h 435085"/>
                <a:gd name="connsiteX2" fmla="*/ 0 w 55542"/>
                <a:gd name="connsiteY2" fmla="*/ 6172 h 435085"/>
                <a:gd name="connsiteX3" fmla="*/ 6171 w 55542"/>
                <a:gd name="connsiteY3" fmla="*/ 0 h 435085"/>
                <a:gd name="connsiteX4" fmla="*/ 12343 w 55542"/>
                <a:gd name="connsiteY4" fmla="*/ 6172 h 435085"/>
                <a:gd name="connsiteX5" fmla="*/ 55542 w 55542"/>
                <a:gd name="connsiteY5" fmla="*/ 428915 h 435085"/>
                <a:gd name="connsiteX6" fmla="*/ 49372 w 55542"/>
                <a:gd name="connsiteY6" fmla="*/ 435086 h 435085"/>
                <a:gd name="connsiteX7" fmla="*/ 49372 w 55542"/>
                <a:gd name="connsiteY7" fmla="*/ 435086 h 43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542" h="435085">
                  <a:moveTo>
                    <a:pt x="49372" y="435086"/>
                  </a:moveTo>
                  <a:cubicBezTo>
                    <a:pt x="46286" y="435086"/>
                    <a:pt x="43200" y="432000"/>
                    <a:pt x="43200" y="428915"/>
                  </a:cubicBezTo>
                  <a:lnTo>
                    <a:pt x="0" y="6172"/>
                  </a:lnTo>
                  <a:cubicBezTo>
                    <a:pt x="0" y="3086"/>
                    <a:pt x="3086" y="0"/>
                    <a:pt x="6171" y="0"/>
                  </a:cubicBezTo>
                  <a:cubicBezTo>
                    <a:pt x="9257" y="0"/>
                    <a:pt x="12343" y="3086"/>
                    <a:pt x="12343" y="6172"/>
                  </a:cubicBezTo>
                  <a:lnTo>
                    <a:pt x="55542" y="428915"/>
                  </a:lnTo>
                  <a:cubicBezTo>
                    <a:pt x="55542" y="432000"/>
                    <a:pt x="52457" y="435086"/>
                    <a:pt x="49372" y="435086"/>
                  </a:cubicBezTo>
                  <a:cubicBezTo>
                    <a:pt x="49372" y="435086"/>
                    <a:pt x="49372" y="435086"/>
                    <a:pt x="49372" y="435086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0FD6C8B0-50B8-4646-A28B-F360E9E69999}"/>
                </a:ext>
              </a:extLst>
            </p:cNvPr>
            <p:cNvSpPr/>
            <p:nvPr/>
          </p:nvSpPr>
          <p:spPr>
            <a:xfrm>
              <a:off x="13850788" y="9728152"/>
              <a:ext cx="154599" cy="1288029"/>
            </a:xfrm>
            <a:custGeom>
              <a:avLst/>
              <a:gdLst>
                <a:gd name="connsiteX0" fmla="*/ 154008 w 154599"/>
                <a:gd name="connsiteY0" fmla="*/ 572144 h 1288029"/>
                <a:gd name="connsiteX1" fmla="*/ 132409 w 154599"/>
                <a:gd name="connsiteY1" fmla="*/ 1278773 h 1288029"/>
                <a:gd name="connsiteX2" fmla="*/ 70695 w 154599"/>
                <a:gd name="connsiteY2" fmla="*/ 1288029 h 1288029"/>
                <a:gd name="connsiteX3" fmla="*/ 92294 w 154599"/>
                <a:gd name="connsiteY3" fmla="*/ 692487 h 1288029"/>
                <a:gd name="connsiteX4" fmla="*/ 2809 w 154599"/>
                <a:gd name="connsiteY4" fmla="*/ 47573 h 1288029"/>
                <a:gd name="connsiteX5" fmla="*/ 55266 w 154599"/>
                <a:gd name="connsiteY5" fmla="*/ 16716 h 1288029"/>
                <a:gd name="connsiteX6" fmla="*/ 154008 w 154599"/>
                <a:gd name="connsiteY6" fmla="*/ 572144 h 1288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99" h="1288029">
                  <a:moveTo>
                    <a:pt x="154008" y="572144"/>
                  </a:moveTo>
                  <a:cubicBezTo>
                    <a:pt x="157094" y="806658"/>
                    <a:pt x="147838" y="1044258"/>
                    <a:pt x="132409" y="1278773"/>
                  </a:cubicBezTo>
                  <a:cubicBezTo>
                    <a:pt x="113894" y="1281859"/>
                    <a:pt x="92294" y="1284943"/>
                    <a:pt x="70695" y="1288029"/>
                  </a:cubicBezTo>
                  <a:cubicBezTo>
                    <a:pt x="83037" y="1090544"/>
                    <a:pt x="89209" y="889972"/>
                    <a:pt x="92294" y="692487"/>
                  </a:cubicBezTo>
                  <a:cubicBezTo>
                    <a:pt x="92294" y="473401"/>
                    <a:pt x="98466" y="251229"/>
                    <a:pt x="2809" y="47573"/>
                  </a:cubicBezTo>
                  <a:cubicBezTo>
                    <a:pt x="-12620" y="10544"/>
                    <a:pt x="39838" y="-20313"/>
                    <a:pt x="55266" y="16716"/>
                  </a:cubicBezTo>
                  <a:cubicBezTo>
                    <a:pt x="138580" y="195687"/>
                    <a:pt x="154008" y="380830"/>
                    <a:pt x="154008" y="572144"/>
                  </a:cubicBezTo>
                  <a:close/>
                </a:path>
              </a:pathLst>
            </a:custGeom>
            <a:solidFill>
              <a:srgbClr val="7F95BC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BF7FEB04-4557-42D3-85DB-BCEA0467BF1B}"/>
                </a:ext>
              </a:extLst>
            </p:cNvPr>
            <p:cNvSpPr/>
            <p:nvPr/>
          </p:nvSpPr>
          <p:spPr>
            <a:xfrm>
              <a:off x="12157832" y="8695699"/>
              <a:ext cx="1051240" cy="462308"/>
            </a:xfrm>
            <a:custGeom>
              <a:avLst/>
              <a:gdLst>
                <a:gd name="connsiteX0" fmla="*/ 921251 w 1051240"/>
                <a:gd name="connsiteY0" fmla="*/ 49397 h 462308"/>
                <a:gd name="connsiteX1" fmla="*/ 378166 w 1051240"/>
                <a:gd name="connsiteY1" fmla="*/ 271569 h 462308"/>
                <a:gd name="connsiteX2" fmla="*/ 72679 w 1051240"/>
                <a:gd name="connsiteY2" fmla="*/ 26 h 462308"/>
                <a:gd name="connsiteX3" fmla="*/ 4794 w 1051240"/>
                <a:gd name="connsiteY3" fmla="*/ 67911 h 462308"/>
                <a:gd name="connsiteX4" fmla="*/ 297937 w 1051240"/>
                <a:gd name="connsiteY4" fmla="*/ 453626 h 462308"/>
                <a:gd name="connsiteX5" fmla="*/ 989137 w 1051240"/>
                <a:gd name="connsiteY5" fmla="*/ 293169 h 462308"/>
                <a:gd name="connsiteX6" fmla="*/ 921251 w 1051240"/>
                <a:gd name="connsiteY6" fmla="*/ 49397 h 462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1240" h="462308">
                  <a:moveTo>
                    <a:pt x="921251" y="49397"/>
                  </a:moveTo>
                  <a:cubicBezTo>
                    <a:pt x="810166" y="80255"/>
                    <a:pt x="378166" y="271569"/>
                    <a:pt x="378166" y="271569"/>
                  </a:cubicBezTo>
                  <a:cubicBezTo>
                    <a:pt x="378166" y="271569"/>
                    <a:pt x="78851" y="-3060"/>
                    <a:pt x="72679" y="26"/>
                  </a:cubicBezTo>
                  <a:cubicBezTo>
                    <a:pt x="10965" y="30883"/>
                    <a:pt x="-10635" y="33969"/>
                    <a:pt x="4794" y="67911"/>
                  </a:cubicBezTo>
                  <a:cubicBezTo>
                    <a:pt x="10965" y="77169"/>
                    <a:pt x="109708" y="271569"/>
                    <a:pt x="297937" y="453626"/>
                  </a:cubicBezTo>
                  <a:cubicBezTo>
                    <a:pt x="347308" y="499911"/>
                    <a:pt x="844108" y="348712"/>
                    <a:pt x="989137" y="293169"/>
                  </a:cubicBezTo>
                  <a:cubicBezTo>
                    <a:pt x="1075536" y="262312"/>
                    <a:pt x="1087880" y="26"/>
                    <a:pt x="921251" y="49397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1F030DDF-A5A1-4C54-B5FC-841CB633800A}"/>
                </a:ext>
              </a:extLst>
            </p:cNvPr>
            <p:cNvSpPr/>
            <p:nvPr/>
          </p:nvSpPr>
          <p:spPr>
            <a:xfrm>
              <a:off x="13390740" y="8358472"/>
              <a:ext cx="151199" cy="207652"/>
            </a:xfrm>
            <a:custGeom>
              <a:avLst/>
              <a:gdLst>
                <a:gd name="connsiteX0" fmla="*/ 0 w 151199"/>
                <a:gd name="connsiteY0" fmla="*/ 910 h 207652"/>
                <a:gd name="connsiteX1" fmla="*/ 40115 w 151199"/>
                <a:gd name="connsiteY1" fmla="*/ 192224 h 207652"/>
                <a:gd name="connsiteX2" fmla="*/ 104914 w 151199"/>
                <a:gd name="connsiteY2" fmla="*/ 207653 h 207652"/>
                <a:gd name="connsiteX3" fmla="*/ 151200 w 151199"/>
                <a:gd name="connsiteY3" fmla="*/ 108910 h 207652"/>
                <a:gd name="connsiteX4" fmla="*/ 0 w 151199"/>
                <a:gd name="connsiteY4" fmla="*/ 910 h 207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199" h="207652">
                  <a:moveTo>
                    <a:pt x="0" y="910"/>
                  </a:moveTo>
                  <a:lnTo>
                    <a:pt x="40115" y="192224"/>
                  </a:lnTo>
                  <a:lnTo>
                    <a:pt x="104914" y="207653"/>
                  </a:lnTo>
                  <a:lnTo>
                    <a:pt x="151200" y="108910"/>
                  </a:lnTo>
                  <a:cubicBezTo>
                    <a:pt x="151200" y="105824"/>
                    <a:pt x="98743" y="-11433"/>
                    <a:pt x="0" y="910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EA36DD00-CEE8-4407-BC67-2417B22E738F}"/>
                </a:ext>
              </a:extLst>
            </p:cNvPr>
            <p:cNvSpPr/>
            <p:nvPr/>
          </p:nvSpPr>
          <p:spPr>
            <a:xfrm>
              <a:off x="13693140" y="8202010"/>
              <a:ext cx="249942" cy="370285"/>
            </a:xfrm>
            <a:custGeom>
              <a:avLst/>
              <a:gdLst>
                <a:gd name="connsiteX0" fmla="*/ 249942 w 249942"/>
                <a:gd name="connsiteY0" fmla="*/ 0 h 370285"/>
                <a:gd name="connsiteX1" fmla="*/ 126514 w 249942"/>
                <a:gd name="connsiteY1" fmla="*/ 364114 h 370285"/>
                <a:gd name="connsiteX2" fmla="*/ 46286 w 249942"/>
                <a:gd name="connsiteY2" fmla="*/ 370286 h 370285"/>
                <a:gd name="connsiteX3" fmla="*/ 0 w 249942"/>
                <a:gd name="connsiteY3" fmla="*/ 253028 h 370285"/>
                <a:gd name="connsiteX4" fmla="*/ 92571 w 249942"/>
                <a:gd name="connsiteY4" fmla="*/ 114171 h 370285"/>
                <a:gd name="connsiteX5" fmla="*/ 249942 w 249942"/>
                <a:gd name="connsiteY5" fmla="*/ 0 h 37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942" h="370285">
                  <a:moveTo>
                    <a:pt x="249942" y="0"/>
                  </a:moveTo>
                  <a:cubicBezTo>
                    <a:pt x="249942" y="0"/>
                    <a:pt x="249942" y="185143"/>
                    <a:pt x="126514" y="364114"/>
                  </a:cubicBezTo>
                  <a:lnTo>
                    <a:pt x="46286" y="370286"/>
                  </a:lnTo>
                  <a:lnTo>
                    <a:pt x="0" y="253028"/>
                  </a:lnTo>
                  <a:lnTo>
                    <a:pt x="92571" y="114171"/>
                  </a:lnTo>
                  <a:lnTo>
                    <a:pt x="249942" y="0"/>
                  </a:ln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9EB1CC7E-B19F-4193-A041-E323E7D16E27}"/>
                </a:ext>
              </a:extLst>
            </p:cNvPr>
            <p:cNvSpPr/>
            <p:nvPr/>
          </p:nvSpPr>
          <p:spPr>
            <a:xfrm>
              <a:off x="12996515" y="8660931"/>
              <a:ext cx="511621" cy="417422"/>
            </a:xfrm>
            <a:custGeom>
              <a:avLst/>
              <a:gdLst>
                <a:gd name="connsiteX0" fmla="*/ 138111 w 511621"/>
                <a:gd name="connsiteY0" fmla="*/ 417423 h 417422"/>
                <a:gd name="connsiteX1" fmla="*/ 511483 w 511621"/>
                <a:gd name="connsiteY1" fmla="*/ 71822 h 417422"/>
                <a:gd name="connsiteX2" fmla="*/ 2340 w 511621"/>
                <a:gd name="connsiteY2" fmla="*/ 62565 h 417422"/>
                <a:gd name="connsiteX3" fmla="*/ 138111 w 511621"/>
                <a:gd name="connsiteY3" fmla="*/ 417423 h 417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1621" h="417422">
                  <a:moveTo>
                    <a:pt x="138111" y="417423"/>
                  </a:moveTo>
                  <a:cubicBezTo>
                    <a:pt x="317082" y="371137"/>
                    <a:pt x="517653" y="152051"/>
                    <a:pt x="511483" y="71822"/>
                  </a:cubicBezTo>
                  <a:cubicBezTo>
                    <a:pt x="505311" y="-33092"/>
                    <a:pt x="196739" y="-11492"/>
                    <a:pt x="2340" y="62565"/>
                  </a:cubicBezTo>
                  <a:cubicBezTo>
                    <a:pt x="-16175" y="136622"/>
                    <a:pt x="79483" y="331022"/>
                    <a:pt x="138111" y="417423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45F7CA67-28D4-4D4E-A5B1-6DF23181F812}"/>
                </a:ext>
              </a:extLst>
            </p:cNvPr>
            <p:cNvSpPr/>
            <p:nvPr/>
          </p:nvSpPr>
          <p:spPr>
            <a:xfrm>
              <a:off x="13185118" y="8601720"/>
              <a:ext cx="830520" cy="998209"/>
            </a:xfrm>
            <a:custGeom>
              <a:avLst/>
              <a:gdLst>
                <a:gd name="connsiteX0" fmla="*/ 785737 w 830520"/>
                <a:gd name="connsiteY0" fmla="*/ 396404 h 998209"/>
                <a:gd name="connsiteX1" fmla="*/ 770308 w 830520"/>
                <a:gd name="connsiteY1" fmla="*/ 69318 h 998209"/>
                <a:gd name="connsiteX2" fmla="*/ 396936 w 830520"/>
                <a:gd name="connsiteY2" fmla="*/ 4519 h 998209"/>
                <a:gd name="connsiteX3" fmla="*/ 91451 w 830520"/>
                <a:gd name="connsiteY3" fmla="*/ 106347 h 998209"/>
                <a:gd name="connsiteX4" fmla="*/ 51336 w 830520"/>
                <a:gd name="connsiteY4" fmla="*/ 661776 h 998209"/>
                <a:gd name="connsiteX5" fmla="*/ 94536 w 830520"/>
                <a:gd name="connsiteY5" fmla="*/ 991947 h 998209"/>
                <a:gd name="connsiteX6" fmla="*/ 779565 w 830520"/>
                <a:gd name="connsiteY6" fmla="*/ 976519 h 998209"/>
                <a:gd name="connsiteX7" fmla="*/ 785737 w 830520"/>
                <a:gd name="connsiteY7" fmla="*/ 396404 h 998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0520" h="998209">
                  <a:moveTo>
                    <a:pt x="785737" y="396404"/>
                  </a:moveTo>
                  <a:cubicBezTo>
                    <a:pt x="794993" y="365547"/>
                    <a:pt x="890651" y="134119"/>
                    <a:pt x="770308" y="69318"/>
                  </a:cubicBezTo>
                  <a:cubicBezTo>
                    <a:pt x="665393" y="13776"/>
                    <a:pt x="517279" y="-10910"/>
                    <a:pt x="396936" y="4519"/>
                  </a:cubicBezTo>
                  <a:cubicBezTo>
                    <a:pt x="264250" y="19947"/>
                    <a:pt x="131565" y="41547"/>
                    <a:pt x="91451" y="106347"/>
                  </a:cubicBezTo>
                  <a:cubicBezTo>
                    <a:pt x="-22721" y="294576"/>
                    <a:pt x="-22721" y="461204"/>
                    <a:pt x="51336" y="661776"/>
                  </a:cubicBezTo>
                  <a:cubicBezTo>
                    <a:pt x="72936" y="720404"/>
                    <a:pt x="79107" y="856176"/>
                    <a:pt x="94536" y="991947"/>
                  </a:cubicBezTo>
                  <a:cubicBezTo>
                    <a:pt x="94536" y="991947"/>
                    <a:pt x="381508" y="1013547"/>
                    <a:pt x="779565" y="976519"/>
                  </a:cubicBezTo>
                  <a:cubicBezTo>
                    <a:pt x="751794" y="754347"/>
                    <a:pt x="779565" y="421090"/>
                    <a:pt x="785737" y="396404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9D40EE37-6CB2-4A24-BDF5-9C98471EB14E}"/>
                </a:ext>
              </a:extLst>
            </p:cNvPr>
            <p:cNvSpPr/>
            <p:nvPr/>
          </p:nvSpPr>
          <p:spPr>
            <a:xfrm>
              <a:off x="13349136" y="7903035"/>
              <a:ext cx="325880" cy="596921"/>
            </a:xfrm>
            <a:custGeom>
              <a:avLst/>
              <a:gdLst>
                <a:gd name="connsiteX0" fmla="*/ 239089 w 325880"/>
                <a:gd name="connsiteY0" fmla="*/ 323661 h 596921"/>
                <a:gd name="connsiteX1" fmla="*/ 288461 w 325880"/>
                <a:gd name="connsiteY1" fmla="*/ 178632 h 596921"/>
                <a:gd name="connsiteX2" fmla="*/ 325490 w 325880"/>
                <a:gd name="connsiteY2" fmla="*/ 8918 h 596921"/>
                <a:gd name="connsiteX3" fmla="*/ 1490 w 325880"/>
                <a:gd name="connsiteY3" fmla="*/ 234175 h 596921"/>
                <a:gd name="connsiteX4" fmla="*/ 180461 w 325880"/>
                <a:gd name="connsiteY4" fmla="*/ 582861 h 596921"/>
                <a:gd name="connsiteX5" fmla="*/ 239089 w 325880"/>
                <a:gd name="connsiteY5" fmla="*/ 323661 h 596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5880" h="596921">
                  <a:moveTo>
                    <a:pt x="239089" y="323661"/>
                  </a:moveTo>
                  <a:cubicBezTo>
                    <a:pt x="248347" y="271204"/>
                    <a:pt x="263775" y="224918"/>
                    <a:pt x="288461" y="178632"/>
                  </a:cubicBezTo>
                  <a:cubicBezTo>
                    <a:pt x="313147" y="129261"/>
                    <a:pt x="328575" y="8918"/>
                    <a:pt x="325490" y="8918"/>
                  </a:cubicBezTo>
                  <a:cubicBezTo>
                    <a:pt x="211318" y="-31196"/>
                    <a:pt x="23089" y="67547"/>
                    <a:pt x="1490" y="234175"/>
                  </a:cubicBezTo>
                  <a:cubicBezTo>
                    <a:pt x="-7768" y="302061"/>
                    <a:pt x="23089" y="555090"/>
                    <a:pt x="180461" y="582861"/>
                  </a:cubicBezTo>
                  <a:cubicBezTo>
                    <a:pt x="279204" y="663090"/>
                    <a:pt x="229832" y="376118"/>
                    <a:pt x="239089" y="323661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E9D214D6-6BEA-47B3-AE78-ED9A4F345B63}"/>
                </a:ext>
              </a:extLst>
            </p:cNvPr>
            <p:cNvSpPr/>
            <p:nvPr/>
          </p:nvSpPr>
          <p:spPr>
            <a:xfrm>
              <a:off x="13416622" y="7957338"/>
              <a:ext cx="427717" cy="575166"/>
            </a:xfrm>
            <a:custGeom>
              <a:avLst/>
              <a:gdLst>
                <a:gd name="connsiteX0" fmla="*/ 8061 w 427717"/>
                <a:gd name="connsiteY0" fmla="*/ 186043 h 575166"/>
                <a:gd name="connsiteX1" fmla="*/ 20403 w 427717"/>
                <a:gd name="connsiteY1" fmla="*/ 445243 h 575166"/>
                <a:gd name="connsiteX2" fmla="*/ 171603 w 427717"/>
                <a:gd name="connsiteY2" fmla="*/ 574843 h 575166"/>
                <a:gd name="connsiteX3" fmla="*/ 390689 w 427717"/>
                <a:gd name="connsiteY3" fmla="*/ 429815 h 575166"/>
                <a:gd name="connsiteX4" fmla="*/ 427718 w 427717"/>
                <a:gd name="connsiteY4" fmla="*/ 201472 h 575166"/>
                <a:gd name="connsiteX5" fmla="*/ 211718 w 427717"/>
                <a:gd name="connsiteY5" fmla="*/ 901 h 575166"/>
                <a:gd name="connsiteX6" fmla="*/ 8061 w 427717"/>
                <a:gd name="connsiteY6" fmla="*/ 186043 h 575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717" h="575166">
                  <a:moveTo>
                    <a:pt x="8061" y="186043"/>
                  </a:moveTo>
                  <a:cubicBezTo>
                    <a:pt x="8061" y="186043"/>
                    <a:pt x="-16625" y="377358"/>
                    <a:pt x="20403" y="445243"/>
                  </a:cubicBezTo>
                  <a:cubicBezTo>
                    <a:pt x="57432" y="513129"/>
                    <a:pt x="119146" y="571758"/>
                    <a:pt x="171603" y="574843"/>
                  </a:cubicBezTo>
                  <a:cubicBezTo>
                    <a:pt x="239489" y="581015"/>
                    <a:pt x="353661" y="497700"/>
                    <a:pt x="390689" y="429815"/>
                  </a:cubicBezTo>
                  <a:cubicBezTo>
                    <a:pt x="427718" y="361929"/>
                    <a:pt x="427718" y="253929"/>
                    <a:pt x="427718" y="201472"/>
                  </a:cubicBezTo>
                  <a:cubicBezTo>
                    <a:pt x="424632" y="105815"/>
                    <a:pt x="396861" y="25586"/>
                    <a:pt x="211718" y="901"/>
                  </a:cubicBezTo>
                  <a:cubicBezTo>
                    <a:pt x="122232" y="-11443"/>
                    <a:pt x="26575" y="105815"/>
                    <a:pt x="8061" y="186043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BDA95EA9-B37D-44DE-8C8B-04AD2995A144}"/>
                </a:ext>
              </a:extLst>
            </p:cNvPr>
            <p:cNvSpPr/>
            <p:nvPr/>
          </p:nvSpPr>
          <p:spPr>
            <a:xfrm>
              <a:off x="13554283" y="8231589"/>
              <a:ext cx="55542" cy="133963"/>
            </a:xfrm>
            <a:custGeom>
              <a:avLst/>
              <a:gdLst>
                <a:gd name="connsiteX0" fmla="*/ 30857 w 55542"/>
                <a:gd name="connsiteY0" fmla="*/ 133964 h 133963"/>
                <a:gd name="connsiteX1" fmla="*/ 6171 w 55542"/>
                <a:gd name="connsiteY1" fmla="*/ 127792 h 133963"/>
                <a:gd name="connsiteX2" fmla="*/ 0 w 55542"/>
                <a:gd name="connsiteY2" fmla="*/ 115449 h 133963"/>
                <a:gd name="connsiteX3" fmla="*/ 27771 w 55542"/>
                <a:gd name="connsiteY3" fmla="*/ 4364 h 133963"/>
                <a:gd name="connsiteX4" fmla="*/ 33942 w 55542"/>
                <a:gd name="connsiteY4" fmla="*/ 1278 h 133963"/>
                <a:gd name="connsiteX5" fmla="*/ 37028 w 55542"/>
                <a:gd name="connsiteY5" fmla="*/ 7449 h 133963"/>
                <a:gd name="connsiteX6" fmla="*/ 9257 w 55542"/>
                <a:gd name="connsiteY6" fmla="*/ 115449 h 133963"/>
                <a:gd name="connsiteX7" fmla="*/ 9257 w 55542"/>
                <a:gd name="connsiteY7" fmla="*/ 118535 h 133963"/>
                <a:gd name="connsiteX8" fmla="*/ 49371 w 55542"/>
                <a:gd name="connsiteY8" fmla="*/ 118535 h 133963"/>
                <a:gd name="connsiteX9" fmla="*/ 55542 w 55542"/>
                <a:gd name="connsiteY9" fmla="*/ 124707 h 133963"/>
                <a:gd name="connsiteX10" fmla="*/ 49371 w 55542"/>
                <a:gd name="connsiteY10" fmla="*/ 130878 h 133963"/>
                <a:gd name="connsiteX11" fmla="*/ 30857 w 55542"/>
                <a:gd name="connsiteY11" fmla="*/ 133964 h 133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542" h="133963">
                  <a:moveTo>
                    <a:pt x="30857" y="133964"/>
                  </a:moveTo>
                  <a:cubicBezTo>
                    <a:pt x="21599" y="133964"/>
                    <a:pt x="12343" y="133964"/>
                    <a:pt x="6171" y="127792"/>
                  </a:cubicBezTo>
                  <a:cubicBezTo>
                    <a:pt x="3085" y="124707"/>
                    <a:pt x="0" y="121621"/>
                    <a:pt x="0" y="115449"/>
                  </a:cubicBezTo>
                  <a:cubicBezTo>
                    <a:pt x="0" y="93849"/>
                    <a:pt x="27771" y="7449"/>
                    <a:pt x="27771" y="4364"/>
                  </a:cubicBezTo>
                  <a:cubicBezTo>
                    <a:pt x="27771" y="1278"/>
                    <a:pt x="30857" y="-1807"/>
                    <a:pt x="33942" y="1278"/>
                  </a:cubicBezTo>
                  <a:cubicBezTo>
                    <a:pt x="37028" y="1278"/>
                    <a:pt x="40114" y="4364"/>
                    <a:pt x="37028" y="7449"/>
                  </a:cubicBezTo>
                  <a:cubicBezTo>
                    <a:pt x="30857" y="32135"/>
                    <a:pt x="9257" y="96935"/>
                    <a:pt x="9257" y="115449"/>
                  </a:cubicBezTo>
                  <a:cubicBezTo>
                    <a:pt x="9257" y="115449"/>
                    <a:pt x="9257" y="118535"/>
                    <a:pt x="9257" y="118535"/>
                  </a:cubicBezTo>
                  <a:cubicBezTo>
                    <a:pt x="15429" y="124707"/>
                    <a:pt x="37028" y="121621"/>
                    <a:pt x="49371" y="118535"/>
                  </a:cubicBezTo>
                  <a:cubicBezTo>
                    <a:pt x="52457" y="118535"/>
                    <a:pt x="55542" y="118535"/>
                    <a:pt x="55542" y="124707"/>
                  </a:cubicBezTo>
                  <a:cubicBezTo>
                    <a:pt x="55542" y="127792"/>
                    <a:pt x="55542" y="130878"/>
                    <a:pt x="49371" y="130878"/>
                  </a:cubicBezTo>
                  <a:cubicBezTo>
                    <a:pt x="52457" y="130878"/>
                    <a:pt x="43200" y="133964"/>
                    <a:pt x="30857" y="133964"/>
                  </a:cubicBezTo>
                  <a:close/>
                </a:path>
              </a:pathLst>
            </a:custGeom>
            <a:solidFill>
              <a:srgbClr val="E58777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01D1568F-FDE5-4625-8DEB-48D1DBD69D2B}"/>
                </a:ext>
              </a:extLst>
            </p:cNvPr>
            <p:cNvSpPr/>
            <p:nvPr/>
          </p:nvSpPr>
          <p:spPr>
            <a:xfrm>
              <a:off x="13535769" y="8414925"/>
              <a:ext cx="107999" cy="55542"/>
            </a:xfrm>
            <a:custGeom>
              <a:avLst/>
              <a:gdLst>
                <a:gd name="connsiteX0" fmla="*/ 108000 w 107999"/>
                <a:gd name="connsiteY0" fmla="*/ 0 h 55542"/>
                <a:gd name="connsiteX1" fmla="*/ 0 w 107999"/>
                <a:gd name="connsiteY1" fmla="*/ 0 h 55542"/>
                <a:gd name="connsiteX2" fmla="*/ 52457 w 107999"/>
                <a:gd name="connsiteY2" fmla="*/ 55542 h 55542"/>
                <a:gd name="connsiteX3" fmla="*/ 108000 w 107999"/>
                <a:gd name="connsiteY3" fmla="*/ 0 h 5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999" h="55542">
                  <a:moveTo>
                    <a:pt x="108000" y="0"/>
                  </a:moveTo>
                  <a:cubicBezTo>
                    <a:pt x="52457" y="24685"/>
                    <a:pt x="0" y="0"/>
                    <a:pt x="0" y="0"/>
                  </a:cubicBezTo>
                  <a:cubicBezTo>
                    <a:pt x="0" y="0"/>
                    <a:pt x="15429" y="55542"/>
                    <a:pt x="52457" y="55542"/>
                  </a:cubicBezTo>
                  <a:cubicBezTo>
                    <a:pt x="95657" y="55542"/>
                    <a:pt x="108000" y="0"/>
                    <a:pt x="108000" y="0"/>
                  </a:cubicBezTo>
                  <a:close/>
                </a:path>
              </a:pathLst>
            </a:custGeom>
            <a:solidFill>
              <a:srgbClr val="FFFFFF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978CDF63-C534-4FBC-90F5-E7F33C8DA641}"/>
                </a:ext>
              </a:extLst>
            </p:cNvPr>
            <p:cNvSpPr/>
            <p:nvPr/>
          </p:nvSpPr>
          <p:spPr>
            <a:xfrm>
              <a:off x="13482706" y="8201405"/>
              <a:ext cx="40720" cy="41505"/>
            </a:xfrm>
            <a:custGeom>
              <a:avLst/>
              <a:gdLst>
                <a:gd name="connsiteX0" fmla="*/ 40720 w 40720"/>
                <a:gd name="connsiteY0" fmla="*/ 25291 h 41505"/>
                <a:gd name="connsiteX1" fmla="*/ 16034 w 40720"/>
                <a:gd name="connsiteY1" fmla="*/ 40720 h 41505"/>
                <a:gd name="connsiteX2" fmla="*/ 605 w 40720"/>
                <a:gd name="connsiteY2" fmla="*/ 16034 h 41505"/>
                <a:gd name="connsiteX3" fmla="*/ 25292 w 40720"/>
                <a:gd name="connsiteY3" fmla="*/ 605 h 41505"/>
                <a:gd name="connsiteX4" fmla="*/ 40720 w 40720"/>
                <a:gd name="connsiteY4" fmla="*/ 25291 h 4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20" h="41505">
                  <a:moveTo>
                    <a:pt x="40720" y="25291"/>
                  </a:moveTo>
                  <a:cubicBezTo>
                    <a:pt x="37634" y="37634"/>
                    <a:pt x="28377" y="43805"/>
                    <a:pt x="16034" y="40720"/>
                  </a:cubicBezTo>
                  <a:cubicBezTo>
                    <a:pt x="6777" y="37634"/>
                    <a:pt x="-2481" y="28377"/>
                    <a:pt x="605" y="16034"/>
                  </a:cubicBezTo>
                  <a:cubicBezTo>
                    <a:pt x="3691" y="6777"/>
                    <a:pt x="12948" y="-2480"/>
                    <a:pt x="25292" y="605"/>
                  </a:cubicBezTo>
                  <a:cubicBezTo>
                    <a:pt x="34548" y="3691"/>
                    <a:pt x="40720" y="16034"/>
                    <a:pt x="40720" y="25291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89B1990F-0FF4-4AF7-BAE3-EC7CE33C709F}"/>
                </a:ext>
              </a:extLst>
            </p:cNvPr>
            <p:cNvSpPr/>
            <p:nvPr/>
          </p:nvSpPr>
          <p:spPr>
            <a:xfrm>
              <a:off x="13674021" y="8207395"/>
              <a:ext cx="41505" cy="41687"/>
            </a:xfrm>
            <a:custGeom>
              <a:avLst/>
              <a:gdLst>
                <a:gd name="connsiteX0" fmla="*/ 40719 w 41505"/>
                <a:gd name="connsiteY0" fmla="*/ 25472 h 41687"/>
                <a:gd name="connsiteX1" fmla="*/ 16034 w 41505"/>
                <a:gd name="connsiteY1" fmla="*/ 40901 h 41687"/>
                <a:gd name="connsiteX2" fmla="*/ 605 w 41505"/>
                <a:gd name="connsiteY2" fmla="*/ 16215 h 41687"/>
                <a:gd name="connsiteX3" fmla="*/ 25291 w 41505"/>
                <a:gd name="connsiteY3" fmla="*/ 786 h 41687"/>
                <a:gd name="connsiteX4" fmla="*/ 40719 w 41505"/>
                <a:gd name="connsiteY4" fmla="*/ 25472 h 41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5" h="41687">
                  <a:moveTo>
                    <a:pt x="40719" y="25472"/>
                  </a:moveTo>
                  <a:cubicBezTo>
                    <a:pt x="37633" y="37815"/>
                    <a:pt x="28377" y="43987"/>
                    <a:pt x="16034" y="40901"/>
                  </a:cubicBezTo>
                  <a:cubicBezTo>
                    <a:pt x="6776" y="37815"/>
                    <a:pt x="-2481" y="28558"/>
                    <a:pt x="605" y="16215"/>
                  </a:cubicBezTo>
                  <a:cubicBezTo>
                    <a:pt x="3691" y="3872"/>
                    <a:pt x="12948" y="-2299"/>
                    <a:pt x="25291" y="786"/>
                  </a:cubicBezTo>
                  <a:cubicBezTo>
                    <a:pt x="37633" y="6958"/>
                    <a:pt x="43805" y="16215"/>
                    <a:pt x="40719" y="25472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6BAE236D-BEC5-4F7B-99BD-4CA081683232}"/>
                </a:ext>
              </a:extLst>
            </p:cNvPr>
            <p:cNvSpPr/>
            <p:nvPr/>
          </p:nvSpPr>
          <p:spPr>
            <a:xfrm>
              <a:off x="13456311" y="8151460"/>
              <a:ext cx="93078" cy="35121"/>
            </a:xfrm>
            <a:custGeom>
              <a:avLst/>
              <a:gdLst>
                <a:gd name="connsiteX0" fmla="*/ 8485 w 93078"/>
                <a:gd name="connsiteY0" fmla="*/ 35122 h 35121"/>
                <a:gd name="connsiteX1" fmla="*/ 2314 w 93078"/>
                <a:gd name="connsiteY1" fmla="*/ 32036 h 35121"/>
                <a:gd name="connsiteX2" fmla="*/ 2314 w 93078"/>
                <a:gd name="connsiteY2" fmla="*/ 19693 h 35121"/>
                <a:gd name="connsiteX3" fmla="*/ 88714 w 93078"/>
                <a:gd name="connsiteY3" fmla="*/ 10436 h 35121"/>
                <a:gd name="connsiteX4" fmla="*/ 91800 w 93078"/>
                <a:gd name="connsiteY4" fmla="*/ 19693 h 35121"/>
                <a:gd name="connsiteX5" fmla="*/ 82543 w 93078"/>
                <a:gd name="connsiteY5" fmla="*/ 22779 h 35121"/>
                <a:gd name="connsiteX6" fmla="*/ 14657 w 93078"/>
                <a:gd name="connsiteY6" fmla="*/ 28951 h 35121"/>
                <a:gd name="connsiteX7" fmla="*/ 8485 w 93078"/>
                <a:gd name="connsiteY7" fmla="*/ 35122 h 35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5121">
                  <a:moveTo>
                    <a:pt x="8485" y="35122"/>
                  </a:moveTo>
                  <a:cubicBezTo>
                    <a:pt x="5400" y="35122"/>
                    <a:pt x="5400" y="35122"/>
                    <a:pt x="2314" y="32036"/>
                  </a:cubicBezTo>
                  <a:cubicBezTo>
                    <a:pt x="-771" y="28951"/>
                    <a:pt x="-771" y="22779"/>
                    <a:pt x="2314" y="19693"/>
                  </a:cubicBezTo>
                  <a:cubicBezTo>
                    <a:pt x="30086" y="-11164"/>
                    <a:pt x="70200" y="1179"/>
                    <a:pt x="88714" y="10436"/>
                  </a:cubicBezTo>
                  <a:cubicBezTo>
                    <a:pt x="91800" y="13522"/>
                    <a:pt x="94886" y="16608"/>
                    <a:pt x="91800" y="19693"/>
                  </a:cubicBezTo>
                  <a:cubicBezTo>
                    <a:pt x="88714" y="22779"/>
                    <a:pt x="85628" y="25865"/>
                    <a:pt x="82543" y="22779"/>
                  </a:cubicBezTo>
                  <a:cubicBezTo>
                    <a:pt x="79457" y="22779"/>
                    <a:pt x="39342" y="1179"/>
                    <a:pt x="14657" y="28951"/>
                  </a:cubicBezTo>
                  <a:cubicBezTo>
                    <a:pt x="11571" y="35122"/>
                    <a:pt x="11571" y="35122"/>
                    <a:pt x="8485" y="35122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C8EE25AD-D3B3-47B3-A701-1F61CDFECC09}"/>
                </a:ext>
              </a:extLst>
            </p:cNvPr>
            <p:cNvSpPr/>
            <p:nvPr/>
          </p:nvSpPr>
          <p:spPr>
            <a:xfrm>
              <a:off x="13645576" y="8152953"/>
              <a:ext cx="93078" cy="36714"/>
            </a:xfrm>
            <a:custGeom>
              <a:avLst/>
              <a:gdLst>
                <a:gd name="connsiteX0" fmla="*/ 87678 w 93078"/>
                <a:gd name="connsiteY0" fmla="*/ 36715 h 36714"/>
                <a:gd name="connsiteX1" fmla="*/ 81506 w 93078"/>
                <a:gd name="connsiteY1" fmla="*/ 33629 h 36714"/>
                <a:gd name="connsiteX2" fmla="*/ 13621 w 93078"/>
                <a:gd name="connsiteY2" fmla="*/ 27457 h 36714"/>
                <a:gd name="connsiteX3" fmla="*/ 1278 w 93078"/>
                <a:gd name="connsiteY3" fmla="*/ 24372 h 36714"/>
                <a:gd name="connsiteX4" fmla="*/ 4363 w 93078"/>
                <a:gd name="connsiteY4" fmla="*/ 12029 h 36714"/>
                <a:gd name="connsiteX5" fmla="*/ 90764 w 93078"/>
                <a:gd name="connsiteY5" fmla="*/ 21286 h 36714"/>
                <a:gd name="connsiteX6" fmla="*/ 90764 w 93078"/>
                <a:gd name="connsiteY6" fmla="*/ 33629 h 36714"/>
                <a:gd name="connsiteX7" fmla="*/ 87678 w 93078"/>
                <a:gd name="connsiteY7" fmla="*/ 36715 h 3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6714">
                  <a:moveTo>
                    <a:pt x="87678" y="36715"/>
                  </a:moveTo>
                  <a:cubicBezTo>
                    <a:pt x="84592" y="36715"/>
                    <a:pt x="84592" y="36715"/>
                    <a:pt x="81506" y="33629"/>
                  </a:cubicBezTo>
                  <a:cubicBezTo>
                    <a:pt x="81506" y="33629"/>
                    <a:pt x="50649" y="2772"/>
                    <a:pt x="13621" y="27457"/>
                  </a:cubicBezTo>
                  <a:cubicBezTo>
                    <a:pt x="10535" y="30543"/>
                    <a:pt x="4363" y="27457"/>
                    <a:pt x="1278" y="24372"/>
                  </a:cubicBezTo>
                  <a:cubicBezTo>
                    <a:pt x="-1808" y="21286"/>
                    <a:pt x="1278" y="15115"/>
                    <a:pt x="4363" y="12029"/>
                  </a:cubicBezTo>
                  <a:cubicBezTo>
                    <a:pt x="41392" y="-12657"/>
                    <a:pt x="78421" y="5858"/>
                    <a:pt x="90764" y="21286"/>
                  </a:cubicBezTo>
                  <a:cubicBezTo>
                    <a:pt x="93850" y="24372"/>
                    <a:pt x="93850" y="30543"/>
                    <a:pt x="90764" y="33629"/>
                  </a:cubicBezTo>
                  <a:cubicBezTo>
                    <a:pt x="93850" y="36715"/>
                    <a:pt x="90764" y="36715"/>
                    <a:pt x="87678" y="36715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EC9548E9-A187-4B18-ADDB-29DC1172BCB5}"/>
                </a:ext>
              </a:extLst>
            </p:cNvPr>
            <p:cNvSpPr/>
            <p:nvPr/>
          </p:nvSpPr>
          <p:spPr>
            <a:xfrm>
              <a:off x="13396912" y="7906698"/>
              <a:ext cx="277798" cy="279883"/>
            </a:xfrm>
            <a:custGeom>
              <a:avLst/>
              <a:gdLst>
                <a:gd name="connsiteX0" fmla="*/ 274628 w 277798"/>
                <a:gd name="connsiteY0" fmla="*/ 2169 h 279883"/>
                <a:gd name="connsiteX1" fmla="*/ 240685 w 277798"/>
                <a:gd name="connsiteY1" fmla="*/ 150283 h 279883"/>
                <a:gd name="connsiteX2" fmla="*/ 0 w 277798"/>
                <a:gd name="connsiteY2" fmla="*/ 279883 h 279883"/>
                <a:gd name="connsiteX3" fmla="*/ 274628 w 277798"/>
                <a:gd name="connsiteY3" fmla="*/ 2169 h 279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7798" h="279883">
                  <a:moveTo>
                    <a:pt x="274628" y="2169"/>
                  </a:moveTo>
                  <a:cubicBezTo>
                    <a:pt x="274628" y="2169"/>
                    <a:pt x="293143" y="110169"/>
                    <a:pt x="240685" y="150283"/>
                  </a:cubicBezTo>
                  <a:cubicBezTo>
                    <a:pt x="240685" y="150283"/>
                    <a:pt x="27771" y="193483"/>
                    <a:pt x="0" y="279883"/>
                  </a:cubicBezTo>
                  <a:cubicBezTo>
                    <a:pt x="3086" y="279883"/>
                    <a:pt x="-18514" y="-28688"/>
                    <a:pt x="274628" y="2169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72F9138C-0D97-4A1E-A4E2-315A3F145F0B}"/>
                </a:ext>
              </a:extLst>
            </p:cNvPr>
            <p:cNvSpPr/>
            <p:nvPr/>
          </p:nvSpPr>
          <p:spPr>
            <a:xfrm>
              <a:off x="13640683" y="7908867"/>
              <a:ext cx="300722" cy="355322"/>
            </a:xfrm>
            <a:custGeom>
              <a:avLst/>
              <a:gdLst>
                <a:gd name="connsiteX0" fmla="*/ 0 w 300722"/>
                <a:gd name="connsiteY0" fmla="*/ 148114 h 355322"/>
                <a:gd name="connsiteX1" fmla="*/ 141943 w 300722"/>
                <a:gd name="connsiteY1" fmla="*/ 203657 h 355322"/>
                <a:gd name="connsiteX2" fmla="*/ 200571 w 300722"/>
                <a:gd name="connsiteY2" fmla="*/ 324000 h 355322"/>
                <a:gd name="connsiteX3" fmla="*/ 290057 w 300722"/>
                <a:gd name="connsiteY3" fmla="*/ 345600 h 355322"/>
                <a:gd name="connsiteX4" fmla="*/ 30857 w 300722"/>
                <a:gd name="connsiteY4" fmla="*/ 0 h 355322"/>
                <a:gd name="connsiteX5" fmla="*/ 0 w 300722"/>
                <a:gd name="connsiteY5" fmla="*/ 148114 h 355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0722" h="355322">
                  <a:moveTo>
                    <a:pt x="0" y="148114"/>
                  </a:moveTo>
                  <a:cubicBezTo>
                    <a:pt x="0" y="148114"/>
                    <a:pt x="92571" y="197486"/>
                    <a:pt x="141943" y="203657"/>
                  </a:cubicBezTo>
                  <a:cubicBezTo>
                    <a:pt x="194400" y="209829"/>
                    <a:pt x="200571" y="324000"/>
                    <a:pt x="200571" y="324000"/>
                  </a:cubicBezTo>
                  <a:cubicBezTo>
                    <a:pt x="200571" y="324000"/>
                    <a:pt x="274628" y="376457"/>
                    <a:pt x="290057" y="345600"/>
                  </a:cubicBezTo>
                  <a:cubicBezTo>
                    <a:pt x="324000" y="277714"/>
                    <a:pt x="286971" y="0"/>
                    <a:pt x="30857" y="0"/>
                  </a:cubicBezTo>
                  <a:cubicBezTo>
                    <a:pt x="30857" y="0"/>
                    <a:pt x="24685" y="141943"/>
                    <a:pt x="0" y="148114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B28FC370-6DA1-45DB-B637-A9A043343F27}"/>
                </a:ext>
              </a:extLst>
            </p:cNvPr>
            <p:cNvSpPr/>
            <p:nvPr/>
          </p:nvSpPr>
          <p:spPr>
            <a:xfrm>
              <a:off x="13634511" y="7905782"/>
              <a:ext cx="154285" cy="212914"/>
            </a:xfrm>
            <a:custGeom>
              <a:avLst/>
              <a:gdLst>
                <a:gd name="connsiteX0" fmla="*/ 148115 w 154285"/>
                <a:gd name="connsiteY0" fmla="*/ 212914 h 212914"/>
                <a:gd name="connsiteX1" fmla="*/ 148115 w 154285"/>
                <a:gd name="connsiteY1" fmla="*/ 212914 h 212914"/>
                <a:gd name="connsiteX2" fmla="*/ 49372 w 154285"/>
                <a:gd name="connsiteY2" fmla="*/ 178971 h 212914"/>
                <a:gd name="connsiteX3" fmla="*/ 3086 w 154285"/>
                <a:gd name="connsiteY3" fmla="*/ 154286 h 212914"/>
                <a:gd name="connsiteX4" fmla="*/ 0 w 154285"/>
                <a:gd name="connsiteY4" fmla="*/ 151200 h 212914"/>
                <a:gd name="connsiteX5" fmla="*/ 0 w 154285"/>
                <a:gd name="connsiteY5" fmla="*/ 148114 h 212914"/>
                <a:gd name="connsiteX6" fmla="*/ 18514 w 154285"/>
                <a:gd name="connsiteY6" fmla="*/ 123429 h 212914"/>
                <a:gd name="connsiteX7" fmla="*/ 27772 w 154285"/>
                <a:gd name="connsiteY7" fmla="*/ 83314 h 212914"/>
                <a:gd name="connsiteX8" fmla="*/ 30857 w 154285"/>
                <a:gd name="connsiteY8" fmla="*/ 46286 h 212914"/>
                <a:gd name="connsiteX9" fmla="*/ 33943 w 154285"/>
                <a:gd name="connsiteY9" fmla="*/ 6171 h 212914"/>
                <a:gd name="connsiteX10" fmla="*/ 40115 w 154285"/>
                <a:gd name="connsiteY10" fmla="*/ 0 h 212914"/>
                <a:gd name="connsiteX11" fmla="*/ 46286 w 154285"/>
                <a:gd name="connsiteY11" fmla="*/ 6171 h 212914"/>
                <a:gd name="connsiteX12" fmla="*/ 43201 w 154285"/>
                <a:gd name="connsiteY12" fmla="*/ 43200 h 212914"/>
                <a:gd name="connsiteX13" fmla="*/ 40115 w 154285"/>
                <a:gd name="connsiteY13" fmla="*/ 80228 h 212914"/>
                <a:gd name="connsiteX14" fmla="*/ 27772 w 154285"/>
                <a:gd name="connsiteY14" fmla="*/ 123429 h 212914"/>
                <a:gd name="connsiteX15" fmla="*/ 12344 w 154285"/>
                <a:gd name="connsiteY15" fmla="*/ 145028 h 212914"/>
                <a:gd name="connsiteX16" fmla="*/ 52458 w 154285"/>
                <a:gd name="connsiteY16" fmla="*/ 166628 h 212914"/>
                <a:gd name="connsiteX17" fmla="*/ 148115 w 154285"/>
                <a:gd name="connsiteY17" fmla="*/ 197486 h 212914"/>
                <a:gd name="connsiteX18" fmla="*/ 154286 w 154285"/>
                <a:gd name="connsiteY18" fmla="*/ 203657 h 212914"/>
                <a:gd name="connsiteX19" fmla="*/ 148115 w 154285"/>
                <a:gd name="connsiteY19" fmla="*/ 212914 h 212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4285" h="212914">
                  <a:moveTo>
                    <a:pt x="148115" y="212914"/>
                  </a:moveTo>
                  <a:cubicBezTo>
                    <a:pt x="148115" y="212914"/>
                    <a:pt x="148115" y="212914"/>
                    <a:pt x="148115" y="212914"/>
                  </a:cubicBezTo>
                  <a:cubicBezTo>
                    <a:pt x="111086" y="206743"/>
                    <a:pt x="74058" y="191314"/>
                    <a:pt x="49372" y="178971"/>
                  </a:cubicBezTo>
                  <a:cubicBezTo>
                    <a:pt x="21600" y="166628"/>
                    <a:pt x="3086" y="154286"/>
                    <a:pt x="3086" y="154286"/>
                  </a:cubicBezTo>
                  <a:cubicBezTo>
                    <a:pt x="3086" y="154286"/>
                    <a:pt x="0" y="151200"/>
                    <a:pt x="0" y="151200"/>
                  </a:cubicBezTo>
                  <a:cubicBezTo>
                    <a:pt x="0" y="148114"/>
                    <a:pt x="0" y="148114"/>
                    <a:pt x="0" y="148114"/>
                  </a:cubicBezTo>
                  <a:cubicBezTo>
                    <a:pt x="6172" y="141943"/>
                    <a:pt x="12344" y="132685"/>
                    <a:pt x="18514" y="123429"/>
                  </a:cubicBezTo>
                  <a:cubicBezTo>
                    <a:pt x="24686" y="111085"/>
                    <a:pt x="27772" y="95657"/>
                    <a:pt x="27772" y="83314"/>
                  </a:cubicBezTo>
                  <a:cubicBezTo>
                    <a:pt x="27772" y="77143"/>
                    <a:pt x="27772" y="61714"/>
                    <a:pt x="30857" y="46286"/>
                  </a:cubicBezTo>
                  <a:cubicBezTo>
                    <a:pt x="30857" y="30857"/>
                    <a:pt x="30857" y="15429"/>
                    <a:pt x="33943" y="6171"/>
                  </a:cubicBezTo>
                  <a:cubicBezTo>
                    <a:pt x="33943" y="3085"/>
                    <a:pt x="37029" y="0"/>
                    <a:pt x="40115" y="0"/>
                  </a:cubicBezTo>
                  <a:cubicBezTo>
                    <a:pt x="43201" y="0"/>
                    <a:pt x="46286" y="3085"/>
                    <a:pt x="46286" y="6171"/>
                  </a:cubicBezTo>
                  <a:cubicBezTo>
                    <a:pt x="46286" y="12343"/>
                    <a:pt x="46286" y="27771"/>
                    <a:pt x="43201" y="43200"/>
                  </a:cubicBezTo>
                  <a:cubicBezTo>
                    <a:pt x="43201" y="58628"/>
                    <a:pt x="43201" y="74057"/>
                    <a:pt x="40115" y="80228"/>
                  </a:cubicBezTo>
                  <a:cubicBezTo>
                    <a:pt x="37029" y="95657"/>
                    <a:pt x="37029" y="111085"/>
                    <a:pt x="27772" y="123429"/>
                  </a:cubicBezTo>
                  <a:cubicBezTo>
                    <a:pt x="24686" y="129600"/>
                    <a:pt x="18514" y="138857"/>
                    <a:pt x="12344" y="145028"/>
                  </a:cubicBezTo>
                  <a:cubicBezTo>
                    <a:pt x="18514" y="148114"/>
                    <a:pt x="33943" y="157371"/>
                    <a:pt x="52458" y="166628"/>
                  </a:cubicBezTo>
                  <a:cubicBezTo>
                    <a:pt x="77143" y="178971"/>
                    <a:pt x="114172" y="194400"/>
                    <a:pt x="148115" y="197486"/>
                  </a:cubicBezTo>
                  <a:cubicBezTo>
                    <a:pt x="151201" y="197486"/>
                    <a:pt x="154286" y="200571"/>
                    <a:pt x="154286" y="203657"/>
                  </a:cubicBezTo>
                  <a:cubicBezTo>
                    <a:pt x="154286" y="209828"/>
                    <a:pt x="151201" y="212914"/>
                    <a:pt x="148115" y="212914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74BC5644-A4FD-4D16-8A92-43BDA49CFCD9}"/>
                </a:ext>
              </a:extLst>
            </p:cNvPr>
            <p:cNvSpPr/>
            <p:nvPr/>
          </p:nvSpPr>
          <p:spPr>
            <a:xfrm>
              <a:off x="13470969" y="8424084"/>
              <a:ext cx="314743" cy="330269"/>
            </a:xfrm>
            <a:custGeom>
              <a:avLst/>
              <a:gdLst>
                <a:gd name="connsiteX0" fmla="*/ 55542 w 314743"/>
                <a:gd name="connsiteY0" fmla="*/ 61812 h 330269"/>
                <a:gd name="connsiteX1" fmla="*/ 0 w 314743"/>
                <a:gd name="connsiteY1" fmla="*/ 203755 h 330269"/>
                <a:gd name="connsiteX2" fmla="*/ 117257 w 314743"/>
                <a:gd name="connsiteY2" fmla="*/ 330270 h 330269"/>
                <a:gd name="connsiteX3" fmla="*/ 314743 w 314743"/>
                <a:gd name="connsiteY3" fmla="*/ 188327 h 330269"/>
                <a:gd name="connsiteX4" fmla="*/ 262286 w 314743"/>
                <a:gd name="connsiteY4" fmla="*/ 98 h 330269"/>
                <a:gd name="connsiteX5" fmla="*/ 55542 w 314743"/>
                <a:gd name="connsiteY5" fmla="*/ 61812 h 33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4743" h="330269">
                  <a:moveTo>
                    <a:pt x="55542" y="61812"/>
                  </a:moveTo>
                  <a:cubicBezTo>
                    <a:pt x="55542" y="61812"/>
                    <a:pt x="61714" y="172898"/>
                    <a:pt x="0" y="203755"/>
                  </a:cubicBezTo>
                  <a:lnTo>
                    <a:pt x="117257" y="330270"/>
                  </a:lnTo>
                  <a:cubicBezTo>
                    <a:pt x="117257" y="330270"/>
                    <a:pt x="259200" y="219184"/>
                    <a:pt x="314743" y="188327"/>
                  </a:cubicBezTo>
                  <a:cubicBezTo>
                    <a:pt x="259200" y="145127"/>
                    <a:pt x="262286" y="61812"/>
                    <a:pt x="262286" y="98"/>
                  </a:cubicBezTo>
                  <a:cubicBezTo>
                    <a:pt x="262286" y="-2988"/>
                    <a:pt x="111086" y="67984"/>
                    <a:pt x="55542" y="61812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BD50F6E8-2649-4C8C-BAC3-3D56EF97A4E1}"/>
                </a:ext>
              </a:extLst>
            </p:cNvPr>
            <p:cNvSpPr/>
            <p:nvPr/>
          </p:nvSpPr>
          <p:spPr>
            <a:xfrm>
              <a:off x="13518026" y="8459932"/>
              <a:ext cx="225763" cy="81506"/>
            </a:xfrm>
            <a:custGeom>
              <a:avLst/>
              <a:gdLst>
                <a:gd name="connsiteX0" fmla="*/ 73285 w 225763"/>
                <a:gd name="connsiteY0" fmla="*/ 81507 h 81506"/>
                <a:gd name="connsiteX1" fmla="*/ 2314 w 225763"/>
                <a:gd name="connsiteY1" fmla="*/ 53735 h 81506"/>
                <a:gd name="connsiteX2" fmla="*/ 2314 w 225763"/>
                <a:gd name="connsiteY2" fmla="*/ 44478 h 81506"/>
                <a:gd name="connsiteX3" fmla="*/ 11571 w 225763"/>
                <a:gd name="connsiteY3" fmla="*/ 44478 h 81506"/>
                <a:gd name="connsiteX4" fmla="*/ 82543 w 225763"/>
                <a:gd name="connsiteY4" fmla="*/ 69164 h 81506"/>
                <a:gd name="connsiteX5" fmla="*/ 215229 w 225763"/>
                <a:gd name="connsiteY5" fmla="*/ 1278 h 81506"/>
                <a:gd name="connsiteX6" fmla="*/ 224485 w 225763"/>
                <a:gd name="connsiteY6" fmla="*/ 4364 h 81506"/>
                <a:gd name="connsiteX7" fmla="*/ 221400 w 225763"/>
                <a:gd name="connsiteY7" fmla="*/ 13621 h 81506"/>
                <a:gd name="connsiteX8" fmla="*/ 82543 w 225763"/>
                <a:gd name="connsiteY8" fmla="*/ 81507 h 81506"/>
                <a:gd name="connsiteX9" fmla="*/ 73285 w 225763"/>
                <a:gd name="connsiteY9" fmla="*/ 81507 h 8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763" h="81506">
                  <a:moveTo>
                    <a:pt x="73285" y="81507"/>
                  </a:moveTo>
                  <a:cubicBezTo>
                    <a:pt x="33172" y="81507"/>
                    <a:pt x="5400" y="53735"/>
                    <a:pt x="2314" y="53735"/>
                  </a:cubicBezTo>
                  <a:cubicBezTo>
                    <a:pt x="-771" y="50649"/>
                    <a:pt x="-771" y="47564"/>
                    <a:pt x="2314" y="44478"/>
                  </a:cubicBezTo>
                  <a:cubicBezTo>
                    <a:pt x="5400" y="41392"/>
                    <a:pt x="8485" y="41392"/>
                    <a:pt x="11571" y="44478"/>
                  </a:cubicBezTo>
                  <a:cubicBezTo>
                    <a:pt x="11571" y="44478"/>
                    <a:pt x="45514" y="75335"/>
                    <a:pt x="82543" y="69164"/>
                  </a:cubicBezTo>
                  <a:cubicBezTo>
                    <a:pt x="122657" y="62993"/>
                    <a:pt x="215229" y="1278"/>
                    <a:pt x="215229" y="1278"/>
                  </a:cubicBezTo>
                  <a:cubicBezTo>
                    <a:pt x="218314" y="-1808"/>
                    <a:pt x="221400" y="1278"/>
                    <a:pt x="224485" y="4364"/>
                  </a:cubicBezTo>
                  <a:cubicBezTo>
                    <a:pt x="227571" y="7450"/>
                    <a:pt x="224485" y="10535"/>
                    <a:pt x="221400" y="13621"/>
                  </a:cubicBezTo>
                  <a:cubicBezTo>
                    <a:pt x="218314" y="16707"/>
                    <a:pt x="125743" y="78421"/>
                    <a:pt x="82543" y="81507"/>
                  </a:cubicBezTo>
                  <a:cubicBezTo>
                    <a:pt x="79457" y="81507"/>
                    <a:pt x="76371" y="81507"/>
                    <a:pt x="73285" y="81507"/>
                  </a:cubicBezTo>
                  <a:close/>
                </a:path>
              </a:pathLst>
            </a:custGeom>
            <a:solidFill>
              <a:srgbClr val="E58777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F92D12C6-E349-41BA-B238-EA512A4B0609}"/>
                </a:ext>
              </a:extLst>
            </p:cNvPr>
            <p:cNvSpPr/>
            <p:nvPr/>
          </p:nvSpPr>
          <p:spPr>
            <a:xfrm>
              <a:off x="13186246" y="8701896"/>
              <a:ext cx="102665" cy="564685"/>
            </a:xfrm>
            <a:custGeom>
              <a:avLst/>
              <a:gdLst>
                <a:gd name="connsiteX0" fmla="*/ 56380 w 102665"/>
                <a:gd name="connsiteY0" fmla="*/ 564686 h 564685"/>
                <a:gd name="connsiteX1" fmla="*/ 50208 w 102665"/>
                <a:gd name="connsiteY1" fmla="*/ 561600 h 564685"/>
                <a:gd name="connsiteX2" fmla="*/ 34780 w 102665"/>
                <a:gd name="connsiteY2" fmla="*/ 506057 h 564685"/>
                <a:gd name="connsiteX3" fmla="*/ 837 w 102665"/>
                <a:gd name="connsiteY3" fmla="*/ 351772 h 564685"/>
                <a:gd name="connsiteX4" fmla="*/ 90323 w 102665"/>
                <a:gd name="connsiteY4" fmla="*/ 3086 h 564685"/>
                <a:gd name="connsiteX5" fmla="*/ 99580 w 102665"/>
                <a:gd name="connsiteY5" fmla="*/ 0 h 564685"/>
                <a:gd name="connsiteX6" fmla="*/ 102666 w 102665"/>
                <a:gd name="connsiteY6" fmla="*/ 9257 h 564685"/>
                <a:gd name="connsiteX7" fmla="*/ 13180 w 102665"/>
                <a:gd name="connsiteY7" fmla="*/ 351772 h 564685"/>
                <a:gd name="connsiteX8" fmla="*/ 47123 w 102665"/>
                <a:gd name="connsiteY8" fmla="*/ 502972 h 564685"/>
                <a:gd name="connsiteX9" fmla="*/ 62551 w 102665"/>
                <a:gd name="connsiteY9" fmla="*/ 558515 h 564685"/>
                <a:gd name="connsiteX10" fmla="*/ 56380 w 102665"/>
                <a:gd name="connsiteY10" fmla="*/ 564686 h 564685"/>
                <a:gd name="connsiteX11" fmla="*/ 56380 w 102665"/>
                <a:gd name="connsiteY11" fmla="*/ 564686 h 564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665" h="564685">
                  <a:moveTo>
                    <a:pt x="56380" y="564686"/>
                  </a:moveTo>
                  <a:cubicBezTo>
                    <a:pt x="53294" y="564686"/>
                    <a:pt x="50208" y="561600"/>
                    <a:pt x="50208" y="561600"/>
                  </a:cubicBezTo>
                  <a:cubicBezTo>
                    <a:pt x="44038" y="543086"/>
                    <a:pt x="40952" y="524571"/>
                    <a:pt x="34780" y="506057"/>
                  </a:cubicBezTo>
                  <a:cubicBezTo>
                    <a:pt x="19351" y="453600"/>
                    <a:pt x="3923" y="401143"/>
                    <a:pt x="837" y="351772"/>
                  </a:cubicBezTo>
                  <a:cubicBezTo>
                    <a:pt x="-5334" y="225257"/>
                    <a:pt x="22437" y="108000"/>
                    <a:pt x="90323" y="3086"/>
                  </a:cubicBezTo>
                  <a:cubicBezTo>
                    <a:pt x="93408" y="0"/>
                    <a:pt x="96494" y="0"/>
                    <a:pt x="99580" y="0"/>
                  </a:cubicBezTo>
                  <a:cubicBezTo>
                    <a:pt x="102666" y="3086"/>
                    <a:pt x="102666" y="6172"/>
                    <a:pt x="102666" y="9257"/>
                  </a:cubicBezTo>
                  <a:cubicBezTo>
                    <a:pt x="37866" y="114172"/>
                    <a:pt x="7009" y="228343"/>
                    <a:pt x="13180" y="351772"/>
                  </a:cubicBezTo>
                  <a:cubicBezTo>
                    <a:pt x="16265" y="398057"/>
                    <a:pt x="31694" y="450514"/>
                    <a:pt x="47123" y="502972"/>
                  </a:cubicBezTo>
                  <a:cubicBezTo>
                    <a:pt x="53294" y="521486"/>
                    <a:pt x="59466" y="540000"/>
                    <a:pt x="62551" y="558515"/>
                  </a:cubicBezTo>
                  <a:cubicBezTo>
                    <a:pt x="62551" y="561600"/>
                    <a:pt x="59466" y="564686"/>
                    <a:pt x="56380" y="564686"/>
                  </a:cubicBezTo>
                  <a:cubicBezTo>
                    <a:pt x="56380" y="564686"/>
                    <a:pt x="56380" y="564686"/>
                    <a:pt x="56380" y="564686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D3D388B3-7769-41B9-B203-3C635ADEC0FC}"/>
                </a:ext>
              </a:extLst>
            </p:cNvPr>
            <p:cNvSpPr/>
            <p:nvPr/>
          </p:nvSpPr>
          <p:spPr>
            <a:xfrm>
              <a:off x="13307426" y="9149521"/>
              <a:ext cx="405506" cy="36832"/>
            </a:xfrm>
            <a:custGeom>
              <a:avLst/>
              <a:gdLst>
                <a:gd name="connsiteX0" fmla="*/ 6171 w 405506"/>
                <a:gd name="connsiteY0" fmla="*/ 36832 h 36832"/>
                <a:gd name="connsiteX1" fmla="*/ 0 w 405506"/>
                <a:gd name="connsiteY1" fmla="*/ 33746 h 36832"/>
                <a:gd name="connsiteX2" fmla="*/ 3085 w 405506"/>
                <a:gd name="connsiteY2" fmla="*/ 27575 h 36832"/>
                <a:gd name="connsiteX3" fmla="*/ 401143 w 405506"/>
                <a:gd name="connsiteY3" fmla="*/ 15232 h 36832"/>
                <a:gd name="connsiteX4" fmla="*/ 404228 w 405506"/>
                <a:gd name="connsiteY4" fmla="*/ 21404 h 36832"/>
                <a:gd name="connsiteX5" fmla="*/ 398057 w 405506"/>
                <a:gd name="connsiteY5" fmla="*/ 24489 h 36832"/>
                <a:gd name="connsiteX6" fmla="*/ 6171 w 405506"/>
                <a:gd name="connsiteY6" fmla="*/ 36832 h 36832"/>
                <a:gd name="connsiteX7" fmla="*/ 6171 w 405506"/>
                <a:gd name="connsiteY7" fmla="*/ 36832 h 3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5506" h="36832">
                  <a:moveTo>
                    <a:pt x="6171" y="36832"/>
                  </a:moveTo>
                  <a:cubicBezTo>
                    <a:pt x="3085" y="36832"/>
                    <a:pt x="3085" y="36832"/>
                    <a:pt x="0" y="33746"/>
                  </a:cubicBezTo>
                  <a:cubicBezTo>
                    <a:pt x="0" y="30660"/>
                    <a:pt x="0" y="27575"/>
                    <a:pt x="3085" y="27575"/>
                  </a:cubicBezTo>
                  <a:cubicBezTo>
                    <a:pt x="89486" y="-3282"/>
                    <a:pt x="299314" y="-9453"/>
                    <a:pt x="401143" y="15232"/>
                  </a:cubicBezTo>
                  <a:cubicBezTo>
                    <a:pt x="404228" y="15232"/>
                    <a:pt x="407314" y="18318"/>
                    <a:pt x="404228" y="21404"/>
                  </a:cubicBezTo>
                  <a:cubicBezTo>
                    <a:pt x="404228" y="24489"/>
                    <a:pt x="401143" y="27575"/>
                    <a:pt x="398057" y="24489"/>
                  </a:cubicBezTo>
                  <a:cubicBezTo>
                    <a:pt x="302400" y="2889"/>
                    <a:pt x="92571" y="9061"/>
                    <a:pt x="6171" y="36832"/>
                  </a:cubicBezTo>
                  <a:cubicBezTo>
                    <a:pt x="9257" y="36832"/>
                    <a:pt x="9257" y="36832"/>
                    <a:pt x="6171" y="36832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50F9EDEF-EB27-4ACB-98BA-FFBE064C57F1}"/>
                </a:ext>
              </a:extLst>
            </p:cNvPr>
            <p:cNvSpPr/>
            <p:nvPr/>
          </p:nvSpPr>
          <p:spPr>
            <a:xfrm>
              <a:off x="13804226" y="8219022"/>
              <a:ext cx="78522" cy="115430"/>
            </a:xfrm>
            <a:custGeom>
              <a:avLst/>
              <a:gdLst>
                <a:gd name="connsiteX0" fmla="*/ 12343 w 78522"/>
                <a:gd name="connsiteY0" fmla="*/ 16931 h 115430"/>
                <a:gd name="connsiteX1" fmla="*/ 70972 w 78522"/>
                <a:gd name="connsiteY1" fmla="*/ 7674 h 115430"/>
                <a:gd name="connsiteX2" fmla="*/ 12343 w 78522"/>
                <a:gd name="connsiteY2" fmla="*/ 112588 h 115430"/>
                <a:gd name="connsiteX3" fmla="*/ 12343 w 78522"/>
                <a:gd name="connsiteY3" fmla="*/ 16931 h 115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22" h="115430">
                  <a:moveTo>
                    <a:pt x="12343" y="16931"/>
                  </a:moveTo>
                  <a:cubicBezTo>
                    <a:pt x="12343" y="16931"/>
                    <a:pt x="46285" y="-13926"/>
                    <a:pt x="70972" y="7674"/>
                  </a:cubicBezTo>
                  <a:cubicBezTo>
                    <a:pt x="95657" y="26188"/>
                    <a:pt x="55543" y="134189"/>
                    <a:pt x="12343" y="112588"/>
                  </a:cubicBezTo>
                  <a:cubicBezTo>
                    <a:pt x="-15429" y="90988"/>
                    <a:pt x="12343" y="16931"/>
                    <a:pt x="12343" y="16931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CE912A4F-4AAF-4B10-8670-D7A3AEBCD8AA}"/>
                </a:ext>
              </a:extLst>
            </p:cNvPr>
            <p:cNvSpPr/>
            <p:nvPr/>
          </p:nvSpPr>
          <p:spPr>
            <a:xfrm>
              <a:off x="13362969" y="8094010"/>
              <a:ext cx="148113" cy="166628"/>
            </a:xfrm>
            <a:custGeom>
              <a:avLst/>
              <a:gdLst>
                <a:gd name="connsiteX0" fmla="*/ 6172 w 148113"/>
                <a:gd name="connsiteY0" fmla="*/ 166629 h 166628"/>
                <a:gd name="connsiteX1" fmla="*/ 6172 w 148113"/>
                <a:gd name="connsiteY1" fmla="*/ 166629 h 166628"/>
                <a:gd name="connsiteX2" fmla="*/ 0 w 148113"/>
                <a:gd name="connsiteY2" fmla="*/ 160457 h 166628"/>
                <a:gd name="connsiteX3" fmla="*/ 141943 w 148113"/>
                <a:gd name="connsiteY3" fmla="*/ 0 h 166628"/>
                <a:gd name="connsiteX4" fmla="*/ 148114 w 148113"/>
                <a:gd name="connsiteY4" fmla="*/ 3086 h 166628"/>
                <a:gd name="connsiteX5" fmla="*/ 145029 w 148113"/>
                <a:gd name="connsiteY5" fmla="*/ 9257 h 166628"/>
                <a:gd name="connsiteX6" fmla="*/ 12343 w 148113"/>
                <a:gd name="connsiteY6" fmla="*/ 160457 h 166628"/>
                <a:gd name="connsiteX7" fmla="*/ 6172 w 148113"/>
                <a:gd name="connsiteY7" fmla="*/ 166629 h 166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113" h="166628">
                  <a:moveTo>
                    <a:pt x="6172" y="166629"/>
                  </a:moveTo>
                  <a:cubicBezTo>
                    <a:pt x="6172" y="166629"/>
                    <a:pt x="6172" y="166629"/>
                    <a:pt x="6172" y="166629"/>
                  </a:cubicBezTo>
                  <a:cubicBezTo>
                    <a:pt x="3086" y="166629"/>
                    <a:pt x="0" y="163543"/>
                    <a:pt x="0" y="160457"/>
                  </a:cubicBezTo>
                  <a:cubicBezTo>
                    <a:pt x="24685" y="30857"/>
                    <a:pt x="141943" y="0"/>
                    <a:pt x="141943" y="0"/>
                  </a:cubicBezTo>
                  <a:cubicBezTo>
                    <a:pt x="145029" y="0"/>
                    <a:pt x="148114" y="0"/>
                    <a:pt x="148114" y="3086"/>
                  </a:cubicBezTo>
                  <a:cubicBezTo>
                    <a:pt x="148114" y="6171"/>
                    <a:pt x="148114" y="9257"/>
                    <a:pt x="145029" y="9257"/>
                  </a:cubicBezTo>
                  <a:cubicBezTo>
                    <a:pt x="145029" y="9257"/>
                    <a:pt x="37029" y="40114"/>
                    <a:pt x="12343" y="160457"/>
                  </a:cubicBezTo>
                  <a:cubicBezTo>
                    <a:pt x="12343" y="166629"/>
                    <a:pt x="9257" y="166629"/>
                    <a:pt x="6172" y="166629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46FC4876-6C69-4D90-A00B-42E569738ADF}"/>
                </a:ext>
              </a:extLst>
            </p:cNvPr>
            <p:cNvSpPr/>
            <p:nvPr/>
          </p:nvSpPr>
          <p:spPr>
            <a:xfrm>
              <a:off x="13733254" y="8041553"/>
              <a:ext cx="112364" cy="188228"/>
            </a:xfrm>
            <a:custGeom>
              <a:avLst/>
              <a:gdLst>
                <a:gd name="connsiteX0" fmla="*/ 108000 w 112364"/>
                <a:gd name="connsiteY0" fmla="*/ 188229 h 188228"/>
                <a:gd name="connsiteX1" fmla="*/ 101828 w 112364"/>
                <a:gd name="connsiteY1" fmla="*/ 182057 h 188228"/>
                <a:gd name="connsiteX2" fmla="*/ 55542 w 112364"/>
                <a:gd name="connsiteY2" fmla="*/ 74057 h 188228"/>
                <a:gd name="connsiteX3" fmla="*/ 0 w 112364"/>
                <a:gd name="connsiteY3" fmla="*/ 6171 h 188228"/>
                <a:gd name="connsiteX4" fmla="*/ 3086 w 112364"/>
                <a:gd name="connsiteY4" fmla="*/ 0 h 188228"/>
                <a:gd name="connsiteX5" fmla="*/ 9257 w 112364"/>
                <a:gd name="connsiteY5" fmla="*/ 3086 h 188228"/>
                <a:gd name="connsiteX6" fmla="*/ 58628 w 112364"/>
                <a:gd name="connsiteY6" fmla="*/ 67886 h 188228"/>
                <a:gd name="connsiteX7" fmla="*/ 111086 w 112364"/>
                <a:gd name="connsiteY7" fmla="*/ 182057 h 188228"/>
                <a:gd name="connsiteX8" fmla="*/ 108000 w 112364"/>
                <a:gd name="connsiteY8" fmla="*/ 188229 h 188228"/>
                <a:gd name="connsiteX9" fmla="*/ 108000 w 112364"/>
                <a:gd name="connsiteY9" fmla="*/ 188229 h 188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2364" h="188228">
                  <a:moveTo>
                    <a:pt x="108000" y="188229"/>
                  </a:moveTo>
                  <a:cubicBezTo>
                    <a:pt x="104914" y="188229"/>
                    <a:pt x="101828" y="185143"/>
                    <a:pt x="101828" y="182057"/>
                  </a:cubicBezTo>
                  <a:cubicBezTo>
                    <a:pt x="101828" y="169714"/>
                    <a:pt x="92571" y="101829"/>
                    <a:pt x="55542" y="74057"/>
                  </a:cubicBezTo>
                  <a:cubicBezTo>
                    <a:pt x="21600" y="49372"/>
                    <a:pt x="3086" y="6171"/>
                    <a:pt x="0" y="6171"/>
                  </a:cubicBezTo>
                  <a:cubicBezTo>
                    <a:pt x="0" y="3086"/>
                    <a:pt x="0" y="0"/>
                    <a:pt x="3086" y="0"/>
                  </a:cubicBezTo>
                  <a:cubicBezTo>
                    <a:pt x="6172" y="0"/>
                    <a:pt x="9257" y="0"/>
                    <a:pt x="9257" y="3086"/>
                  </a:cubicBezTo>
                  <a:cubicBezTo>
                    <a:pt x="9257" y="3086"/>
                    <a:pt x="27771" y="43200"/>
                    <a:pt x="58628" y="67886"/>
                  </a:cubicBezTo>
                  <a:cubicBezTo>
                    <a:pt x="98743" y="95657"/>
                    <a:pt x="108000" y="169714"/>
                    <a:pt x="111086" y="182057"/>
                  </a:cubicBezTo>
                  <a:cubicBezTo>
                    <a:pt x="114172" y="185143"/>
                    <a:pt x="111086" y="185143"/>
                    <a:pt x="108000" y="188229"/>
                  </a:cubicBezTo>
                  <a:cubicBezTo>
                    <a:pt x="108000" y="188229"/>
                    <a:pt x="108000" y="188229"/>
                    <a:pt x="108000" y="188229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98F29B7B-8AFB-4793-985D-2125CB24A4CE}"/>
                </a:ext>
              </a:extLst>
            </p:cNvPr>
            <p:cNvSpPr/>
            <p:nvPr/>
          </p:nvSpPr>
          <p:spPr>
            <a:xfrm>
              <a:off x="13446283" y="8612410"/>
              <a:ext cx="364113" cy="157371"/>
            </a:xfrm>
            <a:custGeom>
              <a:avLst/>
              <a:gdLst>
                <a:gd name="connsiteX0" fmla="*/ 37028 w 364113"/>
                <a:gd name="connsiteY0" fmla="*/ 6171 h 157371"/>
                <a:gd name="connsiteX1" fmla="*/ 141942 w 364113"/>
                <a:gd name="connsiteY1" fmla="*/ 123429 h 157371"/>
                <a:gd name="connsiteX2" fmla="*/ 339429 w 364113"/>
                <a:gd name="connsiteY2" fmla="*/ 0 h 157371"/>
                <a:gd name="connsiteX3" fmla="*/ 364114 w 364113"/>
                <a:gd name="connsiteY3" fmla="*/ 9257 h 157371"/>
                <a:gd name="connsiteX4" fmla="*/ 138857 w 364113"/>
                <a:gd name="connsiteY4" fmla="*/ 157372 h 157371"/>
                <a:gd name="connsiteX5" fmla="*/ 0 w 364113"/>
                <a:gd name="connsiteY5" fmla="*/ 15429 h 157371"/>
                <a:gd name="connsiteX6" fmla="*/ 37028 w 364113"/>
                <a:gd name="connsiteY6" fmla="*/ 6171 h 15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113" h="157371">
                  <a:moveTo>
                    <a:pt x="37028" y="6171"/>
                  </a:moveTo>
                  <a:lnTo>
                    <a:pt x="141942" y="123429"/>
                  </a:lnTo>
                  <a:cubicBezTo>
                    <a:pt x="141942" y="123429"/>
                    <a:pt x="274628" y="21600"/>
                    <a:pt x="339429" y="0"/>
                  </a:cubicBezTo>
                  <a:lnTo>
                    <a:pt x="364114" y="9257"/>
                  </a:lnTo>
                  <a:lnTo>
                    <a:pt x="138857" y="157372"/>
                  </a:lnTo>
                  <a:lnTo>
                    <a:pt x="0" y="15429"/>
                  </a:lnTo>
                  <a:cubicBezTo>
                    <a:pt x="0" y="12343"/>
                    <a:pt x="15429" y="9257"/>
                    <a:pt x="37028" y="6171"/>
                  </a:cubicBezTo>
                  <a:close/>
                </a:path>
              </a:pathLst>
            </a:custGeom>
            <a:solidFill>
              <a:srgbClr val="D1615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58230026-544E-4BC8-B7B3-F9B9F08B04B7}"/>
                </a:ext>
              </a:extLst>
            </p:cNvPr>
            <p:cNvSpPr/>
            <p:nvPr/>
          </p:nvSpPr>
          <p:spPr>
            <a:xfrm>
              <a:off x="13279654" y="9568982"/>
              <a:ext cx="685028" cy="49371"/>
            </a:xfrm>
            <a:custGeom>
              <a:avLst/>
              <a:gdLst>
                <a:gd name="connsiteX0" fmla="*/ 206743 w 685028"/>
                <a:gd name="connsiteY0" fmla="*/ 49372 h 49371"/>
                <a:gd name="connsiteX1" fmla="*/ 3086 w 685028"/>
                <a:gd name="connsiteY1" fmla="*/ 27771 h 49371"/>
                <a:gd name="connsiteX2" fmla="*/ 0 w 685028"/>
                <a:gd name="connsiteY2" fmla="*/ 21600 h 49371"/>
                <a:gd name="connsiteX3" fmla="*/ 6172 w 685028"/>
                <a:gd name="connsiteY3" fmla="*/ 18514 h 49371"/>
                <a:gd name="connsiteX4" fmla="*/ 678857 w 685028"/>
                <a:gd name="connsiteY4" fmla="*/ 0 h 49371"/>
                <a:gd name="connsiteX5" fmla="*/ 685029 w 685028"/>
                <a:gd name="connsiteY5" fmla="*/ 6171 h 49371"/>
                <a:gd name="connsiteX6" fmla="*/ 678857 w 685028"/>
                <a:gd name="connsiteY6" fmla="*/ 12343 h 49371"/>
                <a:gd name="connsiteX7" fmla="*/ 206743 w 685028"/>
                <a:gd name="connsiteY7" fmla="*/ 49372 h 49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5028" h="49371">
                  <a:moveTo>
                    <a:pt x="206743" y="49372"/>
                  </a:moveTo>
                  <a:cubicBezTo>
                    <a:pt x="55543" y="49372"/>
                    <a:pt x="6172" y="27771"/>
                    <a:pt x="3086" y="27771"/>
                  </a:cubicBezTo>
                  <a:cubicBezTo>
                    <a:pt x="0" y="27771"/>
                    <a:pt x="0" y="24686"/>
                    <a:pt x="0" y="21600"/>
                  </a:cubicBezTo>
                  <a:cubicBezTo>
                    <a:pt x="0" y="18514"/>
                    <a:pt x="3086" y="18514"/>
                    <a:pt x="6172" y="18514"/>
                  </a:cubicBezTo>
                  <a:cubicBezTo>
                    <a:pt x="6172" y="18514"/>
                    <a:pt x="145029" y="74057"/>
                    <a:pt x="678857" y="0"/>
                  </a:cubicBezTo>
                  <a:cubicBezTo>
                    <a:pt x="681943" y="0"/>
                    <a:pt x="685029" y="3086"/>
                    <a:pt x="685029" y="6171"/>
                  </a:cubicBezTo>
                  <a:cubicBezTo>
                    <a:pt x="685029" y="9257"/>
                    <a:pt x="681943" y="12343"/>
                    <a:pt x="678857" y="12343"/>
                  </a:cubicBezTo>
                  <a:cubicBezTo>
                    <a:pt x="462857" y="40114"/>
                    <a:pt x="311657" y="49372"/>
                    <a:pt x="206743" y="49372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3AD9F5E2-06C3-4C9E-9AFD-A9649C537090}"/>
                </a:ext>
              </a:extLst>
            </p:cNvPr>
            <p:cNvSpPr/>
            <p:nvPr/>
          </p:nvSpPr>
          <p:spPr>
            <a:xfrm>
              <a:off x="13574289" y="8522925"/>
              <a:ext cx="242280" cy="416571"/>
            </a:xfrm>
            <a:custGeom>
              <a:avLst/>
              <a:gdLst>
                <a:gd name="connsiteX0" fmla="*/ 208337 w 242280"/>
                <a:gd name="connsiteY0" fmla="*/ 0 h 416571"/>
                <a:gd name="connsiteX1" fmla="*/ 29365 w 242280"/>
                <a:gd name="connsiteY1" fmla="*/ 197486 h 416571"/>
                <a:gd name="connsiteX2" fmla="*/ 10852 w 242280"/>
                <a:gd name="connsiteY2" fmla="*/ 394971 h 416571"/>
                <a:gd name="connsiteX3" fmla="*/ 57137 w 242280"/>
                <a:gd name="connsiteY3" fmla="*/ 394971 h 416571"/>
                <a:gd name="connsiteX4" fmla="*/ 134280 w 242280"/>
                <a:gd name="connsiteY4" fmla="*/ 416571 h 416571"/>
                <a:gd name="connsiteX5" fmla="*/ 177480 w 242280"/>
                <a:gd name="connsiteY5" fmla="*/ 388800 h 416571"/>
                <a:gd name="connsiteX6" fmla="*/ 242280 w 242280"/>
                <a:gd name="connsiteY6" fmla="*/ 37028 h 416571"/>
                <a:gd name="connsiteX7" fmla="*/ 208337 w 242280"/>
                <a:gd name="connsiteY7" fmla="*/ 0 h 41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280" h="416571">
                  <a:moveTo>
                    <a:pt x="208337" y="0"/>
                  </a:moveTo>
                  <a:cubicBezTo>
                    <a:pt x="208337" y="0"/>
                    <a:pt x="66394" y="92571"/>
                    <a:pt x="29365" y="197486"/>
                  </a:cubicBezTo>
                  <a:cubicBezTo>
                    <a:pt x="-7663" y="305486"/>
                    <a:pt x="-4577" y="385714"/>
                    <a:pt x="10852" y="394971"/>
                  </a:cubicBezTo>
                  <a:cubicBezTo>
                    <a:pt x="26280" y="404228"/>
                    <a:pt x="38623" y="385714"/>
                    <a:pt x="57137" y="394971"/>
                  </a:cubicBezTo>
                  <a:cubicBezTo>
                    <a:pt x="75651" y="404228"/>
                    <a:pt x="121937" y="416571"/>
                    <a:pt x="134280" y="416571"/>
                  </a:cubicBezTo>
                  <a:cubicBezTo>
                    <a:pt x="149709" y="416571"/>
                    <a:pt x="183651" y="401143"/>
                    <a:pt x="177480" y="388800"/>
                  </a:cubicBezTo>
                  <a:cubicBezTo>
                    <a:pt x="171308" y="376457"/>
                    <a:pt x="217594" y="64800"/>
                    <a:pt x="242280" y="37028"/>
                  </a:cubicBezTo>
                  <a:lnTo>
                    <a:pt x="208337" y="0"/>
                  </a:ln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1C01051F-7520-4E15-BE9B-913AFF0E81F9}"/>
                </a:ext>
              </a:extLst>
            </p:cNvPr>
            <p:cNvSpPr/>
            <p:nvPr/>
          </p:nvSpPr>
          <p:spPr>
            <a:xfrm>
              <a:off x="13727082" y="8509976"/>
              <a:ext cx="106314" cy="79790"/>
            </a:xfrm>
            <a:custGeom>
              <a:avLst/>
              <a:gdLst>
                <a:gd name="connsiteX0" fmla="*/ 0 w 106314"/>
                <a:gd name="connsiteY0" fmla="*/ 16034 h 79790"/>
                <a:gd name="connsiteX1" fmla="*/ 18514 w 106314"/>
                <a:gd name="connsiteY1" fmla="*/ 605 h 79790"/>
                <a:gd name="connsiteX2" fmla="*/ 95657 w 106314"/>
                <a:gd name="connsiteY2" fmla="*/ 25291 h 79790"/>
                <a:gd name="connsiteX3" fmla="*/ 101829 w 106314"/>
                <a:gd name="connsiteY3" fmla="*/ 53062 h 79790"/>
                <a:gd name="connsiteX4" fmla="*/ 83315 w 106314"/>
                <a:gd name="connsiteY4" fmla="*/ 77748 h 79790"/>
                <a:gd name="connsiteX5" fmla="*/ 15429 w 106314"/>
                <a:gd name="connsiteY5" fmla="*/ 56148 h 79790"/>
                <a:gd name="connsiteX6" fmla="*/ 6172 w 106314"/>
                <a:gd name="connsiteY6" fmla="*/ 40720 h 79790"/>
                <a:gd name="connsiteX7" fmla="*/ 0 w 106314"/>
                <a:gd name="connsiteY7" fmla="*/ 16034 h 79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314" h="79790">
                  <a:moveTo>
                    <a:pt x="0" y="16034"/>
                  </a:moveTo>
                  <a:cubicBezTo>
                    <a:pt x="0" y="6777"/>
                    <a:pt x="9258" y="-2480"/>
                    <a:pt x="18514" y="605"/>
                  </a:cubicBezTo>
                  <a:cubicBezTo>
                    <a:pt x="43201" y="9862"/>
                    <a:pt x="70972" y="16034"/>
                    <a:pt x="95657" y="25291"/>
                  </a:cubicBezTo>
                  <a:cubicBezTo>
                    <a:pt x="108000" y="28377"/>
                    <a:pt x="108000" y="46891"/>
                    <a:pt x="101829" y="53062"/>
                  </a:cubicBezTo>
                  <a:cubicBezTo>
                    <a:pt x="114172" y="62319"/>
                    <a:pt x="98743" y="87005"/>
                    <a:pt x="83315" y="77748"/>
                  </a:cubicBezTo>
                  <a:cubicBezTo>
                    <a:pt x="61714" y="65405"/>
                    <a:pt x="40115" y="59234"/>
                    <a:pt x="15429" y="56148"/>
                  </a:cubicBezTo>
                  <a:cubicBezTo>
                    <a:pt x="6172" y="56148"/>
                    <a:pt x="3086" y="46891"/>
                    <a:pt x="6172" y="40720"/>
                  </a:cubicBezTo>
                  <a:cubicBezTo>
                    <a:pt x="0" y="31462"/>
                    <a:pt x="0" y="25291"/>
                    <a:pt x="0" y="16034"/>
                  </a:cubicBezTo>
                  <a:close/>
                </a:path>
              </a:pathLst>
            </a:custGeom>
            <a:solidFill>
              <a:srgbClr val="7F95BC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A09BE3FB-1074-471B-B8DE-27E7DB118A18}"/>
                </a:ext>
              </a:extLst>
            </p:cNvPr>
            <p:cNvSpPr/>
            <p:nvPr/>
          </p:nvSpPr>
          <p:spPr>
            <a:xfrm>
              <a:off x="13250289" y="8522925"/>
              <a:ext cx="242280" cy="416571"/>
            </a:xfrm>
            <a:custGeom>
              <a:avLst/>
              <a:gdLst>
                <a:gd name="connsiteX0" fmla="*/ 208337 w 242280"/>
                <a:gd name="connsiteY0" fmla="*/ 0 h 416571"/>
                <a:gd name="connsiteX1" fmla="*/ 29365 w 242280"/>
                <a:gd name="connsiteY1" fmla="*/ 197486 h 416571"/>
                <a:gd name="connsiteX2" fmla="*/ 10852 w 242280"/>
                <a:gd name="connsiteY2" fmla="*/ 394971 h 416571"/>
                <a:gd name="connsiteX3" fmla="*/ 57137 w 242280"/>
                <a:gd name="connsiteY3" fmla="*/ 394971 h 416571"/>
                <a:gd name="connsiteX4" fmla="*/ 134280 w 242280"/>
                <a:gd name="connsiteY4" fmla="*/ 416571 h 416571"/>
                <a:gd name="connsiteX5" fmla="*/ 177480 w 242280"/>
                <a:gd name="connsiteY5" fmla="*/ 388800 h 416571"/>
                <a:gd name="connsiteX6" fmla="*/ 242280 w 242280"/>
                <a:gd name="connsiteY6" fmla="*/ 37028 h 416571"/>
                <a:gd name="connsiteX7" fmla="*/ 208337 w 242280"/>
                <a:gd name="connsiteY7" fmla="*/ 0 h 41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280" h="416571">
                  <a:moveTo>
                    <a:pt x="208337" y="0"/>
                  </a:moveTo>
                  <a:cubicBezTo>
                    <a:pt x="208337" y="0"/>
                    <a:pt x="66394" y="92571"/>
                    <a:pt x="29365" y="197486"/>
                  </a:cubicBezTo>
                  <a:cubicBezTo>
                    <a:pt x="-7663" y="305486"/>
                    <a:pt x="-4577" y="385714"/>
                    <a:pt x="10852" y="394971"/>
                  </a:cubicBezTo>
                  <a:cubicBezTo>
                    <a:pt x="26280" y="404228"/>
                    <a:pt x="38623" y="385714"/>
                    <a:pt x="57137" y="394971"/>
                  </a:cubicBezTo>
                  <a:cubicBezTo>
                    <a:pt x="75651" y="404228"/>
                    <a:pt x="121937" y="416571"/>
                    <a:pt x="134280" y="416571"/>
                  </a:cubicBezTo>
                  <a:cubicBezTo>
                    <a:pt x="149709" y="416571"/>
                    <a:pt x="183651" y="401143"/>
                    <a:pt x="177480" y="388800"/>
                  </a:cubicBezTo>
                  <a:cubicBezTo>
                    <a:pt x="171308" y="376457"/>
                    <a:pt x="217594" y="64800"/>
                    <a:pt x="242280" y="37028"/>
                  </a:cubicBezTo>
                  <a:lnTo>
                    <a:pt x="208337" y="0"/>
                  </a:ln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AD4CE725-86B0-43B8-A8DE-2548181E8455}"/>
                </a:ext>
              </a:extLst>
            </p:cNvPr>
            <p:cNvSpPr/>
            <p:nvPr/>
          </p:nvSpPr>
          <p:spPr>
            <a:xfrm>
              <a:off x="13403082" y="8509976"/>
              <a:ext cx="106314" cy="79790"/>
            </a:xfrm>
            <a:custGeom>
              <a:avLst/>
              <a:gdLst>
                <a:gd name="connsiteX0" fmla="*/ 0 w 106314"/>
                <a:gd name="connsiteY0" fmla="*/ 16034 h 79790"/>
                <a:gd name="connsiteX1" fmla="*/ 18514 w 106314"/>
                <a:gd name="connsiteY1" fmla="*/ 605 h 79790"/>
                <a:gd name="connsiteX2" fmla="*/ 95657 w 106314"/>
                <a:gd name="connsiteY2" fmla="*/ 25291 h 79790"/>
                <a:gd name="connsiteX3" fmla="*/ 101829 w 106314"/>
                <a:gd name="connsiteY3" fmla="*/ 53062 h 79790"/>
                <a:gd name="connsiteX4" fmla="*/ 83315 w 106314"/>
                <a:gd name="connsiteY4" fmla="*/ 77748 h 79790"/>
                <a:gd name="connsiteX5" fmla="*/ 15429 w 106314"/>
                <a:gd name="connsiteY5" fmla="*/ 56148 h 79790"/>
                <a:gd name="connsiteX6" fmla="*/ 6172 w 106314"/>
                <a:gd name="connsiteY6" fmla="*/ 40720 h 79790"/>
                <a:gd name="connsiteX7" fmla="*/ 0 w 106314"/>
                <a:gd name="connsiteY7" fmla="*/ 16034 h 79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314" h="79790">
                  <a:moveTo>
                    <a:pt x="0" y="16034"/>
                  </a:moveTo>
                  <a:cubicBezTo>
                    <a:pt x="0" y="6777"/>
                    <a:pt x="9258" y="-2480"/>
                    <a:pt x="18514" y="605"/>
                  </a:cubicBezTo>
                  <a:cubicBezTo>
                    <a:pt x="43201" y="9862"/>
                    <a:pt x="70972" y="16034"/>
                    <a:pt x="95657" y="25291"/>
                  </a:cubicBezTo>
                  <a:cubicBezTo>
                    <a:pt x="108000" y="28377"/>
                    <a:pt x="108000" y="46891"/>
                    <a:pt x="101829" y="53062"/>
                  </a:cubicBezTo>
                  <a:cubicBezTo>
                    <a:pt x="114172" y="62319"/>
                    <a:pt x="98743" y="87005"/>
                    <a:pt x="83315" y="77748"/>
                  </a:cubicBezTo>
                  <a:cubicBezTo>
                    <a:pt x="61714" y="65405"/>
                    <a:pt x="40115" y="59234"/>
                    <a:pt x="15429" y="56148"/>
                  </a:cubicBezTo>
                  <a:cubicBezTo>
                    <a:pt x="6172" y="56148"/>
                    <a:pt x="3086" y="46891"/>
                    <a:pt x="6172" y="40720"/>
                  </a:cubicBezTo>
                  <a:cubicBezTo>
                    <a:pt x="0" y="31462"/>
                    <a:pt x="0" y="25291"/>
                    <a:pt x="0" y="16034"/>
                  </a:cubicBezTo>
                  <a:close/>
                </a:path>
              </a:pathLst>
            </a:custGeom>
            <a:solidFill>
              <a:srgbClr val="7F95BC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4E856F4C-E1C8-400E-B54C-66D05E001F9B}"/>
                </a:ext>
              </a:extLst>
            </p:cNvPr>
            <p:cNvSpPr/>
            <p:nvPr/>
          </p:nvSpPr>
          <p:spPr>
            <a:xfrm>
              <a:off x="13761026" y="8808141"/>
              <a:ext cx="557641" cy="986097"/>
            </a:xfrm>
            <a:custGeom>
              <a:avLst/>
              <a:gdLst>
                <a:gd name="connsiteX0" fmla="*/ 299315 w 557641"/>
                <a:gd name="connsiteY0" fmla="*/ 14098 h 986097"/>
                <a:gd name="connsiteX1" fmla="*/ 141943 w 557641"/>
                <a:gd name="connsiteY1" fmla="*/ 217755 h 986097"/>
                <a:gd name="connsiteX2" fmla="*/ 339429 w 557641"/>
                <a:gd name="connsiteY2" fmla="*/ 600384 h 986097"/>
                <a:gd name="connsiteX3" fmla="*/ 0 w 557641"/>
                <a:gd name="connsiteY3" fmla="*/ 899698 h 986097"/>
                <a:gd name="connsiteX4" fmla="*/ 92571 w 557641"/>
                <a:gd name="connsiteY4" fmla="*/ 986098 h 986097"/>
                <a:gd name="connsiteX5" fmla="*/ 555429 w 557641"/>
                <a:gd name="connsiteY5" fmla="*/ 618898 h 986097"/>
                <a:gd name="connsiteX6" fmla="*/ 299315 w 557641"/>
                <a:gd name="connsiteY6" fmla="*/ 14098 h 986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7641" h="986097">
                  <a:moveTo>
                    <a:pt x="299315" y="14098"/>
                  </a:moveTo>
                  <a:cubicBezTo>
                    <a:pt x="123429" y="-47616"/>
                    <a:pt x="67886" y="106670"/>
                    <a:pt x="141943" y="217755"/>
                  </a:cubicBezTo>
                  <a:cubicBezTo>
                    <a:pt x="216000" y="325755"/>
                    <a:pt x="342514" y="569527"/>
                    <a:pt x="339429" y="600384"/>
                  </a:cubicBezTo>
                  <a:cubicBezTo>
                    <a:pt x="299315" y="649755"/>
                    <a:pt x="0" y="899698"/>
                    <a:pt x="0" y="899698"/>
                  </a:cubicBezTo>
                  <a:cubicBezTo>
                    <a:pt x="30857" y="915127"/>
                    <a:pt x="92571" y="986098"/>
                    <a:pt x="92571" y="986098"/>
                  </a:cubicBezTo>
                  <a:cubicBezTo>
                    <a:pt x="92571" y="986098"/>
                    <a:pt x="527657" y="748498"/>
                    <a:pt x="555429" y="618898"/>
                  </a:cubicBezTo>
                  <a:cubicBezTo>
                    <a:pt x="573943" y="551012"/>
                    <a:pt x="475200" y="78898"/>
                    <a:pt x="299315" y="14098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41AF0F3D-35A0-4D48-9D92-F928228A5768}"/>
                </a:ext>
              </a:extLst>
            </p:cNvPr>
            <p:cNvSpPr/>
            <p:nvPr/>
          </p:nvSpPr>
          <p:spPr>
            <a:xfrm>
              <a:off x="13834047" y="8662601"/>
              <a:ext cx="429950" cy="449694"/>
            </a:xfrm>
            <a:custGeom>
              <a:avLst/>
              <a:gdLst>
                <a:gd name="connsiteX0" fmla="*/ 429951 w 429950"/>
                <a:gd name="connsiteY0" fmla="*/ 283066 h 449694"/>
                <a:gd name="connsiteX1" fmla="*/ 72008 w 429950"/>
                <a:gd name="connsiteY1" fmla="*/ 2266 h 449694"/>
                <a:gd name="connsiteX2" fmla="*/ 90522 w 429950"/>
                <a:gd name="connsiteY2" fmla="*/ 449695 h 449694"/>
                <a:gd name="connsiteX3" fmla="*/ 429951 w 429950"/>
                <a:gd name="connsiteY3" fmla="*/ 283066 h 449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9950" h="449694">
                  <a:moveTo>
                    <a:pt x="429951" y="283066"/>
                  </a:moveTo>
                  <a:cubicBezTo>
                    <a:pt x="343550" y="116438"/>
                    <a:pt x="152236" y="-19334"/>
                    <a:pt x="72008" y="2266"/>
                  </a:cubicBezTo>
                  <a:cubicBezTo>
                    <a:pt x="-29822" y="30038"/>
                    <a:pt x="-23650" y="276895"/>
                    <a:pt x="90522" y="449695"/>
                  </a:cubicBezTo>
                  <a:cubicBezTo>
                    <a:pt x="167665" y="446609"/>
                    <a:pt x="355893" y="357123"/>
                    <a:pt x="429951" y="283066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16647614-76C3-4C11-B9B8-C0194E623192}"/>
                </a:ext>
              </a:extLst>
            </p:cNvPr>
            <p:cNvSpPr/>
            <p:nvPr/>
          </p:nvSpPr>
          <p:spPr>
            <a:xfrm>
              <a:off x="13828561" y="8660410"/>
              <a:ext cx="247207" cy="454971"/>
            </a:xfrm>
            <a:custGeom>
              <a:avLst/>
              <a:gdLst>
                <a:gd name="connsiteX0" fmla="*/ 99093 w 247207"/>
                <a:gd name="connsiteY0" fmla="*/ 454971 h 454971"/>
                <a:gd name="connsiteX1" fmla="*/ 92922 w 247207"/>
                <a:gd name="connsiteY1" fmla="*/ 451886 h 454971"/>
                <a:gd name="connsiteX2" fmla="*/ 350 w 247207"/>
                <a:gd name="connsiteY2" fmla="*/ 158743 h 454971"/>
                <a:gd name="connsiteX3" fmla="*/ 350 w 247207"/>
                <a:gd name="connsiteY3" fmla="*/ 149485 h 454971"/>
                <a:gd name="connsiteX4" fmla="*/ 58979 w 247207"/>
                <a:gd name="connsiteY4" fmla="*/ 1372 h 454971"/>
                <a:gd name="connsiteX5" fmla="*/ 68235 w 247207"/>
                <a:gd name="connsiteY5" fmla="*/ 1372 h 454971"/>
                <a:gd name="connsiteX6" fmla="*/ 68235 w 247207"/>
                <a:gd name="connsiteY6" fmla="*/ 10628 h 454971"/>
                <a:gd name="connsiteX7" fmla="*/ 12693 w 247207"/>
                <a:gd name="connsiteY7" fmla="*/ 149485 h 454971"/>
                <a:gd name="connsiteX8" fmla="*/ 12693 w 247207"/>
                <a:gd name="connsiteY8" fmla="*/ 158743 h 454971"/>
                <a:gd name="connsiteX9" fmla="*/ 99093 w 247207"/>
                <a:gd name="connsiteY9" fmla="*/ 439543 h 454971"/>
                <a:gd name="connsiteX10" fmla="*/ 237950 w 247207"/>
                <a:gd name="connsiteY10" fmla="*/ 396343 h 454971"/>
                <a:gd name="connsiteX11" fmla="*/ 247207 w 247207"/>
                <a:gd name="connsiteY11" fmla="*/ 399428 h 454971"/>
                <a:gd name="connsiteX12" fmla="*/ 244122 w 247207"/>
                <a:gd name="connsiteY12" fmla="*/ 408686 h 454971"/>
                <a:gd name="connsiteX13" fmla="*/ 99093 w 247207"/>
                <a:gd name="connsiteY13" fmla="*/ 454971 h 454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7207" h="454971">
                  <a:moveTo>
                    <a:pt x="99093" y="454971"/>
                  </a:moveTo>
                  <a:cubicBezTo>
                    <a:pt x="96008" y="454971"/>
                    <a:pt x="92922" y="454971"/>
                    <a:pt x="92922" y="451886"/>
                  </a:cubicBezTo>
                  <a:cubicBezTo>
                    <a:pt x="71321" y="427200"/>
                    <a:pt x="-5822" y="269829"/>
                    <a:pt x="350" y="158743"/>
                  </a:cubicBezTo>
                  <a:cubicBezTo>
                    <a:pt x="350" y="155657"/>
                    <a:pt x="350" y="152571"/>
                    <a:pt x="350" y="149485"/>
                  </a:cubicBezTo>
                  <a:cubicBezTo>
                    <a:pt x="350" y="112457"/>
                    <a:pt x="3436" y="38400"/>
                    <a:pt x="58979" y="1372"/>
                  </a:cubicBezTo>
                  <a:cubicBezTo>
                    <a:pt x="62065" y="-1714"/>
                    <a:pt x="65150" y="1372"/>
                    <a:pt x="68235" y="1372"/>
                  </a:cubicBezTo>
                  <a:cubicBezTo>
                    <a:pt x="71321" y="4457"/>
                    <a:pt x="68235" y="7543"/>
                    <a:pt x="68235" y="10628"/>
                  </a:cubicBezTo>
                  <a:cubicBezTo>
                    <a:pt x="18865" y="44571"/>
                    <a:pt x="15779" y="115543"/>
                    <a:pt x="12693" y="149485"/>
                  </a:cubicBezTo>
                  <a:cubicBezTo>
                    <a:pt x="12693" y="152571"/>
                    <a:pt x="12693" y="155657"/>
                    <a:pt x="12693" y="158743"/>
                  </a:cubicBezTo>
                  <a:cubicBezTo>
                    <a:pt x="6521" y="260571"/>
                    <a:pt x="77493" y="411771"/>
                    <a:pt x="99093" y="439543"/>
                  </a:cubicBezTo>
                  <a:cubicBezTo>
                    <a:pt x="126865" y="439543"/>
                    <a:pt x="173150" y="430286"/>
                    <a:pt x="237950" y="396343"/>
                  </a:cubicBezTo>
                  <a:cubicBezTo>
                    <a:pt x="241036" y="396343"/>
                    <a:pt x="244122" y="396343"/>
                    <a:pt x="247207" y="399428"/>
                  </a:cubicBezTo>
                  <a:cubicBezTo>
                    <a:pt x="247207" y="402514"/>
                    <a:pt x="247207" y="405600"/>
                    <a:pt x="244122" y="408686"/>
                  </a:cubicBezTo>
                  <a:cubicBezTo>
                    <a:pt x="176235" y="448800"/>
                    <a:pt x="126865" y="454971"/>
                    <a:pt x="99093" y="454971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C766EF48-766B-402C-B1A2-663B26ED5234}"/>
                </a:ext>
              </a:extLst>
            </p:cNvPr>
            <p:cNvSpPr/>
            <p:nvPr/>
          </p:nvSpPr>
          <p:spPr>
            <a:xfrm>
              <a:off x="11982833" y="8547182"/>
              <a:ext cx="269991" cy="224438"/>
            </a:xfrm>
            <a:custGeom>
              <a:avLst/>
              <a:gdLst>
                <a:gd name="connsiteX0" fmla="*/ 50192 w 269991"/>
                <a:gd name="connsiteY0" fmla="*/ 151629 h 224438"/>
                <a:gd name="connsiteX1" fmla="*/ 105736 w 269991"/>
                <a:gd name="connsiteY1" fmla="*/ 185571 h 224438"/>
                <a:gd name="connsiteX2" fmla="*/ 198307 w 269991"/>
                <a:gd name="connsiteY2" fmla="*/ 222600 h 224438"/>
                <a:gd name="connsiteX3" fmla="*/ 269278 w 269991"/>
                <a:gd name="connsiteY3" fmla="*/ 160886 h 224438"/>
                <a:gd name="connsiteX4" fmla="*/ 81049 w 269991"/>
                <a:gd name="connsiteY4" fmla="*/ 3514 h 224438"/>
                <a:gd name="connsiteX5" fmla="*/ 56364 w 269991"/>
                <a:gd name="connsiteY5" fmla="*/ 12771 h 224438"/>
                <a:gd name="connsiteX6" fmla="*/ 81049 w 269991"/>
                <a:gd name="connsiteY6" fmla="*/ 40543 h 224438"/>
                <a:gd name="connsiteX7" fmla="*/ 114992 w 269991"/>
                <a:gd name="connsiteY7" fmla="*/ 74486 h 224438"/>
                <a:gd name="connsiteX8" fmla="*/ 59450 w 269991"/>
                <a:gd name="connsiteY8" fmla="*/ 46714 h 224438"/>
                <a:gd name="connsiteX9" fmla="*/ 19335 w 269991"/>
                <a:gd name="connsiteY9" fmla="*/ 28200 h 224438"/>
                <a:gd name="connsiteX10" fmla="*/ 820 w 269991"/>
                <a:gd name="connsiteY10" fmla="*/ 43629 h 224438"/>
                <a:gd name="connsiteX11" fmla="*/ 10078 w 269991"/>
                <a:gd name="connsiteY11" fmla="*/ 68314 h 224438"/>
                <a:gd name="connsiteX12" fmla="*/ 6992 w 269991"/>
                <a:gd name="connsiteY12" fmla="*/ 68314 h 224438"/>
                <a:gd name="connsiteX13" fmla="*/ 3906 w 269991"/>
                <a:gd name="connsiteY13" fmla="*/ 71400 h 224438"/>
                <a:gd name="connsiteX14" fmla="*/ 28593 w 269991"/>
                <a:gd name="connsiteY14" fmla="*/ 105343 h 224438"/>
                <a:gd name="connsiteX15" fmla="*/ 47106 w 269991"/>
                <a:gd name="connsiteY15" fmla="*/ 114600 h 224438"/>
                <a:gd name="connsiteX16" fmla="*/ 40935 w 269991"/>
                <a:gd name="connsiteY16" fmla="*/ 114600 h 224438"/>
                <a:gd name="connsiteX17" fmla="*/ 28593 w 269991"/>
                <a:gd name="connsiteY17" fmla="*/ 123857 h 224438"/>
                <a:gd name="connsiteX18" fmla="*/ 50192 w 269991"/>
                <a:gd name="connsiteY18" fmla="*/ 151629 h 22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69991" h="224438">
                  <a:moveTo>
                    <a:pt x="50192" y="151629"/>
                  </a:moveTo>
                  <a:cubicBezTo>
                    <a:pt x="68707" y="163971"/>
                    <a:pt x="87221" y="173229"/>
                    <a:pt x="105736" y="185571"/>
                  </a:cubicBezTo>
                  <a:cubicBezTo>
                    <a:pt x="133507" y="204086"/>
                    <a:pt x="164364" y="231857"/>
                    <a:pt x="198307" y="222600"/>
                  </a:cubicBezTo>
                  <a:cubicBezTo>
                    <a:pt x="222992" y="216428"/>
                    <a:pt x="269278" y="160886"/>
                    <a:pt x="269278" y="160886"/>
                  </a:cubicBezTo>
                  <a:cubicBezTo>
                    <a:pt x="281621" y="93000"/>
                    <a:pt x="130421" y="22029"/>
                    <a:pt x="81049" y="3514"/>
                  </a:cubicBezTo>
                  <a:cubicBezTo>
                    <a:pt x="71792" y="428"/>
                    <a:pt x="50192" y="-5743"/>
                    <a:pt x="56364" y="12771"/>
                  </a:cubicBezTo>
                  <a:cubicBezTo>
                    <a:pt x="59450" y="25114"/>
                    <a:pt x="74878" y="34371"/>
                    <a:pt x="81049" y="40543"/>
                  </a:cubicBezTo>
                  <a:cubicBezTo>
                    <a:pt x="93392" y="52886"/>
                    <a:pt x="105736" y="65229"/>
                    <a:pt x="114992" y="74486"/>
                  </a:cubicBezTo>
                  <a:cubicBezTo>
                    <a:pt x="96478" y="65229"/>
                    <a:pt x="77963" y="55971"/>
                    <a:pt x="59450" y="46714"/>
                  </a:cubicBezTo>
                  <a:cubicBezTo>
                    <a:pt x="47106" y="40543"/>
                    <a:pt x="31678" y="28200"/>
                    <a:pt x="19335" y="28200"/>
                  </a:cubicBezTo>
                  <a:cubicBezTo>
                    <a:pt x="10078" y="28200"/>
                    <a:pt x="3906" y="34371"/>
                    <a:pt x="820" y="43629"/>
                  </a:cubicBezTo>
                  <a:cubicBezTo>
                    <a:pt x="-2264" y="52886"/>
                    <a:pt x="3906" y="62143"/>
                    <a:pt x="10078" y="68314"/>
                  </a:cubicBezTo>
                  <a:cubicBezTo>
                    <a:pt x="10078" y="68314"/>
                    <a:pt x="10078" y="68314"/>
                    <a:pt x="6992" y="68314"/>
                  </a:cubicBezTo>
                  <a:cubicBezTo>
                    <a:pt x="3906" y="68314"/>
                    <a:pt x="3906" y="71400"/>
                    <a:pt x="3906" y="71400"/>
                  </a:cubicBezTo>
                  <a:cubicBezTo>
                    <a:pt x="6992" y="86828"/>
                    <a:pt x="16249" y="96086"/>
                    <a:pt x="28593" y="105343"/>
                  </a:cubicBezTo>
                  <a:cubicBezTo>
                    <a:pt x="34764" y="108428"/>
                    <a:pt x="40935" y="111514"/>
                    <a:pt x="47106" y="114600"/>
                  </a:cubicBezTo>
                  <a:cubicBezTo>
                    <a:pt x="44021" y="114600"/>
                    <a:pt x="44021" y="114600"/>
                    <a:pt x="40935" y="114600"/>
                  </a:cubicBezTo>
                  <a:cubicBezTo>
                    <a:pt x="34764" y="114600"/>
                    <a:pt x="28593" y="117686"/>
                    <a:pt x="28593" y="123857"/>
                  </a:cubicBezTo>
                  <a:cubicBezTo>
                    <a:pt x="25507" y="139285"/>
                    <a:pt x="40935" y="145457"/>
                    <a:pt x="50192" y="151629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2" name="图形 1">
              <a:extLst>
                <a:ext uri="{FF2B5EF4-FFF2-40B4-BE49-F238E27FC236}">
                  <a16:creationId xmlns:a16="http://schemas.microsoft.com/office/drawing/2014/main" id="{C1E54A02-2369-44A8-B6F9-63A2EEB9B145}"/>
                </a:ext>
              </a:extLst>
            </p:cNvPr>
            <p:cNvGrpSpPr/>
            <p:nvPr/>
          </p:nvGrpSpPr>
          <p:grpSpPr>
            <a:xfrm>
              <a:off x="13554283" y="9676851"/>
              <a:ext cx="325074" cy="272764"/>
              <a:chOff x="13554283" y="9676851"/>
              <a:chExt cx="325074" cy="272764"/>
            </a:xfrm>
          </p:grpSpPr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198B6CDF-479C-4901-ADC2-2708AA3B89A6}"/>
                  </a:ext>
                </a:extLst>
              </p:cNvPr>
              <p:cNvSpPr/>
              <p:nvPr/>
            </p:nvSpPr>
            <p:spPr>
              <a:xfrm>
                <a:off x="13559210" y="9676851"/>
                <a:ext cx="320147" cy="272764"/>
              </a:xfrm>
              <a:custGeom>
                <a:avLst/>
                <a:gdLst>
                  <a:gd name="connsiteX0" fmla="*/ 319073 w 320147"/>
                  <a:gd name="connsiteY0" fmla="*/ 86530 h 272764"/>
                  <a:gd name="connsiteX1" fmla="*/ 245015 w 320147"/>
                  <a:gd name="connsiteY1" fmla="*/ 130 h 272764"/>
                  <a:gd name="connsiteX2" fmla="*/ 41359 w 320147"/>
                  <a:gd name="connsiteY2" fmla="*/ 117387 h 272764"/>
                  <a:gd name="connsiteX3" fmla="*/ 4330 w 320147"/>
                  <a:gd name="connsiteY3" fmla="*/ 176016 h 272764"/>
                  <a:gd name="connsiteX4" fmla="*/ 22844 w 320147"/>
                  <a:gd name="connsiteY4" fmla="*/ 176016 h 272764"/>
                  <a:gd name="connsiteX5" fmla="*/ 59872 w 320147"/>
                  <a:gd name="connsiteY5" fmla="*/ 157502 h 272764"/>
                  <a:gd name="connsiteX6" fmla="*/ 25930 w 320147"/>
                  <a:gd name="connsiteY6" fmla="*/ 200702 h 272764"/>
                  <a:gd name="connsiteX7" fmla="*/ 10501 w 320147"/>
                  <a:gd name="connsiteY7" fmla="*/ 259330 h 272764"/>
                  <a:gd name="connsiteX8" fmla="*/ 38273 w 320147"/>
                  <a:gd name="connsiteY8" fmla="*/ 259330 h 272764"/>
                  <a:gd name="connsiteX9" fmla="*/ 44444 w 320147"/>
                  <a:gd name="connsiteY9" fmla="*/ 271673 h 272764"/>
                  <a:gd name="connsiteX10" fmla="*/ 106158 w 320147"/>
                  <a:gd name="connsiteY10" fmla="*/ 246987 h 272764"/>
                  <a:gd name="connsiteX11" fmla="*/ 146273 w 320147"/>
                  <a:gd name="connsiteY11" fmla="*/ 216130 h 272764"/>
                  <a:gd name="connsiteX12" fmla="*/ 127758 w 320147"/>
                  <a:gd name="connsiteY12" fmla="*/ 271673 h 272764"/>
                  <a:gd name="connsiteX13" fmla="*/ 170958 w 320147"/>
                  <a:gd name="connsiteY13" fmla="*/ 246987 h 272764"/>
                  <a:gd name="connsiteX14" fmla="*/ 235758 w 320147"/>
                  <a:gd name="connsiteY14" fmla="*/ 185273 h 272764"/>
                  <a:gd name="connsiteX15" fmla="*/ 303644 w 320147"/>
                  <a:gd name="connsiteY15" fmla="*/ 132815 h 272764"/>
                  <a:gd name="connsiteX16" fmla="*/ 319073 w 320147"/>
                  <a:gd name="connsiteY16" fmla="*/ 86530 h 272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20147" h="272764">
                    <a:moveTo>
                      <a:pt x="319073" y="86530"/>
                    </a:moveTo>
                    <a:cubicBezTo>
                      <a:pt x="309815" y="49502"/>
                      <a:pt x="241930" y="-2956"/>
                      <a:pt x="245015" y="130"/>
                    </a:cubicBezTo>
                    <a:cubicBezTo>
                      <a:pt x="177130" y="37159"/>
                      <a:pt x="103073" y="68016"/>
                      <a:pt x="41359" y="117387"/>
                    </a:cubicBezTo>
                    <a:cubicBezTo>
                      <a:pt x="32101" y="123559"/>
                      <a:pt x="-14185" y="157502"/>
                      <a:pt x="4330" y="176016"/>
                    </a:cubicBezTo>
                    <a:cubicBezTo>
                      <a:pt x="10501" y="182187"/>
                      <a:pt x="16672" y="179101"/>
                      <a:pt x="22844" y="176016"/>
                    </a:cubicBezTo>
                    <a:cubicBezTo>
                      <a:pt x="35187" y="172930"/>
                      <a:pt x="47529" y="166759"/>
                      <a:pt x="59872" y="157502"/>
                    </a:cubicBezTo>
                    <a:cubicBezTo>
                      <a:pt x="47529" y="169844"/>
                      <a:pt x="35187" y="185273"/>
                      <a:pt x="25930" y="200702"/>
                    </a:cubicBezTo>
                    <a:cubicBezTo>
                      <a:pt x="16672" y="213044"/>
                      <a:pt x="-1842" y="243901"/>
                      <a:pt x="10501" y="259330"/>
                    </a:cubicBezTo>
                    <a:cubicBezTo>
                      <a:pt x="16672" y="268588"/>
                      <a:pt x="25930" y="265502"/>
                      <a:pt x="38273" y="259330"/>
                    </a:cubicBezTo>
                    <a:cubicBezTo>
                      <a:pt x="38273" y="265502"/>
                      <a:pt x="38273" y="268588"/>
                      <a:pt x="44444" y="271673"/>
                    </a:cubicBezTo>
                    <a:cubicBezTo>
                      <a:pt x="62958" y="277844"/>
                      <a:pt x="93815" y="256244"/>
                      <a:pt x="106158" y="246987"/>
                    </a:cubicBezTo>
                    <a:cubicBezTo>
                      <a:pt x="118501" y="237731"/>
                      <a:pt x="133930" y="225387"/>
                      <a:pt x="146273" y="216130"/>
                    </a:cubicBezTo>
                    <a:cubicBezTo>
                      <a:pt x="127758" y="237731"/>
                      <a:pt x="109244" y="265502"/>
                      <a:pt x="127758" y="271673"/>
                    </a:cubicBezTo>
                    <a:cubicBezTo>
                      <a:pt x="140101" y="274759"/>
                      <a:pt x="161701" y="253159"/>
                      <a:pt x="170958" y="246987"/>
                    </a:cubicBezTo>
                    <a:cubicBezTo>
                      <a:pt x="192558" y="228473"/>
                      <a:pt x="211073" y="203787"/>
                      <a:pt x="235758" y="185273"/>
                    </a:cubicBezTo>
                    <a:cubicBezTo>
                      <a:pt x="257359" y="166759"/>
                      <a:pt x="282044" y="151330"/>
                      <a:pt x="303644" y="132815"/>
                    </a:cubicBezTo>
                    <a:cubicBezTo>
                      <a:pt x="319073" y="111216"/>
                      <a:pt x="322158" y="108130"/>
                      <a:pt x="319073" y="86530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07019546-FF72-4D65-A4CD-46721968EB75}"/>
                  </a:ext>
                </a:extLst>
              </p:cNvPr>
              <p:cNvSpPr/>
              <p:nvPr/>
            </p:nvSpPr>
            <p:spPr>
              <a:xfrm>
                <a:off x="13554283" y="9737418"/>
                <a:ext cx="132685" cy="121620"/>
              </a:xfrm>
              <a:custGeom>
                <a:avLst/>
                <a:gdLst>
                  <a:gd name="connsiteX0" fmla="*/ 18514 w 132685"/>
                  <a:gd name="connsiteY0" fmla="*/ 121621 h 121620"/>
                  <a:gd name="connsiteX1" fmla="*/ 6171 w 132685"/>
                  <a:gd name="connsiteY1" fmla="*/ 118535 h 121620"/>
                  <a:gd name="connsiteX2" fmla="*/ 0 w 132685"/>
                  <a:gd name="connsiteY2" fmla="*/ 106192 h 121620"/>
                  <a:gd name="connsiteX3" fmla="*/ 120343 w 132685"/>
                  <a:gd name="connsiteY3" fmla="*/ 1278 h 121620"/>
                  <a:gd name="connsiteX4" fmla="*/ 129599 w 132685"/>
                  <a:gd name="connsiteY4" fmla="*/ 4364 h 121620"/>
                  <a:gd name="connsiteX5" fmla="*/ 126514 w 132685"/>
                  <a:gd name="connsiteY5" fmla="*/ 13621 h 121620"/>
                  <a:gd name="connsiteX6" fmla="*/ 12343 w 132685"/>
                  <a:gd name="connsiteY6" fmla="*/ 109278 h 121620"/>
                  <a:gd name="connsiteX7" fmla="*/ 12343 w 132685"/>
                  <a:gd name="connsiteY7" fmla="*/ 112364 h 121620"/>
                  <a:gd name="connsiteX8" fmla="*/ 61714 w 132685"/>
                  <a:gd name="connsiteY8" fmla="*/ 96936 h 121620"/>
                  <a:gd name="connsiteX9" fmla="*/ 126514 w 132685"/>
                  <a:gd name="connsiteY9" fmla="*/ 53736 h 121620"/>
                  <a:gd name="connsiteX10" fmla="*/ 132685 w 132685"/>
                  <a:gd name="connsiteY10" fmla="*/ 59907 h 121620"/>
                  <a:gd name="connsiteX11" fmla="*/ 126514 w 132685"/>
                  <a:gd name="connsiteY11" fmla="*/ 66078 h 121620"/>
                  <a:gd name="connsiteX12" fmla="*/ 67885 w 132685"/>
                  <a:gd name="connsiteY12" fmla="*/ 106192 h 121620"/>
                  <a:gd name="connsiteX13" fmla="*/ 18514 w 132685"/>
                  <a:gd name="connsiteY13" fmla="*/ 121621 h 121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685" h="121620">
                    <a:moveTo>
                      <a:pt x="18514" y="121621"/>
                    </a:moveTo>
                    <a:cubicBezTo>
                      <a:pt x="12343" y="121621"/>
                      <a:pt x="9257" y="121621"/>
                      <a:pt x="6171" y="118535"/>
                    </a:cubicBezTo>
                    <a:cubicBezTo>
                      <a:pt x="0" y="115450"/>
                      <a:pt x="0" y="112364"/>
                      <a:pt x="0" y="106192"/>
                    </a:cubicBezTo>
                    <a:cubicBezTo>
                      <a:pt x="0" y="81507"/>
                      <a:pt x="49371" y="38307"/>
                      <a:pt x="120343" y="1278"/>
                    </a:cubicBezTo>
                    <a:cubicBezTo>
                      <a:pt x="123429" y="-1808"/>
                      <a:pt x="126514" y="1278"/>
                      <a:pt x="129599" y="4364"/>
                    </a:cubicBezTo>
                    <a:cubicBezTo>
                      <a:pt x="129599" y="7450"/>
                      <a:pt x="129599" y="10535"/>
                      <a:pt x="126514" y="13621"/>
                    </a:cubicBezTo>
                    <a:cubicBezTo>
                      <a:pt x="49371" y="53736"/>
                      <a:pt x="12343" y="93850"/>
                      <a:pt x="12343" y="109278"/>
                    </a:cubicBezTo>
                    <a:cubicBezTo>
                      <a:pt x="12343" y="112364"/>
                      <a:pt x="12343" y="112364"/>
                      <a:pt x="12343" y="112364"/>
                    </a:cubicBezTo>
                    <a:cubicBezTo>
                      <a:pt x="24685" y="118535"/>
                      <a:pt x="49371" y="106192"/>
                      <a:pt x="61714" y="96936"/>
                    </a:cubicBezTo>
                    <a:cubicBezTo>
                      <a:pt x="74057" y="87678"/>
                      <a:pt x="114171" y="53736"/>
                      <a:pt x="126514" y="53736"/>
                    </a:cubicBezTo>
                    <a:cubicBezTo>
                      <a:pt x="129599" y="53736"/>
                      <a:pt x="132685" y="56821"/>
                      <a:pt x="132685" y="59907"/>
                    </a:cubicBezTo>
                    <a:cubicBezTo>
                      <a:pt x="132685" y="62993"/>
                      <a:pt x="129599" y="66078"/>
                      <a:pt x="126514" y="66078"/>
                    </a:cubicBezTo>
                    <a:cubicBezTo>
                      <a:pt x="120343" y="66078"/>
                      <a:pt x="92571" y="87678"/>
                      <a:pt x="67885" y="106192"/>
                    </a:cubicBezTo>
                    <a:cubicBezTo>
                      <a:pt x="64799" y="103106"/>
                      <a:pt x="40114" y="121621"/>
                      <a:pt x="18514" y="12162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7FD814A2-2903-4D4F-94D3-87BE562A639A}"/>
                  </a:ext>
                </a:extLst>
              </p:cNvPr>
              <p:cNvSpPr/>
              <p:nvPr/>
            </p:nvSpPr>
            <p:spPr>
              <a:xfrm>
                <a:off x="13588997" y="9825096"/>
                <a:ext cx="113400" cy="114171"/>
              </a:xfrm>
              <a:custGeom>
                <a:avLst/>
                <a:gdLst>
                  <a:gd name="connsiteX0" fmla="*/ 5400 w 113400"/>
                  <a:gd name="connsiteY0" fmla="*/ 114172 h 114171"/>
                  <a:gd name="connsiteX1" fmla="*/ 2314 w 113400"/>
                  <a:gd name="connsiteY1" fmla="*/ 114172 h 114171"/>
                  <a:gd name="connsiteX2" fmla="*/ 2314 w 113400"/>
                  <a:gd name="connsiteY2" fmla="*/ 104915 h 114171"/>
                  <a:gd name="connsiteX3" fmla="*/ 104144 w 113400"/>
                  <a:gd name="connsiteY3" fmla="*/ 0 h 114171"/>
                  <a:gd name="connsiteX4" fmla="*/ 113400 w 113400"/>
                  <a:gd name="connsiteY4" fmla="*/ 3086 h 114171"/>
                  <a:gd name="connsiteX5" fmla="*/ 110314 w 113400"/>
                  <a:gd name="connsiteY5" fmla="*/ 12344 h 114171"/>
                  <a:gd name="connsiteX6" fmla="*/ 11572 w 113400"/>
                  <a:gd name="connsiteY6" fmla="*/ 114172 h 114171"/>
                  <a:gd name="connsiteX7" fmla="*/ 5400 w 113400"/>
                  <a:gd name="connsiteY7" fmla="*/ 114172 h 114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3400" h="114171">
                    <a:moveTo>
                      <a:pt x="5400" y="114172"/>
                    </a:moveTo>
                    <a:cubicBezTo>
                      <a:pt x="5400" y="114172"/>
                      <a:pt x="2314" y="114172"/>
                      <a:pt x="2314" y="114172"/>
                    </a:cubicBezTo>
                    <a:cubicBezTo>
                      <a:pt x="-771" y="111086"/>
                      <a:pt x="-771" y="108000"/>
                      <a:pt x="2314" y="104915"/>
                    </a:cubicBezTo>
                    <a:cubicBezTo>
                      <a:pt x="5400" y="101829"/>
                      <a:pt x="76371" y="12344"/>
                      <a:pt x="104144" y="0"/>
                    </a:cubicBezTo>
                    <a:cubicBezTo>
                      <a:pt x="107229" y="0"/>
                      <a:pt x="110314" y="0"/>
                      <a:pt x="113400" y="3086"/>
                    </a:cubicBezTo>
                    <a:cubicBezTo>
                      <a:pt x="113400" y="6172"/>
                      <a:pt x="113400" y="9258"/>
                      <a:pt x="110314" y="12344"/>
                    </a:cubicBezTo>
                    <a:cubicBezTo>
                      <a:pt x="88715" y="21600"/>
                      <a:pt x="30086" y="89486"/>
                      <a:pt x="11572" y="114172"/>
                    </a:cubicBezTo>
                    <a:cubicBezTo>
                      <a:pt x="11572" y="111086"/>
                      <a:pt x="8486" y="114172"/>
                      <a:pt x="5400" y="11417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0DB63613-BE93-4FD3-87FA-79F47BE93893}"/>
                  </a:ext>
                </a:extLst>
              </p:cNvPr>
              <p:cNvSpPr/>
              <p:nvPr/>
            </p:nvSpPr>
            <p:spPr>
              <a:xfrm>
                <a:off x="13696997" y="9847467"/>
                <a:ext cx="50914" cy="45514"/>
              </a:xfrm>
              <a:custGeom>
                <a:avLst/>
                <a:gdLst>
                  <a:gd name="connsiteX0" fmla="*/ 8486 w 50914"/>
                  <a:gd name="connsiteY0" fmla="*/ 45514 h 45514"/>
                  <a:gd name="connsiteX1" fmla="*/ 2314 w 50914"/>
                  <a:gd name="connsiteY1" fmla="*/ 42428 h 45514"/>
                  <a:gd name="connsiteX2" fmla="*/ 2314 w 50914"/>
                  <a:gd name="connsiteY2" fmla="*/ 33172 h 45514"/>
                  <a:gd name="connsiteX3" fmla="*/ 39343 w 50914"/>
                  <a:gd name="connsiteY3" fmla="*/ 2314 h 45514"/>
                  <a:gd name="connsiteX4" fmla="*/ 48600 w 50914"/>
                  <a:gd name="connsiteY4" fmla="*/ 2314 h 45514"/>
                  <a:gd name="connsiteX5" fmla="*/ 48600 w 50914"/>
                  <a:gd name="connsiteY5" fmla="*/ 11571 h 45514"/>
                  <a:gd name="connsiteX6" fmla="*/ 11572 w 50914"/>
                  <a:gd name="connsiteY6" fmla="*/ 42428 h 45514"/>
                  <a:gd name="connsiteX7" fmla="*/ 8486 w 50914"/>
                  <a:gd name="connsiteY7" fmla="*/ 45514 h 45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914" h="45514">
                    <a:moveTo>
                      <a:pt x="8486" y="45514"/>
                    </a:moveTo>
                    <a:cubicBezTo>
                      <a:pt x="5400" y="45514"/>
                      <a:pt x="5400" y="45514"/>
                      <a:pt x="2314" y="42428"/>
                    </a:cubicBezTo>
                    <a:cubicBezTo>
                      <a:pt x="-771" y="39342"/>
                      <a:pt x="-771" y="36257"/>
                      <a:pt x="2314" y="33172"/>
                    </a:cubicBezTo>
                    <a:lnTo>
                      <a:pt x="39343" y="2314"/>
                    </a:lnTo>
                    <a:cubicBezTo>
                      <a:pt x="42429" y="-771"/>
                      <a:pt x="45514" y="-771"/>
                      <a:pt x="48600" y="2314"/>
                    </a:cubicBezTo>
                    <a:cubicBezTo>
                      <a:pt x="51686" y="5400"/>
                      <a:pt x="51686" y="8485"/>
                      <a:pt x="48600" y="11571"/>
                    </a:cubicBezTo>
                    <a:lnTo>
                      <a:pt x="11572" y="42428"/>
                    </a:lnTo>
                    <a:cubicBezTo>
                      <a:pt x="11572" y="45514"/>
                      <a:pt x="8486" y="45514"/>
                      <a:pt x="8486" y="4551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4773AF42-50EA-4D6F-873D-4F697D3BCBF0}"/>
                  </a:ext>
                </a:extLst>
              </p:cNvPr>
              <p:cNvSpPr/>
              <p:nvPr/>
            </p:nvSpPr>
            <p:spPr>
              <a:xfrm>
                <a:off x="13717826" y="9754125"/>
                <a:ext cx="64800" cy="83314"/>
              </a:xfrm>
              <a:custGeom>
                <a:avLst/>
                <a:gdLst>
                  <a:gd name="connsiteX0" fmla="*/ 58628 w 64800"/>
                  <a:gd name="connsiteY0" fmla="*/ 83315 h 83314"/>
                  <a:gd name="connsiteX1" fmla="*/ 58628 w 64800"/>
                  <a:gd name="connsiteY1" fmla="*/ 83315 h 83314"/>
                  <a:gd name="connsiteX2" fmla="*/ 0 w 64800"/>
                  <a:gd name="connsiteY2" fmla="*/ 6172 h 83314"/>
                  <a:gd name="connsiteX3" fmla="*/ 6172 w 64800"/>
                  <a:gd name="connsiteY3" fmla="*/ 0 h 83314"/>
                  <a:gd name="connsiteX4" fmla="*/ 12343 w 64800"/>
                  <a:gd name="connsiteY4" fmla="*/ 6172 h 83314"/>
                  <a:gd name="connsiteX5" fmla="*/ 61714 w 64800"/>
                  <a:gd name="connsiteY5" fmla="*/ 74057 h 83314"/>
                  <a:gd name="connsiteX6" fmla="*/ 64800 w 64800"/>
                  <a:gd name="connsiteY6" fmla="*/ 83315 h 83314"/>
                  <a:gd name="connsiteX7" fmla="*/ 58628 w 64800"/>
                  <a:gd name="connsiteY7" fmla="*/ 83315 h 83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4800" h="83314">
                    <a:moveTo>
                      <a:pt x="58628" y="83315"/>
                    </a:moveTo>
                    <a:cubicBezTo>
                      <a:pt x="58628" y="83315"/>
                      <a:pt x="55542" y="83315"/>
                      <a:pt x="58628" y="83315"/>
                    </a:cubicBezTo>
                    <a:cubicBezTo>
                      <a:pt x="12343" y="55542"/>
                      <a:pt x="0" y="9257"/>
                      <a:pt x="0" y="6172"/>
                    </a:cubicBezTo>
                    <a:cubicBezTo>
                      <a:pt x="0" y="3086"/>
                      <a:pt x="0" y="0"/>
                      <a:pt x="6172" y="0"/>
                    </a:cubicBezTo>
                    <a:cubicBezTo>
                      <a:pt x="9257" y="0"/>
                      <a:pt x="12343" y="0"/>
                      <a:pt x="12343" y="6172"/>
                    </a:cubicBezTo>
                    <a:cubicBezTo>
                      <a:pt x="12343" y="6172"/>
                      <a:pt x="21600" y="49372"/>
                      <a:pt x="61714" y="74057"/>
                    </a:cubicBezTo>
                    <a:cubicBezTo>
                      <a:pt x="64800" y="77143"/>
                      <a:pt x="64800" y="80229"/>
                      <a:pt x="64800" y="83315"/>
                    </a:cubicBezTo>
                    <a:cubicBezTo>
                      <a:pt x="61714" y="83315"/>
                      <a:pt x="61714" y="83315"/>
                      <a:pt x="58628" y="8331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3" name="图形 1">
              <a:extLst>
                <a:ext uri="{FF2B5EF4-FFF2-40B4-BE49-F238E27FC236}">
                  <a16:creationId xmlns:a16="http://schemas.microsoft.com/office/drawing/2014/main" id="{6F191602-AFF4-4525-AC11-287D64955814}"/>
                </a:ext>
              </a:extLst>
            </p:cNvPr>
            <p:cNvGrpSpPr/>
            <p:nvPr/>
          </p:nvGrpSpPr>
          <p:grpSpPr>
            <a:xfrm>
              <a:off x="11490779" y="8598235"/>
              <a:ext cx="1044076" cy="1624918"/>
              <a:chOff x="11490779" y="8598235"/>
              <a:chExt cx="1044076" cy="1624918"/>
            </a:xfrm>
          </p:grpSpPr>
          <p:grpSp>
            <p:nvGrpSpPr>
              <p:cNvPr id="107" name="图形 1">
                <a:extLst>
                  <a:ext uri="{FF2B5EF4-FFF2-40B4-BE49-F238E27FC236}">
                    <a16:creationId xmlns:a16="http://schemas.microsoft.com/office/drawing/2014/main" id="{F1DCAC87-C4EF-471D-A38C-8CCB5E479879}"/>
                  </a:ext>
                </a:extLst>
              </p:cNvPr>
              <p:cNvGrpSpPr/>
              <p:nvPr/>
            </p:nvGrpSpPr>
            <p:grpSpPr>
              <a:xfrm>
                <a:off x="11696683" y="9372267"/>
                <a:ext cx="268574" cy="727457"/>
                <a:chOff x="11696683" y="9372267"/>
                <a:chExt cx="268574" cy="727457"/>
              </a:xfrm>
            </p:grpSpPr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ECAEACFD-DAC8-4EC5-97CB-002CC6FCBF22}"/>
                    </a:ext>
                  </a:extLst>
                </p:cNvPr>
                <p:cNvSpPr/>
                <p:nvPr/>
              </p:nvSpPr>
              <p:spPr>
                <a:xfrm>
                  <a:off x="11696683" y="9372267"/>
                  <a:ext cx="268574" cy="708942"/>
                </a:xfrm>
                <a:custGeom>
                  <a:avLst/>
                  <a:gdLst>
                    <a:gd name="connsiteX0" fmla="*/ 30857 w 268574"/>
                    <a:gd name="connsiteY0" fmla="*/ 696600 h 708942"/>
                    <a:gd name="connsiteX1" fmla="*/ 141943 w 268574"/>
                    <a:gd name="connsiteY1" fmla="*/ 708943 h 708942"/>
                    <a:gd name="connsiteX2" fmla="*/ 148114 w 268574"/>
                    <a:gd name="connsiteY2" fmla="*/ 705857 h 708942"/>
                    <a:gd name="connsiteX3" fmla="*/ 151200 w 268574"/>
                    <a:gd name="connsiteY3" fmla="*/ 699685 h 708942"/>
                    <a:gd name="connsiteX4" fmla="*/ 166628 w 268574"/>
                    <a:gd name="connsiteY4" fmla="*/ 557743 h 708942"/>
                    <a:gd name="connsiteX5" fmla="*/ 228343 w 268574"/>
                    <a:gd name="connsiteY5" fmla="*/ 452828 h 708942"/>
                    <a:gd name="connsiteX6" fmla="*/ 228343 w 268574"/>
                    <a:gd name="connsiteY6" fmla="*/ 449743 h 708942"/>
                    <a:gd name="connsiteX7" fmla="*/ 268458 w 268574"/>
                    <a:gd name="connsiteY7" fmla="*/ 51686 h 708942"/>
                    <a:gd name="connsiteX8" fmla="*/ 157372 w 268574"/>
                    <a:gd name="connsiteY8" fmla="*/ 2314 h 708942"/>
                    <a:gd name="connsiteX9" fmla="*/ 80229 w 268574"/>
                    <a:gd name="connsiteY9" fmla="*/ 2314 h 708942"/>
                    <a:gd name="connsiteX10" fmla="*/ 49372 w 268574"/>
                    <a:gd name="connsiteY10" fmla="*/ 14657 h 708942"/>
                    <a:gd name="connsiteX11" fmla="*/ 40114 w 268574"/>
                    <a:gd name="connsiteY11" fmla="*/ 27000 h 708942"/>
                    <a:gd name="connsiteX12" fmla="*/ 0 w 268574"/>
                    <a:gd name="connsiteY12" fmla="*/ 425057 h 708942"/>
                    <a:gd name="connsiteX13" fmla="*/ 0 w 268574"/>
                    <a:gd name="connsiteY13" fmla="*/ 428143 h 708942"/>
                    <a:gd name="connsiteX14" fmla="*/ 37029 w 268574"/>
                    <a:gd name="connsiteY14" fmla="*/ 542315 h 708942"/>
                    <a:gd name="connsiteX15" fmla="*/ 21600 w 268574"/>
                    <a:gd name="connsiteY15" fmla="*/ 684257 h 708942"/>
                    <a:gd name="connsiteX16" fmla="*/ 24685 w 268574"/>
                    <a:gd name="connsiteY16" fmla="*/ 690428 h 708942"/>
                    <a:gd name="connsiteX17" fmla="*/ 30857 w 268574"/>
                    <a:gd name="connsiteY17" fmla="*/ 696600 h 7089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68574" h="708942">
                      <a:moveTo>
                        <a:pt x="30857" y="696600"/>
                      </a:moveTo>
                      <a:lnTo>
                        <a:pt x="141943" y="708943"/>
                      </a:lnTo>
                      <a:cubicBezTo>
                        <a:pt x="145029" y="708943"/>
                        <a:pt x="145029" y="708943"/>
                        <a:pt x="148114" y="705857"/>
                      </a:cubicBezTo>
                      <a:cubicBezTo>
                        <a:pt x="151200" y="705857"/>
                        <a:pt x="151200" y="702771"/>
                        <a:pt x="151200" y="699685"/>
                      </a:cubicBezTo>
                      <a:lnTo>
                        <a:pt x="166628" y="557743"/>
                      </a:lnTo>
                      <a:lnTo>
                        <a:pt x="228343" y="452828"/>
                      </a:lnTo>
                      <a:cubicBezTo>
                        <a:pt x="228343" y="452828"/>
                        <a:pt x="228343" y="449743"/>
                        <a:pt x="228343" y="449743"/>
                      </a:cubicBezTo>
                      <a:lnTo>
                        <a:pt x="268458" y="51686"/>
                      </a:lnTo>
                      <a:cubicBezTo>
                        <a:pt x="271542" y="23914"/>
                        <a:pt x="212914" y="8485"/>
                        <a:pt x="157372" y="2314"/>
                      </a:cubicBezTo>
                      <a:cubicBezTo>
                        <a:pt x="129600" y="-771"/>
                        <a:pt x="101828" y="-771"/>
                        <a:pt x="80229" y="2314"/>
                      </a:cubicBezTo>
                      <a:cubicBezTo>
                        <a:pt x="64800" y="5400"/>
                        <a:pt x="55542" y="8485"/>
                        <a:pt x="49372" y="14657"/>
                      </a:cubicBezTo>
                      <a:cubicBezTo>
                        <a:pt x="43200" y="17743"/>
                        <a:pt x="43200" y="23914"/>
                        <a:pt x="40114" y="27000"/>
                      </a:cubicBezTo>
                      <a:lnTo>
                        <a:pt x="0" y="425057"/>
                      </a:lnTo>
                      <a:cubicBezTo>
                        <a:pt x="0" y="425057"/>
                        <a:pt x="0" y="428143"/>
                        <a:pt x="0" y="428143"/>
                      </a:cubicBezTo>
                      <a:lnTo>
                        <a:pt x="37029" y="542315"/>
                      </a:lnTo>
                      <a:lnTo>
                        <a:pt x="21600" y="684257"/>
                      </a:lnTo>
                      <a:cubicBezTo>
                        <a:pt x="21600" y="687343"/>
                        <a:pt x="21600" y="687343"/>
                        <a:pt x="24685" y="690428"/>
                      </a:cubicBezTo>
                      <a:cubicBezTo>
                        <a:pt x="24685" y="693514"/>
                        <a:pt x="27771" y="696600"/>
                        <a:pt x="30857" y="696600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2D7F93FF-86AA-4E68-A269-3529320E0466}"/>
                    </a:ext>
                  </a:extLst>
                </p:cNvPr>
                <p:cNvSpPr/>
                <p:nvPr/>
              </p:nvSpPr>
              <p:spPr>
                <a:xfrm>
                  <a:off x="11721368" y="10044076"/>
                  <a:ext cx="126514" cy="55649"/>
                </a:xfrm>
                <a:custGeom>
                  <a:avLst/>
                  <a:gdLst>
                    <a:gd name="connsiteX0" fmla="*/ 67886 w 126514"/>
                    <a:gd name="connsiteY0" fmla="*/ 55649 h 55649"/>
                    <a:gd name="connsiteX1" fmla="*/ 123429 w 126514"/>
                    <a:gd name="connsiteY1" fmla="*/ 34049 h 55649"/>
                    <a:gd name="connsiteX2" fmla="*/ 126514 w 126514"/>
                    <a:gd name="connsiteY2" fmla="*/ 27877 h 55649"/>
                    <a:gd name="connsiteX3" fmla="*/ 123429 w 126514"/>
                    <a:gd name="connsiteY3" fmla="*/ 21706 h 55649"/>
                    <a:gd name="connsiteX4" fmla="*/ 3086 w 126514"/>
                    <a:gd name="connsiteY4" fmla="*/ 9363 h 55649"/>
                    <a:gd name="connsiteX5" fmla="*/ 3086 w 126514"/>
                    <a:gd name="connsiteY5" fmla="*/ 9363 h 55649"/>
                    <a:gd name="connsiteX6" fmla="*/ 0 w 126514"/>
                    <a:gd name="connsiteY6" fmla="*/ 15534 h 55649"/>
                    <a:gd name="connsiteX7" fmla="*/ 3086 w 126514"/>
                    <a:gd name="connsiteY7" fmla="*/ 21706 h 55649"/>
                    <a:gd name="connsiteX8" fmla="*/ 67886 w 126514"/>
                    <a:gd name="connsiteY8" fmla="*/ 55649 h 556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6514" h="55649">
                      <a:moveTo>
                        <a:pt x="67886" y="55649"/>
                      </a:moveTo>
                      <a:cubicBezTo>
                        <a:pt x="101829" y="55649"/>
                        <a:pt x="123429" y="34049"/>
                        <a:pt x="123429" y="34049"/>
                      </a:cubicBezTo>
                      <a:cubicBezTo>
                        <a:pt x="126514" y="30963"/>
                        <a:pt x="126514" y="30963"/>
                        <a:pt x="126514" y="27877"/>
                      </a:cubicBezTo>
                      <a:cubicBezTo>
                        <a:pt x="126514" y="24792"/>
                        <a:pt x="123429" y="21706"/>
                        <a:pt x="123429" y="21706"/>
                      </a:cubicBezTo>
                      <a:cubicBezTo>
                        <a:pt x="58629" y="-18409"/>
                        <a:pt x="6172" y="9363"/>
                        <a:pt x="3086" y="9363"/>
                      </a:cubicBezTo>
                      <a:cubicBezTo>
                        <a:pt x="3086" y="9363"/>
                        <a:pt x="3086" y="9363"/>
                        <a:pt x="3086" y="9363"/>
                      </a:cubicBezTo>
                      <a:cubicBezTo>
                        <a:pt x="0" y="9363"/>
                        <a:pt x="0" y="12448"/>
                        <a:pt x="0" y="15534"/>
                      </a:cubicBezTo>
                      <a:cubicBezTo>
                        <a:pt x="0" y="18620"/>
                        <a:pt x="0" y="21706"/>
                        <a:pt x="3086" y="21706"/>
                      </a:cubicBezTo>
                      <a:cubicBezTo>
                        <a:pt x="21600" y="43306"/>
                        <a:pt x="43201" y="55649"/>
                        <a:pt x="67886" y="55649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08" name="图形 1">
                <a:extLst>
                  <a:ext uri="{FF2B5EF4-FFF2-40B4-BE49-F238E27FC236}">
                    <a16:creationId xmlns:a16="http://schemas.microsoft.com/office/drawing/2014/main" id="{CAB4E25C-A7AB-45E7-A730-5B4C49DC316F}"/>
                  </a:ext>
                </a:extLst>
              </p:cNvPr>
              <p:cNvGrpSpPr/>
              <p:nvPr/>
            </p:nvGrpSpPr>
            <p:grpSpPr>
              <a:xfrm>
                <a:off x="11653483" y="9396181"/>
                <a:ext cx="472113" cy="568450"/>
                <a:chOff x="11653483" y="9396181"/>
                <a:chExt cx="472113" cy="568450"/>
              </a:xfrm>
            </p:grpSpPr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8A1A2956-ED44-4101-81F2-B7514B04A407}"/>
                    </a:ext>
                  </a:extLst>
                </p:cNvPr>
                <p:cNvSpPr/>
                <p:nvPr/>
              </p:nvSpPr>
              <p:spPr>
                <a:xfrm>
                  <a:off x="11653483" y="9396953"/>
                  <a:ext cx="472113" cy="567678"/>
                </a:xfrm>
                <a:custGeom>
                  <a:avLst/>
                  <a:gdLst>
                    <a:gd name="connsiteX0" fmla="*/ 83314 w 472113"/>
                    <a:gd name="connsiteY0" fmla="*/ 2314 h 567678"/>
                    <a:gd name="connsiteX1" fmla="*/ 3086 w 472113"/>
                    <a:gd name="connsiteY1" fmla="*/ 60943 h 567678"/>
                    <a:gd name="connsiteX2" fmla="*/ 0 w 472113"/>
                    <a:gd name="connsiteY2" fmla="*/ 67115 h 567678"/>
                    <a:gd name="connsiteX3" fmla="*/ 0 w 472113"/>
                    <a:gd name="connsiteY3" fmla="*/ 73286 h 567678"/>
                    <a:gd name="connsiteX4" fmla="*/ 74057 w 472113"/>
                    <a:gd name="connsiteY4" fmla="*/ 172029 h 567678"/>
                    <a:gd name="connsiteX5" fmla="*/ 98742 w 472113"/>
                    <a:gd name="connsiteY5" fmla="*/ 276943 h 567678"/>
                    <a:gd name="connsiteX6" fmla="*/ 98742 w 472113"/>
                    <a:gd name="connsiteY6" fmla="*/ 280029 h 567678"/>
                    <a:gd name="connsiteX7" fmla="*/ 308571 w 472113"/>
                    <a:gd name="connsiteY7" fmla="*/ 560829 h 567678"/>
                    <a:gd name="connsiteX8" fmla="*/ 410400 w 472113"/>
                    <a:gd name="connsiteY8" fmla="*/ 526886 h 567678"/>
                    <a:gd name="connsiteX9" fmla="*/ 459771 w 472113"/>
                    <a:gd name="connsiteY9" fmla="*/ 480600 h 567678"/>
                    <a:gd name="connsiteX10" fmla="*/ 472114 w 472113"/>
                    <a:gd name="connsiteY10" fmla="*/ 452829 h 567678"/>
                    <a:gd name="connsiteX11" fmla="*/ 469028 w 472113"/>
                    <a:gd name="connsiteY11" fmla="*/ 440486 h 567678"/>
                    <a:gd name="connsiteX12" fmla="*/ 259200 w 472113"/>
                    <a:gd name="connsiteY12" fmla="*/ 159686 h 567678"/>
                    <a:gd name="connsiteX13" fmla="*/ 256114 w 472113"/>
                    <a:gd name="connsiteY13" fmla="*/ 156600 h 567678"/>
                    <a:gd name="connsiteX14" fmla="*/ 163542 w 472113"/>
                    <a:gd name="connsiteY14" fmla="*/ 104143 h 567678"/>
                    <a:gd name="connsiteX15" fmla="*/ 89486 w 472113"/>
                    <a:gd name="connsiteY15" fmla="*/ 5400 h 567678"/>
                    <a:gd name="connsiteX16" fmla="*/ 83314 w 472113"/>
                    <a:gd name="connsiteY16" fmla="*/ 2314 h 567678"/>
                    <a:gd name="connsiteX17" fmla="*/ 83314 w 472113"/>
                    <a:gd name="connsiteY17" fmla="*/ 2314 h 5676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472113" h="567678">
                      <a:moveTo>
                        <a:pt x="83314" y="2314"/>
                      </a:moveTo>
                      <a:lnTo>
                        <a:pt x="3086" y="60943"/>
                      </a:lnTo>
                      <a:cubicBezTo>
                        <a:pt x="3086" y="60943"/>
                        <a:pt x="0" y="64029"/>
                        <a:pt x="0" y="67115"/>
                      </a:cubicBezTo>
                      <a:cubicBezTo>
                        <a:pt x="0" y="70200"/>
                        <a:pt x="0" y="70200"/>
                        <a:pt x="0" y="73286"/>
                      </a:cubicBezTo>
                      <a:lnTo>
                        <a:pt x="74057" y="172029"/>
                      </a:lnTo>
                      <a:lnTo>
                        <a:pt x="98742" y="276943"/>
                      </a:lnTo>
                      <a:cubicBezTo>
                        <a:pt x="98742" y="276943"/>
                        <a:pt x="98742" y="280029"/>
                        <a:pt x="98742" y="280029"/>
                      </a:cubicBezTo>
                      <a:lnTo>
                        <a:pt x="308571" y="560829"/>
                      </a:lnTo>
                      <a:cubicBezTo>
                        <a:pt x="324000" y="579343"/>
                        <a:pt x="370286" y="557743"/>
                        <a:pt x="410400" y="526886"/>
                      </a:cubicBezTo>
                      <a:cubicBezTo>
                        <a:pt x="432000" y="511457"/>
                        <a:pt x="447429" y="496029"/>
                        <a:pt x="459771" y="480600"/>
                      </a:cubicBezTo>
                      <a:cubicBezTo>
                        <a:pt x="469028" y="471343"/>
                        <a:pt x="472114" y="462086"/>
                        <a:pt x="472114" y="452829"/>
                      </a:cubicBezTo>
                      <a:cubicBezTo>
                        <a:pt x="472114" y="446657"/>
                        <a:pt x="472114" y="443571"/>
                        <a:pt x="469028" y="440486"/>
                      </a:cubicBezTo>
                      <a:lnTo>
                        <a:pt x="259200" y="159686"/>
                      </a:lnTo>
                      <a:cubicBezTo>
                        <a:pt x="259200" y="159686"/>
                        <a:pt x="259200" y="159686"/>
                        <a:pt x="256114" y="156600"/>
                      </a:cubicBezTo>
                      <a:lnTo>
                        <a:pt x="163542" y="104143"/>
                      </a:lnTo>
                      <a:lnTo>
                        <a:pt x="89486" y="5400"/>
                      </a:lnTo>
                      <a:cubicBezTo>
                        <a:pt x="89486" y="5400"/>
                        <a:pt x="86400" y="2314"/>
                        <a:pt x="83314" y="2314"/>
                      </a:cubicBezTo>
                      <a:cubicBezTo>
                        <a:pt x="86400" y="-771"/>
                        <a:pt x="83314" y="-771"/>
                        <a:pt x="83314" y="2314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3CC87011-65AA-4880-B918-A9986409A463}"/>
                    </a:ext>
                  </a:extLst>
                </p:cNvPr>
                <p:cNvSpPr/>
                <p:nvPr/>
              </p:nvSpPr>
              <p:spPr>
                <a:xfrm>
                  <a:off x="11656569" y="9396181"/>
                  <a:ext cx="92571" cy="74057"/>
                </a:xfrm>
                <a:custGeom>
                  <a:avLst/>
                  <a:gdLst>
                    <a:gd name="connsiteX0" fmla="*/ 21599 w 92571"/>
                    <a:gd name="connsiteY0" fmla="*/ 18514 h 74057"/>
                    <a:gd name="connsiteX1" fmla="*/ 0 w 92571"/>
                    <a:gd name="connsiteY1" fmla="*/ 64800 h 74057"/>
                    <a:gd name="connsiteX2" fmla="*/ 3085 w 92571"/>
                    <a:gd name="connsiteY2" fmla="*/ 70972 h 74057"/>
                    <a:gd name="connsiteX3" fmla="*/ 9257 w 92571"/>
                    <a:gd name="connsiteY3" fmla="*/ 74057 h 74057"/>
                    <a:gd name="connsiteX4" fmla="*/ 92571 w 92571"/>
                    <a:gd name="connsiteY4" fmla="*/ 9257 h 74057"/>
                    <a:gd name="connsiteX5" fmla="*/ 92571 w 92571"/>
                    <a:gd name="connsiteY5" fmla="*/ 9257 h 74057"/>
                    <a:gd name="connsiteX6" fmla="*/ 92571 w 92571"/>
                    <a:gd name="connsiteY6" fmla="*/ 3086 h 74057"/>
                    <a:gd name="connsiteX7" fmla="*/ 86400 w 92571"/>
                    <a:gd name="connsiteY7" fmla="*/ 0 h 74057"/>
                    <a:gd name="connsiteX8" fmla="*/ 21599 w 92571"/>
                    <a:gd name="connsiteY8" fmla="*/ 18514 h 74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2571" h="74057">
                      <a:moveTo>
                        <a:pt x="21599" y="18514"/>
                      </a:moveTo>
                      <a:cubicBezTo>
                        <a:pt x="0" y="37029"/>
                        <a:pt x="0" y="64800"/>
                        <a:pt x="0" y="64800"/>
                      </a:cubicBezTo>
                      <a:cubicBezTo>
                        <a:pt x="0" y="67886"/>
                        <a:pt x="0" y="67886"/>
                        <a:pt x="3085" y="70972"/>
                      </a:cubicBezTo>
                      <a:cubicBezTo>
                        <a:pt x="6171" y="70972"/>
                        <a:pt x="6171" y="74057"/>
                        <a:pt x="9257" y="74057"/>
                      </a:cubicBezTo>
                      <a:cubicBezTo>
                        <a:pt x="74057" y="61714"/>
                        <a:pt x="92571" y="12343"/>
                        <a:pt x="92571" y="9257"/>
                      </a:cubicBezTo>
                      <a:cubicBezTo>
                        <a:pt x="92571" y="9257"/>
                        <a:pt x="92571" y="9257"/>
                        <a:pt x="92571" y="9257"/>
                      </a:cubicBezTo>
                      <a:cubicBezTo>
                        <a:pt x="92571" y="6172"/>
                        <a:pt x="92571" y="6172"/>
                        <a:pt x="92571" y="3086"/>
                      </a:cubicBezTo>
                      <a:cubicBezTo>
                        <a:pt x="92571" y="0"/>
                        <a:pt x="89486" y="0"/>
                        <a:pt x="86400" y="0"/>
                      </a:cubicBezTo>
                      <a:cubicBezTo>
                        <a:pt x="58628" y="0"/>
                        <a:pt x="37028" y="6172"/>
                        <a:pt x="21599" y="18514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09" name="图形 1">
                <a:extLst>
                  <a:ext uri="{FF2B5EF4-FFF2-40B4-BE49-F238E27FC236}">
                    <a16:creationId xmlns:a16="http://schemas.microsoft.com/office/drawing/2014/main" id="{F8ED854F-8BA3-48DA-8D7E-216119045305}"/>
                  </a:ext>
                </a:extLst>
              </p:cNvPr>
              <p:cNvGrpSpPr/>
              <p:nvPr/>
            </p:nvGrpSpPr>
            <p:grpSpPr>
              <a:xfrm>
                <a:off x="11850472" y="9474967"/>
                <a:ext cx="361525" cy="714243"/>
                <a:chOff x="11850472" y="9474967"/>
                <a:chExt cx="361525" cy="714243"/>
              </a:xfrm>
            </p:grpSpPr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2113A8D0-31AB-4121-8EC5-7F887319E1E6}"/>
                    </a:ext>
                  </a:extLst>
                </p:cNvPr>
                <p:cNvSpPr/>
                <p:nvPr/>
              </p:nvSpPr>
              <p:spPr>
                <a:xfrm>
                  <a:off x="11850472" y="9485667"/>
                  <a:ext cx="358439" cy="703542"/>
                </a:xfrm>
                <a:custGeom>
                  <a:avLst/>
                  <a:gdLst>
                    <a:gd name="connsiteX0" fmla="*/ 355353 w 358439"/>
                    <a:gd name="connsiteY0" fmla="*/ 30857 h 703542"/>
                    <a:gd name="connsiteX1" fmla="*/ 247353 w 358439"/>
                    <a:gd name="connsiteY1" fmla="*/ 0 h 703542"/>
                    <a:gd name="connsiteX2" fmla="*/ 241182 w 358439"/>
                    <a:gd name="connsiteY2" fmla="*/ 0 h 703542"/>
                    <a:gd name="connsiteX3" fmla="*/ 238097 w 358439"/>
                    <a:gd name="connsiteY3" fmla="*/ 6171 h 703542"/>
                    <a:gd name="connsiteX4" fmla="*/ 197982 w 358439"/>
                    <a:gd name="connsiteY4" fmla="*/ 141943 h 703542"/>
                    <a:gd name="connsiteX5" fmla="*/ 117753 w 358439"/>
                    <a:gd name="connsiteY5" fmla="*/ 234514 h 703542"/>
                    <a:gd name="connsiteX6" fmla="*/ 114668 w 358439"/>
                    <a:gd name="connsiteY6" fmla="*/ 237600 h 703542"/>
                    <a:gd name="connsiteX7" fmla="*/ 496 w 358439"/>
                    <a:gd name="connsiteY7" fmla="*/ 620228 h 703542"/>
                    <a:gd name="connsiteX8" fmla="*/ 99239 w 358439"/>
                    <a:gd name="connsiteY8" fmla="*/ 691200 h 703542"/>
                    <a:gd name="connsiteX9" fmla="*/ 176382 w 358439"/>
                    <a:gd name="connsiteY9" fmla="*/ 703543 h 703542"/>
                    <a:gd name="connsiteX10" fmla="*/ 210324 w 358439"/>
                    <a:gd name="connsiteY10" fmla="*/ 697371 h 703542"/>
                    <a:gd name="connsiteX11" fmla="*/ 219582 w 358439"/>
                    <a:gd name="connsiteY11" fmla="*/ 685029 h 703542"/>
                    <a:gd name="connsiteX12" fmla="*/ 333753 w 358439"/>
                    <a:gd name="connsiteY12" fmla="*/ 302400 h 703542"/>
                    <a:gd name="connsiteX13" fmla="*/ 333753 w 358439"/>
                    <a:gd name="connsiteY13" fmla="*/ 299314 h 703542"/>
                    <a:gd name="connsiteX14" fmla="*/ 318324 w 358439"/>
                    <a:gd name="connsiteY14" fmla="*/ 178972 h 703542"/>
                    <a:gd name="connsiteX15" fmla="*/ 358439 w 358439"/>
                    <a:gd name="connsiteY15" fmla="*/ 43200 h 703542"/>
                    <a:gd name="connsiteX16" fmla="*/ 358439 w 358439"/>
                    <a:gd name="connsiteY16" fmla="*/ 37028 h 703542"/>
                    <a:gd name="connsiteX17" fmla="*/ 355353 w 358439"/>
                    <a:gd name="connsiteY17" fmla="*/ 30857 h 70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58439" h="703542">
                      <a:moveTo>
                        <a:pt x="355353" y="30857"/>
                      </a:moveTo>
                      <a:lnTo>
                        <a:pt x="247353" y="0"/>
                      </a:lnTo>
                      <a:cubicBezTo>
                        <a:pt x="244267" y="0"/>
                        <a:pt x="244267" y="0"/>
                        <a:pt x="241182" y="0"/>
                      </a:cubicBezTo>
                      <a:cubicBezTo>
                        <a:pt x="238097" y="0"/>
                        <a:pt x="238097" y="3085"/>
                        <a:pt x="238097" y="6171"/>
                      </a:cubicBezTo>
                      <a:lnTo>
                        <a:pt x="197982" y="141943"/>
                      </a:lnTo>
                      <a:lnTo>
                        <a:pt x="117753" y="234514"/>
                      </a:lnTo>
                      <a:cubicBezTo>
                        <a:pt x="117753" y="234514"/>
                        <a:pt x="117753" y="237600"/>
                        <a:pt x="114668" y="237600"/>
                      </a:cubicBezTo>
                      <a:lnTo>
                        <a:pt x="496" y="620228"/>
                      </a:lnTo>
                      <a:cubicBezTo>
                        <a:pt x="-5676" y="644915"/>
                        <a:pt x="46782" y="672686"/>
                        <a:pt x="99239" y="691200"/>
                      </a:cubicBezTo>
                      <a:cubicBezTo>
                        <a:pt x="127011" y="700457"/>
                        <a:pt x="154782" y="703543"/>
                        <a:pt x="176382" y="703543"/>
                      </a:cubicBezTo>
                      <a:cubicBezTo>
                        <a:pt x="191811" y="703543"/>
                        <a:pt x="201068" y="700457"/>
                        <a:pt x="210324" y="697371"/>
                      </a:cubicBezTo>
                      <a:cubicBezTo>
                        <a:pt x="216496" y="694285"/>
                        <a:pt x="219582" y="691200"/>
                        <a:pt x="219582" y="685029"/>
                      </a:cubicBezTo>
                      <a:lnTo>
                        <a:pt x="333753" y="302400"/>
                      </a:lnTo>
                      <a:cubicBezTo>
                        <a:pt x="333753" y="302400"/>
                        <a:pt x="333753" y="299314"/>
                        <a:pt x="333753" y="299314"/>
                      </a:cubicBezTo>
                      <a:lnTo>
                        <a:pt x="318324" y="178972"/>
                      </a:lnTo>
                      <a:lnTo>
                        <a:pt x="358439" y="43200"/>
                      </a:lnTo>
                      <a:cubicBezTo>
                        <a:pt x="358439" y="40114"/>
                        <a:pt x="358439" y="40114"/>
                        <a:pt x="358439" y="37028"/>
                      </a:cubicBezTo>
                      <a:cubicBezTo>
                        <a:pt x="358439" y="33943"/>
                        <a:pt x="358439" y="33943"/>
                        <a:pt x="355353" y="30857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FD4C2589-043E-45DD-A28C-A8F4DFFA281F}"/>
                    </a:ext>
                  </a:extLst>
                </p:cNvPr>
                <p:cNvSpPr/>
                <p:nvPr/>
              </p:nvSpPr>
              <p:spPr>
                <a:xfrm>
                  <a:off x="12088569" y="9474967"/>
                  <a:ext cx="123428" cy="62353"/>
                </a:xfrm>
                <a:custGeom>
                  <a:avLst/>
                  <a:gdLst>
                    <a:gd name="connsiteX0" fmla="*/ 61714 w 123428"/>
                    <a:gd name="connsiteY0" fmla="*/ 1443 h 62353"/>
                    <a:gd name="connsiteX1" fmla="*/ 3085 w 123428"/>
                    <a:gd name="connsiteY1" fmla="*/ 13786 h 62353"/>
                    <a:gd name="connsiteX2" fmla="*/ 0 w 123428"/>
                    <a:gd name="connsiteY2" fmla="*/ 19958 h 62353"/>
                    <a:gd name="connsiteX3" fmla="*/ 3085 w 123428"/>
                    <a:gd name="connsiteY3" fmla="*/ 26129 h 62353"/>
                    <a:gd name="connsiteX4" fmla="*/ 117257 w 123428"/>
                    <a:gd name="connsiteY4" fmla="*/ 60072 h 62353"/>
                    <a:gd name="connsiteX5" fmla="*/ 120343 w 123428"/>
                    <a:gd name="connsiteY5" fmla="*/ 60072 h 62353"/>
                    <a:gd name="connsiteX6" fmla="*/ 123429 w 123428"/>
                    <a:gd name="connsiteY6" fmla="*/ 56986 h 62353"/>
                    <a:gd name="connsiteX7" fmla="*/ 123429 w 123428"/>
                    <a:gd name="connsiteY7" fmla="*/ 50815 h 62353"/>
                    <a:gd name="connsiteX8" fmla="*/ 61714 w 123428"/>
                    <a:gd name="connsiteY8" fmla="*/ 1443 h 623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3428" h="62353">
                      <a:moveTo>
                        <a:pt x="61714" y="1443"/>
                      </a:moveTo>
                      <a:cubicBezTo>
                        <a:pt x="30857" y="-4728"/>
                        <a:pt x="3085" y="10700"/>
                        <a:pt x="3085" y="13786"/>
                      </a:cubicBezTo>
                      <a:cubicBezTo>
                        <a:pt x="0" y="13786"/>
                        <a:pt x="0" y="16872"/>
                        <a:pt x="0" y="19958"/>
                      </a:cubicBezTo>
                      <a:cubicBezTo>
                        <a:pt x="0" y="23043"/>
                        <a:pt x="0" y="26129"/>
                        <a:pt x="3085" y="26129"/>
                      </a:cubicBezTo>
                      <a:cubicBezTo>
                        <a:pt x="58628" y="75500"/>
                        <a:pt x="117257" y="60072"/>
                        <a:pt x="117257" y="60072"/>
                      </a:cubicBezTo>
                      <a:cubicBezTo>
                        <a:pt x="117257" y="60072"/>
                        <a:pt x="117257" y="60072"/>
                        <a:pt x="120343" y="60072"/>
                      </a:cubicBezTo>
                      <a:cubicBezTo>
                        <a:pt x="123429" y="60072"/>
                        <a:pt x="123429" y="56986"/>
                        <a:pt x="123429" y="56986"/>
                      </a:cubicBezTo>
                      <a:cubicBezTo>
                        <a:pt x="123429" y="53900"/>
                        <a:pt x="123429" y="50815"/>
                        <a:pt x="123429" y="50815"/>
                      </a:cubicBezTo>
                      <a:cubicBezTo>
                        <a:pt x="104914" y="19958"/>
                        <a:pt x="83314" y="4529"/>
                        <a:pt x="61714" y="1443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10" name="图形 1">
                <a:extLst>
                  <a:ext uri="{FF2B5EF4-FFF2-40B4-BE49-F238E27FC236}">
                    <a16:creationId xmlns:a16="http://schemas.microsoft.com/office/drawing/2014/main" id="{4D8D8734-7CEE-4E74-BA8E-87ABC5C79C05}"/>
                  </a:ext>
                </a:extLst>
              </p:cNvPr>
              <p:cNvGrpSpPr/>
              <p:nvPr/>
            </p:nvGrpSpPr>
            <p:grpSpPr>
              <a:xfrm>
                <a:off x="11954884" y="9679875"/>
                <a:ext cx="525570" cy="537106"/>
                <a:chOff x="11954884" y="9679875"/>
                <a:chExt cx="525570" cy="537106"/>
              </a:xfrm>
            </p:grpSpPr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723AD7C9-E767-44FF-A22F-57265A0737B6}"/>
                    </a:ext>
                  </a:extLst>
                </p:cNvPr>
                <p:cNvSpPr/>
                <p:nvPr/>
              </p:nvSpPr>
              <p:spPr>
                <a:xfrm>
                  <a:off x="11954884" y="9680068"/>
                  <a:ext cx="522484" cy="536914"/>
                </a:xfrm>
                <a:custGeom>
                  <a:avLst/>
                  <a:gdLst>
                    <a:gd name="connsiteX0" fmla="*/ 519400 w 522484"/>
                    <a:gd name="connsiteY0" fmla="*/ 70971 h 536914"/>
                    <a:gd name="connsiteX1" fmla="*/ 448428 w 522484"/>
                    <a:gd name="connsiteY1" fmla="*/ 3086 h 536914"/>
                    <a:gd name="connsiteX2" fmla="*/ 442257 w 522484"/>
                    <a:gd name="connsiteY2" fmla="*/ 0 h 536914"/>
                    <a:gd name="connsiteX3" fmla="*/ 436085 w 522484"/>
                    <a:gd name="connsiteY3" fmla="*/ 3086 h 536914"/>
                    <a:gd name="connsiteX4" fmla="*/ 349685 w 522484"/>
                    <a:gd name="connsiteY4" fmla="*/ 92571 h 536914"/>
                    <a:gd name="connsiteX5" fmla="*/ 250942 w 522484"/>
                    <a:gd name="connsiteY5" fmla="*/ 132685 h 536914"/>
                    <a:gd name="connsiteX6" fmla="*/ 247856 w 522484"/>
                    <a:gd name="connsiteY6" fmla="*/ 135771 h 536914"/>
                    <a:gd name="connsiteX7" fmla="*/ 4085 w 522484"/>
                    <a:gd name="connsiteY7" fmla="*/ 388800 h 536914"/>
                    <a:gd name="connsiteX8" fmla="*/ 53457 w 522484"/>
                    <a:gd name="connsiteY8" fmla="*/ 484457 h 536914"/>
                    <a:gd name="connsiteX9" fmla="*/ 108999 w 522484"/>
                    <a:gd name="connsiteY9" fmla="*/ 527657 h 536914"/>
                    <a:gd name="connsiteX10" fmla="*/ 136770 w 522484"/>
                    <a:gd name="connsiteY10" fmla="*/ 536914 h 536914"/>
                    <a:gd name="connsiteX11" fmla="*/ 149114 w 522484"/>
                    <a:gd name="connsiteY11" fmla="*/ 530742 h 536914"/>
                    <a:gd name="connsiteX12" fmla="*/ 392885 w 522484"/>
                    <a:gd name="connsiteY12" fmla="*/ 277714 h 536914"/>
                    <a:gd name="connsiteX13" fmla="*/ 395971 w 522484"/>
                    <a:gd name="connsiteY13" fmla="*/ 274628 h 536914"/>
                    <a:gd name="connsiteX14" fmla="*/ 432999 w 522484"/>
                    <a:gd name="connsiteY14" fmla="*/ 172800 h 536914"/>
                    <a:gd name="connsiteX15" fmla="*/ 519400 w 522484"/>
                    <a:gd name="connsiteY15" fmla="*/ 83314 h 536914"/>
                    <a:gd name="connsiteX16" fmla="*/ 522485 w 522484"/>
                    <a:gd name="connsiteY16" fmla="*/ 77143 h 536914"/>
                    <a:gd name="connsiteX17" fmla="*/ 519400 w 522484"/>
                    <a:gd name="connsiteY17" fmla="*/ 70971 h 536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522484" h="536914">
                      <a:moveTo>
                        <a:pt x="519400" y="70971"/>
                      </a:moveTo>
                      <a:lnTo>
                        <a:pt x="448428" y="3086"/>
                      </a:lnTo>
                      <a:cubicBezTo>
                        <a:pt x="448428" y="3086"/>
                        <a:pt x="445342" y="0"/>
                        <a:pt x="442257" y="0"/>
                      </a:cubicBezTo>
                      <a:cubicBezTo>
                        <a:pt x="439171" y="0"/>
                        <a:pt x="439171" y="0"/>
                        <a:pt x="436085" y="3086"/>
                      </a:cubicBezTo>
                      <a:lnTo>
                        <a:pt x="349685" y="92571"/>
                      </a:lnTo>
                      <a:lnTo>
                        <a:pt x="250942" y="132685"/>
                      </a:lnTo>
                      <a:cubicBezTo>
                        <a:pt x="250942" y="132685"/>
                        <a:pt x="247856" y="132685"/>
                        <a:pt x="247856" y="135771"/>
                      </a:cubicBezTo>
                      <a:lnTo>
                        <a:pt x="4085" y="388800"/>
                      </a:lnTo>
                      <a:cubicBezTo>
                        <a:pt x="-11344" y="404229"/>
                        <a:pt x="19514" y="450514"/>
                        <a:pt x="53457" y="484457"/>
                      </a:cubicBezTo>
                      <a:cubicBezTo>
                        <a:pt x="71971" y="502971"/>
                        <a:pt x="90485" y="518400"/>
                        <a:pt x="108999" y="527657"/>
                      </a:cubicBezTo>
                      <a:cubicBezTo>
                        <a:pt x="121342" y="533828"/>
                        <a:pt x="130599" y="536914"/>
                        <a:pt x="136770" y="536914"/>
                      </a:cubicBezTo>
                      <a:cubicBezTo>
                        <a:pt x="142942" y="536914"/>
                        <a:pt x="146028" y="533828"/>
                        <a:pt x="149114" y="530742"/>
                      </a:cubicBezTo>
                      <a:lnTo>
                        <a:pt x="392885" y="277714"/>
                      </a:lnTo>
                      <a:cubicBezTo>
                        <a:pt x="392885" y="277714"/>
                        <a:pt x="392885" y="274628"/>
                        <a:pt x="395971" y="274628"/>
                      </a:cubicBezTo>
                      <a:lnTo>
                        <a:pt x="432999" y="172800"/>
                      </a:lnTo>
                      <a:lnTo>
                        <a:pt x="519400" y="83314"/>
                      </a:lnTo>
                      <a:cubicBezTo>
                        <a:pt x="519400" y="83314"/>
                        <a:pt x="522485" y="80229"/>
                        <a:pt x="522485" y="77143"/>
                      </a:cubicBezTo>
                      <a:cubicBezTo>
                        <a:pt x="522485" y="74057"/>
                        <a:pt x="522485" y="70971"/>
                        <a:pt x="519400" y="70971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CFEF7C90-71A9-4EF5-AF45-53817F374AA0}"/>
                    </a:ext>
                  </a:extLst>
                </p:cNvPr>
                <p:cNvSpPr/>
                <p:nvPr/>
              </p:nvSpPr>
              <p:spPr>
                <a:xfrm>
                  <a:off x="12394054" y="9679875"/>
                  <a:ext cx="86399" cy="83506"/>
                </a:xfrm>
                <a:custGeom>
                  <a:avLst/>
                  <a:gdLst>
                    <a:gd name="connsiteX0" fmla="*/ 55542 w 86399"/>
                    <a:gd name="connsiteY0" fmla="*/ 15621 h 83506"/>
                    <a:gd name="connsiteX1" fmla="*/ 6171 w 86399"/>
                    <a:gd name="connsiteY1" fmla="*/ 193 h 83506"/>
                    <a:gd name="connsiteX2" fmla="*/ 0 w 86399"/>
                    <a:gd name="connsiteY2" fmla="*/ 3279 h 83506"/>
                    <a:gd name="connsiteX3" fmla="*/ 0 w 86399"/>
                    <a:gd name="connsiteY3" fmla="*/ 9450 h 83506"/>
                    <a:gd name="connsiteX4" fmla="*/ 77143 w 86399"/>
                    <a:gd name="connsiteY4" fmla="*/ 83507 h 83506"/>
                    <a:gd name="connsiteX5" fmla="*/ 77143 w 86399"/>
                    <a:gd name="connsiteY5" fmla="*/ 83507 h 83506"/>
                    <a:gd name="connsiteX6" fmla="*/ 83314 w 86399"/>
                    <a:gd name="connsiteY6" fmla="*/ 80422 h 83506"/>
                    <a:gd name="connsiteX7" fmla="*/ 86400 w 86399"/>
                    <a:gd name="connsiteY7" fmla="*/ 74250 h 83506"/>
                    <a:gd name="connsiteX8" fmla="*/ 55542 w 86399"/>
                    <a:gd name="connsiteY8" fmla="*/ 15621 h 83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6399" h="83506">
                      <a:moveTo>
                        <a:pt x="55542" y="15621"/>
                      </a:moveTo>
                      <a:cubicBezTo>
                        <a:pt x="33943" y="-2893"/>
                        <a:pt x="6171" y="193"/>
                        <a:pt x="6171" y="193"/>
                      </a:cubicBezTo>
                      <a:cubicBezTo>
                        <a:pt x="3086" y="193"/>
                        <a:pt x="3086" y="193"/>
                        <a:pt x="0" y="3279"/>
                      </a:cubicBezTo>
                      <a:cubicBezTo>
                        <a:pt x="0" y="6364"/>
                        <a:pt x="0" y="6364"/>
                        <a:pt x="0" y="9450"/>
                      </a:cubicBezTo>
                      <a:cubicBezTo>
                        <a:pt x="21599" y="71164"/>
                        <a:pt x="74057" y="83507"/>
                        <a:pt x="77143" y="83507"/>
                      </a:cubicBezTo>
                      <a:cubicBezTo>
                        <a:pt x="77143" y="83507"/>
                        <a:pt x="77143" y="83507"/>
                        <a:pt x="77143" y="83507"/>
                      </a:cubicBezTo>
                      <a:cubicBezTo>
                        <a:pt x="80229" y="83507"/>
                        <a:pt x="80229" y="83507"/>
                        <a:pt x="83314" y="80422"/>
                      </a:cubicBezTo>
                      <a:cubicBezTo>
                        <a:pt x="86400" y="77336"/>
                        <a:pt x="86400" y="77336"/>
                        <a:pt x="86400" y="74250"/>
                      </a:cubicBezTo>
                      <a:cubicBezTo>
                        <a:pt x="80229" y="46479"/>
                        <a:pt x="70971" y="27964"/>
                        <a:pt x="55542" y="15621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11" name="图形 1">
                <a:extLst>
                  <a:ext uri="{FF2B5EF4-FFF2-40B4-BE49-F238E27FC236}">
                    <a16:creationId xmlns:a16="http://schemas.microsoft.com/office/drawing/2014/main" id="{803C2A8C-4234-4292-8864-DEFCF5C3A0EE}"/>
                  </a:ext>
                </a:extLst>
              </p:cNvPr>
              <p:cNvGrpSpPr/>
              <p:nvPr/>
            </p:nvGrpSpPr>
            <p:grpSpPr>
              <a:xfrm>
                <a:off x="11490779" y="8598235"/>
                <a:ext cx="1044076" cy="1624918"/>
                <a:chOff x="11490779" y="8598235"/>
                <a:chExt cx="1044076" cy="1624918"/>
              </a:xfrm>
              <a:solidFill>
                <a:srgbClr val="38343B"/>
              </a:solidFill>
            </p:grpSpPr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1A6D9730-9C9B-49E0-B274-984549994F13}"/>
                    </a:ext>
                  </a:extLst>
                </p:cNvPr>
                <p:cNvSpPr/>
                <p:nvPr/>
              </p:nvSpPr>
              <p:spPr>
                <a:xfrm>
                  <a:off x="11948847" y="8598235"/>
                  <a:ext cx="212919" cy="449260"/>
                </a:xfrm>
                <a:custGeom>
                  <a:avLst/>
                  <a:gdLst>
                    <a:gd name="connsiteX0" fmla="*/ 56407 w 212919"/>
                    <a:gd name="connsiteY0" fmla="*/ 449261 h 449260"/>
                    <a:gd name="connsiteX1" fmla="*/ 53321 w 212919"/>
                    <a:gd name="connsiteY1" fmla="*/ 443089 h 449260"/>
                    <a:gd name="connsiteX2" fmla="*/ 102693 w 212919"/>
                    <a:gd name="connsiteY2" fmla="*/ 23432 h 449260"/>
                    <a:gd name="connsiteX3" fmla="*/ 198350 w 212919"/>
                    <a:gd name="connsiteY3" fmla="*/ 14175 h 449260"/>
                    <a:gd name="connsiteX4" fmla="*/ 182921 w 212919"/>
                    <a:gd name="connsiteY4" fmla="*/ 211661 h 449260"/>
                    <a:gd name="connsiteX5" fmla="*/ 62579 w 212919"/>
                    <a:gd name="connsiteY5" fmla="*/ 446175 h 449260"/>
                    <a:gd name="connsiteX6" fmla="*/ 56407 w 212919"/>
                    <a:gd name="connsiteY6" fmla="*/ 449261 h 449260"/>
                    <a:gd name="connsiteX7" fmla="*/ 164407 w 212919"/>
                    <a:gd name="connsiteY7" fmla="*/ 8004 h 449260"/>
                    <a:gd name="connsiteX8" fmla="*/ 105778 w 212919"/>
                    <a:gd name="connsiteY8" fmla="*/ 29604 h 449260"/>
                    <a:gd name="connsiteX9" fmla="*/ 56407 w 212919"/>
                    <a:gd name="connsiteY9" fmla="*/ 427661 h 449260"/>
                    <a:gd name="connsiteX10" fmla="*/ 186007 w 212919"/>
                    <a:gd name="connsiteY10" fmla="*/ 17261 h 449260"/>
                    <a:gd name="connsiteX11" fmla="*/ 164407 w 212919"/>
                    <a:gd name="connsiteY11" fmla="*/ 8004 h 4492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12919" h="449260">
                      <a:moveTo>
                        <a:pt x="56407" y="449261"/>
                      </a:moveTo>
                      <a:lnTo>
                        <a:pt x="53321" y="443089"/>
                      </a:lnTo>
                      <a:cubicBezTo>
                        <a:pt x="53321" y="440004"/>
                        <a:pt x="-94793" y="143775"/>
                        <a:pt x="102693" y="23432"/>
                      </a:cubicBezTo>
                      <a:cubicBezTo>
                        <a:pt x="145892" y="-4339"/>
                        <a:pt x="179835" y="-7425"/>
                        <a:pt x="198350" y="14175"/>
                      </a:cubicBezTo>
                      <a:cubicBezTo>
                        <a:pt x="232293" y="51203"/>
                        <a:pt x="198350" y="165375"/>
                        <a:pt x="182921" y="211661"/>
                      </a:cubicBezTo>
                      <a:cubicBezTo>
                        <a:pt x="152064" y="301147"/>
                        <a:pt x="105778" y="390632"/>
                        <a:pt x="62579" y="446175"/>
                      </a:cubicBezTo>
                      <a:lnTo>
                        <a:pt x="56407" y="449261"/>
                      </a:lnTo>
                      <a:close/>
                      <a:moveTo>
                        <a:pt x="164407" y="8004"/>
                      </a:moveTo>
                      <a:cubicBezTo>
                        <a:pt x="148978" y="8004"/>
                        <a:pt x="130464" y="14175"/>
                        <a:pt x="105778" y="29604"/>
                      </a:cubicBezTo>
                      <a:cubicBezTo>
                        <a:pt x="-67022" y="134518"/>
                        <a:pt x="34806" y="378289"/>
                        <a:pt x="56407" y="427661"/>
                      </a:cubicBezTo>
                      <a:cubicBezTo>
                        <a:pt x="145892" y="310404"/>
                        <a:pt x="232293" y="66632"/>
                        <a:pt x="186007" y="17261"/>
                      </a:cubicBezTo>
                      <a:cubicBezTo>
                        <a:pt x="182921" y="11089"/>
                        <a:pt x="176750" y="8004"/>
                        <a:pt x="164407" y="8004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" name="任意多边形: 形状 112">
                  <a:extLst>
                    <a:ext uri="{FF2B5EF4-FFF2-40B4-BE49-F238E27FC236}">
                      <a16:creationId xmlns:a16="http://schemas.microsoft.com/office/drawing/2014/main" id="{A1D14A2B-414E-4BAF-905B-E699376647A7}"/>
                    </a:ext>
                  </a:extLst>
                </p:cNvPr>
                <p:cNvSpPr/>
                <p:nvPr/>
              </p:nvSpPr>
              <p:spPr>
                <a:xfrm>
                  <a:off x="11490779" y="9028982"/>
                  <a:ext cx="1044076" cy="1194171"/>
                </a:xfrm>
                <a:custGeom>
                  <a:avLst/>
                  <a:gdLst>
                    <a:gd name="connsiteX0" fmla="*/ 545332 w 1044076"/>
                    <a:gd name="connsiteY0" fmla="*/ 1194172 h 1194171"/>
                    <a:gd name="connsiteX1" fmla="*/ 276875 w 1044076"/>
                    <a:gd name="connsiteY1" fmla="*/ 1141714 h 1194171"/>
                    <a:gd name="connsiteX2" fmla="*/ 45446 w 1044076"/>
                    <a:gd name="connsiteY2" fmla="*/ 916458 h 1194171"/>
                    <a:gd name="connsiteX3" fmla="*/ 511389 w 1044076"/>
                    <a:gd name="connsiteY3" fmla="*/ 0 h 1194171"/>
                    <a:gd name="connsiteX4" fmla="*/ 514475 w 1044076"/>
                    <a:gd name="connsiteY4" fmla="*/ 0 h 1194171"/>
                    <a:gd name="connsiteX5" fmla="*/ 517561 w 1044076"/>
                    <a:gd name="connsiteY5" fmla="*/ 3086 h 1194171"/>
                    <a:gd name="connsiteX6" fmla="*/ 1032875 w 1044076"/>
                    <a:gd name="connsiteY6" fmla="*/ 916458 h 1194171"/>
                    <a:gd name="connsiteX7" fmla="*/ 610132 w 1044076"/>
                    <a:gd name="connsiteY7" fmla="*/ 1191086 h 1194171"/>
                    <a:gd name="connsiteX8" fmla="*/ 545332 w 1044076"/>
                    <a:gd name="connsiteY8" fmla="*/ 1194172 h 1194171"/>
                    <a:gd name="connsiteX9" fmla="*/ 514475 w 1044076"/>
                    <a:gd name="connsiteY9" fmla="*/ 12343 h 1194171"/>
                    <a:gd name="connsiteX10" fmla="*/ 57790 w 1044076"/>
                    <a:gd name="connsiteY10" fmla="*/ 913372 h 1194171"/>
                    <a:gd name="connsiteX11" fmla="*/ 613218 w 1044076"/>
                    <a:gd name="connsiteY11" fmla="*/ 1178743 h 1194171"/>
                    <a:gd name="connsiteX12" fmla="*/ 1026704 w 1044076"/>
                    <a:gd name="connsiteY12" fmla="*/ 913372 h 1194171"/>
                    <a:gd name="connsiteX13" fmla="*/ 514475 w 1044076"/>
                    <a:gd name="connsiteY13" fmla="*/ 12343 h 1194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44076" h="1194171">
                      <a:moveTo>
                        <a:pt x="545332" y="1194172"/>
                      </a:moveTo>
                      <a:cubicBezTo>
                        <a:pt x="449675" y="1194172"/>
                        <a:pt x="357104" y="1175657"/>
                        <a:pt x="276875" y="1141714"/>
                      </a:cubicBezTo>
                      <a:cubicBezTo>
                        <a:pt x="165790" y="1095429"/>
                        <a:pt x="85561" y="1015200"/>
                        <a:pt x="45446" y="916458"/>
                      </a:cubicBezTo>
                      <a:cubicBezTo>
                        <a:pt x="-179811" y="373372"/>
                        <a:pt x="505218" y="3086"/>
                        <a:pt x="511389" y="0"/>
                      </a:cubicBezTo>
                      <a:lnTo>
                        <a:pt x="514475" y="0"/>
                      </a:lnTo>
                      <a:lnTo>
                        <a:pt x="517561" y="3086"/>
                      </a:lnTo>
                      <a:cubicBezTo>
                        <a:pt x="875504" y="234514"/>
                        <a:pt x="1097675" y="629486"/>
                        <a:pt x="1032875" y="916458"/>
                      </a:cubicBezTo>
                      <a:cubicBezTo>
                        <a:pt x="995847" y="1083086"/>
                        <a:pt x="795275" y="1172571"/>
                        <a:pt x="610132" y="1191086"/>
                      </a:cubicBezTo>
                      <a:cubicBezTo>
                        <a:pt x="591618" y="1191086"/>
                        <a:pt x="566933" y="1194172"/>
                        <a:pt x="545332" y="1194172"/>
                      </a:cubicBezTo>
                      <a:close/>
                      <a:moveTo>
                        <a:pt x="514475" y="12343"/>
                      </a:moveTo>
                      <a:cubicBezTo>
                        <a:pt x="468189" y="40114"/>
                        <a:pt x="-158210" y="394972"/>
                        <a:pt x="57790" y="913372"/>
                      </a:cubicBezTo>
                      <a:cubicBezTo>
                        <a:pt x="116418" y="1052229"/>
                        <a:pt x="295389" y="1206515"/>
                        <a:pt x="613218" y="1178743"/>
                      </a:cubicBezTo>
                      <a:cubicBezTo>
                        <a:pt x="792189" y="1163315"/>
                        <a:pt x="989675" y="1073828"/>
                        <a:pt x="1026704" y="913372"/>
                      </a:cubicBezTo>
                      <a:cubicBezTo>
                        <a:pt x="1085332" y="629486"/>
                        <a:pt x="866246" y="243771"/>
                        <a:pt x="514475" y="12343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80140659-54E6-42A7-923B-DED6EAD305C9}"/>
                    </a:ext>
                  </a:extLst>
                </p:cNvPr>
                <p:cNvSpPr/>
                <p:nvPr/>
              </p:nvSpPr>
              <p:spPr>
                <a:xfrm>
                  <a:off x="11738604" y="9228275"/>
                  <a:ext cx="538192" cy="50649"/>
                </a:xfrm>
                <a:custGeom>
                  <a:avLst/>
                  <a:gdLst>
                    <a:gd name="connsiteX0" fmla="*/ 393164 w 538192"/>
                    <a:gd name="connsiteY0" fmla="*/ 50650 h 50649"/>
                    <a:gd name="connsiteX1" fmla="*/ 4364 w 538192"/>
                    <a:gd name="connsiteY1" fmla="*/ 10535 h 50649"/>
                    <a:gd name="connsiteX2" fmla="*/ 1278 w 538192"/>
                    <a:gd name="connsiteY2" fmla="*/ 4364 h 50649"/>
                    <a:gd name="connsiteX3" fmla="*/ 7450 w 538192"/>
                    <a:gd name="connsiteY3" fmla="*/ 1278 h 50649"/>
                    <a:gd name="connsiteX4" fmla="*/ 532021 w 538192"/>
                    <a:gd name="connsiteY4" fmla="*/ 32135 h 50649"/>
                    <a:gd name="connsiteX5" fmla="*/ 538192 w 538192"/>
                    <a:gd name="connsiteY5" fmla="*/ 35221 h 50649"/>
                    <a:gd name="connsiteX6" fmla="*/ 535107 w 538192"/>
                    <a:gd name="connsiteY6" fmla="*/ 41393 h 50649"/>
                    <a:gd name="connsiteX7" fmla="*/ 393164 w 538192"/>
                    <a:gd name="connsiteY7" fmla="*/ 50650 h 506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38192" h="50649">
                      <a:moveTo>
                        <a:pt x="393164" y="50650"/>
                      </a:moveTo>
                      <a:cubicBezTo>
                        <a:pt x="211107" y="50650"/>
                        <a:pt x="7450" y="10535"/>
                        <a:pt x="4364" y="10535"/>
                      </a:cubicBezTo>
                      <a:cubicBezTo>
                        <a:pt x="1278" y="10535"/>
                        <a:pt x="-1808" y="7450"/>
                        <a:pt x="1278" y="4364"/>
                      </a:cubicBezTo>
                      <a:cubicBezTo>
                        <a:pt x="1278" y="1278"/>
                        <a:pt x="4364" y="-1808"/>
                        <a:pt x="7450" y="1278"/>
                      </a:cubicBezTo>
                      <a:cubicBezTo>
                        <a:pt x="10536" y="1278"/>
                        <a:pt x="334536" y="66078"/>
                        <a:pt x="532021" y="32135"/>
                      </a:cubicBezTo>
                      <a:cubicBezTo>
                        <a:pt x="535107" y="32135"/>
                        <a:pt x="538192" y="32135"/>
                        <a:pt x="538192" y="35221"/>
                      </a:cubicBezTo>
                      <a:cubicBezTo>
                        <a:pt x="538192" y="38307"/>
                        <a:pt x="538192" y="41393"/>
                        <a:pt x="535107" y="41393"/>
                      </a:cubicBezTo>
                      <a:cubicBezTo>
                        <a:pt x="488822" y="47564"/>
                        <a:pt x="442536" y="50650"/>
                        <a:pt x="393164" y="50650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EB75609A-B5BB-456F-A728-FD35AC31E9DE}"/>
                    </a:ext>
                  </a:extLst>
                </p:cNvPr>
                <p:cNvSpPr/>
                <p:nvPr/>
              </p:nvSpPr>
              <p:spPr>
                <a:xfrm>
                  <a:off x="11531862" y="9524504"/>
                  <a:ext cx="937620" cy="96935"/>
                </a:xfrm>
                <a:custGeom>
                  <a:avLst/>
                  <a:gdLst>
                    <a:gd name="connsiteX0" fmla="*/ 615335 w 937620"/>
                    <a:gd name="connsiteY0" fmla="*/ 96935 h 96935"/>
                    <a:gd name="connsiteX1" fmla="*/ 383907 w 937620"/>
                    <a:gd name="connsiteY1" fmla="*/ 81507 h 96935"/>
                    <a:gd name="connsiteX2" fmla="*/ 4363 w 937620"/>
                    <a:gd name="connsiteY2" fmla="*/ 10535 h 96935"/>
                    <a:gd name="connsiteX3" fmla="*/ 1278 w 937620"/>
                    <a:gd name="connsiteY3" fmla="*/ 4364 h 96935"/>
                    <a:gd name="connsiteX4" fmla="*/ 7449 w 937620"/>
                    <a:gd name="connsiteY4" fmla="*/ 1278 h 96935"/>
                    <a:gd name="connsiteX5" fmla="*/ 926993 w 937620"/>
                    <a:gd name="connsiteY5" fmla="*/ 16707 h 96935"/>
                    <a:gd name="connsiteX6" fmla="*/ 936249 w 937620"/>
                    <a:gd name="connsiteY6" fmla="*/ 16707 h 96935"/>
                    <a:gd name="connsiteX7" fmla="*/ 936249 w 937620"/>
                    <a:gd name="connsiteY7" fmla="*/ 25964 h 96935"/>
                    <a:gd name="connsiteX8" fmla="*/ 615335 w 937620"/>
                    <a:gd name="connsiteY8" fmla="*/ 96935 h 96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37620" h="96935">
                      <a:moveTo>
                        <a:pt x="615335" y="96935"/>
                      </a:moveTo>
                      <a:cubicBezTo>
                        <a:pt x="547449" y="96935"/>
                        <a:pt x="470306" y="90764"/>
                        <a:pt x="383907" y="81507"/>
                      </a:cubicBezTo>
                      <a:cubicBezTo>
                        <a:pt x="183335" y="56821"/>
                        <a:pt x="7449" y="13621"/>
                        <a:pt x="4363" y="10535"/>
                      </a:cubicBezTo>
                      <a:cubicBezTo>
                        <a:pt x="1278" y="10535"/>
                        <a:pt x="-1808" y="7450"/>
                        <a:pt x="1278" y="4364"/>
                      </a:cubicBezTo>
                      <a:cubicBezTo>
                        <a:pt x="1278" y="1278"/>
                        <a:pt x="4363" y="-1808"/>
                        <a:pt x="7449" y="1278"/>
                      </a:cubicBezTo>
                      <a:cubicBezTo>
                        <a:pt x="13621" y="4364"/>
                        <a:pt x="710993" y="180249"/>
                        <a:pt x="926993" y="16707"/>
                      </a:cubicBezTo>
                      <a:cubicBezTo>
                        <a:pt x="930078" y="13621"/>
                        <a:pt x="933163" y="16707"/>
                        <a:pt x="936249" y="16707"/>
                      </a:cubicBezTo>
                      <a:cubicBezTo>
                        <a:pt x="939335" y="19792"/>
                        <a:pt x="936249" y="22878"/>
                        <a:pt x="936249" y="25964"/>
                      </a:cubicBezTo>
                      <a:cubicBezTo>
                        <a:pt x="865278" y="72249"/>
                        <a:pt x="760363" y="96935"/>
                        <a:pt x="615335" y="96935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ABB99218-EF6C-43F0-8369-7C29122359D0}"/>
                    </a:ext>
                  </a:extLst>
                </p:cNvPr>
                <p:cNvSpPr/>
                <p:nvPr/>
              </p:nvSpPr>
              <p:spPr>
                <a:xfrm>
                  <a:off x="11538033" y="9937989"/>
                  <a:ext cx="988706" cy="72249"/>
                </a:xfrm>
                <a:custGeom>
                  <a:avLst/>
                  <a:gdLst>
                    <a:gd name="connsiteX0" fmla="*/ 587564 w 988706"/>
                    <a:gd name="connsiteY0" fmla="*/ 72249 h 72249"/>
                    <a:gd name="connsiteX1" fmla="*/ 374650 w 988706"/>
                    <a:gd name="connsiteY1" fmla="*/ 62993 h 72249"/>
                    <a:gd name="connsiteX2" fmla="*/ 4364 w 988706"/>
                    <a:gd name="connsiteY2" fmla="*/ 10535 h 72249"/>
                    <a:gd name="connsiteX3" fmla="*/ 1278 w 988706"/>
                    <a:gd name="connsiteY3" fmla="*/ 4364 h 72249"/>
                    <a:gd name="connsiteX4" fmla="*/ 7450 w 988706"/>
                    <a:gd name="connsiteY4" fmla="*/ 1278 h 72249"/>
                    <a:gd name="connsiteX5" fmla="*/ 377736 w 988706"/>
                    <a:gd name="connsiteY5" fmla="*/ 53736 h 72249"/>
                    <a:gd name="connsiteX6" fmla="*/ 982536 w 988706"/>
                    <a:gd name="connsiteY6" fmla="*/ 1278 h 72249"/>
                    <a:gd name="connsiteX7" fmla="*/ 988707 w 988706"/>
                    <a:gd name="connsiteY7" fmla="*/ 4364 h 72249"/>
                    <a:gd name="connsiteX8" fmla="*/ 985621 w 988706"/>
                    <a:gd name="connsiteY8" fmla="*/ 10535 h 72249"/>
                    <a:gd name="connsiteX9" fmla="*/ 587564 w 988706"/>
                    <a:gd name="connsiteY9" fmla="*/ 72249 h 722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88706" h="72249">
                      <a:moveTo>
                        <a:pt x="587564" y="72249"/>
                      </a:moveTo>
                      <a:cubicBezTo>
                        <a:pt x="513507" y="72249"/>
                        <a:pt x="439450" y="69164"/>
                        <a:pt x="374650" y="62993"/>
                      </a:cubicBezTo>
                      <a:cubicBezTo>
                        <a:pt x="170993" y="44478"/>
                        <a:pt x="4364" y="10535"/>
                        <a:pt x="4364" y="10535"/>
                      </a:cubicBezTo>
                      <a:cubicBezTo>
                        <a:pt x="1278" y="10535"/>
                        <a:pt x="-1808" y="7450"/>
                        <a:pt x="1278" y="4364"/>
                      </a:cubicBezTo>
                      <a:cubicBezTo>
                        <a:pt x="1278" y="1278"/>
                        <a:pt x="4364" y="-1808"/>
                        <a:pt x="7450" y="1278"/>
                      </a:cubicBezTo>
                      <a:cubicBezTo>
                        <a:pt x="10536" y="1278"/>
                        <a:pt x="174078" y="35221"/>
                        <a:pt x="377736" y="53736"/>
                      </a:cubicBezTo>
                      <a:cubicBezTo>
                        <a:pt x="562879" y="69164"/>
                        <a:pt x="818993" y="72249"/>
                        <a:pt x="982536" y="1278"/>
                      </a:cubicBezTo>
                      <a:cubicBezTo>
                        <a:pt x="985621" y="1278"/>
                        <a:pt x="988707" y="1278"/>
                        <a:pt x="988707" y="4364"/>
                      </a:cubicBezTo>
                      <a:cubicBezTo>
                        <a:pt x="988707" y="7450"/>
                        <a:pt x="988707" y="10535"/>
                        <a:pt x="985621" y="10535"/>
                      </a:cubicBezTo>
                      <a:cubicBezTo>
                        <a:pt x="877621" y="59907"/>
                        <a:pt x="729507" y="72249"/>
                        <a:pt x="587564" y="72249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24A50DD3-420E-41A0-BF68-DC3A8D5222FC}"/>
                    </a:ext>
                  </a:extLst>
                </p:cNvPr>
                <p:cNvSpPr/>
                <p:nvPr/>
              </p:nvSpPr>
              <p:spPr>
                <a:xfrm>
                  <a:off x="11961919" y="9032068"/>
                  <a:ext cx="58764" cy="1191085"/>
                </a:xfrm>
                <a:custGeom>
                  <a:avLst/>
                  <a:gdLst>
                    <a:gd name="connsiteX0" fmla="*/ 52593 w 58764"/>
                    <a:gd name="connsiteY0" fmla="*/ 1191086 h 1191085"/>
                    <a:gd name="connsiteX1" fmla="*/ 46422 w 58764"/>
                    <a:gd name="connsiteY1" fmla="*/ 1188000 h 1191085"/>
                    <a:gd name="connsiteX2" fmla="*/ 37164 w 58764"/>
                    <a:gd name="connsiteY2" fmla="*/ 6171 h 1191085"/>
                    <a:gd name="connsiteX3" fmla="*/ 43336 w 58764"/>
                    <a:gd name="connsiteY3" fmla="*/ 0 h 1191085"/>
                    <a:gd name="connsiteX4" fmla="*/ 49508 w 58764"/>
                    <a:gd name="connsiteY4" fmla="*/ 6171 h 1191085"/>
                    <a:gd name="connsiteX5" fmla="*/ 58764 w 58764"/>
                    <a:gd name="connsiteY5" fmla="*/ 1184914 h 1191085"/>
                    <a:gd name="connsiteX6" fmla="*/ 52593 w 58764"/>
                    <a:gd name="connsiteY6" fmla="*/ 1191086 h 1191085"/>
                    <a:gd name="connsiteX7" fmla="*/ 52593 w 58764"/>
                    <a:gd name="connsiteY7" fmla="*/ 1191086 h 11910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8764" h="1191085">
                      <a:moveTo>
                        <a:pt x="52593" y="1191086"/>
                      </a:moveTo>
                      <a:cubicBezTo>
                        <a:pt x="49508" y="1191086"/>
                        <a:pt x="46422" y="1188000"/>
                        <a:pt x="46422" y="1188000"/>
                      </a:cubicBezTo>
                      <a:cubicBezTo>
                        <a:pt x="-52322" y="820800"/>
                        <a:pt x="37164" y="12343"/>
                        <a:pt x="37164" y="6171"/>
                      </a:cubicBezTo>
                      <a:cubicBezTo>
                        <a:pt x="37164" y="3085"/>
                        <a:pt x="40250" y="0"/>
                        <a:pt x="43336" y="0"/>
                      </a:cubicBezTo>
                      <a:cubicBezTo>
                        <a:pt x="46422" y="0"/>
                        <a:pt x="49508" y="3085"/>
                        <a:pt x="49508" y="6171"/>
                      </a:cubicBezTo>
                      <a:cubicBezTo>
                        <a:pt x="49508" y="15429"/>
                        <a:pt x="-39979" y="820800"/>
                        <a:pt x="58764" y="1184914"/>
                      </a:cubicBezTo>
                      <a:cubicBezTo>
                        <a:pt x="58764" y="1188000"/>
                        <a:pt x="55678" y="1191086"/>
                        <a:pt x="52593" y="1191086"/>
                      </a:cubicBezTo>
                      <a:cubicBezTo>
                        <a:pt x="52593" y="1191086"/>
                        <a:pt x="52593" y="1191086"/>
                        <a:pt x="52593" y="1191086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3AB337DB-8E21-42B6-A971-A4CE16BADE82}"/>
                    </a:ext>
                  </a:extLst>
                </p:cNvPr>
                <p:cNvSpPr/>
                <p:nvPr/>
              </p:nvSpPr>
              <p:spPr>
                <a:xfrm>
                  <a:off x="11685931" y="9158582"/>
                  <a:ext cx="137266" cy="999771"/>
                </a:xfrm>
                <a:custGeom>
                  <a:avLst/>
                  <a:gdLst>
                    <a:gd name="connsiteX0" fmla="*/ 57038 w 137266"/>
                    <a:gd name="connsiteY0" fmla="*/ 999772 h 999771"/>
                    <a:gd name="connsiteX1" fmla="*/ 50866 w 137266"/>
                    <a:gd name="connsiteY1" fmla="*/ 996686 h 999771"/>
                    <a:gd name="connsiteX2" fmla="*/ 128009 w 137266"/>
                    <a:gd name="connsiteY2" fmla="*/ 3086 h 999771"/>
                    <a:gd name="connsiteX3" fmla="*/ 134181 w 137266"/>
                    <a:gd name="connsiteY3" fmla="*/ 0 h 999771"/>
                    <a:gd name="connsiteX4" fmla="*/ 137267 w 137266"/>
                    <a:gd name="connsiteY4" fmla="*/ 6171 h 999771"/>
                    <a:gd name="connsiteX5" fmla="*/ 60124 w 137266"/>
                    <a:gd name="connsiteY5" fmla="*/ 990514 h 999771"/>
                    <a:gd name="connsiteX6" fmla="*/ 57038 w 137266"/>
                    <a:gd name="connsiteY6" fmla="*/ 999772 h 999771"/>
                    <a:gd name="connsiteX7" fmla="*/ 57038 w 137266"/>
                    <a:gd name="connsiteY7" fmla="*/ 999772 h 999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7266" h="999771">
                      <a:moveTo>
                        <a:pt x="57038" y="999772"/>
                      </a:moveTo>
                      <a:cubicBezTo>
                        <a:pt x="53952" y="999772"/>
                        <a:pt x="50866" y="996686"/>
                        <a:pt x="50866" y="996686"/>
                      </a:cubicBezTo>
                      <a:cubicBezTo>
                        <a:pt x="-97248" y="441257"/>
                        <a:pt x="124924" y="6171"/>
                        <a:pt x="128009" y="3086"/>
                      </a:cubicBezTo>
                      <a:cubicBezTo>
                        <a:pt x="128009" y="0"/>
                        <a:pt x="134181" y="0"/>
                        <a:pt x="134181" y="0"/>
                      </a:cubicBezTo>
                      <a:cubicBezTo>
                        <a:pt x="137267" y="0"/>
                        <a:pt x="137267" y="6171"/>
                        <a:pt x="137267" y="6171"/>
                      </a:cubicBezTo>
                      <a:cubicBezTo>
                        <a:pt x="134181" y="9257"/>
                        <a:pt x="-84905" y="441257"/>
                        <a:pt x="60124" y="990514"/>
                      </a:cubicBezTo>
                      <a:cubicBezTo>
                        <a:pt x="63210" y="996686"/>
                        <a:pt x="63210" y="999772"/>
                        <a:pt x="57038" y="999772"/>
                      </a:cubicBezTo>
                      <a:cubicBezTo>
                        <a:pt x="60124" y="999772"/>
                        <a:pt x="57038" y="999772"/>
                        <a:pt x="57038" y="999772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D393F60D-D3DC-48E5-96DD-19D6899B7AF4}"/>
                    </a:ext>
                  </a:extLst>
                </p:cNvPr>
                <p:cNvSpPr/>
                <p:nvPr/>
              </p:nvSpPr>
              <p:spPr>
                <a:xfrm>
                  <a:off x="12180752" y="9174010"/>
                  <a:ext cx="159037" cy="984343"/>
                </a:xfrm>
                <a:custGeom>
                  <a:avLst/>
                  <a:gdLst>
                    <a:gd name="connsiteX0" fmla="*/ 154674 w 159037"/>
                    <a:gd name="connsiteY0" fmla="*/ 984343 h 984343"/>
                    <a:gd name="connsiteX1" fmla="*/ 148503 w 159037"/>
                    <a:gd name="connsiteY1" fmla="*/ 981257 h 984343"/>
                    <a:gd name="connsiteX2" fmla="*/ 389 w 159037"/>
                    <a:gd name="connsiteY2" fmla="*/ 6171 h 984343"/>
                    <a:gd name="connsiteX3" fmla="*/ 6560 w 159037"/>
                    <a:gd name="connsiteY3" fmla="*/ 0 h 984343"/>
                    <a:gd name="connsiteX4" fmla="*/ 6560 w 159037"/>
                    <a:gd name="connsiteY4" fmla="*/ 0 h 984343"/>
                    <a:gd name="connsiteX5" fmla="*/ 12731 w 159037"/>
                    <a:gd name="connsiteY5" fmla="*/ 6171 h 984343"/>
                    <a:gd name="connsiteX6" fmla="*/ 157759 w 159037"/>
                    <a:gd name="connsiteY6" fmla="*/ 978171 h 984343"/>
                    <a:gd name="connsiteX7" fmla="*/ 154674 w 159037"/>
                    <a:gd name="connsiteY7" fmla="*/ 984343 h 984343"/>
                    <a:gd name="connsiteX8" fmla="*/ 154674 w 159037"/>
                    <a:gd name="connsiteY8" fmla="*/ 984343 h 984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9037" h="984343">
                      <a:moveTo>
                        <a:pt x="154674" y="984343"/>
                      </a:moveTo>
                      <a:cubicBezTo>
                        <a:pt x="151589" y="984343"/>
                        <a:pt x="151589" y="984343"/>
                        <a:pt x="148503" y="981257"/>
                      </a:cubicBezTo>
                      <a:cubicBezTo>
                        <a:pt x="-15040" y="518400"/>
                        <a:pt x="389" y="9257"/>
                        <a:pt x="389" y="6171"/>
                      </a:cubicBezTo>
                      <a:cubicBezTo>
                        <a:pt x="389" y="3086"/>
                        <a:pt x="3474" y="0"/>
                        <a:pt x="6560" y="0"/>
                      </a:cubicBezTo>
                      <a:cubicBezTo>
                        <a:pt x="6560" y="0"/>
                        <a:pt x="6560" y="0"/>
                        <a:pt x="6560" y="0"/>
                      </a:cubicBezTo>
                      <a:cubicBezTo>
                        <a:pt x="9645" y="0"/>
                        <a:pt x="12731" y="3086"/>
                        <a:pt x="12731" y="6171"/>
                      </a:cubicBezTo>
                      <a:cubicBezTo>
                        <a:pt x="12731" y="12343"/>
                        <a:pt x="-2697" y="518400"/>
                        <a:pt x="157759" y="978171"/>
                      </a:cubicBezTo>
                      <a:cubicBezTo>
                        <a:pt x="160845" y="978171"/>
                        <a:pt x="157759" y="981257"/>
                        <a:pt x="154674" y="984343"/>
                      </a:cubicBezTo>
                      <a:cubicBezTo>
                        <a:pt x="154674" y="984343"/>
                        <a:pt x="154674" y="984343"/>
                        <a:pt x="154674" y="984343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04" name="图形 1">
              <a:extLst>
                <a:ext uri="{FF2B5EF4-FFF2-40B4-BE49-F238E27FC236}">
                  <a16:creationId xmlns:a16="http://schemas.microsoft.com/office/drawing/2014/main" id="{0C3804AB-4BA7-41ED-94DB-60E64525D6A9}"/>
                </a:ext>
              </a:extLst>
            </p:cNvPr>
            <p:cNvGrpSpPr/>
            <p:nvPr/>
          </p:nvGrpSpPr>
          <p:grpSpPr>
            <a:xfrm>
              <a:off x="12091654" y="8606617"/>
              <a:ext cx="131914" cy="110846"/>
              <a:chOff x="12091654" y="8606617"/>
              <a:chExt cx="131914" cy="110846"/>
            </a:xfrm>
          </p:grpSpPr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31D434AA-906F-469E-963E-9F4CEA7A34D5}"/>
                  </a:ext>
                </a:extLst>
              </p:cNvPr>
              <p:cNvSpPr/>
              <p:nvPr/>
            </p:nvSpPr>
            <p:spPr>
              <a:xfrm>
                <a:off x="12096452" y="8614533"/>
                <a:ext cx="123781" cy="102929"/>
              </a:xfrm>
              <a:custGeom>
                <a:avLst/>
                <a:gdLst>
                  <a:gd name="connsiteX0" fmla="*/ 1373 w 123781"/>
                  <a:gd name="connsiteY0" fmla="*/ 47249 h 102929"/>
                  <a:gd name="connsiteX1" fmla="*/ 26059 w 123781"/>
                  <a:gd name="connsiteY1" fmla="*/ 47249 h 102929"/>
                  <a:gd name="connsiteX2" fmla="*/ 75430 w 123781"/>
                  <a:gd name="connsiteY2" fmla="*/ 59591 h 102929"/>
                  <a:gd name="connsiteX3" fmla="*/ 103202 w 123781"/>
                  <a:gd name="connsiteY3" fmla="*/ 102791 h 102929"/>
                  <a:gd name="connsiteX4" fmla="*/ 121716 w 123781"/>
                  <a:gd name="connsiteY4" fmla="*/ 41077 h 102929"/>
                  <a:gd name="connsiteX5" fmla="*/ 44573 w 123781"/>
                  <a:gd name="connsiteY5" fmla="*/ 963 h 102929"/>
                  <a:gd name="connsiteX6" fmla="*/ 1373 w 123781"/>
                  <a:gd name="connsiteY6" fmla="*/ 47249 h 102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781" h="102929">
                    <a:moveTo>
                      <a:pt x="1373" y="47249"/>
                    </a:moveTo>
                    <a:cubicBezTo>
                      <a:pt x="4459" y="56505"/>
                      <a:pt x="19888" y="47249"/>
                      <a:pt x="26059" y="47249"/>
                    </a:cubicBezTo>
                    <a:cubicBezTo>
                      <a:pt x="44573" y="44163"/>
                      <a:pt x="60002" y="44163"/>
                      <a:pt x="75430" y="59591"/>
                    </a:cubicBezTo>
                    <a:cubicBezTo>
                      <a:pt x="84688" y="68849"/>
                      <a:pt x="97031" y="93534"/>
                      <a:pt x="103202" y="102791"/>
                    </a:cubicBezTo>
                    <a:cubicBezTo>
                      <a:pt x="106288" y="105877"/>
                      <a:pt x="130974" y="56505"/>
                      <a:pt x="121716" y="41077"/>
                    </a:cubicBezTo>
                    <a:cubicBezTo>
                      <a:pt x="109373" y="19477"/>
                      <a:pt x="72345" y="-5209"/>
                      <a:pt x="44573" y="963"/>
                    </a:cubicBezTo>
                    <a:cubicBezTo>
                      <a:pt x="32231" y="963"/>
                      <a:pt x="-7883" y="28734"/>
                      <a:pt x="1373" y="4724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AA72BCC3-3CA5-4D8B-94EA-5EAAABAA6F30}"/>
                  </a:ext>
                </a:extLst>
              </p:cNvPr>
              <p:cNvSpPr/>
              <p:nvPr/>
            </p:nvSpPr>
            <p:spPr>
              <a:xfrm>
                <a:off x="12091654" y="8606617"/>
                <a:ext cx="131914" cy="110707"/>
              </a:xfrm>
              <a:custGeom>
                <a:avLst/>
                <a:gdLst>
                  <a:gd name="connsiteX0" fmla="*/ 83315 w 131914"/>
                  <a:gd name="connsiteY0" fmla="*/ 110708 h 110707"/>
                  <a:gd name="connsiteX1" fmla="*/ 77143 w 131914"/>
                  <a:gd name="connsiteY1" fmla="*/ 107622 h 110707"/>
                  <a:gd name="connsiteX2" fmla="*/ 74058 w 131914"/>
                  <a:gd name="connsiteY2" fmla="*/ 67508 h 110707"/>
                  <a:gd name="connsiteX3" fmla="*/ 30857 w 131914"/>
                  <a:gd name="connsiteY3" fmla="*/ 64422 h 110707"/>
                  <a:gd name="connsiteX4" fmla="*/ 6172 w 131914"/>
                  <a:gd name="connsiteY4" fmla="*/ 64422 h 110707"/>
                  <a:gd name="connsiteX5" fmla="*/ 0 w 131914"/>
                  <a:gd name="connsiteY5" fmla="*/ 48993 h 110707"/>
                  <a:gd name="connsiteX6" fmla="*/ 46286 w 131914"/>
                  <a:gd name="connsiteY6" fmla="*/ 2708 h 110707"/>
                  <a:gd name="connsiteX7" fmla="*/ 129600 w 131914"/>
                  <a:gd name="connsiteY7" fmla="*/ 42822 h 110707"/>
                  <a:gd name="connsiteX8" fmla="*/ 129600 w 131914"/>
                  <a:gd name="connsiteY8" fmla="*/ 52079 h 110707"/>
                  <a:gd name="connsiteX9" fmla="*/ 120344 w 131914"/>
                  <a:gd name="connsiteY9" fmla="*/ 52079 h 110707"/>
                  <a:gd name="connsiteX10" fmla="*/ 49372 w 131914"/>
                  <a:gd name="connsiteY10" fmla="*/ 15051 h 110707"/>
                  <a:gd name="connsiteX11" fmla="*/ 9258 w 131914"/>
                  <a:gd name="connsiteY11" fmla="*/ 52079 h 110707"/>
                  <a:gd name="connsiteX12" fmla="*/ 9258 w 131914"/>
                  <a:gd name="connsiteY12" fmla="*/ 55165 h 110707"/>
                  <a:gd name="connsiteX13" fmla="*/ 24686 w 131914"/>
                  <a:gd name="connsiteY13" fmla="*/ 52079 h 110707"/>
                  <a:gd name="connsiteX14" fmla="*/ 83315 w 131914"/>
                  <a:gd name="connsiteY14" fmla="*/ 61336 h 110707"/>
                  <a:gd name="connsiteX15" fmla="*/ 86401 w 131914"/>
                  <a:gd name="connsiteY15" fmla="*/ 67508 h 110707"/>
                  <a:gd name="connsiteX16" fmla="*/ 86401 w 131914"/>
                  <a:gd name="connsiteY16" fmla="*/ 101451 h 110707"/>
                  <a:gd name="connsiteX17" fmla="*/ 83315 w 131914"/>
                  <a:gd name="connsiteY17" fmla="*/ 110708 h 110707"/>
                  <a:gd name="connsiteX18" fmla="*/ 83315 w 131914"/>
                  <a:gd name="connsiteY18" fmla="*/ 110708 h 110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31914" h="110707">
                    <a:moveTo>
                      <a:pt x="83315" y="110708"/>
                    </a:moveTo>
                    <a:cubicBezTo>
                      <a:pt x="80229" y="110708"/>
                      <a:pt x="80229" y="110708"/>
                      <a:pt x="77143" y="107622"/>
                    </a:cubicBezTo>
                    <a:cubicBezTo>
                      <a:pt x="67886" y="95279"/>
                      <a:pt x="70972" y="73679"/>
                      <a:pt x="74058" y="67508"/>
                    </a:cubicBezTo>
                    <a:cubicBezTo>
                      <a:pt x="58629" y="55165"/>
                      <a:pt x="43201" y="61336"/>
                      <a:pt x="30857" y="64422"/>
                    </a:cubicBezTo>
                    <a:cubicBezTo>
                      <a:pt x="21600" y="67508"/>
                      <a:pt x="12344" y="70594"/>
                      <a:pt x="6172" y="64422"/>
                    </a:cubicBezTo>
                    <a:cubicBezTo>
                      <a:pt x="3086" y="61336"/>
                      <a:pt x="0" y="55165"/>
                      <a:pt x="0" y="48993"/>
                    </a:cubicBezTo>
                    <a:cubicBezTo>
                      <a:pt x="3086" y="33565"/>
                      <a:pt x="18514" y="11965"/>
                      <a:pt x="46286" y="2708"/>
                    </a:cubicBezTo>
                    <a:cubicBezTo>
                      <a:pt x="83315" y="-12721"/>
                      <a:pt x="126514" y="42822"/>
                      <a:pt x="129600" y="42822"/>
                    </a:cubicBezTo>
                    <a:cubicBezTo>
                      <a:pt x="132686" y="45908"/>
                      <a:pt x="132686" y="48993"/>
                      <a:pt x="129600" y="52079"/>
                    </a:cubicBezTo>
                    <a:cubicBezTo>
                      <a:pt x="126514" y="55165"/>
                      <a:pt x="123429" y="55165"/>
                      <a:pt x="120344" y="52079"/>
                    </a:cubicBezTo>
                    <a:cubicBezTo>
                      <a:pt x="108000" y="39737"/>
                      <a:pt x="74058" y="5793"/>
                      <a:pt x="49372" y="15051"/>
                    </a:cubicBezTo>
                    <a:cubicBezTo>
                      <a:pt x="24686" y="24308"/>
                      <a:pt x="12344" y="42822"/>
                      <a:pt x="9258" y="52079"/>
                    </a:cubicBezTo>
                    <a:cubicBezTo>
                      <a:pt x="9258" y="52079"/>
                      <a:pt x="9258" y="55165"/>
                      <a:pt x="9258" y="55165"/>
                    </a:cubicBezTo>
                    <a:cubicBezTo>
                      <a:pt x="12344" y="55165"/>
                      <a:pt x="18514" y="55165"/>
                      <a:pt x="24686" y="52079"/>
                    </a:cubicBezTo>
                    <a:cubicBezTo>
                      <a:pt x="40115" y="48993"/>
                      <a:pt x="61714" y="42822"/>
                      <a:pt x="83315" y="61336"/>
                    </a:cubicBezTo>
                    <a:cubicBezTo>
                      <a:pt x="86401" y="64422"/>
                      <a:pt x="86401" y="64422"/>
                      <a:pt x="86401" y="67508"/>
                    </a:cubicBezTo>
                    <a:cubicBezTo>
                      <a:pt x="83315" y="73679"/>
                      <a:pt x="80229" y="92194"/>
                      <a:pt x="86401" y="101451"/>
                    </a:cubicBezTo>
                    <a:cubicBezTo>
                      <a:pt x="89486" y="104536"/>
                      <a:pt x="86401" y="107622"/>
                      <a:pt x="83315" y="110708"/>
                    </a:cubicBezTo>
                    <a:cubicBezTo>
                      <a:pt x="86401" y="110708"/>
                      <a:pt x="83315" y="110708"/>
                      <a:pt x="83315" y="11070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7172234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0A09A257-E6AF-4030-9781-2E44995D90CA}"/>
              </a:ext>
            </a:extLst>
          </p:cNvPr>
          <p:cNvGrpSpPr/>
          <p:nvPr/>
        </p:nvGrpSpPr>
        <p:grpSpPr>
          <a:xfrm>
            <a:off x="3125607" y="2144367"/>
            <a:ext cx="2505788" cy="4474285"/>
            <a:chOff x="19851507" y="7973667"/>
            <a:chExt cx="2505788" cy="4474285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ABC21257-3CF8-4746-B6D4-7BF28DFE9DDE}"/>
                </a:ext>
              </a:extLst>
            </p:cNvPr>
            <p:cNvSpPr/>
            <p:nvPr/>
          </p:nvSpPr>
          <p:spPr>
            <a:xfrm>
              <a:off x="21024797" y="9914582"/>
              <a:ext cx="106804" cy="103659"/>
            </a:xfrm>
            <a:custGeom>
              <a:avLst/>
              <a:gdLst>
                <a:gd name="connsiteX0" fmla="*/ 86400 w 106804"/>
                <a:gd name="connsiteY0" fmla="*/ 0 h 103659"/>
                <a:gd name="connsiteX1" fmla="*/ 104915 w 106804"/>
                <a:gd name="connsiteY1" fmla="*/ 89486 h 103659"/>
                <a:gd name="connsiteX2" fmla="*/ 9257 w 106804"/>
                <a:gd name="connsiteY2" fmla="*/ 95656 h 103659"/>
                <a:gd name="connsiteX3" fmla="*/ 0 w 106804"/>
                <a:gd name="connsiteY3" fmla="*/ 9257 h 103659"/>
                <a:gd name="connsiteX4" fmla="*/ 86400 w 106804"/>
                <a:gd name="connsiteY4" fmla="*/ 0 h 10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804" h="103659">
                  <a:moveTo>
                    <a:pt x="86400" y="0"/>
                  </a:moveTo>
                  <a:cubicBezTo>
                    <a:pt x="86400" y="0"/>
                    <a:pt x="114172" y="64799"/>
                    <a:pt x="104915" y="89486"/>
                  </a:cubicBezTo>
                  <a:cubicBezTo>
                    <a:pt x="95658" y="117257"/>
                    <a:pt x="9257" y="95656"/>
                    <a:pt x="9257" y="95656"/>
                  </a:cubicBezTo>
                  <a:lnTo>
                    <a:pt x="0" y="9257"/>
                  </a:lnTo>
                  <a:lnTo>
                    <a:pt x="86400" y="0"/>
                  </a:ln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A84FD3E0-3E65-415C-AE63-50D1A9A3FBD8}"/>
                </a:ext>
              </a:extLst>
            </p:cNvPr>
            <p:cNvSpPr/>
            <p:nvPr/>
          </p:nvSpPr>
          <p:spPr>
            <a:xfrm>
              <a:off x="20690037" y="8770927"/>
              <a:ext cx="424246" cy="1182657"/>
            </a:xfrm>
            <a:custGeom>
              <a:avLst/>
              <a:gdLst>
                <a:gd name="connsiteX0" fmla="*/ 4588 w 424246"/>
                <a:gd name="connsiteY0" fmla="*/ 366054 h 1182657"/>
                <a:gd name="connsiteX1" fmla="*/ 118760 w 424246"/>
                <a:gd name="connsiteY1" fmla="*/ 1940 h 1182657"/>
                <a:gd name="connsiteX2" fmla="*/ 260704 w 424246"/>
                <a:gd name="connsiteY2" fmla="*/ 412340 h 1182657"/>
                <a:gd name="connsiteX3" fmla="*/ 297731 w 424246"/>
                <a:gd name="connsiteY3" fmla="*/ 727083 h 1182657"/>
                <a:gd name="connsiteX4" fmla="*/ 424246 w 424246"/>
                <a:gd name="connsiteY4" fmla="*/ 1155997 h 1182657"/>
                <a:gd name="connsiteX5" fmla="*/ 306989 w 424246"/>
                <a:gd name="connsiteY5" fmla="*/ 1180683 h 1182657"/>
                <a:gd name="connsiteX6" fmla="*/ 131103 w 424246"/>
                <a:gd name="connsiteY6" fmla="*/ 844340 h 1182657"/>
                <a:gd name="connsiteX7" fmla="*/ 4588 w 424246"/>
                <a:gd name="connsiteY7" fmla="*/ 366054 h 118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4246" h="1182657">
                  <a:moveTo>
                    <a:pt x="4588" y="366054"/>
                  </a:moveTo>
                  <a:cubicBezTo>
                    <a:pt x="-20098" y="251883"/>
                    <a:pt x="60132" y="-25831"/>
                    <a:pt x="118760" y="1940"/>
                  </a:cubicBezTo>
                  <a:cubicBezTo>
                    <a:pt x="186646" y="32797"/>
                    <a:pt x="248360" y="239540"/>
                    <a:pt x="260704" y="412340"/>
                  </a:cubicBezTo>
                  <a:cubicBezTo>
                    <a:pt x="266874" y="495654"/>
                    <a:pt x="263789" y="649940"/>
                    <a:pt x="297731" y="727083"/>
                  </a:cubicBezTo>
                  <a:cubicBezTo>
                    <a:pt x="328588" y="791883"/>
                    <a:pt x="424246" y="1155997"/>
                    <a:pt x="424246" y="1155997"/>
                  </a:cubicBezTo>
                  <a:cubicBezTo>
                    <a:pt x="384132" y="1193026"/>
                    <a:pt x="306989" y="1180683"/>
                    <a:pt x="306989" y="1180683"/>
                  </a:cubicBezTo>
                  <a:cubicBezTo>
                    <a:pt x="306989" y="1180683"/>
                    <a:pt x="165045" y="899883"/>
                    <a:pt x="131103" y="844340"/>
                  </a:cubicBezTo>
                  <a:cubicBezTo>
                    <a:pt x="90989" y="773369"/>
                    <a:pt x="38532" y="507997"/>
                    <a:pt x="4588" y="366054"/>
                  </a:cubicBezTo>
                  <a:close/>
                </a:path>
              </a:pathLst>
            </a:custGeom>
            <a:solidFill>
              <a:srgbClr val="D1615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EE803253-9CBF-4971-8D4D-6D26713D1A27}"/>
                </a:ext>
              </a:extLst>
            </p:cNvPr>
            <p:cNvGrpSpPr/>
            <p:nvPr/>
          </p:nvGrpSpPr>
          <p:grpSpPr>
            <a:xfrm>
              <a:off x="19896968" y="12015953"/>
              <a:ext cx="400060" cy="362832"/>
              <a:chOff x="19896968" y="12015953"/>
              <a:chExt cx="400060" cy="362832"/>
            </a:xfrm>
          </p:grpSpPr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34AC7AC5-6F31-4903-86EC-E03885916592}"/>
                  </a:ext>
                </a:extLst>
              </p:cNvPr>
              <p:cNvSpPr/>
              <p:nvPr/>
            </p:nvSpPr>
            <p:spPr>
              <a:xfrm>
                <a:off x="19896968" y="12139381"/>
                <a:ext cx="400060" cy="239403"/>
              </a:xfrm>
              <a:custGeom>
                <a:avLst/>
                <a:gdLst>
                  <a:gd name="connsiteX0" fmla="*/ 109543 w 400060"/>
                  <a:gd name="connsiteY0" fmla="*/ 0 h 239403"/>
                  <a:gd name="connsiteX1" fmla="*/ 270000 w 400060"/>
                  <a:gd name="connsiteY1" fmla="*/ 126514 h 239403"/>
                  <a:gd name="connsiteX2" fmla="*/ 72514 w 400060"/>
                  <a:gd name="connsiteY2" fmla="*/ 77143 h 239403"/>
                  <a:gd name="connsiteX3" fmla="*/ 1543 w 400060"/>
                  <a:gd name="connsiteY3" fmla="*/ 52458 h 239403"/>
                  <a:gd name="connsiteX4" fmla="*/ 7715 w 400060"/>
                  <a:gd name="connsiteY4" fmla="*/ 160458 h 239403"/>
                  <a:gd name="connsiteX5" fmla="*/ 242228 w 400060"/>
                  <a:gd name="connsiteY5" fmla="*/ 234514 h 239403"/>
                  <a:gd name="connsiteX6" fmla="*/ 381085 w 400060"/>
                  <a:gd name="connsiteY6" fmla="*/ 234514 h 239403"/>
                  <a:gd name="connsiteX7" fmla="*/ 387257 w 400060"/>
                  <a:gd name="connsiteY7" fmla="*/ 178972 h 239403"/>
                  <a:gd name="connsiteX8" fmla="*/ 109543 w 400060"/>
                  <a:gd name="connsiteY8" fmla="*/ 0 h 239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0060" h="239403">
                    <a:moveTo>
                      <a:pt x="109543" y="0"/>
                    </a:moveTo>
                    <a:cubicBezTo>
                      <a:pt x="109543" y="0"/>
                      <a:pt x="285429" y="114172"/>
                      <a:pt x="270000" y="126514"/>
                    </a:cubicBezTo>
                    <a:cubicBezTo>
                      <a:pt x="257657" y="141943"/>
                      <a:pt x="72514" y="77143"/>
                      <a:pt x="72514" y="77143"/>
                    </a:cubicBezTo>
                    <a:lnTo>
                      <a:pt x="1543" y="52458"/>
                    </a:lnTo>
                    <a:cubicBezTo>
                      <a:pt x="1543" y="52458"/>
                      <a:pt x="-4629" y="135772"/>
                      <a:pt x="7715" y="160458"/>
                    </a:cubicBezTo>
                    <a:cubicBezTo>
                      <a:pt x="81773" y="197486"/>
                      <a:pt x="168172" y="222172"/>
                      <a:pt x="242228" y="234514"/>
                    </a:cubicBezTo>
                    <a:cubicBezTo>
                      <a:pt x="288514" y="243772"/>
                      <a:pt x="371829" y="237600"/>
                      <a:pt x="381085" y="234514"/>
                    </a:cubicBezTo>
                    <a:cubicBezTo>
                      <a:pt x="390344" y="231429"/>
                      <a:pt x="415029" y="206743"/>
                      <a:pt x="387257" y="178972"/>
                    </a:cubicBezTo>
                    <a:cubicBezTo>
                      <a:pt x="322458" y="114172"/>
                      <a:pt x="109543" y="0"/>
                      <a:pt x="109543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BEC91B47-6900-46CB-BC0F-9AF620639D93}"/>
                  </a:ext>
                </a:extLst>
              </p:cNvPr>
              <p:cNvSpPr/>
              <p:nvPr/>
            </p:nvSpPr>
            <p:spPr>
              <a:xfrm>
                <a:off x="19898511" y="12015953"/>
                <a:ext cx="269800" cy="257152"/>
              </a:xfrm>
              <a:custGeom>
                <a:avLst/>
                <a:gdLst>
                  <a:gd name="connsiteX0" fmla="*/ 123429 w 269800"/>
                  <a:gd name="connsiteY0" fmla="*/ 0 h 257152"/>
                  <a:gd name="connsiteX1" fmla="*/ 108000 w 269800"/>
                  <a:gd name="connsiteY1" fmla="*/ 126514 h 257152"/>
                  <a:gd name="connsiteX2" fmla="*/ 268458 w 269800"/>
                  <a:gd name="connsiteY2" fmla="*/ 253029 h 257152"/>
                  <a:gd name="connsiteX3" fmla="*/ 27772 w 269800"/>
                  <a:gd name="connsiteY3" fmla="*/ 209829 h 257152"/>
                  <a:gd name="connsiteX4" fmla="*/ 0 w 269800"/>
                  <a:gd name="connsiteY4" fmla="*/ 178972 h 257152"/>
                  <a:gd name="connsiteX5" fmla="*/ 0 w 269800"/>
                  <a:gd name="connsiteY5" fmla="*/ 43201 h 257152"/>
                  <a:gd name="connsiteX6" fmla="*/ 123429 w 269800"/>
                  <a:gd name="connsiteY6" fmla="*/ 0 h 257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800" h="257152">
                    <a:moveTo>
                      <a:pt x="123429" y="0"/>
                    </a:moveTo>
                    <a:lnTo>
                      <a:pt x="108000" y="126514"/>
                    </a:lnTo>
                    <a:cubicBezTo>
                      <a:pt x="108000" y="126514"/>
                      <a:pt x="286971" y="231429"/>
                      <a:pt x="268458" y="253029"/>
                    </a:cubicBezTo>
                    <a:cubicBezTo>
                      <a:pt x="256114" y="268458"/>
                      <a:pt x="98743" y="237600"/>
                      <a:pt x="27772" y="209829"/>
                    </a:cubicBezTo>
                    <a:cubicBezTo>
                      <a:pt x="3087" y="200571"/>
                      <a:pt x="0" y="178972"/>
                      <a:pt x="0" y="178972"/>
                    </a:cubicBezTo>
                    <a:lnTo>
                      <a:pt x="0" y="43201"/>
                    </a:lnTo>
                    <a:lnTo>
                      <a:pt x="123429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3FC705C5-40E6-40C5-BB06-F08662E1C1D3}"/>
                </a:ext>
              </a:extLst>
            </p:cNvPr>
            <p:cNvGrpSpPr/>
            <p:nvPr/>
          </p:nvGrpSpPr>
          <p:grpSpPr>
            <a:xfrm>
              <a:off x="20615940" y="12015953"/>
              <a:ext cx="400060" cy="362832"/>
              <a:chOff x="20615940" y="12015953"/>
              <a:chExt cx="400060" cy="362832"/>
            </a:xfrm>
          </p:grpSpPr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9C1396F3-8B5E-42E4-BABE-996D0B4FBE1C}"/>
                  </a:ext>
                </a:extLst>
              </p:cNvPr>
              <p:cNvSpPr/>
              <p:nvPr/>
            </p:nvSpPr>
            <p:spPr>
              <a:xfrm>
                <a:off x="20615940" y="12139381"/>
                <a:ext cx="400060" cy="239403"/>
              </a:xfrm>
              <a:custGeom>
                <a:avLst/>
                <a:gdLst>
                  <a:gd name="connsiteX0" fmla="*/ 109542 w 400060"/>
                  <a:gd name="connsiteY0" fmla="*/ 0 h 239403"/>
                  <a:gd name="connsiteX1" fmla="*/ 270000 w 400060"/>
                  <a:gd name="connsiteY1" fmla="*/ 126514 h 239403"/>
                  <a:gd name="connsiteX2" fmla="*/ 72515 w 400060"/>
                  <a:gd name="connsiteY2" fmla="*/ 77143 h 239403"/>
                  <a:gd name="connsiteX3" fmla="*/ 1542 w 400060"/>
                  <a:gd name="connsiteY3" fmla="*/ 52458 h 239403"/>
                  <a:gd name="connsiteX4" fmla="*/ 7714 w 400060"/>
                  <a:gd name="connsiteY4" fmla="*/ 160458 h 239403"/>
                  <a:gd name="connsiteX5" fmla="*/ 242229 w 400060"/>
                  <a:gd name="connsiteY5" fmla="*/ 234514 h 239403"/>
                  <a:gd name="connsiteX6" fmla="*/ 381087 w 400060"/>
                  <a:gd name="connsiteY6" fmla="*/ 234514 h 239403"/>
                  <a:gd name="connsiteX7" fmla="*/ 387257 w 400060"/>
                  <a:gd name="connsiteY7" fmla="*/ 178972 h 239403"/>
                  <a:gd name="connsiteX8" fmla="*/ 109542 w 400060"/>
                  <a:gd name="connsiteY8" fmla="*/ 0 h 239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0060" h="239403">
                    <a:moveTo>
                      <a:pt x="109542" y="0"/>
                    </a:moveTo>
                    <a:cubicBezTo>
                      <a:pt x="109542" y="0"/>
                      <a:pt x="285428" y="114172"/>
                      <a:pt x="270000" y="126514"/>
                    </a:cubicBezTo>
                    <a:cubicBezTo>
                      <a:pt x="257658" y="141943"/>
                      <a:pt x="72515" y="77143"/>
                      <a:pt x="72515" y="77143"/>
                    </a:cubicBezTo>
                    <a:lnTo>
                      <a:pt x="1542" y="52458"/>
                    </a:lnTo>
                    <a:cubicBezTo>
                      <a:pt x="1542" y="52458"/>
                      <a:pt x="-4628" y="135772"/>
                      <a:pt x="7714" y="160458"/>
                    </a:cubicBezTo>
                    <a:cubicBezTo>
                      <a:pt x="81772" y="197486"/>
                      <a:pt x="168172" y="222172"/>
                      <a:pt x="242229" y="234514"/>
                    </a:cubicBezTo>
                    <a:cubicBezTo>
                      <a:pt x="288515" y="243772"/>
                      <a:pt x="371828" y="237600"/>
                      <a:pt x="381087" y="234514"/>
                    </a:cubicBezTo>
                    <a:cubicBezTo>
                      <a:pt x="390343" y="231429"/>
                      <a:pt x="415029" y="206743"/>
                      <a:pt x="387257" y="178972"/>
                    </a:cubicBezTo>
                    <a:cubicBezTo>
                      <a:pt x="322457" y="114172"/>
                      <a:pt x="109542" y="0"/>
                      <a:pt x="109542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607321D0-8F36-4DAB-948C-ED54D14F26CB}"/>
                  </a:ext>
                </a:extLst>
              </p:cNvPr>
              <p:cNvSpPr/>
              <p:nvPr/>
            </p:nvSpPr>
            <p:spPr>
              <a:xfrm>
                <a:off x="20617482" y="12015953"/>
                <a:ext cx="269801" cy="257152"/>
              </a:xfrm>
              <a:custGeom>
                <a:avLst/>
                <a:gdLst>
                  <a:gd name="connsiteX0" fmla="*/ 123429 w 269801"/>
                  <a:gd name="connsiteY0" fmla="*/ 0 h 257152"/>
                  <a:gd name="connsiteX1" fmla="*/ 108000 w 269801"/>
                  <a:gd name="connsiteY1" fmla="*/ 126514 h 257152"/>
                  <a:gd name="connsiteX2" fmla="*/ 268458 w 269801"/>
                  <a:gd name="connsiteY2" fmla="*/ 253029 h 257152"/>
                  <a:gd name="connsiteX3" fmla="*/ 27772 w 269801"/>
                  <a:gd name="connsiteY3" fmla="*/ 209829 h 257152"/>
                  <a:gd name="connsiteX4" fmla="*/ 0 w 269801"/>
                  <a:gd name="connsiteY4" fmla="*/ 178972 h 257152"/>
                  <a:gd name="connsiteX5" fmla="*/ 0 w 269801"/>
                  <a:gd name="connsiteY5" fmla="*/ 43201 h 257152"/>
                  <a:gd name="connsiteX6" fmla="*/ 123429 w 269801"/>
                  <a:gd name="connsiteY6" fmla="*/ 0 h 257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801" h="257152">
                    <a:moveTo>
                      <a:pt x="123429" y="0"/>
                    </a:moveTo>
                    <a:lnTo>
                      <a:pt x="108000" y="126514"/>
                    </a:lnTo>
                    <a:cubicBezTo>
                      <a:pt x="108000" y="126514"/>
                      <a:pt x="286973" y="231429"/>
                      <a:pt x="268458" y="253029"/>
                    </a:cubicBezTo>
                    <a:cubicBezTo>
                      <a:pt x="256116" y="268458"/>
                      <a:pt x="98743" y="237600"/>
                      <a:pt x="27772" y="209829"/>
                    </a:cubicBezTo>
                    <a:cubicBezTo>
                      <a:pt x="3087" y="200571"/>
                      <a:pt x="0" y="178972"/>
                      <a:pt x="0" y="178972"/>
                    </a:cubicBezTo>
                    <a:lnTo>
                      <a:pt x="0" y="43201"/>
                    </a:lnTo>
                    <a:lnTo>
                      <a:pt x="123429" y="0"/>
                    </a:ln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2A47F328-702A-414D-8C04-A4DBF7E73CF7}"/>
                </a:ext>
              </a:extLst>
            </p:cNvPr>
            <p:cNvSpPr/>
            <p:nvPr/>
          </p:nvSpPr>
          <p:spPr>
            <a:xfrm>
              <a:off x="19851507" y="9528867"/>
              <a:ext cx="1000490" cy="2554971"/>
            </a:xfrm>
            <a:custGeom>
              <a:avLst/>
              <a:gdLst>
                <a:gd name="connsiteX0" fmla="*/ 176604 w 1000490"/>
                <a:gd name="connsiteY0" fmla="*/ 0 h 2554971"/>
                <a:gd name="connsiteX1" fmla="*/ 815347 w 1000490"/>
                <a:gd name="connsiteY1" fmla="*/ 0 h 2554971"/>
                <a:gd name="connsiteX2" fmla="*/ 935689 w 1000490"/>
                <a:gd name="connsiteY2" fmla="*/ 465943 h 2554971"/>
                <a:gd name="connsiteX3" fmla="*/ 1000490 w 1000490"/>
                <a:gd name="connsiteY3" fmla="*/ 1586057 h 2554971"/>
                <a:gd name="connsiteX4" fmla="*/ 917175 w 1000490"/>
                <a:gd name="connsiteY4" fmla="*/ 2554972 h 2554971"/>
                <a:gd name="connsiteX5" fmla="*/ 735118 w 1000490"/>
                <a:gd name="connsiteY5" fmla="*/ 2554972 h 2554971"/>
                <a:gd name="connsiteX6" fmla="*/ 676490 w 1000490"/>
                <a:gd name="connsiteY6" fmla="*/ 1626171 h 2554971"/>
                <a:gd name="connsiteX7" fmla="*/ 512948 w 1000490"/>
                <a:gd name="connsiteY7" fmla="*/ 876343 h 2554971"/>
                <a:gd name="connsiteX8" fmla="*/ 448147 w 1000490"/>
                <a:gd name="connsiteY8" fmla="*/ 1607657 h 2554971"/>
                <a:gd name="connsiteX9" fmla="*/ 204376 w 1000490"/>
                <a:gd name="connsiteY9" fmla="*/ 2545715 h 2554971"/>
                <a:gd name="connsiteX10" fmla="*/ 6890 w 1000490"/>
                <a:gd name="connsiteY10" fmla="*/ 2545715 h 2554971"/>
                <a:gd name="connsiteX11" fmla="*/ 74776 w 1000490"/>
                <a:gd name="connsiteY11" fmla="*/ 1598400 h 2554971"/>
                <a:gd name="connsiteX12" fmla="*/ 718 w 1000490"/>
                <a:gd name="connsiteY12" fmla="*/ 425829 h 2554971"/>
                <a:gd name="connsiteX13" fmla="*/ 176604 w 1000490"/>
                <a:gd name="connsiteY13" fmla="*/ 0 h 2554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0490" h="2554971">
                  <a:moveTo>
                    <a:pt x="176604" y="0"/>
                  </a:moveTo>
                  <a:lnTo>
                    <a:pt x="815347" y="0"/>
                  </a:lnTo>
                  <a:cubicBezTo>
                    <a:pt x="815347" y="0"/>
                    <a:pt x="914091" y="308572"/>
                    <a:pt x="935689" y="465943"/>
                  </a:cubicBezTo>
                  <a:cubicBezTo>
                    <a:pt x="944948" y="543085"/>
                    <a:pt x="1000490" y="1586057"/>
                    <a:pt x="1000490" y="1586057"/>
                  </a:cubicBezTo>
                  <a:lnTo>
                    <a:pt x="917175" y="2554972"/>
                  </a:lnTo>
                  <a:lnTo>
                    <a:pt x="735118" y="2554972"/>
                  </a:lnTo>
                  <a:lnTo>
                    <a:pt x="676490" y="1626171"/>
                  </a:lnTo>
                  <a:lnTo>
                    <a:pt x="512948" y="876343"/>
                  </a:lnTo>
                  <a:lnTo>
                    <a:pt x="448147" y="1607657"/>
                  </a:lnTo>
                  <a:lnTo>
                    <a:pt x="204376" y="2545715"/>
                  </a:lnTo>
                  <a:lnTo>
                    <a:pt x="6890" y="2545715"/>
                  </a:lnTo>
                  <a:lnTo>
                    <a:pt x="74776" y="1598400"/>
                  </a:lnTo>
                  <a:cubicBezTo>
                    <a:pt x="74776" y="1598400"/>
                    <a:pt x="-8539" y="515314"/>
                    <a:pt x="718" y="425829"/>
                  </a:cubicBezTo>
                  <a:cubicBezTo>
                    <a:pt x="19233" y="299314"/>
                    <a:pt x="176604" y="0"/>
                    <a:pt x="176604" y="0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4115B133-A9F1-4501-B084-A375E316C48A}"/>
                </a:ext>
              </a:extLst>
            </p:cNvPr>
            <p:cNvSpPr/>
            <p:nvPr/>
          </p:nvSpPr>
          <p:spPr>
            <a:xfrm>
              <a:off x="20052797" y="9920753"/>
              <a:ext cx="320915" cy="2156914"/>
            </a:xfrm>
            <a:custGeom>
              <a:avLst/>
              <a:gdLst>
                <a:gd name="connsiteX0" fmla="*/ 6172 w 320915"/>
                <a:gd name="connsiteY0" fmla="*/ 2156914 h 2156914"/>
                <a:gd name="connsiteX1" fmla="*/ 6172 w 320915"/>
                <a:gd name="connsiteY1" fmla="*/ 2156914 h 2156914"/>
                <a:gd name="connsiteX2" fmla="*/ 0 w 320915"/>
                <a:gd name="connsiteY2" fmla="*/ 2150743 h 2156914"/>
                <a:gd name="connsiteX3" fmla="*/ 243772 w 320915"/>
                <a:gd name="connsiteY3" fmla="*/ 1212686 h 2156914"/>
                <a:gd name="connsiteX4" fmla="*/ 308571 w 320915"/>
                <a:gd name="connsiteY4" fmla="*/ 481372 h 2156914"/>
                <a:gd name="connsiteX5" fmla="*/ 308571 w 320915"/>
                <a:gd name="connsiteY5" fmla="*/ 6172 h 2156914"/>
                <a:gd name="connsiteX6" fmla="*/ 314743 w 320915"/>
                <a:gd name="connsiteY6" fmla="*/ 0 h 2156914"/>
                <a:gd name="connsiteX7" fmla="*/ 320915 w 320915"/>
                <a:gd name="connsiteY7" fmla="*/ 6172 h 2156914"/>
                <a:gd name="connsiteX8" fmla="*/ 320915 w 320915"/>
                <a:gd name="connsiteY8" fmla="*/ 481372 h 2156914"/>
                <a:gd name="connsiteX9" fmla="*/ 256114 w 320915"/>
                <a:gd name="connsiteY9" fmla="*/ 1212686 h 2156914"/>
                <a:gd name="connsiteX10" fmla="*/ 12344 w 320915"/>
                <a:gd name="connsiteY10" fmla="*/ 2150743 h 2156914"/>
                <a:gd name="connsiteX11" fmla="*/ 6172 w 320915"/>
                <a:gd name="connsiteY11" fmla="*/ 2156914 h 2156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915" h="2156914">
                  <a:moveTo>
                    <a:pt x="6172" y="2156914"/>
                  </a:moveTo>
                  <a:cubicBezTo>
                    <a:pt x="6172" y="2156914"/>
                    <a:pt x="6172" y="2156914"/>
                    <a:pt x="6172" y="2156914"/>
                  </a:cubicBezTo>
                  <a:cubicBezTo>
                    <a:pt x="3087" y="2156914"/>
                    <a:pt x="0" y="2153829"/>
                    <a:pt x="0" y="2150743"/>
                  </a:cubicBezTo>
                  <a:lnTo>
                    <a:pt x="243772" y="1212686"/>
                  </a:lnTo>
                  <a:lnTo>
                    <a:pt x="308571" y="481372"/>
                  </a:lnTo>
                  <a:lnTo>
                    <a:pt x="308571" y="6172"/>
                  </a:lnTo>
                  <a:cubicBezTo>
                    <a:pt x="308571" y="3086"/>
                    <a:pt x="311658" y="0"/>
                    <a:pt x="314743" y="0"/>
                  </a:cubicBezTo>
                  <a:cubicBezTo>
                    <a:pt x="317828" y="0"/>
                    <a:pt x="320915" y="3086"/>
                    <a:pt x="320915" y="6172"/>
                  </a:cubicBezTo>
                  <a:lnTo>
                    <a:pt x="320915" y="481372"/>
                  </a:lnTo>
                  <a:lnTo>
                    <a:pt x="256114" y="1212686"/>
                  </a:lnTo>
                  <a:lnTo>
                    <a:pt x="12344" y="2150743"/>
                  </a:lnTo>
                  <a:cubicBezTo>
                    <a:pt x="9257" y="2153829"/>
                    <a:pt x="9257" y="2156914"/>
                    <a:pt x="6172" y="2156914"/>
                  </a:cubicBezTo>
                  <a:close/>
                </a:path>
              </a:pathLst>
            </a:custGeom>
            <a:solidFill>
              <a:srgbClr val="6C5D6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8BCE4140-E2A0-4340-B499-807D82D34DEC}"/>
                </a:ext>
              </a:extLst>
            </p:cNvPr>
            <p:cNvSpPr/>
            <p:nvPr/>
          </p:nvSpPr>
          <p:spPr>
            <a:xfrm>
              <a:off x="20000339" y="8641532"/>
              <a:ext cx="890378" cy="1050878"/>
            </a:xfrm>
            <a:custGeom>
              <a:avLst/>
              <a:gdLst>
                <a:gd name="connsiteX0" fmla="*/ 111087 w 890378"/>
                <a:gd name="connsiteY0" fmla="*/ 353507 h 1050878"/>
                <a:gd name="connsiteX1" fmla="*/ 175886 w 890378"/>
                <a:gd name="connsiteY1" fmla="*/ 32593 h 1050878"/>
                <a:gd name="connsiteX2" fmla="*/ 555429 w 890378"/>
                <a:gd name="connsiteY2" fmla="*/ 23336 h 1050878"/>
                <a:gd name="connsiteX3" fmla="*/ 839315 w 890378"/>
                <a:gd name="connsiteY3" fmla="*/ 171450 h 1050878"/>
                <a:gd name="connsiteX4" fmla="*/ 796116 w 890378"/>
                <a:gd name="connsiteY4" fmla="*/ 723793 h 1050878"/>
                <a:gd name="connsiteX5" fmla="*/ 725143 w 890378"/>
                <a:gd name="connsiteY5" fmla="*/ 1050879 h 1050878"/>
                <a:gd name="connsiteX6" fmla="*/ 0 w 890378"/>
                <a:gd name="connsiteY6" fmla="*/ 927450 h 1050878"/>
                <a:gd name="connsiteX7" fmla="*/ 111087 w 890378"/>
                <a:gd name="connsiteY7" fmla="*/ 353507 h 1050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0378" h="1050878">
                  <a:moveTo>
                    <a:pt x="111087" y="353507"/>
                  </a:moveTo>
                  <a:cubicBezTo>
                    <a:pt x="104915" y="319564"/>
                    <a:pt x="46286" y="78879"/>
                    <a:pt x="175886" y="32593"/>
                  </a:cubicBezTo>
                  <a:cubicBezTo>
                    <a:pt x="286973" y="-7522"/>
                    <a:pt x="438172" y="-10607"/>
                    <a:pt x="555429" y="23336"/>
                  </a:cubicBezTo>
                  <a:cubicBezTo>
                    <a:pt x="685029" y="60364"/>
                    <a:pt x="811544" y="100478"/>
                    <a:pt x="839315" y="171450"/>
                  </a:cubicBezTo>
                  <a:cubicBezTo>
                    <a:pt x="922629" y="375107"/>
                    <a:pt x="901029" y="538650"/>
                    <a:pt x="796116" y="723793"/>
                  </a:cubicBezTo>
                  <a:cubicBezTo>
                    <a:pt x="765259" y="779336"/>
                    <a:pt x="718973" y="912021"/>
                    <a:pt x="725143" y="1050879"/>
                  </a:cubicBezTo>
                  <a:cubicBezTo>
                    <a:pt x="725143" y="1050879"/>
                    <a:pt x="388801" y="1023107"/>
                    <a:pt x="0" y="927450"/>
                  </a:cubicBezTo>
                  <a:cubicBezTo>
                    <a:pt x="89486" y="720707"/>
                    <a:pt x="117259" y="378193"/>
                    <a:pt x="111087" y="353507"/>
                  </a:cubicBezTo>
                  <a:close/>
                </a:path>
              </a:pathLst>
            </a:custGeom>
            <a:solidFill>
              <a:srgbClr val="D1615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6490659-2D6E-49AE-A0B6-55D29C131B6E}"/>
                </a:ext>
              </a:extLst>
            </p:cNvPr>
            <p:cNvSpPr/>
            <p:nvPr/>
          </p:nvSpPr>
          <p:spPr>
            <a:xfrm>
              <a:off x="20327426" y="8325439"/>
              <a:ext cx="280799" cy="299314"/>
            </a:xfrm>
            <a:custGeom>
              <a:avLst/>
              <a:gdLst>
                <a:gd name="connsiteX0" fmla="*/ 280799 w 280799"/>
                <a:gd name="connsiteY0" fmla="*/ 299314 h 299314"/>
                <a:gd name="connsiteX1" fmla="*/ 0 w 280799"/>
                <a:gd name="connsiteY1" fmla="*/ 265372 h 299314"/>
                <a:gd name="connsiteX2" fmla="*/ 6172 w 280799"/>
                <a:gd name="connsiteY2" fmla="*/ 120343 h 299314"/>
                <a:gd name="connsiteX3" fmla="*/ 24685 w 280799"/>
                <a:gd name="connsiteY3" fmla="*/ 9257 h 299314"/>
                <a:gd name="connsiteX4" fmla="*/ 101828 w 280799"/>
                <a:gd name="connsiteY4" fmla="*/ 0 h 299314"/>
                <a:gd name="connsiteX5" fmla="*/ 249942 w 280799"/>
                <a:gd name="connsiteY5" fmla="*/ 104915 h 299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0799" h="299314">
                  <a:moveTo>
                    <a:pt x="280799" y="299314"/>
                  </a:moveTo>
                  <a:lnTo>
                    <a:pt x="0" y="265372"/>
                  </a:lnTo>
                  <a:lnTo>
                    <a:pt x="6172" y="120343"/>
                  </a:lnTo>
                  <a:lnTo>
                    <a:pt x="24685" y="9257"/>
                  </a:lnTo>
                  <a:lnTo>
                    <a:pt x="101828" y="0"/>
                  </a:lnTo>
                  <a:lnTo>
                    <a:pt x="249942" y="104915"/>
                  </a:ln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2ECBC6AB-BD6B-47FC-8CAE-D392A2B61B66}"/>
                </a:ext>
              </a:extLst>
            </p:cNvPr>
            <p:cNvSpPr/>
            <p:nvPr/>
          </p:nvSpPr>
          <p:spPr>
            <a:xfrm>
              <a:off x="20540142" y="7975946"/>
              <a:ext cx="432197" cy="678923"/>
            </a:xfrm>
            <a:custGeom>
              <a:avLst/>
              <a:gdLst>
                <a:gd name="connsiteX0" fmla="*/ 197 w 432197"/>
                <a:gd name="connsiteY0" fmla="*/ 639550 h 678923"/>
                <a:gd name="connsiteX1" fmla="*/ 432197 w 432197"/>
                <a:gd name="connsiteY1" fmla="*/ 630293 h 678923"/>
                <a:gd name="connsiteX2" fmla="*/ 333456 w 432197"/>
                <a:gd name="connsiteY2" fmla="*/ 207550 h 678923"/>
                <a:gd name="connsiteX3" fmla="*/ 24884 w 432197"/>
                <a:gd name="connsiteY3" fmla="*/ 3893 h 678923"/>
                <a:gd name="connsiteX4" fmla="*/ 43398 w 432197"/>
                <a:gd name="connsiteY4" fmla="*/ 161264 h 678923"/>
                <a:gd name="connsiteX5" fmla="*/ 68083 w 432197"/>
                <a:gd name="connsiteY5" fmla="*/ 312464 h 678923"/>
                <a:gd name="connsiteX6" fmla="*/ 43398 w 432197"/>
                <a:gd name="connsiteY6" fmla="*/ 472921 h 678923"/>
                <a:gd name="connsiteX7" fmla="*/ 197 w 432197"/>
                <a:gd name="connsiteY7" fmla="*/ 639550 h 678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2197" h="678923">
                  <a:moveTo>
                    <a:pt x="197" y="639550"/>
                  </a:moveTo>
                  <a:cubicBezTo>
                    <a:pt x="3284" y="692007"/>
                    <a:pt x="321112" y="695093"/>
                    <a:pt x="432197" y="630293"/>
                  </a:cubicBezTo>
                  <a:cubicBezTo>
                    <a:pt x="330369" y="451321"/>
                    <a:pt x="339626" y="275436"/>
                    <a:pt x="333456" y="207550"/>
                  </a:cubicBezTo>
                  <a:cubicBezTo>
                    <a:pt x="321112" y="74864"/>
                    <a:pt x="145226" y="-20793"/>
                    <a:pt x="24884" y="3893"/>
                  </a:cubicBezTo>
                  <a:cubicBezTo>
                    <a:pt x="21798" y="3893"/>
                    <a:pt x="27969" y="105722"/>
                    <a:pt x="43398" y="161264"/>
                  </a:cubicBezTo>
                  <a:cubicBezTo>
                    <a:pt x="58827" y="210636"/>
                    <a:pt x="68083" y="260007"/>
                    <a:pt x="68083" y="312464"/>
                  </a:cubicBezTo>
                  <a:cubicBezTo>
                    <a:pt x="68083" y="368007"/>
                    <a:pt x="55742" y="420464"/>
                    <a:pt x="43398" y="472921"/>
                  </a:cubicBezTo>
                  <a:cubicBezTo>
                    <a:pt x="31054" y="516122"/>
                    <a:pt x="-2888" y="596350"/>
                    <a:pt x="197" y="639550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AC8995F8-1406-49D5-BFCA-6964D654050E}"/>
                </a:ext>
              </a:extLst>
            </p:cNvPr>
            <p:cNvSpPr/>
            <p:nvPr/>
          </p:nvSpPr>
          <p:spPr>
            <a:xfrm>
              <a:off x="20354836" y="8016774"/>
              <a:ext cx="426190" cy="574173"/>
            </a:xfrm>
            <a:custGeom>
              <a:avLst/>
              <a:gdLst>
                <a:gd name="connsiteX0" fmla="*/ 426190 w 426190"/>
                <a:gd name="connsiteY0" fmla="*/ 213008 h 574173"/>
                <a:gd name="connsiteX1" fmla="*/ 376818 w 426190"/>
                <a:gd name="connsiteY1" fmla="*/ 466036 h 574173"/>
                <a:gd name="connsiteX2" fmla="*/ 210190 w 426190"/>
                <a:gd name="connsiteY2" fmla="*/ 574036 h 574173"/>
                <a:gd name="connsiteX3" fmla="*/ 15789 w 426190"/>
                <a:gd name="connsiteY3" fmla="*/ 398150 h 574173"/>
                <a:gd name="connsiteX4" fmla="*/ 12704 w 426190"/>
                <a:gd name="connsiteY4" fmla="*/ 166722 h 574173"/>
                <a:gd name="connsiteX5" fmla="*/ 256476 w 426190"/>
                <a:gd name="connsiteY5" fmla="*/ 93 h 574173"/>
                <a:gd name="connsiteX6" fmla="*/ 426190 w 426190"/>
                <a:gd name="connsiteY6" fmla="*/ 213008 h 574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190" h="574173">
                  <a:moveTo>
                    <a:pt x="426190" y="213008"/>
                  </a:moveTo>
                  <a:cubicBezTo>
                    <a:pt x="426190" y="213008"/>
                    <a:pt x="423103" y="404322"/>
                    <a:pt x="376818" y="466036"/>
                  </a:cubicBezTo>
                  <a:cubicBezTo>
                    <a:pt x="330532" y="527750"/>
                    <a:pt x="259561" y="577122"/>
                    <a:pt x="210190" y="574036"/>
                  </a:cubicBezTo>
                  <a:cubicBezTo>
                    <a:pt x="142304" y="567865"/>
                    <a:pt x="43561" y="469121"/>
                    <a:pt x="15789" y="398150"/>
                  </a:cubicBezTo>
                  <a:cubicBezTo>
                    <a:pt x="-11982" y="327179"/>
                    <a:pt x="3447" y="219179"/>
                    <a:pt x="12704" y="166722"/>
                  </a:cubicBezTo>
                  <a:cubicBezTo>
                    <a:pt x="28132" y="71065"/>
                    <a:pt x="68246" y="-2992"/>
                    <a:pt x="256476" y="93"/>
                  </a:cubicBezTo>
                  <a:cubicBezTo>
                    <a:pt x="339789" y="3179"/>
                    <a:pt x="416932" y="132779"/>
                    <a:pt x="426190" y="213008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0F04A99E-BAD6-42E6-86FA-2DD93B734DB4}"/>
                </a:ext>
              </a:extLst>
            </p:cNvPr>
            <p:cNvSpPr/>
            <p:nvPr/>
          </p:nvSpPr>
          <p:spPr>
            <a:xfrm>
              <a:off x="20563748" y="8291496"/>
              <a:ext cx="63400" cy="132685"/>
            </a:xfrm>
            <a:custGeom>
              <a:avLst/>
              <a:gdLst>
                <a:gd name="connsiteX0" fmla="*/ 38306 w 63400"/>
                <a:gd name="connsiteY0" fmla="*/ 132685 h 132685"/>
                <a:gd name="connsiteX1" fmla="*/ 4364 w 63400"/>
                <a:gd name="connsiteY1" fmla="*/ 126514 h 132685"/>
                <a:gd name="connsiteX2" fmla="*/ 1279 w 63400"/>
                <a:gd name="connsiteY2" fmla="*/ 120343 h 132685"/>
                <a:gd name="connsiteX3" fmla="*/ 7449 w 63400"/>
                <a:gd name="connsiteY3" fmla="*/ 117257 h 132685"/>
                <a:gd name="connsiteX4" fmla="*/ 47564 w 63400"/>
                <a:gd name="connsiteY4" fmla="*/ 120343 h 132685"/>
                <a:gd name="connsiteX5" fmla="*/ 50649 w 63400"/>
                <a:gd name="connsiteY5" fmla="*/ 117257 h 132685"/>
                <a:gd name="connsiteX6" fmla="*/ 38306 w 63400"/>
                <a:gd name="connsiteY6" fmla="*/ 6171 h 132685"/>
                <a:gd name="connsiteX7" fmla="*/ 44478 w 63400"/>
                <a:gd name="connsiteY7" fmla="*/ 0 h 132685"/>
                <a:gd name="connsiteX8" fmla="*/ 50649 w 63400"/>
                <a:gd name="connsiteY8" fmla="*/ 6171 h 132685"/>
                <a:gd name="connsiteX9" fmla="*/ 62993 w 63400"/>
                <a:gd name="connsiteY9" fmla="*/ 120343 h 132685"/>
                <a:gd name="connsiteX10" fmla="*/ 56821 w 63400"/>
                <a:gd name="connsiteY10" fmla="*/ 132685 h 132685"/>
                <a:gd name="connsiteX11" fmla="*/ 38306 w 63400"/>
                <a:gd name="connsiteY11" fmla="*/ 132685 h 132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3400" h="132685">
                  <a:moveTo>
                    <a:pt x="38306" y="132685"/>
                  </a:moveTo>
                  <a:cubicBezTo>
                    <a:pt x="22877" y="132685"/>
                    <a:pt x="7449" y="126514"/>
                    <a:pt x="4364" y="126514"/>
                  </a:cubicBezTo>
                  <a:cubicBezTo>
                    <a:pt x="1279" y="126514"/>
                    <a:pt x="-1808" y="123429"/>
                    <a:pt x="1279" y="120343"/>
                  </a:cubicBezTo>
                  <a:cubicBezTo>
                    <a:pt x="1279" y="117257"/>
                    <a:pt x="4364" y="114171"/>
                    <a:pt x="7449" y="117257"/>
                  </a:cubicBezTo>
                  <a:cubicBezTo>
                    <a:pt x="19792" y="120343"/>
                    <a:pt x="41393" y="126514"/>
                    <a:pt x="47564" y="120343"/>
                  </a:cubicBezTo>
                  <a:cubicBezTo>
                    <a:pt x="47564" y="120343"/>
                    <a:pt x="50649" y="117257"/>
                    <a:pt x="50649" y="117257"/>
                  </a:cubicBezTo>
                  <a:cubicBezTo>
                    <a:pt x="53734" y="101828"/>
                    <a:pt x="44478" y="33943"/>
                    <a:pt x="38306" y="6171"/>
                  </a:cubicBezTo>
                  <a:cubicBezTo>
                    <a:pt x="38306" y="3085"/>
                    <a:pt x="41393" y="0"/>
                    <a:pt x="44478" y="0"/>
                  </a:cubicBezTo>
                  <a:cubicBezTo>
                    <a:pt x="47564" y="0"/>
                    <a:pt x="50649" y="3085"/>
                    <a:pt x="50649" y="6171"/>
                  </a:cubicBezTo>
                  <a:cubicBezTo>
                    <a:pt x="50649" y="9257"/>
                    <a:pt x="66078" y="98743"/>
                    <a:pt x="62993" y="120343"/>
                  </a:cubicBezTo>
                  <a:cubicBezTo>
                    <a:pt x="62993" y="126514"/>
                    <a:pt x="59906" y="129600"/>
                    <a:pt x="56821" y="132685"/>
                  </a:cubicBezTo>
                  <a:cubicBezTo>
                    <a:pt x="47564" y="132685"/>
                    <a:pt x="41393" y="132685"/>
                    <a:pt x="38306" y="132685"/>
                  </a:cubicBezTo>
                  <a:close/>
                </a:path>
              </a:pathLst>
            </a:custGeom>
            <a:solidFill>
              <a:srgbClr val="E58777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F68AF02C-9D14-4B3E-BF52-FC439194700E}"/>
                </a:ext>
              </a:extLst>
            </p:cNvPr>
            <p:cNvSpPr/>
            <p:nvPr/>
          </p:nvSpPr>
          <p:spPr>
            <a:xfrm>
              <a:off x="20524911" y="8467382"/>
              <a:ext cx="104915" cy="62219"/>
            </a:xfrm>
            <a:custGeom>
              <a:avLst/>
              <a:gdLst>
                <a:gd name="connsiteX0" fmla="*/ 0 w 104915"/>
                <a:gd name="connsiteY0" fmla="*/ 0 h 62219"/>
                <a:gd name="connsiteX1" fmla="*/ 104915 w 104915"/>
                <a:gd name="connsiteY1" fmla="*/ 15429 h 62219"/>
                <a:gd name="connsiteX2" fmla="*/ 46286 w 104915"/>
                <a:gd name="connsiteY2" fmla="*/ 61714 h 62219"/>
                <a:gd name="connsiteX3" fmla="*/ 0 w 104915"/>
                <a:gd name="connsiteY3" fmla="*/ 0 h 62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915" h="62219">
                  <a:moveTo>
                    <a:pt x="0" y="0"/>
                  </a:moveTo>
                  <a:cubicBezTo>
                    <a:pt x="52458" y="30857"/>
                    <a:pt x="104915" y="15429"/>
                    <a:pt x="104915" y="15429"/>
                  </a:cubicBezTo>
                  <a:cubicBezTo>
                    <a:pt x="104915" y="15429"/>
                    <a:pt x="83315" y="67886"/>
                    <a:pt x="46286" y="61714"/>
                  </a:cubicBezTo>
                  <a:cubicBezTo>
                    <a:pt x="3087" y="5245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2755153A-64A2-4EC9-9762-DFD666CB121C}"/>
                </a:ext>
              </a:extLst>
            </p:cNvPr>
            <p:cNvSpPr/>
            <p:nvPr/>
          </p:nvSpPr>
          <p:spPr>
            <a:xfrm>
              <a:off x="20672428" y="8276068"/>
              <a:ext cx="40712" cy="40113"/>
            </a:xfrm>
            <a:custGeom>
              <a:avLst/>
              <a:gdLst>
                <a:gd name="connsiteX0" fmla="*/ 598 w 40712"/>
                <a:gd name="connsiteY0" fmla="*/ 21600 h 40113"/>
                <a:gd name="connsiteX1" fmla="*/ 22197 w 40712"/>
                <a:gd name="connsiteY1" fmla="*/ 40114 h 40113"/>
                <a:gd name="connsiteX2" fmla="*/ 40712 w 40712"/>
                <a:gd name="connsiteY2" fmla="*/ 18514 h 40113"/>
                <a:gd name="connsiteX3" fmla="*/ 19112 w 40712"/>
                <a:gd name="connsiteY3" fmla="*/ 0 h 40113"/>
                <a:gd name="connsiteX4" fmla="*/ 598 w 40712"/>
                <a:gd name="connsiteY4" fmla="*/ 21600 h 40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12" h="40113">
                  <a:moveTo>
                    <a:pt x="598" y="21600"/>
                  </a:moveTo>
                  <a:cubicBezTo>
                    <a:pt x="598" y="33943"/>
                    <a:pt x="9855" y="40114"/>
                    <a:pt x="22197" y="40114"/>
                  </a:cubicBezTo>
                  <a:cubicBezTo>
                    <a:pt x="34541" y="40114"/>
                    <a:pt x="40712" y="30857"/>
                    <a:pt x="40712" y="18514"/>
                  </a:cubicBezTo>
                  <a:cubicBezTo>
                    <a:pt x="40712" y="6171"/>
                    <a:pt x="31456" y="0"/>
                    <a:pt x="19112" y="0"/>
                  </a:cubicBezTo>
                  <a:cubicBezTo>
                    <a:pt x="6768" y="3085"/>
                    <a:pt x="-2488" y="12343"/>
                    <a:pt x="598" y="21600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DED33272-C3C5-4DA8-BF69-22DCA2C6DEAA}"/>
                </a:ext>
              </a:extLst>
            </p:cNvPr>
            <p:cNvSpPr/>
            <p:nvPr/>
          </p:nvSpPr>
          <p:spPr>
            <a:xfrm>
              <a:off x="20481113" y="8254467"/>
              <a:ext cx="40712" cy="40114"/>
            </a:xfrm>
            <a:custGeom>
              <a:avLst/>
              <a:gdLst>
                <a:gd name="connsiteX0" fmla="*/ 598 w 40712"/>
                <a:gd name="connsiteY0" fmla="*/ 21600 h 40114"/>
                <a:gd name="connsiteX1" fmla="*/ 22199 w 40712"/>
                <a:gd name="connsiteY1" fmla="*/ 40114 h 40114"/>
                <a:gd name="connsiteX2" fmla="*/ 40712 w 40712"/>
                <a:gd name="connsiteY2" fmla="*/ 18514 h 40114"/>
                <a:gd name="connsiteX3" fmla="*/ 19112 w 40712"/>
                <a:gd name="connsiteY3" fmla="*/ 0 h 40114"/>
                <a:gd name="connsiteX4" fmla="*/ 598 w 40712"/>
                <a:gd name="connsiteY4" fmla="*/ 21600 h 4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12" h="40114">
                  <a:moveTo>
                    <a:pt x="598" y="21600"/>
                  </a:moveTo>
                  <a:cubicBezTo>
                    <a:pt x="598" y="33943"/>
                    <a:pt x="9855" y="40114"/>
                    <a:pt x="22199" y="40114"/>
                  </a:cubicBezTo>
                  <a:cubicBezTo>
                    <a:pt x="34540" y="40114"/>
                    <a:pt x="40712" y="30857"/>
                    <a:pt x="40712" y="18514"/>
                  </a:cubicBezTo>
                  <a:cubicBezTo>
                    <a:pt x="40712" y="6172"/>
                    <a:pt x="31456" y="0"/>
                    <a:pt x="19112" y="0"/>
                  </a:cubicBezTo>
                  <a:cubicBezTo>
                    <a:pt x="6770" y="3086"/>
                    <a:pt x="-2488" y="12343"/>
                    <a:pt x="598" y="21600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AF427B84-63D0-4637-8274-31F1DD50C499}"/>
                </a:ext>
              </a:extLst>
            </p:cNvPr>
            <p:cNvSpPr/>
            <p:nvPr/>
          </p:nvSpPr>
          <p:spPr>
            <a:xfrm>
              <a:off x="20654511" y="8225890"/>
              <a:ext cx="90764" cy="40920"/>
            </a:xfrm>
            <a:custGeom>
              <a:avLst/>
              <a:gdLst>
                <a:gd name="connsiteX0" fmla="*/ 80230 w 90764"/>
                <a:gd name="connsiteY0" fmla="*/ 40920 h 40920"/>
                <a:gd name="connsiteX1" fmla="*/ 74058 w 90764"/>
                <a:gd name="connsiteY1" fmla="*/ 37835 h 40920"/>
                <a:gd name="connsiteX2" fmla="*/ 9257 w 90764"/>
                <a:gd name="connsiteY2" fmla="*/ 19321 h 40920"/>
                <a:gd name="connsiteX3" fmla="*/ 0 w 90764"/>
                <a:gd name="connsiteY3" fmla="*/ 13149 h 40920"/>
                <a:gd name="connsiteX4" fmla="*/ 6172 w 90764"/>
                <a:gd name="connsiteY4" fmla="*/ 3892 h 40920"/>
                <a:gd name="connsiteX5" fmla="*/ 89486 w 90764"/>
                <a:gd name="connsiteY5" fmla="*/ 28577 h 40920"/>
                <a:gd name="connsiteX6" fmla="*/ 86400 w 90764"/>
                <a:gd name="connsiteY6" fmla="*/ 40920 h 40920"/>
                <a:gd name="connsiteX7" fmla="*/ 80230 w 90764"/>
                <a:gd name="connsiteY7" fmla="*/ 40920 h 4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764" h="40920">
                  <a:moveTo>
                    <a:pt x="80230" y="40920"/>
                  </a:moveTo>
                  <a:cubicBezTo>
                    <a:pt x="77143" y="40920"/>
                    <a:pt x="74058" y="40920"/>
                    <a:pt x="74058" y="37835"/>
                  </a:cubicBezTo>
                  <a:cubicBezTo>
                    <a:pt x="52458" y="6977"/>
                    <a:pt x="9257" y="19321"/>
                    <a:pt x="9257" y="19321"/>
                  </a:cubicBezTo>
                  <a:cubicBezTo>
                    <a:pt x="6172" y="19321"/>
                    <a:pt x="0" y="19321"/>
                    <a:pt x="0" y="13149"/>
                  </a:cubicBezTo>
                  <a:cubicBezTo>
                    <a:pt x="0" y="10063"/>
                    <a:pt x="0" y="3892"/>
                    <a:pt x="6172" y="3892"/>
                  </a:cubicBezTo>
                  <a:cubicBezTo>
                    <a:pt x="24685" y="-2280"/>
                    <a:pt x="67886" y="-5365"/>
                    <a:pt x="89486" y="28577"/>
                  </a:cubicBezTo>
                  <a:cubicBezTo>
                    <a:pt x="92571" y="31663"/>
                    <a:pt x="89486" y="37835"/>
                    <a:pt x="86400" y="40920"/>
                  </a:cubicBezTo>
                  <a:cubicBezTo>
                    <a:pt x="83315" y="40920"/>
                    <a:pt x="83315" y="40920"/>
                    <a:pt x="80230" y="40920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E2012EEB-64B9-43CD-89B1-13AC5318EA7C}"/>
                </a:ext>
              </a:extLst>
            </p:cNvPr>
            <p:cNvSpPr/>
            <p:nvPr/>
          </p:nvSpPr>
          <p:spPr>
            <a:xfrm>
              <a:off x="20458085" y="8197574"/>
              <a:ext cx="93826" cy="35293"/>
            </a:xfrm>
            <a:custGeom>
              <a:avLst/>
              <a:gdLst>
                <a:gd name="connsiteX0" fmla="*/ 88426 w 93826"/>
                <a:gd name="connsiteY0" fmla="*/ 35293 h 35293"/>
                <a:gd name="connsiteX1" fmla="*/ 82254 w 93826"/>
                <a:gd name="connsiteY1" fmla="*/ 32208 h 35293"/>
                <a:gd name="connsiteX2" fmla="*/ 14370 w 93826"/>
                <a:gd name="connsiteY2" fmla="*/ 29122 h 35293"/>
                <a:gd name="connsiteX3" fmla="*/ 2026 w 93826"/>
                <a:gd name="connsiteY3" fmla="*/ 26036 h 35293"/>
                <a:gd name="connsiteX4" fmla="*/ 5111 w 93826"/>
                <a:gd name="connsiteY4" fmla="*/ 13693 h 35293"/>
                <a:gd name="connsiteX5" fmla="*/ 91513 w 93826"/>
                <a:gd name="connsiteY5" fmla="*/ 16779 h 35293"/>
                <a:gd name="connsiteX6" fmla="*/ 91513 w 93826"/>
                <a:gd name="connsiteY6" fmla="*/ 29122 h 35293"/>
                <a:gd name="connsiteX7" fmla="*/ 88426 w 93826"/>
                <a:gd name="connsiteY7" fmla="*/ 35293 h 35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26" h="35293">
                  <a:moveTo>
                    <a:pt x="88426" y="35293"/>
                  </a:moveTo>
                  <a:cubicBezTo>
                    <a:pt x="85341" y="35293"/>
                    <a:pt x="85341" y="35293"/>
                    <a:pt x="82254" y="32208"/>
                  </a:cubicBezTo>
                  <a:cubicBezTo>
                    <a:pt x="51397" y="4436"/>
                    <a:pt x="17455" y="29122"/>
                    <a:pt x="14370" y="29122"/>
                  </a:cubicBezTo>
                  <a:cubicBezTo>
                    <a:pt x="11283" y="32208"/>
                    <a:pt x="5111" y="32208"/>
                    <a:pt x="2026" y="26036"/>
                  </a:cubicBezTo>
                  <a:cubicBezTo>
                    <a:pt x="-1059" y="22950"/>
                    <a:pt x="-1059" y="16779"/>
                    <a:pt x="5111" y="13693"/>
                  </a:cubicBezTo>
                  <a:cubicBezTo>
                    <a:pt x="20540" y="1350"/>
                    <a:pt x="57569" y="-10993"/>
                    <a:pt x="91513" y="16779"/>
                  </a:cubicBezTo>
                  <a:cubicBezTo>
                    <a:pt x="94598" y="19864"/>
                    <a:pt x="94598" y="26036"/>
                    <a:pt x="91513" y="29122"/>
                  </a:cubicBezTo>
                  <a:cubicBezTo>
                    <a:pt x="94598" y="35293"/>
                    <a:pt x="91513" y="35293"/>
                    <a:pt x="88426" y="35293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25DF63B8-636E-4601-8126-303BDB75B8F1}"/>
                </a:ext>
              </a:extLst>
            </p:cNvPr>
            <p:cNvSpPr/>
            <p:nvPr/>
          </p:nvSpPr>
          <p:spPr>
            <a:xfrm>
              <a:off x="20554951" y="7979839"/>
              <a:ext cx="249927" cy="296228"/>
            </a:xfrm>
            <a:custGeom>
              <a:avLst/>
              <a:gdLst>
                <a:gd name="connsiteX0" fmla="*/ 10076 w 249927"/>
                <a:gd name="connsiteY0" fmla="*/ 0 h 296228"/>
                <a:gd name="connsiteX1" fmla="*/ 25504 w 249927"/>
                <a:gd name="connsiteY1" fmla="*/ 132686 h 296228"/>
                <a:gd name="connsiteX2" fmla="*/ 244589 w 249927"/>
                <a:gd name="connsiteY2" fmla="*/ 296229 h 296228"/>
                <a:gd name="connsiteX3" fmla="*/ 10076 w 249927"/>
                <a:gd name="connsiteY3" fmla="*/ 0 h 296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927" h="296228">
                  <a:moveTo>
                    <a:pt x="10076" y="0"/>
                  </a:moveTo>
                  <a:cubicBezTo>
                    <a:pt x="10076" y="0"/>
                    <a:pt x="-20781" y="86400"/>
                    <a:pt x="25504" y="132686"/>
                  </a:cubicBezTo>
                  <a:cubicBezTo>
                    <a:pt x="25504" y="132686"/>
                    <a:pt x="229161" y="206743"/>
                    <a:pt x="244589" y="296229"/>
                  </a:cubicBezTo>
                  <a:cubicBezTo>
                    <a:pt x="244589" y="296229"/>
                    <a:pt x="306304" y="12343"/>
                    <a:pt x="10076" y="0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B27C2879-259E-403B-A2AE-A93DAD26689F}"/>
                </a:ext>
              </a:extLst>
            </p:cNvPr>
            <p:cNvSpPr/>
            <p:nvPr/>
          </p:nvSpPr>
          <p:spPr>
            <a:xfrm>
              <a:off x="20327426" y="7979524"/>
              <a:ext cx="253028" cy="285642"/>
            </a:xfrm>
            <a:custGeom>
              <a:avLst/>
              <a:gdLst>
                <a:gd name="connsiteX0" fmla="*/ 253029 w 253028"/>
                <a:gd name="connsiteY0" fmla="*/ 133000 h 285642"/>
                <a:gd name="connsiteX1" fmla="*/ 101828 w 253028"/>
                <a:gd name="connsiteY1" fmla="*/ 163858 h 285642"/>
                <a:gd name="connsiteX2" fmla="*/ 24685 w 253028"/>
                <a:gd name="connsiteY2" fmla="*/ 274943 h 285642"/>
                <a:gd name="connsiteX3" fmla="*/ 0 w 253028"/>
                <a:gd name="connsiteY3" fmla="*/ 268772 h 285642"/>
                <a:gd name="connsiteX4" fmla="*/ 234514 w 253028"/>
                <a:gd name="connsiteY4" fmla="*/ 315 h 285642"/>
                <a:gd name="connsiteX5" fmla="*/ 253029 w 253028"/>
                <a:gd name="connsiteY5" fmla="*/ 133000 h 28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028" h="285642">
                  <a:moveTo>
                    <a:pt x="253029" y="133000"/>
                  </a:moveTo>
                  <a:cubicBezTo>
                    <a:pt x="253029" y="133000"/>
                    <a:pt x="157371" y="166943"/>
                    <a:pt x="101828" y="163858"/>
                  </a:cubicBezTo>
                  <a:cubicBezTo>
                    <a:pt x="49371" y="160772"/>
                    <a:pt x="24685" y="274943"/>
                    <a:pt x="24685" y="274943"/>
                  </a:cubicBezTo>
                  <a:cubicBezTo>
                    <a:pt x="24685" y="274943"/>
                    <a:pt x="0" y="302715"/>
                    <a:pt x="0" y="268772"/>
                  </a:cubicBezTo>
                  <a:cubicBezTo>
                    <a:pt x="3085" y="188543"/>
                    <a:pt x="33942" y="-8943"/>
                    <a:pt x="234514" y="315"/>
                  </a:cubicBezTo>
                  <a:cubicBezTo>
                    <a:pt x="237600" y="315"/>
                    <a:pt x="231429" y="123743"/>
                    <a:pt x="253029" y="133000"/>
                  </a:cubicBez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8735A39A-CFFA-4F86-B537-B56A7BADE731}"/>
                </a:ext>
              </a:extLst>
            </p:cNvPr>
            <p:cNvSpPr/>
            <p:nvPr/>
          </p:nvSpPr>
          <p:spPr>
            <a:xfrm>
              <a:off x="20426169" y="7973667"/>
              <a:ext cx="157370" cy="178971"/>
            </a:xfrm>
            <a:custGeom>
              <a:avLst/>
              <a:gdLst>
                <a:gd name="connsiteX0" fmla="*/ 6170 w 157370"/>
                <a:gd name="connsiteY0" fmla="*/ 178972 h 178971"/>
                <a:gd name="connsiteX1" fmla="*/ 0 w 157370"/>
                <a:gd name="connsiteY1" fmla="*/ 172800 h 178971"/>
                <a:gd name="connsiteX2" fmla="*/ 6170 w 157370"/>
                <a:gd name="connsiteY2" fmla="*/ 166628 h 178971"/>
                <a:gd name="connsiteX3" fmla="*/ 6170 w 157370"/>
                <a:gd name="connsiteY3" fmla="*/ 166628 h 178971"/>
                <a:gd name="connsiteX4" fmla="*/ 6170 w 157370"/>
                <a:gd name="connsiteY4" fmla="*/ 166628 h 178971"/>
                <a:gd name="connsiteX5" fmla="*/ 104913 w 157370"/>
                <a:gd name="connsiteY5" fmla="*/ 148114 h 178971"/>
                <a:gd name="connsiteX6" fmla="*/ 145027 w 157370"/>
                <a:gd name="connsiteY6" fmla="*/ 132686 h 178971"/>
                <a:gd name="connsiteX7" fmla="*/ 132685 w 157370"/>
                <a:gd name="connsiteY7" fmla="*/ 111085 h 178971"/>
                <a:gd name="connsiteX8" fmla="*/ 126514 w 157370"/>
                <a:gd name="connsiteY8" fmla="*/ 64800 h 178971"/>
                <a:gd name="connsiteX9" fmla="*/ 126514 w 157370"/>
                <a:gd name="connsiteY9" fmla="*/ 33943 h 178971"/>
                <a:gd name="connsiteX10" fmla="*/ 126514 w 157370"/>
                <a:gd name="connsiteY10" fmla="*/ 6171 h 178971"/>
                <a:gd name="connsiteX11" fmla="*/ 132685 w 157370"/>
                <a:gd name="connsiteY11" fmla="*/ 0 h 178971"/>
                <a:gd name="connsiteX12" fmla="*/ 138857 w 157370"/>
                <a:gd name="connsiteY12" fmla="*/ 6171 h 178971"/>
                <a:gd name="connsiteX13" fmla="*/ 138857 w 157370"/>
                <a:gd name="connsiteY13" fmla="*/ 33943 h 178971"/>
                <a:gd name="connsiteX14" fmla="*/ 138857 w 157370"/>
                <a:gd name="connsiteY14" fmla="*/ 64800 h 178971"/>
                <a:gd name="connsiteX15" fmla="*/ 141942 w 157370"/>
                <a:gd name="connsiteY15" fmla="*/ 108000 h 178971"/>
                <a:gd name="connsiteX16" fmla="*/ 157371 w 157370"/>
                <a:gd name="connsiteY16" fmla="*/ 132686 h 178971"/>
                <a:gd name="connsiteX17" fmla="*/ 157371 w 157370"/>
                <a:gd name="connsiteY17" fmla="*/ 138857 h 178971"/>
                <a:gd name="connsiteX18" fmla="*/ 154286 w 157370"/>
                <a:gd name="connsiteY18" fmla="*/ 141943 h 178971"/>
                <a:gd name="connsiteX19" fmla="*/ 104913 w 157370"/>
                <a:gd name="connsiteY19" fmla="*/ 160457 h 178971"/>
                <a:gd name="connsiteX20" fmla="*/ 6170 w 157370"/>
                <a:gd name="connsiteY20" fmla="*/ 178972 h 178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370" h="178971">
                  <a:moveTo>
                    <a:pt x="6170" y="178972"/>
                  </a:moveTo>
                  <a:cubicBezTo>
                    <a:pt x="3085" y="178972"/>
                    <a:pt x="0" y="175886"/>
                    <a:pt x="0" y="172800"/>
                  </a:cubicBezTo>
                  <a:cubicBezTo>
                    <a:pt x="0" y="169714"/>
                    <a:pt x="3085" y="166628"/>
                    <a:pt x="6170" y="166628"/>
                  </a:cubicBezTo>
                  <a:lnTo>
                    <a:pt x="6170" y="166628"/>
                  </a:lnTo>
                  <a:cubicBezTo>
                    <a:pt x="6170" y="166628"/>
                    <a:pt x="6170" y="166628"/>
                    <a:pt x="6170" y="166628"/>
                  </a:cubicBezTo>
                  <a:cubicBezTo>
                    <a:pt x="43199" y="166628"/>
                    <a:pt x="80228" y="157371"/>
                    <a:pt x="104913" y="148114"/>
                  </a:cubicBezTo>
                  <a:cubicBezTo>
                    <a:pt x="123429" y="141943"/>
                    <a:pt x="138857" y="135771"/>
                    <a:pt x="145027" y="132686"/>
                  </a:cubicBezTo>
                  <a:cubicBezTo>
                    <a:pt x="141942" y="126514"/>
                    <a:pt x="135770" y="117257"/>
                    <a:pt x="132685" y="111085"/>
                  </a:cubicBezTo>
                  <a:cubicBezTo>
                    <a:pt x="126514" y="95657"/>
                    <a:pt x="126514" y="80228"/>
                    <a:pt x="126514" y="64800"/>
                  </a:cubicBezTo>
                  <a:cubicBezTo>
                    <a:pt x="126514" y="58628"/>
                    <a:pt x="126514" y="46286"/>
                    <a:pt x="126514" y="33943"/>
                  </a:cubicBezTo>
                  <a:cubicBezTo>
                    <a:pt x="126514" y="24686"/>
                    <a:pt x="126514" y="12343"/>
                    <a:pt x="126514" y="6171"/>
                  </a:cubicBezTo>
                  <a:cubicBezTo>
                    <a:pt x="126514" y="3085"/>
                    <a:pt x="129598" y="0"/>
                    <a:pt x="132685" y="0"/>
                  </a:cubicBezTo>
                  <a:cubicBezTo>
                    <a:pt x="135770" y="0"/>
                    <a:pt x="138857" y="3085"/>
                    <a:pt x="138857" y="6171"/>
                  </a:cubicBezTo>
                  <a:cubicBezTo>
                    <a:pt x="138857" y="12343"/>
                    <a:pt x="138857" y="24686"/>
                    <a:pt x="138857" y="33943"/>
                  </a:cubicBezTo>
                  <a:cubicBezTo>
                    <a:pt x="138857" y="46286"/>
                    <a:pt x="138857" y="55543"/>
                    <a:pt x="138857" y="64800"/>
                  </a:cubicBezTo>
                  <a:cubicBezTo>
                    <a:pt x="138857" y="77143"/>
                    <a:pt x="138857" y="92571"/>
                    <a:pt x="141942" y="108000"/>
                  </a:cubicBezTo>
                  <a:cubicBezTo>
                    <a:pt x="145027" y="117257"/>
                    <a:pt x="151199" y="126514"/>
                    <a:pt x="157371" y="132686"/>
                  </a:cubicBezTo>
                  <a:cubicBezTo>
                    <a:pt x="157371" y="132686"/>
                    <a:pt x="157371" y="135771"/>
                    <a:pt x="157371" y="138857"/>
                  </a:cubicBezTo>
                  <a:cubicBezTo>
                    <a:pt x="157371" y="141943"/>
                    <a:pt x="154286" y="141943"/>
                    <a:pt x="154286" y="141943"/>
                  </a:cubicBezTo>
                  <a:cubicBezTo>
                    <a:pt x="154286" y="141943"/>
                    <a:pt x="132685" y="151200"/>
                    <a:pt x="104913" y="160457"/>
                  </a:cubicBezTo>
                  <a:cubicBezTo>
                    <a:pt x="80228" y="166628"/>
                    <a:pt x="43199" y="178972"/>
                    <a:pt x="6170" y="178972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38E33E4C-397F-48D3-A935-F6125EBD6813}"/>
                </a:ext>
              </a:extLst>
            </p:cNvPr>
            <p:cNvSpPr/>
            <p:nvPr/>
          </p:nvSpPr>
          <p:spPr>
            <a:xfrm>
              <a:off x="20358283" y="8458125"/>
              <a:ext cx="305484" cy="246534"/>
            </a:xfrm>
            <a:custGeom>
              <a:avLst/>
              <a:gdLst>
                <a:gd name="connsiteX0" fmla="*/ 271542 w 305484"/>
                <a:gd name="connsiteY0" fmla="*/ 92571 h 246534"/>
                <a:gd name="connsiteX1" fmla="*/ 305485 w 305484"/>
                <a:gd name="connsiteY1" fmla="*/ 240686 h 246534"/>
                <a:gd name="connsiteX2" fmla="*/ 0 w 305484"/>
                <a:gd name="connsiteY2" fmla="*/ 178972 h 246534"/>
                <a:gd name="connsiteX3" fmla="*/ 80228 w 305484"/>
                <a:gd name="connsiteY3" fmla="*/ 0 h 246534"/>
                <a:gd name="connsiteX4" fmla="*/ 271542 w 305484"/>
                <a:gd name="connsiteY4" fmla="*/ 92571 h 246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484" h="246534">
                  <a:moveTo>
                    <a:pt x="271542" y="92571"/>
                  </a:moveTo>
                  <a:cubicBezTo>
                    <a:pt x="271542" y="92571"/>
                    <a:pt x="249942" y="203657"/>
                    <a:pt x="305485" y="240686"/>
                  </a:cubicBezTo>
                  <a:cubicBezTo>
                    <a:pt x="305485" y="240686"/>
                    <a:pt x="117257" y="274628"/>
                    <a:pt x="0" y="178972"/>
                  </a:cubicBezTo>
                  <a:cubicBezTo>
                    <a:pt x="61714" y="145028"/>
                    <a:pt x="70971" y="61714"/>
                    <a:pt x="80228" y="0"/>
                  </a:cubicBezTo>
                  <a:cubicBezTo>
                    <a:pt x="77143" y="0"/>
                    <a:pt x="216000" y="92571"/>
                    <a:pt x="271542" y="92571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B05FA9FC-31CF-48F7-BCCB-9CFE30AD2935}"/>
                </a:ext>
              </a:extLst>
            </p:cNvPr>
            <p:cNvSpPr/>
            <p:nvPr/>
          </p:nvSpPr>
          <p:spPr>
            <a:xfrm>
              <a:off x="20417682" y="8495924"/>
              <a:ext cx="219592" cy="104143"/>
            </a:xfrm>
            <a:custGeom>
              <a:avLst/>
              <a:gdLst>
                <a:gd name="connsiteX0" fmla="*/ 153514 w 219592"/>
                <a:gd name="connsiteY0" fmla="*/ 104143 h 104143"/>
                <a:gd name="connsiteX1" fmla="*/ 128829 w 219592"/>
                <a:gd name="connsiteY1" fmla="*/ 101057 h 104143"/>
                <a:gd name="connsiteX2" fmla="*/ 2315 w 219592"/>
                <a:gd name="connsiteY2" fmla="*/ 11572 h 104143"/>
                <a:gd name="connsiteX3" fmla="*/ 2315 w 219592"/>
                <a:gd name="connsiteY3" fmla="*/ 2314 h 104143"/>
                <a:gd name="connsiteX4" fmla="*/ 11572 w 219592"/>
                <a:gd name="connsiteY4" fmla="*/ 2314 h 104143"/>
                <a:gd name="connsiteX5" fmla="*/ 135000 w 219592"/>
                <a:gd name="connsiteY5" fmla="*/ 88715 h 104143"/>
                <a:gd name="connsiteX6" fmla="*/ 209058 w 219592"/>
                <a:gd name="connsiteY6" fmla="*/ 76371 h 104143"/>
                <a:gd name="connsiteX7" fmla="*/ 218315 w 219592"/>
                <a:gd name="connsiteY7" fmla="*/ 79457 h 104143"/>
                <a:gd name="connsiteX8" fmla="*/ 215228 w 219592"/>
                <a:gd name="connsiteY8" fmla="*/ 88715 h 104143"/>
                <a:gd name="connsiteX9" fmla="*/ 153514 w 219592"/>
                <a:gd name="connsiteY9" fmla="*/ 104143 h 104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9592" h="104143">
                  <a:moveTo>
                    <a:pt x="153514" y="104143"/>
                  </a:moveTo>
                  <a:cubicBezTo>
                    <a:pt x="147344" y="104143"/>
                    <a:pt x="138085" y="104143"/>
                    <a:pt x="128829" y="101057"/>
                  </a:cubicBezTo>
                  <a:cubicBezTo>
                    <a:pt x="88715" y="88715"/>
                    <a:pt x="5400" y="14657"/>
                    <a:pt x="2315" y="11572"/>
                  </a:cubicBezTo>
                  <a:cubicBezTo>
                    <a:pt x="-772" y="8486"/>
                    <a:pt x="-772" y="5400"/>
                    <a:pt x="2315" y="2314"/>
                  </a:cubicBezTo>
                  <a:cubicBezTo>
                    <a:pt x="5400" y="-771"/>
                    <a:pt x="8487" y="-771"/>
                    <a:pt x="11572" y="2314"/>
                  </a:cubicBezTo>
                  <a:cubicBezTo>
                    <a:pt x="11572" y="2314"/>
                    <a:pt x="94887" y="76371"/>
                    <a:pt x="135000" y="88715"/>
                  </a:cubicBezTo>
                  <a:cubicBezTo>
                    <a:pt x="172029" y="97971"/>
                    <a:pt x="209058" y="76371"/>
                    <a:pt x="209058" y="76371"/>
                  </a:cubicBezTo>
                  <a:cubicBezTo>
                    <a:pt x="212143" y="73286"/>
                    <a:pt x="215228" y="76371"/>
                    <a:pt x="218315" y="79457"/>
                  </a:cubicBezTo>
                  <a:cubicBezTo>
                    <a:pt x="221400" y="82543"/>
                    <a:pt x="218315" y="85629"/>
                    <a:pt x="215228" y="88715"/>
                  </a:cubicBezTo>
                  <a:cubicBezTo>
                    <a:pt x="212143" y="85629"/>
                    <a:pt x="184371" y="104143"/>
                    <a:pt x="153514" y="104143"/>
                  </a:cubicBezTo>
                  <a:close/>
                </a:path>
              </a:pathLst>
            </a:custGeom>
            <a:solidFill>
              <a:srgbClr val="E58777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20C0D5F0-9DE6-45DA-9C9D-E3B874BD665C}"/>
                </a:ext>
              </a:extLst>
            </p:cNvPr>
            <p:cNvSpPr/>
            <p:nvPr/>
          </p:nvSpPr>
          <p:spPr>
            <a:xfrm>
              <a:off x="20790283" y="8806810"/>
              <a:ext cx="103199" cy="561599"/>
            </a:xfrm>
            <a:custGeom>
              <a:avLst/>
              <a:gdLst>
                <a:gd name="connsiteX0" fmla="*/ 6172 w 103199"/>
                <a:gd name="connsiteY0" fmla="*/ 561600 h 561599"/>
                <a:gd name="connsiteX1" fmla="*/ 6172 w 103199"/>
                <a:gd name="connsiteY1" fmla="*/ 561600 h 561599"/>
                <a:gd name="connsiteX2" fmla="*/ 0 w 103199"/>
                <a:gd name="connsiteY2" fmla="*/ 552343 h 561599"/>
                <a:gd name="connsiteX3" fmla="*/ 24685 w 103199"/>
                <a:gd name="connsiteY3" fmla="*/ 499886 h 561599"/>
                <a:gd name="connsiteX4" fmla="*/ 80228 w 103199"/>
                <a:gd name="connsiteY4" fmla="*/ 357943 h 561599"/>
                <a:gd name="connsiteX5" fmla="*/ 43199 w 103199"/>
                <a:gd name="connsiteY5" fmla="*/ 6171 h 561599"/>
                <a:gd name="connsiteX6" fmla="*/ 46286 w 103199"/>
                <a:gd name="connsiteY6" fmla="*/ 0 h 561599"/>
                <a:gd name="connsiteX7" fmla="*/ 52458 w 103199"/>
                <a:gd name="connsiteY7" fmla="*/ 3085 h 561599"/>
                <a:gd name="connsiteX8" fmla="*/ 89485 w 103199"/>
                <a:gd name="connsiteY8" fmla="*/ 364114 h 561599"/>
                <a:gd name="connsiteX9" fmla="*/ 33942 w 103199"/>
                <a:gd name="connsiteY9" fmla="*/ 509143 h 561599"/>
                <a:gd name="connsiteX10" fmla="*/ 9257 w 103199"/>
                <a:gd name="connsiteY10" fmla="*/ 561600 h 561599"/>
                <a:gd name="connsiteX11" fmla="*/ 6172 w 103199"/>
                <a:gd name="connsiteY11" fmla="*/ 561600 h 561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3199" h="561599">
                  <a:moveTo>
                    <a:pt x="6172" y="561600"/>
                  </a:moveTo>
                  <a:cubicBezTo>
                    <a:pt x="6172" y="561600"/>
                    <a:pt x="3085" y="561600"/>
                    <a:pt x="6172" y="561600"/>
                  </a:cubicBezTo>
                  <a:cubicBezTo>
                    <a:pt x="0" y="558514"/>
                    <a:pt x="0" y="555429"/>
                    <a:pt x="0" y="552343"/>
                  </a:cubicBezTo>
                  <a:cubicBezTo>
                    <a:pt x="6172" y="536914"/>
                    <a:pt x="15429" y="518400"/>
                    <a:pt x="24685" y="499886"/>
                  </a:cubicBezTo>
                  <a:cubicBezTo>
                    <a:pt x="46286" y="450514"/>
                    <a:pt x="70971" y="401143"/>
                    <a:pt x="80228" y="357943"/>
                  </a:cubicBezTo>
                  <a:cubicBezTo>
                    <a:pt x="104913" y="237600"/>
                    <a:pt x="92571" y="117257"/>
                    <a:pt x="43199" y="6171"/>
                  </a:cubicBezTo>
                  <a:cubicBezTo>
                    <a:pt x="43199" y="3085"/>
                    <a:pt x="43199" y="0"/>
                    <a:pt x="46286" y="0"/>
                  </a:cubicBezTo>
                  <a:cubicBezTo>
                    <a:pt x="49371" y="0"/>
                    <a:pt x="52458" y="0"/>
                    <a:pt x="52458" y="3085"/>
                  </a:cubicBezTo>
                  <a:cubicBezTo>
                    <a:pt x="101828" y="120343"/>
                    <a:pt x="117257" y="240686"/>
                    <a:pt x="89485" y="364114"/>
                  </a:cubicBezTo>
                  <a:cubicBezTo>
                    <a:pt x="80228" y="410400"/>
                    <a:pt x="55542" y="459771"/>
                    <a:pt x="33942" y="509143"/>
                  </a:cubicBezTo>
                  <a:cubicBezTo>
                    <a:pt x="24685" y="527657"/>
                    <a:pt x="15429" y="546171"/>
                    <a:pt x="9257" y="561600"/>
                  </a:cubicBezTo>
                  <a:cubicBezTo>
                    <a:pt x="9257" y="561600"/>
                    <a:pt x="9257" y="561600"/>
                    <a:pt x="6172" y="561600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8981689D-A222-43D1-A967-8BE80F7243F9}"/>
                </a:ext>
              </a:extLst>
            </p:cNvPr>
            <p:cNvSpPr/>
            <p:nvPr/>
          </p:nvSpPr>
          <p:spPr>
            <a:xfrm>
              <a:off x="20339768" y="9197264"/>
              <a:ext cx="401142" cy="81660"/>
            </a:xfrm>
            <a:custGeom>
              <a:avLst/>
              <a:gdLst>
                <a:gd name="connsiteX0" fmla="*/ 394973 w 401142"/>
                <a:gd name="connsiteY0" fmla="*/ 81660 h 81660"/>
                <a:gd name="connsiteX1" fmla="*/ 394973 w 401142"/>
                <a:gd name="connsiteY1" fmla="*/ 81660 h 81660"/>
                <a:gd name="connsiteX2" fmla="*/ 6172 w 401142"/>
                <a:gd name="connsiteY2" fmla="*/ 13774 h 81660"/>
                <a:gd name="connsiteX3" fmla="*/ 0 w 401142"/>
                <a:gd name="connsiteY3" fmla="*/ 7603 h 81660"/>
                <a:gd name="connsiteX4" fmla="*/ 6172 w 401142"/>
                <a:gd name="connsiteY4" fmla="*/ 1432 h 81660"/>
                <a:gd name="connsiteX5" fmla="*/ 398058 w 401142"/>
                <a:gd name="connsiteY5" fmla="*/ 72403 h 81660"/>
                <a:gd name="connsiteX6" fmla="*/ 401143 w 401142"/>
                <a:gd name="connsiteY6" fmla="*/ 78574 h 81660"/>
                <a:gd name="connsiteX7" fmla="*/ 394973 w 401142"/>
                <a:gd name="connsiteY7" fmla="*/ 81660 h 81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1142" h="81660">
                  <a:moveTo>
                    <a:pt x="394973" y="81660"/>
                  </a:moveTo>
                  <a:cubicBezTo>
                    <a:pt x="394973" y="81660"/>
                    <a:pt x="394973" y="81660"/>
                    <a:pt x="394973" y="81660"/>
                  </a:cubicBezTo>
                  <a:cubicBezTo>
                    <a:pt x="314743" y="38460"/>
                    <a:pt x="108000" y="1432"/>
                    <a:pt x="6172" y="13774"/>
                  </a:cubicBezTo>
                  <a:cubicBezTo>
                    <a:pt x="3087" y="13774"/>
                    <a:pt x="0" y="10689"/>
                    <a:pt x="0" y="7603"/>
                  </a:cubicBezTo>
                  <a:cubicBezTo>
                    <a:pt x="0" y="4517"/>
                    <a:pt x="3087" y="1432"/>
                    <a:pt x="6172" y="1432"/>
                  </a:cubicBezTo>
                  <a:cubicBezTo>
                    <a:pt x="111087" y="-7826"/>
                    <a:pt x="317830" y="29203"/>
                    <a:pt x="398058" y="72403"/>
                  </a:cubicBezTo>
                  <a:cubicBezTo>
                    <a:pt x="401143" y="72403"/>
                    <a:pt x="401143" y="78574"/>
                    <a:pt x="401143" y="78574"/>
                  </a:cubicBezTo>
                  <a:cubicBezTo>
                    <a:pt x="401143" y="81660"/>
                    <a:pt x="398058" y="81660"/>
                    <a:pt x="394973" y="81660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4ADA53B0-D165-46DC-8C58-17ACE724D7D2}"/>
                </a:ext>
              </a:extLst>
            </p:cNvPr>
            <p:cNvSpPr/>
            <p:nvPr/>
          </p:nvSpPr>
          <p:spPr>
            <a:xfrm>
              <a:off x="20268797" y="8319267"/>
              <a:ext cx="163542" cy="299314"/>
            </a:xfrm>
            <a:custGeom>
              <a:avLst/>
              <a:gdLst>
                <a:gd name="connsiteX0" fmla="*/ 86400 w 163542"/>
                <a:gd name="connsiteY0" fmla="*/ 37028 h 299314"/>
                <a:gd name="connsiteX1" fmla="*/ 163542 w 163542"/>
                <a:gd name="connsiteY1" fmla="*/ 299314 h 299314"/>
                <a:gd name="connsiteX2" fmla="*/ 0 w 163542"/>
                <a:gd name="connsiteY2" fmla="*/ 268457 h 299314"/>
                <a:gd name="connsiteX3" fmla="*/ 46286 w 163542"/>
                <a:gd name="connsiteY3" fmla="*/ 0 h 299314"/>
                <a:gd name="connsiteX4" fmla="*/ 86400 w 163542"/>
                <a:gd name="connsiteY4" fmla="*/ 37028 h 299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542" h="299314">
                  <a:moveTo>
                    <a:pt x="86400" y="37028"/>
                  </a:moveTo>
                  <a:cubicBezTo>
                    <a:pt x="86400" y="37028"/>
                    <a:pt x="89486" y="234514"/>
                    <a:pt x="163542" y="299314"/>
                  </a:cubicBezTo>
                  <a:cubicBezTo>
                    <a:pt x="163542" y="299314"/>
                    <a:pt x="52458" y="299314"/>
                    <a:pt x="0" y="268457"/>
                  </a:cubicBezTo>
                  <a:lnTo>
                    <a:pt x="46286" y="0"/>
                  </a:lnTo>
                  <a:lnTo>
                    <a:pt x="86400" y="37028"/>
                  </a:lnTo>
                  <a:close/>
                </a:path>
              </a:pathLst>
            </a:custGeom>
            <a:solidFill>
              <a:srgbClr val="F1DDBA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CB118D77-0E99-4215-8F83-6EB3F8C26D62}"/>
                </a:ext>
              </a:extLst>
            </p:cNvPr>
            <p:cNvSpPr/>
            <p:nvPr/>
          </p:nvSpPr>
          <p:spPr>
            <a:xfrm>
              <a:off x="20309499" y="8241189"/>
              <a:ext cx="75012" cy="117130"/>
            </a:xfrm>
            <a:custGeom>
              <a:avLst/>
              <a:gdLst>
                <a:gd name="connsiteX0" fmla="*/ 70384 w 75012"/>
                <a:gd name="connsiteY0" fmla="*/ 22535 h 117130"/>
                <a:gd name="connsiteX1" fmla="*/ 11755 w 75012"/>
                <a:gd name="connsiteY1" fmla="*/ 4021 h 117130"/>
                <a:gd name="connsiteX2" fmla="*/ 51869 w 75012"/>
                <a:gd name="connsiteY2" fmla="*/ 115107 h 117130"/>
                <a:gd name="connsiteX3" fmla="*/ 70384 w 75012"/>
                <a:gd name="connsiteY3" fmla="*/ 22535 h 11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012" h="117130">
                  <a:moveTo>
                    <a:pt x="70384" y="22535"/>
                  </a:moveTo>
                  <a:cubicBezTo>
                    <a:pt x="70384" y="22535"/>
                    <a:pt x="42612" y="-11407"/>
                    <a:pt x="11755" y="4021"/>
                  </a:cubicBezTo>
                  <a:cubicBezTo>
                    <a:pt x="-16017" y="19450"/>
                    <a:pt x="8670" y="133621"/>
                    <a:pt x="51869" y="115107"/>
                  </a:cubicBezTo>
                  <a:cubicBezTo>
                    <a:pt x="88898" y="99678"/>
                    <a:pt x="70384" y="22535"/>
                    <a:pt x="70384" y="22535"/>
                  </a:cubicBezTo>
                  <a:close/>
                </a:path>
              </a:pathLst>
            </a:custGeom>
            <a:solidFill>
              <a:srgbClr val="F5A39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B41BF29D-4E8D-4E6C-B43F-BDF560203E4C}"/>
                </a:ext>
              </a:extLst>
            </p:cNvPr>
            <p:cNvSpPr/>
            <p:nvPr/>
          </p:nvSpPr>
          <p:spPr>
            <a:xfrm>
              <a:off x="20700797" y="8168068"/>
              <a:ext cx="126515" cy="188228"/>
            </a:xfrm>
            <a:custGeom>
              <a:avLst/>
              <a:gdLst>
                <a:gd name="connsiteX0" fmla="*/ 117257 w 126515"/>
                <a:gd name="connsiteY0" fmla="*/ 188228 h 188228"/>
                <a:gd name="connsiteX1" fmla="*/ 111087 w 126515"/>
                <a:gd name="connsiteY1" fmla="*/ 182057 h 188228"/>
                <a:gd name="connsiteX2" fmla="*/ 3087 w 126515"/>
                <a:gd name="connsiteY2" fmla="*/ 12343 h 188228"/>
                <a:gd name="connsiteX3" fmla="*/ 0 w 126515"/>
                <a:gd name="connsiteY3" fmla="*/ 3085 h 188228"/>
                <a:gd name="connsiteX4" fmla="*/ 9257 w 126515"/>
                <a:gd name="connsiteY4" fmla="*/ 0 h 188228"/>
                <a:gd name="connsiteX5" fmla="*/ 126515 w 126515"/>
                <a:gd name="connsiteY5" fmla="*/ 182057 h 188228"/>
                <a:gd name="connsiteX6" fmla="*/ 117257 w 126515"/>
                <a:gd name="connsiteY6" fmla="*/ 188228 h 188228"/>
                <a:gd name="connsiteX7" fmla="*/ 117257 w 126515"/>
                <a:gd name="connsiteY7" fmla="*/ 188228 h 188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515" h="188228">
                  <a:moveTo>
                    <a:pt x="117257" y="188228"/>
                  </a:moveTo>
                  <a:cubicBezTo>
                    <a:pt x="114172" y="188228"/>
                    <a:pt x="111087" y="185143"/>
                    <a:pt x="111087" y="182057"/>
                  </a:cubicBezTo>
                  <a:cubicBezTo>
                    <a:pt x="104915" y="58628"/>
                    <a:pt x="3087" y="12343"/>
                    <a:pt x="3087" y="12343"/>
                  </a:cubicBezTo>
                  <a:cubicBezTo>
                    <a:pt x="0" y="12343"/>
                    <a:pt x="0" y="6171"/>
                    <a:pt x="0" y="3085"/>
                  </a:cubicBezTo>
                  <a:cubicBezTo>
                    <a:pt x="0" y="0"/>
                    <a:pt x="6172" y="0"/>
                    <a:pt x="9257" y="0"/>
                  </a:cubicBezTo>
                  <a:cubicBezTo>
                    <a:pt x="9257" y="0"/>
                    <a:pt x="120344" y="49371"/>
                    <a:pt x="126515" y="182057"/>
                  </a:cubicBezTo>
                  <a:cubicBezTo>
                    <a:pt x="123429" y="185143"/>
                    <a:pt x="120344" y="188228"/>
                    <a:pt x="117257" y="188228"/>
                  </a:cubicBezTo>
                  <a:cubicBezTo>
                    <a:pt x="117257" y="188228"/>
                    <a:pt x="117257" y="188228"/>
                    <a:pt x="117257" y="188228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B04D596D-D7C5-4415-B6A4-EA715B546193}"/>
                </a:ext>
              </a:extLst>
            </p:cNvPr>
            <p:cNvSpPr/>
            <p:nvPr/>
          </p:nvSpPr>
          <p:spPr>
            <a:xfrm>
              <a:off x="20839654" y="8402582"/>
              <a:ext cx="66172" cy="194400"/>
            </a:xfrm>
            <a:custGeom>
              <a:avLst/>
              <a:gdLst>
                <a:gd name="connsiteX0" fmla="*/ 61714 w 66172"/>
                <a:gd name="connsiteY0" fmla="*/ 194400 h 194400"/>
                <a:gd name="connsiteX1" fmla="*/ 55542 w 66172"/>
                <a:gd name="connsiteY1" fmla="*/ 191314 h 194400"/>
                <a:gd name="connsiteX2" fmla="*/ 0 w 66172"/>
                <a:gd name="connsiteY2" fmla="*/ 6171 h 194400"/>
                <a:gd name="connsiteX3" fmla="*/ 6172 w 66172"/>
                <a:gd name="connsiteY3" fmla="*/ 0 h 194400"/>
                <a:gd name="connsiteX4" fmla="*/ 12344 w 66172"/>
                <a:gd name="connsiteY4" fmla="*/ 6171 h 194400"/>
                <a:gd name="connsiteX5" fmla="*/ 64801 w 66172"/>
                <a:gd name="connsiteY5" fmla="*/ 185143 h 194400"/>
                <a:gd name="connsiteX6" fmla="*/ 64801 w 66172"/>
                <a:gd name="connsiteY6" fmla="*/ 194400 h 194400"/>
                <a:gd name="connsiteX7" fmla="*/ 61714 w 66172"/>
                <a:gd name="connsiteY7" fmla="*/ 194400 h 19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172" h="194400">
                  <a:moveTo>
                    <a:pt x="61714" y="194400"/>
                  </a:moveTo>
                  <a:cubicBezTo>
                    <a:pt x="58629" y="194400"/>
                    <a:pt x="58629" y="194400"/>
                    <a:pt x="55542" y="191314"/>
                  </a:cubicBezTo>
                  <a:cubicBezTo>
                    <a:pt x="6172" y="126514"/>
                    <a:pt x="0" y="12343"/>
                    <a:pt x="0" y="6171"/>
                  </a:cubicBezTo>
                  <a:cubicBezTo>
                    <a:pt x="0" y="3086"/>
                    <a:pt x="3087" y="0"/>
                    <a:pt x="6172" y="0"/>
                  </a:cubicBezTo>
                  <a:cubicBezTo>
                    <a:pt x="9257" y="0"/>
                    <a:pt x="12344" y="3086"/>
                    <a:pt x="12344" y="6171"/>
                  </a:cubicBezTo>
                  <a:cubicBezTo>
                    <a:pt x="12344" y="6171"/>
                    <a:pt x="21600" y="123429"/>
                    <a:pt x="64801" y="185143"/>
                  </a:cubicBezTo>
                  <a:cubicBezTo>
                    <a:pt x="67886" y="188229"/>
                    <a:pt x="64801" y="191314"/>
                    <a:pt x="64801" y="194400"/>
                  </a:cubicBezTo>
                  <a:cubicBezTo>
                    <a:pt x="64801" y="194400"/>
                    <a:pt x="61714" y="194400"/>
                    <a:pt x="61714" y="194400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B8E97132-0F77-4A46-9782-9DB18FE627D5}"/>
                </a:ext>
              </a:extLst>
            </p:cNvPr>
            <p:cNvSpPr/>
            <p:nvPr/>
          </p:nvSpPr>
          <p:spPr>
            <a:xfrm>
              <a:off x="20799540" y="8476639"/>
              <a:ext cx="60943" cy="135771"/>
            </a:xfrm>
            <a:custGeom>
              <a:avLst/>
              <a:gdLst>
                <a:gd name="connsiteX0" fmla="*/ 52458 w 60943"/>
                <a:gd name="connsiteY0" fmla="*/ 135771 h 135771"/>
                <a:gd name="connsiteX1" fmla="*/ 49371 w 60943"/>
                <a:gd name="connsiteY1" fmla="*/ 132685 h 135771"/>
                <a:gd name="connsiteX2" fmla="*/ 0 w 60943"/>
                <a:gd name="connsiteY2" fmla="*/ 6171 h 135771"/>
                <a:gd name="connsiteX3" fmla="*/ 6172 w 60943"/>
                <a:gd name="connsiteY3" fmla="*/ 0 h 135771"/>
                <a:gd name="connsiteX4" fmla="*/ 12344 w 60943"/>
                <a:gd name="connsiteY4" fmla="*/ 6171 h 135771"/>
                <a:gd name="connsiteX5" fmla="*/ 58629 w 60943"/>
                <a:gd name="connsiteY5" fmla="*/ 126514 h 135771"/>
                <a:gd name="connsiteX6" fmla="*/ 58629 w 60943"/>
                <a:gd name="connsiteY6" fmla="*/ 135771 h 135771"/>
                <a:gd name="connsiteX7" fmla="*/ 52458 w 60943"/>
                <a:gd name="connsiteY7" fmla="*/ 135771 h 135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943" h="135771">
                  <a:moveTo>
                    <a:pt x="52458" y="135771"/>
                  </a:moveTo>
                  <a:cubicBezTo>
                    <a:pt x="52458" y="135771"/>
                    <a:pt x="49371" y="135771"/>
                    <a:pt x="49371" y="132685"/>
                  </a:cubicBezTo>
                  <a:cubicBezTo>
                    <a:pt x="18514" y="101828"/>
                    <a:pt x="0" y="9257"/>
                    <a:pt x="0" y="6171"/>
                  </a:cubicBezTo>
                  <a:cubicBezTo>
                    <a:pt x="0" y="3085"/>
                    <a:pt x="0" y="0"/>
                    <a:pt x="6172" y="0"/>
                  </a:cubicBezTo>
                  <a:cubicBezTo>
                    <a:pt x="9257" y="0"/>
                    <a:pt x="12344" y="0"/>
                    <a:pt x="12344" y="6171"/>
                  </a:cubicBezTo>
                  <a:cubicBezTo>
                    <a:pt x="12344" y="6171"/>
                    <a:pt x="30857" y="98743"/>
                    <a:pt x="58629" y="126514"/>
                  </a:cubicBezTo>
                  <a:cubicBezTo>
                    <a:pt x="61714" y="129600"/>
                    <a:pt x="61714" y="132685"/>
                    <a:pt x="58629" y="135771"/>
                  </a:cubicBezTo>
                  <a:cubicBezTo>
                    <a:pt x="55542" y="135771"/>
                    <a:pt x="55542" y="135771"/>
                    <a:pt x="52458" y="135771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BD7C5931-826C-4398-BCE1-8A9F9E163192}"/>
                </a:ext>
              </a:extLst>
            </p:cNvPr>
            <p:cNvSpPr/>
            <p:nvPr/>
          </p:nvSpPr>
          <p:spPr>
            <a:xfrm>
              <a:off x="20358265" y="8347039"/>
              <a:ext cx="84704" cy="277714"/>
            </a:xfrm>
            <a:custGeom>
              <a:avLst/>
              <a:gdLst>
                <a:gd name="connsiteX0" fmla="*/ 77161 w 84704"/>
                <a:gd name="connsiteY0" fmla="*/ 277714 h 277714"/>
                <a:gd name="connsiteX1" fmla="*/ 70989 w 84704"/>
                <a:gd name="connsiteY1" fmla="*/ 274629 h 277714"/>
                <a:gd name="connsiteX2" fmla="*/ 18 w 84704"/>
                <a:gd name="connsiteY2" fmla="*/ 6172 h 277714"/>
                <a:gd name="connsiteX3" fmla="*/ 6190 w 84704"/>
                <a:gd name="connsiteY3" fmla="*/ 0 h 277714"/>
                <a:gd name="connsiteX4" fmla="*/ 12360 w 84704"/>
                <a:gd name="connsiteY4" fmla="*/ 6172 h 277714"/>
                <a:gd name="connsiteX5" fmla="*/ 83333 w 84704"/>
                <a:gd name="connsiteY5" fmla="*/ 268458 h 277714"/>
                <a:gd name="connsiteX6" fmla="*/ 83333 w 84704"/>
                <a:gd name="connsiteY6" fmla="*/ 277714 h 277714"/>
                <a:gd name="connsiteX7" fmla="*/ 77161 w 84704"/>
                <a:gd name="connsiteY7" fmla="*/ 277714 h 277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704" h="277714">
                  <a:moveTo>
                    <a:pt x="77161" y="277714"/>
                  </a:moveTo>
                  <a:cubicBezTo>
                    <a:pt x="74074" y="277714"/>
                    <a:pt x="74074" y="277714"/>
                    <a:pt x="70989" y="274629"/>
                  </a:cubicBezTo>
                  <a:cubicBezTo>
                    <a:pt x="-3069" y="166629"/>
                    <a:pt x="18" y="12343"/>
                    <a:pt x="18" y="6172"/>
                  </a:cubicBezTo>
                  <a:cubicBezTo>
                    <a:pt x="18" y="3086"/>
                    <a:pt x="3103" y="0"/>
                    <a:pt x="6190" y="0"/>
                  </a:cubicBezTo>
                  <a:cubicBezTo>
                    <a:pt x="9275" y="0"/>
                    <a:pt x="12360" y="3086"/>
                    <a:pt x="12360" y="6172"/>
                  </a:cubicBezTo>
                  <a:cubicBezTo>
                    <a:pt x="12360" y="9257"/>
                    <a:pt x="9275" y="160458"/>
                    <a:pt x="83333" y="268458"/>
                  </a:cubicBezTo>
                  <a:cubicBezTo>
                    <a:pt x="86418" y="271543"/>
                    <a:pt x="83333" y="274629"/>
                    <a:pt x="83333" y="277714"/>
                  </a:cubicBezTo>
                  <a:cubicBezTo>
                    <a:pt x="77161" y="277714"/>
                    <a:pt x="77161" y="277714"/>
                    <a:pt x="77161" y="277714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DBD3E014-862F-4357-AB96-B57738379EF7}"/>
                </a:ext>
              </a:extLst>
            </p:cNvPr>
            <p:cNvSpPr/>
            <p:nvPr/>
          </p:nvSpPr>
          <p:spPr>
            <a:xfrm>
              <a:off x="20352111" y="8081667"/>
              <a:ext cx="138857" cy="169714"/>
            </a:xfrm>
            <a:custGeom>
              <a:avLst/>
              <a:gdLst>
                <a:gd name="connsiteX0" fmla="*/ 6172 w 138857"/>
                <a:gd name="connsiteY0" fmla="*/ 169714 h 169714"/>
                <a:gd name="connsiteX1" fmla="*/ 6172 w 138857"/>
                <a:gd name="connsiteY1" fmla="*/ 169714 h 169714"/>
                <a:gd name="connsiteX2" fmla="*/ 0 w 138857"/>
                <a:gd name="connsiteY2" fmla="*/ 163543 h 169714"/>
                <a:gd name="connsiteX3" fmla="*/ 67886 w 138857"/>
                <a:gd name="connsiteY3" fmla="*/ 58628 h 169714"/>
                <a:gd name="connsiteX4" fmla="*/ 126514 w 138857"/>
                <a:gd name="connsiteY4" fmla="*/ 3085 h 169714"/>
                <a:gd name="connsiteX5" fmla="*/ 135772 w 138857"/>
                <a:gd name="connsiteY5" fmla="*/ 0 h 169714"/>
                <a:gd name="connsiteX6" fmla="*/ 138857 w 138857"/>
                <a:gd name="connsiteY6" fmla="*/ 9257 h 169714"/>
                <a:gd name="connsiteX7" fmla="*/ 74058 w 138857"/>
                <a:gd name="connsiteY7" fmla="*/ 67886 h 169714"/>
                <a:gd name="connsiteX8" fmla="*/ 12344 w 138857"/>
                <a:gd name="connsiteY8" fmla="*/ 166628 h 169714"/>
                <a:gd name="connsiteX9" fmla="*/ 6172 w 138857"/>
                <a:gd name="connsiteY9" fmla="*/ 169714 h 16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857" h="169714">
                  <a:moveTo>
                    <a:pt x="6172" y="169714"/>
                  </a:moveTo>
                  <a:cubicBezTo>
                    <a:pt x="3085" y="169714"/>
                    <a:pt x="3085" y="169714"/>
                    <a:pt x="6172" y="169714"/>
                  </a:cubicBezTo>
                  <a:cubicBezTo>
                    <a:pt x="0" y="169714"/>
                    <a:pt x="0" y="166628"/>
                    <a:pt x="0" y="163543"/>
                  </a:cubicBezTo>
                  <a:cubicBezTo>
                    <a:pt x="3085" y="151200"/>
                    <a:pt x="24685" y="80228"/>
                    <a:pt x="67886" y="58628"/>
                  </a:cubicBezTo>
                  <a:cubicBezTo>
                    <a:pt x="101828" y="40114"/>
                    <a:pt x="126514" y="3085"/>
                    <a:pt x="126514" y="3085"/>
                  </a:cubicBezTo>
                  <a:cubicBezTo>
                    <a:pt x="129600" y="0"/>
                    <a:pt x="132685" y="0"/>
                    <a:pt x="135772" y="0"/>
                  </a:cubicBezTo>
                  <a:cubicBezTo>
                    <a:pt x="138857" y="3085"/>
                    <a:pt x="138857" y="6171"/>
                    <a:pt x="138857" y="9257"/>
                  </a:cubicBezTo>
                  <a:cubicBezTo>
                    <a:pt x="138857" y="12343"/>
                    <a:pt x="111085" y="49371"/>
                    <a:pt x="74058" y="67886"/>
                  </a:cubicBezTo>
                  <a:cubicBezTo>
                    <a:pt x="43201" y="83314"/>
                    <a:pt x="21600" y="129600"/>
                    <a:pt x="12344" y="166628"/>
                  </a:cubicBezTo>
                  <a:cubicBezTo>
                    <a:pt x="9257" y="169714"/>
                    <a:pt x="6172" y="169714"/>
                    <a:pt x="6172" y="169714"/>
                  </a:cubicBezTo>
                  <a:close/>
                </a:path>
              </a:pathLst>
            </a:custGeom>
            <a:solidFill>
              <a:srgbClr val="D39778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2C18990D-2DDC-4907-96C5-35E804DBB601}"/>
                </a:ext>
              </a:extLst>
            </p:cNvPr>
            <p:cNvSpPr/>
            <p:nvPr/>
          </p:nvSpPr>
          <p:spPr>
            <a:xfrm>
              <a:off x="20330511" y="8640181"/>
              <a:ext cx="361028" cy="90160"/>
            </a:xfrm>
            <a:custGeom>
              <a:avLst/>
              <a:gdLst>
                <a:gd name="connsiteX0" fmla="*/ 324000 w 361028"/>
                <a:gd name="connsiteY0" fmla="*/ 52458 h 90160"/>
                <a:gd name="connsiteX1" fmla="*/ 27772 w 361028"/>
                <a:gd name="connsiteY1" fmla="*/ 0 h 90160"/>
                <a:gd name="connsiteX2" fmla="*/ 0 w 361028"/>
                <a:gd name="connsiteY2" fmla="*/ 3086 h 90160"/>
                <a:gd name="connsiteX3" fmla="*/ 182058 w 361028"/>
                <a:gd name="connsiteY3" fmla="*/ 86400 h 90160"/>
                <a:gd name="connsiteX4" fmla="*/ 361029 w 361028"/>
                <a:gd name="connsiteY4" fmla="*/ 64800 h 90160"/>
                <a:gd name="connsiteX5" fmla="*/ 324000 w 361028"/>
                <a:gd name="connsiteY5" fmla="*/ 52458 h 90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1028" h="90160">
                  <a:moveTo>
                    <a:pt x="324000" y="52458"/>
                  </a:moveTo>
                  <a:cubicBezTo>
                    <a:pt x="324000" y="52458"/>
                    <a:pt x="200571" y="92571"/>
                    <a:pt x="27772" y="0"/>
                  </a:cubicBezTo>
                  <a:lnTo>
                    <a:pt x="0" y="3086"/>
                  </a:lnTo>
                  <a:cubicBezTo>
                    <a:pt x="0" y="3086"/>
                    <a:pt x="70971" y="70972"/>
                    <a:pt x="182058" y="86400"/>
                  </a:cubicBezTo>
                  <a:cubicBezTo>
                    <a:pt x="286971" y="101829"/>
                    <a:pt x="361029" y="64800"/>
                    <a:pt x="361029" y="64800"/>
                  </a:cubicBezTo>
                  <a:cubicBezTo>
                    <a:pt x="361029" y="64800"/>
                    <a:pt x="342515" y="55543"/>
                    <a:pt x="324000" y="52458"/>
                  </a:cubicBezTo>
                  <a:close/>
                </a:path>
              </a:pathLst>
            </a:custGeom>
            <a:solidFill>
              <a:srgbClr val="F6EBE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BF4EFA56-6854-4C61-8B35-43E971394C7B}"/>
                </a:ext>
              </a:extLst>
            </p:cNvPr>
            <p:cNvGrpSpPr/>
            <p:nvPr/>
          </p:nvGrpSpPr>
          <p:grpSpPr>
            <a:xfrm>
              <a:off x="20803835" y="9425162"/>
              <a:ext cx="1553460" cy="3022790"/>
              <a:chOff x="20803835" y="9425162"/>
              <a:chExt cx="1553460" cy="3022790"/>
            </a:xfrm>
          </p:grpSpPr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B991C997-B072-481A-84FF-8115A18C39B4}"/>
                  </a:ext>
                </a:extLst>
              </p:cNvPr>
              <p:cNvSpPr/>
              <p:nvPr/>
            </p:nvSpPr>
            <p:spPr>
              <a:xfrm>
                <a:off x="20803835" y="9425162"/>
                <a:ext cx="1044848" cy="2550677"/>
              </a:xfrm>
              <a:custGeom>
                <a:avLst/>
                <a:gdLst>
                  <a:gd name="connsiteX0" fmla="*/ 967705 w 1044848"/>
                  <a:gd name="connsiteY0" fmla="*/ 2550677 h 2550677"/>
                  <a:gd name="connsiteX1" fmla="*/ 1044848 w 1044848"/>
                  <a:gd name="connsiteY1" fmla="*/ 2519820 h 2550677"/>
                  <a:gd name="connsiteX2" fmla="*/ 79020 w 1044848"/>
                  <a:gd name="connsiteY2" fmla="*/ 26563 h 2550677"/>
                  <a:gd name="connsiteX3" fmla="*/ 26562 w 1044848"/>
                  <a:gd name="connsiteY3" fmla="*/ 1877 h 2550677"/>
                  <a:gd name="connsiteX4" fmla="*/ 26562 w 1044848"/>
                  <a:gd name="connsiteY4" fmla="*/ 1877 h 2550677"/>
                  <a:gd name="connsiteX5" fmla="*/ 1877 w 1044848"/>
                  <a:gd name="connsiteY5" fmla="*/ 54334 h 2550677"/>
                  <a:gd name="connsiteX6" fmla="*/ 967705 w 1044848"/>
                  <a:gd name="connsiteY6" fmla="*/ 2550677 h 2550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4848" h="2550677">
                    <a:moveTo>
                      <a:pt x="967705" y="2550677"/>
                    </a:moveTo>
                    <a:lnTo>
                      <a:pt x="1044848" y="2519820"/>
                    </a:lnTo>
                    <a:lnTo>
                      <a:pt x="79020" y="26563"/>
                    </a:lnTo>
                    <a:cubicBezTo>
                      <a:pt x="69763" y="4963"/>
                      <a:pt x="48163" y="-4295"/>
                      <a:pt x="26562" y="1877"/>
                    </a:cubicBezTo>
                    <a:lnTo>
                      <a:pt x="26562" y="1877"/>
                    </a:lnTo>
                    <a:cubicBezTo>
                      <a:pt x="4962" y="11134"/>
                      <a:pt x="-4295" y="32734"/>
                      <a:pt x="1877" y="54334"/>
                    </a:cubicBezTo>
                    <a:lnTo>
                      <a:pt x="967705" y="2550677"/>
                    </a:lnTo>
                    <a:close/>
                  </a:path>
                </a:pathLst>
              </a:custGeom>
              <a:solidFill>
                <a:srgbClr val="6C5D6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28BF4D48-7630-48D4-B15D-93827CBE8175}"/>
                  </a:ext>
                </a:extLst>
              </p:cNvPr>
              <p:cNvSpPr/>
              <p:nvPr/>
            </p:nvSpPr>
            <p:spPr>
              <a:xfrm>
                <a:off x="21725333" y="11892604"/>
                <a:ext cx="175727" cy="138699"/>
              </a:xfrm>
              <a:custGeom>
                <a:avLst/>
                <a:gdLst>
                  <a:gd name="connsiteX0" fmla="*/ 77064 w 175727"/>
                  <a:gd name="connsiteY0" fmla="*/ 135693 h 138699"/>
                  <a:gd name="connsiteX1" fmla="*/ 138778 w 175727"/>
                  <a:gd name="connsiteY1" fmla="*/ 111006 h 138699"/>
                  <a:gd name="connsiteX2" fmla="*/ 172721 w 175727"/>
                  <a:gd name="connsiteY2" fmla="*/ 36949 h 138699"/>
                  <a:gd name="connsiteX3" fmla="*/ 172721 w 175727"/>
                  <a:gd name="connsiteY3" fmla="*/ 36949 h 138699"/>
                  <a:gd name="connsiteX4" fmla="*/ 98665 w 175727"/>
                  <a:gd name="connsiteY4" fmla="*/ 3006 h 138699"/>
                  <a:gd name="connsiteX5" fmla="*/ 36950 w 175727"/>
                  <a:gd name="connsiteY5" fmla="*/ 27693 h 138699"/>
                  <a:gd name="connsiteX6" fmla="*/ 3006 w 175727"/>
                  <a:gd name="connsiteY6" fmla="*/ 101750 h 138699"/>
                  <a:gd name="connsiteX7" fmla="*/ 3006 w 175727"/>
                  <a:gd name="connsiteY7" fmla="*/ 101750 h 138699"/>
                  <a:gd name="connsiteX8" fmla="*/ 77064 w 175727"/>
                  <a:gd name="connsiteY8" fmla="*/ 135693 h 138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5727" h="138699">
                    <a:moveTo>
                      <a:pt x="77064" y="135693"/>
                    </a:moveTo>
                    <a:lnTo>
                      <a:pt x="138778" y="111006"/>
                    </a:lnTo>
                    <a:cubicBezTo>
                      <a:pt x="169636" y="98664"/>
                      <a:pt x="181979" y="67807"/>
                      <a:pt x="172721" y="36949"/>
                    </a:cubicBezTo>
                    <a:lnTo>
                      <a:pt x="172721" y="36949"/>
                    </a:lnTo>
                    <a:cubicBezTo>
                      <a:pt x="160379" y="6092"/>
                      <a:pt x="129522" y="-6250"/>
                      <a:pt x="98665" y="3006"/>
                    </a:cubicBezTo>
                    <a:lnTo>
                      <a:pt x="36950" y="27693"/>
                    </a:lnTo>
                    <a:cubicBezTo>
                      <a:pt x="6093" y="40035"/>
                      <a:pt x="-6250" y="70893"/>
                      <a:pt x="3006" y="101750"/>
                    </a:cubicBezTo>
                    <a:lnTo>
                      <a:pt x="3006" y="101750"/>
                    </a:lnTo>
                    <a:cubicBezTo>
                      <a:pt x="12265" y="132607"/>
                      <a:pt x="46207" y="144949"/>
                      <a:pt x="77064" y="135693"/>
                    </a:cubicBez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1384AF07-A649-417E-8CDA-6C663EA82742}"/>
                  </a:ext>
                </a:extLst>
              </p:cNvPr>
              <p:cNvSpPr/>
              <p:nvPr/>
            </p:nvSpPr>
            <p:spPr>
              <a:xfrm>
                <a:off x="21443318" y="11838931"/>
                <a:ext cx="791079" cy="371422"/>
              </a:xfrm>
              <a:custGeom>
                <a:avLst/>
                <a:gdLst>
                  <a:gd name="connsiteX0" fmla="*/ 19651 w 791079"/>
                  <a:gd name="connsiteY0" fmla="*/ 371422 h 371422"/>
                  <a:gd name="connsiteX1" fmla="*/ 791080 w 791079"/>
                  <a:gd name="connsiteY1" fmla="*/ 72108 h 371422"/>
                  <a:gd name="connsiteX2" fmla="*/ 778736 w 791079"/>
                  <a:gd name="connsiteY2" fmla="*/ 41250 h 371422"/>
                  <a:gd name="connsiteX3" fmla="*/ 695423 w 791079"/>
                  <a:gd name="connsiteY3" fmla="*/ 4222 h 371422"/>
                  <a:gd name="connsiteX4" fmla="*/ 41251 w 791079"/>
                  <a:gd name="connsiteY4" fmla="*/ 257250 h 371422"/>
                  <a:gd name="connsiteX5" fmla="*/ 4222 w 791079"/>
                  <a:gd name="connsiteY5" fmla="*/ 340565 h 371422"/>
                  <a:gd name="connsiteX6" fmla="*/ 19651 w 791079"/>
                  <a:gd name="connsiteY6" fmla="*/ 371422 h 371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1079" h="371422">
                    <a:moveTo>
                      <a:pt x="19651" y="371422"/>
                    </a:moveTo>
                    <a:lnTo>
                      <a:pt x="791080" y="72108"/>
                    </a:lnTo>
                    <a:lnTo>
                      <a:pt x="778736" y="41250"/>
                    </a:lnTo>
                    <a:cubicBezTo>
                      <a:pt x="766394" y="7307"/>
                      <a:pt x="729365" y="-8121"/>
                      <a:pt x="695423" y="4222"/>
                    </a:cubicBezTo>
                    <a:lnTo>
                      <a:pt x="41251" y="257250"/>
                    </a:lnTo>
                    <a:cubicBezTo>
                      <a:pt x="7307" y="269593"/>
                      <a:pt x="-8121" y="306622"/>
                      <a:pt x="4222" y="340565"/>
                    </a:cubicBezTo>
                    <a:lnTo>
                      <a:pt x="19651" y="371422"/>
                    </a:lnTo>
                    <a:close/>
                  </a:path>
                </a:pathLst>
              </a:custGeom>
              <a:solidFill>
                <a:srgbClr val="7F95BC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749BBEA4-BB18-4A27-8BAF-8107A3C1926E}"/>
                  </a:ext>
                </a:extLst>
              </p:cNvPr>
              <p:cNvSpPr/>
              <p:nvPr/>
            </p:nvSpPr>
            <p:spPr>
              <a:xfrm>
                <a:off x="21459884" y="11911039"/>
                <a:ext cx="897411" cy="536914"/>
              </a:xfrm>
              <a:custGeom>
                <a:avLst/>
                <a:gdLst>
                  <a:gd name="connsiteX0" fmla="*/ 64799 w 897411"/>
                  <a:gd name="connsiteY0" fmla="*/ 530743 h 536914"/>
                  <a:gd name="connsiteX1" fmla="*/ 80228 w 897411"/>
                  <a:gd name="connsiteY1" fmla="*/ 536914 h 536914"/>
                  <a:gd name="connsiteX2" fmla="*/ 141942 w 897411"/>
                  <a:gd name="connsiteY2" fmla="*/ 536914 h 536914"/>
                  <a:gd name="connsiteX3" fmla="*/ 154286 w 897411"/>
                  <a:gd name="connsiteY3" fmla="*/ 536914 h 536914"/>
                  <a:gd name="connsiteX4" fmla="*/ 157371 w 897411"/>
                  <a:gd name="connsiteY4" fmla="*/ 456686 h 536914"/>
                  <a:gd name="connsiteX5" fmla="*/ 182056 w 897411"/>
                  <a:gd name="connsiteY5" fmla="*/ 450514 h 536914"/>
                  <a:gd name="connsiteX6" fmla="*/ 191313 w 897411"/>
                  <a:gd name="connsiteY6" fmla="*/ 484458 h 536914"/>
                  <a:gd name="connsiteX7" fmla="*/ 200571 w 897411"/>
                  <a:gd name="connsiteY7" fmla="*/ 530743 h 536914"/>
                  <a:gd name="connsiteX8" fmla="*/ 228342 w 897411"/>
                  <a:gd name="connsiteY8" fmla="*/ 524571 h 536914"/>
                  <a:gd name="connsiteX9" fmla="*/ 231429 w 897411"/>
                  <a:gd name="connsiteY9" fmla="*/ 524571 h 536914"/>
                  <a:gd name="connsiteX10" fmla="*/ 203656 w 897411"/>
                  <a:gd name="connsiteY10" fmla="*/ 373372 h 536914"/>
                  <a:gd name="connsiteX11" fmla="*/ 228342 w 897411"/>
                  <a:gd name="connsiteY11" fmla="*/ 370286 h 536914"/>
                  <a:gd name="connsiteX12" fmla="*/ 256114 w 897411"/>
                  <a:gd name="connsiteY12" fmla="*/ 518401 h 536914"/>
                  <a:gd name="connsiteX13" fmla="*/ 274627 w 897411"/>
                  <a:gd name="connsiteY13" fmla="*/ 515315 h 536914"/>
                  <a:gd name="connsiteX14" fmla="*/ 302400 w 897411"/>
                  <a:gd name="connsiteY14" fmla="*/ 509143 h 536914"/>
                  <a:gd name="connsiteX15" fmla="*/ 253027 w 897411"/>
                  <a:gd name="connsiteY15" fmla="*/ 296229 h 536914"/>
                  <a:gd name="connsiteX16" fmla="*/ 253027 w 897411"/>
                  <a:gd name="connsiteY16" fmla="*/ 286972 h 536914"/>
                  <a:gd name="connsiteX17" fmla="*/ 274627 w 897411"/>
                  <a:gd name="connsiteY17" fmla="*/ 286972 h 536914"/>
                  <a:gd name="connsiteX18" fmla="*/ 351770 w 897411"/>
                  <a:gd name="connsiteY18" fmla="*/ 496800 h 536914"/>
                  <a:gd name="connsiteX19" fmla="*/ 376456 w 897411"/>
                  <a:gd name="connsiteY19" fmla="*/ 490628 h 536914"/>
                  <a:gd name="connsiteX20" fmla="*/ 404228 w 897411"/>
                  <a:gd name="connsiteY20" fmla="*/ 481372 h 536914"/>
                  <a:gd name="connsiteX21" fmla="*/ 432000 w 897411"/>
                  <a:gd name="connsiteY21" fmla="*/ 472115 h 536914"/>
                  <a:gd name="connsiteX22" fmla="*/ 475199 w 897411"/>
                  <a:gd name="connsiteY22" fmla="*/ 456686 h 536914"/>
                  <a:gd name="connsiteX23" fmla="*/ 484456 w 897411"/>
                  <a:gd name="connsiteY23" fmla="*/ 453600 h 536914"/>
                  <a:gd name="connsiteX24" fmla="*/ 530741 w 897411"/>
                  <a:gd name="connsiteY24" fmla="*/ 435086 h 536914"/>
                  <a:gd name="connsiteX25" fmla="*/ 567770 w 897411"/>
                  <a:gd name="connsiteY25" fmla="*/ 419657 h 536914"/>
                  <a:gd name="connsiteX26" fmla="*/ 546170 w 897411"/>
                  <a:gd name="connsiteY26" fmla="*/ 351771 h 536914"/>
                  <a:gd name="connsiteX27" fmla="*/ 567770 w 897411"/>
                  <a:gd name="connsiteY27" fmla="*/ 342514 h 536914"/>
                  <a:gd name="connsiteX28" fmla="*/ 595543 w 897411"/>
                  <a:gd name="connsiteY28" fmla="*/ 404229 h 536914"/>
                  <a:gd name="connsiteX29" fmla="*/ 638741 w 897411"/>
                  <a:gd name="connsiteY29" fmla="*/ 382628 h 536914"/>
                  <a:gd name="connsiteX30" fmla="*/ 595543 w 897411"/>
                  <a:gd name="connsiteY30" fmla="*/ 265372 h 536914"/>
                  <a:gd name="connsiteX31" fmla="*/ 570857 w 897411"/>
                  <a:gd name="connsiteY31" fmla="*/ 203657 h 536914"/>
                  <a:gd name="connsiteX32" fmla="*/ 592456 w 897411"/>
                  <a:gd name="connsiteY32" fmla="*/ 194401 h 536914"/>
                  <a:gd name="connsiteX33" fmla="*/ 617143 w 897411"/>
                  <a:gd name="connsiteY33" fmla="*/ 256115 h 536914"/>
                  <a:gd name="connsiteX34" fmla="*/ 644913 w 897411"/>
                  <a:gd name="connsiteY34" fmla="*/ 305486 h 536914"/>
                  <a:gd name="connsiteX35" fmla="*/ 675770 w 897411"/>
                  <a:gd name="connsiteY35" fmla="*/ 364115 h 536914"/>
                  <a:gd name="connsiteX36" fmla="*/ 700456 w 897411"/>
                  <a:gd name="connsiteY36" fmla="*/ 348686 h 536914"/>
                  <a:gd name="connsiteX37" fmla="*/ 737485 w 897411"/>
                  <a:gd name="connsiteY37" fmla="*/ 327086 h 536914"/>
                  <a:gd name="connsiteX38" fmla="*/ 786857 w 897411"/>
                  <a:gd name="connsiteY38" fmla="*/ 296229 h 536914"/>
                  <a:gd name="connsiteX39" fmla="*/ 759085 w 897411"/>
                  <a:gd name="connsiteY39" fmla="*/ 253029 h 536914"/>
                  <a:gd name="connsiteX40" fmla="*/ 700456 w 897411"/>
                  <a:gd name="connsiteY40" fmla="*/ 151200 h 536914"/>
                  <a:gd name="connsiteX41" fmla="*/ 712799 w 897411"/>
                  <a:gd name="connsiteY41" fmla="*/ 135771 h 536914"/>
                  <a:gd name="connsiteX42" fmla="*/ 712799 w 897411"/>
                  <a:gd name="connsiteY42" fmla="*/ 135771 h 536914"/>
                  <a:gd name="connsiteX43" fmla="*/ 722056 w 897411"/>
                  <a:gd name="connsiteY43" fmla="*/ 141943 h 536914"/>
                  <a:gd name="connsiteX44" fmla="*/ 740571 w 897411"/>
                  <a:gd name="connsiteY44" fmla="*/ 175886 h 536914"/>
                  <a:gd name="connsiteX45" fmla="*/ 749828 w 897411"/>
                  <a:gd name="connsiteY45" fmla="*/ 191315 h 536914"/>
                  <a:gd name="connsiteX46" fmla="*/ 752913 w 897411"/>
                  <a:gd name="connsiteY46" fmla="*/ 194401 h 536914"/>
                  <a:gd name="connsiteX47" fmla="*/ 780685 w 897411"/>
                  <a:gd name="connsiteY47" fmla="*/ 237600 h 536914"/>
                  <a:gd name="connsiteX48" fmla="*/ 820799 w 897411"/>
                  <a:gd name="connsiteY48" fmla="*/ 274628 h 536914"/>
                  <a:gd name="connsiteX49" fmla="*/ 839313 w 897411"/>
                  <a:gd name="connsiteY49" fmla="*/ 262286 h 536914"/>
                  <a:gd name="connsiteX50" fmla="*/ 845485 w 897411"/>
                  <a:gd name="connsiteY50" fmla="*/ 256115 h 536914"/>
                  <a:gd name="connsiteX51" fmla="*/ 876342 w 897411"/>
                  <a:gd name="connsiteY51" fmla="*/ 225258 h 536914"/>
                  <a:gd name="connsiteX52" fmla="*/ 891770 w 897411"/>
                  <a:gd name="connsiteY52" fmla="*/ 209829 h 536914"/>
                  <a:gd name="connsiteX53" fmla="*/ 771429 w 897411"/>
                  <a:gd name="connsiteY53" fmla="*/ 0 h 536914"/>
                  <a:gd name="connsiteX54" fmla="*/ 0 w 897411"/>
                  <a:gd name="connsiteY54" fmla="*/ 299315 h 536914"/>
                  <a:gd name="connsiteX55" fmla="*/ 64799 w 897411"/>
                  <a:gd name="connsiteY55" fmla="*/ 530743 h 536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897411" h="536914">
                    <a:moveTo>
                      <a:pt x="64799" y="530743"/>
                    </a:moveTo>
                    <a:cubicBezTo>
                      <a:pt x="67884" y="533829"/>
                      <a:pt x="74056" y="536914"/>
                      <a:pt x="80228" y="536914"/>
                    </a:cubicBezTo>
                    <a:cubicBezTo>
                      <a:pt x="98741" y="536914"/>
                      <a:pt x="120342" y="536914"/>
                      <a:pt x="141942" y="536914"/>
                    </a:cubicBezTo>
                    <a:cubicBezTo>
                      <a:pt x="145027" y="536914"/>
                      <a:pt x="151199" y="536914"/>
                      <a:pt x="154286" y="536914"/>
                    </a:cubicBezTo>
                    <a:cubicBezTo>
                      <a:pt x="154286" y="509143"/>
                      <a:pt x="160456" y="484458"/>
                      <a:pt x="157371" y="456686"/>
                    </a:cubicBezTo>
                    <a:cubicBezTo>
                      <a:pt x="157371" y="444343"/>
                      <a:pt x="175884" y="438172"/>
                      <a:pt x="182056" y="450514"/>
                    </a:cubicBezTo>
                    <a:cubicBezTo>
                      <a:pt x="185143" y="462857"/>
                      <a:pt x="188228" y="472115"/>
                      <a:pt x="191313" y="484458"/>
                    </a:cubicBezTo>
                    <a:cubicBezTo>
                      <a:pt x="194400" y="499886"/>
                      <a:pt x="197485" y="515315"/>
                      <a:pt x="200571" y="530743"/>
                    </a:cubicBezTo>
                    <a:cubicBezTo>
                      <a:pt x="209828" y="530743"/>
                      <a:pt x="219085" y="527657"/>
                      <a:pt x="228342" y="524571"/>
                    </a:cubicBezTo>
                    <a:cubicBezTo>
                      <a:pt x="228342" y="524571"/>
                      <a:pt x="231429" y="524571"/>
                      <a:pt x="231429" y="524571"/>
                    </a:cubicBezTo>
                    <a:cubicBezTo>
                      <a:pt x="225257" y="472115"/>
                      <a:pt x="212913" y="422743"/>
                      <a:pt x="203656" y="373372"/>
                    </a:cubicBezTo>
                    <a:cubicBezTo>
                      <a:pt x="200571" y="357943"/>
                      <a:pt x="225257" y="354857"/>
                      <a:pt x="228342" y="370286"/>
                    </a:cubicBezTo>
                    <a:cubicBezTo>
                      <a:pt x="237598" y="419657"/>
                      <a:pt x="249942" y="469029"/>
                      <a:pt x="256114" y="518401"/>
                    </a:cubicBezTo>
                    <a:cubicBezTo>
                      <a:pt x="262286" y="518401"/>
                      <a:pt x="268456" y="515315"/>
                      <a:pt x="274627" y="515315"/>
                    </a:cubicBezTo>
                    <a:cubicBezTo>
                      <a:pt x="283884" y="512229"/>
                      <a:pt x="293143" y="512229"/>
                      <a:pt x="302400" y="509143"/>
                    </a:cubicBezTo>
                    <a:cubicBezTo>
                      <a:pt x="293143" y="435086"/>
                      <a:pt x="271542" y="367200"/>
                      <a:pt x="253027" y="296229"/>
                    </a:cubicBezTo>
                    <a:cubicBezTo>
                      <a:pt x="253027" y="293143"/>
                      <a:pt x="253027" y="290057"/>
                      <a:pt x="253027" y="286972"/>
                    </a:cubicBezTo>
                    <a:cubicBezTo>
                      <a:pt x="256114" y="277714"/>
                      <a:pt x="271542" y="274628"/>
                      <a:pt x="274627" y="286972"/>
                    </a:cubicBezTo>
                    <a:cubicBezTo>
                      <a:pt x="302400" y="354857"/>
                      <a:pt x="324000" y="425829"/>
                      <a:pt x="351770" y="496800"/>
                    </a:cubicBezTo>
                    <a:cubicBezTo>
                      <a:pt x="361027" y="493714"/>
                      <a:pt x="367199" y="490628"/>
                      <a:pt x="376456" y="490628"/>
                    </a:cubicBezTo>
                    <a:cubicBezTo>
                      <a:pt x="385714" y="487543"/>
                      <a:pt x="394971" y="484458"/>
                      <a:pt x="404228" y="481372"/>
                    </a:cubicBezTo>
                    <a:cubicBezTo>
                      <a:pt x="413485" y="478286"/>
                      <a:pt x="422741" y="475200"/>
                      <a:pt x="432000" y="472115"/>
                    </a:cubicBezTo>
                    <a:cubicBezTo>
                      <a:pt x="447429" y="465943"/>
                      <a:pt x="459770" y="462857"/>
                      <a:pt x="475199" y="456686"/>
                    </a:cubicBezTo>
                    <a:cubicBezTo>
                      <a:pt x="478286" y="456686"/>
                      <a:pt x="481371" y="453600"/>
                      <a:pt x="484456" y="453600"/>
                    </a:cubicBezTo>
                    <a:cubicBezTo>
                      <a:pt x="499884" y="447429"/>
                      <a:pt x="515313" y="441258"/>
                      <a:pt x="530741" y="435086"/>
                    </a:cubicBezTo>
                    <a:cubicBezTo>
                      <a:pt x="543085" y="428914"/>
                      <a:pt x="555429" y="425829"/>
                      <a:pt x="567770" y="419657"/>
                    </a:cubicBezTo>
                    <a:cubicBezTo>
                      <a:pt x="564685" y="398057"/>
                      <a:pt x="555429" y="373372"/>
                      <a:pt x="546170" y="351771"/>
                    </a:cubicBezTo>
                    <a:cubicBezTo>
                      <a:pt x="540000" y="336343"/>
                      <a:pt x="561599" y="327086"/>
                      <a:pt x="567770" y="342514"/>
                    </a:cubicBezTo>
                    <a:cubicBezTo>
                      <a:pt x="577027" y="364115"/>
                      <a:pt x="586286" y="385714"/>
                      <a:pt x="595543" y="404229"/>
                    </a:cubicBezTo>
                    <a:cubicBezTo>
                      <a:pt x="610971" y="398057"/>
                      <a:pt x="626400" y="388800"/>
                      <a:pt x="638741" y="382628"/>
                    </a:cubicBezTo>
                    <a:cubicBezTo>
                      <a:pt x="626400" y="342514"/>
                      <a:pt x="610971" y="302401"/>
                      <a:pt x="595543" y="265372"/>
                    </a:cubicBezTo>
                    <a:cubicBezTo>
                      <a:pt x="583199" y="246857"/>
                      <a:pt x="573942" y="225258"/>
                      <a:pt x="570857" y="203657"/>
                    </a:cubicBezTo>
                    <a:cubicBezTo>
                      <a:pt x="567770" y="188229"/>
                      <a:pt x="586286" y="178972"/>
                      <a:pt x="592456" y="194401"/>
                    </a:cubicBezTo>
                    <a:cubicBezTo>
                      <a:pt x="601714" y="216000"/>
                      <a:pt x="610971" y="234514"/>
                      <a:pt x="617143" y="256115"/>
                    </a:cubicBezTo>
                    <a:cubicBezTo>
                      <a:pt x="626400" y="271543"/>
                      <a:pt x="635656" y="290057"/>
                      <a:pt x="644913" y="305486"/>
                    </a:cubicBezTo>
                    <a:cubicBezTo>
                      <a:pt x="654170" y="324000"/>
                      <a:pt x="666514" y="342514"/>
                      <a:pt x="675770" y="364115"/>
                    </a:cubicBezTo>
                    <a:cubicBezTo>
                      <a:pt x="685027" y="357943"/>
                      <a:pt x="694286" y="354857"/>
                      <a:pt x="700456" y="348686"/>
                    </a:cubicBezTo>
                    <a:cubicBezTo>
                      <a:pt x="712799" y="342514"/>
                      <a:pt x="725143" y="336343"/>
                      <a:pt x="737485" y="327086"/>
                    </a:cubicBezTo>
                    <a:cubicBezTo>
                      <a:pt x="756000" y="317829"/>
                      <a:pt x="771429" y="305486"/>
                      <a:pt x="786857" y="296229"/>
                    </a:cubicBezTo>
                    <a:cubicBezTo>
                      <a:pt x="777599" y="280800"/>
                      <a:pt x="768342" y="268458"/>
                      <a:pt x="759085" y="253029"/>
                    </a:cubicBezTo>
                    <a:cubicBezTo>
                      <a:pt x="734400" y="222172"/>
                      <a:pt x="715884" y="185143"/>
                      <a:pt x="700456" y="151200"/>
                    </a:cubicBezTo>
                    <a:cubicBezTo>
                      <a:pt x="697371" y="141943"/>
                      <a:pt x="703543" y="135771"/>
                      <a:pt x="712799" y="135771"/>
                    </a:cubicBezTo>
                    <a:lnTo>
                      <a:pt x="712799" y="135771"/>
                    </a:lnTo>
                    <a:cubicBezTo>
                      <a:pt x="715884" y="135771"/>
                      <a:pt x="718971" y="138857"/>
                      <a:pt x="722056" y="141943"/>
                    </a:cubicBezTo>
                    <a:cubicBezTo>
                      <a:pt x="728228" y="154286"/>
                      <a:pt x="734400" y="163543"/>
                      <a:pt x="740571" y="175886"/>
                    </a:cubicBezTo>
                    <a:cubicBezTo>
                      <a:pt x="743656" y="182057"/>
                      <a:pt x="746741" y="185143"/>
                      <a:pt x="749828" y="191315"/>
                    </a:cubicBezTo>
                    <a:cubicBezTo>
                      <a:pt x="749828" y="191315"/>
                      <a:pt x="749828" y="194401"/>
                      <a:pt x="752913" y="194401"/>
                    </a:cubicBezTo>
                    <a:cubicBezTo>
                      <a:pt x="762170" y="209829"/>
                      <a:pt x="771429" y="225258"/>
                      <a:pt x="780685" y="237600"/>
                    </a:cubicBezTo>
                    <a:cubicBezTo>
                      <a:pt x="793027" y="253029"/>
                      <a:pt x="805371" y="265372"/>
                      <a:pt x="820799" y="274628"/>
                    </a:cubicBezTo>
                    <a:cubicBezTo>
                      <a:pt x="826971" y="271543"/>
                      <a:pt x="833143" y="265372"/>
                      <a:pt x="839313" y="262286"/>
                    </a:cubicBezTo>
                    <a:cubicBezTo>
                      <a:pt x="842400" y="259200"/>
                      <a:pt x="845485" y="259200"/>
                      <a:pt x="845485" y="256115"/>
                    </a:cubicBezTo>
                    <a:cubicBezTo>
                      <a:pt x="857828" y="246857"/>
                      <a:pt x="867085" y="237600"/>
                      <a:pt x="876342" y="225258"/>
                    </a:cubicBezTo>
                    <a:cubicBezTo>
                      <a:pt x="882514" y="219086"/>
                      <a:pt x="885599" y="212914"/>
                      <a:pt x="891770" y="209829"/>
                    </a:cubicBezTo>
                    <a:cubicBezTo>
                      <a:pt x="928799" y="166628"/>
                      <a:pt x="771429" y="0"/>
                      <a:pt x="771429" y="0"/>
                    </a:cubicBezTo>
                    <a:lnTo>
                      <a:pt x="0" y="299315"/>
                    </a:lnTo>
                    <a:cubicBezTo>
                      <a:pt x="3085" y="299315"/>
                      <a:pt x="18514" y="490628"/>
                      <a:pt x="64799" y="530743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5" name="图形 1">
              <a:extLst>
                <a:ext uri="{FF2B5EF4-FFF2-40B4-BE49-F238E27FC236}">
                  <a16:creationId xmlns:a16="http://schemas.microsoft.com/office/drawing/2014/main" id="{948E59FB-8C5B-4CFC-BB17-32D3A7F5BDB3}"/>
                </a:ext>
              </a:extLst>
            </p:cNvPr>
            <p:cNvGrpSpPr/>
            <p:nvPr/>
          </p:nvGrpSpPr>
          <p:grpSpPr>
            <a:xfrm>
              <a:off x="20981859" y="9983239"/>
              <a:ext cx="125012" cy="159686"/>
              <a:chOff x="20981859" y="9983239"/>
              <a:chExt cx="125012" cy="159686"/>
            </a:xfrm>
          </p:grpSpPr>
          <p:grpSp>
            <p:nvGrpSpPr>
              <p:cNvPr id="48" name="图形 1">
                <a:extLst>
                  <a:ext uri="{FF2B5EF4-FFF2-40B4-BE49-F238E27FC236}">
                    <a16:creationId xmlns:a16="http://schemas.microsoft.com/office/drawing/2014/main" id="{798EE3ED-529D-470D-A135-356E3DD8CB6A}"/>
                  </a:ext>
                </a:extLst>
              </p:cNvPr>
              <p:cNvGrpSpPr/>
              <p:nvPr/>
            </p:nvGrpSpPr>
            <p:grpSpPr>
              <a:xfrm>
                <a:off x="20984683" y="9989698"/>
                <a:ext cx="122188" cy="153226"/>
                <a:chOff x="20984683" y="9989698"/>
                <a:chExt cx="122188" cy="153226"/>
              </a:xfrm>
            </p:grpSpPr>
            <p:sp>
              <p:nvSpPr>
                <p:cNvPr id="50" name="任意多边形: 形状 49">
                  <a:extLst>
                    <a:ext uri="{FF2B5EF4-FFF2-40B4-BE49-F238E27FC236}">
                      <a16:creationId xmlns:a16="http://schemas.microsoft.com/office/drawing/2014/main" id="{FC9B5C68-56FE-4AC3-A837-77E5AA4E659A}"/>
                    </a:ext>
                  </a:extLst>
                </p:cNvPr>
                <p:cNvSpPr/>
                <p:nvPr/>
              </p:nvSpPr>
              <p:spPr>
                <a:xfrm>
                  <a:off x="20984683" y="9989698"/>
                  <a:ext cx="122188" cy="147055"/>
                </a:xfrm>
                <a:custGeom>
                  <a:avLst/>
                  <a:gdLst>
                    <a:gd name="connsiteX0" fmla="*/ 21600 w 122188"/>
                    <a:gd name="connsiteY0" fmla="*/ 11284 h 147055"/>
                    <a:gd name="connsiteX1" fmla="*/ 46286 w 122188"/>
                    <a:gd name="connsiteY1" fmla="*/ 2027 h 147055"/>
                    <a:gd name="connsiteX2" fmla="*/ 64799 w 122188"/>
                    <a:gd name="connsiteY2" fmla="*/ 5112 h 147055"/>
                    <a:gd name="connsiteX3" fmla="*/ 74058 w 122188"/>
                    <a:gd name="connsiteY3" fmla="*/ 23626 h 147055"/>
                    <a:gd name="connsiteX4" fmla="*/ 77143 w 122188"/>
                    <a:gd name="connsiteY4" fmla="*/ 26712 h 147055"/>
                    <a:gd name="connsiteX5" fmla="*/ 83315 w 122188"/>
                    <a:gd name="connsiteY5" fmla="*/ 51398 h 147055"/>
                    <a:gd name="connsiteX6" fmla="*/ 92571 w 122188"/>
                    <a:gd name="connsiteY6" fmla="*/ 54484 h 147055"/>
                    <a:gd name="connsiteX7" fmla="*/ 98743 w 122188"/>
                    <a:gd name="connsiteY7" fmla="*/ 79170 h 147055"/>
                    <a:gd name="connsiteX8" fmla="*/ 114172 w 122188"/>
                    <a:gd name="connsiteY8" fmla="*/ 82255 h 147055"/>
                    <a:gd name="connsiteX9" fmla="*/ 120344 w 122188"/>
                    <a:gd name="connsiteY9" fmla="*/ 110027 h 147055"/>
                    <a:gd name="connsiteX10" fmla="*/ 70971 w 122188"/>
                    <a:gd name="connsiteY10" fmla="*/ 140884 h 147055"/>
                    <a:gd name="connsiteX11" fmla="*/ 61714 w 122188"/>
                    <a:gd name="connsiteY11" fmla="*/ 147055 h 147055"/>
                    <a:gd name="connsiteX12" fmla="*/ 52458 w 122188"/>
                    <a:gd name="connsiteY12" fmla="*/ 147055 h 147055"/>
                    <a:gd name="connsiteX13" fmla="*/ 33942 w 122188"/>
                    <a:gd name="connsiteY13" fmla="*/ 119284 h 147055"/>
                    <a:gd name="connsiteX14" fmla="*/ 33942 w 122188"/>
                    <a:gd name="connsiteY14" fmla="*/ 116198 h 147055"/>
                    <a:gd name="connsiteX15" fmla="*/ 30857 w 122188"/>
                    <a:gd name="connsiteY15" fmla="*/ 116198 h 147055"/>
                    <a:gd name="connsiteX16" fmla="*/ 12344 w 122188"/>
                    <a:gd name="connsiteY16" fmla="*/ 88427 h 147055"/>
                    <a:gd name="connsiteX17" fmla="*/ 15429 w 122188"/>
                    <a:gd name="connsiteY17" fmla="*/ 76084 h 147055"/>
                    <a:gd name="connsiteX18" fmla="*/ 6172 w 122188"/>
                    <a:gd name="connsiteY18" fmla="*/ 57570 h 147055"/>
                    <a:gd name="connsiteX19" fmla="*/ 15429 w 122188"/>
                    <a:gd name="connsiteY19" fmla="*/ 42141 h 147055"/>
                    <a:gd name="connsiteX20" fmla="*/ 0 w 122188"/>
                    <a:gd name="connsiteY20" fmla="*/ 23626 h 147055"/>
                    <a:gd name="connsiteX21" fmla="*/ 21600 w 122188"/>
                    <a:gd name="connsiteY21" fmla="*/ 11284 h 147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22188" h="147055">
                      <a:moveTo>
                        <a:pt x="21600" y="11284"/>
                      </a:moveTo>
                      <a:cubicBezTo>
                        <a:pt x="27772" y="8198"/>
                        <a:pt x="40114" y="5112"/>
                        <a:pt x="46286" y="2027"/>
                      </a:cubicBezTo>
                      <a:cubicBezTo>
                        <a:pt x="52458" y="-1059"/>
                        <a:pt x="58629" y="-1059"/>
                        <a:pt x="64799" y="5112"/>
                      </a:cubicBezTo>
                      <a:cubicBezTo>
                        <a:pt x="70971" y="8198"/>
                        <a:pt x="74058" y="17456"/>
                        <a:pt x="74058" y="23626"/>
                      </a:cubicBezTo>
                      <a:cubicBezTo>
                        <a:pt x="74058" y="23626"/>
                        <a:pt x="77143" y="23626"/>
                        <a:pt x="77143" y="26712"/>
                      </a:cubicBezTo>
                      <a:cubicBezTo>
                        <a:pt x="83315" y="32884"/>
                        <a:pt x="86400" y="42141"/>
                        <a:pt x="83315" y="51398"/>
                      </a:cubicBezTo>
                      <a:cubicBezTo>
                        <a:pt x="86400" y="51398"/>
                        <a:pt x="89486" y="51398"/>
                        <a:pt x="92571" y="54484"/>
                      </a:cubicBezTo>
                      <a:cubicBezTo>
                        <a:pt x="98743" y="60655"/>
                        <a:pt x="101828" y="72998"/>
                        <a:pt x="98743" y="79170"/>
                      </a:cubicBezTo>
                      <a:cubicBezTo>
                        <a:pt x="104915" y="79170"/>
                        <a:pt x="108000" y="79170"/>
                        <a:pt x="114172" y="82255"/>
                      </a:cubicBezTo>
                      <a:cubicBezTo>
                        <a:pt x="123429" y="88427"/>
                        <a:pt x="123429" y="103855"/>
                        <a:pt x="120344" y="110027"/>
                      </a:cubicBezTo>
                      <a:cubicBezTo>
                        <a:pt x="111085" y="128541"/>
                        <a:pt x="89486" y="131626"/>
                        <a:pt x="70971" y="140884"/>
                      </a:cubicBezTo>
                      <a:cubicBezTo>
                        <a:pt x="67886" y="140884"/>
                        <a:pt x="64799" y="147055"/>
                        <a:pt x="61714" y="147055"/>
                      </a:cubicBezTo>
                      <a:cubicBezTo>
                        <a:pt x="58629" y="147055"/>
                        <a:pt x="55542" y="147055"/>
                        <a:pt x="52458" y="147055"/>
                      </a:cubicBezTo>
                      <a:cubicBezTo>
                        <a:pt x="43201" y="143969"/>
                        <a:pt x="33942" y="134712"/>
                        <a:pt x="33942" y="119284"/>
                      </a:cubicBezTo>
                      <a:cubicBezTo>
                        <a:pt x="33942" y="119284"/>
                        <a:pt x="33942" y="116198"/>
                        <a:pt x="33942" y="116198"/>
                      </a:cubicBezTo>
                      <a:cubicBezTo>
                        <a:pt x="33942" y="116198"/>
                        <a:pt x="30857" y="116198"/>
                        <a:pt x="30857" y="116198"/>
                      </a:cubicBezTo>
                      <a:cubicBezTo>
                        <a:pt x="21600" y="113112"/>
                        <a:pt x="12344" y="103855"/>
                        <a:pt x="12344" y="88427"/>
                      </a:cubicBezTo>
                      <a:cubicBezTo>
                        <a:pt x="12344" y="82255"/>
                        <a:pt x="12344" y="79170"/>
                        <a:pt x="15429" y="76084"/>
                      </a:cubicBezTo>
                      <a:cubicBezTo>
                        <a:pt x="12344" y="72998"/>
                        <a:pt x="6172" y="66826"/>
                        <a:pt x="6172" y="57570"/>
                      </a:cubicBezTo>
                      <a:cubicBezTo>
                        <a:pt x="6172" y="48313"/>
                        <a:pt x="9257" y="45227"/>
                        <a:pt x="15429" y="42141"/>
                      </a:cubicBezTo>
                      <a:cubicBezTo>
                        <a:pt x="9257" y="39055"/>
                        <a:pt x="0" y="32884"/>
                        <a:pt x="0" y="23626"/>
                      </a:cubicBezTo>
                      <a:cubicBezTo>
                        <a:pt x="3085" y="20541"/>
                        <a:pt x="15429" y="14370"/>
                        <a:pt x="21600" y="11284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1" name="任意多边形: 形状 50">
                  <a:extLst>
                    <a:ext uri="{FF2B5EF4-FFF2-40B4-BE49-F238E27FC236}">
                      <a16:creationId xmlns:a16="http://schemas.microsoft.com/office/drawing/2014/main" id="{1EF99004-9381-4ACA-84E4-60CBDAF45DB8}"/>
                    </a:ext>
                  </a:extLst>
                </p:cNvPr>
                <p:cNvSpPr/>
                <p:nvPr/>
              </p:nvSpPr>
              <p:spPr>
                <a:xfrm>
                  <a:off x="20995655" y="10038675"/>
                  <a:ext cx="107563" cy="104249"/>
                </a:xfrm>
                <a:custGeom>
                  <a:avLst/>
                  <a:gdLst>
                    <a:gd name="connsiteX0" fmla="*/ 44570 w 107563"/>
                    <a:gd name="connsiteY0" fmla="*/ 104250 h 104249"/>
                    <a:gd name="connsiteX1" fmla="*/ 35314 w 107563"/>
                    <a:gd name="connsiteY1" fmla="*/ 104250 h 104249"/>
                    <a:gd name="connsiteX2" fmla="*/ 22970 w 107563"/>
                    <a:gd name="connsiteY2" fmla="*/ 88821 h 104249"/>
                    <a:gd name="connsiteX3" fmla="*/ 22970 w 107563"/>
                    <a:gd name="connsiteY3" fmla="*/ 79564 h 104249"/>
                    <a:gd name="connsiteX4" fmla="*/ 1371 w 107563"/>
                    <a:gd name="connsiteY4" fmla="*/ 54878 h 104249"/>
                    <a:gd name="connsiteX5" fmla="*/ 32229 w 107563"/>
                    <a:gd name="connsiteY5" fmla="*/ 14764 h 104249"/>
                    <a:gd name="connsiteX6" fmla="*/ 84684 w 107563"/>
                    <a:gd name="connsiteY6" fmla="*/ 2421 h 104249"/>
                    <a:gd name="connsiteX7" fmla="*/ 100113 w 107563"/>
                    <a:gd name="connsiteY7" fmla="*/ 14764 h 104249"/>
                    <a:gd name="connsiteX8" fmla="*/ 103200 w 107563"/>
                    <a:gd name="connsiteY8" fmla="*/ 33278 h 104249"/>
                    <a:gd name="connsiteX9" fmla="*/ 97028 w 107563"/>
                    <a:gd name="connsiteY9" fmla="*/ 39450 h 104249"/>
                    <a:gd name="connsiteX10" fmla="*/ 38398 w 107563"/>
                    <a:gd name="connsiteY10" fmla="*/ 85735 h 104249"/>
                    <a:gd name="connsiteX11" fmla="*/ 44570 w 107563"/>
                    <a:gd name="connsiteY11" fmla="*/ 91907 h 104249"/>
                    <a:gd name="connsiteX12" fmla="*/ 97028 w 107563"/>
                    <a:gd name="connsiteY12" fmla="*/ 73393 h 104249"/>
                    <a:gd name="connsiteX13" fmla="*/ 106285 w 107563"/>
                    <a:gd name="connsiteY13" fmla="*/ 76479 h 104249"/>
                    <a:gd name="connsiteX14" fmla="*/ 103200 w 107563"/>
                    <a:gd name="connsiteY14" fmla="*/ 85735 h 104249"/>
                    <a:gd name="connsiteX15" fmla="*/ 44570 w 107563"/>
                    <a:gd name="connsiteY15" fmla="*/ 104250 h 104249"/>
                    <a:gd name="connsiteX16" fmla="*/ 72342 w 107563"/>
                    <a:gd name="connsiteY16" fmla="*/ 11679 h 104249"/>
                    <a:gd name="connsiteX17" fmla="*/ 35314 w 107563"/>
                    <a:gd name="connsiteY17" fmla="*/ 24021 h 104249"/>
                    <a:gd name="connsiteX18" fmla="*/ 10628 w 107563"/>
                    <a:gd name="connsiteY18" fmla="*/ 48707 h 104249"/>
                    <a:gd name="connsiteX19" fmla="*/ 22970 w 107563"/>
                    <a:gd name="connsiteY19" fmla="*/ 64135 h 104249"/>
                    <a:gd name="connsiteX20" fmla="*/ 87771 w 107563"/>
                    <a:gd name="connsiteY20" fmla="*/ 27107 h 104249"/>
                    <a:gd name="connsiteX21" fmla="*/ 87771 w 107563"/>
                    <a:gd name="connsiteY21" fmla="*/ 27107 h 104249"/>
                    <a:gd name="connsiteX22" fmla="*/ 84684 w 107563"/>
                    <a:gd name="connsiteY22" fmla="*/ 17849 h 104249"/>
                    <a:gd name="connsiteX23" fmla="*/ 78514 w 107563"/>
                    <a:gd name="connsiteY23" fmla="*/ 11679 h 104249"/>
                    <a:gd name="connsiteX24" fmla="*/ 72342 w 107563"/>
                    <a:gd name="connsiteY24" fmla="*/ 11679 h 1042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07563" h="104249">
                      <a:moveTo>
                        <a:pt x="44570" y="104250"/>
                      </a:moveTo>
                      <a:cubicBezTo>
                        <a:pt x="41485" y="104250"/>
                        <a:pt x="38398" y="104250"/>
                        <a:pt x="35314" y="104250"/>
                      </a:cubicBezTo>
                      <a:cubicBezTo>
                        <a:pt x="29142" y="101164"/>
                        <a:pt x="26057" y="98078"/>
                        <a:pt x="22970" y="88821"/>
                      </a:cubicBezTo>
                      <a:cubicBezTo>
                        <a:pt x="22970" y="85735"/>
                        <a:pt x="22970" y="82650"/>
                        <a:pt x="22970" y="79564"/>
                      </a:cubicBezTo>
                      <a:cubicBezTo>
                        <a:pt x="19885" y="76479"/>
                        <a:pt x="4456" y="70307"/>
                        <a:pt x="1371" y="54878"/>
                      </a:cubicBezTo>
                      <a:cubicBezTo>
                        <a:pt x="-4800" y="36364"/>
                        <a:pt x="10628" y="27107"/>
                        <a:pt x="32229" y="14764"/>
                      </a:cubicBezTo>
                      <a:cubicBezTo>
                        <a:pt x="53827" y="2421"/>
                        <a:pt x="72342" y="-3750"/>
                        <a:pt x="84684" y="2421"/>
                      </a:cubicBezTo>
                      <a:cubicBezTo>
                        <a:pt x="90856" y="5507"/>
                        <a:pt x="97028" y="8593"/>
                        <a:pt x="100113" y="14764"/>
                      </a:cubicBezTo>
                      <a:cubicBezTo>
                        <a:pt x="103200" y="20935"/>
                        <a:pt x="106285" y="30193"/>
                        <a:pt x="103200" y="33278"/>
                      </a:cubicBezTo>
                      <a:cubicBezTo>
                        <a:pt x="100113" y="39450"/>
                        <a:pt x="97028" y="39450"/>
                        <a:pt x="97028" y="39450"/>
                      </a:cubicBezTo>
                      <a:cubicBezTo>
                        <a:pt x="32229" y="61050"/>
                        <a:pt x="35314" y="76479"/>
                        <a:pt x="38398" y="85735"/>
                      </a:cubicBezTo>
                      <a:cubicBezTo>
                        <a:pt x="38398" y="88821"/>
                        <a:pt x="41485" y="91907"/>
                        <a:pt x="44570" y="91907"/>
                      </a:cubicBezTo>
                      <a:cubicBezTo>
                        <a:pt x="56914" y="94992"/>
                        <a:pt x="81599" y="82650"/>
                        <a:pt x="97028" y="73393"/>
                      </a:cubicBezTo>
                      <a:cubicBezTo>
                        <a:pt x="100113" y="70307"/>
                        <a:pt x="103200" y="73393"/>
                        <a:pt x="106285" y="76479"/>
                      </a:cubicBezTo>
                      <a:cubicBezTo>
                        <a:pt x="109371" y="79564"/>
                        <a:pt x="106285" y="82650"/>
                        <a:pt x="103200" y="85735"/>
                      </a:cubicBezTo>
                      <a:cubicBezTo>
                        <a:pt x="93943" y="85735"/>
                        <a:pt x="66171" y="104250"/>
                        <a:pt x="44570" y="104250"/>
                      </a:cubicBezTo>
                      <a:close/>
                      <a:moveTo>
                        <a:pt x="72342" y="11679"/>
                      </a:moveTo>
                      <a:cubicBezTo>
                        <a:pt x="66171" y="11679"/>
                        <a:pt x="53827" y="14764"/>
                        <a:pt x="35314" y="24021"/>
                      </a:cubicBezTo>
                      <a:cubicBezTo>
                        <a:pt x="13713" y="36364"/>
                        <a:pt x="7541" y="42536"/>
                        <a:pt x="10628" y="48707"/>
                      </a:cubicBezTo>
                      <a:cubicBezTo>
                        <a:pt x="13713" y="54878"/>
                        <a:pt x="19885" y="61050"/>
                        <a:pt x="22970" y="64135"/>
                      </a:cubicBezTo>
                      <a:cubicBezTo>
                        <a:pt x="29142" y="51792"/>
                        <a:pt x="47657" y="39450"/>
                        <a:pt x="87771" y="27107"/>
                      </a:cubicBezTo>
                      <a:lnTo>
                        <a:pt x="87771" y="27107"/>
                      </a:lnTo>
                      <a:cubicBezTo>
                        <a:pt x="87771" y="27107"/>
                        <a:pt x="87771" y="24021"/>
                        <a:pt x="84684" y="17849"/>
                      </a:cubicBezTo>
                      <a:cubicBezTo>
                        <a:pt x="81599" y="14764"/>
                        <a:pt x="81599" y="11679"/>
                        <a:pt x="78514" y="11679"/>
                      </a:cubicBezTo>
                      <a:cubicBezTo>
                        <a:pt x="78514" y="11679"/>
                        <a:pt x="75427" y="11679"/>
                        <a:pt x="72342" y="11679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8F3E40CB-191F-4AD7-BA6E-DAE23C5E6B42}"/>
                    </a:ext>
                  </a:extLst>
                </p:cNvPr>
                <p:cNvSpPr/>
                <p:nvPr/>
              </p:nvSpPr>
              <p:spPr>
                <a:xfrm>
                  <a:off x="20990359" y="10006569"/>
                  <a:ext cx="92007" cy="74641"/>
                </a:xfrm>
                <a:custGeom>
                  <a:avLst/>
                  <a:gdLst>
                    <a:gd name="connsiteX0" fmla="*/ 12837 w 92007"/>
                    <a:gd name="connsiteY0" fmla="*/ 74642 h 74641"/>
                    <a:gd name="connsiteX1" fmla="*/ 9752 w 92007"/>
                    <a:gd name="connsiteY1" fmla="*/ 71556 h 74641"/>
                    <a:gd name="connsiteX2" fmla="*/ 496 w 92007"/>
                    <a:gd name="connsiteY2" fmla="*/ 46871 h 74641"/>
                    <a:gd name="connsiteX3" fmla="*/ 12837 w 92007"/>
                    <a:gd name="connsiteY3" fmla="*/ 25270 h 74641"/>
                    <a:gd name="connsiteX4" fmla="*/ 74552 w 92007"/>
                    <a:gd name="connsiteY4" fmla="*/ 585 h 74641"/>
                    <a:gd name="connsiteX5" fmla="*/ 86895 w 92007"/>
                    <a:gd name="connsiteY5" fmla="*/ 6756 h 74641"/>
                    <a:gd name="connsiteX6" fmla="*/ 89980 w 92007"/>
                    <a:gd name="connsiteY6" fmla="*/ 34527 h 74641"/>
                    <a:gd name="connsiteX7" fmla="*/ 80723 w 92007"/>
                    <a:gd name="connsiteY7" fmla="*/ 37613 h 74641"/>
                    <a:gd name="connsiteX8" fmla="*/ 77638 w 92007"/>
                    <a:gd name="connsiteY8" fmla="*/ 28356 h 74641"/>
                    <a:gd name="connsiteX9" fmla="*/ 74552 w 92007"/>
                    <a:gd name="connsiteY9" fmla="*/ 9842 h 74641"/>
                    <a:gd name="connsiteX10" fmla="*/ 71467 w 92007"/>
                    <a:gd name="connsiteY10" fmla="*/ 6756 h 74641"/>
                    <a:gd name="connsiteX11" fmla="*/ 71467 w 92007"/>
                    <a:gd name="connsiteY11" fmla="*/ 6756 h 74641"/>
                    <a:gd name="connsiteX12" fmla="*/ 19009 w 92007"/>
                    <a:gd name="connsiteY12" fmla="*/ 31442 h 74641"/>
                    <a:gd name="connsiteX13" fmla="*/ 12837 w 92007"/>
                    <a:gd name="connsiteY13" fmla="*/ 43785 h 74641"/>
                    <a:gd name="connsiteX14" fmla="*/ 19009 w 92007"/>
                    <a:gd name="connsiteY14" fmla="*/ 62299 h 74641"/>
                    <a:gd name="connsiteX15" fmla="*/ 19009 w 92007"/>
                    <a:gd name="connsiteY15" fmla="*/ 71556 h 74641"/>
                    <a:gd name="connsiteX16" fmla="*/ 12837 w 92007"/>
                    <a:gd name="connsiteY16" fmla="*/ 74642 h 746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92007" h="74641">
                      <a:moveTo>
                        <a:pt x="12837" y="74642"/>
                      </a:moveTo>
                      <a:cubicBezTo>
                        <a:pt x="9752" y="74642"/>
                        <a:pt x="9752" y="74642"/>
                        <a:pt x="9752" y="71556"/>
                      </a:cubicBezTo>
                      <a:cubicBezTo>
                        <a:pt x="9752" y="71556"/>
                        <a:pt x="-2591" y="59213"/>
                        <a:pt x="496" y="46871"/>
                      </a:cubicBezTo>
                      <a:cubicBezTo>
                        <a:pt x="496" y="37613"/>
                        <a:pt x="3581" y="31442"/>
                        <a:pt x="12837" y="25270"/>
                      </a:cubicBezTo>
                      <a:cubicBezTo>
                        <a:pt x="34438" y="6756"/>
                        <a:pt x="62210" y="-2501"/>
                        <a:pt x="74552" y="585"/>
                      </a:cubicBezTo>
                      <a:cubicBezTo>
                        <a:pt x="77638" y="585"/>
                        <a:pt x="83810" y="3670"/>
                        <a:pt x="86895" y="6756"/>
                      </a:cubicBezTo>
                      <a:cubicBezTo>
                        <a:pt x="93067" y="16013"/>
                        <a:pt x="93067" y="28356"/>
                        <a:pt x="89980" y="34527"/>
                      </a:cubicBezTo>
                      <a:cubicBezTo>
                        <a:pt x="89980" y="37613"/>
                        <a:pt x="83810" y="37613"/>
                        <a:pt x="80723" y="37613"/>
                      </a:cubicBezTo>
                      <a:cubicBezTo>
                        <a:pt x="77638" y="37613"/>
                        <a:pt x="77638" y="31442"/>
                        <a:pt x="77638" y="28356"/>
                      </a:cubicBezTo>
                      <a:cubicBezTo>
                        <a:pt x="77638" y="25270"/>
                        <a:pt x="77638" y="16013"/>
                        <a:pt x="74552" y="9842"/>
                      </a:cubicBezTo>
                      <a:cubicBezTo>
                        <a:pt x="74552" y="6756"/>
                        <a:pt x="71467" y="6756"/>
                        <a:pt x="71467" y="6756"/>
                      </a:cubicBezTo>
                      <a:cubicBezTo>
                        <a:pt x="71467" y="6756"/>
                        <a:pt x="71467" y="6756"/>
                        <a:pt x="71467" y="6756"/>
                      </a:cubicBezTo>
                      <a:cubicBezTo>
                        <a:pt x="62210" y="6756"/>
                        <a:pt x="37524" y="12927"/>
                        <a:pt x="19009" y="31442"/>
                      </a:cubicBezTo>
                      <a:cubicBezTo>
                        <a:pt x="15924" y="34527"/>
                        <a:pt x="12837" y="37613"/>
                        <a:pt x="12837" y="43785"/>
                      </a:cubicBezTo>
                      <a:cubicBezTo>
                        <a:pt x="12837" y="53041"/>
                        <a:pt x="19009" y="62299"/>
                        <a:pt x="19009" y="62299"/>
                      </a:cubicBezTo>
                      <a:cubicBezTo>
                        <a:pt x="22096" y="65384"/>
                        <a:pt x="22096" y="68470"/>
                        <a:pt x="19009" y="71556"/>
                      </a:cubicBezTo>
                      <a:cubicBezTo>
                        <a:pt x="15924" y="74642"/>
                        <a:pt x="12837" y="74642"/>
                        <a:pt x="12837" y="74642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9E029FFF-8F19-4B97-8F43-80DF68781889}"/>
                  </a:ext>
                </a:extLst>
              </p:cNvPr>
              <p:cNvSpPr/>
              <p:nvPr/>
            </p:nvSpPr>
            <p:spPr>
              <a:xfrm>
                <a:off x="20981859" y="9983239"/>
                <a:ext cx="83051" cy="60942"/>
              </a:xfrm>
              <a:custGeom>
                <a:avLst/>
                <a:gdLst>
                  <a:gd name="connsiteX0" fmla="*/ 21337 w 83051"/>
                  <a:gd name="connsiteY0" fmla="*/ 60943 h 60942"/>
                  <a:gd name="connsiteX1" fmla="*/ 21337 w 83051"/>
                  <a:gd name="connsiteY1" fmla="*/ 60943 h 60942"/>
                  <a:gd name="connsiteX2" fmla="*/ 2824 w 83051"/>
                  <a:gd name="connsiteY2" fmla="*/ 27000 h 60942"/>
                  <a:gd name="connsiteX3" fmla="*/ 42938 w 83051"/>
                  <a:gd name="connsiteY3" fmla="*/ 2314 h 60942"/>
                  <a:gd name="connsiteX4" fmla="*/ 67623 w 83051"/>
                  <a:gd name="connsiteY4" fmla="*/ 2314 h 60942"/>
                  <a:gd name="connsiteX5" fmla="*/ 83051 w 83051"/>
                  <a:gd name="connsiteY5" fmla="*/ 27000 h 60942"/>
                  <a:gd name="connsiteX6" fmla="*/ 76882 w 83051"/>
                  <a:gd name="connsiteY6" fmla="*/ 33172 h 60942"/>
                  <a:gd name="connsiteX7" fmla="*/ 70710 w 83051"/>
                  <a:gd name="connsiteY7" fmla="*/ 27000 h 60942"/>
                  <a:gd name="connsiteX8" fmla="*/ 61453 w 83051"/>
                  <a:gd name="connsiteY8" fmla="*/ 11571 h 60942"/>
                  <a:gd name="connsiteX9" fmla="*/ 46024 w 83051"/>
                  <a:gd name="connsiteY9" fmla="*/ 11571 h 60942"/>
                  <a:gd name="connsiteX10" fmla="*/ 12080 w 83051"/>
                  <a:gd name="connsiteY10" fmla="*/ 30086 h 60942"/>
                  <a:gd name="connsiteX11" fmla="*/ 21337 w 83051"/>
                  <a:gd name="connsiteY11" fmla="*/ 45514 h 60942"/>
                  <a:gd name="connsiteX12" fmla="*/ 24424 w 83051"/>
                  <a:gd name="connsiteY12" fmla="*/ 54772 h 60942"/>
                  <a:gd name="connsiteX13" fmla="*/ 21337 w 83051"/>
                  <a:gd name="connsiteY13" fmla="*/ 60943 h 60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3051" h="60942">
                    <a:moveTo>
                      <a:pt x="21337" y="60943"/>
                    </a:moveTo>
                    <a:cubicBezTo>
                      <a:pt x="18252" y="60943"/>
                      <a:pt x="18252" y="60943"/>
                      <a:pt x="21337" y="60943"/>
                    </a:cubicBezTo>
                    <a:cubicBezTo>
                      <a:pt x="8995" y="54772"/>
                      <a:pt x="-6433" y="42428"/>
                      <a:pt x="2824" y="27000"/>
                    </a:cubicBezTo>
                    <a:cubicBezTo>
                      <a:pt x="8995" y="17743"/>
                      <a:pt x="30596" y="8486"/>
                      <a:pt x="42938" y="2314"/>
                    </a:cubicBezTo>
                    <a:cubicBezTo>
                      <a:pt x="55281" y="-771"/>
                      <a:pt x="64538" y="-771"/>
                      <a:pt x="67623" y="2314"/>
                    </a:cubicBezTo>
                    <a:cubicBezTo>
                      <a:pt x="83051" y="11571"/>
                      <a:pt x="83051" y="27000"/>
                      <a:pt x="83051" y="27000"/>
                    </a:cubicBezTo>
                    <a:cubicBezTo>
                      <a:pt x="83051" y="30086"/>
                      <a:pt x="79966" y="33172"/>
                      <a:pt x="76882" y="33172"/>
                    </a:cubicBezTo>
                    <a:cubicBezTo>
                      <a:pt x="73795" y="33172"/>
                      <a:pt x="70710" y="30086"/>
                      <a:pt x="70710" y="27000"/>
                    </a:cubicBezTo>
                    <a:cubicBezTo>
                      <a:pt x="70710" y="27000"/>
                      <a:pt x="70710" y="17743"/>
                      <a:pt x="61453" y="11571"/>
                    </a:cubicBezTo>
                    <a:cubicBezTo>
                      <a:pt x="61453" y="11571"/>
                      <a:pt x="55281" y="8486"/>
                      <a:pt x="46024" y="11571"/>
                    </a:cubicBezTo>
                    <a:cubicBezTo>
                      <a:pt x="30596" y="14657"/>
                      <a:pt x="15167" y="23915"/>
                      <a:pt x="12080" y="30086"/>
                    </a:cubicBezTo>
                    <a:cubicBezTo>
                      <a:pt x="8995" y="39343"/>
                      <a:pt x="21337" y="45514"/>
                      <a:pt x="21337" y="45514"/>
                    </a:cubicBezTo>
                    <a:cubicBezTo>
                      <a:pt x="24424" y="45514"/>
                      <a:pt x="24424" y="51686"/>
                      <a:pt x="24424" y="54772"/>
                    </a:cubicBezTo>
                    <a:cubicBezTo>
                      <a:pt x="24424" y="57857"/>
                      <a:pt x="21337" y="60943"/>
                      <a:pt x="21337" y="6094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F37E7E87-D2E3-4FC3-9F3C-3F8C55D52C4B}"/>
                </a:ext>
              </a:extLst>
            </p:cNvPr>
            <p:cNvGrpSpPr/>
            <p:nvPr/>
          </p:nvGrpSpPr>
          <p:grpSpPr>
            <a:xfrm>
              <a:off x="21060283" y="9957782"/>
              <a:ext cx="75600" cy="151199"/>
              <a:chOff x="21060283" y="9957782"/>
              <a:chExt cx="75600" cy="151199"/>
            </a:xfrm>
          </p:grpSpPr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C045B80F-70D3-4112-9DB1-C12F43AE7587}"/>
                  </a:ext>
                </a:extLst>
              </p:cNvPr>
              <p:cNvSpPr/>
              <p:nvPr/>
            </p:nvSpPr>
            <p:spPr>
              <a:xfrm>
                <a:off x="21061150" y="9957782"/>
                <a:ext cx="71646" cy="144465"/>
              </a:xfrm>
              <a:custGeom>
                <a:avLst/>
                <a:gdLst>
                  <a:gd name="connsiteX0" fmla="*/ 71647 w 71646"/>
                  <a:gd name="connsiteY0" fmla="*/ 40114 h 144465"/>
                  <a:gd name="connsiteX1" fmla="*/ 59305 w 71646"/>
                  <a:gd name="connsiteY1" fmla="*/ 9257 h 144465"/>
                  <a:gd name="connsiteX2" fmla="*/ 34618 w 71646"/>
                  <a:gd name="connsiteY2" fmla="*/ 0 h 144465"/>
                  <a:gd name="connsiteX3" fmla="*/ 19189 w 71646"/>
                  <a:gd name="connsiteY3" fmla="*/ 46286 h 144465"/>
                  <a:gd name="connsiteX4" fmla="*/ 3760 w 71646"/>
                  <a:gd name="connsiteY4" fmla="*/ 123429 h 144465"/>
                  <a:gd name="connsiteX5" fmla="*/ 16104 w 71646"/>
                  <a:gd name="connsiteY5" fmla="*/ 141943 h 144465"/>
                  <a:gd name="connsiteX6" fmla="*/ 53133 w 71646"/>
                  <a:gd name="connsiteY6" fmla="*/ 104914 h 144465"/>
                  <a:gd name="connsiteX7" fmla="*/ 71647 w 71646"/>
                  <a:gd name="connsiteY7" fmla="*/ 40114 h 1444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646" h="144465">
                    <a:moveTo>
                      <a:pt x="71647" y="40114"/>
                    </a:moveTo>
                    <a:cubicBezTo>
                      <a:pt x="71647" y="30857"/>
                      <a:pt x="65475" y="18514"/>
                      <a:pt x="59305" y="9257"/>
                    </a:cubicBezTo>
                    <a:cubicBezTo>
                      <a:pt x="59305" y="9257"/>
                      <a:pt x="34618" y="0"/>
                      <a:pt x="34618" y="0"/>
                    </a:cubicBezTo>
                    <a:cubicBezTo>
                      <a:pt x="13019" y="9257"/>
                      <a:pt x="22276" y="33943"/>
                      <a:pt x="19189" y="46286"/>
                    </a:cubicBezTo>
                    <a:cubicBezTo>
                      <a:pt x="16104" y="64800"/>
                      <a:pt x="19189" y="108000"/>
                      <a:pt x="3760" y="123429"/>
                    </a:cubicBezTo>
                    <a:cubicBezTo>
                      <a:pt x="-5496" y="132685"/>
                      <a:pt x="3760" y="151200"/>
                      <a:pt x="16104" y="141943"/>
                    </a:cubicBezTo>
                    <a:cubicBezTo>
                      <a:pt x="31533" y="132685"/>
                      <a:pt x="43876" y="123429"/>
                      <a:pt x="53133" y="104914"/>
                    </a:cubicBezTo>
                    <a:cubicBezTo>
                      <a:pt x="62390" y="92571"/>
                      <a:pt x="71647" y="70971"/>
                      <a:pt x="71647" y="4011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383733FB-7237-482E-8551-8582828E3281}"/>
                  </a:ext>
                </a:extLst>
              </p:cNvPr>
              <p:cNvSpPr/>
              <p:nvPr/>
            </p:nvSpPr>
            <p:spPr>
              <a:xfrm>
                <a:off x="21060283" y="10013324"/>
                <a:ext cx="75600" cy="95657"/>
              </a:xfrm>
              <a:custGeom>
                <a:avLst/>
                <a:gdLst>
                  <a:gd name="connsiteX0" fmla="*/ 16971 w 75600"/>
                  <a:gd name="connsiteY0" fmla="*/ 95657 h 95657"/>
                  <a:gd name="connsiteX1" fmla="*/ 4627 w 75600"/>
                  <a:gd name="connsiteY1" fmla="*/ 89486 h 95657"/>
                  <a:gd name="connsiteX2" fmla="*/ 4627 w 75600"/>
                  <a:gd name="connsiteY2" fmla="*/ 64800 h 95657"/>
                  <a:gd name="connsiteX3" fmla="*/ 16971 w 75600"/>
                  <a:gd name="connsiteY3" fmla="*/ 6172 h 95657"/>
                  <a:gd name="connsiteX4" fmla="*/ 23143 w 75600"/>
                  <a:gd name="connsiteY4" fmla="*/ 0 h 95657"/>
                  <a:gd name="connsiteX5" fmla="*/ 29315 w 75600"/>
                  <a:gd name="connsiteY5" fmla="*/ 6172 h 95657"/>
                  <a:gd name="connsiteX6" fmla="*/ 13886 w 75600"/>
                  <a:gd name="connsiteY6" fmla="*/ 70972 h 95657"/>
                  <a:gd name="connsiteX7" fmla="*/ 10799 w 75600"/>
                  <a:gd name="connsiteY7" fmla="*/ 77143 h 95657"/>
                  <a:gd name="connsiteX8" fmla="*/ 26228 w 75600"/>
                  <a:gd name="connsiteY8" fmla="*/ 74057 h 95657"/>
                  <a:gd name="connsiteX9" fmla="*/ 63257 w 75600"/>
                  <a:gd name="connsiteY9" fmla="*/ 18514 h 95657"/>
                  <a:gd name="connsiteX10" fmla="*/ 69429 w 75600"/>
                  <a:gd name="connsiteY10" fmla="*/ 12343 h 95657"/>
                  <a:gd name="connsiteX11" fmla="*/ 75600 w 75600"/>
                  <a:gd name="connsiteY11" fmla="*/ 18514 h 95657"/>
                  <a:gd name="connsiteX12" fmla="*/ 35485 w 75600"/>
                  <a:gd name="connsiteY12" fmla="*/ 83315 h 95657"/>
                  <a:gd name="connsiteX13" fmla="*/ 16971 w 75600"/>
                  <a:gd name="connsiteY13" fmla="*/ 95657 h 95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5600" h="95657">
                    <a:moveTo>
                      <a:pt x="16971" y="95657"/>
                    </a:moveTo>
                    <a:cubicBezTo>
                      <a:pt x="10799" y="95657"/>
                      <a:pt x="7714" y="92571"/>
                      <a:pt x="4627" y="89486"/>
                    </a:cubicBezTo>
                    <a:cubicBezTo>
                      <a:pt x="-1542" y="83315"/>
                      <a:pt x="-1542" y="77143"/>
                      <a:pt x="4627" y="64800"/>
                    </a:cubicBezTo>
                    <a:cubicBezTo>
                      <a:pt x="13886" y="52458"/>
                      <a:pt x="16971" y="18514"/>
                      <a:pt x="16971" y="6172"/>
                    </a:cubicBezTo>
                    <a:cubicBezTo>
                      <a:pt x="16971" y="3086"/>
                      <a:pt x="20056" y="0"/>
                      <a:pt x="23143" y="0"/>
                    </a:cubicBezTo>
                    <a:cubicBezTo>
                      <a:pt x="26228" y="0"/>
                      <a:pt x="29315" y="3086"/>
                      <a:pt x="29315" y="6172"/>
                    </a:cubicBezTo>
                    <a:cubicBezTo>
                      <a:pt x="29315" y="9258"/>
                      <a:pt x="26228" y="52458"/>
                      <a:pt x="13886" y="70972"/>
                    </a:cubicBezTo>
                    <a:cubicBezTo>
                      <a:pt x="13886" y="74057"/>
                      <a:pt x="10799" y="77143"/>
                      <a:pt x="10799" y="77143"/>
                    </a:cubicBezTo>
                    <a:cubicBezTo>
                      <a:pt x="13886" y="80229"/>
                      <a:pt x="20056" y="80229"/>
                      <a:pt x="26228" y="74057"/>
                    </a:cubicBezTo>
                    <a:cubicBezTo>
                      <a:pt x="41656" y="61714"/>
                      <a:pt x="60172" y="43200"/>
                      <a:pt x="63257" y="18514"/>
                    </a:cubicBezTo>
                    <a:cubicBezTo>
                      <a:pt x="63257" y="15429"/>
                      <a:pt x="66342" y="12343"/>
                      <a:pt x="69429" y="12343"/>
                    </a:cubicBezTo>
                    <a:cubicBezTo>
                      <a:pt x="72514" y="12343"/>
                      <a:pt x="75600" y="15429"/>
                      <a:pt x="75600" y="18514"/>
                    </a:cubicBezTo>
                    <a:cubicBezTo>
                      <a:pt x="72514" y="52458"/>
                      <a:pt x="47828" y="74057"/>
                      <a:pt x="35485" y="83315"/>
                    </a:cubicBezTo>
                    <a:cubicBezTo>
                      <a:pt x="29315" y="92571"/>
                      <a:pt x="20056" y="95657"/>
                      <a:pt x="16971" y="9565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7" name="图形 1">
              <a:extLst>
                <a:ext uri="{FF2B5EF4-FFF2-40B4-BE49-F238E27FC236}">
                  <a16:creationId xmlns:a16="http://schemas.microsoft.com/office/drawing/2014/main" id="{CE798F1B-1015-4B65-A623-738FB22F7F89}"/>
                </a:ext>
              </a:extLst>
            </p:cNvPr>
            <p:cNvGrpSpPr/>
            <p:nvPr/>
          </p:nvGrpSpPr>
          <p:grpSpPr>
            <a:xfrm>
              <a:off x="20721502" y="9593195"/>
              <a:ext cx="297360" cy="156561"/>
              <a:chOff x="20721502" y="9593195"/>
              <a:chExt cx="297360" cy="156561"/>
            </a:xfrm>
          </p:grpSpPr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C3637BF5-2517-461D-BDC8-5B7344767A18}"/>
                  </a:ext>
                </a:extLst>
              </p:cNvPr>
              <p:cNvSpPr/>
              <p:nvPr/>
            </p:nvSpPr>
            <p:spPr>
              <a:xfrm>
                <a:off x="20721502" y="9594738"/>
                <a:ext cx="297360" cy="155018"/>
              </a:xfrm>
              <a:custGeom>
                <a:avLst/>
                <a:gdLst>
                  <a:gd name="connsiteX0" fmla="*/ 34837 w 297360"/>
                  <a:gd name="connsiteY0" fmla="*/ 119273 h 155018"/>
                  <a:gd name="connsiteX1" fmla="*/ 105810 w 297360"/>
                  <a:gd name="connsiteY1" fmla="*/ 131615 h 155018"/>
                  <a:gd name="connsiteX2" fmla="*/ 176781 w 297360"/>
                  <a:gd name="connsiteY2" fmla="*/ 150130 h 155018"/>
                  <a:gd name="connsiteX3" fmla="*/ 216895 w 297360"/>
                  <a:gd name="connsiteY3" fmla="*/ 150130 h 155018"/>
                  <a:gd name="connsiteX4" fmla="*/ 179866 w 297360"/>
                  <a:gd name="connsiteY4" fmla="*/ 116187 h 155018"/>
                  <a:gd name="connsiteX5" fmla="*/ 219980 w 297360"/>
                  <a:gd name="connsiteY5" fmla="*/ 122358 h 155018"/>
                  <a:gd name="connsiteX6" fmla="*/ 275524 w 297360"/>
                  <a:gd name="connsiteY6" fmla="*/ 116187 h 155018"/>
                  <a:gd name="connsiteX7" fmla="*/ 275524 w 297360"/>
                  <a:gd name="connsiteY7" fmla="*/ 103844 h 155018"/>
                  <a:gd name="connsiteX8" fmla="*/ 297123 w 297360"/>
                  <a:gd name="connsiteY8" fmla="*/ 94587 h 155018"/>
                  <a:gd name="connsiteX9" fmla="*/ 263181 w 297360"/>
                  <a:gd name="connsiteY9" fmla="*/ 60644 h 155018"/>
                  <a:gd name="connsiteX10" fmla="*/ 219980 w 297360"/>
                  <a:gd name="connsiteY10" fmla="*/ 45215 h 155018"/>
                  <a:gd name="connsiteX11" fmla="*/ 253924 w 297360"/>
                  <a:gd name="connsiteY11" fmla="*/ 42129 h 155018"/>
                  <a:gd name="connsiteX12" fmla="*/ 266266 w 297360"/>
                  <a:gd name="connsiteY12" fmla="*/ 32872 h 155018"/>
                  <a:gd name="connsiteX13" fmla="*/ 216895 w 297360"/>
                  <a:gd name="connsiteY13" fmla="*/ 5101 h 155018"/>
                  <a:gd name="connsiteX14" fmla="*/ 22495 w 297360"/>
                  <a:gd name="connsiteY14" fmla="*/ 2015 h 155018"/>
                  <a:gd name="connsiteX15" fmla="*/ 895 w 297360"/>
                  <a:gd name="connsiteY15" fmla="*/ 94587 h 155018"/>
                  <a:gd name="connsiteX16" fmla="*/ 34837 w 297360"/>
                  <a:gd name="connsiteY16" fmla="*/ 119273 h 155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7360" h="155018">
                    <a:moveTo>
                      <a:pt x="34837" y="119273"/>
                    </a:moveTo>
                    <a:cubicBezTo>
                      <a:pt x="59524" y="122358"/>
                      <a:pt x="81123" y="125444"/>
                      <a:pt x="105810" y="131615"/>
                    </a:cubicBezTo>
                    <a:cubicBezTo>
                      <a:pt x="130495" y="137786"/>
                      <a:pt x="152096" y="147044"/>
                      <a:pt x="176781" y="150130"/>
                    </a:cubicBezTo>
                    <a:cubicBezTo>
                      <a:pt x="186038" y="153215"/>
                      <a:pt x="210723" y="159387"/>
                      <a:pt x="216895" y="150130"/>
                    </a:cubicBezTo>
                    <a:cubicBezTo>
                      <a:pt x="229239" y="137786"/>
                      <a:pt x="204551" y="125444"/>
                      <a:pt x="179866" y="116187"/>
                    </a:cubicBezTo>
                    <a:cubicBezTo>
                      <a:pt x="192210" y="119273"/>
                      <a:pt x="207638" y="122358"/>
                      <a:pt x="219980" y="122358"/>
                    </a:cubicBezTo>
                    <a:cubicBezTo>
                      <a:pt x="232324" y="122358"/>
                      <a:pt x="266266" y="128530"/>
                      <a:pt x="275524" y="116187"/>
                    </a:cubicBezTo>
                    <a:cubicBezTo>
                      <a:pt x="278609" y="113101"/>
                      <a:pt x="278609" y="106929"/>
                      <a:pt x="275524" y="103844"/>
                    </a:cubicBezTo>
                    <a:cubicBezTo>
                      <a:pt x="287866" y="103844"/>
                      <a:pt x="297123" y="100758"/>
                      <a:pt x="297123" y="94587"/>
                    </a:cubicBezTo>
                    <a:cubicBezTo>
                      <a:pt x="300210" y="79158"/>
                      <a:pt x="272437" y="63729"/>
                      <a:pt x="263181" y="60644"/>
                    </a:cubicBezTo>
                    <a:cubicBezTo>
                      <a:pt x="250837" y="54473"/>
                      <a:pt x="235408" y="48301"/>
                      <a:pt x="219980" y="45215"/>
                    </a:cubicBezTo>
                    <a:cubicBezTo>
                      <a:pt x="232324" y="45215"/>
                      <a:pt x="241580" y="45215"/>
                      <a:pt x="253924" y="42129"/>
                    </a:cubicBezTo>
                    <a:cubicBezTo>
                      <a:pt x="260096" y="42129"/>
                      <a:pt x="266266" y="42129"/>
                      <a:pt x="266266" y="32872"/>
                    </a:cubicBezTo>
                    <a:cubicBezTo>
                      <a:pt x="272437" y="11272"/>
                      <a:pt x="226152" y="8187"/>
                      <a:pt x="216895" y="5101"/>
                    </a:cubicBezTo>
                    <a:cubicBezTo>
                      <a:pt x="152096" y="-4156"/>
                      <a:pt x="87295" y="2015"/>
                      <a:pt x="22495" y="2015"/>
                    </a:cubicBezTo>
                    <a:cubicBezTo>
                      <a:pt x="22495" y="-1070"/>
                      <a:pt x="-5277" y="63729"/>
                      <a:pt x="895" y="94587"/>
                    </a:cubicBezTo>
                    <a:cubicBezTo>
                      <a:pt x="10152" y="116187"/>
                      <a:pt x="16324" y="116187"/>
                      <a:pt x="34837" y="119273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8A8C26CE-F6CE-481C-8536-7CA15C3E72C9}"/>
                  </a:ext>
                </a:extLst>
              </p:cNvPr>
              <p:cNvSpPr/>
              <p:nvPr/>
            </p:nvSpPr>
            <p:spPr>
              <a:xfrm>
                <a:off x="20855082" y="9593195"/>
                <a:ext cx="138085" cy="52929"/>
              </a:xfrm>
              <a:custGeom>
                <a:avLst/>
                <a:gdLst>
                  <a:gd name="connsiteX0" fmla="*/ 101828 w 138085"/>
                  <a:gd name="connsiteY0" fmla="*/ 52930 h 52929"/>
                  <a:gd name="connsiteX1" fmla="*/ 86400 w 138085"/>
                  <a:gd name="connsiteY1" fmla="*/ 52930 h 52929"/>
                  <a:gd name="connsiteX2" fmla="*/ 27772 w 138085"/>
                  <a:gd name="connsiteY2" fmla="*/ 46758 h 52929"/>
                  <a:gd name="connsiteX3" fmla="*/ 18515 w 138085"/>
                  <a:gd name="connsiteY3" fmla="*/ 43672 h 52929"/>
                  <a:gd name="connsiteX4" fmla="*/ 21600 w 138085"/>
                  <a:gd name="connsiteY4" fmla="*/ 37501 h 52929"/>
                  <a:gd name="connsiteX5" fmla="*/ 86400 w 138085"/>
                  <a:gd name="connsiteY5" fmla="*/ 43672 h 52929"/>
                  <a:gd name="connsiteX6" fmla="*/ 126515 w 138085"/>
                  <a:gd name="connsiteY6" fmla="*/ 37501 h 52929"/>
                  <a:gd name="connsiteX7" fmla="*/ 6172 w 138085"/>
                  <a:gd name="connsiteY7" fmla="*/ 12815 h 52929"/>
                  <a:gd name="connsiteX8" fmla="*/ 6172 w 138085"/>
                  <a:gd name="connsiteY8" fmla="*/ 12815 h 52929"/>
                  <a:gd name="connsiteX9" fmla="*/ 0 w 138085"/>
                  <a:gd name="connsiteY9" fmla="*/ 6644 h 52929"/>
                  <a:gd name="connsiteX10" fmla="*/ 6172 w 138085"/>
                  <a:gd name="connsiteY10" fmla="*/ 473 h 52929"/>
                  <a:gd name="connsiteX11" fmla="*/ 135772 w 138085"/>
                  <a:gd name="connsiteY11" fmla="*/ 28244 h 52929"/>
                  <a:gd name="connsiteX12" fmla="*/ 135772 w 138085"/>
                  <a:gd name="connsiteY12" fmla="*/ 40587 h 52929"/>
                  <a:gd name="connsiteX13" fmla="*/ 101828 w 138085"/>
                  <a:gd name="connsiteY13" fmla="*/ 52930 h 52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8085" h="52929">
                    <a:moveTo>
                      <a:pt x="101828" y="52930"/>
                    </a:moveTo>
                    <a:cubicBezTo>
                      <a:pt x="95658" y="52930"/>
                      <a:pt x="89486" y="52930"/>
                      <a:pt x="86400" y="52930"/>
                    </a:cubicBezTo>
                    <a:cubicBezTo>
                      <a:pt x="61714" y="46758"/>
                      <a:pt x="33944" y="43672"/>
                      <a:pt x="27772" y="46758"/>
                    </a:cubicBezTo>
                    <a:cubicBezTo>
                      <a:pt x="24685" y="46758"/>
                      <a:pt x="21600" y="46758"/>
                      <a:pt x="18515" y="43672"/>
                    </a:cubicBezTo>
                    <a:cubicBezTo>
                      <a:pt x="18515" y="40587"/>
                      <a:pt x="18515" y="37501"/>
                      <a:pt x="21600" y="37501"/>
                    </a:cubicBezTo>
                    <a:cubicBezTo>
                      <a:pt x="30857" y="34415"/>
                      <a:pt x="70971" y="40587"/>
                      <a:pt x="86400" y="43672"/>
                    </a:cubicBezTo>
                    <a:cubicBezTo>
                      <a:pt x="95658" y="43672"/>
                      <a:pt x="123429" y="46758"/>
                      <a:pt x="126515" y="37501"/>
                    </a:cubicBezTo>
                    <a:cubicBezTo>
                      <a:pt x="120344" y="25158"/>
                      <a:pt x="77143" y="12815"/>
                      <a:pt x="6172" y="12815"/>
                    </a:cubicBezTo>
                    <a:cubicBezTo>
                      <a:pt x="6172" y="12815"/>
                      <a:pt x="6172" y="12815"/>
                      <a:pt x="6172" y="12815"/>
                    </a:cubicBezTo>
                    <a:cubicBezTo>
                      <a:pt x="3087" y="12815"/>
                      <a:pt x="0" y="9730"/>
                      <a:pt x="0" y="6644"/>
                    </a:cubicBezTo>
                    <a:cubicBezTo>
                      <a:pt x="0" y="3558"/>
                      <a:pt x="3087" y="473"/>
                      <a:pt x="6172" y="473"/>
                    </a:cubicBezTo>
                    <a:cubicBezTo>
                      <a:pt x="74058" y="-2613"/>
                      <a:pt x="126515" y="9730"/>
                      <a:pt x="135772" y="28244"/>
                    </a:cubicBezTo>
                    <a:cubicBezTo>
                      <a:pt x="138857" y="31330"/>
                      <a:pt x="138857" y="37501"/>
                      <a:pt x="135772" y="40587"/>
                    </a:cubicBezTo>
                    <a:cubicBezTo>
                      <a:pt x="132685" y="52930"/>
                      <a:pt x="117257" y="52930"/>
                      <a:pt x="101828" y="5293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39DE6E09-D994-4EDC-8FAD-8BAF08088667}"/>
                  </a:ext>
                </a:extLst>
              </p:cNvPr>
              <p:cNvSpPr/>
              <p:nvPr/>
            </p:nvSpPr>
            <p:spPr>
              <a:xfrm>
                <a:off x="20876683" y="9661553"/>
                <a:ext cx="129600" cy="46285"/>
              </a:xfrm>
              <a:custGeom>
                <a:avLst/>
                <a:gdLst>
                  <a:gd name="connsiteX0" fmla="*/ 123429 w 129600"/>
                  <a:gd name="connsiteY0" fmla="*/ 46286 h 46285"/>
                  <a:gd name="connsiteX1" fmla="*/ 123429 w 129600"/>
                  <a:gd name="connsiteY1" fmla="*/ 46286 h 46285"/>
                  <a:gd name="connsiteX2" fmla="*/ 9257 w 129600"/>
                  <a:gd name="connsiteY2" fmla="*/ 12343 h 46285"/>
                  <a:gd name="connsiteX3" fmla="*/ 6172 w 129600"/>
                  <a:gd name="connsiteY3" fmla="*/ 12343 h 46285"/>
                  <a:gd name="connsiteX4" fmla="*/ 0 w 129600"/>
                  <a:gd name="connsiteY4" fmla="*/ 6172 h 46285"/>
                  <a:gd name="connsiteX5" fmla="*/ 6172 w 129600"/>
                  <a:gd name="connsiteY5" fmla="*/ 0 h 46285"/>
                  <a:gd name="connsiteX6" fmla="*/ 9257 w 129600"/>
                  <a:gd name="connsiteY6" fmla="*/ 0 h 46285"/>
                  <a:gd name="connsiteX7" fmla="*/ 126514 w 129600"/>
                  <a:gd name="connsiteY7" fmla="*/ 37029 h 46285"/>
                  <a:gd name="connsiteX8" fmla="*/ 129600 w 129600"/>
                  <a:gd name="connsiteY8" fmla="*/ 46286 h 46285"/>
                  <a:gd name="connsiteX9" fmla="*/ 123429 w 129600"/>
                  <a:gd name="connsiteY9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9600" h="46285">
                    <a:moveTo>
                      <a:pt x="123429" y="46286"/>
                    </a:moveTo>
                    <a:cubicBezTo>
                      <a:pt x="120344" y="46286"/>
                      <a:pt x="120344" y="46286"/>
                      <a:pt x="123429" y="46286"/>
                    </a:cubicBezTo>
                    <a:cubicBezTo>
                      <a:pt x="98743" y="37029"/>
                      <a:pt x="33942" y="12343"/>
                      <a:pt x="9257" y="12343"/>
                    </a:cubicBezTo>
                    <a:cubicBezTo>
                      <a:pt x="9257" y="12343"/>
                      <a:pt x="9257" y="12343"/>
                      <a:pt x="6172" y="12343"/>
                    </a:cubicBezTo>
                    <a:cubicBezTo>
                      <a:pt x="3085" y="12343"/>
                      <a:pt x="0" y="9257"/>
                      <a:pt x="0" y="6172"/>
                    </a:cubicBezTo>
                    <a:cubicBezTo>
                      <a:pt x="0" y="3086"/>
                      <a:pt x="3085" y="0"/>
                      <a:pt x="6172" y="0"/>
                    </a:cubicBezTo>
                    <a:cubicBezTo>
                      <a:pt x="6172" y="0"/>
                      <a:pt x="6172" y="0"/>
                      <a:pt x="9257" y="0"/>
                    </a:cubicBezTo>
                    <a:cubicBezTo>
                      <a:pt x="40114" y="0"/>
                      <a:pt x="120344" y="33943"/>
                      <a:pt x="126514" y="37029"/>
                    </a:cubicBezTo>
                    <a:cubicBezTo>
                      <a:pt x="129600" y="37029"/>
                      <a:pt x="129600" y="43200"/>
                      <a:pt x="129600" y="46286"/>
                    </a:cubicBezTo>
                    <a:cubicBezTo>
                      <a:pt x="126514" y="46286"/>
                      <a:pt x="123429" y="46286"/>
                      <a:pt x="123429" y="4628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A4A1F4D8-FE6A-48E9-A019-379FA42FB9E7}"/>
                  </a:ext>
                </a:extLst>
              </p:cNvPr>
              <p:cNvSpPr/>
              <p:nvPr/>
            </p:nvSpPr>
            <p:spPr>
              <a:xfrm>
                <a:off x="20855082" y="9701667"/>
                <a:ext cx="52457" cy="18514"/>
              </a:xfrm>
              <a:custGeom>
                <a:avLst/>
                <a:gdLst>
                  <a:gd name="connsiteX0" fmla="*/ 46286 w 52457"/>
                  <a:gd name="connsiteY0" fmla="*/ 18514 h 18514"/>
                  <a:gd name="connsiteX1" fmla="*/ 46286 w 52457"/>
                  <a:gd name="connsiteY1" fmla="*/ 18514 h 18514"/>
                  <a:gd name="connsiteX2" fmla="*/ 6172 w 52457"/>
                  <a:gd name="connsiteY2" fmla="*/ 12344 h 18514"/>
                  <a:gd name="connsiteX3" fmla="*/ 0 w 52457"/>
                  <a:gd name="connsiteY3" fmla="*/ 6172 h 18514"/>
                  <a:gd name="connsiteX4" fmla="*/ 6172 w 52457"/>
                  <a:gd name="connsiteY4" fmla="*/ 0 h 18514"/>
                  <a:gd name="connsiteX5" fmla="*/ 46286 w 52457"/>
                  <a:gd name="connsiteY5" fmla="*/ 6172 h 18514"/>
                  <a:gd name="connsiteX6" fmla="*/ 52458 w 52457"/>
                  <a:gd name="connsiteY6" fmla="*/ 12344 h 18514"/>
                  <a:gd name="connsiteX7" fmla="*/ 46286 w 52457"/>
                  <a:gd name="connsiteY7" fmla="*/ 18514 h 18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457" h="18514">
                    <a:moveTo>
                      <a:pt x="46286" y="18514"/>
                    </a:moveTo>
                    <a:cubicBezTo>
                      <a:pt x="46286" y="18514"/>
                      <a:pt x="46286" y="18514"/>
                      <a:pt x="46286" y="18514"/>
                    </a:cubicBezTo>
                    <a:lnTo>
                      <a:pt x="6172" y="12344"/>
                    </a:lnTo>
                    <a:cubicBezTo>
                      <a:pt x="3087" y="12344"/>
                      <a:pt x="0" y="9258"/>
                      <a:pt x="0" y="6172"/>
                    </a:cubicBezTo>
                    <a:cubicBezTo>
                      <a:pt x="0" y="3086"/>
                      <a:pt x="3087" y="0"/>
                      <a:pt x="6172" y="0"/>
                    </a:cubicBezTo>
                    <a:lnTo>
                      <a:pt x="46286" y="6172"/>
                    </a:lnTo>
                    <a:cubicBezTo>
                      <a:pt x="49373" y="6172"/>
                      <a:pt x="52458" y="9258"/>
                      <a:pt x="52458" y="12344"/>
                    </a:cubicBezTo>
                    <a:cubicBezTo>
                      <a:pt x="52458" y="15429"/>
                      <a:pt x="49373" y="18514"/>
                      <a:pt x="46286" y="1851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6A25E3C2-304D-4515-B9F5-9B4DA7517409}"/>
                  </a:ext>
                </a:extLst>
              </p:cNvPr>
              <p:cNvSpPr/>
              <p:nvPr/>
            </p:nvSpPr>
            <p:spPr>
              <a:xfrm>
                <a:off x="20821140" y="9624525"/>
                <a:ext cx="22024" cy="83314"/>
              </a:xfrm>
              <a:custGeom>
                <a:avLst/>
                <a:gdLst>
                  <a:gd name="connsiteX0" fmla="*/ 6172 w 22024"/>
                  <a:gd name="connsiteY0" fmla="*/ 83314 h 83314"/>
                  <a:gd name="connsiteX1" fmla="*/ 6172 w 22024"/>
                  <a:gd name="connsiteY1" fmla="*/ 83314 h 83314"/>
                  <a:gd name="connsiteX2" fmla="*/ 0 w 22024"/>
                  <a:gd name="connsiteY2" fmla="*/ 74057 h 83314"/>
                  <a:gd name="connsiteX3" fmla="*/ 9257 w 22024"/>
                  <a:gd name="connsiteY3" fmla="*/ 6171 h 83314"/>
                  <a:gd name="connsiteX4" fmla="*/ 12342 w 22024"/>
                  <a:gd name="connsiteY4" fmla="*/ 0 h 83314"/>
                  <a:gd name="connsiteX5" fmla="*/ 18514 w 22024"/>
                  <a:gd name="connsiteY5" fmla="*/ 3085 h 83314"/>
                  <a:gd name="connsiteX6" fmla="*/ 9257 w 22024"/>
                  <a:gd name="connsiteY6" fmla="*/ 80228 h 83314"/>
                  <a:gd name="connsiteX7" fmla="*/ 6172 w 22024"/>
                  <a:gd name="connsiteY7" fmla="*/ 83314 h 83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024" h="83314">
                    <a:moveTo>
                      <a:pt x="6172" y="83314"/>
                    </a:moveTo>
                    <a:cubicBezTo>
                      <a:pt x="6172" y="83314"/>
                      <a:pt x="3085" y="83314"/>
                      <a:pt x="6172" y="83314"/>
                    </a:cubicBezTo>
                    <a:cubicBezTo>
                      <a:pt x="0" y="80228"/>
                      <a:pt x="0" y="77142"/>
                      <a:pt x="0" y="74057"/>
                    </a:cubicBezTo>
                    <a:cubicBezTo>
                      <a:pt x="18514" y="40114"/>
                      <a:pt x="9257" y="6171"/>
                      <a:pt x="9257" y="6171"/>
                    </a:cubicBezTo>
                    <a:cubicBezTo>
                      <a:pt x="9257" y="3085"/>
                      <a:pt x="9257" y="0"/>
                      <a:pt x="12342" y="0"/>
                    </a:cubicBezTo>
                    <a:cubicBezTo>
                      <a:pt x="15429" y="0"/>
                      <a:pt x="18514" y="0"/>
                      <a:pt x="18514" y="3085"/>
                    </a:cubicBezTo>
                    <a:cubicBezTo>
                      <a:pt x="18514" y="6171"/>
                      <a:pt x="30857" y="43200"/>
                      <a:pt x="9257" y="80228"/>
                    </a:cubicBezTo>
                    <a:cubicBezTo>
                      <a:pt x="9257" y="83314"/>
                      <a:pt x="9257" y="83314"/>
                      <a:pt x="6172" y="8331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AC2371DC-D70D-4762-859F-114C53812172}"/>
                </a:ext>
              </a:extLst>
            </p:cNvPr>
            <p:cNvSpPr/>
            <p:nvPr/>
          </p:nvSpPr>
          <p:spPr>
            <a:xfrm>
              <a:off x="20070917" y="8663401"/>
              <a:ext cx="700851" cy="1072208"/>
            </a:xfrm>
            <a:custGeom>
              <a:avLst/>
              <a:gdLst>
                <a:gd name="connsiteX0" fmla="*/ 395 w 700851"/>
                <a:gd name="connsiteY0" fmla="*/ 248323 h 1072208"/>
                <a:gd name="connsiteX1" fmla="*/ 170110 w 700851"/>
                <a:gd name="connsiteY1" fmla="*/ 1466 h 1072208"/>
                <a:gd name="connsiteX2" fmla="*/ 247253 w 700851"/>
                <a:gd name="connsiteY2" fmla="*/ 698837 h 1072208"/>
                <a:gd name="connsiteX3" fmla="*/ 700851 w 700851"/>
                <a:gd name="connsiteY3" fmla="*/ 930266 h 1072208"/>
                <a:gd name="connsiteX4" fmla="*/ 666909 w 700851"/>
                <a:gd name="connsiteY4" fmla="*/ 1072209 h 1072208"/>
                <a:gd name="connsiteX5" fmla="*/ 31253 w 700851"/>
                <a:gd name="connsiteY5" fmla="*/ 782152 h 1072208"/>
                <a:gd name="connsiteX6" fmla="*/ 395 w 700851"/>
                <a:gd name="connsiteY6" fmla="*/ 248323 h 1072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0851" h="1072208">
                  <a:moveTo>
                    <a:pt x="395" y="248323"/>
                  </a:moveTo>
                  <a:cubicBezTo>
                    <a:pt x="3480" y="94037"/>
                    <a:pt x="92967" y="-13963"/>
                    <a:pt x="170110" y="1466"/>
                  </a:cubicBezTo>
                  <a:cubicBezTo>
                    <a:pt x="262681" y="23066"/>
                    <a:pt x="225652" y="674152"/>
                    <a:pt x="247253" y="698837"/>
                  </a:cubicBezTo>
                  <a:cubicBezTo>
                    <a:pt x="268851" y="760552"/>
                    <a:pt x="700851" y="930266"/>
                    <a:pt x="700851" y="930266"/>
                  </a:cubicBezTo>
                  <a:cubicBezTo>
                    <a:pt x="685423" y="958037"/>
                    <a:pt x="666909" y="1072209"/>
                    <a:pt x="666909" y="1072209"/>
                  </a:cubicBezTo>
                  <a:cubicBezTo>
                    <a:pt x="666909" y="1072209"/>
                    <a:pt x="59023" y="859295"/>
                    <a:pt x="31253" y="782152"/>
                  </a:cubicBezTo>
                  <a:cubicBezTo>
                    <a:pt x="12737" y="714266"/>
                    <a:pt x="-2691" y="455066"/>
                    <a:pt x="395" y="248323"/>
                  </a:cubicBezTo>
                  <a:close/>
                </a:path>
              </a:pathLst>
            </a:custGeom>
            <a:solidFill>
              <a:srgbClr val="D16156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403C8EE2-A3D6-4736-8B33-A1FABC3BB820}"/>
                </a:ext>
              </a:extLst>
            </p:cNvPr>
            <p:cNvSpPr/>
            <p:nvPr/>
          </p:nvSpPr>
          <p:spPr>
            <a:xfrm>
              <a:off x="20205805" y="8657418"/>
              <a:ext cx="575221" cy="942421"/>
            </a:xfrm>
            <a:custGeom>
              <a:avLst/>
              <a:gdLst>
                <a:gd name="connsiteX0" fmla="*/ 569050 w 575221"/>
                <a:gd name="connsiteY0" fmla="*/ 942421 h 942421"/>
                <a:gd name="connsiteX1" fmla="*/ 569050 w 575221"/>
                <a:gd name="connsiteY1" fmla="*/ 942421 h 942421"/>
                <a:gd name="connsiteX2" fmla="*/ 109278 w 575221"/>
                <a:gd name="connsiteY2" fmla="*/ 707907 h 942421"/>
                <a:gd name="connsiteX3" fmla="*/ 109278 w 575221"/>
                <a:gd name="connsiteY3" fmla="*/ 627678 h 942421"/>
                <a:gd name="connsiteX4" fmla="*/ 4365 w 575221"/>
                <a:gd name="connsiteY4" fmla="*/ 10535 h 942421"/>
                <a:gd name="connsiteX5" fmla="*/ 1278 w 575221"/>
                <a:gd name="connsiteY5" fmla="*/ 4364 h 942421"/>
                <a:gd name="connsiteX6" fmla="*/ 7450 w 575221"/>
                <a:gd name="connsiteY6" fmla="*/ 1278 h 942421"/>
                <a:gd name="connsiteX7" fmla="*/ 121621 w 575221"/>
                <a:gd name="connsiteY7" fmla="*/ 630764 h 942421"/>
                <a:gd name="connsiteX8" fmla="*/ 121621 w 575221"/>
                <a:gd name="connsiteY8" fmla="*/ 704821 h 942421"/>
                <a:gd name="connsiteX9" fmla="*/ 572135 w 575221"/>
                <a:gd name="connsiteY9" fmla="*/ 933164 h 942421"/>
                <a:gd name="connsiteX10" fmla="*/ 575222 w 575221"/>
                <a:gd name="connsiteY10" fmla="*/ 939335 h 942421"/>
                <a:gd name="connsiteX11" fmla="*/ 569050 w 575221"/>
                <a:gd name="connsiteY11" fmla="*/ 942421 h 94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5221" h="942421">
                  <a:moveTo>
                    <a:pt x="569050" y="942421"/>
                  </a:moveTo>
                  <a:cubicBezTo>
                    <a:pt x="565963" y="942421"/>
                    <a:pt x="565963" y="942421"/>
                    <a:pt x="569050" y="942421"/>
                  </a:cubicBezTo>
                  <a:cubicBezTo>
                    <a:pt x="491907" y="908478"/>
                    <a:pt x="121621" y="744936"/>
                    <a:pt x="109278" y="707907"/>
                  </a:cubicBezTo>
                  <a:cubicBezTo>
                    <a:pt x="106193" y="701735"/>
                    <a:pt x="109278" y="680135"/>
                    <a:pt x="109278" y="627678"/>
                  </a:cubicBezTo>
                  <a:cubicBezTo>
                    <a:pt x="115450" y="464135"/>
                    <a:pt x="133963" y="35221"/>
                    <a:pt x="4365" y="10535"/>
                  </a:cubicBezTo>
                  <a:cubicBezTo>
                    <a:pt x="1278" y="10535"/>
                    <a:pt x="-1807" y="7450"/>
                    <a:pt x="1278" y="4364"/>
                  </a:cubicBezTo>
                  <a:cubicBezTo>
                    <a:pt x="1278" y="1278"/>
                    <a:pt x="4365" y="-1808"/>
                    <a:pt x="7450" y="1278"/>
                  </a:cubicBezTo>
                  <a:cubicBezTo>
                    <a:pt x="146307" y="29049"/>
                    <a:pt x="127793" y="451793"/>
                    <a:pt x="121621" y="630764"/>
                  </a:cubicBezTo>
                  <a:cubicBezTo>
                    <a:pt x="121621" y="667793"/>
                    <a:pt x="118535" y="701735"/>
                    <a:pt x="121621" y="704821"/>
                  </a:cubicBezTo>
                  <a:cubicBezTo>
                    <a:pt x="130878" y="729507"/>
                    <a:pt x="402421" y="856021"/>
                    <a:pt x="572135" y="933164"/>
                  </a:cubicBezTo>
                  <a:cubicBezTo>
                    <a:pt x="575222" y="933164"/>
                    <a:pt x="575222" y="939335"/>
                    <a:pt x="575222" y="939335"/>
                  </a:cubicBezTo>
                  <a:cubicBezTo>
                    <a:pt x="572135" y="942421"/>
                    <a:pt x="569050" y="942421"/>
                    <a:pt x="569050" y="942421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DC85EA92-303E-45B7-885C-3AB8ACEF16B0}"/>
                </a:ext>
              </a:extLst>
            </p:cNvPr>
            <p:cNvSpPr/>
            <p:nvPr/>
          </p:nvSpPr>
          <p:spPr>
            <a:xfrm>
              <a:off x="20071312" y="9211039"/>
              <a:ext cx="543084" cy="484457"/>
            </a:xfrm>
            <a:custGeom>
              <a:avLst/>
              <a:gdLst>
                <a:gd name="connsiteX0" fmla="*/ 536913 w 543084"/>
                <a:gd name="connsiteY0" fmla="*/ 484458 h 484457"/>
                <a:gd name="connsiteX1" fmla="*/ 536913 w 543084"/>
                <a:gd name="connsiteY1" fmla="*/ 484458 h 484457"/>
                <a:gd name="connsiteX2" fmla="*/ 30857 w 543084"/>
                <a:gd name="connsiteY2" fmla="*/ 240686 h 484457"/>
                <a:gd name="connsiteX3" fmla="*/ 0 w 543084"/>
                <a:gd name="connsiteY3" fmla="*/ 6172 h 484457"/>
                <a:gd name="connsiteX4" fmla="*/ 6170 w 543084"/>
                <a:gd name="connsiteY4" fmla="*/ 0 h 484457"/>
                <a:gd name="connsiteX5" fmla="*/ 6170 w 543084"/>
                <a:gd name="connsiteY5" fmla="*/ 0 h 484457"/>
                <a:gd name="connsiteX6" fmla="*/ 12342 w 543084"/>
                <a:gd name="connsiteY6" fmla="*/ 6172 h 484457"/>
                <a:gd name="connsiteX7" fmla="*/ 37027 w 543084"/>
                <a:gd name="connsiteY7" fmla="*/ 231429 h 484457"/>
                <a:gd name="connsiteX8" fmla="*/ 540000 w 543084"/>
                <a:gd name="connsiteY8" fmla="*/ 475200 h 484457"/>
                <a:gd name="connsiteX9" fmla="*/ 543085 w 543084"/>
                <a:gd name="connsiteY9" fmla="*/ 481372 h 484457"/>
                <a:gd name="connsiteX10" fmla="*/ 536913 w 543084"/>
                <a:gd name="connsiteY10" fmla="*/ 484458 h 48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3084" h="484457">
                  <a:moveTo>
                    <a:pt x="536913" y="484458"/>
                  </a:moveTo>
                  <a:cubicBezTo>
                    <a:pt x="536913" y="484458"/>
                    <a:pt x="536913" y="484458"/>
                    <a:pt x="536913" y="484458"/>
                  </a:cubicBezTo>
                  <a:cubicBezTo>
                    <a:pt x="518400" y="478286"/>
                    <a:pt x="123429" y="305486"/>
                    <a:pt x="30857" y="240686"/>
                  </a:cubicBezTo>
                  <a:cubicBezTo>
                    <a:pt x="0" y="219086"/>
                    <a:pt x="0" y="43200"/>
                    <a:pt x="0" y="6172"/>
                  </a:cubicBezTo>
                  <a:cubicBezTo>
                    <a:pt x="0" y="3086"/>
                    <a:pt x="3085" y="0"/>
                    <a:pt x="6170" y="0"/>
                  </a:cubicBezTo>
                  <a:cubicBezTo>
                    <a:pt x="6170" y="0"/>
                    <a:pt x="6170" y="0"/>
                    <a:pt x="6170" y="0"/>
                  </a:cubicBezTo>
                  <a:cubicBezTo>
                    <a:pt x="9257" y="0"/>
                    <a:pt x="12342" y="3086"/>
                    <a:pt x="12342" y="6172"/>
                  </a:cubicBezTo>
                  <a:cubicBezTo>
                    <a:pt x="12342" y="86400"/>
                    <a:pt x="18514" y="216000"/>
                    <a:pt x="37027" y="231429"/>
                  </a:cubicBezTo>
                  <a:cubicBezTo>
                    <a:pt x="129598" y="296229"/>
                    <a:pt x="536913" y="472115"/>
                    <a:pt x="540000" y="475200"/>
                  </a:cubicBezTo>
                  <a:cubicBezTo>
                    <a:pt x="543085" y="475200"/>
                    <a:pt x="543085" y="478286"/>
                    <a:pt x="543085" y="481372"/>
                  </a:cubicBezTo>
                  <a:cubicBezTo>
                    <a:pt x="540000" y="481372"/>
                    <a:pt x="540000" y="484458"/>
                    <a:pt x="536913" y="484458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1" name="图形 1">
            <a:extLst>
              <a:ext uri="{FF2B5EF4-FFF2-40B4-BE49-F238E27FC236}">
                <a16:creationId xmlns:a16="http://schemas.microsoft.com/office/drawing/2014/main" id="{365520A3-42E8-4BD7-BCD3-49386BCC5041}"/>
              </a:ext>
            </a:extLst>
          </p:cNvPr>
          <p:cNvGrpSpPr/>
          <p:nvPr/>
        </p:nvGrpSpPr>
        <p:grpSpPr>
          <a:xfrm>
            <a:off x="6653296" y="1867173"/>
            <a:ext cx="2658746" cy="4825537"/>
            <a:chOff x="23379196" y="7696473"/>
            <a:chExt cx="2658746" cy="4825537"/>
          </a:xfrm>
        </p:grpSpPr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FC5700BB-4E53-44F7-979A-00867D3E861B}"/>
                </a:ext>
              </a:extLst>
            </p:cNvPr>
            <p:cNvSpPr/>
            <p:nvPr/>
          </p:nvSpPr>
          <p:spPr>
            <a:xfrm>
              <a:off x="25301598" y="8982534"/>
              <a:ext cx="283884" cy="218647"/>
            </a:xfrm>
            <a:custGeom>
              <a:avLst/>
              <a:gdLst>
                <a:gd name="connsiteX0" fmla="*/ 231429 w 283884"/>
                <a:gd name="connsiteY0" fmla="*/ 139019 h 218647"/>
                <a:gd name="connsiteX1" fmla="*/ 268456 w 283884"/>
                <a:gd name="connsiteY1" fmla="*/ 111248 h 218647"/>
                <a:gd name="connsiteX2" fmla="*/ 283884 w 283884"/>
                <a:gd name="connsiteY2" fmla="*/ 77305 h 218647"/>
                <a:gd name="connsiteX3" fmla="*/ 265371 w 283884"/>
                <a:gd name="connsiteY3" fmla="*/ 24848 h 218647"/>
                <a:gd name="connsiteX4" fmla="*/ 237598 w 283884"/>
                <a:gd name="connsiteY4" fmla="*/ 3248 h 218647"/>
                <a:gd name="connsiteX5" fmla="*/ 0 w 283884"/>
                <a:gd name="connsiteY5" fmla="*/ 111248 h 218647"/>
                <a:gd name="connsiteX6" fmla="*/ 58627 w 283884"/>
                <a:gd name="connsiteY6" fmla="*/ 213076 h 218647"/>
                <a:gd name="connsiteX7" fmla="*/ 200571 w 283884"/>
                <a:gd name="connsiteY7" fmla="*/ 163705 h 218647"/>
                <a:gd name="connsiteX8" fmla="*/ 231429 w 283884"/>
                <a:gd name="connsiteY8" fmla="*/ 139019 h 218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884" h="218647">
                  <a:moveTo>
                    <a:pt x="231429" y="139019"/>
                  </a:moveTo>
                  <a:cubicBezTo>
                    <a:pt x="231429" y="129762"/>
                    <a:pt x="262286" y="129762"/>
                    <a:pt x="268456" y="111248"/>
                  </a:cubicBezTo>
                  <a:cubicBezTo>
                    <a:pt x="268456" y="108162"/>
                    <a:pt x="283884" y="89648"/>
                    <a:pt x="283884" y="77305"/>
                  </a:cubicBezTo>
                  <a:cubicBezTo>
                    <a:pt x="283884" y="64962"/>
                    <a:pt x="246857" y="31019"/>
                    <a:pt x="265371" y="24848"/>
                  </a:cubicBezTo>
                  <a:cubicBezTo>
                    <a:pt x="277714" y="18677"/>
                    <a:pt x="246857" y="3248"/>
                    <a:pt x="237598" y="3248"/>
                  </a:cubicBezTo>
                  <a:cubicBezTo>
                    <a:pt x="151199" y="-12180"/>
                    <a:pt x="12342" y="27934"/>
                    <a:pt x="0" y="111248"/>
                  </a:cubicBezTo>
                  <a:cubicBezTo>
                    <a:pt x="0" y="111248"/>
                    <a:pt x="30857" y="197648"/>
                    <a:pt x="58627" y="213076"/>
                  </a:cubicBezTo>
                  <a:cubicBezTo>
                    <a:pt x="98741" y="237762"/>
                    <a:pt x="157371" y="172962"/>
                    <a:pt x="200571" y="163705"/>
                  </a:cubicBezTo>
                  <a:cubicBezTo>
                    <a:pt x="231429" y="157534"/>
                    <a:pt x="228342" y="154448"/>
                    <a:pt x="231429" y="139019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3" name="图形 1">
              <a:extLst>
                <a:ext uri="{FF2B5EF4-FFF2-40B4-BE49-F238E27FC236}">
                  <a16:creationId xmlns:a16="http://schemas.microsoft.com/office/drawing/2014/main" id="{0B1F124E-B22E-4297-9A9B-22E55ABDC4B7}"/>
                </a:ext>
              </a:extLst>
            </p:cNvPr>
            <p:cNvGrpSpPr/>
            <p:nvPr/>
          </p:nvGrpSpPr>
          <p:grpSpPr>
            <a:xfrm>
              <a:off x="24993865" y="8962350"/>
              <a:ext cx="1044077" cy="1624917"/>
              <a:chOff x="24993865" y="8962350"/>
              <a:chExt cx="1044077" cy="1624917"/>
            </a:xfrm>
          </p:grpSpPr>
          <p:grpSp>
            <p:nvGrpSpPr>
              <p:cNvPr id="120" name="图形 1">
                <a:extLst>
                  <a:ext uri="{FF2B5EF4-FFF2-40B4-BE49-F238E27FC236}">
                    <a16:creationId xmlns:a16="http://schemas.microsoft.com/office/drawing/2014/main" id="{CA536708-39B9-4A61-A6BE-FCF050108770}"/>
                  </a:ext>
                </a:extLst>
              </p:cNvPr>
              <p:cNvGrpSpPr/>
              <p:nvPr/>
            </p:nvGrpSpPr>
            <p:grpSpPr>
              <a:xfrm>
                <a:off x="25196683" y="9736382"/>
                <a:ext cx="268574" cy="727457"/>
                <a:chOff x="25196683" y="9736382"/>
                <a:chExt cx="268574" cy="727457"/>
              </a:xfrm>
            </p:grpSpPr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77FA63CF-DD45-4A2A-BFE9-D09E66989471}"/>
                    </a:ext>
                  </a:extLst>
                </p:cNvPr>
                <p:cNvSpPr/>
                <p:nvPr/>
              </p:nvSpPr>
              <p:spPr>
                <a:xfrm>
                  <a:off x="25196683" y="9736382"/>
                  <a:ext cx="268574" cy="708942"/>
                </a:xfrm>
                <a:custGeom>
                  <a:avLst/>
                  <a:gdLst>
                    <a:gd name="connsiteX0" fmla="*/ 30857 w 268574"/>
                    <a:gd name="connsiteY0" fmla="*/ 696600 h 708942"/>
                    <a:gd name="connsiteX1" fmla="*/ 141942 w 268574"/>
                    <a:gd name="connsiteY1" fmla="*/ 708943 h 708942"/>
                    <a:gd name="connsiteX2" fmla="*/ 148114 w 268574"/>
                    <a:gd name="connsiteY2" fmla="*/ 705857 h 708942"/>
                    <a:gd name="connsiteX3" fmla="*/ 151201 w 268574"/>
                    <a:gd name="connsiteY3" fmla="*/ 699686 h 708942"/>
                    <a:gd name="connsiteX4" fmla="*/ 166629 w 268574"/>
                    <a:gd name="connsiteY4" fmla="*/ 557743 h 708942"/>
                    <a:gd name="connsiteX5" fmla="*/ 228344 w 268574"/>
                    <a:gd name="connsiteY5" fmla="*/ 452829 h 708942"/>
                    <a:gd name="connsiteX6" fmla="*/ 228344 w 268574"/>
                    <a:gd name="connsiteY6" fmla="*/ 449743 h 708942"/>
                    <a:gd name="connsiteX7" fmla="*/ 268458 w 268574"/>
                    <a:gd name="connsiteY7" fmla="*/ 51686 h 708942"/>
                    <a:gd name="connsiteX8" fmla="*/ 157371 w 268574"/>
                    <a:gd name="connsiteY8" fmla="*/ 2314 h 708942"/>
                    <a:gd name="connsiteX9" fmla="*/ 80228 w 268574"/>
                    <a:gd name="connsiteY9" fmla="*/ 2314 h 708942"/>
                    <a:gd name="connsiteX10" fmla="*/ 49371 w 268574"/>
                    <a:gd name="connsiteY10" fmla="*/ 14657 h 708942"/>
                    <a:gd name="connsiteX11" fmla="*/ 40114 w 268574"/>
                    <a:gd name="connsiteY11" fmla="*/ 27000 h 708942"/>
                    <a:gd name="connsiteX12" fmla="*/ 0 w 268574"/>
                    <a:gd name="connsiteY12" fmla="*/ 425058 h 708942"/>
                    <a:gd name="connsiteX13" fmla="*/ 0 w 268574"/>
                    <a:gd name="connsiteY13" fmla="*/ 428143 h 708942"/>
                    <a:gd name="connsiteX14" fmla="*/ 37029 w 268574"/>
                    <a:gd name="connsiteY14" fmla="*/ 542314 h 708942"/>
                    <a:gd name="connsiteX15" fmla="*/ 21600 w 268574"/>
                    <a:gd name="connsiteY15" fmla="*/ 684258 h 708942"/>
                    <a:gd name="connsiteX16" fmla="*/ 24685 w 268574"/>
                    <a:gd name="connsiteY16" fmla="*/ 690428 h 708942"/>
                    <a:gd name="connsiteX17" fmla="*/ 30857 w 268574"/>
                    <a:gd name="connsiteY17" fmla="*/ 696600 h 7089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68574" h="708942">
                      <a:moveTo>
                        <a:pt x="30857" y="696600"/>
                      </a:moveTo>
                      <a:lnTo>
                        <a:pt x="141942" y="708943"/>
                      </a:lnTo>
                      <a:cubicBezTo>
                        <a:pt x="145029" y="708943"/>
                        <a:pt x="145029" y="708943"/>
                        <a:pt x="148114" y="705857"/>
                      </a:cubicBezTo>
                      <a:cubicBezTo>
                        <a:pt x="151201" y="705857"/>
                        <a:pt x="151201" y="702772"/>
                        <a:pt x="151201" y="699686"/>
                      </a:cubicBezTo>
                      <a:lnTo>
                        <a:pt x="166629" y="557743"/>
                      </a:lnTo>
                      <a:lnTo>
                        <a:pt x="228344" y="452829"/>
                      </a:lnTo>
                      <a:cubicBezTo>
                        <a:pt x="228344" y="452829"/>
                        <a:pt x="228344" y="449743"/>
                        <a:pt x="228344" y="449743"/>
                      </a:cubicBezTo>
                      <a:lnTo>
                        <a:pt x="268458" y="51686"/>
                      </a:lnTo>
                      <a:cubicBezTo>
                        <a:pt x="271542" y="23915"/>
                        <a:pt x="212915" y="8486"/>
                        <a:pt x="157371" y="2314"/>
                      </a:cubicBezTo>
                      <a:cubicBezTo>
                        <a:pt x="129600" y="-771"/>
                        <a:pt x="101828" y="-771"/>
                        <a:pt x="80228" y="2314"/>
                      </a:cubicBezTo>
                      <a:cubicBezTo>
                        <a:pt x="64799" y="5400"/>
                        <a:pt x="55542" y="8486"/>
                        <a:pt x="49371" y="14657"/>
                      </a:cubicBezTo>
                      <a:cubicBezTo>
                        <a:pt x="43201" y="17743"/>
                        <a:pt x="43201" y="23915"/>
                        <a:pt x="40114" y="27000"/>
                      </a:cubicBezTo>
                      <a:lnTo>
                        <a:pt x="0" y="425058"/>
                      </a:lnTo>
                      <a:cubicBezTo>
                        <a:pt x="0" y="425058"/>
                        <a:pt x="0" y="428143"/>
                        <a:pt x="0" y="428143"/>
                      </a:cubicBezTo>
                      <a:lnTo>
                        <a:pt x="37029" y="542314"/>
                      </a:lnTo>
                      <a:lnTo>
                        <a:pt x="21600" y="684258"/>
                      </a:lnTo>
                      <a:cubicBezTo>
                        <a:pt x="21600" y="687343"/>
                        <a:pt x="21600" y="687343"/>
                        <a:pt x="24685" y="690428"/>
                      </a:cubicBezTo>
                      <a:cubicBezTo>
                        <a:pt x="27772" y="696600"/>
                        <a:pt x="27772" y="696600"/>
                        <a:pt x="30857" y="696600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0" name="任意多边形: 形状 139">
                  <a:extLst>
                    <a:ext uri="{FF2B5EF4-FFF2-40B4-BE49-F238E27FC236}">
                      <a16:creationId xmlns:a16="http://schemas.microsoft.com/office/drawing/2014/main" id="{387A5EC7-1C6E-4AAE-AA6A-7819520FCCC2}"/>
                    </a:ext>
                  </a:extLst>
                </p:cNvPr>
                <p:cNvSpPr/>
                <p:nvPr/>
              </p:nvSpPr>
              <p:spPr>
                <a:xfrm>
                  <a:off x="25224455" y="10408190"/>
                  <a:ext cx="126513" cy="55648"/>
                </a:xfrm>
                <a:custGeom>
                  <a:avLst/>
                  <a:gdLst>
                    <a:gd name="connsiteX0" fmla="*/ 67884 w 126513"/>
                    <a:gd name="connsiteY0" fmla="*/ 55649 h 55648"/>
                    <a:gd name="connsiteX1" fmla="*/ 123429 w 126513"/>
                    <a:gd name="connsiteY1" fmla="*/ 34048 h 55648"/>
                    <a:gd name="connsiteX2" fmla="*/ 126514 w 126513"/>
                    <a:gd name="connsiteY2" fmla="*/ 27878 h 55648"/>
                    <a:gd name="connsiteX3" fmla="*/ 123429 w 126513"/>
                    <a:gd name="connsiteY3" fmla="*/ 21706 h 55648"/>
                    <a:gd name="connsiteX4" fmla="*/ 3085 w 126513"/>
                    <a:gd name="connsiteY4" fmla="*/ 9363 h 55648"/>
                    <a:gd name="connsiteX5" fmla="*/ 3085 w 126513"/>
                    <a:gd name="connsiteY5" fmla="*/ 9363 h 55648"/>
                    <a:gd name="connsiteX6" fmla="*/ 0 w 126513"/>
                    <a:gd name="connsiteY6" fmla="*/ 15535 h 55648"/>
                    <a:gd name="connsiteX7" fmla="*/ 3085 w 126513"/>
                    <a:gd name="connsiteY7" fmla="*/ 21706 h 55648"/>
                    <a:gd name="connsiteX8" fmla="*/ 67884 w 126513"/>
                    <a:gd name="connsiteY8" fmla="*/ 55649 h 55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6513" h="55648">
                      <a:moveTo>
                        <a:pt x="67884" y="55649"/>
                      </a:moveTo>
                      <a:cubicBezTo>
                        <a:pt x="101828" y="55649"/>
                        <a:pt x="123429" y="34048"/>
                        <a:pt x="123429" y="34048"/>
                      </a:cubicBezTo>
                      <a:cubicBezTo>
                        <a:pt x="126514" y="30963"/>
                        <a:pt x="126514" y="30963"/>
                        <a:pt x="126514" y="27878"/>
                      </a:cubicBezTo>
                      <a:cubicBezTo>
                        <a:pt x="126514" y="24792"/>
                        <a:pt x="123429" y="21706"/>
                        <a:pt x="123429" y="21706"/>
                      </a:cubicBezTo>
                      <a:cubicBezTo>
                        <a:pt x="61714" y="-18408"/>
                        <a:pt x="6170" y="9363"/>
                        <a:pt x="3085" y="9363"/>
                      </a:cubicBezTo>
                      <a:cubicBezTo>
                        <a:pt x="3085" y="9363"/>
                        <a:pt x="3085" y="9363"/>
                        <a:pt x="3085" y="9363"/>
                      </a:cubicBezTo>
                      <a:cubicBezTo>
                        <a:pt x="0" y="9363"/>
                        <a:pt x="0" y="12449"/>
                        <a:pt x="0" y="15535"/>
                      </a:cubicBezTo>
                      <a:cubicBezTo>
                        <a:pt x="0" y="18620"/>
                        <a:pt x="0" y="21706"/>
                        <a:pt x="3085" y="21706"/>
                      </a:cubicBezTo>
                      <a:cubicBezTo>
                        <a:pt x="21598" y="43306"/>
                        <a:pt x="43199" y="55649"/>
                        <a:pt x="67884" y="55649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21" name="图形 1">
                <a:extLst>
                  <a:ext uri="{FF2B5EF4-FFF2-40B4-BE49-F238E27FC236}">
                    <a16:creationId xmlns:a16="http://schemas.microsoft.com/office/drawing/2014/main" id="{A6A3E8E1-82D5-4803-BA79-637BB4F9E8E6}"/>
                  </a:ext>
                </a:extLst>
              </p:cNvPr>
              <p:cNvGrpSpPr/>
              <p:nvPr/>
            </p:nvGrpSpPr>
            <p:grpSpPr>
              <a:xfrm>
                <a:off x="25156569" y="9762010"/>
                <a:ext cx="472113" cy="566735"/>
                <a:chOff x="25156569" y="9762010"/>
                <a:chExt cx="472113" cy="566735"/>
              </a:xfrm>
            </p:grpSpPr>
            <p:sp>
              <p:nvSpPr>
                <p:cNvPr id="137" name="任意多边形: 形状 136">
                  <a:extLst>
                    <a:ext uri="{FF2B5EF4-FFF2-40B4-BE49-F238E27FC236}">
                      <a16:creationId xmlns:a16="http://schemas.microsoft.com/office/drawing/2014/main" id="{8D917570-F392-4E0F-A949-48DFA255599E}"/>
                    </a:ext>
                  </a:extLst>
                </p:cNvPr>
                <p:cNvSpPr/>
                <p:nvPr/>
              </p:nvSpPr>
              <p:spPr>
                <a:xfrm>
                  <a:off x="25156569" y="9762010"/>
                  <a:ext cx="472113" cy="566735"/>
                </a:xfrm>
                <a:custGeom>
                  <a:avLst/>
                  <a:gdLst>
                    <a:gd name="connsiteX0" fmla="*/ 83315 w 472113"/>
                    <a:gd name="connsiteY0" fmla="*/ 1371 h 566735"/>
                    <a:gd name="connsiteX1" fmla="*/ 3085 w 472113"/>
                    <a:gd name="connsiteY1" fmla="*/ 60000 h 566735"/>
                    <a:gd name="connsiteX2" fmla="*/ 0 w 472113"/>
                    <a:gd name="connsiteY2" fmla="*/ 66171 h 566735"/>
                    <a:gd name="connsiteX3" fmla="*/ 0 w 472113"/>
                    <a:gd name="connsiteY3" fmla="*/ 72343 h 566735"/>
                    <a:gd name="connsiteX4" fmla="*/ 74056 w 472113"/>
                    <a:gd name="connsiteY4" fmla="*/ 171085 h 566735"/>
                    <a:gd name="connsiteX5" fmla="*/ 98743 w 472113"/>
                    <a:gd name="connsiteY5" fmla="*/ 276000 h 566735"/>
                    <a:gd name="connsiteX6" fmla="*/ 98743 w 472113"/>
                    <a:gd name="connsiteY6" fmla="*/ 279085 h 566735"/>
                    <a:gd name="connsiteX7" fmla="*/ 308571 w 472113"/>
                    <a:gd name="connsiteY7" fmla="*/ 559886 h 566735"/>
                    <a:gd name="connsiteX8" fmla="*/ 410400 w 472113"/>
                    <a:gd name="connsiteY8" fmla="*/ 525943 h 566735"/>
                    <a:gd name="connsiteX9" fmla="*/ 459770 w 472113"/>
                    <a:gd name="connsiteY9" fmla="*/ 479657 h 566735"/>
                    <a:gd name="connsiteX10" fmla="*/ 472114 w 472113"/>
                    <a:gd name="connsiteY10" fmla="*/ 451886 h 566735"/>
                    <a:gd name="connsiteX11" fmla="*/ 469029 w 472113"/>
                    <a:gd name="connsiteY11" fmla="*/ 439543 h 566735"/>
                    <a:gd name="connsiteX12" fmla="*/ 259199 w 472113"/>
                    <a:gd name="connsiteY12" fmla="*/ 158743 h 566735"/>
                    <a:gd name="connsiteX13" fmla="*/ 256114 w 472113"/>
                    <a:gd name="connsiteY13" fmla="*/ 155657 h 566735"/>
                    <a:gd name="connsiteX14" fmla="*/ 163542 w 472113"/>
                    <a:gd name="connsiteY14" fmla="*/ 103200 h 566735"/>
                    <a:gd name="connsiteX15" fmla="*/ 89485 w 472113"/>
                    <a:gd name="connsiteY15" fmla="*/ 4457 h 566735"/>
                    <a:gd name="connsiteX16" fmla="*/ 83315 w 472113"/>
                    <a:gd name="connsiteY16" fmla="*/ 1371 h 566735"/>
                    <a:gd name="connsiteX17" fmla="*/ 83315 w 472113"/>
                    <a:gd name="connsiteY17" fmla="*/ 1371 h 566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472113" h="566735">
                      <a:moveTo>
                        <a:pt x="83315" y="1371"/>
                      </a:moveTo>
                      <a:lnTo>
                        <a:pt x="3085" y="60000"/>
                      </a:lnTo>
                      <a:cubicBezTo>
                        <a:pt x="3085" y="60000"/>
                        <a:pt x="0" y="63085"/>
                        <a:pt x="0" y="66171"/>
                      </a:cubicBezTo>
                      <a:cubicBezTo>
                        <a:pt x="0" y="69257"/>
                        <a:pt x="0" y="69257"/>
                        <a:pt x="0" y="72343"/>
                      </a:cubicBezTo>
                      <a:lnTo>
                        <a:pt x="74056" y="171085"/>
                      </a:lnTo>
                      <a:lnTo>
                        <a:pt x="98743" y="276000"/>
                      </a:lnTo>
                      <a:cubicBezTo>
                        <a:pt x="98743" y="276000"/>
                        <a:pt x="98743" y="279085"/>
                        <a:pt x="98743" y="279085"/>
                      </a:cubicBezTo>
                      <a:lnTo>
                        <a:pt x="308571" y="559886"/>
                      </a:lnTo>
                      <a:cubicBezTo>
                        <a:pt x="324000" y="578400"/>
                        <a:pt x="370286" y="556800"/>
                        <a:pt x="410400" y="525943"/>
                      </a:cubicBezTo>
                      <a:cubicBezTo>
                        <a:pt x="432000" y="510514"/>
                        <a:pt x="447429" y="495085"/>
                        <a:pt x="459770" y="479657"/>
                      </a:cubicBezTo>
                      <a:cubicBezTo>
                        <a:pt x="469029" y="470400"/>
                        <a:pt x="472114" y="461143"/>
                        <a:pt x="472114" y="451886"/>
                      </a:cubicBezTo>
                      <a:cubicBezTo>
                        <a:pt x="472114" y="445715"/>
                        <a:pt x="472114" y="442629"/>
                        <a:pt x="469029" y="439543"/>
                      </a:cubicBezTo>
                      <a:lnTo>
                        <a:pt x="259199" y="158743"/>
                      </a:lnTo>
                      <a:cubicBezTo>
                        <a:pt x="259199" y="158743"/>
                        <a:pt x="259199" y="158743"/>
                        <a:pt x="256114" y="155657"/>
                      </a:cubicBezTo>
                      <a:lnTo>
                        <a:pt x="163542" y="103200"/>
                      </a:lnTo>
                      <a:lnTo>
                        <a:pt x="89485" y="4457"/>
                      </a:lnTo>
                      <a:cubicBezTo>
                        <a:pt x="89485" y="4457"/>
                        <a:pt x="86400" y="1371"/>
                        <a:pt x="83315" y="1371"/>
                      </a:cubicBezTo>
                      <a:cubicBezTo>
                        <a:pt x="86400" y="-1714"/>
                        <a:pt x="83315" y="1371"/>
                        <a:pt x="83315" y="1371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5482969E-5C89-4156-AD71-C60559CB4069}"/>
                    </a:ext>
                  </a:extLst>
                </p:cNvPr>
                <p:cNvSpPr/>
                <p:nvPr/>
              </p:nvSpPr>
              <p:spPr>
                <a:xfrm>
                  <a:off x="25156569" y="9762610"/>
                  <a:ext cx="92571" cy="74829"/>
                </a:xfrm>
                <a:custGeom>
                  <a:avLst/>
                  <a:gdLst>
                    <a:gd name="connsiteX0" fmla="*/ 21600 w 92571"/>
                    <a:gd name="connsiteY0" fmla="*/ 19286 h 74829"/>
                    <a:gd name="connsiteX1" fmla="*/ 0 w 92571"/>
                    <a:gd name="connsiteY1" fmla="*/ 65571 h 74829"/>
                    <a:gd name="connsiteX2" fmla="*/ 3085 w 92571"/>
                    <a:gd name="connsiteY2" fmla="*/ 71743 h 74829"/>
                    <a:gd name="connsiteX3" fmla="*/ 9257 w 92571"/>
                    <a:gd name="connsiteY3" fmla="*/ 74829 h 74829"/>
                    <a:gd name="connsiteX4" fmla="*/ 92571 w 92571"/>
                    <a:gd name="connsiteY4" fmla="*/ 10029 h 74829"/>
                    <a:gd name="connsiteX5" fmla="*/ 92571 w 92571"/>
                    <a:gd name="connsiteY5" fmla="*/ 10029 h 74829"/>
                    <a:gd name="connsiteX6" fmla="*/ 92571 w 92571"/>
                    <a:gd name="connsiteY6" fmla="*/ 3857 h 74829"/>
                    <a:gd name="connsiteX7" fmla="*/ 86400 w 92571"/>
                    <a:gd name="connsiteY7" fmla="*/ 771 h 74829"/>
                    <a:gd name="connsiteX8" fmla="*/ 21600 w 92571"/>
                    <a:gd name="connsiteY8" fmla="*/ 19286 h 74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2571" h="74829">
                      <a:moveTo>
                        <a:pt x="21600" y="19286"/>
                      </a:moveTo>
                      <a:cubicBezTo>
                        <a:pt x="0" y="37800"/>
                        <a:pt x="0" y="65571"/>
                        <a:pt x="0" y="65571"/>
                      </a:cubicBezTo>
                      <a:cubicBezTo>
                        <a:pt x="0" y="68657"/>
                        <a:pt x="0" y="68657"/>
                        <a:pt x="3085" y="71743"/>
                      </a:cubicBezTo>
                      <a:cubicBezTo>
                        <a:pt x="6172" y="71743"/>
                        <a:pt x="6172" y="74829"/>
                        <a:pt x="9257" y="74829"/>
                      </a:cubicBezTo>
                      <a:cubicBezTo>
                        <a:pt x="74056" y="62485"/>
                        <a:pt x="92571" y="13115"/>
                        <a:pt x="92571" y="10029"/>
                      </a:cubicBezTo>
                      <a:cubicBezTo>
                        <a:pt x="92571" y="10029"/>
                        <a:pt x="92571" y="10029"/>
                        <a:pt x="92571" y="10029"/>
                      </a:cubicBezTo>
                      <a:cubicBezTo>
                        <a:pt x="92571" y="6943"/>
                        <a:pt x="92571" y="6943"/>
                        <a:pt x="92571" y="3857"/>
                      </a:cubicBezTo>
                      <a:cubicBezTo>
                        <a:pt x="92571" y="771"/>
                        <a:pt x="89485" y="771"/>
                        <a:pt x="86400" y="771"/>
                      </a:cubicBezTo>
                      <a:cubicBezTo>
                        <a:pt x="58627" y="-2314"/>
                        <a:pt x="37029" y="3857"/>
                        <a:pt x="21600" y="19286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22" name="图形 1">
                <a:extLst>
                  <a:ext uri="{FF2B5EF4-FFF2-40B4-BE49-F238E27FC236}">
                    <a16:creationId xmlns:a16="http://schemas.microsoft.com/office/drawing/2014/main" id="{1D20D79E-0B9F-4A4E-BD48-2C227E439E9C}"/>
                  </a:ext>
                </a:extLst>
              </p:cNvPr>
              <p:cNvGrpSpPr/>
              <p:nvPr/>
            </p:nvGrpSpPr>
            <p:grpSpPr>
              <a:xfrm>
                <a:off x="25353558" y="9839081"/>
                <a:ext cx="361524" cy="717329"/>
                <a:chOff x="25353558" y="9839081"/>
                <a:chExt cx="361524" cy="717329"/>
              </a:xfrm>
            </p:grpSpPr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AB8E549F-E67B-4068-85AC-F994057FC432}"/>
                    </a:ext>
                  </a:extLst>
                </p:cNvPr>
                <p:cNvSpPr/>
                <p:nvPr/>
              </p:nvSpPr>
              <p:spPr>
                <a:xfrm>
                  <a:off x="25353558" y="9852868"/>
                  <a:ext cx="358439" cy="703542"/>
                </a:xfrm>
                <a:custGeom>
                  <a:avLst/>
                  <a:gdLst>
                    <a:gd name="connsiteX0" fmla="*/ 355353 w 358439"/>
                    <a:gd name="connsiteY0" fmla="*/ 30857 h 703542"/>
                    <a:gd name="connsiteX1" fmla="*/ 247353 w 358439"/>
                    <a:gd name="connsiteY1" fmla="*/ 0 h 703542"/>
                    <a:gd name="connsiteX2" fmla="*/ 241183 w 358439"/>
                    <a:gd name="connsiteY2" fmla="*/ 0 h 703542"/>
                    <a:gd name="connsiteX3" fmla="*/ 238096 w 358439"/>
                    <a:gd name="connsiteY3" fmla="*/ 6171 h 703542"/>
                    <a:gd name="connsiteX4" fmla="*/ 197982 w 358439"/>
                    <a:gd name="connsiteY4" fmla="*/ 141942 h 703542"/>
                    <a:gd name="connsiteX5" fmla="*/ 117755 w 358439"/>
                    <a:gd name="connsiteY5" fmla="*/ 234514 h 703542"/>
                    <a:gd name="connsiteX6" fmla="*/ 114668 w 358439"/>
                    <a:gd name="connsiteY6" fmla="*/ 237599 h 703542"/>
                    <a:gd name="connsiteX7" fmla="*/ 496 w 358439"/>
                    <a:gd name="connsiteY7" fmla="*/ 620228 h 703542"/>
                    <a:gd name="connsiteX8" fmla="*/ 99239 w 358439"/>
                    <a:gd name="connsiteY8" fmla="*/ 691200 h 703542"/>
                    <a:gd name="connsiteX9" fmla="*/ 176382 w 358439"/>
                    <a:gd name="connsiteY9" fmla="*/ 703543 h 703542"/>
                    <a:gd name="connsiteX10" fmla="*/ 210326 w 358439"/>
                    <a:gd name="connsiteY10" fmla="*/ 697371 h 703542"/>
                    <a:gd name="connsiteX11" fmla="*/ 219583 w 358439"/>
                    <a:gd name="connsiteY11" fmla="*/ 685028 h 703542"/>
                    <a:gd name="connsiteX12" fmla="*/ 333755 w 358439"/>
                    <a:gd name="connsiteY12" fmla="*/ 302400 h 703542"/>
                    <a:gd name="connsiteX13" fmla="*/ 333755 w 358439"/>
                    <a:gd name="connsiteY13" fmla="*/ 299314 h 703542"/>
                    <a:gd name="connsiteX14" fmla="*/ 318326 w 358439"/>
                    <a:gd name="connsiteY14" fmla="*/ 178971 h 703542"/>
                    <a:gd name="connsiteX15" fmla="*/ 358440 w 358439"/>
                    <a:gd name="connsiteY15" fmla="*/ 43200 h 703542"/>
                    <a:gd name="connsiteX16" fmla="*/ 358440 w 358439"/>
                    <a:gd name="connsiteY16" fmla="*/ 37028 h 703542"/>
                    <a:gd name="connsiteX17" fmla="*/ 355353 w 358439"/>
                    <a:gd name="connsiteY17" fmla="*/ 30857 h 70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58439" h="703542">
                      <a:moveTo>
                        <a:pt x="355353" y="30857"/>
                      </a:moveTo>
                      <a:lnTo>
                        <a:pt x="247353" y="0"/>
                      </a:lnTo>
                      <a:cubicBezTo>
                        <a:pt x="244268" y="0"/>
                        <a:pt x="244268" y="0"/>
                        <a:pt x="241183" y="0"/>
                      </a:cubicBezTo>
                      <a:cubicBezTo>
                        <a:pt x="238096" y="0"/>
                        <a:pt x="238096" y="3085"/>
                        <a:pt x="238096" y="6171"/>
                      </a:cubicBezTo>
                      <a:lnTo>
                        <a:pt x="197982" y="141942"/>
                      </a:lnTo>
                      <a:lnTo>
                        <a:pt x="117755" y="234514"/>
                      </a:lnTo>
                      <a:cubicBezTo>
                        <a:pt x="117755" y="234514"/>
                        <a:pt x="117755" y="237599"/>
                        <a:pt x="114668" y="237599"/>
                      </a:cubicBezTo>
                      <a:lnTo>
                        <a:pt x="496" y="620228"/>
                      </a:lnTo>
                      <a:cubicBezTo>
                        <a:pt x="-5674" y="644914"/>
                        <a:pt x="46782" y="672685"/>
                        <a:pt x="99239" y="691200"/>
                      </a:cubicBezTo>
                      <a:cubicBezTo>
                        <a:pt x="127011" y="700457"/>
                        <a:pt x="154782" y="703543"/>
                        <a:pt x="176382" y="703543"/>
                      </a:cubicBezTo>
                      <a:cubicBezTo>
                        <a:pt x="191811" y="703543"/>
                        <a:pt x="201067" y="700457"/>
                        <a:pt x="210326" y="697371"/>
                      </a:cubicBezTo>
                      <a:cubicBezTo>
                        <a:pt x="216496" y="694286"/>
                        <a:pt x="219583" y="691200"/>
                        <a:pt x="219583" y="685028"/>
                      </a:cubicBezTo>
                      <a:lnTo>
                        <a:pt x="333755" y="302400"/>
                      </a:lnTo>
                      <a:cubicBezTo>
                        <a:pt x="333755" y="302400"/>
                        <a:pt x="333755" y="299314"/>
                        <a:pt x="333755" y="299314"/>
                      </a:cubicBezTo>
                      <a:lnTo>
                        <a:pt x="318326" y="178971"/>
                      </a:lnTo>
                      <a:lnTo>
                        <a:pt x="358440" y="43200"/>
                      </a:lnTo>
                      <a:cubicBezTo>
                        <a:pt x="358440" y="40114"/>
                        <a:pt x="358440" y="40114"/>
                        <a:pt x="358440" y="37028"/>
                      </a:cubicBezTo>
                      <a:cubicBezTo>
                        <a:pt x="358440" y="30857"/>
                        <a:pt x="355353" y="30857"/>
                        <a:pt x="355353" y="30857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EB214533-0891-4D5F-BBC2-B33010C69FF3}"/>
                    </a:ext>
                  </a:extLst>
                </p:cNvPr>
                <p:cNvSpPr/>
                <p:nvPr/>
              </p:nvSpPr>
              <p:spPr>
                <a:xfrm>
                  <a:off x="25591654" y="9839081"/>
                  <a:ext cx="123428" cy="62354"/>
                </a:xfrm>
                <a:custGeom>
                  <a:avLst/>
                  <a:gdLst>
                    <a:gd name="connsiteX0" fmla="*/ 61714 w 123428"/>
                    <a:gd name="connsiteY0" fmla="*/ 1443 h 62354"/>
                    <a:gd name="connsiteX1" fmla="*/ 3087 w 123428"/>
                    <a:gd name="connsiteY1" fmla="*/ 13787 h 62354"/>
                    <a:gd name="connsiteX2" fmla="*/ 0 w 123428"/>
                    <a:gd name="connsiteY2" fmla="*/ 19957 h 62354"/>
                    <a:gd name="connsiteX3" fmla="*/ 3087 w 123428"/>
                    <a:gd name="connsiteY3" fmla="*/ 26129 h 62354"/>
                    <a:gd name="connsiteX4" fmla="*/ 117257 w 123428"/>
                    <a:gd name="connsiteY4" fmla="*/ 60072 h 62354"/>
                    <a:gd name="connsiteX5" fmla="*/ 120344 w 123428"/>
                    <a:gd name="connsiteY5" fmla="*/ 60072 h 62354"/>
                    <a:gd name="connsiteX6" fmla="*/ 123429 w 123428"/>
                    <a:gd name="connsiteY6" fmla="*/ 56986 h 62354"/>
                    <a:gd name="connsiteX7" fmla="*/ 123429 w 123428"/>
                    <a:gd name="connsiteY7" fmla="*/ 50815 h 62354"/>
                    <a:gd name="connsiteX8" fmla="*/ 61714 w 123428"/>
                    <a:gd name="connsiteY8" fmla="*/ 1443 h 623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3428" h="62354">
                      <a:moveTo>
                        <a:pt x="61714" y="1443"/>
                      </a:moveTo>
                      <a:cubicBezTo>
                        <a:pt x="30857" y="-4728"/>
                        <a:pt x="3087" y="10701"/>
                        <a:pt x="3087" y="13787"/>
                      </a:cubicBezTo>
                      <a:cubicBezTo>
                        <a:pt x="0" y="13787"/>
                        <a:pt x="0" y="16872"/>
                        <a:pt x="0" y="19957"/>
                      </a:cubicBezTo>
                      <a:cubicBezTo>
                        <a:pt x="0" y="23043"/>
                        <a:pt x="0" y="26129"/>
                        <a:pt x="3087" y="26129"/>
                      </a:cubicBezTo>
                      <a:cubicBezTo>
                        <a:pt x="58629" y="75501"/>
                        <a:pt x="117257" y="60072"/>
                        <a:pt x="117257" y="60072"/>
                      </a:cubicBezTo>
                      <a:cubicBezTo>
                        <a:pt x="117257" y="60072"/>
                        <a:pt x="117257" y="60072"/>
                        <a:pt x="120344" y="60072"/>
                      </a:cubicBezTo>
                      <a:cubicBezTo>
                        <a:pt x="123429" y="60072"/>
                        <a:pt x="123429" y="56986"/>
                        <a:pt x="123429" y="56986"/>
                      </a:cubicBezTo>
                      <a:cubicBezTo>
                        <a:pt x="123429" y="53900"/>
                        <a:pt x="123429" y="50815"/>
                        <a:pt x="123429" y="50815"/>
                      </a:cubicBezTo>
                      <a:cubicBezTo>
                        <a:pt x="104915" y="19957"/>
                        <a:pt x="83315" y="4529"/>
                        <a:pt x="61714" y="1443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23" name="图形 1">
                <a:extLst>
                  <a:ext uri="{FF2B5EF4-FFF2-40B4-BE49-F238E27FC236}">
                    <a16:creationId xmlns:a16="http://schemas.microsoft.com/office/drawing/2014/main" id="{1878CF02-A697-4B6C-9630-8B933EF2D552}"/>
                  </a:ext>
                </a:extLst>
              </p:cNvPr>
              <p:cNvGrpSpPr/>
              <p:nvPr/>
            </p:nvGrpSpPr>
            <p:grpSpPr>
              <a:xfrm>
                <a:off x="25457969" y="10043989"/>
                <a:ext cx="522486" cy="537106"/>
                <a:chOff x="25457969" y="10043989"/>
                <a:chExt cx="522486" cy="537106"/>
              </a:xfrm>
            </p:grpSpPr>
            <p:sp>
              <p:nvSpPr>
                <p:cNvPr id="133" name="任意多边形: 形状 132">
                  <a:extLst>
                    <a:ext uri="{FF2B5EF4-FFF2-40B4-BE49-F238E27FC236}">
                      <a16:creationId xmlns:a16="http://schemas.microsoft.com/office/drawing/2014/main" id="{91EAF556-93DF-4FAF-8938-A82C7FA268F6}"/>
                    </a:ext>
                  </a:extLst>
                </p:cNvPr>
                <p:cNvSpPr/>
                <p:nvPr/>
              </p:nvSpPr>
              <p:spPr>
                <a:xfrm>
                  <a:off x="25457969" y="10044181"/>
                  <a:ext cx="522486" cy="536914"/>
                </a:xfrm>
                <a:custGeom>
                  <a:avLst/>
                  <a:gdLst>
                    <a:gd name="connsiteX0" fmla="*/ 519400 w 522486"/>
                    <a:gd name="connsiteY0" fmla="*/ 70972 h 536914"/>
                    <a:gd name="connsiteX1" fmla="*/ 448429 w 522486"/>
                    <a:gd name="connsiteY1" fmla="*/ 3086 h 536914"/>
                    <a:gd name="connsiteX2" fmla="*/ 442257 w 522486"/>
                    <a:gd name="connsiteY2" fmla="*/ 0 h 536914"/>
                    <a:gd name="connsiteX3" fmla="*/ 436085 w 522486"/>
                    <a:gd name="connsiteY3" fmla="*/ 3086 h 536914"/>
                    <a:gd name="connsiteX4" fmla="*/ 349685 w 522486"/>
                    <a:gd name="connsiteY4" fmla="*/ 92571 h 536914"/>
                    <a:gd name="connsiteX5" fmla="*/ 250942 w 522486"/>
                    <a:gd name="connsiteY5" fmla="*/ 132686 h 536914"/>
                    <a:gd name="connsiteX6" fmla="*/ 247857 w 522486"/>
                    <a:gd name="connsiteY6" fmla="*/ 135771 h 536914"/>
                    <a:gd name="connsiteX7" fmla="*/ 4085 w 522486"/>
                    <a:gd name="connsiteY7" fmla="*/ 388800 h 536914"/>
                    <a:gd name="connsiteX8" fmla="*/ 53457 w 522486"/>
                    <a:gd name="connsiteY8" fmla="*/ 484458 h 536914"/>
                    <a:gd name="connsiteX9" fmla="*/ 109000 w 522486"/>
                    <a:gd name="connsiteY9" fmla="*/ 527657 h 536914"/>
                    <a:gd name="connsiteX10" fmla="*/ 136772 w 522486"/>
                    <a:gd name="connsiteY10" fmla="*/ 536914 h 536914"/>
                    <a:gd name="connsiteX11" fmla="*/ 149114 w 522486"/>
                    <a:gd name="connsiteY11" fmla="*/ 530743 h 536914"/>
                    <a:gd name="connsiteX12" fmla="*/ 392886 w 522486"/>
                    <a:gd name="connsiteY12" fmla="*/ 277714 h 536914"/>
                    <a:gd name="connsiteX13" fmla="*/ 395971 w 522486"/>
                    <a:gd name="connsiteY13" fmla="*/ 274628 h 536914"/>
                    <a:gd name="connsiteX14" fmla="*/ 433000 w 522486"/>
                    <a:gd name="connsiteY14" fmla="*/ 172800 h 536914"/>
                    <a:gd name="connsiteX15" fmla="*/ 519400 w 522486"/>
                    <a:gd name="connsiteY15" fmla="*/ 83315 h 536914"/>
                    <a:gd name="connsiteX16" fmla="*/ 522486 w 522486"/>
                    <a:gd name="connsiteY16" fmla="*/ 77143 h 536914"/>
                    <a:gd name="connsiteX17" fmla="*/ 519400 w 522486"/>
                    <a:gd name="connsiteY17" fmla="*/ 70972 h 536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522486" h="536914">
                      <a:moveTo>
                        <a:pt x="519400" y="70972"/>
                      </a:moveTo>
                      <a:lnTo>
                        <a:pt x="448429" y="3086"/>
                      </a:lnTo>
                      <a:cubicBezTo>
                        <a:pt x="448429" y="3086"/>
                        <a:pt x="445344" y="0"/>
                        <a:pt x="442257" y="0"/>
                      </a:cubicBezTo>
                      <a:cubicBezTo>
                        <a:pt x="439172" y="0"/>
                        <a:pt x="439172" y="0"/>
                        <a:pt x="436085" y="3086"/>
                      </a:cubicBezTo>
                      <a:lnTo>
                        <a:pt x="349685" y="92571"/>
                      </a:lnTo>
                      <a:lnTo>
                        <a:pt x="250942" y="132686"/>
                      </a:lnTo>
                      <a:cubicBezTo>
                        <a:pt x="250942" y="132686"/>
                        <a:pt x="247857" y="132686"/>
                        <a:pt x="247857" y="135771"/>
                      </a:cubicBezTo>
                      <a:lnTo>
                        <a:pt x="4085" y="388800"/>
                      </a:lnTo>
                      <a:cubicBezTo>
                        <a:pt x="-11344" y="404229"/>
                        <a:pt x="19513" y="450514"/>
                        <a:pt x="53457" y="484458"/>
                      </a:cubicBezTo>
                      <a:cubicBezTo>
                        <a:pt x="71971" y="502972"/>
                        <a:pt x="90486" y="518401"/>
                        <a:pt x="109000" y="527657"/>
                      </a:cubicBezTo>
                      <a:cubicBezTo>
                        <a:pt x="121344" y="533829"/>
                        <a:pt x="130600" y="536914"/>
                        <a:pt x="136772" y="536914"/>
                      </a:cubicBezTo>
                      <a:cubicBezTo>
                        <a:pt x="142942" y="536914"/>
                        <a:pt x="146029" y="533829"/>
                        <a:pt x="149114" y="530743"/>
                      </a:cubicBezTo>
                      <a:lnTo>
                        <a:pt x="392886" y="277714"/>
                      </a:lnTo>
                      <a:cubicBezTo>
                        <a:pt x="392886" y="277714"/>
                        <a:pt x="392886" y="274628"/>
                        <a:pt x="395971" y="274628"/>
                      </a:cubicBezTo>
                      <a:lnTo>
                        <a:pt x="433000" y="172800"/>
                      </a:lnTo>
                      <a:lnTo>
                        <a:pt x="519400" y="83315"/>
                      </a:lnTo>
                      <a:cubicBezTo>
                        <a:pt x="519400" y="83315"/>
                        <a:pt x="522486" y="80229"/>
                        <a:pt x="522486" y="77143"/>
                      </a:cubicBezTo>
                      <a:cubicBezTo>
                        <a:pt x="522486" y="74057"/>
                        <a:pt x="522486" y="70972"/>
                        <a:pt x="519400" y="70972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4" name="任意多边形: 形状 133">
                  <a:extLst>
                    <a:ext uri="{FF2B5EF4-FFF2-40B4-BE49-F238E27FC236}">
                      <a16:creationId xmlns:a16="http://schemas.microsoft.com/office/drawing/2014/main" id="{8722D664-3E52-4756-AE06-4702DE00FB06}"/>
                    </a:ext>
                  </a:extLst>
                </p:cNvPr>
                <p:cNvSpPr/>
                <p:nvPr/>
              </p:nvSpPr>
              <p:spPr>
                <a:xfrm>
                  <a:off x="25894053" y="10043989"/>
                  <a:ext cx="86401" cy="83507"/>
                </a:xfrm>
                <a:custGeom>
                  <a:avLst/>
                  <a:gdLst>
                    <a:gd name="connsiteX0" fmla="*/ 55544 w 86401"/>
                    <a:gd name="connsiteY0" fmla="*/ 15621 h 83507"/>
                    <a:gd name="connsiteX1" fmla="*/ 6172 w 86401"/>
                    <a:gd name="connsiteY1" fmla="*/ 193 h 83507"/>
                    <a:gd name="connsiteX2" fmla="*/ 0 w 86401"/>
                    <a:gd name="connsiteY2" fmla="*/ 3279 h 83507"/>
                    <a:gd name="connsiteX3" fmla="*/ 0 w 86401"/>
                    <a:gd name="connsiteY3" fmla="*/ 9451 h 83507"/>
                    <a:gd name="connsiteX4" fmla="*/ 77143 w 86401"/>
                    <a:gd name="connsiteY4" fmla="*/ 83508 h 83507"/>
                    <a:gd name="connsiteX5" fmla="*/ 77143 w 86401"/>
                    <a:gd name="connsiteY5" fmla="*/ 83508 h 83507"/>
                    <a:gd name="connsiteX6" fmla="*/ 83315 w 86401"/>
                    <a:gd name="connsiteY6" fmla="*/ 80422 h 83507"/>
                    <a:gd name="connsiteX7" fmla="*/ 86402 w 86401"/>
                    <a:gd name="connsiteY7" fmla="*/ 74250 h 83507"/>
                    <a:gd name="connsiteX8" fmla="*/ 55544 w 86401"/>
                    <a:gd name="connsiteY8" fmla="*/ 15621 h 835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6401" h="83507">
                      <a:moveTo>
                        <a:pt x="55544" y="15621"/>
                      </a:moveTo>
                      <a:cubicBezTo>
                        <a:pt x="33944" y="-2893"/>
                        <a:pt x="6172" y="193"/>
                        <a:pt x="6172" y="193"/>
                      </a:cubicBezTo>
                      <a:cubicBezTo>
                        <a:pt x="3087" y="193"/>
                        <a:pt x="3087" y="193"/>
                        <a:pt x="0" y="3279"/>
                      </a:cubicBezTo>
                      <a:cubicBezTo>
                        <a:pt x="0" y="6365"/>
                        <a:pt x="0" y="6365"/>
                        <a:pt x="0" y="9451"/>
                      </a:cubicBezTo>
                      <a:cubicBezTo>
                        <a:pt x="21600" y="71165"/>
                        <a:pt x="74058" y="83508"/>
                        <a:pt x="77143" y="83508"/>
                      </a:cubicBezTo>
                      <a:cubicBezTo>
                        <a:pt x="77143" y="83508"/>
                        <a:pt x="77143" y="83508"/>
                        <a:pt x="77143" y="83508"/>
                      </a:cubicBezTo>
                      <a:cubicBezTo>
                        <a:pt x="80230" y="83508"/>
                        <a:pt x="80230" y="83508"/>
                        <a:pt x="83315" y="80422"/>
                      </a:cubicBezTo>
                      <a:cubicBezTo>
                        <a:pt x="86402" y="77336"/>
                        <a:pt x="86402" y="77336"/>
                        <a:pt x="86402" y="74250"/>
                      </a:cubicBezTo>
                      <a:cubicBezTo>
                        <a:pt x="83315" y="49565"/>
                        <a:pt x="74058" y="27964"/>
                        <a:pt x="55544" y="15621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24" name="图形 1">
                <a:extLst>
                  <a:ext uri="{FF2B5EF4-FFF2-40B4-BE49-F238E27FC236}">
                    <a16:creationId xmlns:a16="http://schemas.microsoft.com/office/drawing/2014/main" id="{84D65278-2E27-4AEF-8DDA-3A2B20EE25B8}"/>
                  </a:ext>
                </a:extLst>
              </p:cNvPr>
              <p:cNvGrpSpPr/>
              <p:nvPr/>
            </p:nvGrpSpPr>
            <p:grpSpPr>
              <a:xfrm>
                <a:off x="24993865" y="8962350"/>
                <a:ext cx="1044077" cy="1624917"/>
                <a:chOff x="24993865" y="8962350"/>
                <a:chExt cx="1044077" cy="1624917"/>
              </a:xfrm>
              <a:solidFill>
                <a:srgbClr val="38343B"/>
              </a:solidFill>
            </p:grpSpPr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EFAFDAC7-87AA-4C01-AAF7-AA2F06D5F1ED}"/>
                    </a:ext>
                  </a:extLst>
                </p:cNvPr>
                <p:cNvSpPr/>
                <p:nvPr/>
              </p:nvSpPr>
              <p:spPr>
                <a:xfrm>
                  <a:off x="25451933" y="8962350"/>
                  <a:ext cx="212919" cy="449260"/>
                </a:xfrm>
                <a:custGeom>
                  <a:avLst/>
                  <a:gdLst>
                    <a:gd name="connsiteX0" fmla="*/ 56406 w 212919"/>
                    <a:gd name="connsiteY0" fmla="*/ 449260 h 449260"/>
                    <a:gd name="connsiteX1" fmla="*/ 53321 w 212919"/>
                    <a:gd name="connsiteY1" fmla="*/ 443089 h 449260"/>
                    <a:gd name="connsiteX2" fmla="*/ 102692 w 212919"/>
                    <a:gd name="connsiteY2" fmla="*/ 23432 h 449260"/>
                    <a:gd name="connsiteX3" fmla="*/ 198350 w 212919"/>
                    <a:gd name="connsiteY3" fmla="*/ 14175 h 449260"/>
                    <a:gd name="connsiteX4" fmla="*/ 182922 w 212919"/>
                    <a:gd name="connsiteY4" fmla="*/ 211661 h 449260"/>
                    <a:gd name="connsiteX5" fmla="*/ 62578 w 212919"/>
                    <a:gd name="connsiteY5" fmla="*/ 446175 h 449260"/>
                    <a:gd name="connsiteX6" fmla="*/ 56406 w 212919"/>
                    <a:gd name="connsiteY6" fmla="*/ 449260 h 449260"/>
                    <a:gd name="connsiteX7" fmla="*/ 164406 w 212919"/>
                    <a:gd name="connsiteY7" fmla="*/ 8004 h 449260"/>
                    <a:gd name="connsiteX8" fmla="*/ 105779 w 212919"/>
                    <a:gd name="connsiteY8" fmla="*/ 29604 h 449260"/>
                    <a:gd name="connsiteX9" fmla="*/ 56406 w 212919"/>
                    <a:gd name="connsiteY9" fmla="*/ 427661 h 449260"/>
                    <a:gd name="connsiteX10" fmla="*/ 186006 w 212919"/>
                    <a:gd name="connsiteY10" fmla="*/ 17260 h 449260"/>
                    <a:gd name="connsiteX11" fmla="*/ 164406 w 212919"/>
                    <a:gd name="connsiteY11" fmla="*/ 8004 h 4492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12919" h="449260">
                      <a:moveTo>
                        <a:pt x="56406" y="449260"/>
                      </a:moveTo>
                      <a:lnTo>
                        <a:pt x="53321" y="443089"/>
                      </a:lnTo>
                      <a:cubicBezTo>
                        <a:pt x="53321" y="440004"/>
                        <a:pt x="-94793" y="143775"/>
                        <a:pt x="102692" y="23432"/>
                      </a:cubicBezTo>
                      <a:cubicBezTo>
                        <a:pt x="145893" y="-4339"/>
                        <a:pt x="179835" y="-7425"/>
                        <a:pt x="198350" y="14175"/>
                      </a:cubicBezTo>
                      <a:cubicBezTo>
                        <a:pt x="232292" y="51203"/>
                        <a:pt x="198350" y="165375"/>
                        <a:pt x="182922" y="211661"/>
                      </a:cubicBezTo>
                      <a:cubicBezTo>
                        <a:pt x="152064" y="298061"/>
                        <a:pt x="105779" y="390632"/>
                        <a:pt x="62578" y="446175"/>
                      </a:cubicBezTo>
                      <a:lnTo>
                        <a:pt x="56406" y="449260"/>
                      </a:lnTo>
                      <a:close/>
                      <a:moveTo>
                        <a:pt x="164406" y="8004"/>
                      </a:moveTo>
                      <a:cubicBezTo>
                        <a:pt x="148978" y="8004"/>
                        <a:pt x="130464" y="14175"/>
                        <a:pt x="105779" y="29604"/>
                      </a:cubicBezTo>
                      <a:cubicBezTo>
                        <a:pt x="-67022" y="134518"/>
                        <a:pt x="34808" y="378289"/>
                        <a:pt x="56406" y="427661"/>
                      </a:cubicBezTo>
                      <a:cubicBezTo>
                        <a:pt x="145893" y="310403"/>
                        <a:pt x="232292" y="66632"/>
                        <a:pt x="186006" y="17260"/>
                      </a:cubicBezTo>
                      <a:cubicBezTo>
                        <a:pt x="182922" y="11089"/>
                        <a:pt x="173665" y="8004"/>
                        <a:pt x="164406" y="8004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EAD9A6C0-188A-4D63-8387-1D911A7B45AD}"/>
                    </a:ext>
                  </a:extLst>
                </p:cNvPr>
                <p:cNvSpPr/>
                <p:nvPr/>
              </p:nvSpPr>
              <p:spPr>
                <a:xfrm>
                  <a:off x="24993865" y="9393096"/>
                  <a:ext cx="1044077" cy="1194171"/>
                </a:xfrm>
                <a:custGeom>
                  <a:avLst/>
                  <a:gdLst>
                    <a:gd name="connsiteX0" fmla="*/ 545331 w 1044077"/>
                    <a:gd name="connsiteY0" fmla="*/ 1194171 h 1194171"/>
                    <a:gd name="connsiteX1" fmla="*/ 276875 w 1044077"/>
                    <a:gd name="connsiteY1" fmla="*/ 1141714 h 1194171"/>
                    <a:gd name="connsiteX2" fmla="*/ 45447 w 1044077"/>
                    <a:gd name="connsiteY2" fmla="*/ 916457 h 1194171"/>
                    <a:gd name="connsiteX3" fmla="*/ 511389 w 1044077"/>
                    <a:gd name="connsiteY3" fmla="*/ 0 h 1194171"/>
                    <a:gd name="connsiteX4" fmla="*/ 514474 w 1044077"/>
                    <a:gd name="connsiteY4" fmla="*/ 0 h 1194171"/>
                    <a:gd name="connsiteX5" fmla="*/ 517561 w 1044077"/>
                    <a:gd name="connsiteY5" fmla="*/ 3085 h 1194171"/>
                    <a:gd name="connsiteX6" fmla="*/ 1032875 w 1044077"/>
                    <a:gd name="connsiteY6" fmla="*/ 916457 h 1194171"/>
                    <a:gd name="connsiteX7" fmla="*/ 610132 w 1044077"/>
                    <a:gd name="connsiteY7" fmla="*/ 1191085 h 1194171"/>
                    <a:gd name="connsiteX8" fmla="*/ 545331 w 1044077"/>
                    <a:gd name="connsiteY8" fmla="*/ 1194171 h 1194171"/>
                    <a:gd name="connsiteX9" fmla="*/ 514474 w 1044077"/>
                    <a:gd name="connsiteY9" fmla="*/ 15429 h 1194171"/>
                    <a:gd name="connsiteX10" fmla="*/ 57789 w 1044077"/>
                    <a:gd name="connsiteY10" fmla="*/ 916457 h 1194171"/>
                    <a:gd name="connsiteX11" fmla="*/ 613217 w 1044077"/>
                    <a:gd name="connsiteY11" fmla="*/ 1181829 h 1194171"/>
                    <a:gd name="connsiteX12" fmla="*/ 1026704 w 1044077"/>
                    <a:gd name="connsiteY12" fmla="*/ 916457 h 1194171"/>
                    <a:gd name="connsiteX13" fmla="*/ 514474 w 1044077"/>
                    <a:gd name="connsiteY13" fmla="*/ 15429 h 1194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44077" h="1194171">
                      <a:moveTo>
                        <a:pt x="545331" y="1194171"/>
                      </a:moveTo>
                      <a:cubicBezTo>
                        <a:pt x="449675" y="1194171"/>
                        <a:pt x="357103" y="1175657"/>
                        <a:pt x="276875" y="1141714"/>
                      </a:cubicBezTo>
                      <a:cubicBezTo>
                        <a:pt x="165789" y="1095428"/>
                        <a:pt x="85561" y="1015200"/>
                        <a:pt x="45447" y="916457"/>
                      </a:cubicBezTo>
                      <a:cubicBezTo>
                        <a:pt x="-179812" y="373371"/>
                        <a:pt x="505217" y="3085"/>
                        <a:pt x="511389" y="0"/>
                      </a:cubicBezTo>
                      <a:lnTo>
                        <a:pt x="514474" y="0"/>
                      </a:lnTo>
                      <a:lnTo>
                        <a:pt x="517561" y="3085"/>
                      </a:lnTo>
                      <a:cubicBezTo>
                        <a:pt x="875503" y="234514"/>
                        <a:pt x="1097675" y="629486"/>
                        <a:pt x="1032875" y="916457"/>
                      </a:cubicBezTo>
                      <a:cubicBezTo>
                        <a:pt x="995847" y="1083085"/>
                        <a:pt x="795275" y="1172571"/>
                        <a:pt x="610132" y="1191085"/>
                      </a:cubicBezTo>
                      <a:cubicBezTo>
                        <a:pt x="588532" y="1194171"/>
                        <a:pt x="566931" y="1194171"/>
                        <a:pt x="545331" y="1194171"/>
                      </a:cubicBezTo>
                      <a:close/>
                      <a:moveTo>
                        <a:pt x="514474" y="15429"/>
                      </a:moveTo>
                      <a:cubicBezTo>
                        <a:pt x="468188" y="43200"/>
                        <a:pt x="-158211" y="398057"/>
                        <a:pt x="57789" y="916457"/>
                      </a:cubicBezTo>
                      <a:cubicBezTo>
                        <a:pt x="116418" y="1055314"/>
                        <a:pt x="295389" y="1209600"/>
                        <a:pt x="613217" y="1181829"/>
                      </a:cubicBezTo>
                      <a:cubicBezTo>
                        <a:pt x="792188" y="1166400"/>
                        <a:pt x="989675" y="1076915"/>
                        <a:pt x="1026704" y="916457"/>
                      </a:cubicBezTo>
                      <a:cubicBezTo>
                        <a:pt x="1085331" y="632571"/>
                        <a:pt x="866246" y="243771"/>
                        <a:pt x="514474" y="15429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575ABBDB-ACF9-43E0-B9CF-A67796AB9F11}"/>
                    </a:ext>
                  </a:extLst>
                </p:cNvPr>
                <p:cNvSpPr/>
                <p:nvPr/>
              </p:nvSpPr>
              <p:spPr>
                <a:xfrm>
                  <a:off x="25238605" y="9592389"/>
                  <a:ext cx="538191" cy="50649"/>
                </a:xfrm>
                <a:custGeom>
                  <a:avLst/>
                  <a:gdLst>
                    <a:gd name="connsiteX0" fmla="*/ 393163 w 538191"/>
                    <a:gd name="connsiteY0" fmla="*/ 50649 h 50649"/>
                    <a:gd name="connsiteX1" fmla="*/ 4364 w 538191"/>
                    <a:gd name="connsiteY1" fmla="*/ 10535 h 50649"/>
                    <a:gd name="connsiteX2" fmla="*/ 1279 w 538191"/>
                    <a:gd name="connsiteY2" fmla="*/ 4364 h 50649"/>
                    <a:gd name="connsiteX3" fmla="*/ 7449 w 538191"/>
                    <a:gd name="connsiteY3" fmla="*/ 1278 h 50649"/>
                    <a:gd name="connsiteX4" fmla="*/ 532020 w 538191"/>
                    <a:gd name="connsiteY4" fmla="*/ 32135 h 50649"/>
                    <a:gd name="connsiteX5" fmla="*/ 538192 w 538191"/>
                    <a:gd name="connsiteY5" fmla="*/ 35221 h 50649"/>
                    <a:gd name="connsiteX6" fmla="*/ 535107 w 538191"/>
                    <a:gd name="connsiteY6" fmla="*/ 41393 h 50649"/>
                    <a:gd name="connsiteX7" fmla="*/ 393163 w 538191"/>
                    <a:gd name="connsiteY7" fmla="*/ 50649 h 506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38191" h="50649">
                      <a:moveTo>
                        <a:pt x="393163" y="50649"/>
                      </a:moveTo>
                      <a:cubicBezTo>
                        <a:pt x="211107" y="50649"/>
                        <a:pt x="7449" y="10535"/>
                        <a:pt x="4364" y="10535"/>
                      </a:cubicBezTo>
                      <a:cubicBezTo>
                        <a:pt x="1279" y="10535"/>
                        <a:pt x="-1808" y="7450"/>
                        <a:pt x="1279" y="4364"/>
                      </a:cubicBezTo>
                      <a:cubicBezTo>
                        <a:pt x="1279" y="1278"/>
                        <a:pt x="4364" y="-1808"/>
                        <a:pt x="7449" y="1278"/>
                      </a:cubicBezTo>
                      <a:cubicBezTo>
                        <a:pt x="10535" y="1278"/>
                        <a:pt x="334535" y="66078"/>
                        <a:pt x="532020" y="32135"/>
                      </a:cubicBezTo>
                      <a:cubicBezTo>
                        <a:pt x="535107" y="32135"/>
                        <a:pt x="538192" y="32135"/>
                        <a:pt x="538192" y="35221"/>
                      </a:cubicBezTo>
                      <a:cubicBezTo>
                        <a:pt x="538192" y="38307"/>
                        <a:pt x="538192" y="41393"/>
                        <a:pt x="535107" y="41393"/>
                      </a:cubicBezTo>
                      <a:cubicBezTo>
                        <a:pt x="491906" y="47564"/>
                        <a:pt x="442535" y="50649"/>
                        <a:pt x="393163" y="50649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DA5023B4-C9E3-405C-9368-0F0F7E79DD41}"/>
                    </a:ext>
                  </a:extLst>
                </p:cNvPr>
                <p:cNvSpPr/>
                <p:nvPr/>
              </p:nvSpPr>
              <p:spPr>
                <a:xfrm>
                  <a:off x="25028776" y="9888618"/>
                  <a:ext cx="937621" cy="96935"/>
                </a:xfrm>
                <a:custGeom>
                  <a:avLst/>
                  <a:gdLst>
                    <a:gd name="connsiteX0" fmla="*/ 618421 w 937621"/>
                    <a:gd name="connsiteY0" fmla="*/ 96936 h 96935"/>
                    <a:gd name="connsiteX1" fmla="*/ 383907 w 937621"/>
                    <a:gd name="connsiteY1" fmla="*/ 81507 h 96935"/>
                    <a:gd name="connsiteX2" fmla="*/ 4365 w 937621"/>
                    <a:gd name="connsiteY2" fmla="*/ 10536 h 96935"/>
                    <a:gd name="connsiteX3" fmla="*/ 1278 w 937621"/>
                    <a:gd name="connsiteY3" fmla="*/ 4364 h 96935"/>
                    <a:gd name="connsiteX4" fmla="*/ 7450 w 937621"/>
                    <a:gd name="connsiteY4" fmla="*/ 1278 h 96935"/>
                    <a:gd name="connsiteX5" fmla="*/ 926992 w 937621"/>
                    <a:gd name="connsiteY5" fmla="*/ 16707 h 96935"/>
                    <a:gd name="connsiteX6" fmla="*/ 936251 w 937621"/>
                    <a:gd name="connsiteY6" fmla="*/ 16707 h 96935"/>
                    <a:gd name="connsiteX7" fmla="*/ 936251 w 937621"/>
                    <a:gd name="connsiteY7" fmla="*/ 25965 h 96935"/>
                    <a:gd name="connsiteX8" fmla="*/ 618421 w 937621"/>
                    <a:gd name="connsiteY8" fmla="*/ 96936 h 96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37621" h="96935">
                      <a:moveTo>
                        <a:pt x="618421" y="96936"/>
                      </a:moveTo>
                      <a:cubicBezTo>
                        <a:pt x="550536" y="96936"/>
                        <a:pt x="473394" y="90764"/>
                        <a:pt x="383907" y="81507"/>
                      </a:cubicBezTo>
                      <a:cubicBezTo>
                        <a:pt x="183336" y="56822"/>
                        <a:pt x="7450" y="13621"/>
                        <a:pt x="4365" y="10536"/>
                      </a:cubicBezTo>
                      <a:cubicBezTo>
                        <a:pt x="1278" y="10536"/>
                        <a:pt x="-1807" y="7450"/>
                        <a:pt x="1278" y="4364"/>
                      </a:cubicBezTo>
                      <a:cubicBezTo>
                        <a:pt x="4365" y="1278"/>
                        <a:pt x="4365" y="-1808"/>
                        <a:pt x="7450" y="1278"/>
                      </a:cubicBezTo>
                      <a:cubicBezTo>
                        <a:pt x="13621" y="4364"/>
                        <a:pt x="710992" y="180250"/>
                        <a:pt x="926992" y="16707"/>
                      </a:cubicBezTo>
                      <a:cubicBezTo>
                        <a:pt x="930079" y="13621"/>
                        <a:pt x="933164" y="16707"/>
                        <a:pt x="936251" y="16707"/>
                      </a:cubicBezTo>
                      <a:cubicBezTo>
                        <a:pt x="939336" y="19793"/>
                        <a:pt x="936251" y="22879"/>
                        <a:pt x="936251" y="25965"/>
                      </a:cubicBezTo>
                      <a:cubicBezTo>
                        <a:pt x="871450" y="72250"/>
                        <a:pt x="766536" y="96936"/>
                        <a:pt x="618421" y="96936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B9861E30-A70A-40CE-8D75-37F55884C47D}"/>
                    </a:ext>
                  </a:extLst>
                </p:cNvPr>
                <p:cNvSpPr/>
                <p:nvPr/>
              </p:nvSpPr>
              <p:spPr>
                <a:xfrm>
                  <a:off x="25041119" y="10305189"/>
                  <a:ext cx="988706" cy="72250"/>
                </a:xfrm>
                <a:custGeom>
                  <a:avLst/>
                  <a:gdLst>
                    <a:gd name="connsiteX0" fmla="*/ 587564 w 988706"/>
                    <a:gd name="connsiteY0" fmla="*/ 72250 h 72250"/>
                    <a:gd name="connsiteX1" fmla="*/ 374649 w 988706"/>
                    <a:gd name="connsiteY1" fmla="*/ 62993 h 72250"/>
                    <a:gd name="connsiteX2" fmla="*/ 4363 w 988706"/>
                    <a:gd name="connsiteY2" fmla="*/ 10536 h 72250"/>
                    <a:gd name="connsiteX3" fmla="*/ 1278 w 988706"/>
                    <a:gd name="connsiteY3" fmla="*/ 4364 h 72250"/>
                    <a:gd name="connsiteX4" fmla="*/ 7450 w 988706"/>
                    <a:gd name="connsiteY4" fmla="*/ 1278 h 72250"/>
                    <a:gd name="connsiteX5" fmla="*/ 377735 w 988706"/>
                    <a:gd name="connsiteY5" fmla="*/ 53736 h 72250"/>
                    <a:gd name="connsiteX6" fmla="*/ 982535 w 988706"/>
                    <a:gd name="connsiteY6" fmla="*/ 1278 h 72250"/>
                    <a:gd name="connsiteX7" fmla="*/ 988706 w 988706"/>
                    <a:gd name="connsiteY7" fmla="*/ 4364 h 72250"/>
                    <a:gd name="connsiteX8" fmla="*/ 985621 w 988706"/>
                    <a:gd name="connsiteY8" fmla="*/ 10536 h 72250"/>
                    <a:gd name="connsiteX9" fmla="*/ 587564 w 988706"/>
                    <a:gd name="connsiteY9" fmla="*/ 72250 h 72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88706" h="72250">
                      <a:moveTo>
                        <a:pt x="587564" y="72250"/>
                      </a:moveTo>
                      <a:cubicBezTo>
                        <a:pt x="513506" y="72250"/>
                        <a:pt x="439450" y="69164"/>
                        <a:pt x="374649" y="62993"/>
                      </a:cubicBezTo>
                      <a:cubicBezTo>
                        <a:pt x="170992" y="44478"/>
                        <a:pt x="4363" y="10536"/>
                        <a:pt x="4363" y="10536"/>
                      </a:cubicBezTo>
                      <a:cubicBezTo>
                        <a:pt x="1278" y="10536"/>
                        <a:pt x="-1807" y="7450"/>
                        <a:pt x="1278" y="4364"/>
                      </a:cubicBezTo>
                      <a:cubicBezTo>
                        <a:pt x="1278" y="1278"/>
                        <a:pt x="4363" y="-1808"/>
                        <a:pt x="7450" y="1278"/>
                      </a:cubicBezTo>
                      <a:cubicBezTo>
                        <a:pt x="10535" y="1278"/>
                        <a:pt x="174077" y="35221"/>
                        <a:pt x="377735" y="53736"/>
                      </a:cubicBezTo>
                      <a:cubicBezTo>
                        <a:pt x="562878" y="69164"/>
                        <a:pt x="818992" y="72250"/>
                        <a:pt x="982535" y="1278"/>
                      </a:cubicBezTo>
                      <a:cubicBezTo>
                        <a:pt x="985621" y="1278"/>
                        <a:pt x="988706" y="1278"/>
                        <a:pt x="988706" y="4364"/>
                      </a:cubicBezTo>
                      <a:cubicBezTo>
                        <a:pt x="988706" y="7450"/>
                        <a:pt x="988706" y="10536"/>
                        <a:pt x="985621" y="10536"/>
                      </a:cubicBezTo>
                      <a:cubicBezTo>
                        <a:pt x="877621" y="56822"/>
                        <a:pt x="729506" y="72250"/>
                        <a:pt x="587564" y="72250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6445DCBA-2191-4B37-BCEA-FD0E5C7D72FB}"/>
                    </a:ext>
                  </a:extLst>
                </p:cNvPr>
                <p:cNvSpPr/>
                <p:nvPr/>
              </p:nvSpPr>
              <p:spPr>
                <a:xfrm>
                  <a:off x="25465005" y="9396181"/>
                  <a:ext cx="58763" cy="1191085"/>
                </a:xfrm>
                <a:custGeom>
                  <a:avLst/>
                  <a:gdLst>
                    <a:gd name="connsiteX0" fmla="*/ 52593 w 58763"/>
                    <a:gd name="connsiteY0" fmla="*/ 1191086 h 1191085"/>
                    <a:gd name="connsiteX1" fmla="*/ 46421 w 58763"/>
                    <a:gd name="connsiteY1" fmla="*/ 1188000 h 1191085"/>
                    <a:gd name="connsiteX2" fmla="*/ 37165 w 58763"/>
                    <a:gd name="connsiteY2" fmla="*/ 6172 h 1191085"/>
                    <a:gd name="connsiteX3" fmla="*/ 43335 w 58763"/>
                    <a:gd name="connsiteY3" fmla="*/ 0 h 1191085"/>
                    <a:gd name="connsiteX4" fmla="*/ 49506 w 58763"/>
                    <a:gd name="connsiteY4" fmla="*/ 6172 h 1191085"/>
                    <a:gd name="connsiteX5" fmla="*/ 58763 w 58763"/>
                    <a:gd name="connsiteY5" fmla="*/ 1184914 h 1191085"/>
                    <a:gd name="connsiteX6" fmla="*/ 52593 w 58763"/>
                    <a:gd name="connsiteY6" fmla="*/ 1191086 h 1191085"/>
                    <a:gd name="connsiteX7" fmla="*/ 52593 w 58763"/>
                    <a:gd name="connsiteY7" fmla="*/ 1191086 h 11910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8763" h="1191085">
                      <a:moveTo>
                        <a:pt x="52593" y="1191086"/>
                      </a:moveTo>
                      <a:cubicBezTo>
                        <a:pt x="49506" y="1191086"/>
                        <a:pt x="46421" y="1188000"/>
                        <a:pt x="46421" y="1188000"/>
                      </a:cubicBezTo>
                      <a:cubicBezTo>
                        <a:pt x="-52322" y="820800"/>
                        <a:pt x="37165" y="12343"/>
                        <a:pt x="37165" y="6172"/>
                      </a:cubicBezTo>
                      <a:cubicBezTo>
                        <a:pt x="37165" y="3086"/>
                        <a:pt x="40250" y="0"/>
                        <a:pt x="43335" y="0"/>
                      </a:cubicBezTo>
                      <a:cubicBezTo>
                        <a:pt x="46421" y="0"/>
                        <a:pt x="49506" y="3086"/>
                        <a:pt x="49506" y="6172"/>
                      </a:cubicBezTo>
                      <a:cubicBezTo>
                        <a:pt x="49506" y="15429"/>
                        <a:pt x="-39978" y="820800"/>
                        <a:pt x="58763" y="1184914"/>
                      </a:cubicBezTo>
                      <a:cubicBezTo>
                        <a:pt x="58763" y="1188000"/>
                        <a:pt x="55678" y="1191086"/>
                        <a:pt x="52593" y="1191086"/>
                      </a:cubicBezTo>
                      <a:cubicBezTo>
                        <a:pt x="52593" y="1191086"/>
                        <a:pt x="52593" y="1191086"/>
                        <a:pt x="52593" y="1191086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5E1489EE-8502-4CB6-9759-EB2C4771927D}"/>
                    </a:ext>
                  </a:extLst>
                </p:cNvPr>
                <p:cNvSpPr/>
                <p:nvPr/>
              </p:nvSpPr>
              <p:spPr>
                <a:xfrm>
                  <a:off x="25189017" y="9522696"/>
                  <a:ext cx="137266" cy="999771"/>
                </a:xfrm>
                <a:custGeom>
                  <a:avLst/>
                  <a:gdLst>
                    <a:gd name="connsiteX0" fmla="*/ 57037 w 137266"/>
                    <a:gd name="connsiteY0" fmla="*/ 999771 h 999771"/>
                    <a:gd name="connsiteX1" fmla="*/ 50867 w 137266"/>
                    <a:gd name="connsiteY1" fmla="*/ 996685 h 999771"/>
                    <a:gd name="connsiteX2" fmla="*/ 128010 w 137266"/>
                    <a:gd name="connsiteY2" fmla="*/ 3086 h 999771"/>
                    <a:gd name="connsiteX3" fmla="*/ 134180 w 137266"/>
                    <a:gd name="connsiteY3" fmla="*/ 0 h 999771"/>
                    <a:gd name="connsiteX4" fmla="*/ 137267 w 137266"/>
                    <a:gd name="connsiteY4" fmla="*/ 6171 h 999771"/>
                    <a:gd name="connsiteX5" fmla="*/ 60124 w 137266"/>
                    <a:gd name="connsiteY5" fmla="*/ 990515 h 999771"/>
                    <a:gd name="connsiteX6" fmla="*/ 57037 w 137266"/>
                    <a:gd name="connsiteY6" fmla="*/ 999771 h 999771"/>
                    <a:gd name="connsiteX7" fmla="*/ 57037 w 137266"/>
                    <a:gd name="connsiteY7" fmla="*/ 999771 h 999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7266" h="999771">
                      <a:moveTo>
                        <a:pt x="57037" y="999771"/>
                      </a:moveTo>
                      <a:cubicBezTo>
                        <a:pt x="53952" y="999771"/>
                        <a:pt x="50867" y="996685"/>
                        <a:pt x="50867" y="996685"/>
                      </a:cubicBezTo>
                      <a:cubicBezTo>
                        <a:pt x="-97249" y="441257"/>
                        <a:pt x="124923" y="6171"/>
                        <a:pt x="128010" y="3086"/>
                      </a:cubicBezTo>
                      <a:cubicBezTo>
                        <a:pt x="128010" y="0"/>
                        <a:pt x="134180" y="0"/>
                        <a:pt x="134180" y="0"/>
                      </a:cubicBezTo>
                      <a:cubicBezTo>
                        <a:pt x="134180" y="0"/>
                        <a:pt x="137267" y="6171"/>
                        <a:pt x="137267" y="6171"/>
                      </a:cubicBezTo>
                      <a:cubicBezTo>
                        <a:pt x="134180" y="9257"/>
                        <a:pt x="-84905" y="441257"/>
                        <a:pt x="60124" y="990515"/>
                      </a:cubicBezTo>
                      <a:cubicBezTo>
                        <a:pt x="63209" y="996685"/>
                        <a:pt x="60124" y="999771"/>
                        <a:pt x="57037" y="999771"/>
                      </a:cubicBezTo>
                      <a:cubicBezTo>
                        <a:pt x="57037" y="999771"/>
                        <a:pt x="57037" y="999771"/>
                        <a:pt x="57037" y="999771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2" name="任意多边形: 形状 131">
                  <a:extLst>
                    <a:ext uri="{FF2B5EF4-FFF2-40B4-BE49-F238E27FC236}">
                      <a16:creationId xmlns:a16="http://schemas.microsoft.com/office/drawing/2014/main" id="{A36492B2-A8EA-4C5F-A411-6DE2BA54EECA}"/>
                    </a:ext>
                  </a:extLst>
                </p:cNvPr>
                <p:cNvSpPr/>
                <p:nvPr/>
              </p:nvSpPr>
              <p:spPr>
                <a:xfrm>
                  <a:off x="25680752" y="9538125"/>
                  <a:ext cx="159787" cy="984342"/>
                </a:xfrm>
                <a:custGeom>
                  <a:avLst/>
                  <a:gdLst>
                    <a:gd name="connsiteX0" fmla="*/ 154674 w 159787"/>
                    <a:gd name="connsiteY0" fmla="*/ 984343 h 984342"/>
                    <a:gd name="connsiteX1" fmla="*/ 148503 w 159787"/>
                    <a:gd name="connsiteY1" fmla="*/ 981257 h 984342"/>
                    <a:gd name="connsiteX2" fmla="*/ 389 w 159787"/>
                    <a:gd name="connsiteY2" fmla="*/ 6171 h 984342"/>
                    <a:gd name="connsiteX3" fmla="*/ 6561 w 159787"/>
                    <a:gd name="connsiteY3" fmla="*/ 0 h 984342"/>
                    <a:gd name="connsiteX4" fmla="*/ 6561 w 159787"/>
                    <a:gd name="connsiteY4" fmla="*/ 0 h 984342"/>
                    <a:gd name="connsiteX5" fmla="*/ 12730 w 159787"/>
                    <a:gd name="connsiteY5" fmla="*/ 6171 h 984342"/>
                    <a:gd name="connsiteX6" fmla="*/ 157759 w 159787"/>
                    <a:gd name="connsiteY6" fmla="*/ 978172 h 984342"/>
                    <a:gd name="connsiteX7" fmla="*/ 154674 w 159787"/>
                    <a:gd name="connsiteY7" fmla="*/ 984343 h 984342"/>
                    <a:gd name="connsiteX8" fmla="*/ 154674 w 159787"/>
                    <a:gd name="connsiteY8" fmla="*/ 984343 h 984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9787" h="984342">
                      <a:moveTo>
                        <a:pt x="154674" y="984343"/>
                      </a:moveTo>
                      <a:cubicBezTo>
                        <a:pt x="151588" y="984343"/>
                        <a:pt x="151588" y="984343"/>
                        <a:pt x="148503" y="981257"/>
                      </a:cubicBezTo>
                      <a:cubicBezTo>
                        <a:pt x="-15040" y="518400"/>
                        <a:pt x="389" y="9257"/>
                        <a:pt x="389" y="6171"/>
                      </a:cubicBezTo>
                      <a:cubicBezTo>
                        <a:pt x="389" y="3086"/>
                        <a:pt x="3474" y="0"/>
                        <a:pt x="6561" y="0"/>
                      </a:cubicBezTo>
                      <a:cubicBezTo>
                        <a:pt x="6561" y="0"/>
                        <a:pt x="6561" y="0"/>
                        <a:pt x="6561" y="0"/>
                      </a:cubicBezTo>
                      <a:cubicBezTo>
                        <a:pt x="9645" y="0"/>
                        <a:pt x="12730" y="3086"/>
                        <a:pt x="12730" y="6171"/>
                      </a:cubicBezTo>
                      <a:cubicBezTo>
                        <a:pt x="12730" y="12343"/>
                        <a:pt x="-2698" y="518400"/>
                        <a:pt x="157759" y="978172"/>
                      </a:cubicBezTo>
                      <a:cubicBezTo>
                        <a:pt x="160846" y="981257"/>
                        <a:pt x="160846" y="984343"/>
                        <a:pt x="154674" y="984343"/>
                      </a:cubicBezTo>
                      <a:cubicBezTo>
                        <a:pt x="157759" y="984343"/>
                        <a:pt x="154674" y="984343"/>
                        <a:pt x="154674" y="984343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08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64" name="图形 1">
              <a:extLst>
                <a:ext uri="{FF2B5EF4-FFF2-40B4-BE49-F238E27FC236}">
                  <a16:creationId xmlns:a16="http://schemas.microsoft.com/office/drawing/2014/main" id="{86DD8E5A-1913-4372-881E-5B7E7BB7F71F}"/>
                </a:ext>
              </a:extLst>
            </p:cNvPr>
            <p:cNvGrpSpPr/>
            <p:nvPr/>
          </p:nvGrpSpPr>
          <p:grpSpPr>
            <a:xfrm>
              <a:off x="24881940" y="12068410"/>
              <a:ext cx="573251" cy="393626"/>
              <a:chOff x="24881940" y="12068410"/>
              <a:chExt cx="573251" cy="393626"/>
            </a:xfrm>
          </p:grpSpPr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863534B9-4B7D-4D94-9F40-D908BB8533A7}"/>
                  </a:ext>
                </a:extLst>
              </p:cNvPr>
              <p:cNvSpPr/>
              <p:nvPr/>
            </p:nvSpPr>
            <p:spPr>
              <a:xfrm>
                <a:off x="24881940" y="12068410"/>
                <a:ext cx="228343" cy="271542"/>
              </a:xfrm>
              <a:custGeom>
                <a:avLst/>
                <a:gdLst>
                  <a:gd name="connsiteX0" fmla="*/ 67886 w 228343"/>
                  <a:gd name="connsiteY0" fmla="*/ 237600 h 271542"/>
                  <a:gd name="connsiteX1" fmla="*/ 0 w 228343"/>
                  <a:gd name="connsiteY1" fmla="*/ 61714 h 271542"/>
                  <a:gd name="connsiteX2" fmla="*/ 175886 w 228343"/>
                  <a:gd name="connsiteY2" fmla="*/ 0 h 271542"/>
                  <a:gd name="connsiteX3" fmla="*/ 228344 w 228343"/>
                  <a:gd name="connsiteY3" fmla="*/ 191315 h 271542"/>
                  <a:gd name="connsiteX4" fmla="*/ 92571 w 228343"/>
                  <a:gd name="connsiteY4" fmla="*/ 271542 h 271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8343" h="271542">
                    <a:moveTo>
                      <a:pt x="67886" y="237600"/>
                    </a:moveTo>
                    <a:lnTo>
                      <a:pt x="0" y="61714"/>
                    </a:lnTo>
                    <a:lnTo>
                      <a:pt x="175886" y="0"/>
                    </a:lnTo>
                    <a:lnTo>
                      <a:pt x="228344" y="191315"/>
                    </a:lnTo>
                    <a:lnTo>
                      <a:pt x="92571" y="271542"/>
                    </a:ln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311044D1-9602-4FB6-8DAF-641EB88F6091}"/>
                  </a:ext>
                </a:extLst>
              </p:cNvPr>
              <p:cNvSpPr/>
              <p:nvPr/>
            </p:nvSpPr>
            <p:spPr>
              <a:xfrm>
                <a:off x="24937313" y="12204181"/>
                <a:ext cx="503142" cy="216000"/>
              </a:xfrm>
              <a:custGeom>
                <a:avLst/>
                <a:gdLst>
                  <a:gd name="connsiteX0" fmla="*/ 169 w 503142"/>
                  <a:gd name="connsiteY0" fmla="*/ 108000 h 216000"/>
                  <a:gd name="connsiteX1" fmla="*/ 160627 w 503142"/>
                  <a:gd name="connsiteY1" fmla="*/ 0 h 216000"/>
                  <a:gd name="connsiteX2" fmla="*/ 314912 w 503142"/>
                  <a:gd name="connsiteY2" fmla="*/ 30857 h 216000"/>
                  <a:gd name="connsiteX3" fmla="*/ 503142 w 503142"/>
                  <a:gd name="connsiteY3" fmla="*/ 49372 h 216000"/>
                  <a:gd name="connsiteX4" fmla="*/ 37198 w 503142"/>
                  <a:gd name="connsiteY4" fmla="*/ 216000 h 216000"/>
                  <a:gd name="connsiteX5" fmla="*/ 169 w 503142"/>
                  <a:gd name="connsiteY5" fmla="*/ 108000 h 216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3142" h="216000">
                    <a:moveTo>
                      <a:pt x="169" y="108000"/>
                    </a:moveTo>
                    <a:cubicBezTo>
                      <a:pt x="169" y="108000"/>
                      <a:pt x="123598" y="83315"/>
                      <a:pt x="160627" y="0"/>
                    </a:cubicBezTo>
                    <a:cubicBezTo>
                      <a:pt x="160627" y="0"/>
                      <a:pt x="268627" y="37029"/>
                      <a:pt x="314912" y="30857"/>
                    </a:cubicBezTo>
                    <a:cubicBezTo>
                      <a:pt x="361198" y="24686"/>
                      <a:pt x="466113" y="-15429"/>
                      <a:pt x="503142" y="49372"/>
                    </a:cubicBezTo>
                    <a:lnTo>
                      <a:pt x="37198" y="216000"/>
                    </a:lnTo>
                    <a:cubicBezTo>
                      <a:pt x="37198" y="212914"/>
                      <a:pt x="-2916" y="160458"/>
                      <a:pt x="169" y="108000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8B2DC654-A75D-444C-BA71-16C87DD039EF}"/>
                  </a:ext>
                </a:extLst>
              </p:cNvPr>
              <p:cNvSpPr/>
              <p:nvPr/>
            </p:nvSpPr>
            <p:spPr>
              <a:xfrm rot="-1175460">
                <a:off x="24968013" y="12334321"/>
                <a:ext cx="493708" cy="46285"/>
              </a:xfrm>
              <a:custGeom>
                <a:avLst/>
                <a:gdLst>
                  <a:gd name="connsiteX0" fmla="*/ -1 w 493708"/>
                  <a:gd name="connsiteY0" fmla="*/ 0 h 46285"/>
                  <a:gd name="connsiteX1" fmla="*/ 493708 w 493708"/>
                  <a:gd name="connsiteY1" fmla="*/ 0 h 46285"/>
                  <a:gd name="connsiteX2" fmla="*/ 493708 w 493708"/>
                  <a:gd name="connsiteY2" fmla="*/ 46285 h 46285"/>
                  <a:gd name="connsiteX3" fmla="*/ -1 w 493708"/>
                  <a:gd name="connsiteY3" fmla="*/ 46285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708" h="46285">
                    <a:moveTo>
                      <a:pt x="-1" y="0"/>
                    </a:moveTo>
                    <a:lnTo>
                      <a:pt x="493708" y="0"/>
                    </a:lnTo>
                    <a:lnTo>
                      <a:pt x="493708" y="46285"/>
                    </a:lnTo>
                    <a:lnTo>
                      <a:pt x="-1" y="46285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A9BF685B-A374-44E2-B818-559447E6BB32}"/>
                  </a:ext>
                </a:extLst>
              </p:cNvPr>
              <p:cNvSpPr/>
              <p:nvPr/>
            </p:nvSpPr>
            <p:spPr>
              <a:xfrm>
                <a:off x="24931312" y="12198011"/>
                <a:ext cx="172799" cy="117256"/>
              </a:xfrm>
              <a:custGeom>
                <a:avLst/>
                <a:gdLst>
                  <a:gd name="connsiteX0" fmla="*/ 6170 w 172799"/>
                  <a:gd name="connsiteY0" fmla="*/ 117257 h 117256"/>
                  <a:gd name="connsiteX1" fmla="*/ 0 w 172799"/>
                  <a:gd name="connsiteY1" fmla="*/ 114171 h 117256"/>
                  <a:gd name="connsiteX2" fmla="*/ 3085 w 172799"/>
                  <a:gd name="connsiteY2" fmla="*/ 108000 h 117256"/>
                  <a:gd name="connsiteX3" fmla="*/ 160456 w 172799"/>
                  <a:gd name="connsiteY3" fmla="*/ 3085 h 117256"/>
                  <a:gd name="connsiteX4" fmla="*/ 169714 w 172799"/>
                  <a:gd name="connsiteY4" fmla="*/ 0 h 117256"/>
                  <a:gd name="connsiteX5" fmla="*/ 172799 w 172799"/>
                  <a:gd name="connsiteY5" fmla="*/ 9257 h 117256"/>
                  <a:gd name="connsiteX6" fmla="*/ 6170 w 172799"/>
                  <a:gd name="connsiteY6" fmla="*/ 117257 h 117256"/>
                  <a:gd name="connsiteX7" fmla="*/ 6170 w 172799"/>
                  <a:gd name="connsiteY7" fmla="*/ 117257 h 117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2799" h="117256">
                    <a:moveTo>
                      <a:pt x="6170" y="117257"/>
                    </a:moveTo>
                    <a:cubicBezTo>
                      <a:pt x="3085" y="117257"/>
                      <a:pt x="0" y="114171"/>
                      <a:pt x="0" y="114171"/>
                    </a:cubicBezTo>
                    <a:cubicBezTo>
                      <a:pt x="0" y="111085"/>
                      <a:pt x="0" y="108000"/>
                      <a:pt x="3085" y="108000"/>
                    </a:cubicBezTo>
                    <a:cubicBezTo>
                      <a:pt x="3085" y="108000"/>
                      <a:pt x="117257" y="83314"/>
                      <a:pt x="160456" y="3085"/>
                    </a:cubicBezTo>
                    <a:cubicBezTo>
                      <a:pt x="163542" y="0"/>
                      <a:pt x="166627" y="0"/>
                      <a:pt x="169714" y="0"/>
                    </a:cubicBezTo>
                    <a:cubicBezTo>
                      <a:pt x="172799" y="0"/>
                      <a:pt x="172799" y="6171"/>
                      <a:pt x="172799" y="9257"/>
                    </a:cubicBezTo>
                    <a:cubicBezTo>
                      <a:pt x="123429" y="92571"/>
                      <a:pt x="12342" y="117257"/>
                      <a:pt x="6170" y="117257"/>
                    </a:cubicBezTo>
                    <a:cubicBezTo>
                      <a:pt x="6170" y="117257"/>
                      <a:pt x="6170" y="117257"/>
                      <a:pt x="6170" y="11725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4BF628CF-8FD4-416B-ABB0-21A68DC14D88}"/>
                  </a:ext>
                </a:extLst>
              </p:cNvPr>
              <p:cNvSpPr/>
              <p:nvPr/>
            </p:nvSpPr>
            <p:spPr>
              <a:xfrm>
                <a:off x="25119540" y="12210353"/>
                <a:ext cx="24685" cy="46285"/>
              </a:xfrm>
              <a:custGeom>
                <a:avLst/>
                <a:gdLst>
                  <a:gd name="connsiteX0" fmla="*/ 6172 w 24685"/>
                  <a:gd name="connsiteY0" fmla="*/ 46286 h 46285"/>
                  <a:gd name="connsiteX1" fmla="*/ 6172 w 24685"/>
                  <a:gd name="connsiteY1" fmla="*/ 46286 h 46285"/>
                  <a:gd name="connsiteX2" fmla="*/ 0 w 24685"/>
                  <a:gd name="connsiteY2" fmla="*/ 37028 h 46285"/>
                  <a:gd name="connsiteX3" fmla="*/ 15429 w 24685"/>
                  <a:gd name="connsiteY3" fmla="*/ 3086 h 46285"/>
                  <a:gd name="connsiteX4" fmla="*/ 21600 w 24685"/>
                  <a:gd name="connsiteY4" fmla="*/ 0 h 46285"/>
                  <a:gd name="connsiteX5" fmla="*/ 24685 w 24685"/>
                  <a:gd name="connsiteY5" fmla="*/ 6171 h 46285"/>
                  <a:gd name="connsiteX6" fmla="*/ 9257 w 24685"/>
                  <a:gd name="connsiteY6" fmla="*/ 40114 h 46285"/>
                  <a:gd name="connsiteX7" fmla="*/ 6172 w 24685"/>
                  <a:gd name="connsiteY7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685" h="46285">
                    <a:moveTo>
                      <a:pt x="6172" y="46286"/>
                    </a:moveTo>
                    <a:cubicBezTo>
                      <a:pt x="6172" y="46286"/>
                      <a:pt x="3085" y="46286"/>
                      <a:pt x="6172" y="46286"/>
                    </a:cubicBezTo>
                    <a:cubicBezTo>
                      <a:pt x="0" y="43200"/>
                      <a:pt x="0" y="40114"/>
                      <a:pt x="0" y="37028"/>
                    </a:cubicBezTo>
                    <a:lnTo>
                      <a:pt x="15429" y="3086"/>
                    </a:lnTo>
                    <a:cubicBezTo>
                      <a:pt x="15429" y="0"/>
                      <a:pt x="21600" y="0"/>
                      <a:pt x="21600" y="0"/>
                    </a:cubicBezTo>
                    <a:cubicBezTo>
                      <a:pt x="24685" y="0"/>
                      <a:pt x="24685" y="6171"/>
                      <a:pt x="24685" y="6171"/>
                    </a:cubicBezTo>
                    <a:lnTo>
                      <a:pt x="9257" y="40114"/>
                    </a:lnTo>
                    <a:cubicBezTo>
                      <a:pt x="9257" y="46286"/>
                      <a:pt x="9257" y="46286"/>
                      <a:pt x="6172" y="4628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BA218777-9E1C-4161-8872-3C7F9468AD51}"/>
                  </a:ext>
                </a:extLst>
              </p:cNvPr>
              <p:cNvSpPr/>
              <p:nvPr/>
            </p:nvSpPr>
            <p:spPr>
              <a:xfrm>
                <a:off x="25165826" y="12222696"/>
                <a:ext cx="24685" cy="46285"/>
              </a:xfrm>
              <a:custGeom>
                <a:avLst/>
                <a:gdLst>
                  <a:gd name="connsiteX0" fmla="*/ 6172 w 24685"/>
                  <a:gd name="connsiteY0" fmla="*/ 46286 h 46285"/>
                  <a:gd name="connsiteX1" fmla="*/ 6172 w 24685"/>
                  <a:gd name="connsiteY1" fmla="*/ 46286 h 46285"/>
                  <a:gd name="connsiteX2" fmla="*/ 0 w 24685"/>
                  <a:gd name="connsiteY2" fmla="*/ 37029 h 46285"/>
                  <a:gd name="connsiteX3" fmla="*/ 15429 w 24685"/>
                  <a:gd name="connsiteY3" fmla="*/ 3086 h 46285"/>
                  <a:gd name="connsiteX4" fmla="*/ 21600 w 24685"/>
                  <a:gd name="connsiteY4" fmla="*/ 0 h 46285"/>
                  <a:gd name="connsiteX5" fmla="*/ 24685 w 24685"/>
                  <a:gd name="connsiteY5" fmla="*/ 6172 h 46285"/>
                  <a:gd name="connsiteX6" fmla="*/ 9257 w 24685"/>
                  <a:gd name="connsiteY6" fmla="*/ 40114 h 46285"/>
                  <a:gd name="connsiteX7" fmla="*/ 6172 w 24685"/>
                  <a:gd name="connsiteY7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685" h="46285">
                    <a:moveTo>
                      <a:pt x="6172" y="46286"/>
                    </a:moveTo>
                    <a:cubicBezTo>
                      <a:pt x="3085" y="46286"/>
                      <a:pt x="3085" y="46286"/>
                      <a:pt x="6172" y="46286"/>
                    </a:cubicBezTo>
                    <a:cubicBezTo>
                      <a:pt x="0" y="43200"/>
                      <a:pt x="0" y="40114"/>
                      <a:pt x="0" y="37029"/>
                    </a:cubicBezTo>
                    <a:lnTo>
                      <a:pt x="15429" y="3086"/>
                    </a:lnTo>
                    <a:cubicBezTo>
                      <a:pt x="15429" y="0"/>
                      <a:pt x="21600" y="0"/>
                      <a:pt x="21600" y="0"/>
                    </a:cubicBezTo>
                    <a:cubicBezTo>
                      <a:pt x="24685" y="0"/>
                      <a:pt x="24685" y="6172"/>
                      <a:pt x="24685" y="6172"/>
                    </a:cubicBezTo>
                    <a:lnTo>
                      <a:pt x="9257" y="40114"/>
                    </a:lnTo>
                    <a:cubicBezTo>
                      <a:pt x="9257" y="46286"/>
                      <a:pt x="6172" y="46286"/>
                      <a:pt x="6172" y="4628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5" name="图形 1">
              <a:extLst>
                <a:ext uri="{FF2B5EF4-FFF2-40B4-BE49-F238E27FC236}">
                  <a16:creationId xmlns:a16="http://schemas.microsoft.com/office/drawing/2014/main" id="{64AD2CEA-9EFC-45B8-A4CB-2AD0EB254F4D}"/>
                </a:ext>
              </a:extLst>
            </p:cNvPr>
            <p:cNvGrpSpPr/>
            <p:nvPr/>
          </p:nvGrpSpPr>
          <p:grpSpPr>
            <a:xfrm>
              <a:off x="23669254" y="12173324"/>
              <a:ext cx="502971" cy="348685"/>
              <a:chOff x="23669254" y="12173324"/>
              <a:chExt cx="502971" cy="348685"/>
            </a:xfrm>
          </p:grpSpPr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4B7E0E0B-6117-4237-BD02-1CDC777B3FDC}"/>
                  </a:ext>
                </a:extLst>
              </p:cNvPr>
              <p:cNvSpPr/>
              <p:nvPr/>
            </p:nvSpPr>
            <p:spPr>
              <a:xfrm>
                <a:off x="23690855" y="12173324"/>
                <a:ext cx="185142" cy="228342"/>
              </a:xfrm>
              <a:custGeom>
                <a:avLst/>
                <a:gdLst>
                  <a:gd name="connsiteX0" fmla="*/ 0 w 185142"/>
                  <a:gd name="connsiteY0" fmla="*/ 188229 h 228342"/>
                  <a:gd name="connsiteX1" fmla="*/ 0 w 185142"/>
                  <a:gd name="connsiteY1" fmla="*/ 0 h 228342"/>
                  <a:gd name="connsiteX2" fmla="*/ 185143 w 185142"/>
                  <a:gd name="connsiteY2" fmla="*/ 0 h 228342"/>
                  <a:gd name="connsiteX3" fmla="*/ 166627 w 185142"/>
                  <a:gd name="connsiteY3" fmla="*/ 197486 h 228342"/>
                  <a:gd name="connsiteX4" fmla="*/ 12342 w 185142"/>
                  <a:gd name="connsiteY4" fmla="*/ 228343 h 228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142" h="228342">
                    <a:moveTo>
                      <a:pt x="0" y="188229"/>
                    </a:moveTo>
                    <a:lnTo>
                      <a:pt x="0" y="0"/>
                    </a:lnTo>
                    <a:lnTo>
                      <a:pt x="185143" y="0"/>
                    </a:lnTo>
                    <a:lnTo>
                      <a:pt x="166627" y="197486"/>
                    </a:lnTo>
                    <a:lnTo>
                      <a:pt x="12342" y="228343"/>
                    </a:ln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927DD930-88AB-40C4-A7A0-8591B90912D4}"/>
                  </a:ext>
                </a:extLst>
              </p:cNvPr>
              <p:cNvSpPr/>
              <p:nvPr/>
            </p:nvSpPr>
            <p:spPr>
              <a:xfrm>
                <a:off x="23670283" y="12315267"/>
                <a:ext cx="501942" cy="160457"/>
              </a:xfrm>
              <a:custGeom>
                <a:avLst/>
                <a:gdLst>
                  <a:gd name="connsiteX0" fmla="*/ 8228 w 501942"/>
                  <a:gd name="connsiteY0" fmla="*/ 46286 h 160457"/>
                  <a:gd name="connsiteX1" fmla="*/ 196458 w 501942"/>
                  <a:gd name="connsiteY1" fmla="*/ 0 h 160457"/>
                  <a:gd name="connsiteX2" fmla="*/ 332228 w 501942"/>
                  <a:gd name="connsiteY2" fmla="*/ 80229 h 160457"/>
                  <a:gd name="connsiteX3" fmla="*/ 501943 w 501942"/>
                  <a:gd name="connsiteY3" fmla="*/ 160458 h 160457"/>
                  <a:gd name="connsiteX4" fmla="*/ 8228 w 501942"/>
                  <a:gd name="connsiteY4" fmla="*/ 160458 h 160457"/>
                  <a:gd name="connsiteX5" fmla="*/ 8228 w 501942"/>
                  <a:gd name="connsiteY5" fmla="*/ 46286 h 160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942" h="160457">
                    <a:moveTo>
                      <a:pt x="8228" y="46286"/>
                    </a:moveTo>
                    <a:cubicBezTo>
                      <a:pt x="8228" y="46286"/>
                      <a:pt x="134744" y="64800"/>
                      <a:pt x="196458" y="0"/>
                    </a:cubicBezTo>
                    <a:cubicBezTo>
                      <a:pt x="196458" y="0"/>
                      <a:pt x="285943" y="70971"/>
                      <a:pt x="332228" y="80229"/>
                    </a:cubicBezTo>
                    <a:cubicBezTo>
                      <a:pt x="378514" y="89486"/>
                      <a:pt x="489601" y="86400"/>
                      <a:pt x="501943" y="160458"/>
                    </a:cubicBezTo>
                    <a:lnTo>
                      <a:pt x="8228" y="160458"/>
                    </a:lnTo>
                    <a:cubicBezTo>
                      <a:pt x="8228" y="160458"/>
                      <a:pt x="-10285" y="95657"/>
                      <a:pt x="8228" y="46286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67DA5123-59B4-4D54-95B1-1CF316180E78}"/>
                  </a:ext>
                </a:extLst>
              </p:cNvPr>
              <p:cNvSpPr/>
              <p:nvPr/>
            </p:nvSpPr>
            <p:spPr>
              <a:xfrm>
                <a:off x="23678511" y="12475725"/>
                <a:ext cx="493714" cy="46285"/>
              </a:xfrm>
              <a:custGeom>
                <a:avLst/>
                <a:gdLst>
                  <a:gd name="connsiteX0" fmla="*/ 0 w 493714"/>
                  <a:gd name="connsiteY0" fmla="*/ 0 h 46285"/>
                  <a:gd name="connsiteX1" fmla="*/ 493714 w 493714"/>
                  <a:gd name="connsiteY1" fmla="*/ 0 h 46285"/>
                  <a:gd name="connsiteX2" fmla="*/ 493714 w 493714"/>
                  <a:gd name="connsiteY2" fmla="*/ 46286 h 46285"/>
                  <a:gd name="connsiteX3" fmla="*/ 0 w 493714"/>
                  <a:gd name="connsiteY3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714" h="46285">
                    <a:moveTo>
                      <a:pt x="0" y="0"/>
                    </a:moveTo>
                    <a:lnTo>
                      <a:pt x="493714" y="0"/>
                    </a:lnTo>
                    <a:lnTo>
                      <a:pt x="493714" y="46286"/>
                    </a:lnTo>
                    <a:lnTo>
                      <a:pt x="0" y="46286"/>
                    </a:lnTo>
                    <a:close/>
                  </a:path>
                </a:pathLst>
              </a:custGeom>
              <a:solidFill>
                <a:srgbClr val="38333D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C4D4576E-6365-4CF6-BC8E-DE8AF1A2DA3C}"/>
                  </a:ext>
                </a:extLst>
              </p:cNvPr>
              <p:cNvSpPr/>
              <p:nvPr/>
            </p:nvSpPr>
            <p:spPr>
              <a:xfrm>
                <a:off x="23669254" y="12303696"/>
                <a:ext cx="202885" cy="64028"/>
              </a:xfrm>
              <a:custGeom>
                <a:avLst/>
                <a:gdLst>
                  <a:gd name="connsiteX0" fmla="*/ 43201 w 202885"/>
                  <a:gd name="connsiteY0" fmla="*/ 64029 h 64028"/>
                  <a:gd name="connsiteX1" fmla="*/ 6172 w 202885"/>
                  <a:gd name="connsiteY1" fmla="*/ 60943 h 64028"/>
                  <a:gd name="connsiteX2" fmla="*/ 0 w 202885"/>
                  <a:gd name="connsiteY2" fmla="*/ 54771 h 64028"/>
                  <a:gd name="connsiteX3" fmla="*/ 6172 w 202885"/>
                  <a:gd name="connsiteY3" fmla="*/ 48600 h 64028"/>
                  <a:gd name="connsiteX4" fmla="*/ 191315 w 202885"/>
                  <a:gd name="connsiteY4" fmla="*/ 2314 h 64028"/>
                  <a:gd name="connsiteX5" fmla="*/ 200571 w 202885"/>
                  <a:gd name="connsiteY5" fmla="*/ 2314 h 64028"/>
                  <a:gd name="connsiteX6" fmla="*/ 200571 w 202885"/>
                  <a:gd name="connsiteY6" fmla="*/ 11571 h 64028"/>
                  <a:gd name="connsiteX7" fmla="*/ 43201 w 202885"/>
                  <a:gd name="connsiteY7" fmla="*/ 64029 h 6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885" h="64028">
                    <a:moveTo>
                      <a:pt x="43201" y="64029"/>
                    </a:moveTo>
                    <a:cubicBezTo>
                      <a:pt x="21600" y="64029"/>
                      <a:pt x="9257" y="60943"/>
                      <a:pt x="6172" y="60943"/>
                    </a:cubicBezTo>
                    <a:cubicBezTo>
                      <a:pt x="3085" y="60943"/>
                      <a:pt x="0" y="57857"/>
                      <a:pt x="0" y="54771"/>
                    </a:cubicBezTo>
                    <a:cubicBezTo>
                      <a:pt x="0" y="51685"/>
                      <a:pt x="3085" y="48600"/>
                      <a:pt x="6172" y="48600"/>
                    </a:cubicBezTo>
                    <a:cubicBezTo>
                      <a:pt x="6172" y="48600"/>
                      <a:pt x="120344" y="64029"/>
                      <a:pt x="191315" y="2314"/>
                    </a:cubicBezTo>
                    <a:cubicBezTo>
                      <a:pt x="194400" y="-771"/>
                      <a:pt x="197486" y="-771"/>
                      <a:pt x="200571" y="2314"/>
                    </a:cubicBezTo>
                    <a:cubicBezTo>
                      <a:pt x="203656" y="5399"/>
                      <a:pt x="203656" y="8485"/>
                      <a:pt x="200571" y="11571"/>
                    </a:cubicBezTo>
                    <a:cubicBezTo>
                      <a:pt x="151201" y="57857"/>
                      <a:pt x="86400" y="64029"/>
                      <a:pt x="43201" y="640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460F7504-4B3E-4D7D-BFF7-041EE383BC51}"/>
                  </a:ext>
                </a:extLst>
              </p:cNvPr>
              <p:cNvSpPr/>
              <p:nvPr/>
            </p:nvSpPr>
            <p:spPr>
              <a:xfrm>
                <a:off x="23870597" y="12331467"/>
                <a:ext cx="38571" cy="42428"/>
              </a:xfrm>
              <a:custGeom>
                <a:avLst/>
                <a:gdLst>
                  <a:gd name="connsiteX0" fmla="*/ 5401 w 38571"/>
                  <a:gd name="connsiteY0" fmla="*/ 42428 h 42428"/>
                  <a:gd name="connsiteX1" fmla="*/ 2314 w 38571"/>
                  <a:gd name="connsiteY1" fmla="*/ 39342 h 42428"/>
                  <a:gd name="connsiteX2" fmla="*/ 2314 w 38571"/>
                  <a:gd name="connsiteY2" fmla="*/ 30086 h 42428"/>
                  <a:gd name="connsiteX3" fmla="*/ 27001 w 38571"/>
                  <a:gd name="connsiteY3" fmla="*/ 2314 h 42428"/>
                  <a:gd name="connsiteX4" fmla="*/ 36258 w 38571"/>
                  <a:gd name="connsiteY4" fmla="*/ 2314 h 42428"/>
                  <a:gd name="connsiteX5" fmla="*/ 36258 w 38571"/>
                  <a:gd name="connsiteY5" fmla="*/ 11571 h 42428"/>
                  <a:gd name="connsiteX6" fmla="*/ 11572 w 38571"/>
                  <a:gd name="connsiteY6" fmla="*/ 39342 h 42428"/>
                  <a:gd name="connsiteX7" fmla="*/ 5401 w 38571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571" h="42428">
                    <a:moveTo>
                      <a:pt x="5401" y="42428"/>
                    </a:moveTo>
                    <a:cubicBezTo>
                      <a:pt x="5401" y="42428"/>
                      <a:pt x="2314" y="42428"/>
                      <a:pt x="2314" y="39342"/>
                    </a:cubicBezTo>
                    <a:cubicBezTo>
                      <a:pt x="-771" y="36257"/>
                      <a:pt x="-771" y="33172"/>
                      <a:pt x="2314" y="30086"/>
                    </a:cubicBezTo>
                    <a:lnTo>
                      <a:pt x="27001" y="2314"/>
                    </a:lnTo>
                    <a:cubicBezTo>
                      <a:pt x="30086" y="-771"/>
                      <a:pt x="33171" y="-771"/>
                      <a:pt x="36258" y="2314"/>
                    </a:cubicBezTo>
                    <a:cubicBezTo>
                      <a:pt x="39343" y="5400"/>
                      <a:pt x="39343" y="8485"/>
                      <a:pt x="36258" y="11571"/>
                    </a:cubicBezTo>
                    <a:lnTo>
                      <a:pt x="11572" y="39342"/>
                    </a:lnTo>
                    <a:cubicBezTo>
                      <a:pt x="8486" y="42428"/>
                      <a:pt x="5401" y="42428"/>
                      <a:pt x="5401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FC65BE12-1F9E-47D0-BFB9-080E982B152D}"/>
                  </a:ext>
                </a:extLst>
              </p:cNvPr>
              <p:cNvSpPr/>
              <p:nvPr/>
            </p:nvSpPr>
            <p:spPr>
              <a:xfrm>
                <a:off x="23907626" y="12359239"/>
                <a:ext cx="41656" cy="42428"/>
              </a:xfrm>
              <a:custGeom>
                <a:avLst/>
                <a:gdLst>
                  <a:gd name="connsiteX0" fmla="*/ 5401 w 41656"/>
                  <a:gd name="connsiteY0" fmla="*/ 42428 h 42428"/>
                  <a:gd name="connsiteX1" fmla="*/ 2314 w 41656"/>
                  <a:gd name="connsiteY1" fmla="*/ 39343 h 42428"/>
                  <a:gd name="connsiteX2" fmla="*/ 2314 w 41656"/>
                  <a:gd name="connsiteY2" fmla="*/ 30086 h 42428"/>
                  <a:gd name="connsiteX3" fmla="*/ 30086 w 41656"/>
                  <a:gd name="connsiteY3" fmla="*/ 2314 h 42428"/>
                  <a:gd name="connsiteX4" fmla="*/ 39343 w 41656"/>
                  <a:gd name="connsiteY4" fmla="*/ 2314 h 42428"/>
                  <a:gd name="connsiteX5" fmla="*/ 39343 w 41656"/>
                  <a:gd name="connsiteY5" fmla="*/ 11571 h 42428"/>
                  <a:gd name="connsiteX6" fmla="*/ 11570 w 41656"/>
                  <a:gd name="connsiteY6" fmla="*/ 39343 h 42428"/>
                  <a:gd name="connsiteX7" fmla="*/ 5401 w 41656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6" h="42428">
                    <a:moveTo>
                      <a:pt x="5401" y="42428"/>
                    </a:moveTo>
                    <a:cubicBezTo>
                      <a:pt x="5401" y="42428"/>
                      <a:pt x="2314" y="42428"/>
                      <a:pt x="2314" y="39343"/>
                    </a:cubicBezTo>
                    <a:cubicBezTo>
                      <a:pt x="-771" y="36257"/>
                      <a:pt x="-771" y="33172"/>
                      <a:pt x="2314" y="30086"/>
                    </a:cubicBezTo>
                    <a:lnTo>
                      <a:pt x="30086" y="2314"/>
                    </a:lnTo>
                    <a:cubicBezTo>
                      <a:pt x="33171" y="-771"/>
                      <a:pt x="36258" y="-771"/>
                      <a:pt x="39343" y="2314"/>
                    </a:cubicBezTo>
                    <a:cubicBezTo>
                      <a:pt x="42428" y="5400"/>
                      <a:pt x="42428" y="8486"/>
                      <a:pt x="39343" y="11571"/>
                    </a:cubicBezTo>
                    <a:lnTo>
                      <a:pt x="11570" y="39343"/>
                    </a:lnTo>
                    <a:cubicBezTo>
                      <a:pt x="8486" y="39343"/>
                      <a:pt x="8486" y="42428"/>
                      <a:pt x="5401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C178E79A-B426-4FAC-ABC1-489DD1F9E3BD}"/>
                </a:ext>
              </a:extLst>
            </p:cNvPr>
            <p:cNvSpPr/>
            <p:nvPr/>
          </p:nvSpPr>
          <p:spPr>
            <a:xfrm>
              <a:off x="23575165" y="9933096"/>
              <a:ext cx="1544374" cy="2311200"/>
            </a:xfrm>
            <a:custGeom>
              <a:avLst/>
              <a:gdLst>
                <a:gd name="connsiteX0" fmla="*/ 1047576 w 1544374"/>
                <a:gd name="connsiteY0" fmla="*/ 18514 h 2311200"/>
                <a:gd name="connsiteX1" fmla="*/ 1371576 w 1544374"/>
                <a:gd name="connsiteY1" fmla="*/ 1141714 h 2311200"/>
                <a:gd name="connsiteX2" fmla="*/ 1544375 w 1544374"/>
                <a:gd name="connsiteY2" fmla="*/ 2153829 h 2311200"/>
                <a:gd name="connsiteX3" fmla="*/ 1251232 w 1544374"/>
                <a:gd name="connsiteY3" fmla="*/ 2271086 h 2311200"/>
                <a:gd name="connsiteX4" fmla="*/ 948832 w 1544374"/>
                <a:gd name="connsiteY4" fmla="*/ 1351543 h 2311200"/>
                <a:gd name="connsiteX5" fmla="*/ 544603 w 1544374"/>
                <a:gd name="connsiteY5" fmla="*/ 509143 h 2311200"/>
                <a:gd name="connsiteX6" fmla="*/ 498317 w 1544374"/>
                <a:gd name="connsiteY6" fmla="*/ 1493487 h 2311200"/>
                <a:gd name="connsiteX7" fmla="*/ 350203 w 1544374"/>
                <a:gd name="connsiteY7" fmla="*/ 2301943 h 2311200"/>
                <a:gd name="connsiteX8" fmla="*/ 60147 w 1544374"/>
                <a:gd name="connsiteY8" fmla="*/ 2311201 h 2311200"/>
                <a:gd name="connsiteX9" fmla="*/ 91004 w 1544374"/>
                <a:gd name="connsiteY9" fmla="*/ 1474972 h 2311200"/>
                <a:gd name="connsiteX10" fmla="*/ 10774 w 1544374"/>
                <a:gd name="connsiteY10" fmla="*/ 0 h 2311200"/>
                <a:gd name="connsiteX11" fmla="*/ 1047576 w 1544374"/>
                <a:gd name="connsiteY11" fmla="*/ 18514 h 231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44374" h="2311200">
                  <a:moveTo>
                    <a:pt x="1047576" y="18514"/>
                  </a:moveTo>
                  <a:lnTo>
                    <a:pt x="1371576" y="1141714"/>
                  </a:lnTo>
                  <a:lnTo>
                    <a:pt x="1544375" y="2153829"/>
                  </a:lnTo>
                  <a:lnTo>
                    <a:pt x="1251232" y="2271086"/>
                  </a:lnTo>
                  <a:lnTo>
                    <a:pt x="948832" y="1351543"/>
                  </a:lnTo>
                  <a:cubicBezTo>
                    <a:pt x="948832" y="1351543"/>
                    <a:pt x="553861" y="524571"/>
                    <a:pt x="544603" y="509143"/>
                  </a:cubicBezTo>
                  <a:cubicBezTo>
                    <a:pt x="529174" y="478286"/>
                    <a:pt x="498317" y="1493487"/>
                    <a:pt x="498317" y="1493487"/>
                  </a:cubicBezTo>
                  <a:lnTo>
                    <a:pt x="350203" y="2301943"/>
                  </a:lnTo>
                  <a:lnTo>
                    <a:pt x="60147" y="2311201"/>
                  </a:lnTo>
                  <a:cubicBezTo>
                    <a:pt x="60147" y="2311201"/>
                    <a:pt x="97174" y="1573714"/>
                    <a:pt x="91004" y="1474972"/>
                  </a:cubicBezTo>
                  <a:cubicBezTo>
                    <a:pt x="81745" y="1320686"/>
                    <a:pt x="-35511" y="98743"/>
                    <a:pt x="10774" y="0"/>
                  </a:cubicBezTo>
                  <a:cubicBezTo>
                    <a:pt x="717404" y="33943"/>
                    <a:pt x="1047576" y="18514"/>
                    <a:pt x="1047576" y="18514"/>
                  </a:cubicBezTo>
                  <a:close/>
                </a:path>
              </a:pathLst>
            </a:custGeom>
            <a:solidFill>
              <a:srgbClr val="7F95BC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3BACDA64-E254-4EA2-8D03-F27E5B8C5588}"/>
                </a:ext>
              </a:extLst>
            </p:cNvPr>
            <p:cNvSpPr/>
            <p:nvPr/>
          </p:nvSpPr>
          <p:spPr>
            <a:xfrm>
              <a:off x="24113598" y="10078125"/>
              <a:ext cx="70971" cy="370285"/>
            </a:xfrm>
            <a:custGeom>
              <a:avLst/>
              <a:gdLst>
                <a:gd name="connsiteX0" fmla="*/ 6170 w 70971"/>
                <a:gd name="connsiteY0" fmla="*/ 370286 h 370285"/>
                <a:gd name="connsiteX1" fmla="*/ 6170 w 70971"/>
                <a:gd name="connsiteY1" fmla="*/ 370286 h 370285"/>
                <a:gd name="connsiteX2" fmla="*/ 0 w 70971"/>
                <a:gd name="connsiteY2" fmla="*/ 361029 h 370285"/>
                <a:gd name="connsiteX3" fmla="*/ 58627 w 70971"/>
                <a:gd name="connsiteY3" fmla="*/ 6172 h 370285"/>
                <a:gd name="connsiteX4" fmla="*/ 64799 w 70971"/>
                <a:gd name="connsiteY4" fmla="*/ 0 h 370285"/>
                <a:gd name="connsiteX5" fmla="*/ 70971 w 70971"/>
                <a:gd name="connsiteY5" fmla="*/ 6172 h 370285"/>
                <a:gd name="connsiteX6" fmla="*/ 12342 w 70971"/>
                <a:gd name="connsiteY6" fmla="*/ 364114 h 370285"/>
                <a:gd name="connsiteX7" fmla="*/ 6170 w 70971"/>
                <a:gd name="connsiteY7" fmla="*/ 370286 h 37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71" h="370285">
                  <a:moveTo>
                    <a:pt x="6170" y="370286"/>
                  </a:moveTo>
                  <a:cubicBezTo>
                    <a:pt x="3085" y="370286"/>
                    <a:pt x="3085" y="370286"/>
                    <a:pt x="6170" y="370286"/>
                  </a:cubicBezTo>
                  <a:cubicBezTo>
                    <a:pt x="0" y="367200"/>
                    <a:pt x="0" y="364114"/>
                    <a:pt x="0" y="361029"/>
                  </a:cubicBezTo>
                  <a:cubicBezTo>
                    <a:pt x="49371" y="246857"/>
                    <a:pt x="58627" y="9257"/>
                    <a:pt x="58627" y="6172"/>
                  </a:cubicBezTo>
                  <a:cubicBezTo>
                    <a:pt x="58627" y="3086"/>
                    <a:pt x="61714" y="0"/>
                    <a:pt x="64799" y="0"/>
                  </a:cubicBezTo>
                  <a:cubicBezTo>
                    <a:pt x="67884" y="0"/>
                    <a:pt x="70971" y="3086"/>
                    <a:pt x="70971" y="6172"/>
                  </a:cubicBezTo>
                  <a:cubicBezTo>
                    <a:pt x="70971" y="15429"/>
                    <a:pt x="61714" y="246857"/>
                    <a:pt x="12342" y="364114"/>
                  </a:cubicBezTo>
                  <a:cubicBezTo>
                    <a:pt x="9257" y="367200"/>
                    <a:pt x="6170" y="370286"/>
                    <a:pt x="6170" y="370286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A93AA9A2-9A81-46A5-99D7-118B93A60FA9}"/>
                </a:ext>
              </a:extLst>
            </p:cNvPr>
            <p:cNvSpPr/>
            <p:nvPr/>
          </p:nvSpPr>
          <p:spPr>
            <a:xfrm>
              <a:off x="24140090" y="10007153"/>
              <a:ext cx="158650" cy="361028"/>
            </a:xfrm>
            <a:custGeom>
              <a:avLst/>
              <a:gdLst>
                <a:gd name="connsiteX0" fmla="*/ 7450 w 158650"/>
                <a:gd name="connsiteY0" fmla="*/ 361028 h 361028"/>
                <a:gd name="connsiteX1" fmla="*/ 1278 w 158650"/>
                <a:gd name="connsiteY1" fmla="*/ 357942 h 361028"/>
                <a:gd name="connsiteX2" fmla="*/ 4365 w 158650"/>
                <a:gd name="connsiteY2" fmla="*/ 348685 h 361028"/>
                <a:gd name="connsiteX3" fmla="*/ 112365 w 158650"/>
                <a:gd name="connsiteY3" fmla="*/ 271542 h 361028"/>
                <a:gd name="connsiteX4" fmla="*/ 146307 w 158650"/>
                <a:gd name="connsiteY4" fmla="*/ 6171 h 361028"/>
                <a:gd name="connsiteX5" fmla="*/ 152479 w 158650"/>
                <a:gd name="connsiteY5" fmla="*/ 0 h 361028"/>
                <a:gd name="connsiteX6" fmla="*/ 158650 w 158650"/>
                <a:gd name="connsiteY6" fmla="*/ 6171 h 361028"/>
                <a:gd name="connsiteX7" fmla="*/ 124706 w 158650"/>
                <a:gd name="connsiteY7" fmla="*/ 277714 h 361028"/>
                <a:gd name="connsiteX8" fmla="*/ 13621 w 158650"/>
                <a:gd name="connsiteY8" fmla="*/ 357942 h 361028"/>
                <a:gd name="connsiteX9" fmla="*/ 7450 w 158650"/>
                <a:gd name="connsiteY9" fmla="*/ 361028 h 36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8650" h="361028">
                  <a:moveTo>
                    <a:pt x="7450" y="361028"/>
                  </a:moveTo>
                  <a:cubicBezTo>
                    <a:pt x="4365" y="361028"/>
                    <a:pt x="4365" y="361028"/>
                    <a:pt x="1278" y="357942"/>
                  </a:cubicBezTo>
                  <a:cubicBezTo>
                    <a:pt x="-1807" y="354857"/>
                    <a:pt x="1278" y="351771"/>
                    <a:pt x="4365" y="348685"/>
                  </a:cubicBezTo>
                  <a:cubicBezTo>
                    <a:pt x="44479" y="324000"/>
                    <a:pt x="103106" y="280799"/>
                    <a:pt x="112365" y="271542"/>
                  </a:cubicBezTo>
                  <a:cubicBezTo>
                    <a:pt x="121621" y="259200"/>
                    <a:pt x="137050" y="101828"/>
                    <a:pt x="146307" y="6171"/>
                  </a:cubicBezTo>
                  <a:cubicBezTo>
                    <a:pt x="146307" y="3085"/>
                    <a:pt x="149392" y="0"/>
                    <a:pt x="152479" y="0"/>
                  </a:cubicBezTo>
                  <a:cubicBezTo>
                    <a:pt x="155564" y="0"/>
                    <a:pt x="158650" y="3085"/>
                    <a:pt x="158650" y="6171"/>
                  </a:cubicBezTo>
                  <a:cubicBezTo>
                    <a:pt x="155564" y="49371"/>
                    <a:pt x="133963" y="262286"/>
                    <a:pt x="124706" y="277714"/>
                  </a:cubicBezTo>
                  <a:cubicBezTo>
                    <a:pt x="112365" y="293143"/>
                    <a:pt x="22878" y="351771"/>
                    <a:pt x="13621" y="357942"/>
                  </a:cubicBezTo>
                  <a:cubicBezTo>
                    <a:pt x="10535" y="361028"/>
                    <a:pt x="10535" y="361028"/>
                    <a:pt x="7450" y="361028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25664750-D691-4B83-85B2-AA550467012E}"/>
                </a:ext>
              </a:extLst>
            </p:cNvPr>
            <p:cNvSpPr/>
            <p:nvPr/>
          </p:nvSpPr>
          <p:spPr>
            <a:xfrm>
              <a:off x="24432837" y="8674106"/>
              <a:ext cx="942817" cy="996703"/>
            </a:xfrm>
            <a:custGeom>
              <a:avLst/>
              <a:gdLst>
                <a:gd name="connsiteX0" fmla="*/ 63388 w 942817"/>
                <a:gd name="connsiteY0" fmla="*/ 6190 h 996703"/>
                <a:gd name="connsiteX1" fmla="*/ 375047 w 942817"/>
                <a:gd name="connsiteY1" fmla="*/ 314761 h 996703"/>
                <a:gd name="connsiteX2" fmla="*/ 547846 w 942817"/>
                <a:gd name="connsiteY2" fmla="*/ 709733 h 996703"/>
                <a:gd name="connsiteX3" fmla="*/ 896531 w 942817"/>
                <a:gd name="connsiteY3" fmla="*/ 382647 h 996703"/>
                <a:gd name="connsiteX4" fmla="*/ 942817 w 942817"/>
                <a:gd name="connsiteY4" fmla="*/ 512247 h 996703"/>
                <a:gd name="connsiteX5" fmla="*/ 535502 w 942817"/>
                <a:gd name="connsiteY5" fmla="*/ 996704 h 996703"/>
                <a:gd name="connsiteX6" fmla="*/ 63388 w 942817"/>
                <a:gd name="connsiteY6" fmla="*/ 6190 h 996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2817" h="996703">
                  <a:moveTo>
                    <a:pt x="63388" y="6190"/>
                  </a:moveTo>
                  <a:cubicBezTo>
                    <a:pt x="171388" y="-43181"/>
                    <a:pt x="319502" y="216018"/>
                    <a:pt x="375047" y="314761"/>
                  </a:cubicBezTo>
                  <a:cubicBezTo>
                    <a:pt x="424417" y="404247"/>
                    <a:pt x="547846" y="709733"/>
                    <a:pt x="547846" y="709733"/>
                  </a:cubicBezTo>
                  <a:lnTo>
                    <a:pt x="896531" y="382647"/>
                  </a:lnTo>
                  <a:lnTo>
                    <a:pt x="942817" y="512247"/>
                  </a:lnTo>
                  <a:cubicBezTo>
                    <a:pt x="942817" y="512247"/>
                    <a:pt x="649674" y="993619"/>
                    <a:pt x="535502" y="996704"/>
                  </a:cubicBezTo>
                  <a:cubicBezTo>
                    <a:pt x="344190" y="996704"/>
                    <a:pt x="-180382" y="114190"/>
                    <a:pt x="63388" y="6190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4A8A6818-35A3-4384-A180-A3D6E996BBAD}"/>
                </a:ext>
              </a:extLst>
            </p:cNvPr>
            <p:cNvSpPr/>
            <p:nvPr/>
          </p:nvSpPr>
          <p:spPr>
            <a:xfrm>
              <a:off x="23974741" y="8248296"/>
              <a:ext cx="253027" cy="261370"/>
            </a:xfrm>
            <a:custGeom>
              <a:avLst/>
              <a:gdLst>
                <a:gd name="connsiteX0" fmla="*/ 253027 w 253027"/>
                <a:gd name="connsiteY0" fmla="*/ 40114 h 261370"/>
                <a:gd name="connsiteX1" fmla="*/ 246857 w 253027"/>
                <a:gd name="connsiteY1" fmla="*/ 216000 h 261370"/>
                <a:gd name="connsiteX2" fmla="*/ 0 w 253027"/>
                <a:gd name="connsiteY2" fmla="*/ 206743 h 261370"/>
                <a:gd name="connsiteX3" fmla="*/ 15429 w 253027"/>
                <a:gd name="connsiteY3" fmla="*/ 0 h 261370"/>
                <a:gd name="connsiteX4" fmla="*/ 253027 w 253027"/>
                <a:gd name="connsiteY4" fmla="*/ 40114 h 261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027" h="261370">
                  <a:moveTo>
                    <a:pt x="253027" y="40114"/>
                  </a:moveTo>
                  <a:cubicBezTo>
                    <a:pt x="253027" y="40114"/>
                    <a:pt x="246857" y="141943"/>
                    <a:pt x="246857" y="216000"/>
                  </a:cubicBezTo>
                  <a:cubicBezTo>
                    <a:pt x="246857" y="216000"/>
                    <a:pt x="151199" y="324000"/>
                    <a:pt x="0" y="206743"/>
                  </a:cubicBezTo>
                  <a:cubicBezTo>
                    <a:pt x="0" y="145028"/>
                    <a:pt x="12342" y="64800"/>
                    <a:pt x="15429" y="0"/>
                  </a:cubicBezTo>
                  <a:cubicBezTo>
                    <a:pt x="12342" y="0"/>
                    <a:pt x="197485" y="52457"/>
                    <a:pt x="253027" y="40114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12341A26-C19F-4968-AE04-C34EC40BB0D4}"/>
                </a:ext>
              </a:extLst>
            </p:cNvPr>
            <p:cNvSpPr/>
            <p:nvPr/>
          </p:nvSpPr>
          <p:spPr>
            <a:xfrm>
              <a:off x="23894511" y="8124867"/>
              <a:ext cx="67886" cy="141943"/>
            </a:xfrm>
            <a:custGeom>
              <a:avLst/>
              <a:gdLst>
                <a:gd name="connsiteX0" fmla="*/ 0 w 67886"/>
                <a:gd name="connsiteY0" fmla="*/ 0 h 141943"/>
                <a:gd name="connsiteX1" fmla="*/ 61714 w 67886"/>
                <a:gd name="connsiteY1" fmla="*/ 141943 h 141943"/>
                <a:gd name="connsiteX2" fmla="*/ 67886 w 67886"/>
                <a:gd name="connsiteY2" fmla="*/ 55543 h 141943"/>
                <a:gd name="connsiteX3" fmla="*/ 0 w 67886"/>
                <a:gd name="connsiteY3" fmla="*/ 0 h 141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86" h="141943">
                  <a:moveTo>
                    <a:pt x="0" y="0"/>
                  </a:moveTo>
                  <a:cubicBezTo>
                    <a:pt x="0" y="0"/>
                    <a:pt x="9257" y="120343"/>
                    <a:pt x="61714" y="141943"/>
                  </a:cubicBezTo>
                  <a:lnTo>
                    <a:pt x="67886" y="555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93EF0778-F05C-4548-909B-7815A198F5B5}"/>
                </a:ext>
              </a:extLst>
            </p:cNvPr>
            <p:cNvSpPr/>
            <p:nvPr/>
          </p:nvSpPr>
          <p:spPr>
            <a:xfrm>
              <a:off x="24262349" y="7933553"/>
              <a:ext cx="104950" cy="240664"/>
            </a:xfrm>
            <a:custGeom>
              <a:avLst/>
              <a:gdLst>
                <a:gd name="connsiteX0" fmla="*/ 101191 w 104950"/>
                <a:gd name="connsiteY0" fmla="*/ 0 h 240664"/>
                <a:gd name="connsiteX1" fmla="*/ 48734 w 104950"/>
                <a:gd name="connsiteY1" fmla="*/ 237600 h 240664"/>
                <a:gd name="connsiteX2" fmla="*/ 2448 w 104950"/>
                <a:gd name="connsiteY2" fmla="*/ 12343 h 240664"/>
                <a:gd name="connsiteX3" fmla="*/ 101191 w 104950"/>
                <a:gd name="connsiteY3" fmla="*/ 0 h 24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950" h="240664">
                  <a:moveTo>
                    <a:pt x="101191" y="0"/>
                  </a:moveTo>
                  <a:cubicBezTo>
                    <a:pt x="101191" y="0"/>
                    <a:pt x="125877" y="197486"/>
                    <a:pt x="48734" y="237600"/>
                  </a:cubicBezTo>
                  <a:cubicBezTo>
                    <a:pt x="-16066" y="271543"/>
                    <a:pt x="2448" y="12343"/>
                    <a:pt x="2448" y="12343"/>
                  </a:cubicBezTo>
                  <a:lnTo>
                    <a:pt x="101191" y="0"/>
                  </a:lnTo>
                  <a:close/>
                </a:path>
              </a:pathLst>
            </a:custGeom>
            <a:solidFill>
              <a:srgbClr val="664241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6685B103-F653-466C-81DB-C8A9B3579495}"/>
                </a:ext>
              </a:extLst>
            </p:cNvPr>
            <p:cNvSpPr/>
            <p:nvPr/>
          </p:nvSpPr>
          <p:spPr>
            <a:xfrm>
              <a:off x="23900683" y="7784935"/>
              <a:ext cx="424418" cy="577685"/>
            </a:xfrm>
            <a:custGeom>
              <a:avLst/>
              <a:gdLst>
                <a:gd name="connsiteX0" fmla="*/ 419656 w 424418"/>
                <a:gd name="connsiteY0" fmla="*/ 191818 h 577685"/>
                <a:gd name="connsiteX1" fmla="*/ 410400 w 424418"/>
                <a:gd name="connsiteY1" fmla="*/ 444847 h 577685"/>
                <a:gd name="connsiteX2" fmla="*/ 243772 w 424418"/>
                <a:gd name="connsiteY2" fmla="*/ 577532 h 577685"/>
                <a:gd name="connsiteX3" fmla="*/ 30857 w 424418"/>
                <a:gd name="connsiteY3" fmla="*/ 423247 h 577685"/>
                <a:gd name="connsiteX4" fmla="*/ 0 w 424418"/>
                <a:gd name="connsiteY4" fmla="*/ 194904 h 577685"/>
                <a:gd name="connsiteX5" fmla="*/ 222172 w 424418"/>
                <a:gd name="connsiteY5" fmla="*/ 504 h 577685"/>
                <a:gd name="connsiteX6" fmla="*/ 419656 w 424418"/>
                <a:gd name="connsiteY6" fmla="*/ 191818 h 577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418" h="577685">
                  <a:moveTo>
                    <a:pt x="419656" y="191818"/>
                  </a:moveTo>
                  <a:cubicBezTo>
                    <a:pt x="419656" y="191818"/>
                    <a:pt x="435085" y="370790"/>
                    <a:pt x="410400" y="444847"/>
                  </a:cubicBezTo>
                  <a:cubicBezTo>
                    <a:pt x="388799" y="509647"/>
                    <a:pt x="296228" y="574447"/>
                    <a:pt x="243772" y="577532"/>
                  </a:cubicBezTo>
                  <a:cubicBezTo>
                    <a:pt x="175886" y="580618"/>
                    <a:pt x="58629" y="537419"/>
                    <a:pt x="30857" y="423247"/>
                  </a:cubicBezTo>
                  <a:cubicBezTo>
                    <a:pt x="12344" y="349190"/>
                    <a:pt x="0" y="247361"/>
                    <a:pt x="0" y="194904"/>
                  </a:cubicBezTo>
                  <a:cubicBezTo>
                    <a:pt x="6172" y="99247"/>
                    <a:pt x="33942" y="19018"/>
                    <a:pt x="222172" y="504"/>
                  </a:cubicBezTo>
                  <a:cubicBezTo>
                    <a:pt x="311656" y="-8753"/>
                    <a:pt x="401143" y="111590"/>
                    <a:pt x="419656" y="191818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C99A1397-8A47-4D21-A46E-04A62B837C5C}"/>
                </a:ext>
              </a:extLst>
            </p:cNvPr>
            <p:cNvSpPr/>
            <p:nvPr/>
          </p:nvSpPr>
          <p:spPr>
            <a:xfrm>
              <a:off x="24124662" y="8056982"/>
              <a:ext cx="59907" cy="135771"/>
            </a:xfrm>
            <a:custGeom>
              <a:avLst/>
              <a:gdLst>
                <a:gd name="connsiteX0" fmla="*/ 32135 w 59907"/>
                <a:gd name="connsiteY0" fmla="*/ 135771 h 135771"/>
                <a:gd name="connsiteX1" fmla="*/ 4365 w 59907"/>
                <a:gd name="connsiteY1" fmla="*/ 132686 h 135771"/>
                <a:gd name="connsiteX2" fmla="*/ 1278 w 59907"/>
                <a:gd name="connsiteY2" fmla="*/ 126514 h 135771"/>
                <a:gd name="connsiteX3" fmla="*/ 7450 w 59907"/>
                <a:gd name="connsiteY3" fmla="*/ 123429 h 135771"/>
                <a:gd name="connsiteX4" fmla="*/ 47564 w 59907"/>
                <a:gd name="connsiteY4" fmla="*/ 123429 h 135771"/>
                <a:gd name="connsiteX5" fmla="*/ 47564 w 59907"/>
                <a:gd name="connsiteY5" fmla="*/ 120343 h 135771"/>
                <a:gd name="connsiteX6" fmla="*/ 35222 w 59907"/>
                <a:gd name="connsiteY6" fmla="*/ 6171 h 135771"/>
                <a:gd name="connsiteX7" fmla="*/ 41392 w 59907"/>
                <a:gd name="connsiteY7" fmla="*/ 0 h 135771"/>
                <a:gd name="connsiteX8" fmla="*/ 47564 w 59907"/>
                <a:gd name="connsiteY8" fmla="*/ 6171 h 135771"/>
                <a:gd name="connsiteX9" fmla="*/ 59907 w 59907"/>
                <a:gd name="connsiteY9" fmla="*/ 120343 h 135771"/>
                <a:gd name="connsiteX10" fmla="*/ 53735 w 59907"/>
                <a:gd name="connsiteY10" fmla="*/ 132686 h 135771"/>
                <a:gd name="connsiteX11" fmla="*/ 32135 w 59907"/>
                <a:gd name="connsiteY11" fmla="*/ 135771 h 135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907" h="135771">
                  <a:moveTo>
                    <a:pt x="32135" y="135771"/>
                  </a:moveTo>
                  <a:cubicBezTo>
                    <a:pt x="19793" y="135771"/>
                    <a:pt x="7450" y="132686"/>
                    <a:pt x="4365" y="132686"/>
                  </a:cubicBezTo>
                  <a:cubicBezTo>
                    <a:pt x="1278" y="132686"/>
                    <a:pt x="-1807" y="129600"/>
                    <a:pt x="1278" y="126514"/>
                  </a:cubicBezTo>
                  <a:cubicBezTo>
                    <a:pt x="1278" y="123429"/>
                    <a:pt x="4365" y="120343"/>
                    <a:pt x="7450" y="123429"/>
                  </a:cubicBezTo>
                  <a:cubicBezTo>
                    <a:pt x="19793" y="126514"/>
                    <a:pt x="41392" y="129600"/>
                    <a:pt x="47564" y="123429"/>
                  </a:cubicBezTo>
                  <a:cubicBezTo>
                    <a:pt x="47564" y="123429"/>
                    <a:pt x="47564" y="120343"/>
                    <a:pt x="47564" y="120343"/>
                  </a:cubicBezTo>
                  <a:cubicBezTo>
                    <a:pt x="47564" y="101829"/>
                    <a:pt x="35222" y="6171"/>
                    <a:pt x="35222" y="6171"/>
                  </a:cubicBezTo>
                  <a:cubicBezTo>
                    <a:pt x="35222" y="3086"/>
                    <a:pt x="38307" y="0"/>
                    <a:pt x="41392" y="0"/>
                  </a:cubicBezTo>
                  <a:cubicBezTo>
                    <a:pt x="44479" y="0"/>
                    <a:pt x="47564" y="3086"/>
                    <a:pt x="47564" y="6171"/>
                  </a:cubicBezTo>
                  <a:cubicBezTo>
                    <a:pt x="47564" y="9257"/>
                    <a:pt x="59907" y="101829"/>
                    <a:pt x="59907" y="120343"/>
                  </a:cubicBezTo>
                  <a:cubicBezTo>
                    <a:pt x="59907" y="126514"/>
                    <a:pt x="56820" y="129600"/>
                    <a:pt x="53735" y="132686"/>
                  </a:cubicBezTo>
                  <a:cubicBezTo>
                    <a:pt x="50650" y="132686"/>
                    <a:pt x="41392" y="135771"/>
                    <a:pt x="32135" y="135771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0C534385-F722-4927-88F6-93B5FDDE54FE}"/>
                </a:ext>
              </a:extLst>
            </p:cNvPr>
            <p:cNvSpPr/>
            <p:nvPr/>
          </p:nvSpPr>
          <p:spPr>
            <a:xfrm>
              <a:off x="24091997" y="8242125"/>
              <a:ext cx="107999" cy="55542"/>
            </a:xfrm>
            <a:custGeom>
              <a:avLst/>
              <a:gdLst>
                <a:gd name="connsiteX0" fmla="*/ 108000 w 107999"/>
                <a:gd name="connsiteY0" fmla="*/ 3086 h 55542"/>
                <a:gd name="connsiteX1" fmla="*/ 0 w 107999"/>
                <a:gd name="connsiteY1" fmla="*/ 0 h 55542"/>
                <a:gd name="connsiteX2" fmla="*/ 52458 w 107999"/>
                <a:gd name="connsiteY2" fmla="*/ 55543 h 55542"/>
                <a:gd name="connsiteX3" fmla="*/ 108000 w 107999"/>
                <a:gd name="connsiteY3" fmla="*/ 3086 h 5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999" h="55542">
                  <a:moveTo>
                    <a:pt x="108000" y="3086"/>
                  </a:moveTo>
                  <a:cubicBezTo>
                    <a:pt x="108000" y="3086"/>
                    <a:pt x="52458" y="15429"/>
                    <a:pt x="0" y="0"/>
                  </a:cubicBezTo>
                  <a:cubicBezTo>
                    <a:pt x="0" y="0"/>
                    <a:pt x="0" y="52457"/>
                    <a:pt x="52458" y="55543"/>
                  </a:cubicBezTo>
                  <a:cubicBezTo>
                    <a:pt x="92571" y="55543"/>
                    <a:pt x="108000" y="3086"/>
                    <a:pt x="108000" y="3086"/>
                  </a:cubicBezTo>
                  <a:close/>
                </a:path>
              </a:pathLst>
            </a:custGeom>
            <a:solidFill>
              <a:srgbClr val="FFFFFF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A109899F-4848-4A41-B810-D80EF2D12108}"/>
                </a:ext>
              </a:extLst>
            </p:cNvPr>
            <p:cNvSpPr/>
            <p:nvPr/>
          </p:nvSpPr>
          <p:spPr>
            <a:xfrm>
              <a:off x="24220811" y="8031510"/>
              <a:ext cx="41686" cy="41687"/>
            </a:xfrm>
            <a:custGeom>
              <a:avLst/>
              <a:gdLst>
                <a:gd name="connsiteX0" fmla="*/ 787 w 41686"/>
                <a:gd name="connsiteY0" fmla="*/ 25472 h 41687"/>
                <a:gd name="connsiteX1" fmla="*/ 25472 w 41686"/>
                <a:gd name="connsiteY1" fmla="*/ 40901 h 41687"/>
                <a:gd name="connsiteX2" fmla="*/ 40901 w 41686"/>
                <a:gd name="connsiteY2" fmla="*/ 16215 h 41687"/>
                <a:gd name="connsiteX3" fmla="*/ 16215 w 41686"/>
                <a:gd name="connsiteY3" fmla="*/ 786 h 41687"/>
                <a:gd name="connsiteX4" fmla="*/ 787 w 41686"/>
                <a:gd name="connsiteY4" fmla="*/ 25472 h 41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86" h="41687">
                  <a:moveTo>
                    <a:pt x="787" y="25472"/>
                  </a:moveTo>
                  <a:cubicBezTo>
                    <a:pt x="3872" y="37815"/>
                    <a:pt x="13129" y="43987"/>
                    <a:pt x="25472" y="40901"/>
                  </a:cubicBezTo>
                  <a:cubicBezTo>
                    <a:pt x="37814" y="37815"/>
                    <a:pt x="43986" y="28558"/>
                    <a:pt x="40901" y="16215"/>
                  </a:cubicBezTo>
                  <a:cubicBezTo>
                    <a:pt x="37814" y="3872"/>
                    <a:pt x="28557" y="-2299"/>
                    <a:pt x="16215" y="786"/>
                  </a:cubicBezTo>
                  <a:cubicBezTo>
                    <a:pt x="3872" y="3872"/>
                    <a:pt x="-2300" y="16215"/>
                    <a:pt x="787" y="25472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791DA4AB-2AC3-418E-912C-DFA456AB7834}"/>
                </a:ext>
              </a:extLst>
            </p:cNvPr>
            <p:cNvSpPr/>
            <p:nvPr/>
          </p:nvSpPr>
          <p:spPr>
            <a:xfrm>
              <a:off x="24033368" y="8043853"/>
              <a:ext cx="40900" cy="41686"/>
            </a:xfrm>
            <a:custGeom>
              <a:avLst/>
              <a:gdLst>
                <a:gd name="connsiteX0" fmla="*/ 0 w 40900"/>
                <a:gd name="connsiteY0" fmla="*/ 25472 h 41686"/>
                <a:gd name="connsiteX1" fmla="*/ 24685 w 40900"/>
                <a:gd name="connsiteY1" fmla="*/ 40900 h 41686"/>
                <a:gd name="connsiteX2" fmla="*/ 40114 w 40900"/>
                <a:gd name="connsiteY2" fmla="*/ 16215 h 41686"/>
                <a:gd name="connsiteX3" fmla="*/ 15429 w 40900"/>
                <a:gd name="connsiteY3" fmla="*/ 786 h 41686"/>
                <a:gd name="connsiteX4" fmla="*/ 0 w 40900"/>
                <a:gd name="connsiteY4" fmla="*/ 25472 h 41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00" h="41686">
                  <a:moveTo>
                    <a:pt x="0" y="25472"/>
                  </a:moveTo>
                  <a:cubicBezTo>
                    <a:pt x="3087" y="37815"/>
                    <a:pt x="12344" y="43986"/>
                    <a:pt x="24685" y="40900"/>
                  </a:cubicBezTo>
                  <a:cubicBezTo>
                    <a:pt x="37029" y="37815"/>
                    <a:pt x="43201" y="28558"/>
                    <a:pt x="40114" y="16215"/>
                  </a:cubicBezTo>
                  <a:cubicBezTo>
                    <a:pt x="37029" y="3872"/>
                    <a:pt x="27772" y="-2299"/>
                    <a:pt x="15429" y="786"/>
                  </a:cubicBezTo>
                  <a:cubicBezTo>
                    <a:pt x="6172" y="3872"/>
                    <a:pt x="0" y="13129"/>
                    <a:pt x="0" y="25472"/>
                  </a:cubicBezTo>
                  <a:close/>
                </a:path>
              </a:pathLst>
            </a:custGeom>
            <a:solidFill>
              <a:srgbClr val="38333D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A10D7805-ED83-4B46-BD35-9111C1291740}"/>
                </a:ext>
              </a:extLst>
            </p:cNvPr>
            <p:cNvSpPr/>
            <p:nvPr/>
          </p:nvSpPr>
          <p:spPr>
            <a:xfrm>
              <a:off x="24195633" y="7986373"/>
              <a:ext cx="93077" cy="33579"/>
            </a:xfrm>
            <a:custGeom>
              <a:avLst/>
              <a:gdLst>
                <a:gd name="connsiteX0" fmla="*/ 84592 w 93077"/>
                <a:gd name="connsiteY0" fmla="*/ 33580 h 33579"/>
                <a:gd name="connsiteX1" fmla="*/ 78421 w 93077"/>
                <a:gd name="connsiteY1" fmla="*/ 30494 h 33579"/>
                <a:gd name="connsiteX2" fmla="*/ 10536 w 93077"/>
                <a:gd name="connsiteY2" fmla="*/ 21237 h 33579"/>
                <a:gd name="connsiteX3" fmla="*/ 1278 w 93077"/>
                <a:gd name="connsiteY3" fmla="*/ 18151 h 33579"/>
                <a:gd name="connsiteX4" fmla="*/ 4365 w 93077"/>
                <a:gd name="connsiteY4" fmla="*/ 8894 h 33579"/>
                <a:gd name="connsiteX5" fmla="*/ 90764 w 93077"/>
                <a:gd name="connsiteY5" fmla="*/ 21237 h 33579"/>
                <a:gd name="connsiteX6" fmla="*/ 90764 w 93077"/>
                <a:gd name="connsiteY6" fmla="*/ 33580 h 33579"/>
                <a:gd name="connsiteX7" fmla="*/ 84592 w 93077"/>
                <a:gd name="connsiteY7" fmla="*/ 33580 h 33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7" h="33579">
                  <a:moveTo>
                    <a:pt x="84592" y="33580"/>
                  </a:moveTo>
                  <a:cubicBezTo>
                    <a:pt x="81507" y="33580"/>
                    <a:pt x="81507" y="33580"/>
                    <a:pt x="78421" y="30494"/>
                  </a:cubicBezTo>
                  <a:cubicBezTo>
                    <a:pt x="53735" y="2723"/>
                    <a:pt x="13621" y="21237"/>
                    <a:pt x="10536" y="21237"/>
                  </a:cubicBezTo>
                  <a:cubicBezTo>
                    <a:pt x="7450" y="24323"/>
                    <a:pt x="1278" y="21237"/>
                    <a:pt x="1278" y="18151"/>
                  </a:cubicBezTo>
                  <a:cubicBezTo>
                    <a:pt x="-1807" y="15065"/>
                    <a:pt x="1278" y="8894"/>
                    <a:pt x="4365" y="8894"/>
                  </a:cubicBezTo>
                  <a:cubicBezTo>
                    <a:pt x="22878" y="-363"/>
                    <a:pt x="62992" y="-9620"/>
                    <a:pt x="90764" y="21237"/>
                  </a:cubicBezTo>
                  <a:cubicBezTo>
                    <a:pt x="93849" y="24323"/>
                    <a:pt x="93849" y="30494"/>
                    <a:pt x="90764" y="33580"/>
                  </a:cubicBezTo>
                  <a:cubicBezTo>
                    <a:pt x="87679" y="33580"/>
                    <a:pt x="84592" y="33580"/>
                    <a:pt x="84592" y="33580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10235D9C-235B-4E4D-BE2C-9E9531E957D3}"/>
                </a:ext>
              </a:extLst>
            </p:cNvPr>
            <p:cNvSpPr/>
            <p:nvPr/>
          </p:nvSpPr>
          <p:spPr>
            <a:xfrm>
              <a:off x="24000197" y="7980014"/>
              <a:ext cx="91800" cy="33768"/>
            </a:xfrm>
            <a:custGeom>
              <a:avLst/>
              <a:gdLst>
                <a:gd name="connsiteX0" fmla="*/ 8486 w 91800"/>
                <a:gd name="connsiteY0" fmla="*/ 33768 h 33768"/>
                <a:gd name="connsiteX1" fmla="*/ 2314 w 91800"/>
                <a:gd name="connsiteY1" fmla="*/ 30682 h 33768"/>
                <a:gd name="connsiteX2" fmla="*/ 2314 w 91800"/>
                <a:gd name="connsiteY2" fmla="*/ 18339 h 33768"/>
                <a:gd name="connsiteX3" fmla="*/ 88713 w 91800"/>
                <a:gd name="connsiteY3" fmla="*/ 12168 h 33768"/>
                <a:gd name="connsiteX4" fmla="*/ 91800 w 91800"/>
                <a:gd name="connsiteY4" fmla="*/ 24511 h 33768"/>
                <a:gd name="connsiteX5" fmla="*/ 79457 w 91800"/>
                <a:gd name="connsiteY5" fmla="*/ 27596 h 33768"/>
                <a:gd name="connsiteX6" fmla="*/ 11570 w 91800"/>
                <a:gd name="connsiteY6" fmla="*/ 30682 h 33768"/>
                <a:gd name="connsiteX7" fmla="*/ 8486 w 91800"/>
                <a:gd name="connsiteY7" fmla="*/ 33768 h 33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800" h="33768">
                  <a:moveTo>
                    <a:pt x="8486" y="33768"/>
                  </a:moveTo>
                  <a:cubicBezTo>
                    <a:pt x="5401" y="33768"/>
                    <a:pt x="5401" y="33768"/>
                    <a:pt x="2314" y="30682"/>
                  </a:cubicBezTo>
                  <a:cubicBezTo>
                    <a:pt x="-771" y="27596"/>
                    <a:pt x="-771" y="21425"/>
                    <a:pt x="2314" y="18339"/>
                  </a:cubicBezTo>
                  <a:cubicBezTo>
                    <a:pt x="17742" y="5996"/>
                    <a:pt x="51686" y="-12518"/>
                    <a:pt x="88713" y="12168"/>
                  </a:cubicBezTo>
                  <a:cubicBezTo>
                    <a:pt x="91800" y="15254"/>
                    <a:pt x="91800" y="18339"/>
                    <a:pt x="91800" y="24511"/>
                  </a:cubicBezTo>
                  <a:cubicBezTo>
                    <a:pt x="88713" y="27596"/>
                    <a:pt x="85628" y="27596"/>
                    <a:pt x="79457" y="27596"/>
                  </a:cubicBezTo>
                  <a:cubicBezTo>
                    <a:pt x="45514" y="2911"/>
                    <a:pt x="14657" y="30682"/>
                    <a:pt x="11570" y="30682"/>
                  </a:cubicBezTo>
                  <a:cubicBezTo>
                    <a:pt x="14657" y="30682"/>
                    <a:pt x="11570" y="33768"/>
                    <a:pt x="8486" y="33768"/>
                  </a:cubicBezTo>
                  <a:close/>
                </a:path>
              </a:pathLst>
            </a:custGeom>
            <a:solidFill>
              <a:srgbClr val="664540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317995D0-C996-43E3-A659-C44EEDCF4C75}"/>
                </a:ext>
              </a:extLst>
            </p:cNvPr>
            <p:cNvSpPr/>
            <p:nvPr/>
          </p:nvSpPr>
          <p:spPr>
            <a:xfrm>
              <a:off x="23983997" y="8297667"/>
              <a:ext cx="229713" cy="70971"/>
            </a:xfrm>
            <a:custGeom>
              <a:avLst/>
              <a:gdLst>
                <a:gd name="connsiteX0" fmla="*/ 151199 w 229713"/>
                <a:gd name="connsiteY0" fmla="*/ 70972 h 70971"/>
                <a:gd name="connsiteX1" fmla="*/ 148114 w 229713"/>
                <a:gd name="connsiteY1" fmla="*/ 70972 h 70971"/>
                <a:gd name="connsiteX2" fmla="*/ 3085 w 229713"/>
                <a:gd name="connsiteY2" fmla="*/ 12343 h 70971"/>
                <a:gd name="connsiteX3" fmla="*/ 0 w 229713"/>
                <a:gd name="connsiteY3" fmla="*/ 3085 h 70971"/>
                <a:gd name="connsiteX4" fmla="*/ 9257 w 229713"/>
                <a:gd name="connsiteY4" fmla="*/ 0 h 70971"/>
                <a:gd name="connsiteX5" fmla="*/ 148114 w 229713"/>
                <a:gd name="connsiteY5" fmla="*/ 55543 h 70971"/>
                <a:gd name="connsiteX6" fmla="*/ 151199 w 229713"/>
                <a:gd name="connsiteY6" fmla="*/ 55543 h 70971"/>
                <a:gd name="connsiteX7" fmla="*/ 219085 w 229713"/>
                <a:gd name="connsiteY7" fmla="*/ 33943 h 70971"/>
                <a:gd name="connsiteX8" fmla="*/ 228342 w 229713"/>
                <a:gd name="connsiteY8" fmla="*/ 33943 h 70971"/>
                <a:gd name="connsiteX9" fmla="*/ 228342 w 229713"/>
                <a:gd name="connsiteY9" fmla="*/ 43200 h 70971"/>
                <a:gd name="connsiteX10" fmla="*/ 151199 w 229713"/>
                <a:gd name="connsiteY10" fmla="*/ 70972 h 70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9713" h="70971">
                  <a:moveTo>
                    <a:pt x="151199" y="70972"/>
                  </a:moveTo>
                  <a:cubicBezTo>
                    <a:pt x="151199" y="70972"/>
                    <a:pt x="148114" y="70972"/>
                    <a:pt x="148114" y="70972"/>
                  </a:cubicBezTo>
                  <a:cubicBezTo>
                    <a:pt x="95656" y="67886"/>
                    <a:pt x="6172" y="15429"/>
                    <a:pt x="3085" y="12343"/>
                  </a:cubicBezTo>
                  <a:cubicBezTo>
                    <a:pt x="0" y="9257"/>
                    <a:pt x="0" y="6171"/>
                    <a:pt x="0" y="3085"/>
                  </a:cubicBezTo>
                  <a:cubicBezTo>
                    <a:pt x="3085" y="0"/>
                    <a:pt x="6172" y="0"/>
                    <a:pt x="9257" y="0"/>
                  </a:cubicBezTo>
                  <a:cubicBezTo>
                    <a:pt x="9257" y="0"/>
                    <a:pt x="98743" y="55543"/>
                    <a:pt x="148114" y="55543"/>
                  </a:cubicBezTo>
                  <a:cubicBezTo>
                    <a:pt x="148114" y="55543"/>
                    <a:pt x="151199" y="55543"/>
                    <a:pt x="151199" y="55543"/>
                  </a:cubicBezTo>
                  <a:cubicBezTo>
                    <a:pt x="188228" y="55543"/>
                    <a:pt x="219085" y="33943"/>
                    <a:pt x="219085" y="33943"/>
                  </a:cubicBezTo>
                  <a:cubicBezTo>
                    <a:pt x="222172" y="30857"/>
                    <a:pt x="225257" y="33943"/>
                    <a:pt x="228342" y="33943"/>
                  </a:cubicBezTo>
                  <a:cubicBezTo>
                    <a:pt x="231429" y="37028"/>
                    <a:pt x="228342" y="40114"/>
                    <a:pt x="228342" y="43200"/>
                  </a:cubicBezTo>
                  <a:cubicBezTo>
                    <a:pt x="228342" y="46286"/>
                    <a:pt x="194400" y="70972"/>
                    <a:pt x="151199" y="70972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F99850CD-7084-484F-8C10-3BE94701EDBD}"/>
                </a:ext>
              </a:extLst>
            </p:cNvPr>
            <p:cNvSpPr/>
            <p:nvPr/>
          </p:nvSpPr>
          <p:spPr>
            <a:xfrm>
              <a:off x="23868678" y="7803890"/>
              <a:ext cx="112232" cy="271606"/>
            </a:xfrm>
            <a:custGeom>
              <a:avLst/>
              <a:gdLst>
                <a:gd name="connsiteX0" fmla="*/ 112233 w 112232"/>
                <a:gd name="connsiteY0" fmla="*/ 129663 h 271606"/>
                <a:gd name="connsiteX1" fmla="*/ 56690 w 112232"/>
                <a:gd name="connsiteY1" fmla="*/ 271606 h 271606"/>
                <a:gd name="connsiteX2" fmla="*/ 4233 w 112232"/>
                <a:gd name="connsiteY2" fmla="*/ 166691 h 271606"/>
                <a:gd name="connsiteX3" fmla="*/ 72119 w 112232"/>
                <a:gd name="connsiteY3" fmla="*/ 63 h 271606"/>
                <a:gd name="connsiteX4" fmla="*/ 112233 w 112232"/>
                <a:gd name="connsiteY4" fmla="*/ 129663 h 271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232" h="271606">
                  <a:moveTo>
                    <a:pt x="112233" y="129663"/>
                  </a:moveTo>
                  <a:cubicBezTo>
                    <a:pt x="112233" y="129663"/>
                    <a:pt x="50519" y="237663"/>
                    <a:pt x="56690" y="271606"/>
                  </a:cubicBezTo>
                  <a:cubicBezTo>
                    <a:pt x="56690" y="271606"/>
                    <a:pt x="16577" y="225320"/>
                    <a:pt x="4233" y="166691"/>
                  </a:cubicBezTo>
                  <a:cubicBezTo>
                    <a:pt x="-8109" y="104977"/>
                    <a:pt x="4233" y="12406"/>
                    <a:pt x="72119" y="63"/>
                  </a:cubicBezTo>
                  <a:cubicBezTo>
                    <a:pt x="69034" y="-3023"/>
                    <a:pt x="72119" y="108063"/>
                    <a:pt x="112233" y="129663"/>
                  </a:cubicBezTo>
                  <a:close/>
                </a:path>
              </a:pathLst>
            </a:custGeom>
            <a:solidFill>
              <a:srgbClr val="664241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A3A4E62B-81D1-47A8-B547-7B1F93887ABE}"/>
                </a:ext>
              </a:extLst>
            </p:cNvPr>
            <p:cNvSpPr/>
            <p:nvPr/>
          </p:nvSpPr>
          <p:spPr>
            <a:xfrm>
              <a:off x="23924901" y="7696473"/>
              <a:ext cx="440952" cy="363594"/>
            </a:xfrm>
            <a:custGeom>
              <a:avLst/>
              <a:gdLst>
                <a:gd name="connsiteX0" fmla="*/ 56010 w 440952"/>
                <a:gd name="connsiteY0" fmla="*/ 237080 h 363594"/>
                <a:gd name="connsiteX1" fmla="*/ 182525 w 440952"/>
                <a:gd name="connsiteY1" fmla="*/ 203137 h 363594"/>
                <a:gd name="connsiteX2" fmla="*/ 420125 w 440952"/>
                <a:gd name="connsiteY2" fmla="*/ 363595 h 363594"/>
                <a:gd name="connsiteX3" fmla="*/ 432467 w 440952"/>
                <a:gd name="connsiteY3" fmla="*/ 193881 h 363594"/>
                <a:gd name="connsiteX4" fmla="*/ 346068 w 440952"/>
                <a:gd name="connsiteY4" fmla="*/ 39595 h 363594"/>
                <a:gd name="connsiteX5" fmla="*/ 142411 w 440952"/>
                <a:gd name="connsiteY5" fmla="*/ 14909 h 363594"/>
                <a:gd name="connsiteX6" fmla="*/ 15896 w 440952"/>
                <a:gd name="connsiteY6" fmla="*/ 107480 h 363594"/>
                <a:gd name="connsiteX7" fmla="*/ 56010 w 440952"/>
                <a:gd name="connsiteY7" fmla="*/ 237080 h 36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0952" h="363594">
                  <a:moveTo>
                    <a:pt x="56010" y="237080"/>
                  </a:moveTo>
                  <a:cubicBezTo>
                    <a:pt x="56010" y="237080"/>
                    <a:pt x="154753" y="203137"/>
                    <a:pt x="182525" y="203137"/>
                  </a:cubicBezTo>
                  <a:cubicBezTo>
                    <a:pt x="284353" y="212395"/>
                    <a:pt x="438639" y="289537"/>
                    <a:pt x="420125" y="363595"/>
                  </a:cubicBezTo>
                  <a:cubicBezTo>
                    <a:pt x="420125" y="363595"/>
                    <a:pt x="457152" y="261766"/>
                    <a:pt x="432467" y="193881"/>
                  </a:cubicBezTo>
                  <a:cubicBezTo>
                    <a:pt x="432467" y="193881"/>
                    <a:pt x="438639" y="67366"/>
                    <a:pt x="346068" y="39595"/>
                  </a:cubicBezTo>
                  <a:cubicBezTo>
                    <a:pt x="253496" y="11823"/>
                    <a:pt x="216467" y="-19034"/>
                    <a:pt x="142411" y="14909"/>
                  </a:cubicBezTo>
                  <a:cubicBezTo>
                    <a:pt x="68353" y="51937"/>
                    <a:pt x="22068" y="70452"/>
                    <a:pt x="15896" y="107480"/>
                  </a:cubicBezTo>
                  <a:cubicBezTo>
                    <a:pt x="12811" y="104394"/>
                    <a:pt x="-36562" y="218566"/>
                    <a:pt x="56010" y="237080"/>
                  </a:cubicBezTo>
                  <a:close/>
                </a:path>
              </a:pathLst>
            </a:custGeom>
            <a:solidFill>
              <a:srgbClr val="664241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FE695ADC-F6D4-4CE2-B7CF-9279C4833039}"/>
                </a:ext>
              </a:extLst>
            </p:cNvPr>
            <p:cNvSpPr/>
            <p:nvPr/>
          </p:nvSpPr>
          <p:spPr>
            <a:xfrm>
              <a:off x="23857563" y="8038723"/>
              <a:ext cx="79282" cy="114391"/>
            </a:xfrm>
            <a:custGeom>
              <a:avLst/>
              <a:gdLst>
                <a:gd name="connsiteX0" fmla="*/ 67805 w 79282"/>
                <a:gd name="connsiteY0" fmla="*/ 18259 h 114391"/>
                <a:gd name="connsiteX1" fmla="*/ 9178 w 79282"/>
                <a:gd name="connsiteY1" fmla="*/ 5916 h 114391"/>
                <a:gd name="connsiteX2" fmla="*/ 64720 w 79282"/>
                <a:gd name="connsiteY2" fmla="*/ 110830 h 114391"/>
                <a:gd name="connsiteX3" fmla="*/ 67805 w 79282"/>
                <a:gd name="connsiteY3" fmla="*/ 18259 h 114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282" h="114391">
                  <a:moveTo>
                    <a:pt x="67805" y="18259"/>
                  </a:moveTo>
                  <a:cubicBezTo>
                    <a:pt x="67805" y="18259"/>
                    <a:pt x="33863" y="-12599"/>
                    <a:pt x="9178" y="5916"/>
                  </a:cubicBezTo>
                  <a:cubicBezTo>
                    <a:pt x="-18594" y="24430"/>
                    <a:pt x="21519" y="135516"/>
                    <a:pt x="64720" y="110830"/>
                  </a:cubicBezTo>
                  <a:cubicBezTo>
                    <a:pt x="95577" y="92316"/>
                    <a:pt x="67805" y="18259"/>
                    <a:pt x="67805" y="18259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9EB0D0CA-EF3F-48EF-90CE-05E8CF8F90E0}"/>
                </a:ext>
              </a:extLst>
            </p:cNvPr>
            <p:cNvSpPr/>
            <p:nvPr/>
          </p:nvSpPr>
          <p:spPr>
            <a:xfrm>
              <a:off x="23915341" y="7819382"/>
              <a:ext cx="74828" cy="243771"/>
            </a:xfrm>
            <a:custGeom>
              <a:avLst/>
              <a:gdLst>
                <a:gd name="connsiteX0" fmla="*/ 10028 w 74828"/>
                <a:gd name="connsiteY0" fmla="*/ 243771 h 243771"/>
                <a:gd name="connsiteX1" fmla="*/ 10028 w 74828"/>
                <a:gd name="connsiteY1" fmla="*/ 243771 h 243771"/>
                <a:gd name="connsiteX2" fmla="*/ 3856 w 74828"/>
                <a:gd name="connsiteY2" fmla="*/ 237600 h 243771"/>
                <a:gd name="connsiteX3" fmla="*/ 53228 w 74828"/>
                <a:gd name="connsiteY3" fmla="*/ 117257 h 243771"/>
                <a:gd name="connsiteX4" fmla="*/ 6943 w 74828"/>
                <a:gd name="connsiteY4" fmla="*/ 70972 h 243771"/>
                <a:gd name="connsiteX5" fmla="*/ 6943 w 74828"/>
                <a:gd name="connsiteY5" fmla="*/ 3085 h 243771"/>
                <a:gd name="connsiteX6" fmla="*/ 16199 w 74828"/>
                <a:gd name="connsiteY6" fmla="*/ 0 h 243771"/>
                <a:gd name="connsiteX7" fmla="*/ 19284 w 74828"/>
                <a:gd name="connsiteY7" fmla="*/ 9257 h 243771"/>
                <a:gd name="connsiteX8" fmla="*/ 19284 w 74828"/>
                <a:gd name="connsiteY8" fmla="*/ 67886 h 243771"/>
                <a:gd name="connsiteX9" fmla="*/ 65570 w 74828"/>
                <a:gd name="connsiteY9" fmla="*/ 111085 h 243771"/>
                <a:gd name="connsiteX10" fmla="*/ 74829 w 74828"/>
                <a:gd name="connsiteY10" fmla="*/ 114171 h 243771"/>
                <a:gd name="connsiteX11" fmla="*/ 68657 w 74828"/>
                <a:gd name="connsiteY11" fmla="*/ 120343 h 243771"/>
                <a:gd name="connsiteX12" fmla="*/ 16199 w 74828"/>
                <a:gd name="connsiteY12" fmla="*/ 240686 h 243771"/>
                <a:gd name="connsiteX13" fmla="*/ 10028 w 74828"/>
                <a:gd name="connsiteY13" fmla="*/ 243771 h 24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828" h="243771">
                  <a:moveTo>
                    <a:pt x="10028" y="243771"/>
                  </a:moveTo>
                  <a:cubicBezTo>
                    <a:pt x="10028" y="243771"/>
                    <a:pt x="10028" y="243771"/>
                    <a:pt x="10028" y="243771"/>
                  </a:cubicBezTo>
                  <a:cubicBezTo>
                    <a:pt x="6943" y="243771"/>
                    <a:pt x="3856" y="240686"/>
                    <a:pt x="3856" y="237600"/>
                  </a:cubicBezTo>
                  <a:cubicBezTo>
                    <a:pt x="10028" y="185143"/>
                    <a:pt x="40885" y="135771"/>
                    <a:pt x="53228" y="117257"/>
                  </a:cubicBezTo>
                  <a:cubicBezTo>
                    <a:pt x="40885" y="111085"/>
                    <a:pt x="16199" y="98743"/>
                    <a:pt x="6943" y="70972"/>
                  </a:cubicBezTo>
                  <a:cubicBezTo>
                    <a:pt x="-2314" y="52457"/>
                    <a:pt x="-2314" y="27771"/>
                    <a:pt x="6943" y="3085"/>
                  </a:cubicBezTo>
                  <a:cubicBezTo>
                    <a:pt x="6943" y="0"/>
                    <a:pt x="13114" y="0"/>
                    <a:pt x="16199" y="0"/>
                  </a:cubicBezTo>
                  <a:cubicBezTo>
                    <a:pt x="19284" y="0"/>
                    <a:pt x="22371" y="6171"/>
                    <a:pt x="19284" y="9257"/>
                  </a:cubicBezTo>
                  <a:cubicBezTo>
                    <a:pt x="10028" y="30857"/>
                    <a:pt x="10028" y="49371"/>
                    <a:pt x="19284" y="67886"/>
                  </a:cubicBezTo>
                  <a:cubicBezTo>
                    <a:pt x="31628" y="98743"/>
                    <a:pt x="65570" y="111085"/>
                    <a:pt x="65570" y="111085"/>
                  </a:cubicBezTo>
                  <a:lnTo>
                    <a:pt x="74829" y="114171"/>
                  </a:lnTo>
                  <a:lnTo>
                    <a:pt x="68657" y="120343"/>
                  </a:lnTo>
                  <a:cubicBezTo>
                    <a:pt x="68657" y="120343"/>
                    <a:pt x="25456" y="178972"/>
                    <a:pt x="16199" y="240686"/>
                  </a:cubicBezTo>
                  <a:cubicBezTo>
                    <a:pt x="16199" y="240686"/>
                    <a:pt x="13114" y="243771"/>
                    <a:pt x="10028" y="243771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D190EFF2-DAAD-4DD4-A54D-D8FEA7D222E4}"/>
                </a:ext>
              </a:extLst>
            </p:cNvPr>
            <p:cNvSpPr/>
            <p:nvPr/>
          </p:nvSpPr>
          <p:spPr>
            <a:xfrm>
              <a:off x="24098169" y="7874724"/>
              <a:ext cx="196713" cy="34143"/>
            </a:xfrm>
            <a:custGeom>
              <a:avLst/>
              <a:gdLst>
                <a:gd name="connsiteX0" fmla="*/ 194400 w 196713"/>
                <a:gd name="connsiteY0" fmla="*/ 34143 h 34143"/>
                <a:gd name="connsiteX1" fmla="*/ 191313 w 196713"/>
                <a:gd name="connsiteY1" fmla="*/ 34143 h 34143"/>
                <a:gd name="connsiteX2" fmla="*/ 9257 w 196713"/>
                <a:gd name="connsiteY2" fmla="*/ 34143 h 34143"/>
                <a:gd name="connsiteX3" fmla="*/ 0 w 196713"/>
                <a:gd name="connsiteY3" fmla="*/ 31058 h 34143"/>
                <a:gd name="connsiteX4" fmla="*/ 3085 w 196713"/>
                <a:gd name="connsiteY4" fmla="*/ 21800 h 34143"/>
                <a:gd name="connsiteX5" fmla="*/ 194400 w 196713"/>
                <a:gd name="connsiteY5" fmla="*/ 24886 h 34143"/>
                <a:gd name="connsiteX6" fmla="*/ 194400 w 196713"/>
                <a:gd name="connsiteY6" fmla="*/ 34143 h 34143"/>
                <a:gd name="connsiteX7" fmla="*/ 194400 w 196713"/>
                <a:gd name="connsiteY7" fmla="*/ 34143 h 34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713" h="34143">
                  <a:moveTo>
                    <a:pt x="194400" y="34143"/>
                  </a:moveTo>
                  <a:cubicBezTo>
                    <a:pt x="194400" y="34143"/>
                    <a:pt x="191313" y="34143"/>
                    <a:pt x="191313" y="34143"/>
                  </a:cubicBezTo>
                  <a:cubicBezTo>
                    <a:pt x="126514" y="-15228"/>
                    <a:pt x="12342" y="31058"/>
                    <a:pt x="9257" y="34143"/>
                  </a:cubicBezTo>
                  <a:cubicBezTo>
                    <a:pt x="6170" y="34143"/>
                    <a:pt x="3085" y="34143"/>
                    <a:pt x="0" y="31058"/>
                  </a:cubicBezTo>
                  <a:cubicBezTo>
                    <a:pt x="0" y="27972"/>
                    <a:pt x="0" y="24886"/>
                    <a:pt x="3085" y="21800"/>
                  </a:cubicBezTo>
                  <a:cubicBezTo>
                    <a:pt x="9257" y="18714"/>
                    <a:pt x="126514" y="-27571"/>
                    <a:pt x="194400" y="24886"/>
                  </a:cubicBezTo>
                  <a:cubicBezTo>
                    <a:pt x="197485" y="27972"/>
                    <a:pt x="197485" y="31058"/>
                    <a:pt x="194400" y="34143"/>
                  </a:cubicBezTo>
                  <a:cubicBezTo>
                    <a:pt x="197485" y="31058"/>
                    <a:pt x="194400" y="34143"/>
                    <a:pt x="194400" y="34143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66AC9627-E42C-4449-AD39-6491D778C15F}"/>
                </a:ext>
              </a:extLst>
            </p:cNvPr>
            <p:cNvSpPr/>
            <p:nvPr/>
          </p:nvSpPr>
          <p:spPr>
            <a:xfrm>
              <a:off x="23555082" y="8411839"/>
              <a:ext cx="1083913" cy="1585870"/>
            </a:xfrm>
            <a:custGeom>
              <a:avLst/>
              <a:gdLst>
                <a:gd name="connsiteX0" fmla="*/ 401143 w 1083913"/>
                <a:gd name="connsiteY0" fmla="*/ 0 h 1585870"/>
                <a:gd name="connsiteX1" fmla="*/ 694286 w 1083913"/>
                <a:gd name="connsiteY1" fmla="*/ 0 h 1585870"/>
                <a:gd name="connsiteX2" fmla="*/ 996685 w 1083913"/>
                <a:gd name="connsiteY2" fmla="*/ 132686 h 1585870"/>
                <a:gd name="connsiteX3" fmla="*/ 1083087 w 1083913"/>
                <a:gd name="connsiteY3" fmla="*/ 1555200 h 1585870"/>
                <a:gd name="connsiteX4" fmla="*/ 0 w 1083913"/>
                <a:gd name="connsiteY4" fmla="*/ 1530515 h 1585870"/>
                <a:gd name="connsiteX5" fmla="*/ 117257 w 1083913"/>
                <a:gd name="connsiteY5" fmla="*/ 104914 h 1585870"/>
                <a:gd name="connsiteX6" fmla="*/ 401143 w 1083913"/>
                <a:gd name="connsiteY6" fmla="*/ 0 h 15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3913" h="1585870">
                  <a:moveTo>
                    <a:pt x="401143" y="0"/>
                  </a:moveTo>
                  <a:cubicBezTo>
                    <a:pt x="401143" y="0"/>
                    <a:pt x="577029" y="55543"/>
                    <a:pt x="694286" y="0"/>
                  </a:cubicBezTo>
                  <a:cubicBezTo>
                    <a:pt x="694286" y="0"/>
                    <a:pt x="972000" y="98743"/>
                    <a:pt x="996685" y="132686"/>
                  </a:cubicBezTo>
                  <a:cubicBezTo>
                    <a:pt x="1021373" y="163543"/>
                    <a:pt x="1092344" y="1487315"/>
                    <a:pt x="1083087" y="1555200"/>
                  </a:cubicBezTo>
                  <a:cubicBezTo>
                    <a:pt x="1083087" y="1555200"/>
                    <a:pt x="586286" y="1638515"/>
                    <a:pt x="0" y="1530515"/>
                  </a:cubicBezTo>
                  <a:cubicBezTo>
                    <a:pt x="0" y="1169486"/>
                    <a:pt x="74058" y="135771"/>
                    <a:pt x="117257" y="104914"/>
                  </a:cubicBezTo>
                  <a:cubicBezTo>
                    <a:pt x="157373" y="74057"/>
                    <a:pt x="401143" y="0"/>
                    <a:pt x="401143" y="0"/>
                  </a:cubicBezTo>
                  <a:close/>
                </a:path>
              </a:pathLst>
            </a:custGeom>
            <a:solidFill>
              <a:srgbClr val="F6EBE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0F919A27-10E3-4972-8CEA-A239408FDD4C}"/>
                </a:ext>
              </a:extLst>
            </p:cNvPr>
            <p:cNvSpPr/>
            <p:nvPr/>
          </p:nvSpPr>
          <p:spPr>
            <a:xfrm>
              <a:off x="24391938" y="8502827"/>
              <a:ext cx="456059" cy="618726"/>
            </a:xfrm>
            <a:custGeom>
              <a:avLst/>
              <a:gdLst>
                <a:gd name="connsiteX0" fmla="*/ 64174 w 456059"/>
                <a:gd name="connsiteY0" fmla="*/ 618726 h 618726"/>
                <a:gd name="connsiteX1" fmla="*/ 51830 w 456059"/>
                <a:gd name="connsiteY1" fmla="*/ 10840 h 618726"/>
                <a:gd name="connsiteX2" fmla="*/ 456060 w 456059"/>
                <a:gd name="connsiteY2" fmla="*/ 449012 h 618726"/>
                <a:gd name="connsiteX3" fmla="*/ 64174 w 456059"/>
                <a:gd name="connsiteY3" fmla="*/ 618726 h 61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059" h="618726">
                  <a:moveTo>
                    <a:pt x="64174" y="618726"/>
                  </a:moveTo>
                  <a:cubicBezTo>
                    <a:pt x="64174" y="618726"/>
                    <a:pt x="-71598" y="91069"/>
                    <a:pt x="51830" y="10840"/>
                  </a:cubicBezTo>
                  <a:cubicBezTo>
                    <a:pt x="196859" y="-81731"/>
                    <a:pt x="456060" y="449012"/>
                    <a:pt x="456060" y="449012"/>
                  </a:cubicBezTo>
                  <a:cubicBezTo>
                    <a:pt x="456060" y="449012"/>
                    <a:pt x="280174" y="600212"/>
                    <a:pt x="64174" y="618726"/>
                  </a:cubicBezTo>
                  <a:close/>
                </a:path>
              </a:pathLst>
            </a:custGeom>
            <a:solidFill>
              <a:srgbClr val="F6EBE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7890363E-54AA-42BD-ACA3-4CA8B686F8D9}"/>
                </a:ext>
              </a:extLst>
            </p:cNvPr>
            <p:cNvSpPr/>
            <p:nvPr/>
          </p:nvSpPr>
          <p:spPr>
            <a:xfrm>
              <a:off x="24542511" y="8538353"/>
              <a:ext cx="54483" cy="558514"/>
            </a:xfrm>
            <a:custGeom>
              <a:avLst/>
              <a:gdLst>
                <a:gd name="connsiteX0" fmla="*/ 49373 w 54483"/>
                <a:gd name="connsiteY0" fmla="*/ 558514 h 558514"/>
                <a:gd name="connsiteX1" fmla="*/ 43201 w 54483"/>
                <a:gd name="connsiteY1" fmla="*/ 552343 h 558514"/>
                <a:gd name="connsiteX2" fmla="*/ 0 w 54483"/>
                <a:gd name="connsiteY2" fmla="*/ 6171 h 558514"/>
                <a:gd name="connsiteX3" fmla="*/ 3087 w 54483"/>
                <a:gd name="connsiteY3" fmla="*/ 0 h 558514"/>
                <a:gd name="connsiteX4" fmla="*/ 9257 w 54483"/>
                <a:gd name="connsiteY4" fmla="*/ 3085 h 558514"/>
                <a:gd name="connsiteX5" fmla="*/ 52458 w 54483"/>
                <a:gd name="connsiteY5" fmla="*/ 552343 h 558514"/>
                <a:gd name="connsiteX6" fmla="*/ 49373 w 54483"/>
                <a:gd name="connsiteY6" fmla="*/ 558514 h 558514"/>
                <a:gd name="connsiteX7" fmla="*/ 49373 w 54483"/>
                <a:gd name="connsiteY7" fmla="*/ 558514 h 55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483" h="558514">
                  <a:moveTo>
                    <a:pt x="49373" y="558514"/>
                  </a:moveTo>
                  <a:cubicBezTo>
                    <a:pt x="46286" y="558514"/>
                    <a:pt x="43201" y="555429"/>
                    <a:pt x="43201" y="552343"/>
                  </a:cubicBezTo>
                  <a:cubicBezTo>
                    <a:pt x="43201" y="546171"/>
                    <a:pt x="6172" y="46286"/>
                    <a:pt x="0" y="6171"/>
                  </a:cubicBezTo>
                  <a:cubicBezTo>
                    <a:pt x="0" y="3085"/>
                    <a:pt x="0" y="0"/>
                    <a:pt x="3087" y="0"/>
                  </a:cubicBezTo>
                  <a:cubicBezTo>
                    <a:pt x="6172" y="0"/>
                    <a:pt x="9257" y="0"/>
                    <a:pt x="9257" y="3085"/>
                  </a:cubicBezTo>
                  <a:cubicBezTo>
                    <a:pt x="18515" y="43200"/>
                    <a:pt x="52458" y="530743"/>
                    <a:pt x="52458" y="552343"/>
                  </a:cubicBezTo>
                  <a:cubicBezTo>
                    <a:pt x="55542" y="555429"/>
                    <a:pt x="55542" y="558514"/>
                    <a:pt x="49373" y="558514"/>
                  </a:cubicBezTo>
                  <a:cubicBezTo>
                    <a:pt x="49373" y="558514"/>
                    <a:pt x="49373" y="558514"/>
                    <a:pt x="49373" y="558514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9" name="图形 1">
              <a:extLst>
                <a:ext uri="{FF2B5EF4-FFF2-40B4-BE49-F238E27FC236}">
                  <a16:creationId xmlns:a16="http://schemas.microsoft.com/office/drawing/2014/main" id="{CC205BCE-E525-4804-B18E-83C7F81650A3}"/>
                </a:ext>
              </a:extLst>
            </p:cNvPr>
            <p:cNvGrpSpPr/>
            <p:nvPr/>
          </p:nvGrpSpPr>
          <p:grpSpPr>
            <a:xfrm>
              <a:off x="25430591" y="8976377"/>
              <a:ext cx="226454" cy="178109"/>
              <a:chOff x="25430591" y="8976377"/>
              <a:chExt cx="226454" cy="178109"/>
            </a:xfrm>
          </p:grpSpPr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5EE1FC6F-B3FD-4D68-8137-2C0C351F0BD6}"/>
                  </a:ext>
                </a:extLst>
              </p:cNvPr>
              <p:cNvSpPr/>
              <p:nvPr/>
            </p:nvSpPr>
            <p:spPr>
              <a:xfrm>
                <a:off x="25516364" y="8982696"/>
                <a:ext cx="140682" cy="102071"/>
              </a:xfrm>
              <a:custGeom>
                <a:avLst/>
                <a:gdLst>
                  <a:gd name="connsiteX0" fmla="*/ 140091 w 140682"/>
                  <a:gd name="connsiteY0" fmla="*/ 67886 h 102071"/>
                  <a:gd name="connsiteX1" fmla="*/ 69118 w 140682"/>
                  <a:gd name="connsiteY1" fmla="*/ 12343 h 102071"/>
                  <a:gd name="connsiteX2" fmla="*/ 59861 w 140682"/>
                  <a:gd name="connsiteY2" fmla="*/ 3086 h 102071"/>
                  <a:gd name="connsiteX3" fmla="*/ 44433 w 140682"/>
                  <a:gd name="connsiteY3" fmla="*/ 0 h 102071"/>
                  <a:gd name="connsiteX4" fmla="*/ 1234 w 140682"/>
                  <a:gd name="connsiteY4" fmla="*/ 24686 h 102071"/>
                  <a:gd name="connsiteX5" fmla="*/ 22833 w 140682"/>
                  <a:gd name="connsiteY5" fmla="*/ 58628 h 102071"/>
                  <a:gd name="connsiteX6" fmla="*/ 72205 w 140682"/>
                  <a:gd name="connsiteY6" fmla="*/ 89486 h 102071"/>
                  <a:gd name="connsiteX7" fmla="*/ 118491 w 140682"/>
                  <a:gd name="connsiteY7" fmla="*/ 98743 h 102071"/>
                  <a:gd name="connsiteX8" fmla="*/ 140091 w 140682"/>
                  <a:gd name="connsiteY8" fmla="*/ 67886 h 102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0682" h="102071">
                    <a:moveTo>
                      <a:pt x="140091" y="67886"/>
                    </a:moveTo>
                    <a:cubicBezTo>
                      <a:pt x="130833" y="43200"/>
                      <a:pt x="96890" y="30857"/>
                      <a:pt x="69118" y="12343"/>
                    </a:cubicBezTo>
                    <a:cubicBezTo>
                      <a:pt x="66033" y="12343"/>
                      <a:pt x="59861" y="3086"/>
                      <a:pt x="59861" y="3086"/>
                    </a:cubicBezTo>
                    <a:cubicBezTo>
                      <a:pt x="53690" y="0"/>
                      <a:pt x="50605" y="0"/>
                      <a:pt x="44433" y="0"/>
                    </a:cubicBezTo>
                    <a:cubicBezTo>
                      <a:pt x="29004" y="0"/>
                      <a:pt x="7404" y="9257"/>
                      <a:pt x="1234" y="24686"/>
                    </a:cubicBezTo>
                    <a:cubicBezTo>
                      <a:pt x="-4938" y="40114"/>
                      <a:pt x="13576" y="52457"/>
                      <a:pt x="22833" y="58628"/>
                    </a:cubicBezTo>
                    <a:cubicBezTo>
                      <a:pt x="38261" y="70972"/>
                      <a:pt x="53690" y="80229"/>
                      <a:pt x="72205" y="89486"/>
                    </a:cubicBezTo>
                    <a:cubicBezTo>
                      <a:pt x="84547" y="95657"/>
                      <a:pt x="96890" y="108000"/>
                      <a:pt x="118491" y="98743"/>
                    </a:cubicBezTo>
                    <a:cubicBezTo>
                      <a:pt x="133919" y="92571"/>
                      <a:pt x="143176" y="77143"/>
                      <a:pt x="140091" y="6788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3B9C20A2-5958-4F7C-BC03-7679329AD07D}"/>
                  </a:ext>
                </a:extLst>
              </p:cNvPr>
              <p:cNvSpPr/>
              <p:nvPr/>
            </p:nvSpPr>
            <p:spPr>
              <a:xfrm>
                <a:off x="25463906" y="9010467"/>
                <a:ext cx="143761" cy="102071"/>
              </a:xfrm>
              <a:custGeom>
                <a:avLst/>
                <a:gdLst>
                  <a:gd name="connsiteX0" fmla="*/ 143176 w 143761"/>
                  <a:gd name="connsiteY0" fmla="*/ 67886 h 102071"/>
                  <a:gd name="connsiteX1" fmla="*/ 69120 w 143761"/>
                  <a:gd name="connsiteY1" fmla="*/ 6172 h 102071"/>
                  <a:gd name="connsiteX2" fmla="*/ 59861 w 143761"/>
                  <a:gd name="connsiteY2" fmla="*/ 3086 h 102071"/>
                  <a:gd name="connsiteX3" fmla="*/ 44433 w 143761"/>
                  <a:gd name="connsiteY3" fmla="*/ 0 h 102071"/>
                  <a:gd name="connsiteX4" fmla="*/ 1234 w 143761"/>
                  <a:gd name="connsiteY4" fmla="*/ 24686 h 102071"/>
                  <a:gd name="connsiteX5" fmla="*/ 22834 w 143761"/>
                  <a:gd name="connsiteY5" fmla="*/ 58629 h 102071"/>
                  <a:gd name="connsiteX6" fmla="*/ 72205 w 143761"/>
                  <a:gd name="connsiteY6" fmla="*/ 89486 h 102071"/>
                  <a:gd name="connsiteX7" fmla="*/ 118491 w 143761"/>
                  <a:gd name="connsiteY7" fmla="*/ 98743 h 102071"/>
                  <a:gd name="connsiteX8" fmla="*/ 143176 w 143761"/>
                  <a:gd name="connsiteY8" fmla="*/ 67886 h 102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761" h="102071">
                    <a:moveTo>
                      <a:pt x="143176" y="67886"/>
                    </a:moveTo>
                    <a:cubicBezTo>
                      <a:pt x="140091" y="33943"/>
                      <a:pt x="96890" y="24686"/>
                      <a:pt x="69120" y="6172"/>
                    </a:cubicBezTo>
                    <a:cubicBezTo>
                      <a:pt x="66033" y="6172"/>
                      <a:pt x="62948" y="3086"/>
                      <a:pt x="59861" y="3086"/>
                    </a:cubicBezTo>
                    <a:cubicBezTo>
                      <a:pt x="53692" y="0"/>
                      <a:pt x="50605" y="0"/>
                      <a:pt x="44433" y="0"/>
                    </a:cubicBezTo>
                    <a:cubicBezTo>
                      <a:pt x="29004" y="0"/>
                      <a:pt x="7406" y="9257"/>
                      <a:pt x="1234" y="24686"/>
                    </a:cubicBezTo>
                    <a:cubicBezTo>
                      <a:pt x="-4938" y="40114"/>
                      <a:pt x="13576" y="52458"/>
                      <a:pt x="22834" y="58629"/>
                    </a:cubicBezTo>
                    <a:cubicBezTo>
                      <a:pt x="38263" y="70972"/>
                      <a:pt x="53692" y="80229"/>
                      <a:pt x="72205" y="89486"/>
                    </a:cubicBezTo>
                    <a:cubicBezTo>
                      <a:pt x="84549" y="95657"/>
                      <a:pt x="96890" y="108000"/>
                      <a:pt x="118491" y="98743"/>
                    </a:cubicBezTo>
                    <a:cubicBezTo>
                      <a:pt x="137004" y="92571"/>
                      <a:pt x="146263" y="77143"/>
                      <a:pt x="143176" y="6788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FE650EAA-98A7-4005-BFCC-F6078F847893}"/>
                  </a:ext>
                </a:extLst>
              </p:cNvPr>
              <p:cNvSpPr/>
              <p:nvPr/>
            </p:nvSpPr>
            <p:spPr>
              <a:xfrm>
                <a:off x="25445208" y="9044410"/>
                <a:ext cx="119446" cy="91520"/>
              </a:xfrm>
              <a:custGeom>
                <a:avLst/>
                <a:gdLst>
                  <a:gd name="connsiteX0" fmla="*/ 118675 w 119446"/>
                  <a:gd name="connsiteY0" fmla="*/ 64800 h 91520"/>
                  <a:gd name="connsiteX1" fmla="*/ 56961 w 119446"/>
                  <a:gd name="connsiteY1" fmla="*/ 6171 h 91520"/>
                  <a:gd name="connsiteX2" fmla="*/ 50789 w 119446"/>
                  <a:gd name="connsiteY2" fmla="*/ 3086 h 91520"/>
                  <a:gd name="connsiteX3" fmla="*/ 38446 w 119446"/>
                  <a:gd name="connsiteY3" fmla="*/ 0 h 91520"/>
                  <a:gd name="connsiteX4" fmla="*/ 1417 w 119446"/>
                  <a:gd name="connsiteY4" fmla="*/ 21600 h 91520"/>
                  <a:gd name="connsiteX5" fmla="*/ 19932 w 119446"/>
                  <a:gd name="connsiteY5" fmla="*/ 52457 h 91520"/>
                  <a:gd name="connsiteX6" fmla="*/ 63131 w 119446"/>
                  <a:gd name="connsiteY6" fmla="*/ 80229 h 91520"/>
                  <a:gd name="connsiteX7" fmla="*/ 100160 w 119446"/>
                  <a:gd name="connsiteY7" fmla="*/ 89486 h 91520"/>
                  <a:gd name="connsiteX8" fmla="*/ 118675 w 119446"/>
                  <a:gd name="connsiteY8" fmla="*/ 64800 h 91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9446" h="91520">
                    <a:moveTo>
                      <a:pt x="118675" y="64800"/>
                    </a:moveTo>
                    <a:cubicBezTo>
                      <a:pt x="115588" y="33943"/>
                      <a:pt x="81646" y="24686"/>
                      <a:pt x="56961" y="6171"/>
                    </a:cubicBezTo>
                    <a:cubicBezTo>
                      <a:pt x="53874" y="6171"/>
                      <a:pt x="53874" y="3086"/>
                      <a:pt x="50789" y="3086"/>
                    </a:cubicBezTo>
                    <a:cubicBezTo>
                      <a:pt x="47702" y="0"/>
                      <a:pt x="41532" y="0"/>
                      <a:pt x="38446" y="0"/>
                    </a:cubicBezTo>
                    <a:cubicBezTo>
                      <a:pt x="23017" y="0"/>
                      <a:pt x="7588" y="6171"/>
                      <a:pt x="1417" y="21600"/>
                    </a:cubicBezTo>
                    <a:cubicBezTo>
                      <a:pt x="-4753" y="37028"/>
                      <a:pt x="10675" y="46286"/>
                      <a:pt x="19932" y="52457"/>
                    </a:cubicBezTo>
                    <a:cubicBezTo>
                      <a:pt x="32274" y="61714"/>
                      <a:pt x="47702" y="74057"/>
                      <a:pt x="63131" y="80229"/>
                    </a:cubicBezTo>
                    <a:cubicBezTo>
                      <a:pt x="72390" y="86400"/>
                      <a:pt x="84731" y="95657"/>
                      <a:pt x="100160" y="89486"/>
                    </a:cubicBezTo>
                    <a:cubicBezTo>
                      <a:pt x="115588" y="86400"/>
                      <a:pt x="121760" y="74057"/>
                      <a:pt x="118675" y="6480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DF0C2A4D-EE78-4BC1-9419-A9610DAD934F}"/>
                  </a:ext>
                </a:extLst>
              </p:cNvPr>
              <p:cNvSpPr/>
              <p:nvPr/>
            </p:nvSpPr>
            <p:spPr>
              <a:xfrm>
                <a:off x="25430591" y="9084525"/>
                <a:ext cx="90091" cy="69961"/>
              </a:xfrm>
              <a:custGeom>
                <a:avLst/>
                <a:gdLst>
                  <a:gd name="connsiteX0" fmla="*/ 90091 w 90091"/>
                  <a:gd name="connsiteY0" fmla="*/ 49371 h 69961"/>
                  <a:gd name="connsiteX1" fmla="*/ 43806 w 90091"/>
                  <a:gd name="connsiteY1" fmla="*/ 6171 h 69961"/>
                  <a:gd name="connsiteX2" fmla="*/ 37634 w 90091"/>
                  <a:gd name="connsiteY2" fmla="*/ 3085 h 69961"/>
                  <a:gd name="connsiteX3" fmla="*/ 28377 w 90091"/>
                  <a:gd name="connsiteY3" fmla="*/ 0 h 69961"/>
                  <a:gd name="connsiteX4" fmla="*/ 605 w 90091"/>
                  <a:gd name="connsiteY4" fmla="*/ 15429 h 69961"/>
                  <a:gd name="connsiteX5" fmla="*/ 16034 w 90091"/>
                  <a:gd name="connsiteY5" fmla="*/ 40114 h 69961"/>
                  <a:gd name="connsiteX6" fmla="*/ 46891 w 90091"/>
                  <a:gd name="connsiteY6" fmla="*/ 61714 h 69961"/>
                  <a:gd name="connsiteX7" fmla="*/ 74663 w 90091"/>
                  <a:gd name="connsiteY7" fmla="*/ 67886 h 69961"/>
                  <a:gd name="connsiteX8" fmla="*/ 90091 w 90091"/>
                  <a:gd name="connsiteY8" fmla="*/ 49371 h 69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0091" h="69961">
                    <a:moveTo>
                      <a:pt x="90091" y="49371"/>
                    </a:moveTo>
                    <a:cubicBezTo>
                      <a:pt x="87007" y="27771"/>
                      <a:pt x="62319" y="18514"/>
                      <a:pt x="43806" y="6171"/>
                    </a:cubicBezTo>
                    <a:cubicBezTo>
                      <a:pt x="43806" y="6171"/>
                      <a:pt x="40721" y="3085"/>
                      <a:pt x="37634" y="3085"/>
                    </a:cubicBezTo>
                    <a:cubicBezTo>
                      <a:pt x="34549" y="3085"/>
                      <a:pt x="31462" y="0"/>
                      <a:pt x="28377" y="0"/>
                    </a:cubicBezTo>
                    <a:cubicBezTo>
                      <a:pt x="19120" y="0"/>
                      <a:pt x="3692" y="6171"/>
                      <a:pt x="605" y="15429"/>
                    </a:cubicBezTo>
                    <a:cubicBezTo>
                      <a:pt x="-2480" y="27771"/>
                      <a:pt x="6777" y="33943"/>
                      <a:pt x="16034" y="40114"/>
                    </a:cubicBezTo>
                    <a:cubicBezTo>
                      <a:pt x="25292" y="49371"/>
                      <a:pt x="34549" y="55543"/>
                      <a:pt x="46891" y="61714"/>
                    </a:cubicBezTo>
                    <a:cubicBezTo>
                      <a:pt x="53063" y="64800"/>
                      <a:pt x="62319" y="74057"/>
                      <a:pt x="74663" y="67886"/>
                    </a:cubicBezTo>
                    <a:cubicBezTo>
                      <a:pt x="87007" y="64800"/>
                      <a:pt x="90091" y="55543"/>
                      <a:pt x="90091" y="4937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1CC0333F-EEC6-4809-A19D-383FEC95D800}"/>
                  </a:ext>
                </a:extLst>
              </p:cNvPr>
              <p:cNvSpPr/>
              <p:nvPr/>
            </p:nvSpPr>
            <p:spPr>
              <a:xfrm>
                <a:off x="25462053" y="8976377"/>
                <a:ext cx="175114" cy="135918"/>
              </a:xfrm>
              <a:custGeom>
                <a:avLst/>
                <a:gdLst>
                  <a:gd name="connsiteX0" fmla="*/ 117259 w 175114"/>
                  <a:gd name="connsiteY0" fmla="*/ 135919 h 135918"/>
                  <a:gd name="connsiteX1" fmla="*/ 37029 w 175114"/>
                  <a:gd name="connsiteY1" fmla="*/ 101976 h 135918"/>
                  <a:gd name="connsiteX2" fmla="*/ 0 w 175114"/>
                  <a:gd name="connsiteY2" fmla="*/ 61862 h 135918"/>
                  <a:gd name="connsiteX3" fmla="*/ 6172 w 175114"/>
                  <a:gd name="connsiteY3" fmla="*/ 43348 h 135918"/>
                  <a:gd name="connsiteX4" fmla="*/ 52458 w 175114"/>
                  <a:gd name="connsiteY4" fmla="*/ 21748 h 135918"/>
                  <a:gd name="connsiteX5" fmla="*/ 52458 w 175114"/>
                  <a:gd name="connsiteY5" fmla="*/ 21748 h 135918"/>
                  <a:gd name="connsiteX6" fmla="*/ 58629 w 175114"/>
                  <a:gd name="connsiteY6" fmla="*/ 9405 h 135918"/>
                  <a:gd name="connsiteX7" fmla="*/ 80230 w 175114"/>
                  <a:gd name="connsiteY7" fmla="*/ 148 h 135918"/>
                  <a:gd name="connsiteX8" fmla="*/ 172801 w 175114"/>
                  <a:gd name="connsiteY8" fmla="*/ 43348 h 135918"/>
                  <a:gd name="connsiteX9" fmla="*/ 172801 w 175114"/>
                  <a:gd name="connsiteY9" fmla="*/ 52605 h 135918"/>
                  <a:gd name="connsiteX10" fmla="*/ 163544 w 175114"/>
                  <a:gd name="connsiteY10" fmla="*/ 52605 h 135918"/>
                  <a:gd name="connsiteX11" fmla="*/ 80230 w 175114"/>
                  <a:gd name="connsiteY11" fmla="*/ 9405 h 135918"/>
                  <a:gd name="connsiteX12" fmla="*/ 67886 w 175114"/>
                  <a:gd name="connsiteY12" fmla="*/ 15576 h 135918"/>
                  <a:gd name="connsiteX13" fmla="*/ 61714 w 175114"/>
                  <a:gd name="connsiteY13" fmla="*/ 31005 h 135918"/>
                  <a:gd name="connsiteX14" fmla="*/ 145029 w 175114"/>
                  <a:gd name="connsiteY14" fmla="*/ 92719 h 135918"/>
                  <a:gd name="connsiteX15" fmla="*/ 151201 w 175114"/>
                  <a:gd name="connsiteY15" fmla="*/ 105062 h 135918"/>
                  <a:gd name="connsiteX16" fmla="*/ 138857 w 175114"/>
                  <a:gd name="connsiteY16" fmla="*/ 126662 h 135918"/>
                  <a:gd name="connsiteX17" fmla="*/ 117259 w 175114"/>
                  <a:gd name="connsiteY17" fmla="*/ 135919 h 135918"/>
                  <a:gd name="connsiteX18" fmla="*/ 52458 w 175114"/>
                  <a:gd name="connsiteY18" fmla="*/ 34090 h 135918"/>
                  <a:gd name="connsiteX19" fmla="*/ 15429 w 175114"/>
                  <a:gd name="connsiteY19" fmla="*/ 49519 h 135918"/>
                  <a:gd name="connsiteX20" fmla="*/ 12344 w 175114"/>
                  <a:gd name="connsiteY20" fmla="*/ 58776 h 135918"/>
                  <a:gd name="connsiteX21" fmla="*/ 46286 w 175114"/>
                  <a:gd name="connsiteY21" fmla="*/ 89633 h 135918"/>
                  <a:gd name="connsiteX22" fmla="*/ 135772 w 175114"/>
                  <a:gd name="connsiteY22" fmla="*/ 117405 h 135918"/>
                  <a:gd name="connsiteX23" fmla="*/ 145029 w 175114"/>
                  <a:gd name="connsiteY23" fmla="*/ 108148 h 135918"/>
                  <a:gd name="connsiteX24" fmla="*/ 145029 w 175114"/>
                  <a:gd name="connsiteY24" fmla="*/ 108148 h 135918"/>
                  <a:gd name="connsiteX25" fmla="*/ 52458 w 175114"/>
                  <a:gd name="connsiteY25" fmla="*/ 34090 h 135918"/>
                  <a:gd name="connsiteX26" fmla="*/ 52458 w 175114"/>
                  <a:gd name="connsiteY26" fmla="*/ 34090 h 135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75114" h="135918">
                    <a:moveTo>
                      <a:pt x="117259" y="135919"/>
                    </a:moveTo>
                    <a:cubicBezTo>
                      <a:pt x="95658" y="135919"/>
                      <a:pt x="70973" y="123576"/>
                      <a:pt x="37029" y="101976"/>
                    </a:cubicBezTo>
                    <a:cubicBezTo>
                      <a:pt x="12344" y="83462"/>
                      <a:pt x="0" y="74205"/>
                      <a:pt x="0" y="61862"/>
                    </a:cubicBezTo>
                    <a:cubicBezTo>
                      <a:pt x="0" y="55691"/>
                      <a:pt x="0" y="49519"/>
                      <a:pt x="6172" y="43348"/>
                    </a:cubicBezTo>
                    <a:cubicBezTo>
                      <a:pt x="21600" y="27919"/>
                      <a:pt x="52458" y="21748"/>
                      <a:pt x="52458" y="21748"/>
                    </a:cubicBezTo>
                    <a:cubicBezTo>
                      <a:pt x="52458" y="21748"/>
                      <a:pt x="52458" y="21748"/>
                      <a:pt x="52458" y="21748"/>
                    </a:cubicBezTo>
                    <a:cubicBezTo>
                      <a:pt x="55544" y="15576"/>
                      <a:pt x="58629" y="12490"/>
                      <a:pt x="58629" y="9405"/>
                    </a:cubicBezTo>
                    <a:cubicBezTo>
                      <a:pt x="64801" y="3233"/>
                      <a:pt x="70973" y="148"/>
                      <a:pt x="80230" y="148"/>
                    </a:cubicBezTo>
                    <a:cubicBezTo>
                      <a:pt x="114172" y="-2938"/>
                      <a:pt x="169714" y="43348"/>
                      <a:pt x="172801" y="43348"/>
                    </a:cubicBezTo>
                    <a:cubicBezTo>
                      <a:pt x="175886" y="46433"/>
                      <a:pt x="175886" y="49519"/>
                      <a:pt x="172801" y="52605"/>
                    </a:cubicBezTo>
                    <a:cubicBezTo>
                      <a:pt x="169714" y="55691"/>
                      <a:pt x="166629" y="55691"/>
                      <a:pt x="163544" y="52605"/>
                    </a:cubicBezTo>
                    <a:cubicBezTo>
                      <a:pt x="148116" y="40262"/>
                      <a:pt x="104915" y="9405"/>
                      <a:pt x="80230" y="9405"/>
                    </a:cubicBezTo>
                    <a:cubicBezTo>
                      <a:pt x="74058" y="9405"/>
                      <a:pt x="70973" y="12490"/>
                      <a:pt x="67886" y="15576"/>
                    </a:cubicBezTo>
                    <a:cubicBezTo>
                      <a:pt x="61714" y="21748"/>
                      <a:pt x="61714" y="24834"/>
                      <a:pt x="61714" y="31005"/>
                    </a:cubicBezTo>
                    <a:cubicBezTo>
                      <a:pt x="64801" y="46433"/>
                      <a:pt x="92571" y="68033"/>
                      <a:pt x="145029" y="92719"/>
                    </a:cubicBezTo>
                    <a:cubicBezTo>
                      <a:pt x="145029" y="92719"/>
                      <a:pt x="151201" y="95805"/>
                      <a:pt x="151201" y="105062"/>
                    </a:cubicBezTo>
                    <a:cubicBezTo>
                      <a:pt x="151201" y="111233"/>
                      <a:pt x="148116" y="117405"/>
                      <a:pt x="138857" y="126662"/>
                    </a:cubicBezTo>
                    <a:cubicBezTo>
                      <a:pt x="135772" y="132834"/>
                      <a:pt x="126515" y="135919"/>
                      <a:pt x="117259" y="135919"/>
                    </a:cubicBezTo>
                    <a:close/>
                    <a:moveTo>
                      <a:pt x="52458" y="34090"/>
                    </a:moveTo>
                    <a:cubicBezTo>
                      <a:pt x="43201" y="34090"/>
                      <a:pt x="24687" y="40262"/>
                      <a:pt x="15429" y="49519"/>
                    </a:cubicBezTo>
                    <a:cubicBezTo>
                      <a:pt x="12344" y="52605"/>
                      <a:pt x="12344" y="55691"/>
                      <a:pt x="12344" y="58776"/>
                    </a:cubicBezTo>
                    <a:cubicBezTo>
                      <a:pt x="12344" y="68033"/>
                      <a:pt x="27772" y="80376"/>
                      <a:pt x="46286" y="89633"/>
                    </a:cubicBezTo>
                    <a:cubicBezTo>
                      <a:pt x="86402" y="120490"/>
                      <a:pt x="120344" y="129748"/>
                      <a:pt x="135772" y="117405"/>
                    </a:cubicBezTo>
                    <a:cubicBezTo>
                      <a:pt x="141944" y="111233"/>
                      <a:pt x="145029" y="108148"/>
                      <a:pt x="145029" y="108148"/>
                    </a:cubicBezTo>
                    <a:cubicBezTo>
                      <a:pt x="145029" y="108148"/>
                      <a:pt x="145029" y="108148"/>
                      <a:pt x="145029" y="108148"/>
                    </a:cubicBezTo>
                    <a:cubicBezTo>
                      <a:pt x="67886" y="68033"/>
                      <a:pt x="55544" y="49519"/>
                      <a:pt x="52458" y="34090"/>
                    </a:cubicBezTo>
                    <a:cubicBezTo>
                      <a:pt x="52458" y="37176"/>
                      <a:pt x="52458" y="34090"/>
                      <a:pt x="52458" y="3409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79D72030-8E10-4179-B9FB-1D74BE5BF738}"/>
                  </a:ext>
                </a:extLst>
              </p:cNvPr>
              <p:cNvSpPr/>
              <p:nvPr/>
            </p:nvSpPr>
            <p:spPr>
              <a:xfrm>
                <a:off x="25439297" y="9035153"/>
                <a:ext cx="131559" cy="108000"/>
              </a:xfrm>
              <a:custGeom>
                <a:avLst/>
                <a:gdLst>
                  <a:gd name="connsiteX0" fmla="*/ 99899 w 131559"/>
                  <a:gd name="connsiteY0" fmla="*/ 108000 h 108000"/>
                  <a:gd name="connsiteX1" fmla="*/ 96814 w 131559"/>
                  <a:gd name="connsiteY1" fmla="*/ 108000 h 108000"/>
                  <a:gd name="connsiteX2" fmla="*/ 10414 w 131559"/>
                  <a:gd name="connsiteY2" fmla="*/ 55543 h 108000"/>
                  <a:gd name="connsiteX3" fmla="*/ 1158 w 131559"/>
                  <a:gd name="connsiteY3" fmla="*/ 27772 h 108000"/>
                  <a:gd name="connsiteX4" fmla="*/ 28928 w 131559"/>
                  <a:gd name="connsiteY4" fmla="*/ 0 h 108000"/>
                  <a:gd name="connsiteX5" fmla="*/ 38185 w 131559"/>
                  <a:gd name="connsiteY5" fmla="*/ 3086 h 108000"/>
                  <a:gd name="connsiteX6" fmla="*/ 35100 w 131559"/>
                  <a:gd name="connsiteY6" fmla="*/ 12343 h 108000"/>
                  <a:gd name="connsiteX7" fmla="*/ 13499 w 131559"/>
                  <a:gd name="connsiteY7" fmla="*/ 30857 h 108000"/>
                  <a:gd name="connsiteX8" fmla="*/ 19671 w 131559"/>
                  <a:gd name="connsiteY8" fmla="*/ 46286 h 108000"/>
                  <a:gd name="connsiteX9" fmla="*/ 99899 w 131559"/>
                  <a:gd name="connsiteY9" fmla="*/ 95657 h 108000"/>
                  <a:gd name="connsiteX10" fmla="*/ 112243 w 131559"/>
                  <a:gd name="connsiteY10" fmla="*/ 89486 h 108000"/>
                  <a:gd name="connsiteX11" fmla="*/ 121499 w 131559"/>
                  <a:gd name="connsiteY11" fmla="*/ 74057 h 108000"/>
                  <a:gd name="connsiteX12" fmla="*/ 124586 w 131559"/>
                  <a:gd name="connsiteY12" fmla="*/ 67886 h 108000"/>
                  <a:gd name="connsiteX13" fmla="*/ 130756 w 131559"/>
                  <a:gd name="connsiteY13" fmla="*/ 70972 h 108000"/>
                  <a:gd name="connsiteX14" fmla="*/ 118414 w 131559"/>
                  <a:gd name="connsiteY14" fmla="*/ 98743 h 108000"/>
                  <a:gd name="connsiteX15" fmla="*/ 99899 w 131559"/>
                  <a:gd name="connsiteY15" fmla="*/ 108000 h 10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1559" h="108000">
                    <a:moveTo>
                      <a:pt x="99899" y="108000"/>
                    </a:moveTo>
                    <a:cubicBezTo>
                      <a:pt x="99899" y="108000"/>
                      <a:pt x="96814" y="108000"/>
                      <a:pt x="96814" y="108000"/>
                    </a:cubicBezTo>
                    <a:cubicBezTo>
                      <a:pt x="81385" y="104915"/>
                      <a:pt x="38185" y="83314"/>
                      <a:pt x="10414" y="55543"/>
                    </a:cubicBezTo>
                    <a:cubicBezTo>
                      <a:pt x="1158" y="46286"/>
                      <a:pt x="-1929" y="37028"/>
                      <a:pt x="1158" y="27772"/>
                    </a:cubicBezTo>
                    <a:cubicBezTo>
                      <a:pt x="4243" y="9257"/>
                      <a:pt x="28928" y="0"/>
                      <a:pt x="28928" y="0"/>
                    </a:cubicBezTo>
                    <a:cubicBezTo>
                      <a:pt x="32015" y="0"/>
                      <a:pt x="35100" y="0"/>
                      <a:pt x="38185" y="3086"/>
                    </a:cubicBezTo>
                    <a:cubicBezTo>
                      <a:pt x="38185" y="6171"/>
                      <a:pt x="38185" y="9257"/>
                      <a:pt x="35100" y="12343"/>
                    </a:cubicBezTo>
                    <a:cubicBezTo>
                      <a:pt x="28928" y="15429"/>
                      <a:pt x="16586" y="21600"/>
                      <a:pt x="13499" y="30857"/>
                    </a:cubicBezTo>
                    <a:cubicBezTo>
                      <a:pt x="13499" y="37028"/>
                      <a:pt x="13499" y="40114"/>
                      <a:pt x="19671" y="46286"/>
                    </a:cubicBezTo>
                    <a:cubicBezTo>
                      <a:pt x="44356" y="74057"/>
                      <a:pt x="84470" y="92571"/>
                      <a:pt x="99899" y="95657"/>
                    </a:cubicBezTo>
                    <a:cubicBezTo>
                      <a:pt x="106071" y="95657"/>
                      <a:pt x="109158" y="92571"/>
                      <a:pt x="112243" y="89486"/>
                    </a:cubicBezTo>
                    <a:cubicBezTo>
                      <a:pt x="118414" y="83314"/>
                      <a:pt x="121499" y="74057"/>
                      <a:pt x="121499" y="74057"/>
                    </a:cubicBezTo>
                    <a:cubicBezTo>
                      <a:pt x="121499" y="70972"/>
                      <a:pt x="121499" y="67886"/>
                      <a:pt x="124586" y="67886"/>
                    </a:cubicBezTo>
                    <a:cubicBezTo>
                      <a:pt x="127671" y="67886"/>
                      <a:pt x="130756" y="67886"/>
                      <a:pt x="130756" y="70972"/>
                    </a:cubicBezTo>
                    <a:cubicBezTo>
                      <a:pt x="133843" y="80229"/>
                      <a:pt x="127671" y="89486"/>
                      <a:pt x="118414" y="98743"/>
                    </a:cubicBezTo>
                    <a:cubicBezTo>
                      <a:pt x="112243" y="104915"/>
                      <a:pt x="106071" y="108000"/>
                      <a:pt x="99899" y="1080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FC81FE81-7404-4183-97BA-5DC2B6C684F8}"/>
                </a:ext>
              </a:extLst>
            </p:cNvPr>
            <p:cNvSpPr/>
            <p:nvPr/>
          </p:nvSpPr>
          <p:spPr>
            <a:xfrm>
              <a:off x="25353626" y="8986681"/>
              <a:ext cx="158618" cy="113358"/>
            </a:xfrm>
            <a:custGeom>
              <a:avLst/>
              <a:gdLst>
                <a:gd name="connsiteX0" fmla="*/ 123856 w 158618"/>
                <a:gd name="connsiteY0" fmla="*/ 8357 h 113358"/>
                <a:gd name="connsiteX1" fmla="*/ 12771 w 158618"/>
                <a:gd name="connsiteY1" fmla="*/ 23786 h 113358"/>
                <a:gd name="connsiteX2" fmla="*/ 3514 w 158618"/>
                <a:gd name="connsiteY2" fmla="*/ 113272 h 113358"/>
                <a:gd name="connsiteX3" fmla="*/ 59057 w 158618"/>
                <a:gd name="connsiteY3" fmla="*/ 63900 h 113358"/>
                <a:gd name="connsiteX4" fmla="*/ 123856 w 158618"/>
                <a:gd name="connsiteY4" fmla="*/ 70072 h 113358"/>
                <a:gd name="connsiteX5" fmla="*/ 151628 w 158618"/>
                <a:gd name="connsiteY5" fmla="*/ 85500 h 113358"/>
                <a:gd name="connsiteX6" fmla="*/ 123856 w 158618"/>
                <a:gd name="connsiteY6" fmla="*/ 8357 h 113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618" h="113358">
                  <a:moveTo>
                    <a:pt x="123856" y="8357"/>
                  </a:moveTo>
                  <a:cubicBezTo>
                    <a:pt x="92999" y="-10157"/>
                    <a:pt x="37457" y="5272"/>
                    <a:pt x="12771" y="23786"/>
                  </a:cubicBezTo>
                  <a:cubicBezTo>
                    <a:pt x="-5742" y="36129"/>
                    <a:pt x="428" y="116357"/>
                    <a:pt x="3514" y="113272"/>
                  </a:cubicBezTo>
                  <a:cubicBezTo>
                    <a:pt x="52885" y="104015"/>
                    <a:pt x="46713" y="70072"/>
                    <a:pt x="59057" y="63900"/>
                  </a:cubicBezTo>
                  <a:cubicBezTo>
                    <a:pt x="83742" y="54643"/>
                    <a:pt x="102258" y="60815"/>
                    <a:pt x="123856" y="70072"/>
                  </a:cubicBezTo>
                  <a:cubicBezTo>
                    <a:pt x="133115" y="73158"/>
                    <a:pt x="142372" y="91672"/>
                    <a:pt x="151628" y="85500"/>
                  </a:cubicBezTo>
                  <a:cubicBezTo>
                    <a:pt x="173229" y="73158"/>
                    <a:pt x="139285" y="17615"/>
                    <a:pt x="123856" y="8357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9675DB0E-E983-433F-955D-C8C440FF84E3}"/>
                </a:ext>
              </a:extLst>
            </p:cNvPr>
            <p:cNvSpPr/>
            <p:nvPr/>
          </p:nvSpPr>
          <p:spPr>
            <a:xfrm>
              <a:off x="25354053" y="8977811"/>
              <a:ext cx="170103" cy="131399"/>
            </a:xfrm>
            <a:custGeom>
              <a:avLst/>
              <a:gdLst>
                <a:gd name="connsiteX0" fmla="*/ 6172 w 170103"/>
                <a:gd name="connsiteY0" fmla="*/ 131400 h 131399"/>
                <a:gd name="connsiteX1" fmla="*/ 6172 w 170103"/>
                <a:gd name="connsiteY1" fmla="*/ 131400 h 131399"/>
                <a:gd name="connsiteX2" fmla="*/ 0 w 170103"/>
                <a:gd name="connsiteY2" fmla="*/ 125228 h 131399"/>
                <a:gd name="connsiteX3" fmla="*/ 6172 w 170103"/>
                <a:gd name="connsiteY3" fmla="*/ 119056 h 131399"/>
                <a:gd name="connsiteX4" fmla="*/ 6172 w 170103"/>
                <a:gd name="connsiteY4" fmla="*/ 119056 h 131399"/>
                <a:gd name="connsiteX5" fmla="*/ 58629 w 170103"/>
                <a:gd name="connsiteY5" fmla="*/ 75857 h 131399"/>
                <a:gd name="connsiteX6" fmla="*/ 61714 w 170103"/>
                <a:gd name="connsiteY6" fmla="*/ 72771 h 131399"/>
                <a:gd name="connsiteX7" fmla="*/ 135772 w 170103"/>
                <a:gd name="connsiteY7" fmla="*/ 85114 h 131399"/>
                <a:gd name="connsiteX8" fmla="*/ 154286 w 170103"/>
                <a:gd name="connsiteY8" fmla="*/ 94371 h 131399"/>
                <a:gd name="connsiteX9" fmla="*/ 157373 w 170103"/>
                <a:gd name="connsiteY9" fmla="*/ 88199 h 131399"/>
                <a:gd name="connsiteX10" fmla="*/ 123429 w 170103"/>
                <a:gd name="connsiteY10" fmla="*/ 23400 h 131399"/>
                <a:gd name="connsiteX11" fmla="*/ 18515 w 170103"/>
                <a:gd name="connsiteY11" fmla="*/ 38828 h 131399"/>
                <a:gd name="connsiteX12" fmla="*/ 9259 w 170103"/>
                <a:gd name="connsiteY12" fmla="*/ 35742 h 131399"/>
                <a:gd name="connsiteX13" fmla="*/ 12344 w 170103"/>
                <a:gd name="connsiteY13" fmla="*/ 26485 h 131399"/>
                <a:gd name="connsiteX14" fmla="*/ 129600 w 170103"/>
                <a:gd name="connsiteY14" fmla="*/ 11056 h 131399"/>
                <a:gd name="connsiteX15" fmla="*/ 169714 w 170103"/>
                <a:gd name="connsiteY15" fmla="*/ 85114 h 131399"/>
                <a:gd name="connsiteX16" fmla="*/ 157373 w 170103"/>
                <a:gd name="connsiteY16" fmla="*/ 100542 h 131399"/>
                <a:gd name="connsiteX17" fmla="*/ 126515 w 170103"/>
                <a:gd name="connsiteY17" fmla="*/ 91285 h 131399"/>
                <a:gd name="connsiteX18" fmla="*/ 64801 w 170103"/>
                <a:gd name="connsiteY18" fmla="*/ 78942 h 131399"/>
                <a:gd name="connsiteX19" fmla="*/ 6172 w 170103"/>
                <a:gd name="connsiteY19" fmla="*/ 131400 h 131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0103" h="131399">
                  <a:moveTo>
                    <a:pt x="6172" y="131400"/>
                  </a:moveTo>
                  <a:cubicBezTo>
                    <a:pt x="6172" y="131400"/>
                    <a:pt x="6172" y="131400"/>
                    <a:pt x="6172" y="131400"/>
                  </a:cubicBezTo>
                  <a:cubicBezTo>
                    <a:pt x="3087" y="131400"/>
                    <a:pt x="0" y="128314"/>
                    <a:pt x="0" y="125228"/>
                  </a:cubicBezTo>
                  <a:cubicBezTo>
                    <a:pt x="0" y="122142"/>
                    <a:pt x="3087" y="119056"/>
                    <a:pt x="6172" y="119056"/>
                  </a:cubicBezTo>
                  <a:cubicBezTo>
                    <a:pt x="6172" y="119056"/>
                    <a:pt x="6172" y="119056"/>
                    <a:pt x="6172" y="119056"/>
                  </a:cubicBezTo>
                  <a:cubicBezTo>
                    <a:pt x="46286" y="119056"/>
                    <a:pt x="55544" y="75857"/>
                    <a:pt x="58629" y="75857"/>
                  </a:cubicBezTo>
                  <a:cubicBezTo>
                    <a:pt x="58629" y="72771"/>
                    <a:pt x="61714" y="72771"/>
                    <a:pt x="61714" y="72771"/>
                  </a:cubicBezTo>
                  <a:cubicBezTo>
                    <a:pt x="92571" y="60428"/>
                    <a:pt x="117259" y="75857"/>
                    <a:pt x="135772" y="85114"/>
                  </a:cubicBezTo>
                  <a:cubicBezTo>
                    <a:pt x="145029" y="91285"/>
                    <a:pt x="151201" y="94371"/>
                    <a:pt x="154286" y="94371"/>
                  </a:cubicBezTo>
                  <a:cubicBezTo>
                    <a:pt x="154286" y="94371"/>
                    <a:pt x="157373" y="94371"/>
                    <a:pt x="157373" y="88199"/>
                  </a:cubicBezTo>
                  <a:cubicBezTo>
                    <a:pt x="160458" y="72771"/>
                    <a:pt x="148116" y="45000"/>
                    <a:pt x="123429" y="23400"/>
                  </a:cubicBezTo>
                  <a:cubicBezTo>
                    <a:pt x="92571" y="-4372"/>
                    <a:pt x="18515" y="38828"/>
                    <a:pt x="18515" y="38828"/>
                  </a:cubicBezTo>
                  <a:cubicBezTo>
                    <a:pt x="15429" y="41914"/>
                    <a:pt x="12344" y="38828"/>
                    <a:pt x="9259" y="35742"/>
                  </a:cubicBezTo>
                  <a:cubicBezTo>
                    <a:pt x="6172" y="32656"/>
                    <a:pt x="9259" y="29571"/>
                    <a:pt x="12344" y="26485"/>
                  </a:cubicBezTo>
                  <a:cubicBezTo>
                    <a:pt x="15429" y="23400"/>
                    <a:pt x="92571" y="-19801"/>
                    <a:pt x="129600" y="11056"/>
                  </a:cubicBezTo>
                  <a:cubicBezTo>
                    <a:pt x="157373" y="35742"/>
                    <a:pt x="172801" y="66599"/>
                    <a:pt x="169714" y="85114"/>
                  </a:cubicBezTo>
                  <a:cubicBezTo>
                    <a:pt x="169714" y="91285"/>
                    <a:pt x="163544" y="97457"/>
                    <a:pt x="157373" y="100542"/>
                  </a:cubicBezTo>
                  <a:cubicBezTo>
                    <a:pt x="148116" y="103628"/>
                    <a:pt x="138857" y="97457"/>
                    <a:pt x="126515" y="91285"/>
                  </a:cubicBezTo>
                  <a:cubicBezTo>
                    <a:pt x="111087" y="82028"/>
                    <a:pt x="92571" y="69685"/>
                    <a:pt x="64801" y="78942"/>
                  </a:cubicBezTo>
                  <a:cubicBezTo>
                    <a:pt x="61714" y="91285"/>
                    <a:pt x="46286" y="131400"/>
                    <a:pt x="6172" y="131400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801A04C5-E665-4D31-9F21-34A5ED2FE189}"/>
                </a:ext>
              </a:extLst>
            </p:cNvPr>
            <p:cNvSpPr/>
            <p:nvPr/>
          </p:nvSpPr>
          <p:spPr>
            <a:xfrm>
              <a:off x="23413971" y="8970353"/>
              <a:ext cx="298483" cy="731089"/>
            </a:xfrm>
            <a:custGeom>
              <a:avLst/>
              <a:gdLst>
                <a:gd name="connsiteX0" fmla="*/ 298484 w 298483"/>
                <a:gd name="connsiteY0" fmla="*/ 27771 h 731089"/>
                <a:gd name="connsiteX1" fmla="*/ 224426 w 298483"/>
                <a:gd name="connsiteY1" fmla="*/ 567771 h 731089"/>
                <a:gd name="connsiteX2" fmla="*/ 51627 w 298483"/>
                <a:gd name="connsiteY2" fmla="*/ 712800 h 731089"/>
                <a:gd name="connsiteX3" fmla="*/ 30026 w 298483"/>
                <a:gd name="connsiteY3" fmla="*/ 0 h 731089"/>
                <a:gd name="connsiteX4" fmla="*/ 298484 w 298483"/>
                <a:gd name="connsiteY4" fmla="*/ 27771 h 731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483" h="731089">
                  <a:moveTo>
                    <a:pt x="298484" y="27771"/>
                  </a:moveTo>
                  <a:lnTo>
                    <a:pt x="224426" y="567771"/>
                  </a:lnTo>
                  <a:cubicBezTo>
                    <a:pt x="224426" y="567771"/>
                    <a:pt x="150368" y="796114"/>
                    <a:pt x="51627" y="712800"/>
                  </a:cubicBezTo>
                  <a:cubicBezTo>
                    <a:pt x="-50203" y="632571"/>
                    <a:pt x="30026" y="0"/>
                    <a:pt x="30026" y="0"/>
                  </a:cubicBezTo>
                  <a:lnTo>
                    <a:pt x="298484" y="27771"/>
                  </a:ln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A8E1BC22-6341-4FCD-B15F-6259206FC191}"/>
                </a:ext>
              </a:extLst>
            </p:cNvPr>
            <p:cNvSpPr/>
            <p:nvPr/>
          </p:nvSpPr>
          <p:spPr>
            <a:xfrm>
              <a:off x="23379196" y="8507496"/>
              <a:ext cx="434645" cy="590850"/>
            </a:xfrm>
            <a:custGeom>
              <a:avLst/>
              <a:gdLst>
                <a:gd name="connsiteX0" fmla="*/ 0 w 434645"/>
                <a:gd name="connsiteY0" fmla="*/ 518400 h 590850"/>
                <a:gd name="connsiteX1" fmla="*/ 314743 w 434645"/>
                <a:gd name="connsiteY1" fmla="*/ 0 h 590850"/>
                <a:gd name="connsiteX2" fmla="*/ 422743 w 434645"/>
                <a:gd name="connsiteY2" fmla="*/ 586286 h 590850"/>
                <a:gd name="connsiteX3" fmla="*/ 0 w 434645"/>
                <a:gd name="connsiteY3" fmla="*/ 518400 h 59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4645" h="590850">
                  <a:moveTo>
                    <a:pt x="0" y="518400"/>
                  </a:moveTo>
                  <a:cubicBezTo>
                    <a:pt x="0" y="518400"/>
                    <a:pt x="166629" y="0"/>
                    <a:pt x="314743" y="0"/>
                  </a:cubicBezTo>
                  <a:cubicBezTo>
                    <a:pt x="487544" y="0"/>
                    <a:pt x="422743" y="586286"/>
                    <a:pt x="422743" y="586286"/>
                  </a:cubicBezTo>
                  <a:cubicBezTo>
                    <a:pt x="422743" y="586286"/>
                    <a:pt x="191315" y="617143"/>
                    <a:pt x="0" y="518400"/>
                  </a:cubicBezTo>
                  <a:close/>
                </a:path>
              </a:pathLst>
            </a:custGeom>
            <a:solidFill>
              <a:srgbClr val="F6EBE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4510E135-37AA-408D-9DF8-82D538546518}"/>
                </a:ext>
              </a:extLst>
            </p:cNvPr>
            <p:cNvSpPr/>
            <p:nvPr/>
          </p:nvSpPr>
          <p:spPr>
            <a:xfrm>
              <a:off x="23687768" y="8500046"/>
              <a:ext cx="124058" cy="578306"/>
            </a:xfrm>
            <a:custGeom>
              <a:avLst/>
              <a:gdLst>
                <a:gd name="connsiteX0" fmla="*/ 114172 w 124058"/>
                <a:gd name="connsiteY0" fmla="*/ 578307 h 578306"/>
                <a:gd name="connsiteX1" fmla="*/ 114172 w 124058"/>
                <a:gd name="connsiteY1" fmla="*/ 578307 h 578306"/>
                <a:gd name="connsiteX2" fmla="*/ 108000 w 124058"/>
                <a:gd name="connsiteY2" fmla="*/ 572135 h 578306"/>
                <a:gd name="connsiteX3" fmla="*/ 114172 w 124058"/>
                <a:gd name="connsiteY3" fmla="*/ 226535 h 578306"/>
                <a:gd name="connsiteX4" fmla="*/ 3087 w 124058"/>
                <a:gd name="connsiteY4" fmla="*/ 10535 h 578306"/>
                <a:gd name="connsiteX5" fmla="*/ 0 w 124058"/>
                <a:gd name="connsiteY5" fmla="*/ 4364 h 578306"/>
                <a:gd name="connsiteX6" fmla="*/ 6172 w 124058"/>
                <a:gd name="connsiteY6" fmla="*/ 1278 h 578306"/>
                <a:gd name="connsiteX7" fmla="*/ 123429 w 124058"/>
                <a:gd name="connsiteY7" fmla="*/ 229621 h 578306"/>
                <a:gd name="connsiteX8" fmla="*/ 117259 w 124058"/>
                <a:gd name="connsiteY8" fmla="*/ 575221 h 578306"/>
                <a:gd name="connsiteX9" fmla="*/ 114172 w 124058"/>
                <a:gd name="connsiteY9" fmla="*/ 578307 h 578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058" h="578306">
                  <a:moveTo>
                    <a:pt x="114172" y="578307"/>
                  </a:moveTo>
                  <a:cubicBezTo>
                    <a:pt x="114172" y="578307"/>
                    <a:pt x="114172" y="578307"/>
                    <a:pt x="114172" y="578307"/>
                  </a:cubicBezTo>
                  <a:cubicBezTo>
                    <a:pt x="111087" y="578307"/>
                    <a:pt x="108000" y="575221"/>
                    <a:pt x="108000" y="572135"/>
                  </a:cubicBezTo>
                  <a:cubicBezTo>
                    <a:pt x="108000" y="569050"/>
                    <a:pt x="117259" y="411678"/>
                    <a:pt x="114172" y="226535"/>
                  </a:cubicBezTo>
                  <a:cubicBezTo>
                    <a:pt x="111087" y="47564"/>
                    <a:pt x="6172" y="10535"/>
                    <a:pt x="3087" y="10535"/>
                  </a:cubicBezTo>
                  <a:cubicBezTo>
                    <a:pt x="0" y="10535"/>
                    <a:pt x="0" y="7450"/>
                    <a:pt x="0" y="4364"/>
                  </a:cubicBezTo>
                  <a:cubicBezTo>
                    <a:pt x="0" y="1278"/>
                    <a:pt x="3087" y="-1807"/>
                    <a:pt x="6172" y="1278"/>
                  </a:cubicBezTo>
                  <a:cubicBezTo>
                    <a:pt x="12344" y="1278"/>
                    <a:pt x="120344" y="41392"/>
                    <a:pt x="123429" y="229621"/>
                  </a:cubicBezTo>
                  <a:cubicBezTo>
                    <a:pt x="126515" y="414764"/>
                    <a:pt x="117259" y="575221"/>
                    <a:pt x="117259" y="575221"/>
                  </a:cubicBezTo>
                  <a:cubicBezTo>
                    <a:pt x="120344" y="578307"/>
                    <a:pt x="117259" y="578307"/>
                    <a:pt x="114172" y="578307"/>
                  </a:cubicBezTo>
                  <a:close/>
                </a:path>
              </a:pathLst>
            </a:custGeom>
            <a:solidFill>
              <a:srgbClr val="38343B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533C77F9-5C53-47DD-9FC4-777C404EE866}"/>
                </a:ext>
              </a:extLst>
            </p:cNvPr>
            <p:cNvSpPr/>
            <p:nvPr/>
          </p:nvSpPr>
          <p:spPr>
            <a:xfrm>
              <a:off x="23424202" y="9312820"/>
              <a:ext cx="866226" cy="406168"/>
            </a:xfrm>
            <a:custGeom>
              <a:avLst/>
              <a:gdLst>
                <a:gd name="connsiteX0" fmla="*/ 812825 w 866226"/>
                <a:gd name="connsiteY0" fmla="*/ 145076 h 406168"/>
                <a:gd name="connsiteX1" fmla="*/ 81510 w 866226"/>
                <a:gd name="connsiteY1" fmla="*/ 404276 h 406168"/>
                <a:gd name="connsiteX2" fmla="*/ 62995 w 866226"/>
                <a:gd name="connsiteY2" fmla="*/ 166676 h 406168"/>
                <a:gd name="connsiteX3" fmla="*/ 865280 w 866226"/>
                <a:gd name="connsiteY3" fmla="*/ 48 h 406168"/>
                <a:gd name="connsiteX4" fmla="*/ 812825 w 866226"/>
                <a:gd name="connsiteY4" fmla="*/ 145076 h 406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6226" h="406168">
                  <a:moveTo>
                    <a:pt x="812825" y="145076"/>
                  </a:moveTo>
                  <a:cubicBezTo>
                    <a:pt x="812825" y="145076"/>
                    <a:pt x="164825" y="432048"/>
                    <a:pt x="81510" y="404276"/>
                  </a:cubicBezTo>
                  <a:cubicBezTo>
                    <a:pt x="-1805" y="376505"/>
                    <a:pt x="-41919" y="228391"/>
                    <a:pt x="62995" y="166676"/>
                  </a:cubicBezTo>
                  <a:cubicBezTo>
                    <a:pt x="164825" y="104962"/>
                    <a:pt x="856023" y="3133"/>
                    <a:pt x="865280" y="48"/>
                  </a:cubicBezTo>
                  <a:cubicBezTo>
                    <a:pt x="874539" y="-3038"/>
                    <a:pt x="812825" y="145076"/>
                    <a:pt x="812825" y="145076"/>
                  </a:cubicBezTo>
                  <a:close/>
                </a:path>
              </a:pathLst>
            </a:custGeom>
            <a:solidFill>
              <a:srgbClr val="F49F84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1057C68A-24F4-43F6-8ECA-A5B13BD31BC7}"/>
                </a:ext>
              </a:extLst>
            </p:cNvPr>
            <p:cNvSpPr/>
            <p:nvPr/>
          </p:nvSpPr>
          <p:spPr>
            <a:xfrm>
              <a:off x="23546597" y="9417782"/>
              <a:ext cx="110313" cy="52457"/>
            </a:xfrm>
            <a:custGeom>
              <a:avLst/>
              <a:gdLst>
                <a:gd name="connsiteX0" fmla="*/ 5401 w 110313"/>
                <a:gd name="connsiteY0" fmla="*/ 52457 h 52457"/>
                <a:gd name="connsiteX1" fmla="*/ 2314 w 110313"/>
                <a:gd name="connsiteY1" fmla="*/ 49371 h 52457"/>
                <a:gd name="connsiteX2" fmla="*/ 2314 w 110313"/>
                <a:gd name="connsiteY2" fmla="*/ 40114 h 52457"/>
                <a:gd name="connsiteX3" fmla="*/ 104144 w 110313"/>
                <a:gd name="connsiteY3" fmla="*/ 0 h 52457"/>
                <a:gd name="connsiteX4" fmla="*/ 110314 w 110313"/>
                <a:gd name="connsiteY4" fmla="*/ 6171 h 52457"/>
                <a:gd name="connsiteX5" fmla="*/ 104144 w 110313"/>
                <a:gd name="connsiteY5" fmla="*/ 12343 h 52457"/>
                <a:gd name="connsiteX6" fmla="*/ 11572 w 110313"/>
                <a:gd name="connsiteY6" fmla="*/ 49371 h 52457"/>
                <a:gd name="connsiteX7" fmla="*/ 5401 w 110313"/>
                <a:gd name="connsiteY7" fmla="*/ 52457 h 52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313" h="52457">
                  <a:moveTo>
                    <a:pt x="5401" y="52457"/>
                  </a:moveTo>
                  <a:cubicBezTo>
                    <a:pt x="2314" y="52457"/>
                    <a:pt x="2314" y="52457"/>
                    <a:pt x="2314" y="49371"/>
                  </a:cubicBezTo>
                  <a:cubicBezTo>
                    <a:pt x="-771" y="46286"/>
                    <a:pt x="-771" y="43200"/>
                    <a:pt x="2314" y="40114"/>
                  </a:cubicBezTo>
                  <a:cubicBezTo>
                    <a:pt x="51686" y="0"/>
                    <a:pt x="101057" y="0"/>
                    <a:pt x="104144" y="0"/>
                  </a:cubicBezTo>
                  <a:cubicBezTo>
                    <a:pt x="107229" y="0"/>
                    <a:pt x="110314" y="3085"/>
                    <a:pt x="110314" y="6171"/>
                  </a:cubicBezTo>
                  <a:cubicBezTo>
                    <a:pt x="110314" y="9257"/>
                    <a:pt x="107229" y="12343"/>
                    <a:pt x="104144" y="12343"/>
                  </a:cubicBezTo>
                  <a:cubicBezTo>
                    <a:pt x="104144" y="12343"/>
                    <a:pt x="57858" y="12343"/>
                    <a:pt x="11572" y="49371"/>
                  </a:cubicBezTo>
                  <a:cubicBezTo>
                    <a:pt x="8486" y="52457"/>
                    <a:pt x="8486" y="52457"/>
                    <a:pt x="5401" y="52457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7" name="图形 1">
              <a:extLst>
                <a:ext uri="{FF2B5EF4-FFF2-40B4-BE49-F238E27FC236}">
                  <a16:creationId xmlns:a16="http://schemas.microsoft.com/office/drawing/2014/main" id="{30998EEF-A3CD-42F2-8AC5-F287E13195EE}"/>
                </a:ext>
              </a:extLst>
            </p:cNvPr>
            <p:cNvGrpSpPr/>
            <p:nvPr/>
          </p:nvGrpSpPr>
          <p:grpSpPr>
            <a:xfrm>
              <a:off x="24228797" y="9186012"/>
              <a:ext cx="206924" cy="282412"/>
              <a:chOff x="24228797" y="9186012"/>
              <a:chExt cx="206924" cy="282412"/>
            </a:xfrm>
          </p:grpSpPr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CD27791D-A2B6-4C22-AA72-26E1429A2141}"/>
                  </a:ext>
                </a:extLst>
              </p:cNvPr>
              <p:cNvSpPr/>
              <p:nvPr/>
            </p:nvSpPr>
            <p:spPr>
              <a:xfrm>
                <a:off x="24230640" y="9186012"/>
                <a:ext cx="138350" cy="138059"/>
              </a:xfrm>
              <a:custGeom>
                <a:avLst/>
                <a:gdLst>
                  <a:gd name="connsiteX0" fmla="*/ 49585 w 138350"/>
                  <a:gd name="connsiteY0" fmla="*/ 28113 h 138059"/>
                  <a:gd name="connsiteX1" fmla="*/ 120557 w 138350"/>
                  <a:gd name="connsiteY1" fmla="*/ 342 h 138059"/>
                  <a:gd name="connsiteX2" fmla="*/ 135985 w 138350"/>
                  <a:gd name="connsiteY2" fmla="*/ 28113 h 138059"/>
                  <a:gd name="connsiteX3" fmla="*/ 83529 w 138350"/>
                  <a:gd name="connsiteY3" fmla="*/ 68227 h 138059"/>
                  <a:gd name="connsiteX4" fmla="*/ 40329 w 138350"/>
                  <a:gd name="connsiteY4" fmla="*/ 117598 h 138059"/>
                  <a:gd name="connsiteX5" fmla="*/ 27985 w 138350"/>
                  <a:gd name="connsiteY5" fmla="*/ 120684 h 138059"/>
                  <a:gd name="connsiteX6" fmla="*/ 215 w 138350"/>
                  <a:gd name="connsiteY6" fmla="*/ 133027 h 138059"/>
                  <a:gd name="connsiteX7" fmla="*/ 49585 w 138350"/>
                  <a:gd name="connsiteY7" fmla="*/ 28113 h 138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8350" h="138059">
                    <a:moveTo>
                      <a:pt x="49585" y="28113"/>
                    </a:moveTo>
                    <a:cubicBezTo>
                      <a:pt x="71186" y="12684"/>
                      <a:pt x="95871" y="6513"/>
                      <a:pt x="120557" y="342"/>
                    </a:cubicBezTo>
                    <a:cubicBezTo>
                      <a:pt x="135985" y="-2744"/>
                      <a:pt x="142157" y="15770"/>
                      <a:pt x="135985" y="28113"/>
                    </a:cubicBezTo>
                    <a:cubicBezTo>
                      <a:pt x="123643" y="49713"/>
                      <a:pt x="102043" y="55884"/>
                      <a:pt x="83529" y="68227"/>
                    </a:cubicBezTo>
                    <a:cubicBezTo>
                      <a:pt x="65014" y="83656"/>
                      <a:pt x="58842" y="105256"/>
                      <a:pt x="40329" y="117598"/>
                    </a:cubicBezTo>
                    <a:cubicBezTo>
                      <a:pt x="37244" y="120684"/>
                      <a:pt x="31072" y="120684"/>
                      <a:pt x="27985" y="120684"/>
                    </a:cubicBezTo>
                    <a:cubicBezTo>
                      <a:pt x="15643" y="123770"/>
                      <a:pt x="215" y="148455"/>
                      <a:pt x="215" y="133027"/>
                    </a:cubicBezTo>
                    <a:cubicBezTo>
                      <a:pt x="-2872" y="86741"/>
                      <a:pt x="27985" y="46627"/>
                      <a:pt x="49585" y="28113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83B9B31A-8DCF-4A73-A43B-A98486B2F7BC}"/>
                  </a:ext>
                </a:extLst>
              </p:cNvPr>
              <p:cNvSpPr/>
              <p:nvPr/>
            </p:nvSpPr>
            <p:spPr>
              <a:xfrm>
                <a:off x="24228797" y="9254239"/>
                <a:ext cx="193184" cy="214185"/>
              </a:xfrm>
              <a:custGeom>
                <a:avLst/>
                <a:gdLst>
                  <a:gd name="connsiteX0" fmla="*/ 174857 w 193184"/>
                  <a:gd name="connsiteY0" fmla="*/ 135771 h 214185"/>
                  <a:gd name="connsiteX1" fmla="*/ 174857 w 193184"/>
                  <a:gd name="connsiteY1" fmla="*/ 135771 h 214185"/>
                  <a:gd name="connsiteX2" fmla="*/ 181028 w 193184"/>
                  <a:gd name="connsiteY2" fmla="*/ 83314 h 214185"/>
                  <a:gd name="connsiteX3" fmla="*/ 190285 w 193184"/>
                  <a:gd name="connsiteY3" fmla="*/ 55543 h 214185"/>
                  <a:gd name="connsiteX4" fmla="*/ 181028 w 193184"/>
                  <a:gd name="connsiteY4" fmla="*/ 46286 h 214185"/>
                  <a:gd name="connsiteX5" fmla="*/ 177943 w 193184"/>
                  <a:gd name="connsiteY5" fmla="*/ 43200 h 214185"/>
                  <a:gd name="connsiteX6" fmla="*/ 184113 w 193184"/>
                  <a:gd name="connsiteY6" fmla="*/ 40114 h 214185"/>
                  <a:gd name="connsiteX7" fmla="*/ 181028 w 193184"/>
                  <a:gd name="connsiteY7" fmla="*/ 6171 h 214185"/>
                  <a:gd name="connsiteX8" fmla="*/ 162515 w 193184"/>
                  <a:gd name="connsiteY8" fmla="*/ 0 h 214185"/>
                  <a:gd name="connsiteX9" fmla="*/ 162515 w 193184"/>
                  <a:gd name="connsiteY9" fmla="*/ 0 h 214185"/>
                  <a:gd name="connsiteX10" fmla="*/ 159428 w 193184"/>
                  <a:gd name="connsiteY10" fmla="*/ 0 h 214185"/>
                  <a:gd name="connsiteX11" fmla="*/ 153256 w 193184"/>
                  <a:gd name="connsiteY11" fmla="*/ 0 h 214185"/>
                  <a:gd name="connsiteX12" fmla="*/ 8229 w 193184"/>
                  <a:gd name="connsiteY12" fmla="*/ 61714 h 214185"/>
                  <a:gd name="connsiteX13" fmla="*/ 8229 w 193184"/>
                  <a:gd name="connsiteY13" fmla="*/ 203657 h 214185"/>
                  <a:gd name="connsiteX14" fmla="*/ 128571 w 193184"/>
                  <a:gd name="connsiteY14" fmla="*/ 191314 h 214185"/>
                  <a:gd name="connsiteX15" fmla="*/ 128571 w 193184"/>
                  <a:gd name="connsiteY15" fmla="*/ 191314 h 214185"/>
                  <a:gd name="connsiteX16" fmla="*/ 181028 w 193184"/>
                  <a:gd name="connsiteY16" fmla="*/ 163543 h 214185"/>
                  <a:gd name="connsiteX17" fmla="*/ 174857 w 193184"/>
                  <a:gd name="connsiteY17" fmla="*/ 135771 h 214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93184" h="214185">
                    <a:moveTo>
                      <a:pt x="174857" y="135771"/>
                    </a:moveTo>
                    <a:cubicBezTo>
                      <a:pt x="174857" y="135771"/>
                      <a:pt x="174857" y="135771"/>
                      <a:pt x="174857" y="135771"/>
                    </a:cubicBezTo>
                    <a:cubicBezTo>
                      <a:pt x="196457" y="120343"/>
                      <a:pt x="199542" y="95657"/>
                      <a:pt x="181028" y="83314"/>
                    </a:cubicBezTo>
                    <a:cubicBezTo>
                      <a:pt x="190285" y="77143"/>
                      <a:pt x="193372" y="64800"/>
                      <a:pt x="190285" y="55543"/>
                    </a:cubicBezTo>
                    <a:cubicBezTo>
                      <a:pt x="187200" y="49371"/>
                      <a:pt x="184113" y="49371"/>
                      <a:pt x="181028" y="46286"/>
                    </a:cubicBezTo>
                    <a:cubicBezTo>
                      <a:pt x="181028" y="46286"/>
                      <a:pt x="177943" y="43200"/>
                      <a:pt x="177943" y="43200"/>
                    </a:cubicBezTo>
                    <a:cubicBezTo>
                      <a:pt x="181028" y="40114"/>
                      <a:pt x="181028" y="40114"/>
                      <a:pt x="184113" y="40114"/>
                    </a:cubicBezTo>
                    <a:cubicBezTo>
                      <a:pt x="193372" y="33943"/>
                      <a:pt x="187200" y="12343"/>
                      <a:pt x="181028" y="6171"/>
                    </a:cubicBezTo>
                    <a:cubicBezTo>
                      <a:pt x="177943" y="3085"/>
                      <a:pt x="168685" y="0"/>
                      <a:pt x="162515" y="0"/>
                    </a:cubicBezTo>
                    <a:lnTo>
                      <a:pt x="162515" y="0"/>
                    </a:lnTo>
                    <a:cubicBezTo>
                      <a:pt x="162515" y="0"/>
                      <a:pt x="162515" y="0"/>
                      <a:pt x="159428" y="0"/>
                    </a:cubicBezTo>
                    <a:cubicBezTo>
                      <a:pt x="156343" y="0"/>
                      <a:pt x="156343" y="0"/>
                      <a:pt x="153256" y="0"/>
                    </a:cubicBezTo>
                    <a:cubicBezTo>
                      <a:pt x="128571" y="3085"/>
                      <a:pt x="54515" y="15429"/>
                      <a:pt x="8229" y="61714"/>
                    </a:cubicBezTo>
                    <a:cubicBezTo>
                      <a:pt x="-10286" y="80228"/>
                      <a:pt x="8229" y="185143"/>
                      <a:pt x="8229" y="203657"/>
                    </a:cubicBezTo>
                    <a:cubicBezTo>
                      <a:pt x="8229" y="225257"/>
                      <a:pt x="94629" y="209829"/>
                      <a:pt x="128571" y="191314"/>
                    </a:cubicBezTo>
                    <a:cubicBezTo>
                      <a:pt x="128571" y="191314"/>
                      <a:pt x="128571" y="191314"/>
                      <a:pt x="128571" y="191314"/>
                    </a:cubicBezTo>
                    <a:cubicBezTo>
                      <a:pt x="147086" y="188228"/>
                      <a:pt x="165600" y="178972"/>
                      <a:pt x="181028" y="163543"/>
                    </a:cubicBezTo>
                    <a:cubicBezTo>
                      <a:pt x="187200" y="151200"/>
                      <a:pt x="184113" y="138857"/>
                      <a:pt x="174857" y="13577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64B7E77E-5ACC-4586-AD52-97F80AB51F38}"/>
                  </a:ext>
                </a:extLst>
              </p:cNvPr>
              <p:cNvSpPr/>
              <p:nvPr/>
            </p:nvSpPr>
            <p:spPr>
              <a:xfrm>
                <a:off x="24286397" y="9245657"/>
                <a:ext cx="149324" cy="212238"/>
              </a:xfrm>
              <a:custGeom>
                <a:avLst/>
                <a:gdLst>
                  <a:gd name="connsiteX0" fmla="*/ 49371 w 149324"/>
                  <a:gd name="connsiteY0" fmla="*/ 212239 h 212238"/>
                  <a:gd name="connsiteX1" fmla="*/ 43201 w 149324"/>
                  <a:gd name="connsiteY1" fmla="*/ 206067 h 212238"/>
                  <a:gd name="connsiteX2" fmla="*/ 49371 w 149324"/>
                  <a:gd name="connsiteY2" fmla="*/ 199896 h 212238"/>
                  <a:gd name="connsiteX3" fmla="*/ 111085 w 149324"/>
                  <a:gd name="connsiteY3" fmla="*/ 175210 h 212238"/>
                  <a:gd name="connsiteX4" fmla="*/ 120344 w 149324"/>
                  <a:gd name="connsiteY4" fmla="*/ 156696 h 212238"/>
                  <a:gd name="connsiteX5" fmla="*/ 117257 w 149324"/>
                  <a:gd name="connsiteY5" fmla="*/ 150524 h 212238"/>
                  <a:gd name="connsiteX6" fmla="*/ 114172 w 149324"/>
                  <a:gd name="connsiteY6" fmla="*/ 144353 h 212238"/>
                  <a:gd name="connsiteX7" fmla="*/ 117257 w 149324"/>
                  <a:gd name="connsiteY7" fmla="*/ 138182 h 212238"/>
                  <a:gd name="connsiteX8" fmla="*/ 132685 w 149324"/>
                  <a:gd name="connsiteY8" fmla="*/ 113496 h 212238"/>
                  <a:gd name="connsiteX9" fmla="*/ 126514 w 149324"/>
                  <a:gd name="connsiteY9" fmla="*/ 101153 h 212238"/>
                  <a:gd name="connsiteX10" fmla="*/ 126514 w 149324"/>
                  <a:gd name="connsiteY10" fmla="*/ 91896 h 212238"/>
                  <a:gd name="connsiteX11" fmla="*/ 135772 w 149324"/>
                  <a:gd name="connsiteY11" fmla="*/ 67210 h 212238"/>
                  <a:gd name="connsiteX12" fmla="*/ 117257 w 149324"/>
                  <a:gd name="connsiteY12" fmla="*/ 54868 h 212238"/>
                  <a:gd name="connsiteX13" fmla="*/ 111085 w 149324"/>
                  <a:gd name="connsiteY13" fmla="*/ 48696 h 212238"/>
                  <a:gd name="connsiteX14" fmla="*/ 114172 w 149324"/>
                  <a:gd name="connsiteY14" fmla="*/ 42524 h 212238"/>
                  <a:gd name="connsiteX15" fmla="*/ 129600 w 149324"/>
                  <a:gd name="connsiteY15" fmla="*/ 24010 h 212238"/>
                  <a:gd name="connsiteX16" fmla="*/ 123429 w 149324"/>
                  <a:gd name="connsiteY16" fmla="*/ 14753 h 212238"/>
                  <a:gd name="connsiteX17" fmla="*/ 9257 w 149324"/>
                  <a:gd name="connsiteY17" fmla="*/ 36353 h 212238"/>
                  <a:gd name="connsiteX18" fmla="*/ 0 w 149324"/>
                  <a:gd name="connsiteY18" fmla="*/ 33268 h 212238"/>
                  <a:gd name="connsiteX19" fmla="*/ 3085 w 149324"/>
                  <a:gd name="connsiteY19" fmla="*/ 24010 h 212238"/>
                  <a:gd name="connsiteX20" fmla="*/ 129600 w 149324"/>
                  <a:gd name="connsiteY20" fmla="*/ 5496 h 212238"/>
                  <a:gd name="connsiteX21" fmla="*/ 141942 w 149324"/>
                  <a:gd name="connsiteY21" fmla="*/ 24010 h 212238"/>
                  <a:gd name="connsiteX22" fmla="*/ 129600 w 149324"/>
                  <a:gd name="connsiteY22" fmla="*/ 45610 h 212238"/>
                  <a:gd name="connsiteX23" fmla="*/ 148114 w 149324"/>
                  <a:gd name="connsiteY23" fmla="*/ 61039 h 212238"/>
                  <a:gd name="connsiteX24" fmla="*/ 141942 w 149324"/>
                  <a:gd name="connsiteY24" fmla="*/ 94982 h 212238"/>
                  <a:gd name="connsiteX25" fmla="*/ 148114 w 149324"/>
                  <a:gd name="connsiteY25" fmla="*/ 113496 h 212238"/>
                  <a:gd name="connsiteX26" fmla="*/ 132685 w 149324"/>
                  <a:gd name="connsiteY26" fmla="*/ 144353 h 212238"/>
                  <a:gd name="connsiteX27" fmla="*/ 135772 w 149324"/>
                  <a:gd name="connsiteY27" fmla="*/ 153610 h 212238"/>
                  <a:gd name="connsiteX28" fmla="*/ 126514 w 149324"/>
                  <a:gd name="connsiteY28" fmla="*/ 181382 h 212238"/>
                  <a:gd name="connsiteX29" fmla="*/ 49371 w 149324"/>
                  <a:gd name="connsiteY29" fmla="*/ 212239 h 212238"/>
                  <a:gd name="connsiteX30" fmla="*/ 49371 w 149324"/>
                  <a:gd name="connsiteY30" fmla="*/ 212239 h 212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49324" h="212238">
                    <a:moveTo>
                      <a:pt x="49371" y="212239"/>
                    </a:moveTo>
                    <a:cubicBezTo>
                      <a:pt x="46286" y="212239"/>
                      <a:pt x="43201" y="209153"/>
                      <a:pt x="43201" y="206067"/>
                    </a:cubicBezTo>
                    <a:cubicBezTo>
                      <a:pt x="43201" y="202982"/>
                      <a:pt x="46286" y="199896"/>
                      <a:pt x="49371" y="199896"/>
                    </a:cubicBezTo>
                    <a:cubicBezTo>
                      <a:pt x="49371" y="199896"/>
                      <a:pt x="92571" y="193725"/>
                      <a:pt x="111085" y="175210"/>
                    </a:cubicBezTo>
                    <a:cubicBezTo>
                      <a:pt x="117257" y="169039"/>
                      <a:pt x="120344" y="162868"/>
                      <a:pt x="120344" y="156696"/>
                    </a:cubicBezTo>
                    <a:cubicBezTo>
                      <a:pt x="120344" y="150524"/>
                      <a:pt x="117257" y="150524"/>
                      <a:pt x="117257" y="150524"/>
                    </a:cubicBezTo>
                    <a:cubicBezTo>
                      <a:pt x="117257" y="150524"/>
                      <a:pt x="114172" y="147439"/>
                      <a:pt x="114172" y="144353"/>
                    </a:cubicBezTo>
                    <a:cubicBezTo>
                      <a:pt x="114172" y="141268"/>
                      <a:pt x="114172" y="141268"/>
                      <a:pt x="117257" y="138182"/>
                    </a:cubicBezTo>
                    <a:cubicBezTo>
                      <a:pt x="126514" y="128924"/>
                      <a:pt x="132685" y="119667"/>
                      <a:pt x="132685" y="113496"/>
                    </a:cubicBezTo>
                    <a:cubicBezTo>
                      <a:pt x="132685" y="104239"/>
                      <a:pt x="126514" y="101153"/>
                      <a:pt x="126514" y="101153"/>
                    </a:cubicBezTo>
                    <a:cubicBezTo>
                      <a:pt x="123429" y="98067"/>
                      <a:pt x="123429" y="94982"/>
                      <a:pt x="126514" y="91896"/>
                    </a:cubicBezTo>
                    <a:cubicBezTo>
                      <a:pt x="132685" y="85725"/>
                      <a:pt x="138857" y="73382"/>
                      <a:pt x="135772" y="67210"/>
                    </a:cubicBezTo>
                    <a:cubicBezTo>
                      <a:pt x="132685" y="57953"/>
                      <a:pt x="120344" y="54868"/>
                      <a:pt x="117257" y="54868"/>
                    </a:cubicBezTo>
                    <a:cubicBezTo>
                      <a:pt x="114172" y="54868"/>
                      <a:pt x="114172" y="51782"/>
                      <a:pt x="111085" y="48696"/>
                    </a:cubicBezTo>
                    <a:cubicBezTo>
                      <a:pt x="108000" y="45610"/>
                      <a:pt x="111085" y="42524"/>
                      <a:pt x="114172" y="42524"/>
                    </a:cubicBezTo>
                    <a:cubicBezTo>
                      <a:pt x="117257" y="39439"/>
                      <a:pt x="129600" y="30182"/>
                      <a:pt x="129600" y="24010"/>
                    </a:cubicBezTo>
                    <a:cubicBezTo>
                      <a:pt x="129600" y="24010"/>
                      <a:pt x="129600" y="17839"/>
                      <a:pt x="123429" y="14753"/>
                    </a:cubicBezTo>
                    <a:cubicBezTo>
                      <a:pt x="108000" y="2410"/>
                      <a:pt x="43201" y="20924"/>
                      <a:pt x="9257" y="36353"/>
                    </a:cubicBezTo>
                    <a:cubicBezTo>
                      <a:pt x="6172" y="36353"/>
                      <a:pt x="3085" y="36353"/>
                      <a:pt x="0" y="33268"/>
                    </a:cubicBezTo>
                    <a:cubicBezTo>
                      <a:pt x="0" y="30182"/>
                      <a:pt x="0" y="27096"/>
                      <a:pt x="3085" y="24010"/>
                    </a:cubicBezTo>
                    <a:cubicBezTo>
                      <a:pt x="12344" y="20924"/>
                      <a:pt x="104915" y="-13018"/>
                      <a:pt x="129600" y="5496"/>
                    </a:cubicBezTo>
                    <a:cubicBezTo>
                      <a:pt x="138857" y="11667"/>
                      <a:pt x="141942" y="20924"/>
                      <a:pt x="141942" y="24010"/>
                    </a:cubicBezTo>
                    <a:cubicBezTo>
                      <a:pt x="141942" y="33268"/>
                      <a:pt x="135772" y="39439"/>
                      <a:pt x="129600" y="45610"/>
                    </a:cubicBezTo>
                    <a:cubicBezTo>
                      <a:pt x="135772" y="48696"/>
                      <a:pt x="141942" y="54868"/>
                      <a:pt x="148114" y="61039"/>
                    </a:cubicBezTo>
                    <a:cubicBezTo>
                      <a:pt x="151201" y="70296"/>
                      <a:pt x="148114" y="82639"/>
                      <a:pt x="141942" y="94982"/>
                    </a:cubicBezTo>
                    <a:cubicBezTo>
                      <a:pt x="145029" y="98067"/>
                      <a:pt x="148114" y="104239"/>
                      <a:pt x="148114" y="113496"/>
                    </a:cubicBezTo>
                    <a:cubicBezTo>
                      <a:pt x="148114" y="122753"/>
                      <a:pt x="141942" y="135096"/>
                      <a:pt x="132685" y="144353"/>
                    </a:cubicBezTo>
                    <a:cubicBezTo>
                      <a:pt x="135772" y="147439"/>
                      <a:pt x="135772" y="150524"/>
                      <a:pt x="135772" y="153610"/>
                    </a:cubicBezTo>
                    <a:cubicBezTo>
                      <a:pt x="135772" y="162868"/>
                      <a:pt x="132685" y="172125"/>
                      <a:pt x="126514" y="181382"/>
                    </a:cubicBezTo>
                    <a:cubicBezTo>
                      <a:pt x="98743" y="202982"/>
                      <a:pt x="52458" y="209153"/>
                      <a:pt x="49371" y="212239"/>
                    </a:cubicBezTo>
                    <a:cubicBezTo>
                      <a:pt x="49371" y="212239"/>
                      <a:pt x="49371" y="212239"/>
                      <a:pt x="49371" y="21223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9F790657-0762-4D9C-9526-78B5481EFE6B}"/>
                </a:ext>
              </a:extLst>
            </p:cNvPr>
            <p:cNvSpPr/>
            <p:nvPr/>
          </p:nvSpPr>
          <p:spPr>
            <a:xfrm>
              <a:off x="25426662" y="9084525"/>
              <a:ext cx="100192" cy="77142"/>
            </a:xfrm>
            <a:custGeom>
              <a:avLst/>
              <a:gdLst>
                <a:gd name="connsiteX0" fmla="*/ 72421 w 100192"/>
                <a:gd name="connsiteY0" fmla="*/ 77143 h 77142"/>
                <a:gd name="connsiteX1" fmla="*/ 56992 w 100192"/>
                <a:gd name="connsiteY1" fmla="*/ 74057 h 77142"/>
                <a:gd name="connsiteX2" fmla="*/ 1450 w 100192"/>
                <a:gd name="connsiteY2" fmla="*/ 18514 h 77142"/>
                <a:gd name="connsiteX3" fmla="*/ 29222 w 100192"/>
                <a:gd name="connsiteY3" fmla="*/ 0 h 77142"/>
                <a:gd name="connsiteX4" fmla="*/ 35392 w 100192"/>
                <a:gd name="connsiteY4" fmla="*/ 6171 h 77142"/>
                <a:gd name="connsiteX5" fmla="*/ 29222 w 100192"/>
                <a:gd name="connsiteY5" fmla="*/ 12343 h 77142"/>
                <a:gd name="connsiteX6" fmla="*/ 13793 w 100192"/>
                <a:gd name="connsiteY6" fmla="*/ 21600 h 77142"/>
                <a:gd name="connsiteX7" fmla="*/ 63164 w 100192"/>
                <a:gd name="connsiteY7" fmla="*/ 64800 h 77142"/>
                <a:gd name="connsiteX8" fmla="*/ 78593 w 100192"/>
                <a:gd name="connsiteY8" fmla="*/ 64800 h 77142"/>
                <a:gd name="connsiteX9" fmla="*/ 87849 w 100192"/>
                <a:gd name="connsiteY9" fmla="*/ 49371 h 77142"/>
                <a:gd name="connsiteX10" fmla="*/ 94021 w 100192"/>
                <a:gd name="connsiteY10" fmla="*/ 43200 h 77142"/>
                <a:gd name="connsiteX11" fmla="*/ 100193 w 100192"/>
                <a:gd name="connsiteY11" fmla="*/ 49371 h 77142"/>
                <a:gd name="connsiteX12" fmla="*/ 84764 w 100192"/>
                <a:gd name="connsiteY12" fmla="*/ 70972 h 77142"/>
                <a:gd name="connsiteX13" fmla="*/ 72421 w 100192"/>
                <a:gd name="connsiteY13" fmla="*/ 77143 h 7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192" h="77142">
                  <a:moveTo>
                    <a:pt x="72421" y="77143"/>
                  </a:moveTo>
                  <a:cubicBezTo>
                    <a:pt x="69336" y="77143"/>
                    <a:pt x="63164" y="77143"/>
                    <a:pt x="56992" y="74057"/>
                  </a:cubicBezTo>
                  <a:cubicBezTo>
                    <a:pt x="29222" y="64800"/>
                    <a:pt x="-7807" y="40114"/>
                    <a:pt x="1450" y="18514"/>
                  </a:cubicBezTo>
                  <a:cubicBezTo>
                    <a:pt x="7621" y="3085"/>
                    <a:pt x="19963" y="0"/>
                    <a:pt x="29222" y="0"/>
                  </a:cubicBezTo>
                  <a:cubicBezTo>
                    <a:pt x="32307" y="0"/>
                    <a:pt x="35392" y="3085"/>
                    <a:pt x="35392" y="6171"/>
                  </a:cubicBezTo>
                  <a:cubicBezTo>
                    <a:pt x="35392" y="9257"/>
                    <a:pt x="32307" y="12343"/>
                    <a:pt x="29222" y="12343"/>
                  </a:cubicBezTo>
                  <a:cubicBezTo>
                    <a:pt x="29222" y="12343"/>
                    <a:pt x="16878" y="12343"/>
                    <a:pt x="13793" y="21600"/>
                  </a:cubicBezTo>
                  <a:cubicBezTo>
                    <a:pt x="10706" y="30857"/>
                    <a:pt x="35392" y="52457"/>
                    <a:pt x="63164" y="64800"/>
                  </a:cubicBezTo>
                  <a:cubicBezTo>
                    <a:pt x="69336" y="67886"/>
                    <a:pt x="75508" y="67886"/>
                    <a:pt x="78593" y="64800"/>
                  </a:cubicBezTo>
                  <a:cubicBezTo>
                    <a:pt x="84764" y="61714"/>
                    <a:pt x="87849" y="52457"/>
                    <a:pt x="87849" y="49371"/>
                  </a:cubicBezTo>
                  <a:cubicBezTo>
                    <a:pt x="87849" y="46286"/>
                    <a:pt x="90936" y="43200"/>
                    <a:pt x="94021" y="43200"/>
                  </a:cubicBezTo>
                  <a:cubicBezTo>
                    <a:pt x="97106" y="43200"/>
                    <a:pt x="100193" y="46286"/>
                    <a:pt x="100193" y="49371"/>
                  </a:cubicBezTo>
                  <a:cubicBezTo>
                    <a:pt x="100193" y="49371"/>
                    <a:pt x="97106" y="64800"/>
                    <a:pt x="84764" y="70972"/>
                  </a:cubicBezTo>
                  <a:cubicBezTo>
                    <a:pt x="81678" y="74057"/>
                    <a:pt x="75508" y="77143"/>
                    <a:pt x="72421" y="77143"/>
                  </a:cubicBezTo>
                  <a:close/>
                </a:path>
              </a:pathLst>
            </a:custGeom>
            <a:solidFill>
              <a:srgbClr val="E87952"/>
            </a:solidFill>
            <a:ln w="308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91632556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1" name="图形 1">
            <a:extLst>
              <a:ext uri="{FF2B5EF4-FFF2-40B4-BE49-F238E27FC236}">
                <a16:creationId xmlns:a16="http://schemas.microsoft.com/office/drawing/2014/main" id="{00A64FB6-BD0D-4CF0-AF4B-92F133967EE0}"/>
              </a:ext>
            </a:extLst>
          </p:cNvPr>
          <p:cNvGrpSpPr/>
          <p:nvPr/>
        </p:nvGrpSpPr>
        <p:grpSpPr>
          <a:xfrm>
            <a:off x="1965125" y="1865626"/>
            <a:ext cx="8911944" cy="4805283"/>
            <a:chOff x="7037119" y="1865626"/>
            <a:chExt cx="8911944" cy="4805283"/>
          </a:xfrm>
        </p:grpSpPr>
        <p:sp>
          <p:nvSpPr>
            <p:cNvPr id="302" name="任意多边形: 形状 301">
              <a:extLst>
                <a:ext uri="{FF2B5EF4-FFF2-40B4-BE49-F238E27FC236}">
                  <a16:creationId xmlns:a16="http://schemas.microsoft.com/office/drawing/2014/main" id="{2629E1B4-2E1C-431B-BDAD-9274E4B781C1}"/>
                </a:ext>
              </a:extLst>
            </p:cNvPr>
            <p:cNvSpPr/>
            <p:nvPr/>
          </p:nvSpPr>
          <p:spPr>
            <a:xfrm>
              <a:off x="8382838" y="4121426"/>
              <a:ext cx="255742" cy="239079"/>
            </a:xfrm>
            <a:custGeom>
              <a:avLst/>
              <a:gdLst>
                <a:gd name="connsiteX0" fmla="*/ 143170 w 255742"/>
                <a:gd name="connsiteY0" fmla="*/ 232045 h 239079"/>
                <a:gd name="connsiteX1" fmla="*/ 149395 w 255742"/>
                <a:gd name="connsiteY1" fmla="*/ 216483 h 239079"/>
                <a:gd name="connsiteX2" fmla="*/ 146283 w 255742"/>
                <a:gd name="connsiteY2" fmla="*/ 210258 h 239079"/>
                <a:gd name="connsiteX3" fmla="*/ 161845 w 255742"/>
                <a:gd name="connsiteY3" fmla="*/ 225820 h 239079"/>
                <a:gd name="connsiteX4" fmla="*/ 199193 w 255742"/>
                <a:gd name="connsiteY4" fmla="*/ 238269 h 239079"/>
                <a:gd name="connsiteX5" fmla="*/ 202305 w 255742"/>
                <a:gd name="connsiteY5" fmla="*/ 235157 h 239079"/>
                <a:gd name="connsiteX6" fmla="*/ 202305 w 255742"/>
                <a:gd name="connsiteY6" fmla="*/ 232045 h 239079"/>
                <a:gd name="connsiteX7" fmla="*/ 230317 w 255742"/>
                <a:gd name="connsiteY7" fmla="*/ 232045 h 239079"/>
                <a:gd name="connsiteX8" fmla="*/ 239655 w 255742"/>
                <a:gd name="connsiteY8" fmla="*/ 210258 h 239079"/>
                <a:gd name="connsiteX9" fmla="*/ 211643 w 255742"/>
                <a:gd name="connsiteY9" fmla="*/ 176022 h 239079"/>
                <a:gd name="connsiteX10" fmla="*/ 168069 w 255742"/>
                <a:gd name="connsiteY10" fmla="*/ 129336 h 239079"/>
                <a:gd name="connsiteX11" fmla="*/ 211643 w 255742"/>
                <a:gd name="connsiteY11" fmla="*/ 154235 h 239079"/>
                <a:gd name="connsiteX12" fmla="*/ 245879 w 255742"/>
                <a:gd name="connsiteY12" fmla="*/ 169797 h 239079"/>
                <a:gd name="connsiteX13" fmla="*/ 245879 w 255742"/>
                <a:gd name="connsiteY13" fmla="*/ 141785 h 239079"/>
                <a:gd name="connsiteX14" fmla="*/ 40461 w 255742"/>
                <a:gd name="connsiteY14" fmla="*/ 4840 h 239079"/>
                <a:gd name="connsiteX15" fmla="*/ 0 w 255742"/>
                <a:gd name="connsiteY15" fmla="*/ 91987 h 239079"/>
                <a:gd name="connsiteX16" fmla="*/ 62248 w 255742"/>
                <a:gd name="connsiteY16" fmla="*/ 172909 h 239079"/>
                <a:gd name="connsiteX17" fmla="*/ 108934 w 255742"/>
                <a:gd name="connsiteY17" fmla="*/ 216483 h 239079"/>
                <a:gd name="connsiteX18" fmla="*/ 143170 w 255742"/>
                <a:gd name="connsiteY18" fmla="*/ 232045 h 239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55742" h="239079">
                  <a:moveTo>
                    <a:pt x="143170" y="232045"/>
                  </a:moveTo>
                  <a:cubicBezTo>
                    <a:pt x="149395" y="228932"/>
                    <a:pt x="152507" y="222707"/>
                    <a:pt x="149395" y="216483"/>
                  </a:cubicBezTo>
                  <a:cubicBezTo>
                    <a:pt x="149395" y="213370"/>
                    <a:pt x="149395" y="213370"/>
                    <a:pt x="146283" y="210258"/>
                  </a:cubicBezTo>
                  <a:cubicBezTo>
                    <a:pt x="152507" y="216483"/>
                    <a:pt x="155620" y="219595"/>
                    <a:pt x="161845" y="225820"/>
                  </a:cubicBezTo>
                  <a:cubicBezTo>
                    <a:pt x="174294" y="235157"/>
                    <a:pt x="183631" y="241382"/>
                    <a:pt x="199193" y="238269"/>
                  </a:cubicBezTo>
                  <a:cubicBezTo>
                    <a:pt x="202305" y="238269"/>
                    <a:pt x="202305" y="235157"/>
                    <a:pt x="202305" y="235157"/>
                  </a:cubicBezTo>
                  <a:cubicBezTo>
                    <a:pt x="202305" y="235157"/>
                    <a:pt x="202305" y="235157"/>
                    <a:pt x="202305" y="232045"/>
                  </a:cubicBezTo>
                  <a:cubicBezTo>
                    <a:pt x="211643" y="235157"/>
                    <a:pt x="220980" y="238269"/>
                    <a:pt x="230317" y="232045"/>
                  </a:cubicBezTo>
                  <a:cubicBezTo>
                    <a:pt x="239655" y="228932"/>
                    <a:pt x="242767" y="219595"/>
                    <a:pt x="239655" y="210258"/>
                  </a:cubicBezTo>
                  <a:cubicBezTo>
                    <a:pt x="233429" y="197808"/>
                    <a:pt x="220980" y="185359"/>
                    <a:pt x="211643" y="176022"/>
                  </a:cubicBezTo>
                  <a:cubicBezTo>
                    <a:pt x="196081" y="160460"/>
                    <a:pt x="183631" y="144898"/>
                    <a:pt x="168069" y="129336"/>
                  </a:cubicBezTo>
                  <a:cubicBezTo>
                    <a:pt x="183631" y="138673"/>
                    <a:pt x="196081" y="144898"/>
                    <a:pt x="211643" y="154235"/>
                  </a:cubicBezTo>
                  <a:cubicBezTo>
                    <a:pt x="220980" y="160460"/>
                    <a:pt x="233429" y="172909"/>
                    <a:pt x="245879" y="169797"/>
                  </a:cubicBezTo>
                  <a:cubicBezTo>
                    <a:pt x="264553" y="169797"/>
                    <a:pt x="252104" y="148010"/>
                    <a:pt x="245879" y="141785"/>
                  </a:cubicBezTo>
                  <a:cubicBezTo>
                    <a:pt x="214755" y="101324"/>
                    <a:pt x="102709" y="-26284"/>
                    <a:pt x="40461" y="4840"/>
                  </a:cubicBezTo>
                  <a:cubicBezTo>
                    <a:pt x="40461" y="4840"/>
                    <a:pt x="0" y="67088"/>
                    <a:pt x="0" y="91987"/>
                  </a:cubicBezTo>
                  <a:cubicBezTo>
                    <a:pt x="0" y="129336"/>
                    <a:pt x="34237" y="151122"/>
                    <a:pt x="62248" y="172909"/>
                  </a:cubicBezTo>
                  <a:cubicBezTo>
                    <a:pt x="77810" y="188471"/>
                    <a:pt x="93372" y="200921"/>
                    <a:pt x="108934" y="216483"/>
                  </a:cubicBezTo>
                  <a:cubicBezTo>
                    <a:pt x="118271" y="228932"/>
                    <a:pt x="130721" y="238269"/>
                    <a:pt x="143170" y="232045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3" name="任意多边形: 形状 302">
              <a:extLst>
                <a:ext uri="{FF2B5EF4-FFF2-40B4-BE49-F238E27FC236}">
                  <a16:creationId xmlns:a16="http://schemas.microsoft.com/office/drawing/2014/main" id="{B9E06E5C-A83C-4E5F-A662-EA8A218FEF2D}"/>
                </a:ext>
              </a:extLst>
            </p:cNvPr>
            <p:cNvSpPr/>
            <p:nvPr/>
          </p:nvSpPr>
          <p:spPr>
            <a:xfrm>
              <a:off x="7242572" y="2251799"/>
              <a:ext cx="1041800" cy="303516"/>
            </a:xfrm>
            <a:custGeom>
              <a:avLst/>
              <a:gdLst>
                <a:gd name="connsiteX0" fmla="*/ 1131 w 1041800"/>
                <a:gd name="connsiteY0" fmla="*/ 212450 h 303516"/>
                <a:gd name="connsiteX1" fmla="*/ 558249 w 1041800"/>
                <a:gd name="connsiteY1" fmla="*/ 290260 h 303516"/>
                <a:gd name="connsiteX2" fmla="*/ 1040670 w 1041800"/>
                <a:gd name="connsiteY2" fmla="*/ 91067 h 303516"/>
                <a:gd name="connsiteX3" fmla="*/ 483552 w 1041800"/>
                <a:gd name="connsiteY3" fmla="*/ 13257 h 303516"/>
                <a:gd name="connsiteX4" fmla="*/ 1131 w 1041800"/>
                <a:gd name="connsiteY4" fmla="*/ 212450 h 30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1800" h="303516">
                  <a:moveTo>
                    <a:pt x="1131" y="212450"/>
                  </a:moveTo>
                  <a:cubicBezTo>
                    <a:pt x="22918" y="290260"/>
                    <a:pt x="271909" y="324496"/>
                    <a:pt x="558249" y="290260"/>
                  </a:cubicBezTo>
                  <a:cubicBezTo>
                    <a:pt x="844589" y="256023"/>
                    <a:pt x="1059344" y="165764"/>
                    <a:pt x="1040670" y="91067"/>
                  </a:cubicBezTo>
                  <a:cubicBezTo>
                    <a:pt x="1018883" y="13257"/>
                    <a:pt x="769892" y="-20979"/>
                    <a:pt x="483552" y="13257"/>
                  </a:cubicBezTo>
                  <a:cubicBezTo>
                    <a:pt x="197212" y="44381"/>
                    <a:pt x="-17543" y="134640"/>
                    <a:pt x="1131" y="212450"/>
                  </a:cubicBezTo>
                  <a:close/>
                </a:path>
              </a:pathLst>
            </a:custGeom>
            <a:solidFill>
              <a:srgbClr val="F1DDBA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4" name="任意多边形: 形状 303">
              <a:extLst>
                <a:ext uri="{FF2B5EF4-FFF2-40B4-BE49-F238E27FC236}">
                  <a16:creationId xmlns:a16="http://schemas.microsoft.com/office/drawing/2014/main" id="{488C5D95-4339-4AEE-B55C-F6916DAD9130}"/>
                </a:ext>
              </a:extLst>
            </p:cNvPr>
            <p:cNvSpPr/>
            <p:nvPr/>
          </p:nvSpPr>
          <p:spPr>
            <a:xfrm>
              <a:off x="13871073" y="4034456"/>
              <a:ext cx="1978393" cy="2429217"/>
            </a:xfrm>
            <a:custGeom>
              <a:avLst/>
              <a:gdLst>
                <a:gd name="connsiteX0" fmla="*/ 456434 w 1978393"/>
                <a:gd name="connsiteY0" fmla="*/ 38900 h 2429217"/>
                <a:gd name="connsiteX1" fmla="*/ 2025 w 1978393"/>
                <a:gd name="connsiteY1" fmla="*/ 1246508 h 2429217"/>
                <a:gd name="connsiteX2" fmla="*/ 285252 w 1978393"/>
                <a:gd name="connsiteY2" fmla="*/ 2416768 h 2429217"/>
                <a:gd name="connsiteX3" fmla="*/ 456434 w 1978393"/>
                <a:gd name="connsiteY3" fmla="*/ 2429218 h 2429217"/>
                <a:gd name="connsiteX4" fmla="*/ 412861 w 1978393"/>
                <a:gd name="connsiteY4" fmla="*/ 1271408 h 2429217"/>
                <a:gd name="connsiteX5" fmla="*/ 963754 w 1978393"/>
                <a:gd name="connsiteY5" fmla="*/ 530658 h 2429217"/>
                <a:gd name="connsiteX6" fmla="*/ 836146 w 1978393"/>
                <a:gd name="connsiteY6" fmla="*/ 1473713 h 2429217"/>
                <a:gd name="connsiteX7" fmla="*/ 1853898 w 1978393"/>
                <a:gd name="connsiteY7" fmla="*/ 2354520 h 2429217"/>
                <a:gd name="connsiteX8" fmla="*/ 1978393 w 1978393"/>
                <a:gd name="connsiteY8" fmla="*/ 2242474 h 2429217"/>
                <a:gd name="connsiteX9" fmla="*/ 1296780 w 1978393"/>
                <a:gd name="connsiteY9" fmla="*/ 1392791 h 2429217"/>
                <a:gd name="connsiteX10" fmla="*/ 1558221 w 1978393"/>
                <a:gd name="connsiteY10" fmla="*/ 29563 h 2429217"/>
                <a:gd name="connsiteX11" fmla="*/ 456434 w 1978393"/>
                <a:gd name="connsiteY11" fmla="*/ 38900 h 242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78393" h="2429217">
                  <a:moveTo>
                    <a:pt x="456434" y="38900"/>
                  </a:moveTo>
                  <a:cubicBezTo>
                    <a:pt x="456434" y="38900"/>
                    <a:pt x="-35324" y="929044"/>
                    <a:pt x="2025" y="1246508"/>
                  </a:cubicBezTo>
                  <a:cubicBezTo>
                    <a:pt x="33148" y="1523511"/>
                    <a:pt x="285252" y="2416768"/>
                    <a:pt x="285252" y="2416768"/>
                  </a:cubicBezTo>
                  <a:lnTo>
                    <a:pt x="456434" y="2429218"/>
                  </a:lnTo>
                  <a:cubicBezTo>
                    <a:pt x="456434" y="2429218"/>
                    <a:pt x="406636" y="1371004"/>
                    <a:pt x="412861" y="1271408"/>
                  </a:cubicBezTo>
                  <a:cubicBezTo>
                    <a:pt x="419086" y="1128238"/>
                    <a:pt x="948192" y="561782"/>
                    <a:pt x="963754" y="530658"/>
                  </a:cubicBezTo>
                  <a:cubicBezTo>
                    <a:pt x="979316" y="499534"/>
                    <a:pt x="773898" y="1305644"/>
                    <a:pt x="836146" y="1473713"/>
                  </a:cubicBezTo>
                  <a:cubicBezTo>
                    <a:pt x="889056" y="1619995"/>
                    <a:pt x="1853898" y="2354520"/>
                    <a:pt x="1853898" y="2354520"/>
                  </a:cubicBezTo>
                  <a:lnTo>
                    <a:pt x="1978393" y="2242474"/>
                  </a:lnTo>
                  <a:cubicBezTo>
                    <a:pt x="1978393" y="2242474"/>
                    <a:pt x="1290556" y="1492387"/>
                    <a:pt x="1296780" y="1392791"/>
                  </a:cubicBezTo>
                  <a:cubicBezTo>
                    <a:pt x="1306118" y="1237171"/>
                    <a:pt x="1645368" y="169621"/>
                    <a:pt x="1558221" y="29563"/>
                  </a:cubicBezTo>
                  <a:cubicBezTo>
                    <a:pt x="861045" y="-42022"/>
                    <a:pt x="456434" y="38900"/>
                    <a:pt x="456434" y="38900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5" name="任意多边形: 形状 304">
              <a:extLst>
                <a:ext uri="{FF2B5EF4-FFF2-40B4-BE49-F238E27FC236}">
                  <a16:creationId xmlns:a16="http://schemas.microsoft.com/office/drawing/2014/main" id="{6254719B-FF9B-4DF3-8CD1-9F45F9C3C137}"/>
                </a:ext>
              </a:extLst>
            </p:cNvPr>
            <p:cNvSpPr/>
            <p:nvPr/>
          </p:nvSpPr>
          <p:spPr>
            <a:xfrm>
              <a:off x="13796631" y="4032295"/>
              <a:ext cx="1653816" cy="1403428"/>
            </a:xfrm>
            <a:custGeom>
              <a:avLst/>
              <a:gdLst>
                <a:gd name="connsiteX0" fmla="*/ 530876 w 1653816"/>
                <a:gd name="connsiteY0" fmla="*/ 41061 h 1403428"/>
                <a:gd name="connsiteX1" fmla="*/ 1769 w 1653816"/>
                <a:gd name="connsiteY1" fmla="*/ 1214433 h 1403428"/>
                <a:gd name="connsiteX2" fmla="*/ 561999 w 1653816"/>
                <a:gd name="connsiteY2" fmla="*/ 1295355 h 1403428"/>
                <a:gd name="connsiteX3" fmla="*/ 1038196 w 1653816"/>
                <a:gd name="connsiteY3" fmla="*/ 529706 h 1403428"/>
                <a:gd name="connsiteX4" fmla="*/ 823440 w 1653816"/>
                <a:gd name="connsiteY4" fmla="*/ 1376277 h 1403428"/>
                <a:gd name="connsiteX5" fmla="*/ 1486380 w 1653816"/>
                <a:gd name="connsiteY5" fmla="*/ 1323366 h 1403428"/>
                <a:gd name="connsiteX6" fmla="*/ 1632662 w 1653816"/>
                <a:gd name="connsiteY6" fmla="*/ 25499 h 1403428"/>
                <a:gd name="connsiteX7" fmla="*/ 530876 w 1653816"/>
                <a:gd name="connsiteY7" fmla="*/ 41061 h 1403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3816" h="1403428">
                  <a:moveTo>
                    <a:pt x="530876" y="41061"/>
                  </a:moveTo>
                  <a:cubicBezTo>
                    <a:pt x="530876" y="41061"/>
                    <a:pt x="-35579" y="896969"/>
                    <a:pt x="1769" y="1214433"/>
                  </a:cubicBezTo>
                  <a:cubicBezTo>
                    <a:pt x="188512" y="1286018"/>
                    <a:pt x="387705" y="1295355"/>
                    <a:pt x="561999" y="1295355"/>
                  </a:cubicBezTo>
                  <a:cubicBezTo>
                    <a:pt x="568225" y="1152185"/>
                    <a:pt x="1022634" y="560830"/>
                    <a:pt x="1038196" y="529706"/>
                  </a:cubicBezTo>
                  <a:cubicBezTo>
                    <a:pt x="1053758" y="498583"/>
                    <a:pt x="761192" y="1211320"/>
                    <a:pt x="823440" y="1376277"/>
                  </a:cubicBezTo>
                  <a:cubicBezTo>
                    <a:pt x="979060" y="1429188"/>
                    <a:pt x="1284075" y="1401176"/>
                    <a:pt x="1486380" y="1323366"/>
                  </a:cubicBezTo>
                  <a:cubicBezTo>
                    <a:pt x="1495717" y="1167747"/>
                    <a:pt x="1722922" y="165557"/>
                    <a:pt x="1632662" y="25499"/>
                  </a:cubicBezTo>
                  <a:cubicBezTo>
                    <a:pt x="935486" y="-39861"/>
                    <a:pt x="530876" y="41061"/>
                    <a:pt x="530876" y="41061"/>
                  </a:cubicBezTo>
                  <a:close/>
                </a:path>
              </a:pathLst>
            </a:custGeom>
            <a:solidFill>
              <a:srgbClr val="F6EBE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6" name="任意多边形: 形状 305">
              <a:extLst>
                <a:ext uri="{FF2B5EF4-FFF2-40B4-BE49-F238E27FC236}">
                  <a16:creationId xmlns:a16="http://schemas.microsoft.com/office/drawing/2014/main" id="{F4E1373A-9DF9-4209-AA1A-D6D03B34E3B0}"/>
                </a:ext>
              </a:extLst>
            </p:cNvPr>
            <p:cNvSpPr/>
            <p:nvPr/>
          </p:nvSpPr>
          <p:spPr>
            <a:xfrm>
              <a:off x="7880228" y="3028748"/>
              <a:ext cx="586645" cy="1206452"/>
            </a:xfrm>
            <a:custGeom>
              <a:avLst/>
              <a:gdLst>
                <a:gd name="connsiteX0" fmla="*/ 4628 w 586645"/>
                <a:gd name="connsiteY0" fmla="*/ 369219 h 1206452"/>
                <a:gd name="connsiteX1" fmla="*/ 119786 w 586645"/>
                <a:gd name="connsiteY1" fmla="*/ 1957 h 1206452"/>
                <a:gd name="connsiteX2" fmla="*/ 262956 w 586645"/>
                <a:gd name="connsiteY2" fmla="*/ 415905 h 1206452"/>
                <a:gd name="connsiteX3" fmla="*/ 300305 w 586645"/>
                <a:gd name="connsiteY3" fmla="*/ 733369 h 1206452"/>
                <a:gd name="connsiteX4" fmla="*/ 586645 w 586645"/>
                <a:gd name="connsiteY4" fmla="*/ 1103744 h 1206452"/>
                <a:gd name="connsiteX5" fmla="*/ 499498 w 586645"/>
                <a:gd name="connsiteY5" fmla="*/ 1206453 h 1206452"/>
                <a:gd name="connsiteX6" fmla="*/ 135348 w 586645"/>
                <a:gd name="connsiteY6" fmla="*/ 854752 h 1206452"/>
                <a:gd name="connsiteX7" fmla="*/ 4628 w 586645"/>
                <a:gd name="connsiteY7" fmla="*/ 369219 h 120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6645" h="1206452">
                  <a:moveTo>
                    <a:pt x="4628" y="369219"/>
                  </a:moveTo>
                  <a:cubicBezTo>
                    <a:pt x="-20271" y="254061"/>
                    <a:pt x="60651" y="-26055"/>
                    <a:pt x="119786" y="1957"/>
                  </a:cubicBezTo>
                  <a:cubicBezTo>
                    <a:pt x="188259" y="33081"/>
                    <a:pt x="250507" y="241611"/>
                    <a:pt x="262956" y="415905"/>
                  </a:cubicBezTo>
                  <a:cubicBezTo>
                    <a:pt x="269181" y="499940"/>
                    <a:pt x="266069" y="655559"/>
                    <a:pt x="300305" y="733369"/>
                  </a:cubicBezTo>
                  <a:cubicBezTo>
                    <a:pt x="331429" y="798729"/>
                    <a:pt x="586645" y="1103744"/>
                    <a:pt x="586645" y="1103744"/>
                  </a:cubicBezTo>
                  <a:cubicBezTo>
                    <a:pt x="546184" y="1141092"/>
                    <a:pt x="499498" y="1206453"/>
                    <a:pt x="499498" y="1206453"/>
                  </a:cubicBezTo>
                  <a:cubicBezTo>
                    <a:pt x="499498" y="1206453"/>
                    <a:pt x="166472" y="910775"/>
                    <a:pt x="135348" y="854752"/>
                  </a:cubicBezTo>
                  <a:cubicBezTo>
                    <a:pt x="91775" y="783167"/>
                    <a:pt x="35751" y="515501"/>
                    <a:pt x="4628" y="369219"/>
                  </a:cubicBezTo>
                  <a:close/>
                </a:path>
              </a:pathLst>
            </a:custGeom>
            <a:solidFill>
              <a:srgbClr val="D16156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07" name="图形 1">
              <a:extLst>
                <a:ext uri="{FF2B5EF4-FFF2-40B4-BE49-F238E27FC236}">
                  <a16:creationId xmlns:a16="http://schemas.microsoft.com/office/drawing/2014/main" id="{00A64FB6-BD0D-4CF0-AF4B-92F133967EE0}"/>
                </a:ext>
              </a:extLst>
            </p:cNvPr>
            <p:cNvGrpSpPr/>
            <p:nvPr/>
          </p:nvGrpSpPr>
          <p:grpSpPr>
            <a:xfrm>
              <a:off x="7077190" y="6301828"/>
              <a:ext cx="403518" cy="369081"/>
              <a:chOff x="7077190" y="6301828"/>
              <a:chExt cx="403518" cy="369081"/>
            </a:xfrm>
          </p:grpSpPr>
          <p:sp>
            <p:nvSpPr>
              <p:cNvPr id="308" name="任意多边形: 形状 307">
                <a:extLst>
                  <a:ext uri="{FF2B5EF4-FFF2-40B4-BE49-F238E27FC236}">
                    <a16:creationId xmlns:a16="http://schemas.microsoft.com/office/drawing/2014/main" id="{F063F513-12CC-4515-89CD-B42F56439C7B}"/>
                  </a:ext>
                </a:extLst>
              </p:cNvPr>
              <p:cNvSpPr/>
              <p:nvPr/>
            </p:nvSpPr>
            <p:spPr>
              <a:xfrm>
                <a:off x="7077190" y="6429436"/>
                <a:ext cx="403518" cy="241473"/>
              </a:xfrm>
              <a:custGeom>
                <a:avLst/>
                <a:gdLst>
                  <a:gd name="connsiteX0" fmla="*/ 110490 w 403518"/>
                  <a:gd name="connsiteY0" fmla="*/ 0 h 241473"/>
                  <a:gd name="connsiteX1" fmla="*/ 272334 w 403518"/>
                  <a:gd name="connsiteY1" fmla="*/ 127608 h 241473"/>
                  <a:gd name="connsiteX2" fmla="*/ 73141 w 403518"/>
                  <a:gd name="connsiteY2" fmla="*/ 77810 h 241473"/>
                  <a:gd name="connsiteX3" fmla="*/ 1556 w 403518"/>
                  <a:gd name="connsiteY3" fmla="*/ 52911 h 241473"/>
                  <a:gd name="connsiteX4" fmla="*/ 7781 w 403518"/>
                  <a:gd name="connsiteY4" fmla="*/ 161844 h 241473"/>
                  <a:gd name="connsiteX5" fmla="*/ 244323 w 403518"/>
                  <a:gd name="connsiteY5" fmla="*/ 236542 h 241473"/>
                  <a:gd name="connsiteX6" fmla="*/ 384380 w 403518"/>
                  <a:gd name="connsiteY6" fmla="*/ 236542 h 241473"/>
                  <a:gd name="connsiteX7" fmla="*/ 390605 w 403518"/>
                  <a:gd name="connsiteY7" fmla="*/ 180519 h 241473"/>
                  <a:gd name="connsiteX8" fmla="*/ 110490 w 403518"/>
                  <a:gd name="connsiteY8" fmla="*/ 0 h 241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3518" h="241473">
                    <a:moveTo>
                      <a:pt x="110490" y="0"/>
                    </a:moveTo>
                    <a:cubicBezTo>
                      <a:pt x="110490" y="0"/>
                      <a:pt x="287896" y="115158"/>
                      <a:pt x="272334" y="127608"/>
                    </a:cubicBezTo>
                    <a:cubicBezTo>
                      <a:pt x="259885" y="143170"/>
                      <a:pt x="73141" y="77810"/>
                      <a:pt x="73141" y="77810"/>
                    </a:cubicBezTo>
                    <a:lnTo>
                      <a:pt x="1556" y="52911"/>
                    </a:lnTo>
                    <a:cubicBezTo>
                      <a:pt x="1556" y="52911"/>
                      <a:pt x="-4669" y="136945"/>
                      <a:pt x="7781" y="161844"/>
                    </a:cubicBezTo>
                    <a:cubicBezTo>
                      <a:pt x="82479" y="199193"/>
                      <a:pt x="169625" y="224092"/>
                      <a:pt x="244323" y="236542"/>
                    </a:cubicBezTo>
                    <a:cubicBezTo>
                      <a:pt x="291009" y="245879"/>
                      <a:pt x="375043" y="239654"/>
                      <a:pt x="384380" y="236542"/>
                    </a:cubicBezTo>
                    <a:cubicBezTo>
                      <a:pt x="393718" y="233429"/>
                      <a:pt x="418617" y="208530"/>
                      <a:pt x="390605" y="180519"/>
                    </a:cubicBezTo>
                    <a:cubicBezTo>
                      <a:pt x="328357" y="112046"/>
                      <a:pt x="110490" y="0"/>
                      <a:pt x="110490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9" name="任意多边形: 形状 308">
                <a:extLst>
                  <a:ext uri="{FF2B5EF4-FFF2-40B4-BE49-F238E27FC236}">
                    <a16:creationId xmlns:a16="http://schemas.microsoft.com/office/drawing/2014/main" id="{74E6A9E4-7955-4AF0-ADE4-4E44963A6F88}"/>
                  </a:ext>
                </a:extLst>
              </p:cNvPr>
              <p:cNvSpPr/>
              <p:nvPr/>
            </p:nvSpPr>
            <p:spPr>
              <a:xfrm>
                <a:off x="7078746" y="6301828"/>
                <a:ext cx="272133" cy="259375"/>
              </a:xfrm>
              <a:custGeom>
                <a:avLst/>
                <a:gdLst>
                  <a:gd name="connsiteX0" fmla="*/ 124496 w 272133"/>
                  <a:gd name="connsiteY0" fmla="*/ 0 h 259375"/>
                  <a:gd name="connsiteX1" fmla="*/ 108934 w 272133"/>
                  <a:gd name="connsiteY1" fmla="*/ 127608 h 259375"/>
                  <a:gd name="connsiteX2" fmla="*/ 270778 w 272133"/>
                  <a:gd name="connsiteY2" fmla="*/ 255217 h 259375"/>
                  <a:gd name="connsiteX3" fmla="*/ 28011 w 272133"/>
                  <a:gd name="connsiteY3" fmla="*/ 211643 h 259375"/>
                  <a:gd name="connsiteX4" fmla="*/ 0 w 272133"/>
                  <a:gd name="connsiteY4" fmla="*/ 180519 h 259375"/>
                  <a:gd name="connsiteX5" fmla="*/ 28011 w 272133"/>
                  <a:gd name="connsiteY5" fmla="*/ 0 h 259375"/>
                  <a:gd name="connsiteX6" fmla="*/ 124496 w 272133"/>
                  <a:gd name="connsiteY6" fmla="*/ 0 h 259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2133" h="259375">
                    <a:moveTo>
                      <a:pt x="124496" y="0"/>
                    </a:moveTo>
                    <a:lnTo>
                      <a:pt x="108934" y="127608"/>
                    </a:lnTo>
                    <a:cubicBezTo>
                      <a:pt x="108934" y="127608"/>
                      <a:pt x="289453" y="233429"/>
                      <a:pt x="270778" y="255217"/>
                    </a:cubicBezTo>
                    <a:cubicBezTo>
                      <a:pt x="258329" y="270778"/>
                      <a:pt x="99596" y="239655"/>
                      <a:pt x="28011" y="211643"/>
                    </a:cubicBezTo>
                    <a:cubicBezTo>
                      <a:pt x="3113" y="202305"/>
                      <a:pt x="0" y="180519"/>
                      <a:pt x="0" y="180519"/>
                    </a:cubicBezTo>
                    <a:lnTo>
                      <a:pt x="28011" y="0"/>
                    </a:lnTo>
                    <a:lnTo>
                      <a:pt x="124496" y="0"/>
                    </a:ln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10" name="图形 1">
              <a:extLst>
                <a:ext uri="{FF2B5EF4-FFF2-40B4-BE49-F238E27FC236}">
                  <a16:creationId xmlns:a16="http://schemas.microsoft.com/office/drawing/2014/main" id="{00A64FB6-BD0D-4CF0-AF4B-92F133967EE0}"/>
                </a:ext>
              </a:extLst>
            </p:cNvPr>
            <p:cNvGrpSpPr/>
            <p:nvPr/>
          </p:nvGrpSpPr>
          <p:grpSpPr>
            <a:xfrm>
              <a:off x="7802377" y="6311165"/>
              <a:ext cx="403518" cy="359744"/>
              <a:chOff x="7802377" y="6311165"/>
              <a:chExt cx="403518" cy="359744"/>
            </a:xfrm>
          </p:grpSpPr>
          <p:sp>
            <p:nvSpPr>
              <p:cNvPr id="311" name="任意多边形: 形状 310">
                <a:extLst>
                  <a:ext uri="{FF2B5EF4-FFF2-40B4-BE49-F238E27FC236}">
                    <a16:creationId xmlns:a16="http://schemas.microsoft.com/office/drawing/2014/main" id="{068B5EE3-8E00-4E39-9277-EF4A5A2B34DD}"/>
                  </a:ext>
                </a:extLst>
              </p:cNvPr>
              <p:cNvSpPr/>
              <p:nvPr/>
            </p:nvSpPr>
            <p:spPr>
              <a:xfrm>
                <a:off x="7802377" y="6429436"/>
                <a:ext cx="403518" cy="241473"/>
              </a:xfrm>
              <a:custGeom>
                <a:avLst/>
                <a:gdLst>
                  <a:gd name="connsiteX0" fmla="*/ 110490 w 403518"/>
                  <a:gd name="connsiteY0" fmla="*/ 0 h 241473"/>
                  <a:gd name="connsiteX1" fmla="*/ 272334 w 403518"/>
                  <a:gd name="connsiteY1" fmla="*/ 127608 h 241473"/>
                  <a:gd name="connsiteX2" fmla="*/ 73141 w 403518"/>
                  <a:gd name="connsiteY2" fmla="*/ 77810 h 241473"/>
                  <a:gd name="connsiteX3" fmla="*/ 1556 w 403518"/>
                  <a:gd name="connsiteY3" fmla="*/ 52911 h 241473"/>
                  <a:gd name="connsiteX4" fmla="*/ 7781 w 403518"/>
                  <a:gd name="connsiteY4" fmla="*/ 161844 h 241473"/>
                  <a:gd name="connsiteX5" fmla="*/ 244323 w 403518"/>
                  <a:gd name="connsiteY5" fmla="*/ 236542 h 241473"/>
                  <a:gd name="connsiteX6" fmla="*/ 384380 w 403518"/>
                  <a:gd name="connsiteY6" fmla="*/ 236542 h 241473"/>
                  <a:gd name="connsiteX7" fmla="*/ 390605 w 403518"/>
                  <a:gd name="connsiteY7" fmla="*/ 180519 h 241473"/>
                  <a:gd name="connsiteX8" fmla="*/ 110490 w 403518"/>
                  <a:gd name="connsiteY8" fmla="*/ 0 h 241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3518" h="241473">
                    <a:moveTo>
                      <a:pt x="110490" y="0"/>
                    </a:moveTo>
                    <a:cubicBezTo>
                      <a:pt x="110490" y="0"/>
                      <a:pt x="287896" y="115158"/>
                      <a:pt x="272334" y="127608"/>
                    </a:cubicBezTo>
                    <a:cubicBezTo>
                      <a:pt x="259885" y="143170"/>
                      <a:pt x="73141" y="77810"/>
                      <a:pt x="73141" y="77810"/>
                    </a:cubicBezTo>
                    <a:lnTo>
                      <a:pt x="1556" y="52911"/>
                    </a:lnTo>
                    <a:cubicBezTo>
                      <a:pt x="1556" y="52911"/>
                      <a:pt x="-4669" y="136945"/>
                      <a:pt x="7781" y="161844"/>
                    </a:cubicBezTo>
                    <a:cubicBezTo>
                      <a:pt x="82478" y="199193"/>
                      <a:pt x="169625" y="224092"/>
                      <a:pt x="244323" y="236542"/>
                    </a:cubicBezTo>
                    <a:cubicBezTo>
                      <a:pt x="291009" y="245879"/>
                      <a:pt x="375043" y="239654"/>
                      <a:pt x="384380" y="236542"/>
                    </a:cubicBezTo>
                    <a:cubicBezTo>
                      <a:pt x="393717" y="233429"/>
                      <a:pt x="418617" y="208530"/>
                      <a:pt x="390605" y="180519"/>
                    </a:cubicBezTo>
                    <a:cubicBezTo>
                      <a:pt x="328357" y="112046"/>
                      <a:pt x="110490" y="0"/>
                      <a:pt x="110490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2" name="任意多边形: 形状 311">
                <a:extLst>
                  <a:ext uri="{FF2B5EF4-FFF2-40B4-BE49-F238E27FC236}">
                    <a16:creationId xmlns:a16="http://schemas.microsoft.com/office/drawing/2014/main" id="{1FAB5A67-39C0-4580-AF55-E789F177F19F}"/>
                  </a:ext>
                </a:extLst>
              </p:cNvPr>
              <p:cNvSpPr/>
              <p:nvPr/>
            </p:nvSpPr>
            <p:spPr>
              <a:xfrm>
                <a:off x="7803934" y="6311165"/>
                <a:ext cx="272133" cy="250037"/>
              </a:xfrm>
              <a:custGeom>
                <a:avLst/>
                <a:gdLst>
                  <a:gd name="connsiteX0" fmla="*/ 96484 w 272133"/>
                  <a:gd name="connsiteY0" fmla="*/ 0 h 250037"/>
                  <a:gd name="connsiteX1" fmla="*/ 108934 w 272133"/>
                  <a:gd name="connsiteY1" fmla="*/ 118271 h 250037"/>
                  <a:gd name="connsiteX2" fmla="*/ 270778 w 272133"/>
                  <a:gd name="connsiteY2" fmla="*/ 245879 h 250037"/>
                  <a:gd name="connsiteX3" fmla="*/ 28011 w 272133"/>
                  <a:gd name="connsiteY3" fmla="*/ 202305 h 250037"/>
                  <a:gd name="connsiteX4" fmla="*/ 0 w 272133"/>
                  <a:gd name="connsiteY4" fmla="*/ 171182 h 250037"/>
                  <a:gd name="connsiteX5" fmla="*/ 0 w 272133"/>
                  <a:gd name="connsiteY5" fmla="*/ 34237 h 250037"/>
                  <a:gd name="connsiteX6" fmla="*/ 96484 w 272133"/>
                  <a:gd name="connsiteY6" fmla="*/ 0 h 250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2133" h="250037">
                    <a:moveTo>
                      <a:pt x="96484" y="0"/>
                    </a:moveTo>
                    <a:lnTo>
                      <a:pt x="108934" y="118271"/>
                    </a:lnTo>
                    <a:cubicBezTo>
                      <a:pt x="108934" y="118271"/>
                      <a:pt x="289453" y="224092"/>
                      <a:pt x="270778" y="245879"/>
                    </a:cubicBezTo>
                    <a:cubicBezTo>
                      <a:pt x="258329" y="261441"/>
                      <a:pt x="99596" y="230317"/>
                      <a:pt x="28011" y="202305"/>
                    </a:cubicBezTo>
                    <a:cubicBezTo>
                      <a:pt x="3112" y="192968"/>
                      <a:pt x="0" y="171182"/>
                      <a:pt x="0" y="171182"/>
                    </a:cubicBezTo>
                    <a:lnTo>
                      <a:pt x="0" y="34237"/>
                    </a:lnTo>
                    <a:lnTo>
                      <a:pt x="96484" y="0"/>
                    </a:ln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13" name="任意多边形: 形状 312">
              <a:extLst>
                <a:ext uri="{FF2B5EF4-FFF2-40B4-BE49-F238E27FC236}">
                  <a16:creationId xmlns:a16="http://schemas.microsoft.com/office/drawing/2014/main" id="{DCC6F90B-0C05-452A-9EB1-4A45F01A99E9}"/>
                </a:ext>
              </a:extLst>
            </p:cNvPr>
            <p:cNvSpPr/>
            <p:nvPr/>
          </p:nvSpPr>
          <p:spPr>
            <a:xfrm>
              <a:off x="7037808" y="3796353"/>
              <a:ext cx="1005780" cy="2689106"/>
            </a:xfrm>
            <a:custGeom>
              <a:avLst/>
              <a:gdLst>
                <a:gd name="connsiteX0" fmla="*/ 174772 w 1005780"/>
                <a:gd name="connsiteY0" fmla="*/ 0 h 2689106"/>
                <a:gd name="connsiteX1" fmla="*/ 819037 w 1005780"/>
                <a:gd name="connsiteY1" fmla="*/ 0 h 2689106"/>
                <a:gd name="connsiteX2" fmla="*/ 940420 w 1005780"/>
                <a:gd name="connsiteY2" fmla="*/ 469971 h 2689106"/>
                <a:gd name="connsiteX3" fmla="*/ 1005780 w 1005780"/>
                <a:gd name="connsiteY3" fmla="*/ 1599770 h 2689106"/>
                <a:gd name="connsiteX4" fmla="*/ 878172 w 1005780"/>
                <a:gd name="connsiteY4" fmla="*/ 2636196 h 2689106"/>
                <a:gd name="connsiteX5" fmla="*/ 769238 w 1005780"/>
                <a:gd name="connsiteY5" fmla="*/ 2689107 h 2689106"/>
                <a:gd name="connsiteX6" fmla="*/ 719440 w 1005780"/>
                <a:gd name="connsiteY6" fmla="*/ 1621556 h 2689106"/>
                <a:gd name="connsiteX7" fmla="*/ 514022 w 1005780"/>
                <a:gd name="connsiteY7" fmla="*/ 883919 h 2689106"/>
                <a:gd name="connsiteX8" fmla="*/ 448662 w 1005780"/>
                <a:gd name="connsiteY8" fmla="*/ 1621556 h 2689106"/>
                <a:gd name="connsiteX9" fmla="*/ 149872 w 1005780"/>
                <a:gd name="connsiteY9" fmla="*/ 2636196 h 2689106"/>
                <a:gd name="connsiteX10" fmla="*/ 40939 w 1005780"/>
                <a:gd name="connsiteY10" fmla="*/ 2689107 h 2689106"/>
                <a:gd name="connsiteX11" fmla="*/ 121861 w 1005780"/>
                <a:gd name="connsiteY11" fmla="*/ 1621556 h 2689106"/>
                <a:gd name="connsiteX12" fmla="*/ 477 w 1005780"/>
                <a:gd name="connsiteY12" fmla="*/ 426398 h 2689106"/>
                <a:gd name="connsiteX13" fmla="*/ 174772 w 1005780"/>
                <a:gd name="connsiteY13" fmla="*/ 0 h 2689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5780" h="2689106">
                  <a:moveTo>
                    <a:pt x="174772" y="0"/>
                  </a:moveTo>
                  <a:lnTo>
                    <a:pt x="819037" y="0"/>
                  </a:lnTo>
                  <a:cubicBezTo>
                    <a:pt x="819037" y="0"/>
                    <a:pt x="918633" y="311239"/>
                    <a:pt x="940420" y="469971"/>
                  </a:cubicBezTo>
                  <a:cubicBezTo>
                    <a:pt x="949757" y="547781"/>
                    <a:pt x="1005780" y="1599770"/>
                    <a:pt x="1005780" y="1599770"/>
                  </a:cubicBezTo>
                  <a:lnTo>
                    <a:pt x="878172" y="2636196"/>
                  </a:lnTo>
                  <a:lnTo>
                    <a:pt x="769238" y="2689107"/>
                  </a:lnTo>
                  <a:lnTo>
                    <a:pt x="719440" y="1621556"/>
                  </a:lnTo>
                  <a:lnTo>
                    <a:pt x="514022" y="883919"/>
                  </a:lnTo>
                  <a:lnTo>
                    <a:pt x="448662" y="1621556"/>
                  </a:lnTo>
                  <a:lnTo>
                    <a:pt x="149872" y="2636196"/>
                  </a:lnTo>
                  <a:lnTo>
                    <a:pt x="40939" y="2689107"/>
                  </a:lnTo>
                  <a:lnTo>
                    <a:pt x="121861" y="1621556"/>
                  </a:lnTo>
                  <a:cubicBezTo>
                    <a:pt x="121861" y="1621556"/>
                    <a:pt x="-8860" y="519769"/>
                    <a:pt x="477" y="426398"/>
                  </a:cubicBezTo>
                  <a:cubicBezTo>
                    <a:pt x="12927" y="301902"/>
                    <a:pt x="174772" y="0"/>
                    <a:pt x="174772" y="0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4" name="任意多边形: 形状 313">
              <a:extLst>
                <a:ext uri="{FF2B5EF4-FFF2-40B4-BE49-F238E27FC236}">
                  <a16:creationId xmlns:a16="http://schemas.microsoft.com/office/drawing/2014/main" id="{5B4B3C8B-9B02-4D4F-B26C-5915C1D629AA}"/>
                </a:ext>
              </a:extLst>
            </p:cNvPr>
            <p:cNvSpPr/>
            <p:nvPr/>
          </p:nvSpPr>
          <p:spPr>
            <a:xfrm>
              <a:off x="7037119" y="3796353"/>
              <a:ext cx="1074941" cy="1624668"/>
            </a:xfrm>
            <a:custGeom>
              <a:avLst/>
              <a:gdLst>
                <a:gd name="connsiteX0" fmla="*/ 175460 w 1074941"/>
                <a:gd name="connsiteY0" fmla="*/ 0 h 1624668"/>
                <a:gd name="connsiteX1" fmla="*/ 819725 w 1074941"/>
                <a:gd name="connsiteY1" fmla="*/ 0 h 1624668"/>
                <a:gd name="connsiteX2" fmla="*/ 941108 w 1074941"/>
                <a:gd name="connsiteY2" fmla="*/ 469971 h 1624668"/>
                <a:gd name="connsiteX3" fmla="*/ 1074941 w 1074941"/>
                <a:gd name="connsiteY3" fmla="*/ 1565533 h 1624668"/>
                <a:gd name="connsiteX4" fmla="*/ 645431 w 1074941"/>
                <a:gd name="connsiteY4" fmla="*/ 1624669 h 1624668"/>
                <a:gd name="connsiteX5" fmla="*/ 514711 w 1074941"/>
                <a:gd name="connsiteY5" fmla="*/ 880807 h 1624668"/>
                <a:gd name="connsiteX6" fmla="*/ 514711 w 1074941"/>
                <a:gd name="connsiteY6" fmla="*/ 1618444 h 1624668"/>
                <a:gd name="connsiteX7" fmla="*/ 41627 w 1074941"/>
                <a:gd name="connsiteY7" fmla="*/ 1599770 h 1624668"/>
                <a:gd name="connsiteX8" fmla="*/ 1166 w 1074941"/>
                <a:gd name="connsiteY8" fmla="*/ 426398 h 1624668"/>
                <a:gd name="connsiteX9" fmla="*/ 175460 w 1074941"/>
                <a:gd name="connsiteY9" fmla="*/ 0 h 1624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74941" h="1624668">
                  <a:moveTo>
                    <a:pt x="175460" y="0"/>
                  </a:moveTo>
                  <a:lnTo>
                    <a:pt x="819725" y="0"/>
                  </a:lnTo>
                  <a:cubicBezTo>
                    <a:pt x="819725" y="0"/>
                    <a:pt x="919322" y="311239"/>
                    <a:pt x="941108" y="469971"/>
                  </a:cubicBezTo>
                  <a:cubicBezTo>
                    <a:pt x="950446" y="547781"/>
                    <a:pt x="1074941" y="1565533"/>
                    <a:pt x="1074941" y="1565533"/>
                  </a:cubicBezTo>
                  <a:lnTo>
                    <a:pt x="645431" y="1624669"/>
                  </a:lnTo>
                  <a:lnTo>
                    <a:pt x="514711" y="880807"/>
                  </a:lnTo>
                  <a:lnTo>
                    <a:pt x="514711" y="1618444"/>
                  </a:lnTo>
                  <a:lnTo>
                    <a:pt x="41627" y="1599770"/>
                  </a:lnTo>
                  <a:cubicBezTo>
                    <a:pt x="41627" y="1599770"/>
                    <a:pt x="-8171" y="516657"/>
                    <a:pt x="1166" y="426398"/>
                  </a:cubicBezTo>
                  <a:cubicBezTo>
                    <a:pt x="13616" y="301902"/>
                    <a:pt x="175460" y="0"/>
                    <a:pt x="175460" y="0"/>
                  </a:cubicBezTo>
                  <a:close/>
                </a:path>
              </a:pathLst>
            </a:custGeom>
            <a:solidFill>
              <a:srgbClr val="708686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5" name="任意多边形: 形状 314">
              <a:extLst>
                <a:ext uri="{FF2B5EF4-FFF2-40B4-BE49-F238E27FC236}">
                  <a16:creationId xmlns:a16="http://schemas.microsoft.com/office/drawing/2014/main" id="{EAA8045E-B1AA-4A16-8A77-9BAB0E1280D3}"/>
                </a:ext>
              </a:extLst>
            </p:cNvPr>
            <p:cNvSpPr/>
            <p:nvPr/>
          </p:nvSpPr>
          <p:spPr>
            <a:xfrm>
              <a:off x="7545605" y="4191627"/>
              <a:ext cx="12449" cy="1229394"/>
            </a:xfrm>
            <a:custGeom>
              <a:avLst/>
              <a:gdLst>
                <a:gd name="connsiteX0" fmla="*/ 6225 w 12449"/>
                <a:gd name="connsiteY0" fmla="*/ 1229395 h 1229394"/>
                <a:gd name="connsiteX1" fmla="*/ 0 w 12449"/>
                <a:gd name="connsiteY1" fmla="*/ 1223170 h 1229394"/>
                <a:gd name="connsiteX2" fmla="*/ 0 w 12449"/>
                <a:gd name="connsiteY2" fmla="*/ 6225 h 1229394"/>
                <a:gd name="connsiteX3" fmla="*/ 6225 w 12449"/>
                <a:gd name="connsiteY3" fmla="*/ 0 h 1229394"/>
                <a:gd name="connsiteX4" fmla="*/ 12449 w 12449"/>
                <a:gd name="connsiteY4" fmla="*/ 6225 h 1229394"/>
                <a:gd name="connsiteX5" fmla="*/ 12449 w 12449"/>
                <a:gd name="connsiteY5" fmla="*/ 1223170 h 1229394"/>
                <a:gd name="connsiteX6" fmla="*/ 6225 w 12449"/>
                <a:gd name="connsiteY6" fmla="*/ 1229395 h 122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49" h="1229394">
                  <a:moveTo>
                    <a:pt x="6225" y="1229395"/>
                  </a:moveTo>
                  <a:cubicBezTo>
                    <a:pt x="3113" y="1229395"/>
                    <a:pt x="0" y="1226283"/>
                    <a:pt x="0" y="1223170"/>
                  </a:cubicBezTo>
                  <a:lnTo>
                    <a:pt x="0" y="6225"/>
                  </a:lnTo>
                  <a:cubicBezTo>
                    <a:pt x="0" y="3112"/>
                    <a:pt x="3113" y="0"/>
                    <a:pt x="6225" y="0"/>
                  </a:cubicBezTo>
                  <a:cubicBezTo>
                    <a:pt x="9337" y="0"/>
                    <a:pt x="12449" y="3112"/>
                    <a:pt x="12449" y="6225"/>
                  </a:cubicBezTo>
                  <a:lnTo>
                    <a:pt x="12449" y="1223170"/>
                  </a:lnTo>
                  <a:cubicBezTo>
                    <a:pt x="12449" y="1226283"/>
                    <a:pt x="9337" y="1229395"/>
                    <a:pt x="6225" y="1229395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6" name="任意多边形: 形状 315">
              <a:extLst>
                <a:ext uri="{FF2B5EF4-FFF2-40B4-BE49-F238E27FC236}">
                  <a16:creationId xmlns:a16="http://schemas.microsoft.com/office/drawing/2014/main" id="{961C1D1F-44A1-4F3B-B16A-27FA5BC72F20}"/>
                </a:ext>
              </a:extLst>
            </p:cNvPr>
            <p:cNvSpPr/>
            <p:nvPr/>
          </p:nvSpPr>
          <p:spPr>
            <a:xfrm>
              <a:off x="7184567" y="2901346"/>
              <a:ext cx="898075" cy="1059963"/>
            </a:xfrm>
            <a:custGeom>
              <a:avLst/>
              <a:gdLst>
                <a:gd name="connsiteX0" fmla="*/ 112046 w 898075"/>
                <a:gd name="connsiteY0" fmla="*/ 356563 h 1059963"/>
                <a:gd name="connsiteX1" fmla="*/ 177407 w 898075"/>
                <a:gd name="connsiteY1" fmla="*/ 32875 h 1059963"/>
                <a:gd name="connsiteX2" fmla="*/ 560231 w 898075"/>
                <a:gd name="connsiteY2" fmla="*/ 23537 h 1059963"/>
                <a:gd name="connsiteX3" fmla="*/ 846571 w 898075"/>
                <a:gd name="connsiteY3" fmla="*/ 172932 h 1059963"/>
                <a:gd name="connsiteX4" fmla="*/ 802997 w 898075"/>
                <a:gd name="connsiteY4" fmla="*/ 730050 h 1059963"/>
                <a:gd name="connsiteX5" fmla="*/ 731412 w 898075"/>
                <a:gd name="connsiteY5" fmla="*/ 1059964 h 1059963"/>
                <a:gd name="connsiteX6" fmla="*/ 0 w 898075"/>
                <a:gd name="connsiteY6" fmla="*/ 935468 h 1059963"/>
                <a:gd name="connsiteX7" fmla="*/ 112046 w 898075"/>
                <a:gd name="connsiteY7" fmla="*/ 356563 h 1059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8075" h="1059963">
                  <a:moveTo>
                    <a:pt x="112046" y="356563"/>
                  </a:moveTo>
                  <a:cubicBezTo>
                    <a:pt x="105822" y="322327"/>
                    <a:pt x="46686" y="79561"/>
                    <a:pt x="177407" y="32875"/>
                  </a:cubicBezTo>
                  <a:cubicBezTo>
                    <a:pt x="289453" y="-7586"/>
                    <a:pt x="441960" y="-10699"/>
                    <a:pt x="560231" y="23537"/>
                  </a:cubicBezTo>
                  <a:cubicBezTo>
                    <a:pt x="690951" y="60886"/>
                    <a:pt x="818559" y="101347"/>
                    <a:pt x="846571" y="172932"/>
                  </a:cubicBezTo>
                  <a:cubicBezTo>
                    <a:pt x="930605" y="378350"/>
                    <a:pt x="908819" y="543307"/>
                    <a:pt x="802997" y="730050"/>
                  </a:cubicBezTo>
                  <a:cubicBezTo>
                    <a:pt x="771873" y="786074"/>
                    <a:pt x="725187" y="919906"/>
                    <a:pt x="731412" y="1059964"/>
                  </a:cubicBezTo>
                  <a:cubicBezTo>
                    <a:pt x="731412" y="1059964"/>
                    <a:pt x="392162" y="1031953"/>
                    <a:pt x="0" y="935468"/>
                  </a:cubicBezTo>
                  <a:cubicBezTo>
                    <a:pt x="87147" y="726938"/>
                    <a:pt x="115159" y="381463"/>
                    <a:pt x="112046" y="356563"/>
                  </a:cubicBezTo>
                  <a:close/>
                </a:path>
              </a:pathLst>
            </a:custGeom>
            <a:solidFill>
              <a:srgbClr val="D16156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7" name="任意多边形: 形状 316">
              <a:extLst>
                <a:ext uri="{FF2B5EF4-FFF2-40B4-BE49-F238E27FC236}">
                  <a16:creationId xmlns:a16="http://schemas.microsoft.com/office/drawing/2014/main" id="{04201795-383D-4446-90AD-6B0DF017AA6D}"/>
                </a:ext>
              </a:extLst>
            </p:cNvPr>
            <p:cNvSpPr/>
            <p:nvPr/>
          </p:nvSpPr>
          <p:spPr>
            <a:xfrm>
              <a:off x="7514481" y="2579408"/>
              <a:ext cx="283227" cy="301902"/>
            </a:xfrm>
            <a:custGeom>
              <a:avLst/>
              <a:gdLst>
                <a:gd name="connsiteX0" fmla="*/ 283228 w 283227"/>
                <a:gd name="connsiteY0" fmla="*/ 301902 h 301902"/>
                <a:gd name="connsiteX1" fmla="*/ 0 w 283227"/>
                <a:gd name="connsiteY1" fmla="*/ 270778 h 301902"/>
                <a:gd name="connsiteX2" fmla="*/ 3113 w 283227"/>
                <a:gd name="connsiteY2" fmla="*/ 124496 h 301902"/>
                <a:gd name="connsiteX3" fmla="*/ 24899 w 283227"/>
                <a:gd name="connsiteY3" fmla="*/ 9337 h 301902"/>
                <a:gd name="connsiteX4" fmla="*/ 99596 w 283227"/>
                <a:gd name="connsiteY4" fmla="*/ 0 h 301902"/>
                <a:gd name="connsiteX5" fmla="*/ 252104 w 283227"/>
                <a:gd name="connsiteY5" fmla="*/ 108934 h 301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3227" h="301902">
                  <a:moveTo>
                    <a:pt x="283228" y="301902"/>
                  </a:moveTo>
                  <a:lnTo>
                    <a:pt x="0" y="270778"/>
                  </a:lnTo>
                  <a:lnTo>
                    <a:pt x="3113" y="124496"/>
                  </a:lnTo>
                  <a:lnTo>
                    <a:pt x="24899" y="9337"/>
                  </a:lnTo>
                  <a:lnTo>
                    <a:pt x="99596" y="0"/>
                  </a:lnTo>
                  <a:lnTo>
                    <a:pt x="252104" y="108934"/>
                  </a:ln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8" name="任意多边形: 形状 317">
              <a:extLst>
                <a:ext uri="{FF2B5EF4-FFF2-40B4-BE49-F238E27FC236}">
                  <a16:creationId xmlns:a16="http://schemas.microsoft.com/office/drawing/2014/main" id="{CC5E2EB1-7C07-43DC-97C3-2435A6BEE7BA}"/>
                </a:ext>
              </a:extLst>
            </p:cNvPr>
            <p:cNvSpPr/>
            <p:nvPr/>
          </p:nvSpPr>
          <p:spPr>
            <a:xfrm>
              <a:off x="7729019" y="2230006"/>
              <a:ext cx="435951" cy="684792"/>
            </a:xfrm>
            <a:custGeom>
              <a:avLst/>
              <a:gdLst>
                <a:gd name="connsiteX0" fmla="*/ 217 w 435951"/>
                <a:gd name="connsiteY0" fmla="*/ 645079 h 684792"/>
                <a:gd name="connsiteX1" fmla="*/ 435952 w 435951"/>
                <a:gd name="connsiteY1" fmla="*/ 635742 h 684792"/>
                <a:gd name="connsiteX2" fmla="*/ 336356 w 435951"/>
                <a:gd name="connsiteY2" fmla="*/ 209344 h 684792"/>
                <a:gd name="connsiteX3" fmla="*/ 25116 w 435951"/>
                <a:gd name="connsiteY3" fmla="*/ 3927 h 684792"/>
                <a:gd name="connsiteX4" fmla="*/ 43791 w 435951"/>
                <a:gd name="connsiteY4" fmla="*/ 159546 h 684792"/>
                <a:gd name="connsiteX5" fmla="*/ 68690 w 435951"/>
                <a:gd name="connsiteY5" fmla="*/ 312053 h 684792"/>
                <a:gd name="connsiteX6" fmla="*/ 43791 w 435951"/>
                <a:gd name="connsiteY6" fmla="*/ 473898 h 684792"/>
                <a:gd name="connsiteX7" fmla="*/ 217 w 435951"/>
                <a:gd name="connsiteY7" fmla="*/ 645079 h 68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5951" h="684792">
                  <a:moveTo>
                    <a:pt x="217" y="645079"/>
                  </a:moveTo>
                  <a:cubicBezTo>
                    <a:pt x="3330" y="697990"/>
                    <a:pt x="323906" y="701102"/>
                    <a:pt x="435952" y="635742"/>
                  </a:cubicBezTo>
                  <a:cubicBezTo>
                    <a:pt x="333243" y="455223"/>
                    <a:pt x="342580" y="277817"/>
                    <a:pt x="336356" y="209344"/>
                  </a:cubicBezTo>
                  <a:cubicBezTo>
                    <a:pt x="323906" y="75512"/>
                    <a:pt x="146500" y="-20973"/>
                    <a:pt x="25116" y="3927"/>
                  </a:cubicBezTo>
                  <a:cubicBezTo>
                    <a:pt x="22004" y="3927"/>
                    <a:pt x="28229" y="106635"/>
                    <a:pt x="43791" y="159546"/>
                  </a:cubicBezTo>
                  <a:cubicBezTo>
                    <a:pt x="59353" y="209344"/>
                    <a:pt x="68690" y="259143"/>
                    <a:pt x="68690" y="312053"/>
                  </a:cubicBezTo>
                  <a:cubicBezTo>
                    <a:pt x="68690" y="368076"/>
                    <a:pt x="56240" y="420987"/>
                    <a:pt x="43791" y="473898"/>
                  </a:cubicBezTo>
                  <a:cubicBezTo>
                    <a:pt x="28229" y="517471"/>
                    <a:pt x="-2895" y="601506"/>
                    <a:pt x="217" y="645079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9" name="任意多边形: 形状 318">
              <a:extLst>
                <a:ext uri="{FF2B5EF4-FFF2-40B4-BE49-F238E27FC236}">
                  <a16:creationId xmlns:a16="http://schemas.microsoft.com/office/drawing/2014/main" id="{F6001752-8BB0-4EF2-B237-C50C1DF25B24}"/>
                </a:ext>
              </a:extLst>
            </p:cNvPr>
            <p:cNvSpPr/>
            <p:nvPr/>
          </p:nvSpPr>
          <p:spPr>
            <a:xfrm>
              <a:off x="7539016" y="2271187"/>
              <a:ext cx="429874" cy="579137"/>
            </a:xfrm>
            <a:custGeom>
              <a:avLst/>
              <a:gdLst>
                <a:gd name="connsiteX0" fmla="*/ 429875 w 429874"/>
                <a:gd name="connsiteY0" fmla="*/ 214849 h 579137"/>
                <a:gd name="connsiteX1" fmla="*/ 380076 w 429874"/>
                <a:gd name="connsiteY1" fmla="*/ 470065 h 579137"/>
                <a:gd name="connsiteX2" fmla="*/ 212007 w 429874"/>
                <a:gd name="connsiteY2" fmla="*/ 578999 h 579137"/>
                <a:gd name="connsiteX3" fmla="*/ 15926 w 429874"/>
                <a:gd name="connsiteY3" fmla="*/ 401592 h 579137"/>
                <a:gd name="connsiteX4" fmla="*/ 12814 w 429874"/>
                <a:gd name="connsiteY4" fmla="*/ 168163 h 579137"/>
                <a:gd name="connsiteX5" fmla="*/ 258693 w 429874"/>
                <a:gd name="connsiteY5" fmla="*/ 94 h 579137"/>
                <a:gd name="connsiteX6" fmla="*/ 429875 w 429874"/>
                <a:gd name="connsiteY6" fmla="*/ 214849 h 57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9874" h="579137">
                  <a:moveTo>
                    <a:pt x="429875" y="214849"/>
                  </a:moveTo>
                  <a:cubicBezTo>
                    <a:pt x="429875" y="214849"/>
                    <a:pt x="426762" y="407817"/>
                    <a:pt x="380076" y="470065"/>
                  </a:cubicBezTo>
                  <a:cubicBezTo>
                    <a:pt x="333390" y="532313"/>
                    <a:pt x="261805" y="582111"/>
                    <a:pt x="212007" y="578999"/>
                  </a:cubicBezTo>
                  <a:cubicBezTo>
                    <a:pt x="143534" y="572774"/>
                    <a:pt x="43938" y="473177"/>
                    <a:pt x="15926" y="401592"/>
                  </a:cubicBezTo>
                  <a:cubicBezTo>
                    <a:pt x="-12085" y="330007"/>
                    <a:pt x="3477" y="221074"/>
                    <a:pt x="12814" y="168163"/>
                  </a:cubicBezTo>
                  <a:cubicBezTo>
                    <a:pt x="28376" y="71679"/>
                    <a:pt x="68837" y="-3019"/>
                    <a:pt x="258693" y="94"/>
                  </a:cubicBezTo>
                  <a:cubicBezTo>
                    <a:pt x="345840" y="94"/>
                    <a:pt x="423649" y="133927"/>
                    <a:pt x="429875" y="214849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0" name="任意多边形: 形状 319">
              <a:extLst>
                <a:ext uri="{FF2B5EF4-FFF2-40B4-BE49-F238E27FC236}">
                  <a16:creationId xmlns:a16="http://schemas.microsoft.com/office/drawing/2014/main" id="{AFA923B6-37EA-4BFE-B36A-6C28B13D2E12}"/>
                </a:ext>
              </a:extLst>
            </p:cNvPr>
            <p:cNvSpPr/>
            <p:nvPr/>
          </p:nvSpPr>
          <p:spPr>
            <a:xfrm>
              <a:off x="7749734" y="2548284"/>
              <a:ext cx="63948" cy="133832"/>
            </a:xfrm>
            <a:custGeom>
              <a:avLst/>
              <a:gdLst>
                <a:gd name="connsiteX0" fmla="*/ 38638 w 63948"/>
                <a:gd name="connsiteY0" fmla="*/ 133833 h 133832"/>
                <a:gd name="connsiteX1" fmla="*/ 4401 w 63948"/>
                <a:gd name="connsiteY1" fmla="*/ 127608 h 133832"/>
                <a:gd name="connsiteX2" fmla="*/ 1289 w 63948"/>
                <a:gd name="connsiteY2" fmla="*/ 121383 h 133832"/>
                <a:gd name="connsiteX3" fmla="*/ 7514 w 63948"/>
                <a:gd name="connsiteY3" fmla="*/ 118271 h 133832"/>
                <a:gd name="connsiteX4" fmla="*/ 47975 w 63948"/>
                <a:gd name="connsiteY4" fmla="*/ 121383 h 133832"/>
                <a:gd name="connsiteX5" fmla="*/ 51087 w 63948"/>
                <a:gd name="connsiteY5" fmla="*/ 118271 h 133832"/>
                <a:gd name="connsiteX6" fmla="*/ 38638 w 63948"/>
                <a:gd name="connsiteY6" fmla="*/ 6225 h 133832"/>
                <a:gd name="connsiteX7" fmla="*/ 44863 w 63948"/>
                <a:gd name="connsiteY7" fmla="*/ 0 h 133832"/>
                <a:gd name="connsiteX8" fmla="*/ 51087 w 63948"/>
                <a:gd name="connsiteY8" fmla="*/ 6225 h 133832"/>
                <a:gd name="connsiteX9" fmla="*/ 63537 w 63948"/>
                <a:gd name="connsiteY9" fmla="*/ 121383 h 133832"/>
                <a:gd name="connsiteX10" fmla="*/ 57312 w 63948"/>
                <a:gd name="connsiteY10" fmla="*/ 133833 h 133832"/>
                <a:gd name="connsiteX11" fmla="*/ 38638 w 63948"/>
                <a:gd name="connsiteY11" fmla="*/ 133833 h 133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3948" h="133832">
                  <a:moveTo>
                    <a:pt x="38638" y="133833"/>
                  </a:moveTo>
                  <a:cubicBezTo>
                    <a:pt x="23076" y="133833"/>
                    <a:pt x="7514" y="127608"/>
                    <a:pt x="4401" y="127608"/>
                  </a:cubicBezTo>
                  <a:cubicBezTo>
                    <a:pt x="1289" y="127608"/>
                    <a:pt x="-1823" y="124496"/>
                    <a:pt x="1289" y="121383"/>
                  </a:cubicBezTo>
                  <a:cubicBezTo>
                    <a:pt x="1289" y="118271"/>
                    <a:pt x="4401" y="115159"/>
                    <a:pt x="7514" y="118271"/>
                  </a:cubicBezTo>
                  <a:cubicBezTo>
                    <a:pt x="19963" y="121383"/>
                    <a:pt x="41750" y="127608"/>
                    <a:pt x="47975" y="121383"/>
                  </a:cubicBezTo>
                  <a:cubicBezTo>
                    <a:pt x="47975" y="121383"/>
                    <a:pt x="51087" y="118271"/>
                    <a:pt x="51087" y="118271"/>
                  </a:cubicBezTo>
                  <a:cubicBezTo>
                    <a:pt x="54200" y="102709"/>
                    <a:pt x="44863" y="34236"/>
                    <a:pt x="38638" y="6225"/>
                  </a:cubicBezTo>
                  <a:cubicBezTo>
                    <a:pt x="38638" y="3112"/>
                    <a:pt x="41750" y="0"/>
                    <a:pt x="44863" y="0"/>
                  </a:cubicBezTo>
                  <a:cubicBezTo>
                    <a:pt x="47975" y="0"/>
                    <a:pt x="51087" y="3112"/>
                    <a:pt x="51087" y="6225"/>
                  </a:cubicBezTo>
                  <a:cubicBezTo>
                    <a:pt x="51087" y="9337"/>
                    <a:pt x="66649" y="99597"/>
                    <a:pt x="63537" y="121383"/>
                  </a:cubicBezTo>
                  <a:cubicBezTo>
                    <a:pt x="63537" y="127608"/>
                    <a:pt x="60425" y="130720"/>
                    <a:pt x="57312" y="133833"/>
                  </a:cubicBezTo>
                  <a:cubicBezTo>
                    <a:pt x="51087" y="133833"/>
                    <a:pt x="44863" y="133833"/>
                    <a:pt x="38638" y="133833"/>
                  </a:cubicBezTo>
                  <a:close/>
                </a:path>
              </a:pathLst>
            </a:custGeom>
            <a:solidFill>
              <a:srgbClr val="E58777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1" name="任意多边形: 形状 320">
              <a:extLst>
                <a:ext uri="{FF2B5EF4-FFF2-40B4-BE49-F238E27FC236}">
                  <a16:creationId xmlns:a16="http://schemas.microsoft.com/office/drawing/2014/main" id="{32388C37-5127-46C9-8063-98B4DC881FB1}"/>
                </a:ext>
              </a:extLst>
            </p:cNvPr>
            <p:cNvSpPr/>
            <p:nvPr/>
          </p:nvSpPr>
          <p:spPr>
            <a:xfrm>
              <a:off x="7710562" y="2722578"/>
              <a:ext cx="105821" cy="62757"/>
            </a:xfrm>
            <a:custGeom>
              <a:avLst/>
              <a:gdLst>
                <a:gd name="connsiteX0" fmla="*/ 0 w 105821"/>
                <a:gd name="connsiteY0" fmla="*/ 0 h 62757"/>
                <a:gd name="connsiteX1" fmla="*/ 105821 w 105821"/>
                <a:gd name="connsiteY1" fmla="*/ 15562 h 62757"/>
                <a:gd name="connsiteX2" fmla="*/ 46686 w 105821"/>
                <a:gd name="connsiteY2" fmla="*/ 62248 h 62757"/>
                <a:gd name="connsiteX3" fmla="*/ 0 w 105821"/>
                <a:gd name="connsiteY3" fmla="*/ 0 h 62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1" h="62757">
                  <a:moveTo>
                    <a:pt x="0" y="0"/>
                  </a:moveTo>
                  <a:cubicBezTo>
                    <a:pt x="52911" y="31124"/>
                    <a:pt x="105821" y="15562"/>
                    <a:pt x="105821" y="15562"/>
                  </a:cubicBezTo>
                  <a:cubicBezTo>
                    <a:pt x="105821" y="15562"/>
                    <a:pt x="84034" y="68473"/>
                    <a:pt x="46686" y="62248"/>
                  </a:cubicBezTo>
                  <a:cubicBezTo>
                    <a:pt x="6225" y="5602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2" name="任意多边形: 形状 321">
              <a:extLst>
                <a:ext uri="{FF2B5EF4-FFF2-40B4-BE49-F238E27FC236}">
                  <a16:creationId xmlns:a16="http://schemas.microsoft.com/office/drawing/2014/main" id="{D9A9AB88-495E-4544-B8D7-2DD551921B0C}"/>
                </a:ext>
              </a:extLst>
            </p:cNvPr>
            <p:cNvSpPr/>
            <p:nvPr/>
          </p:nvSpPr>
          <p:spPr>
            <a:xfrm>
              <a:off x="7859957" y="2532722"/>
              <a:ext cx="40460" cy="40461"/>
            </a:xfrm>
            <a:custGeom>
              <a:avLst/>
              <a:gdLst>
                <a:gd name="connsiteX0" fmla="*/ 0 w 40460"/>
                <a:gd name="connsiteY0" fmla="*/ 21787 h 40461"/>
                <a:gd name="connsiteX1" fmla="*/ 21787 w 40460"/>
                <a:gd name="connsiteY1" fmla="*/ 40461 h 40461"/>
                <a:gd name="connsiteX2" fmla="*/ 40461 w 40460"/>
                <a:gd name="connsiteY2" fmla="*/ 18674 h 40461"/>
                <a:gd name="connsiteX3" fmla="*/ 18674 w 40460"/>
                <a:gd name="connsiteY3" fmla="*/ 0 h 40461"/>
                <a:gd name="connsiteX4" fmla="*/ 0 w 40460"/>
                <a:gd name="connsiteY4" fmla="*/ 21787 h 4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60" h="40461">
                  <a:moveTo>
                    <a:pt x="0" y="21787"/>
                  </a:moveTo>
                  <a:cubicBezTo>
                    <a:pt x="0" y="34236"/>
                    <a:pt x="9337" y="40461"/>
                    <a:pt x="21787" y="40461"/>
                  </a:cubicBezTo>
                  <a:cubicBezTo>
                    <a:pt x="34236" y="40461"/>
                    <a:pt x="40461" y="31124"/>
                    <a:pt x="40461" y="18674"/>
                  </a:cubicBezTo>
                  <a:cubicBezTo>
                    <a:pt x="40461" y="6225"/>
                    <a:pt x="31124" y="0"/>
                    <a:pt x="18674" y="0"/>
                  </a:cubicBezTo>
                  <a:cubicBezTo>
                    <a:pt x="9337" y="0"/>
                    <a:pt x="0" y="9337"/>
                    <a:pt x="0" y="21787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3" name="任意多边形: 形状 322">
              <a:extLst>
                <a:ext uri="{FF2B5EF4-FFF2-40B4-BE49-F238E27FC236}">
                  <a16:creationId xmlns:a16="http://schemas.microsoft.com/office/drawing/2014/main" id="{6843431E-82DD-4689-B78D-D1FD48DB664B}"/>
                </a:ext>
              </a:extLst>
            </p:cNvPr>
            <p:cNvSpPr/>
            <p:nvPr/>
          </p:nvSpPr>
          <p:spPr>
            <a:xfrm>
              <a:off x="7666988" y="2510935"/>
              <a:ext cx="40461" cy="40461"/>
            </a:xfrm>
            <a:custGeom>
              <a:avLst/>
              <a:gdLst>
                <a:gd name="connsiteX0" fmla="*/ 0 w 40461"/>
                <a:gd name="connsiteY0" fmla="*/ 21787 h 40461"/>
                <a:gd name="connsiteX1" fmla="*/ 21787 w 40461"/>
                <a:gd name="connsiteY1" fmla="*/ 40461 h 40461"/>
                <a:gd name="connsiteX2" fmla="*/ 40461 w 40461"/>
                <a:gd name="connsiteY2" fmla="*/ 18674 h 40461"/>
                <a:gd name="connsiteX3" fmla="*/ 18675 w 40461"/>
                <a:gd name="connsiteY3" fmla="*/ 0 h 40461"/>
                <a:gd name="connsiteX4" fmla="*/ 0 w 40461"/>
                <a:gd name="connsiteY4" fmla="*/ 21787 h 4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61" h="40461">
                  <a:moveTo>
                    <a:pt x="0" y="21787"/>
                  </a:moveTo>
                  <a:cubicBezTo>
                    <a:pt x="0" y="34236"/>
                    <a:pt x="9337" y="40461"/>
                    <a:pt x="21787" y="40461"/>
                  </a:cubicBezTo>
                  <a:cubicBezTo>
                    <a:pt x="34237" y="40461"/>
                    <a:pt x="40461" y="31124"/>
                    <a:pt x="40461" y="18674"/>
                  </a:cubicBezTo>
                  <a:cubicBezTo>
                    <a:pt x="40461" y="6225"/>
                    <a:pt x="31124" y="0"/>
                    <a:pt x="18675" y="0"/>
                  </a:cubicBezTo>
                  <a:cubicBezTo>
                    <a:pt x="9337" y="0"/>
                    <a:pt x="0" y="9337"/>
                    <a:pt x="0" y="21787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4" name="任意多边形: 形状 323">
              <a:extLst>
                <a:ext uri="{FF2B5EF4-FFF2-40B4-BE49-F238E27FC236}">
                  <a16:creationId xmlns:a16="http://schemas.microsoft.com/office/drawing/2014/main" id="{32661047-80CA-4543-9A9D-11FCE2B2F265}"/>
                </a:ext>
              </a:extLst>
            </p:cNvPr>
            <p:cNvSpPr/>
            <p:nvPr/>
          </p:nvSpPr>
          <p:spPr>
            <a:xfrm>
              <a:off x="7844395" y="2482110"/>
              <a:ext cx="91548" cy="41274"/>
            </a:xfrm>
            <a:custGeom>
              <a:avLst/>
              <a:gdLst>
                <a:gd name="connsiteX0" fmla="*/ 80922 w 91548"/>
                <a:gd name="connsiteY0" fmla="*/ 41274 h 41274"/>
                <a:gd name="connsiteX1" fmla="*/ 74697 w 91548"/>
                <a:gd name="connsiteY1" fmla="*/ 38162 h 41274"/>
                <a:gd name="connsiteX2" fmla="*/ 9337 w 91548"/>
                <a:gd name="connsiteY2" fmla="*/ 19487 h 41274"/>
                <a:gd name="connsiteX3" fmla="*/ 0 w 91548"/>
                <a:gd name="connsiteY3" fmla="*/ 13263 h 41274"/>
                <a:gd name="connsiteX4" fmla="*/ 6225 w 91548"/>
                <a:gd name="connsiteY4" fmla="*/ 3925 h 41274"/>
                <a:gd name="connsiteX5" fmla="*/ 90259 w 91548"/>
                <a:gd name="connsiteY5" fmla="*/ 28825 h 41274"/>
                <a:gd name="connsiteX6" fmla="*/ 87147 w 91548"/>
                <a:gd name="connsiteY6" fmla="*/ 41274 h 41274"/>
                <a:gd name="connsiteX7" fmla="*/ 80922 w 91548"/>
                <a:gd name="connsiteY7" fmla="*/ 41274 h 41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48" h="41274">
                  <a:moveTo>
                    <a:pt x="80922" y="41274"/>
                  </a:moveTo>
                  <a:cubicBezTo>
                    <a:pt x="77810" y="41274"/>
                    <a:pt x="74697" y="41274"/>
                    <a:pt x="74697" y="38162"/>
                  </a:cubicBezTo>
                  <a:cubicBezTo>
                    <a:pt x="52911" y="7038"/>
                    <a:pt x="9337" y="19487"/>
                    <a:pt x="9337" y="19487"/>
                  </a:cubicBezTo>
                  <a:cubicBezTo>
                    <a:pt x="6225" y="19487"/>
                    <a:pt x="0" y="19487"/>
                    <a:pt x="0" y="13263"/>
                  </a:cubicBezTo>
                  <a:cubicBezTo>
                    <a:pt x="0" y="10150"/>
                    <a:pt x="0" y="3925"/>
                    <a:pt x="6225" y="3925"/>
                  </a:cubicBezTo>
                  <a:cubicBezTo>
                    <a:pt x="24899" y="-2299"/>
                    <a:pt x="68473" y="-5412"/>
                    <a:pt x="90259" y="28825"/>
                  </a:cubicBezTo>
                  <a:cubicBezTo>
                    <a:pt x="93372" y="31937"/>
                    <a:pt x="90259" y="38162"/>
                    <a:pt x="87147" y="41274"/>
                  </a:cubicBezTo>
                  <a:cubicBezTo>
                    <a:pt x="84034" y="41274"/>
                    <a:pt x="84034" y="41274"/>
                    <a:pt x="80922" y="41274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5" name="任意多边形: 形状 324">
              <a:extLst>
                <a:ext uri="{FF2B5EF4-FFF2-40B4-BE49-F238E27FC236}">
                  <a16:creationId xmlns:a16="http://schemas.microsoft.com/office/drawing/2014/main" id="{2C67EA63-DA61-4B07-83AD-6B5E99EFCFB7}"/>
                </a:ext>
              </a:extLst>
            </p:cNvPr>
            <p:cNvSpPr/>
            <p:nvPr/>
          </p:nvSpPr>
          <p:spPr>
            <a:xfrm>
              <a:off x="7646269" y="2453550"/>
              <a:ext cx="94638" cy="35598"/>
            </a:xfrm>
            <a:custGeom>
              <a:avLst/>
              <a:gdLst>
                <a:gd name="connsiteX0" fmla="*/ 89192 w 94638"/>
                <a:gd name="connsiteY0" fmla="*/ 35598 h 35598"/>
                <a:gd name="connsiteX1" fmla="*/ 82966 w 94638"/>
                <a:gd name="connsiteY1" fmla="*/ 32486 h 35598"/>
                <a:gd name="connsiteX2" fmla="*/ 14494 w 94638"/>
                <a:gd name="connsiteY2" fmla="*/ 29374 h 35598"/>
                <a:gd name="connsiteX3" fmla="*/ 2045 w 94638"/>
                <a:gd name="connsiteY3" fmla="*/ 26261 h 35598"/>
                <a:gd name="connsiteX4" fmla="*/ 5157 w 94638"/>
                <a:gd name="connsiteY4" fmla="*/ 13812 h 35598"/>
                <a:gd name="connsiteX5" fmla="*/ 92304 w 94638"/>
                <a:gd name="connsiteY5" fmla="*/ 16924 h 35598"/>
                <a:gd name="connsiteX6" fmla="*/ 92304 w 94638"/>
                <a:gd name="connsiteY6" fmla="*/ 29374 h 35598"/>
                <a:gd name="connsiteX7" fmla="*/ 89192 w 94638"/>
                <a:gd name="connsiteY7" fmla="*/ 35598 h 35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4638" h="35598">
                  <a:moveTo>
                    <a:pt x="89192" y="35598"/>
                  </a:moveTo>
                  <a:cubicBezTo>
                    <a:pt x="86079" y="35598"/>
                    <a:pt x="86079" y="35598"/>
                    <a:pt x="82966" y="32486"/>
                  </a:cubicBezTo>
                  <a:cubicBezTo>
                    <a:pt x="48730" y="4474"/>
                    <a:pt x="17607" y="29374"/>
                    <a:pt x="14494" y="29374"/>
                  </a:cubicBezTo>
                  <a:cubicBezTo>
                    <a:pt x="11382" y="32486"/>
                    <a:pt x="5157" y="32486"/>
                    <a:pt x="2045" y="26261"/>
                  </a:cubicBezTo>
                  <a:cubicBezTo>
                    <a:pt x="-1068" y="23149"/>
                    <a:pt x="-1068" y="16924"/>
                    <a:pt x="5157" y="13812"/>
                  </a:cubicBezTo>
                  <a:cubicBezTo>
                    <a:pt x="20719" y="1362"/>
                    <a:pt x="58068" y="-11088"/>
                    <a:pt x="92304" y="16924"/>
                  </a:cubicBezTo>
                  <a:cubicBezTo>
                    <a:pt x="95416" y="20036"/>
                    <a:pt x="95416" y="26261"/>
                    <a:pt x="92304" y="29374"/>
                  </a:cubicBezTo>
                  <a:cubicBezTo>
                    <a:pt x="92304" y="32486"/>
                    <a:pt x="92304" y="35598"/>
                    <a:pt x="89192" y="35598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6" name="任意多边形: 形状 325">
              <a:extLst>
                <a:ext uri="{FF2B5EF4-FFF2-40B4-BE49-F238E27FC236}">
                  <a16:creationId xmlns:a16="http://schemas.microsoft.com/office/drawing/2014/main" id="{87667449-4E26-4522-9C9C-96B55E4A1261}"/>
                </a:ext>
              </a:extLst>
            </p:cNvPr>
            <p:cNvSpPr/>
            <p:nvPr/>
          </p:nvSpPr>
          <p:spPr>
            <a:xfrm>
              <a:off x="7740860" y="2233932"/>
              <a:ext cx="253458" cy="298789"/>
            </a:xfrm>
            <a:custGeom>
              <a:avLst/>
              <a:gdLst>
                <a:gd name="connsiteX0" fmla="*/ 10163 w 253458"/>
                <a:gd name="connsiteY0" fmla="*/ 0 h 298789"/>
                <a:gd name="connsiteX1" fmla="*/ 25725 w 253458"/>
                <a:gd name="connsiteY1" fmla="*/ 133833 h 298789"/>
                <a:gd name="connsiteX2" fmla="*/ 246704 w 253458"/>
                <a:gd name="connsiteY2" fmla="*/ 298790 h 298789"/>
                <a:gd name="connsiteX3" fmla="*/ 10163 w 253458"/>
                <a:gd name="connsiteY3" fmla="*/ 0 h 298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458" h="298789">
                  <a:moveTo>
                    <a:pt x="10163" y="0"/>
                  </a:moveTo>
                  <a:cubicBezTo>
                    <a:pt x="10163" y="0"/>
                    <a:pt x="-20961" y="87147"/>
                    <a:pt x="25725" y="133833"/>
                  </a:cubicBezTo>
                  <a:cubicBezTo>
                    <a:pt x="25725" y="133833"/>
                    <a:pt x="231142" y="208530"/>
                    <a:pt x="246704" y="298790"/>
                  </a:cubicBezTo>
                  <a:cubicBezTo>
                    <a:pt x="249817" y="298790"/>
                    <a:pt x="308952" y="9337"/>
                    <a:pt x="10163" y="0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7" name="任意多边形: 形状 326">
              <a:extLst>
                <a:ext uri="{FF2B5EF4-FFF2-40B4-BE49-F238E27FC236}">
                  <a16:creationId xmlns:a16="http://schemas.microsoft.com/office/drawing/2014/main" id="{2752C3CD-7001-4233-B87C-E5B33FDFB0F8}"/>
                </a:ext>
              </a:extLst>
            </p:cNvPr>
            <p:cNvSpPr/>
            <p:nvPr/>
          </p:nvSpPr>
          <p:spPr>
            <a:xfrm>
              <a:off x="7514481" y="2233615"/>
              <a:ext cx="255216" cy="288111"/>
            </a:xfrm>
            <a:custGeom>
              <a:avLst/>
              <a:gdLst>
                <a:gd name="connsiteX0" fmla="*/ 255216 w 255216"/>
                <a:gd name="connsiteY0" fmla="*/ 134150 h 288111"/>
                <a:gd name="connsiteX1" fmla="*/ 102709 w 255216"/>
                <a:gd name="connsiteY1" fmla="*/ 165274 h 288111"/>
                <a:gd name="connsiteX2" fmla="*/ 24899 w 255216"/>
                <a:gd name="connsiteY2" fmla="*/ 277320 h 288111"/>
                <a:gd name="connsiteX3" fmla="*/ 0 w 255216"/>
                <a:gd name="connsiteY3" fmla="*/ 271095 h 288111"/>
                <a:gd name="connsiteX4" fmla="*/ 236542 w 255216"/>
                <a:gd name="connsiteY4" fmla="*/ 317 h 288111"/>
                <a:gd name="connsiteX5" fmla="*/ 255216 w 255216"/>
                <a:gd name="connsiteY5" fmla="*/ 134150 h 288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5216" h="288111">
                  <a:moveTo>
                    <a:pt x="255216" y="134150"/>
                  </a:moveTo>
                  <a:cubicBezTo>
                    <a:pt x="255216" y="134150"/>
                    <a:pt x="155620" y="168387"/>
                    <a:pt x="102709" y="165274"/>
                  </a:cubicBezTo>
                  <a:cubicBezTo>
                    <a:pt x="49798" y="162162"/>
                    <a:pt x="24899" y="277320"/>
                    <a:pt x="24899" y="277320"/>
                  </a:cubicBezTo>
                  <a:cubicBezTo>
                    <a:pt x="24899" y="277320"/>
                    <a:pt x="0" y="305332"/>
                    <a:pt x="0" y="271095"/>
                  </a:cubicBezTo>
                  <a:cubicBezTo>
                    <a:pt x="3113" y="190173"/>
                    <a:pt x="34237" y="-9020"/>
                    <a:pt x="236542" y="317"/>
                  </a:cubicBezTo>
                  <a:cubicBezTo>
                    <a:pt x="236542" y="317"/>
                    <a:pt x="230317" y="124813"/>
                    <a:pt x="255216" y="134150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8" name="任意多边形: 形状 327">
              <a:extLst>
                <a:ext uri="{FF2B5EF4-FFF2-40B4-BE49-F238E27FC236}">
                  <a16:creationId xmlns:a16="http://schemas.microsoft.com/office/drawing/2014/main" id="{7726055F-FF4E-41E0-9401-1420410280EE}"/>
                </a:ext>
              </a:extLst>
            </p:cNvPr>
            <p:cNvSpPr/>
            <p:nvPr/>
          </p:nvSpPr>
          <p:spPr>
            <a:xfrm>
              <a:off x="7542492" y="2716353"/>
              <a:ext cx="308127" cy="248665"/>
            </a:xfrm>
            <a:custGeom>
              <a:avLst/>
              <a:gdLst>
                <a:gd name="connsiteX0" fmla="*/ 273891 w 308127"/>
                <a:gd name="connsiteY0" fmla="*/ 93372 h 248665"/>
                <a:gd name="connsiteX1" fmla="*/ 308127 w 308127"/>
                <a:gd name="connsiteY1" fmla="*/ 242767 h 248665"/>
                <a:gd name="connsiteX2" fmla="*/ 0 w 308127"/>
                <a:gd name="connsiteY2" fmla="*/ 180519 h 248665"/>
                <a:gd name="connsiteX3" fmla="*/ 80922 w 308127"/>
                <a:gd name="connsiteY3" fmla="*/ 0 h 248665"/>
                <a:gd name="connsiteX4" fmla="*/ 273891 w 308127"/>
                <a:gd name="connsiteY4" fmla="*/ 93372 h 24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127" h="248665">
                  <a:moveTo>
                    <a:pt x="273891" y="93372"/>
                  </a:moveTo>
                  <a:cubicBezTo>
                    <a:pt x="273891" y="93372"/>
                    <a:pt x="252104" y="205418"/>
                    <a:pt x="308127" y="242767"/>
                  </a:cubicBezTo>
                  <a:cubicBezTo>
                    <a:pt x="308127" y="242767"/>
                    <a:pt x="118271" y="277003"/>
                    <a:pt x="0" y="180519"/>
                  </a:cubicBezTo>
                  <a:cubicBezTo>
                    <a:pt x="62248" y="146282"/>
                    <a:pt x="71585" y="62248"/>
                    <a:pt x="80922" y="0"/>
                  </a:cubicBezTo>
                  <a:cubicBezTo>
                    <a:pt x="80922" y="0"/>
                    <a:pt x="220980" y="93372"/>
                    <a:pt x="273891" y="93372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9" name="任意多边形: 形状 328">
              <a:extLst>
                <a:ext uri="{FF2B5EF4-FFF2-40B4-BE49-F238E27FC236}">
                  <a16:creationId xmlns:a16="http://schemas.microsoft.com/office/drawing/2014/main" id="{FCE9185D-EDEA-4FB6-8A2E-8A89A0A4F1C0}"/>
                </a:ext>
              </a:extLst>
            </p:cNvPr>
            <p:cNvSpPr/>
            <p:nvPr/>
          </p:nvSpPr>
          <p:spPr>
            <a:xfrm>
              <a:off x="7602406" y="2751367"/>
              <a:ext cx="221490" cy="105043"/>
            </a:xfrm>
            <a:custGeom>
              <a:avLst/>
              <a:gdLst>
                <a:gd name="connsiteX0" fmla="*/ 154842 w 221490"/>
                <a:gd name="connsiteY0" fmla="*/ 105043 h 105043"/>
                <a:gd name="connsiteX1" fmla="*/ 129942 w 221490"/>
                <a:gd name="connsiteY1" fmla="*/ 101931 h 105043"/>
                <a:gd name="connsiteX2" fmla="*/ 2334 w 221490"/>
                <a:gd name="connsiteY2" fmla="*/ 11672 h 105043"/>
                <a:gd name="connsiteX3" fmla="*/ 2334 w 221490"/>
                <a:gd name="connsiteY3" fmla="*/ 2334 h 105043"/>
                <a:gd name="connsiteX4" fmla="*/ 11671 w 221490"/>
                <a:gd name="connsiteY4" fmla="*/ 2334 h 105043"/>
                <a:gd name="connsiteX5" fmla="*/ 136167 w 221490"/>
                <a:gd name="connsiteY5" fmla="*/ 89481 h 105043"/>
                <a:gd name="connsiteX6" fmla="*/ 210865 w 221490"/>
                <a:gd name="connsiteY6" fmla="*/ 77032 h 105043"/>
                <a:gd name="connsiteX7" fmla="*/ 220202 w 221490"/>
                <a:gd name="connsiteY7" fmla="*/ 80144 h 105043"/>
                <a:gd name="connsiteX8" fmla="*/ 217089 w 221490"/>
                <a:gd name="connsiteY8" fmla="*/ 89481 h 105043"/>
                <a:gd name="connsiteX9" fmla="*/ 154842 w 221490"/>
                <a:gd name="connsiteY9" fmla="*/ 105043 h 105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1490" h="105043">
                  <a:moveTo>
                    <a:pt x="154842" y="105043"/>
                  </a:moveTo>
                  <a:cubicBezTo>
                    <a:pt x="148617" y="105043"/>
                    <a:pt x="139280" y="105043"/>
                    <a:pt x="129942" y="101931"/>
                  </a:cubicBezTo>
                  <a:cubicBezTo>
                    <a:pt x="89481" y="89481"/>
                    <a:pt x="5447" y="14784"/>
                    <a:pt x="2334" y="11672"/>
                  </a:cubicBezTo>
                  <a:cubicBezTo>
                    <a:pt x="-778" y="8559"/>
                    <a:pt x="-778" y="5447"/>
                    <a:pt x="2334" y="2334"/>
                  </a:cubicBezTo>
                  <a:cubicBezTo>
                    <a:pt x="5447" y="-778"/>
                    <a:pt x="8559" y="-778"/>
                    <a:pt x="11671" y="2334"/>
                  </a:cubicBezTo>
                  <a:cubicBezTo>
                    <a:pt x="11671" y="2334"/>
                    <a:pt x="95706" y="77032"/>
                    <a:pt x="136167" y="89481"/>
                  </a:cubicBezTo>
                  <a:cubicBezTo>
                    <a:pt x="173516" y="98818"/>
                    <a:pt x="210865" y="77032"/>
                    <a:pt x="210865" y="77032"/>
                  </a:cubicBezTo>
                  <a:cubicBezTo>
                    <a:pt x="213977" y="73919"/>
                    <a:pt x="217089" y="77032"/>
                    <a:pt x="220202" y="80144"/>
                  </a:cubicBezTo>
                  <a:cubicBezTo>
                    <a:pt x="223314" y="83257"/>
                    <a:pt x="220202" y="86369"/>
                    <a:pt x="217089" y="89481"/>
                  </a:cubicBezTo>
                  <a:cubicBezTo>
                    <a:pt x="213977" y="89481"/>
                    <a:pt x="189078" y="105043"/>
                    <a:pt x="154842" y="105043"/>
                  </a:cubicBezTo>
                  <a:close/>
                </a:path>
              </a:pathLst>
            </a:custGeom>
            <a:solidFill>
              <a:srgbClr val="E58777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0" name="任意多边形: 形状 329">
              <a:extLst>
                <a:ext uri="{FF2B5EF4-FFF2-40B4-BE49-F238E27FC236}">
                  <a16:creationId xmlns:a16="http://schemas.microsoft.com/office/drawing/2014/main" id="{138ABCD8-BA38-45B7-8DCC-7AC075C49B39}"/>
                </a:ext>
              </a:extLst>
            </p:cNvPr>
            <p:cNvSpPr/>
            <p:nvPr/>
          </p:nvSpPr>
          <p:spPr>
            <a:xfrm>
              <a:off x="7978227" y="3068053"/>
              <a:ext cx="104092" cy="566455"/>
            </a:xfrm>
            <a:custGeom>
              <a:avLst/>
              <a:gdLst>
                <a:gd name="connsiteX0" fmla="*/ 6225 w 104092"/>
                <a:gd name="connsiteY0" fmla="*/ 566455 h 566455"/>
                <a:gd name="connsiteX1" fmla="*/ 6225 w 104092"/>
                <a:gd name="connsiteY1" fmla="*/ 566455 h 566455"/>
                <a:gd name="connsiteX2" fmla="*/ 0 w 104092"/>
                <a:gd name="connsiteY2" fmla="*/ 557118 h 566455"/>
                <a:gd name="connsiteX3" fmla="*/ 24899 w 104092"/>
                <a:gd name="connsiteY3" fmla="*/ 504208 h 566455"/>
                <a:gd name="connsiteX4" fmla="*/ 80922 w 104092"/>
                <a:gd name="connsiteY4" fmla="*/ 361037 h 566455"/>
                <a:gd name="connsiteX5" fmla="*/ 43574 w 104092"/>
                <a:gd name="connsiteY5" fmla="*/ 6225 h 566455"/>
                <a:gd name="connsiteX6" fmla="*/ 46686 w 104092"/>
                <a:gd name="connsiteY6" fmla="*/ 0 h 566455"/>
                <a:gd name="connsiteX7" fmla="*/ 52911 w 104092"/>
                <a:gd name="connsiteY7" fmla="*/ 3112 h 566455"/>
                <a:gd name="connsiteX8" fmla="*/ 90260 w 104092"/>
                <a:gd name="connsiteY8" fmla="*/ 367262 h 566455"/>
                <a:gd name="connsiteX9" fmla="*/ 34237 w 104092"/>
                <a:gd name="connsiteY9" fmla="*/ 513545 h 566455"/>
                <a:gd name="connsiteX10" fmla="*/ 9337 w 104092"/>
                <a:gd name="connsiteY10" fmla="*/ 566455 h 566455"/>
                <a:gd name="connsiteX11" fmla="*/ 6225 w 104092"/>
                <a:gd name="connsiteY11" fmla="*/ 566455 h 566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092" h="566455">
                  <a:moveTo>
                    <a:pt x="6225" y="566455"/>
                  </a:moveTo>
                  <a:cubicBezTo>
                    <a:pt x="6225" y="566455"/>
                    <a:pt x="6225" y="566455"/>
                    <a:pt x="6225" y="566455"/>
                  </a:cubicBezTo>
                  <a:cubicBezTo>
                    <a:pt x="0" y="563343"/>
                    <a:pt x="0" y="560231"/>
                    <a:pt x="0" y="557118"/>
                  </a:cubicBezTo>
                  <a:cubicBezTo>
                    <a:pt x="6225" y="541556"/>
                    <a:pt x="15562" y="522882"/>
                    <a:pt x="24899" y="504208"/>
                  </a:cubicBezTo>
                  <a:cubicBezTo>
                    <a:pt x="46686" y="454409"/>
                    <a:pt x="71585" y="404611"/>
                    <a:pt x="80922" y="361037"/>
                  </a:cubicBezTo>
                  <a:cubicBezTo>
                    <a:pt x="105822" y="239654"/>
                    <a:pt x="93372" y="118271"/>
                    <a:pt x="43574" y="6225"/>
                  </a:cubicBezTo>
                  <a:cubicBezTo>
                    <a:pt x="43574" y="3112"/>
                    <a:pt x="43574" y="0"/>
                    <a:pt x="46686" y="0"/>
                  </a:cubicBezTo>
                  <a:cubicBezTo>
                    <a:pt x="49798" y="0"/>
                    <a:pt x="52911" y="0"/>
                    <a:pt x="52911" y="3112"/>
                  </a:cubicBezTo>
                  <a:cubicBezTo>
                    <a:pt x="102709" y="121383"/>
                    <a:pt x="118271" y="242767"/>
                    <a:pt x="90260" y="367262"/>
                  </a:cubicBezTo>
                  <a:cubicBezTo>
                    <a:pt x="80922" y="413948"/>
                    <a:pt x="56023" y="463746"/>
                    <a:pt x="34237" y="513545"/>
                  </a:cubicBezTo>
                  <a:cubicBezTo>
                    <a:pt x="24899" y="532219"/>
                    <a:pt x="15562" y="550893"/>
                    <a:pt x="9337" y="566455"/>
                  </a:cubicBezTo>
                  <a:cubicBezTo>
                    <a:pt x="12450" y="563343"/>
                    <a:pt x="9337" y="566455"/>
                    <a:pt x="6225" y="566455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1" name="任意多边形: 形状 330">
              <a:extLst>
                <a:ext uri="{FF2B5EF4-FFF2-40B4-BE49-F238E27FC236}">
                  <a16:creationId xmlns:a16="http://schemas.microsoft.com/office/drawing/2014/main" id="{9DD94DEC-346C-434E-8967-04F0D203EA4F}"/>
                </a:ext>
              </a:extLst>
            </p:cNvPr>
            <p:cNvSpPr/>
            <p:nvPr/>
          </p:nvSpPr>
          <p:spPr>
            <a:xfrm>
              <a:off x="7526930" y="3461883"/>
              <a:ext cx="404610" cy="82366"/>
            </a:xfrm>
            <a:custGeom>
              <a:avLst/>
              <a:gdLst>
                <a:gd name="connsiteX0" fmla="*/ 398386 w 404610"/>
                <a:gd name="connsiteY0" fmla="*/ 82366 h 82366"/>
                <a:gd name="connsiteX1" fmla="*/ 398386 w 404610"/>
                <a:gd name="connsiteY1" fmla="*/ 82366 h 82366"/>
                <a:gd name="connsiteX2" fmla="*/ 6225 w 404610"/>
                <a:gd name="connsiteY2" fmla="*/ 13893 h 82366"/>
                <a:gd name="connsiteX3" fmla="*/ 0 w 404610"/>
                <a:gd name="connsiteY3" fmla="*/ 7669 h 82366"/>
                <a:gd name="connsiteX4" fmla="*/ 6225 w 404610"/>
                <a:gd name="connsiteY4" fmla="*/ 1444 h 82366"/>
                <a:gd name="connsiteX5" fmla="*/ 401499 w 404610"/>
                <a:gd name="connsiteY5" fmla="*/ 73029 h 82366"/>
                <a:gd name="connsiteX6" fmla="*/ 404611 w 404610"/>
                <a:gd name="connsiteY6" fmla="*/ 79254 h 82366"/>
                <a:gd name="connsiteX7" fmla="*/ 398386 w 404610"/>
                <a:gd name="connsiteY7" fmla="*/ 82366 h 82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610" h="82366">
                  <a:moveTo>
                    <a:pt x="398386" y="82366"/>
                  </a:moveTo>
                  <a:cubicBezTo>
                    <a:pt x="398386" y="82366"/>
                    <a:pt x="395274" y="82366"/>
                    <a:pt x="398386" y="82366"/>
                  </a:cubicBezTo>
                  <a:cubicBezTo>
                    <a:pt x="317464" y="38793"/>
                    <a:pt x="108934" y="1444"/>
                    <a:pt x="6225" y="13893"/>
                  </a:cubicBezTo>
                  <a:cubicBezTo>
                    <a:pt x="3113" y="13893"/>
                    <a:pt x="0" y="10781"/>
                    <a:pt x="0" y="7669"/>
                  </a:cubicBezTo>
                  <a:cubicBezTo>
                    <a:pt x="0" y="4556"/>
                    <a:pt x="3113" y="1444"/>
                    <a:pt x="6225" y="1444"/>
                  </a:cubicBezTo>
                  <a:cubicBezTo>
                    <a:pt x="112046" y="-7893"/>
                    <a:pt x="320576" y="29455"/>
                    <a:pt x="401499" y="73029"/>
                  </a:cubicBezTo>
                  <a:cubicBezTo>
                    <a:pt x="404611" y="73029"/>
                    <a:pt x="404611" y="79254"/>
                    <a:pt x="404611" y="79254"/>
                  </a:cubicBezTo>
                  <a:cubicBezTo>
                    <a:pt x="401499" y="79254"/>
                    <a:pt x="401499" y="82366"/>
                    <a:pt x="398386" y="82366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2" name="任意多边形: 形状 331">
              <a:extLst>
                <a:ext uri="{FF2B5EF4-FFF2-40B4-BE49-F238E27FC236}">
                  <a16:creationId xmlns:a16="http://schemas.microsoft.com/office/drawing/2014/main" id="{C6FAF8B2-57CE-45E4-9D9E-32F7A7A132F2}"/>
                </a:ext>
              </a:extLst>
            </p:cNvPr>
            <p:cNvSpPr/>
            <p:nvPr/>
          </p:nvSpPr>
          <p:spPr>
            <a:xfrm>
              <a:off x="7455346" y="2576295"/>
              <a:ext cx="164956" cy="301902"/>
            </a:xfrm>
            <a:custGeom>
              <a:avLst/>
              <a:gdLst>
                <a:gd name="connsiteX0" fmla="*/ 87147 w 164956"/>
                <a:gd name="connsiteY0" fmla="*/ 37349 h 301902"/>
                <a:gd name="connsiteX1" fmla="*/ 164956 w 164956"/>
                <a:gd name="connsiteY1" fmla="*/ 301902 h 301902"/>
                <a:gd name="connsiteX2" fmla="*/ 0 w 164956"/>
                <a:gd name="connsiteY2" fmla="*/ 270778 h 301902"/>
                <a:gd name="connsiteX3" fmla="*/ 46686 w 164956"/>
                <a:gd name="connsiteY3" fmla="*/ 0 h 301902"/>
                <a:gd name="connsiteX4" fmla="*/ 87147 w 164956"/>
                <a:gd name="connsiteY4" fmla="*/ 37349 h 301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956" h="301902">
                  <a:moveTo>
                    <a:pt x="87147" y="37349"/>
                  </a:moveTo>
                  <a:cubicBezTo>
                    <a:pt x="87147" y="37349"/>
                    <a:pt x="90259" y="236542"/>
                    <a:pt x="164956" y="301902"/>
                  </a:cubicBezTo>
                  <a:cubicBezTo>
                    <a:pt x="164956" y="301902"/>
                    <a:pt x="52911" y="301902"/>
                    <a:pt x="0" y="270778"/>
                  </a:cubicBezTo>
                  <a:lnTo>
                    <a:pt x="46686" y="0"/>
                  </a:lnTo>
                  <a:lnTo>
                    <a:pt x="87147" y="37349"/>
                  </a:ln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3" name="任意多边形: 形状 332">
              <a:extLst>
                <a:ext uri="{FF2B5EF4-FFF2-40B4-BE49-F238E27FC236}">
                  <a16:creationId xmlns:a16="http://schemas.microsoft.com/office/drawing/2014/main" id="{DFFB713F-0E2D-4446-B0A5-C87FC1B84E37}"/>
                </a:ext>
              </a:extLst>
            </p:cNvPr>
            <p:cNvSpPr/>
            <p:nvPr/>
          </p:nvSpPr>
          <p:spPr>
            <a:xfrm>
              <a:off x="7496400" y="2494430"/>
              <a:ext cx="74520" cy="118143"/>
            </a:xfrm>
            <a:custGeom>
              <a:avLst/>
              <a:gdLst>
                <a:gd name="connsiteX0" fmla="*/ 70992 w 74520"/>
                <a:gd name="connsiteY0" fmla="*/ 22730 h 118143"/>
                <a:gd name="connsiteX1" fmla="*/ 11857 w 74520"/>
                <a:gd name="connsiteY1" fmla="*/ 4056 h 118143"/>
                <a:gd name="connsiteX2" fmla="*/ 52318 w 74520"/>
                <a:gd name="connsiteY2" fmla="*/ 116102 h 118143"/>
                <a:gd name="connsiteX3" fmla="*/ 70992 w 74520"/>
                <a:gd name="connsiteY3" fmla="*/ 22730 h 118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520" h="118143">
                  <a:moveTo>
                    <a:pt x="70992" y="22730"/>
                  </a:moveTo>
                  <a:cubicBezTo>
                    <a:pt x="70992" y="22730"/>
                    <a:pt x="42980" y="-11506"/>
                    <a:pt x="11857" y="4056"/>
                  </a:cubicBezTo>
                  <a:cubicBezTo>
                    <a:pt x="-16155" y="19618"/>
                    <a:pt x="8744" y="134776"/>
                    <a:pt x="52318" y="116102"/>
                  </a:cubicBezTo>
                  <a:cubicBezTo>
                    <a:pt x="86554" y="103652"/>
                    <a:pt x="70992" y="22730"/>
                    <a:pt x="70992" y="22730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4" name="任意多边形: 形状 333">
              <a:extLst>
                <a:ext uri="{FF2B5EF4-FFF2-40B4-BE49-F238E27FC236}">
                  <a16:creationId xmlns:a16="http://schemas.microsoft.com/office/drawing/2014/main" id="{4AF98493-3F70-4F07-B894-CD557A717E55}"/>
                </a:ext>
              </a:extLst>
            </p:cNvPr>
            <p:cNvSpPr/>
            <p:nvPr/>
          </p:nvSpPr>
          <p:spPr>
            <a:xfrm>
              <a:off x="7886679" y="2422499"/>
              <a:ext cx="128897" cy="191145"/>
            </a:xfrm>
            <a:custGeom>
              <a:avLst/>
              <a:gdLst>
                <a:gd name="connsiteX0" fmla="*/ 122672 w 128897"/>
                <a:gd name="connsiteY0" fmla="*/ 191145 h 191145"/>
                <a:gd name="connsiteX1" fmla="*/ 113336 w 128897"/>
                <a:gd name="connsiteY1" fmla="*/ 184920 h 191145"/>
                <a:gd name="connsiteX2" fmla="*/ 4402 w 128897"/>
                <a:gd name="connsiteY2" fmla="*/ 13739 h 191145"/>
                <a:gd name="connsiteX3" fmla="*/ 1289 w 128897"/>
                <a:gd name="connsiteY3" fmla="*/ 4402 h 191145"/>
                <a:gd name="connsiteX4" fmla="*/ 10627 w 128897"/>
                <a:gd name="connsiteY4" fmla="*/ 1289 h 191145"/>
                <a:gd name="connsiteX5" fmla="*/ 128898 w 128897"/>
                <a:gd name="connsiteY5" fmla="*/ 184920 h 191145"/>
                <a:gd name="connsiteX6" fmla="*/ 122672 w 128897"/>
                <a:gd name="connsiteY6" fmla="*/ 191145 h 191145"/>
                <a:gd name="connsiteX7" fmla="*/ 122672 w 128897"/>
                <a:gd name="connsiteY7" fmla="*/ 191145 h 19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8897" h="191145">
                  <a:moveTo>
                    <a:pt x="122672" y="191145"/>
                  </a:moveTo>
                  <a:cubicBezTo>
                    <a:pt x="119560" y="191145"/>
                    <a:pt x="113336" y="188033"/>
                    <a:pt x="113336" y="184920"/>
                  </a:cubicBezTo>
                  <a:cubicBezTo>
                    <a:pt x="107110" y="60425"/>
                    <a:pt x="4402" y="13739"/>
                    <a:pt x="4402" y="13739"/>
                  </a:cubicBezTo>
                  <a:cubicBezTo>
                    <a:pt x="1289" y="10626"/>
                    <a:pt x="-1823" y="7514"/>
                    <a:pt x="1289" y="4402"/>
                  </a:cubicBezTo>
                  <a:cubicBezTo>
                    <a:pt x="4402" y="1289"/>
                    <a:pt x="7514" y="-1823"/>
                    <a:pt x="10627" y="1289"/>
                  </a:cubicBezTo>
                  <a:cubicBezTo>
                    <a:pt x="10627" y="1289"/>
                    <a:pt x="122672" y="51087"/>
                    <a:pt x="128898" y="184920"/>
                  </a:cubicBezTo>
                  <a:cubicBezTo>
                    <a:pt x="128898" y="188033"/>
                    <a:pt x="125785" y="191145"/>
                    <a:pt x="122672" y="191145"/>
                  </a:cubicBezTo>
                  <a:cubicBezTo>
                    <a:pt x="122672" y="191145"/>
                    <a:pt x="122672" y="191145"/>
                    <a:pt x="122672" y="191145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5" name="任意多边形: 形状 334">
              <a:extLst>
                <a:ext uri="{FF2B5EF4-FFF2-40B4-BE49-F238E27FC236}">
                  <a16:creationId xmlns:a16="http://schemas.microsoft.com/office/drawing/2014/main" id="{8C60C849-2785-4CAF-94BD-49454BA7AF0F}"/>
                </a:ext>
              </a:extLst>
            </p:cNvPr>
            <p:cNvSpPr/>
            <p:nvPr/>
          </p:nvSpPr>
          <p:spPr>
            <a:xfrm>
              <a:off x="8028026" y="2657217"/>
              <a:ext cx="70806" cy="199193"/>
            </a:xfrm>
            <a:custGeom>
              <a:avLst/>
              <a:gdLst>
                <a:gd name="connsiteX0" fmla="*/ 62248 w 70806"/>
                <a:gd name="connsiteY0" fmla="*/ 199193 h 199193"/>
                <a:gd name="connsiteX1" fmla="*/ 56023 w 70806"/>
                <a:gd name="connsiteY1" fmla="*/ 196081 h 199193"/>
                <a:gd name="connsiteX2" fmla="*/ 0 w 70806"/>
                <a:gd name="connsiteY2" fmla="*/ 9337 h 199193"/>
                <a:gd name="connsiteX3" fmla="*/ 6225 w 70806"/>
                <a:gd name="connsiteY3" fmla="*/ 0 h 199193"/>
                <a:gd name="connsiteX4" fmla="*/ 15562 w 70806"/>
                <a:gd name="connsiteY4" fmla="*/ 6225 h 199193"/>
                <a:gd name="connsiteX5" fmla="*/ 68473 w 70806"/>
                <a:gd name="connsiteY5" fmla="*/ 183631 h 199193"/>
                <a:gd name="connsiteX6" fmla="*/ 68473 w 70806"/>
                <a:gd name="connsiteY6" fmla="*/ 196081 h 199193"/>
                <a:gd name="connsiteX7" fmla="*/ 62248 w 70806"/>
                <a:gd name="connsiteY7" fmla="*/ 199193 h 199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806" h="199193">
                  <a:moveTo>
                    <a:pt x="62248" y="199193"/>
                  </a:moveTo>
                  <a:cubicBezTo>
                    <a:pt x="59135" y="199193"/>
                    <a:pt x="56023" y="199193"/>
                    <a:pt x="56023" y="196081"/>
                  </a:cubicBezTo>
                  <a:cubicBezTo>
                    <a:pt x="6225" y="130720"/>
                    <a:pt x="0" y="12450"/>
                    <a:pt x="0" y="9337"/>
                  </a:cubicBezTo>
                  <a:cubicBezTo>
                    <a:pt x="0" y="6225"/>
                    <a:pt x="3113" y="0"/>
                    <a:pt x="6225" y="0"/>
                  </a:cubicBezTo>
                  <a:cubicBezTo>
                    <a:pt x="12449" y="0"/>
                    <a:pt x="15562" y="3112"/>
                    <a:pt x="15562" y="6225"/>
                  </a:cubicBezTo>
                  <a:cubicBezTo>
                    <a:pt x="15562" y="6225"/>
                    <a:pt x="24899" y="124496"/>
                    <a:pt x="68473" y="183631"/>
                  </a:cubicBezTo>
                  <a:cubicBezTo>
                    <a:pt x="71585" y="186744"/>
                    <a:pt x="71585" y="192968"/>
                    <a:pt x="68473" y="196081"/>
                  </a:cubicBezTo>
                  <a:cubicBezTo>
                    <a:pt x="65360" y="199193"/>
                    <a:pt x="65360" y="199193"/>
                    <a:pt x="62248" y="199193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6" name="任意多边形: 形状 335">
              <a:extLst>
                <a:ext uri="{FF2B5EF4-FFF2-40B4-BE49-F238E27FC236}">
                  <a16:creationId xmlns:a16="http://schemas.microsoft.com/office/drawing/2014/main" id="{96601D59-816C-44D0-8EFF-C96D556279C9}"/>
                </a:ext>
              </a:extLst>
            </p:cNvPr>
            <p:cNvSpPr/>
            <p:nvPr/>
          </p:nvSpPr>
          <p:spPr>
            <a:xfrm>
              <a:off x="7984452" y="2731915"/>
              <a:ext cx="64581" cy="143169"/>
            </a:xfrm>
            <a:custGeom>
              <a:avLst/>
              <a:gdLst>
                <a:gd name="connsiteX0" fmla="*/ 59135 w 64581"/>
                <a:gd name="connsiteY0" fmla="*/ 143170 h 143169"/>
                <a:gd name="connsiteX1" fmla="*/ 52911 w 64581"/>
                <a:gd name="connsiteY1" fmla="*/ 140058 h 143169"/>
                <a:gd name="connsiteX2" fmla="*/ 0 w 64581"/>
                <a:gd name="connsiteY2" fmla="*/ 9337 h 143169"/>
                <a:gd name="connsiteX3" fmla="*/ 6225 w 64581"/>
                <a:gd name="connsiteY3" fmla="*/ 0 h 143169"/>
                <a:gd name="connsiteX4" fmla="*/ 15562 w 64581"/>
                <a:gd name="connsiteY4" fmla="*/ 6225 h 143169"/>
                <a:gd name="connsiteX5" fmla="*/ 62248 w 64581"/>
                <a:gd name="connsiteY5" fmla="*/ 127608 h 143169"/>
                <a:gd name="connsiteX6" fmla="*/ 62248 w 64581"/>
                <a:gd name="connsiteY6" fmla="*/ 140058 h 143169"/>
                <a:gd name="connsiteX7" fmla="*/ 59135 w 64581"/>
                <a:gd name="connsiteY7" fmla="*/ 143170 h 143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81" h="143169">
                  <a:moveTo>
                    <a:pt x="59135" y="143170"/>
                  </a:moveTo>
                  <a:cubicBezTo>
                    <a:pt x="56023" y="143170"/>
                    <a:pt x="56023" y="143170"/>
                    <a:pt x="52911" y="140058"/>
                  </a:cubicBezTo>
                  <a:cubicBezTo>
                    <a:pt x="21787" y="105821"/>
                    <a:pt x="3112" y="15562"/>
                    <a:pt x="0" y="9337"/>
                  </a:cubicBezTo>
                  <a:cubicBezTo>
                    <a:pt x="0" y="6225"/>
                    <a:pt x="3112" y="0"/>
                    <a:pt x="6225" y="0"/>
                  </a:cubicBezTo>
                  <a:cubicBezTo>
                    <a:pt x="12449" y="0"/>
                    <a:pt x="15562" y="3112"/>
                    <a:pt x="15562" y="6225"/>
                  </a:cubicBezTo>
                  <a:cubicBezTo>
                    <a:pt x="15562" y="6225"/>
                    <a:pt x="34236" y="96484"/>
                    <a:pt x="62248" y="127608"/>
                  </a:cubicBezTo>
                  <a:cubicBezTo>
                    <a:pt x="65360" y="130720"/>
                    <a:pt x="65360" y="136945"/>
                    <a:pt x="62248" y="140058"/>
                  </a:cubicBezTo>
                  <a:cubicBezTo>
                    <a:pt x="62248" y="140058"/>
                    <a:pt x="59135" y="143170"/>
                    <a:pt x="59135" y="143170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7" name="任意多边形: 形状 336">
              <a:extLst>
                <a:ext uri="{FF2B5EF4-FFF2-40B4-BE49-F238E27FC236}">
                  <a16:creationId xmlns:a16="http://schemas.microsoft.com/office/drawing/2014/main" id="{272C6C5B-3969-4F20-BFE6-DEB5CF89091B}"/>
                </a:ext>
              </a:extLst>
            </p:cNvPr>
            <p:cNvSpPr/>
            <p:nvPr/>
          </p:nvSpPr>
          <p:spPr>
            <a:xfrm>
              <a:off x="7542474" y="2601194"/>
              <a:ext cx="92322" cy="283227"/>
            </a:xfrm>
            <a:custGeom>
              <a:avLst/>
              <a:gdLst>
                <a:gd name="connsiteX0" fmla="*/ 77828 w 92322"/>
                <a:gd name="connsiteY0" fmla="*/ 283228 h 283227"/>
                <a:gd name="connsiteX1" fmla="*/ 71604 w 92322"/>
                <a:gd name="connsiteY1" fmla="*/ 280115 h 283227"/>
                <a:gd name="connsiteX2" fmla="*/ 18 w 92322"/>
                <a:gd name="connsiteY2" fmla="*/ 9337 h 283227"/>
                <a:gd name="connsiteX3" fmla="*/ 9356 w 92322"/>
                <a:gd name="connsiteY3" fmla="*/ 0 h 283227"/>
                <a:gd name="connsiteX4" fmla="*/ 9356 w 92322"/>
                <a:gd name="connsiteY4" fmla="*/ 0 h 283227"/>
                <a:gd name="connsiteX5" fmla="*/ 18693 w 92322"/>
                <a:gd name="connsiteY5" fmla="*/ 9337 h 283227"/>
                <a:gd name="connsiteX6" fmla="*/ 90278 w 92322"/>
                <a:gd name="connsiteY6" fmla="*/ 270778 h 283227"/>
                <a:gd name="connsiteX7" fmla="*/ 87165 w 92322"/>
                <a:gd name="connsiteY7" fmla="*/ 283228 h 283227"/>
                <a:gd name="connsiteX8" fmla="*/ 77828 w 92322"/>
                <a:gd name="connsiteY8" fmla="*/ 283228 h 283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322" h="283227">
                  <a:moveTo>
                    <a:pt x="77828" y="283228"/>
                  </a:moveTo>
                  <a:cubicBezTo>
                    <a:pt x="74716" y="283228"/>
                    <a:pt x="71604" y="283228"/>
                    <a:pt x="71604" y="280115"/>
                  </a:cubicBezTo>
                  <a:cubicBezTo>
                    <a:pt x="-3094" y="171182"/>
                    <a:pt x="18" y="15562"/>
                    <a:pt x="18" y="9337"/>
                  </a:cubicBezTo>
                  <a:cubicBezTo>
                    <a:pt x="18" y="6225"/>
                    <a:pt x="3131" y="0"/>
                    <a:pt x="9356" y="0"/>
                  </a:cubicBezTo>
                  <a:cubicBezTo>
                    <a:pt x="9356" y="0"/>
                    <a:pt x="9356" y="0"/>
                    <a:pt x="9356" y="0"/>
                  </a:cubicBezTo>
                  <a:cubicBezTo>
                    <a:pt x="12468" y="0"/>
                    <a:pt x="18693" y="3112"/>
                    <a:pt x="18693" y="9337"/>
                  </a:cubicBezTo>
                  <a:cubicBezTo>
                    <a:pt x="18693" y="9337"/>
                    <a:pt x="15580" y="164957"/>
                    <a:pt x="90278" y="270778"/>
                  </a:cubicBezTo>
                  <a:cubicBezTo>
                    <a:pt x="93390" y="273890"/>
                    <a:pt x="93390" y="280115"/>
                    <a:pt x="87165" y="283228"/>
                  </a:cubicBezTo>
                  <a:cubicBezTo>
                    <a:pt x="80941" y="283228"/>
                    <a:pt x="80941" y="283228"/>
                    <a:pt x="77828" y="283228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8" name="任意多边形: 形状 337">
              <a:extLst>
                <a:ext uri="{FF2B5EF4-FFF2-40B4-BE49-F238E27FC236}">
                  <a16:creationId xmlns:a16="http://schemas.microsoft.com/office/drawing/2014/main" id="{A8611C9A-28E2-4810-979E-33310B573D5B}"/>
                </a:ext>
              </a:extLst>
            </p:cNvPr>
            <p:cNvSpPr/>
            <p:nvPr/>
          </p:nvSpPr>
          <p:spPr>
            <a:xfrm>
              <a:off x="7514481" y="2899984"/>
              <a:ext cx="364149" cy="90940"/>
            </a:xfrm>
            <a:custGeom>
              <a:avLst/>
              <a:gdLst>
                <a:gd name="connsiteX0" fmla="*/ 326801 w 364149"/>
                <a:gd name="connsiteY0" fmla="*/ 52911 h 90940"/>
                <a:gd name="connsiteX1" fmla="*/ 28011 w 364149"/>
                <a:gd name="connsiteY1" fmla="*/ 0 h 90940"/>
                <a:gd name="connsiteX2" fmla="*/ 0 w 364149"/>
                <a:gd name="connsiteY2" fmla="*/ 3112 h 90940"/>
                <a:gd name="connsiteX3" fmla="*/ 183631 w 364149"/>
                <a:gd name="connsiteY3" fmla="*/ 87147 h 90940"/>
                <a:gd name="connsiteX4" fmla="*/ 364150 w 364149"/>
                <a:gd name="connsiteY4" fmla="*/ 65360 h 90940"/>
                <a:gd name="connsiteX5" fmla="*/ 326801 w 364149"/>
                <a:gd name="connsiteY5" fmla="*/ 52911 h 90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4149" h="90940">
                  <a:moveTo>
                    <a:pt x="326801" y="52911"/>
                  </a:moveTo>
                  <a:cubicBezTo>
                    <a:pt x="326801" y="52911"/>
                    <a:pt x="202305" y="93372"/>
                    <a:pt x="28011" y="0"/>
                  </a:cubicBezTo>
                  <a:lnTo>
                    <a:pt x="0" y="3112"/>
                  </a:lnTo>
                  <a:cubicBezTo>
                    <a:pt x="0" y="3112"/>
                    <a:pt x="71585" y="71585"/>
                    <a:pt x="183631" y="87147"/>
                  </a:cubicBezTo>
                  <a:cubicBezTo>
                    <a:pt x="289453" y="102709"/>
                    <a:pt x="364150" y="65360"/>
                    <a:pt x="364150" y="65360"/>
                  </a:cubicBezTo>
                  <a:cubicBezTo>
                    <a:pt x="364150" y="65360"/>
                    <a:pt x="348588" y="56023"/>
                    <a:pt x="326801" y="52911"/>
                  </a:cubicBezTo>
                  <a:close/>
                </a:path>
              </a:pathLst>
            </a:custGeom>
            <a:solidFill>
              <a:srgbClr val="F6EBE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39" name="图形 1">
              <a:extLst>
                <a:ext uri="{FF2B5EF4-FFF2-40B4-BE49-F238E27FC236}">
                  <a16:creationId xmlns:a16="http://schemas.microsoft.com/office/drawing/2014/main" id="{00A64FB6-BD0D-4CF0-AF4B-92F133967EE0}"/>
                </a:ext>
              </a:extLst>
            </p:cNvPr>
            <p:cNvGrpSpPr/>
            <p:nvPr/>
          </p:nvGrpSpPr>
          <p:grpSpPr>
            <a:xfrm>
              <a:off x="7576729" y="3989139"/>
              <a:ext cx="267665" cy="246363"/>
              <a:chOff x="7576729" y="3989139"/>
              <a:chExt cx="267665" cy="246363"/>
            </a:xfrm>
          </p:grpSpPr>
          <p:sp>
            <p:nvSpPr>
              <p:cNvPr id="340" name="任意多边形: 形状 339">
                <a:extLst>
                  <a:ext uri="{FF2B5EF4-FFF2-40B4-BE49-F238E27FC236}">
                    <a16:creationId xmlns:a16="http://schemas.microsoft.com/office/drawing/2014/main" id="{05405E88-C88A-4887-8EE6-FB8C4E790D7C}"/>
                  </a:ext>
                </a:extLst>
              </p:cNvPr>
              <p:cNvSpPr/>
              <p:nvPr/>
            </p:nvSpPr>
            <p:spPr>
              <a:xfrm>
                <a:off x="7576729" y="3989139"/>
                <a:ext cx="260701" cy="246363"/>
              </a:xfrm>
              <a:custGeom>
                <a:avLst/>
                <a:gdLst>
                  <a:gd name="connsiteX0" fmla="*/ 12449 w 260701"/>
                  <a:gd name="connsiteY0" fmla="*/ 99779 h 246363"/>
                  <a:gd name="connsiteX1" fmla="*/ 62248 w 260701"/>
                  <a:gd name="connsiteY1" fmla="*/ 152690 h 246363"/>
                  <a:gd name="connsiteX2" fmla="*/ 108934 w 260701"/>
                  <a:gd name="connsiteY2" fmla="*/ 211825 h 246363"/>
                  <a:gd name="connsiteX3" fmla="*/ 143170 w 260701"/>
                  <a:gd name="connsiteY3" fmla="*/ 236724 h 246363"/>
                  <a:gd name="connsiteX4" fmla="*/ 133833 w 260701"/>
                  <a:gd name="connsiteY4" fmla="*/ 186926 h 246363"/>
                  <a:gd name="connsiteX5" fmla="*/ 161844 w 260701"/>
                  <a:gd name="connsiteY5" fmla="*/ 218050 h 246363"/>
                  <a:gd name="connsiteX6" fmla="*/ 211643 w 260701"/>
                  <a:gd name="connsiteY6" fmla="*/ 246062 h 246363"/>
                  <a:gd name="connsiteX7" fmla="*/ 217867 w 260701"/>
                  <a:gd name="connsiteY7" fmla="*/ 236724 h 246363"/>
                  <a:gd name="connsiteX8" fmla="*/ 242767 w 260701"/>
                  <a:gd name="connsiteY8" fmla="*/ 239837 h 246363"/>
                  <a:gd name="connsiteX9" fmla="*/ 236542 w 260701"/>
                  <a:gd name="connsiteY9" fmla="*/ 190038 h 246363"/>
                  <a:gd name="connsiteX10" fmla="*/ 211643 w 260701"/>
                  <a:gd name="connsiteY10" fmla="*/ 149577 h 246363"/>
                  <a:gd name="connsiteX11" fmla="*/ 239654 w 260701"/>
                  <a:gd name="connsiteY11" fmla="*/ 168252 h 246363"/>
                  <a:gd name="connsiteX12" fmla="*/ 255216 w 260701"/>
                  <a:gd name="connsiteY12" fmla="*/ 171364 h 246363"/>
                  <a:gd name="connsiteX13" fmla="*/ 230317 w 260701"/>
                  <a:gd name="connsiteY13" fmla="*/ 118453 h 246363"/>
                  <a:gd name="connsiteX14" fmla="*/ 74697 w 260701"/>
                  <a:gd name="connsiteY14" fmla="*/ 182 h 246363"/>
                  <a:gd name="connsiteX15" fmla="*/ 3113 w 260701"/>
                  <a:gd name="connsiteY15" fmla="*/ 62430 h 246363"/>
                  <a:gd name="connsiteX16" fmla="*/ 12449 w 260701"/>
                  <a:gd name="connsiteY16" fmla="*/ 99779 h 24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0701" h="246363">
                    <a:moveTo>
                      <a:pt x="12449" y="99779"/>
                    </a:moveTo>
                    <a:cubicBezTo>
                      <a:pt x="28011" y="118453"/>
                      <a:pt x="46686" y="134015"/>
                      <a:pt x="62248" y="152690"/>
                    </a:cubicBezTo>
                    <a:cubicBezTo>
                      <a:pt x="77810" y="171364"/>
                      <a:pt x="93372" y="193151"/>
                      <a:pt x="108934" y="211825"/>
                    </a:cubicBezTo>
                    <a:cubicBezTo>
                      <a:pt x="115158" y="218050"/>
                      <a:pt x="130720" y="239837"/>
                      <a:pt x="143170" y="236724"/>
                    </a:cubicBezTo>
                    <a:cubicBezTo>
                      <a:pt x="158732" y="233612"/>
                      <a:pt x="146282" y="208713"/>
                      <a:pt x="133833" y="186926"/>
                    </a:cubicBezTo>
                    <a:cubicBezTo>
                      <a:pt x="143170" y="196263"/>
                      <a:pt x="152507" y="205600"/>
                      <a:pt x="161844" y="218050"/>
                    </a:cubicBezTo>
                    <a:cubicBezTo>
                      <a:pt x="171182" y="227387"/>
                      <a:pt x="196081" y="249174"/>
                      <a:pt x="211643" y="246062"/>
                    </a:cubicBezTo>
                    <a:cubicBezTo>
                      <a:pt x="217867" y="246062"/>
                      <a:pt x="217867" y="239837"/>
                      <a:pt x="217867" y="236724"/>
                    </a:cubicBezTo>
                    <a:cubicBezTo>
                      <a:pt x="227205" y="242949"/>
                      <a:pt x="236542" y="246062"/>
                      <a:pt x="242767" y="239837"/>
                    </a:cubicBezTo>
                    <a:cubicBezTo>
                      <a:pt x="252104" y="227387"/>
                      <a:pt x="239654" y="202488"/>
                      <a:pt x="236542" y="190038"/>
                    </a:cubicBezTo>
                    <a:cubicBezTo>
                      <a:pt x="230317" y="177589"/>
                      <a:pt x="220980" y="162027"/>
                      <a:pt x="211643" y="149577"/>
                    </a:cubicBezTo>
                    <a:cubicBezTo>
                      <a:pt x="220980" y="155802"/>
                      <a:pt x="230317" y="162027"/>
                      <a:pt x="239654" y="168252"/>
                    </a:cubicBezTo>
                    <a:cubicBezTo>
                      <a:pt x="245879" y="171364"/>
                      <a:pt x="248991" y="174476"/>
                      <a:pt x="255216" y="171364"/>
                    </a:cubicBezTo>
                    <a:cubicBezTo>
                      <a:pt x="273891" y="158914"/>
                      <a:pt x="239654" y="127791"/>
                      <a:pt x="230317" y="118453"/>
                    </a:cubicBezTo>
                    <a:cubicBezTo>
                      <a:pt x="183631" y="71768"/>
                      <a:pt x="127608" y="40644"/>
                      <a:pt x="74697" y="182"/>
                    </a:cubicBezTo>
                    <a:cubicBezTo>
                      <a:pt x="74697" y="-2930"/>
                      <a:pt x="15562" y="34419"/>
                      <a:pt x="3113" y="62430"/>
                    </a:cubicBezTo>
                    <a:cubicBezTo>
                      <a:pt x="-3113" y="81105"/>
                      <a:pt x="0" y="87330"/>
                      <a:pt x="12449" y="9977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1" name="任意多边形: 形状 340">
                <a:extLst>
                  <a:ext uri="{FF2B5EF4-FFF2-40B4-BE49-F238E27FC236}">
                    <a16:creationId xmlns:a16="http://schemas.microsoft.com/office/drawing/2014/main" id="{58C29984-F12B-4C49-B7AD-CDD9C643D591}"/>
                  </a:ext>
                </a:extLst>
              </p:cNvPr>
              <p:cNvSpPr/>
              <p:nvPr/>
            </p:nvSpPr>
            <p:spPr>
              <a:xfrm>
                <a:off x="7734172" y="4058572"/>
                <a:ext cx="110223" cy="114380"/>
              </a:xfrm>
              <a:custGeom>
                <a:avLst/>
                <a:gdLst>
                  <a:gd name="connsiteX0" fmla="*/ 91548 w 110223"/>
                  <a:gd name="connsiteY0" fmla="*/ 111268 h 114380"/>
                  <a:gd name="connsiteX1" fmla="*/ 47975 w 110223"/>
                  <a:gd name="connsiteY1" fmla="*/ 89481 h 114380"/>
                  <a:gd name="connsiteX2" fmla="*/ 4401 w 110223"/>
                  <a:gd name="connsiteY2" fmla="*/ 49020 h 114380"/>
                  <a:gd name="connsiteX3" fmla="*/ 1289 w 110223"/>
                  <a:gd name="connsiteY3" fmla="*/ 42795 h 114380"/>
                  <a:gd name="connsiteX4" fmla="*/ 7514 w 110223"/>
                  <a:gd name="connsiteY4" fmla="*/ 39683 h 114380"/>
                  <a:gd name="connsiteX5" fmla="*/ 57312 w 110223"/>
                  <a:gd name="connsiteY5" fmla="*/ 83256 h 114380"/>
                  <a:gd name="connsiteX6" fmla="*/ 94661 w 110223"/>
                  <a:gd name="connsiteY6" fmla="*/ 101931 h 114380"/>
                  <a:gd name="connsiteX7" fmla="*/ 10626 w 110223"/>
                  <a:gd name="connsiteY7" fmla="*/ 11671 h 114380"/>
                  <a:gd name="connsiteX8" fmla="*/ 10626 w 110223"/>
                  <a:gd name="connsiteY8" fmla="*/ 2334 h 114380"/>
                  <a:gd name="connsiteX9" fmla="*/ 19963 w 110223"/>
                  <a:gd name="connsiteY9" fmla="*/ 2334 h 114380"/>
                  <a:gd name="connsiteX10" fmla="*/ 110223 w 110223"/>
                  <a:gd name="connsiteY10" fmla="*/ 101931 h 114380"/>
                  <a:gd name="connsiteX11" fmla="*/ 100886 w 110223"/>
                  <a:gd name="connsiteY11" fmla="*/ 114380 h 114380"/>
                  <a:gd name="connsiteX12" fmla="*/ 91548 w 110223"/>
                  <a:gd name="connsiteY12" fmla="*/ 111268 h 114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0223" h="114380">
                    <a:moveTo>
                      <a:pt x="91548" y="111268"/>
                    </a:moveTo>
                    <a:cubicBezTo>
                      <a:pt x="72874" y="111268"/>
                      <a:pt x="51087" y="92594"/>
                      <a:pt x="47975" y="89481"/>
                    </a:cubicBezTo>
                    <a:cubicBezTo>
                      <a:pt x="32413" y="70807"/>
                      <a:pt x="10626" y="52132"/>
                      <a:pt x="4401" y="49020"/>
                    </a:cubicBezTo>
                    <a:cubicBezTo>
                      <a:pt x="1289" y="49020"/>
                      <a:pt x="-1823" y="45908"/>
                      <a:pt x="1289" y="42795"/>
                    </a:cubicBezTo>
                    <a:cubicBezTo>
                      <a:pt x="1289" y="39683"/>
                      <a:pt x="4401" y="36571"/>
                      <a:pt x="7514" y="39683"/>
                    </a:cubicBezTo>
                    <a:cubicBezTo>
                      <a:pt x="16851" y="42795"/>
                      <a:pt x="44863" y="70807"/>
                      <a:pt x="57312" y="83256"/>
                    </a:cubicBezTo>
                    <a:cubicBezTo>
                      <a:pt x="66649" y="89481"/>
                      <a:pt x="85324" y="105043"/>
                      <a:pt x="94661" y="101931"/>
                    </a:cubicBezTo>
                    <a:cubicBezTo>
                      <a:pt x="97773" y="89481"/>
                      <a:pt x="69762" y="52132"/>
                      <a:pt x="10626" y="11671"/>
                    </a:cubicBezTo>
                    <a:cubicBezTo>
                      <a:pt x="7514" y="8559"/>
                      <a:pt x="7514" y="5447"/>
                      <a:pt x="10626" y="2334"/>
                    </a:cubicBezTo>
                    <a:cubicBezTo>
                      <a:pt x="13739" y="-778"/>
                      <a:pt x="16851" y="-778"/>
                      <a:pt x="19963" y="2334"/>
                    </a:cubicBezTo>
                    <a:cubicBezTo>
                      <a:pt x="75987" y="39683"/>
                      <a:pt x="110223" y="83256"/>
                      <a:pt x="110223" y="101931"/>
                    </a:cubicBezTo>
                    <a:cubicBezTo>
                      <a:pt x="110223" y="108156"/>
                      <a:pt x="107110" y="111268"/>
                      <a:pt x="100886" y="114380"/>
                    </a:cubicBezTo>
                    <a:cubicBezTo>
                      <a:pt x="97773" y="108156"/>
                      <a:pt x="94661" y="111268"/>
                      <a:pt x="91548" y="11126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2" name="任意多边形: 形状 341">
                <a:extLst>
                  <a:ext uri="{FF2B5EF4-FFF2-40B4-BE49-F238E27FC236}">
                    <a16:creationId xmlns:a16="http://schemas.microsoft.com/office/drawing/2014/main" id="{C2C56159-1B35-4C8B-AB46-ECFCF1FBB1E6}"/>
                  </a:ext>
                </a:extLst>
              </p:cNvPr>
              <p:cNvSpPr/>
              <p:nvPr/>
            </p:nvSpPr>
            <p:spPr>
              <a:xfrm>
                <a:off x="7713674" y="4120042"/>
                <a:ext cx="85324" cy="112046"/>
              </a:xfrm>
              <a:custGeom>
                <a:avLst/>
                <a:gdLst>
                  <a:gd name="connsiteX0" fmla="*/ 80922 w 85324"/>
                  <a:gd name="connsiteY0" fmla="*/ 112046 h 112046"/>
                  <a:gd name="connsiteX1" fmla="*/ 74698 w 85324"/>
                  <a:gd name="connsiteY1" fmla="*/ 108934 h 112046"/>
                  <a:gd name="connsiteX2" fmla="*/ 3113 w 85324"/>
                  <a:gd name="connsiteY2" fmla="*/ 12449 h 112046"/>
                  <a:gd name="connsiteX3" fmla="*/ 0 w 85324"/>
                  <a:gd name="connsiteY3" fmla="*/ 3112 h 112046"/>
                  <a:gd name="connsiteX4" fmla="*/ 9337 w 85324"/>
                  <a:gd name="connsiteY4" fmla="*/ 0 h 112046"/>
                  <a:gd name="connsiteX5" fmla="*/ 84035 w 85324"/>
                  <a:gd name="connsiteY5" fmla="*/ 99596 h 112046"/>
                  <a:gd name="connsiteX6" fmla="*/ 80922 w 85324"/>
                  <a:gd name="connsiteY6" fmla="*/ 108934 h 112046"/>
                  <a:gd name="connsiteX7" fmla="*/ 80922 w 85324"/>
                  <a:gd name="connsiteY7" fmla="*/ 112046 h 112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5324" h="112046">
                    <a:moveTo>
                      <a:pt x="80922" y="112046"/>
                    </a:moveTo>
                    <a:cubicBezTo>
                      <a:pt x="77810" y="112046"/>
                      <a:pt x="77810" y="112046"/>
                      <a:pt x="74698" y="108934"/>
                    </a:cubicBezTo>
                    <a:cubicBezTo>
                      <a:pt x="62248" y="87147"/>
                      <a:pt x="21787" y="24899"/>
                      <a:pt x="3113" y="12449"/>
                    </a:cubicBezTo>
                    <a:cubicBezTo>
                      <a:pt x="0" y="9337"/>
                      <a:pt x="0" y="6225"/>
                      <a:pt x="0" y="3112"/>
                    </a:cubicBezTo>
                    <a:cubicBezTo>
                      <a:pt x="3113" y="0"/>
                      <a:pt x="6225" y="0"/>
                      <a:pt x="9337" y="0"/>
                    </a:cubicBezTo>
                    <a:cubicBezTo>
                      <a:pt x="34237" y="15562"/>
                      <a:pt x="80922" y="96484"/>
                      <a:pt x="84035" y="99596"/>
                    </a:cubicBezTo>
                    <a:cubicBezTo>
                      <a:pt x="87147" y="102709"/>
                      <a:pt x="84035" y="105821"/>
                      <a:pt x="80922" y="108934"/>
                    </a:cubicBezTo>
                    <a:cubicBezTo>
                      <a:pt x="84035" y="112046"/>
                      <a:pt x="84035" y="112046"/>
                      <a:pt x="80922" y="11204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3" name="任意多边形: 形状 342">
                <a:extLst>
                  <a:ext uri="{FF2B5EF4-FFF2-40B4-BE49-F238E27FC236}">
                    <a16:creationId xmlns:a16="http://schemas.microsoft.com/office/drawing/2014/main" id="{8EB7391A-7A12-4E78-94EC-53A31D4B4CF6}"/>
                  </a:ext>
                </a:extLst>
              </p:cNvPr>
              <p:cNvSpPr/>
              <p:nvPr/>
            </p:nvSpPr>
            <p:spPr>
              <a:xfrm>
                <a:off x="7677103" y="4139494"/>
                <a:ext cx="42017" cy="42795"/>
              </a:xfrm>
              <a:custGeom>
                <a:avLst/>
                <a:gdLst>
                  <a:gd name="connsiteX0" fmla="*/ 33458 w 42017"/>
                  <a:gd name="connsiteY0" fmla="*/ 42795 h 42795"/>
                  <a:gd name="connsiteX1" fmla="*/ 30346 w 42017"/>
                  <a:gd name="connsiteY1" fmla="*/ 39683 h 42795"/>
                  <a:gd name="connsiteX2" fmla="*/ 2334 w 42017"/>
                  <a:gd name="connsiteY2" fmla="*/ 11672 h 42795"/>
                  <a:gd name="connsiteX3" fmla="*/ 2334 w 42017"/>
                  <a:gd name="connsiteY3" fmla="*/ 2334 h 42795"/>
                  <a:gd name="connsiteX4" fmla="*/ 11672 w 42017"/>
                  <a:gd name="connsiteY4" fmla="*/ 2334 h 42795"/>
                  <a:gd name="connsiteX5" fmla="*/ 39683 w 42017"/>
                  <a:gd name="connsiteY5" fmla="*/ 30346 h 42795"/>
                  <a:gd name="connsiteX6" fmla="*/ 39683 w 42017"/>
                  <a:gd name="connsiteY6" fmla="*/ 39683 h 42795"/>
                  <a:gd name="connsiteX7" fmla="*/ 33458 w 42017"/>
                  <a:gd name="connsiteY7" fmla="*/ 42795 h 42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017" h="42795">
                    <a:moveTo>
                      <a:pt x="33458" y="42795"/>
                    </a:moveTo>
                    <a:cubicBezTo>
                      <a:pt x="30346" y="42795"/>
                      <a:pt x="30346" y="42795"/>
                      <a:pt x="30346" y="39683"/>
                    </a:cubicBezTo>
                    <a:lnTo>
                      <a:pt x="2334" y="11672"/>
                    </a:lnTo>
                    <a:cubicBezTo>
                      <a:pt x="-778" y="8559"/>
                      <a:pt x="-778" y="5447"/>
                      <a:pt x="2334" y="2334"/>
                    </a:cubicBezTo>
                    <a:cubicBezTo>
                      <a:pt x="5447" y="-778"/>
                      <a:pt x="8559" y="-778"/>
                      <a:pt x="11672" y="2334"/>
                    </a:cubicBezTo>
                    <a:lnTo>
                      <a:pt x="39683" y="30346"/>
                    </a:lnTo>
                    <a:cubicBezTo>
                      <a:pt x="42796" y="33458"/>
                      <a:pt x="42796" y="36571"/>
                      <a:pt x="39683" y="39683"/>
                    </a:cubicBezTo>
                    <a:cubicBezTo>
                      <a:pt x="36570" y="42795"/>
                      <a:pt x="33458" y="42795"/>
                      <a:pt x="33458" y="4279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4" name="任意多边形: 形状 343">
                <a:extLst>
                  <a:ext uri="{FF2B5EF4-FFF2-40B4-BE49-F238E27FC236}">
                    <a16:creationId xmlns:a16="http://schemas.microsoft.com/office/drawing/2014/main" id="{AD9F5EB6-041A-4782-89F1-ED4B3A2701B6}"/>
                  </a:ext>
                </a:extLst>
              </p:cNvPr>
              <p:cNvSpPr/>
              <p:nvPr/>
            </p:nvSpPr>
            <p:spPr>
              <a:xfrm>
                <a:off x="7651426" y="4062729"/>
                <a:ext cx="60424" cy="66649"/>
              </a:xfrm>
              <a:custGeom>
                <a:avLst/>
                <a:gdLst>
                  <a:gd name="connsiteX0" fmla="*/ 6225 w 60424"/>
                  <a:gd name="connsiteY0" fmla="*/ 66649 h 66649"/>
                  <a:gd name="connsiteX1" fmla="*/ 0 w 60424"/>
                  <a:gd name="connsiteY1" fmla="*/ 63537 h 66649"/>
                  <a:gd name="connsiteX2" fmla="*/ 3113 w 60424"/>
                  <a:gd name="connsiteY2" fmla="*/ 54200 h 66649"/>
                  <a:gd name="connsiteX3" fmla="*/ 49798 w 60424"/>
                  <a:gd name="connsiteY3" fmla="*/ 4402 h 66649"/>
                  <a:gd name="connsiteX4" fmla="*/ 56023 w 60424"/>
                  <a:gd name="connsiteY4" fmla="*/ 1289 h 66649"/>
                  <a:gd name="connsiteX5" fmla="*/ 59136 w 60424"/>
                  <a:gd name="connsiteY5" fmla="*/ 7514 h 66649"/>
                  <a:gd name="connsiteX6" fmla="*/ 6225 w 60424"/>
                  <a:gd name="connsiteY6" fmla="*/ 66649 h 66649"/>
                  <a:gd name="connsiteX7" fmla="*/ 6225 w 60424"/>
                  <a:gd name="connsiteY7" fmla="*/ 66649 h 66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0424" h="66649">
                    <a:moveTo>
                      <a:pt x="6225" y="66649"/>
                    </a:moveTo>
                    <a:cubicBezTo>
                      <a:pt x="3113" y="66649"/>
                      <a:pt x="3113" y="66649"/>
                      <a:pt x="0" y="63537"/>
                    </a:cubicBezTo>
                    <a:cubicBezTo>
                      <a:pt x="0" y="60425"/>
                      <a:pt x="0" y="57312"/>
                      <a:pt x="3113" y="54200"/>
                    </a:cubicBezTo>
                    <a:cubicBezTo>
                      <a:pt x="37349" y="38638"/>
                      <a:pt x="49798" y="4402"/>
                      <a:pt x="49798" y="4402"/>
                    </a:cubicBezTo>
                    <a:cubicBezTo>
                      <a:pt x="49798" y="1289"/>
                      <a:pt x="52911" y="-1823"/>
                      <a:pt x="56023" y="1289"/>
                    </a:cubicBezTo>
                    <a:cubicBezTo>
                      <a:pt x="59136" y="1289"/>
                      <a:pt x="62248" y="4402"/>
                      <a:pt x="59136" y="7514"/>
                    </a:cubicBezTo>
                    <a:cubicBezTo>
                      <a:pt x="62248" y="10626"/>
                      <a:pt x="46686" y="47975"/>
                      <a:pt x="6225" y="66649"/>
                    </a:cubicBezTo>
                    <a:cubicBezTo>
                      <a:pt x="6225" y="66649"/>
                      <a:pt x="6225" y="66649"/>
                      <a:pt x="6225" y="6664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45" name="任意多边形: 形状 344">
              <a:extLst>
                <a:ext uri="{FF2B5EF4-FFF2-40B4-BE49-F238E27FC236}">
                  <a16:creationId xmlns:a16="http://schemas.microsoft.com/office/drawing/2014/main" id="{2CD03D11-2783-4067-B826-7B62CD5270E5}"/>
                </a:ext>
              </a:extLst>
            </p:cNvPr>
            <p:cNvSpPr/>
            <p:nvPr/>
          </p:nvSpPr>
          <p:spPr>
            <a:xfrm>
              <a:off x="7078746" y="2928409"/>
              <a:ext cx="600691" cy="1191633"/>
            </a:xfrm>
            <a:custGeom>
              <a:avLst/>
              <a:gdLst>
                <a:gd name="connsiteX0" fmla="*/ 130720 w 600691"/>
                <a:gd name="connsiteY0" fmla="*/ 195668 h 1191633"/>
                <a:gd name="connsiteX1" fmla="*/ 370374 w 600691"/>
                <a:gd name="connsiteY1" fmla="*/ 12036 h 1191633"/>
                <a:gd name="connsiteX2" fmla="*/ 233429 w 600691"/>
                <a:gd name="connsiteY2" fmla="*/ 706100 h 1191633"/>
                <a:gd name="connsiteX3" fmla="*/ 600692 w 600691"/>
                <a:gd name="connsiteY3" fmla="*/ 1064025 h 1191633"/>
                <a:gd name="connsiteX4" fmla="*/ 522882 w 600691"/>
                <a:gd name="connsiteY4" fmla="*/ 1191633 h 1191633"/>
                <a:gd name="connsiteX5" fmla="*/ 0 w 600691"/>
                <a:gd name="connsiteY5" fmla="*/ 771460 h 1191633"/>
                <a:gd name="connsiteX6" fmla="*/ 130720 w 600691"/>
                <a:gd name="connsiteY6" fmla="*/ 195668 h 119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0691" h="1191633">
                  <a:moveTo>
                    <a:pt x="130720" y="195668"/>
                  </a:moveTo>
                  <a:cubicBezTo>
                    <a:pt x="180519" y="46273"/>
                    <a:pt x="298790" y="-31537"/>
                    <a:pt x="370374" y="12036"/>
                  </a:cubicBezTo>
                  <a:cubicBezTo>
                    <a:pt x="451297" y="58722"/>
                    <a:pt x="220980" y="674976"/>
                    <a:pt x="233429" y="706100"/>
                  </a:cubicBezTo>
                  <a:cubicBezTo>
                    <a:pt x="233429" y="771460"/>
                    <a:pt x="600692" y="1064025"/>
                    <a:pt x="600692" y="1064025"/>
                  </a:cubicBezTo>
                  <a:cubicBezTo>
                    <a:pt x="575793" y="1085812"/>
                    <a:pt x="522882" y="1191633"/>
                    <a:pt x="522882" y="1191633"/>
                  </a:cubicBezTo>
                  <a:cubicBezTo>
                    <a:pt x="522882" y="1191633"/>
                    <a:pt x="0" y="855495"/>
                    <a:pt x="0" y="771460"/>
                  </a:cubicBezTo>
                  <a:cubicBezTo>
                    <a:pt x="3113" y="699875"/>
                    <a:pt x="65360" y="394861"/>
                    <a:pt x="130720" y="195668"/>
                  </a:cubicBezTo>
                  <a:close/>
                </a:path>
              </a:pathLst>
            </a:custGeom>
            <a:solidFill>
              <a:srgbClr val="D16156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6" name="任意多边形: 形状 345">
              <a:extLst>
                <a:ext uri="{FF2B5EF4-FFF2-40B4-BE49-F238E27FC236}">
                  <a16:creationId xmlns:a16="http://schemas.microsoft.com/office/drawing/2014/main" id="{8262458D-9ADA-4DBB-877E-FC0431EE7982}"/>
                </a:ext>
              </a:extLst>
            </p:cNvPr>
            <p:cNvSpPr/>
            <p:nvPr/>
          </p:nvSpPr>
          <p:spPr>
            <a:xfrm>
              <a:off x="7305951" y="2921771"/>
              <a:ext cx="378933" cy="1076887"/>
            </a:xfrm>
            <a:custGeom>
              <a:avLst/>
              <a:gdLst>
                <a:gd name="connsiteX0" fmla="*/ 373487 w 378933"/>
                <a:gd name="connsiteY0" fmla="*/ 1076888 h 1076887"/>
                <a:gd name="connsiteX1" fmla="*/ 370374 w 378933"/>
                <a:gd name="connsiteY1" fmla="*/ 1076888 h 1076887"/>
                <a:gd name="connsiteX2" fmla="*/ 0 w 378933"/>
                <a:gd name="connsiteY2" fmla="*/ 712738 h 1076887"/>
                <a:gd name="connsiteX3" fmla="*/ 24899 w 378933"/>
                <a:gd name="connsiteY3" fmla="*/ 638040 h 1076887"/>
                <a:gd name="connsiteX4" fmla="*/ 108934 w 378933"/>
                <a:gd name="connsiteY4" fmla="*/ 12450 h 1076887"/>
                <a:gd name="connsiteX5" fmla="*/ 105821 w 378933"/>
                <a:gd name="connsiteY5" fmla="*/ 3112 h 1076887"/>
                <a:gd name="connsiteX6" fmla="*/ 115158 w 378933"/>
                <a:gd name="connsiteY6" fmla="*/ 0 h 1076887"/>
                <a:gd name="connsiteX7" fmla="*/ 34236 w 378933"/>
                <a:gd name="connsiteY7" fmla="*/ 641153 h 1076887"/>
                <a:gd name="connsiteX8" fmla="*/ 9337 w 378933"/>
                <a:gd name="connsiteY8" fmla="*/ 712738 h 1076887"/>
                <a:gd name="connsiteX9" fmla="*/ 376599 w 378933"/>
                <a:gd name="connsiteY9" fmla="*/ 1067550 h 1076887"/>
                <a:gd name="connsiteX10" fmla="*/ 376599 w 378933"/>
                <a:gd name="connsiteY10" fmla="*/ 1076888 h 1076887"/>
                <a:gd name="connsiteX11" fmla="*/ 373487 w 378933"/>
                <a:gd name="connsiteY11" fmla="*/ 1076888 h 107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8933" h="1076887">
                  <a:moveTo>
                    <a:pt x="373487" y="1076888"/>
                  </a:moveTo>
                  <a:cubicBezTo>
                    <a:pt x="373487" y="1076888"/>
                    <a:pt x="370374" y="1076888"/>
                    <a:pt x="370374" y="1076888"/>
                  </a:cubicBezTo>
                  <a:cubicBezTo>
                    <a:pt x="308127" y="1023977"/>
                    <a:pt x="0" y="753199"/>
                    <a:pt x="0" y="712738"/>
                  </a:cubicBezTo>
                  <a:cubicBezTo>
                    <a:pt x="0" y="706513"/>
                    <a:pt x="6225" y="684726"/>
                    <a:pt x="24899" y="638040"/>
                  </a:cubicBezTo>
                  <a:cubicBezTo>
                    <a:pt x="80922" y="485533"/>
                    <a:pt x="227205" y="74697"/>
                    <a:pt x="108934" y="12450"/>
                  </a:cubicBezTo>
                  <a:cubicBezTo>
                    <a:pt x="105821" y="12450"/>
                    <a:pt x="105821" y="6225"/>
                    <a:pt x="105821" y="3112"/>
                  </a:cubicBezTo>
                  <a:cubicBezTo>
                    <a:pt x="108934" y="0"/>
                    <a:pt x="112046" y="0"/>
                    <a:pt x="115158" y="0"/>
                  </a:cubicBezTo>
                  <a:cubicBezTo>
                    <a:pt x="239654" y="68473"/>
                    <a:pt x="96484" y="469971"/>
                    <a:pt x="34236" y="641153"/>
                  </a:cubicBezTo>
                  <a:cubicBezTo>
                    <a:pt x="21787" y="678501"/>
                    <a:pt x="9337" y="706513"/>
                    <a:pt x="9337" y="712738"/>
                  </a:cubicBezTo>
                  <a:cubicBezTo>
                    <a:pt x="9337" y="737637"/>
                    <a:pt x="233429" y="943055"/>
                    <a:pt x="376599" y="1067550"/>
                  </a:cubicBezTo>
                  <a:cubicBezTo>
                    <a:pt x="379712" y="1070663"/>
                    <a:pt x="379712" y="1073775"/>
                    <a:pt x="376599" y="1076888"/>
                  </a:cubicBezTo>
                  <a:cubicBezTo>
                    <a:pt x="376599" y="1076888"/>
                    <a:pt x="376599" y="1076888"/>
                    <a:pt x="373487" y="1076888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7" name="任意多边形: 形状 346">
              <a:extLst>
                <a:ext uri="{FF2B5EF4-FFF2-40B4-BE49-F238E27FC236}">
                  <a16:creationId xmlns:a16="http://schemas.microsoft.com/office/drawing/2014/main" id="{40A4BE28-C414-4FE7-AE42-10903E71411B}"/>
                </a:ext>
              </a:extLst>
            </p:cNvPr>
            <p:cNvSpPr/>
            <p:nvPr/>
          </p:nvSpPr>
          <p:spPr>
            <a:xfrm>
              <a:off x="13098112" y="3075472"/>
              <a:ext cx="1084014" cy="852808"/>
            </a:xfrm>
            <a:custGeom>
              <a:avLst/>
              <a:gdLst>
                <a:gd name="connsiteX0" fmla="*/ 1061326 w 1084014"/>
                <a:gd name="connsiteY0" fmla="*/ 288259 h 852808"/>
                <a:gd name="connsiteX1" fmla="*/ 983516 w 1084014"/>
                <a:gd name="connsiteY1" fmla="*/ 1918 h 852808"/>
                <a:gd name="connsiteX2" fmla="*/ 728300 w 1084014"/>
                <a:gd name="connsiteY2" fmla="*/ 294483 h 852808"/>
                <a:gd name="connsiteX3" fmla="*/ 575793 w 1084014"/>
                <a:gd name="connsiteY3" fmla="*/ 599498 h 852808"/>
                <a:gd name="connsiteX4" fmla="*/ 6225 w 1084014"/>
                <a:gd name="connsiteY4" fmla="*/ 562149 h 852808"/>
                <a:gd name="connsiteX5" fmla="*/ 0 w 1084014"/>
                <a:gd name="connsiteY5" fmla="*/ 702207 h 852808"/>
                <a:gd name="connsiteX6" fmla="*/ 706513 w 1084014"/>
                <a:gd name="connsiteY6" fmla="*/ 848489 h 852808"/>
                <a:gd name="connsiteX7" fmla="*/ 1061326 w 1084014"/>
                <a:gd name="connsiteY7" fmla="*/ 288259 h 852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4014" h="852808">
                  <a:moveTo>
                    <a:pt x="1061326" y="288259"/>
                  </a:moveTo>
                  <a:cubicBezTo>
                    <a:pt x="1117349" y="148201"/>
                    <a:pt x="1061326" y="-19868"/>
                    <a:pt x="983516" y="1918"/>
                  </a:cubicBezTo>
                  <a:cubicBezTo>
                    <a:pt x="893257" y="26818"/>
                    <a:pt x="787436" y="123302"/>
                    <a:pt x="728300" y="294483"/>
                  </a:cubicBezTo>
                  <a:cubicBezTo>
                    <a:pt x="694064" y="394080"/>
                    <a:pt x="594467" y="602610"/>
                    <a:pt x="575793" y="599498"/>
                  </a:cubicBezTo>
                  <a:cubicBezTo>
                    <a:pt x="566456" y="599498"/>
                    <a:pt x="6225" y="562149"/>
                    <a:pt x="6225" y="562149"/>
                  </a:cubicBezTo>
                  <a:cubicBezTo>
                    <a:pt x="6225" y="624397"/>
                    <a:pt x="0" y="702207"/>
                    <a:pt x="0" y="702207"/>
                  </a:cubicBezTo>
                  <a:cubicBezTo>
                    <a:pt x="0" y="702207"/>
                    <a:pt x="625591" y="882725"/>
                    <a:pt x="706513" y="848489"/>
                  </a:cubicBezTo>
                  <a:cubicBezTo>
                    <a:pt x="809222" y="808028"/>
                    <a:pt x="989741" y="462552"/>
                    <a:pt x="1061326" y="288259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8" name="图形 1">
              <a:extLst>
                <a:ext uri="{FF2B5EF4-FFF2-40B4-BE49-F238E27FC236}">
                  <a16:creationId xmlns:a16="http://schemas.microsoft.com/office/drawing/2014/main" id="{00A64FB6-BD0D-4CF0-AF4B-92F133967EE0}"/>
                </a:ext>
              </a:extLst>
            </p:cNvPr>
            <p:cNvGrpSpPr/>
            <p:nvPr/>
          </p:nvGrpSpPr>
          <p:grpSpPr>
            <a:xfrm>
              <a:off x="13826412" y="6392866"/>
              <a:ext cx="509394" cy="220201"/>
              <a:chOff x="13826412" y="6392866"/>
              <a:chExt cx="509394" cy="220201"/>
            </a:xfrm>
          </p:grpSpPr>
          <p:sp>
            <p:nvSpPr>
              <p:cNvPr id="349" name="任意多边形: 形状 348">
                <a:extLst>
                  <a:ext uri="{FF2B5EF4-FFF2-40B4-BE49-F238E27FC236}">
                    <a16:creationId xmlns:a16="http://schemas.microsoft.com/office/drawing/2014/main" id="{FC122769-FE26-45D0-BD9B-19AB781C2569}"/>
                  </a:ext>
                </a:extLst>
              </p:cNvPr>
              <p:cNvSpPr/>
              <p:nvPr/>
            </p:nvSpPr>
            <p:spPr>
              <a:xfrm>
                <a:off x="13829524" y="6404537"/>
                <a:ext cx="506282" cy="161844"/>
              </a:xfrm>
              <a:custGeom>
                <a:avLst/>
                <a:gdLst>
                  <a:gd name="connsiteX0" fmla="*/ 497983 w 506282"/>
                  <a:gd name="connsiteY0" fmla="*/ 46686 h 161844"/>
                  <a:gd name="connsiteX1" fmla="*/ 308127 w 506282"/>
                  <a:gd name="connsiteY1" fmla="*/ 0 h 161844"/>
                  <a:gd name="connsiteX2" fmla="*/ 171182 w 506282"/>
                  <a:gd name="connsiteY2" fmla="*/ 80922 h 161844"/>
                  <a:gd name="connsiteX3" fmla="*/ 0 w 506282"/>
                  <a:gd name="connsiteY3" fmla="*/ 161844 h 161844"/>
                  <a:gd name="connsiteX4" fmla="*/ 497983 w 506282"/>
                  <a:gd name="connsiteY4" fmla="*/ 161844 h 161844"/>
                  <a:gd name="connsiteX5" fmla="*/ 497983 w 506282"/>
                  <a:gd name="connsiteY5" fmla="*/ 46686 h 161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6282" h="161844">
                    <a:moveTo>
                      <a:pt x="497983" y="46686"/>
                    </a:moveTo>
                    <a:cubicBezTo>
                      <a:pt x="497983" y="46686"/>
                      <a:pt x="370374" y="65360"/>
                      <a:pt x="308127" y="0"/>
                    </a:cubicBezTo>
                    <a:cubicBezTo>
                      <a:pt x="308127" y="0"/>
                      <a:pt x="217867" y="71585"/>
                      <a:pt x="171182" y="80922"/>
                    </a:cubicBezTo>
                    <a:cubicBezTo>
                      <a:pt x="124496" y="90260"/>
                      <a:pt x="12449" y="87147"/>
                      <a:pt x="0" y="161844"/>
                    </a:cubicBezTo>
                    <a:lnTo>
                      <a:pt x="497983" y="161844"/>
                    </a:lnTo>
                    <a:cubicBezTo>
                      <a:pt x="497983" y="161844"/>
                      <a:pt x="516657" y="96484"/>
                      <a:pt x="497983" y="4668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0" name="任意多边形: 形状 349">
                <a:extLst>
                  <a:ext uri="{FF2B5EF4-FFF2-40B4-BE49-F238E27FC236}">
                    <a16:creationId xmlns:a16="http://schemas.microsoft.com/office/drawing/2014/main" id="{06B8DA7E-FBC6-4752-BBDC-8DEBB864432D}"/>
                  </a:ext>
                </a:extLst>
              </p:cNvPr>
              <p:cNvSpPr/>
              <p:nvPr/>
            </p:nvSpPr>
            <p:spPr>
              <a:xfrm>
                <a:off x="13826412" y="6566382"/>
                <a:ext cx="497982" cy="46685"/>
              </a:xfrm>
              <a:custGeom>
                <a:avLst/>
                <a:gdLst>
                  <a:gd name="connsiteX0" fmla="*/ 0 w 497982"/>
                  <a:gd name="connsiteY0" fmla="*/ 0 h 46685"/>
                  <a:gd name="connsiteX1" fmla="*/ 497982 w 497982"/>
                  <a:gd name="connsiteY1" fmla="*/ 0 h 46685"/>
                  <a:gd name="connsiteX2" fmla="*/ 497982 w 497982"/>
                  <a:gd name="connsiteY2" fmla="*/ 46686 h 46685"/>
                  <a:gd name="connsiteX3" fmla="*/ 0 w 497982"/>
                  <a:gd name="connsiteY3" fmla="*/ 46686 h 46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7982" h="46685">
                    <a:moveTo>
                      <a:pt x="0" y="0"/>
                    </a:moveTo>
                    <a:lnTo>
                      <a:pt x="497982" y="0"/>
                    </a:lnTo>
                    <a:lnTo>
                      <a:pt x="497982" y="46686"/>
                    </a:lnTo>
                    <a:lnTo>
                      <a:pt x="0" y="46686"/>
                    </a:ln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1" name="任意多边形: 形状 350">
                <a:extLst>
                  <a:ext uri="{FF2B5EF4-FFF2-40B4-BE49-F238E27FC236}">
                    <a16:creationId xmlns:a16="http://schemas.microsoft.com/office/drawing/2014/main" id="{B1E429BD-FC1B-45F7-915F-DD8C6CAA3896}"/>
                  </a:ext>
                </a:extLst>
              </p:cNvPr>
              <p:cNvSpPr/>
              <p:nvPr/>
            </p:nvSpPr>
            <p:spPr>
              <a:xfrm>
                <a:off x="14129092" y="6392866"/>
                <a:ext cx="204639" cy="64581"/>
              </a:xfrm>
              <a:custGeom>
                <a:avLst/>
                <a:gdLst>
                  <a:gd name="connsiteX0" fmla="*/ 161067 w 204639"/>
                  <a:gd name="connsiteY0" fmla="*/ 64582 h 64581"/>
                  <a:gd name="connsiteX1" fmla="*/ 2334 w 204639"/>
                  <a:gd name="connsiteY1" fmla="*/ 11671 h 64581"/>
                  <a:gd name="connsiteX2" fmla="*/ 2334 w 204639"/>
                  <a:gd name="connsiteY2" fmla="*/ 2334 h 64581"/>
                  <a:gd name="connsiteX3" fmla="*/ 11671 w 204639"/>
                  <a:gd name="connsiteY3" fmla="*/ 2334 h 64581"/>
                  <a:gd name="connsiteX4" fmla="*/ 198415 w 204639"/>
                  <a:gd name="connsiteY4" fmla="*/ 49020 h 64581"/>
                  <a:gd name="connsiteX5" fmla="*/ 204640 w 204639"/>
                  <a:gd name="connsiteY5" fmla="*/ 55245 h 64581"/>
                  <a:gd name="connsiteX6" fmla="*/ 198415 w 204639"/>
                  <a:gd name="connsiteY6" fmla="*/ 61470 h 64581"/>
                  <a:gd name="connsiteX7" fmla="*/ 161067 w 204639"/>
                  <a:gd name="connsiteY7" fmla="*/ 64582 h 64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4639" h="64581">
                    <a:moveTo>
                      <a:pt x="161067" y="64582"/>
                    </a:moveTo>
                    <a:cubicBezTo>
                      <a:pt x="120605" y="64582"/>
                      <a:pt x="52133" y="58357"/>
                      <a:pt x="2334" y="11671"/>
                    </a:cubicBezTo>
                    <a:cubicBezTo>
                      <a:pt x="-778" y="8559"/>
                      <a:pt x="-778" y="5447"/>
                      <a:pt x="2334" y="2334"/>
                    </a:cubicBezTo>
                    <a:cubicBezTo>
                      <a:pt x="5447" y="-778"/>
                      <a:pt x="8559" y="-778"/>
                      <a:pt x="11671" y="2334"/>
                    </a:cubicBezTo>
                    <a:cubicBezTo>
                      <a:pt x="80144" y="64582"/>
                      <a:pt x="195302" y="49020"/>
                      <a:pt x="198415" y="49020"/>
                    </a:cubicBezTo>
                    <a:cubicBezTo>
                      <a:pt x="201527" y="49020"/>
                      <a:pt x="204640" y="52133"/>
                      <a:pt x="204640" y="55245"/>
                    </a:cubicBezTo>
                    <a:cubicBezTo>
                      <a:pt x="204640" y="58357"/>
                      <a:pt x="201527" y="61470"/>
                      <a:pt x="198415" y="61470"/>
                    </a:cubicBezTo>
                    <a:cubicBezTo>
                      <a:pt x="195302" y="64582"/>
                      <a:pt x="182853" y="64582"/>
                      <a:pt x="161067" y="645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2" name="任意多边形: 形状 351">
                <a:extLst>
                  <a:ext uri="{FF2B5EF4-FFF2-40B4-BE49-F238E27FC236}">
                    <a16:creationId xmlns:a16="http://schemas.microsoft.com/office/drawing/2014/main" id="{E5A00AD8-0165-4BF8-B080-5A1C8CECD050}"/>
                  </a:ext>
                </a:extLst>
              </p:cNvPr>
              <p:cNvSpPr/>
              <p:nvPr/>
            </p:nvSpPr>
            <p:spPr>
              <a:xfrm>
                <a:off x="14094855" y="6420877"/>
                <a:ext cx="38905" cy="42795"/>
              </a:xfrm>
              <a:custGeom>
                <a:avLst/>
                <a:gdLst>
                  <a:gd name="connsiteX0" fmla="*/ 30346 w 38905"/>
                  <a:gd name="connsiteY0" fmla="*/ 42796 h 42795"/>
                  <a:gd name="connsiteX1" fmla="*/ 27233 w 38905"/>
                  <a:gd name="connsiteY1" fmla="*/ 39683 h 42795"/>
                  <a:gd name="connsiteX2" fmla="*/ 2334 w 38905"/>
                  <a:gd name="connsiteY2" fmla="*/ 11672 h 42795"/>
                  <a:gd name="connsiteX3" fmla="*/ 2334 w 38905"/>
                  <a:gd name="connsiteY3" fmla="*/ 2334 h 42795"/>
                  <a:gd name="connsiteX4" fmla="*/ 11671 w 38905"/>
                  <a:gd name="connsiteY4" fmla="*/ 2334 h 42795"/>
                  <a:gd name="connsiteX5" fmla="*/ 36571 w 38905"/>
                  <a:gd name="connsiteY5" fmla="*/ 30346 h 42795"/>
                  <a:gd name="connsiteX6" fmla="*/ 36571 w 38905"/>
                  <a:gd name="connsiteY6" fmla="*/ 39683 h 42795"/>
                  <a:gd name="connsiteX7" fmla="*/ 30346 w 38905"/>
                  <a:gd name="connsiteY7" fmla="*/ 42796 h 42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905" h="42795">
                    <a:moveTo>
                      <a:pt x="30346" y="42796"/>
                    </a:moveTo>
                    <a:cubicBezTo>
                      <a:pt x="30346" y="42796"/>
                      <a:pt x="27233" y="42796"/>
                      <a:pt x="27233" y="39683"/>
                    </a:cubicBezTo>
                    <a:lnTo>
                      <a:pt x="2334" y="11672"/>
                    </a:lnTo>
                    <a:cubicBezTo>
                      <a:pt x="-778" y="8559"/>
                      <a:pt x="-778" y="5447"/>
                      <a:pt x="2334" y="2334"/>
                    </a:cubicBezTo>
                    <a:cubicBezTo>
                      <a:pt x="5447" y="-778"/>
                      <a:pt x="8560" y="-778"/>
                      <a:pt x="11671" y="2334"/>
                    </a:cubicBezTo>
                    <a:lnTo>
                      <a:pt x="36571" y="30346"/>
                    </a:lnTo>
                    <a:cubicBezTo>
                      <a:pt x="39684" y="33458"/>
                      <a:pt x="39684" y="36570"/>
                      <a:pt x="36571" y="39683"/>
                    </a:cubicBezTo>
                    <a:cubicBezTo>
                      <a:pt x="33458" y="42796"/>
                      <a:pt x="33458" y="42796"/>
                      <a:pt x="30346" y="427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3" name="任意多边形: 形状 352">
                <a:extLst>
                  <a:ext uri="{FF2B5EF4-FFF2-40B4-BE49-F238E27FC236}">
                    <a16:creationId xmlns:a16="http://schemas.microsoft.com/office/drawing/2014/main" id="{4D51BC6C-11D4-430D-8DEA-6283970E3AEF}"/>
                  </a:ext>
                </a:extLst>
              </p:cNvPr>
              <p:cNvSpPr/>
              <p:nvPr/>
            </p:nvSpPr>
            <p:spPr>
              <a:xfrm>
                <a:off x="14054395" y="6445777"/>
                <a:ext cx="42017" cy="42795"/>
              </a:xfrm>
              <a:custGeom>
                <a:avLst/>
                <a:gdLst>
                  <a:gd name="connsiteX0" fmla="*/ 33458 w 42017"/>
                  <a:gd name="connsiteY0" fmla="*/ 42795 h 42795"/>
                  <a:gd name="connsiteX1" fmla="*/ 30346 w 42017"/>
                  <a:gd name="connsiteY1" fmla="*/ 39683 h 42795"/>
                  <a:gd name="connsiteX2" fmla="*/ 2334 w 42017"/>
                  <a:gd name="connsiteY2" fmla="*/ 11671 h 42795"/>
                  <a:gd name="connsiteX3" fmla="*/ 2334 w 42017"/>
                  <a:gd name="connsiteY3" fmla="*/ 2334 h 42795"/>
                  <a:gd name="connsiteX4" fmla="*/ 11671 w 42017"/>
                  <a:gd name="connsiteY4" fmla="*/ 2334 h 42795"/>
                  <a:gd name="connsiteX5" fmla="*/ 39683 w 42017"/>
                  <a:gd name="connsiteY5" fmla="*/ 30346 h 42795"/>
                  <a:gd name="connsiteX6" fmla="*/ 39683 w 42017"/>
                  <a:gd name="connsiteY6" fmla="*/ 39683 h 42795"/>
                  <a:gd name="connsiteX7" fmla="*/ 33458 w 42017"/>
                  <a:gd name="connsiteY7" fmla="*/ 42795 h 42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017" h="42795">
                    <a:moveTo>
                      <a:pt x="33458" y="42795"/>
                    </a:moveTo>
                    <a:cubicBezTo>
                      <a:pt x="33458" y="42795"/>
                      <a:pt x="30346" y="42795"/>
                      <a:pt x="30346" y="39683"/>
                    </a:cubicBezTo>
                    <a:lnTo>
                      <a:pt x="2334" y="11671"/>
                    </a:lnTo>
                    <a:cubicBezTo>
                      <a:pt x="-778" y="8559"/>
                      <a:pt x="-778" y="5447"/>
                      <a:pt x="2334" y="2334"/>
                    </a:cubicBezTo>
                    <a:cubicBezTo>
                      <a:pt x="5446" y="-778"/>
                      <a:pt x="8559" y="-778"/>
                      <a:pt x="11671" y="2334"/>
                    </a:cubicBezTo>
                    <a:lnTo>
                      <a:pt x="39683" y="30346"/>
                    </a:lnTo>
                    <a:cubicBezTo>
                      <a:pt x="42795" y="33458"/>
                      <a:pt x="42795" y="36570"/>
                      <a:pt x="39683" y="39683"/>
                    </a:cubicBezTo>
                    <a:cubicBezTo>
                      <a:pt x="36570" y="42795"/>
                      <a:pt x="33458" y="42795"/>
                      <a:pt x="33458" y="4279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54" name="图形 1">
              <a:extLst>
                <a:ext uri="{FF2B5EF4-FFF2-40B4-BE49-F238E27FC236}">
                  <a16:creationId xmlns:a16="http://schemas.microsoft.com/office/drawing/2014/main" id="{00A64FB6-BD0D-4CF0-AF4B-92F133967EE0}"/>
                </a:ext>
              </a:extLst>
            </p:cNvPr>
            <p:cNvGrpSpPr/>
            <p:nvPr/>
          </p:nvGrpSpPr>
          <p:grpSpPr>
            <a:xfrm>
              <a:off x="15659611" y="6230244"/>
              <a:ext cx="289452" cy="382823"/>
              <a:chOff x="15659611" y="6230244"/>
              <a:chExt cx="289452" cy="382823"/>
            </a:xfrm>
          </p:grpSpPr>
          <p:sp>
            <p:nvSpPr>
              <p:cNvPr id="355" name="任意多边形: 形状 354">
                <a:extLst>
                  <a:ext uri="{FF2B5EF4-FFF2-40B4-BE49-F238E27FC236}">
                    <a16:creationId xmlns:a16="http://schemas.microsoft.com/office/drawing/2014/main" id="{38F15FF3-1CB3-48D3-9652-15E52FA6DBD3}"/>
                  </a:ext>
                </a:extLst>
              </p:cNvPr>
              <p:cNvSpPr/>
              <p:nvPr/>
            </p:nvSpPr>
            <p:spPr>
              <a:xfrm>
                <a:off x="15659611" y="6236468"/>
                <a:ext cx="252102" cy="363803"/>
              </a:xfrm>
              <a:custGeom>
                <a:avLst/>
                <a:gdLst>
                  <a:gd name="connsiteX0" fmla="*/ 149394 w 252102"/>
                  <a:gd name="connsiteY0" fmla="*/ 0 h 363803"/>
                  <a:gd name="connsiteX1" fmla="*/ 15562 w 252102"/>
                  <a:gd name="connsiteY1" fmla="*/ 143170 h 363803"/>
                  <a:gd name="connsiteX2" fmla="*/ 21786 w 252102"/>
                  <a:gd name="connsiteY2" fmla="*/ 301902 h 363803"/>
                  <a:gd name="connsiteX3" fmla="*/ 0 w 252102"/>
                  <a:gd name="connsiteY3" fmla="*/ 361037 h 363803"/>
                  <a:gd name="connsiteX4" fmla="*/ 80921 w 252102"/>
                  <a:gd name="connsiteY4" fmla="*/ 361037 h 363803"/>
                  <a:gd name="connsiteX5" fmla="*/ 252103 w 252102"/>
                  <a:gd name="connsiteY5" fmla="*/ 56023 h 363803"/>
                  <a:gd name="connsiteX6" fmla="*/ 149394 w 252102"/>
                  <a:gd name="connsiteY6" fmla="*/ 0 h 363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2102" h="363803">
                    <a:moveTo>
                      <a:pt x="149394" y="0"/>
                    </a:moveTo>
                    <a:cubicBezTo>
                      <a:pt x="149394" y="0"/>
                      <a:pt x="102709" y="121383"/>
                      <a:pt x="15562" y="143170"/>
                    </a:cubicBezTo>
                    <a:cubicBezTo>
                      <a:pt x="15562" y="143170"/>
                      <a:pt x="34236" y="258329"/>
                      <a:pt x="21786" y="301902"/>
                    </a:cubicBezTo>
                    <a:cubicBezTo>
                      <a:pt x="15562" y="317464"/>
                      <a:pt x="6224" y="339251"/>
                      <a:pt x="0" y="361037"/>
                    </a:cubicBezTo>
                    <a:cubicBezTo>
                      <a:pt x="40461" y="367262"/>
                      <a:pt x="80921" y="361037"/>
                      <a:pt x="80921" y="361037"/>
                    </a:cubicBezTo>
                    <a:lnTo>
                      <a:pt x="252103" y="56023"/>
                    </a:lnTo>
                    <a:cubicBezTo>
                      <a:pt x="248991" y="56023"/>
                      <a:pt x="202305" y="6225"/>
                      <a:pt x="149394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6" name="任意多边形: 形状 355">
                <a:extLst>
                  <a:ext uri="{FF2B5EF4-FFF2-40B4-BE49-F238E27FC236}">
                    <a16:creationId xmlns:a16="http://schemas.microsoft.com/office/drawing/2014/main" id="{7B3537ED-FD10-4D5C-8370-D6328105E79F}"/>
                  </a:ext>
                </a:extLst>
              </p:cNvPr>
              <p:cNvSpPr/>
              <p:nvPr/>
            </p:nvSpPr>
            <p:spPr>
              <a:xfrm>
                <a:off x="15728083" y="6292491"/>
                <a:ext cx="220980" cy="320575"/>
              </a:xfrm>
              <a:custGeom>
                <a:avLst/>
                <a:gdLst>
                  <a:gd name="connsiteX0" fmla="*/ 0 w 220980"/>
                  <a:gd name="connsiteY0" fmla="*/ 320576 h 320575"/>
                  <a:gd name="connsiteX1" fmla="*/ 180519 w 220980"/>
                  <a:gd name="connsiteY1" fmla="*/ 0 h 320575"/>
                  <a:gd name="connsiteX2" fmla="*/ 220980 w 220980"/>
                  <a:gd name="connsiteY2" fmla="*/ 21787 h 320575"/>
                  <a:gd name="connsiteX3" fmla="*/ 52911 w 220980"/>
                  <a:gd name="connsiteY3" fmla="*/ 320576 h 320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0980" h="320575">
                    <a:moveTo>
                      <a:pt x="0" y="320576"/>
                    </a:moveTo>
                    <a:lnTo>
                      <a:pt x="180519" y="0"/>
                    </a:lnTo>
                    <a:lnTo>
                      <a:pt x="220980" y="21787"/>
                    </a:lnTo>
                    <a:lnTo>
                      <a:pt x="52911" y="320576"/>
                    </a:ln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7" name="任意多边形: 形状 356">
                <a:extLst>
                  <a:ext uri="{FF2B5EF4-FFF2-40B4-BE49-F238E27FC236}">
                    <a16:creationId xmlns:a16="http://schemas.microsoft.com/office/drawing/2014/main" id="{79082AB0-0894-4FCC-A937-82B8A82FCD19}"/>
                  </a:ext>
                </a:extLst>
              </p:cNvPr>
              <p:cNvSpPr/>
              <p:nvPr/>
            </p:nvSpPr>
            <p:spPr>
              <a:xfrm>
                <a:off x="15665835" y="6230244"/>
                <a:ext cx="143325" cy="152507"/>
              </a:xfrm>
              <a:custGeom>
                <a:avLst/>
                <a:gdLst>
                  <a:gd name="connsiteX0" fmla="*/ 6225 w 143325"/>
                  <a:gd name="connsiteY0" fmla="*/ 152507 h 152507"/>
                  <a:gd name="connsiteX1" fmla="*/ 0 w 143325"/>
                  <a:gd name="connsiteY1" fmla="*/ 149394 h 152507"/>
                  <a:gd name="connsiteX2" fmla="*/ 3113 w 143325"/>
                  <a:gd name="connsiteY2" fmla="*/ 143170 h 152507"/>
                  <a:gd name="connsiteX3" fmla="*/ 133833 w 143325"/>
                  <a:gd name="connsiteY3" fmla="*/ 3112 h 152507"/>
                  <a:gd name="connsiteX4" fmla="*/ 140058 w 143325"/>
                  <a:gd name="connsiteY4" fmla="*/ 0 h 152507"/>
                  <a:gd name="connsiteX5" fmla="*/ 143170 w 143325"/>
                  <a:gd name="connsiteY5" fmla="*/ 6225 h 152507"/>
                  <a:gd name="connsiteX6" fmla="*/ 6225 w 143325"/>
                  <a:gd name="connsiteY6" fmla="*/ 152507 h 152507"/>
                  <a:gd name="connsiteX7" fmla="*/ 6225 w 143325"/>
                  <a:gd name="connsiteY7" fmla="*/ 152507 h 152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325" h="152507">
                    <a:moveTo>
                      <a:pt x="6225" y="152507"/>
                    </a:moveTo>
                    <a:cubicBezTo>
                      <a:pt x="3113" y="152507"/>
                      <a:pt x="3113" y="152507"/>
                      <a:pt x="0" y="149394"/>
                    </a:cubicBezTo>
                    <a:cubicBezTo>
                      <a:pt x="0" y="146282"/>
                      <a:pt x="0" y="143170"/>
                      <a:pt x="3113" y="143170"/>
                    </a:cubicBezTo>
                    <a:cubicBezTo>
                      <a:pt x="90259" y="112046"/>
                      <a:pt x="133833" y="6225"/>
                      <a:pt x="133833" y="3112"/>
                    </a:cubicBezTo>
                    <a:cubicBezTo>
                      <a:pt x="133833" y="0"/>
                      <a:pt x="136945" y="0"/>
                      <a:pt x="140058" y="0"/>
                    </a:cubicBezTo>
                    <a:cubicBezTo>
                      <a:pt x="143170" y="0"/>
                      <a:pt x="143170" y="3112"/>
                      <a:pt x="143170" y="6225"/>
                    </a:cubicBezTo>
                    <a:cubicBezTo>
                      <a:pt x="146283" y="12449"/>
                      <a:pt x="102710" y="121383"/>
                      <a:pt x="6225" y="152507"/>
                    </a:cubicBezTo>
                    <a:cubicBezTo>
                      <a:pt x="9338" y="152507"/>
                      <a:pt x="9338" y="152507"/>
                      <a:pt x="6225" y="1525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8" name="任意多边形: 形状 357">
                <a:extLst>
                  <a:ext uri="{FF2B5EF4-FFF2-40B4-BE49-F238E27FC236}">
                    <a16:creationId xmlns:a16="http://schemas.microsoft.com/office/drawing/2014/main" id="{C40F84F9-CA17-410F-BDDE-98F771F3BC8E}"/>
                  </a:ext>
                </a:extLst>
              </p:cNvPr>
              <p:cNvSpPr/>
              <p:nvPr/>
            </p:nvSpPr>
            <p:spPr>
              <a:xfrm>
                <a:off x="15672060" y="6410762"/>
                <a:ext cx="46685" cy="18674"/>
              </a:xfrm>
              <a:custGeom>
                <a:avLst/>
                <a:gdLst>
                  <a:gd name="connsiteX0" fmla="*/ 6224 w 46685"/>
                  <a:gd name="connsiteY0" fmla="*/ 18675 h 18674"/>
                  <a:gd name="connsiteX1" fmla="*/ 0 w 46685"/>
                  <a:gd name="connsiteY1" fmla="*/ 15562 h 18674"/>
                  <a:gd name="connsiteX2" fmla="*/ 3113 w 46685"/>
                  <a:gd name="connsiteY2" fmla="*/ 9337 h 18674"/>
                  <a:gd name="connsiteX3" fmla="*/ 40461 w 46685"/>
                  <a:gd name="connsiteY3" fmla="*/ 0 h 18674"/>
                  <a:gd name="connsiteX4" fmla="*/ 46686 w 46685"/>
                  <a:gd name="connsiteY4" fmla="*/ 3113 h 18674"/>
                  <a:gd name="connsiteX5" fmla="*/ 43573 w 46685"/>
                  <a:gd name="connsiteY5" fmla="*/ 9337 h 18674"/>
                  <a:gd name="connsiteX6" fmla="*/ 6224 w 46685"/>
                  <a:gd name="connsiteY6" fmla="*/ 18675 h 18674"/>
                  <a:gd name="connsiteX7" fmla="*/ 6224 w 46685"/>
                  <a:gd name="connsiteY7" fmla="*/ 18675 h 1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685" h="18674">
                    <a:moveTo>
                      <a:pt x="6224" y="18675"/>
                    </a:moveTo>
                    <a:cubicBezTo>
                      <a:pt x="3113" y="18675"/>
                      <a:pt x="0" y="15562"/>
                      <a:pt x="0" y="15562"/>
                    </a:cubicBezTo>
                    <a:cubicBezTo>
                      <a:pt x="0" y="12450"/>
                      <a:pt x="0" y="9337"/>
                      <a:pt x="3113" y="9337"/>
                    </a:cubicBezTo>
                    <a:lnTo>
                      <a:pt x="40461" y="0"/>
                    </a:lnTo>
                    <a:cubicBezTo>
                      <a:pt x="43573" y="0"/>
                      <a:pt x="46686" y="0"/>
                      <a:pt x="46686" y="3113"/>
                    </a:cubicBezTo>
                    <a:cubicBezTo>
                      <a:pt x="46686" y="6225"/>
                      <a:pt x="46686" y="9337"/>
                      <a:pt x="43573" y="9337"/>
                    </a:cubicBezTo>
                    <a:lnTo>
                      <a:pt x="6224" y="18675"/>
                    </a:lnTo>
                    <a:cubicBezTo>
                      <a:pt x="9337" y="18675"/>
                      <a:pt x="9337" y="18675"/>
                      <a:pt x="6224" y="1867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9" name="任意多边形: 形状 358">
                <a:extLst>
                  <a:ext uri="{FF2B5EF4-FFF2-40B4-BE49-F238E27FC236}">
                    <a16:creationId xmlns:a16="http://schemas.microsoft.com/office/drawing/2014/main" id="{769913A5-F955-490A-B08E-5109F1042028}"/>
                  </a:ext>
                </a:extLst>
              </p:cNvPr>
              <p:cNvSpPr/>
              <p:nvPr/>
            </p:nvSpPr>
            <p:spPr>
              <a:xfrm>
                <a:off x="15678284" y="6457448"/>
                <a:ext cx="46685" cy="18674"/>
              </a:xfrm>
              <a:custGeom>
                <a:avLst/>
                <a:gdLst>
                  <a:gd name="connsiteX0" fmla="*/ 6225 w 46685"/>
                  <a:gd name="connsiteY0" fmla="*/ 18675 h 18674"/>
                  <a:gd name="connsiteX1" fmla="*/ 0 w 46685"/>
                  <a:gd name="connsiteY1" fmla="*/ 15562 h 18674"/>
                  <a:gd name="connsiteX2" fmla="*/ 3113 w 46685"/>
                  <a:gd name="connsiteY2" fmla="*/ 9337 h 18674"/>
                  <a:gd name="connsiteX3" fmla="*/ 40462 w 46685"/>
                  <a:gd name="connsiteY3" fmla="*/ 0 h 18674"/>
                  <a:gd name="connsiteX4" fmla="*/ 46686 w 46685"/>
                  <a:gd name="connsiteY4" fmla="*/ 3113 h 18674"/>
                  <a:gd name="connsiteX5" fmla="*/ 43574 w 46685"/>
                  <a:gd name="connsiteY5" fmla="*/ 9337 h 18674"/>
                  <a:gd name="connsiteX6" fmla="*/ 6225 w 46685"/>
                  <a:gd name="connsiteY6" fmla="*/ 18675 h 18674"/>
                  <a:gd name="connsiteX7" fmla="*/ 6225 w 46685"/>
                  <a:gd name="connsiteY7" fmla="*/ 18675 h 1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685" h="18674">
                    <a:moveTo>
                      <a:pt x="6225" y="18675"/>
                    </a:moveTo>
                    <a:cubicBezTo>
                      <a:pt x="3113" y="18675"/>
                      <a:pt x="0" y="15562"/>
                      <a:pt x="0" y="15562"/>
                    </a:cubicBezTo>
                    <a:cubicBezTo>
                      <a:pt x="0" y="12450"/>
                      <a:pt x="0" y="9337"/>
                      <a:pt x="3113" y="9337"/>
                    </a:cubicBezTo>
                    <a:lnTo>
                      <a:pt x="40462" y="0"/>
                    </a:lnTo>
                    <a:cubicBezTo>
                      <a:pt x="43574" y="0"/>
                      <a:pt x="46686" y="0"/>
                      <a:pt x="46686" y="3113"/>
                    </a:cubicBezTo>
                    <a:cubicBezTo>
                      <a:pt x="46686" y="6225"/>
                      <a:pt x="46686" y="9337"/>
                      <a:pt x="43574" y="9337"/>
                    </a:cubicBezTo>
                    <a:lnTo>
                      <a:pt x="6225" y="18675"/>
                    </a:lnTo>
                    <a:cubicBezTo>
                      <a:pt x="6225" y="18675"/>
                      <a:pt x="6225" y="18675"/>
                      <a:pt x="6225" y="1867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60" name="任意多边形: 形状 359">
              <a:extLst>
                <a:ext uri="{FF2B5EF4-FFF2-40B4-BE49-F238E27FC236}">
                  <a16:creationId xmlns:a16="http://schemas.microsoft.com/office/drawing/2014/main" id="{CA06B6A1-2029-424A-BEBC-8C0BC4911D91}"/>
                </a:ext>
              </a:extLst>
            </p:cNvPr>
            <p:cNvSpPr/>
            <p:nvPr/>
          </p:nvSpPr>
          <p:spPr>
            <a:xfrm>
              <a:off x="14766354" y="4204076"/>
              <a:ext cx="71584" cy="370374"/>
            </a:xfrm>
            <a:custGeom>
              <a:avLst/>
              <a:gdLst>
                <a:gd name="connsiteX0" fmla="*/ 65360 w 71584"/>
                <a:gd name="connsiteY0" fmla="*/ 370375 h 370374"/>
                <a:gd name="connsiteX1" fmla="*/ 59135 w 71584"/>
                <a:gd name="connsiteY1" fmla="*/ 367262 h 370374"/>
                <a:gd name="connsiteX2" fmla="*/ 0 w 71584"/>
                <a:gd name="connsiteY2" fmla="*/ 6225 h 370374"/>
                <a:gd name="connsiteX3" fmla="*/ 6225 w 71584"/>
                <a:gd name="connsiteY3" fmla="*/ 0 h 370374"/>
                <a:gd name="connsiteX4" fmla="*/ 6225 w 71584"/>
                <a:gd name="connsiteY4" fmla="*/ 0 h 370374"/>
                <a:gd name="connsiteX5" fmla="*/ 12449 w 71584"/>
                <a:gd name="connsiteY5" fmla="*/ 6225 h 370374"/>
                <a:gd name="connsiteX6" fmla="*/ 71585 w 71584"/>
                <a:gd name="connsiteY6" fmla="*/ 364150 h 370374"/>
                <a:gd name="connsiteX7" fmla="*/ 65360 w 71584"/>
                <a:gd name="connsiteY7" fmla="*/ 370375 h 370374"/>
                <a:gd name="connsiteX8" fmla="*/ 65360 w 71584"/>
                <a:gd name="connsiteY8" fmla="*/ 370375 h 37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584" h="370374">
                  <a:moveTo>
                    <a:pt x="65360" y="370375"/>
                  </a:moveTo>
                  <a:cubicBezTo>
                    <a:pt x="62248" y="370375"/>
                    <a:pt x="62248" y="370375"/>
                    <a:pt x="59135" y="367262"/>
                  </a:cubicBezTo>
                  <a:cubicBezTo>
                    <a:pt x="9337" y="248991"/>
                    <a:pt x="0" y="15562"/>
                    <a:pt x="0" y="6225"/>
                  </a:cubicBezTo>
                  <a:cubicBezTo>
                    <a:pt x="0" y="3112"/>
                    <a:pt x="3113" y="0"/>
                    <a:pt x="6225" y="0"/>
                  </a:cubicBezTo>
                  <a:lnTo>
                    <a:pt x="6225" y="0"/>
                  </a:lnTo>
                  <a:cubicBezTo>
                    <a:pt x="9337" y="0"/>
                    <a:pt x="12449" y="3112"/>
                    <a:pt x="12449" y="6225"/>
                  </a:cubicBezTo>
                  <a:cubicBezTo>
                    <a:pt x="12449" y="9337"/>
                    <a:pt x="21787" y="248991"/>
                    <a:pt x="71585" y="364150"/>
                  </a:cubicBezTo>
                  <a:cubicBezTo>
                    <a:pt x="71585" y="364150"/>
                    <a:pt x="71585" y="367262"/>
                    <a:pt x="65360" y="370375"/>
                  </a:cubicBezTo>
                  <a:cubicBezTo>
                    <a:pt x="68473" y="370375"/>
                    <a:pt x="68473" y="370375"/>
                    <a:pt x="65360" y="370375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1" name="任意多边形: 形状 360">
              <a:extLst>
                <a:ext uri="{FF2B5EF4-FFF2-40B4-BE49-F238E27FC236}">
                  <a16:creationId xmlns:a16="http://schemas.microsoft.com/office/drawing/2014/main" id="{CD6FB19F-F29F-4FA2-A607-5E7160A8CB65}"/>
                </a:ext>
              </a:extLst>
            </p:cNvPr>
            <p:cNvSpPr/>
            <p:nvPr/>
          </p:nvSpPr>
          <p:spPr>
            <a:xfrm>
              <a:off x="14654308" y="4132491"/>
              <a:ext cx="158732" cy="361037"/>
            </a:xfrm>
            <a:custGeom>
              <a:avLst/>
              <a:gdLst>
                <a:gd name="connsiteX0" fmla="*/ 149395 w 158732"/>
                <a:gd name="connsiteY0" fmla="*/ 361038 h 361037"/>
                <a:gd name="connsiteX1" fmla="*/ 146283 w 158732"/>
                <a:gd name="connsiteY1" fmla="*/ 361038 h 361037"/>
                <a:gd name="connsiteX2" fmla="*/ 34237 w 158732"/>
                <a:gd name="connsiteY2" fmla="*/ 280115 h 361037"/>
                <a:gd name="connsiteX3" fmla="*/ 0 w 158732"/>
                <a:gd name="connsiteY3" fmla="*/ 6225 h 361037"/>
                <a:gd name="connsiteX4" fmla="*/ 6225 w 158732"/>
                <a:gd name="connsiteY4" fmla="*/ 0 h 361037"/>
                <a:gd name="connsiteX5" fmla="*/ 6225 w 158732"/>
                <a:gd name="connsiteY5" fmla="*/ 0 h 361037"/>
                <a:gd name="connsiteX6" fmla="*/ 12449 w 158732"/>
                <a:gd name="connsiteY6" fmla="*/ 6225 h 361037"/>
                <a:gd name="connsiteX7" fmla="*/ 46686 w 158732"/>
                <a:gd name="connsiteY7" fmla="*/ 273891 h 361037"/>
                <a:gd name="connsiteX8" fmla="*/ 155620 w 158732"/>
                <a:gd name="connsiteY8" fmla="*/ 351700 h 361037"/>
                <a:gd name="connsiteX9" fmla="*/ 158732 w 158732"/>
                <a:gd name="connsiteY9" fmla="*/ 361038 h 361037"/>
                <a:gd name="connsiteX10" fmla="*/ 149395 w 158732"/>
                <a:gd name="connsiteY10" fmla="*/ 361038 h 361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8732" h="361037">
                  <a:moveTo>
                    <a:pt x="149395" y="361038"/>
                  </a:moveTo>
                  <a:cubicBezTo>
                    <a:pt x="149395" y="361038"/>
                    <a:pt x="146283" y="361038"/>
                    <a:pt x="146283" y="361038"/>
                  </a:cubicBezTo>
                  <a:cubicBezTo>
                    <a:pt x="136945" y="354813"/>
                    <a:pt x="46686" y="295677"/>
                    <a:pt x="34237" y="280115"/>
                  </a:cubicBezTo>
                  <a:cubicBezTo>
                    <a:pt x="21787" y="264553"/>
                    <a:pt x="3113" y="49798"/>
                    <a:pt x="0" y="6225"/>
                  </a:cubicBezTo>
                  <a:cubicBezTo>
                    <a:pt x="0" y="3113"/>
                    <a:pt x="3113" y="0"/>
                    <a:pt x="6225" y="0"/>
                  </a:cubicBezTo>
                  <a:cubicBezTo>
                    <a:pt x="6225" y="0"/>
                    <a:pt x="6225" y="0"/>
                    <a:pt x="6225" y="0"/>
                  </a:cubicBezTo>
                  <a:cubicBezTo>
                    <a:pt x="9338" y="0"/>
                    <a:pt x="12449" y="3113"/>
                    <a:pt x="12449" y="6225"/>
                  </a:cubicBezTo>
                  <a:cubicBezTo>
                    <a:pt x="21787" y="102709"/>
                    <a:pt x="37349" y="261441"/>
                    <a:pt x="46686" y="273891"/>
                  </a:cubicBezTo>
                  <a:cubicBezTo>
                    <a:pt x="56024" y="283228"/>
                    <a:pt x="115159" y="326801"/>
                    <a:pt x="155620" y="351700"/>
                  </a:cubicBezTo>
                  <a:cubicBezTo>
                    <a:pt x="158732" y="354813"/>
                    <a:pt x="158732" y="357925"/>
                    <a:pt x="158732" y="361038"/>
                  </a:cubicBezTo>
                  <a:cubicBezTo>
                    <a:pt x="152507" y="361038"/>
                    <a:pt x="149395" y="361038"/>
                    <a:pt x="149395" y="361038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2" name="任意多边形: 形状 361">
              <a:extLst>
                <a:ext uri="{FF2B5EF4-FFF2-40B4-BE49-F238E27FC236}">
                  <a16:creationId xmlns:a16="http://schemas.microsoft.com/office/drawing/2014/main" id="{1B231037-D17D-4747-B81C-D4D89D36B329}"/>
                </a:ext>
              </a:extLst>
            </p:cNvPr>
            <p:cNvSpPr/>
            <p:nvPr/>
          </p:nvSpPr>
          <p:spPr>
            <a:xfrm>
              <a:off x="13804625" y="2764557"/>
              <a:ext cx="426143" cy="612035"/>
            </a:xfrm>
            <a:custGeom>
              <a:avLst/>
              <a:gdLst>
                <a:gd name="connsiteX0" fmla="*/ 423285 w 426143"/>
                <a:gd name="connsiteY0" fmla="*/ 608510 h 612035"/>
                <a:gd name="connsiteX1" fmla="*/ 311239 w 426143"/>
                <a:gd name="connsiteY1" fmla="*/ 4706 h 612035"/>
                <a:gd name="connsiteX2" fmla="*/ 0 w 426143"/>
                <a:gd name="connsiteY2" fmla="*/ 518251 h 612035"/>
                <a:gd name="connsiteX3" fmla="*/ 423285 w 426143"/>
                <a:gd name="connsiteY3" fmla="*/ 608510 h 612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143" h="612035">
                  <a:moveTo>
                    <a:pt x="423285" y="608510"/>
                  </a:moveTo>
                  <a:cubicBezTo>
                    <a:pt x="423285" y="608510"/>
                    <a:pt x="454409" y="60730"/>
                    <a:pt x="311239" y="4706"/>
                  </a:cubicBezTo>
                  <a:cubicBezTo>
                    <a:pt x="149394" y="-57541"/>
                    <a:pt x="0" y="518251"/>
                    <a:pt x="0" y="518251"/>
                  </a:cubicBezTo>
                  <a:cubicBezTo>
                    <a:pt x="0" y="518251"/>
                    <a:pt x="205418" y="633410"/>
                    <a:pt x="423285" y="608510"/>
                  </a:cubicBezTo>
                  <a:close/>
                </a:path>
              </a:pathLst>
            </a:custGeom>
            <a:solidFill>
              <a:srgbClr val="708686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3" name="任意多边形: 形状 362">
              <a:extLst>
                <a:ext uri="{FF2B5EF4-FFF2-40B4-BE49-F238E27FC236}">
                  <a16:creationId xmlns:a16="http://schemas.microsoft.com/office/drawing/2014/main" id="{4AAF2B02-48F8-44BA-A00B-B057E8B0C84F}"/>
                </a:ext>
              </a:extLst>
            </p:cNvPr>
            <p:cNvSpPr/>
            <p:nvPr/>
          </p:nvSpPr>
          <p:spPr>
            <a:xfrm>
              <a:off x="14296383" y="2402001"/>
              <a:ext cx="283227" cy="287201"/>
            </a:xfrm>
            <a:custGeom>
              <a:avLst/>
              <a:gdLst>
                <a:gd name="connsiteX0" fmla="*/ 0 w 283227"/>
                <a:gd name="connsiteY0" fmla="*/ 87147 h 287201"/>
                <a:gd name="connsiteX1" fmla="*/ 40462 w 283227"/>
                <a:gd name="connsiteY1" fmla="*/ 261441 h 287201"/>
                <a:gd name="connsiteX2" fmla="*/ 283228 w 283227"/>
                <a:gd name="connsiteY2" fmla="*/ 202305 h 287201"/>
                <a:gd name="connsiteX3" fmla="*/ 227205 w 283227"/>
                <a:gd name="connsiteY3" fmla="*/ 0 h 287201"/>
                <a:gd name="connsiteX4" fmla="*/ 0 w 283227"/>
                <a:gd name="connsiteY4" fmla="*/ 87147 h 28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3227" h="287201">
                  <a:moveTo>
                    <a:pt x="0" y="87147"/>
                  </a:moveTo>
                  <a:cubicBezTo>
                    <a:pt x="0" y="87147"/>
                    <a:pt x="28011" y="186744"/>
                    <a:pt x="40462" y="261441"/>
                  </a:cubicBezTo>
                  <a:cubicBezTo>
                    <a:pt x="40462" y="261441"/>
                    <a:pt x="155620" y="348588"/>
                    <a:pt x="283228" y="202305"/>
                  </a:cubicBezTo>
                  <a:cubicBezTo>
                    <a:pt x="270778" y="140058"/>
                    <a:pt x="242767" y="65360"/>
                    <a:pt x="227205" y="0"/>
                  </a:cubicBezTo>
                  <a:cubicBezTo>
                    <a:pt x="230317" y="0"/>
                    <a:pt x="56024" y="90259"/>
                    <a:pt x="0" y="87147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4" name="任意多边形: 形状 363">
              <a:extLst>
                <a:ext uri="{FF2B5EF4-FFF2-40B4-BE49-F238E27FC236}">
                  <a16:creationId xmlns:a16="http://schemas.microsoft.com/office/drawing/2014/main" id="{2A147CE2-67A5-4DC6-AEE5-8E7F7E463E80}"/>
                </a:ext>
              </a:extLst>
            </p:cNvPr>
            <p:cNvSpPr/>
            <p:nvPr/>
          </p:nvSpPr>
          <p:spPr>
            <a:xfrm>
              <a:off x="14548487" y="2261944"/>
              <a:ext cx="59829" cy="152507"/>
            </a:xfrm>
            <a:custGeom>
              <a:avLst/>
              <a:gdLst>
                <a:gd name="connsiteX0" fmla="*/ 59135 w 59829"/>
                <a:gd name="connsiteY0" fmla="*/ 0 h 152507"/>
                <a:gd name="connsiteX1" fmla="*/ 18675 w 59829"/>
                <a:gd name="connsiteY1" fmla="*/ 152507 h 152507"/>
                <a:gd name="connsiteX2" fmla="*/ 0 w 59829"/>
                <a:gd name="connsiteY2" fmla="*/ 68473 h 152507"/>
                <a:gd name="connsiteX3" fmla="*/ 59135 w 59829"/>
                <a:gd name="connsiteY3" fmla="*/ 0 h 152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829" h="152507">
                  <a:moveTo>
                    <a:pt x="59135" y="0"/>
                  </a:moveTo>
                  <a:cubicBezTo>
                    <a:pt x="59135" y="0"/>
                    <a:pt x="68473" y="121383"/>
                    <a:pt x="18675" y="152507"/>
                  </a:cubicBezTo>
                  <a:lnTo>
                    <a:pt x="0" y="68473"/>
                  </a:lnTo>
                  <a:lnTo>
                    <a:pt x="59135" y="0"/>
                  </a:ln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5" name="任意多边形: 形状 364">
              <a:extLst>
                <a:ext uri="{FF2B5EF4-FFF2-40B4-BE49-F238E27FC236}">
                  <a16:creationId xmlns:a16="http://schemas.microsoft.com/office/drawing/2014/main" id="{88CE894F-3F14-4876-8AD8-C4817805B510}"/>
                </a:ext>
              </a:extLst>
            </p:cNvPr>
            <p:cNvSpPr/>
            <p:nvPr/>
          </p:nvSpPr>
          <p:spPr>
            <a:xfrm>
              <a:off x="14112752" y="2140560"/>
              <a:ext cx="122545" cy="231651"/>
            </a:xfrm>
            <a:custGeom>
              <a:avLst/>
              <a:gdLst>
                <a:gd name="connsiteX0" fmla="*/ 0 w 122545"/>
                <a:gd name="connsiteY0" fmla="*/ 3112 h 231651"/>
                <a:gd name="connsiteX1" fmla="*/ 87147 w 122545"/>
                <a:gd name="connsiteY1" fmla="*/ 230317 h 231651"/>
                <a:gd name="connsiteX2" fmla="*/ 99597 w 122545"/>
                <a:gd name="connsiteY2" fmla="*/ 0 h 231651"/>
                <a:gd name="connsiteX3" fmla="*/ 0 w 122545"/>
                <a:gd name="connsiteY3" fmla="*/ 3112 h 231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545" h="231651">
                  <a:moveTo>
                    <a:pt x="0" y="3112"/>
                  </a:moveTo>
                  <a:cubicBezTo>
                    <a:pt x="0" y="3112"/>
                    <a:pt x="6225" y="205418"/>
                    <a:pt x="87147" y="230317"/>
                  </a:cubicBezTo>
                  <a:cubicBezTo>
                    <a:pt x="158732" y="252104"/>
                    <a:pt x="99597" y="0"/>
                    <a:pt x="99597" y="0"/>
                  </a:cubicBezTo>
                  <a:lnTo>
                    <a:pt x="0" y="3112"/>
                  </a:ln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6" name="任意多边形: 形状 365">
              <a:extLst>
                <a:ext uri="{FF2B5EF4-FFF2-40B4-BE49-F238E27FC236}">
                  <a16:creationId xmlns:a16="http://schemas.microsoft.com/office/drawing/2014/main" id="{4E78FCB8-F8AB-4A53-BBA3-ADCDCA35630D}"/>
                </a:ext>
              </a:extLst>
            </p:cNvPr>
            <p:cNvSpPr/>
            <p:nvPr/>
          </p:nvSpPr>
          <p:spPr>
            <a:xfrm>
              <a:off x="14162550" y="1959252"/>
              <a:ext cx="426523" cy="580221"/>
            </a:xfrm>
            <a:custGeom>
              <a:avLst/>
              <a:gdLst>
                <a:gd name="connsiteX0" fmla="*/ 0 w 426523"/>
                <a:gd name="connsiteY0" fmla="*/ 221770 h 580221"/>
                <a:gd name="connsiteX1" fmla="*/ 46686 w 426523"/>
                <a:gd name="connsiteY1" fmla="*/ 473873 h 580221"/>
                <a:gd name="connsiteX2" fmla="*/ 233429 w 426523"/>
                <a:gd name="connsiteY2" fmla="*/ 579695 h 580221"/>
                <a:gd name="connsiteX3" fmla="*/ 423285 w 426523"/>
                <a:gd name="connsiteY3" fmla="*/ 392951 h 580221"/>
                <a:gd name="connsiteX4" fmla="*/ 417060 w 426523"/>
                <a:gd name="connsiteY4" fmla="*/ 159522 h 580221"/>
                <a:gd name="connsiteX5" fmla="*/ 164956 w 426523"/>
                <a:gd name="connsiteY5" fmla="*/ 790 h 580221"/>
                <a:gd name="connsiteX6" fmla="*/ 0 w 426523"/>
                <a:gd name="connsiteY6" fmla="*/ 221770 h 58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523" h="580221">
                  <a:moveTo>
                    <a:pt x="0" y="221770"/>
                  </a:moveTo>
                  <a:cubicBezTo>
                    <a:pt x="0" y="221770"/>
                    <a:pt x="12449" y="402288"/>
                    <a:pt x="46686" y="473873"/>
                  </a:cubicBezTo>
                  <a:cubicBezTo>
                    <a:pt x="77810" y="536121"/>
                    <a:pt x="180518" y="585919"/>
                    <a:pt x="233429" y="579695"/>
                  </a:cubicBezTo>
                  <a:cubicBezTo>
                    <a:pt x="301901" y="573470"/>
                    <a:pt x="413948" y="508110"/>
                    <a:pt x="423285" y="392951"/>
                  </a:cubicBezTo>
                  <a:cubicBezTo>
                    <a:pt x="429510" y="315141"/>
                    <a:pt x="426397" y="212432"/>
                    <a:pt x="417060" y="159522"/>
                  </a:cubicBezTo>
                  <a:cubicBezTo>
                    <a:pt x="398386" y="66150"/>
                    <a:pt x="354812" y="-8547"/>
                    <a:pt x="164956" y="790"/>
                  </a:cubicBezTo>
                  <a:cubicBezTo>
                    <a:pt x="77810" y="3902"/>
                    <a:pt x="3113" y="137735"/>
                    <a:pt x="0" y="221770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7" name="任意多边形: 形状 366">
              <a:extLst>
                <a:ext uri="{FF2B5EF4-FFF2-40B4-BE49-F238E27FC236}">
                  <a16:creationId xmlns:a16="http://schemas.microsoft.com/office/drawing/2014/main" id="{680646AA-CC80-47CC-BE62-52AC2DD76589}"/>
                </a:ext>
              </a:extLst>
            </p:cNvPr>
            <p:cNvSpPr/>
            <p:nvPr/>
          </p:nvSpPr>
          <p:spPr>
            <a:xfrm>
              <a:off x="14321282" y="2230820"/>
              <a:ext cx="71584" cy="140057"/>
            </a:xfrm>
            <a:custGeom>
              <a:avLst/>
              <a:gdLst>
                <a:gd name="connsiteX0" fmla="*/ 28011 w 71584"/>
                <a:gd name="connsiteY0" fmla="*/ 140058 h 140057"/>
                <a:gd name="connsiteX1" fmla="*/ 15562 w 71584"/>
                <a:gd name="connsiteY1" fmla="*/ 136945 h 140057"/>
                <a:gd name="connsiteX2" fmla="*/ 6224 w 71584"/>
                <a:gd name="connsiteY2" fmla="*/ 124496 h 140057"/>
                <a:gd name="connsiteX3" fmla="*/ 0 w 71584"/>
                <a:gd name="connsiteY3" fmla="*/ 6225 h 140057"/>
                <a:gd name="connsiteX4" fmla="*/ 6224 w 71584"/>
                <a:gd name="connsiteY4" fmla="*/ 0 h 140057"/>
                <a:gd name="connsiteX5" fmla="*/ 12449 w 71584"/>
                <a:gd name="connsiteY5" fmla="*/ 6225 h 140057"/>
                <a:gd name="connsiteX6" fmla="*/ 18674 w 71584"/>
                <a:gd name="connsiteY6" fmla="*/ 121383 h 140057"/>
                <a:gd name="connsiteX7" fmla="*/ 21786 w 71584"/>
                <a:gd name="connsiteY7" fmla="*/ 124496 h 140057"/>
                <a:gd name="connsiteX8" fmla="*/ 62248 w 71584"/>
                <a:gd name="connsiteY8" fmla="*/ 118271 h 140057"/>
                <a:gd name="connsiteX9" fmla="*/ 71585 w 71584"/>
                <a:gd name="connsiteY9" fmla="*/ 121383 h 140057"/>
                <a:gd name="connsiteX10" fmla="*/ 68472 w 71584"/>
                <a:gd name="connsiteY10" fmla="*/ 130720 h 140057"/>
                <a:gd name="connsiteX11" fmla="*/ 28011 w 71584"/>
                <a:gd name="connsiteY11" fmla="*/ 140058 h 140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1584" h="140057">
                  <a:moveTo>
                    <a:pt x="28011" y="140058"/>
                  </a:moveTo>
                  <a:cubicBezTo>
                    <a:pt x="21786" y="140058"/>
                    <a:pt x="18674" y="140058"/>
                    <a:pt x="15562" y="136945"/>
                  </a:cubicBezTo>
                  <a:cubicBezTo>
                    <a:pt x="12449" y="133833"/>
                    <a:pt x="9337" y="130720"/>
                    <a:pt x="6224" y="124496"/>
                  </a:cubicBezTo>
                  <a:cubicBezTo>
                    <a:pt x="3112" y="102709"/>
                    <a:pt x="0" y="12450"/>
                    <a:pt x="0" y="6225"/>
                  </a:cubicBezTo>
                  <a:cubicBezTo>
                    <a:pt x="0" y="3112"/>
                    <a:pt x="3112" y="0"/>
                    <a:pt x="6224" y="0"/>
                  </a:cubicBezTo>
                  <a:cubicBezTo>
                    <a:pt x="9337" y="0"/>
                    <a:pt x="12449" y="3112"/>
                    <a:pt x="12449" y="6225"/>
                  </a:cubicBezTo>
                  <a:cubicBezTo>
                    <a:pt x="12449" y="6225"/>
                    <a:pt x="12449" y="102709"/>
                    <a:pt x="18674" y="121383"/>
                  </a:cubicBezTo>
                  <a:cubicBezTo>
                    <a:pt x="18674" y="121383"/>
                    <a:pt x="18674" y="124496"/>
                    <a:pt x="21786" y="124496"/>
                  </a:cubicBezTo>
                  <a:cubicBezTo>
                    <a:pt x="28011" y="127608"/>
                    <a:pt x="49798" y="124496"/>
                    <a:pt x="62248" y="118271"/>
                  </a:cubicBezTo>
                  <a:cubicBezTo>
                    <a:pt x="65359" y="118271"/>
                    <a:pt x="68472" y="118271"/>
                    <a:pt x="71585" y="121383"/>
                  </a:cubicBezTo>
                  <a:cubicBezTo>
                    <a:pt x="71585" y="124496"/>
                    <a:pt x="71585" y="127608"/>
                    <a:pt x="68472" y="130720"/>
                  </a:cubicBezTo>
                  <a:cubicBezTo>
                    <a:pt x="59135" y="133833"/>
                    <a:pt x="40461" y="140058"/>
                    <a:pt x="28011" y="140058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8" name="任意多边形: 形状 367">
              <a:extLst>
                <a:ext uri="{FF2B5EF4-FFF2-40B4-BE49-F238E27FC236}">
                  <a16:creationId xmlns:a16="http://schemas.microsoft.com/office/drawing/2014/main" id="{E9A507E6-82C5-47E7-B2F7-8C9BEF89FFDA}"/>
                </a:ext>
              </a:extLst>
            </p:cNvPr>
            <p:cNvSpPr/>
            <p:nvPr/>
          </p:nvSpPr>
          <p:spPr>
            <a:xfrm>
              <a:off x="14234135" y="2224595"/>
              <a:ext cx="40461" cy="40461"/>
            </a:xfrm>
            <a:custGeom>
              <a:avLst/>
              <a:gdLst>
                <a:gd name="connsiteX0" fmla="*/ 40462 w 40461"/>
                <a:gd name="connsiteY0" fmla="*/ 21787 h 40461"/>
                <a:gd name="connsiteX1" fmla="*/ 18675 w 40461"/>
                <a:gd name="connsiteY1" fmla="*/ 40461 h 40461"/>
                <a:gd name="connsiteX2" fmla="*/ 0 w 40461"/>
                <a:gd name="connsiteY2" fmla="*/ 18674 h 40461"/>
                <a:gd name="connsiteX3" fmla="*/ 21787 w 40461"/>
                <a:gd name="connsiteY3" fmla="*/ 0 h 40461"/>
                <a:gd name="connsiteX4" fmla="*/ 40462 w 40461"/>
                <a:gd name="connsiteY4" fmla="*/ 21787 h 4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61" h="40461">
                  <a:moveTo>
                    <a:pt x="40462" y="21787"/>
                  </a:moveTo>
                  <a:cubicBezTo>
                    <a:pt x="40462" y="34236"/>
                    <a:pt x="31124" y="40461"/>
                    <a:pt x="18675" y="40461"/>
                  </a:cubicBezTo>
                  <a:cubicBezTo>
                    <a:pt x="6225" y="40461"/>
                    <a:pt x="0" y="31124"/>
                    <a:pt x="0" y="18674"/>
                  </a:cubicBezTo>
                  <a:cubicBezTo>
                    <a:pt x="0" y="6225"/>
                    <a:pt x="9338" y="0"/>
                    <a:pt x="21787" y="0"/>
                  </a:cubicBezTo>
                  <a:cubicBezTo>
                    <a:pt x="31124" y="0"/>
                    <a:pt x="40462" y="9337"/>
                    <a:pt x="40462" y="21787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9" name="任意多边形: 形状 368">
              <a:extLst>
                <a:ext uri="{FF2B5EF4-FFF2-40B4-BE49-F238E27FC236}">
                  <a16:creationId xmlns:a16="http://schemas.microsoft.com/office/drawing/2014/main" id="{180BC717-7809-466D-9411-EFB57470E67C}"/>
                </a:ext>
              </a:extLst>
            </p:cNvPr>
            <p:cNvSpPr/>
            <p:nvPr/>
          </p:nvSpPr>
          <p:spPr>
            <a:xfrm>
              <a:off x="14420878" y="2205921"/>
              <a:ext cx="40461" cy="40461"/>
            </a:xfrm>
            <a:custGeom>
              <a:avLst/>
              <a:gdLst>
                <a:gd name="connsiteX0" fmla="*/ 40462 w 40461"/>
                <a:gd name="connsiteY0" fmla="*/ 21787 h 40461"/>
                <a:gd name="connsiteX1" fmla="*/ 18675 w 40461"/>
                <a:gd name="connsiteY1" fmla="*/ 40461 h 40461"/>
                <a:gd name="connsiteX2" fmla="*/ 0 w 40461"/>
                <a:gd name="connsiteY2" fmla="*/ 18674 h 40461"/>
                <a:gd name="connsiteX3" fmla="*/ 21787 w 40461"/>
                <a:gd name="connsiteY3" fmla="*/ 0 h 40461"/>
                <a:gd name="connsiteX4" fmla="*/ 40462 w 40461"/>
                <a:gd name="connsiteY4" fmla="*/ 21787 h 4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61" h="40461">
                  <a:moveTo>
                    <a:pt x="40462" y="21787"/>
                  </a:moveTo>
                  <a:cubicBezTo>
                    <a:pt x="40462" y="34236"/>
                    <a:pt x="31124" y="40461"/>
                    <a:pt x="18675" y="40461"/>
                  </a:cubicBezTo>
                  <a:cubicBezTo>
                    <a:pt x="6225" y="40461"/>
                    <a:pt x="0" y="31124"/>
                    <a:pt x="0" y="18674"/>
                  </a:cubicBezTo>
                  <a:cubicBezTo>
                    <a:pt x="0" y="6225"/>
                    <a:pt x="9338" y="0"/>
                    <a:pt x="21787" y="0"/>
                  </a:cubicBezTo>
                  <a:cubicBezTo>
                    <a:pt x="31124" y="3112"/>
                    <a:pt x="40462" y="12450"/>
                    <a:pt x="40462" y="21787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0" name="任意多边形: 形状 369">
              <a:extLst>
                <a:ext uri="{FF2B5EF4-FFF2-40B4-BE49-F238E27FC236}">
                  <a16:creationId xmlns:a16="http://schemas.microsoft.com/office/drawing/2014/main" id="{3A90D161-F3EC-4732-8295-D5E83449D275}"/>
                </a:ext>
              </a:extLst>
            </p:cNvPr>
            <p:cNvSpPr/>
            <p:nvPr/>
          </p:nvSpPr>
          <p:spPr>
            <a:xfrm>
              <a:off x="14198609" y="2176112"/>
              <a:ext cx="91548" cy="42258"/>
            </a:xfrm>
            <a:custGeom>
              <a:avLst/>
              <a:gdLst>
                <a:gd name="connsiteX0" fmla="*/ 7514 w 91548"/>
                <a:gd name="connsiteY0" fmla="*/ 42258 h 42258"/>
                <a:gd name="connsiteX1" fmla="*/ 4401 w 91548"/>
                <a:gd name="connsiteY1" fmla="*/ 42258 h 42258"/>
                <a:gd name="connsiteX2" fmla="*/ 1289 w 91548"/>
                <a:gd name="connsiteY2" fmla="*/ 29808 h 42258"/>
                <a:gd name="connsiteX3" fmla="*/ 85324 w 91548"/>
                <a:gd name="connsiteY3" fmla="*/ 1797 h 42258"/>
                <a:gd name="connsiteX4" fmla="*/ 91549 w 91548"/>
                <a:gd name="connsiteY4" fmla="*/ 11134 h 42258"/>
                <a:gd name="connsiteX5" fmla="*/ 82211 w 91548"/>
                <a:gd name="connsiteY5" fmla="*/ 17359 h 42258"/>
                <a:gd name="connsiteX6" fmla="*/ 16851 w 91548"/>
                <a:gd name="connsiteY6" fmla="*/ 36033 h 42258"/>
                <a:gd name="connsiteX7" fmla="*/ 7514 w 91548"/>
                <a:gd name="connsiteY7" fmla="*/ 42258 h 4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48" h="42258">
                  <a:moveTo>
                    <a:pt x="7514" y="42258"/>
                  </a:moveTo>
                  <a:cubicBezTo>
                    <a:pt x="7514" y="42258"/>
                    <a:pt x="4401" y="42258"/>
                    <a:pt x="4401" y="42258"/>
                  </a:cubicBezTo>
                  <a:cubicBezTo>
                    <a:pt x="1289" y="39146"/>
                    <a:pt x="-1823" y="36033"/>
                    <a:pt x="1289" y="29808"/>
                  </a:cubicBezTo>
                  <a:cubicBezTo>
                    <a:pt x="23076" y="-4428"/>
                    <a:pt x="66649" y="-1315"/>
                    <a:pt x="85324" y="1797"/>
                  </a:cubicBezTo>
                  <a:cubicBezTo>
                    <a:pt x="88436" y="1797"/>
                    <a:pt x="91549" y="8022"/>
                    <a:pt x="91549" y="11134"/>
                  </a:cubicBezTo>
                  <a:cubicBezTo>
                    <a:pt x="91549" y="14247"/>
                    <a:pt x="85324" y="17359"/>
                    <a:pt x="82211" y="17359"/>
                  </a:cubicBezTo>
                  <a:cubicBezTo>
                    <a:pt x="79099" y="17359"/>
                    <a:pt x="35525" y="4909"/>
                    <a:pt x="16851" y="36033"/>
                  </a:cubicBezTo>
                  <a:cubicBezTo>
                    <a:pt x="13739" y="39146"/>
                    <a:pt x="10627" y="42258"/>
                    <a:pt x="7514" y="42258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1" name="任意多边形: 形状 370">
              <a:extLst>
                <a:ext uri="{FF2B5EF4-FFF2-40B4-BE49-F238E27FC236}">
                  <a16:creationId xmlns:a16="http://schemas.microsoft.com/office/drawing/2014/main" id="{98CA647B-60B4-4604-8F35-2FD5D4CC13BB}"/>
                </a:ext>
              </a:extLst>
            </p:cNvPr>
            <p:cNvSpPr/>
            <p:nvPr/>
          </p:nvSpPr>
          <p:spPr>
            <a:xfrm>
              <a:off x="14387420" y="2139701"/>
              <a:ext cx="92593" cy="35095"/>
            </a:xfrm>
            <a:custGeom>
              <a:avLst/>
              <a:gdLst>
                <a:gd name="connsiteX0" fmla="*/ 8560 w 92593"/>
                <a:gd name="connsiteY0" fmla="*/ 35096 h 35095"/>
                <a:gd name="connsiteX1" fmla="*/ 2334 w 92593"/>
                <a:gd name="connsiteY1" fmla="*/ 31983 h 35095"/>
                <a:gd name="connsiteX2" fmla="*/ 2334 w 92593"/>
                <a:gd name="connsiteY2" fmla="*/ 19534 h 35095"/>
                <a:gd name="connsiteX3" fmla="*/ 89482 w 92593"/>
                <a:gd name="connsiteY3" fmla="*/ 13309 h 35095"/>
                <a:gd name="connsiteX4" fmla="*/ 92594 w 92593"/>
                <a:gd name="connsiteY4" fmla="*/ 25759 h 35095"/>
                <a:gd name="connsiteX5" fmla="*/ 80144 w 92593"/>
                <a:gd name="connsiteY5" fmla="*/ 28871 h 35095"/>
                <a:gd name="connsiteX6" fmla="*/ 11672 w 92593"/>
                <a:gd name="connsiteY6" fmla="*/ 35096 h 35095"/>
                <a:gd name="connsiteX7" fmla="*/ 8560 w 92593"/>
                <a:gd name="connsiteY7" fmla="*/ 35096 h 35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93" h="35095">
                  <a:moveTo>
                    <a:pt x="8560" y="35096"/>
                  </a:moveTo>
                  <a:cubicBezTo>
                    <a:pt x="5447" y="35096"/>
                    <a:pt x="5447" y="35096"/>
                    <a:pt x="2334" y="31983"/>
                  </a:cubicBezTo>
                  <a:cubicBezTo>
                    <a:pt x="-778" y="28871"/>
                    <a:pt x="-778" y="22646"/>
                    <a:pt x="2334" y="19534"/>
                  </a:cubicBezTo>
                  <a:cubicBezTo>
                    <a:pt x="36571" y="-11590"/>
                    <a:pt x="73920" y="860"/>
                    <a:pt x="89482" y="13309"/>
                  </a:cubicBezTo>
                  <a:cubicBezTo>
                    <a:pt x="92594" y="16422"/>
                    <a:pt x="92594" y="19534"/>
                    <a:pt x="92594" y="25759"/>
                  </a:cubicBezTo>
                  <a:cubicBezTo>
                    <a:pt x="89482" y="28871"/>
                    <a:pt x="86369" y="28871"/>
                    <a:pt x="80144" y="28871"/>
                  </a:cubicBezTo>
                  <a:cubicBezTo>
                    <a:pt x="80144" y="28871"/>
                    <a:pt x="42796" y="3972"/>
                    <a:pt x="11672" y="35096"/>
                  </a:cubicBezTo>
                  <a:cubicBezTo>
                    <a:pt x="14784" y="35096"/>
                    <a:pt x="11672" y="35096"/>
                    <a:pt x="8560" y="35096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2" name="任意多边形: 形状 371">
              <a:extLst>
                <a:ext uri="{FF2B5EF4-FFF2-40B4-BE49-F238E27FC236}">
                  <a16:creationId xmlns:a16="http://schemas.microsoft.com/office/drawing/2014/main" id="{0509C751-D673-42A3-B823-7A1EFF15CE88}"/>
                </a:ext>
              </a:extLst>
            </p:cNvPr>
            <p:cNvSpPr/>
            <p:nvPr/>
          </p:nvSpPr>
          <p:spPr>
            <a:xfrm>
              <a:off x="14321282" y="2446353"/>
              <a:ext cx="226426" cy="95706"/>
            </a:xfrm>
            <a:custGeom>
              <a:avLst/>
              <a:gdLst>
                <a:gd name="connsiteX0" fmla="*/ 65359 w 226426"/>
                <a:gd name="connsiteY0" fmla="*/ 95706 h 95706"/>
                <a:gd name="connsiteX1" fmla="*/ 3112 w 226426"/>
                <a:gd name="connsiteY1" fmla="*/ 80144 h 95706"/>
                <a:gd name="connsiteX2" fmla="*/ 0 w 226426"/>
                <a:gd name="connsiteY2" fmla="*/ 70807 h 95706"/>
                <a:gd name="connsiteX3" fmla="*/ 9337 w 226426"/>
                <a:gd name="connsiteY3" fmla="*/ 67695 h 95706"/>
                <a:gd name="connsiteX4" fmla="*/ 84034 w 226426"/>
                <a:gd name="connsiteY4" fmla="*/ 80144 h 95706"/>
                <a:gd name="connsiteX5" fmla="*/ 214755 w 226426"/>
                <a:gd name="connsiteY5" fmla="*/ 2334 h 95706"/>
                <a:gd name="connsiteX6" fmla="*/ 224092 w 226426"/>
                <a:gd name="connsiteY6" fmla="*/ 2334 h 95706"/>
                <a:gd name="connsiteX7" fmla="*/ 224092 w 226426"/>
                <a:gd name="connsiteY7" fmla="*/ 11671 h 95706"/>
                <a:gd name="connsiteX8" fmla="*/ 87147 w 226426"/>
                <a:gd name="connsiteY8" fmla="*/ 92594 h 95706"/>
                <a:gd name="connsiteX9" fmla="*/ 65359 w 226426"/>
                <a:gd name="connsiteY9" fmla="*/ 95706 h 95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6426" h="95706">
                  <a:moveTo>
                    <a:pt x="65359" y="95706"/>
                  </a:moveTo>
                  <a:cubicBezTo>
                    <a:pt x="31124" y="95706"/>
                    <a:pt x="6224" y="83257"/>
                    <a:pt x="3112" y="80144"/>
                  </a:cubicBezTo>
                  <a:cubicBezTo>
                    <a:pt x="0" y="80144"/>
                    <a:pt x="0" y="73919"/>
                    <a:pt x="0" y="70807"/>
                  </a:cubicBezTo>
                  <a:cubicBezTo>
                    <a:pt x="0" y="67695"/>
                    <a:pt x="6224" y="67695"/>
                    <a:pt x="9337" y="67695"/>
                  </a:cubicBezTo>
                  <a:cubicBezTo>
                    <a:pt x="9337" y="67695"/>
                    <a:pt x="46686" y="86369"/>
                    <a:pt x="84034" y="80144"/>
                  </a:cubicBezTo>
                  <a:cubicBezTo>
                    <a:pt x="133832" y="70807"/>
                    <a:pt x="214755" y="2334"/>
                    <a:pt x="214755" y="2334"/>
                  </a:cubicBezTo>
                  <a:cubicBezTo>
                    <a:pt x="217867" y="-778"/>
                    <a:pt x="220979" y="-778"/>
                    <a:pt x="224092" y="2334"/>
                  </a:cubicBezTo>
                  <a:cubicBezTo>
                    <a:pt x="227204" y="5447"/>
                    <a:pt x="227204" y="8559"/>
                    <a:pt x="224092" y="11671"/>
                  </a:cubicBezTo>
                  <a:cubicBezTo>
                    <a:pt x="220979" y="14784"/>
                    <a:pt x="140058" y="83257"/>
                    <a:pt x="87147" y="92594"/>
                  </a:cubicBezTo>
                  <a:cubicBezTo>
                    <a:pt x="80921" y="95706"/>
                    <a:pt x="74697" y="95706"/>
                    <a:pt x="65359" y="95706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3" name="任意多边形: 形状 372">
              <a:extLst>
                <a:ext uri="{FF2B5EF4-FFF2-40B4-BE49-F238E27FC236}">
                  <a16:creationId xmlns:a16="http://schemas.microsoft.com/office/drawing/2014/main" id="{F7FDEBB1-AF97-4258-8E36-6DC678A628FA}"/>
                </a:ext>
              </a:extLst>
            </p:cNvPr>
            <p:cNvSpPr/>
            <p:nvPr/>
          </p:nvSpPr>
          <p:spPr>
            <a:xfrm>
              <a:off x="14495576" y="1947592"/>
              <a:ext cx="102950" cy="267665"/>
            </a:xfrm>
            <a:custGeom>
              <a:avLst/>
              <a:gdLst>
                <a:gd name="connsiteX0" fmla="*/ 0 w 102950"/>
                <a:gd name="connsiteY0" fmla="*/ 136945 h 267665"/>
                <a:gd name="connsiteX1" fmla="*/ 77810 w 102950"/>
                <a:gd name="connsiteY1" fmla="*/ 267666 h 267665"/>
                <a:gd name="connsiteX2" fmla="*/ 102710 w 102950"/>
                <a:gd name="connsiteY2" fmla="*/ 152507 h 267665"/>
                <a:gd name="connsiteX3" fmla="*/ 24900 w 102950"/>
                <a:gd name="connsiteY3" fmla="*/ 0 h 267665"/>
                <a:gd name="connsiteX4" fmla="*/ 0 w 102950"/>
                <a:gd name="connsiteY4" fmla="*/ 136945 h 267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950" h="267665">
                  <a:moveTo>
                    <a:pt x="0" y="136945"/>
                  </a:moveTo>
                  <a:cubicBezTo>
                    <a:pt x="0" y="136945"/>
                    <a:pt x="77810" y="236542"/>
                    <a:pt x="77810" y="267666"/>
                  </a:cubicBezTo>
                  <a:cubicBezTo>
                    <a:pt x="77810" y="267666"/>
                    <a:pt x="105822" y="242767"/>
                    <a:pt x="102710" y="152507"/>
                  </a:cubicBezTo>
                  <a:cubicBezTo>
                    <a:pt x="99597" y="90259"/>
                    <a:pt x="93372" y="3112"/>
                    <a:pt x="24900" y="0"/>
                  </a:cubicBezTo>
                  <a:cubicBezTo>
                    <a:pt x="21787" y="0"/>
                    <a:pt x="34237" y="108934"/>
                    <a:pt x="0" y="136945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4" name="任意多边形: 形状 373">
              <a:extLst>
                <a:ext uri="{FF2B5EF4-FFF2-40B4-BE49-F238E27FC236}">
                  <a16:creationId xmlns:a16="http://schemas.microsoft.com/office/drawing/2014/main" id="{030B1CDB-5456-4A22-9D20-485671567D2C}"/>
                </a:ext>
              </a:extLst>
            </p:cNvPr>
            <p:cNvSpPr/>
            <p:nvPr/>
          </p:nvSpPr>
          <p:spPr>
            <a:xfrm>
              <a:off x="14041167" y="1865626"/>
              <a:ext cx="499725" cy="300905"/>
            </a:xfrm>
            <a:custGeom>
              <a:avLst/>
              <a:gdLst>
                <a:gd name="connsiteX0" fmla="*/ 454408 w 499725"/>
                <a:gd name="connsiteY0" fmla="*/ 218911 h 300905"/>
                <a:gd name="connsiteX1" fmla="*/ 323689 w 499725"/>
                <a:gd name="connsiteY1" fmla="*/ 206462 h 300905"/>
                <a:gd name="connsiteX2" fmla="*/ 0 w 499725"/>
                <a:gd name="connsiteY2" fmla="*/ 259372 h 300905"/>
                <a:gd name="connsiteX3" fmla="*/ 336138 w 499725"/>
                <a:gd name="connsiteY3" fmla="*/ 1044 h 300905"/>
                <a:gd name="connsiteX4" fmla="*/ 476196 w 499725"/>
                <a:gd name="connsiteY4" fmla="*/ 85078 h 300905"/>
                <a:gd name="connsiteX5" fmla="*/ 454408 w 499725"/>
                <a:gd name="connsiteY5" fmla="*/ 218911 h 300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9725" h="300905">
                  <a:moveTo>
                    <a:pt x="454408" y="218911"/>
                  </a:moveTo>
                  <a:cubicBezTo>
                    <a:pt x="454408" y="218911"/>
                    <a:pt x="351700" y="200237"/>
                    <a:pt x="323689" y="206462"/>
                  </a:cubicBezTo>
                  <a:cubicBezTo>
                    <a:pt x="224092" y="231361"/>
                    <a:pt x="118271" y="368306"/>
                    <a:pt x="0" y="259372"/>
                  </a:cubicBezTo>
                  <a:cubicBezTo>
                    <a:pt x="24899" y="147326"/>
                    <a:pt x="161844" y="-14518"/>
                    <a:pt x="336138" y="1044"/>
                  </a:cubicBezTo>
                  <a:cubicBezTo>
                    <a:pt x="420173" y="7269"/>
                    <a:pt x="463746" y="50842"/>
                    <a:pt x="476196" y="85078"/>
                  </a:cubicBezTo>
                  <a:cubicBezTo>
                    <a:pt x="476196" y="81966"/>
                    <a:pt x="541556" y="187787"/>
                    <a:pt x="454408" y="218911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5" name="任意多边形: 形状 374">
              <a:extLst>
                <a:ext uri="{FF2B5EF4-FFF2-40B4-BE49-F238E27FC236}">
                  <a16:creationId xmlns:a16="http://schemas.microsoft.com/office/drawing/2014/main" id="{5FAD3D0D-6702-4FBF-9B18-E58C17BD7760}"/>
                </a:ext>
              </a:extLst>
            </p:cNvPr>
            <p:cNvSpPr/>
            <p:nvPr/>
          </p:nvSpPr>
          <p:spPr>
            <a:xfrm>
              <a:off x="14563632" y="2175183"/>
              <a:ext cx="72080" cy="116813"/>
            </a:xfrm>
            <a:custGeom>
              <a:avLst/>
              <a:gdLst>
                <a:gd name="connsiteX0" fmla="*/ 3529 w 72080"/>
                <a:gd name="connsiteY0" fmla="*/ 24512 h 116813"/>
                <a:gd name="connsiteX1" fmla="*/ 59551 w 72080"/>
                <a:gd name="connsiteY1" fmla="*/ 2726 h 116813"/>
                <a:gd name="connsiteX2" fmla="*/ 22203 w 72080"/>
                <a:gd name="connsiteY2" fmla="*/ 114772 h 116813"/>
                <a:gd name="connsiteX3" fmla="*/ 3529 w 72080"/>
                <a:gd name="connsiteY3" fmla="*/ 24512 h 116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080" h="116813">
                  <a:moveTo>
                    <a:pt x="3529" y="24512"/>
                  </a:moveTo>
                  <a:cubicBezTo>
                    <a:pt x="3529" y="24512"/>
                    <a:pt x="31540" y="-9724"/>
                    <a:pt x="59551" y="2726"/>
                  </a:cubicBezTo>
                  <a:cubicBezTo>
                    <a:pt x="87563" y="18288"/>
                    <a:pt x="65777" y="133446"/>
                    <a:pt x="22203" y="114772"/>
                  </a:cubicBezTo>
                  <a:cubicBezTo>
                    <a:pt x="-12033" y="102322"/>
                    <a:pt x="3529" y="24512"/>
                    <a:pt x="3529" y="24512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6" name="任意多边形: 形状 375">
              <a:extLst>
                <a:ext uri="{FF2B5EF4-FFF2-40B4-BE49-F238E27FC236}">
                  <a16:creationId xmlns:a16="http://schemas.microsoft.com/office/drawing/2014/main" id="{1FADCB10-7411-4901-898E-716FEC70F077}"/>
                </a:ext>
              </a:extLst>
            </p:cNvPr>
            <p:cNvSpPr/>
            <p:nvPr/>
          </p:nvSpPr>
          <p:spPr>
            <a:xfrm>
              <a:off x="14027446" y="2560733"/>
              <a:ext cx="1408071" cy="1709048"/>
            </a:xfrm>
            <a:custGeom>
              <a:avLst/>
              <a:gdLst>
                <a:gd name="connsiteX0" fmla="*/ 564614 w 1408071"/>
                <a:gd name="connsiteY0" fmla="*/ 0 h 1709048"/>
                <a:gd name="connsiteX1" fmla="*/ 275161 w 1408071"/>
                <a:gd name="connsiteY1" fmla="*/ 59135 h 1709048"/>
                <a:gd name="connsiteX2" fmla="*/ 1270 w 1408071"/>
                <a:gd name="connsiteY2" fmla="*/ 248991 h 1709048"/>
                <a:gd name="connsiteX3" fmla="*/ 200464 w 1408071"/>
                <a:gd name="connsiteY3" fmla="*/ 1674467 h 1709048"/>
                <a:gd name="connsiteX4" fmla="*/ 1408072 w 1408071"/>
                <a:gd name="connsiteY4" fmla="*/ 1674467 h 1709048"/>
                <a:gd name="connsiteX5" fmla="*/ 863403 w 1408071"/>
                <a:gd name="connsiteY5" fmla="*/ 46686 h 1709048"/>
                <a:gd name="connsiteX6" fmla="*/ 564614 w 1408071"/>
                <a:gd name="connsiteY6" fmla="*/ 0 h 170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8071" h="1709048">
                  <a:moveTo>
                    <a:pt x="564614" y="0"/>
                  </a:moveTo>
                  <a:cubicBezTo>
                    <a:pt x="564614" y="0"/>
                    <a:pt x="402770" y="90259"/>
                    <a:pt x="275161" y="59135"/>
                  </a:cubicBezTo>
                  <a:cubicBezTo>
                    <a:pt x="275161" y="59135"/>
                    <a:pt x="19945" y="211643"/>
                    <a:pt x="1270" y="248991"/>
                  </a:cubicBezTo>
                  <a:cubicBezTo>
                    <a:pt x="-17403" y="286340"/>
                    <a:pt x="175565" y="1609107"/>
                    <a:pt x="200464" y="1674467"/>
                  </a:cubicBezTo>
                  <a:cubicBezTo>
                    <a:pt x="200464" y="1674467"/>
                    <a:pt x="751357" y="1752277"/>
                    <a:pt x="1408072" y="1674467"/>
                  </a:cubicBezTo>
                  <a:cubicBezTo>
                    <a:pt x="1268014" y="669164"/>
                    <a:pt x="910089" y="68473"/>
                    <a:pt x="863403" y="46686"/>
                  </a:cubicBezTo>
                  <a:cubicBezTo>
                    <a:pt x="816717" y="21787"/>
                    <a:pt x="564614" y="0"/>
                    <a:pt x="564614" y="0"/>
                  </a:cubicBezTo>
                  <a:close/>
                </a:path>
              </a:pathLst>
            </a:custGeom>
            <a:solidFill>
              <a:srgbClr val="708686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7" name="任意多边形: 形状 376">
              <a:extLst>
                <a:ext uri="{FF2B5EF4-FFF2-40B4-BE49-F238E27FC236}">
                  <a16:creationId xmlns:a16="http://schemas.microsoft.com/office/drawing/2014/main" id="{D45C161C-6AB5-41D3-B851-C8D7FE3F75FD}"/>
                </a:ext>
              </a:extLst>
            </p:cNvPr>
            <p:cNvSpPr/>
            <p:nvPr/>
          </p:nvSpPr>
          <p:spPr>
            <a:xfrm>
              <a:off x="14022493" y="2803500"/>
              <a:ext cx="118270" cy="753198"/>
            </a:xfrm>
            <a:custGeom>
              <a:avLst/>
              <a:gdLst>
                <a:gd name="connsiteX0" fmla="*/ 112046 w 118270"/>
                <a:gd name="connsiteY0" fmla="*/ 753199 h 753198"/>
                <a:gd name="connsiteX1" fmla="*/ 105821 w 118270"/>
                <a:gd name="connsiteY1" fmla="*/ 746974 h 753198"/>
                <a:gd name="connsiteX2" fmla="*/ 0 w 118270"/>
                <a:gd name="connsiteY2" fmla="*/ 6225 h 753198"/>
                <a:gd name="connsiteX3" fmla="*/ 6224 w 118270"/>
                <a:gd name="connsiteY3" fmla="*/ 0 h 753198"/>
                <a:gd name="connsiteX4" fmla="*/ 6224 w 118270"/>
                <a:gd name="connsiteY4" fmla="*/ 0 h 753198"/>
                <a:gd name="connsiteX5" fmla="*/ 12449 w 118270"/>
                <a:gd name="connsiteY5" fmla="*/ 6225 h 753198"/>
                <a:gd name="connsiteX6" fmla="*/ 118271 w 118270"/>
                <a:gd name="connsiteY6" fmla="*/ 743862 h 753198"/>
                <a:gd name="connsiteX7" fmla="*/ 112046 w 118270"/>
                <a:gd name="connsiteY7" fmla="*/ 753199 h 753198"/>
                <a:gd name="connsiteX8" fmla="*/ 112046 w 118270"/>
                <a:gd name="connsiteY8" fmla="*/ 753199 h 753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270" h="753198">
                  <a:moveTo>
                    <a:pt x="112046" y="753199"/>
                  </a:moveTo>
                  <a:cubicBezTo>
                    <a:pt x="108934" y="753199"/>
                    <a:pt x="105821" y="750086"/>
                    <a:pt x="105821" y="746974"/>
                  </a:cubicBezTo>
                  <a:cubicBezTo>
                    <a:pt x="102709" y="718963"/>
                    <a:pt x="0" y="46686"/>
                    <a:pt x="0" y="6225"/>
                  </a:cubicBezTo>
                  <a:cubicBezTo>
                    <a:pt x="0" y="3112"/>
                    <a:pt x="3113" y="0"/>
                    <a:pt x="6224" y="0"/>
                  </a:cubicBezTo>
                  <a:cubicBezTo>
                    <a:pt x="6224" y="0"/>
                    <a:pt x="6224" y="0"/>
                    <a:pt x="6224" y="0"/>
                  </a:cubicBezTo>
                  <a:cubicBezTo>
                    <a:pt x="9337" y="0"/>
                    <a:pt x="12449" y="3112"/>
                    <a:pt x="12449" y="6225"/>
                  </a:cubicBezTo>
                  <a:cubicBezTo>
                    <a:pt x="12449" y="46686"/>
                    <a:pt x="115158" y="737637"/>
                    <a:pt x="118271" y="743862"/>
                  </a:cubicBezTo>
                  <a:cubicBezTo>
                    <a:pt x="118271" y="746974"/>
                    <a:pt x="115158" y="750086"/>
                    <a:pt x="112046" y="753199"/>
                  </a:cubicBezTo>
                  <a:cubicBezTo>
                    <a:pt x="112046" y="753199"/>
                    <a:pt x="112046" y="753199"/>
                    <a:pt x="112046" y="753199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8" name="任意多边形: 形状 377">
              <a:extLst>
                <a:ext uri="{FF2B5EF4-FFF2-40B4-BE49-F238E27FC236}">
                  <a16:creationId xmlns:a16="http://schemas.microsoft.com/office/drawing/2014/main" id="{682F5164-767D-4866-BD50-E33D2FC07E24}"/>
                </a:ext>
              </a:extLst>
            </p:cNvPr>
            <p:cNvSpPr/>
            <p:nvPr/>
          </p:nvSpPr>
          <p:spPr>
            <a:xfrm>
              <a:off x="14308832" y="2415229"/>
              <a:ext cx="119654" cy="42795"/>
            </a:xfrm>
            <a:custGeom>
              <a:avLst/>
              <a:gdLst>
                <a:gd name="connsiteX0" fmla="*/ 37349 w 119654"/>
                <a:gd name="connsiteY0" fmla="*/ 42795 h 42795"/>
                <a:gd name="connsiteX1" fmla="*/ 3113 w 119654"/>
                <a:gd name="connsiteY1" fmla="*/ 36571 h 42795"/>
                <a:gd name="connsiteX2" fmla="*/ 0 w 119654"/>
                <a:gd name="connsiteY2" fmla="*/ 27233 h 42795"/>
                <a:gd name="connsiteX3" fmla="*/ 9338 w 119654"/>
                <a:gd name="connsiteY3" fmla="*/ 24121 h 42795"/>
                <a:gd name="connsiteX4" fmla="*/ 108934 w 119654"/>
                <a:gd name="connsiteY4" fmla="*/ 2334 h 42795"/>
                <a:gd name="connsiteX5" fmla="*/ 118271 w 119654"/>
                <a:gd name="connsiteY5" fmla="*/ 2334 h 42795"/>
                <a:gd name="connsiteX6" fmla="*/ 118271 w 119654"/>
                <a:gd name="connsiteY6" fmla="*/ 11671 h 42795"/>
                <a:gd name="connsiteX7" fmla="*/ 37349 w 119654"/>
                <a:gd name="connsiteY7" fmla="*/ 42795 h 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654" h="42795">
                  <a:moveTo>
                    <a:pt x="37349" y="42795"/>
                  </a:moveTo>
                  <a:cubicBezTo>
                    <a:pt x="24900" y="42795"/>
                    <a:pt x="15562" y="39683"/>
                    <a:pt x="3113" y="36571"/>
                  </a:cubicBezTo>
                  <a:cubicBezTo>
                    <a:pt x="0" y="36571"/>
                    <a:pt x="0" y="30346"/>
                    <a:pt x="0" y="27233"/>
                  </a:cubicBezTo>
                  <a:cubicBezTo>
                    <a:pt x="0" y="24121"/>
                    <a:pt x="6225" y="24121"/>
                    <a:pt x="9338" y="24121"/>
                  </a:cubicBezTo>
                  <a:cubicBezTo>
                    <a:pt x="52911" y="45908"/>
                    <a:pt x="108934" y="2334"/>
                    <a:pt x="108934" y="2334"/>
                  </a:cubicBezTo>
                  <a:cubicBezTo>
                    <a:pt x="112046" y="-778"/>
                    <a:pt x="115159" y="-778"/>
                    <a:pt x="118271" y="2334"/>
                  </a:cubicBezTo>
                  <a:cubicBezTo>
                    <a:pt x="121384" y="5447"/>
                    <a:pt x="118271" y="8559"/>
                    <a:pt x="118271" y="11671"/>
                  </a:cubicBezTo>
                  <a:cubicBezTo>
                    <a:pt x="115159" y="14784"/>
                    <a:pt x="77810" y="42795"/>
                    <a:pt x="37349" y="42795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9" name="任意多边形: 形状 378">
              <a:extLst>
                <a:ext uri="{FF2B5EF4-FFF2-40B4-BE49-F238E27FC236}">
                  <a16:creationId xmlns:a16="http://schemas.microsoft.com/office/drawing/2014/main" id="{3C1A7365-166D-4BA4-8F0C-77B9E1D1C98D}"/>
                </a:ext>
              </a:extLst>
            </p:cNvPr>
            <p:cNvSpPr/>
            <p:nvPr/>
          </p:nvSpPr>
          <p:spPr>
            <a:xfrm rot="-10800000">
              <a:off x="15559080" y="6572326"/>
              <a:ext cx="202305" cy="40461"/>
            </a:xfrm>
            <a:custGeom>
              <a:avLst/>
              <a:gdLst>
                <a:gd name="connsiteX0" fmla="*/ 0 w 202305"/>
                <a:gd name="connsiteY0" fmla="*/ 0 h 40461"/>
                <a:gd name="connsiteX1" fmla="*/ 202305 w 202305"/>
                <a:gd name="connsiteY1" fmla="*/ 0 h 40461"/>
                <a:gd name="connsiteX2" fmla="*/ 202305 w 202305"/>
                <a:gd name="connsiteY2" fmla="*/ 40461 h 40461"/>
                <a:gd name="connsiteX3" fmla="*/ 0 w 202305"/>
                <a:gd name="connsiteY3" fmla="*/ 40461 h 4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305" h="40461">
                  <a:moveTo>
                    <a:pt x="0" y="0"/>
                  </a:moveTo>
                  <a:lnTo>
                    <a:pt x="202305" y="0"/>
                  </a:lnTo>
                  <a:lnTo>
                    <a:pt x="202305" y="40461"/>
                  </a:lnTo>
                  <a:lnTo>
                    <a:pt x="0" y="40461"/>
                  </a:ln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0" name="任意多边形: 形状 379">
              <a:extLst>
                <a:ext uri="{FF2B5EF4-FFF2-40B4-BE49-F238E27FC236}">
                  <a16:creationId xmlns:a16="http://schemas.microsoft.com/office/drawing/2014/main" id="{A067587A-4B05-4B28-B88D-06A2725F0BCD}"/>
                </a:ext>
              </a:extLst>
            </p:cNvPr>
            <p:cNvSpPr/>
            <p:nvPr/>
          </p:nvSpPr>
          <p:spPr>
            <a:xfrm>
              <a:off x="15560014" y="6501022"/>
              <a:ext cx="189856" cy="71585"/>
            </a:xfrm>
            <a:custGeom>
              <a:avLst/>
              <a:gdLst>
                <a:gd name="connsiteX0" fmla="*/ 0 w 189856"/>
                <a:gd name="connsiteY0" fmla="*/ 71585 h 71585"/>
                <a:gd name="connsiteX1" fmla="*/ 31124 w 189856"/>
                <a:gd name="connsiteY1" fmla="*/ 12449 h 71585"/>
                <a:gd name="connsiteX2" fmla="*/ 189856 w 189856"/>
                <a:gd name="connsiteY2" fmla="*/ 0 h 71585"/>
                <a:gd name="connsiteX3" fmla="*/ 189856 w 189856"/>
                <a:gd name="connsiteY3" fmla="*/ 71585 h 71585"/>
                <a:gd name="connsiteX4" fmla="*/ 0 w 189856"/>
                <a:gd name="connsiteY4" fmla="*/ 71585 h 7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856" h="71585">
                  <a:moveTo>
                    <a:pt x="0" y="71585"/>
                  </a:moveTo>
                  <a:cubicBezTo>
                    <a:pt x="0" y="71585"/>
                    <a:pt x="12449" y="21787"/>
                    <a:pt x="31124" y="12449"/>
                  </a:cubicBezTo>
                  <a:cubicBezTo>
                    <a:pt x="49798" y="3112"/>
                    <a:pt x="189856" y="0"/>
                    <a:pt x="189856" y="0"/>
                  </a:cubicBezTo>
                  <a:lnTo>
                    <a:pt x="189856" y="71585"/>
                  </a:lnTo>
                  <a:lnTo>
                    <a:pt x="0" y="71585"/>
                  </a:ln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1" name="任意多边形: 形状 380">
              <a:extLst>
                <a:ext uri="{FF2B5EF4-FFF2-40B4-BE49-F238E27FC236}">
                  <a16:creationId xmlns:a16="http://schemas.microsoft.com/office/drawing/2014/main" id="{C6C07A6D-2F8C-46A3-963E-A1B0E1324E2E}"/>
                </a:ext>
              </a:extLst>
            </p:cNvPr>
            <p:cNvSpPr/>
            <p:nvPr/>
          </p:nvSpPr>
          <p:spPr>
            <a:xfrm>
              <a:off x="12932954" y="3584553"/>
              <a:ext cx="283768" cy="223501"/>
            </a:xfrm>
            <a:custGeom>
              <a:avLst/>
              <a:gdLst>
                <a:gd name="connsiteX0" fmla="*/ 102910 w 283768"/>
                <a:gd name="connsiteY0" fmla="*/ 199350 h 223501"/>
                <a:gd name="connsiteX1" fmla="*/ 242968 w 283768"/>
                <a:gd name="connsiteY1" fmla="*/ 211800 h 223501"/>
                <a:gd name="connsiteX2" fmla="*/ 283430 w 283768"/>
                <a:gd name="connsiteY2" fmla="*/ 74854 h 223501"/>
                <a:gd name="connsiteX3" fmla="*/ 12651 w 283768"/>
                <a:gd name="connsiteY3" fmla="*/ 3269 h 223501"/>
                <a:gd name="connsiteX4" fmla="*/ 9539 w 283768"/>
                <a:gd name="connsiteY4" fmla="*/ 53068 h 223501"/>
                <a:gd name="connsiteX5" fmla="*/ 202 w 283768"/>
                <a:gd name="connsiteY5" fmla="*/ 109091 h 223501"/>
                <a:gd name="connsiteX6" fmla="*/ 21988 w 283768"/>
                <a:gd name="connsiteY6" fmla="*/ 140215 h 223501"/>
                <a:gd name="connsiteX7" fmla="*/ 59337 w 283768"/>
                <a:gd name="connsiteY7" fmla="*/ 180676 h 223501"/>
                <a:gd name="connsiteX8" fmla="*/ 102910 w 283768"/>
                <a:gd name="connsiteY8" fmla="*/ 199350 h 223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768" h="223501">
                  <a:moveTo>
                    <a:pt x="102910" y="199350"/>
                  </a:moveTo>
                  <a:cubicBezTo>
                    <a:pt x="149596" y="202462"/>
                    <a:pt x="205620" y="242924"/>
                    <a:pt x="242968" y="211800"/>
                  </a:cubicBezTo>
                  <a:cubicBezTo>
                    <a:pt x="267868" y="190013"/>
                    <a:pt x="286541" y="74854"/>
                    <a:pt x="283430" y="74854"/>
                  </a:cubicBezTo>
                  <a:cubicBezTo>
                    <a:pt x="258530" y="-9180"/>
                    <a:pt x="81124" y="-2955"/>
                    <a:pt x="12651" y="3269"/>
                  </a:cubicBezTo>
                  <a:cubicBezTo>
                    <a:pt x="202" y="3269"/>
                    <a:pt x="-2911" y="49955"/>
                    <a:pt x="9539" y="53068"/>
                  </a:cubicBezTo>
                  <a:cubicBezTo>
                    <a:pt x="31326" y="59292"/>
                    <a:pt x="-2911" y="96641"/>
                    <a:pt x="202" y="109091"/>
                  </a:cubicBezTo>
                  <a:cubicBezTo>
                    <a:pt x="3314" y="121540"/>
                    <a:pt x="18876" y="140215"/>
                    <a:pt x="21988" y="140215"/>
                  </a:cubicBezTo>
                  <a:cubicBezTo>
                    <a:pt x="34438" y="155777"/>
                    <a:pt x="59337" y="171339"/>
                    <a:pt x="59337" y="180676"/>
                  </a:cubicBezTo>
                  <a:cubicBezTo>
                    <a:pt x="65562" y="196238"/>
                    <a:pt x="74899" y="196238"/>
                    <a:pt x="102910" y="199350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2" name="任意多边形: 形状 381">
              <a:extLst>
                <a:ext uri="{FF2B5EF4-FFF2-40B4-BE49-F238E27FC236}">
                  <a16:creationId xmlns:a16="http://schemas.microsoft.com/office/drawing/2014/main" id="{4179F3E3-82BE-4226-BAEF-B35013D0764D}"/>
                </a:ext>
              </a:extLst>
            </p:cNvPr>
            <p:cNvSpPr/>
            <p:nvPr/>
          </p:nvSpPr>
          <p:spPr>
            <a:xfrm>
              <a:off x="14087853" y="2968457"/>
              <a:ext cx="868357" cy="927492"/>
            </a:xfrm>
            <a:custGeom>
              <a:avLst/>
              <a:gdLst>
                <a:gd name="connsiteX0" fmla="*/ 572680 w 868357"/>
                <a:gd name="connsiteY0" fmla="*/ 0 h 927492"/>
                <a:gd name="connsiteX1" fmla="*/ 494870 w 868357"/>
                <a:gd name="connsiteY1" fmla="*/ 566455 h 927492"/>
                <a:gd name="connsiteX2" fmla="*/ 0 w 868357"/>
                <a:gd name="connsiteY2" fmla="*/ 796772 h 927492"/>
                <a:gd name="connsiteX3" fmla="*/ 99596 w 868357"/>
                <a:gd name="connsiteY3" fmla="*/ 927493 h 927492"/>
                <a:gd name="connsiteX4" fmla="*/ 746974 w 868357"/>
                <a:gd name="connsiteY4" fmla="*/ 684726 h 927492"/>
                <a:gd name="connsiteX5" fmla="*/ 868357 w 868357"/>
                <a:gd name="connsiteY5" fmla="*/ 56023 h 927492"/>
                <a:gd name="connsiteX6" fmla="*/ 572680 w 868357"/>
                <a:gd name="connsiteY6" fmla="*/ 0 h 927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8357" h="927492">
                  <a:moveTo>
                    <a:pt x="572680" y="0"/>
                  </a:moveTo>
                  <a:lnTo>
                    <a:pt x="494870" y="566455"/>
                  </a:lnTo>
                  <a:lnTo>
                    <a:pt x="0" y="796772"/>
                  </a:lnTo>
                  <a:lnTo>
                    <a:pt x="99596" y="927493"/>
                  </a:lnTo>
                  <a:cubicBezTo>
                    <a:pt x="99596" y="927493"/>
                    <a:pt x="653602" y="778098"/>
                    <a:pt x="746974" y="684726"/>
                  </a:cubicBezTo>
                  <a:cubicBezTo>
                    <a:pt x="840346" y="591354"/>
                    <a:pt x="868357" y="56023"/>
                    <a:pt x="868357" y="56023"/>
                  </a:cubicBezTo>
                  <a:lnTo>
                    <a:pt x="572680" y="0"/>
                  </a:ln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83" name="图形 1">
              <a:extLst>
                <a:ext uri="{FF2B5EF4-FFF2-40B4-BE49-F238E27FC236}">
                  <a16:creationId xmlns:a16="http://schemas.microsoft.com/office/drawing/2014/main" id="{00A64FB6-BD0D-4CF0-AF4B-92F133967EE0}"/>
                </a:ext>
              </a:extLst>
            </p:cNvPr>
            <p:cNvGrpSpPr/>
            <p:nvPr/>
          </p:nvGrpSpPr>
          <p:grpSpPr>
            <a:xfrm>
              <a:off x="13832636" y="3743335"/>
              <a:ext cx="381957" cy="302999"/>
              <a:chOff x="13832636" y="3743335"/>
              <a:chExt cx="381957" cy="302999"/>
            </a:xfrm>
          </p:grpSpPr>
          <p:sp>
            <p:nvSpPr>
              <p:cNvPr id="384" name="任意多边形: 形状 383">
                <a:extLst>
                  <a:ext uri="{FF2B5EF4-FFF2-40B4-BE49-F238E27FC236}">
                    <a16:creationId xmlns:a16="http://schemas.microsoft.com/office/drawing/2014/main" id="{C886900D-EA33-4DA1-A5DA-4DBE99AFEA64}"/>
                  </a:ext>
                </a:extLst>
              </p:cNvPr>
              <p:cNvSpPr/>
              <p:nvPr/>
            </p:nvSpPr>
            <p:spPr>
              <a:xfrm>
                <a:off x="13836802" y="3743335"/>
                <a:ext cx="377791" cy="302999"/>
              </a:xfrm>
              <a:custGeom>
                <a:avLst/>
                <a:gdLst>
                  <a:gd name="connsiteX0" fmla="*/ 375547 w 377791"/>
                  <a:gd name="connsiteY0" fmla="*/ 105928 h 302999"/>
                  <a:gd name="connsiteX1" fmla="*/ 294625 w 377791"/>
                  <a:gd name="connsiteY1" fmla="*/ 107 h 302999"/>
                  <a:gd name="connsiteX2" fmla="*/ 51858 w 377791"/>
                  <a:gd name="connsiteY2" fmla="*/ 118378 h 302999"/>
                  <a:gd name="connsiteX3" fmla="*/ 5172 w 377791"/>
                  <a:gd name="connsiteY3" fmla="*/ 180626 h 302999"/>
                  <a:gd name="connsiteX4" fmla="*/ 26959 w 377791"/>
                  <a:gd name="connsiteY4" fmla="*/ 183738 h 302999"/>
                  <a:gd name="connsiteX5" fmla="*/ 70532 w 377791"/>
                  <a:gd name="connsiteY5" fmla="*/ 168176 h 302999"/>
                  <a:gd name="connsiteX6" fmla="*/ 26959 w 377791"/>
                  <a:gd name="connsiteY6" fmla="*/ 214862 h 302999"/>
                  <a:gd name="connsiteX7" fmla="*/ 2060 w 377791"/>
                  <a:gd name="connsiteY7" fmla="*/ 280222 h 302999"/>
                  <a:gd name="connsiteX8" fmla="*/ 36296 w 377791"/>
                  <a:gd name="connsiteY8" fmla="*/ 280222 h 302999"/>
                  <a:gd name="connsiteX9" fmla="*/ 42521 w 377791"/>
                  <a:gd name="connsiteY9" fmla="*/ 295784 h 302999"/>
                  <a:gd name="connsiteX10" fmla="*/ 117218 w 377791"/>
                  <a:gd name="connsiteY10" fmla="*/ 270885 h 302999"/>
                  <a:gd name="connsiteX11" fmla="*/ 163904 w 377791"/>
                  <a:gd name="connsiteY11" fmla="*/ 239761 h 302999"/>
                  <a:gd name="connsiteX12" fmla="*/ 139005 w 377791"/>
                  <a:gd name="connsiteY12" fmla="*/ 302009 h 302999"/>
                  <a:gd name="connsiteX13" fmla="*/ 188804 w 377791"/>
                  <a:gd name="connsiteY13" fmla="*/ 277110 h 302999"/>
                  <a:gd name="connsiteX14" fmla="*/ 266613 w 377791"/>
                  <a:gd name="connsiteY14" fmla="*/ 211750 h 302999"/>
                  <a:gd name="connsiteX15" fmla="*/ 350647 w 377791"/>
                  <a:gd name="connsiteY15" fmla="*/ 155727 h 302999"/>
                  <a:gd name="connsiteX16" fmla="*/ 375547 w 377791"/>
                  <a:gd name="connsiteY16" fmla="*/ 105928 h 302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77791" h="302999">
                    <a:moveTo>
                      <a:pt x="375547" y="105928"/>
                    </a:moveTo>
                    <a:cubicBezTo>
                      <a:pt x="369322" y="62355"/>
                      <a:pt x="294625" y="-3005"/>
                      <a:pt x="294625" y="107"/>
                    </a:cubicBezTo>
                    <a:cubicBezTo>
                      <a:pt x="213702" y="37456"/>
                      <a:pt x="126556" y="65467"/>
                      <a:pt x="51858" y="118378"/>
                    </a:cubicBezTo>
                    <a:cubicBezTo>
                      <a:pt x="39408" y="127715"/>
                      <a:pt x="-16615" y="158839"/>
                      <a:pt x="5172" y="180626"/>
                    </a:cubicBezTo>
                    <a:cubicBezTo>
                      <a:pt x="11397" y="186851"/>
                      <a:pt x="20734" y="183738"/>
                      <a:pt x="26959" y="183738"/>
                    </a:cubicBezTo>
                    <a:cubicBezTo>
                      <a:pt x="42521" y="180626"/>
                      <a:pt x="54970" y="174401"/>
                      <a:pt x="70532" y="168176"/>
                    </a:cubicBezTo>
                    <a:cubicBezTo>
                      <a:pt x="54970" y="183738"/>
                      <a:pt x="39408" y="196188"/>
                      <a:pt x="26959" y="214862"/>
                    </a:cubicBezTo>
                    <a:cubicBezTo>
                      <a:pt x="17622" y="227312"/>
                      <a:pt x="-7278" y="261548"/>
                      <a:pt x="2060" y="280222"/>
                    </a:cubicBezTo>
                    <a:cubicBezTo>
                      <a:pt x="8284" y="289560"/>
                      <a:pt x="20734" y="289560"/>
                      <a:pt x="36296" y="280222"/>
                    </a:cubicBezTo>
                    <a:cubicBezTo>
                      <a:pt x="33184" y="286447"/>
                      <a:pt x="36296" y="292672"/>
                      <a:pt x="42521" y="295784"/>
                    </a:cubicBezTo>
                    <a:cubicBezTo>
                      <a:pt x="64308" y="305122"/>
                      <a:pt x="101656" y="280222"/>
                      <a:pt x="117218" y="270885"/>
                    </a:cubicBezTo>
                    <a:cubicBezTo>
                      <a:pt x="132780" y="261548"/>
                      <a:pt x="148342" y="249098"/>
                      <a:pt x="163904" y="239761"/>
                    </a:cubicBezTo>
                    <a:cubicBezTo>
                      <a:pt x="139005" y="264660"/>
                      <a:pt x="117218" y="292672"/>
                      <a:pt x="139005" y="302009"/>
                    </a:cubicBezTo>
                    <a:cubicBezTo>
                      <a:pt x="154567" y="308234"/>
                      <a:pt x="179466" y="283335"/>
                      <a:pt x="188804" y="277110"/>
                    </a:cubicBezTo>
                    <a:cubicBezTo>
                      <a:pt x="216815" y="255323"/>
                      <a:pt x="238601" y="230424"/>
                      <a:pt x="266613" y="211750"/>
                    </a:cubicBezTo>
                    <a:cubicBezTo>
                      <a:pt x="291512" y="193076"/>
                      <a:pt x="322636" y="174401"/>
                      <a:pt x="350647" y="155727"/>
                    </a:cubicBezTo>
                    <a:cubicBezTo>
                      <a:pt x="375547" y="137052"/>
                      <a:pt x="381771" y="130828"/>
                      <a:pt x="375547" y="105928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5" name="任意多边形: 形状 384">
                <a:extLst>
                  <a:ext uri="{FF2B5EF4-FFF2-40B4-BE49-F238E27FC236}">
                    <a16:creationId xmlns:a16="http://schemas.microsoft.com/office/drawing/2014/main" id="{3E6BCBDC-8943-4461-92D5-9EE96CB747DC}"/>
                  </a:ext>
                </a:extLst>
              </p:cNvPr>
              <p:cNvSpPr/>
              <p:nvPr/>
            </p:nvSpPr>
            <p:spPr>
              <a:xfrm>
                <a:off x="13832636" y="3802578"/>
                <a:ext cx="155619" cy="130720"/>
              </a:xfrm>
              <a:custGeom>
                <a:avLst/>
                <a:gdLst>
                  <a:gd name="connsiteX0" fmla="*/ 24899 w 155619"/>
                  <a:gd name="connsiteY0" fmla="*/ 130721 h 130720"/>
                  <a:gd name="connsiteX1" fmla="*/ 6225 w 155619"/>
                  <a:gd name="connsiteY1" fmla="*/ 124496 h 130720"/>
                  <a:gd name="connsiteX2" fmla="*/ 0 w 155619"/>
                  <a:gd name="connsiteY2" fmla="*/ 108934 h 130720"/>
                  <a:gd name="connsiteX3" fmla="*/ 146283 w 155619"/>
                  <a:gd name="connsiteY3" fmla="*/ 0 h 130720"/>
                  <a:gd name="connsiteX4" fmla="*/ 152507 w 155619"/>
                  <a:gd name="connsiteY4" fmla="*/ 3112 h 130720"/>
                  <a:gd name="connsiteX5" fmla="*/ 149394 w 155619"/>
                  <a:gd name="connsiteY5" fmla="*/ 9337 h 130720"/>
                  <a:gd name="connsiteX6" fmla="*/ 9337 w 155619"/>
                  <a:gd name="connsiteY6" fmla="*/ 108934 h 130720"/>
                  <a:gd name="connsiteX7" fmla="*/ 12449 w 155619"/>
                  <a:gd name="connsiteY7" fmla="*/ 112046 h 130720"/>
                  <a:gd name="connsiteX8" fmla="*/ 71585 w 155619"/>
                  <a:gd name="connsiteY8" fmla="*/ 96484 h 130720"/>
                  <a:gd name="connsiteX9" fmla="*/ 149394 w 155619"/>
                  <a:gd name="connsiteY9" fmla="*/ 52911 h 130720"/>
                  <a:gd name="connsiteX10" fmla="*/ 155620 w 155619"/>
                  <a:gd name="connsiteY10" fmla="*/ 59135 h 130720"/>
                  <a:gd name="connsiteX11" fmla="*/ 149394 w 155619"/>
                  <a:gd name="connsiteY11" fmla="*/ 65360 h 130720"/>
                  <a:gd name="connsiteX12" fmla="*/ 77810 w 155619"/>
                  <a:gd name="connsiteY12" fmla="*/ 108934 h 130720"/>
                  <a:gd name="connsiteX13" fmla="*/ 24899 w 155619"/>
                  <a:gd name="connsiteY13" fmla="*/ 130721 h 130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5619" h="130720">
                    <a:moveTo>
                      <a:pt x="24899" y="130721"/>
                    </a:moveTo>
                    <a:cubicBezTo>
                      <a:pt x="18675" y="130721"/>
                      <a:pt x="12449" y="130721"/>
                      <a:pt x="6225" y="124496"/>
                    </a:cubicBezTo>
                    <a:cubicBezTo>
                      <a:pt x="0" y="121383"/>
                      <a:pt x="0" y="115159"/>
                      <a:pt x="0" y="108934"/>
                    </a:cubicBezTo>
                    <a:cubicBezTo>
                      <a:pt x="3113" y="80922"/>
                      <a:pt x="65360" y="34236"/>
                      <a:pt x="146283" y="0"/>
                    </a:cubicBezTo>
                    <a:cubicBezTo>
                      <a:pt x="149394" y="0"/>
                      <a:pt x="152507" y="0"/>
                      <a:pt x="152507" y="3112"/>
                    </a:cubicBezTo>
                    <a:cubicBezTo>
                      <a:pt x="152507" y="6225"/>
                      <a:pt x="152507" y="9337"/>
                      <a:pt x="149394" y="9337"/>
                    </a:cubicBezTo>
                    <a:cubicBezTo>
                      <a:pt x="56023" y="49798"/>
                      <a:pt x="12449" y="93372"/>
                      <a:pt x="9337" y="108934"/>
                    </a:cubicBezTo>
                    <a:cubicBezTo>
                      <a:pt x="9337" y="112046"/>
                      <a:pt x="9337" y="112046"/>
                      <a:pt x="12449" y="112046"/>
                    </a:cubicBezTo>
                    <a:cubicBezTo>
                      <a:pt x="24899" y="121383"/>
                      <a:pt x="59135" y="102709"/>
                      <a:pt x="71585" y="96484"/>
                    </a:cubicBezTo>
                    <a:cubicBezTo>
                      <a:pt x="87147" y="87147"/>
                      <a:pt x="133832" y="52911"/>
                      <a:pt x="149394" y="52911"/>
                    </a:cubicBezTo>
                    <a:cubicBezTo>
                      <a:pt x="152507" y="52911"/>
                      <a:pt x="155620" y="56023"/>
                      <a:pt x="155620" y="59135"/>
                    </a:cubicBezTo>
                    <a:cubicBezTo>
                      <a:pt x="155620" y="62248"/>
                      <a:pt x="152507" y="65360"/>
                      <a:pt x="149394" y="65360"/>
                    </a:cubicBezTo>
                    <a:cubicBezTo>
                      <a:pt x="143170" y="65360"/>
                      <a:pt x="105821" y="87147"/>
                      <a:pt x="77810" y="108934"/>
                    </a:cubicBezTo>
                    <a:cubicBezTo>
                      <a:pt x="74697" y="115159"/>
                      <a:pt x="46686" y="130721"/>
                      <a:pt x="24899" y="13072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6" name="任意多边形: 形状 385">
                <a:extLst>
                  <a:ext uri="{FF2B5EF4-FFF2-40B4-BE49-F238E27FC236}">
                    <a16:creationId xmlns:a16="http://schemas.microsoft.com/office/drawing/2014/main" id="{77A02694-71F2-4F77-8F66-CA8DA807C343}"/>
                  </a:ext>
                </a:extLst>
              </p:cNvPr>
              <p:cNvSpPr/>
              <p:nvPr/>
            </p:nvSpPr>
            <p:spPr>
              <a:xfrm>
                <a:off x="13870763" y="3905287"/>
                <a:ext cx="136167" cy="121383"/>
              </a:xfrm>
              <a:custGeom>
                <a:avLst/>
                <a:gdLst>
                  <a:gd name="connsiteX0" fmla="*/ 5446 w 136167"/>
                  <a:gd name="connsiteY0" fmla="*/ 121383 h 121383"/>
                  <a:gd name="connsiteX1" fmla="*/ 2334 w 136167"/>
                  <a:gd name="connsiteY1" fmla="*/ 121383 h 121383"/>
                  <a:gd name="connsiteX2" fmla="*/ 2334 w 136167"/>
                  <a:gd name="connsiteY2" fmla="*/ 112046 h 121383"/>
                  <a:gd name="connsiteX3" fmla="*/ 129942 w 136167"/>
                  <a:gd name="connsiteY3" fmla="*/ 0 h 121383"/>
                  <a:gd name="connsiteX4" fmla="*/ 136167 w 136167"/>
                  <a:gd name="connsiteY4" fmla="*/ 3112 h 121383"/>
                  <a:gd name="connsiteX5" fmla="*/ 133055 w 136167"/>
                  <a:gd name="connsiteY5" fmla="*/ 9337 h 121383"/>
                  <a:gd name="connsiteX6" fmla="*/ 8559 w 136167"/>
                  <a:gd name="connsiteY6" fmla="*/ 118271 h 121383"/>
                  <a:gd name="connsiteX7" fmla="*/ 5446 w 136167"/>
                  <a:gd name="connsiteY7" fmla="*/ 121383 h 121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6167" h="121383">
                    <a:moveTo>
                      <a:pt x="5446" y="121383"/>
                    </a:moveTo>
                    <a:cubicBezTo>
                      <a:pt x="5446" y="121383"/>
                      <a:pt x="2334" y="121383"/>
                      <a:pt x="2334" y="121383"/>
                    </a:cubicBezTo>
                    <a:cubicBezTo>
                      <a:pt x="-778" y="118271"/>
                      <a:pt x="-778" y="115158"/>
                      <a:pt x="2334" y="112046"/>
                    </a:cubicBezTo>
                    <a:cubicBezTo>
                      <a:pt x="5446" y="108934"/>
                      <a:pt x="95705" y="12450"/>
                      <a:pt x="129942" y="0"/>
                    </a:cubicBezTo>
                    <a:cubicBezTo>
                      <a:pt x="133055" y="0"/>
                      <a:pt x="136167" y="0"/>
                      <a:pt x="136167" y="3112"/>
                    </a:cubicBezTo>
                    <a:cubicBezTo>
                      <a:pt x="136167" y="6225"/>
                      <a:pt x="136167" y="9337"/>
                      <a:pt x="133055" y="9337"/>
                    </a:cubicBezTo>
                    <a:cubicBezTo>
                      <a:pt x="98818" y="21787"/>
                      <a:pt x="11671" y="118271"/>
                      <a:pt x="8559" y="118271"/>
                    </a:cubicBezTo>
                    <a:cubicBezTo>
                      <a:pt x="8559" y="121383"/>
                      <a:pt x="5446" y="121383"/>
                      <a:pt x="5446" y="12138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7" name="任意多边形: 形状 386">
                <a:extLst>
                  <a:ext uri="{FF2B5EF4-FFF2-40B4-BE49-F238E27FC236}">
                    <a16:creationId xmlns:a16="http://schemas.microsoft.com/office/drawing/2014/main" id="{EE9D973A-8B1C-435D-917D-A1C18122C2ED}"/>
                  </a:ext>
                </a:extLst>
              </p:cNvPr>
              <p:cNvSpPr/>
              <p:nvPr/>
            </p:nvSpPr>
            <p:spPr>
              <a:xfrm>
                <a:off x="13996210" y="3941252"/>
                <a:ext cx="58789" cy="44956"/>
              </a:xfrm>
              <a:custGeom>
                <a:avLst/>
                <a:gdLst>
                  <a:gd name="connsiteX0" fmla="*/ 7608 w 58789"/>
                  <a:gd name="connsiteY0" fmla="*/ 44957 h 44956"/>
                  <a:gd name="connsiteX1" fmla="*/ 1383 w 58789"/>
                  <a:gd name="connsiteY1" fmla="*/ 41844 h 44956"/>
                  <a:gd name="connsiteX2" fmla="*/ 1383 w 58789"/>
                  <a:gd name="connsiteY2" fmla="*/ 32507 h 44956"/>
                  <a:gd name="connsiteX3" fmla="*/ 48069 w 58789"/>
                  <a:gd name="connsiteY3" fmla="*/ 1383 h 44956"/>
                  <a:gd name="connsiteX4" fmla="*/ 57407 w 58789"/>
                  <a:gd name="connsiteY4" fmla="*/ 1383 h 44956"/>
                  <a:gd name="connsiteX5" fmla="*/ 57407 w 58789"/>
                  <a:gd name="connsiteY5" fmla="*/ 10721 h 44956"/>
                  <a:gd name="connsiteX6" fmla="*/ 10721 w 58789"/>
                  <a:gd name="connsiteY6" fmla="*/ 41844 h 44956"/>
                  <a:gd name="connsiteX7" fmla="*/ 7608 w 58789"/>
                  <a:gd name="connsiteY7" fmla="*/ 44957 h 4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8789" h="44956">
                    <a:moveTo>
                      <a:pt x="7608" y="44957"/>
                    </a:moveTo>
                    <a:cubicBezTo>
                      <a:pt x="4496" y="44957"/>
                      <a:pt x="4496" y="44957"/>
                      <a:pt x="1383" y="41844"/>
                    </a:cubicBezTo>
                    <a:cubicBezTo>
                      <a:pt x="-1729" y="38732"/>
                      <a:pt x="1383" y="35620"/>
                      <a:pt x="1383" y="32507"/>
                    </a:cubicBezTo>
                    <a:lnTo>
                      <a:pt x="48069" y="1383"/>
                    </a:lnTo>
                    <a:cubicBezTo>
                      <a:pt x="51181" y="-1729"/>
                      <a:pt x="54294" y="1383"/>
                      <a:pt x="57407" y="1383"/>
                    </a:cubicBezTo>
                    <a:cubicBezTo>
                      <a:pt x="60519" y="4496"/>
                      <a:pt x="57407" y="7608"/>
                      <a:pt x="57407" y="10721"/>
                    </a:cubicBezTo>
                    <a:lnTo>
                      <a:pt x="10721" y="41844"/>
                    </a:lnTo>
                    <a:cubicBezTo>
                      <a:pt x="10721" y="41844"/>
                      <a:pt x="10721" y="44957"/>
                      <a:pt x="7608" y="4495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8" name="任意多边形: 形状 387">
                <a:extLst>
                  <a:ext uri="{FF2B5EF4-FFF2-40B4-BE49-F238E27FC236}">
                    <a16:creationId xmlns:a16="http://schemas.microsoft.com/office/drawing/2014/main" id="{FFF17F58-452B-41A0-8BDF-D5A5FD4C9BA6}"/>
                  </a:ext>
                </a:extLst>
              </p:cNvPr>
              <p:cNvSpPr/>
              <p:nvPr/>
            </p:nvSpPr>
            <p:spPr>
              <a:xfrm>
                <a:off x="14031829" y="3830589"/>
                <a:ext cx="64582" cy="99596"/>
              </a:xfrm>
              <a:custGeom>
                <a:avLst/>
                <a:gdLst>
                  <a:gd name="connsiteX0" fmla="*/ 59135 w 64582"/>
                  <a:gd name="connsiteY0" fmla="*/ 96484 h 99596"/>
                  <a:gd name="connsiteX1" fmla="*/ 56024 w 64582"/>
                  <a:gd name="connsiteY1" fmla="*/ 96484 h 99596"/>
                  <a:gd name="connsiteX2" fmla="*/ 0 w 64582"/>
                  <a:gd name="connsiteY2" fmla="*/ 6225 h 99596"/>
                  <a:gd name="connsiteX3" fmla="*/ 6225 w 64582"/>
                  <a:gd name="connsiteY3" fmla="*/ 0 h 99596"/>
                  <a:gd name="connsiteX4" fmla="*/ 12449 w 64582"/>
                  <a:gd name="connsiteY4" fmla="*/ 6225 h 99596"/>
                  <a:gd name="connsiteX5" fmla="*/ 62248 w 64582"/>
                  <a:gd name="connsiteY5" fmla="*/ 90259 h 99596"/>
                  <a:gd name="connsiteX6" fmla="*/ 62248 w 64582"/>
                  <a:gd name="connsiteY6" fmla="*/ 99596 h 99596"/>
                  <a:gd name="connsiteX7" fmla="*/ 59135 w 64582"/>
                  <a:gd name="connsiteY7" fmla="*/ 96484 h 99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4582" h="99596">
                    <a:moveTo>
                      <a:pt x="59135" y="96484"/>
                    </a:moveTo>
                    <a:cubicBezTo>
                      <a:pt x="59135" y="96484"/>
                      <a:pt x="56024" y="96484"/>
                      <a:pt x="56024" y="96484"/>
                    </a:cubicBezTo>
                    <a:cubicBezTo>
                      <a:pt x="6225" y="62248"/>
                      <a:pt x="0" y="6225"/>
                      <a:pt x="0" y="6225"/>
                    </a:cubicBezTo>
                    <a:cubicBezTo>
                      <a:pt x="0" y="3112"/>
                      <a:pt x="3113" y="0"/>
                      <a:pt x="6225" y="0"/>
                    </a:cubicBezTo>
                    <a:cubicBezTo>
                      <a:pt x="9338" y="0"/>
                      <a:pt x="12449" y="3112"/>
                      <a:pt x="12449" y="6225"/>
                    </a:cubicBezTo>
                    <a:cubicBezTo>
                      <a:pt x="12449" y="6225"/>
                      <a:pt x="18675" y="59135"/>
                      <a:pt x="62248" y="90259"/>
                    </a:cubicBezTo>
                    <a:cubicBezTo>
                      <a:pt x="65360" y="93372"/>
                      <a:pt x="65360" y="96484"/>
                      <a:pt x="62248" y="99596"/>
                    </a:cubicBezTo>
                    <a:cubicBezTo>
                      <a:pt x="62248" y="93372"/>
                      <a:pt x="62248" y="96484"/>
                      <a:pt x="59135" y="9648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89" name="任意多边形: 形状 388">
              <a:extLst>
                <a:ext uri="{FF2B5EF4-FFF2-40B4-BE49-F238E27FC236}">
                  <a16:creationId xmlns:a16="http://schemas.microsoft.com/office/drawing/2014/main" id="{511E0150-51BC-4B04-A358-B5A19D7431CA}"/>
                </a:ext>
              </a:extLst>
            </p:cNvPr>
            <p:cNvSpPr/>
            <p:nvPr/>
          </p:nvSpPr>
          <p:spPr>
            <a:xfrm>
              <a:off x="14579611" y="2965344"/>
              <a:ext cx="90259" cy="600691"/>
            </a:xfrm>
            <a:custGeom>
              <a:avLst/>
              <a:gdLst>
                <a:gd name="connsiteX0" fmla="*/ 68473 w 90259"/>
                <a:gd name="connsiteY0" fmla="*/ 600692 h 600691"/>
                <a:gd name="connsiteX1" fmla="*/ 68473 w 90259"/>
                <a:gd name="connsiteY1" fmla="*/ 600692 h 600691"/>
                <a:gd name="connsiteX2" fmla="*/ 3113 w 90259"/>
                <a:gd name="connsiteY2" fmla="*/ 572680 h 600691"/>
                <a:gd name="connsiteX3" fmla="*/ 0 w 90259"/>
                <a:gd name="connsiteY3" fmla="*/ 566455 h 600691"/>
                <a:gd name="connsiteX4" fmla="*/ 77810 w 90259"/>
                <a:gd name="connsiteY4" fmla="*/ 0 h 600691"/>
                <a:gd name="connsiteX5" fmla="*/ 90259 w 90259"/>
                <a:gd name="connsiteY5" fmla="*/ 0 h 600691"/>
                <a:gd name="connsiteX6" fmla="*/ 12449 w 90259"/>
                <a:gd name="connsiteY6" fmla="*/ 560231 h 600691"/>
                <a:gd name="connsiteX7" fmla="*/ 71585 w 90259"/>
                <a:gd name="connsiteY7" fmla="*/ 585130 h 600691"/>
                <a:gd name="connsiteX8" fmla="*/ 74697 w 90259"/>
                <a:gd name="connsiteY8" fmla="*/ 591354 h 600691"/>
                <a:gd name="connsiteX9" fmla="*/ 68473 w 90259"/>
                <a:gd name="connsiteY9" fmla="*/ 600692 h 600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259" h="600691">
                  <a:moveTo>
                    <a:pt x="68473" y="600692"/>
                  </a:moveTo>
                  <a:cubicBezTo>
                    <a:pt x="68473" y="600692"/>
                    <a:pt x="68473" y="600692"/>
                    <a:pt x="68473" y="600692"/>
                  </a:cubicBezTo>
                  <a:cubicBezTo>
                    <a:pt x="46686" y="594467"/>
                    <a:pt x="3113" y="575793"/>
                    <a:pt x="3113" y="572680"/>
                  </a:cubicBezTo>
                  <a:cubicBezTo>
                    <a:pt x="0" y="572680"/>
                    <a:pt x="0" y="569568"/>
                    <a:pt x="0" y="566455"/>
                  </a:cubicBezTo>
                  <a:lnTo>
                    <a:pt x="77810" y="0"/>
                  </a:lnTo>
                  <a:lnTo>
                    <a:pt x="90259" y="0"/>
                  </a:lnTo>
                  <a:lnTo>
                    <a:pt x="12449" y="560231"/>
                  </a:lnTo>
                  <a:cubicBezTo>
                    <a:pt x="24899" y="566455"/>
                    <a:pt x="56023" y="578905"/>
                    <a:pt x="71585" y="585130"/>
                  </a:cubicBezTo>
                  <a:cubicBezTo>
                    <a:pt x="74697" y="585130"/>
                    <a:pt x="77810" y="588242"/>
                    <a:pt x="74697" y="591354"/>
                  </a:cubicBezTo>
                  <a:cubicBezTo>
                    <a:pt x="74697" y="600692"/>
                    <a:pt x="71585" y="600692"/>
                    <a:pt x="68473" y="600692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0" name="任意多边形: 形状 389">
              <a:extLst>
                <a:ext uri="{FF2B5EF4-FFF2-40B4-BE49-F238E27FC236}">
                  <a16:creationId xmlns:a16="http://schemas.microsoft.com/office/drawing/2014/main" id="{0ADB0BB0-E8FF-4EDC-BD80-898B0B112BA8}"/>
                </a:ext>
              </a:extLst>
            </p:cNvPr>
            <p:cNvSpPr/>
            <p:nvPr/>
          </p:nvSpPr>
          <p:spPr>
            <a:xfrm>
              <a:off x="14579611" y="2596954"/>
              <a:ext cx="424512" cy="609537"/>
            </a:xfrm>
            <a:custGeom>
              <a:avLst/>
              <a:gdLst>
                <a:gd name="connsiteX0" fmla="*/ 423285 w 424512"/>
                <a:gd name="connsiteY0" fmla="*/ 604932 h 609537"/>
                <a:gd name="connsiteX1" fmla="*/ 305014 w 424512"/>
                <a:gd name="connsiteY1" fmla="*/ 4241 h 609537"/>
                <a:gd name="connsiteX2" fmla="*/ 0 w 424512"/>
                <a:gd name="connsiteY2" fmla="*/ 524010 h 609537"/>
                <a:gd name="connsiteX3" fmla="*/ 423285 w 424512"/>
                <a:gd name="connsiteY3" fmla="*/ 604932 h 609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512" h="609537">
                  <a:moveTo>
                    <a:pt x="423285" y="604932"/>
                  </a:moveTo>
                  <a:cubicBezTo>
                    <a:pt x="423285" y="604932"/>
                    <a:pt x="445072" y="57151"/>
                    <a:pt x="305014" y="4241"/>
                  </a:cubicBezTo>
                  <a:cubicBezTo>
                    <a:pt x="140058" y="-54895"/>
                    <a:pt x="0" y="524010"/>
                    <a:pt x="0" y="524010"/>
                  </a:cubicBezTo>
                  <a:cubicBezTo>
                    <a:pt x="0" y="524010"/>
                    <a:pt x="208531" y="632944"/>
                    <a:pt x="423285" y="604932"/>
                  </a:cubicBezTo>
                  <a:close/>
                </a:path>
              </a:pathLst>
            </a:custGeom>
            <a:solidFill>
              <a:srgbClr val="708686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1" name="任意多边形: 形状 390">
              <a:extLst>
                <a:ext uri="{FF2B5EF4-FFF2-40B4-BE49-F238E27FC236}">
                  <a16:creationId xmlns:a16="http://schemas.microsoft.com/office/drawing/2014/main" id="{15C3378B-5455-46DD-8F61-E945E8724C41}"/>
                </a:ext>
              </a:extLst>
            </p:cNvPr>
            <p:cNvSpPr/>
            <p:nvPr/>
          </p:nvSpPr>
          <p:spPr>
            <a:xfrm>
              <a:off x="14573385" y="2594966"/>
              <a:ext cx="434957" cy="622481"/>
            </a:xfrm>
            <a:custGeom>
              <a:avLst/>
              <a:gdLst>
                <a:gd name="connsiteX0" fmla="*/ 339251 w 434957"/>
                <a:gd name="connsiteY0" fmla="*/ 622482 h 622481"/>
                <a:gd name="connsiteX1" fmla="*/ 3113 w 434957"/>
                <a:gd name="connsiteY1" fmla="*/ 529110 h 622481"/>
                <a:gd name="connsiteX2" fmla="*/ 0 w 434957"/>
                <a:gd name="connsiteY2" fmla="*/ 525998 h 622481"/>
                <a:gd name="connsiteX3" fmla="*/ 0 w 434957"/>
                <a:gd name="connsiteY3" fmla="*/ 522885 h 622481"/>
                <a:gd name="connsiteX4" fmla="*/ 118271 w 434957"/>
                <a:gd name="connsiteY4" fmla="*/ 174298 h 622481"/>
                <a:gd name="connsiteX5" fmla="*/ 308128 w 434957"/>
                <a:gd name="connsiteY5" fmla="*/ 4 h 622481"/>
                <a:gd name="connsiteX6" fmla="*/ 314352 w 434957"/>
                <a:gd name="connsiteY6" fmla="*/ 6228 h 622481"/>
                <a:gd name="connsiteX7" fmla="*/ 308128 w 434957"/>
                <a:gd name="connsiteY7" fmla="*/ 12453 h 622481"/>
                <a:gd name="connsiteX8" fmla="*/ 308128 w 434957"/>
                <a:gd name="connsiteY8" fmla="*/ 12453 h 622481"/>
                <a:gd name="connsiteX9" fmla="*/ 127608 w 434957"/>
                <a:gd name="connsiteY9" fmla="*/ 180522 h 622481"/>
                <a:gd name="connsiteX10" fmla="*/ 9338 w 434957"/>
                <a:gd name="connsiteY10" fmla="*/ 522885 h 622481"/>
                <a:gd name="connsiteX11" fmla="*/ 420173 w 434957"/>
                <a:gd name="connsiteY11" fmla="*/ 603808 h 622481"/>
                <a:gd name="connsiteX12" fmla="*/ 410836 w 434957"/>
                <a:gd name="connsiteY12" fmla="*/ 298793 h 622481"/>
                <a:gd name="connsiteX13" fmla="*/ 417061 w 434957"/>
                <a:gd name="connsiteY13" fmla="*/ 292568 h 622481"/>
                <a:gd name="connsiteX14" fmla="*/ 423285 w 434957"/>
                <a:gd name="connsiteY14" fmla="*/ 298793 h 622481"/>
                <a:gd name="connsiteX15" fmla="*/ 432623 w 434957"/>
                <a:gd name="connsiteY15" fmla="*/ 610032 h 622481"/>
                <a:gd name="connsiteX16" fmla="*/ 432623 w 434957"/>
                <a:gd name="connsiteY16" fmla="*/ 613145 h 622481"/>
                <a:gd name="connsiteX17" fmla="*/ 429511 w 434957"/>
                <a:gd name="connsiteY17" fmla="*/ 613145 h 622481"/>
                <a:gd name="connsiteX18" fmla="*/ 339251 w 434957"/>
                <a:gd name="connsiteY18" fmla="*/ 622482 h 622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4957" h="622481">
                  <a:moveTo>
                    <a:pt x="339251" y="622482"/>
                  </a:moveTo>
                  <a:cubicBezTo>
                    <a:pt x="171182" y="622482"/>
                    <a:pt x="6225" y="532223"/>
                    <a:pt x="3113" y="529110"/>
                  </a:cubicBezTo>
                  <a:lnTo>
                    <a:pt x="0" y="525998"/>
                  </a:lnTo>
                  <a:lnTo>
                    <a:pt x="0" y="522885"/>
                  </a:lnTo>
                  <a:cubicBezTo>
                    <a:pt x="0" y="519773"/>
                    <a:pt x="52911" y="348592"/>
                    <a:pt x="118271" y="174298"/>
                  </a:cubicBezTo>
                  <a:cubicBezTo>
                    <a:pt x="186744" y="-3109"/>
                    <a:pt x="305015" y="4"/>
                    <a:pt x="308128" y="4"/>
                  </a:cubicBezTo>
                  <a:cubicBezTo>
                    <a:pt x="311239" y="4"/>
                    <a:pt x="314352" y="3116"/>
                    <a:pt x="314352" y="6228"/>
                  </a:cubicBezTo>
                  <a:cubicBezTo>
                    <a:pt x="314352" y="9341"/>
                    <a:pt x="311239" y="12453"/>
                    <a:pt x="308128" y="12453"/>
                  </a:cubicBezTo>
                  <a:cubicBezTo>
                    <a:pt x="308128" y="12453"/>
                    <a:pt x="308128" y="12453"/>
                    <a:pt x="308128" y="12453"/>
                  </a:cubicBezTo>
                  <a:cubicBezTo>
                    <a:pt x="301902" y="12453"/>
                    <a:pt x="192969" y="15566"/>
                    <a:pt x="127608" y="180522"/>
                  </a:cubicBezTo>
                  <a:cubicBezTo>
                    <a:pt x="65360" y="339254"/>
                    <a:pt x="18675" y="494874"/>
                    <a:pt x="9338" y="522885"/>
                  </a:cubicBezTo>
                  <a:cubicBezTo>
                    <a:pt x="40462" y="538447"/>
                    <a:pt x="248991" y="644269"/>
                    <a:pt x="420173" y="603808"/>
                  </a:cubicBezTo>
                  <a:cubicBezTo>
                    <a:pt x="420173" y="575796"/>
                    <a:pt x="426398" y="410839"/>
                    <a:pt x="410836" y="298793"/>
                  </a:cubicBezTo>
                  <a:cubicBezTo>
                    <a:pt x="410836" y="295681"/>
                    <a:pt x="413949" y="292568"/>
                    <a:pt x="417061" y="292568"/>
                  </a:cubicBezTo>
                  <a:cubicBezTo>
                    <a:pt x="420173" y="292568"/>
                    <a:pt x="423285" y="295681"/>
                    <a:pt x="423285" y="298793"/>
                  </a:cubicBezTo>
                  <a:cubicBezTo>
                    <a:pt x="441960" y="420177"/>
                    <a:pt x="432623" y="606920"/>
                    <a:pt x="432623" y="610032"/>
                  </a:cubicBezTo>
                  <a:lnTo>
                    <a:pt x="432623" y="613145"/>
                  </a:lnTo>
                  <a:lnTo>
                    <a:pt x="429511" y="613145"/>
                  </a:lnTo>
                  <a:cubicBezTo>
                    <a:pt x="401499" y="619370"/>
                    <a:pt x="370375" y="622482"/>
                    <a:pt x="339251" y="622482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2" name="任意多边形: 形状 391">
              <a:extLst>
                <a:ext uri="{FF2B5EF4-FFF2-40B4-BE49-F238E27FC236}">
                  <a16:creationId xmlns:a16="http://schemas.microsoft.com/office/drawing/2014/main" id="{9B8F37C4-AA42-4A3D-A29D-8E0C5EDCA445}"/>
                </a:ext>
              </a:extLst>
            </p:cNvPr>
            <p:cNvSpPr/>
            <p:nvPr/>
          </p:nvSpPr>
          <p:spPr>
            <a:xfrm>
              <a:off x="14490130" y="1997390"/>
              <a:ext cx="33582" cy="93371"/>
            </a:xfrm>
            <a:custGeom>
              <a:avLst/>
              <a:gdLst>
                <a:gd name="connsiteX0" fmla="*/ 5446 w 33582"/>
                <a:gd name="connsiteY0" fmla="*/ 93372 h 93371"/>
                <a:gd name="connsiteX1" fmla="*/ 2334 w 33582"/>
                <a:gd name="connsiteY1" fmla="*/ 93372 h 93371"/>
                <a:gd name="connsiteX2" fmla="*/ 2334 w 33582"/>
                <a:gd name="connsiteY2" fmla="*/ 84035 h 93371"/>
                <a:gd name="connsiteX3" fmla="*/ 21008 w 33582"/>
                <a:gd name="connsiteY3" fmla="*/ 6225 h 93371"/>
                <a:gd name="connsiteX4" fmla="*/ 27233 w 33582"/>
                <a:gd name="connsiteY4" fmla="*/ 0 h 93371"/>
                <a:gd name="connsiteX5" fmla="*/ 33458 w 33582"/>
                <a:gd name="connsiteY5" fmla="*/ 6225 h 93371"/>
                <a:gd name="connsiteX6" fmla="*/ 11671 w 33582"/>
                <a:gd name="connsiteY6" fmla="*/ 93372 h 93371"/>
                <a:gd name="connsiteX7" fmla="*/ 5446 w 33582"/>
                <a:gd name="connsiteY7" fmla="*/ 93372 h 93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582" h="93371">
                  <a:moveTo>
                    <a:pt x="5446" y="93372"/>
                  </a:moveTo>
                  <a:cubicBezTo>
                    <a:pt x="5446" y="93372"/>
                    <a:pt x="2334" y="93372"/>
                    <a:pt x="2334" y="93372"/>
                  </a:cubicBezTo>
                  <a:cubicBezTo>
                    <a:pt x="-778" y="90259"/>
                    <a:pt x="-778" y="87147"/>
                    <a:pt x="2334" y="84035"/>
                  </a:cubicBezTo>
                  <a:cubicBezTo>
                    <a:pt x="24121" y="59135"/>
                    <a:pt x="21008" y="6225"/>
                    <a:pt x="21008" y="6225"/>
                  </a:cubicBezTo>
                  <a:cubicBezTo>
                    <a:pt x="21008" y="3112"/>
                    <a:pt x="24121" y="0"/>
                    <a:pt x="27233" y="0"/>
                  </a:cubicBezTo>
                  <a:cubicBezTo>
                    <a:pt x="30346" y="0"/>
                    <a:pt x="33458" y="3112"/>
                    <a:pt x="33458" y="6225"/>
                  </a:cubicBezTo>
                  <a:cubicBezTo>
                    <a:pt x="33458" y="9337"/>
                    <a:pt x="36570" y="65360"/>
                    <a:pt x="11671" y="93372"/>
                  </a:cubicBezTo>
                  <a:cubicBezTo>
                    <a:pt x="8559" y="90259"/>
                    <a:pt x="5446" y="93372"/>
                    <a:pt x="5446" y="93372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3" name="任意多边形: 形状 392">
              <a:extLst>
                <a:ext uri="{FF2B5EF4-FFF2-40B4-BE49-F238E27FC236}">
                  <a16:creationId xmlns:a16="http://schemas.microsoft.com/office/drawing/2014/main" id="{CFDFB763-3C48-4E02-BF75-3565570478BD}"/>
                </a:ext>
              </a:extLst>
            </p:cNvPr>
            <p:cNvSpPr/>
            <p:nvPr/>
          </p:nvSpPr>
          <p:spPr>
            <a:xfrm>
              <a:off x="14034942" y="1981828"/>
              <a:ext cx="168068" cy="146282"/>
            </a:xfrm>
            <a:custGeom>
              <a:avLst/>
              <a:gdLst>
                <a:gd name="connsiteX0" fmla="*/ 6225 w 168068"/>
                <a:gd name="connsiteY0" fmla="*/ 146282 h 146282"/>
                <a:gd name="connsiteX1" fmla="*/ 6225 w 168068"/>
                <a:gd name="connsiteY1" fmla="*/ 146282 h 146282"/>
                <a:gd name="connsiteX2" fmla="*/ 0 w 168068"/>
                <a:gd name="connsiteY2" fmla="*/ 136945 h 146282"/>
                <a:gd name="connsiteX3" fmla="*/ 161845 w 168068"/>
                <a:gd name="connsiteY3" fmla="*/ 0 h 146282"/>
                <a:gd name="connsiteX4" fmla="*/ 168069 w 168068"/>
                <a:gd name="connsiteY4" fmla="*/ 3112 h 146282"/>
                <a:gd name="connsiteX5" fmla="*/ 164956 w 168068"/>
                <a:gd name="connsiteY5" fmla="*/ 9337 h 146282"/>
                <a:gd name="connsiteX6" fmla="*/ 9337 w 168068"/>
                <a:gd name="connsiteY6" fmla="*/ 143170 h 146282"/>
                <a:gd name="connsiteX7" fmla="*/ 6225 w 168068"/>
                <a:gd name="connsiteY7" fmla="*/ 146282 h 14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8068" h="146282">
                  <a:moveTo>
                    <a:pt x="6225" y="146282"/>
                  </a:moveTo>
                  <a:cubicBezTo>
                    <a:pt x="3113" y="146282"/>
                    <a:pt x="3113" y="146282"/>
                    <a:pt x="6225" y="146282"/>
                  </a:cubicBezTo>
                  <a:cubicBezTo>
                    <a:pt x="0" y="143170"/>
                    <a:pt x="0" y="140058"/>
                    <a:pt x="0" y="136945"/>
                  </a:cubicBezTo>
                  <a:cubicBezTo>
                    <a:pt x="49798" y="37349"/>
                    <a:pt x="158732" y="0"/>
                    <a:pt x="161845" y="0"/>
                  </a:cubicBezTo>
                  <a:cubicBezTo>
                    <a:pt x="164956" y="0"/>
                    <a:pt x="168069" y="0"/>
                    <a:pt x="168069" y="3112"/>
                  </a:cubicBezTo>
                  <a:cubicBezTo>
                    <a:pt x="168069" y="6225"/>
                    <a:pt x="168069" y="9337"/>
                    <a:pt x="164956" y="9337"/>
                  </a:cubicBezTo>
                  <a:cubicBezTo>
                    <a:pt x="164956" y="9337"/>
                    <a:pt x="56023" y="46686"/>
                    <a:pt x="9337" y="143170"/>
                  </a:cubicBezTo>
                  <a:cubicBezTo>
                    <a:pt x="9337" y="146282"/>
                    <a:pt x="6225" y="146282"/>
                    <a:pt x="6225" y="146282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4" name="任意多边形: 形状 393">
              <a:extLst>
                <a:ext uri="{FF2B5EF4-FFF2-40B4-BE49-F238E27FC236}">
                  <a16:creationId xmlns:a16="http://schemas.microsoft.com/office/drawing/2014/main" id="{B34239AD-C8EB-411A-8B1B-316702A12F80}"/>
                </a:ext>
              </a:extLst>
            </p:cNvPr>
            <p:cNvSpPr/>
            <p:nvPr/>
          </p:nvSpPr>
          <p:spPr>
            <a:xfrm>
              <a:off x="8376794" y="6381319"/>
              <a:ext cx="129111" cy="270182"/>
            </a:xfrm>
            <a:custGeom>
              <a:avLst/>
              <a:gdLst>
                <a:gd name="connsiteX0" fmla="*/ 114977 w 129111"/>
                <a:gd name="connsiteY0" fmla="*/ 125928 h 270182"/>
                <a:gd name="connsiteX1" fmla="*/ 58955 w 129111"/>
                <a:gd name="connsiteY1" fmla="*/ 1432 h 270182"/>
                <a:gd name="connsiteX2" fmla="*/ 58955 w 129111"/>
                <a:gd name="connsiteY2" fmla="*/ 253536 h 270182"/>
                <a:gd name="connsiteX3" fmla="*/ 96303 w 129111"/>
                <a:gd name="connsiteY3" fmla="*/ 269098 h 270182"/>
                <a:gd name="connsiteX4" fmla="*/ 111865 w 129111"/>
                <a:gd name="connsiteY4" fmla="*/ 259760 h 270182"/>
                <a:gd name="connsiteX5" fmla="*/ 114977 w 129111"/>
                <a:gd name="connsiteY5" fmla="*/ 125928 h 270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111" h="270182">
                  <a:moveTo>
                    <a:pt x="114977" y="125928"/>
                  </a:moveTo>
                  <a:cubicBezTo>
                    <a:pt x="108753" y="91691"/>
                    <a:pt x="108753" y="10769"/>
                    <a:pt x="58955" y="1432"/>
                  </a:cubicBezTo>
                  <a:cubicBezTo>
                    <a:pt x="-65541" y="-20355"/>
                    <a:pt x="43393" y="213075"/>
                    <a:pt x="58955" y="253536"/>
                  </a:cubicBezTo>
                  <a:cubicBezTo>
                    <a:pt x="65180" y="269098"/>
                    <a:pt x="80741" y="272210"/>
                    <a:pt x="96303" y="269098"/>
                  </a:cubicBezTo>
                  <a:cubicBezTo>
                    <a:pt x="102528" y="269098"/>
                    <a:pt x="105641" y="265985"/>
                    <a:pt x="111865" y="259760"/>
                  </a:cubicBezTo>
                  <a:cubicBezTo>
                    <a:pt x="142989" y="225524"/>
                    <a:pt x="124315" y="169501"/>
                    <a:pt x="114977" y="125928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5" name="任意多边形: 形状 394">
              <a:extLst>
                <a:ext uri="{FF2B5EF4-FFF2-40B4-BE49-F238E27FC236}">
                  <a16:creationId xmlns:a16="http://schemas.microsoft.com/office/drawing/2014/main" id="{48D6343B-6970-4EED-A971-0B26BC368D04}"/>
                </a:ext>
              </a:extLst>
            </p:cNvPr>
            <p:cNvSpPr/>
            <p:nvPr/>
          </p:nvSpPr>
          <p:spPr>
            <a:xfrm>
              <a:off x="13417004" y="6154114"/>
              <a:ext cx="117372" cy="270182"/>
            </a:xfrm>
            <a:custGeom>
              <a:avLst/>
              <a:gdLst>
                <a:gd name="connsiteX0" fmla="*/ 14134 w 117372"/>
                <a:gd name="connsiteY0" fmla="*/ 125928 h 270182"/>
                <a:gd name="connsiteX1" fmla="*/ 63933 w 117372"/>
                <a:gd name="connsiteY1" fmla="*/ 1432 h 270182"/>
                <a:gd name="connsiteX2" fmla="*/ 63933 w 117372"/>
                <a:gd name="connsiteY2" fmla="*/ 253536 h 270182"/>
                <a:gd name="connsiteX3" fmla="*/ 29696 w 117372"/>
                <a:gd name="connsiteY3" fmla="*/ 269098 h 270182"/>
                <a:gd name="connsiteX4" fmla="*/ 17247 w 117372"/>
                <a:gd name="connsiteY4" fmla="*/ 259760 h 270182"/>
                <a:gd name="connsiteX5" fmla="*/ 14134 w 117372"/>
                <a:gd name="connsiteY5" fmla="*/ 125928 h 270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7372" h="270182">
                  <a:moveTo>
                    <a:pt x="14134" y="125928"/>
                  </a:moveTo>
                  <a:cubicBezTo>
                    <a:pt x="20358" y="91691"/>
                    <a:pt x="20358" y="10769"/>
                    <a:pt x="63933" y="1432"/>
                  </a:cubicBezTo>
                  <a:cubicBezTo>
                    <a:pt x="175978" y="-20355"/>
                    <a:pt x="79494" y="213075"/>
                    <a:pt x="63933" y="253536"/>
                  </a:cubicBezTo>
                  <a:cubicBezTo>
                    <a:pt x="57707" y="269098"/>
                    <a:pt x="42145" y="272210"/>
                    <a:pt x="29696" y="269098"/>
                  </a:cubicBezTo>
                  <a:cubicBezTo>
                    <a:pt x="23471" y="269098"/>
                    <a:pt x="20358" y="265985"/>
                    <a:pt x="17247" y="259760"/>
                  </a:cubicBezTo>
                  <a:cubicBezTo>
                    <a:pt x="-13877" y="225524"/>
                    <a:pt x="4796" y="169501"/>
                    <a:pt x="14134" y="125928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6" name="任意多边形: 形状 395">
              <a:extLst>
                <a:ext uri="{FF2B5EF4-FFF2-40B4-BE49-F238E27FC236}">
                  <a16:creationId xmlns:a16="http://schemas.microsoft.com/office/drawing/2014/main" id="{B04ABF17-384D-41FC-B6F0-B97C566283B1}"/>
                </a:ext>
              </a:extLst>
            </p:cNvPr>
            <p:cNvSpPr/>
            <p:nvPr/>
          </p:nvSpPr>
          <p:spPr>
            <a:xfrm>
              <a:off x="12992863" y="3508581"/>
              <a:ext cx="115115" cy="270182"/>
            </a:xfrm>
            <a:custGeom>
              <a:avLst/>
              <a:gdLst>
                <a:gd name="connsiteX0" fmla="*/ 11877 w 115115"/>
                <a:gd name="connsiteY0" fmla="*/ 125928 h 270182"/>
                <a:gd name="connsiteX1" fmla="*/ 61675 w 115115"/>
                <a:gd name="connsiteY1" fmla="*/ 1432 h 270182"/>
                <a:gd name="connsiteX2" fmla="*/ 61675 w 115115"/>
                <a:gd name="connsiteY2" fmla="*/ 253536 h 270182"/>
                <a:gd name="connsiteX3" fmla="*/ 27439 w 115115"/>
                <a:gd name="connsiteY3" fmla="*/ 269098 h 270182"/>
                <a:gd name="connsiteX4" fmla="*/ 14990 w 115115"/>
                <a:gd name="connsiteY4" fmla="*/ 259760 h 270182"/>
                <a:gd name="connsiteX5" fmla="*/ 11877 w 115115"/>
                <a:gd name="connsiteY5" fmla="*/ 125928 h 270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15" h="270182">
                  <a:moveTo>
                    <a:pt x="11877" y="125928"/>
                  </a:moveTo>
                  <a:cubicBezTo>
                    <a:pt x="18102" y="91691"/>
                    <a:pt x="18102" y="10769"/>
                    <a:pt x="61675" y="1432"/>
                  </a:cubicBezTo>
                  <a:cubicBezTo>
                    <a:pt x="173722" y="-20355"/>
                    <a:pt x="77237" y="213074"/>
                    <a:pt x="61675" y="253536"/>
                  </a:cubicBezTo>
                  <a:cubicBezTo>
                    <a:pt x="55450" y="269098"/>
                    <a:pt x="39888" y="272210"/>
                    <a:pt x="27439" y="269098"/>
                  </a:cubicBezTo>
                  <a:cubicBezTo>
                    <a:pt x="21215" y="269098"/>
                    <a:pt x="18102" y="265985"/>
                    <a:pt x="14990" y="259760"/>
                  </a:cubicBezTo>
                  <a:cubicBezTo>
                    <a:pt x="-13022" y="225524"/>
                    <a:pt x="5653" y="169501"/>
                    <a:pt x="11877" y="125928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97" name="图形 1">
              <a:extLst>
                <a:ext uri="{FF2B5EF4-FFF2-40B4-BE49-F238E27FC236}">
                  <a16:creationId xmlns:a16="http://schemas.microsoft.com/office/drawing/2014/main" id="{00A64FB6-BD0D-4CF0-AF4B-92F133967EE0}"/>
                </a:ext>
              </a:extLst>
            </p:cNvPr>
            <p:cNvGrpSpPr/>
            <p:nvPr/>
          </p:nvGrpSpPr>
          <p:grpSpPr>
            <a:xfrm>
              <a:off x="8438861" y="3730993"/>
              <a:ext cx="4568991" cy="2891767"/>
              <a:chOff x="8438861" y="3730993"/>
              <a:chExt cx="4568991" cy="2891767"/>
            </a:xfrm>
          </p:grpSpPr>
          <p:sp>
            <p:nvSpPr>
              <p:cNvPr id="398" name="任意多边形: 形状 397">
                <a:extLst>
                  <a:ext uri="{FF2B5EF4-FFF2-40B4-BE49-F238E27FC236}">
                    <a16:creationId xmlns:a16="http://schemas.microsoft.com/office/drawing/2014/main" id="{516C45E4-D8F0-413E-9F6F-E8BD44C87911}"/>
                  </a:ext>
                </a:extLst>
              </p:cNvPr>
              <p:cNvSpPr/>
              <p:nvPr/>
            </p:nvSpPr>
            <p:spPr>
              <a:xfrm>
                <a:off x="8622493" y="3765229"/>
                <a:ext cx="3271124" cy="2857531"/>
              </a:xfrm>
              <a:custGeom>
                <a:avLst/>
                <a:gdLst>
                  <a:gd name="connsiteX0" fmla="*/ 130720 w 3271124"/>
                  <a:gd name="connsiteY0" fmla="*/ 2605072 h 2857531"/>
                  <a:gd name="connsiteX1" fmla="*/ 0 w 3271124"/>
                  <a:gd name="connsiteY1" fmla="*/ 1680692 h 2857531"/>
                  <a:gd name="connsiteX2" fmla="*/ 1621556 w 3271124"/>
                  <a:gd name="connsiteY2" fmla="*/ 0 h 2857531"/>
                  <a:gd name="connsiteX3" fmla="*/ 3271124 w 3271124"/>
                  <a:gd name="connsiteY3" fmla="*/ 1932795 h 2857531"/>
                  <a:gd name="connsiteX4" fmla="*/ 3068819 w 3271124"/>
                  <a:gd name="connsiteY4" fmla="*/ 2847839 h 2857531"/>
                  <a:gd name="connsiteX5" fmla="*/ 130720 w 3271124"/>
                  <a:gd name="connsiteY5" fmla="*/ 2605072 h 2857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71124" h="2857531">
                    <a:moveTo>
                      <a:pt x="130720" y="2605072"/>
                    </a:moveTo>
                    <a:cubicBezTo>
                      <a:pt x="130720" y="2605072"/>
                      <a:pt x="168069" y="1907896"/>
                      <a:pt x="0" y="1680692"/>
                    </a:cubicBezTo>
                    <a:cubicBezTo>
                      <a:pt x="0" y="1680692"/>
                      <a:pt x="1378789" y="718963"/>
                      <a:pt x="1621556" y="0"/>
                    </a:cubicBezTo>
                    <a:cubicBezTo>
                      <a:pt x="1621556" y="0"/>
                      <a:pt x="2639308" y="1584208"/>
                      <a:pt x="3271124" y="1932795"/>
                    </a:cubicBezTo>
                    <a:cubicBezTo>
                      <a:pt x="3271124" y="1932795"/>
                      <a:pt x="3019020" y="2443228"/>
                      <a:pt x="3068819" y="2847839"/>
                    </a:cubicBezTo>
                    <a:cubicBezTo>
                      <a:pt x="3068819" y="2850951"/>
                      <a:pt x="781210" y="2925648"/>
                      <a:pt x="130720" y="2605072"/>
                    </a:cubicBezTo>
                    <a:close/>
                  </a:path>
                </a:pathLst>
              </a:custGeom>
              <a:solidFill>
                <a:srgbClr val="F1DDBA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9" name="任意多边形: 形状 398">
                <a:extLst>
                  <a:ext uri="{FF2B5EF4-FFF2-40B4-BE49-F238E27FC236}">
                    <a16:creationId xmlns:a16="http://schemas.microsoft.com/office/drawing/2014/main" id="{877D79B6-1063-4AB7-91B4-D77B1E1E37CD}"/>
                  </a:ext>
                </a:extLst>
              </p:cNvPr>
              <p:cNvSpPr/>
              <p:nvPr/>
            </p:nvSpPr>
            <p:spPr>
              <a:xfrm>
                <a:off x="11686135" y="5501944"/>
                <a:ext cx="1321717" cy="1114236"/>
              </a:xfrm>
              <a:custGeom>
                <a:avLst/>
                <a:gdLst>
                  <a:gd name="connsiteX0" fmla="*/ 5176 w 1321717"/>
                  <a:gd name="connsiteY0" fmla="*/ 1114236 h 1114236"/>
                  <a:gd name="connsiteX1" fmla="*/ 954455 w 1321717"/>
                  <a:gd name="connsiteY1" fmla="*/ 849683 h 1114236"/>
                  <a:gd name="connsiteX2" fmla="*/ 1321717 w 1321717"/>
                  <a:gd name="connsiteY2" fmla="*/ 0 h 1114236"/>
                  <a:gd name="connsiteX3" fmla="*/ 207481 w 1321717"/>
                  <a:gd name="connsiteY3" fmla="*/ 199193 h 1114236"/>
                  <a:gd name="connsiteX4" fmla="*/ 5176 w 1321717"/>
                  <a:gd name="connsiteY4" fmla="*/ 1114236 h 1114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1717" h="1114236">
                    <a:moveTo>
                      <a:pt x="5176" y="1114236"/>
                    </a:moveTo>
                    <a:cubicBezTo>
                      <a:pt x="5176" y="1114236"/>
                      <a:pt x="708576" y="887032"/>
                      <a:pt x="954455" y="849683"/>
                    </a:cubicBezTo>
                    <a:cubicBezTo>
                      <a:pt x="954455" y="849683"/>
                      <a:pt x="1116299" y="273891"/>
                      <a:pt x="1321717" y="0"/>
                    </a:cubicBezTo>
                    <a:cubicBezTo>
                      <a:pt x="1321717" y="0"/>
                      <a:pt x="453360" y="84035"/>
                      <a:pt x="207481" y="199193"/>
                    </a:cubicBezTo>
                    <a:cubicBezTo>
                      <a:pt x="207481" y="199193"/>
                      <a:pt x="-38398" y="681614"/>
                      <a:pt x="5176" y="1114236"/>
                    </a:cubicBezTo>
                    <a:close/>
                  </a:path>
                </a:pathLst>
              </a:custGeom>
              <a:solidFill>
                <a:srgbClr val="EACFA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0" name="任意多边形: 形状 399">
                <a:extLst>
                  <a:ext uri="{FF2B5EF4-FFF2-40B4-BE49-F238E27FC236}">
                    <a16:creationId xmlns:a16="http://schemas.microsoft.com/office/drawing/2014/main" id="{048432EF-38B0-4ABD-9D97-9D7380878A14}"/>
                  </a:ext>
                </a:extLst>
              </p:cNvPr>
              <p:cNvSpPr/>
              <p:nvPr/>
            </p:nvSpPr>
            <p:spPr>
              <a:xfrm>
                <a:off x="10244049" y="3768341"/>
                <a:ext cx="2763804" cy="1932795"/>
              </a:xfrm>
              <a:custGeom>
                <a:avLst/>
                <a:gdLst>
                  <a:gd name="connsiteX0" fmla="*/ 0 w 2763804"/>
                  <a:gd name="connsiteY0" fmla="*/ 0 h 1932795"/>
                  <a:gd name="connsiteX1" fmla="*/ 1036427 w 2763804"/>
                  <a:gd name="connsiteY1" fmla="*/ 121383 h 1932795"/>
                  <a:gd name="connsiteX2" fmla="*/ 2763804 w 2763804"/>
                  <a:gd name="connsiteY2" fmla="*/ 1733602 h 1932795"/>
                  <a:gd name="connsiteX3" fmla="*/ 1649568 w 2763804"/>
                  <a:gd name="connsiteY3" fmla="*/ 1932795 h 1932795"/>
                  <a:gd name="connsiteX4" fmla="*/ 0 w 2763804"/>
                  <a:gd name="connsiteY4" fmla="*/ 0 h 1932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3804" h="1932795">
                    <a:moveTo>
                      <a:pt x="0" y="0"/>
                    </a:moveTo>
                    <a:cubicBezTo>
                      <a:pt x="0" y="0"/>
                      <a:pt x="432623" y="149395"/>
                      <a:pt x="1036427" y="121383"/>
                    </a:cubicBezTo>
                    <a:cubicBezTo>
                      <a:pt x="1036427" y="121383"/>
                      <a:pt x="2160000" y="1490836"/>
                      <a:pt x="2763804" y="1733602"/>
                    </a:cubicBezTo>
                    <a:cubicBezTo>
                      <a:pt x="2763804" y="1733602"/>
                      <a:pt x="2047954" y="1814525"/>
                      <a:pt x="1649568" y="1932795"/>
                    </a:cubicBezTo>
                    <a:cubicBezTo>
                      <a:pt x="1649568" y="1932795"/>
                      <a:pt x="887032" y="1490836"/>
                      <a:pt x="0" y="0"/>
                    </a:cubicBezTo>
                    <a:close/>
                  </a:path>
                </a:pathLst>
              </a:custGeom>
              <a:solidFill>
                <a:srgbClr val="FCE8CA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1" name="任意多边形: 形状 400">
                <a:extLst>
                  <a:ext uri="{FF2B5EF4-FFF2-40B4-BE49-F238E27FC236}">
                    <a16:creationId xmlns:a16="http://schemas.microsoft.com/office/drawing/2014/main" id="{EA967C6A-884A-4BAD-B770-4CC966C68A65}"/>
                  </a:ext>
                </a:extLst>
              </p:cNvPr>
              <p:cNvSpPr/>
              <p:nvPr/>
            </p:nvSpPr>
            <p:spPr>
              <a:xfrm>
                <a:off x="8581633" y="3730993"/>
                <a:ext cx="3349729" cy="2007492"/>
              </a:xfrm>
              <a:custGeom>
                <a:avLst/>
                <a:gdLst>
                  <a:gd name="connsiteX0" fmla="*/ 3311983 w 3349729"/>
                  <a:gd name="connsiteY0" fmla="*/ 2007493 h 2007492"/>
                  <a:gd name="connsiteX1" fmla="*/ 3290196 w 3349729"/>
                  <a:gd name="connsiteY1" fmla="*/ 2001268 h 2007492"/>
                  <a:gd name="connsiteX2" fmla="*/ 1668640 w 3349729"/>
                  <a:gd name="connsiteY2" fmla="*/ 121383 h 2007492"/>
                  <a:gd name="connsiteX3" fmla="*/ 59533 w 3349729"/>
                  <a:gd name="connsiteY3" fmla="*/ 1746052 h 2007492"/>
                  <a:gd name="connsiteX4" fmla="*/ 6623 w 3349729"/>
                  <a:gd name="connsiteY4" fmla="*/ 1736715 h 2007492"/>
                  <a:gd name="connsiteX5" fmla="*/ 15960 w 3349729"/>
                  <a:gd name="connsiteY5" fmla="*/ 1683804 h 2007492"/>
                  <a:gd name="connsiteX6" fmla="*/ 1625067 w 3349729"/>
                  <a:gd name="connsiteY6" fmla="*/ 24899 h 2007492"/>
                  <a:gd name="connsiteX7" fmla="*/ 1656190 w 3349729"/>
                  <a:gd name="connsiteY7" fmla="*/ 0 h 2007492"/>
                  <a:gd name="connsiteX8" fmla="*/ 1693539 w 3349729"/>
                  <a:gd name="connsiteY8" fmla="*/ 18674 h 2007492"/>
                  <a:gd name="connsiteX9" fmla="*/ 3333770 w 3349729"/>
                  <a:gd name="connsiteY9" fmla="*/ 1942133 h 2007492"/>
                  <a:gd name="connsiteX10" fmla="*/ 3343107 w 3349729"/>
                  <a:gd name="connsiteY10" fmla="*/ 1995043 h 2007492"/>
                  <a:gd name="connsiteX11" fmla="*/ 3311983 w 3349729"/>
                  <a:gd name="connsiteY11" fmla="*/ 2007493 h 2007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49729" h="2007492">
                    <a:moveTo>
                      <a:pt x="3311983" y="2007493"/>
                    </a:moveTo>
                    <a:cubicBezTo>
                      <a:pt x="3305758" y="2007493"/>
                      <a:pt x="3296421" y="2004380"/>
                      <a:pt x="3290196" y="2001268"/>
                    </a:cubicBezTo>
                    <a:cubicBezTo>
                      <a:pt x="2527660" y="1469049"/>
                      <a:pt x="1839821" y="398386"/>
                      <a:pt x="1668640" y="121383"/>
                    </a:cubicBezTo>
                    <a:cubicBezTo>
                      <a:pt x="1348064" y="868357"/>
                      <a:pt x="112444" y="1708703"/>
                      <a:pt x="59533" y="1746052"/>
                    </a:cubicBezTo>
                    <a:cubicBezTo>
                      <a:pt x="40859" y="1758502"/>
                      <a:pt x="19072" y="1752277"/>
                      <a:pt x="6623" y="1736715"/>
                    </a:cubicBezTo>
                    <a:cubicBezTo>
                      <a:pt x="-5827" y="1718040"/>
                      <a:pt x="398" y="1696254"/>
                      <a:pt x="15960" y="1683804"/>
                    </a:cubicBezTo>
                    <a:cubicBezTo>
                      <a:pt x="28409" y="1674467"/>
                      <a:pt x="1366738" y="762536"/>
                      <a:pt x="1625067" y="24899"/>
                    </a:cubicBezTo>
                    <a:cubicBezTo>
                      <a:pt x="1631291" y="12450"/>
                      <a:pt x="1643741" y="0"/>
                      <a:pt x="1656190" y="0"/>
                    </a:cubicBezTo>
                    <a:cubicBezTo>
                      <a:pt x="1671752" y="0"/>
                      <a:pt x="1684202" y="6225"/>
                      <a:pt x="1693539" y="18674"/>
                    </a:cubicBezTo>
                    <a:cubicBezTo>
                      <a:pt x="1699764" y="31124"/>
                      <a:pt x="2471638" y="1338329"/>
                      <a:pt x="3333770" y="1942133"/>
                    </a:cubicBezTo>
                    <a:cubicBezTo>
                      <a:pt x="3349332" y="1954582"/>
                      <a:pt x="3355557" y="1976369"/>
                      <a:pt x="3343107" y="1995043"/>
                    </a:cubicBezTo>
                    <a:cubicBezTo>
                      <a:pt x="3336882" y="2001268"/>
                      <a:pt x="3324433" y="2007493"/>
                      <a:pt x="3311983" y="2007493"/>
                    </a:cubicBezTo>
                    <a:close/>
                  </a:path>
                </a:pathLst>
              </a:custGeom>
              <a:solidFill>
                <a:srgbClr val="EACFA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2" name="任意多边形: 形状 401">
                <a:extLst>
                  <a:ext uri="{FF2B5EF4-FFF2-40B4-BE49-F238E27FC236}">
                    <a16:creationId xmlns:a16="http://schemas.microsoft.com/office/drawing/2014/main" id="{33C9686F-6C2A-49CE-A04C-872717FDDF46}"/>
                  </a:ext>
                </a:extLst>
              </p:cNvPr>
              <p:cNvSpPr/>
              <p:nvPr/>
            </p:nvSpPr>
            <p:spPr>
              <a:xfrm>
                <a:off x="9674481" y="3852376"/>
                <a:ext cx="880900" cy="2765953"/>
              </a:xfrm>
              <a:custGeom>
                <a:avLst/>
                <a:gdLst>
                  <a:gd name="connsiteX0" fmla="*/ 575793 w 880900"/>
                  <a:gd name="connsiteY0" fmla="*/ 0 h 2765953"/>
                  <a:gd name="connsiteX1" fmla="*/ 0 w 880900"/>
                  <a:gd name="connsiteY1" fmla="*/ 2729568 h 2765953"/>
                  <a:gd name="connsiteX2" fmla="*/ 880807 w 880900"/>
                  <a:gd name="connsiteY2" fmla="*/ 2760692 h 2765953"/>
                  <a:gd name="connsiteX3" fmla="*/ 575793 w 880900"/>
                  <a:gd name="connsiteY3" fmla="*/ 0 h 2765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0900" h="2765953">
                    <a:moveTo>
                      <a:pt x="575793" y="0"/>
                    </a:moveTo>
                    <a:cubicBezTo>
                      <a:pt x="575793" y="0"/>
                      <a:pt x="0" y="1839424"/>
                      <a:pt x="0" y="2729568"/>
                    </a:cubicBezTo>
                    <a:cubicBezTo>
                      <a:pt x="0" y="2729568"/>
                      <a:pt x="591354" y="2782479"/>
                      <a:pt x="880807" y="2760692"/>
                    </a:cubicBezTo>
                    <a:cubicBezTo>
                      <a:pt x="883919" y="2763804"/>
                      <a:pt x="809222" y="600692"/>
                      <a:pt x="575793" y="0"/>
                    </a:cubicBezTo>
                    <a:close/>
                  </a:path>
                </a:pathLst>
              </a:custGeom>
              <a:solidFill>
                <a:srgbClr val="EACFA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3" name="任意多边形: 形状 402">
                <a:extLst>
                  <a:ext uri="{FF2B5EF4-FFF2-40B4-BE49-F238E27FC236}">
                    <a16:creationId xmlns:a16="http://schemas.microsoft.com/office/drawing/2014/main" id="{ACDA5E5D-FE36-4EAF-A45F-9712E4B1396E}"/>
                  </a:ext>
                </a:extLst>
              </p:cNvPr>
              <p:cNvSpPr/>
              <p:nvPr/>
            </p:nvSpPr>
            <p:spPr>
              <a:xfrm>
                <a:off x="8438861" y="3855484"/>
                <a:ext cx="1811411" cy="2729571"/>
              </a:xfrm>
              <a:custGeom>
                <a:avLst/>
                <a:gdLst>
                  <a:gd name="connsiteX0" fmla="*/ 1235620 w 1811411"/>
                  <a:gd name="connsiteY0" fmla="*/ 2729572 h 2729571"/>
                  <a:gd name="connsiteX1" fmla="*/ 0 w 1811411"/>
                  <a:gd name="connsiteY1" fmla="*/ 354817 h 2729571"/>
                  <a:gd name="connsiteX2" fmla="*/ 1811412 w 1811411"/>
                  <a:gd name="connsiteY2" fmla="*/ 4 h 2729571"/>
                  <a:gd name="connsiteX3" fmla="*/ 1235620 w 1811411"/>
                  <a:gd name="connsiteY3" fmla="*/ 2729572 h 2729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11411" h="2729571">
                    <a:moveTo>
                      <a:pt x="1235620" y="2729572"/>
                    </a:moveTo>
                    <a:cubicBezTo>
                      <a:pt x="1235620" y="2729572"/>
                      <a:pt x="1111124" y="1886114"/>
                      <a:pt x="0" y="354817"/>
                    </a:cubicBezTo>
                    <a:cubicBezTo>
                      <a:pt x="0" y="354817"/>
                      <a:pt x="1142248" y="653606"/>
                      <a:pt x="1811412" y="4"/>
                    </a:cubicBezTo>
                    <a:cubicBezTo>
                      <a:pt x="1811412" y="-3109"/>
                      <a:pt x="1341441" y="1805191"/>
                      <a:pt x="1235620" y="2729572"/>
                    </a:cubicBezTo>
                    <a:close/>
                  </a:path>
                </a:pathLst>
              </a:custGeom>
              <a:solidFill>
                <a:srgbClr val="FCE8CA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04" name="任意多边形: 形状 403">
              <a:extLst>
                <a:ext uri="{FF2B5EF4-FFF2-40B4-BE49-F238E27FC236}">
                  <a16:creationId xmlns:a16="http://schemas.microsoft.com/office/drawing/2014/main" id="{3FFCC68B-CF83-42EF-BE99-634FBDA65311}"/>
                </a:ext>
              </a:extLst>
            </p:cNvPr>
            <p:cNvSpPr/>
            <p:nvPr/>
          </p:nvSpPr>
          <p:spPr>
            <a:xfrm>
              <a:off x="11919294" y="3653183"/>
              <a:ext cx="1155168" cy="2508587"/>
            </a:xfrm>
            <a:custGeom>
              <a:avLst/>
              <a:gdLst>
                <a:gd name="connsiteX0" fmla="*/ 655937 w 1155168"/>
                <a:gd name="connsiteY0" fmla="*/ 2508588 h 2508587"/>
                <a:gd name="connsiteX1" fmla="*/ 273112 w 1155168"/>
                <a:gd name="connsiteY1" fmla="*/ 2321844 h 2508587"/>
                <a:gd name="connsiteX2" fmla="*/ 2334 w 1155168"/>
                <a:gd name="connsiteY2" fmla="*/ 2072853 h 2508587"/>
                <a:gd name="connsiteX3" fmla="*/ 2334 w 1155168"/>
                <a:gd name="connsiteY3" fmla="*/ 2063516 h 2508587"/>
                <a:gd name="connsiteX4" fmla="*/ 11671 w 1155168"/>
                <a:gd name="connsiteY4" fmla="*/ 2063516 h 2508587"/>
                <a:gd name="connsiteX5" fmla="*/ 724409 w 1155168"/>
                <a:gd name="connsiteY5" fmla="*/ 2480577 h 2508587"/>
                <a:gd name="connsiteX6" fmla="*/ 1141470 w 1155168"/>
                <a:gd name="connsiteY6" fmla="*/ 6225 h 2508587"/>
                <a:gd name="connsiteX7" fmla="*/ 1147694 w 1155168"/>
                <a:gd name="connsiteY7" fmla="*/ 0 h 2508587"/>
                <a:gd name="connsiteX8" fmla="*/ 1153919 w 1155168"/>
                <a:gd name="connsiteY8" fmla="*/ 6225 h 2508587"/>
                <a:gd name="connsiteX9" fmla="*/ 1041873 w 1155168"/>
                <a:gd name="connsiteY9" fmla="*/ 1363228 h 2508587"/>
                <a:gd name="connsiteX10" fmla="*/ 730634 w 1155168"/>
                <a:gd name="connsiteY10" fmla="*/ 2493026 h 2508587"/>
                <a:gd name="connsiteX11" fmla="*/ 655937 w 1155168"/>
                <a:gd name="connsiteY11" fmla="*/ 2508588 h 2508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55168" h="2508587">
                  <a:moveTo>
                    <a:pt x="655937" y="2508588"/>
                  </a:moveTo>
                  <a:cubicBezTo>
                    <a:pt x="559452" y="2508588"/>
                    <a:pt x="428732" y="2446340"/>
                    <a:pt x="273112" y="2321844"/>
                  </a:cubicBezTo>
                  <a:cubicBezTo>
                    <a:pt x="123718" y="2206686"/>
                    <a:pt x="5447" y="2075966"/>
                    <a:pt x="2334" y="2072853"/>
                  </a:cubicBezTo>
                  <a:cubicBezTo>
                    <a:pt x="-778" y="2069741"/>
                    <a:pt x="-778" y="2066628"/>
                    <a:pt x="2334" y="2063516"/>
                  </a:cubicBezTo>
                  <a:cubicBezTo>
                    <a:pt x="5447" y="2060404"/>
                    <a:pt x="8559" y="2060404"/>
                    <a:pt x="11671" y="2063516"/>
                  </a:cubicBezTo>
                  <a:cubicBezTo>
                    <a:pt x="17896" y="2069741"/>
                    <a:pt x="487868" y="2580173"/>
                    <a:pt x="724409" y="2480577"/>
                  </a:cubicBezTo>
                  <a:cubicBezTo>
                    <a:pt x="957838" y="2384092"/>
                    <a:pt x="1160144" y="448184"/>
                    <a:pt x="1141470" y="6225"/>
                  </a:cubicBezTo>
                  <a:cubicBezTo>
                    <a:pt x="1141470" y="3112"/>
                    <a:pt x="1144582" y="0"/>
                    <a:pt x="1147694" y="0"/>
                  </a:cubicBezTo>
                  <a:cubicBezTo>
                    <a:pt x="1150807" y="0"/>
                    <a:pt x="1153919" y="3112"/>
                    <a:pt x="1153919" y="6225"/>
                  </a:cubicBezTo>
                  <a:cubicBezTo>
                    <a:pt x="1163256" y="205418"/>
                    <a:pt x="1119683" y="796772"/>
                    <a:pt x="1041873" y="1363228"/>
                  </a:cubicBezTo>
                  <a:cubicBezTo>
                    <a:pt x="985850" y="1758502"/>
                    <a:pt x="873804" y="2433891"/>
                    <a:pt x="730634" y="2493026"/>
                  </a:cubicBezTo>
                  <a:cubicBezTo>
                    <a:pt x="705735" y="2505476"/>
                    <a:pt x="680836" y="2508588"/>
                    <a:pt x="655937" y="2508588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05" name="图形 1">
              <a:extLst>
                <a:ext uri="{FF2B5EF4-FFF2-40B4-BE49-F238E27FC236}">
                  <a16:creationId xmlns:a16="http://schemas.microsoft.com/office/drawing/2014/main" id="{00A64FB6-BD0D-4CF0-AF4B-92F133967EE0}"/>
                </a:ext>
              </a:extLst>
            </p:cNvPr>
            <p:cNvGrpSpPr/>
            <p:nvPr/>
          </p:nvGrpSpPr>
          <p:grpSpPr>
            <a:xfrm>
              <a:off x="12879813" y="3583839"/>
              <a:ext cx="212485" cy="191225"/>
              <a:chOff x="12879813" y="3583839"/>
              <a:chExt cx="212485" cy="191225"/>
            </a:xfrm>
          </p:grpSpPr>
          <p:sp>
            <p:nvSpPr>
              <p:cNvPr id="406" name="任意多边形: 形状 405">
                <a:extLst>
                  <a:ext uri="{FF2B5EF4-FFF2-40B4-BE49-F238E27FC236}">
                    <a16:creationId xmlns:a16="http://schemas.microsoft.com/office/drawing/2014/main" id="{29F4816C-246D-429A-8FAA-2BC1F5A950A3}"/>
                  </a:ext>
                </a:extLst>
              </p:cNvPr>
              <p:cNvSpPr/>
              <p:nvPr/>
            </p:nvSpPr>
            <p:spPr>
              <a:xfrm>
                <a:off x="12879813" y="3583839"/>
                <a:ext cx="172013" cy="83023"/>
              </a:xfrm>
              <a:custGeom>
                <a:avLst/>
                <a:gdLst>
                  <a:gd name="connsiteX0" fmla="*/ 6656 w 172013"/>
                  <a:gd name="connsiteY0" fmla="*/ 25771 h 83023"/>
                  <a:gd name="connsiteX1" fmla="*/ 109365 w 172013"/>
                  <a:gd name="connsiteY1" fmla="*/ 3984 h 83023"/>
                  <a:gd name="connsiteX2" fmla="*/ 124927 w 172013"/>
                  <a:gd name="connsiteY2" fmla="*/ 871 h 83023"/>
                  <a:gd name="connsiteX3" fmla="*/ 143601 w 172013"/>
                  <a:gd name="connsiteY3" fmla="*/ 3984 h 83023"/>
                  <a:gd name="connsiteX4" fmla="*/ 171612 w 172013"/>
                  <a:gd name="connsiteY4" fmla="*/ 47557 h 83023"/>
                  <a:gd name="connsiteX5" fmla="*/ 128039 w 172013"/>
                  <a:gd name="connsiteY5" fmla="*/ 72457 h 83023"/>
                  <a:gd name="connsiteX6" fmla="*/ 59566 w 172013"/>
                  <a:gd name="connsiteY6" fmla="*/ 81794 h 83023"/>
                  <a:gd name="connsiteX7" fmla="*/ 9769 w 172013"/>
                  <a:gd name="connsiteY7" fmla="*/ 72457 h 83023"/>
                  <a:gd name="connsiteX8" fmla="*/ 6656 w 172013"/>
                  <a:gd name="connsiteY8" fmla="*/ 25771 h 83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2013" h="83023">
                    <a:moveTo>
                      <a:pt x="6656" y="25771"/>
                    </a:moveTo>
                    <a:cubicBezTo>
                      <a:pt x="28442" y="3984"/>
                      <a:pt x="68904" y="7096"/>
                      <a:pt x="109365" y="3984"/>
                    </a:cubicBezTo>
                    <a:cubicBezTo>
                      <a:pt x="112477" y="3984"/>
                      <a:pt x="121814" y="-2241"/>
                      <a:pt x="124927" y="871"/>
                    </a:cubicBezTo>
                    <a:cubicBezTo>
                      <a:pt x="131152" y="871"/>
                      <a:pt x="137376" y="871"/>
                      <a:pt x="143601" y="3984"/>
                    </a:cubicBezTo>
                    <a:cubicBezTo>
                      <a:pt x="159163" y="10209"/>
                      <a:pt x="174725" y="28883"/>
                      <a:pt x="171612" y="47557"/>
                    </a:cubicBezTo>
                    <a:cubicBezTo>
                      <a:pt x="168500" y="66232"/>
                      <a:pt x="143601" y="69344"/>
                      <a:pt x="128039" y="72457"/>
                    </a:cubicBezTo>
                    <a:cubicBezTo>
                      <a:pt x="106252" y="75569"/>
                      <a:pt x="84466" y="78681"/>
                      <a:pt x="59566" y="81794"/>
                    </a:cubicBezTo>
                    <a:cubicBezTo>
                      <a:pt x="44004" y="81794"/>
                      <a:pt x="25331" y="88019"/>
                      <a:pt x="9769" y="72457"/>
                    </a:cubicBezTo>
                    <a:cubicBezTo>
                      <a:pt x="-2682" y="53782"/>
                      <a:pt x="-2682" y="35108"/>
                      <a:pt x="6656" y="2577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7" name="任意多边形: 形状 406">
                <a:extLst>
                  <a:ext uri="{FF2B5EF4-FFF2-40B4-BE49-F238E27FC236}">
                    <a16:creationId xmlns:a16="http://schemas.microsoft.com/office/drawing/2014/main" id="{0C9F5D4D-E465-4D81-BD7B-F582481CBB45}"/>
                  </a:ext>
                </a:extLst>
              </p:cNvPr>
              <p:cNvSpPr/>
              <p:nvPr/>
            </p:nvSpPr>
            <p:spPr>
              <a:xfrm>
                <a:off x="12912146" y="3628284"/>
                <a:ext cx="170804" cy="82151"/>
              </a:xfrm>
              <a:custGeom>
                <a:avLst/>
                <a:gdLst>
                  <a:gd name="connsiteX0" fmla="*/ 5447 w 170804"/>
                  <a:gd name="connsiteY0" fmla="*/ 28012 h 82151"/>
                  <a:gd name="connsiteX1" fmla="*/ 114381 w 170804"/>
                  <a:gd name="connsiteY1" fmla="*/ 0 h 82151"/>
                  <a:gd name="connsiteX2" fmla="*/ 123718 w 170804"/>
                  <a:gd name="connsiteY2" fmla="*/ 0 h 82151"/>
                  <a:gd name="connsiteX3" fmla="*/ 142392 w 170804"/>
                  <a:gd name="connsiteY3" fmla="*/ 3112 h 82151"/>
                  <a:gd name="connsiteX4" fmla="*/ 170403 w 170804"/>
                  <a:gd name="connsiteY4" fmla="*/ 46686 h 82151"/>
                  <a:gd name="connsiteX5" fmla="*/ 126830 w 170804"/>
                  <a:gd name="connsiteY5" fmla="*/ 71585 h 82151"/>
                  <a:gd name="connsiteX6" fmla="*/ 58357 w 170804"/>
                  <a:gd name="connsiteY6" fmla="*/ 80922 h 82151"/>
                  <a:gd name="connsiteX7" fmla="*/ 8560 w 170804"/>
                  <a:gd name="connsiteY7" fmla="*/ 71585 h 82151"/>
                  <a:gd name="connsiteX8" fmla="*/ 5447 w 170804"/>
                  <a:gd name="connsiteY8" fmla="*/ 28012 h 82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0804" h="82151">
                    <a:moveTo>
                      <a:pt x="5447" y="28012"/>
                    </a:moveTo>
                    <a:cubicBezTo>
                      <a:pt x="30346" y="-3112"/>
                      <a:pt x="77032" y="6225"/>
                      <a:pt x="114381" y="0"/>
                    </a:cubicBezTo>
                    <a:cubicBezTo>
                      <a:pt x="117493" y="0"/>
                      <a:pt x="120605" y="0"/>
                      <a:pt x="123718" y="0"/>
                    </a:cubicBezTo>
                    <a:cubicBezTo>
                      <a:pt x="129943" y="0"/>
                      <a:pt x="136167" y="0"/>
                      <a:pt x="142392" y="3112"/>
                    </a:cubicBezTo>
                    <a:cubicBezTo>
                      <a:pt x="157954" y="9337"/>
                      <a:pt x="173516" y="28012"/>
                      <a:pt x="170403" y="46686"/>
                    </a:cubicBezTo>
                    <a:cubicBezTo>
                      <a:pt x="167291" y="65360"/>
                      <a:pt x="142392" y="68473"/>
                      <a:pt x="126830" y="71585"/>
                    </a:cubicBezTo>
                    <a:cubicBezTo>
                      <a:pt x="105043" y="74697"/>
                      <a:pt x="83257" y="77810"/>
                      <a:pt x="58357" y="80922"/>
                    </a:cubicBezTo>
                    <a:cubicBezTo>
                      <a:pt x="42795" y="80922"/>
                      <a:pt x="24122" y="87147"/>
                      <a:pt x="8560" y="71585"/>
                    </a:cubicBezTo>
                    <a:cubicBezTo>
                      <a:pt x="-3891" y="56023"/>
                      <a:pt x="-778" y="40461"/>
                      <a:pt x="5447" y="2801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8" name="任意多边形: 形状 407">
                <a:extLst>
                  <a:ext uri="{FF2B5EF4-FFF2-40B4-BE49-F238E27FC236}">
                    <a16:creationId xmlns:a16="http://schemas.microsoft.com/office/drawing/2014/main" id="{64223E26-9E8E-4A85-A3B3-980CA7C04F27}"/>
                  </a:ext>
                </a:extLst>
              </p:cNvPr>
              <p:cNvSpPr/>
              <p:nvPr/>
            </p:nvSpPr>
            <p:spPr>
              <a:xfrm>
                <a:off x="12937046" y="3678082"/>
                <a:ext cx="148616" cy="73141"/>
              </a:xfrm>
              <a:custGeom>
                <a:avLst/>
                <a:gdLst>
                  <a:gd name="connsiteX0" fmla="*/ 5446 w 148616"/>
                  <a:gd name="connsiteY0" fmla="*/ 28012 h 73141"/>
                  <a:gd name="connsiteX1" fmla="*/ 98818 w 148616"/>
                  <a:gd name="connsiteY1" fmla="*/ 0 h 73141"/>
                  <a:gd name="connsiteX2" fmla="*/ 108156 w 148616"/>
                  <a:gd name="connsiteY2" fmla="*/ 0 h 73141"/>
                  <a:gd name="connsiteX3" fmla="*/ 123718 w 148616"/>
                  <a:gd name="connsiteY3" fmla="*/ 3112 h 73141"/>
                  <a:gd name="connsiteX4" fmla="*/ 148617 w 148616"/>
                  <a:gd name="connsiteY4" fmla="*/ 40461 h 73141"/>
                  <a:gd name="connsiteX5" fmla="*/ 111267 w 148616"/>
                  <a:gd name="connsiteY5" fmla="*/ 62248 h 73141"/>
                  <a:gd name="connsiteX6" fmla="*/ 52132 w 148616"/>
                  <a:gd name="connsiteY6" fmla="*/ 71585 h 73141"/>
                  <a:gd name="connsiteX7" fmla="*/ 8559 w 148616"/>
                  <a:gd name="connsiteY7" fmla="*/ 65360 h 73141"/>
                  <a:gd name="connsiteX8" fmla="*/ 5446 w 148616"/>
                  <a:gd name="connsiteY8" fmla="*/ 28012 h 73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616" h="73141">
                    <a:moveTo>
                      <a:pt x="5446" y="28012"/>
                    </a:moveTo>
                    <a:cubicBezTo>
                      <a:pt x="27233" y="0"/>
                      <a:pt x="67694" y="6225"/>
                      <a:pt x="98818" y="0"/>
                    </a:cubicBezTo>
                    <a:cubicBezTo>
                      <a:pt x="101931" y="0"/>
                      <a:pt x="105043" y="0"/>
                      <a:pt x="108156" y="0"/>
                    </a:cubicBezTo>
                    <a:cubicBezTo>
                      <a:pt x="114380" y="0"/>
                      <a:pt x="117493" y="0"/>
                      <a:pt x="123718" y="3112"/>
                    </a:cubicBezTo>
                    <a:cubicBezTo>
                      <a:pt x="139280" y="9337"/>
                      <a:pt x="148617" y="24899"/>
                      <a:pt x="148617" y="40461"/>
                    </a:cubicBezTo>
                    <a:cubicBezTo>
                      <a:pt x="145504" y="56023"/>
                      <a:pt x="123718" y="59135"/>
                      <a:pt x="111267" y="62248"/>
                    </a:cubicBezTo>
                    <a:cubicBezTo>
                      <a:pt x="92594" y="65360"/>
                      <a:pt x="73919" y="68473"/>
                      <a:pt x="52132" y="71585"/>
                    </a:cubicBezTo>
                    <a:cubicBezTo>
                      <a:pt x="39683" y="71585"/>
                      <a:pt x="21008" y="77810"/>
                      <a:pt x="8559" y="65360"/>
                    </a:cubicBezTo>
                    <a:cubicBezTo>
                      <a:pt x="-3890" y="52911"/>
                      <a:pt x="-778" y="37349"/>
                      <a:pt x="5446" y="2801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9" name="任意多边形: 形状 408">
                <a:extLst>
                  <a:ext uri="{FF2B5EF4-FFF2-40B4-BE49-F238E27FC236}">
                    <a16:creationId xmlns:a16="http://schemas.microsoft.com/office/drawing/2014/main" id="{FE414ABE-6306-4A00-83E3-C0088B59BA62}"/>
                  </a:ext>
                </a:extLst>
              </p:cNvPr>
              <p:cNvSpPr/>
              <p:nvPr/>
            </p:nvSpPr>
            <p:spPr>
              <a:xfrm>
                <a:off x="12966166" y="3727880"/>
                <a:ext cx="110159" cy="47183"/>
              </a:xfrm>
              <a:custGeom>
                <a:avLst/>
                <a:gdLst>
                  <a:gd name="connsiteX0" fmla="*/ 4338 w 110159"/>
                  <a:gd name="connsiteY0" fmla="*/ 21787 h 47183"/>
                  <a:gd name="connsiteX1" fmla="*/ 72811 w 110159"/>
                  <a:gd name="connsiteY1" fmla="*/ 0 h 47183"/>
                  <a:gd name="connsiteX2" fmla="*/ 79036 w 110159"/>
                  <a:gd name="connsiteY2" fmla="*/ 0 h 47183"/>
                  <a:gd name="connsiteX3" fmla="*/ 91485 w 110159"/>
                  <a:gd name="connsiteY3" fmla="*/ 0 h 47183"/>
                  <a:gd name="connsiteX4" fmla="*/ 110160 w 110159"/>
                  <a:gd name="connsiteY4" fmla="*/ 24899 h 47183"/>
                  <a:gd name="connsiteX5" fmla="*/ 82148 w 110159"/>
                  <a:gd name="connsiteY5" fmla="*/ 40461 h 47183"/>
                  <a:gd name="connsiteX6" fmla="*/ 38574 w 110159"/>
                  <a:gd name="connsiteY6" fmla="*/ 46686 h 47183"/>
                  <a:gd name="connsiteX7" fmla="*/ 7450 w 110159"/>
                  <a:gd name="connsiteY7" fmla="*/ 40461 h 47183"/>
                  <a:gd name="connsiteX8" fmla="*/ 4338 w 110159"/>
                  <a:gd name="connsiteY8" fmla="*/ 21787 h 47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159" h="47183">
                    <a:moveTo>
                      <a:pt x="4338" y="21787"/>
                    </a:moveTo>
                    <a:cubicBezTo>
                      <a:pt x="19900" y="0"/>
                      <a:pt x="51024" y="6225"/>
                      <a:pt x="72811" y="0"/>
                    </a:cubicBezTo>
                    <a:cubicBezTo>
                      <a:pt x="75923" y="0"/>
                      <a:pt x="75923" y="0"/>
                      <a:pt x="79036" y="0"/>
                    </a:cubicBezTo>
                    <a:cubicBezTo>
                      <a:pt x="82148" y="0"/>
                      <a:pt x="85260" y="0"/>
                      <a:pt x="91485" y="0"/>
                    </a:cubicBezTo>
                    <a:cubicBezTo>
                      <a:pt x="100822" y="3112"/>
                      <a:pt x="110160" y="15562"/>
                      <a:pt x="110160" y="24899"/>
                    </a:cubicBezTo>
                    <a:cubicBezTo>
                      <a:pt x="107047" y="37349"/>
                      <a:pt x="91485" y="37349"/>
                      <a:pt x="82148" y="40461"/>
                    </a:cubicBezTo>
                    <a:cubicBezTo>
                      <a:pt x="69698" y="43573"/>
                      <a:pt x="54136" y="46686"/>
                      <a:pt x="38574" y="46686"/>
                    </a:cubicBezTo>
                    <a:cubicBezTo>
                      <a:pt x="29238" y="46686"/>
                      <a:pt x="16788" y="49798"/>
                      <a:pt x="7450" y="40461"/>
                    </a:cubicBezTo>
                    <a:cubicBezTo>
                      <a:pt x="-1886" y="37349"/>
                      <a:pt x="-1886" y="28011"/>
                      <a:pt x="4338" y="21787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0" name="任意多边形: 形状 409">
                <a:extLst>
                  <a:ext uri="{FF2B5EF4-FFF2-40B4-BE49-F238E27FC236}">
                    <a16:creationId xmlns:a16="http://schemas.microsoft.com/office/drawing/2014/main" id="{CEC0D0CC-5113-4CFB-B590-AD30932B6FDA}"/>
                  </a:ext>
                </a:extLst>
              </p:cNvPr>
              <p:cNvSpPr/>
              <p:nvPr/>
            </p:nvSpPr>
            <p:spPr>
              <a:xfrm>
                <a:off x="12904662" y="3584364"/>
                <a:ext cx="184798" cy="124841"/>
              </a:xfrm>
              <a:custGeom>
                <a:avLst/>
                <a:gdLst>
                  <a:gd name="connsiteX0" fmla="*/ 65841 w 184798"/>
                  <a:gd name="connsiteY0" fmla="*/ 124841 h 124841"/>
                  <a:gd name="connsiteX1" fmla="*/ 3593 w 184798"/>
                  <a:gd name="connsiteY1" fmla="*/ 99942 h 124841"/>
                  <a:gd name="connsiteX2" fmla="*/ 3593 w 184798"/>
                  <a:gd name="connsiteY2" fmla="*/ 75043 h 124841"/>
                  <a:gd name="connsiteX3" fmla="*/ 16044 w 184798"/>
                  <a:gd name="connsiteY3" fmla="*/ 68818 h 124841"/>
                  <a:gd name="connsiteX4" fmla="*/ 134314 w 184798"/>
                  <a:gd name="connsiteY4" fmla="*/ 43919 h 124841"/>
                  <a:gd name="connsiteX5" fmla="*/ 137427 w 184798"/>
                  <a:gd name="connsiteY5" fmla="*/ 25245 h 124841"/>
                  <a:gd name="connsiteX6" fmla="*/ 131202 w 184798"/>
                  <a:gd name="connsiteY6" fmla="*/ 15908 h 124841"/>
                  <a:gd name="connsiteX7" fmla="*/ 22268 w 184798"/>
                  <a:gd name="connsiteY7" fmla="*/ 19020 h 124841"/>
                  <a:gd name="connsiteX8" fmla="*/ 16044 w 184798"/>
                  <a:gd name="connsiteY8" fmla="*/ 15908 h 124841"/>
                  <a:gd name="connsiteX9" fmla="*/ 19155 w 184798"/>
                  <a:gd name="connsiteY9" fmla="*/ 9683 h 124841"/>
                  <a:gd name="connsiteX10" fmla="*/ 137427 w 184798"/>
                  <a:gd name="connsiteY10" fmla="*/ 9683 h 124841"/>
                  <a:gd name="connsiteX11" fmla="*/ 149876 w 184798"/>
                  <a:gd name="connsiteY11" fmla="*/ 28357 h 124841"/>
                  <a:gd name="connsiteX12" fmla="*/ 149876 w 184798"/>
                  <a:gd name="connsiteY12" fmla="*/ 43919 h 124841"/>
                  <a:gd name="connsiteX13" fmla="*/ 149876 w 184798"/>
                  <a:gd name="connsiteY13" fmla="*/ 43919 h 124841"/>
                  <a:gd name="connsiteX14" fmla="*/ 184113 w 184798"/>
                  <a:gd name="connsiteY14" fmla="*/ 84380 h 124841"/>
                  <a:gd name="connsiteX15" fmla="*/ 121865 w 184798"/>
                  <a:gd name="connsiteY15" fmla="*/ 124841 h 124841"/>
                  <a:gd name="connsiteX16" fmla="*/ 65841 w 184798"/>
                  <a:gd name="connsiteY16" fmla="*/ 124841 h 124841"/>
                  <a:gd name="connsiteX17" fmla="*/ 12931 w 184798"/>
                  <a:gd name="connsiteY17" fmla="*/ 78156 h 124841"/>
                  <a:gd name="connsiteX18" fmla="*/ 12931 w 184798"/>
                  <a:gd name="connsiteY18" fmla="*/ 78156 h 124841"/>
                  <a:gd name="connsiteX19" fmla="*/ 12931 w 184798"/>
                  <a:gd name="connsiteY19" fmla="*/ 93717 h 124841"/>
                  <a:gd name="connsiteX20" fmla="*/ 115640 w 184798"/>
                  <a:gd name="connsiteY20" fmla="*/ 106167 h 124841"/>
                  <a:gd name="connsiteX21" fmla="*/ 168551 w 184798"/>
                  <a:gd name="connsiteY21" fmla="*/ 78156 h 124841"/>
                  <a:gd name="connsiteX22" fmla="*/ 140539 w 184798"/>
                  <a:gd name="connsiteY22" fmla="*/ 47032 h 124841"/>
                  <a:gd name="connsiteX23" fmla="*/ 140539 w 184798"/>
                  <a:gd name="connsiteY23" fmla="*/ 47032 h 124841"/>
                  <a:gd name="connsiteX24" fmla="*/ 12931 w 184798"/>
                  <a:gd name="connsiteY24" fmla="*/ 78156 h 124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84798" h="124841">
                    <a:moveTo>
                      <a:pt x="65841" y="124841"/>
                    </a:moveTo>
                    <a:cubicBezTo>
                      <a:pt x="37830" y="124841"/>
                      <a:pt x="12931" y="118617"/>
                      <a:pt x="3593" y="99942"/>
                    </a:cubicBezTo>
                    <a:cubicBezTo>
                      <a:pt x="482" y="90605"/>
                      <a:pt x="-2631" y="81268"/>
                      <a:pt x="3593" y="75043"/>
                    </a:cubicBezTo>
                    <a:cubicBezTo>
                      <a:pt x="6706" y="68818"/>
                      <a:pt x="16044" y="68818"/>
                      <a:pt x="16044" y="68818"/>
                    </a:cubicBezTo>
                    <a:cubicBezTo>
                      <a:pt x="84516" y="65706"/>
                      <a:pt x="124977" y="59481"/>
                      <a:pt x="134314" y="43919"/>
                    </a:cubicBezTo>
                    <a:cubicBezTo>
                      <a:pt x="137427" y="37694"/>
                      <a:pt x="137427" y="31470"/>
                      <a:pt x="137427" y="25245"/>
                    </a:cubicBezTo>
                    <a:cubicBezTo>
                      <a:pt x="137427" y="22133"/>
                      <a:pt x="134314" y="19020"/>
                      <a:pt x="131202" y="15908"/>
                    </a:cubicBezTo>
                    <a:cubicBezTo>
                      <a:pt x="109415" y="346"/>
                      <a:pt x="44055" y="12795"/>
                      <a:pt x="22268" y="19020"/>
                    </a:cubicBezTo>
                    <a:cubicBezTo>
                      <a:pt x="19155" y="19020"/>
                      <a:pt x="16044" y="19020"/>
                      <a:pt x="16044" y="15908"/>
                    </a:cubicBezTo>
                    <a:cubicBezTo>
                      <a:pt x="16044" y="12795"/>
                      <a:pt x="16044" y="9683"/>
                      <a:pt x="19155" y="9683"/>
                    </a:cubicBezTo>
                    <a:cubicBezTo>
                      <a:pt x="22268" y="9683"/>
                      <a:pt x="106303" y="-12104"/>
                      <a:pt x="137427" y="9683"/>
                    </a:cubicBezTo>
                    <a:cubicBezTo>
                      <a:pt x="143651" y="12795"/>
                      <a:pt x="149876" y="19020"/>
                      <a:pt x="149876" y="28357"/>
                    </a:cubicBezTo>
                    <a:cubicBezTo>
                      <a:pt x="149876" y="31470"/>
                      <a:pt x="149876" y="37694"/>
                      <a:pt x="149876" y="43919"/>
                    </a:cubicBezTo>
                    <a:cubicBezTo>
                      <a:pt x="149876" y="43919"/>
                      <a:pt x="149876" y="43919"/>
                      <a:pt x="149876" y="43919"/>
                    </a:cubicBezTo>
                    <a:cubicBezTo>
                      <a:pt x="149876" y="43919"/>
                      <a:pt x="181000" y="62594"/>
                      <a:pt x="184113" y="84380"/>
                    </a:cubicBezTo>
                    <a:cubicBezTo>
                      <a:pt x="190337" y="112392"/>
                      <a:pt x="152989" y="118617"/>
                      <a:pt x="121865" y="124841"/>
                    </a:cubicBezTo>
                    <a:cubicBezTo>
                      <a:pt x="103190" y="121729"/>
                      <a:pt x="84516" y="124841"/>
                      <a:pt x="65841" y="124841"/>
                    </a:cubicBezTo>
                    <a:close/>
                    <a:moveTo>
                      <a:pt x="12931" y="78156"/>
                    </a:moveTo>
                    <a:cubicBezTo>
                      <a:pt x="16044" y="78156"/>
                      <a:pt x="12931" y="81268"/>
                      <a:pt x="12931" y="78156"/>
                    </a:cubicBezTo>
                    <a:cubicBezTo>
                      <a:pt x="9819" y="81268"/>
                      <a:pt x="9819" y="84380"/>
                      <a:pt x="12931" y="93717"/>
                    </a:cubicBezTo>
                    <a:cubicBezTo>
                      <a:pt x="22268" y="112392"/>
                      <a:pt x="59617" y="118617"/>
                      <a:pt x="115640" y="106167"/>
                    </a:cubicBezTo>
                    <a:cubicBezTo>
                      <a:pt x="159213" y="96830"/>
                      <a:pt x="171663" y="90605"/>
                      <a:pt x="168551" y="78156"/>
                    </a:cubicBezTo>
                    <a:cubicBezTo>
                      <a:pt x="165438" y="65706"/>
                      <a:pt x="149876" y="50144"/>
                      <a:pt x="140539" y="47032"/>
                    </a:cubicBezTo>
                    <a:cubicBezTo>
                      <a:pt x="140539" y="47032"/>
                      <a:pt x="140539" y="47032"/>
                      <a:pt x="140539" y="47032"/>
                    </a:cubicBezTo>
                    <a:cubicBezTo>
                      <a:pt x="134314" y="62594"/>
                      <a:pt x="109415" y="78156"/>
                      <a:pt x="12931" y="7815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1" name="任意多边形: 形状 410">
                <a:extLst>
                  <a:ext uri="{FF2B5EF4-FFF2-40B4-BE49-F238E27FC236}">
                    <a16:creationId xmlns:a16="http://schemas.microsoft.com/office/drawing/2014/main" id="{7BF708B4-BF3D-45B7-B11F-FB558F750244}"/>
                  </a:ext>
                </a:extLst>
              </p:cNvPr>
              <p:cNvSpPr/>
              <p:nvPr/>
            </p:nvSpPr>
            <p:spPr>
              <a:xfrm>
                <a:off x="12931111" y="3672635"/>
                <a:ext cx="161188" cy="80144"/>
              </a:xfrm>
              <a:custGeom>
                <a:avLst/>
                <a:gdLst>
                  <a:gd name="connsiteX0" fmla="*/ 45618 w 161188"/>
                  <a:gd name="connsiteY0" fmla="*/ 80144 h 80144"/>
                  <a:gd name="connsiteX1" fmla="*/ 20719 w 161188"/>
                  <a:gd name="connsiteY1" fmla="*/ 77032 h 80144"/>
                  <a:gd name="connsiteX2" fmla="*/ 2045 w 161188"/>
                  <a:gd name="connsiteY2" fmla="*/ 58357 h 80144"/>
                  <a:gd name="connsiteX3" fmla="*/ 5157 w 161188"/>
                  <a:gd name="connsiteY3" fmla="*/ 27233 h 80144"/>
                  <a:gd name="connsiteX4" fmla="*/ 14494 w 161188"/>
                  <a:gd name="connsiteY4" fmla="*/ 27233 h 80144"/>
                  <a:gd name="connsiteX5" fmla="*/ 14494 w 161188"/>
                  <a:gd name="connsiteY5" fmla="*/ 36571 h 80144"/>
                  <a:gd name="connsiteX6" fmla="*/ 14494 w 161188"/>
                  <a:gd name="connsiteY6" fmla="*/ 55245 h 80144"/>
                  <a:gd name="connsiteX7" fmla="*/ 23831 w 161188"/>
                  <a:gd name="connsiteY7" fmla="*/ 64582 h 80144"/>
                  <a:gd name="connsiteX8" fmla="*/ 132764 w 161188"/>
                  <a:gd name="connsiteY8" fmla="*/ 52132 h 80144"/>
                  <a:gd name="connsiteX9" fmla="*/ 148326 w 161188"/>
                  <a:gd name="connsiteY9" fmla="*/ 36571 h 80144"/>
                  <a:gd name="connsiteX10" fmla="*/ 138990 w 161188"/>
                  <a:gd name="connsiteY10" fmla="*/ 11671 h 80144"/>
                  <a:gd name="connsiteX11" fmla="*/ 138990 w 161188"/>
                  <a:gd name="connsiteY11" fmla="*/ 2334 h 80144"/>
                  <a:gd name="connsiteX12" fmla="*/ 148326 w 161188"/>
                  <a:gd name="connsiteY12" fmla="*/ 2334 h 80144"/>
                  <a:gd name="connsiteX13" fmla="*/ 160777 w 161188"/>
                  <a:gd name="connsiteY13" fmla="*/ 39683 h 80144"/>
                  <a:gd name="connsiteX14" fmla="*/ 135877 w 161188"/>
                  <a:gd name="connsiteY14" fmla="*/ 61470 h 80144"/>
                  <a:gd name="connsiteX15" fmla="*/ 45618 w 161188"/>
                  <a:gd name="connsiteY15" fmla="*/ 80144 h 80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1188" h="80144">
                    <a:moveTo>
                      <a:pt x="45618" y="80144"/>
                    </a:moveTo>
                    <a:cubicBezTo>
                      <a:pt x="33168" y="80144"/>
                      <a:pt x="23831" y="80144"/>
                      <a:pt x="20719" y="77032"/>
                    </a:cubicBezTo>
                    <a:cubicBezTo>
                      <a:pt x="11381" y="73919"/>
                      <a:pt x="5157" y="67694"/>
                      <a:pt x="2045" y="58357"/>
                    </a:cubicBezTo>
                    <a:cubicBezTo>
                      <a:pt x="-1068" y="45908"/>
                      <a:pt x="-1068" y="33458"/>
                      <a:pt x="5157" y="27233"/>
                    </a:cubicBezTo>
                    <a:cubicBezTo>
                      <a:pt x="8269" y="24121"/>
                      <a:pt x="11381" y="24121"/>
                      <a:pt x="14494" y="27233"/>
                    </a:cubicBezTo>
                    <a:cubicBezTo>
                      <a:pt x="17606" y="30346"/>
                      <a:pt x="17606" y="33458"/>
                      <a:pt x="14494" y="36571"/>
                    </a:cubicBezTo>
                    <a:cubicBezTo>
                      <a:pt x="11381" y="39683"/>
                      <a:pt x="11381" y="49020"/>
                      <a:pt x="14494" y="55245"/>
                    </a:cubicBezTo>
                    <a:cubicBezTo>
                      <a:pt x="14494" y="58357"/>
                      <a:pt x="17606" y="64582"/>
                      <a:pt x="23831" y="64582"/>
                    </a:cubicBezTo>
                    <a:cubicBezTo>
                      <a:pt x="39393" y="67694"/>
                      <a:pt x="92304" y="67694"/>
                      <a:pt x="132764" y="52132"/>
                    </a:cubicBezTo>
                    <a:cubicBezTo>
                      <a:pt x="142102" y="49020"/>
                      <a:pt x="148326" y="42795"/>
                      <a:pt x="148326" y="36571"/>
                    </a:cubicBezTo>
                    <a:cubicBezTo>
                      <a:pt x="151439" y="24121"/>
                      <a:pt x="138990" y="11671"/>
                      <a:pt x="138990" y="11671"/>
                    </a:cubicBezTo>
                    <a:cubicBezTo>
                      <a:pt x="135877" y="8559"/>
                      <a:pt x="135877" y="5447"/>
                      <a:pt x="138990" y="2334"/>
                    </a:cubicBezTo>
                    <a:cubicBezTo>
                      <a:pt x="142102" y="-778"/>
                      <a:pt x="145215" y="-778"/>
                      <a:pt x="148326" y="2334"/>
                    </a:cubicBezTo>
                    <a:cubicBezTo>
                      <a:pt x="148326" y="2334"/>
                      <a:pt x="163888" y="21009"/>
                      <a:pt x="160777" y="39683"/>
                    </a:cubicBezTo>
                    <a:cubicBezTo>
                      <a:pt x="157664" y="49020"/>
                      <a:pt x="151439" y="58357"/>
                      <a:pt x="135877" y="61470"/>
                    </a:cubicBezTo>
                    <a:cubicBezTo>
                      <a:pt x="104753" y="77032"/>
                      <a:pt x="70517" y="80144"/>
                      <a:pt x="45618" y="8014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12" name="图形 1">
              <a:extLst>
                <a:ext uri="{FF2B5EF4-FFF2-40B4-BE49-F238E27FC236}">
                  <a16:creationId xmlns:a16="http://schemas.microsoft.com/office/drawing/2014/main" id="{00A64FB6-BD0D-4CF0-AF4B-92F133967EE0}"/>
                </a:ext>
              </a:extLst>
            </p:cNvPr>
            <p:cNvGrpSpPr/>
            <p:nvPr/>
          </p:nvGrpSpPr>
          <p:grpSpPr>
            <a:xfrm>
              <a:off x="12999760" y="3589184"/>
              <a:ext cx="164180" cy="123134"/>
              <a:chOff x="12999760" y="3589184"/>
              <a:chExt cx="164180" cy="123134"/>
            </a:xfrm>
          </p:grpSpPr>
          <p:sp>
            <p:nvSpPr>
              <p:cNvPr id="413" name="任意多边形: 形状 412">
                <a:extLst>
                  <a:ext uri="{FF2B5EF4-FFF2-40B4-BE49-F238E27FC236}">
                    <a16:creationId xmlns:a16="http://schemas.microsoft.com/office/drawing/2014/main" id="{E4B874DF-C989-4E33-B4C2-8C61582E833E}"/>
                  </a:ext>
                </a:extLst>
              </p:cNvPr>
              <p:cNvSpPr/>
              <p:nvPr/>
            </p:nvSpPr>
            <p:spPr>
              <a:xfrm>
                <a:off x="13007309" y="3597352"/>
                <a:ext cx="156632" cy="100657"/>
              </a:xfrm>
              <a:custGeom>
                <a:avLst/>
                <a:gdLst>
                  <a:gd name="connsiteX0" fmla="*/ 6769 w 156632"/>
                  <a:gd name="connsiteY0" fmla="*/ 99404 h 100657"/>
                  <a:gd name="connsiteX1" fmla="*/ 31668 w 156632"/>
                  <a:gd name="connsiteY1" fmla="*/ 80730 h 100657"/>
                  <a:gd name="connsiteX2" fmla="*/ 97028 w 156632"/>
                  <a:gd name="connsiteY2" fmla="*/ 65168 h 100657"/>
                  <a:gd name="connsiteX3" fmla="*/ 153051 w 156632"/>
                  <a:gd name="connsiteY3" fmla="*/ 96292 h 100657"/>
                  <a:gd name="connsiteX4" fmla="*/ 137489 w 156632"/>
                  <a:gd name="connsiteY4" fmla="*/ 15370 h 100657"/>
                  <a:gd name="connsiteX5" fmla="*/ 22331 w 156632"/>
                  <a:gd name="connsiteY5" fmla="*/ 15370 h 100657"/>
                  <a:gd name="connsiteX6" fmla="*/ 6769 w 156632"/>
                  <a:gd name="connsiteY6" fmla="*/ 99404 h 100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6632" h="100657">
                    <a:moveTo>
                      <a:pt x="6769" y="99404"/>
                    </a:moveTo>
                    <a:cubicBezTo>
                      <a:pt x="16106" y="105629"/>
                      <a:pt x="25442" y="86955"/>
                      <a:pt x="31668" y="80730"/>
                    </a:cubicBezTo>
                    <a:cubicBezTo>
                      <a:pt x="53455" y="65168"/>
                      <a:pt x="69017" y="58943"/>
                      <a:pt x="97028" y="65168"/>
                    </a:cubicBezTo>
                    <a:cubicBezTo>
                      <a:pt x="112590" y="68281"/>
                      <a:pt x="140601" y="90067"/>
                      <a:pt x="153051" y="96292"/>
                    </a:cubicBezTo>
                    <a:cubicBezTo>
                      <a:pt x="159276" y="99404"/>
                      <a:pt x="159276" y="24707"/>
                      <a:pt x="137489" y="15370"/>
                    </a:cubicBezTo>
                    <a:cubicBezTo>
                      <a:pt x="109477" y="-192"/>
                      <a:pt x="50342" y="-9529"/>
                      <a:pt x="22331" y="15370"/>
                    </a:cubicBezTo>
                    <a:cubicBezTo>
                      <a:pt x="12993" y="27819"/>
                      <a:pt x="-11906" y="83842"/>
                      <a:pt x="6769" y="9940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4" name="任意多边形: 形状 413">
                <a:extLst>
                  <a:ext uri="{FF2B5EF4-FFF2-40B4-BE49-F238E27FC236}">
                    <a16:creationId xmlns:a16="http://schemas.microsoft.com/office/drawing/2014/main" id="{63A009B3-7180-4CBA-90D1-8E79A5006046}"/>
                  </a:ext>
                </a:extLst>
              </p:cNvPr>
              <p:cNvSpPr/>
              <p:nvPr/>
            </p:nvSpPr>
            <p:spPr>
              <a:xfrm>
                <a:off x="12999760" y="3589184"/>
                <a:ext cx="154375" cy="123134"/>
              </a:xfrm>
              <a:custGeom>
                <a:avLst/>
                <a:gdLst>
                  <a:gd name="connsiteX0" fmla="*/ 129475 w 154375"/>
                  <a:gd name="connsiteY0" fmla="*/ 123134 h 123134"/>
                  <a:gd name="connsiteX1" fmla="*/ 129475 w 154375"/>
                  <a:gd name="connsiteY1" fmla="*/ 123134 h 123134"/>
                  <a:gd name="connsiteX2" fmla="*/ 98352 w 154375"/>
                  <a:gd name="connsiteY2" fmla="*/ 76448 h 123134"/>
                  <a:gd name="connsiteX3" fmla="*/ 42329 w 154375"/>
                  <a:gd name="connsiteY3" fmla="*/ 98235 h 123134"/>
                  <a:gd name="connsiteX4" fmla="*/ 14318 w 154375"/>
                  <a:gd name="connsiteY4" fmla="*/ 110685 h 123134"/>
                  <a:gd name="connsiteX5" fmla="*/ 1867 w 154375"/>
                  <a:gd name="connsiteY5" fmla="*/ 98235 h 123134"/>
                  <a:gd name="connsiteX6" fmla="*/ 29879 w 154375"/>
                  <a:gd name="connsiteY6" fmla="*/ 17313 h 123134"/>
                  <a:gd name="connsiteX7" fmla="*/ 151263 w 154375"/>
                  <a:gd name="connsiteY7" fmla="*/ 17313 h 123134"/>
                  <a:gd name="connsiteX8" fmla="*/ 154375 w 154375"/>
                  <a:gd name="connsiteY8" fmla="*/ 23538 h 123134"/>
                  <a:gd name="connsiteX9" fmla="*/ 148150 w 154375"/>
                  <a:gd name="connsiteY9" fmla="*/ 26650 h 123134"/>
                  <a:gd name="connsiteX10" fmla="*/ 42329 w 154375"/>
                  <a:gd name="connsiteY10" fmla="*/ 26650 h 123134"/>
                  <a:gd name="connsiteX11" fmla="*/ 17429 w 154375"/>
                  <a:gd name="connsiteY11" fmla="*/ 95123 h 123134"/>
                  <a:gd name="connsiteX12" fmla="*/ 23654 w 154375"/>
                  <a:gd name="connsiteY12" fmla="*/ 101348 h 123134"/>
                  <a:gd name="connsiteX13" fmla="*/ 42329 w 154375"/>
                  <a:gd name="connsiteY13" fmla="*/ 88898 h 123134"/>
                  <a:gd name="connsiteX14" fmla="*/ 113913 w 154375"/>
                  <a:gd name="connsiteY14" fmla="*/ 67111 h 123134"/>
                  <a:gd name="connsiteX15" fmla="*/ 117026 w 154375"/>
                  <a:gd name="connsiteY15" fmla="*/ 70224 h 123134"/>
                  <a:gd name="connsiteX16" fmla="*/ 138813 w 154375"/>
                  <a:gd name="connsiteY16" fmla="*/ 110685 h 123134"/>
                  <a:gd name="connsiteX17" fmla="*/ 141925 w 154375"/>
                  <a:gd name="connsiteY17" fmla="*/ 120022 h 123134"/>
                  <a:gd name="connsiteX18" fmla="*/ 129475 w 154375"/>
                  <a:gd name="connsiteY18" fmla="*/ 123134 h 123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54375" h="123134">
                    <a:moveTo>
                      <a:pt x="129475" y="123134"/>
                    </a:moveTo>
                    <a:cubicBezTo>
                      <a:pt x="129475" y="123134"/>
                      <a:pt x="126363" y="123134"/>
                      <a:pt x="129475" y="123134"/>
                    </a:cubicBezTo>
                    <a:cubicBezTo>
                      <a:pt x="107689" y="113797"/>
                      <a:pt x="101464" y="85786"/>
                      <a:pt x="98352" y="76448"/>
                    </a:cubicBezTo>
                    <a:cubicBezTo>
                      <a:pt x="73453" y="70224"/>
                      <a:pt x="54778" y="85786"/>
                      <a:pt x="42329" y="98235"/>
                    </a:cubicBezTo>
                    <a:cubicBezTo>
                      <a:pt x="32991" y="107572"/>
                      <a:pt x="23654" y="113797"/>
                      <a:pt x="14318" y="110685"/>
                    </a:cubicBezTo>
                    <a:cubicBezTo>
                      <a:pt x="8092" y="110685"/>
                      <a:pt x="1867" y="104460"/>
                      <a:pt x="1867" y="98235"/>
                    </a:cubicBezTo>
                    <a:cubicBezTo>
                      <a:pt x="-4357" y="79561"/>
                      <a:pt x="4980" y="45325"/>
                      <a:pt x="29879" y="17313"/>
                    </a:cubicBezTo>
                    <a:cubicBezTo>
                      <a:pt x="64115" y="-20036"/>
                      <a:pt x="145037" y="14201"/>
                      <a:pt x="151263" y="17313"/>
                    </a:cubicBezTo>
                    <a:cubicBezTo>
                      <a:pt x="154375" y="17313"/>
                      <a:pt x="154375" y="20425"/>
                      <a:pt x="154375" y="23538"/>
                    </a:cubicBezTo>
                    <a:cubicBezTo>
                      <a:pt x="154375" y="26650"/>
                      <a:pt x="151263" y="26650"/>
                      <a:pt x="148150" y="26650"/>
                    </a:cubicBezTo>
                    <a:cubicBezTo>
                      <a:pt x="148150" y="26650"/>
                      <a:pt x="70340" y="-4474"/>
                      <a:pt x="42329" y="26650"/>
                    </a:cubicBezTo>
                    <a:cubicBezTo>
                      <a:pt x="20542" y="51549"/>
                      <a:pt x="11205" y="79561"/>
                      <a:pt x="17429" y="95123"/>
                    </a:cubicBezTo>
                    <a:cubicBezTo>
                      <a:pt x="17429" y="101348"/>
                      <a:pt x="20542" y="101348"/>
                      <a:pt x="23654" y="101348"/>
                    </a:cubicBezTo>
                    <a:cubicBezTo>
                      <a:pt x="26767" y="101348"/>
                      <a:pt x="36104" y="95123"/>
                      <a:pt x="42329" y="88898"/>
                    </a:cubicBezTo>
                    <a:cubicBezTo>
                      <a:pt x="57891" y="76448"/>
                      <a:pt x="79677" y="57774"/>
                      <a:pt x="113913" y="67111"/>
                    </a:cubicBezTo>
                    <a:cubicBezTo>
                      <a:pt x="117026" y="67111"/>
                      <a:pt x="117026" y="70224"/>
                      <a:pt x="117026" y="70224"/>
                    </a:cubicBezTo>
                    <a:cubicBezTo>
                      <a:pt x="117026" y="70224"/>
                      <a:pt x="123251" y="101348"/>
                      <a:pt x="138813" y="110685"/>
                    </a:cubicBezTo>
                    <a:cubicBezTo>
                      <a:pt x="141925" y="110685"/>
                      <a:pt x="141925" y="116910"/>
                      <a:pt x="141925" y="120022"/>
                    </a:cubicBezTo>
                    <a:cubicBezTo>
                      <a:pt x="132588" y="123134"/>
                      <a:pt x="132588" y="123134"/>
                      <a:pt x="129475" y="12313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15" name="任意多边形: 形状 414">
              <a:extLst>
                <a:ext uri="{FF2B5EF4-FFF2-40B4-BE49-F238E27FC236}">
                  <a16:creationId xmlns:a16="http://schemas.microsoft.com/office/drawing/2014/main" id="{C9B17E9A-9620-42E4-88C3-0BCEE7944DA3}"/>
                </a:ext>
              </a:extLst>
            </p:cNvPr>
            <p:cNvSpPr/>
            <p:nvPr/>
          </p:nvSpPr>
          <p:spPr>
            <a:xfrm>
              <a:off x="8376613" y="5470820"/>
              <a:ext cx="362682" cy="1104899"/>
            </a:xfrm>
            <a:custGeom>
              <a:avLst/>
              <a:gdLst>
                <a:gd name="connsiteX0" fmla="*/ 34237 w 362682"/>
                <a:gd name="connsiteY0" fmla="*/ 1104899 h 1104899"/>
                <a:gd name="connsiteX1" fmla="*/ 28012 w 362682"/>
                <a:gd name="connsiteY1" fmla="*/ 1098675 h 1104899"/>
                <a:gd name="connsiteX2" fmla="*/ 34237 w 362682"/>
                <a:gd name="connsiteY2" fmla="*/ 1092450 h 1104899"/>
                <a:gd name="connsiteX3" fmla="*/ 102709 w 362682"/>
                <a:gd name="connsiteY3" fmla="*/ 1045764 h 1104899"/>
                <a:gd name="connsiteX4" fmla="*/ 99596 w 362682"/>
                <a:gd name="connsiteY4" fmla="*/ 1045764 h 1104899"/>
                <a:gd name="connsiteX5" fmla="*/ 3113 w 362682"/>
                <a:gd name="connsiteY5" fmla="*/ 1008415 h 1104899"/>
                <a:gd name="connsiteX6" fmla="*/ 0 w 362682"/>
                <a:gd name="connsiteY6" fmla="*/ 1002190 h 1104899"/>
                <a:gd name="connsiteX7" fmla="*/ 6225 w 362682"/>
                <a:gd name="connsiteY7" fmla="*/ 999078 h 1104899"/>
                <a:gd name="connsiteX8" fmla="*/ 105822 w 362682"/>
                <a:gd name="connsiteY8" fmla="*/ 977291 h 1104899"/>
                <a:gd name="connsiteX9" fmla="*/ 108934 w 362682"/>
                <a:gd name="connsiteY9" fmla="*/ 977291 h 1104899"/>
                <a:gd name="connsiteX10" fmla="*/ 301902 w 362682"/>
                <a:gd name="connsiteY10" fmla="*/ 977291 h 1104899"/>
                <a:gd name="connsiteX11" fmla="*/ 333026 w 362682"/>
                <a:gd name="connsiteY11" fmla="*/ 460634 h 1104899"/>
                <a:gd name="connsiteX12" fmla="*/ 258329 w 362682"/>
                <a:gd name="connsiteY12" fmla="*/ 6225 h 1104899"/>
                <a:gd name="connsiteX13" fmla="*/ 261441 w 362682"/>
                <a:gd name="connsiteY13" fmla="*/ 0 h 1104899"/>
                <a:gd name="connsiteX14" fmla="*/ 267666 w 362682"/>
                <a:gd name="connsiteY14" fmla="*/ 3113 h 1104899"/>
                <a:gd name="connsiteX15" fmla="*/ 305015 w 362682"/>
                <a:gd name="connsiteY15" fmla="*/ 983516 h 1104899"/>
                <a:gd name="connsiteX16" fmla="*/ 102709 w 362682"/>
                <a:gd name="connsiteY16" fmla="*/ 983516 h 1104899"/>
                <a:gd name="connsiteX17" fmla="*/ 18675 w 362682"/>
                <a:gd name="connsiteY17" fmla="*/ 1002190 h 1104899"/>
                <a:gd name="connsiteX18" fmla="*/ 112046 w 362682"/>
                <a:gd name="connsiteY18" fmla="*/ 1027089 h 1104899"/>
                <a:gd name="connsiteX19" fmla="*/ 118271 w 362682"/>
                <a:gd name="connsiteY19" fmla="*/ 1030202 h 1104899"/>
                <a:gd name="connsiteX20" fmla="*/ 118271 w 362682"/>
                <a:gd name="connsiteY20" fmla="*/ 1036427 h 1104899"/>
                <a:gd name="connsiteX21" fmla="*/ 34237 w 362682"/>
                <a:gd name="connsiteY21" fmla="*/ 1104899 h 1104899"/>
                <a:gd name="connsiteX22" fmla="*/ 34237 w 362682"/>
                <a:gd name="connsiteY22" fmla="*/ 1104899 h 110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2682" h="1104899">
                  <a:moveTo>
                    <a:pt x="34237" y="1104899"/>
                  </a:moveTo>
                  <a:cubicBezTo>
                    <a:pt x="31124" y="1104899"/>
                    <a:pt x="28012" y="1101787"/>
                    <a:pt x="28012" y="1098675"/>
                  </a:cubicBezTo>
                  <a:cubicBezTo>
                    <a:pt x="28012" y="1095562"/>
                    <a:pt x="28012" y="1092450"/>
                    <a:pt x="34237" y="1092450"/>
                  </a:cubicBezTo>
                  <a:cubicBezTo>
                    <a:pt x="62248" y="1086225"/>
                    <a:pt x="90260" y="1061326"/>
                    <a:pt x="102709" y="1045764"/>
                  </a:cubicBezTo>
                  <a:cubicBezTo>
                    <a:pt x="102709" y="1045764"/>
                    <a:pt x="99596" y="1045764"/>
                    <a:pt x="99596" y="1045764"/>
                  </a:cubicBezTo>
                  <a:cubicBezTo>
                    <a:pt x="52911" y="1045764"/>
                    <a:pt x="6225" y="1011527"/>
                    <a:pt x="3113" y="1008415"/>
                  </a:cubicBezTo>
                  <a:cubicBezTo>
                    <a:pt x="0" y="1008415"/>
                    <a:pt x="0" y="1005303"/>
                    <a:pt x="0" y="1002190"/>
                  </a:cubicBezTo>
                  <a:cubicBezTo>
                    <a:pt x="0" y="999078"/>
                    <a:pt x="3113" y="999078"/>
                    <a:pt x="6225" y="999078"/>
                  </a:cubicBezTo>
                  <a:cubicBezTo>
                    <a:pt x="34237" y="995965"/>
                    <a:pt x="105822" y="977291"/>
                    <a:pt x="105822" y="977291"/>
                  </a:cubicBezTo>
                  <a:cubicBezTo>
                    <a:pt x="105822" y="977291"/>
                    <a:pt x="108934" y="977291"/>
                    <a:pt x="108934" y="977291"/>
                  </a:cubicBezTo>
                  <a:cubicBezTo>
                    <a:pt x="108934" y="977291"/>
                    <a:pt x="205418" y="1039539"/>
                    <a:pt x="301902" y="977291"/>
                  </a:cubicBezTo>
                  <a:cubicBezTo>
                    <a:pt x="357925" y="939942"/>
                    <a:pt x="370375" y="762536"/>
                    <a:pt x="333026" y="460634"/>
                  </a:cubicBezTo>
                  <a:cubicBezTo>
                    <a:pt x="305015" y="230317"/>
                    <a:pt x="258329" y="9337"/>
                    <a:pt x="258329" y="6225"/>
                  </a:cubicBezTo>
                  <a:cubicBezTo>
                    <a:pt x="258329" y="3113"/>
                    <a:pt x="258329" y="0"/>
                    <a:pt x="261441" y="0"/>
                  </a:cubicBezTo>
                  <a:cubicBezTo>
                    <a:pt x="264553" y="0"/>
                    <a:pt x="267666" y="0"/>
                    <a:pt x="267666" y="3113"/>
                  </a:cubicBezTo>
                  <a:cubicBezTo>
                    <a:pt x="273891" y="40461"/>
                    <a:pt x="451297" y="893256"/>
                    <a:pt x="305015" y="983516"/>
                  </a:cubicBezTo>
                  <a:cubicBezTo>
                    <a:pt x="211643" y="1042651"/>
                    <a:pt x="118271" y="992853"/>
                    <a:pt x="102709" y="983516"/>
                  </a:cubicBezTo>
                  <a:cubicBezTo>
                    <a:pt x="93372" y="986628"/>
                    <a:pt x="46686" y="995965"/>
                    <a:pt x="18675" y="1002190"/>
                  </a:cubicBezTo>
                  <a:cubicBezTo>
                    <a:pt x="37349" y="1014640"/>
                    <a:pt x="77810" y="1033314"/>
                    <a:pt x="112046" y="1027089"/>
                  </a:cubicBezTo>
                  <a:cubicBezTo>
                    <a:pt x="115158" y="1027089"/>
                    <a:pt x="118271" y="1027089"/>
                    <a:pt x="118271" y="1030202"/>
                  </a:cubicBezTo>
                  <a:cubicBezTo>
                    <a:pt x="118271" y="1033314"/>
                    <a:pt x="118271" y="1033314"/>
                    <a:pt x="118271" y="1036427"/>
                  </a:cubicBezTo>
                  <a:cubicBezTo>
                    <a:pt x="118271" y="1042651"/>
                    <a:pt x="80922" y="1095562"/>
                    <a:pt x="34237" y="1104899"/>
                  </a:cubicBezTo>
                  <a:cubicBezTo>
                    <a:pt x="34237" y="1101787"/>
                    <a:pt x="34237" y="1104899"/>
                    <a:pt x="34237" y="1104899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6" name="任意多边形: 形状 415">
              <a:extLst>
                <a:ext uri="{FF2B5EF4-FFF2-40B4-BE49-F238E27FC236}">
                  <a16:creationId xmlns:a16="http://schemas.microsoft.com/office/drawing/2014/main" id="{653DBFCE-EA65-46D9-A68E-01243B2B6A91}"/>
                </a:ext>
              </a:extLst>
            </p:cNvPr>
            <p:cNvSpPr/>
            <p:nvPr/>
          </p:nvSpPr>
          <p:spPr>
            <a:xfrm>
              <a:off x="12974344" y="5498831"/>
              <a:ext cx="568840" cy="849682"/>
            </a:xfrm>
            <a:custGeom>
              <a:avLst/>
              <a:gdLst>
                <a:gd name="connsiteX0" fmla="*/ 531491 w 568840"/>
                <a:gd name="connsiteY0" fmla="*/ 849683 h 849682"/>
                <a:gd name="connsiteX1" fmla="*/ 531491 w 568840"/>
                <a:gd name="connsiteY1" fmla="*/ 849683 h 849682"/>
                <a:gd name="connsiteX2" fmla="*/ 450569 w 568840"/>
                <a:gd name="connsiteY2" fmla="*/ 784323 h 849682"/>
                <a:gd name="connsiteX3" fmla="*/ 450569 w 568840"/>
                <a:gd name="connsiteY3" fmla="*/ 778098 h 849682"/>
                <a:gd name="connsiteX4" fmla="*/ 456794 w 568840"/>
                <a:gd name="connsiteY4" fmla="*/ 774986 h 849682"/>
                <a:gd name="connsiteX5" fmla="*/ 550165 w 568840"/>
                <a:gd name="connsiteY5" fmla="*/ 734524 h 849682"/>
                <a:gd name="connsiteX6" fmla="*/ 469243 w 568840"/>
                <a:gd name="connsiteY6" fmla="*/ 722075 h 849682"/>
                <a:gd name="connsiteX7" fmla="*/ 341635 w 568840"/>
                <a:gd name="connsiteY7" fmla="*/ 774986 h 849682"/>
                <a:gd name="connsiteX8" fmla="*/ 89531 w 568840"/>
                <a:gd name="connsiteY8" fmla="*/ 762536 h 849682"/>
                <a:gd name="connsiteX9" fmla="*/ 30396 w 568840"/>
                <a:gd name="connsiteY9" fmla="*/ 6225 h 849682"/>
                <a:gd name="connsiteX10" fmla="*/ 36621 w 568840"/>
                <a:gd name="connsiteY10" fmla="*/ 0 h 849682"/>
                <a:gd name="connsiteX11" fmla="*/ 42845 w 568840"/>
                <a:gd name="connsiteY11" fmla="*/ 6225 h 849682"/>
                <a:gd name="connsiteX12" fmla="*/ 95756 w 568840"/>
                <a:gd name="connsiteY12" fmla="*/ 753199 h 849682"/>
                <a:gd name="connsiteX13" fmla="*/ 469243 w 568840"/>
                <a:gd name="connsiteY13" fmla="*/ 712738 h 849682"/>
                <a:gd name="connsiteX14" fmla="*/ 475468 w 568840"/>
                <a:gd name="connsiteY14" fmla="*/ 712738 h 849682"/>
                <a:gd name="connsiteX15" fmla="*/ 559502 w 568840"/>
                <a:gd name="connsiteY15" fmla="*/ 722075 h 849682"/>
                <a:gd name="connsiteX16" fmla="*/ 565727 w 568840"/>
                <a:gd name="connsiteY16" fmla="*/ 722075 h 849682"/>
                <a:gd name="connsiteX17" fmla="*/ 568840 w 568840"/>
                <a:gd name="connsiteY17" fmla="*/ 728300 h 849682"/>
                <a:gd name="connsiteX18" fmla="*/ 469243 w 568840"/>
                <a:gd name="connsiteY18" fmla="*/ 790548 h 849682"/>
                <a:gd name="connsiteX19" fmla="*/ 534604 w 568840"/>
                <a:gd name="connsiteY19" fmla="*/ 840346 h 849682"/>
                <a:gd name="connsiteX20" fmla="*/ 537716 w 568840"/>
                <a:gd name="connsiteY20" fmla="*/ 846571 h 849682"/>
                <a:gd name="connsiteX21" fmla="*/ 531491 w 568840"/>
                <a:gd name="connsiteY21" fmla="*/ 849683 h 849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68840" h="849682">
                  <a:moveTo>
                    <a:pt x="531491" y="849683"/>
                  </a:moveTo>
                  <a:cubicBezTo>
                    <a:pt x="528378" y="849683"/>
                    <a:pt x="528378" y="849683"/>
                    <a:pt x="531491" y="849683"/>
                  </a:cubicBezTo>
                  <a:cubicBezTo>
                    <a:pt x="466131" y="831009"/>
                    <a:pt x="450569" y="784323"/>
                    <a:pt x="450569" y="784323"/>
                  </a:cubicBezTo>
                  <a:cubicBezTo>
                    <a:pt x="450569" y="781210"/>
                    <a:pt x="450569" y="781210"/>
                    <a:pt x="450569" y="778098"/>
                  </a:cubicBezTo>
                  <a:cubicBezTo>
                    <a:pt x="450569" y="778098"/>
                    <a:pt x="453681" y="774986"/>
                    <a:pt x="456794" y="774986"/>
                  </a:cubicBezTo>
                  <a:cubicBezTo>
                    <a:pt x="519042" y="784323"/>
                    <a:pt x="540828" y="753199"/>
                    <a:pt x="550165" y="734524"/>
                  </a:cubicBezTo>
                  <a:cubicBezTo>
                    <a:pt x="515929" y="746974"/>
                    <a:pt x="481692" y="728300"/>
                    <a:pt x="469243" y="722075"/>
                  </a:cubicBezTo>
                  <a:cubicBezTo>
                    <a:pt x="456794" y="728300"/>
                    <a:pt x="406995" y="756311"/>
                    <a:pt x="341635" y="774986"/>
                  </a:cubicBezTo>
                  <a:cubicBezTo>
                    <a:pt x="242039" y="802997"/>
                    <a:pt x="154891" y="799885"/>
                    <a:pt x="89531" y="762536"/>
                  </a:cubicBezTo>
                  <a:cubicBezTo>
                    <a:pt x="-62976" y="678501"/>
                    <a:pt x="24171" y="31124"/>
                    <a:pt x="30396" y="6225"/>
                  </a:cubicBezTo>
                  <a:cubicBezTo>
                    <a:pt x="30396" y="3112"/>
                    <a:pt x="33508" y="0"/>
                    <a:pt x="36621" y="0"/>
                  </a:cubicBezTo>
                  <a:cubicBezTo>
                    <a:pt x="39733" y="0"/>
                    <a:pt x="42845" y="3112"/>
                    <a:pt x="42845" y="6225"/>
                  </a:cubicBezTo>
                  <a:cubicBezTo>
                    <a:pt x="42845" y="12450"/>
                    <a:pt x="-47414" y="672277"/>
                    <a:pt x="95756" y="753199"/>
                  </a:cubicBezTo>
                  <a:cubicBezTo>
                    <a:pt x="248263" y="837234"/>
                    <a:pt x="466131" y="712738"/>
                    <a:pt x="469243" y="712738"/>
                  </a:cubicBezTo>
                  <a:cubicBezTo>
                    <a:pt x="472356" y="712738"/>
                    <a:pt x="472356" y="712738"/>
                    <a:pt x="475468" y="712738"/>
                  </a:cubicBezTo>
                  <a:cubicBezTo>
                    <a:pt x="475468" y="712738"/>
                    <a:pt x="525266" y="743862"/>
                    <a:pt x="559502" y="722075"/>
                  </a:cubicBezTo>
                  <a:cubicBezTo>
                    <a:pt x="562615" y="722075"/>
                    <a:pt x="562615" y="722075"/>
                    <a:pt x="565727" y="722075"/>
                  </a:cubicBezTo>
                  <a:cubicBezTo>
                    <a:pt x="568840" y="722075"/>
                    <a:pt x="568840" y="725187"/>
                    <a:pt x="568840" y="728300"/>
                  </a:cubicBezTo>
                  <a:cubicBezTo>
                    <a:pt x="568840" y="728300"/>
                    <a:pt x="553278" y="799885"/>
                    <a:pt x="469243" y="790548"/>
                  </a:cubicBezTo>
                  <a:cubicBezTo>
                    <a:pt x="475468" y="802997"/>
                    <a:pt x="494142" y="827896"/>
                    <a:pt x="534604" y="840346"/>
                  </a:cubicBezTo>
                  <a:cubicBezTo>
                    <a:pt x="537716" y="840346"/>
                    <a:pt x="540828" y="843458"/>
                    <a:pt x="537716" y="846571"/>
                  </a:cubicBezTo>
                  <a:cubicBezTo>
                    <a:pt x="534604" y="849683"/>
                    <a:pt x="531491" y="849683"/>
                    <a:pt x="531491" y="849683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17" name="图形 1">
              <a:extLst>
                <a:ext uri="{FF2B5EF4-FFF2-40B4-BE49-F238E27FC236}">
                  <a16:creationId xmlns:a16="http://schemas.microsoft.com/office/drawing/2014/main" id="{00A64FB6-BD0D-4CF0-AF4B-92F133967EE0}"/>
                </a:ext>
              </a:extLst>
            </p:cNvPr>
            <p:cNvGrpSpPr/>
            <p:nvPr/>
          </p:nvGrpSpPr>
          <p:grpSpPr>
            <a:xfrm>
              <a:off x="7245313" y="2121997"/>
              <a:ext cx="1044845" cy="395163"/>
              <a:chOff x="7245313" y="2121997"/>
              <a:chExt cx="1044845" cy="395163"/>
            </a:xfrm>
          </p:grpSpPr>
          <p:sp>
            <p:nvSpPr>
              <p:cNvPr id="418" name="任意多边形: 形状 417">
                <a:extLst>
                  <a:ext uri="{FF2B5EF4-FFF2-40B4-BE49-F238E27FC236}">
                    <a16:creationId xmlns:a16="http://schemas.microsoft.com/office/drawing/2014/main" id="{9EAF568C-E062-4348-A3D7-F19E55E49197}"/>
                  </a:ext>
                </a:extLst>
              </p:cNvPr>
              <p:cNvSpPr/>
              <p:nvPr/>
            </p:nvSpPr>
            <p:spPr>
              <a:xfrm>
                <a:off x="7544582" y="2121997"/>
                <a:ext cx="455432" cy="208419"/>
              </a:xfrm>
              <a:custGeom>
                <a:avLst/>
                <a:gdLst>
                  <a:gd name="connsiteX0" fmla="*/ 1023 w 455432"/>
                  <a:gd name="connsiteY0" fmla="*/ 208420 h 208419"/>
                  <a:gd name="connsiteX1" fmla="*/ 75720 w 455432"/>
                  <a:gd name="connsiteY1" fmla="*/ 27901 h 208419"/>
                  <a:gd name="connsiteX2" fmla="*/ 330937 w 455432"/>
                  <a:gd name="connsiteY2" fmla="*/ 6114 h 208419"/>
                  <a:gd name="connsiteX3" fmla="*/ 455433 w 455432"/>
                  <a:gd name="connsiteY3" fmla="*/ 167958 h 208419"/>
                  <a:gd name="connsiteX4" fmla="*/ 1023 w 455432"/>
                  <a:gd name="connsiteY4" fmla="*/ 208420 h 208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5432" h="208419">
                    <a:moveTo>
                      <a:pt x="1023" y="208420"/>
                    </a:moveTo>
                    <a:cubicBezTo>
                      <a:pt x="1023" y="208420"/>
                      <a:pt x="-14539" y="68362"/>
                      <a:pt x="75720" y="27901"/>
                    </a:cubicBezTo>
                    <a:cubicBezTo>
                      <a:pt x="134856" y="-111"/>
                      <a:pt x="265576" y="-6336"/>
                      <a:pt x="330937" y="6114"/>
                    </a:cubicBezTo>
                    <a:cubicBezTo>
                      <a:pt x="439871" y="24788"/>
                      <a:pt x="452320" y="118160"/>
                      <a:pt x="455433" y="167958"/>
                    </a:cubicBezTo>
                    <a:lnTo>
                      <a:pt x="1023" y="208420"/>
                    </a:lnTo>
                    <a:close/>
                  </a:path>
                </a:pathLst>
              </a:custGeom>
              <a:solidFill>
                <a:srgbClr val="F1DDBA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9" name="任意多边形: 形状 418">
                <a:extLst>
                  <a:ext uri="{FF2B5EF4-FFF2-40B4-BE49-F238E27FC236}">
                    <a16:creationId xmlns:a16="http://schemas.microsoft.com/office/drawing/2014/main" id="{B4A29F97-FDF4-44C2-9FDC-E56C2CAF8A36}"/>
                  </a:ext>
                </a:extLst>
              </p:cNvPr>
              <p:cNvSpPr/>
              <p:nvPr/>
            </p:nvSpPr>
            <p:spPr>
              <a:xfrm>
                <a:off x="7245313" y="2249150"/>
                <a:ext cx="1044845" cy="268010"/>
              </a:xfrm>
              <a:custGeom>
                <a:avLst/>
                <a:gdLst>
                  <a:gd name="connsiteX0" fmla="*/ 496373 w 1044845"/>
                  <a:gd name="connsiteY0" fmla="*/ 87491 h 268010"/>
                  <a:gd name="connsiteX1" fmla="*/ 73087 w 1044845"/>
                  <a:gd name="connsiteY1" fmla="*/ 268010 h 268010"/>
                  <a:gd name="connsiteX2" fmla="*/ 1502 w 1044845"/>
                  <a:gd name="connsiteY2" fmla="*/ 211987 h 268010"/>
                  <a:gd name="connsiteX3" fmla="*/ 483923 w 1044845"/>
                  <a:gd name="connsiteY3" fmla="*/ 12794 h 268010"/>
                  <a:gd name="connsiteX4" fmla="*/ 1041041 w 1044845"/>
                  <a:gd name="connsiteY4" fmla="*/ 90604 h 268010"/>
                  <a:gd name="connsiteX5" fmla="*/ 1013029 w 1044845"/>
                  <a:gd name="connsiteY5" fmla="*/ 152852 h 268010"/>
                  <a:gd name="connsiteX6" fmla="*/ 496373 w 1044845"/>
                  <a:gd name="connsiteY6" fmla="*/ 87491 h 26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4845" h="268010">
                    <a:moveTo>
                      <a:pt x="496373" y="87491"/>
                    </a:moveTo>
                    <a:cubicBezTo>
                      <a:pt x="256718" y="115503"/>
                      <a:pt x="73087" y="193313"/>
                      <a:pt x="73087" y="268010"/>
                    </a:cubicBezTo>
                    <a:cubicBezTo>
                      <a:pt x="32626" y="252448"/>
                      <a:pt x="7727" y="233774"/>
                      <a:pt x="1502" y="211987"/>
                    </a:cubicBezTo>
                    <a:cubicBezTo>
                      <a:pt x="-20285" y="134177"/>
                      <a:pt x="197583" y="43918"/>
                      <a:pt x="483923" y="12794"/>
                    </a:cubicBezTo>
                    <a:cubicBezTo>
                      <a:pt x="770263" y="-21442"/>
                      <a:pt x="1019254" y="15906"/>
                      <a:pt x="1041041" y="90604"/>
                    </a:cubicBezTo>
                    <a:cubicBezTo>
                      <a:pt x="1047266" y="115503"/>
                      <a:pt x="1050378" y="127953"/>
                      <a:pt x="1013029" y="152852"/>
                    </a:cubicBezTo>
                    <a:cubicBezTo>
                      <a:pt x="975681" y="81267"/>
                      <a:pt x="742251" y="59480"/>
                      <a:pt x="496373" y="87491"/>
                    </a:cubicBezTo>
                    <a:close/>
                  </a:path>
                </a:pathLst>
              </a:custGeom>
              <a:solidFill>
                <a:srgbClr val="F1DDBA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0" name="任意多边形: 形状 419">
                <a:extLst>
                  <a:ext uri="{FF2B5EF4-FFF2-40B4-BE49-F238E27FC236}">
                    <a16:creationId xmlns:a16="http://schemas.microsoft.com/office/drawing/2014/main" id="{4DCD0E05-52BF-4953-A259-BD52F2F6B05C}"/>
                  </a:ext>
                </a:extLst>
              </p:cNvPr>
              <p:cNvSpPr/>
              <p:nvPr/>
            </p:nvSpPr>
            <p:spPr>
              <a:xfrm>
                <a:off x="7536268" y="2249218"/>
                <a:ext cx="466858" cy="50074"/>
              </a:xfrm>
              <a:custGeom>
                <a:avLst/>
                <a:gdLst>
                  <a:gd name="connsiteX0" fmla="*/ 6225 w 466858"/>
                  <a:gd name="connsiteY0" fmla="*/ 50074 h 50074"/>
                  <a:gd name="connsiteX1" fmla="*/ 0 w 466858"/>
                  <a:gd name="connsiteY1" fmla="*/ 46962 h 50074"/>
                  <a:gd name="connsiteX2" fmla="*/ 3113 w 466858"/>
                  <a:gd name="connsiteY2" fmla="*/ 40737 h 50074"/>
                  <a:gd name="connsiteX3" fmla="*/ 460634 w 466858"/>
                  <a:gd name="connsiteY3" fmla="*/ 276 h 50074"/>
                  <a:gd name="connsiteX4" fmla="*/ 466859 w 466858"/>
                  <a:gd name="connsiteY4" fmla="*/ 6501 h 50074"/>
                  <a:gd name="connsiteX5" fmla="*/ 460634 w 466858"/>
                  <a:gd name="connsiteY5" fmla="*/ 12725 h 50074"/>
                  <a:gd name="connsiteX6" fmla="*/ 460634 w 466858"/>
                  <a:gd name="connsiteY6" fmla="*/ 12725 h 50074"/>
                  <a:gd name="connsiteX7" fmla="*/ 6225 w 466858"/>
                  <a:gd name="connsiteY7" fmla="*/ 50074 h 50074"/>
                  <a:gd name="connsiteX8" fmla="*/ 6225 w 466858"/>
                  <a:gd name="connsiteY8" fmla="*/ 50074 h 50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6858" h="50074">
                    <a:moveTo>
                      <a:pt x="6225" y="50074"/>
                    </a:moveTo>
                    <a:cubicBezTo>
                      <a:pt x="3113" y="50074"/>
                      <a:pt x="0" y="46962"/>
                      <a:pt x="0" y="46962"/>
                    </a:cubicBezTo>
                    <a:cubicBezTo>
                      <a:pt x="0" y="43849"/>
                      <a:pt x="0" y="40737"/>
                      <a:pt x="3113" y="40737"/>
                    </a:cubicBezTo>
                    <a:cubicBezTo>
                      <a:pt x="205418" y="-5949"/>
                      <a:pt x="457522" y="276"/>
                      <a:pt x="460634" y="276"/>
                    </a:cubicBezTo>
                    <a:cubicBezTo>
                      <a:pt x="463747" y="276"/>
                      <a:pt x="466859" y="3388"/>
                      <a:pt x="466859" y="6501"/>
                    </a:cubicBezTo>
                    <a:cubicBezTo>
                      <a:pt x="466859" y="9613"/>
                      <a:pt x="463747" y="12725"/>
                      <a:pt x="460634" y="12725"/>
                    </a:cubicBezTo>
                    <a:cubicBezTo>
                      <a:pt x="460634" y="12725"/>
                      <a:pt x="460634" y="12725"/>
                      <a:pt x="460634" y="12725"/>
                    </a:cubicBezTo>
                    <a:cubicBezTo>
                      <a:pt x="460634" y="6501"/>
                      <a:pt x="208530" y="3388"/>
                      <a:pt x="6225" y="50074"/>
                    </a:cubicBezTo>
                    <a:cubicBezTo>
                      <a:pt x="9337" y="50074"/>
                      <a:pt x="9337" y="50074"/>
                      <a:pt x="6225" y="50074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21" name="图形 1">
              <a:extLst>
                <a:ext uri="{FF2B5EF4-FFF2-40B4-BE49-F238E27FC236}">
                  <a16:creationId xmlns:a16="http://schemas.microsoft.com/office/drawing/2014/main" id="{00A64FB6-BD0D-4CF0-AF4B-92F133967EE0}"/>
                </a:ext>
              </a:extLst>
            </p:cNvPr>
            <p:cNvGrpSpPr/>
            <p:nvPr/>
          </p:nvGrpSpPr>
          <p:grpSpPr>
            <a:xfrm>
              <a:off x="8432478" y="4144941"/>
              <a:ext cx="118847" cy="127608"/>
              <a:chOff x="8432478" y="4144941"/>
              <a:chExt cx="118847" cy="127608"/>
            </a:xfrm>
          </p:grpSpPr>
          <p:sp>
            <p:nvSpPr>
              <p:cNvPr id="422" name="任意多边形: 形状 421">
                <a:extLst>
                  <a:ext uri="{FF2B5EF4-FFF2-40B4-BE49-F238E27FC236}">
                    <a16:creationId xmlns:a16="http://schemas.microsoft.com/office/drawing/2014/main" id="{4ABED9A9-C0B3-4218-85C9-2ECAEB4E8C80}"/>
                  </a:ext>
                </a:extLst>
              </p:cNvPr>
              <p:cNvSpPr/>
              <p:nvPr/>
            </p:nvSpPr>
            <p:spPr>
              <a:xfrm>
                <a:off x="8432478" y="4150515"/>
                <a:ext cx="115316" cy="118921"/>
              </a:xfrm>
              <a:custGeom>
                <a:avLst/>
                <a:gdLst>
                  <a:gd name="connsiteX0" fmla="*/ 115317 w 115316"/>
                  <a:gd name="connsiteY0" fmla="*/ 62899 h 118921"/>
                  <a:gd name="connsiteX1" fmla="*/ 56182 w 115316"/>
                  <a:gd name="connsiteY1" fmla="*/ 651 h 118921"/>
                  <a:gd name="connsiteX2" fmla="*/ 159 w 115316"/>
                  <a:gd name="connsiteY2" fmla="*/ 34887 h 118921"/>
                  <a:gd name="connsiteX3" fmla="*/ 49957 w 115316"/>
                  <a:gd name="connsiteY3" fmla="*/ 50449 h 118921"/>
                  <a:gd name="connsiteX4" fmla="*/ 74856 w 115316"/>
                  <a:gd name="connsiteY4" fmla="*/ 94023 h 118921"/>
                  <a:gd name="connsiteX5" fmla="*/ 81081 w 115316"/>
                  <a:gd name="connsiteY5" fmla="*/ 118922 h 118921"/>
                  <a:gd name="connsiteX6" fmla="*/ 115317 w 115316"/>
                  <a:gd name="connsiteY6" fmla="*/ 62899 h 118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5316" h="118921">
                    <a:moveTo>
                      <a:pt x="115317" y="62899"/>
                    </a:moveTo>
                    <a:cubicBezTo>
                      <a:pt x="115317" y="34887"/>
                      <a:pt x="77968" y="6876"/>
                      <a:pt x="56182" y="651"/>
                    </a:cubicBezTo>
                    <a:cubicBezTo>
                      <a:pt x="40620" y="-5574"/>
                      <a:pt x="-2954" y="34887"/>
                      <a:pt x="159" y="34887"/>
                    </a:cubicBezTo>
                    <a:cubicBezTo>
                      <a:pt x="12608" y="38000"/>
                      <a:pt x="37507" y="44224"/>
                      <a:pt x="49957" y="50449"/>
                    </a:cubicBezTo>
                    <a:cubicBezTo>
                      <a:pt x="68631" y="62899"/>
                      <a:pt x="71744" y="75348"/>
                      <a:pt x="74856" y="94023"/>
                    </a:cubicBezTo>
                    <a:cubicBezTo>
                      <a:pt x="74856" y="100248"/>
                      <a:pt x="71744" y="115809"/>
                      <a:pt x="81081" y="118922"/>
                    </a:cubicBezTo>
                    <a:cubicBezTo>
                      <a:pt x="96643" y="118922"/>
                      <a:pt x="115317" y="75348"/>
                      <a:pt x="115317" y="6289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3" name="任意多边形: 形状 422">
                <a:extLst>
                  <a:ext uri="{FF2B5EF4-FFF2-40B4-BE49-F238E27FC236}">
                    <a16:creationId xmlns:a16="http://schemas.microsoft.com/office/drawing/2014/main" id="{F84D7D3C-9B71-4DA5-B53B-26A3BA534AB0}"/>
                  </a:ext>
                </a:extLst>
              </p:cNvPr>
              <p:cNvSpPr/>
              <p:nvPr/>
            </p:nvSpPr>
            <p:spPr>
              <a:xfrm>
                <a:off x="8434460" y="4144941"/>
                <a:ext cx="116865" cy="127608"/>
              </a:xfrm>
              <a:custGeom>
                <a:avLst/>
                <a:gdLst>
                  <a:gd name="connsiteX0" fmla="*/ 75987 w 116865"/>
                  <a:gd name="connsiteY0" fmla="*/ 127608 h 127608"/>
                  <a:gd name="connsiteX1" fmla="*/ 66649 w 116865"/>
                  <a:gd name="connsiteY1" fmla="*/ 124496 h 127608"/>
                  <a:gd name="connsiteX2" fmla="*/ 60425 w 116865"/>
                  <a:gd name="connsiteY2" fmla="*/ 99597 h 127608"/>
                  <a:gd name="connsiteX3" fmla="*/ 44863 w 116865"/>
                  <a:gd name="connsiteY3" fmla="*/ 59135 h 127608"/>
                  <a:gd name="connsiteX4" fmla="*/ 4401 w 116865"/>
                  <a:gd name="connsiteY4" fmla="*/ 68473 h 127608"/>
                  <a:gd name="connsiteX5" fmla="*/ 1289 w 116865"/>
                  <a:gd name="connsiteY5" fmla="*/ 62248 h 127608"/>
                  <a:gd name="connsiteX6" fmla="*/ 7514 w 116865"/>
                  <a:gd name="connsiteY6" fmla="*/ 59135 h 127608"/>
                  <a:gd name="connsiteX7" fmla="*/ 41750 w 116865"/>
                  <a:gd name="connsiteY7" fmla="*/ 49798 h 127608"/>
                  <a:gd name="connsiteX8" fmla="*/ 47975 w 116865"/>
                  <a:gd name="connsiteY8" fmla="*/ 49798 h 127608"/>
                  <a:gd name="connsiteX9" fmla="*/ 72874 w 116865"/>
                  <a:gd name="connsiteY9" fmla="*/ 102709 h 127608"/>
                  <a:gd name="connsiteX10" fmla="*/ 75987 w 116865"/>
                  <a:gd name="connsiteY10" fmla="*/ 118271 h 127608"/>
                  <a:gd name="connsiteX11" fmla="*/ 79099 w 116865"/>
                  <a:gd name="connsiteY11" fmla="*/ 118271 h 127608"/>
                  <a:gd name="connsiteX12" fmla="*/ 103998 w 116865"/>
                  <a:gd name="connsiteY12" fmla="*/ 68473 h 127608"/>
                  <a:gd name="connsiteX13" fmla="*/ 47975 w 116865"/>
                  <a:gd name="connsiteY13" fmla="*/ 12450 h 127608"/>
                  <a:gd name="connsiteX14" fmla="*/ 44863 w 116865"/>
                  <a:gd name="connsiteY14" fmla="*/ 3112 h 127608"/>
                  <a:gd name="connsiteX15" fmla="*/ 54200 w 116865"/>
                  <a:gd name="connsiteY15" fmla="*/ 0 h 127608"/>
                  <a:gd name="connsiteX16" fmla="*/ 116448 w 116865"/>
                  <a:gd name="connsiteY16" fmla="*/ 68473 h 127608"/>
                  <a:gd name="connsiteX17" fmla="*/ 85324 w 116865"/>
                  <a:gd name="connsiteY17" fmla="*/ 127608 h 127608"/>
                  <a:gd name="connsiteX18" fmla="*/ 75987 w 116865"/>
                  <a:gd name="connsiteY18" fmla="*/ 127608 h 127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6865" h="127608">
                    <a:moveTo>
                      <a:pt x="75987" y="127608"/>
                    </a:moveTo>
                    <a:cubicBezTo>
                      <a:pt x="72874" y="127608"/>
                      <a:pt x="69762" y="127608"/>
                      <a:pt x="66649" y="124496"/>
                    </a:cubicBezTo>
                    <a:cubicBezTo>
                      <a:pt x="60425" y="118271"/>
                      <a:pt x="60425" y="112046"/>
                      <a:pt x="60425" y="99597"/>
                    </a:cubicBezTo>
                    <a:cubicBezTo>
                      <a:pt x="60425" y="84035"/>
                      <a:pt x="60425" y="68473"/>
                      <a:pt x="44863" y="59135"/>
                    </a:cubicBezTo>
                    <a:cubicBezTo>
                      <a:pt x="38638" y="62248"/>
                      <a:pt x="19963" y="71585"/>
                      <a:pt x="4401" y="68473"/>
                    </a:cubicBezTo>
                    <a:cubicBezTo>
                      <a:pt x="1289" y="68473"/>
                      <a:pt x="-1823" y="65360"/>
                      <a:pt x="1289" y="62248"/>
                    </a:cubicBezTo>
                    <a:cubicBezTo>
                      <a:pt x="1289" y="59135"/>
                      <a:pt x="4401" y="56023"/>
                      <a:pt x="7514" y="59135"/>
                    </a:cubicBezTo>
                    <a:cubicBezTo>
                      <a:pt x="19963" y="62248"/>
                      <a:pt x="35525" y="52911"/>
                      <a:pt x="41750" y="49798"/>
                    </a:cubicBezTo>
                    <a:cubicBezTo>
                      <a:pt x="44863" y="49798"/>
                      <a:pt x="44863" y="49798"/>
                      <a:pt x="47975" y="49798"/>
                    </a:cubicBezTo>
                    <a:cubicBezTo>
                      <a:pt x="72874" y="65360"/>
                      <a:pt x="72874" y="87147"/>
                      <a:pt x="72874" y="102709"/>
                    </a:cubicBezTo>
                    <a:cubicBezTo>
                      <a:pt x="72874" y="108934"/>
                      <a:pt x="72874" y="115159"/>
                      <a:pt x="75987" y="118271"/>
                    </a:cubicBezTo>
                    <a:cubicBezTo>
                      <a:pt x="75987" y="118271"/>
                      <a:pt x="79099" y="118271"/>
                      <a:pt x="79099" y="118271"/>
                    </a:cubicBezTo>
                    <a:cubicBezTo>
                      <a:pt x="88436" y="115159"/>
                      <a:pt x="100886" y="96484"/>
                      <a:pt x="103998" y="68473"/>
                    </a:cubicBezTo>
                    <a:cubicBezTo>
                      <a:pt x="107110" y="43574"/>
                      <a:pt x="63537" y="18674"/>
                      <a:pt x="47975" y="12450"/>
                    </a:cubicBezTo>
                    <a:cubicBezTo>
                      <a:pt x="44863" y="12450"/>
                      <a:pt x="44863" y="6225"/>
                      <a:pt x="44863" y="3112"/>
                    </a:cubicBezTo>
                    <a:cubicBezTo>
                      <a:pt x="44863" y="0"/>
                      <a:pt x="51087" y="0"/>
                      <a:pt x="54200" y="0"/>
                    </a:cubicBezTo>
                    <a:cubicBezTo>
                      <a:pt x="57312" y="0"/>
                      <a:pt x="122672" y="31124"/>
                      <a:pt x="116448" y="68473"/>
                    </a:cubicBezTo>
                    <a:cubicBezTo>
                      <a:pt x="113335" y="96484"/>
                      <a:pt x="97773" y="121383"/>
                      <a:pt x="85324" y="127608"/>
                    </a:cubicBezTo>
                    <a:cubicBezTo>
                      <a:pt x="82211" y="127608"/>
                      <a:pt x="79099" y="127608"/>
                      <a:pt x="75987" y="12760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7895786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1395FFA8-D71E-4797-AF18-C36C4D30ECB9}"/>
              </a:ext>
            </a:extLst>
          </p:cNvPr>
          <p:cNvGrpSpPr/>
          <p:nvPr/>
        </p:nvGrpSpPr>
        <p:grpSpPr>
          <a:xfrm>
            <a:off x="1989480" y="2906556"/>
            <a:ext cx="8213039" cy="3951444"/>
            <a:chOff x="9383754" y="8629897"/>
            <a:chExt cx="8213039" cy="3951444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D620C166-BB95-4C63-822E-D02DF59A511A}"/>
                </a:ext>
              </a:extLst>
            </p:cNvPr>
            <p:cNvGrpSpPr/>
            <p:nvPr/>
          </p:nvGrpSpPr>
          <p:grpSpPr>
            <a:xfrm>
              <a:off x="9383754" y="11048226"/>
              <a:ext cx="1758803" cy="1469049"/>
              <a:chOff x="9383754" y="11048226"/>
              <a:chExt cx="1758803" cy="1469049"/>
            </a:xfrm>
          </p:grpSpPr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09ED7BE2-8DF4-42E1-90F3-C7D45288457F}"/>
                  </a:ext>
                </a:extLst>
              </p:cNvPr>
              <p:cNvSpPr/>
              <p:nvPr/>
            </p:nvSpPr>
            <p:spPr>
              <a:xfrm>
                <a:off x="9543171" y="11100547"/>
                <a:ext cx="352879" cy="1416728"/>
              </a:xfrm>
              <a:custGeom>
                <a:avLst/>
                <a:gdLst>
                  <a:gd name="connsiteX0" fmla="*/ 321166 w 352879"/>
                  <a:gd name="connsiteY0" fmla="*/ 1416728 h 1416728"/>
                  <a:gd name="connsiteX1" fmla="*/ 327391 w 352879"/>
                  <a:gd name="connsiteY1" fmla="*/ 1416728 h 1416728"/>
                  <a:gd name="connsiteX2" fmla="*/ 352290 w 352879"/>
                  <a:gd name="connsiteY2" fmla="*/ 1376267 h 1416728"/>
                  <a:gd name="connsiteX3" fmla="*/ 65950 w 352879"/>
                  <a:gd name="connsiteY3" fmla="*/ 25489 h 1416728"/>
                  <a:gd name="connsiteX4" fmla="*/ 25489 w 352879"/>
                  <a:gd name="connsiteY4" fmla="*/ 590 h 1416728"/>
                  <a:gd name="connsiteX5" fmla="*/ 590 w 352879"/>
                  <a:gd name="connsiteY5" fmla="*/ 41051 h 1416728"/>
                  <a:gd name="connsiteX6" fmla="*/ 286930 w 352879"/>
                  <a:gd name="connsiteY6" fmla="*/ 1391829 h 1416728"/>
                  <a:gd name="connsiteX7" fmla="*/ 321166 w 352879"/>
                  <a:gd name="connsiteY7" fmla="*/ 1416728 h 1416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879" h="1416728">
                    <a:moveTo>
                      <a:pt x="321166" y="1416728"/>
                    </a:moveTo>
                    <a:cubicBezTo>
                      <a:pt x="324279" y="1416728"/>
                      <a:pt x="327391" y="1416728"/>
                      <a:pt x="327391" y="1416728"/>
                    </a:cubicBezTo>
                    <a:cubicBezTo>
                      <a:pt x="346065" y="1413616"/>
                      <a:pt x="355403" y="1394941"/>
                      <a:pt x="352290" y="1376267"/>
                    </a:cubicBezTo>
                    <a:lnTo>
                      <a:pt x="65950" y="25489"/>
                    </a:lnTo>
                    <a:cubicBezTo>
                      <a:pt x="62838" y="6814"/>
                      <a:pt x="44163" y="-2523"/>
                      <a:pt x="25489" y="590"/>
                    </a:cubicBezTo>
                    <a:cubicBezTo>
                      <a:pt x="6814" y="3702"/>
                      <a:pt x="-2522" y="22376"/>
                      <a:pt x="590" y="41051"/>
                    </a:cubicBezTo>
                    <a:lnTo>
                      <a:pt x="286930" y="1391829"/>
                    </a:lnTo>
                    <a:cubicBezTo>
                      <a:pt x="293155" y="1407391"/>
                      <a:pt x="305604" y="1416728"/>
                      <a:pt x="321166" y="1416728"/>
                    </a:cubicBez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8EA3D18F-3FFE-4D17-9D31-1C123FDB1E92}"/>
                  </a:ext>
                </a:extLst>
              </p:cNvPr>
              <p:cNvSpPr/>
              <p:nvPr/>
            </p:nvSpPr>
            <p:spPr>
              <a:xfrm>
                <a:off x="9383754" y="11311505"/>
                <a:ext cx="640589" cy="1106173"/>
              </a:xfrm>
              <a:custGeom>
                <a:avLst/>
                <a:gdLst>
                  <a:gd name="connsiteX0" fmla="*/ 35511 w 640589"/>
                  <a:gd name="connsiteY0" fmla="*/ 1106174 h 1106173"/>
                  <a:gd name="connsiteX1" fmla="*/ 63523 w 640589"/>
                  <a:gd name="connsiteY1" fmla="*/ 1090612 h 1106173"/>
                  <a:gd name="connsiteX2" fmla="*/ 636203 w 640589"/>
                  <a:gd name="connsiteY2" fmla="*/ 51073 h 1106173"/>
                  <a:gd name="connsiteX3" fmla="*/ 623753 w 640589"/>
                  <a:gd name="connsiteY3" fmla="*/ 4387 h 1106173"/>
                  <a:gd name="connsiteX4" fmla="*/ 577067 w 640589"/>
                  <a:gd name="connsiteY4" fmla="*/ 16836 h 1106173"/>
                  <a:gd name="connsiteX5" fmla="*/ 4387 w 640589"/>
                  <a:gd name="connsiteY5" fmla="*/ 1056375 h 1106173"/>
                  <a:gd name="connsiteX6" fmla="*/ 16837 w 640589"/>
                  <a:gd name="connsiteY6" fmla="*/ 1103061 h 1106173"/>
                  <a:gd name="connsiteX7" fmla="*/ 35511 w 640589"/>
                  <a:gd name="connsiteY7" fmla="*/ 1106174 h 1106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40589" h="1106173">
                    <a:moveTo>
                      <a:pt x="35511" y="1106174"/>
                    </a:moveTo>
                    <a:cubicBezTo>
                      <a:pt x="47961" y="1106174"/>
                      <a:pt x="57298" y="1099949"/>
                      <a:pt x="63523" y="1090612"/>
                    </a:cubicBezTo>
                    <a:lnTo>
                      <a:pt x="636203" y="51073"/>
                    </a:lnTo>
                    <a:cubicBezTo>
                      <a:pt x="645540" y="35511"/>
                      <a:pt x="639315" y="13724"/>
                      <a:pt x="623753" y="4387"/>
                    </a:cubicBezTo>
                    <a:cubicBezTo>
                      <a:pt x="608191" y="-4950"/>
                      <a:pt x="586404" y="1274"/>
                      <a:pt x="577067" y="16836"/>
                    </a:cubicBezTo>
                    <a:lnTo>
                      <a:pt x="4387" y="1056375"/>
                    </a:lnTo>
                    <a:cubicBezTo>
                      <a:pt x="-4950" y="1071937"/>
                      <a:pt x="1275" y="1093724"/>
                      <a:pt x="16837" y="1103061"/>
                    </a:cubicBezTo>
                    <a:cubicBezTo>
                      <a:pt x="26174" y="1103061"/>
                      <a:pt x="32399" y="1106174"/>
                      <a:pt x="35511" y="1106174"/>
                    </a:cubicBez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6E378ECE-C361-4988-8E77-6CB3C234CDD7}"/>
                  </a:ext>
                </a:extLst>
              </p:cNvPr>
              <p:cNvSpPr/>
              <p:nvPr/>
            </p:nvSpPr>
            <p:spPr>
              <a:xfrm>
                <a:off x="10229459" y="11067873"/>
                <a:ext cx="913098" cy="1377816"/>
              </a:xfrm>
              <a:custGeom>
                <a:avLst/>
                <a:gdLst>
                  <a:gd name="connsiteX0" fmla="*/ 879834 w 913098"/>
                  <a:gd name="connsiteY0" fmla="*/ 1377817 h 1377816"/>
                  <a:gd name="connsiteX1" fmla="*/ 898509 w 913098"/>
                  <a:gd name="connsiteY1" fmla="*/ 1371592 h 1377816"/>
                  <a:gd name="connsiteX2" fmla="*/ 907846 w 913098"/>
                  <a:gd name="connsiteY2" fmla="*/ 1324907 h 1377816"/>
                  <a:gd name="connsiteX3" fmla="*/ 61275 w 913098"/>
                  <a:gd name="connsiteY3" fmla="*/ 14589 h 1377816"/>
                  <a:gd name="connsiteX4" fmla="*/ 14589 w 913098"/>
                  <a:gd name="connsiteY4" fmla="*/ 5253 h 1377816"/>
                  <a:gd name="connsiteX5" fmla="*/ 5252 w 913098"/>
                  <a:gd name="connsiteY5" fmla="*/ 51938 h 1377816"/>
                  <a:gd name="connsiteX6" fmla="*/ 848710 w 913098"/>
                  <a:gd name="connsiteY6" fmla="*/ 1365367 h 1377816"/>
                  <a:gd name="connsiteX7" fmla="*/ 879834 w 913098"/>
                  <a:gd name="connsiteY7" fmla="*/ 1377817 h 1377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3098" h="1377816">
                    <a:moveTo>
                      <a:pt x="879834" y="1377817"/>
                    </a:moveTo>
                    <a:cubicBezTo>
                      <a:pt x="886059" y="1377817"/>
                      <a:pt x="892284" y="1374705"/>
                      <a:pt x="898509" y="1371592"/>
                    </a:cubicBezTo>
                    <a:cubicBezTo>
                      <a:pt x="914071" y="1362255"/>
                      <a:pt x="917183" y="1340469"/>
                      <a:pt x="907846" y="1324907"/>
                    </a:cubicBezTo>
                    <a:lnTo>
                      <a:pt x="61275" y="14589"/>
                    </a:lnTo>
                    <a:cubicBezTo>
                      <a:pt x="51938" y="-973"/>
                      <a:pt x="30151" y="-4085"/>
                      <a:pt x="14589" y="5253"/>
                    </a:cubicBezTo>
                    <a:cubicBezTo>
                      <a:pt x="-973" y="14589"/>
                      <a:pt x="-4085" y="36376"/>
                      <a:pt x="5252" y="51938"/>
                    </a:cubicBezTo>
                    <a:lnTo>
                      <a:pt x="848710" y="1365367"/>
                    </a:lnTo>
                    <a:cubicBezTo>
                      <a:pt x="858047" y="1371592"/>
                      <a:pt x="867385" y="1377817"/>
                      <a:pt x="879834" y="1377817"/>
                    </a:cubicBez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616CDCEC-85C3-4D95-970E-809600EE87FC}"/>
                  </a:ext>
                </a:extLst>
              </p:cNvPr>
              <p:cNvSpPr/>
              <p:nvPr/>
            </p:nvSpPr>
            <p:spPr>
              <a:xfrm>
                <a:off x="10385079" y="11310640"/>
                <a:ext cx="710792" cy="1107038"/>
              </a:xfrm>
              <a:custGeom>
                <a:avLst/>
                <a:gdLst>
                  <a:gd name="connsiteX0" fmla="*/ 33263 w 710792"/>
                  <a:gd name="connsiteY0" fmla="*/ 1107039 h 1107038"/>
                  <a:gd name="connsiteX1" fmla="*/ 61275 w 710792"/>
                  <a:gd name="connsiteY1" fmla="*/ 1091477 h 1107038"/>
                  <a:gd name="connsiteX2" fmla="*/ 705540 w 710792"/>
                  <a:gd name="connsiteY2" fmla="*/ 51938 h 1107038"/>
                  <a:gd name="connsiteX3" fmla="*/ 696203 w 710792"/>
                  <a:gd name="connsiteY3" fmla="*/ 5252 h 1107038"/>
                  <a:gd name="connsiteX4" fmla="*/ 649517 w 710792"/>
                  <a:gd name="connsiteY4" fmla="*/ 14589 h 1107038"/>
                  <a:gd name="connsiteX5" fmla="*/ 5252 w 710792"/>
                  <a:gd name="connsiteY5" fmla="*/ 1054129 h 1107038"/>
                  <a:gd name="connsiteX6" fmla="*/ 14590 w 710792"/>
                  <a:gd name="connsiteY6" fmla="*/ 1100815 h 1107038"/>
                  <a:gd name="connsiteX7" fmla="*/ 33263 w 710792"/>
                  <a:gd name="connsiteY7" fmla="*/ 1107039 h 1107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0792" h="1107038">
                    <a:moveTo>
                      <a:pt x="33263" y="1107039"/>
                    </a:moveTo>
                    <a:cubicBezTo>
                      <a:pt x="42601" y="1107039"/>
                      <a:pt x="55050" y="1100815"/>
                      <a:pt x="61275" y="1091477"/>
                    </a:cubicBezTo>
                    <a:lnTo>
                      <a:pt x="705540" y="51938"/>
                    </a:lnTo>
                    <a:cubicBezTo>
                      <a:pt x="714878" y="36376"/>
                      <a:pt x="711765" y="17701"/>
                      <a:pt x="696203" y="5252"/>
                    </a:cubicBezTo>
                    <a:cubicBezTo>
                      <a:pt x="680641" y="-4085"/>
                      <a:pt x="661967" y="-973"/>
                      <a:pt x="649517" y="14589"/>
                    </a:cubicBezTo>
                    <a:lnTo>
                      <a:pt x="5252" y="1054129"/>
                    </a:lnTo>
                    <a:cubicBezTo>
                      <a:pt x="-4085" y="1069691"/>
                      <a:pt x="-972" y="1088364"/>
                      <a:pt x="14590" y="1100815"/>
                    </a:cubicBezTo>
                    <a:cubicBezTo>
                      <a:pt x="20814" y="1103926"/>
                      <a:pt x="27039" y="1107039"/>
                      <a:pt x="33263" y="1107039"/>
                    </a:cubicBez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6BB89915-E6EA-410D-BBCB-69A3E6F804F1}"/>
                  </a:ext>
                </a:extLst>
              </p:cNvPr>
              <p:cNvSpPr/>
              <p:nvPr/>
            </p:nvSpPr>
            <p:spPr>
              <a:xfrm>
                <a:off x="9923472" y="11294105"/>
                <a:ext cx="1216945" cy="150086"/>
              </a:xfrm>
              <a:custGeom>
                <a:avLst/>
                <a:gdLst>
                  <a:gd name="connsiteX0" fmla="*/ 0 w 1216945"/>
                  <a:gd name="connsiteY0" fmla="*/ 0 h 150086"/>
                  <a:gd name="connsiteX1" fmla="*/ 0 w 1216945"/>
                  <a:gd name="connsiteY1" fmla="*/ 68473 h 150086"/>
                  <a:gd name="connsiteX2" fmla="*/ 1216945 w 1216945"/>
                  <a:gd name="connsiteY2" fmla="*/ 68473 h 150086"/>
                  <a:gd name="connsiteX3" fmla="*/ 1216945 w 1216945"/>
                  <a:gd name="connsiteY3" fmla="*/ 0 h 150086"/>
                  <a:gd name="connsiteX4" fmla="*/ 0 w 1216945"/>
                  <a:gd name="connsiteY4" fmla="*/ 0 h 150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6945" h="150086">
                    <a:moveTo>
                      <a:pt x="0" y="0"/>
                    </a:moveTo>
                    <a:lnTo>
                      <a:pt x="0" y="68473"/>
                    </a:lnTo>
                    <a:cubicBezTo>
                      <a:pt x="0" y="68473"/>
                      <a:pt x="323689" y="252104"/>
                      <a:pt x="1216945" y="68473"/>
                    </a:cubicBezTo>
                    <a:lnTo>
                      <a:pt x="1216945" y="0"/>
                    </a:lnTo>
                    <a:cubicBezTo>
                      <a:pt x="1216945" y="0"/>
                      <a:pt x="638040" y="127608"/>
                      <a:pt x="0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25E4E57B-06A0-462C-BE03-11937802D1BE}"/>
                  </a:ext>
                </a:extLst>
              </p:cNvPr>
              <p:cNvSpPr/>
              <p:nvPr/>
            </p:nvSpPr>
            <p:spPr>
              <a:xfrm>
                <a:off x="9434827" y="11048226"/>
                <a:ext cx="1705590" cy="312276"/>
              </a:xfrm>
              <a:custGeom>
                <a:avLst/>
                <a:gdLst>
                  <a:gd name="connsiteX0" fmla="*/ 1705591 w 1705590"/>
                  <a:gd name="connsiteY0" fmla="*/ 245879 h 312276"/>
                  <a:gd name="connsiteX1" fmla="*/ 967954 w 1705590"/>
                  <a:gd name="connsiteY1" fmla="*/ 0 h 312276"/>
                  <a:gd name="connsiteX2" fmla="*/ 0 w 1705590"/>
                  <a:gd name="connsiteY2" fmla="*/ 18675 h 312276"/>
                  <a:gd name="connsiteX3" fmla="*/ 491758 w 1705590"/>
                  <a:gd name="connsiteY3" fmla="*/ 245879 h 312276"/>
                  <a:gd name="connsiteX4" fmla="*/ 1705591 w 1705590"/>
                  <a:gd name="connsiteY4" fmla="*/ 245879 h 312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5590" h="312276">
                    <a:moveTo>
                      <a:pt x="1705591" y="245879"/>
                    </a:moveTo>
                    <a:cubicBezTo>
                      <a:pt x="1705591" y="245879"/>
                      <a:pt x="1484611" y="205418"/>
                      <a:pt x="967954" y="0"/>
                    </a:cubicBezTo>
                    <a:cubicBezTo>
                      <a:pt x="967954" y="0"/>
                      <a:pt x="572680" y="52911"/>
                      <a:pt x="0" y="18675"/>
                    </a:cubicBezTo>
                    <a:cubicBezTo>
                      <a:pt x="0" y="18675"/>
                      <a:pt x="177406" y="174294"/>
                      <a:pt x="491758" y="245879"/>
                    </a:cubicBezTo>
                    <a:cubicBezTo>
                      <a:pt x="488645" y="245879"/>
                      <a:pt x="921268" y="395274"/>
                      <a:pt x="1705591" y="245879"/>
                    </a:cubicBezTo>
                    <a:close/>
                  </a:path>
                </a:pathLst>
              </a:custGeom>
              <a:solidFill>
                <a:srgbClr val="F1DDB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33443A85-DB0A-4FC9-93EE-046E0BC140AA}"/>
                  </a:ext>
                </a:extLst>
              </p:cNvPr>
              <p:cNvSpPr/>
              <p:nvPr/>
            </p:nvSpPr>
            <p:spPr>
              <a:xfrm>
                <a:off x="9431715" y="11063788"/>
                <a:ext cx="491757" cy="295677"/>
              </a:xfrm>
              <a:custGeom>
                <a:avLst/>
                <a:gdLst>
                  <a:gd name="connsiteX0" fmla="*/ 491758 w 491757"/>
                  <a:gd name="connsiteY0" fmla="*/ 295677 h 295677"/>
                  <a:gd name="connsiteX1" fmla="*/ 491758 w 491757"/>
                  <a:gd name="connsiteY1" fmla="*/ 227205 h 295677"/>
                  <a:gd name="connsiteX2" fmla="*/ 0 w 491757"/>
                  <a:gd name="connsiteY2" fmla="*/ 0 h 295677"/>
                  <a:gd name="connsiteX3" fmla="*/ 0 w 491757"/>
                  <a:gd name="connsiteY3" fmla="*/ 74697 h 295677"/>
                  <a:gd name="connsiteX4" fmla="*/ 491758 w 491757"/>
                  <a:gd name="connsiteY4" fmla="*/ 295677 h 295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1757" h="295677">
                    <a:moveTo>
                      <a:pt x="491758" y="295677"/>
                    </a:moveTo>
                    <a:lnTo>
                      <a:pt x="491758" y="227205"/>
                    </a:lnTo>
                    <a:cubicBezTo>
                      <a:pt x="491758" y="227205"/>
                      <a:pt x="236542" y="118271"/>
                      <a:pt x="0" y="0"/>
                    </a:cubicBezTo>
                    <a:lnTo>
                      <a:pt x="0" y="74697"/>
                    </a:lnTo>
                    <a:cubicBezTo>
                      <a:pt x="3112" y="77810"/>
                      <a:pt x="199193" y="220980"/>
                      <a:pt x="491758" y="29567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C34AE8CD-7D0B-4511-A1DD-ADDF22783144}"/>
                </a:ext>
              </a:extLst>
            </p:cNvPr>
            <p:cNvGrpSpPr/>
            <p:nvPr/>
          </p:nvGrpSpPr>
          <p:grpSpPr>
            <a:xfrm>
              <a:off x="10858746" y="12224711"/>
              <a:ext cx="403518" cy="347294"/>
              <a:chOff x="10858746" y="12224711"/>
              <a:chExt cx="403518" cy="347294"/>
            </a:xfrm>
          </p:grpSpPr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F61D6564-99C7-41C6-BE89-B7B017A4F364}"/>
                  </a:ext>
                </a:extLst>
              </p:cNvPr>
              <p:cNvSpPr/>
              <p:nvPr/>
            </p:nvSpPr>
            <p:spPr>
              <a:xfrm>
                <a:off x="10858746" y="12346094"/>
                <a:ext cx="403518" cy="225911"/>
              </a:xfrm>
              <a:custGeom>
                <a:avLst/>
                <a:gdLst>
                  <a:gd name="connsiteX0" fmla="*/ 135389 w 403518"/>
                  <a:gd name="connsiteY0" fmla="*/ 0 h 225911"/>
                  <a:gd name="connsiteX1" fmla="*/ 272335 w 403518"/>
                  <a:gd name="connsiteY1" fmla="*/ 112046 h 225911"/>
                  <a:gd name="connsiteX2" fmla="*/ 73141 w 403518"/>
                  <a:gd name="connsiteY2" fmla="*/ 62248 h 225911"/>
                  <a:gd name="connsiteX3" fmla="*/ 1556 w 403518"/>
                  <a:gd name="connsiteY3" fmla="*/ 37348 h 225911"/>
                  <a:gd name="connsiteX4" fmla="*/ 7781 w 403518"/>
                  <a:gd name="connsiteY4" fmla="*/ 146282 h 225911"/>
                  <a:gd name="connsiteX5" fmla="*/ 244322 w 403518"/>
                  <a:gd name="connsiteY5" fmla="*/ 220980 h 225911"/>
                  <a:gd name="connsiteX6" fmla="*/ 384380 w 403518"/>
                  <a:gd name="connsiteY6" fmla="*/ 220980 h 225911"/>
                  <a:gd name="connsiteX7" fmla="*/ 390605 w 403518"/>
                  <a:gd name="connsiteY7" fmla="*/ 164956 h 225911"/>
                  <a:gd name="connsiteX8" fmla="*/ 135389 w 403518"/>
                  <a:gd name="connsiteY8" fmla="*/ 0 h 22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3518" h="225911">
                    <a:moveTo>
                      <a:pt x="135389" y="0"/>
                    </a:moveTo>
                    <a:cubicBezTo>
                      <a:pt x="135389" y="0"/>
                      <a:pt x="284784" y="99596"/>
                      <a:pt x="272335" y="112046"/>
                    </a:cubicBezTo>
                    <a:cubicBezTo>
                      <a:pt x="259884" y="127608"/>
                      <a:pt x="73141" y="62248"/>
                      <a:pt x="73141" y="62248"/>
                    </a:cubicBezTo>
                    <a:lnTo>
                      <a:pt x="1556" y="37348"/>
                    </a:lnTo>
                    <a:cubicBezTo>
                      <a:pt x="1556" y="37348"/>
                      <a:pt x="-4669" y="121383"/>
                      <a:pt x="7781" y="146282"/>
                    </a:cubicBezTo>
                    <a:cubicBezTo>
                      <a:pt x="82479" y="183631"/>
                      <a:pt x="169625" y="208530"/>
                      <a:pt x="244322" y="220980"/>
                    </a:cubicBezTo>
                    <a:cubicBezTo>
                      <a:pt x="291008" y="230317"/>
                      <a:pt x="375043" y="224092"/>
                      <a:pt x="384380" y="220980"/>
                    </a:cubicBezTo>
                    <a:cubicBezTo>
                      <a:pt x="393718" y="217867"/>
                      <a:pt x="418617" y="192968"/>
                      <a:pt x="390605" y="164956"/>
                    </a:cubicBezTo>
                    <a:cubicBezTo>
                      <a:pt x="325245" y="99596"/>
                      <a:pt x="135389" y="0"/>
                      <a:pt x="135389" y="0"/>
                    </a:cubicBezTo>
                    <a:close/>
                  </a:path>
                </a:pathLst>
              </a:custGeom>
              <a:solidFill>
                <a:srgbClr val="7E94B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51839FE5-18BA-4A76-BB14-5CFBC897FFB3}"/>
                  </a:ext>
                </a:extLst>
              </p:cNvPr>
              <p:cNvSpPr/>
              <p:nvPr/>
            </p:nvSpPr>
            <p:spPr>
              <a:xfrm>
                <a:off x="10860302" y="12224711"/>
                <a:ext cx="271893" cy="237588"/>
              </a:xfrm>
              <a:custGeom>
                <a:avLst/>
                <a:gdLst>
                  <a:gd name="connsiteX0" fmla="*/ 183631 w 271893"/>
                  <a:gd name="connsiteY0" fmla="*/ 18674 h 237588"/>
                  <a:gd name="connsiteX1" fmla="*/ 133832 w 271893"/>
                  <a:gd name="connsiteY1" fmla="*/ 121383 h 237588"/>
                  <a:gd name="connsiteX2" fmla="*/ 270778 w 271893"/>
                  <a:gd name="connsiteY2" fmla="*/ 233429 h 237588"/>
                  <a:gd name="connsiteX3" fmla="*/ 28011 w 271893"/>
                  <a:gd name="connsiteY3" fmla="*/ 189855 h 237588"/>
                  <a:gd name="connsiteX4" fmla="*/ 0 w 271893"/>
                  <a:gd name="connsiteY4" fmla="*/ 158731 h 237588"/>
                  <a:gd name="connsiteX5" fmla="*/ 71585 w 271893"/>
                  <a:gd name="connsiteY5" fmla="*/ 0 h 237588"/>
                  <a:gd name="connsiteX6" fmla="*/ 183631 w 271893"/>
                  <a:gd name="connsiteY6" fmla="*/ 18674 h 237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1893" h="237588">
                    <a:moveTo>
                      <a:pt x="183631" y="18674"/>
                    </a:moveTo>
                    <a:lnTo>
                      <a:pt x="133832" y="121383"/>
                    </a:lnTo>
                    <a:cubicBezTo>
                      <a:pt x="133832" y="121383"/>
                      <a:pt x="286340" y="211642"/>
                      <a:pt x="270778" y="233429"/>
                    </a:cubicBezTo>
                    <a:cubicBezTo>
                      <a:pt x="258328" y="248991"/>
                      <a:pt x="99597" y="217867"/>
                      <a:pt x="28011" y="189855"/>
                    </a:cubicBezTo>
                    <a:cubicBezTo>
                      <a:pt x="3113" y="180518"/>
                      <a:pt x="0" y="158731"/>
                      <a:pt x="0" y="158731"/>
                    </a:cubicBezTo>
                    <a:lnTo>
                      <a:pt x="71585" y="0"/>
                    </a:lnTo>
                    <a:lnTo>
                      <a:pt x="183631" y="18674"/>
                    </a:ln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D74F1E40-1659-4863-9137-0CEF4DC2E9A1}"/>
                </a:ext>
              </a:extLst>
            </p:cNvPr>
            <p:cNvGrpSpPr/>
            <p:nvPr/>
          </p:nvGrpSpPr>
          <p:grpSpPr>
            <a:xfrm>
              <a:off x="10438573" y="12237160"/>
              <a:ext cx="403518" cy="344181"/>
              <a:chOff x="10438573" y="12237160"/>
              <a:chExt cx="403518" cy="344181"/>
            </a:xfrm>
          </p:grpSpPr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DA909AAC-AFCF-434E-8E93-5F485B8CEAAA}"/>
                  </a:ext>
                </a:extLst>
              </p:cNvPr>
              <p:cNvSpPr/>
              <p:nvPr/>
            </p:nvSpPr>
            <p:spPr>
              <a:xfrm>
                <a:off x="10438573" y="12355430"/>
                <a:ext cx="403518" cy="225911"/>
              </a:xfrm>
              <a:custGeom>
                <a:avLst/>
                <a:gdLst>
                  <a:gd name="connsiteX0" fmla="*/ 135389 w 403518"/>
                  <a:gd name="connsiteY0" fmla="*/ 0 h 225911"/>
                  <a:gd name="connsiteX1" fmla="*/ 272335 w 403518"/>
                  <a:gd name="connsiteY1" fmla="*/ 112046 h 225911"/>
                  <a:gd name="connsiteX2" fmla="*/ 73141 w 403518"/>
                  <a:gd name="connsiteY2" fmla="*/ 62248 h 225911"/>
                  <a:gd name="connsiteX3" fmla="*/ 1556 w 403518"/>
                  <a:gd name="connsiteY3" fmla="*/ 37349 h 225911"/>
                  <a:gd name="connsiteX4" fmla="*/ 7781 w 403518"/>
                  <a:gd name="connsiteY4" fmla="*/ 146283 h 225911"/>
                  <a:gd name="connsiteX5" fmla="*/ 244322 w 403518"/>
                  <a:gd name="connsiteY5" fmla="*/ 220980 h 225911"/>
                  <a:gd name="connsiteX6" fmla="*/ 384380 w 403518"/>
                  <a:gd name="connsiteY6" fmla="*/ 220980 h 225911"/>
                  <a:gd name="connsiteX7" fmla="*/ 390605 w 403518"/>
                  <a:gd name="connsiteY7" fmla="*/ 164957 h 225911"/>
                  <a:gd name="connsiteX8" fmla="*/ 135389 w 403518"/>
                  <a:gd name="connsiteY8" fmla="*/ 0 h 22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3518" h="225911">
                    <a:moveTo>
                      <a:pt x="135389" y="0"/>
                    </a:moveTo>
                    <a:cubicBezTo>
                      <a:pt x="135389" y="0"/>
                      <a:pt x="284784" y="99597"/>
                      <a:pt x="272335" y="112046"/>
                    </a:cubicBezTo>
                    <a:cubicBezTo>
                      <a:pt x="259884" y="127608"/>
                      <a:pt x="73141" y="62248"/>
                      <a:pt x="73141" y="62248"/>
                    </a:cubicBezTo>
                    <a:lnTo>
                      <a:pt x="1556" y="37349"/>
                    </a:lnTo>
                    <a:cubicBezTo>
                      <a:pt x="1556" y="37349"/>
                      <a:pt x="-4669" y="121383"/>
                      <a:pt x="7781" y="146283"/>
                    </a:cubicBezTo>
                    <a:cubicBezTo>
                      <a:pt x="82479" y="183631"/>
                      <a:pt x="169625" y="208531"/>
                      <a:pt x="244322" y="220980"/>
                    </a:cubicBezTo>
                    <a:cubicBezTo>
                      <a:pt x="291008" y="230317"/>
                      <a:pt x="375043" y="224093"/>
                      <a:pt x="384380" y="220980"/>
                    </a:cubicBezTo>
                    <a:cubicBezTo>
                      <a:pt x="393718" y="217867"/>
                      <a:pt x="418617" y="192969"/>
                      <a:pt x="390605" y="164957"/>
                    </a:cubicBezTo>
                    <a:cubicBezTo>
                      <a:pt x="325245" y="99597"/>
                      <a:pt x="135389" y="0"/>
                      <a:pt x="135389" y="0"/>
                    </a:cubicBezTo>
                    <a:close/>
                  </a:path>
                </a:pathLst>
              </a:custGeom>
              <a:solidFill>
                <a:srgbClr val="7E94B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CD6B4FB2-E8B5-420A-B7BD-533398AF1858}"/>
                  </a:ext>
                </a:extLst>
              </p:cNvPr>
              <p:cNvSpPr/>
              <p:nvPr/>
            </p:nvSpPr>
            <p:spPr>
              <a:xfrm>
                <a:off x="10440129" y="12237160"/>
                <a:ext cx="271893" cy="237588"/>
              </a:xfrm>
              <a:custGeom>
                <a:avLst/>
                <a:gdLst>
                  <a:gd name="connsiteX0" fmla="*/ 183631 w 271893"/>
                  <a:gd name="connsiteY0" fmla="*/ 15562 h 237588"/>
                  <a:gd name="connsiteX1" fmla="*/ 133832 w 271893"/>
                  <a:gd name="connsiteY1" fmla="*/ 121383 h 237588"/>
                  <a:gd name="connsiteX2" fmla="*/ 270778 w 271893"/>
                  <a:gd name="connsiteY2" fmla="*/ 233429 h 237588"/>
                  <a:gd name="connsiteX3" fmla="*/ 28011 w 271893"/>
                  <a:gd name="connsiteY3" fmla="*/ 189856 h 237588"/>
                  <a:gd name="connsiteX4" fmla="*/ 0 w 271893"/>
                  <a:gd name="connsiteY4" fmla="*/ 158732 h 237588"/>
                  <a:gd name="connsiteX5" fmla="*/ 71585 w 271893"/>
                  <a:gd name="connsiteY5" fmla="*/ 0 h 237588"/>
                  <a:gd name="connsiteX6" fmla="*/ 183631 w 271893"/>
                  <a:gd name="connsiteY6" fmla="*/ 15562 h 237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1893" h="237588">
                    <a:moveTo>
                      <a:pt x="183631" y="15562"/>
                    </a:moveTo>
                    <a:lnTo>
                      <a:pt x="133832" y="121383"/>
                    </a:lnTo>
                    <a:cubicBezTo>
                      <a:pt x="133832" y="121383"/>
                      <a:pt x="286340" y="211642"/>
                      <a:pt x="270778" y="233429"/>
                    </a:cubicBezTo>
                    <a:cubicBezTo>
                      <a:pt x="258328" y="248991"/>
                      <a:pt x="99597" y="217867"/>
                      <a:pt x="28011" y="189856"/>
                    </a:cubicBezTo>
                    <a:cubicBezTo>
                      <a:pt x="3113" y="180518"/>
                      <a:pt x="0" y="158732"/>
                      <a:pt x="0" y="158732"/>
                    </a:cubicBezTo>
                    <a:lnTo>
                      <a:pt x="71585" y="0"/>
                    </a:lnTo>
                    <a:lnTo>
                      <a:pt x="183631" y="15562"/>
                    </a:ln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FE57CA7B-3BF2-4038-8270-48600EE944B7}"/>
                </a:ext>
              </a:extLst>
            </p:cNvPr>
            <p:cNvSpPr/>
            <p:nvPr/>
          </p:nvSpPr>
          <p:spPr>
            <a:xfrm>
              <a:off x="10948390" y="10101983"/>
              <a:ext cx="943013" cy="759565"/>
            </a:xfrm>
            <a:custGeom>
              <a:avLst/>
              <a:gdLst>
                <a:gd name="connsiteX0" fmla="*/ 220038 w 943013"/>
                <a:gd name="connsiteY0" fmla="*/ 49874 h 759565"/>
                <a:gd name="connsiteX1" fmla="*/ 503266 w 943013"/>
                <a:gd name="connsiteY1" fmla="*/ 569643 h 759565"/>
                <a:gd name="connsiteX2" fmla="*/ 914102 w 943013"/>
                <a:gd name="connsiteY2" fmla="*/ 550969 h 759565"/>
                <a:gd name="connsiteX3" fmla="*/ 923439 w 943013"/>
                <a:gd name="connsiteY3" fmla="*/ 647453 h 759565"/>
                <a:gd name="connsiteX4" fmla="*/ 447244 w 943013"/>
                <a:gd name="connsiteY4" fmla="*/ 759499 h 759565"/>
                <a:gd name="connsiteX5" fmla="*/ 8396 w 943013"/>
                <a:gd name="connsiteY5" fmla="*/ 193044 h 759565"/>
                <a:gd name="connsiteX6" fmla="*/ 220038 w 943013"/>
                <a:gd name="connsiteY6" fmla="*/ 49874 h 759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3013" h="759565">
                  <a:moveTo>
                    <a:pt x="220038" y="49874"/>
                  </a:moveTo>
                  <a:cubicBezTo>
                    <a:pt x="288511" y="146358"/>
                    <a:pt x="503266" y="569643"/>
                    <a:pt x="503266" y="569643"/>
                  </a:cubicBezTo>
                  <a:cubicBezTo>
                    <a:pt x="503266" y="569643"/>
                    <a:pt x="910990" y="544744"/>
                    <a:pt x="914102" y="550969"/>
                  </a:cubicBezTo>
                  <a:cubicBezTo>
                    <a:pt x="942114" y="616329"/>
                    <a:pt x="957676" y="631891"/>
                    <a:pt x="923439" y="647453"/>
                  </a:cubicBezTo>
                  <a:cubicBezTo>
                    <a:pt x="914102" y="650565"/>
                    <a:pt x="711797" y="740825"/>
                    <a:pt x="447244" y="759499"/>
                  </a:cubicBezTo>
                  <a:cubicBezTo>
                    <a:pt x="378771" y="765724"/>
                    <a:pt x="89319" y="329989"/>
                    <a:pt x="8396" y="193044"/>
                  </a:cubicBezTo>
                  <a:cubicBezTo>
                    <a:pt x="-38290" y="118346"/>
                    <a:pt x="120442" y="-96409"/>
                    <a:pt x="220038" y="49874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4608D39-73C7-47C5-83C6-C53141001BD6}"/>
                </a:ext>
              </a:extLst>
            </p:cNvPr>
            <p:cNvSpPr/>
            <p:nvPr/>
          </p:nvSpPr>
          <p:spPr>
            <a:xfrm>
              <a:off x="10810102" y="9852239"/>
              <a:ext cx="436136" cy="523709"/>
            </a:xfrm>
            <a:custGeom>
              <a:avLst/>
              <a:gdLst>
                <a:gd name="connsiteX0" fmla="*/ 103111 w 436136"/>
                <a:gd name="connsiteY0" fmla="*/ 523710 h 523709"/>
                <a:gd name="connsiteX1" fmla="*/ 31525 w 436136"/>
                <a:gd name="connsiteY1" fmla="*/ 16390 h 523709"/>
                <a:gd name="connsiteX2" fmla="*/ 436136 w 436136"/>
                <a:gd name="connsiteY2" fmla="*/ 333854 h 523709"/>
                <a:gd name="connsiteX3" fmla="*/ 103111 w 436136"/>
                <a:gd name="connsiteY3" fmla="*/ 523710 h 523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136" h="523709">
                  <a:moveTo>
                    <a:pt x="103111" y="523710"/>
                  </a:moveTo>
                  <a:cubicBezTo>
                    <a:pt x="-8935" y="371203"/>
                    <a:pt x="-24497" y="75525"/>
                    <a:pt x="31525" y="16390"/>
                  </a:cubicBezTo>
                  <a:cubicBezTo>
                    <a:pt x="103111" y="-61420"/>
                    <a:pt x="330315" y="153335"/>
                    <a:pt x="436136" y="333854"/>
                  </a:cubicBezTo>
                  <a:cubicBezTo>
                    <a:pt x="398788" y="402327"/>
                    <a:pt x="202707" y="492586"/>
                    <a:pt x="103111" y="523710"/>
                  </a:cubicBezTo>
                  <a:close/>
                </a:path>
              </a:pathLst>
            </a:custGeom>
            <a:solidFill>
              <a:srgbClr val="7E94B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1CD0E926-D0A9-40EF-9FCE-3057B7522722}"/>
                </a:ext>
              </a:extLst>
            </p:cNvPr>
            <p:cNvSpPr/>
            <p:nvPr/>
          </p:nvSpPr>
          <p:spPr>
            <a:xfrm>
              <a:off x="11766008" y="10580747"/>
              <a:ext cx="242986" cy="198987"/>
            </a:xfrm>
            <a:custGeom>
              <a:avLst/>
              <a:gdLst>
                <a:gd name="connsiteX0" fmla="*/ 196080 w 242986"/>
                <a:gd name="connsiteY0" fmla="*/ 153128 h 198987"/>
                <a:gd name="connsiteX1" fmla="*/ 227204 w 242986"/>
                <a:gd name="connsiteY1" fmla="*/ 115779 h 198987"/>
                <a:gd name="connsiteX2" fmla="*/ 242766 w 242986"/>
                <a:gd name="connsiteY2" fmla="*/ 87768 h 198987"/>
                <a:gd name="connsiteX3" fmla="*/ 230317 w 242986"/>
                <a:gd name="connsiteY3" fmla="*/ 41082 h 198987"/>
                <a:gd name="connsiteX4" fmla="*/ 224092 w 242986"/>
                <a:gd name="connsiteY4" fmla="*/ 621 h 198987"/>
                <a:gd name="connsiteX5" fmla="*/ 0 w 242986"/>
                <a:gd name="connsiteY5" fmla="*/ 75318 h 198987"/>
                <a:gd name="connsiteX6" fmla="*/ 40461 w 242986"/>
                <a:gd name="connsiteY6" fmla="*/ 190477 h 198987"/>
                <a:gd name="connsiteX7" fmla="*/ 158732 w 242986"/>
                <a:gd name="connsiteY7" fmla="*/ 174915 h 198987"/>
                <a:gd name="connsiteX8" fmla="*/ 196080 w 242986"/>
                <a:gd name="connsiteY8" fmla="*/ 153128 h 198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2986" h="198987">
                  <a:moveTo>
                    <a:pt x="196080" y="153128"/>
                  </a:moveTo>
                  <a:cubicBezTo>
                    <a:pt x="199193" y="143791"/>
                    <a:pt x="217867" y="131341"/>
                    <a:pt x="227204" y="115779"/>
                  </a:cubicBezTo>
                  <a:cubicBezTo>
                    <a:pt x="227204" y="112667"/>
                    <a:pt x="242766" y="97105"/>
                    <a:pt x="242766" y="87768"/>
                  </a:cubicBezTo>
                  <a:cubicBezTo>
                    <a:pt x="245879" y="78430"/>
                    <a:pt x="214755" y="47306"/>
                    <a:pt x="230317" y="41082"/>
                  </a:cubicBezTo>
                  <a:cubicBezTo>
                    <a:pt x="239654" y="37970"/>
                    <a:pt x="233429" y="621"/>
                    <a:pt x="224092" y="621"/>
                  </a:cubicBezTo>
                  <a:cubicBezTo>
                    <a:pt x="168069" y="-2492"/>
                    <a:pt x="15562" y="3733"/>
                    <a:pt x="0" y="75318"/>
                  </a:cubicBezTo>
                  <a:cubicBezTo>
                    <a:pt x="0" y="75318"/>
                    <a:pt x="18675" y="171802"/>
                    <a:pt x="40461" y="190477"/>
                  </a:cubicBezTo>
                  <a:cubicBezTo>
                    <a:pt x="74697" y="215375"/>
                    <a:pt x="121383" y="178027"/>
                    <a:pt x="158732" y="174915"/>
                  </a:cubicBezTo>
                  <a:cubicBezTo>
                    <a:pt x="186744" y="165578"/>
                    <a:pt x="192968" y="165578"/>
                    <a:pt x="196080" y="153128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84D9D099-D418-4211-82D7-AD51F9586CCD}"/>
                </a:ext>
              </a:extLst>
            </p:cNvPr>
            <p:cNvSpPr/>
            <p:nvPr/>
          </p:nvSpPr>
          <p:spPr>
            <a:xfrm>
              <a:off x="15030907" y="9732878"/>
              <a:ext cx="922169" cy="886812"/>
            </a:xfrm>
            <a:custGeom>
              <a:avLst/>
              <a:gdLst>
                <a:gd name="connsiteX0" fmla="*/ 899481 w 922169"/>
                <a:gd name="connsiteY0" fmla="*/ 288258 h 886812"/>
                <a:gd name="connsiteX1" fmla="*/ 821671 w 922169"/>
                <a:gd name="connsiteY1" fmla="*/ 1918 h 886812"/>
                <a:gd name="connsiteX2" fmla="*/ 566456 w 922169"/>
                <a:gd name="connsiteY2" fmla="*/ 294484 h 886812"/>
                <a:gd name="connsiteX3" fmla="*/ 413948 w 922169"/>
                <a:gd name="connsiteY3" fmla="*/ 599498 h 886812"/>
                <a:gd name="connsiteX4" fmla="*/ 46686 w 922169"/>
                <a:gd name="connsiteY4" fmla="*/ 257134 h 886812"/>
                <a:gd name="connsiteX5" fmla="*/ 0 w 922169"/>
                <a:gd name="connsiteY5" fmla="*/ 400305 h 886812"/>
                <a:gd name="connsiteX6" fmla="*/ 504208 w 922169"/>
                <a:gd name="connsiteY6" fmla="*/ 882725 h 886812"/>
                <a:gd name="connsiteX7" fmla="*/ 899481 w 922169"/>
                <a:gd name="connsiteY7" fmla="*/ 288258 h 886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169" h="886812">
                  <a:moveTo>
                    <a:pt x="899481" y="288258"/>
                  </a:moveTo>
                  <a:cubicBezTo>
                    <a:pt x="955505" y="148201"/>
                    <a:pt x="899481" y="-19868"/>
                    <a:pt x="821671" y="1918"/>
                  </a:cubicBezTo>
                  <a:cubicBezTo>
                    <a:pt x="731412" y="26818"/>
                    <a:pt x="625591" y="123302"/>
                    <a:pt x="566456" y="294484"/>
                  </a:cubicBezTo>
                  <a:cubicBezTo>
                    <a:pt x="532219" y="394080"/>
                    <a:pt x="432622" y="602610"/>
                    <a:pt x="413948" y="599498"/>
                  </a:cubicBezTo>
                  <a:cubicBezTo>
                    <a:pt x="407724" y="599498"/>
                    <a:pt x="46686" y="257134"/>
                    <a:pt x="46686" y="257134"/>
                  </a:cubicBezTo>
                  <a:cubicBezTo>
                    <a:pt x="46686" y="319382"/>
                    <a:pt x="0" y="400305"/>
                    <a:pt x="0" y="400305"/>
                  </a:cubicBezTo>
                  <a:cubicBezTo>
                    <a:pt x="0" y="400305"/>
                    <a:pt x="308127" y="938748"/>
                    <a:pt x="504208" y="882725"/>
                  </a:cubicBezTo>
                  <a:cubicBezTo>
                    <a:pt x="606916" y="851602"/>
                    <a:pt x="831009" y="462553"/>
                    <a:pt x="899481" y="288258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DADCD08B-AA6B-4F2F-803F-82817BF61FD2}"/>
                </a:ext>
              </a:extLst>
            </p:cNvPr>
            <p:cNvSpPr/>
            <p:nvPr/>
          </p:nvSpPr>
          <p:spPr>
            <a:xfrm>
              <a:off x="15437342" y="10324862"/>
              <a:ext cx="60424" cy="100885"/>
            </a:xfrm>
            <a:custGeom>
              <a:avLst/>
              <a:gdLst>
                <a:gd name="connsiteX0" fmla="*/ 54199 w 60424"/>
                <a:gd name="connsiteY0" fmla="*/ 100885 h 100885"/>
                <a:gd name="connsiteX1" fmla="*/ 47975 w 60424"/>
                <a:gd name="connsiteY1" fmla="*/ 97773 h 100885"/>
                <a:gd name="connsiteX2" fmla="*/ 1289 w 60424"/>
                <a:gd name="connsiteY2" fmla="*/ 10626 h 100885"/>
                <a:gd name="connsiteX3" fmla="*/ 4402 w 60424"/>
                <a:gd name="connsiteY3" fmla="*/ 1289 h 100885"/>
                <a:gd name="connsiteX4" fmla="*/ 13739 w 60424"/>
                <a:gd name="connsiteY4" fmla="*/ 4401 h 100885"/>
                <a:gd name="connsiteX5" fmla="*/ 60425 w 60424"/>
                <a:gd name="connsiteY5" fmla="*/ 91548 h 100885"/>
                <a:gd name="connsiteX6" fmla="*/ 54199 w 60424"/>
                <a:gd name="connsiteY6" fmla="*/ 100885 h 100885"/>
                <a:gd name="connsiteX7" fmla="*/ 54199 w 60424"/>
                <a:gd name="connsiteY7" fmla="*/ 100885 h 10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424" h="100885">
                  <a:moveTo>
                    <a:pt x="54199" y="100885"/>
                  </a:moveTo>
                  <a:cubicBezTo>
                    <a:pt x="51088" y="100885"/>
                    <a:pt x="51088" y="100885"/>
                    <a:pt x="47975" y="97773"/>
                  </a:cubicBezTo>
                  <a:lnTo>
                    <a:pt x="1289" y="10626"/>
                  </a:lnTo>
                  <a:cubicBezTo>
                    <a:pt x="-1823" y="7514"/>
                    <a:pt x="1289" y="4401"/>
                    <a:pt x="4402" y="1289"/>
                  </a:cubicBezTo>
                  <a:cubicBezTo>
                    <a:pt x="7513" y="-1823"/>
                    <a:pt x="10626" y="1289"/>
                    <a:pt x="13739" y="4401"/>
                  </a:cubicBezTo>
                  <a:lnTo>
                    <a:pt x="60425" y="91548"/>
                  </a:lnTo>
                  <a:cubicBezTo>
                    <a:pt x="60425" y="94661"/>
                    <a:pt x="60425" y="100885"/>
                    <a:pt x="54199" y="100885"/>
                  </a:cubicBezTo>
                  <a:cubicBezTo>
                    <a:pt x="57312" y="100885"/>
                    <a:pt x="57312" y="100885"/>
                    <a:pt x="54199" y="100885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" name="图形 1">
              <a:extLst>
                <a:ext uri="{FF2B5EF4-FFF2-40B4-BE49-F238E27FC236}">
                  <a16:creationId xmlns:a16="http://schemas.microsoft.com/office/drawing/2014/main" id="{B3A8E0A5-33BD-451A-9812-5FB30C0D3AE0}"/>
                </a:ext>
              </a:extLst>
            </p:cNvPr>
            <p:cNvGrpSpPr/>
            <p:nvPr/>
          </p:nvGrpSpPr>
          <p:grpSpPr>
            <a:xfrm>
              <a:off x="15840129" y="11048226"/>
              <a:ext cx="1756663" cy="1469049"/>
              <a:chOff x="15840129" y="11048226"/>
              <a:chExt cx="1756663" cy="1469049"/>
            </a:xfrm>
          </p:grpSpPr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FF2A780F-749B-4510-A938-13DEBF689426}"/>
                  </a:ext>
                </a:extLst>
              </p:cNvPr>
              <p:cNvSpPr/>
              <p:nvPr/>
            </p:nvSpPr>
            <p:spPr>
              <a:xfrm>
                <a:off x="17087609" y="11100547"/>
                <a:ext cx="352879" cy="1416728"/>
              </a:xfrm>
              <a:custGeom>
                <a:avLst/>
                <a:gdLst>
                  <a:gd name="connsiteX0" fmla="*/ 31714 w 352879"/>
                  <a:gd name="connsiteY0" fmla="*/ 1416728 h 1416728"/>
                  <a:gd name="connsiteX1" fmla="*/ 25489 w 352879"/>
                  <a:gd name="connsiteY1" fmla="*/ 1416728 h 1416728"/>
                  <a:gd name="connsiteX2" fmla="*/ 590 w 352879"/>
                  <a:gd name="connsiteY2" fmla="*/ 1376267 h 1416728"/>
                  <a:gd name="connsiteX3" fmla="*/ 286929 w 352879"/>
                  <a:gd name="connsiteY3" fmla="*/ 25489 h 1416728"/>
                  <a:gd name="connsiteX4" fmla="*/ 327391 w 352879"/>
                  <a:gd name="connsiteY4" fmla="*/ 590 h 1416728"/>
                  <a:gd name="connsiteX5" fmla="*/ 352290 w 352879"/>
                  <a:gd name="connsiteY5" fmla="*/ 41051 h 1416728"/>
                  <a:gd name="connsiteX6" fmla="*/ 65950 w 352879"/>
                  <a:gd name="connsiteY6" fmla="*/ 1391829 h 1416728"/>
                  <a:gd name="connsiteX7" fmla="*/ 31714 w 352879"/>
                  <a:gd name="connsiteY7" fmla="*/ 1416728 h 1416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879" h="1416728">
                    <a:moveTo>
                      <a:pt x="31714" y="1416728"/>
                    </a:moveTo>
                    <a:cubicBezTo>
                      <a:pt x="28601" y="1416728"/>
                      <a:pt x="25489" y="1416728"/>
                      <a:pt x="25489" y="1416728"/>
                    </a:cubicBezTo>
                    <a:cubicBezTo>
                      <a:pt x="6814" y="1413616"/>
                      <a:pt x="-2523" y="1394941"/>
                      <a:pt x="590" y="1376267"/>
                    </a:cubicBezTo>
                    <a:lnTo>
                      <a:pt x="286929" y="25489"/>
                    </a:lnTo>
                    <a:cubicBezTo>
                      <a:pt x="290042" y="6814"/>
                      <a:pt x="308717" y="-2523"/>
                      <a:pt x="327391" y="590"/>
                    </a:cubicBezTo>
                    <a:cubicBezTo>
                      <a:pt x="346066" y="3702"/>
                      <a:pt x="355402" y="22376"/>
                      <a:pt x="352290" y="41051"/>
                    </a:cubicBezTo>
                    <a:lnTo>
                      <a:pt x="65950" y="1391829"/>
                    </a:lnTo>
                    <a:cubicBezTo>
                      <a:pt x="59725" y="1407391"/>
                      <a:pt x="47276" y="1416728"/>
                      <a:pt x="31714" y="1416728"/>
                    </a:cubicBez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3D22436F-F5D9-4EBD-925D-083A18566517}"/>
                  </a:ext>
                </a:extLst>
              </p:cNvPr>
              <p:cNvSpPr/>
              <p:nvPr/>
            </p:nvSpPr>
            <p:spPr>
              <a:xfrm>
                <a:off x="16956203" y="11311505"/>
                <a:ext cx="640589" cy="1106173"/>
              </a:xfrm>
              <a:custGeom>
                <a:avLst/>
                <a:gdLst>
                  <a:gd name="connsiteX0" fmla="*/ 605078 w 640589"/>
                  <a:gd name="connsiteY0" fmla="*/ 1106174 h 1106173"/>
                  <a:gd name="connsiteX1" fmla="*/ 577067 w 640589"/>
                  <a:gd name="connsiteY1" fmla="*/ 1090612 h 1106173"/>
                  <a:gd name="connsiteX2" fmla="*/ 4387 w 640589"/>
                  <a:gd name="connsiteY2" fmla="*/ 51073 h 1106173"/>
                  <a:gd name="connsiteX3" fmla="*/ 16836 w 640589"/>
                  <a:gd name="connsiteY3" fmla="*/ 4387 h 1106173"/>
                  <a:gd name="connsiteX4" fmla="*/ 63522 w 640589"/>
                  <a:gd name="connsiteY4" fmla="*/ 16836 h 1106173"/>
                  <a:gd name="connsiteX5" fmla="*/ 636202 w 640589"/>
                  <a:gd name="connsiteY5" fmla="*/ 1056375 h 1106173"/>
                  <a:gd name="connsiteX6" fmla="*/ 623753 w 640589"/>
                  <a:gd name="connsiteY6" fmla="*/ 1103061 h 1106173"/>
                  <a:gd name="connsiteX7" fmla="*/ 605078 w 640589"/>
                  <a:gd name="connsiteY7" fmla="*/ 1106174 h 1106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40589" h="1106173">
                    <a:moveTo>
                      <a:pt x="605078" y="1106174"/>
                    </a:moveTo>
                    <a:cubicBezTo>
                      <a:pt x="592629" y="1106174"/>
                      <a:pt x="583292" y="1099949"/>
                      <a:pt x="577067" y="1090612"/>
                    </a:cubicBezTo>
                    <a:lnTo>
                      <a:pt x="4387" y="51073"/>
                    </a:lnTo>
                    <a:cubicBezTo>
                      <a:pt x="-4950" y="35511"/>
                      <a:pt x="1274" y="13724"/>
                      <a:pt x="16836" y="4387"/>
                    </a:cubicBezTo>
                    <a:cubicBezTo>
                      <a:pt x="32398" y="-4950"/>
                      <a:pt x="54185" y="1274"/>
                      <a:pt x="63522" y="16836"/>
                    </a:cubicBezTo>
                    <a:lnTo>
                      <a:pt x="636202" y="1056375"/>
                    </a:lnTo>
                    <a:cubicBezTo>
                      <a:pt x="645540" y="1071937"/>
                      <a:pt x="639315" y="1093724"/>
                      <a:pt x="623753" y="1103061"/>
                    </a:cubicBezTo>
                    <a:cubicBezTo>
                      <a:pt x="617529" y="1103061"/>
                      <a:pt x="611303" y="1106174"/>
                      <a:pt x="605078" y="1106174"/>
                    </a:cubicBez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C588C005-CC27-4AE1-A523-8BB717CFCD02}"/>
                  </a:ext>
                </a:extLst>
              </p:cNvPr>
              <p:cNvSpPr/>
              <p:nvPr/>
            </p:nvSpPr>
            <p:spPr>
              <a:xfrm>
                <a:off x="15841102" y="11064760"/>
                <a:ext cx="909985" cy="1380929"/>
              </a:xfrm>
              <a:custGeom>
                <a:avLst/>
                <a:gdLst>
                  <a:gd name="connsiteX0" fmla="*/ 33264 w 909985"/>
                  <a:gd name="connsiteY0" fmla="*/ 1380929 h 1380929"/>
                  <a:gd name="connsiteX1" fmla="*/ 14589 w 909985"/>
                  <a:gd name="connsiteY1" fmla="*/ 1374705 h 1380929"/>
                  <a:gd name="connsiteX2" fmla="*/ 5253 w 909985"/>
                  <a:gd name="connsiteY2" fmla="*/ 1328019 h 1380929"/>
                  <a:gd name="connsiteX3" fmla="*/ 848710 w 909985"/>
                  <a:gd name="connsiteY3" fmla="*/ 14589 h 1380929"/>
                  <a:gd name="connsiteX4" fmla="*/ 895396 w 909985"/>
                  <a:gd name="connsiteY4" fmla="*/ 5253 h 1380929"/>
                  <a:gd name="connsiteX5" fmla="*/ 904734 w 909985"/>
                  <a:gd name="connsiteY5" fmla="*/ 51938 h 1380929"/>
                  <a:gd name="connsiteX6" fmla="*/ 61275 w 909985"/>
                  <a:gd name="connsiteY6" fmla="*/ 1365367 h 1380929"/>
                  <a:gd name="connsiteX7" fmla="*/ 33264 w 909985"/>
                  <a:gd name="connsiteY7" fmla="*/ 1380929 h 1380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9985" h="1380929">
                    <a:moveTo>
                      <a:pt x="33264" y="1380929"/>
                    </a:moveTo>
                    <a:cubicBezTo>
                      <a:pt x="27039" y="1380929"/>
                      <a:pt x="20814" y="1377818"/>
                      <a:pt x="14589" y="1374705"/>
                    </a:cubicBezTo>
                    <a:cubicBezTo>
                      <a:pt x="-973" y="1365367"/>
                      <a:pt x="-4085" y="1343581"/>
                      <a:pt x="5253" y="1328019"/>
                    </a:cubicBezTo>
                    <a:lnTo>
                      <a:pt x="848710" y="14589"/>
                    </a:lnTo>
                    <a:cubicBezTo>
                      <a:pt x="858048" y="-973"/>
                      <a:pt x="879834" y="-4085"/>
                      <a:pt x="895396" y="5253"/>
                    </a:cubicBezTo>
                    <a:cubicBezTo>
                      <a:pt x="910958" y="14589"/>
                      <a:pt x="914070" y="36376"/>
                      <a:pt x="904734" y="51938"/>
                    </a:cubicBezTo>
                    <a:lnTo>
                      <a:pt x="61275" y="1365367"/>
                    </a:lnTo>
                    <a:cubicBezTo>
                      <a:pt x="55050" y="1374705"/>
                      <a:pt x="45713" y="1380929"/>
                      <a:pt x="33264" y="1380929"/>
                    </a:cubicBez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5C552233-6A34-4532-81B7-25908EF30544}"/>
                  </a:ext>
                </a:extLst>
              </p:cNvPr>
              <p:cNvSpPr/>
              <p:nvPr/>
            </p:nvSpPr>
            <p:spPr>
              <a:xfrm>
                <a:off x="15887788" y="11310640"/>
                <a:ext cx="710792" cy="1107038"/>
              </a:xfrm>
              <a:custGeom>
                <a:avLst/>
                <a:gdLst>
                  <a:gd name="connsiteX0" fmla="*/ 677528 w 710792"/>
                  <a:gd name="connsiteY0" fmla="*/ 1107039 h 1107038"/>
                  <a:gd name="connsiteX1" fmla="*/ 649517 w 710792"/>
                  <a:gd name="connsiteY1" fmla="*/ 1091477 h 1107038"/>
                  <a:gd name="connsiteX2" fmla="*/ 5253 w 710792"/>
                  <a:gd name="connsiteY2" fmla="*/ 51938 h 1107038"/>
                  <a:gd name="connsiteX3" fmla="*/ 14589 w 710792"/>
                  <a:gd name="connsiteY3" fmla="*/ 5252 h 1107038"/>
                  <a:gd name="connsiteX4" fmla="*/ 61275 w 710792"/>
                  <a:gd name="connsiteY4" fmla="*/ 14589 h 1107038"/>
                  <a:gd name="connsiteX5" fmla="*/ 705541 w 710792"/>
                  <a:gd name="connsiteY5" fmla="*/ 1054129 h 1107038"/>
                  <a:gd name="connsiteX6" fmla="*/ 696203 w 710792"/>
                  <a:gd name="connsiteY6" fmla="*/ 1100815 h 1107038"/>
                  <a:gd name="connsiteX7" fmla="*/ 677528 w 710792"/>
                  <a:gd name="connsiteY7" fmla="*/ 1107039 h 1107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0792" h="1107038">
                    <a:moveTo>
                      <a:pt x="677528" y="1107039"/>
                    </a:moveTo>
                    <a:cubicBezTo>
                      <a:pt x="668192" y="1107039"/>
                      <a:pt x="655742" y="1100815"/>
                      <a:pt x="649517" y="1091477"/>
                    </a:cubicBezTo>
                    <a:lnTo>
                      <a:pt x="5253" y="51938"/>
                    </a:lnTo>
                    <a:cubicBezTo>
                      <a:pt x="-4085" y="36376"/>
                      <a:pt x="-973" y="17701"/>
                      <a:pt x="14589" y="5252"/>
                    </a:cubicBezTo>
                    <a:cubicBezTo>
                      <a:pt x="30151" y="-4085"/>
                      <a:pt x="48826" y="-973"/>
                      <a:pt x="61275" y="14589"/>
                    </a:cubicBezTo>
                    <a:lnTo>
                      <a:pt x="705541" y="1054129"/>
                    </a:lnTo>
                    <a:cubicBezTo>
                      <a:pt x="714878" y="1069691"/>
                      <a:pt x="711765" y="1088364"/>
                      <a:pt x="696203" y="1100815"/>
                    </a:cubicBezTo>
                    <a:cubicBezTo>
                      <a:pt x="689979" y="1103926"/>
                      <a:pt x="683754" y="1107039"/>
                      <a:pt x="677528" y="1107039"/>
                    </a:cubicBez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C6573534-9693-46D2-ADB4-78C25D7C29AA}"/>
                  </a:ext>
                </a:extLst>
              </p:cNvPr>
              <p:cNvSpPr/>
              <p:nvPr/>
            </p:nvSpPr>
            <p:spPr>
              <a:xfrm>
                <a:off x="15840129" y="11294105"/>
                <a:ext cx="1216945" cy="150086"/>
              </a:xfrm>
              <a:custGeom>
                <a:avLst/>
                <a:gdLst>
                  <a:gd name="connsiteX0" fmla="*/ 1216945 w 1216945"/>
                  <a:gd name="connsiteY0" fmla="*/ 0 h 150086"/>
                  <a:gd name="connsiteX1" fmla="*/ 1216945 w 1216945"/>
                  <a:gd name="connsiteY1" fmla="*/ 68473 h 150086"/>
                  <a:gd name="connsiteX2" fmla="*/ 0 w 1216945"/>
                  <a:gd name="connsiteY2" fmla="*/ 68473 h 150086"/>
                  <a:gd name="connsiteX3" fmla="*/ 0 w 1216945"/>
                  <a:gd name="connsiteY3" fmla="*/ 0 h 150086"/>
                  <a:gd name="connsiteX4" fmla="*/ 1216945 w 1216945"/>
                  <a:gd name="connsiteY4" fmla="*/ 0 h 150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6945" h="150086">
                    <a:moveTo>
                      <a:pt x="1216945" y="0"/>
                    </a:moveTo>
                    <a:lnTo>
                      <a:pt x="1216945" y="68473"/>
                    </a:lnTo>
                    <a:cubicBezTo>
                      <a:pt x="1216945" y="68473"/>
                      <a:pt x="893257" y="252104"/>
                      <a:pt x="0" y="68473"/>
                    </a:cubicBezTo>
                    <a:lnTo>
                      <a:pt x="0" y="0"/>
                    </a:lnTo>
                    <a:cubicBezTo>
                      <a:pt x="0" y="0"/>
                      <a:pt x="582018" y="127608"/>
                      <a:pt x="1216945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1B6D2BF8-786A-456B-B57D-17B961F203B9}"/>
                  </a:ext>
                </a:extLst>
              </p:cNvPr>
              <p:cNvSpPr/>
              <p:nvPr/>
            </p:nvSpPr>
            <p:spPr>
              <a:xfrm>
                <a:off x="15840129" y="11048226"/>
                <a:ext cx="1705590" cy="312276"/>
              </a:xfrm>
              <a:custGeom>
                <a:avLst/>
                <a:gdLst>
                  <a:gd name="connsiteX0" fmla="*/ 0 w 1705590"/>
                  <a:gd name="connsiteY0" fmla="*/ 245879 h 312276"/>
                  <a:gd name="connsiteX1" fmla="*/ 737637 w 1705590"/>
                  <a:gd name="connsiteY1" fmla="*/ 0 h 312276"/>
                  <a:gd name="connsiteX2" fmla="*/ 1705590 w 1705590"/>
                  <a:gd name="connsiteY2" fmla="*/ 18675 h 312276"/>
                  <a:gd name="connsiteX3" fmla="*/ 1213833 w 1705590"/>
                  <a:gd name="connsiteY3" fmla="*/ 245879 h 312276"/>
                  <a:gd name="connsiteX4" fmla="*/ 0 w 1705590"/>
                  <a:gd name="connsiteY4" fmla="*/ 245879 h 312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5590" h="312276">
                    <a:moveTo>
                      <a:pt x="0" y="245879"/>
                    </a:moveTo>
                    <a:cubicBezTo>
                      <a:pt x="0" y="245879"/>
                      <a:pt x="220980" y="205418"/>
                      <a:pt x="737637" y="0"/>
                    </a:cubicBezTo>
                    <a:cubicBezTo>
                      <a:pt x="737637" y="0"/>
                      <a:pt x="1132911" y="52911"/>
                      <a:pt x="1705590" y="18675"/>
                    </a:cubicBezTo>
                    <a:cubicBezTo>
                      <a:pt x="1705590" y="18675"/>
                      <a:pt x="1528185" y="174294"/>
                      <a:pt x="1213833" y="245879"/>
                    </a:cubicBezTo>
                    <a:cubicBezTo>
                      <a:pt x="1216945" y="245879"/>
                      <a:pt x="784323" y="395274"/>
                      <a:pt x="0" y="245879"/>
                    </a:cubicBezTo>
                    <a:close/>
                  </a:path>
                </a:pathLst>
              </a:custGeom>
              <a:solidFill>
                <a:srgbClr val="F6EBE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005C3B72-13C9-4728-9DF1-6152168F5820}"/>
                  </a:ext>
                </a:extLst>
              </p:cNvPr>
              <p:cNvSpPr/>
              <p:nvPr/>
            </p:nvSpPr>
            <p:spPr>
              <a:xfrm>
                <a:off x="17057075" y="11063788"/>
                <a:ext cx="491757" cy="295677"/>
              </a:xfrm>
              <a:custGeom>
                <a:avLst/>
                <a:gdLst>
                  <a:gd name="connsiteX0" fmla="*/ 0 w 491757"/>
                  <a:gd name="connsiteY0" fmla="*/ 295677 h 295677"/>
                  <a:gd name="connsiteX1" fmla="*/ 0 w 491757"/>
                  <a:gd name="connsiteY1" fmla="*/ 227205 h 295677"/>
                  <a:gd name="connsiteX2" fmla="*/ 491758 w 491757"/>
                  <a:gd name="connsiteY2" fmla="*/ 0 h 295677"/>
                  <a:gd name="connsiteX3" fmla="*/ 491758 w 491757"/>
                  <a:gd name="connsiteY3" fmla="*/ 74697 h 295677"/>
                  <a:gd name="connsiteX4" fmla="*/ 0 w 491757"/>
                  <a:gd name="connsiteY4" fmla="*/ 295677 h 295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1757" h="295677">
                    <a:moveTo>
                      <a:pt x="0" y="295677"/>
                    </a:moveTo>
                    <a:lnTo>
                      <a:pt x="0" y="227205"/>
                    </a:lnTo>
                    <a:cubicBezTo>
                      <a:pt x="0" y="227205"/>
                      <a:pt x="255216" y="118271"/>
                      <a:pt x="491758" y="0"/>
                    </a:cubicBezTo>
                    <a:lnTo>
                      <a:pt x="491758" y="74697"/>
                    </a:lnTo>
                    <a:cubicBezTo>
                      <a:pt x="491758" y="77810"/>
                      <a:pt x="295677" y="220980"/>
                      <a:pt x="0" y="29567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图形 1">
              <a:extLst>
                <a:ext uri="{FF2B5EF4-FFF2-40B4-BE49-F238E27FC236}">
                  <a16:creationId xmlns:a16="http://schemas.microsoft.com/office/drawing/2014/main" id="{F047807D-ABB6-47A1-87A2-D8604F60EC95}"/>
                </a:ext>
              </a:extLst>
            </p:cNvPr>
            <p:cNvGrpSpPr/>
            <p:nvPr/>
          </p:nvGrpSpPr>
          <p:grpSpPr>
            <a:xfrm>
              <a:off x="15027795" y="12112664"/>
              <a:ext cx="545014" cy="385936"/>
              <a:chOff x="15027795" y="12112664"/>
              <a:chExt cx="545014" cy="385936"/>
            </a:xfrm>
          </p:grpSpPr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D6CF453A-58C8-4B09-91B8-4A0132360741}"/>
                  </a:ext>
                </a:extLst>
              </p:cNvPr>
              <p:cNvSpPr/>
              <p:nvPr/>
            </p:nvSpPr>
            <p:spPr>
              <a:xfrm>
                <a:off x="15329697" y="12112664"/>
                <a:ext cx="233429" cy="252103"/>
              </a:xfrm>
              <a:custGeom>
                <a:avLst/>
                <a:gdLst>
                  <a:gd name="connsiteX0" fmla="*/ 233429 w 233429"/>
                  <a:gd name="connsiteY0" fmla="*/ 208530 h 252103"/>
                  <a:gd name="connsiteX1" fmla="*/ 183631 w 233429"/>
                  <a:gd name="connsiteY1" fmla="*/ 0 h 252103"/>
                  <a:gd name="connsiteX2" fmla="*/ 0 w 233429"/>
                  <a:gd name="connsiteY2" fmla="*/ 0 h 252103"/>
                  <a:gd name="connsiteX3" fmla="*/ 49798 w 233429"/>
                  <a:gd name="connsiteY3" fmla="*/ 220980 h 252103"/>
                  <a:gd name="connsiteX4" fmla="*/ 220980 w 233429"/>
                  <a:gd name="connsiteY4" fmla="*/ 252104 h 252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3429" h="252103">
                    <a:moveTo>
                      <a:pt x="233429" y="208530"/>
                    </a:moveTo>
                    <a:lnTo>
                      <a:pt x="183631" y="0"/>
                    </a:lnTo>
                    <a:lnTo>
                      <a:pt x="0" y="0"/>
                    </a:lnTo>
                    <a:lnTo>
                      <a:pt x="49798" y="220980"/>
                    </a:lnTo>
                    <a:lnTo>
                      <a:pt x="220980" y="252104"/>
                    </a:ln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A86F4150-33C7-412B-976D-7CF03D7A31FE}"/>
                  </a:ext>
                </a:extLst>
              </p:cNvPr>
              <p:cNvSpPr/>
              <p:nvPr/>
            </p:nvSpPr>
            <p:spPr>
              <a:xfrm>
                <a:off x="15027795" y="12268284"/>
                <a:ext cx="545014" cy="180518"/>
              </a:xfrm>
              <a:custGeom>
                <a:avLst/>
                <a:gdLst>
                  <a:gd name="connsiteX0" fmla="*/ 535332 w 545014"/>
                  <a:gd name="connsiteY0" fmla="*/ 52910 h 180518"/>
                  <a:gd name="connsiteX1" fmla="*/ 339251 w 545014"/>
                  <a:gd name="connsiteY1" fmla="*/ 0 h 180518"/>
                  <a:gd name="connsiteX2" fmla="*/ 189856 w 545014"/>
                  <a:gd name="connsiteY2" fmla="*/ 90259 h 180518"/>
                  <a:gd name="connsiteX3" fmla="*/ 0 w 545014"/>
                  <a:gd name="connsiteY3" fmla="*/ 180518 h 180518"/>
                  <a:gd name="connsiteX4" fmla="*/ 535332 w 545014"/>
                  <a:gd name="connsiteY4" fmla="*/ 180518 h 180518"/>
                  <a:gd name="connsiteX5" fmla="*/ 535332 w 545014"/>
                  <a:gd name="connsiteY5" fmla="*/ 52910 h 180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5014" h="180518">
                    <a:moveTo>
                      <a:pt x="535332" y="52910"/>
                    </a:moveTo>
                    <a:cubicBezTo>
                      <a:pt x="535332" y="52910"/>
                      <a:pt x="410836" y="74697"/>
                      <a:pt x="339251" y="0"/>
                    </a:cubicBezTo>
                    <a:cubicBezTo>
                      <a:pt x="339251" y="0"/>
                      <a:pt x="239655" y="80922"/>
                      <a:pt x="189856" y="90259"/>
                    </a:cubicBezTo>
                    <a:cubicBezTo>
                      <a:pt x="140058" y="99596"/>
                      <a:pt x="15562" y="99596"/>
                      <a:pt x="0" y="180518"/>
                    </a:cubicBezTo>
                    <a:lnTo>
                      <a:pt x="535332" y="180518"/>
                    </a:lnTo>
                    <a:cubicBezTo>
                      <a:pt x="535332" y="180518"/>
                      <a:pt x="557118" y="108934"/>
                      <a:pt x="535332" y="5291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B2F8C616-C615-4B05-8961-96C409331B7B}"/>
                  </a:ext>
                </a:extLst>
              </p:cNvPr>
              <p:cNvSpPr/>
              <p:nvPr/>
            </p:nvSpPr>
            <p:spPr>
              <a:xfrm>
                <a:off x="15027795" y="12448802"/>
                <a:ext cx="535331" cy="49798"/>
              </a:xfrm>
              <a:custGeom>
                <a:avLst/>
                <a:gdLst>
                  <a:gd name="connsiteX0" fmla="*/ 0 w 535331"/>
                  <a:gd name="connsiteY0" fmla="*/ 0 h 49798"/>
                  <a:gd name="connsiteX1" fmla="*/ 535332 w 535331"/>
                  <a:gd name="connsiteY1" fmla="*/ 0 h 49798"/>
                  <a:gd name="connsiteX2" fmla="*/ 535332 w 535331"/>
                  <a:gd name="connsiteY2" fmla="*/ 49798 h 49798"/>
                  <a:gd name="connsiteX3" fmla="*/ 0 w 535331"/>
                  <a:gd name="connsiteY3" fmla="*/ 49798 h 49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5331" h="49798">
                    <a:moveTo>
                      <a:pt x="0" y="0"/>
                    </a:moveTo>
                    <a:lnTo>
                      <a:pt x="535332" y="0"/>
                    </a:lnTo>
                    <a:lnTo>
                      <a:pt x="535332" y="49798"/>
                    </a:lnTo>
                    <a:lnTo>
                      <a:pt x="0" y="49798"/>
                    </a:ln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5EC2BA9E-C36C-4466-BE59-0CA6C004CBE3}"/>
                  </a:ext>
                </a:extLst>
              </p:cNvPr>
              <p:cNvSpPr/>
              <p:nvPr/>
            </p:nvSpPr>
            <p:spPr>
              <a:xfrm>
                <a:off x="15364712" y="12262837"/>
                <a:ext cx="207751" cy="67694"/>
              </a:xfrm>
              <a:custGeom>
                <a:avLst/>
                <a:gdLst>
                  <a:gd name="connsiteX0" fmla="*/ 164178 w 207751"/>
                  <a:gd name="connsiteY0" fmla="*/ 67695 h 67694"/>
                  <a:gd name="connsiteX1" fmla="*/ 2334 w 207751"/>
                  <a:gd name="connsiteY1" fmla="*/ 11671 h 67694"/>
                  <a:gd name="connsiteX2" fmla="*/ 2334 w 207751"/>
                  <a:gd name="connsiteY2" fmla="*/ 2334 h 67694"/>
                  <a:gd name="connsiteX3" fmla="*/ 11671 w 207751"/>
                  <a:gd name="connsiteY3" fmla="*/ 2334 h 67694"/>
                  <a:gd name="connsiteX4" fmla="*/ 201528 w 207751"/>
                  <a:gd name="connsiteY4" fmla="*/ 55245 h 67694"/>
                  <a:gd name="connsiteX5" fmla="*/ 207752 w 207751"/>
                  <a:gd name="connsiteY5" fmla="*/ 61470 h 67694"/>
                  <a:gd name="connsiteX6" fmla="*/ 201528 w 207751"/>
                  <a:gd name="connsiteY6" fmla="*/ 67695 h 67694"/>
                  <a:gd name="connsiteX7" fmla="*/ 164178 w 207751"/>
                  <a:gd name="connsiteY7" fmla="*/ 67695 h 67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7751" h="67694">
                    <a:moveTo>
                      <a:pt x="164178" y="67695"/>
                    </a:moveTo>
                    <a:cubicBezTo>
                      <a:pt x="123718" y="67695"/>
                      <a:pt x="55245" y="58357"/>
                      <a:pt x="2334" y="11671"/>
                    </a:cubicBezTo>
                    <a:cubicBezTo>
                      <a:pt x="-778" y="8560"/>
                      <a:pt x="-778" y="5447"/>
                      <a:pt x="2334" y="2334"/>
                    </a:cubicBezTo>
                    <a:cubicBezTo>
                      <a:pt x="5446" y="-778"/>
                      <a:pt x="8559" y="-778"/>
                      <a:pt x="11671" y="2334"/>
                    </a:cubicBezTo>
                    <a:cubicBezTo>
                      <a:pt x="89481" y="70807"/>
                      <a:pt x="198415" y="55245"/>
                      <a:pt x="201528" y="55245"/>
                    </a:cubicBezTo>
                    <a:cubicBezTo>
                      <a:pt x="204639" y="55245"/>
                      <a:pt x="207752" y="58357"/>
                      <a:pt x="207752" y="61470"/>
                    </a:cubicBezTo>
                    <a:cubicBezTo>
                      <a:pt x="207752" y="64582"/>
                      <a:pt x="204639" y="67695"/>
                      <a:pt x="201528" y="67695"/>
                    </a:cubicBezTo>
                    <a:cubicBezTo>
                      <a:pt x="198415" y="64582"/>
                      <a:pt x="185966" y="67695"/>
                      <a:pt x="164178" y="6769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图形 1">
              <a:extLst>
                <a:ext uri="{FF2B5EF4-FFF2-40B4-BE49-F238E27FC236}">
                  <a16:creationId xmlns:a16="http://schemas.microsoft.com/office/drawing/2014/main" id="{1C4B9D60-37DC-4A5B-A65F-D61D5E8045DA}"/>
                </a:ext>
              </a:extLst>
            </p:cNvPr>
            <p:cNvGrpSpPr/>
            <p:nvPr/>
          </p:nvGrpSpPr>
          <p:grpSpPr>
            <a:xfrm>
              <a:off x="15535115" y="12112664"/>
              <a:ext cx="543631" cy="385936"/>
              <a:chOff x="15535115" y="12112664"/>
              <a:chExt cx="543631" cy="385936"/>
            </a:xfrm>
          </p:grpSpPr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089A3E5A-413D-4225-8C6B-F0083762D0A6}"/>
                  </a:ext>
                </a:extLst>
              </p:cNvPr>
              <p:cNvSpPr/>
              <p:nvPr/>
            </p:nvSpPr>
            <p:spPr>
              <a:xfrm>
                <a:off x="15833904" y="12112664"/>
                <a:ext cx="236541" cy="252103"/>
              </a:xfrm>
              <a:custGeom>
                <a:avLst/>
                <a:gdLst>
                  <a:gd name="connsiteX0" fmla="*/ 236542 w 236541"/>
                  <a:gd name="connsiteY0" fmla="*/ 208530 h 252103"/>
                  <a:gd name="connsiteX1" fmla="*/ 183632 w 236541"/>
                  <a:gd name="connsiteY1" fmla="*/ 0 h 252103"/>
                  <a:gd name="connsiteX2" fmla="*/ 0 w 236541"/>
                  <a:gd name="connsiteY2" fmla="*/ 0 h 252103"/>
                  <a:gd name="connsiteX3" fmla="*/ 49798 w 236541"/>
                  <a:gd name="connsiteY3" fmla="*/ 220980 h 252103"/>
                  <a:gd name="connsiteX4" fmla="*/ 220980 w 236541"/>
                  <a:gd name="connsiteY4" fmla="*/ 252104 h 252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6541" h="252103">
                    <a:moveTo>
                      <a:pt x="236542" y="208530"/>
                    </a:moveTo>
                    <a:lnTo>
                      <a:pt x="183632" y="0"/>
                    </a:lnTo>
                    <a:lnTo>
                      <a:pt x="0" y="0"/>
                    </a:lnTo>
                    <a:lnTo>
                      <a:pt x="49798" y="220980"/>
                    </a:lnTo>
                    <a:lnTo>
                      <a:pt x="220980" y="252104"/>
                    </a:ln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783FE8E8-31A2-4BE4-A994-D3C1912C9D7C}"/>
                  </a:ext>
                </a:extLst>
              </p:cNvPr>
              <p:cNvSpPr/>
              <p:nvPr/>
            </p:nvSpPr>
            <p:spPr>
              <a:xfrm>
                <a:off x="15535115" y="12268284"/>
                <a:ext cx="543630" cy="180518"/>
              </a:xfrm>
              <a:custGeom>
                <a:avLst/>
                <a:gdLst>
                  <a:gd name="connsiteX0" fmla="*/ 535331 w 543630"/>
                  <a:gd name="connsiteY0" fmla="*/ 52910 h 180518"/>
                  <a:gd name="connsiteX1" fmla="*/ 339251 w 543630"/>
                  <a:gd name="connsiteY1" fmla="*/ 0 h 180518"/>
                  <a:gd name="connsiteX2" fmla="*/ 189855 w 543630"/>
                  <a:gd name="connsiteY2" fmla="*/ 90259 h 180518"/>
                  <a:gd name="connsiteX3" fmla="*/ 0 w 543630"/>
                  <a:gd name="connsiteY3" fmla="*/ 180518 h 180518"/>
                  <a:gd name="connsiteX4" fmla="*/ 535331 w 543630"/>
                  <a:gd name="connsiteY4" fmla="*/ 180518 h 180518"/>
                  <a:gd name="connsiteX5" fmla="*/ 535331 w 543630"/>
                  <a:gd name="connsiteY5" fmla="*/ 52910 h 180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3630" h="180518">
                    <a:moveTo>
                      <a:pt x="535331" y="52910"/>
                    </a:moveTo>
                    <a:cubicBezTo>
                      <a:pt x="535331" y="52910"/>
                      <a:pt x="410835" y="74697"/>
                      <a:pt x="339251" y="0"/>
                    </a:cubicBezTo>
                    <a:cubicBezTo>
                      <a:pt x="339251" y="0"/>
                      <a:pt x="239654" y="80922"/>
                      <a:pt x="189855" y="90259"/>
                    </a:cubicBezTo>
                    <a:cubicBezTo>
                      <a:pt x="140058" y="99596"/>
                      <a:pt x="15562" y="99596"/>
                      <a:pt x="0" y="180518"/>
                    </a:cubicBezTo>
                    <a:lnTo>
                      <a:pt x="535331" y="180518"/>
                    </a:lnTo>
                    <a:cubicBezTo>
                      <a:pt x="535331" y="180518"/>
                      <a:pt x="554005" y="108934"/>
                      <a:pt x="535331" y="5291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04D24B2C-A522-48C3-B793-044E2B0D4F1C}"/>
                  </a:ext>
                </a:extLst>
              </p:cNvPr>
              <p:cNvSpPr/>
              <p:nvPr/>
            </p:nvSpPr>
            <p:spPr>
              <a:xfrm>
                <a:off x="15535115" y="12448802"/>
                <a:ext cx="535331" cy="49798"/>
              </a:xfrm>
              <a:custGeom>
                <a:avLst/>
                <a:gdLst>
                  <a:gd name="connsiteX0" fmla="*/ 0 w 535331"/>
                  <a:gd name="connsiteY0" fmla="*/ 0 h 49798"/>
                  <a:gd name="connsiteX1" fmla="*/ 535332 w 535331"/>
                  <a:gd name="connsiteY1" fmla="*/ 0 h 49798"/>
                  <a:gd name="connsiteX2" fmla="*/ 535332 w 535331"/>
                  <a:gd name="connsiteY2" fmla="*/ 49798 h 49798"/>
                  <a:gd name="connsiteX3" fmla="*/ 0 w 535331"/>
                  <a:gd name="connsiteY3" fmla="*/ 49798 h 49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5331" h="49798">
                    <a:moveTo>
                      <a:pt x="0" y="0"/>
                    </a:moveTo>
                    <a:lnTo>
                      <a:pt x="535332" y="0"/>
                    </a:lnTo>
                    <a:lnTo>
                      <a:pt x="535332" y="49798"/>
                    </a:lnTo>
                    <a:lnTo>
                      <a:pt x="0" y="49798"/>
                    </a:ln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4C790FAE-B36F-4C72-ADC4-6075B02E8C19}"/>
                  </a:ext>
                </a:extLst>
              </p:cNvPr>
              <p:cNvSpPr/>
              <p:nvPr/>
            </p:nvSpPr>
            <p:spPr>
              <a:xfrm>
                <a:off x="15868919" y="12262837"/>
                <a:ext cx="207752" cy="67694"/>
              </a:xfrm>
              <a:custGeom>
                <a:avLst/>
                <a:gdLst>
                  <a:gd name="connsiteX0" fmla="*/ 164179 w 207752"/>
                  <a:gd name="connsiteY0" fmla="*/ 67695 h 67694"/>
                  <a:gd name="connsiteX1" fmla="*/ 2334 w 207752"/>
                  <a:gd name="connsiteY1" fmla="*/ 11671 h 67694"/>
                  <a:gd name="connsiteX2" fmla="*/ 2334 w 207752"/>
                  <a:gd name="connsiteY2" fmla="*/ 2334 h 67694"/>
                  <a:gd name="connsiteX3" fmla="*/ 11671 w 207752"/>
                  <a:gd name="connsiteY3" fmla="*/ 2334 h 67694"/>
                  <a:gd name="connsiteX4" fmla="*/ 201527 w 207752"/>
                  <a:gd name="connsiteY4" fmla="*/ 55245 h 67694"/>
                  <a:gd name="connsiteX5" fmla="*/ 207752 w 207752"/>
                  <a:gd name="connsiteY5" fmla="*/ 61470 h 67694"/>
                  <a:gd name="connsiteX6" fmla="*/ 201527 w 207752"/>
                  <a:gd name="connsiteY6" fmla="*/ 67695 h 67694"/>
                  <a:gd name="connsiteX7" fmla="*/ 164179 w 207752"/>
                  <a:gd name="connsiteY7" fmla="*/ 67695 h 67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7752" h="67694">
                    <a:moveTo>
                      <a:pt x="164179" y="67695"/>
                    </a:moveTo>
                    <a:cubicBezTo>
                      <a:pt x="123718" y="67695"/>
                      <a:pt x="55245" y="58357"/>
                      <a:pt x="2334" y="11671"/>
                    </a:cubicBezTo>
                    <a:cubicBezTo>
                      <a:pt x="-778" y="8560"/>
                      <a:pt x="-778" y="5447"/>
                      <a:pt x="2334" y="2334"/>
                    </a:cubicBezTo>
                    <a:cubicBezTo>
                      <a:pt x="5447" y="-778"/>
                      <a:pt x="8560" y="-778"/>
                      <a:pt x="11671" y="2334"/>
                    </a:cubicBezTo>
                    <a:cubicBezTo>
                      <a:pt x="89481" y="70807"/>
                      <a:pt x="198415" y="55245"/>
                      <a:pt x="201527" y="55245"/>
                    </a:cubicBezTo>
                    <a:cubicBezTo>
                      <a:pt x="204640" y="55245"/>
                      <a:pt x="207752" y="58357"/>
                      <a:pt x="207752" y="61470"/>
                    </a:cubicBezTo>
                    <a:cubicBezTo>
                      <a:pt x="207752" y="64582"/>
                      <a:pt x="204640" y="67695"/>
                      <a:pt x="201527" y="67695"/>
                    </a:cubicBezTo>
                    <a:cubicBezTo>
                      <a:pt x="201527" y="64582"/>
                      <a:pt x="185965" y="67695"/>
                      <a:pt x="164179" y="6769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3C7A5AF7-F0F2-4A74-9B63-910F73EA12FA}"/>
                </a:ext>
              </a:extLst>
            </p:cNvPr>
            <p:cNvSpPr/>
            <p:nvPr/>
          </p:nvSpPr>
          <p:spPr>
            <a:xfrm>
              <a:off x="15563214" y="10771223"/>
              <a:ext cx="1291006" cy="1472545"/>
            </a:xfrm>
            <a:custGeom>
              <a:avLst/>
              <a:gdLst>
                <a:gd name="connsiteX0" fmla="*/ 1269768 w 1291006"/>
                <a:gd name="connsiteY0" fmla="*/ 0 h 1472545"/>
                <a:gd name="connsiteX1" fmla="*/ 1266655 w 1291006"/>
                <a:gd name="connsiteY1" fmla="*/ 348588 h 1472545"/>
                <a:gd name="connsiteX2" fmla="*/ 432535 w 1291006"/>
                <a:gd name="connsiteY2" fmla="*/ 622478 h 1472545"/>
                <a:gd name="connsiteX3" fmla="*/ 525907 w 1291006"/>
                <a:gd name="connsiteY3" fmla="*/ 1403689 h 1472545"/>
                <a:gd name="connsiteX4" fmla="*/ 236454 w 1291006"/>
                <a:gd name="connsiteY4" fmla="*/ 1469049 h 1472545"/>
                <a:gd name="connsiteX5" fmla="*/ 3025 w 1291006"/>
                <a:gd name="connsiteY5" fmla="*/ 522881 h 1472545"/>
                <a:gd name="connsiteX6" fmla="*/ 759336 w 1291006"/>
                <a:gd name="connsiteY6" fmla="*/ 65360 h 1472545"/>
                <a:gd name="connsiteX7" fmla="*/ 1269768 w 1291006"/>
                <a:gd name="connsiteY7" fmla="*/ 0 h 147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1006" h="1472545">
                  <a:moveTo>
                    <a:pt x="1269768" y="0"/>
                  </a:moveTo>
                  <a:cubicBezTo>
                    <a:pt x="1269768" y="0"/>
                    <a:pt x="1319567" y="233429"/>
                    <a:pt x="1266655" y="348588"/>
                  </a:cubicBezTo>
                  <a:cubicBezTo>
                    <a:pt x="1182621" y="538443"/>
                    <a:pt x="460546" y="566456"/>
                    <a:pt x="432535" y="622478"/>
                  </a:cubicBezTo>
                  <a:cubicBezTo>
                    <a:pt x="404523" y="678501"/>
                    <a:pt x="525907" y="1403689"/>
                    <a:pt x="525907" y="1403689"/>
                  </a:cubicBezTo>
                  <a:cubicBezTo>
                    <a:pt x="525907" y="1403689"/>
                    <a:pt x="311152" y="1490836"/>
                    <a:pt x="236454" y="1469049"/>
                  </a:cubicBezTo>
                  <a:cubicBezTo>
                    <a:pt x="236454" y="1469049"/>
                    <a:pt x="-31211" y="709625"/>
                    <a:pt x="3025" y="522881"/>
                  </a:cubicBezTo>
                  <a:cubicBezTo>
                    <a:pt x="37261" y="339251"/>
                    <a:pt x="690863" y="80922"/>
                    <a:pt x="759336" y="65360"/>
                  </a:cubicBezTo>
                  <a:cubicBezTo>
                    <a:pt x="824696" y="49798"/>
                    <a:pt x="1269768" y="0"/>
                    <a:pt x="1269768" y="0"/>
                  </a:cubicBezTo>
                  <a:close/>
                </a:path>
              </a:pathLst>
            </a:custGeom>
            <a:solidFill>
              <a:srgbClr val="D16156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868CABD8-CFAF-4A95-8471-9A42654A5B28}"/>
                </a:ext>
              </a:extLst>
            </p:cNvPr>
            <p:cNvSpPr/>
            <p:nvPr/>
          </p:nvSpPr>
          <p:spPr>
            <a:xfrm>
              <a:off x="15077797" y="10807233"/>
              <a:ext cx="1375473" cy="1422391"/>
            </a:xfrm>
            <a:custGeom>
              <a:avLst/>
              <a:gdLst>
                <a:gd name="connsiteX0" fmla="*/ 1375474 w 1375473"/>
                <a:gd name="connsiteY0" fmla="*/ 10676 h 1422391"/>
                <a:gd name="connsiteX1" fmla="*/ 1219854 w 1375473"/>
                <a:gd name="connsiteY1" fmla="*/ 312578 h 1422391"/>
                <a:gd name="connsiteX2" fmla="*/ 413744 w 1375473"/>
                <a:gd name="connsiteY2" fmla="*/ 486871 h 1422391"/>
                <a:gd name="connsiteX3" fmla="*/ 494666 w 1375473"/>
                <a:gd name="connsiteY3" fmla="*/ 1364566 h 1422391"/>
                <a:gd name="connsiteX4" fmla="*/ 217663 w 1375473"/>
                <a:gd name="connsiteY4" fmla="*/ 1417477 h 1422391"/>
                <a:gd name="connsiteX5" fmla="*/ 34032 w 1375473"/>
                <a:gd name="connsiteY5" fmla="*/ 300128 h 1422391"/>
                <a:gd name="connsiteX6" fmla="*/ 746770 w 1375473"/>
                <a:gd name="connsiteY6" fmla="*/ 7563 h 1422391"/>
                <a:gd name="connsiteX7" fmla="*/ 1375474 w 1375473"/>
                <a:gd name="connsiteY7" fmla="*/ 10676 h 1422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5473" h="1422391">
                  <a:moveTo>
                    <a:pt x="1375474" y="10676"/>
                  </a:moveTo>
                  <a:cubicBezTo>
                    <a:pt x="1375474" y="10676"/>
                    <a:pt x="1266540" y="197419"/>
                    <a:pt x="1219854" y="312578"/>
                  </a:cubicBezTo>
                  <a:cubicBezTo>
                    <a:pt x="1173168" y="427736"/>
                    <a:pt x="441756" y="430849"/>
                    <a:pt x="413744" y="486871"/>
                  </a:cubicBezTo>
                  <a:cubicBezTo>
                    <a:pt x="385732" y="542895"/>
                    <a:pt x="494666" y="1364566"/>
                    <a:pt x="494666" y="1364566"/>
                  </a:cubicBezTo>
                  <a:cubicBezTo>
                    <a:pt x="494666" y="1364566"/>
                    <a:pt x="298586" y="1442376"/>
                    <a:pt x="217663" y="1417477"/>
                  </a:cubicBezTo>
                  <a:cubicBezTo>
                    <a:pt x="217663" y="1417477"/>
                    <a:pt x="-102913" y="521108"/>
                    <a:pt x="34032" y="300128"/>
                  </a:cubicBezTo>
                  <a:cubicBezTo>
                    <a:pt x="158528" y="97822"/>
                    <a:pt x="681410" y="23125"/>
                    <a:pt x="746770" y="7563"/>
                  </a:cubicBezTo>
                  <a:cubicBezTo>
                    <a:pt x="815243" y="-11111"/>
                    <a:pt x="1375474" y="10676"/>
                    <a:pt x="1375474" y="10676"/>
                  </a:cubicBezTo>
                  <a:close/>
                </a:path>
              </a:pathLst>
            </a:custGeom>
            <a:solidFill>
              <a:srgbClr val="D16156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CC4DF248-A957-4A49-B9ED-630677A8B54C}"/>
                </a:ext>
              </a:extLst>
            </p:cNvPr>
            <p:cNvSpPr/>
            <p:nvPr/>
          </p:nvSpPr>
          <p:spPr>
            <a:xfrm>
              <a:off x="15563127" y="10992203"/>
              <a:ext cx="357925" cy="280115"/>
            </a:xfrm>
            <a:custGeom>
              <a:avLst/>
              <a:gdLst>
                <a:gd name="connsiteX0" fmla="*/ 6224 w 357925"/>
                <a:gd name="connsiteY0" fmla="*/ 280115 h 280115"/>
                <a:gd name="connsiteX1" fmla="*/ 6224 w 357925"/>
                <a:gd name="connsiteY1" fmla="*/ 280115 h 280115"/>
                <a:gd name="connsiteX2" fmla="*/ 0 w 357925"/>
                <a:gd name="connsiteY2" fmla="*/ 273890 h 280115"/>
                <a:gd name="connsiteX3" fmla="*/ 351700 w 357925"/>
                <a:gd name="connsiteY3" fmla="*/ 0 h 280115"/>
                <a:gd name="connsiteX4" fmla="*/ 357925 w 357925"/>
                <a:gd name="connsiteY4" fmla="*/ 3113 h 280115"/>
                <a:gd name="connsiteX5" fmla="*/ 354812 w 357925"/>
                <a:gd name="connsiteY5" fmla="*/ 9337 h 280115"/>
                <a:gd name="connsiteX6" fmla="*/ 9337 w 357925"/>
                <a:gd name="connsiteY6" fmla="*/ 273890 h 280115"/>
                <a:gd name="connsiteX7" fmla="*/ 6224 w 357925"/>
                <a:gd name="connsiteY7" fmla="*/ 280115 h 280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7925" h="280115">
                  <a:moveTo>
                    <a:pt x="6224" y="280115"/>
                  </a:moveTo>
                  <a:cubicBezTo>
                    <a:pt x="6224" y="280115"/>
                    <a:pt x="6224" y="280115"/>
                    <a:pt x="6224" y="280115"/>
                  </a:cubicBezTo>
                  <a:cubicBezTo>
                    <a:pt x="0" y="280115"/>
                    <a:pt x="0" y="277003"/>
                    <a:pt x="0" y="273890"/>
                  </a:cubicBezTo>
                  <a:cubicBezTo>
                    <a:pt x="3113" y="267666"/>
                    <a:pt x="46686" y="99596"/>
                    <a:pt x="351700" y="0"/>
                  </a:cubicBezTo>
                  <a:cubicBezTo>
                    <a:pt x="354812" y="0"/>
                    <a:pt x="357925" y="0"/>
                    <a:pt x="357925" y="3113"/>
                  </a:cubicBezTo>
                  <a:cubicBezTo>
                    <a:pt x="357925" y="6224"/>
                    <a:pt x="357925" y="9337"/>
                    <a:pt x="354812" y="9337"/>
                  </a:cubicBezTo>
                  <a:cubicBezTo>
                    <a:pt x="52910" y="105821"/>
                    <a:pt x="9337" y="273890"/>
                    <a:pt x="9337" y="273890"/>
                  </a:cubicBezTo>
                  <a:cubicBezTo>
                    <a:pt x="12449" y="280115"/>
                    <a:pt x="9337" y="280115"/>
                    <a:pt x="6224" y="280115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88204EDD-1495-456A-AFBB-7A2A7050DDD1}"/>
                </a:ext>
              </a:extLst>
            </p:cNvPr>
            <p:cNvSpPr/>
            <p:nvPr/>
          </p:nvSpPr>
          <p:spPr>
            <a:xfrm>
              <a:off x="16201167" y="9239926"/>
              <a:ext cx="255215" cy="263630"/>
            </a:xfrm>
            <a:custGeom>
              <a:avLst/>
              <a:gdLst>
                <a:gd name="connsiteX0" fmla="*/ 0 w 255215"/>
                <a:gd name="connsiteY0" fmla="*/ 40461 h 263630"/>
                <a:gd name="connsiteX1" fmla="*/ 6224 w 255215"/>
                <a:gd name="connsiteY1" fmla="*/ 217867 h 263630"/>
                <a:gd name="connsiteX2" fmla="*/ 255216 w 255215"/>
                <a:gd name="connsiteY2" fmla="*/ 208530 h 263630"/>
                <a:gd name="connsiteX3" fmla="*/ 239654 w 255215"/>
                <a:gd name="connsiteY3" fmla="*/ 0 h 263630"/>
                <a:gd name="connsiteX4" fmla="*/ 0 w 255215"/>
                <a:gd name="connsiteY4" fmla="*/ 40461 h 263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215" h="263630">
                  <a:moveTo>
                    <a:pt x="0" y="40461"/>
                  </a:moveTo>
                  <a:cubicBezTo>
                    <a:pt x="0" y="40461"/>
                    <a:pt x="6224" y="143170"/>
                    <a:pt x="6224" y="217867"/>
                  </a:cubicBezTo>
                  <a:cubicBezTo>
                    <a:pt x="6224" y="217867"/>
                    <a:pt x="102709" y="326801"/>
                    <a:pt x="255216" y="208530"/>
                  </a:cubicBezTo>
                  <a:cubicBezTo>
                    <a:pt x="255216" y="146282"/>
                    <a:pt x="242766" y="65360"/>
                    <a:pt x="239654" y="0"/>
                  </a:cubicBezTo>
                  <a:cubicBezTo>
                    <a:pt x="239654" y="0"/>
                    <a:pt x="52910" y="52911"/>
                    <a:pt x="0" y="40461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0E7B9801-E063-4665-8114-8F4F633FF088}"/>
                </a:ext>
              </a:extLst>
            </p:cNvPr>
            <p:cNvSpPr/>
            <p:nvPr/>
          </p:nvSpPr>
          <p:spPr>
            <a:xfrm>
              <a:off x="15825038" y="9407995"/>
              <a:ext cx="1079529" cy="1537902"/>
            </a:xfrm>
            <a:custGeom>
              <a:avLst/>
              <a:gdLst>
                <a:gd name="connsiteX0" fmla="*/ 650019 w 1079529"/>
                <a:gd name="connsiteY0" fmla="*/ 0 h 1537902"/>
                <a:gd name="connsiteX1" fmla="*/ 354342 w 1079529"/>
                <a:gd name="connsiteY1" fmla="*/ 0 h 1537902"/>
                <a:gd name="connsiteX2" fmla="*/ 49328 w 1079529"/>
                <a:gd name="connsiteY2" fmla="*/ 133833 h 1537902"/>
                <a:gd name="connsiteX3" fmla="*/ 2642 w 1079529"/>
                <a:gd name="connsiteY3" fmla="*/ 1406801 h 1537902"/>
                <a:gd name="connsiteX4" fmla="*/ 1079530 w 1079529"/>
                <a:gd name="connsiteY4" fmla="*/ 1506398 h 1537902"/>
                <a:gd name="connsiteX5" fmla="*/ 939472 w 1079529"/>
                <a:gd name="connsiteY5" fmla="*/ 108934 h 1537902"/>
                <a:gd name="connsiteX6" fmla="*/ 650019 w 1079529"/>
                <a:gd name="connsiteY6" fmla="*/ 0 h 1537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9529" h="1537902">
                  <a:moveTo>
                    <a:pt x="650019" y="0"/>
                  </a:moveTo>
                  <a:cubicBezTo>
                    <a:pt x="650019" y="0"/>
                    <a:pt x="472613" y="56023"/>
                    <a:pt x="354342" y="0"/>
                  </a:cubicBezTo>
                  <a:cubicBezTo>
                    <a:pt x="354342" y="0"/>
                    <a:pt x="74226" y="99596"/>
                    <a:pt x="49328" y="133833"/>
                  </a:cubicBezTo>
                  <a:cubicBezTo>
                    <a:pt x="24428" y="164957"/>
                    <a:pt x="-9808" y="1338329"/>
                    <a:pt x="2642" y="1406801"/>
                  </a:cubicBezTo>
                  <a:cubicBezTo>
                    <a:pt x="2642" y="1406801"/>
                    <a:pt x="488175" y="1615332"/>
                    <a:pt x="1079530" y="1506398"/>
                  </a:cubicBezTo>
                  <a:cubicBezTo>
                    <a:pt x="1079530" y="1142248"/>
                    <a:pt x="979933" y="140058"/>
                    <a:pt x="939472" y="108934"/>
                  </a:cubicBezTo>
                  <a:cubicBezTo>
                    <a:pt x="892786" y="71585"/>
                    <a:pt x="650019" y="0"/>
                    <a:pt x="650019" y="0"/>
                  </a:cubicBezTo>
                  <a:close/>
                </a:path>
              </a:pathLst>
            </a:custGeom>
            <a:solidFill>
              <a:srgbClr val="F1DDB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43EC377E-6377-449E-A3EE-C8653AA4632F}"/>
                </a:ext>
              </a:extLst>
            </p:cNvPr>
            <p:cNvSpPr/>
            <p:nvPr/>
          </p:nvSpPr>
          <p:spPr>
            <a:xfrm>
              <a:off x="15575576" y="9496658"/>
              <a:ext cx="460002" cy="624075"/>
            </a:xfrm>
            <a:custGeom>
              <a:avLst/>
              <a:gdLst>
                <a:gd name="connsiteX0" fmla="*/ 395274 w 460002"/>
                <a:gd name="connsiteY0" fmla="*/ 624076 h 624075"/>
                <a:gd name="connsiteX1" fmla="*/ 407724 w 460002"/>
                <a:gd name="connsiteY1" fmla="*/ 10934 h 624075"/>
                <a:gd name="connsiteX2" fmla="*/ 0 w 460002"/>
                <a:gd name="connsiteY2" fmla="*/ 452894 h 624075"/>
                <a:gd name="connsiteX3" fmla="*/ 395274 w 460002"/>
                <a:gd name="connsiteY3" fmla="*/ 624076 h 62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0002" h="624075">
                  <a:moveTo>
                    <a:pt x="395274" y="624076"/>
                  </a:moveTo>
                  <a:cubicBezTo>
                    <a:pt x="395274" y="624076"/>
                    <a:pt x="532219" y="91857"/>
                    <a:pt x="407724" y="10934"/>
                  </a:cubicBezTo>
                  <a:cubicBezTo>
                    <a:pt x="261441" y="-82438"/>
                    <a:pt x="0" y="452894"/>
                    <a:pt x="0" y="452894"/>
                  </a:cubicBezTo>
                  <a:cubicBezTo>
                    <a:pt x="0" y="452894"/>
                    <a:pt x="177407" y="605401"/>
                    <a:pt x="395274" y="624076"/>
                  </a:cubicBezTo>
                  <a:close/>
                </a:path>
              </a:pathLst>
            </a:custGeom>
            <a:solidFill>
              <a:srgbClr val="F1DDB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1B8A42FE-D768-4C46-87E4-8C86C2FAC5E5}"/>
                </a:ext>
              </a:extLst>
            </p:cNvPr>
            <p:cNvSpPr/>
            <p:nvPr/>
          </p:nvSpPr>
          <p:spPr>
            <a:xfrm>
              <a:off x="15824567" y="9534314"/>
              <a:ext cx="54199" cy="564631"/>
            </a:xfrm>
            <a:custGeom>
              <a:avLst/>
              <a:gdLst>
                <a:gd name="connsiteX0" fmla="*/ 6225 w 54199"/>
                <a:gd name="connsiteY0" fmla="*/ 564632 h 564631"/>
                <a:gd name="connsiteX1" fmla="*/ 6225 w 54199"/>
                <a:gd name="connsiteY1" fmla="*/ 564632 h 564631"/>
                <a:gd name="connsiteX2" fmla="*/ 0 w 54199"/>
                <a:gd name="connsiteY2" fmla="*/ 558408 h 564631"/>
                <a:gd name="connsiteX3" fmla="*/ 43573 w 54199"/>
                <a:gd name="connsiteY3" fmla="*/ 4401 h 564631"/>
                <a:gd name="connsiteX4" fmla="*/ 49798 w 54199"/>
                <a:gd name="connsiteY4" fmla="*/ 1289 h 564631"/>
                <a:gd name="connsiteX5" fmla="*/ 52911 w 54199"/>
                <a:gd name="connsiteY5" fmla="*/ 7514 h 564631"/>
                <a:gd name="connsiteX6" fmla="*/ 9337 w 54199"/>
                <a:gd name="connsiteY6" fmla="*/ 558408 h 564631"/>
                <a:gd name="connsiteX7" fmla="*/ 6225 w 54199"/>
                <a:gd name="connsiteY7" fmla="*/ 564632 h 56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199" h="564631">
                  <a:moveTo>
                    <a:pt x="6225" y="564632"/>
                  </a:moveTo>
                  <a:lnTo>
                    <a:pt x="6225" y="564632"/>
                  </a:lnTo>
                  <a:cubicBezTo>
                    <a:pt x="3113" y="564632"/>
                    <a:pt x="0" y="561519"/>
                    <a:pt x="0" y="558408"/>
                  </a:cubicBezTo>
                  <a:cubicBezTo>
                    <a:pt x="0" y="536621"/>
                    <a:pt x="37349" y="44863"/>
                    <a:pt x="43573" y="4401"/>
                  </a:cubicBezTo>
                  <a:cubicBezTo>
                    <a:pt x="43573" y="1289"/>
                    <a:pt x="46686" y="-1823"/>
                    <a:pt x="49798" y="1289"/>
                  </a:cubicBezTo>
                  <a:cubicBezTo>
                    <a:pt x="52911" y="1289"/>
                    <a:pt x="56023" y="4401"/>
                    <a:pt x="52911" y="7514"/>
                  </a:cubicBezTo>
                  <a:cubicBezTo>
                    <a:pt x="43573" y="47975"/>
                    <a:pt x="9337" y="555295"/>
                    <a:pt x="9337" y="558408"/>
                  </a:cubicBezTo>
                  <a:cubicBezTo>
                    <a:pt x="12449" y="561519"/>
                    <a:pt x="9337" y="564632"/>
                    <a:pt x="6225" y="564632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95FC885B-5C9D-4EA2-A002-8D8AB96E4363}"/>
                </a:ext>
              </a:extLst>
            </p:cNvPr>
            <p:cNvSpPr/>
            <p:nvPr/>
          </p:nvSpPr>
          <p:spPr>
            <a:xfrm>
              <a:off x="16338112" y="9812607"/>
              <a:ext cx="772821" cy="784337"/>
            </a:xfrm>
            <a:custGeom>
              <a:avLst/>
              <a:gdLst>
                <a:gd name="connsiteX0" fmla="*/ 339251 w 772821"/>
                <a:gd name="connsiteY0" fmla="*/ 28011 h 784337"/>
                <a:gd name="connsiteX1" fmla="*/ 507320 w 772821"/>
                <a:gd name="connsiteY1" fmla="*/ 560231 h 784337"/>
                <a:gd name="connsiteX2" fmla="*/ 0 w 772821"/>
                <a:gd name="connsiteY2" fmla="*/ 622478 h 784337"/>
                <a:gd name="connsiteX3" fmla="*/ 3113 w 772821"/>
                <a:gd name="connsiteY3" fmla="*/ 784322 h 784337"/>
                <a:gd name="connsiteX4" fmla="*/ 746974 w 772821"/>
                <a:gd name="connsiteY4" fmla="*/ 703400 h 784337"/>
                <a:gd name="connsiteX5" fmla="*/ 613142 w 772821"/>
                <a:gd name="connsiteY5" fmla="*/ 0 h 784337"/>
                <a:gd name="connsiteX6" fmla="*/ 339251 w 772821"/>
                <a:gd name="connsiteY6" fmla="*/ 28011 h 78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2821" h="784337">
                  <a:moveTo>
                    <a:pt x="339251" y="28011"/>
                  </a:moveTo>
                  <a:lnTo>
                    <a:pt x="507320" y="560231"/>
                  </a:lnTo>
                  <a:lnTo>
                    <a:pt x="0" y="622478"/>
                  </a:lnTo>
                  <a:lnTo>
                    <a:pt x="3113" y="784322"/>
                  </a:lnTo>
                  <a:cubicBezTo>
                    <a:pt x="3113" y="784322"/>
                    <a:pt x="644266" y="787435"/>
                    <a:pt x="746974" y="703400"/>
                  </a:cubicBezTo>
                  <a:cubicBezTo>
                    <a:pt x="849683" y="622478"/>
                    <a:pt x="613142" y="0"/>
                    <a:pt x="613142" y="0"/>
                  </a:cubicBezTo>
                  <a:lnTo>
                    <a:pt x="339251" y="28011"/>
                  </a:ln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CA893BBB-55A6-4AF9-BACD-95D35B51DB75}"/>
                </a:ext>
              </a:extLst>
            </p:cNvPr>
            <p:cNvSpPr/>
            <p:nvPr/>
          </p:nvSpPr>
          <p:spPr>
            <a:xfrm>
              <a:off x="16689812" y="9943327"/>
              <a:ext cx="230317" cy="460634"/>
            </a:xfrm>
            <a:custGeom>
              <a:avLst/>
              <a:gdLst>
                <a:gd name="connsiteX0" fmla="*/ 227205 w 230317"/>
                <a:gd name="connsiteY0" fmla="*/ 460635 h 460634"/>
                <a:gd name="connsiteX1" fmla="*/ 227205 w 230317"/>
                <a:gd name="connsiteY1" fmla="*/ 460635 h 460634"/>
                <a:gd name="connsiteX2" fmla="*/ 152508 w 230317"/>
                <a:gd name="connsiteY2" fmla="*/ 438847 h 460634"/>
                <a:gd name="connsiteX3" fmla="*/ 149395 w 230317"/>
                <a:gd name="connsiteY3" fmla="*/ 435735 h 460634"/>
                <a:gd name="connsiteX4" fmla="*/ 0 w 230317"/>
                <a:gd name="connsiteY4" fmla="*/ 6225 h 460634"/>
                <a:gd name="connsiteX5" fmla="*/ 3113 w 230317"/>
                <a:gd name="connsiteY5" fmla="*/ 0 h 460634"/>
                <a:gd name="connsiteX6" fmla="*/ 9338 w 230317"/>
                <a:gd name="connsiteY6" fmla="*/ 3113 h 460634"/>
                <a:gd name="connsiteX7" fmla="*/ 158732 w 230317"/>
                <a:gd name="connsiteY7" fmla="*/ 432622 h 460634"/>
                <a:gd name="connsiteX8" fmla="*/ 227205 w 230317"/>
                <a:gd name="connsiteY8" fmla="*/ 454409 h 460634"/>
                <a:gd name="connsiteX9" fmla="*/ 230318 w 230317"/>
                <a:gd name="connsiteY9" fmla="*/ 460635 h 460634"/>
                <a:gd name="connsiteX10" fmla="*/ 227205 w 230317"/>
                <a:gd name="connsiteY10" fmla="*/ 460635 h 460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0317" h="460634">
                  <a:moveTo>
                    <a:pt x="227205" y="460635"/>
                  </a:moveTo>
                  <a:cubicBezTo>
                    <a:pt x="227205" y="460635"/>
                    <a:pt x="227205" y="460635"/>
                    <a:pt x="227205" y="460635"/>
                  </a:cubicBezTo>
                  <a:cubicBezTo>
                    <a:pt x="205418" y="451297"/>
                    <a:pt x="155620" y="438847"/>
                    <a:pt x="152508" y="438847"/>
                  </a:cubicBezTo>
                  <a:cubicBezTo>
                    <a:pt x="149395" y="438847"/>
                    <a:pt x="149395" y="435735"/>
                    <a:pt x="149395" y="435735"/>
                  </a:cubicBezTo>
                  <a:cubicBezTo>
                    <a:pt x="124496" y="317464"/>
                    <a:pt x="3113" y="9338"/>
                    <a:pt x="0" y="6225"/>
                  </a:cubicBezTo>
                  <a:cubicBezTo>
                    <a:pt x="0" y="3113"/>
                    <a:pt x="0" y="0"/>
                    <a:pt x="3113" y="0"/>
                  </a:cubicBezTo>
                  <a:cubicBezTo>
                    <a:pt x="6225" y="0"/>
                    <a:pt x="9338" y="0"/>
                    <a:pt x="9338" y="3113"/>
                  </a:cubicBezTo>
                  <a:cubicBezTo>
                    <a:pt x="9338" y="6225"/>
                    <a:pt x="130721" y="311239"/>
                    <a:pt x="158732" y="432622"/>
                  </a:cubicBezTo>
                  <a:cubicBezTo>
                    <a:pt x="171182" y="435735"/>
                    <a:pt x="211643" y="448184"/>
                    <a:pt x="227205" y="454409"/>
                  </a:cubicBezTo>
                  <a:cubicBezTo>
                    <a:pt x="230318" y="454409"/>
                    <a:pt x="230318" y="457522"/>
                    <a:pt x="230318" y="460635"/>
                  </a:cubicBezTo>
                  <a:cubicBezTo>
                    <a:pt x="230318" y="457522"/>
                    <a:pt x="230318" y="460635"/>
                    <a:pt x="227205" y="460635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7F95A855-59AC-4C9B-BC44-6D3BBF644F2F}"/>
                </a:ext>
              </a:extLst>
            </p:cNvPr>
            <p:cNvSpPr/>
            <p:nvPr/>
          </p:nvSpPr>
          <p:spPr>
            <a:xfrm>
              <a:off x="16640459" y="9510704"/>
              <a:ext cx="438402" cy="596832"/>
            </a:xfrm>
            <a:custGeom>
              <a:avLst/>
              <a:gdLst>
                <a:gd name="connsiteX0" fmla="*/ 438402 w 438402"/>
                <a:gd name="connsiteY0" fmla="*/ 522881 h 596832"/>
                <a:gd name="connsiteX1" fmla="*/ 120939 w 438402"/>
                <a:gd name="connsiteY1" fmla="*/ 0 h 596832"/>
                <a:gd name="connsiteX2" fmla="*/ 12005 w 438402"/>
                <a:gd name="connsiteY2" fmla="*/ 591354 h 596832"/>
                <a:gd name="connsiteX3" fmla="*/ 438402 w 438402"/>
                <a:gd name="connsiteY3" fmla="*/ 522881 h 59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402" h="596832">
                  <a:moveTo>
                    <a:pt x="438402" y="522881"/>
                  </a:moveTo>
                  <a:cubicBezTo>
                    <a:pt x="438402" y="522881"/>
                    <a:pt x="270333" y="0"/>
                    <a:pt x="120939" y="0"/>
                  </a:cubicBezTo>
                  <a:cubicBezTo>
                    <a:pt x="-53355" y="0"/>
                    <a:pt x="12005" y="591354"/>
                    <a:pt x="12005" y="591354"/>
                  </a:cubicBezTo>
                  <a:cubicBezTo>
                    <a:pt x="12005" y="591354"/>
                    <a:pt x="245434" y="625591"/>
                    <a:pt x="438402" y="522881"/>
                  </a:cubicBezTo>
                  <a:close/>
                </a:path>
              </a:pathLst>
            </a:custGeom>
            <a:solidFill>
              <a:srgbClr val="F1DDB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E89E0B03-4AD4-4505-A2B4-B7DB1C1EAD40}"/>
                </a:ext>
              </a:extLst>
            </p:cNvPr>
            <p:cNvSpPr/>
            <p:nvPr/>
          </p:nvSpPr>
          <p:spPr>
            <a:xfrm>
              <a:off x="16641383" y="9510704"/>
              <a:ext cx="157362" cy="606916"/>
            </a:xfrm>
            <a:custGeom>
              <a:avLst/>
              <a:gdLst>
                <a:gd name="connsiteX0" fmla="*/ 104452 w 157362"/>
                <a:gd name="connsiteY0" fmla="*/ 606916 h 606916"/>
                <a:gd name="connsiteX1" fmla="*/ 11080 w 157362"/>
                <a:gd name="connsiteY1" fmla="*/ 600691 h 606916"/>
                <a:gd name="connsiteX2" fmla="*/ 7968 w 157362"/>
                <a:gd name="connsiteY2" fmla="*/ 600691 h 606916"/>
                <a:gd name="connsiteX3" fmla="*/ 7968 w 157362"/>
                <a:gd name="connsiteY3" fmla="*/ 597580 h 606916"/>
                <a:gd name="connsiteX4" fmla="*/ 1743 w 157362"/>
                <a:gd name="connsiteY4" fmla="*/ 230317 h 606916"/>
                <a:gd name="connsiteX5" fmla="*/ 120014 w 157362"/>
                <a:gd name="connsiteY5" fmla="*/ 0 h 606916"/>
                <a:gd name="connsiteX6" fmla="*/ 126238 w 157362"/>
                <a:gd name="connsiteY6" fmla="*/ 3113 h 606916"/>
                <a:gd name="connsiteX7" fmla="*/ 123127 w 157362"/>
                <a:gd name="connsiteY7" fmla="*/ 9337 h 606916"/>
                <a:gd name="connsiteX8" fmla="*/ 11080 w 157362"/>
                <a:gd name="connsiteY8" fmla="*/ 227205 h 606916"/>
                <a:gd name="connsiteX9" fmla="*/ 17305 w 157362"/>
                <a:gd name="connsiteY9" fmla="*/ 588242 h 606916"/>
                <a:gd name="connsiteX10" fmla="*/ 151138 w 157362"/>
                <a:gd name="connsiteY10" fmla="*/ 591354 h 606916"/>
                <a:gd name="connsiteX11" fmla="*/ 157362 w 157362"/>
                <a:gd name="connsiteY11" fmla="*/ 597580 h 606916"/>
                <a:gd name="connsiteX12" fmla="*/ 151138 w 157362"/>
                <a:gd name="connsiteY12" fmla="*/ 603804 h 606916"/>
                <a:gd name="connsiteX13" fmla="*/ 104452 w 157362"/>
                <a:gd name="connsiteY13" fmla="*/ 606916 h 606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362" h="606916">
                  <a:moveTo>
                    <a:pt x="104452" y="606916"/>
                  </a:moveTo>
                  <a:cubicBezTo>
                    <a:pt x="54654" y="606916"/>
                    <a:pt x="11080" y="600691"/>
                    <a:pt x="11080" y="600691"/>
                  </a:cubicBezTo>
                  <a:lnTo>
                    <a:pt x="7968" y="600691"/>
                  </a:lnTo>
                  <a:lnTo>
                    <a:pt x="7968" y="597580"/>
                  </a:lnTo>
                  <a:cubicBezTo>
                    <a:pt x="7968" y="594467"/>
                    <a:pt x="-4482" y="417060"/>
                    <a:pt x="1743" y="230317"/>
                  </a:cubicBezTo>
                  <a:cubicBezTo>
                    <a:pt x="4855" y="40461"/>
                    <a:pt x="116902" y="3113"/>
                    <a:pt x="120014" y="0"/>
                  </a:cubicBezTo>
                  <a:cubicBezTo>
                    <a:pt x="123127" y="0"/>
                    <a:pt x="126238" y="0"/>
                    <a:pt x="126238" y="3113"/>
                  </a:cubicBezTo>
                  <a:cubicBezTo>
                    <a:pt x="126238" y="6225"/>
                    <a:pt x="126238" y="9337"/>
                    <a:pt x="123127" y="9337"/>
                  </a:cubicBezTo>
                  <a:cubicBezTo>
                    <a:pt x="123127" y="9337"/>
                    <a:pt x="17305" y="46686"/>
                    <a:pt x="11080" y="227205"/>
                  </a:cubicBezTo>
                  <a:cubicBezTo>
                    <a:pt x="7968" y="395274"/>
                    <a:pt x="17305" y="560231"/>
                    <a:pt x="17305" y="588242"/>
                  </a:cubicBezTo>
                  <a:cubicBezTo>
                    <a:pt x="32867" y="591354"/>
                    <a:pt x="95114" y="597580"/>
                    <a:pt x="151138" y="591354"/>
                  </a:cubicBezTo>
                  <a:cubicBezTo>
                    <a:pt x="154251" y="591354"/>
                    <a:pt x="157362" y="594467"/>
                    <a:pt x="157362" y="597580"/>
                  </a:cubicBezTo>
                  <a:cubicBezTo>
                    <a:pt x="157362" y="600691"/>
                    <a:pt x="154251" y="603804"/>
                    <a:pt x="151138" y="603804"/>
                  </a:cubicBezTo>
                  <a:cubicBezTo>
                    <a:pt x="135576" y="603804"/>
                    <a:pt x="120014" y="606916"/>
                    <a:pt x="104452" y="606916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DCFBB7A1-6E8F-4231-96F2-FA5237F32505}"/>
                </a:ext>
              </a:extLst>
            </p:cNvPr>
            <p:cNvSpPr/>
            <p:nvPr/>
          </p:nvSpPr>
          <p:spPr>
            <a:xfrm>
              <a:off x="16465720" y="9102981"/>
              <a:ext cx="62247" cy="149394"/>
            </a:xfrm>
            <a:custGeom>
              <a:avLst/>
              <a:gdLst>
                <a:gd name="connsiteX0" fmla="*/ 62248 w 62247"/>
                <a:gd name="connsiteY0" fmla="*/ 0 h 149394"/>
                <a:gd name="connsiteX1" fmla="*/ 12449 w 62247"/>
                <a:gd name="connsiteY1" fmla="*/ 149395 h 149394"/>
                <a:gd name="connsiteX2" fmla="*/ 0 w 62247"/>
                <a:gd name="connsiteY2" fmla="*/ 62248 h 149394"/>
                <a:gd name="connsiteX3" fmla="*/ 62248 w 62247"/>
                <a:gd name="connsiteY3" fmla="*/ 0 h 14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47" h="149394">
                  <a:moveTo>
                    <a:pt x="62248" y="0"/>
                  </a:moveTo>
                  <a:cubicBezTo>
                    <a:pt x="62248" y="0"/>
                    <a:pt x="62248" y="121384"/>
                    <a:pt x="12449" y="149395"/>
                  </a:cubicBezTo>
                  <a:lnTo>
                    <a:pt x="0" y="62248"/>
                  </a:lnTo>
                  <a:lnTo>
                    <a:pt x="62248" y="0"/>
                  </a:ln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50E62BB2-2B6D-4EDB-9364-38EE29DF79CD}"/>
                </a:ext>
              </a:extLst>
            </p:cNvPr>
            <p:cNvSpPr/>
            <p:nvPr/>
          </p:nvSpPr>
          <p:spPr>
            <a:xfrm>
              <a:off x="16045219" y="8947361"/>
              <a:ext cx="113203" cy="235553"/>
            </a:xfrm>
            <a:custGeom>
              <a:avLst/>
              <a:gdLst>
                <a:gd name="connsiteX0" fmla="*/ 328 w 113203"/>
                <a:gd name="connsiteY0" fmla="*/ 0 h 235553"/>
                <a:gd name="connsiteX1" fmla="*/ 71913 w 113203"/>
                <a:gd name="connsiteY1" fmla="*/ 233429 h 235553"/>
                <a:gd name="connsiteX2" fmla="*/ 103037 w 113203"/>
                <a:gd name="connsiteY2" fmla="*/ 3113 h 235553"/>
                <a:gd name="connsiteX3" fmla="*/ 328 w 113203"/>
                <a:gd name="connsiteY3" fmla="*/ 0 h 235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203" h="235553">
                  <a:moveTo>
                    <a:pt x="328" y="0"/>
                  </a:moveTo>
                  <a:cubicBezTo>
                    <a:pt x="328" y="0"/>
                    <a:pt x="-9009" y="202305"/>
                    <a:pt x="71913" y="233429"/>
                  </a:cubicBezTo>
                  <a:cubicBezTo>
                    <a:pt x="140386" y="261441"/>
                    <a:pt x="103037" y="3113"/>
                    <a:pt x="103037" y="3113"/>
                  </a:cubicBezTo>
                  <a:lnTo>
                    <a:pt x="328" y="0"/>
                  </a:ln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9D6990A7-147D-4B1F-905F-43D9C8EEE38F}"/>
                </a:ext>
              </a:extLst>
            </p:cNvPr>
            <p:cNvSpPr/>
            <p:nvPr/>
          </p:nvSpPr>
          <p:spPr>
            <a:xfrm>
              <a:off x="16092147" y="8779236"/>
              <a:ext cx="422701" cy="582196"/>
            </a:xfrm>
            <a:custGeom>
              <a:avLst/>
              <a:gdLst>
                <a:gd name="connsiteX0" fmla="*/ 86 w 422701"/>
                <a:gd name="connsiteY0" fmla="*/ 208586 h 582196"/>
                <a:gd name="connsiteX1" fmla="*/ 28098 w 422701"/>
                <a:gd name="connsiteY1" fmla="*/ 463802 h 582196"/>
                <a:gd name="connsiteX2" fmla="*/ 205505 w 422701"/>
                <a:gd name="connsiteY2" fmla="*/ 582073 h 582196"/>
                <a:gd name="connsiteX3" fmla="*/ 407810 w 422701"/>
                <a:gd name="connsiteY3" fmla="*/ 410892 h 582196"/>
                <a:gd name="connsiteX4" fmla="*/ 420259 w 422701"/>
                <a:gd name="connsiteY4" fmla="*/ 177462 h 582196"/>
                <a:gd name="connsiteX5" fmla="*/ 180605 w 422701"/>
                <a:gd name="connsiteY5" fmla="*/ 56 h 582196"/>
                <a:gd name="connsiteX6" fmla="*/ 86 w 422701"/>
                <a:gd name="connsiteY6" fmla="*/ 208586 h 582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2701" h="582196">
                  <a:moveTo>
                    <a:pt x="86" y="208586"/>
                  </a:moveTo>
                  <a:cubicBezTo>
                    <a:pt x="86" y="208586"/>
                    <a:pt x="-3026" y="389105"/>
                    <a:pt x="28098" y="463802"/>
                  </a:cubicBezTo>
                  <a:cubicBezTo>
                    <a:pt x="56109" y="529163"/>
                    <a:pt x="152593" y="585186"/>
                    <a:pt x="205505" y="582073"/>
                  </a:cubicBezTo>
                  <a:cubicBezTo>
                    <a:pt x="273977" y="578961"/>
                    <a:pt x="389135" y="526050"/>
                    <a:pt x="407810" y="410892"/>
                  </a:cubicBezTo>
                  <a:cubicBezTo>
                    <a:pt x="420259" y="333082"/>
                    <a:pt x="426484" y="230373"/>
                    <a:pt x="420259" y="177462"/>
                  </a:cubicBezTo>
                  <a:cubicBezTo>
                    <a:pt x="407810" y="80978"/>
                    <a:pt x="373574" y="3168"/>
                    <a:pt x="180605" y="56"/>
                  </a:cubicBezTo>
                  <a:cubicBezTo>
                    <a:pt x="93458" y="-3057"/>
                    <a:pt x="9423" y="124552"/>
                    <a:pt x="86" y="208586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73AE1569-427B-4737-98FD-5721B30BC547}"/>
                </a:ext>
              </a:extLst>
            </p:cNvPr>
            <p:cNvSpPr/>
            <p:nvPr/>
          </p:nvSpPr>
          <p:spPr>
            <a:xfrm>
              <a:off x="16240756" y="9050070"/>
              <a:ext cx="63119" cy="140057"/>
            </a:xfrm>
            <a:custGeom>
              <a:avLst/>
              <a:gdLst>
                <a:gd name="connsiteX0" fmla="*/ 25771 w 63119"/>
                <a:gd name="connsiteY0" fmla="*/ 140058 h 140057"/>
                <a:gd name="connsiteX1" fmla="*/ 7097 w 63119"/>
                <a:gd name="connsiteY1" fmla="*/ 136946 h 140057"/>
                <a:gd name="connsiteX2" fmla="*/ 872 w 63119"/>
                <a:gd name="connsiteY2" fmla="*/ 124496 h 140057"/>
                <a:gd name="connsiteX3" fmla="*/ 3984 w 63119"/>
                <a:gd name="connsiteY3" fmla="*/ 6225 h 140057"/>
                <a:gd name="connsiteX4" fmla="*/ 10209 w 63119"/>
                <a:gd name="connsiteY4" fmla="*/ 0 h 140057"/>
                <a:gd name="connsiteX5" fmla="*/ 16433 w 63119"/>
                <a:gd name="connsiteY5" fmla="*/ 6225 h 140057"/>
                <a:gd name="connsiteX6" fmla="*/ 13321 w 63119"/>
                <a:gd name="connsiteY6" fmla="*/ 121384 h 140057"/>
                <a:gd name="connsiteX7" fmla="*/ 16433 w 63119"/>
                <a:gd name="connsiteY7" fmla="*/ 124496 h 140057"/>
                <a:gd name="connsiteX8" fmla="*/ 56895 w 63119"/>
                <a:gd name="connsiteY8" fmla="*/ 121384 h 140057"/>
                <a:gd name="connsiteX9" fmla="*/ 63119 w 63119"/>
                <a:gd name="connsiteY9" fmla="*/ 124496 h 140057"/>
                <a:gd name="connsiteX10" fmla="*/ 60007 w 63119"/>
                <a:gd name="connsiteY10" fmla="*/ 130720 h 140057"/>
                <a:gd name="connsiteX11" fmla="*/ 25771 w 63119"/>
                <a:gd name="connsiteY11" fmla="*/ 140058 h 140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3119" h="140057">
                  <a:moveTo>
                    <a:pt x="25771" y="140058"/>
                  </a:moveTo>
                  <a:cubicBezTo>
                    <a:pt x="19546" y="140058"/>
                    <a:pt x="13321" y="140058"/>
                    <a:pt x="7097" y="136946"/>
                  </a:cubicBezTo>
                  <a:cubicBezTo>
                    <a:pt x="3984" y="133833"/>
                    <a:pt x="872" y="130720"/>
                    <a:pt x="872" y="124496"/>
                  </a:cubicBezTo>
                  <a:cubicBezTo>
                    <a:pt x="-2241" y="102709"/>
                    <a:pt x="3984" y="12450"/>
                    <a:pt x="3984" y="6225"/>
                  </a:cubicBezTo>
                  <a:cubicBezTo>
                    <a:pt x="3984" y="3113"/>
                    <a:pt x="7097" y="0"/>
                    <a:pt x="10209" y="0"/>
                  </a:cubicBezTo>
                  <a:cubicBezTo>
                    <a:pt x="13321" y="0"/>
                    <a:pt x="16433" y="3113"/>
                    <a:pt x="16433" y="6225"/>
                  </a:cubicBezTo>
                  <a:cubicBezTo>
                    <a:pt x="16433" y="6225"/>
                    <a:pt x="10209" y="102709"/>
                    <a:pt x="13321" y="121384"/>
                  </a:cubicBezTo>
                  <a:cubicBezTo>
                    <a:pt x="13321" y="121384"/>
                    <a:pt x="13321" y="124496"/>
                    <a:pt x="16433" y="124496"/>
                  </a:cubicBezTo>
                  <a:cubicBezTo>
                    <a:pt x="22659" y="127608"/>
                    <a:pt x="44445" y="124496"/>
                    <a:pt x="56895" y="121384"/>
                  </a:cubicBezTo>
                  <a:cubicBezTo>
                    <a:pt x="60007" y="121384"/>
                    <a:pt x="63119" y="121384"/>
                    <a:pt x="63119" y="124496"/>
                  </a:cubicBezTo>
                  <a:cubicBezTo>
                    <a:pt x="63119" y="127608"/>
                    <a:pt x="63119" y="130720"/>
                    <a:pt x="60007" y="130720"/>
                  </a:cubicBezTo>
                  <a:cubicBezTo>
                    <a:pt x="53783" y="136946"/>
                    <a:pt x="38221" y="140058"/>
                    <a:pt x="25771" y="140058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44722A3A-D49F-4EAF-9A83-23BCA869B4AA}"/>
                </a:ext>
              </a:extLst>
            </p:cNvPr>
            <p:cNvSpPr/>
            <p:nvPr/>
          </p:nvSpPr>
          <p:spPr>
            <a:xfrm>
              <a:off x="16157594" y="9037621"/>
              <a:ext cx="40460" cy="40461"/>
            </a:xfrm>
            <a:custGeom>
              <a:avLst/>
              <a:gdLst>
                <a:gd name="connsiteX0" fmla="*/ 40461 w 40460"/>
                <a:gd name="connsiteY0" fmla="*/ 21787 h 40461"/>
                <a:gd name="connsiteX1" fmla="*/ 18674 w 40460"/>
                <a:gd name="connsiteY1" fmla="*/ 40461 h 40461"/>
                <a:gd name="connsiteX2" fmla="*/ 0 w 40460"/>
                <a:gd name="connsiteY2" fmla="*/ 18674 h 40461"/>
                <a:gd name="connsiteX3" fmla="*/ 21786 w 40460"/>
                <a:gd name="connsiteY3" fmla="*/ 0 h 40461"/>
                <a:gd name="connsiteX4" fmla="*/ 40461 w 40460"/>
                <a:gd name="connsiteY4" fmla="*/ 21787 h 4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60" h="40461">
                  <a:moveTo>
                    <a:pt x="40461" y="21787"/>
                  </a:moveTo>
                  <a:cubicBezTo>
                    <a:pt x="40461" y="34236"/>
                    <a:pt x="28011" y="40461"/>
                    <a:pt x="18674" y="40461"/>
                  </a:cubicBezTo>
                  <a:cubicBezTo>
                    <a:pt x="6224" y="40461"/>
                    <a:pt x="0" y="28011"/>
                    <a:pt x="0" y="18674"/>
                  </a:cubicBezTo>
                  <a:cubicBezTo>
                    <a:pt x="0" y="6225"/>
                    <a:pt x="12449" y="0"/>
                    <a:pt x="21786" y="0"/>
                  </a:cubicBezTo>
                  <a:cubicBezTo>
                    <a:pt x="34236" y="0"/>
                    <a:pt x="40461" y="12449"/>
                    <a:pt x="40461" y="21787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2225816F-1F70-4D54-BE12-FD5F5BD2FDCD}"/>
                </a:ext>
              </a:extLst>
            </p:cNvPr>
            <p:cNvSpPr/>
            <p:nvPr/>
          </p:nvSpPr>
          <p:spPr>
            <a:xfrm>
              <a:off x="16344337" y="9034508"/>
              <a:ext cx="41063" cy="40461"/>
            </a:xfrm>
            <a:custGeom>
              <a:avLst/>
              <a:gdLst>
                <a:gd name="connsiteX0" fmla="*/ 40461 w 41063"/>
                <a:gd name="connsiteY0" fmla="*/ 21787 h 40461"/>
                <a:gd name="connsiteX1" fmla="*/ 18674 w 41063"/>
                <a:gd name="connsiteY1" fmla="*/ 40461 h 40461"/>
                <a:gd name="connsiteX2" fmla="*/ 0 w 41063"/>
                <a:gd name="connsiteY2" fmla="*/ 18675 h 40461"/>
                <a:gd name="connsiteX3" fmla="*/ 21786 w 41063"/>
                <a:gd name="connsiteY3" fmla="*/ 0 h 40461"/>
                <a:gd name="connsiteX4" fmla="*/ 40461 w 41063"/>
                <a:gd name="connsiteY4" fmla="*/ 21787 h 4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63" h="40461">
                  <a:moveTo>
                    <a:pt x="40461" y="21787"/>
                  </a:moveTo>
                  <a:cubicBezTo>
                    <a:pt x="40461" y="34237"/>
                    <a:pt x="28011" y="40461"/>
                    <a:pt x="18674" y="40461"/>
                  </a:cubicBezTo>
                  <a:cubicBezTo>
                    <a:pt x="6224" y="40461"/>
                    <a:pt x="0" y="28012"/>
                    <a:pt x="0" y="18675"/>
                  </a:cubicBezTo>
                  <a:cubicBezTo>
                    <a:pt x="0" y="6225"/>
                    <a:pt x="12449" y="0"/>
                    <a:pt x="21786" y="0"/>
                  </a:cubicBezTo>
                  <a:cubicBezTo>
                    <a:pt x="34236" y="3113"/>
                    <a:pt x="43573" y="12450"/>
                    <a:pt x="40461" y="21787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CD418FE9-E870-4020-9F5A-C002F9513962}"/>
                </a:ext>
              </a:extLst>
            </p:cNvPr>
            <p:cNvSpPr/>
            <p:nvPr/>
          </p:nvSpPr>
          <p:spPr>
            <a:xfrm>
              <a:off x="16126470" y="8984510"/>
              <a:ext cx="91548" cy="40660"/>
            </a:xfrm>
            <a:custGeom>
              <a:avLst/>
              <a:gdLst>
                <a:gd name="connsiteX0" fmla="*/ 9337 w 91548"/>
                <a:gd name="connsiteY0" fmla="*/ 40661 h 40660"/>
                <a:gd name="connsiteX1" fmla="*/ 3112 w 91548"/>
                <a:gd name="connsiteY1" fmla="*/ 37549 h 40660"/>
                <a:gd name="connsiteX2" fmla="*/ 0 w 91548"/>
                <a:gd name="connsiteY2" fmla="*/ 25099 h 40660"/>
                <a:gd name="connsiteX3" fmla="*/ 87147 w 91548"/>
                <a:gd name="connsiteY3" fmla="*/ 6425 h 40660"/>
                <a:gd name="connsiteX4" fmla="*/ 90259 w 91548"/>
                <a:gd name="connsiteY4" fmla="*/ 15762 h 40660"/>
                <a:gd name="connsiteX5" fmla="*/ 80921 w 91548"/>
                <a:gd name="connsiteY5" fmla="*/ 18874 h 40660"/>
                <a:gd name="connsiteX6" fmla="*/ 12449 w 91548"/>
                <a:gd name="connsiteY6" fmla="*/ 34436 h 40660"/>
                <a:gd name="connsiteX7" fmla="*/ 9337 w 91548"/>
                <a:gd name="connsiteY7" fmla="*/ 40661 h 4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48" h="40660">
                  <a:moveTo>
                    <a:pt x="9337" y="40661"/>
                  </a:moveTo>
                  <a:cubicBezTo>
                    <a:pt x="6224" y="40661"/>
                    <a:pt x="6224" y="40661"/>
                    <a:pt x="3112" y="37549"/>
                  </a:cubicBezTo>
                  <a:cubicBezTo>
                    <a:pt x="0" y="34436"/>
                    <a:pt x="0" y="31324"/>
                    <a:pt x="0" y="25099"/>
                  </a:cubicBezTo>
                  <a:cubicBezTo>
                    <a:pt x="24899" y="-6025"/>
                    <a:pt x="65359" y="-2912"/>
                    <a:pt x="87147" y="6425"/>
                  </a:cubicBezTo>
                  <a:cubicBezTo>
                    <a:pt x="90259" y="9537"/>
                    <a:pt x="93372" y="12649"/>
                    <a:pt x="90259" y="15762"/>
                  </a:cubicBezTo>
                  <a:cubicBezTo>
                    <a:pt x="87147" y="18874"/>
                    <a:pt x="84034" y="21987"/>
                    <a:pt x="80921" y="18874"/>
                  </a:cubicBezTo>
                  <a:cubicBezTo>
                    <a:pt x="77810" y="18874"/>
                    <a:pt x="37348" y="3312"/>
                    <a:pt x="12449" y="34436"/>
                  </a:cubicBezTo>
                  <a:cubicBezTo>
                    <a:pt x="12449" y="40661"/>
                    <a:pt x="9337" y="40661"/>
                    <a:pt x="9337" y="40661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07FED0AA-0829-4530-8F1E-090CA36FB132}"/>
                </a:ext>
              </a:extLst>
            </p:cNvPr>
            <p:cNvSpPr/>
            <p:nvPr/>
          </p:nvSpPr>
          <p:spPr>
            <a:xfrm>
              <a:off x="16317103" y="8969012"/>
              <a:ext cx="91815" cy="31260"/>
            </a:xfrm>
            <a:custGeom>
              <a:avLst/>
              <a:gdLst>
                <a:gd name="connsiteX0" fmla="*/ 8560 w 91815"/>
                <a:gd name="connsiteY0" fmla="*/ 31260 h 31260"/>
                <a:gd name="connsiteX1" fmla="*/ 2334 w 91815"/>
                <a:gd name="connsiteY1" fmla="*/ 28148 h 31260"/>
                <a:gd name="connsiteX2" fmla="*/ 2334 w 91815"/>
                <a:gd name="connsiteY2" fmla="*/ 15698 h 31260"/>
                <a:gd name="connsiteX3" fmla="*/ 89482 w 91815"/>
                <a:gd name="connsiteY3" fmla="*/ 15698 h 31260"/>
                <a:gd name="connsiteX4" fmla="*/ 89482 w 91815"/>
                <a:gd name="connsiteY4" fmla="*/ 28148 h 31260"/>
                <a:gd name="connsiteX5" fmla="*/ 77032 w 91815"/>
                <a:gd name="connsiteY5" fmla="*/ 28148 h 31260"/>
                <a:gd name="connsiteX6" fmla="*/ 8560 w 91815"/>
                <a:gd name="connsiteY6" fmla="*/ 28148 h 31260"/>
                <a:gd name="connsiteX7" fmla="*/ 8560 w 91815"/>
                <a:gd name="connsiteY7" fmla="*/ 31260 h 31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815" h="31260">
                  <a:moveTo>
                    <a:pt x="8560" y="31260"/>
                  </a:moveTo>
                  <a:cubicBezTo>
                    <a:pt x="5447" y="31260"/>
                    <a:pt x="5447" y="31260"/>
                    <a:pt x="2334" y="28148"/>
                  </a:cubicBezTo>
                  <a:cubicBezTo>
                    <a:pt x="-778" y="25035"/>
                    <a:pt x="-778" y="18811"/>
                    <a:pt x="2334" y="15698"/>
                  </a:cubicBezTo>
                  <a:cubicBezTo>
                    <a:pt x="36571" y="-12313"/>
                    <a:pt x="77032" y="3249"/>
                    <a:pt x="89482" y="15698"/>
                  </a:cubicBezTo>
                  <a:cubicBezTo>
                    <a:pt x="92594" y="18811"/>
                    <a:pt x="92594" y="25035"/>
                    <a:pt x="89482" y="28148"/>
                  </a:cubicBezTo>
                  <a:cubicBezTo>
                    <a:pt x="86369" y="31260"/>
                    <a:pt x="80144" y="31260"/>
                    <a:pt x="77032" y="28148"/>
                  </a:cubicBezTo>
                  <a:cubicBezTo>
                    <a:pt x="77032" y="28148"/>
                    <a:pt x="42796" y="136"/>
                    <a:pt x="8560" y="28148"/>
                  </a:cubicBezTo>
                  <a:cubicBezTo>
                    <a:pt x="11672" y="28148"/>
                    <a:pt x="11672" y="31260"/>
                    <a:pt x="8560" y="31260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8EF3A87D-E9BD-49A0-B2DA-CA1A3AD87908}"/>
                </a:ext>
              </a:extLst>
            </p:cNvPr>
            <p:cNvSpPr/>
            <p:nvPr/>
          </p:nvSpPr>
          <p:spPr>
            <a:xfrm>
              <a:off x="16226066" y="9282117"/>
              <a:ext cx="231700" cy="82305"/>
            </a:xfrm>
            <a:custGeom>
              <a:avLst/>
              <a:gdLst>
                <a:gd name="connsiteX0" fmla="*/ 71586 w 231700"/>
                <a:gd name="connsiteY0" fmla="*/ 82306 h 82305"/>
                <a:gd name="connsiteX1" fmla="*/ 3113 w 231700"/>
                <a:gd name="connsiteY1" fmla="*/ 63631 h 82305"/>
                <a:gd name="connsiteX2" fmla="*/ 0 w 231700"/>
                <a:gd name="connsiteY2" fmla="*/ 54294 h 82305"/>
                <a:gd name="connsiteX3" fmla="*/ 9338 w 231700"/>
                <a:gd name="connsiteY3" fmla="*/ 51182 h 82305"/>
                <a:gd name="connsiteX4" fmla="*/ 84035 w 231700"/>
                <a:gd name="connsiteY4" fmla="*/ 69856 h 82305"/>
                <a:gd name="connsiteX5" fmla="*/ 220980 w 231700"/>
                <a:gd name="connsiteY5" fmla="*/ 1383 h 82305"/>
                <a:gd name="connsiteX6" fmla="*/ 230317 w 231700"/>
                <a:gd name="connsiteY6" fmla="*/ 1383 h 82305"/>
                <a:gd name="connsiteX7" fmla="*/ 230317 w 231700"/>
                <a:gd name="connsiteY7" fmla="*/ 10720 h 82305"/>
                <a:gd name="connsiteX8" fmla="*/ 90259 w 231700"/>
                <a:gd name="connsiteY8" fmla="*/ 79193 h 82305"/>
                <a:gd name="connsiteX9" fmla="*/ 71586 w 231700"/>
                <a:gd name="connsiteY9" fmla="*/ 82306 h 82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1700" h="82305">
                  <a:moveTo>
                    <a:pt x="71586" y="82306"/>
                  </a:moveTo>
                  <a:cubicBezTo>
                    <a:pt x="34237" y="82306"/>
                    <a:pt x="3113" y="63631"/>
                    <a:pt x="3113" y="63631"/>
                  </a:cubicBezTo>
                  <a:cubicBezTo>
                    <a:pt x="0" y="60519"/>
                    <a:pt x="0" y="57406"/>
                    <a:pt x="0" y="54294"/>
                  </a:cubicBezTo>
                  <a:cubicBezTo>
                    <a:pt x="3113" y="51182"/>
                    <a:pt x="6225" y="51182"/>
                    <a:pt x="9338" y="51182"/>
                  </a:cubicBezTo>
                  <a:cubicBezTo>
                    <a:pt x="9338" y="51182"/>
                    <a:pt x="43573" y="72968"/>
                    <a:pt x="84035" y="69856"/>
                  </a:cubicBezTo>
                  <a:cubicBezTo>
                    <a:pt x="133833" y="63631"/>
                    <a:pt x="217867" y="4496"/>
                    <a:pt x="220980" y="1383"/>
                  </a:cubicBezTo>
                  <a:cubicBezTo>
                    <a:pt x="224093" y="-1729"/>
                    <a:pt x="227205" y="1383"/>
                    <a:pt x="230317" y="1383"/>
                  </a:cubicBezTo>
                  <a:cubicBezTo>
                    <a:pt x="233429" y="4496"/>
                    <a:pt x="230317" y="7608"/>
                    <a:pt x="230317" y="10720"/>
                  </a:cubicBezTo>
                  <a:cubicBezTo>
                    <a:pt x="227205" y="13833"/>
                    <a:pt x="140058" y="76081"/>
                    <a:pt x="90259" y="79193"/>
                  </a:cubicBezTo>
                  <a:cubicBezTo>
                    <a:pt x="80922" y="82306"/>
                    <a:pt x="74697" y="82306"/>
                    <a:pt x="71586" y="82306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41D44A26-2286-405A-AFA6-F293C794EDAE}"/>
                </a:ext>
              </a:extLst>
            </p:cNvPr>
            <p:cNvSpPr/>
            <p:nvPr/>
          </p:nvSpPr>
          <p:spPr>
            <a:xfrm>
              <a:off x="16486899" y="9013373"/>
              <a:ext cx="76647" cy="117240"/>
            </a:xfrm>
            <a:custGeom>
              <a:avLst/>
              <a:gdLst>
                <a:gd name="connsiteX0" fmla="*/ 6833 w 76647"/>
                <a:gd name="connsiteY0" fmla="*/ 21136 h 117240"/>
                <a:gd name="connsiteX1" fmla="*/ 65968 w 76647"/>
                <a:gd name="connsiteY1" fmla="*/ 5574 h 117240"/>
                <a:gd name="connsiteX2" fmla="*/ 19282 w 76647"/>
                <a:gd name="connsiteY2" fmla="*/ 114507 h 117240"/>
                <a:gd name="connsiteX3" fmla="*/ 6833 w 76647"/>
                <a:gd name="connsiteY3" fmla="*/ 21136 h 11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647" h="117240">
                  <a:moveTo>
                    <a:pt x="6833" y="21136"/>
                  </a:moveTo>
                  <a:cubicBezTo>
                    <a:pt x="6833" y="21136"/>
                    <a:pt x="37956" y="-13100"/>
                    <a:pt x="65968" y="5574"/>
                  </a:cubicBezTo>
                  <a:cubicBezTo>
                    <a:pt x="93979" y="21136"/>
                    <a:pt x="62855" y="136294"/>
                    <a:pt x="19282" y="114507"/>
                  </a:cubicBezTo>
                  <a:cubicBezTo>
                    <a:pt x="-14955" y="102058"/>
                    <a:pt x="6833" y="21136"/>
                    <a:pt x="6833" y="21136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2364260C-0032-4229-B26A-F879BA011332}"/>
                </a:ext>
              </a:extLst>
            </p:cNvPr>
            <p:cNvSpPr/>
            <p:nvPr/>
          </p:nvSpPr>
          <p:spPr>
            <a:xfrm>
              <a:off x="16023177" y="8663086"/>
              <a:ext cx="519328" cy="399434"/>
            </a:xfrm>
            <a:custGeom>
              <a:avLst/>
              <a:gdLst>
                <a:gd name="connsiteX0" fmla="*/ 448768 w 519328"/>
                <a:gd name="connsiteY0" fmla="*/ 119319 h 399434"/>
                <a:gd name="connsiteX1" fmla="*/ 426982 w 519328"/>
                <a:gd name="connsiteY1" fmla="*/ 78858 h 399434"/>
                <a:gd name="connsiteX2" fmla="*/ 414532 w 519328"/>
                <a:gd name="connsiteY2" fmla="*/ 81970 h 399434"/>
                <a:gd name="connsiteX3" fmla="*/ 380296 w 519328"/>
                <a:gd name="connsiteY3" fmla="*/ 63296 h 399434"/>
                <a:gd name="connsiteX4" fmla="*/ 364734 w 519328"/>
                <a:gd name="connsiteY4" fmla="*/ 44622 h 399434"/>
                <a:gd name="connsiteX5" fmla="*/ 330497 w 519328"/>
                <a:gd name="connsiteY5" fmla="*/ 16610 h 399434"/>
                <a:gd name="connsiteX6" fmla="*/ 296261 w 519328"/>
                <a:gd name="connsiteY6" fmla="*/ 16610 h 399434"/>
                <a:gd name="connsiteX7" fmla="*/ 237126 w 519328"/>
                <a:gd name="connsiteY7" fmla="*/ 7273 h 399434"/>
                <a:gd name="connsiteX8" fmla="*/ 221564 w 519328"/>
                <a:gd name="connsiteY8" fmla="*/ 1048 h 399434"/>
                <a:gd name="connsiteX9" fmla="*/ 100181 w 519328"/>
                <a:gd name="connsiteY9" fmla="*/ 50846 h 399434"/>
                <a:gd name="connsiteX10" fmla="*/ 41045 w 519328"/>
                <a:gd name="connsiteY10" fmla="*/ 81970 h 399434"/>
                <a:gd name="connsiteX11" fmla="*/ 28595 w 519328"/>
                <a:gd name="connsiteY11" fmla="*/ 128656 h 399434"/>
                <a:gd name="connsiteX12" fmla="*/ 13033 w 519328"/>
                <a:gd name="connsiteY12" fmla="*/ 159780 h 399434"/>
                <a:gd name="connsiteX13" fmla="*/ 9921 w 519328"/>
                <a:gd name="connsiteY13" fmla="*/ 197129 h 399434"/>
                <a:gd name="connsiteX14" fmla="*/ 16146 w 519328"/>
                <a:gd name="connsiteY14" fmla="*/ 231365 h 399434"/>
                <a:gd name="connsiteX15" fmla="*/ 584 w 519328"/>
                <a:gd name="connsiteY15" fmla="*/ 274939 h 399434"/>
                <a:gd name="connsiteX16" fmla="*/ 28595 w 519328"/>
                <a:gd name="connsiteY16" fmla="*/ 371423 h 399434"/>
                <a:gd name="connsiteX17" fmla="*/ 37933 w 519328"/>
                <a:gd name="connsiteY17" fmla="*/ 371423 h 399434"/>
                <a:gd name="connsiteX18" fmla="*/ 50382 w 519328"/>
                <a:gd name="connsiteY18" fmla="*/ 399435 h 399434"/>
                <a:gd name="connsiteX19" fmla="*/ 62831 w 519328"/>
                <a:gd name="connsiteY19" fmla="*/ 340299 h 399434"/>
                <a:gd name="connsiteX20" fmla="*/ 90843 w 519328"/>
                <a:gd name="connsiteY20" fmla="*/ 324737 h 399434"/>
                <a:gd name="connsiteX21" fmla="*/ 106405 w 519328"/>
                <a:gd name="connsiteY21" fmla="*/ 299838 h 399434"/>
                <a:gd name="connsiteX22" fmla="*/ 112630 w 519328"/>
                <a:gd name="connsiteY22" fmla="*/ 290501 h 399434"/>
                <a:gd name="connsiteX23" fmla="*/ 118855 w 519328"/>
                <a:gd name="connsiteY23" fmla="*/ 284276 h 399434"/>
                <a:gd name="connsiteX24" fmla="*/ 125079 w 519328"/>
                <a:gd name="connsiteY24" fmla="*/ 281164 h 399434"/>
                <a:gd name="connsiteX25" fmla="*/ 128192 w 519328"/>
                <a:gd name="connsiteY25" fmla="*/ 274939 h 399434"/>
                <a:gd name="connsiteX26" fmla="*/ 137529 w 519328"/>
                <a:gd name="connsiteY26" fmla="*/ 268714 h 399434"/>
                <a:gd name="connsiteX27" fmla="*/ 149979 w 519328"/>
                <a:gd name="connsiteY27" fmla="*/ 268714 h 399434"/>
                <a:gd name="connsiteX28" fmla="*/ 162428 w 519328"/>
                <a:gd name="connsiteY28" fmla="*/ 268714 h 399434"/>
                <a:gd name="connsiteX29" fmla="*/ 196665 w 519328"/>
                <a:gd name="connsiteY29" fmla="*/ 256264 h 399434"/>
                <a:gd name="connsiteX30" fmla="*/ 246462 w 519328"/>
                <a:gd name="connsiteY30" fmla="*/ 234478 h 399434"/>
                <a:gd name="connsiteX31" fmla="*/ 265137 w 519328"/>
                <a:gd name="connsiteY31" fmla="*/ 243815 h 399434"/>
                <a:gd name="connsiteX32" fmla="*/ 299373 w 519328"/>
                <a:gd name="connsiteY32" fmla="*/ 218916 h 399434"/>
                <a:gd name="connsiteX33" fmla="*/ 311823 w 519328"/>
                <a:gd name="connsiteY33" fmla="*/ 222028 h 399434"/>
                <a:gd name="connsiteX34" fmla="*/ 392745 w 519328"/>
                <a:gd name="connsiteY34" fmla="*/ 240702 h 399434"/>
                <a:gd name="connsiteX35" fmla="*/ 402082 w 519328"/>
                <a:gd name="connsiteY35" fmla="*/ 243815 h 399434"/>
                <a:gd name="connsiteX36" fmla="*/ 467442 w 519328"/>
                <a:gd name="connsiteY36" fmla="*/ 380760 h 399434"/>
                <a:gd name="connsiteX37" fmla="*/ 514128 w 519328"/>
                <a:gd name="connsiteY37" fmla="*/ 271826 h 399434"/>
                <a:gd name="connsiteX38" fmla="*/ 448768 w 519328"/>
                <a:gd name="connsiteY38" fmla="*/ 119319 h 39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9328" h="399434">
                  <a:moveTo>
                    <a:pt x="448768" y="119319"/>
                  </a:moveTo>
                  <a:cubicBezTo>
                    <a:pt x="448768" y="103757"/>
                    <a:pt x="442544" y="88195"/>
                    <a:pt x="426982" y="78858"/>
                  </a:cubicBezTo>
                  <a:cubicBezTo>
                    <a:pt x="408307" y="69521"/>
                    <a:pt x="414532" y="78858"/>
                    <a:pt x="414532" y="81970"/>
                  </a:cubicBezTo>
                  <a:cubicBezTo>
                    <a:pt x="405195" y="75746"/>
                    <a:pt x="395858" y="69521"/>
                    <a:pt x="380296" y="63296"/>
                  </a:cubicBezTo>
                  <a:cubicBezTo>
                    <a:pt x="374071" y="57071"/>
                    <a:pt x="370958" y="50846"/>
                    <a:pt x="364734" y="44622"/>
                  </a:cubicBezTo>
                  <a:cubicBezTo>
                    <a:pt x="355396" y="32172"/>
                    <a:pt x="346059" y="19722"/>
                    <a:pt x="330497" y="16610"/>
                  </a:cubicBezTo>
                  <a:cubicBezTo>
                    <a:pt x="318048" y="10386"/>
                    <a:pt x="308710" y="16610"/>
                    <a:pt x="296261" y="16610"/>
                  </a:cubicBezTo>
                  <a:cubicBezTo>
                    <a:pt x="274475" y="19722"/>
                    <a:pt x="258913" y="16610"/>
                    <a:pt x="237126" y="7273"/>
                  </a:cubicBezTo>
                  <a:cubicBezTo>
                    <a:pt x="230900" y="4160"/>
                    <a:pt x="227789" y="4160"/>
                    <a:pt x="221564" y="1048"/>
                  </a:cubicBezTo>
                  <a:cubicBezTo>
                    <a:pt x="174878" y="-8289"/>
                    <a:pt x="143754" y="47734"/>
                    <a:pt x="100181" y="50846"/>
                  </a:cubicBezTo>
                  <a:cubicBezTo>
                    <a:pt x="75281" y="53959"/>
                    <a:pt x="50382" y="50846"/>
                    <a:pt x="41045" y="81970"/>
                  </a:cubicBezTo>
                  <a:cubicBezTo>
                    <a:pt x="34820" y="100645"/>
                    <a:pt x="37933" y="109982"/>
                    <a:pt x="28595" y="128656"/>
                  </a:cubicBezTo>
                  <a:cubicBezTo>
                    <a:pt x="22371" y="137993"/>
                    <a:pt x="16146" y="147331"/>
                    <a:pt x="13033" y="159780"/>
                  </a:cubicBezTo>
                  <a:cubicBezTo>
                    <a:pt x="9921" y="172230"/>
                    <a:pt x="6809" y="184679"/>
                    <a:pt x="9921" y="197129"/>
                  </a:cubicBezTo>
                  <a:cubicBezTo>
                    <a:pt x="16146" y="215803"/>
                    <a:pt x="25483" y="212691"/>
                    <a:pt x="16146" y="231365"/>
                  </a:cubicBezTo>
                  <a:cubicBezTo>
                    <a:pt x="9921" y="246927"/>
                    <a:pt x="3696" y="259377"/>
                    <a:pt x="584" y="274939"/>
                  </a:cubicBezTo>
                  <a:cubicBezTo>
                    <a:pt x="-2529" y="312288"/>
                    <a:pt x="6809" y="343411"/>
                    <a:pt x="28595" y="371423"/>
                  </a:cubicBezTo>
                  <a:cubicBezTo>
                    <a:pt x="31708" y="374535"/>
                    <a:pt x="34820" y="374535"/>
                    <a:pt x="37933" y="371423"/>
                  </a:cubicBezTo>
                  <a:cubicBezTo>
                    <a:pt x="44157" y="390097"/>
                    <a:pt x="50382" y="399435"/>
                    <a:pt x="50382" y="399435"/>
                  </a:cubicBezTo>
                  <a:cubicBezTo>
                    <a:pt x="44157" y="380760"/>
                    <a:pt x="50382" y="362086"/>
                    <a:pt x="62831" y="340299"/>
                  </a:cubicBezTo>
                  <a:cubicBezTo>
                    <a:pt x="72169" y="334074"/>
                    <a:pt x="84619" y="330962"/>
                    <a:pt x="90843" y="324737"/>
                  </a:cubicBezTo>
                  <a:cubicBezTo>
                    <a:pt x="100181" y="318512"/>
                    <a:pt x="100181" y="309175"/>
                    <a:pt x="106405" y="299838"/>
                  </a:cubicBezTo>
                  <a:cubicBezTo>
                    <a:pt x="106405" y="296726"/>
                    <a:pt x="109517" y="293613"/>
                    <a:pt x="112630" y="290501"/>
                  </a:cubicBezTo>
                  <a:cubicBezTo>
                    <a:pt x="115742" y="287388"/>
                    <a:pt x="118855" y="287388"/>
                    <a:pt x="118855" y="284276"/>
                  </a:cubicBezTo>
                  <a:cubicBezTo>
                    <a:pt x="121967" y="284276"/>
                    <a:pt x="121967" y="281164"/>
                    <a:pt x="125079" y="281164"/>
                  </a:cubicBezTo>
                  <a:cubicBezTo>
                    <a:pt x="125079" y="278051"/>
                    <a:pt x="128192" y="278051"/>
                    <a:pt x="128192" y="274939"/>
                  </a:cubicBezTo>
                  <a:cubicBezTo>
                    <a:pt x="131304" y="271826"/>
                    <a:pt x="134417" y="271826"/>
                    <a:pt x="137529" y="268714"/>
                  </a:cubicBezTo>
                  <a:cubicBezTo>
                    <a:pt x="140641" y="268714"/>
                    <a:pt x="146866" y="268714"/>
                    <a:pt x="149979" y="268714"/>
                  </a:cubicBezTo>
                  <a:cubicBezTo>
                    <a:pt x="153091" y="268714"/>
                    <a:pt x="159316" y="268714"/>
                    <a:pt x="162428" y="268714"/>
                  </a:cubicBezTo>
                  <a:cubicBezTo>
                    <a:pt x="174878" y="268714"/>
                    <a:pt x="187327" y="262489"/>
                    <a:pt x="196665" y="256264"/>
                  </a:cubicBezTo>
                  <a:cubicBezTo>
                    <a:pt x="215338" y="243815"/>
                    <a:pt x="224676" y="228253"/>
                    <a:pt x="246462" y="234478"/>
                  </a:cubicBezTo>
                  <a:cubicBezTo>
                    <a:pt x="252688" y="234478"/>
                    <a:pt x="255800" y="243815"/>
                    <a:pt x="265137" y="243815"/>
                  </a:cubicBezTo>
                  <a:cubicBezTo>
                    <a:pt x="283811" y="243815"/>
                    <a:pt x="293148" y="231365"/>
                    <a:pt x="299373" y="218916"/>
                  </a:cubicBezTo>
                  <a:cubicBezTo>
                    <a:pt x="302486" y="218916"/>
                    <a:pt x="308710" y="218916"/>
                    <a:pt x="311823" y="222028"/>
                  </a:cubicBezTo>
                  <a:cubicBezTo>
                    <a:pt x="336723" y="237590"/>
                    <a:pt x="364734" y="243815"/>
                    <a:pt x="392745" y="240702"/>
                  </a:cubicBezTo>
                  <a:cubicBezTo>
                    <a:pt x="398970" y="240702"/>
                    <a:pt x="402082" y="243815"/>
                    <a:pt x="402082" y="243815"/>
                  </a:cubicBezTo>
                  <a:cubicBezTo>
                    <a:pt x="402082" y="243815"/>
                    <a:pt x="470555" y="349636"/>
                    <a:pt x="467442" y="380760"/>
                  </a:cubicBezTo>
                  <a:cubicBezTo>
                    <a:pt x="467442" y="380760"/>
                    <a:pt x="504791" y="330962"/>
                    <a:pt x="514128" y="271826"/>
                  </a:cubicBezTo>
                  <a:cubicBezTo>
                    <a:pt x="529690" y="222028"/>
                    <a:pt x="511016" y="134881"/>
                    <a:pt x="448768" y="119319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4839BE31-5E95-46F0-91B1-A01CA7652888}"/>
                </a:ext>
              </a:extLst>
            </p:cNvPr>
            <p:cNvSpPr/>
            <p:nvPr/>
          </p:nvSpPr>
          <p:spPr>
            <a:xfrm>
              <a:off x="16247853" y="9240704"/>
              <a:ext cx="117492" cy="45907"/>
            </a:xfrm>
            <a:custGeom>
              <a:avLst/>
              <a:gdLst>
                <a:gd name="connsiteX0" fmla="*/ 21786 w 117492"/>
                <a:gd name="connsiteY0" fmla="*/ 45908 h 45907"/>
                <a:gd name="connsiteX1" fmla="*/ 6224 w 117492"/>
                <a:gd name="connsiteY1" fmla="*/ 45908 h 45907"/>
                <a:gd name="connsiteX2" fmla="*/ 0 w 117492"/>
                <a:gd name="connsiteY2" fmla="*/ 39683 h 45907"/>
                <a:gd name="connsiteX3" fmla="*/ 6224 w 117492"/>
                <a:gd name="connsiteY3" fmla="*/ 33458 h 45907"/>
                <a:gd name="connsiteX4" fmla="*/ 105821 w 117492"/>
                <a:gd name="connsiteY4" fmla="*/ 2334 h 45907"/>
                <a:gd name="connsiteX5" fmla="*/ 115158 w 117492"/>
                <a:gd name="connsiteY5" fmla="*/ 2334 h 45907"/>
                <a:gd name="connsiteX6" fmla="*/ 115158 w 117492"/>
                <a:gd name="connsiteY6" fmla="*/ 11671 h 45907"/>
                <a:gd name="connsiteX7" fmla="*/ 21786 w 117492"/>
                <a:gd name="connsiteY7" fmla="*/ 45908 h 4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492" h="45907">
                  <a:moveTo>
                    <a:pt x="21786" y="45908"/>
                  </a:moveTo>
                  <a:cubicBezTo>
                    <a:pt x="12449" y="45908"/>
                    <a:pt x="6224" y="45908"/>
                    <a:pt x="6224" y="45908"/>
                  </a:cubicBezTo>
                  <a:cubicBezTo>
                    <a:pt x="3113" y="45908"/>
                    <a:pt x="0" y="42795"/>
                    <a:pt x="0" y="39683"/>
                  </a:cubicBezTo>
                  <a:cubicBezTo>
                    <a:pt x="0" y="36571"/>
                    <a:pt x="3113" y="33458"/>
                    <a:pt x="6224" y="33458"/>
                  </a:cubicBezTo>
                  <a:cubicBezTo>
                    <a:pt x="6224" y="33458"/>
                    <a:pt x="74697" y="39683"/>
                    <a:pt x="105821" y="2334"/>
                  </a:cubicBezTo>
                  <a:cubicBezTo>
                    <a:pt x="108934" y="-778"/>
                    <a:pt x="112046" y="-778"/>
                    <a:pt x="115158" y="2334"/>
                  </a:cubicBezTo>
                  <a:cubicBezTo>
                    <a:pt x="118271" y="5447"/>
                    <a:pt x="118271" y="8559"/>
                    <a:pt x="115158" y="11671"/>
                  </a:cubicBezTo>
                  <a:cubicBezTo>
                    <a:pt x="90259" y="39683"/>
                    <a:pt x="46686" y="45908"/>
                    <a:pt x="21786" y="45908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7" name="图形 1">
              <a:extLst>
                <a:ext uri="{FF2B5EF4-FFF2-40B4-BE49-F238E27FC236}">
                  <a16:creationId xmlns:a16="http://schemas.microsoft.com/office/drawing/2014/main" id="{D6D4FD4C-72BC-4997-92EE-C6CA8D45F9FA}"/>
                </a:ext>
              </a:extLst>
            </p:cNvPr>
            <p:cNvGrpSpPr/>
            <p:nvPr/>
          </p:nvGrpSpPr>
          <p:grpSpPr>
            <a:xfrm>
              <a:off x="15916300" y="8629897"/>
              <a:ext cx="636362" cy="423285"/>
              <a:chOff x="15916300" y="8629897"/>
              <a:chExt cx="636362" cy="423285"/>
            </a:xfrm>
          </p:grpSpPr>
          <p:grpSp>
            <p:nvGrpSpPr>
              <p:cNvPr id="133" name="图形 1">
                <a:extLst>
                  <a:ext uri="{FF2B5EF4-FFF2-40B4-BE49-F238E27FC236}">
                    <a16:creationId xmlns:a16="http://schemas.microsoft.com/office/drawing/2014/main" id="{FDD4FF4D-5611-4EAD-9756-314A6123F823}"/>
                  </a:ext>
                </a:extLst>
              </p:cNvPr>
              <p:cNvGrpSpPr/>
              <p:nvPr/>
            </p:nvGrpSpPr>
            <p:grpSpPr>
              <a:xfrm>
                <a:off x="15923498" y="8629897"/>
                <a:ext cx="629164" cy="423285"/>
                <a:chOff x="15923498" y="8629897"/>
                <a:chExt cx="629164" cy="423285"/>
              </a:xfrm>
            </p:grpSpPr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46C8D44C-BAA6-42C8-9D02-0DC5588886F5}"/>
                    </a:ext>
                  </a:extLst>
                </p:cNvPr>
                <p:cNvSpPr/>
                <p:nvPr/>
              </p:nvSpPr>
              <p:spPr>
                <a:xfrm>
                  <a:off x="16039322" y="8632640"/>
                  <a:ext cx="513340" cy="420542"/>
                </a:xfrm>
                <a:custGeom>
                  <a:avLst/>
                  <a:gdLst>
                    <a:gd name="connsiteX0" fmla="*/ 404611 w 513340"/>
                    <a:gd name="connsiteY0" fmla="*/ 218238 h 420542"/>
                    <a:gd name="connsiteX1" fmla="*/ 457522 w 513340"/>
                    <a:gd name="connsiteY1" fmla="*/ 420543 h 420542"/>
                    <a:gd name="connsiteX2" fmla="*/ 485533 w 513340"/>
                    <a:gd name="connsiteY2" fmla="*/ 383194 h 420542"/>
                    <a:gd name="connsiteX3" fmla="*/ 373487 w 513340"/>
                    <a:gd name="connsiteY3" fmla="*/ 37719 h 420542"/>
                    <a:gd name="connsiteX4" fmla="*/ 0 w 513340"/>
                    <a:gd name="connsiteY4" fmla="*/ 137315 h 420542"/>
                    <a:gd name="connsiteX5" fmla="*/ 404611 w 513340"/>
                    <a:gd name="connsiteY5" fmla="*/ 218238 h 420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13340" h="420542">
                      <a:moveTo>
                        <a:pt x="404611" y="218238"/>
                      </a:moveTo>
                      <a:cubicBezTo>
                        <a:pt x="420173" y="233799"/>
                        <a:pt x="457522" y="352070"/>
                        <a:pt x="457522" y="420543"/>
                      </a:cubicBezTo>
                      <a:cubicBezTo>
                        <a:pt x="457522" y="420543"/>
                        <a:pt x="473084" y="401868"/>
                        <a:pt x="485533" y="383194"/>
                      </a:cubicBezTo>
                      <a:cubicBezTo>
                        <a:pt x="522882" y="317834"/>
                        <a:pt x="550894" y="143540"/>
                        <a:pt x="373487" y="37719"/>
                      </a:cubicBezTo>
                      <a:cubicBezTo>
                        <a:pt x="217867" y="-52541"/>
                        <a:pt x="65360" y="34606"/>
                        <a:pt x="0" y="137315"/>
                      </a:cubicBezTo>
                      <a:cubicBezTo>
                        <a:pt x="0" y="137315"/>
                        <a:pt x="252104" y="65730"/>
                        <a:pt x="404611" y="218238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40AD99DA-CE79-4316-A768-81C7BAA014A8}"/>
                    </a:ext>
                  </a:extLst>
                </p:cNvPr>
                <p:cNvSpPr/>
                <p:nvPr/>
              </p:nvSpPr>
              <p:spPr>
                <a:xfrm>
                  <a:off x="15923498" y="8668931"/>
                  <a:ext cx="532884" cy="231743"/>
                </a:xfrm>
                <a:custGeom>
                  <a:avLst/>
                  <a:gdLst>
                    <a:gd name="connsiteX0" fmla="*/ 532885 w 532884"/>
                    <a:gd name="connsiteY0" fmla="*/ 197508 h 231743"/>
                    <a:gd name="connsiteX1" fmla="*/ 327467 w 532884"/>
                    <a:gd name="connsiteY1" fmla="*/ 45000 h 231743"/>
                    <a:gd name="connsiteX2" fmla="*/ 3778 w 532884"/>
                    <a:gd name="connsiteY2" fmla="*/ 66788 h 231743"/>
                    <a:gd name="connsiteX3" fmla="*/ 112712 w 532884"/>
                    <a:gd name="connsiteY3" fmla="*/ 231744 h 231743"/>
                    <a:gd name="connsiteX4" fmla="*/ 532885 w 532884"/>
                    <a:gd name="connsiteY4" fmla="*/ 197508 h 2317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2884" h="231743">
                      <a:moveTo>
                        <a:pt x="532885" y="197508"/>
                      </a:moveTo>
                      <a:cubicBezTo>
                        <a:pt x="532885" y="197508"/>
                        <a:pt x="473749" y="113473"/>
                        <a:pt x="327467" y="45000"/>
                      </a:cubicBezTo>
                      <a:cubicBezTo>
                        <a:pt x="174959" y="-26584"/>
                        <a:pt x="31790" y="-7910"/>
                        <a:pt x="3778" y="66788"/>
                      </a:cubicBezTo>
                      <a:cubicBezTo>
                        <a:pt x="-24233" y="141485"/>
                        <a:pt x="112712" y="231744"/>
                        <a:pt x="112712" y="231744"/>
                      </a:cubicBezTo>
                      <a:cubicBezTo>
                        <a:pt x="112712" y="231744"/>
                        <a:pt x="262107" y="85462"/>
                        <a:pt x="532885" y="197508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7" name="任意多边形: 形状 136">
                  <a:extLst>
                    <a:ext uri="{FF2B5EF4-FFF2-40B4-BE49-F238E27FC236}">
                      <a16:creationId xmlns:a16="http://schemas.microsoft.com/office/drawing/2014/main" id="{420CAE35-B74B-42EE-8548-C0831CA9DB42}"/>
                    </a:ext>
                  </a:extLst>
                </p:cNvPr>
                <p:cNvSpPr/>
                <p:nvPr/>
              </p:nvSpPr>
              <p:spPr>
                <a:xfrm>
                  <a:off x="16387910" y="8629897"/>
                  <a:ext cx="59135" cy="56023"/>
                </a:xfrm>
                <a:custGeom>
                  <a:avLst/>
                  <a:gdLst>
                    <a:gd name="connsiteX0" fmla="*/ 59135 w 59135"/>
                    <a:gd name="connsiteY0" fmla="*/ 28012 h 56023"/>
                    <a:gd name="connsiteX1" fmla="*/ 28011 w 59135"/>
                    <a:gd name="connsiteY1" fmla="*/ 0 h 56023"/>
                    <a:gd name="connsiteX2" fmla="*/ 0 w 59135"/>
                    <a:gd name="connsiteY2" fmla="*/ 28012 h 56023"/>
                    <a:gd name="connsiteX3" fmla="*/ 31124 w 59135"/>
                    <a:gd name="connsiteY3" fmla="*/ 56023 h 56023"/>
                    <a:gd name="connsiteX4" fmla="*/ 59135 w 59135"/>
                    <a:gd name="connsiteY4" fmla="*/ 28012 h 56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135" h="56023">
                      <a:moveTo>
                        <a:pt x="59135" y="28012"/>
                      </a:moveTo>
                      <a:cubicBezTo>
                        <a:pt x="59135" y="12450"/>
                        <a:pt x="46686" y="0"/>
                        <a:pt x="28011" y="0"/>
                      </a:cubicBezTo>
                      <a:cubicBezTo>
                        <a:pt x="12449" y="0"/>
                        <a:pt x="0" y="12450"/>
                        <a:pt x="0" y="28012"/>
                      </a:cubicBezTo>
                      <a:cubicBezTo>
                        <a:pt x="0" y="43574"/>
                        <a:pt x="12449" y="56023"/>
                        <a:pt x="31124" y="56023"/>
                      </a:cubicBezTo>
                      <a:cubicBezTo>
                        <a:pt x="43573" y="56023"/>
                        <a:pt x="59135" y="43574"/>
                        <a:pt x="59135" y="28012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C626305F-A522-46A7-B0C7-B92E9034F4FD}"/>
                  </a:ext>
                </a:extLst>
              </p:cNvPr>
              <p:cNvSpPr/>
              <p:nvPr/>
            </p:nvSpPr>
            <p:spPr>
              <a:xfrm>
                <a:off x="15916300" y="8664352"/>
                <a:ext cx="542416" cy="208311"/>
              </a:xfrm>
              <a:custGeom>
                <a:avLst/>
                <a:gdLst>
                  <a:gd name="connsiteX0" fmla="*/ 540082 w 542416"/>
                  <a:gd name="connsiteY0" fmla="*/ 208312 h 208311"/>
                  <a:gd name="connsiteX1" fmla="*/ 533858 w 542416"/>
                  <a:gd name="connsiteY1" fmla="*/ 205199 h 208311"/>
                  <a:gd name="connsiteX2" fmla="*/ 197719 w 542416"/>
                  <a:gd name="connsiteY2" fmla="*/ 18456 h 208311"/>
                  <a:gd name="connsiteX3" fmla="*/ 17201 w 542416"/>
                  <a:gd name="connsiteY3" fmla="*/ 74479 h 208311"/>
                  <a:gd name="connsiteX4" fmla="*/ 73223 w 542416"/>
                  <a:gd name="connsiteY4" fmla="*/ 189637 h 208311"/>
                  <a:gd name="connsiteX5" fmla="*/ 73223 w 542416"/>
                  <a:gd name="connsiteY5" fmla="*/ 198975 h 208311"/>
                  <a:gd name="connsiteX6" fmla="*/ 63887 w 542416"/>
                  <a:gd name="connsiteY6" fmla="*/ 198975 h 208311"/>
                  <a:gd name="connsiteX7" fmla="*/ 4751 w 542416"/>
                  <a:gd name="connsiteY7" fmla="*/ 68254 h 208311"/>
                  <a:gd name="connsiteX8" fmla="*/ 197719 w 542416"/>
                  <a:gd name="connsiteY8" fmla="*/ 6006 h 208311"/>
                  <a:gd name="connsiteX9" fmla="*/ 540082 w 542416"/>
                  <a:gd name="connsiteY9" fmla="*/ 198975 h 208311"/>
                  <a:gd name="connsiteX10" fmla="*/ 540082 w 542416"/>
                  <a:gd name="connsiteY10" fmla="*/ 208312 h 208311"/>
                  <a:gd name="connsiteX11" fmla="*/ 540082 w 542416"/>
                  <a:gd name="connsiteY11" fmla="*/ 208312 h 208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42416" h="208311">
                    <a:moveTo>
                      <a:pt x="540082" y="208312"/>
                    </a:moveTo>
                    <a:cubicBezTo>
                      <a:pt x="536971" y="208312"/>
                      <a:pt x="536971" y="208312"/>
                      <a:pt x="533858" y="205199"/>
                    </a:cubicBezTo>
                    <a:cubicBezTo>
                      <a:pt x="424924" y="68254"/>
                      <a:pt x="291091" y="30906"/>
                      <a:pt x="197719" y="18456"/>
                    </a:cubicBezTo>
                    <a:cubicBezTo>
                      <a:pt x="154146" y="12231"/>
                      <a:pt x="45212" y="2894"/>
                      <a:pt x="17201" y="74479"/>
                    </a:cubicBezTo>
                    <a:cubicBezTo>
                      <a:pt x="-4586" y="130502"/>
                      <a:pt x="70112" y="189637"/>
                      <a:pt x="73223" y="189637"/>
                    </a:cubicBezTo>
                    <a:cubicBezTo>
                      <a:pt x="76336" y="192750"/>
                      <a:pt x="76336" y="195862"/>
                      <a:pt x="73223" y="198975"/>
                    </a:cubicBezTo>
                    <a:cubicBezTo>
                      <a:pt x="70112" y="202087"/>
                      <a:pt x="66999" y="202087"/>
                      <a:pt x="63887" y="198975"/>
                    </a:cubicBezTo>
                    <a:cubicBezTo>
                      <a:pt x="60774" y="195862"/>
                      <a:pt x="-20148" y="136727"/>
                      <a:pt x="4751" y="68254"/>
                    </a:cubicBezTo>
                    <a:cubicBezTo>
                      <a:pt x="35875" y="-12668"/>
                      <a:pt x="151033" y="-3331"/>
                      <a:pt x="197719" y="6006"/>
                    </a:cubicBezTo>
                    <a:cubicBezTo>
                      <a:pt x="291091" y="21568"/>
                      <a:pt x="428037" y="58917"/>
                      <a:pt x="540082" y="198975"/>
                    </a:cubicBezTo>
                    <a:cubicBezTo>
                      <a:pt x="543195" y="202087"/>
                      <a:pt x="543195" y="205199"/>
                      <a:pt x="540082" y="208312"/>
                    </a:cubicBezTo>
                    <a:cubicBezTo>
                      <a:pt x="543195" y="208312"/>
                      <a:pt x="543195" y="208312"/>
                      <a:pt x="540082" y="20831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60D9116F-3173-4B6A-B408-181CA5E48676}"/>
                </a:ext>
              </a:extLst>
            </p:cNvPr>
            <p:cNvSpPr/>
            <p:nvPr/>
          </p:nvSpPr>
          <p:spPr>
            <a:xfrm>
              <a:off x="14828400" y="9946282"/>
              <a:ext cx="283769" cy="223501"/>
            </a:xfrm>
            <a:custGeom>
              <a:avLst/>
              <a:gdLst>
                <a:gd name="connsiteX0" fmla="*/ 102910 w 283769"/>
                <a:gd name="connsiteY0" fmla="*/ 199350 h 223501"/>
                <a:gd name="connsiteX1" fmla="*/ 242968 w 283769"/>
                <a:gd name="connsiteY1" fmla="*/ 211799 h 223501"/>
                <a:gd name="connsiteX2" fmla="*/ 283430 w 283769"/>
                <a:gd name="connsiteY2" fmla="*/ 74854 h 223501"/>
                <a:gd name="connsiteX3" fmla="*/ 12651 w 283769"/>
                <a:gd name="connsiteY3" fmla="*/ 3270 h 223501"/>
                <a:gd name="connsiteX4" fmla="*/ 9539 w 283769"/>
                <a:gd name="connsiteY4" fmla="*/ 53068 h 223501"/>
                <a:gd name="connsiteX5" fmla="*/ 202 w 283769"/>
                <a:gd name="connsiteY5" fmla="*/ 109091 h 223501"/>
                <a:gd name="connsiteX6" fmla="*/ 21989 w 283769"/>
                <a:gd name="connsiteY6" fmla="*/ 140215 h 223501"/>
                <a:gd name="connsiteX7" fmla="*/ 59337 w 283769"/>
                <a:gd name="connsiteY7" fmla="*/ 180675 h 223501"/>
                <a:gd name="connsiteX8" fmla="*/ 102910 w 283769"/>
                <a:gd name="connsiteY8" fmla="*/ 199350 h 223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769" h="223501">
                  <a:moveTo>
                    <a:pt x="102910" y="199350"/>
                  </a:moveTo>
                  <a:cubicBezTo>
                    <a:pt x="149596" y="202462"/>
                    <a:pt x="205620" y="242923"/>
                    <a:pt x="242968" y="211799"/>
                  </a:cubicBezTo>
                  <a:cubicBezTo>
                    <a:pt x="267868" y="190013"/>
                    <a:pt x="286542" y="74854"/>
                    <a:pt x="283430" y="74854"/>
                  </a:cubicBezTo>
                  <a:cubicBezTo>
                    <a:pt x="258530" y="-9180"/>
                    <a:pt x="81124" y="-2956"/>
                    <a:pt x="12651" y="3270"/>
                  </a:cubicBezTo>
                  <a:cubicBezTo>
                    <a:pt x="202" y="3270"/>
                    <a:pt x="-2911" y="49955"/>
                    <a:pt x="9539" y="53068"/>
                  </a:cubicBezTo>
                  <a:cubicBezTo>
                    <a:pt x="31326" y="59292"/>
                    <a:pt x="-2911" y="96641"/>
                    <a:pt x="202" y="109091"/>
                  </a:cubicBezTo>
                  <a:cubicBezTo>
                    <a:pt x="3314" y="121540"/>
                    <a:pt x="18876" y="140215"/>
                    <a:pt x="21989" y="140215"/>
                  </a:cubicBezTo>
                  <a:cubicBezTo>
                    <a:pt x="34438" y="155777"/>
                    <a:pt x="59337" y="171339"/>
                    <a:pt x="59337" y="180675"/>
                  </a:cubicBezTo>
                  <a:cubicBezTo>
                    <a:pt x="65562" y="196237"/>
                    <a:pt x="74899" y="196237"/>
                    <a:pt x="102910" y="199350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9" name="图形 1">
              <a:extLst>
                <a:ext uri="{FF2B5EF4-FFF2-40B4-BE49-F238E27FC236}">
                  <a16:creationId xmlns:a16="http://schemas.microsoft.com/office/drawing/2014/main" id="{2351C098-52C5-41A2-8CC2-712B61FDF442}"/>
                </a:ext>
              </a:extLst>
            </p:cNvPr>
            <p:cNvGrpSpPr/>
            <p:nvPr/>
          </p:nvGrpSpPr>
          <p:grpSpPr>
            <a:xfrm>
              <a:off x="13893427" y="9488918"/>
              <a:ext cx="1305549" cy="715849"/>
              <a:chOff x="13893427" y="9488918"/>
              <a:chExt cx="1305549" cy="715849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7C7FE04E-34BF-4C18-B593-8433AD94EE72}"/>
                  </a:ext>
                </a:extLst>
              </p:cNvPr>
              <p:cNvSpPr/>
              <p:nvPr/>
            </p:nvSpPr>
            <p:spPr>
              <a:xfrm>
                <a:off x="13982031" y="9579177"/>
                <a:ext cx="1216945" cy="625590"/>
              </a:xfrm>
              <a:custGeom>
                <a:avLst/>
                <a:gdLst>
                  <a:gd name="connsiteX0" fmla="*/ 1198271 w 1216945"/>
                  <a:gd name="connsiteY0" fmla="*/ 625591 h 625590"/>
                  <a:gd name="connsiteX1" fmla="*/ 1216945 w 1216945"/>
                  <a:gd name="connsiteY1" fmla="*/ 600692 h 625590"/>
                  <a:gd name="connsiteX2" fmla="*/ 9338 w 1216945"/>
                  <a:gd name="connsiteY2" fmla="*/ 0 h 625590"/>
                  <a:gd name="connsiteX3" fmla="*/ 0 w 1216945"/>
                  <a:gd name="connsiteY3" fmla="*/ 31124 h 625590"/>
                  <a:gd name="connsiteX4" fmla="*/ 1198271 w 1216945"/>
                  <a:gd name="connsiteY4" fmla="*/ 625591 h 625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6945" h="625590">
                    <a:moveTo>
                      <a:pt x="1198271" y="625591"/>
                    </a:moveTo>
                    <a:lnTo>
                      <a:pt x="1216945" y="600692"/>
                    </a:lnTo>
                    <a:cubicBezTo>
                      <a:pt x="1210721" y="597579"/>
                      <a:pt x="684726" y="208530"/>
                      <a:pt x="9338" y="0"/>
                    </a:cubicBezTo>
                    <a:lnTo>
                      <a:pt x="0" y="31124"/>
                    </a:lnTo>
                    <a:cubicBezTo>
                      <a:pt x="669164" y="236542"/>
                      <a:pt x="1195159" y="622479"/>
                      <a:pt x="1198271" y="625591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C2C0E757-88D1-45E8-BFDA-D0C68B2E2345}"/>
                  </a:ext>
                </a:extLst>
              </p:cNvPr>
              <p:cNvSpPr/>
              <p:nvPr/>
            </p:nvSpPr>
            <p:spPr>
              <a:xfrm>
                <a:off x="13893427" y="9488918"/>
                <a:ext cx="185235" cy="208530"/>
              </a:xfrm>
              <a:custGeom>
                <a:avLst/>
                <a:gdLst>
                  <a:gd name="connsiteX0" fmla="*/ 13907 w 185235"/>
                  <a:gd name="connsiteY0" fmla="*/ 174294 h 208530"/>
                  <a:gd name="connsiteX1" fmla="*/ 113504 w 185235"/>
                  <a:gd name="connsiteY1" fmla="*/ 208530 h 208530"/>
                  <a:gd name="connsiteX2" fmla="*/ 144628 w 185235"/>
                  <a:gd name="connsiteY2" fmla="*/ 177406 h 208530"/>
                  <a:gd name="connsiteX3" fmla="*/ 178864 w 185235"/>
                  <a:gd name="connsiteY3" fmla="*/ 77810 h 208530"/>
                  <a:gd name="connsiteX4" fmla="*/ 172639 w 185235"/>
                  <a:gd name="connsiteY4" fmla="*/ 34236 h 208530"/>
                  <a:gd name="connsiteX5" fmla="*/ 73042 w 185235"/>
                  <a:gd name="connsiteY5" fmla="*/ 0 h 208530"/>
                  <a:gd name="connsiteX6" fmla="*/ 41918 w 185235"/>
                  <a:gd name="connsiteY6" fmla="*/ 31124 h 208530"/>
                  <a:gd name="connsiteX7" fmla="*/ 7682 w 185235"/>
                  <a:gd name="connsiteY7" fmla="*/ 130720 h 208530"/>
                  <a:gd name="connsiteX8" fmla="*/ 13907 w 185235"/>
                  <a:gd name="connsiteY8" fmla="*/ 174294 h 208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5235" h="208530">
                    <a:moveTo>
                      <a:pt x="13907" y="174294"/>
                    </a:moveTo>
                    <a:cubicBezTo>
                      <a:pt x="45031" y="196081"/>
                      <a:pt x="76155" y="208530"/>
                      <a:pt x="113504" y="208530"/>
                    </a:cubicBezTo>
                    <a:cubicBezTo>
                      <a:pt x="132178" y="208530"/>
                      <a:pt x="147740" y="192968"/>
                      <a:pt x="144628" y="177406"/>
                    </a:cubicBezTo>
                    <a:cubicBezTo>
                      <a:pt x="144628" y="140058"/>
                      <a:pt x="157077" y="105821"/>
                      <a:pt x="178864" y="77810"/>
                    </a:cubicBezTo>
                    <a:cubicBezTo>
                      <a:pt x="188201" y="65360"/>
                      <a:pt x="188201" y="46686"/>
                      <a:pt x="172639" y="34236"/>
                    </a:cubicBezTo>
                    <a:cubicBezTo>
                      <a:pt x="141515" y="12449"/>
                      <a:pt x="110391" y="0"/>
                      <a:pt x="73042" y="0"/>
                    </a:cubicBezTo>
                    <a:cubicBezTo>
                      <a:pt x="54368" y="0"/>
                      <a:pt x="38806" y="15562"/>
                      <a:pt x="41918" y="31124"/>
                    </a:cubicBezTo>
                    <a:cubicBezTo>
                      <a:pt x="41918" y="68473"/>
                      <a:pt x="29469" y="102709"/>
                      <a:pt x="7682" y="130720"/>
                    </a:cubicBezTo>
                    <a:cubicBezTo>
                      <a:pt x="-4768" y="143170"/>
                      <a:pt x="-1655" y="161844"/>
                      <a:pt x="13907" y="174294"/>
                    </a:cubicBezTo>
                    <a:close/>
                  </a:path>
                </a:pathLst>
              </a:custGeom>
              <a:solidFill>
                <a:srgbClr val="F6EBE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523E0740-52C7-405E-A879-8E09E4D53C17}"/>
                  </a:ext>
                </a:extLst>
              </p:cNvPr>
              <p:cNvSpPr/>
              <p:nvPr/>
            </p:nvSpPr>
            <p:spPr>
              <a:xfrm>
                <a:off x="14105328" y="9575585"/>
                <a:ext cx="200391" cy="212602"/>
              </a:xfrm>
              <a:custGeom>
                <a:avLst/>
                <a:gdLst>
                  <a:gd name="connsiteX0" fmla="*/ 10536 w 200391"/>
                  <a:gd name="connsiteY0" fmla="*/ 165437 h 212602"/>
                  <a:gd name="connsiteX1" fmla="*/ 107021 w 200391"/>
                  <a:gd name="connsiteY1" fmla="*/ 212122 h 212602"/>
                  <a:gd name="connsiteX2" fmla="*/ 144369 w 200391"/>
                  <a:gd name="connsiteY2" fmla="*/ 187224 h 212602"/>
                  <a:gd name="connsiteX3" fmla="*/ 191055 w 200391"/>
                  <a:gd name="connsiteY3" fmla="*/ 90739 h 212602"/>
                  <a:gd name="connsiteX4" fmla="*/ 191055 w 200391"/>
                  <a:gd name="connsiteY4" fmla="*/ 47166 h 212602"/>
                  <a:gd name="connsiteX5" fmla="*/ 94570 w 200391"/>
                  <a:gd name="connsiteY5" fmla="*/ 480 h 212602"/>
                  <a:gd name="connsiteX6" fmla="*/ 57222 w 200391"/>
                  <a:gd name="connsiteY6" fmla="*/ 25379 h 212602"/>
                  <a:gd name="connsiteX7" fmla="*/ 10536 w 200391"/>
                  <a:gd name="connsiteY7" fmla="*/ 121863 h 212602"/>
                  <a:gd name="connsiteX8" fmla="*/ 10536 w 200391"/>
                  <a:gd name="connsiteY8" fmla="*/ 165437 h 212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0391" h="212602">
                    <a:moveTo>
                      <a:pt x="10536" y="165437"/>
                    </a:moveTo>
                    <a:cubicBezTo>
                      <a:pt x="38548" y="190336"/>
                      <a:pt x="69672" y="205898"/>
                      <a:pt x="107021" y="212122"/>
                    </a:cubicBezTo>
                    <a:cubicBezTo>
                      <a:pt x="125694" y="215235"/>
                      <a:pt x="141256" y="202786"/>
                      <a:pt x="144369" y="187224"/>
                    </a:cubicBezTo>
                    <a:cubicBezTo>
                      <a:pt x="147482" y="149875"/>
                      <a:pt x="163043" y="118751"/>
                      <a:pt x="191055" y="90739"/>
                    </a:cubicBezTo>
                    <a:cubicBezTo>
                      <a:pt x="203504" y="81402"/>
                      <a:pt x="203504" y="59615"/>
                      <a:pt x="191055" y="47166"/>
                    </a:cubicBezTo>
                    <a:cubicBezTo>
                      <a:pt x="163043" y="22267"/>
                      <a:pt x="131920" y="6705"/>
                      <a:pt x="94570" y="480"/>
                    </a:cubicBezTo>
                    <a:cubicBezTo>
                      <a:pt x="75897" y="-2632"/>
                      <a:pt x="60335" y="9817"/>
                      <a:pt x="57222" y="25379"/>
                    </a:cubicBezTo>
                    <a:cubicBezTo>
                      <a:pt x="54110" y="62728"/>
                      <a:pt x="38548" y="93852"/>
                      <a:pt x="10536" y="121863"/>
                    </a:cubicBezTo>
                    <a:cubicBezTo>
                      <a:pt x="-1913" y="131201"/>
                      <a:pt x="-5025" y="149875"/>
                      <a:pt x="10536" y="165437"/>
                    </a:cubicBezTo>
                    <a:close/>
                  </a:path>
                </a:pathLst>
              </a:custGeom>
              <a:solidFill>
                <a:srgbClr val="F6EBE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0" name="图形 1">
              <a:extLst>
                <a:ext uri="{FF2B5EF4-FFF2-40B4-BE49-F238E27FC236}">
                  <a16:creationId xmlns:a16="http://schemas.microsoft.com/office/drawing/2014/main" id="{C2C0D4A8-4545-406D-9BB4-8E4B25F5FFC2}"/>
                </a:ext>
              </a:extLst>
            </p:cNvPr>
            <p:cNvGrpSpPr/>
            <p:nvPr/>
          </p:nvGrpSpPr>
          <p:grpSpPr>
            <a:xfrm>
              <a:off x="11737997" y="9835524"/>
              <a:ext cx="1022247" cy="1109993"/>
              <a:chOff x="11737997" y="9835524"/>
              <a:chExt cx="1022247" cy="1109993"/>
            </a:xfrm>
          </p:grpSpPr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30112ABC-C9AD-4198-BDF8-5C5505E26974}"/>
                  </a:ext>
                </a:extLst>
              </p:cNvPr>
              <p:cNvSpPr/>
              <p:nvPr/>
            </p:nvSpPr>
            <p:spPr>
              <a:xfrm>
                <a:off x="11737997" y="9933990"/>
                <a:ext cx="930604" cy="1011527"/>
              </a:xfrm>
              <a:custGeom>
                <a:avLst/>
                <a:gdLst>
                  <a:gd name="connsiteX0" fmla="*/ 24899 w 930604"/>
                  <a:gd name="connsiteY0" fmla="*/ 1011527 h 1011527"/>
                  <a:gd name="connsiteX1" fmla="*/ 0 w 930604"/>
                  <a:gd name="connsiteY1" fmla="*/ 995965 h 1011527"/>
                  <a:gd name="connsiteX2" fmla="*/ 911930 w 930604"/>
                  <a:gd name="connsiteY2" fmla="*/ 0 h 1011527"/>
                  <a:gd name="connsiteX3" fmla="*/ 930605 w 930604"/>
                  <a:gd name="connsiteY3" fmla="*/ 24899 h 1011527"/>
                  <a:gd name="connsiteX4" fmla="*/ 24899 w 930604"/>
                  <a:gd name="connsiteY4" fmla="*/ 1011527 h 1011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0604" h="1011527">
                    <a:moveTo>
                      <a:pt x="24899" y="1011527"/>
                    </a:moveTo>
                    <a:lnTo>
                      <a:pt x="0" y="995965"/>
                    </a:lnTo>
                    <a:cubicBezTo>
                      <a:pt x="3112" y="989740"/>
                      <a:pt x="354812" y="438847"/>
                      <a:pt x="911930" y="0"/>
                    </a:cubicBezTo>
                    <a:lnTo>
                      <a:pt x="930605" y="24899"/>
                    </a:lnTo>
                    <a:cubicBezTo>
                      <a:pt x="376599" y="457521"/>
                      <a:pt x="28011" y="1005302"/>
                      <a:pt x="24899" y="101152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A21ED923-4937-49F1-B568-1DE25EE41651}"/>
                  </a:ext>
                </a:extLst>
              </p:cNvPr>
              <p:cNvSpPr/>
              <p:nvPr/>
            </p:nvSpPr>
            <p:spPr>
              <a:xfrm>
                <a:off x="12552060" y="9835524"/>
                <a:ext cx="208184" cy="212493"/>
              </a:xfrm>
              <a:custGeom>
                <a:avLst/>
                <a:gdLst>
                  <a:gd name="connsiteX0" fmla="*/ 203688 w 208184"/>
                  <a:gd name="connsiteY0" fmla="*/ 142039 h 212493"/>
                  <a:gd name="connsiteX1" fmla="*/ 122766 w 208184"/>
                  <a:gd name="connsiteY1" fmla="*/ 210512 h 212493"/>
                  <a:gd name="connsiteX2" fmla="*/ 82305 w 208184"/>
                  <a:gd name="connsiteY2" fmla="*/ 194950 h 212493"/>
                  <a:gd name="connsiteX3" fmla="*/ 13832 w 208184"/>
                  <a:gd name="connsiteY3" fmla="*/ 114028 h 212493"/>
                  <a:gd name="connsiteX4" fmla="*/ 4496 w 208184"/>
                  <a:gd name="connsiteY4" fmla="*/ 70454 h 212493"/>
                  <a:gd name="connsiteX5" fmla="*/ 85418 w 208184"/>
                  <a:gd name="connsiteY5" fmla="*/ 1981 h 212493"/>
                  <a:gd name="connsiteX6" fmla="*/ 125879 w 208184"/>
                  <a:gd name="connsiteY6" fmla="*/ 17543 h 212493"/>
                  <a:gd name="connsiteX7" fmla="*/ 194352 w 208184"/>
                  <a:gd name="connsiteY7" fmla="*/ 98466 h 212493"/>
                  <a:gd name="connsiteX8" fmla="*/ 203688 w 208184"/>
                  <a:gd name="connsiteY8" fmla="*/ 142039 h 212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8184" h="212493">
                    <a:moveTo>
                      <a:pt x="203688" y="142039"/>
                    </a:moveTo>
                    <a:cubicBezTo>
                      <a:pt x="181902" y="173163"/>
                      <a:pt x="157003" y="194950"/>
                      <a:pt x="122766" y="210512"/>
                    </a:cubicBezTo>
                    <a:cubicBezTo>
                      <a:pt x="104092" y="216736"/>
                      <a:pt x="85418" y="207400"/>
                      <a:pt x="82305" y="194950"/>
                    </a:cubicBezTo>
                    <a:cubicBezTo>
                      <a:pt x="69856" y="160714"/>
                      <a:pt x="44956" y="132702"/>
                      <a:pt x="13832" y="114028"/>
                    </a:cubicBezTo>
                    <a:cubicBezTo>
                      <a:pt x="1383" y="107803"/>
                      <a:pt x="-4841" y="86016"/>
                      <a:pt x="4496" y="70454"/>
                    </a:cubicBezTo>
                    <a:cubicBezTo>
                      <a:pt x="26283" y="39331"/>
                      <a:pt x="51181" y="17543"/>
                      <a:pt x="85418" y="1981"/>
                    </a:cubicBezTo>
                    <a:cubicBezTo>
                      <a:pt x="104092" y="-4244"/>
                      <a:pt x="122766" y="5094"/>
                      <a:pt x="125879" y="17543"/>
                    </a:cubicBezTo>
                    <a:cubicBezTo>
                      <a:pt x="138328" y="51780"/>
                      <a:pt x="163228" y="79791"/>
                      <a:pt x="194352" y="98466"/>
                    </a:cubicBezTo>
                    <a:cubicBezTo>
                      <a:pt x="206801" y="107803"/>
                      <a:pt x="213026" y="126477"/>
                      <a:pt x="203688" y="142039"/>
                    </a:cubicBezTo>
                    <a:close/>
                  </a:path>
                </a:pathLst>
              </a:custGeom>
              <a:solidFill>
                <a:srgbClr val="F6EBE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BB8178BF-AED1-4A03-A9FD-203A217A86FE}"/>
                  </a:ext>
                </a:extLst>
              </p:cNvPr>
              <p:cNvSpPr/>
              <p:nvPr/>
            </p:nvSpPr>
            <p:spPr>
              <a:xfrm>
                <a:off x="12376764" y="9998075"/>
                <a:ext cx="214640" cy="211079"/>
              </a:xfrm>
              <a:custGeom>
                <a:avLst/>
                <a:gdLst>
                  <a:gd name="connsiteX0" fmla="*/ 210916 w 214640"/>
                  <a:gd name="connsiteY0" fmla="*/ 128882 h 211079"/>
                  <a:gd name="connsiteX1" fmla="*/ 139331 w 214640"/>
                  <a:gd name="connsiteY1" fmla="*/ 206692 h 211079"/>
                  <a:gd name="connsiteX2" fmla="*/ 95757 w 214640"/>
                  <a:gd name="connsiteY2" fmla="*/ 194243 h 211079"/>
                  <a:gd name="connsiteX3" fmla="*/ 17947 w 214640"/>
                  <a:gd name="connsiteY3" fmla="*/ 122658 h 211079"/>
                  <a:gd name="connsiteX4" fmla="*/ 2385 w 214640"/>
                  <a:gd name="connsiteY4" fmla="*/ 82196 h 211079"/>
                  <a:gd name="connsiteX5" fmla="*/ 73971 w 214640"/>
                  <a:gd name="connsiteY5" fmla="*/ 4387 h 211079"/>
                  <a:gd name="connsiteX6" fmla="*/ 117544 w 214640"/>
                  <a:gd name="connsiteY6" fmla="*/ 16837 h 211079"/>
                  <a:gd name="connsiteX7" fmla="*/ 195354 w 214640"/>
                  <a:gd name="connsiteY7" fmla="*/ 88422 h 211079"/>
                  <a:gd name="connsiteX8" fmla="*/ 210916 w 214640"/>
                  <a:gd name="connsiteY8" fmla="*/ 128882 h 211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4640" h="211079">
                    <a:moveTo>
                      <a:pt x="210916" y="128882"/>
                    </a:moveTo>
                    <a:cubicBezTo>
                      <a:pt x="195354" y="163119"/>
                      <a:pt x="170455" y="188019"/>
                      <a:pt x="139331" y="206692"/>
                    </a:cubicBezTo>
                    <a:cubicBezTo>
                      <a:pt x="123769" y="216030"/>
                      <a:pt x="101982" y="209805"/>
                      <a:pt x="95757" y="194243"/>
                    </a:cubicBezTo>
                    <a:cubicBezTo>
                      <a:pt x="77083" y="160006"/>
                      <a:pt x="52184" y="138220"/>
                      <a:pt x="17947" y="122658"/>
                    </a:cubicBezTo>
                    <a:cubicBezTo>
                      <a:pt x="2385" y="116433"/>
                      <a:pt x="-3839" y="97758"/>
                      <a:pt x="2385" y="82196"/>
                    </a:cubicBezTo>
                    <a:cubicBezTo>
                      <a:pt x="17947" y="47961"/>
                      <a:pt x="42847" y="23061"/>
                      <a:pt x="73971" y="4387"/>
                    </a:cubicBezTo>
                    <a:cubicBezTo>
                      <a:pt x="89533" y="-4950"/>
                      <a:pt x="111319" y="1275"/>
                      <a:pt x="117544" y="16837"/>
                    </a:cubicBezTo>
                    <a:cubicBezTo>
                      <a:pt x="136219" y="51073"/>
                      <a:pt x="161117" y="72860"/>
                      <a:pt x="195354" y="88422"/>
                    </a:cubicBezTo>
                    <a:cubicBezTo>
                      <a:pt x="210916" y="91534"/>
                      <a:pt x="220253" y="110209"/>
                      <a:pt x="210916" y="128882"/>
                    </a:cubicBezTo>
                    <a:close/>
                  </a:path>
                </a:pathLst>
              </a:custGeom>
              <a:solidFill>
                <a:srgbClr val="F6EBE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1" name="图形 1">
              <a:extLst>
                <a:ext uri="{FF2B5EF4-FFF2-40B4-BE49-F238E27FC236}">
                  <a16:creationId xmlns:a16="http://schemas.microsoft.com/office/drawing/2014/main" id="{7CD49BEE-38EF-4D20-B6CA-5FAD82C14687}"/>
                </a:ext>
              </a:extLst>
            </p:cNvPr>
            <p:cNvGrpSpPr/>
            <p:nvPr/>
          </p:nvGrpSpPr>
          <p:grpSpPr>
            <a:xfrm>
              <a:off x="14775261" y="9945568"/>
              <a:ext cx="212485" cy="188113"/>
              <a:chOff x="14775261" y="9945568"/>
              <a:chExt cx="212485" cy="188113"/>
            </a:xfrm>
          </p:grpSpPr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21D7D44F-ED4F-4540-9582-486E7DF79419}"/>
                  </a:ext>
                </a:extLst>
              </p:cNvPr>
              <p:cNvSpPr/>
              <p:nvPr/>
            </p:nvSpPr>
            <p:spPr>
              <a:xfrm>
                <a:off x="14775261" y="9945568"/>
                <a:ext cx="172012" cy="83023"/>
              </a:xfrm>
              <a:custGeom>
                <a:avLst/>
                <a:gdLst>
                  <a:gd name="connsiteX0" fmla="*/ 6655 w 172012"/>
                  <a:gd name="connsiteY0" fmla="*/ 25770 h 83023"/>
                  <a:gd name="connsiteX1" fmla="*/ 109364 w 172012"/>
                  <a:gd name="connsiteY1" fmla="*/ 3984 h 83023"/>
                  <a:gd name="connsiteX2" fmla="*/ 124926 w 172012"/>
                  <a:gd name="connsiteY2" fmla="*/ 872 h 83023"/>
                  <a:gd name="connsiteX3" fmla="*/ 143600 w 172012"/>
                  <a:gd name="connsiteY3" fmla="*/ 3984 h 83023"/>
                  <a:gd name="connsiteX4" fmla="*/ 171612 w 172012"/>
                  <a:gd name="connsiteY4" fmla="*/ 47557 h 83023"/>
                  <a:gd name="connsiteX5" fmla="*/ 128038 w 172012"/>
                  <a:gd name="connsiteY5" fmla="*/ 72456 h 83023"/>
                  <a:gd name="connsiteX6" fmla="*/ 59566 w 172012"/>
                  <a:gd name="connsiteY6" fmla="*/ 81794 h 83023"/>
                  <a:gd name="connsiteX7" fmla="*/ 9768 w 172012"/>
                  <a:gd name="connsiteY7" fmla="*/ 72456 h 83023"/>
                  <a:gd name="connsiteX8" fmla="*/ 6655 w 172012"/>
                  <a:gd name="connsiteY8" fmla="*/ 25770 h 83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2012" h="83023">
                    <a:moveTo>
                      <a:pt x="6655" y="25770"/>
                    </a:moveTo>
                    <a:cubicBezTo>
                      <a:pt x="28442" y="3984"/>
                      <a:pt x="68903" y="7097"/>
                      <a:pt x="109364" y="3984"/>
                    </a:cubicBezTo>
                    <a:cubicBezTo>
                      <a:pt x="112476" y="3984"/>
                      <a:pt x="121814" y="-2241"/>
                      <a:pt x="124926" y="872"/>
                    </a:cubicBezTo>
                    <a:cubicBezTo>
                      <a:pt x="131151" y="872"/>
                      <a:pt x="137376" y="872"/>
                      <a:pt x="143600" y="3984"/>
                    </a:cubicBezTo>
                    <a:cubicBezTo>
                      <a:pt x="159162" y="10208"/>
                      <a:pt x="174724" y="28883"/>
                      <a:pt x="171612" y="47557"/>
                    </a:cubicBezTo>
                    <a:cubicBezTo>
                      <a:pt x="168500" y="66232"/>
                      <a:pt x="143600" y="69345"/>
                      <a:pt x="128038" y="72456"/>
                    </a:cubicBezTo>
                    <a:cubicBezTo>
                      <a:pt x="106252" y="75569"/>
                      <a:pt x="84465" y="78681"/>
                      <a:pt x="59566" y="81794"/>
                    </a:cubicBezTo>
                    <a:cubicBezTo>
                      <a:pt x="44004" y="81794"/>
                      <a:pt x="25330" y="88018"/>
                      <a:pt x="9768" y="72456"/>
                    </a:cubicBezTo>
                    <a:cubicBezTo>
                      <a:pt x="-2681" y="53783"/>
                      <a:pt x="-2681" y="35108"/>
                      <a:pt x="6655" y="2577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BBBFBCF9-1AD1-4153-A92D-6A09C1FA6706}"/>
                  </a:ext>
                </a:extLst>
              </p:cNvPr>
              <p:cNvSpPr/>
              <p:nvPr/>
            </p:nvSpPr>
            <p:spPr>
              <a:xfrm>
                <a:off x="14807593" y="9990013"/>
                <a:ext cx="170803" cy="82152"/>
              </a:xfrm>
              <a:custGeom>
                <a:avLst/>
                <a:gdLst>
                  <a:gd name="connsiteX0" fmla="*/ 5447 w 170803"/>
                  <a:gd name="connsiteY0" fmla="*/ 28011 h 82152"/>
                  <a:gd name="connsiteX1" fmla="*/ 114380 w 170803"/>
                  <a:gd name="connsiteY1" fmla="*/ 0 h 82152"/>
                  <a:gd name="connsiteX2" fmla="*/ 123717 w 170803"/>
                  <a:gd name="connsiteY2" fmla="*/ 0 h 82152"/>
                  <a:gd name="connsiteX3" fmla="*/ 142392 w 170803"/>
                  <a:gd name="connsiteY3" fmla="*/ 3113 h 82152"/>
                  <a:gd name="connsiteX4" fmla="*/ 170403 w 170803"/>
                  <a:gd name="connsiteY4" fmla="*/ 46686 h 82152"/>
                  <a:gd name="connsiteX5" fmla="*/ 126830 w 170803"/>
                  <a:gd name="connsiteY5" fmla="*/ 71586 h 82152"/>
                  <a:gd name="connsiteX6" fmla="*/ 58358 w 170803"/>
                  <a:gd name="connsiteY6" fmla="*/ 80922 h 82152"/>
                  <a:gd name="connsiteX7" fmla="*/ 8559 w 170803"/>
                  <a:gd name="connsiteY7" fmla="*/ 71586 h 82152"/>
                  <a:gd name="connsiteX8" fmla="*/ 5447 w 170803"/>
                  <a:gd name="connsiteY8" fmla="*/ 28011 h 82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0803" h="82152">
                    <a:moveTo>
                      <a:pt x="5447" y="28011"/>
                    </a:moveTo>
                    <a:cubicBezTo>
                      <a:pt x="30345" y="-3113"/>
                      <a:pt x="77031" y="6225"/>
                      <a:pt x="114380" y="0"/>
                    </a:cubicBezTo>
                    <a:cubicBezTo>
                      <a:pt x="117493" y="0"/>
                      <a:pt x="120606" y="0"/>
                      <a:pt x="123717" y="0"/>
                    </a:cubicBezTo>
                    <a:cubicBezTo>
                      <a:pt x="129942" y="0"/>
                      <a:pt x="136168" y="0"/>
                      <a:pt x="142392" y="3113"/>
                    </a:cubicBezTo>
                    <a:cubicBezTo>
                      <a:pt x="157954" y="9338"/>
                      <a:pt x="173516" y="28011"/>
                      <a:pt x="170403" y="46686"/>
                    </a:cubicBezTo>
                    <a:cubicBezTo>
                      <a:pt x="167291" y="65360"/>
                      <a:pt x="142392" y="68473"/>
                      <a:pt x="126830" y="71586"/>
                    </a:cubicBezTo>
                    <a:cubicBezTo>
                      <a:pt x="105044" y="74697"/>
                      <a:pt x="83256" y="77810"/>
                      <a:pt x="58358" y="80922"/>
                    </a:cubicBezTo>
                    <a:cubicBezTo>
                      <a:pt x="42796" y="80922"/>
                      <a:pt x="24121" y="87148"/>
                      <a:pt x="8559" y="71586"/>
                    </a:cubicBezTo>
                    <a:cubicBezTo>
                      <a:pt x="-3890" y="56024"/>
                      <a:pt x="-779" y="37349"/>
                      <a:pt x="5447" y="2801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6F4372BC-3509-40B6-9A1A-458132378D7C}"/>
                  </a:ext>
                </a:extLst>
              </p:cNvPr>
              <p:cNvSpPr/>
              <p:nvPr/>
            </p:nvSpPr>
            <p:spPr>
              <a:xfrm>
                <a:off x="14831283" y="10036698"/>
                <a:ext cx="149825" cy="73141"/>
              </a:xfrm>
              <a:custGeom>
                <a:avLst/>
                <a:gdLst>
                  <a:gd name="connsiteX0" fmla="*/ 6655 w 149825"/>
                  <a:gd name="connsiteY0" fmla="*/ 28011 h 73141"/>
                  <a:gd name="connsiteX1" fmla="*/ 100027 w 149825"/>
                  <a:gd name="connsiteY1" fmla="*/ 0 h 73141"/>
                  <a:gd name="connsiteX2" fmla="*/ 109365 w 149825"/>
                  <a:gd name="connsiteY2" fmla="*/ 0 h 73141"/>
                  <a:gd name="connsiteX3" fmla="*/ 124927 w 149825"/>
                  <a:gd name="connsiteY3" fmla="*/ 3113 h 73141"/>
                  <a:gd name="connsiteX4" fmla="*/ 149826 w 149825"/>
                  <a:gd name="connsiteY4" fmla="*/ 40462 h 73141"/>
                  <a:gd name="connsiteX5" fmla="*/ 112477 w 149825"/>
                  <a:gd name="connsiteY5" fmla="*/ 62248 h 73141"/>
                  <a:gd name="connsiteX6" fmla="*/ 53341 w 149825"/>
                  <a:gd name="connsiteY6" fmla="*/ 71586 h 73141"/>
                  <a:gd name="connsiteX7" fmla="*/ 9768 w 149825"/>
                  <a:gd name="connsiteY7" fmla="*/ 65360 h 73141"/>
                  <a:gd name="connsiteX8" fmla="*/ 6655 w 149825"/>
                  <a:gd name="connsiteY8" fmla="*/ 28011 h 73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9825" h="73141">
                    <a:moveTo>
                      <a:pt x="6655" y="28011"/>
                    </a:moveTo>
                    <a:cubicBezTo>
                      <a:pt x="28442" y="0"/>
                      <a:pt x="68903" y="6225"/>
                      <a:pt x="100027" y="0"/>
                    </a:cubicBezTo>
                    <a:cubicBezTo>
                      <a:pt x="103140" y="0"/>
                      <a:pt x="106252" y="0"/>
                      <a:pt x="109365" y="0"/>
                    </a:cubicBezTo>
                    <a:cubicBezTo>
                      <a:pt x="115589" y="0"/>
                      <a:pt x="118702" y="0"/>
                      <a:pt x="124927" y="3113"/>
                    </a:cubicBezTo>
                    <a:cubicBezTo>
                      <a:pt x="140489" y="9338"/>
                      <a:pt x="149826" y="24900"/>
                      <a:pt x="149826" y="40462"/>
                    </a:cubicBezTo>
                    <a:cubicBezTo>
                      <a:pt x="146713" y="56024"/>
                      <a:pt x="124927" y="59135"/>
                      <a:pt x="112477" y="62248"/>
                    </a:cubicBezTo>
                    <a:cubicBezTo>
                      <a:pt x="93803" y="65360"/>
                      <a:pt x="75128" y="68473"/>
                      <a:pt x="53341" y="71586"/>
                    </a:cubicBezTo>
                    <a:cubicBezTo>
                      <a:pt x="40892" y="71586"/>
                      <a:pt x="22217" y="77810"/>
                      <a:pt x="9768" y="65360"/>
                    </a:cubicBezTo>
                    <a:cubicBezTo>
                      <a:pt x="-2681" y="52911"/>
                      <a:pt x="-2681" y="37349"/>
                      <a:pt x="6655" y="2801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661EAA9F-1C2E-4BFF-A892-DB1C232AB651}"/>
                  </a:ext>
                </a:extLst>
              </p:cNvPr>
              <p:cNvSpPr/>
              <p:nvPr/>
            </p:nvSpPr>
            <p:spPr>
              <a:xfrm>
                <a:off x="14861612" y="10086497"/>
                <a:ext cx="110159" cy="47183"/>
              </a:xfrm>
              <a:custGeom>
                <a:avLst/>
                <a:gdLst>
                  <a:gd name="connsiteX0" fmla="*/ 4339 w 110159"/>
                  <a:gd name="connsiteY0" fmla="*/ 21787 h 47183"/>
                  <a:gd name="connsiteX1" fmla="*/ 72811 w 110159"/>
                  <a:gd name="connsiteY1" fmla="*/ 0 h 47183"/>
                  <a:gd name="connsiteX2" fmla="*/ 79036 w 110159"/>
                  <a:gd name="connsiteY2" fmla="*/ 0 h 47183"/>
                  <a:gd name="connsiteX3" fmla="*/ 91485 w 110159"/>
                  <a:gd name="connsiteY3" fmla="*/ 0 h 47183"/>
                  <a:gd name="connsiteX4" fmla="*/ 110160 w 110159"/>
                  <a:gd name="connsiteY4" fmla="*/ 24899 h 47183"/>
                  <a:gd name="connsiteX5" fmla="*/ 82148 w 110159"/>
                  <a:gd name="connsiteY5" fmla="*/ 40461 h 47183"/>
                  <a:gd name="connsiteX6" fmla="*/ 38574 w 110159"/>
                  <a:gd name="connsiteY6" fmla="*/ 46686 h 47183"/>
                  <a:gd name="connsiteX7" fmla="*/ 7450 w 110159"/>
                  <a:gd name="connsiteY7" fmla="*/ 40461 h 47183"/>
                  <a:gd name="connsiteX8" fmla="*/ 4339 w 110159"/>
                  <a:gd name="connsiteY8" fmla="*/ 21787 h 47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159" h="47183">
                    <a:moveTo>
                      <a:pt x="4339" y="21787"/>
                    </a:moveTo>
                    <a:cubicBezTo>
                      <a:pt x="19901" y="0"/>
                      <a:pt x="51025" y="6225"/>
                      <a:pt x="72811" y="0"/>
                    </a:cubicBezTo>
                    <a:cubicBezTo>
                      <a:pt x="75923" y="0"/>
                      <a:pt x="75923" y="0"/>
                      <a:pt x="79036" y="0"/>
                    </a:cubicBezTo>
                    <a:cubicBezTo>
                      <a:pt x="82148" y="0"/>
                      <a:pt x="85260" y="0"/>
                      <a:pt x="91485" y="0"/>
                    </a:cubicBezTo>
                    <a:cubicBezTo>
                      <a:pt x="100822" y="3113"/>
                      <a:pt x="110160" y="15562"/>
                      <a:pt x="110160" y="24899"/>
                    </a:cubicBezTo>
                    <a:cubicBezTo>
                      <a:pt x="107047" y="37349"/>
                      <a:pt x="91485" y="37349"/>
                      <a:pt x="82148" y="40461"/>
                    </a:cubicBezTo>
                    <a:cubicBezTo>
                      <a:pt x="69698" y="43573"/>
                      <a:pt x="54136" y="46686"/>
                      <a:pt x="38574" y="46686"/>
                    </a:cubicBezTo>
                    <a:cubicBezTo>
                      <a:pt x="29237" y="46686"/>
                      <a:pt x="16788" y="49798"/>
                      <a:pt x="7450" y="40461"/>
                    </a:cubicBezTo>
                    <a:cubicBezTo>
                      <a:pt x="-1887" y="40461"/>
                      <a:pt x="-1887" y="31124"/>
                      <a:pt x="4339" y="21787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3AAE15DA-77B6-469E-A9E0-D0354FEB4126}"/>
                  </a:ext>
                </a:extLst>
              </p:cNvPr>
              <p:cNvSpPr/>
              <p:nvPr/>
            </p:nvSpPr>
            <p:spPr>
              <a:xfrm>
                <a:off x="14800109" y="9946093"/>
                <a:ext cx="184798" cy="124841"/>
              </a:xfrm>
              <a:custGeom>
                <a:avLst/>
                <a:gdLst>
                  <a:gd name="connsiteX0" fmla="*/ 65842 w 184798"/>
                  <a:gd name="connsiteY0" fmla="*/ 124842 h 124841"/>
                  <a:gd name="connsiteX1" fmla="*/ 3594 w 184798"/>
                  <a:gd name="connsiteY1" fmla="*/ 99943 h 124841"/>
                  <a:gd name="connsiteX2" fmla="*/ 3594 w 184798"/>
                  <a:gd name="connsiteY2" fmla="*/ 75043 h 124841"/>
                  <a:gd name="connsiteX3" fmla="*/ 16043 w 184798"/>
                  <a:gd name="connsiteY3" fmla="*/ 68819 h 124841"/>
                  <a:gd name="connsiteX4" fmla="*/ 134314 w 184798"/>
                  <a:gd name="connsiteY4" fmla="*/ 43919 h 124841"/>
                  <a:gd name="connsiteX5" fmla="*/ 137427 w 184798"/>
                  <a:gd name="connsiteY5" fmla="*/ 25245 h 124841"/>
                  <a:gd name="connsiteX6" fmla="*/ 131201 w 184798"/>
                  <a:gd name="connsiteY6" fmla="*/ 15908 h 124841"/>
                  <a:gd name="connsiteX7" fmla="*/ 22268 w 184798"/>
                  <a:gd name="connsiteY7" fmla="*/ 19020 h 124841"/>
                  <a:gd name="connsiteX8" fmla="*/ 16043 w 184798"/>
                  <a:gd name="connsiteY8" fmla="*/ 15908 h 124841"/>
                  <a:gd name="connsiteX9" fmla="*/ 19156 w 184798"/>
                  <a:gd name="connsiteY9" fmla="*/ 9683 h 124841"/>
                  <a:gd name="connsiteX10" fmla="*/ 137427 w 184798"/>
                  <a:gd name="connsiteY10" fmla="*/ 9683 h 124841"/>
                  <a:gd name="connsiteX11" fmla="*/ 149876 w 184798"/>
                  <a:gd name="connsiteY11" fmla="*/ 28357 h 124841"/>
                  <a:gd name="connsiteX12" fmla="*/ 149876 w 184798"/>
                  <a:gd name="connsiteY12" fmla="*/ 43919 h 124841"/>
                  <a:gd name="connsiteX13" fmla="*/ 149876 w 184798"/>
                  <a:gd name="connsiteY13" fmla="*/ 43919 h 124841"/>
                  <a:gd name="connsiteX14" fmla="*/ 184112 w 184798"/>
                  <a:gd name="connsiteY14" fmla="*/ 84381 h 124841"/>
                  <a:gd name="connsiteX15" fmla="*/ 121865 w 184798"/>
                  <a:gd name="connsiteY15" fmla="*/ 124842 h 124841"/>
                  <a:gd name="connsiteX16" fmla="*/ 65842 w 184798"/>
                  <a:gd name="connsiteY16" fmla="*/ 124842 h 124841"/>
                  <a:gd name="connsiteX17" fmla="*/ 12931 w 184798"/>
                  <a:gd name="connsiteY17" fmla="*/ 78156 h 124841"/>
                  <a:gd name="connsiteX18" fmla="*/ 12931 w 184798"/>
                  <a:gd name="connsiteY18" fmla="*/ 78156 h 124841"/>
                  <a:gd name="connsiteX19" fmla="*/ 12931 w 184798"/>
                  <a:gd name="connsiteY19" fmla="*/ 93718 h 124841"/>
                  <a:gd name="connsiteX20" fmla="*/ 115639 w 184798"/>
                  <a:gd name="connsiteY20" fmla="*/ 106167 h 124841"/>
                  <a:gd name="connsiteX21" fmla="*/ 168550 w 184798"/>
                  <a:gd name="connsiteY21" fmla="*/ 78156 h 124841"/>
                  <a:gd name="connsiteX22" fmla="*/ 140539 w 184798"/>
                  <a:gd name="connsiteY22" fmla="*/ 47032 h 124841"/>
                  <a:gd name="connsiteX23" fmla="*/ 140539 w 184798"/>
                  <a:gd name="connsiteY23" fmla="*/ 47032 h 124841"/>
                  <a:gd name="connsiteX24" fmla="*/ 12931 w 184798"/>
                  <a:gd name="connsiteY24" fmla="*/ 78156 h 124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84798" h="124841">
                    <a:moveTo>
                      <a:pt x="65842" y="124842"/>
                    </a:moveTo>
                    <a:cubicBezTo>
                      <a:pt x="37830" y="124842"/>
                      <a:pt x="12931" y="118616"/>
                      <a:pt x="3594" y="99943"/>
                    </a:cubicBezTo>
                    <a:cubicBezTo>
                      <a:pt x="482" y="90605"/>
                      <a:pt x="-2631" y="81268"/>
                      <a:pt x="3594" y="75043"/>
                    </a:cubicBezTo>
                    <a:cubicBezTo>
                      <a:pt x="6706" y="68819"/>
                      <a:pt x="16043" y="68819"/>
                      <a:pt x="16043" y="68819"/>
                    </a:cubicBezTo>
                    <a:cubicBezTo>
                      <a:pt x="84516" y="65706"/>
                      <a:pt x="124977" y="59481"/>
                      <a:pt x="134314" y="43919"/>
                    </a:cubicBezTo>
                    <a:cubicBezTo>
                      <a:pt x="137427" y="37695"/>
                      <a:pt x="137427" y="34582"/>
                      <a:pt x="137427" y="25245"/>
                    </a:cubicBezTo>
                    <a:cubicBezTo>
                      <a:pt x="137427" y="22133"/>
                      <a:pt x="134314" y="19020"/>
                      <a:pt x="131201" y="15908"/>
                    </a:cubicBezTo>
                    <a:cubicBezTo>
                      <a:pt x="109415" y="346"/>
                      <a:pt x="44055" y="12795"/>
                      <a:pt x="22268" y="19020"/>
                    </a:cubicBezTo>
                    <a:cubicBezTo>
                      <a:pt x="19156" y="19020"/>
                      <a:pt x="16043" y="19020"/>
                      <a:pt x="16043" y="15908"/>
                    </a:cubicBezTo>
                    <a:cubicBezTo>
                      <a:pt x="16043" y="12795"/>
                      <a:pt x="16043" y="9683"/>
                      <a:pt x="19156" y="9683"/>
                    </a:cubicBezTo>
                    <a:cubicBezTo>
                      <a:pt x="22268" y="9683"/>
                      <a:pt x="106303" y="-12103"/>
                      <a:pt x="137427" y="9683"/>
                    </a:cubicBezTo>
                    <a:cubicBezTo>
                      <a:pt x="143652" y="12795"/>
                      <a:pt x="149876" y="19020"/>
                      <a:pt x="149876" y="28357"/>
                    </a:cubicBezTo>
                    <a:cubicBezTo>
                      <a:pt x="149876" y="31470"/>
                      <a:pt x="149876" y="37695"/>
                      <a:pt x="149876" y="43919"/>
                    </a:cubicBezTo>
                    <a:cubicBezTo>
                      <a:pt x="149876" y="43919"/>
                      <a:pt x="149876" y="43919"/>
                      <a:pt x="149876" y="43919"/>
                    </a:cubicBezTo>
                    <a:cubicBezTo>
                      <a:pt x="149876" y="43919"/>
                      <a:pt x="181000" y="62594"/>
                      <a:pt x="184112" y="84381"/>
                    </a:cubicBezTo>
                    <a:cubicBezTo>
                      <a:pt x="190338" y="112392"/>
                      <a:pt x="152989" y="118616"/>
                      <a:pt x="121865" y="124842"/>
                    </a:cubicBezTo>
                    <a:cubicBezTo>
                      <a:pt x="100077" y="121729"/>
                      <a:pt x="81404" y="124842"/>
                      <a:pt x="65842" y="124842"/>
                    </a:cubicBezTo>
                    <a:close/>
                    <a:moveTo>
                      <a:pt x="12931" y="78156"/>
                    </a:moveTo>
                    <a:cubicBezTo>
                      <a:pt x="12931" y="78156"/>
                      <a:pt x="12931" y="78156"/>
                      <a:pt x="12931" y="78156"/>
                    </a:cubicBezTo>
                    <a:cubicBezTo>
                      <a:pt x="9818" y="81268"/>
                      <a:pt x="9818" y="84381"/>
                      <a:pt x="12931" y="93718"/>
                    </a:cubicBezTo>
                    <a:cubicBezTo>
                      <a:pt x="22268" y="112392"/>
                      <a:pt x="59617" y="118616"/>
                      <a:pt x="115639" y="106167"/>
                    </a:cubicBezTo>
                    <a:cubicBezTo>
                      <a:pt x="159214" y="96830"/>
                      <a:pt x="171663" y="90605"/>
                      <a:pt x="168550" y="78156"/>
                    </a:cubicBezTo>
                    <a:cubicBezTo>
                      <a:pt x="165438" y="65706"/>
                      <a:pt x="149876" y="50144"/>
                      <a:pt x="140539" y="47032"/>
                    </a:cubicBezTo>
                    <a:cubicBezTo>
                      <a:pt x="140539" y="47032"/>
                      <a:pt x="140539" y="47032"/>
                      <a:pt x="140539" y="47032"/>
                    </a:cubicBezTo>
                    <a:cubicBezTo>
                      <a:pt x="134314" y="59481"/>
                      <a:pt x="109415" y="75043"/>
                      <a:pt x="12931" y="7815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06031972-B739-4621-8994-1361436E74B5}"/>
                  </a:ext>
                </a:extLst>
              </p:cNvPr>
              <p:cNvSpPr/>
              <p:nvPr/>
            </p:nvSpPr>
            <p:spPr>
              <a:xfrm>
                <a:off x="14826557" y="10034364"/>
                <a:ext cx="161188" cy="80144"/>
              </a:xfrm>
              <a:custGeom>
                <a:avLst/>
                <a:gdLst>
                  <a:gd name="connsiteX0" fmla="*/ 45618 w 161188"/>
                  <a:gd name="connsiteY0" fmla="*/ 80144 h 80144"/>
                  <a:gd name="connsiteX1" fmla="*/ 20719 w 161188"/>
                  <a:gd name="connsiteY1" fmla="*/ 77032 h 80144"/>
                  <a:gd name="connsiteX2" fmla="*/ 2045 w 161188"/>
                  <a:gd name="connsiteY2" fmla="*/ 58358 h 80144"/>
                  <a:gd name="connsiteX3" fmla="*/ 5157 w 161188"/>
                  <a:gd name="connsiteY3" fmla="*/ 27234 h 80144"/>
                  <a:gd name="connsiteX4" fmla="*/ 14494 w 161188"/>
                  <a:gd name="connsiteY4" fmla="*/ 27234 h 80144"/>
                  <a:gd name="connsiteX5" fmla="*/ 14494 w 161188"/>
                  <a:gd name="connsiteY5" fmla="*/ 36571 h 80144"/>
                  <a:gd name="connsiteX6" fmla="*/ 14494 w 161188"/>
                  <a:gd name="connsiteY6" fmla="*/ 55245 h 80144"/>
                  <a:gd name="connsiteX7" fmla="*/ 23832 w 161188"/>
                  <a:gd name="connsiteY7" fmla="*/ 64582 h 80144"/>
                  <a:gd name="connsiteX8" fmla="*/ 132765 w 161188"/>
                  <a:gd name="connsiteY8" fmla="*/ 52133 h 80144"/>
                  <a:gd name="connsiteX9" fmla="*/ 148327 w 161188"/>
                  <a:gd name="connsiteY9" fmla="*/ 36571 h 80144"/>
                  <a:gd name="connsiteX10" fmla="*/ 138990 w 161188"/>
                  <a:gd name="connsiteY10" fmla="*/ 11672 h 80144"/>
                  <a:gd name="connsiteX11" fmla="*/ 138990 w 161188"/>
                  <a:gd name="connsiteY11" fmla="*/ 2334 h 80144"/>
                  <a:gd name="connsiteX12" fmla="*/ 148327 w 161188"/>
                  <a:gd name="connsiteY12" fmla="*/ 2334 h 80144"/>
                  <a:gd name="connsiteX13" fmla="*/ 160777 w 161188"/>
                  <a:gd name="connsiteY13" fmla="*/ 39684 h 80144"/>
                  <a:gd name="connsiteX14" fmla="*/ 135877 w 161188"/>
                  <a:gd name="connsiteY14" fmla="*/ 61470 h 80144"/>
                  <a:gd name="connsiteX15" fmla="*/ 45618 w 161188"/>
                  <a:gd name="connsiteY15" fmla="*/ 80144 h 80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1188" h="80144">
                    <a:moveTo>
                      <a:pt x="45618" y="80144"/>
                    </a:moveTo>
                    <a:cubicBezTo>
                      <a:pt x="33168" y="80144"/>
                      <a:pt x="23832" y="80144"/>
                      <a:pt x="20719" y="77032"/>
                    </a:cubicBezTo>
                    <a:cubicBezTo>
                      <a:pt x="11381" y="73920"/>
                      <a:pt x="5157" y="67695"/>
                      <a:pt x="2045" y="58358"/>
                    </a:cubicBezTo>
                    <a:cubicBezTo>
                      <a:pt x="-1068" y="45908"/>
                      <a:pt x="-1068" y="33458"/>
                      <a:pt x="5157" y="27234"/>
                    </a:cubicBezTo>
                    <a:cubicBezTo>
                      <a:pt x="8270" y="24122"/>
                      <a:pt x="11381" y="24122"/>
                      <a:pt x="14494" y="27234"/>
                    </a:cubicBezTo>
                    <a:cubicBezTo>
                      <a:pt x="17606" y="30346"/>
                      <a:pt x="17606" y="33458"/>
                      <a:pt x="14494" y="36571"/>
                    </a:cubicBezTo>
                    <a:cubicBezTo>
                      <a:pt x="11381" y="39684"/>
                      <a:pt x="11381" y="49020"/>
                      <a:pt x="14494" y="55245"/>
                    </a:cubicBezTo>
                    <a:cubicBezTo>
                      <a:pt x="14494" y="58358"/>
                      <a:pt x="17606" y="64582"/>
                      <a:pt x="23832" y="64582"/>
                    </a:cubicBezTo>
                    <a:cubicBezTo>
                      <a:pt x="39394" y="67695"/>
                      <a:pt x="92304" y="67695"/>
                      <a:pt x="132765" y="52133"/>
                    </a:cubicBezTo>
                    <a:cubicBezTo>
                      <a:pt x="142102" y="49020"/>
                      <a:pt x="148327" y="42796"/>
                      <a:pt x="148327" y="36571"/>
                    </a:cubicBezTo>
                    <a:cubicBezTo>
                      <a:pt x="151439" y="27234"/>
                      <a:pt x="142102" y="14784"/>
                      <a:pt x="138990" y="11672"/>
                    </a:cubicBezTo>
                    <a:cubicBezTo>
                      <a:pt x="135877" y="8560"/>
                      <a:pt x="135877" y="5447"/>
                      <a:pt x="138990" y="2334"/>
                    </a:cubicBezTo>
                    <a:cubicBezTo>
                      <a:pt x="142102" y="-778"/>
                      <a:pt x="145215" y="-778"/>
                      <a:pt x="148327" y="2334"/>
                    </a:cubicBezTo>
                    <a:cubicBezTo>
                      <a:pt x="148327" y="2334"/>
                      <a:pt x="163889" y="21009"/>
                      <a:pt x="160777" y="39684"/>
                    </a:cubicBezTo>
                    <a:cubicBezTo>
                      <a:pt x="157664" y="49020"/>
                      <a:pt x="151439" y="58358"/>
                      <a:pt x="135877" y="61470"/>
                    </a:cubicBezTo>
                    <a:cubicBezTo>
                      <a:pt x="104753" y="77032"/>
                      <a:pt x="70518" y="80144"/>
                      <a:pt x="45618" y="8014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2" name="图形 1">
              <a:extLst>
                <a:ext uri="{FF2B5EF4-FFF2-40B4-BE49-F238E27FC236}">
                  <a16:creationId xmlns:a16="http://schemas.microsoft.com/office/drawing/2014/main" id="{2F7EE416-8626-43E1-BA0B-1BA3009CCFE2}"/>
                </a:ext>
              </a:extLst>
            </p:cNvPr>
            <p:cNvGrpSpPr/>
            <p:nvPr/>
          </p:nvGrpSpPr>
          <p:grpSpPr>
            <a:xfrm>
              <a:off x="14895207" y="9950913"/>
              <a:ext cx="177841" cy="123134"/>
              <a:chOff x="14895207" y="9950913"/>
              <a:chExt cx="177841" cy="123134"/>
            </a:xfrm>
          </p:grpSpPr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D8B053D5-297E-47EC-9591-4C8CA45012BA}"/>
                  </a:ext>
                </a:extLst>
              </p:cNvPr>
              <p:cNvSpPr/>
              <p:nvPr/>
            </p:nvSpPr>
            <p:spPr>
              <a:xfrm>
                <a:off x="14901478" y="9959081"/>
                <a:ext cx="171570" cy="111854"/>
              </a:xfrm>
              <a:custGeom>
                <a:avLst/>
                <a:gdLst>
                  <a:gd name="connsiteX0" fmla="*/ 8046 w 171570"/>
                  <a:gd name="connsiteY0" fmla="*/ 99405 h 111854"/>
                  <a:gd name="connsiteX1" fmla="*/ 32945 w 171570"/>
                  <a:gd name="connsiteY1" fmla="*/ 80730 h 111854"/>
                  <a:gd name="connsiteX2" fmla="*/ 98305 w 171570"/>
                  <a:gd name="connsiteY2" fmla="*/ 65168 h 111854"/>
                  <a:gd name="connsiteX3" fmla="*/ 129429 w 171570"/>
                  <a:gd name="connsiteY3" fmla="*/ 111854 h 111854"/>
                  <a:gd name="connsiteX4" fmla="*/ 141878 w 171570"/>
                  <a:gd name="connsiteY4" fmla="*/ 15370 h 111854"/>
                  <a:gd name="connsiteX5" fmla="*/ 26720 w 171570"/>
                  <a:gd name="connsiteY5" fmla="*/ 15370 h 111854"/>
                  <a:gd name="connsiteX6" fmla="*/ 8046 w 171570"/>
                  <a:gd name="connsiteY6" fmla="*/ 99405 h 111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1570" h="111854">
                    <a:moveTo>
                      <a:pt x="8046" y="99405"/>
                    </a:moveTo>
                    <a:cubicBezTo>
                      <a:pt x="17383" y="105629"/>
                      <a:pt x="26720" y="86955"/>
                      <a:pt x="32945" y="80730"/>
                    </a:cubicBezTo>
                    <a:cubicBezTo>
                      <a:pt x="54732" y="65168"/>
                      <a:pt x="70294" y="58943"/>
                      <a:pt x="98305" y="65168"/>
                    </a:cubicBezTo>
                    <a:cubicBezTo>
                      <a:pt x="113867" y="68281"/>
                      <a:pt x="92080" y="111854"/>
                      <a:pt x="129429" y="111854"/>
                    </a:cubicBezTo>
                    <a:cubicBezTo>
                      <a:pt x="204126" y="105629"/>
                      <a:pt x="160553" y="27819"/>
                      <a:pt x="141878" y="15370"/>
                    </a:cubicBezTo>
                    <a:cubicBezTo>
                      <a:pt x="113867" y="-192"/>
                      <a:pt x="54732" y="-9529"/>
                      <a:pt x="26720" y="15370"/>
                    </a:cubicBezTo>
                    <a:cubicBezTo>
                      <a:pt x="14270" y="24707"/>
                      <a:pt x="-13741" y="83843"/>
                      <a:pt x="8046" y="99405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FD4AEFAF-9B6C-47CC-BF52-B44FEE07D87A}"/>
                  </a:ext>
                </a:extLst>
              </p:cNvPr>
              <p:cNvSpPr/>
              <p:nvPr/>
            </p:nvSpPr>
            <p:spPr>
              <a:xfrm>
                <a:off x="14895207" y="9950913"/>
                <a:ext cx="154374" cy="123134"/>
              </a:xfrm>
              <a:custGeom>
                <a:avLst/>
                <a:gdLst>
                  <a:gd name="connsiteX0" fmla="*/ 129475 w 154374"/>
                  <a:gd name="connsiteY0" fmla="*/ 123134 h 123134"/>
                  <a:gd name="connsiteX1" fmla="*/ 129475 w 154374"/>
                  <a:gd name="connsiteY1" fmla="*/ 123134 h 123134"/>
                  <a:gd name="connsiteX2" fmla="*/ 98351 w 154374"/>
                  <a:gd name="connsiteY2" fmla="*/ 76448 h 123134"/>
                  <a:gd name="connsiteX3" fmla="*/ 42328 w 154374"/>
                  <a:gd name="connsiteY3" fmla="*/ 98235 h 123134"/>
                  <a:gd name="connsiteX4" fmla="*/ 14317 w 154374"/>
                  <a:gd name="connsiteY4" fmla="*/ 110685 h 123134"/>
                  <a:gd name="connsiteX5" fmla="*/ 1868 w 154374"/>
                  <a:gd name="connsiteY5" fmla="*/ 98235 h 123134"/>
                  <a:gd name="connsiteX6" fmla="*/ 29879 w 154374"/>
                  <a:gd name="connsiteY6" fmla="*/ 17313 h 123134"/>
                  <a:gd name="connsiteX7" fmla="*/ 151262 w 154374"/>
                  <a:gd name="connsiteY7" fmla="*/ 17313 h 123134"/>
                  <a:gd name="connsiteX8" fmla="*/ 154375 w 154374"/>
                  <a:gd name="connsiteY8" fmla="*/ 23537 h 123134"/>
                  <a:gd name="connsiteX9" fmla="*/ 148150 w 154374"/>
                  <a:gd name="connsiteY9" fmla="*/ 26650 h 123134"/>
                  <a:gd name="connsiteX10" fmla="*/ 42328 w 154374"/>
                  <a:gd name="connsiteY10" fmla="*/ 26650 h 123134"/>
                  <a:gd name="connsiteX11" fmla="*/ 17430 w 154374"/>
                  <a:gd name="connsiteY11" fmla="*/ 95123 h 123134"/>
                  <a:gd name="connsiteX12" fmla="*/ 23654 w 154374"/>
                  <a:gd name="connsiteY12" fmla="*/ 101347 h 123134"/>
                  <a:gd name="connsiteX13" fmla="*/ 42328 w 154374"/>
                  <a:gd name="connsiteY13" fmla="*/ 88898 h 123134"/>
                  <a:gd name="connsiteX14" fmla="*/ 113913 w 154374"/>
                  <a:gd name="connsiteY14" fmla="*/ 67111 h 123134"/>
                  <a:gd name="connsiteX15" fmla="*/ 117026 w 154374"/>
                  <a:gd name="connsiteY15" fmla="*/ 70223 h 123134"/>
                  <a:gd name="connsiteX16" fmla="*/ 138813 w 154374"/>
                  <a:gd name="connsiteY16" fmla="*/ 110685 h 123134"/>
                  <a:gd name="connsiteX17" fmla="*/ 141925 w 154374"/>
                  <a:gd name="connsiteY17" fmla="*/ 120022 h 123134"/>
                  <a:gd name="connsiteX18" fmla="*/ 129475 w 154374"/>
                  <a:gd name="connsiteY18" fmla="*/ 123134 h 123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54374" h="123134">
                    <a:moveTo>
                      <a:pt x="129475" y="123134"/>
                    </a:moveTo>
                    <a:cubicBezTo>
                      <a:pt x="129475" y="123134"/>
                      <a:pt x="126363" y="123134"/>
                      <a:pt x="129475" y="123134"/>
                    </a:cubicBezTo>
                    <a:cubicBezTo>
                      <a:pt x="107689" y="113797"/>
                      <a:pt x="101464" y="85785"/>
                      <a:pt x="98351" y="76448"/>
                    </a:cubicBezTo>
                    <a:cubicBezTo>
                      <a:pt x="73452" y="70223"/>
                      <a:pt x="54778" y="85785"/>
                      <a:pt x="42328" y="98235"/>
                    </a:cubicBezTo>
                    <a:cubicBezTo>
                      <a:pt x="32992" y="107572"/>
                      <a:pt x="23654" y="113797"/>
                      <a:pt x="14317" y="110685"/>
                    </a:cubicBezTo>
                    <a:cubicBezTo>
                      <a:pt x="8092" y="110685"/>
                      <a:pt x="1868" y="104460"/>
                      <a:pt x="1868" y="98235"/>
                    </a:cubicBezTo>
                    <a:cubicBezTo>
                      <a:pt x="-4358" y="79561"/>
                      <a:pt x="4979" y="45325"/>
                      <a:pt x="29879" y="17313"/>
                    </a:cubicBezTo>
                    <a:cubicBezTo>
                      <a:pt x="64115" y="-20036"/>
                      <a:pt x="145037" y="14201"/>
                      <a:pt x="151262" y="17313"/>
                    </a:cubicBezTo>
                    <a:cubicBezTo>
                      <a:pt x="154375" y="17313"/>
                      <a:pt x="154375" y="20425"/>
                      <a:pt x="154375" y="23537"/>
                    </a:cubicBezTo>
                    <a:cubicBezTo>
                      <a:pt x="154375" y="26650"/>
                      <a:pt x="151262" y="26650"/>
                      <a:pt x="148150" y="26650"/>
                    </a:cubicBezTo>
                    <a:cubicBezTo>
                      <a:pt x="148150" y="26650"/>
                      <a:pt x="70340" y="-4474"/>
                      <a:pt x="42328" y="26650"/>
                    </a:cubicBezTo>
                    <a:cubicBezTo>
                      <a:pt x="20541" y="51549"/>
                      <a:pt x="11204" y="79561"/>
                      <a:pt x="17430" y="95123"/>
                    </a:cubicBezTo>
                    <a:cubicBezTo>
                      <a:pt x="17430" y="101347"/>
                      <a:pt x="20541" y="101347"/>
                      <a:pt x="23654" y="101347"/>
                    </a:cubicBezTo>
                    <a:cubicBezTo>
                      <a:pt x="26766" y="101347"/>
                      <a:pt x="36103" y="95123"/>
                      <a:pt x="42328" y="88898"/>
                    </a:cubicBezTo>
                    <a:cubicBezTo>
                      <a:pt x="57890" y="76448"/>
                      <a:pt x="79677" y="57774"/>
                      <a:pt x="113913" y="67111"/>
                    </a:cubicBezTo>
                    <a:cubicBezTo>
                      <a:pt x="117026" y="67111"/>
                      <a:pt x="117026" y="70223"/>
                      <a:pt x="117026" y="70223"/>
                    </a:cubicBezTo>
                    <a:cubicBezTo>
                      <a:pt x="117026" y="70223"/>
                      <a:pt x="123251" y="101347"/>
                      <a:pt x="138813" y="110685"/>
                    </a:cubicBezTo>
                    <a:cubicBezTo>
                      <a:pt x="141925" y="113797"/>
                      <a:pt x="141925" y="116909"/>
                      <a:pt x="141925" y="120022"/>
                    </a:cubicBezTo>
                    <a:cubicBezTo>
                      <a:pt x="132588" y="123134"/>
                      <a:pt x="129475" y="123134"/>
                      <a:pt x="129475" y="12313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9C765EF6-63C3-442C-8196-5EB11D9BDA88}"/>
                </a:ext>
              </a:extLst>
            </p:cNvPr>
            <p:cNvGrpSpPr/>
            <p:nvPr/>
          </p:nvGrpSpPr>
          <p:grpSpPr>
            <a:xfrm>
              <a:off x="15970850" y="10416386"/>
              <a:ext cx="413774" cy="215028"/>
              <a:chOff x="15970850" y="10416386"/>
              <a:chExt cx="413774" cy="215028"/>
            </a:xfrm>
          </p:grpSpPr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B99C3B57-B8DC-4554-95DE-8AEB65E92550}"/>
                  </a:ext>
                </a:extLst>
              </p:cNvPr>
              <p:cNvSpPr/>
              <p:nvPr/>
            </p:nvSpPr>
            <p:spPr>
              <a:xfrm>
                <a:off x="15970850" y="10422836"/>
                <a:ext cx="413774" cy="208578"/>
              </a:xfrm>
              <a:custGeom>
                <a:avLst/>
                <a:gdLst>
                  <a:gd name="connsiteX0" fmla="*/ 410835 w 413774"/>
                  <a:gd name="connsiteY0" fmla="*/ 146082 h 208578"/>
                  <a:gd name="connsiteX1" fmla="*/ 392161 w 413774"/>
                  <a:gd name="connsiteY1" fmla="*/ 15361 h 208578"/>
                  <a:gd name="connsiteX2" fmla="*/ 121383 w 413774"/>
                  <a:gd name="connsiteY2" fmla="*/ 2912 h 208578"/>
                  <a:gd name="connsiteX3" fmla="*/ 49798 w 413774"/>
                  <a:gd name="connsiteY3" fmla="*/ 37148 h 208578"/>
                  <a:gd name="connsiteX4" fmla="*/ 68472 w 413774"/>
                  <a:gd name="connsiteY4" fmla="*/ 49597 h 208578"/>
                  <a:gd name="connsiteX5" fmla="*/ 115158 w 413774"/>
                  <a:gd name="connsiteY5" fmla="*/ 55823 h 208578"/>
                  <a:gd name="connsiteX6" fmla="*/ 52910 w 413774"/>
                  <a:gd name="connsiteY6" fmla="*/ 74497 h 208578"/>
                  <a:gd name="connsiteX7" fmla="*/ 0 w 413774"/>
                  <a:gd name="connsiteY7" fmla="*/ 121183 h 208578"/>
                  <a:gd name="connsiteX8" fmla="*/ 28011 w 413774"/>
                  <a:gd name="connsiteY8" fmla="*/ 136745 h 208578"/>
                  <a:gd name="connsiteX9" fmla="*/ 28011 w 413774"/>
                  <a:gd name="connsiteY9" fmla="*/ 152307 h 208578"/>
                  <a:gd name="connsiteX10" fmla="*/ 105821 w 413774"/>
                  <a:gd name="connsiteY10" fmla="*/ 164756 h 208578"/>
                  <a:gd name="connsiteX11" fmla="*/ 161844 w 413774"/>
                  <a:gd name="connsiteY11" fmla="*/ 158531 h 208578"/>
                  <a:gd name="connsiteX12" fmla="*/ 108934 w 413774"/>
                  <a:gd name="connsiteY12" fmla="*/ 202105 h 208578"/>
                  <a:gd name="connsiteX13" fmla="*/ 164956 w 413774"/>
                  <a:gd name="connsiteY13" fmla="*/ 205217 h 208578"/>
                  <a:gd name="connsiteX14" fmla="*/ 264553 w 413774"/>
                  <a:gd name="connsiteY14" fmla="*/ 183431 h 208578"/>
                  <a:gd name="connsiteX15" fmla="*/ 364149 w 413774"/>
                  <a:gd name="connsiteY15" fmla="*/ 174093 h 208578"/>
                  <a:gd name="connsiteX16" fmla="*/ 410835 w 413774"/>
                  <a:gd name="connsiteY16" fmla="*/ 146082 h 20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13774" h="208578">
                    <a:moveTo>
                      <a:pt x="410835" y="146082"/>
                    </a:moveTo>
                    <a:cubicBezTo>
                      <a:pt x="423285" y="105621"/>
                      <a:pt x="392161" y="12249"/>
                      <a:pt x="392161" y="15361"/>
                    </a:cubicBezTo>
                    <a:cubicBezTo>
                      <a:pt x="301901" y="9137"/>
                      <a:pt x="211642" y="-6425"/>
                      <a:pt x="121383" y="2912"/>
                    </a:cubicBezTo>
                    <a:cubicBezTo>
                      <a:pt x="105821" y="2912"/>
                      <a:pt x="43573" y="6024"/>
                      <a:pt x="49798" y="37148"/>
                    </a:cubicBezTo>
                    <a:cubicBezTo>
                      <a:pt x="52910" y="46485"/>
                      <a:pt x="59135" y="46485"/>
                      <a:pt x="68472" y="49597"/>
                    </a:cubicBezTo>
                    <a:cubicBezTo>
                      <a:pt x="84034" y="52710"/>
                      <a:pt x="99596" y="55823"/>
                      <a:pt x="115158" y="55823"/>
                    </a:cubicBezTo>
                    <a:cubicBezTo>
                      <a:pt x="93372" y="62047"/>
                      <a:pt x="74697" y="68272"/>
                      <a:pt x="52910" y="74497"/>
                    </a:cubicBezTo>
                    <a:cubicBezTo>
                      <a:pt x="37348" y="80721"/>
                      <a:pt x="0" y="99396"/>
                      <a:pt x="0" y="121183"/>
                    </a:cubicBezTo>
                    <a:cubicBezTo>
                      <a:pt x="0" y="133632"/>
                      <a:pt x="12449" y="136745"/>
                      <a:pt x="28011" y="136745"/>
                    </a:cubicBezTo>
                    <a:cubicBezTo>
                      <a:pt x="21786" y="142969"/>
                      <a:pt x="21786" y="146082"/>
                      <a:pt x="28011" y="152307"/>
                    </a:cubicBezTo>
                    <a:cubicBezTo>
                      <a:pt x="40461" y="170981"/>
                      <a:pt x="87147" y="167869"/>
                      <a:pt x="105821" y="164756"/>
                    </a:cubicBezTo>
                    <a:cubicBezTo>
                      <a:pt x="124496" y="164756"/>
                      <a:pt x="143169" y="161644"/>
                      <a:pt x="161844" y="158531"/>
                    </a:cubicBezTo>
                    <a:cubicBezTo>
                      <a:pt x="130720" y="167869"/>
                      <a:pt x="93372" y="183431"/>
                      <a:pt x="108934" y="202105"/>
                    </a:cubicBezTo>
                    <a:cubicBezTo>
                      <a:pt x="118271" y="214555"/>
                      <a:pt x="152507" y="205217"/>
                      <a:pt x="164956" y="205217"/>
                    </a:cubicBezTo>
                    <a:cubicBezTo>
                      <a:pt x="199193" y="198993"/>
                      <a:pt x="230317" y="189655"/>
                      <a:pt x="264553" y="183431"/>
                    </a:cubicBezTo>
                    <a:cubicBezTo>
                      <a:pt x="298789" y="177206"/>
                      <a:pt x="329913" y="177206"/>
                      <a:pt x="364149" y="174093"/>
                    </a:cubicBezTo>
                    <a:cubicBezTo>
                      <a:pt x="395273" y="170981"/>
                      <a:pt x="401498" y="167869"/>
                      <a:pt x="410835" y="14608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E97E7756-2CDF-4ED7-A269-12090E95390B}"/>
                  </a:ext>
                </a:extLst>
              </p:cNvPr>
              <p:cNvSpPr/>
              <p:nvPr/>
            </p:nvSpPr>
            <p:spPr>
              <a:xfrm>
                <a:off x="16012089" y="10416386"/>
                <a:ext cx="189077" cy="68496"/>
              </a:xfrm>
              <a:custGeom>
                <a:avLst/>
                <a:gdLst>
                  <a:gd name="connsiteX0" fmla="*/ 64582 w 189077"/>
                  <a:gd name="connsiteY0" fmla="*/ 65385 h 68496"/>
                  <a:gd name="connsiteX1" fmla="*/ 2334 w 189077"/>
                  <a:gd name="connsiteY1" fmla="*/ 43598 h 68496"/>
                  <a:gd name="connsiteX2" fmla="*/ 2334 w 189077"/>
                  <a:gd name="connsiteY2" fmla="*/ 28036 h 68496"/>
                  <a:gd name="connsiteX3" fmla="*/ 182853 w 189077"/>
                  <a:gd name="connsiteY3" fmla="*/ 3137 h 68496"/>
                  <a:gd name="connsiteX4" fmla="*/ 189078 w 189077"/>
                  <a:gd name="connsiteY4" fmla="*/ 9361 h 68496"/>
                  <a:gd name="connsiteX5" fmla="*/ 182853 w 189077"/>
                  <a:gd name="connsiteY5" fmla="*/ 15586 h 68496"/>
                  <a:gd name="connsiteX6" fmla="*/ 182853 w 189077"/>
                  <a:gd name="connsiteY6" fmla="*/ 15586 h 68496"/>
                  <a:gd name="connsiteX7" fmla="*/ 11671 w 189077"/>
                  <a:gd name="connsiteY7" fmla="*/ 37372 h 68496"/>
                  <a:gd name="connsiteX8" fmla="*/ 11671 w 189077"/>
                  <a:gd name="connsiteY8" fmla="*/ 40485 h 68496"/>
                  <a:gd name="connsiteX9" fmla="*/ 70806 w 189077"/>
                  <a:gd name="connsiteY9" fmla="*/ 56047 h 68496"/>
                  <a:gd name="connsiteX10" fmla="*/ 161067 w 189077"/>
                  <a:gd name="connsiteY10" fmla="*/ 52934 h 68496"/>
                  <a:gd name="connsiteX11" fmla="*/ 164178 w 189077"/>
                  <a:gd name="connsiteY11" fmla="*/ 62272 h 68496"/>
                  <a:gd name="connsiteX12" fmla="*/ 154841 w 189077"/>
                  <a:gd name="connsiteY12" fmla="*/ 65385 h 68496"/>
                  <a:gd name="connsiteX13" fmla="*/ 73919 w 189077"/>
                  <a:gd name="connsiteY13" fmla="*/ 68496 h 68496"/>
                  <a:gd name="connsiteX14" fmla="*/ 64582 w 189077"/>
                  <a:gd name="connsiteY14" fmla="*/ 65385 h 6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9077" h="68496">
                    <a:moveTo>
                      <a:pt x="64582" y="65385"/>
                    </a:moveTo>
                    <a:cubicBezTo>
                      <a:pt x="45908" y="65385"/>
                      <a:pt x="14784" y="62272"/>
                      <a:pt x="2334" y="43598"/>
                    </a:cubicBezTo>
                    <a:cubicBezTo>
                      <a:pt x="-778" y="37372"/>
                      <a:pt x="-778" y="31148"/>
                      <a:pt x="2334" y="28036"/>
                    </a:cubicBezTo>
                    <a:cubicBezTo>
                      <a:pt x="17896" y="6249"/>
                      <a:pt x="95706" y="-6201"/>
                      <a:pt x="182853" y="3137"/>
                    </a:cubicBezTo>
                    <a:cubicBezTo>
                      <a:pt x="185965" y="3137"/>
                      <a:pt x="189078" y="6249"/>
                      <a:pt x="189078" y="9361"/>
                    </a:cubicBezTo>
                    <a:cubicBezTo>
                      <a:pt x="189078" y="12474"/>
                      <a:pt x="185965" y="15586"/>
                      <a:pt x="182853" y="15586"/>
                    </a:cubicBezTo>
                    <a:cubicBezTo>
                      <a:pt x="182853" y="15586"/>
                      <a:pt x="182853" y="15586"/>
                      <a:pt x="182853" y="15586"/>
                    </a:cubicBezTo>
                    <a:cubicBezTo>
                      <a:pt x="80144" y="6249"/>
                      <a:pt x="21009" y="21811"/>
                      <a:pt x="11671" y="37372"/>
                    </a:cubicBezTo>
                    <a:cubicBezTo>
                      <a:pt x="11671" y="40485"/>
                      <a:pt x="11671" y="40485"/>
                      <a:pt x="11671" y="40485"/>
                    </a:cubicBezTo>
                    <a:cubicBezTo>
                      <a:pt x="17896" y="56047"/>
                      <a:pt x="58357" y="56047"/>
                      <a:pt x="70806" y="56047"/>
                    </a:cubicBezTo>
                    <a:cubicBezTo>
                      <a:pt x="89481" y="52934"/>
                      <a:pt x="148616" y="46710"/>
                      <a:pt x="161067" y="52934"/>
                    </a:cubicBezTo>
                    <a:cubicBezTo>
                      <a:pt x="164178" y="52934"/>
                      <a:pt x="164178" y="59160"/>
                      <a:pt x="164178" y="62272"/>
                    </a:cubicBezTo>
                    <a:cubicBezTo>
                      <a:pt x="164178" y="65385"/>
                      <a:pt x="157954" y="65385"/>
                      <a:pt x="154841" y="65385"/>
                    </a:cubicBezTo>
                    <a:cubicBezTo>
                      <a:pt x="148616" y="62272"/>
                      <a:pt x="108156" y="65385"/>
                      <a:pt x="73919" y="68496"/>
                    </a:cubicBezTo>
                    <a:cubicBezTo>
                      <a:pt x="73919" y="65385"/>
                      <a:pt x="70806" y="65385"/>
                      <a:pt x="64582" y="6538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11B9DD6B-FF61-4BE8-9643-A6993A32E394}"/>
                  </a:ext>
                </a:extLst>
              </p:cNvPr>
              <p:cNvSpPr/>
              <p:nvPr/>
            </p:nvSpPr>
            <p:spPr>
              <a:xfrm>
                <a:off x="15995749" y="10515357"/>
                <a:ext cx="174294" cy="47335"/>
              </a:xfrm>
              <a:custGeom>
                <a:avLst/>
                <a:gdLst>
                  <a:gd name="connsiteX0" fmla="*/ 6225 w 174294"/>
                  <a:gd name="connsiteY0" fmla="*/ 47336 h 47335"/>
                  <a:gd name="connsiteX1" fmla="*/ 0 w 174294"/>
                  <a:gd name="connsiteY1" fmla="*/ 44224 h 47335"/>
                  <a:gd name="connsiteX2" fmla="*/ 3113 w 174294"/>
                  <a:gd name="connsiteY2" fmla="*/ 37999 h 47335"/>
                  <a:gd name="connsiteX3" fmla="*/ 168069 w 174294"/>
                  <a:gd name="connsiteY3" fmla="*/ 650 h 47335"/>
                  <a:gd name="connsiteX4" fmla="*/ 174294 w 174294"/>
                  <a:gd name="connsiteY4" fmla="*/ 6875 h 47335"/>
                  <a:gd name="connsiteX5" fmla="*/ 168069 w 174294"/>
                  <a:gd name="connsiteY5" fmla="*/ 13100 h 47335"/>
                  <a:gd name="connsiteX6" fmla="*/ 6225 w 174294"/>
                  <a:gd name="connsiteY6" fmla="*/ 47336 h 47335"/>
                  <a:gd name="connsiteX7" fmla="*/ 6225 w 174294"/>
                  <a:gd name="connsiteY7" fmla="*/ 47336 h 4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4294" h="47335">
                    <a:moveTo>
                      <a:pt x="6225" y="47336"/>
                    </a:moveTo>
                    <a:cubicBezTo>
                      <a:pt x="3113" y="47336"/>
                      <a:pt x="3113" y="47336"/>
                      <a:pt x="0" y="44224"/>
                    </a:cubicBezTo>
                    <a:cubicBezTo>
                      <a:pt x="0" y="41111"/>
                      <a:pt x="0" y="37999"/>
                      <a:pt x="3113" y="37999"/>
                    </a:cubicBezTo>
                    <a:cubicBezTo>
                      <a:pt x="9337" y="34886"/>
                      <a:pt x="130721" y="-5574"/>
                      <a:pt x="168069" y="650"/>
                    </a:cubicBezTo>
                    <a:cubicBezTo>
                      <a:pt x="171182" y="650"/>
                      <a:pt x="174294" y="3762"/>
                      <a:pt x="174294" y="6875"/>
                    </a:cubicBezTo>
                    <a:cubicBezTo>
                      <a:pt x="174294" y="9988"/>
                      <a:pt x="171182" y="13100"/>
                      <a:pt x="168069" y="13100"/>
                    </a:cubicBezTo>
                    <a:cubicBezTo>
                      <a:pt x="133832" y="3762"/>
                      <a:pt x="9337" y="47336"/>
                      <a:pt x="6225" y="47336"/>
                    </a:cubicBezTo>
                    <a:cubicBezTo>
                      <a:pt x="9337" y="47336"/>
                      <a:pt x="9337" y="47336"/>
                      <a:pt x="6225" y="4733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6B19E5B5-07EF-454D-BE1C-371A77A1A076}"/>
                  </a:ext>
                </a:extLst>
              </p:cNvPr>
              <p:cNvSpPr/>
              <p:nvPr/>
            </p:nvSpPr>
            <p:spPr>
              <a:xfrm>
                <a:off x="16129581" y="10568918"/>
                <a:ext cx="68473" cy="18674"/>
              </a:xfrm>
              <a:custGeom>
                <a:avLst/>
                <a:gdLst>
                  <a:gd name="connsiteX0" fmla="*/ 6225 w 68473"/>
                  <a:gd name="connsiteY0" fmla="*/ 18675 h 18674"/>
                  <a:gd name="connsiteX1" fmla="*/ 0 w 68473"/>
                  <a:gd name="connsiteY1" fmla="*/ 12449 h 18674"/>
                  <a:gd name="connsiteX2" fmla="*/ 6225 w 68473"/>
                  <a:gd name="connsiteY2" fmla="*/ 6225 h 18674"/>
                  <a:gd name="connsiteX3" fmla="*/ 62248 w 68473"/>
                  <a:gd name="connsiteY3" fmla="*/ 0 h 18674"/>
                  <a:gd name="connsiteX4" fmla="*/ 68473 w 68473"/>
                  <a:gd name="connsiteY4" fmla="*/ 6225 h 18674"/>
                  <a:gd name="connsiteX5" fmla="*/ 62248 w 68473"/>
                  <a:gd name="connsiteY5" fmla="*/ 12449 h 18674"/>
                  <a:gd name="connsiteX6" fmla="*/ 6225 w 68473"/>
                  <a:gd name="connsiteY6" fmla="*/ 18675 h 18674"/>
                  <a:gd name="connsiteX7" fmla="*/ 6225 w 68473"/>
                  <a:gd name="connsiteY7" fmla="*/ 18675 h 1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473" h="18674">
                    <a:moveTo>
                      <a:pt x="6225" y="18675"/>
                    </a:moveTo>
                    <a:cubicBezTo>
                      <a:pt x="3113" y="18675"/>
                      <a:pt x="0" y="15562"/>
                      <a:pt x="0" y="12449"/>
                    </a:cubicBezTo>
                    <a:cubicBezTo>
                      <a:pt x="0" y="9337"/>
                      <a:pt x="3113" y="6225"/>
                      <a:pt x="6225" y="6225"/>
                    </a:cubicBezTo>
                    <a:lnTo>
                      <a:pt x="62248" y="0"/>
                    </a:lnTo>
                    <a:cubicBezTo>
                      <a:pt x="65360" y="0"/>
                      <a:pt x="68473" y="3113"/>
                      <a:pt x="68473" y="6225"/>
                    </a:cubicBezTo>
                    <a:cubicBezTo>
                      <a:pt x="68473" y="9337"/>
                      <a:pt x="65360" y="12449"/>
                      <a:pt x="62248" y="12449"/>
                    </a:cubicBezTo>
                    <a:lnTo>
                      <a:pt x="6225" y="18675"/>
                    </a:lnTo>
                    <a:cubicBezTo>
                      <a:pt x="6225" y="18675"/>
                      <a:pt x="6225" y="18675"/>
                      <a:pt x="6225" y="1867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20929DE2-CD83-4074-ACC4-59E26A26D3F5}"/>
                  </a:ext>
                </a:extLst>
              </p:cNvPr>
              <p:cNvSpPr/>
              <p:nvPr/>
            </p:nvSpPr>
            <p:spPr>
              <a:xfrm>
                <a:off x="16222455" y="10466209"/>
                <a:ext cx="23573" cy="112045"/>
              </a:xfrm>
              <a:custGeom>
                <a:avLst/>
                <a:gdLst>
                  <a:gd name="connsiteX0" fmla="*/ 19172 w 23573"/>
                  <a:gd name="connsiteY0" fmla="*/ 112045 h 112045"/>
                  <a:gd name="connsiteX1" fmla="*/ 12948 w 23573"/>
                  <a:gd name="connsiteY1" fmla="*/ 108934 h 112045"/>
                  <a:gd name="connsiteX2" fmla="*/ 6723 w 23573"/>
                  <a:gd name="connsiteY2" fmla="*/ 3112 h 112045"/>
                  <a:gd name="connsiteX3" fmla="*/ 12948 w 23573"/>
                  <a:gd name="connsiteY3" fmla="*/ 0 h 112045"/>
                  <a:gd name="connsiteX4" fmla="*/ 16060 w 23573"/>
                  <a:gd name="connsiteY4" fmla="*/ 6224 h 112045"/>
                  <a:gd name="connsiteX5" fmla="*/ 22285 w 23573"/>
                  <a:gd name="connsiteY5" fmla="*/ 102709 h 112045"/>
                  <a:gd name="connsiteX6" fmla="*/ 19172 w 23573"/>
                  <a:gd name="connsiteY6" fmla="*/ 112045 h 112045"/>
                  <a:gd name="connsiteX7" fmla="*/ 19172 w 23573"/>
                  <a:gd name="connsiteY7" fmla="*/ 112045 h 112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573" h="112045">
                    <a:moveTo>
                      <a:pt x="19172" y="112045"/>
                    </a:moveTo>
                    <a:cubicBezTo>
                      <a:pt x="16060" y="112045"/>
                      <a:pt x="16060" y="112045"/>
                      <a:pt x="12948" y="108934"/>
                    </a:cubicBezTo>
                    <a:cubicBezTo>
                      <a:pt x="-11952" y="56023"/>
                      <a:pt x="6723" y="3112"/>
                      <a:pt x="6723" y="3112"/>
                    </a:cubicBezTo>
                    <a:cubicBezTo>
                      <a:pt x="6723" y="0"/>
                      <a:pt x="9835" y="0"/>
                      <a:pt x="12948" y="0"/>
                    </a:cubicBezTo>
                    <a:cubicBezTo>
                      <a:pt x="16060" y="0"/>
                      <a:pt x="16060" y="3112"/>
                      <a:pt x="16060" y="6224"/>
                    </a:cubicBezTo>
                    <a:cubicBezTo>
                      <a:pt x="16060" y="6224"/>
                      <a:pt x="-2614" y="56023"/>
                      <a:pt x="22285" y="102709"/>
                    </a:cubicBezTo>
                    <a:cubicBezTo>
                      <a:pt x="25397" y="105821"/>
                      <a:pt x="22285" y="108934"/>
                      <a:pt x="19172" y="112045"/>
                    </a:cubicBezTo>
                    <a:cubicBezTo>
                      <a:pt x="19172" y="112045"/>
                      <a:pt x="19172" y="112045"/>
                      <a:pt x="19172" y="11204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4" name="图形 1">
              <a:extLst>
                <a:ext uri="{FF2B5EF4-FFF2-40B4-BE49-F238E27FC236}">
                  <a16:creationId xmlns:a16="http://schemas.microsoft.com/office/drawing/2014/main" id="{E4F6655C-D41D-4D76-A3D2-379CD59BB036}"/>
                </a:ext>
              </a:extLst>
            </p:cNvPr>
            <p:cNvGrpSpPr/>
            <p:nvPr/>
          </p:nvGrpSpPr>
          <p:grpSpPr>
            <a:xfrm>
              <a:off x="12799482" y="10098169"/>
              <a:ext cx="1397545" cy="2424385"/>
              <a:chOff x="12799482" y="10098169"/>
              <a:chExt cx="1397545" cy="2424385"/>
            </a:xfrm>
          </p:grpSpPr>
          <p:grpSp>
            <p:nvGrpSpPr>
              <p:cNvPr id="85" name="图形 1">
                <a:extLst>
                  <a:ext uri="{FF2B5EF4-FFF2-40B4-BE49-F238E27FC236}">
                    <a16:creationId xmlns:a16="http://schemas.microsoft.com/office/drawing/2014/main" id="{99CABFD7-4346-43C3-84E4-334519951731}"/>
                  </a:ext>
                </a:extLst>
              </p:cNvPr>
              <p:cNvGrpSpPr/>
              <p:nvPr/>
            </p:nvGrpSpPr>
            <p:grpSpPr>
              <a:xfrm>
                <a:off x="12822665" y="10098169"/>
                <a:ext cx="1374361" cy="1136800"/>
                <a:chOff x="12822665" y="10098169"/>
                <a:chExt cx="1374361" cy="1136800"/>
              </a:xfrm>
              <a:solidFill>
                <a:srgbClr val="F1DDBB"/>
              </a:solidFill>
            </p:grpSpPr>
            <p:sp>
              <p:nvSpPr>
                <p:cNvPr id="102" name="任意多边形: 形状 101">
                  <a:extLst>
                    <a:ext uri="{FF2B5EF4-FFF2-40B4-BE49-F238E27FC236}">
                      <a16:creationId xmlns:a16="http://schemas.microsoft.com/office/drawing/2014/main" id="{7980D727-7296-4DFD-8A85-C2ED35BF8587}"/>
                    </a:ext>
                  </a:extLst>
                </p:cNvPr>
                <p:cNvSpPr/>
                <p:nvPr/>
              </p:nvSpPr>
              <p:spPr>
                <a:xfrm>
                  <a:off x="13055772" y="10965099"/>
                  <a:ext cx="42340" cy="75346"/>
                </a:xfrm>
                <a:custGeom>
                  <a:avLst/>
                  <a:gdLst>
                    <a:gd name="connsiteX0" fmla="*/ 29891 w 42340"/>
                    <a:gd name="connsiteY0" fmla="*/ 8430 h 75346"/>
                    <a:gd name="connsiteX1" fmla="*/ 1879 w 42340"/>
                    <a:gd name="connsiteY1" fmla="*/ 23992 h 75346"/>
                    <a:gd name="connsiteX2" fmla="*/ 11216 w 42340"/>
                    <a:gd name="connsiteY2" fmla="*/ 61341 h 75346"/>
                    <a:gd name="connsiteX3" fmla="*/ 42340 w 42340"/>
                    <a:gd name="connsiteY3" fmla="*/ 61341 h 75346"/>
                    <a:gd name="connsiteX4" fmla="*/ 29891 w 42340"/>
                    <a:gd name="connsiteY4" fmla="*/ 8430 h 75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340" h="75346">
                      <a:moveTo>
                        <a:pt x="29891" y="8430"/>
                      </a:moveTo>
                      <a:cubicBezTo>
                        <a:pt x="20554" y="-10244"/>
                        <a:pt x="-7458" y="5317"/>
                        <a:pt x="1879" y="23992"/>
                      </a:cubicBezTo>
                      <a:cubicBezTo>
                        <a:pt x="8104" y="36441"/>
                        <a:pt x="11216" y="48891"/>
                        <a:pt x="11216" y="61341"/>
                      </a:cubicBezTo>
                      <a:cubicBezTo>
                        <a:pt x="11216" y="80015"/>
                        <a:pt x="42340" y="80015"/>
                        <a:pt x="42340" y="61341"/>
                      </a:cubicBezTo>
                      <a:cubicBezTo>
                        <a:pt x="42340" y="42667"/>
                        <a:pt x="36116" y="23992"/>
                        <a:pt x="29891" y="8430"/>
                      </a:cubicBezTo>
                      <a:close/>
                    </a:path>
                  </a:pathLst>
                </a:custGeom>
                <a:solidFill>
                  <a:srgbClr val="F1DDB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3" name="任意多边形: 形状 102">
                  <a:extLst>
                    <a:ext uri="{FF2B5EF4-FFF2-40B4-BE49-F238E27FC236}">
                      <a16:creationId xmlns:a16="http://schemas.microsoft.com/office/drawing/2014/main" id="{668A5607-8EB8-4225-B9FC-E3038B7E61FA}"/>
                    </a:ext>
                  </a:extLst>
                </p:cNvPr>
                <p:cNvSpPr/>
                <p:nvPr/>
              </p:nvSpPr>
              <p:spPr>
                <a:xfrm>
                  <a:off x="13331323" y="10524739"/>
                  <a:ext cx="63043" cy="86195"/>
                </a:xfrm>
                <a:custGeom>
                  <a:avLst/>
                  <a:gdLst>
                    <a:gd name="connsiteX0" fmla="*/ 34455 w 63043"/>
                    <a:gd name="connsiteY0" fmla="*/ 3718 h 86195"/>
                    <a:gd name="connsiteX1" fmla="*/ 218 w 63043"/>
                    <a:gd name="connsiteY1" fmla="*/ 72190 h 86195"/>
                    <a:gd name="connsiteX2" fmla="*/ 31342 w 63043"/>
                    <a:gd name="connsiteY2" fmla="*/ 72190 h 86195"/>
                    <a:gd name="connsiteX3" fmla="*/ 59354 w 63043"/>
                    <a:gd name="connsiteY3" fmla="*/ 25504 h 86195"/>
                    <a:gd name="connsiteX4" fmla="*/ 34455 w 63043"/>
                    <a:gd name="connsiteY4" fmla="*/ 3718 h 86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3043" h="86195">
                      <a:moveTo>
                        <a:pt x="34455" y="3718"/>
                      </a:moveTo>
                      <a:cubicBezTo>
                        <a:pt x="12668" y="19280"/>
                        <a:pt x="218" y="44178"/>
                        <a:pt x="218" y="72190"/>
                      </a:cubicBezTo>
                      <a:cubicBezTo>
                        <a:pt x="-2894" y="90864"/>
                        <a:pt x="28230" y="90864"/>
                        <a:pt x="31342" y="72190"/>
                      </a:cubicBezTo>
                      <a:cubicBezTo>
                        <a:pt x="34455" y="53515"/>
                        <a:pt x="43792" y="37953"/>
                        <a:pt x="59354" y="25504"/>
                      </a:cubicBezTo>
                      <a:cubicBezTo>
                        <a:pt x="71804" y="13054"/>
                        <a:pt x="50017" y="-8733"/>
                        <a:pt x="34455" y="3718"/>
                      </a:cubicBezTo>
                      <a:close/>
                    </a:path>
                  </a:pathLst>
                </a:custGeom>
                <a:solidFill>
                  <a:srgbClr val="F1DDB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4" name="任意多边形: 形状 103">
                  <a:extLst>
                    <a:ext uri="{FF2B5EF4-FFF2-40B4-BE49-F238E27FC236}">
                      <a16:creationId xmlns:a16="http://schemas.microsoft.com/office/drawing/2014/main" id="{78146CEF-1CAE-47D3-9D00-4BD739E94F7D}"/>
                    </a:ext>
                  </a:extLst>
                </p:cNvPr>
                <p:cNvSpPr/>
                <p:nvPr/>
              </p:nvSpPr>
              <p:spPr>
                <a:xfrm>
                  <a:off x="13645074" y="10835741"/>
                  <a:ext cx="45210" cy="65685"/>
                </a:xfrm>
                <a:custGeom>
                  <a:avLst/>
                  <a:gdLst>
                    <a:gd name="connsiteX0" fmla="*/ 44392 w 45210"/>
                    <a:gd name="connsiteY0" fmla="*/ 47528 h 65685"/>
                    <a:gd name="connsiteX1" fmla="*/ 31943 w 45210"/>
                    <a:gd name="connsiteY1" fmla="*/ 10179 h 65685"/>
                    <a:gd name="connsiteX2" fmla="*/ 819 w 45210"/>
                    <a:gd name="connsiteY2" fmla="*/ 19517 h 65685"/>
                    <a:gd name="connsiteX3" fmla="*/ 13268 w 45210"/>
                    <a:gd name="connsiteY3" fmla="*/ 56865 h 65685"/>
                    <a:gd name="connsiteX4" fmla="*/ 44392 w 45210"/>
                    <a:gd name="connsiteY4" fmla="*/ 47528 h 65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210" h="65685">
                      <a:moveTo>
                        <a:pt x="44392" y="47528"/>
                      </a:moveTo>
                      <a:cubicBezTo>
                        <a:pt x="41279" y="35079"/>
                        <a:pt x="38168" y="22628"/>
                        <a:pt x="31943" y="10179"/>
                      </a:cubicBezTo>
                      <a:cubicBezTo>
                        <a:pt x="25717" y="-8495"/>
                        <a:pt x="-5407" y="842"/>
                        <a:pt x="819" y="19517"/>
                      </a:cubicBezTo>
                      <a:lnTo>
                        <a:pt x="13268" y="56865"/>
                      </a:lnTo>
                      <a:cubicBezTo>
                        <a:pt x="19493" y="72427"/>
                        <a:pt x="50617" y="66203"/>
                        <a:pt x="44392" y="47528"/>
                      </a:cubicBezTo>
                      <a:close/>
                    </a:path>
                  </a:pathLst>
                </a:custGeom>
                <a:solidFill>
                  <a:srgbClr val="F1DDB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5" name="任意多边形: 形状 104">
                  <a:extLst>
                    <a:ext uri="{FF2B5EF4-FFF2-40B4-BE49-F238E27FC236}">
                      <a16:creationId xmlns:a16="http://schemas.microsoft.com/office/drawing/2014/main" id="{318C4F01-A352-4DAB-B233-A78B8BACB68A}"/>
                    </a:ext>
                  </a:extLst>
                </p:cNvPr>
                <p:cNvSpPr/>
                <p:nvPr/>
              </p:nvSpPr>
              <p:spPr>
                <a:xfrm>
                  <a:off x="13849070" y="10227818"/>
                  <a:ext cx="57393" cy="57001"/>
                </a:xfrm>
                <a:custGeom>
                  <a:avLst/>
                  <a:gdLst>
                    <a:gd name="connsiteX0" fmla="*/ 52040 w 57393"/>
                    <a:gd name="connsiteY0" fmla="*/ 29861 h 57001"/>
                    <a:gd name="connsiteX1" fmla="*/ 27140 w 57393"/>
                    <a:gd name="connsiteY1" fmla="*/ 4962 h 57001"/>
                    <a:gd name="connsiteX2" fmla="*/ 5354 w 57393"/>
                    <a:gd name="connsiteY2" fmla="*/ 26748 h 57001"/>
                    <a:gd name="connsiteX3" fmla="*/ 30253 w 57393"/>
                    <a:gd name="connsiteY3" fmla="*/ 51648 h 57001"/>
                    <a:gd name="connsiteX4" fmla="*/ 52040 w 57393"/>
                    <a:gd name="connsiteY4" fmla="*/ 29861 h 570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7393" h="57001">
                      <a:moveTo>
                        <a:pt x="52040" y="29861"/>
                      </a:moveTo>
                      <a:lnTo>
                        <a:pt x="27140" y="4962"/>
                      </a:lnTo>
                      <a:cubicBezTo>
                        <a:pt x="11578" y="-10600"/>
                        <a:pt x="-10208" y="14299"/>
                        <a:pt x="5354" y="26748"/>
                      </a:cubicBezTo>
                      <a:cubicBezTo>
                        <a:pt x="14691" y="36086"/>
                        <a:pt x="24027" y="45423"/>
                        <a:pt x="30253" y="51648"/>
                      </a:cubicBezTo>
                      <a:cubicBezTo>
                        <a:pt x="45814" y="67210"/>
                        <a:pt x="67602" y="45423"/>
                        <a:pt x="52040" y="29861"/>
                      </a:cubicBezTo>
                      <a:close/>
                    </a:path>
                  </a:pathLst>
                </a:custGeom>
                <a:solidFill>
                  <a:srgbClr val="F1DDB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6" name="任意多边形: 形状 105">
                  <a:extLst>
                    <a:ext uri="{FF2B5EF4-FFF2-40B4-BE49-F238E27FC236}">
                      <a16:creationId xmlns:a16="http://schemas.microsoft.com/office/drawing/2014/main" id="{0859B4EA-B91F-4F97-8850-660299966839}"/>
                    </a:ext>
                  </a:extLst>
                </p:cNvPr>
                <p:cNvSpPr/>
                <p:nvPr/>
              </p:nvSpPr>
              <p:spPr>
                <a:xfrm>
                  <a:off x="14159197" y="10897111"/>
                  <a:ext cx="37830" cy="52360"/>
                </a:xfrm>
                <a:custGeom>
                  <a:avLst/>
                  <a:gdLst>
                    <a:gd name="connsiteX0" fmla="*/ 37590 w 37830"/>
                    <a:gd name="connsiteY0" fmla="*/ 32845 h 52360"/>
                    <a:gd name="connsiteX1" fmla="*/ 31364 w 37830"/>
                    <a:gd name="connsiteY1" fmla="*/ 11057 h 52360"/>
                    <a:gd name="connsiteX2" fmla="*/ 241 w 37830"/>
                    <a:gd name="connsiteY2" fmla="*/ 20395 h 52360"/>
                    <a:gd name="connsiteX3" fmla="*/ 6466 w 37830"/>
                    <a:gd name="connsiteY3" fmla="*/ 42181 h 52360"/>
                    <a:gd name="connsiteX4" fmla="*/ 37590 w 37830"/>
                    <a:gd name="connsiteY4" fmla="*/ 32845 h 523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830" h="52360">
                      <a:moveTo>
                        <a:pt x="37590" y="32845"/>
                      </a:moveTo>
                      <a:cubicBezTo>
                        <a:pt x="34477" y="26619"/>
                        <a:pt x="34477" y="20395"/>
                        <a:pt x="31364" y="11057"/>
                      </a:cubicBezTo>
                      <a:cubicBezTo>
                        <a:pt x="25139" y="-7617"/>
                        <a:pt x="-2872" y="-1392"/>
                        <a:pt x="241" y="20395"/>
                      </a:cubicBezTo>
                      <a:lnTo>
                        <a:pt x="6466" y="42181"/>
                      </a:lnTo>
                      <a:cubicBezTo>
                        <a:pt x="12690" y="60856"/>
                        <a:pt x="40701" y="51519"/>
                        <a:pt x="37590" y="32845"/>
                      </a:cubicBezTo>
                      <a:close/>
                    </a:path>
                  </a:pathLst>
                </a:custGeom>
                <a:solidFill>
                  <a:srgbClr val="F1DDB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7" name="任意多边形: 形状 106">
                  <a:extLst>
                    <a:ext uri="{FF2B5EF4-FFF2-40B4-BE49-F238E27FC236}">
                      <a16:creationId xmlns:a16="http://schemas.microsoft.com/office/drawing/2014/main" id="{0E637885-D88D-4F94-8FA0-CEFB0E0323CE}"/>
                    </a:ext>
                  </a:extLst>
                </p:cNvPr>
                <p:cNvSpPr/>
                <p:nvPr/>
              </p:nvSpPr>
              <p:spPr>
                <a:xfrm>
                  <a:off x="12967151" y="10534460"/>
                  <a:ext cx="53157" cy="75760"/>
                </a:xfrm>
                <a:custGeom>
                  <a:avLst/>
                  <a:gdLst>
                    <a:gd name="connsiteX0" fmla="*/ 22027 w 53157"/>
                    <a:gd name="connsiteY0" fmla="*/ 6446 h 75760"/>
                    <a:gd name="connsiteX1" fmla="*/ 241 w 53157"/>
                    <a:gd name="connsiteY1" fmla="*/ 56244 h 75760"/>
                    <a:gd name="connsiteX2" fmla="*/ 31364 w 53157"/>
                    <a:gd name="connsiteY2" fmla="*/ 65581 h 75760"/>
                    <a:gd name="connsiteX3" fmla="*/ 50038 w 53157"/>
                    <a:gd name="connsiteY3" fmla="*/ 22008 h 75760"/>
                    <a:gd name="connsiteX4" fmla="*/ 22027 w 53157"/>
                    <a:gd name="connsiteY4" fmla="*/ 6446 h 75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157" h="75760">
                      <a:moveTo>
                        <a:pt x="22027" y="6446"/>
                      </a:moveTo>
                      <a:cubicBezTo>
                        <a:pt x="9577" y="22008"/>
                        <a:pt x="3352" y="37570"/>
                        <a:pt x="241" y="56244"/>
                      </a:cubicBezTo>
                      <a:cubicBezTo>
                        <a:pt x="-2872" y="74918"/>
                        <a:pt x="25139" y="84256"/>
                        <a:pt x="31364" y="65581"/>
                      </a:cubicBezTo>
                      <a:cubicBezTo>
                        <a:pt x="34476" y="50019"/>
                        <a:pt x="40701" y="34457"/>
                        <a:pt x="50038" y="22008"/>
                      </a:cubicBezTo>
                      <a:cubicBezTo>
                        <a:pt x="62488" y="6446"/>
                        <a:pt x="34476" y="-9116"/>
                        <a:pt x="22027" y="6446"/>
                      </a:cubicBezTo>
                      <a:close/>
                    </a:path>
                  </a:pathLst>
                </a:custGeom>
                <a:solidFill>
                  <a:srgbClr val="F1DDB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8" name="任意多边形: 形状 107">
                  <a:extLst>
                    <a:ext uri="{FF2B5EF4-FFF2-40B4-BE49-F238E27FC236}">
                      <a16:creationId xmlns:a16="http://schemas.microsoft.com/office/drawing/2014/main" id="{295DA7D1-7AB3-4576-A07E-82AE9E92FFF1}"/>
                    </a:ext>
                  </a:extLst>
                </p:cNvPr>
                <p:cNvSpPr/>
                <p:nvPr/>
              </p:nvSpPr>
              <p:spPr>
                <a:xfrm>
                  <a:off x="13220366" y="10937443"/>
                  <a:ext cx="37082" cy="37935"/>
                </a:xfrm>
                <a:custGeom>
                  <a:avLst/>
                  <a:gdLst>
                    <a:gd name="connsiteX0" fmla="*/ 33365 w 37082"/>
                    <a:gd name="connsiteY0" fmla="*/ 11187 h 37935"/>
                    <a:gd name="connsiteX1" fmla="*/ 27141 w 37082"/>
                    <a:gd name="connsiteY1" fmla="*/ 4962 h 37935"/>
                    <a:gd name="connsiteX2" fmla="*/ 5354 w 37082"/>
                    <a:gd name="connsiteY2" fmla="*/ 26749 h 37935"/>
                    <a:gd name="connsiteX3" fmla="*/ 11579 w 37082"/>
                    <a:gd name="connsiteY3" fmla="*/ 32973 h 37935"/>
                    <a:gd name="connsiteX4" fmla="*/ 33365 w 37082"/>
                    <a:gd name="connsiteY4" fmla="*/ 11187 h 37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082" h="37935">
                      <a:moveTo>
                        <a:pt x="33365" y="11187"/>
                      </a:moveTo>
                      <a:cubicBezTo>
                        <a:pt x="30252" y="8075"/>
                        <a:pt x="30252" y="8075"/>
                        <a:pt x="27141" y="4962"/>
                      </a:cubicBezTo>
                      <a:cubicBezTo>
                        <a:pt x="11579" y="-10600"/>
                        <a:pt x="-10208" y="14299"/>
                        <a:pt x="5354" y="26749"/>
                      </a:cubicBezTo>
                      <a:cubicBezTo>
                        <a:pt x="8466" y="29861"/>
                        <a:pt x="8466" y="29861"/>
                        <a:pt x="11579" y="32973"/>
                      </a:cubicBezTo>
                      <a:cubicBezTo>
                        <a:pt x="24028" y="48535"/>
                        <a:pt x="45814" y="23637"/>
                        <a:pt x="33365" y="11187"/>
                      </a:cubicBezTo>
                      <a:close/>
                    </a:path>
                  </a:pathLst>
                </a:custGeom>
                <a:solidFill>
                  <a:srgbClr val="F1DDB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9" name="任意多边形: 形状 108">
                  <a:extLst>
                    <a:ext uri="{FF2B5EF4-FFF2-40B4-BE49-F238E27FC236}">
                      <a16:creationId xmlns:a16="http://schemas.microsoft.com/office/drawing/2014/main" id="{B8565E6A-846C-4828-B417-D87DD2CE6BFB}"/>
                    </a:ext>
                  </a:extLst>
                </p:cNvPr>
                <p:cNvSpPr/>
                <p:nvPr/>
              </p:nvSpPr>
              <p:spPr>
                <a:xfrm>
                  <a:off x="13263069" y="10098169"/>
                  <a:ext cx="31123" cy="36570"/>
                </a:xfrm>
                <a:custGeom>
                  <a:avLst/>
                  <a:gdLst>
                    <a:gd name="connsiteX0" fmla="*/ 0 w 31123"/>
                    <a:gd name="connsiteY0" fmla="*/ 16340 h 36570"/>
                    <a:gd name="connsiteX1" fmla="*/ 0 w 31123"/>
                    <a:gd name="connsiteY1" fmla="*/ 22565 h 36570"/>
                    <a:gd name="connsiteX2" fmla="*/ 31124 w 31123"/>
                    <a:gd name="connsiteY2" fmla="*/ 22565 h 36570"/>
                    <a:gd name="connsiteX3" fmla="*/ 31124 w 31123"/>
                    <a:gd name="connsiteY3" fmla="*/ 16340 h 36570"/>
                    <a:gd name="connsiteX4" fmla="*/ 0 w 31123"/>
                    <a:gd name="connsiteY4" fmla="*/ 16340 h 365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123" h="36570">
                      <a:moveTo>
                        <a:pt x="0" y="16340"/>
                      </a:moveTo>
                      <a:lnTo>
                        <a:pt x="0" y="22565"/>
                      </a:lnTo>
                      <a:cubicBezTo>
                        <a:pt x="0" y="41239"/>
                        <a:pt x="31124" y="41239"/>
                        <a:pt x="31124" y="22565"/>
                      </a:cubicBezTo>
                      <a:lnTo>
                        <a:pt x="31124" y="16340"/>
                      </a:lnTo>
                      <a:cubicBezTo>
                        <a:pt x="31124" y="-5447"/>
                        <a:pt x="0" y="-5447"/>
                        <a:pt x="0" y="16340"/>
                      </a:cubicBezTo>
                      <a:close/>
                    </a:path>
                  </a:pathLst>
                </a:custGeom>
                <a:solidFill>
                  <a:srgbClr val="F1DDB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" name="任意多边形: 形状 109">
                  <a:extLst>
                    <a:ext uri="{FF2B5EF4-FFF2-40B4-BE49-F238E27FC236}">
                      <a16:creationId xmlns:a16="http://schemas.microsoft.com/office/drawing/2014/main" id="{DF5087CF-D2F8-4550-A505-EBBBF273D5A8}"/>
                    </a:ext>
                  </a:extLst>
                </p:cNvPr>
                <p:cNvSpPr/>
                <p:nvPr/>
              </p:nvSpPr>
              <p:spPr>
                <a:xfrm>
                  <a:off x="13778170" y="10568918"/>
                  <a:ext cx="28011" cy="31123"/>
                </a:xfrm>
                <a:custGeom>
                  <a:avLst/>
                  <a:gdLst>
                    <a:gd name="connsiteX0" fmla="*/ 14006 w 28011"/>
                    <a:gd name="connsiteY0" fmla="*/ 0 h 31123"/>
                    <a:gd name="connsiteX1" fmla="*/ 14006 w 28011"/>
                    <a:gd name="connsiteY1" fmla="*/ 31124 h 31123"/>
                    <a:gd name="connsiteX2" fmla="*/ 14006 w 28011"/>
                    <a:gd name="connsiteY2" fmla="*/ 0 h 311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8011" h="31123">
                      <a:moveTo>
                        <a:pt x="14006" y="0"/>
                      </a:moveTo>
                      <a:cubicBezTo>
                        <a:pt x="-4669" y="0"/>
                        <a:pt x="-4669" y="31124"/>
                        <a:pt x="14006" y="31124"/>
                      </a:cubicBezTo>
                      <a:cubicBezTo>
                        <a:pt x="32679" y="31124"/>
                        <a:pt x="32679" y="0"/>
                        <a:pt x="14006" y="0"/>
                      </a:cubicBezTo>
                      <a:close/>
                    </a:path>
                  </a:pathLst>
                </a:custGeom>
                <a:solidFill>
                  <a:srgbClr val="F1DDB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" name="任意多边形: 形状 110">
                  <a:extLst>
                    <a:ext uri="{FF2B5EF4-FFF2-40B4-BE49-F238E27FC236}">
                      <a16:creationId xmlns:a16="http://schemas.microsoft.com/office/drawing/2014/main" id="{D60B24D6-2C6F-4CF3-B656-542F6951D167}"/>
                    </a:ext>
                  </a:extLst>
                </p:cNvPr>
                <p:cNvSpPr/>
                <p:nvPr/>
              </p:nvSpPr>
              <p:spPr>
                <a:xfrm>
                  <a:off x="13476267" y="10761886"/>
                  <a:ext cx="30346" cy="31123"/>
                </a:xfrm>
                <a:custGeom>
                  <a:avLst/>
                  <a:gdLst>
                    <a:gd name="connsiteX0" fmla="*/ 14006 w 30346"/>
                    <a:gd name="connsiteY0" fmla="*/ 0 h 31123"/>
                    <a:gd name="connsiteX1" fmla="*/ 14006 w 30346"/>
                    <a:gd name="connsiteY1" fmla="*/ 31124 h 31123"/>
                    <a:gd name="connsiteX2" fmla="*/ 14006 w 30346"/>
                    <a:gd name="connsiteY2" fmla="*/ 0 h 311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0346" h="31123">
                      <a:moveTo>
                        <a:pt x="14006" y="0"/>
                      </a:moveTo>
                      <a:cubicBezTo>
                        <a:pt x="-4669" y="0"/>
                        <a:pt x="-4669" y="31124"/>
                        <a:pt x="14006" y="31124"/>
                      </a:cubicBezTo>
                      <a:cubicBezTo>
                        <a:pt x="35793" y="31124"/>
                        <a:pt x="35793" y="0"/>
                        <a:pt x="14006" y="0"/>
                      </a:cubicBezTo>
                      <a:close/>
                    </a:path>
                  </a:pathLst>
                </a:custGeom>
                <a:solidFill>
                  <a:srgbClr val="F1DDB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96951F57-C0D1-4321-BE21-4A6E43A969D2}"/>
                    </a:ext>
                  </a:extLst>
                </p:cNvPr>
                <p:cNvSpPr/>
                <p:nvPr/>
              </p:nvSpPr>
              <p:spPr>
                <a:xfrm>
                  <a:off x="13700360" y="11203845"/>
                  <a:ext cx="28011" cy="31123"/>
                </a:xfrm>
                <a:custGeom>
                  <a:avLst/>
                  <a:gdLst>
                    <a:gd name="connsiteX0" fmla="*/ 14006 w 28011"/>
                    <a:gd name="connsiteY0" fmla="*/ 0 h 31123"/>
                    <a:gd name="connsiteX1" fmla="*/ 14006 w 28011"/>
                    <a:gd name="connsiteY1" fmla="*/ 31124 h 31123"/>
                    <a:gd name="connsiteX2" fmla="*/ 14006 w 28011"/>
                    <a:gd name="connsiteY2" fmla="*/ 0 h 311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8011" h="31123">
                      <a:moveTo>
                        <a:pt x="14006" y="0"/>
                      </a:moveTo>
                      <a:cubicBezTo>
                        <a:pt x="-4669" y="0"/>
                        <a:pt x="-4669" y="31124"/>
                        <a:pt x="14006" y="31124"/>
                      </a:cubicBezTo>
                      <a:cubicBezTo>
                        <a:pt x="32679" y="31124"/>
                        <a:pt x="32679" y="0"/>
                        <a:pt x="14006" y="0"/>
                      </a:cubicBezTo>
                      <a:close/>
                    </a:path>
                  </a:pathLst>
                </a:custGeom>
                <a:solidFill>
                  <a:srgbClr val="F1DDB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" name="任意多边形: 形状 112">
                  <a:extLst>
                    <a:ext uri="{FF2B5EF4-FFF2-40B4-BE49-F238E27FC236}">
                      <a16:creationId xmlns:a16="http://schemas.microsoft.com/office/drawing/2014/main" id="{98CAF96A-C5EB-4542-B6AF-FD2B2892FB47}"/>
                    </a:ext>
                  </a:extLst>
                </p:cNvPr>
                <p:cNvSpPr/>
                <p:nvPr/>
              </p:nvSpPr>
              <p:spPr>
                <a:xfrm>
                  <a:off x="12822665" y="11088688"/>
                  <a:ext cx="30346" cy="31123"/>
                </a:xfrm>
                <a:custGeom>
                  <a:avLst/>
                  <a:gdLst>
                    <a:gd name="connsiteX0" fmla="*/ 14006 w 30346"/>
                    <a:gd name="connsiteY0" fmla="*/ 0 h 31123"/>
                    <a:gd name="connsiteX1" fmla="*/ 14006 w 30346"/>
                    <a:gd name="connsiteY1" fmla="*/ 31124 h 31123"/>
                    <a:gd name="connsiteX2" fmla="*/ 14006 w 30346"/>
                    <a:gd name="connsiteY2" fmla="*/ 0 h 311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0346" h="31123">
                      <a:moveTo>
                        <a:pt x="14006" y="0"/>
                      </a:moveTo>
                      <a:cubicBezTo>
                        <a:pt x="-4669" y="0"/>
                        <a:pt x="-4669" y="31124"/>
                        <a:pt x="14006" y="31124"/>
                      </a:cubicBezTo>
                      <a:cubicBezTo>
                        <a:pt x="35793" y="31124"/>
                        <a:pt x="35793" y="0"/>
                        <a:pt x="14006" y="0"/>
                      </a:cubicBezTo>
                      <a:close/>
                    </a:path>
                  </a:pathLst>
                </a:custGeom>
                <a:solidFill>
                  <a:srgbClr val="F1DDB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86" name="图形 1">
                <a:extLst>
                  <a:ext uri="{FF2B5EF4-FFF2-40B4-BE49-F238E27FC236}">
                    <a16:creationId xmlns:a16="http://schemas.microsoft.com/office/drawing/2014/main" id="{FE7C50AC-8CB6-4827-9ACC-77FBF0C4097D}"/>
                  </a:ext>
                </a:extLst>
              </p:cNvPr>
              <p:cNvGrpSpPr/>
              <p:nvPr/>
            </p:nvGrpSpPr>
            <p:grpSpPr>
              <a:xfrm>
                <a:off x="12799482" y="11026440"/>
                <a:ext cx="1294595" cy="1496114"/>
                <a:chOff x="12799482" y="11026440"/>
                <a:chExt cx="1294595" cy="1496114"/>
              </a:xfrm>
            </p:grpSpPr>
            <p:sp>
              <p:nvSpPr>
                <p:cNvPr id="87" name="任意多边形: 形状 86">
                  <a:extLst>
                    <a:ext uri="{FF2B5EF4-FFF2-40B4-BE49-F238E27FC236}">
                      <a16:creationId xmlns:a16="http://schemas.microsoft.com/office/drawing/2014/main" id="{5EACCE42-C794-463A-9FFB-A276A9A8B128}"/>
                    </a:ext>
                  </a:extLst>
                </p:cNvPr>
                <p:cNvSpPr/>
                <p:nvPr/>
              </p:nvSpPr>
              <p:spPr>
                <a:xfrm>
                  <a:off x="12799482" y="11421713"/>
                  <a:ext cx="374365" cy="949279"/>
                </a:xfrm>
                <a:custGeom>
                  <a:avLst/>
                  <a:gdLst>
                    <a:gd name="connsiteX0" fmla="*/ 68313 w 374365"/>
                    <a:gd name="connsiteY0" fmla="*/ 949280 h 949279"/>
                    <a:gd name="connsiteX1" fmla="*/ 24740 w 374365"/>
                    <a:gd name="connsiteY1" fmla="*/ 510432 h 949279"/>
                    <a:gd name="connsiteX2" fmla="*/ 136786 w 374365"/>
                    <a:gd name="connsiteY2" fmla="*/ 0 h 949279"/>
                    <a:gd name="connsiteX3" fmla="*/ 370215 w 374365"/>
                    <a:gd name="connsiteY3" fmla="*/ 357925 h 949279"/>
                    <a:gd name="connsiteX4" fmla="*/ 370215 w 374365"/>
                    <a:gd name="connsiteY4" fmla="*/ 949280 h 949279"/>
                    <a:gd name="connsiteX5" fmla="*/ 68313 w 374365"/>
                    <a:gd name="connsiteY5" fmla="*/ 949280 h 9492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74365" h="949279">
                      <a:moveTo>
                        <a:pt x="68313" y="949280"/>
                      </a:moveTo>
                      <a:cubicBezTo>
                        <a:pt x="68313" y="949280"/>
                        <a:pt x="-49957" y="712738"/>
                        <a:pt x="24740" y="510432"/>
                      </a:cubicBezTo>
                      <a:cubicBezTo>
                        <a:pt x="96324" y="308127"/>
                        <a:pt x="214596" y="105821"/>
                        <a:pt x="136786" y="0"/>
                      </a:cubicBezTo>
                      <a:cubicBezTo>
                        <a:pt x="136786" y="0"/>
                        <a:pt x="360878" y="202305"/>
                        <a:pt x="370215" y="357925"/>
                      </a:cubicBezTo>
                      <a:cubicBezTo>
                        <a:pt x="379552" y="513545"/>
                        <a:pt x="370215" y="949280"/>
                        <a:pt x="370215" y="949280"/>
                      </a:cubicBezTo>
                      <a:lnTo>
                        <a:pt x="68313" y="949280"/>
                      </a:lnTo>
                      <a:close/>
                    </a:path>
                  </a:pathLst>
                </a:custGeom>
                <a:solidFill>
                  <a:srgbClr val="F1DDB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8" name="任意多边形: 形状 87">
                  <a:extLst>
                    <a:ext uri="{FF2B5EF4-FFF2-40B4-BE49-F238E27FC236}">
                      <a16:creationId xmlns:a16="http://schemas.microsoft.com/office/drawing/2014/main" id="{71E763D6-9EC9-4812-A573-4666A21D9A72}"/>
                    </a:ext>
                  </a:extLst>
                </p:cNvPr>
                <p:cNvSpPr/>
                <p:nvPr/>
              </p:nvSpPr>
              <p:spPr>
                <a:xfrm>
                  <a:off x="12885080" y="11645806"/>
                  <a:ext cx="229132" cy="725186"/>
                </a:xfrm>
                <a:custGeom>
                  <a:avLst/>
                  <a:gdLst>
                    <a:gd name="connsiteX0" fmla="*/ 35626 w 229132"/>
                    <a:gd name="connsiteY0" fmla="*/ 725187 h 725186"/>
                    <a:gd name="connsiteX1" fmla="*/ 20064 w 229132"/>
                    <a:gd name="connsiteY1" fmla="*/ 432622 h 725186"/>
                    <a:gd name="connsiteX2" fmla="*/ 119660 w 229132"/>
                    <a:gd name="connsiteY2" fmla="*/ 0 h 725186"/>
                    <a:gd name="connsiteX3" fmla="*/ 228594 w 229132"/>
                    <a:gd name="connsiteY3" fmla="*/ 289452 h 725186"/>
                    <a:gd name="connsiteX4" fmla="*/ 185020 w 229132"/>
                    <a:gd name="connsiteY4" fmla="*/ 725187 h 725186"/>
                    <a:gd name="connsiteX5" fmla="*/ 35626 w 229132"/>
                    <a:gd name="connsiteY5" fmla="*/ 725187 h 725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9132" h="725186">
                      <a:moveTo>
                        <a:pt x="35626" y="725187"/>
                      </a:moveTo>
                      <a:cubicBezTo>
                        <a:pt x="35626" y="725187"/>
                        <a:pt x="-32847" y="575793"/>
                        <a:pt x="20064" y="432622"/>
                      </a:cubicBezTo>
                      <a:cubicBezTo>
                        <a:pt x="72974" y="289452"/>
                        <a:pt x="119660" y="118271"/>
                        <a:pt x="119660" y="0"/>
                      </a:cubicBezTo>
                      <a:cubicBezTo>
                        <a:pt x="119660" y="0"/>
                        <a:pt x="222369" y="177406"/>
                        <a:pt x="228594" y="289452"/>
                      </a:cubicBezTo>
                      <a:cubicBezTo>
                        <a:pt x="234819" y="398386"/>
                        <a:pt x="185020" y="725187"/>
                        <a:pt x="185020" y="725187"/>
                      </a:cubicBezTo>
                      <a:lnTo>
                        <a:pt x="35626" y="725187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9" name="任意多边形: 形状 88">
                  <a:extLst>
                    <a:ext uri="{FF2B5EF4-FFF2-40B4-BE49-F238E27FC236}">
                      <a16:creationId xmlns:a16="http://schemas.microsoft.com/office/drawing/2014/main" id="{5577FDB9-1DB6-4DCA-BFE6-60837D02BD57}"/>
                    </a:ext>
                  </a:extLst>
                </p:cNvPr>
                <p:cNvSpPr/>
                <p:nvPr/>
              </p:nvSpPr>
              <p:spPr>
                <a:xfrm>
                  <a:off x="13692395" y="11337679"/>
                  <a:ext cx="359324" cy="1036426"/>
                </a:xfrm>
                <a:custGeom>
                  <a:avLst/>
                  <a:gdLst>
                    <a:gd name="connsiteX0" fmla="*/ 34421 w 359324"/>
                    <a:gd name="connsiteY0" fmla="*/ 1033314 h 1036426"/>
                    <a:gd name="connsiteX1" fmla="*/ 184 w 359324"/>
                    <a:gd name="connsiteY1" fmla="*/ 597579 h 1036426"/>
                    <a:gd name="connsiteX2" fmla="*/ 130905 w 359324"/>
                    <a:gd name="connsiteY2" fmla="*/ 230317 h 1036426"/>
                    <a:gd name="connsiteX3" fmla="*/ 202490 w 359324"/>
                    <a:gd name="connsiteY3" fmla="*/ 0 h 1036426"/>
                    <a:gd name="connsiteX4" fmla="*/ 323873 w 359324"/>
                    <a:gd name="connsiteY4" fmla="*/ 261441 h 1036426"/>
                    <a:gd name="connsiteX5" fmla="*/ 320760 w 359324"/>
                    <a:gd name="connsiteY5" fmla="*/ 743862 h 1036426"/>
                    <a:gd name="connsiteX6" fmla="*/ 345660 w 359324"/>
                    <a:gd name="connsiteY6" fmla="*/ 1036426 h 1036426"/>
                    <a:gd name="connsiteX7" fmla="*/ 34421 w 359324"/>
                    <a:gd name="connsiteY7" fmla="*/ 1036426 h 10364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59324" h="1036426">
                      <a:moveTo>
                        <a:pt x="34421" y="1033314"/>
                      </a:moveTo>
                      <a:cubicBezTo>
                        <a:pt x="34421" y="1033314"/>
                        <a:pt x="-2928" y="815446"/>
                        <a:pt x="184" y="597579"/>
                      </a:cubicBezTo>
                      <a:cubicBezTo>
                        <a:pt x="6409" y="379711"/>
                        <a:pt x="87331" y="348587"/>
                        <a:pt x="130905" y="230317"/>
                      </a:cubicBezTo>
                      <a:cubicBezTo>
                        <a:pt x="174478" y="108934"/>
                        <a:pt x="202490" y="0"/>
                        <a:pt x="202490" y="0"/>
                      </a:cubicBezTo>
                      <a:cubicBezTo>
                        <a:pt x="202490" y="0"/>
                        <a:pt x="314536" y="102709"/>
                        <a:pt x="323873" y="261441"/>
                      </a:cubicBezTo>
                      <a:cubicBezTo>
                        <a:pt x="330098" y="367262"/>
                        <a:pt x="252288" y="597579"/>
                        <a:pt x="320760" y="743862"/>
                      </a:cubicBezTo>
                      <a:cubicBezTo>
                        <a:pt x="389233" y="890143"/>
                        <a:pt x="345660" y="1036426"/>
                        <a:pt x="345660" y="1036426"/>
                      </a:cubicBezTo>
                      <a:lnTo>
                        <a:pt x="34421" y="1036426"/>
                      </a:lnTo>
                      <a:close/>
                    </a:path>
                  </a:pathLst>
                </a:custGeom>
                <a:solidFill>
                  <a:srgbClr val="F1DDB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0" name="任意多边形: 形状 89">
                  <a:extLst>
                    <a:ext uri="{FF2B5EF4-FFF2-40B4-BE49-F238E27FC236}">
                      <a16:creationId xmlns:a16="http://schemas.microsoft.com/office/drawing/2014/main" id="{2BCF2C92-9CC5-4525-8C45-B739FF1D53B6}"/>
                    </a:ext>
                  </a:extLst>
                </p:cNvPr>
                <p:cNvSpPr/>
                <p:nvPr/>
              </p:nvSpPr>
              <p:spPr>
                <a:xfrm>
                  <a:off x="13692337" y="11499523"/>
                  <a:ext cx="296914" cy="893256"/>
                </a:xfrm>
                <a:custGeom>
                  <a:avLst/>
                  <a:gdLst>
                    <a:gd name="connsiteX0" fmla="*/ 25140 w 296914"/>
                    <a:gd name="connsiteY0" fmla="*/ 871470 h 893256"/>
                    <a:gd name="connsiteX1" fmla="*/ 241 w 296914"/>
                    <a:gd name="connsiteY1" fmla="*/ 554006 h 893256"/>
                    <a:gd name="connsiteX2" fmla="*/ 165198 w 296914"/>
                    <a:gd name="connsiteY2" fmla="*/ 227205 h 893256"/>
                    <a:gd name="connsiteX3" fmla="*/ 230558 w 296914"/>
                    <a:gd name="connsiteY3" fmla="*/ 0 h 893256"/>
                    <a:gd name="connsiteX4" fmla="*/ 261682 w 296914"/>
                    <a:gd name="connsiteY4" fmla="*/ 217867 h 893256"/>
                    <a:gd name="connsiteX5" fmla="*/ 271020 w 296914"/>
                    <a:gd name="connsiteY5" fmla="*/ 613142 h 893256"/>
                    <a:gd name="connsiteX6" fmla="*/ 283469 w 296914"/>
                    <a:gd name="connsiteY6" fmla="*/ 893257 h 893256"/>
                    <a:gd name="connsiteX7" fmla="*/ 25140 w 296914"/>
                    <a:gd name="connsiteY7" fmla="*/ 871470 h 8932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6914" h="893256">
                      <a:moveTo>
                        <a:pt x="25140" y="871470"/>
                      </a:moveTo>
                      <a:cubicBezTo>
                        <a:pt x="25140" y="871470"/>
                        <a:pt x="-2871" y="712738"/>
                        <a:pt x="241" y="554006"/>
                      </a:cubicBezTo>
                      <a:cubicBezTo>
                        <a:pt x="3354" y="395274"/>
                        <a:pt x="134074" y="314352"/>
                        <a:pt x="165198" y="227205"/>
                      </a:cubicBezTo>
                      <a:cubicBezTo>
                        <a:pt x="196322" y="140058"/>
                        <a:pt x="230558" y="0"/>
                        <a:pt x="230558" y="0"/>
                      </a:cubicBezTo>
                      <a:cubicBezTo>
                        <a:pt x="230558" y="0"/>
                        <a:pt x="277244" y="40462"/>
                        <a:pt x="261682" y="217867"/>
                      </a:cubicBezTo>
                      <a:cubicBezTo>
                        <a:pt x="255458" y="295677"/>
                        <a:pt x="221221" y="507320"/>
                        <a:pt x="271020" y="613142"/>
                      </a:cubicBezTo>
                      <a:cubicBezTo>
                        <a:pt x="320817" y="718963"/>
                        <a:pt x="283469" y="893257"/>
                        <a:pt x="283469" y="893257"/>
                      </a:cubicBezTo>
                      <a:lnTo>
                        <a:pt x="25140" y="871470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1" name="任意多边形: 形状 90">
                  <a:extLst>
                    <a:ext uri="{FF2B5EF4-FFF2-40B4-BE49-F238E27FC236}">
                      <a16:creationId xmlns:a16="http://schemas.microsoft.com/office/drawing/2014/main" id="{C4C3A8E9-DA2C-403B-B86A-A661144BDF11}"/>
                    </a:ext>
                  </a:extLst>
                </p:cNvPr>
                <p:cNvSpPr/>
                <p:nvPr/>
              </p:nvSpPr>
              <p:spPr>
                <a:xfrm>
                  <a:off x="13036998" y="11026440"/>
                  <a:ext cx="802554" cy="1344552"/>
                </a:xfrm>
                <a:custGeom>
                  <a:avLst/>
                  <a:gdLst>
                    <a:gd name="connsiteX0" fmla="*/ 51777 w 802554"/>
                    <a:gd name="connsiteY0" fmla="*/ 1304092 h 1344552"/>
                    <a:gd name="connsiteX1" fmla="*/ 104687 w 802554"/>
                    <a:gd name="connsiteY1" fmla="*/ 566455 h 1344552"/>
                    <a:gd name="connsiteX2" fmla="*/ 440826 w 802554"/>
                    <a:gd name="connsiteY2" fmla="*/ 0 h 1344552"/>
                    <a:gd name="connsiteX3" fmla="*/ 555984 w 802554"/>
                    <a:gd name="connsiteY3" fmla="*/ 494870 h 1344552"/>
                    <a:gd name="connsiteX4" fmla="*/ 783189 w 802554"/>
                    <a:gd name="connsiteY4" fmla="*/ 868357 h 1344552"/>
                    <a:gd name="connsiteX5" fmla="*/ 783189 w 802554"/>
                    <a:gd name="connsiteY5" fmla="*/ 1344553 h 1344552"/>
                    <a:gd name="connsiteX6" fmla="*/ 51777 w 802554"/>
                    <a:gd name="connsiteY6" fmla="*/ 1304092 h 1344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02554" h="1344552">
                      <a:moveTo>
                        <a:pt x="51777" y="1304092"/>
                      </a:moveTo>
                      <a:cubicBezTo>
                        <a:pt x="51777" y="1304092"/>
                        <a:pt x="-94506" y="837233"/>
                        <a:pt x="104687" y="566455"/>
                      </a:cubicBezTo>
                      <a:cubicBezTo>
                        <a:pt x="303881" y="295677"/>
                        <a:pt x="434601" y="155620"/>
                        <a:pt x="440826" y="0"/>
                      </a:cubicBezTo>
                      <a:cubicBezTo>
                        <a:pt x="440826" y="0"/>
                        <a:pt x="440826" y="348587"/>
                        <a:pt x="555984" y="494870"/>
                      </a:cubicBezTo>
                      <a:cubicBezTo>
                        <a:pt x="671143" y="641152"/>
                        <a:pt x="739616" y="722074"/>
                        <a:pt x="783189" y="868357"/>
                      </a:cubicBezTo>
                      <a:cubicBezTo>
                        <a:pt x="826762" y="1014639"/>
                        <a:pt x="783189" y="1344553"/>
                        <a:pt x="783189" y="1344553"/>
                      </a:cubicBezTo>
                      <a:lnTo>
                        <a:pt x="51777" y="1304092"/>
                      </a:lnTo>
                      <a:close/>
                    </a:path>
                  </a:pathLst>
                </a:custGeom>
                <a:solidFill>
                  <a:srgbClr val="F1DDB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2" name="任意多边形: 形状 91">
                  <a:extLst>
                    <a:ext uri="{FF2B5EF4-FFF2-40B4-BE49-F238E27FC236}">
                      <a16:creationId xmlns:a16="http://schemas.microsoft.com/office/drawing/2014/main" id="{6011B58D-0A67-46EB-A04A-76774FDE53AE}"/>
                    </a:ext>
                  </a:extLst>
                </p:cNvPr>
                <p:cNvSpPr/>
                <p:nvPr/>
              </p:nvSpPr>
              <p:spPr>
                <a:xfrm>
                  <a:off x="13100417" y="11244307"/>
                  <a:ext cx="665717" cy="1092448"/>
                </a:xfrm>
                <a:custGeom>
                  <a:avLst/>
                  <a:gdLst>
                    <a:gd name="connsiteX0" fmla="*/ 28818 w 665717"/>
                    <a:gd name="connsiteY0" fmla="*/ 1073775 h 1092448"/>
                    <a:gd name="connsiteX1" fmla="*/ 84842 w 665717"/>
                    <a:gd name="connsiteY1" fmla="*/ 435735 h 1092448"/>
                    <a:gd name="connsiteX2" fmla="*/ 355620 w 665717"/>
                    <a:gd name="connsiteY2" fmla="*/ 0 h 1092448"/>
                    <a:gd name="connsiteX3" fmla="*/ 473891 w 665717"/>
                    <a:gd name="connsiteY3" fmla="*/ 379711 h 1092448"/>
                    <a:gd name="connsiteX4" fmla="*/ 645073 w 665717"/>
                    <a:gd name="connsiteY4" fmla="*/ 650490 h 1092448"/>
                    <a:gd name="connsiteX5" fmla="*/ 660634 w 665717"/>
                    <a:gd name="connsiteY5" fmla="*/ 1092449 h 1092448"/>
                    <a:gd name="connsiteX6" fmla="*/ 28818 w 665717"/>
                    <a:gd name="connsiteY6" fmla="*/ 1073775 h 10924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65717" h="1092448">
                      <a:moveTo>
                        <a:pt x="28818" y="1073775"/>
                      </a:moveTo>
                      <a:cubicBezTo>
                        <a:pt x="28818" y="1073775"/>
                        <a:pt x="-64553" y="616253"/>
                        <a:pt x="84842" y="435735"/>
                      </a:cubicBezTo>
                      <a:cubicBezTo>
                        <a:pt x="234236" y="255216"/>
                        <a:pt x="312046" y="192968"/>
                        <a:pt x="355620" y="0"/>
                      </a:cubicBezTo>
                      <a:cubicBezTo>
                        <a:pt x="355620" y="0"/>
                        <a:pt x="383631" y="280115"/>
                        <a:pt x="473891" y="379711"/>
                      </a:cubicBezTo>
                      <a:cubicBezTo>
                        <a:pt x="561038" y="476196"/>
                        <a:pt x="613949" y="554005"/>
                        <a:pt x="645073" y="650490"/>
                      </a:cubicBezTo>
                      <a:cubicBezTo>
                        <a:pt x="679308" y="746974"/>
                        <a:pt x="660634" y="1092449"/>
                        <a:pt x="660634" y="1092449"/>
                      </a:cubicBezTo>
                      <a:lnTo>
                        <a:pt x="28818" y="1073775"/>
                      </a:lnTo>
                      <a:close/>
                    </a:path>
                  </a:pathLst>
                </a:custGeom>
                <a:solidFill>
                  <a:srgbClr val="D16156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3" name="任意多边形: 形状 92">
                  <a:extLst>
                    <a:ext uri="{FF2B5EF4-FFF2-40B4-BE49-F238E27FC236}">
                      <a16:creationId xmlns:a16="http://schemas.microsoft.com/office/drawing/2014/main" id="{849F8C12-3856-40B9-B45B-AB9E5E64E888}"/>
                    </a:ext>
                  </a:extLst>
                </p:cNvPr>
                <p:cNvSpPr/>
                <p:nvPr/>
              </p:nvSpPr>
              <p:spPr>
                <a:xfrm>
                  <a:off x="13189150" y="11490186"/>
                  <a:ext cx="491174" cy="871469"/>
                </a:xfrm>
                <a:custGeom>
                  <a:avLst/>
                  <a:gdLst>
                    <a:gd name="connsiteX0" fmla="*/ 8559 w 491174"/>
                    <a:gd name="connsiteY0" fmla="*/ 871470 h 871469"/>
                    <a:gd name="connsiteX1" fmla="*/ 42796 w 491174"/>
                    <a:gd name="connsiteY1" fmla="*/ 479308 h 871469"/>
                    <a:gd name="connsiteX2" fmla="*/ 241989 w 491174"/>
                    <a:gd name="connsiteY2" fmla="*/ 0 h 871469"/>
                    <a:gd name="connsiteX3" fmla="*/ 366484 w 491174"/>
                    <a:gd name="connsiteY3" fmla="*/ 370374 h 871469"/>
                    <a:gd name="connsiteX4" fmla="*/ 484755 w 491174"/>
                    <a:gd name="connsiteY4" fmla="*/ 647377 h 871469"/>
                    <a:gd name="connsiteX5" fmla="*/ 475418 w 491174"/>
                    <a:gd name="connsiteY5" fmla="*/ 852795 h 871469"/>
                    <a:gd name="connsiteX6" fmla="*/ 8559 w 491174"/>
                    <a:gd name="connsiteY6" fmla="*/ 871470 h 8714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1174" h="871469">
                      <a:moveTo>
                        <a:pt x="8559" y="871470"/>
                      </a:moveTo>
                      <a:cubicBezTo>
                        <a:pt x="8559" y="871470"/>
                        <a:pt x="-25677" y="690950"/>
                        <a:pt x="42796" y="479308"/>
                      </a:cubicBezTo>
                      <a:cubicBezTo>
                        <a:pt x="92593" y="323689"/>
                        <a:pt x="226427" y="239654"/>
                        <a:pt x="241989" y="0"/>
                      </a:cubicBezTo>
                      <a:cubicBezTo>
                        <a:pt x="241989" y="0"/>
                        <a:pt x="298011" y="270778"/>
                        <a:pt x="366484" y="370374"/>
                      </a:cubicBezTo>
                      <a:cubicBezTo>
                        <a:pt x="419394" y="451297"/>
                        <a:pt x="469193" y="529107"/>
                        <a:pt x="484755" y="647377"/>
                      </a:cubicBezTo>
                      <a:cubicBezTo>
                        <a:pt x="503429" y="771873"/>
                        <a:pt x="475418" y="852795"/>
                        <a:pt x="475418" y="852795"/>
                      </a:cubicBezTo>
                      <a:lnTo>
                        <a:pt x="8559" y="871470"/>
                      </a:lnTo>
                      <a:close/>
                    </a:path>
                  </a:pathLst>
                </a:custGeom>
                <a:solidFill>
                  <a:srgbClr val="F1DDB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94" name="图形 1">
                  <a:extLst>
                    <a:ext uri="{FF2B5EF4-FFF2-40B4-BE49-F238E27FC236}">
                      <a16:creationId xmlns:a16="http://schemas.microsoft.com/office/drawing/2014/main" id="{525010D0-29C5-435C-845D-4A9A420F6152}"/>
                    </a:ext>
                  </a:extLst>
                </p:cNvPr>
                <p:cNvGrpSpPr/>
                <p:nvPr/>
              </p:nvGrpSpPr>
              <p:grpSpPr>
                <a:xfrm>
                  <a:off x="12815150" y="12256875"/>
                  <a:ext cx="1278926" cy="265679"/>
                  <a:chOff x="12815150" y="12256875"/>
                  <a:chExt cx="1278926" cy="265679"/>
                </a:xfrm>
              </p:grpSpPr>
              <p:sp>
                <p:nvSpPr>
                  <p:cNvPr id="95" name="任意多边形: 形状 94">
                    <a:extLst>
                      <a:ext uri="{FF2B5EF4-FFF2-40B4-BE49-F238E27FC236}">
                        <a16:creationId xmlns:a16="http://schemas.microsoft.com/office/drawing/2014/main" id="{8C26F9AE-8946-46E7-A62B-6C3C50D3CD77}"/>
                      </a:ext>
                    </a:extLst>
                  </p:cNvPr>
                  <p:cNvSpPr/>
                  <p:nvPr/>
                </p:nvSpPr>
                <p:spPr>
                  <a:xfrm>
                    <a:off x="12815150" y="12280042"/>
                    <a:ext cx="345394" cy="238400"/>
                  </a:xfrm>
                  <a:custGeom>
                    <a:avLst/>
                    <a:gdLst>
                      <a:gd name="connsiteX0" fmla="*/ 21521 w 345394"/>
                      <a:gd name="connsiteY0" fmla="*/ 202997 h 238400"/>
                      <a:gd name="connsiteX1" fmla="*/ 127342 w 345394"/>
                      <a:gd name="connsiteY1" fmla="*/ 227896 h 238400"/>
                      <a:gd name="connsiteX2" fmla="*/ 307861 w 345394"/>
                      <a:gd name="connsiteY2" fmla="*/ 237233 h 238400"/>
                      <a:gd name="connsiteX3" fmla="*/ 326535 w 345394"/>
                      <a:gd name="connsiteY3" fmla="*/ 227896 h 238400"/>
                      <a:gd name="connsiteX4" fmla="*/ 329647 w 345394"/>
                      <a:gd name="connsiteY4" fmla="*/ 218559 h 238400"/>
                      <a:gd name="connsiteX5" fmla="*/ 304749 w 345394"/>
                      <a:gd name="connsiteY5" fmla="*/ 16253 h 238400"/>
                      <a:gd name="connsiteX6" fmla="*/ 146016 w 345394"/>
                      <a:gd name="connsiteY6" fmla="*/ 6916 h 238400"/>
                      <a:gd name="connsiteX7" fmla="*/ 27746 w 345394"/>
                      <a:gd name="connsiteY7" fmla="*/ 6916 h 238400"/>
                      <a:gd name="connsiteX8" fmla="*/ 21521 w 345394"/>
                      <a:gd name="connsiteY8" fmla="*/ 202997 h 2384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45394" h="238400">
                        <a:moveTo>
                          <a:pt x="21521" y="202997"/>
                        </a:moveTo>
                        <a:cubicBezTo>
                          <a:pt x="43308" y="237233"/>
                          <a:pt x="93105" y="227896"/>
                          <a:pt x="127342" y="227896"/>
                        </a:cubicBezTo>
                        <a:cubicBezTo>
                          <a:pt x="186477" y="231008"/>
                          <a:pt x="248725" y="234121"/>
                          <a:pt x="307861" y="237233"/>
                        </a:cubicBezTo>
                        <a:cubicBezTo>
                          <a:pt x="314085" y="240346"/>
                          <a:pt x="323423" y="237233"/>
                          <a:pt x="326535" y="227896"/>
                        </a:cubicBezTo>
                        <a:cubicBezTo>
                          <a:pt x="329647" y="224784"/>
                          <a:pt x="329647" y="221671"/>
                          <a:pt x="329647" y="218559"/>
                        </a:cubicBezTo>
                        <a:cubicBezTo>
                          <a:pt x="335872" y="159423"/>
                          <a:pt x="373221" y="41152"/>
                          <a:pt x="304749" y="16253"/>
                        </a:cubicBezTo>
                        <a:cubicBezTo>
                          <a:pt x="261175" y="691"/>
                          <a:pt x="192702" y="10028"/>
                          <a:pt x="146016" y="6916"/>
                        </a:cubicBezTo>
                        <a:cubicBezTo>
                          <a:pt x="118005" y="6916"/>
                          <a:pt x="55757" y="-8646"/>
                          <a:pt x="27746" y="6916"/>
                        </a:cubicBezTo>
                        <a:cubicBezTo>
                          <a:pt x="-15828" y="38040"/>
                          <a:pt x="-266" y="162536"/>
                          <a:pt x="21521" y="202997"/>
                        </a:cubicBezTo>
                        <a:close/>
                      </a:path>
                    </a:pathLst>
                  </a:custGeom>
                  <a:solidFill>
                    <a:srgbClr val="6C5D68"/>
                  </a:solidFill>
                  <a:ln w="311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6" name="任意多边形: 形状 95">
                    <a:extLst>
                      <a:ext uri="{FF2B5EF4-FFF2-40B4-BE49-F238E27FC236}">
                        <a16:creationId xmlns:a16="http://schemas.microsoft.com/office/drawing/2014/main" id="{A64EB308-3777-4186-8CAA-88FDAAC9DF35}"/>
                      </a:ext>
                    </a:extLst>
                  </p:cNvPr>
                  <p:cNvSpPr/>
                  <p:nvPr/>
                </p:nvSpPr>
                <p:spPr>
                  <a:xfrm>
                    <a:off x="13112965" y="12278166"/>
                    <a:ext cx="347613" cy="244387"/>
                  </a:xfrm>
                  <a:custGeom>
                    <a:avLst/>
                    <a:gdLst>
                      <a:gd name="connsiteX0" fmla="*/ 38058 w 347613"/>
                      <a:gd name="connsiteY0" fmla="*/ 226659 h 244387"/>
                      <a:gd name="connsiteX1" fmla="*/ 146991 w 347613"/>
                      <a:gd name="connsiteY1" fmla="*/ 235996 h 244387"/>
                      <a:gd name="connsiteX2" fmla="*/ 327510 w 347613"/>
                      <a:gd name="connsiteY2" fmla="*/ 220434 h 244387"/>
                      <a:gd name="connsiteX3" fmla="*/ 346184 w 347613"/>
                      <a:gd name="connsiteY3" fmla="*/ 207985 h 244387"/>
                      <a:gd name="connsiteX4" fmla="*/ 346184 w 347613"/>
                      <a:gd name="connsiteY4" fmla="*/ 198647 h 244387"/>
                      <a:gd name="connsiteX5" fmla="*/ 290162 w 347613"/>
                      <a:gd name="connsiteY5" fmla="*/ 2567 h 244387"/>
                      <a:gd name="connsiteX6" fmla="*/ 134542 w 347613"/>
                      <a:gd name="connsiteY6" fmla="*/ 18129 h 244387"/>
                      <a:gd name="connsiteX7" fmla="*/ 19383 w 347613"/>
                      <a:gd name="connsiteY7" fmla="*/ 33691 h 244387"/>
                      <a:gd name="connsiteX8" fmla="*/ 38058 w 347613"/>
                      <a:gd name="connsiteY8" fmla="*/ 226659 h 244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47613" h="244387">
                        <a:moveTo>
                          <a:pt x="38058" y="226659"/>
                        </a:moveTo>
                        <a:cubicBezTo>
                          <a:pt x="62956" y="257783"/>
                          <a:pt x="112755" y="239109"/>
                          <a:pt x="146991" y="235996"/>
                        </a:cubicBezTo>
                        <a:cubicBezTo>
                          <a:pt x="206127" y="229771"/>
                          <a:pt x="268374" y="223547"/>
                          <a:pt x="327510" y="220434"/>
                        </a:cubicBezTo>
                        <a:cubicBezTo>
                          <a:pt x="333735" y="220434"/>
                          <a:pt x="343072" y="217322"/>
                          <a:pt x="346184" y="207985"/>
                        </a:cubicBezTo>
                        <a:cubicBezTo>
                          <a:pt x="346184" y="204872"/>
                          <a:pt x="346184" y="201760"/>
                          <a:pt x="346184" y="198647"/>
                        </a:cubicBezTo>
                        <a:cubicBezTo>
                          <a:pt x="346184" y="139512"/>
                          <a:pt x="361746" y="18129"/>
                          <a:pt x="290162" y="2567"/>
                        </a:cubicBezTo>
                        <a:cubicBezTo>
                          <a:pt x="243476" y="-6770"/>
                          <a:pt x="178115" y="11904"/>
                          <a:pt x="134542" y="18129"/>
                        </a:cubicBezTo>
                        <a:cubicBezTo>
                          <a:pt x="106530" y="21241"/>
                          <a:pt x="41170" y="15016"/>
                          <a:pt x="19383" y="33691"/>
                        </a:cubicBezTo>
                        <a:cubicBezTo>
                          <a:pt x="-21078" y="71040"/>
                          <a:pt x="10046" y="192423"/>
                          <a:pt x="38058" y="226659"/>
                        </a:cubicBezTo>
                        <a:close/>
                      </a:path>
                    </a:pathLst>
                  </a:custGeom>
                  <a:solidFill>
                    <a:srgbClr val="6C5D68"/>
                  </a:solidFill>
                  <a:ln w="311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7" name="任意多边形: 形状 96">
                    <a:extLst>
                      <a:ext uri="{FF2B5EF4-FFF2-40B4-BE49-F238E27FC236}">
                        <a16:creationId xmlns:a16="http://schemas.microsoft.com/office/drawing/2014/main" id="{C1EEE7D0-DD84-4373-9A2D-307FD11DC22E}"/>
                      </a:ext>
                    </a:extLst>
                  </p:cNvPr>
                  <p:cNvSpPr/>
                  <p:nvPr/>
                </p:nvSpPr>
                <p:spPr>
                  <a:xfrm>
                    <a:off x="13413485" y="12268829"/>
                    <a:ext cx="348996" cy="244387"/>
                  </a:xfrm>
                  <a:custGeom>
                    <a:avLst/>
                    <a:gdLst>
                      <a:gd name="connsiteX0" fmla="*/ 39440 w 348996"/>
                      <a:gd name="connsiteY0" fmla="*/ 226659 h 244387"/>
                      <a:gd name="connsiteX1" fmla="*/ 148373 w 348996"/>
                      <a:gd name="connsiteY1" fmla="*/ 235997 h 244387"/>
                      <a:gd name="connsiteX2" fmla="*/ 328893 w 348996"/>
                      <a:gd name="connsiteY2" fmla="*/ 220435 h 244387"/>
                      <a:gd name="connsiteX3" fmla="*/ 347567 w 348996"/>
                      <a:gd name="connsiteY3" fmla="*/ 207984 h 244387"/>
                      <a:gd name="connsiteX4" fmla="*/ 347567 w 348996"/>
                      <a:gd name="connsiteY4" fmla="*/ 198648 h 244387"/>
                      <a:gd name="connsiteX5" fmla="*/ 291544 w 348996"/>
                      <a:gd name="connsiteY5" fmla="*/ 2567 h 244387"/>
                      <a:gd name="connsiteX6" fmla="*/ 135924 w 348996"/>
                      <a:gd name="connsiteY6" fmla="*/ 18129 h 244387"/>
                      <a:gd name="connsiteX7" fmla="*/ 20766 w 348996"/>
                      <a:gd name="connsiteY7" fmla="*/ 33691 h 244387"/>
                      <a:gd name="connsiteX8" fmla="*/ 39440 w 348996"/>
                      <a:gd name="connsiteY8" fmla="*/ 226659 h 244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48996" h="244387">
                        <a:moveTo>
                          <a:pt x="39440" y="226659"/>
                        </a:moveTo>
                        <a:cubicBezTo>
                          <a:pt x="64339" y="257783"/>
                          <a:pt x="114138" y="239108"/>
                          <a:pt x="148373" y="235997"/>
                        </a:cubicBezTo>
                        <a:cubicBezTo>
                          <a:pt x="207510" y="229771"/>
                          <a:pt x="269757" y="223546"/>
                          <a:pt x="328893" y="220435"/>
                        </a:cubicBezTo>
                        <a:cubicBezTo>
                          <a:pt x="335117" y="220435"/>
                          <a:pt x="344455" y="217322"/>
                          <a:pt x="347567" y="207984"/>
                        </a:cubicBezTo>
                        <a:cubicBezTo>
                          <a:pt x="347567" y="204873"/>
                          <a:pt x="347567" y="201760"/>
                          <a:pt x="347567" y="198648"/>
                        </a:cubicBezTo>
                        <a:cubicBezTo>
                          <a:pt x="347567" y="139512"/>
                          <a:pt x="363129" y="18129"/>
                          <a:pt x="291544" y="2567"/>
                        </a:cubicBezTo>
                        <a:cubicBezTo>
                          <a:pt x="244858" y="-6771"/>
                          <a:pt x="179497" y="11904"/>
                          <a:pt x="135924" y="18129"/>
                        </a:cubicBezTo>
                        <a:cubicBezTo>
                          <a:pt x="107913" y="21241"/>
                          <a:pt x="42552" y="15017"/>
                          <a:pt x="20766" y="33691"/>
                        </a:cubicBezTo>
                        <a:cubicBezTo>
                          <a:pt x="-22808" y="71039"/>
                          <a:pt x="11428" y="192422"/>
                          <a:pt x="39440" y="226659"/>
                        </a:cubicBezTo>
                        <a:close/>
                      </a:path>
                    </a:pathLst>
                  </a:custGeom>
                  <a:solidFill>
                    <a:srgbClr val="6C5D68"/>
                  </a:solidFill>
                  <a:ln w="311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8" name="任意多边形: 形状 97">
                    <a:extLst>
                      <a:ext uri="{FF2B5EF4-FFF2-40B4-BE49-F238E27FC236}">
                        <a16:creationId xmlns:a16="http://schemas.microsoft.com/office/drawing/2014/main" id="{3E883F8D-EB17-487C-9E7C-05DE5090CF4A}"/>
                      </a:ext>
                    </a:extLst>
                  </p:cNvPr>
                  <p:cNvSpPr/>
                  <p:nvPr/>
                </p:nvSpPr>
                <p:spPr>
                  <a:xfrm>
                    <a:off x="13744730" y="12256875"/>
                    <a:ext cx="349347" cy="247590"/>
                  </a:xfrm>
                  <a:custGeom>
                    <a:avLst/>
                    <a:gdLst>
                      <a:gd name="connsiteX0" fmla="*/ 44334 w 349347"/>
                      <a:gd name="connsiteY0" fmla="*/ 232389 h 247590"/>
                      <a:gd name="connsiteX1" fmla="*/ 153267 w 349347"/>
                      <a:gd name="connsiteY1" fmla="*/ 238613 h 247590"/>
                      <a:gd name="connsiteX2" fmla="*/ 333786 w 349347"/>
                      <a:gd name="connsiteY2" fmla="*/ 216827 h 247590"/>
                      <a:gd name="connsiteX3" fmla="*/ 349348 w 349347"/>
                      <a:gd name="connsiteY3" fmla="*/ 204377 h 247590"/>
                      <a:gd name="connsiteX4" fmla="*/ 349348 w 349347"/>
                      <a:gd name="connsiteY4" fmla="*/ 195040 h 247590"/>
                      <a:gd name="connsiteX5" fmla="*/ 287100 w 349347"/>
                      <a:gd name="connsiteY5" fmla="*/ 2071 h 247590"/>
                      <a:gd name="connsiteX6" fmla="*/ 131480 w 349347"/>
                      <a:gd name="connsiteY6" fmla="*/ 23858 h 247590"/>
                      <a:gd name="connsiteX7" fmla="*/ 16322 w 349347"/>
                      <a:gd name="connsiteY7" fmla="*/ 45645 h 247590"/>
                      <a:gd name="connsiteX8" fmla="*/ 44334 w 349347"/>
                      <a:gd name="connsiteY8" fmla="*/ 232389 h 2475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49347" h="247590">
                        <a:moveTo>
                          <a:pt x="44334" y="232389"/>
                        </a:moveTo>
                        <a:cubicBezTo>
                          <a:pt x="72345" y="260400"/>
                          <a:pt x="119031" y="241726"/>
                          <a:pt x="153267" y="238613"/>
                        </a:cubicBezTo>
                        <a:cubicBezTo>
                          <a:pt x="212402" y="232389"/>
                          <a:pt x="274650" y="223051"/>
                          <a:pt x="333786" y="216827"/>
                        </a:cubicBezTo>
                        <a:cubicBezTo>
                          <a:pt x="343123" y="216827"/>
                          <a:pt x="349348" y="213714"/>
                          <a:pt x="349348" y="204377"/>
                        </a:cubicBezTo>
                        <a:cubicBezTo>
                          <a:pt x="349348" y="201265"/>
                          <a:pt x="349348" y="198152"/>
                          <a:pt x="349348" y="195040"/>
                        </a:cubicBezTo>
                        <a:cubicBezTo>
                          <a:pt x="346235" y="135905"/>
                          <a:pt x="358685" y="11409"/>
                          <a:pt x="287100" y="2071"/>
                        </a:cubicBezTo>
                        <a:cubicBezTo>
                          <a:pt x="240414" y="-7266"/>
                          <a:pt x="178166" y="17633"/>
                          <a:pt x="131480" y="23858"/>
                        </a:cubicBezTo>
                        <a:cubicBezTo>
                          <a:pt x="103469" y="26971"/>
                          <a:pt x="38108" y="23858"/>
                          <a:pt x="16322" y="45645"/>
                        </a:cubicBezTo>
                        <a:cubicBezTo>
                          <a:pt x="-21027" y="76769"/>
                          <a:pt x="13210" y="198152"/>
                          <a:pt x="44334" y="232389"/>
                        </a:cubicBezTo>
                        <a:close/>
                      </a:path>
                    </a:pathLst>
                  </a:custGeom>
                  <a:solidFill>
                    <a:srgbClr val="6C5D68"/>
                  </a:solidFill>
                  <a:ln w="311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9" name="任意多边形: 形状 98">
                    <a:extLst>
                      <a:ext uri="{FF2B5EF4-FFF2-40B4-BE49-F238E27FC236}">
                        <a16:creationId xmlns:a16="http://schemas.microsoft.com/office/drawing/2014/main" id="{E25A7683-77CC-4AF5-BDF2-5F9D0BCFF6EE}"/>
                      </a:ext>
                    </a:extLst>
                  </p:cNvPr>
                  <p:cNvSpPr/>
                  <p:nvPr/>
                </p:nvSpPr>
                <p:spPr>
                  <a:xfrm>
                    <a:off x="13103499" y="12305632"/>
                    <a:ext cx="52019" cy="205418"/>
                  </a:xfrm>
                  <a:custGeom>
                    <a:avLst/>
                    <a:gdLst>
                      <a:gd name="connsiteX0" fmla="*/ 47524 w 52019"/>
                      <a:gd name="connsiteY0" fmla="*/ 205418 h 205418"/>
                      <a:gd name="connsiteX1" fmla="*/ 41299 w 52019"/>
                      <a:gd name="connsiteY1" fmla="*/ 202305 h 205418"/>
                      <a:gd name="connsiteX2" fmla="*/ 19513 w 52019"/>
                      <a:gd name="connsiteY2" fmla="*/ 3113 h 205418"/>
                      <a:gd name="connsiteX3" fmla="*/ 28850 w 52019"/>
                      <a:gd name="connsiteY3" fmla="*/ 0 h 205418"/>
                      <a:gd name="connsiteX4" fmla="*/ 31962 w 52019"/>
                      <a:gd name="connsiteY4" fmla="*/ 9338 h 205418"/>
                      <a:gd name="connsiteX5" fmla="*/ 50637 w 52019"/>
                      <a:gd name="connsiteY5" fmla="*/ 196081 h 205418"/>
                      <a:gd name="connsiteX6" fmla="*/ 50637 w 52019"/>
                      <a:gd name="connsiteY6" fmla="*/ 205418 h 205418"/>
                      <a:gd name="connsiteX7" fmla="*/ 47524 w 52019"/>
                      <a:gd name="connsiteY7" fmla="*/ 205418 h 2054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2019" h="205418">
                        <a:moveTo>
                          <a:pt x="47524" y="205418"/>
                        </a:moveTo>
                        <a:cubicBezTo>
                          <a:pt x="44412" y="205418"/>
                          <a:pt x="44412" y="205418"/>
                          <a:pt x="41299" y="202305"/>
                        </a:cubicBezTo>
                        <a:cubicBezTo>
                          <a:pt x="-36511" y="93372"/>
                          <a:pt x="19513" y="3113"/>
                          <a:pt x="19513" y="3113"/>
                        </a:cubicBezTo>
                        <a:cubicBezTo>
                          <a:pt x="22624" y="0"/>
                          <a:pt x="25737" y="0"/>
                          <a:pt x="28850" y="0"/>
                        </a:cubicBezTo>
                        <a:cubicBezTo>
                          <a:pt x="31962" y="3113"/>
                          <a:pt x="31962" y="6225"/>
                          <a:pt x="31962" y="9338"/>
                        </a:cubicBezTo>
                        <a:cubicBezTo>
                          <a:pt x="28850" y="12450"/>
                          <a:pt x="-20949" y="93372"/>
                          <a:pt x="50637" y="196081"/>
                        </a:cubicBezTo>
                        <a:cubicBezTo>
                          <a:pt x="53748" y="199194"/>
                          <a:pt x="50637" y="202305"/>
                          <a:pt x="50637" y="205418"/>
                        </a:cubicBezTo>
                        <a:cubicBezTo>
                          <a:pt x="50637" y="205418"/>
                          <a:pt x="50637" y="205418"/>
                          <a:pt x="47524" y="205418"/>
                        </a:cubicBezTo>
                        <a:close/>
                      </a:path>
                    </a:pathLst>
                  </a:custGeom>
                  <a:solidFill>
                    <a:srgbClr val="38343B"/>
                  </a:solidFill>
                  <a:ln w="311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" name="任意多边形: 形状 99">
                    <a:extLst>
                      <a:ext uri="{FF2B5EF4-FFF2-40B4-BE49-F238E27FC236}">
                        <a16:creationId xmlns:a16="http://schemas.microsoft.com/office/drawing/2014/main" id="{DE316378-BCF6-4026-9A0F-C2041B1A3538}"/>
                      </a:ext>
                    </a:extLst>
                  </p:cNvPr>
                  <p:cNvSpPr/>
                  <p:nvPr/>
                </p:nvSpPr>
                <p:spPr>
                  <a:xfrm>
                    <a:off x="13425691" y="12293961"/>
                    <a:ext cx="52406" cy="207752"/>
                  </a:xfrm>
                  <a:custGeom>
                    <a:avLst/>
                    <a:gdLst>
                      <a:gd name="connsiteX0" fmla="*/ 27233 w 52406"/>
                      <a:gd name="connsiteY0" fmla="*/ 207753 h 207752"/>
                      <a:gd name="connsiteX1" fmla="*/ 27233 w 52406"/>
                      <a:gd name="connsiteY1" fmla="*/ 207753 h 207752"/>
                      <a:gd name="connsiteX2" fmla="*/ 21009 w 52406"/>
                      <a:gd name="connsiteY2" fmla="*/ 198415 h 207752"/>
                      <a:gd name="connsiteX3" fmla="*/ 2334 w 52406"/>
                      <a:gd name="connsiteY3" fmla="*/ 11671 h 207752"/>
                      <a:gd name="connsiteX4" fmla="*/ 2334 w 52406"/>
                      <a:gd name="connsiteY4" fmla="*/ 2334 h 207752"/>
                      <a:gd name="connsiteX5" fmla="*/ 11671 w 52406"/>
                      <a:gd name="connsiteY5" fmla="*/ 2334 h 207752"/>
                      <a:gd name="connsiteX6" fmla="*/ 33458 w 52406"/>
                      <a:gd name="connsiteY6" fmla="*/ 201527 h 207752"/>
                      <a:gd name="connsiteX7" fmla="*/ 27233 w 52406"/>
                      <a:gd name="connsiteY7" fmla="*/ 207753 h 2077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2406" h="207752">
                        <a:moveTo>
                          <a:pt x="27233" y="207753"/>
                        </a:moveTo>
                        <a:cubicBezTo>
                          <a:pt x="27233" y="207753"/>
                          <a:pt x="27233" y="207753"/>
                          <a:pt x="27233" y="207753"/>
                        </a:cubicBezTo>
                        <a:cubicBezTo>
                          <a:pt x="21009" y="204640"/>
                          <a:pt x="21009" y="201527"/>
                          <a:pt x="21009" y="198415"/>
                        </a:cubicBezTo>
                        <a:cubicBezTo>
                          <a:pt x="70807" y="95706"/>
                          <a:pt x="2334" y="11671"/>
                          <a:pt x="2334" y="11671"/>
                        </a:cubicBezTo>
                        <a:cubicBezTo>
                          <a:pt x="-778" y="8560"/>
                          <a:pt x="-778" y="5447"/>
                          <a:pt x="2334" y="2334"/>
                        </a:cubicBezTo>
                        <a:cubicBezTo>
                          <a:pt x="5447" y="-778"/>
                          <a:pt x="8560" y="-778"/>
                          <a:pt x="11671" y="2334"/>
                        </a:cubicBezTo>
                        <a:cubicBezTo>
                          <a:pt x="11671" y="2334"/>
                          <a:pt x="86369" y="92594"/>
                          <a:pt x="33458" y="201527"/>
                        </a:cubicBezTo>
                        <a:cubicBezTo>
                          <a:pt x="33458" y="204640"/>
                          <a:pt x="30346" y="207753"/>
                          <a:pt x="27233" y="207753"/>
                        </a:cubicBezTo>
                        <a:close/>
                      </a:path>
                    </a:pathLst>
                  </a:custGeom>
                  <a:solidFill>
                    <a:srgbClr val="38343B"/>
                  </a:solidFill>
                  <a:ln w="311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" name="任意多边形: 形状 100">
                    <a:extLst>
                      <a:ext uri="{FF2B5EF4-FFF2-40B4-BE49-F238E27FC236}">
                        <a16:creationId xmlns:a16="http://schemas.microsoft.com/office/drawing/2014/main" id="{5D3EF31B-73F9-4CFA-82E9-DBF441D72373}"/>
                      </a:ext>
                    </a:extLst>
                  </p:cNvPr>
                  <p:cNvSpPr/>
                  <p:nvPr/>
                </p:nvSpPr>
                <p:spPr>
                  <a:xfrm>
                    <a:off x="13736152" y="12296295"/>
                    <a:ext cx="30951" cy="177406"/>
                  </a:xfrm>
                  <a:custGeom>
                    <a:avLst/>
                    <a:gdLst>
                      <a:gd name="connsiteX0" fmla="*/ 24900 w 30951"/>
                      <a:gd name="connsiteY0" fmla="*/ 177407 h 177406"/>
                      <a:gd name="connsiteX1" fmla="*/ 24900 w 30951"/>
                      <a:gd name="connsiteY1" fmla="*/ 177407 h 177406"/>
                      <a:gd name="connsiteX2" fmla="*/ 18675 w 30951"/>
                      <a:gd name="connsiteY2" fmla="*/ 171182 h 177406"/>
                      <a:gd name="connsiteX3" fmla="*/ 0 w 30951"/>
                      <a:gd name="connsiteY3" fmla="*/ 6225 h 177406"/>
                      <a:gd name="connsiteX4" fmla="*/ 3113 w 30951"/>
                      <a:gd name="connsiteY4" fmla="*/ 0 h 177406"/>
                      <a:gd name="connsiteX5" fmla="*/ 9338 w 30951"/>
                      <a:gd name="connsiteY5" fmla="*/ 3113 h 177406"/>
                      <a:gd name="connsiteX6" fmla="*/ 28011 w 30951"/>
                      <a:gd name="connsiteY6" fmla="*/ 174294 h 177406"/>
                      <a:gd name="connsiteX7" fmla="*/ 24900 w 30951"/>
                      <a:gd name="connsiteY7" fmla="*/ 177407 h 1774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951" h="177406">
                        <a:moveTo>
                          <a:pt x="24900" y="177407"/>
                        </a:moveTo>
                        <a:cubicBezTo>
                          <a:pt x="24900" y="177407"/>
                          <a:pt x="24900" y="177407"/>
                          <a:pt x="24900" y="177407"/>
                        </a:cubicBezTo>
                        <a:cubicBezTo>
                          <a:pt x="21787" y="177407"/>
                          <a:pt x="18675" y="174294"/>
                          <a:pt x="18675" y="171182"/>
                        </a:cubicBezTo>
                        <a:cubicBezTo>
                          <a:pt x="31124" y="102709"/>
                          <a:pt x="0" y="6225"/>
                          <a:pt x="0" y="6225"/>
                        </a:cubicBezTo>
                        <a:cubicBezTo>
                          <a:pt x="0" y="3113"/>
                          <a:pt x="0" y="0"/>
                          <a:pt x="3113" y="0"/>
                        </a:cubicBezTo>
                        <a:cubicBezTo>
                          <a:pt x="6225" y="0"/>
                          <a:pt x="9338" y="0"/>
                          <a:pt x="9338" y="3113"/>
                        </a:cubicBezTo>
                        <a:cubicBezTo>
                          <a:pt x="9338" y="6225"/>
                          <a:pt x="40462" y="102709"/>
                          <a:pt x="28011" y="174294"/>
                        </a:cubicBezTo>
                        <a:cubicBezTo>
                          <a:pt x="31124" y="174294"/>
                          <a:pt x="28011" y="177407"/>
                          <a:pt x="24900" y="177407"/>
                        </a:cubicBezTo>
                        <a:close/>
                      </a:path>
                    </a:pathLst>
                  </a:custGeom>
                  <a:solidFill>
                    <a:srgbClr val="38343B"/>
                  </a:solidFill>
                  <a:ln w="311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</p:grp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121641F7-07B0-43ED-9153-0D4A6D890AEA}"/>
                </a:ext>
              </a:extLst>
            </p:cNvPr>
            <p:cNvSpPr/>
            <p:nvPr/>
          </p:nvSpPr>
          <p:spPr>
            <a:xfrm>
              <a:off x="10216096" y="10860791"/>
              <a:ext cx="726446" cy="1454178"/>
            </a:xfrm>
            <a:custGeom>
              <a:avLst/>
              <a:gdLst>
                <a:gd name="connsiteX0" fmla="*/ 43515 w 726446"/>
                <a:gd name="connsiteY0" fmla="*/ 6916 h 1454178"/>
                <a:gd name="connsiteX1" fmla="*/ 12391 w 726446"/>
                <a:gd name="connsiteY1" fmla="*/ 308818 h 1454178"/>
                <a:gd name="connsiteX2" fmla="*/ 385878 w 726446"/>
                <a:gd name="connsiteY2" fmla="*/ 504899 h 1454178"/>
                <a:gd name="connsiteX3" fmla="*/ 248932 w 726446"/>
                <a:gd name="connsiteY3" fmla="*/ 1423055 h 1454178"/>
                <a:gd name="connsiteX4" fmla="*/ 413889 w 726446"/>
                <a:gd name="connsiteY4" fmla="*/ 1454179 h 1454178"/>
                <a:gd name="connsiteX5" fmla="*/ 725129 w 726446"/>
                <a:gd name="connsiteY5" fmla="*/ 439539 h 1454178"/>
                <a:gd name="connsiteX6" fmla="*/ 351642 w 726446"/>
                <a:gd name="connsiteY6" fmla="*/ 6916 h 1454178"/>
                <a:gd name="connsiteX7" fmla="*/ 43515 w 726446"/>
                <a:gd name="connsiteY7" fmla="*/ 6916 h 1454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6446" h="1454178">
                  <a:moveTo>
                    <a:pt x="43515" y="6916"/>
                  </a:moveTo>
                  <a:cubicBezTo>
                    <a:pt x="43515" y="6916"/>
                    <a:pt x="-28071" y="193660"/>
                    <a:pt x="12391" y="308818"/>
                  </a:cubicBezTo>
                  <a:cubicBezTo>
                    <a:pt x="55964" y="423977"/>
                    <a:pt x="360978" y="451988"/>
                    <a:pt x="385878" y="504899"/>
                  </a:cubicBezTo>
                  <a:cubicBezTo>
                    <a:pt x="410777" y="560922"/>
                    <a:pt x="248932" y="1423055"/>
                    <a:pt x="248932" y="1423055"/>
                  </a:cubicBezTo>
                  <a:cubicBezTo>
                    <a:pt x="248932" y="1423055"/>
                    <a:pt x="332967" y="1444841"/>
                    <a:pt x="413889" y="1454179"/>
                  </a:cubicBezTo>
                  <a:cubicBezTo>
                    <a:pt x="413889" y="1454179"/>
                    <a:pt x="750027" y="585822"/>
                    <a:pt x="725129" y="439539"/>
                  </a:cubicBezTo>
                  <a:cubicBezTo>
                    <a:pt x="700229" y="293256"/>
                    <a:pt x="410777" y="19366"/>
                    <a:pt x="351642" y="6916"/>
                  </a:cubicBezTo>
                  <a:cubicBezTo>
                    <a:pt x="295618" y="-8646"/>
                    <a:pt x="43515" y="6916"/>
                    <a:pt x="43515" y="6916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44228266-E1CC-4C5B-BE9F-DB0179B14FFA}"/>
                </a:ext>
              </a:extLst>
            </p:cNvPr>
            <p:cNvSpPr/>
            <p:nvPr/>
          </p:nvSpPr>
          <p:spPr>
            <a:xfrm>
              <a:off x="10570850" y="10860791"/>
              <a:ext cx="859431" cy="1457291"/>
            </a:xfrm>
            <a:custGeom>
              <a:avLst/>
              <a:gdLst>
                <a:gd name="connsiteX0" fmla="*/ 0 w 859431"/>
                <a:gd name="connsiteY0" fmla="*/ 6916 h 1457291"/>
                <a:gd name="connsiteX1" fmla="*/ 140058 w 859431"/>
                <a:gd name="connsiteY1" fmla="*/ 308818 h 1457291"/>
                <a:gd name="connsiteX2" fmla="*/ 479308 w 859431"/>
                <a:gd name="connsiteY2" fmla="*/ 439539 h 1457291"/>
                <a:gd name="connsiteX3" fmla="*/ 305014 w 859431"/>
                <a:gd name="connsiteY3" fmla="*/ 1382593 h 1457291"/>
                <a:gd name="connsiteX4" fmla="*/ 469970 w 859431"/>
                <a:gd name="connsiteY4" fmla="*/ 1457291 h 1457291"/>
                <a:gd name="connsiteX5" fmla="*/ 855908 w 859431"/>
                <a:gd name="connsiteY5" fmla="*/ 330605 h 1457291"/>
                <a:gd name="connsiteX6" fmla="*/ 476196 w 859431"/>
                <a:gd name="connsiteY6" fmla="*/ 6916 h 1457291"/>
                <a:gd name="connsiteX7" fmla="*/ 0 w 859431"/>
                <a:gd name="connsiteY7" fmla="*/ 6916 h 1457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9431" h="1457291">
                  <a:moveTo>
                    <a:pt x="0" y="6916"/>
                  </a:moveTo>
                  <a:cubicBezTo>
                    <a:pt x="0" y="6916"/>
                    <a:pt x="96483" y="193660"/>
                    <a:pt x="140058" y="308818"/>
                  </a:cubicBezTo>
                  <a:cubicBezTo>
                    <a:pt x="183631" y="423977"/>
                    <a:pt x="454408" y="386628"/>
                    <a:pt x="479308" y="439539"/>
                  </a:cubicBezTo>
                  <a:cubicBezTo>
                    <a:pt x="504207" y="495561"/>
                    <a:pt x="305014" y="1382593"/>
                    <a:pt x="305014" y="1382593"/>
                  </a:cubicBezTo>
                  <a:cubicBezTo>
                    <a:pt x="305014" y="1382593"/>
                    <a:pt x="389049" y="1447954"/>
                    <a:pt x="469970" y="1457291"/>
                  </a:cubicBezTo>
                  <a:cubicBezTo>
                    <a:pt x="469970" y="1457291"/>
                    <a:pt x="902594" y="585822"/>
                    <a:pt x="855908" y="330605"/>
                  </a:cubicBezTo>
                  <a:cubicBezTo>
                    <a:pt x="831008" y="184322"/>
                    <a:pt x="535331" y="22478"/>
                    <a:pt x="476196" y="6916"/>
                  </a:cubicBezTo>
                  <a:cubicBezTo>
                    <a:pt x="420173" y="-8646"/>
                    <a:pt x="0" y="6916"/>
                    <a:pt x="0" y="6916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FE351AE5-C765-4C8E-8D36-104A11FB7FC6}"/>
                </a:ext>
              </a:extLst>
            </p:cNvPr>
            <p:cNvSpPr/>
            <p:nvPr/>
          </p:nvSpPr>
          <p:spPr>
            <a:xfrm>
              <a:off x="10702348" y="10977419"/>
              <a:ext cx="235763" cy="291786"/>
            </a:xfrm>
            <a:custGeom>
              <a:avLst/>
              <a:gdLst>
                <a:gd name="connsiteX0" fmla="*/ 229539 w 235763"/>
                <a:gd name="connsiteY0" fmla="*/ 291787 h 291786"/>
                <a:gd name="connsiteX1" fmla="*/ 223314 w 235763"/>
                <a:gd name="connsiteY1" fmla="*/ 288674 h 291786"/>
                <a:gd name="connsiteX2" fmla="*/ 2334 w 235763"/>
                <a:gd name="connsiteY2" fmla="*/ 11671 h 291786"/>
                <a:gd name="connsiteX3" fmla="*/ 2334 w 235763"/>
                <a:gd name="connsiteY3" fmla="*/ 2334 h 291786"/>
                <a:gd name="connsiteX4" fmla="*/ 11671 w 235763"/>
                <a:gd name="connsiteY4" fmla="*/ 2334 h 291786"/>
                <a:gd name="connsiteX5" fmla="*/ 235764 w 235763"/>
                <a:gd name="connsiteY5" fmla="*/ 282450 h 291786"/>
                <a:gd name="connsiteX6" fmla="*/ 229539 w 235763"/>
                <a:gd name="connsiteY6" fmla="*/ 291787 h 291786"/>
                <a:gd name="connsiteX7" fmla="*/ 229539 w 235763"/>
                <a:gd name="connsiteY7" fmla="*/ 291787 h 291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5763" h="291786">
                  <a:moveTo>
                    <a:pt x="229539" y="291787"/>
                  </a:moveTo>
                  <a:cubicBezTo>
                    <a:pt x="226427" y="291787"/>
                    <a:pt x="226427" y="291787"/>
                    <a:pt x="223314" y="288674"/>
                  </a:cubicBezTo>
                  <a:cubicBezTo>
                    <a:pt x="223314" y="288674"/>
                    <a:pt x="139279" y="129942"/>
                    <a:pt x="2334" y="11671"/>
                  </a:cubicBezTo>
                  <a:cubicBezTo>
                    <a:pt x="-778" y="8559"/>
                    <a:pt x="-778" y="5446"/>
                    <a:pt x="2334" y="2334"/>
                  </a:cubicBezTo>
                  <a:cubicBezTo>
                    <a:pt x="5447" y="-778"/>
                    <a:pt x="8560" y="-778"/>
                    <a:pt x="11671" y="2334"/>
                  </a:cubicBezTo>
                  <a:cubicBezTo>
                    <a:pt x="148617" y="120605"/>
                    <a:pt x="232651" y="279337"/>
                    <a:pt x="235764" y="282450"/>
                  </a:cubicBezTo>
                  <a:cubicBezTo>
                    <a:pt x="235764" y="285561"/>
                    <a:pt x="232651" y="288674"/>
                    <a:pt x="229539" y="291787"/>
                  </a:cubicBezTo>
                  <a:cubicBezTo>
                    <a:pt x="229539" y="291787"/>
                    <a:pt x="229539" y="291787"/>
                    <a:pt x="229539" y="291787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2AD45544-E843-4441-85C3-4C6D388DA4E7}"/>
                </a:ext>
              </a:extLst>
            </p:cNvPr>
            <p:cNvSpPr/>
            <p:nvPr/>
          </p:nvSpPr>
          <p:spPr>
            <a:xfrm>
              <a:off x="10258623" y="10671626"/>
              <a:ext cx="791534" cy="243945"/>
            </a:xfrm>
            <a:custGeom>
              <a:avLst/>
              <a:gdLst>
                <a:gd name="connsiteX0" fmla="*/ 791535 w 791534"/>
                <a:gd name="connsiteY0" fmla="*/ 196081 h 243945"/>
                <a:gd name="connsiteX1" fmla="*/ 713725 w 791534"/>
                <a:gd name="connsiteY1" fmla="*/ 12450 h 243945"/>
                <a:gd name="connsiteX2" fmla="*/ 88134 w 791534"/>
                <a:gd name="connsiteY2" fmla="*/ 0 h 243945"/>
                <a:gd name="connsiteX3" fmla="*/ 987 w 791534"/>
                <a:gd name="connsiteY3" fmla="*/ 196081 h 243945"/>
                <a:gd name="connsiteX4" fmla="*/ 430497 w 791534"/>
                <a:gd name="connsiteY4" fmla="*/ 233429 h 243945"/>
                <a:gd name="connsiteX5" fmla="*/ 791535 w 791534"/>
                <a:gd name="connsiteY5" fmla="*/ 196081 h 243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1534" h="243945">
                  <a:moveTo>
                    <a:pt x="791535" y="196081"/>
                  </a:moveTo>
                  <a:cubicBezTo>
                    <a:pt x="791535" y="196081"/>
                    <a:pt x="729287" y="68473"/>
                    <a:pt x="713725" y="12450"/>
                  </a:cubicBezTo>
                  <a:cubicBezTo>
                    <a:pt x="713725" y="12450"/>
                    <a:pt x="327789" y="46686"/>
                    <a:pt x="88134" y="0"/>
                  </a:cubicBezTo>
                  <a:cubicBezTo>
                    <a:pt x="88134" y="0"/>
                    <a:pt x="25886" y="121384"/>
                    <a:pt x="987" y="196081"/>
                  </a:cubicBezTo>
                  <a:cubicBezTo>
                    <a:pt x="-23912" y="273891"/>
                    <a:pt x="430497" y="233429"/>
                    <a:pt x="430497" y="233429"/>
                  </a:cubicBezTo>
                  <a:lnTo>
                    <a:pt x="791535" y="196081"/>
                  </a:ln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D75B1690-2F2E-4EE3-93FF-0D43DEB4129D}"/>
                </a:ext>
              </a:extLst>
            </p:cNvPr>
            <p:cNvSpPr/>
            <p:nvPr/>
          </p:nvSpPr>
          <p:spPr>
            <a:xfrm>
              <a:off x="10663458" y="9095342"/>
              <a:ext cx="493354" cy="795074"/>
            </a:xfrm>
            <a:custGeom>
              <a:avLst/>
              <a:gdLst>
                <a:gd name="connsiteX0" fmla="*/ 10101 w 493354"/>
                <a:gd name="connsiteY0" fmla="*/ 605219 h 795074"/>
                <a:gd name="connsiteX1" fmla="*/ 87911 w 493354"/>
                <a:gd name="connsiteY1" fmla="*/ 776400 h 795074"/>
                <a:gd name="connsiteX2" fmla="*/ 181283 w 493354"/>
                <a:gd name="connsiteY2" fmla="*/ 795075 h 795074"/>
                <a:gd name="connsiteX3" fmla="*/ 259093 w 493354"/>
                <a:gd name="connsiteY3" fmla="*/ 760838 h 795074"/>
                <a:gd name="connsiteX4" fmla="*/ 470735 w 493354"/>
                <a:gd name="connsiteY4" fmla="*/ 751500 h 795074"/>
                <a:gd name="connsiteX5" fmla="*/ 445836 w 493354"/>
                <a:gd name="connsiteY5" fmla="*/ 620780 h 795074"/>
                <a:gd name="connsiteX6" fmla="*/ 392925 w 493354"/>
                <a:gd name="connsiteY6" fmla="*/ 580319 h 795074"/>
                <a:gd name="connsiteX7" fmla="*/ 377363 w 493354"/>
                <a:gd name="connsiteY7" fmla="*/ 502509 h 795074"/>
                <a:gd name="connsiteX8" fmla="*/ 386701 w 493354"/>
                <a:gd name="connsiteY8" fmla="*/ 412250 h 795074"/>
                <a:gd name="connsiteX9" fmla="*/ 340015 w 493354"/>
                <a:gd name="connsiteY9" fmla="*/ 337553 h 795074"/>
                <a:gd name="connsiteX10" fmla="*/ 296442 w 493354"/>
                <a:gd name="connsiteY10" fmla="*/ 275305 h 795074"/>
                <a:gd name="connsiteX11" fmla="*/ 302666 w 493354"/>
                <a:gd name="connsiteY11" fmla="*/ 216169 h 795074"/>
                <a:gd name="connsiteX12" fmla="*/ 764 w 493354"/>
                <a:gd name="connsiteY12" fmla="*/ 4527 h 795074"/>
                <a:gd name="connsiteX13" fmla="*/ 22551 w 493354"/>
                <a:gd name="connsiteY13" fmla="*/ 160146 h 795074"/>
                <a:gd name="connsiteX14" fmla="*/ 53674 w 493354"/>
                <a:gd name="connsiteY14" fmla="*/ 312653 h 795074"/>
                <a:gd name="connsiteX15" fmla="*/ 31888 w 493354"/>
                <a:gd name="connsiteY15" fmla="*/ 474498 h 795074"/>
                <a:gd name="connsiteX16" fmla="*/ 10101 w 493354"/>
                <a:gd name="connsiteY16" fmla="*/ 605219 h 79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93354" h="795074">
                  <a:moveTo>
                    <a:pt x="10101" y="605219"/>
                  </a:moveTo>
                  <a:cubicBezTo>
                    <a:pt x="13214" y="658129"/>
                    <a:pt x="38113" y="748389"/>
                    <a:pt x="87911" y="776400"/>
                  </a:cubicBezTo>
                  <a:cubicBezTo>
                    <a:pt x="112810" y="788849"/>
                    <a:pt x="153271" y="795075"/>
                    <a:pt x="181283" y="795075"/>
                  </a:cubicBezTo>
                  <a:cubicBezTo>
                    <a:pt x="212407" y="795075"/>
                    <a:pt x="231081" y="776400"/>
                    <a:pt x="259093" y="760838"/>
                  </a:cubicBezTo>
                  <a:cubicBezTo>
                    <a:pt x="327566" y="726602"/>
                    <a:pt x="408487" y="804411"/>
                    <a:pt x="470735" y="751500"/>
                  </a:cubicBezTo>
                  <a:cubicBezTo>
                    <a:pt x="517421" y="711040"/>
                    <a:pt x="483185" y="651904"/>
                    <a:pt x="445836" y="620780"/>
                  </a:cubicBezTo>
                  <a:cubicBezTo>
                    <a:pt x="430274" y="605219"/>
                    <a:pt x="408487" y="595881"/>
                    <a:pt x="392925" y="580319"/>
                  </a:cubicBezTo>
                  <a:cubicBezTo>
                    <a:pt x="368026" y="555420"/>
                    <a:pt x="368026" y="533633"/>
                    <a:pt x="377363" y="502509"/>
                  </a:cubicBezTo>
                  <a:cubicBezTo>
                    <a:pt x="386701" y="471386"/>
                    <a:pt x="392925" y="443374"/>
                    <a:pt x="386701" y="412250"/>
                  </a:cubicBezTo>
                  <a:cubicBezTo>
                    <a:pt x="380476" y="381126"/>
                    <a:pt x="361801" y="359339"/>
                    <a:pt x="340015" y="337553"/>
                  </a:cubicBezTo>
                  <a:cubicBezTo>
                    <a:pt x="318228" y="318878"/>
                    <a:pt x="299553" y="306429"/>
                    <a:pt x="296442" y="275305"/>
                  </a:cubicBezTo>
                  <a:cubicBezTo>
                    <a:pt x="293329" y="253518"/>
                    <a:pt x="299553" y="234844"/>
                    <a:pt x="302666" y="216169"/>
                  </a:cubicBezTo>
                  <a:cubicBezTo>
                    <a:pt x="318228" y="82337"/>
                    <a:pt x="122147" y="-23485"/>
                    <a:pt x="764" y="4527"/>
                  </a:cubicBezTo>
                  <a:cubicBezTo>
                    <a:pt x="-2348" y="4527"/>
                    <a:pt x="3876" y="107236"/>
                    <a:pt x="22551" y="160146"/>
                  </a:cubicBezTo>
                  <a:cubicBezTo>
                    <a:pt x="38113" y="209944"/>
                    <a:pt x="50562" y="259743"/>
                    <a:pt x="53674" y="312653"/>
                  </a:cubicBezTo>
                  <a:cubicBezTo>
                    <a:pt x="56787" y="368677"/>
                    <a:pt x="44338" y="421587"/>
                    <a:pt x="31888" y="474498"/>
                  </a:cubicBezTo>
                  <a:cubicBezTo>
                    <a:pt x="22551" y="518071"/>
                    <a:pt x="6989" y="561645"/>
                    <a:pt x="10101" y="605219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ED5CCE5A-F28D-4A47-8B32-B4F5CC720BF2}"/>
                </a:ext>
              </a:extLst>
            </p:cNvPr>
            <p:cNvSpPr/>
            <p:nvPr/>
          </p:nvSpPr>
          <p:spPr>
            <a:xfrm>
              <a:off x="10321762" y="9395420"/>
              <a:ext cx="287963" cy="459394"/>
            </a:xfrm>
            <a:custGeom>
              <a:avLst/>
              <a:gdLst>
                <a:gd name="connsiteX0" fmla="*/ 12546 w 287963"/>
                <a:gd name="connsiteY0" fmla="*/ 410962 h 459394"/>
                <a:gd name="connsiteX1" fmla="*/ 53007 w 287963"/>
                <a:gd name="connsiteY1" fmla="*/ 435861 h 459394"/>
                <a:gd name="connsiteX2" fmla="*/ 152604 w 287963"/>
                <a:gd name="connsiteY2" fmla="*/ 448311 h 459394"/>
                <a:gd name="connsiteX3" fmla="*/ 286437 w 287963"/>
                <a:gd name="connsiteY3" fmla="*/ 339377 h 459394"/>
                <a:gd name="connsiteX4" fmla="*/ 224189 w 287963"/>
                <a:gd name="connsiteY4" fmla="*/ 171308 h 459394"/>
                <a:gd name="connsiteX5" fmla="*/ 193065 w 287963"/>
                <a:gd name="connsiteY5" fmla="*/ 96610 h 459394"/>
                <a:gd name="connsiteX6" fmla="*/ 149492 w 287963"/>
                <a:gd name="connsiteY6" fmla="*/ 21913 h 459394"/>
                <a:gd name="connsiteX7" fmla="*/ 152604 w 287963"/>
                <a:gd name="connsiteY7" fmla="*/ 12576 h 459394"/>
                <a:gd name="connsiteX8" fmla="*/ 143266 w 287963"/>
                <a:gd name="connsiteY8" fmla="*/ 3238 h 459394"/>
                <a:gd name="connsiteX9" fmla="*/ 127704 w 287963"/>
                <a:gd name="connsiteY9" fmla="*/ 9464 h 459394"/>
                <a:gd name="connsiteX10" fmla="*/ 130817 w 287963"/>
                <a:gd name="connsiteY10" fmla="*/ 25025 h 459394"/>
                <a:gd name="connsiteX11" fmla="*/ 74794 w 287963"/>
                <a:gd name="connsiteY11" fmla="*/ 196207 h 459394"/>
                <a:gd name="connsiteX12" fmla="*/ 74794 w 287963"/>
                <a:gd name="connsiteY12" fmla="*/ 292691 h 459394"/>
                <a:gd name="connsiteX13" fmla="*/ 15659 w 287963"/>
                <a:gd name="connsiteY13" fmla="*/ 342489 h 459394"/>
                <a:gd name="connsiteX14" fmla="*/ 12546 w 287963"/>
                <a:gd name="connsiteY14" fmla="*/ 410962 h 45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7963" h="459394">
                  <a:moveTo>
                    <a:pt x="12546" y="410962"/>
                  </a:moveTo>
                  <a:cubicBezTo>
                    <a:pt x="21883" y="423411"/>
                    <a:pt x="34333" y="432749"/>
                    <a:pt x="53007" y="435861"/>
                  </a:cubicBezTo>
                  <a:cubicBezTo>
                    <a:pt x="90356" y="442086"/>
                    <a:pt x="115255" y="429636"/>
                    <a:pt x="152604" y="448311"/>
                  </a:cubicBezTo>
                  <a:cubicBezTo>
                    <a:pt x="233526" y="485659"/>
                    <a:pt x="298886" y="423411"/>
                    <a:pt x="286437" y="339377"/>
                  </a:cubicBezTo>
                  <a:cubicBezTo>
                    <a:pt x="277100" y="280242"/>
                    <a:pt x="242863" y="227331"/>
                    <a:pt x="224189" y="171308"/>
                  </a:cubicBezTo>
                  <a:cubicBezTo>
                    <a:pt x="214852" y="143296"/>
                    <a:pt x="208627" y="118397"/>
                    <a:pt x="193065" y="96610"/>
                  </a:cubicBezTo>
                  <a:cubicBezTo>
                    <a:pt x="177503" y="71711"/>
                    <a:pt x="155717" y="49924"/>
                    <a:pt x="149492" y="21913"/>
                  </a:cubicBezTo>
                  <a:cubicBezTo>
                    <a:pt x="149492" y="18800"/>
                    <a:pt x="152604" y="15688"/>
                    <a:pt x="152604" y="12576"/>
                  </a:cubicBezTo>
                  <a:cubicBezTo>
                    <a:pt x="155717" y="6351"/>
                    <a:pt x="149492" y="3238"/>
                    <a:pt x="143266" y="3238"/>
                  </a:cubicBezTo>
                  <a:cubicBezTo>
                    <a:pt x="140155" y="-2986"/>
                    <a:pt x="127704" y="126"/>
                    <a:pt x="127704" y="9464"/>
                  </a:cubicBezTo>
                  <a:cubicBezTo>
                    <a:pt x="127704" y="15688"/>
                    <a:pt x="127704" y="18800"/>
                    <a:pt x="130817" y="25025"/>
                  </a:cubicBezTo>
                  <a:cubicBezTo>
                    <a:pt x="109031" y="77936"/>
                    <a:pt x="74794" y="140184"/>
                    <a:pt x="74794" y="196207"/>
                  </a:cubicBezTo>
                  <a:cubicBezTo>
                    <a:pt x="74794" y="227331"/>
                    <a:pt x="90356" y="261567"/>
                    <a:pt x="74794" y="292691"/>
                  </a:cubicBezTo>
                  <a:cubicBezTo>
                    <a:pt x="62345" y="314478"/>
                    <a:pt x="34333" y="323815"/>
                    <a:pt x="15659" y="342489"/>
                  </a:cubicBezTo>
                  <a:cubicBezTo>
                    <a:pt x="-3016" y="358051"/>
                    <a:pt x="-6128" y="389175"/>
                    <a:pt x="12546" y="410962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3CE87C77-56E5-4B2D-84B6-8EB894B9D0E7}"/>
                </a:ext>
              </a:extLst>
            </p:cNvPr>
            <p:cNvSpPr/>
            <p:nvPr/>
          </p:nvSpPr>
          <p:spPr>
            <a:xfrm>
              <a:off x="10241281" y="9771318"/>
              <a:ext cx="799552" cy="1030738"/>
            </a:xfrm>
            <a:custGeom>
              <a:avLst/>
              <a:gdLst>
                <a:gd name="connsiteX0" fmla="*/ 799539 w 799552"/>
                <a:gd name="connsiteY0" fmla="*/ 1003018 h 1030738"/>
                <a:gd name="connsiteX1" fmla="*/ 18329 w 799552"/>
                <a:gd name="connsiteY1" fmla="*/ 1003018 h 1030738"/>
                <a:gd name="connsiteX2" fmla="*/ 37004 w 799552"/>
                <a:gd name="connsiteY2" fmla="*/ 389876 h 1030738"/>
                <a:gd name="connsiteX3" fmla="*/ 65015 w 799552"/>
                <a:gd name="connsiteY3" fmla="*/ 59962 h 1030738"/>
                <a:gd name="connsiteX4" fmla="*/ 441614 w 799552"/>
                <a:gd name="connsiteY4" fmla="*/ 7052 h 1030738"/>
                <a:gd name="connsiteX5" fmla="*/ 765304 w 799552"/>
                <a:gd name="connsiteY5" fmla="*/ 153334 h 1030738"/>
                <a:gd name="connsiteX6" fmla="*/ 799539 w 799552"/>
                <a:gd name="connsiteY6" fmla="*/ 1003018 h 1030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9552" h="1030738">
                  <a:moveTo>
                    <a:pt x="799539" y="1003018"/>
                  </a:moveTo>
                  <a:cubicBezTo>
                    <a:pt x="802652" y="1009242"/>
                    <a:pt x="261096" y="1062153"/>
                    <a:pt x="18329" y="1003018"/>
                  </a:cubicBezTo>
                  <a:cubicBezTo>
                    <a:pt x="30779" y="912759"/>
                    <a:pt x="55678" y="461462"/>
                    <a:pt x="37004" y="389876"/>
                  </a:cubicBezTo>
                  <a:cubicBezTo>
                    <a:pt x="27666" y="355640"/>
                    <a:pt x="-56368" y="119099"/>
                    <a:pt x="65015" y="59962"/>
                  </a:cubicBezTo>
                  <a:cubicBezTo>
                    <a:pt x="173949" y="7052"/>
                    <a:pt x="323344" y="-11622"/>
                    <a:pt x="441614" y="7052"/>
                  </a:cubicBezTo>
                  <a:cubicBezTo>
                    <a:pt x="575448" y="28839"/>
                    <a:pt x="734180" y="84862"/>
                    <a:pt x="765304" y="153334"/>
                  </a:cubicBezTo>
                  <a:cubicBezTo>
                    <a:pt x="871125" y="396101"/>
                    <a:pt x="647032" y="673104"/>
                    <a:pt x="799539" y="1003018"/>
                  </a:cubicBezTo>
                  <a:close/>
                </a:path>
              </a:pathLst>
            </a:custGeom>
            <a:solidFill>
              <a:srgbClr val="7E94B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7A17E88B-2A2E-4F76-AA14-E7E517FA9781}"/>
                </a:ext>
              </a:extLst>
            </p:cNvPr>
            <p:cNvSpPr/>
            <p:nvPr/>
          </p:nvSpPr>
          <p:spPr>
            <a:xfrm>
              <a:off x="10466170" y="9134105"/>
              <a:ext cx="425256" cy="582155"/>
            </a:xfrm>
            <a:custGeom>
              <a:avLst/>
              <a:gdLst>
                <a:gd name="connsiteX0" fmla="*/ 425257 w 425256"/>
                <a:gd name="connsiteY0" fmla="*/ 211643 h 582155"/>
                <a:gd name="connsiteX1" fmla="*/ 381683 w 425256"/>
                <a:gd name="connsiteY1" fmla="*/ 469971 h 582155"/>
                <a:gd name="connsiteX2" fmla="*/ 216726 w 425256"/>
                <a:gd name="connsiteY2" fmla="*/ 582018 h 582155"/>
                <a:gd name="connsiteX3" fmla="*/ 17533 w 425256"/>
                <a:gd name="connsiteY3" fmla="*/ 407724 h 582155"/>
                <a:gd name="connsiteX4" fmla="*/ 8196 w 425256"/>
                <a:gd name="connsiteY4" fmla="*/ 174294 h 582155"/>
                <a:gd name="connsiteX5" fmla="*/ 250962 w 425256"/>
                <a:gd name="connsiteY5" fmla="*/ 0 h 582155"/>
                <a:gd name="connsiteX6" fmla="*/ 425257 w 425256"/>
                <a:gd name="connsiteY6" fmla="*/ 211643 h 582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5256" h="582155">
                  <a:moveTo>
                    <a:pt x="425257" y="211643"/>
                  </a:moveTo>
                  <a:cubicBezTo>
                    <a:pt x="425257" y="211643"/>
                    <a:pt x="425257" y="404611"/>
                    <a:pt x="381683" y="469971"/>
                  </a:cubicBezTo>
                  <a:cubicBezTo>
                    <a:pt x="334997" y="535332"/>
                    <a:pt x="266524" y="585130"/>
                    <a:pt x="216726" y="582018"/>
                  </a:cubicBezTo>
                  <a:cubicBezTo>
                    <a:pt x="148254" y="578905"/>
                    <a:pt x="45544" y="479309"/>
                    <a:pt x="17533" y="407724"/>
                  </a:cubicBezTo>
                  <a:cubicBezTo>
                    <a:pt x="-10478" y="336138"/>
                    <a:pt x="1971" y="227205"/>
                    <a:pt x="8196" y="174294"/>
                  </a:cubicBezTo>
                  <a:cubicBezTo>
                    <a:pt x="20646" y="77810"/>
                    <a:pt x="57995" y="3113"/>
                    <a:pt x="250962" y="0"/>
                  </a:cubicBezTo>
                  <a:cubicBezTo>
                    <a:pt x="334997" y="0"/>
                    <a:pt x="415920" y="130721"/>
                    <a:pt x="425257" y="211643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ECD29A1B-6374-40F1-A67B-C63B80541380}"/>
                </a:ext>
              </a:extLst>
            </p:cNvPr>
            <p:cNvSpPr/>
            <p:nvPr/>
          </p:nvSpPr>
          <p:spPr>
            <a:xfrm>
              <a:off x="10675382" y="9417333"/>
              <a:ext cx="63537" cy="133832"/>
            </a:xfrm>
            <a:custGeom>
              <a:avLst/>
              <a:gdLst>
                <a:gd name="connsiteX0" fmla="*/ 38637 w 63537"/>
                <a:gd name="connsiteY0" fmla="*/ 130720 h 133832"/>
                <a:gd name="connsiteX1" fmla="*/ 4402 w 63537"/>
                <a:gd name="connsiteY1" fmla="*/ 124496 h 133832"/>
                <a:gd name="connsiteX2" fmla="*/ 1289 w 63537"/>
                <a:gd name="connsiteY2" fmla="*/ 118271 h 133832"/>
                <a:gd name="connsiteX3" fmla="*/ 7513 w 63537"/>
                <a:gd name="connsiteY3" fmla="*/ 115158 h 133832"/>
                <a:gd name="connsiteX4" fmla="*/ 47975 w 63537"/>
                <a:gd name="connsiteY4" fmla="*/ 118271 h 133832"/>
                <a:gd name="connsiteX5" fmla="*/ 51088 w 63537"/>
                <a:gd name="connsiteY5" fmla="*/ 115158 h 133832"/>
                <a:gd name="connsiteX6" fmla="*/ 35526 w 63537"/>
                <a:gd name="connsiteY6" fmla="*/ 6225 h 133832"/>
                <a:gd name="connsiteX7" fmla="*/ 41750 w 63537"/>
                <a:gd name="connsiteY7" fmla="*/ 0 h 133832"/>
                <a:gd name="connsiteX8" fmla="*/ 47975 w 63537"/>
                <a:gd name="connsiteY8" fmla="*/ 6225 h 133832"/>
                <a:gd name="connsiteX9" fmla="*/ 63537 w 63537"/>
                <a:gd name="connsiteY9" fmla="*/ 121383 h 133832"/>
                <a:gd name="connsiteX10" fmla="*/ 57312 w 63537"/>
                <a:gd name="connsiteY10" fmla="*/ 133833 h 133832"/>
                <a:gd name="connsiteX11" fmla="*/ 38637 w 63537"/>
                <a:gd name="connsiteY11" fmla="*/ 130720 h 133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3537" h="133832">
                  <a:moveTo>
                    <a:pt x="38637" y="130720"/>
                  </a:moveTo>
                  <a:cubicBezTo>
                    <a:pt x="23075" y="130720"/>
                    <a:pt x="7513" y="124496"/>
                    <a:pt x="4402" y="124496"/>
                  </a:cubicBezTo>
                  <a:cubicBezTo>
                    <a:pt x="1289" y="124496"/>
                    <a:pt x="-1823" y="121383"/>
                    <a:pt x="1289" y="118271"/>
                  </a:cubicBezTo>
                  <a:cubicBezTo>
                    <a:pt x="1289" y="115158"/>
                    <a:pt x="4402" y="112046"/>
                    <a:pt x="7513" y="115158"/>
                  </a:cubicBezTo>
                  <a:cubicBezTo>
                    <a:pt x="19964" y="118271"/>
                    <a:pt x="41750" y="124496"/>
                    <a:pt x="47975" y="118271"/>
                  </a:cubicBezTo>
                  <a:cubicBezTo>
                    <a:pt x="47975" y="118271"/>
                    <a:pt x="51088" y="115158"/>
                    <a:pt x="51088" y="115158"/>
                  </a:cubicBezTo>
                  <a:cubicBezTo>
                    <a:pt x="54199" y="99596"/>
                    <a:pt x="41750" y="31124"/>
                    <a:pt x="35526" y="6225"/>
                  </a:cubicBezTo>
                  <a:cubicBezTo>
                    <a:pt x="35526" y="3113"/>
                    <a:pt x="38637" y="0"/>
                    <a:pt x="41750" y="0"/>
                  </a:cubicBezTo>
                  <a:cubicBezTo>
                    <a:pt x="44863" y="0"/>
                    <a:pt x="47975" y="3113"/>
                    <a:pt x="47975" y="6225"/>
                  </a:cubicBezTo>
                  <a:cubicBezTo>
                    <a:pt x="47975" y="9337"/>
                    <a:pt x="63537" y="99596"/>
                    <a:pt x="63537" y="121383"/>
                  </a:cubicBezTo>
                  <a:cubicBezTo>
                    <a:pt x="63537" y="127608"/>
                    <a:pt x="60425" y="130720"/>
                    <a:pt x="57312" y="133833"/>
                  </a:cubicBezTo>
                  <a:cubicBezTo>
                    <a:pt x="51088" y="130720"/>
                    <a:pt x="44863" y="130720"/>
                    <a:pt x="38637" y="130720"/>
                  </a:cubicBezTo>
                  <a:close/>
                </a:path>
              </a:pathLst>
            </a:custGeom>
            <a:solidFill>
              <a:srgbClr val="E58777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F942339B-2DFC-4057-8D73-06292FACC17C}"/>
                </a:ext>
              </a:extLst>
            </p:cNvPr>
            <p:cNvSpPr/>
            <p:nvPr/>
          </p:nvSpPr>
          <p:spPr>
            <a:xfrm>
              <a:off x="10633876" y="9583068"/>
              <a:ext cx="123717" cy="33457"/>
            </a:xfrm>
            <a:custGeom>
              <a:avLst/>
              <a:gdLst>
                <a:gd name="connsiteX0" fmla="*/ 70807 w 123717"/>
                <a:gd name="connsiteY0" fmla="*/ 33458 h 33457"/>
                <a:gd name="connsiteX1" fmla="*/ 2334 w 123717"/>
                <a:gd name="connsiteY1" fmla="*/ 11671 h 33457"/>
                <a:gd name="connsiteX2" fmla="*/ 2334 w 123717"/>
                <a:gd name="connsiteY2" fmla="*/ 2334 h 33457"/>
                <a:gd name="connsiteX3" fmla="*/ 11671 w 123717"/>
                <a:gd name="connsiteY3" fmla="*/ 2334 h 33457"/>
                <a:gd name="connsiteX4" fmla="*/ 114380 w 123717"/>
                <a:gd name="connsiteY4" fmla="*/ 14784 h 33457"/>
                <a:gd name="connsiteX5" fmla="*/ 123718 w 123717"/>
                <a:gd name="connsiteY5" fmla="*/ 17896 h 33457"/>
                <a:gd name="connsiteX6" fmla="*/ 120605 w 123717"/>
                <a:gd name="connsiteY6" fmla="*/ 27233 h 33457"/>
                <a:gd name="connsiteX7" fmla="*/ 70807 w 123717"/>
                <a:gd name="connsiteY7" fmla="*/ 33458 h 33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717" h="33457">
                  <a:moveTo>
                    <a:pt x="70807" y="33458"/>
                  </a:moveTo>
                  <a:cubicBezTo>
                    <a:pt x="49020" y="33458"/>
                    <a:pt x="27233" y="27233"/>
                    <a:pt x="2334" y="11671"/>
                  </a:cubicBezTo>
                  <a:cubicBezTo>
                    <a:pt x="-778" y="8559"/>
                    <a:pt x="-778" y="5447"/>
                    <a:pt x="2334" y="2334"/>
                  </a:cubicBezTo>
                  <a:cubicBezTo>
                    <a:pt x="5446" y="-778"/>
                    <a:pt x="8559" y="-778"/>
                    <a:pt x="11671" y="2334"/>
                  </a:cubicBezTo>
                  <a:cubicBezTo>
                    <a:pt x="58357" y="36571"/>
                    <a:pt x="111267" y="14784"/>
                    <a:pt x="114380" y="14784"/>
                  </a:cubicBezTo>
                  <a:cubicBezTo>
                    <a:pt x="117493" y="14784"/>
                    <a:pt x="120605" y="14784"/>
                    <a:pt x="123718" y="17896"/>
                  </a:cubicBezTo>
                  <a:cubicBezTo>
                    <a:pt x="123718" y="21009"/>
                    <a:pt x="123718" y="24121"/>
                    <a:pt x="120605" y="27233"/>
                  </a:cubicBezTo>
                  <a:cubicBezTo>
                    <a:pt x="111267" y="27233"/>
                    <a:pt x="92594" y="33458"/>
                    <a:pt x="70807" y="33458"/>
                  </a:cubicBezTo>
                  <a:close/>
                </a:path>
              </a:pathLst>
            </a:custGeom>
            <a:solidFill>
              <a:srgbClr val="E58777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77D5BC0E-D26C-4632-907C-2ED50B857817}"/>
                </a:ext>
              </a:extLst>
            </p:cNvPr>
            <p:cNvSpPr/>
            <p:nvPr/>
          </p:nvSpPr>
          <p:spPr>
            <a:xfrm>
              <a:off x="10782492" y="9395546"/>
              <a:ext cx="40460" cy="40461"/>
            </a:xfrm>
            <a:custGeom>
              <a:avLst/>
              <a:gdLst>
                <a:gd name="connsiteX0" fmla="*/ 0 w 40460"/>
                <a:gd name="connsiteY0" fmla="*/ 21787 h 40461"/>
                <a:gd name="connsiteX1" fmla="*/ 21787 w 40460"/>
                <a:gd name="connsiteY1" fmla="*/ 40461 h 40461"/>
                <a:gd name="connsiteX2" fmla="*/ 40461 w 40460"/>
                <a:gd name="connsiteY2" fmla="*/ 18674 h 40461"/>
                <a:gd name="connsiteX3" fmla="*/ 18675 w 40460"/>
                <a:gd name="connsiteY3" fmla="*/ 0 h 40461"/>
                <a:gd name="connsiteX4" fmla="*/ 0 w 40460"/>
                <a:gd name="connsiteY4" fmla="*/ 21787 h 4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60" h="40461">
                  <a:moveTo>
                    <a:pt x="0" y="21787"/>
                  </a:moveTo>
                  <a:cubicBezTo>
                    <a:pt x="0" y="34236"/>
                    <a:pt x="9337" y="40461"/>
                    <a:pt x="21787" y="40461"/>
                  </a:cubicBezTo>
                  <a:cubicBezTo>
                    <a:pt x="34237" y="40461"/>
                    <a:pt x="40461" y="31124"/>
                    <a:pt x="40461" y="18674"/>
                  </a:cubicBezTo>
                  <a:cubicBezTo>
                    <a:pt x="40461" y="6225"/>
                    <a:pt x="31124" y="0"/>
                    <a:pt x="18675" y="0"/>
                  </a:cubicBezTo>
                  <a:cubicBezTo>
                    <a:pt x="9337" y="0"/>
                    <a:pt x="0" y="12449"/>
                    <a:pt x="0" y="21787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2563872A-D918-4E0B-B39A-A1C9715CE4BB}"/>
                </a:ext>
              </a:extLst>
            </p:cNvPr>
            <p:cNvSpPr/>
            <p:nvPr/>
          </p:nvSpPr>
          <p:spPr>
            <a:xfrm>
              <a:off x="10589524" y="9379984"/>
              <a:ext cx="40461" cy="40461"/>
            </a:xfrm>
            <a:custGeom>
              <a:avLst/>
              <a:gdLst>
                <a:gd name="connsiteX0" fmla="*/ 0 w 40461"/>
                <a:gd name="connsiteY0" fmla="*/ 21787 h 40461"/>
                <a:gd name="connsiteX1" fmla="*/ 21787 w 40461"/>
                <a:gd name="connsiteY1" fmla="*/ 40461 h 40461"/>
                <a:gd name="connsiteX2" fmla="*/ 40462 w 40461"/>
                <a:gd name="connsiteY2" fmla="*/ 18674 h 40461"/>
                <a:gd name="connsiteX3" fmla="*/ 18675 w 40461"/>
                <a:gd name="connsiteY3" fmla="*/ 0 h 40461"/>
                <a:gd name="connsiteX4" fmla="*/ 0 w 40461"/>
                <a:gd name="connsiteY4" fmla="*/ 21787 h 4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61" h="40461">
                  <a:moveTo>
                    <a:pt x="0" y="21787"/>
                  </a:moveTo>
                  <a:cubicBezTo>
                    <a:pt x="0" y="34236"/>
                    <a:pt x="9338" y="40461"/>
                    <a:pt x="21787" y="40461"/>
                  </a:cubicBezTo>
                  <a:cubicBezTo>
                    <a:pt x="34237" y="40461"/>
                    <a:pt x="40462" y="31124"/>
                    <a:pt x="40462" y="18674"/>
                  </a:cubicBezTo>
                  <a:cubicBezTo>
                    <a:pt x="40462" y="6225"/>
                    <a:pt x="31124" y="0"/>
                    <a:pt x="18675" y="0"/>
                  </a:cubicBezTo>
                  <a:cubicBezTo>
                    <a:pt x="6225" y="0"/>
                    <a:pt x="0" y="9337"/>
                    <a:pt x="0" y="21787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CC5E3A10-2E7C-4F16-9ADB-51E110048391}"/>
                </a:ext>
              </a:extLst>
            </p:cNvPr>
            <p:cNvSpPr/>
            <p:nvPr/>
          </p:nvSpPr>
          <p:spPr>
            <a:xfrm>
              <a:off x="10766931" y="9347089"/>
              <a:ext cx="92303" cy="39119"/>
            </a:xfrm>
            <a:custGeom>
              <a:avLst/>
              <a:gdLst>
                <a:gd name="connsiteX0" fmla="*/ 80922 w 92303"/>
                <a:gd name="connsiteY0" fmla="*/ 39120 h 39119"/>
                <a:gd name="connsiteX1" fmla="*/ 74697 w 92303"/>
                <a:gd name="connsiteY1" fmla="*/ 36007 h 39119"/>
                <a:gd name="connsiteX2" fmla="*/ 9337 w 92303"/>
                <a:gd name="connsiteY2" fmla="*/ 20445 h 39119"/>
                <a:gd name="connsiteX3" fmla="*/ 0 w 92303"/>
                <a:gd name="connsiteY3" fmla="*/ 14220 h 39119"/>
                <a:gd name="connsiteX4" fmla="*/ 6225 w 92303"/>
                <a:gd name="connsiteY4" fmla="*/ 4883 h 39119"/>
                <a:gd name="connsiteX5" fmla="*/ 90259 w 92303"/>
                <a:gd name="connsiteY5" fmla="*/ 26670 h 39119"/>
                <a:gd name="connsiteX6" fmla="*/ 87147 w 92303"/>
                <a:gd name="connsiteY6" fmla="*/ 39120 h 39119"/>
                <a:gd name="connsiteX7" fmla="*/ 80922 w 92303"/>
                <a:gd name="connsiteY7" fmla="*/ 39120 h 39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303" h="39119">
                  <a:moveTo>
                    <a:pt x="80922" y="39120"/>
                  </a:moveTo>
                  <a:cubicBezTo>
                    <a:pt x="77810" y="39120"/>
                    <a:pt x="74697" y="39120"/>
                    <a:pt x="74697" y="36007"/>
                  </a:cubicBezTo>
                  <a:cubicBezTo>
                    <a:pt x="52911" y="4883"/>
                    <a:pt x="9337" y="20445"/>
                    <a:pt x="9337" y="20445"/>
                  </a:cubicBezTo>
                  <a:cubicBezTo>
                    <a:pt x="6225" y="23558"/>
                    <a:pt x="0" y="20445"/>
                    <a:pt x="0" y="14220"/>
                  </a:cubicBezTo>
                  <a:cubicBezTo>
                    <a:pt x="0" y="11108"/>
                    <a:pt x="0" y="4883"/>
                    <a:pt x="6225" y="4883"/>
                  </a:cubicBezTo>
                  <a:cubicBezTo>
                    <a:pt x="24899" y="-1342"/>
                    <a:pt x="68473" y="-7566"/>
                    <a:pt x="90259" y="26670"/>
                  </a:cubicBezTo>
                  <a:cubicBezTo>
                    <a:pt x="93372" y="29782"/>
                    <a:pt x="93372" y="36007"/>
                    <a:pt x="87147" y="39120"/>
                  </a:cubicBezTo>
                  <a:cubicBezTo>
                    <a:pt x="84035" y="36007"/>
                    <a:pt x="80922" y="39120"/>
                    <a:pt x="80922" y="39120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3DBBCBFB-8247-42A6-9A5D-897148C1670F}"/>
                </a:ext>
              </a:extLst>
            </p:cNvPr>
            <p:cNvSpPr/>
            <p:nvPr/>
          </p:nvSpPr>
          <p:spPr>
            <a:xfrm>
              <a:off x="10565403" y="9321309"/>
              <a:ext cx="93075" cy="33775"/>
            </a:xfrm>
            <a:custGeom>
              <a:avLst/>
              <a:gdLst>
                <a:gd name="connsiteX0" fmla="*/ 89481 w 93075"/>
                <a:gd name="connsiteY0" fmla="*/ 33775 h 33775"/>
                <a:gd name="connsiteX1" fmla="*/ 83257 w 93075"/>
                <a:gd name="connsiteY1" fmla="*/ 30663 h 33775"/>
                <a:gd name="connsiteX2" fmla="*/ 14784 w 93075"/>
                <a:gd name="connsiteY2" fmla="*/ 27551 h 33775"/>
                <a:gd name="connsiteX3" fmla="*/ 2334 w 93075"/>
                <a:gd name="connsiteY3" fmla="*/ 27551 h 33775"/>
                <a:gd name="connsiteX4" fmla="*/ 2334 w 93075"/>
                <a:gd name="connsiteY4" fmla="*/ 15101 h 33775"/>
                <a:gd name="connsiteX5" fmla="*/ 89481 w 93075"/>
                <a:gd name="connsiteY5" fmla="*/ 18214 h 33775"/>
                <a:gd name="connsiteX6" fmla="*/ 89481 w 93075"/>
                <a:gd name="connsiteY6" fmla="*/ 30663 h 33775"/>
                <a:gd name="connsiteX7" fmla="*/ 89481 w 93075"/>
                <a:gd name="connsiteY7" fmla="*/ 33775 h 33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5" h="33775">
                  <a:moveTo>
                    <a:pt x="89481" y="33775"/>
                  </a:moveTo>
                  <a:cubicBezTo>
                    <a:pt x="86368" y="33775"/>
                    <a:pt x="86368" y="33775"/>
                    <a:pt x="83257" y="30663"/>
                  </a:cubicBezTo>
                  <a:cubicBezTo>
                    <a:pt x="49020" y="2652"/>
                    <a:pt x="17896" y="27551"/>
                    <a:pt x="14784" y="27551"/>
                  </a:cubicBezTo>
                  <a:cubicBezTo>
                    <a:pt x="11671" y="30663"/>
                    <a:pt x="5447" y="30663"/>
                    <a:pt x="2334" y="27551"/>
                  </a:cubicBezTo>
                  <a:cubicBezTo>
                    <a:pt x="-778" y="24438"/>
                    <a:pt x="-778" y="18214"/>
                    <a:pt x="2334" y="15101"/>
                  </a:cubicBezTo>
                  <a:cubicBezTo>
                    <a:pt x="17896" y="2652"/>
                    <a:pt x="55245" y="-12910"/>
                    <a:pt x="89481" y="18214"/>
                  </a:cubicBezTo>
                  <a:cubicBezTo>
                    <a:pt x="92594" y="21326"/>
                    <a:pt x="92594" y="27551"/>
                    <a:pt x="89481" y="30663"/>
                  </a:cubicBezTo>
                  <a:cubicBezTo>
                    <a:pt x="95706" y="33775"/>
                    <a:pt x="92594" y="33775"/>
                    <a:pt x="89481" y="33775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AF1B479D-475E-43B8-B6D8-DDD4D733C0A2}"/>
                </a:ext>
              </a:extLst>
            </p:cNvPr>
            <p:cNvSpPr/>
            <p:nvPr/>
          </p:nvSpPr>
          <p:spPr>
            <a:xfrm>
              <a:off x="10659000" y="9099869"/>
              <a:ext cx="256617" cy="292564"/>
            </a:xfrm>
            <a:custGeom>
              <a:avLst/>
              <a:gdLst>
                <a:gd name="connsiteX0" fmla="*/ 8334 w 256617"/>
                <a:gd name="connsiteY0" fmla="*/ 0 h 292564"/>
                <a:gd name="connsiteX1" fmla="*/ 27008 w 256617"/>
                <a:gd name="connsiteY1" fmla="*/ 133833 h 292564"/>
                <a:gd name="connsiteX2" fmla="*/ 251101 w 256617"/>
                <a:gd name="connsiteY2" fmla="*/ 292565 h 292564"/>
                <a:gd name="connsiteX3" fmla="*/ 8334 w 256617"/>
                <a:gd name="connsiteY3" fmla="*/ 0 h 292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617" h="292564">
                  <a:moveTo>
                    <a:pt x="8334" y="0"/>
                  </a:moveTo>
                  <a:cubicBezTo>
                    <a:pt x="8334" y="0"/>
                    <a:pt x="-19677" y="87147"/>
                    <a:pt x="27008" y="133833"/>
                  </a:cubicBezTo>
                  <a:cubicBezTo>
                    <a:pt x="27008" y="133833"/>
                    <a:pt x="235539" y="205418"/>
                    <a:pt x="251101" y="292565"/>
                  </a:cubicBezTo>
                  <a:cubicBezTo>
                    <a:pt x="254214" y="292565"/>
                    <a:pt x="307124" y="3112"/>
                    <a:pt x="8334" y="0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FB43E2B6-D6F7-4EAF-A303-D420AE818BA0}"/>
                </a:ext>
              </a:extLst>
            </p:cNvPr>
            <p:cNvSpPr/>
            <p:nvPr/>
          </p:nvSpPr>
          <p:spPr>
            <a:xfrm>
              <a:off x="10437017" y="9102840"/>
              <a:ext cx="248991" cy="294159"/>
            </a:xfrm>
            <a:custGeom>
              <a:avLst/>
              <a:gdLst>
                <a:gd name="connsiteX0" fmla="*/ 248991 w 248991"/>
                <a:gd name="connsiteY0" fmla="*/ 130861 h 294159"/>
                <a:gd name="connsiteX1" fmla="*/ 99597 w 248991"/>
                <a:gd name="connsiteY1" fmla="*/ 168210 h 294159"/>
                <a:gd name="connsiteX2" fmla="*/ 24900 w 248991"/>
                <a:gd name="connsiteY2" fmla="*/ 283368 h 294159"/>
                <a:gd name="connsiteX3" fmla="*/ 0 w 248991"/>
                <a:gd name="connsiteY3" fmla="*/ 277144 h 294159"/>
                <a:gd name="connsiteX4" fmla="*/ 230317 w 248991"/>
                <a:gd name="connsiteY4" fmla="*/ 140 h 294159"/>
                <a:gd name="connsiteX5" fmla="*/ 248991 w 248991"/>
                <a:gd name="connsiteY5" fmla="*/ 130861 h 294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8991" h="294159">
                  <a:moveTo>
                    <a:pt x="248991" y="130861"/>
                  </a:moveTo>
                  <a:cubicBezTo>
                    <a:pt x="248991" y="130861"/>
                    <a:pt x="152507" y="168210"/>
                    <a:pt x="99597" y="168210"/>
                  </a:cubicBezTo>
                  <a:cubicBezTo>
                    <a:pt x="46686" y="168210"/>
                    <a:pt x="24900" y="283368"/>
                    <a:pt x="24900" y="283368"/>
                  </a:cubicBezTo>
                  <a:cubicBezTo>
                    <a:pt x="24900" y="283368"/>
                    <a:pt x="0" y="311380"/>
                    <a:pt x="0" y="277144"/>
                  </a:cubicBezTo>
                  <a:cubicBezTo>
                    <a:pt x="3113" y="196221"/>
                    <a:pt x="28011" y="-6084"/>
                    <a:pt x="230317" y="140"/>
                  </a:cubicBezTo>
                  <a:cubicBezTo>
                    <a:pt x="230317" y="-2972"/>
                    <a:pt x="227205" y="121524"/>
                    <a:pt x="248991" y="130861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1AC9CCFA-6949-4552-8854-D792C335DC44}"/>
                </a:ext>
              </a:extLst>
            </p:cNvPr>
            <p:cNvSpPr/>
            <p:nvPr/>
          </p:nvSpPr>
          <p:spPr>
            <a:xfrm>
              <a:off x="10416438" y="9366591"/>
              <a:ext cx="76694" cy="118143"/>
            </a:xfrm>
            <a:custGeom>
              <a:avLst/>
              <a:gdLst>
                <a:gd name="connsiteX0" fmla="*/ 70377 w 76694"/>
                <a:gd name="connsiteY0" fmla="*/ 22730 h 118143"/>
                <a:gd name="connsiteX1" fmla="*/ 11242 w 76694"/>
                <a:gd name="connsiteY1" fmla="*/ 4056 h 118143"/>
                <a:gd name="connsiteX2" fmla="*/ 54815 w 76694"/>
                <a:gd name="connsiteY2" fmla="*/ 116102 h 118143"/>
                <a:gd name="connsiteX3" fmla="*/ 70377 w 76694"/>
                <a:gd name="connsiteY3" fmla="*/ 22730 h 118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694" h="118143">
                  <a:moveTo>
                    <a:pt x="70377" y="22730"/>
                  </a:moveTo>
                  <a:cubicBezTo>
                    <a:pt x="70377" y="22730"/>
                    <a:pt x="39253" y="-11506"/>
                    <a:pt x="11242" y="4056"/>
                  </a:cubicBezTo>
                  <a:cubicBezTo>
                    <a:pt x="-16770" y="19618"/>
                    <a:pt x="11242" y="134776"/>
                    <a:pt x="54815" y="116102"/>
                  </a:cubicBezTo>
                  <a:cubicBezTo>
                    <a:pt x="92164" y="100540"/>
                    <a:pt x="70377" y="22730"/>
                    <a:pt x="70377" y="22730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540F0F53-9F74-4238-89A9-5E25675F89D0}"/>
                </a:ext>
              </a:extLst>
            </p:cNvPr>
            <p:cNvSpPr/>
            <p:nvPr/>
          </p:nvSpPr>
          <p:spPr>
            <a:xfrm>
              <a:off x="10461916" y="9093644"/>
              <a:ext cx="230316" cy="286339"/>
            </a:xfrm>
            <a:custGeom>
              <a:avLst/>
              <a:gdLst>
                <a:gd name="connsiteX0" fmla="*/ 6224 w 230316"/>
                <a:gd name="connsiteY0" fmla="*/ 286340 h 286339"/>
                <a:gd name="connsiteX1" fmla="*/ 6224 w 230316"/>
                <a:gd name="connsiteY1" fmla="*/ 286340 h 286339"/>
                <a:gd name="connsiteX2" fmla="*/ 0 w 230316"/>
                <a:gd name="connsiteY2" fmla="*/ 280115 h 286339"/>
                <a:gd name="connsiteX3" fmla="*/ 74697 w 230316"/>
                <a:gd name="connsiteY3" fmla="*/ 171182 h 286339"/>
                <a:gd name="connsiteX4" fmla="*/ 214755 w 230316"/>
                <a:gd name="connsiteY4" fmla="*/ 133832 h 286339"/>
                <a:gd name="connsiteX5" fmla="*/ 202305 w 230316"/>
                <a:gd name="connsiteY5" fmla="*/ 112046 h 286339"/>
                <a:gd name="connsiteX6" fmla="*/ 196080 w 230316"/>
                <a:gd name="connsiteY6" fmla="*/ 65360 h 286339"/>
                <a:gd name="connsiteX7" fmla="*/ 196080 w 230316"/>
                <a:gd name="connsiteY7" fmla="*/ 34236 h 286339"/>
                <a:gd name="connsiteX8" fmla="*/ 196080 w 230316"/>
                <a:gd name="connsiteY8" fmla="*/ 6225 h 286339"/>
                <a:gd name="connsiteX9" fmla="*/ 202305 w 230316"/>
                <a:gd name="connsiteY9" fmla="*/ 0 h 286339"/>
                <a:gd name="connsiteX10" fmla="*/ 202305 w 230316"/>
                <a:gd name="connsiteY10" fmla="*/ 0 h 286339"/>
                <a:gd name="connsiteX11" fmla="*/ 208530 w 230316"/>
                <a:gd name="connsiteY11" fmla="*/ 6225 h 286339"/>
                <a:gd name="connsiteX12" fmla="*/ 208530 w 230316"/>
                <a:gd name="connsiteY12" fmla="*/ 34236 h 286339"/>
                <a:gd name="connsiteX13" fmla="*/ 208530 w 230316"/>
                <a:gd name="connsiteY13" fmla="*/ 65360 h 286339"/>
                <a:gd name="connsiteX14" fmla="*/ 214755 w 230316"/>
                <a:gd name="connsiteY14" fmla="*/ 108934 h 286339"/>
                <a:gd name="connsiteX15" fmla="*/ 230317 w 230316"/>
                <a:gd name="connsiteY15" fmla="*/ 133832 h 286339"/>
                <a:gd name="connsiteX16" fmla="*/ 230317 w 230316"/>
                <a:gd name="connsiteY16" fmla="*/ 140058 h 286339"/>
                <a:gd name="connsiteX17" fmla="*/ 227204 w 230316"/>
                <a:gd name="connsiteY17" fmla="*/ 143170 h 286339"/>
                <a:gd name="connsiteX18" fmla="*/ 74697 w 230316"/>
                <a:gd name="connsiteY18" fmla="*/ 183631 h 286339"/>
                <a:gd name="connsiteX19" fmla="*/ 9337 w 230316"/>
                <a:gd name="connsiteY19" fmla="*/ 280115 h 286339"/>
                <a:gd name="connsiteX20" fmla="*/ 6224 w 230316"/>
                <a:gd name="connsiteY20" fmla="*/ 286340 h 286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30316" h="286339">
                  <a:moveTo>
                    <a:pt x="6224" y="286340"/>
                  </a:moveTo>
                  <a:cubicBezTo>
                    <a:pt x="3112" y="286340"/>
                    <a:pt x="3112" y="286340"/>
                    <a:pt x="6224" y="286340"/>
                  </a:cubicBezTo>
                  <a:cubicBezTo>
                    <a:pt x="3112" y="286340"/>
                    <a:pt x="0" y="283227"/>
                    <a:pt x="0" y="280115"/>
                  </a:cubicBezTo>
                  <a:cubicBezTo>
                    <a:pt x="0" y="277003"/>
                    <a:pt x="15562" y="174294"/>
                    <a:pt x="74697" y="171182"/>
                  </a:cubicBezTo>
                  <a:cubicBezTo>
                    <a:pt x="130720" y="171182"/>
                    <a:pt x="196080" y="143170"/>
                    <a:pt x="214755" y="133832"/>
                  </a:cubicBezTo>
                  <a:cubicBezTo>
                    <a:pt x="211642" y="127608"/>
                    <a:pt x="205417" y="118271"/>
                    <a:pt x="202305" y="112046"/>
                  </a:cubicBezTo>
                  <a:cubicBezTo>
                    <a:pt x="196080" y="96484"/>
                    <a:pt x="196080" y="80922"/>
                    <a:pt x="196080" y="65360"/>
                  </a:cubicBezTo>
                  <a:cubicBezTo>
                    <a:pt x="196080" y="59135"/>
                    <a:pt x="196080" y="46686"/>
                    <a:pt x="196080" y="34236"/>
                  </a:cubicBezTo>
                  <a:cubicBezTo>
                    <a:pt x="196080" y="24899"/>
                    <a:pt x="196080" y="12449"/>
                    <a:pt x="196080" y="6225"/>
                  </a:cubicBezTo>
                  <a:cubicBezTo>
                    <a:pt x="196080" y="3112"/>
                    <a:pt x="199193" y="0"/>
                    <a:pt x="202305" y="0"/>
                  </a:cubicBezTo>
                  <a:cubicBezTo>
                    <a:pt x="202305" y="0"/>
                    <a:pt x="202305" y="0"/>
                    <a:pt x="202305" y="0"/>
                  </a:cubicBezTo>
                  <a:cubicBezTo>
                    <a:pt x="205417" y="0"/>
                    <a:pt x="208530" y="3112"/>
                    <a:pt x="208530" y="6225"/>
                  </a:cubicBezTo>
                  <a:cubicBezTo>
                    <a:pt x="208530" y="12449"/>
                    <a:pt x="208530" y="24899"/>
                    <a:pt x="208530" y="34236"/>
                  </a:cubicBezTo>
                  <a:cubicBezTo>
                    <a:pt x="208530" y="46686"/>
                    <a:pt x="208530" y="56023"/>
                    <a:pt x="208530" y="65360"/>
                  </a:cubicBezTo>
                  <a:cubicBezTo>
                    <a:pt x="208530" y="77810"/>
                    <a:pt x="208530" y="93372"/>
                    <a:pt x="214755" y="108934"/>
                  </a:cubicBezTo>
                  <a:cubicBezTo>
                    <a:pt x="217867" y="118271"/>
                    <a:pt x="224092" y="127608"/>
                    <a:pt x="230317" y="133832"/>
                  </a:cubicBezTo>
                  <a:cubicBezTo>
                    <a:pt x="230317" y="133832"/>
                    <a:pt x="230317" y="136945"/>
                    <a:pt x="230317" y="140058"/>
                  </a:cubicBezTo>
                  <a:cubicBezTo>
                    <a:pt x="230317" y="143170"/>
                    <a:pt x="227204" y="143170"/>
                    <a:pt x="227204" y="143170"/>
                  </a:cubicBezTo>
                  <a:cubicBezTo>
                    <a:pt x="224092" y="143170"/>
                    <a:pt x="146282" y="180518"/>
                    <a:pt x="74697" y="183631"/>
                  </a:cubicBezTo>
                  <a:cubicBezTo>
                    <a:pt x="24899" y="183631"/>
                    <a:pt x="9337" y="280115"/>
                    <a:pt x="9337" y="280115"/>
                  </a:cubicBezTo>
                  <a:cubicBezTo>
                    <a:pt x="9337" y="283227"/>
                    <a:pt x="6224" y="286340"/>
                    <a:pt x="6224" y="286340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18BBACC3-B004-4ABF-8AFF-54C74E33EEA0}"/>
                </a:ext>
              </a:extLst>
            </p:cNvPr>
            <p:cNvSpPr/>
            <p:nvPr/>
          </p:nvSpPr>
          <p:spPr>
            <a:xfrm>
              <a:off x="10743855" y="9254199"/>
              <a:ext cx="246539" cy="321865"/>
            </a:xfrm>
            <a:custGeom>
              <a:avLst/>
              <a:gdLst>
                <a:gd name="connsiteX0" fmla="*/ 237831 w 246539"/>
                <a:gd name="connsiteY0" fmla="*/ 321866 h 321865"/>
                <a:gd name="connsiteX1" fmla="*/ 237831 w 246539"/>
                <a:gd name="connsiteY1" fmla="*/ 321866 h 321865"/>
                <a:gd name="connsiteX2" fmla="*/ 231607 w 246539"/>
                <a:gd name="connsiteY2" fmla="*/ 315641 h 321865"/>
                <a:gd name="connsiteX3" fmla="*/ 206707 w 246539"/>
                <a:gd name="connsiteY3" fmla="*/ 256505 h 321865"/>
                <a:gd name="connsiteX4" fmla="*/ 163134 w 246539"/>
                <a:gd name="connsiteY4" fmla="*/ 153796 h 321865"/>
                <a:gd name="connsiteX5" fmla="*/ 4401 w 246539"/>
                <a:gd name="connsiteY5" fmla="*/ 10627 h 321865"/>
                <a:gd name="connsiteX6" fmla="*/ 1289 w 246539"/>
                <a:gd name="connsiteY6" fmla="*/ 4401 h 321865"/>
                <a:gd name="connsiteX7" fmla="*/ 7514 w 246539"/>
                <a:gd name="connsiteY7" fmla="*/ 1289 h 321865"/>
                <a:gd name="connsiteX8" fmla="*/ 175583 w 246539"/>
                <a:gd name="connsiteY8" fmla="*/ 156909 h 321865"/>
                <a:gd name="connsiteX9" fmla="*/ 216045 w 246539"/>
                <a:gd name="connsiteY9" fmla="*/ 250281 h 321865"/>
                <a:gd name="connsiteX10" fmla="*/ 244056 w 246539"/>
                <a:gd name="connsiteY10" fmla="*/ 318753 h 321865"/>
                <a:gd name="connsiteX11" fmla="*/ 237831 w 246539"/>
                <a:gd name="connsiteY11" fmla="*/ 321866 h 321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6539" h="321865">
                  <a:moveTo>
                    <a:pt x="237831" y="321866"/>
                  </a:moveTo>
                  <a:cubicBezTo>
                    <a:pt x="237831" y="321866"/>
                    <a:pt x="237831" y="321866"/>
                    <a:pt x="237831" y="321866"/>
                  </a:cubicBezTo>
                  <a:cubicBezTo>
                    <a:pt x="234718" y="321866"/>
                    <a:pt x="231607" y="318753"/>
                    <a:pt x="231607" y="315641"/>
                  </a:cubicBezTo>
                  <a:cubicBezTo>
                    <a:pt x="237831" y="287629"/>
                    <a:pt x="225381" y="275180"/>
                    <a:pt x="206707" y="256505"/>
                  </a:cubicBezTo>
                  <a:cubicBezTo>
                    <a:pt x="184921" y="237831"/>
                    <a:pt x="160021" y="212932"/>
                    <a:pt x="163134" y="153796"/>
                  </a:cubicBezTo>
                  <a:cubicBezTo>
                    <a:pt x="169359" y="54200"/>
                    <a:pt x="4401" y="10627"/>
                    <a:pt x="4401" y="10627"/>
                  </a:cubicBezTo>
                  <a:cubicBezTo>
                    <a:pt x="1289" y="10627"/>
                    <a:pt x="-1823" y="7514"/>
                    <a:pt x="1289" y="4401"/>
                  </a:cubicBezTo>
                  <a:cubicBezTo>
                    <a:pt x="1289" y="1289"/>
                    <a:pt x="4401" y="-1823"/>
                    <a:pt x="7514" y="1289"/>
                  </a:cubicBezTo>
                  <a:cubicBezTo>
                    <a:pt x="13739" y="4401"/>
                    <a:pt x="181808" y="51087"/>
                    <a:pt x="175583" y="156909"/>
                  </a:cubicBezTo>
                  <a:cubicBezTo>
                    <a:pt x="172470" y="209819"/>
                    <a:pt x="194258" y="231606"/>
                    <a:pt x="216045" y="250281"/>
                  </a:cubicBezTo>
                  <a:cubicBezTo>
                    <a:pt x="234718" y="268955"/>
                    <a:pt x="253393" y="284517"/>
                    <a:pt x="244056" y="318753"/>
                  </a:cubicBezTo>
                  <a:cubicBezTo>
                    <a:pt x="244056" y="321866"/>
                    <a:pt x="240943" y="321866"/>
                    <a:pt x="237831" y="321866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39B51C32-4A02-439D-9FB2-7383E2A7C0F1}"/>
                </a:ext>
              </a:extLst>
            </p:cNvPr>
            <p:cNvSpPr/>
            <p:nvPr/>
          </p:nvSpPr>
          <p:spPr>
            <a:xfrm>
              <a:off x="10982463" y="9679552"/>
              <a:ext cx="112133" cy="136166"/>
            </a:xfrm>
            <a:custGeom>
              <a:avLst/>
              <a:gdLst>
                <a:gd name="connsiteX0" fmla="*/ 101931 w 112133"/>
                <a:gd name="connsiteY0" fmla="*/ 136167 h 136166"/>
                <a:gd name="connsiteX1" fmla="*/ 101931 w 112133"/>
                <a:gd name="connsiteY1" fmla="*/ 136167 h 136166"/>
                <a:gd name="connsiteX2" fmla="*/ 95706 w 112133"/>
                <a:gd name="connsiteY2" fmla="*/ 126830 h 136166"/>
                <a:gd name="connsiteX3" fmla="*/ 77032 w 112133"/>
                <a:gd name="connsiteY3" fmla="*/ 77032 h 136166"/>
                <a:gd name="connsiteX4" fmla="*/ 2334 w 112133"/>
                <a:gd name="connsiteY4" fmla="*/ 11672 h 136166"/>
                <a:gd name="connsiteX5" fmla="*/ 2334 w 112133"/>
                <a:gd name="connsiteY5" fmla="*/ 2334 h 136166"/>
                <a:gd name="connsiteX6" fmla="*/ 11671 w 112133"/>
                <a:gd name="connsiteY6" fmla="*/ 2334 h 136166"/>
                <a:gd name="connsiteX7" fmla="*/ 83257 w 112133"/>
                <a:gd name="connsiteY7" fmla="*/ 64582 h 136166"/>
                <a:gd name="connsiteX8" fmla="*/ 108156 w 112133"/>
                <a:gd name="connsiteY8" fmla="*/ 129943 h 136166"/>
                <a:gd name="connsiteX9" fmla="*/ 101931 w 112133"/>
                <a:gd name="connsiteY9" fmla="*/ 136167 h 136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2133" h="136166">
                  <a:moveTo>
                    <a:pt x="101931" y="136167"/>
                  </a:moveTo>
                  <a:cubicBezTo>
                    <a:pt x="101931" y="136167"/>
                    <a:pt x="101931" y="136167"/>
                    <a:pt x="101931" y="136167"/>
                  </a:cubicBezTo>
                  <a:cubicBezTo>
                    <a:pt x="95706" y="133055"/>
                    <a:pt x="95706" y="129943"/>
                    <a:pt x="95706" y="126830"/>
                  </a:cubicBezTo>
                  <a:cubicBezTo>
                    <a:pt x="95706" y="126830"/>
                    <a:pt x="111268" y="95706"/>
                    <a:pt x="77032" y="77032"/>
                  </a:cubicBezTo>
                  <a:cubicBezTo>
                    <a:pt x="36571" y="55245"/>
                    <a:pt x="5447" y="14784"/>
                    <a:pt x="2334" y="11672"/>
                  </a:cubicBezTo>
                  <a:cubicBezTo>
                    <a:pt x="-778" y="8559"/>
                    <a:pt x="-778" y="5447"/>
                    <a:pt x="2334" y="2334"/>
                  </a:cubicBezTo>
                  <a:cubicBezTo>
                    <a:pt x="5447" y="-778"/>
                    <a:pt x="8560" y="-778"/>
                    <a:pt x="11671" y="2334"/>
                  </a:cubicBezTo>
                  <a:cubicBezTo>
                    <a:pt x="11671" y="2334"/>
                    <a:pt x="45908" y="42796"/>
                    <a:pt x="83257" y="64582"/>
                  </a:cubicBezTo>
                  <a:cubicBezTo>
                    <a:pt x="126830" y="89481"/>
                    <a:pt x="108156" y="129943"/>
                    <a:pt x="108156" y="129943"/>
                  </a:cubicBezTo>
                  <a:cubicBezTo>
                    <a:pt x="108156" y="136167"/>
                    <a:pt x="105043" y="136167"/>
                    <a:pt x="101931" y="136167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0E888D3F-B572-4A22-9BE8-46C57545C765}"/>
                </a:ext>
              </a:extLst>
            </p:cNvPr>
            <p:cNvSpPr/>
            <p:nvPr/>
          </p:nvSpPr>
          <p:spPr>
            <a:xfrm>
              <a:off x="10480590" y="9591627"/>
              <a:ext cx="323689" cy="262412"/>
            </a:xfrm>
            <a:custGeom>
              <a:avLst/>
              <a:gdLst>
                <a:gd name="connsiteX0" fmla="*/ 264553 w 323689"/>
                <a:gd name="connsiteY0" fmla="*/ 71585 h 262412"/>
                <a:gd name="connsiteX1" fmla="*/ 323690 w 323689"/>
                <a:gd name="connsiteY1" fmla="*/ 224092 h 262412"/>
                <a:gd name="connsiteX2" fmla="*/ 0 w 323689"/>
                <a:gd name="connsiteY2" fmla="*/ 189856 h 262412"/>
                <a:gd name="connsiteX3" fmla="*/ 59136 w 323689"/>
                <a:gd name="connsiteY3" fmla="*/ 0 h 262412"/>
                <a:gd name="connsiteX4" fmla="*/ 264553 w 323689"/>
                <a:gd name="connsiteY4" fmla="*/ 71585 h 26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689" h="262412">
                  <a:moveTo>
                    <a:pt x="264553" y="71585"/>
                  </a:moveTo>
                  <a:cubicBezTo>
                    <a:pt x="264553" y="71585"/>
                    <a:pt x="252104" y="186744"/>
                    <a:pt x="323690" y="224092"/>
                  </a:cubicBezTo>
                  <a:cubicBezTo>
                    <a:pt x="323690" y="224092"/>
                    <a:pt x="136946" y="329914"/>
                    <a:pt x="0" y="189856"/>
                  </a:cubicBezTo>
                  <a:cubicBezTo>
                    <a:pt x="59136" y="149394"/>
                    <a:pt x="59136" y="65360"/>
                    <a:pt x="59136" y="0"/>
                  </a:cubicBezTo>
                  <a:cubicBezTo>
                    <a:pt x="59136" y="0"/>
                    <a:pt x="208531" y="74697"/>
                    <a:pt x="264553" y="71585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00AED000-F623-4364-BACC-82D9841BBA30}"/>
                </a:ext>
              </a:extLst>
            </p:cNvPr>
            <p:cNvSpPr/>
            <p:nvPr/>
          </p:nvSpPr>
          <p:spPr>
            <a:xfrm>
              <a:off x="10531167" y="9620416"/>
              <a:ext cx="221585" cy="101930"/>
            </a:xfrm>
            <a:custGeom>
              <a:avLst/>
              <a:gdLst>
                <a:gd name="connsiteX0" fmla="*/ 154841 w 221585"/>
                <a:gd name="connsiteY0" fmla="*/ 101931 h 101930"/>
                <a:gd name="connsiteX1" fmla="*/ 133055 w 221585"/>
                <a:gd name="connsiteY1" fmla="*/ 98818 h 101930"/>
                <a:gd name="connsiteX2" fmla="*/ 2334 w 221585"/>
                <a:gd name="connsiteY2" fmla="*/ 11671 h 101930"/>
                <a:gd name="connsiteX3" fmla="*/ 2334 w 221585"/>
                <a:gd name="connsiteY3" fmla="*/ 2334 h 101930"/>
                <a:gd name="connsiteX4" fmla="*/ 11671 w 221585"/>
                <a:gd name="connsiteY4" fmla="*/ 2334 h 101930"/>
                <a:gd name="connsiteX5" fmla="*/ 136167 w 221585"/>
                <a:gd name="connsiteY5" fmla="*/ 86369 h 101930"/>
                <a:gd name="connsiteX6" fmla="*/ 210865 w 221585"/>
                <a:gd name="connsiteY6" fmla="*/ 70807 h 101930"/>
                <a:gd name="connsiteX7" fmla="*/ 220202 w 221585"/>
                <a:gd name="connsiteY7" fmla="*/ 70807 h 101930"/>
                <a:gd name="connsiteX8" fmla="*/ 220202 w 221585"/>
                <a:gd name="connsiteY8" fmla="*/ 80144 h 101930"/>
                <a:gd name="connsiteX9" fmla="*/ 154841 w 221585"/>
                <a:gd name="connsiteY9" fmla="*/ 101931 h 10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1585" h="101930">
                  <a:moveTo>
                    <a:pt x="154841" y="101931"/>
                  </a:moveTo>
                  <a:cubicBezTo>
                    <a:pt x="148617" y="101931"/>
                    <a:pt x="142392" y="101931"/>
                    <a:pt x="133055" y="98818"/>
                  </a:cubicBezTo>
                  <a:cubicBezTo>
                    <a:pt x="92594" y="89481"/>
                    <a:pt x="5447" y="14784"/>
                    <a:pt x="2334" y="11671"/>
                  </a:cubicBezTo>
                  <a:cubicBezTo>
                    <a:pt x="-778" y="8559"/>
                    <a:pt x="-778" y="5447"/>
                    <a:pt x="2334" y="2334"/>
                  </a:cubicBezTo>
                  <a:cubicBezTo>
                    <a:pt x="5447" y="-778"/>
                    <a:pt x="8560" y="-778"/>
                    <a:pt x="11671" y="2334"/>
                  </a:cubicBezTo>
                  <a:cubicBezTo>
                    <a:pt x="11671" y="2334"/>
                    <a:pt x="98819" y="77032"/>
                    <a:pt x="136167" y="86369"/>
                  </a:cubicBezTo>
                  <a:cubicBezTo>
                    <a:pt x="173516" y="95706"/>
                    <a:pt x="210865" y="70807"/>
                    <a:pt x="210865" y="70807"/>
                  </a:cubicBezTo>
                  <a:cubicBezTo>
                    <a:pt x="213977" y="67694"/>
                    <a:pt x="217089" y="70807"/>
                    <a:pt x="220202" y="70807"/>
                  </a:cubicBezTo>
                  <a:cubicBezTo>
                    <a:pt x="223314" y="73919"/>
                    <a:pt x="220202" y="77032"/>
                    <a:pt x="220202" y="80144"/>
                  </a:cubicBezTo>
                  <a:cubicBezTo>
                    <a:pt x="217089" y="83256"/>
                    <a:pt x="189078" y="101931"/>
                    <a:pt x="154841" y="101931"/>
                  </a:cubicBezTo>
                  <a:close/>
                </a:path>
              </a:pathLst>
            </a:custGeom>
            <a:solidFill>
              <a:srgbClr val="E58777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A0CD9446-973E-44A3-9A34-22594F96E0A1}"/>
                </a:ext>
              </a:extLst>
            </p:cNvPr>
            <p:cNvSpPr/>
            <p:nvPr/>
          </p:nvSpPr>
          <p:spPr>
            <a:xfrm>
              <a:off x="10928775" y="9862404"/>
              <a:ext cx="96884" cy="535331"/>
            </a:xfrm>
            <a:custGeom>
              <a:avLst/>
              <a:gdLst>
                <a:gd name="connsiteX0" fmla="*/ 62248 w 96884"/>
                <a:gd name="connsiteY0" fmla="*/ 532219 h 535331"/>
                <a:gd name="connsiteX1" fmla="*/ 62248 w 96884"/>
                <a:gd name="connsiteY1" fmla="*/ 532219 h 535331"/>
                <a:gd name="connsiteX2" fmla="*/ 56023 w 96884"/>
                <a:gd name="connsiteY2" fmla="*/ 525995 h 535331"/>
                <a:gd name="connsiteX3" fmla="*/ 59135 w 96884"/>
                <a:gd name="connsiteY3" fmla="*/ 513545 h 535331"/>
                <a:gd name="connsiteX4" fmla="*/ 87147 w 96884"/>
                <a:gd name="connsiteY4" fmla="*/ 348588 h 535331"/>
                <a:gd name="connsiteX5" fmla="*/ 0 w 96884"/>
                <a:gd name="connsiteY5" fmla="*/ 6225 h 535331"/>
                <a:gd name="connsiteX6" fmla="*/ 3112 w 96884"/>
                <a:gd name="connsiteY6" fmla="*/ 0 h 535331"/>
                <a:gd name="connsiteX7" fmla="*/ 9337 w 96884"/>
                <a:gd name="connsiteY7" fmla="*/ 3113 h 535331"/>
                <a:gd name="connsiteX8" fmla="*/ 96483 w 96884"/>
                <a:gd name="connsiteY8" fmla="*/ 351701 h 535331"/>
                <a:gd name="connsiteX9" fmla="*/ 68472 w 96884"/>
                <a:gd name="connsiteY9" fmla="*/ 522882 h 535331"/>
                <a:gd name="connsiteX10" fmla="*/ 65359 w 96884"/>
                <a:gd name="connsiteY10" fmla="*/ 535332 h 535331"/>
                <a:gd name="connsiteX11" fmla="*/ 62248 w 96884"/>
                <a:gd name="connsiteY11" fmla="*/ 532219 h 535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884" h="535331">
                  <a:moveTo>
                    <a:pt x="62248" y="532219"/>
                  </a:moveTo>
                  <a:cubicBezTo>
                    <a:pt x="62248" y="532219"/>
                    <a:pt x="62248" y="532219"/>
                    <a:pt x="62248" y="532219"/>
                  </a:cubicBezTo>
                  <a:cubicBezTo>
                    <a:pt x="56023" y="532219"/>
                    <a:pt x="56023" y="529107"/>
                    <a:pt x="56023" y="525995"/>
                  </a:cubicBezTo>
                  <a:lnTo>
                    <a:pt x="59135" y="513545"/>
                  </a:lnTo>
                  <a:cubicBezTo>
                    <a:pt x="77810" y="457522"/>
                    <a:pt x="90259" y="413949"/>
                    <a:pt x="87147" y="348588"/>
                  </a:cubicBezTo>
                  <a:cubicBezTo>
                    <a:pt x="84034" y="217867"/>
                    <a:pt x="46686" y="124496"/>
                    <a:pt x="0" y="6225"/>
                  </a:cubicBezTo>
                  <a:cubicBezTo>
                    <a:pt x="0" y="3113"/>
                    <a:pt x="0" y="0"/>
                    <a:pt x="3112" y="0"/>
                  </a:cubicBezTo>
                  <a:cubicBezTo>
                    <a:pt x="6224" y="0"/>
                    <a:pt x="9337" y="0"/>
                    <a:pt x="9337" y="3113"/>
                  </a:cubicBezTo>
                  <a:cubicBezTo>
                    <a:pt x="59135" y="124496"/>
                    <a:pt x="93372" y="217867"/>
                    <a:pt x="96483" y="351701"/>
                  </a:cubicBezTo>
                  <a:cubicBezTo>
                    <a:pt x="99596" y="420173"/>
                    <a:pt x="84034" y="463747"/>
                    <a:pt x="68472" y="522882"/>
                  </a:cubicBezTo>
                  <a:lnTo>
                    <a:pt x="65359" y="535332"/>
                  </a:lnTo>
                  <a:cubicBezTo>
                    <a:pt x="65359" y="532219"/>
                    <a:pt x="65359" y="532219"/>
                    <a:pt x="62248" y="532219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32A293DB-9B78-4262-83CD-6FA9109F38AD}"/>
                </a:ext>
              </a:extLst>
            </p:cNvPr>
            <p:cNvSpPr/>
            <p:nvPr/>
          </p:nvSpPr>
          <p:spPr>
            <a:xfrm>
              <a:off x="10002163" y="9954006"/>
              <a:ext cx="562462" cy="994623"/>
            </a:xfrm>
            <a:custGeom>
              <a:avLst/>
              <a:gdLst>
                <a:gd name="connsiteX0" fmla="*/ 260560 w 562462"/>
                <a:gd name="connsiteY0" fmla="*/ 14220 h 994623"/>
                <a:gd name="connsiteX1" fmla="*/ 419292 w 562462"/>
                <a:gd name="connsiteY1" fmla="*/ 219637 h 994623"/>
                <a:gd name="connsiteX2" fmla="*/ 220099 w 562462"/>
                <a:gd name="connsiteY2" fmla="*/ 605575 h 994623"/>
                <a:gd name="connsiteX3" fmla="*/ 562462 w 562462"/>
                <a:gd name="connsiteY3" fmla="*/ 907476 h 994623"/>
                <a:gd name="connsiteX4" fmla="*/ 469091 w 562462"/>
                <a:gd name="connsiteY4" fmla="*/ 994624 h 994623"/>
                <a:gd name="connsiteX5" fmla="*/ 2232 w 562462"/>
                <a:gd name="connsiteY5" fmla="*/ 624248 h 994623"/>
                <a:gd name="connsiteX6" fmla="*/ 260560 w 562462"/>
                <a:gd name="connsiteY6" fmla="*/ 14220 h 99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2462" h="994623">
                  <a:moveTo>
                    <a:pt x="260560" y="14220"/>
                  </a:moveTo>
                  <a:cubicBezTo>
                    <a:pt x="437967" y="-48028"/>
                    <a:pt x="493989" y="107592"/>
                    <a:pt x="419292" y="219637"/>
                  </a:cubicBezTo>
                  <a:cubicBezTo>
                    <a:pt x="344595" y="328571"/>
                    <a:pt x="216987" y="574451"/>
                    <a:pt x="220099" y="605575"/>
                  </a:cubicBezTo>
                  <a:cubicBezTo>
                    <a:pt x="260560" y="655372"/>
                    <a:pt x="562462" y="907476"/>
                    <a:pt x="562462" y="907476"/>
                  </a:cubicBezTo>
                  <a:cubicBezTo>
                    <a:pt x="531338" y="923038"/>
                    <a:pt x="469091" y="994624"/>
                    <a:pt x="469091" y="994624"/>
                  </a:cubicBezTo>
                  <a:cubicBezTo>
                    <a:pt x="469091" y="994624"/>
                    <a:pt x="30243" y="754969"/>
                    <a:pt x="2232" y="624248"/>
                  </a:cubicBezTo>
                  <a:cubicBezTo>
                    <a:pt x="-16443" y="555776"/>
                    <a:pt x="83154" y="79580"/>
                    <a:pt x="260560" y="14220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E3ECCE71-1006-45BC-BFC0-30DCF2A3C8FD}"/>
                </a:ext>
              </a:extLst>
            </p:cNvPr>
            <p:cNvSpPr/>
            <p:nvPr/>
          </p:nvSpPr>
          <p:spPr>
            <a:xfrm>
              <a:off x="10057305" y="9807208"/>
              <a:ext cx="433667" cy="453582"/>
            </a:xfrm>
            <a:custGeom>
              <a:avLst/>
              <a:gdLst>
                <a:gd name="connsiteX0" fmla="*/ 0 w 433667"/>
                <a:gd name="connsiteY0" fmla="*/ 285514 h 453582"/>
                <a:gd name="connsiteX1" fmla="*/ 361037 w 433667"/>
                <a:gd name="connsiteY1" fmla="*/ 2286 h 453582"/>
                <a:gd name="connsiteX2" fmla="*/ 342364 w 433667"/>
                <a:gd name="connsiteY2" fmla="*/ 453583 h 453582"/>
                <a:gd name="connsiteX3" fmla="*/ 0 w 433667"/>
                <a:gd name="connsiteY3" fmla="*/ 285514 h 453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667" h="453582">
                  <a:moveTo>
                    <a:pt x="0" y="285514"/>
                  </a:moveTo>
                  <a:cubicBezTo>
                    <a:pt x="87147" y="117444"/>
                    <a:pt x="280116" y="-19501"/>
                    <a:pt x="361037" y="2286"/>
                  </a:cubicBezTo>
                  <a:cubicBezTo>
                    <a:pt x="463747" y="30297"/>
                    <a:pt x="457522" y="279289"/>
                    <a:pt x="342364" y="453583"/>
                  </a:cubicBezTo>
                  <a:cubicBezTo>
                    <a:pt x="264554" y="450470"/>
                    <a:pt x="74698" y="360211"/>
                    <a:pt x="0" y="285514"/>
                  </a:cubicBezTo>
                  <a:close/>
                </a:path>
              </a:pathLst>
            </a:custGeom>
            <a:solidFill>
              <a:srgbClr val="7E94B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92E0E782-A14C-4427-B8D7-66A88B3D3EA5}"/>
                </a:ext>
              </a:extLst>
            </p:cNvPr>
            <p:cNvSpPr/>
            <p:nvPr/>
          </p:nvSpPr>
          <p:spPr>
            <a:xfrm>
              <a:off x="10247161" y="9807160"/>
              <a:ext cx="249344" cy="459855"/>
            </a:xfrm>
            <a:custGeom>
              <a:avLst/>
              <a:gdLst>
                <a:gd name="connsiteX0" fmla="*/ 149395 w 249344"/>
                <a:gd name="connsiteY0" fmla="*/ 456744 h 459855"/>
                <a:gd name="connsiteX1" fmla="*/ 3112 w 249344"/>
                <a:gd name="connsiteY1" fmla="*/ 413170 h 459855"/>
                <a:gd name="connsiteX2" fmla="*/ 0 w 249344"/>
                <a:gd name="connsiteY2" fmla="*/ 403833 h 459855"/>
                <a:gd name="connsiteX3" fmla="*/ 9337 w 249344"/>
                <a:gd name="connsiteY3" fmla="*/ 400720 h 459855"/>
                <a:gd name="connsiteX4" fmla="*/ 149395 w 249344"/>
                <a:gd name="connsiteY4" fmla="*/ 444294 h 459855"/>
                <a:gd name="connsiteX5" fmla="*/ 236542 w 249344"/>
                <a:gd name="connsiteY5" fmla="*/ 161067 h 459855"/>
                <a:gd name="connsiteX6" fmla="*/ 236542 w 249344"/>
                <a:gd name="connsiteY6" fmla="*/ 151729 h 459855"/>
                <a:gd name="connsiteX7" fmla="*/ 180519 w 249344"/>
                <a:gd name="connsiteY7" fmla="*/ 11671 h 459855"/>
                <a:gd name="connsiteX8" fmla="*/ 180519 w 249344"/>
                <a:gd name="connsiteY8" fmla="*/ 2334 h 459855"/>
                <a:gd name="connsiteX9" fmla="*/ 189856 w 249344"/>
                <a:gd name="connsiteY9" fmla="*/ 2334 h 459855"/>
                <a:gd name="connsiteX10" fmla="*/ 248991 w 249344"/>
                <a:gd name="connsiteY10" fmla="*/ 151729 h 459855"/>
                <a:gd name="connsiteX11" fmla="*/ 248991 w 249344"/>
                <a:gd name="connsiteY11" fmla="*/ 161067 h 459855"/>
                <a:gd name="connsiteX12" fmla="*/ 155619 w 249344"/>
                <a:gd name="connsiteY12" fmla="*/ 456744 h 459855"/>
                <a:gd name="connsiteX13" fmla="*/ 152507 w 249344"/>
                <a:gd name="connsiteY13" fmla="*/ 459855 h 459855"/>
                <a:gd name="connsiteX14" fmla="*/ 149395 w 249344"/>
                <a:gd name="connsiteY14" fmla="*/ 456744 h 459855"/>
                <a:gd name="connsiteX15" fmla="*/ 149395 w 249344"/>
                <a:gd name="connsiteY15" fmla="*/ 456744 h 459855"/>
                <a:gd name="connsiteX16" fmla="*/ 152507 w 249344"/>
                <a:gd name="connsiteY16" fmla="*/ 450519 h 459855"/>
                <a:gd name="connsiteX17" fmla="*/ 152507 w 249344"/>
                <a:gd name="connsiteY17" fmla="*/ 450519 h 459855"/>
                <a:gd name="connsiteX18" fmla="*/ 152507 w 249344"/>
                <a:gd name="connsiteY18" fmla="*/ 450519 h 459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9344" h="459855">
                  <a:moveTo>
                    <a:pt x="149395" y="456744"/>
                  </a:moveTo>
                  <a:cubicBezTo>
                    <a:pt x="118271" y="456744"/>
                    <a:pt x="71585" y="447406"/>
                    <a:pt x="3112" y="413170"/>
                  </a:cubicBezTo>
                  <a:cubicBezTo>
                    <a:pt x="0" y="413170"/>
                    <a:pt x="0" y="406945"/>
                    <a:pt x="0" y="403833"/>
                  </a:cubicBezTo>
                  <a:cubicBezTo>
                    <a:pt x="0" y="400720"/>
                    <a:pt x="6225" y="400720"/>
                    <a:pt x="9337" y="400720"/>
                  </a:cubicBezTo>
                  <a:cubicBezTo>
                    <a:pt x="74698" y="434957"/>
                    <a:pt x="121384" y="444294"/>
                    <a:pt x="149395" y="444294"/>
                  </a:cubicBezTo>
                  <a:cubicBezTo>
                    <a:pt x="171181" y="413170"/>
                    <a:pt x="242767" y="263775"/>
                    <a:pt x="236542" y="161067"/>
                  </a:cubicBezTo>
                  <a:cubicBezTo>
                    <a:pt x="236542" y="157954"/>
                    <a:pt x="236542" y="154841"/>
                    <a:pt x="236542" y="151729"/>
                  </a:cubicBezTo>
                  <a:cubicBezTo>
                    <a:pt x="236542" y="117492"/>
                    <a:pt x="233429" y="45908"/>
                    <a:pt x="180519" y="11671"/>
                  </a:cubicBezTo>
                  <a:cubicBezTo>
                    <a:pt x="177406" y="8559"/>
                    <a:pt x="177406" y="5447"/>
                    <a:pt x="180519" y="2334"/>
                  </a:cubicBezTo>
                  <a:cubicBezTo>
                    <a:pt x="183631" y="-778"/>
                    <a:pt x="186743" y="-778"/>
                    <a:pt x="189856" y="2334"/>
                  </a:cubicBezTo>
                  <a:cubicBezTo>
                    <a:pt x="245879" y="39683"/>
                    <a:pt x="248991" y="117492"/>
                    <a:pt x="248991" y="151729"/>
                  </a:cubicBezTo>
                  <a:cubicBezTo>
                    <a:pt x="248991" y="154841"/>
                    <a:pt x="248991" y="157954"/>
                    <a:pt x="248991" y="161067"/>
                  </a:cubicBezTo>
                  <a:cubicBezTo>
                    <a:pt x="255216" y="270000"/>
                    <a:pt x="177406" y="428732"/>
                    <a:pt x="155619" y="456744"/>
                  </a:cubicBezTo>
                  <a:lnTo>
                    <a:pt x="152507" y="459855"/>
                  </a:lnTo>
                  <a:lnTo>
                    <a:pt x="149395" y="456744"/>
                  </a:lnTo>
                  <a:cubicBezTo>
                    <a:pt x="152507" y="456744"/>
                    <a:pt x="149395" y="456744"/>
                    <a:pt x="149395" y="456744"/>
                  </a:cubicBezTo>
                  <a:close/>
                  <a:moveTo>
                    <a:pt x="152507" y="450519"/>
                  </a:moveTo>
                  <a:lnTo>
                    <a:pt x="152507" y="450519"/>
                  </a:lnTo>
                  <a:lnTo>
                    <a:pt x="152507" y="450519"/>
                  </a:ln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1" name="图形 1">
              <a:extLst>
                <a:ext uri="{FF2B5EF4-FFF2-40B4-BE49-F238E27FC236}">
                  <a16:creationId xmlns:a16="http://schemas.microsoft.com/office/drawing/2014/main" id="{86D02B67-482E-4DE2-A51E-326CA00811E9}"/>
                </a:ext>
              </a:extLst>
            </p:cNvPr>
            <p:cNvGrpSpPr/>
            <p:nvPr/>
          </p:nvGrpSpPr>
          <p:grpSpPr>
            <a:xfrm>
              <a:off x="10446553" y="10824003"/>
              <a:ext cx="326602" cy="276081"/>
              <a:chOff x="10446553" y="10824003"/>
              <a:chExt cx="326602" cy="276081"/>
            </a:xfrm>
          </p:grpSpPr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35A17F8F-33D3-4B14-BA9A-228984F1AD15}"/>
                  </a:ext>
                </a:extLst>
              </p:cNvPr>
              <p:cNvSpPr/>
              <p:nvPr/>
            </p:nvSpPr>
            <p:spPr>
              <a:xfrm>
                <a:off x="10446553" y="10824003"/>
                <a:ext cx="324744" cy="276081"/>
              </a:xfrm>
              <a:custGeom>
                <a:avLst/>
                <a:gdLst>
                  <a:gd name="connsiteX0" fmla="*/ 18475 w 324744"/>
                  <a:gd name="connsiteY0" fmla="*/ 133964 h 276081"/>
                  <a:gd name="connsiteX1" fmla="*/ 86948 w 324744"/>
                  <a:gd name="connsiteY1" fmla="*/ 186875 h 276081"/>
                  <a:gd name="connsiteX2" fmla="*/ 152308 w 324744"/>
                  <a:gd name="connsiteY2" fmla="*/ 249123 h 276081"/>
                  <a:gd name="connsiteX3" fmla="*/ 195882 w 324744"/>
                  <a:gd name="connsiteY3" fmla="*/ 274021 h 276081"/>
                  <a:gd name="connsiteX4" fmla="*/ 177207 w 324744"/>
                  <a:gd name="connsiteY4" fmla="*/ 217999 h 276081"/>
                  <a:gd name="connsiteX5" fmla="*/ 217669 w 324744"/>
                  <a:gd name="connsiteY5" fmla="*/ 249123 h 276081"/>
                  <a:gd name="connsiteX6" fmla="*/ 279917 w 324744"/>
                  <a:gd name="connsiteY6" fmla="*/ 274021 h 276081"/>
                  <a:gd name="connsiteX7" fmla="*/ 286141 w 324744"/>
                  <a:gd name="connsiteY7" fmla="*/ 261572 h 276081"/>
                  <a:gd name="connsiteX8" fmla="*/ 314152 w 324744"/>
                  <a:gd name="connsiteY8" fmla="*/ 261572 h 276081"/>
                  <a:gd name="connsiteX9" fmla="*/ 298590 w 324744"/>
                  <a:gd name="connsiteY9" fmla="*/ 202437 h 276081"/>
                  <a:gd name="connsiteX10" fmla="*/ 264355 w 324744"/>
                  <a:gd name="connsiteY10" fmla="*/ 158863 h 276081"/>
                  <a:gd name="connsiteX11" fmla="*/ 301703 w 324744"/>
                  <a:gd name="connsiteY11" fmla="*/ 177537 h 276081"/>
                  <a:gd name="connsiteX12" fmla="*/ 320377 w 324744"/>
                  <a:gd name="connsiteY12" fmla="*/ 177537 h 276081"/>
                  <a:gd name="connsiteX13" fmla="*/ 283028 w 324744"/>
                  <a:gd name="connsiteY13" fmla="*/ 118402 h 276081"/>
                  <a:gd name="connsiteX14" fmla="*/ 77611 w 324744"/>
                  <a:gd name="connsiteY14" fmla="*/ 131 h 276081"/>
                  <a:gd name="connsiteX15" fmla="*/ 2913 w 324744"/>
                  <a:gd name="connsiteY15" fmla="*/ 87278 h 276081"/>
                  <a:gd name="connsiteX16" fmla="*/ 18475 w 324744"/>
                  <a:gd name="connsiteY16" fmla="*/ 133964 h 276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24744" h="276081">
                    <a:moveTo>
                      <a:pt x="18475" y="133964"/>
                    </a:moveTo>
                    <a:cubicBezTo>
                      <a:pt x="40262" y="152638"/>
                      <a:pt x="65161" y="168200"/>
                      <a:pt x="86948" y="186875"/>
                    </a:cubicBezTo>
                    <a:cubicBezTo>
                      <a:pt x="108735" y="205548"/>
                      <a:pt x="127409" y="230448"/>
                      <a:pt x="152308" y="249123"/>
                    </a:cubicBezTo>
                    <a:cubicBezTo>
                      <a:pt x="161645" y="255347"/>
                      <a:pt x="183432" y="280247"/>
                      <a:pt x="195882" y="274021"/>
                    </a:cubicBezTo>
                    <a:cubicBezTo>
                      <a:pt x="214556" y="267796"/>
                      <a:pt x="195882" y="239785"/>
                      <a:pt x="177207" y="217999"/>
                    </a:cubicBezTo>
                    <a:cubicBezTo>
                      <a:pt x="189657" y="227336"/>
                      <a:pt x="202107" y="239785"/>
                      <a:pt x="217669" y="249123"/>
                    </a:cubicBezTo>
                    <a:cubicBezTo>
                      <a:pt x="230118" y="258459"/>
                      <a:pt x="261242" y="283358"/>
                      <a:pt x="279917" y="274021"/>
                    </a:cubicBezTo>
                    <a:cubicBezTo>
                      <a:pt x="286141" y="270909"/>
                      <a:pt x="289254" y="267796"/>
                      <a:pt x="286141" y="261572"/>
                    </a:cubicBezTo>
                    <a:cubicBezTo>
                      <a:pt x="298590" y="267796"/>
                      <a:pt x="311041" y="270909"/>
                      <a:pt x="314152" y="261572"/>
                    </a:cubicBezTo>
                    <a:cubicBezTo>
                      <a:pt x="323490" y="246010"/>
                      <a:pt x="304815" y="214886"/>
                      <a:pt x="298590" y="202437"/>
                    </a:cubicBezTo>
                    <a:cubicBezTo>
                      <a:pt x="289254" y="186875"/>
                      <a:pt x="276804" y="171313"/>
                      <a:pt x="264355" y="158863"/>
                    </a:cubicBezTo>
                    <a:cubicBezTo>
                      <a:pt x="276804" y="165088"/>
                      <a:pt x="289254" y="171313"/>
                      <a:pt x="301703" y="177537"/>
                    </a:cubicBezTo>
                    <a:cubicBezTo>
                      <a:pt x="307928" y="180650"/>
                      <a:pt x="314152" y="183762"/>
                      <a:pt x="320377" y="177537"/>
                    </a:cubicBezTo>
                    <a:cubicBezTo>
                      <a:pt x="339052" y="158863"/>
                      <a:pt x="292366" y="127739"/>
                      <a:pt x="283028" y="118402"/>
                    </a:cubicBezTo>
                    <a:cubicBezTo>
                      <a:pt x="220780" y="68603"/>
                      <a:pt x="146083" y="40592"/>
                      <a:pt x="77611" y="131"/>
                    </a:cubicBezTo>
                    <a:cubicBezTo>
                      <a:pt x="77611" y="-2981"/>
                      <a:pt x="12251" y="49929"/>
                      <a:pt x="2913" y="87278"/>
                    </a:cubicBezTo>
                    <a:cubicBezTo>
                      <a:pt x="-3311" y="115289"/>
                      <a:pt x="-199" y="118402"/>
                      <a:pt x="18475" y="13396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4650DC30-EB41-456A-B57B-1B1E50C3E043}"/>
                  </a:ext>
                </a:extLst>
              </p:cNvPr>
              <p:cNvSpPr/>
              <p:nvPr/>
            </p:nvSpPr>
            <p:spPr>
              <a:xfrm>
                <a:off x="10639322" y="10886382"/>
                <a:ext cx="133833" cy="127607"/>
              </a:xfrm>
              <a:custGeom>
                <a:avLst/>
                <a:gdLst>
                  <a:gd name="connsiteX0" fmla="*/ 115159 w 133833"/>
                  <a:gd name="connsiteY0" fmla="*/ 127607 h 127607"/>
                  <a:gd name="connsiteX1" fmla="*/ 65360 w 133833"/>
                  <a:gd name="connsiteY1" fmla="*/ 105821 h 127607"/>
                  <a:gd name="connsiteX2" fmla="*/ 6225 w 133833"/>
                  <a:gd name="connsiteY2" fmla="*/ 65359 h 127607"/>
                  <a:gd name="connsiteX3" fmla="*/ 0 w 133833"/>
                  <a:gd name="connsiteY3" fmla="*/ 59135 h 127607"/>
                  <a:gd name="connsiteX4" fmla="*/ 6225 w 133833"/>
                  <a:gd name="connsiteY4" fmla="*/ 52910 h 127607"/>
                  <a:gd name="connsiteX5" fmla="*/ 71586 w 133833"/>
                  <a:gd name="connsiteY5" fmla="*/ 96483 h 127607"/>
                  <a:gd name="connsiteX6" fmla="*/ 121383 w 133833"/>
                  <a:gd name="connsiteY6" fmla="*/ 112045 h 127607"/>
                  <a:gd name="connsiteX7" fmla="*/ 121383 w 133833"/>
                  <a:gd name="connsiteY7" fmla="*/ 108934 h 127607"/>
                  <a:gd name="connsiteX8" fmla="*/ 6225 w 133833"/>
                  <a:gd name="connsiteY8" fmla="*/ 12449 h 127607"/>
                  <a:gd name="connsiteX9" fmla="*/ 3113 w 133833"/>
                  <a:gd name="connsiteY9" fmla="*/ 3112 h 127607"/>
                  <a:gd name="connsiteX10" fmla="*/ 12449 w 133833"/>
                  <a:gd name="connsiteY10" fmla="*/ 0 h 127607"/>
                  <a:gd name="connsiteX11" fmla="*/ 133833 w 133833"/>
                  <a:gd name="connsiteY11" fmla="*/ 105821 h 127607"/>
                  <a:gd name="connsiteX12" fmla="*/ 127608 w 133833"/>
                  <a:gd name="connsiteY12" fmla="*/ 118271 h 127607"/>
                  <a:gd name="connsiteX13" fmla="*/ 115159 w 133833"/>
                  <a:gd name="connsiteY13" fmla="*/ 127607 h 127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3833" h="127607">
                    <a:moveTo>
                      <a:pt x="115159" y="127607"/>
                    </a:moveTo>
                    <a:cubicBezTo>
                      <a:pt x="93372" y="127607"/>
                      <a:pt x="68473" y="108934"/>
                      <a:pt x="65360" y="105821"/>
                    </a:cubicBezTo>
                    <a:cubicBezTo>
                      <a:pt x="43573" y="87147"/>
                      <a:pt x="12449" y="65359"/>
                      <a:pt x="6225" y="65359"/>
                    </a:cubicBezTo>
                    <a:cubicBezTo>
                      <a:pt x="3113" y="65359"/>
                      <a:pt x="0" y="62248"/>
                      <a:pt x="0" y="59135"/>
                    </a:cubicBezTo>
                    <a:cubicBezTo>
                      <a:pt x="0" y="56023"/>
                      <a:pt x="3113" y="52910"/>
                      <a:pt x="6225" y="52910"/>
                    </a:cubicBezTo>
                    <a:cubicBezTo>
                      <a:pt x="18675" y="52910"/>
                      <a:pt x="59135" y="87147"/>
                      <a:pt x="71586" y="96483"/>
                    </a:cubicBezTo>
                    <a:cubicBezTo>
                      <a:pt x="84035" y="105821"/>
                      <a:pt x="108934" y="118271"/>
                      <a:pt x="121383" y="112045"/>
                    </a:cubicBezTo>
                    <a:cubicBezTo>
                      <a:pt x="121383" y="112045"/>
                      <a:pt x="121383" y="112045"/>
                      <a:pt x="121383" y="108934"/>
                    </a:cubicBezTo>
                    <a:cubicBezTo>
                      <a:pt x="121383" y="93372"/>
                      <a:pt x="84035" y="56023"/>
                      <a:pt x="6225" y="12449"/>
                    </a:cubicBezTo>
                    <a:cubicBezTo>
                      <a:pt x="3113" y="9337"/>
                      <a:pt x="3113" y="6224"/>
                      <a:pt x="3113" y="3112"/>
                    </a:cubicBezTo>
                    <a:cubicBezTo>
                      <a:pt x="3113" y="0"/>
                      <a:pt x="9338" y="0"/>
                      <a:pt x="12449" y="0"/>
                    </a:cubicBezTo>
                    <a:cubicBezTo>
                      <a:pt x="84035" y="37348"/>
                      <a:pt x="133833" y="80921"/>
                      <a:pt x="133833" y="105821"/>
                    </a:cubicBezTo>
                    <a:cubicBezTo>
                      <a:pt x="133833" y="112045"/>
                      <a:pt x="130721" y="115158"/>
                      <a:pt x="127608" y="118271"/>
                    </a:cubicBezTo>
                    <a:cubicBezTo>
                      <a:pt x="124496" y="127607"/>
                      <a:pt x="121383" y="127607"/>
                      <a:pt x="115159" y="12760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AE8BFB94-92F8-4D35-84A2-E9A591B83724}"/>
                  </a:ext>
                </a:extLst>
              </p:cNvPr>
              <p:cNvSpPr/>
              <p:nvPr/>
            </p:nvSpPr>
            <p:spPr>
              <a:xfrm>
                <a:off x="10623760" y="10976641"/>
                <a:ext cx="117493" cy="118270"/>
              </a:xfrm>
              <a:custGeom>
                <a:avLst/>
                <a:gdLst>
                  <a:gd name="connsiteX0" fmla="*/ 108934 w 117493"/>
                  <a:gd name="connsiteY0" fmla="*/ 118271 h 118270"/>
                  <a:gd name="connsiteX1" fmla="*/ 102710 w 117493"/>
                  <a:gd name="connsiteY1" fmla="*/ 115158 h 118270"/>
                  <a:gd name="connsiteX2" fmla="*/ 3113 w 117493"/>
                  <a:gd name="connsiteY2" fmla="*/ 12449 h 118270"/>
                  <a:gd name="connsiteX3" fmla="*/ 0 w 117493"/>
                  <a:gd name="connsiteY3" fmla="*/ 3113 h 118270"/>
                  <a:gd name="connsiteX4" fmla="*/ 9338 w 117493"/>
                  <a:gd name="connsiteY4" fmla="*/ 0 h 118270"/>
                  <a:gd name="connsiteX5" fmla="*/ 115159 w 117493"/>
                  <a:gd name="connsiteY5" fmla="*/ 105821 h 118270"/>
                  <a:gd name="connsiteX6" fmla="*/ 115159 w 117493"/>
                  <a:gd name="connsiteY6" fmla="*/ 115158 h 118270"/>
                  <a:gd name="connsiteX7" fmla="*/ 108934 w 117493"/>
                  <a:gd name="connsiteY7" fmla="*/ 118271 h 11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7493" h="118270">
                    <a:moveTo>
                      <a:pt x="108934" y="118271"/>
                    </a:moveTo>
                    <a:cubicBezTo>
                      <a:pt x="105821" y="118271"/>
                      <a:pt x="105821" y="118271"/>
                      <a:pt x="102710" y="115158"/>
                    </a:cubicBezTo>
                    <a:cubicBezTo>
                      <a:pt x="84035" y="90259"/>
                      <a:pt x="24900" y="21786"/>
                      <a:pt x="3113" y="12449"/>
                    </a:cubicBezTo>
                    <a:cubicBezTo>
                      <a:pt x="0" y="12449"/>
                      <a:pt x="0" y="6224"/>
                      <a:pt x="0" y="3113"/>
                    </a:cubicBezTo>
                    <a:cubicBezTo>
                      <a:pt x="0" y="0"/>
                      <a:pt x="6225" y="0"/>
                      <a:pt x="9338" y="0"/>
                    </a:cubicBezTo>
                    <a:cubicBezTo>
                      <a:pt x="40462" y="15562"/>
                      <a:pt x="112046" y="102709"/>
                      <a:pt x="115159" y="105821"/>
                    </a:cubicBezTo>
                    <a:cubicBezTo>
                      <a:pt x="118271" y="108934"/>
                      <a:pt x="118271" y="112046"/>
                      <a:pt x="115159" y="115158"/>
                    </a:cubicBezTo>
                    <a:cubicBezTo>
                      <a:pt x="108934" y="115158"/>
                      <a:pt x="108934" y="118271"/>
                      <a:pt x="108934" y="11827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E72FA2D7-5393-4FB9-8464-28BEF85274A2}"/>
                  </a:ext>
                </a:extLst>
              </p:cNvPr>
              <p:cNvSpPr/>
              <p:nvPr/>
            </p:nvSpPr>
            <p:spPr>
              <a:xfrm>
                <a:off x="10577853" y="11005431"/>
                <a:ext cx="51354" cy="42795"/>
              </a:xfrm>
              <a:custGeom>
                <a:avLst/>
                <a:gdLst>
                  <a:gd name="connsiteX0" fmla="*/ 42795 w 51354"/>
                  <a:gd name="connsiteY0" fmla="*/ 42795 h 42795"/>
                  <a:gd name="connsiteX1" fmla="*/ 39684 w 51354"/>
                  <a:gd name="connsiteY1" fmla="*/ 42795 h 42795"/>
                  <a:gd name="connsiteX2" fmla="*/ 2334 w 51354"/>
                  <a:gd name="connsiteY2" fmla="*/ 11671 h 42795"/>
                  <a:gd name="connsiteX3" fmla="*/ 2334 w 51354"/>
                  <a:gd name="connsiteY3" fmla="*/ 2334 h 42795"/>
                  <a:gd name="connsiteX4" fmla="*/ 11671 w 51354"/>
                  <a:gd name="connsiteY4" fmla="*/ 2334 h 42795"/>
                  <a:gd name="connsiteX5" fmla="*/ 49020 w 51354"/>
                  <a:gd name="connsiteY5" fmla="*/ 33458 h 42795"/>
                  <a:gd name="connsiteX6" fmla="*/ 49020 w 51354"/>
                  <a:gd name="connsiteY6" fmla="*/ 42795 h 42795"/>
                  <a:gd name="connsiteX7" fmla="*/ 42795 w 51354"/>
                  <a:gd name="connsiteY7" fmla="*/ 42795 h 42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354" h="42795">
                    <a:moveTo>
                      <a:pt x="42795" y="42795"/>
                    </a:moveTo>
                    <a:cubicBezTo>
                      <a:pt x="42795" y="42795"/>
                      <a:pt x="39684" y="42795"/>
                      <a:pt x="39684" y="42795"/>
                    </a:cubicBezTo>
                    <a:lnTo>
                      <a:pt x="2334" y="11671"/>
                    </a:lnTo>
                    <a:cubicBezTo>
                      <a:pt x="-778" y="8559"/>
                      <a:pt x="-778" y="5447"/>
                      <a:pt x="2334" y="2334"/>
                    </a:cubicBezTo>
                    <a:cubicBezTo>
                      <a:pt x="5447" y="-778"/>
                      <a:pt x="8560" y="-778"/>
                      <a:pt x="11671" y="2334"/>
                    </a:cubicBezTo>
                    <a:lnTo>
                      <a:pt x="49020" y="33458"/>
                    </a:lnTo>
                    <a:cubicBezTo>
                      <a:pt x="52133" y="36571"/>
                      <a:pt x="52133" y="39683"/>
                      <a:pt x="49020" y="42795"/>
                    </a:cubicBezTo>
                    <a:cubicBezTo>
                      <a:pt x="45908" y="42795"/>
                      <a:pt x="45908" y="42795"/>
                      <a:pt x="42795" y="4279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48CD10DC-6969-458E-83E8-1A02348FC75D}"/>
                  </a:ext>
                </a:extLst>
              </p:cNvPr>
              <p:cNvSpPr/>
              <p:nvPr/>
            </p:nvSpPr>
            <p:spPr>
              <a:xfrm>
                <a:off x="10541549" y="10905056"/>
                <a:ext cx="66649" cy="87147"/>
              </a:xfrm>
              <a:custGeom>
                <a:avLst/>
                <a:gdLst>
                  <a:gd name="connsiteX0" fmla="*/ 7514 w 66649"/>
                  <a:gd name="connsiteY0" fmla="*/ 87148 h 87147"/>
                  <a:gd name="connsiteX1" fmla="*/ 1289 w 66649"/>
                  <a:gd name="connsiteY1" fmla="*/ 84035 h 87147"/>
                  <a:gd name="connsiteX2" fmla="*/ 4401 w 66649"/>
                  <a:gd name="connsiteY2" fmla="*/ 74698 h 87147"/>
                  <a:gd name="connsiteX3" fmla="*/ 54200 w 66649"/>
                  <a:gd name="connsiteY3" fmla="*/ 6225 h 87147"/>
                  <a:gd name="connsiteX4" fmla="*/ 60425 w 66649"/>
                  <a:gd name="connsiteY4" fmla="*/ 0 h 87147"/>
                  <a:gd name="connsiteX5" fmla="*/ 66649 w 66649"/>
                  <a:gd name="connsiteY5" fmla="*/ 6225 h 87147"/>
                  <a:gd name="connsiteX6" fmla="*/ 7514 w 66649"/>
                  <a:gd name="connsiteY6" fmla="*/ 87148 h 87147"/>
                  <a:gd name="connsiteX7" fmla="*/ 7514 w 66649"/>
                  <a:gd name="connsiteY7" fmla="*/ 87148 h 87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649" h="87147">
                    <a:moveTo>
                      <a:pt x="7514" y="87148"/>
                    </a:moveTo>
                    <a:cubicBezTo>
                      <a:pt x="4401" y="87148"/>
                      <a:pt x="4401" y="87148"/>
                      <a:pt x="1289" y="84035"/>
                    </a:cubicBezTo>
                    <a:cubicBezTo>
                      <a:pt x="-1823" y="80922"/>
                      <a:pt x="1289" y="77810"/>
                      <a:pt x="4401" y="74698"/>
                    </a:cubicBezTo>
                    <a:cubicBezTo>
                      <a:pt x="44863" y="49798"/>
                      <a:pt x="54200" y="6225"/>
                      <a:pt x="54200" y="6225"/>
                    </a:cubicBezTo>
                    <a:cubicBezTo>
                      <a:pt x="54200" y="3113"/>
                      <a:pt x="57312" y="0"/>
                      <a:pt x="60425" y="0"/>
                    </a:cubicBezTo>
                    <a:cubicBezTo>
                      <a:pt x="63537" y="0"/>
                      <a:pt x="66649" y="3113"/>
                      <a:pt x="66649" y="6225"/>
                    </a:cubicBezTo>
                    <a:cubicBezTo>
                      <a:pt x="66649" y="12450"/>
                      <a:pt x="57312" y="59136"/>
                      <a:pt x="7514" y="87148"/>
                    </a:cubicBezTo>
                    <a:cubicBezTo>
                      <a:pt x="10627" y="87148"/>
                      <a:pt x="7514" y="87148"/>
                      <a:pt x="7514" y="8714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A3782D11-895F-49DD-B4A6-688FED200CBF}"/>
                </a:ext>
              </a:extLst>
            </p:cNvPr>
            <p:cNvSpPr/>
            <p:nvPr/>
          </p:nvSpPr>
          <p:spPr>
            <a:xfrm>
              <a:off x="10595749" y="10362471"/>
              <a:ext cx="321865" cy="32152"/>
            </a:xfrm>
            <a:custGeom>
              <a:avLst/>
              <a:gdLst>
                <a:gd name="connsiteX0" fmla="*/ 6225 w 321865"/>
                <a:gd name="connsiteY0" fmla="*/ 32153 h 32152"/>
                <a:gd name="connsiteX1" fmla="*/ 0 w 321865"/>
                <a:gd name="connsiteY1" fmla="*/ 25928 h 32152"/>
                <a:gd name="connsiteX2" fmla="*/ 6225 w 321865"/>
                <a:gd name="connsiteY2" fmla="*/ 19703 h 32152"/>
                <a:gd name="connsiteX3" fmla="*/ 317464 w 321865"/>
                <a:gd name="connsiteY3" fmla="*/ 7254 h 32152"/>
                <a:gd name="connsiteX4" fmla="*/ 320576 w 321865"/>
                <a:gd name="connsiteY4" fmla="*/ 13478 h 32152"/>
                <a:gd name="connsiteX5" fmla="*/ 314352 w 321865"/>
                <a:gd name="connsiteY5" fmla="*/ 16591 h 32152"/>
                <a:gd name="connsiteX6" fmla="*/ 6225 w 321865"/>
                <a:gd name="connsiteY6" fmla="*/ 32153 h 32152"/>
                <a:gd name="connsiteX7" fmla="*/ 6225 w 321865"/>
                <a:gd name="connsiteY7" fmla="*/ 32153 h 3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1865" h="32152">
                  <a:moveTo>
                    <a:pt x="6225" y="32153"/>
                  </a:moveTo>
                  <a:cubicBezTo>
                    <a:pt x="3113" y="32153"/>
                    <a:pt x="0" y="29040"/>
                    <a:pt x="0" y="25928"/>
                  </a:cubicBezTo>
                  <a:cubicBezTo>
                    <a:pt x="0" y="22816"/>
                    <a:pt x="3113" y="19703"/>
                    <a:pt x="6225" y="19703"/>
                  </a:cubicBezTo>
                  <a:cubicBezTo>
                    <a:pt x="15562" y="19703"/>
                    <a:pt x="242766" y="-14533"/>
                    <a:pt x="317464" y="7254"/>
                  </a:cubicBezTo>
                  <a:cubicBezTo>
                    <a:pt x="320576" y="7254"/>
                    <a:pt x="323689" y="10366"/>
                    <a:pt x="320576" y="13478"/>
                  </a:cubicBezTo>
                  <a:cubicBezTo>
                    <a:pt x="320576" y="16591"/>
                    <a:pt x="317464" y="19703"/>
                    <a:pt x="314352" y="16591"/>
                  </a:cubicBezTo>
                  <a:cubicBezTo>
                    <a:pt x="239655" y="-2084"/>
                    <a:pt x="9337" y="32153"/>
                    <a:pt x="6225" y="32153"/>
                  </a:cubicBezTo>
                  <a:cubicBezTo>
                    <a:pt x="6225" y="32153"/>
                    <a:pt x="6225" y="32153"/>
                    <a:pt x="6225" y="32153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FA93BCC0-BBC8-41FB-B283-4353BCB90D90}"/>
                </a:ext>
              </a:extLst>
            </p:cNvPr>
            <p:cNvGrpSpPr/>
            <p:nvPr/>
          </p:nvGrpSpPr>
          <p:grpSpPr>
            <a:xfrm>
              <a:off x="11876336" y="10577530"/>
              <a:ext cx="170218" cy="172404"/>
              <a:chOff x="11876336" y="10577530"/>
              <a:chExt cx="170218" cy="172404"/>
            </a:xfrm>
          </p:grpSpPr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C3D5F4A8-B244-4A3B-8CB6-57CB6DD7BA28}"/>
                  </a:ext>
                </a:extLst>
              </p:cNvPr>
              <p:cNvSpPr/>
              <p:nvPr/>
            </p:nvSpPr>
            <p:spPr>
              <a:xfrm>
                <a:off x="11880683" y="10581367"/>
                <a:ext cx="165871" cy="168567"/>
              </a:xfrm>
              <a:custGeom>
                <a:avLst/>
                <a:gdLst>
                  <a:gd name="connsiteX0" fmla="*/ 3596 w 165871"/>
                  <a:gd name="connsiteY0" fmla="*/ 115159 h 168567"/>
                  <a:gd name="connsiteX1" fmla="*/ 9821 w 165871"/>
                  <a:gd name="connsiteY1" fmla="*/ 93372 h 168567"/>
                  <a:gd name="connsiteX2" fmla="*/ 484 w 165871"/>
                  <a:gd name="connsiteY2" fmla="*/ 80922 h 168567"/>
                  <a:gd name="connsiteX3" fmla="*/ 22271 w 165871"/>
                  <a:gd name="connsiteY3" fmla="*/ 43573 h 168567"/>
                  <a:gd name="connsiteX4" fmla="*/ 25383 w 165871"/>
                  <a:gd name="connsiteY4" fmla="*/ 43573 h 168567"/>
                  <a:gd name="connsiteX5" fmla="*/ 22271 w 165871"/>
                  <a:gd name="connsiteY5" fmla="*/ 40462 h 168567"/>
                  <a:gd name="connsiteX6" fmla="*/ 44058 w 165871"/>
                  <a:gd name="connsiteY6" fmla="*/ 3113 h 168567"/>
                  <a:gd name="connsiteX7" fmla="*/ 59620 w 165871"/>
                  <a:gd name="connsiteY7" fmla="*/ 0 h 168567"/>
                  <a:gd name="connsiteX8" fmla="*/ 72069 w 165871"/>
                  <a:gd name="connsiteY8" fmla="*/ 3113 h 168567"/>
                  <a:gd name="connsiteX9" fmla="*/ 159216 w 165871"/>
                  <a:gd name="connsiteY9" fmla="*/ 18675 h 168567"/>
                  <a:gd name="connsiteX10" fmla="*/ 156103 w 165871"/>
                  <a:gd name="connsiteY10" fmla="*/ 52911 h 168567"/>
                  <a:gd name="connsiteX11" fmla="*/ 134317 w 165871"/>
                  <a:gd name="connsiteY11" fmla="*/ 62248 h 168567"/>
                  <a:gd name="connsiteX12" fmla="*/ 131204 w 165871"/>
                  <a:gd name="connsiteY12" fmla="*/ 93372 h 168567"/>
                  <a:gd name="connsiteX13" fmla="*/ 115642 w 165871"/>
                  <a:gd name="connsiteY13" fmla="*/ 102710 h 168567"/>
                  <a:gd name="connsiteX14" fmla="*/ 115642 w 165871"/>
                  <a:gd name="connsiteY14" fmla="*/ 130721 h 168567"/>
                  <a:gd name="connsiteX15" fmla="*/ 93855 w 165871"/>
                  <a:gd name="connsiteY15" fmla="*/ 140058 h 168567"/>
                  <a:gd name="connsiteX16" fmla="*/ 93855 w 165871"/>
                  <a:gd name="connsiteY16" fmla="*/ 161845 h 168567"/>
                  <a:gd name="connsiteX17" fmla="*/ 68957 w 165871"/>
                  <a:gd name="connsiteY17" fmla="*/ 168069 h 168567"/>
                  <a:gd name="connsiteX18" fmla="*/ 31607 w 165871"/>
                  <a:gd name="connsiteY18" fmla="*/ 164957 h 168567"/>
                  <a:gd name="connsiteX19" fmla="*/ 6709 w 165871"/>
                  <a:gd name="connsiteY19" fmla="*/ 152507 h 168567"/>
                  <a:gd name="connsiteX20" fmla="*/ 16045 w 165871"/>
                  <a:gd name="connsiteY20" fmla="*/ 133833 h 168567"/>
                  <a:gd name="connsiteX21" fmla="*/ 3596 w 165871"/>
                  <a:gd name="connsiteY21" fmla="*/ 115159 h 168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65871" h="168567">
                    <a:moveTo>
                      <a:pt x="3596" y="115159"/>
                    </a:moveTo>
                    <a:cubicBezTo>
                      <a:pt x="484" y="105821"/>
                      <a:pt x="6709" y="99597"/>
                      <a:pt x="9821" y="93372"/>
                    </a:cubicBezTo>
                    <a:cubicBezTo>
                      <a:pt x="6709" y="90259"/>
                      <a:pt x="484" y="87148"/>
                      <a:pt x="484" y="80922"/>
                    </a:cubicBezTo>
                    <a:cubicBezTo>
                      <a:pt x="-2628" y="65360"/>
                      <a:pt x="9821" y="49798"/>
                      <a:pt x="22271" y="43573"/>
                    </a:cubicBezTo>
                    <a:cubicBezTo>
                      <a:pt x="22271" y="43573"/>
                      <a:pt x="25383" y="43573"/>
                      <a:pt x="25383" y="43573"/>
                    </a:cubicBezTo>
                    <a:cubicBezTo>
                      <a:pt x="25383" y="43573"/>
                      <a:pt x="25383" y="40462"/>
                      <a:pt x="22271" y="40462"/>
                    </a:cubicBezTo>
                    <a:cubicBezTo>
                      <a:pt x="19158" y="24900"/>
                      <a:pt x="31607" y="9338"/>
                      <a:pt x="44058" y="3113"/>
                    </a:cubicBezTo>
                    <a:cubicBezTo>
                      <a:pt x="50282" y="0"/>
                      <a:pt x="53395" y="0"/>
                      <a:pt x="59620" y="0"/>
                    </a:cubicBezTo>
                    <a:cubicBezTo>
                      <a:pt x="62731" y="0"/>
                      <a:pt x="68957" y="3113"/>
                      <a:pt x="72069" y="3113"/>
                    </a:cubicBezTo>
                    <a:cubicBezTo>
                      <a:pt x="103193" y="6225"/>
                      <a:pt x="137430" y="3113"/>
                      <a:pt x="159216" y="18675"/>
                    </a:cubicBezTo>
                    <a:cubicBezTo>
                      <a:pt x="168553" y="24900"/>
                      <a:pt x="168553" y="40462"/>
                      <a:pt x="156103" y="52911"/>
                    </a:cubicBezTo>
                    <a:cubicBezTo>
                      <a:pt x="149879" y="59135"/>
                      <a:pt x="143654" y="62248"/>
                      <a:pt x="134317" y="62248"/>
                    </a:cubicBezTo>
                    <a:cubicBezTo>
                      <a:pt x="140541" y="71586"/>
                      <a:pt x="140541" y="84035"/>
                      <a:pt x="131204" y="93372"/>
                    </a:cubicBezTo>
                    <a:cubicBezTo>
                      <a:pt x="128092" y="99597"/>
                      <a:pt x="121868" y="99597"/>
                      <a:pt x="115642" y="102710"/>
                    </a:cubicBezTo>
                    <a:cubicBezTo>
                      <a:pt x="121868" y="108934"/>
                      <a:pt x="121868" y="121383"/>
                      <a:pt x="115642" y="130721"/>
                    </a:cubicBezTo>
                    <a:cubicBezTo>
                      <a:pt x="109417" y="136945"/>
                      <a:pt x="103193" y="140058"/>
                      <a:pt x="93855" y="140058"/>
                    </a:cubicBezTo>
                    <a:cubicBezTo>
                      <a:pt x="100080" y="146283"/>
                      <a:pt x="100080" y="155620"/>
                      <a:pt x="93855" y="161845"/>
                    </a:cubicBezTo>
                    <a:cubicBezTo>
                      <a:pt x="87631" y="171182"/>
                      <a:pt x="75182" y="168069"/>
                      <a:pt x="68957" y="168069"/>
                    </a:cubicBezTo>
                    <a:cubicBezTo>
                      <a:pt x="56507" y="168069"/>
                      <a:pt x="44058" y="164957"/>
                      <a:pt x="31607" y="164957"/>
                    </a:cubicBezTo>
                    <a:cubicBezTo>
                      <a:pt x="22271" y="164957"/>
                      <a:pt x="9821" y="161845"/>
                      <a:pt x="6709" y="152507"/>
                    </a:cubicBezTo>
                    <a:cubicBezTo>
                      <a:pt x="3596" y="146283"/>
                      <a:pt x="9821" y="136945"/>
                      <a:pt x="16045" y="133833"/>
                    </a:cubicBezTo>
                    <a:cubicBezTo>
                      <a:pt x="12934" y="127608"/>
                      <a:pt x="6709" y="124496"/>
                      <a:pt x="3596" y="11515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4C2BD5B1-6086-4979-B94A-8091FC0002F4}"/>
                  </a:ext>
                </a:extLst>
              </p:cNvPr>
              <p:cNvSpPr/>
              <p:nvPr/>
            </p:nvSpPr>
            <p:spPr>
              <a:xfrm>
                <a:off x="11877839" y="10577530"/>
                <a:ext cx="158169" cy="109658"/>
              </a:xfrm>
              <a:custGeom>
                <a:avLst/>
                <a:gdLst>
                  <a:gd name="connsiteX0" fmla="*/ 93588 w 158169"/>
                  <a:gd name="connsiteY0" fmla="*/ 109659 h 109658"/>
                  <a:gd name="connsiteX1" fmla="*/ 56239 w 158169"/>
                  <a:gd name="connsiteY1" fmla="*/ 106547 h 109658"/>
                  <a:gd name="connsiteX2" fmla="*/ 216 w 158169"/>
                  <a:gd name="connsiteY2" fmla="*/ 75423 h 109658"/>
                  <a:gd name="connsiteX3" fmla="*/ 28227 w 158169"/>
                  <a:gd name="connsiteY3" fmla="*/ 38074 h 109658"/>
                  <a:gd name="connsiteX4" fmla="*/ 28227 w 158169"/>
                  <a:gd name="connsiteY4" fmla="*/ 25625 h 109658"/>
                  <a:gd name="connsiteX5" fmla="*/ 37564 w 158169"/>
                  <a:gd name="connsiteY5" fmla="*/ 10063 h 109658"/>
                  <a:gd name="connsiteX6" fmla="*/ 137161 w 158169"/>
                  <a:gd name="connsiteY6" fmla="*/ 6950 h 109658"/>
                  <a:gd name="connsiteX7" fmla="*/ 143385 w 158169"/>
                  <a:gd name="connsiteY7" fmla="*/ 13175 h 109658"/>
                  <a:gd name="connsiteX8" fmla="*/ 137161 w 158169"/>
                  <a:gd name="connsiteY8" fmla="*/ 19399 h 109658"/>
                  <a:gd name="connsiteX9" fmla="*/ 46902 w 158169"/>
                  <a:gd name="connsiteY9" fmla="*/ 22512 h 109658"/>
                  <a:gd name="connsiteX10" fmla="*/ 40677 w 158169"/>
                  <a:gd name="connsiteY10" fmla="*/ 31849 h 109658"/>
                  <a:gd name="connsiteX11" fmla="*/ 43789 w 158169"/>
                  <a:gd name="connsiteY11" fmla="*/ 44299 h 109658"/>
                  <a:gd name="connsiteX12" fmla="*/ 143385 w 158169"/>
                  <a:gd name="connsiteY12" fmla="*/ 59861 h 109658"/>
                  <a:gd name="connsiteX13" fmla="*/ 155835 w 158169"/>
                  <a:gd name="connsiteY13" fmla="*/ 66085 h 109658"/>
                  <a:gd name="connsiteX14" fmla="*/ 155835 w 158169"/>
                  <a:gd name="connsiteY14" fmla="*/ 87872 h 109658"/>
                  <a:gd name="connsiteX15" fmla="*/ 93588 w 158169"/>
                  <a:gd name="connsiteY15" fmla="*/ 109659 h 109658"/>
                  <a:gd name="connsiteX16" fmla="*/ 31340 w 158169"/>
                  <a:gd name="connsiteY16" fmla="*/ 50523 h 109658"/>
                  <a:gd name="connsiteX17" fmla="*/ 9553 w 158169"/>
                  <a:gd name="connsiteY17" fmla="*/ 75423 h 109658"/>
                  <a:gd name="connsiteX18" fmla="*/ 56239 w 158169"/>
                  <a:gd name="connsiteY18" fmla="*/ 94097 h 109658"/>
                  <a:gd name="connsiteX19" fmla="*/ 143385 w 158169"/>
                  <a:gd name="connsiteY19" fmla="*/ 78535 h 109658"/>
                  <a:gd name="connsiteX20" fmla="*/ 143385 w 158169"/>
                  <a:gd name="connsiteY20" fmla="*/ 69198 h 109658"/>
                  <a:gd name="connsiteX21" fmla="*/ 140274 w 158169"/>
                  <a:gd name="connsiteY21" fmla="*/ 69198 h 109658"/>
                  <a:gd name="connsiteX22" fmla="*/ 31340 w 158169"/>
                  <a:gd name="connsiteY22" fmla="*/ 50523 h 109658"/>
                  <a:gd name="connsiteX23" fmla="*/ 31340 w 158169"/>
                  <a:gd name="connsiteY23" fmla="*/ 50523 h 109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58169" h="109658">
                    <a:moveTo>
                      <a:pt x="93588" y="109659"/>
                    </a:moveTo>
                    <a:cubicBezTo>
                      <a:pt x="84250" y="109659"/>
                      <a:pt x="71801" y="109659"/>
                      <a:pt x="56239" y="106547"/>
                    </a:cubicBezTo>
                    <a:cubicBezTo>
                      <a:pt x="28227" y="103434"/>
                      <a:pt x="-2897" y="100322"/>
                      <a:pt x="216" y="75423"/>
                    </a:cubicBezTo>
                    <a:cubicBezTo>
                      <a:pt x="3328" y="56748"/>
                      <a:pt x="25115" y="41187"/>
                      <a:pt x="28227" y="38074"/>
                    </a:cubicBezTo>
                    <a:cubicBezTo>
                      <a:pt x="28227" y="31849"/>
                      <a:pt x="28227" y="28737"/>
                      <a:pt x="28227" y="25625"/>
                    </a:cubicBezTo>
                    <a:cubicBezTo>
                      <a:pt x="28227" y="19399"/>
                      <a:pt x="31340" y="13175"/>
                      <a:pt x="37564" y="10063"/>
                    </a:cubicBezTo>
                    <a:cubicBezTo>
                      <a:pt x="62464" y="-8612"/>
                      <a:pt x="130936" y="3837"/>
                      <a:pt x="137161" y="6950"/>
                    </a:cubicBezTo>
                    <a:cubicBezTo>
                      <a:pt x="140274" y="6950"/>
                      <a:pt x="143385" y="10063"/>
                      <a:pt x="143385" y="13175"/>
                    </a:cubicBezTo>
                    <a:cubicBezTo>
                      <a:pt x="143385" y="16287"/>
                      <a:pt x="140274" y="19399"/>
                      <a:pt x="137161" y="19399"/>
                    </a:cubicBezTo>
                    <a:cubicBezTo>
                      <a:pt x="118486" y="16287"/>
                      <a:pt x="65575" y="10063"/>
                      <a:pt x="46902" y="22512"/>
                    </a:cubicBezTo>
                    <a:cubicBezTo>
                      <a:pt x="43789" y="25625"/>
                      <a:pt x="43789" y="28737"/>
                      <a:pt x="40677" y="31849"/>
                    </a:cubicBezTo>
                    <a:cubicBezTo>
                      <a:pt x="40677" y="38074"/>
                      <a:pt x="40677" y="41187"/>
                      <a:pt x="43789" y="44299"/>
                    </a:cubicBezTo>
                    <a:cubicBezTo>
                      <a:pt x="53126" y="56748"/>
                      <a:pt x="87362" y="59861"/>
                      <a:pt x="143385" y="59861"/>
                    </a:cubicBezTo>
                    <a:cubicBezTo>
                      <a:pt x="143385" y="59861"/>
                      <a:pt x="152723" y="59861"/>
                      <a:pt x="155835" y="66085"/>
                    </a:cubicBezTo>
                    <a:cubicBezTo>
                      <a:pt x="158947" y="72310"/>
                      <a:pt x="158947" y="78535"/>
                      <a:pt x="155835" y="87872"/>
                    </a:cubicBezTo>
                    <a:cubicBezTo>
                      <a:pt x="149610" y="100322"/>
                      <a:pt x="127823" y="109659"/>
                      <a:pt x="93588" y="109659"/>
                    </a:cubicBezTo>
                    <a:close/>
                    <a:moveTo>
                      <a:pt x="31340" y="50523"/>
                    </a:moveTo>
                    <a:cubicBezTo>
                      <a:pt x="25115" y="53636"/>
                      <a:pt x="12665" y="66085"/>
                      <a:pt x="9553" y="75423"/>
                    </a:cubicBezTo>
                    <a:cubicBezTo>
                      <a:pt x="9553" y="84760"/>
                      <a:pt x="18889" y="90985"/>
                      <a:pt x="56239" y="94097"/>
                    </a:cubicBezTo>
                    <a:cubicBezTo>
                      <a:pt x="106037" y="100322"/>
                      <a:pt x="137161" y="94097"/>
                      <a:pt x="143385" y="78535"/>
                    </a:cubicBezTo>
                    <a:cubicBezTo>
                      <a:pt x="146498" y="72310"/>
                      <a:pt x="146498" y="69198"/>
                      <a:pt x="143385" y="69198"/>
                    </a:cubicBezTo>
                    <a:cubicBezTo>
                      <a:pt x="143385" y="69198"/>
                      <a:pt x="140274" y="69198"/>
                      <a:pt x="140274" y="69198"/>
                    </a:cubicBezTo>
                    <a:cubicBezTo>
                      <a:pt x="62464" y="69198"/>
                      <a:pt x="40677" y="59861"/>
                      <a:pt x="31340" y="50523"/>
                    </a:cubicBezTo>
                    <a:cubicBezTo>
                      <a:pt x="34451" y="50523"/>
                      <a:pt x="34451" y="50523"/>
                      <a:pt x="31340" y="5052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EB91DB7C-BD06-46ED-AC12-17A4222CD385}"/>
                  </a:ext>
                </a:extLst>
              </p:cNvPr>
              <p:cNvSpPr/>
              <p:nvPr/>
            </p:nvSpPr>
            <p:spPr>
              <a:xfrm>
                <a:off x="11876336" y="10663068"/>
                <a:ext cx="138664" cy="61469"/>
              </a:xfrm>
              <a:custGeom>
                <a:avLst/>
                <a:gdLst>
                  <a:gd name="connsiteX0" fmla="*/ 85753 w 138664"/>
                  <a:gd name="connsiteY0" fmla="*/ 61470 h 61469"/>
                  <a:gd name="connsiteX1" fmla="*/ 23505 w 138664"/>
                  <a:gd name="connsiteY1" fmla="*/ 52133 h 61469"/>
                  <a:gd name="connsiteX2" fmla="*/ 1719 w 138664"/>
                  <a:gd name="connsiteY2" fmla="*/ 33458 h 61469"/>
                  <a:gd name="connsiteX3" fmla="*/ 11056 w 138664"/>
                  <a:gd name="connsiteY3" fmla="*/ 2334 h 61469"/>
                  <a:gd name="connsiteX4" fmla="*/ 20393 w 138664"/>
                  <a:gd name="connsiteY4" fmla="*/ 2334 h 61469"/>
                  <a:gd name="connsiteX5" fmla="*/ 20393 w 138664"/>
                  <a:gd name="connsiteY5" fmla="*/ 11671 h 61469"/>
                  <a:gd name="connsiteX6" fmla="*/ 14169 w 138664"/>
                  <a:gd name="connsiteY6" fmla="*/ 33458 h 61469"/>
                  <a:gd name="connsiteX7" fmla="*/ 29730 w 138664"/>
                  <a:gd name="connsiteY7" fmla="*/ 42795 h 61469"/>
                  <a:gd name="connsiteX8" fmla="*/ 119990 w 138664"/>
                  <a:gd name="connsiteY8" fmla="*/ 49020 h 61469"/>
                  <a:gd name="connsiteX9" fmla="*/ 126215 w 138664"/>
                  <a:gd name="connsiteY9" fmla="*/ 39683 h 61469"/>
                  <a:gd name="connsiteX10" fmla="*/ 123102 w 138664"/>
                  <a:gd name="connsiteY10" fmla="*/ 24121 h 61469"/>
                  <a:gd name="connsiteX11" fmla="*/ 123102 w 138664"/>
                  <a:gd name="connsiteY11" fmla="*/ 14784 h 61469"/>
                  <a:gd name="connsiteX12" fmla="*/ 132439 w 138664"/>
                  <a:gd name="connsiteY12" fmla="*/ 14784 h 61469"/>
                  <a:gd name="connsiteX13" fmla="*/ 138664 w 138664"/>
                  <a:gd name="connsiteY13" fmla="*/ 42795 h 61469"/>
                  <a:gd name="connsiteX14" fmla="*/ 123102 w 138664"/>
                  <a:gd name="connsiteY14" fmla="*/ 58357 h 61469"/>
                  <a:gd name="connsiteX15" fmla="*/ 85753 w 138664"/>
                  <a:gd name="connsiteY15" fmla="*/ 61470 h 61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8664" h="61469">
                    <a:moveTo>
                      <a:pt x="85753" y="61470"/>
                    </a:moveTo>
                    <a:cubicBezTo>
                      <a:pt x="67079" y="61470"/>
                      <a:pt x="42180" y="58357"/>
                      <a:pt x="23505" y="52133"/>
                    </a:cubicBezTo>
                    <a:cubicBezTo>
                      <a:pt x="11056" y="49020"/>
                      <a:pt x="4831" y="42795"/>
                      <a:pt x="1719" y="33458"/>
                    </a:cubicBezTo>
                    <a:cubicBezTo>
                      <a:pt x="-4506" y="17896"/>
                      <a:pt x="7943" y="2334"/>
                      <a:pt x="11056" y="2334"/>
                    </a:cubicBezTo>
                    <a:cubicBezTo>
                      <a:pt x="14169" y="-778"/>
                      <a:pt x="17281" y="-778"/>
                      <a:pt x="20393" y="2334"/>
                    </a:cubicBezTo>
                    <a:cubicBezTo>
                      <a:pt x="23505" y="5447"/>
                      <a:pt x="23505" y="8559"/>
                      <a:pt x="20393" y="11671"/>
                    </a:cubicBezTo>
                    <a:cubicBezTo>
                      <a:pt x="17281" y="14784"/>
                      <a:pt x="11056" y="24121"/>
                      <a:pt x="14169" y="33458"/>
                    </a:cubicBezTo>
                    <a:cubicBezTo>
                      <a:pt x="14169" y="39683"/>
                      <a:pt x="20393" y="42795"/>
                      <a:pt x="29730" y="42795"/>
                    </a:cubicBezTo>
                    <a:cubicBezTo>
                      <a:pt x="63967" y="52133"/>
                      <a:pt x="107540" y="52133"/>
                      <a:pt x="119990" y="49020"/>
                    </a:cubicBezTo>
                    <a:cubicBezTo>
                      <a:pt x="123102" y="49020"/>
                      <a:pt x="126215" y="42795"/>
                      <a:pt x="126215" y="39683"/>
                    </a:cubicBezTo>
                    <a:cubicBezTo>
                      <a:pt x="129326" y="33458"/>
                      <a:pt x="126215" y="24121"/>
                      <a:pt x="123102" y="24121"/>
                    </a:cubicBezTo>
                    <a:cubicBezTo>
                      <a:pt x="119990" y="21009"/>
                      <a:pt x="119990" y="17896"/>
                      <a:pt x="123102" y="14784"/>
                    </a:cubicBezTo>
                    <a:cubicBezTo>
                      <a:pt x="126215" y="11671"/>
                      <a:pt x="129326" y="11671"/>
                      <a:pt x="132439" y="14784"/>
                    </a:cubicBezTo>
                    <a:cubicBezTo>
                      <a:pt x="138664" y="21009"/>
                      <a:pt x="138664" y="33458"/>
                      <a:pt x="138664" y="42795"/>
                    </a:cubicBezTo>
                    <a:cubicBezTo>
                      <a:pt x="135552" y="52133"/>
                      <a:pt x="132439" y="58357"/>
                      <a:pt x="123102" y="58357"/>
                    </a:cubicBezTo>
                    <a:cubicBezTo>
                      <a:pt x="116877" y="61470"/>
                      <a:pt x="101315" y="61470"/>
                      <a:pt x="85753" y="6147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4" name="图形 1">
              <a:extLst>
                <a:ext uri="{FF2B5EF4-FFF2-40B4-BE49-F238E27FC236}">
                  <a16:creationId xmlns:a16="http://schemas.microsoft.com/office/drawing/2014/main" id="{B38B9FB0-E3C9-4B05-B766-DD572106FB58}"/>
                </a:ext>
              </a:extLst>
            </p:cNvPr>
            <p:cNvGrpSpPr/>
            <p:nvPr/>
          </p:nvGrpSpPr>
          <p:grpSpPr>
            <a:xfrm>
              <a:off x="11813265" y="10586972"/>
              <a:ext cx="140070" cy="109553"/>
              <a:chOff x="11813265" y="10586972"/>
              <a:chExt cx="140070" cy="109553"/>
            </a:xfrm>
          </p:grpSpPr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6573E7B6-DB33-47AF-8587-8BACA23564F5}"/>
                  </a:ext>
                </a:extLst>
              </p:cNvPr>
              <p:cNvSpPr/>
              <p:nvPr/>
            </p:nvSpPr>
            <p:spPr>
              <a:xfrm>
                <a:off x="11813265" y="10595906"/>
                <a:ext cx="133751" cy="85170"/>
              </a:xfrm>
              <a:custGeom>
                <a:avLst/>
                <a:gdLst>
                  <a:gd name="connsiteX0" fmla="*/ 108363 w 133751"/>
                  <a:gd name="connsiteY0" fmla="*/ 10361 h 85170"/>
                  <a:gd name="connsiteX1" fmla="*/ 11878 w 133751"/>
                  <a:gd name="connsiteY1" fmla="*/ 16585 h 85170"/>
                  <a:gd name="connsiteX2" fmla="*/ 2541 w 133751"/>
                  <a:gd name="connsiteY2" fmla="*/ 85058 h 85170"/>
                  <a:gd name="connsiteX3" fmla="*/ 49227 w 133751"/>
                  <a:gd name="connsiteY3" fmla="*/ 53934 h 85170"/>
                  <a:gd name="connsiteX4" fmla="*/ 105250 w 133751"/>
                  <a:gd name="connsiteY4" fmla="*/ 63271 h 85170"/>
                  <a:gd name="connsiteX5" fmla="*/ 127037 w 133751"/>
                  <a:gd name="connsiteY5" fmla="*/ 75720 h 85170"/>
                  <a:gd name="connsiteX6" fmla="*/ 108363 w 133751"/>
                  <a:gd name="connsiteY6" fmla="*/ 10361 h 85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751" h="85170">
                    <a:moveTo>
                      <a:pt x="108363" y="10361"/>
                    </a:moveTo>
                    <a:cubicBezTo>
                      <a:pt x="83463" y="-8314"/>
                      <a:pt x="36777" y="1023"/>
                      <a:pt x="11878" y="16585"/>
                    </a:cubicBezTo>
                    <a:cubicBezTo>
                      <a:pt x="-3684" y="25923"/>
                      <a:pt x="-571" y="88171"/>
                      <a:pt x="2541" y="85058"/>
                    </a:cubicBezTo>
                    <a:cubicBezTo>
                      <a:pt x="14991" y="78833"/>
                      <a:pt x="36777" y="60158"/>
                      <a:pt x="49227" y="53934"/>
                    </a:cubicBezTo>
                    <a:cubicBezTo>
                      <a:pt x="71014" y="47709"/>
                      <a:pt x="86575" y="53934"/>
                      <a:pt x="105250" y="63271"/>
                    </a:cubicBezTo>
                    <a:cubicBezTo>
                      <a:pt x="111475" y="66383"/>
                      <a:pt x="120812" y="81945"/>
                      <a:pt x="127037" y="75720"/>
                    </a:cubicBezTo>
                    <a:cubicBezTo>
                      <a:pt x="145711" y="69496"/>
                      <a:pt x="120812" y="19698"/>
                      <a:pt x="108363" y="10361"/>
                    </a:cubicBez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DA40BE05-B04B-4A4B-88D4-B1895D586B7D}"/>
                  </a:ext>
                </a:extLst>
              </p:cNvPr>
              <p:cNvSpPr/>
              <p:nvPr/>
            </p:nvSpPr>
            <p:spPr>
              <a:xfrm>
                <a:off x="11818919" y="10586972"/>
                <a:ext cx="134417" cy="109553"/>
              </a:xfrm>
              <a:custGeom>
                <a:avLst/>
                <a:gdLst>
                  <a:gd name="connsiteX0" fmla="*/ 28012 w 134417"/>
                  <a:gd name="connsiteY0" fmla="*/ 109554 h 109553"/>
                  <a:gd name="connsiteX1" fmla="*/ 21787 w 134417"/>
                  <a:gd name="connsiteY1" fmla="*/ 106441 h 109553"/>
                  <a:gd name="connsiteX2" fmla="*/ 24900 w 134417"/>
                  <a:gd name="connsiteY2" fmla="*/ 97105 h 109553"/>
                  <a:gd name="connsiteX3" fmla="*/ 40462 w 134417"/>
                  <a:gd name="connsiteY3" fmla="*/ 62868 h 109553"/>
                  <a:gd name="connsiteX4" fmla="*/ 43574 w 134417"/>
                  <a:gd name="connsiteY4" fmla="*/ 56643 h 109553"/>
                  <a:gd name="connsiteX5" fmla="*/ 105822 w 134417"/>
                  <a:gd name="connsiteY5" fmla="*/ 72205 h 109553"/>
                  <a:gd name="connsiteX6" fmla="*/ 121384 w 134417"/>
                  <a:gd name="connsiteY6" fmla="*/ 81543 h 109553"/>
                  <a:gd name="connsiteX7" fmla="*/ 124496 w 134417"/>
                  <a:gd name="connsiteY7" fmla="*/ 78430 h 109553"/>
                  <a:gd name="connsiteX8" fmla="*/ 99597 w 134417"/>
                  <a:gd name="connsiteY8" fmla="*/ 22406 h 109553"/>
                  <a:gd name="connsiteX9" fmla="*/ 9338 w 134417"/>
                  <a:gd name="connsiteY9" fmla="*/ 28632 h 109553"/>
                  <a:gd name="connsiteX10" fmla="*/ 0 w 134417"/>
                  <a:gd name="connsiteY10" fmla="*/ 25519 h 109553"/>
                  <a:gd name="connsiteX11" fmla="*/ 3113 w 134417"/>
                  <a:gd name="connsiteY11" fmla="*/ 16182 h 109553"/>
                  <a:gd name="connsiteX12" fmla="*/ 105822 w 134417"/>
                  <a:gd name="connsiteY12" fmla="*/ 13070 h 109553"/>
                  <a:gd name="connsiteX13" fmla="*/ 133833 w 134417"/>
                  <a:gd name="connsiteY13" fmla="*/ 78430 h 109553"/>
                  <a:gd name="connsiteX14" fmla="*/ 121384 w 134417"/>
                  <a:gd name="connsiteY14" fmla="*/ 90879 h 109553"/>
                  <a:gd name="connsiteX15" fmla="*/ 96484 w 134417"/>
                  <a:gd name="connsiteY15" fmla="*/ 81543 h 109553"/>
                  <a:gd name="connsiteX16" fmla="*/ 49798 w 134417"/>
                  <a:gd name="connsiteY16" fmla="*/ 65981 h 109553"/>
                  <a:gd name="connsiteX17" fmla="*/ 28012 w 134417"/>
                  <a:gd name="connsiteY17" fmla="*/ 103329 h 109553"/>
                  <a:gd name="connsiteX18" fmla="*/ 28012 w 134417"/>
                  <a:gd name="connsiteY18" fmla="*/ 109554 h 109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34417" h="109553">
                    <a:moveTo>
                      <a:pt x="28012" y="109554"/>
                    </a:moveTo>
                    <a:cubicBezTo>
                      <a:pt x="24900" y="109554"/>
                      <a:pt x="24900" y="109554"/>
                      <a:pt x="21787" y="106441"/>
                    </a:cubicBezTo>
                    <a:cubicBezTo>
                      <a:pt x="18675" y="103329"/>
                      <a:pt x="21787" y="100216"/>
                      <a:pt x="24900" y="97105"/>
                    </a:cubicBezTo>
                    <a:cubicBezTo>
                      <a:pt x="37349" y="90879"/>
                      <a:pt x="40462" y="69092"/>
                      <a:pt x="40462" y="62868"/>
                    </a:cubicBezTo>
                    <a:cubicBezTo>
                      <a:pt x="40462" y="59755"/>
                      <a:pt x="43574" y="59755"/>
                      <a:pt x="43574" y="56643"/>
                    </a:cubicBezTo>
                    <a:cubicBezTo>
                      <a:pt x="71586" y="47306"/>
                      <a:pt x="93372" y="62868"/>
                      <a:pt x="105822" y="72205"/>
                    </a:cubicBezTo>
                    <a:cubicBezTo>
                      <a:pt x="112046" y="75317"/>
                      <a:pt x="118271" y="81543"/>
                      <a:pt x="121384" y="81543"/>
                    </a:cubicBezTo>
                    <a:cubicBezTo>
                      <a:pt x="121384" y="81543"/>
                      <a:pt x="124496" y="81543"/>
                      <a:pt x="124496" y="78430"/>
                    </a:cubicBezTo>
                    <a:cubicBezTo>
                      <a:pt x="127608" y="69092"/>
                      <a:pt x="121384" y="44193"/>
                      <a:pt x="99597" y="22406"/>
                    </a:cubicBezTo>
                    <a:cubicBezTo>
                      <a:pt x="77810" y="3733"/>
                      <a:pt x="28012" y="19295"/>
                      <a:pt x="9338" y="28632"/>
                    </a:cubicBezTo>
                    <a:cubicBezTo>
                      <a:pt x="6225" y="28632"/>
                      <a:pt x="3113" y="28632"/>
                      <a:pt x="0" y="25519"/>
                    </a:cubicBezTo>
                    <a:cubicBezTo>
                      <a:pt x="0" y="22406"/>
                      <a:pt x="0" y="19295"/>
                      <a:pt x="3113" y="16182"/>
                    </a:cubicBezTo>
                    <a:cubicBezTo>
                      <a:pt x="6225" y="16182"/>
                      <a:pt x="74698" y="-18054"/>
                      <a:pt x="105822" y="13070"/>
                    </a:cubicBezTo>
                    <a:cubicBezTo>
                      <a:pt x="127608" y="34857"/>
                      <a:pt x="136946" y="62868"/>
                      <a:pt x="133833" y="78430"/>
                    </a:cubicBezTo>
                    <a:cubicBezTo>
                      <a:pt x="130721" y="84654"/>
                      <a:pt x="127608" y="90879"/>
                      <a:pt x="121384" y="90879"/>
                    </a:cubicBezTo>
                    <a:cubicBezTo>
                      <a:pt x="112046" y="93992"/>
                      <a:pt x="105822" y="87767"/>
                      <a:pt x="96484" y="81543"/>
                    </a:cubicBezTo>
                    <a:cubicBezTo>
                      <a:pt x="84035" y="72205"/>
                      <a:pt x="68473" y="59755"/>
                      <a:pt x="49798" y="65981"/>
                    </a:cubicBezTo>
                    <a:cubicBezTo>
                      <a:pt x="49798" y="75317"/>
                      <a:pt x="43574" y="97105"/>
                      <a:pt x="28012" y="103329"/>
                    </a:cubicBezTo>
                    <a:cubicBezTo>
                      <a:pt x="28012" y="109554"/>
                      <a:pt x="28012" y="109554"/>
                      <a:pt x="28012" y="10955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22555978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6081BD85-2BBF-46A7-B900-3AE4A1FED413}"/>
              </a:ext>
            </a:extLst>
          </p:cNvPr>
          <p:cNvGrpSpPr/>
          <p:nvPr/>
        </p:nvGrpSpPr>
        <p:grpSpPr>
          <a:xfrm>
            <a:off x="1932402" y="1861209"/>
            <a:ext cx="8951238" cy="4996791"/>
            <a:chOff x="17900533" y="7585843"/>
            <a:chExt cx="8951238" cy="4996791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51998086-1CC0-40D8-B03B-C6BC655FE099}"/>
                </a:ext>
              </a:extLst>
            </p:cNvPr>
            <p:cNvSpPr/>
            <p:nvPr/>
          </p:nvSpPr>
          <p:spPr>
            <a:xfrm>
              <a:off x="25008179" y="9803269"/>
              <a:ext cx="1274776" cy="2545937"/>
            </a:xfrm>
            <a:custGeom>
              <a:avLst/>
              <a:gdLst>
                <a:gd name="connsiteX0" fmla="*/ 1140192 w 1274776"/>
                <a:gd name="connsiteY0" fmla="*/ 0 h 2545937"/>
                <a:gd name="connsiteX1" fmla="*/ 436791 w 1274776"/>
                <a:gd name="connsiteY1" fmla="*/ 52911 h 2545937"/>
                <a:gd name="connsiteX2" fmla="*/ 19731 w 1274776"/>
                <a:gd name="connsiteY2" fmla="*/ 1216945 h 2545937"/>
                <a:gd name="connsiteX3" fmla="*/ 7281 w 1274776"/>
                <a:gd name="connsiteY3" fmla="*/ 1328992 h 2545937"/>
                <a:gd name="connsiteX4" fmla="*/ 343419 w 1274776"/>
                <a:gd name="connsiteY4" fmla="*/ 2163113 h 2545937"/>
                <a:gd name="connsiteX5" fmla="*/ 539501 w 1274776"/>
                <a:gd name="connsiteY5" fmla="*/ 2085303 h 2545937"/>
                <a:gd name="connsiteX6" fmla="*/ 377656 w 1274776"/>
                <a:gd name="connsiteY6" fmla="*/ 1360116 h 2545937"/>
                <a:gd name="connsiteX7" fmla="*/ 729356 w 1274776"/>
                <a:gd name="connsiteY7" fmla="*/ 690951 h 2545937"/>
                <a:gd name="connsiteX8" fmla="*/ 953449 w 1274776"/>
                <a:gd name="connsiteY8" fmla="*/ 2545937 h 2545937"/>
                <a:gd name="connsiteX9" fmla="*/ 1152641 w 1274776"/>
                <a:gd name="connsiteY9" fmla="*/ 2545937 h 2545937"/>
                <a:gd name="connsiteX10" fmla="*/ 1274025 w 1274776"/>
                <a:gd name="connsiteY10" fmla="*/ 426398 h 2545937"/>
                <a:gd name="connsiteX11" fmla="*/ 1140192 w 1274776"/>
                <a:gd name="connsiteY11" fmla="*/ 0 h 2545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74776" h="2545937">
                  <a:moveTo>
                    <a:pt x="1140192" y="0"/>
                  </a:moveTo>
                  <a:lnTo>
                    <a:pt x="436791" y="52911"/>
                  </a:lnTo>
                  <a:lnTo>
                    <a:pt x="19731" y="1216945"/>
                  </a:lnTo>
                  <a:cubicBezTo>
                    <a:pt x="-2056" y="1251182"/>
                    <a:pt x="-5167" y="1291643"/>
                    <a:pt x="7281" y="1328992"/>
                  </a:cubicBezTo>
                  <a:lnTo>
                    <a:pt x="343419" y="2163113"/>
                  </a:lnTo>
                  <a:lnTo>
                    <a:pt x="539501" y="2085303"/>
                  </a:lnTo>
                  <a:lnTo>
                    <a:pt x="377656" y="1360116"/>
                  </a:lnTo>
                  <a:lnTo>
                    <a:pt x="729356" y="690951"/>
                  </a:lnTo>
                  <a:lnTo>
                    <a:pt x="953449" y="2545937"/>
                  </a:lnTo>
                  <a:lnTo>
                    <a:pt x="1152641" y="2545937"/>
                  </a:lnTo>
                  <a:cubicBezTo>
                    <a:pt x="1152641" y="2545937"/>
                    <a:pt x="1264688" y="550894"/>
                    <a:pt x="1274025" y="426398"/>
                  </a:cubicBezTo>
                  <a:cubicBezTo>
                    <a:pt x="1286475" y="301902"/>
                    <a:pt x="1140192" y="0"/>
                    <a:pt x="1140192" y="0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0544688A-9749-4C16-9273-E27FD2805BF1}"/>
                </a:ext>
              </a:extLst>
            </p:cNvPr>
            <p:cNvSpPr/>
            <p:nvPr/>
          </p:nvSpPr>
          <p:spPr>
            <a:xfrm>
              <a:off x="25734424" y="10276353"/>
              <a:ext cx="236541" cy="2075964"/>
            </a:xfrm>
            <a:custGeom>
              <a:avLst/>
              <a:gdLst>
                <a:gd name="connsiteX0" fmla="*/ 230316 w 236541"/>
                <a:gd name="connsiteY0" fmla="*/ 2075965 h 2075964"/>
                <a:gd name="connsiteX1" fmla="*/ 224091 w 236541"/>
                <a:gd name="connsiteY1" fmla="*/ 2069741 h 2075964"/>
                <a:gd name="connsiteX2" fmla="*/ 0 w 236541"/>
                <a:gd name="connsiteY2" fmla="*/ 214755 h 2075964"/>
                <a:gd name="connsiteX3" fmla="*/ 12448 w 236541"/>
                <a:gd name="connsiteY3" fmla="*/ 6224 h 2075964"/>
                <a:gd name="connsiteX4" fmla="*/ 18674 w 236541"/>
                <a:gd name="connsiteY4" fmla="*/ 0 h 2075964"/>
                <a:gd name="connsiteX5" fmla="*/ 24899 w 236541"/>
                <a:gd name="connsiteY5" fmla="*/ 6224 h 2075964"/>
                <a:gd name="connsiteX6" fmla="*/ 12448 w 236541"/>
                <a:gd name="connsiteY6" fmla="*/ 211642 h 2075964"/>
                <a:gd name="connsiteX7" fmla="*/ 236541 w 236541"/>
                <a:gd name="connsiteY7" fmla="*/ 2066628 h 2075964"/>
                <a:gd name="connsiteX8" fmla="*/ 230316 w 236541"/>
                <a:gd name="connsiteY8" fmla="*/ 2075965 h 2075964"/>
                <a:gd name="connsiteX9" fmla="*/ 230316 w 236541"/>
                <a:gd name="connsiteY9" fmla="*/ 2075965 h 2075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541" h="2075964">
                  <a:moveTo>
                    <a:pt x="230316" y="2075965"/>
                  </a:moveTo>
                  <a:cubicBezTo>
                    <a:pt x="227204" y="2075965"/>
                    <a:pt x="224091" y="2072853"/>
                    <a:pt x="224091" y="2069741"/>
                  </a:cubicBezTo>
                  <a:lnTo>
                    <a:pt x="0" y="214755"/>
                  </a:lnTo>
                  <a:lnTo>
                    <a:pt x="12448" y="6224"/>
                  </a:lnTo>
                  <a:cubicBezTo>
                    <a:pt x="12448" y="3113"/>
                    <a:pt x="15562" y="0"/>
                    <a:pt x="18674" y="0"/>
                  </a:cubicBezTo>
                  <a:cubicBezTo>
                    <a:pt x="21785" y="0"/>
                    <a:pt x="24899" y="3113"/>
                    <a:pt x="24899" y="6224"/>
                  </a:cubicBezTo>
                  <a:lnTo>
                    <a:pt x="12448" y="211642"/>
                  </a:lnTo>
                  <a:lnTo>
                    <a:pt x="236541" y="2066628"/>
                  </a:lnTo>
                  <a:cubicBezTo>
                    <a:pt x="236541" y="2072853"/>
                    <a:pt x="233429" y="2075965"/>
                    <a:pt x="230316" y="2075965"/>
                  </a:cubicBezTo>
                  <a:cubicBezTo>
                    <a:pt x="230316" y="2075965"/>
                    <a:pt x="230316" y="2075965"/>
                    <a:pt x="230316" y="2075965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8D2A4C2C-6DE7-4AD2-9391-3AB9ECD949CE}"/>
                </a:ext>
              </a:extLst>
            </p:cNvPr>
            <p:cNvSpPr/>
            <p:nvPr/>
          </p:nvSpPr>
          <p:spPr>
            <a:xfrm>
              <a:off x="25317362" y="11129148"/>
              <a:ext cx="74698" cy="37349"/>
            </a:xfrm>
            <a:custGeom>
              <a:avLst/>
              <a:gdLst>
                <a:gd name="connsiteX0" fmla="*/ 71585 w 74698"/>
                <a:gd name="connsiteY0" fmla="*/ 37349 h 37349"/>
                <a:gd name="connsiteX1" fmla="*/ 71585 w 74698"/>
                <a:gd name="connsiteY1" fmla="*/ 37349 h 37349"/>
                <a:gd name="connsiteX2" fmla="*/ 3112 w 74698"/>
                <a:gd name="connsiteY2" fmla="*/ 9337 h 37349"/>
                <a:gd name="connsiteX3" fmla="*/ 0 w 74698"/>
                <a:gd name="connsiteY3" fmla="*/ 3113 h 37349"/>
                <a:gd name="connsiteX4" fmla="*/ 6225 w 74698"/>
                <a:gd name="connsiteY4" fmla="*/ 0 h 37349"/>
                <a:gd name="connsiteX5" fmla="*/ 71585 w 74698"/>
                <a:gd name="connsiteY5" fmla="*/ 28011 h 37349"/>
                <a:gd name="connsiteX6" fmla="*/ 74698 w 74698"/>
                <a:gd name="connsiteY6" fmla="*/ 34237 h 37349"/>
                <a:gd name="connsiteX7" fmla="*/ 71585 w 74698"/>
                <a:gd name="connsiteY7" fmla="*/ 37349 h 37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698" h="37349">
                  <a:moveTo>
                    <a:pt x="71585" y="37349"/>
                  </a:moveTo>
                  <a:cubicBezTo>
                    <a:pt x="68473" y="37349"/>
                    <a:pt x="68473" y="37349"/>
                    <a:pt x="71585" y="37349"/>
                  </a:cubicBezTo>
                  <a:lnTo>
                    <a:pt x="3112" y="9337"/>
                  </a:lnTo>
                  <a:cubicBezTo>
                    <a:pt x="0" y="9337"/>
                    <a:pt x="0" y="6225"/>
                    <a:pt x="0" y="3113"/>
                  </a:cubicBezTo>
                  <a:cubicBezTo>
                    <a:pt x="0" y="0"/>
                    <a:pt x="3112" y="0"/>
                    <a:pt x="6225" y="0"/>
                  </a:cubicBezTo>
                  <a:lnTo>
                    <a:pt x="71585" y="28011"/>
                  </a:lnTo>
                  <a:cubicBezTo>
                    <a:pt x="74698" y="28011"/>
                    <a:pt x="74698" y="31124"/>
                    <a:pt x="74698" y="34237"/>
                  </a:cubicBezTo>
                  <a:cubicBezTo>
                    <a:pt x="74698" y="37349"/>
                    <a:pt x="71585" y="37349"/>
                    <a:pt x="71585" y="37349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ABC30E71-4BE7-43B8-9995-FFF48C5B7411}"/>
                </a:ext>
              </a:extLst>
            </p:cNvPr>
            <p:cNvSpPr/>
            <p:nvPr/>
          </p:nvSpPr>
          <p:spPr>
            <a:xfrm>
              <a:off x="25170203" y="8258931"/>
              <a:ext cx="921200" cy="818302"/>
            </a:xfrm>
            <a:custGeom>
              <a:avLst/>
              <a:gdLst>
                <a:gd name="connsiteX0" fmla="*/ 915921 w 921200"/>
                <a:gd name="connsiteY0" fmla="*/ 507912 h 818302"/>
                <a:gd name="connsiteX1" fmla="*/ 875460 w 921200"/>
                <a:gd name="connsiteY1" fmla="*/ 324281 h 818302"/>
                <a:gd name="connsiteX2" fmla="*/ 869235 w 921200"/>
                <a:gd name="connsiteY2" fmla="*/ 109526 h 818302"/>
                <a:gd name="connsiteX3" fmla="*/ 302779 w 921200"/>
                <a:gd name="connsiteY3" fmla="*/ 59727 h 818302"/>
                <a:gd name="connsiteX4" fmla="*/ 218744 w 921200"/>
                <a:gd name="connsiteY4" fmla="*/ 196673 h 818302"/>
                <a:gd name="connsiteX5" fmla="*/ 134709 w 921200"/>
                <a:gd name="connsiteY5" fmla="*/ 318056 h 818302"/>
                <a:gd name="connsiteX6" fmla="*/ 122261 w 921200"/>
                <a:gd name="connsiteY6" fmla="*/ 423877 h 818302"/>
                <a:gd name="connsiteX7" fmla="*/ 88023 w 921200"/>
                <a:gd name="connsiteY7" fmla="*/ 551485 h 818302"/>
                <a:gd name="connsiteX8" fmla="*/ 153385 w 921200"/>
                <a:gd name="connsiteY8" fmla="*/ 784915 h 818302"/>
                <a:gd name="connsiteX9" fmla="*/ 371252 w 921200"/>
                <a:gd name="connsiteY9" fmla="*/ 809814 h 818302"/>
                <a:gd name="connsiteX10" fmla="*/ 554882 w 921200"/>
                <a:gd name="connsiteY10" fmla="*/ 800477 h 818302"/>
                <a:gd name="connsiteX11" fmla="*/ 887908 w 921200"/>
                <a:gd name="connsiteY11" fmla="*/ 788027 h 818302"/>
                <a:gd name="connsiteX12" fmla="*/ 903470 w 921200"/>
                <a:gd name="connsiteY12" fmla="*/ 760015 h 818302"/>
                <a:gd name="connsiteX13" fmla="*/ 915921 w 921200"/>
                <a:gd name="connsiteY13" fmla="*/ 507912 h 818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21200" h="818302">
                  <a:moveTo>
                    <a:pt x="915921" y="507912"/>
                  </a:moveTo>
                  <a:cubicBezTo>
                    <a:pt x="897245" y="430102"/>
                    <a:pt x="869235" y="451889"/>
                    <a:pt x="875460" y="324281"/>
                  </a:cubicBezTo>
                  <a:cubicBezTo>
                    <a:pt x="878572" y="290045"/>
                    <a:pt x="875460" y="109526"/>
                    <a:pt x="869235" y="109526"/>
                  </a:cubicBezTo>
                  <a:cubicBezTo>
                    <a:pt x="716727" y="37941"/>
                    <a:pt x="449062" y="-67881"/>
                    <a:pt x="302779" y="59727"/>
                  </a:cubicBezTo>
                  <a:cubicBezTo>
                    <a:pt x="262318" y="97076"/>
                    <a:pt x="246756" y="153099"/>
                    <a:pt x="218744" y="196673"/>
                  </a:cubicBezTo>
                  <a:cubicBezTo>
                    <a:pt x="193845" y="237134"/>
                    <a:pt x="153385" y="274483"/>
                    <a:pt x="134709" y="318056"/>
                  </a:cubicBezTo>
                  <a:cubicBezTo>
                    <a:pt x="119147" y="355405"/>
                    <a:pt x="119147" y="383416"/>
                    <a:pt x="122261" y="423877"/>
                  </a:cubicBezTo>
                  <a:cubicBezTo>
                    <a:pt x="131597" y="495462"/>
                    <a:pt x="162721" y="489237"/>
                    <a:pt x="88023" y="551485"/>
                  </a:cubicBezTo>
                  <a:cubicBezTo>
                    <a:pt x="-42696" y="660419"/>
                    <a:pt x="-33359" y="794252"/>
                    <a:pt x="153385" y="784915"/>
                  </a:cubicBezTo>
                  <a:cubicBezTo>
                    <a:pt x="231194" y="781802"/>
                    <a:pt x="293442" y="800477"/>
                    <a:pt x="371252" y="809814"/>
                  </a:cubicBezTo>
                  <a:cubicBezTo>
                    <a:pt x="439725" y="819151"/>
                    <a:pt x="489523" y="803589"/>
                    <a:pt x="554882" y="800477"/>
                  </a:cubicBezTo>
                  <a:cubicBezTo>
                    <a:pt x="657592" y="791139"/>
                    <a:pt x="800762" y="853387"/>
                    <a:pt x="887908" y="788027"/>
                  </a:cubicBezTo>
                  <a:cubicBezTo>
                    <a:pt x="897245" y="781802"/>
                    <a:pt x="903470" y="772465"/>
                    <a:pt x="903470" y="760015"/>
                  </a:cubicBezTo>
                  <a:cubicBezTo>
                    <a:pt x="897245" y="669756"/>
                    <a:pt x="934594" y="595059"/>
                    <a:pt x="915921" y="507912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1D9D05F0-E2F2-4A39-B19E-E3FE8CD4FB71}"/>
                </a:ext>
              </a:extLst>
            </p:cNvPr>
            <p:cNvSpPr/>
            <p:nvPr/>
          </p:nvSpPr>
          <p:spPr>
            <a:xfrm>
              <a:off x="24320982" y="8532427"/>
              <a:ext cx="232791" cy="293551"/>
            </a:xfrm>
            <a:custGeom>
              <a:avLst/>
              <a:gdLst>
                <a:gd name="connsiteX0" fmla="*/ 12865 w 232791"/>
                <a:gd name="connsiteY0" fmla="*/ 175280 h 293551"/>
                <a:gd name="connsiteX1" fmla="*/ 84450 w 232791"/>
                <a:gd name="connsiteY1" fmla="*/ 268652 h 293551"/>
                <a:gd name="connsiteX2" fmla="*/ 159146 w 232791"/>
                <a:gd name="connsiteY2" fmla="*/ 293551 h 293551"/>
                <a:gd name="connsiteX3" fmla="*/ 218283 w 232791"/>
                <a:gd name="connsiteY3" fmla="*/ 212629 h 293551"/>
                <a:gd name="connsiteX4" fmla="*/ 124911 w 232791"/>
                <a:gd name="connsiteY4" fmla="*/ 987 h 293551"/>
                <a:gd name="connsiteX5" fmla="*/ 84450 w 232791"/>
                <a:gd name="connsiteY5" fmla="*/ 28998 h 293551"/>
                <a:gd name="connsiteX6" fmla="*/ 34651 w 232791"/>
                <a:gd name="connsiteY6" fmla="*/ 57009 h 293551"/>
                <a:gd name="connsiteX7" fmla="*/ 22202 w 232791"/>
                <a:gd name="connsiteY7" fmla="*/ 91246 h 293551"/>
                <a:gd name="connsiteX8" fmla="*/ 12865 w 232791"/>
                <a:gd name="connsiteY8" fmla="*/ 141044 h 293551"/>
                <a:gd name="connsiteX9" fmla="*/ 12865 w 232791"/>
                <a:gd name="connsiteY9" fmla="*/ 175280 h 293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2791" h="293551">
                  <a:moveTo>
                    <a:pt x="12865" y="175280"/>
                  </a:moveTo>
                  <a:cubicBezTo>
                    <a:pt x="34651" y="206404"/>
                    <a:pt x="37764" y="265540"/>
                    <a:pt x="84450" y="268652"/>
                  </a:cubicBezTo>
                  <a:cubicBezTo>
                    <a:pt x="93787" y="268652"/>
                    <a:pt x="131136" y="268652"/>
                    <a:pt x="159146" y="293551"/>
                  </a:cubicBezTo>
                  <a:cubicBezTo>
                    <a:pt x="199609" y="277989"/>
                    <a:pt x="218283" y="212629"/>
                    <a:pt x="218283" y="212629"/>
                  </a:cubicBezTo>
                  <a:cubicBezTo>
                    <a:pt x="271194" y="147269"/>
                    <a:pt x="165372" y="41447"/>
                    <a:pt x="124911" y="987"/>
                  </a:cubicBezTo>
                  <a:cubicBezTo>
                    <a:pt x="118686" y="-5238"/>
                    <a:pt x="81337" y="19661"/>
                    <a:pt x="84450" y="28998"/>
                  </a:cubicBezTo>
                  <a:cubicBezTo>
                    <a:pt x="90675" y="44560"/>
                    <a:pt x="43989" y="47673"/>
                    <a:pt x="34651" y="57009"/>
                  </a:cubicBezTo>
                  <a:cubicBezTo>
                    <a:pt x="25314" y="66347"/>
                    <a:pt x="22202" y="88133"/>
                    <a:pt x="22202" y="91246"/>
                  </a:cubicBezTo>
                  <a:cubicBezTo>
                    <a:pt x="15977" y="106808"/>
                    <a:pt x="15977" y="131707"/>
                    <a:pt x="12865" y="141044"/>
                  </a:cubicBezTo>
                  <a:cubicBezTo>
                    <a:pt x="-5810" y="150381"/>
                    <a:pt x="-2696" y="156606"/>
                    <a:pt x="12865" y="175280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F51EC5F0-7DA0-4270-A490-329A58790340}"/>
                </a:ext>
              </a:extLst>
            </p:cNvPr>
            <p:cNvGrpSpPr/>
            <p:nvPr/>
          </p:nvGrpSpPr>
          <p:grpSpPr>
            <a:xfrm>
              <a:off x="25678400" y="12374105"/>
              <a:ext cx="508272" cy="208530"/>
              <a:chOff x="25678400" y="12374105"/>
              <a:chExt cx="508272" cy="208530"/>
            </a:xfrm>
          </p:grpSpPr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E9231325-D2F1-485F-8948-95A9011579CB}"/>
                  </a:ext>
                </a:extLst>
              </p:cNvPr>
              <p:cNvSpPr/>
              <p:nvPr/>
            </p:nvSpPr>
            <p:spPr>
              <a:xfrm>
                <a:off x="25681513" y="12374105"/>
                <a:ext cx="505160" cy="164956"/>
              </a:xfrm>
              <a:custGeom>
                <a:avLst/>
                <a:gdLst>
                  <a:gd name="connsiteX0" fmla="*/ 485532 w 505160"/>
                  <a:gd name="connsiteY0" fmla="*/ 0 h 164956"/>
                  <a:gd name="connsiteX1" fmla="*/ 308126 w 505160"/>
                  <a:gd name="connsiteY1" fmla="*/ 0 h 164956"/>
                  <a:gd name="connsiteX2" fmla="*/ 171182 w 505160"/>
                  <a:gd name="connsiteY2" fmla="*/ 56023 h 164956"/>
                  <a:gd name="connsiteX3" fmla="*/ 0 w 505160"/>
                  <a:gd name="connsiteY3" fmla="*/ 164956 h 164956"/>
                  <a:gd name="connsiteX4" fmla="*/ 497983 w 505160"/>
                  <a:gd name="connsiteY4" fmla="*/ 164956 h 164956"/>
                  <a:gd name="connsiteX5" fmla="*/ 485532 w 505160"/>
                  <a:gd name="connsiteY5" fmla="*/ 0 h 1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5160" h="164956">
                    <a:moveTo>
                      <a:pt x="485532" y="0"/>
                    </a:moveTo>
                    <a:cubicBezTo>
                      <a:pt x="485532" y="0"/>
                      <a:pt x="370374" y="68473"/>
                      <a:pt x="308126" y="0"/>
                    </a:cubicBezTo>
                    <a:cubicBezTo>
                      <a:pt x="308126" y="0"/>
                      <a:pt x="220979" y="37349"/>
                      <a:pt x="171182" y="56023"/>
                    </a:cubicBezTo>
                    <a:cubicBezTo>
                      <a:pt x="127607" y="71585"/>
                      <a:pt x="12448" y="90259"/>
                      <a:pt x="0" y="164956"/>
                    </a:cubicBezTo>
                    <a:lnTo>
                      <a:pt x="497983" y="164956"/>
                    </a:lnTo>
                    <a:cubicBezTo>
                      <a:pt x="494869" y="161845"/>
                      <a:pt x="522881" y="59135"/>
                      <a:pt x="485532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ED60A1B7-E9A7-4811-9E0C-42AF23755A50}"/>
                  </a:ext>
                </a:extLst>
              </p:cNvPr>
              <p:cNvSpPr/>
              <p:nvPr/>
            </p:nvSpPr>
            <p:spPr>
              <a:xfrm>
                <a:off x="25678400" y="12535949"/>
                <a:ext cx="497982" cy="46685"/>
              </a:xfrm>
              <a:custGeom>
                <a:avLst/>
                <a:gdLst>
                  <a:gd name="connsiteX0" fmla="*/ -1 w 497982"/>
                  <a:gd name="connsiteY0" fmla="*/ 0 h 46685"/>
                  <a:gd name="connsiteX1" fmla="*/ 497982 w 497982"/>
                  <a:gd name="connsiteY1" fmla="*/ 0 h 46685"/>
                  <a:gd name="connsiteX2" fmla="*/ 497982 w 497982"/>
                  <a:gd name="connsiteY2" fmla="*/ 46686 h 46685"/>
                  <a:gd name="connsiteX3" fmla="*/ -1 w 497982"/>
                  <a:gd name="connsiteY3" fmla="*/ 46686 h 46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7982" h="46685">
                    <a:moveTo>
                      <a:pt x="-1" y="0"/>
                    </a:moveTo>
                    <a:lnTo>
                      <a:pt x="497982" y="0"/>
                    </a:lnTo>
                    <a:lnTo>
                      <a:pt x="497982" y="46686"/>
                    </a:lnTo>
                    <a:lnTo>
                      <a:pt x="-1" y="46686"/>
                    </a:ln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图形 1">
              <a:extLst>
                <a:ext uri="{FF2B5EF4-FFF2-40B4-BE49-F238E27FC236}">
                  <a16:creationId xmlns:a16="http://schemas.microsoft.com/office/drawing/2014/main" id="{2A896793-6E18-45BD-BAC2-D44BD1C2E1A1}"/>
                </a:ext>
              </a:extLst>
            </p:cNvPr>
            <p:cNvGrpSpPr/>
            <p:nvPr/>
          </p:nvGrpSpPr>
          <p:grpSpPr>
            <a:xfrm>
              <a:off x="25178732" y="11925921"/>
              <a:ext cx="476027" cy="386128"/>
              <a:chOff x="25178732" y="11925921"/>
              <a:chExt cx="476027" cy="386128"/>
            </a:xfrm>
          </p:grpSpPr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F294EFFB-7719-4550-B8D0-3F662A9FA163}"/>
                  </a:ext>
                </a:extLst>
              </p:cNvPr>
              <p:cNvSpPr/>
              <p:nvPr/>
            </p:nvSpPr>
            <p:spPr>
              <a:xfrm>
                <a:off x="25178732" y="11925921"/>
                <a:ext cx="459206" cy="345475"/>
              </a:xfrm>
              <a:custGeom>
                <a:avLst/>
                <a:gdLst>
                  <a:gd name="connsiteX0" fmla="*/ 381397 w 459206"/>
                  <a:gd name="connsiteY0" fmla="*/ 0 h 345475"/>
                  <a:gd name="connsiteX1" fmla="*/ 219552 w 459206"/>
                  <a:gd name="connsiteY1" fmla="*/ 71585 h 345475"/>
                  <a:gd name="connsiteX2" fmla="*/ 116844 w 459206"/>
                  <a:gd name="connsiteY2" fmla="*/ 177406 h 345475"/>
                  <a:gd name="connsiteX3" fmla="*/ 1685 w 459206"/>
                  <a:gd name="connsiteY3" fmla="*/ 345476 h 345475"/>
                  <a:gd name="connsiteX4" fmla="*/ 459207 w 459206"/>
                  <a:gd name="connsiteY4" fmla="*/ 146282 h 345475"/>
                  <a:gd name="connsiteX5" fmla="*/ 381397 w 459206"/>
                  <a:gd name="connsiteY5" fmla="*/ 0 h 345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9206" h="345475">
                    <a:moveTo>
                      <a:pt x="381397" y="0"/>
                    </a:moveTo>
                    <a:cubicBezTo>
                      <a:pt x="381397" y="0"/>
                      <a:pt x="303587" y="105821"/>
                      <a:pt x="219552" y="71585"/>
                    </a:cubicBezTo>
                    <a:cubicBezTo>
                      <a:pt x="219552" y="71585"/>
                      <a:pt x="154193" y="140058"/>
                      <a:pt x="116844" y="177406"/>
                    </a:cubicBezTo>
                    <a:cubicBezTo>
                      <a:pt x="82608" y="208530"/>
                      <a:pt x="-13877" y="273890"/>
                      <a:pt x="1685" y="345476"/>
                    </a:cubicBezTo>
                    <a:lnTo>
                      <a:pt x="459207" y="146282"/>
                    </a:lnTo>
                    <a:cubicBezTo>
                      <a:pt x="456095" y="146282"/>
                      <a:pt x="440533" y="40461"/>
                      <a:pt x="381397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61923420-E04B-4330-9B25-1423074C7FBC}"/>
                  </a:ext>
                </a:extLst>
              </p:cNvPr>
              <p:cNvSpPr/>
              <p:nvPr/>
            </p:nvSpPr>
            <p:spPr>
              <a:xfrm rot="-1407940">
                <a:off x="25168073" y="12168146"/>
                <a:ext cx="497983" cy="46685"/>
              </a:xfrm>
              <a:custGeom>
                <a:avLst/>
                <a:gdLst>
                  <a:gd name="connsiteX0" fmla="*/ 0 w 497983"/>
                  <a:gd name="connsiteY0" fmla="*/ 0 h 46685"/>
                  <a:gd name="connsiteX1" fmla="*/ 497984 w 497983"/>
                  <a:gd name="connsiteY1" fmla="*/ 0 h 46685"/>
                  <a:gd name="connsiteX2" fmla="*/ 497984 w 497983"/>
                  <a:gd name="connsiteY2" fmla="*/ 46686 h 46685"/>
                  <a:gd name="connsiteX3" fmla="*/ 0 w 497983"/>
                  <a:gd name="connsiteY3" fmla="*/ 46686 h 46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7983" h="46685">
                    <a:moveTo>
                      <a:pt x="0" y="0"/>
                    </a:moveTo>
                    <a:lnTo>
                      <a:pt x="497984" y="0"/>
                    </a:lnTo>
                    <a:lnTo>
                      <a:pt x="497984" y="46686"/>
                    </a:lnTo>
                    <a:lnTo>
                      <a:pt x="0" y="46686"/>
                    </a:ln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50B691C4-AD69-4A00-8E72-FC584F0CC7AA}"/>
                </a:ext>
              </a:extLst>
            </p:cNvPr>
            <p:cNvSpPr/>
            <p:nvPr/>
          </p:nvSpPr>
          <p:spPr>
            <a:xfrm>
              <a:off x="25569465" y="8654797"/>
              <a:ext cx="317464" cy="333025"/>
            </a:xfrm>
            <a:custGeom>
              <a:avLst/>
              <a:gdLst>
                <a:gd name="connsiteX0" fmla="*/ 56025 w 317464"/>
                <a:gd name="connsiteY0" fmla="*/ 62248 h 333025"/>
                <a:gd name="connsiteX1" fmla="*/ 0 w 317464"/>
                <a:gd name="connsiteY1" fmla="*/ 205418 h 333025"/>
                <a:gd name="connsiteX2" fmla="*/ 118272 w 317464"/>
                <a:gd name="connsiteY2" fmla="*/ 333026 h 333025"/>
                <a:gd name="connsiteX3" fmla="*/ 317464 w 317464"/>
                <a:gd name="connsiteY3" fmla="*/ 189856 h 333025"/>
                <a:gd name="connsiteX4" fmla="*/ 264553 w 317464"/>
                <a:gd name="connsiteY4" fmla="*/ 0 h 333025"/>
                <a:gd name="connsiteX5" fmla="*/ 56025 w 317464"/>
                <a:gd name="connsiteY5" fmla="*/ 62248 h 333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464" h="333025">
                  <a:moveTo>
                    <a:pt x="56025" y="62248"/>
                  </a:moveTo>
                  <a:cubicBezTo>
                    <a:pt x="56025" y="62248"/>
                    <a:pt x="62248" y="174294"/>
                    <a:pt x="0" y="205418"/>
                  </a:cubicBezTo>
                  <a:lnTo>
                    <a:pt x="118272" y="333026"/>
                  </a:lnTo>
                  <a:cubicBezTo>
                    <a:pt x="118272" y="333026"/>
                    <a:pt x="261442" y="220980"/>
                    <a:pt x="317464" y="189856"/>
                  </a:cubicBezTo>
                  <a:cubicBezTo>
                    <a:pt x="261442" y="146282"/>
                    <a:pt x="264553" y="62248"/>
                    <a:pt x="264553" y="0"/>
                  </a:cubicBezTo>
                  <a:cubicBezTo>
                    <a:pt x="261442" y="0"/>
                    <a:pt x="108934" y="68473"/>
                    <a:pt x="56025" y="62248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013647E5-1864-4751-BBAC-35C54D4AFD57}"/>
                </a:ext>
              </a:extLst>
            </p:cNvPr>
            <p:cNvSpPr/>
            <p:nvPr/>
          </p:nvSpPr>
          <p:spPr>
            <a:xfrm>
              <a:off x="24438897" y="8687425"/>
              <a:ext cx="1287141" cy="606747"/>
            </a:xfrm>
            <a:custGeom>
              <a:avLst/>
              <a:gdLst>
                <a:gd name="connsiteX0" fmla="*/ 866015 w 1287141"/>
                <a:gd name="connsiteY0" fmla="*/ 225700 h 606747"/>
                <a:gd name="connsiteX1" fmla="*/ 508090 w 1287141"/>
                <a:gd name="connsiteY1" fmla="*/ 300397 h 606747"/>
                <a:gd name="connsiteX2" fmla="*/ 112818 w 1287141"/>
                <a:gd name="connsiteY2" fmla="*/ 4720 h 606747"/>
                <a:gd name="connsiteX3" fmla="*/ 6996 w 1287141"/>
                <a:gd name="connsiteY3" fmla="*/ 116766 h 606747"/>
                <a:gd name="connsiteX4" fmla="*/ 452068 w 1287141"/>
                <a:gd name="connsiteY4" fmla="*/ 596074 h 606747"/>
                <a:gd name="connsiteX5" fmla="*/ 1099445 w 1287141"/>
                <a:gd name="connsiteY5" fmla="*/ 518265 h 606747"/>
                <a:gd name="connsiteX6" fmla="*/ 1286188 w 1287141"/>
                <a:gd name="connsiteY6" fmla="*/ 281723 h 606747"/>
                <a:gd name="connsiteX7" fmla="*/ 866015 w 1287141"/>
                <a:gd name="connsiteY7" fmla="*/ 225700 h 60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87141" h="606747">
                  <a:moveTo>
                    <a:pt x="866015" y="225700"/>
                  </a:moveTo>
                  <a:cubicBezTo>
                    <a:pt x="775757" y="241262"/>
                    <a:pt x="604576" y="284835"/>
                    <a:pt x="508090" y="300397"/>
                  </a:cubicBezTo>
                  <a:cubicBezTo>
                    <a:pt x="430280" y="272386"/>
                    <a:pt x="209301" y="-41966"/>
                    <a:pt x="112818" y="4720"/>
                  </a:cubicBezTo>
                  <a:cubicBezTo>
                    <a:pt x="53682" y="57631"/>
                    <a:pt x="41231" y="63856"/>
                    <a:pt x="6996" y="116766"/>
                  </a:cubicBezTo>
                  <a:cubicBezTo>
                    <a:pt x="-49027" y="197688"/>
                    <a:pt x="243537" y="512040"/>
                    <a:pt x="452068" y="596074"/>
                  </a:cubicBezTo>
                  <a:cubicBezTo>
                    <a:pt x="561001" y="639648"/>
                    <a:pt x="946939" y="536939"/>
                    <a:pt x="1099445" y="518265"/>
                  </a:cubicBezTo>
                  <a:cubicBezTo>
                    <a:pt x="1186593" y="505815"/>
                    <a:pt x="1298639" y="347083"/>
                    <a:pt x="1286188" y="281723"/>
                  </a:cubicBezTo>
                  <a:cubicBezTo>
                    <a:pt x="1264403" y="175902"/>
                    <a:pt x="1040310" y="197688"/>
                    <a:pt x="866015" y="225700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5A6CB00C-A72F-4561-8D37-AC3CE769D541}"/>
                </a:ext>
              </a:extLst>
            </p:cNvPr>
            <p:cNvSpPr/>
            <p:nvPr/>
          </p:nvSpPr>
          <p:spPr>
            <a:xfrm>
              <a:off x="25350754" y="8938025"/>
              <a:ext cx="103554" cy="566455"/>
            </a:xfrm>
            <a:custGeom>
              <a:avLst/>
              <a:gdLst>
                <a:gd name="connsiteX0" fmla="*/ 56868 w 103554"/>
                <a:gd name="connsiteY0" fmla="*/ 566455 h 566455"/>
                <a:gd name="connsiteX1" fmla="*/ 50643 w 103554"/>
                <a:gd name="connsiteY1" fmla="*/ 563343 h 566455"/>
                <a:gd name="connsiteX2" fmla="*/ 35081 w 103554"/>
                <a:gd name="connsiteY2" fmla="*/ 507320 h 566455"/>
                <a:gd name="connsiteX3" fmla="*/ 844 w 103554"/>
                <a:gd name="connsiteY3" fmla="*/ 354813 h 566455"/>
                <a:gd name="connsiteX4" fmla="*/ 91104 w 103554"/>
                <a:gd name="connsiteY4" fmla="*/ 3112 h 566455"/>
                <a:gd name="connsiteX5" fmla="*/ 100441 w 103554"/>
                <a:gd name="connsiteY5" fmla="*/ 0 h 566455"/>
                <a:gd name="connsiteX6" fmla="*/ 103554 w 103554"/>
                <a:gd name="connsiteY6" fmla="*/ 9337 h 566455"/>
                <a:gd name="connsiteX7" fmla="*/ 13294 w 103554"/>
                <a:gd name="connsiteY7" fmla="*/ 354813 h 566455"/>
                <a:gd name="connsiteX8" fmla="*/ 47530 w 103554"/>
                <a:gd name="connsiteY8" fmla="*/ 507320 h 566455"/>
                <a:gd name="connsiteX9" fmla="*/ 63092 w 103554"/>
                <a:gd name="connsiteY9" fmla="*/ 563343 h 566455"/>
                <a:gd name="connsiteX10" fmla="*/ 56868 w 103554"/>
                <a:gd name="connsiteY10" fmla="*/ 566455 h 566455"/>
                <a:gd name="connsiteX11" fmla="*/ 56868 w 103554"/>
                <a:gd name="connsiteY11" fmla="*/ 566455 h 566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3554" h="566455">
                  <a:moveTo>
                    <a:pt x="56868" y="566455"/>
                  </a:moveTo>
                  <a:cubicBezTo>
                    <a:pt x="53755" y="566455"/>
                    <a:pt x="50643" y="563343"/>
                    <a:pt x="50643" y="563343"/>
                  </a:cubicBezTo>
                  <a:cubicBezTo>
                    <a:pt x="44418" y="544669"/>
                    <a:pt x="41306" y="525994"/>
                    <a:pt x="35081" y="507320"/>
                  </a:cubicBezTo>
                  <a:cubicBezTo>
                    <a:pt x="19519" y="454409"/>
                    <a:pt x="3957" y="401498"/>
                    <a:pt x="844" y="354813"/>
                  </a:cubicBezTo>
                  <a:cubicBezTo>
                    <a:pt x="-5379" y="227204"/>
                    <a:pt x="22631" y="108934"/>
                    <a:pt x="91104" y="3112"/>
                  </a:cubicBezTo>
                  <a:cubicBezTo>
                    <a:pt x="94216" y="0"/>
                    <a:pt x="97329" y="0"/>
                    <a:pt x="100441" y="0"/>
                  </a:cubicBezTo>
                  <a:cubicBezTo>
                    <a:pt x="103554" y="3112"/>
                    <a:pt x="103554" y="6225"/>
                    <a:pt x="103554" y="9337"/>
                  </a:cubicBezTo>
                  <a:cubicBezTo>
                    <a:pt x="38193" y="115158"/>
                    <a:pt x="7069" y="230317"/>
                    <a:pt x="13294" y="354813"/>
                  </a:cubicBezTo>
                  <a:cubicBezTo>
                    <a:pt x="16406" y="401498"/>
                    <a:pt x="31968" y="454409"/>
                    <a:pt x="47530" y="507320"/>
                  </a:cubicBezTo>
                  <a:cubicBezTo>
                    <a:pt x="53755" y="525994"/>
                    <a:pt x="59980" y="544669"/>
                    <a:pt x="63092" y="563343"/>
                  </a:cubicBezTo>
                  <a:cubicBezTo>
                    <a:pt x="63092" y="560231"/>
                    <a:pt x="59980" y="563343"/>
                    <a:pt x="56868" y="566455"/>
                  </a:cubicBezTo>
                  <a:cubicBezTo>
                    <a:pt x="56868" y="566455"/>
                    <a:pt x="56868" y="566455"/>
                    <a:pt x="56868" y="566455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375E0D86-43A6-4F7B-ACF5-AC2BDC473751}"/>
                </a:ext>
              </a:extLst>
            </p:cNvPr>
            <p:cNvSpPr/>
            <p:nvPr/>
          </p:nvSpPr>
          <p:spPr>
            <a:xfrm>
              <a:off x="25316859" y="8829091"/>
              <a:ext cx="967021" cy="1260317"/>
            </a:xfrm>
            <a:custGeom>
              <a:avLst/>
              <a:gdLst>
                <a:gd name="connsiteX0" fmla="*/ 890647 w 967021"/>
                <a:gd name="connsiteY0" fmla="*/ 398386 h 1260317"/>
                <a:gd name="connsiteX1" fmla="*/ 890647 w 967021"/>
                <a:gd name="connsiteY1" fmla="*/ 121383 h 1260317"/>
                <a:gd name="connsiteX2" fmla="*/ 622982 w 967021"/>
                <a:gd name="connsiteY2" fmla="*/ 0 h 1260317"/>
                <a:gd name="connsiteX3" fmla="*/ 342867 w 967021"/>
                <a:gd name="connsiteY3" fmla="*/ 6225 h 1260317"/>
                <a:gd name="connsiteX4" fmla="*/ 3615 w 967021"/>
                <a:gd name="connsiteY4" fmla="*/ 507320 h 1260317"/>
                <a:gd name="connsiteX5" fmla="*/ 34739 w 967021"/>
                <a:gd name="connsiteY5" fmla="*/ 743862 h 1260317"/>
                <a:gd name="connsiteX6" fmla="*/ 93875 w 967021"/>
                <a:gd name="connsiteY6" fmla="*/ 1198271 h 1260317"/>
                <a:gd name="connsiteX7" fmla="*/ 918659 w 967021"/>
                <a:gd name="connsiteY7" fmla="*/ 1192046 h 1260317"/>
                <a:gd name="connsiteX8" fmla="*/ 890647 w 967021"/>
                <a:gd name="connsiteY8" fmla="*/ 398386 h 126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7021" h="1260317">
                  <a:moveTo>
                    <a:pt x="890647" y="398386"/>
                  </a:moveTo>
                  <a:cubicBezTo>
                    <a:pt x="924884" y="308127"/>
                    <a:pt x="952895" y="208530"/>
                    <a:pt x="890647" y="121383"/>
                  </a:cubicBezTo>
                  <a:cubicBezTo>
                    <a:pt x="837738" y="49798"/>
                    <a:pt x="703903" y="12449"/>
                    <a:pt x="622982" y="0"/>
                  </a:cubicBezTo>
                  <a:cubicBezTo>
                    <a:pt x="622982" y="0"/>
                    <a:pt x="339755" y="12449"/>
                    <a:pt x="342867" y="6225"/>
                  </a:cubicBezTo>
                  <a:cubicBezTo>
                    <a:pt x="81425" y="12449"/>
                    <a:pt x="-21283" y="292565"/>
                    <a:pt x="3615" y="507320"/>
                  </a:cubicBezTo>
                  <a:cubicBezTo>
                    <a:pt x="12954" y="588242"/>
                    <a:pt x="31628" y="662939"/>
                    <a:pt x="34739" y="743862"/>
                  </a:cubicBezTo>
                  <a:cubicBezTo>
                    <a:pt x="37853" y="821671"/>
                    <a:pt x="-52407" y="1008415"/>
                    <a:pt x="93875" y="1198271"/>
                  </a:cubicBezTo>
                  <a:cubicBezTo>
                    <a:pt x="103212" y="1210720"/>
                    <a:pt x="464251" y="1335216"/>
                    <a:pt x="918659" y="1192046"/>
                  </a:cubicBezTo>
                  <a:cubicBezTo>
                    <a:pt x="1071167" y="1036426"/>
                    <a:pt x="806614" y="616253"/>
                    <a:pt x="890647" y="398386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A6A65B75-33B2-4E31-BB97-4D3653E13DEE}"/>
                </a:ext>
              </a:extLst>
            </p:cNvPr>
            <p:cNvSpPr/>
            <p:nvPr/>
          </p:nvSpPr>
          <p:spPr>
            <a:xfrm>
              <a:off x="25309563" y="9025171"/>
              <a:ext cx="66935" cy="768761"/>
            </a:xfrm>
            <a:custGeom>
              <a:avLst/>
              <a:gdLst>
                <a:gd name="connsiteX0" fmla="*/ 42035 w 66935"/>
                <a:gd name="connsiteY0" fmla="*/ 768761 h 768761"/>
                <a:gd name="connsiteX1" fmla="*/ 42035 w 66935"/>
                <a:gd name="connsiteY1" fmla="*/ 768761 h 768761"/>
                <a:gd name="connsiteX2" fmla="*/ 35812 w 66935"/>
                <a:gd name="connsiteY2" fmla="*/ 762536 h 768761"/>
                <a:gd name="connsiteX3" fmla="*/ 10911 w 66935"/>
                <a:gd name="connsiteY3" fmla="*/ 336138 h 768761"/>
                <a:gd name="connsiteX4" fmla="*/ 1574 w 66935"/>
                <a:gd name="connsiteY4" fmla="*/ 270778 h 768761"/>
                <a:gd name="connsiteX5" fmla="*/ 57597 w 66935"/>
                <a:gd name="connsiteY5" fmla="*/ 3113 h 768761"/>
                <a:gd name="connsiteX6" fmla="*/ 63822 w 66935"/>
                <a:gd name="connsiteY6" fmla="*/ 0 h 768761"/>
                <a:gd name="connsiteX7" fmla="*/ 66936 w 66935"/>
                <a:gd name="connsiteY7" fmla="*/ 6225 h 768761"/>
                <a:gd name="connsiteX8" fmla="*/ 10911 w 66935"/>
                <a:gd name="connsiteY8" fmla="*/ 267666 h 768761"/>
                <a:gd name="connsiteX9" fmla="*/ 20250 w 66935"/>
                <a:gd name="connsiteY9" fmla="*/ 333026 h 768761"/>
                <a:gd name="connsiteX10" fmla="*/ 45149 w 66935"/>
                <a:gd name="connsiteY10" fmla="*/ 762536 h 768761"/>
                <a:gd name="connsiteX11" fmla="*/ 42035 w 66935"/>
                <a:gd name="connsiteY11" fmla="*/ 768761 h 768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935" h="768761">
                  <a:moveTo>
                    <a:pt x="42035" y="768761"/>
                  </a:moveTo>
                  <a:cubicBezTo>
                    <a:pt x="42035" y="768761"/>
                    <a:pt x="42035" y="768761"/>
                    <a:pt x="42035" y="768761"/>
                  </a:cubicBezTo>
                  <a:cubicBezTo>
                    <a:pt x="38924" y="768761"/>
                    <a:pt x="35812" y="765649"/>
                    <a:pt x="35812" y="762536"/>
                  </a:cubicBezTo>
                  <a:cubicBezTo>
                    <a:pt x="48260" y="641153"/>
                    <a:pt x="26473" y="457522"/>
                    <a:pt x="10911" y="336138"/>
                  </a:cubicBezTo>
                  <a:cubicBezTo>
                    <a:pt x="7800" y="311239"/>
                    <a:pt x="4688" y="289453"/>
                    <a:pt x="1574" y="270778"/>
                  </a:cubicBezTo>
                  <a:cubicBezTo>
                    <a:pt x="-10874" y="161845"/>
                    <a:pt x="54486" y="9337"/>
                    <a:pt x="57597" y="3113"/>
                  </a:cubicBezTo>
                  <a:cubicBezTo>
                    <a:pt x="57597" y="0"/>
                    <a:pt x="60711" y="0"/>
                    <a:pt x="63822" y="0"/>
                  </a:cubicBezTo>
                  <a:cubicBezTo>
                    <a:pt x="66936" y="0"/>
                    <a:pt x="66936" y="3113"/>
                    <a:pt x="66936" y="6225"/>
                  </a:cubicBezTo>
                  <a:cubicBezTo>
                    <a:pt x="66936" y="6225"/>
                    <a:pt x="-1537" y="161845"/>
                    <a:pt x="10911" y="267666"/>
                  </a:cubicBezTo>
                  <a:cubicBezTo>
                    <a:pt x="14025" y="286340"/>
                    <a:pt x="17136" y="308127"/>
                    <a:pt x="20250" y="333026"/>
                  </a:cubicBezTo>
                  <a:cubicBezTo>
                    <a:pt x="35812" y="454409"/>
                    <a:pt x="60711" y="638040"/>
                    <a:pt x="45149" y="762536"/>
                  </a:cubicBezTo>
                  <a:cubicBezTo>
                    <a:pt x="48260" y="765649"/>
                    <a:pt x="45149" y="768761"/>
                    <a:pt x="42035" y="768761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F54A4691-ADDB-44C8-9A77-0ABA97C6F842}"/>
                </a:ext>
              </a:extLst>
            </p:cNvPr>
            <p:cNvSpPr/>
            <p:nvPr/>
          </p:nvSpPr>
          <p:spPr>
            <a:xfrm>
              <a:off x="25563115" y="8785410"/>
              <a:ext cx="332545" cy="130529"/>
            </a:xfrm>
            <a:custGeom>
              <a:avLst/>
              <a:gdLst>
                <a:gd name="connsiteX0" fmla="*/ 9464 w 332545"/>
                <a:gd name="connsiteY0" fmla="*/ 93479 h 130529"/>
                <a:gd name="connsiteX1" fmla="*/ 320703 w 332545"/>
                <a:gd name="connsiteY1" fmla="*/ 99704 h 130529"/>
                <a:gd name="connsiteX2" fmla="*/ 330040 w 332545"/>
                <a:gd name="connsiteY2" fmla="*/ 77917 h 130529"/>
                <a:gd name="connsiteX3" fmla="*/ 283354 w 332545"/>
                <a:gd name="connsiteY3" fmla="*/ 108 h 130529"/>
                <a:gd name="connsiteX4" fmla="*/ 37474 w 332545"/>
                <a:gd name="connsiteY4" fmla="*/ 108 h 130529"/>
                <a:gd name="connsiteX5" fmla="*/ 25026 w 332545"/>
                <a:gd name="connsiteY5" fmla="*/ 6332 h 130529"/>
                <a:gd name="connsiteX6" fmla="*/ 3238 w 332545"/>
                <a:gd name="connsiteY6" fmla="*/ 74805 h 130529"/>
                <a:gd name="connsiteX7" fmla="*/ 9464 w 332545"/>
                <a:gd name="connsiteY7" fmla="*/ 93479 h 130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2545" h="130529">
                  <a:moveTo>
                    <a:pt x="9464" y="93479"/>
                  </a:moveTo>
                  <a:cubicBezTo>
                    <a:pt x="137071" y="140165"/>
                    <a:pt x="193094" y="143278"/>
                    <a:pt x="320703" y="99704"/>
                  </a:cubicBezTo>
                  <a:cubicBezTo>
                    <a:pt x="330040" y="96592"/>
                    <a:pt x="336265" y="87255"/>
                    <a:pt x="330040" y="77917"/>
                  </a:cubicBezTo>
                  <a:cubicBezTo>
                    <a:pt x="320703" y="62355"/>
                    <a:pt x="295804" y="-3005"/>
                    <a:pt x="283354" y="108"/>
                  </a:cubicBezTo>
                  <a:cubicBezTo>
                    <a:pt x="174420" y="31231"/>
                    <a:pt x="146408" y="15669"/>
                    <a:pt x="37474" y="108"/>
                  </a:cubicBezTo>
                  <a:cubicBezTo>
                    <a:pt x="31251" y="108"/>
                    <a:pt x="25026" y="3220"/>
                    <a:pt x="25026" y="6332"/>
                  </a:cubicBezTo>
                  <a:cubicBezTo>
                    <a:pt x="12575" y="28119"/>
                    <a:pt x="6350" y="49906"/>
                    <a:pt x="3238" y="74805"/>
                  </a:cubicBezTo>
                  <a:cubicBezTo>
                    <a:pt x="-2987" y="81030"/>
                    <a:pt x="127" y="90367"/>
                    <a:pt x="9464" y="93479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50A2CA93-460F-44B0-8AE2-7E16DBFAAD8B}"/>
                </a:ext>
              </a:extLst>
            </p:cNvPr>
            <p:cNvSpPr/>
            <p:nvPr/>
          </p:nvSpPr>
          <p:spPr>
            <a:xfrm>
              <a:off x="25443468" y="8129144"/>
              <a:ext cx="328698" cy="603091"/>
            </a:xfrm>
            <a:custGeom>
              <a:avLst/>
              <a:gdLst>
                <a:gd name="connsiteX0" fmla="*/ 241157 w 328698"/>
                <a:gd name="connsiteY0" fmla="*/ 326459 h 603091"/>
                <a:gd name="connsiteX1" fmla="*/ 290956 w 328698"/>
                <a:gd name="connsiteY1" fmla="*/ 180177 h 603091"/>
                <a:gd name="connsiteX2" fmla="*/ 328303 w 328698"/>
                <a:gd name="connsiteY2" fmla="*/ 8995 h 603091"/>
                <a:gd name="connsiteX3" fmla="*/ 1502 w 328698"/>
                <a:gd name="connsiteY3" fmla="*/ 236200 h 603091"/>
                <a:gd name="connsiteX4" fmla="*/ 182022 w 328698"/>
                <a:gd name="connsiteY4" fmla="*/ 587900 h 603091"/>
                <a:gd name="connsiteX5" fmla="*/ 241157 w 328698"/>
                <a:gd name="connsiteY5" fmla="*/ 326459 h 603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8698" h="603091">
                  <a:moveTo>
                    <a:pt x="241157" y="326459"/>
                  </a:moveTo>
                  <a:cubicBezTo>
                    <a:pt x="250494" y="273548"/>
                    <a:pt x="266056" y="226863"/>
                    <a:pt x="290956" y="180177"/>
                  </a:cubicBezTo>
                  <a:cubicBezTo>
                    <a:pt x="315855" y="130379"/>
                    <a:pt x="331417" y="8995"/>
                    <a:pt x="328303" y="8995"/>
                  </a:cubicBezTo>
                  <a:cubicBezTo>
                    <a:pt x="213146" y="-31466"/>
                    <a:pt x="23289" y="68131"/>
                    <a:pt x="1502" y="236200"/>
                  </a:cubicBezTo>
                  <a:cubicBezTo>
                    <a:pt x="-7835" y="304672"/>
                    <a:pt x="23289" y="559889"/>
                    <a:pt x="182022" y="587900"/>
                  </a:cubicBezTo>
                  <a:cubicBezTo>
                    <a:pt x="281617" y="671935"/>
                    <a:pt x="231820" y="382482"/>
                    <a:pt x="241157" y="326459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BB6BA73A-B42C-4798-947B-1F99D4A0F5FC}"/>
                </a:ext>
              </a:extLst>
            </p:cNvPr>
            <p:cNvSpPr/>
            <p:nvPr/>
          </p:nvSpPr>
          <p:spPr>
            <a:xfrm>
              <a:off x="25514650" y="8187030"/>
              <a:ext cx="431416" cy="580139"/>
            </a:xfrm>
            <a:custGeom>
              <a:avLst/>
              <a:gdLst>
                <a:gd name="connsiteX0" fmla="*/ 8130 w 431416"/>
                <a:gd name="connsiteY0" fmla="*/ 187652 h 580139"/>
                <a:gd name="connsiteX1" fmla="*/ 20580 w 431416"/>
                <a:gd name="connsiteY1" fmla="*/ 449093 h 580139"/>
                <a:gd name="connsiteX2" fmla="*/ 173088 w 431416"/>
                <a:gd name="connsiteY2" fmla="*/ 579813 h 580139"/>
                <a:gd name="connsiteX3" fmla="*/ 394067 w 431416"/>
                <a:gd name="connsiteY3" fmla="*/ 433531 h 580139"/>
                <a:gd name="connsiteX4" fmla="*/ 431416 w 431416"/>
                <a:gd name="connsiteY4" fmla="*/ 203214 h 580139"/>
                <a:gd name="connsiteX5" fmla="*/ 213549 w 431416"/>
                <a:gd name="connsiteY5" fmla="*/ 908 h 580139"/>
                <a:gd name="connsiteX6" fmla="*/ 8130 w 431416"/>
                <a:gd name="connsiteY6" fmla="*/ 187652 h 58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1416" h="580139">
                  <a:moveTo>
                    <a:pt x="8130" y="187652"/>
                  </a:moveTo>
                  <a:cubicBezTo>
                    <a:pt x="8130" y="187652"/>
                    <a:pt x="-16769" y="380620"/>
                    <a:pt x="20580" y="449093"/>
                  </a:cubicBezTo>
                  <a:cubicBezTo>
                    <a:pt x="57929" y="517566"/>
                    <a:pt x="120177" y="576701"/>
                    <a:pt x="173088" y="579813"/>
                  </a:cubicBezTo>
                  <a:cubicBezTo>
                    <a:pt x="241559" y="586038"/>
                    <a:pt x="356718" y="502004"/>
                    <a:pt x="394067" y="433531"/>
                  </a:cubicBezTo>
                  <a:cubicBezTo>
                    <a:pt x="431416" y="365058"/>
                    <a:pt x="431416" y="256124"/>
                    <a:pt x="431416" y="203214"/>
                  </a:cubicBezTo>
                  <a:cubicBezTo>
                    <a:pt x="428303" y="106729"/>
                    <a:pt x="400293" y="25807"/>
                    <a:pt x="213549" y="908"/>
                  </a:cubicBezTo>
                  <a:cubicBezTo>
                    <a:pt x="123289" y="-11541"/>
                    <a:pt x="26806" y="106729"/>
                    <a:pt x="8130" y="187652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2FFE497D-F390-49ED-A5B1-95F0AD12B296}"/>
                </a:ext>
              </a:extLst>
            </p:cNvPr>
            <p:cNvSpPr/>
            <p:nvPr/>
          </p:nvSpPr>
          <p:spPr>
            <a:xfrm>
              <a:off x="25650389" y="8460539"/>
              <a:ext cx="56022" cy="135122"/>
            </a:xfrm>
            <a:custGeom>
              <a:avLst/>
              <a:gdLst>
                <a:gd name="connsiteX0" fmla="*/ 31124 w 56022"/>
                <a:gd name="connsiteY0" fmla="*/ 135122 h 135122"/>
                <a:gd name="connsiteX1" fmla="*/ 6225 w 56022"/>
                <a:gd name="connsiteY1" fmla="*/ 128897 h 135122"/>
                <a:gd name="connsiteX2" fmla="*/ 0 w 56022"/>
                <a:gd name="connsiteY2" fmla="*/ 116448 h 135122"/>
                <a:gd name="connsiteX3" fmla="*/ 28010 w 56022"/>
                <a:gd name="connsiteY3" fmla="*/ 4401 h 135122"/>
                <a:gd name="connsiteX4" fmla="*/ 34236 w 56022"/>
                <a:gd name="connsiteY4" fmla="*/ 1289 h 135122"/>
                <a:gd name="connsiteX5" fmla="*/ 37349 w 56022"/>
                <a:gd name="connsiteY5" fmla="*/ 7514 h 135122"/>
                <a:gd name="connsiteX6" fmla="*/ 9337 w 56022"/>
                <a:gd name="connsiteY6" fmla="*/ 116448 h 135122"/>
                <a:gd name="connsiteX7" fmla="*/ 9337 w 56022"/>
                <a:gd name="connsiteY7" fmla="*/ 119560 h 135122"/>
                <a:gd name="connsiteX8" fmla="*/ 49798 w 56022"/>
                <a:gd name="connsiteY8" fmla="*/ 119560 h 135122"/>
                <a:gd name="connsiteX9" fmla="*/ 56023 w 56022"/>
                <a:gd name="connsiteY9" fmla="*/ 125785 h 135122"/>
                <a:gd name="connsiteX10" fmla="*/ 49798 w 56022"/>
                <a:gd name="connsiteY10" fmla="*/ 132010 h 135122"/>
                <a:gd name="connsiteX11" fmla="*/ 31124 w 56022"/>
                <a:gd name="connsiteY11" fmla="*/ 135122 h 13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022" h="135122">
                  <a:moveTo>
                    <a:pt x="31124" y="135122"/>
                  </a:moveTo>
                  <a:cubicBezTo>
                    <a:pt x="21787" y="135122"/>
                    <a:pt x="12448" y="135122"/>
                    <a:pt x="6225" y="128897"/>
                  </a:cubicBezTo>
                  <a:cubicBezTo>
                    <a:pt x="3112" y="125785"/>
                    <a:pt x="0" y="122672"/>
                    <a:pt x="0" y="116448"/>
                  </a:cubicBezTo>
                  <a:cubicBezTo>
                    <a:pt x="0" y="94661"/>
                    <a:pt x="28010" y="7514"/>
                    <a:pt x="28010" y="4401"/>
                  </a:cubicBezTo>
                  <a:cubicBezTo>
                    <a:pt x="28010" y="1289"/>
                    <a:pt x="31124" y="-1823"/>
                    <a:pt x="34236" y="1289"/>
                  </a:cubicBezTo>
                  <a:cubicBezTo>
                    <a:pt x="37349" y="1289"/>
                    <a:pt x="40461" y="4401"/>
                    <a:pt x="37349" y="7514"/>
                  </a:cubicBezTo>
                  <a:cubicBezTo>
                    <a:pt x="31124" y="32413"/>
                    <a:pt x="9337" y="97773"/>
                    <a:pt x="9337" y="116448"/>
                  </a:cubicBezTo>
                  <a:cubicBezTo>
                    <a:pt x="9337" y="116448"/>
                    <a:pt x="9337" y="119560"/>
                    <a:pt x="9337" y="119560"/>
                  </a:cubicBezTo>
                  <a:cubicBezTo>
                    <a:pt x="15562" y="125785"/>
                    <a:pt x="37349" y="122672"/>
                    <a:pt x="49798" y="119560"/>
                  </a:cubicBezTo>
                  <a:cubicBezTo>
                    <a:pt x="52911" y="119560"/>
                    <a:pt x="56023" y="119560"/>
                    <a:pt x="56023" y="125785"/>
                  </a:cubicBezTo>
                  <a:cubicBezTo>
                    <a:pt x="56023" y="128897"/>
                    <a:pt x="56023" y="132010"/>
                    <a:pt x="49798" y="132010"/>
                  </a:cubicBezTo>
                  <a:cubicBezTo>
                    <a:pt x="52911" y="135122"/>
                    <a:pt x="43572" y="135122"/>
                    <a:pt x="31124" y="135122"/>
                  </a:cubicBezTo>
                  <a:close/>
                </a:path>
              </a:pathLst>
            </a:custGeom>
            <a:solidFill>
              <a:srgbClr val="E58777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35C65CEE-0726-4097-8E46-AB488193946F}"/>
                </a:ext>
              </a:extLst>
            </p:cNvPr>
            <p:cNvSpPr/>
            <p:nvPr/>
          </p:nvSpPr>
          <p:spPr>
            <a:xfrm>
              <a:off x="25634827" y="8648572"/>
              <a:ext cx="108933" cy="56023"/>
            </a:xfrm>
            <a:custGeom>
              <a:avLst/>
              <a:gdLst>
                <a:gd name="connsiteX0" fmla="*/ 108934 w 108933"/>
                <a:gd name="connsiteY0" fmla="*/ 0 h 56023"/>
                <a:gd name="connsiteX1" fmla="*/ 0 w 108933"/>
                <a:gd name="connsiteY1" fmla="*/ 0 h 56023"/>
                <a:gd name="connsiteX2" fmla="*/ 52911 w 108933"/>
                <a:gd name="connsiteY2" fmla="*/ 56023 h 56023"/>
                <a:gd name="connsiteX3" fmla="*/ 108934 w 108933"/>
                <a:gd name="connsiteY3" fmla="*/ 0 h 56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933" h="56023">
                  <a:moveTo>
                    <a:pt x="108934" y="0"/>
                  </a:moveTo>
                  <a:cubicBezTo>
                    <a:pt x="52911" y="24899"/>
                    <a:pt x="0" y="0"/>
                    <a:pt x="0" y="0"/>
                  </a:cubicBezTo>
                  <a:cubicBezTo>
                    <a:pt x="0" y="0"/>
                    <a:pt x="15562" y="56023"/>
                    <a:pt x="52911" y="56023"/>
                  </a:cubicBezTo>
                  <a:cubicBezTo>
                    <a:pt x="93372" y="52911"/>
                    <a:pt x="108934" y="0"/>
                    <a:pt x="108934" y="0"/>
                  </a:cubicBezTo>
                  <a:close/>
                </a:path>
              </a:pathLst>
            </a:custGeom>
            <a:solidFill>
              <a:srgbClr val="FFFFFF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E98CF38A-05F2-4E6B-BD30-FCB6490FC339}"/>
                </a:ext>
              </a:extLst>
            </p:cNvPr>
            <p:cNvSpPr/>
            <p:nvPr/>
          </p:nvSpPr>
          <p:spPr>
            <a:xfrm>
              <a:off x="25578011" y="8433024"/>
              <a:ext cx="42047" cy="42047"/>
            </a:xfrm>
            <a:custGeom>
              <a:avLst/>
              <a:gdLst>
                <a:gd name="connsiteX0" fmla="*/ 41254 w 42047"/>
                <a:gd name="connsiteY0" fmla="*/ 25692 h 42047"/>
                <a:gd name="connsiteX1" fmla="*/ 16356 w 42047"/>
                <a:gd name="connsiteY1" fmla="*/ 41254 h 42047"/>
                <a:gd name="connsiteX2" fmla="*/ 794 w 42047"/>
                <a:gd name="connsiteY2" fmla="*/ 16355 h 42047"/>
                <a:gd name="connsiteX3" fmla="*/ 25692 w 42047"/>
                <a:gd name="connsiteY3" fmla="*/ 793 h 42047"/>
                <a:gd name="connsiteX4" fmla="*/ 41254 w 42047"/>
                <a:gd name="connsiteY4" fmla="*/ 25692 h 42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047" h="42047">
                  <a:moveTo>
                    <a:pt x="41254" y="25692"/>
                  </a:moveTo>
                  <a:cubicBezTo>
                    <a:pt x="38141" y="38142"/>
                    <a:pt x="28804" y="44367"/>
                    <a:pt x="16356" y="41254"/>
                  </a:cubicBezTo>
                  <a:cubicBezTo>
                    <a:pt x="3905" y="38142"/>
                    <a:pt x="-2320" y="28805"/>
                    <a:pt x="794" y="16355"/>
                  </a:cubicBezTo>
                  <a:cubicBezTo>
                    <a:pt x="3905" y="3906"/>
                    <a:pt x="13242" y="-2319"/>
                    <a:pt x="25692" y="793"/>
                  </a:cubicBezTo>
                  <a:cubicBezTo>
                    <a:pt x="38141" y="3906"/>
                    <a:pt x="44366" y="13243"/>
                    <a:pt x="41254" y="25692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1CDCB7D3-C3FD-40D4-AA7C-15BC7B40590D}"/>
                </a:ext>
              </a:extLst>
            </p:cNvPr>
            <p:cNvSpPr/>
            <p:nvPr/>
          </p:nvSpPr>
          <p:spPr>
            <a:xfrm>
              <a:off x="25774091" y="8439249"/>
              <a:ext cx="41254" cy="42047"/>
            </a:xfrm>
            <a:custGeom>
              <a:avLst/>
              <a:gdLst>
                <a:gd name="connsiteX0" fmla="*/ 41254 w 41254"/>
                <a:gd name="connsiteY0" fmla="*/ 25692 h 42047"/>
                <a:gd name="connsiteX1" fmla="*/ 16356 w 41254"/>
                <a:gd name="connsiteY1" fmla="*/ 41254 h 42047"/>
                <a:gd name="connsiteX2" fmla="*/ 794 w 41254"/>
                <a:gd name="connsiteY2" fmla="*/ 16355 h 42047"/>
                <a:gd name="connsiteX3" fmla="*/ 25692 w 41254"/>
                <a:gd name="connsiteY3" fmla="*/ 793 h 42047"/>
                <a:gd name="connsiteX4" fmla="*/ 41254 w 41254"/>
                <a:gd name="connsiteY4" fmla="*/ 25692 h 42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54" h="42047">
                  <a:moveTo>
                    <a:pt x="41254" y="25692"/>
                  </a:moveTo>
                  <a:cubicBezTo>
                    <a:pt x="38143" y="38142"/>
                    <a:pt x="28804" y="44367"/>
                    <a:pt x="16356" y="41254"/>
                  </a:cubicBezTo>
                  <a:cubicBezTo>
                    <a:pt x="3905" y="38142"/>
                    <a:pt x="-2320" y="28805"/>
                    <a:pt x="794" y="16355"/>
                  </a:cubicBezTo>
                  <a:cubicBezTo>
                    <a:pt x="3905" y="3905"/>
                    <a:pt x="13242" y="-2319"/>
                    <a:pt x="25692" y="793"/>
                  </a:cubicBezTo>
                  <a:cubicBezTo>
                    <a:pt x="35029" y="3905"/>
                    <a:pt x="41254" y="16355"/>
                    <a:pt x="41254" y="25692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33AF72CC-BE94-45BD-B2A8-850C24C45489}"/>
                </a:ext>
              </a:extLst>
            </p:cNvPr>
            <p:cNvSpPr/>
            <p:nvPr/>
          </p:nvSpPr>
          <p:spPr>
            <a:xfrm>
              <a:off x="25551570" y="8382829"/>
              <a:ext cx="93882" cy="35425"/>
            </a:xfrm>
            <a:custGeom>
              <a:avLst/>
              <a:gdLst>
                <a:gd name="connsiteX0" fmla="*/ 8559 w 93882"/>
                <a:gd name="connsiteY0" fmla="*/ 35425 h 35425"/>
                <a:gd name="connsiteX1" fmla="*/ 2334 w 93882"/>
                <a:gd name="connsiteY1" fmla="*/ 32313 h 35425"/>
                <a:gd name="connsiteX2" fmla="*/ 2334 w 93882"/>
                <a:gd name="connsiteY2" fmla="*/ 19863 h 35425"/>
                <a:gd name="connsiteX3" fmla="*/ 89482 w 93882"/>
                <a:gd name="connsiteY3" fmla="*/ 10527 h 35425"/>
                <a:gd name="connsiteX4" fmla="*/ 92594 w 93882"/>
                <a:gd name="connsiteY4" fmla="*/ 19863 h 35425"/>
                <a:gd name="connsiteX5" fmla="*/ 83257 w 93882"/>
                <a:gd name="connsiteY5" fmla="*/ 22976 h 35425"/>
                <a:gd name="connsiteX6" fmla="*/ 14784 w 93882"/>
                <a:gd name="connsiteY6" fmla="*/ 29201 h 35425"/>
                <a:gd name="connsiteX7" fmla="*/ 8559 w 93882"/>
                <a:gd name="connsiteY7" fmla="*/ 35425 h 3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82" h="35425">
                  <a:moveTo>
                    <a:pt x="8559" y="35425"/>
                  </a:moveTo>
                  <a:cubicBezTo>
                    <a:pt x="5447" y="35425"/>
                    <a:pt x="5447" y="35425"/>
                    <a:pt x="2334" y="32313"/>
                  </a:cubicBezTo>
                  <a:cubicBezTo>
                    <a:pt x="-778" y="29201"/>
                    <a:pt x="-778" y="22976"/>
                    <a:pt x="2334" y="19863"/>
                  </a:cubicBezTo>
                  <a:cubicBezTo>
                    <a:pt x="30346" y="-11260"/>
                    <a:pt x="70807" y="1189"/>
                    <a:pt x="89482" y="10527"/>
                  </a:cubicBezTo>
                  <a:cubicBezTo>
                    <a:pt x="92594" y="13639"/>
                    <a:pt x="95705" y="16751"/>
                    <a:pt x="92594" y="19863"/>
                  </a:cubicBezTo>
                  <a:cubicBezTo>
                    <a:pt x="89482" y="22976"/>
                    <a:pt x="86369" y="26089"/>
                    <a:pt x="83257" y="22976"/>
                  </a:cubicBezTo>
                  <a:cubicBezTo>
                    <a:pt x="80144" y="22976"/>
                    <a:pt x="39683" y="1189"/>
                    <a:pt x="14784" y="29201"/>
                  </a:cubicBezTo>
                  <a:cubicBezTo>
                    <a:pt x="14784" y="35425"/>
                    <a:pt x="11672" y="35425"/>
                    <a:pt x="8559" y="35425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76A51398-D5C2-402E-B4EC-98C7D818A09D}"/>
                </a:ext>
              </a:extLst>
            </p:cNvPr>
            <p:cNvSpPr/>
            <p:nvPr/>
          </p:nvSpPr>
          <p:spPr>
            <a:xfrm>
              <a:off x="25745583" y="8381223"/>
              <a:ext cx="93882" cy="37031"/>
            </a:xfrm>
            <a:custGeom>
              <a:avLst/>
              <a:gdLst>
                <a:gd name="connsiteX0" fmla="*/ 88435 w 93882"/>
                <a:gd name="connsiteY0" fmla="*/ 37032 h 37031"/>
                <a:gd name="connsiteX1" fmla="*/ 82212 w 93882"/>
                <a:gd name="connsiteY1" fmla="*/ 33920 h 37031"/>
                <a:gd name="connsiteX2" fmla="*/ 13739 w 93882"/>
                <a:gd name="connsiteY2" fmla="*/ 27695 h 37031"/>
                <a:gd name="connsiteX3" fmla="*/ 1289 w 93882"/>
                <a:gd name="connsiteY3" fmla="*/ 24582 h 37031"/>
                <a:gd name="connsiteX4" fmla="*/ 4402 w 93882"/>
                <a:gd name="connsiteY4" fmla="*/ 12133 h 37031"/>
                <a:gd name="connsiteX5" fmla="*/ 91549 w 93882"/>
                <a:gd name="connsiteY5" fmla="*/ 21470 h 37031"/>
                <a:gd name="connsiteX6" fmla="*/ 91549 w 93882"/>
                <a:gd name="connsiteY6" fmla="*/ 33920 h 37031"/>
                <a:gd name="connsiteX7" fmla="*/ 88435 w 93882"/>
                <a:gd name="connsiteY7" fmla="*/ 37032 h 3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82" h="37031">
                  <a:moveTo>
                    <a:pt x="88435" y="37032"/>
                  </a:moveTo>
                  <a:cubicBezTo>
                    <a:pt x="85324" y="37032"/>
                    <a:pt x="85324" y="37032"/>
                    <a:pt x="82212" y="33920"/>
                  </a:cubicBezTo>
                  <a:cubicBezTo>
                    <a:pt x="82212" y="33920"/>
                    <a:pt x="51088" y="2796"/>
                    <a:pt x="13739" y="27695"/>
                  </a:cubicBezTo>
                  <a:cubicBezTo>
                    <a:pt x="10626" y="30807"/>
                    <a:pt x="4402" y="27695"/>
                    <a:pt x="1289" y="24582"/>
                  </a:cubicBezTo>
                  <a:cubicBezTo>
                    <a:pt x="-1823" y="21470"/>
                    <a:pt x="1289" y="15245"/>
                    <a:pt x="4402" y="12133"/>
                  </a:cubicBezTo>
                  <a:cubicBezTo>
                    <a:pt x="41750" y="-12766"/>
                    <a:pt x="79099" y="5908"/>
                    <a:pt x="91549" y="21470"/>
                  </a:cubicBezTo>
                  <a:cubicBezTo>
                    <a:pt x="94661" y="24582"/>
                    <a:pt x="94661" y="30807"/>
                    <a:pt x="91549" y="33920"/>
                  </a:cubicBezTo>
                  <a:cubicBezTo>
                    <a:pt x="91549" y="37032"/>
                    <a:pt x="88435" y="37032"/>
                    <a:pt x="88435" y="37032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A175E1F3-11A2-4754-9794-C88DF6A46AE0}"/>
                </a:ext>
              </a:extLst>
            </p:cNvPr>
            <p:cNvSpPr/>
            <p:nvPr/>
          </p:nvSpPr>
          <p:spPr>
            <a:xfrm>
              <a:off x="25494416" y="8135509"/>
              <a:ext cx="280552" cy="282745"/>
            </a:xfrm>
            <a:custGeom>
              <a:avLst/>
              <a:gdLst>
                <a:gd name="connsiteX0" fmla="*/ 277355 w 280552"/>
                <a:gd name="connsiteY0" fmla="*/ 2630 h 282745"/>
                <a:gd name="connsiteX1" fmla="*/ 243119 w 280552"/>
                <a:gd name="connsiteY1" fmla="*/ 152025 h 282745"/>
                <a:gd name="connsiteX2" fmla="*/ 353 w 280552"/>
                <a:gd name="connsiteY2" fmla="*/ 282746 h 282745"/>
                <a:gd name="connsiteX3" fmla="*/ 277355 w 280552"/>
                <a:gd name="connsiteY3" fmla="*/ 2630 h 28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552" h="282745">
                  <a:moveTo>
                    <a:pt x="277355" y="2630"/>
                  </a:moveTo>
                  <a:cubicBezTo>
                    <a:pt x="277355" y="2630"/>
                    <a:pt x="296030" y="111564"/>
                    <a:pt x="243119" y="152025"/>
                  </a:cubicBezTo>
                  <a:cubicBezTo>
                    <a:pt x="243119" y="152025"/>
                    <a:pt x="28363" y="195599"/>
                    <a:pt x="353" y="282746"/>
                  </a:cubicBezTo>
                  <a:cubicBezTo>
                    <a:pt x="353" y="279633"/>
                    <a:pt x="-21434" y="-31606"/>
                    <a:pt x="277355" y="2630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2989BBBF-18C4-4C12-AE0F-B814E93BE83E}"/>
                </a:ext>
              </a:extLst>
            </p:cNvPr>
            <p:cNvSpPr/>
            <p:nvPr/>
          </p:nvSpPr>
          <p:spPr>
            <a:xfrm>
              <a:off x="25737535" y="8138139"/>
              <a:ext cx="303322" cy="358394"/>
            </a:xfrm>
            <a:custGeom>
              <a:avLst/>
              <a:gdLst>
                <a:gd name="connsiteX0" fmla="*/ 0 w 303322"/>
                <a:gd name="connsiteY0" fmla="*/ 149395 h 358394"/>
                <a:gd name="connsiteX1" fmla="*/ 143169 w 303322"/>
                <a:gd name="connsiteY1" fmla="*/ 205418 h 358394"/>
                <a:gd name="connsiteX2" fmla="*/ 202305 w 303322"/>
                <a:gd name="connsiteY2" fmla="*/ 326801 h 358394"/>
                <a:gd name="connsiteX3" fmla="*/ 292566 w 303322"/>
                <a:gd name="connsiteY3" fmla="*/ 348588 h 358394"/>
                <a:gd name="connsiteX4" fmla="*/ 31124 w 303322"/>
                <a:gd name="connsiteY4" fmla="*/ 0 h 358394"/>
                <a:gd name="connsiteX5" fmla="*/ 0 w 303322"/>
                <a:gd name="connsiteY5" fmla="*/ 149395 h 35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3322" h="358394">
                  <a:moveTo>
                    <a:pt x="0" y="149395"/>
                  </a:moveTo>
                  <a:cubicBezTo>
                    <a:pt x="0" y="149395"/>
                    <a:pt x="93372" y="199193"/>
                    <a:pt x="143169" y="205418"/>
                  </a:cubicBezTo>
                  <a:cubicBezTo>
                    <a:pt x="196080" y="211643"/>
                    <a:pt x="202305" y="326801"/>
                    <a:pt x="202305" y="326801"/>
                  </a:cubicBezTo>
                  <a:cubicBezTo>
                    <a:pt x="202305" y="326801"/>
                    <a:pt x="277004" y="379712"/>
                    <a:pt x="292566" y="348588"/>
                  </a:cubicBezTo>
                  <a:cubicBezTo>
                    <a:pt x="326801" y="280115"/>
                    <a:pt x="289452" y="0"/>
                    <a:pt x="31124" y="0"/>
                  </a:cubicBezTo>
                  <a:cubicBezTo>
                    <a:pt x="34236" y="0"/>
                    <a:pt x="24899" y="143170"/>
                    <a:pt x="0" y="149395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6ED9E71C-9C47-4D79-A9EA-45DB86E103D4}"/>
                </a:ext>
              </a:extLst>
            </p:cNvPr>
            <p:cNvSpPr/>
            <p:nvPr/>
          </p:nvSpPr>
          <p:spPr>
            <a:xfrm>
              <a:off x="25613818" y="8690856"/>
              <a:ext cx="227716" cy="82211"/>
            </a:xfrm>
            <a:custGeom>
              <a:avLst/>
              <a:gdLst>
                <a:gd name="connsiteX0" fmla="*/ 73920 w 227716"/>
                <a:gd name="connsiteY0" fmla="*/ 82211 h 82211"/>
                <a:gd name="connsiteX1" fmla="*/ 2334 w 227716"/>
                <a:gd name="connsiteY1" fmla="*/ 54200 h 82211"/>
                <a:gd name="connsiteX2" fmla="*/ 2334 w 227716"/>
                <a:gd name="connsiteY2" fmla="*/ 44863 h 82211"/>
                <a:gd name="connsiteX3" fmla="*/ 11672 w 227716"/>
                <a:gd name="connsiteY3" fmla="*/ 44863 h 82211"/>
                <a:gd name="connsiteX4" fmla="*/ 83257 w 227716"/>
                <a:gd name="connsiteY4" fmla="*/ 69762 h 82211"/>
                <a:gd name="connsiteX5" fmla="*/ 217090 w 227716"/>
                <a:gd name="connsiteY5" fmla="*/ 1289 h 82211"/>
                <a:gd name="connsiteX6" fmla="*/ 226426 w 227716"/>
                <a:gd name="connsiteY6" fmla="*/ 4402 h 82211"/>
                <a:gd name="connsiteX7" fmla="*/ 223315 w 227716"/>
                <a:gd name="connsiteY7" fmla="*/ 13739 h 82211"/>
                <a:gd name="connsiteX8" fmla="*/ 83257 w 227716"/>
                <a:gd name="connsiteY8" fmla="*/ 82211 h 82211"/>
                <a:gd name="connsiteX9" fmla="*/ 73920 w 227716"/>
                <a:gd name="connsiteY9" fmla="*/ 82211 h 82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7716" h="82211">
                  <a:moveTo>
                    <a:pt x="73920" y="82211"/>
                  </a:moveTo>
                  <a:cubicBezTo>
                    <a:pt x="33458" y="82211"/>
                    <a:pt x="5447" y="54200"/>
                    <a:pt x="2334" y="54200"/>
                  </a:cubicBezTo>
                  <a:cubicBezTo>
                    <a:pt x="-778" y="51088"/>
                    <a:pt x="-778" y="47975"/>
                    <a:pt x="2334" y="44863"/>
                  </a:cubicBezTo>
                  <a:cubicBezTo>
                    <a:pt x="5447" y="41750"/>
                    <a:pt x="8559" y="41750"/>
                    <a:pt x="11672" y="44863"/>
                  </a:cubicBezTo>
                  <a:cubicBezTo>
                    <a:pt x="11672" y="44863"/>
                    <a:pt x="45908" y="75987"/>
                    <a:pt x="83257" y="69762"/>
                  </a:cubicBezTo>
                  <a:cubicBezTo>
                    <a:pt x="123718" y="63537"/>
                    <a:pt x="217090" y="1289"/>
                    <a:pt x="217090" y="1289"/>
                  </a:cubicBezTo>
                  <a:cubicBezTo>
                    <a:pt x="220201" y="-1823"/>
                    <a:pt x="223315" y="1289"/>
                    <a:pt x="226426" y="4402"/>
                  </a:cubicBezTo>
                  <a:cubicBezTo>
                    <a:pt x="229540" y="7514"/>
                    <a:pt x="226426" y="10626"/>
                    <a:pt x="223315" y="13739"/>
                  </a:cubicBezTo>
                  <a:cubicBezTo>
                    <a:pt x="220201" y="16851"/>
                    <a:pt x="126829" y="79099"/>
                    <a:pt x="83257" y="82211"/>
                  </a:cubicBezTo>
                  <a:cubicBezTo>
                    <a:pt x="83257" y="82211"/>
                    <a:pt x="80144" y="82211"/>
                    <a:pt x="73920" y="82211"/>
                  </a:cubicBezTo>
                  <a:close/>
                </a:path>
              </a:pathLst>
            </a:custGeom>
            <a:solidFill>
              <a:srgbClr val="E58777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18C3DCBE-851F-4C58-8274-A9F1936EF8FA}"/>
                </a:ext>
              </a:extLst>
            </p:cNvPr>
            <p:cNvSpPr/>
            <p:nvPr/>
          </p:nvSpPr>
          <p:spPr>
            <a:xfrm>
              <a:off x="25904221" y="8447863"/>
              <a:ext cx="80585" cy="116428"/>
            </a:xfrm>
            <a:custGeom>
              <a:avLst/>
              <a:gdLst>
                <a:gd name="connsiteX0" fmla="*/ 13833 w 80585"/>
                <a:gd name="connsiteY0" fmla="*/ 17077 h 116428"/>
                <a:gd name="connsiteX1" fmla="*/ 72969 w 80585"/>
                <a:gd name="connsiteY1" fmla="*/ 7741 h 116428"/>
                <a:gd name="connsiteX2" fmla="*/ 13833 w 80585"/>
                <a:gd name="connsiteY2" fmla="*/ 113562 h 116428"/>
                <a:gd name="connsiteX3" fmla="*/ 13833 w 80585"/>
                <a:gd name="connsiteY3" fmla="*/ 17077 h 116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85" h="116428">
                  <a:moveTo>
                    <a:pt x="13833" y="17077"/>
                  </a:moveTo>
                  <a:cubicBezTo>
                    <a:pt x="13833" y="17077"/>
                    <a:pt x="48070" y="-14046"/>
                    <a:pt x="72969" y="7741"/>
                  </a:cubicBezTo>
                  <a:cubicBezTo>
                    <a:pt x="97868" y="26415"/>
                    <a:pt x="57407" y="135348"/>
                    <a:pt x="13833" y="113562"/>
                  </a:cubicBezTo>
                  <a:cubicBezTo>
                    <a:pt x="-17291" y="94887"/>
                    <a:pt x="13833" y="17077"/>
                    <a:pt x="13833" y="17077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7B3B3DE-BA9A-4999-BC24-9FE8A9A5CB1D}"/>
                </a:ext>
              </a:extLst>
            </p:cNvPr>
            <p:cNvSpPr/>
            <p:nvPr/>
          </p:nvSpPr>
          <p:spPr>
            <a:xfrm>
              <a:off x="25460532" y="8324883"/>
              <a:ext cx="149396" cy="168069"/>
            </a:xfrm>
            <a:custGeom>
              <a:avLst/>
              <a:gdLst>
                <a:gd name="connsiteX0" fmla="*/ 6225 w 149396"/>
                <a:gd name="connsiteY0" fmla="*/ 168069 h 168069"/>
                <a:gd name="connsiteX1" fmla="*/ 6225 w 149396"/>
                <a:gd name="connsiteY1" fmla="*/ 168069 h 168069"/>
                <a:gd name="connsiteX2" fmla="*/ 0 w 149396"/>
                <a:gd name="connsiteY2" fmla="*/ 161845 h 168069"/>
                <a:gd name="connsiteX3" fmla="*/ 143171 w 149396"/>
                <a:gd name="connsiteY3" fmla="*/ 0 h 168069"/>
                <a:gd name="connsiteX4" fmla="*/ 149396 w 149396"/>
                <a:gd name="connsiteY4" fmla="*/ 3113 h 168069"/>
                <a:gd name="connsiteX5" fmla="*/ 146283 w 149396"/>
                <a:gd name="connsiteY5" fmla="*/ 9337 h 168069"/>
                <a:gd name="connsiteX6" fmla="*/ 12450 w 149396"/>
                <a:gd name="connsiteY6" fmla="*/ 161845 h 168069"/>
                <a:gd name="connsiteX7" fmla="*/ 6225 w 149396"/>
                <a:gd name="connsiteY7" fmla="*/ 168069 h 168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396" h="168069">
                  <a:moveTo>
                    <a:pt x="6225" y="168069"/>
                  </a:moveTo>
                  <a:cubicBezTo>
                    <a:pt x="6225" y="168069"/>
                    <a:pt x="6225" y="168069"/>
                    <a:pt x="6225" y="168069"/>
                  </a:cubicBezTo>
                  <a:cubicBezTo>
                    <a:pt x="3114" y="168069"/>
                    <a:pt x="0" y="164957"/>
                    <a:pt x="0" y="161845"/>
                  </a:cubicBezTo>
                  <a:cubicBezTo>
                    <a:pt x="24901" y="31124"/>
                    <a:pt x="143171" y="0"/>
                    <a:pt x="143171" y="0"/>
                  </a:cubicBezTo>
                  <a:cubicBezTo>
                    <a:pt x="146283" y="0"/>
                    <a:pt x="149396" y="0"/>
                    <a:pt x="149396" y="3113"/>
                  </a:cubicBezTo>
                  <a:cubicBezTo>
                    <a:pt x="149396" y="6225"/>
                    <a:pt x="149396" y="9337"/>
                    <a:pt x="146283" y="9337"/>
                  </a:cubicBezTo>
                  <a:cubicBezTo>
                    <a:pt x="146283" y="9337"/>
                    <a:pt x="37349" y="40461"/>
                    <a:pt x="12450" y="161845"/>
                  </a:cubicBezTo>
                  <a:cubicBezTo>
                    <a:pt x="12450" y="164957"/>
                    <a:pt x="9339" y="168069"/>
                    <a:pt x="6225" y="168069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BFDDC68B-13F2-4319-BF93-0A601D010024}"/>
                </a:ext>
              </a:extLst>
            </p:cNvPr>
            <p:cNvSpPr/>
            <p:nvPr/>
          </p:nvSpPr>
          <p:spPr>
            <a:xfrm>
              <a:off x="25947708" y="12286958"/>
              <a:ext cx="239179" cy="118775"/>
            </a:xfrm>
            <a:custGeom>
              <a:avLst/>
              <a:gdLst>
                <a:gd name="connsiteX0" fmla="*/ 228674 w 239179"/>
                <a:gd name="connsiteY0" fmla="*/ 0 h 118775"/>
                <a:gd name="connsiteX1" fmla="*/ 234899 w 239179"/>
                <a:gd name="connsiteY1" fmla="*/ 105821 h 118775"/>
                <a:gd name="connsiteX2" fmla="*/ 10807 w 239179"/>
                <a:gd name="connsiteY2" fmla="*/ 102709 h 118775"/>
                <a:gd name="connsiteX3" fmla="*/ 1470 w 239179"/>
                <a:gd name="connsiteY3" fmla="*/ 6224 h 118775"/>
                <a:gd name="connsiteX4" fmla="*/ 228674 w 239179"/>
                <a:gd name="connsiteY4" fmla="*/ 0 h 118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79" h="118775">
                  <a:moveTo>
                    <a:pt x="228674" y="0"/>
                  </a:moveTo>
                  <a:cubicBezTo>
                    <a:pt x="228674" y="0"/>
                    <a:pt x="247350" y="59135"/>
                    <a:pt x="234899" y="105821"/>
                  </a:cubicBezTo>
                  <a:cubicBezTo>
                    <a:pt x="234899" y="105821"/>
                    <a:pt x="175765" y="136945"/>
                    <a:pt x="10807" y="102709"/>
                  </a:cubicBezTo>
                  <a:cubicBezTo>
                    <a:pt x="10807" y="102709"/>
                    <a:pt x="-4755" y="52910"/>
                    <a:pt x="1470" y="6224"/>
                  </a:cubicBezTo>
                  <a:cubicBezTo>
                    <a:pt x="1470" y="9337"/>
                    <a:pt x="129079" y="28011"/>
                    <a:pt x="228674" y="0"/>
                  </a:cubicBezTo>
                  <a:close/>
                </a:path>
              </a:pathLst>
            </a:custGeom>
            <a:solidFill>
              <a:srgbClr val="F1DDB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D24AD2C2-47BF-4726-B03B-DD347D6EF346}"/>
                </a:ext>
              </a:extLst>
            </p:cNvPr>
            <p:cNvSpPr/>
            <p:nvPr/>
          </p:nvSpPr>
          <p:spPr>
            <a:xfrm>
              <a:off x="25339150" y="11854335"/>
              <a:ext cx="252102" cy="177406"/>
            </a:xfrm>
            <a:custGeom>
              <a:avLst/>
              <a:gdLst>
                <a:gd name="connsiteX0" fmla="*/ 205417 w 252102"/>
                <a:gd name="connsiteY0" fmla="*/ 0 h 177406"/>
                <a:gd name="connsiteX1" fmla="*/ 252103 w 252102"/>
                <a:gd name="connsiteY1" fmla="*/ 96484 h 177406"/>
                <a:gd name="connsiteX2" fmla="*/ 43572 w 252102"/>
                <a:gd name="connsiteY2" fmla="*/ 177407 h 177406"/>
                <a:gd name="connsiteX3" fmla="*/ 0 w 252102"/>
                <a:gd name="connsiteY3" fmla="*/ 90260 h 177406"/>
                <a:gd name="connsiteX4" fmla="*/ 205417 w 252102"/>
                <a:gd name="connsiteY4" fmla="*/ 0 h 177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102" h="177406">
                  <a:moveTo>
                    <a:pt x="205417" y="0"/>
                  </a:moveTo>
                  <a:cubicBezTo>
                    <a:pt x="205417" y="0"/>
                    <a:pt x="245878" y="49798"/>
                    <a:pt x="252103" y="96484"/>
                  </a:cubicBezTo>
                  <a:cubicBezTo>
                    <a:pt x="252103" y="96484"/>
                    <a:pt x="208531" y="149395"/>
                    <a:pt x="43572" y="177407"/>
                  </a:cubicBezTo>
                  <a:cubicBezTo>
                    <a:pt x="43572" y="177407"/>
                    <a:pt x="9337" y="136946"/>
                    <a:pt x="0" y="90260"/>
                  </a:cubicBezTo>
                  <a:cubicBezTo>
                    <a:pt x="0" y="93372"/>
                    <a:pt x="124496" y="62248"/>
                    <a:pt x="205417" y="0"/>
                  </a:cubicBezTo>
                  <a:close/>
                </a:path>
              </a:pathLst>
            </a:custGeom>
            <a:solidFill>
              <a:srgbClr val="F1DDB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29518802-6B7F-46C9-B7D2-445AE5B957D1}"/>
                </a:ext>
              </a:extLst>
            </p:cNvPr>
            <p:cNvGrpSpPr/>
            <p:nvPr/>
          </p:nvGrpSpPr>
          <p:grpSpPr>
            <a:xfrm>
              <a:off x="19546987" y="9507592"/>
              <a:ext cx="5166570" cy="3073015"/>
              <a:chOff x="19546987" y="9507592"/>
              <a:chExt cx="5166570" cy="3073015"/>
            </a:xfrm>
          </p:grpSpPr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869FEF4B-1AFF-433B-9983-00738A2156A6}"/>
                  </a:ext>
                </a:extLst>
              </p:cNvPr>
              <p:cNvSpPr/>
              <p:nvPr/>
            </p:nvSpPr>
            <p:spPr>
              <a:xfrm>
                <a:off x="19547169" y="12157918"/>
                <a:ext cx="129111" cy="270182"/>
              </a:xfrm>
              <a:custGeom>
                <a:avLst/>
                <a:gdLst>
                  <a:gd name="connsiteX0" fmla="*/ 114977 w 129111"/>
                  <a:gd name="connsiteY0" fmla="*/ 125928 h 270182"/>
                  <a:gd name="connsiteX1" fmla="*/ 58955 w 129111"/>
                  <a:gd name="connsiteY1" fmla="*/ 1432 h 270182"/>
                  <a:gd name="connsiteX2" fmla="*/ 58955 w 129111"/>
                  <a:gd name="connsiteY2" fmla="*/ 253536 h 270182"/>
                  <a:gd name="connsiteX3" fmla="*/ 96304 w 129111"/>
                  <a:gd name="connsiteY3" fmla="*/ 269098 h 270182"/>
                  <a:gd name="connsiteX4" fmla="*/ 111866 w 129111"/>
                  <a:gd name="connsiteY4" fmla="*/ 259760 h 270182"/>
                  <a:gd name="connsiteX5" fmla="*/ 114977 w 129111"/>
                  <a:gd name="connsiteY5" fmla="*/ 125928 h 270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9111" h="270182">
                    <a:moveTo>
                      <a:pt x="114977" y="125928"/>
                    </a:moveTo>
                    <a:cubicBezTo>
                      <a:pt x="108752" y="91691"/>
                      <a:pt x="108752" y="10769"/>
                      <a:pt x="58955" y="1432"/>
                    </a:cubicBezTo>
                    <a:cubicBezTo>
                      <a:pt x="-65541" y="-20355"/>
                      <a:pt x="43393" y="213074"/>
                      <a:pt x="58955" y="253536"/>
                    </a:cubicBezTo>
                    <a:cubicBezTo>
                      <a:pt x="65180" y="269098"/>
                      <a:pt x="80742" y="272209"/>
                      <a:pt x="96304" y="269098"/>
                    </a:cubicBezTo>
                    <a:cubicBezTo>
                      <a:pt x="102529" y="269098"/>
                      <a:pt x="105641" y="265985"/>
                      <a:pt x="111866" y="259760"/>
                    </a:cubicBezTo>
                    <a:cubicBezTo>
                      <a:pt x="142990" y="222412"/>
                      <a:pt x="124314" y="166388"/>
                      <a:pt x="114977" y="125928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1C77D4B5-BFF1-41C5-AB5C-C68C934ED5FB}"/>
                  </a:ext>
                </a:extLst>
              </p:cNvPr>
              <p:cNvSpPr/>
              <p:nvPr/>
            </p:nvSpPr>
            <p:spPr>
              <a:xfrm>
                <a:off x="24587378" y="11930713"/>
                <a:ext cx="116614" cy="270182"/>
              </a:xfrm>
              <a:custGeom>
                <a:avLst/>
                <a:gdLst>
                  <a:gd name="connsiteX0" fmla="*/ 14134 w 116614"/>
                  <a:gd name="connsiteY0" fmla="*/ 125927 h 270182"/>
                  <a:gd name="connsiteX1" fmla="*/ 63932 w 116614"/>
                  <a:gd name="connsiteY1" fmla="*/ 1432 h 270182"/>
                  <a:gd name="connsiteX2" fmla="*/ 63932 w 116614"/>
                  <a:gd name="connsiteY2" fmla="*/ 253536 h 270182"/>
                  <a:gd name="connsiteX3" fmla="*/ 29696 w 116614"/>
                  <a:gd name="connsiteY3" fmla="*/ 269098 h 270182"/>
                  <a:gd name="connsiteX4" fmla="*/ 17246 w 116614"/>
                  <a:gd name="connsiteY4" fmla="*/ 259761 h 270182"/>
                  <a:gd name="connsiteX5" fmla="*/ 14134 w 116614"/>
                  <a:gd name="connsiteY5" fmla="*/ 125927 h 270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6614" h="270182">
                    <a:moveTo>
                      <a:pt x="14134" y="125927"/>
                    </a:moveTo>
                    <a:cubicBezTo>
                      <a:pt x="20360" y="91692"/>
                      <a:pt x="20360" y="10770"/>
                      <a:pt x="63932" y="1432"/>
                    </a:cubicBezTo>
                    <a:cubicBezTo>
                      <a:pt x="175979" y="-20354"/>
                      <a:pt x="76382" y="213075"/>
                      <a:pt x="63932" y="253536"/>
                    </a:cubicBezTo>
                    <a:cubicBezTo>
                      <a:pt x="57709" y="269098"/>
                      <a:pt x="42147" y="272210"/>
                      <a:pt x="29696" y="269098"/>
                    </a:cubicBezTo>
                    <a:cubicBezTo>
                      <a:pt x="23471" y="269098"/>
                      <a:pt x="20360" y="265985"/>
                      <a:pt x="17246" y="259761"/>
                    </a:cubicBezTo>
                    <a:cubicBezTo>
                      <a:pt x="-13878" y="222412"/>
                      <a:pt x="4798" y="166389"/>
                      <a:pt x="14134" y="125927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40" name="图形 1">
                <a:extLst>
                  <a:ext uri="{FF2B5EF4-FFF2-40B4-BE49-F238E27FC236}">
                    <a16:creationId xmlns:a16="http://schemas.microsoft.com/office/drawing/2014/main" id="{72B6A3D7-7630-4B2F-B475-EC036C80E4C9}"/>
                  </a:ext>
                </a:extLst>
              </p:cNvPr>
              <p:cNvGrpSpPr/>
              <p:nvPr/>
            </p:nvGrpSpPr>
            <p:grpSpPr>
              <a:xfrm>
                <a:off x="19752008" y="9507592"/>
                <a:ext cx="4426219" cy="2891767"/>
                <a:chOff x="19752008" y="9507592"/>
                <a:chExt cx="4426219" cy="2891767"/>
              </a:xfrm>
            </p:grpSpPr>
            <p:sp>
              <p:nvSpPr>
                <p:cNvPr id="145" name="任意多边形: 形状 144">
                  <a:extLst>
                    <a:ext uri="{FF2B5EF4-FFF2-40B4-BE49-F238E27FC236}">
                      <a16:creationId xmlns:a16="http://schemas.microsoft.com/office/drawing/2014/main" id="{30BE80C9-CE22-4540-ABB4-52B0AC06A1F9}"/>
                    </a:ext>
                  </a:extLst>
                </p:cNvPr>
                <p:cNvSpPr/>
                <p:nvPr/>
              </p:nvSpPr>
              <p:spPr>
                <a:xfrm>
                  <a:off x="19792867" y="9541828"/>
                  <a:ext cx="3271123" cy="2857531"/>
                </a:xfrm>
                <a:custGeom>
                  <a:avLst/>
                  <a:gdLst>
                    <a:gd name="connsiteX0" fmla="*/ 130721 w 3271123"/>
                    <a:gd name="connsiteY0" fmla="*/ 2605073 h 2857531"/>
                    <a:gd name="connsiteX1" fmla="*/ 0 w 3271123"/>
                    <a:gd name="connsiteY1" fmla="*/ 1680692 h 2857531"/>
                    <a:gd name="connsiteX2" fmla="*/ 1621555 w 3271123"/>
                    <a:gd name="connsiteY2" fmla="*/ 0 h 2857531"/>
                    <a:gd name="connsiteX3" fmla="*/ 3271123 w 3271123"/>
                    <a:gd name="connsiteY3" fmla="*/ 1932796 h 2857531"/>
                    <a:gd name="connsiteX4" fmla="*/ 3068818 w 3271123"/>
                    <a:gd name="connsiteY4" fmla="*/ 2847839 h 2857531"/>
                    <a:gd name="connsiteX5" fmla="*/ 130721 w 3271123"/>
                    <a:gd name="connsiteY5" fmla="*/ 2605073 h 2857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71123" h="2857531">
                      <a:moveTo>
                        <a:pt x="130721" y="2605073"/>
                      </a:moveTo>
                      <a:cubicBezTo>
                        <a:pt x="130721" y="2605073"/>
                        <a:pt x="168070" y="1907896"/>
                        <a:pt x="0" y="1680692"/>
                      </a:cubicBezTo>
                      <a:cubicBezTo>
                        <a:pt x="0" y="1680692"/>
                        <a:pt x="1378789" y="718963"/>
                        <a:pt x="1621555" y="0"/>
                      </a:cubicBezTo>
                      <a:cubicBezTo>
                        <a:pt x="1621555" y="0"/>
                        <a:pt x="2639308" y="1584207"/>
                        <a:pt x="3271123" y="1932796"/>
                      </a:cubicBezTo>
                      <a:cubicBezTo>
                        <a:pt x="3271123" y="1932796"/>
                        <a:pt x="3019020" y="2443228"/>
                        <a:pt x="3068818" y="2847839"/>
                      </a:cubicBezTo>
                      <a:cubicBezTo>
                        <a:pt x="3068818" y="2850951"/>
                        <a:pt x="781210" y="2925649"/>
                        <a:pt x="130721" y="2605073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6" name="任意多边形: 形状 145">
                  <a:extLst>
                    <a:ext uri="{FF2B5EF4-FFF2-40B4-BE49-F238E27FC236}">
                      <a16:creationId xmlns:a16="http://schemas.microsoft.com/office/drawing/2014/main" id="{954B3C92-28CF-424A-AA0F-BAD5EF93CF88}"/>
                    </a:ext>
                  </a:extLst>
                </p:cNvPr>
                <p:cNvSpPr/>
                <p:nvPr/>
              </p:nvSpPr>
              <p:spPr>
                <a:xfrm>
                  <a:off x="22856509" y="11278543"/>
                  <a:ext cx="1321718" cy="1114236"/>
                </a:xfrm>
                <a:custGeom>
                  <a:avLst/>
                  <a:gdLst>
                    <a:gd name="connsiteX0" fmla="*/ 5175 w 1321718"/>
                    <a:gd name="connsiteY0" fmla="*/ 1114237 h 1114236"/>
                    <a:gd name="connsiteX1" fmla="*/ 954455 w 1321718"/>
                    <a:gd name="connsiteY1" fmla="*/ 849684 h 1114236"/>
                    <a:gd name="connsiteX2" fmla="*/ 1321719 w 1321718"/>
                    <a:gd name="connsiteY2" fmla="*/ 0 h 1114236"/>
                    <a:gd name="connsiteX3" fmla="*/ 207481 w 1321718"/>
                    <a:gd name="connsiteY3" fmla="*/ 199194 h 1114236"/>
                    <a:gd name="connsiteX4" fmla="*/ 5175 w 1321718"/>
                    <a:gd name="connsiteY4" fmla="*/ 1114237 h 1114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21718" h="1114236">
                      <a:moveTo>
                        <a:pt x="5175" y="1114237"/>
                      </a:moveTo>
                      <a:cubicBezTo>
                        <a:pt x="5175" y="1114237"/>
                        <a:pt x="708577" y="887032"/>
                        <a:pt x="954455" y="849684"/>
                      </a:cubicBezTo>
                      <a:cubicBezTo>
                        <a:pt x="954455" y="849684"/>
                        <a:pt x="1116300" y="273891"/>
                        <a:pt x="1321719" y="0"/>
                      </a:cubicBezTo>
                      <a:cubicBezTo>
                        <a:pt x="1321719" y="0"/>
                        <a:pt x="453361" y="84035"/>
                        <a:pt x="207481" y="199194"/>
                      </a:cubicBezTo>
                      <a:cubicBezTo>
                        <a:pt x="207481" y="199194"/>
                        <a:pt x="-38397" y="678502"/>
                        <a:pt x="5175" y="1114237"/>
                      </a:cubicBezTo>
                      <a:close/>
                    </a:path>
                  </a:pathLst>
                </a:custGeom>
                <a:solidFill>
                  <a:srgbClr val="EACFA4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7" name="任意多边形: 形状 146">
                  <a:extLst>
                    <a:ext uri="{FF2B5EF4-FFF2-40B4-BE49-F238E27FC236}">
                      <a16:creationId xmlns:a16="http://schemas.microsoft.com/office/drawing/2014/main" id="{C7CAE0CC-0B00-4313-8C48-E97E5C5E7C47}"/>
                    </a:ext>
                  </a:extLst>
                </p:cNvPr>
                <p:cNvSpPr/>
                <p:nvPr/>
              </p:nvSpPr>
              <p:spPr>
                <a:xfrm>
                  <a:off x="21414422" y="9541828"/>
                  <a:ext cx="2763805" cy="1932811"/>
                </a:xfrm>
                <a:custGeom>
                  <a:avLst/>
                  <a:gdLst>
                    <a:gd name="connsiteX0" fmla="*/ 0 w 2763805"/>
                    <a:gd name="connsiteY0" fmla="*/ 0 h 1932811"/>
                    <a:gd name="connsiteX1" fmla="*/ 1036428 w 2763805"/>
                    <a:gd name="connsiteY1" fmla="*/ 121383 h 1932811"/>
                    <a:gd name="connsiteX2" fmla="*/ 2763806 w 2763805"/>
                    <a:gd name="connsiteY2" fmla="*/ 1733603 h 1932811"/>
                    <a:gd name="connsiteX3" fmla="*/ 1649568 w 2763805"/>
                    <a:gd name="connsiteY3" fmla="*/ 1932796 h 1932811"/>
                    <a:gd name="connsiteX4" fmla="*/ 0 w 2763805"/>
                    <a:gd name="connsiteY4" fmla="*/ 0 h 19328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63805" h="1932811">
                      <a:moveTo>
                        <a:pt x="0" y="0"/>
                      </a:moveTo>
                      <a:cubicBezTo>
                        <a:pt x="0" y="0"/>
                        <a:pt x="432623" y="152507"/>
                        <a:pt x="1036428" y="121383"/>
                      </a:cubicBezTo>
                      <a:cubicBezTo>
                        <a:pt x="1036428" y="121383"/>
                        <a:pt x="2160001" y="1490836"/>
                        <a:pt x="2763806" y="1733603"/>
                      </a:cubicBezTo>
                      <a:cubicBezTo>
                        <a:pt x="2763806" y="1733603"/>
                        <a:pt x="2047955" y="1814524"/>
                        <a:pt x="1649568" y="1932796"/>
                      </a:cubicBezTo>
                      <a:cubicBezTo>
                        <a:pt x="1649568" y="1935908"/>
                        <a:pt x="887032" y="1490836"/>
                        <a:pt x="0" y="0"/>
                      </a:cubicBezTo>
                      <a:close/>
                    </a:path>
                  </a:pathLst>
                </a:custGeom>
                <a:solidFill>
                  <a:srgbClr val="FCE8CA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0F0EB6D8-2C1C-46E7-B0B7-7B0628EAE060}"/>
                    </a:ext>
                  </a:extLst>
                </p:cNvPr>
                <p:cNvSpPr/>
                <p:nvPr/>
              </p:nvSpPr>
              <p:spPr>
                <a:xfrm>
                  <a:off x="19752008" y="9507592"/>
                  <a:ext cx="3349729" cy="2007492"/>
                </a:xfrm>
                <a:custGeom>
                  <a:avLst/>
                  <a:gdLst>
                    <a:gd name="connsiteX0" fmla="*/ 3311982 w 3349729"/>
                    <a:gd name="connsiteY0" fmla="*/ 2007493 h 2007492"/>
                    <a:gd name="connsiteX1" fmla="*/ 3290197 w 3349729"/>
                    <a:gd name="connsiteY1" fmla="*/ 2001269 h 2007492"/>
                    <a:gd name="connsiteX2" fmla="*/ 1668639 w 3349729"/>
                    <a:gd name="connsiteY2" fmla="*/ 121384 h 2007492"/>
                    <a:gd name="connsiteX3" fmla="*/ 59532 w 3349729"/>
                    <a:gd name="connsiteY3" fmla="*/ 1746052 h 2007492"/>
                    <a:gd name="connsiteX4" fmla="*/ 6623 w 3349729"/>
                    <a:gd name="connsiteY4" fmla="*/ 1736715 h 2007492"/>
                    <a:gd name="connsiteX5" fmla="*/ 15960 w 3349729"/>
                    <a:gd name="connsiteY5" fmla="*/ 1683804 h 2007492"/>
                    <a:gd name="connsiteX6" fmla="*/ 1625067 w 3349729"/>
                    <a:gd name="connsiteY6" fmla="*/ 24899 h 2007492"/>
                    <a:gd name="connsiteX7" fmla="*/ 1656191 w 3349729"/>
                    <a:gd name="connsiteY7" fmla="*/ 0 h 2007492"/>
                    <a:gd name="connsiteX8" fmla="*/ 1693538 w 3349729"/>
                    <a:gd name="connsiteY8" fmla="*/ 18675 h 2007492"/>
                    <a:gd name="connsiteX9" fmla="*/ 3333769 w 3349729"/>
                    <a:gd name="connsiteY9" fmla="*/ 1942132 h 2007492"/>
                    <a:gd name="connsiteX10" fmla="*/ 3343106 w 3349729"/>
                    <a:gd name="connsiteY10" fmla="*/ 1995043 h 2007492"/>
                    <a:gd name="connsiteX11" fmla="*/ 3311982 w 3349729"/>
                    <a:gd name="connsiteY11" fmla="*/ 2007493 h 2007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349729" h="2007492">
                      <a:moveTo>
                        <a:pt x="3311982" y="2007493"/>
                      </a:moveTo>
                      <a:cubicBezTo>
                        <a:pt x="3305759" y="2007493"/>
                        <a:pt x="3296420" y="2004380"/>
                        <a:pt x="3290197" y="2001269"/>
                      </a:cubicBezTo>
                      <a:cubicBezTo>
                        <a:pt x="2527661" y="1469049"/>
                        <a:pt x="1839821" y="398387"/>
                        <a:pt x="1668639" y="121384"/>
                      </a:cubicBezTo>
                      <a:cubicBezTo>
                        <a:pt x="1348063" y="868357"/>
                        <a:pt x="112443" y="1708703"/>
                        <a:pt x="59532" y="1746052"/>
                      </a:cubicBezTo>
                      <a:cubicBezTo>
                        <a:pt x="40859" y="1758502"/>
                        <a:pt x="19072" y="1752277"/>
                        <a:pt x="6623" y="1736715"/>
                      </a:cubicBezTo>
                      <a:cubicBezTo>
                        <a:pt x="-5827" y="1718041"/>
                        <a:pt x="398" y="1696254"/>
                        <a:pt x="15960" y="1683804"/>
                      </a:cubicBezTo>
                      <a:cubicBezTo>
                        <a:pt x="28409" y="1674467"/>
                        <a:pt x="1366737" y="762536"/>
                        <a:pt x="1625067" y="24899"/>
                      </a:cubicBezTo>
                      <a:cubicBezTo>
                        <a:pt x="1631290" y="12450"/>
                        <a:pt x="1643741" y="0"/>
                        <a:pt x="1656191" y="0"/>
                      </a:cubicBezTo>
                      <a:cubicBezTo>
                        <a:pt x="1671753" y="0"/>
                        <a:pt x="1684201" y="6225"/>
                        <a:pt x="1693538" y="18675"/>
                      </a:cubicBezTo>
                      <a:cubicBezTo>
                        <a:pt x="1699763" y="31124"/>
                        <a:pt x="2471636" y="1338329"/>
                        <a:pt x="3333769" y="1942132"/>
                      </a:cubicBezTo>
                      <a:cubicBezTo>
                        <a:pt x="3349331" y="1954583"/>
                        <a:pt x="3355556" y="1976369"/>
                        <a:pt x="3343106" y="1995043"/>
                      </a:cubicBezTo>
                      <a:cubicBezTo>
                        <a:pt x="3336883" y="2001269"/>
                        <a:pt x="3324432" y="2007493"/>
                        <a:pt x="3311982" y="2007493"/>
                      </a:cubicBezTo>
                      <a:close/>
                    </a:path>
                  </a:pathLst>
                </a:custGeom>
                <a:solidFill>
                  <a:srgbClr val="EACFA4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9" name="任意多边形: 形状 148">
                  <a:extLst>
                    <a:ext uri="{FF2B5EF4-FFF2-40B4-BE49-F238E27FC236}">
                      <a16:creationId xmlns:a16="http://schemas.microsoft.com/office/drawing/2014/main" id="{7E90E657-C26F-491A-8A5D-27FC14986B8F}"/>
                    </a:ext>
                  </a:extLst>
                </p:cNvPr>
                <p:cNvSpPr/>
                <p:nvPr/>
              </p:nvSpPr>
              <p:spPr>
                <a:xfrm>
                  <a:off x="21349137" y="9619638"/>
                  <a:ext cx="77735" cy="2776253"/>
                </a:xfrm>
                <a:custGeom>
                  <a:avLst/>
                  <a:gdLst>
                    <a:gd name="connsiteX0" fmla="*/ 65285 w 77735"/>
                    <a:gd name="connsiteY0" fmla="*/ 2776254 h 2776253"/>
                    <a:gd name="connsiteX1" fmla="*/ 59062 w 77735"/>
                    <a:gd name="connsiteY1" fmla="*/ 2770029 h 2776253"/>
                    <a:gd name="connsiteX2" fmla="*/ 65285 w 77735"/>
                    <a:gd name="connsiteY2" fmla="*/ 6225 h 2776253"/>
                    <a:gd name="connsiteX3" fmla="*/ 71510 w 77735"/>
                    <a:gd name="connsiteY3" fmla="*/ 0 h 2776253"/>
                    <a:gd name="connsiteX4" fmla="*/ 77736 w 77735"/>
                    <a:gd name="connsiteY4" fmla="*/ 6225 h 2776253"/>
                    <a:gd name="connsiteX5" fmla="*/ 71510 w 77735"/>
                    <a:gd name="connsiteY5" fmla="*/ 2766916 h 2776253"/>
                    <a:gd name="connsiteX6" fmla="*/ 65285 w 77735"/>
                    <a:gd name="connsiteY6" fmla="*/ 2776254 h 2776253"/>
                    <a:gd name="connsiteX7" fmla="*/ 65285 w 77735"/>
                    <a:gd name="connsiteY7" fmla="*/ 2776254 h 27762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7735" h="2776253">
                      <a:moveTo>
                        <a:pt x="65285" y="2776254"/>
                      </a:moveTo>
                      <a:cubicBezTo>
                        <a:pt x="62174" y="2776254"/>
                        <a:pt x="59062" y="2773142"/>
                        <a:pt x="59062" y="2770029"/>
                      </a:cubicBezTo>
                      <a:cubicBezTo>
                        <a:pt x="59062" y="2757580"/>
                        <a:pt x="-77884" y="1559309"/>
                        <a:pt x="65285" y="6225"/>
                      </a:cubicBezTo>
                      <a:cubicBezTo>
                        <a:pt x="65285" y="3113"/>
                        <a:pt x="68399" y="0"/>
                        <a:pt x="71510" y="0"/>
                      </a:cubicBezTo>
                      <a:cubicBezTo>
                        <a:pt x="74624" y="0"/>
                        <a:pt x="77736" y="3113"/>
                        <a:pt x="77736" y="6225"/>
                      </a:cubicBezTo>
                      <a:cubicBezTo>
                        <a:pt x="-68547" y="1559309"/>
                        <a:pt x="68399" y="2754467"/>
                        <a:pt x="71510" y="2766916"/>
                      </a:cubicBezTo>
                      <a:cubicBezTo>
                        <a:pt x="71510" y="2773142"/>
                        <a:pt x="68399" y="2776254"/>
                        <a:pt x="65285" y="2776254"/>
                      </a:cubicBezTo>
                      <a:cubicBezTo>
                        <a:pt x="65285" y="2776254"/>
                        <a:pt x="65285" y="2776254"/>
                        <a:pt x="65285" y="2776254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0ED69BEB-9B3E-4A6A-A12E-F8CDCCF34890}"/>
                  </a:ext>
                </a:extLst>
              </p:cNvPr>
              <p:cNvSpPr/>
              <p:nvPr/>
            </p:nvSpPr>
            <p:spPr>
              <a:xfrm>
                <a:off x="19546987" y="11244307"/>
                <a:ext cx="362683" cy="1104899"/>
              </a:xfrm>
              <a:custGeom>
                <a:avLst/>
                <a:gdLst>
                  <a:gd name="connsiteX0" fmla="*/ 34237 w 362683"/>
                  <a:gd name="connsiteY0" fmla="*/ 1104899 h 1104899"/>
                  <a:gd name="connsiteX1" fmla="*/ 28012 w 362683"/>
                  <a:gd name="connsiteY1" fmla="*/ 1098674 h 1104899"/>
                  <a:gd name="connsiteX2" fmla="*/ 34237 w 362683"/>
                  <a:gd name="connsiteY2" fmla="*/ 1092449 h 1104899"/>
                  <a:gd name="connsiteX3" fmla="*/ 102710 w 362683"/>
                  <a:gd name="connsiteY3" fmla="*/ 1045763 h 1104899"/>
                  <a:gd name="connsiteX4" fmla="*/ 99597 w 362683"/>
                  <a:gd name="connsiteY4" fmla="*/ 1045763 h 1104899"/>
                  <a:gd name="connsiteX5" fmla="*/ 3114 w 362683"/>
                  <a:gd name="connsiteY5" fmla="*/ 1008415 h 1104899"/>
                  <a:gd name="connsiteX6" fmla="*/ 0 w 362683"/>
                  <a:gd name="connsiteY6" fmla="*/ 1002190 h 1104899"/>
                  <a:gd name="connsiteX7" fmla="*/ 6225 w 362683"/>
                  <a:gd name="connsiteY7" fmla="*/ 999077 h 1104899"/>
                  <a:gd name="connsiteX8" fmla="*/ 105822 w 362683"/>
                  <a:gd name="connsiteY8" fmla="*/ 977291 h 1104899"/>
                  <a:gd name="connsiteX9" fmla="*/ 108934 w 362683"/>
                  <a:gd name="connsiteY9" fmla="*/ 977291 h 1104899"/>
                  <a:gd name="connsiteX10" fmla="*/ 301902 w 362683"/>
                  <a:gd name="connsiteY10" fmla="*/ 977291 h 1104899"/>
                  <a:gd name="connsiteX11" fmla="*/ 333026 w 362683"/>
                  <a:gd name="connsiteY11" fmla="*/ 460634 h 1104899"/>
                  <a:gd name="connsiteX12" fmla="*/ 258330 w 362683"/>
                  <a:gd name="connsiteY12" fmla="*/ 6224 h 1104899"/>
                  <a:gd name="connsiteX13" fmla="*/ 261442 w 362683"/>
                  <a:gd name="connsiteY13" fmla="*/ 0 h 1104899"/>
                  <a:gd name="connsiteX14" fmla="*/ 267667 w 362683"/>
                  <a:gd name="connsiteY14" fmla="*/ 3112 h 1104899"/>
                  <a:gd name="connsiteX15" fmla="*/ 305016 w 362683"/>
                  <a:gd name="connsiteY15" fmla="*/ 983515 h 1104899"/>
                  <a:gd name="connsiteX16" fmla="*/ 102710 w 362683"/>
                  <a:gd name="connsiteY16" fmla="*/ 983515 h 1104899"/>
                  <a:gd name="connsiteX17" fmla="*/ 18675 w 362683"/>
                  <a:gd name="connsiteY17" fmla="*/ 1002190 h 1104899"/>
                  <a:gd name="connsiteX18" fmla="*/ 112047 w 362683"/>
                  <a:gd name="connsiteY18" fmla="*/ 1027089 h 1104899"/>
                  <a:gd name="connsiteX19" fmla="*/ 118272 w 362683"/>
                  <a:gd name="connsiteY19" fmla="*/ 1030201 h 1104899"/>
                  <a:gd name="connsiteX20" fmla="*/ 118272 w 362683"/>
                  <a:gd name="connsiteY20" fmla="*/ 1036426 h 1104899"/>
                  <a:gd name="connsiteX21" fmla="*/ 34237 w 362683"/>
                  <a:gd name="connsiteY21" fmla="*/ 1104899 h 1104899"/>
                  <a:gd name="connsiteX22" fmla="*/ 34237 w 362683"/>
                  <a:gd name="connsiteY22" fmla="*/ 1104899 h 110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62683" h="1104899">
                    <a:moveTo>
                      <a:pt x="34237" y="1104899"/>
                    </a:moveTo>
                    <a:cubicBezTo>
                      <a:pt x="31124" y="1104899"/>
                      <a:pt x="28012" y="1101787"/>
                      <a:pt x="28012" y="1098674"/>
                    </a:cubicBezTo>
                    <a:cubicBezTo>
                      <a:pt x="28012" y="1095561"/>
                      <a:pt x="31124" y="1092449"/>
                      <a:pt x="34237" y="1092449"/>
                    </a:cubicBezTo>
                    <a:cubicBezTo>
                      <a:pt x="62248" y="1086225"/>
                      <a:pt x="90260" y="1061325"/>
                      <a:pt x="102710" y="1045763"/>
                    </a:cubicBezTo>
                    <a:cubicBezTo>
                      <a:pt x="102710" y="1045763"/>
                      <a:pt x="99597" y="1045763"/>
                      <a:pt x="99597" y="1045763"/>
                    </a:cubicBezTo>
                    <a:cubicBezTo>
                      <a:pt x="52911" y="1045763"/>
                      <a:pt x="6225" y="1011527"/>
                      <a:pt x="3114" y="1008415"/>
                    </a:cubicBezTo>
                    <a:cubicBezTo>
                      <a:pt x="0" y="1008415"/>
                      <a:pt x="0" y="1005302"/>
                      <a:pt x="0" y="1002190"/>
                    </a:cubicBezTo>
                    <a:cubicBezTo>
                      <a:pt x="0" y="999077"/>
                      <a:pt x="3114" y="999077"/>
                      <a:pt x="6225" y="999077"/>
                    </a:cubicBezTo>
                    <a:cubicBezTo>
                      <a:pt x="34237" y="995965"/>
                      <a:pt x="105822" y="977291"/>
                      <a:pt x="105822" y="977291"/>
                    </a:cubicBezTo>
                    <a:cubicBezTo>
                      <a:pt x="105822" y="977291"/>
                      <a:pt x="108934" y="977291"/>
                      <a:pt x="108934" y="977291"/>
                    </a:cubicBezTo>
                    <a:cubicBezTo>
                      <a:pt x="108934" y="977291"/>
                      <a:pt x="205419" y="1039539"/>
                      <a:pt x="301902" y="977291"/>
                    </a:cubicBezTo>
                    <a:cubicBezTo>
                      <a:pt x="357925" y="939942"/>
                      <a:pt x="370375" y="762536"/>
                      <a:pt x="333026" y="460634"/>
                    </a:cubicBezTo>
                    <a:cubicBezTo>
                      <a:pt x="305016" y="230317"/>
                      <a:pt x="258330" y="9337"/>
                      <a:pt x="258330" y="6224"/>
                    </a:cubicBezTo>
                    <a:cubicBezTo>
                      <a:pt x="258330" y="3112"/>
                      <a:pt x="258330" y="0"/>
                      <a:pt x="261442" y="0"/>
                    </a:cubicBezTo>
                    <a:cubicBezTo>
                      <a:pt x="264553" y="0"/>
                      <a:pt x="267667" y="0"/>
                      <a:pt x="267667" y="3112"/>
                    </a:cubicBezTo>
                    <a:cubicBezTo>
                      <a:pt x="273892" y="40461"/>
                      <a:pt x="451297" y="893256"/>
                      <a:pt x="305016" y="983515"/>
                    </a:cubicBezTo>
                    <a:cubicBezTo>
                      <a:pt x="211644" y="1042651"/>
                      <a:pt x="118272" y="992853"/>
                      <a:pt x="102710" y="983515"/>
                    </a:cubicBezTo>
                    <a:cubicBezTo>
                      <a:pt x="93372" y="986628"/>
                      <a:pt x="46686" y="995965"/>
                      <a:pt x="18675" y="1002190"/>
                    </a:cubicBezTo>
                    <a:cubicBezTo>
                      <a:pt x="37349" y="1014639"/>
                      <a:pt x="77810" y="1033314"/>
                      <a:pt x="112047" y="1027089"/>
                    </a:cubicBezTo>
                    <a:cubicBezTo>
                      <a:pt x="115159" y="1027089"/>
                      <a:pt x="118272" y="1027089"/>
                      <a:pt x="118272" y="1030201"/>
                    </a:cubicBezTo>
                    <a:cubicBezTo>
                      <a:pt x="118272" y="1033314"/>
                      <a:pt x="118272" y="1033314"/>
                      <a:pt x="118272" y="1036426"/>
                    </a:cubicBezTo>
                    <a:cubicBezTo>
                      <a:pt x="118272" y="1045763"/>
                      <a:pt x="80923" y="1098674"/>
                      <a:pt x="34237" y="1104899"/>
                    </a:cubicBezTo>
                    <a:cubicBezTo>
                      <a:pt x="34237" y="1104899"/>
                      <a:pt x="34237" y="1104899"/>
                      <a:pt x="34237" y="1104899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BFEF84BC-27D4-4E4E-B228-0CFD653469D8}"/>
                  </a:ext>
                </a:extLst>
              </p:cNvPr>
              <p:cNvSpPr/>
              <p:nvPr/>
            </p:nvSpPr>
            <p:spPr>
              <a:xfrm>
                <a:off x="24144718" y="11275431"/>
                <a:ext cx="568839" cy="849682"/>
              </a:xfrm>
              <a:custGeom>
                <a:avLst/>
                <a:gdLst>
                  <a:gd name="connsiteX0" fmla="*/ 531492 w 568839"/>
                  <a:gd name="connsiteY0" fmla="*/ 849683 h 849682"/>
                  <a:gd name="connsiteX1" fmla="*/ 531492 w 568839"/>
                  <a:gd name="connsiteY1" fmla="*/ 849683 h 849682"/>
                  <a:gd name="connsiteX2" fmla="*/ 450569 w 568839"/>
                  <a:gd name="connsiteY2" fmla="*/ 784322 h 849682"/>
                  <a:gd name="connsiteX3" fmla="*/ 450569 w 568839"/>
                  <a:gd name="connsiteY3" fmla="*/ 778098 h 849682"/>
                  <a:gd name="connsiteX4" fmla="*/ 456794 w 568839"/>
                  <a:gd name="connsiteY4" fmla="*/ 774985 h 849682"/>
                  <a:gd name="connsiteX5" fmla="*/ 550166 w 568839"/>
                  <a:gd name="connsiteY5" fmla="*/ 734524 h 849682"/>
                  <a:gd name="connsiteX6" fmla="*/ 469244 w 568839"/>
                  <a:gd name="connsiteY6" fmla="*/ 722074 h 849682"/>
                  <a:gd name="connsiteX7" fmla="*/ 341635 w 568839"/>
                  <a:gd name="connsiteY7" fmla="*/ 774985 h 849682"/>
                  <a:gd name="connsiteX8" fmla="*/ 89532 w 568839"/>
                  <a:gd name="connsiteY8" fmla="*/ 762536 h 849682"/>
                  <a:gd name="connsiteX9" fmla="*/ 30396 w 568839"/>
                  <a:gd name="connsiteY9" fmla="*/ 6224 h 849682"/>
                  <a:gd name="connsiteX10" fmla="*/ 36621 w 568839"/>
                  <a:gd name="connsiteY10" fmla="*/ 0 h 849682"/>
                  <a:gd name="connsiteX11" fmla="*/ 42846 w 568839"/>
                  <a:gd name="connsiteY11" fmla="*/ 6224 h 849682"/>
                  <a:gd name="connsiteX12" fmla="*/ 95757 w 568839"/>
                  <a:gd name="connsiteY12" fmla="*/ 753198 h 849682"/>
                  <a:gd name="connsiteX13" fmla="*/ 469244 w 568839"/>
                  <a:gd name="connsiteY13" fmla="*/ 712738 h 849682"/>
                  <a:gd name="connsiteX14" fmla="*/ 475467 w 568839"/>
                  <a:gd name="connsiteY14" fmla="*/ 712738 h 849682"/>
                  <a:gd name="connsiteX15" fmla="*/ 559502 w 568839"/>
                  <a:gd name="connsiteY15" fmla="*/ 722074 h 849682"/>
                  <a:gd name="connsiteX16" fmla="*/ 565728 w 568839"/>
                  <a:gd name="connsiteY16" fmla="*/ 722074 h 849682"/>
                  <a:gd name="connsiteX17" fmla="*/ 568839 w 568839"/>
                  <a:gd name="connsiteY17" fmla="*/ 728300 h 849682"/>
                  <a:gd name="connsiteX18" fmla="*/ 469244 w 568839"/>
                  <a:gd name="connsiteY18" fmla="*/ 790547 h 849682"/>
                  <a:gd name="connsiteX19" fmla="*/ 534604 w 568839"/>
                  <a:gd name="connsiteY19" fmla="*/ 840346 h 849682"/>
                  <a:gd name="connsiteX20" fmla="*/ 537715 w 568839"/>
                  <a:gd name="connsiteY20" fmla="*/ 846570 h 849682"/>
                  <a:gd name="connsiteX21" fmla="*/ 531492 w 568839"/>
                  <a:gd name="connsiteY21" fmla="*/ 849683 h 849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68839" h="849682">
                    <a:moveTo>
                      <a:pt x="531492" y="849683"/>
                    </a:moveTo>
                    <a:cubicBezTo>
                      <a:pt x="528379" y="849683"/>
                      <a:pt x="528379" y="849683"/>
                      <a:pt x="531492" y="849683"/>
                    </a:cubicBezTo>
                    <a:cubicBezTo>
                      <a:pt x="466131" y="831008"/>
                      <a:pt x="450569" y="784322"/>
                      <a:pt x="450569" y="784322"/>
                    </a:cubicBezTo>
                    <a:cubicBezTo>
                      <a:pt x="450569" y="781210"/>
                      <a:pt x="450569" y="781210"/>
                      <a:pt x="450569" y="778098"/>
                    </a:cubicBezTo>
                    <a:cubicBezTo>
                      <a:pt x="450569" y="778098"/>
                      <a:pt x="453682" y="774985"/>
                      <a:pt x="456794" y="774985"/>
                    </a:cubicBezTo>
                    <a:cubicBezTo>
                      <a:pt x="515930" y="784322"/>
                      <a:pt x="540829" y="753198"/>
                      <a:pt x="550166" y="734524"/>
                    </a:cubicBezTo>
                    <a:cubicBezTo>
                      <a:pt x="519042" y="743862"/>
                      <a:pt x="481693" y="728300"/>
                      <a:pt x="469244" y="722074"/>
                    </a:cubicBezTo>
                    <a:cubicBezTo>
                      <a:pt x="456794" y="728300"/>
                      <a:pt x="406996" y="756311"/>
                      <a:pt x="341635" y="774985"/>
                    </a:cubicBezTo>
                    <a:cubicBezTo>
                      <a:pt x="242038" y="802997"/>
                      <a:pt x="154891" y="799884"/>
                      <a:pt x="89532" y="762536"/>
                    </a:cubicBezTo>
                    <a:cubicBezTo>
                      <a:pt x="-62976" y="678501"/>
                      <a:pt x="24171" y="31124"/>
                      <a:pt x="30396" y="6224"/>
                    </a:cubicBezTo>
                    <a:cubicBezTo>
                      <a:pt x="30396" y="3112"/>
                      <a:pt x="33509" y="0"/>
                      <a:pt x="36621" y="0"/>
                    </a:cubicBezTo>
                    <a:cubicBezTo>
                      <a:pt x="39733" y="0"/>
                      <a:pt x="42846" y="3112"/>
                      <a:pt x="42846" y="6224"/>
                    </a:cubicBezTo>
                    <a:cubicBezTo>
                      <a:pt x="42846" y="12449"/>
                      <a:pt x="-47414" y="672276"/>
                      <a:pt x="95757" y="753198"/>
                    </a:cubicBezTo>
                    <a:cubicBezTo>
                      <a:pt x="248263" y="837233"/>
                      <a:pt x="466131" y="712738"/>
                      <a:pt x="469244" y="712738"/>
                    </a:cubicBezTo>
                    <a:cubicBezTo>
                      <a:pt x="472356" y="712738"/>
                      <a:pt x="472356" y="712738"/>
                      <a:pt x="475467" y="712738"/>
                    </a:cubicBezTo>
                    <a:cubicBezTo>
                      <a:pt x="475467" y="712738"/>
                      <a:pt x="525267" y="743862"/>
                      <a:pt x="559502" y="722074"/>
                    </a:cubicBezTo>
                    <a:cubicBezTo>
                      <a:pt x="562616" y="722074"/>
                      <a:pt x="562616" y="722074"/>
                      <a:pt x="565728" y="722074"/>
                    </a:cubicBezTo>
                    <a:cubicBezTo>
                      <a:pt x="568839" y="722074"/>
                      <a:pt x="568839" y="725187"/>
                      <a:pt x="568839" y="728300"/>
                    </a:cubicBezTo>
                    <a:cubicBezTo>
                      <a:pt x="568839" y="728300"/>
                      <a:pt x="553277" y="799884"/>
                      <a:pt x="469244" y="790547"/>
                    </a:cubicBezTo>
                    <a:cubicBezTo>
                      <a:pt x="475467" y="802997"/>
                      <a:pt x="494143" y="827896"/>
                      <a:pt x="534604" y="840346"/>
                    </a:cubicBezTo>
                    <a:cubicBezTo>
                      <a:pt x="537715" y="840346"/>
                      <a:pt x="540829" y="843457"/>
                      <a:pt x="537715" y="846570"/>
                    </a:cubicBezTo>
                    <a:cubicBezTo>
                      <a:pt x="534604" y="846570"/>
                      <a:pt x="531492" y="849683"/>
                      <a:pt x="531492" y="84968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997CA706-8C42-44F4-9CBA-B80F1F652E84}"/>
                  </a:ext>
                </a:extLst>
              </p:cNvPr>
              <p:cNvSpPr/>
              <p:nvPr/>
            </p:nvSpPr>
            <p:spPr>
              <a:xfrm>
                <a:off x="23540759" y="12310425"/>
                <a:ext cx="115116" cy="270182"/>
              </a:xfrm>
              <a:custGeom>
                <a:avLst/>
                <a:gdLst>
                  <a:gd name="connsiteX0" fmla="*/ 11877 w 115116"/>
                  <a:gd name="connsiteY0" fmla="*/ 125928 h 270182"/>
                  <a:gd name="connsiteX1" fmla="*/ 61677 w 115116"/>
                  <a:gd name="connsiteY1" fmla="*/ 1432 h 270182"/>
                  <a:gd name="connsiteX2" fmla="*/ 61677 w 115116"/>
                  <a:gd name="connsiteY2" fmla="*/ 253536 h 270182"/>
                  <a:gd name="connsiteX3" fmla="*/ 27439 w 115116"/>
                  <a:gd name="connsiteY3" fmla="*/ 269098 h 270182"/>
                  <a:gd name="connsiteX4" fmla="*/ 14991 w 115116"/>
                  <a:gd name="connsiteY4" fmla="*/ 259760 h 270182"/>
                  <a:gd name="connsiteX5" fmla="*/ 11877 w 115116"/>
                  <a:gd name="connsiteY5" fmla="*/ 125928 h 270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16" h="270182">
                    <a:moveTo>
                      <a:pt x="11877" y="125928"/>
                    </a:moveTo>
                    <a:cubicBezTo>
                      <a:pt x="18102" y="91691"/>
                      <a:pt x="18102" y="10769"/>
                      <a:pt x="61677" y="1432"/>
                    </a:cubicBezTo>
                    <a:cubicBezTo>
                      <a:pt x="173722" y="-20355"/>
                      <a:pt x="77238" y="213074"/>
                      <a:pt x="61677" y="253536"/>
                    </a:cubicBezTo>
                    <a:cubicBezTo>
                      <a:pt x="55451" y="269098"/>
                      <a:pt x="39889" y="272210"/>
                      <a:pt x="27439" y="269098"/>
                    </a:cubicBezTo>
                    <a:cubicBezTo>
                      <a:pt x="21214" y="269098"/>
                      <a:pt x="18102" y="265985"/>
                      <a:pt x="14991" y="259760"/>
                    </a:cubicBezTo>
                    <a:cubicBezTo>
                      <a:pt x="-13022" y="222412"/>
                      <a:pt x="5652" y="166388"/>
                      <a:pt x="11877" y="125928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098F0556-7E28-4615-9DB8-60EAA849C9F1}"/>
                  </a:ext>
                </a:extLst>
              </p:cNvPr>
              <p:cNvSpPr/>
              <p:nvPr/>
            </p:nvSpPr>
            <p:spPr>
              <a:xfrm>
                <a:off x="23056258" y="11471511"/>
                <a:ext cx="608425" cy="1030201"/>
              </a:xfrm>
              <a:custGeom>
                <a:avLst/>
                <a:gdLst>
                  <a:gd name="connsiteX0" fmla="*/ 571076 w 608425"/>
                  <a:gd name="connsiteY0" fmla="*/ 1030202 h 1030201"/>
                  <a:gd name="connsiteX1" fmla="*/ 571076 w 608425"/>
                  <a:gd name="connsiteY1" fmla="*/ 1030202 h 1030201"/>
                  <a:gd name="connsiteX2" fmla="*/ 490153 w 608425"/>
                  <a:gd name="connsiteY2" fmla="*/ 964842 h 1030201"/>
                  <a:gd name="connsiteX3" fmla="*/ 490153 w 608425"/>
                  <a:gd name="connsiteY3" fmla="*/ 958616 h 1030201"/>
                  <a:gd name="connsiteX4" fmla="*/ 496378 w 608425"/>
                  <a:gd name="connsiteY4" fmla="*/ 955505 h 1030201"/>
                  <a:gd name="connsiteX5" fmla="*/ 589750 w 608425"/>
                  <a:gd name="connsiteY5" fmla="*/ 915043 h 1030201"/>
                  <a:gd name="connsiteX6" fmla="*/ 508828 w 608425"/>
                  <a:gd name="connsiteY6" fmla="*/ 902594 h 1030201"/>
                  <a:gd name="connsiteX7" fmla="*/ 381219 w 608425"/>
                  <a:gd name="connsiteY7" fmla="*/ 955505 h 1030201"/>
                  <a:gd name="connsiteX8" fmla="*/ 129116 w 608425"/>
                  <a:gd name="connsiteY8" fmla="*/ 943054 h 1030201"/>
                  <a:gd name="connsiteX9" fmla="*/ 1509 w 608425"/>
                  <a:gd name="connsiteY9" fmla="*/ 6225 h 1030201"/>
                  <a:gd name="connsiteX10" fmla="*/ 7732 w 608425"/>
                  <a:gd name="connsiteY10" fmla="*/ 0 h 1030201"/>
                  <a:gd name="connsiteX11" fmla="*/ 13957 w 608425"/>
                  <a:gd name="connsiteY11" fmla="*/ 6225 h 1030201"/>
                  <a:gd name="connsiteX12" fmla="*/ 135341 w 608425"/>
                  <a:gd name="connsiteY12" fmla="*/ 933718 h 1030201"/>
                  <a:gd name="connsiteX13" fmla="*/ 508828 w 608425"/>
                  <a:gd name="connsiteY13" fmla="*/ 893257 h 1030201"/>
                  <a:gd name="connsiteX14" fmla="*/ 515054 w 608425"/>
                  <a:gd name="connsiteY14" fmla="*/ 893257 h 1030201"/>
                  <a:gd name="connsiteX15" fmla="*/ 599087 w 608425"/>
                  <a:gd name="connsiteY15" fmla="*/ 902594 h 1030201"/>
                  <a:gd name="connsiteX16" fmla="*/ 605312 w 608425"/>
                  <a:gd name="connsiteY16" fmla="*/ 902594 h 1030201"/>
                  <a:gd name="connsiteX17" fmla="*/ 608425 w 608425"/>
                  <a:gd name="connsiteY17" fmla="*/ 908819 h 1030201"/>
                  <a:gd name="connsiteX18" fmla="*/ 508828 w 608425"/>
                  <a:gd name="connsiteY18" fmla="*/ 971067 h 1030201"/>
                  <a:gd name="connsiteX19" fmla="*/ 574188 w 608425"/>
                  <a:gd name="connsiteY19" fmla="*/ 1020864 h 1030201"/>
                  <a:gd name="connsiteX20" fmla="*/ 577301 w 608425"/>
                  <a:gd name="connsiteY20" fmla="*/ 1027089 h 1030201"/>
                  <a:gd name="connsiteX21" fmla="*/ 571076 w 608425"/>
                  <a:gd name="connsiteY21" fmla="*/ 1030202 h 1030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08425" h="1030201">
                    <a:moveTo>
                      <a:pt x="571076" y="1030202"/>
                    </a:moveTo>
                    <a:cubicBezTo>
                      <a:pt x="571076" y="1030202"/>
                      <a:pt x="571076" y="1030202"/>
                      <a:pt x="571076" y="1030202"/>
                    </a:cubicBezTo>
                    <a:cubicBezTo>
                      <a:pt x="505715" y="1011527"/>
                      <a:pt x="490153" y="964842"/>
                      <a:pt x="490153" y="964842"/>
                    </a:cubicBezTo>
                    <a:cubicBezTo>
                      <a:pt x="490153" y="961729"/>
                      <a:pt x="490153" y="961729"/>
                      <a:pt x="490153" y="958616"/>
                    </a:cubicBezTo>
                    <a:cubicBezTo>
                      <a:pt x="490153" y="958616"/>
                      <a:pt x="493266" y="955505"/>
                      <a:pt x="496378" y="955505"/>
                    </a:cubicBezTo>
                    <a:cubicBezTo>
                      <a:pt x="555514" y="964842"/>
                      <a:pt x="580413" y="933718"/>
                      <a:pt x="589750" y="915043"/>
                    </a:cubicBezTo>
                    <a:cubicBezTo>
                      <a:pt x="558626" y="927492"/>
                      <a:pt x="521277" y="908819"/>
                      <a:pt x="508828" y="902594"/>
                    </a:cubicBezTo>
                    <a:cubicBezTo>
                      <a:pt x="496378" y="908819"/>
                      <a:pt x="446581" y="936830"/>
                      <a:pt x="381219" y="955505"/>
                    </a:cubicBezTo>
                    <a:cubicBezTo>
                      <a:pt x="281624" y="983516"/>
                      <a:pt x="194476" y="980403"/>
                      <a:pt x="129116" y="943054"/>
                    </a:cubicBezTo>
                    <a:cubicBezTo>
                      <a:pt x="-23392" y="859020"/>
                      <a:pt x="1509" y="40461"/>
                      <a:pt x="1509" y="6225"/>
                    </a:cubicBezTo>
                    <a:cubicBezTo>
                      <a:pt x="1509" y="3113"/>
                      <a:pt x="4621" y="0"/>
                      <a:pt x="7732" y="0"/>
                    </a:cubicBezTo>
                    <a:cubicBezTo>
                      <a:pt x="10846" y="0"/>
                      <a:pt x="13957" y="3113"/>
                      <a:pt x="13957" y="6225"/>
                    </a:cubicBezTo>
                    <a:cubicBezTo>
                      <a:pt x="13957" y="15562"/>
                      <a:pt x="-10941" y="852795"/>
                      <a:pt x="135341" y="933718"/>
                    </a:cubicBezTo>
                    <a:cubicBezTo>
                      <a:pt x="287847" y="1017753"/>
                      <a:pt x="505715" y="893257"/>
                      <a:pt x="508828" y="893257"/>
                    </a:cubicBezTo>
                    <a:cubicBezTo>
                      <a:pt x="511940" y="893257"/>
                      <a:pt x="511940" y="893257"/>
                      <a:pt x="515054" y="893257"/>
                    </a:cubicBezTo>
                    <a:cubicBezTo>
                      <a:pt x="515054" y="893257"/>
                      <a:pt x="564851" y="924381"/>
                      <a:pt x="599087" y="902594"/>
                    </a:cubicBezTo>
                    <a:cubicBezTo>
                      <a:pt x="602200" y="902594"/>
                      <a:pt x="602200" y="902594"/>
                      <a:pt x="605312" y="902594"/>
                    </a:cubicBezTo>
                    <a:cubicBezTo>
                      <a:pt x="608425" y="902594"/>
                      <a:pt x="608425" y="905706"/>
                      <a:pt x="608425" y="908819"/>
                    </a:cubicBezTo>
                    <a:cubicBezTo>
                      <a:pt x="608425" y="908819"/>
                      <a:pt x="592863" y="980403"/>
                      <a:pt x="508828" y="971067"/>
                    </a:cubicBezTo>
                    <a:cubicBezTo>
                      <a:pt x="515054" y="983516"/>
                      <a:pt x="533727" y="1008415"/>
                      <a:pt x="574188" y="1020864"/>
                    </a:cubicBezTo>
                    <a:cubicBezTo>
                      <a:pt x="577301" y="1020864"/>
                      <a:pt x="580413" y="1023977"/>
                      <a:pt x="577301" y="1027089"/>
                    </a:cubicBezTo>
                    <a:cubicBezTo>
                      <a:pt x="577301" y="1030202"/>
                      <a:pt x="574188" y="1030202"/>
                      <a:pt x="571076" y="1030202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2" name="图形 1">
              <a:extLst>
                <a:ext uri="{FF2B5EF4-FFF2-40B4-BE49-F238E27FC236}">
                  <a16:creationId xmlns:a16="http://schemas.microsoft.com/office/drawing/2014/main" id="{08ACB48C-9C44-4F40-AEA3-0CCCE1CE7746}"/>
                </a:ext>
              </a:extLst>
            </p:cNvPr>
            <p:cNvGrpSpPr/>
            <p:nvPr/>
          </p:nvGrpSpPr>
          <p:grpSpPr>
            <a:xfrm>
              <a:off x="24291221" y="8289972"/>
              <a:ext cx="266717" cy="379262"/>
              <a:chOff x="24291221" y="8289972"/>
              <a:chExt cx="266717" cy="379262"/>
            </a:xfrm>
          </p:grpSpPr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7260371B-85CC-44AB-8A06-CC4109D17B3A}"/>
                  </a:ext>
                </a:extLst>
              </p:cNvPr>
              <p:cNvSpPr/>
              <p:nvPr/>
            </p:nvSpPr>
            <p:spPr>
              <a:xfrm>
                <a:off x="24306654" y="8429715"/>
                <a:ext cx="165222" cy="239518"/>
              </a:xfrm>
              <a:custGeom>
                <a:avLst/>
                <a:gdLst>
                  <a:gd name="connsiteX0" fmla="*/ 2293 w 165222"/>
                  <a:gd name="connsiteY0" fmla="*/ 197070 h 239518"/>
                  <a:gd name="connsiteX1" fmla="*/ 67654 w 165222"/>
                  <a:gd name="connsiteY1" fmla="*/ 234419 h 239518"/>
                  <a:gd name="connsiteX2" fmla="*/ 148576 w 165222"/>
                  <a:gd name="connsiteY2" fmla="*/ 228194 h 239518"/>
                  <a:gd name="connsiteX3" fmla="*/ 164138 w 165222"/>
                  <a:gd name="connsiteY3" fmla="*/ 178396 h 239518"/>
                  <a:gd name="connsiteX4" fmla="*/ 151689 w 165222"/>
                  <a:gd name="connsiteY4" fmla="*/ 41450 h 239518"/>
                  <a:gd name="connsiteX5" fmla="*/ 142351 w 165222"/>
                  <a:gd name="connsiteY5" fmla="*/ 29001 h 239518"/>
                  <a:gd name="connsiteX6" fmla="*/ 67654 w 165222"/>
                  <a:gd name="connsiteY6" fmla="*/ 22776 h 239518"/>
                  <a:gd name="connsiteX7" fmla="*/ 20969 w 165222"/>
                  <a:gd name="connsiteY7" fmla="*/ 125485 h 239518"/>
                  <a:gd name="connsiteX8" fmla="*/ 2293 w 165222"/>
                  <a:gd name="connsiteY8" fmla="*/ 197070 h 239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5222" h="239518">
                    <a:moveTo>
                      <a:pt x="2293" y="197070"/>
                    </a:moveTo>
                    <a:cubicBezTo>
                      <a:pt x="11632" y="215744"/>
                      <a:pt x="48979" y="228194"/>
                      <a:pt x="67654" y="234419"/>
                    </a:cubicBezTo>
                    <a:cubicBezTo>
                      <a:pt x="92553" y="240643"/>
                      <a:pt x="126789" y="243756"/>
                      <a:pt x="148576" y="228194"/>
                    </a:cubicBezTo>
                    <a:cubicBezTo>
                      <a:pt x="164138" y="215744"/>
                      <a:pt x="167251" y="197070"/>
                      <a:pt x="164138" y="178396"/>
                    </a:cubicBezTo>
                    <a:cubicBezTo>
                      <a:pt x="157913" y="131710"/>
                      <a:pt x="151689" y="88136"/>
                      <a:pt x="151689" y="41450"/>
                    </a:cubicBezTo>
                    <a:cubicBezTo>
                      <a:pt x="151689" y="35225"/>
                      <a:pt x="148576" y="29001"/>
                      <a:pt x="142351" y="29001"/>
                    </a:cubicBezTo>
                    <a:cubicBezTo>
                      <a:pt x="129902" y="-5235"/>
                      <a:pt x="89442" y="-11461"/>
                      <a:pt x="67654" y="22776"/>
                    </a:cubicBezTo>
                    <a:cubicBezTo>
                      <a:pt x="45867" y="53900"/>
                      <a:pt x="33417" y="91248"/>
                      <a:pt x="20969" y="125485"/>
                    </a:cubicBezTo>
                    <a:cubicBezTo>
                      <a:pt x="14743" y="141047"/>
                      <a:pt x="-7044" y="178396"/>
                      <a:pt x="2293" y="197070"/>
                    </a:cubicBezTo>
                    <a:close/>
                  </a:path>
                </a:pathLst>
              </a:custGeom>
              <a:solidFill>
                <a:srgbClr val="F1DDB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30A598DD-93DA-4C2B-B921-59B533A3FD1A}"/>
                  </a:ext>
                </a:extLst>
              </p:cNvPr>
              <p:cNvSpPr/>
              <p:nvPr/>
            </p:nvSpPr>
            <p:spPr>
              <a:xfrm>
                <a:off x="24291221" y="8289972"/>
                <a:ext cx="266717" cy="198478"/>
              </a:xfrm>
              <a:custGeom>
                <a:avLst/>
                <a:gdLst>
                  <a:gd name="connsiteX0" fmla="*/ 114211 w 266717"/>
                  <a:gd name="connsiteY0" fmla="*/ 193643 h 198478"/>
                  <a:gd name="connsiteX1" fmla="*/ 266717 w 266717"/>
                  <a:gd name="connsiteY1" fmla="*/ 150070 h 198478"/>
                  <a:gd name="connsiteX2" fmla="*/ 139110 w 266717"/>
                  <a:gd name="connsiteY2" fmla="*/ 675 h 198478"/>
                  <a:gd name="connsiteX3" fmla="*/ 2164 w 266717"/>
                  <a:gd name="connsiteY3" fmla="*/ 90934 h 198478"/>
                  <a:gd name="connsiteX4" fmla="*/ 114211 w 266717"/>
                  <a:gd name="connsiteY4" fmla="*/ 193643 h 198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6717" h="198478">
                    <a:moveTo>
                      <a:pt x="114211" y="193643"/>
                    </a:moveTo>
                    <a:cubicBezTo>
                      <a:pt x="151560" y="196756"/>
                      <a:pt x="266717" y="215430"/>
                      <a:pt x="266717" y="150070"/>
                    </a:cubicBezTo>
                    <a:cubicBezTo>
                      <a:pt x="266717" y="81597"/>
                      <a:pt x="213808" y="13124"/>
                      <a:pt x="139110" y="675"/>
                    </a:cubicBezTo>
                    <a:cubicBezTo>
                      <a:pt x="79974" y="-5550"/>
                      <a:pt x="17726" y="31799"/>
                      <a:pt x="2164" y="90934"/>
                    </a:cubicBezTo>
                    <a:cubicBezTo>
                      <a:pt x="-13398" y="165632"/>
                      <a:pt x="58188" y="187419"/>
                      <a:pt x="114211" y="19364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077B2864-0B76-45E6-BC2D-127E638600EA}"/>
                  </a:ext>
                </a:extLst>
              </p:cNvPr>
              <p:cNvSpPr/>
              <p:nvPr/>
            </p:nvSpPr>
            <p:spPr>
              <a:xfrm>
                <a:off x="24329747" y="8315328"/>
                <a:ext cx="98313" cy="84398"/>
              </a:xfrm>
              <a:custGeom>
                <a:avLst/>
                <a:gdLst>
                  <a:gd name="connsiteX0" fmla="*/ 987 w 98313"/>
                  <a:gd name="connsiteY0" fmla="*/ 59354 h 84398"/>
                  <a:gd name="connsiteX1" fmla="*/ 78796 w 98313"/>
                  <a:gd name="connsiteY1" fmla="*/ 218 h 84398"/>
                  <a:gd name="connsiteX2" fmla="*/ 88133 w 98313"/>
                  <a:gd name="connsiteY2" fmla="*/ 31342 h 84398"/>
                  <a:gd name="connsiteX3" fmla="*/ 28999 w 98313"/>
                  <a:gd name="connsiteY3" fmla="*/ 78028 h 84398"/>
                  <a:gd name="connsiteX4" fmla="*/ 987 w 98313"/>
                  <a:gd name="connsiteY4" fmla="*/ 59354 h 84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313" h="84398">
                    <a:moveTo>
                      <a:pt x="987" y="59354"/>
                    </a:moveTo>
                    <a:cubicBezTo>
                      <a:pt x="13437" y="28230"/>
                      <a:pt x="44561" y="3331"/>
                      <a:pt x="78796" y="218"/>
                    </a:cubicBezTo>
                    <a:cubicBezTo>
                      <a:pt x="97472" y="-2894"/>
                      <a:pt x="106809" y="28230"/>
                      <a:pt x="88133" y="31342"/>
                    </a:cubicBezTo>
                    <a:cubicBezTo>
                      <a:pt x="60123" y="34455"/>
                      <a:pt x="38336" y="53129"/>
                      <a:pt x="28999" y="78028"/>
                    </a:cubicBezTo>
                    <a:cubicBezTo>
                      <a:pt x="19662" y="93590"/>
                      <a:pt x="-5238" y="78028"/>
                      <a:pt x="987" y="59354"/>
                    </a:cubicBezTo>
                    <a:close/>
                  </a:path>
                </a:pathLst>
              </a:custGeom>
              <a:solidFill>
                <a:srgbClr val="82737F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3" name="图形 1">
              <a:extLst>
                <a:ext uri="{FF2B5EF4-FFF2-40B4-BE49-F238E27FC236}">
                  <a16:creationId xmlns:a16="http://schemas.microsoft.com/office/drawing/2014/main" id="{E8BAA515-19D0-4159-913D-D581F5A331A7}"/>
                </a:ext>
              </a:extLst>
            </p:cNvPr>
            <p:cNvGrpSpPr/>
            <p:nvPr/>
          </p:nvGrpSpPr>
          <p:grpSpPr>
            <a:xfrm>
              <a:off x="26036324" y="10002462"/>
              <a:ext cx="815447" cy="690951"/>
              <a:chOff x="26036324" y="10002462"/>
              <a:chExt cx="815447" cy="690951"/>
            </a:xfrm>
          </p:grpSpPr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7DE99201-D904-4883-9726-72FA811BB355}"/>
                  </a:ext>
                </a:extLst>
              </p:cNvPr>
              <p:cNvSpPr/>
              <p:nvPr/>
            </p:nvSpPr>
            <p:spPr>
              <a:xfrm>
                <a:off x="26036324" y="10273240"/>
                <a:ext cx="815447" cy="420172"/>
              </a:xfrm>
              <a:custGeom>
                <a:avLst/>
                <a:gdLst>
                  <a:gd name="connsiteX0" fmla="*/ 0 w 815447"/>
                  <a:gd name="connsiteY0" fmla="*/ 80922 h 420172"/>
                  <a:gd name="connsiteX1" fmla="*/ 407724 w 815447"/>
                  <a:gd name="connsiteY1" fmla="*/ 420173 h 420172"/>
                  <a:gd name="connsiteX2" fmla="*/ 815447 w 815447"/>
                  <a:gd name="connsiteY2" fmla="*/ 80922 h 420172"/>
                  <a:gd name="connsiteX3" fmla="*/ 407724 w 815447"/>
                  <a:gd name="connsiteY3" fmla="*/ 0 h 420172"/>
                  <a:gd name="connsiteX4" fmla="*/ 0 w 815447"/>
                  <a:gd name="connsiteY4" fmla="*/ 80922 h 420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5447" h="420172">
                    <a:moveTo>
                      <a:pt x="0" y="80922"/>
                    </a:moveTo>
                    <a:cubicBezTo>
                      <a:pt x="0" y="267666"/>
                      <a:pt x="183632" y="420173"/>
                      <a:pt x="407724" y="420173"/>
                    </a:cubicBezTo>
                    <a:cubicBezTo>
                      <a:pt x="631817" y="420173"/>
                      <a:pt x="815447" y="267666"/>
                      <a:pt x="815447" y="80922"/>
                    </a:cubicBezTo>
                    <a:cubicBezTo>
                      <a:pt x="815447" y="37349"/>
                      <a:pt x="631817" y="0"/>
                      <a:pt x="407724" y="0"/>
                    </a:cubicBezTo>
                    <a:cubicBezTo>
                      <a:pt x="183632" y="0"/>
                      <a:pt x="0" y="34237"/>
                      <a:pt x="0" y="80922"/>
                    </a:cubicBezTo>
                    <a:close/>
                  </a:path>
                </a:pathLst>
              </a:custGeom>
              <a:solidFill>
                <a:srgbClr val="F1DDB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81E52115-E23B-44F4-954D-CAF503A855DB}"/>
                  </a:ext>
                </a:extLst>
              </p:cNvPr>
              <p:cNvSpPr/>
              <p:nvPr/>
            </p:nvSpPr>
            <p:spPr>
              <a:xfrm>
                <a:off x="26036324" y="10273240"/>
                <a:ext cx="815447" cy="161844"/>
              </a:xfrm>
              <a:custGeom>
                <a:avLst/>
                <a:gdLst>
                  <a:gd name="connsiteX0" fmla="*/ 0 w 815447"/>
                  <a:gd name="connsiteY0" fmla="*/ 80922 h 161844"/>
                  <a:gd name="connsiteX1" fmla="*/ 407724 w 815447"/>
                  <a:gd name="connsiteY1" fmla="*/ 161845 h 161844"/>
                  <a:gd name="connsiteX2" fmla="*/ 815447 w 815447"/>
                  <a:gd name="connsiteY2" fmla="*/ 80922 h 161844"/>
                  <a:gd name="connsiteX3" fmla="*/ 407724 w 815447"/>
                  <a:gd name="connsiteY3" fmla="*/ 0 h 161844"/>
                  <a:gd name="connsiteX4" fmla="*/ 0 w 815447"/>
                  <a:gd name="connsiteY4" fmla="*/ 80922 h 161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5447" h="161844">
                    <a:moveTo>
                      <a:pt x="0" y="80922"/>
                    </a:moveTo>
                    <a:cubicBezTo>
                      <a:pt x="0" y="124496"/>
                      <a:pt x="183632" y="161845"/>
                      <a:pt x="407724" y="161845"/>
                    </a:cubicBezTo>
                    <a:cubicBezTo>
                      <a:pt x="631817" y="161845"/>
                      <a:pt x="815447" y="124496"/>
                      <a:pt x="815447" y="80922"/>
                    </a:cubicBezTo>
                    <a:cubicBezTo>
                      <a:pt x="815447" y="37349"/>
                      <a:pt x="631817" y="0"/>
                      <a:pt x="407724" y="0"/>
                    </a:cubicBezTo>
                    <a:cubicBezTo>
                      <a:pt x="183632" y="0"/>
                      <a:pt x="0" y="34237"/>
                      <a:pt x="0" y="80922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674B6E15-F70F-4BAD-9830-1D8085E19499}"/>
                  </a:ext>
                </a:extLst>
              </p:cNvPr>
              <p:cNvSpPr/>
              <p:nvPr/>
            </p:nvSpPr>
            <p:spPr>
              <a:xfrm>
                <a:off x="26067448" y="10291915"/>
                <a:ext cx="753199" cy="124495"/>
              </a:xfrm>
              <a:custGeom>
                <a:avLst/>
                <a:gdLst>
                  <a:gd name="connsiteX0" fmla="*/ 0 w 753199"/>
                  <a:gd name="connsiteY0" fmla="*/ 62248 h 124495"/>
                  <a:gd name="connsiteX1" fmla="*/ 376601 w 753199"/>
                  <a:gd name="connsiteY1" fmla="*/ 124496 h 124495"/>
                  <a:gd name="connsiteX2" fmla="*/ 753199 w 753199"/>
                  <a:gd name="connsiteY2" fmla="*/ 62248 h 124495"/>
                  <a:gd name="connsiteX3" fmla="*/ 376601 w 753199"/>
                  <a:gd name="connsiteY3" fmla="*/ 0 h 124495"/>
                  <a:gd name="connsiteX4" fmla="*/ 0 w 753199"/>
                  <a:gd name="connsiteY4" fmla="*/ 62248 h 124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3199" h="124495">
                    <a:moveTo>
                      <a:pt x="0" y="62248"/>
                    </a:moveTo>
                    <a:cubicBezTo>
                      <a:pt x="0" y="96484"/>
                      <a:pt x="168070" y="124496"/>
                      <a:pt x="376601" y="124496"/>
                    </a:cubicBezTo>
                    <a:cubicBezTo>
                      <a:pt x="585131" y="124496"/>
                      <a:pt x="753199" y="96484"/>
                      <a:pt x="753199" y="62248"/>
                    </a:cubicBezTo>
                    <a:cubicBezTo>
                      <a:pt x="753199" y="28011"/>
                      <a:pt x="585131" y="0"/>
                      <a:pt x="376601" y="0"/>
                    </a:cubicBezTo>
                    <a:cubicBezTo>
                      <a:pt x="168070" y="0"/>
                      <a:pt x="0" y="28011"/>
                      <a:pt x="0" y="62248"/>
                    </a:cubicBezTo>
                    <a:close/>
                  </a:path>
                </a:pathLst>
              </a:custGeom>
              <a:solidFill>
                <a:srgbClr val="F1DDB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9F262267-761B-4B23-B770-44554481AF13}"/>
                  </a:ext>
                </a:extLst>
              </p:cNvPr>
              <p:cNvSpPr/>
              <p:nvPr/>
            </p:nvSpPr>
            <p:spPr>
              <a:xfrm>
                <a:off x="26036828" y="10002462"/>
                <a:ext cx="814441" cy="392161"/>
              </a:xfrm>
              <a:custGeom>
                <a:avLst/>
                <a:gdLst>
                  <a:gd name="connsiteX0" fmla="*/ 2610 w 814441"/>
                  <a:gd name="connsiteY0" fmla="*/ 392162 h 392161"/>
                  <a:gd name="connsiteX1" fmla="*/ 33734 w 814441"/>
                  <a:gd name="connsiteY1" fmla="*/ 392162 h 392161"/>
                  <a:gd name="connsiteX2" fmla="*/ 407221 w 814441"/>
                  <a:gd name="connsiteY2" fmla="*/ 34237 h 392161"/>
                  <a:gd name="connsiteX3" fmla="*/ 780708 w 814441"/>
                  <a:gd name="connsiteY3" fmla="*/ 392162 h 392161"/>
                  <a:gd name="connsiteX4" fmla="*/ 811832 w 814441"/>
                  <a:gd name="connsiteY4" fmla="*/ 392162 h 392161"/>
                  <a:gd name="connsiteX5" fmla="*/ 696673 w 814441"/>
                  <a:gd name="connsiteY5" fmla="*/ 121384 h 392161"/>
                  <a:gd name="connsiteX6" fmla="*/ 407221 w 814441"/>
                  <a:gd name="connsiteY6" fmla="*/ 0 h 392161"/>
                  <a:gd name="connsiteX7" fmla="*/ 117769 w 814441"/>
                  <a:gd name="connsiteY7" fmla="*/ 121384 h 392161"/>
                  <a:gd name="connsiteX8" fmla="*/ 2610 w 814441"/>
                  <a:gd name="connsiteY8" fmla="*/ 392162 h 392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4441" h="392161">
                    <a:moveTo>
                      <a:pt x="2610" y="392162"/>
                    </a:moveTo>
                    <a:lnTo>
                      <a:pt x="33734" y="392162"/>
                    </a:lnTo>
                    <a:cubicBezTo>
                      <a:pt x="33734" y="186744"/>
                      <a:pt x="229814" y="34237"/>
                      <a:pt x="407221" y="34237"/>
                    </a:cubicBezTo>
                    <a:cubicBezTo>
                      <a:pt x="584627" y="34237"/>
                      <a:pt x="780708" y="186744"/>
                      <a:pt x="780708" y="392162"/>
                    </a:cubicBezTo>
                    <a:lnTo>
                      <a:pt x="811832" y="392162"/>
                    </a:lnTo>
                    <a:cubicBezTo>
                      <a:pt x="827394" y="314352"/>
                      <a:pt x="771371" y="196081"/>
                      <a:pt x="696673" y="121384"/>
                    </a:cubicBezTo>
                    <a:cubicBezTo>
                      <a:pt x="615751" y="43574"/>
                      <a:pt x="516154" y="0"/>
                      <a:pt x="407221" y="0"/>
                    </a:cubicBezTo>
                    <a:cubicBezTo>
                      <a:pt x="301399" y="0"/>
                      <a:pt x="198690" y="43574"/>
                      <a:pt x="117769" y="121384"/>
                    </a:cubicBezTo>
                    <a:cubicBezTo>
                      <a:pt x="43070" y="196081"/>
                      <a:pt x="-12952" y="305015"/>
                      <a:pt x="2610" y="392162"/>
                    </a:cubicBezTo>
                    <a:close/>
                  </a:path>
                </a:pathLst>
              </a:custGeom>
              <a:solidFill>
                <a:srgbClr val="F1DDB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CA6B9092-FF69-4759-B297-E210D9564D58}"/>
                  </a:ext>
                </a:extLst>
              </p:cNvPr>
              <p:cNvSpPr/>
              <p:nvPr/>
            </p:nvSpPr>
            <p:spPr>
              <a:xfrm>
                <a:off x="26615230" y="10456591"/>
                <a:ext cx="139607" cy="168976"/>
              </a:xfrm>
              <a:custGeom>
                <a:avLst/>
                <a:gdLst>
                  <a:gd name="connsiteX0" fmla="*/ 15562 w 139607"/>
                  <a:gd name="connsiteY0" fmla="*/ 168350 h 168976"/>
                  <a:gd name="connsiteX1" fmla="*/ 37349 w 139607"/>
                  <a:gd name="connsiteY1" fmla="*/ 137226 h 168976"/>
                  <a:gd name="connsiteX2" fmla="*/ 59134 w 139607"/>
                  <a:gd name="connsiteY2" fmla="*/ 131002 h 168976"/>
                  <a:gd name="connsiteX3" fmla="*/ 65359 w 139607"/>
                  <a:gd name="connsiteY3" fmla="*/ 134114 h 168976"/>
                  <a:gd name="connsiteX4" fmla="*/ 74696 w 139607"/>
                  <a:gd name="connsiteY4" fmla="*/ 121664 h 168976"/>
                  <a:gd name="connsiteX5" fmla="*/ 102709 w 139607"/>
                  <a:gd name="connsiteY5" fmla="*/ 99878 h 168976"/>
                  <a:gd name="connsiteX6" fmla="*/ 96483 w 139607"/>
                  <a:gd name="connsiteY6" fmla="*/ 93652 h 168976"/>
                  <a:gd name="connsiteX7" fmla="*/ 84035 w 139607"/>
                  <a:gd name="connsiteY7" fmla="*/ 102990 h 168976"/>
                  <a:gd name="connsiteX8" fmla="*/ 93372 w 139607"/>
                  <a:gd name="connsiteY8" fmla="*/ 84316 h 168976"/>
                  <a:gd name="connsiteX9" fmla="*/ 102709 w 139607"/>
                  <a:gd name="connsiteY9" fmla="*/ 62529 h 168976"/>
                  <a:gd name="connsiteX10" fmla="*/ 136944 w 139607"/>
                  <a:gd name="connsiteY10" fmla="*/ 43854 h 168976"/>
                  <a:gd name="connsiteX11" fmla="*/ 133832 w 139607"/>
                  <a:gd name="connsiteY11" fmla="*/ 34517 h 168976"/>
                  <a:gd name="connsiteX12" fmla="*/ 108934 w 139607"/>
                  <a:gd name="connsiteY12" fmla="*/ 46967 h 168976"/>
                  <a:gd name="connsiteX13" fmla="*/ 124496 w 139607"/>
                  <a:gd name="connsiteY13" fmla="*/ 6506 h 168976"/>
                  <a:gd name="connsiteX14" fmla="*/ 115159 w 139607"/>
                  <a:gd name="connsiteY14" fmla="*/ 3393 h 168976"/>
                  <a:gd name="connsiteX15" fmla="*/ 96483 w 139607"/>
                  <a:gd name="connsiteY15" fmla="*/ 53192 h 168976"/>
                  <a:gd name="connsiteX16" fmla="*/ 52911 w 139607"/>
                  <a:gd name="connsiteY16" fmla="*/ 68754 h 168976"/>
                  <a:gd name="connsiteX17" fmla="*/ 71585 w 139607"/>
                  <a:gd name="connsiteY17" fmla="*/ 6506 h 168976"/>
                  <a:gd name="connsiteX18" fmla="*/ 62248 w 139607"/>
                  <a:gd name="connsiteY18" fmla="*/ 3393 h 168976"/>
                  <a:gd name="connsiteX19" fmla="*/ 43572 w 139607"/>
                  <a:gd name="connsiteY19" fmla="*/ 71866 h 168976"/>
                  <a:gd name="connsiteX20" fmla="*/ 18674 w 139607"/>
                  <a:gd name="connsiteY20" fmla="*/ 74978 h 168976"/>
                  <a:gd name="connsiteX21" fmla="*/ 18674 w 139607"/>
                  <a:gd name="connsiteY21" fmla="*/ 84316 h 168976"/>
                  <a:gd name="connsiteX22" fmla="*/ 40461 w 139607"/>
                  <a:gd name="connsiteY22" fmla="*/ 81203 h 168976"/>
                  <a:gd name="connsiteX23" fmla="*/ 37349 w 139607"/>
                  <a:gd name="connsiteY23" fmla="*/ 87428 h 168976"/>
                  <a:gd name="connsiteX24" fmla="*/ 24899 w 139607"/>
                  <a:gd name="connsiteY24" fmla="*/ 127889 h 168976"/>
                  <a:gd name="connsiteX25" fmla="*/ 18674 w 139607"/>
                  <a:gd name="connsiteY25" fmla="*/ 127889 h 168976"/>
                  <a:gd name="connsiteX26" fmla="*/ 18674 w 139607"/>
                  <a:gd name="connsiteY26" fmla="*/ 137226 h 168976"/>
                  <a:gd name="connsiteX27" fmla="*/ 18674 w 139607"/>
                  <a:gd name="connsiteY27" fmla="*/ 137226 h 168976"/>
                  <a:gd name="connsiteX28" fmla="*/ 0 w 139607"/>
                  <a:gd name="connsiteY28" fmla="*/ 159013 h 168976"/>
                  <a:gd name="connsiteX29" fmla="*/ 15562 w 139607"/>
                  <a:gd name="connsiteY29" fmla="*/ 168350 h 168976"/>
                  <a:gd name="connsiteX30" fmla="*/ 40461 w 139607"/>
                  <a:gd name="connsiteY30" fmla="*/ 124776 h 168976"/>
                  <a:gd name="connsiteX31" fmla="*/ 46686 w 139607"/>
                  <a:gd name="connsiteY31" fmla="*/ 106102 h 168976"/>
                  <a:gd name="connsiteX32" fmla="*/ 56023 w 139607"/>
                  <a:gd name="connsiteY32" fmla="*/ 78090 h 168976"/>
                  <a:gd name="connsiteX33" fmla="*/ 99597 w 139607"/>
                  <a:gd name="connsiteY33" fmla="*/ 65641 h 168976"/>
                  <a:gd name="connsiteX34" fmla="*/ 99597 w 139607"/>
                  <a:gd name="connsiteY34" fmla="*/ 65641 h 168976"/>
                  <a:gd name="connsiteX35" fmla="*/ 74696 w 139607"/>
                  <a:gd name="connsiteY35" fmla="*/ 112327 h 168976"/>
                  <a:gd name="connsiteX36" fmla="*/ 40461 w 139607"/>
                  <a:gd name="connsiteY36" fmla="*/ 124776 h 168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39607" h="168976">
                    <a:moveTo>
                      <a:pt x="15562" y="168350"/>
                    </a:moveTo>
                    <a:cubicBezTo>
                      <a:pt x="28010" y="162125"/>
                      <a:pt x="34236" y="149676"/>
                      <a:pt x="37349" y="137226"/>
                    </a:cubicBezTo>
                    <a:cubicBezTo>
                      <a:pt x="43572" y="134114"/>
                      <a:pt x="49798" y="134114"/>
                      <a:pt x="59134" y="131002"/>
                    </a:cubicBezTo>
                    <a:cubicBezTo>
                      <a:pt x="59134" y="134114"/>
                      <a:pt x="62248" y="137226"/>
                      <a:pt x="65359" y="134114"/>
                    </a:cubicBezTo>
                    <a:cubicBezTo>
                      <a:pt x="68473" y="131002"/>
                      <a:pt x="71585" y="127889"/>
                      <a:pt x="74696" y="121664"/>
                    </a:cubicBezTo>
                    <a:cubicBezTo>
                      <a:pt x="84035" y="115440"/>
                      <a:pt x="96483" y="109214"/>
                      <a:pt x="102709" y="99878"/>
                    </a:cubicBezTo>
                    <a:cubicBezTo>
                      <a:pt x="105820" y="96765"/>
                      <a:pt x="102709" y="90540"/>
                      <a:pt x="96483" y="93652"/>
                    </a:cubicBezTo>
                    <a:cubicBezTo>
                      <a:pt x="93372" y="96765"/>
                      <a:pt x="87147" y="99878"/>
                      <a:pt x="84035" y="102990"/>
                    </a:cubicBezTo>
                    <a:cubicBezTo>
                      <a:pt x="87147" y="96765"/>
                      <a:pt x="90258" y="90540"/>
                      <a:pt x="93372" y="84316"/>
                    </a:cubicBezTo>
                    <a:cubicBezTo>
                      <a:pt x="96483" y="78090"/>
                      <a:pt x="99597" y="68754"/>
                      <a:pt x="102709" y="62529"/>
                    </a:cubicBezTo>
                    <a:cubicBezTo>
                      <a:pt x="115159" y="56304"/>
                      <a:pt x="124496" y="50079"/>
                      <a:pt x="136944" y="43854"/>
                    </a:cubicBezTo>
                    <a:cubicBezTo>
                      <a:pt x="143169" y="40742"/>
                      <a:pt x="136944" y="31405"/>
                      <a:pt x="133832" y="34517"/>
                    </a:cubicBezTo>
                    <a:cubicBezTo>
                      <a:pt x="124496" y="40742"/>
                      <a:pt x="118271" y="43854"/>
                      <a:pt x="108934" y="46967"/>
                    </a:cubicBezTo>
                    <a:cubicBezTo>
                      <a:pt x="115159" y="34517"/>
                      <a:pt x="118271" y="18955"/>
                      <a:pt x="124496" y="6506"/>
                    </a:cubicBezTo>
                    <a:cubicBezTo>
                      <a:pt x="127607" y="281"/>
                      <a:pt x="118271" y="-2832"/>
                      <a:pt x="115159" y="3393"/>
                    </a:cubicBezTo>
                    <a:cubicBezTo>
                      <a:pt x="108934" y="18955"/>
                      <a:pt x="102709" y="37630"/>
                      <a:pt x="96483" y="53192"/>
                    </a:cubicBezTo>
                    <a:cubicBezTo>
                      <a:pt x="80921" y="59416"/>
                      <a:pt x="68473" y="65641"/>
                      <a:pt x="52911" y="68754"/>
                    </a:cubicBezTo>
                    <a:lnTo>
                      <a:pt x="71585" y="6506"/>
                    </a:lnTo>
                    <a:cubicBezTo>
                      <a:pt x="74696" y="281"/>
                      <a:pt x="65359" y="-2832"/>
                      <a:pt x="62248" y="3393"/>
                    </a:cubicBezTo>
                    <a:cubicBezTo>
                      <a:pt x="56023" y="25180"/>
                      <a:pt x="49798" y="50079"/>
                      <a:pt x="43572" y="71866"/>
                    </a:cubicBezTo>
                    <a:cubicBezTo>
                      <a:pt x="34236" y="74978"/>
                      <a:pt x="28010" y="74978"/>
                      <a:pt x="18674" y="74978"/>
                    </a:cubicBezTo>
                    <a:cubicBezTo>
                      <a:pt x="12448" y="74978"/>
                      <a:pt x="15562" y="84316"/>
                      <a:pt x="18674" y="84316"/>
                    </a:cubicBezTo>
                    <a:cubicBezTo>
                      <a:pt x="24899" y="84316"/>
                      <a:pt x="34236" y="81203"/>
                      <a:pt x="40461" y="81203"/>
                    </a:cubicBezTo>
                    <a:cubicBezTo>
                      <a:pt x="40461" y="84316"/>
                      <a:pt x="40461" y="84316"/>
                      <a:pt x="37349" y="87428"/>
                    </a:cubicBezTo>
                    <a:cubicBezTo>
                      <a:pt x="34236" y="99878"/>
                      <a:pt x="31124" y="115440"/>
                      <a:pt x="24899" y="127889"/>
                    </a:cubicBezTo>
                    <a:cubicBezTo>
                      <a:pt x="21787" y="127889"/>
                      <a:pt x="21787" y="127889"/>
                      <a:pt x="18674" y="127889"/>
                    </a:cubicBezTo>
                    <a:cubicBezTo>
                      <a:pt x="12448" y="127889"/>
                      <a:pt x="15562" y="137226"/>
                      <a:pt x="18674" y="137226"/>
                    </a:cubicBezTo>
                    <a:cubicBezTo>
                      <a:pt x="18674" y="137226"/>
                      <a:pt x="18674" y="137226"/>
                      <a:pt x="18674" y="137226"/>
                    </a:cubicBezTo>
                    <a:cubicBezTo>
                      <a:pt x="15562" y="146563"/>
                      <a:pt x="9337" y="155900"/>
                      <a:pt x="0" y="159013"/>
                    </a:cubicBezTo>
                    <a:cubicBezTo>
                      <a:pt x="6225" y="162125"/>
                      <a:pt x="9337" y="171462"/>
                      <a:pt x="15562" y="168350"/>
                    </a:cubicBezTo>
                    <a:close/>
                    <a:moveTo>
                      <a:pt x="40461" y="124776"/>
                    </a:moveTo>
                    <a:cubicBezTo>
                      <a:pt x="43572" y="118552"/>
                      <a:pt x="43572" y="112327"/>
                      <a:pt x="46686" y="106102"/>
                    </a:cubicBezTo>
                    <a:lnTo>
                      <a:pt x="56023" y="78090"/>
                    </a:lnTo>
                    <a:cubicBezTo>
                      <a:pt x="71585" y="74978"/>
                      <a:pt x="84035" y="68754"/>
                      <a:pt x="99597" y="65641"/>
                    </a:cubicBezTo>
                    <a:cubicBezTo>
                      <a:pt x="99597" y="65641"/>
                      <a:pt x="99597" y="65641"/>
                      <a:pt x="99597" y="65641"/>
                    </a:cubicBezTo>
                    <a:cubicBezTo>
                      <a:pt x="93372" y="81203"/>
                      <a:pt x="84035" y="99878"/>
                      <a:pt x="74696" y="112327"/>
                    </a:cubicBezTo>
                    <a:cubicBezTo>
                      <a:pt x="62248" y="118552"/>
                      <a:pt x="49798" y="121664"/>
                      <a:pt x="40461" y="124776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333D5771-262B-4E2D-82F3-1EBB17023418}"/>
                  </a:ext>
                </a:extLst>
              </p:cNvPr>
              <p:cNvSpPr/>
              <p:nvPr/>
            </p:nvSpPr>
            <p:spPr>
              <a:xfrm>
                <a:off x="26303212" y="10467765"/>
                <a:ext cx="163844" cy="167734"/>
              </a:xfrm>
              <a:custGeom>
                <a:avLst/>
                <a:gdLst>
                  <a:gd name="connsiteX0" fmla="*/ 3890 w 163844"/>
                  <a:gd name="connsiteY0" fmla="*/ 122940 h 167734"/>
                  <a:gd name="connsiteX1" fmla="*/ 41239 w 163844"/>
                  <a:gd name="connsiteY1" fmla="*/ 119827 h 167734"/>
                  <a:gd name="connsiteX2" fmla="*/ 72363 w 163844"/>
                  <a:gd name="connsiteY2" fmla="*/ 166513 h 167734"/>
                  <a:gd name="connsiteX3" fmla="*/ 78588 w 163844"/>
                  <a:gd name="connsiteY3" fmla="*/ 160288 h 167734"/>
                  <a:gd name="connsiteX4" fmla="*/ 50576 w 163844"/>
                  <a:gd name="connsiteY4" fmla="*/ 116714 h 167734"/>
                  <a:gd name="connsiteX5" fmla="*/ 94150 w 163844"/>
                  <a:gd name="connsiteY5" fmla="*/ 110489 h 167734"/>
                  <a:gd name="connsiteX6" fmla="*/ 100376 w 163844"/>
                  <a:gd name="connsiteY6" fmla="*/ 110489 h 167734"/>
                  <a:gd name="connsiteX7" fmla="*/ 106599 w 163844"/>
                  <a:gd name="connsiteY7" fmla="*/ 144726 h 167734"/>
                  <a:gd name="connsiteX8" fmla="*/ 115938 w 163844"/>
                  <a:gd name="connsiteY8" fmla="*/ 144726 h 167734"/>
                  <a:gd name="connsiteX9" fmla="*/ 109712 w 163844"/>
                  <a:gd name="connsiteY9" fmla="*/ 110489 h 167734"/>
                  <a:gd name="connsiteX10" fmla="*/ 162623 w 163844"/>
                  <a:gd name="connsiteY10" fmla="*/ 88703 h 167734"/>
                  <a:gd name="connsiteX11" fmla="*/ 156398 w 163844"/>
                  <a:gd name="connsiteY11" fmla="*/ 82478 h 167734"/>
                  <a:gd name="connsiteX12" fmla="*/ 106599 w 163844"/>
                  <a:gd name="connsiteY12" fmla="*/ 101153 h 167734"/>
                  <a:gd name="connsiteX13" fmla="*/ 103487 w 163844"/>
                  <a:gd name="connsiteY13" fmla="*/ 45130 h 167734"/>
                  <a:gd name="connsiteX14" fmla="*/ 122161 w 163844"/>
                  <a:gd name="connsiteY14" fmla="*/ 45130 h 167734"/>
                  <a:gd name="connsiteX15" fmla="*/ 122161 w 163844"/>
                  <a:gd name="connsiteY15" fmla="*/ 35792 h 167734"/>
                  <a:gd name="connsiteX16" fmla="*/ 103487 w 163844"/>
                  <a:gd name="connsiteY16" fmla="*/ 35792 h 167734"/>
                  <a:gd name="connsiteX17" fmla="*/ 106599 w 163844"/>
                  <a:gd name="connsiteY17" fmla="*/ 10893 h 167734"/>
                  <a:gd name="connsiteX18" fmla="*/ 97262 w 163844"/>
                  <a:gd name="connsiteY18" fmla="*/ 10893 h 167734"/>
                  <a:gd name="connsiteX19" fmla="*/ 94150 w 163844"/>
                  <a:gd name="connsiteY19" fmla="*/ 38905 h 167734"/>
                  <a:gd name="connsiteX20" fmla="*/ 66138 w 163844"/>
                  <a:gd name="connsiteY20" fmla="*/ 38905 h 167734"/>
                  <a:gd name="connsiteX21" fmla="*/ 25677 w 163844"/>
                  <a:gd name="connsiteY21" fmla="*/ 38905 h 167734"/>
                  <a:gd name="connsiteX22" fmla="*/ 25677 w 163844"/>
                  <a:gd name="connsiteY22" fmla="*/ 4668 h 167734"/>
                  <a:gd name="connsiteX23" fmla="*/ 16341 w 163844"/>
                  <a:gd name="connsiteY23" fmla="*/ 4668 h 167734"/>
                  <a:gd name="connsiteX24" fmla="*/ 16341 w 163844"/>
                  <a:gd name="connsiteY24" fmla="*/ 38905 h 167734"/>
                  <a:gd name="connsiteX25" fmla="*/ 10115 w 163844"/>
                  <a:gd name="connsiteY25" fmla="*/ 38905 h 167734"/>
                  <a:gd name="connsiteX26" fmla="*/ 7004 w 163844"/>
                  <a:gd name="connsiteY26" fmla="*/ 48241 h 167734"/>
                  <a:gd name="connsiteX27" fmla="*/ 19452 w 163844"/>
                  <a:gd name="connsiteY27" fmla="*/ 51354 h 167734"/>
                  <a:gd name="connsiteX28" fmla="*/ 35014 w 163844"/>
                  <a:gd name="connsiteY28" fmla="*/ 116714 h 167734"/>
                  <a:gd name="connsiteX29" fmla="*/ 779 w 163844"/>
                  <a:gd name="connsiteY29" fmla="*/ 116714 h 167734"/>
                  <a:gd name="connsiteX30" fmla="*/ 3890 w 163844"/>
                  <a:gd name="connsiteY30" fmla="*/ 122940 h 167734"/>
                  <a:gd name="connsiteX31" fmla="*/ 47465 w 163844"/>
                  <a:gd name="connsiteY31" fmla="*/ 113602 h 167734"/>
                  <a:gd name="connsiteX32" fmla="*/ 28789 w 163844"/>
                  <a:gd name="connsiteY32" fmla="*/ 51354 h 167734"/>
                  <a:gd name="connsiteX33" fmla="*/ 94150 w 163844"/>
                  <a:gd name="connsiteY33" fmla="*/ 48241 h 167734"/>
                  <a:gd name="connsiteX34" fmla="*/ 97262 w 163844"/>
                  <a:gd name="connsiteY34" fmla="*/ 107378 h 167734"/>
                  <a:gd name="connsiteX35" fmla="*/ 81700 w 163844"/>
                  <a:gd name="connsiteY35" fmla="*/ 110489 h 167734"/>
                  <a:gd name="connsiteX36" fmla="*/ 47465 w 163844"/>
                  <a:gd name="connsiteY36" fmla="*/ 113602 h 167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63844" h="167734">
                    <a:moveTo>
                      <a:pt x="3890" y="122940"/>
                    </a:moveTo>
                    <a:cubicBezTo>
                      <a:pt x="16341" y="122940"/>
                      <a:pt x="28789" y="122940"/>
                      <a:pt x="41239" y="119827"/>
                    </a:cubicBezTo>
                    <a:cubicBezTo>
                      <a:pt x="50576" y="135389"/>
                      <a:pt x="59913" y="154064"/>
                      <a:pt x="72363" y="166513"/>
                    </a:cubicBezTo>
                    <a:cubicBezTo>
                      <a:pt x="75475" y="169626"/>
                      <a:pt x="81700" y="166513"/>
                      <a:pt x="78588" y="160288"/>
                    </a:cubicBezTo>
                    <a:cubicBezTo>
                      <a:pt x="66138" y="147838"/>
                      <a:pt x="56801" y="132276"/>
                      <a:pt x="50576" y="116714"/>
                    </a:cubicBezTo>
                    <a:cubicBezTo>
                      <a:pt x="66138" y="116714"/>
                      <a:pt x="78588" y="113602"/>
                      <a:pt x="94150" y="110489"/>
                    </a:cubicBezTo>
                    <a:cubicBezTo>
                      <a:pt x="97262" y="110489"/>
                      <a:pt x="97262" y="110489"/>
                      <a:pt x="100376" y="110489"/>
                    </a:cubicBezTo>
                    <a:cubicBezTo>
                      <a:pt x="103487" y="122940"/>
                      <a:pt x="103487" y="132276"/>
                      <a:pt x="106599" y="144726"/>
                    </a:cubicBezTo>
                    <a:cubicBezTo>
                      <a:pt x="109712" y="150951"/>
                      <a:pt x="115938" y="147838"/>
                      <a:pt x="115938" y="144726"/>
                    </a:cubicBezTo>
                    <a:cubicBezTo>
                      <a:pt x="112824" y="135389"/>
                      <a:pt x="109712" y="122940"/>
                      <a:pt x="109712" y="110489"/>
                    </a:cubicBezTo>
                    <a:cubicBezTo>
                      <a:pt x="128386" y="107378"/>
                      <a:pt x="147061" y="104265"/>
                      <a:pt x="162623" y="88703"/>
                    </a:cubicBezTo>
                    <a:cubicBezTo>
                      <a:pt x="165735" y="85591"/>
                      <a:pt x="162623" y="79365"/>
                      <a:pt x="156398" y="82478"/>
                    </a:cubicBezTo>
                    <a:cubicBezTo>
                      <a:pt x="143948" y="94927"/>
                      <a:pt x="125274" y="98040"/>
                      <a:pt x="106599" y="101153"/>
                    </a:cubicBezTo>
                    <a:cubicBezTo>
                      <a:pt x="103487" y="82478"/>
                      <a:pt x="103487" y="63803"/>
                      <a:pt x="103487" y="45130"/>
                    </a:cubicBezTo>
                    <a:cubicBezTo>
                      <a:pt x="109712" y="45130"/>
                      <a:pt x="115938" y="45130"/>
                      <a:pt x="122161" y="45130"/>
                    </a:cubicBezTo>
                    <a:cubicBezTo>
                      <a:pt x="128386" y="45130"/>
                      <a:pt x="128386" y="35792"/>
                      <a:pt x="122161" y="35792"/>
                    </a:cubicBezTo>
                    <a:lnTo>
                      <a:pt x="103487" y="35792"/>
                    </a:lnTo>
                    <a:cubicBezTo>
                      <a:pt x="103487" y="26455"/>
                      <a:pt x="103487" y="17118"/>
                      <a:pt x="106599" y="10893"/>
                    </a:cubicBezTo>
                    <a:cubicBezTo>
                      <a:pt x="106599" y="4668"/>
                      <a:pt x="97262" y="4668"/>
                      <a:pt x="97262" y="10893"/>
                    </a:cubicBezTo>
                    <a:cubicBezTo>
                      <a:pt x="97262" y="20230"/>
                      <a:pt x="94150" y="29568"/>
                      <a:pt x="94150" y="38905"/>
                    </a:cubicBezTo>
                    <a:lnTo>
                      <a:pt x="66138" y="38905"/>
                    </a:lnTo>
                    <a:cubicBezTo>
                      <a:pt x="53690" y="38905"/>
                      <a:pt x="38128" y="42017"/>
                      <a:pt x="25677" y="38905"/>
                    </a:cubicBezTo>
                    <a:cubicBezTo>
                      <a:pt x="25677" y="26455"/>
                      <a:pt x="25677" y="17118"/>
                      <a:pt x="25677" y="4668"/>
                    </a:cubicBezTo>
                    <a:cubicBezTo>
                      <a:pt x="25677" y="-1556"/>
                      <a:pt x="16341" y="-1556"/>
                      <a:pt x="16341" y="4668"/>
                    </a:cubicBezTo>
                    <a:cubicBezTo>
                      <a:pt x="16341" y="17118"/>
                      <a:pt x="16341" y="26455"/>
                      <a:pt x="16341" y="38905"/>
                    </a:cubicBezTo>
                    <a:cubicBezTo>
                      <a:pt x="13227" y="38905"/>
                      <a:pt x="10115" y="38905"/>
                      <a:pt x="10115" y="38905"/>
                    </a:cubicBezTo>
                    <a:cubicBezTo>
                      <a:pt x="3890" y="38905"/>
                      <a:pt x="779" y="45130"/>
                      <a:pt x="7004" y="48241"/>
                    </a:cubicBezTo>
                    <a:cubicBezTo>
                      <a:pt x="10115" y="48241"/>
                      <a:pt x="13227" y="51354"/>
                      <a:pt x="19452" y="51354"/>
                    </a:cubicBezTo>
                    <a:cubicBezTo>
                      <a:pt x="22566" y="73141"/>
                      <a:pt x="28789" y="94927"/>
                      <a:pt x="35014" y="116714"/>
                    </a:cubicBezTo>
                    <a:cubicBezTo>
                      <a:pt x="22566" y="116714"/>
                      <a:pt x="13227" y="116714"/>
                      <a:pt x="779" y="116714"/>
                    </a:cubicBezTo>
                    <a:cubicBezTo>
                      <a:pt x="779" y="113602"/>
                      <a:pt x="-2335" y="122940"/>
                      <a:pt x="3890" y="122940"/>
                    </a:cubicBezTo>
                    <a:close/>
                    <a:moveTo>
                      <a:pt x="47465" y="113602"/>
                    </a:moveTo>
                    <a:cubicBezTo>
                      <a:pt x="38128" y="94927"/>
                      <a:pt x="31903" y="73141"/>
                      <a:pt x="28789" y="51354"/>
                    </a:cubicBezTo>
                    <a:cubicBezTo>
                      <a:pt x="50576" y="54467"/>
                      <a:pt x="72363" y="51354"/>
                      <a:pt x="94150" y="48241"/>
                    </a:cubicBezTo>
                    <a:cubicBezTo>
                      <a:pt x="94150" y="66916"/>
                      <a:pt x="94150" y="85591"/>
                      <a:pt x="97262" y="107378"/>
                    </a:cubicBezTo>
                    <a:cubicBezTo>
                      <a:pt x="91037" y="107378"/>
                      <a:pt x="87925" y="107378"/>
                      <a:pt x="81700" y="110489"/>
                    </a:cubicBezTo>
                    <a:cubicBezTo>
                      <a:pt x="75475" y="110489"/>
                      <a:pt x="59913" y="110489"/>
                      <a:pt x="47465" y="113602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DB91B873-9E67-425E-BADF-FF862E0E157A}"/>
                  </a:ext>
                </a:extLst>
              </p:cNvPr>
              <p:cNvSpPr/>
              <p:nvPr/>
            </p:nvSpPr>
            <p:spPr>
              <a:xfrm>
                <a:off x="26137813" y="10456390"/>
                <a:ext cx="113748" cy="136978"/>
              </a:xfrm>
              <a:custGeom>
                <a:avLst/>
                <a:gdLst>
                  <a:gd name="connsiteX0" fmla="*/ 1222 w 113748"/>
                  <a:gd name="connsiteY0" fmla="*/ 50280 h 136978"/>
                  <a:gd name="connsiteX1" fmla="*/ 26120 w 113748"/>
                  <a:gd name="connsiteY1" fmla="*/ 56505 h 136978"/>
                  <a:gd name="connsiteX2" fmla="*/ 38569 w 113748"/>
                  <a:gd name="connsiteY2" fmla="*/ 103191 h 136978"/>
                  <a:gd name="connsiteX3" fmla="*/ 29232 w 113748"/>
                  <a:gd name="connsiteY3" fmla="*/ 100078 h 136978"/>
                  <a:gd name="connsiteX4" fmla="*/ 26120 w 113748"/>
                  <a:gd name="connsiteY4" fmla="*/ 109415 h 136978"/>
                  <a:gd name="connsiteX5" fmla="*/ 41682 w 113748"/>
                  <a:gd name="connsiteY5" fmla="*/ 112528 h 136978"/>
                  <a:gd name="connsiteX6" fmla="*/ 51019 w 113748"/>
                  <a:gd name="connsiteY6" fmla="*/ 134315 h 136978"/>
                  <a:gd name="connsiteX7" fmla="*/ 60356 w 113748"/>
                  <a:gd name="connsiteY7" fmla="*/ 131202 h 136978"/>
                  <a:gd name="connsiteX8" fmla="*/ 54131 w 113748"/>
                  <a:gd name="connsiteY8" fmla="*/ 115640 h 136978"/>
                  <a:gd name="connsiteX9" fmla="*/ 79031 w 113748"/>
                  <a:gd name="connsiteY9" fmla="*/ 118753 h 136978"/>
                  <a:gd name="connsiteX10" fmla="*/ 82143 w 113748"/>
                  <a:gd name="connsiteY10" fmla="*/ 124977 h 136978"/>
                  <a:gd name="connsiteX11" fmla="*/ 91480 w 113748"/>
                  <a:gd name="connsiteY11" fmla="*/ 121865 h 136978"/>
                  <a:gd name="connsiteX12" fmla="*/ 91480 w 113748"/>
                  <a:gd name="connsiteY12" fmla="*/ 118753 h 136978"/>
                  <a:gd name="connsiteX13" fmla="*/ 110155 w 113748"/>
                  <a:gd name="connsiteY13" fmla="*/ 118753 h 136978"/>
                  <a:gd name="connsiteX14" fmla="*/ 110155 w 113748"/>
                  <a:gd name="connsiteY14" fmla="*/ 109415 h 136978"/>
                  <a:gd name="connsiteX15" fmla="*/ 88368 w 113748"/>
                  <a:gd name="connsiteY15" fmla="*/ 109415 h 136978"/>
                  <a:gd name="connsiteX16" fmla="*/ 69693 w 113748"/>
                  <a:gd name="connsiteY16" fmla="*/ 62729 h 136978"/>
                  <a:gd name="connsiteX17" fmla="*/ 91480 w 113748"/>
                  <a:gd name="connsiteY17" fmla="*/ 65842 h 136978"/>
                  <a:gd name="connsiteX18" fmla="*/ 91480 w 113748"/>
                  <a:gd name="connsiteY18" fmla="*/ 56505 h 136978"/>
                  <a:gd name="connsiteX19" fmla="*/ 63469 w 113748"/>
                  <a:gd name="connsiteY19" fmla="*/ 53393 h 136978"/>
                  <a:gd name="connsiteX20" fmla="*/ 51019 w 113748"/>
                  <a:gd name="connsiteY20" fmla="*/ 3594 h 136978"/>
                  <a:gd name="connsiteX21" fmla="*/ 41682 w 113748"/>
                  <a:gd name="connsiteY21" fmla="*/ 3594 h 136978"/>
                  <a:gd name="connsiteX22" fmla="*/ 54131 w 113748"/>
                  <a:gd name="connsiteY22" fmla="*/ 50280 h 136978"/>
                  <a:gd name="connsiteX23" fmla="*/ 35457 w 113748"/>
                  <a:gd name="connsiteY23" fmla="*/ 47167 h 136978"/>
                  <a:gd name="connsiteX24" fmla="*/ 29232 w 113748"/>
                  <a:gd name="connsiteY24" fmla="*/ 9819 h 136978"/>
                  <a:gd name="connsiteX25" fmla="*/ 19895 w 113748"/>
                  <a:gd name="connsiteY25" fmla="*/ 9819 h 136978"/>
                  <a:gd name="connsiteX26" fmla="*/ 26120 w 113748"/>
                  <a:gd name="connsiteY26" fmla="*/ 44055 h 136978"/>
                  <a:gd name="connsiteX27" fmla="*/ 7445 w 113748"/>
                  <a:gd name="connsiteY27" fmla="*/ 37831 h 136978"/>
                  <a:gd name="connsiteX28" fmla="*/ 1222 w 113748"/>
                  <a:gd name="connsiteY28" fmla="*/ 50280 h 136978"/>
                  <a:gd name="connsiteX29" fmla="*/ 35457 w 113748"/>
                  <a:gd name="connsiteY29" fmla="*/ 59617 h 136978"/>
                  <a:gd name="connsiteX30" fmla="*/ 54131 w 113748"/>
                  <a:gd name="connsiteY30" fmla="*/ 62729 h 136978"/>
                  <a:gd name="connsiteX31" fmla="*/ 72806 w 113748"/>
                  <a:gd name="connsiteY31" fmla="*/ 109415 h 136978"/>
                  <a:gd name="connsiteX32" fmla="*/ 47907 w 113748"/>
                  <a:gd name="connsiteY32" fmla="*/ 106303 h 136978"/>
                  <a:gd name="connsiteX33" fmla="*/ 35457 w 113748"/>
                  <a:gd name="connsiteY33" fmla="*/ 59617 h 136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13748" h="136978">
                    <a:moveTo>
                      <a:pt x="1222" y="50280"/>
                    </a:moveTo>
                    <a:cubicBezTo>
                      <a:pt x="10558" y="53393"/>
                      <a:pt x="16783" y="56505"/>
                      <a:pt x="26120" y="56505"/>
                    </a:cubicBezTo>
                    <a:cubicBezTo>
                      <a:pt x="29232" y="72067"/>
                      <a:pt x="35457" y="87629"/>
                      <a:pt x="38569" y="103191"/>
                    </a:cubicBezTo>
                    <a:cubicBezTo>
                      <a:pt x="35457" y="103191"/>
                      <a:pt x="32345" y="100078"/>
                      <a:pt x="29232" y="100078"/>
                    </a:cubicBezTo>
                    <a:cubicBezTo>
                      <a:pt x="23007" y="96966"/>
                      <a:pt x="19895" y="106303"/>
                      <a:pt x="26120" y="109415"/>
                    </a:cubicBezTo>
                    <a:cubicBezTo>
                      <a:pt x="32345" y="112528"/>
                      <a:pt x="35457" y="112528"/>
                      <a:pt x="41682" y="112528"/>
                    </a:cubicBezTo>
                    <a:cubicBezTo>
                      <a:pt x="44794" y="118753"/>
                      <a:pt x="47907" y="128090"/>
                      <a:pt x="51019" y="134315"/>
                    </a:cubicBezTo>
                    <a:cubicBezTo>
                      <a:pt x="54131" y="140539"/>
                      <a:pt x="60356" y="134315"/>
                      <a:pt x="60356" y="131202"/>
                    </a:cubicBezTo>
                    <a:cubicBezTo>
                      <a:pt x="57244" y="124977"/>
                      <a:pt x="57244" y="121865"/>
                      <a:pt x="54131" y="115640"/>
                    </a:cubicBezTo>
                    <a:cubicBezTo>
                      <a:pt x="63469" y="118753"/>
                      <a:pt x="69693" y="118753"/>
                      <a:pt x="79031" y="118753"/>
                    </a:cubicBezTo>
                    <a:cubicBezTo>
                      <a:pt x="79031" y="121865"/>
                      <a:pt x="82143" y="121865"/>
                      <a:pt x="82143" y="124977"/>
                    </a:cubicBezTo>
                    <a:cubicBezTo>
                      <a:pt x="85255" y="131202"/>
                      <a:pt x="91480" y="124977"/>
                      <a:pt x="91480" y="121865"/>
                    </a:cubicBezTo>
                    <a:cubicBezTo>
                      <a:pt x="91480" y="121865"/>
                      <a:pt x="91480" y="121865"/>
                      <a:pt x="91480" y="118753"/>
                    </a:cubicBezTo>
                    <a:cubicBezTo>
                      <a:pt x="97705" y="118753"/>
                      <a:pt x="103930" y="118753"/>
                      <a:pt x="110155" y="118753"/>
                    </a:cubicBezTo>
                    <a:cubicBezTo>
                      <a:pt x="116379" y="118753"/>
                      <a:pt x="113267" y="109415"/>
                      <a:pt x="110155" y="109415"/>
                    </a:cubicBezTo>
                    <a:cubicBezTo>
                      <a:pt x="103930" y="109415"/>
                      <a:pt x="94593" y="109415"/>
                      <a:pt x="88368" y="109415"/>
                    </a:cubicBezTo>
                    <a:cubicBezTo>
                      <a:pt x="82143" y="93853"/>
                      <a:pt x="72806" y="78291"/>
                      <a:pt x="69693" y="62729"/>
                    </a:cubicBezTo>
                    <a:cubicBezTo>
                      <a:pt x="75918" y="62729"/>
                      <a:pt x="85255" y="65842"/>
                      <a:pt x="91480" y="65842"/>
                    </a:cubicBezTo>
                    <a:cubicBezTo>
                      <a:pt x="97705" y="65842"/>
                      <a:pt x="97705" y="56505"/>
                      <a:pt x="91480" y="56505"/>
                    </a:cubicBezTo>
                    <a:cubicBezTo>
                      <a:pt x="82143" y="56505"/>
                      <a:pt x="72806" y="56505"/>
                      <a:pt x="63469" y="53393"/>
                    </a:cubicBezTo>
                    <a:cubicBezTo>
                      <a:pt x="57244" y="37831"/>
                      <a:pt x="54131" y="22269"/>
                      <a:pt x="51019" y="3594"/>
                    </a:cubicBezTo>
                    <a:cubicBezTo>
                      <a:pt x="51019" y="-2631"/>
                      <a:pt x="41682" y="482"/>
                      <a:pt x="41682" y="3594"/>
                    </a:cubicBezTo>
                    <a:cubicBezTo>
                      <a:pt x="44794" y="19156"/>
                      <a:pt x="47907" y="34718"/>
                      <a:pt x="54131" y="50280"/>
                    </a:cubicBezTo>
                    <a:cubicBezTo>
                      <a:pt x="47907" y="50280"/>
                      <a:pt x="41682" y="47167"/>
                      <a:pt x="35457" y="47167"/>
                    </a:cubicBezTo>
                    <a:cubicBezTo>
                      <a:pt x="32345" y="34718"/>
                      <a:pt x="29232" y="22269"/>
                      <a:pt x="29232" y="9819"/>
                    </a:cubicBezTo>
                    <a:cubicBezTo>
                      <a:pt x="29232" y="3594"/>
                      <a:pt x="19895" y="6707"/>
                      <a:pt x="19895" y="9819"/>
                    </a:cubicBezTo>
                    <a:cubicBezTo>
                      <a:pt x="23007" y="22269"/>
                      <a:pt x="23007" y="31605"/>
                      <a:pt x="26120" y="44055"/>
                    </a:cubicBezTo>
                    <a:cubicBezTo>
                      <a:pt x="19895" y="40943"/>
                      <a:pt x="13670" y="40943"/>
                      <a:pt x="7445" y="37831"/>
                    </a:cubicBezTo>
                    <a:cubicBezTo>
                      <a:pt x="1222" y="40943"/>
                      <a:pt x="-1892" y="50280"/>
                      <a:pt x="1222" y="50280"/>
                    </a:cubicBezTo>
                    <a:close/>
                    <a:moveTo>
                      <a:pt x="35457" y="59617"/>
                    </a:moveTo>
                    <a:cubicBezTo>
                      <a:pt x="41682" y="59617"/>
                      <a:pt x="47907" y="62729"/>
                      <a:pt x="54131" y="62729"/>
                    </a:cubicBezTo>
                    <a:cubicBezTo>
                      <a:pt x="60356" y="78291"/>
                      <a:pt x="66581" y="93853"/>
                      <a:pt x="72806" y="109415"/>
                    </a:cubicBezTo>
                    <a:cubicBezTo>
                      <a:pt x="63469" y="109415"/>
                      <a:pt x="57244" y="106303"/>
                      <a:pt x="47907" y="106303"/>
                    </a:cubicBezTo>
                    <a:cubicBezTo>
                      <a:pt x="44794" y="90741"/>
                      <a:pt x="38569" y="75179"/>
                      <a:pt x="35457" y="59617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D0982417-73F9-4376-A95D-9204BE842EF8}"/>
                  </a:ext>
                </a:extLst>
              </p:cNvPr>
              <p:cNvSpPr/>
              <p:nvPr/>
            </p:nvSpPr>
            <p:spPr>
              <a:xfrm>
                <a:off x="26228004" y="10612491"/>
                <a:ext cx="55755" cy="18674"/>
              </a:xfrm>
              <a:custGeom>
                <a:avLst/>
                <a:gdLst>
                  <a:gd name="connsiteX0" fmla="*/ 4402 w 55755"/>
                  <a:gd name="connsiteY0" fmla="*/ 0 h 18674"/>
                  <a:gd name="connsiteX1" fmla="*/ 51088 w 55755"/>
                  <a:gd name="connsiteY1" fmla="*/ 9338 h 18674"/>
                  <a:gd name="connsiteX2" fmla="*/ 51088 w 55755"/>
                  <a:gd name="connsiteY2" fmla="*/ 18675 h 18674"/>
                  <a:gd name="connsiteX3" fmla="*/ 1289 w 55755"/>
                  <a:gd name="connsiteY3" fmla="*/ 9338 h 18674"/>
                  <a:gd name="connsiteX4" fmla="*/ 4402 w 55755"/>
                  <a:gd name="connsiteY4" fmla="*/ 0 h 1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755" h="18674">
                    <a:moveTo>
                      <a:pt x="4402" y="0"/>
                    </a:moveTo>
                    <a:cubicBezTo>
                      <a:pt x="19964" y="6225"/>
                      <a:pt x="35526" y="6225"/>
                      <a:pt x="51088" y="9338"/>
                    </a:cubicBezTo>
                    <a:cubicBezTo>
                      <a:pt x="57312" y="9338"/>
                      <a:pt x="57312" y="18675"/>
                      <a:pt x="51088" y="18675"/>
                    </a:cubicBezTo>
                    <a:cubicBezTo>
                      <a:pt x="35526" y="18675"/>
                      <a:pt x="16851" y="15562"/>
                      <a:pt x="1289" y="9338"/>
                    </a:cubicBezTo>
                    <a:cubicBezTo>
                      <a:pt x="-1823" y="6225"/>
                      <a:pt x="1289" y="0"/>
                      <a:pt x="4402" y="0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17243FFD-66A5-456C-8C48-942FDC4159BF}"/>
                  </a:ext>
                </a:extLst>
              </p:cNvPr>
              <p:cNvSpPr/>
              <p:nvPr/>
            </p:nvSpPr>
            <p:spPr>
              <a:xfrm>
                <a:off x="26362645" y="10630539"/>
                <a:ext cx="119033" cy="30972"/>
              </a:xfrm>
              <a:custGeom>
                <a:avLst/>
                <a:gdLst>
                  <a:gd name="connsiteX0" fmla="*/ 3594 w 119033"/>
                  <a:gd name="connsiteY0" fmla="*/ 16188 h 30972"/>
                  <a:gd name="connsiteX1" fmla="*/ 112528 w 119033"/>
                  <a:gd name="connsiteY1" fmla="*/ 626 h 30972"/>
                  <a:gd name="connsiteX2" fmla="*/ 115640 w 119033"/>
                  <a:gd name="connsiteY2" fmla="*/ 9963 h 30972"/>
                  <a:gd name="connsiteX3" fmla="*/ 3594 w 119033"/>
                  <a:gd name="connsiteY3" fmla="*/ 28638 h 30972"/>
                  <a:gd name="connsiteX4" fmla="*/ 3594 w 119033"/>
                  <a:gd name="connsiteY4" fmla="*/ 16188 h 3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9033" h="30972">
                    <a:moveTo>
                      <a:pt x="3594" y="16188"/>
                    </a:moveTo>
                    <a:cubicBezTo>
                      <a:pt x="40943" y="22414"/>
                      <a:pt x="78291" y="16188"/>
                      <a:pt x="112528" y="626"/>
                    </a:cubicBezTo>
                    <a:cubicBezTo>
                      <a:pt x="118753" y="-2486"/>
                      <a:pt x="121865" y="6852"/>
                      <a:pt x="115640" y="9963"/>
                    </a:cubicBezTo>
                    <a:cubicBezTo>
                      <a:pt x="81404" y="28638"/>
                      <a:pt x="40943" y="34863"/>
                      <a:pt x="3594" y="28638"/>
                    </a:cubicBezTo>
                    <a:cubicBezTo>
                      <a:pt x="-2631" y="25525"/>
                      <a:pt x="481" y="16188"/>
                      <a:pt x="3594" y="16188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D5A30CC1-6B5E-4B6D-9023-6B23EE217DF8}"/>
                </a:ext>
              </a:extLst>
            </p:cNvPr>
            <p:cNvGrpSpPr/>
            <p:nvPr/>
          </p:nvGrpSpPr>
          <p:grpSpPr>
            <a:xfrm>
              <a:off x="26341340" y="9921541"/>
              <a:ext cx="259929" cy="174293"/>
              <a:chOff x="26341340" y="9921541"/>
              <a:chExt cx="259929" cy="174293"/>
            </a:xfrm>
          </p:grpSpPr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1FCF4E97-878F-4D5E-AFF2-2F3BA2EFE41E}"/>
                  </a:ext>
                </a:extLst>
              </p:cNvPr>
              <p:cNvSpPr/>
              <p:nvPr/>
            </p:nvSpPr>
            <p:spPr>
              <a:xfrm>
                <a:off x="26393261" y="9936012"/>
                <a:ext cx="191275" cy="154468"/>
              </a:xfrm>
              <a:custGeom>
                <a:avLst/>
                <a:gdLst>
                  <a:gd name="connsiteX0" fmla="*/ 47674 w 191275"/>
                  <a:gd name="connsiteY0" fmla="*/ 128697 h 154468"/>
                  <a:gd name="connsiteX1" fmla="*/ 60124 w 191275"/>
                  <a:gd name="connsiteY1" fmla="*/ 141148 h 154468"/>
                  <a:gd name="connsiteX2" fmla="*/ 78798 w 191275"/>
                  <a:gd name="connsiteY2" fmla="*/ 144259 h 154468"/>
                  <a:gd name="connsiteX3" fmla="*/ 100585 w 191275"/>
                  <a:gd name="connsiteY3" fmla="*/ 147372 h 154468"/>
                  <a:gd name="connsiteX4" fmla="*/ 116147 w 191275"/>
                  <a:gd name="connsiteY4" fmla="*/ 153597 h 154468"/>
                  <a:gd name="connsiteX5" fmla="*/ 134822 w 191275"/>
                  <a:gd name="connsiteY5" fmla="*/ 150485 h 154468"/>
                  <a:gd name="connsiteX6" fmla="*/ 153496 w 191275"/>
                  <a:gd name="connsiteY6" fmla="*/ 153597 h 154468"/>
                  <a:gd name="connsiteX7" fmla="*/ 184620 w 191275"/>
                  <a:gd name="connsiteY7" fmla="*/ 128697 h 154468"/>
                  <a:gd name="connsiteX8" fmla="*/ 181508 w 191275"/>
                  <a:gd name="connsiteY8" fmla="*/ 32214 h 154468"/>
                  <a:gd name="connsiteX9" fmla="*/ 57013 w 191275"/>
                  <a:gd name="connsiteY9" fmla="*/ 1090 h 154468"/>
                  <a:gd name="connsiteX10" fmla="*/ 4102 w 191275"/>
                  <a:gd name="connsiteY10" fmla="*/ 119361 h 154468"/>
                  <a:gd name="connsiteX11" fmla="*/ 47674 w 191275"/>
                  <a:gd name="connsiteY11" fmla="*/ 128697 h 154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1275" h="154468">
                    <a:moveTo>
                      <a:pt x="47674" y="128697"/>
                    </a:moveTo>
                    <a:cubicBezTo>
                      <a:pt x="50788" y="134923"/>
                      <a:pt x="53899" y="138035"/>
                      <a:pt x="60124" y="141148"/>
                    </a:cubicBezTo>
                    <a:cubicBezTo>
                      <a:pt x="66349" y="144259"/>
                      <a:pt x="72575" y="144259"/>
                      <a:pt x="78798" y="144259"/>
                    </a:cubicBezTo>
                    <a:cubicBezTo>
                      <a:pt x="97473" y="141148"/>
                      <a:pt x="88137" y="141148"/>
                      <a:pt x="100585" y="147372"/>
                    </a:cubicBezTo>
                    <a:cubicBezTo>
                      <a:pt x="106810" y="150485"/>
                      <a:pt x="109922" y="153597"/>
                      <a:pt x="116147" y="153597"/>
                    </a:cubicBezTo>
                    <a:cubicBezTo>
                      <a:pt x="125484" y="153597"/>
                      <a:pt x="128597" y="150485"/>
                      <a:pt x="134822" y="150485"/>
                    </a:cubicBezTo>
                    <a:cubicBezTo>
                      <a:pt x="144159" y="150485"/>
                      <a:pt x="141046" y="156710"/>
                      <a:pt x="153496" y="153597"/>
                    </a:cubicBezTo>
                    <a:cubicBezTo>
                      <a:pt x="169058" y="150485"/>
                      <a:pt x="178395" y="144259"/>
                      <a:pt x="184620" y="128697"/>
                    </a:cubicBezTo>
                    <a:cubicBezTo>
                      <a:pt x="190845" y="119361"/>
                      <a:pt x="197070" y="57113"/>
                      <a:pt x="181508" y="32214"/>
                    </a:cubicBezTo>
                    <a:cubicBezTo>
                      <a:pt x="172170" y="16652"/>
                      <a:pt x="63236" y="-5135"/>
                      <a:pt x="57013" y="1090"/>
                    </a:cubicBezTo>
                    <a:cubicBezTo>
                      <a:pt x="19664" y="41551"/>
                      <a:pt x="-11460" y="103799"/>
                      <a:pt x="4102" y="119361"/>
                    </a:cubicBezTo>
                    <a:cubicBezTo>
                      <a:pt x="19664" y="125586"/>
                      <a:pt x="35226" y="128697"/>
                      <a:pt x="47674" y="12869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97BB330B-6C49-47AB-B6F5-AD8B15CAA72A}"/>
                  </a:ext>
                </a:extLst>
              </p:cNvPr>
              <p:cNvSpPr/>
              <p:nvPr/>
            </p:nvSpPr>
            <p:spPr>
              <a:xfrm>
                <a:off x="26341340" y="9921541"/>
                <a:ext cx="127674" cy="123824"/>
              </a:xfrm>
              <a:custGeom>
                <a:avLst/>
                <a:gdLst>
                  <a:gd name="connsiteX0" fmla="*/ 0 w 127674"/>
                  <a:gd name="connsiteY0" fmla="*/ 108934 h 123824"/>
                  <a:gd name="connsiteX1" fmla="*/ 21785 w 127674"/>
                  <a:gd name="connsiteY1" fmla="*/ 40461 h 123824"/>
                  <a:gd name="connsiteX2" fmla="*/ 121382 w 127674"/>
                  <a:gd name="connsiteY2" fmla="*/ 0 h 123824"/>
                  <a:gd name="connsiteX3" fmla="*/ 121382 w 127674"/>
                  <a:gd name="connsiteY3" fmla="*/ 34236 h 123824"/>
                  <a:gd name="connsiteX4" fmla="*/ 118271 w 127674"/>
                  <a:gd name="connsiteY4" fmla="*/ 49798 h 123824"/>
                  <a:gd name="connsiteX5" fmla="*/ 93372 w 127674"/>
                  <a:gd name="connsiteY5" fmla="*/ 68472 h 123824"/>
                  <a:gd name="connsiteX6" fmla="*/ 59134 w 127674"/>
                  <a:gd name="connsiteY6" fmla="*/ 77810 h 123824"/>
                  <a:gd name="connsiteX7" fmla="*/ 43572 w 127674"/>
                  <a:gd name="connsiteY7" fmla="*/ 102709 h 123824"/>
                  <a:gd name="connsiteX8" fmla="*/ 18674 w 127674"/>
                  <a:gd name="connsiteY8" fmla="*/ 121383 h 123824"/>
                  <a:gd name="connsiteX9" fmla="*/ 0 w 127674"/>
                  <a:gd name="connsiteY9" fmla="*/ 108934 h 123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7674" h="123824">
                    <a:moveTo>
                      <a:pt x="0" y="108934"/>
                    </a:moveTo>
                    <a:cubicBezTo>
                      <a:pt x="0" y="84034"/>
                      <a:pt x="0" y="59135"/>
                      <a:pt x="21785" y="40461"/>
                    </a:cubicBezTo>
                    <a:cubicBezTo>
                      <a:pt x="43572" y="24899"/>
                      <a:pt x="87147" y="3112"/>
                      <a:pt x="121382" y="0"/>
                    </a:cubicBezTo>
                    <a:cubicBezTo>
                      <a:pt x="133832" y="0"/>
                      <a:pt x="124496" y="24899"/>
                      <a:pt x="121382" y="34236"/>
                    </a:cubicBezTo>
                    <a:cubicBezTo>
                      <a:pt x="124496" y="40461"/>
                      <a:pt x="124496" y="46686"/>
                      <a:pt x="118271" y="49798"/>
                    </a:cubicBezTo>
                    <a:cubicBezTo>
                      <a:pt x="108934" y="59135"/>
                      <a:pt x="102709" y="65359"/>
                      <a:pt x="93372" y="68472"/>
                    </a:cubicBezTo>
                    <a:cubicBezTo>
                      <a:pt x="84033" y="74697"/>
                      <a:pt x="68471" y="74697"/>
                      <a:pt x="59134" y="77810"/>
                    </a:cubicBezTo>
                    <a:cubicBezTo>
                      <a:pt x="49798" y="84034"/>
                      <a:pt x="49798" y="93372"/>
                      <a:pt x="43572" y="102709"/>
                    </a:cubicBezTo>
                    <a:cubicBezTo>
                      <a:pt x="37347" y="112045"/>
                      <a:pt x="28010" y="118271"/>
                      <a:pt x="18674" y="121383"/>
                    </a:cubicBezTo>
                    <a:cubicBezTo>
                      <a:pt x="9337" y="127607"/>
                      <a:pt x="0" y="121383"/>
                      <a:pt x="0" y="10893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6149966A-071E-47AB-AC2F-3DC42EFCDC94}"/>
                  </a:ext>
                </a:extLst>
              </p:cNvPr>
              <p:cNvSpPr/>
              <p:nvPr/>
            </p:nvSpPr>
            <p:spPr>
              <a:xfrm>
                <a:off x="26394031" y="9952664"/>
                <a:ext cx="207238" cy="143169"/>
              </a:xfrm>
              <a:custGeom>
                <a:avLst/>
                <a:gdLst>
                  <a:gd name="connsiteX0" fmla="*/ 118490 w 207238"/>
                  <a:gd name="connsiteY0" fmla="*/ 143169 h 143169"/>
                  <a:gd name="connsiteX1" fmla="*/ 115377 w 207238"/>
                  <a:gd name="connsiteY1" fmla="*/ 143169 h 143169"/>
                  <a:gd name="connsiteX2" fmla="*/ 93590 w 207238"/>
                  <a:gd name="connsiteY2" fmla="*/ 130720 h 143169"/>
                  <a:gd name="connsiteX3" fmla="*/ 62466 w 207238"/>
                  <a:gd name="connsiteY3" fmla="*/ 130720 h 143169"/>
                  <a:gd name="connsiteX4" fmla="*/ 46904 w 207238"/>
                  <a:gd name="connsiteY4" fmla="*/ 118271 h 143169"/>
                  <a:gd name="connsiteX5" fmla="*/ 25119 w 207238"/>
                  <a:gd name="connsiteY5" fmla="*/ 115158 h 143169"/>
                  <a:gd name="connsiteX6" fmla="*/ 218 w 207238"/>
                  <a:gd name="connsiteY6" fmla="*/ 87147 h 143169"/>
                  <a:gd name="connsiteX7" fmla="*/ 34455 w 207238"/>
                  <a:gd name="connsiteY7" fmla="*/ 3112 h 143169"/>
                  <a:gd name="connsiteX8" fmla="*/ 43792 w 207238"/>
                  <a:gd name="connsiteY8" fmla="*/ 0 h 143169"/>
                  <a:gd name="connsiteX9" fmla="*/ 46904 w 207238"/>
                  <a:gd name="connsiteY9" fmla="*/ 9337 h 143169"/>
                  <a:gd name="connsiteX10" fmla="*/ 15780 w 207238"/>
                  <a:gd name="connsiteY10" fmla="*/ 84034 h 143169"/>
                  <a:gd name="connsiteX11" fmla="*/ 34455 w 207238"/>
                  <a:gd name="connsiteY11" fmla="*/ 102709 h 143169"/>
                  <a:gd name="connsiteX12" fmla="*/ 53129 w 207238"/>
                  <a:gd name="connsiteY12" fmla="*/ 102709 h 143169"/>
                  <a:gd name="connsiteX13" fmla="*/ 59354 w 207238"/>
                  <a:gd name="connsiteY13" fmla="*/ 102709 h 143169"/>
                  <a:gd name="connsiteX14" fmla="*/ 62466 w 207238"/>
                  <a:gd name="connsiteY14" fmla="*/ 105821 h 143169"/>
                  <a:gd name="connsiteX15" fmla="*/ 74916 w 207238"/>
                  <a:gd name="connsiteY15" fmla="*/ 118271 h 143169"/>
                  <a:gd name="connsiteX16" fmla="*/ 102928 w 207238"/>
                  <a:gd name="connsiteY16" fmla="*/ 115158 h 143169"/>
                  <a:gd name="connsiteX17" fmla="*/ 109152 w 207238"/>
                  <a:gd name="connsiteY17" fmla="*/ 118271 h 143169"/>
                  <a:gd name="connsiteX18" fmla="*/ 124714 w 207238"/>
                  <a:gd name="connsiteY18" fmla="*/ 130720 h 143169"/>
                  <a:gd name="connsiteX19" fmla="*/ 140276 w 207238"/>
                  <a:gd name="connsiteY19" fmla="*/ 124496 h 143169"/>
                  <a:gd name="connsiteX20" fmla="*/ 146501 w 207238"/>
                  <a:gd name="connsiteY20" fmla="*/ 124496 h 143169"/>
                  <a:gd name="connsiteX21" fmla="*/ 190075 w 207238"/>
                  <a:gd name="connsiteY21" fmla="*/ 105821 h 143169"/>
                  <a:gd name="connsiteX22" fmla="*/ 193187 w 207238"/>
                  <a:gd name="connsiteY22" fmla="*/ 31124 h 143169"/>
                  <a:gd name="connsiteX23" fmla="*/ 196300 w 207238"/>
                  <a:gd name="connsiteY23" fmla="*/ 24899 h 143169"/>
                  <a:gd name="connsiteX24" fmla="*/ 202523 w 207238"/>
                  <a:gd name="connsiteY24" fmla="*/ 28011 h 143169"/>
                  <a:gd name="connsiteX25" fmla="*/ 199412 w 207238"/>
                  <a:gd name="connsiteY25" fmla="*/ 108934 h 143169"/>
                  <a:gd name="connsiteX26" fmla="*/ 143389 w 207238"/>
                  <a:gd name="connsiteY26" fmla="*/ 133832 h 143169"/>
                  <a:gd name="connsiteX27" fmla="*/ 118490 w 207238"/>
                  <a:gd name="connsiteY27" fmla="*/ 143169 h 143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07238" h="143169">
                    <a:moveTo>
                      <a:pt x="118490" y="143169"/>
                    </a:moveTo>
                    <a:cubicBezTo>
                      <a:pt x="118490" y="143169"/>
                      <a:pt x="115377" y="143169"/>
                      <a:pt x="115377" y="143169"/>
                    </a:cubicBezTo>
                    <a:cubicBezTo>
                      <a:pt x="106040" y="143169"/>
                      <a:pt x="96703" y="133832"/>
                      <a:pt x="93590" y="130720"/>
                    </a:cubicBezTo>
                    <a:cubicBezTo>
                      <a:pt x="81141" y="133832"/>
                      <a:pt x="71805" y="133832"/>
                      <a:pt x="62466" y="130720"/>
                    </a:cubicBezTo>
                    <a:cubicBezTo>
                      <a:pt x="56243" y="127607"/>
                      <a:pt x="50017" y="121383"/>
                      <a:pt x="46904" y="118271"/>
                    </a:cubicBezTo>
                    <a:cubicBezTo>
                      <a:pt x="40681" y="121383"/>
                      <a:pt x="31342" y="121383"/>
                      <a:pt x="25119" y="115158"/>
                    </a:cubicBezTo>
                    <a:cubicBezTo>
                      <a:pt x="12668" y="108934"/>
                      <a:pt x="3332" y="99596"/>
                      <a:pt x="218" y="87147"/>
                    </a:cubicBezTo>
                    <a:cubicBezTo>
                      <a:pt x="-2894" y="65359"/>
                      <a:pt x="28230" y="12449"/>
                      <a:pt x="34455" y="3112"/>
                    </a:cubicBezTo>
                    <a:cubicBezTo>
                      <a:pt x="37567" y="0"/>
                      <a:pt x="40681" y="0"/>
                      <a:pt x="43792" y="0"/>
                    </a:cubicBezTo>
                    <a:cubicBezTo>
                      <a:pt x="46904" y="3112"/>
                      <a:pt x="46904" y="6224"/>
                      <a:pt x="46904" y="9337"/>
                    </a:cubicBezTo>
                    <a:cubicBezTo>
                      <a:pt x="31342" y="34236"/>
                      <a:pt x="12668" y="74697"/>
                      <a:pt x="15780" y="84034"/>
                    </a:cubicBezTo>
                    <a:cubicBezTo>
                      <a:pt x="18894" y="90259"/>
                      <a:pt x="25119" y="99596"/>
                      <a:pt x="34455" y="102709"/>
                    </a:cubicBezTo>
                    <a:cubicBezTo>
                      <a:pt x="40681" y="105821"/>
                      <a:pt x="46904" y="105821"/>
                      <a:pt x="53129" y="102709"/>
                    </a:cubicBezTo>
                    <a:cubicBezTo>
                      <a:pt x="53129" y="102709"/>
                      <a:pt x="56243" y="102709"/>
                      <a:pt x="59354" y="102709"/>
                    </a:cubicBezTo>
                    <a:cubicBezTo>
                      <a:pt x="62466" y="102709"/>
                      <a:pt x="62466" y="105821"/>
                      <a:pt x="62466" y="105821"/>
                    </a:cubicBezTo>
                    <a:cubicBezTo>
                      <a:pt x="62466" y="105821"/>
                      <a:pt x="65579" y="112045"/>
                      <a:pt x="74916" y="118271"/>
                    </a:cubicBezTo>
                    <a:cubicBezTo>
                      <a:pt x="81141" y="121383"/>
                      <a:pt x="90478" y="121383"/>
                      <a:pt x="102928" y="115158"/>
                    </a:cubicBezTo>
                    <a:cubicBezTo>
                      <a:pt x="106040" y="115158"/>
                      <a:pt x="109152" y="115158"/>
                      <a:pt x="109152" y="118271"/>
                    </a:cubicBezTo>
                    <a:cubicBezTo>
                      <a:pt x="109152" y="118271"/>
                      <a:pt x="115377" y="127607"/>
                      <a:pt x="124714" y="130720"/>
                    </a:cubicBezTo>
                    <a:cubicBezTo>
                      <a:pt x="130939" y="130720"/>
                      <a:pt x="134052" y="130720"/>
                      <a:pt x="140276" y="124496"/>
                    </a:cubicBezTo>
                    <a:cubicBezTo>
                      <a:pt x="143389" y="124496"/>
                      <a:pt x="143389" y="121383"/>
                      <a:pt x="146501" y="124496"/>
                    </a:cubicBezTo>
                    <a:cubicBezTo>
                      <a:pt x="146501" y="124496"/>
                      <a:pt x="177625" y="133832"/>
                      <a:pt x="190075" y="105821"/>
                    </a:cubicBezTo>
                    <a:cubicBezTo>
                      <a:pt x="202523" y="74697"/>
                      <a:pt x="193187" y="31124"/>
                      <a:pt x="193187" y="31124"/>
                    </a:cubicBezTo>
                    <a:cubicBezTo>
                      <a:pt x="193187" y="28011"/>
                      <a:pt x="193187" y="24899"/>
                      <a:pt x="196300" y="24899"/>
                    </a:cubicBezTo>
                    <a:cubicBezTo>
                      <a:pt x="199412" y="24899"/>
                      <a:pt x="202523" y="24899"/>
                      <a:pt x="202523" y="28011"/>
                    </a:cubicBezTo>
                    <a:cubicBezTo>
                      <a:pt x="202523" y="31124"/>
                      <a:pt x="214974" y="74697"/>
                      <a:pt x="199412" y="108934"/>
                    </a:cubicBezTo>
                    <a:cubicBezTo>
                      <a:pt x="186962" y="136945"/>
                      <a:pt x="158951" y="140058"/>
                      <a:pt x="143389" y="133832"/>
                    </a:cubicBezTo>
                    <a:cubicBezTo>
                      <a:pt x="130939" y="143169"/>
                      <a:pt x="124714" y="143169"/>
                      <a:pt x="118490" y="14316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851F6CE1-2A93-4A25-B946-BED7476BD7E1}"/>
                </a:ext>
              </a:extLst>
            </p:cNvPr>
            <p:cNvSpPr/>
            <p:nvPr/>
          </p:nvSpPr>
          <p:spPr>
            <a:xfrm>
              <a:off x="25935320" y="8860562"/>
              <a:ext cx="846275" cy="1107664"/>
            </a:xfrm>
            <a:custGeom>
              <a:avLst/>
              <a:gdLst>
                <a:gd name="connsiteX0" fmla="*/ 166366 w 846275"/>
                <a:gd name="connsiteY0" fmla="*/ 376252 h 1107664"/>
                <a:gd name="connsiteX1" fmla="*/ 567863 w 846275"/>
                <a:gd name="connsiteY1" fmla="*/ 547433 h 1107664"/>
                <a:gd name="connsiteX2" fmla="*/ 508729 w 846275"/>
                <a:gd name="connsiteY2" fmla="*/ 1067202 h 1107664"/>
                <a:gd name="connsiteX3" fmla="*/ 664348 w 846275"/>
                <a:gd name="connsiteY3" fmla="*/ 1107664 h 1107664"/>
                <a:gd name="connsiteX4" fmla="*/ 791956 w 846275"/>
                <a:gd name="connsiteY4" fmla="*/ 329566 h 1107664"/>
                <a:gd name="connsiteX5" fmla="*/ 287748 w 846275"/>
                <a:gd name="connsiteY5" fmla="*/ 40113 h 1107664"/>
                <a:gd name="connsiteX6" fmla="*/ 13858 w 846275"/>
                <a:gd name="connsiteY6" fmla="*/ 30776 h 1107664"/>
                <a:gd name="connsiteX7" fmla="*/ 166366 w 846275"/>
                <a:gd name="connsiteY7" fmla="*/ 376252 h 1107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6275" h="1107664">
                  <a:moveTo>
                    <a:pt x="166366" y="376252"/>
                  </a:moveTo>
                  <a:cubicBezTo>
                    <a:pt x="237950" y="432275"/>
                    <a:pt x="490053" y="513197"/>
                    <a:pt x="567863" y="547433"/>
                  </a:cubicBezTo>
                  <a:cubicBezTo>
                    <a:pt x="552301" y="600344"/>
                    <a:pt x="424694" y="980056"/>
                    <a:pt x="508729" y="1067202"/>
                  </a:cubicBezTo>
                  <a:cubicBezTo>
                    <a:pt x="536739" y="1085877"/>
                    <a:pt x="598987" y="1104552"/>
                    <a:pt x="664348" y="1107664"/>
                  </a:cubicBezTo>
                  <a:cubicBezTo>
                    <a:pt x="760832" y="1051641"/>
                    <a:pt x="935127" y="488298"/>
                    <a:pt x="791956" y="329566"/>
                  </a:cubicBezTo>
                  <a:cubicBezTo>
                    <a:pt x="745270" y="276655"/>
                    <a:pt x="462043" y="111698"/>
                    <a:pt x="287748" y="40113"/>
                  </a:cubicBezTo>
                  <a:cubicBezTo>
                    <a:pt x="206826" y="5877"/>
                    <a:pt x="48095" y="-25247"/>
                    <a:pt x="13858" y="30776"/>
                  </a:cubicBezTo>
                  <a:cubicBezTo>
                    <a:pt x="-39053" y="124148"/>
                    <a:pt x="69880" y="298442"/>
                    <a:pt x="166366" y="376252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EC1D5378-0BEB-4607-AA9D-2587E022232A}"/>
                </a:ext>
              </a:extLst>
            </p:cNvPr>
            <p:cNvSpPr/>
            <p:nvPr/>
          </p:nvSpPr>
          <p:spPr>
            <a:xfrm>
              <a:off x="25927371" y="8947361"/>
              <a:ext cx="583327" cy="466858"/>
            </a:xfrm>
            <a:custGeom>
              <a:avLst/>
              <a:gdLst>
                <a:gd name="connsiteX0" fmla="*/ 575812 w 583327"/>
                <a:gd name="connsiteY0" fmla="*/ 466859 h 466858"/>
                <a:gd name="connsiteX1" fmla="*/ 575812 w 583327"/>
                <a:gd name="connsiteY1" fmla="*/ 466859 h 466858"/>
                <a:gd name="connsiteX2" fmla="*/ 277024 w 583327"/>
                <a:gd name="connsiteY2" fmla="*/ 348588 h 466858"/>
                <a:gd name="connsiteX3" fmla="*/ 68493 w 583327"/>
                <a:gd name="connsiteY3" fmla="*/ 180519 h 466858"/>
                <a:gd name="connsiteX4" fmla="*/ 20 w 583327"/>
                <a:gd name="connsiteY4" fmla="*/ 6225 h 466858"/>
                <a:gd name="connsiteX5" fmla="*/ 6245 w 583327"/>
                <a:gd name="connsiteY5" fmla="*/ 0 h 466858"/>
                <a:gd name="connsiteX6" fmla="*/ 12470 w 583327"/>
                <a:gd name="connsiteY6" fmla="*/ 6225 h 466858"/>
                <a:gd name="connsiteX7" fmla="*/ 77830 w 583327"/>
                <a:gd name="connsiteY7" fmla="*/ 171182 h 466858"/>
                <a:gd name="connsiteX8" fmla="*/ 283249 w 583327"/>
                <a:gd name="connsiteY8" fmla="*/ 339251 h 466858"/>
                <a:gd name="connsiteX9" fmla="*/ 578926 w 583327"/>
                <a:gd name="connsiteY9" fmla="*/ 457522 h 466858"/>
                <a:gd name="connsiteX10" fmla="*/ 582038 w 583327"/>
                <a:gd name="connsiteY10" fmla="*/ 463747 h 466858"/>
                <a:gd name="connsiteX11" fmla="*/ 575812 w 583327"/>
                <a:gd name="connsiteY11" fmla="*/ 466859 h 46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3327" h="466858">
                  <a:moveTo>
                    <a:pt x="575812" y="466859"/>
                  </a:moveTo>
                  <a:cubicBezTo>
                    <a:pt x="575812" y="466859"/>
                    <a:pt x="575812" y="466859"/>
                    <a:pt x="575812" y="466859"/>
                  </a:cubicBezTo>
                  <a:cubicBezTo>
                    <a:pt x="572701" y="466859"/>
                    <a:pt x="417081" y="426398"/>
                    <a:pt x="277024" y="348588"/>
                  </a:cubicBezTo>
                  <a:cubicBezTo>
                    <a:pt x="217887" y="317464"/>
                    <a:pt x="108954" y="224093"/>
                    <a:pt x="68493" y="180519"/>
                  </a:cubicBezTo>
                  <a:cubicBezTo>
                    <a:pt x="-3092" y="105822"/>
                    <a:pt x="20" y="9337"/>
                    <a:pt x="20" y="6225"/>
                  </a:cubicBezTo>
                  <a:cubicBezTo>
                    <a:pt x="20" y="3113"/>
                    <a:pt x="3133" y="0"/>
                    <a:pt x="6245" y="0"/>
                  </a:cubicBezTo>
                  <a:cubicBezTo>
                    <a:pt x="9359" y="0"/>
                    <a:pt x="12470" y="3113"/>
                    <a:pt x="12470" y="6225"/>
                  </a:cubicBezTo>
                  <a:cubicBezTo>
                    <a:pt x="12470" y="6225"/>
                    <a:pt x="9359" y="99597"/>
                    <a:pt x="77830" y="171182"/>
                  </a:cubicBezTo>
                  <a:cubicBezTo>
                    <a:pt x="118292" y="214755"/>
                    <a:pt x="224113" y="305015"/>
                    <a:pt x="283249" y="339251"/>
                  </a:cubicBezTo>
                  <a:cubicBezTo>
                    <a:pt x="423306" y="417061"/>
                    <a:pt x="575812" y="454409"/>
                    <a:pt x="578926" y="457522"/>
                  </a:cubicBezTo>
                  <a:cubicBezTo>
                    <a:pt x="582038" y="457522"/>
                    <a:pt x="585151" y="460634"/>
                    <a:pt x="582038" y="463747"/>
                  </a:cubicBezTo>
                  <a:cubicBezTo>
                    <a:pt x="582038" y="463747"/>
                    <a:pt x="578926" y="466859"/>
                    <a:pt x="575812" y="466859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7" name="图形 1">
              <a:extLst>
                <a:ext uri="{FF2B5EF4-FFF2-40B4-BE49-F238E27FC236}">
                  <a16:creationId xmlns:a16="http://schemas.microsoft.com/office/drawing/2014/main" id="{4D2F04D7-4559-449C-829A-59741D7D00FC}"/>
                </a:ext>
              </a:extLst>
            </p:cNvPr>
            <p:cNvGrpSpPr/>
            <p:nvPr/>
          </p:nvGrpSpPr>
          <p:grpSpPr>
            <a:xfrm>
              <a:off x="26111022" y="10175963"/>
              <a:ext cx="628703" cy="302695"/>
              <a:chOff x="26111022" y="10175963"/>
              <a:chExt cx="628703" cy="302695"/>
            </a:xfrm>
          </p:grpSpPr>
          <p:grpSp>
            <p:nvGrpSpPr>
              <p:cNvPr id="111" name="图形 1">
                <a:extLst>
                  <a:ext uri="{FF2B5EF4-FFF2-40B4-BE49-F238E27FC236}">
                    <a16:creationId xmlns:a16="http://schemas.microsoft.com/office/drawing/2014/main" id="{2E2C8816-4A40-45CF-BB81-182D5BAB2C10}"/>
                  </a:ext>
                </a:extLst>
              </p:cNvPr>
              <p:cNvGrpSpPr/>
              <p:nvPr/>
            </p:nvGrpSpPr>
            <p:grpSpPr>
              <a:xfrm>
                <a:off x="26532462" y="10175963"/>
                <a:ext cx="207264" cy="295692"/>
                <a:chOff x="26532462" y="10175963"/>
                <a:chExt cx="207264" cy="295692"/>
              </a:xfrm>
            </p:grpSpPr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FA054185-B7F0-453D-9F0D-65CA321B400C}"/>
                    </a:ext>
                  </a:extLst>
                </p:cNvPr>
                <p:cNvSpPr/>
                <p:nvPr/>
              </p:nvSpPr>
              <p:spPr>
                <a:xfrm>
                  <a:off x="26542203" y="10287481"/>
                  <a:ext cx="125938" cy="184174"/>
                </a:xfrm>
                <a:custGeom>
                  <a:avLst/>
                  <a:gdLst>
                    <a:gd name="connsiteX0" fmla="*/ 1442 w 125938"/>
                    <a:gd name="connsiteY0" fmla="*/ 150716 h 184174"/>
                    <a:gd name="connsiteX1" fmla="*/ 51240 w 125938"/>
                    <a:gd name="connsiteY1" fmla="*/ 178728 h 184174"/>
                    <a:gd name="connsiteX2" fmla="*/ 113488 w 125938"/>
                    <a:gd name="connsiteY2" fmla="*/ 175615 h 184174"/>
                    <a:gd name="connsiteX3" fmla="*/ 125938 w 125938"/>
                    <a:gd name="connsiteY3" fmla="*/ 138266 h 184174"/>
                    <a:gd name="connsiteX4" fmla="*/ 116599 w 125938"/>
                    <a:gd name="connsiteY4" fmla="*/ 32445 h 184174"/>
                    <a:gd name="connsiteX5" fmla="*/ 110376 w 125938"/>
                    <a:gd name="connsiteY5" fmla="*/ 23108 h 184174"/>
                    <a:gd name="connsiteX6" fmla="*/ 51240 w 125938"/>
                    <a:gd name="connsiteY6" fmla="*/ 16883 h 184174"/>
                    <a:gd name="connsiteX7" fmla="*/ 17004 w 125938"/>
                    <a:gd name="connsiteY7" fmla="*/ 94693 h 184174"/>
                    <a:gd name="connsiteX8" fmla="*/ 1442 w 125938"/>
                    <a:gd name="connsiteY8" fmla="*/ 150716 h 184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5938" h="184174">
                      <a:moveTo>
                        <a:pt x="1442" y="150716"/>
                      </a:moveTo>
                      <a:cubicBezTo>
                        <a:pt x="7666" y="166278"/>
                        <a:pt x="38790" y="175615"/>
                        <a:pt x="51240" y="178728"/>
                      </a:cubicBezTo>
                      <a:cubicBezTo>
                        <a:pt x="69914" y="184952"/>
                        <a:pt x="94814" y="188065"/>
                        <a:pt x="113488" y="175615"/>
                      </a:cubicBezTo>
                      <a:cubicBezTo>
                        <a:pt x="125938" y="166278"/>
                        <a:pt x="125938" y="153828"/>
                        <a:pt x="125938" y="138266"/>
                      </a:cubicBezTo>
                      <a:cubicBezTo>
                        <a:pt x="122825" y="100918"/>
                        <a:pt x="116599" y="66682"/>
                        <a:pt x="116599" y="32445"/>
                      </a:cubicBezTo>
                      <a:cubicBezTo>
                        <a:pt x="116599" y="26220"/>
                        <a:pt x="113488" y="23108"/>
                        <a:pt x="110376" y="23108"/>
                      </a:cubicBezTo>
                      <a:cubicBezTo>
                        <a:pt x="101037" y="-4904"/>
                        <a:pt x="69914" y="-8016"/>
                        <a:pt x="51240" y="16883"/>
                      </a:cubicBezTo>
                      <a:cubicBezTo>
                        <a:pt x="35678" y="38670"/>
                        <a:pt x="26341" y="69794"/>
                        <a:pt x="17004" y="94693"/>
                      </a:cubicBezTo>
                      <a:cubicBezTo>
                        <a:pt x="10779" y="104030"/>
                        <a:pt x="-4783" y="135154"/>
                        <a:pt x="1442" y="150716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BCCC17D7-B302-447A-A034-B5E699F7A719}"/>
                    </a:ext>
                  </a:extLst>
                </p:cNvPr>
                <p:cNvSpPr/>
                <p:nvPr/>
              </p:nvSpPr>
              <p:spPr>
                <a:xfrm>
                  <a:off x="26532462" y="10175963"/>
                  <a:ext cx="207264" cy="153853"/>
                </a:xfrm>
                <a:custGeom>
                  <a:avLst/>
                  <a:gdLst>
                    <a:gd name="connsiteX0" fmla="*/ 88994 w 207264"/>
                    <a:gd name="connsiteY0" fmla="*/ 150188 h 153853"/>
                    <a:gd name="connsiteX1" fmla="*/ 207264 w 207264"/>
                    <a:gd name="connsiteY1" fmla="*/ 115952 h 153853"/>
                    <a:gd name="connsiteX2" fmla="*/ 107668 w 207264"/>
                    <a:gd name="connsiteY2" fmla="*/ 793 h 153853"/>
                    <a:gd name="connsiteX3" fmla="*/ 1845 w 207264"/>
                    <a:gd name="connsiteY3" fmla="*/ 69266 h 153853"/>
                    <a:gd name="connsiteX4" fmla="*/ 88994 w 207264"/>
                    <a:gd name="connsiteY4" fmla="*/ 150188 h 1538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7264" h="153853">
                      <a:moveTo>
                        <a:pt x="88994" y="150188"/>
                      </a:moveTo>
                      <a:cubicBezTo>
                        <a:pt x="117004" y="153300"/>
                        <a:pt x="207264" y="165750"/>
                        <a:pt x="207264" y="115952"/>
                      </a:cubicBezTo>
                      <a:cubicBezTo>
                        <a:pt x="207264" y="63041"/>
                        <a:pt x="166804" y="10131"/>
                        <a:pt x="107668" y="793"/>
                      </a:cubicBezTo>
                      <a:cubicBezTo>
                        <a:pt x="60982" y="-5431"/>
                        <a:pt x="14296" y="25693"/>
                        <a:pt x="1845" y="69266"/>
                      </a:cubicBezTo>
                      <a:cubicBezTo>
                        <a:pt x="-10603" y="128401"/>
                        <a:pt x="42308" y="147076"/>
                        <a:pt x="88994" y="15018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D19322ED-A724-41D1-B32C-F42E5289633C}"/>
                    </a:ext>
                  </a:extLst>
                </p:cNvPr>
                <p:cNvSpPr/>
                <p:nvPr/>
              </p:nvSpPr>
              <p:spPr>
                <a:xfrm>
                  <a:off x="26561207" y="10195161"/>
                  <a:ext cx="75486" cy="65666"/>
                </a:xfrm>
                <a:custGeom>
                  <a:avLst/>
                  <a:gdLst>
                    <a:gd name="connsiteX0" fmla="*/ 1113 w 75486"/>
                    <a:gd name="connsiteY0" fmla="*/ 46955 h 65666"/>
                    <a:gd name="connsiteX1" fmla="*/ 60249 w 75486"/>
                    <a:gd name="connsiteY1" fmla="*/ 269 h 65666"/>
                    <a:gd name="connsiteX2" fmla="*/ 66472 w 75486"/>
                    <a:gd name="connsiteY2" fmla="*/ 22056 h 65666"/>
                    <a:gd name="connsiteX3" fmla="*/ 19786 w 75486"/>
                    <a:gd name="connsiteY3" fmla="*/ 56292 h 65666"/>
                    <a:gd name="connsiteX4" fmla="*/ 1113 w 75486"/>
                    <a:gd name="connsiteY4" fmla="*/ 46955 h 65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486" h="65666">
                      <a:moveTo>
                        <a:pt x="1113" y="46955"/>
                      </a:moveTo>
                      <a:cubicBezTo>
                        <a:pt x="10449" y="22056"/>
                        <a:pt x="35348" y="3382"/>
                        <a:pt x="60249" y="269"/>
                      </a:cubicBezTo>
                      <a:cubicBezTo>
                        <a:pt x="75811" y="-2843"/>
                        <a:pt x="82034" y="22056"/>
                        <a:pt x="66472" y="22056"/>
                      </a:cubicBezTo>
                      <a:cubicBezTo>
                        <a:pt x="44687" y="25168"/>
                        <a:pt x="29125" y="37618"/>
                        <a:pt x="19786" y="56292"/>
                      </a:cubicBezTo>
                      <a:cubicBezTo>
                        <a:pt x="16675" y="74966"/>
                        <a:pt x="-5113" y="62517"/>
                        <a:pt x="1113" y="46955"/>
                      </a:cubicBezTo>
                      <a:close/>
                    </a:path>
                  </a:pathLst>
                </a:custGeom>
                <a:solidFill>
                  <a:srgbClr val="82737F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12" name="图形 1">
                <a:extLst>
                  <a:ext uri="{FF2B5EF4-FFF2-40B4-BE49-F238E27FC236}">
                    <a16:creationId xmlns:a16="http://schemas.microsoft.com/office/drawing/2014/main" id="{DBCD2EA6-1F54-4469-8959-2FC0ACAB16C8}"/>
                  </a:ext>
                </a:extLst>
              </p:cNvPr>
              <p:cNvGrpSpPr/>
              <p:nvPr/>
            </p:nvGrpSpPr>
            <p:grpSpPr>
              <a:xfrm>
                <a:off x="26111022" y="10193815"/>
                <a:ext cx="232095" cy="281925"/>
                <a:chOff x="26111022" y="10193815"/>
                <a:chExt cx="232095" cy="281925"/>
              </a:xfrm>
            </p:grpSpPr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F5CFAE75-A1E5-469D-9BE8-99DEB3A50DBC}"/>
                    </a:ext>
                  </a:extLst>
                </p:cNvPr>
                <p:cNvSpPr/>
                <p:nvPr/>
              </p:nvSpPr>
              <p:spPr>
                <a:xfrm>
                  <a:off x="26111022" y="10289260"/>
                  <a:ext cx="143169" cy="186480"/>
                </a:xfrm>
                <a:custGeom>
                  <a:avLst/>
                  <a:gdLst>
                    <a:gd name="connsiteX0" fmla="*/ 0 w 143169"/>
                    <a:gd name="connsiteY0" fmla="*/ 130263 h 186480"/>
                    <a:gd name="connsiteX1" fmla="*/ 40461 w 143169"/>
                    <a:gd name="connsiteY1" fmla="*/ 170724 h 186480"/>
                    <a:gd name="connsiteX2" fmla="*/ 99597 w 143169"/>
                    <a:gd name="connsiteY2" fmla="*/ 183173 h 186480"/>
                    <a:gd name="connsiteX3" fmla="*/ 121384 w 143169"/>
                    <a:gd name="connsiteY3" fmla="*/ 148937 h 186480"/>
                    <a:gd name="connsiteX4" fmla="*/ 143169 w 143169"/>
                    <a:gd name="connsiteY4" fmla="*/ 43116 h 186480"/>
                    <a:gd name="connsiteX5" fmla="*/ 140058 w 143169"/>
                    <a:gd name="connsiteY5" fmla="*/ 30666 h 186480"/>
                    <a:gd name="connsiteX6" fmla="*/ 87147 w 143169"/>
                    <a:gd name="connsiteY6" fmla="*/ 8879 h 186480"/>
                    <a:gd name="connsiteX7" fmla="*/ 31124 w 143169"/>
                    <a:gd name="connsiteY7" fmla="*/ 74239 h 186480"/>
                    <a:gd name="connsiteX8" fmla="*/ 0 w 143169"/>
                    <a:gd name="connsiteY8" fmla="*/ 130263 h 186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43169" h="186480">
                      <a:moveTo>
                        <a:pt x="0" y="130263"/>
                      </a:moveTo>
                      <a:cubicBezTo>
                        <a:pt x="0" y="145825"/>
                        <a:pt x="28012" y="164499"/>
                        <a:pt x="40461" y="170724"/>
                      </a:cubicBezTo>
                      <a:cubicBezTo>
                        <a:pt x="56023" y="180061"/>
                        <a:pt x="80921" y="192511"/>
                        <a:pt x="99597" y="183173"/>
                      </a:cubicBezTo>
                      <a:cubicBezTo>
                        <a:pt x="115159" y="176949"/>
                        <a:pt x="118271" y="164499"/>
                        <a:pt x="121384" y="148937"/>
                      </a:cubicBezTo>
                      <a:cubicBezTo>
                        <a:pt x="127607" y="114701"/>
                        <a:pt x="133832" y="77352"/>
                        <a:pt x="143169" y="43116"/>
                      </a:cubicBezTo>
                      <a:cubicBezTo>
                        <a:pt x="143169" y="36891"/>
                        <a:pt x="143169" y="33779"/>
                        <a:pt x="140058" y="30666"/>
                      </a:cubicBezTo>
                      <a:cubicBezTo>
                        <a:pt x="140058" y="2655"/>
                        <a:pt x="112045" y="-9795"/>
                        <a:pt x="87147" y="8879"/>
                      </a:cubicBezTo>
                      <a:cubicBezTo>
                        <a:pt x="65359" y="27554"/>
                        <a:pt x="46686" y="52453"/>
                        <a:pt x="31124" y="74239"/>
                      </a:cubicBezTo>
                      <a:cubicBezTo>
                        <a:pt x="21787" y="89801"/>
                        <a:pt x="0" y="111589"/>
                        <a:pt x="0" y="130263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C23B8F73-8D1F-4AFB-8DE3-5C6CAA13AD90}"/>
                    </a:ext>
                  </a:extLst>
                </p:cNvPr>
                <p:cNvSpPr/>
                <p:nvPr/>
              </p:nvSpPr>
              <p:spPr>
                <a:xfrm>
                  <a:off x="26146428" y="10193815"/>
                  <a:ext cx="196690" cy="166850"/>
                </a:xfrm>
                <a:custGeom>
                  <a:avLst/>
                  <a:gdLst>
                    <a:gd name="connsiteX0" fmla="*/ 70417 w 196690"/>
                    <a:gd name="connsiteY0" fmla="*/ 141673 h 166850"/>
                    <a:gd name="connsiteX1" fmla="*/ 191799 w 196690"/>
                    <a:gd name="connsiteY1" fmla="*/ 144786 h 166850"/>
                    <a:gd name="connsiteX2" fmla="*/ 129551 w 196690"/>
                    <a:gd name="connsiteY2" fmla="*/ 7840 h 166850"/>
                    <a:gd name="connsiteX3" fmla="*/ 8169 w 196690"/>
                    <a:gd name="connsiteY3" fmla="*/ 45189 h 166850"/>
                    <a:gd name="connsiteX4" fmla="*/ 70417 w 196690"/>
                    <a:gd name="connsiteY4" fmla="*/ 141673 h 166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6690" h="166850">
                      <a:moveTo>
                        <a:pt x="70417" y="141673"/>
                      </a:moveTo>
                      <a:cubicBezTo>
                        <a:pt x="95316" y="151010"/>
                        <a:pt x="179351" y="191471"/>
                        <a:pt x="191799" y="144786"/>
                      </a:cubicBezTo>
                      <a:cubicBezTo>
                        <a:pt x="207361" y="94987"/>
                        <a:pt x="185574" y="29627"/>
                        <a:pt x="129551" y="7840"/>
                      </a:cubicBezTo>
                      <a:cubicBezTo>
                        <a:pt x="89091" y="-10834"/>
                        <a:pt x="33068" y="4728"/>
                        <a:pt x="8169" y="45189"/>
                      </a:cubicBezTo>
                      <a:cubicBezTo>
                        <a:pt x="-19843" y="91874"/>
                        <a:pt x="29954" y="122998"/>
                        <a:pt x="70417" y="141673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17F9D2AA-9B6D-4F68-8FC5-6B2515940304}"/>
                    </a:ext>
                  </a:extLst>
                </p:cNvPr>
                <p:cNvSpPr/>
                <p:nvPr/>
              </p:nvSpPr>
              <p:spPr>
                <a:xfrm>
                  <a:off x="26182841" y="10210409"/>
                  <a:ext cx="86135" cy="50117"/>
                </a:xfrm>
                <a:custGeom>
                  <a:avLst/>
                  <a:gdLst>
                    <a:gd name="connsiteX0" fmla="*/ 2880 w 86135"/>
                    <a:gd name="connsiteY0" fmla="*/ 28595 h 50117"/>
                    <a:gd name="connsiteX1" fmla="*/ 74465 w 86135"/>
                    <a:gd name="connsiteY1" fmla="*/ 584 h 50117"/>
                    <a:gd name="connsiteX2" fmla="*/ 74465 w 86135"/>
                    <a:gd name="connsiteY2" fmla="*/ 25482 h 50117"/>
                    <a:gd name="connsiteX3" fmla="*/ 18442 w 86135"/>
                    <a:gd name="connsiteY3" fmla="*/ 47269 h 50117"/>
                    <a:gd name="connsiteX4" fmla="*/ 2880 w 86135"/>
                    <a:gd name="connsiteY4" fmla="*/ 28595 h 501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135" h="50117">
                      <a:moveTo>
                        <a:pt x="2880" y="28595"/>
                      </a:moveTo>
                      <a:cubicBezTo>
                        <a:pt x="21553" y="6809"/>
                        <a:pt x="46452" y="-2529"/>
                        <a:pt x="74465" y="584"/>
                      </a:cubicBezTo>
                      <a:cubicBezTo>
                        <a:pt x="90026" y="3696"/>
                        <a:pt x="90026" y="25482"/>
                        <a:pt x="74465" y="25482"/>
                      </a:cubicBezTo>
                      <a:cubicBezTo>
                        <a:pt x="52677" y="22371"/>
                        <a:pt x="34004" y="28595"/>
                        <a:pt x="18442" y="47269"/>
                      </a:cubicBezTo>
                      <a:cubicBezTo>
                        <a:pt x="9103" y="56606"/>
                        <a:pt x="-6459" y="41044"/>
                        <a:pt x="2880" y="28595"/>
                      </a:cubicBezTo>
                      <a:close/>
                    </a:path>
                  </a:pathLst>
                </a:custGeom>
                <a:solidFill>
                  <a:srgbClr val="E5AD95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13" name="图形 1">
                <a:extLst>
                  <a:ext uri="{FF2B5EF4-FFF2-40B4-BE49-F238E27FC236}">
                    <a16:creationId xmlns:a16="http://schemas.microsoft.com/office/drawing/2014/main" id="{5BBDABC9-F7E7-4DAF-9BC2-F69FBC6A3D1C}"/>
                  </a:ext>
                </a:extLst>
              </p:cNvPr>
              <p:cNvGrpSpPr/>
              <p:nvPr/>
            </p:nvGrpSpPr>
            <p:grpSpPr>
              <a:xfrm>
                <a:off x="26372249" y="10252899"/>
                <a:ext cx="166614" cy="225759"/>
                <a:chOff x="26372249" y="10252899"/>
                <a:chExt cx="166614" cy="225759"/>
              </a:xfrm>
            </p:grpSpPr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C7DC24D2-A38B-44DF-A91A-08A8A5195F43}"/>
                    </a:ext>
                  </a:extLst>
                </p:cNvPr>
                <p:cNvSpPr/>
                <p:nvPr/>
              </p:nvSpPr>
              <p:spPr>
                <a:xfrm>
                  <a:off x="26421780" y="10332821"/>
                  <a:ext cx="98521" cy="145837"/>
                </a:xfrm>
                <a:custGeom>
                  <a:avLst/>
                  <a:gdLst>
                    <a:gd name="connsiteX0" fmla="*/ 3593 w 98521"/>
                    <a:gd name="connsiteY0" fmla="*/ 136500 h 145837"/>
                    <a:gd name="connsiteX1" fmla="*/ 47167 w 98521"/>
                    <a:gd name="connsiteY1" fmla="*/ 145838 h 145837"/>
                    <a:gd name="connsiteX2" fmla="*/ 93853 w 98521"/>
                    <a:gd name="connsiteY2" fmla="*/ 127163 h 145837"/>
                    <a:gd name="connsiteX3" fmla="*/ 93853 w 98521"/>
                    <a:gd name="connsiteY3" fmla="*/ 96040 h 145837"/>
                    <a:gd name="connsiteX4" fmla="*/ 62729 w 98521"/>
                    <a:gd name="connsiteY4" fmla="*/ 18230 h 145837"/>
                    <a:gd name="connsiteX5" fmla="*/ 56504 w 98521"/>
                    <a:gd name="connsiteY5" fmla="*/ 12005 h 145837"/>
                    <a:gd name="connsiteX6" fmla="*/ 12932 w 98521"/>
                    <a:gd name="connsiteY6" fmla="*/ 21342 h 145837"/>
                    <a:gd name="connsiteX7" fmla="*/ 3593 w 98521"/>
                    <a:gd name="connsiteY7" fmla="*/ 89814 h 145837"/>
                    <a:gd name="connsiteX8" fmla="*/ 3593 w 98521"/>
                    <a:gd name="connsiteY8" fmla="*/ 136500 h 145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8521" h="145837">
                      <a:moveTo>
                        <a:pt x="3593" y="136500"/>
                      </a:moveTo>
                      <a:cubicBezTo>
                        <a:pt x="12932" y="145838"/>
                        <a:pt x="37830" y="145838"/>
                        <a:pt x="47167" y="145838"/>
                      </a:cubicBezTo>
                      <a:cubicBezTo>
                        <a:pt x="62729" y="145838"/>
                        <a:pt x="81403" y="142725"/>
                        <a:pt x="93853" y="127163"/>
                      </a:cubicBezTo>
                      <a:cubicBezTo>
                        <a:pt x="100078" y="117827"/>
                        <a:pt x="100078" y="105376"/>
                        <a:pt x="93853" y="96040"/>
                      </a:cubicBezTo>
                      <a:cubicBezTo>
                        <a:pt x="81403" y="71141"/>
                        <a:pt x="72066" y="46241"/>
                        <a:pt x="62729" y="18230"/>
                      </a:cubicBezTo>
                      <a:cubicBezTo>
                        <a:pt x="62729" y="15117"/>
                        <a:pt x="59618" y="12005"/>
                        <a:pt x="56504" y="12005"/>
                      </a:cubicBezTo>
                      <a:cubicBezTo>
                        <a:pt x="44056" y="-6669"/>
                        <a:pt x="19155" y="-3557"/>
                        <a:pt x="12932" y="21342"/>
                      </a:cubicBezTo>
                      <a:cubicBezTo>
                        <a:pt x="6707" y="43128"/>
                        <a:pt x="6707" y="68028"/>
                        <a:pt x="3593" y="89814"/>
                      </a:cubicBezTo>
                      <a:cubicBezTo>
                        <a:pt x="481" y="102265"/>
                        <a:pt x="-2630" y="127163"/>
                        <a:pt x="3593" y="13650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1CC3DACF-67C5-4F99-911C-F4A6178E9B37}"/>
                    </a:ext>
                  </a:extLst>
                </p:cNvPr>
                <p:cNvSpPr/>
                <p:nvPr/>
              </p:nvSpPr>
              <p:spPr>
                <a:xfrm>
                  <a:off x="26372249" y="10252899"/>
                  <a:ext cx="166614" cy="119772"/>
                </a:xfrm>
                <a:custGeom>
                  <a:avLst/>
                  <a:gdLst>
                    <a:gd name="connsiteX0" fmla="*/ 84248 w 166614"/>
                    <a:gd name="connsiteY0" fmla="*/ 116826 h 119772"/>
                    <a:gd name="connsiteX1" fmla="*/ 165172 w 166614"/>
                    <a:gd name="connsiteY1" fmla="*/ 63915 h 119772"/>
                    <a:gd name="connsiteX2" fmla="*/ 62463 w 166614"/>
                    <a:gd name="connsiteY2" fmla="*/ 1667 h 119772"/>
                    <a:gd name="connsiteX3" fmla="*/ 215 w 166614"/>
                    <a:gd name="connsiteY3" fmla="*/ 79477 h 119772"/>
                    <a:gd name="connsiteX4" fmla="*/ 84248 w 166614"/>
                    <a:gd name="connsiteY4" fmla="*/ 116826 h 1197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6614" h="119772">
                      <a:moveTo>
                        <a:pt x="84248" y="116826"/>
                      </a:moveTo>
                      <a:cubicBezTo>
                        <a:pt x="106036" y="113714"/>
                        <a:pt x="177620" y="101264"/>
                        <a:pt x="165172" y="63915"/>
                      </a:cubicBezTo>
                      <a:cubicBezTo>
                        <a:pt x="152721" y="23454"/>
                        <a:pt x="109149" y="-7670"/>
                        <a:pt x="62463" y="1667"/>
                      </a:cubicBezTo>
                      <a:cubicBezTo>
                        <a:pt x="28226" y="7892"/>
                        <a:pt x="-2898" y="42129"/>
                        <a:pt x="215" y="79477"/>
                      </a:cubicBezTo>
                      <a:cubicBezTo>
                        <a:pt x="6439" y="123050"/>
                        <a:pt x="50013" y="123050"/>
                        <a:pt x="84248" y="116826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2ACC95B2-730D-4C15-95C7-3E559561DDD1}"/>
                    </a:ext>
                  </a:extLst>
                </p:cNvPr>
                <p:cNvSpPr/>
                <p:nvPr/>
              </p:nvSpPr>
              <p:spPr>
                <a:xfrm>
                  <a:off x="26394249" y="10268686"/>
                  <a:ext cx="49453" cy="62278"/>
                </a:xfrm>
                <a:custGeom>
                  <a:avLst/>
                  <a:gdLst>
                    <a:gd name="connsiteX0" fmla="*/ 0 w 49453"/>
                    <a:gd name="connsiteY0" fmla="*/ 51241 h 62278"/>
                    <a:gd name="connsiteX1" fmla="*/ 34237 w 49453"/>
                    <a:gd name="connsiteY1" fmla="*/ 1442 h 62278"/>
                    <a:gd name="connsiteX2" fmla="*/ 43574 w 49453"/>
                    <a:gd name="connsiteY2" fmla="*/ 17004 h 62278"/>
                    <a:gd name="connsiteX3" fmla="*/ 15562 w 49453"/>
                    <a:gd name="connsiteY3" fmla="*/ 54353 h 62278"/>
                    <a:gd name="connsiteX4" fmla="*/ 0 w 49453"/>
                    <a:gd name="connsiteY4" fmla="*/ 51241 h 62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453" h="62278">
                      <a:moveTo>
                        <a:pt x="0" y="51241"/>
                      </a:moveTo>
                      <a:cubicBezTo>
                        <a:pt x="3114" y="29453"/>
                        <a:pt x="15562" y="10780"/>
                        <a:pt x="34237" y="1442"/>
                      </a:cubicBezTo>
                      <a:cubicBezTo>
                        <a:pt x="46686" y="-4782"/>
                        <a:pt x="56025" y="10780"/>
                        <a:pt x="43574" y="17004"/>
                      </a:cubicBezTo>
                      <a:cubicBezTo>
                        <a:pt x="28012" y="23229"/>
                        <a:pt x="18675" y="38791"/>
                        <a:pt x="15562" y="54353"/>
                      </a:cubicBezTo>
                      <a:cubicBezTo>
                        <a:pt x="18675" y="66802"/>
                        <a:pt x="0" y="63690"/>
                        <a:pt x="0" y="51241"/>
                      </a:cubicBezTo>
                      <a:close/>
                    </a:path>
                  </a:pathLst>
                </a:custGeom>
                <a:solidFill>
                  <a:srgbClr val="82737F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38" name="图形 1">
              <a:extLst>
                <a:ext uri="{FF2B5EF4-FFF2-40B4-BE49-F238E27FC236}">
                  <a16:creationId xmlns:a16="http://schemas.microsoft.com/office/drawing/2014/main" id="{B270EFC8-4BE2-43A7-9F7B-C2C19954110F}"/>
                </a:ext>
              </a:extLst>
            </p:cNvPr>
            <p:cNvGrpSpPr/>
            <p:nvPr/>
          </p:nvGrpSpPr>
          <p:grpSpPr>
            <a:xfrm>
              <a:off x="24281714" y="8495766"/>
              <a:ext cx="153017" cy="209760"/>
              <a:chOff x="24281714" y="8495766"/>
              <a:chExt cx="153017" cy="209760"/>
            </a:xfrm>
          </p:grpSpPr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30DCF366-A4D1-4879-8EC3-B247AF5839F2}"/>
                  </a:ext>
                </a:extLst>
              </p:cNvPr>
              <p:cNvSpPr/>
              <p:nvPr/>
            </p:nvSpPr>
            <p:spPr>
              <a:xfrm>
                <a:off x="24311573" y="8495766"/>
                <a:ext cx="110543" cy="108335"/>
              </a:xfrm>
              <a:custGeom>
                <a:avLst/>
                <a:gdLst>
                  <a:gd name="connsiteX0" fmla="*/ 28498 w 110543"/>
                  <a:gd name="connsiteY0" fmla="*/ 299 h 108335"/>
                  <a:gd name="connsiteX1" fmla="*/ 93860 w 110543"/>
                  <a:gd name="connsiteY1" fmla="*/ 37648 h 108335"/>
                  <a:gd name="connsiteX2" fmla="*/ 103196 w 110543"/>
                  <a:gd name="connsiteY2" fmla="*/ 43873 h 108335"/>
                  <a:gd name="connsiteX3" fmla="*/ 109421 w 110543"/>
                  <a:gd name="connsiteY3" fmla="*/ 56322 h 108335"/>
                  <a:gd name="connsiteX4" fmla="*/ 96971 w 110543"/>
                  <a:gd name="connsiteY4" fmla="*/ 103008 h 108335"/>
                  <a:gd name="connsiteX5" fmla="*/ 59622 w 110543"/>
                  <a:gd name="connsiteY5" fmla="*/ 96783 h 108335"/>
                  <a:gd name="connsiteX6" fmla="*/ 19161 w 110543"/>
                  <a:gd name="connsiteY6" fmla="*/ 68772 h 108335"/>
                  <a:gd name="connsiteX7" fmla="*/ 488 w 110543"/>
                  <a:gd name="connsiteY7" fmla="*/ 34535 h 108335"/>
                  <a:gd name="connsiteX8" fmla="*/ 28498 w 110543"/>
                  <a:gd name="connsiteY8" fmla="*/ 299 h 108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43" h="108335">
                    <a:moveTo>
                      <a:pt x="28498" y="299"/>
                    </a:moveTo>
                    <a:cubicBezTo>
                      <a:pt x="53399" y="-2813"/>
                      <a:pt x="72072" y="18974"/>
                      <a:pt x="93860" y="37648"/>
                    </a:cubicBezTo>
                    <a:cubicBezTo>
                      <a:pt x="96971" y="37648"/>
                      <a:pt x="103196" y="40760"/>
                      <a:pt x="103196" y="43873"/>
                    </a:cubicBezTo>
                    <a:cubicBezTo>
                      <a:pt x="106308" y="46985"/>
                      <a:pt x="109421" y="50097"/>
                      <a:pt x="109421" y="56322"/>
                    </a:cubicBezTo>
                    <a:cubicBezTo>
                      <a:pt x="112533" y="68772"/>
                      <a:pt x="109421" y="90559"/>
                      <a:pt x="96971" y="103008"/>
                    </a:cubicBezTo>
                    <a:cubicBezTo>
                      <a:pt x="84523" y="115458"/>
                      <a:pt x="68961" y="103008"/>
                      <a:pt x="59622" y="96783"/>
                    </a:cubicBezTo>
                    <a:cubicBezTo>
                      <a:pt x="47174" y="87446"/>
                      <a:pt x="31612" y="78109"/>
                      <a:pt x="19161" y="68772"/>
                    </a:cubicBezTo>
                    <a:cubicBezTo>
                      <a:pt x="9825" y="62547"/>
                      <a:pt x="-2626" y="53210"/>
                      <a:pt x="488" y="34535"/>
                    </a:cubicBezTo>
                    <a:cubicBezTo>
                      <a:pt x="6713" y="15861"/>
                      <a:pt x="19161" y="299"/>
                      <a:pt x="28498" y="29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A1F1480F-64CD-46AB-A392-69437F1AEDA0}"/>
                  </a:ext>
                </a:extLst>
              </p:cNvPr>
              <p:cNvSpPr/>
              <p:nvPr/>
            </p:nvSpPr>
            <p:spPr>
              <a:xfrm>
                <a:off x="24299123" y="8542991"/>
                <a:ext cx="110544" cy="107794"/>
              </a:xfrm>
              <a:custGeom>
                <a:avLst/>
                <a:gdLst>
                  <a:gd name="connsiteX0" fmla="*/ 28500 w 110544"/>
                  <a:gd name="connsiteY0" fmla="*/ 2871 h 107794"/>
                  <a:gd name="connsiteX1" fmla="*/ 100084 w 110544"/>
                  <a:gd name="connsiteY1" fmla="*/ 37108 h 107794"/>
                  <a:gd name="connsiteX2" fmla="*/ 103196 w 110544"/>
                  <a:gd name="connsiteY2" fmla="*/ 43333 h 107794"/>
                  <a:gd name="connsiteX3" fmla="*/ 109421 w 110544"/>
                  <a:gd name="connsiteY3" fmla="*/ 55782 h 107794"/>
                  <a:gd name="connsiteX4" fmla="*/ 96973 w 110544"/>
                  <a:gd name="connsiteY4" fmla="*/ 102468 h 107794"/>
                  <a:gd name="connsiteX5" fmla="*/ 59623 w 110544"/>
                  <a:gd name="connsiteY5" fmla="*/ 96243 h 107794"/>
                  <a:gd name="connsiteX6" fmla="*/ 19163 w 110544"/>
                  <a:gd name="connsiteY6" fmla="*/ 68232 h 107794"/>
                  <a:gd name="connsiteX7" fmla="*/ 487 w 110544"/>
                  <a:gd name="connsiteY7" fmla="*/ 33995 h 107794"/>
                  <a:gd name="connsiteX8" fmla="*/ 28500 w 110544"/>
                  <a:gd name="connsiteY8" fmla="*/ 2871 h 107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44" h="107794">
                    <a:moveTo>
                      <a:pt x="28500" y="2871"/>
                    </a:moveTo>
                    <a:cubicBezTo>
                      <a:pt x="59623" y="-9578"/>
                      <a:pt x="78297" y="21546"/>
                      <a:pt x="100084" y="37108"/>
                    </a:cubicBezTo>
                    <a:cubicBezTo>
                      <a:pt x="103196" y="37108"/>
                      <a:pt x="103196" y="40220"/>
                      <a:pt x="103196" y="43333"/>
                    </a:cubicBezTo>
                    <a:cubicBezTo>
                      <a:pt x="106309" y="46445"/>
                      <a:pt x="109421" y="49557"/>
                      <a:pt x="109421" y="55782"/>
                    </a:cubicBezTo>
                    <a:cubicBezTo>
                      <a:pt x="112535" y="68232"/>
                      <a:pt x="109421" y="90019"/>
                      <a:pt x="96973" y="102468"/>
                    </a:cubicBezTo>
                    <a:cubicBezTo>
                      <a:pt x="84522" y="114918"/>
                      <a:pt x="68960" y="102468"/>
                      <a:pt x="59623" y="96243"/>
                    </a:cubicBezTo>
                    <a:cubicBezTo>
                      <a:pt x="47173" y="86906"/>
                      <a:pt x="31611" y="77569"/>
                      <a:pt x="19163" y="68232"/>
                    </a:cubicBezTo>
                    <a:cubicBezTo>
                      <a:pt x="9824" y="62007"/>
                      <a:pt x="-2624" y="52670"/>
                      <a:pt x="487" y="33995"/>
                    </a:cubicBezTo>
                    <a:cubicBezTo>
                      <a:pt x="6712" y="18433"/>
                      <a:pt x="19163" y="9096"/>
                      <a:pt x="28500" y="2871"/>
                    </a:cubicBez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58A4FA74-01D2-498F-A02D-745C3B60CDE3}"/>
                  </a:ext>
                </a:extLst>
              </p:cNvPr>
              <p:cNvSpPr/>
              <p:nvPr/>
            </p:nvSpPr>
            <p:spPr>
              <a:xfrm>
                <a:off x="24292898" y="8593613"/>
                <a:ext cx="95026" cy="88395"/>
              </a:xfrm>
              <a:custGeom>
                <a:avLst/>
                <a:gdLst>
                  <a:gd name="connsiteX0" fmla="*/ 19163 w 95026"/>
                  <a:gd name="connsiteY0" fmla="*/ 2049 h 88395"/>
                  <a:gd name="connsiteX1" fmla="*/ 84522 w 95026"/>
                  <a:gd name="connsiteY1" fmla="*/ 30060 h 88395"/>
                  <a:gd name="connsiteX2" fmla="*/ 87636 w 95026"/>
                  <a:gd name="connsiteY2" fmla="*/ 33173 h 88395"/>
                  <a:gd name="connsiteX3" fmla="*/ 93859 w 95026"/>
                  <a:gd name="connsiteY3" fmla="*/ 42509 h 88395"/>
                  <a:gd name="connsiteX4" fmla="*/ 84522 w 95026"/>
                  <a:gd name="connsiteY4" fmla="*/ 82971 h 88395"/>
                  <a:gd name="connsiteX5" fmla="*/ 53398 w 95026"/>
                  <a:gd name="connsiteY5" fmla="*/ 79859 h 88395"/>
                  <a:gd name="connsiteX6" fmla="*/ 19163 w 95026"/>
                  <a:gd name="connsiteY6" fmla="*/ 54959 h 88395"/>
                  <a:gd name="connsiteX7" fmla="*/ 487 w 95026"/>
                  <a:gd name="connsiteY7" fmla="*/ 26948 h 88395"/>
                  <a:gd name="connsiteX8" fmla="*/ 19163 w 95026"/>
                  <a:gd name="connsiteY8" fmla="*/ 2049 h 88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026" h="88395">
                    <a:moveTo>
                      <a:pt x="19163" y="2049"/>
                    </a:moveTo>
                    <a:cubicBezTo>
                      <a:pt x="47173" y="-7289"/>
                      <a:pt x="62735" y="17611"/>
                      <a:pt x="84522" y="30060"/>
                    </a:cubicBezTo>
                    <a:cubicBezTo>
                      <a:pt x="87636" y="30060"/>
                      <a:pt x="87636" y="33173"/>
                      <a:pt x="87636" y="33173"/>
                    </a:cubicBezTo>
                    <a:cubicBezTo>
                      <a:pt x="90747" y="36285"/>
                      <a:pt x="93859" y="39397"/>
                      <a:pt x="93859" y="42509"/>
                    </a:cubicBezTo>
                    <a:cubicBezTo>
                      <a:pt x="96972" y="54959"/>
                      <a:pt x="93859" y="70521"/>
                      <a:pt x="84522" y="82971"/>
                    </a:cubicBezTo>
                    <a:cubicBezTo>
                      <a:pt x="72074" y="95421"/>
                      <a:pt x="59623" y="82971"/>
                      <a:pt x="53398" y="79859"/>
                    </a:cubicBezTo>
                    <a:cubicBezTo>
                      <a:pt x="40950" y="73633"/>
                      <a:pt x="28499" y="64297"/>
                      <a:pt x="19163" y="54959"/>
                    </a:cubicBezTo>
                    <a:cubicBezTo>
                      <a:pt x="12938" y="48735"/>
                      <a:pt x="487" y="42509"/>
                      <a:pt x="487" y="26948"/>
                    </a:cubicBezTo>
                    <a:cubicBezTo>
                      <a:pt x="-2624" y="14498"/>
                      <a:pt x="9826" y="5161"/>
                      <a:pt x="19163" y="204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4D55AAB0-536C-412E-80EB-BDC193A77AD0}"/>
                  </a:ext>
                </a:extLst>
              </p:cNvPr>
              <p:cNvSpPr/>
              <p:nvPr/>
            </p:nvSpPr>
            <p:spPr>
              <a:xfrm>
                <a:off x="24286543" y="8641103"/>
                <a:ext cx="70311" cy="64423"/>
              </a:xfrm>
              <a:custGeom>
                <a:avLst/>
                <a:gdLst>
                  <a:gd name="connsiteX0" fmla="*/ 13067 w 70311"/>
                  <a:gd name="connsiteY0" fmla="*/ 1245 h 64423"/>
                  <a:gd name="connsiteX1" fmla="*/ 59753 w 70311"/>
                  <a:gd name="connsiteY1" fmla="*/ 23031 h 64423"/>
                  <a:gd name="connsiteX2" fmla="*/ 62866 w 70311"/>
                  <a:gd name="connsiteY2" fmla="*/ 26143 h 64423"/>
                  <a:gd name="connsiteX3" fmla="*/ 69090 w 70311"/>
                  <a:gd name="connsiteY3" fmla="*/ 32369 h 64423"/>
                  <a:gd name="connsiteX4" fmla="*/ 62866 w 70311"/>
                  <a:gd name="connsiteY4" fmla="*/ 60380 h 64423"/>
                  <a:gd name="connsiteX5" fmla="*/ 37966 w 70311"/>
                  <a:gd name="connsiteY5" fmla="*/ 57267 h 64423"/>
                  <a:gd name="connsiteX6" fmla="*/ 13067 w 70311"/>
                  <a:gd name="connsiteY6" fmla="*/ 38593 h 64423"/>
                  <a:gd name="connsiteX7" fmla="*/ 619 w 70311"/>
                  <a:gd name="connsiteY7" fmla="*/ 16807 h 64423"/>
                  <a:gd name="connsiteX8" fmla="*/ 13067 w 70311"/>
                  <a:gd name="connsiteY8" fmla="*/ 1245 h 64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0311" h="64423">
                    <a:moveTo>
                      <a:pt x="13067" y="1245"/>
                    </a:moveTo>
                    <a:cubicBezTo>
                      <a:pt x="34854" y="-4981"/>
                      <a:pt x="47305" y="13694"/>
                      <a:pt x="59753" y="23031"/>
                    </a:cubicBezTo>
                    <a:cubicBezTo>
                      <a:pt x="59753" y="23031"/>
                      <a:pt x="62866" y="26143"/>
                      <a:pt x="62866" y="26143"/>
                    </a:cubicBezTo>
                    <a:cubicBezTo>
                      <a:pt x="65978" y="29256"/>
                      <a:pt x="65978" y="29256"/>
                      <a:pt x="69090" y="32369"/>
                    </a:cubicBezTo>
                    <a:cubicBezTo>
                      <a:pt x="72203" y="41705"/>
                      <a:pt x="69090" y="54155"/>
                      <a:pt x="62866" y="60380"/>
                    </a:cubicBezTo>
                    <a:cubicBezTo>
                      <a:pt x="53528" y="69717"/>
                      <a:pt x="44191" y="60380"/>
                      <a:pt x="37966" y="57267"/>
                    </a:cubicBezTo>
                    <a:cubicBezTo>
                      <a:pt x="28629" y="51043"/>
                      <a:pt x="19292" y="47931"/>
                      <a:pt x="13067" y="38593"/>
                    </a:cubicBezTo>
                    <a:cubicBezTo>
                      <a:pt x="6842" y="35481"/>
                      <a:pt x="619" y="29256"/>
                      <a:pt x="619" y="16807"/>
                    </a:cubicBezTo>
                    <a:cubicBezTo>
                      <a:pt x="-2495" y="10581"/>
                      <a:pt x="6842" y="4357"/>
                      <a:pt x="13067" y="1245"/>
                    </a:cubicBez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3A757CD7-8A94-445D-B46F-A22FE7CA958E}"/>
                  </a:ext>
                </a:extLst>
              </p:cNvPr>
              <p:cNvSpPr/>
              <p:nvPr/>
            </p:nvSpPr>
            <p:spPr>
              <a:xfrm>
                <a:off x="24303471" y="8499177"/>
                <a:ext cx="131260" cy="155619"/>
              </a:xfrm>
              <a:custGeom>
                <a:avLst/>
                <a:gdLst>
                  <a:gd name="connsiteX0" fmla="*/ 89510 w 131260"/>
                  <a:gd name="connsiteY0" fmla="*/ 155620 h 155619"/>
                  <a:gd name="connsiteX1" fmla="*/ 52161 w 131260"/>
                  <a:gd name="connsiteY1" fmla="*/ 140058 h 155619"/>
                  <a:gd name="connsiteX2" fmla="*/ 2364 w 131260"/>
                  <a:gd name="connsiteY2" fmla="*/ 62248 h 155619"/>
                  <a:gd name="connsiteX3" fmla="*/ 17926 w 131260"/>
                  <a:gd name="connsiteY3" fmla="*/ 43573 h 155619"/>
                  <a:gd name="connsiteX4" fmla="*/ 27263 w 131260"/>
                  <a:gd name="connsiteY4" fmla="*/ 46686 h 155619"/>
                  <a:gd name="connsiteX5" fmla="*/ 98847 w 131260"/>
                  <a:gd name="connsiteY5" fmla="*/ 90259 h 155619"/>
                  <a:gd name="connsiteX6" fmla="*/ 114409 w 131260"/>
                  <a:gd name="connsiteY6" fmla="*/ 77810 h 155619"/>
                  <a:gd name="connsiteX7" fmla="*/ 117523 w 131260"/>
                  <a:gd name="connsiteY7" fmla="*/ 62248 h 155619"/>
                  <a:gd name="connsiteX8" fmla="*/ 61500 w 131260"/>
                  <a:gd name="connsiteY8" fmla="*/ 12449 h 155619"/>
                  <a:gd name="connsiteX9" fmla="*/ 58387 w 131260"/>
                  <a:gd name="connsiteY9" fmla="*/ 3113 h 155619"/>
                  <a:gd name="connsiteX10" fmla="*/ 67723 w 131260"/>
                  <a:gd name="connsiteY10" fmla="*/ 0 h 155619"/>
                  <a:gd name="connsiteX11" fmla="*/ 129971 w 131260"/>
                  <a:gd name="connsiteY11" fmla="*/ 56023 h 155619"/>
                  <a:gd name="connsiteX12" fmla="*/ 126860 w 131260"/>
                  <a:gd name="connsiteY12" fmla="*/ 80922 h 155619"/>
                  <a:gd name="connsiteX13" fmla="*/ 117523 w 131260"/>
                  <a:gd name="connsiteY13" fmla="*/ 93372 h 155619"/>
                  <a:gd name="connsiteX14" fmla="*/ 117523 w 131260"/>
                  <a:gd name="connsiteY14" fmla="*/ 93372 h 155619"/>
                  <a:gd name="connsiteX15" fmla="*/ 111298 w 131260"/>
                  <a:gd name="connsiteY15" fmla="*/ 140058 h 155619"/>
                  <a:gd name="connsiteX16" fmla="*/ 89510 w 131260"/>
                  <a:gd name="connsiteY16" fmla="*/ 155620 h 155619"/>
                  <a:gd name="connsiteX17" fmla="*/ 21037 w 131260"/>
                  <a:gd name="connsiteY17" fmla="*/ 52911 h 155619"/>
                  <a:gd name="connsiteX18" fmla="*/ 11701 w 131260"/>
                  <a:gd name="connsiteY18" fmla="*/ 65360 h 155619"/>
                  <a:gd name="connsiteX19" fmla="*/ 55275 w 131260"/>
                  <a:gd name="connsiteY19" fmla="*/ 127608 h 155619"/>
                  <a:gd name="connsiteX20" fmla="*/ 98847 w 131260"/>
                  <a:gd name="connsiteY20" fmla="*/ 133833 h 155619"/>
                  <a:gd name="connsiteX21" fmla="*/ 105072 w 131260"/>
                  <a:gd name="connsiteY21" fmla="*/ 96484 h 155619"/>
                  <a:gd name="connsiteX22" fmla="*/ 101961 w 131260"/>
                  <a:gd name="connsiteY22" fmla="*/ 96484 h 155619"/>
                  <a:gd name="connsiteX23" fmla="*/ 21037 w 131260"/>
                  <a:gd name="connsiteY23" fmla="*/ 52911 h 15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1260" h="155619">
                    <a:moveTo>
                      <a:pt x="89510" y="155620"/>
                    </a:moveTo>
                    <a:cubicBezTo>
                      <a:pt x="77062" y="155620"/>
                      <a:pt x="64612" y="146282"/>
                      <a:pt x="52161" y="140058"/>
                    </a:cubicBezTo>
                    <a:cubicBezTo>
                      <a:pt x="11701" y="115158"/>
                      <a:pt x="-6973" y="87147"/>
                      <a:pt x="2364" y="62248"/>
                    </a:cubicBezTo>
                    <a:cubicBezTo>
                      <a:pt x="5475" y="49798"/>
                      <a:pt x="11701" y="43573"/>
                      <a:pt x="17926" y="43573"/>
                    </a:cubicBezTo>
                    <a:cubicBezTo>
                      <a:pt x="21037" y="43573"/>
                      <a:pt x="27263" y="43573"/>
                      <a:pt x="27263" y="46686"/>
                    </a:cubicBezTo>
                    <a:cubicBezTo>
                      <a:pt x="61500" y="77810"/>
                      <a:pt x="83285" y="93372"/>
                      <a:pt x="98847" y="90259"/>
                    </a:cubicBezTo>
                    <a:cubicBezTo>
                      <a:pt x="105072" y="90259"/>
                      <a:pt x="111298" y="84034"/>
                      <a:pt x="114409" y="77810"/>
                    </a:cubicBezTo>
                    <a:cubicBezTo>
                      <a:pt x="117523" y="71585"/>
                      <a:pt x="117523" y="68473"/>
                      <a:pt x="117523" y="62248"/>
                    </a:cubicBezTo>
                    <a:cubicBezTo>
                      <a:pt x="111298" y="40461"/>
                      <a:pt x="77062" y="18675"/>
                      <a:pt x="61500" y="12449"/>
                    </a:cubicBezTo>
                    <a:cubicBezTo>
                      <a:pt x="58387" y="12449"/>
                      <a:pt x="58387" y="6225"/>
                      <a:pt x="58387" y="3113"/>
                    </a:cubicBezTo>
                    <a:cubicBezTo>
                      <a:pt x="58387" y="0"/>
                      <a:pt x="64612" y="0"/>
                      <a:pt x="67723" y="0"/>
                    </a:cubicBezTo>
                    <a:cubicBezTo>
                      <a:pt x="70837" y="0"/>
                      <a:pt x="120634" y="28011"/>
                      <a:pt x="129971" y="56023"/>
                    </a:cubicBezTo>
                    <a:cubicBezTo>
                      <a:pt x="133085" y="65360"/>
                      <a:pt x="129971" y="74697"/>
                      <a:pt x="126860" y="80922"/>
                    </a:cubicBezTo>
                    <a:cubicBezTo>
                      <a:pt x="123748" y="84034"/>
                      <a:pt x="120634" y="87147"/>
                      <a:pt x="117523" y="93372"/>
                    </a:cubicBezTo>
                    <a:cubicBezTo>
                      <a:pt x="117523" y="93372"/>
                      <a:pt x="117523" y="93372"/>
                      <a:pt x="117523" y="93372"/>
                    </a:cubicBezTo>
                    <a:cubicBezTo>
                      <a:pt x="117523" y="93372"/>
                      <a:pt x="123748" y="124496"/>
                      <a:pt x="111298" y="140058"/>
                    </a:cubicBezTo>
                    <a:cubicBezTo>
                      <a:pt x="105072" y="152507"/>
                      <a:pt x="95736" y="155620"/>
                      <a:pt x="89510" y="155620"/>
                    </a:cubicBezTo>
                    <a:close/>
                    <a:moveTo>
                      <a:pt x="21037" y="52911"/>
                    </a:moveTo>
                    <a:cubicBezTo>
                      <a:pt x="21037" y="52911"/>
                      <a:pt x="17926" y="56023"/>
                      <a:pt x="11701" y="65360"/>
                    </a:cubicBezTo>
                    <a:cubicBezTo>
                      <a:pt x="2364" y="90259"/>
                      <a:pt x="36599" y="115158"/>
                      <a:pt x="55275" y="127608"/>
                    </a:cubicBezTo>
                    <a:cubicBezTo>
                      <a:pt x="83285" y="146282"/>
                      <a:pt x="92624" y="146282"/>
                      <a:pt x="98847" y="133833"/>
                    </a:cubicBezTo>
                    <a:cubicBezTo>
                      <a:pt x="105072" y="121383"/>
                      <a:pt x="105072" y="105821"/>
                      <a:pt x="105072" y="96484"/>
                    </a:cubicBezTo>
                    <a:cubicBezTo>
                      <a:pt x="105072" y="96484"/>
                      <a:pt x="101961" y="96484"/>
                      <a:pt x="101961" y="96484"/>
                    </a:cubicBezTo>
                    <a:cubicBezTo>
                      <a:pt x="83285" y="102709"/>
                      <a:pt x="58387" y="87147"/>
                      <a:pt x="21037" y="5291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2C60E8FB-6C95-4EC6-8211-DE229FF63065}"/>
                  </a:ext>
                </a:extLst>
              </p:cNvPr>
              <p:cNvSpPr/>
              <p:nvPr/>
            </p:nvSpPr>
            <p:spPr>
              <a:xfrm>
                <a:off x="24281714" y="8589436"/>
                <a:ext cx="114380" cy="99596"/>
              </a:xfrm>
              <a:custGeom>
                <a:avLst/>
                <a:gdLst>
                  <a:gd name="connsiteX0" fmla="*/ 83257 w 114380"/>
                  <a:gd name="connsiteY0" fmla="*/ 99597 h 99596"/>
                  <a:gd name="connsiteX1" fmla="*/ 70807 w 114380"/>
                  <a:gd name="connsiteY1" fmla="*/ 96484 h 99596"/>
                  <a:gd name="connsiteX2" fmla="*/ 2334 w 114380"/>
                  <a:gd name="connsiteY2" fmla="*/ 43574 h 99596"/>
                  <a:gd name="connsiteX3" fmla="*/ 2334 w 114380"/>
                  <a:gd name="connsiteY3" fmla="*/ 21787 h 99596"/>
                  <a:gd name="connsiteX4" fmla="*/ 24121 w 114380"/>
                  <a:gd name="connsiteY4" fmla="*/ 0 h 99596"/>
                  <a:gd name="connsiteX5" fmla="*/ 30346 w 114380"/>
                  <a:gd name="connsiteY5" fmla="*/ 3113 h 99596"/>
                  <a:gd name="connsiteX6" fmla="*/ 27232 w 114380"/>
                  <a:gd name="connsiteY6" fmla="*/ 9337 h 99596"/>
                  <a:gd name="connsiteX7" fmla="*/ 11671 w 114380"/>
                  <a:gd name="connsiteY7" fmla="*/ 24899 h 99596"/>
                  <a:gd name="connsiteX8" fmla="*/ 11671 w 114380"/>
                  <a:gd name="connsiteY8" fmla="*/ 34237 h 99596"/>
                  <a:gd name="connsiteX9" fmla="*/ 73918 w 114380"/>
                  <a:gd name="connsiteY9" fmla="*/ 80922 h 99596"/>
                  <a:gd name="connsiteX10" fmla="*/ 89480 w 114380"/>
                  <a:gd name="connsiteY10" fmla="*/ 80922 h 99596"/>
                  <a:gd name="connsiteX11" fmla="*/ 101931 w 114380"/>
                  <a:gd name="connsiteY11" fmla="*/ 56023 h 99596"/>
                  <a:gd name="connsiteX12" fmla="*/ 108156 w 114380"/>
                  <a:gd name="connsiteY12" fmla="*/ 49798 h 99596"/>
                  <a:gd name="connsiteX13" fmla="*/ 114381 w 114380"/>
                  <a:gd name="connsiteY13" fmla="*/ 56023 h 99596"/>
                  <a:gd name="connsiteX14" fmla="*/ 95705 w 114380"/>
                  <a:gd name="connsiteY14" fmla="*/ 90260 h 99596"/>
                  <a:gd name="connsiteX15" fmla="*/ 83257 w 114380"/>
                  <a:gd name="connsiteY15" fmla="*/ 99597 h 99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4380" h="99596">
                    <a:moveTo>
                      <a:pt x="83257" y="99597"/>
                    </a:moveTo>
                    <a:cubicBezTo>
                      <a:pt x="80144" y="99597"/>
                      <a:pt x="77032" y="99597"/>
                      <a:pt x="70807" y="96484"/>
                    </a:cubicBezTo>
                    <a:cubicBezTo>
                      <a:pt x="39683" y="84035"/>
                      <a:pt x="8559" y="56023"/>
                      <a:pt x="2334" y="43574"/>
                    </a:cubicBezTo>
                    <a:cubicBezTo>
                      <a:pt x="-778" y="37349"/>
                      <a:pt x="-778" y="31124"/>
                      <a:pt x="2334" y="21787"/>
                    </a:cubicBezTo>
                    <a:cubicBezTo>
                      <a:pt x="5447" y="12450"/>
                      <a:pt x="17896" y="0"/>
                      <a:pt x="24121" y="0"/>
                    </a:cubicBezTo>
                    <a:cubicBezTo>
                      <a:pt x="27232" y="0"/>
                      <a:pt x="30346" y="0"/>
                      <a:pt x="30346" y="3113"/>
                    </a:cubicBezTo>
                    <a:cubicBezTo>
                      <a:pt x="30346" y="6225"/>
                      <a:pt x="30346" y="9337"/>
                      <a:pt x="27232" y="9337"/>
                    </a:cubicBezTo>
                    <a:cubicBezTo>
                      <a:pt x="24121" y="9337"/>
                      <a:pt x="17896" y="15562"/>
                      <a:pt x="11671" y="24899"/>
                    </a:cubicBezTo>
                    <a:cubicBezTo>
                      <a:pt x="8559" y="28012"/>
                      <a:pt x="8559" y="34237"/>
                      <a:pt x="11671" y="34237"/>
                    </a:cubicBezTo>
                    <a:cubicBezTo>
                      <a:pt x="17896" y="43574"/>
                      <a:pt x="42794" y="71585"/>
                      <a:pt x="73918" y="80922"/>
                    </a:cubicBezTo>
                    <a:cubicBezTo>
                      <a:pt x="80144" y="84035"/>
                      <a:pt x="83257" y="84035"/>
                      <a:pt x="89480" y="80922"/>
                    </a:cubicBezTo>
                    <a:cubicBezTo>
                      <a:pt x="98819" y="74698"/>
                      <a:pt x="101931" y="59136"/>
                      <a:pt x="101931" y="56023"/>
                    </a:cubicBezTo>
                    <a:cubicBezTo>
                      <a:pt x="101931" y="52911"/>
                      <a:pt x="105042" y="49798"/>
                      <a:pt x="108156" y="49798"/>
                    </a:cubicBezTo>
                    <a:cubicBezTo>
                      <a:pt x="111267" y="49798"/>
                      <a:pt x="114381" y="52911"/>
                      <a:pt x="114381" y="56023"/>
                    </a:cubicBezTo>
                    <a:cubicBezTo>
                      <a:pt x="114381" y="56023"/>
                      <a:pt x="111267" y="80922"/>
                      <a:pt x="95705" y="90260"/>
                    </a:cubicBezTo>
                    <a:cubicBezTo>
                      <a:pt x="92594" y="96484"/>
                      <a:pt x="89480" y="99597"/>
                      <a:pt x="83257" y="9959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9" name="图形 1">
              <a:extLst>
                <a:ext uri="{FF2B5EF4-FFF2-40B4-BE49-F238E27FC236}">
                  <a16:creationId xmlns:a16="http://schemas.microsoft.com/office/drawing/2014/main" id="{B36558E6-7352-4388-9B53-76ACEBBCACB0}"/>
                </a:ext>
              </a:extLst>
            </p:cNvPr>
            <p:cNvGrpSpPr/>
            <p:nvPr/>
          </p:nvGrpSpPr>
          <p:grpSpPr>
            <a:xfrm>
              <a:off x="24384423" y="8592549"/>
              <a:ext cx="154841" cy="152507"/>
              <a:chOff x="24384423" y="8592549"/>
              <a:chExt cx="154841" cy="152507"/>
            </a:xfrm>
          </p:grpSpPr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FF621C13-491C-49F8-95A9-DE6B16E626E2}"/>
                  </a:ext>
                </a:extLst>
              </p:cNvPr>
              <p:cNvSpPr/>
              <p:nvPr/>
            </p:nvSpPr>
            <p:spPr>
              <a:xfrm>
                <a:off x="24389870" y="8601886"/>
                <a:ext cx="140148" cy="140537"/>
              </a:xfrm>
              <a:custGeom>
                <a:avLst/>
                <a:gdLst>
                  <a:gd name="connsiteX0" fmla="*/ 0 w 140148"/>
                  <a:gd name="connsiteY0" fmla="*/ 40461 h 140537"/>
                  <a:gd name="connsiteX1" fmla="*/ 28010 w 140148"/>
                  <a:gd name="connsiteY1" fmla="*/ 43573 h 140537"/>
                  <a:gd name="connsiteX2" fmla="*/ 77810 w 140148"/>
                  <a:gd name="connsiteY2" fmla="*/ 74697 h 140537"/>
                  <a:gd name="connsiteX3" fmla="*/ 65359 w 140148"/>
                  <a:gd name="connsiteY3" fmla="*/ 140058 h 140537"/>
                  <a:gd name="connsiteX4" fmla="*/ 140058 w 140148"/>
                  <a:gd name="connsiteY4" fmla="*/ 71585 h 140537"/>
                  <a:gd name="connsiteX5" fmla="*/ 74696 w 140148"/>
                  <a:gd name="connsiteY5" fmla="*/ 0 h 140537"/>
                  <a:gd name="connsiteX6" fmla="*/ 0 w 140148"/>
                  <a:gd name="connsiteY6" fmla="*/ 40461 h 140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0148" h="140537">
                    <a:moveTo>
                      <a:pt x="0" y="40461"/>
                    </a:moveTo>
                    <a:cubicBezTo>
                      <a:pt x="0" y="49798"/>
                      <a:pt x="18674" y="43573"/>
                      <a:pt x="28010" y="43573"/>
                    </a:cubicBezTo>
                    <a:cubicBezTo>
                      <a:pt x="49798" y="46686"/>
                      <a:pt x="68473" y="52911"/>
                      <a:pt x="77810" y="74697"/>
                    </a:cubicBezTo>
                    <a:cubicBezTo>
                      <a:pt x="84035" y="87147"/>
                      <a:pt x="40461" y="105821"/>
                      <a:pt x="65359" y="140058"/>
                    </a:cubicBezTo>
                    <a:cubicBezTo>
                      <a:pt x="65359" y="146282"/>
                      <a:pt x="143169" y="90259"/>
                      <a:pt x="140058" y="71585"/>
                    </a:cubicBezTo>
                    <a:cubicBezTo>
                      <a:pt x="136944" y="43573"/>
                      <a:pt x="108934" y="3112"/>
                      <a:pt x="74696" y="0"/>
                    </a:cubicBezTo>
                    <a:cubicBezTo>
                      <a:pt x="59134" y="0"/>
                      <a:pt x="0" y="18674"/>
                      <a:pt x="0" y="40461"/>
                    </a:cubicBez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72084AF8-F74B-40D8-9AE8-158C2255FF45}"/>
                  </a:ext>
                </a:extLst>
              </p:cNvPr>
              <p:cNvSpPr/>
              <p:nvPr/>
            </p:nvSpPr>
            <p:spPr>
              <a:xfrm>
                <a:off x="24384423" y="8592549"/>
                <a:ext cx="154841" cy="152507"/>
              </a:xfrm>
              <a:custGeom>
                <a:avLst/>
                <a:gdLst>
                  <a:gd name="connsiteX0" fmla="*/ 70807 w 154841"/>
                  <a:gd name="connsiteY0" fmla="*/ 152507 h 152507"/>
                  <a:gd name="connsiteX1" fmla="*/ 67695 w 154841"/>
                  <a:gd name="connsiteY1" fmla="*/ 149395 h 152507"/>
                  <a:gd name="connsiteX2" fmla="*/ 77032 w 154841"/>
                  <a:gd name="connsiteY2" fmla="*/ 80922 h 152507"/>
                  <a:gd name="connsiteX3" fmla="*/ 30346 w 154841"/>
                  <a:gd name="connsiteY3" fmla="*/ 59135 h 152507"/>
                  <a:gd name="connsiteX4" fmla="*/ 2334 w 154841"/>
                  <a:gd name="connsiteY4" fmla="*/ 49798 h 152507"/>
                  <a:gd name="connsiteX5" fmla="*/ 2334 w 154841"/>
                  <a:gd name="connsiteY5" fmla="*/ 34237 h 152507"/>
                  <a:gd name="connsiteX6" fmla="*/ 83257 w 154841"/>
                  <a:gd name="connsiteY6" fmla="*/ 0 h 152507"/>
                  <a:gd name="connsiteX7" fmla="*/ 86369 w 154841"/>
                  <a:gd name="connsiteY7" fmla="*/ 0 h 152507"/>
                  <a:gd name="connsiteX8" fmla="*/ 154842 w 154841"/>
                  <a:gd name="connsiteY8" fmla="*/ 74697 h 152507"/>
                  <a:gd name="connsiteX9" fmla="*/ 151730 w 154841"/>
                  <a:gd name="connsiteY9" fmla="*/ 80922 h 152507"/>
                  <a:gd name="connsiteX10" fmla="*/ 145505 w 154841"/>
                  <a:gd name="connsiteY10" fmla="*/ 77810 h 152507"/>
                  <a:gd name="connsiteX11" fmla="*/ 89482 w 154841"/>
                  <a:gd name="connsiteY11" fmla="*/ 12449 h 152507"/>
                  <a:gd name="connsiteX12" fmla="*/ 89482 w 154841"/>
                  <a:gd name="connsiteY12" fmla="*/ 12449 h 152507"/>
                  <a:gd name="connsiteX13" fmla="*/ 21009 w 154841"/>
                  <a:gd name="connsiteY13" fmla="*/ 40461 h 152507"/>
                  <a:gd name="connsiteX14" fmla="*/ 21009 w 154841"/>
                  <a:gd name="connsiteY14" fmla="*/ 43573 h 152507"/>
                  <a:gd name="connsiteX15" fmla="*/ 39683 w 154841"/>
                  <a:gd name="connsiteY15" fmla="*/ 46686 h 152507"/>
                  <a:gd name="connsiteX16" fmla="*/ 98819 w 154841"/>
                  <a:gd name="connsiteY16" fmla="*/ 77810 h 152507"/>
                  <a:gd name="connsiteX17" fmla="*/ 98819 w 154841"/>
                  <a:gd name="connsiteY17" fmla="*/ 84034 h 152507"/>
                  <a:gd name="connsiteX18" fmla="*/ 86369 w 154841"/>
                  <a:gd name="connsiteY18" fmla="*/ 140058 h 152507"/>
                  <a:gd name="connsiteX19" fmla="*/ 86369 w 154841"/>
                  <a:gd name="connsiteY19" fmla="*/ 149395 h 152507"/>
                  <a:gd name="connsiteX20" fmla="*/ 70807 w 154841"/>
                  <a:gd name="connsiteY20" fmla="*/ 152507 h 152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54841" h="152507">
                    <a:moveTo>
                      <a:pt x="70807" y="152507"/>
                    </a:moveTo>
                    <a:cubicBezTo>
                      <a:pt x="70807" y="152507"/>
                      <a:pt x="67695" y="152507"/>
                      <a:pt x="67695" y="149395"/>
                    </a:cubicBezTo>
                    <a:cubicBezTo>
                      <a:pt x="42796" y="127608"/>
                      <a:pt x="67695" y="90259"/>
                      <a:pt x="77032" y="80922"/>
                    </a:cubicBezTo>
                    <a:cubicBezTo>
                      <a:pt x="67695" y="62248"/>
                      <a:pt x="45908" y="62248"/>
                      <a:pt x="30346" y="59135"/>
                    </a:cubicBezTo>
                    <a:cubicBezTo>
                      <a:pt x="17896" y="59135"/>
                      <a:pt x="5447" y="56023"/>
                      <a:pt x="2334" y="49798"/>
                    </a:cubicBezTo>
                    <a:cubicBezTo>
                      <a:pt x="-778" y="46686"/>
                      <a:pt x="-778" y="40461"/>
                      <a:pt x="2334" y="34237"/>
                    </a:cubicBezTo>
                    <a:cubicBezTo>
                      <a:pt x="11672" y="18675"/>
                      <a:pt x="42796" y="3113"/>
                      <a:pt x="83257" y="0"/>
                    </a:cubicBezTo>
                    <a:cubicBezTo>
                      <a:pt x="83257" y="0"/>
                      <a:pt x="83257" y="0"/>
                      <a:pt x="86369" y="0"/>
                    </a:cubicBezTo>
                    <a:cubicBezTo>
                      <a:pt x="133055" y="0"/>
                      <a:pt x="154842" y="71585"/>
                      <a:pt x="154842" y="74697"/>
                    </a:cubicBezTo>
                    <a:cubicBezTo>
                      <a:pt x="154842" y="77810"/>
                      <a:pt x="154842" y="80922"/>
                      <a:pt x="151730" y="80922"/>
                    </a:cubicBezTo>
                    <a:cubicBezTo>
                      <a:pt x="148617" y="80922"/>
                      <a:pt x="145505" y="80922"/>
                      <a:pt x="145505" y="77810"/>
                    </a:cubicBezTo>
                    <a:cubicBezTo>
                      <a:pt x="145505" y="77810"/>
                      <a:pt x="126829" y="12449"/>
                      <a:pt x="89482" y="12449"/>
                    </a:cubicBezTo>
                    <a:cubicBezTo>
                      <a:pt x="89482" y="12449"/>
                      <a:pt x="89482" y="12449"/>
                      <a:pt x="89482" y="12449"/>
                    </a:cubicBezTo>
                    <a:cubicBezTo>
                      <a:pt x="55245" y="12449"/>
                      <a:pt x="27234" y="28011"/>
                      <a:pt x="21009" y="40461"/>
                    </a:cubicBezTo>
                    <a:cubicBezTo>
                      <a:pt x="21009" y="40461"/>
                      <a:pt x="21009" y="43573"/>
                      <a:pt x="21009" y="43573"/>
                    </a:cubicBezTo>
                    <a:cubicBezTo>
                      <a:pt x="21009" y="46686"/>
                      <a:pt x="33458" y="46686"/>
                      <a:pt x="39683" y="46686"/>
                    </a:cubicBezTo>
                    <a:cubicBezTo>
                      <a:pt x="58358" y="49798"/>
                      <a:pt x="86369" y="49798"/>
                      <a:pt x="98819" y="77810"/>
                    </a:cubicBezTo>
                    <a:cubicBezTo>
                      <a:pt x="98819" y="80922"/>
                      <a:pt x="98819" y="80922"/>
                      <a:pt x="98819" y="84034"/>
                    </a:cubicBezTo>
                    <a:cubicBezTo>
                      <a:pt x="98819" y="84034"/>
                      <a:pt x="67695" y="121383"/>
                      <a:pt x="86369" y="140058"/>
                    </a:cubicBezTo>
                    <a:cubicBezTo>
                      <a:pt x="89482" y="143170"/>
                      <a:pt x="89482" y="146282"/>
                      <a:pt x="86369" y="149395"/>
                    </a:cubicBezTo>
                    <a:cubicBezTo>
                      <a:pt x="73920" y="152507"/>
                      <a:pt x="70807" y="152507"/>
                      <a:pt x="70807" y="15250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35856701-A42B-4828-B956-ECE3965DC52F}"/>
                </a:ext>
              </a:extLst>
            </p:cNvPr>
            <p:cNvSpPr/>
            <p:nvPr/>
          </p:nvSpPr>
          <p:spPr>
            <a:xfrm>
              <a:off x="19576260" y="9622470"/>
              <a:ext cx="295244" cy="177924"/>
            </a:xfrm>
            <a:custGeom>
              <a:avLst/>
              <a:gdLst>
                <a:gd name="connsiteX0" fmla="*/ 4965 w 295244"/>
                <a:gd name="connsiteY0" fmla="*/ 115439 h 177924"/>
                <a:gd name="connsiteX1" fmla="*/ 8077 w 295244"/>
                <a:gd name="connsiteY1" fmla="*/ 124776 h 177924"/>
                <a:gd name="connsiteX2" fmla="*/ 148134 w 295244"/>
                <a:gd name="connsiteY2" fmla="*/ 177687 h 177924"/>
                <a:gd name="connsiteX3" fmla="*/ 272630 w 295244"/>
                <a:gd name="connsiteY3" fmla="*/ 140338 h 177924"/>
                <a:gd name="connsiteX4" fmla="*/ 294417 w 295244"/>
                <a:gd name="connsiteY4" fmla="*/ 96765 h 177924"/>
                <a:gd name="connsiteX5" fmla="*/ 285080 w 295244"/>
                <a:gd name="connsiteY5" fmla="*/ 84315 h 177924"/>
                <a:gd name="connsiteX6" fmla="*/ 291306 w 295244"/>
                <a:gd name="connsiteY6" fmla="*/ 81203 h 177924"/>
                <a:gd name="connsiteX7" fmla="*/ 275744 w 295244"/>
                <a:gd name="connsiteY7" fmla="*/ 65641 h 177924"/>
                <a:gd name="connsiteX8" fmla="*/ 123236 w 295244"/>
                <a:gd name="connsiteY8" fmla="*/ 68753 h 177924"/>
                <a:gd name="connsiteX9" fmla="*/ 157471 w 295244"/>
                <a:gd name="connsiteY9" fmla="*/ 37629 h 177924"/>
                <a:gd name="connsiteX10" fmla="*/ 207271 w 295244"/>
                <a:gd name="connsiteY10" fmla="*/ 31405 h 177924"/>
                <a:gd name="connsiteX11" fmla="*/ 182372 w 295244"/>
                <a:gd name="connsiteY11" fmla="*/ 6505 h 177924"/>
                <a:gd name="connsiteX12" fmla="*/ 126347 w 295244"/>
                <a:gd name="connsiteY12" fmla="*/ 3393 h 177924"/>
                <a:gd name="connsiteX13" fmla="*/ 51651 w 295244"/>
                <a:gd name="connsiteY13" fmla="*/ 18955 h 177924"/>
                <a:gd name="connsiteX14" fmla="*/ 4965 w 295244"/>
                <a:gd name="connsiteY14" fmla="*/ 115439 h 177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5244" h="177924">
                  <a:moveTo>
                    <a:pt x="4965" y="115439"/>
                  </a:moveTo>
                  <a:cubicBezTo>
                    <a:pt x="1852" y="118551"/>
                    <a:pt x="4965" y="124776"/>
                    <a:pt x="8077" y="124776"/>
                  </a:cubicBezTo>
                  <a:cubicBezTo>
                    <a:pt x="42314" y="152788"/>
                    <a:pt x="101449" y="180799"/>
                    <a:pt x="148134" y="177687"/>
                  </a:cubicBezTo>
                  <a:cubicBezTo>
                    <a:pt x="179258" y="177687"/>
                    <a:pt x="244620" y="159013"/>
                    <a:pt x="272630" y="140338"/>
                  </a:cubicBezTo>
                  <a:cubicBezTo>
                    <a:pt x="285080" y="131001"/>
                    <a:pt x="294417" y="102989"/>
                    <a:pt x="294417" y="96765"/>
                  </a:cubicBezTo>
                  <a:cubicBezTo>
                    <a:pt x="297529" y="84315"/>
                    <a:pt x="291306" y="87427"/>
                    <a:pt x="285080" y="84315"/>
                  </a:cubicBezTo>
                  <a:cubicBezTo>
                    <a:pt x="285080" y="84315"/>
                    <a:pt x="291306" y="81203"/>
                    <a:pt x="291306" y="81203"/>
                  </a:cubicBezTo>
                  <a:cubicBezTo>
                    <a:pt x="294417" y="78091"/>
                    <a:pt x="278855" y="71865"/>
                    <a:pt x="275744" y="65641"/>
                  </a:cubicBezTo>
                  <a:cubicBezTo>
                    <a:pt x="266405" y="43854"/>
                    <a:pt x="145023" y="102989"/>
                    <a:pt x="123236" y="68753"/>
                  </a:cubicBezTo>
                  <a:cubicBezTo>
                    <a:pt x="126347" y="62529"/>
                    <a:pt x="141909" y="43854"/>
                    <a:pt x="157471" y="37629"/>
                  </a:cubicBezTo>
                  <a:cubicBezTo>
                    <a:pt x="194820" y="43854"/>
                    <a:pt x="207271" y="34517"/>
                    <a:pt x="207271" y="31405"/>
                  </a:cubicBezTo>
                  <a:cubicBezTo>
                    <a:pt x="207271" y="25180"/>
                    <a:pt x="188595" y="6505"/>
                    <a:pt x="182372" y="6505"/>
                  </a:cubicBezTo>
                  <a:cubicBezTo>
                    <a:pt x="148134" y="281"/>
                    <a:pt x="157471" y="-2832"/>
                    <a:pt x="126347" y="3393"/>
                  </a:cubicBezTo>
                  <a:cubicBezTo>
                    <a:pt x="101449" y="6505"/>
                    <a:pt x="76550" y="15843"/>
                    <a:pt x="51651" y="18955"/>
                  </a:cubicBezTo>
                  <a:cubicBezTo>
                    <a:pt x="1852" y="25180"/>
                    <a:pt x="-7485" y="78091"/>
                    <a:pt x="4965" y="115439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6957CFF1-C443-4C62-9C0E-08DE2EF9528E}"/>
                </a:ext>
              </a:extLst>
            </p:cNvPr>
            <p:cNvSpPr/>
            <p:nvPr/>
          </p:nvSpPr>
          <p:spPr>
            <a:xfrm>
              <a:off x="18803099" y="8646787"/>
              <a:ext cx="865271" cy="1134696"/>
            </a:xfrm>
            <a:custGeom>
              <a:avLst/>
              <a:gdLst>
                <a:gd name="connsiteX0" fmla="*/ 27 w 865271"/>
                <a:gd name="connsiteY0" fmla="*/ 325474 h 1134696"/>
                <a:gd name="connsiteX1" fmla="*/ 283254 w 865271"/>
                <a:gd name="connsiteY1" fmla="*/ 8010 h 1134696"/>
                <a:gd name="connsiteX2" fmla="*/ 420200 w 865271"/>
                <a:gd name="connsiteY2" fmla="*/ 462419 h 1134696"/>
                <a:gd name="connsiteX3" fmla="*/ 494896 w 865271"/>
                <a:gd name="connsiteY3" fmla="*/ 857693 h 1134696"/>
                <a:gd name="connsiteX4" fmla="*/ 865272 w 865271"/>
                <a:gd name="connsiteY4" fmla="*/ 991526 h 1134696"/>
                <a:gd name="connsiteX5" fmla="*/ 846598 w 865271"/>
                <a:gd name="connsiteY5" fmla="*/ 1134696 h 1134696"/>
                <a:gd name="connsiteX6" fmla="*/ 339277 w 865271"/>
                <a:gd name="connsiteY6" fmla="*/ 982189 h 1134696"/>
                <a:gd name="connsiteX7" fmla="*/ 27 w 865271"/>
                <a:gd name="connsiteY7" fmla="*/ 325474 h 1134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65271" h="1134696">
                  <a:moveTo>
                    <a:pt x="27" y="325474"/>
                  </a:moveTo>
                  <a:cubicBezTo>
                    <a:pt x="3139" y="176079"/>
                    <a:pt x="221006" y="-44901"/>
                    <a:pt x="283254" y="8010"/>
                  </a:cubicBezTo>
                  <a:cubicBezTo>
                    <a:pt x="357952" y="67145"/>
                    <a:pt x="401525" y="285013"/>
                    <a:pt x="420200" y="462419"/>
                  </a:cubicBezTo>
                  <a:cubicBezTo>
                    <a:pt x="432649" y="574465"/>
                    <a:pt x="476223" y="854580"/>
                    <a:pt x="494896" y="857693"/>
                  </a:cubicBezTo>
                  <a:cubicBezTo>
                    <a:pt x="501122" y="860805"/>
                    <a:pt x="865272" y="991526"/>
                    <a:pt x="865272" y="991526"/>
                  </a:cubicBezTo>
                  <a:cubicBezTo>
                    <a:pt x="840373" y="1047549"/>
                    <a:pt x="846598" y="1134696"/>
                    <a:pt x="846598" y="1134696"/>
                  </a:cubicBezTo>
                  <a:cubicBezTo>
                    <a:pt x="846598" y="1134696"/>
                    <a:pt x="398413" y="1041324"/>
                    <a:pt x="339277" y="982189"/>
                  </a:cubicBezTo>
                  <a:cubicBezTo>
                    <a:pt x="261467" y="901266"/>
                    <a:pt x="-3086" y="515330"/>
                    <a:pt x="27" y="325474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B25D8BDA-5903-4312-9993-14983A5FDFEA}"/>
                </a:ext>
              </a:extLst>
            </p:cNvPr>
            <p:cNvSpPr/>
            <p:nvPr/>
          </p:nvSpPr>
          <p:spPr>
            <a:xfrm>
              <a:off x="18861765" y="8454497"/>
              <a:ext cx="426894" cy="610503"/>
            </a:xfrm>
            <a:custGeom>
              <a:avLst/>
              <a:gdLst>
                <a:gd name="connsiteX0" fmla="*/ 496 w 426894"/>
                <a:gd name="connsiteY0" fmla="*/ 604911 h 610503"/>
                <a:gd name="connsiteX1" fmla="*/ 128105 w 426894"/>
                <a:gd name="connsiteY1" fmla="*/ 4219 h 610503"/>
                <a:gd name="connsiteX2" fmla="*/ 426894 w 426894"/>
                <a:gd name="connsiteY2" fmla="*/ 527101 h 610503"/>
                <a:gd name="connsiteX3" fmla="*/ 496 w 426894"/>
                <a:gd name="connsiteY3" fmla="*/ 604911 h 61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894" h="610503">
                  <a:moveTo>
                    <a:pt x="496" y="604911"/>
                  </a:moveTo>
                  <a:cubicBezTo>
                    <a:pt x="496" y="604911"/>
                    <a:pt x="-15066" y="54018"/>
                    <a:pt x="128105" y="4219"/>
                  </a:cubicBezTo>
                  <a:cubicBezTo>
                    <a:pt x="293062" y="-54916"/>
                    <a:pt x="426894" y="527101"/>
                    <a:pt x="426894" y="527101"/>
                  </a:cubicBezTo>
                  <a:cubicBezTo>
                    <a:pt x="426894" y="527101"/>
                    <a:pt x="215252" y="636035"/>
                    <a:pt x="496" y="604911"/>
                  </a:cubicBezTo>
                  <a:close/>
                </a:path>
              </a:pathLst>
            </a:custGeom>
            <a:solidFill>
              <a:srgbClr val="708686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F1B77490-0126-4563-9F5C-8EA92A3D2E4D}"/>
                </a:ext>
              </a:extLst>
            </p:cNvPr>
            <p:cNvSpPr/>
            <p:nvPr/>
          </p:nvSpPr>
          <p:spPr>
            <a:xfrm>
              <a:off x="18706641" y="10170532"/>
              <a:ext cx="743862" cy="2191123"/>
            </a:xfrm>
            <a:custGeom>
              <a:avLst/>
              <a:gdLst>
                <a:gd name="connsiteX0" fmla="*/ 743862 w 743862"/>
                <a:gd name="connsiteY0" fmla="*/ 2041728 h 2191123"/>
                <a:gd name="connsiteX1" fmla="*/ 557119 w 743862"/>
                <a:gd name="connsiteY1" fmla="*/ 924380 h 2191123"/>
                <a:gd name="connsiteX2" fmla="*/ 361039 w 743862"/>
                <a:gd name="connsiteY2" fmla="*/ 0 h 2191123"/>
                <a:gd name="connsiteX3" fmla="*/ 0 w 743862"/>
                <a:gd name="connsiteY3" fmla="*/ 233429 h 2191123"/>
                <a:gd name="connsiteX4" fmla="*/ 236543 w 743862"/>
                <a:gd name="connsiteY4" fmla="*/ 1070663 h 2191123"/>
                <a:gd name="connsiteX5" fmla="*/ 622478 w 743862"/>
                <a:gd name="connsiteY5" fmla="*/ 2191124 h 2191123"/>
                <a:gd name="connsiteX6" fmla="*/ 743862 w 743862"/>
                <a:gd name="connsiteY6" fmla="*/ 2041728 h 219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3862" h="2191123">
                  <a:moveTo>
                    <a:pt x="743862" y="2041728"/>
                  </a:moveTo>
                  <a:cubicBezTo>
                    <a:pt x="743862" y="2041728"/>
                    <a:pt x="569569" y="964842"/>
                    <a:pt x="557119" y="924380"/>
                  </a:cubicBezTo>
                  <a:cubicBezTo>
                    <a:pt x="544669" y="883919"/>
                    <a:pt x="361039" y="0"/>
                    <a:pt x="361039" y="0"/>
                  </a:cubicBezTo>
                  <a:lnTo>
                    <a:pt x="0" y="233429"/>
                  </a:lnTo>
                  <a:cubicBezTo>
                    <a:pt x="0" y="233429"/>
                    <a:pt x="189857" y="964842"/>
                    <a:pt x="236543" y="1070663"/>
                  </a:cubicBezTo>
                  <a:cubicBezTo>
                    <a:pt x="255217" y="1111123"/>
                    <a:pt x="622478" y="2191124"/>
                    <a:pt x="622478" y="2191124"/>
                  </a:cubicBezTo>
                  <a:lnTo>
                    <a:pt x="743862" y="2041728"/>
                  </a:ln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C704A926-1D8A-4719-9C1C-C8B69BD6AA2C}"/>
                </a:ext>
              </a:extLst>
            </p:cNvPr>
            <p:cNvSpPr/>
            <p:nvPr/>
          </p:nvSpPr>
          <p:spPr>
            <a:xfrm>
              <a:off x="18102839" y="10338601"/>
              <a:ext cx="413947" cy="2013717"/>
            </a:xfrm>
            <a:custGeom>
              <a:avLst/>
              <a:gdLst>
                <a:gd name="connsiteX0" fmla="*/ 52910 w 413947"/>
                <a:gd name="connsiteY0" fmla="*/ 2013717 h 2013717"/>
                <a:gd name="connsiteX1" fmla="*/ 99596 w 413947"/>
                <a:gd name="connsiteY1" fmla="*/ 1033314 h 2013717"/>
                <a:gd name="connsiteX2" fmla="*/ 0 w 413947"/>
                <a:gd name="connsiteY2" fmla="*/ 24899 h 2013717"/>
                <a:gd name="connsiteX3" fmla="*/ 413948 w 413947"/>
                <a:gd name="connsiteY3" fmla="*/ 0 h 2013717"/>
                <a:gd name="connsiteX4" fmla="*/ 398386 w 413947"/>
                <a:gd name="connsiteY4" fmla="*/ 1020864 h 2013717"/>
                <a:gd name="connsiteX5" fmla="*/ 202305 w 413947"/>
                <a:gd name="connsiteY5" fmla="*/ 1982593 h 2013717"/>
                <a:gd name="connsiteX6" fmla="*/ 52910 w 413947"/>
                <a:gd name="connsiteY6" fmla="*/ 2013717 h 2013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3947" h="2013717">
                  <a:moveTo>
                    <a:pt x="52910" y="2013717"/>
                  </a:moveTo>
                  <a:cubicBezTo>
                    <a:pt x="52910" y="2013717"/>
                    <a:pt x="102709" y="1064438"/>
                    <a:pt x="99596" y="1033314"/>
                  </a:cubicBezTo>
                  <a:cubicBezTo>
                    <a:pt x="96483" y="1002190"/>
                    <a:pt x="0" y="24899"/>
                    <a:pt x="0" y="24899"/>
                  </a:cubicBezTo>
                  <a:lnTo>
                    <a:pt x="413948" y="0"/>
                  </a:lnTo>
                  <a:cubicBezTo>
                    <a:pt x="413948" y="0"/>
                    <a:pt x="404611" y="946167"/>
                    <a:pt x="398386" y="1020864"/>
                  </a:cubicBezTo>
                  <a:cubicBezTo>
                    <a:pt x="389049" y="1095561"/>
                    <a:pt x="202305" y="1982593"/>
                    <a:pt x="202305" y="1982593"/>
                  </a:cubicBezTo>
                  <a:lnTo>
                    <a:pt x="52910" y="2013717"/>
                  </a:ln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5" name="图形 1">
              <a:extLst>
                <a:ext uri="{FF2B5EF4-FFF2-40B4-BE49-F238E27FC236}">
                  <a16:creationId xmlns:a16="http://schemas.microsoft.com/office/drawing/2014/main" id="{40BCE38D-0683-4A63-B2B1-8028A1AFB9F3}"/>
                </a:ext>
              </a:extLst>
            </p:cNvPr>
            <p:cNvGrpSpPr/>
            <p:nvPr/>
          </p:nvGrpSpPr>
          <p:grpSpPr>
            <a:xfrm>
              <a:off x="19282434" y="12178025"/>
              <a:ext cx="529788" cy="265816"/>
              <a:chOff x="19282434" y="12178025"/>
              <a:chExt cx="529788" cy="265816"/>
            </a:xfrm>
          </p:grpSpPr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5443AEBE-7DE9-4B26-954C-09CEDB2E2D70}"/>
                  </a:ext>
                </a:extLst>
              </p:cNvPr>
              <p:cNvSpPr/>
              <p:nvPr/>
            </p:nvSpPr>
            <p:spPr>
              <a:xfrm>
                <a:off x="19288659" y="12181136"/>
                <a:ext cx="507319" cy="217867"/>
              </a:xfrm>
              <a:custGeom>
                <a:avLst/>
                <a:gdLst>
                  <a:gd name="connsiteX0" fmla="*/ 0 w 507319"/>
                  <a:gd name="connsiteY0" fmla="*/ 108934 h 217867"/>
                  <a:gd name="connsiteX1" fmla="*/ 161845 w 507319"/>
                  <a:gd name="connsiteY1" fmla="*/ 0 h 217867"/>
                  <a:gd name="connsiteX2" fmla="*/ 317464 w 507319"/>
                  <a:gd name="connsiteY2" fmla="*/ 31124 h 217867"/>
                  <a:gd name="connsiteX3" fmla="*/ 507320 w 507319"/>
                  <a:gd name="connsiteY3" fmla="*/ 49798 h 217867"/>
                  <a:gd name="connsiteX4" fmla="*/ 37349 w 507319"/>
                  <a:gd name="connsiteY4" fmla="*/ 217867 h 217867"/>
                  <a:gd name="connsiteX5" fmla="*/ 0 w 507319"/>
                  <a:gd name="connsiteY5" fmla="*/ 108934 h 21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7319" h="217867">
                    <a:moveTo>
                      <a:pt x="0" y="108934"/>
                    </a:moveTo>
                    <a:cubicBezTo>
                      <a:pt x="0" y="108934"/>
                      <a:pt x="124496" y="84035"/>
                      <a:pt x="161845" y="0"/>
                    </a:cubicBezTo>
                    <a:cubicBezTo>
                      <a:pt x="161845" y="0"/>
                      <a:pt x="270778" y="37349"/>
                      <a:pt x="317464" y="31124"/>
                    </a:cubicBezTo>
                    <a:cubicBezTo>
                      <a:pt x="364150" y="24900"/>
                      <a:pt x="469972" y="-15562"/>
                      <a:pt x="507320" y="49798"/>
                    </a:cubicBezTo>
                    <a:lnTo>
                      <a:pt x="37349" y="217867"/>
                    </a:lnTo>
                    <a:cubicBezTo>
                      <a:pt x="37349" y="217867"/>
                      <a:pt x="0" y="164957"/>
                      <a:pt x="0" y="108934"/>
                    </a:cubicBezTo>
                    <a:close/>
                  </a:path>
                </a:pathLst>
              </a:custGeom>
              <a:solidFill>
                <a:srgbClr val="7E94B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148C0303-3AC5-4999-AAB3-BF27F62BEAF4}"/>
                  </a:ext>
                </a:extLst>
              </p:cNvPr>
              <p:cNvSpPr/>
              <p:nvPr/>
            </p:nvSpPr>
            <p:spPr>
              <a:xfrm rot="-1175784">
                <a:off x="19320821" y="12314994"/>
                <a:ext cx="497994" cy="46686"/>
              </a:xfrm>
              <a:custGeom>
                <a:avLst/>
                <a:gdLst>
                  <a:gd name="connsiteX0" fmla="*/ 0 w 497994"/>
                  <a:gd name="connsiteY0" fmla="*/ 0 h 46686"/>
                  <a:gd name="connsiteX1" fmla="*/ 497994 w 497994"/>
                  <a:gd name="connsiteY1" fmla="*/ 0 h 46686"/>
                  <a:gd name="connsiteX2" fmla="*/ 497994 w 497994"/>
                  <a:gd name="connsiteY2" fmla="*/ 46687 h 46686"/>
                  <a:gd name="connsiteX3" fmla="*/ 0 w 497994"/>
                  <a:gd name="connsiteY3" fmla="*/ 46687 h 4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7994" h="46686">
                    <a:moveTo>
                      <a:pt x="0" y="0"/>
                    </a:moveTo>
                    <a:lnTo>
                      <a:pt x="497994" y="0"/>
                    </a:lnTo>
                    <a:lnTo>
                      <a:pt x="497994" y="46687"/>
                    </a:lnTo>
                    <a:lnTo>
                      <a:pt x="0" y="46687"/>
                    </a:lnTo>
                    <a:close/>
                  </a:path>
                </a:pathLst>
              </a:custGeom>
              <a:solidFill>
                <a:srgbClr val="38333D"/>
              </a:solidFill>
              <a:ln w="311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42A0C6F5-5A4A-42AF-BE79-800C9DD44856}"/>
                  </a:ext>
                </a:extLst>
              </p:cNvPr>
              <p:cNvSpPr/>
              <p:nvPr/>
            </p:nvSpPr>
            <p:spPr>
              <a:xfrm>
                <a:off x="19282434" y="12178025"/>
                <a:ext cx="174295" cy="118270"/>
              </a:xfrm>
              <a:custGeom>
                <a:avLst/>
                <a:gdLst>
                  <a:gd name="connsiteX0" fmla="*/ 6225 w 174295"/>
                  <a:gd name="connsiteY0" fmla="*/ 118271 h 118270"/>
                  <a:gd name="connsiteX1" fmla="*/ 0 w 174295"/>
                  <a:gd name="connsiteY1" fmla="*/ 115158 h 118270"/>
                  <a:gd name="connsiteX2" fmla="*/ 3114 w 174295"/>
                  <a:gd name="connsiteY2" fmla="*/ 108934 h 118270"/>
                  <a:gd name="connsiteX3" fmla="*/ 161845 w 174295"/>
                  <a:gd name="connsiteY3" fmla="*/ 3112 h 118270"/>
                  <a:gd name="connsiteX4" fmla="*/ 171182 w 174295"/>
                  <a:gd name="connsiteY4" fmla="*/ 0 h 118270"/>
                  <a:gd name="connsiteX5" fmla="*/ 174295 w 174295"/>
                  <a:gd name="connsiteY5" fmla="*/ 9337 h 118270"/>
                  <a:gd name="connsiteX6" fmla="*/ 6225 w 174295"/>
                  <a:gd name="connsiteY6" fmla="*/ 118271 h 118270"/>
                  <a:gd name="connsiteX7" fmla="*/ 6225 w 174295"/>
                  <a:gd name="connsiteY7" fmla="*/ 118271 h 11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4295" h="118270">
                    <a:moveTo>
                      <a:pt x="6225" y="118271"/>
                    </a:moveTo>
                    <a:cubicBezTo>
                      <a:pt x="3114" y="118271"/>
                      <a:pt x="0" y="115158"/>
                      <a:pt x="0" y="115158"/>
                    </a:cubicBezTo>
                    <a:cubicBezTo>
                      <a:pt x="0" y="112045"/>
                      <a:pt x="0" y="108934"/>
                      <a:pt x="3114" y="108934"/>
                    </a:cubicBezTo>
                    <a:cubicBezTo>
                      <a:pt x="3114" y="108934"/>
                      <a:pt x="118272" y="84034"/>
                      <a:pt x="161845" y="3112"/>
                    </a:cubicBezTo>
                    <a:cubicBezTo>
                      <a:pt x="164958" y="0"/>
                      <a:pt x="168070" y="0"/>
                      <a:pt x="171182" y="0"/>
                    </a:cubicBezTo>
                    <a:cubicBezTo>
                      <a:pt x="174295" y="0"/>
                      <a:pt x="174295" y="6224"/>
                      <a:pt x="174295" y="9337"/>
                    </a:cubicBezTo>
                    <a:cubicBezTo>
                      <a:pt x="127609" y="93372"/>
                      <a:pt x="12450" y="118271"/>
                      <a:pt x="6225" y="118271"/>
                    </a:cubicBezTo>
                    <a:cubicBezTo>
                      <a:pt x="6225" y="118271"/>
                      <a:pt x="6225" y="118271"/>
                      <a:pt x="6225" y="11827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456D2E08-6585-421F-AECD-EBC6EB512363}"/>
                  </a:ext>
                </a:extLst>
              </p:cNvPr>
              <p:cNvSpPr/>
              <p:nvPr/>
            </p:nvSpPr>
            <p:spPr>
              <a:xfrm>
                <a:off x="19472291" y="12190474"/>
                <a:ext cx="24898" cy="46685"/>
              </a:xfrm>
              <a:custGeom>
                <a:avLst/>
                <a:gdLst>
                  <a:gd name="connsiteX0" fmla="*/ 6225 w 24898"/>
                  <a:gd name="connsiteY0" fmla="*/ 46686 h 46685"/>
                  <a:gd name="connsiteX1" fmla="*/ 6225 w 24898"/>
                  <a:gd name="connsiteY1" fmla="*/ 46686 h 46685"/>
                  <a:gd name="connsiteX2" fmla="*/ 0 w 24898"/>
                  <a:gd name="connsiteY2" fmla="*/ 37348 h 46685"/>
                  <a:gd name="connsiteX3" fmla="*/ 15562 w 24898"/>
                  <a:gd name="connsiteY3" fmla="*/ 3113 h 46685"/>
                  <a:gd name="connsiteX4" fmla="*/ 21787 w 24898"/>
                  <a:gd name="connsiteY4" fmla="*/ 0 h 46685"/>
                  <a:gd name="connsiteX5" fmla="*/ 24899 w 24898"/>
                  <a:gd name="connsiteY5" fmla="*/ 6224 h 46685"/>
                  <a:gd name="connsiteX6" fmla="*/ 9337 w 24898"/>
                  <a:gd name="connsiteY6" fmla="*/ 40461 h 46685"/>
                  <a:gd name="connsiteX7" fmla="*/ 6225 w 24898"/>
                  <a:gd name="connsiteY7" fmla="*/ 46686 h 46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898" h="46685">
                    <a:moveTo>
                      <a:pt x="6225" y="46686"/>
                    </a:moveTo>
                    <a:cubicBezTo>
                      <a:pt x="6225" y="46686"/>
                      <a:pt x="6225" y="43573"/>
                      <a:pt x="6225" y="46686"/>
                    </a:cubicBezTo>
                    <a:cubicBezTo>
                      <a:pt x="0" y="43573"/>
                      <a:pt x="0" y="40461"/>
                      <a:pt x="0" y="37348"/>
                    </a:cubicBezTo>
                    <a:lnTo>
                      <a:pt x="15562" y="3113"/>
                    </a:lnTo>
                    <a:cubicBezTo>
                      <a:pt x="15562" y="0"/>
                      <a:pt x="21787" y="0"/>
                      <a:pt x="21787" y="0"/>
                    </a:cubicBezTo>
                    <a:cubicBezTo>
                      <a:pt x="24899" y="0"/>
                      <a:pt x="24899" y="6224"/>
                      <a:pt x="24899" y="6224"/>
                    </a:cubicBezTo>
                    <a:lnTo>
                      <a:pt x="9337" y="40461"/>
                    </a:lnTo>
                    <a:cubicBezTo>
                      <a:pt x="9337" y="43573"/>
                      <a:pt x="9337" y="46686"/>
                      <a:pt x="6225" y="4668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533BAC0C-0529-4CF2-AE53-1E5F9FA2E001}"/>
                  </a:ext>
                </a:extLst>
              </p:cNvPr>
              <p:cNvSpPr/>
              <p:nvPr/>
            </p:nvSpPr>
            <p:spPr>
              <a:xfrm>
                <a:off x="19518977" y="12202923"/>
                <a:ext cx="24898" cy="46685"/>
              </a:xfrm>
              <a:custGeom>
                <a:avLst/>
                <a:gdLst>
                  <a:gd name="connsiteX0" fmla="*/ 6225 w 24898"/>
                  <a:gd name="connsiteY0" fmla="*/ 46686 h 46685"/>
                  <a:gd name="connsiteX1" fmla="*/ 6225 w 24898"/>
                  <a:gd name="connsiteY1" fmla="*/ 46686 h 46685"/>
                  <a:gd name="connsiteX2" fmla="*/ 0 w 24898"/>
                  <a:gd name="connsiteY2" fmla="*/ 37349 h 46685"/>
                  <a:gd name="connsiteX3" fmla="*/ 15562 w 24898"/>
                  <a:gd name="connsiteY3" fmla="*/ 3113 h 46685"/>
                  <a:gd name="connsiteX4" fmla="*/ 21787 w 24898"/>
                  <a:gd name="connsiteY4" fmla="*/ 0 h 46685"/>
                  <a:gd name="connsiteX5" fmla="*/ 24899 w 24898"/>
                  <a:gd name="connsiteY5" fmla="*/ 6225 h 46685"/>
                  <a:gd name="connsiteX6" fmla="*/ 9337 w 24898"/>
                  <a:gd name="connsiteY6" fmla="*/ 40461 h 46685"/>
                  <a:gd name="connsiteX7" fmla="*/ 6225 w 24898"/>
                  <a:gd name="connsiteY7" fmla="*/ 46686 h 46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898" h="46685">
                    <a:moveTo>
                      <a:pt x="6225" y="46686"/>
                    </a:moveTo>
                    <a:cubicBezTo>
                      <a:pt x="6225" y="46686"/>
                      <a:pt x="3112" y="46686"/>
                      <a:pt x="6225" y="46686"/>
                    </a:cubicBezTo>
                    <a:cubicBezTo>
                      <a:pt x="0" y="43573"/>
                      <a:pt x="0" y="40461"/>
                      <a:pt x="0" y="37349"/>
                    </a:cubicBezTo>
                    <a:lnTo>
                      <a:pt x="15562" y="3113"/>
                    </a:lnTo>
                    <a:cubicBezTo>
                      <a:pt x="15562" y="0"/>
                      <a:pt x="21787" y="0"/>
                      <a:pt x="21787" y="0"/>
                    </a:cubicBezTo>
                    <a:cubicBezTo>
                      <a:pt x="24899" y="0"/>
                      <a:pt x="24899" y="6225"/>
                      <a:pt x="24899" y="6225"/>
                    </a:cubicBezTo>
                    <a:lnTo>
                      <a:pt x="9337" y="40461"/>
                    </a:lnTo>
                    <a:cubicBezTo>
                      <a:pt x="9337" y="43573"/>
                      <a:pt x="9337" y="46686"/>
                      <a:pt x="6225" y="4668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6" name="图形 1">
              <a:extLst>
                <a:ext uri="{FF2B5EF4-FFF2-40B4-BE49-F238E27FC236}">
                  <a16:creationId xmlns:a16="http://schemas.microsoft.com/office/drawing/2014/main" id="{C844726A-75DC-4887-B428-D6AC87FCEBC7}"/>
                </a:ext>
              </a:extLst>
            </p:cNvPr>
            <p:cNvGrpSpPr/>
            <p:nvPr/>
          </p:nvGrpSpPr>
          <p:grpSpPr>
            <a:xfrm>
              <a:off x="18134999" y="12253500"/>
              <a:ext cx="506282" cy="220201"/>
              <a:chOff x="18134999" y="12253500"/>
              <a:chExt cx="506282" cy="220201"/>
            </a:xfrm>
          </p:grpSpPr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53F0B56A-4457-44F0-AF0A-770E3CF73E22}"/>
                  </a:ext>
                </a:extLst>
              </p:cNvPr>
              <p:cNvSpPr/>
              <p:nvPr/>
            </p:nvSpPr>
            <p:spPr>
              <a:xfrm>
                <a:off x="18134999" y="12265171"/>
                <a:ext cx="506282" cy="161844"/>
              </a:xfrm>
              <a:custGeom>
                <a:avLst/>
                <a:gdLst>
                  <a:gd name="connsiteX0" fmla="*/ 8300 w 506282"/>
                  <a:gd name="connsiteY0" fmla="*/ 46686 h 161844"/>
                  <a:gd name="connsiteX1" fmla="*/ 198155 w 506282"/>
                  <a:gd name="connsiteY1" fmla="*/ 0 h 161844"/>
                  <a:gd name="connsiteX2" fmla="*/ 335101 w 506282"/>
                  <a:gd name="connsiteY2" fmla="*/ 80922 h 161844"/>
                  <a:gd name="connsiteX3" fmla="*/ 506283 w 506282"/>
                  <a:gd name="connsiteY3" fmla="*/ 161845 h 161844"/>
                  <a:gd name="connsiteX4" fmla="*/ 8300 w 506282"/>
                  <a:gd name="connsiteY4" fmla="*/ 161845 h 161844"/>
                  <a:gd name="connsiteX5" fmla="*/ 8300 w 506282"/>
                  <a:gd name="connsiteY5" fmla="*/ 46686 h 161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6282" h="161844">
                    <a:moveTo>
                      <a:pt x="8300" y="46686"/>
                    </a:moveTo>
                    <a:cubicBezTo>
                      <a:pt x="8300" y="46686"/>
                      <a:pt x="135908" y="65360"/>
                      <a:pt x="198155" y="0"/>
                    </a:cubicBezTo>
                    <a:cubicBezTo>
                      <a:pt x="198155" y="0"/>
                      <a:pt x="288415" y="71585"/>
                      <a:pt x="335101" y="80922"/>
                    </a:cubicBezTo>
                    <a:cubicBezTo>
                      <a:pt x="381787" y="90259"/>
                      <a:pt x="493832" y="87147"/>
                      <a:pt x="506283" y="161845"/>
                    </a:cubicBezTo>
                    <a:lnTo>
                      <a:pt x="8300" y="161845"/>
                    </a:lnTo>
                    <a:cubicBezTo>
                      <a:pt x="8300" y="161845"/>
                      <a:pt x="-10375" y="96484"/>
                      <a:pt x="8300" y="46686"/>
                    </a:cubicBezTo>
                    <a:close/>
                  </a:path>
                </a:pathLst>
              </a:custGeom>
              <a:solidFill>
                <a:srgbClr val="7E94B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BB276912-595C-46A3-B572-C6ED06D51746}"/>
                  </a:ext>
                </a:extLst>
              </p:cNvPr>
              <p:cNvSpPr/>
              <p:nvPr/>
            </p:nvSpPr>
            <p:spPr>
              <a:xfrm>
                <a:off x="18143299" y="12427016"/>
                <a:ext cx="497982" cy="46685"/>
              </a:xfrm>
              <a:custGeom>
                <a:avLst/>
                <a:gdLst>
                  <a:gd name="connsiteX0" fmla="*/ 0 w 497982"/>
                  <a:gd name="connsiteY0" fmla="*/ 0 h 46685"/>
                  <a:gd name="connsiteX1" fmla="*/ 497983 w 497982"/>
                  <a:gd name="connsiteY1" fmla="*/ 0 h 46685"/>
                  <a:gd name="connsiteX2" fmla="*/ 497983 w 497982"/>
                  <a:gd name="connsiteY2" fmla="*/ 46686 h 46685"/>
                  <a:gd name="connsiteX3" fmla="*/ 0 w 497982"/>
                  <a:gd name="connsiteY3" fmla="*/ 46686 h 46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7982" h="46685">
                    <a:moveTo>
                      <a:pt x="0" y="0"/>
                    </a:moveTo>
                    <a:lnTo>
                      <a:pt x="497983" y="0"/>
                    </a:lnTo>
                    <a:lnTo>
                      <a:pt x="497983" y="46686"/>
                    </a:lnTo>
                    <a:lnTo>
                      <a:pt x="0" y="46686"/>
                    </a:ln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A17AC982-61F6-48AB-9409-A108D7029E60}"/>
                  </a:ext>
                </a:extLst>
              </p:cNvPr>
              <p:cNvSpPr/>
              <p:nvPr/>
            </p:nvSpPr>
            <p:spPr>
              <a:xfrm>
                <a:off x="18137074" y="12253500"/>
                <a:ext cx="204640" cy="64582"/>
              </a:xfrm>
              <a:custGeom>
                <a:avLst/>
                <a:gdLst>
                  <a:gd name="connsiteX0" fmla="*/ 43574 w 204640"/>
                  <a:gd name="connsiteY0" fmla="*/ 64582 h 64582"/>
                  <a:gd name="connsiteX1" fmla="*/ 6225 w 204640"/>
                  <a:gd name="connsiteY1" fmla="*/ 61470 h 64582"/>
                  <a:gd name="connsiteX2" fmla="*/ 0 w 204640"/>
                  <a:gd name="connsiteY2" fmla="*/ 55245 h 64582"/>
                  <a:gd name="connsiteX3" fmla="*/ 6225 w 204640"/>
                  <a:gd name="connsiteY3" fmla="*/ 49020 h 64582"/>
                  <a:gd name="connsiteX4" fmla="*/ 192969 w 204640"/>
                  <a:gd name="connsiteY4" fmla="*/ 2334 h 64582"/>
                  <a:gd name="connsiteX5" fmla="*/ 202305 w 204640"/>
                  <a:gd name="connsiteY5" fmla="*/ 2334 h 64582"/>
                  <a:gd name="connsiteX6" fmla="*/ 202305 w 204640"/>
                  <a:gd name="connsiteY6" fmla="*/ 11671 h 64582"/>
                  <a:gd name="connsiteX7" fmla="*/ 43574 w 204640"/>
                  <a:gd name="connsiteY7" fmla="*/ 64582 h 64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4640" h="64582">
                    <a:moveTo>
                      <a:pt x="43574" y="64582"/>
                    </a:moveTo>
                    <a:cubicBezTo>
                      <a:pt x="21787" y="64582"/>
                      <a:pt x="9338" y="61470"/>
                      <a:pt x="6225" y="61470"/>
                    </a:cubicBezTo>
                    <a:cubicBezTo>
                      <a:pt x="3113" y="61470"/>
                      <a:pt x="0" y="58357"/>
                      <a:pt x="0" y="55245"/>
                    </a:cubicBezTo>
                    <a:cubicBezTo>
                      <a:pt x="0" y="52132"/>
                      <a:pt x="3113" y="49020"/>
                      <a:pt x="6225" y="49020"/>
                    </a:cubicBezTo>
                    <a:cubicBezTo>
                      <a:pt x="6225" y="49020"/>
                      <a:pt x="121384" y="64582"/>
                      <a:pt x="192969" y="2334"/>
                    </a:cubicBezTo>
                    <a:cubicBezTo>
                      <a:pt x="196080" y="-778"/>
                      <a:pt x="199194" y="-778"/>
                      <a:pt x="202305" y="2334"/>
                    </a:cubicBezTo>
                    <a:cubicBezTo>
                      <a:pt x="205419" y="5446"/>
                      <a:pt x="205419" y="8559"/>
                      <a:pt x="202305" y="11671"/>
                    </a:cubicBezTo>
                    <a:cubicBezTo>
                      <a:pt x="152508" y="58357"/>
                      <a:pt x="84035" y="64582"/>
                      <a:pt x="43574" y="645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3CBAF375-E429-4B99-8088-E937D01DCF10}"/>
                  </a:ext>
                </a:extLst>
              </p:cNvPr>
              <p:cNvSpPr/>
              <p:nvPr/>
            </p:nvSpPr>
            <p:spPr>
              <a:xfrm>
                <a:off x="18337046" y="12281511"/>
                <a:ext cx="42016" cy="42795"/>
              </a:xfrm>
              <a:custGeom>
                <a:avLst/>
                <a:gdLst>
                  <a:gd name="connsiteX0" fmla="*/ 5447 w 42016"/>
                  <a:gd name="connsiteY0" fmla="*/ 42795 h 42795"/>
                  <a:gd name="connsiteX1" fmla="*/ 2334 w 42016"/>
                  <a:gd name="connsiteY1" fmla="*/ 39683 h 42795"/>
                  <a:gd name="connsiteX2" fmla="*/ 2334 w 42016"/>
                  <a:gd name="connsiteY2" fmla="*/ 30346 h 42795"/>
                  <a:gd name="connsiteX3" fmla="*/ 30346 w 42016"/>
                  <a:gd name="connsiteY3" fmla="*/ 2334 h 42795"/>
                  <a:gd name="connsiteX4" fmla="*/ 39683 w 42016"/>
                  <a:gd name="connsiteY4" fmla="*/ 2334 h 42795"/>
                  <a:gd name="connsiteX5" fmla="*/ 39683 w 42016"/>
                  <a:gd name="connsiteY5" fmla="*/ 11671 h 42795"/>
                  <a:gd name="connsiteX6" fmla="*/ 11671 w 42016"/>
                  <a:gd name="connsiteY6" fmla="*/ 39683 h 42795"/>
                  <a:gd name="connsiteX7" fmla="*/ 5447 w 42016"/>
                  <a:gd name="connsiteY7" fmla="*/ 42795 h 42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016" h="42795">
                    <a:moveTo>
                      <a:pt x="5447" y="42795"/>
                    </a:moveTo>
                    <a:cubicBezTo>
                      <a:pt x="5447" y="42795"/>
                      <a:pt x="2334" y="42795"/>
                      <a:pt x="2334" y="39683"/>
                    </a:cubicBezTo>
                    <a:cubicBezTo>
                      <a:pt x="-778" y="36571"/>
                      <a:pt x="-778" y="33458"/>
                      <a:pt x="2334" y="30346"/>
                    </a:cubicBezTo>
                    <a:lnTo>
                      <a:pt x="30346" y="2334"/>
                    </a:lnTo>
                    <a:cubicBezTo>
                      <a:pt x="33458" y="-778"/>
                      <a:pt x="36571" y="-778"/>
                      <a:pt x="39683" y="2334"/>
                    </a:cubicBezTo>
                    <a:cubicBezTo>
                      <a:pt x="42794" y="5447"/>
                      <a:pt x="42794" y="8559"/>
                      <a:pt x="39683" y="11671"/>
                    </a:cubicBezTo>
                    <a:lnTo>
                      <a:pt x="11671" y="39683"/>
                    </a:lnTo>
                    <a:cubicBezTo>
                      <a:pt x="8559" y="42795"/>
                      <a:pt x="8559" y="42795"/>
                      <a:pt x="5447" y="4279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275F8CC7-DF83-4CFE-9559-87BD3903FD43}"/>
                  </a:ext>
                </a:extLst>
              </p:cNvPr>
              <p:cNvSpPr/>
              <p:nvPr/>
            </p:nvSpPr>
            <p:spPr>
              <a:xfrm>
                <a:off x="18377507" y="12306410"/>
                <a:ext cx="38904" cy="42796"/>
              </a:xfrm>
              <a:custGeom>
                <a:avLst/>
                <a:gdLst>
                  <a:gd name="connsiteX0" fmla="*/ 5447 w 38904"/>
                  <a:gd name="connsiteY0" fmla="*/ 42796 h 42796"/>
                  <a:gd name="connsiteX1" fmla="*/ 2334 w 38904"/>
                  <a:gd name="connsiteY1" fmla="*/ 39684 h 42796"/>
                  <a:gd name="connsiteX2" fmla="*/ 2334 w 38904"/>
                  <a:gd name="connsiteY2" fmla="*/ 30346 h 42796"/>
                  <a:gd name="connsiteX3" fmla="*/ 27234 w 38904"/>
                  <a:gd name="connsiteY3" fmla="*/ 2334 h 42796"/>
                  <a:gd name="connsiteX4" fmla="*/ 36571 w 38904"/>
                  <a:gd name="connsiteY4" fmla="*/ 2334 h 42796"/>
                  <a:gd name="connsiteX5" fmla="*/ 36571 w 38904"/>
                  <a:gd name="connsiteY5" fmla="*/ 11672 h 42796"/>
                  <a:gd name="connsiteX6" fmla="*/ 11672 w 38904"/>
                  <a:gd name="connsiteY6" fmla="*/ 39684 h 42796"/>
                  <a:gd name="connsiteX7" fmla="*/ 5447 w 38904"/>
                  <a:gd name="connsiteY7" fmla="*/ 42796 h 42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904" h="42796">
                    <a:moveTo>
                      <a:pt x="5447" y="42796"/>
                    </a:moveTo>
                    <a:cubicBezTo>
                      <a:pt x="5447" y="42796"/>
                      <a:pt x="2334" y="42796"/>
                      <a:pt x="2334" y="39684"/>
                    </a:cubicBezTo>
                    <a:cubicBezTo>
                      <a:pt x="-778" y="36571"/>
                      <a:pt x="-778" y="33458"/>
                      <a:pt x="2334" y="30346"/>
                    </a:cubicBezTo>
                    <a:lnTo>
                      <a:pt x="27234" y="2334"/>
                    </a:lnTo>
                    <a:cubicBezTo>
                      <a:pt x="30346" y="-778"/>
                      <a:pt x="33458" y="-778"/>
                      <a:pt x="36571" y="2334"/>
                    </a:cubicBezTo>
                    <a:cubicBezTo>
                      <a:pt x="39683" y="5447"/>
                      <a:pt x="39683" y="8560"/>
                      <a:pt x="36571" y="11672"/>
                    </a:cubicBezTo>
                    <a:lnTo>
                      <a:pt x="11672" y="39684"/>
                    </a:lnTo>
                    <a:cubicBezTo>
                      <a:pt x="8559" y="42796"/>
                      <a:pt x="5447" y="42796"/>
                      <a:pt x="5447" y="427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269E8601-9330-4389-955C-C77968D9307A}"/>
                </a:ext>
              </a:extLst>
            </p:cNvPr>
            <p:cNvSpPr/>
            <p:nvPr/>
          </p:nvSpPr>
          <p:spPr>
            <a:xfrm>
              <a:off x="18037367" y="9859293"/>
              <a:ext cx="1260628" cy="1410258"/>
            </a:xfrm>
            <a:custGeom>
              <a:avLst/>
              <a:gdLst>
                <a:gd name="connsiteX0" fmla="*/ 1058324 w 1260628"/>
                <a:gd name="connsiteY0" fmla="*/ 21786 h 1410258"/>
                <a:gd name="connsiteX1" fmla="*/ 1260629 w 1260628"/>
                <a:gd name="connsiteY1" fmla="*/ 1185821 h 1410258"/>
                <a:gd name="connsiteX2" fmla="*/ 809332 w 1260628"/>
                <a:gd name="connsiteY2" fmla="*/ 1360115 h 1410258"/>
                <a:gd name="connsiteX3" fmla="*/ 551004 w 1260628"/>
                <a:gd name="connsiteY3" fmla="*/ 513545 h 1410258"/>
                <a:gd name="connsiteX4" fmla="*/ 551004 w 1260628"/>
                <a:gd name="connsiteY4" fmla="*/ 1388126 h 1410258"/>
                <a:gd name="connsiteX5" fmla="*/ 49910 w 1260628"/>
                <a:gd name="connsiteY5" fmla="*/ 1388126 h 1410258"/>
                <a:gd name="connsiteX6" fmla="*/ 15673 w 1260628"/>
                <a:gd name="connsiteY6" fmla="*/ 0 h 1410258"/>
                <a:gd name="connsiteX7" fmla="*/ 1058324 w 1260628"/>
                <a:gd name="connsiteY7" fmla="*/ 21786 h 1410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0628" h="1410258">
                  <a:moveTo>
                    <a:pt x="1058324" y="21786"/>
                  </a:moveTo>
                  <a:lnTo>
                    <a:pt x="1260629" y="1185821"/>
                  </a:lnTo>
                  <a:cubicBezTo>
                    <a:pt x="1260629" y="1185821"/>
                    <a:pt x="974290" y="1369453"/>
                    <a:pt x="809332" y="1360115"/>
                  </a:cubicBezTo>
                  <a:cubicBezTo>
                    <a:pt x="650601" y="933718"/>
                    <a:pt x="557229" y="529107"/>
                    <a:pt x="551004" y="513545"/>
                  </a:cubicBezTo>
                  <a:cubicBezTo>
                    <a:pt x="535442" y="482421"/>
                    <a:pt x="551004" y="1388126"/>
                    <a:pt x="551004" y="1388126"/>
                  </a:cubicBezTo>
                  <a:cubicBezTo>
                    <a:pt x="551004" y="1388126"/>
                    <a:pt x="286451" y="1437925"/>
                    <a:pt x="49910" y="1388126"/>
                  </a:cubicBezTo>
                  <a:cubicBezTo>
                    <a:pt x="40572" y="1232507"/>
                    <a:pt x="-31013" y="99596"/>
                    <a:pt x="15673" y="0"/>
                  </a:cubicBezTo>
                  <a:cubicBezTo>
                    <a:pt x="728411" y="37348"/>
                    <a:pt x="1058324" y="21786"/>
                    <a:pt x="1058324" y="21786"/>
                  </a:cubicBezTo>
                  <a:close/>
                </a:path>
              </a:pathLst>
            </a:custGeom>
            <a:solidFill>
              <a:srgbClr val="F1DDBA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7C90E616-08C4-4367-AD30-DD3EF0B00477}"/>
                </a:ext>
              </a:extLst>
            </p:cNvPr>
            <p:cNvSpPr/>
            <p:nvPr/>
          </p:nvSpPr>
          <p:spPr>
            <a:xfrm>
              <a:off x="18582146" y="10008687"/>
              <a:ext cx="71586" cy="373487"/>
            </a:xfrm>
            <a:custGeom>
              <a:avLst/>
              <a:gdLst>
                <a:gd name="connsiteX0" fmla="*/ 6225 w 71586"/>
                <a:gd name="connsiteY0" fmla="*/ 373487 h 373487"/>
                <a:gd name="connsiteX1" fmla="*/ 6225 w 71586"/>
                <a:gd name="connsiteY1" fmla="*/ 373487 h 373487"/>
                <a:gd name="connsiteX2" fmla="*/ 0 w 71586"/>
                <a:gd name="connsiteY2" fmla="*/ 364150 h 373487"/>
                <a:gd name="connsiteX3" fmla="*/ 59136 w 71586"/>
                <a:gd name="connsiteY3" fmla="*/ 6225 h 373487"/>
                <a:gd name="connsiteX4" fmla="*/ 65361 w 71586"/>
                <a:gd name="connsiteY4" fmla="*/ 0 h 373487"/>
                <a:gd name="connsiteX5" fmla="*/ 65361 w 71586"/>
                <a:gd name="connsiteY5" fmla="*/ 0 h 373487"/>
                <a:gd name="connsiteX6" fmla="*/ 71587 w 71586"/>
                <a:gd name="connsiteY6" fmla="*/ 6225 h 373487"/>
                <a:gd name="connsiteX7" fmla="*/ 12450 w 71586"/>
                <a:gd name="connsiteY7" fmla="*/ 367262 h 373487"/>
                <a:gd name="connsiteX8" fmla="*/ 6225 w 71586"/>
                <a:gd name="connsiteY8" fmla="*/ 373487 h 373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586" h="373487">
                  <a:moveTo>
                    <a:pt x="6225" y="373487"/>
                  </a:moveTo>
                  <a:cubicBezTo>
                    <a:pt x="6225" y="373487"/>
                    <a:pt x="6225" y="373487"/>
                    <a:pt x="6225" y="373487"/>
                  </a:cubicBezTo>
                  <a:cubicBezTo>
                    <a:pt x="0" y="370374"/>
                    <a:pt x="0" y="367262"/>
                    <a:pt x="0" y="364150"/>
                  </a:cubicBezTo>
                  <a:cubicBezTo>
                    <a:pt x="49799" y="248991"/>
                    <a:pt x="59136" y="9337"/>
                    <a:pt x="59136" y="6225"/>
                  </a:cubicBezTo>
                  <a:cubicBezTo>
                    <a:pt x="59136" y="3113"/>
                    <a:pt x="62248" y="0"/>
                    <a:pt x="65361" y="0"/>
                  </a:cubicBezTo>
                  <a:lnTo>
                    <a:pt x="65361" y="0"/>
                  </a:lnTo>
                  <a:cubicBezTo>
                    <a:pt x="68473" y="0"/>
                    <a:pt x="71587" y="3113"/>
                    <a:pt x="71587" y="6225"/>
                  </a:cubicBezTo>
                  <a:cubicBezTo>
                    <a:pt x="71587" y="15562"/>
                    <a:pt x="62248" y="248991"/>
                    <a:pt x="12450" y="367262"/>
                  </a:cubicBezTo>
                  <a:cubicBezTo>
                    <a:pt x="12450" y="370374"/>
                    <a:pt x="9339" y="373487"/>
                    <a:pt x="6225" y="373487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F54B5BD4-77CF-425F-B6FF-9A83D3B97CDC}"/>
                </a:ext>
              </a:extLst>
            </p:cNvPr>
            <p:cNvSpPr/>
            <p:nvPr/>
          </p:nvSpPr>
          <p:spPr>
            <a:xfrm>
              <a:off x="18611981" y="9937103"/>
              <a:ext cx="160021" cy="364149"/>
            </a:xfrm>
            <a:custGeom>
              <a:avLst/>
              <a:gdLst>
                <a:gd name="connsiteX0" fmla="*/ 7514 w 160021"/>
                <a:gd name="connsiteY0" fmla="*/ 364149 h 364149"/>
                <a:gd name="connsiteX1" fmla="*/ 1289 w 160021"/>
                <a:gd name="connsiteY1" fmla="*/ 361037 h 364149"/>
                <a:gd name="connsiteX2" fmla="*/ 4402 w 160021"/>
                <a:gd name="connsiteY2" fmla="*/ 351700 h 364149"/>
                <a:gd name="connsiteX3" fmla="*/ 113336 w 160021"/>
                <a:gd name="connsiteY3" fmla="*/ 273890 h 364149"/>
                <a:gd name="connsiteX4" fmla="*/ 147572 w 160021"/>
                <a:gd name="connsiteY4" fmla="*/ 6224 h 364149"/>
                <a:gd name="connsiteX5" fmla="*/ 153797 w 160021"/>
                <a:gd name="connsiteY5" fmla="*/ 0 h 364149"/>
                <a:gd name="connsiteX6" fmla="*/ 160022 w 160021"/>
                <a:gd name="connsiteY6" fmla="*/ 6224 h 364149"/>
                <a:gd name="connsiteX7" fmla="*/ 125785 w 160021"/>
                <a:gd name="connsiteY7" fmla="*/ 280115 h 364149"/>
                <a:gd name="connsiteX8" fmla="*/ 13739 w 160021"/>
                <a:gd name="connsiteY8" fmla="*/ 361037 h 364149"/>
                <a:gd name="connsiteX9" fmla="*/ 7514 w 160021"/>
                <a:gd name="connsiteY9" fmla="*/ 364149 h 36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0021" h="364149">
                  <a:moveTo>
                    <a:pt x="7514" y="364149"/>
                  </a:moveTo>
                  <a:cubicBezTo>
                    <a:pt x="4402" y="364149"/>
                    <a:pt x="4402" y="364149"/>
                    <a:pt x="1289" y="361037"/>
                  </a:cubicBezTo>
                  <a:cubicBezTo>
                    <a:pt x="-1823" y="357925"/>
                    <a:pt x="1289" y="354813"/>
                    <a:pt x="4402" y="351700"/>
                  </a:cubicBezTo>
                  <a:cubicBezTo>
                    <a:pt x="44863" y="326801"/>
                    <a:pt x="103999" y="283227"/>
                    <a:pt x="113336" y="273890"/>
                  </a:cubicBezTo>
                  <a:cubicBezTo>
                    <a:pt x="122673" y="261441"/>
                    <a:pt x="138235" y="102709"/>
                    <a:pt x="147572" y="6224"/>
                  </a:cubicBezTo>
                  <a:cubicBezTo>
                    <a:pt x="147572" y="3112"/>
                    <a:pt x="150685" y="0"/>
                    <a:pt x="153797" y="0"/>
                  </a:cubicBezTo>
                  <a:cubicBezTo>
                    <a:pt x="156908" y="0"/>
                    <a:pt x="160022" y="3112"/>
                    <a:pt x="160022" y="6224"/>
                  </a:cubicBezTo>
                  <a:cubicBezTo>
                    <a:pt x="156908" y="49798"/>
                    <a:pt x="135123" y="264553"/>
                    <a:pt x="125785" y="280115"/>
                  </a:cubicBezTo>
                  <a:cubicBezTo>
                    <a:pt x="113336" y="295677"/>
                    <a:pt x="23076" y="354813"/>
                    <a:pt x="13739" y="361037"/>
                  </a:cubicBezTo>
                  <a:cubicBezTo>
                    <a:pt x="10628" y="364149"/>
                    <a:pt x="7514" y="364149"/>
                    <a:pt x="7514" y="364149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B6D82B17-8291-4467-94BE-F70A2137DC12}"/>
                </a:ext>
              </a:extLst>
            </p:cNvPr>
            <p:cNvSpPr/>
            <p:nvPr/>
          </p:nvSpPr>
          <p:spPr>
            <a:xfrm>
              <a:off x="18448313" y="8153701"/>
              <a:ext cx="255216" cy="263630"/>
            </a:xfrm>
            <a:custGeom>
              <a:avLst/>
              <a:gdLst>
                <a:gd name="connsiteX0" fmla="*/ 255217 w 255216"/>
                <a:gd name="connsiteY0" fmla="*/ 40461 h 263630"/>
                <a:gd name="connsiteX1" fmla="*/ 248991 w 255216"/>
                <a:gd name="connsiteY1" fmla="*/ 217867 h 263630"/>
                <a:gd name="connsiteX2" fmla="*/ 0 w 255216"/>
                <a:gd name="connsiteY2" fmla="*/ 208531 h 263630"/>
                <a:gd name="connsiteX3" fmla="*/ 15562 w 255216"/>
                <a:gd name="connsiteY3" fmla="*/ 0 h 263630"/>
                <a:gd name="connsiteX4" fmla="*/ 255217 w 255216"/>
                <a:gd name="connsiteY4" fmla="*/ 40461 h 263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216" h="263630">
                  <a:moveTo>
                    <a:pt x="255217" y="40461"/>
                  </a:moveTo>
                  <a:cubicBezTo>
                    <a:pt x="255217" y="40461"/>
                    <a:pt x="248991" y="143170"/>
                    <a:pt x="248991" y="217867"/>
                  </a:cubicBezTo>
                  <a:cubicBezTo>
                    <a:pt x="248991" y="217867"/>
                    <a:pt x="152508" y="326801"/>
                    <a:pt x="0" y="208531"/>
                  </a:cubicBezTo>
                  <a:cubicBezTo>
                    <a:pt x="0" y="146283"/>
                    <a:pt x="12450" y="65360"/>
                    <a:pt x="15562" y="0"/>
                  </a:cubicBezTo>
                  <a:cubicBezTo>
                    <a:pt x="12450" y="0"/>
                    <a:pt x="202305" y="52911"/>
                    <a:pt x="255217" y="40461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7F3C68D8-A072-4858-B4EF-D210AE18D888}"/>
                </a:ext>
              </a:extLst>
            </p:cNvPr>
            <p:cNvSpPr/>
            <p:nvPr/>
          </p:nvSpPr>
          <p:spPr>
            <a:xfrm>
              <a:off x="18354941" y="8032318"/>
              <a:ext cx="71584" cy="140057"/>
            </a:xfrm>
            <a:custGeom>
              <a:avLst/>
              <a:gdLst>
                <a:gd name="connsiteX0" fmla="*/ 0 w 71584"/>
                <a:gd name="connsiteY0" fmla="*/ 0 h 140057"/>
                <a:gd name="connsiteX1" fmla="*/ 68473 w 71584"/>
                <a:gd name="connsiteY1" fmla="*/ 140058 h 140057"/>
                <a:gd name="connsiteX2" fmla="*/ 71585 w 71584"/>
                <a:gd name="connsiteY2" fmla="*/ 52911 h 140057"/>
                <a:gd name="connsiteX3" fmla="*/ 0 w 71584"/>
                <a:gd name="connsiteY3" fmla="*/ 0 h 140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584" h="140057">
                  <a:moveTo>
                    <a:pt x="0" y="0"/>
                  </a:moveTo>
                  <a:cubicBezTo>
                    <a:pt x="0" y="0"/>
                    <a:pt x="15562" y="121383"/>
                    <a:pt x="68473" y="140058"/>
                  </a:cubicBezTo>
                  <a:lnTo>
                    <a:pt x="71585" y="529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7951F66A-2E54-4640-B06E-5F79762BCE20}"/>
                </a:ext>
              </a:extLst>
            </p:cNvPr>
            <p:cNvSpPr/>
            <p:nvPr/>
          </p:nvSpPr>
          <p:spPr>
            <a:xfrm>
              <a:off x="18718631" y="7820676"/>
              <a:ext cx="104775" cy="242779"/>
            </a:xfrm>
            <a:custGeom>
              <a:avLst/>
              <a:gdLst>
                <a:gd name="connsiteX0" fmla="*/ 96944 w 104775"/>
                <a:gd name="connsiteY0" fmla="*/ 0 h 242779"/>
                <a:gd name="connsiteX1" fmla="*/ 56484 w 104775"/>
                <a:gd name="connsiteY1" fmla="*/ 239654 h 242779"/>
                <a:gd name="connsiteX2" fmla="*/ 461 w 104775"/>
                <a:gd name="connsiteY2" fmla="*/ 15562 h 242779"/>
                <a:gd name="connsiteX3" fmla="*/ 96944 w 104775"/>
                <a:gd name="connsiteY3" fmla="*/ 0 h 242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75" h="242779">
                  <a:moveTo>
                    <a:pt x="96944" y="0"/>
                  </a:moveTo>
                  <a:cubicBezTo>
                    <a:pt x="96944" y="0"/>
                    <a:pt x="131182" y="199193"/>
                    <a:pt x="56484" y="239654"/>
                  </a:cubicBezTo>
                  <a:cubicBezTo>
                    <a:pt x="-8876" y="273891"/>
                    <a:pt x="461" y="15562"/>
                    <a:pt x="461" y="15562"/>
                  </a:cubicBezTo>
                  <a:lnTo>
                    <a:pt x="96944" y="0"/>
                  </a:ln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AA787224-61CA-47B3-AFDE-AF9F99FC7374}"/>
                </a:ext>
              </a:extLst>
            </p:cNvPr>
            <p:cNvSpPr/>
            <p:nvPr/>
          </p:nvSpPr>
          <p:spPr>
            <a:xfrm>
              <a:off x="18354941" y="7679687"/>
              <a:ext cx="432222" cy="580451"/>
            </a:xfrm>
            <a:custGeom>
              <a:avLst/>
              <a:gdLst>
                <a:gd name="connsiteX0" fmla="*/ 420173 w 432222"/>
                <a:gd name="connsiteY0" fmla="*/ 184562 h 580451"/>
                <a:gd name="connsiteX1" fmla="*/ 423286 w 432222"/>
                <a:gd name="connsiteY1" fmla="*/ 439778 h 580451"/>
                <a:gd name="connsiteX2" fmla="*/ 261442 w 432222"/>
                <a:gd name="connsiteY2" fmla="*/ 579836 h 580451"/>
                <a:gd name="connsiteX3" fmla="*/ 40461 w 432222"/>
                <a:gd name="connsiteY3" fmla="*/ 436666 h 580451"/>
                <a:gd name="connsiteX4" fmla="*/ 0 w 432222"/>
                <a:gd name="connsiteY4" fmla="*/ 206349 h 580451"/>
                <a:gd name="connsiteX5" fmla="*/ 214756 w 432222"/>
                <a:gd name="connsiteY5" fmla="*/ 931 h 580451"/>
                <a:gd name="connsiteX6" fmla="*/ 420173 w 432222"/>
                <a:gd name="connsiteY6" fmla="*/ 184562 h 58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222" h="580451">
                  <a:moveTo>
                    <a:pt x="420173" y="184562"/>
                  </a:moveTo>
                  <a:cubicBezTo>
                    <a:pt x="420173" y="184562"/>
                    <a:pt x="445072" y="365080"/>
                    <a:pt x="423286" y="439778"/>
                  </a:cubicBezTo>
                  <a:cubicBezTo>
                    <a:pt x="404611" y="508251"/>
                    <a:pt x="314353" y="573611"/>
                    <a:pt x="261442" y="579836"/>
                  </a:cubicBezTo>
                  <a:cubicBezTo>
                    <a:pt x="192969" y="586060"/>
                    <a:pt x="71585" y="545599"/>
                    <a:pt x="40461" y="436666"/>
                  </a:cubicBezTo>
                  <a:cubicBezTo>
                    <a:pt x="18675" y="361968"/>
                    <a:pt x="0" y="259259"/>
                    <a:pt x="0" y="206349"/>
                  </a:cubicBezTo>
                  <a:cubicBezTo>
                    <a:pt x="0" y="109864"/>
                    <a:pt x="28012" y="28942"/>
                    <a:pt x="214756" y="931"/>
                  </a:cubicBezTo>
                  <a:cubicBezTo>
                    <a:pt x="301902" y="-11519"/>
                    <a:pt x="398386" y="103640"/>
                    <a:pt x="420173" y="184562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F8F024EE-B929-4299-8328-A67814FE26CA}"/>
                </a:ext>
              </a:extLst>
            </p:cNvPr>
            <p:cNvSpPr/>
            <p:nvPr/>
          </p:nvSpPr>
          <p:spPr>
            <a:xfrm>
              <a:off x="18588371" y="7945171"/>
              <a:ext cx="59136" cy="143170"/>
            </a:xfrm>
            <a:custGeom>
              <a:avLst/>
              <a:gdLst>
                <a:gd name="connsiteX0" fmla="*/ 28012 w 59136"/>
                <a:gd name="connsiteY0" fmla="*/ 143170 h 143170"/>
                <a:gd name="connsiteX1" fmla="*/ 6225 w 59136"/>
                <a:gd name="connsiteY1" fmla="*/ 140058 h 143170"/>
                <a:gd name="connsiteX2" fmla="*/ 0 w 59136"/>
                <a:gd name="connsiteY2" fmla="*/ 133833 h 143170"/>
                <a:gd name="connsiteX3" fmla="*/ 6225 w 59136"/>
                <a:gd name="connsiteY3" fmla="*/ 127608 h 143170"/>
                <a:gd name="connsiteX4" fmla="*/ 46686 w 59136"/>
                <a:gd name="connsiteY4" fmla="*/ 124496 h 143170"/>
                <a:gd name="connsiteX5" fmla="*/ 46686 w 59136"/>
                <a:gd name="connsiteY5" fmla="*/ 121384 h 143170"/>
                <a:gd name="connsiteX6" fmla="*/ 28012 w 59136"/>
                <a:gd name="connsiteY6" fmla="*/ 6225 h 143170"/>
                <a:gd name="connsiteX7" fmla="*/ 34237 w 59136"/>
                <a:gd name="connsiteY7" fmla="*/ 0 h 143170"/>
                <a:gd name="connsiteX8" fmla="*/ 40461 w 59136"/>
                <a:gd name="connsiteY8" fmla="*/ 6225 h 143170"/>
                <a:gd name="connsiteX9" fmla="*/ 59136 w 59136"/>
                <a:gd name="connsiteY9" fmla="*/ 121384 h 143170"/>
                <a:gd name="connsiteX10" fmla="*/ 52911 w 59136"/>
                <a:gd name="connsiteY10" fmla="*/ 133833 h 143170"/>
                <a:gd name="connsiteX11" fmla="*/ 28012 w 59136"/>
                <a:gd name="connsiteY11" fmla="*/ 143170 h 14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136" h="143170">
                  <a:moveTo>
                    <a:pt x="28012" y="143170"/>
                  </a:moveTo>
                  <a:cubicBezTo>
                    <a:pt x="18675" y="143170"/>
                    <a:pt x="9337" y="140058"/>
                    <a:pt x="6225" y="140058"/>
                  </a:cubicBezTo>
                  <a:cubicBezTo>
                    <a:pt x="3114" y="140058"/>
                    <a:pt x="0" y="136946"/>
                    <a:pt x="0" y="133833"/>
                  </a:cubicBezTo>
                  <a:cubicBezTo>
                    <a:pt x="0" y="130720"/>
                    <a:pt x="3114" y="127608"/>
                    <a:pt x="6225" y="127608"/>
                  </a:cubicBezTo>
                  <a:cubicBezTo>
                    <a:pt x="18675" y="130720"/>
                    <a:pt x="40461" y="130720"/>
                    <a:pt x="46686" y="124496"/>
                  </a:cubicBezTo>
                  <a:cubicBezTo>
                    <a:pt x="46686" y="124496"/>
                    <a:pt x="46686" y="121384"/>
                    <a:pt x="46686" y="121384"/>
                  </a:cubicBezTo>
                  <a:cubicBezTo>
                    <a:pt x="46686" y="102709"/>
                    <a:pt x="28012" y="9337"/>
                    <a:pt x="28012" y="6225"/>
                  </a:cubicBezTo>
                  <a:cubicBezTo>
                    <a:pt x="28012" y="3113"/>
                    <a:pt x="28012" y="0"/>
                    <a:pt x="34237" y="0"/>
                  </a:cubicBezTo>
                  <a:cubicBezTo>
                    <a:pt x="37349" y="0"/>
                    <a:pt x="40461" y="0"/>
                    <a:pt x="40461" y="6225"/>
                  </a:cubicBezTo>
                  <a:cubicBezTo>
                    <a:pt x="40461" y="9337"/>
                    <a:pt x="59136" y="102709"/>
                    <a:pt x="59136" y="121384"/>
                  </a:cubicBezTo>
                  <a:cubicBezTo>
                    <a:pt x="59136" y="127608"/>
                    <a:pt x="56023" y="130720"/>
                    <a:pt x="52911" y="133833"/>
                  </a:cubicBezTo>
                  <a:cubicBezTo>
                    <a:pt x="49799" y="143170"/>
                    <a:pt x="37349" y="143170"/>
                    <a:pt x="28012" y="143170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521762F0-604A-47D3-9FD2-9E7499DFDA9C}"/>
                </a:ext>
              </a:extLst>
            </p:cNvPr>
            <p:cNvSpPr/>
            <p:nvPr/>
          </p:nvSpPr>
          <p:spPr>
            <a:xfrm>
              <a:off x="18677837" y="7925887"/>
              <a:ext cx="41864" cy="41681"/>
            </a:xfrm>
            <a:custGeom>
              <a:avLst/>
              <a:gdLst>
                <a:gd name="connsiteX0" fmla="*/ 794 w 41864"/>
                <a:gd name="connsiteY0" fmla="*/ 25509 h 41681"/>
                <a:gd name="connsiteX1" fmla="*/ 25692 w 41864"/>
                <a:gd name="connsiteY1" fmla="*/ 41071 h 41681"/>
                <a:gd name="connsiteX2" fmla="*/ 41254 w 41864"/>
                <a:gd name="connsiteY2" fmla="*/ 16173 h 41681"/>
                <a:gd name="connsiteX3" fmla="*/ 16356 w 41864"/>
                <a:gd name="connsiteY3" fmla="*/ 611 h 41681"/>
                <a:gd name="connsiteX4" fmla="*/ 794 w 41864"/>
                <a:gd name="connsiteY4" fmla="*/ 25509 h 4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864" h="41681">
                  <a:moveTo>
                    <a:pt x="794" y="25509"/>
                  </a:moveTo>
                  <a:cubicBezTo>
                    <a:pt x="3905" y="34847"/>
                    <a:pt x="13242" y="44184"/>
                    <a:pt x="25692" y="41071"/>
                  </a:cubicBezTo>
                  <a:cubicBezTo>
                    <a:pt x="35029" y="37959"/>
                    <a:pt x="44366" y="28622"/>
                    <a:pt x="41254" y="16173"/>
                  </a:cubicBezTo>
                  <a:cubicBezTo>
                    <a:pt x="38143" y="6835"/>
                    <a:pt x="28804" y="-2502"/>
                    <a:pt x="16356" y="611"/>
                  </a:cubicBezTo>
                  <a:cubicBezTo>
                    <a:pt x="3905" y="3723"/>
                    <a:pt x="-2320" y="13060"/>
                    <a:pt x="794" y="25509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7402A656-C7A3-4AFB-B879-820CEC7C4E3F}"/>
                </a:ext>
              </a:extLst>
            </p:cNvPr>
            <p:cNvSpPr/>
            <p:nvPr/>
          </p:nvSpPr>
          <p:spPr>
            <a:xfrm>
              <a:off x="18491094" y="7944561"/>
              <a:ext cx="41864" cy="41682"/>
            </a:xfrm>
            <a:custGeom>
              <a:avLst/>
              <a:gdLst>
                <a:gd name="connsiteX0" fmla="*/ 794 w 41864"/>
                <a:gd name="connsiteY0" fmla="*/ 25510 h 41682"/>
                <a:gd name="connsiteX1" fmla="*/ 25692 w 41864"/>
                <a:gd name="connsiteY1" fmla="*/ 41072 h 41682"/>
                <a:gd name="connsiteX2" fmla="*/ 41254 w 41864"/>
                <a:gd name="connsiteY2" fmla="*/ 16172 h 41682"/>
                <a:gd name="connsiteX3" fmla="*/ 16356 w 41864"/>
                <a:gd name="connsiteY3" fmla="*/ 610 h 41682"/>
                <a:gd name="connsiteX4" fmla="*/ 794 w 41864"/>
                <a:gd name="connsiteY4" fmla="*/ 25510 h 41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864" h="41682">
                  <a:moveTo>
                    <a:pt x="794" y="25510"/>
                  </a:moveTo>
                  <a:cubicBezTo>
                    <a:pt x="3905" y="34847"/>
                    <a:pt x="13242" y="44184"/>
                    <a:pt x="25692" y="41072"/>
                  </a:cubicBezTo>
                  <a:cubicBezTo>
                    <a:pt x="35029" y="37959"/>
                    <a:pt x="44366" y="28622"/>
                    <a:pt x="41254" y="16172"/>
                  </a:cubicBezTo>
                  <a:cubicBezTo>
                    <a:pt x="38143" y="6835"/>
                    <a:pt x="28804" y="-2502"/>
                    <a:pt x="16356" y="610"/>
                  </a:cubicBezTo>
                  <a:cubicBezTo>
                    <a:pt x="3905" y="3723"/>
                    <a:pt x="-2320" y="16172"/>
                    <a:pt x="794" y="25510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D00C49C8-EB44-4BA1-B2E7-22E55D8034E8}"/>
                </a:ext>
              </a:extLst>
            </p:cNvPr>
            <p:cNvSpPr/>
            <p:nvPr/>
          </p:nvSpPr>
          <p:spPr>
            <a:xfrm>
              <a:off x="18646217" y="7873586"/>
              <a:ext cx="93883" cy="34236"/>
            </a:xfrm>
            <a:custGeom>
              <a:avLst/>
              <a:gdLst>
                <a:gd name="connsiteX0" fmla="*/ 88436 w 93883"/>
                <a:gd name="connsiteY0" fmla="*/ 34236 h 34236"/>
                <a:gd name="connsiteX1" fmla="*/ 82211 w 93883"/>
                <a:gd name="connsiteY1" fmla="*/ 31124 h 34236"/>
                <a:gd name="connsiteX2" fmla="*/ 13738 w 93883"/>
                <a:gd name="connsiteY2" fmla="*/ 24899 h 34236"/>
                <a:gd name="connsiteX3" fmla="*/ 1290 w 93883"/>
                <a:gd name="connsiteY3" fmla="*/ 21787 h 34236"/>
                <a:gd name="connsiteX4" fmla="*/ 4401 w 93883"/>
                <a:gd name="connsiteY4" fmla="*/ 9337 h 34236"/>
                <a:gd name="connsiteX5" fmla="*/ 91548 w 93883"/>
                <a:gd name="connsiteY5" fmla="*/ 18674 h 34236"/>
                <a:gd name="connsiteX6" fmla="*/ 91548 w 93883"/>
                <a:gd name="connsiteY6" fmla="*/ 31124 h 34236"/>
                <a:gd name="connsiteX7" fmla="*/ 88436 w 93883"/>
                <a:gd name="connsiteY7" fmla="*/ 34236 h 3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83" h="34236">
                  <a:moveTo>
                    <a:pt x="88436" y="34236"/>
                  </a:moveTo>
                  <a:cubicBezTo>
                    <a:pt x="85325" y="34236"/>
                    <a:pt x="85325" y="34236"/>
                    <a:pt x="82211" y="31124"/>
                  </a:cubicBezTo>
                  <a:cubicBezTo>
                    <a:pt x="54201" y="3112"/>
                    <a:pt x="16852" y="24899"/>
                    <a:pt x="13738" y="24899"/>
                  </a:cubicBezTo>
                  <a:cubicBezTo>
                    <a:pt x="10627" y="28012"/>
                    <a:pt x="4401" y="24899"/>
                    <a:pt x="1290" y="21787"/>
                  </a:cubicBezTo>
                  <a:cubicBezTo>
                    <a:pt x="-1824" y="18674"/>
                    <a:pt x="1290" y="12450"/>
                    <a:pt x="4401" y="9337"/>
                  </a:cubicBezTo>
                  <a:cubicBezTo>
                    <a:pt x="23077" y="0"/>
                    <a:pt x="63538" y="-9337"/>
                    <a:pt x="91548" y="18674"/>
                  </a:cubicBezTo>
                  <a:cubicBezTo>
                    <a:pt x="94661" y="21787"/>
                    <a:pt x="94661" y="28012"/>
                    <a:pt x="91548" y="31124"/>
                  </a:cubicBezTo>
                  <a:cubicBezTo>
                    <a:pt x="94661" y="34236"/>
                    <a:pt x="91548" y="34236"/>
                    <a:pt x="88436" y="34236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D3E2EABD-F1B9-43D0-A7FE-3EB985CAC8AF}"/>
                </a:ext>
              </a:extLst>
            </p:cNvPr>
            <p:cNvSpPr/>
            <p:nvPr/>
          </p:nvSpPr>
          <p:spPr>
            <a:xfrm>
              <a:off x="18455316" y="7877015"/>
              <a:ext cx="93882" cy="37031"/>
            </a:xfrm>
            <a:custGeom>
              <a:avLst/>
              <a:gdLst>
                <a:gd name="connsiteX0" fmla="*/ 8559 w 93882"/>
                <a:gd name="connsiteY0" fmla="*/ 37032 h 37031"/>
                <a:gd name="connsiteX1" fmla="*/ 2334 w 93882"/>
                <a:gd name="connsiteY1" fmla="*/ 33920 h 37031"/>
                <a:gd name="connsiteX2" fmla="*/ 2334 w 93882"/>
                <a:gd name="connsiteY2" fmla="*/ 21470 h 37031"/>
                <a:gd name="connsiteX3" fmla="*/ 89482 w 93882"/>
                <a:gd name="connsiteY3" fmla="*/ 12133 h 37031"/>
                <a:gd name="connsiteX4" fmla="*/ 92594 w 93882"/>
                <a:gd name="connsiteY4" fmla="*/ 24583 h 37031"/>
                <a:gd name="connsiteX5" fmla="*/ 80144 w 93882"/>
                <a:gd name="connsiteY5" fmla="*/ 27695 h 37031"/>
                <a:gd name="connsiteX6" fmla="*/ 11672 w 93882"/>
                <a:gd name="connsiteY6" fmla="*/ 33920 h 37031"/>
                <a:gd name="connsiteX7" fmla="*/ 8559 w 93882"/>
                <a:gd name="connsiteY7" fmla="*/ 37032 h 3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82" h="37031">
                  <a:moveTo>
                    <a:pt x="8559" y="37032"/>
                  </a:moveTo>
                  <a:cubicBezTo>
                    <a:pt x="5447" y="37032"/>
                    <a:pt x="5447" y="37032"/>
                    <a:pt x="2334" y="33920"/>
                  </a:cubicBezTo>
                  <a:cubicBezTo>
                    <a:pt x="-778" y="30807"/>
                    <a:pt x="-778" y="24583"/>
                    <a:pt x="2334" y="21470"/>
                  </a:cubicBezTo>
                  <a:cubicBezTo>
                    <a:pt x="14784" y="5908"/>
                    <a:pt x="52133" y="-12766"/>
                    <a:pt x="89482" y="12133"/>
                  </a:cubicBezTo>
                  <a:cubicBezTo>
                    <a:pt x="92594" y="15245"/>
                    <a:pt x="95705" y="18358"/>
                    <a:pt x="92594" y="24583"/>
                  </a:cubicBezTo>
                  <a:cubicBezTo>
                    <a:pt x="89482" y="27695"/>
                    <a:pt x="86369" y="30807"/>
                    <a:pt x="80144" y="27695"/>
                  </a:cubicBezTo>
                  <a:cubicBezTo>
                    <a:pt x="42796" y="2796"/>
                    <a:pt x="14784" y="33920"/>
                    <a:pt x="11672" y="33920"/>
                  </a:cubicBezTo>
                  <a:cubicBezTo>
                    <a:pt x="11672" y="37032"/>
                    <a:pt x="11672" y="37032"/>
                    <a:pt x="8559" y="37032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647F8921-3508-477E-B5F2-72F6F82C81E5}"/>
                </a:ext>
              </a:extLst>
            </p:cNvPr>
            <p:cNvSpPr/>
            <p:nvPr/>
          </p:nvSpPr>
          <p:spPr>
            <a:xfrm>
              <a:off x="18451427" y="8200387"/>
              <a:ext cx="235763" cy="65360"/>
            </a:xfrm>
            <a:custGeom>
              <a:avLst/>
              <a:gdLst>
                <a:gd name="connsiteX0" fmla="*/ 152506 w 235763"/>
                <a:gd name="connsiteY0" fmla="*/ 65360 h 65360"/>
                <a:gd name="connsiteX1" fmla="*/ 3112 w 235763"/>
                <a:gd name="connsiteY1" fmla="*/ 12450 h 65360"/>
                <a:gd name="connsiteX2" fmla="*/ 0 w 235763"/>
                <a:gd name="connsiteY2" fmla="*/ 3113 h 65360"/>
                <a:gd name="connsiteX3" fmla="*/ 9337 w 235763"/>
                <a:gd name="connsiteY3" fmla="*/ 0 h 65360"/>
                <a:gd name="connsiteX4" fmla="*/ 152506 w 235763"/>
                <a:gd name="connsiteY4" fmla="*/ 49798 h 65360"/>
                <a:gd name="connsiteX5" fmla="*/ 152506 w 235763"/>
                <a:gd name="connsiteY5" fmla="*/ 49798 h 65360"/>
                <a:gd name="connsiteX6" fmla="*/ 224091 w 235763"/>
                <a:gd name="connsiteY6" fmla="*/ 24899 h 65360"/>
                <a:gd name="connsiteX7" fmla="*/ 233429 w 235763"/>
                <a:gd name="connsiteY7" fmla="*/ 24899 h 65360"/>
                <a:gd name="connsiteX8" fmla="*/ 233429 w 235763"/>
                <a:gd name="connsiteY8" fmla="*/ 34237 h 65360"/>
                <a:gd name="connsiteX9" fmla="*/ 152506 w 235763"/>
                <a:gd name="connsiteY9" fmla="*/ 65360 h 65360"/>
                <a:gd name="connsiteX10" fmla="*/ 152506 w 235763"/>
                <a:gd name="connsiteY10" fmla="*/ 65360 h 65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5763" h="65360">
                  <a:moveTo>
                    <a:pt x="152506" y="65360"/>
                  </a:moveTo>
                  <a:cubicBezTo>
                    <a:pt x="99595" y="65360"/>
                    <a:pt x="9337" y="15562"/>
                    <a:pt x="3112" y="12450"/>
                  </a:cubicBezTo>
                  <a:cubicBezTo>
                    <a:pt x="0" y="9337"/>
                    <a:pt x="0" y="6225"/>
                    <a:pt x="0" y="3113"/>
                  </a:cubicBezTo>
                  <a:cubicBezTo>
                    <a:pt x="3112" y="0"/>
                    <a:pt x="6223" y="0"/>
                    <a:pt x="9337" y="0"/>
                  </a:cubicBezTo>
                  <a:cubicBezTo>
                    <a:pt x="9337" y="0"/>
                    <a:pt x="102709" y="49798"/>
                    <a:pt x="152506" y="49798"/>
                  </a:cubicBezTo>
                  <a:cubicBezTo>
                    <a:pt x="152506" y="49798"/>
                    <a:pt x="152506" y="49798"/>
                    <a:pt x="152506" y="49798"/>
                  </a:cubicBezTo>
                  <a:cubicBezTo>
                    <a:pt x="192967" y="49798"/>
                    <a:pt x="224091" y="24899"/>
                    <a:pt x="224091" y="24899"/>
                  </a:cubicBezTo>
                  <a:cubicBezTo>
                    <a:pt x="227204" y="21787"/>
                    <a:pt x="230316" y="21787"/>
                    <a:pt x="233429" y="24899"/>
                  </a:cubicBezTo>
                  <a:cubicBezTo>
                    <a:pt x="236541" y="28012"/>
                    <a:pt x="236541" y="31124"/>
                    <a:pt x="233429" y="34237"/>
                  </a:cubicBezTo>
                  <a:cubicBezTo>
                    <a:pt x="230316" y="37349"/>
                    <a:pt x="196080" y="65360"/>
                    <a:pt x="152506" y="65360"/>
                  </a:cubicBezTo>
                  <a:cubicBezTo>
                    <a:pt x="152506" y="65360"/>
                    <a:pt x="152506" y="65360"/>
                    <a:pt x="152506" y="65360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FF45E76C-1012-4FF9-A742-58A2C541FDCA}"/>
                </a:ext>
              </a:extLst>
            </p:cNvPr>
            <p:cNvSpPr/>
            <p:nvPr/>
          </p:nvSpPr>
          <p:spPr>
            <a:xfrm>
              <a:off x="18313646" y="7705517"/>
              <a:ext cx="115994" cy="273890"/>
            </a:xfrm>
            <a:custGeom>
              <a:avLst/>
              <a:gdLst>
                <a:gd name="connsiteX0" fmla="*/ 115994 w 115994"/>
                <a:gd name="connsiteY0" fmla="*/ 130720 h 273890"/>
                <a:gd name="connsiteX1" fmla="*/ 66195 w 115994"/>
                <a:gd name="connsiteY1" fmla="*/ 273891 h 273890"/>
                <a:gd name="connsiteX2" fmla="*/ 7060 w 115994"/>
                <a:gd name="connsiteY2" fmla="*/ 171182 h 273890"/>
                <a:gd name="connsiteX3" fmla="*/ 66195 w 115994"/>
                <a:gd name="connsiteY3" fmla="*/ 0 h 273890"/>
                <a:gd name="connsiteX4" fmla="*/ 115994 w 115994"/>
                <a:gd name="connsiteY4" fmla="*/ 13072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994" h="273890">
                  <a:moveTo>
                    <a:pt x="115994" y="130720"/>
                  </a:moveTo>
                  <a:cubicBezTo>
                    <a:pt x="115994" y="130720"/>
                    <a:pt x="59971" y="242767"/>
                    <a:pt x="66195" y="273891"/>
                  </a:cubicBezTo>
                  <a:cubicBezTo>
                    <a:pt x="66195" y="273891"/>
                    <a:pt x="22622" y="227205"/>
                    <a:pt x="7060" y="171182"/>
                  </a:cubicBezTo>
                  <a:cubicBezTo>
                    <a:pt x="-8502" y="112046"/>
                    <a:pt x="-2276" y="15562"/>
                    <a:pt x="66195" y="0"/>
                  </a:cubicBezTo>
                  <a:cubicBezTo>
                    <a:pt x="66195" y="0"/>
                    <a:pt x="75533" y="108934"/>
                    <a:pt x="115994" y="130720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367A1FB7-8F78-4221-A2AC-9D31C42C0DAD}"/>
                </a:ext>
              </a:extLst>
            </p:cNvPr>
            <p:cNvSpPr/>
            <p:nvPr/>
          </p:nvSpPr>
          <p:spPr>
            <a:xfrm>
              <a:off x="18369686" y="7585843"/>
              <a:ext cx="511250" cy="259763"/>
            </a:xfrm>
            <a:custGeom>
              <a:avLst/>
              <a:gdLst>
                <a:gd name="connsiteX0" fmla="*/ 59954 w 511250"/>
                <a:gd name="connsiteY0" fmla="*/ 250394 h 259763"/>
                <a:gd name="connsiteX1" fmla="*/ 184450 w 511250"/>
                <a:gd name="connsiteY1" fmla="*/ 209933 h 259763"/>
                <a:gd name="connsiteX2" fmla="*/ 511251 w 511250"/>
                <a:gd name="connsiteY2" fmla="*/ 197484 h 259763"/>
                <a:gd name="connsiteX3" fmla="*/ 131539 w 511250"/>
                <a:gd name="connsiteY3" fmla="*/ 10740 h 259763"/>
                <a:gd name="connsiteX4" fmla="*/ 10155 w 511250"/>
                <a:gd name="connsiteY4" fmla="*/ 119674 h 259763"/>
                <a:gd name="connsiteX5" fmla="*/ 59954 w 511250"/>
                <a:gd name="connsiteY5" fmla="*/ 250394 h 259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250" h="259763">
                  <a:moveTo>
                    <a:pt x="59954" y="250394"/>
                  </a:moveTo>
                  <a:cubicBezTo>
                    <a:pt x="59954" y="250394"/>
                    <a:pt x="156437" y="209933"/>
                    <a:pt x="184450" y="209933"/>
                  </a:cubicBezTo>
                  <a:cubicBezTo>
                    <a:pt x="287158" y="213046"/>
                    <a:pt x="417879" y="328204"/>
                    <a:pt x="511251" y="197484"/>
                  </a:cubicBezTo>
                  <a:cubicBezTo>
                    <a:pt x="464565" y="94775"/>
                    <a:pt x="299608" y="-39058"/>
                    <a:pt x="131539" y="10740"/>
                  </a:cubicBezTo>
                  <a:cubicBezTo>
                    <a:pt x="50617" y="32527"/>
                    <a:pt x="16380" y="82325"/>
                    <a:pt x="10155" y="119674"/>
                  </a:cubicBezTo>
                  <a:cubicBezTo>
                    <a:pt x="10155" y="119674"/>
                    <a:pt x="-33418" y="237945"/>
                    <a:pt x="59954" y="250394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6C097CA6-33B7-4807-80B7-B0B0C6F6E823}"/>
                </a:ext>
              </a:extLst>
            </p:cNvPr>
            <p:cNvSpPr/>
            <p:nvPr/>
          </p:nvSpPr>
          <p:spPr>
            <a:xfrm>
              <a:off x="18316520" y="7944977"/>
              <a:ext cx="78882" cy="112808"/>
            </a:xfrm>
            <a:custGeom>
              <a:avLst/>
              <a:gdLst>
                <a:gd name="connsiteX0" fmla="*/ 66433 w 78882"/>
                <a:gd name="connsiteY0" fmla="*/ 15756 h 112808"/>
                <a:gd name="connsiteX1" fmla="*/ 7297 w 78882"/>
                <a:gd name="connsiteY1" fmla="*/ 6419 h 112808"/>
                <a:gd name="connsiteX2" fmla="*/ 66433 w 78882"/>
                <a:gd name="connsiteY2" fmla="*/ 109128 h 112808"/>
                <a:gd name="connsiteX3" fmla="*/ 66433 w 78882"/>
                <a:gd name="connsiteY3" fmla="*/ 15756 h 112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882" h="112808">
                  <a:moveTo>
                    <a:pt x="66433" y="15756"/>
                  </a:moveTo>
                  <a:cubicBezTo>
                    <a:pt x="66433" y="15756"/>
                    <a:pt x="32196" y="-12255"/>
                    <a:pt x="7297" y="6419"/>
                  </a:cubicBezTo>
                  <a:cubicBezTo>
                    <a:pt x="-17602" y="25094"/>
                    <a:pt x="25973" y="134027"/>
                    <a:pt x="66433" y="109128"/>
                  </a:cubicBezTo>
                  <a:cubicBezTo>
                    <a:pt x="94444" y="93566"/>
                    <a:pt x="66433" y="15756"/>
                    <a:pt x="66433" y="15756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6AE82C27-2685-4C69-869A-929FAA70D08E}"/>
                </a:ext>
              </a:extLst>
            </p:cNvPr>
            <p:cNvSpPr/>
            <p:nvPr/>
          </p:nvSpPr>
          <p:spPr>
            <a:xfrm>
              <a:off x="18364866" y="7719790"/>
              <a:ext cx="67885" cy="247168"/>
            </a:xfrm>
            <a:custGeom>
              <a:avLst/>
              <a:gdLst>
                <a:gd name="connsiteX0" fmla="*/ 18088 w 67885"/>
                <a:gd name="connsiteY0" fmla="*/ 247168 h 247168"/>
                <a:gd name="connsiteX1" fmla="*/ 18088 w 67885"/>
                <a:gd name="connsiteY1" fmla="*/ 247168 h 247168"/>
                <a:gd name="connsiteX2" fmla="*/ 11863 w 67885"/>
                <a:gd name="connsiteY2" fmla="*/ 240943 h 247168"/>
                <a:gd name="connsiteX3" fmla="*/ 58549 w 67885"/>
                <a:gd name="connsiteY3" fmla="*/ 116448 h 247168"/>
                <a:gd name="connsiteX4" fmla="*/ 8751 w 67885"/>
                <a:gd name="connsiteY4" fmla="*/ 72874 h 247168"/>
                <a:gd name="connsiteX5" fmla="*/ 5638 w 67885"/>
                <a:gd name="connsiteY5" fmla="*/ 4402 h 247168"/>
                <a:gd name="connsiteX6" fmla="*/ 11863 w 67885"/>
                <a:gd name="connsiteY6" fmla="*/ 1289 h 247168"/>
                <a:gd name="connsiteX7" fmla="*/ 14974 w 67885"/>
                <a:gd name="connsiteY7" fmla="*/ 7514 h 247168"/>
                <a:gd name="connsiteX8" fmla="*/ 14974 w 67885"/>
                <a:gd name="connsiteY8" fmla="*/ 66650 h 247168"/>
                <a:gd name="connsiteX9" fmla="*/ 64774 w 67885"/>
                <a:gd name="connsiteY9" fmla="*/ 107110 h 247168"/>
                <a:gd name="connsiteX10" fmla="*/ 67885 w 67885"/>
                <a:gd name="connsiteY10" fmla="*/ 110223 h 247168"/>
                <a:gd name="connsiteX11" fmla="*/ 67885 w 67885"/>
                <a:gd name="connsiteY11" fmla="*/ 116448 h 247168"/>
                <a:gd name="connsiteX12" fmla="*/ 21200 w 67885"/>
                <a:gd name="connsiteY12" fmla="*/ 240943 h 247168"/>
                <a:gd name="connsiteX13" fmla="*/ 18088 w 67885"/>
                <a:gd name="connsiteY13" fmla="*/ 247168 h 24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7885" h="247168">
                  <a:moveTo>
                    <a:pt x="18088" y="247168"/>
                  </a:moveTo>
                  <a:lnTo>
                    <a:pt x="18088" y="247168"/>
                  </a:lnTo>
                  <a:cubicBezTo>
                    <a:pt x="14974" y="247168"/>
                    <a:pt x="11863" y="244056"/>
                    <a:pt x="11863" y="240943"/>
                  </a:cubicBezTo>
                  <a:cubicBezTo>
                    <a:pt x="14974" y="188033"/>
                    <a:pt x="46098" y="135122"/>
                    <a:pt x="58549" y="116448"/>
                  </a:cubicBezTo>
                  <a:cubicBezTo>
                    <a:pt x="46098" y="110223"/>
                    <a:pt x="21200" y="97774"/>
                    <a:pt x="8751" y="72874"/>
                  </a:cubicBezTo>
                  <a:cubicBezTo>
                    <a:pt x="-588" y="54200"/>
                    <a:pt x="-3699" y="29301"/>
                    <a:pt x="5638" y="4402"/>
                  </a:cubicBezTo>
                  <a:cubicBezTo>
                    <a:pt x="5638" y="1289"/>
                    <a:pt x="8751" y="-1823"/>
                    <a:pt x="11863" y="1289"/>
                  </a:cubicBezTo>
                  <a:cubicBezTo>
                    <a:pt x="14974" y="1289"/>
                    <a:pt x="18088" y="4402"/>
                    <a:pt x="14974" y="7514"/>
                  </a:cubicBezTo>
                  <a:cubicBezTo>
                    <a:pt x="8751" y="29301"/>
                    <a:pt x="8751" y="47975"/>
                    <a:pt x="14974" y="66650"/>
                  </a:cubicBezTo>
                  <a:cubicBezTo>
                    <a:pt x="30536" y="94661"/>
                    <a:pt x="64774" y="107110"/>
                    <a:pt x="64774" y="107110"/>
                  </a:cubicBezTo>
                  <a:cubicBezTo>
                    <a:pt x="67885" y="107110"/>
                    <a:pt x="67885" y="110223"/>
                    <a:pt x="67885" y="110223"/>
                  </a:cubicBezTo>
                  <a:cubicBezTo>
                    <a:pt x="67885" y="113336"/>
                    <a:pt x="67885" y="113336"/>
                    <a:pt x="67885" y="116448"/>
                  </a:cubicBezTo>
                  <a:cubicBezTo>
                    <a:pt x="67885" y="116448"/>
                    <a:pt x="24313" y="178696"/>
                    <a:pt x="21200" y="240943"/>
                  </a:cubicBezTo>
                  <a:cubicBezTo>
                    <a:pt x="21200" y="247168"/>
                    <a:pt x="21200" y="247168"/>
                    <a:pt x="18088" y="247168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26576621-EA30-48D9-BB70-496EDA772708}"/>
                </a:ext>
              </a:extLst>
            </p:cNvPr>
            <p:cNvSpPr/>
            <p:nvPr/>
          </p:nvSpPr>
          <p:spPr>
            <a:xfrm>
              <a:off x="18547910" y="7762074"/>
              <a:ext cx="198415" cy="39927"/>
            </a:xfrm>
            <a:custGeom>
              <a:avLst/>
              <a:gdLst>
                <a:gd name="connsiteX0" fmla="*/ 6225 w 198415"/>
                <a:gd name="connsiteY0" fmla="*/ 39928 h 39927"/>
                <a:gd name="connsiteX1" fmla="*/ 0 w 198415"/>
                <a:gd name="connsiteY1" fmla="*/ 36815 h 39927"/>
                <a:gd name="connsiteX2" fmla="*/ 3112 w 198415"/>
                <a:gd name="connsiteY2" fmla="*/ 27478 h 39927"/>
                <a:gd name="connsiteX3" fmla="*/ 196080 w 198415"/>
                <a:gd name="connsiteY3" fmla="*/ 21253 h 39927"/>
                <a:gd name="connsiteX4" fmla="*/ 196080 w 198415"/>
                <a:gd name="connsiteY4" fmla="*/ 30590 h 39927"/>
                <a:gd name="connsiteX5" fmla="*/ 186744 w 198415"/>
                <a:gd name="connsiteY5" fmla="*/ 30590 h 39927"/>
                <a:gd name="connsiteX6" fmla="*/ 6225 w 198415"/>
                <a:gd name="connsiteY6" fmla="*/ 39928 h 39927"/>
                <a:gd name="connsiteX7" fmla="*/ 6225 w 198415"/>
                <a:gd name="connsiteY7" fmla="*/ 39928 h 39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415" h="39927">
                  <a:moveTo>
                    <a:pt x="6225" y="39928"/>
                  </a:moveTo>
                  <a:cubicBezTo>
                    <a:pt x="3112" y="39928"/>
                    <a:pt x="3112" y="39928"/>
                    <a:pt x="0" y="36815"/>
                  </a:cubicBezTo>
                  <a:cubicBezTo>
                    <a:pt x="0" y="33702"/>
                    <a:pt x="0" y="30590"/>
                    <a:pt x="3112" y="27478"/>
                  </a:cubicBezTo>
                  <a:cubicBezTo>
                    <a:pt x="9337" y="24366"/>
                    <a:pt x="124496" y="-28545"/>
                    <a:pt x="196080" y="21253"/>
                  </a:cubicBezTo>
                  <a:cubicBezTo>
                    <a:pt x="199194" y="24366"/>
                    <a:pt x="199194" y="27478"/>
                    <a:pt x="196080" y="30590"/>
                  </a:cubicBezTo>
                  <a:cubicBezTo>
                    <a:pt x="192969" y="33702"/>
                    <a:pt x="189855" y="33702"/>
                    <a:pt x="186744" y="30590"/>
                  </a:cubicBezTo>
                  <a:cubicBezTo>
                    <a:pt x="124496" y="-12984"/>
                    <a:pt x="9337" y="39928"/>
                    <a:pt x="6225" y="39928"/>
                  </a:cubicBezTo>
                  <a:cubicBezTo>
                    <a:pt x="9337" y="39928"/>
                    <a:pt x="6225" y="39928"/>
                    <a:pt x="6225" y="39928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E1B0B254-AEE6-4BDE-A49C-966D81829AA3}"/>
                </a:ext>
              </a:extLst>
            </p:cNvPr>
            <p:cNvSpPr/>
            <p:nvPr/>
          </p:nvSpPr>
          <p:spPr>
            <a:xfrm>
              <a:off x="18025029" y="8321771"/>
              <a:ext cx="1093283" cy="1599581"/>
            </a:xfrm>
            <a:custGeom>
              <a:avLst/>
              <a:gdLst>
                <a:gd name="connsiteX0" fmla="*/ 404611 w 1093283"/>
                <a:gd name="connsiteY0" fmla="*/ 0 h 1599581"/>
                <a:gd name="connsiteX1" fmla="*/ 700288 w 1093283"/>
                <a:gd name="connsiteY1" fmla="*/ 0 h 1599581"/>
                <a:gd name="connsiteX2" fmla="*/ 1005302 w 1093283"/>
                <a:gd name="connsiteY2" fmla="*/ 133833 h 1599581"/>
                <a:gd name="connsiteX3" fmla="*/ 1092449 w 1093283"/>
                <a:gd name="connsiteY3" fmla="*/ 1568646 h 1599581"/>
                <a:gd name="connsiteX4" fmla="*/ 0 w 1093283"/>
                <a:gd name="connsiteY4" fmla="*/ 1543746 h 1599581"/>
                <a:gd name="connsiteX5" fmla="*/ 118271 w 1093283"/>
                <a:gd name="connsiteY5" fmla="*/ 105821 h 1599581"/>
                <a:gd name="connsiteX6" fmla="*/ 404611 w 1093283"/>
                <a:gd name="connsiteY6" fmla="*/ 0 h 159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3283" h="1599581">
                  <a:moveTo>
                    <a:pt x="404611" y="0"/>
                  </a:moveTo>
                  <a:cubicBezTo>
                    <a:pt x="404611" y="0"/>
                    <a:pt x="582018" y="56023"/>
                    <a:pt x="700288" y="0"/>
                  </a:cubicBezTo>
                  <a:cubicBezTo>
                    <a:pt x="700288" y="0"/>
                    <a:pt x="980403" y="99596"/>
                    <a:pt x="1005302" y="133833"/>
                  </a:cubicBezTo>
                  <a:cubicBezTo>
                    <a:pt x="1030201" y="164957"/>
                    <a:pt x="1101786" y="1500173"/>
                    <a:pt x="1092449" y="1568646"/>
                  </a:cubicBezTo>
                  <a:cubicBezTo>
                    <a:pt x="1092449" y="1568646"/>
                    <a:pt x="591354" y="1652680"/>
                    <a:pt x="0" y="1543746"/>
                  </a:cubicBezTo>
                  <a:cubicBezTo>
                    <a:pt x="0" y="1179596"/>
                    <a:pt x="74697" y="136945"/>
                    <a:pt x="118271" y="105821"/>
                  </a:cubicBezTo>
                  <a:cubicBezTo>
                    <a:pt x="161844" y="71585"/>
                    <a:pt x="404611" y="0"/>
                    <a:pt x="404611" y="0"/>
                  </a:cubicBezTo>
                  <a:close/>
                </a:path>
              </a:pathLst>
            </a:custGeom>
            <a:solidFill>
              <a:srgbClr val="708686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5A5C0B1A-7999-48CD-AD73-DAF633405BEF}"/>
                </a:ext>
              </a:extLst>
            </p:cNvPr>
            <p:cNvSpPr/>
            <p:nvPr/>
          </p:nvSpPr>
          <p:spPr>
            <a:xfrm>
              <a:off x="19024106" y="8449379"/>
              <a:ext cx="54199" cy="756311"/>
            </a:xfrm>
            <a:custGeom>
              <a:avLst/>
              <a:gdLst>
                <a:gd name="connsiteX0" fmla="*/ 49799 w 54199"/>
                <a:gd name="connsiteY0" fmla="*/ 756311 h 756311"/>
                <a:gd name="connsiteX1" fmla="*/ 43574 w 54199"/>
                <a:gd name="connsiteY1" fmla="*/ 750087 h 756311"/>
                <a:gd name="connsiteX2" fmla="*/ 0 w 54199"/>
                <a:gd name="connsiteY2" fmla="*/ 6225 h 756311"/>
                <a:gd name="connsiteX3" fmla="*/ 3114 w 54199"/>
                <a:gd name="connsiteY3" fmla="*/ 0 h 756311"/>
                <a:gd name="connsiteX4" fmla="*/ 9337 w 54199"/>
                <a:gd name="connsiteY4" fmla="*/ 3113 h 756311"/>
                <a:gd name="connsiteX5" fmla="*/ 52911 w 54199"/>
                <a:gd name="connsiteY5" fmla="*/ 750087 h 756311"/>
                <a:gd name="connsiteX6" fmla="*/ 49799 w 54199"/>
                <a:gd name="connsiteY6" fmla="*/ 756311 h 756311"/>
                <a:gd name="connsiteX7" fmla="*/ 49799 w 54199"/>
                <a:gd name="connsiteY7" fmla="*/ 756311 h 756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199" h="756311">
                  <a:moveTo>
                    <a:pt x="49799" y="756311"/>
                  </a:moveTo>
                  <a:cubicBezTo>
                    <a:pt x="46686" y="756311"/>
                    <a:pt x="43574" y="753199"/>
                    <a:pt x="43574" y="750087"/>
                  </a:cubicBezTo>
                  <a:cubicBezTo>
                    <a:pt x="43574" y="743862"/>
                    <a:pt x="6225" y="46686"/>
                    <a:pt x="0" y="6225"/>
                  </a:cubicBezTo>
                  <a:cubicBezTo>
                    <a:pt x="0" y="3113"/>
                    <a:pt x="0" y="0"/>
                    <a:pt x="3114" y="0"/>
                  </a:cubicBezTo>
                  <a:cubicBezTo>
                    <a:pt x="6225" y="0"/>
                    <a:pt x="9337" y="0"/>
                    <a:pt x="9337" y="3113"/>
                  </a:cubicBezTo>
                  <a:cubicBezTo>
                    <a:pt x="18675" y="43574"/>
                    <a:pt x="52911" y="722075"/>
                    <a:pt x="52911" y="750087"/>
                  </a:cubicBezTo>
                  <a:cubicBezTo>
                    <a:pt x="56023" y="753199"/>
                    <a:pt x="52911" y="756311"/>
                    <a:pt x="49799" y="756311"/>
                  </a:cubicBezTo>
                  <a:lnTo>
                    <a:pt x="49799" y="756311"/>
                  </a:ln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74A4B768-4A0F-46F0-A0BB-558F4A29BDBB}"/>
                </a:ext>
              </a:extLst>
            </p:cNvPr>
            <p:cNvSpPr/>
            <p:nvPr/>
          </p:nvSpPr>
          <p:spPr>
            <a:xfrm>
              <a:off x="18563472" y="8145143"/>
              <a:ext cx="122766" cy="30345"/>
            </a:xfrm>
            <a:custGeom>
              <a:avLst/>
              <a:gdLst>
                <a:gd name="connsiteX0" fmla="*/ 68473 w 122766"/>
                <a:gd name="connsiteY0" fmla="*/ 30346 h 30345"/>
                <a:gd name="connsiteX1" fmla="*/ 3112 w 122766"/>
                <a:gd name="connsiteY1" fmla="*/ 14784 h 30345"/>
                <a:gd name="connsiteX2" fmla="*/ 0 w 122766"/>
                <a:gd name="connsiteY2" fmla="*/ 5447 h 30345"/>
                <a:gd name="connsiteX3" fmla="*/ 9337 w 122766"/>
                <a:gd name="connsiteY3" fmla="*/ 2334 h 30345"/>
                <a:gd name="connsiteX4" fmla="*/ 112045 w 122766"/>
                <a:gd name="connsiteY4" fmla="*/ 2334 h 30345"/>
                <a:gd name="connsiteX5" fmla="*/ 121384 w 122766"/>
                <a:gd name="connsiteY5" fmla="*/ 2334 h 30345"/>
                <a:gd name="connsiteX6" fmla="*/ 121384 w 122766"/>
                <a:gd name="connsiteY6" fmla="*/ 11671 h 30345"/>
                <a:gd name="connsiteX7" fmla="*/ 68473 w 122766"/>
                <a:gd name="connsiteY7" fmla="*/ 30346 h 3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766" h="30345">
                  <a:moveTo>
                    <a:pt x="68473" y="30346"/>
                  </a:moveTo>
                  <a:cubicBezTo>
                    <a:pt x="34236" y="30346"/>
                    <a:pt x="6225" y="14784"/>
                    <a:pt x="3112" y="14784"/>
                  </a:cubicBezTo>
                  <a:cubicBezTo>
                    <a:pt x="0" y="14784"/>
                    <a:pt x="0" y="8559"/>
                    <a:pt x="0" y="5447"/>
                  </a:cubicBezTo>
                  <a:cubicBezTo>
                    <a:pt x="0" y="2334"/>
                    <a:pt x="6225" y="2334"/>
                    <a:pt x="9337" y="2334"/>
                  </a:cubicBezTo>
                  <a:cubicBezTo>
                    <a:pt x="9337" y="2334"/>
                    <a:pt x="74698" y="33458"/>
                    <a:pt x="112045" y="2334"/>
                  </a:cubicBezTo>
                  <a:cubicBezTo>
                    <a:pt x="115159" y="-778"/>
                    <a:pt x="118271" y="-778"/>
                    <a:pt x="121384" y="2334"/>
                  </a:cubicBezTo>
                  <a:cubicBezTo>
                    <a:pt x="124496" y="5447"/>
                    <a:pt x="121384" y="8559"/>
                    <a:pt x="121384" y="11671"/>
                  </a:cubicBezTo>
                  <a:cubicBezTo>
                    <a:pt x="102709" y="27233"/>
                    <a:pt x="84035" y="30346"/>
                    <a:pt x="68473" y="30346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8" name="图形 1">
              <a:extLst>
                <a:ext uri="{FF2B5EF4-FFF2-40B4-BE49-F238E27FC236}">
                  <a16:creationId xmlns:a16="http://schemas.microsoft.com/office/drawing/2014/main" id="{9BA2DA48-B6C1-422D-B7FA-D56C2472F836}"/>
                </a:ext>
              </a:extLst>
            </p:cNvPr>
            <p:cNvGrpSpPr/>
            <p:nvPr/>
          </p:nvGrpSpPr>
          <p:grpSpPr>
            <a:xfrm>
              <a:off x="18609751" y="9062520"/>
              <a:ext cx="1368715" cy="826009"/>
              <a:chOff x="18609751" y="9062520"/>
              <a:chExt cx="1368715" cy="826009"/>
            </a:xfrm>
          </p:grpSpPr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722657F7-C169-4E3B-9FF0-E606F9BA594A}"/>
                  </a:ext>
                </a:extLst>
              </p:cNvPr>
              <p:cNvSpPr/>
              <p:nvPr/>
            </p:nvSpPr>
            <p:spPr>
              <a:xfrm>
                <a:off x="18841009" y="9104232"/>
                <a:ext cx="715101" cy="446155"/>
              </a:xfrm>
              <a:custGeom>
                <a:avLst/>
                <a:gdLst>
                  <a:gd name="connsiteX0" fmla="*/ 8804 w 715101"/>
                  <a:gd name="connsiteY0" fmla="*/ 303764 h 446155"/>
                  <a:gd name="connsiteX1" fmla="*/ 2579 w 715101"/>
                  <a:gd name="connsiteY1" fmla="*/ 325550 h 446155"/>
                  <a:gd name="connsiteX2" fmla="*/ 117737 w 715101"/>
                  <a:gd name="connsiteY2" fmla="*/ 443821 h 446155"/>
                  <a:gd name="connsiteX3" fmla="*/ 136411 w 715101"/>
                  <a:gd name="connsiteY3" fmla="*/ 443821 h 446155"/>
                  <a:gd name="connsiteX4" fmla="*/ 151973 w 715101"/>
                  <a:gd name="connsiteY4" fmla="*/ 440709 h 446155"/>
                  <a:gd name="connsiteX5" fmla="*/ 578371 w 715101"/>
                  <a:gd name="connsiteY5" fmla="*/ 182380 h 446155"/>
                  <a:gd name="connsiteX6" fmla="*/ 712204 w 715101"/>
                  <a:gd name="connsiteY6" fmla="*/ 110795 h 446155"/>
                  <a:gd name="connsiteX7" fmla="*/ 684193 w 715101"/>
                  <a:gd name="connsiteY7" fmla="*/ 8086 h 446155"/>
                  <a:gd name="connsiteX8" fmla="*/ 662406 w 715101"/>
                  <a:gd name="connsiteY8" fmla="*/ 1862 h 446155"/>
                  <a:gd name="connsiteX9" fmla="*/ 8804 w 715101"/>
                  <a:gd name="connsiteY9" fmla="*/ 303764 h 446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15101" h="446155">
                    <a:moveTo>
                      <a:pt x="8804" y="303764"/>
                    </a:moveTo>
                    <a:cubicBezTo>
                      <a:pt x="2579" y="306876"/>
                      <a:pt x="-3647" y="316213"/>
                      <a:pt x="2579" y="325550"/>
                    </a:cubicBezTo>
                    <a:cubicBezTo>
                      <a:pt x="33702" y="375349"/>
                      <a:pt x="71052" y="412697"/>
                      <a:pt x="117737" y="443821"/>
                    </a:cubicBezTo>
                    <a:cubicBezTo>
                      <a:pt x="123963" y="446934"/>
                      <a:pt x="130186" y="446934"/>
                      <a:pt x="136411" y="443821"/>
                    </a:cubicBezTo>
                    <a:cubicBezTo>
                      <a:pt x="142636" y="446934"/>
                      <a:pt x="145748" y="446934"/>
                      <a:pt x="151973" y="440709"/>
                    </a:cubicBezTo>
                    <a:cubicBezTo>
                      <a:pt x="285805" y="341112"/>
                      <a:pt x="428977" y="253966"/>
                      <a:pt x="578371" y="182380"/>
                    </a:cubicBezTo>
                    <a:cubicBezTo>
                      <a:pt x="612607" y="166818"/>
                      <a:pt x="696642" y="148144"/>
                      <a:pt x="712204" y="110795"/>
                    </a:cubicBezTo>
                    <a:cubicBezTo>
                      <a:pt x="724654" y="82784"/>
                      <a:pt x="693530" y="32986"/>
                      <a:pt x="684193" y="8086"/>
                    </a:cubicBezTo>
                    <a:cubicBezTo>
                      <a:pt x="681080" y="-1251"/>
                      <a:pt x="671743" y="-1251"/>
                      <a:pt x="662406" y="1862"/>
                    </a:cubicBezTo>
                    <a:cubicBezTo>
                      <a:pt x="435202" y="85896"/>
                      <a:pt x="220446" y="188605"/>
                      <a:pt x="8804" y="303764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78" name="图形 1">
                <a:extLst>
                  <a:ext uri="{FF2B5EF4-FFF2-40B4-BE49-F238E27FC236}">
                    <a16:creationId xmlns:a16="http://schemas.microsoft.com/office/drawing/2014/main" id="{5C3DC259-871C-4053-9630-D80EF87E908F}"/>
                  </a:ext>
                </a:extLst>
              </p:cNvPr>
              <p:cNvGrpSpPr/>
              <p:nvPr/>
            </p:nvGrpSpPr>
            <p:grpSpPr>
              <a:xfrm>
                <a:off x="18844194" y="9106093"/>
                <a:ext cx="1134272" cy="652351"/>
                <a:chOff x="18844194" y="9106093"/>
                <a:chExt cx="1134272" cy="652351"/>
              </a:xfrm>
            </p:grpSpPr>
            <p:sp>
              <p:nvSpPr>
                <p:cNvPr id="90" name="任意多边形: 形状 89">
                  <a:extLst>
                    <a:ext uri="{FF2B5EF4-FFF2-40B4-BE49-F238E27FC236}">
                      <a16:creationId xmlns:a16="http://schemas.microsoft.com/office/drawing/2014/main" id="{495D80C9-EE6F-48D0-84E2-0F4F15374247}"/>
                    </a:ext>
                  </a:extLst>
                </p:cNvPr>
                <p:cNvSpPr/>
                <p:nvPr/>
              </p:nvSpPr>
              <p:spPr>
                <a:xfrm>
                  <a:off x="18844194" y="9120000"/>
                  <a:ext cx="1128604" cy="638445"/>
                </a:xfrm>
                <a:custGeom>
                  <a:avLst/>
                  <a:gdLst>
                    <a:gd name="connsiteX0" fmla="*/ 954898 w 1128604"/>
                    <a:gd name="connsiteY0" fmla="*/ 344019 h 638445"/>
                    <a:gd name="connsiteX1" fmla="*/ 1063832 w 1128604"/>
                    <a:gd name="connsiteY1" fmla="*/ 250647 h 638445"/>
                    <a:gd name="connsiteX2" fmla="*/ 1048270 w 1128604"/>
                    <a:gd name="connsiteY2" fmla="*/ 228860 h 638445"/>
                    <a:gd name="connsiteX3" fmla="*/ 967346 w 1128604"/>
                    <a:gd name="connsiteY3" fmla="*/ 219523 h 638445"/>
                    <a:gd name="connsiteX4" fmla="*/ 1122966 w 1128604"/>
                    <a:gd name="connsiteY4" fmla="*/ 98140 h 638445"/>
                    <a:gd name="connsiteX5" fmla="*/ 1119854 w 1128604"/>
                    <a:gd name="connsiteY5" fmla="*/ 73241 h 638445"/>
                    <a:gd name="connsiteX6" fmla="*/ 976685 w 1128604"/>
                    <a:gd name="connsiteY6" fmla="*/ 1656 h 638445"/>
                    <a:gd name="connsiteX7" fmla="*/ 958010 w 1128604"/>
                    <a:gd name="connsiteY7" fmla="*/ 20330 h 638445"/>
                    <a:gd name="connsiteX8" fmla="*/ 11844 w 1128604"/>
                    <a:gd name="connsiteY8" fmla="*/ 480964 h 638445"/>
                    <a:gd name="connsiteX9" fmla="*/ 2505 w 1128604"/>
                    <a:gd name="connsiteY9" fmla="*/ 502751 h 638445"/>
                    <a:gd name="connsiteX10" fmla="*/ 58530 w 1128604"/>
                    <a:gd name="connsiteY10" fmla="*/ 630359 h 638445"/>
                    <a:gd name="connsiteX11" fmla="*/ 80315 w 1128604"/>
                    <a:gd name="connsiteY11" fmla="*/ 636583 h 638445"/>
                    <a:gd name="connsiteX12" fmla="*/ 693456 w 1128604"/>
                    <a:gd name="connsiteY12" fmla="*/ 387592 h 638445"/>
                    <a:gd name="connsiteX13" fmla="*/ 954898 w 1128604"/>
                    <a:gd name="connsiteY13" fmla="*/ 344019 h 6384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128604" h="638445">
                      <a:moveTo>
                        <a:pt x="954898" y="344019"/>
                      </a:moveTo>
                      <a:cubicBezTo>
                        <a:pt x="1007809" y="334682"/>
                        <a:pt x="1051381" y="303558"/>
                        <a:pt x="1063832" y="250647"/>
                      </a:cubicBezTo>
                      <a:cubicBezTo>
                        <a:pt x="1066943" y="241310"/>
                        <a:pt x="1060718" y="231972"/>
                        <a:pt x="1048270" y="228860"/>
                      </a:cubicBezTo>
                      <a:cubicBezTo>
                        <a:pt x="1020258" y="225748"/>
                        <a:pt x="992247" y="222636"/>
                        <a:pt x="967346" y="219523"/>
                      </a:cubicBezTo>
                      <a:cubicBezTo>
                        <a:pt x="1020258" y="179062"/>
                        <a:pt x="1070057" y="138601"/>
                        <a:pt x="1122966" y="98140"/>
                      </a:cubicBezTo>
                      <a:cubicBezTo>
                        <a:pt x="1132305" y="91915"/>
                        <a:pt x="1129191" y="79465"/>
                        <a:pt x="1119854" y="73241"/>
                      </a:cubicBezTo>
                      <a:cubicBezTo>
                        <a:pt x="1073169" y="42117"/>
                        <a:pt x="1026483" y="20330"/>
                        <a:pt x="976685" y="1656"/>
                      </a:cubicBezTo>
                      <a:cubicBezTo>
                        <a:pt x="964235" y="-4569"/>
                        <a:pt x="954898" y="7880"/>
                        <a:pt x="958010" y="20330"/>
                      </a:cubicBezTo>
                      <a:cubicBezTo>
                        <a:pt x="677894" y="238198"/>
                        <a:pt x="344868" y="362693"/>
                        <a:pt x="11844" y="480964"/>
                      </a:cubicBezTo>
                      <a:cubicBezTo>
                        <a:pt x="2505" y="484076"/>
                        <a:pt x="-3718" y="493414"/>
                        <a:pt x="2505" y="502751"/>
                      </a:cubicBezTo>
                      <a:cubicBezTo>
                        <a:pt x="21180" y="546324"/>
                        <a:pt x="39854" y="586785"/>
                        <a:pt x="58530" y="630359"/>
                      </a:cubicBezTo>
                      <a:cubicBezTo>
                        <a:pt x="61641" y="639696"/>
                        <a:pt x="70978" y="639696"/>
                        <a:pt x="80315" y="636583"/>
                      </a:cubicBezTo>
                      <a:cubicBezTo>
                        <a:pt x="282620" y="552549"/>
                        <a:pt x="484926" y="456065"/>
                        <a:pt x="693456" y="387592"/>
                      </a:cubicBezTo>
                      <a:cubicBezTo>
                        <a:pt x="780603" y="353356"/>
                        <a:pt x="867751" y="359581"/>
                        <a:pt x="954898" y="344019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1" name="任意多边形: 形状 90">
                  <a:extLst>
                    <a:ext uri="{FF2B5EF4-FFF2-40B4-BE49-F238E27FC236}">
                      <a16:creationId xmlns:a16="http://schemas.microsoft.com/office/drawing/2014/main" id="{DA399943-3AAA-48F9-8704-B2E636A1DD4F}"/>
                    </a:ext>
                  </a:extLst>
                </p:cNvPr>
                <p:cNvSpPr/>
                <p:nvPr/>
              </p:nvSpPr>
              <p:spPr>
                <a:xfrm>
                  <a:off x="19811541" y="9106093"/>
                  <a:ext cx="166926" cy="110034"/>
                </a:xfrm>
                <a:custGeom>
                  <a:avLst/>
                  <a:gdLst>
                    <a:gd name="connsiteX0" fmla="*/ 0 w 166926"/>
                    <a:gd name="connsiteY0" fmla="*/ 34237 h 110034"/>
                    <a:gd name="connsiteX1" fmla="*/ 146283 w 166926"/>
                    <a:gd name="connsiteY1" fmla="*/ 108934 h 110034"/>
                    <a:gd name="connsiteX2" fmla="*/ 161845 w 166926"/>
                    <a:gd name="connsiteY2" fmla="*/ 84034 h 110034"/>
                    <a:gd name="connsiteX3" fmla="*/ 12450 w 166926"/>
                    <a:gd name="connsiteY3" fmla="*/ 0 h 110034"/>
                    <a:gd name="connsiteX4" fmla="*/ 0 w 166926"/>
                    <a:gd name="connsiteY4" fmla="*/ 34237 h 110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6926" h="110034">
                      <a:moveTo>
                        <a:pt x="0" y="34237"/>
                      </a:moveTo>
                      <a:cubicBezTo>
                        <a:pt x="46686" y="62248"/>
                        <a:pt x="96485" y="87147"/>
                        <a:pt x="146283" y="108934"/>
                      </a:cubicBezTo>
                      <a:cubicBezTo>
                        <a:pt x="161845" y="115158"/>
                        <a:pt x="174295" y="93372"/>
                        <a:pt x="161845" y="84034"/>
                      </a:cubicBezTo>
                      <a:cubicBezTo>
                        <a:pt x="121384" y="43573"/>
                        <a:pt x="68473" y="12449"/>
                        <a:pt x="12450" y="0"/>
                      </a:cubicBezTo>
                      <a:lnTo>
                        <a:pt x="0" y="34237"/>
                      </a:lnTo>
                      <a:close/>
                    </a:path>
                  </a:pathLst>
                </a:custGeom>
                <a:solidFill>
                  <a:srgbClr val="9E554D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2" name="任意多边形: 形状 91">
                  <a:extLst>
                    <a:ext uri="{FF2B5EF4-FFF2-40B4-BE49-F238E27FC236}">
                      <a16:creationId xmlns:a16="http://schemas.microsoft.com/office/drawing/2014/main" id="{86366031-DC1D-43D9-9EEA-DD9F199DBE30}"/>
                    </a:ext>
                  </a:extLst>
                </p:cNvPr>
                <p:cNvSpPr/>
                <p:nvPr/>
              </p:nvSpPr>
              <p:spPr>
                <a:xfrm>
                  <a:off x="19839148" y="9335784"/>
                  <a:ext cx="90932" cy="134459"/>
                </a:xfrm>
                <a:custGeom>
                  <a:avLst/>
                  <a:gdLst>
                    <a:gd name="connsiteX0" fmla="*/ 90665 w 90932"/>
                    <a:gd name="connsiteY0" fmla="*/ 16189 h 134459"/>
                    <a:gd name="connsiteX1" fmla="*/ 62652 w 90932"/>
                    <a:gd name="connsiteY1" fmla="*/ 9964 h 134459"/>
                    <a:gd name="connsiteX2" fmla="*/ 53316 w 90932"/>
                    <a:gd name="connsiteY2" fmla="*/ 16189 h 134459"/>
                    <a:gd name="connsiteX3" fmla="*/ 6630 w 90932"/>
                    <a:gd name="connsiteY3" fmla="*/ 90886 h 134459"/>
                    <a:gd name="connsiteX4" fmla="*/ 22192 w 90932"/>
                    <a:gd name="connsiteY4" fmla="*/ 134460 h 134459"/>
                    <a:gd name="connsiteX5" fmla="*/ 90665 w 90932"/>
                    <a:gd name="connsiteY5" fmla="*/ 16189 h 134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0932" h="134459">
                      <a:moveTo>
                        <a:pt x="90665" y="16189"/>
                      </a:moveTo>
                      <a:cubicBezTo>
                        <a:pt x="93776" y="-2485"/>
                        <a:pt x="68878" y="-5598"/>
                        <a:pt x="62652" y="9964"/>
                      </a:cubicBezTo>
                      <a:cubicBezTo>
                        <a:pt x="59541" y="9964"/>
                        <a:pt x="56427" y="13077"/>
                        <a:pt x="53316" y="16189"/>
                      </a:cubicBezTo>
                      <a:cubicBezTo>
                        <a:pt x="34640" y="37976"/>
                        <a:pt x="19078" y="62874"/>
                        <a:pt x="6630" y="90886"/>
                      </a:cubicBezTo>
                      <a:cubicBezTo>
                        <a:pt x="-2707" y="109560"/>
                        <a:pt x="-5821" y="134460"/>
                        <a:pt x="22192" y="134460"/>
                      </a:cubicBezTo>
                      <a:lnTo>
                        <a:pt x="90665" y="16189"/>
                      </a:lnTo>
                      <a:close/>
                    </a:path>
                  </a:pathLst>
                </a:custGeom>
                <a:solidFill>
                  <a:srgbClr val="9E554D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7E3FEC02-87D0-4F8E-B680-C24D3D04E844}"/>
                  </a:ext>
                </a:extLst>
              </p:cNvPr>
              <p:cNvSpPr/>
              <p:nvPr/>
            </p:nvSpPr>
            <p:spPr>
              <a:xfrm>
                <a:off x="18609751" y="9397690"/>
                <a:ext cx="922284" cy="309979"/>
              </a:xfrm>
              <a:custGeom>
                <a:avLst/>
                <a:gdLst>
                  <a:gd name="connsiteX0" fmla="*/ 775393 w 922284"/>
                  <a:gd name="connsiteY0" fmla="*/ 305983 h 309979"/>
                  <a:gd name="connsiteX1" fmla="*/ 868765 w 922284"/>
                  <a:gd name="connsiteY1" fmla="*/ 277972 h 309979"/>
                  <a:gd name="connsiteX2" fmla="*/ 921674 w 922284"/>
                  <a:gd name="connsiteY2" fmla="*/ 144139 h 309979"/>
                  <a:gd name="connsiteX3" fmla="*/ 906112 w 922284"/>
                  <a:gd name="connsiteY3" fmla="*/ 122352 h 309979"/>
                  <a:gd name="connsiteX4" fmla="*/ 893664 w 922284"/>
                  <a:gd name="connsiteY4" fmla="*/ 116127 h 309979"/>
                  <a:gd name="connsiteX5" fmla="*/ 370782 w 922284"/>
                  <a:gd name="connsiteY5" fmla="*/ 53879 h 309979"/>
                  <a:gd name="connsiteX6" fmla="*/ 93779 w 922284"/>
                  <a:gd name="connsiteY6" fmla="*/ 66329 h 309979"/>
                  <a:gd name="connsiteX7" fmla="*/ 103115 w 922284"/>
                  <a:gd name="connsiteY7" fmla="*/ 81891 h 309979"/>
                  <a:gd name="connsiteX8" fmla="*/ 143576 w 922284"/>
                  <a:gd name="connsiteY8" fmla="*/ 103677 h 309979"/>
                  <a:gd name="connsiteX9" fmla="*/ 19080 w 922284"/>
                  <a:gd name="connsiteY9" fmla="*/ 119239 h 309979"/>
                  <a:gd name="connsiteX10" fmla="*/ 6632 w 922284"/>
                  <a:gd name="connsiteY10" fmla="*/ 128577 h 309979"/>
                  <a:gd name="connsiteX11" fmla="*/ 75105 w 922284"/>
                  <a:gd name="connsiteY11" fmla="*/ 246848 h 309979"/>
                  <a:gd name="connsiteX12" fmla="*/ 246287 w 922284"/>
                  <a:gd name="connsiteY12" fmla="*/ 253072 h 309979"/>
                  <a:gd name="connsiteX13" fmla="*/ 433030 w 922284"/>
                  <a:gd name="connsiteY13" fmla="*/ 277972 h 309979"/>
                  <a:gd name="connsiteX14" fmla="*/ 775393 w 922284"/>
                  <a:gd name="connsiteY14" fmla="*/ 305983 h 309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22284" h="309979">
                    <a:moveTo>
                      <a:pt x="775393" y="305983"/>
                    </a:moveTo>
                    <a:cubicBezTo>
                      <a:pt x="803404" y="302871"/>
                      <a:pt x="846978" y="302871"/>
                      <a:pt x="868765" y="277972"/>
                    </a:cubicBezTo>
                    <a:cubicBezTo>
                      <a:pt x="899889" y="246848"/>
                      <a:pt x="906112" y="184600"/>
                      <a:pt x="921674" y="144139"/>
                    </a:cubicBezTo>
                    <a:cubicBezTo>
                      <a:pt x="924788" y="131689"/>
                      <a:pt x="915451" y="122352"/>
                      <a:pt x="906112" y="122352"/>
                    </a:cubicBezTo>
                    <a:cubicBezTo>
                      <a:pt x="903000" y="119239"/>
                      <a:pt x="899889" y="116127"/>
                      <a:pt x="893664" y="116127"/>
                    </a:cubicBezTo>
                    <a:cubicBezTo>
                      <a:pt x="716257" y="119239"/>
                      <a:pt x="541964" y="100565"/>
                      <a:pt x="370782" y="53879"/>
                    </a:cubicBezTo>
                    <a:cubicBezTo>
                      <a:pt x="299196" y="35205"/>
                      <a:pt x="121791" y="-64392"/>
                      <a:pt x="93779" y="66329"/>
                    </a:cubicBezTo>
                    <a:cubicBezTo>
                      <a:pt x="93779" y="72554"/>
                      <a:pt x="96890" y="78778"/>
                      <a:pt x="103115" y="81891"/>
                    </a:cubicBezTo>
                    <a:cubicBezTo>
                      <a:pt x="115566" y="88116"/>
                      <a:pt x="131128" y="97453"/>
                      <a:pt x="143576" y="103677"/>
                    </a:cubicBezTo>
                    <a:cubicBezTo>
                      <a:pt x="103115" y="113015"/>
                      <a:pt x="59543" y="116127"/>
                      <a:pt x="19080" y="119239"/>
                    </a:cubicBezTo>
                    <a:cubicBezTo>
                      <a:pt x="12857" y="119239"/>
                      <a:pt x="9744" y="122352"/>
                      <a:pt x="6632" y="128577"/>
                    </a:cubicBezTo>
                    <a:cubicBezTo>
                      <a:pt x="-15155" y="184600"/>
                      <a:pt x="19080" y="231286"/>
                      <a:pt x="75105" y="246848"/>
                    </a:cubicBezTo>
                    <a:cubicBezTo>
                      <a:pt x="128014" y="262410"/>
                      <a:pt x="193375" y="249960"/>
                      <a:pt x="246287" y="253072"/>
                    </a:cubicBezTo>
                    <a:cubicBezTo>
                      <a:pt x="308534" y="256185"/>
                      <a:pt x="370782" y="268634"/>
                      <a:pt x="433030" y="277972"/>
                    </a:cubicBezTo>
                    <a:cubicBezTo>
                      <a:pt x="541964" y="299758"/>
                      <a:pt x="660234" y="318433"/>
                      <a:pt x="775393" y="305983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214D24D1-8696-471C-A93B-16A956F9CB3C}"/>
                  </a:ext>
                </a:extLst>
              </p:cNvPr>
              <p:cNvSpPr/>
              <p:nvPr/>
            </p:nvSpPr>
            <p:spPr>
              <a:xfrm>
                <a:off x="19009882" y="9346761"/>
                <a:ext cx="918870" cy="389031"/>
              </a:xfrm>
              <a:custGeom>
                <a:avLst/>
                <a:gdLst>
                  <a:gd name="connsiteX0" fmla="*/ 748750 w 918870"/>
                  <a:gd name="connsiteY0" fmla="*/ 388035 h 389031"/>
                  <a:gd name="connsiteX1" fmla="*/ 845233 w 918870"/>
                  <a:gd name="connsiteY1" fmla="*/ 375586 h 389031"/>
                  <a:gd name="connsiteX2" fmla="*/ 916818 w 918870"/>
                  <a:gd name="connsiteY2" fmla="*/ 251090 h 389031"/>
                  <a:gd name="connsiteX3" fmla="*/ 907481 w 918870"/>
                  <a:gd name="connsiteY3" fmla="*/ 226191 h 389031"/>
                  <a:gd name="connsiteX4" fmla="*/ 895031 w 918870"/>
                  <a:gd name="connsiteY4" fmla="*/ 219966 h 389031"/>
                  <a:gd name="connsiteX5" fmla="*/ 384599 w 918870"/>
                  <a:gd name="connsiteY5" fmla="*/ 83021 h 389031"/>
                  <a:gd name="connsiteX6" fmla="*/ 107596 w 918870"/>
                  <a:gd name="connsiteY6" fmla="*/ 55010 h 389031"/>
                  <a:gd name="connsiteX7" fmla="*/ 113821 w 918870"/>
                  <a:gd name="connsiteY7" fmla="*/ 73684 h 389031"/>
                  <a:gd name="connsiteX8" fmla="*/ 151170 w 918870"/>
                  <a:gd name="connsiteY8" fmla="*/ 101695 h 389031"/>
                  <a:gd name="connsiteX9" fmla="*/ 23561 w 918870"/>
                  <a:gd name="connsiteY9" fmla="*/ 98583 h 389031"/>
                  <a:gd name="connsiteX10" fmla="*/ 11112 w 918870"/>
                  <a:gd name="connsiteY10" fmla="*/ 104808 h 389031"/>
                  <a:gd name="connsiteX11" fmla="*/ 60910 w 918870"/>
                  <a:gd name="connsiteY11" fmla="*/ 232416 h 389031"/>
                  <a:gd name="connsiteX12" fmla="*/ 228980 w 918870"/>
                  <a:gd name="connsiteY12" fmla="*/ 263540 h 389031"/>
                  <a:gd name="connsiteX13" fmla="*/ 409498 w 918870"/>
                  <a:gd name="connsiteY13" fmla="*/ 313338 h 389031"/>
                  <a:gd name="connsiteX14" fmla="*/ 748750 w 918870"/>
                  <a:gd name="connsiteY14" fmla="*/ 388035 h 389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18870" h="389031">
                    <a:moveTo>
                      <a:pt x="748750" y="388035"/>
                    </a:moveTo>
                    <a:cubicBezTo>
                      <a:pt x="779874" y="388035"/>
                      <a:pt x="817221" y="394260"/>
                      <a:pt x="845233" y="375586"/>
                    </a:cubicBezTo>
                    <a:cubicBezTo>
                      <a:pt x="879469" y="347574"/>
                      <a:pt x="898144" y="288439"/>
                      <a:pt x="916818" y="251090"/>
                    </a:cubicBezTo>
                    <a:cubicBezTo>
                      <a:pt x="923043" y="241753"/>
                      <a:pt x="913706" y="229304"/>
                      <a:pt x="907481" y="226191"/>
                    </a:cubicBezTo>
                    <a:cubicBezTo>
                      <a:pt x="904369" y="223079"/>
                      <a:pt x="901256" y="219966"/>
                      <a:pt x="895031" y="219966"/>
                    </a:cubicBezTo>
                    <a:cubicBezTo>
                      <a:pt x="720737" y="198180"/>
                      <a:pt x="546444" y="154606"/>
                      <a:pt x="384599" y="83021"/>
                    </a:cubicBezTo>
                    <a:cubicBezTo>
                      <a:pt x="316126" y="51897"/>
                      <a:pt x="154282" y="-69486"/>
                      <a:pt x="107596" y="55010"/>
                    </a:cubicBezTo>
                    <a:cubicBezTo>
                      <a:pt x="104484" y="61234"/>
                      <a:pt x="107596" y="67459"/>
                      <a:pt x="113821" y="73684"/>
                    </a:cubicBezTo>
                    <a:cubicBezTo>
                      <a:pt x="126271" y="83021"/>
                      <a:pt x="138720" y="92358"/>
                      <a:pt x="151170" y="101695"/>
                    </a:cubicBezTo>
                    <a:cubicBezTo>
                      <a:pt x="107596" y="104808"/>
                      <a:pt x="67135" y="101695"/>
                      <a:pt x="23561" y="98583"/>
                    </a:cubicBezTo>
                    <a:cubicBezTo>
                      <a:pt x="17338" y="98583"/>
                      <a:pt x="11112" y="101695"/>
                      <a:pt x="11112" y="104808"/>
                    </a:cubicBezTo>
                    <a:cubicBezTo>
                      <a:pt x="-16900" y="154606"/>
                      <a:pt x="11112" y="207517"/>
                      <a:pt x="60910" y="232416"/>
                    </a:cubicBezTo>
                    <a:cubicBezTo>
                      <a:pt x="110709" y="254203"/>
                      <a:pt x="176069" y="254203"/>
                      <a:pt x="228980" y="263540"/>
                    </a:cubicBezTo>
                    <a:cubicBezTo>
                      <a:pt x="291228" y="275990"/>
                      <a:pt x="350362" y="294664"/>
                      <a:pt x="409498" y="313338"/>
                    </a:cubicBezTo>
                    <a:cubicBezTo>
                      <a:pt x="518432" y="347574"/>
                      <a:pt x="630477" y="384923"/>
                      <a:pt x="748750" y="388035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72F4CFA9-4232-4DB0-94BA-E12FD156AA45}"/>
                  </a:ext>
                </a:extLst>
              </p:cNvPr>
              <p:cNvSpPr/>
              <p:nvPr/>
            </p:nvSpPr>
            <p:spPr>
              <a:xfrm>
                <a:off x="19166861" y="9071857"/>
                <a:ext cx="516004" cy="663220"/>
              </a:xfrm>
              <a:custGeom>
                <a:avLst/>
                <a:gdLst>
                  <a:gd name="connsiteX0" fmla="*/ 513961 w 516004"/>
                  <a:gd name="connsiteY0" fmla="*/ 68473 h 663220"/>
                  <a:gd name="connsiteX1" fmla="*/ 510847 w 516004"/>
                  <a:gd name="connsiteY1" fmla="*/ 46686 h 663220"/>
                  <a:gd name="connsiteX2" fmla="*/ 352116 w 516004"/>
                  <a:gd name="connsiteY2" fmla="*/ 0 h 663220"/>
                  <a:gd name="connsiteX3" fmla="*/ 336554 w 516004"/>
                  <a:gd name="connsiteY3" fmla="*/ 9337 h 663220"/>
                  <a:gd name="connsiteX4" fmla="*/ 324104 w 516004"/>
                  <a:gd name="connsiteY4" fmla="*/ 18675 h 663220"/>
                  <a:gd name="connsiteX5" fmla="*/ 81337 w 516004"/>
                  <a:gd name="connsiteY5" fmla="*/ 454409 h 663220"/>
                  <a:gd name="connsiteX6" fmla="*/ 416 w 516004"/>
                  <a:gd name="connsiteY6" fmla="*/ 585130 h 663220"/>
                  <a:gd name="connsiteX7" fmla="*/ 75112 w 516004"/>
                  <a:gd name="connsiteY7" fmla="*/ 659828 h 663220"/>
                  <a:gd name="connsiteX8" fmla="*/ 96899 w 516004"/>
                  <a:gd name="connsiteY8" fmla="*/ 656715 h 663220"/>
                  <a:gd name="connsiteX9" fmla="*/ 513961 w 516004"/>
                  <a:gd name="connsiteY9" fmla="*/ 68473 h 663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16004" h="663220">
                    <a:moveTo>
                      <a:pt x="513961" y="68473"/>
                    </a:moveTo>
                    <a:cubicBezTo>
                      <a:pt x="517072" y="62248"/>
                      <a:pt x="517072" y="49798"/>
                      <a:pt x="510847" y="46686"/>
                    </a:cubicBezTo>
                    <a:cubicBezTo>
                      <a:pt x="461050" y="18675"/>
                      <a:pt x="408139" y="3113"/>
                      <a:pt x="352116" y="0"/>
                    </a:cubicBezTo>
                    <a:cubicBezTo>
                      <a:pt x="345891" y="0"/>
                      <a:pt x="339666" y="3113"/>
                      <a:pt x="336554" y="9337"/>
                    </a:cubicBezTo>
                    <a:cubicBezTo>
                      <a:pt x="330329" y="9337"/>
                      <a:pt x="327217" y="12450"/>
                      <a:pt x="324104" y="18675"/>
                    </a:cubicBezTo>
                    <a:cubicBezTo>
                      <a:pt x="255631" y="171182"/>
                      <a:pt x="174709" y="317464"/>
                      <a:pt x="81337" y="454409"/>
                    </a:cubicBezTo>
                    <a:cubicBezTo>
                      <a:pt x="59550" y="485533"/>
                      <a:pt x="-5809" y="541557"/>
                      <a:pt x="416" y="585130"/>
                    </a:cubicBezTo>
                    <a:cubicBezTo>
                      <a:pt x="3528" y="616254"/>
                      <a:pt x="53325" y="644266"/>
                      <a:pt x="75112" y="659828"/>
                    </a:cubicBezTo>
                    <a:cubicBezTo>
                      <a:pt x="81337" y="666052"/>
                      <a:pt x="90674" y="662940"/>
                      <a:pt x="96899" y="656715"/>
                    </a:cubicBezTo>
                    <a:cubicBezTo>
                      <a:pt x="246294" y="466859"/>
                      <a:pt x="386351" y="270778"/>
                      <a:pt x="513961" y="68473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342B528F-10E6-4D07-9FE1-F06FAD04BFD3}"/>
                  </a:ext>
                </a:extLst>
              </p:cNvPr>
              <p:cNvSpPr/>
              <p:nvPr/>
            </p:nvSpPr>
            <p:spPr>
              <a:xfrm>
                <a:off x="18824104" y="9077039"/>
                <a:ext cx="1030477" cy="811490"/>
              </a:xfrm>
              <a:custGeom>
                <a:avLst/>
                <a:gdLst>
                  <a:gd name="connsiteX0" fmla="*/ 287149 w 1030477"/>
                  <a:gd name="connsiteY0" fmla="*/ 13492 h 811490"/>
                  <a:gd name="connsiteX1" fmla="*/ 168878 w 1030477"/>
                  <a:gd name="connsiteY1" fmla="*/ 47729 h 811490"/>
                  <a:gd name="connsiteX2" fmla="*/ 203116 w 1030477"/>
                  <a:gd name="connsiteY2" fmla="*/ 122426 h 811490"/>
                  <a:gd name="connsiteX3" fmla="*/ 19484 w 1030477"/>
                  <a:gd name="connsiteY3" fmla="*/ 53953 h 811490"/>
                  <a:gd name="connsiteX4" fmla="*/ 810 w 1030477"/>
                  <a:gd name="connsiteY4" fmla="*/ 69515 h 811490"/>
                  <a:gd name="connsiteX5" fmla="*/ 13259 w 1030477"/>
                  <a:gd name="connsiteY5" fmla="*/ 228247 h 811490"/>
                  <a:gd name="connsiteX6" fmla="*/ 38157 w 1030477"/>
                  <a:gd name="connsiteY6" fmla="*/ 234472 h 811490"/>
                  <a:gd name="connsiteX7" fmla="*/ 922077 w 1030477"/>
                  <a:gd name="connsiteY7" fmla="*/ 807152 h 811490"/>
                  <a:gd name="connsiteX8" fmla="*/ 946976 w 1030477"/>
                  <a:gd name="connsiteY8" fmla="*/ 804040 h 811490"/>
                  <a:gd name="connsiteX9" fmla="*/ 1027899 w 1030477"/>
                  <a:gd name="connsiteY9" fmla="*/ 691993 h 811490"/>
                  <a:gd name="connsiteX10" fmla="*/ 1021674 w 1030477"/>
                  <a:gd name="connsiteY10" fmla="*/ 670207 h 811490"/>
                  <a:gd name="connsiteX11" fmla="*/ 489454 w 1030477"/>
                  <a:gd name="connsiteY11" fmla="*/ 274933 h 811490"/>
                  <a:gd name="connsiteX12" fmla="*/ 287149 w 1030477"/>
                  <a:gd name="connsiteY12" fmla="*/ 13492 h 811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30477" h="811490">
                    <a:moveTo>
                      <a:pt x="287149" y="13492"/>
                    </a:moveTo>
                    <a:cubicBezTo>
                      <a:pt x="249801" y="-26969"/>
                      <a:pt x="162653" y="35279"/>
                      <a:pt x="168878" y="47729"/>
                    </a:cubicBezTo>
                    <a:cubicBezTo>
                      <a:pt x="181328" y="72627"/>
                      <a:pt x="190665" y="97527"/>
                      <a:pt x="203116" y="122426"/>
                    </a:cubicBezTo>
                    <a:cubicBezTo>
                      <a:pt x="140868" y="100639"/>
                      <a:pt x="81732" y="75740"/>
                      <a:pt x="19484" y="53953"/>
                    </a:cubicBezTo>
                    <a:cubicBezTo>
                      <a:pt x="10147" y="50841"/>
                      <a:pt x="810" y="60178"/>
                      <a:pt x="810" y="69515"/>
                    </a:cubicBezTo>
                    <a:cubicBezTo>
                      <a:pt x="-2303" y="122426"/>
                      <a:pt x="3922" y="175337"/>
                      <a:pt x="13259" y="228247"/>
                    </a:cubicBezTo>
                    <a:cubicBezTo>
                      <a:pt x="16372" y="240697"/>
                      <a:pt x="28820" y="243809"/>
                      <a:pt x="38157" y="234472"/>
                    </a:cubicBezTo>
                    <a:cubicBezTo>
                      <a:pt x="371184" y="362080"/>
                      <a:pt x="648187" y="583060"/>
                      <a:pt x="922077" y="807152"/>
                    </a:cubicBezTo>
                    <a:cubicBezTo>
                      <a:pt x="931414" y="813377"/>
                      <a:pt x="940751" y="813377"/>
                      <a:pt x="946976" y="804040"/>
                    </a:cubicBezTo>
                    <a:cubicBezTo>
                      <a:pt x="974988" y="766691"/>
                      <a:pt x="999887" y="729342"/>
                      <a:pt x="1027899" y="691993"/>
                    </a:cubicBezTo>
                    <a:cubicBezTo>
                      <a:pt x="1034123" y="685769"/>
                      <a:pt x="1027899" y="676431"/>
                      <a:pt x="1021674" y="670207"/>
                    </a:cubicBezTo>
                    <a:cubicBezTo>
                      <a:pt x="844268" y="539486"/>
                      <a:pt x="657524" y="418103"/>
                      <a:pt x="489454" y="274933"/>
                    </a:cubicBezTo>
                    <a:cubicBezTo>
                      <a:pt x="417869" y="212685"/>
                      <a:pt x="349396" y="81965"/>
                      <a:pt x="287149" y="13492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1291D271-C2A0-43CE-A8D1-E427BEBB4E1B}"/>
                  </a:ext>
                </a:extLst>
              </p:cNvPr>
              <p:cNvSpPr/>
              <p:nvPr/>
            </p:nvSpPr>
            <p:spPr>
              <a:xfrm>
                <a:off x="19100627" y="9079905"/>
                <a:ext cx="748262" cy="673565"/>
              </a:xfrm>
              <a:custGeom>
                <a:avLst/>
                <a:gdLst>
                  <a:gd name="connsiteX0" fmla="*/ 742038 w 748262"/>
                  <a:gd name="connsiteY0" fmla="*/ 673565 h 673565"/>
                  <a:gd name="connsiteX1" fmla="*/ 735814 w 748262"/>
                  <a:gd name="connsiteY1" fmla="*/ 670454 h 673565"/>
                  <a:gd name="connsiteX2" fmla="*/ 160022 w 748262"/>
                  <a:gd name="connsiteY2" fmla="*/ 231606 h 673565"/>
                  <a:gd name="connsiteX3" fmla="*/ 1289 w 748262"/>
                  <a:gd name="connsiteY3" fmla="*/ 13739 h 673565"/>
                  <a:gd name="connsiteX4" fmla="*/ 4402 w 748262"/>
                  <a:gd name="connsiteY4" fmla="*/ 1289 h 673565"/>
                  <a:gd name="connsiteX5" fmla="*/ 16851 w 748262"/>
                  <a:gd name="connsiteY5" fmla="*/ 4402 h 673565"/>
                  <a:gd name="connsiteX6" fmla="*/ 172470 w 748262"/>
                  <a:gd name="connsiteY6" fmla="*/ 219157 h 673565"/>
                  <a:gd name="connsiteX7" fmla="*/ 745151 w 748262"/>
                  <a:gd name="connsiteY7" fmla="*/ 658004 h 673565"/>
                  <a:gd name="connsiteX8" fmla="*/ 748263 w 748262"/>
                  <a:gd name="connsiteY8" fmla="*/ 670454 h 673565"/>
                  <a:gd name="connsiteX9" fmla="*/ 742038 w 748262"/>
                  <a:gd name="connsiteY9" fmla="*/ 673565 h 673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48262" h="673565">
                    <a:moveTo>
                      <a:pt x="742038" y="673565"/>
                    </a:moveTo>
                    <a:cubicBezTo>
                      <a:pt x="738926" y="673565"/>
                      <a:pt x="738926" y="673565"/>
                      <a:pt x="735814" y="670454"/>
                    </a:cubicBezTo>
                    <a:cubicBezTo>
                      <a:pt x="714027" y="654891"/>
                      <a:pt x="203594" y="275180"/>
                      <a:pt x="160022" y="231606"/>
                    </a:cubicBezTo>
                    <a:cubicBezTo>
                      <a:pt x="116448" y="188033"/>
                      <a:pt x="7514" y="19964"/>
                      <a:pt x="1289" y="13739"/>
                    </a:cubicBezTo>
                    <a:cubicBezTo>
                      <a:pt x="-1823" y="10626"/>
                      <a:pt x="1289" y="4402"/>
                      <a:pt x="4402" y="1289"/>
                    </a:cubicBezTo>
                    <a:cubicBezTo>
                      <a:pt x="7514" y="-1823"/>
                      <a:pt x="13739" y="1289"/>
                      <a:pt x="16851" y="4402"/>
                    </a:cubicBezTo>
                    <a:cubicBezTo>
                      <a:pt x="16851" y="7514"/>
                      <a:pt x="128898" y="178695"/>
                      <a:pt x="172470" y="219157"/>
                    </a:cubicBezTo>
                    <a:cubicBezTo>
                      <a:pt x="216045" y="262730"/>
                      <a:pt x="742038" y="651779"/>
                      <a:pt x="745151" y="658004"/>
                    </a:cubicBezTo>
                    <a:cubicBezTo>
                      <a:pt x="748263" y="661116"/>
                      <a:pt x="748263" y="664229"/>
                      <a:pt x="748263" y="670454"/>
                    </a:cubicBezTo>
                    <a:cubicBezTo>
                      <a:pt x="748263" y="673565"/>
                      <a:pt x="745151" y="673565"/>
                      <a:pt x="742038" y="673565"/>
                    </a:cubicBezTo>
                    <a:close/>
                  </a:path>
                </a:pathLst>
              </a:custGeom>
              <a:solidFill>
                <a:srgbClr val="664540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AE3F01F0-CE2A-4685-9138-5252B6EA86B0}"/>
                  </a:ext>
                </a:extLst>
              </p:cNvPr>
              <p:cNvSpPr/>
              <p:nvPr/>
            </p:nvSpPr>
            <p:spPr>
              <a:xfrm>
                <a:off x="18815682" y="9121655"/>
                <a:ext cx="69564" cy="202305"/>
              </a:xfrm>
              <a:custGeom>
                <a:avLst/>
                <a:gdLst>
                  <a:gd name="connsiteX0" fmla="*/ 37242 w 69564"/>
                  <a:gd name="connsiteY0" fmla="*/ 202305 h 202305"/>
                  <a:gd name="connsiteX1" fmla="*/ 34130 w 69564"/>
                  <a:gd name="connsiteY1" fmla="*/ 202305 h 202305"/>
                  <a:gd name="connsiteX2" fmla="*/ 3006 w 69564"/>
                  <a:gd name="connsiteY2" fmla="*/ 115158 h 202305"/>
                  <a:gd name="connsiteX3" fmla="*/ 15455 w 69564"/>
                  <a:gd name="connsiteY3" fmla="*/ 3113 h 202305"/>
                  <a:gd name="connsiteX4" fmla="*/ 31017 w 69564"/>
                  <a:gd name="connsiteY4" fmla="*/ 0 h 202305"/>
                  <a:gd name="connsiteX5" fmla="*/ 37242 w 69564"/>
                  <a:gd name="connsiteY5" fmla="*/ 9337 h 202305"/>
                  <a:gd name="connsiteX6" fmla="*/ 27905 w 69564"/>
                  <a:gd name="connsiteY6" fmla="*/ 15562 h 202305"/>
                  <a:gd name="connsiteX7" fmla="*/ 24793 w 69564"/>
                  <a:gd name="connsiteY7" fmla="*/ 15562 h 202305"/>
                  <a:gd name="connsiteX8" fmla="*/ 18568 w 69564"/>
                  <a:gd name="connsiteY8" fmla="*/ 112046 h 202305"/>
                  <a:gd name="connsiteX9" fmla="*/ 37242 w 69564"/>
                  <a:gd name="connsiteY9" fmla="*/ 183631 h 202305"/>
                  <a:gd name="connsiteX10" fmla="*/ 40355 w 69564"/>
                  <a:gd name="connsiteY10" fmla="*/ 180519 h 202305"/>
                  <a:gd name="connsiteX11" fmla="*/ 46579 w 69564"/>
                  <a:gd name="connsiteY11" fmla="*/ 56023 h 202305"/>
                  <a:gd name="connsiteX12" fmla="*/ 43467 w 69564"/>
                  <a:gd name="connsiteY12" fmla="*/ 102709 h 202305"/>
                  <a:gd name="connsiteX13" fmla="*/ 34130 w 69564"/>
                  <a:gd name="connsiteY13" fmla="*/ 108934 h 202305"/>
                  <a:gd name="connsiteX14" fmla="*/ 27905 w 69564"/>
                  <a:gd name="connsiteY14" fmla="*/ 99596 h 202305"/>
                  <a:gd name="connsiteX15" fmla="*/ 43467 w 69564"/>
                  <a:gd name="connsiteY15" fmla="*/ 18675 h 202305"/>
                  <a:gd name="connsiteX16" fmla="*/ 52804 w 69564"/>
                  <a:gd name="connsiteY16" fmla="*/ 18675 h 202305"/>
                  <a:gd name="connsiteX17" fmla="*/ 62141 w 69564"/>
                  <a:gd name="connsiteY17" fmla="*/ 34237 h 202305"/>
                  <a:gd name="connsiteX18" fmla="*/ 55917 w 69564"/>
                  <a:gd name="connsiteY18" fmla="*/ 189856 h 202305"/>
                  <a:gd name="connsiteX19" fmla="*/ 37242 w 69564"/>
                  <a:gd name="connsiteY19" fmla="*/ 202305 h 202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9564" h="202305">
                    <a:moveTo>
                      <a:pt x="37242" y="202305"/>
                    </a:moveTo>
                    <a:cubicBezTo>
                      <a:pt x="37242" y="202305"/>
                      <a:pt x="34130" y="202305"/>
                      <a:pt x="34130" y="202305"/>
                    </a:cubicBezTo>
                    <a:cubicBezTo>
                      <a:pt x="18568" y="199193"/>
                      <a:pt x="9231" y="168069"/>
                      <a:pt x="3006" y="115158"/>
                    </a:cubicBezTo>
                    <a:cubicBezTo>
                      <a:pt x="-3219" y="49798"/>
                      <a:pt x="-107" y="15562"/>
                      <a:pt x="15455" y="3113"/>
                    </a:cubicBezTo>
                    <a:cubicBezTo>
                      <a:pt x="21680" y="0"/>
                      <a:pt x="27905" y="0"/>
                      <a:pt x="31017" y="0"/>
                    </a:cubicBezTo>
                    <a:cubicBezTo>
                      <a:pt x="34130" y="0"/>
                      <a:pt x="37242" y="6225"/>
                      <a:pt x="37242" y="9337"/>
                    </a:cubicBezTo>
                    <a:cubicBezTo>
                      <a:pt x="37242" y="12449"/>
                      <a:pt x="31017" y="15562"/>
                      <a:pt x="27905" y="15562"/>
                    </a:cubicBezTo>
                    <a:cubicBezTo>
                      <a:pt x="27905" y="15562"/>
                      <a:pt x="27905" y="15562"/>
                      <a:pt x="24793" y="15562"/>
                    </a:cubicBezTo>
                    <a:cubicBezTo>
                      <a:pt x="21680" y="18675"/>
                      <a:pt x="12343" y="37349"/>
                      <a:pt x="18568" y="112046"/>
                    </a:cubicBezTo>
                    <a:cubicBezTo>
                      <a:pt x="24793" y="155620"/>
                      <a:pt x="31017" y="180519"/>
                      <a:pt x="37242" y="183631"/>
                    </a:cubicBezTo>
                    <a:cubicBezTo>
                      <a:pt x="37242" y="183631"/>
                      <a:pt x="37242" y="183631"/>
                      <a:pt x="40355" y="180519"/>
                    </a:cubicBezTo>
                    <a:cubicBezTo>
                      <a:pt x="52804" y="161844"/>
                      <a:pt x="49692" y="93372"/>
                      <a:pt x="46579" y="56023"/>
                    </a:cubicBezTo>
                    <a:cubicBezTo>
                      <a:pt x="43467" y="68473"/>
                      <a:pt x="43467" y="87147"/>
                      <a:pt x="43467" y="102709"/>
                    </a:cubicBezTo>
                    <a:cubicBezTo>
                      <a:pt x="43467" y="105821"/>
                      <a:pt x="40355" y="108934"/>
                      <a:pt x="34130" y="108934"/>
                    </a:cubicBezTo>
                    <a:cubicBezTo>
                      <a:pt x="31017" y="108934"/>
                      <a:pt x="24793" y="105821"/>
                      <a:pt x="27905" y="99596"/>
                    </a:cubicBezTo>
                    <a:cubicBezTo>
                      <a:pt x="31017" y="28011"/>
                      <a:pt x="40355" y="21787"/>
                      <a:pt x="43467" y="18675"/>
                    </a:cubicBezTo>
                    <a:cubicBezTo>
                      <a:pt x="46579" y="18675"/>
                      <a:pt x="49692" y="15562"/>
                      <a:pt x="52804" y="18675"/>
                    </a:cubicBezTo>
                    <a:cubicBezTo>
                      <a:pt x="59029" y="21787"/>
                      <a:pt x="59029" y="24899"/>
                      <a:pt x="62141" y="34237"/>
                    </a:cubicBezTo>
                    <a:cubicBezTo>
                      <a:pt x="68366" y="62248"/>
                      <a:pt x="77702" y="161844"/>
                      <a:pt x="55917" y="189856"/>
                    </a:cubicBezTo>
                    <a:cubicBezTo>
                      <a:pt x="46579" y="202305"/>
                      <a:pt x="40355" y="202305"/>
                      <a:pt x="37242" y="202305"/>
                    </a:cubicBezTo>
                    <a:close/>
                  </a:path>
                </a:pathLst>
              </a:custGeom>
              <a:solidFill>
                <a:srgbClr val="664540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3B386451-71E6-4CB8-B5B0-CA3CE27A2B45}"/>
                  </a:ext>
                </a:extLst>
              </p:cNvPr>
              <p:cNvSpPr/>
              <p:nvPr/>
            </p:nvSpPr>
            <p:spPr>
              <a:xfrm>
                <a:off x="18854748" y="9307110"/>
                <a:ext cx="730877" cy="437024"/>
              </a:xfrm>
              <a:custGeom>
                <a:avLst/>
                <a:gdLst>
                  <a:gd name="connsiteX0" fmla="*/ 720252 w 730877"/>
                  <a:gd name="connsiteY0" fmla="*/ 433912 h 437024"/>
                  <a:gd name="connsiteX1" fmla="*/ 717140 w 730877"/>
                  <a:gd name="connsiteY1" fmla="*/ 433912 h 437024"/>
                  <a:gd name="connsiteX2" fmla="*/ 446361 w 730877"/>
                  <a:gd name="connsiteY2" fmla="*/ 250281 h 437024"/>
                  <a:gd name="connsiteX3" fmla="*/ 4401 w 730877"/>
                  <a:gd name="connsiteY3" fmla="*/ 13739 h 437024"/>
                  <a:gd name="connsiteX4" fmla="*/ 1290 w 730877"/>
                  <a:gd name="connsiteY4" fmla="*/ 4402 h 437024"/>
                  <a:gd name="connsiteX5" fmla="*/ 10627 w 730877"/>
                  <a:gd name="connsiteY5" fmla="*/ 1289 h 437024"/>
                  <a:gd name="connsiteX6" fmla="*/ 458810 w 730877"/>
                  <a:gd name="connsiteY6" fmla="*/ 240943 h 437024"/>
                  <a:gd name="connsiteX7" fmla="*/ 726477 w 730877"/>
                  <a:gd name="connsiteY7" fmla="*/ 424575 h 437024"/>
                  <a:gd name="connsiteX8" fmla="*/ 729588 w 730877"/>
                  <a:gd name="connsiteY8" fmla="*/ 437024 h 437024"/>
                  <a:gd name="connsiteX9" fmla="*/ 720252 w 730877"/>
                  <a:gd name="connsiteY9" fmla="*/ 433912 h 437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30877" h="437024">
                    <a:moveTo>
                      <a:pt x="720252" y="433912"/>
                    </a:moveTo>
                    <a:cubicBezTo>
                      <a:pt x="720252" y="433912"/>
                      <a:pt x="717140" y="433912"/>
                      <a:pt x="717140" y="433912"/>
                    </a:cubicBezTo>
                    <a:cubicBezTo>
                      <a:pt x="717140" y="433912"/>
                      <a:pt x="617543" y="374776"/>
                      <a:pt x="446361" y="250281"/>
                    </a:cubicBezTo>
                    <a:cubicBezTo>
                      <a:pt x="275180" y="125785"/>
                      <a:pt x="4401" y="13739"/>
                      <a:pt x="4401" y="13739"/>
                    </a:cubicBezTo>
                    <a:cubicBezTo>
                      <a:pt x="1290" y="10627"/>
                      <a:pt x="-1824" y="7514"/>
                      <a:pt x="1290" y="4402"/>
                    </a:cubicBezTo>
                    <a:cubicBezTo>
                      <a:pt x="4401" y="1289"/>
                      <a:pt x="7513" y="-1823"/>
                      <a:pt x="10627" y="1289"/>
                    </a:cubicBezTo>
                    <a:cubicBezTo>
                      <a:pt x="13738" y="1289"/>
                      <a:pt x="284517" y="113336"/>
                      <a:pt x="458810" y="240943"/>
                    </a:cubicBezTo>
                    <a:cubicBezTo>
                      <a:pt x="629991" y="365439"/>
                      <a:pt x="726477" y="424575"/>
                      <a:pt x="726477" y="424575"/>
                    </a:cubicBezTo>
                    <a:cubicBezTo>
                      <a:pt x="729588" y="427687"/>
                      <a:pt x="732702" y="430799"/>
                      <a:pt x="729588" y="437024"/>
                    </a:cubicBezTo>
                    <a:cubicBezTo>
                      <a:pt x="726477" y="430799"/>
                      <a:pt x="723363" y="433912"/>
                      <a:pt x="720252" y="433912"/>
                    </a:cubicBezTo>
                    <a:close/>
                  </a:path>
                </a:pathLst>
              </a:custGeom>
              <a:solidFill>
                <a:srgbClr val="664540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83479087-6A10-47A0-98F3-34D77B9CEF73}"/>
                  </a:ext>
                </a:extLst>
              </p:cNvPr>
              <p:cNvSpPr/>
              <p:nvPr/>
            </p:nvSpPr>
            <p:spPr>
              <a:xfrm>
                <a:off x="19343461" y="9062520"/>
                <a:ext cx="346697" cy="320575"/>
              </a:xfrm>
              <a:custGeom>
                <a:avLst/>
                <a:gdLst>
                  <a:gd name="connsiteX0" fmla="*/ 7446 w 346697"/>
                  <a:gd name="connsiteY0" fmla="*/ 320576 h 320575"/>
                  <a:gd name="connsiteX1" fmla="*/ 7446 w 346697"/>
                  <a:gd name="connsiteY1" fmla="*/ 320576 h 320575"/>
                  <a:gd name="connsiteX2" fmla="*/ 1221 w 346697"/>
                  <a:gd name="connsiteY2" fmla="*/ 308127 h 320575"/>
                  <a:gd name="connsiteX3" fmla="*/ 175516 w 346697"/>
                  <a:gd name="connsiteY3" fmla="*/ 0 h 320575"/>
                  <a:gd name="connsiteX4" fmla="*/ 175516 w 346697"/>
                  <a:gd name="connsiteY4" fmla="*/ 0 h 320575"/>
                  <a:gd name="connsiteX5" fmla="*/ 346697 w 346697"/>
                  <a:gd name="connsiteY5" fmla="*/ 74697 h 320575"/>
                  <a:gd name="connsiteX6" fmla="*/ 340472 w 346697"/>
                  <a:gd name="connsiteY6" fmla="*/ 84034 h 320575"/>
                  <a:gd name="connsiteX7" fmla="*/ 172402 w 346697"/>
                  <a:gd name="connsiteY7" fmla="*/ 49798 h 320575"/>
                  <a:gd name="connsiteX8" fmla="*/ 169291 w 346697"/>
                  <a:gd name="connsiteY8" fmla="*/ 21787 h 320575"/>
                  <a:gd name="connsiteX9" fmla="*/ 262662 w 346697"/>
                  <a:gd name="connsiteY9" fmla="*/ 46686 h 320575"/>
                  <a:gd name="connsiteX10" fmla="*/ 265774 w 346697"/>
                  <a:gd name="connsiteY10" fmla="*/ 56023 h 320575"/>
                  <a:gd name="connsiteX11" fmla="*/ 256437 w 346697"/>
                  <a:gd name="connsiteY11" fmla="*/ 59135 h 320575"/>
                  <a:gd name="connsiteX12" fmla="*/ 181741 w 346697"/>
                  <a:gd name="connsiteY12" fmla="*/ 31124 h 320575"/>
                  <a:gd name="connsiteX13" fmla="*/ 181741 w 346697"/>
                  <a:gd name="connsiteY13" fmla="*/ 31124 h 320575"/>
                  <a:gd name="connsiteX14" fmla="*/ 184853 w 346697"/>
                  <a:gd name="connsiteY14" fmla="*/ 37349 h 320575"/>
                  <a:gd name="connsiteX15" fmla="*/ 324910 w 346697"/>
                  <a:gd name="connsiteY15" fmla="*/ 65360 h 320575"/>
                  <a:gd name="connsiteX16" fmla="*/ 172402 w 346697"/>
                  <a:gd name="connsiteY16" fmla="*/ 12449 h 320575"/>
                  <a:gd name="connsiteX17" fmla="*/ 172402 w 346697"/>
                  <a:gd name="connsiteY17" fmla="*/ 12449 h 320575"/>
                  <a:gd name="connsiteX18" fmla="*/ 13671 w 346697"/>
                  <a:gd name="connsiteY18" fmla="*/ 311239 h 320575"/>
                  <a:gd name="connsiteX19" fmla="*/ 7446 w 346697"/>
                  <a:gd name="connsiteY19" fmla="*/ 320576 h 320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6697" h="320575">
                    <a:moveTo>
                      <a:pt x="7446" y="320576"/>
                    </a:moveTo>
                    <a:cubicBezTo>
                      <a:pt x="4334" y="320576"/>
                      <a:pt x="4334" y="320576"/>
                      <a:pt x="7446" y="320576"/>
                    </a:cubicBezTo>
                    <a:cubicBezTo>
                      <a:pt x="1221" y="317464"/>
                      <a:pt x="-1891" y="314351"/>
                      <a:pt x="1221" y="308127"/>
                    </a:cubicBezTo>
                    <a:cubicBezTo>
                      <a:pt x="32345" y="236542"/>
                      <a:pt x="131942" y="0"/>
                      <a:pt x="175516" y="0"/>
                    </a:cubicBezTo>
                    <a:cubicBezTo>
                      <a:pt x="175516" y="0"/>
                      <a:pt x="175516" y="0"/>
                      <a:pt x="175516" y="0"/>
                    </a:cubicBezTo>
                    <a:cubicBezTo>
                      <a:pt x="340472" y="12449"/>
                      <a:pt x="346697" y="68473"/>
                      <a:pt x="346697" y="74697"/>
                    </a:cubicBezTo>
                    <a:cubicBezTo>
                      <a:pt x="346697" y="77810"/>
                      <a:pt x="343584" y="80922"/>
                      <a:pt x="340472" y="84034"/>
                    </a:cubicBezTo>
                    <a:cubicBezTo>
                      <a:pt x="334247" y="84034"/>
                      <a:pt x="209751" y="99596"/>
                      <a:pt x="172402" y="49798"/>
                    </a:cubicBezTo>
                    <a:cubicBezTo>
                      <a:pt x="169291" y="46686"/>
                      <a:pt x="159954" y="31124"/>
                      <a:pt x="169291" y="21787"/>
                    </a:cubicBezTo>
                    <a:cubicBezTo>
                      <a:pt x="178627" y="12449"/>
                      <a:pt x="209751" y="18674"/>
                      <a:pt x="262662" y="46686"/>
                    </a:cubicBezTo>
                    <a:cubicBezTo>
                      <a:pt x="265774" y="49798"/>
                      <a:pt x="268888" y="52911"/>
                      <a:pt x="265774" y="56023"/>
                    </a:cubicBezTo>
                    <a:cubicBezTo>
                      <a:pt x="262662" y="59135"/>
                      <a:pt x="259551" y="62248"/>
                      <a:pt x="256437" y="59135"/>
                    </a:cubicBezTo>
                    <a:cubicBezTo>
                      <a:pt x="225313" y="43573"/>
                      <a:pt x="194189" y="31124"/>
                      <a:pt x="181741" y="31124"/>
                    </a:cubicBezTo>
                    <a:lnTo>
                      <a:pt x="181741" y="31124"/>
                    </a:lnTo>
                    <a:cubicBezTo>
                      <a:pt x="181741" y="31124"/>
                      <a:pt x="184853" y="34236"/>
                      <a:pt x="184853" y="37349"/>
                    </a:cubicBezTo>
                    <a:cubicBezTo>
                      <a:pt x="206640" y="68473"/>
                      <a:pt x="287561" y="68473"/>
                      <a:pt x="324910" y="65360"/>
                    </a:cubicBezTo>
                    <a:cubicBezTo>
                      <a:pt x="315573" y="52911"/>
                      <a:pt x="287561" y="21787"/>
                      <a:pt x="172402" y="12449"/>
                    </a:cubicBezTo>
                    <a:lnTo>
                      <a:pt x="172402" y="12449"/>
                    </a:lnTo>
                    <a:cubicBezTo>
                      <a:pt x="150617" y="12449"/>
                      <a:pt x="72807" y="168069"/>
                      <a:pt x="13671" y="311239"/>
                    </a:cubicBezTo>
                    <a:cubicBezTo>
                      <a:pt x="13671" y="317464"/>
                      <a:pt x="10559" y="320576"/>
                      <a:pt x="7446" y="320576"/>
                    </a:cubicBezTo>
                    <a:close/>
                  </a:path>
                </a:pathLst>
              </a:custGeom>
              <a:solidFill>
                <a:srgbClr val="664540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8F02A2E6-A5CF-4586-8EB3-047C0CE5F161}"/>
                  </a:ext>
                </a:extLst>
              </p:cNvPr>
              <p:cNvSpPr/>
              <p:nvPr/>
            </p:nvSpPr>
            <p:spPr>
              <a:xfrm>
                <a:off x="19458552" y="9132816"/>
                <a:ext cx="232895" cy="343652"/>
              </a:xfrm>
              <a:custGeom>
                <a:avLst/>
                <a:gdLst>
                  <a:gd name="connsiteX0" fmla="*/ 7514 w 232895"/>
                  <a:gd name="connsiteY0" fmla="*/ 343652 h 343652"/>
                  <a:gd name="connsiteX1" fmla="*/ 4402 w 232895"/>
                  <a:gd name="connsiteY1" fmla="*/ 343652 h 343652"/>
                  <a:gd name="connsiteX2" fmla="*/ 1289 w 232895"/>
                  <a:gd name="connsiteY2" fmla="*/ 331203 h 343652"/>
                  <a:gd name="connsiteX3" fmla="*/ 216045 w 232895"/>
                  <a:gd name="connsiteY3" fmla="*/ 4402 h 343652"/>
                  <a:gd name="connsiteX4" fmla="*/ 228493 w 232895"/>
                  <a:gd name="connsiteY4" fmla="*/ 1289 h 343652"/>
                  <a:gd name="connsiteX5" fmla="*/ 231607 w 232895"/>
                  <a:gd name="connsiteY5" fmla="*/ 13739 h 343652"/>
                  <a:gd name="connsiteX6" fmla="*/ 16851 w 232895"/>
                  <a:gd name="connsiteY6" fmla="*/ 340540 h 343652"/>
                  <a:gd name="connsiteX7" fmla="*/ 7514 w 232895"/>
                  <a:gd name="connsiteY7" fmla="*/ 343652 h 343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2895" h="343652">
                    <a:moveTo>
                      <a:pt x="7514" y="343652"/>
                    </a:moveTo>
                    <a:cubicBezTo>
                      <a:pt x="7514" y="343652"/>
                      <a:pt x="4402" y="343652"/>
                      <a:pt x="4402" y="343652"/>
                    </a:cubicBezTo>
                    <a:cubicBezTo>
                      <a:pt x="1289" y="340540"/>
                      <a:pt x="-1823" y="337428"/>
                      <a:pt x="1289" y="331203"/>
                    </a:cubicBezTo>
                    <a:lnTo>
                      <a:pt x="216045" y="4402"/>
                    </a:lnTo>
                    <a:cubicBezTo>
                      <a:pt x="219156" y="1289"/>
                      <a:pt x="222270" y="-1823"/>
                      <a:pt x="228493" y="1289"/>
                    </a:cubicBezTo>
                    <a:cubicBezTo>
                      <a:pt x="231607" y="4402"/>
                      <a:pt x="234718" y="7514"/>
                      <a:pt x="231607" y="13739"/>
                    </a:cubicBezTo>
                    <a:lnTo>
                      <a:pt x="16851" y="340540"/>
                    </a:lnTo>
                    <a:cubicBezTo>
                      <a:pt x="13739" y="340540"/>
                      <a:pt x="10626" y="343652"/>
                      <a:pt x="7514" y="343652"/>
                    </a:cubicBezTo>
                    <a:close/>
                  </a:path>
                </a:pathLst>
              </a:custGeom>
              <a:solidFill>
                <a:srgbClr val="664540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F7C9EF9C-1DC1-419E-8C45-FC2DC6EFF33A}"/>
                  </a:ext>
                </a:extLst>
              </p:cNvPr>
              <p:cNvSpPr/>
              <p:nvPr/>
            </p:nvSpPr>
            <p:spPr>
              <a:xfrm>
                <a:off x="18823624" y="9397369"/>
                <a:ext cx="424574" cy="113335"/>
              </a:xfrm>
              <a:custGeom>
                <a:avLst/>
                <a:gdLst>
                  <a:gd name="connsiteX0" fmla="*/ 415237 w 424574"/>
                  <a:gd name="connsiteY0" fmla="*/ 113335 h 113335"/>
                  <a:gd name="connsiteX1" fmla="*/ 415237 w 424574"/>
                  <a:gd name="connsiteY1" fmla="*/ 113335 h 113335"/>
                  <a:gd name="connsiteX2" fmla="*/ 4401 w 424574"/>
                  <a:gd name="connsiteY2" fmla="*/ 13739 h 113335"/>
                  <a:gd name="connsiteX3" fmla="*/ 1290 w 424574"/>
                  <a:gd name="connsiteY3" fmla="*/ 4402 h 113335"/>
                  <a:gd name="connsiteX4" fmla="*/ 10627 w 424574"/>
                  <a:gd name="connsiteY4" fmla="*/ 1289 h 113335"/>
                  <a:gd name="connsiteX5" fmla="*/ 418349 w 424574"/>
                  <a:gd name="connsiteY5" fmla="*/ 97773 h 113335"/>
                  <a:gd name="connsiteX6" fmla="*/ 424574 w 424574"/>
                  <a:gd name="connsiteY6" fmla="*/ 107111 h 113335"/>
                  <a:gd name="connsiteX7" fmla="*/ 415237 w 424574"/>
                  <a:gd name="connsiteY7" fmla="*/ 113335 h 113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4574" h="113335">
                    <a:moveTo>
                      <a:pt x="415237" y="113335"/>
                    </a:moveTo>
                    <a:cubicBezTo>
                      <a:pt x="415237" y="113335"/>
                      <a:pt x="415237" y="113335"/>
                      <a:pt x="415237" y="113335"/>
                    </a:cubicBezTo>
                    <a:cubicBezTo>
                      <a:pt x="399676" y="110223"/>
                      <a:pt x="94661" y="57312"/>
                      <a:pt x="4401" y="13739"/>
                    </a:cubicBezTo>
                    <a:cubicBezTo>
                      <a:pt x="1290" y="10626"/>
                      <a:pt x="-1824" y="7514"/>
                      <a:pt x="1290" y="4402"/>
                    </a:cubicBezTo>
                    <a:cubicBezTo>
                      <a:pt x="4401" y="1289"/>
                      <a:pt x="7513" y="-1823"/>
                      <a:pt x="10627" y="1289"/>
                    </a:cubicBezTo>
                    <a:cubicBezTo>
                      <a:pt x="97773" y="44863"/>
                      <a:pt x="412124" y="97773"/>
                      <a:pt x="418349" y="97773"/>
                    </a:cubicBezTo>
                    <a:cubicBezTo>
                      <a:pt x="421463" y="97773"/>
                      <a:pt x="424574" y="103998"/>
                      <a:pt x="424574" y="107111"/>
                    </a:cubicBezTo>
                    <a:cubicBezTo>
                      <a:pt x="424574" y="113335"/>
                      <a:pt x="421463" y="113335"/>
                      <a:pt x="415237" y="113335"/>
                    </a:cubicBezTo>
                    <a:close/>
                  </a:path>
                </a:pathLst>
              </a:custGeom>
              <a:solidFill>
                <a:srgbClr val="664540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88FD594D-CF7D-4D5D-BD69-C06EC8FA1BFF}"/>
                  </a:ext>
                </a:extLst>
              </p:cNvPr>
              <p:cNvSpPr/>
              <p:nvPr/>
            </p:nvSpPr>
            <p:spPr>
              <a:xfrm>
                <a:off x="18762666" y="9644537"/>
                <a:ext cx="723363" cy="68472"/>
              </a:xfrm>
              <a:custGeom>
                <a:avLst/>
                <a:gdLst>
                  <a:gd name="connsiteX0" fmla="*/ 603803 w 723363"/>
                  <a:gd name="connsiteY0" fmla="*/ 68473 h 68472"/>
                  <a:gd name="connsiteX1" fmla="*/ 205417 w 723363"/>
                  <a:gd name="connsiteY1" fmla="*/ 31124 h 68472"/>
                  <a:gd name="connsiteX2" fmla="*/ 9337 w 723363"/>
                  <a:gd name="connsiteY2" fmla="*/ 18674 h 68472"/>
                  <a:gd name="connsiteX3" fmla="*/ 0 w 723363"/>
                  <a:gd name="connsiteY3" fmla="*/ 9337 h 68472"/>
                  <a:gd name="connsiteX4" fmla="*/ 9337 w 723363"/>
                  <a:gd name="connsiteY4" fmla="*/ 0 h 68472"/>
                  <a:gd name="connsiteX5" fmla="*/ 9337 w 723363"/>
                  <a:gd name="connsiteY5" fmla="*/ 0 h 68472"/>
                  <a:gd name="connsiteX6" fmla="*/ 205417 w 723363"/>
                  <a:gd name="connsiteY6" fmla="*/ 12449 h 68472"/>
                  <a:gd name="connsiteX7" fmla="*/ 656714 w 723363"/>
                  <a:gd name="connsiteY7" fmla="*/ 43573 h 68472"/>
                  <a:gd name="connsiteX8" fmla="*/ 709625 w 723363"/>
                  <a:gd name="connsiteY8" fmla="*/ 21787 h 68472"/>
                  <a:gd name="connsiteX9" fmla="*/ 722073 w 723363"/>
                  <a:gd name="connsiteY9" fmla="*/ 24899 h 68472"/>
                  <a:gd name="connsiteX10" fmla="*/ 718962 w 723363"/>
                  <a:gd name="connsiteY10" fmla="*/ 37349 h 68472"/>
                  <a:gd name="connsiteX11" fmla="*/ 662939 w 723363"/>
                  <a:gd name="connsiteY11" fmla="*/ 62248 h 68472"/>
                  <a:gd name="connsiteX12" fmla="*/ 603803 w 723363"/>
                  <a:gd name="connsiteY12" fmla="*/ 68473 h 68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23363" h="68472">
                    <a:moveTo>
                      <a:pt x="603803" y="68473"/>
                    </a:moveTo>
                    <a:cubicBezTo>
                      <a:pt x="485532" y="68473"/>
                      <a:pt x="264553" y="40461"/>
                      <a:pt x="205417" y="31124"/>
                    </a:cubicBezTo>
                    <a:cubicBezTo>
                      <a:pt x="136944" y="21787"/>
                      <a:pt x="12448" y="18674"/>
                      <a:pt x="9337" y="18674"/>
                    </a:cubicBezTo>
                    <a:cubicBezTo>
                      <a:pt x="6223" y="18674"/>
                      <a:pt x="0" y="15562"/>
                      <a:pt x="0" y="9337"/>
                    </a:cubicBezTo>
                    <a:cubicBezTo>
                      <a:pt x="0" y="6225"/>
                      <a:pt x="3112" y="0"/>
                      <a:pt x="9337" y="0"/>
                    </a:cubicBezTo>
                    <a:lnTo>
                      <a:pt x="9337" y="0"/>
                    </a:lnTo>
                    <a:cubicBezTo>
                      <a:pt x="9337" y="0"/>
                      <a:pt x="136944" y="3112"/>
                      <a:pt x="205417" y="12449"/>
                    </a:cubicBezTo>
                    <a:cubicBezTo>
                      <a:pt x="292564" y="24899"/>
                      <a:pt x="588241" y="59135"/>
                      <a:pt x="656714" y="43573"/>
                    </a:cubicBezTo>
                    <a:cubicBezTo>
                      <a:pt x="678501" y="37349"/>
                      <a:pt x="709625" y="21787"/>
                      <a:pt x="709625" y="21787"/>
                    </a:cubicBezTo>
                    <a:cubicBezTo>
                      <a:pt x="712737" y="18674"/>
                      <a:pt x="718962" y="21787"/>
                      <a:pt x="722073" y="24899"/>
                    </a:cubicBezTo>
                    <a:cubicBezTo>
                      <a:pt x="725187" y="28011"/>
                      <a:pt x="722073" y="34236"/>
                      <a:pt x="718962" y="37349"/>
                    </a:cubicBezTo>
                    <a:cubicBezTo>
                      <a:pt x="718962" y="37349"/>
                      <a:pt x="687838" y="56023"/>
                      <a:pt x="662939" y="62248"/>
                    </a:cubicBezTo>
                    <a:cubicBezTo>
                      <a:pt x="650489" y="65360"/>
                      <a:pt x="628702" y="68473"/>
                      <a:pt x="603803" y="68473"/>
                    </a:cubicBezTo>
                    <a:close/>
                  </a:path>
                </a:pathLst>
              </a:custGeom>
              <a:solidFill>
                <a:srgbClr val="664540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FCF52ACA-34FC-4E83-BEF6-7770AAD76C6B}"/>
                </a:ext>
              </a:extLst>
            </p:cNvPr>
            <p:cNvSpPr/>
            <p:nvPr/>
          </p:nvSpPr>
          <p:spPr>
            <a:xfrm>
              <a:off x="17904223" y="8897563"/>
              <a:ext cx="811756" cy="843457"/>
            </a:xfrm>
            <a:custGeom>
              <a:avLst/>
              <a:gdLst>
                <a:gd name="connsiteX0" fmla="*/ 329335 w 811756"/>
                <a:gd name="connsiteY0" fmla="*/ 3112 h 843457"/>
                <a:gd name="connsiteX1" fmla="*/ 270200 w 811756"/>
                <a:gd name="connsiteY1" fmla="*/ 554006 h 843457"/>
                <a:gd name="connsiteX2" fmla="*/ 811757 w 811756"/>
                <a:gd name="connsiteY2" fmla="*/ 706513 h 843457"/>
                <a:gd name="connsiteX3" fmla="*/ 805532 w 811756"/>
                <a:gd name="connsiteY3" fmla="*/ 843458 h 843457"/>
                <a:gd name="connsiteX4" fmla="*/ 46107 w 811756"/>
                <a:gd name="connsiteY4" fmla="*/ 718962 h 843457"/>
                <a:gd name="connsiteX5" fmla="*/ 55445 w 811756"/>
                <a:gd name="connsiteY5" fmla="*/ 0 h 843457"/>
                <a:gd name="connsiteX6" fmla="*/ 329335 w 811756"/>
                <a:gd name="connsiteY6" fmla="*/ 3112 h 843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1756" h="843457">
                  <a:moveTo>
                    <a:pt x="329335" y="3112"/>
                  </a:moveTo>
                  <a:lnTo>
                    <a:pt x="270200" y="554006"/>
                  </a:lnTo>
                  <a:lnTo>
                    <a:pt x="811757" y="706513"/>
                  </a:lnTo>
                  <a:lnTo>
                    <a:pt x="805532" y="843458"/>
                  </a:lnTo>
                  <a:cubicBezTo>
                    <a:pt x="805532" y="843458"/>
                    <a:pt x="155041" y="790547"/>
                    <a:pt x="46107" y="718962"/>
                  </a:cubicBezTo>
                  <a:cubicBezTo>
                    <a:pt x="-62826" y="647378"/>
                    <a:pt x="55445" y="0"/>
                    <a:pt x="55445" y="0"/>
                  </a:cubicBezTo>
                  <a:lnTo>
                    <a:pt x="329335" y="3112"/>
                  </a:ln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BFE5A2D7-44FC-4983-A5A9-13D5143F2069}"/>
                </a:ext>
              </a:extLst>
            </p:cNvPr>
            <p:cNvSpPr/>
            <p:nvPr/>
          </p:nvSpPr>
          <p:spPr>
            <a:xfrm>
              <a:off x="18112175" y="9006497"/>
              <a:ext cx="115158" cy="491758"/>
            </a:xfrm>
            <a:custGeom>
              <a:avLst/>
              <a:gdLst>
                <a:gd name="connsiteX0" fmla="*/ 6225 w 115158"/>
                <a:gd name="connsiteY0" fmla="*/ 491758 h 491758"/>
                <a:gd name="connsiteX1" fmla="*/ 0 w 115158"/>
                <a:gd name="connsiteY1" fmla="*/ 488645 h 491758"/>
                <a:gd name="connsiteX2" fmla="*/ 3113 w 115158"/>
                <a:gd name="connsiteY2" fmla="*/ 482421 h 491758"/>
                <a:gd name="connsiteX3" fmla="*/ 56023 w 115158"/>
                <a:gd name="connsiteY3" fmla="*/ 445072 h 491758"/>
                <a:gd name="connsiteX4" fmla="*/ 102709 w 115158"/>
                <a:gd name="connsiteY4" fmla="*/ 0 h 491758"/>
                <a:gd name="connsiteX5" fmla="*/ 115159 w 115158"/>
                <a:gd name="connsiteY5" fmla="*/ 0 h 491758"/>
                <a:gd name="connsiteX6" fmla="*/ 68473 w 115158"/>
                <a:gd name="connsiteY6" fmla="*/ 448184 h 491758"/>
                <a:gd name="connsiteX7" fmla="*/ 65360 w 115158"/>
                <a:gd name="connsiteY7" fmla="*/ 451297 h 491758"/>
                <a:gd name="connsiteX8" fmla="*/ 6225 w 115158"/>
                <a:gd name="connsiteY8" fmla="*/ 491758 h 491758"/>
                <a:gd name="connsiteX9" fmla="*/ 6225 w 115158"/>
                <a:gd name="connsiteY9" fmla="*/ 491758 h 49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5158" h="491758">
                  <a:moveTo>
                    <a:pt x="6225" y="491758"/>
                  </a:moveTo>
                  <a:cubicBezTo>
                    <a:pt x="3113" y="491758"/>
                    <a:pt x="3113" y="491758"/>
                    <a:pt x="0" y="488645"/>
                  </a:cubicBezTo>
                  <a:cubicBezTo>
                    <a:pt x="0" y="485533"/>
                    <a:pt x="0" y="482421"/>
                    <a:pt x="3113" y="482421"/>
                  </a:cubicBezTo>
                  <a:cubicBezTo>
                    <a:pt x="18675" y="473083"/>
                    <a:pt x="49798" y="451297"/>
                    <a:pt x="56023" y="445072"/>
                  </a:cubicBezTo>
                  <a:cubicBezTo>
                    <a:pt x="68473" y="323689"/>
                    <a:pt x="102709" y="0"/>
                    <a:pt x="102709" y="0"/>
                  </a:cubicBezTo>
                  <a:lnTo>
                    <a:pt x="115159" y="0"/>
                  </a:lnTo>
                  <a:cubicBezTo>
                    <a:pt x="115159" y="0"/>
                    <a:pt x="80922" y="326801"/>
                    <a:pt x="68473" y="448184"/>
                  </a:cubicBezTo>
                  <a:cubicBezTo>
                    <a:pt x="68473" y="451297"/>
                    <a:pt x="68473" y="451297"/>
                    <a:pt x="65360" y="451297"/>
                  </a:cubicBezTo>
                  <a:cubicBezTo>
                    <a:pt x="65360" y="454409"/>
                    <a:pt x="24899" y="482421"/>
                    <a:pt x="6225" y="491758"/>
                  </a:cubicBezTo>
                  <a:cubicBezTo>
                    <a:pt x="6225" y="491758"/>
                    <a:pt x="6225" y="491758"/>
                    <a:pt x="6225" y="491758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38A435CC-ACC6-4469-B5B3-1A076843A1D1}"/>
                </a:ext>
              </a:extLst>
            </p:cNvPr>
            <p:cNvSpPr/>
            <p:nvPr/>
          </p:nvSpPr>
          <p:spPr>
            <a:xfrm>
              <a:off x="17900533" y="8408618"/>
              <a:ext cx="429704" cy="596195"/>
            </a:xfrm>
            <a:custGeom>
              <a:avLst/>
              <a:gdLst>
                <a:gd name="connsiteX0" fmla="*/ 0 w 429704"/>
                <a:gd name="connsiteY0" fmla="*/ 551194 h 596195"/>
                <a:gd name="connsiteX1" fmla="*/ 267665 w 429704"/>
                <a:gd name="connsiteY1" fmla="*/ 300 h 596195"/>
                <a:gd name="connsiteX2" fmla="*/ 429510 w 429704"/>
                <a:gd name="connsiteY2" fmla="*/ 579205 h 596195"/>
                <a:gd name="connsiteX3" fmla="*/ 0 w 429704"/>
                <a:gd name="connsiteY3" fmla="*/ 551194 h 596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9704" h="596195">
                  <a:moveTo>
                    <a:pt x="0" y="551194"/>
                  </a:moveTo>
                  <a:cubicBezTo>
                    <a:pt x="0" y="551194"/>
                    <a:pt x="118271" y="15862"/>
                    <a:pt x="267665" y="300"/>
                  </a:cubicBezTo>
                  <a:cubicBezTo>
                    <a:pt x="441960" y="-15262"/>
                    <a:pt x="429510" y="579205"/>
                    <a:pt x="429510" y="579205"/>
                  </a:cubicBezTo>
                  <a:cubicBezTo>
                    <a:pt x="429510" y="579205"/>
                    <a:pt x="202305" y="632116"/>
                    <a:pt x="0" y="551194"/>
                  </a:cubicBezTo>
                  <a:close/>
                </a:path>
              </a:pathLst>
            </a:custGeom>
            <a:solidFill>
              <a:srgbClr val="708686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CAE00A64-CDD3-4DED-A7B8-30D3DF507DC4}"/>
                </a:ext>
              </a:extLst>
            </p:cNvPr>
            <p:cNvSpPr/>
            <p:nvPr/>
          </p:nvSpPr>
          <p:spPr>
            <a:xfrm>
              <a:off x="18163797" y="8404516"/>
              <a:ext cx="175582" cy="608205"/>
            </a:xfrm>
            <a:custGeom>
              <a:avLst/>
              <a:gdLst>
                <a:gd name="connsiteX0" fmla="*/ 35525 w 175582"/>
                <a:gd name="connsiteY0" fmla="*/ 608206 h 608205"/>
                <a:gd name="connsiteX1" fmla="*/ 29301 w 175582"/>
                <a:gd name="connsiteY1" fmla="*/ 608206 h 608205"/>
                <a:gd name="connsiteX2" fmla="*/ 23075 w 175582"/>
                <a:gd name="connsiteY2" fmla="*/ 601981 h 608205"/>
                <a:gd name="connsiteX3" fmla="*/ 29301 w 175582"/>
                <a:gd name="connsiteY3" fmla="*/ 595756 h 608205"/>
                <a:gd name="connsiteX4" fmla="*/ 29301 w 175582"/>
                <a:gd name="connsiteY4" fmla="*/ 595756 h 608205"/>
                <a:gd name="connsiteX5" fmla="*/ 160021 w 175582"/>
                <a:gd name="connsiteY5" fmla="*/ 580194 h 608205"/>
                <a:gd name="connsiteX6" fmla="*/ 135122 w 175582"/>
                <a:gd name="connsiteY6" fmla="*/ 219157 h 608205"/>
                <a:gd name="connsiteX7" fmla="*/ 4401 w 175582"/>
                <a:gd name="connsiteY7" fmla="*/ 10627 h 608205"/>
                <a:gd name="connsiteX8" fmla="*/ 1289 w 175582"/>
                <a:gd name="connsiteY8" fmla="*/ 4402 h 608205"/>
                <a:gd name="connsiteX9" fmla="*/ 7514 w 175582"/>
                <a:gd name="connsiteY9" fmla="*/ 1289 h 608205"/>
                <a:gd name="connsiteX10" fmla="*/ 147572 w 175582"/>
                <a:gd name="connsiteY10" fmla="*/ 219157 h 608205"/>
                <a:gd name="connsiteX11" fmla="*/ 175582 w 175582"/>
                <a:gd name="connsiteY11" fmla="*/ 586419 h 608205"/>
                <a:gd name="connsiteX12" fmla="*/ 175582 w 175582"/>
                <a:gd name="connsiteY12" fmla="*/ 589531 h 608205"/>
                <a:gd name="connsiteX13" fmla="*/ 172471 w 175582"/>
                <a:gd name="connsiteY13" fmla="*/ 589531 h 608205"/>
                <a:gd name="connsiteX14" fmla="*/ 35525 w 175582"/>
                <a:gd name="connsiteY14" fmla="*/ 608206 h 608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5582" h="608205">
                  <a:moveTo>
                    <a:pt x="35525" y="608206"/>
                  </a:moveTo>
                  <a:cubicBezTo>
                    <a:pt x="32413" y="608206"/>
                    <a:pt x="29301" y="608206"/>
                    <a:pt x="29301" y="608206"/>
                  </a:cubicBezTo>
                  <a:cubicBezTo>
                    <a:pt x="26188" y="608206"/>
                    <a:pt x="23075" y="605093"/>
                    <a:pt x="23075" y="601981"/>
                  </a:cubicBezTo>
                  <a:cubicBezTo>
                    <a:pt x="23075" y="598868"/>
                    <a:pt x="26188" y="595756"/>
                    <a:pt x="29301" y="595756"/>
                  </a:cubicBezTo>
                  <a:lnTo>
                    <a:pt x="29301" y="595756"/>
                  </a:lnTo>
                  <a:cubicBezTo>
                    <a:pt x="85323" y="595756"/>
                    <a:pt x="144459" y="583307"/>
                    <a:pt x="160021" y="580194"/>
                  </a:cubicBezTo>
                  <a:cubicBezTo>
                    <a:pt x="160021" y="552183"/>
                    <a:pt x="153795" y="387226"/>
                    <a:pt x="135122" y="219157"/>
                  </a:cubicBezTo>
                  <a:cubicBezTo>
                    <a:pt x="113335" y="38638"/>
                    <a:pt x="4401" y="10627"/>
                    <a:pt x="4401" y="10627"/>
                  </a:cubicBezTo>
                  <a:cubicBezTo>
                    <a:pt x="1289" y="10627"/>
                    <a:pt x="-1823" y="7514"/>
                    <a:pt x="1289" y="4402"/>
                  </a:cubicBezTo>
                  <a:cubicBezTo>
                    <a:pt x="1289" y="1289"/>
                    <a:pt x="4401" y="-1823"/>
                    <a:pt x="7514" y="1289"/>
                  </a:cubicBezTo>
                  <a:cubicBezTo>
                    <a:pt x="13739" y="1289"/>
                    <a:pt x="125785" y="29301"/>
                    <a:pt x="147572" y="219157"/>
                  </a:cubicBezTo>
                  <a:cubicBezTo>
                    <a:pt x="169357" y="402788"/>
                    <a:pt x="175582" y="583307"/>
                    <a:pt x="175582" y="586419"/>
                  </a:cubicBezTo>
                  <a:lnTo>
                    <a:pt x="175582" y="589531"/>
                  </a:lnTo>
                  <a:lnTo>
                    <a:pt x="172471" y="589531"/>
                  </a:lnTo>
                  <a:cubicBezTo>
                    <a:pt x="166246" y="589531"/>
                    <a:pt x="100885" y="608206"/>
                    <a:pt x="35525" y="608206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C8E300DE-2CBF-482A-B915-8C04E9A6BBD6}"/>
                </a:ext>
              </a:extLst>
            </p:cNvPr>
            <p:cNvGrpSpPr/>
            <p:nvPr/>
          </p:nvGrpSpPr>
          <p:grpSpPr>
            <a:xfrm>
              <a:off x="18642287" y="9560157"/>
              <a:ext cx="366257" cy="218711"/>
              <a:chOff x="18642287" y="9560157"/>
              <a:chExt cx="366257" cy="218711"/>
            </a:xfrm>
          </p:grpSpPr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C73B5746-6B52-4F13-9F8B-0DB06946F5FF}"/>
                  </a:ext>
                </a:extLst>
              </p:cNvPr>
              <p:cNvSpPr/>
              <p:nvPr/>
            </p:nvSpPr>
            <p:spPr>
              <a:xfrm>
                <a:off x="18642287" y="9560157"/>
                <a:ext cx="366257" cy="218711"/>
              </a:xfrm>
              <a:custGeom>
                <a:avLst/>
                <a:gdLst>
                  <a:gd name="connsiteX0" fmla="*/ 14557 w 366257"/>
                  <a:gd name="connsiteY0" fmla="*/ 168415 h 218711"/>
                  <a:gd name="connsiteX1" fmla="*/ 20782 w 366257"/>
                  <a:gd name="connsiteY1" fmla="*/ 180864 h 218711"/>
                  <a:gd name="connsiteX2" fmla="*/ 204412 w 366257"/>
                  <a:gd name="connsiteY2" fmla="*/ 215101 h 218711"/>
                  <a:gd name="connsiteX3" fmla="*/ 347584 w 366257"/>
                  <a:gd name="connsiteY3" fmla="*/ 143516 h 218711"/>
                  <a:gd name="connsiteX4" fmla="*/ 335133 w 366257"/>
                  <a:gd name="connsiteY4" fmla="*/ 127954 h 218711"/>
                  <a:gd name="connsiteX5" fmla="*/ 291561 w 366257"/>
                  <a:gd name="connsiteY5" fmla="*/ 140404 h 218711"/>
                  <a:gd name="connsiteX6" fmla="*/ 341358 w 366257"/>
                  <a:gd name="connsiteY6" fmla="*/ 112392 h 218711"/>
                  <a:gd name="connsiteX7" fmla="*/ 366257 w 366257"/>
                  <a:gd name="connsiteY7" fmla="*/ 81268 h 218711"/>
                  <a:gd name="connsiteX8" fmla="*/ 350695 w 366257"/>
                  <a:gd name="connsiteY8" fmla="*/ 68818 h 218711"/>
                  <a:gd name="connsiteX9" fmla="*/ 356920 w 366257"/>
                  <a:gd name="connsiteY9" fmla="*/ 65706 h 218711"/>
                  <a:gd name="connsiteX10" fmla="*/ 335133 w 366257"/>
                  <a:gd name="connsiteY10" fmla="*/ 53256 h 218711"/>
                  <a:gd name="connsiteX11" fmla="*/ 151503 w 366257"/>
                  <a:gd name="connsiteY11" fmla="*/ 90605 h 218711"/>
                  <a:gd name="connsiteX12" fmla="*/ 188850 w 366257"/>
                  <a:gd name="connsiteY12" fmla="*/ 43919 h 218711"/>
                  <a:gd name="connsiteX13" fmla="*/ 244875 w 366257"/>
                  <a:gd name="connsiteY13" fmla="*/ 25245 h 218711"/>
                  <a:gd name="connsiteX14" fmla="*/ 210638 w 366257"/>
                  <a:gd name="connsiteY14" fmla="*/ 346 h 218711"/>
                  <a:gd name="connsiteX15" fmla="*/ 142165 w 366257"/>
                  <a:gd name="connsiteY15" fmla="*/ 9683 h 218711"/>
                  <a:gd name="connsiteX16" fmla="*/ 55018 w 366257"/>
                  <a:gd name="connsiteY16" fmla="*/ 43919 h 218711"/>
                  <a:gd name="connsiteX17" fmla="*/ 14557 w 366257"/>
                  <a:gd name="connsiteY17" fmla="*/ 168415 h 218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6257" h="218711">
                    <a:moveTo>
                      <a:pt x="14557" y="168415"/>
                    </a:moveTo>
                    <a:cubicBezTo>
                      <a:pt x="14557" y="171527"/>
                      <a:pt x="14557" y="177752"/>
                      <a:pt x="20782" y="180864"/>
                    </a:cubicBezTo>
                    <a:cubicBezTo>
                      <a:pt x="67468" y="205764"/>
                      <a:pt x="145278" y="227550"/>
                      <a:pt x="204412" y="215101"/>
                    </a:cubicBezTo>
                    <a:cubicBezTo>
                      <a:pt x="241762" y="205764"/>
                      <a:pt x="344470" y="162190"/>
                      <a:pt x="347584" y="143516"/>
                    </a:cubicBezTo>
                    <a:cubicBezTo>
                      <a:pt x="347584" y="137291"/>
                      <a:pt x="338247" y="131066"/>
                      <a:pt x="335133" y="127954"/>
                    </a:cubicBezTo>
                    <a:cubicBezTo>
                      <a:pt x="328908" y="124842"/>
                      <a:pt x="297784" y="140404"/>
                      <a:pt x="291561" y="140404"/>
                    </a:cubicBezTo>
                    <a:cubicBezTo>
                      <a:pt x="307123" y="131066"/>
                      <a:pt x="325796" y="124842"/>
                      <a:pt x="341358" y="112392"/>
                    </a:cubicBezTo>
                    <a:cubicBezTo>
                      <a:pt x="353809" y="103054"/>
                      <a:pt x="366257" y="93718"/>
                      <a:pt x="366257" y="81268"/>
                    </a:cubicBezTo>
                    <a:cubicBezTo>
                      <a:pt x="366257" y="65706"/>
                      <a:pt x="360032" y="68818"/>
                      <a:pt x="350695" y="68818"/>
                    </a:cubicBezTo>
                    <a:cubicBezTo>
                      <a:pt x="350695" y="68818"/>
                      <a:pt x="356920" y="65706"/>
                      <a:pt x="356920" y="65706"/>
                    </a:cubicBezTo>
                    <a:cubicBezTo>
                      <a:pt x="360032" y="62594"/>
                      <a:pt x="338247" y="56369"/>
                      <a:pt x="335133" y="53256"/>
                    </a:cubicBezTo>
                    <a:cubicBezTo>
                      <a:pt x="319571" y="28357"/>
                      <a:pt x="182627" y="127954"/>
                      <a:pt x="151503" y="90605"/>
                    </a:cubicBezTo>
                    <a:cubicBezTo>
                      <a:pt x="154615" y="81268"/>
                      <a:pt x="170177" y="56369"/>
                      <a:pt x="188850" y="43919"/>
                    </a:cubicBezTo>
                    <a:cubicBezTo>
                      <a:pt x="232425" y="43919"/>
                      <a:pt x="247987" y="37694"/>
                      <a:pt x="244875" y="25245"/>
                    </a:cubicBezTo>
                    <a:cubicBezTo>
                      <a:pt x="244875" y="19020"/>
                      <a:pt x="223088" y="346"/>
                      <a:pt x="210638" y="346"/>
                    </a:cubicBezTo>
                    <a:cubicBezTo>
                      <a:pt x="182627" y="346"/>
                      <a:pt x="176402" y="-2767"/>
                      <a:pt x="142165" y="9683"/>
                    </a:cubicBezTo>
                    <a:cubicBezTo>
                      <a:pt x="114154" y="19020"/>
                      <a:pt x="86142" y="34582"/>
                      <a:pt x="55018" y="43919"/>
                    </a:cubicBezTo>
                    <a:cubicBezTo>
                      <a:pt x="-7230" y="59481"/>
                      <a:pt x="-10341" y="121729"/>
                      <a:pt x="14557" y="168415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A10FF0C7-BAA3-478E-B784-19905AE2370C}"/>
                  </a:ext>
                </a:extLst>
              </p:cNvPr>
              <p:cNvSpPr/>
              <p:nvPr/>
            </p:nvSpPr>
            <p:spPr>
              <a:xfrm>
                <a:off x="18846699" y="9617393"/>
                <a:ext cx="158733" cy="114291"/>
              </a:xfrm>
              <a:custGeom>
                <a:avLst/>
                <a:gdLst>
                  <a:gd name="connsiteX0" fmla="*/ 37349 w 158733"/>
                  <a:gd name="connsiteY0" fmla="*/ 114291 h 114291"/>
                  <a:gd name="connsiteX1" fmla="*/ 31124 w 158733"/>
                  <a:gd name="connsiteY1" fmla="*/ 111179 h 114291"/>
                  <a:gd name="connsiteX2" fmla="*/ 34237 w 158733"/>
                  <a:gd name="connsiteY2" fmla="*/ 104954 h 114291"/>
                  <a:gd name="connsiteX3" fmla="*/ 121384 w 158733"/>
                  <a:gd name="connsiteY3" fmla="*/ 55156 h 114291"/>
                  <a:gd name="connsiteX4" fmla="*/ 146283 w 158733"/>
                  <a:gd name="connsiteY4" fmla="*/ 24032 h 114291"/>
                  <a:gd name="connsiteX5" fmla="*/ 143171 w 158733"/>
                  <a:gd name="connsiteY5" fmla="*/ 14694 h 114291"/>
                  <a:gd name="connsiteX6" fmla="*/ 105822 w 158733"/>
                  <a:gd name="connsiteY6" fmla="*/ 39594 h 114291"/>
                  <a:gd name="connsiteX7" fmla="*/ 6225 w 158733"/>
                  <a:gd name="connsiteY7" fmla="*/ 95617 h 114291"/>
                  <a:gd name="connsiteX8" fmla="*/ 0 w 158733"/>
                  <a:gd name="connsiteY8" fmla="*/ 89392 h 114291"/>
                  <a:gd name="connsiteX9" fmla="*/ 6225 w 158733"/>
                  <a:gd name="connsiteY9" fmla="*/ 83167 h 114291"/>
                  <a:gd name="connsiteX10" fmla="*/ 99597 w 158733"/>
                  <a:gd name="connsiteY10" fmla="*/ 27144 h 114291"/>
                  <a:gd name="connsiteX11" fmla="*/ 149396 w 158733"/>
                  <a:gd name="connsiteY11" fmla="*/ 2245 h 114291"/>
                  <a:gd name="connsiteX12" fmla="*/ 158733 w 158733"/>
                  <a:gd name="connsiteY12" fmla="*/ 20920 h 114291"/>
                  <a:gd name="connsiteX13" fmla="*/ 127609 w 158733"/>
                  <a:gd name="connsiteY13" fmla="*/ 61380 h 114291"/>
                  <a:gd name="connsiteX14" fmla="*/ 37349 w 158733"/>
                  <a:gd name="connsiteY14" fmla="*/ 114291 h 114291"/>
                  <a:gd name="connsiteX15" fmla="*/ 37349 w 158733"/>
                  <a:gd name="connsiteY15" fmla="*/ 114291 h 114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8733" h="114291">
                    <a:moveTo>
                      <a:pt x="37349" y="114291"/>
                    </a:moveTo>
                    <a:cubicBezTo>
                      <a:pt x="34237" y="114291"/>
                      <a:pt x="34237" y="114291"/>
                      <a:pt x="31124" y="111179"/>
                    </a:cubicBezTo>
                    <a:cubicBezTo>
                      <a:pt x="31124" y="108066"/>
                      <a:pt x="31124" y="104954"/>
                      <a:pt x="34237" y="104954"/>
                    </a:cubicBezTo>
                    <a:cubicBezTo>
                      <a:pt x="34237" y="104954"/>
                      <a:pt x="99597" y="73830"/>
                      <a:pt x="121384" y="55156"/>
                    </a:cubicBezTo>
                    <a:cubicBezTo>
                      <a:pt x="133834" y="42706"/>
                      <a:pt x="146283" y="33369"/>
                      <a:pt x="146283" y="24032"/>
                    </a:cubicBezTo>
                    <a:cubicBezTo>
                      <a:pt x="146283" y="20920"/>
                      <a:pt x="146283" y="17807"/>
                      <a:pt x="143171" y="14694"/>
                    </a:cubicBezTo>
                    <a:cubicBezTo>
                      <a:pt x="136946" y="17807"/>
                      <a:pt x="121384" y="30256"/>
                      <a:pt x="105822" y="39594"/>
                    </a:cubicBezTo>
                    <a:cubicBezTo>
                      <a:pt x="74698" y="64493"/>
                      <a:pt x="34237" y="92504"/>
                      <a:pt x="6225" y="95617"/>
                    </a:cubicBezTo>
                    <a:cubicBezTo>
                      <a:pt x="3114" y="95617"/>
                      <a:pt x="0" y="92504"/>
                      <a:pt x="0" y="89392"/>
                    </a:cubicBezTo>
                    <a:cubicBezTo>
                      <a:pt x="0" y="86280"/>
                      <a:pt x="3114" y="83167"/>
                      <a:pt x="6225" y="83167"/>
                    </a:cubicBezTo>
                    <a:cubicBezTo>
                      <a:pt x="31124" y="80055"/>
                      <a:pt x="71587" y="48931"/>
                      <a:pt x="99597" y="27144"/>
                    </a:cubicBezTo>
                    <a:cubicBezTo>
                      <a:pt x="130721" y="2245"/>
                      <a:pt x="143171" y="-3980"/>
                      <a:pt x="149396" y="2245"/>
                    </a:cubicBezTo>
                    <a:cubicBezTo>
                      <a:pt x="155620" y="8470"/>
                      <a:pt x="158733" y="14694"/>
                      <a:pt x="158733" y="20920"/>
                    </a:cubicBezTo>
                    <a:cubicBezTo>
                      <a:pt x="158733" y="33369"/>
                      <a:pt x="146283" y="45818"/>
                      <a:pt x="127609" y="61380"/>
                    </a:cubicBezTo>
                    <a:cubicBezTo>
                      <a:pt x="105822" y="80055"/>
                      <a:pt x="43574" y="114291"/>
                      <a:pt x="37349" y="114291"/>
                    </a:cubicBezTo>
                    <a:cubicBezTo>
                      <a:pt x="40463" y="114291"/>
                      <a:pt x="37349" y="114291"/>
                      <a:pt x="37349" y="11429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939798D7-B844-4F6B-860E-021554192B53}"/>
                  </a:ext>
                </a:extLst>
              </p:cNvPr>
              <p:cNvSpPr/>
              <p:nvPr/>
            </p:nvSpPr>
            <p:spPr>
              <a:xfrm>
                <a:off x="18784451" y="9600360"/>
                <a:ext cx="199971" cy="65963"/>
              </a:xfrm>
              <a:custGeom>
                <a:avLst/>
                <a:gdLst>
                  <a:gd name="connsiteX0" fmla="*/ 43574 w 199971"/>
                  <a:gd name="connsiteY0" fmla="*/ 62851 h 65963"/>
                  <a:gd name="connsiteX1" fmla="*/ 3114 w 199971"/>
                  <a:gd name="connsiteY1" fmla="*/ 53514 h 65963"/>
                  <a:gd name="connsiteX2" fmla="*/ 0 w 199971"/>
                  <a:gd name="connsiteY2" fmla="*/ 47289 h 65963"/>
                  <a:gd name="connsiteX3" fmla="*/ 6225 w 199971"/>
                  <a:gd name="connsiteY3" fmla="*/ 44177 h 65963"/>
                  <a:gd name="connsiteX4" fmla="*/ 43574 w 199971"/>
                  <a:gd name="connsiteY4" fmla="*/ 50402 h 65963"/>
                  <a:gd name="connsiteX5" fmla="*/ 121384 w 199971"/>
                  <a:gd name="connsiteY5" fmla="*/ 19278 h 65963"/>
                  <a:gd name="connsiteX6" fmla="*/ 171182 w 199971"/>
                  <a:gd name="connsiteY6" fmla="*/ 603 h 65963"/>
                  <a:gd name="connsiteX7" fmla="*/ 196082 w 199971"/>
                  <a:gd name="connsiteY7" fmla="*/ 13053 h 65963"/>
                  <a:gd name="connsiteX8" fmla="*/ 199194 w 199971"/>
                  <a:gd name="connsiteY8" fmla="*/ 31727 h 65963"/>
                  <a:gd name="connsiteX9" fmla="*/ 192969 w 199971"/>
                  <a:gd name="connsiteY9" fmla="*/ 34840 h 65963"/>
                  <a:gd name="connsiteX10" fmla="*/ 189857 w 199971"/>
                  <a:gd name="connsiteY10" fmla="*/ 28615 h 65963"/>
                  <a:gd name="connsiteX11" fmla="*/ 189857 w 199971"/>
                  <a:gd name="connsiteY11" fmla="*/ 19278 h 65963"/>
                  <a:gd name="connsiteX12" fmla="*/ 174295 w 199971"/>
                  <a:gd name="connsiteY12" fmla="*/ 13053 h 65963"/>
                  <a:gd name="connsiteX13" fmla="*/ 130721 w 199971"/>
                  <a:gd name="connsiteY13" fmla="*/ 31727 h 65963"/>
                  <a:gd name="connsiteX14" fmla="*/ 49799 w 199971"/>
                  <a:gd name="connsiteY14" fmla="*/ 65964 h 65963"/>
                  <a:gd name="connsiteX15" fmla="*/ 43574 w 199971"/>
                  <a:gd name="connsiteY15" fmla="*/ 62851 h 65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9971" h="65963">
                    <a:moveTo>
                      <a:pt x="43574" y="62851"/>
                    </a:moveTo>
                    <a:cubicBezTo>
                      <a:pt x="28012" y="62851"/>
                      <a:pt x="6225" y="53514"/>
                      <a:pt x="3114" y="53514"/>
                    </a:cubicBezTo>
                    <a:cubicBezTo>
                      <a:pt x="0" y="53514"/>
                      <a:pt x="0" y="50402"/>
                      <a:pt x="0" y="47289"/>
                    </a:cubicBezTo>
                    <a:cubicBezTo>
                      <a:pt x="0" y="44177"/>
                      <a:pt x="3114" y="44177"/>
                      <a:pt x="6225" y="44177"/>
                    </a:cubicBezTo>
                    <a:cubicBezTo>
                      <a:pt x="6225" y="44177"/>
                      <a:pt x="31124" y="53514"/>
                      <a:pt x="43574" y="50402"/>
                    </a:cubicBezTo>
                    <a:cubicBezTo>
                      <a:pt x="74698" y="47289"/>
                      <a:pt x="99597" y="31727"/>
                      <a:pt x="121384" y="19278"/>
                    </a:cubicBezTo>
                    <a:cubicBezTo>
                      <a:pt x="140058" y="6828"/>
                      <a:pt x="155620" y="-2509"/>
                      <a:pt x="171182" y="603"/>
                    </a:cubicBezTo>
                    <a:cubicBezTo>
                      <a:pt x="183632" y="603"/>
                      <a:pt x="189857" y="6828"/>
                      <a:pt x="196082" y="13053"/>
                    </a:cubicBezTo>
                    <a:cubicBezTo>
                      <a:pt x="202305" y="22390"/>
                      <a:pt x="199194" y="28615"/>
                      <a:pt x="199194" y="31727"/>
                    </a:cubicBezTo>
                    <a:cubicBezTo>
                      <a:pt x="199194" y="34840"/>
                      <a:pt x="196082" y="37952"/>
                      <a:pt x="192969" y="34840"/>
                    </a:cubicBezTo>
                    <a:cubicBezTo>
                      <a:pt x="189857" y="34840"/>
                      <a:pt x="189857" y="31727"/>
                      <a:pt x="189857" y="28615"/>
                    </a:cubicBezTo>
                    <a:cubicBezTo>
                      <a:pt x="189857" y="28615"/>
                      <a:pt x="189857" y="25502"/>
                      <a:pt x="189857" y="19278"/>
                    </a:cubicBezTo>
                    <a:cubicBezTo>
                      <a:pt x="186744" y="16165"/>
                      <a:pt x="183632" y="13053"/>
                      <a:pt x="174295" y="13053"/>
                    </a:cubicBezTo>
                    <a:cubicBezTo>
                      <a:pt x="164958" y="13053"/>
                      <a:pt x="149396" y="19278"/>
                      <a:pt x="130721" y="31727"/>
                    </a:cubicBezTo>
                    <a:cubicBezTo>
                      <a:pt x="108934" y="44177"/>
                      <a:pt x="80923" y="59739"/>
                      <a:pt x="49799" y="65964"/>
                    </a:cubicBezTo>
                    <a:cubicBezTo>
                      <a:pt x="46686" y="62851"/>
                      <a:pt x="46686" y="62851"/>
                      <a:pt x="43574" y="6285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8507033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B468979E-1F37-4DAD-B9C2-D81F9F22FAE8}"/>
              </a:ext>
            </a:extLst>
          </p:cNvPr>
          <p:cNvGrpSpPr/>
          <p:nvPr/>
        </p:nvGrpSpPr>
        <p:grpSpPr>
          <a:xfrm>
            <a:off x="3212112" y="1808164"/>
            <a:ext cx="1952425" cy="4880230"/>
            <a:chOff x="20644706" y="1791972"/>
            <a:chExt cx="1952425" cy="4880230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B50A241F-41CF-4BFC-83C0-76DB8B5CA46C}"/>
                </a:ext>
              </a:extLst>
            </p:cNvPr>
            <p:cNvGrpSpPr/>
            <p:nvPr/>
          </p:nvGrpSpPr>
          <p:grpSpPr>
            <a:xfrm>
              <a:off x="20644706" y="6043500"/>
              <a:ext cx="404233" cy="591013"/>
              <a:chOff x="20644706" y="6043500"/>
              <a:chExt cx="404233" cy="591013"/>
            </a:xfrm>
          </p:grpSpPr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3B42C283-54CC-4573-AE9D-6FE3AF3E6AA2}"/>
                  </a:ext>
                </a:extLst>
              </p:cNvPr>
              <p:cNvSpPr/>
              <p:nvPr/>
            </p:nvSpPr>
            <p:spPr>
              <a:xfrm>
                <a:off x="20748372" y="6043500"/>
                <a:ext cx="280115" cy="261440"/>
              </a:xfrm>
              <a:custGeom>
                <a:avLst/>
                <a:gdLst>
                  <a:gd name="connsiteX0" fmla="*/ 18674 w 280115"/>
                  <a:gd name="connsiteY0" fmla="*/ 136945 h 261440"/>
                  <a:gd name="connsiteX1" fmla="*/ 146283 w 280115"/>
                  <a:gd name="connsiteY1" fmla="*/ 0 h 261440"/>
                  <a:gd name="connsiteX2" fmla="*/ 280115 w 280115"/>
                  <a:gd name="connsiteY2" fmla="*/ 127608 h 261440"/>
                  <a:gd name="connsiteX3" fmla="*/ 130721 w 280115"/>
                  <a:gd name="connsiteY3" fmla="*/ 261441 h 261440"/>
                  <a:gd name="connsiteX4" fmla="*/ 0 w 280115"/>
                  <a:gd name="connsiteY4" fmla="*/ 174294 h 261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0115" h="261440">
                    <a:moveTo>
                      <a:pt x="18674" y="136945"/>
                    </a:moveTo>
                    <a:lnTo>
                      <a:pt x="146283" y="0"/>
                    </a:lnTo>
                    <a:lnTo>
                      <a:pt x="280115" y="127608"/>
                    </a:lnTo>
                    <a:lnTo>
                      <a:pt x="130721" y="261441"/>
                    </a:lnTo>
                    <a:lnTo>
                      <a:pt x="0" y="174294"/>
                    </a:ln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DC643FBF-7049-4648-8E05-8F0896DE76FF}"/>
                  </a:ext>
                </a:extLst>
              </p:cNvPr>
              <p:cNvSpPr/>
              <p:nvPr/>
            </p:nvSpPr>
            <p:spPr>
              <a:xfrm>
                <a:off x="20676787" y="6171108"/>
                <a:ext cx="372152" cy="426397"/>
              </a:xfrm>
              <a:custGeom>
                <a:avLst/>
                <a:gdLst>
                  <a:gd name="connsiteX0" fmla="*/ 80921 w 372152"/>
                  <a:gd name="connsiteY0" fmla="*/ 0 h 426397"/>
                  <a:gd name="connsiteX1" fmla="*/ 252103 w 372152"/>
                  <a:gd name="connsiteY1" fmla="*/ 96484 h 426397"/>
                  <a:gd name="connsiteX2" fmla="*/ 292564 w 372152"/>
                  <a:gd name="connsiteY2" fmla="*/ 248991 h 426397"/>
                  <a:gd name="connsiteX3" fmla="*/ 361037 w 372152"/>
                  <a:gd name="connsiteY3" fmla="*/ 426398 h 426397"/>
                  <a:gd name="connsiteX4" fmla="*/ 0 w 372152"/>
                  <a:gd name="connsiteY4" fmla="*/ 80922 h 426397"/>
                  <a:gd name="connsiteX5" fmla="*/ 80921 w 372152"/>
                  <a:gd name="connsiteY5" fmla="*/ 0 h 426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2152" h="426397">
                    <a:moveTo>
                      <a:pt x="80921" y="0"/>
                    </a:moveTo>
                    <a:cubicBezTo>
                      <a:pt x="80921" y="0"/>
                      <a:pt x="158731" y="102709"/>
                      <a:pt x="252103" y="96484"/>
                    </a:cubicBezTo>
                    <a:cubicBezTo>
                      <a:pt x="252103" y="96484"/>
                      <a:pt x="267665" y="211643"/>
                      <a:pt x="292564" y="248991"/>
                    </a:cubicBezTo>
                    <a:cubicBezTo>
                      <a:pt x="320576" y="286340"/>
                      <a:pt x="401497" y="364150"/>
                      <a:pt x="361037" y="426398"/>
                    </a:cubicBezTo>
                    <a:lnTo>
                      <a:pt x="0" y="80922"/>
                    </a:lnTo>
                    <a:cubicBezTo>
                      <a:pt x="0" y="84034"/>
                      <a:pt x="31124" y="24899"/>
                      <a:pt x="80921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1825AB41-EED5-47AA-A10D-11CBA3709083}"/>
                  </a:ext>
                </a:extLst>
              </p:cNvPr>
              <p:cNvSpPr/>
              <p:nvPr/>
            </p:nvSpPr>
            <p:spPr>
              <a:xfrm rot="-2778769">
                <a:off x="20817533" y="6196672"/>
                <a:ext cx="46684" cy="497967"/>
              </a:xfrm>
              <a:custGeom>
                <a:avLst/>
                <a:gdLst>
                  <a:gd name="connsiteX0" fmla="*/ 1 w 46684"/>
                  <a:gd name="connsiteY0" fmla="*/ 0 h 497967"/>
                  <a:gd name="connsiteX1" fmla="*/ 46685 w 46684"/>
                  <a:gd name="connsiteY1" fmla="*/ 0 h 497967"/>
                  <a:gd name="connsiteX2" fmla="*/ 46685 w 46684"/>
                  <a:gd name="connsiteY2" fmla="*/ 497968 h 497967"/>
                  <a:gd name="connsiteX3" fmla="*/ 1 w 46684"/>
                  <a:gd name="connsiteY3" fmla="*/ 497968 h 497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684" h="497967">
                    <a:moveTo>
                      <a:pt x="1" y="0"/>
                    </a:moveTo>
                    <a:lnTo>
                      <a:pt x="46685" y="0"/>
                    </a:lnTo>
                    <a:lnTo>
                      <a:pt x="46685" y="497968"/>
                    </a:lnTo>
                    <a:lnTo>
                      <a:pt x="1" y="497968"/>
                    </a:lnTo>
                    <a:close/>
                  </a:path>
                </a:pathLst>
              </a:custGeom>
              <a:solidFill>
                <a:srgbClr val="38333D"/>
              </a:solidFill>
              <a:ln w="31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B04C3962-D281-4724-889F-9618FCB77800}"/>
                  </a:ext>
                </a:extLst>
              </p:cNvPr>
              <p:cNvSpPr/>
              <p:nvPr/>
            </p:nvSpPr>
            <p:spPr>
              <a:xfrm>
                <a:off x="20750100" y="6163500"/>
                <a:ext cx="181901" cy="110317"/>
              </a:xfrm>
              <a:custGeom>
                <a:avLst/>
                <a:gdLst>
                  <a:gd name="connsiteX0" fmla="*/ 175678 w 181901"/>
                  <a:gd name="connsiteY0" fmla="*/ 110317 h 110317"/>
                  <a:gd name="connsiteX1" fmla="*/ 175678 w 181901"/>
                  <a:gd name="connsiteY1" fmla="*/ 110317 h 110317"/>
                  <a:gd name="connsiteX2" fmla="*/ 1383 w 181901"/>
                  <a:gd name="connsiteY2" fmla="*/ 10721 h 110317"/>
                  <a:gd name="connsiteX3" fmla="*/ 1383 w 181901"/>
                  <a:gd name="connsiteY3" fmla="*/ 1383 h 110317"/>
                  <a:gd name="connsiteX4" fmla="*/ 10720 w 181901"/>
                  <a:gd name="connsiteY4" fmla="*/ 1383 h 110317"/>
                  <a:gd name="connsiteX5" fmla="*/ 175678 w 181901"/>
                  <a:gd name="connsiteY5" fmla="*/ 94755 h 110317"/>
                  <a:gd name="connsiteX6" fmla="*/ 181901 w 181901"/>
                  <a:gd name="connsiteY6" fmla="*/ 100980 h 110317"/>
                  <a:gd name="connsiteX7" fmla="*/ 175678 w 181901"/>
                  <a:gd name="connsiteY7" fmla="*/ 110317 h 110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1901" h="110317">
                    <a:moveTo>
                      <a:pt x="175678" y="110317"/>
                    </a:moveTo>
                    <a:cubicBezTo>
                      <a:pt x="175678" y="110317"/>
                      <a:pt x="175678" y="110317"/>
                      <a:pt x="175678" y="110317"/>
                    </a:cubicBezTo>
                    <a:cubicBezTo>
                      <a:pt x="76081" y="107205"/>
                      <a:pt x="4496" y="13833"/>
                      <a:pt x="1383" y="10721"/>
                    </a:cubicBezTo>
                    <a:cubicBezTo>
                      <a:pt x="-1729" y="7608"/>
                      <a:pt x="1383" y="4496"/>
                      <a:pt x="1383" y="1383"/>
                    </a:cubicBezTo>
                    <a:cubicBezTo>
                      <a:pt x="4496" y="-1729"/>
                      <a:pt x="7608" y="1383"/>
                      <a:pt x="10720" y="1383"/>
                    </a:cubicBezTo>
                    <a:cubicBezTo>
                      <a:pt x="10720" y="1383"/>
                      <a:pt x="82306" y="91643"/>
                      <a:pt x="175678" y="94755"/>
                    </a:cubicBezTo>
                    <a:cubicBezTo>
                      <a:pt x="178790" y="94755"/>
                      <a:pt x="181901" y="97868"/>
                      <a:pt x="181901" y="100980"/>
                    </a:cubicBezTo>
                    <a:cubicBezTo>
                      <a:pt x="181901" y="107205"/>
                      <a:pt x="178790" y="110317"/>
                      <a:pt x="175678" y="11031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B1CCDB66-079E-436E-8B25-8EE7A03CF229}"/>
                  </a:ext>
                </a:extLst>
              </p:cNvPr>
              <p:cNvSpPr/>
              <p:nvPr/>
            </p:nvSpPr>
            <p:spPr>
              <a:xfrm>
                <a:off x="20888429" y="6308053"/>
                <a:ext cx="49797" cy="12449"/>
              </a:xfrm>
              <a:custGeom>
                <a:avLst/>
                <a:gdLst>
                  <a:gd name="connsiteX0" fmla="*/ 6225 w 49797"/>
                  <a:gd name="connsiteY0" fmla="*/ 12449 h 12449"/>
                  <a:gd name="connsiteX1" fmla="*/ 0 w 49797"/>
                  <a:gd name="connsiteY1" fmla="*/ 6225 h 12449"/>
                  <a:gd name="connsiteX2" fmla="*/ 6225 w 49797"/>
                  <a:gd name="connsiteY2" fmla="*/ 0 h 12449"/>
                  <a:gd name="connsiteX3" fmla="*/ 43572 w 49797"/>
                  <a:gd name="connsiteY3" fmla="*/ 0 h 12449"/>
                  <a:gd name="connsiteX4" fmla="*/ 49798 w 49797"/>
                  <a:gd name="connsiteY4" fmla="*/ 6225 h 12449"/>
                  <a:gd name="connsiteX5" fmla="*/ 43572 w 49797"/>
                  <a:gd name="connsiteY5" fmla="*/ 12449 h 12449"/>
                  <a:gd name="connsiteX6" fmla="*/ 6225 w 49797"/>
                  <a:gd name="connsiteY6" fmla="*/ 12449 h 12449"/>
                  <a:gd name="connsiteX7" fmla="*/ 6225 w 49797"/>
                  <a:gd name="connsiteY7" fmla="*/ 12449 h 12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797" h="12449">
                    <a:moveTo>
                      <a:pt x="6225" y="12449"/>
                    </a:moveTo>
                    <a:cubicBezTo>
                      <a:pt x="3112" y="12449"/>
                      <a:pt x="0" y="9337"/>
                      <a:pt x="0" y="6225"/>
                    </a:cubicBezTo>
                    <a:cubicBezTo>
                      <a:pt x="0" y="3112"/>
                      <a:pt x="3112" y="0"/>
                      <a:pt x="6225" y="0"/>
                    </a:cubicBezTo>
                    <a:lnTo>
                      <a:pt x="43572" y="0"/>
                    </a:lnTo>
                    <a:cubicBezTo>
                      <a:pt x="46686" y="0"/>
                      <a:pt x="49798" y="3112"/>
                      <a:pt x="49798" y="6225"/>
                    </a:cubicBezTo>
                    <a:cubicBezTo>
                      <a:pt x="49798" y="9337"/>
                      <a:pt x="46686" y="12449"/>
                      <a:pt x="43572" y="12449"/>
                    </a:cubicBezTo>
                    <a:lnTo>
                      <a:pt x="6225" y="12449"/>
                    </a:lnTo>
                    <a:lnTo>
                      <a:pt x="6225" y="12449"/>
                    </a:ln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A72403FF-CBE1-4DBC-869C-3B6AD33FF1A5}"/>
                  </a:ext>
                </a:extLst>
              </p:cNvPr>
              <p:cNvSpPr/>
              <p:nvPr/>
            </p:nvSpPr>
            <p:spPr>
              <a:xfrm>
                <a:off x="20897766" y="6354739"/>
                <a:ext cx="49797" cy="12449"/>
              </a:xfrm>
              <a:custGeom>
                <a:avLst/>
                <a:gdLst>
                  <a:gd name="connsiteX0" fmla="*/ 6225 w 49797"/>
                  <a:gd name="connsiteY0" fmla="*/ 12449 h 12449"/>
                  <a:gd name="connsiteX1" fmla="*/ 0 w 49797"/>
                  <a:gd name="connsiteY1" fmla="*/ 6225 h 12449"/>
                  <a:gd name="connsiteX2" fmla="*/ 6225 w 49797"/>
                  <a:gd name="connsiteY2" fmla="*/ 0 h 12449"/>
                  <a:gd name="connsiteX3" fmla="*/ 43574 w 49797"/>
                  <a:gd name="connsiteY3" fmla="*/ 0 h 12449"/>
                  <a:gd name="connsiteX4" fmla="*/ 49798 w 49797"/>
                  <a:gd name="connsiteY4" fmla="*/ 6225 h 12449"/>
                  <a:gd name="connsiteX5" fmla="*/ 43574 w 49797"/>
                  <a:gd name="connsiteY5" fmla="*/ 12449 h 12449"/>
                  <a:gd name="connsiteX6" fmla="*/ 6225 w 49797"/>
                  <a:gd name="connsiteY6" fmla="*/ 12449 h 12449"/>
                  <a:gd name="connsiteX7" fmla="*/ 6225 w 49797"/>
                  <a:gd name="connsiteY7" fmla="*/ 12449 h 12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797" h="12449">
                    <a:moveTo>
                      <a:pt x="6225" y="12449"/>
                    </a:moveTo>
                    <a:cubicBezTo>
                      <a:pt x="3112" y="12449"/>
                      <a:pt x="0" y="9337"/>
                      <a:pt x="0" y="6225"/>
                    </a:cubicBezTo>
                    <a:cubicBezTo>
                      <a:pt x="0" y="3112"/>
                      <a:pt x="3112" y="0"/>
                      <a:pt x="6225" y="0"/>
                    </a:cubicBezTo>
                    <a:lnTo>
                      <a:pt x="43574" y="0"/>
                    </a:lnTo>
                    <a:cubicBezTo>
                      <a:pt x="46686" y="0"/>
                      <a:pt x="49798" y="3112"/>
                      <a:pt x="49798" y="6225"/>
                    </a:cubicBezTo>
                    <a:cubicBezTo>
                      <a:pt x="49798" y="9337"/>
                      <a:pt x="46686" y="12449"/>
                      <a:pt x="43574" y="12449"/>
                    </a:cubicBezTo>
                    <a:lnTo>
                      <a:pt x="6225" y="12449"/>
                    </a:lnTo>
                    <a:cubicBezTo>
                      <a:pt x="6225" y="12449"/>
                      <a:pt x="6225" y="12449"/>
                      <a:pt x="6225" y="1244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DA734272-F2C3-49B3-87A8-06FD7E07DE3E}"/>
                </a:ext>
              </a:extLst>
            </p:cNvPr>
            <p:cNvGrpSpPr/>
            <p:nvPr/>
          </p:nvGrpSpPr>
          <p:grpSpPr>
            <a:xfrm>
              <a:off x="21815922" y="6320503"/>
              <a:ext cx="507319" cy="351700"/>
              <a:chOff x="21815922" y="6320503"/>
              <a:chExt cx="507319" cy="351700"/>
            </a:xfrm>
          </p:grpSpPr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F2E38D46-F44F-4C65-B606-8210B104A13F}"/>
                  </a:ext>
                </a:extLst>
              </p:cNvPr>
              <p:cNvSpPr/>
              <p:nvPr/>
            </p:nvSpPr>
            <p:spPr>
              <a:xfrm>
                <a:off x="21834595" y="6320503"/>
                <a:ext cx="186743" cy="230316"/>
              </a:xfrm>
              <a:custGeom>
                <a:avLst/>
                <a:gdLst>
                  <a:gd name="connsiteX0" fmla="*/ 3114 w 186743"/>
                  <a:gd name="connsiteY0" fmla="*/ 189856 h 230316"/>
                  <a:gd name="connsiteX1" fmla="*/ 0 w 186743"/>
                  <a:gd name="connsiteY1" fmla="*/ 0 h 230316"/>
                  <a:gd name="connsiteX2" fmla="*/ 186744 w 186743"/>
                  <a:gd name="connsiteY2" fmla="*/ 0 h 230316"/>
                  <a:gd name="connsiteX3" fmla="*/ 171182 w 186743"/>
                  <a:gd name="connsiteY3" fmla="*/ 199193 h 230316"/>
                  <a:gd name="connsiteX4" fmla="*/ 15562 w 186743"/>
                  <a:gd name="connsiteY4" fmla="*/ 230317 h 2303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6743" h="230316">
                    <a:moveTo>
                      <a:pt x="3114" y="189856"/>
                    </a:moveTo>
                    <a:lnTo>
                      <a:pt x="0" y="0"/>
                    </a:lnTo>
                    <a:lnTo>
                      <a:pt x="186744" y="0"/>
                    </a:lnTo>
                    <a:lnTo>
                      <a:pt x="171182" y="199193"/>
                    </a:lnTo>
                    <a:lnTo>
                      <a:pt x="15562" y="230317"/>
                    </a:ln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A0DD203A-A25F-4643-97AC-23D4E47543CF}"/>
                  </a:ext>
                </a:extLst>
              </p:cNvPr>
              <p:cNvSpPr/>
              <p:nvPr/>
            </p:nvSpPr>
            <p:spPr>
              <a:xfrm>
                <a:off x="21816959" y="6463673"/>
                <a:ext cx="506282" cy="161844"/>
              </a:xfrm>
              <a:custGeom>
                <a:avLst/>
                <a:gdLst>
                  <a:gd name="connsiteX0" fmla="*/ 8299 w 506282"/>
                  <a:gd name="connsiteY0" fmla="*/ 46686 h 161844"/>
                  <a:gd name="connsiteX1" fmla="*/ 198156 w 506282"/>
                  <a:gd name="connsiteY1" fmla="*/ 0 h 161844"/>
                  <a:gd name="connsiteX2" fmla="*/ 335101 w 506282"/>
                  <a:gd name="connsiteY2" fmla="*/ 80922 h 161844"/>
                  <a:gd name="connsiteX3" fmla="*/ 506282 w 506282"/>
                  <a:gd name="connsiteY3" fmla="*/ 161844 h 161844"/>
                  <a:gd name="connsiteX4" fmla="*/ 8299 w 506282"/>
                  <a:gd name="connsiteY4" fmla="*/ 161844 h 161844"/>
                  <a:gd name="connsiteX5" fmla="*/ 8299 w 506282"/>
                  <a:gd name="connsiteY5" fmla="*/ 46686 h 161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6282" h="161844">
                    <a:moveTo>
                      <a:pt x="8299" y="46686"/>
                    </a:moveTo>
                    <a:cubicBezTo>
                      <a:pt x="8299" y="46686"/>
                      <a:pt x="135909" y="65360"/>
                      <a:pt x="198156" y="0"/>
                    </a:cubicBezTo>
                    <a:cubicBezTo>
                      <a:pt x="198156" y="0"/>
                      <a:pt x="288415" y="71585"/>
                      <a:pt x="335101" y="80922"/>
                    </a:cubicBezTo>
                    <a:cubicBezTo>
                      <a:pt x="381786" y="90259"/>
                      <a:pt x="493834" y="87147"/>
                      <a:pt x="506282" y="161844"/>
                    </a:cubicBezTo>
                    <a:lnTo>
                      <a:pt x="8299" y="161844"/>
                    </a:lnTo>
                    <a:cubicBezTo>
                      <a:pt x="8299" y="161844"/>
                      <a:pt x="-10374" y="99596"/>
                      <a:pt x="8299" y="4668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219C79C1-9DF1-46CF-AD4C-B01E5F4C14B8}"/>
                  </a:ext>
                </a:extLst>
              </p:cNvPr>
              <p:cNvSpPr/>
              <p:nvPr/>
            </p:nvSpPr>
            <p:spPr>
              <a:xfrm>
                <a:off x="21825259" y="6625517"/>
                <a:ext cx="497982" cy="46685"/>
              </a:xfrm>
              <a:custGeom>
                <a:avLst/>
                <a:gdLst>
                  <a:gd name="connsiteX0" fmla="*/ 0 w 497982"/>
                  <a:gd name="connsiteY0" fmla="*/ 0 h 46685"/>
                  <a:gd name="connsiteX1" fmla="*/ 497982 w 497982"/>
                  <a:gd name="connsiteY1" fmla="*/ 0 h 46685"/>
                  <a:gd name="connsiteX2" fmla="*/ 497982 w 497982"/>
                  <a:gd name="connsiteY2" fmla="*/ 46686 h 46685"/>
                  <a:gd name="connsiteX3" fmla="*/ 0 w 497982"/>
                  <a:gd name="connsiteY3" fmla="*/ 46686 h 46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7982" h="46685">
                    <a:moveTo>
                      <a:pt x="0" y="0"/>
                    </a:moveTo>
                    <a:lnTo>
                      <a:pt x="497982" y="0"/>
                    </a:lnTo>
                    <a:lnTo>
                      <a:pt x="497982" y="46686"/>
                    </a:lnTo>
                    <a:lnTo>
                      <a:pt x="0" y="46686"/>
                    </a:ln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DCB497DC-D80B-4BCF-826A-0587E5F8CAC6}"/>
                  </a:ext>
                </a:extLst>
              </p:cNvPr>
              <p:cNvSpPr/>
              <p:nvPr/>
            </p:nvSpPr>
            <p:spPr>
              <a:xfrm>
                <a:off x="21815922" y="6452001"/>
                <a:ext cx="204639" cy="64582"/>
              </a:xfrm>
              <a:custGeom>
                <a:avLst/>
                <a:gdLst>
                  <a:gd name="connsiteX0" fmla="*/ 43574 w 204639"/>
                  <a:gd name="connsiteY0" fmla="*/ 64582 h 64582"/>
                  <a:gd name="connsiteX1" fmla="*/ 6225 w 204639"/>
                  <a:gd name="connsiteY1" fmla="*/ 61470 h 64582"/>
                  <a:gd name="connsiteX2" fmla="*/ 0 w 204639"/>
                  <a:gd name="connsiteY2" fmla="*/ 55245 h 64582"/>
                  <a:gd name="connsiteX3" fmla="*/ 6225 w 204639"/>
                  <a:gd name="connsiteY3" fmla="*/ 49020 h 64582"/>
                  <a:gd name="connsiteX4" fmla="*/ 192969 w 204639"/>
                  <a:gd name="connsiteY4" fmla="*/ 2334 h 64582"/>
                  <a:gd name="connsiteX5" fmla="*/ 202305 w 204639"/>
                  <a:gd name="connsiteY5" fmla="*/ 2334 h 64582"/>
                  <a:gd name="connsiteX6" fmla="*/ 202305 w 204639"/>
                  <a:gd name="connsiteY6" fmla="*/ 11672 h 64582"/>
                  <a:gd name="connsiteX7" fmla="*/ 43574 w 204639"/>
                  <a:gd name="connsiteY7" fmla="*/ 64582 h 64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4639" h="64582">
                    <a:moveTo>
                      <a:pt x="43574" y="64582"/>
                    </a:moveTo>
                    <a:cubicBezTo>
                      <a:pt x="21787" y="64582"/>
                      <a:pt x="9337" y="61470"/>
                      <a:pt x="6225" y="61470"/>
                    </a:cubicBezTo>
                    <a:cubicBezTo>
                      <a:pt x="3112" y="61470"/>
                      <a:pt x="0" y="58358"/>
                      <a:pt x="0" y="55245"/>
                    </a:cubicBezTo>
                    <a:cubicBezTo>
                      <a:pt x="0" y="52132"/>
                      <a:pt x="3112" y="49020"/>
                      <a:pt x="6225" y="49020"/>
                    </a:cubicBezTo>
                    <a:cubicBezTo>
                      <a:pt x="6225" y="49020"/>
                      <a:pt x="121384" y="64582"/>
                      <a:pt x="192969" y="2334"/>
                    </a:cubicBezTo>
                    <a:cubicBezTo>
                      <a:pt x="196080" y="-778"/>
                      <a:pt x="199194" y="-778"/>
                      <a:pt x="202305" y="2334"/>
                    </a:cubicBezTo>
                    <a:cubicBezTo>
                      <a:pt x="205417" y="5447"/>
                      <a:pt x="205417" y="8559"/>
                      <a:pt x="202305" y="11672"/>
                    </a:cubicBezTo>
                    <a:cubicBezTo>
                      <a:pt x="152508" y="58358"/>
                      <a:pt x="87147" y="64582"/>
                      <a:pt x="43574" y="645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A6D18A59-A30B-4628-AA22-DF7ADB5125C6}"/>
                  </a:ext>
                </a:extLst>
              </p:cNvPr>
              <p:cNvSpPr/>
              <p:nvPr/>
            </p:nvSpPr>
            <p:spPr>
              <a:xfrm>
                <a:off x="22019005" y="6480013"/>
                <a:ext cx="42017" cy="42795"/>
              </a:xfrm>
              <a:custGeom>
                <a:avLst/>
                <a:gdLst>
                  <a:gd name="connsiteX0" fmla="*/ 5447 w 42017"/>
                  <a:gd name="connsiteY0" fmla="*/ 42795 h 42795"/>
                  <a:gd name="connsiteX1" fmla="*/ 2334 w 42017"/>
                  <a:gd name="connsiteY1" fmla="*/ 39683 h 42795"/>
                  <a:gd name="connsiteX2" fmla="*/ 2334 w 42017"/>
                  <a:gd name="connsiteY2" fmla="*/ 30346 h 42795"/>
                  <a:gd name="connsiteX3" fmla="*/ 30346 w 42017"/>
                  <a:gd name="connsiteY3" fmla="*/ 2334 h 42795"/>
                  <a:gd name="connsiteX4" fmla="*/ 39683 w 42017"/>
                  <a:gd name="connsiteY4" fmla="*/ 2334 h 42795"/>
                  <a:gd name="connsiteX5" fmla="*/ 39683 w 42017"/>
                  <a:gd name="connsiteY5" fmla="*/ 11671 h 42795"/>
                  <a:gd name="connsiteX6" fmla="*/ 11672 w 42017"/>
                  <a:gd name="connsiteY6" fmla="*/ 39683 h 42795"/>
                  <a:gd name="connsiteX7" fmla="*/ 5447 w 42017"/>
                  <a:gd name="connsiteY7" fmla="*/ 42795 h 42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017" h="42795">
                    <a:moveTo>
                      <a:pt x="5447" y="42795"/>
                    </a:moveTo>
                    <a:cubicBezTo>
                      <a:pt x="5447" y="42795"/>
                      <a:pt x="2334" y="42795"/>
                      <a:pt x="2334" y="39683"/>
                    </a:cubicBezTo>
                    <a:cubicBezTo>
                      <a:pt x="-778" y="36571"/>
                      <a:pt x="-778" y="33458"/>
                      <a:pt x="2334" y="30346"/>
                    </a:cubicBezTo>
                    <a:lnTo>
                      <a:pt x="30346" y="2334"/>
                    </a:lnTo>
                    <a:cubicBezTo>
                      <a:pt x="33458" y="-778"/>
                      <a:pt x="36571" y="-778"/>
                      <a:pt x="39683" y="2334"/>
                    </a:cubicBezTo>
                    <a:cubicBezTo>
                      <a:pt x="42796" y="5447"/>
                      <a:pt x="42796" y="8559"/>
                      <a:pt x="39683" y="11671"/>
                    </a:cubicBezTo>
                    <a:lnTo>
                      <a:pt x="11672" y="39683"/>
                    </a:lnTo>
                    <a:cubicBezTo>
                      <a:pt x="8559" y="42795"/>
                      <a:pt x="8559" y="42795"/>
                      <a:pt x="5447" y="4279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A58377F2-99A5-4A6A-B95A-C474A1FFFA93}"/>
                  </a:ext>
                </a:extLst>
              </p:cNvPr>
              <p:cNvSpPr/>
              <p:nvPr/>
            </p:nvSpPr>
            <p:spPr>
              <a:xfrm>
                <a:off x="22059466" y="6508024"/>
                <a:ext cx="38904" cy="42795"/>
              </a:xfrm>
              <a:custGeom>
                <a:avLst/>
                <a:gdLst>
                  <a:gd name="connsiteX0" fmla="*/ 5447 w 38904"/>
                  <a:gd name="connsiteY0" fmla="*/ 42795 h 42795"/>
                  <a:gd name="connsiteX1" fmla="*/ 2335 w 38904"/>
                  <a:gd name="connsiteY1" fmla="*/ 39683 h 42795"/>
                  <a:gd name="connsiteX2" fmla="*/ 2335 w 38904"/>
                  <a:gd name="connsiteY2" fmla="*/ 30346 h 42795"/>
                  <a:gd name="connsiteX3" fmla="*/ 27234 w 38904"/>
                  <a:gd name="connsiteY3" fmla="*/ 2334 h 42795"/>
                  <a:gd name="connsiteX4" fmla="*/ 36571 w 38904"/>
                  <a:gd name="connsiteY4" fmla="*/ 2334 h 42795"/>
                  <a:gd name="connsiteX5" fmla="*/ 36571 w 38904"/>
                  <a:gd name="connsiteY5" fmla="*/ 11671 h 42795"/>
                  <a:gd name="connsiteX6" fmla="*/ 11672 w 38904"/>
                  <a:gd name="connsiteY6" fmla="*/ 39683 h 42795"/>
                  <a:gd name="connsiteX7" fmla="*/ 5447 w 38904"/>
                  <a:gd name="connsiteY7" fmla="*/ 42795 h 42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904" h="42795">
                    <a:moveTo>
                      <a:pt x="5447" y="42795"/>
                    </a:moveTo>
                    <a:cubicBezTo>
                      <a:pt x="5447" y="42795"/>
                      <a:pt x="2335" y="42795"/>
                      <a:pt x="2335" y="39683"/>
                    </a:cubicBezTo>
                    <a:cubicBezTo>
                      <a:pt x="-778" y="36570"/>
                      <a:pt x="-778" y="33458"/>
                      <a:pt x="2335" y="30346"/>
                    </a:cubicBezTo>
                    <a:lnTo>
                      <a:pt x="27234" y="2334"/>
                    </a:lnTo>
                    <a:cubicBezTo>
                      <a:pt x="30346" y="-778"/>
                      <a:pt x="33459" y="-778"/>
                      <a:pt x="36571" y="2334"/>
                    </a:cubicBezTo>
                    <a:cubicBezTo>
                      <a:pt x="39682" y="5447"/>
                      <a:pt x="39682" y="8559"/>
                      <a:pt x="36571" y="11671"/>
                    </a:cubicBezTo>
                    <a:lnTo>
                      <a:pt x="11672" y="39683"/>
                    </a:lnTo>
                    <a:cubicBezTo>
                      <a:pt x="8558" y="42795"/>
                      <a:pt x="5447" y="42795"/>
                      <a:pt x="5447" y="4279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3495D069-3E2E-47ED-9186-01A4339C6276}"/>
                </a:ext>
              </a:extLst>
            </p:cNvPr>
            <p:cNvSpPr/>
            <p:nvPr/>
          </p:nvSpPr>
          <p:spPr>
            <a:xfrm>
              <a:off x="20754597" y="4057794"/>
              <a:ext cx="1414930" cy="2346743"/>
            </a:xfrm>
            <a:custGeom>
              <a:avLst/>
              <a:gdLst>
                <a:gd name="connsiteX0" fmla="*/ 1406800 w 1414930"/>
                <a:gd name="connsiteY0" fmla="*/ 24899 h 2346743"/>
                <a:gd name="connsiteX1" fmla="*/ 1394351 w 1414930"/>
                <a:gd name="connsiteY1" fmla="*/ 1437925 h 2346743"/>
                <a:gd name="connsiteX2" fmla="*/ 1322767 w 1414930"/>
                <a:gd name="connsiteY2" fmla="*/ 2346743 h 2346743"/>
                <a:gd name="connsiteX3" fmla="*/ 1020864 w 1414930"/>
                <a:gd name="connsiteY3" fmla="*/ 2346743 h 2346743"/>
                <a:gd name="connsiteX4" fmla="*/ 983515 w 1414930"/>
                <a:gd name="connsiteY4" fmla="*/ 1462824 h 2346743"/>
                <a:gd name="connsiteX5" fmla="*/ 899480 w 1414930"/>
                <a:gd name="connsiteY5" fmla="*/ 516657 h 2346743"/>
                <a:gd name="connsiteX6" fmla="*/ 859019 w 1414930"/>
                <a:gd name="connsiteY6" fmla="*/ 1444150 h 2346743"/>
                <a:gd name="connsiteX7" fmla="*/ 821670 w 1414930"/>
                <a:gd name="connsiteY7" fmla="*/ 1543746 h 2346743"/>
                <a:gd name="connsiteX8" fmla="*/ 292564 w 1414930"/>
                <a:gd name="connsiteY8" fmla="*/ 2228472 h 2346743"/>
                <a:gd name="connsiteX9" fmla="*/ 0 w 1414930"/>
                <a:gd name="connsiteY9" fmla="*/ 1982594 h 2346743"/>
                <a:gd name="connsiteX10" fmla="*/ 410834 w 1414930"/>
                <a:gd name="connsiteY10" fmla="*/ 1357003 h 2346743"/>
                <a:gd name="connsiteX11" fmla="*/ 361037 w 1414930"/>
                <a:gd name="connsiteY11" fmla="*/ 0 h 2346743"/>
                <a:gd name="connsiteX12" fmla="*/ 1406800 w 1414930"/>
                <a:gd name="connsiteY12" fmla="*/ 24899 h 2346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14930" h="2346743">
                  <a:moveTo>
                    <a:pt x="1406800" y="24899"/>
                  </a:moveTo>
                  <a:cubicBezTo>
                    <a:pt x="1406800" y="24899"/>
                    <a:pt x="1431700" y="1120461"/>
                    <a:pt x="1394351" y="1437925"/>
                  </a:cubicBezTo>
                  <a:cubicBezTo>
                    <a:pt x="1363227" y="1714928"/>
                    <a:pt x="1322767" y="2346743"/>
                    <a:pt x="1322767" y="2346743"/>
                  </a:cubicBezTo>
                  <a:lnTo>
                    <a:pt x="1020864" y="2346743"/>
                  </a:lnTo>
                  <a:cubicBezTo>
                    <a:pt x="1020864" y="2346743"/>
                    <a:pt x="986627" y="1562421"/>
                    <a:pt x="983515" y="1462824"/>
                  </a:cubicBezTo>
                  <a:cubicBezTo>
                    <a:pt x="977290" y="1319654"/>
                    <a:pt x="915042" y="547781"/>
                    <a:pt x="899480" y="516657"/>
                  </a:cubicBezTo>
                  <a:cubicBezTo>
                    <a:pt x="887032" y="491758"/>
                    <a:pt x="865245" y="1232507"/>
                    <a:pt x="859019" y="1444150"/>
                  </a:cubicBezTo>
                  <a:cubicBezTo>
                    <a:pt x="859019" y="1481499"/>
                    <a:pt x="846569" y="1515735"/>
                    <a:pt x="821670" y="1543746"/>
                  </a:cubicBezTo>
                  <a:lnTo>
                    <a:pt x="292564" y="2228472"/>
                  </a:lnTo>
                  <a:lnTo>
                    <a:pt x="0" y="1982594"/>
                  </a:lnTo>
                  <a:lnTo>
                    <a:pt x="410834" y="1357003"/>
                  </a:lnTo>
                  <a:cubicBezTo>
                    <a:pt x="410834" y="1357003"/>
                    <a:pt x="314351" y="99596"/>
                    <a:pt x="361037" y="0"/>
                  </a:cubicBezTo>
                  <a:cubicBezTo>
                    <a:pt x="1073775" y="37349"/>
                    <a:pt x="1406800" y="24899"/>
                    <a:pt x="1406800" y="24899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66A07AC5-FED7-413B-83A7-4AD525BEAA9C}"/>
                </a:ext>
              </a:extLst>
            </p:cNvPr>
            <p:cNvSpPr/>
            <p:nvPr/>
          </p:nvSpPr>
          <p:spPr>
            <a:xfrm>
              <a:off x="21647852" y="4207189"/>
              <a:ext cx="71586" cy="373487"/>
            </a:xfrm>
            <a:custGeom>
              <a:avLst/>
              <a:gdLst>
                <a:gd name="connsiteX0" fmla="*/ 6225 w 71586"/>
                <a:gd name="connsiteY0" fmla="*/ 373487 h 373487"/>
                <a:gd name="connsiteX1" fmla="*/ 6225 w 71586"/>
                <a:gd name="connsiteY1" fmla="*/ 373487 h 373487"/>
                <a:gd name="connsiteX2" fmla="*/ 0 w 71586"/>
                <a:gd name="connsiteY2" fmla="*/ 364150 h 373487"/>
                <a:gd name="connsiteX3" fmla="*/ 59136 w 71586"/>
                <a:gd name="connsiteY3" fmla="*/ 6225 h 373487"/>
                <a:gd name="connsiteX4" fmla="*/ 65361 w 71586"/>
                <a:gd name="connsiteY4" fmla="*/ 0 h 373487"/>
                <a:gd name="connsiteX5" fmla="*/ 65361 w 71586"/>
                <a:gd name="connsiteY5" fmla="*/ 0 h 373487"/>
                <a:gd name="connsiteX6" fmla="*/ 71587 w 71586"/>
                <a:gd name="connsiteY6" fmla="*/ 6225 h 373487"/>
                <a:gd name="connsiteX7" fmla="*/ 12450 w 71586"/>
                <a:gd name="connsiteY7" fmla="*/ 367262 h 373487"/>
                <a:gd name="connsiteX8" fmla="*/ 6225 w 71586"/>
                <a:gd name="connsiteY8" fmla="*/ 373487 h 373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586" h="373487">
                  <a:moveTo>
                    <a:pt x="6225" y="373487"/>
                  </a:moveTo>
                  <a:cubicBezTo>
                    <a:pt x="6225" y="373487"/>
                    <a:pt x="3114" y="373487"/>
                    <a:pt x="6225" y="373487"/>
                  </a:cubicBezTo>
                  <a:cubicBezTo>
                    <a:pt x="0" y="370375"/>
                    <a:pt x="0" y="367262"/>
                    <a:pt x="0" y="364150"/>
                  </a:cubicBezTo>
                  <a:cubicBezTo>
                    <a:pt x="49799" y="248991"/>
                    <a:pt x="59136" y="9337"/>
                    <a:pt x="59136" y="6225"/>
                  </a:cubicBezTo>
                  <a:cubicBezTo>
                    <a:pt x="59136" y="3112"/>
                    <a:pt x="62248" y="0"/>
                    <a:pt x="65361" y="0"/>
                  </a:cubicBezTo>
                  <a:cubicBezTo>
                    <a:pt x="65361" y="0"/>
                    <a:pt x="65361" y="0"/>
                    <a:pt x="65361" y="0"/>
                  </a:cubicBezTo>
                  <a:cubicBezTo>
                    <a:pt x="68473" y="0"/>
                    <a:pt x="71587" y="3112"/>
                    <a:pt x="71587" y="6225"/>
                  </a:cubicBezTo>
                  <a:cubicBezTo>
                    <a:pt x="71587" y="15562"/>
                    <a:pt x="62248" y="248991"/>
                    <a:pt x="12450" y="367262"/>
                  </a:cubicBezTo>
                  <a:cubicBezTo>
                    <a:pt x="9339" y="373487"/>
                    <a:pt x="9339" y="373487"/>
                    <a:pt x="6225" y="373487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23F972F5-96F5-44A1-903D-8E355D1594E4}"/>
                </a:ext>
              </a:extLst>
            </p:cNvPr>
            <p:cNvSpPr/>
            <p:nvPr/>
          </p:nvSpPr>
          <p:spPr>
            <a:xfrm>
              <a:off x="21677687" y="4135604"/>
              <a:ext cx="160021" cy="364149"/>
            </a:xfrm>
            <a:custGeom>
              <a:avLst/>
              <a:gdLst>
                <a:gd name="connsiteX0" fmla="*/ 7514 w 160021"/>
                <a:gd name="connsiteY0" fmla="*/ 364150 h 364149"/>
                <a:gd name="connsiteX1" fmla="*/ 1289 w 160021"/>
                <a:gd name="connsiteY1" fmla="*/ 361037 h 364149"/>
                <a:gd name="connsiteX2" fmla="*/ 4402 w 160021"/>
                <a:gd name="connsiteY2" fmla="*/ 351700 h 364149"/>
                <a:gd name="connsiteX3" fmla="*/ 113336 w 160021"/>
                <a:gd name="connsiteY3" fmla="*/ 273890 h 364149"/>
                <a:gd name="connsiteX4" fmla="*/ 147572 w 160021"/>
                <a:gd name="connsiteY4" fmla="*/ 6225 h 364149"/>
                <a:gd name="connsiteX5" fmla="*/ 153797 w 160021"/>
                <a:gd name="connsiteY5" fmla="*/ 0 h 364149"/>
                <a:gd name="connsiteX6" fmla="*/ 160022 w 160021"/>
                <a:gd name="connsiteY6" fmla="*/ 6225 h 364149"/>
                <a:gd name="connsiteX7" fmla="*/ 125785 w 160021"/>
                <a:gd name="connsiteY7" fmla="*/ 280115 h 364149"/>
                <a:gd name="connsiteX8" fmla="*/ 13739 w 160021"/>
                <a:gd name="connsiteY8" fmla="*/ 361037 h 364149"/>
                <a:gd name="connsiteX9" fmla="*/ 7514 w 160021"/>
                <a:gd name="connsiteY9" fmla="*/ 364150 h 36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0021" h="364149">
                  <a:moveTo>
                    <a:pt x="7514" y="364150"/>
                  </a:moveTo>
                  <a:cubicBezTo>
                    <a:pt x="4402" y="364150"/>
                    <a:pt x="4402" y="364150"/>
                    <a:pt x="1289" y="361037"/>
                  </a:cubicBezTo>
                  <a:cubicBezTo>
                    <a:pt x="-1823" y="357925"/>
                    <a:pt x="1289" y="354813"/>
                    <a:pt x="4402" y="351700"/>
                  </a:cubicBezTo>
                  <a:cubicBezTo>
                    <a:pt x="44863" y="326801"/>
                    <a:pt x="103999" y="283228"/>
                    <a:pt x="113336" y="273890"/>
                  </a:cubicBezTo>
                  <a:cubicBezTo>
                    <a:pt x="122673" y="261441"/>
                    <a:pt x="138235" y="102709"/>
                    <a:pt x="147572" y="6225"/>
                  </a:cubicBezTo>
                  <a:cubicBezTo>
                    <a:pt x="147572" y="3112"/>
                    <a:pt x="150685" y="0"/>
                    <a:pt x="153797" y="0"/>
                  </a:cubicBezTo>
                  <a:cubicBezTo>
                    <a:pt x="156908" y="0"/>
                    <a:pt x="160022" y="3112"/>
                    <a:pt x="160022" y="6225"/>
                  </a:cubicBezTo>
                  <a:cubicBezTo>
                    <a:pt x="156908" y="49798"/>
                    <a:pt x="135123" y="264553"/>
                    <a:pt x="125785" y="280115"/>
                  </a:cubicBezTo>
                  <a:cubicBezTo>
                    <a:pt x="113336" y="295677"/>
                    <a:pt x="23076" y="354813"/>
                    <a:pt x="13739" y="361037"/>
                  </a:cubicBezTo>
                  <a:cubicBezTo>
                    <a:pt x="7514" y="364150"/>
                    <a:pt x="7514" y="364150"/>
                    <a:pt x="7514" y="364150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9525F208-F1EE-412D-83BB-C94C5DEB8ACF}"/>
                </a:ext>
              </a:extLst>
            </p:cNvPr>
            <p:cNvSpPr/>
            <p:nvPr/>
          </p:nvSpPr>
          <p:spPr>
            <a:xfrm>
              <a:off x="21096960" y="4070243"/>
              <a:ext cx="149394" cy="245879"/>
            </a:xfrm>
            <a:custGeom>
              <a:avLst/>
              <a:gdLst>
                <a:gd name="connsiteX0" fmla="*/ 6223 w 149394"/>
                <a:gd name="connsiteY0" fmla="*/ 245879 h 245879"/>
                <a:gd name="connsiteX1" fmla="*/ 0 w 149394"/>
                <a:gd name="connsiteY1" fmla="*/ 239654 h 245879"/>
                <a:gd name="connsiteX2" fmla="*/ 6223 w 149394"/>
                <a:gd name="connsiteY2" fmla="*/ 233429 h 245879"/>
                <a:gd name="connsiteX3" fmla="*/ 124496 w 149394"/>
                <a:gd name="connsiteY3" fmla="*/ 205418 h 245879"/>
                <a:gd name="connsiteX4" fmla="*/ 136944 w 149394"/>
                <a:gd name="connsiteY4" fmla="*/ 6225 h 245879"/>
                <a:gd name="connsiteX5" fmla="*/ 143169 w 149394"/>
                <a:gd name="connsiteY5" fmla="*/ 0 h 245879"/>
                <a:gd name="connsiteX6" fmla="*/ 143169 w 149394"/>
                <a:gd name="connsiteY6" fmla="*/ 0 h 245879"/>
                <a:gd name="connsiteX7" fmla="*/ 149394 w 149394"/>
                <a:gd name="connsiteY7" fmla="*/ 6225 h 245879"/>
                <a:gd name="connsiteX8" fmla="*/ 133832 w 149394"/>
                <a:gd name="connsiteY8" fmla="*/ 208530 h 245879"/>
                <a:gd name="connsiteX9" fmla="*/ 6223 w 149394"/>
                <a:gd name="connsiteY9" fmla="*/ 245879 h 245879"/>
                <a:gd name="connsiteX10" fmla="*/ 6223 w 149394"/>
                <a:gd name="connsiteY10" fmla="*/ 245879 h 245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9394" h="245879">
                  <a:moveTo>
                    <a:pt x="6223" y="245879"/>
                  </a:moveTo>
                  <a:cubicBezTo>
                    <a:pt x="3112" y="245879"/>
                    <a:pt x="0" y="242767"/>
                    <a:pt x="0" y="239654"/>
                  </a:cubicBezTo>
                  <a:cubicBezTo>
                    <a:pt x="0" y="236542"/>
                    <a:pt x="3112" y="233429"/>
                    <a:pt x="6223" y="233429"/>
                  </a:cubicBezTo>
                  <a:cubicBezTo>
                    <a:pt x="59134" y="227205"/>
                    <a:pt x="121382" y="214755"/>
                    <a:pt x="124496" y="205418"/>
                  </a:cubicBezTo>
                  <a:cubicBezTo>
                    <a:pt x="130719" y="192968"/>
                    <a:pt x="136944" y="77810"/>
                    <a:pt x="136944" y="6225"/>
                  </a:cubicBezTo>
                  <a:cubicBezTo>
                    <a:pt x="136944" y="3113"/>
                    <a:pt x="140058" y="0"/>
                    <a:pt x="143169" y="0"/>
                  </a:cubicBezTo>
                  <a:lnTo>
                    <a:pt x="143169" y="0"/>
                  </a:lnTo>
                  <a:cubicBezTo>
                    <a:pt x="146281" y="0"/>
                    <a:pt x="149394" y="3113"/>
                    <a:pt x="149394" y="6225"/>
                  </a:cubicBezTo>
                  <a:cubicBezTo>
                    <a:pt x="149394" y="24899"/>
                    <a:pt x="146281" y="189856"/>
                    <a:pt x="133832" y="208530"/>
                  </a:cubicBezTo>
                  <a:cubicBezTo>
                    <a:pt x="124496" y="230317"/>
                    <a:pt x="34236" y="242767"/>
                    <a:pt x="6223" y="245879"/>
                  </a:cubicBezTo>
                  <a:cubicBezTo>
                    <a:pt x="6223" y="245879"/>
                    <a:pt x="6223" y="245879"/>
                    <a:pt x="6223" y="245879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6CFBFABF-CEF3-40B5-AFD5-AB976B3C89BB}"/>
                </a:ext>
              </a:extLst>
            </p:cNvPr>
            <p:cNvSpPr/>
            <p:nvPr/>
          </p:nvSpPr>
          <p:spPr>
            <a:xfrm>
              <a:off x="22068025" y="4085805"/>
              <a:ext cx="93371" cy="211642"/>
            </a:xfrm>
            <a:custGeom>
              <a:avLst/>
              <a:gdLst>
                <a:gd name="connsiteX0" fmla="*/ 80923 w 93371"/>
                <a:gd name="connsiteY0" fmla="*/ 208530 h 211642"/>
                <a:gd name="connsiteX1" fmla="*/ 21787 w 93371"/>
                <a:gd name="connsiteY1" fmla="*/ 183631 h 211642"/>
                <a:gd name="connsiteX2" fmla="*/ 0 w 93371"/>
                <a:gd name="connsiteY2" fmla="*/ 6225 h 211642"/>
                <a:gd name="connsiteX3" fmla="*/ 6225 w 93371"/>
                <a:gd name="connsiteY3" fmla="*/ 0 h 211642"/>
                <a:gd name="connsiteX4" fmla="*/ 12450 w 93371"/>
                <a:gd name="connsiteY4" fmla="*/ 6225 h 211642"/>
                <a:gd name="connsiteX5" fmla="*/ 31124 w 93371"/>
                <a:gd name="connsiteY5" fmla="*/ 180519 h 211642"/>
                <a:gd name="connsiteX6" fmla="*/ 87148 w 93371"/>
                <a:gd name="connsiteY6" fmla="*/ 199193 h 211642"/>
                <a:gd name="connsiteX7" fmla="*/ 93372 w 93371"/>
                <a:gd name="connsiteY7" fmla="*/ 205418 h 211642"/>
                <a:gd name="connsiteX8" fmla="*/ 87148 w 93371"/>
                <a:gd name="connsiteY8" fmla="*/ 211643 h 211642"/>
                <a:gd name="connsiteX9" fmla="*/ 80923 w 93371"/>
                <a:gd name="connsiteY9" fmla="*/ 208530 h 2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371" h="211642">
                  <a:moveTo>
                    <a:pt x="80923" y="208530"/>
                  </a:moveTo>
                  <a:cubicBezTo>
                    <a:pt x="65361" y="208530"/>
                    <a:pt x="34237" y="205418"/>
                    <a:pt x="21787" y="183631"/>
                  </a:cubicBezTo>
                  <a:cubicBezTo>
                    <a:pt x="6225" y="155620"/>
                    <a:pt x="0" y="21787"/>
                    <a:pt x="0" y="6225"/>
                  </a:cubicBezTo>
                  <a:cubicBezTo>
                    <a:pt x="0" y="3113"/>
                    <a:pt x="3114" y="0"/>
                    <a:pt x="6225" y="0"/>
                  </a:cubicBezTo>
                  <a:cubicBezTo>
                    <a:pt x="9339" y="0"/>
                    <a:pt x="12450" y="3113"/>
                    <a:pt x="12450" y="6225"/>
                  </a:cubicBezTo>
                  <a:cubicBezTo>
                    <a:pt x="15562" y="46686"/>
                    <a:pt x="21787" y="158732"/>
                    <a:pt x="31124" y="180519"/>
                  </a:cubicBezTo>
                  <a:cubicBezTo>
                    <a:pt x="43574" y="202305"/>
                    <a:pt x="84035" y="199193"/>
                    <a:pt x="87148" y="199193"/>
                  </a:cubicBezTo>
                  <a:cubicBezTo>
                    <a:pt x="90260" y="199193"/>
                    <a:pt x="93372" y="202305"/>
                    <a:pt x="93372" y="205418"/>
                  </a:cubicBezTo>
                  <a:cubicBezTo>
                    <a:pt x="93372" y="208530"/>
                    <a:pt x="90260" y="211643"/>
                    <a:pt x="87148" y="211643"/>
                  </a:cubicBezTo>
                  <a:cubicBezTo>
                    <a:pt x="87148" y="208530"/>
                    <a:pt x="84035" y="208530"/>
                    <a:pt x="80923" y="208530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ADFB8C9D-B760-4B26-BE68-9116B564CCD1}"/>
                </a:ext>
              </a:extLst>
            </p:cNvPr>
            <p:cNvSpPr/>
            <p:nvPr/>
          </p:nvSpPr>
          <p:spPr>
            <a:xfrm>
              <a:off x="21164142" y="5413508"/>
              <a:ext cx="92837" cy="26188"/>
            </a:xfrm>
            <a:custGeom>
              <a:avLst/>
              <a:gdLst>
                <a:gd name="connsiteX0" fmla="*/ 85324 w 92837"/>
                <a:gd name="connsiteY0" fmla="*/ 26188 h 26188"/>
                <a:gd name="connsiteX1" fmla="*/ 85324 w 92837"/>
                <a:gd name="connsiteY1" fmla="*/ 26188 h 26188"/>
                <a:gd name="connsiteX2" fmla="*/ 4402 w 92837"/>
                <a:gd name="connsiteY2" fmla="*/ 10626 h 26188"/>
                <a:gd name="connsiteX3" fmla="*/ 1289 w 92837"/>
                <a:gd name="connsiteY3" fmla="*/ 4402 h 26188"/>
                <a:gd name="connsiteX4" fmla="*/ 7514 w 92837"/>
                <a:gd name="connsiteY4" fmla="*/ 1289 h 26188"/>
                <a:gd name="connsiteX5" fmla="*/ 88437 w 92837"/>
                <a:gd name="connsiteY5" fmla="*/ 16851 h 26188"/>
                <a:gd name="connsiteX6" fmla="*/ 91549 w 92837"/>
                <a:gd name="connsiteY6" fmla="*/ 23076 h 26188"/>
                <a:gd name="connsiteX7" fmla="*/ 85324 w 92837"/>
                <a:gd name="connsiteY7" fmla="*/ 26188 h 26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837" h="26188">
                  <a:moveTo>
                    <a:pt x="85324" y="26188"/>
                  </a:moveTo>
                  <a:cubicBezTo>
                    <a:pt x="85324" y="26188"/>
                    <a:pt x="85324" y="26188"/>
                    <a:pt x="85324" y="26188"/>
                  </a:cubicBezTo>
                  <a:lnTo>
                    <a:pt x="4402" y="10626"/>
                  </a:lnTo>
                  <a:cubicBezTo>
                    <a:pt x="1289" y="10626"/>
                    <a:pt x="-1823" y="7514"/>
                    <a:pt x="1289" y="4402"/>
                  </a:cubicBezTo>
                  <a:cubicBezTo>
                    <a:pt x="1289" y="1289"/>
                    <a:pt x="4402" y="-1823"/>
                    <a:pt x="7514" y="1289"/>
                  </a:cubicBezTo>
                  <a:lnTo>
                    <a:pt x="88437" y="16851"/>
                  </a:lnTo>
                  <a:cubicBezTo>
                    <a:pt x="91549" y="16851"/>
                    <a:pt x="94661" y="19963"/>
                    <a:pt x="91549" y="23076"/>
                  </a:cubicBezTo>
                  <a:cubicBezTo>
                    <a:pt x="91549" y="26188"/>
                    <a:pt x="88437" y="26188"/>
                    <a:pt x="85324" y="26188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" name="图形 1">
              <a:extLst>
                <a:ext uri="{FF2B5EF4-FFF2-40B4-BE49-F238E27FC236}">
                  <a16:creationId xmlns:a16="http://schemas.microsoft.com/office/drawing/2014/main" id="{E9122E4C-5EBE-4EB4-A081-4FCB2377D8F7}"/>
                </a:ext>
              </a:extLst>
            </p:cNvPr>
            <p:cNvGrpSpPr/>
            <p:nvPr/>
          </p:nvGrpSpPr>
          <p:grpSpPr>
            <a:xfrm>
              <a:off x="20744398" y="2541981"/>
              <a:ext cx="1093336" cy="1288843"/>
              <a:chOff x="20744398" y="2541981"/>
              <a:chExt cx="1093336" cy="1288843"/>
            </a:xfrm>
          </p:grpSpPr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01CCE9B1-D4A1-4163-9785-E6C9242CFFDA}"/>
                  </a:ext>
                </a:extLst>
              </p:cNvPr>
              <p:cNvSpPr/>
              <p:nvPr/>
            </p:nvSpPr>
            <p:spPr>
              <a:xfrm>
                <a:off x="20818541" y="2541981"/>
                <a:ext cx="1019192" cy="1288843"/>
              </a:xfrm>
              <a:custGeom>
                <a:avLst/>
                <a:gdLst>
                  <a:gd name="connsiteX0" fmla="*/ 988044 w 1019192"/>
                  <a:gd name="connsiteY0" fmla="*/ 379790 h 1288843"/>
                  <a:gd name="connsiteX1" fmla="*/ 835536 w 1019192"/>
                  <a:gd name="connsiteY1" fmla="*/ 90338 h 1288843"/>
                  <a:gd name="connsiteX2" fmla="*/ 458937 w 1019192"/>
                  <a:gd name="connsiteY2" fmla="*/ 3191 h 1288843"/>
                  <a:gd name="connsiteX3" fmla="*/ 163260 w 1019192"/>
                  <a:gd name="connsiteY3" fmla="*/ 230395 h 1288843"/>
                  <a:gd name="connsiteX4" fmla="*/ 32539 w 1019192"/>
                  <a:gd name="connsiteY4" fmla="*/ 1101865 h 1288843"/>
                  <a:gd name="connsiteX5" fmla="*/ 387353 w 1019192"/>
                  <a:gd name="connsiteY5" fmla="*/ 1288609 h 1288843"/>
                  <a:gd name="connsiteX6" fmla="*/ 1006718 w 1019192"/>
                  <a:gd name="connsiteY6" fmla="*/ 759502 h 1288843"/>
                  <a:gd name="connsiteX7" fmla="*/ 988044 w 1019192"/>
                  <a:gd name="connsiteY7" fmla="*/ 379790 h 1288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9192" h="1288843">
                    <a:moveTo>
                      <a:pt x="988044" y="379790"/>
                    </a:moveTo>
                    <a:cubicBezTo>
                      <a:pt x="963145" y="267744"/>
                      <a:pt x="916459" y="158810"/>
                      <a:pt x="835536" y="90338"/>
                    </a:cubicBezTo>
                    <a:cubicBezTo>
                      <a:pt x="729716" y="78"/>
                      <a:pt x="586545" y="-6147"/>
                      <a:pt x="458937" y="3191"/>
                    </a:cubicBezTo>
                    <a:cubicBezTo>
                      <a:pt x="334442" y="12528"/>
                      <a:pt x="209946" y="146361"/>
                      <a:pt x="163260" y="230395"/>
                    </a:cubicBezTo>
                    <a:cubicBezTo>
                      <a:pt x="57438" y="432701"/>
                      <a:pt x="-57721" y="818637"/>
                      <a:pt x="32539" y="1101865"/>
                    </a:cubicBezTo>
                    <a:cubicBezTo>
                      <a:pt x="69888" y="1213911"/>
                      <a:pt x="287756" y="1279271"/>
                      <a:pt x="387353" y="1288609"/>
                    </a:cubicBezTo>
                    <a:cubicBezTo>
                      <a:pt x="527410" y="1297946"/>
                      <a:pt x="960032" y="1027168"/>
                      <a:pt x="1006718" y="759502"/>
                    </a:cubicBezTo>
                    <a:cubicBezTo>
                      <a:pt x="1031616" y="635006"/>
                      <a:pt x="1016054" y="501173"/>
                      <a:pt x="988044" y="37979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DA2DC2A3-DEEC-4545-87A3-65D4794FC92F}"/>
                  </a:ext>
                </a:extLst>
              </p:cNvPr>
              <p:cNvSpPr/>
              <p:nvPr/>
            </p:nvSpPr>
            <p:spPr>
              <a:xfrm>
                <a:off x="20745977" y="3252541"/>
                <a:ext cx="182912" cy="399603"/>
              </a:xfrm>
              <a:custGeom>
                <a:avLst/>
                <a:gdLst>
                  <a:gd name="connsiteX0" fmla="*/ 182913 w 182912"/>
                  <a:gd name="connsiteY0" fmla="*/ 27154 h 399603"/>
                  <a:gd name="connsiteX1" fmla="*/ 182913 w 182912"/>
                  <a:gd name="connsiteY1" fmla="*/ 391304 h 399603"/>
                  <a:gd name="connsiteX2" fmla="*/ 45967 w 182912"/>
                  <a:gd name="connsiteY2" fmla="*/ 391304 h 399603"/>
                  <a:gd name="connsiteX3" fmla="*/ 17956 w 182912"/>
                  <a:gd name="connsiteY3" fmla="*/ 27154 h 399603"/>
                  <a:gd name="connsiteX4" fmla="*/ 182913 w 182912"/>
                  <a:gd name="connsiteY4" fmla="*/ 27154 h 399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912" h="399603">
                    <a:moveTo>
                      <a:pt x="182913" y="27154"/>
                    </a:moveTo>
                    <a:cubicBezTo>
                      <a:pt x="182913" y="27154"/>
                      <a:pt x="142452" y="229460"/>
                      <a:pt x="182913" y="391304"/>
                    </a:cubicBezTo>
                    <a:cubicBezTo>
                      <a:pt x="182913" y="391304"/>
                      <a:pt x="95766" y="409979"/>
                      <a:pt x="45967" y="391304"/>
                    </a:cubicBezTo>
                    <a:cubicBezTo>
                      <a:pt x="-3831" y="372630"/>
                      <a:pt x="-13168" y="58278"/>
                      <a:pt x="17956" y="27154"/>
                    </a:cubicBezTo>
                    <a:cubicBezTo>
                      <a:pt x="49080" y="-857"/>
                      <a:pt x="154900" y="-16419"/>
                      <a:pt x="182913" y="27154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5F284018-0E1E-4F19-A699-20DB04151F7B}"/>
                  </a:ext>
                </a:extLst>
              </p:cNvPr>
              <p:cNvSpPr/>
              <p:nvPr/>
            </p:nvSpPr>
            <p:spPr>
              <a:xfrm>
                <a:off x="20744398" y="3246969"/>
                <a:ext cx="193829" cy="412438"/>
              </a:xfrm>
              <a:custGeom>
                <a:avLst/>
                <a:gdLst>
                  <a:gd name="connsiteX0" fmla="*/ 106682 w 193829"/>
                  <a:gd name="connsiteY0" fmla="*/ 412438 h 412438"/>
                  <a:gd name="connsiteX1" fmla="*/ 47546 w 193829"/>
                  <a:gd name="connsiteY1" fmla="*/ 403101 h 412438"/>
                  <a:gd name="connsiteX2" fmla="*/ 13311 w 193829"/>
                  <a:gd name="connsiteY2" fmla="*/ 328404 h 412438"/>
                  <a:gd name="connsiteX3" fmla="*/ 19536 w 193829"/>
                  <a:gd name="connsiteY3" fmla="*/ 29614 h 412438"/>
                  <a:gd name="connsiteX4" fmla="*/ 134695 w 193829"/>
                  <a:gd name="connsiteY4" fmla="*/ 1602 h 412438"/>
                  <a:gd name="connsiteX5" fmla="*/ 193829 w 193829"/>
                  <a:gd name="connsiteY5" fmla="*/ 32726 h 412438"/>
                  <a:gd name="connsiteX6" fmla="*/ 193829 w 193829"/>
                  <a:gd name="connsiteY6" fmla="*/ 35839 h 412438"/>
                  <a:gd name="connsiteX7" fmla="*/ 193829 w 193829"/>
                  <a:gd name="connsiteY7" fmla="*/ 38951 h 412438"/>
                  <a:gd name="connsiteX8" fmla="*/ 187604 w 193829"/>
                  <a:gd name="connsiteY8" fmla="*/ 365752 h 412438"/>
                  <a:gd name="connsiteX9" fmla="*/ 181381 w 193829"/>
                  <a:gd name="connsiteY9" fmla="*/ 396876 h 412438"/>
                  <a:gd name="connsiteX10" fmla="*/ 153368 w 193829"/>
                  <a:gd name="connsiteY10" fmla="*/ 412438 h 412438"/>
                  <a:gd name="connsiteX11" fmla="*/ 106682 w 193829"/>
                  <a:gd name="connsiteY11" fmla="*/ 412438 h 412438"/>
                  <a:gd name="connsiteX12" fmla="*/ 112908 w 193829"/>
                  <a:gd name="connsiteY12" fmla="*/ 10940 h 412438"/>
                  <a:gd name="connsiteX13" fmla="*/ 22648 w 193829"/>
                  <a:gd name="connsiteY13" fmla="*/ 35839 h 412438"/>
                  <a:gd name="connsiteX14" fmla="*/ 19536 w 193829"/>
                  <a:gd name="connsiteY14" fmla="*/ 325291 h 412438"/>
                  <a:gd name="connsiteX15" fmla="*/ 47546 w 193829"/>
                  <a:gd name="connsiteY15" fmla="*/ 390651 h 412438"/>
                  <a:gd name="connsiteX16" fmla="*/ 147143 w 193829"/>
                  <a:gd name="connsiteY16" fmla="*/ 396876 h 412438"/>
                  <a:gd name="connsiteX17" fmla="*/ 165819 w 193829"/>
                  <a:gd name="connsiteY17" fmla="*/ 384427 h 412438"/>
                  <a:gd name="connsiteX18" fmla="*/ 172042 w 193829"/>
                  <a:gd name="connsiteY18" fmla="*/ 362640 h 412438"/>
                  <a:gd name="connsiteX19" fmla="*/ 178267 w 193829"/>
                  <a:gd name="connsiteY19" fmla="*/ 32726 h 412438"/>
                  <a:gd name="connsiteX20" fmla="*/ 128470 w 193829"/>
                  <a:gd name="connsiteY20" fmla="*/ 10940 h 412438"/>
                  <a:gd name="connsiteX21" fmla="*/ 112908 w 193829"/>
                  <a:gd name="connsiteY21" fmla="*/ 10940 h 412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93829" h="412438">
                    <a:moveTo>
                      <a:pt x="106682" y="412438"/>
                    </a:moveTo>
                    <a:cubicBezTo>
                      <a:pt x="84895" y="412438"/>
                      <a:pt x="63108" y="409326"/>
                      <a:pt x="47546" y="403101"/>
                    </a:cubicBezTo>
                    <a:cubicBezTo>
                      <a:pt x="31984" y="396876"/>
                      <a:pt x="19536" y="371977"/>
                      <a:pt x="13311" y="328404"/>
                    </a:cubicBezTo>
                    <a:cubicBezTo>
                      <a:pt x="-5363" y="231919"/>
                      <a:pt x="-5363" y="54513"/>
                      <a:pt x="19536" y="29614"/>
                    </a:cubicBezTo>
                    <a:cubicBezTo>
                      <a:pt x="41323" y="7827"/>
                      <a:pt x="91121" y="-4622"/>
                      <a:pt x="134695" y="1602"/>
                    </a:cubicBezTo>
                    <a:cubicBezTo>
                      <a:pt x="162705" y="4715"/>
                      <a:pt x="184492" y="14052"/>
                      <a:pt x="193829" y="32726"/>
                    </a:cubicBezTo>
                    <a:lnTo>
                      <a:pt x="193829" y="35839"/>
                    </a:lnTo>
                    <a:lnTo>
                      <a:pt x="193829" y="38951"/>
                    </a:lnTo>
                    <a:cubicBezTo>
                      <a:pt x="193829" y="42063"/>
                      <a:pt x="159594" y="216357"/>
                      <a:pt x="187604" y="365752"/>
                    </a:cubicBezTo>
                    <a:cubicBezTo>
                      <a:pt x="190717" y="375089"/>
                      <a:pt x="187604" y="387539"/>
                      <a:pt x="181381" y="396876"/>
                    </a:cubicBezTo>
                    <a:cubicBezTo>
                      <a:pt x="175155" y="406213"/>
                      <a:pt x="165819" y="412438"/>
                      <a:pt x="153368" y="412438"/>
                    </a:cubicBezTo>
                    <a:cubicBezTo>
                      <a:pt x="134695" y="409326"/>
                      <a:pt x="122244" y="412438"/>
                      <a:pt x="106682" y="412438"/>
                    </a:cubicBezTo>
                    <a:close/>
                    <a:moveTo>
                      <a:pt x="112908" y="10940"/>
                    </a:moveTo>
                    <a:cubicBezTo>
                      <a:pt x="78670" y="10940"/>
                      <a:pt x="41323" y="20277"/>
                      <a:pt x="22648" y="35839"/>
                    </a:cubicBezTo>
                    <a:cubicBezTo>
                      <a:pt x="3974" y="54513"/>
                      <a:pt x="-2251" y="222582"/>
                      <a:pt x="19536" y="325291"/>
                    </a:cubicBezTo>
                    <a:cubicBezTo>
                      <a:pt x="28873" y="378202"/>
                      <a:pt x="41323" y="387539"/>
                      <a:pt x="47546" y="390651"/>
                    </a:cubicBezTo>
                    <a:cubicBezTo>
                      <a:pt x="75559" y="403101"/>
                      <a:pt x="116019" y="399989"/>
                      <a:pt x="147143" y="396876"/>
                    </a:cubicBezTo>
                    <a:cubicBezTo>
                      <a:pt x="156480" y="396876"/>
                      <a:pt x="162705" y="390651"/>
                      <a:pt x="165819" y="384427"/>
                    </a:cubicBezTo>
                    <a:cubicBezTo>
                      <a:pt x="168930" y="378202"/>
                      <a:pt x="172042" y="371977"/>
                      <a:pt x="172042" y="362640"/>
                    </a:cubicBezTo>
                    <a:cubicBezTo>
                      <a:pt x="147143" y="219470"/>
                      <a:pt x="175155" y="54513"/>
                      <a:pt x="178267" y="32726"/>
                    </a:cubicBezTo>
                    <a:cubicBezTo>
                      <a:pt x="165819" y="17164"/>
                      <a:pt x="144032" y="10940"/>
                      <a:pt x="128470" y="10940"/>
                    </a:cubicBezTo>
                    <a:cubicBezTo>
                      <a:pt x="122244" y="10940"/>
                      <a:pt x="119133" y="10940"/>
                      <a:pt x="112908" y="1094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6416AE95-8C29-4807-8EEE-83639CA00AC4}"/>
                  </a:ext>
                </a:extLst>
              </p:cNvPr>
              <p:cNvSpPr/>
              <p:nvPr/>
            </p:nvSpPr>
            <p:spPr>
              <a:xfrm>
                <a:off x="20794910" y="2749095"/>
                <a:ext cx="264700" cy="402992"/>
              </a:xfrm>
              <a:custGeom>
                <a:avLst/>
                <a:gdLst>
                  <a:gd name="connsiteX0" fmla="*/ 264701 w 264700"/>
                  <a:gd name="connsiteY0" fmla="*/ 63742 h 402992"/>
                  <a:gd name="connsiteX1" fmla="*/ 140205 w 264700"/>
                  <a:gd name="connsiteY1" fmla="*/ 402993 h 402992"/>
                  <a:gd name="connsiteX2" fmla="*/ 9484 w 264700"/>
                  <a:gd name="connsiteY2" fmla="*/ 356307 h 402992"/>
                  <a:gd name="connsiteX3" fmla="*/ 109081 w 264700"/>
                  <a:gd name="connsiteY3" fmla="*/ 4606 h 402992"/>
                  <a:gd name="connsiteX4" fmla="*/ 264701 w 264700"/>
                  <a:gd name="connsiteY4" fmla="*/ 63742 h 402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4700" h="402992">
                    <a:moveTo>
                      <a:pt x="264701" y="63742"/>
                    </a:moveTo>
                    <a:cubicBezTo>
                      <a:pt x="264701" y="63742"/>
                      <a:pt x="155767" y="241148"/>
                      <a:pt x="140205" y="402993"/>
                    </a:cubicBezTo>
                    <a:cubicBezTo>
                      <a:pt x="140205" y="402993"/>
                      <a:pt x="49945" y="390543"/>
                      <a:pt x="9484" y="356307"/>
                    </a:cubicBezTo>
                    <a:cubicBezTo>
                      <a:pt x="-30976" y="322070"/>
                      <a:pt x="68621" y="23281"/>
                      <a:pt x="109081" y="4606"/>
                    </a:cubicBezTo>
                    <a:cubicBezTo>
                      <a:pt x="149542" y="-10956"/>
                      <a:pt x="252251" y="13944"/>
                      <a:pt x="264701" y="63742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EAEC7134-DFBB-434D-B164-A1840A162A82}"/>
                  </a:ext>
                </a:extLst>
              </p:cNvPr>
              <p:cNvSpPr/>
              <p:nvPr/>
            </p:nvSpPr>
            <p:spPr>
              <a:xfrm>
                <a:off x="20785720" y="2744112"/>
                <a:ext cx="277002" cy="407975"/>
              </a:xfrm>
              <a:custGeom>
                <a:avLst/>
                <a:gdLst>
                  <a:gd name="connsiteX0" fmla="*/ 118271 w 277002"/>
                  <a:gd name="connsiteY0" fmla="*/ 407976 h 407975"/>
                  <a:gd name="connsiteX1" fmla="*/ 108934 w 277002"/>
                  <a:gd name="connsiteY1" fmla="*/ 407976 h 407975"/>
                  <a:gd name="connsiteX2" fmla="*/ 12449 w 277002"/>
                  <a:gd name="connsiteY2" fmla="*/ 367515 h 407975"/>
                  <a:gd name="connsiteX3" fmla="*/ 3112 w 277002"/>
                  <a:gd name="connsiteY3" fmla="*/ 286592 h 407975"/>
                  <a:gd name="connsiteX4" fmla="*/ 112046 w 277002"/>
                  <a:gd name="connsiteY4" fmla="*/ 6477 h 407975"/>
                  <a:gd name="connsiteX5" fmla="*/ 230317 w 277002"/>
                  <a:gd name="connsiteY5" fmla="*/ 18927 h 407975"/>
                  <a:gd name="connsiteX6" fmla="*/ 277003 w 277002"/>
                  <a:gd name="connsiteY6" fmla="*/ 68725 h 407975"/>
                  <a:gd name="connsiteX7" fmla="*/ 277003 w 277002"/>
                  <a:gd name="connsiteY7" fmla="*/ 71837 h 407975"/>
                  <a:gd name="connsiteX8" fmla="*/ 277003 w 277002"/>
                  <a:gd name="connsiteY8" fmla="*/ 74950 h 407975"/>
                  <a:gd name="connsiteX9" fmla="*/ 158732 w 277002"/>
                  <a:gd name="connsiteY9" fmla="*/ 379964 h 407975"/>
                  <a:gd name="connsiteX10" fmla="*/ 143170 w 277002"/>
                  <a:gd name="connsiteY10" fmla="*/ 404863 h 407975"/>
                  <a:gd name="connsiteX11" fmla="*/ 118271 w 277002"/>
                  <a:gd name="connsiteY11" fmla="*/ 407976 h 407975"/>
                  <a:gd name="connsiteX12" fmla="*/ 152507 w 277002"/>
                  <a:gd name="connsiteY12" fmla="*/ 12702 h 407975"/>
                  <a:gd name="connsiteX13" fmla="*/ 121383 w 277002"/>
                  <a:gd name="connsiteY13" fmla="*/ 18927 h 407975"/>
                  <a:gd name="connsiteX14" fmla="*/ 18674 w 277002"/>
                  <a:gd name="connsiteY14" fmla="*/ 289705 h 407975"/>
                  <a:gd name="connsiteX15" fmla="*/ 21786 w 277002"/>
                  <a:gd name="connsiteY15" fmla="*/ 361290 h 407975"/>
                  <a:gd name="connsiteX16" fmla="*/ 112046 w 277002"/>
                  <a:gd name="connsiteY16" fmla="*/ 401751 h 407975"/>
                  <a:gd name="connsiteX17" fmla="*/ 133833 w 277002"/>
                  <a:gd name="connsiteY17" fmla="*/ 398638 h 407975"/>
                  <a:gd name="connsiteX18" fmla="*/ 146282 w 277002"/>
                  <a:gd name="connsiteY18" fmla="*/ 379964 h 407975"/>
                  <a:gd name="connsiteX19" fmla="*/ 264554 w 277002"/>
                  <a:gd name="connsiteY19" fmla="*/ 74950 h 407975"/>
                  <a:gd name="connsiteX20" fmla="*/ 224091 w 277002"/>
                  <a:gd name="connsiteY20" fmla="*/ 37601 h 407975"/>
                  <a:gd name="connsiteX21" fmla="*/ 152507 w 277002"/>
                  <a:gd name="connsiteY21" fmla="*/ 12702 h 407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7002" h="407975">
                    <a:moveTo>
                      <a:pt x="118271" y="407976"/>
                    </a:moveTo>
                    <a:cubicBezTo>
                      <a:pt x="115158" y="407976"/>
                      <a:pt x="112046" y="407976"/>
                      <a:pt x="108934" y="407976"/>
                    </a:cubicBezTo>
                    <a:cubicBezTo>
                      <a:pt x="77811" y="401751"/>
                      <a:pt x="37348" y="389301"/>
                      <a:pt x="12449" y="367515"/>
                    </a:cubicBezTo>
                    <a:cubicBezTo>
                      <a:pt x="1" y="358177"/>
                      <a:pt x="-3113" y="330166"/>
                      <a:pt x="3112" y="286592"/>
                    </a:cubicBezTo>
                    <a:cubicBezTo>
                      <a:pt x="18674" y="190108"/>
                      <a:pt x="77811" y="22039"/>
                      <a:pt x="112046" y="6477"/>
                    </a:cubicBezTo>
                    <a:cubicBezTo>
                      <a:pt x="140058" y="-5973"/>
                      <a:pt x="189856" y="252"/>
                      <a:pt x="230317" y="18927"/>
                    </a:cubicBezTo>
                    <a:cubicBezTo>
                      <a:pt x="255215" y="31376"/>
                      <a:pt x="270777" y="46938"/>
                      <a:pt x="277003" y="68725"/>
                    </a:cubicBezTo>
                    <a:lnTo>
                      <a:pt x="277003" y="71837"/>
                    </a:lnTo>
                    <a:lnTo>
                      <a:pt x="277003" y="74950"/>
                    </a:lnTo>
                    <a:cubicBezTo>
                      <a:pt x="277003" y="74950"/>
                      <a:pt x="183631" y="230569"/>
                      <a:pt x="158732" y="379964"/>
                    </a:cubicBezTo>
                    <a:cubicBezTo>
                      <a:pt x="155620" y="389301"/>
                      <a:pt x="149395" y="398638"/>
                      <a:pt x="143170" y="404863"/>
                    </a:cubicBezTo>
                    <a:cubicBezTo>
                      <a:pt x="133833" y="407976"/>
                      <a:pt x="127608" y="407976"/>
                      <a:pt x="118271" y="407976"/>
                    </a:cubicBezTo>
                    <a:close/>
                    <a:moveTo>
                      <a:pt x="152507" y="12702"/>
                    </a:moveTo>
                    <a:cubicBezTo>
                      <a:pt x="140058" y="12702"/>
                      <a:pt x="127608" y="15814"/>
                      <a:pt x="121383" y="18927"/>
                    </a:cubicBezTo>
                    <a:cubicBezTo>
                      <a:pt x="96484" y="28264"/>
                      <a:pt x="34236" y="183883"/>
                      <a:pt x="18674" y="289705"/>
                    </a:cubicBezTo>
                    <a:cubicBezTo>
                      <a:pt x="9338" y="342615"/>
                      <a:pt x="18674" y="358177"/>
                      <a:pt x="21786" y="361290"/>
                    </a:cubicBezTo>
                    <a:cubicBezTo>
                      <a:pt x="43573" y="379964"/>
                      <a:pt x="84034" y="392414"/>
                      <a:pt x="112046" y="401751"/>
                    </a:cubicBezTo>
                    <a:cubicBezTo>
                      <a:pt x="118271" y="404863"/>
                      <a:pt x="127608" y="401751"/>
                      <a:pt x="133833" y="398638"/>
                    </a:cubicBezTo>
                    <a:cubicBezTo>
                      <a:pt x="140058" y="395526"/>
                      <a:pt x="143170" y="386189"/>
                      <a:pt x="146282" y="379964"/>
                    </a:cubicBezTo>
                    <a:cubicBezTo>
                      <a:pt x="171182" y="236794"/>
                      <a:pt x="255215" y="93624"/>
                      <a:pt x="264554" y="74950"/>
                    </a:cubicBezTo>
                    <a:cubicBezTo>
                      <a:pt x="258329" y="56275"/>
                      <a:pt x="239653" y="43826"/>
                      <a:pt x="224091" y="37601"/>
                    </a:cubicBezTo>
                    <a:cubicBezTo>
                      <a:pt x="205418" y="18927"/>
                      <a:pt x="174294" y="12702"/>
                      <a:pt x="152507" y="1270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图形 1">
              <a:extLst>
                <a:ext uri="{FF2B5EF4-FFF2-40B4-BE49-F238E27FC236}">
                  <a16:creationId xmlns:a16="http://schemas.microsoft.com/office/drawing/2014/main" id="{0DD1C504-517B-46BC-A099-E8B5A6A25182}"/>
                </a:ext>
              </a:extLst>
            </p:cNvPr>
            <p:cNvGrpSpPr/>
            <p:nvPr/>
          </p:nvGrpSpPr>
          <p:grpSpPr>
            <a:xfrm>
              <a:off x="20854192" y="2317967"/>
              <a:ext cx="1170428" cy="317464"/>
              <a:chOff x="20854192" y="2317967"/>
              <a:chExt cx="1170428" cy="317464"/>
            </a:xfrm>
          </p:grpSpPr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24291CC6-FB97-4513-A7D3-2DE8DFE0A35D}"/>
                  </a:ext>
                </a:extLst>
              </p:cNvPr>
              <p:cNvSpPr/>
              <p:nvPr/>
            </p:nvSpPr>
            <p:spPr>
              <a:xfrm>
                <a:off x="20941340" y="2321079"/>
                <a:ext cx="1083280" cy="314351"/>
              </a:xfrm>
              <a:custGeom>
                <a:avLst/>
                <a:gdLst>
                  <a:gd name="connsiteX0" fmla="*/ 995965 w 1083280"/>
                  <a:gd name="connsiteY0" fmla="*/ 9337 h 314351"/>
                  <a:gd name="connsiteX1" fmla="*/ 3112 w 1083280"/>
                  <a:gd name="connsiteY1" fmla="*/ 0 h 314351"/>
                  <a:gd name="connsiteX2" fmla="*/ 0 w 1083280"/>
                  <a:gd name="connsiteY2" fmla="*/ 305014 h 314351"/>
                  <a:gd name="connsiteX3" fmla="*/ 992852 w 1083280"/>
                  <a:gd name="connsiteY3" fmla="*/ 314352 h 314351"/>
                  <a:gd name="connsiteX4" fmla="*/ 1083112 w 1083280"/>
                  <a:gd name="connsiteY4" fmla="*/ 161844 h 314351"/>
                  <a:gd name="connsiteX5" fmla="*/ 995965 w 1083280"/>
                  <a:gd name="connsiteY5" fmla="*/ 9337 h 314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83280" h="314351">
                    <a:moveTo>
                      <a:pt x="995965" y="9337"/>
                    </a:moveTo>
                    <a:lnTo>
                      <a:pt x="3112" y="0"/>
                    </a:lnTo>
                    <a:lnTo>
                      <a:pt x="0" y="305014"/>
                    </a:lnTo>
                    <a:lnTo>
                      <a:pt x="992852" y="314352"/>
                    </a:lnTo>
                    <a:cubicBezTo>
                      <a:pt x="1042651" y="314352"/>
                      <a:pt x="1083112" y="245879"/>
                      <a:pt x="1083112" y="161844"/>
                    </a:cubicBezTo>
                    <a:cubicBezTo>
                      <a:pt x="1086224" y="77810"/>
                      <a:pt x="1045763" y="9337"/>
                      <a:pt x="995965" y="9337"/>
                    </a:cubicBezTo>
                    <a:close/>
                  </a:path>
                </a:pathLst>
              </a:custGeom>
              <a:solidFill>
                <a:srgbClr val="F1DDBA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3AAA9F4D-CC83-4B19-B2AD-3644DF9C8E23}"/>
                  </a:ext>
                </a:extLst>
              </p:cNvPr>
              <p:cNvSpPr/>
              <p:nvPr/>
            </p:nvSpPr>
            <p:spPr>
              <a:xfrm>
                <a:off x="20854192" y="2317967"/>
                <a:ext cx="177406" cy="305014"/>
              </a:xfrm>
              <a:custGeom>
                <a:avLst/>
                <a:gdLst>
                  <a:gd name="connsiteX0" fmla="*/ 0 w 177406"/>
                  <a:gd name="connsiteY0" fmla="*/ 152507 h 305014"/>
                  <a:gd name="connsiteX1" fmla="*/ 87148 w 177406"/>
                  <a:gd name="connsiteY1" fmla="*/ 305014 h 305014"/>
                  <a:gd name="connsiteX2" fmla="*/ 177407 w 177406"/>
                  <a:gd name="connsiteY2" fmla="*/ 152507 h 305014"/>
                  <a:gd name="connsiteX3" fmla="*/ 90260 w 177406"/>
                  <a:gd name="connsiteY3" fmla="*/ 0 h 305014"/>
                  <a:gd name="connsiteX4" fmla="*/ 0 w 177406"/>
                  <a:gd name="connsiteY4" fmla="*/ 152507 h 30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406" h="305014">
                    <a:moveTo>
                      <a:pt x="0" y="152507"/>
                    </a:moveTo>
                    <a:cubicBezTo>
                      <a:pt x="0" y="236542"/>
                      <a:pt x="37349" y="305014"/>
                      <a:pt x="87148" y="305014"/>
                    </a:cubicBezTo>
                    <a:cubicBezTo>
                      <a:pt x="136946" y="305014"/>
                      <a:pt x="177407" y="236542"/>
                      <a:pt x="177407" y="152507"/>
                    </a:cubicBezTo>
                    <a:cubicBezTo>
                      <a:pt x="177407" y="68473"/>
                      <a:pt x="140058" y="0"/>
                      <a:pt x="90260" y="0"/>
                    </a:cubicBezTo>
                    <a:cubicBezTo>
                      <a:pt x="40463" y="0"/>
                      <a:pt x="0" y="68473"/>
                      <a:pt x="0" y="152507"/>
                    </a:cubicBezTo>
                    <a:close/>
                  </a:path>
                </a:pathLst>
              </a:custGeom>
              <a:solidFill>
                <a:srgbClr val="E2CCA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BB1D78F2-9368-4060-8594-8E871094C84C}"/>
                  </a:ext>
                </a:extLst>
              </p:cNvPr>
              <p:cNvSpPr/>
              <p:nvPr/>
            </p:nvSpPr>
            <p:spPr>
              <a:xfrm>
                <a:off x="20865960" y="2339753"/>
                <a:ext cx="129479" cy="242766"/>
              </a:xfrm>
              <a:custGeom>
                <a:avLst/>
                <a:gdLst>
                  <a:gd name="connsiteX0" fmla="*/ 69155 w 129479"/>
                  <a:gd name="connsiteY0" fmla="*/ 242767 h 242766"/>
                  <a:gd name="connsiteX1" fmla="*/ 59819 w 129479"/>
                  <a:gd name="connsiteY1" fmla="*/ 242767 h 242766"/>
                  <a:gd name="connsiteX2" fmla="*/ 10019 w 129479"/>
                  <a:gd name="connsiteY2" fmla="*/ 183631 h 242766"/>
                  <a:gd name="connsiteX3" fmla="*/ 72267 w 129479"/>
                  <a:gd name="connsiteY3" fmla="*/ 0 h 242766"/>
                  <a:gd name="connsiteX4" fmla="*/ 78492 w 129479"/>
                  <a:gd name="connsiteY4" fmla="*/ 3112 h 242766"/>
                  <a:gd name="connsiteX5" fmla="*/ 75381 w 129479"/>
                  <a:gd name="connsiteY5" fmla="*/ 9337 h 242766"/>
                  <a:gd name="connsiteX6" fmla="*/ 19356 w 129479"/>
                  <a:gd name="connsiteY6" fmla="*/ 180519 h 242766"/>
                  <a:gd name="connsiteX7" fmla="*/ 59819 w 129479"/>
                  <a:gd name="connsiteY7" fmla="*/ 233429 h 242766"/>
                  <a:gd name="connsiteX8" fmla="*/ 112728 w 129479"/>
                  <a:gd name="connsiteY8" fmla="*/ 199193 h 242766"/>
                  <a:gd name="connsiteX9" fmla="*/ 106504 w 129479"/>
                  <a:gd name="connsiteY9" fmla="*/ 56023 h 242766"/>
                  <a:gd name="connsiteX10" fmla="*/ 78492 w 129479"/>
                  <a:gd name="connsiteY10" fmla="*/ 52911 h 242766"/>
                  <a:gd name="connsiteX11" fmla="*/ 56705 w 129479"/>
                  <a:gd name="connsiteY11" fmla="*/ 105821 h 242766"/>
                  <a:gd name="connsiteX12" fmla="*/ 53593 w 129479"/>
                  <a:gd name="connsiteY12" fmla="*/ 118271 h 242766"/>
                  <a:gd name="connsiteX13" fmla="*/ 72267 w 129479"/>
                  <a:gd name="connsiteY13" fmla="*/ 189856 h 242766"/>
                  <a:gd name="connsiteX14" fmla="*/ 78492 w 129479"/>
                  <a:gd name="connsiteY14" fmla="*/ 189856 h 242766"/>
                  <a:gd name="connsiteX15" fmla="*/ 90943 w 129479"/>
                  <a:gd name="connsiteY15" fmla="*/ 146282 h 242766"/>
                  <a:gd name="connsiteX16" fmla="*/ 87829 w 129479"/>
                  <a:gd name="connsiteY16" fmla="*/ 143170 h 242766"/>
                  <a:gd name="connsiteX17" fmla="*/ 81604 w 129479"/>
                  <a:gd name="connsiteY17" fmla="*/ 149395 h 242766"/>
                  <a:gd name="connsiteX18" fmla="*/ 75381 w 129479"/>
                  <a:gd name="connsiteY18" fmla="*/ 155620 h 242766"/>
                  <a:gd name="connsiteX19" fmla="*/ 69155 w 129479"/>
                  <a:gd name="connsiteY19" fmla="*/ 149395 h 242766"/>
                  <a:gd name="connsiteX20" fmla="*/ 84717 w 129479"/>
                  <a:gd name="connsiteY20" fmla="*/ 130720 h 242766"/>
                  <a:gd name="connsiteX21" fmla="*/ 100279 w 129479"/>
                  <a:gd name="connsiteY21" fmla="*/ 143170 h 242766"/>
                  <a:gd name="connsiteX22" fmla="*/ 84717 w 129479"/>
                  <a:gd name="connsiteY22" fmla="*/ 196081 h 242766"/>
                  <a:gd name="connsiteX23" fmla="*/ 62930 w 129479"/>
                  <a:gd name="connsiteY23" fmla="*/ 199193 h 242766"/>
                  <a:gd name="connsiteX24" fmla="*/ 41143 w 129479"/>
                  <a:gd name="connsiteY24" fmla="*/ 118271 h 242766"/>
                  <a:gd name="connsiteX25" fmla="*/ 41143 w 129479"/>
                  <a:gd name="connsiteY25" fmla="*/ 108934 h 242766"/>
                  <a:gd name="connsiteX26" fmla="*/ 69155 w 129479"/>
                  <a:gd name="connsiteY26" fmla="*/ 46686 h 242766"/>
                  <a:gd name="connsiteX27" fmla="*/ 109616 w 129479"/>
                  <a:gd name="connsiteY27" fmla="*/ 52911 h 242766"/>
                  <a:gd name="connsiteX28" fmla="*/ 118953 w 129479"/>
                  <a:gd name="connsiteY28" fmla="*/ 211643 h 242766"/>
                  <a:gd name="connsiteX29" fmla="*/ 69155 w 129479"/>
                  <a:gd name="connsiteY29" fmla="*/ 242767 h 242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29479" h="242766">
                    <a:moveTo>
                      <a:pt x="69155" y="242767"/>
                    </a:moveTo>
                    <a:cubicBezTo>
                      <a:pt x="66042" y="242767"/>
                      <a:pt x="62930" y="242767"/>
                      <a:pt x="59819" y="242767"/>
                    </a:cubicBezTo>
                    <a:cubicBezTo>
                      <a:pt x="31806" y="236542"/>
                      <a:pt x="16244" y="199193"/>
                      <a:pt x="10019" y="183631"/>
                    </a:cubicBezTo>
                    <a:cubicBezTo>
                      <a:pt x="-14880" y="115158"/>
                      <a:pt x="6908" y="24899"/>
                      <a:pt x="72267" y="0"/>
                    </a:cubicBezTo>
                    <a:cubicBezTo>
                      <a:pt x="75381" y="0"/>
                      <a:pt x="78492" y="0"/>
                      <a:pt x="78492" y="3112"/>
                    </a:cubicBezTo>
                    <a:cubicBezTo>
                      <a:pt x="78492" y="6225"/>
                      <a:pt x="78492" y="9337"/>
                      <a:pt x="75381" y="9337"/>
                    </a:cubicBezTo>
                    <a:cubicBezTo>
                      <a:pt x="10019" y="34236"/>
                      <a:pt x="682" y="124496"/>
                      <a:pt x="19356" y="180519"/>
                    </a:cubicBezTo>
                    <a:cubicBezTo>
                      <a:pt x="22470" y="192968"/>
                      <a:pt x="38031" y="227205"/>
                      <a:pt x="59819" y="233429"/>
                    </a:cubicBezTo>
                    <a:cubicBezTo>
                      <a:pt x="84717" y="239654"/>
                      <a:pt x="103391" y="214755"/>
                      <a:pt x="112728" y="199193"/>
                    </a:cubicBezTo>
                    <a:cubicBezTo>
                      <a:pt x="122066" y="180519"/>
                      <a:pt x="131403" y="80922"/>
                      <a:pt x="106504" y="56023"/>
                    </a:cubicBezTo>
                    <a:cubicBezTo>
                      <a:pt x="103391" y="52911"/>
                      <a:pt x="94054" y="46686"/>
                      <a:pt x="78492" y="52911"/>
                    </a:cubicBezTo>
                    <a:cubicBezTo>
                      <a:pt x="62930" y="59135"/>
                      <a:pt x="59819" y="87147"/>
                      <a:pt x="56705" y="105821"/>
                    </a:cubicBezTo>
                    <a:cubicBezTo>
                      <a:pt x="56705" y="108934"/>
                      <a:pt x="56705" y="112046"/>
                      <a:pt x="53593" y="118271"/>
                    </a:cubicBezTo>
                    <a:cubicBezTo>
                      <a:pt x="47368" y="149395"/>
                      <a:pt x="50480" y="171182"/>
                      <a:pt x="72267" y="189856"/>
                    </a:cubicBezTo>
                    <a:cubicBezTo>
                      <a:pt x="72267" y="189856"/>
                      <a:pt x="75381" y="189856"/>
                      <a:pt x="78492" y="189856"/>
                    </a:cubicBezTo>
                    <a:cubicBezTo>
                      <a:pt x="90943" y="174294"/>
                      <a:pt x="94054" y="164957"/>
                      <a:pt x="90943" y="146282"/>
                    </a:cubicBezTo>
                    <a:cubicBezTo>
                      <a:pt x="90943" y="146282"/>
                      <a:pt x="90943" y="143170"/>
                      <a:pt x="87829" y="143170"/>
                    </a:cubicBezTo>
                    <a:cubicBezTo>
                      <a:pt x="84717" y="143170"/>
                      <a:pt x="81604" y="146282"/>
                      <a:pt x="81604" y="149395"/>
                    </a:cubicBezTo>
                    <a:cubicBezTo>
                      <a:pt x="81604" y="152507"/>
                      <a:pt x="78492" y="155620"/>
                      <a:pt x="75381" y="155620"/>
                    </a:cubicBezTo>
                    <a:cubicBezTo>
                      <a:pt x="72267" y="155620"/>
                      <a:pt x="69155" y="152507"/>
                      <a:pt x="69155" y="149395"/>
                    </a:cubicBezTo>
                    <a:cubicBezTo>
                      <a:pt x="69155" y="140058"/>
                      <a:pt x="75381" y="130720"/>
                      <a:pt x="84717" y="130720"/>
                    </a:cubicBezTo>
                    <a:cubicBezTo>
                      <a:pt x="94054" y="130720"/>
                      <a:pt x="100279" y="133833"/>
                      <a:pt x="100279" y="143170"/>
                    </a:cubicBezTo>
                    <a:cubicBezTo>
                      <a:pt x="103391" y="164957"/>
                      <a:pt x="100279" y="180519"/>
                      <a:pt x="84717" y="196081"/>
                    </a:cubicBezTo>
                    <a:cubicBezTo>
                      <a:pt x="81604" y="202305"/>
                      <a:pt x="69155" y="202305"/>
                      <a:pt x="62930" y="199193"/>
                    </a:cubicBezTo>
                    <a:cubicBezTo>
                      <a:pt x="31806" y="177406"/>
                      <a:pt x="34918" y="146282"/>
                      <a:pt x="41143" y="118271"/>
                    </a:cubicBezTo>
                    <a:cubicBezTo>
                      <a:pt x="41143" y="115158"/>
                      <a:pt x="41143" y="112046"/>
                      <a:pt x="41143" y="108934"/>
                    </a:cubicBezTo>
                    <a:cubicBezTo>
                      <a:pt x="44257" y="87147"/>
                      <a:pt x="47368" y="59135"/>
                      <a:pt x="69155" y="46686"/>
                    </a:cubicBezTo>
                    <a:cubicBezTo>
                      <a:pt x="87829" y="37349"/>
                      <a:pt x="100279" y="43573"/>
                      <a:pt x="109616" y="52911"/>
                    </a:cubicBezTo>
                    <a:cubicBezTo>
                      <a:pt x="140740" y="84035"/>
                      <a:pt x="128290" y="186744"/>
                      <a:pt x="118953" y="211643"/>
                    </a:cubicBezTo>
                    <a:cubicBezTo>
                      <a:pt x="115841" y="224092"/>
                      <a:pt x="94054" y="242767"/>
                      <a:pt x="69155" y="24276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5982FDC6-7981-4F57-AA3A-48F32A676D7F}"/>
                </a:ext>
              </a:extLst>
            </p:cNvPr>
            <p:cNvSpPr/>
            <p:nvPr/>
          </p:nvSpPr>
          <p:spPr>
            <a:xfrm>
              <a:off x="21517133" y="2370877"/>
              <a:ext cx="255214" cy="263630"/>
            </a:xfrm>
            <a:custGeom>
              <a:avLst/>
              <a:gdLst>
                <a:gd name="connsiteX0" fmla="*/ 255215 w 255214"/>
                <a:gd name="connsiteY0" fmla="*/ 40461 h 263630"/>
                <a:gd name="connsiteX1" fmla="*/ 248991 w 255214"/>
                <a:gd name="connsiteY1" fmla="*/ 217867 h 263630"/>
                <a:gd name="connsiteX2" fmla="*/ 0 w 255214"/>
                <a:gd name="connsiteY2" fmla="*/ 208530 h 263630"/>
                <a:gd name="connsiteX3" fmla="*/ 15562 w 255214"/>
                <a:gd name="connsiteY3" fmla="*/ 0 h 263630"/>
                <a:gd name="connsiteX4" fmla="*/ 255215 w 255214"/>
                <a:gd name="connsiteY4" fmla="*/ 40461 h 263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214" h="263630">
                  <a:moveTo>
                    <a:pt x="255215" y="40461"/>
                  </a:moveTo>
                  <a:cubicBezTo>
                    <a:pt x="255215" y="40461"/>
                    <a:pt x="248991" y="143170"/>
                    <a:pt x="248991" y="217867"/>
                  </a:cubicBezTo>
                  <a:cubicBezTo>
                    <a:pt x="248991" y="217867"/>
                    <a:pt x="152506" y="326801"/>
                    <a:pt x="0" y="208530"/>
                  </a:cubicBezTo>
                  <a:cubicBezTo>
                    <a:pt x="0" y="146282"/>
                    <a:pt x="12448" y="65360"/>
                    <a:pt x="15562" y="0"/>
                  </a:cubicBezTo>
                  <a:cubicBezTo>
                    <a:pt x="15562" y="0"/>
                    <a:pt x="202305" y="52911"/>
                    <a:pt x="255215" y="40461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0E231969-15F1-40F9-A0A6-C05EA571ED7C}"/>
                </a:ext>
              </a:extLst>
            </p:cNvPr>
            <p:cNvSpPr/>
            <p:nvPr/>
          </p:nvSpPr>
          <p:spPr>
            <a:xfrm>
              <a:off x="21423761" y="2249494"/>
              <a:ext cx="71584" cy="140057"/>
            </a:xfrm>
            <a:custGeom>
              <a:avLst/>
              <a:gdLst>
                <a:gd name="connsiteX0" fmla="*/ 0 w 71584"/>
                <a:gd name="connsiteY0" fmla="*/ 0 h 140057"/>
                <a:gd name="connsiteX1" fmla="*/ 68471 w 71584"/>
                <a:gd name="connsiteY1" fmla="*/ 140058 h 140057"/>
                <a:gd name="connsiteX2" fmla="*/ 71585 w 71584"/>
                <a:gd name="connsiteY2" fmla="*/ 52911 h 140057"/>
                <a:gd name="connsiteX3" fmla="*/ 0 w 71584"/>
                <a:gd name="connsiteY3" fmla="*/ 0 h 140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584" h="140057">
                  <a:moveTo>
                    <a:pt x="0" y="0"/>
                  </a:moveTo>
                  <a:cubicBezTo>
                    <a:pt x="0" y="0"/>
                    <a:pt x="15562" y="121383"/>
                    <a:pt x="68471" y="140058"/>
                  </a:cubicBezTo>
                  <a:lnTo>
                    <a:pt x="71585" y="529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B2B2B1C7-7479-428A-8FAC-35BA9E5598B0}"/>
                </a:ext>
              </a:extLst>
            </p:cNvPr>
            <p:cNvSpPr/>
            <p:nvPr/>
          </p:nvSpPr>
          <p:spPr>
            <a:xfrm>
              <a:off x="21787448" y="2034739"/>
              <a:ext cx="104777" cy="242779"/>
            </a:xfrm>
            <a:custGeom>
              <a:avLst/>
              <a:gdLst>
                <a:gd name="connsiteX0" fmla="*/ 96946 w 104777"/>
                <a:gd name="connsiteY0" fmla="*/ 0 h 242779"/>
                <a:gd name="connsiteX1" fmla="*/ 56486 w 104777"/>
                <a:gd name="connsiteY1" fmla="*/ 239654 h 242779"/>
                <a:gd name="connsiteX2" fmla="*/ 461 w 104777"/>
                <a:gd name="connsiteY2" fmla="*/ 15562 h 242779"/>
                <a:gd name="connsiteX3" fmla="*/ 96946 w 104777"/>
                <a:gd name="connsiteY3" fmla="*/ 0 h 242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77" h="242779">
                  <a:moveTo>
                    <a:pt x="96946" y="0"/>
                  </a:moveTo>
                  <a:cubicBezTo>
                    <a:pt x="96946" y="0"/>
                    <a:pt x="131182" y="199193"/>
                    <a:pt x="56486" y="239654"/>
                  </a:cubicBezTo>
                  <a:cubicBezTo>
                    <a:pt x="-8876" y="273891"/>
                    <a:pt x="461" y="15562"/>
                    <a:pt x="461" y="15562"/>
                  </a:cubicBezTo>
                  <a:lnTo>
                    <a:pt x="96946" y="0"/>
                  </a:lnTo>
                  <a:close/>
                </a:path>
              </a:pathLst>
            </a:custGeom>
            <a:solidFill>
              <a:srgbClr val="664241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2BA18388-8C50-41D2-9C50-C8E8B98326D6}"/>
                </a:ext>
              </a:extLst>
            </p:cNvPr>
            <p:cNvSpPr/>
            <p:nvPr/>
          </p:nvSpPr>
          <p:spPr>
            <a:xfrm>
              <a:off x="21423761" y="1896401"/>
              <a:ext cx="432221" cy="580913"/>
            </a:xfrm>
            <a:custGeom>
              <a:avLst/>
              <a:gdLst>
                <a:gd name="connsiteX0" fmla="*/ 420173 w 432221"/>
                <a:gd name="connsiteY0" fmla="*/ 185024 h 580913"/>
                <a:gd name="connsiteX1" fmla="*/ 423285 w 432221"/>
                <a:gd name="connsiteY1" fmla="*/ 440240 h 580913"/>
                <a:gd name="connsiteX2" fmla="*/ 261440 w 432221"/>
                <a:gd name="connsiteY2" fmla="*/ 580298 h 580913"/>
                <a:gd name="connsiteX3" fmla="*/ 40461 w 432221"/>
                <a:gd name="connsiteY3" fmla="*/ 437128 h 580913"/>
                <a:gd name="connsiteX4" fmla="*/ 0 w 432221"/>
                <a:gd name="connsiteY4" fmla="*/ 206811 h 580913"/>
                <a:gd name="connsiteX5" fmla="*/ 214754 w 432221"/>
                <a:gd name="connsiteY5" fmla="*/ 1393 h 580913"/>
                <a:gd name="connsiteX6" fmla="*/ 420173 w 432221"/>
                <a:gd name="connsiteY6" fmla="*/ 185024 h 580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221" h="580913">
                  <a:moveTo>
                    <a:pt x="420173" y="185024"/>
                  </a:moveTo>
                  <a:cubicBezTo>
                    <a:pt x="420173" y="185024"/>
                    <a:pt x="445072" y="365543"/>
                    <a:pt x="423285" y="440240"/>
                  </a:cubicBezTo>
                  <a:cubicBezTo>
                    <a:pt x="404611" y="508713"/>
                    <a:pt x="314351" y="574073"/>
                    <a:pt x="261440" y="580298"/>
                  </a:cubicBezTo>
                  <a:cubicBezTo>
                    <a:pt x="192967" y="586523"/>
                    <a:pt x="71585" y="546061"/>
                    <a:pt x="40461" y="437128"/>
                  </a:cubicBezTo>
                  <a:cubicBezTo>
                    <a:pt x="18674" y="362430"/>
                    <a:pt x="0" y="259721"/>
                    <a:pt x="0" y="206811"/>
                  </a:cubicBezTo>
                  <a:cubicBezTo>
                    <a:pt x="0" y="110327"/>
                    <a:pt x="28010" y="29404"/>
                    <a:pt x="214754" y="1393"/>
                  </a:cubicBezTo>
                  <a:cubicBezTo>
                    <a:pt x="301901" y="-14169"/>
                    <a:pt x="401497" y="104102"/>
                    <a:pt x="420173" y="185024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579B21BB-F075-471B-AF69-10B73C79AA70}"/>
                </a:ext>
              </a:extLst>
            </p:cNvPr>
            <p:cNvSpPr/>
            <p:nvPr/>
          </p:nvSpPr>
          <p:spPr>
            <a:xfrm>
              <a:off x="21657190" y="2162347"/>
              <a:ext cx="59134" cy="143170"/>
            </a:xfrm>
            <a:custGeom>
              <a:avLst/>
              <a:gdLst>
                <a:gd name="connsiteX0" fmla="*/ 28010 w 59134"/>
                <a:gd name="connsiteY0" fmla="*/ 143170 h 143170"/>
                <a:gd name="connsiteX1" fmla="*/ 6223 w 59134"/>
                <a:gd name="connsiteY1" fmla="*/ 140058 h 143170"/>
                <a:gd name="connsiteX2" fmla="*/ 0 w 59134"/>
                <a:gd name="connsiteY2" fmla="*/ 133833 h 143170"/>
                <a:gd name="connsiteX3" fmla="*/ 6223 w 59134"/>
                <a:gd name="connsiteY3" fmla="*/ 127608 h 143170"/>
                <a:gd name="connsiteX4" fmla="*/ 46686 w 59134"/>
                <a:gd name="connsiteY4" fmla="*/ 124496 h 143170"/>
                <a:gd name="connsiteX5" fmla="*/ 46686 w 59134"/>
                <a:gd name="connsiteY5" fmla="*/ 121383 h 143170"/>
                <a:gd name="connsiteX6" fmla="*/ 28010 w 59134"/>
                <a:gd name="connsiteY6" fmla="*/ 6225 h 143170"/>
                <a:gd name="connsiteX7" fmla="*/ 34236 w 59134"/>
                <a:gd name="connsiteY7" fmla="*/ 0 h 143170"/>
                <a:gd name="connsiteX8" fmla="*/ 40461 w 59134"/>
                <a:gd name="connsiteY8" fmla="*/ 6225 h 143170"/>
                <a:gd name="connsiteX9" fmla="*/ 59134 w 59134"/>
                <a:gd name="connsiteY9" fmla="*/ 121383 h 143170"/>
                <a:gd name="connsiteX10" fmla="*/ 52909 w 59134"/>
                <a:gd name="connsiteY10" fmla="*/ 133833 h 143170"/>
                <a:gd name="connsiteX11" fmla="*/ 28010 w 59134"/>
                <a:gd name="connsiteY11" fmla="*/ 143170 h 14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134" h="143170">
                  <a:moveTo>
                    <a:pt x="28010" y="143170"/>
                  </a:moveTo>
                  <a:cubicBezTo>
                    <a:pt x="18674" y="143170"/>
                    <a:pt x="9337" y="140058"/>
                    <a:pt x="6223" y="140058"/>
                  </a:cubicBezTo>
                  <a:cubicBezTo>
                    <a:pt x="3112" y="140058"/>
                    <a:pt x="0" y="136945"/>
                    <a:pt x="0" y="133833"/>
                  </a:cubicBezTo>
                  <a:cubicBezTo>
                    <a:pt x="0" y="130720"/>
                    <a:pt x="3112" y="127608"/>
                    <a:pt x="6223" y="127608"/>
                  </a:cubicBezTo>
                  <a:cubicBezTo>
                    <a:pt x="18674" y="130720"/>
                    <a:pt x="40461" y="130720"/>
                    <a:pt x="46686" y="124496"/>
                  </a:cubicBezTo>
                  <a:cubicBezTo>
                    <a:pt x="46686" y="124496"/>
                    <a:pt x="46686" y="121383"/>
                    <a:pt x="46686" y="121383"/>
                  </a:cubicBezTo>
                  <a:cubicBezTo>
                    <a:pt x="46686" y="102709"/>
                    <a:pt x="28010" y="9337"/>
                    <a:pt x="28010" y="6225"/>
                  </a:cubicBezTo>
                  <a:cubicBezTo>
                    <a:pt x="28010" y="3112"/>
                    <a:pt x="28010" y="0"/>
                    <a:pt x="34236" y="0"/>
                  </a:cubicBezTo>
                  <a:cubicBezTo>
                    <a:pt x="37347" y="0"/>
                    <a:pt x="40461" y="0"/>
                    <a:pt x="40461" y="6225"/>
                  </a:cubicBezTo>
                  <a:cubicBezTo>
                    <a:pt x="40461" y="9337"/>
                    <a:pt x="59134" y="102709"/>
                    <a:pt x="59134" y="121383"/>
                  </a:cubicBezTo>
                  <a:cubicBezTo>
                    <a:pt x="59134" y="127608"/>
                    <a:pt x="56023" y="130720"/>
                    <a:pt x="52909" y="133833"/>
                  </a:cubicBezTo>
                  <a:cubicBezTo>
                    <a:pt x="49798" y="140058"/>
                    <a:pt x="37347" y="143170"/>
                    <a:pt x="28010" y="143170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FC480255-54D4-410C-BDA3-ABACCB47AB30}"/>
                </a:ext>
              </a:extLst>
            </p:cNvPr>
            <p:cNvSpPr/>
            <p:nvPr/>
          </p:nvSpPr>
          <p:spPr>
            <a:xfrm>
              <a:off x="21626066" y="2355315"/>
              <a:ext cx="108933" cy="53035"/>
            </a:xfrm>
            <a:custGeom>
              <a:avLst/>
              <a:gdLst>
                <a:gd name="connsiteX0" fmla="*/ 108934 w 108933"/>
                <a:gd name="connsiteY0" fmla="*/ 0 h 53035"/>
                <a:gd name="connsiteX1" fmla="*/ 0 w 108933"/>
                <a:gd name="connsiteY1" fmla="*/ 0 h 53035"/>
                <a:gd name="connsiteX2" fmla="*/ 52909 w 108933"/>
                <a:gd name="connsiteY2" fmla="*/ 52911 h 53035"/>
                <a:gd name="connsiteX3" fmla="*/ 108934 w 108933"/>
                <a:gd name="connsiteY3" fmla="*/ 0 h 53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933" h="53035">
                  <a:moveTo>
                    <a:pt x="108934" y="0"/>
                  </a:moveTo>
                  <a:cubicBezTo>
                    <a:pt x="108934" y="0"/>
                    <a:pt x="52909" y="15562"/>
                    <a:pt x="0" y="0"/>
                  </a:cubicBezTo>
                  <a:cubicBezTo>
                    <a:pt x="0" y="0"/>
                    <a:pt x="3112" y="52911"/>
                    <a:pt x="52909" y="52911"/>
                  </a:cubicBezTo>
                  <a:cubicBezTo>
                    <a:pt x="96483" y="56023"/>
                    <a:pt x="108934" y="0"/>
                    <a:pt x="108934" y="0"/>
                  </a:cubicBezTo>
                  <a:close/>
                </a:path>
              </a:pathLst>
            </a:custGeom>
            <a:solidFill>
              <a:srgbClr val="FFFFFF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51F6996F-5F19-4344-AE68-059873213201}"/>
                </a:ext>
              </a:extLst>
            </p:cNvPr>
            <p:cNvSpPr/>
            <p:nvPr/>
          </p:nvSpPr>
          <p:spPr>
            <a:xfrm>
              <a:off x="21746838" y="2139950"/>
              <a:ext cx="41681" cy="41682"/>
            </a:xfrm>
            <a:custGeom>
              <a:avLst/>
              <a:gdLst>
                <a:gd name="connsiteX0" fmla="*/ 610 w 41681"/>
                <a:gd name="connsiteY0" fmla="*/ 25510 h 41682"/>
                <a:gd name="connsiteX1" fmla="*/ 25509 w 41681"/>
                <a:gd name="connsiteY1" fmla="*/ 41072 h 41682"/>
                <a:gd name="connsiteX2" fmla="*/ 41071 w 41681"/>
                <a:gd name="connsiteY2" fmla="*/ 16172 h 41682"/>
                <a:gd name="connsiteX3" fmla="*/ 16172 w 41681"/>
                <a:gd name="connsiteY3" fmla="*/ 610 h 41682"/>
                <a:gd name="connsiteX4" fmla="*/ 610 w 41681"/>
                <a:gd name="connsiteY4" fmla="*/ 25510 h 41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81" h="41682">
                  <a:moveTo>
                    <a:pt x="610" y="25510"/>
                  </a:moveTo>
                  <a:cubicBezTo>
                    <a:pt x="3724" y="34847"/>
                    <a:pt x="13061" y="44184"/>
                    <a:pt x="25509" y="41072"/>
                  </a:cubicBezTo>
                  <a:cubicBezTo>
                    <a:pt x="34848" y="37959"/>
                    <a:pt x="44185" y="28622"/>
                    <a:pt x="41071" y="16172"/>
                  </a:cubicBezTo>
                  <a:cubicBezTo>
                    <a:pt x="37959" y="6835"/>
                    <a:pt x="28623" y="-2502"/>
                    <a:pt x="16172" y="610"/>
                  </a:cubicBezTo>
                  <a:cubicBezTo>
                    <a:pt x="6835" y="3723"/>
                    <a:pt x="-2501" y="16172"/>
                    <a:pt x="610" y="25510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5BA2BC67-6D27-489D-8889-051B8EE62D17}"/>
                </a:ext>
              </a:extLst>
            </p:cNvPr>
            <p:cNvSpPr/>
            <p:nvPr/>
          </p:nvSpPr>
          <p:spPr>
            <a:xfrm>
              <a:off x="21560095" y="2161737"/>
              <a:ext cx="41681" cy="41682"/>
            </a:xfrm>
            <a:custGeom>
              <a:avLst/>
              <a:gdLst>
                <a:gd name="connsiteX0" fmla="*/ 610 w 41681"/>
                <a:gd name="connsiteY0" fmla="*/ 25510 h 41682"/>
                <a:gd name="connsiteX1" fmla="*/ 25509 w 41681"/>
                <a:gd name="connsiteY1" fmla="*/ 41072 h 41682"/>
                <a:gd name="connsiteX2" fmla="*/ 41071 w 41681"/>
                <a:gd name="connsiteY2" fmla="*/ 16172 h 41682"/>
                <a:gd name="connsiteX3" fmla="*/ 16172 w 41681"/>
                <a:gd name="connsiteY3" fmla="*/ 610 h 41682"/>
                <a:gd name="connsiteX4" fmla="*/ 610 w 41681"/>
                <a:gd name="connsiteY4" fmla="*/ 25510 h 41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81" h="41682">
                  <a:moveTo>
                    <a:pt x="610" y="25510"/>
                  </a:moveTo>
                  <a:cubicBezTo>
                    <a:pt x="3724" y="34847"/>
                    <a:pt x="13061" y="44184"/>
                    <a:pt x="25509" y="41072"/>
                  </a:cubicBezTo>
                  <a:cubicBezTo>
                    <a:pt x="34848" y="37959"/>
                    <a:pt x="44185" y="28622"/>
                    <a:pt x="41071" y="16172"/>
                  </a:cubicBezTo>
                  <a:cubicBezTo>
                    <a:pt x="37959" y="6835"/>
                    <a:pt x="28623" y="-2502"/>
                    <a:pt x="16172" y="610"/>
                  </a:cubicBezTo>
                  <a:cubicBezTo>
                    <a:pt x="6835" y="3723"/>
                    <a:pt x="-2501" y="13060"/>
                    <a:pt x="610" y="25510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BC07EE4E-DDEC-42E3-B8B1-3C6661A8BA6B}"/>
                </a:ext>
              </a:extLst>
            </p:cNvPr>
            <p:cNvSpPr/>
            <p:nvPr/>
          </p:nvSpPr>
          <p:spPr>
            <a:xfrm>
              <a:off x="21718149" y="2090762"/>
              <a:ext cx="93883" cy="34236"/>
            </a:xfrm>
            <a:custGeom>
              <a:avLst/>
              <a:gdLst>
                <a:gd name="connsiteX0" fmla="*/ 88436 w 93883"/>
                <a:gd name="connsiteY0" fmla="*/ 34236 h 34236"/>
                <a:gd name="connsiteX1" fmla="*/ 82211 w 93883"/>
                <a:gd name="connsiteY1" fmla="*/ 31124 h 34236"/>
                <a:gd name="connsiteX2" fmla="*/ 13738 w 93883"/>
                <a:gd name="connsiteY2" fmla="*/ 24899 h 34236"/>
                <a:gd name="connsiteX3" fmla="*/ 1290 w 93883"/>
                <a:gd name="connsiteY3" fmla="*/ 21787 h 34236"/>
                <a:gd name="connsiteX4" fmla="*/ 4401 w 93883"/>
                <a:gd name="connsiteY4" fmla="*/ 9337 h 34236"/>
                <a:gd name="connsiteX5" fmla="*/ 91548 w 93883"/>
                <a:gd name="connsiteY5" fmla="*/ 18674 h 34236"/>
                <a:gd name="connsiteX6" fmla="*/ 91548 w 93883"/>
                <a:gd name="connsiteY6" fmla="*/ 31124 h 34236"/>
                <a:gd name="connsiteX7" fmla="*/ 88436 w 93883"/>
                <a:gd name="connsiteY7" fmla="*/ 34236 h 3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83" h="34236">
                  <a:moveTo>
                    <a:pt x="88436" y="34236"/>
                  </a:moveTo>
                  <a:cubicBezTo>
                    <a:pt x="85323" y="34236"/>
                    <a:pt x="85323" y="34236"/>
                    <a:pt x="82211" y="31124"/>
                  </a:cubicBezTo>
                  <a:cubicBezTo>
                    <a:pt x="54199" y="3112"/>
                    <a:pt x="16852" y="24899"/>
                    <a:pt x="13738" y="24899"/>
                  </a:cubicBezTo>
                  <a:cubicBezTo>
                    <a:pt x="10627" y="28012"/>
                    <a:pt x="4401" y="24899"/>
                    <a:pt x="1290" y="21787"/>
                  </a:cubicBezTo>
                  <a:cubicBezTo>
                    <a:pt x="-1824" y="18674"/>
                    <a:pt x="1290" y="12450"/>
                    <a:pt x="4401" y="9337"/>
                  </a:cubicBezTo>
                  <a:cubicBezTo>
                    <a:pt x="23075" y="0"/>
                    <a:pt x="63538" y="-9337"/>
                    <a:pt x="91548" y="18674"/>
                  </a:cubicBezTo>
                  <a:cubicBezTo>
                    <a:pt x="94661" y="21787"/>
                    <a:pt x="94661" y="28012"/>
                    <a:pt x="91548" y="31124"/>
                  </a:cubicBezTo>
                  <a:cubicBezTo>
                    <a:pt x="91548" y="34236"/>
                    <a:pt x="88436" y="34236"/>
                    <a:pt x="88436" y="34236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81BFFB97-7C01-4D1A-9B70-0105E1DDC507}"/>
                </a:ext>
              </a:extLst>
            </p:cNvPr>
            <p:cNvSpPr/>
            <p:nvPr/>
          </p:nvSpPr>
          <p:spPr>
            <a:xfrm>
              <a:off x="21524134" y="2094191"/>
              <a:ext cx="93883" cy="37031"/>
            </a:xfrm>
            <a:custGeom>
              <a:avLst/>
              <a:gdLst>
                <a:gd name="connsiteX0" fmla="*/ 8560 w 93883"/>
                <a:gd name="connsiteY0" fmla="*/ 37032 h 37031"/>
                <a:gd name="connsiteX1" fmla="*/ 2335 w 93883"/>
                <a:gd name="connsiteY1" fmla="*/ 33920 h 37031"/>
                <a:gd name="connsiteX2" fmla="*/ 2335 w 93883"/>
                <a:gd name="connsiteY2" fmla="*/ 21470 h 37031"/>
                <a:gd name="connsiteX3" fmla="*/ 89482 w 93883"/>
                <a:gd name="connsiteY3" fmla="*/ 12133 h 37031"/>
                <a:gd name="connsiteX4" fmla="*/ 92593 w 93883"/>
                <a:gd name="connsiteY4" fmla="*/ 24582 h 37031"/>
                <a:gd name="connsiteX5" fmla="*/ 80145 w 93883"/>
                <a:gd name="connsiteY5" fmla="*/ 27695 h 37031"/>
                <a:gd name="connsiteX6" fmla="*/ 11672 w 93883"/>
                <a:gd name="connsiteY6" fmla="*/ 33920 h 37031"/>
                <a:gd name="connsiteX7" fmla="*/ 8560 w 93883"/>
                <a:gd name="connsiteY7" fmla="*/ 37032 h 3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83" h="37031">
                  <a:moveTo>
                    <a:pt x="8560" y="37032"/>
                  </a:moveTo>
                  <a:cubicBezTo>
                    <a:pt x="5447" y="37032"/>
                    <a:pt x="5447" y="37032"/>
                    <a:pt x="2335" y="33920"/>
                  </a:cubicBezTo>
                  <a:cubicBezTo>
                    <a:pt x="-778" y="30807"/>
                    <a:pt x="-778" y="24582"/>
                    <a:pt x="2335" y="21470"/>
                  </a:cubicBezTo>
                  <a:cubicBezTo>
                    <a:pt x="14784" y="5908"/>
                    <a:pt x="52133" y="-12766"/>
                    <a:pt x="89482" y="12133"/>
                  </a:cubicBezTo>
                  <a:cubicBezTo>
                    <a:pt x="92593" y="15245"/>
                    <a:pt x="95707" y="18358"/>
                    <a:pt x="92593" y="24582"/>
                  </a:cubicBezTo>
                  <a:cubicBezTo>
                    <a:pt x="89482" y="27695"/>
                    <a:pt x="86370" y="30807"/>
                    <a:pt x="80145" y="27695"/>
                  </a:cubicBezTo>
                  <a:cubicBezTo>
                    <a:pt x="42796" y="2796"/>
                    <a:pt x="14784" y="33920"/>
                    <a:pt x="11672" y="33920"/>
                  </a:cubicBezTo>
                  <a:cubicBezTo>
                    <a:pt x="14784" y="33920"/>
                    <a:pt x="11672" y="37032"/>
                    <a:pt x="8560" y="37032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5C1D4A69-2431-4E2E-8E21-4C4E394863BC}"/>
                </a:ext>
              </a:extLst>
            </p:cNvPr>
            <p:cNvSpPr/>
            <p:nvPr/>
          </p:nvSpPr>
          <p:spPr>
            <a:xfrm>
              <a:off x="21520244" y="2417563"/>
              <a:ext cx="235763" cy="65360"/>
            </a:xfrm>
            <a:custGeom>
              <a:avLst/>
              <a:gdLst>
                <a:gd name="connsiteX0" fmla="*/ 152508 w 235763"/>
                <a:gd name="connsiteY0" fmla="*/ 65360 h 65360"/>
                <a:gd name="connsiteX1" fmla="*/ 3112 w 235763"/>
                <a:gd name="connsiteY1" fmla="*/ 12450 h 65360"/>
                <a:gd name="connsiteX2" fmla="*/ 0 w 235763"/>
                <a:gd name="connsiteY2" fmla="*/ 3112 h 65360"/>
                <a:gd name="connsiteX3" fmla="*/ 9337 w 235763"/>
                <a:gd name="connsiteY3" fmla="*/ 0 h 65360"/>
                <a:gd name="connsiteX4" fmla="*/ 152508 w 235763"/>
                <a:gd name="connsiteY4" fmla="*/ 49798 h 65360"/>
                <a:gd name="connsiteX5" fmla="*/ 152508 w 235763"/>
                <a:gd name="connsiteY5" fmla="*/ 49798 h 65360"/>
                <a:gd name="connsiteX6" fmla="*/ 224093 w 235763"/>
                <a:gd name="connsiteY6" fmla="*/ 24899 h 65360"/>
                <a:gd name="connsiteX7" fmla="*/ 233429 w 235763"/>
                <a:gd name="connsiteY7" fmla="*/ 24899 h 65360"/>
                <a:gd name="connsiteX8" fmla="*/ 233429 w 235763"/>
                <a:gd name="connsiteY8" fmla="*/ 34236 h 65360"/>
                <a:gd name="connsiteX9" fmla="*/ 152508 w 235763"/>
                <a:gd name="connsiteY9" fmla="*/ 65360 h 65360"/>
                <a:gd name="connsiteX10" fmla="*/ 152508 w 235763"/>
                <a:gd name="connsiteY10" fmla="*/ 65360 h 65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5763" h="65360">
                  <a:moveTo>
                    <a:pt x="152508" y="65360"/>
                  </a:moveTo>
                  <a:cubicBezTo>
                    <a:pt x="99597" y="65360"/>
                    <a:pt x="9337" y="15562"/>
                    <a:pt x="3112" y="12450"/>
                  </a:cubicBezTo>
                  <a:cubicBezTo>
                    <a:pt x="0" y="9337"/>
                    <a:pt x="0" y="6225"/>
                    <a:pt x="0" y="3112"/>
                  </a:cubicBezTo>
                  <a:cubicBezTo>
                    <a:pt x="3112" y="0"/>
                    <a:pt x="6225" y="0"/>
                    <a:pt x="9337" y="0"/>
                  </a:cubicBezTo>
                  <a:cubicBezTo>
                    <a:pt x="9337" y="0"/>
                    <a:pt x="102709" y="49798"/>
                    <a:pt x="152508" y="49798"/>
                  </a:cubicBezTo>
                  <a:cubicBezTo>
                    <a:pt x="152508" y="49798"/>
                    <a:pt x="152508" y="49798"/>
                    <a:pt x="152508" y="49798"/>
                  </a:cubicBezTo>
                  <a:cubicBezTo>
                    <a:pt x="192969" y="49798"/>
                    <a:pt x="224093" y="24899"/>
                    <a:pt x="224093" y="24899"/>
                  </a:cubicBezTo>
                  <a:cubicBezTo>
                    <a:pt x="227204" y="21787"/>
                    <a:pt x="230318" y="21787"/>
                    <a:pt x="233429" y="24899"/>
                  </a:cubicBezTo>
                  <a:cubicBezTo>
                    <a:pt x="236541" y="28012"/>
                    <a:pt x="236541" y="31124"/>
                    <a:pt x="233429" y="34236"/>
                  </a:cubicBezTo>
                  <a:cubicBezTo>
                    <a:pt x="230318" y="37349"/>
                    <a:pt x="196080" y="65360"/>
                    <a:pt x="152508" y="65360"/>
                  </a:cubicBezTo>
                  <a:cubicBezTo>
                    <a:pt x="152508" y="65360"/>
                    <a:pt x="152508" y="65360"/>
                    <a:pt x="152508" y="65360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F64D753E-6107-4BFE-9707-797DCEFFE7CF}"/>
                </a:ext>
              </a:extLst>
            </p:cNvPr>
            <p:cNvSpPr/>
            <p:nvPr/>
          </p:nvSpPr>
          <p:spPr>
            <a:xfrm>
              <a:off x="21382976" y="1919581"/>
              <a:ext cx="115481" cy="273890"/>
            </a:xfrm>
            <a:custGeom>
              <a:avLst/>
              <a:gdLst>
                <a:gd name="connsiteX0" fmla="*/ 115481 w 115481"/>
                <a:gd name="connsiteY0" fmla="*/ 130720 h 273890"/>
                <a:gd name="connsiteX1" fmla="*/ 65684 w 115481"/>
                <a:gd name="connsiteY1" fmla="*/ 273890 h 273890"/>
                <a:gd name="connsiteX2" fmla="*/ 6548 w 115481"/>
                <a:gd name="connsiteY2" fmla="*/ 171182 h 273890"/>
                <a:gd name="connsiteX3" fmla="*/ 65684 w 115481"/>
                <a:gd name="connsiteY3" fmla="*/ 0 h 273890"/>
                <a:gd name="connsiteX4" fmla="*/ 115481 w 115481"/>
                <a:gd name="connsiteY4" fmla="*/ 13072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481" h="273890">
                  <a:moveTo>
                    <a:pt x="115481" y="130720"/>
                  </a:moveTo>
                  <a:cubicBezTo>
                    <a:pt x="115481" y="130720"/>
                    <a:pt x="59459" y="242767"/>
                    <a:pt x="65684" y="273890"/>
                  </a:cubicBezTo>
                  <a:cubicBezTo>
                    <a:pt x="65684" y="273890"/>
                    <a:pt x="22110" y="227205"/>
                    <a:pt x="6548" y="171182"/>
                  </a:cubicBezTo>
                  <a:cubicBezTo>
                    <a:pt x="-9014" y="112046"/>
                    <a:pt x="323" y="15562"/>
                    <a:pt x="65684" y="0"/>
                  </a:cubicBezTo>
                  <a:cubicBezTo>
                    <a:pt x="68796" y="3112"/>
                    <a:pt x="75021" y="112046"/>
                    <a:pt x="115481" y="130720"/>
                  </a:cubicBezTo>
                  <a:close/>
                </a:path>
              </a:pathLst>
            </a:custGeom>
            <a:solidFill>
              <a:srgbClr val="664241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E92BEF47-96B2-434A-BEA2-5803DD7708E9}"/>
                </a:ext>
              </a:extLst>
            </p:cNvPr>
            <p:cNvSpPr/>
            <p:nvPr/>
          </p:nvSpPr>
          <p:spPr>
            <a:xfrm>
              <a:off x="21439701" y="1801852"/>
              <a:ext cx="445313" cy="357382"/>
            </a:xfrm>
            <a:custGeom>
              <a:avLst/>
              <a:gdLst>
                <a:gd name="connsiteX0" fmla="*/ 58756 w 445313"/>
                <a:gd name="connsiteY0" fmla="*/ 248449 h 357382"/>
                <a:gd name="connsiteX1" fmla="*/ 183252 w 445313"/>
                <a:gd name="connsiteY1" fmla="*/ 207988 h 357382"/>
                <a:gd name="connsiteX2" fmla="*/ 429132 w 445313"/>
                <a:gd name="connsiteY2" fmla="*/ 357383 h 357382"/>
                <a:gd name="connsiteX3" fmla="*/ 432244 w 445313"/>
                <a:gd name="connsiteY3" fmla="*/ 186201 h 357382"/>
                <a:gd name="connsiteX4" fmla="*/ 338872 w 445313"/>
                <a:gd name="connsiteY4" fmla="*/ 33694 h 357382"/>
                <a:gd name="connsiteX5" fmla="*/ 133455 w 445313"/>
                <a:gd name="connsiteY5" fmla="*/ 18132 h 357382"/>
                <a:gd name="connsiteX6" fmla="*/ 8959 w 445313"/>
                <a:gd name="connsiteY6" fmla="*/ 114616 h 357382"/>
                <a:gd name="connsiteX7" fmla="*/ 58756 w 445313"/>
                <a:gd name="connsiteY7" fmla="*/ 248449 h 357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5313" h="357382">
                  <a:moveTo>
                    <a:pt x="58756" y="248449"/>
                  </a:moveTo>
                  <a:cubicBezTo>
                    <a:pt x="58756" y="248449"/>
                    <a:pt x="155242" y="207988"/>
                    <a:pt x="183252" y="207988"/>
                  </a:cubicBezTo>
                  <a:cubicBezTo>
                    <a:pt x="285961" y="211100"/>
                    <a:pt x="444694" y="282685"/>
                    <a:pt x="429132" y="357383"/>
                  </a:cubicBezTo>
                  <a:cubicBezTo>
                    <a:pt x="429132" y="357383"/>
                    <a:pt x="463367" y="251561"/>
                    <a:pt x="432244" y="186201"/>
                  </a:cubicBezTo>
                  <a:cubicBezTo>
                    <a:pt x="432244" y="186201"/>
                    <a:pt x="432244" y="58593"/>
                    <a:pt x="338872" y="33694"/>
                  </a:cubicBezTo>
                  <a:cubicBezTo>
                    <a:pt x="245500" y="8795"/>
                    <a:pt x="205039" y="-19217"/>
                    <a:pt x="133455" y="18132"/>
                  </a:cubicBezTo>
                  <a:cubicBezTo>
                    <a:pt x="61870" y="58593"/>
                    <a:pt x="15184" y="77267"/>
                    <a:pt x="8959" y="114616"/>
                  </a:cubicBezTo>
                  <a:cubicBezTo>
                    <a:pt x="12071" y="120841"/>
                    <a:pt x="-34615" y="235999"/>
                    <a:pt x="58756" y="248449"/>
                  </a:cubicBezTo>
                  <a:close/>
                </a:path>
              </a:pathLst>
            </a:custGeom>
            <a:solidFill>
              <a:srgbClr val="664241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AE3733A2-45AB-4E92-B316-9248E534F779}"/>
                </a:ext>
              </a:extLst>
            </p:cNvPr>
            <p:cNvSpPr/>
            <p:nvPr/>
          </p:nvSpPr>
          <p:spPr>
            <a:xfrm>
              <a:off x="21385339" y="2162153"/>
              <a:ext cx="80265" cy="112808"/>
            </a:xfrm>
            <a:custGeom>
              <a:avLst/>
              <a:gdLst>
                <a:gd name="connsiteX0" fmla="*/ 66432 w 80265"/>
                <a:gd name="connsiteY0" fmla="*/ 15756 h 112808"/>
                <a:gd name="connsiteX1" fmla="*/ 7298 w 80265"/>
                <a:gd name="connsiteY1" fmla="*/ 6419 h 112808"/>
                <a:gd name="connsiteX2" fmla="*/ 66432 w 80265"/>
                <a:gd name="connsiteY2" fmla="*/ 109128 h 112808"/>
                <a:gd name="connsiteX3" fmla="*/ 66432 w 80265"/>
                <a:gd name="connsiteY3" fmla="*/ 15756 h 112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265" h="112808">
                  <a:moveTo>
                    <a:pt x="66432" y="15756"/>
                  </a:moveTo>
                  <a:cubicBezTo>
                    <a:pt x="66432" y="15756"/>
                    <a:pt x="32197" y="-12255"/>
                    <a:pt x="7298" y="6419"/>
                  </a:cubicBezTo>
                  <a:cubicBezTo>
                    <a:pt x="-17603" y="25094"/>
                    <a:pt x="25972" y="134027"/>
                    <a:pt x="66432" y="109128"/>
                  </a:cubicBezTo>
                  <a:cubicBezTo>
                    <a:pt x="97556" y="90454"/>
                    <a:pt x="66432" y="15756"/>
                    <a:pt x="66432" y="15756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680FC095-52EE-4FC7-A120-CB5FD41461C8}"/>
                </a:ext>
              </a:extLst>
            </p:cNvPr>
            <p:cNvSpPr/>
            <p:nvPr/>
          </p:nvSpPr>
          <p:spPr>
            <a:xfrm>
              <a:off x="21445546" y="2044854"/>
              <a:ext cx="61469" cy="139279"/>
            </a:xfrm>
            <a:custGeom>
              <a:avLst/>
              <a:gdLst>
                <a:gd name="connsiteX0" fmla="*/ 6225 w 61469"/>
                <a:gd name="connsiteY0" fmla="*/ 139280 h 139279"/>
                <a:gd name="connsiteX1" fmla="*/ 6225 w 61469"/>
                <a:gd name="connsiteY1" fmla="*/ 139280 h 139279"/>
                <a:gd name="connsiteX2" fmla="*/ 0 w 61469"/>
                <a:gd name="connsiteY2" fmla="*/ 133055 h 139279"/>
                <a:gd name="connsiteX3" fmla="*/ 49799 w 61469"/>
                <a:gd name="connsiteY3" fmla="*/ 2334 h 139279"/>
                <a:gd name="connsiteX4" fmla="*/ 59136 w 61469"/>
                <a:gd name="connsiteY4" fmla="*/ 2334 h 139279"/>
                <a:gd name="connsiteX5" fmla="*/ 59136 w 61469"/>
                <a:gd name="connsiteY5" fmla="*/ 11671 h 139279"/>
                <a:gd name="connsiteX6" fmla="*/ 12450 w 61469"/>
                <a:gd name="connsiteY6" fmla="*/ 136167 h 139279"/>
                <a:gd name="connsiteX7" fmla="*/ 6225 w 61469"/>
                <a:gd name="connsiteY7" fmla="*/ 139280 h 139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469" h="139279">
                  <a:moveTo>
                    <a:pt x="6225" y="139280"/>
                  </a:moveTo>
                  <a:lnTo>
                    <a:pt x="6225" y="139280"/>
                  </a:lnTo>
                  <a:cubicBezTo>
                    <a:pt x="3114" y="139280"/>
                    <a:pt x="0" y="136167"/>
                    <a:pt x="0" y="133055"/>
                  </a:cubicBezTo>
                  <a:cubicBezTo>
                    <a:pt x="6225" y="67695"/>
                    <a:pt x="46686" y="5447"/>
                    <a:pt x="49799" y="2334"/>
                  </a:cubicBezTo>
                  <a:cubicBezTo>
                    <a:pt x="52911" y="-778"/>
                    <a:pt x="56025" y="-778"/>
                    <a:pt x="59136" y="2334"/>
                  </a:cubicBezTo>
                  <a:cubicBezTo>
                    <a:pt x="62248" y="5447"/>
                    <a:pt x="62248" y="8559"/>
                    <a:pt x="59136" y="11671"/>
                  </a:cubicBezTo>
                  <a:cubicBezTo>
                    <a:pt x="59136" y="11671"/>
                    <a:pt x="15562" y="73919"/>
                    <a:pt x="12450" y="136167"/>
                  </a:cubicBezTo>
                  <a:cubicBezTo>
                    <a:pt x="12450" y="136167"/>
                    <a:pt x="9339" y="139280"/>
                    <a:pt x="6225" y="139280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87FF0D46-7910-427F-B0D5-AF013287B5DB}"/>
                </a:ext>
              </a:extLst>
            </p:cNvPr>
            <p:cNvSpPr/>
            <p:nvPr/>
          </p:nvSpPr>
          <p:spPr>
            <a:xfrm>
              <a:off x="21093846" y="2538947"/>
              <a:ext cx="1093284" cy="1599581"/>
            </a:xfrm>
            <a:custGeom>
              <a:avLst/>
              <a:gdLst>
                <a:gd name="connsiteX0" fmla="*/ 404611 w 1093284"/>
                <a:gd name="connsiteY0" fmla="*/ 0 h 1599581"/>
                <a:gd name="connsiteX1" fmla="*/ 700288 w 1093284"/>
                <a:gd name="connsiteY1" fmla="*/ 0 h 1599581"/>
                <a:gd name="connsiteX2" fmla="*/ 1005302 w 1093284"/>
                <a:gd name="connsiteY2" fmla="*/ 133833 h 1599581"/>
                <a:gd name="connsiteX3" fmla="*/ 1092451 w 1093284"/>
                <a:gd name="connsiteY3" fmla="*/ 1568646 h 1599581"/>
                <a:gd name="connsiteX4" fmla="*/ 0 w 1093284"/>
                <a:gd name="connsiteY4" fmla="*/ 1543746 h 1599581"/>
                <a:gd name="connsiteX5" fmla="*/ 118271 w 1093284"/>
                <a:gd name="connsiteY5" fmla="*/ 105821 h 1599581"/>
                <a:gd name="connsiteX6" fmla="*/ 404611 w 1093284"/>
                <a:gd name="connsiteY6" fmla="*/ 0 h 159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3284" h="1599581">
                  <a:moveTo>
                    <a:pt x="404611" y="0"/>
                  </a:moveTo>
                  <a:cubicBezTo>
                    <a:pt x="404611" y="0"/>
                    <a:pt x="582018" y="56023"/>
                    <a:pt x="700288" y="0"/>
                  </a:cubicBezTo>
                  <a:cubicBezTo>
                    <a:pt x="700288" y="0"/>
                    <a:pt x="980403" y="99597"/>
                    <a:pt x="1005302" y="133833"/>
                  </a:cubicBezTo>
                  <a:cubicBezTo>
                    <a:pt x="1030203" y="168069"/>
                    <a:pt x="1101788" y="1500173"/>
                    <a:pt x="1092451" y="1568646"/>
                  </a:cubicBezTo>
                  <a:cubicBezTo>
                    <a:pt x="1092451" y="1568646"/>
                    <a:pt x="591354" y="1652680"/>
                    <a:pt x="0" y="1543746"/>
                  </a:cubicBezTo>
                  <a:cubicBezTo>
                    <a:pt x="0" y="1179597"/>
                    <a:pt x="74698" y="136945"/>
                    <a:pt x="118271" y="105821"/>
                  </a:cubicBezTo>
                  <a:cubicBezTo>
                    <a:pt x="161845" y="74697"/>
                    <a:pt x="404611" y="0"/>
                    <a:pt x="404611" y="0"/>
                  </a:cubicBezTo>
                  <a:close/>
                </a:path>
              </a:pathLst>
            </a:custGeom>
            <a:solidFill>
              <a:srgbClr val="F6EBE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B450D191-5E0B-435A-853B-8A8752C58C70}"/>
                </a:ext>
              </a:extLst>
            </p:cNvPr>
            <p:cNvSpPr/>
            <p:nvPr/>
          </p:nvSpPr>
          <p:spPr>
            <a:xfrm>
              <a:off x="21937937" y="2627609"/>
              <a:ext cx="460002" cy="624075"/>
            </a:xfrm>
            <a:custGeom>
              <a:avLst/>
              <a:gdLst>
                <a:gd name="connsiteX0" fmla="*/ 64729 w 460002"/>
                <a:gd name="connsiteY0" fmla="*/ 624075 h 624075"/>
                <a:gd name="connsiteX1" fmla="*/ 52278 w 460002"/>
                <a:gd name="connsiteY1" fmla="*/ 10934 h 624075"/>
                <a:gd name="connsiteX2" fmla="*/ 460003 w 460002"/>
                <a:gd name="connsiteY2" fmla="*/ 452894 h 624075"/>
                <a:gd name="connsiteX3" fmla="*/ 64729 w 460002"/>
                <a:gd name="connsiteY3" fmla="*/ 624075 h 62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0002" h="624075">
                  <a:moveTo>
                    <a:pt x="64729" y="624075"/>
                  </a:moveTo>
                  <a:cubicBezTo>
                    <a:pt x="64729" y="624075"/>
                    <a:pt x="-72217" y="91856"/>
                    <a:pt x="52278" y="10934"/>
                  </a:cubicBezTo>
                  <a:cubicBezTo>
                    <a:pt x="198561" y="-82438"/>
                    <a:pt x="460003" y="452894"/>
                    <a:pt x="460003" y="452894"/>
                  </a:cubicBezTo>
                  <a:cubicBezTo>
                    <a:pt x="460003" y="452894"/>
                    <a:pt x="282596" y="605401"/>
                    <a:pt x="64729" y="624075"/>
                  </a:cubicBezTo>
                  <a:close/>
                </a:path>
              </a:pathLst>
            </a:custGeom>
            <a:solidFill>
              <a:srgbClr val="F6EBE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E0528B4E-A4A5-4989-A423-1715C12C1CED}"/>
                </a:ext>
              </a:extLst>
            </p:cNvPr>
            <p:cNvSpPr/>
            <p:nvPr/>
          </p:nvSpPr>
          <p:spPr>
            <a:xfrm>
              <a:off x="22092925" y="2666555"/>
              <a:ext cx="54198" cy="563342"/>
            </a:xfrm>
            <a:custGeom>
              <a:avLst/>
              <a:gdLst>
                <a:gd name="connsiteX0" fmla="*/ 49798 w 54198"/>
                <a:gd name="connsiteY0" fmla="*/ 563343 h 563342"/>
                <a:gd name="connsiteX1" fmla="*/ 43572 w 54198"/>
                <a:gd name="connsiteY1" fmla="*/ 557118 h 563342"/>
                <a:gd name="connsiteX2" fmla="*/ 0 w 54198"/>
                <a:gd name="connsiteY2" fmla="*/ 6225 h 563342"/>
                <a:gd name="connsiteX3" fmla="*/ 3112 w 54198"/>
                <a:gd name="connsiteY3" fmla="*/ 0 h 563342"/>
                <a:gd name="connsiteX4" fmla="*/ 9337 w 54198"/>
                <a:gd name="connsiteY4" fmla="*/ 3112 h 563342"/>
                <a:gd name="connsiteX5" fmla="*/ 52909 w 54198"/>
                <a:gd name="connsiteY5" fmla="*/ 557118 h 563342"/>
                <a:gd name="connsiteX6" fmla="*/ 49798 w 54198"/>
                <a:gd name="connsiteY6" fmla="*/ 563343 h 563342"/>
                <a:gd name="connsiteX7" fmla="*/ 49798 w 54198"/>
                <a:gd name="connsiteY7" fmla="*/ 563343 h 563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198" h="563342">
                  <a:moveTo>
                    <a:pt x="49798" y="563343"/>
                  </a:moveTo>
                  <a:cubicBezTo>
                    <a:pt x="46686" y="563343"/>
                    <a:pt x="43572" y="560231"/>
                    <a:pt x="43572" y="557118"/>
                  </a:cubicBezTo>
                  <a:cubicBezTo>
                    <a:pt x="43572" y="550893"/>
                    <a:pt x="6223" y="46686"/>
                    <a:pt x="0" y="6225"/>
                  </a:cubicBezTo>
                  <a:cubicBezTo>
                    <a:pt x="0" y="3112"/>
                    <a:pt x="0" y="0"/>
                    <a:pt x="3112" y="0"/>
                  </a:cubicBezTo>
                  <a:cubicBezTo>
                    <a:pt x="6223" y="0"/>
                    <a:pt x="9337" y="0"/>
                    <a:pt x="9337" y="3112"/>
                  </a:cubicBezTo>
                  <a:cubicBezTo>
                    <a:pt x="18674" y="43573"/>
                    <a:pt x="52909" y="535331"/>
                    <a:pt x="52909" y="557118"/>
                  </a:cubicBezTo>
                  <a:cubicBezTo>
                    <a:pt x="56023" y="560231"/>
                    <a:pt x="52909" y="560231"/>
                    <a:pt x="49798" y="563343"/>
                  </a:cubicBezTo>
                  <a:lnTo>
                    <a:pt x="49798" y="563343"/>
                  </a:ln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8DF537AF-902A-4F9D-A102-AB3C1EEB14D2}"/>
                </a:ext>
              </a:extLst>
            </p:cNvPr>
            <p:cNvGrpSpPr/>
            <p:nvPr/>
          </p:nvGrpSpPr>
          <p:grpSpPr>
            <a:xfrm>
              <a:off x="22033789" y="2906209"/>
              <a:ext cx="432623" cy="413948"/>
              <a:chOff x="22033789" y="2906209"/>
              <a:chExt cx="432623" cy="413948"/>
            </a:xfrm>
          </p:grpSpPr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7D8E7B74-2BD1-44C6-8395-95D43347EAEE}"/>
                  </a:ext>
                </a:extLst>
              </p:cNvPr>
              <p:cNvSpPr/>
              <p:nvPr/>
            </p:nvSpPr>
            <p:spPr>
              <a:xfrm>
                <a:off x="22273444" y="2906209"/>
                <a:ext cx="192968" cy="367262"/>
              </a:xfrm>
              <a:custGeom>
                <a:avLst/>
                <a:gdLst>
                  <a:gd name="connsiteX0" fmla="*/ 28010 w 192968"/>
                  <a:gd name="connsiteY0" fmla="*/ 367262 h 367262"/>
                  <a:gd name="connsiteX1" fmla="*/ 168068 w 192968"/>
                  <a:gd name="connsiteY1" fmla="*/ 367262 h 367262"/>
                  <a:gd name="connsiteX2" fmla="*/ 192969 w 192968"/>
                  <a:gd name="connsiteY2" fmla="*/ 342363 h 367262"/>
                  <a:gd name="connsiteX3" fmla="*/ 192969 w 192968"/>
                  <a:gd name="connsiteY3" fmla="*/ 24899 h 367262"/>
                  <a:gd name="connsiteX4" fmla="*/ 168068 w 192968"/>
                  <a:gd name="connsiteY4" fmla="*/ 0 h 367262"/>
                  <a:gd name="connsiteX5" fmla="*/ 24899 w 192968"/>
                  <a:gd name="connsiteY5" fmla="*/ 0 h 367262"/>
                  <a:gd name="connsiteX6" fmla="*/ 0 w 192968"/>
                  <a:gd name="connsiteY6" fmla="*/ 24899 h 367262"/>
                  <a:gd name="connsiteX7" fmla="*/ 0 w 192968"/>
                  <a:gd name="connsiteY7" fmla="*/ 342363 h 367262"/>
                  <a:gd name="connsiteX8" fmla="*/ 28010 w 192968"/>
                  <a:gd name="connsiteY8" fmla="*/ 367262 h 367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2968" h="367262">
                    <a:moveTo>
                      <a:pt x="28010" y="367262"/>
                    </a:moveTo>
                    <a:lnTo>
                      <a:pt x="168068" y="367262"/>
                    </a:lnTo>
                    <a:cubicBezTo>
                      <a:pt x="180518" y="367262"/>
                      <a:pt x="192969" y="357925"/>
                      <a:pt x="192969" y="342363"/>
                    </a:cubicBezTo>
                    <a:lnTo>
                      <a:pt x="192969" y="24899"/>
                    </a:lnTo>
                    <a:cubicBezTo>
                      <a:pt x="192969" y="12450"/>
                      <a:pt x="183630" y="0"/>
                      <a:pt x="168068" y="0"/>
                    </a:cubicBezTo>
                    <a:lnTo>
                      <a:pt x="24899" y="0"/>
                    </a:lnTo>
                    <a:cubicBezTo>
                      <a:pt x="12448" y="0"/>
                      <a:pt x="0" y="9337"/>
                      <a:pt x="0" y="24899"/>
                    </a:cubicBezTo>
                    <a:lnTo>
                      <a:pt x="0" y="342363"/>
                    </a:lnTo>
                    <a:cubicBezTo>
                      <a:pt x="3112" y="354813"/>
                      <a:pt x="12448" y="367262"/>
                      <a:pt x="28010" y="36726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FAE4B94B-977D-4818-B36A-7CEEB5625A6E}"/>
                  </a:ext>
                </a:extLst>
              </p:cNvPr>
              <p:cNvSpPr/>
              <p:nvPr/>
            </p:nvSpPr>
            <p:spPr>
              <a:xfrm>
                <a:off x="22052463" y="2909321"/>
                <a:ext cx="392162" cy="410835"/>
              </a:xfrm>
              <a:custGeom>
                <a:avLst/>
                <a:gdLst>
                  <a:gd name="connsiteX0" fmla="*/ 239655 w 392162"/>
                  <a:gd name="connsiteY0" fmla="*/ 0 h 410835"/>
                  <a:gd name="connsiteX1" fmla="*/ 0 w 392162"/>
                  <a:gd name="connsiteY1" fmla="*/ 46686 h 410835"/>
                  <a:gd name="connsiteX2" fmla="*/ 130721 w 392162"/>
                  <a:gd name="connsiteY2" fmla="*/ 93372 h 410835"/>
                  <a:gd name="connsiteX3" fmla="*/ 155620 w 392162"/>
                  <a:gd name="connsiteY3" fmla="*/ 410836 h 410835"/>
                  <a:gd name="connsiteX4" fmla="*/ 392163 w 392162"/>
                  <a:gd name="connsiteY4" fmla="*/ 361037 h 410835"/>
                  <a:gd name="connsiteX5" fmla="*/ 367264 w 392162"/>
                  <a:gd name="connsiteY5" fmla="*/ 124496 h 410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2162" h="410835">
                    <a:moveTo>
                      <a:pt x="239655" y="0"/>
                    </a:moveTo>
                    <a:lnTo>
                      <a:pt x="0" y="46686"/>
                    </a:lnTo>
                    <a:lnTo>
                      <a:pt x="130721" y="93372"/>
                    </a:lnTo>
                    <a:lnTo>
                      <a:pt x="155620" y="410836"/>
                    </a:lnTo>
                    <a:lnTo>
                      <a:pt x="392163" y="361037"/>
                    </a:lnTo>
                    <a:lnTo>
                      <a:pt x="367264" y="124496"/>
                    </a:ln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5DCEB314-FCE6-40D1-8598-88003D6D007D}"/>
                  </a:ext>
                </a:extLst>
              </p:cNvPr>
              <p:cNvSpPr/>
              <p:nvPr/>
            </p:nvSpPr>
            <p:spPr>
              <a:xfrm>
                <a:off x="22033789" y="2956007"/>
                <a:ext cx="189855" cy="364149"/>
              </a:xfrm>
              <a:custGeom>
                <a:avLst/>
                <a:gdLst>
                  <a:gd name="connsiteX0" fmla="*/ 24899 w 189855"/>
                  <a:gd name="connsiteY0" fmla="*/ 364150 h 364149"/>
                  <a:gd name="connsiteX1" fmla="*/ 164956 w 189855"/>
                  <a:gd name="connsiteY1" fmla="*/ 364150 h 364149"/>
                  <a:gd name="connsiteX2" fmla="*/ 189855 w 189855"/>
                  <a:gd name="connsiteY2" fmla="*/ 339251 h 364149"/>
                  <a:gd name="connsiteX3" fmla="*/ 189855 w 189855"/>
                  <a:gd name="connsiteY3" fmla="*/ 24899 h 364149"/>
                  <a:gd name="connsiteX4" fmla="*/ 164956 w 189855"/>
                  <a:gd name="connsiteY4" fmla="*/ 0 h 364149"/>
                  <a:gd name="connsiteX5" fmla="*/ 24899 w 189855"/>
                  <a:gd name="connsiteY5" fmla="*/ 0 h 364149"/>
                  <a:gd name="connsiteX6" fmla="*/ 0 w 189855"/>
                  <a:gd name="connsiteY6" fmla="*/ 24899 h 364149"/>
                  <a:gd name="connsiteX7" fmla="*/ 0 w 189855"/>
                  <a:gd name="connsiteY7" fmla="*/ 342363 h 364149"/>
                  <a:gd name="connsiteX8" fmla="*/ 24899 w 189855"/>
                  <a:gd name="connsiteY8" fmla="*/ 364150 h 364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9855" h="364149">
                    <a:moveTo>
                      <a:pt x="24899" y="364150"/>
                    </a:moveTo>
                    <a:lnTo>
                      <a:pt x="164956" y="364150"/>
                    </a:lnTo>
                    <a:cubicBezTo>
                      <a:pt x="177407" y="364150"/>
                      <a:pt x="189855" y="354813"/>
                      <a:pt x="189855" y="339251"/>
                    </a:cubicBezTo>
                    <a:lnTo>
                      <a:pt x="189855" y="24899"/>
                    </a:lnTo>
                    <a:cubicBezTo>
                      <a:pt x="189855" y="12449"/>
                      <a:pt x="180518" y="0"/>
                      <a:pt x="164956" y="0"/>
                    </a:cubicBezTo>
                    <a:lnTo>
                      <a:pt x="24899" y="0"/>
                    </a:lnTo>
                    <a:cubicBezTo>
                      <a:pt x="12450" y="0"/>
                      <a:pt x="0" y="9337"/>
                      <a:pt x="0" y="24899"/>
                    </a:cubicBezTo>
                    <a:lnTo>
                      <a:pt x="0" y="342363"/>
                    </a:lnTo>
                    <a:cubicBezTo>
                      <a:pt x="3112" y="354813"/>
                      <a:pt x="12450" y="364150"/>
                      <a:pt x="24899" y="36415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53897257-14FF-4798-A71A-7B7813AB8993}"/>
                </a:ext>
              </a:extLst>
            </p:cNvPr>
            <p:cNvSpPr/>
            <p:nvPr/>
          </p:nvSpPr>
          <p:spPr>
            <a:xfrm>
              <a:off x="21822147" y="3022804"/>
              <a:ext cx="221189" cy="154182"/>
            </a:xfrm>
            <a:custGeom>
              <a:avLst/>
              <a:gdLst>
                <a:gd name="connsiteX0" fmla="*/ 0 w 221189"/>
                <a:gd name="connsiteY0" fmla="*/ 154183 h 154182"/>
                <a:gd name="connsiteX1" fmla="*/ 77810 w 221189"/>
                <a:gd name="connsiteY1" fmla="*/ 7900 h 154182"/>
                <a:gd name="connsiteX2" fmla="*/ 220979 w 221189"/>
                <a:gd name="connsiteY2" fmla="*/ 20350 h 154182"/>
                <a:gd name="connsiteX3" fmla="*/ 74696 w 221189"/>
                <a:gd name="connsiteY3" fmla="*/ 116834 h 154182"/>
                <a:gd name="connsiteX4" fmla="*/ 0 w 221189"/>
                <a:gd name="connsiteY4" fmla="*/ 154183 h 15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189" h="154182">
                  <a:moveTo>
                    <a:pt x="0" y="154183"/>
                  </a:moveTo>
                  <a:cubicBezTo>
                    <a:pt x="0" y="154183"/>
                    <a:pt x="40461" y="20350"/>
                    <a:pt x="77810" y="7900"/>
                  </a:cubicBezTo>
                  <a:cubicBezTo>
                    <a:pt x="130721" y="-10774"/>
                    <a:pt x="214754" y="7900"/>
                    <a:pt x="220979" y="20350"/>
                  </a:cubicBezTo>
                  <a:cubicBezTo>
                    <a:pt x="227204" y="32799"/>
                    <a:pt x="93372" y="104385"/>
                    <a:pt x="74696" y="116834"/>
                  </a:cubicBezTo>
                  <a:cubicBezTo>
                    <a:pt x="59134" y="129284"/>
                    <a:pt x="0" y="154183"/>
                    <a:pt x="0" y="154183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3" name="图形 1">
              <a:extLst>
                <a:ext uri="{FF2B5EF4-FFF2-40B4-BE49-F238E27FC236}">
                  <a16:creationId xmlns:a16="http://schemas.microsoft.com/office/drawing/2014/main" id="{1B75BA22-2CDF-4C90-A479-008C96F4D654}"/>
                </a:ext>
              </a:extLst>
            </p:cNvPr>
            <p:cNvGrpSpPr/>
            <p:nvPr/>
          </p:nvGrpSpPr>
          <p:grpSpPr>
            <a:xfrm>
              <a:off x="22406650" y="2897037"/>
              <a:ext cx="85160" cy="188610"/>
              <a:chOff x="22406650" y="2897037"/>
              <a:chExt cx="85160" cy="188610"/>
            </a:xfrm>
          </p:grpSpPr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189E6848-3343-4676-8D9E-A150D63F5201}"/>
                  </a:ext>
                </a:extLst>
              </p:cNvPr>
              <p:cNvSpPr/>
              <p:nvPr/>
            </p:nvSpPr>
            <p:spPr>
              <a:xfrm>
                <a:off x="22411456" y="2903096"/>
                <a:ext cx="76741" cy="182551"/>
              </a:xfrm>
              <a:custGeom>
                <a:avLst/>
                <a:gdLst>
                  <a:gd name="connsiteX0" fmla="*/ 67405 w 76741"/>
                  <a:gd name="connsiteY0" fmla="*/ 43573 h 182551"/>
                  <a:gd name="connsiteX1" fmla="*/ 67405 w 76741"/>
                  <a:gd name="connsiteY1" fmla="*/ 43573 h 182551"/>
                  <a:gd name="connsiteX2" fmla="*/ 67405 w 76741"/>
                  <a:gd name="connsiteY2" fmla="*/ 40461 h 182551"/>
                  <a:gd name="connsiteX3" fmla="*/ 61180 w 76741"/>
                  <a:gd name="connsiteY3" fmla="*/ 3112 h 182551"/>
                  <a:gd name="connsiteX4" fmla="*/ 54956 w 76741"/>
                  <a:gd name="connsiteY4" fmla="*/ 0 h 182551"/>
                  <a:gd name="connsiteX5" fmla="*/ 48731 w 76741"/>
                  <a:gd name="connsiteY5" fmla="*/ 3112 h 182551"/>
                  <a:gd name="connsiteX6" fmla="*/ 5157 w 76741"/>
                  <a:gd name="connsiteY6" fmla="*/ 28011 h 182551"/>
                  <a:gd name="connsiteX7" fmla="*/ 2045 w 76741"/>
                  <a:gd name="connsiteY7" fmla="*/ 65360 h 182551"/>
                  <a:gd name="connsiteX8" fmla="*/ 11382 w 76741"/>
                  <a:gd name="connsiteY8" fmla="*/ 74697 h 182551"/>
                  <a:gd name="connsiteX9" fmla="*/ 11382 w 76741"/>
                  <a:gd name="connsiteY9" fmla="*/ 108934 h 182551"/>
                  <a:gd name="connsiteX10" fmla="*/ 17607 w 76741"/>
                  <a:gd name="connsiteY10" fmla="*/ 115159 h 182551"/>
                  <a:gd name="connsiteX11" fmla="*/ 14494 w 76741"/>
                  <a:gd name="connsiteY11" fmla="*/ 146282 h 182551"/>
                  <a:gd name="connsiteX12" fmla="*/ 23832 w 76741"/>
                  <a:gd name="connsiteY12" fmla="*/ 152507 h 182551"/>
                  <a:gd name="connsiteX13" fmla="*/ 20719 w 76741"/>
                  <a:gd name="connsiteY13" fmla="*/ 177406 h 182551"/>
                  <a:gd name="connsiteX14" fmla="*/ 33169 w 76741"/>
                  <a:gd name="connsiteY14" fmla="*/ 180519 h 182551"/>
                  <a:gd name="connsiteX15" fmla="*/ 51843 w 76741"/>
                  <a:gd name="connsiteY15" fmla="*/ 171182 h 182551"/>
                  <a:gd name="connsiteX16" fmla="*/ 64293 w 76741"/>
                  <a:gd name="connsiteY16" fmla="*/ 155620 h 182551"/>
                  <a:gd name="connsiteX17" fmla="*/ 61180 w 76741"/>
                  <a:gd name="connsiteY17" fmla="*/ 133833 h 182551"/>
                  <a:gd name="connsiteX18" fmla="*/ 70518 w 76741"/>
                  <a:gd name="connsiteY18" fmla="*/ 115159 h 182551"/>
                  <a:gd name="connsiteX19" fmla="*/ 70518 w 76741"/>
                  <a:gd name="connsiteY19" fmla="*/ 90259 h 182551"/>
                  <a:gd name="connsiteX20" fmla="*/ 76742 w 76741"/>
                  <a:gd name="connsiteY20" fmla="*/ 77810 h 182551"/>
                  <a:gd name="connsiteX21" fmla="*/ 67405 w 76741"/>
                  <a:gd name="connsiteY21" fmla="*/ 43573 h 182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6741" h="182551">
                    <a:moveTo>
                      <a:pt x="67405" y="43573"/>
                    </a:moveTo>
                    <a:cubicBezTo>
                      <a:pt x="67405" y="43573"/>
                      <a:pt x="67405" y="43573"/>
                      <a:pt x="67405" y="43573"/>
                    </a:cubicBezTo>
                    <a:cubicBezTo>
                      <a:pt x="64293" y="40461"/>
                      <a:pt x="67405" y="40461"/>
                      <a:pt x="67405" y="40461"/>
                    </a:cubicBezTo>
                    <a:cubicBezTo>
                      <a:pt x="70518" y="24899"/>
                      <a:pt x="67405" y="6225"/>
                      <a:pt x="61180" y="3112"/>
                    </a:cubicBezTo>
                    <a:cubicBezTo>
                      <a:pt x="58068" y="0"/>
                      <a:pt x="58068" y="0"/>
                      <a:pt x="54956" y="0"/>
                    </a:cubicBezTo>
                    <a:cubicBezTo>
                      <a:pt x="54956" y="0"/>
                      <a:pt x="48731" y="3112"/>
                      <a:pt x="48731" y="3112"/>
                    </a:cubicBezTo>
                    <a:cubicBezTo>
                      <a:pt x="33169" y="9337"/>
                      <a:pt x="14494" y="9337"/>
                      <a:pt x="5157" y="28011"/>
                    </a:cubicBezTo>
                    <a:cubicBezTo>
                      <a:pt x="-1068" y="37349"/>
                      <a:pt x="-1068" y="52911"/>
                      <a:pt x="2045" y="65360"/>
                    </a:cubicBezTo>
                    <a:cubicBezTo>
                      <a:pt x="5157" y="71585"/>
                      <a:pt x="8270" y="74697"/>
                      <a:pt x="11382" y="74697"/>
                    </a:cubicBezTo>
                    <a:cubicBezTo>
                      <a:pt x="8270" y="84035"/>
                      <a:pt x="5157" y="99597"/>
                      <a:pt x="11382" y="108934"/>
                    </a:cubicBezTo>
                    <a:cubicBezTo>
                      <a:pt x="14494" y="115159"/>
                      <a:pt x="14494" y="115159"/>
                      <a:pt x="17607" y="115159"/>
                    </a:cubicBezTo>
                    <a:cubicBezTo>
                      <a:pt x="14494" y="124496"/>
                      <a:pt x="11382" y="136945"/>
                      <a:pt x="14494" y="146282"/>
                    </a:cubicBezTo>
                    <a:cubicBezTo>
                      <a:pt x="17607" y="152507"/>
                      <a:pt x="20719" y="152507"/>
                      <a:pt x="23832" y="152507"/>
                    </a:cubicBezTo>
                    <a:cubicBezTo>
                      <a:pt x="20719" y="158732"/>
                      <a:pt x="20719" y="168069"/>
                      <a:pt x="20719" y="177406"/>
                    </a:cubicBezTo>
                    <a:cubicBezTo>
                      <a:pt x="23832" y="186744"/>
                      <a:pt x="30056" y="180519"/>
                      <a:pt x="33169" y="180519"/>
                    </a:cubicBezTo>
                    <a:cubicBezTo>
                      <a:pt x="39394" y="177406"/>
                      <a:pt x="45618" y="177406"/>
                      <a:pt x="51843" y="171182"/>
                    </a:cubicBezTo>
                    <a:cubicBezTo>
                      <a:pt x="54956" y="168069"/>
                      <a:pt x="64293" y="168069"/>
                      <a:pt x="64293" y="155620"/>
                    </a:cubicBezTo>
                    <a:cubicBezTo>
                      <a:pt x="64293" y="146282"/>
                      <a:pt x="64293" y="140058"/>
                      <a:pt x="61180" y="133833"/>
                    </a:cubicBezTo>
                    <a:cubicBezTo>
                      <a:pt x="64293" y="130720"/>
                      <a:pt x="70518" y="127608"/>
                      <a:pt x="70518" y="115159"/>
                    </a:cubicBezTo>
                    <a:cubicBezTo>
                      <a:pt x="73630" y="105821"/>
                      <a:pt x="70518" y="96484"/>
                      <a:pt x="70518" y="90259"/>
                    </a:cubicBezTo>
                    <a:cubicBezTo>
                      <a:pt x="73630" y="87147"/>
                      <a:pt x="73630" y="84035"/>
                      <a:pt x="76742" y="77810"/>
                    </a:cubicBezTo>
                    <a:cubicBezTo>
                      <a:pt x="76742" y="65360"/>
                      <a:pt x="73630" y="49798"/>
                      <a:pt x="67405" y="43573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8941A7CF-D68E-402E-9C3A-B6D56BABE92B}"/>
                  </a:ext>
                </a:extLst>
              </p:cNvPr>
              <p:cNvSpPr/>
              <p:nvPr/>
            </p:nvSpPr>
            <p:spPr>
              <a:xfrm>
                <a:off x="22406650" y="2897037"/>
                <a:ext cx="85160" cy="124329"/>
              </a:xfrm>
              <a:custGeom>
                <a:avLst/>
                <a:gdLst>
                  <a:gd name="connsiteX0" fmla="*/ 25525 w 85160"/>
                  <a:gd name="connsiteY0" fmla="*/ 124330 h 124329"/>
                  <a:gd name="connsiteX1" fmla="*/ 13076 w 85160"/>
                  <a:gd name="connsiteY1" fmla="*/ 121217 h 124329"/>
                  <a:gd name="connsiteX2" fmla="*/ 626 w 85160"/>
                  <a:gd name="connsiteY2" fmla="*/ 99431 h 124329"/>
                  <a:gd name="connsiteX3" fmla="*/ 9963 w 85160"/>
                  <a:gd name="connsiteY3" fmla="*/ 71419 h 124329"/>
                  <a:gd name="connsiteX4" fmla="*/ 65986 w 85160"/>
                  <a:gd name="connsiteY4" fmla="*/ 27846 h 124329"/>
                  <a:gd name="connsiteX5" fmla="*/ 62874 w 85160"/>
                  <a:gd name="connsiteY5" fmla="*/ 15396 h 124329"/>
                  <a:gd name="connsiteX6" fmla="*/ 25525 w 85160"/>
                  <a:gd name="connsiteY6" fmla="*/ 24733 h 124329"/>
                  <a:gd name="connsiteX7" fmla="*/ 16188 w 85160"/>
                  <a:gd name="connsiteY7" fmla="*/ 21621 h 124329"/>
                  <a:gd name="connsiteX8" fmla="*/ 19300 w 85160"/>
                  <a:gd name="connsiteY8" fmla="*/ 12284 h 124329"/>
                  <a:gd name="connsiteX9" fmla="*/ 69099 w 85160"/>
                  <a:gd name="connsiteY9" fmla="*/ 2946 h 124329"/>
                  <a:gd name="connsiteX10" fmla="*/ 78436 w 85160"/>
                  <a:gd name="connsiteY10" fmla="*/ 24733 h 124329"/>
                  <a:gd name="connsiteX11" fmla="*/ 75324 w 85160"/>
                  <a:gd name="connsiteY11" fmla="*/ 37183 h 124329"/>
                  <a:gd name="connsiteX12" fmla="*/ 75324 w 85160"/>
                  <a:gd name="connsiteY12" fmla="*/ 37183 h 124329"/>
                  <a:gd name="connsiteX13" fmla="*/ 84661 w 85160"/>
                  <a:gd name="connsiteY13" fmla="*/ 74532 h 124329"/>
                  <a:gd name="connsiteX14" fmla="*/ 53537 w 85160"/>
                  <a:gd name="connsiteY14" fmla="*/ 111880 h 124329"/>
                  <a:gd name="connsiteX15" fmla="*/ 25525 w 85160"/>
                  <a:gd name="connsiteY15" fmla="*/ 124330 h 124329"/>
                  <a:gd name="connsiteX16" fmla="*/ 16188 w 85160"/>
                  <a:gd name="connsiteY16" fmla="*/ 83869 h 124329"/>
                  <a:gd name="connsiteX17" fmla="*/ 13076 w 85160"/>
                  <a:gd name="connsiteY17" fmla="*/ 99431 h 124329"/>
                  <a:gd name="connsiteX18" fmla="*/ 19300 w 85160"/>
                  <a:gd name="connsiteY18" fmla="*/ 111880 h 124329"/>
                  <a:gd name="connsiteX19" fmla="*/ 50424 w 85160"/>
                  <a:gd name="connsiteY19" fmla="*/ 105656 h 124329"/>
                  <a:gd name="connsiteX20" fmla="*/ 75324 w 85160"/>
                  <a:gd name="connsiteY20" fmla="*/ 77644 h 124329"/>
                  <a:gd name="connsiteX21" fmla="*/ 72211 w 85160"/>
                  <a:gd name="connsiteY21" fmla="*/ 55857 h 124329"/>
                  <a:gd name="connsiteX22" fmla="*/ 16188 w 85160"/>
                  <a:gd name="connsiteY22" fmla="*/ 83869 h 124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85160" h="124329">
                    <a:moveTo>
                      <a:pt x="25525" y="124330"/>
                    </a:moveTo>
                    <a:cubicBezTo>
                      <a:pt x="19300" y="124330"/>
                      <a:pt x="16188" y="124330"/>
                      <a:pt x="13076" y="121217"/>
                    </a:cubicBezTo>
                    <a:cubicBezTo>
                      <a:pt x="6851" y="118105"/>
                      <a:pt x="3738" y="108768"/>
                      <a:pt x="626" y="99431"/>
                    </a:cubicBezTo>
                    <a:cubicBezTo>
                      <a:pt x="-2485" y="74532"/>
                      <a:pt x="6851" y="71419"/>
                      <a:pt x="9963" y="71419"/>
                    </a:cubicBezTo>
                    <a:cubicBezTo>
                      <a:pt x="62874" y="62082"/>
                      <a:pt x="62874" y="40295"/>
                      <a:pt x="65986" y="27846"/>
                    </a:cubicBezTo>
                    <a:cubicBezTo>
                      <a:pt x="65986" y="21621"/>
                      <a:pt x="65986" y="18508"/>
                      <a:pt x="62874" y="15396"/>
                    </a:cubicBezTo>
                    <a:cubicBezTo>
                      <a:pt x="53537" y="9171"/>
                      <a:pt x="34862" y="21621"/>
                      <a:pt x="25525" y="24733"/>
                    </a:cubicBezTo>
                    <a:cubicBezTo>
                      <a:pt x="22413" y="27846"/>
                      <a:pt x="19300" y="24733"/>
                      <a:pt x="16188" y="21621"/>
                    </a:cubicBezTo>
                    <a:cubicBezTo>
                      <a:pt x="13076" y="18508"/>
                      <a:pt x="16188" y="15396"/>
                      <a:pt x="19300" y="12284"/>
                    </a:cubicBezTo>
                    <a:cubicBezTo>
                      <a:pt x="22413" y="9171"/>
                      <a:pt x="53537" y="-6391"/>
                      <a:pt x="69099" y="2946"/>
                    </a:cubicBezTo>
                    <a:cubicBezTo>
                      <a:pt x="75324" y="6059"/>
                      <a:pt x="78436" y="15396"/>
                      <a:pt x="78436" y="24733"/>
                    </a:cubicBezTo>
                    <a:cubicBezTo>
                      <a:pt x="78436" y="30958"/>
                      <a:pt x="78436" y="34070"/>
                      <a:pt x="75324" y="37183"/>
                    </a:cubicBezTo>
                    <a:lnTo>
                      <a:pt x="75324" y="37183"/>
                    </a:lnTo>
                    <a:cubicBezTo>
                      <a:pt x="75324" y="37183"/>
                      <a:pt x="87773" y="52745"/>
                      <a:pt x="84661" y="74532"/>
                    </a:cubicBezTo>
                    <a:cubicBezTo>
                      <a:pt x="84661" y="96318"/>
                      <a:pt x="69099" y="105656"/>
                      <a:pt x="53537" y="111880"/>
                    </a:cubicBezTo>
                    <a:cubicBezTo>
                      <a:pt x="44200" y="124330"/>
                      <a:pt x="34862" y="124330"/>
                      <a:pt x="25525" y="124330"/>
                    </a:cubicBezTo>
                    <a:close/>
                    <a:moveTo>
                      <a:pt x="16188" y="83869"/>
                    </a:moveTo>
                    <a:cubicBezTo>
                      <a:pt x="16188" y="83869"/>
                      <a:pt x="13076" y="90094"/>
                      <a:pt x="13076" y="99431"/>
                    </a:cubicBezTo>
                    <a:cubicBezTo>
                      <a:pt x="13076" y="105656"/>
                      <a:pt x="16188" y="108768"/>
                      <a:pt x="19300" y="111880"/>
                    </a:cubicBezTo>
                    <a:cubicBezTo>
                      <a:pt x="22413" y="114993"/>
                      <a:pt x="31750" y="114993"/>
                      <a:pt x="50424" y="105656"/>
                    </a:cubicBezTo>
                    <a:cubicBezTo>
                      <a:pt x="69099" y="96318"/>
                      <a:pt x="75324" y="90094"/>
                      <a:pt x="75324" y="77644"/>
                    </a:cubicBezTo>
                    <a:cubicBezTo>
                      <a:pt x="75324" y="68307"/>
                      <a:pt x="72211" y="62082"/>
                      <a:pt x="72211" y="55857"/>
                    </a:cubicBezTo>
                    <a:cubicBezTo>
                      <a:pt x="62874" y="68307"/>
                      <a:pt x="47312" y="80756"/>
                      <a:pt x="16188" y="8386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727FCB88-A996-441B-A85B-B5581F66A5F2}"/>
                  </a:ext>
                </a:extLst>
              </p:cNvPr>
              <p:cNvSpPr/>
              <p:nvPr/>
            </p:nvSpPr>
            <p:spPr>
              <a:xfrm>
                <a:off x="22415324" y="2993356"/>
                <a:ext cx="71750" cy="71585"/>
              </a:xfrm>
              <a:custGeom>
                <a:avLst/>
                <a:gdLst>
                  <a:gd name="connsiteX0" fmla="*/ 16851 w 71750"/>
                  <a:gd name="connsiteY0" fmla="*/ 71585 h 71585"/>
                  <a:gd name="connsiteX1" fmla="*/ 7514 w 71750"/>
                  <a:gd name="connsiteY1" fmla="*/ 71585 h 71585"/>
                  <a:gd name="connsiteX2" fmla="*/ 1289 w 71750"/>
                  <a:gd name="connsiteY2" fmla="*/ 65360 h 71585"/>
                  <a:gd name="connsiteX3" fmla="*/ 4402 w 71750"/>
                  <a:gd name="connsiteY3" fmla="*/ 28012 h 71585"/>
                  <a:gd name="connsiteX4" fmla="*/ 10626 w 71750"/>
                  <a:gd name="connsiteY4" fmla="*/ 24899 h 71585"/>
                  <a:gd name="connsiteX5" fmla="*/ 13739 w 71750"/>
                  <a:gd name="connsiteY5" fmla="*/ 31124 h 71585"/>
                  <a:gd name="connsiteX6" fmla="*/ 10626 w 71750"/>
                  <a:gd name="connsiteY6" fmla="*/ 62248 h 71585"/>
                  <a:gd name="connsiteX7" fmla="*/ 51088 w 71750"/>
                  <a:gd name="connsiteY7" fmla="*/ 46686 h 71585"/>
                  <a:gd name="connsiteX8" fmla="*/ 60425 w 71750"/>
                  <a:gd name="connsiteY8" fmla="*/ 6225 h 71585"/>
                  <a:gd name="connsiteX9" fmla="*/ 63537 w 71750"/>
                  <a:gd name="connsiteY9" fmla="*/ 0 h 71585"/>
                  <a:gd name="connsiteX10" fmla="*/ 69762 w 71750"/>
                  <a:gd name="connsiteY10" fmla="*/ 3112 h 71585"/>
                  <a:gd name="connsiteX11" fmla="*/ 57312 w 71750"/>
                  <a:gd name="connsiteY11" fmla="*/ 56023 h 71585"/>
                  <a:gd name="connsiteX12" fmla="*/ 16851 w 71750"/>
                  <a:gd name="connsiteY12" fmla="*/ 71585 h 71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750" h="71585">
                    <a:moveTo>
                      <a:pt x="16851" y="71585"/>
                    </a:moveTo>
                    <a:cubicBezTo>
                      <a:pt x="13739" y="71585"/>
                      <a:pt x="10626" y="71585"/>
                      <a:pt x="7514" y="71585"/>
                    </a:cubicBezTo>
                    <a:cubicBezTo>
                      <a:pt x="4402" y="71585"/>
                      <a:pt x="4402" y="68473"/>
                      <a:pt x="1289" y="65360"/>
                    </a:cubicBezTo>
                    <a:cubicBezTo>
                      <a:pt x="-1823" y="56023"/>
                      <a:pt x="1289" y="34236"/>
                      <a:pt x="4402" y="28012"/>
                    </a:cubicBezTo>
                    <a:cubicBezTo>
                      <a:pt x="4402" y="24899"/>
                      <a:pt x="10626" y="24899"/>
                      <a:pt x="10626" y="24899"/>
                    </a:cubicBezTo>
                    <a:cubicBezTo>
                      <a:pt x="13739" y="24899"/>
                      <a:pt x="13739" y="31124"/>
                      <a:pt x="13739" y="31124"/>
                    </a:cubicBezTo>
                    <a:cubicBezTo>
                      <a:pt x="10626" y="37349"/>
                      <a:pt x="10626" y="56023"/>
                      <a:pt x="10626" y="62248"/>
                    </a:cubicBezTo>
                    <a:cubicBezTo>
                      <a:pt x="13739" y="62248"/>
                      <a:pt x="32413" y="62248"/>
                      <a:pt x="51088" y="46686"/>
                    </a:cubicBezTo>
                    <a:cubicBezTo>
                      <a:pt x="66650" y="34236"/>
                      <a:pt x="60425" y="6225"/>
                      <a:pt x="60425" y="6225"/>
                    </a:cubicBezTo>
                    <a:cubicBezTo>
                      <a:pt x="60425" y="3112"/>
                      <a:pt x="60425" y="0"/>
                      <a:pt x="63537" y="0"/>
                    </a:cubicBezTo>
                    <a:cubicBezTo>
                      <a:pt x="66650" y="0"/>
                      <a:pt x="69762" y="0"/>
                      <a:pt x="69762" y="3112"/>
                    </a:cubicBezTo>
                    <a:cubicBezTo>
                      <a:pt x="69762" y="3112"/>
                      <a:pt x="79099" y="37349"/>
                      <a:pt x="57312" y="56023"/>
                    </a:cubicBezTo>
                    <a:cubicBezTo>
                      <a:pt x="44863" y="65360"/>
                      <a:pt x="26188" y="71585"/>
                      <a:pt x="16851" y="7158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A056F685-AB59-4611-94DB-0FF18B779790}"/>
                </a:ext>
              </a:extLst>
            </p:cNvPr>
            <p:cNvGrpSpPr/>
            <p:nvPr/>
          </p:nvGrpSpPr>
          <p:grpSpPr>
            <a:xfrm>
              <a:off x="22273444" y="2977682"/>
              <a:ext cx="323687" cy="277114"/>
              <a:chOff x="22273444" y="2977682"/>
              <a:chExt cx="323687" cy="277114"/>
            </a:xfrm>
          </p:grpSpPr>
          <p:grpSp>
            <p:nvGrpSpPr>
              <p:cNvPr id="52" name="图形 1">
                <a:extLst>
                  <a:ext uri="{FF2B5EF4-FFF2-40B4-BE49-F238E27FC236}">
                    <a16:creationId xmlns:a16="http://schemas.microsoft.com/office/drawing/2014/main" id="{DCBD23C6-2B93-4F44-BA11-B84257E1B750}"/>
                  </a:ext>
                </a:extLst>
              </p:cNvPr>
              <p:cNvGrpSpPr/>
              <p:nvPr/>
            </p:nvGrpSpPr>
            <p:grpSpPr>
              <a:xfrm>
                <a:off x="22273444" y="2977682"/>
                <a:ext cx="236541" cy="277114"/>
                <a:chOff x="22273444" y="2977682"/>
                <a:chExt cx="236541" cy="277114"/>
              </a:xfrm>
            </p:grpSpPr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2F3B87D2-DBF3-49EF-81D9-76C490CC1633}"/>
                    </a:ext>
                  </a:extLst>
                </p:cNvPr>
                <p:cNvSpPr/>
                <p:nvPr/>
              </p:nvSpPr>
              <p:spPr>
                <a:xfrm>
                  <a:off x="22273444" y="2977794"/>
                  <a:ext cx="174293" cy="277002"/>
                </a:xfrm>
                <a:custGeom>
                  <a:avLst/>
                  <a:gdLst>
                    <a:gd name="connsiteX0" fmla="*/ 65359 w 174293"/>
                    <a:gd name="connsiteY0" fmla="*/ 273891 h 277002"/>
                    <a:gd name="connsiteX1" fmla="*/ 0 w 174293"/>
                    <a:gd name="connsiteY1" fmla="*/ 136945 h 277002"/>
                    <a:gd name="connsiteX2" fmla="*/ 65359 w 174293"/>
                    <a:gd name="connsiteY2" fmla="*/ 0 h 277002"/>
                    <a:gd name="connsiteX3" fmla="*/ 174293 w 174293"/>
                    <a:gd name="connsiteY3" fmla="*/ 0 h 277002"/>
                    <a:gd name="connsiteX4" fmla="*/ 174293 w 174293"/>
                    <a:gd name="connsiteY4" fmla="*/ 277003 h 277002"/>
                    <a:gd name="connsiteX5" fmla="*/ 65359 w 174293"/>
                    <a:gd name="connsiteY5" fmla="*/ 277003 h 277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74293" h="277002">
                      <a:moveTo>
                        <a:pt x="65359" y="273891"/>
                      </a:moveTo>
                      <a:cubicBezTo>
                        <a:pt x="31124" y="273891"/>
                        <a:pt x="0" y="211643"/>
                        <a:pt x="0" y="136945"/>
                      </a:cubicBezTo>
                      <a:cubicBezTo>
                        <a:pt x="0" y="59135"/>
                        <a:pt x="28010" y="0"/>
                        <a:pt x="65359" y="0"/>
                      </a:cubicBezTo>
                      <a:lnTo>
                        <a:pt x="174293" y="0"/>
                      </a:lnTo>
                      <a:lnTo>
                        <a:pt x="174293" y="277003"/>
                      </a:lnTo>
                      <a:lnTo>
                        <a:pt x="65359" y="277003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8E3805D1-D443-47CD-927B-ABA7416253B9}"/>
                    </a:ext>
                  </a:extLst>
                </p:cNvPr>
                <p:cNvSpPr/>
                <p:nvPr/>
              </p:nvSpPr>
              <p:spPr>
                <a:xfrm>
                  <a:off x="22379264" y="2977682"/>
                  <a:ext cx="130720" cy="274002"/>
                </a:xfrm>
                <a:custGeom>
                  <a:avLst/>
                  <a:gdLst>
                    <a:gd name="connsiteX0" fmla="*/ 0 w 130720"/>
                    <a:gd name="connsiteY0" fmla="*/ 137057 h 274002"/>
                    <a:gd name="connsiteX1" fmla="*/ 65361 w 130720"/>
                    <a:gd name="connsiteY1" fmla="*/ 274002 h 274002"/>
                    <a:gd name="connsiteX2" fmla="*/ 130721 w 130720"/>
                    <a:gd name="connsiteY2" fmla="*/ 137057 h 274002"/>
                    <a:gd name="connsiteX3" fmla="*/ 65361 w 130720"/>
                    <a:gd name="connsiteY3" fmla="*/ 112 h 274002"/>
                    <a:gd name="connsiteX4" fmla="*/ 0 w 130720"/>
                    <a:gd name="connsiteY4" fmla="*/ 137057 h 274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0720" h="274002">
                      <a:moveTo>
                        <a:pt x="0" y="137057"/>
                      </a:moveTo>
                      <a:cubicBezTo>
                        <a:pt x="0" y="214867"/>
                        <a:pt x="28012" y="274002"/>
                        <a:pt x="65361" y="274002"/>
                      </a:cubicBezTo>
                      <a:cubicBezTo>
                        <a:pt x="99597" y="274002"/>
                        <a:pt x="130721" y="211755"/>
                        <a:pt x="130721" y="137057"/>
                      </a:cubicBezTo>
                      <a:cubicBezTo>
                        <a:pt x="130721" y="59247"/>
                        <a:pt x="102710" y="112"/>
                        <a:pt x="65361" y="112"/>
                      </a:cubicBezTo>
                      <a:cubicBezTo>
                        <a:pt x="28012" y="-3001"/>
                        <a:pt x="0" y="59247"/>
                        <a:pt x="0" y="137057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53" name="图形 1">
                <a:extLst>
                  <a:ext uri="{FF2B5EF4-FFF2-40B4-BE49-F238E27FC236}">
                    <a16:creationId xmlns:a16="http://schemas.microsoft.com/office/drawing/2014/main" id="{3412E5F2-A439-4266-8975-E5584B431337}"/>
                  </a:ext>
                </a:extLst>
              </p:cNvPr>
              <p:cNvGrpSpPr/>
              <p:nvPr/>
            </p:nvGrpSpPr>
            <p:grpSpPr>
              <a:xfrm>
                <a:off x="22394826" y="2996468"/>
                <a:ext cx="202305" cy="236541"/>
                <a:chOff x="22394826" y="2996468"/>
                <a:chExt cx="202305" cy="236541"/>
              </a:xfrm>
            </p:grpSpPr>
            <p:sp>
              <p:nvSpPr>
                <p:cNvPr id="54" name="任意多边形: 形状 53">
                  <a:extLst>
                    <a:ext uri="{FF2B5EF4-FFF2-40B4-BE49-F238E27FC236}">
                      <a16:creationId xmlns:a16="http://schemas.microsoft.com/office/drawing/2014/main" id="{3F607618-B648-4A2F-A53C-EFBA9443CA85}"/>
                    </a:ext>
                  </a:extLst>
                </p:cNvPr>
                <p:cNvSpPr/>
                <p:nvPr/>
              </p:nvSpPr>
              <p:spPr>
                <a:xfrm>
                  <a:off x="22394826" y="2996468"/>
                  <a:ext cx="149396" cy="236541"/>
                </a:xfrm>
                <a:custGeom>
                  <a:avLst/>
                  <a:gdLst>
                    <a:gd name="connsiteX0" fmla="*/ 56025 w 149396"/>
                    <a:gd name="connsiteY0" fmla="*/ 236542 h 236541"/>
                    <a:gd name="connsiteX1" fmla="*/ 0 w 149396"/>
                    <a:gd name="connsiteY1" fmla="*/ 118271 h 236541"/>
                    <a:gd name="connsiteX2" fmla="*/ 56025 w 149396"/>
                    <a:gd name="connsiteY2" fmla="*/ 0 h 236541"/>
                    <a:gd name="connsiteX3" fmla="*/ 149396 w 149396"/>
                    <a:gd name="connsiteY3" fmla="*/ 0 h 236541"/>
                    <a:gd name="connsiteX4" fmla="*/ 149396 w 149396"/>
                    <a:gd name="connsiteY4" fmla="*/ 236542 h 236541"/>
                    <a:gd name="connsiteX5" fmla="*/ 56025 w 149396"/>
                    <a:gd name="connsiteY5" fmla="*/ 236542 h 236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9396" h="236541">
                      <a:moveTo>
                        <a:pt x="56025" y="236542"/>
                      </a:moveTo>
                      <a:cubicBezTo>
                        <a:pt x="24901" y="236542"/>
                        <a:pt x="0" y="183631"/>
                        <a:pt x="0" y="118271"/>
                      </a:cubicBezTo>
                      <a:cubicBezTo>
                        <a:pt x="0" y="52911"/>
                        <a:pt x="24901" y="0"/>
                        <a:pt x="56025" y="0"/>
                      </a:cubicBezTo>
                      <a:lnTo>
                        <a:pt x="149396" y="0"/>
                      </a:lnTo>
                      <a:lnTo>
                        <a:pt x="149396" y="236542"/>
                      </a:lnTo>
                      <a:lnTo>
                        <a:pt x="56025" y="236542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5" name="任意多边形: 形状 54">
                  <a:extLst>
                    <a:ext uri="{FF2B5EF4-FFF2-40B4-BE49-F238E27FC236}">
                      <a16:creationId xmlns:a16="http://schemas.microsoft.com/office/drawing/2014/main" id="{5F459933-0C60-45E8-9343-ADB7829CAD12}"/>
                    </a:ext>
                  </a:extLst>
                </p:cNvPr>
                <p:cNvSpPr/>
                <p:nvPr/>
              </p:nvSpPr>
              <p:spPr>
                <a:xfrm>
                  <a:off x="22485086" y="2996468"/>
                  <a:ext cx="112045" cy="236541"/>
                </a:xfrm>
                <a:custGeom>
                  <a:avLst/>
                  <a:gdLst>
                    <a:gd name="connsiteX0" fmla="*/ 0 w 112045"/>
                    <a:gd name="connsiteY0" fmla="*/ 118271 h 236541"/>
                    <a:gd name="connsiteX1" fmla="*/ 56023 w 112045"/>
                    <a:gd name="connsiteY1" fmla="*/ 236542 h 236541"/>
                    <a:gd name="connsiteX2" fmla="*/ 112045 w 112045"/>
                    <a:gd name="connsiteY2" fmla="*/ 118271 h 236541"/>
                    <a:gd name="connsiteX3" fmla="*/ 56023 w 112045"/>
                    <a:gd name="connsiteY3" fmla="*/ 0 h 236541"/>
                    <a:gd name="connsiteX4" fmla="*/ 0 w 112045"/>
                    <a:gd name="connsiteY4" fmla="*/ 118271 h 236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045" h="236541">
                      <a:moveTo>
                        <a:pt x="0" y="118271"/>
                      </a:moveTo>
                      <a:cubicBezTo>
                        <a:pt x="0" y="183631"/>
                        <a:pt x="24899" y="236542"/>
                        <a:pt x="56023" y="236542"/>
                      </a:cubicBezTo>
                      <a:cubicBezTo>
                        <a:pt x="87147" y="236542"/>
                        <a:pt x="112045" y="183631"/>
                        <a:pt x="112045" y="118271"/>
                      </a:cubicBezTo>
                      <a:cubicBezTo>
                        <a:pt x="112045" y="52911"/>
                        <a:pt x="87147" y="0"/>
                        <a:pt x="56023" y="0"/>
                      </a:cubicBezTo>
                      <a:cubicBezTo>
                        <a:pt x="24899" y="0"/>
                        <a:pt x="0" y="52911"/>
                        <a:pt x="0" y="118271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6" name="任意多边形: 形状 55">
                  <a:extLst>
                    <a:ext uri="{FF2B5EF4-FFF2-40B4-BE49-F238E27FC236}">
                      <a16:creationId xmlns:a16="http://schemas.microsoft.com/office/drawing/2014/main" id="{1A737699-BF2A-49E9-A416-A3DA77216DB5}"/>
                    </a:ext>
                  </a:extLst>
                </p:cNvPr>
                <p:cNvSpPr/>
                <p:nvPr/>
              </p:nvSpPr>
              <p:spPr>
                <a:xfrm>
                  <a:off x="22494423" y="3012030"/>
                  <a:ext cx="87146" cy="205417"/>
                </a:xfrm>
                <a:custGeom>
                  <a:avLst/>
                  <a:gdLst>
                    <a:gd name="connsiteX0" fmla="*/ 0 w 87146"/>
                    <a:gd name="connsiteY0" fmla="*/ 102709 h 205417"/>
                    <a:gd name="connsiteX1" fmla="*/ 43574 w 87146"/>
                    <a:gd name="connsiteY1" fmla="*/ 205418 h 205417"/>
                    <a:gd name="connsiteX2" fmla="*/ 87147 w 87146"/>
                    <a:gd name="connsiteY2" fmla="*/ 102709 h 205417"/>
                    <a:gd name="connsiteX3" fmla="*/ 43574 w 87146"/>
                    <a:gd name="connsiteY3" fmla="*/ 0 h 205417"/>
                    <a:gd name="connsiteX4" fmla="*/ 0 w 87146"/>
                    <a:gd name="connsiteY4" fmla="*/ 102709 h 2054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7146" h="205417">
                      <a:moveTo>
                        <a:pt x="0" y="102709"/>
                      </a:moveTo>
                      <a:cubicBezTo>
                        <a:pt x="0" y="158732"/>
                        <a:pt x="18675" y="205418"/>
                        <a:pt x="43574" y="205418"/>
                      </a:cubicBezTo>
                      <a:cubicBezTo>
                        <a:pt x="68473" y="205418"/>
                        <a:pt x="87147" y="158732"/>
                        <a:pt x="87147" y="102709"/>
                      </a:cubicBezTo>
                      <a:cubicBezTo>
                        <a:pt x="87147" y="46686"/>
                        <a:pt x="68473" y="0"/>
                        <a:pt x="43574" y="0"/>
                      </a:cubicBezTo>
                      <a:cubicBezTo>
                        <a:pt x="21787" y="0"/>
                        <a:pt x="0" y="46686"/>
                        <a:pt x="0" y="102709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35" name="图形 1">
              <a:extLst>
                <a:ext uri="{FF2B5EF4-FFF2-40B4-BE49-F238E27FC236}">
                  <a16:creationId xmlns:a16="http://schemas.microsoft.com/office/drawing/2014/main" id="{08B6DAB0-5B6A-44B9-BDA1-3FA661DF2EAB}"/>
                </a:ext>
              </a:extLst>
            </p:cNvPr>
            <p:cNvGrpSpPr/>
            <p:nvPr/>
          </p:nvGrpSpPr>
          <p:grpSpPr>
            <a:xfrm>
              <a:off x="21384924" y="1791972"/>
              <a:ext cx="609146" cy="370374"/>
              <a:chOff x="21384924" y="1791972"/>
              <a:chExt cx="609146" cy="370374"/>
            </a:xfrm>
          </p:grpSpPr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8E549C2B-8A65-4B4C-9E66-613DBD837B20}"/>
                  </a:ext>
                </a:extLst>
              </p:cNvPr>
              <p:cNvSpPr/>
              <p:nvPr/>
            </p:nvSpPr>
            <p:spPr>
              <a:xfrm>
                <a:off x="21384924" y="1793346"/>
                <a:ext cx="499470" cy="369000"/>
              </a:xfrm>
              <a:custGeom>
                <a:avLst/>
                <a:gdLst>
                  <a:gd name="connsiteX0" fmla="*/ 94860 w 499470"/>
                  <a:gd name="connsiteY0" fmla="*/ 219606 h 369000"/>
                  <a:gd name="connsiteX1" fmla="*/ 41949 w 499470"/>
                  <a:gd name="connsiteY1" fmla="*/ 369001 h 369000"/>
                  <a:gd name="connsiteX2" fmla="*/ 125984 w 499470"/>
                  <a:gd name="connsiteY2" fmla="*/ 39087 h 369000"/>
                  <a:gd name="connsiteX3" fmla="*/ 499471 w 499470"/>
                  <a:gd name="connsiteY3" fmla="*/ 138684 h 369000"/>
                  <a:gd name="connsiteX4" fmla="*/ 94860 w 499470"/>
                  <a:gd name="connsiteY4" fmla="*/ 219606 h 369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9470" h="369000">
                    <a:moveTo>
                      <a:pt x="94860" y="219606"/>
                    </a:moveTo>
                    <a:cubicBezTo>
                      <a:pt x="57511" y="250730"/>
                      <a:pt x="41949" y="300528"/>
                      <a:pt x="41949" y="369001"/>
                    </a:cubicBezTo>
                    <a:cubicBezTo>
                      <a:pt x="41949" y="369001"/>
                      <a:pt x="-94997" y="176032"/>
                      <a:pt x="125984" y="39087"/>
                    </a:cubicBezTo>
                    <a:cubicBezTo>
                      <a:pt x="278490" y="-54285"/>
                      <a:pt x="434110" y="35975"/>
                      <a:pt x="499471" y="138684"/>
                    </a:cubicBezTo>
                    <a:cubicBezTo>
                      <a:pt x="496357" y="138684"/>
                      <a:pt x="259816" y="82661"/>
                      <a:pt x="94860" y="219606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B080B772-47E7-4CC3-9DEF-132925209F8F}"/>
                  </a:ext>
                </a:extLst>
              </p:cNvPr>
              <p:cNvSpPr/>
              <p:nvPr/>
            </p:nvSpPr>
            <p:spPr>
              <a:xfrm>
                <a:off x="21464222" y="1836410"/>
                <a:ext cx="529848" cy="223228"/>
              </a:xfrm>
              <a:custGeom>
                <a:avLst/>
                <a:gdLst>
                  <a:gd name="connsiteX0" fmla="*/ 0 w 529848"/>
                  <a:gd name="connsiteY0" fmla="*/ 192105 h 223228"/>
                  <a:gd name="connsiteX1" fmla="*/ 224093 w 529848"/>
                  <a:gd name="connsiteY1" fmla="*/ 48935 h 223228"/>
                  <a:gd name="connsiteX2" fmla="*/ 525993 w 529848"/>
                  <a:gd name="connsiteY2" fmla="*/ 61384 h 223228"/>
                  <a:gd name="connsiteX3" fmla="*/ 420173 w 529848"/>
                  <a:gd name="connsiteY3" fmla="*/ 223228 h 223228"/>
                  <a:gd name="connsiteX4" fmla="*/ 0 w 529848"/>
                  <a:gd name="connsiteY4" fmla="*/ 192105 h 223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9848" h="223228">
                    <a:moveTo>
                      <a:pt x="0" y="192105"/>
                    </a:moveTo>
                    <a:cubicBezTo>
                      <a:pt x="0" y="192105"/>
                      <a:pt x="77810" y="114295"/>
                      <a:pt x="224093" y="48935"/>
                    </a:cubicBezTo>
                    <a:cubicBezTo>
                      <a:pt x="376599" y="-22650"/>
                      <a:pt x="497983" y="-13313"/>
                      <a:pt x="525993" y="61384"/>
                    </a:cubicBezTo>
                    <a:cubicBezTo>
                      <a:pt x="554005" y="136082"/>
                      <a:pt x="420173" y="223228"/>
                      <a:pt x="420173" y="223228"/>
                    </a:cubicBezTo>
                    <a:cubicBezTo>
                      <a:pt x="420173" y="223228"/>
                      <a:pt x="270778" y="80058"/>
                      <a:pt x="0" y="192105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A6E715F5-3404-4AE7-A0BC-7705A9C90612}"/>
                  </a:ext>
                </a:extLst>
              </p:cNvPr>
              <p:cNvSpPr/>
              <p:nvPr/>
            </p:nvSpPr>
            <p:spPr>
              <a:xfrm>
                <a:off x="21476670" y="1791972"/>
                <a:ext cx="59136" cy="56023"/>
              </a:xfrm>
              <a:custGeom>
                <a:avLst/>
                <a:gdLst>
                  <a:gd name="connsiteX0" fmla="*/ 0 w 59136"/>
                  <a:gd name="connsiteY0" fmla="*/ 28012 h 56023"/>
                  <a:gd name="connsiteX1" fmla="*/ 31124 w 59136"/>
                  <a:gd name="connsiteY1" fmla="*/ 0 h 56023"/>
                  <a:gd name="connsiteX2" fmla="*/ 59136 w 59136"/>
                  <a:gd name="connsiteY2" fmla="*/ 28012 h 56023"/>
                  <a:gd name="connsiteX3" fmla="*/ 28012 w 59136"/>
                  <a:gd name="connsiteY3" fmla="*/ 56023 h 56023"/>
                  <a:gd name="connsiteX4" fmla="*/ 0 w 59136"/>
                  <a:gd name="connsiteY4" fmla="*/ 28012 h 56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36" h="56023">
                    <a:moveTo>
                      <a:pt x="0" y="28012"/>
                    </a:moveTo>
                    <a:cubicBezTo>
                      <a:pt x="0" y="12450"/>
                      <a:pt x="12450" y="0"/>
                      <a:pt x="31124" y="0"/>
                    </a:cubicBezTo>
                    <a:cubicBezTo>
                      <a:pt x="46686" y="0"/>
                      <a:pt x="59136" y="12450"/>
                      <a:pt x="59136" y="28012"/>
                    </a:cubicBezTo>
                    <a:cubicBezTo>
                      <a:pt x="59136" y="43573"/>
                      <a:pt x="46686" y="56023"/>
                      <a:pt x="28012" y="56023"/>
                    </a:cubicBezTo>
                    <a:cubicBezTo>
                      <a:pt x="12450" y="56023"/>
                      <a:pt x="0" y="43573"/>
                      <a:pt x="0" y="2801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2CC8D97D-B7F3-4BA5-B47E-B951D4C185A9}"/>
                </a:ext>
              </a:extLst>
            </p:cNvPr>
            <p:cNvSpPr/>
            <p:nvPr/>
          </p:nvSpPr>
          <p:spPr>
            <a:xfrm>
              <a:off x="21458774" y="1826427"/>
              <a:ext cx="542416" cy="208311"/>
            </a:xfrm>
            <a:custGeom>
              <a:avLst/>
              <a:gdLst>
                <a:gd name="connsiteX0" fmla="*/ 5447 w 542416"/>
                <a:gd name="connsiteY0" fmla="*/ 208312 h 208311"/>
                <a:gd name="connsiteX1" fmla="*/ 2334 w 542416"/>
                <a:gd name="connsiteY1" fmla="*/ 208312 h 208311"/>
                <a:gd name="connsiteX2" fmla="*/ 2334 w 542416"/>
                <a:gd name="connsiteY2" fmla="*/ 198975 h 208311"/>
                <a:gd name="connsiteX3" fmla="*/ 344697 w 542416"/>
                <a:gd name="connsiteY3" fmla="*/ 6006 h 208311"/>
                <a:gd name="connsiteX4" fmla="*/ 537666 w 542416"/>
                <a:gd name="connsiteY4" fmla="*/ 68254 h 208311"/>
                <a:gd name="connsiteX5" fmla="*/ 478531 w 542416"/>
                <a:gd name="connsiteY5" fmla="*/ 198975 h 208311"/>
                <a:gd name="connsiteX6" fmla="*/ 469193 w 542416"/>
                <a:gd name="connsiteY6" fmla="*/ 198975 h 208311"/>
                <a:gd name="connsiteX7" fmla="*/ 469193 w 542416"/>
                <a:gd name="connsiteY7" fmla="*/ 189637 h 208311"/>
                <a:gd name="connsiteX8" fmla="*/ 525217 w 542416"/>
                <a:gd name="connsiteY8" fmla="*/ 74479 h 208311"/>
                <a:gd name="connsiteX9" fmla="*/ 344697 w 542416"/>
                <a:gd name="connsiteY9" fmla="*/ 18456 h 208311"/>
                <a:gd name="connsiteX10" fmla="*/ 8559 w 542416"/>
                <a:gd name="connsiteY10" fmla="*/ 205199 h 208311"/>
                <a:gd name="connsiteX11" fmla="*/ 5447 w 542416"/>
                <a:gd name="connsiteY11" fmla="*/ 208312 h 208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2416" h="208311">
                  <a:moveTo>
                    <a:pt x="5447" y="208312"/>
                  </a:moveTo>
                  <a:cubicBezTo>
                    <a:pt x="5447" y="208312"/>
                    <a:pt x="2334" y="208312"/>
                    <a:pt x="2334" y="208312"/>
                  </a:cubicBezTo>
                  <a:cubicBezTo>
                    <a:pt x="-778" y="205199"/>
                    <a:pt x="-778" y="202087"/>
                    <a:pt x="2334" y="198975"/>
                  </a:cubicBezTo>
                  <a:cubicBezTo>
                    <a:pt x="114381" y="58917"/>
                    <a:pt x="251325" y="21568"/>
                    <a:pt x="344697" y="6006"/>
                  </a:cubicBezTo>
                  <a:cubicBezTo>
                    <a:pt x="391383" y="-3331"/>
                    <a:pt x="506542" y="-12668"/>
                    <a:pt x="537666" y="68254"/>
                  </a:cubicBezTo>
                  <a:cubicBezTo>
                    <a:pt x="562564" y="133614"/>
                    <a:pt x="481643" y="195862"/>
                    <a:pt x="478531" y="198975"/>
                  </a:cubicBezTo>
                  <a:cubicBezTo>
                    <a:pt x="475418" y="202087"/>
                    <a:pt x="472306" y="198975"/>
                    <a:pt x="469193" y="198975"/>
                  </a:cubicBezTo>
                  <a:cubicBezTo>
                    <a:pt x="466081" y="195862"/>
                    <a:pt x="469193" y="192750"/>
                    <a:pt x="469193" y="189637"/>
                  </a:cubicBezTo>
                  <a:cubicBezTo>
                    <a:pt x="469193" y="189637"/>
                    <a:pt x="547002" y="130502"/>
                    <a:pt x="525217" y="74479"/>
                  </a:cubicBezTo>
                  <a:cubicBezTo>
                    <a:pt x="497205" y="2894"/>
                    <a:pt x="391383" y="12231"/>
                    <a:pt x="344697" y="18456"/>
                  </a:cubicBezTo>
                  <a:cubicBezTo>
                    <a:pt x="251325" y="34018"/>
                    <a:pt x="117493" y="68254"/>
                    <a:pt x="8559" y="205199"/>
                  </a:cubicBezTo>
                  <a:cubicBezTo>
                    <a:pt x="8559" y="208312"/>
                    <a:pt x="8559" y="208312"/>
                    <a:pt x="5447" y="208312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5E08F18E-7F92-4CC3-9C4D-DFD667E8BE19}"/>
                </a:ext>
              </a:extLst>
            </p:cNvPr>
            <p:cNvSpPr/>
            <p:nvPr/>
          </p:nvSpPr>
          <p:spPr>
            <a:xfrm>
              <a:off x="21072059" y="2538701"/>
              <a:ext cx="442722" cy="1105144"/>
            </a:xfrm>
            <a:custGeom>
              <a:avLst/>
              <a:gdLst>
                <a:gd name="connsiteX0" fmla="*/ 441960 w 442722"/>
                <a:gd name="connsiteY0" fmla="*/ 3358 h 1105144"/>
                <a:gd name="connsiteX1" fmla="*/ 404611 w 442722"/>
                <a:gd name="connsiteY1" fmla="*/ 921514 h 1105144"/>
                <a:gd name="connsiteX2" fmla="*/ 0 w 442722"/>
                <a:gd name="connsiteY2" fmla="*/ 1105145 h 1105144"/>
                <a:gd name="connsiteX3" fmla="*/ 12450 w 442722"/>
                <a:gd name="connsiteY3" fmla="*/ 1005548 h 1105144"/>
                <a:gd name="connsiteX4" fmla="*/ 298791 w 442722"/>
                <a:gd name="connsiteY4" fmla="*/ 893502 h 1105144"/>
                <a:gd name="connsiteX5" fmla="*/ 351702 w 442722"/>
                <a:gd name="connsiteY5" fmla="*/ 31370 h 1105144"/>
                <a:gd name="connsiteX6" fmla="*/ 441960 w 442722"/>
                <a:gd name="connsiteY6" fmla="*/ 3358 h 110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2722" h="1105144">
                  <a:moveTo>
                    <a:pt x="441960" y="3358"/>
                  </a:moveTo>
                  <a:cubicBezTo>
                    <a:pt x="441960" y="3358"/>
                    <a:pt x="451297" y="787681"/>
                    <a:pt x="404611" y="921514"/>
                  </a:cubicBezTo>
                  <a:cubicBezTo>
                    <a:pt x="357925" y="1055347"/>
                    <a:pt x="0" y="1105145"/>
                    <a:pt x="0" y="1105145"/>
                  </a:cubicBezTo>
                  <a:lnTo>
                    <a:pt x="12450" y="1005548"/>
                  </a:lnTo>
                  <a:cubicBezTo>
                    <a:pt x="12450" y="1005548"/>
                    <a:pt x="248991" y="940188"/>
                    <a:pt x="298791" y="893502"/>
                  </a:cubicBezTo>
                  <a:cubicBezTo>
                    <a:pt x="348588" y="846816"/>
                    <a:pt x="351702" y="31370"/>
                    <a:pt x="351702" y="31370"/>
                  </a:cubicBezTo>
                  <a:cubicBezTo>
                    <a:pt x="351702" y="31370"/>
                    <a:pt x="382826" y="-12204"/>
                    <a:pt x="441960" y="3358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7928BC5B-4D07-4DD6-9309-E237D11F519A}"/>
                </a:ext>
              </a:extLst>
            </p:cNvPr>
            <p:cNvSpPr/>
            <p:nvPr/>
          </p:nvSpPr>
          <p:spPr>
            <a:xfrm>
              <a:off x="21177881" y="2890647"/>
              <a:ext cx="361036" cy="837256"/>
            </a:xfrm>
            <a:custGeom>
              <a:avLst/>
              <a:gdLst>
                <a:gd name="connsiteX0" fmla="*/ 233429 w 361036"/>
                <a:gd name="connsiteY0" fmla="*/ 0 h 837256"/>
                <a:gd name="connsiteX1" fmla="*/ 361037 w 361036"/>
                <a:gd name="connsiteY1" fmla="*/ 525994 h 837256"/>
                <a:gd name="connsiteX2" fmla="*/ 227204 w 361036"/>
                <a:gd name="connsiteY2" fmla="*/ 837234 h 837256"/>
                <a:gd name="connsiteX3" fmla="*/ 0 w 361036"/>
                <a:gd name="connsiteY3" fmla="*/ 146282 h 837256"/>
                <a:gd name="connsiteX4" fmla="*/ 233429 w 361036"/>
                <a:gd name="connsiteY4" fmla="*/ 0 h 83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036" h="837256">
                  <a:moveTo>
                    <a:pt x="233429" y="0"/>
                  </a:moveTo>
                  <a:lnTo>
                    <a:pt x="361037" y="525994"/>
                  </a:lnTo>
                  <a:cubicBezTo>
                    <a:pt x="361037" y="525994"/>
                    <a:pt x="357925" y="840346"/>
                    <a:pt x="227204" y="837234"/>
                  </a:cubicBezTo>
                  <a:cubicBezTo>
                    <a:pt x="96483" y="834121"/>
                    <a:pt x="0" y="146282"/>
                    <a:pt x="0" y="146282"/>
                  </a:cubicBezTo>
                  <a:lnTo>
                    <a:pt x="233429" y="0"/>
                  </a:ln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6C3FFEB3-9655-44C9-921A-ED37E54C4C4C}"/>
                </a:ext>
              </a:extLst>
            </p:cNvPr>
            <p:cNvSpPr/>
            <p:nvPr/>
          </p:nvSpPr>
          <p:spPr>
            <a:xfrm>
              <a:off x="21100704" y="2618353"/>
              <a:ext cx="447552" cy="607799"/>
            </a:xfrm>
            <a:custGeom>
              <a:avLst/>
              <a:gdLst>
                <a:gd name="connsiteX0" fmla="*/ 24266 w 447552"/>
                <a:gd name="connsiteY0" fmla="*/ 602207 h 607799"/>
                <a:gd name="connsiteX1" fmla="*/ 148762 w 447552"/>
                <a:gd name="connsiteY1" fmla="*/ 1516 h 607799"/>
                <a:gd name="connsiteX2" fmla="*/ 447553 w 447552"/>
                <a:gd name="connsiteY2" fmla="*/ 524398 h 607799"/>
                <a:gd name="connsiteX3" fmla="*/ 24266 w 447552"/>
                <a:gd name="connsiteY3" fmla="*/ 602207 h 60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7552" h="607799">
                  <a:moveTo>
                    <a:pt x="24266" y="602207"/>
                  </a:moveTo>
                  <a:cubicBezTo>
                    <a:pt x="24266" y="602207"/>
                    <a:pt x="-81554" y="45089"/>
                    <a:pt x="148762" y="1516"/>
                  </a:cubicBezTo>
                  <a:cubicBezTo>
                    <a:pt x="319944" y="-32721"/>
                    <a:pt x="447553" y="524398"/>
                    <a:pt x="447553" y="524398"/>
                  </a:cubicBezTo>
                  <a:cubicBezTo>
                    <a:pt x="447553" y="524398"/>
                    <a:pt x="239022" y="633331"/>
                    <a:pt x="24266" y="602207"/>
                  </a:cubicBezTo>
                  <a:close/>
                </a:path>
              </a:pathLst>
            </a:custGeom>
            <a:solidFill>
              <a:srgbClr val="F6EBE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FBFF7523-836F-43D4-BD3D-375BB6439C3A}"/>
                </a:ext>
              </a:extLst>
            </p:cNvPr>
            <p:cNvSpPr/>
            <p:nvPr/>
          </p:nvSpPr>
          <p:spPr>
            <a:xfrm>
              <a:off x="21346070" y="3167650"/>
              <a:ext cx="545250" cy="565513"/>
            </a:xfrm>
            <a:custGeom>
              <a:avLst/>
              <a:gdLst>
                <a:gd name="connsiteX0" fmla="*/ 466740 w 545250"/>
                <a:gd name="connsiteY0" fmla="*/ 0 h 565513"/>
                <a:gd name="connsiteX1" fmla="*/ 18555 w 545250"/>
                <a:gd name="connsiteY1" fmla="*/ 367262 h 565513"/>
                <a:gd name="connsiteX2" fmla="*/ 133714 w 545250"/>
                <a:gd name="connsiteY2" fmla="*/ 560231 h 565513"/>
                <a:gd name="connsiteX3" fmla="*/ 544550 w 545250"/>
                <a:gd name="connsiteY3" fmla="*/ 127608 h 565513"/>
                <a:gd name="connsiteX4" fmla="*/ 466740 w 545250"/>
                <a:gd name="connsiteY4" fmla="*/ 0 h 565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250" h="565513">
                  <a:moveTo>
                    <a:pt x="466740" y="0"/>
                  </a:moveTo>
                  <a:cubicBezTo>
                    <a:pt x="466740" y="0"/>
                    <a:pt x="62129" y="280115"/>
                    <a:pt x="18555" y="367262"/>
                  </a:cubicBezTo>
                  <a:cubicBezTo>
                    <a:pt x="-25019" y="454409"/>
                    <a:pt x="6105" y="594467"/>
                    <a:pt x="133714" y="560231"/>
                  </a:cubicBezTo>
                  <a:cubicBezTo>
                    <a:pt x="261321" y="525994"/>
                    <a:pt x="535211" y="133833"/>
                    <a:pt x="544550" y="127608"/>
                  </a:cubicBezTo>
                  <a:cubicBezTo>
                    <a:pt x="553887" y="124496"/>
                    <a:pt x="466740" y="0"/>
                    <a:pt x="466740" y="0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8FC4F10C-6222-484A-ACBB-10429E7D3F75}"/>
                </a:ext>
              </a:extLst>
            </p:cNvPr>
            <p:cNvSpPr/>
            <p:nvPr/>
          </p:nvSpPr>
          <p:spPr>
            <a:xfrm>
              <a:off x="21418314" y="3367621"/>
              <a:ext cx="119826" cy="105043"/>
            </a:xfrm>
            <a:custGeom>
              <a:avLst/>
              <a:gdLst>
                <a:gd name="connsiteX0" fmla="*/ 5447 w 119826"/>
                <a:gd name="connsiteY0" fmla="*/ 105043 h 105043"/>
                <a:gd name="connsiteX1" fmla="*/ 2334 w 119826"/>
                <a:gd name="connsiteY1" fmla="*/ 101931 h 105043"/>
                <a:gd name="connsiteX2" fmla="*/ 2334 w 119826"/>
                <a:gd name="connsiteY2" fmla="*/ 92594 h 105043"/>
                <a:gd name="connsiteX3" fmla="*/ 108156 w 119826"/>
                <a:gd name="connsiteY3" fmla="*/ 2334 h 105043"/>
                <a:gd name="connsiteX4" fmla="*/ 117493 w 119826"/>
                <a:gd name="connsiteY4" fmla="*/ 2334 h 105043"/>
                <a:gd name="connsiteX5" fmla="*/ 117493 w 119826"/>
                <a:gd name="connsiteY5" fmla="*/ 11671 h 105043"/>
                <a:gd name="connsiteX6" fmla="*/ 11671 w 119826"/>
                <a:gd name="connsiteY6" fmla="*/ 101931 h 105043"/>
                <a:gd name="connsiteX7" fmla="*/ 5447 w 119826"/>
                <a:gd name="connsiteY7" fmla="*/ 105043 h 105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826" h="105043">
                  <a:moveTo>
                    <a:pt x="5447" y="105043"/>
                  </a:moveTo>
                  <a:cubicBezTo>
                    <a:pt x="5447" y="105043"/>
                    <a:pt x="2334" y="105043"/>
                    <a:pt x="2334" y="101931"/>
                  </a:cubicBezTo>
                  <a:cubicBezTo>
                    <a:pt x="-778" y="98818"/>
                    <a:pt x="-778" y="95706"/>
                    <a:pt x="2334" y="92594"/>
                  </a:cubicBezTo>
                  <a:cubicBezTo>
                    <a:pt x="21009" y="73919"/>
                    <a:pt x="105042" y="5447"/>
                    <a:pt x="108156" y="2334"/>
                  </a:cubicBezTo>
                  <a:cubicBezTo>
                    <a:pt x="111267" y="-778"/>
                    <a:pt x="114381" y="-778"/>
                    <a:pt x="117493" y="2334"/>
                  </a:cubicBezTo>
                  <a:cubicBezTo>
                    <a:pt x="120604" y="5447"/>
                    <a:pt x="120604" y="8559"/>
                    <a:pt x="117493" y="11671"/>
                  </a:cubicBezTo>
                  <a:cubicBezTo>
                    <a:pt x="117493" y="11671"/>
                    <a:pt x="30346" y="83256"/>
                    <a:pt x="11671" y="101931"/>
                  </a:cubicBezTo>
                  <a:cubicBezTo>
                    <a:pt x="8559" y="105043"/>
                    <a:pt x="8559" y="105043"/>
                    <a:pt x="5447" y="105043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DA47505F-866E-462B-8AD3-0D2497370ADF}"/>
                </a:ext>
              </a:extLst>
            </p:cNvPr>
            <p:cNvSpPr/>
            <p:nvPr/>
          </p:nvSpPr>
          <p:spPr>
            <a:xfrm>
              <a:off x="21243241" y="2613644"/>
              <a:ext cx="311239" cy="585129"/>
            </a:xfrm>
            <a:custGeom>
              <a:avLst/>
              <a:gdLst>
                <a:gd name="connsiteX0" fmla="*/ 177407 w 311239"/>
                <a:gd name="connsiteY0" fmla="*/ 585130 h 585129"/>
                <a:gd name="connsiteX1" fmla="*/ 171182 w 311239"/>
                <a:gd name="connsiteY1" fmla="*/ 582017 h 585129"/>
                <a:gd name="connsiteX2" fmla="*/ 174295 w 311239"/>
                <a:gd name="connsiteY2" fmla="*/ 575793 h 585129"/>
                <a:gd name="connsiteX3" fmla="*/ 298791 w 311239"/>
                <a:gd name="connsiteY3" fmla="*/ 525994 h 585129"/>
                <a:gd name="connsiteX4" fmla="*/ 183632 w 311239"/>
                <a:gd name="connsiteY4" fmla="*/ 180519 h 585129"/>
                <a:gd name="connsiteX5" fmla="*/ 6225 w 311239"/>
                <a:gd name="connsiteY5" fmla="*/ 12450 h 585129"/>
                <a:gd name="connsiteX6" fmla="*/ 6225 w 311239"/>
                <a:gd name="connsiteY6" fmla="*/ 12450 h 585129"/>
                <a:gd name="connsiteX7" fmla="*/ 6225 w 311239"/>
                <a:gd name="connsiteY7" fmla="*/ 12450 h 585129"/>
                <a:gd name="connsiteX8" fmla="*/ 0 w 311239"/>
                <a:gd name="connsiteY8" fmla="*/ 6225 h 585129"/>
                <a:gd name="connsiteX9" fmla="*/ 6225 w 311239"/>
                <a:gd name="connsiteY9" fmla="*/ 0 h 585129"/>
                <a:gd name="connsiteX10" fmla="*/ 196082 w 311239"/>
                <a:gd name="connsiteY10" fmla="*/ 177406 h 585129"/>
                <a:gd name="connsiteX11" fmla="*/ 311239 w 311239"/>
                <a:gd name="connsiteY11" fmla="*/ 525994 h 585129"/>
                <a:gd name="connsiteX12" fmla="*/ 311239 w 311239"/>
                <a:gd name="connsiteY12" fmla="*/ 529107 h 585129"/>
                <a:gd name="connsiteX13" fmla="*/ 308128 w 311239"/>
                <a:gd name="connsiteY13" fmla="*/ 532219 h 585129"/>
                <a:gd name="connsiteX14" fmla="*/ 177407 w 311239"/>
                <a:gd name="connsiteY14" fmla="*/ 585130 h 585129"/>
                <a:gd name="connsiteX15" fmla="*/ 177407 w 311239"/>
                <a:gd name="connsiteY15" fmla="*/ 585130 h 58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11239" h="585129">
                  <a:moveTo>
                    <a:pt x="177407" y="585130"/>
                  </a:moveTo>
                  <a:cubicBezTo>
                    <a:pt x="174295" y="585130"/>
                    <a:pt x="171182" y="582017"/>
                    <a:pt x="171182" y="582017"/>
                  </a:cubicBezTo>
                  <a:cubicBezTo>
                    <a:pt x="171182" y="578905"/>
                    <a:pt x="171182" y="575793"/>
                    <a:pt x="174295" y="575793"/>
                  </a:cubicBezTo>
                  <a:cubicBezTo>
                    <a:pt x="230318" y="563343"/>
                    <a:pt x="283229" y="535331"/>
                    <a:pt x="298791" y="525994"/>
                  </a:cubicBezTo>
                  <a:cubicBezTo>
                    <a:pt x="289454" y="497983"/>
                    <a:pt x="245880" y="339251"/>
                    <a:pt x="183632" y="180519"/>
                  </a:cubicBezTo>
                  <a:cubicBezTo>
                    <a:pt x="118272" y="12450"/>
                    <a:pt x="9339" y="12450"/>
                    <a:pt x="6225" y="12450"/>
                  </a:cubicBezTo>
                  <a:lnTo>
                    <a:pt x="6225" y="12450"/>
                  </a:lnTo>
                  <a:lnTo>
                    <a:pt x="6225" y="12450"/>
                  </a:lnTo>
                  <a:cubicBezTo>
                    <a:pt x="3114" y="12450"/>
                    <a:pt x="0" y="9337"/>
                    <a:pt x="0" y="6225"/>
                  </a:cubicBezTo>
                  <a:cubicBezTo>
                    <a:pt x="0" y="3112"/>
                    <a:pt x="3114" y="0"/>
                    <a:pt x="6225" y="0"/>
                  </a:cubicBezTo>
                  <a:cubicBezTo>
                    <a:pt x="12450" y="0"/>
                    <a:pt x="127609" y="0"/>
                    <a:pt x="196082" y="177406"/>
                  </a:cubicBezTo>
                  <a:cubicBezTo>
                    <a:pt x="261442" y="351700"/>
                    <a:pt x="311239" y="525994"/>
                    <a:pt x="311239" y="525994"/>
                  </a:cubicBezTo>
                  <a:lnTo>
                    <a:pt x="311239" y="529107"/>
                  </a:lnTo>
                  <a:lnTo>
                    <a:pt x="308128" y="532219"/>
                  </a:lnTo>
                  <a:cubicBezTo>
                    <a:pt x="308128" y="535331"/>
                    <a:pt x="242768" y="569568"/>
                    <a:pt x="177407" y="585130"/>
                  </a:cubicBezTo>
                  <a:cubicBezTo>
                    <a:pt x="177407" y="585130"/>
                    <a:pt x="177407" y="585130"/>
                    <a:pt x="177407" y="585130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420781FE-0DE1-4CC4-95A7-1B2B6CC29601}"/>
                </a:ext>
              </a:extLst>
            </p:cNvPr>
            <p:cNvGrpSpPr/>
            <p:nvPr/>
          </p:nvGrpSpPr>
          <p:grpSpPr>
            <a:xfrm>
              <a:off x="21797248" y="3027245"/>
              <a:ext cx="402787" cy="276681"/>
              <a:chOff x="21797248" y="3027245"/>
              <a:chExt cx="402787" cy="276681"/>
            </a:xfrm>
          </p:grpSpPr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FBB93CAB-9041-4D2B-9A92-DF6A7F532BE0}"/>
                  </a:ext>
                </a:extLst>
              </p:cNvPr>
              <p:cNvSpPr/>
              <p:nvPr/>
            </p:nvSpPr>
            <p:spPr>
              <a:xfrm>
                <a:off x="21797248" y="3033743"/>
                <a:ext cx="389125" cy="270183"/>
              </a:xfrm>
              <a:custGeom>
                <a:avLst/>
                <a:gdLst>
                  <a:gd name="connsiteX0" fmla="*/ 0 w 389125"/>
                  <a:gd name="connsiteY0" fmla="*/ 155694 h 270183"/>
                  <a:gd name="connsiteX1" fmla="*/ 121382 w 389125"/>
                  <a:gd name="connsiteY1" fmla="*/ 12523 h 270183"/>
                  <a:gd name="connsiteX2" fmla="*/ 370374 w 389125"/>
                  <a:gd name="connsiteY2" fmla="*/ 24973 h 270183"/>
                  <a:gd name="connsiteX3" fmla="*/ 298789 w 389125"/>
                  <a:gd name="connsiteY3" fmla="*/ 43647 h 270183"/>
                  <a:gd name="connsiteX4" fmla="*/ 389049 w 389125"/>
                  <a:gd name="connsiteY4" fmla="*/ 90333 h 270183"/>
                  <a:gd name="connsiteX5" fmla="*/ 354812 w 389125"/>
                  <a:gd name="connsiteY5" fmla="*/ 121457 h 270183"/>
                  <a:gd name="connsiteX6" fmla="*/ 317462 w 389125"/>
                  <a:gd name="connsiteY6" fmla="*/ 152581 h 270183"/>
                  <a:gd name="connsiteX7" fmla="*/ 320576 w 389125"/>
                  <a:gd name="connsiteY7" fmla="*/ 186818 h 270183"/>
                  <a:gd name="connsiteX8" fmla="*/ 196080 w 389125"/>
                  <a:gd name="connsiteY8" fmla="*/ 186818 h 270183"/>
                  <a:gd name="connsiteX9" fmla="*/ 133832 w 389125"/>
                  <a:gd name="connsiteY9" fmla="*/ 252178 h 270183"/>
                  <a:gd name="connsiteX10" fmla="*/ 34236 w 389125"/>
                  <a:gd name="connsiteY10" fmla="*/ 264627 h 270183"/>
                  <a:gd name="connsiteX11" fmla="*/ 0 w 389125"/>
                  <a:gd name="connsiteY11" fmla="*/ 155694 h 270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9125" h="270183">
                    <a:moveTo>
                      <a:pt x="0" y="155694"/>
                    </a:moveTo>
                    <a:cubicBezTo>
                      <a:pt x="0" y="155694"/>
                      <a:pt x="87147" y="28085"/>
                      <a:pt x="121382" y="12523"/>
                    </a:cubicBezTo>
                    <a:cubicBezTo>
                      <a:pt x="158731" y="-3038"/>
                      <a:pt x="367262" y="-9263"/>
                      <a:pt x="370374" y="24973"/>
                    </a:cubicBezTo>
                    <a:cubicBezTo>
                      <a:pt x="373487" y="59209"/>
                      <a:pt x="298789" y="43647"/>
                      <a:pt x="298789" y="43647"/>
                    </a:cubicBezTo>
                    <a:cubicBezTo>
                      <a:pt x="298789" y="43647"/>
                      <a:pt x="392161" y="62322"/>
                      <a:pt x="389049" y="90333"/>
                    </a:cubicBezTo>
                    <a:cubicBezTo>
                      <a:pt x="385935" y="118345"/>
                      <a:pt x="354812" y="121457"/>
                      <a:pt x="354812" y="121457"/>
                    </a:cubicBezTo>
                    <a:cubicBezTo>
                      <a:pt x="354812" y="121457"/>
                      <a:pt x="373487" y="155694"/>
                      <a:pt x="317462" y="152581"/>
                    </a:cubicBezTo>
                    <a:cubicBezTo>
                      <a:pt x="317462" y="152581"/>
                      <a:pt x="345475" y="180593"/>
                      <a:pt x="320576" y="186818"/>
                    </a:cubicBezTo>
                    <a:cubicBezTo>
                      <a:pt x="295677" y="189930"/>
                      <a:pt x="214754" y="174368"/>
                      <a:pt x="196080" y="186818"/>
                    </a:cubicBezTo>
                    <a:cubicBezTo>
                      <a:pt x="177405" y="196155"/>
                      <a:pt x="168068" y="233503"/>
                      <a:pt x="133832" y="252178"/>
                    </a:cubicBezTo>
                    <a:cubicBezTo>
                      <a:pt x="68471" y="283302"/>
                      <a:pt x="34236" y="264627"/>
                      <a:pt x="34236" y="264627"/>
                    </a:cubicBezTo>
                    <a:lnTo>
                      <a:pt x="0" y="155694"/>
                    </a:ln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E4C57EAF-6C4C-4E89-9BFE-08244BDD8F63}"/>
                  </a:ext>
                </a:extLst>
              </p:cNvPr>
              <p:cNvSpPr/>
              <p:nvPr/>
            </p:nvSpPr>
            <p:spPr>
              <a:xfrm>
                <a:off x="21831484" y="3027245"/>
                <a:ext cx="348890" cy="112393"/>
              </a:xfrm>
              <a:custGeom>
                <a:avLst/>
                <a:gdLst>
                  <a:gd name="connsiteX0" fmla="*/ 6225 w 348890"/>
                  <a:gd name="connsiteY0" fmla="*/ 112393 h 112393"/>
                  <a:gd name="connsiteX1" fmla="*/ 6225 w 348890"/>
                  <a:gd name="connsiteY1" fmla="*/ 112393 h 112393"/>
                  <a:gd name="connsiteX2" fmla="*/ 0 w 348890"/>
                  <a:gd name="connsiteY2" fmla="*/ 103056 h 112393"/>
                  <a:gd name="connsiteX3" fmla="*/ 87147 w 348890"/>
                  <a:gd name="connsiteY3" fmla="*/ 12797 h 112393"/>
                  <a:gd name="connsiteX4" fmla="*/ 323690 w 348890"/>
                  <a:gd name="connsiteY4" fmla="*/ 9685 h 112393"/>
                  <a:gd name="connsiteX5" fmla="*/ 348588 w 348890"/>
                  <a:gd name="connsiteY5" fmla="*/ 31471 h 112393"/>
                  <a:gd name="connsiteX6" fmla="*/ 267665 w 348890"/>
                  <a:gd name="connsiteY6" fmla="*/ 53258 h 112393"/>
                  <a:gd name="connsiteX7" fmla="*/ 261442 w 348890"/>
                  <a:gd name="connsiteY7" fmla="*/ 47033 h 112393"/>
                  <a:gd name="connsiteX8" fmla="*/ 267665 w 348890"/>
                  <a:gd name="connsiteY8" fmla="*/ 40808 h 112393"/>
                  <a:gd name="connsiteX9" fmla="*/ 336138 w 348890"/>
                  <a:gd name="connsiteY9" fmla="*/ 28359 h 112393"/>
                  <a:gd name="connsiteX10" fmla="*/ 336138 w 348890"/>
                  <a:gd name="connsiteY10" fmla="*/ 28359 h 112393"/>
                  <a:gd name="connsiteX11" fmla="*/ 320576 w 348890"/>
                  <a:gd name="connsiteY11" fmla="*/ 19022 h 112393"/>
                  <a:gd name="connsiteX12" fmla="*/ 90260 w 348890"/>
                  <a:gd name="connsiteY12" fmla="*/ 22134 h 112393"/>
                  <a:gd name="connsiteX13" fmla="*/ 12450 w 348890"/>
                  <a:gd name="connsiteY13" fmla="*/ 106169 h 112393"/>
                  <a:gd name="connsiteX14" fmla="*/ 6225 w 348890"/>
                  <a:gd name="connsiteY14" fmla="*/ 112393 h 112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8890" h="112393">
                    <a:moveTo>
                      <a:pt x="6225" y="112393"/>
                    </a:moveTo>
                    <a:cubicBezTo>
                      <a:pt x="6225" y="112393"/>
                      <a:pt x="6225" y="112393"/>
                      <a:pt x="6225" y="112393"/>
                    </a:cubicBezTo>
                    <a:cubicBezTo>
                      <a:pt x="0" y="109281"/>
                      <a:pt x="0" y="106169"/>
                      <a:pt x="0" y="103056"/>
                    </a:cubicBezTo>
                    <a:cubicBezTo>
                      <a:pt x="0" y="99944"/>
                      <a:pt x="37349" y="22134"/>
                      <a:pt x="87147" y="12797"/>
                    </a:cubicBezTo>
                    <a:cubicBezTo>
                      <a:pt x="130721" y="3460"/>
                      <a:pt x="267665" y="-8990"/>
                      <a:pt x="323690" y="9685"/>
                    </a:cubicBezTo>
                    <a:cubicBezTo>
                      <a:pt x="329913" y="12797"/>
                      <a:pt x="351700" y="19022"/>
                      <a:pt x="348588" y="31471"/>
                    </a:cubicBezTo>
                    <a:cubicBezTo>
                      <a:pt x="345475" y="50146"/>
                      <a:pt x="292566" y="56370"/>
                      <a:pt x="267665" y="53258"/>
                    </a:cubicBezTo>
                    <a:cubicBezTo>
                      <a:pt x="264553" y="53258"/>
                      <a:pt x="261442" y="50146"/>
                      <a:pt x="261442" y="47033"/>
                    </a:cubicBezTo>
                    <a:cubicBezTo>
                      <a:pt x="261442" y="43921"/>
                      <a:pt x="264553" y="40808"/>
                      <a:pt x="267665" y="40808"/>
                    </a:cubicBezTo>
                    <a:cubicBezTo>
                      <a:pt x="298789" y="43921"/>
                      <a:pt x="333026" y="34584"/>
                      <a:pt x="336138" y="28359"/>
                    </a:cubicBezTo>
                    <a:lnTo>
                      <a:pt x="336138" y="28359"/>
                    </a:lnTo>
                    <a:cubicBezTo>
                      <a:pt x="336138" y="28359"/>
                      <a:pt x="336138" y="25246"/>
                      <a:pt x="320576" y="19022"/>
                    </a:cubicBezTo>
                    <a:cubicBezTo>
                      <a:pt x="267665" y="347"/>
                      <a:pt x="133832" y="12797"/>
                      <a:pt x="90260" y="22134"/>
                    </a:cubicBezTo>
                    <a:cubicBezTo>
                      <a:pt x="49798" y="31471"/>
                      <a:pt x="12450" y="106169"/>
                      <a:pt x="12450" y="106169"/>
                    </a:cubicBezTo>
                    <a:cubicBezTo>
                      <a:pt x="12450" y="109281"/>
                      <a:pt x="9337" y="112393"/>
                      <a:pt x="6225" y="11239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B166892D-04C1-4429-9EB4-141EED33DC6F}"/>
                  </a:ext>
                </a:extLst>
              </p:cNvPr>
              <p:cNvSpPr/>
              <p:nvPr/>
            </p:nvSpPr>
            <p:spPr>
              <a:xfrm>
                <a:off x="21942146" y="3063557"/>
                <a:ext cx="47001" cy="100979"/>
              </a:xfrm>
              <a:custGeom>
                <a:avLst/>
                <a:gdLst>
                  <a:gd name="connsiteX0" fmla="*/ 41846 w 47001"/>
                  <a:gd name="connsiteY0" fmla="*/ 100980 h 100979"/>
                  <a:gd name="connsiteX1" fmla="*/ 35620 w 47001"/>
                  <a:gd name="connsiteY1" fmla="*/ 94755 h 100979"/>
                  <a:gd name="connsiteX2" fmla="*/ 1383 w 47001"/>
                  <a:gd name="connsiteY2" fmla="*/ 10720 h 100979"/>
                  <a:gd name="connsiteX3" fmla="*/ 1383 w 47001"/>
                  <a:gd name="connsiteY3" fmla="*/ 1383 h 100979"/>
                  <a:gd name="connsiteX4" fmla="*/ 10722 w 47001"/>
                  <a:gd name="connsiteY4" fmla="*/ 1383 h 100979"/>
                  <a:gd name="connsiteX5" fmla="*/ 44957 w 47001"/>
                  <a:gd name="connsiteY5" fmla="*/ 91643 h 100979"/>
                  <a:gd name="connsiteX6" fmla="*/ 41846 w 47001"/>
                  <a:gd name="connsiteY6" fmla="*/ 100980 h 100979"/>
                  <a:gd name="connsiteX7" fmla="*/ 41846 w 47001"/>
                  <a:gd name="connsiteY7" fmla="*/ 100980 h 100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001" h="100979">
                    <a:moveTo>
                      <a:pt x="41846" y="100980"/>
                    </a:moveTo>
                    <a:cubicBezTo>
                      <a:pt x="38732" y="100980"/>
                      <a:pt x="35620" y="97867"/>
                      <a:pt x="35620" y="94755"/>
                    </a:cubicBezTo>
                    <a:cubicBezTo>
                      <a:pt x="32507" y="54294"/>
                      <a:pt x="4496" y="10720"/>
                      <a:pt x="1383" y="10720"/>
                    </a:cubicBezTo>
                    <a:cubicBezTo>
                      <a:pt x="-1729" y="7608"/>
                      <a:pt x="1383" y="4496"/>
                      <a:pt x="1383" y="1383"/>
                    </a:cubicBezTo>
                    <a:cubicBezTo>
                      <a:pt x="4496" y="-1729"/>
                      <a:pt x="7608" y="1383"/>
                      <a:pt x="10722" y="1383"/>
                    </a:cubicBezTo>
                    <a:cubicBezTo>
                      <a:pt x="10722" y="4496"/>
                      <a:pt x="41846" y="44957"/>
                      <a:pt x="44957" y="91643"/>
                    </a:cubicBezTo>
                    <a:cubicBezTo>
                      <a:pt x="48069" y="97867"/>
                      <a:pt x="48069" y="97867"/>
                      <a:pt x="41846" y="100980"/>
                    </a:cubicBezTo>
                    <a:lnTo>
                      <a:pt x="41846" y="100980"/>
                    </a:ln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02B37B9F-084B-40BF-97D4-69E8B398A438}"/>
                  </a:ext>
                </a:extLst>
              </p:cNvPr>
              <p:cNvSpPr/>
              <p:nvPr/>
            </p:nvSpPr>
            <p:spPr>
              <a:xfrm>
                <a:off x="21971541" y="3067555"/>
                <a:ext cx="228493" cy="84532"/>
              </a:xfrm>
              <a:custGeom>
                <a:avLst/>
                <a:gdLst>
                  <a:gd name="connsiteX0" fmla="*/ 189855 w 228493"/>
                  <a:gd name="connsiteY0" fmla="*/ 84533 h 84532"/>
                  <a:gd name="connsiteX1" fmla="*/ 168070 w 228493"/>
                  <a:gd name="connsiteY1" fmla="*/ 78308 h 84532"/>
                  <a:gd name="connsiteX2" fmla="*/ 21787 w 228493"/>
                  <a:gd name="connsiteY2" fmla="*/ 53409 h 84532"/>
                  <a:gd name="connsiteX3" fmla="*/ 15562 w 228493"/>
                  <a:gd name="connsiteY3" fmla="*/ 47184 h 84532"/>
                  <a:gd name="connsiteX4" fmla="*/ 21787 w 228493"/>
                  <a:gd name="connsiteY4" fmla="*/ 40959 h 84532"/>
                  <a:gd name="connsiteX5" fmla="*/ 174293 w 228493"/>
                  <a:gd name="connsiteY5" fmla="*/ 65858 h 84532"/>
                  <a:gd name="connsiteX6" fmla="*/ 211642 w 228493"/>
                  <a:gd name="connsiteY6" fmla="*/ 62746 h 84532"/>
                  <a:gd name="connsiteX7" fmla="*/ 211642 w 228493"/>
                  <a:gd name="connsiteY7" fmla="*/ 53409 h 84532"/>
                  <a:gd name="connsiteX8" fmla="*/ 171182 w 228493"/>
                  <a:gd name="connsiteY8" fmla="*/ 22285 h 84532"/>
                  <a:gd name="connsiteX9" fmla="*/ 6225 w 228493"/>
                  <a:gd name="connsiteY9" fmla="*/ 19172 h 84532"/>
                  <a:gd name="connsiteX10" fmla="*/ 0 w 228493"/>
                  <a:gd name="connsiteY10" fmla="*/ 12948 h 84532"/>
                  <a:gd name="connsiteX11" fmla="*/ 6225 w 228493"/>
                  <a:gd name="connsiteY11" fmla="*/ 6723 h 84532"/>
                  <a:gd name="connsiteX12" fmla="*/ 177407 w 228493"/>
                  <a:gd name="connsiteY12" fmla="*/ 12948 h 84532"/>
                  <a:gd name="connsiteX13" fmla="*/ 227204 w 228493"/>
                  <a:gd name="connsiteY13" fmla="*/ 50296 h 84532"/>
                  <a:gd name="connsiteX14" fmla="*/ 224093 w 228493"/>
                  <a:gd name="connsiteY14" fmla="*/ 68971 h 84532"/>
                  <a:gd name="connsiteX15" fmla="*/ 189855 w 228493"/>
                  <a:gd name="connsiteY15" fmla="*/ 84533 h 84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28493" h="84532">
                    <a:moveTo>
                      <a:pt x="189855" y="84533"/>
                    </a:moveTo>
                    <a:cubicBezTo>
                      <a:pt x="183632" y="84533"/>
                      <a:pt x="177407" y="84533"/>
                      <a:pt x="168070" y="78308"/>
                    </a:cubicBezTo>
                    <a:cubicBezTo>
                      <a:pt x="149394" y="68971"/>
                      <a:pt x="87147" y="50296"/>
                      <a:pt x="21787" y="53409"/>
                    </a:cubicBezTo>
                    <a:cubicBezTo>
                      <a:pt x="18674" y="53409"/>
                      <a:pt x="15562" y="50296"/>
                      <a:pt x="15562" y="47184"/>
                    </a:cubicBezTo>
                    <a:cubicBezTo>
                      <a:pt x="15562" y="44072"/>
                      <a:pt x="18674" y="40959"/>
                      <a:pt x="21787" y="40959"/>
                    </a:cubicBezTo>
                    <a:cubicBezTo>
                      <a:pt x="87147" y="34734"/>
                      <a:pt x="149394" y="53409"/>
                      <a:pt x="174293" y="65858"/>
                    </a:cubicBezTo>
                    <a:cubicBezTo>
                      <a:pt x="192969" y="75195"/>
                      <a:pt x="208531" y="65858"/>
                      <a:pt x="211642" y="62746"/>
                    </a:cubicBezTo>
                    <a:cubicBezTo>
                      <a:pt x="211642" y="62746"/>
                      <a:pt x="214756" y="59633"/>
                      <a:pt x="211642" y="53409"/>
                    </a:cubicBezTo>
                    <a:cubicBezTo>
                      <a:pt x="211642" y="47184"/>
                      <a:pt x="202305" y="34734"/>
                      <a:pt x="171182" y="22285"/>
                    </a:cubicBezTo>
                    <a:cubicBezTo>
                      <a:pt x="121384" y="498"/>
                      <a:pt x="6225" y="19172"/>
                      <a:pt x="6225" y="19172"/>
                    </a:cubicBezTo>
                    <a:cubicBezTo>
                      <a:pt x="3112" y="19172"/>
                      <a:pt x="0" y="16060"/>
                      <a:pt x="0" y="12948"/>
                    </a:cubicBezTo>
                    <a:cubicBezTo>
                      <a:pt x="0" y="9835"/>
                      <a:pt x="3112" y="6723"/>
                      <a:pt x="6225" y="6723"/>
                    </a:cubicBezTo>
                    <a:cubicBezTo>
                      <a:pt x="12450" y="6723"/>
                      <a:pt x="124496" y="-11952"/>
                      <a:pt x="177407" y="12948"/>
                    </a:cubicBezTo>
                    <a:cubicBezTo>
                      <a:pt x="205417" y="25397"/>
                      <a:pt x="220979" y="37847"/>
                      <a:pt x="227204" y="50296"/>
                    </a:cubicBezTo>
                    <a:cubicBezTo>
                      <a:pt x="230318" y="56521"/>
                      <a:pt x="227204" y="62746"/>
                      <a:pt x="224093" y="68971"/>
                    </a:cubicBezTo>
                    <a:cubicBezTo>
                      <a:pt x="214756" y="78308"/>
                      <a:pt x="202305" y="84533"/>
                      <a:pt x="189855" y="8453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6FB12CF6-0A60-43D3-9770-0FCB5F11D980}"/>
                  </a:ext>
                </a:extLst>
              </p:cNvPr>
              <p:cNvSpPr/>
              <p:nvPr/>
            </p:nvSpPr>
            <p:spPr>
              <a:xfrm>
                <a:off x="21990993" y="3155200"/>
                <a:ext cx="152332" cy="68472"/>
              </a:xfrm>
              <a:custGeom>
                <a:avLst/>
                <a:gdLst>
                  <a:gd name="connsiteX0" fmla="*/ 129942 w 152332"/>
                  <a:gd name="connsiteY0" fmla="*/ 68473 h 68472"/>
                  <a:gd name="connsiteX1" fmla="*/ 98819 w 152332"/>
                  <a:gd name="connsiteY1" fmla="*/ 65360 h 68472"/>
                  <a:gd name="connsiteX2" fmla="*/ 11672 w 152332"/>
                  <a:gd name="connsiteY2" fmla="*/ 65360 h 68472"/>
                  <a:gd name="connsiteX3" fmla="*/ 2335 w 152332"/>
                  <a:gd name="connsiteY3" fmla="*/ 65360 h 68472"/>
                  <a:gd name="connsiteX4" fmla="*/ 2335 w 152332"/>
                  <a:gd name="connsiteY4" fmla="*/ 56023 h 68472"/>
                  <a:gd name="connsiteX5" fmla="*/ 101932 w 152332"/>
                  <a:gd name="connsiteY5" fmla="*/ 52911 h 68472"/>
                  <a:gd name="connsiteX6" fmla="*/ 133056 w 152332"/>
                  <a:gd name="connsiteY6" fmla="*/ 56023 h 68472"/>
                  <a:gd name="connsiteX7" fmla="*/ 142393 w 152332"/>
                  <a:gd name="connsiteY7" fmla="*/ 52911 h 68472"/>
                  <a:gd name="connsiteX8" fmla="*/ 126831 w 152332"/>
                  <a:gd name="connsiteY8" fmla="*/ 34236 h 68472"/>
                  <a:gd name="connsiteX9" fmla="*/ 24122 w 152332"/>
                  <a:gd name="connsiteY9" fmla="*/ 12450 h 68472"/>
                  <a:gd name="connsiteX10" fmla="*/ 17897 w 152332"/>
                  <a:gd name="connsiteY10" fmla="*/ 6225 h 68472"/>
                  <a:gd name="connsiteX11" fmla="*/ 24122 w 152332"/>
                  <a:gd name="connsiteY11" fmla="*/ 0 h 68472"/>
                  <a:gd name="connsiteX12" fmla="*/ 133056 w 152332"/>
                  <a:gd name="connsiteY12" fmla="*/ 24899 h 68472"/>
                  <a:gd name="connsiteX13" fmla="*/ 151730 w 152332"/>
                  <a:gd name="connsiteY13" fmla="*/ 56023 h 68472"/>
                  <a:gd name="connsiteX14" fmla="*/ 129942 w 152332"/>
                  <a:gd name="connsiteY14" fmla="*/ 68473 h 68472"/>
                  <a:gd name="connsiteX15" fmla="*/ 129942 w 152332"/>
                  <a:gd name="connsiteY15" fmla="*/ 68473 h 68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2332" h="68472">
                    <a:moveTo>
                      <a:pt x="129942" y="68473"/>
                    </a:moveTo>
                    <a:cubicBezTo>
                      <a:pt x="123717" y="68473"/>
                      <a:pt x="111269" y="68473"/>
                      <a:pt x="98819" y="65360"/>
                    </a:cubicBezTo>
                    <a:cubicBezTo>
                      <a:pt x="70808" y="62248"/>
                      <a:pt x="21009" y="56023"/>
                      <a:pt x="11672" y="65360"/>
                    </a:cubicBezTo>
                    <a:cubicBezTo>
                      <a:pt x="8560" y="68473"/>
                      <a:pt x="5447" y="68473"/>
                      <a:pt x="2335" y="65360"/>
                    </a:cubicBezTo>
                    <a:cubicBezTo>
                      <a:pt x="-778" y="62248"/>
                      <a:pt x="-778" y="59135"/>
                      <a:pt x="2335" y="56023"/>
                    </a:cubicBezTo>
                    <a:cubicBezTo>
                      <a:pt x="14784" y="43574"/>
                      <a:pt x="52133" y="46686"/>
                      <a:pt x="101932" y="52911"/>
                    </a:cubicBezTo>
                    <a:cubicBezTo>
                      <a:pt x="114381" y="56023"/>
                      <a:pt x="126831" y="56023"/>
                      <a:pt x="133056" y="56023"/>
                    </a:cubicBezTo>
                    <a:cubicBezTo>
                      <a:pt x="136168" y="56023"/>
                      <a:pt x="139279" y="56023"/>
                      <a:pt x="142393" y="52911"/>
                    </a:cubicBezTo>
                    <a:cubicBezTo>
                      <a:pt x="142393" y="49798"/>
                      <a:pt x="139279" y="40461"/>
                      <a:pt x="126831" y="34236"/>
                    </a:cubicBezTo>
                    <a:cubicBezTo>
                      <a:pt x="111269" y="24899"/>
                      <a:pt x="45907" y="15562"/>
                      <a:pt x="24122" y="12450"/>
                    </a:cubicBezTo>
                    <a:cubicBezTo>
                      <a:pt x="21009" y="12450"/>
                      <a:pt x="17897" y="9337"/>
                      <a:pt x="17897" y="6225"/>
                    </a:cubicBezTo>
                    <a:cubicBezTo>
                      <a:pt x="17897" y="3112"/>
                      <a:pt x="21009" y="0"/>
                      <a:pt x="24122" y="0"/>
                    </a:cubicBezTo>
                    <a:cubicBezTo>
                      <a:pt x="33459" y="0"/>
                      <a:pt x="114381" y="9337"/>
                      <a:pt x="133056" y="24899"/>
                    </a:cubicBezTo>
                    <a:cubicBezTo>
                      <a:pt x="145504" y="34236"/>
                      <a:pt x="154841" y="46686"/>
                      <a:pt x="151730" y="56023"/>
                    </a:cubicBezTo>
                    <a:cubicBezTo>
                      <a:pt x="148618" y="62248"/>
                      <a:pt x="145504" y="68473"/>
                      <a:pt x="129942" y="68473"/>
                    </a:cubicBezTo>
                    <a:lnTo>
                      <a:pt x="129942" y="68473"/>
                    </a:ln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85" name="图形 1">
            <a:extLst>
              <a:ext uri="{FF2B5EF4-FFF2-40B4-BE49-F238E27FC236}">
                <a16:creationId xmlns:a16="http://schemas.microsoft.com/office/drawing/2014/main" id="{BC26162A-0149-499E-B677-2E61CB2C4BC4}"/>
              </a:ext>
            </a:extLst>
          </p:cNvPr>
          <p:cNvGrpSpPr/>
          <p:nvPr/>
        </p:nvGrpSpPr>
        <p:grpSpPr>
          <a:xfrm>
            <a:off x="6187501" y="2085167"/>
            <a:ext cx="2672952" cy="4601934"/>
            <a:chOff x="23620095" y="2068975"/>
            <a:chExt cx="2672952" cy="4601934"/>
          </a:xfrm>
        </p:grpSpPr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D4B8ADDE-5A2C-463B-B636-21C2ACFFE362}"/>
                </a:ext>
              </a:extLst>
            </p:cNvPr>
            <p:cNvSpPr/>
            <p:nvPr/>
          </p:nvSpPr>
          <p:spPr>
            <a:xfrm>
              <a:off x="23868377" y="3028390"/>
              <a:ext cx="923902" cy="610019"/>
            </a:xfrm>
            <a:custGeom>
              <a:avLst/>
              <a:gdLst>
                <a:gd name="connsiteX0" fmla="*/ 814057 w 923902"/>
                <a:gd name="connsiteY0" fmla="*/ 8540 h 610019"/>
                <a:gd name="connsiteX1" fmla="*/ 381436 w 923902"/>
                <a:gd name="connsiteY1" fmla="*/ 400701 h 610019"/>
                <a:gd name="connsiteX2" fmla="*/ 73308 w 923902"/>
                <a:gd name="connsiteY2" fmla="*/ 126810 h 610019"/>
                <a:gd name="connsiteX3" fmla="*/ 4835 w 923902"/>
                <a:gd name="connsiteY3" fmla="*/ 195283 h 610019"/>
                <a:gd name="connsiteX4" fmla="*/ 381436 w 923902"/>
                <a:gd name="connsiteY4" fmla="*/ 609231 h 610019"/>
                <a:gd name="connsiteX5" fmla="*/ 851406 w 923902"/>
                <a:gd name="connsiteY5" fmla="*/ 226407 h 610019"/>
                <a:gd name="connsiteX6" fmla="*/ 814057 w 923902"/>
                <a:gd name="connsiteY6" fmla="*/ 8540 h 61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902" h="610019">
                  <a:moveTo>
                    <a:pt x="814057" y="8540"/>
                  </a:moveTo>
                  <a:cubicBezTo>
                    <a:pt x="702012" y="39664"/>
                    <a:pt x="381436" y="400701"/>
                    <a:pt x="381436" y="400701"/>
                  </a:cubicBezTo>
                  <a:cubicBezTo>
                    <a:pt x="381436" y="400701"/>
                    <a:pt x="79533" y="123698"/>
                    <a:pt x="73308" y="126810"/>
                  </a:cubicBezTo>
                  <a:cubicBezTo>
                    <a:pt x="11060" y="157934"/>
                    <a:pt x="-10727" y="161047"/>
                    <a:pt x="4835" y="195283"/>
                  </a:cubicBezTo>
                  <a:cubicBezTo>
                    <a:pt x="11060" y="204620"/>
                    <a:pt x="200918" y="571883"/>
                    <a:pt x="381436" y="609231"/>
                  </a:cubicBezTo>
                  <a:cubicBezTo>
                    <a:pt x="449909" y="624793"/>
                    <a:pt x="695787" y="406926"/>
                    <a:pt x="851406" y="226407"/>
                  </a:cubicBezTo>
                  <a:cubicBezTo>
                    <a:pt x="926104" y="139260"/>
                    <a:pt x="982127" y="-41259"/>
                    <a:pt x="814057" y="8540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6E390EE2-C1D7-4338-9261-5BB30C1558A8}"/>
                </a:ext>
              </a:extLst>
            </p:cNvPr>
            <p:cNvSpPr/>
            <p:nvPr/>
          </p:nvSpPr>
          <p:spPr>
            <a:xfrm>
              <a:off x="24483242" y="2901293"/>
              <a:ext cx="493643" cy="487336"/>
            </a:xfrm>
            <a:custGeom>
              <a:avLst/>
              <a:gdLst>
                <a:gd name="connsiteX0" fmla="*/ 245878 w 493643"/>
                <a:gd name="connsiteY0" fmla="*/ 487337 h 487336"/>
                <a:gd name="connsiteX1" fmla="*/ 488646 w 493643"/>
                <a:gd name="connsiteY1" fmla="*/ 36040 h 487336"/>
                <a:gd name="connsiteX2" fmla="*/ 0 w 493643"/>
                <a:gd name="connsiteY2" fmla="*/ 194772 h 487336"/>
                <a:gd name="connsiteX3" fmla="*/ 245878 w 493643"/>
                <a:gd name="connsiteY3" fmla="*/ 487337 h 487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3643" h="487336">
                  <a:moveTo>
                    <a:pt x="245878" y="487337"/>
                  </a:moveTo>
                  <a:cubicBezTo>
                    <a:pt x="401497" y="384628"/>
                    <a:pt x="519770" y="110737"/>
                    <a:pt x="488646" y="36040"/>
                  </a:cubicBezTo>
                  <a:cubicBezTo>
                    <a:pt x="448183" y="-63557"/>
                    <a:pt x="161845" y="60939"/>
                    <a:pt x="0" y="194772"/>
                  </a:cubicBezTo>
                  <a:cubicBezTo>
                    <a:pt x="9337" y="272582"/>
                    <a:pt x="161845" y="425089"/>
                    <a:pt x="245878" y="487337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8" name="图形 1">
              <a:extLst>
                <a:ext uri="{FF2B5EF4-FFF2-40B4-BE49-F238E27FC236}">
                  <a16:creationId xmlns:a16="http://schemas.microsoft.com/office/drawing/2014/main" id="{04A50B8F-6AAE-47C5-8C19-6CC499FFC8B1}"/>
                </a:ext>
              </a:extLst>
            </p:cNvPr>
            <p:cNvGrpSpPr/>
            <p:nvPr/>
          </p:nvGrpSpPr>
          <p:grpSpPr>
            <a:xfrm>
              <a:off x="23620095" y="2443189"/>
              <a:ext cx="2672952" cy="914316"/>
              <a:chOff x="23620095" y="2443189"/>
              <a:chExt cx="2672952" cy="914316"/>
            </a:xfrm>
          </p:grpSpPr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0026A56C-7532-40B6-B129-34BF983A662B}"/>
                  </a:ext>
                </a:extLst>
              </p:cNvPr>
              <p:cNvSpPr/>
              <p:nvPr/>
            </p:nvSpPr>
            <p:spPr>
              <a:xfrm>
                <a:off x="23636671" y="2443189"/>
                <a:ext cx="2653181" cy="889417"/>
              </a:xfrm>
              <a:custGeom>
                <a:avLst/>
                <a:gdLst>
                  <a:gd name="connsiteX0" fmla="*/ 700288 w 2653181"/>
                  <a:gd name="connsiteY0" fmla="*/ 475469 h 889417"/>
                  <a:gd name="connsiteX1" fmla="*/ 1428589 w 2653181"/>
                  <a:gd name="connsiteY1" fmla="*/ 195354 h 889417"/>
                  <a:gd name="connsiteX2" fmla="*/ 2188011 w 2653181"/>
                  <a:gd name="connsiteY2" fmla="*/ 17947 h 889417"/>
                  <a:gd name="connsiteX3" fmla="*/ 2577060 w 2653181"/>
                  <a:gd name="connsiteY3" fmla="*/ 2385 h 889417"/>
                  <a:gd name="connsiteX4" fmla="*/ 2577060 w 2653181"/>
                  <a:gd name="connsiteY4" fmla="*/ 24172 h 889417"/>
                  <a:gd name="connsiteX5" fmla="*/ 2194236 w 2653181"/>
                  <a:gd name="connsiteY5" fmla="*/ 61521 h 889417"/>
                  <a:gd name="connsiteX6" fmla="*/ 2160001 w 2653181"/>
                  <a:gd name="connsiteY6" fmla="*/ 67746 h 889417"/>
                  <a:gd name="connsiteX7" fmla="*/ 2160001 w 2653181"/>
                  <a:gd name="connsiteY7" fmla="*/ 77083 h 889417"/>
                  <a:gd name="connsiteX8" fmla="*/ 2128877 w 2653181"/>
                  <a:gd name="connsiteY8" fmla="*/ 83308 h 889417"/>
                  <a:gd name="connsiteX9" fmla="*/ 2128877 w 2653181"/>
                  <a:gd name="connsiteY9" fmla="*/ 70858 h 889417"/>
                  <a:gd name="connsiteX10" fmla="*/ 1836311 w 2653181"/>
                  <a:gd name="connsiteY10" fmla="*/ 133106 h 889417"/>
                  <a:gd name="connsiteX11" fmla="*/ 1839423 w 2653181"/>
                  <a:gd name="connsiteY11" fmla="*/ 158005 h 889417"/>
                  <a:gd name="connsiteX12" fmla="*/ 1808299 w 2653181"/>
                  <a:gd name="connsiteY12" fmla="*/ 164230 h 889417"/>
                  <a:gd name="connsiteX13" fmla="*/ 1805187 w 2653181"/>
                  <a:gd name="connsiteY13" fmla="*/ 139331 h 889417"/>
                  <a:gd name="connsiteX14" fmla="*/ 1459713 w 2653181"/>
                  <a:gd name="connsiteY14" fmla="*/ 245152 h 889417"/>
                  <a:gd name="connsiteX15" fmla="*/ 1465936 w 2653181"/>
                  <a:gd name="connsiteY15" fmla="*/ 254489 h 889417"/>
                  <a:gd name="connsiteX16" fmla="*/ 1441037 w 2653181"/>
                  <a:gd name="connsiteY16" fmla="*/ 276276 h 889417"/>
                  <a:gd name="connsiteX17" fmla="*/ 1425475 w 2653181"/>
                  <a:gd name="connsiteY17" fmla="*/ 254489 h 889417"/>
                  <a:gd name="connsiteX18" fmla="*/ 1098674 w 2653181"/>
                  <a:gd name="connsiteY18" fmla="*/ 369648 h 889417"/>
                  <a:gd name="connsiteX19" fmla="*/ 1104899 w 2653181"/>
                  <a:gd name="connsiteY19" fmla="*/ 382097 h 889417"/>
                  <a:gd name="connsiteX20" fmla="*/ 1076887 w 2653181"/>
                  <a:gd name="connsiteY20" fmla="*/ 397659 h 889417"/>
                  <a:gd name="connsiteX21" fmla="*/ 1070664 w 2653181"/>
                  <a:gd name="connsiteY21" fmla="*/ 382097 h 889417"/>
                  <a:gd name="connsiteX22" fmla="*/ 806110 w 2653181"/>
                  <a:gd name="connsiteY22" fmla="*/ 497256 h 889417"/>
                  <a:gd name="connsiteX23" fmla="*/ 809222 w 2653181"/>
                  <a:gd name="connsiteY23" fmla="*/ 519042 h 889417"/>
                  <a:gd name="connsiteX24" fmla="*/ 778098 w 2653181"/>
                  <a:gd name="connsiteY24" fmla="*/ 525267 h 889417"/>
                  <a:gd name="connsiteX25" fmla="*/ 774986 w 2653181"/>
                  <a:gd name="connsiteY25" fmla="*/ 512818 h 889417"/>
                  <a:gd name="connsiteX26" fmla="*/ 734524 w 2653181"/>
                  <a:gd name="connsiteY26" fmla="*/ 531492 h 889417"/>
                  <a:gd name="connsiteX27" fmla="*/ 43574 w 2653181"/>
                  <a:gd name="connsiteY27" fmla="*/ 889417 h 889417"/>
                  <a:gd name="connsiteX28" fmla="*/ 0 w 2653181"/>
                  <a:gd name="connsiteY28" fmla="*/ 820944 h 889417"/>
                  <a:gd name="connsiteX29" fmla="*/ 700288 w 2653181"/>
                  <a:gd name="connsiteY29" fmla="*/ 475469 h 88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653181" h="889417">
                    <a:moveTo>
                      <a:pt x="700288" y="475469"/>
                    </a:moveTo>
                    <a:cubicBezTo>
                      <a:pt x="936829" y="369648"/>
                      <a:pt x="1179597" y="276276"/>
                      <a:pt x="1428589" y="195354"/>
                    </a:cubicBezTo>
                    <a:cubicBezTo>
                      <a:pt x="1674467" y="114431"/>
                      <a:pt x="1929683" y="52184"/>
                      <a:pt x="2188011" y="17947"/>
                    </a:cubicBezTo>
                    <a:cubicBezTo>
                      <a:pt x="2315620" y="2385"/>
                      <a:pt x="2446339" y="-3839"/>
                      <a:pt x="2577060" y="2385"/>
                    </a:cubicBezTo>
                    <a:cubicBezTo>
                      <a:pt x="2648645" y="5498"/>
                      <a:pt x="2704669" y="24172"/>
                      <a:pt x="2577060" y="24172"/>
                    </a:cubicBezTo>
                    <a:cubicBezTo>
                      <a:pt x="2449453" y="24172"/>
                      <a:pt x="2321844" y="39734"/>
                      <a:pt x="2194236" y="61521"/>
                    </a:cubicBezTo>
                    <a:cubicBezTo>
                      <a:pt x="2181786" y="64633"/>
                      <a:pt x="2169338" y="64633"/>
                      <a:pt x="2160001" y="67746"/>
                    </a:cubicBezTo>
                    <a:cubicBezTo>
                      <a:pt x="2160001" y="70858"/>
                      <a:pt x="2160001" y="73970"/>
                      <a:pt x="2160001" y="77083"/>
                    </a:cubicBezTo>
                    <a:cubicBezTo>
                      <a:pt x="2163112" y="98870"/>
                      <a:pt x="2131989" y="105094"/>
                      <a:pt x="2128877" y="83308"/>
                    </a:cubicBezTo>
                    <a:cubicBezTo>
                      <a:pt x="2128877" y="80195"/>
                      <a:pt x="2128877" y="73970"/>
                      <a:pt x="2128877" y="70858"/>
                    </a:cubicBezTo>
                    <a:cubicBezTo>
                      <a:pt x="2032392" y="89532"/>
                      <a:pt x="1932795" y="108207"/>
                      <a:pt x="1836311" y="133106"/>
                    </a:cubicBezTo>
                    <a:cubicBezTo>
                      <a:pt x="1836311" y="142443"/>
                      <a:pt x="1839423" y="148668"/>
                      <a:pt x="1839423" y="158005"/>
                    </a:cubicBezTo>
                    <a:cubicBezTo>
                      <a:pt x="1842536" y="179792"/>
                      <a:pt x="1808299" y="186016"/>
                      <a:pt x="1808299" y="164230"/>
                    </a:cubicBezTo>
                    <a:cubicBezTo>
                      <a:pt x="1808299" y="154893"/>
                      <a:pt x="1805187" y="148668"/>
                      <a:pt x="1805187" y="139331"/>
                    </a:cubicBezTo>
                    <a:cubicBezTo>
                      <a:pt x="1686917" y="167342"/>
                      <a:pt x="1571758" y="201578"/>
                      <a:pt x="1459713" y="245152"/>
                    </a:cubicBezTo>
                    <a:cubicBezTo>
                      <a:pt x="1462824" y="248264"/>
                      <a:pt x="1462824" y="251377"/>
                      <a:pt x="1465936" y="254489"/>
                    </a:cubicBezTo>
                    <a:cubicBezTo>
                      <a:pt x="1478386" y="270051"/>
                      <a:pt x="1456599" y="291838"/>
                      <a:pt x="1441037" y="276276"/>
                    </a:cubicBezTo>
                    <a:cubicBezTo>
                      <a:pt x="1434812" y="270051"/>
                      <a:pt x="1431700" y="260714"/>
                      <a:pt x="1425475" y="254489"/>
                    </a:cubicBezTo>
                    <a:cubicBezTo>
                      <a:pt x="1313430" y="291838"/>
                      <a:pt x="1204496" y="329187"/>
                      <a:pt x="1098674" y="369648"/>
                    </a:cubicBezTo>
                    <a:cubicBezTo>
                      <a:pt x="1101788" y="372760"/>
                      <a:pt x="1101788" y="378985"/>
                      <a:pt x="1104899" y="382097"/>
                    </a:cubicBezTo>
                    <a:cubicBezTo>
                      <a:pt x="1114236" y="400772"/>
                      <a:pt x="1086226" y="416333"/>
                      <a:pt x="1076887" y="397659"/>
                    </a:cubicBezTo>
                    <a:cubicBezTo>
                      <a:pt x="1073775" y="391434"/>
                      <a:pt x="1070664" y="388322"/>
                      <a:pt x="1070664" y="382097"/>
                    </a:cubicBezTo>
                    <a:cubicBezTo>
                      <a:pt x="980403" y="416333"/>
                      <a:pt x="893257" y="456795"/>
                      <a:pt x="806110" y="497256"/>
                    </a:cubicBezTo>
                    <a:lnTo>
                      <a:pt x="809222" y="519042"/>
                    </a:lnTo>
                    <a:cubicBezTo>
                      <a:pt x="812334" y="540829"/>
                      <a:pt x="781210" y="547054"/>
                      <a:pt x="778098" y="525267"/>
                    </a:cubicBezTo>
                    <a:cubicBezTo>
                      <a:pt x="778098" y="522155"/>
                      <a:pt x="774986" y="515930"/>
                      <a:pt x="774986" y="512818"/>
                    </a:cubicBezTo>
                    <a:cubicBezTo>
                      <a:pt x="762536" y="519042"/>
                      <a:pt x="750086" y="525267"/>
                      <a:pt x="734524" y="531492"/>
                    </a:cubicBezTo>
                    <a:cubicBezTo>
                      <a:pt x="507320" y="646651"/>
                      <a:pt x="258328" y="752472"/>
                      <a:pt x="43574" y="889417"/>
                    </a:cubicBezTo>
                    <a:lnTo>
                      <a:pt x="0" y="820944"/>
                    </a:lnTo>
                    <a:cubicBezTo>
                      <a:pt x="230318" y="696449"/>
                      <a:pt x="463747" y="581290"/>
                      <a:pt x="700288" y="475469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FF978BA3-CFE4-4176-9894-94609417F69D}"/>
                  </a:ext>
                </a:extLst>
              </p:cNvPr>
              <p:cNvSpPr/>
              <p:nvPr/>
            </p:nvSpPr>
            <p:spPr>
              <a:xfrm>
                <a:off x="23620095" y="3095851"/>
                <a:ext cx="380844" cy="261654"/>
              </a:xfrm>
              <a:custGeom>
                <a:avLst/>
                <a:gdLst>
                  <a:gd name="connsiteX0" fmla="*/ 380726 w 380844"/>
                  <a:gd name="connsiteY0" fmla="*/ 78024 h 261654"/>
                  <a:gd name="connsiteX1" fmla="*/ 53925 w 380844"/>
                  <a:gd name="connsiteY1" fmla="*/ 261655 h 261654"/>
                  <a:gd name="connsiteX2" fmla="*/ 4126 w 380844"/>
                  <a:gd name="connsiteY2" fmla="*/ 171395 h 261654"/>
                  <a:gd name="connsiteX3" fmla="*/ 324704 w 380844"/>
                  <a:gd name="connsiteY3" fmla="*/ 214 h 261654"/>
                  <a:gd name="connsiteX4" fmla="*/ 380726 w 380844"/>
                  <a:gd name="connsiteY4" fmla="*/ 78024 h 261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0844" h="261654">
                    <a:moveTo>
                      <a:pt x="380726" y="78024"/>
                    </a:moveTo>
                    <a:cubicBezTo>
                      <a:pt x="380726" y="78024"/>
                      <a:pt x="72599" y="246093"/>
                      <a:pt x="53925" y="261655"/>
                    </a:cubicBezTo>
                    <a:cubicBezTo>
                      <a:pt x="53925" y="261655"/>
                      <a:pt x="-17660" y="227418"/>
                      <a:pt x="4126" y="171395"/>
                    </a:cubicBezTo>
                    <a:cubicBezTo>
                      <a:pt x="4126" y="171395"/>
                      <a:pt x="293580" y="3326"/>
                      <a:pt x="324704" y="214"/>
                    </a:cubicBezTo>
                    <a:cubicBezTo>
                      <a:pt x="324704" y="-2899"/>
                      <a:pt x="383838" y="28225"/>
                      <a:pt x="380726" y="7802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4EBDEE00-E13C-4EFC-9D29-6A1322C66070}"/>
                  </a:ext>
                </a:extLst>
              </p:cNvPr>
              <p:cNvSpPr/>
              <p:nvPr/>
            </p:nvSpPr>
            <p:spPr>
              <a:xfrm>
                <a:off x="23989977" y="2457533"/>
                <a:ext cx="2303070" cy="722975"/>
              </a:xfrm>
              <a:custGeom>
                <a:avLst/>
                <a:gdLst>
                  <a:gd name="connsiteX0" fmla="*/ 2292227 w 2303070"/>
                  <a:gd name="connsiteY0" fmla="*/ 491 h 722975"/>
                  <a:gd name="connsiteX1" fmla="*/ 1044158 w 2303070"/>
                  <a:gd name="connsiteY1" fmla="*/ 408215 h 722975"/>
                  <a:gd name="connsiteX2" fmla="*/ 443465 w 2303070"/>
                  <a:gd name="connsiteY2" fmla="*/ 560722 h 722975"/>
                  <a:gd name="connsiteX3" fmla="*/ 4618 w 2303070"/>
                  <a:gd name="connsiteY3" fmla="*/ 707004 h 722975"/>
                  <a:gd name="connsiteX4" fmla="*/ 10844 w 2303070"/>
                  <a:gd name="connsiteY4" fmla="*/ 722566 h 722975"/>
                  <a:gd name="connsiteX5" fmla="*/ 449690 w 2303070"/>
                  <a:gd name="connsiteY5" fmla="*/ 576284 h 722975"/>
                  <a:gd name="connsiteX6" fmla="*/ 1050381 w 2303070"/>
                  <a:gd name="connsiteY6" fmla="*/ 423777 h 722975"/>
                  <a:gd name="connsiteX7" fmla="*/ 2298452 w 2303070"/>
                  <a:gd name="connsiteY7" fmla="*/ 16053 h 722975"/>
                  <a:gd name="connsiteX8" fmla="*/ 2292227 w 2303070"/>
                  <a:gd name="connsiteY8" fmla="*/ 491 h 722975"/>
                  <a:gd name="connsiteX9" fmla="*/ 2292227 w 2303070"/>
                  <a:gd name="connsiteY9" fmla="*/ 491 h 722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03070" h="722975">
                    <a:moveTo>
                      <a:pt x="2292227" y="491"/>
                    </a:moveTo>
                    <a:cubicBezTo>
                      <a:pt x="1900066" y="193460"/>
                      <a:pt x="1467443" y="302393"/>
                      <a:pt x="1044158" y="408215"/>
                    </a:cubicBezTo>
                    <a:cubicBezTo>
                      <a:pt x="844964" y="458013"/>
                      <a:pt x="642659" y="507811"/>
                      <a:pt x="443465" y="560722"/>
                    </a:cubicBezTo>
                    <a:cubicBezTo>
                      <a:pt x="294071" y="601183"/>
                      <a:pt x="144676" y="641644"/>
                      <a:pt x="4618" y="707004"/>
                    </a:cubicBezTo>
                    <a:cubicBezTo>
                      <a:pt x="-4718" y="710117"/>
                      <a:pt x="1507" y="725679"/>
                      <a:pt x="10844" y="722566"/>
                    </a:cubicBezTo>
                    <a:cubicBezTo>
                      <a:pt x="150901" y="657206"/>
                      <a:pt x="300296" y="616745"/>
                      <a:pt x="449690" y="576284"/>
                    </a:cubicBezTo>
                    <a:cubicBezTo>
                      <a:pt x="648884" y="523373"/>
                      <a:pt x="848076" y="473575"/>
                      <a:pt x="1050381" y="423777"/>
                    </a:cubicBezTo>
                    <a:cubicBezTo>
                      <a:pt x="1473668" y="317955"/>
                      <a:pt x="1903178" y="209022"/>
                      <a:pt x="2298452" y="16053"/>
                    </a:cubicBezTo>
                    <a:cubicBezTo>
                      <a:pt x="2307789" y="9829"/>
                      <a:pt x="2301563" y="-2621"/>
                      <a:pt x="2292227" y="491"/>
                    </a:cubicBezTo>
                    <a:lnTo>
                      <a:pt x="2292227" y="491"/>
                    </a:ln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5FD1F8B2-0A94-4273-9F24-122CC64F2721}"/>
                </a:ext>
              </a:extLst>
            </p:cNvPr>
            <p:cNvSpPr/>
            <p:nvPr/>
          </p:nvSpPr>
          <p:spPr>
            <a:xfrm>
              <a:off x="25155518" y="4353471"/>
              <a:ext cx="918155" cy="1739826"/>
            </a:xfrm>
            <a:custGeom>
              <a:avLst/>
              <a:gdLst>
                <a:gd name="connsiteX0" fmla="*/ 812335 w 918155"/>
                <a:gd name="connsiteY0" fmla="*/ 1739827 h 1739826"/>
                <a:gd name="connsiteX1" fmla="*/ 96485 w 918155"/>
                <a:gd name="connsiteY1" fmla="*/ 1198271 h 1739826"/>
                <a:gd name="connsiteX2" fmla="*/ 0 w 918155"/>
                <a:gd name="connsiteY2" fmla="*/ 71585 h 1739826"/>
                <a:gd name="connsiteX3" fmla="*/ 385937 w 918155"/>
                <a:gd name="connsiteY3" fmla="*/ 0 h 1739826"/>
                <a:gd name="connsiteX4" fmla="*/ 385937 w 918155"/>
                <a:gd name="connsiteY4" fmla="*/ 1086225 h 1739826"/>
                <a:gd name="connsiteX5" fmla="*/ 918156 w 918155"/>
                <a:gd name="connsiteY5" fmla="*/ 1677579 h 1739826"/>
                <a:gd name="connsiteX6" fmla="*/ 812335 w 918155"/>
                <a:gd name="connsiteY6" fmla="*/ 1739827 h 1739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8155" h="1739826">
                  <a:moveTo>
                    <a:pt x="812335" y="1739827"/>
                  </a:moveTo>
                  <a:cubicBezTo>
                    <a:pt x="812335" y="1739827"/>
                    <a:pt x="130721" y="1266743"/>
                    <a:pt x="96485" y="1198271"/>
                  </a:cubicBezTo>
                  <a:cubicBezTo>
                    <a:pt x="62248" y="1129798"/>
                    <a:pt x="0" y="71585"/>
                    <a:pt x="0" y="71585"/>
                  </a:cubicBezTo>
                  <a:lnTo>
                    <a:pt x="385937" y="0"/>
                  </a:lnTo>
                  <a:cubicBezTo>
                    <a:pt x="385937" y="0"/>
                    <a:pt x="339251" y="1033314"/>
                    <a:pt x="385937" y="1086225"/>
                  </a:cubicBezTo>
                  <a:cubicBezTo>
                    <a:pt x="432623" y="1139135"/>
                    <a:pt x="918156" y="1677579"/>
                    <a:pt x="918156" y="1677579"/>
                  </a:cubicBezTo>
                  <a:lnTo>
                    <a:pt x="812335" y="1739827"/>
                  </a:ln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E31C8E49-F30A-478A-89F5-0A9E5BC07456}"/>
                </a:ext>
              </a:extLst>
            </p:cNvPr>
            <p:cNvSpPr/>
            <p:nvPr/>
          </p:nvSpPr>
          <p:spPr>
            <a:xfrm>
              <a:off x="24637602" y="4465517"/>
              <a:ext cx="468117" cy="2016829"/>
            </a:xfrm>
            <a:custGeom>
              <a:avLst/>
              <a:gdLst>
                <a:gd name="connsiteX0" fmla="*/ 303161 w 468117"/>
                <a:gd name="connsiteY0" fmla="*/ 2016830 h 2016829"/>
                <a:gd name="connsiteX1" fmla="*/ 290711 w 468117"/>
                <a:gd name="connsiteY1" fmla="*/ 905706 h 2016829"/>
                <a:gd name="connsiteX2" fmla="*/ 468118 w 468117"/>
                <a:gd name="connsiteY2" fmla="*/ 149395 h 2016829"/>
                <a:gd name="connsiteX3" fmla="*/ 119530 w 468117"/>
                <a:gd name="connsiteY3" fmla="*/ 0 h 2016829"/>
                <a:gd name="connsiteX4" fmla="*/ 1259 w 468117"/>
                <a:gd name="connsiteY4" fmla="*/ 880807 h 2016829"/>
                <a:gd name="connsiteX5" fmla="*/ 197339 w 468117"/>
                <a:gd name="connsiteY5" fmla="*/ 1960807 h 2016829"/>
                <a:gd name="connsiteX6" fmla="*/ 303161 w 468117"/>
                <a:gd name="connsiteY6" fmla="*/ 2016830 h 201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8117" h="2016829">
                  <a:moveTo>
                    <a:pt x="303161" y="2016830"/>
                  </a:moveTo>
                  <a:cubicBezTo>
                    <a:pt x="303161" y="2016830"/>
                    <a:pt x="278261" y="995965"/>
                    <a:pt x="290711" y="905706"/>
                  </a:cubicBezTo>
                  <a:cubicBezTo>
                    <a:pt x="303161" y="818559"/>
                    <a:pt x="468118" y="149395"/>
                    <a:pt x="468118" y="149395"/>
                  </a:cubicBezTo>
                  <a:lnTo>
                    <a:pt x="119530" y="0"/>
                  </a:lnTo>
                  <a:cubicBezTo>
                    <a:pt x="119530" y="0"/>
                    <a:pt x="-14303" y="809222"/>
                    <a:pt x="1259" y="880807"/>
                  </a:cubicBezTo>
                  <a:cubicBezTo>
                    <a:pt x="16821" y="952392"/>
                    <a:pt x="197339" y="1960807"/>
                    <a:pt x="197339" y="1960807"/>
                  </a:cubicBezTo>
                  <a:lnTo>
                    <a:pt x="303161" y="2016830"/>
                  </a:ln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1" name="图形 1">
              <a:extLst>
                <a:ext uri="{FF2B5EF4-FFF2-40B4-BE49-F238E27FC236}">
                  <a16:creationId xmlns:a16="http://schemas.microsoft.com/office/drawing/2014/main" id="{ED5C248B-1A45-42C4-AE54-E5B35B49ABAF}"/>
                </a:ext>
              </a:extLst>
            </p:cNvPr>
            <p:cNvGrpSpPr/>
            <p:nvPr/>
          </p:nvGrpSpPr>
          <p:grpSpPr>
            <a:xfrm>
              <a:off x="24538801" y="6301828"/>
              <a:ext cx="403518" cy="369081"/>
              <a:chOff x="24538801" y="6301828"/>
              <a:chExt cx="403518" cy="369081"/>
            </a:xfrm>
          </p:grpSpPr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2628AF95-DABE-4D17-8A4E-F9173353EBE8}"/>
                  </a:ext>
                </a:extLst>
              </p:cNvPr>
              <p:cNvSpPr/>
              <p:nvPr/>
            </p:nvSpPr>
            <p:spPr>
              <a:xfrm>
                <a:off x="24538801" y="6429436"/>
                <a:ext cx="403518" cy="241473"/>
              </a:xfrm>
              <a:custGeom>
                <a:avLst/>
                <a:gdLst>
                  <a:gd name="connsiteX0" fmla="*/ 293030 w 403518"/>
                  <a:gd name="connsiteY0" fmla="*/ 0 h 241473"/>
                  <a:gd name="connsiteX1" fmla="*/ 131185 w 403518"/>
                  <a:gd name="connsiteY1" fmla="*/ 127608 h 241473"/>
                  <a:gd name="connsiteX2" fmla="*/ 330377 w 403518"/>
                  <a:gd name="connsiteY2" fmla="*/ 77810 h 241473"/>
                  <a:gd name="connsiteX3" fmla="*/ 401963 w 403518"/>
                  <a:gd name="connsiteY3" fmla="*/ 52911 h 241473"/>
                  <a:gd name="connsiteX4" fmla="*/ 395738 w 403518"/>
                  <a:gd name="connsiteY4" fmla="*/ 161844 h 241473"/>
                  <a:gd name="connsiteX5" fmla="*/ 159195 w 403518"/>
                  <a:gd name="connsiteY5" fmla="*/ 236542 h 241473"/>
                  <a:gd name="connsiteX6" fmla="*/ 19138 w 403518"/>
                  <a:gd name="connsiteY6" fmla="*/ 236542 h 241473"/>
                  <a:gd name="connsiteX7" fmla="*/ 12914 w 403518"/>
                  <a:gd name="connsiteY7" fmla="*/ 180519 h 241473"/>
                  <a:gd name="connsiteX8" fmla="*/ 293030 w 403518"/>
                  <a:gd name="connsiteY8" fmla="*/ 0 h 241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3518" h="241473">
                    <a:moveTo>
                      <a:pt x="293030" y="0"/>
                    </a:moveTo>
                    <a:cubicBezTo>
                      <a:pt x="293030" y="0"/>
                      <a:pt x="115623" y="115158"/>
                      <a:pt x="131185" y="127608"/>
                    </a:cubicBezTo>
                    <a:cubicBezTo>
                      <a:pt x="143633" y="143170"/>
                      <a:pt x="330377" y="77810"/>
                      <a:pt x="330377" y="77810"/>
                    </a:cubicBezTo>
                    <a:lnTo>
                      <a:pt x="401963" y="52911"/>
                    </a:lnTo>
                    <a:cubicBezTo>
                      <a:pt x="401963" y="52911"/>
                      <a:pt x="408187" y="136945"/>
                      <a:pt x="395738" y="161844"/>
                    </a:cubicBezTo>
                    <a:cubicBezTo>
                      <a:pt x="321040" y="199193"/>
                      <a:pt x="233893" y="224092"/>
                      <a:pt x="159195" y="236542"/>
                    </a:cubicBezTo>
                    <a:cubicBezTo>
                      <a:pt x="112509" y="245879"/>
                      <a:pt x="28476" y="239654"/>
                      <a:pt x="19138" y="236542"/>
                    </a:cubicBezTo>
                    <a:cubicBezTo>
                      <a:pt x="9801" y="233429"/>
                      <a:pt x="-15098" y="208530"/>
                      <a:pt x="12914" y="180519"/>
                    </a:cubicBezTo>
                    <a:cubicBezTo>
                      <a:pt x="75162" y="112046"/>
                      <a:pt x="293030" y="0"/>
                      <a:pt x="293030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368F502B-91D3-42DF-84D5-73788AFBB47D}"/>
                  </a:ext>
                </a:extLst>
              </p:cNvPr>
              <p:cNvSpPr/>
              <p:nvPr/>
            </p:nvSpPr>
            <p:spPr>
              <a:xfrm>
                <a:off x="24668630" y="6301828"/>
                <a:ext cx="272133" cy="259375"/>
              </a:xfrm>
              <a:custGeom>
                <a:avLst/>
                <a:gdLst>
                  <a:gd name="connsiteX0" fmla="*/ 147638 w 272133"/>
                  <a:gd name="connsiteY0" fmla="*/ 0 h 259375"/>
                  <a:gd name="connsiteX1" fmla="*/ 163200 w 272133"/>
                  <a:gd name="connsiteY1" fmla="*/ 127608 h 259375"/>
                  <a:gd name="connsiteX2" fmla="*/ 1355 w 272133"/>
                  <a:gd name="connsiteY2" fmla="*/ 255217 h 259375"/>
                  <a:gd name="connsiteX3" fmla="*/ 244121 w 272133"/>
                  <a:gd name="connsiteY3" fmla="*/ 211643 h 259375"/>
                  <a:gd name="connsiteX4" fmla="*/ 272134 w 272133"/>
                  <a:gd name="connsiteY4" fmla="*/ 180519 h 259375"/>
                  <a:gd name="connsiteX5" fmla="*/ 269020 w 272133"/>
                  <a:gd name="connsiteY5" fmla="*/ 40461 h 259375"/>
                  <a:gd name="connsiteX6" fmla="*/ 147638 w 272133"/>
                  <a:gd name="connsiteY6" fmla="*/ 0 h 259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2133" h="259375">
                    <a:moveTo>
                      <a:pt x="147638" y="0"/>
                    </a:moveTo>
                    <a:lnTo>
                      <a:pt x="163200" y="127608"/>
                    </a:lnTo>
                    <a:cubicBezTo>
                      <a:pt x="163200" y="127608"/>
                      <a:pt x="-17320" y="233429"/>
                      <a:pt x="1355" y="255217"/>
                    </a:cubicBezTo>
                    <a:cubicBezTo>
                      <a:pt x="13804" y="270778"/>
                      <a:pt x="172537" y="239655"/>
                      <a:pt x="244121" y="211643"/>
                    </a:cubicBezTo>
                    <a:cubicBezTo>
                      <a:pt x="269020" y="202305"/>
                      <a:pt x="272134" y="180519"/>
                      <a:pt x="272134" y="180519"/>
                    </a:cubicBezTo>
                    <a:lnTo>
                      <a:pt x="269020" y="40461"/>
                    </a:lnTo>
                    <a:lnTo>
                      <a:pt x="147638" y="0"/>
                    </a:ln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2" name="图形 1">
              <a:extLst>
                <a:ext uri="{FF2B5EF4-FFF2-40B4-BE49-F238E27FC236}">
                  <a16:creationId xmlns:a16="http://schemas.microsoft.com/office/drawing/2014/main" id="{FE367AD9-6518-467B-BB93-291299BCB1BC}"/>
                </a:ext>
              </a:extLst>
            </p:cNvPr>
            <p:cNvGrpSpPr/>
            <p:nvPr/>
          </p:nvGrpSpPr>
          <p:grpSpPr>
            <a:xfrm>
              <a:off x="25855806" y="5940791"/>
              <a:ext cx="295677" cy="506519"/>
              <a:chOff x="25855806" y="5940791"/>
              <a:chExt cx="295677" cy="506519"/>
            </a:xfrm>
          </p:grpSpPr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DA042D11-DA07-47A3-AB37-F6976415E9FF}"/>
                  </a:ext>
                </a:extLst>
              </p:cNvPr>
              <p:cNvSpPr/>
              <p:nvPr/>
            </p:nvSpPr>
            <p:spPr>
              <a:xfrm>
                <a:off x="25920001" y="6031050"/>
                <a:ext cx="231482" cy="416260"/>
              </a:xfrm>
              <a:custGeom>
                <a:avLst/>
                <a:gdLst>
                  <a:gd name="connsiteX0" fmla="*/ 41627 w 231482"/>
                  <a:gd name="connsiteY0" fmla="*/ 49798 h 416260"/>
                  <a:gd name="connsiteX1" fmla="*/ 38514 w 231482"/>
                  <a:gd name="connsiteY1" fmla="*/ 258329 h 416260"/>
                  <a:gd name="connsiteX2" fmla="*/ 125662 w 231482"/>
                  <a:gd name="connsiteY2" fmla="*/ 71585 h 416260"/>
                  <a:gd name="connsiteX3" fmla="*/ 150561 w 231482"/>
                  <a:gd name="connsiteY3" fmla="*/ 0 h 416260"/>
                  <a:gd name="connsiteX4" fmla="*/ 231482 w 231482"/>
                  <a:gd name="connsiteY4" fmla="*/ 74698 h 416260"/>
                  <a:gd name="connsiteX5" fmla="*/ 141224 w 231482"/>
                  <a:gd name="connsiteY5" fmla="*/ 305015 h 416260"/>
                  <a:gd name="connsiteX6" fmla="*/ 50964 w 231482"/>
                  <a:gd name="connsiteY6" fmla="*/ 413948 h 416260"/>
                  <a:gd name="connsiteX7" fmla="*/ 1167 w 231482"/>
                  <a:gd name="connsiteY7" fmla="*/ 382824 h 416260"/>
                  <a:gd name="connsiteX8" fmla="*/ 41627 w 231482"/>
                  <a:gd name="connsiteY8" fmla="*/ 49798 h 416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1482" h="416260">
                    <a:moveTo>
                      <a:pt x="41627" y="49798"/>
                    </a:moveTo>
                    <a:cubicBezTo>
                      <a:pt x="41627" y="49798"/>
                      <a:pt x="19840" y="258329"/>
                      <a:pt x="38514" y="258329"/>
                    </a:cubicBezTo>
                    <a:cubicBezTo>
                      <a:pt x="57189" y="255216"/>
                      <a:pt x="125662" y="71585"/>
                      <a:pt x="125662" y="71585"/>
                    </a:cubicBezTo>
                    <a:lnTo>
                      <a:pt x="150561" y="0"/>
                    </a:lnTo>
                    <a:cubicBezTo>
                      <a:pt x="150561" y="0"/>
                      <a:pt x="219034" y="46686"/>
                      <a:pt x="231482" y="74698"/>
                    </a:cubicBezTo>
                    <a:cubicBezTo>
                      <a:pt x="212809" y="155620"/>
                      <a:pt x="178571" y="239654"/>
                      <a:pt x="141224" y="305015"/>
                    </a:cubicBezTo>
                    <a:cubicBezTo>
                      <a:pt x="116324" y="345476"/>
                      <a:pt x="60301" y="410836"/>
                      <a:pt x="50964" y="413948"/>
                    </a:cubicBezTo>
                    <a:cubicBezTo>
                      <a:pt x="41627" y="417061"/>
                      <a:pt x="7390" y="423286"/>
                      <a:pt x="1167" y="382824"/>
                    </a:cubicBezTo>
                    <a:cubicBezTo>
                      <a:pt x="-8172" y="289453"/>
                      <a:pt x="41627" y="49798"/>
                      <a:pt x="41627" y="49798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C898D02B-C37A-4A4C-BD88-3E775D2E0A17}"/>
                  </a:ext>
                </a:extLst>
              </p:cNvPr>
              <p:cNvSpPr/>
              <p:nvPr/>
            </p:nvSpPr>
            <p:spPr>
              <a:xfrm>
                <a:off x="25855806" y="5940791"/>
                <a:ext cx="223964" cy="348587"/>
              </a:xfrm>
              <a:custGeom>
                <a:avLst/>
                <a:gdLst>
                  <a:gd name="connsiteX0" fmla="*/ 0 w 223964"/>
                  <a:gd name="connsiteY0" fmla="*/ 68473 h 348587"/>
                  <a:gd name="connsiteX1" fmla="*/ 102709 w 223964"/>
                  <a:gd name="connsiteY1" fmla="*/ 140058 h 348587"/>
                  <a:gd name="connsiteX2" fmla="*/ 99597 w 223964"/>
                  <a:gd name="connsiteY2" fmla="*/ 348588 h 348587"/>
                  <a:gd name="connsiteX3" fmla="*/ 220981 w 223964"/>
                  <a:gd name="connsiteY3" fmla="*/ 130720 h 348587"/>
                  <a:gd name="connsiteX4" fmla="*/ 214756 w 223964"/>
                  <a:gd name="connsiteY4" fmla="*/ 87147 h 348587"/>
                  <a:gd name="connsiteX5" fmla="*/ 108934 w 223964"/>
                  <a:gd name="connsiteY5" fmla="*/ 0 h 348587"/>
                  <a:gd name="connsiteX6" fmla="*/ 0 w 223964"/>
                  <a:gd name="connsiteY6" fmla="*/ 68473 h 348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3964" h="348587">
                    <a:moveTo>
                      <a:pt x="0" y="68473"/>
                    </a:moveTo>
                    <a:lnTo>
                      <a:pt x="102709" y="140058"/>
                    </a:lnTo>
                    <a:cubicBezTo>
                      <a:pt x="102709" y="140058"/>
                      <a:pt x="71585" y="345475"/>
                      <a:pt x="99597" y="348588"/>
                    </a:cubicBezTo>
                    <a:cubicBezTo>
                      <a:pt x="121384" y="348588"/>
                      <a:pt x="196080" y="205418"/>
                      <a:pt x="220981" y="130720"/>
                    </a:cubicBezTo>
                    <a:cubicBezTo>
                      <a:pt x="230318" y="105821"/>
                      <a:pt x="214756" y="87147"/>
                      <a:pt x="214756" y="87147"/>
                    </a:cubicBezTo>
                    <a:lnTo>
                      <a:pt x="108934" y="0"/>
                    </a:lnTo>
                    <a:lnTo>
                      <a:pt x="0" y="68473"/>
                    </a:ln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4EE7C365-1C97-4477-9D14-096A7A935BAA}"/>
                </a:ext>
              </a:extLst>
            </p:cNvPr>
            <p:cNvSpPr/>
            <p:nvPr/>
          </p:nvSpPr>
          <p:spPr>
            <a:xfrm>
              <a:off x="24536153" y="3818140"/>
              <a:ext cx="1084651" cy="1471497"/>
            </a:xfrm>
            <a:custGeom>
              <a:avLst/>
              <a:gdLst>
                <a:gd name="connsiteX0" fmla="*/ 1055100 w 1084651"/>
                <a:gd name="connsiteY0" fmla="*/ 1434813 h 1471497"/>
                <a:gd name="connsiteX1" fmla="*/ 971065 w 1084651"/>
                <a:gd name="connsiteY1" fmla="*/ 1450375 h 1471497"/>
                <a:gd name="connsiteX2" fmla="*/ 908817 w 1084651"/>
                <a:gd name="connsiteY2" fmla="*/ 1459712 h 1471497"/>
                <a:gd name="connsiteX3" fmla="*/ 600691 w 1084651"/>
                <a:gd name="connsiteY3" fmla="*/ 1459712 h 1471497"/>
                <a:gd name="connsiteX4" fmla="*/ 616253 w 1084651"/>
                <a:gd name="connsiteY4" fmla="*/ 831009 h 1471497"/>
                <a:gd name="connsiteX5" fmla="*/ 482421 w 1084651"/>
                <a:gd name="connsiteY5" fmla="*/ 1450375 h 1471497"/>
                <a:gd name="connsiteX6" fmla="*/ 0 w 1084651"/>
                <a:gd name="connsiteY6" fmla="*/ 1397464 h 1471497"/>
                <a:gd name="connsiteX7" fmla="*/ 143169 w 1084651"/>
                <a:gd name="connsiteY7" fmla="*/ 469971 h 1471497"/>
                <a:gd name="connsiteX8" fmla="*/ 264553 w 1084651"/>
                <a:gd name="connsiteY8" fmla="*/ 0 h 1471497"/>
                <a:gd name="connsiteX9" fmla="*/ 946166 w 1084651"/>
                <a:gd name="connsiteY9" fmla="*/ 0 h 1471497"/>
                <a:gd name="connsiteX10" fmla="*/ 1079999 w 1084651"/>
                <a:gd name="connsiteY10" fmla="*/ 482421 h 1471497"/>
                <a:gd name="connsiteX11" fmla="*/ 1055100 w 1084651"/>
                <a:gd name="connsiteY11" fmla="*/ 1434813 h 1471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84651" h="1471497">
                  <a:moveTo>
                    <a:pt x="1055100" y="1434813"/>
                  </a:moveTo>
                  <a:cubicBezTo>
                    <a:pt x="1055100" y="1434813"/>
                    <a:pt x="1020864" y="1444150"/>
                    <a:pt x="971065" y="1450375"/>
                  </a:cubicBezTo>
                  <a:cubicBezTo>
                    <a:pt x="952391" y="1453487"/>
                    <a:pt x="930604" y="1456600"/>
                    <a:pt x="908817" y="1459712"/>
                  </a:cubicBezTo>
                  <a:cubicBezTo>
                    <a:pt x="821670" y="1472162"/>
                    <a:pt x="706511" y="1478386"/>
                    <a:pt x="600691" y="1459712"/>
                  </a:cubicBezTo>
                  <a:cubicBezTo>
                    <a:pt x="578904" y="1297868"/>
                    <a:pt x="616253" y="831009"/>
                    <a:pt x="616253" y="831009"/>
                  </a:cubicBezTo>
                  <a:lnTo>
                    <a:pt x="482421" y="1450375"/>
                  </a:lnTo>
                  <a:cubicBezTo>
                    <a:pt x="336138" y="1469049"/>
                    <a:pt x="161843" y="1447262"/>
                    <a:pt x="0" y="1397464"/>
                  </a:cubicBezTo>
                  <a:cubicBezTo>
                    <a:pt x="28010" y="1164035"/>
                    <a:pt x="136944" y="532219"/>
                    <a:pt x="143169" y="469971"/>
                  </a:cubicBezTo>
                  <a:cubicBezTo>
                    <a:pt x="164956" y="314352"/>
                    <a:pt x="264553" y="0"/>
                    <a:pt x="264553" y="0"/>
                  </a:cubicBezTo>
                  <a:lnTo>
                    <a:pt x="946166" y="0"/>
                  </a:lnTo>
                  <a:cubicBezTo>
                    <a:pt x="946166" y="0"/>
                    <a:pt x="1051988" y="227205"/>
                    <a:pt x="1079999" y="482421"/>
                  </a:cubicBezTo>
                  <a:cubicBezTo>
                    <a:pt x="1098674" y="669164"/>
                    <a:pt x="1055100" y="1434813"/>
                    <a:pt x="1055100" y="1434813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EAB95757-F5AD-41E0-B2C4-1DC85618B20A}"/>
                </a:ext>
              </a:extLst>
            </p:cNvPr>
            <p:cNvSpPr/>
            <p:nvPr/>
          </p:nvSpPr>
          <p:spPr>
            <a:xfrm>
              <a:off x="25099495" y="4216526"/>
              <a:ext cx="56022" cy="441959"/>
            </a:xfrm>
            <a:custGeom>
              <a:avLst/>
              <a:gdLst>
                <a:gd name="connsiteX0" fmla="*/ 49798 w 56022"/>
                <a:gd name="connsiteY0" fmla="*/ 441960 h 441959"/>
                <a:gd name="connsiteX1" fmla="*/ 43574 w 56022"/>
                <a:gd name="connsiteY1" fmla="*/ 435735 h 441959"/>
                <a:gd name="connsiteX2" fmla="*/ 0 w 56022"/>
                <a:gd name="connsiteY2" fmla="*/ 6225 h 441959"/>
                <a:gd name="connsiteX3" fmla="*/ 6225 w 56022"/>
                <a:gd name="connsiteY3" fmla="*/ 0 h 441959"/>
                <a:gd name="connsiteX4" fmla="*/ 12450 w 56022"/>
                <a:gd name="connsiteY4" fmla="*/ 6225 h 441959"/>
                <a:gd name="connsiteX5" fmla="*/ 56023 w 56022"/>
                <a:gd name="connsiteY5" fmla="*/ 432623 h 441959"/>
                <a:gd name="connsiteX6" fmla="*/ 49798 w 56022"/>
                <a:gd name="connsiteY6" fmla="*/ 441960 h 441959"/>
                <a:gd name="connsiteX7" fmla="*/ 49798 w 56022"/>
                <a:gd name="connsiteY7" fmla="*/ 441960 h 441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022" h="441959">
                  <a:moveTo>
                    <a:pt x="49798" y="441960"/>
                  </a:moveTo>
                  <a:cubicBezTo>
                    <a:pt x="46686" y="441960"/>
                    <a:pt x="43574" y="438847"/>
                    <a:pt x="43574" y="435735"/>
                  </a:cubicBezTo>
                  <a:lnTo>
                    <a:pt x="0" y="6225"/>
                  </a:lnTo>
                  <a:cubicBezTo>
                    <a:pt x="0" y="3112"/>
                    <a:pt x="3112" y="0"/>
                    <a:pt x="6225" y="0"/>
                  </a:cubicBezTo>
                  <a:cubicBezTo>
                    <a:pt x="9337" y="0"/>
                    <a:pt x="12450" y="3112"/>
                    <a:pt x="12450" y="6225"/>
                  </a:cubicBezTo>
                  <a:lnTo>
                    <a:pt x="56023" y="432623"/>
                  </a:lnTo>
                  <a:cubicBezTo>
                    <a:pt x="56023" y="438847"/>
                    <a:pt x="52911" y="438847"/>
                    <a:pt x="49798" y="441960"/>
                  </a:cubicBezTo>
                  <a:lnTo>
                    <a:pt x="49798" y="441960"/>
                  </a:ln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721DD0FA-C69A-4CA8-BDA5-FCB4D993D854}"/>
                </a:ext>
              </a:extLst>
            </p:cNvPr>
            <p:cNvSpPr/>
            <p:nvPr/>
          </p:nvSpPr>
          <p:spPr>
            <a:xfrm>
              <a:off x="24906526" y="2597186"/>
              <a:ext cx="152507" cy="209426"/>
            </a:xfrm>
            <a:custGeom>
              <a:avLst/>
              <a:gdLst>
                <a:gd name="connsiteX0" fmla="*/ 0 w 152507"/>
                <a:gd name="connsiteY0" fmla="*/ 896 h 209426"/>
                <a:gd name="connsiteX1" fmla="*/ 40461 w 152507"/>
                <a:gd name="connsiteY1" fmla="*/ 193864 h 209426"/>
                <a:gd name="connsiteX2" fmla="*/ 105822 w 152507"/>
                <a:gd name="connsiteY2" fmla="*/ 209426 h 209426"/>
                <a:gd name="connsiteX3" fmla="*/ 152508 w 152507"/>
                <a:gd name="connsiteY3" fmla="*/ 109830 h 209426"/>
                <a:gd name="connsiteX4" fmla="*/ 0 w 152507"/>
                <a:gd name="connsiteY4" fmla="*/ 896 h 20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507" h="209426">
                  <a:moveTo>
                    <a:pt x="0" y="896"/>
                  </a:moveTo>
                  <a:lnTo>
                    <a:pt x="40461" y="193864"/>
                  </a:lnTo>
                  <a:lnTo>
                    <a:pt x="105822" y="209426"/>
                  </a:lnTo>
                  <a:lnTo>
                    <a:pt x="152508" y="109830"/>
                  </a:lnTo>
                  <a:cubicBezTo>
                    <a:pt x="152508" y="109830"/>
                    <a:pt x="99597" y="-11553"/>
                    <a:pt x="0" y="896"/>
                  </a:cubicBezTo>
                  <a:close/>
                </a:path>
              </a:pathLst>
            </a:custGeom>
            <a:solidFill>
              <a:srgbClr val="F1DDBA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1F7C7E8F-7AB7-4EC7-9C3F-C12875B529C0}"/>
                </a:ext>
              </a:extLst>
            </p:cNvPr>
            <p:cNvSpPr/>
            <p:nvPr/>
          </p:nvSpPr>
          <p:spPr>
            <a:xfrm>
              <a:off x="25211540" y="2439350"/>
              <a:ext cx="252111" cy="373487"/>
            </a:xfrm>
            <a:custGeom>
              <a:avLst/>
              <a:gdLst>
                <a:gd name="connsiteX0" fmla="*/ 252105 w 252111"/>
                <a:gd name="connsiteY0" fmla="*/ 0 h 373487"/>
                <a:gd name="connsiteX1" fmla="*/ 127609 w 252111"/>
                <a:gd name="connsiteY1" fmla="*/ 367262 h 373487"/>
                <a:gd name="connsiteX2" fmla="*/ 46686 w 252111"/>
                <a:gd name="connsiteY2" fmla="*/ 373487 h 373487"/>
                <a:gd name="connsiteX3" fmla="*/ 0 w 252111"/>
                <a:gd name="connsiteY3" fmla="*/ 255216 h 373487"/>
                <a:gd name="connsiteX4" fmla="*/ 93372 w 252111"/>
                <a:gd name="connsiteY4" fmla="*/ 115159 h 373487"/>
                <a:gd name="connsiteX5" fmla="*/ 252105 w 252111"/>
                <a:gd name="connsiteY5" fmla="*/ 0 h 373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2111" h="373487">
                  <a:moveTo>
                    <a:pt x="252105" y="0"/>
                  </a:moveTo>
                  <a:cubicBezTo>
                    <a:pt x="252105" y="0"/>
                    <a:pt x="255217" y="186744"/>
                    <a:pt x="127609" y="367262"/>
                  </a:cubicBezTo>
                  <a:lnTo>
                    <a:pt x="46686" y="373487"/>
                  </a:lnTo>
                  <a:lnTo>
                    <a:pt x="0" y="255216"/>
                  </a:lnTo>
                  <a:lnTo>
                    <a:pt x="93372" y="115159"/>
                  </a:lnTo>
                  <a:lnTo>
                    <a:pt x="252105" y="0"/>
                  </a:lnTo>
                  <a:close/>
                </a:path>
              </a:pathLst>
            </a:custGeom>
            <a:solidFill>
              <a:srgbClr val="F1DDBA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9C27CE94-1C90-4D8E-B8C4-6CA441247FC7}"/>
                </a:ext>
              </a:extLst>
            </p:cNvPr>
            <p:cNvSpPr/>
            <p:nvPr/>
          </p:nvSpPr>
          <p:spPr>
            <a:xfrm>
              <a:off x="24699128" y="2842516"/>
              <a:ext cx="837700" cy="1006839"/>
            </a:xfrm>
            <a:custGeom>
              <a:avLst/>
              <a:gdLst>
                <a:gd name="connsiteX0" fmla="*/ 792528 w 837700"/>
                <a:gd name="connsiteY0" fmla="*/ 399831 h 1006839"/>
                <a:gd name="connsiteX1" fmla="*/ 776966 w 837700"/>
                <a:gd name="connsiteY1" fmla="*/ 69918 h 1006839"/>
                <a:gd name="connsiteX2" fmla="*/ 400368 w 837700"/>
                <a:gd name="connsiteY2" fmla="*/ 4558 h 1006839"/>
                <a:gd name="connsiteX3" fmla="*/ 92240 w 837700"/>
                <a:gd name="connsiteY3" fmla="*/ 107267 h 1006839"/>
                <a:gd name="connsiteX4" fmla="*/ 51779 w 837700"/>
                <a:gd name="connsiteY4" fmla="*/ 667497 h 1006839"/>
                <a:gd name="connsiteX5" fmla="*/ 95353 w 837700"/>
                <a:gd name="connsiteY5" fmla="*/ 1000523 h 1006839"/>
                <a:gd name="connsiteX6" fmla="*/ 786305 w 837700"/>
                <a:gd name="connsiteY6" fmla="*/ 984961 h 1006839"/>
                <a:gd name="connsiteX7" fmla="*/ 792528 w 837700"/>
                <a:gd name="connsiteY7" fmla="*/ 399831 h 1006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7700" h="1006839">
                  <a:moveTo>
                    <a:pt x="792528" y="399831"/>
                  </a:moveTo>
                  <a:cubicBezTo>
                    <a:pt x="801867" y="368708"/>
                    <a:pt x="898350" y="135278"/>
                    <a:pt x="776966" y="69918"/>
                  </a:cubicBezTo>
                  <a:cubicBezTo>
                    <a:pt x="671146" y="13895"/>
                    <a:pt x="521752" y="-11004"/>
                    <a:pt x="400368" y="4558"/>
                  </a:cubicBezTo>
                  <a:cubicBezTo>
                    <a:pt x="266535" y="20120"/>
                    <a:pt x="132703" y="41906"/>
                    <a:pt x="92240" y="107267"/>
                  </a:cubicBezTo>
                  <a:cubicBezTo>
                    <a:pt x="-22917" y="297123"/>
                    <a:pt x="-22917" y="465192"/>
                    <a:pt x="51779" y="667497"/>
                  </a:cubicBezTo>
                  <a:cubicBezTo>
                    <a:pt x="73566" y="726633"/>
                    <a:pt x="79792" y="863578"/>
                    <a:pt x="95353" y="1000523"/>
                  </a:cubicBezTo>
                  <a:cubicBezTo>
                    <a:pt x="95353" y="1000523"/>
                    <a:pt x="384806" y="1022310"/>
                    <a:pt x="786305" y="984961"/>
                  </a:cubicBezTo>
                  <a:cubicBezTo>
                    <a:pt x="758293" y="760869"/>
                    <a:pt x="786305" y="424731"/>
                    <a:pt x="792528" y="399831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8D09844D-215F-4E82-B4F4-C228DE2CD486}"/>
                </a:ext>
              </a:extLst>
            </p:cNvPr>
            <p:cNvSpPr/>
            <p:nvPr/>
          </p:nvSpPr>
          <p:spPr>
            <a:xfrm>
              <a:off x="24864563" y="2137790"/>
              <a:ext cx="328697" cy="602082"/>
            </a:xfrm>
            <a:custGeom>
              <a:avLst/>
              <a:gdLst>
                <a:gd name="connsiteX0" fmla="*/ 241157 w 328697"/>
                <a:gd name="connsiteY0" fmla="*/ 326459 h 602082"/>
                <a:gd name="connsiteX1" fmla="*/ 290954 w 328697"/>
                <a:gd name="connsiteY1" fmla="*/ 180177 h 602082"/>
                <a:gd name="connsiteX2" fmla="*/ 328303 w 328697"/>
                <a:gd name="connsiteY2" fmla="*/ 8995 h 602082"/>
                <a:gd name="connsiteX3" fmla="*/ 1502 w 328697"/>
                <a:gd name="connsiteY3" fmla="*/ 236200 h 602082"/>
                <a:gd name="connsiteX4" fmla="*/ 182021 w 328697"/>
                <a:gd name="connsiteY4" fmla="*/ 587900 h 602082"/>
                <a:gd name="connsiteX5" fmla="*/ 241157 w 328697"/>
                <a:gd name="connsiteY5" fmla="*/ 326459 h 602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8697" h="602082">
                  <a:moveTo>
                    <a:pt x="241157" y="326459"/>
                  </a:moveTo>
                  <a:cubicBezTo>
                    <a:pt x="250494" y="273549"/>
                    <a:pt x="266056" y="226863"/>
                    <a:pt x="290954" y="180177"/>
                  </a:cubicBezTo>
                  <a:cubicBezTo>
                    <a:pt x="315853" y="130379"/>
                    <a:pt x="331415" y="8995"/>
                    <a:pt x="328303" y="8995"/>
                  </a:cubicBezTo>
                  <a:cubicBezTo>
                    <a:pt x="213144" y="-31466"/>
                    <a:pt x="23289" y="68131"/>
                    <a:pt x="1502" y="236200"/>
                  </a:cubicBezTo>
                  <a:cubicBezTo>
                    <a:pt x="-7835" y="304672"/>
                    <a:pt x="23289" y="559889"/>
                    <a:pt x="182021" y="587900"/>
                  </a:cubicBezTo>
                  <a:cubicBezTo>
                    <a:pt x="281617" y="668822"/>
                    <a:pt x="231820" y="379370"/>
                    <a:pt x="241157" y="326459"/>
                  </a:cubicBezTo>
                  <a:close/>
                </a:path>
              </a:pathLst>
            </a:custGeom>
            <a:solidFill>
              <a:srgbClr val="F1DDBA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BB8D5811-2E8F-438F-A117-FF7CC68066A3}"/>
                </a:ext>
              </a:extLst>
            </p:cNvPr>
            <p:cNvSpPr/>
            <p:nvPr/>
          </p:nvSpPr>
          <p:spPr>
            <a:xfrm>
              <a:off x="24932633" y="2195675"/>
              <a:ext cx="431415" cy="580139"/>
            </a:xfrm>
            <a:custGeom>
              <a:avLst/>
              <a:gdLst>
                <a:gd name="connsiteX0" fmla="*/ 8131 w 431415"/>
                <a:gd name="connsiteY0" fmla="*/ 187652 h 580139"/>
                <a:gd name="connsiteX1" fmla="*/ 20580 w 431415"/>
                <a:gd name="connsiteY1" fmla="*/ 449093 h 580139"/>
                <a:gd name="connsiteX2" fmla="*/ 173088 w 431415"/>
                <a:gd name="connsiteY2" fmla="*/ 579813 h 580139"/>
                <a:gd name="connsiteX3" fmla="*/ 394067 w 431415"/>
                <a:gd name="connsiteY3" fmla="*/ 433531 h 580139"/>
                <a:gd name="connsiteX4" fmla="*/ 431416 w 431415"/>
                <a:gd name="connsiteY4" fmla="*/ 203214 h 580139"/>
                <a:gd name="connsiteX5" fmla="*/ 213548 w 431415"/>
                <a:gd name="connsiteY5" fmla="*/ 908 h 580139"/>
                <a:gd name="connsiteX6" fmla="*/ 8131 w 431415"/>
                <a:gd name="connsiteY6" fmla="*/ 187652 h 58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1415" h="580139">
                  <a:moveTo>
                    <a:pt x="8131" y="187652"/>
                  </a:moveTo>
                  <a:cubicBezTo>
                    <a:pt x="8131" y="187652"/>
                    <a:pt x="-16769" y="380620"/>
                    <a:pt x="20580" y="449093"/>
                  </a:cubicBezTo>
                  <a:cubicBezTo>
                    <a:pt x="57929" y="517565"/>
                    <a:pt x="120177" y="576701"/>
                    <a:pt x="173088" y="579813"/>
                  </a:cubicBezTo>
                  <a:cubicBezTo>
                    <a:pt x="241561" y="586038"/>
                    <a:pt x="356718" y="502003"/>
                    <a:pt x="394067" y="433531"/>
                  </a:cubicBezTo>
                  <a:cubicBezTo>
                    <a:pt x="431416" y="365058"/>
                    <a:pt x="431416" y="256124"/>
                    <a:pt x="431416" y="203214"/>
                  </a:cubicBezTo>
                  <a:cubicBezTo>
                    <a:pt x="428304" y="106730"/>
                    <a:pt x="400292" y="25807"/>
                    <a:pt x="213548" y="908"/>
                  </a:cubicBezTo>
                  <a:cubicBezTo>
                    <a:pt x="123288" y="-11541"/>
                    <a:pt x="26805" y="106730"/>
                    <a:pt x="8131" y="187652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0ABF8F8B-0DE2-4AA0-90C7-54EB0641079B}"/>
                </a:ext>
              </a:extLst>
            </p:cNvPr>
            <p:cNvSpPr/>
            <p:nvPr/>
          </p:nvSpPr>
          <p:spPr>
            <a:xfrm>
              <a:off x="25071483" y="2469185"/>
              <a:ext cx="56024" cy="135122"/>
            </a:xfrm>
            <a:custGeom>
              <a:avLst/>
              <a:gdLst>
                <a:gd name="connsiteX0" fmla="*/ 31124 w 56024"/>
                <a:gd name="connsiteY0" fmla="*/ 135122 h 135122"/>
                <a:gd name="connsiteX1" fmla="*/ 6225 w 56024"/>
                <a:gd name="connsiteY1" fmla="*/ 128897 h 135122"/>
                <a:gd name="connsiteX2" fmla="*/ 0 w 56024"/>
                <a:gd name="connsiteY2" fmla="*/ 116448 h 135122"/>
                <a:gd name="connsiteX3" fmla="*/ 28012 w 56024"/>
                <a:gd name="connsiteY3" fmla="*/ 4402 h 135122"/>
                <a:gd name="connsiteX4" fmla="*/ 34237 w 56024"/>
                <a:gd name="connsiteY4" fmla="*/ 1289 h 135122"/>
                <a:gd name="connsiteX5" fmla="*/ 37349 w 56024"/>
                <a:gd name="connsiteY5" fmla="*/ 7514 h 135122"/>
                <a:gd name="connsiteX6" fmla="*/ 9339 w 56024"/>
                <a:gd name="connsiteY6" fmla="*/ 116448 h 135122"/>
                <a:gd name="connsiteX7" fmla="*/ 9339 w 56024"/>
                <a:gd name="connsiteY7" fmla="*/ 119560 h 135122"/>
                <a:gd name="connsiteX8" fmla="*/ 49799 w 56024"/>
                <a:gd name="connsiteY8" fmla="*/ 119560 h 135122"/>
                <a:gd name="connsiteX9" fmla="*/ 56025 w 56024"/>
                <a:gd name="connsiteY9" fmla="*/ 125785 h 135122"/>
                <a:gd name="connsiteX10" fmla="*/ 49799 w 56024"/>
                <a:gd name="connsiteY10" fmla="*/ 132010 h 135122"/>
                <a:gd name="connsiteX11" fmla="*/ 31124 w 56024"/>
                <a:gd name="connsiteY11" fmla="*/ 135122 h 13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024" h="135122">
                  <a:moveTo>
                    <a:pt x="31124" y="135122"/>
                  </a:moveTo>
                  <a:cubicBezTo>
                    <a:pt x="21787" y="135122"/>
                    <a:pt x="12450" y="135122"/>
                    <a:pt x="6225" y="128897"/>
                  </a:cubicBezTo>
                  <a:cubicBezTo>
                    <a:pt x="3114" y="125785"/>
                    <a:pt x="0" y="122673"/>
                    <a:pt x="0" y="116448"/>
                  </a:cubicBezTo>
                  <a:cubicBezTo>
                    <a:pt x="0" y="94661"/>
                    <a:pt x="28012" y="7514"/>
                    <a:pt x="28012" y="4402"/>
                  </a:cubicBezTo>
                  <a:cubicBezTo>
                    <a:pt x="28012" y="1289"/>
                    <a:pt x="31124" y="-1823"/>
                    <a:pt x="34237" y="1289"/>
                  </a:cubicBezTo>
                  <a:cubicBezTo>
                    <a:pt x="37349" y="1289"/>
                    <a:pt x="40463" y="4402"/>
                    <a:pt x="37349" y="7514"/>
                  </a:cubicBezTo>
                  <a:cubicBezTo>
                    <a:pt x="31124" y="32413"/>
                    <a:pt x="9339" y="97773"/>
                    <a:pt x="9339" y="116448"/>
                  </a:cubicBezTo>
                  <a:cubicBezTo>
                    <a:pt x="9339" y="116448"/>
                    <a:pt x="9339" y="119560"/>
                    <a:pt x="9339" y="119560"/>
                  </a:cubicBezTo>
                  <a:cubicBezTo>
                    <a:pt x="15562" y="125785"/>
                    <a:pt x="37349" y="122673"/>
                    <a:pt x="49799" y="119560"/>
                  </a:cubicBezTo>
                  <a:cubicBezTo>
                    <a:pt x="52911" y="119560"/>
                    <a:pt x="56025" y="119560"/>
                    <a:pt x="56025" y="125785"/>
                  </a:cubicBezTo>
                  <a:cubicBezTo>
                    <a:pt x="56025" y="128897"/>
                    <a:pt x="56025" y="132010"/>
                    <a:pt x="49799" y="132010"/>
                  </a:cubicBezTo>
                  <a:cubicBezTo>
                    <a:pt x="52911" y="132010"/>
                    <a:pt x="43574" y="135122"/>
                    <a:pt x="31124" y="135122"/>
                  </a:cubicBezTo>
                  <a:close/>
                </a:path>
              </a:pathLst>
            </a:custGeom>
            <a:solidFill>
              <a:srgbClr val="E58777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AD08A5EA-5B9F-457A-B347-F29329A23D52}"/>
                </a:ext>
              </a:extLst>
            </p:cNvPr>
            <p:cNvSpPr/>
            <p:nvPr/>
          </p:nvSpPr>
          <p:spPr>
            <a:xfrm>
              <a:off x="25052809" y="2654105"/>
              <a:ext cx="108933" cy="56023"/>
            </a:xfrm>
            <a:custGeom>
              <a:avLst/>
              <a:gdLst>
                <a:gd name="connsiteX0" fmla="*/ 108934 w 108933"/>
                <a:gd name="connsiteY0" fmla="*/ 0 h 56023"/>
                <a:gd name="connsiteX1" fmla="*/ 0 w 108933"/>
                <a:gd name="connsiteY1" fmla="*/ 0 h 56023"/>
                <a:gd name="connsiteX2" fmla="*/ 52911 w 108933"/>
                <a:gd name="connsiteY2" fmla="*/ 56023 h 56023"/>
                <a:gd name="connsiteX3" fmla="*/ 108934 w 108933"/>
                <a:gd name="connsiteY3" fmla="*/ 0 h 56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933" h="56023">
                  <a:moveTo>
                    <a:pt x="108934" y="0"/>
                  </a:moveTo>
                  <a:cubicBezTo>
                    <a:pt x="52911" y="24899"/>
                    <a:pt x="0" y="0"/>
                    <a:pt x="0" y="0"/>
                  </a:cubicBezTo>
                  <a:cubicBezTo>
                    <a:pt x="0" y="0"/>
                    <a:pt x="15562" y="56023"/>
                    <a:pt x="52911" y="56023"/>
                  </a:cubicBezTo>
                  <a:cubicBezTo>
                    <a:pt x="96483" y="56023"/>
                    <a:pt x="108934" y="0"/>
                    <a:pt x="108934" y="0"/>
                  </a:cubicBezTo>
                  <a:close/>
                </a:path>
              </a:pathLst>
            </a:custGeom>
            <a:solidFill>
              <a:srgbClr val="FFFFFF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C69BB40F-C957-4362-85AB-0941186C4926}"/>
                </a:ext>
              </a:extLst>
            </p:cNvPr>
            <p:cNvSpPr/>
            <p:nvPr/>
          </p:nvSpPr>
          <p:spPr>
            <a:xfrm>
              <a:off x="24999105" y="2441852"/>
              <a:ext cx="41253" cy="41864"/>
            </a:xfrm>
            <a:custGeom>
              <a:avLst/>
              <a:gdLst>
                <a:gd name="connsiteX0" fmla="*/ 41254 w 41253"/>
                <a:gd name="connsiteY0" fmla="*/ 25510 h 41864"/>
                <a:gd name="connsiteX1" fmla="*/ 16355 w 41253"/>
                <a:gd name="connsiteY1" fmla="*/ 41072 h 41864"/>
                <a:gd name="connsiteX2" fmla="*/ 793 w 41253"/>
                <a:gd name="connsiteY2" fmla="*/ 16172 h 41864"/>
                <a:gd name="connsiteX3" fmla="*/ 25692 w 41253"/>
                <a:gd name="connsiteY3" fmla="*/ 611 h 41864"/>
                <a:gd name="connsiteX4" fmla="*/ 41254 w 41253"/>
                <a:gd name="connsiteY4" fmla="*/ 25510 h 4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53" h="41864">
                  <a:moveTo>
                    <a:pt x="41254" y="25510"/>
                  </a:moveTo>
                  <a:cubicBezTo>
                    <a:pt x="38142" y="37959"/>
                    <a:pt x="28805" y="44184"/>
                    <a:pt x="16355" y="41072"/>
                  </a:cubicBezTo>
                  <a:cubicBezTo>
                    <a:pt x="3906" y="37959"/>
                    <a:pt x="-2319" y="28622"/>
                    <a:pt x="793" y="16172"/>
                  </a:cubicBezTo>
                  <a:cubicBezTo>
                    <a:pt x="3906" y="6835"/>
                    <a:pt x="13243" y="-2502"/>
                    <a:pt x="25692" y="611"/>
                  </a:cubicBezTo>
                  <a:cubicBezTo>
                    <a:pt x="35030" y="3723"/>
                    <a:pt x="41254" y="13060"/>
                    <a:pt x="41254" y="25510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7130F663-B0FF-4F96-9D5A-074ED23D9C41}"/>
                </a:ext>
              </a:extLst>
            </p:cNvPr>
            <p:cNvSpPr/>
            <p:nvPr/>
          </p:nvSpPr>
          <p:spPr>
            <a:xfrm>
              <a:off x="25192074" y="2447894"/>
              <a:ext cx="42047" cy="42047"/>
            </a:xfrm>
            <a:custGeom>
              <a:avLst/>
              <a:gdLst>
                <a:gd name="connsiteX0" fmla="*/ 41254 w 42047"/>
                <a:gd name="connsiteY0" fmla="*/ 25692 h 42047"/>
                <a:gd name="connsiteX1" fmla="*/ 16355 w 42047"/>
                <a:gd name="connsiteY1" fmla="*/ 41254 h 42047"/>
                <a:gd name="connsiteX2" fmla="*/ 793 w 42047"/>
                <a:gd name="connsiteY2" fmla="*/ 16355 h 42047"/>
                <a:gd name="connsiteX3" fmla="*/ 25692 w 42047"/>
                <a:gd name="connsiteY3" fmla="*/ 793 h 42047"/>
                <a:gd name="connsiteX4" fmla="*/ 41254 w 42047"/>
                <a:gd name="connsiteY4" fmla="*/ 25692 h 42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047" h="42047">
                  <a:moveTo>
                    <a:pt x="41254" y="25692"/>
                  </a:moveTo>
                  <a:cubicBezTo>
                    <a:pt x="38142" y="38142"/>
                    <a:pt x="28805" y="44367"/>
                    <a:pt x="16355" y="41254"/>
                  </a:cubicBezTo>
                  <a:cubicBezTo>
                    <a:pt x="3905" y="38142"/>
                    <a:pt x="-2319" y="28805"/>
                    <a:pt x="793" y="16355"/>
                  </a:cubicBezTo>
                  <a:cubicBezTo>
                    <a:pt x="3905" y="3906"/>
                    <a:pt x="13243" y="-2319"/>
                    <a:pt x="25692" y="793"/>
                  </a:cubicBezTo>
                  <a:cubicBezTo>
                    <a:pt x="38142" y="3906"/>
                    <a:pt x="44367" y="13243"/>
                    <a:pt x="41254" y="25692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4DF78318-68A5-4441-99EB-DEBCD8153F58}"/>
                </a:ext>
              </a:extLst>
            </p:cNvPr>
            <p:cNvSpPr/>
            <p:nvPr/>
          </p:nvSpPr>
          <p:spPr>
            <a:xfrm>
              <a:off x="24972666" y="2391475"/>
              <a:ext cx="93882" cy="35425"/>
            </a:xfrm>
            <a:custGeom>
              <a:avLst/>
              <a:gdLst>
                <a:gd name="connsiteX0" fmla="*/ 8559 w 93882"/>
                <a:gd name="connsiteY0" fmla="*/ 35426 h 35425"/>
                <a:gd name="connsiteX1" fmla="*/ 2334 w 93882"/>
                <a:gd name="connsiteY1" fmla="*/ 32313 h 35425"/>
                <a:gd name="connsiteX2" fmla="*/ 2334 w 93882"/>
                <a:gd name="connsiteY2" fmla="*/ 19864 h 35425"/>
                <a:gd name="connsiteX3" fmla="*/ 89480 w 93882"/>
                <a:gd name="connsiteY3" fmla="*/ 10526 h 35425"/>
                <a:gd name="connsiteX4" fmla="*/ 92594 w 93882"/>
                <a:gd name="connsiteY4" fmla="*/ 19864 h 35425"/>
                <a:gd name="connsiteX5" fmla="*/ 83255 w 93882"/>
                <a:gd name="connsiteY5" fmla="*/ 22976 h 35425"/>
                <a:gd name="connsiteX6" fmla="*/ 14784 w 93882"/>
                <a:gd name="connsiteY6" fmla="*/ 29201 h 35425"/>
                <a:gd name="connsiteX7" fmla="*/ 8559 w 93882"/>
                <a:gd name="connsiteY7" fmla="*/ 35426 h 3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82" h="35425">
                  <a:moveTo>
                    <a:pt x="8559" y="35426"/>
                  </a:moveTo>
                  <a:cubicBezTo>
                    <a:pt x="5445" y="35426"/>
                    <a:pt x="5445" y="35426"/>
                    <a:pt x="2334" y="32313"/>
                  </a:cubicBezTo>
                  <a:cubicBezTo>
                    <a:pt x="-778" y="29201"/>
                    <a:pt x="-778" y="22976"/>
                    <a:pt x="2334" y="19864"/>
                  </a:cubicBezTo>
                  <a:cubicBezTo>
                    <a:pt x="30346" y="-11260"/>
                    <a:pt x="70807" y="1189"/>
                    <a:pt x="89480" y="10526"/>
                  </a:cubicBezTo>
                  <a:cubicBezTo>
                    <a:pt x="92594" y="13639"/>
                    <a:pt x="95705" y="16751"/>
                    <a:pt x="92594" y="19864"/>
                  </a:cubicBezTo>
                  <a:cubicBezTo>
                    <a:pt x="89480" y="22976"/>
                    <a:pt x="86369" y="26088"/>
                    <a:pt x="83255" y="22976"/>
                  </a:cubicBezTo>
                  <a:cubicBezTo>
                    <a:pt x="80144" y="22976"/>
                    <a:pt x="39683" y="1189"/>
                    <a:pt x="14784" y="29201"/>
                  </a:cubicBezTo>
                  <a:cubicBezTo>
                    <a:pt x="11671" y="32313"/>
                    <a:pt x="11671" y="35426"/>
                    <a:pt x="8559" y="35426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DFD6ABD6-478E-42DF-989F-4098AC4BB183}"/>
                </a:ext>
              </a:extLst>
            </p:cNvPr>
            <p:cNvSpPr/>
            <p:nvPr/>
          </p:nvSpPr>
          <p:spPr>
            <a:xfrm>
              <a:off x="25163566" y="2389868"/>
              <a:ext cx="93882" cy="37032"/>
            </a:xfrm>
            <a:custGeom>
              <a:avLst/>
              <a:gdLst>
                <a:gd name="connsiteX0" fmla="*/ 88437 w 93882"/>
                <a:gd name="connsiteY0" fmla="*/ 37032 h 37032"/>
                <a:gd name="connsiteX1" fmla="*/ 82212 w 93882"/>
                <a:gd name="connsiteY1" fmla="*/ 33920 h 37032"/>
                <a:gd name="connsiteX2" fmla="*/ 13739 w 93882"/>
                <a:gd name="connsiteY2" fmla="*/ 27695 h 37032"/>
                <a:gd name="connsiteX3" fmla="*/ 1289 w 93882"/>
                <a:gd name="connsiteY3" fmla="*/ 24582 h 37032"/>
                <a:gd name="connsiteX4" fmla="*/ 4402 w 93882"/>
                <a:gd name="connsiteY4" fmla="*/ 12133 h 37032"/>
                <a:gd name="connsiteX5" fmla="*/ 91549 w 93882"/>
                <a:gd name="connsiteY5" fmla="*/ 21470 h 37032"/>
                <a:gd name="connsiteX6" fmla="*/ 91549 w 93882"/>
                <a:gd name="connsiteY6" fmla="*/ 33920 h 37032"/>
                <a:gd name="connsiteX7" fmla="*/ 88437 w 93882"/>
                <a:gd name="connsiteY7" fmla="*/ 37032 h 37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82" h="37032">
                  <a:moveTo>
                    <a:pt x="88437" y="37032"/>
                  </a:moveTo>
                  <a:cubicBezTo>
                    <a:pt x="85324" y="37032"/>
                    <a:pt x="85324" y="37032"/>
                    <a:pt x="82212" y="33920"/>
                  </a:cubicBezTo>
                  <a:cubicBezTo>
                    <a:pt x="82212" y="33920"/>
                    <a:pt x="51088" y="2796"/>
                    <a:pt x="13739" y="27695"/>
                  </a:cubicBezTo>
                  <a:cubicBezTo>
                    <a:pt x="10628" y="30807"/>
                    <a:pt x="4402" y="27695"/>
                    <a:pt x="1289" y="24582"/>
                  </a:cubicBezTo>
                  <a:cubicBezTo>
                    <a:pt x="-1823" y="21470"/>
                    <a:pt x="1289" y="15245"/>
                    <a:pt x="4402" y="12133"/>
                  </a:cubicBezTo>
                  <a:cubicBezTo>
                    <a:pt x="41751" y="-12766"/>
                    <a:pt x="79099" y="5908"/>
                    <a:pt x="91549" y="21470"/>
                  </a:cubicBezTo>
                  <a:cubicBezTo>
                    <a:pt x="94661" y="24582"/>
                    <a:pt x="94661" y="30807"/>
                    <a:pt x="91549" y="33920"/>
                  </a:cubicBezTo>
                  <a:cubicBezTo>
                    <a:pt x="94661" y="37032"/>
                    <a:pt x="91549" y="37032"/>
                    <a:pt x="88437" y="37032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F32D2F32-90FB-47A1-8770-BB672BD9CFD2}"/>
                </a:ext>
              </a:extLst>
            </p:cNvPr>
            <p:cNvSpPr/>
            <p:nvPr/>
          </p:nvSpPr>
          <p:spPr>
            <a:xfrm>
              <a:off x="24912752" y="2144155"/>
              <a:ext cx="280200" cy="282745"/>
            </a:xfrm>
            <a:custGeom>
              <a:avLst/>
              <a:gdLst>
                <a:gd name="connsiteX0" fmla="*/ 277004 w 280200"/>
                <a:gd name="connsiteY0" fmla="*/ 2630 h 282745"/>
                <a:gd name="connsiteX1" fmla="*/ 242766 w 280200"/>
                <a:gd name="connsiteY1" fmla="*/ 152025 h 282745"/>
                <a:gd name="connsiteX2" fmla="*/ 0 w 280200"/>
                <a:gd name="connsiteY2" fmla="*/ 282746 h 282745"/>
                <a:gd name="connsiteX3" fmla="*/ 277004 w 280200"/>
                <a:gd name="connsiteY3" fmla="*/ 2630 h 28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200" h="282745">
                  <a:moveTo>
                    <a:pt x="277004" y="2630"/>
                  </a:moveTo>
                  <a:cubicBezTo>
                    <a:pt x="277004" y="2630"/>
                    <a:pt x="295677" y="111564"/>
                    <a:pt x="242766" y="152025"/>
                  </a:cubicBezTo>
                  <a:cubicBezTo>
                    <a:pt x="242766" y="152025"/>
                    <a:pt x="28012" y="195599"/>
                    <a:pt x="0" y="282746"/>
                  </a:cubicBezTo>
                  <a:cubicBezTo>
                    <a:pt x="3112" y="279633"/>
                    <a:pt x="-18674" y="-31606"/>
                    <a:pt x="277004" y="2630"/>
                  </a:cubicBezTo>
                  <a:close/>
                </a:path>
              </a:pathLst>
            </a:custGeom>
            <a:solidFill>
              <a:srgbClr val="F1DDBA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40A0EB99-C3A1-4B8C-8DEA-9AC90F3C3C5D}"/>
                </a:ext>
              </a:extLst>
            </p:cNvPr>
            <p:cNvSpPr/>
            <p:nvPr/>
          </p:nvSpPr>
          <p:spPr>
            <a:xfrm>
              <a:off x="25158631" y="2143673"/>
              <a:ext cx="303321" cy="358394"/>
            </a:xfrm>
            <a:custGeom>
              <a:avLst/>
              <a:gdLst>
                <a:gd name="connsiteX0" fmla="*/ 0 w 303321"/>
                <a:gd name="connsiteY0" fmla="*/ 149395 h 358394"/>
                <a:gd name="connsiteX1" fmla="*/ 143169 w 303321"/>
                <a:gd name="connsiteY1" fmla="*/ 205418 h 358394"/>
                <a:gd name="connsiteX2" fmla="*/ 202305 w 303321"/>
                <a:gd name="connsiteY2" fmla="*/ 326801 h 358394"/>
                <a:gd name="connsiteX3" fmla="*/ 292564 w 303321"/>
                <a:gd name="connsiteY3" fmla="*/ 348588 h 358394"/>
                <a:gd name="connsiteX4" fmla="*/ 31124 w 303321"/>
                <a:gd name="connsiteY4" fmla="*/ 0 h 358394"/>
                <a:gd name="connsiteX5" fmla="*/ 0 w 303321"/>
                <a:gd name="connsiteY5" fmla="*/ 149395 h 35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3321" h="358394">
                  <a:moveTo>
                    <a:pt x="0" y="149395"/>
                  </a:moveTo>
                  <a:cubicBezTo>
                    <a:pt x="0" y="149395"/>
                    <a:pt x="93372" y="199193"/>
                    <a:pt x="143169" y="205418"/>
                  </a:cubicBezTo>
                  <a:cubicBezTo>
                    <a:pt x="196080" y="211643"/>
                    <a:pt x="202305" y="326801"/>
                    <a:pt x="202305" y="326801"/>
                  </a:cubicBezTo>
                  <a:cubicBezTo>
                    <a:pt x="202305" y="326801"/>
                    <a:pt x="277002" y="379712"/>
                    <a:pt x="292564" y="348588"/>
                  </a:cubicBezTo>
                  <a:cubicBezTo>
                    <a:pt x="326801" y="280115"/>
                    <a:pt x="289452" y="0"/>
                    <a:pt x="31124" y="0"/>
                  </a:cubicBezTo>
                  <a:cubicBezTo>
                    <a:pt x="31124" y="3112"/>
                    <a:pt x="24899" y="146282"/>
                    <a:pt x="0" y="149395"/>
                  </a:cubicBezTo>
                  <a:close/>
                </a:path>
              </a:pathLst>
            </a:custGeom>
            <a:solidFill>
              <a:srgbClr val="F1DDBA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4DB2C27F-5872-4535-A29B-3314F3FD53F1}"/>
                </a:ext>
              </a:extLst>
            </p:cNvPr>
            <p:cNvSpPr/>
            <p:nvPr/>
          </p:nvSpPr>
          <p:spPr>
            <a:xfrm>
              <a:off x="24987450" y="2663344"/>
              <a:ext cx="317462" cy="333124"/>
            </a:xfrm>
            <a:custGeom>
              <a:avLst/>
              <a:gdLst>
                <a:gd name="connsiteX0" fmla="*/ 56023 w 317462"/>
                <a:gd name="connsiteY0" fmla="*/ 62347 h 333124"/>
                <a:gd name="connsiteX1" fmla="*/ 0 w 317462"/>
                <a:gd name="connsiteY1" fmla="*/ 205517 h 333124"/>
                <a:gd name="connsiteX2" fmla="*/ 118271 w 317462"/>
                <a:gd name="connsiteY2" fmla="*/ 333125 h 333124"/>
                <a:gd name="connsiteX3" fmla="*/ 317462 w 317462"/>
                <a:gd name="connsiteY3" fmla="*/ 189955 h 333124"/>
                <a:gd name="connsiteX4" fmla="*/ 264553 w 317462"/>
                <a:gd name="connsiteY4" fmla="*/ 99 h 333124"/>
                <a:gd name="connsiteX5" fmla="*/ 56023 w 317462"/>
                <a:gd name="connsiteY5" fmla="*/ 62347 h 333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462" h="333124">
                  <a:moveTo>
                    <a:pt x="56023" y="62347"/>
                  </a:moveTo>
                  <a:cubicBezTo>
                    <a:pt x="56023" y="62347"/>
                    <a:pt x="62248" y="174393"/>
                    <a:pt x="0" y="205517"/>
                  </a:cubicBezTo>
                  <a:lnTo>
                    <a:pt x="118271" y="333125"/>
                  </a:lnTo>
                  <a:cubicBezTo>
                    <a:pt x="118271" y="333125"/>
                    <a:pt x="261440" y="221078"/>
                    <a:pt x="317462" y="189955"/>
                  </a:cubicBezTo>
                  <a:cubicBezTo>
                    <a:pt x="261440" y="146381"/>
                    <a:pt x="264553" y="62347"/>
                    <a:pt x="264553" y="99"/>
                  </a:cubicBezTo>
                  <a:cubicBezTo>
                    <a:pt x="264553" y="-3014"/>
                    <a:pt x="112045" y="68571"/>
                    <a:pt x="56023" y="62347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858FE2AD-74EA-43A8-AC33-9FFB3B8A890E}"/>
                </a:ext>
              </a:extLst>
            </p:cNvPr>
            <p:cNvSpPr/>
            <p:nvPr/>
          </p:nvSpPr>
          <p:spPr>
            <a:xfrm>
              <a:off x="25034913" y="2699502"/>
              <a:ext cx="227715" cy="82211"/>
            </a:xfrm>
            <a:custGeom>
              <a:avLst/>
              <a:gdLst>
                <a:gd name="connsiteX0" fmla="*/ 73918 w 227715"/>
                <a:gd name="connsiteY0" fmla="*/ 82211 h 82211"/>
                <a:gd name="connsiteX1" fmla="*/ 2334 w 227715"/>
                <a:gd name="connsiteY1" fmla="*/ 54200 h 82211"/>
                <a:gd name="connsiteX2" fmla="*/ 2334 w 227715"/>
                <a:gd name="connsiteY2" fmla="*/ 44863 h 82211"/>
                <a:gd name="connsiteX3" fmla="*/ 11671 w 227715"/>
                <a:gd name="connsiteY3" fmla="*/ 44863 h 82211"/>
                <a:gd name="connsiteX4" fmla="*/ 83255 w 227715"/>
                <a:gd name="connsiteY4" fmla="*/ 69762 h 82211"/>
                <a:gd name="connsiteX5" fmla="*/ 217090 w 227715"/>
                <a:gd name="connsiteY5" fmla="*/ 1289 h 82211"/>
                <a:gd name="connsiteX6" fmla="*/ 226426 w 227715"/>
                <a:gd name="connsiteY6" fmla="*/ 4402 h 82211"/>
                <a:gd name="connsiteX7" fmla="*/ 223313 w 227715"/>
                <a:gd name="connsiteY7" fmla="*/ 13739 h 82211"/>
                <a:gd name="connsiteX8" fmla="*/ 83255 w 227715"/>
                <a:gd name="connsiteY8" fmla="*/ 82211 h 82211"/>
                <a:gd name="connsiteX9" fmla="*/ 73918 w 227715"/>
                <a:gd name="connsiteY9" fmla="*/ 82211 h 82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7715" h="82211">
                  <a:moveTo>
                    <a:pt x="73918" y="82211"/>
                  </a:moveTo>
                  <a:cubicBezTo>
                    <a:pt x="33458" y="82211"/>
                    <a:pt x="5445" y="54200"/>
                    <a:pt x="2334" y="54200"/>
                  </a:cubicBezTo>
                  <a:cubicBezTo>
                    <a:pt x="-778" y="51087"/>
                    <a:pt x="-778" y="47975"/>
                    <a:pt x="2334" y="44863"/>
                  </a:cubicBezTo>
                  <a:cubicBezTo>
                    <a:pt x="5445" y="41750"/>
                    <a:pt x="8559" y="41750"/>
                    <a:pt x="11671" y="44863"/>
                  </a:cubicBezTo>
                  <a:cubicBezTo>
                    <a:pt x="11671" y="44863"/>
                    <a:pt x="45908" y="75987"/>
                    <a:pt x="83255" y="69762"/>
                  </a:cubicBezTo>
                  <a:cubicBezTo>
                    <a:pt x="123718" y="63537"/>
                    <a:pt x="217090" y="1289"/>
                    <a:pt x="217090" y="1289"/>
                  </a:cubicBezTo>
                  <a:cubicBezTo>
                    <a:pt x="220201" y="-1823"/>
                    <a:pt x="223313" y="1289"/>
                    <a:pt x="226426" y="4402"/>
                  </a:cubicBezTo>
                  <a:cubicBezTo>
                    <a:pt x="229538" y="7514"/>
                    <a:pt x="226426" y="10626"/>
                    <a:pt x="223313" y="13739"/>
                  </a:cubicBezTo>
                  <a:cubicBezTo>
                    <a:pt x="220201" y="16851"/>
                    <a:pt x="126829" y="79099"/>
                    <a:pt x="83255" y="82211"/>
                  </a:cubicBezTo>
                  <a:cubicBezTo>
                    <a:pt x="80144" y="82211"/>
                    <a:pt x="77032" y="82211"/>
                    <a:pt x="73918" y="82211"/>
                  </a:cubicBezTo>
                  <a:close/>
                </a:path>
              </a:pathLst>
            </a:custGeom>
            <a:solidFill>
              <a:srgbClr val="E58777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9E9DDF10-E36A-4C5E-B255-160ACAE6ED74}"/>
                </a:ext>
              </a:extLst>
            </p:cNvPr>
            <p:cNvSpPr/>
            <p:nvPr/>
          </p:nvSpPr>
          <p:spPr>
            <a:xfrm>
              <a:off x="24700265" y="2949782"/>
              <a:ext cx="103552" cy="566455"/>
            </a:xfrm>
            <a:custGeom>
              <a:avLst/>
              <a:gdLst>
                <a:gd name="connsiteX0" fmla="*/ 56867 w 103552"/>
                <a:gd name="connsiteY0" fmla="*/ 566455 h 566455"/>
                <a:gd name="connsiteX1" fmla="*/ 50642 w 103552"/>
                <a:gd name="connsiteY1" fmla="*/ 563343 h 566455"/>
                <a:gd name="connsiteX2" fmla="*/ 35080 w 103552"/>
                <a:gd name="connsiteY2" fmla="*/ 507320 h 566455"/>
                <a:gd name="connsiteX3" fmla="*/ 844 w 103552"/>
                <a:gd name="connsiteY3" fmla="*/ 354813 h 566455"/>
                <a:gd name="connsiteX4" fmla="*/ 91103 w 103552"/>
                <a:gd name="connsiteY4" fmla="*/ 3112 h 566455"/>
                <a:gd name="connsiteX5" fmla="*/ 100441 w 103552"/>
                <a:gd name="connsiteY5" fmla="*/ 0 h 566455"/>
                <a:gd name="connsiteX6" fmla="*/ 103553 w 103552"/>
                <a:gd name="connsiteY6" fmla="*/ 9337 h 566455"/>
                <a:gd name="connsiteX7" fmla="*/ 13293 w 103552"/>
                <a:gd name="connsiteY7" fmla="*/ 354813 h 566455"/>
                <a:gd name="connsiteX8" fmla="*/ 47530 w 103552"/>
                <a:gd name="connsiteY8" fmla="*/ 507320 h 566455"/>
                <a:gd name="connsiteX9" fmla="*/ 63092 w 103552"/>
                <a:gd name="connsiteY9" fmla="*/ 563343 h 566455"/>
                <a:gd name="connsiteX10" fmla="*/ 56867 w 103552"/>
                <a:gd name="connsiteY10" fmla="*/ 566455 h 566455"/>
                <a:gd name="connsiteX11" fmla="*/ 56867 w 103552"/>
                <a:gd name="connsiteY11" fmla="*/ 566455 h 566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3552" h="566455">
                  <a:moveTo>
                    <a:pt x="56867" y="566455"/>
                  </a:moveTo>
                  <a:cubicBezTo>
                    <a:pt x="53755" y="566455"/>
                    <a:pt x="50642" y="563343"/>
                    <a:pt x="50642" y="563343"/>
                  </a:cubicBezTo>
                  <a:cubicBezTo>
                    <a:pt x="44417" y="544669"/>
                    <a:pt x="41305" y="525994"/>
                    <a:pt x="35080" y="507320"/>
                  </a:cubicBezTo>
                  <a:cubicBezTo>
                    <a:pt x="19518" y="454409"/>
                    <a:pt x="3956" y="401499"/>
                    <a:pt x="844" y="354813"/>
                  </a:cubicBezTo>
                  <a:cubicBezTo>
                    <a:pt x="-5381" y="227205"/>
                    <a:pt x="22631" y="108934"/>
                    <a:pt x="91103" y="3112"/>
                  </a:cubicBezTo>
                  <a:cubicBezTo>
                    <a:pt x="94216" y="0"/>
                    <a:pt x="97328" y="0"/>
                    <a:pt x="100441" y="0"/>
                  </a:cubicBezTo>
                  <a:cubicBezTo>
                    <a:pt x="103553" y="3112"/>
                    <a:pt x="103553" y="6225"/>
                    <a:pt x="103553" y="9337"/>
                  </a:cubicBezTo>
                  <a:cubicBezTo>
                    <a:pt x="38193" y="115159"/>
                    <a:pt x="7069" y="230317"/>
                    <a:pt x="13293" y="354813"/>
                  </a:cubicBezTo>
                  <a:cubicBezTo>
                    <a:pt x="16406" y="401499"/>
                    <a:pt x="31968" y="454409"/>
                    <a:pt x="47530" y="507320"/>
                  </a:cubicBezTo>
                  <a:cubicBezTo>
                    <a:pt x="53755" y="525994"/>
                    <a:pt x="59979" y="544669"/>
                    <a:pt x="63092" y="563343"/>
                  </a:cubicBezTo>
                  <a:cubicBezTo>
                    <a:pt x="63092" y="560231"/>
                    <a:pt x="59979" y="563343"/>
                    <a:pt x="56867" y="566455"/>
                  </a:cubicBezTo>
                  <a:cubicBezTo>
                    <a:pt x="56867" y="566455"/>
                    <a:pt x="56867" y="566455"/>
                    <a:pt x="56867" y="566455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69D8718C-06E2-4455-A347-1E8D6D823690}"/>
                </a:ext>
              </a:extLst>
            </p:cNvPr>
            <p:cNvSpPr/>
            <p:nvPr/>
          </p:nvSpPr>
          <p:spPr>
            <a:xfrm>
              <a:off x="24822491" y="3398165"/>
              <a:ext cx="409013" cy="37150"/>
            </a:xfrm>
            <a:custGeom>
              <a:avLst/>
              <a:gdLst>
                <a:gd name="connsiteX0" fmla="*/ 6225 w 409013"/>
                <a:gd name="connsiteY0" fmla="*/ 37151 h 37150"/>
                <a:gd name="connsiteX1" fmla="*/ 0 w 409013"/>
                <a:gd name="connsiteY1" fmla="*/ 34038 h 37150"/>
                <a:gd name="connsiteX2" fmla="*/ 3114 w 409013"/>
                <a:gd name="connsiteY2" fmla="*/ 27813 h 37150"/>
                <a:gd name="connsiteX3" fmla="*/ 404611 w 409013"/>
                <a:gd name="connsiteY3" fmla="*/ 15364 h 37150"/>
                <a:gd name="connsiteX4" fmla="*/ 407724 w 409013"/>
                <a:gd name="connsiteY4" fmla="*/ 21589 h 37150"/>
                <a:gd name="connsiteX5" fmla="*/ 401499 w 409013"/>
                <a:gd name="connsiteY5" fmla="*/ 24701 h 37150"/>
                <a:gd name="connsiteX6" fmla="*/ 6225 w 409013"/>
                <a:gd name="connsiteY6" fmla="*/ 37151 h 37150"/>
                <a:gd name="connsiteX7" fmla="*/ 6225 w 409013"/>
                <a:gd name="connsiteY7" fmla="*/ 37151 h 3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9013" h="37150">
                  <a:moveTo>
                    <a:pt x="6225" y="37151"/>
                  </a:moveTo>
                  <a:cubicBezTo>
                    <a:pt x="3114" y="37151"/>
                    <a:pt x="3114" y="37151"/>
                    <a:pt x="0" y="34038"/>
                  </a:cubicBezTo>
                  <a:cubicBezTo>
                    <a:pt x="0" y="30926"/>
                    <a:pt x="0" y="27813"/>
                    <a:pt x="3114" y="27813"/>
                  </a:cubicBezTo>
                  <a:cubicBezTo>
                    <a:pt x="90260" y="-3310"/>
                    <a:pt x="301902" y="-9535"/>
                    <a:pt x="404611" y="15364"/>
                  </a:cubicBezTo>
                  <a:cubicBezTo>
                    <a:pt x="407724" y="15364"/>
                    <a:pt x="410836" y="18476"/>
                    <a:pt x="407724" y="21589"/>
                  </a:cubicBezTo>
                  <a:cubicBezTo>
                    <a:pt x="407724" y="24701"/>
                    <a:pt x="404611" y="27813"/>
                    <a:pt x="401499" y="24701"/>
                  </a:cubicBezTo>
                  <a:cubicBezTo>
                    <a:pt x="305016" y="-198"/>
                    <a:pt x="93372" y="6027"/>
                    <a:pt x="6225" y="37151"/>
                  </a:cubicBezTo>
                  <a:cubicBezTo>
                    <a:pt x="9339" y="37151"/>
                    <a:pt x="9339" y="37151"/>
                    <a:pt x="6225" y="37151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91CEEDDC-1D3C-4C4E-9CED-44CFB1DB514B}"/>
                </a:ext>
              </a:extLst>
            </p:cNvPr>
            <p:cNvSpPr/>
            <p:nvPr/>
          </p:nvSpPr>
          <p:spPr>
            <a:xfrm>
              <a:off x="25323587" y="2456509"/>
              <a:ext cx="79201" cy="116428"/>
            </a:xfrm>
            <a:custGeom>
              <a:avLst/>
              <a:gdLst>
                <a:gd name="connsiteX0" fmla="*/ 12449 w 79201"/>
                <a:gd name="connsiteY0" fmla="*/ 17078 h 116428"/>
                <a:gd name="connsiteX1" fmla="*/ 71585 w 79201"/>
                <a:gd name="connsiteY1" fmla="*/ 7740 h 116428"/>
                <a:gd name="connsiteX2" fmla="*/ 12449 w 79201"/>
                <a:gd name="connsiteY2" fmla="*/ 113562 h 116428"/>
                <a:gd name="connsiteX3" fmla="*/ 12449 w 79201"/>
                <a:gd name="connsiteY3" fmla="*/ 17078 h 116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201" h="116428">
                  <a:moveTo>
                    <a:pt x="12449" y="17078"/>
                  </a:moveTo>
                  <a:cubicBezTo>
                    <a:pt x="12449" y="17078"/>
                    <a:pt x="46687" y="-14046"/>
                    <a:pt x="71585" y="7740"/>
                  </a:cubicBezTo>
                  <a:cubicBezTo>
                    <a:pt x="96484" y="26415"/>
                    <a:pt x="56023" y="135349"/>
                    <a:pt x="12449" y="113562"/>
                  </a:cubicBezTo>
                  <a:cubicBezTo>
                    <a:pt x="-15561" y="91775"/>
                    <a:pt x="12449" y="17078"/>
                    <a:pt x="12449" y="17078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644AB29C-4C57-428A-A1CD-746AD93A0DBE}"/>
                </a:ext>
              </a:extLst>
            </p:cNvPr>
            <p:cNvSpPr/>
            <p:nvPr/>
          </p:nvSpPr>
          <p:spPr>
            <a:xfrm>
              <a:off x="24878516" y="2333529"/>
              <a:ext cx="149394" cy="168069"/>
            </a:xfrm>
            <a:custGeom>
              <a:avLst/>
              <a:gdLst>
                <a:gd name="connsiteX0" fmla="*/ 6223 w 149394"/>
                <a:gd name="connsiteY0" fmla="*/ 168069 h 168069"/>
                <a:gd name="connsiteX1" fmla="*/ 6223 w 149394"/>
                <a:gd name="connsiteY1" fmla="*/ 168069 h 168069"/>
                <a:gd name="connsiteX2" fmla="*/ 0 w 149394"/>
                <a:gd name="connsiteY2" fmla="*/ 161844 h 168069"/>
                <a:gd name="connsiteX3" fmla="*/ 143169 w 149394"/>
                <a:gd name="connsiteY3" fmla="*/ 0 h 168069"/>
                <a:gd name="connsiteX4" fmla="*/ 149394 w 149394"/>
                <a:gd name="connsiteY4" fmla="*/ 3112 h 168069"/>
                <a:gd name="connsiteX5" fmla="*/ 146281 w 149394"/>
                <a:gd name="connsiteY5" fmla="*/ 9337 h 168069"/>
                <a:gd name="connsiteX6" fmla="*/ 12448 w 149394"/>
                <a:gd name="connsiteY6" fmla="*/ 161844 h 168069"/>
                <a:gd name="connsiteX7" fmla="*/ 6223 w 149394"/>
                <a:gd name="connsiteY7" fmla="*/ 168069 h 168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394" h="168069">
                  <a:moveTo>
                    <a:pt x="6223" y="168069"/>
                  </a:moveTo>
                  <a:cubicBezTo>
                    <a:pt x="6223" y="168069"/>
                    <a:pt x="6223" y="168069"/>
                    <a:pt x="6223" y="168069"/>
                  </a:cubicBezTo>
                  <a:cubicBezTo>
                    <a:pt x="3112" y="168069"/>
                    <a:pt x="0" y="164957"/>
                    <a:pt x="0" y="161844"/>
                  </a:cubicBezTo>
                  <a:cubicBezTo>
                    <a:pt x="24899" y="31124"/>
                    <a:pt x="143169" y="0"/>
                    <a:pt x="143169" y="0"/>
                  </a:cubicBezTo>
                  <a:cubicBezTo>
                    <a:pt x="146281" y="0"/>
                    <a:pt x="149394" y="0"/>
                    <a:pt x="149394" y="3112"/>
                  </a:cubicBezTo>
                  <a:cubicBezTo>
                    <a:pt x="149394" y="6225"/>
                    <a:pt x="149394" y="9337"/>
                    <a:pt x="146281" y="9337"/>
                  </a:cubicBezTo>
                  <a:cubicBezTo>
                    <a:pt x="146281" y="9337"/>
                    <a:pt x="37347" y="40461"/>
                    <a:pt x="12448" y="161844"/>
                  </a:cubicBezTo>
                  <a:cubicBezTo>
                    <a:pt x="12448" y="164957"/>
                    <a:pt x="9337" y="168069"/>
                    <a:pt x="6223" y="168069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9ADAFE75-5D63-4A6D-97BE-7B5DC0BDDBE0}"/>
                </a:ext>
              </a:extLst>
            </p:cNvPr>
            <p:cNvSpPr/>
            <p:nvPr/>
          </p:nvSpPr>
          <p:spPr>
            <a:xfrm>
              <a:off x="24962549" y="2856411"/>
              <a:ext cx="367263" cy="158731"/>
            </a:xfrm>
            <a:custGeom>
              <a:avLst/>
              <a:gdLst>
                <a:gd name="connsiteX0" fmla="*/ 37349 w 367263"/>
                <a:gd name="connsiteY0" fmla="*/ 6225 h 158731"/>
                <a:gd name="connsiteX1" fmla="*/ 143171 w 367263"/>
                <a:gd name="connsiteY1" fmla="*/ 124496 h 158731"/>
                <a:gd name="connsiteX2" fmla="*/ 342363 w 367263"/>
                <a:gd name="connsiteY2" fmla="*/ 0 h 158731"/>
                <a:gd name="connsiteX3" fmla="*/ 367264 w 367263"/>
                <a:gd name="connsiteY3" fmla="*/ 9337 h 158731"/>
                <a:gd name="connsiteX4" fmla="*/ 140058 w 367263"/>
                <a:gd name="connsiteY4" fmla="*/ 158732 h 158731"/>
                <a:gd name="connsiteX5" fmla="*/ 0 w 367263"/>
                <a:gd name="connsiteY5" fmla="*/ 15562 h 158731"/>
                <a:gd name="connsiteX6" fmla="*/ 37349 w 367263"/>
                <a:gd name="connsiteY6" fmla="*/ 6225 h 15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7263" h="158731">
                  <a:moveTo>
                    <a:pt x="37349" y="6225"/>
                  </a:moveTo>
                  <a:lnTo>
                    <a:pt x="143171" y="124496"/>
                  </a:lnTo>
                  <a:cubicBezTo>
                    <a:pt x="143171" y="124496"/>
                    <a:pt x="277004" y="21787"/>
                    <a:pt x="342363" y="0"/>
                  </a:cubicBezTo>
                  <a:lnTo>
                    <a:pt x="367264" y="9337"/>
                  </a:lnTo>
                  <a:lnTo>
                    <a:pt x="140058" y="158732"/>
                  </a:lnTo>
                  <a:lnTo>
                    <a:pt x="0" y="15562"/>
                  </a:lnTo>
                  <a:cubicBezTo>
                    <a:pt x="0" y="12449"/>
                    <a:pt x="15562" y="6225"/>
                    <a:pt x="37349" y="6225"/>
                  </a:cubicBezTo>
                  <a:close/>
                </a:path>
              </a:pathLst>
            </a:custGeom>
            <a:solidFill>
              <a:srgbClr val="D16156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5BDD34E4-1594-4C23-8B8E-4D4B826AEC3A}"/>
                </a:ext>
              </a:extLst>
            </p:cNvPr>
            <p:cNvSpPr/>
            <p:nvPr/>
          </p:nvSpPr>
          <p:spPr>
            <a:xfrm>
              <a:off x="24794481" y="3815027"/>
              <a:ext cx="690951" cy="37348"/>
            </a:xfrm>
            <a:custGeom>
              <a:avLst/>
              <a:gdLst>
                <a:gd name="connsiteX0" fmla="*/ 177407 w 690951"/>
                <a:gd name="connsiteY0" fmla="*/ 37349 h 37348"/>
                <a:gd name="connsiteX1" fmla="*/ 6225 w 690951"/>
                <a:gd name="connsiteY1" fmla="*/ 31124 h 37348"/>
                <a:gd name="connsiteX2" fmla="*/ 0 w 690951"/>
                <a:gd name="connsiteY2" fmla="*/ 24899 h 37348"/>
                <a:gd name="connsiteX3" fmla="*/ 6225 w 690951"/>
                <a:gd name="connsiteY3" fmla="*/ 18674 h 37348"/>
                <a:gd name="connsiteX4" fmla="*/ 684726 w 690951"/>
                <a:gd name="connsiteY4" fmla="*/ 0 h 37348"/>
                <a:gd name="connsiteX5" fmla="*/ 690951 w 690951"/>
                <a:gd name="connsiteY5" fmla="*/ 6225 h 37348"/>
                <a:gd name="connsiteX6" fmla="*/ 684726 w 690951"/>
                <a:gd name="connsiteY6" fmla="*/ 12450 h 37348"/>
                <a:gd name="connsiteX7" fmla="*/ 177407 w 690951"/>
                <a:gd name="connsiteY7" fmla="*/ 37349 h 3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0951" h="37348">
                  <a:moveTo>
                    <a:pt x="177407" y="37349"/>
                  </a:moveTo>
                  <a:cubicBezTo>
                    <a:pt x="62248" y="37349"/>
                    <a:pt x="6225" y="31124"/>
                    <a:pt x="6225" y="31124"/>
                  </a:cubicBezTo>
                  <a:cubicBezTo>
                    <a:pt x="3112" y="31124"/>
                    <a:pt x="0" y="28012"/>
                    <a:pt x="0" y="24899"/>
                  </a:cubicBezTo>
                  <a:cubicBezTo>
                    <a:pt x="0" y="21787"/>
                    <a:pt x="3112" y="18674"/>
                    <a:pt x="6225" y="18674"/>
                  </a:cubicBezTo>
                  <a:cubicBezTo>
                    <a:pt x="9337" y="18674"/>
                    <a:pt x="220979" y="40461"/>
                    <a:pt x="684726" y="0"/>
                  </a:cubicBezTo>
                  <a:cubicBezTo>
                    <a:pt x="687838" y="0"/>
                    <a:pt x="690951" y="3112"/>
                    <a:pt x="690951" y="6225"/>
                  </a:cubicBezTo>
                  <a:cubicBezTo>
                    <a:pt x="690951" y="9337"/>
                    <a:pt x="687838" y="12450"/>
                    <a:pt x="684726" y="12450"/>
                  </a:cubicBezTo>
                  <a:cubicBezTo>
                    <a:pt x="457522" y="31124"/>
                    <a:pt x="289452" y="37349"/>
                    <a:pt x="177407" y="37349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D2C3876E-4CCB-42AB-A0D5-64E5343D12FA}"/>
                </a:ext>
              </a:extLst>
            </p:cNvPr>
            <p:cNvSpPr/>
            <p:nvPr/>
          </p:nvSpPr>
          <p:spPr>
            <a:xfrm>
              <a:off x="25091662" y="2766151"/>
              <a:ext cx="244374" cy="420172"/>
            </a:xfrm>
            <a:custGeom>
              <a:avLst/>
              <a:gdLst>
                <a:gd name="connsiteX0" fmla="*/ 210139 w 244374"/>
                <a:gd name="connsiteY0" fmla="*/ 0 h 420172"/>
                <a:gd name="connsiteX1" fmla="*/ 29620 w 244374"/>
                <a:gd name="connsiteY1" fmla="*/ 199193 h 420172"/>
                <a:gd name="connsiteX2" fmla="*/ 10945 w 244374"/>
                <a:gd name="connsiteY2" fmla="*/ 398386 h 420172"/>
                <a:gd name="connsiteX3" fmla="*/ 57631 w 244374"/>
                <a:gd name="connsiteY3" fmla="*/ 398386 h 420172"/>
                <a:gd name="connsiteX4" fmla="*/ 135441 w 244374"/>
                <a:gd name="connsiteY4" fmla="*/ 420173 h 420172"/>
                <a:gd name="connsiteX5" fmla="*/ 179015 w 244374"/>
                <a:gd name="connsiteY5" fmla="*/ 392161 h 420172"/>
                <a:gd name="connsiteX6" fmla="*/ 244374 w 244374"/>
                <a:gd name="connsiteY6" fmla="*/ 37349 h 420172"/>
                <a:gd name="connsiteX7" fmla="*/ 210139 w 244374"/>
                <a:gd name="connsiteY7" fmla="*/ 0 h 42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4374" h="420172">
                  <a:moveTo>
                    <a:pt x="210139" y="0"/>
                  </a:moveTo>
                  <a:cubicBezTo>
                    <a:pt x="210139" y="0"/>
                    <a:pt x="66970" y="93372"/>
                    <a:pt x="29620" y="199193"/>
                  </a:cubicBezTo>
                  <a:cubicBezTo>
                    <a:pt x="-7729" y="308127"/>
                    <a:pt x="-4617" y="389049"/>
                    <a:pt x="10945" y="398386"/>
                  </a:cubicBezTo>
                  <a:cubicBezTo>
                    <a:pt x="23395" y="407723"/>
                    <a:pt x="38957" y="389049"/>
                    <a:pt x="57631" y="398386"/>
                  </a:cubicBezTo>
                  <a:cubicBezTo>
                    <a:pt x="79418" y="407723"/>
                    <a:pt x="122992" y="420173"/>
                    <a:pt x="135441" y="420173"/>
                  </a:cubicBezTo>
                  <a:cubicBezTo>
                    <a:pt x="151003" y="420173"/>
                    <a:pt x="185240" y="404611"/>
                    <a:pt x="179015" y="392161"/>
                  </a:cubicBezTo>
                  <a:cubicBezTo>
                    <a:pt x="172790" y="379712"/>
                    <a:pt x="219476" y="65360"/>
                    <a:pt x="244374" y="37349"/>
                  </a:cubicBezTo>
                  <a:lnTo>
                    <a:pt x="210139" y="0"/>
                  </a:lnTo>
                  <a:close/>
                </a:path>
              </a:pathLst>
            </a:custGeom>
            <a:solidFill>
              <a:srgbClr val="F1DDBA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5D4E82C1-AC87-403C-A001-628DFA19243A}"/>
                </a:ext>
              </a:extLst>
            </p:cNvPr>
            <p:cNvSpPr/>
            <p:nvPr/>
          </p:nvSpPr>
          <p:spPr>
            <a:xfrm>
              <a:off x="25245778" y="2749979"/>
              <a:ext cx="107233" cy="80480"/>
            </a:xfrm>
            <a:custGeom>
              <a:avLst/>
              <a:gdLst>
                <a:gd name="connsiteX0" fmla="*/ 0 w 107233"/>
                <a:gd name="connsiteY0" fmla="*/ 16172 h 80480"/>
                <a:gd name="connsiteX1" fmla="*/ 18674 w 107233"/>
                <a:gd name="connsiteY1" fmla="*/ 610 h 80480"/>
                <a:gd name="connsiteX2" fmla="*/ 96483 w 107233"/>
                <a:gd name="connsiteY2" fmla="*/ 25510 h 80480"/>
                <a:gd name="connsiteX3" fmla="*/ 102709 w 107233"/>
                <a:gd name="connsiteY3" fmla="*/ 53521 h 80480"/>
                <a:gd name="connsiteX4" fmla="*/ 84035 w 107233"/>
                <a:gd name="connsiteY4" fmla="*/ 78420 h 80480"/>
                <a:gd name="connsiteX5" fmla="*/ 15562 w 107233"/>
                <a:gd name="connsiteY5" fmla="*/ 56634 h 80480"/>
                <a:gd name="connsiteX6" fmla="*/ 6225 w 107233"/>
                <a:gd name="connsiteY6" fmla="*/ 41072 h 80480"/>
                <a:gd name="connsiteX7" fmla="*/ 0 w 107233"/>
                <a:gd name="connsiteY7" fmla="*/ 16172 h 8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233" h="80480">
                  <a:moveTo>
                    <a:pt x="0" y="16172"/>
                  </a:moveTo>
                  <a:cubicBezTo>
                    <a:pt x="0" y="6835"/>
                    <a:pt x="9337" y="-2502"/>
                    <a:pt x="18674" y="610"/>
                  </a:cubicBezTo>
                  <a:cubicBezTo>
                    <a:pt x="43572" y="9948"/>
                    <a:pt x="71585" y="16172"/>
                    <a:pt x="96483" y="25510"/>
                  </a:cubicBezTo>
                  <a:cubicBezTo>
                    <a:pt x="108934" y="28622"/>
                    <a:pt x="108934" y="47296"/>
                    <a:pt x="102709" y="53521"/>
                  </a:cubicBezTo>
                  <a:cubicBezTo>
                    <a:pt x="115159" y="62858"/>
                    <a:pt x="99597" y="87757"/>
                    <a:pt x="84035" y="78420"/>
                  </a:cubicBezTo>
                  <a:cubicBezTo>
                    <a:pt x="62248" y="65971"/>
                    <a:pt x="40461" y="59746"/>
                    <a:pt x="15562" y="56634"/>
                  </a:cubicBezTo>
                  <a:cubicBezTo>
                    <a:pt x="6225" y="56634"/>
                    <a:pt x="3112" y="47296"/>
                    <a:pt x="6225" y="41072"/>
                  </a:cubicBezTo>
                  <a:cubicBezTo>
                    <a:pt x="0" y="31734"/>
                    <a:pt x="0" y="25510"/>
                    <a:pt x="0" y="16172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46E1D520-330B-470A-B1C1-5494B779FE14}"/>
                </a:ext>
              </a:extLst>
            </p:cNvPr>
            <p:cNvSpPr/>
            <p:nvPr/>
          </p:nvSpPr>
          <p:spPr>
            <a:xfrm>
              <a:off x="24764861" y="2766151"/>
              <a:ext cx="244374" cy="420172"/>
            </a:xfrm>
            <a:custGeom>
              <a:avLst/>
              <a:gdLst>
                <a:gd name="connsiteX0" fmla="*/ 210139 w 244374"/>
                <a:gd name="connsiteY0" fmla="*/ 0 h 420172"/>
                <a:gd name="connsiteX1" fmla="*/ 29620 w 244374"/>
                <a:gd name="connsiteY1" fmla="*/ 199193 h 420172"/>
                <a:gd name="connsiteX2" fmla="*/ 10945 w 244374"/>
                <a:gd name="connsiteY2" fmla="*/ 398386 h 420172"/>
                <a:gd name="connsiteX3" fmla="*/ 57631 w 244374"/>
                <a:gd name="connsiteY3" fmla="*/ 398386 h 420172"/>
                <a:gd name="connsiteX4" fmla="*/ 135441 w 244374"/>
                <a:gd name="connsiteY4" fmla="*/ 420173 h 420172"/>
                <a:gd name="connsiteX5" fmla="*/ 179015 w 244374"/>
                <a:gd name="connsiteY5" fmla="*/ 392161 h 420172"/>
                <a:gd name="connsiteX6" fmla="*/ 244374 w 244374"/>
                <a:gd name="connsiteY6" fmla="*/ 37349 h 420172"/>
                <a:gd name="connsiteX7" fmla="*/ 210139 w 244374"/>
                <a:gd name="connsiteY7" fmla="*/ 0 h 42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4374" h="420172">
                  <a:moveTo>
                    <a:pt x="210139" y="0"/>
                  </a:moveTo>
                  <a:cubicBezTo>
                    <a:pt x="210139" y="0"/>
                    <a:pt x="66970" y="93372"/>
                    <a:pt x="29620" y="199193"/>
                  </a:cubicBezTo>
                  <a:cubicBezTo>
                    <a:pt x="-7729" y="308127"/>
                    <a:pt x="-4617" y="389049"/>
                    <a:pt x="10945" y="398386"/>
                  </a:cubicBezTo>
                  <a:cubicBezTo>
                    <a:pt x="23395" y="407723"/>
                    <a:pt x="38957" y="389049"/>
                    <a:pt x="57631" y="398386"/>
                  </a:cubicBezTo>
                  <a:cubicBezTo>
                    <a:pt x="79418" y="407723"/>
                    <a:pt x="122992" y="420173"/>
                    <a:pt x="135441" y="420173"/>
                  </a:cubicBezTo>
                  <a:cubicBezTo>
                    <a:pt x="151003" y="420173"/>
                    <a:pt x="185240" y="404611"/>
                    <a:pt x="179015" y="392161"/>
                  </a:cubicBezTo>
                  <a:cubicBezTo>
                    <a:pt x="172790" y="379712"/>
                    <a:pt x="219476" y="65360"/>
                    <a:pt x="244374" y="37349"/>
                  </a:cubicBezTo>
                  <a:lnTo>
                    <a:pt x="210139" y="0"/>
                  </a:lnTo>
                  <a:close/>
                </a:path>
              </a:pathLst>
            </a:custGeom>
            <a:solidFill>
              <a:srgbClr val="F1DDBA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B162C7C5-6C38-4E4B-B060-2226A36614A3}"/>
                </a:ext>
              </a:extLst>
            </p:cNvPr>
            <p:cNvSpPr/>
            <p:nvPr/>
          </p:nvSpPr>
          <p:spPr>
            <a:xfrm>
              <a:off x="24918977" y="2749979"/>
              <a:ext cx="107233" cy="80480"/>
            </a:xfrm>
            <a:custGeom>
              <a:avLst/>
              <a:gdLst>
                <a:gd name="connsiteX0" fmla="*/ 0 w 107233"/>
                <a:gd name="connsiteY0" fmla="*/ 16172 h 80480"/>
                <a:gd name="connsiteX1" fmla="*/ 18674 w 107233"/>
                <a:gd name="connsiteY1" fmla="*/ 610 h 80480"/>
                <a:gd name="connsiteX2" fmla="*/ 96483 w 107233"/>
                <a:gd name="connsiteY2" fmla="*/ 25510 h 80480"/>
                <a:gd name="connsiteX3" fmla="*/ 102709 w 107233"/>
                <a:gd name="connsiteY3" fmla="*/ 53521 h 80480"/>
                <a:gd name="connsiteX4" fmla="*/ 84035 w 107233"/>
                <a:gd name="connsiteY4" fmla="*/ 78420 h 80480"/>
                <a:gd name="connsiteX5" fmla="*/ 15562 w 107233"/>
                <a:gd name="connsiteY5" fmla="*/ 56634 h 80480"/>
                <a:gd name="connsiteX6" fmla="*/ 6225 w 107233"/>
                <a:gd name="connsiteY6" fmla="*/ 41072 h 80480"/>
                <a:gd name="connsiteX7" fmla="*/ 0 w 107233"/>
                <a:gd name="connsiteY7" fmla="*/ 16172 h 8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233" h="80480">
                  <a:moveTo>
                    <a:pt x="0" y="16172"/>
                  </a:moveTo>
                  <a:cubicBezTo>
                    <a:pt x="0" y="6835"/>
                    <a:pt x="9337" y="-2502"/>
                    <a:pt x="18674" y="610"/>
                  </a:cubicBezTo>
                  <a:cubicBezTo>
                    <a:pt x="43572" y="9948"/>
                    <a:pt x="71585" y="16172"/>
                    <a:pt x="96483" y="25510"/>
                  </a:cubicBezTo>
                  <a:cubicBezTo>
                    <a:pt x="108934" y="28622"/>
                    <a:pt x="108934" y="47296"/>
                    <a:pt x="102709" y="53521"/>
                  </a:cubicBezTo>
                  <a:cubicBezTo>
                    <a:pt x="115159" y="62858"/>
                    <a:pt x="99597" y="87757"/>
                    <a:pt x="84035" y="78420"/>
                  </a:cubicBezTo>
                  <a:cubicBezTo>
                    <a:pt x="62248" y="65971"/>
                    <a:pt x="40461" y="59746"/>
                    <a:pt x="15562" y="56634"/>
                  </a:cubicBezTo>
                  <a:cubicBezTo>
                    <a:pt x="6225" y="56634"/>
                    <a:pt x="3112" y="47296"/>
                    <a:pt x="6225" y="41072"/>
                  </a:cubicBezTo>
                  <a:cubicBezTo>
                    <a:pt x="3112" y="31734"/>
                    <a:pt x="0" y="25510"/>
                    <a:pt x="0" y="16172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CB8F3008-8BF4-4063-AC02-83A34C57184F}"/>
                </a:ext>
              </a:extLst>
            </p:cNvPr>
            <p:cNvSpPr/>
            <p:nvPr/>
          </p:nvSpPr>
          <p:spPr>
            <a:xfrm>
              <a:off x="25255115" y="3050721"/>
              <a:ext cx="592397" cy="1007073"/>
            </a:xfrm>
            <a:custGeom>
              <a:avLst/>
              <a:gdLst>
                <a:gd name="connsiteX0" fmla="*/ 326801 w 592397"/>
                <a:gd name="connsiteY0" fmla="*/ 14220 h 1007073"/>
                <a:gd name="connsiteX1" fmla="*/ 168070 w 592397"/>
                <a:gd name="connsiteY1" fmla="*/ 219638 h 1007073"/>
                <a:gd name="connsiteX2" fmla="*/ 367262 w 592397"/>
                <a:gd name="connsiteY2" fmla="*/ 605575 h 1007073"/>
                <a:gd name="connsiteX3" fmla="*/ 0 w 592397"/>
                <a:gd name="connsiteY3" fmla="*/ 904364 h 1007073"/>
                <a:gd name="connsiteX4" fmla="*/ 127607 w 592397"/>
                <a:gd name="connsiteY4" fmla="*/ 1007073 h 1007073"/>
                <a:gd name="connsiteX5" fmla="*/ 591354 w 592397"/>
                <a:gd name="connsiteY5" fmla="*/ 624249 h 1007073"/>
                <a:gd name="connsiteX6" fmla="*/ 326801 w 592397"/>
                <a:gd name="connsiteY6" fmla="*/ 14220 h 1007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2397" h="1007073">
                  <a:moveTo>
                    <a:pt x="326801" y="14220"/>
                  </a:moveTo>
                  <a:cubicBezTo>
                    <a:pt x="149394" y="-48028"/>
                    <a:pt x="93372" y="107592"/>
                    <a:pt x="168070" y="219638"/>
                  </a:cubicBezTo>
                  <a:cubicBezTo>
                    <a:pt x="242766" y="328572"/>
                    <a:pt x="370375" y="574451"/>
                    <a:pt x="367262" y="605575"/>
                  </a:cubicBezTo>
                  <a:cubicBezTo>
                    <a:pt x="329913" y="655373"/>
                    <a:pt x="0" y="904364"/>
                    <a:pt x="0" y="904364"/>
                  </a:cubicBezTo>
                  <a:cubicBezTo>
                    <a:pt x="31124" y="919926"/>
                    <a:pt x="127607" y="1007073"/>
                    <a:pt x="127607" y="1007073"/>
                  </a:cubicBezTo>
                  <a:cubicBezTo>
                    <a:pt x="127607" y="1007073"/>
                    <a:pt x="563342" y="758082"/>
                    <a:pt x="591354" y="624249"/>
                  </a:cubicBezTo>
                  <a:cubicBezTo>
                    <a:pt x="603805" y="555776"/>
                    <a:pt x="504208" y="79580"/>
                    <a:pt x="326801" y="14220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48847704-30A2-4164-ADEC-1017ADAB643D}"/>
                </a:ext>
              </a:extLst>
            </p:cNvPr>
            <p:cNvSpPr/>
            <p:nvPr/>
          </p:nvSpPr>
          <p:spPr>
            <a:xfrm>
              <a:off x="25353667" y="2903923"/>
              <a:ext cx="433666" cy="453582"/>
            </a:xfrm>
            <a:custGeom>
              <a:avLst/>
              <a:gdLst>
                <a:gd name="connsiteX0" fmla="*/ 433666 w 433666"/>
                <a:gd name="connsiteY0" fmla="*/ 285514 h 453582"/>
                <a:gd name="connsiteX1" fmla="*/ 72630 w 433666"/>
                <a:gd name="connsiteY1" fmla="*/ 2286 h 453582"/>
                <a:gd name="connsiteX2" fmla="*/ 91303 w 433666"/>
                <a:gd name="connsiteY2" fmla="*/ 453583 h 453582"/>
                <a:gd name="connsiteX3" fmla="*/ 433666 w 433666"/>
                <a:gd name="connsiteY3" fmla="*/ 285514 h 453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666" h="453582">
                  <a:moveTo>
                    <a:pt x="433666" y="285514"/>
                  </a:moveTo>
                  <a:cubicBezTo>
                    <a:pt x="346520" y="117444"/>
                    <a:pt x="153551" y="-19501"/>
                    <a:pt x="72630" y="2286"/>
                  </a:cubicBezTo>
                  <a:cubicBezTo>
                    <a:pt x="-30079" y="30297"/>
                    <a:pt x="-23854" y="279289"/>
                    <a:pt x="91303" y="453583"/>
                  </a:cubicBezTo>
                  <a:cubicBezTo>
                    <a:pt x="169113" y="453583"/>
                    <a:pt x="358970" y="360211"/>
                    <a:pt x="433666" y="285514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30008F8E-D192-49DB-A639-4BC552196AA5}"/>
                </a:ext>
              </a:extLst>
            </p:cNvPr>
            <p:cNvSpPr/>
            <p:nvPr/>
          </p:nvSpPr>
          <p:spPr>
            <a:xfrm>
              <a:off x="25348133" y="2901713"/>
              <a:ext cx="249344" cy="458904"/>
            </a:xfrm>
            <a:custGeom>
              <a:avLst/>
              <a:gdLst>
                <a:gd name="connsiteX0" fmla="*/ 99950 w 249344"/>
                <a:gd name="connsiteY0" fmla="*/ 458905 h 458904"/>
                <a:gd name="connsiteX1" fmla="*/ 93725 w 249344"/>
                <a:gd name="connsiteY1" fmla="*/ 455793 h 458904"/>
                <a:gd name="connsiteX2" fmla="*/ 353 w 249344"/>
                <a:gd name="connsiteY2" fmla="*/ 160115 h 458904"/>
                <a:gd name="connsiteX3" fmla="*/ 353 w 249344"/>
                <a:gd name="connsiteY3" fmla="*/ 150778 h 458904"/>
                <a:gd name="connsiteX4" fmla="*/ 59490 w 249344"/>
                <a:gd name="connsiteY4" fmla="*/ 1383 h 458904"/>
                <a:gd name="connsiteX5" fmla="*/ 68826 w 249344"/>
                <a:gd name="connsiteY5" fmla="*/ 1383 h 458904"/>
                <a:gd name="connsiteX6" fmla="*/ 68826 w 249344"/>
                <a:gd name="connsiteY6" fmla="*/ 10720 h 458904"/>
                <a:gd name="connsiteX7" fmla="*/ 12804 w 249344"/>
                <a:gd name="connsiteY7" fmla="*/ 150778 h 458904"/>
                <a:gd name="connsiteX8" fmla="*/ 12804 w 249344"/>
                <a:gd name="connsiteY8" fmla="*/ 160115 h 458904"/>
                <a:gd name="connsiteX9" fmla="*/ 99950 w 249344"/>
                <a:gd name="connsiteY9" fmla="*/ 443343 h 458904"/>
                <a:gd name="connsiteX10" fmla="*/ 240008 w 249344"/>
                <a:gd name="connsiteY10" fmla="*/ 399769 h 458904"/>
                <a:gd name="connsiteX11" fmla="*/ 249345 w 249344"/>
                <a:gd name="connsiteY11" fmla="*/ 402882 h 458904"/>
                <a:gd name="connsiteX12" fmla="*/ 246233 w 249344"/>
                <a:gd name="connsiteY12" fmla="*/ 412219 h 458904"/>
                <a:gd name="connsiteX13" fmla="*/ 99950 w 249344"/>
                <a:gd name="connsiteY13" fmla="*/ 458905 h 458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9344" h="458904">
                  <a:moveTo>
                    <a:pt x="99950" y="458905"/>
                  </a:moveTo>
                  <a:cubicBezTo>
                    <a:pt x="96837" y="458905"/>
                    <a:pt x="93725" y="458905"/>
                    <a:pt x="93725" y="455793"/>
                  </a:cubicBezTo>
                  <a:cubicBezTo>
                    <a:pt x="71938" y="430893"/>
                    <a:pt x="-5872" y="272161"/>
                    <a:pt x="353" y="160115"/>
                  </a:cubicBezTo>
                  <a:cubicBezTo>
                    <a:pt x="353" y="157003"/>
                    <a:pt x="353" y="153890"/>
                    <a:pt x="353" y="150778"/>
                  </a:cubicBezTo>
                  <a:cubicBezTo>
                    <a:pt x="353" y="113429"/>
                    <a:pt x="3465" y="38732"/>
                    <a:pt x="59490" y="1383"/>
                  </a:cubicBezTo>
                  <a:cubicBezTo>
                    <a:pt x="62601" y="-1729"/>
                    <a:pt x="65713" y="1383"/>
                    <a:pt x="68826" y="1383"/>
                  </a:cubicBezTo>
                  <a:cubicBezTo>
                    <a:pt x="71938" y="4496"/>
                    <a:pt x="68826" y="7608"/>
                    <a:pt x="68826" y="10720"/>
                  </a:cubicBezTo>
                  <a:cubicBezTo>
                    <a:pt x="19027" y="44957"/>
                    <a:pt x="15915" y="116542"/>
                    <a:pt x="12804" y="150778"/>
                  </a:cubicBezTo>
                  <a:cubicBezTo>
                    <a:pt x="12804" y="153890"/>
                    <a:pt x="12804" y="157003"/>
                    <a:pt x="12804" y="160115"/>
                  </a:cubicBezTo>
                  <a:cubicBezTo>
                    <a:pt x="6578" y="262824"/>
                    <a:pt x="78163" y="415331"/>
                    <a:pt x="99950" y="443343"/>
                  </a:cubicBezTo>
                  <a:cubicBezTo>
                    <a:pt x="127961" y="443343"/>
                    <a:pt x="174647" y="434006"/>
                    <a:pt x="240008" y="399769"/>
                  </a:cubicBezTo>
                  <a:cubicBezTo>
                    <a:pt x="243120" y="399769"/>
                    <a:pt x="246233" y="399769"/>
                    <a:pt x="249345" y="402882"/>
                  </a:cubicBezTo>
                  <a:cubicBezTo>
                    <a:pt x="249345" y="405994"/>
                    <a:pt x="249345" y="409107"/>
                    <a:pt x="246233" y="412219"/>
                  </a:cubicBezTo>
                  <a:cubicBezTo>
                    <a:pt x="177760" y="452680"/>
                    <a:pt x="127961" y="458905"/>
                    <a:pt x="99950" y="458905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E2C4F8FA-13F9-4D00-B0EE-500174CF2C70}"/>
                </a:ext>
              </a:extLst>
            </p:cNvPr>
            <p:cNvSpPr/>
            <p:nvPr/>
          </p:nvSpPr>
          <p:spPr>
            <a:xfrm>
              <a:off x="25061403" y="3983096"/>
              <a:ext cx="178149" cy="103036"/>
            </a:xfrm>
            <a:custGeom>
              <a:avLst/>
              <a:gdLst>
                <a:gd name="connsiteX0" fmla="*/ 178149 w 178149"/>
                <a:gd name="connsiteY0" fmla="*/ 0 h 103036"/>
                <a:gd name="connsiteX1" fmla="*/ 53654 w 178149"/>
                <a:gd name="connsiteY1" fmla="*/ 31124 h 103036"/>
                <a:gd name="connsiteX2" fmla="*/ 743 w 178149"/>
                <a:gd name="connsiteY2" fmla="*/ 93372 h 103036"/>
                <a:gd name="connsiteX3" fmla="*/ 119013 w 178149"/>
                <a:gd name="connsiteY3" fmla="*/ 62248 h 103036"/>
                <a:gd name="connsiteX4" fmla="*/ 178149 w 178149"/>
                <a:gd name="connsiteY4" fmla="*/ 0 h 103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149" h="103036">
                  <a:moveTo>
                    <a:pt x="178149" y="0"/>
                  </a:moveTo>
                  <a:cubicBezTo>
                    <a:pt x="178149" y="0"/>
                    <a:pt x="78553" y="12450"/>
                    <a:pt x="53654" y="31124"/>
                  </a:cubicBezTo>
                  <a:cubicBezTo>
                    <a:pt x="28755" y="49798"/>
                    <a:pt x="-5482" y="77810"/>
                    <a:pt x="743" y="93372"/>
                  </a:cubicBezTo>
                  <a:cubicBezTo>
                    <a:pt x="19418" y="130720"/>
                    <a:pt x="84778" y="46686"/>
                    <a:pt x="119013" y="62248"/>
                  </a:cubicBezTo>
                  <a:cubicBezTo>
                    <a:pt x="131464" y="65360"/>
                    <a:pt x="178149" y="0"/>
                    <a:pt x="178149" y="0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4" name="图形 1">
              <a:extLst>
                <a:ext uri="{FF2B5EF4-FFF2-40B4-BE49-F238E27FC236}">
                  <a16:creationId xmlns:a16="http://schemas.microsoft.com/office/drawing/2014/main" id="{917B03F7-118E-45F1-9372-E0939F9C288D}"/>
                </a:ext>
              </a:extLst>
            </p:cNvPr>
            <p:cNvGrpSpPr/>
            <p:nvPr/>
          </p:nvGrpSpPr>
          <p:grpSpPr>
            <a:xfrm>
              <a:off x="23760669" y="3090908"/>
              <a:ext cx="162342" cy="135877"/>
              <a:chOff x="23760669" y="3090908"/>
              <a:chExt cx="162342" cy="135877"/>
            </a:xfrm>
          </p:grpSpPr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9DD41F11-E27F-4946-8986-52E1CE030C47}"/>
                  </a:ext>
                </a:extLst>
              </p:cNvPr>
              <p:cNvSpPr/>
              <p:nvPr/>
            </p:nvSpPr>
            <p:spPr>
              <a:xfrm>
                <a:off x="23760669" y="3098367"/>
                <a:ext cx="153071" cy="128417"/>
              </a:xfrm>
              <a:custGeom>
                <a:avLst/>
                <a:gdLst>
                  <a:gd name="connsiteX0" fmla="*/ 100095 w 153071"/>
                  <a:gd name="connsiteY0" fmla="*/ 13259 h 128417"/>
                  <a:gd name="connsiteX1" fmla="*/ 100095 w 153071"/>
                  <a:gd name="connsiteY1" fmla="*/ 13259 h 128417"/>
                  <a:gd name="connsiteX2" fmla="*/ 103206 w 153071"/>
                  <a:gd name="connsiteY2" fmla="*/ 13259 h 128417"/>
                  <a:gd name="connsiteX3" fmla="*/ 140555 w 153071"/>
                  <a:gd name="connsiteY3" fmla="*/ 810 h 128417"/>
                  <a:gd name="connsiteX4" fmla="*/ 146781 w 153071"/>
                  <a:gd name="connsiteY4" fmla="*/ 7034 h 128417"/>
                  <a:gd name="connsiteX5" fmla="*/ 146781 w 153071"/>
                  <a:gd name="connsiteY5" fmla="*/ 16372 h 128417"/>
                  <a:gd name="connsiteX6" fmla="*/ 146781 w 153071"/>
                  <a:gd name="connsiteY6" fmla="*/ 69282 h 128417"/>
                  <a:gd name="connsiteX7" fmla="*/ 115657 w 153071"/>
                  <a:gd name="connsiteY7" fmla="*/ 91069 h 128417"/>
                  <a:gd name="connsiteX8" fmla="*/ 103206 w 153071"/>
                  <a:gd name="connsiteY8" fmla="*/ 87957 h 128417"/>
                  <a:gd name="connsiteX9" fmla="*/ 75196 w 153071"/>
                  <a:gd name="connsiteY9" fmla="*/ 106631 h 128417"/>
                  <a:gd name="connsiteX10" fmla="*/ 65857 w 153071"/>
                  <a:gd name="connsiteY10" fmla="*/ 103519 h 128417"/>
                  <a:gd name="connsiteX11" fmla="*/ 40958 w 153071"/>
                  <a:gd name="connsiteY11" fmla="*/ 122193 h 128417"/>
                  <a:gd name="connsiteX12" fmla="*/ 31622 w 153071"/>
                  <a:gd name="connsiteY12" fmla="*/ 115968 h 128417"/>
                  <a:gd name="connsiteX13" fmla="*/ 12948 w 153071"/>
                  <a:gd name="connsiteY13" fmla="*/ 128418 h 128417"/>
                  <a:gd name="connsiteX14" fmla="*/ 3609 w 153071"/>
                  <a:gd name="connsiteY14" fmla="*/ 119080 h 128417"/>
                  <a:gd name="connsiteX15" fmla="*/ 498 w 153071"/>
                  <a:gd name="connsiteY15" fmla="*/ 97294 h 128417"/>
                  <a:gd name="connsiteX16" fmla="*/ 6723 w 153071"/>
                  <a:gd name="connsiteY16" fmla="*/ 78619 h 128417"/>
                  <a:gd name="connsiteX17" fmla="*/ 25396 w 153071"/>
                  <a:gd name="connsiteY17" fmla="*/ 69282 h 128417"/>
                  <a:gd name="connsiteX18" fmla="*/ 34733 w 153071"/>
                  <a:gd name="connsiteY18" fmla="*/ 50608 h 128417"/>
                  <a:gd name="connsiteX19" fmla="*/ 56520 w 153071"/>
                  <a:gd name="connsiteY19" fmla="*/ 38158 h 128417"/>
                  <a:gd name="connsiteX20" fmla="*/ 65857 w 153071"/>
                  <a:gd name="connsiteY20" fmla="*/ 25709 h 128417"/>
                  <a:gd name="connsiteX21" fmla="*/ 100095 w 153071"/>
                  <a:gd name="connsiteY21" fmla="*/ 13259 h 128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53071" h="128417">
                    <a:moveTo>
                      <a:pt x="100095" y="13259"/>
                    </a:moveTo>
                    <a:cubicBezTo>
                      <a:pt x="103206" y="13259"/>
                      <a:pt x="103206" y="13259"/>
                      <a:pt x="100095" y="13259"/>
                    </a:cubicBezTo>
                    <a:cubicBezTo>
                      <a:pt x="103206" y="13259"/>
                      <a:pt x="103206" y="13259"/>
                      <a:pt x="103206" y="13259"/>
                    </a:cubicBezTo>
                    <a:cubicBezTo>
                      <a:pt x="115657" y="3922"/>
                      <a:pt x="131219" y="-2303"/>
                      <a:pt x="140555" y="810"/>
                    </a:cubicBezTo>
                    <a:cubicBezTo>
                      <a:pt x="143667" y="810"/>
                      <a:pt x="143667" y="3922"/>
                      <a:pt x="146781" y="7034"/>
                    </a:cubicBezTo>
                    <a:cubicBezTo>
                      <a:pt x="146781" y="7034"/>
                      <a:pt x="146781" y="13259"/>
                      <a:pt x="146781" y="16372"/>
                    </a:cubicBezTo>
                    <a:cubicBezTo>
                      <a:pt x="149892" y="35046"/>
                      <a:pt x="159229" y="47495"/>
                      <a:pt x="146781" y="69282"/>
                    </a:cubicBezTo>
                    <a:cubicBezTo>
                      <a:pt x="140555" y="78619"/>
                      <a:pt x="128105" y="87957"/>
                      <a:pt x="115657" y="91069"/>
                    </a:cubicBezTo>
                    <a:cubicBezTo>
                      <a:pt x="109431" y="91069"/>
                      <a:pt x="106320" y="91069"/>
                      <a:pt x="103206" y="87957"/>
                    </a:cubicBezTo>
                    <a:cubicBezTo>
                      <a:pt x="96981" y="97294"/>
                      <a:pt x="84533" y="103519"/>
                      <a:pt x="75196" y="106631"/>
                    </a:cubicBezTo>
                    <a:cubicBezTo>
                      <a:pt x="68971" y="106631"/>
                      <a:pt x="68971" y="106631"/>
                      <a:pt x="65857" y="103519"/>
                    </a:cubicBezTo>
                    <a:cubicBezTo>
                      <a:pt x="59634" y="109743"/>
                      <a:pt x="50295" y="119080"/>
                      <a:pt x="40958" y="122193"/>
                    </a:cubicBezTo>
                    <a:cubicBezTo>
                      <a:pt x="34733" y="122193"/>
                      <a:pt x="31622" y="119080"/>
                      <a:pt x="31622" y="115968"/>
                    </a:cubicBezTo>
                    <a:cubicBezTo>
                      <a:pt x="28510" y="122193"/>
                      <a:pt x="19171" y="128418"/>
                      <a:pt x="12948" y="128418"/>
                    </a:cubicBezTo>
                    <a:cubicBezTo>
                      <a:pt x="3609" y="128418"/>
                      <a:pt x="3609" y="122193"/>
                      <a:pt x="3609" y="119080"/>
                    </a:cubicBezTo>
                    <a:cubicBezTo>
                      <a:pt x="3609" y="112856"/>
                      <a:pt x="498" y="106631"/>
                      <a:pt x="498" y="97294"/>
                    </a:cubicBezTo>
                    <a:cubicBezTo>
                      <a:pt x="498" y="91069"/>
                      <a:pt x="-2614" y="84844"/>
                      <a:pt x="6723" y="78619"/>
                    </a:cubicBezTo>
                    <a:cubicBezTo>
                      <a:pt x="12948" y="72395"/>
                      <a:pt x="22285" y="69282"/>
                      <a:pt x="25396" y="69282"/>
                    </a:cubicBezTo>
                    <a:cubicBezTo>
                      <a:pt x="25396" y="63057"/>
                      <a:pt x="28510" y="56833"/>
                      <a:pt x="34733" y="50608"/>
                    </a:cubicBezTo>
                    <a:cubicBezTo>
                      <a:pt x="40958" y="44383"/>
                      <a:pt x="50295" y="41271"/>
                      <a:pt x="56520" y="38158"/>
                    </a:cubicBezTo>
                    <a:cubicBezTo>
                      <a:pt x="56520" y="35046"/>
                      <a:pt x="59634" y="31934"/>
                      <a:pt x="65857" y="25709"/>
                    </a:cubicBezTo>
                    <a:cubicBezTo>
                      <a:pt x="78308" y="16372"/>
                      <a:pt x="93869" y="10147"/>
                      <a:pt x="100095" y="1325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DBB0A62C-CB34-4501-8F9D-BC4FE32805D0}"/>
                  </a:ext>
                </a:extLst>
              </p:cNvPr>
              <p:cNvSpPr/>
              <p:nvPr/>
            </p:nvSpPr>
            <p:spPr>
              <a:xfrm>
                <a:off x="23814078" y="3090908"/>
                <a:ext cx="108933" cy="110978"/>
              </a:xfrm>
              <a:custGeom>
                <a:avLst/>
                <a:gdLst>
                  <a:gd name="connsiteX0" fmla="*/ 24899 w 108933"/>
                  <a:gd name="connsiteY0" fmla="*/ 110978 h 110978"/>
                  <a:gd name="connsiteX1" fmla="*/ 15562 w 108933"/>
                  <a:gd name="connsiteY1" fmla="*/ 107866 h 110978"/>
                  <a:gd name="connsiteX2" fmla="*/ 0 w 108933"/>
                  <a:gd name="connsiteY2" fmla="*/ 70517 h 110978"/>
                  <a:gd name="connsiteX3" fmla="*/ 18674 w 108933"/>
                  <a:gd name="connsiteY3" fmla="*/ 23831 h 110978"/>
                  <a:gd name="connsiteX4" fmla="*/ 56023 w 108933"/>
                  <a:gd name="connsiteY4" fmla="*/ 14494 h 110978"/>
                  <a:gd name="connsiteX5" fmla="*/ 56023 w 108933"/>
                  <a:gd name="connsiteY5" fmla="*/ 14494 h 110978"/>
                  <a:gd name="connsiteX6" fmla="*/ 68473 w 108933"/>
                  <a:gd name="connsiteY6" fmla="*/ 5157 h 110978"/>
                  <a:gd name="connsiteX7" fmla="*/ 93372 w 108933"/>
                  <a:gd name="connsiteY7" fmla="*/ 2044 h 110978"/>
                  <a:gd name="connsiteX8" fmla="*/ 108934 w 108933"/>
                  <a:gd name="connsiteY8" fmla="*/ 51843 h 110978"/>
                  <a:gd name="connsiteX9" fmla="*/ 102709 w 108933"/>
                  <a:gd name="connsiteY9" fmla="*/ 58067 h 110978"/>
                  <a:gd name="connsiteX10" fmla="*/ 102709 w 108933"/>
                  <a:gd name="connsiteY10" fmla="*/ 58067 h 110978"/>
                  <a:gd name="connsiteX11" fmla="*/ 96483 w 108933"/>
                  <a:gd name="connsiteY11" fmla="*/ 51843 h 110978"/>
                  <a:gd name="connsiteX12" fmla="*/ 87147 w 108933"/>
                  <a:gd name="connsiteY12" fmla="*/ 14494 h 110978"/>
                  <a:gd name="connsiteX13" fmla="*/ 74696 w 108933"/>
                  <a:gd name="connsiteY13" fmla="*/ 17606 h 110978"/>
                  <a:gd name="connsiteX14" fmla="*/ 62248 w 108933"/>
                  <a:gd name="connsiteY14" fmla="*/ 86079 h 110978"/>
                  <a:gd name="connsiteX15" fmla="*/ 43572 w 108933"/>
                  <a:gd name="connsiteY15" fmla="*/ 107866 h 110978"/>
                  <a:gd name="connsiteX16" fmla="*/ 24899 w 108933"/>
                  <a:gd name="connsiteY16" fmla="*/ 110978 h 110978"/>
                  <a:gd name="connsiteX17" fmla="*/ 43572 w 108933"/>
                  <a:gd name="connsiteY17" fmla="*/ 26943 h 110978"/>
                  <a:gd name="connsiteX18" fmla="*/ 21787 w 108933"/>
                  <a:gd name="connsiteY18" fmla="*/ 33168 h 110978"/>
                  <a:gd name="connsiteX19" fmla="*/ 9337 w 108933"/>
                  <a:gd name="connsiteY19" fmla="*/ 70517 h 110978"/>
                  <a:gd name="connsiteX20" fmla="*/ 18674 w 108933"/>
                  <a:gd name="connsiteY20" fmla="*/ 98529 h 110978"/>
                  <a:gd name="connsiteX21" fmla="*/ 31124 w 108933"/>
                  <a:gd name="connsiteY21" fmla="*/ 98529 h 110978"/>
                  <a:gd name="connsiteX22" fmla="*/ 43572 w 108933"/>
                  <a:gd name="connsiteY22" fmla="*/ 89191 h 110978"/>
                  <a:gd name="connsiteX23" fmla="*/ 43572 w 108933"/>
                  <a:gd name="connsiteY23" fmla="*/ 26943 h 110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08933" h="110978">
                    <a:moveTo>
                      <a:pt x="24899" y="110978"/>
                    </a:moveTo>
                    <a:cubicBezTo>
                      <a:pt x="21787" y="110978"/>
                      <a:pt x="18674" y="110978"/>
                      <a:pt x="15562" y="107866"/>
                    </a:cubicBezTo>
                    <a:cubicBezTo>
                      <a:pt x="6225" y="101641"/>
                      <a:pt x="0" y="89191"/>
                      <a:pt x="0" y="70517"/>
                    </a:cubicBezTo>
                    <a:cubicBezTo>
                      <a:pt x="0" y="51843"/>
                      <a:pt x="0" y="36281"/>
                      <a:pt x="18674" y="23831"/>
                    </a:cubicBezTo>
                    <a:cubicBezTo>
                      <a:pt x="34236" y="14494"/>
                      <a:pt x="52911" y="14494"/>
                      <a:pt x="56023" y="14494"/>
                    </a:cubicBezTo>
                    <a:lnTo>
                      <a:pt x="56023" y="14494"/>
                    </a:lnTo>
                    <a:cubicBezTo>
                      <a:pt x="59134" y="11382"/>
                      <a:pt x="62248" y="8269"/>
                      <a:pt x="68473" y="5157"/>
                    </a:cubicBezTo>
                    <a:cubicBezTo>
                      <a:pt x="80921" y="-1068"/>
                      <a:pt x="87147" y="-1068"/>
                      <a:pt x="93372" y="2044"/>
                    </a:cubicBezTo>
                    <a:cubicBezTo>
                      <a:pt x="108934" y="11382"/>
                      <a:pt x="108934" y="45618"/>
                      <a:pt x="108934" y="51843"/>
                    </a:cubicBezTo>
                    <a:cubicBezTo>
                      <a:pt x="108934" y="54955"/>
                      <a:pt x="105820" y="58067"/>
                      <a:pt x="102709" y="58067"/>
                    </a:cubicBezTo>
                    <a:lnTo>
                      <a:pt x="102709" y="58067"/>
                    </a:lnTo>
                    <a:cubicBezTo>
                      <a:pt x="99597" y="58067"/>
                      <a:pt x="96483" y="54955"/>
                      <a:pt x="96483" y="51843"/>
                    </a:cubicBezTo>
                    <a:cubicBezTo>
                      <a:pt x="96483" y="39393"/>
                      <a:pt x="93372" y="17606"/>
                      <a:pt x="87147" y="14494"/>
                    </a:cubicBezTo>
                    <a:cubicBezTo>
                      <a:pt x="84035" y="14494"/>
                      <a:pt x="80921" y="14494"/>
                      <a:pt x="74696" y="17606"/>
                    </a:cubicBezTo>
                    <a:cubicBezTo>
                      <a:pt x="62248" y="26943"/>
                      <a:pt x="43572" y="36281"/>
                      <a:pt x="62248" y="86079"/>
                    </a:cubicBezTo>
                    <a:cubicBezTo>
                      <a:pt x="62248" y="89191"/>
                      <a:pt x="65359" y="98529"/>
                      <a:pt x="43572" y="107866"/>
                    </a:cubicBezTo>
                    <a:cubicBezTo>
                      <a:pt x="34236" y="110978"/>
                      <a:pt x="28010" y="110978"/>
                      <a:pt x="24899" y="110978"/>
                    </a:cubicBezTo>
                    <a:close/>
                    <a:moveTo>
                      <a:pt x="43572" y="26943"/>
                    </a:moveTo>
                    <a:cubicBezTo>
                      <a:pt x="37349" y="26943"/>
                      <a:pt x="31124" y="30056"/>
                      <a:pt x="21787" y="33168"/>
                    </a:cubicBezTo>
                    <a:cubicBezTo>
                      <a:pt x="9337" y="42505"/>
                      <a:pt x="9337" y="48730"/>
                      <a:pt x="9337" y="70517"/>
                    </a:cubicBezTo>
                    <a:cubicBezTo>
                      <a:pt x="9337" y="92304"/>
                      <a:pt x="15562" y="98529"/>
                      <a:pt x="18674" y="98529"/>
                    </a:cubicBezTo>
                    <a:cubicBezTo>
                      <a:pt x="18674" y="98529"/>
                      <a:pt x="24899" y="101641"/>
                      <a:pt x="31124" y="98529"/>
                    </a:cubicBezTo>
                    <a:cubicBezTo>
                      <a:pt x="40461" y="95416"/>
                      <a:pt x="43572" y="89191"/>
                      <a:pt x="43572" y="89191"/>
                    </a:cubicBezTo>
                    <a:cubicBezTo>
                      <a:pt x="34236" y="58067"/>
                      <a:pt x="37349" y="39393"/>
                      <a:pt x="43572" y="2694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01D4C29A-2273-4999-8A9F-F528F7FA2CA6}"/>
                  </a:ext>
                </a:extLst>
              </p:cNvPr>
              <p:cNvSpPr/>
              <p:nvPr/>
            </p:nvSpPr>
            <p:spPr>
              <a:xfrm>
                <a:off x="23779031" y="3124076"/>
                <a:ext cx="56833" cy="96484"/>
              </a:xfrm>
              <a:custGeom>
                <a:avLst/>
                <a:gdLst>
                  <a:gd name="connsiteX0" fmla="*/ 19485 w 56833"/>
                  <a:gd name="connsiteY0" fmla="*/ 96484 h 96484"/>
                  <a:gd name="connsiteX1" fmla="*/ 13260 w 56833"/>
                  <a:gd name="connsiteY1" fmla="*/ 93372 h 96484"/>
                  <a:gd name="connsiteX2" fmla="*/ 809 w 56833"/>
                  <a:gd name="connsiteY2" fmla="*/ 37349 h 96484"/>
                  <a:gd name="connsiteX3" fmla="*/ 41272 w 56833"/>
                  <a:gd name="connsiteY3" fmla="*/ 0 h 96484"/>
                  <a:gd name="connsiteX4" fmla="*/ 47495 w 56833"/>
                  <a:gd name="connsiteY4" fmla="*/ 3112 h 96484"/>
                  <a:gd name="connsiteX5" fmla="*/ 44384 w 56833"/>
                  <a:gd name="connsiteY5" fmla="*/ 9337 h 96484"/>
                  <a:gd name="connsiteX6" fmla="*/ 13260 w 56833"/>
                  <a:gd name="connsiteY6" fmla="*/ 37349 h 96484"/>
                  <a:gd name="connsiteX7" fmla="*/ 19485 w 56833"/>
                  <a:gd name="connsiteY7" fmla="*/ 80922 h 96484"/>
                  <a:gd name="connsiteX8" fmla="*/ 44384 w 56833"/>
                  <a:gd name="connsiteY8" fmla="*/ 65360 h 96484"/>
                  <a:gd name="connsiteX9" fmla="*/ 53720 w 56833"/>
                  <a:gd name="connsiteY9" fmla="*/ 62248 h 96484"/>
                  <a:gd name="connsiteX10" fmla="*/ 56834 w 56833"/>
                  <a:gd name="connsiteY10" fmla="*/ 71585 h 96484"/>
                  <a:gd name="connsiteX11" fmla="*/ 19485 w 56833"/>
                  <a:gd name="connsiteY11" fmla="*/ 96484 h 96484"/>
                  <a:gd name="connsiteX12" fmla="*/ 19485 w 56833"/>
                  <a:gd name="connsiteY12" fmla="*/ 96484 h 96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6833" h="96484">
                    <a:moveTo>
                      <a:pt x="19485" y="96484"/>
                    </a:moveTo>
                    <a:cubicBezTo>
                      <a:pt x="16371" y="96484"/>
                      <a:pt x="16371" y="96484"/>
                      <a:pt x="13260" y="93372"/>
                    </a:cubicBezTo>
                    <a:cubicBezTo>
                      <a:pt x="3923" y="87147"/>
                      <a:pt x="-2302" y="62248"/>
                      <a:pt x="809" y="37349"/>
                    </a:cubicBezTo>
                    <a:cubicBezTo>
                      <a:pt x="7034" y="9337"/>
                      <a:pt x="38158" y="0"/>
                      <a:pt x="41272" y="0"/>
                    </a:cubicBezTo>
                    <a:cubicBezTo>
                      <a:pt x="44384" y="0"/>
                      <a:pt x="47495" y="0"/>
                      <a:pt x="47495" y="3112"/>
                    </a:cubicBezTo>
                    <a:cubicBezTo>
                      <a:pt x="47495" y="6225"/>
                      <a:pt x="47495" y="9337"/>
                      <a:pt x="44384" y="9337"/>
                    </a:cubicBezTo>
                    <a:cubicBezTo>
                      <a:pt x="44384" y="9337"/>
                      <a:pt x="16371" y="15562"/>
                      <a:pt x="13260" y="37349"/>
                    </a:cubicBezTo>
                    <a:cubicBezTo>
                      <a:pt x="10148" y="59135"/>
                      <a:pt x="16371" y="77810"/>
                      <a:pt x="19485" y="80922"/>
                    </a:cubicBezTo>
                    <a:cubicBezTo>
                      <a:pt x="22596" y="80922"/>
                      <a:pt x="38158" y="68473"/>
                      <a:pt x="44384" y="65360"/>
                    </a:cubicBezTo>
                    <a:cubicBezTo>
                      <a:pt x="47495" y="62248"/>
                      <a:pt x="50609" y="62248"/>
                      <a:pt x="53720" y="62248"/>
                    </a:cubicBezTo>
                    <a:cubicBezTo>
                      <a:pt x="56834" y="65360"/>
                      <a:pt x="56834" y="68473"/>
                      <a:pt x="56834" y="71585"/>
                    </a:cubicBezTo>
                    <a:cubicBezTo>
                      <a:pt x="47495" y="80922"/>
                      <a:pt x="31933" y="93372"/>
                      <a:pt x="19485" y="96484"/>
                    </a:cubicBezTo>
                    <a:cubicBezTo>
                      <a:pt x="19485" y="96484"/>
                      <a:pt x="19485" y="96484"/>
                      <a:pt x="19485" y="9648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5" name="图形 1">
              <a:extLst>
                <a:ext uri="{FF2B5EF4-FFF2-40B4-BE49-F238E27FC236}">
                  <a16:creationId xmlns:a16="http://schemas.microsoft.com/office/drawing/2014/main" id="{9F862C09-8BE7-4E33-89E9-D03FB8A330A9}"/>
                </a:ext>
              </a:extLst>
            </p:cNvPr>
            <p:cNvGrpSpPr/>
            <p:nvPr/>
          </p:nvGrpSpPr>
          <p:grpSpPr>
            <a:xfrm>
              <a:off x="24747616" y="2068975"/>
              <a:ext cx="717601" cy="370374"/>
              <a:chOff x="24747616" y="2068975"/>
              <a:chExt cx="717601" cy="370374"/>
            </a:xfrm>
          </p:grpSpPr>
          <p:grpSp>
            <p:nvGrpSpPr>
              <p:cNvPr id="141" name="图形 1">
                <a:extLst>
                  <a:ext uri="{FF2B5EF4-FFF2-40B4-BE49-F238E27FC236}">
                    <a16:creationId xmlns:a16="http://schemas.microsoft.com/office/drawing/2014/main" id="{4C58BFF4-4C8F-4A71-B0DF-121EA7296063}"/>
                  </a:ext>
                </a:extLst>
              </p:cNvPr>
              <p:cNvGrpSpPr/>
              <p:nvPr/>
            </p:nvGrpSpPr>
            <p:grpSpPr>
              <a:xfrm>
                <a:off x="24750316" y="2068975"/>
                <a:ext cx="714900" cy="370374"/>
                <a:chOff x="24750316" y="2068975"/>
                <a:chExt cx="714900" cy="370374"/>
              </a:xfrm>
            </p:grpSpPr>
            <p:sp>
              <p:nvSpPr>
                <p:cNvPr id="143" name="任意多边形: 形状 142">
                  <a:extLst>
                    <a:ext uri="{FF2B5EF4-FFF2-40B4-BE49-F238E27FC236}">
                      <a16:creationId xmlns:a16="http://schemas.microsoft.com/office/drawing/2014/main" id="{C0D5DB5F-9E6F-4ABF-B44D-B2CE03340384}"/>
                    </a:ext>
                  </a:extLst>
                </p:cNvPr>
                <p:cNvSpPr/>
                <p:nvPr/>
              </p:nvSpPr>
              <p:spPr>
                <a:xfrm>
                  <a:off x="24869177" y="2083159"/>
                  <a:ext cx="596039" cy="356191"/>
                </a:xfrm>
                <a:custGeom>
                  <a:avLst/>
                  <a:gdLst>
                    <a:gd name="connsiteX0" fmla="*/ 420173 w 596039"/>
                    <a:gd name="connsiteY0" fmla="*/ 225471 h 356191"/>
                    <a:gd name="connsiteX1" fmla="*/ 594468 w 596039"/>
                    <a:gd name="connsiteY1" fmla="*/ 356191 h 356191"/>
                    <a:gd name="connsiteX2" fmla="*/ 410836 w 596039"/>
                    <a:gd name="connsiteY2" fmla="*/ 23165 h 356191"/>
                    <a:gd name="connsiteX3" fmla="*/ 0 w 596039"/>
                    <a:gd name="connsiteY3" fmla="*/ 138324 h 356191"/>
                    <a:gd name="connsiteX4" fmla="*/ 420173 w 596039"/>
                    <a:gd name="connsiteY4" fmla="*/ 225471 h 3561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6039" h="356191">
                      <a:moveTo>
                        <a:pt x="420173" y="225471"/>
                      </a:moveTo>
                      <a:cubicBezTo>
                        <a:pt x="457522" y="256595"/>
                        <a:pt x="554007" y="297056"/>
                        <a:pt x="594468" y="356191"/>
                      </a:cubicBezTo>
                      <a:cubicBezTo>
                        <a:pt x="594468" y="356191"/>
                        <a:pt x="625592" y="100975"/>
                        <a:pt x="410836" y="23165"/>
                      </a:cubicBezTo>
                      <a:cubicBezTo>
                        <a:pt x="236543" y="-39083"/>
                        <a:pt x="68473" y="32502"/>
                        <a:pt x="0" y="138324"/>
                      </a:cubicBezTo>
                      <a:cubicBezTo>
                        <a:pt x="0" y="141436"/>
                        <a:pt x="245880" y="79188"/>
                        <a:pt x="420173" y="225471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4" name="任意多边形: 形状 143">
                  <a:extLst>
                    <a:ext uri="{FF2B5EF4-FFF2-40B4-BE49-F238E27FC236}">
                      <a16:creationId xmlns:a16="http://schemas.microsoft.com/office/drawing/2014/main" id="{0CEF4765-1BCD-4A97-9D9C-16E722BF6755}"/>
                    </a:ext>
                  </a:extLst>
                </p:cNvPr>
                <p:cNvSpPr/>
                <p:nvPr/>
              </p:nvSpPr>
              <p:spPr>
                <a:xfrm>
                  <a:off x="24750316" y="2124611"/>
                  <a:ext cx="551484" cy="230704"/>
                </a:xfrm>
                <a:custGeom>
                  <a:avLst/>
                  <a:gdLst>
                    <a:gd name="connsiteX0" fmla="*/ 551484 w 551484"/>
                    <a:gd name="connsiteY0" fmla="*/ 199580 h 230704"/>
                    <a:gd name="connsiteX1" fmla="*/ 318055 w 551484"/>
                    <a:gd name="connsiteY1" fmla="*/ 50186 h 230704"/>
                    <a:gd name="connsiteX2" fmla="*/ 3704 w 551484"/>
                    <a:gd name="connsiteY2" fmla="*/ 62635 h 230704"/>
                    <a:gd name="connsiteX3" fmla="*/ 115750 w 551484"/>
                    <a:gd name="connsiteY3" fmla="*/ 230704 h 230704"/>
                    <a:gd name="connsiteX4" fmla="*/ 551484 w 551484"/>
                    <a:gd name="connsiteY4" fmla="*/ 199580 h 230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1484" h="230704">
                      <a:moveTo>
                        <a:pt x="551484" y="199580"/>
                      </a:moveTo>
                      <a:cubicBezTo>
                        <a:pt x="551484" y="199580"/>
                        <a:pt x="470563" y="118658"/>
                        <a:pt x="318055" y="50186"/>
                      </a:cubicBezTo>
                      <a:cubicBezTo>
                        <a:pt x="159324" y="-24512"/>
                        <a:pt x="31715" y="-12062"/>
                        <a:pt x="3704" y="62635"/>
                      </a:cubicBezTo>
                      <a:cubicBezTo>
                        <a:pt x="-24308" y="140445"/>
                        <a:pt x="115750" y="230704"/>
                        <a:pt x="115750" y="230704"/>
                      </a:cubicBezTo>
                      <a:cubicBezTo>
                        <a:pt x="115750" y="230704"/>
                        <a:pt x="271369" y="81309"/>
                        <a:pt x="551484" y="199580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5" name="任意多边形: 形状 144">
                  <a:extLst>
                    <a:ext uri="{FF2B5EF4-FFF2-40B4-BE49-F238E27FC236}">
                      <a16:creationId xmlns:a16="http://schemas.microsoft.com/office/drawing/2014/main" id="{1B55E754-27E0-4367-A5C8-F792B5D8B57E}"/>
                    </a:ext>
                  </a:extLst>
                </p:cNvPr>
                <p:cNvSpPr/>
                <p:nvPr/>
              </p:nvSpPr>
              <p:spPr>
                <a:xfrm>
                  <a:off x="25258226" y="2068975"/>
                  <a:ext cx="62247" cy="56423"/>
                </a:xfrm>
                <a:custGeom>
                  <a:avLst/>
                  <a:gdLst>
                    <a:gd name="connsiteX0" fmla="*/ 62248 w 62247"/>
                    <a:gd name="connsiteY0" fmla="*/ 28012 h 56423"/>
                    <a:gd name="connsiteX1" fmla="*/ 31124 w 62247"/>
                    <a:gd name="connsiteY1" fmla="*/ 0 h 56423"/>
                    <a:gd name="connsiteX2" fmla="*/ 0 w 62247"/>
                    <a:gd name="connsiteY2" fmla="*/ 28012 h 56423"/>
                    <a:gd name="connsiteX3" fmla="*/ 31124 w 62247"/>
                    <a:gd name="connsiteY3" fmla="*/ 56023 h 56423"/>
                    <a:gd name="connsiteX4" fmla="*/ 62248 w 62247"/>
                    <a:gd name="connsiteY4" fmla="*/ 28012 h 564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247" h="56423">
                      <a:moveTo>
                        <a:pt x="62248" y="28012"/>
                      </a:moveTo>
                      <a:cubicBezTo>
                        <a:pt x="62248" y="12450"/>
                        <a:pt x="49799" y="0"/>
                        <a:pt x="31124" y="0"/>
                      </a:cubicBezTo>
                      <a:cubicBezTo>
                        <a:pt x="15562" y="0"/>
                        <a:pt x="0" y="12450"/>
                        <a:pt x="0" y="28012"/>
                      </a:cubicBezTo>
                      <a:cubicBezTo>
                        <a:pt x="0" y="43574"/>
                        <a:pt x="12450" y="56023"/>
                        <a:pt x="31124" y="56023"/>
                      </a:cubicBezTo>
                      <a:cubicBezTo>
                        <a:pt x="49799" y="59135"/>
                        <a:pt x="62248" y="43574"/>
                        <a:pt x="62248" y="28012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0DCC0060-AB1E-4444-A0FF-AE6F61BAAC8E}"/>
                  </a:ext>
                </a:extLst>
              </p:cNvPr>
              <p:cNvSpPr/>
              <p:nvPr/>
            </p:nvSpPr>
            <p:spPr>
              <a:xfrm>
                <a:off x="24747616" y="2114913"/>
                <a:ext cx="562743" cy="246626"/>
              </a:xfrm>
              <a:custGeom>
                <a:avLst/>
                <a:gdLst>
                  <a:gd name="connsiteX0" fmla="*/ 121561 w 562743"/>
                  <a:gd name="connsiteY0" fmla="*/ 246627 h 246626"/>
                  <a:gd name="connsiteX1" fmla="*/ 118450 w 562743"/>
                  <a:gd name="connsiteY1" fmla="*/ 246627 h 246626"/>
                  <a:gd name="connsiteX2" fmla="*/ 179 w 562743"/>
                  <a:gd name="connsiteY2" fmla="*/ 87895 h 246626"/>
                  <a:gd name="connsiteX3" fmla="*/ 74876 w 562743"/>
                  <a:gd name="connsiteY3" fmla="*/ 10085 h 246626"/>
                  <a:gd name="connsiteX4" fmla="*/ 560410 w 562743"/>
                  <a:gd name="connsiteY4" fmla="*/ 203053 h 246626"/>
                  <a:gd name="connsiteX5" fmla="*/ 560410 w 562743"/>
                  <a:gd name="connsiteY5" fmla="*/ 212391 h 246626"/>
                  <a:gd name="connsiteX6" fmla="*/ 551073 w 562743"/>
                  <a:gd name="connsiteY6" fmla="*/ 212391 h 246626"/>
                  <a:gd name="connsiteX7" fmla="*/ 74876 w 562743"/>
                  <a:gd name="connsiteY7" fmla="*/ 19422 h 246626"/>
                  <a:gd name="connsiteX8" fmla="*/ 9516 w 562743"/>
                  <a:gd name="connsiteY8" fmla="*/ 87895 h 246626"/>
                  <a:gd name="connsiteX9" fmla="*/ 121561 w 562743"/>
                  <a:gd name="connsiteY9" fmla="*/ 234177 h 246626"/>
                  <a:gd name="connsiteX10" fmla="*/ 121561 w 562743"/>
                  <a:gd name="connsiteY10" fmla="*/ 243515 h 246626"/>
                  <a:gd name="connsiteX11" fmla="*/ 121561 w 562743"/>
                  <a:gd name="connsiteY11" fmla="*/ 246627 h 246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62743" h="246626">
                    <a:moveTo>
                      <a:pt x="121561" y="246627"/>
                    </a:moveTo>
                    <a:cubicBezTo>
                      <a:pt x="121561" y="246627"/>
                      <a:pt x="118450" y="246627"/>
                      <a:pt x="118450" y="246627"/>
                    </a:cubicBezTo>
                    <a:cubicBezTo>
                      <a:pt x="34415" y="187491"/>
                      <a:pt x="-2934" y="134581"/>
                      <a:pt x="179" y="87895"/>
                    </a:cubicBezTo>
                    <a:cubicBezTo>
                      <a:pt x="3291" y="56771"/>
                      <a:pt x="31303" y="28759"/>
                      <a:pt x="74876" y="10085"/>
                    </a:cubicBezTo>
                    <a:cubicBezTo>
                      <a:pt x="221158" y="-52163"/>
                      <a:pt x="547960" y="193716"/>
                      <a:pt x="560410" y="203053"/>
                    </a:cubicBezTo>
                    <a:cubicBezTo>
                      <a:pt x="563522" y="206166"/>
                      <a:pt x="563522" y="209278"/>
                      <a:pt x="560410" y="212391"/>
                    </a:cubicBezTo>
                    <a:cubicBezTo>
                      <a:pt x="557296" y="215503"/>
                      <a:pt x="554185" y="215503"/>
                      <a:pt x="551073" y="212391"/>
                    </a:cubicBezTo>
                    <a:cubicBezTo>
                      <a:pt x="547960" y="209278"/>
                      <a:pt x="218047" y="-39713"/>
                      <a:pt x="74876" y="19422"/>
                    </a:cubicBezTo>
                    <a:cubicBezTo>
                      <a:pt x="53090" y="28759"/>
                      <a:pt x="12628" y="50546"/>
                      <a:pt x="9516" y="87895"/>
                    </a:cubicBezTo>
                    <a:cubicBezTo>
                      <a:pt x="6404" y="128356"/>
                      <a:pt x="43752" y="178154"/>
                      <a:pt x="121561" y="234177"/>
                    </a:cubicBezTo>
                    <a:cubicBezTo>
                      <a:pt x="124675" y="237290"/>
                      <a:pt x="124675" y="240402"/>
                      <a:pt x="121561" y="243515"/>
                    </a:cubicBezTo>
                    <a:cubicBezTo>
                      <a:pt x="124675" y="246627"/>
                      <a:pt x="121561" y="246627"/>
                      <a:pt x="121561" y="24662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6" name="图形 1">
              <a:extLst>
                <a:ext uri="{FF2B5EF4-FFF2-40B4-BE49-F238E27FC236}">
                  <a16:creationId xmlns:a16="http://schemas.microsoft.com/office/drawing/2014/main" id="{7681809C-4EF3-4301-9406-0D869F503158}"/>
                </a:ext>
              </a:extLst>
            </p:cNvPr>
            <p:cNvGrpSpPr/>
            <p:nvPr/>
          </p:nvGrpSpPr>
          <p:grpSpPr>
            <a:xfrm>
              <a:off x="24825605" y="4076468"/>
              <a:ext cx="802996" cy="1064437"/>
              <a:chOff x="24825605" y="4076468"/>
              <a:chExt cx="802996" cy="1064437"/>
            </a:xfrm>
          </p:grpSpPr>
          <p:grpSp>
            <p:nvGrpSpPr>
              <p:cNvPr id="134" name="图形 1">
                <a:extLst>
                  <a:ext uri="{FF2B5EF4-FFF2-40B4-BE49-F238E27FC236}">
                    <a16:creationId xmlns:a16="http://schemas.microsoft.com/office/drawing/2014/main" id="{72374E6F-C972-4DCC-86E0-0906BE494518}"/>
                  </a:ext>
                </a:extLst>
              </p:cNvPr>
              <p:cNvGrpSpPr/>
              <p:nvPr/>
            </p:nvGrpSpPr>
            <p:grpSpPr>
              <a:xfrm>
                <a:off x="24825605" y="4356583"/>
                <a:ext cx="802996" cy="784322"/>
                <a:chOff x="24825605" y="4356583"/>
                <a:chExt cx="802996" cy="784322"/>
              </a:xfrm>
            </p:grpSpPr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DA6B9034-C6CD-4FCE-86A6-AE62BEA9F3A8}"/>
                    </a:ext>
                  </a:extLst>
                </p:cNvPr>
                <p:cNvSpPr/>
                <p:nvPr/>
              </p:nvSpPr>
              <p:spPr>
                <a:xfrm>
                  <a:off x="24825605" y="4390820"/>
                  <a:ext cx="796771" cy="750086"/>
                </a:xfrm>
                <a:custGeom>
                  <a:avLst/>
                  <a:gdLst>
                    <a:gd name="connsiteX0" fmla="*/ 0 w 796771"/>
                    <a:gd name="connsiteY0" fmla="*/ 0 h 750086"/>
                    <a:gd name="connsiteX1" fmla="*/ 12448 w 796771"/>
                    <a:gd name="connsiteY1" fmla="*/ 295677 h 750086"/>
                    <a:gd name="connsiteX2" fmla="*/ 12448 w 796771"/>
                    <a:gd name="connsiteY2" fmla="*/ 323689 h 750086"/>
                    <a:gd name="connsiteX3" fmla="*/ 31124 w 796771"/>
                    <a:gd name="connsiteY3" fmla="*/ 712738 h 750086"/>
                    <a:gd name="connsiteX4" fmla="*/ 398386 w 796771"/>
                    <a:gd name="connsiteY4" fmla="*/ 750086 h 750086"/>
                    <a:gd name="connsiteX5" fmla="*/ 765648 w 796771"/>
                    <a:gd name="connsiteY5" fmla="*/ 712738 h 750086"/>
                    <a:gd name="connsiteX6" fmla="*/ 784323 w 796771"/>
                    <a:gd name="connsiteY6" fmla="*/ 323689 h 750086"/>
                    <a:gd name="connsiteX7" fmla="*/ 784323 w 796771"/>
                    <a:gd name="connsiteY7" fmla="*/ 295677 h 750086"/>
                    <a:gd name="connsiteX8" fmla="*/ 796772 w 796771"/>
                    <a:gd name="connsiteY8" fmla="*/ 0 h 750086"/>
                    <a:gd name="connsiteX9" fmla="*/ 0 w 796771"/>
                    <a:gd name="connsiteY9" fmla="*/ 0 h 7500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6771" h="750086">
                      <a:moveTo>
                        <a:pt x="0" y="0"/>
                      </a:moveTo>
                      <a:cubicBezTo>
                        <a:pt x="0" y="0"/>
                        <a:pt x="6225" y="140058"/>
                        <a:pt x="12448" y="295677"/>
                      </a:cubicBezTo>
                      <a:cubicBezTo>
                        <a:pt x="12448" y="305015"/>
                        <a:pt x="12448" y="314352"/>
                        <a:pt x="12448" y="323689"/>
                      </a:cubicBezTo>
                      <a:cubicBezTo>
                        <a:pt x="21787" y="510432"/>
                        <a:pt x="31124" y="712738"/>
                        <a:pt x="31124" y="712738"/>
                      </a:cubicBezTo>
                      <a:cubicBezTo>
                        <a:pt x="31124" y="731412"/>
                        <a:pt x="177407" y="750086"/>
                        <a:pt x="398386" y="750086"/>
                      </a:cubicBezTo>
                      <a:cubicBezTo>
                        <a:pt x="619365" y="750086"/>
                        <a:pt x="765648" y="734524"/>
                        <a:pt x="765648" y="712738"/>
                      </a:cubicBezTo>
                      <a:cubicBezTo>
                        <a:pt x="765648" y="712738"/>
                        <a:pt x="774984" y="513545"/>
                        <a:pt x="784323" y="323689"/>
                      </a:cubicBezTo>
                      <a:cubicBezTo>
                        <a:pt x="784323" y="314352"/>
                        <a:pt x="784323" y="305015"/>
                        <a:pt x="784323" y="295677"/>
                      </a:cubicBezTo>
                      <a:cubicBezTo>
                        <a:pt x="790546" y="140058"/>
                        <a:pt x="796772" y="0"/>
                        <a:pt x="79677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37" name="图形 1">
                  <a:extLst>
                    <a:ext uri="{FF2B5EF4-FFF2-40B4-BE49-F238E27FC236}">
                      <a16:creationId xmlns:a16="http://schemas.microsoft.com/office/drawing/2014/main" id="{FF63C212-8608-4B28-8E4F-2757A4B58C30}"/>
                    </a:ext>
                  </a:extLst>
                </p:cNvPr>
                <p:cNvGrpSpPr/>
                <p:nvPr/>
              </p:nvGrpSpPr>
              <p:grpSpPr>
                <a:xfrm>
                  <a:off x="24828717" y="4356583"/>
                  <a:ext cx="799885" cy="71584"/>
                  <a:chOff x="24828717" y="4356583"/>
                  <a:chExt cx="799885" cy="71584"/>
                </a:xfrm>
              </p:grpSpPr>
              <p:sp>
                <p:nvSpPr>
                  <p:cNvPr id="139" name="任意多边形: 形状 138">
                    <a:extLst>
                      <a:ext uri="{FF2B5EF4-FFF2-40B4-BE49-F238E27FC236}">
                        <a16:creationId xmlns:a16="http://schemas.microsoft.com/office/drawing/2014/main" id="{342920CE-4550-47B8-96E4-E9C6097C344D}"/>
                      </a:ext>
                    </a:extLst>
                  </p:cNvPr>
                  <p:cNvSpPr/>
                  <p:nvPr/>
                </p:nvSpPr>
                <p:spPr>
                  <a:xfrm>
                    <a:off x="24828717" y="4356583"/>
                    <a:ext cx="799885" cy="71584"/>
                  </a:xfrm>
                  <a:custGeom>
                    <a:avLst/>
                    <a:gdLst>
                      <a:gd name="connsiteX0" fmla="*/ 684726 w 799885"/>
                      <a:gd name="connsiteY0" fmla="*/ 9337 h 71584"/>
                      <a:gd name="connsiteX1" fmla="*/ 401499 w 799885"/>
                      <a:gd name="connsiteY1" fmla="*/ 0 h 71584"/>
                      <a:gd name="connsiteX2" fmla="*/ 118271 w 799885"/>
                      <a:gd name="connsiteY2" fmla="*/ 9337 h 71584"/>
                      <a:gd name="connsiteX3" fmla="*/ 0 w 799885"/>
                      <a:gd name="connsiteY3" fmla="*/ 34236 h 71584"/>
                      <a:gd name="connsiteX4" fmla="*/ 9337 w 799885"/>
                      <a:gd name="connsiteY4" fmla="*/ 43574 h 71584"/>
                      <a:gd name="connsiteX5" fmla="*/ 37349 w 799885"/>
                      <a:gd name="connsiteY5" fmla="*/ 49798 h 71584"/>
                      <a:gd name="connsiteX6" fmla="*/ 183632 w 799885"/>
                      <a:gd name="connsiteY6" fmla="*/ 65360 h 71584"/>
                      <a:gd name="connsiteX7" fmla="*/ 401499 w 799885"/>
                      <a:gd name="connsiteY7" fmla="*/ 71585 h 71584"/>
                      <a:gd name="connsiteX8" fmla="*/ 435735 w 799885"/>
                      <a:gd name="connsiteY8" fmla="*/ 71585 h 71584"/>
                      <a:gd name="connsiteX9" fmla="*/ 466859 w 799885"/>
                      <a:gd name="connsiteY9" fmla="*/ 71585 h 71584"/>
                      <a:gd name="connsiteX10" fmla="*/ 469972 w 799885"/>
                      <a:gd name="connsiteY10" fmla="*/ 71585 h 71584"/>
                      <a:gd name="connsiteX11" fmla="*/ 529107 w 799885"/>
                      <a:gd name="connsiteY11" fmla="*/ 71585 h 71584"/>
                      <a:gd name="connsiteX12" fmla="*/ 582018 w 799885"/>
                      <a:gd name="connsiteY12" fmla="*/ 68473 h 71584"/>
                      <a:gd name="connsiteX13" fmla="*/ 675389 w 799885"/>
                      <a:gd name="connsiteY13" fmla="*/ 62248 h 71584"/>
                      <a:gd name="connsiteX14" fmla="*/ 709625 w 799885"/>
                      <a:gd name="connsiteY14" fmla="*/ 59135 h 71584"/>
                      <a:gd name="connsiteX15" fmla="*/ 737637 w 799885"/>
                      <a:gd name="connsiteY15" fmla="*/ 56023 h 71584"/>
                      <a:gd name="connsiteX16" fmla="*/ 756311 w 799885"/>
                      <a:gd name="connsiteY16" fmla="*/ 52911 h 71584"/>
                      <a:gd name="connsiteX17" fmla="*/ 771873 w 799885"/>
                      <a:gd name="connsiteY17" fmla="*/ 49798 h 71584"/>
                      <a:gd name="connsiteX18" fmla="*/ 778098 w 799885"/>
                      <a:gd name="connsiteY18" fmla="*/ 49798 h 71584"/>
                      <a:gd name="connsiteX19" fmla="*/ 784323 w 799885"/>
                      <a:gd name="connsiteY19" fmla="*/ 46686 h 71584"/>
                      <a:gd name="connsiteX20" fmla="*/ 793660 w 799885"/>
                      <a:gd name="connsiteY20" fmla="*/ 43574 h 71584"/>
                      <a:gd name="connsiteX21" fmla="*/ 796773 w 799885"/>
                      <a:gd name="connsiteY21" fmla="*/ 40461 h 71584"/>
                      <a:gd name="connsiteX22" fmla="*/ 799885 w 799885"/>
                      <a:gd name="connsiteY22" fmla="*/ 34236 h 71584"/>
                      <a:gd name="connsiteX23" fmla="*/ 684726 w 799885"/>
                      <a:gd name="connsiteY23" fmla="*/ 9337 h 715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</a:cxnLst>
                    <a:rect l="l" t="t" r="r" b="b"/>
                    <a:pathLst>
                      <a:path w="799885" h="71584">
                        <a:moveTo>
                          <a:pt x="684726" y="9337"/>
                        </a:moveTo>
                        <a:cubicBezTo>
                          <a:pt x="613142" y="3112"/>
                          <a:pt x="510433" y="0"/>
                          <a:pt x="401499" y="0"/>
                        </a:cubicBezTo>
                        <a:cubicBezTo>
                          <a:pt x="289452" y="0"/>
                          <a:pt x="189857" y="3112"/>
                          <a:pt x="118271" y="9337"/>
                        </a:cubicBezTo>
                        <a:cubicBezTo>
                          <a:pt x="46686" y="15562"/>
                          <a:pt x="0" y="24899"/>
                          <a:pt x="0" y="34236"/>
                        </a:cubicBezTo>
                        <a:cubicBezTo>
                          <a:pt x="0" y="37349"/>
                          <a:pt x="3114" y="40461"/>
                          <a:pt x="9337" y="43574"/>
                        </a:cubicBezTo>
                        <a:cubicBezTo>
                          <a:pt x="15562" y="46686"/>
                          <a:pt x="24899" y="49798"/>
                          <a:pt x="37349" y="49798"/>
                        </a:cubicBezTo>
                        <a:cubicBezTo>
                          <a:pt x="68473" y="56023"/>
                          <a:pt x="121384" y="62248"/>
                          <a:pt x="183632" y="65360"/>
                        </a:cubicBezTo>
                        <a:cubicBezTo>
                          <a:pt x="245880" y="68473"/>
                          <a:pt x="320576" y="71585"/>
                          <a:pt x="401499" y="71585"/>
                        </a:cubicBezTo>
                        <a:cubicBezTo>
                          <a:pt x="413948" y="71585"/>
                          <a:pt x="426398" y="71585"/>
                          <a:pt x="435735" y="71585"/>
                        </a:cubicBezTo>
                        <a:cubicBezTo>
                          <a:pt x="445072" y="71585"/>
                          <a:pt x="457522" y="71585"/>
                          <a:pt x="466859" y="71585"/>
                        </a:cubicBezTo>
                        <a:lnTo>
                          <a:pt x="469972" y="71585"/>
                        </a:lnTo>
                        <a:cubicBezTo>
                          <a:pt x="488646" y="71585"/>
                          <a:pt x="510433" y="71585"/>
                          <a:pt x="529107" y="71585"/>
                        </a:cubicBezTo>
                        <a:cubicBezTo>
                          <a:pt x="547782" y="71585"/>
                          <a:pt x="566456" y="71585"/>
                          <a:pt x="582018" y="68473"/>
                        </a:cubicBezTo>
                        <a:cubicBezTo>
                          <a:pt x="616253" y="65360"/>
                          <a:pt x="647377" y="65360"/>
                          <a:pt x="675389" y="62248"/>
                        </a:cubicBezTo>
                        <a:cubicBezTo>
                          <a:pt x="687840" y="62248"/>
                          <a:pt x="700288" y="59135"/>
                          <a:pt x="709625" y="59135"/>
                        </a:cubicBezTo>
                        <a:cubicBezTo>
                          <a:pt x="718964" y="59135"/>
                          <a:pt x="731412" y="56023"/>
                          <a:pt x="737637" y="56023"/>
                        </a:cubicBezTo>
                        <a:cubicBezTo>
                          <a:pt x="743862" y="56023"/>
                          <a:pt x="750088" y="52911"/>
                          <a:pt x="756311" y="52911"/>
                        </a:cubicBezTo>
                        <a:cubicBezTo>
                          <a:pt x="762536" y="52911"/>
                          <a:pt x="765650" y="49798"/>
                          <a:pt x="771873" y="49798"/>
                        </a:cubicBezTo>
                        <a:cubicBezTo>
                          <a:pt x="774986" y="49798"/>
                          <a:pt x="774986" y="49798"/>
                          <a:pt x="778098" y="49798"/>
                        </a:cubicBezTo>
                        <a:cubicBezTo>
                          <a:pt x="781212" y="49798"/>
                          <a:pt x="784323" y="49798"/>
                          <a:pt x="784323" y="46686"/>
                        </a:cubicBezTo>
                        <a:cubicBezTo>
                          <a:pt x="787435" y="46686"/>
                          <a:pt x="790548" y="43574"/>
                          <a:pt x="793660" y="43574"/>
                        </a:cubicBezTo>
                        <a:cubicBezTo>
                          <a:pt x="793660" y="43574"/>
                          <a:pt x="796773" y="43574"/>
                          <a:pt x="796773" y="40461"/>
                        </a:cubicBezTo>
                        <a:cubicBezTo>
                          <a:pt x="799885" y="37349"/>
                          <a:pt x="799885" y="37349"/>
                          <a:pt x="799885" y="34236"/>
                        </a:cubicBezTo>
                        <a:cubicBezTo>
                          <a:pt x="799885" y="24899"/>
                          <a:pt x="756311" y="15562"/>
                          <a:pt x="684726" y="9337"/>
                        </a:cubicBezTo>
                        <a:close/>
                      </a:path>
                    </a:pathLst>
                  </a:custGeom>
                  <a:solidFill>
                    <a:srgbClr val="38333D"/>
                  </a:solidFill>
                  <a:ln w="311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" name="任意多边形: 形状 139">
                    <a:extLst>
                      <a:ext uri="{FF2B5EF4-FFF2-40B4-BE49-F238E27FC236}">
                        <a16:creationId xmlns:a16="http://schemas.microsoft.com/office/drawing/2014/main" id="{88F4D8CA-0ABB-4752-916C-518547C37424}"/>
                      </a:ext>
                    </a:extLst>
                  </p:cNvPr>
                  <p:cNvSpPr/>
                  <p:nvPr/>
                </p:nvSpPr>
                <p:spPr>
                  <a:xfrm>
                    <a:off x="24828717" y="4356583"/>
                    <a:ext cx="799885" cy="71584"/>
                  </a:xfrm>
                  <a:custGeom>
                    <a:avLst/>
                    <a:gdLst>
                      <a:gd name="connsiteX0" fmla="*/ 684726 w 799885"/>
                      <a:gd name="connsiteY0" fmla="*/ 9337 h 71584"/>
                      <a:gd name="connsiteX1" fmla="*/ 401499 w 799885"/>
                      <a:gd name="connsiteY1" fmla="*/ 0 h 71584"/>
                      <a:gd name="connsiteX2" fmla="*/ 118271 w 799885"/>
                      <a:gd name="connsiteY2" fmla="*/ 9337 h 71584"/>
                      <a:gd name="connsiteX3" fmla="*/ 0 w 799885"/>
                      <a:gd name="connsiteY3" fmla="*/ 34236 h 71584"/>
                      <a:gd name="connsiteX4" fmla="*/ 9337 w 799885"/>
                      <a:gd name="connsiteY4" fmla="*/ 43574 h 71584"/>
                      <a:gd name="connsiteX5" fmla="*/ 37349 w 799885"/>
                      <a:gd name="connsiteY5" fmla="*/ 49798 h 71584"/>
                      <a:gd name="connsiteX6" fmla="*/ 183632 w 799885"/>
                      <a:gd name="connsiteY6" fmla="*/ 65360 h 71584"/>
                      <a:gd name="connsiteX7" fmla="*/ 401499 w 799885"/>
                      <a:gd name="connsiteY7" fmla="*/ 71585 h 71584"/>
                      <a:gd name="connsiteX8" fmla="*/ 435735 w 799885"/>
                      <a:gd name="connsiteY8" fmla="*/ 71585 h 71584"/>
                      <a:gd name="connsiteX9" fmla="*/ 466859 w 799885"/>
                      <a:gd name="connsiteY9" fmla="*/ 71585 h 71584"/>
                      <a:gd name="connsiteX10" fmla="*/ 469972 w 799885"/>
                      <a:gd name="connsiteY10" fmla="*/ 71585 h 71584"/>
                      <a:gd name="connsiteX11" fmla="*/ 529107 w 799885"/>
                      <a:gd name="connsiteY11" fmla="*/ 71585 h 71584"/>
                      <a:gd name="connsiteX12" fmla="*/ 582018 w 799885"/>
                      <a:gd name="connsiteY12" fmla="*/ 68473 h 71584"/>
                      <a:gd name="connsiteX13" fmla="*/ 675389 w 799885"/>
                      <a:gd name="connsiteY13" fmla="*/ 62248 h 71584"/>
                      <a:gd name="connsiteX14" fmla="*/ 709625 w 799885"/>
                      <a:gd name="connsiteY14" fmla="*/ 59135 h 71584"/>
                      <a:gd name="connsiteX15" fmla="*/ 737637 w 799885"/>
                      <a:gd name="connsiteY15" fmla="*/ 56023 h 71584"/>
                      <a:gd name="connsiteX16" fmla="*/ 756311 w 799885"/>
                      <a:gd name="connsiteY16" fmla="*/ 52911 h 71584"/>
                      <a:gd name="connsiteX17" fmla="*/ 771873 w 799885"/>
                      <a:gd name="connsiteY17" fmla="*/ 49798 h 71584"/>
                      <a:gd name="connsiteX18" fmla="*/ 778098 w 799885"/>
                      <a:gd name="connsiteY18" fmla="*/ 49798 h 71584"/>
                      <a:gd name="connsiteX19" fmla="*/ 784323 w 799885"/>
                      <a:gd name="connsiteY19" fmla="*/ 46686 h 71584"/>
                      <a:gd name="connsiteX20" fmla="*/ 793660 w 799885"/>
                      <a:gd name="connsiteY20" fmla="*/ 43574 h 71584"/>
                      <a:gd name="connsiteX21" fmla="*/ 796773 w 799885"/>
                      <a:gd name="connsiteY21" fmla="*/ 40461 h 71584"/>
                      <a:gd name="connsiteX22" fmla="*/ 799885 w 799885"/>
                      <a:gd name="connsiteY22" fmla="*/ 34236 h 71584"/>
                      <a:gd name="connsiteX23" fmla="*/ 684726 w 799885"/>
                      <a:gd name="connsiteY23" fmla="*/ 9337 h 71584"/>
                      <a:gd name="connsiteX24" fmla="*/ 756311 w 799885"/>
                      <a:gd name="connsiteY24" fmla="*/ 40461 h 71584"/>
                      <a:gd name="connsiteX25" fmla="*/ 737637 w 799885"/>
                      <a:gd name="connsiteY25" fmla="*/ 43574 h 71584"/>
                      <a:gd name="connsiteX26" fmla="*/ 709625 w 799885"/>
                      <a:gd name="connsiteY26" fmla="*/ 46686 h 71584"/>
                      <a:gd name="connsiteX27" fmla="*/ 675389 w 799885"/>
                      <a:gd name="connsiteY27" fmla="*/ 49798 h 71584"/>
                      <a:gd name="connsiteX28" fmla="*/ 582018 w 799885"/>
                      <a:gd name="connsiteY28" fmla="*/ 56023 h 71584"/>
                      <a:gd name="connsiteX29" fmla="*/ 469972 w 799885"/>
                      <a:gd name="connsiteY29" fmla="*/ 59135 h 71584"/>
                      <a:gd name="connsiteX30" fmla="*/ 463747 w 799885"/>
                      <a:gd name="connsiteY30" fmla="*/ 59135 h 71584"/>
                      <a:gd name="connsiteX31" fmla="*/ 435735 w 799885"/>
                      <a:gd name="connsiteY31" fmla="*/ 59135 h 71584"/>
                      <a:gd name="connsiteX32" fmla="*/ 401499 w 799885"/>
                      <a:gd name="connsiteY32" fmla="*/ 59135 h 71584"/>
                      <a:gd name="connsiteX33" fmla="*/ 183632 w 799885"/>
                      <a:gd name="connsiteY33" fmla="*/ 52911 h 71584"/>
                      <a:gd name="connsiteX34" fmla="*/ 40461 w 799885"/>
                      <a:gd name="connsiteY34" fmla="*/ 37349 h 71584"/>
                      <a:gd name="connsiteX35" fmla="*/ 24899 w 799885"/>
                      <a:gd name="connsiteY35" fmla="*/ 34236 h 71584"/>
                      <a:gd name="connsiteX36" fmla="*/ 118271 w 799885"/>
                      <a:gd name="connsiteY36" fmla="*/ 21787 h 71584"/>
                      <a:gd name="connsiteX37" fmla="*/ 401499 w 799885"/>
                      <a:gd name="connsiteY37" fmla="*/ 12450 h 71584"/>
                      <a:gd name="connsiteX38" fmla="*/ 684726 w 799885"/>
                      <a:gd name="connsiteY38" fmla="*/ 21787 h 71584"/>
                      <a:gd name="connsiteX39" fmla="*/ 778098 w 799885"/>
                      <a:gd name="connsiteY39" fmla="*/ 34236 h 71584"/>
                      <a:gd name="connsiteX40" fmla="*/ 771873 w 799885"/>
                      <a:gd name="connsiteY40" fmla="*/ 34236 h 71584"/>
                      <a:gd name="connsiteX41" fmla="*/ 765650 w 799885"/>
                      <a:gd name="connsiteY41" fmla="*/ 34236 h 71584"/>
                      <a:gd name="connsiteX42" fmla="*/ 756311 w 799885"/>
                      <a:gd name="connsiteY42" fmla="*/ 40461 h 715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</a:cxnLst>
                    <a:rect l="l" t="t" r="r" b="b"/>
                    <a:pathLst>
                      <a:path w="799885" h="71584">
                        <a:moveTo>
                          <a:pt x="684726" y="9337"/>
                        </a:moveTo>
                        <a:cubicBezTo>
                          <a:pt x="613142" y="3112"/>
                          <a:pt x="510433" y="0"/>
                          <a:pt x="401499" y="0"/>
                        </a:cubicBezTo>
                        <a:cubicBezTo>
                          <a:pt x="289452" y="0"/>
                          <a:pt x="189857" y="3112"/>
                          <a:pt x="118271" y="9337"/>
                        </a:cubicBezTo>
                        <a:cubicBezTo>
                          <a:pt x="46686" y="15562"/>
                          <a:pt x="0" y="24899"/>
                          <a:pt x="0" y="34236"/>
                        </a:cubicBezTo>
                        <a:cubicBezTo>
                          <a:pt x="0" y="37349"/>
                          <a:pt x="3114" y="40461"/>
                          <a:pt x="9337" y="43574"/>
                        </a:cubicBezTo>
                        <a:cubicBezTo>
                          <a:pt x="15562" y="46686"/>
                          <a:pt x="24899" y="49798"/>
                          <a:pt x="37349" y="49798"/>
                        </a:cubicBezTo>
                        <a:cubicBezTo>
                          <a:pt x="68473" y="56023"/>
                          <a:pt x="121384" y="62248"/>
                          <a:pt x="183632" y="65360"/>
                        </a:cubicBezTo>
                        <a:cubicBezTo>
                          <a:pt x="245880" y="68473"/>
                          <a:pt x="320576" y="71585"/>
                          <a:pt x="401499" y="71585"/>
                        </a:cubicBezTo>
                        <a:cubicBezTo>
                          <a:pt x="413948" y="71585"/>
                          <a:pt x="426398" y="71585"/>
                          <a:pt x="435735" y="71585"/>
                        </a:cubicBezTo>
                        <a:cubicBezTo>
                          <a:pt x="445072" y="71585"/>
                          <a:pt x="457522" y="71585"/>
                          <a:pt x="466859" y="71585"/>
                        </a:cubicBezTo>
                        <a:lnTo>
                          <a:pt x="469972" y="71585"/>
                        </a:lnTo>
                        <a:cubicBezTo>
                          <a:pt x="488646" y="71585"/>
                          <a:pt x="510433" y="71585"/>
                          <a:pt x="529107" y="71585"/>
                        </a:cubicBezTo>
                        <a:cubicBezTo>
                          <a:pt x="547782" y="71585"/>
                          <a:pt x="566456" y="71585"/>
                          <a:pt x="582018" y="68473"/>
                        </a:cubicBezTo>
                        <a:cubicBezTo>
                          <a:pt x="616253" y="65360"/>
                          <a:pt x="647377" y="65360"/>
                          <a:pt x="675389" y="62248"/>
                        </a:cubicBezTo>
                        <a:cubicBezTo>
                          <a:pt x="687840" y="62248"/>
                          <a:pt x="700288" y="59135"/>
                          <a:pt x="709625" y="59135"/>
                        </a:cubicBezTo>
                        <a:cubicBezTo>
                          <a:pt x="718964" y="59135"/>
                          <a:pt x="731412" y="56023"/>
                          <a:pt x="737637" y="56023"/>
                        </a:cubicBezTo>
                        <a:cubicBezTo>
                          <a:pt x="743862" y="56023"/>
                          <a:pt x="750088" y="52911"/>
                          <a:pt x="756311" y="52911"/>
                        </a:cubicBezTo>
                        <a:cubicBezTo>
                          <a:pt x="762536" y="52911"/>
                          <a:pt x="765650" y="49798"/>
                          <a:pt x="771873" y="49798"/>
                        </a:cubicBezTo>
                        <a:cubicBezTo>
                          <a:pt x="774986" y="49798"/>
                          <a:pt x="774986" y="49798"/>
                          <a:pt x="778098" y="49798"/>
                        </a:cubicBezTo>
                        <a:cubicBezTo>
                          <a:pt x="781212" y="49798"/>
                          <a:pt x="784323" y="49798"/>
                          <a:pt x="784323" y="46686"/>
                        </a:cubicBezTo>
                        <a:cubicBezTo>
                          <a:pt x="787435" y="46686"/>
                          <a:pt x="790548" y="43574"/>
                          <a:pt x="793660" y="43574"/>
                        </a:cubicBezTo>
                        <a:cubicBezTo>
                          <a:pt x="793660" y="43574"/>
                          <a:pt x="796773" y="43574"/>
                          <a:pt x="796773" y="40461"/>
                        </a:cubicBezTo>
                        <a:cubicBezTo>
                          <a:pt x="799885" y="37349"/>
                          <a:pt x="799885" y="37349"/>
                          <a:pt x="799885" y="34236"/>
                        </a:cubicBezTo>
                        <a:cubicBezTo>
                          <a:pt x="799885" y="24899"/>
                          <a:pt x="756311" y="15562"/>
                          <a:pt x="684726" y="9337"/>
                        </a:cubicBezTo>
                        <a:close/>
                        <a:moveTo>
                          <a:pt x="756311" y="40461"/>
                        </a:moveTo>
                        <a:cubicBezTo>
                          <a:pt x="750088" y="40461"/>
                          <a:pt x="743862" y="43574"/>
                          <a:pt x="737637" y="43574"/>
                        </a:cubicBezTo>
                        <a:cubicBezTo>
                          <a:pt x="728300" y="43574"/>
                          <a:pt x="718964" y="46686"/>
                          <a:pt x="709625" y="46686"/>
                        </a:cubicBezTo>
                        <a:cubicBezTo>
                          <a:pt x="700288" y="46686"/>
                          <a:pt x="687840" y="49798"/>
                          <a:pt x="675389" y="49798"/>
                        </a:cubicBezTo>
                        <a:cubicBezTo>
                          <a:pt x="647377" y="52911"/>
                          <a:pt x="616253" y="52911"/>
                          <a:pt x="582018" y="56023"/>
                        </a:cubicBezTo>
                        <a:cubicBezTo>
                          <a:pt x="547782" y="59135"/>
                          <a:pt x="507320" y="59135"/>
                          <a:pt x="469972" y="59135"/>
                        </a:cubicBezTo>
                        <a:cubicBezTo>
                          <a:pt x="466859" y="59135"/>
                          <a:pt x="463747" y="59135"/>
                          <a:pt x="463747" y="59135"/>
                        </a:cubicBezTo>
                        <a:cubicBezTo>
                          <a:pt x="454410" y="59135"/>
                          <a:pt x="445072" y="59135"/>
                          <a:pt x="435735" y="59135"/>
                        </a:cubicBezTo>
                        <a:cubicBezTo>
                          <a:pt x="423286" y="59135"/>
                          <a:pt x="413948" y="59135"/>
                          <a:pt x="401499" y="59135"/>
                        </a:cubicBezTo>
                        <a:cubicBezTo>
                          <a:pt x="323690" y="59135"/>
                          <a:pt x="248991" y="56023"/>
                          <a:pt x="183632" y="52911"/>
                        </a:cubicBezTo>
                        <a:cubicBezTo>
                          <a:pt x="121384" y="49798"/>
                          <a:pt x="71585" y="43574"/>
                          <a:pt x="40461" y="37349"/>
                        </a:cubicBezTo>
                        <a:cubicBezTo>
                          <a:pt x="34237" y="37349"/>
                          <a:pt x="31124" y="34236"/>
                          <a:pt x="24899" y="34236"/>
                        </a:cubicBezTo>
                        <a:cubicBezTo>
                          <a:pt x="40461" y="31124"/>
                          <a:pt x="65361" y="24899"/>
                          <a:pt x="118271" y="21787"/>
                        </a:cubicBezTo>
                        <a:cubicBezTo>
                          <a:pt x="192969" y="15562"/>
                          <a:pt x="292566" y="12450"/>
                          <a:pt x="401499" y="12450"/>
                        </a:cubicBezTo>
                        <a:cubicBezTo>
                          <a:pt x="507320" y="12450"/>
                          <a:pt x="610030" y="15562"/>
                          <a:pt x="684726" y="21787"/>
                        </a:cubicBezTo>
                        <a:cubicBezTo>
                          <a:pt x="734526" y="24899"/>
                          <a:pt x="762536" y="31124"/>
                          <a:pt x="778098" y="34236"/>
                        </a:cubicBezTo>
                        <a:cubicBezTo>
                          <a:pt x="778098" y="34236"/>
                          <a:pt x="774986" y="34236"/>
                          <a:pt x="771873" y="34236"/>
                        </a:cubicBezTo>
                        <a:cubicBezTo>
                          <a:pt x="768761" y="34236"/>
                          <a:pt x="768761" y="34236"/>
                          <a:pt x="765650" y="34236"/>
                        </a:cubicBezTo>
                        <a:cubicBezTo>
                          <a:pt x="762536" y="37349"/>
                          <a:pt x="759424" y="37349"/>
                          <a:pt x="756311" y="40461"/>
                        </a:cubicBezTo>
                        <a:close/>
                      </a:path>
                    </a:pathLst>
                  </a:custGeom>
                  <a:solidFill>
                    <a:srgbClr val="F1DDBA"/>
                  </a:solidFill>
                  <a:ln w="311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EC166483-1FAD-46DD-AAE6-DB79862FC3A8}"/>
                    </a:ext>
                  </a:extLst>
                </p:cNvPr>
                <p:cNvSpPr/>
                <p:nvPr/>
              </p:nvSpPr>
              <p:spPr>
                <a:xfrm>
                  <a:off x="24844279" y="4798543"/>
                  <a:ext cx="762536" cy="62247"/>
                </a:xfrm>
                <a:custGeom>
                  <a:avLst/>
                  <a:gdLst>
                    <a:gd name="connsiteX0" fmla="*/ 0 w 762536"/>
                    <a:gd name="connsiteY0" fmla="*/ 0 h 62247"/>
                    <a:gd name="connsiteX1" fmla="*/ 0 w 762536"/>
                    <a:gd name="connsiteY1" fmla="*/ 28012 h 62247"/>
                    <a:gd name="connsiteX2" fmla="*/ 361039 w 762536"/>
                    <a:gd name="connsiteY2" fmla="*/ 62248 h 62247"/>
                    <a:gd name="connsiteX3" fmla="*/ 762536 w 762536"/>
                    <a:gd name="connsiteY3" fmla="*/ 28012 h 62247"/>
                    <a:gd name="connsiteX4" fmla="*/ 762536 w 762536"/>
                    <a:gd name="connsiteY4" fmla="*/ 0 h 62247"/>
                    <a:gd name="connsiteX5" fmla="*/ 759424 w 762536"/>
                    <a:gd name="connsiteY5" fmla="*/ 0 h 62247"/>
                    <a:gd name="connsiteX6" fmla="*/ 3114 w 762536"/>
                    <a:gd name="connsiteY6" fmla="*/ 0 h 62247"/>
                    <a:gd name="connsiteX7" fmla="*/ 0 w 762536"/>
                    <a:gd name="connsiteY7" fmla="*/ 0 h 622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2536" h="62247">
                      <a:moveTo>
                        <a:pt x="0" y="0"/>
                      </a:moveTo>
                      <a:cubicBezTo>
                        <a:pt x="0" y="9337"/>
                        <a:pt x="0" y="18674"/>
                        <a:pt x="0" y="28012"/>
                      </a:cubicBezTo>
                      <a:cubicBezTo>
                        <a:pt x="124496" y="52911"/>
                        <a:pt x="248991" y="62248"/>
                        <a:pt x="361039" y="62248"/>
                      </a:cubicBezTo>
                      <a:cubicBezTo>
                        <a:pt x="569567" y="62248"/>
                        <a:pt x="734526" y="34236"/>
                        <a:pt x="762536" y="28012"/>
                      </a:cubicBezTo>
                      <a:cubicBezTo>
                        <a:pt x="762536" y="18674"/>
                        <a:pt x="762536" y="9337"/>
                        <a:pt x="762536" y="0"/>
                      </a:cubicBezTo>
                      <a:cubicBezTo>
                        <a:pt x="762536" y="0"/>
                        <a:pt x="759424" y="0"/>
                        <a:pt x="759424" y="0"/>
                      </a:cubicBezTo>
                      <a:cubicBezTo>
                        <a:pt x="756311" y="0"/>
                        <a:pt x="367262" y="77810"/>
                        <a:pt x="3114" y="0"/>
                      </a:cubicBezTo>
                      <a:cubicBezTo>
                        <a:pt x="3114" y="0"/>
                        <a:pt x="3114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11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31DBEBD8-5712-4449-B841-5714DC1FB305}"/>
                  </a:ext>
                </a:extLst>
              </p:cNvPr>
              <p:cNvSpPr/>
              <p:nvPr/>
            </p:nvSpPr>
            <p:spPr>
              <a:xfrm>
                <a:off x="24831830" y="4076468"/>
                <a:ext cx="796771" cy="329913"/>
              </a:xfrm>
              <a:custGeom>
                <a:avLst/>
                <a:gdLst>
                  <a:gd name="connsiteX0" fmla="*/ 6223 w 796771"/>
                  <a:gd name="connsiteY0" fmla="*/ 329914 h 329913"/>
                  <a:gd name="connsiteX1" fmla="*/ 6223 w 796771"/>
                  <a:gd name="connsiteY1" fmla="*/ 329914 h 329913"/>
                  <a:gd name="connsiteX2" fmla="*/ 0 w 796771"/>
                  <a:gd name="connsiteY2" fmla="*/ 320576 h 329913"/>
                  <a:gd name="connsiteX3" fmla="*/ 389049 w 796771"/>
                  <a:gd name="connsiteY3" fmla="*/ 0 h 329913"/>
                  <a:gd name="connsiteX4" fmla="*/ 398386 w 796771"/>
                  <a:gd name="connsiteY4" fmla="*/ 0 h 329913"/>
                  <a:gd name="connsiteX5" fmla="*/ 687838 w 796771"/>
                  <a:gd name="connsiteY5" fmla="*/ 158732 h 329913"/>
                  <a:gd name="connsiteX6" fmla="*/ 796772 w 796771"/>
                  <a:gd name="connsiteY6" fmla="*/ 311239 h 329913"/>
                  <a:gd name="connsiteX7" fmla="*/ 793660 w 796771"/>
                  <a:gd name="connsiteY7" fmla="*/ 317464 h 329913"/>
                  <a:gd name="connsiteX8" fmla="*/ 787435 w 796771"/>
                  <a:gd name="connsiteY8" fmla="*/ 314352 h 329913"/>
                  <a:gd name="connsiteX9" fmla="*/ 681613 w 796771"/>
                  <a:gd name="connsiteY9" fmla="*/ 164957 h 329913"/>
                  <a:gd name="connsiteX10" fmla="*/ 401497 w 796771"/>
                  <a:gd name="connsiteY10" fmla="*/ 12450 h 329913"/>
                  <a:gd name="connsiteX11" fmla="*/ 392161 w 796771"/>
                  <a:gd name="connsiteY11" fmla="*/ 12450 h 329913"/>
                  <a:gd name="connsiteX12" fmla="*/ 15562 w 796771"/>
                  <a:gd name="connsiteY12" fmla="*/ 323689 h 329913"/>
                  <a:gd name="connsiteX13" fmla="*/ 6223 w 796771"/>
                  <a:gd name="connsiteY13" fmla="*/ 329914 h 329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96771" h="329913">
                    <a:moveTo>
                      <a:pt x="6223" y="329914"/>
                    </a:moveTo>
                    <a:cubicBezTo>
                      <a:pt x="3112" y="329914"/>
                      <a:pt x="3112" y="329914"/>
                      <a:pt x="6223" y="329914"/>
                    </a:cubicBezTo>
                    <a:cubicBezTo>
                      <a:pt x="0" y="326801"/>
                      <a:pt x="0" y="323689"/>
                      <a:pt x="0" y="320576"/>
                    </a:cubicBezTo>
                    <a:cubicBezTo>
                      <a:pt x="0" y="317464"/>
                      <a:pt x="155620" y="0"/>
                      <a:pt x="389049" y="0"/>
                    </a:cubicBezTo>
                    <a:cubicBezTo>
                      <a:pt x="392161" y="0"/>
                      <a:pt x="395272" y="0"/>
                      <a:pt x="398386" y="0"/>
                    </a:cubicBezTo>
                    <a:cubicBezTo>
                      <a:pt x="522881" y="3112"/>
                      <a:pt x="625590" y="87147"/>
                      <a:pt x="687838" y="158732"/>
                    </a:cubicBezTo>
                    <a:cubicBezTo>
                      <a:pt x="756311" y="233429"/>
                      <a:pt x="793660" y="308127"/>
                      <a:pt x="796772" y="311239"/>
                    </a:cubicBezTo>
                    <a:cubicBezTo>
                      <a:pt x="796772" y="314352"/>
                      <a:pt x="796772" y="317464"/>
                      <a:pt x="793660" y="317464"/>
                    </a:cubicBezTo>
                    <a:cubicBezTo>
                      <a:pt x="790546" y="317464"/>
                      <a:pt x="787435" y="317464"/>
                      <a:pt x="787435" y="314352"/>
                    </a:cubicBezTo>
                    <a:cubicBezTo>
                      <a:pt x="787435" y="314352"/>
                      <a:pt x="746974" y="239654"/>
                      <a:pt x="681613" y="164957"/>
                    </a:cubicBezTo>
                    <a:cubicBezTo>
                      <a:pt x="619365" y="96484"/>
                      <a:pt x="522881" y="15562"/>
                      <a:pt x="401497" y="12450"/>
                    </a:cubicBezTo>
                    <a:cubicBezTo>
                      <a:pt x="398386" y="12450"/>
                      <a:pt x="395272" y="12450"/>
                      <a:pt x="392161" y="12450"/>
                    </a:cubicBezTo>
                    <a:cubicBezTo>
                      <a:pt x="164956" y="12450"/>
                      <a:pt x="15562" y="320576"/>
                      <a:pt x="15562" y="323689"/>
                    </a:cubicBezTo>
                    <a:cubicBezTo>
                      <a:pt x="9337" y="326801"/>
                      <a:pt x="6223" y="329914"/>
                      <a:pt x="6223" y="32991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7" name="图形 1">
              <a:extLst>
                <a:ext uri="{FF2B5EF4-FFF2-40B4-BE49-F238E27FC236}">
                  <a16:creationId xmlns:a16="http://schemas.microsoft.com/office/drawing/2014/main" id="{81009BC7-53EB-4C56-A159-1109F7CC0026}"/>
                </a:ext>
              </a:extLst>
            </p:cNvPr>
            <p:cNvGrpSpPr/>
            <p:nvPr/>
          </p:nvGrpSpPr>
          <p:grpSpPr>
            <a:xfrm>
              <a:off x="25078776" y="3939523"/>
              <a:ext cx="317640" cy="269168"/>
              <a:chOff x="25078776" y="3939523"/>
              <a:chExt cx="317640" cy="269168"/>
            </a:xfrm>
          </p:grpSpPr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7B7C5E77-B7B5-4539-ACBE-028693D18F1E}"/>
                  </a:ext>
                </a:extLst>
              </p:cNvPr>
              <p:cNvSpPr/>
              <p:nvPr/>
            </p:nvSpPr>
            <p:spPr>
              <a:xfrm>
                <a:off x="25084672" y="3939523"/>
                <a:ext cx="311744" cy="269168"/>
              </a:xfrm>
              <a:custGeom>
                <a:avLst/>
                <a:gdLst>
                  <a:gd name="connsiteX0" fmla="*/ 304275 w 311744"/>
                  <a:gd name="connsiteY0" fmla="*/ 68473 h 269168"/>
                  <a:gd name="connsiteX1" fmla="*/ 198455 w 311744"/>
                  <a:gd name="connsiteY1" fmla="*/ 0 h 269168"/>
                  <a:gd name="connsiteX2" fmla="*/ 30385 w 311744"/>
                  <a:gd name="connsiteY2" fmla="*/ 124496 h 269168"/>
                  <a:gd name="connsiteX3" fmla="*/ 5486 w 311744"/>
                  <a:gd name="connsiteY3" fmla="*/ 180519 h 269168"/>
                  <a:gd name="connsiteX4" fmla="*/ 39722 w 311744"/>
                  <a:gd name="connsiteY4" fmla="*/ 196081 h 269168"/>
                  <a:gd name="connsiteX5" fmla="*/ 80182 w 311744"/>
                  <a:gd name="connsiteY5" fmla="*/ 230317 h 269168"/>
                  <a:gd name="connsiteX6" fmla="*/ 98858 w 311744"/>
                  <a:gd name="connsiteY6" fmla="*/ 255216 h 269168"/>
                  <a:gd name="connsiteX7" fmla="*/ 139319 w 311744"/>
                  <a:gd name="connsiteY7" fmla="*/ 245879 h 269168"/>
                  <a:gd name="connsiteX8" fmla="*/ 189116 w 311744"/>
                  <a:gd name="connsiteY8" fmla="*/ 261441 h 269168"/>
                  <a:gd name="connsiteX9" fmla="*/ 229579 w 311744"/>
                  <a:gd name="connsiteY9" fmla="*/ 189856 h 269168"/>
                  <a:gd name="connsiteX10" fmla="*/ 294938 w 311744"/>
                  <a:gd name="connsiteY10" fmla="*/ 115158 h 269168"/>
                  <a:gd name="connsiteX11" fmla="*/ 304275 w 311744"/>
                  <a:gd name="connsiteY11" fmla="*/ 68473 h 269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11744" h="269168">
                    <a:moveTo>
                      <a:pt x="304275" y="68473"/>
                    </a:moveTo>
                    <a:cubicBezTo>
                      <a:pt x="285601" y="28012"/>
                      <a:pt x="242027" y="12450"/>
                      <a:pt x="198455" y="0"/>
                    </a:cubicBezTo>
                    <a:cubicBezTo>
                      <a:pt x="120645" y="40461"/>
                      <a:pt x="86408" y="56023"/>
                      <a:pt x="30385" y="124496"/>
                    </a:cubicBezTo>
                    <a:cubicBezTo>
                      <a:pt x="21048" y="133833"/>
                      <a:pt x="-13189" y="152507"/>
                      <a:pt x="5486" y="180519"/>
                    </a:cubicBezTo>
                    <a:cubicBezTo>
                      <a:pt x="11711" y="186744"/>
                      <a:pt x="21048" y="205418"/>
                      <a:pt x="39722" y="196081"/>
                    </a:cubicBezTo>
                    <a:cubicBezTo>
                      <a:pt x="33496" y="217867"/>
                      <a:pt x="67734" y="242767"/>
                      <a:pt x="80182" y="230317"/>
                    </a:cubicBezTo>
                    <a:cubicBezTo>
                      <a:pt x="80182" y="236542"/>
                      <a:pt x="92633" y="252104"/>
                      <a:pt x="98858" y="255216"/>
                    </a:cubicBezTo>
                    <a:cubicBezTo>
                      <a:pt x="114420" y="261441"/>
                      <a:pt x="126868" y="261441"/>
                      <a:pt x="139319" y="245879"/>
                    </a:cubicBezTo>
                    <a:cubicBezTo>
                      <a:pt x="148655" y="267666"/>
                      <a:pt x="170442" y="277003"/>
                      <a:pt x="189116" y="261441"/>
                    </a:cubicBezTo>
                    <a:cubicBezTo>
                      <a:pt x="214017" y="239654"/>
                      <a:pt x="210903" y="217867"/>
                      <a:pt x="229579" y="189856"/>
                    </a:cubicBezTo>
                    <a:cubicBezTo>
                      <a:pt x="248252" y="161844"/>
                      <a:pt x="273151" y="140058"/>
                      <a:pt x="294938" y="115158"/>
                    </a:cubicBezTo>
                    <a:cubicBezTo>
                      <a:pt x="313612" y="99596"/>
                      <a:pt x="316725" y="93372"/>
                      <a:pt x="304275" y="68473"/>
                    </a:cubicBez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16DDB192-7285-479A-A55E-D99601EC5A05}"/>
                  </a:ext>
                </a:extLst>
              </p:cNvPr>
              <p:cNvSpPr/>
              <p:nvPr/>
            </p:nvSpPr>
            <p:spPr>
              <a:xfrm>
                <a:off x="25078776" y="4003594"/>
                <a:ext cx="109155" cy="141346"/>
              </a:xfrm>
              <a:custGeom>
                <a:avLst/>
                <a:gdLst>
                  <a:gd name="connsiteX0" fmla="*/ 45618 w 109155"/>
                  <a:gd name="connsiteY0" fmla="*/ 141347 h 141346"/>
                  <a:gd name="connsiteX1" fmla="*/ 45618 w 109155"/>
                  <a:gd name="connsiteY1" fmla="*/ 141347 h 141346"/>
                  <a:gd name="connsiteX2" fmla="*/ 5157 w 109155"/>
                  <a:gd name="connsiteY2" fmla="*/ 119560 h 141346"/>
                  <a:gd name="connsiteX3" fmla="*/ 2045 w 109155"/>
                  <a:gd name="connsiteY3" fmla="*/ 91549 h 141346"/>
                  <a:gd name="connsiteX4" fmla="*/ 98529 w 109155"/>
                  <a:gd name="connsiteY4" fmla="*/ 1289 h 141346"/>
                  <a:gd name="connsiteX5" fmla="*/ 107865 w 109155"/>
                  <a:gd name="connsiteY5" fmla="*/ 4402 h 141346"/>
                  <a:gd name="connsiteX6" fmla="*/ 104754 w 109155"/>
                  <a:gd name="connsiteY6" fmla="*/ 13739 h 141346"/>
                  <a:gd name="connsiteX7" fmla="*/ 11382 w 109155"/>
                  <a:gd name="connsiteY7" fmla="*/ 97773 h 141346"/>
                  <a:gd name="connsiteX8" fmla="*/ 11382 w 109155"/>
                  <a:gd name="connsiteY8" fmla="*/ 113335 h 141346"/>
                  <a:gd name="connsiteX9" fmla="*/ 42506 w 109155"/>
                  <a:gd name="connsiteY9" fmla="*/ 128897 h 141346"/>
                  <a:gd name="connsiteX10" fmla="*/ 48731 w 109155"/>
                  <a:gd name="connsiteY10" fmla="*/ 135122 h 141346"/>
                  <a:gd name="connsiteX11" fmla="*/ 45618 w 109155"/>
                  <a:gd name="connsiteY11" fmla="*/ 141347 h 141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9155" h="141346">
                    <a:moveTo>
                      <a:pt x="45618" y="141347"/>
                    </a:moveTo>
                    <a:cubicBezTo>
                      <a:pt x="45618" y="141347"/>
                      <a:pt x="45618" y="141347"/>
                      <a:pt x="45618" y="141347"/>
                    </a:cubicBezTo>
                    <a:cubicBezTo>
                      <a:pt x="42506" y="141347"/>
                      <a:pt x="14494" y="138234"/>
                      <a:pt x="5157" y="119560"/>
                    </a:cubicBezTo>
                    <a:cubicBezTo>
                      <a:pt x="-1068" y="110223"/>
                      <a:pt x="-1068" y="103998"/>
                      <a:pt x="2045" y="91549"/>
                    </a:cubicBezTo>
                    <a:cubicBezTo>
                      <a:pt x="17607" y="47975"/>
                      <a:pt x="95417" y="4402"/>
                      <a:pt x="98529" y="1289"/>
                    </a:cubicBezTo>
                    <a:cubicBezTo>
                      <a:pt x="101640" y="-1823"/>
                      <a:pt x="104754" y="1289"/>
                      <a:pt x="107865" y="4402"/>
                    </a:cubicBezTo>
                    <a:cubicBezTo>
                      <a:pt x="110979" y="7514"/>
                      <a:pt x="107865" y="10626"/>
                      <a:pt x="104754" y="13739"/>
                    </a:cubicBezTo>
                    <a:cubicBezTo>
                      <a:pt x="104754" y="13739"/>
                      <a:pt x="26944" y="57312"/>
                      <a:pt x="11382" y="97773"/>
                    </a:cubicBezTo>
                    <a:cubicBezTo>
                      <a:pt x="8269" y="103998"/>
                      <a:pt x="8269" y="110223"/>
                      <a:pt x="11382" y="113335"/>
                    </a:cubicBezTo>
                    <a:cubicBezTo>
                      <a:pt x="17607" y="122673"/>
                      <a:pt x="36281" y="128897"/>
                      <a:pt x="42506" y="128897"/>
                    </a:cubicBezTo>
                    <a:cubicBezTo>
                      <a:pt x="45618" y="128897"/>
                      <a:pt x="48731" y="132010"/>
                      <a:pt x="48731" y="135122"/>
                    </a:cubicBezTo>
                    <a:cubicBezTo>
                      <a:pt x="51843" y="138234"/>
                      <a:pt x="48731" y="141347"/>
                      <a:pt x="45618" y="14134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CA4C2120-DDF5-40F0-9BED-F47210F25A18}"/>
                  </a:ext>
                </a:extLst>
              </p:cNvPr>
              <p:cNvSpPr/>
              <p:nvPr/>
            </p:nvSpPr>
            <p:spPr>
              <a:xfrm>
                <a:off x="25156296" y="4114595"/>
                <a:ext cx="87657" cy="49020"/>
              </a:xfrm>
              <a:custGeom>
                <a:avLst/>
                <a:gdLst>
                  <a:gd name="connsiteX0" fmla="*/ 80145 w 87657"/>
                  <a:gd name="connsiteY0" fmla="*/ 49020 h 49020"/>
                  <a:gd name="connsiteX1" fmla="*/ 80145 w 87657"/>
                  <a:gd name="connsiteY1" fmla="*/ 49020 h 49020"/>
                  <a:gd name="connsiteX2" fmla="*/ 2335 w 87657"/>
                  <a:gd name="connsiteY2" fmla="*/ 11672 h 49020"/>
                  <a:gd name="connsiteX3" fmla="*/ 2335 w 87657"/>
                  <a:gd name="connsiteY3" fmla="*/ 2334 h 49020"/>
                  <a:gd name="connsiteX4" fmla="*/ 11672 w 87657"/>
                  <a:gd name="connsiteY4" fmla="*/ 2334 h 49020"/>
                  <a:gd name="connsiteX5" fmla="*/ 83257 w 87657"/>
                  <a:gd name="connsiteY5" fmla="*/ 36571 h 49020"/>
                  <a:gd name="connsiteX6" fmla="*/ 86368 w 87657"/>
                  <a:gd name="connsiteY6" fmla="*/ 45908 h 49020"/>
                  <a:gd name="connsiteX7" fmla="*/ 80145 w 87657"/>
                  <a:gd name="connsiteY7" fmla="*/ 49020 h 49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7657" h="49020">
                    <a:moveTo>
                      <a:pt x="80145" y="49020"/>
                    </a:moveTo>
                    <a:cubicBezTo>
                      <a:pt x="80145" y="49020"/>
                      <a:pt x="80145" y="49020"/>
                      <a:pt x="80145" y="49020"/>
                    </a:cubicBezTo>
                    <a:cubicBezTo>
                      <a:pt x="77031" y="49020"/>
                      <a:pt x="17897" y="27233"/>
                      <a:pt x="2335" y="11672"/>
                    </a:cubicBezTo>
                    <a:cubicBezTo>
                      <a:pt x="-778" y="8559"/>
                      <a:pt x="-778" y="5447"/>
                      <a:pt x="2335" y="2334"/>
                    </a:cubicBezTo>
                    <a:cubicBezTo>
                      <a:pt x="5447" y="-778"/>
                      <a:pt x="8558" y="-778"/>
                      <a:pt x="11672" y="2334"/>
                    </a:cubicBezTo>
                    <a:cubicBezTo>
                      <a:pt x="24120" y="11672"/>
                      <a:pt x="67695" y="30346"/>
                      <a:pt x="83257" y="36571"/>
                    </a:cubicBezTo>
                    <a:cubicBezTo>
                      <a:pt x="86368" y="36571"/>
                      <a:pt x="89482" y="42795"/>
                      <a:pt x="86368" y="45908"/>
                    </a:cubicBezTo>
                    <a:cubicBezTo>
                      <a:pt x="86368" y="49020"/>
                      <a:pt x="83257" y="49020"/>
                      <a:pt x="80145" y="4902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8" name="图形 1">
              <a:extLst>
                <a:ext uri="{FF2B5EF4-FFF2-40B4-BE49-F238E27FC236}">
                  <a16:creationId xmlns:a16="http://schemas.microsoft.com/office/drawing/2014/main" id="{D4081845-6711-4218-BB6E-52DE2AB11685}"/>
                </a:ext>
              </a:extLst>
            </p:cNvPr>
            <p:cNvGrpSpPr/>
            <p:nvPr/>
          </p:nvGrpSpPr>
          <p:grpSpPr>
            <a:xfrm>
              <a:off x="23877103" y="3136526"/>
              <a:ext cx="129942" cy="112046"/>
              <a:chOff x="23877103" y="3136526"/>
              <a:chExt cx="129942" cy="112046"/>
            </a:xfrm>
          </p:grpSpPr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C479044C-16B0-4DEF-8A77-39D753DBC15B}"/>
                  </a:ext>
                </a:extLst>
              </p:cNvPr>
              <p:cNvSpPr/>
              <p:nvPr/>
            </p:nvSpPr>
            <p:spPr>
              <a:xfrm>
                <a:off x="23882392" y="3136526"/>
                <a:ext cx="118847" cy="106038"/>
              </a:xfrm>
              <a:custGeom>
                <a:avLst/>
                <a:gdLst>
                  <a:gd name="connsiteX0" fmla="*/ 159 w 118847"/>
                  <a:gd name="connsiteY0" fmla="*/ 34236 h 106038"/>
                  <a:gd name="connsiteX1" fmla="*/ 25057 w 118847"/>
                  <a:gd name="connsiteY1" fmla="*/ 40461 h 106038"/>
                  <a:gd name="connsiteX2" fmla="*/ 68630 w 118847"/>
                  <a:gd name="connsiteY2" fmla="*/ 65360 h 106038"/>
                  <a:gd name="connsiteX3" fmla="*/ 59293 w 118847"/>
                  <a:gd name="connsiteY3" fmla="*/ 105821 h 106038"/>
                  <a:gd name="connsiteX4" fmla="*/ 118429 w 118847"/>
                  <a:gd name="connsiteY4" fmla="*/ 59135 h 106038"/>
                  <a:gd name="connsiteX5" fmla="*/ 56181 w 118847"/>
                  <a:gd name="connsiteY5" fmla="*/ 0 h 106038"/>
                  <a:gd name="connsiteX6" fmla="*/ 159 w 118847"/>
                  <a:gd name="connsiteY6" fmla="*/ 34236 h 106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8847" h="106038">
                    <a:moveTo>
                      <a:pt x="159" y="34236"/>
                    </a:moveTo>
                    <a:cubicBezTo>
                      <a:pt x="3270" y="43573"/>
                      <a:pt x="15721" y="40461"/>
                      <a:pt x="25057" y="40461"/>
                    </a:cubicBezTo>
                    <a:cubicBezTo>
                      <a:pt x="43731" y="43573"/>
                      <a:pt x="65518" y="43573"/>
                      <a:pt x="68630" y="65360"/>
                    </a:cubicBezTo>
                    <a:cubicBezTo>
                      <a:pt x="68630" y="71585"/>
                      <a:pt x="56181" y="93372"/>
                      <a:pt x="59293" y="105821"/>
                    </a:cubicBezTo>
                    <a:cubicBezTo>
                      <a:pt x="59293" y="108934"/>
                      <a:pt x="124654" y="77810"/>
                      <a:pt x="118429" y="59135"/>
                    </a:cubicBezTo>
                    <a:cubicBezTo>
                      <a:pt x="112204" y="34236"/>
                      <a:pt x="84192" y="0"/>
                      <a:pt x="56181" y="0"/>
                    </a:cubicBezTo>
                    <a:cubicBezTo>
                      <a:pt x="40619" y="0"/>
                      <a:pt x="-2955" y="15562"/>
                      <a:pt x="159" y="34236"/>
                    </a:cubicBez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E9F0CB51-FC6D-439F-89F2-DE108FD49BB3}"/>
                  </a:ext>
                </a:extLst>
              </p:cNvPr>
              <p:cNvSpPr/>
              <p:nvPr/>
            </p:nvSpPr>
            <p:spPr>
              <a:xfrm>
                <a:off x="23877103" y="3136526"/>
                <a:ext cx="129942" cy="112046"/>
              </a:xfrm>
              <a:custGeom>
                <a:avLst/>
                <a:gdLst>
                  <a:gd name="connsiteX0" fmla="*/ 64582 w 129942"/>
                  <a:gd name="connsiteY0" fmla="*/ 112046 h 112046"/>
                  <a:gd name="connsiteX1" fmla="*/ 58356 w 129942"/>
                  <a:gd name="connsiteY1" fmla="*/ 108934 h 112046"/>
                  <a:gd name="connsiteX2" fmla="*/ 67695 w 129942"/>
                  <a:gd name="connsiteY2" fmla="*/ 68473 h 112046"/>
                  <a:gd name="connsiteX3" fmla="*/ 27232 w 129942"/>
                  <a:gd name="connsiteY3" fmla="*/ 52911 h 112046"/>
                  <a:gd name="connsiteX4" fmla="*/ 2334 w 129942"/>
                  <a:gd name="connsiteY4" fmla="*/ 46686 h 112046"/>
                  <a:gd name="connsiteX5" fmla="*/ 2334 w 129942"/>
                  <a:gd name="connsiteY5" fmla="*/ 31124 h 112046"/>
                  <a:gd name="connsiteX6" fmla="*/ 61470 w 129942"/>
                  <a:gd name="connsiteY6" fmla="*/ 0 h 112046"/>
                  <a:gd name="connsiteX7" fmla="*/ 64582 w 129942"/>
                  <a:gd name="connsiteY7" fmla="*/ 0 h 112046"/>
                  <a:gd name="connsiteX8" fmla="*/ 129943 w 129942"/>
                  <a:gd name="connsiteY8" fmla="*/ 62248 h 112046"/>
                  <a:gd name="connsiteX9" fmla="*/ 126829 w 129942"/>
                  <a:gd name="connsiteY9" fmla="*/ 71585 h 112046"/>
                  <a:gd name="connsiteX10" fmla="*/ 117493 w 129942"/>
                  <a:gd name="connsiteY10" fmla="*/ 68473 h 112046"/>
                  <a:gd name="connsiteX11" fmla="*/ 61470 w 129942"/>
                  <a:gd name="connsiteY11" fmla="*/ 12449 h 112046"/>
                  <a:gd name="connsiteX12" fmla="*/ 11671 w 129942"/>
                  <a:gd name="connsiteY12" fmla="*/ 37349 h 112046"/>
                  <a:gd name="connsiteX13" fmla="*/ 11671 w 129942"/>
                  <a:gd name="connsiteY13" fmla="*/ 40461 h 112046"/>
                  <a:gd name="connsiteX14" fmla="*/ 27232 w 129942"/>
                  <a:gd name="connsiteY14" fmla="*/ 43573 h 112046"/>
                  <a:gd name="connsiteX15" fmla="*/ 80144 w 129942"/>
                  <a:gd name="connsiteY15" fmla="*/ 68473 h 112046"/>
                  <a:gd name="connsiteX16" fmla="*/ 80144 w 129942"/>
                  <a:gd name="connsiteY16" fmla="*/ 74697 h 112046"/>
                  <a:gd name="connsiteX17" fmla="*/ 70807 w 129942"/>
                  <a:gd name="connsiteY17" fmla="*/ 108934 h 112046"/>
                  <a:gd name="connsiteX18" fmla="*/ 64582 w 129942"/>
                  <a:gd name="connsiteY18" fmla="*/ 112046 h 112046"/>
                  <a:gd name="connsiteX19" fmla="*/ 64582 w 129942"/>
                  <a:gd name="connsiteY19" fmla="*/ 112046 h 112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9942" h="112046">
                    <a:moveTo>
                      <a:pt x="64582" y="112046"/>
                    </a:moveTo>
                    <a:cubicBezTo>
                      <a:pt x="61470" y="112046"/>
                      <a:pt x="58356" y="108934"/>
                      <a:pt x="58356" y="108934"/>
                    </a:cubicBezTo>
                    <a:cubicBezTo>
                      <a:pt x="55245" y="93372"/>
                      <a:pt x="61470" y="74697"/>
                      <a:pt x="67695" y="68473"/>
                    </a:cubicBezTo>
                    <a:cubicBezTo>
                      <a:pt x="58356" y="52911"/>
                      <a:pt x="39683" y="52911"/>
                      <a:pt x="27232" y="52911"/>
                    </a:cubicBezTo>
                    <a:cubicBezTo>
                      <a:pt x="17896" y="52911"/>
                      <a:pt x="8559" y="52911"/>
                      <a:pt x="2334" y="46686"/>
                    </a:cubicBezTo>
                    <a:cubicBezTo>
                      <a:pt x="-778" y="43573"/>
                      <a:pt x="-778" y="37349"/>
                      <a:pt x="2334" y="31124"/>
                    </a:cubicBezTo>
                    <a:cubicBezTo>
                      <a:pt x="8559" y="18674"/>
                      <a:pt x="30346" y="3112"/>
                      <a:pt x="61470" y="0"/>
                    </a:cubicBezTo>
                    <a:cubicBezTo>
                      <a:pt x="61470" y="0"/>
                      <a:pt x="64582" y="0"/>
                      <a:pt x="64582" y="0"/>
                    </a:cubicBezTo>
                    <a:cubicBezTo>
                      <a:pt x="101931" y="0"/>
                      <a:pt x="129943" y="62248"/>
                      <a:pt x="129943" y="62248"/>
                    </a:cubicBezTo>
                    <a:cubicBezTo>
                      <a:pt x="129943" y="65360"/>
                      <a:pt x="129943" y="68473"/>
                      <a:pt x="126829" y="71585"/>
                    </a:cubicBezTo>
                    <a:cubicBezTo>
                      <a:pt x="123718" y="71585"/>
                      <a:pt x="120604" y="71585"/>
                      <a:pt x="117493" y="68473"/>
                    </a:cubicBezTo>
                    <a:cubicBezTo>
                      <a:pt x="111267" y="52911"/>
                      <a:pt x="86369" y="9337"/>
                      <a:pt x="61470" y="12449"/>
                    </a:cubicBezTo>
                    <a:cubicBezTo>
                      <a:pt x="36571" y="15562"/>
                      <a:pt x="17896" y="28011"/>
                      <a:pt x="11671" y="37349"/>
                    </a:cubicBezTo>
                    <a:cubicBezTo>
                      <a:pt x="11671" y="37349"/>
                      <a:pt x="11671" y="40461"/>
                      <a:pt x="11671" y="40461"/>
                    </a:cubicBezTo>
                    <a:cubicBezTo>
                      <a:pt x="11671" y="43573"/>
                      <a:pt x="21009" y="43573"/>
                      <a:pt x="27232" y="43573"/>
                    </a:cubicBezTo>
                    <a:cubicBezTo>
                      <a:pt x="42794" y="43573"/>
                      <a:pt x="64582" y="43573"/>
                      <a:pt x="80144" y="68473"/>
                    </a:cubicBezTo>
                    <a:cubicBezTo>
                      <a:pt x="80144" y="71585"/>
                      <a:pt x="80144" y="71585"/>
                      <a:pt x="80144" y="74697"/>
                    </a:cubicBezTo>
                    <a:cubicBezTo>
                      <a:pt x="77032" y="80922"/>
                      <a:pt x="67695" y="96484"/>
                      <a:pt x="70807" y="108934"/>
                    </a:cubicBezTo>
                    <a:cubicBezTo>
                      <a:pt x="70807" y="105821"/>
                      <a:pt x="67695" y="108934"/>
                      <a:pt x="64582" y="112046"/>
                    </a:cubicBezTo>
                    <a:cubicBezTo>
                      <a:pt x="64582" y="112046"/>
                      <a:pt x="64582" y="112046"/>
                      <a:pt x="64582" y="11204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31671567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CCD3B0AA-29BF-40B2-BB78-9E31E7700B08}"/>
              </a:ext>
            </a:extLst>
          </p:cNvPr>
          <p:cNvGrpSpPr/>
          <p:nvPr/>
        </p:nvGrpSpPr>
        <p:grpSpPr>
          <a:xfrm>
            <a:off x="6669320" y="2102752"/>
            <a:ext cx="2164766" cy="4753953"/>
            <a:chOff x="5961397" y="7827388"/>
            <a:chExt cx="2164766" cy="4753953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DA35247E-F355-4381-945B-6912870D2402}"/>
                </a:ext>
              </a:extLst>
            </p:cNvPr>
            <p:cNvSpPr/>
            <p:nvPr/>
          </p:nvSpPr>
          <p:spPr>
            <a:xfrm>
              <a:off x="7396210" y="7827388"/>
              <a:ext cx="697176" cy="817848"/>
            </a:xfrm>
            <a:custGeom>
              <a:avLst/>
              <a:gdLst>
                <a:gd name="connsiteX0" fmla="*/ 0 w 697176"/>
                <a:gd name="connsiteY0" fmla="*/ 180031 h 817848"/>
                <a:gd name="connsiteX1" fmla="*/ 342363 w 697176"/>
                <a:gd name="connsiteY1" fmla="*/ 2625 h 817848"/>
                <a:gd name="connsiteX2" fmla="*/ 594467 w 697176"/>
                <a:gd name="connsiteY2" fmla="*/ 435247 h 817848"/>
                <a:gd name="connsiteX3" fmla="*/ 697176 w 697176"/>
                <a:gd name="connsiteY3" fmla="*/ 737150 h 817848"/>
                <a:gd name="connsiteX4" fmla="*/ 361038 w 697176"/>
                <a:gd name="connsiteY4" fmla="*/ 734037 h 817848"/>
                <a:gd name="connsiteX5" fmla="*/ 155620 w 697176"/>
                <a:gd name="connsiteY5" fmla="*/ 239167 h 817848"/>
                <a:gd name="connsiteX6" fmla="*/ 0 w 697176"/>
                <a:gd name="connsiteY6" fmla="*/ 180031 h 81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7176" h="817848">
                  <a:moveTo>
                    <a:pt x="0" y="180031"/>
                  </a:moveTo>
                  <a:cubicBezTo>
                    <a:pt x="0" y="180031"/>
                    <a:pt x="34237" y="-25386"/>
                    <a:pt x="342363" y="2625"/>
                  </a:cubicBezTo>
                  <a:cubicBezTo>
                    <a:pt x="532219" y="18187"/>
                    <a:pt x="625591" y="301415"/>
                    <a:pt x="594467" y="435247"/>
                  </a:cubicBezTo>
                  <a:cubicBezTo>
                    <a:pt x="563343" y="569080"/>
                    <a:pt x="585130" y="684239"/>
                    <a:pt x="697176" y="737150"/>
                  </a:cubicBezTo>
                  <a:cubicBezTo>
                    <a:pt x="697176" y="737150"/>
                    <a:pt x="476196" y="920781"/>
                    <a:pt x="361038" y="734037"/>
                  </a:cubicBezTo>
                  <a:cubicBezTo>
                    <a:pt x="314352" y="656227"/>
                    <a:pt x="298790" y="279628"/>
                    <a:pt x="155620" y="239167"/>
                  </a:cubicBezTo>
                  <a:cubicBezTo>
                    <a:pt x="93372" y="220492"/>
                    <a:pt x="0" y="180031"/>
                    <a:pt x="0" y="180031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1EC5B65D-070F-4127-B971-4184FF62C7E2}"/>
                </a:ext>
              </a:extLst>
            </p:cNvPr>
            <p:cNvSpPr/>
            <p:nvPr/>
          </p:nvSpPr>
          <p:spPr>
            <a:xfrm>
              <a:off x="7894193" y="8399581"/>
              <a:ext cx="202305" cy="171181"/>
            </a:xfrm>
            <a:custGeom>
              <a:avLst/>
              <a:gdLst>
                <a:gd name="connsiteX0" fmla="*/ 192968 w 202305"/>
                <a:gd name="connsiteY0" fmla="*/ 171182 h 171181"/>
                <a:gd name="connsiteX1" fmla="*/ 0 w 202305"/>
                <a:gd name="connsiteY1" fmla="*/ 6225 h 171181"/>
                <a:gd name="connsiteX2" fmla="*/ 3113 w 202305"/>
                <a:gd name="connsiteY2" fmla="*/ 0 h 171181"/>
                <a:gd name="connsiteX3" fmla="*/ 9337 w 202305"/>
                <a:gd name="connsiteY3" fmla="*/ 3112 h 171181"/>
                <a:gd name="connsiteX4" fmla="*/ 196081 w 202305"/>
                <a:gd name="connsiteY4" fmla="*/ 158732 h 171181"/>
                <a:gd name="connsiteX5" fmla="*/ 202305 w 202305"/>
                <a:gd name="connsiteY5" fmla="*/ 164957 h 171181"/>
                <a:gd name="connsiteX6" fmla="*/ 196081 w 202305"/>
                <a:gd name="connsiteY6" fmla="*/ 171182 h 171181"/>
                <a:gd name="connsiteX7" fmla="*/ 192968 w 202305"/>
                <a:gd name="connsiteY7" fmla="*/ 171182 h 17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305" h="171181">
                  <a:moveTo>
                    <a:pt x="192968" y="171182"/>
                  </a:moveTo>
                  <a:cubicBezTo>
                    <a:pt x="161844" y="171182"/>
                    <a:pt x="46686" y="158732"/>
                    <a:pt x="0" y="6225"/>
                  </a:cubicBezTo>
                  <a:cubicBezTo>
                    <a:pt x="0" y="3112"/>
                    <a:pt x="0" y="0"/>
                    <a:pt x="3113" y="0"/>
                  </a:cubicBezTo>
                  <a:cubicBezTo>
                    <a:pt x="6225" y="0"/>
                    <a:pt x="9337" y="0"/>
                    <a:pt x="9337" y="3112"/>
                  </a:cubicBezTo>
                  <a:cubicBezTo>
                    <a:pt x="59136" y="174294"/>
                    <a:pt x="196081" y="158732"/>
                    <a:pt x="196081" y="158732"/>
                  </a:cubicBezTo>
                  <a:cubicBezTo>
                    <a:pt x="199193" y="158732"/>
                    <a:pt x="202305" y="161844"/>
                    <a:pt x="202305" y="164957"/>
                  </a:cubicBezTo>
                  <a:cubicBezTo>
                    <a:pt x="202305" y="168069"/>
                    <a:pt x="199193" y="171182"/>
                    <a:pt x="196081" y="171182"/>
                  </a:cubicBezTo>
                  <a:cubicBezTo>
                    <a:pt x="199193" y="171182"/>
                    <a:pt x="196081" y="171182"/>
                    <a:pt x="192968" y="171182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AE2FFFE8-01EB-4DDA-B228-646ABC599EB3}"/>
                </a:ext>
              </a:extLst>
            </p:cNvPr>
            <p:cNvGrpSpPr/>
            <p:nvPr/>
          </p:nvGrpSpPr>
          <p:grpSpPr>
            <a:xfrm>
              <a:off x="7163126" y="8738667"/>
              <a:ext cx="963037" cy="1136455"/>
              <a:chOff x="7163126" y="8738667"/>
              <a:chExt cx="963037" cy="1136455"/>
            </a:xfrm>
          </p:grpSpPr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3FDF5510-8494-4CE5-B913-D542940BFAAB}"/>
                  </a:ext>
                </a:extLst>
              </p:cNvPr>
              <p:cNvSpPr/>
              <p:nvPr/>
            </p:nvSpPr>
            <p:spPr>
              <a:xfrm>
                <a:off x="7163126" y="8738667"/>
                <a:ext cx="894182" cy="1136455"/>
              </a:xfrm>
              <a:custGeom>
                <a:avLst/>
                <a:gdLst>
                  <a:gd name="connsiteX0" fmla="*/ 8991 w 894182"/>
                  <a:gd name="connsiteY0" fmla="*/ 672441 h 1136455"/>
                  <a:gd name="connsiteX1" fmla="*/ 553660 w 894182"/>
                  <a:gd name="connsiteY1" fmla="*/ 1136188 h 1136455"/>
                  <a:gd name="connsiteX2" fmla="*/ 864899 w 894182"/>
                  <a:gd name="connsiteY2" fmla="*/ 971231 h 1136455"/>
                  <a:gd name="connsiteX3" fmla="*/ 749741 w 894182"/>
                  <a:gd name="connsiteY3" fmla="*/ 205582 h 1136455"/>
                  <a:gd name="connsiteX4" fmla="*/ 491412 w 894182"/>
                  <a:gd name="connsiteY4" fmla="*/ 3277 h 1136455"/>
                  <a:gd name="connsiteX5" fmla="*/ 161498 w 894182"/>
                  <a:gd name="connsiteY5" fmla="*/ 81087 h 1136455"/>
                  <a:gd name="connsiteX6" fmla="*/ 27666 w 894182"/>
                  <a:gd name="connsiteY6" fmla="*/ 336303 h 1136455"/>
                  <a:gd name="connsiteX7" fmla="*/ 8991 w 894182"/>
                  <a:gd name="connsiteY7" fmla="*/ 672441 h 1136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94182" h="1136455">
                    <a:moveTo>
                      <a:pt x="8991" y="672441"/>
                    </a:moveTo>
                    <a:cubicBezTo>
                      <a:pt x="49453" y="908983"/>
                      <a:pt x="429164" y="1145525"/>
                      <a:pt x="553660" y="1136188"/>
                    </a:cubicBezTo>
                    <a:cubicBezTo>
                      <a:pt x="640807" y="1129963"/>
                      <a:pt x="833775" y="1070828"/>
                      <a:pt x="864899" y="971231"/>
                    </a:cubicBezTo>
                    <a:cubicBezTo>
                      <a:pt x="945822" y="725352"/>
                      <a:pt x="843113" y="382989"/>
                      <a:pt x="749741" y="205582"/>
                    </a:cubicBezTo>
                    <a:cubicBezTo>
                      <a:pt x="709280" y="127773"/>
                      <a:pt x="600346" y="12614"/>
                      <a:pt x="491412" y="3277"/>
                    </a:cubicBezTo>
                    <a:cubicBezTo>
                      <a:pt x="382478" y="-6060"/>
                      <a:pt x="251758" y="164"/>
                      <a:pt x="161498" y="81087"/>
                    </a:cubicBezTo>
                    <a:cubicBezTo>
                      <a:pt x="89914" y="143335"/>
                      <a:pt x="49453" y="239818"/>
                      <a:pt x="27666" y="336303"/>
                    </a:cubicBezTo>
                    <a:cubicBezTo>
                      <a:pt x="2767" y="445237"/>
                      <a:pt x="-9683" y="563508"/>
                      <a:pt x="8991" y="672441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ACAC4967-765E-4646-8D32-6060F18E5755}"/>
                  </a:ext>
                </a:extLst>
              </p:cNvPr>
              <p:cNvSpPr/>
              <p:nvPr/>
            </p:nvSpPr>
            <p:spPr>
              <a:xfrm>
                <a:off x="7962665" y="9369660"/>
                <a:ext cx="160845" cy="350266"/>
              </a:xfrm>
              <a:custGeom>
                <a:avLst/>
                <a:gdLst>
                  <a:gd name="connsiteX0" fmla="*/ 0 w 160845"/>
                  <a:gd name="connsiteY0" fmla="*/ 25886 h 350266"/>
                  <a:gd name="connsiteX1" fmla="*/ 0 w 160845"/>
                  <a:gd name="connsiteY1" fmla="*/ 343350 h 350266"/>
                  <a:gd name="connsiteX2" fmla="*/ 121384 w 160845"/>
                  <a:gd name="connsiteY2" fmla="*/ 343350 h 350266"/>
                  <a:gd name="connsiteX3" fmla="*/ 146283 w 160845"/>
                  <a:gd name="connsiteY3" fmla="*/ 25886 h 350266"/>
                  <a:gd name="connsiteX4" fmla="*/ 0 w 160845"/>
                  <a:gd name="connsiteY4" fmla="*/ 25886 h 350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845" h="350266">
                    <a:moveTo>
                      <a:pt x="0" y="25886"/>
                    </a:moveTo>
                    <a:cubicBezTo>
                      <a:pt x="0" y="25886"/>
                      <a:pt x="37349" y="203292"/>
                      <a:pt x="0" y="343350"/>
                    </a:cubicBezTo>
                    <a:cubicBezTo>
                      <a:pt x="0" y="343350"/>
                      <a:pt x="77810" y="358912"/>
                      <a:pt x="121384" y="343350"/>
                    </a:cubicBezTo>
                    <a:cubicBezTo>
                      <a:pt x="164957" y="327788"/>
                      <a:pt x="171182" y="50785"/>
                      <a:pt x="146283" y="25886"/>
                    </a:cubicBezTo>
                    <a:cubicBezTo>
                      <a:pt x="118271" y="-2126"/>
                      <a:pt x="24899" y="-14575"/>
                      <a:pt x="0" y="25886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744F6FDF-E16F-4729-8583-C15A4D81DE79}"/>
                  </a:ext>
                </a:extLst>
              </p:cNvPr>
              <p:cNvSpPr/>
              <p:nvPr/>
            </p:nvSpPr>
            <p:spPr>
              <a:xfrm>
                <a:off x="7956441" y="9360720"/>
                <a:ext cx="169723" cy="364739"/>
              </a:xfrm>
              <a:custGeom>
                <a:avLst/>
                <a:gdLst>
                  <a:gd name="connsiteX0" fmla="*/ 74698 w 169723"/>
                  <a:gd name="connsiteY0" fmla="*/ 364739 h 364739"/>
                  <a:gd name="connsiteX1" fmla="*/ 37349 w 169723"/>
                  <a:gd name="connsiteY1" fmla="*/ 361627 h 364739"/>
                  <a:gd name="connsiteX2" fmla="*/ 12450 w 169723"/>
                  <a:gd name="connsiteY2" fmla="*/ 346065 h 364739"/>
                  <a:gd name="connsiteX3" fmla="*/ 6225 w 169723"/>
                  <a:gd name="connsiteY3" fmla="*/ 318054 h 364739"/>
                  <a:gd name="connsiteX4" fmla="*/ 0 w 169723"/>
                  <a:gd name="connsiteY4" fmla="*/ 31714 h 364739"/>
                  <a:gd name="connsiteX5" fmla="*/ 0 w 169723"/>
                  <a:gd name="connsiteY5" fmla="*/ 28602 h 364739"/>
                  <a:gd name="connsiteX6" fmla="*/ 0 w 169723"/>
                  <a:gd name="connsiteY6" fmla="*/ 25489 h 364739"/>
                  <a:gd name="connsiteX7" fmla="*/ 52911 w 169723"/>
                  <a:gd name="connsiteY7" fmla="*/ 590 h 364739"/>
                  <a:gd name="connsiteX8" fmla="*/ 152507 w 169723"/>
                  <a:gd name="connsiteY8" fmla="*/ 25489 h 364739"/>
                  <a:gd name="connsiteX9" fmla="*/ 158732 w 169723"/>
                  <a:gd name="connsiteY9" fmla="*/ 290042 h 364739"/>
                  <a:gd name="connsiteX10" fmla="*/ 127608 w 169723"/>
                  <a:gd name="connsiteY10" fmla="*/ 355403 h 364739"/>
                  <a:gd name="connsiteX11" fmla="*/ 74698 w 169723"/>
                  <a:gd name="connsiteY11" fmla="*/ 364739 h 364739"/>
                  <a:gd name="connsiteX12" fmla="*/ 12450 w 169723"/>
                  <a:gd name="connsiteY12" fmla="*/ 34826 h 364739"/>
                  <a:gd name="connsiteX13" fmla="*/ 18675 w 169723"/>
                  <a:gd name="connsiteY13" fmla="*/ 324279 h 364739"/>
                  <a:gd name="connsiteX14" fmla="*/ 21787 w 169723"/>
                  <a:gd name="connsiteY14" fmla="*/ 342953 h 364739"/>
                  <a:gd name="connsiteX15" fmla="*/ 37349 w 169723"/>
                  <a:gd name="connsiteY15" fmla="*/ 352290 h 364739"/>
                  <a:gd name="connsiteX16" fmla="*/ 124496 w 169723"/>
                  <a:gd name="connsiteY16" fmla="*/ 346065 h 364739"/>
                  <a:gd name="connsiteX17" fmla="*/ 149395 w 169723"/>
                  <a:gd name="connsiteY17" fmla="*/ 290042 h 364739"/>
                  <a:gd name="connsiteX18" fmla="*/ 146282 w 169723"/>
                  <a:gd name="connsiteY18" fmla="*/ 37938 h 364739"/>
                  <a:gd name="connsiteX19" fmla="*/ 56023 w 169723"/>
                  <a:gd name="connsiteY19" fmla="*/ 16152 h 364739"/>
                  <a:gd name="connsiteX20" fmla="*/ 12450 w 169723"/>
                  <a:gd name="connsiteY20" fmla="*/ 34826 h 364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69723" h="364739">
                    <a:moveTo>
                      <a:pt x="74698" y="364739"/>
                    </a:moveTo>
                    <a:cubicBezTo>
                      <a:pt x="62248" y="364739"/>
                      <a:pt x="46686" y="364739"/>
                      <a:pt x="37349" y="361627"/>
                    </a:cubicBezTo>
                    <a:cubicBezTo>
                      <a:pt x="28012" y="361627"/>
                      <a:pt x="18675" y="355403"/>
                      <a:pt x="12450" y="346065"/>
                    </a:cubicBezTo>
                    <a:cubicBezTo>
                      <a:pt x="6225" y="336728"/>
                      <a:pt x="3113" y="327391"/>
                      <a:pt x="6225" y="318054"/>
                    </a:cubicBezTo>
                    <a:cubicBezTo>
                      <a:pt x="31124" y="187333"/>
                      <a:pt x="0" y="31714"/>
                      <a:pt x="0" y="31714"/>
                    </a:cubicBezTo>
                    <a:lnTo>
                      <a:pt x="0" y="28602"/>
                    </a:lnTo>
                    <a:lnTo>
                      <a:pt x="0" y="25489"/>
                    </a:lnTo>
                    <a:cubicBezTo>
                      <a:pt x="9337" y="9927"/>
                      <a:pt x="28012" y="590"/>
                      <a:pt x="52911" y="590"/>
                    </a:cubicBezTo>
                    <a:cubicBezTo>
                      <a:pt x="90260" y="-2522"/>
                      <a:pt x="133833" y="6814"/>
                      <a:pt x="152507" y="25489"/>
                    </a:cubicBezTo>
                    <a:cubicBezTo>
                      <a:pt x="174294" y="47276"/>
                      <a:pt x="174294" y="202895"/>
                      <a:pt x="158732" y="290042"/>
                    </a:cubicBezTo>
                    <a:cubicBezTo>
                      <a:pt x="149395" y="327391"/>
                      <a:pt x="140058" y="349178"/>
                      <a:pt x="127608" y="355403"/>
                    </a:cubicBezTo>
                    <a:cubicBezTo>
                      <a:pt x="115158" y="364739"/>
                      <a:pt x="93372" y="364739"/>
                      <a:pt x="74698" y="364739"/>
                    </a:cubicBezTo>
                    <a:close/>
                    <a:moveTo>
                      <a:pt x="12450" y="34826"/>
                    </a:moveTo>
                    <a:cubicBezTo>
                      <a:pt x="15562" y="56613"/>
                      <a:pt x="40461" y="199783"/>
                      <a:pt x="18675" y="324279"/>
                    </a:cubicBezTo>
                    <a:cubicBezTo>
                      <a:pt x="18675" y="330503"/>
                      <a:pt x="18675" y="336728"/>
                      <a:pt x="21787" y="342953"/>
                    </a:cubicBezTo>
                    <a:cubicBezTo>
                      <a:pt x="24899" y="349178"/>
                      <a:pt x="31124" y="352290"/>
                      <a:pt x="37349" y="352290"/>
                    </a:cubicBezTo>
                    <a:cubicBezTo>
                      <a:pt x="62248" y="355403"/>
                      <a:pt x="99596" y="355403"/>
                      <a:pt x="124496" y="346065"/>
                    </a:cubicBezTo>
                    <a:cubicBezTo>
                      <a:pt x="127608" y="342953"/>
                      <a:pt x="140058" y="336728"/>
                      <a:pt x="149395" y="290042"/>
                    </a:cubicBezTo>
                    <a:cubicBezTo>
                      <a:pt x="168069" y="199783"/>
                      <a:pt x="164957" y="53500"/>
                      <a:pt x="146282" y="37938"/>
                    </a:cubicBezTo>
                    <a:cubicBezTo>
                      <a:pt x="130720" y="22376"/>
                      <a:pt x="87147" y="13040"/>
                      <a:pt x="56023" y="16152"/>
                    </a:cubicBezTo>
                    <a:cubicBezTo>
                      <a:pt x="40461" y="16152"/>
                      <a:pt x="21787" y="22376"/>
                      <a:pt x="12450" y="3482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07CBF42E-4794-429E-BDFE-A193476C63FB}"/>
                  </a:ext>
                </a:extLst>
              </p:cNvPr>
              <p:cNvSpPr/>
              <p:nvPr/>
            </p:nvSpPr>
            <p:spPr>
              <a:xfrm>
                <a:off x="7847507" y="8929531"/>
                <a:ext cx="232982" cy="353968"/>
              </a:xfrm>
              <a:custGeom>
                <a:avLst/>
                <a:gdLst>
                  <a:gd name="connsiteX0" fmla="*/ 0 w 232982"/>
                  <a:gd name="connsiteY0" fmla="*/ 55179 h 353968"/>
                  <a:gd name="connsiteX1" fmla="*/ 108934 w 232982"/>
                  <a:gd name="connsiteY1" fmla="*/ 353968 h 353968"/>
                  <a:gd name="connsiteX2" fmla="*/ 224092 w 232982"/>
                  <a:gd name="connsiteY2" fmla="*/ 313507 h 353968"/>
                  <a:gd name="connsiteX3" fmla="*/ 136946 w 232982"/>
                  <a:gd name="connsiteY3" fmla="*/ 5381 h 353968"/>
                  <a:gd name="connsiteX4" fmla="*/ 0 w 232982"/>
                  <a:gd name="connsiteY4" fmla="*/ 55179 h 35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2982" h="353968">
                    <a:moveTo>
                      <a:pt x="0" y="55179"/>
                    </a:moveTo>
                    <a:cubicBezTo>
                      <a:pt x="0" y="55179"/>
                      <a:pt x="96484" y="210799"/>
                      <a:pt x="108934" y="353968"/>
                    </a:cubicBezTo>
                    <a:cubicBezTo>
                      <a:pt x="108934" y="353968"/>
                      <a:pt x="186744" y="344631"/>
                      <a:pt x="224092" y="313507"/>
                    </a:cubicBezTo>
                    <a:cubicBezTo>
                      <a:pt x="261441" y="282383"/>
                      <a:pt x="171182" y="20943"/>
                      <a:pt x="136946" y="5381"/>
                    </a:cubicBezTo>
                    <a:cubicBezTo>
                      <a:pt x="102709" y="-10181"/>
                      <a:pt x="12450" y="8493"/>
                      <a:pt x="0" y="55179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7DFE2515-197D-4214-8894-97ECCC7815E9}"/>
                  </a:ext>
                </a:extLst>
              </p:cNvPr>
              <p:cNvSpPr/>
              <p:nvPr/>
            </p:nvSpPr>
            <p:spPr>
              <a:xfrm>
                <a:off x="7844395" y="8918952"/>
                <a:ext cx="242892" cy="364547"/>
              </a:xfrm>
              <a:custGeom>
                <a:avLst/>
                <a:gdLst>
                  <a:gd name="connsiteX0" fmla="*/ 140058 w 242892"/>
                  <a:gd name="connsiteY0" fmla="*/ 364548 h 364547"/>
                  <a:gd name="connsiteX1" fmla="*/ 121383 w 242892"/>
                  <a:gd name="connsiteY1" fmla="*/ 358323 h 364547"/>
                  <a:gd name="connsiteX2" fmla="*/ 105821 w 242892"/>
                  <a:gd name="connsiteY2" fmla="*/ 333424 h 364547"/>
                  <a:gd name="connsiteX3" fmla="*/ 0 w 242892"/>
                  <a:gd name="connsiteY3" fmla="*/ 65758 h 364547"/>
                  <a:gd name="connsiteX4" fmla="*/ 0 w 242892"/>
                  <a:gd name="connsiteY4" fmla="*/ 62646 h 364547"/>
                  <a:gd name="connsiteX5" fmla="*/ 0 w 242892"/>
                  <a:gd name="connsiteY5" fmla="*/ 59533 h 364547"/>
                  <a:gd name="connsiteX6" fmla="*/ 40461 w 242892"/>
                  <a:gd name="connsiteY6" fmla="*/ 15960 h 364547"/>
                  <a:gd name="connsiteX7" fmla="*/ 143170 w 242892"/>
                  <a:gd name="connsiteY7" fmla="*/ 6623 h 364547"/>
                  <a:gd name="connsiteX8" fmla="*/ 239654 w 242892"/>
                  <a:gd name="connsiteY8" fmla="*/ 252502 h 364547"/>
                  <a:gd name="connsiteX9" fmla="*/ 233429 w 242892"/>
                  <a:gd name="connsiteY9" fmla="*/ 324087 h 364547"/>
                  <a:gd name="connsiteX10" fmla="*/ 149394 w 242892"/>
                  <a:gd name="connsiteY10" fmla="*/ 361436 h 364547"/>
                  <a:gd name="connsiteX11" fmla="*/ 140058 w 242892"/>
                  <a:gd name="connsiteY11" fmla="*/ 364548 h 364547"/>
                  <a:gd name="connsiteX12" fmla="*/ 9337 w 242892"/>
                  <a:gd name="connsiteY12" fmla="*/ 62646 h 364547"/>
                  <a:gd name="connsiteX13" fmla="*/ 115158 w 242892"/>
                  <a:gd name="connsiteY13" fmla="*/ 333424 h 364547"/>
                  <a:gd name="connsiteX14" fmla="*/ 124496 w 242892"/>
                  <a:gd name="connsiteY14" fmla="*/ 348986 h 364547"/>
                  <a:gd name="connsiteX15" fmla="*/ 143170 w 242892"/>
                  <a:gd name="connsiteY15" fmla="*/ 352098 h 364547"/>
                  <a:gd name="connsiteX16" fmla="*/ 224092 w 242892"/>
                  <a:gd name="connsiteY16" fmla="*/ 317862 h 364547"/>
                  <a:gd name="connsiteX17" fmla="*/ 227204 w 242892"/>
                  <a:gd name="connsiteY17" fmla="*/ 255614 h 364547"/>
                  <a:gd name="connsiteX18" fmla="*/ 136945 w 242892"/>
                  <a:gd name="connsiteY18" fmla="*/ 19073 h 364547"/>
                  <a:gd name="connsiteX19" fmla="*/ 43573 w 242892"/>
                  <a:gd name="connsiteY19" fmla="*/ 28409 h 364547"/>
                  <a:gd name="connsiteX20" fmla="*/ 9337 w 242892"/>
                  <a:gd name="connsiteY20" fmla="*/ 62646 h 364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42892" h="364547">
                    <a:moveTo>
                      <a:pt x="140058" y="364548"/>
                    </a:moveTo>
                    <a:cubicBezTo>
                      <a:pt x="133832" y="364548"/>
                      <a:pt x="127608" y="361436"/>
                      <a:pt x="121383" y="358323"/>
                    </a:cubicBezTo>
                    <a:cubicBezTo>
                      <a:pt x="112046" y="352098"/>
                      <a:pt x="108934" y="345874"/>
                      <a:pt x="105821" y="333424"/>
                    </a:cubicBezTo>
                    <a:cubicBezTo>
                      <a:pt x="84034" y="202704"/>
                      <a:pt x="3112" y="65758"/>
                      <a:pt x="0" y="65758"/>
                    </a:cubicBezTo>
                    <a:lnTo>
                      <a:pt x="0" y="62646"/>
                    </a:lnTo>
                    <a:lnTo>
                      <a:pt x="0" y="59533"/>
                    </a:lnTo>
                    <a:cubicBezTo>
                      <a:pt x="3112" y="43971"/>
                      <a:pt x="18674" y="28409"/>
                      <a:pt x="40461" y="15960"/>
                    </a:cubicBezTo>
                    <a:cubicBezTo>
                      <a:pt x="74697" y="398"/>
                      <a:pt x="121383" y="-5827"/>
                      <a:pt x="143170" y="6623"/>
                    </a:cubicBezTo>
                    <a:cubicBezTo>
                      <a:pt x="171182" y="19073"/>
                      <a:pt x="227204" y="165355"/>
                      <a:pt x="239654" y="252502"/>
                    </a:cubicBezTo>
                    <a:cubicBezTo>
                      <a:pt x="245879" y="289851"/>
                      <a:pt x="242766" y="314750"/>
                      <a:pt x="233429" y="324087"/>
                    </a:cubicBezTo>
                    <a:cubicBezTo>
                      <a:pt x="211642" y="342761"/>
                      <a:pt x="174294" y="355211"/>
                      <a:pt x="149394" y="361436"/>
                    </a:cubicBezTo>
                    <a:cubicBezTo>
                      <a:pt x="143170" y="364548"/>
                      <a:pt x="143170" y="364548"/>
                      <a:pt x="140058" y="364548"/>
                    </a:cubicBezTo>
                    <a:close/>
                    <a:moveTo>
                      <a:pt x="9337" y="62646"/>
                    </a:moveTo>
                    <a:cubicBezTo>
                      <a:pt x="18674" y="81320"/>
                      <a:pt x="93372" y="205816"/>
                      <a:pt x="115158" y="333424"/>
                    </a:cubicBezTo>
                    <a:cubicBezTo>
                      <a:pt x="115158" y="339649"/>
                      <a:pt x="121383" y="345874"/>
                      <a:pt x="124496" y="348986"/>
                    </a:cubicBezTo>
                    <a:cubicBezTo>
                      <a:pt x="130720" y="352098"/>
                      <a:pt x="136945" y="355211"/>
                      <a:pt x="143170" y="352098"/>
                    </a:cubicBezTo>
                    <a:cubicBezTo>
                      <a:pt x="168069" y="345874"/>
                      <a:pt x="202305" y="336536"/>
                      <a:pt x="224092" y="317862"/>
                    </a:cubicBezTo>
                    <a:cubicBezTo>
                      <a:pt x="227204" y="314750"/>
                      <a:pt x="233429" y="302300"/>
                      <a:pt x="227204" y="255614"/>
                    </a:cubicBezTo>
                    <a:cubicBezTo>
                      <a:pt x="214755" y="165355"/>
                      <a:pt x="158732" y="28409"/>
                      <a:pt x="136945" y="19073"/>
                    </a:cubicBezTo>
                    <a:cubicBezTo>
                      <a:pt x="115158" y="9735"/>
                      <a:pt x="74697" y="15960"/>
                      <a:pt x="43573" y="28409"/>
                    </a:cubicBezTo>
                    <a:cubicBezTo>
                      <a:pt x="31124" y="37747"/>
                      <a:pt x="15562" y="47084"/>
                      <a:pt x="9337" y="626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A0F0A110-836D-4FA0-96BB-11997FA82209}"/>
                </a:ext>
              </a:extLst>
            </p:cNvPr>
            <p:cNvGrpSpPr/>
            <p:nvPr/>
          </p:nvGrpSpPr>
          <p:grpSpPr>
            <a:xfrm>
              <a:off x="6845317" y="8573874"/>
              <a:ext cx="1030201" cy="277003"/>
              <a:chOff x="6845317" y="8573874"/>
              <a:chExt cx="1030201" cy="277003"/>
            </a:xfrm>
          </p:grpSpPr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20F00AD0-7FB6-4EE0-BF0C-A99CEC62977F}"/>
                  </a:ext>
                </a:extLst>
              </p:cNvPr>
              <p:cNvSpPr/>
              <p:nvPr/>
            </p:nvSpPr>
            <p:spPr>
              <a:xfrm>
                <a:off x="6845317" y="8573874"/>
                <a:ext cx="952392" cy="277003"/>
              </a:xfrm>
              <a:custGeom>
                <a:avLst/>
                <a:gdLst>
                  <a:gd name="connsiteX0" fmla="*/ 77810 w 952392"/>
                  <a:gd name="connsiteY0" fmla="*/ 9337 h 277003"/>
                  <a:gd name="connsiteX1" fmla="*/ 949280 w 952392"/>
                  <a:gd name="connsiteY1" fmla="*/ 0 h 277003"/>
                  <a:gd name="connsiteX2" fmla="*/ 952392 w 952392"/>
                  <a:gd name="connsiteY2" fmla="*/ 267666 h 277003"/>
                  <a:gd name="connsiteX3" fmla="*/ 80922 w 952392"/>
                  <a:gd name="connsiteY3" fmla="*/ 277003 h 277003"/>
                  <a:gd name="connsiteX4" fmla="*/ 0 w 952392"/>
                  <a:gd name="connsiteY4" fmla="*/ 143170 h 277003"/>
                  <a:gd name="connsiteX5" fmla="*/ 77810 w 952392"/>
                  <a:gd name="connsiteY5" fmla="*/ 9337 h 277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52392" h="277003">
                    <a:moveTo>
                      <a:pt x="77810" y="9337"/>
                    </a:moveTo>
                    <a:lnTo>
                      <a:pt x="949280" y="0"/>
                    </a:lnTo>
                    <a:lnTo>
                      <a:pt x="952392" y="267666"/>
                    </a:lnTo>
                    <a:lnTo>
                      <a:pt x="80922" y="277003"/>
                    </a:lnTo>
                    <a:cubicBezTo>
                      <a:pt x="37349" y="277003"/>
                      <a:pt x="0" y="217867"/>
                      <a:pt x="0" y="143170"/>
                    </a:cubicBezTo>
                    <a:cubicBezTo>
                      <a:pt x="0" y="71585"/>
                      <a:pt x="34237" y="9337"/>
                      <a:pt x="77810" y="9337"/>
                    </a:cubicBezTo>
                    <a:close/>
                  </a:path>
                </a:pathLst>
              </a:custGeom>
              <a:solidFill>
                <a:srgbClr val="F1DDBA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298BE69E-60BF-4EC6-B9ED-5C8ECA77599F}"/>
                  </a:ext>
                </a:extLst>
              </p:cNvPr>
              <p:cNvSpPr/>
              <p:nvPr/>
            </p:nvSpPr>
            <p:spPr>
              <a:xfrm>
                <a:off x="7716786" y="8573874"/>
                <a:ext cx="158732" cy="267665"/>
              </a:xfrm>
              <a:custGeom>
                <a:avLst/>
                <a:gdLst>
                  <a:gd name="connsiteX0" fmla="*/ 158732 w 158732"/>
                  <a:gd name="connsiteY0" fmla="*/ 133833 h 267665"/>
                  <a:gd name="connsiteX1" fmla="*/ 80922 w 158732"/>
                  <a:gd name="connsiteY1" fmla="*/ 267666 h 267665"/>
                  <a:gd name="connsiteX2" fmla="*/ 0 w 158732"/>
                  <a:gd name="connsiteY2" fmla="*/ 133833 h 267665"/>
                  <a:gd name="connsiteX3" fmla="*/ 77810 w 158732"/>
                  <a:gd name="connsiteY3" fmla="*/ 0 h 267665"/>
                  <a:gd name="connsiteX4" fmla="*/ 158732 w 158732"/>
                  <a:gd name="connsiteY4" fmla="*/ 133833 h 267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732" h="267665">
                    <a:moveTo>
                      <a:pt x="158732" y="133833"/>
                    </a:moveTo>
                    <a:cubicBezTo>
                      <a:pt x="158732" y="208531"/>
                      <a:pt x="124496" y="267666"/>
                      <a:pt x="80922" y="267666"/>
                    </a:cubicBezTo>
                    <a:cubicBezTo>
                      <a:pt x="37349" y="267666"/>
                      <a:pt x="0" y="208531"/>
                      <a:pt x="0" y="133833"/>
                    </a:cubicBezTo>
                    <a:cubicBezTo>
                      <a:pt x="0" y="59136"/>
                      <a:pt x="34237" y="0"/>
                      <a:pt x="77810" y="0"/>
                    </a:cubicBezTo>
                    <a:cubicBezTo>
                      <a:pt x="121383" y="0"/>
                      <a:pt x="158732" y="59136"/>
                      <a:pt x="158732" y="133833"/>
                    </a:cubicBezTo>
                    <a:close/>
                  </a:path>
                </a:pathLst>
              </a:custGeom>
              <a:solidFill>
                <a:srgbClr val="E2CCA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1424CD71-312F-4010-843A-6EB07FF7C17E}"/>
                  </a:ext>
                </a:extLst>
              </p:cNvPr>
              <p:cNvSpPr/>
              <p:nvPr/>
            </p:nvSpPr>
            <p:spPr>
              <a:xfrm>
                <a:off x="7744383" y="8589436"/>
                <a:ext cx="121259" cy="217867"/>
              </a:xfrm>
              <a:custGeom>
                <a:avLst/>
                <a:gdLst>
                  <a:gd name="connsiteX0" fmla="*/ 59551 w 121259"/>
                  <a:gd name="connsiteY0" fmla="*/ 217867 h 217867"/>
                  <a:gd name="connsiteX1" fmla="*/ 9752 w 121259"/>
                  <a:gd name="connsiteY1" fmla="*/ 180519 h 217867"/>
                  <a:gd name="connsiteX2" fmla="*/ 15977 w 121259"/>
                  <a:gd name="connsiteY2" fmla="*/ 40461 h 217867"/>
                  <a:gd name="connsiteX3" fmla="*/ 50213 w 121259"/>
                  <a:gd name="connsiteY3" fmla="*/ 34237 h 217867"/>
                  <a:gd name="connsiteX4" fmla="*/ 75113 w 121259"/>
                  <a:gd name="connsiteY4" fmla="*/ 87147 h 217867"/>
                  <a:gd name="connsiteX5" fmla="*/ 75113 w 121259"/>
                  <a:gd name="connsiteY5" fmla="*/ 96484 h 217867"/>
                  <a:gd name="connsiteX6" fmla="*/ 53326 w 121259"/>
                  <a:gd name="connsiteY6" fmla="*/ 168069 h 217867"/>
                  <a:gd name="connsiteX7" fmla="*/ 34652 w 121259"/>
                  <a:gd name="connsiteY7" fmla="*/ 164957 h 217867"/>
                  <a:gd name="connsiteX8" fmla="*/ 22202 w 121259"/>
                  <a:gd name="connsiteY8" fmla="*/ 118271 h 217867"/>
                  <a:gd name="connsiteX9" fmla="*/ 31539 w 121259"/>
                  <a:gd name="connsiteY9" fmla="*/ 108934 h 217867"/>
                  <a:gd name="connsiteX10" fmla="*/ 47101 w 121259"/>
                  <a:gd name="connsiteY10" fmla="*/ 112046 h 217867"/>
                  <a:gd name="connsiteX11" fmla="*/ 53326 w 121259"/>
                  <a:gd name="connsiteY11" fmla="*/ 127608 h 217867"/>
                  <a:gd name="connsiteX12" fmla="*/ 47101 w 121259"/>
                  <a:gd name="connsiteY12" fmla="*/ 133833 h 217867"/>
                  <a:gd name="connsiteX13" fmla="*/ 40876 w 121259"/>
                  <a:gd name="connsiteY13" fmla="*/ 127608 h 217867"/>
                  <a:gd name="connsiteX14" fmla="*/ 40876 w 121259"/>
                  <a:gd name="connsiteY14" fmla="*/ 124496 h 217867"/>
                  <a:gd name="connsiteX15" fmla="*/ 37764 w 121259"/>
                  <a:gd name="connsiteY15" fmla="*/ 124496 h 217867"/>
                  <a:gd name="connsiteX16" fmla="*/ 37764 w 121259"/>
                  <a:gd name="connsiteY16" fmla="*/ 124496 h 217867"/>
                  <a:gd name="connsiteX17" fmla="*/ 50213 w 121259"/>
                  <a:gd name="connsiteY17" fmla="*/ 161845 h 217867"/>
                  <a:gd name="connsiteX18" fmla="*/ 53326 w 121259"/>
                  <a:gd name="connsiteY18" fmla="*/ 161845 h 217867"/>
                  <a:gd name="connsiteX19" fmla="*/ 68888 w 121259"/>
                  <a:gd name="connsiteY19" fmla="*/ 99597 h 217867"/>
                  <a:gd name="connsiteX20" fmla="*/ 68888 w 121259"/>
                  <a:gd name="connsiteY20" fmla="*/ 90260 h 217867"/>
                  <a:gd name="connsiteX21" fmla="*/ 50213 w 121259"/>
                  <a:gd name="connsiteY21" fmla="*/ 46686 h 217867"/>
                  <a:gd name="connsiteX22" fmla="*/ 28427 w 121259"/>
                  <a:gd name="connsiteY22" fmla="*/ 49798 h 217867"/>
                  <a:gd name="connsiteX23" fmla="*/ 22202 w 121259"/>
                  <a:gd name="connsiteY23" fmla="*/ 174294 h 217867"/>
                  <a:gd name="connsiteX24" fmla="*/ 68888 w 121259"/>
                  <a:gd name="connsiteY24" fmla="*/ 205418 h 217867"/>
                  <a:gd name="connsiteX25" fmla="*/ 103124 w 121259"/>
                  <a:gd name="connsiteY25" fmla="*/ 158732 h 217867"/>
                  <a:gd name="connsiteX26" fmla="*/ 53326 w 121259"/>
                  <a:gd name="connsiteY26" fmla="*/ 9337 h 217867"/>
                  <a:gd name="connsiteX27" fmla="*/ 50213 w 121259"/>
                  <a:gd name="connsiteY27" fmla="*/ 3113 h 217867"/>
                  <a:gd name="connsiteX28" fmla="*/ 56438 w 121259"/>
                  <a:gd name="connsiteY28" fmla="*/ 0 h 217867"/>
                  <a:gd name="connsiteX29" fmla="*/ 112461 w 121259"/>
                  <a:gd name="connsiteY29" fmla="*/ 161845 h 217867"/>
                  <a:gd name="connsiteX30" fmla="*/ 68888 w 121259"/>
                  <a:gd name="connsiteY30" fmla="*/ 214755 h 217867"/>
                  <a:gd name="connsiteX31" fmla="*/ 59551 w 121259"/>
                  <a:gd name="connsiteY31" fmla="*/ 217867 h 21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21259" h="217867">
                    <a:moveTo>
                      <a:pt x="59551" y="217867"/>
                    </a:moveTo>
                    <a:cubicBezTo>
                      <a:pt x="37764" y="217867"/>
                      <a:pt x="19090" y="199193"/>
                      <a:pt x="9752" y="180519"/>
                    </a:cubicBezTo>
                    <a:cubicBezTo>
                      <a:pt x="415" y="161845"/>
                      <a:pt x="-8922" y="68473"/>
                      <a:pt x="15977" y="40461"/>
                    </a:cubicBezTo>
                    <a:cubicBezTo>
                      <a:pt x="22202" y="34237"/>
                      <a:pt x="34652" y="28012"/>
                      <a:pt x="50213" y="34237"/>
                    </a:cubicBezTo>
                    <a:cubicBezTo>
                      <a:pt x="68888" y="43574"/>
                      <a:pt x="72000" y="68473"/>
                      <a:pt x="75113" y="87147"/>
                    </a:cubicBezTo>
                    <a:cubicBezTo>
                      <a:pt x="75113" y="90260"/>
                      <a:pt x="75113" y="93372"/>
                      <a:pt x="75113" y="96484"/>
                    </a:cubicBezTo>
                    <a:cubicBezTo>
                      <a:pt x="78225" y="121384"/>
                      <a:pt x="81337" y="149395"/>
                      <a:pt x="53326" y="168069"/>
                    </a:cubicBezTo>
                    <a:cubicBezTo>
                      <a:pt x="47101" y="171182"/>
                      <a:pt x="37764" y="171182"/>
                      <a:pt x="34652" y="164957"/>
                    </a:cubicBezTo>
                    <a:cubicBezTo>
                      <a:pt x="22202" y="149395"/>
                      <a:pt x="19090" y="136946"/>
                      <a:pt x="22202" y="118271"/>
                    </a:cubicBezTo>
                    <a:cubicBezTo>
                      <a:pt x="22202" y="112046"/>
                      <a:pt x="25314" y="108934"/>
                      <a:pt x="31539" y="108934"/>
                    </a:cubicBezTo>
                    <a:cubicBezTo>
                      <a:pt x="37764" y="105822"/>
                      <a:pt x="40876" y="108934"/>
                      <a:pt x="47101" y="112046"/>
                    </a:cubicBezTo>
                    <a:cubicBezTo>
                      <a:pt x="50213" y="115159"/>
                      <a:pt x="53326" y="121384"/>
                      <a:pt x="53326" y="127608"/>
                    </a:cubicBezTo>
                    <a:cubicBezTo>
                      <a:pt x="53326" y="130721"/>
                      <a:pt x="50213" y="133833"/>
                      <a:pt x="47101" y="133833"/>
                    </a:cubicBezTo>
                    <a:cubicBezTo>
                      <a:pt x="43989" y="133833"/>
                      <a:pt x="40876" y="130721"/>
                      <a:pt x="40876" y="127608"/>
                    </a:cubicBezTo>
                    <a:cubicBezTo>
                      <a:pt x="40876" y="127608"/>
                      <a:pt x="40876" y="124496"/>
                      <a:pt x="40876" y="124496"/>
                    </a:cubicBezTo>
                    <a:cubicBezTo>
                      <a:pt x="40876" y="124496"/>
                      <a:pt x="37764" y="124496"/>
                      <a:pt x="37764" y="124496"/>
                    </a:cubicBezTo>
                    <a:cubicBezTo>
                      <a:pt x="37764" y="124496"/>
                      <a:pt x="37764" y="124496"/>
                      <a:pt x="37764" y="124496"/>
                    </a:cubicBezTo>
                    <a:cubicBezTo>
                      <a:pt x="34652" y="140058"/>
                      <a:pt x="37764" y="149395"/>
                      <a:pt x="50213" y="161845"/>
                    </a:cubicBezTo>
                    <a:cubicBezTo>
                      <a:pt x="50213" y="161845"/>
                      <a:pt x="53326" y="161845"/>
                      <a:pt x="53326" y="161845"/>
                    </a:cubicBezTo>
                    <a:cubicBezTo>
                      <a:pt x="72000" y="146283"/>
                      <a:pt x="75113" y="127608"/>
                      <a:pt x="68888" y="99597"/>
                    </a:cubicBezTo>
                    <a:cubicBezTo>
                      <a:pt x="68888" y="96484"/>
                      <a:pt x="68888" y="93372"/>
                      <a:pt x="68888" y="90260"/>
                    </a:cubicBezTo>
                    <a:cubicBezTo>
                      <a:pt x="65775" y="74698"/>
                      <a:pt x="62663" y="49798"/>
                      <a:pt x="50213" y="46686"/>
                    </a:cubicBezTo>
                    <a:cubicBezTo>
                      <a:pt x="37764" y="40461"/>
                      <a:pt x="31539" y="46686"/>
                      <a:pt x="28427" y="49798"/>
                    </a:cubicBezTo>
                    <a:cubicBezTo>
                      <a:pt x="6640" y="71585"/>
                      <a:pt x="15977" y="158732"/>
                      <a:pt x="22202" y="174294"/>
                    </a:cubicBezTo>
                    <a:cubicBezTo>
                      <a:pt x="31539" y="192969"/>
                      <a:pt x="50213" y="208531"/>
                      <a:pt x="68888" y="205418"/>
                    </a:cubicBezTo>
                    <a:cubicBezTo>
                      <a:pt x="87562" y="202305"/>
                      <a:pt x="100012" y="171182"/>
                      <a:pt x="103124" y="158732"/>
                    </a:cubicBezTo>
                    <a:cubicBezTo>
                      <a:pt x="118686" y="108934"/>
                      <a:pt x="112461" y="31124"/>
                      <a:pt x="53326" y="9337"/>
                    </a:cubicBezTo>
                    <a:cubicBezTo>
                      <a:pt x="50213" y="9337"/>
                      <a:pt x="50213" y="6225"/>
                      <a:pt x="50213" y="3113"/>
                    </a:cubicBezTo>
                    <a:cubicBezTo>
                      <a:pt x="50213" y="0"/>
                      <a:pt x="53326" y="0"/>
                      <a:pt x="56438" y="0"/>
                    </a:cubicBezTo>
                    <a:cubicBezTo>
                      <a:pt x="115574" y="21787"/>
                      <a:pt x="134248" y="102709"/>
                      <a:pt x="112461" y="161845"/>
                    </a:cubicBezTo>
                    <a:cubicBezTo>
                      <a:pt x="106237" y="180519"/>
                      <a:pt x="93787" y="208531"/>
                      <a:pt x="68888" y="214755"/>
                    </a:cubicBezTo>
                    <a:cubicBezTo>
                      <a:pt x="65775" y="217867"/>
                      <a:pt x="62663" y="217867"/>
                      <a:pt x="59551" y="21786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0403A116-8AE6-457A-A904-A080C4F1EF04}"/>
                </a:ext>
              </a:extLst>
            </p:cNvPr>
            <p:cNvGrpSpPr/>
            <p:nvPr/>
          </p:nvGrpSpPr>
          <p:grpSpPr>
            <a:xfrm>
              <a:off x="7420645" y="12212260"/>
              <a:ext cx="403518" cy="369081"/>
              <a:chOff x="7420645" y="12212260"/>
              <a:chExt cx="403518" cy="369081"/>
            </a:xfrm>
          </p:grpSpPr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DBED1693-7730-4404-A76F-811EC1B903A3}"/>
                  </a:ext>
                </a:extLst>
              </p:cNvPr>
              <p:cNvSpPr/>
              <p:nvPr/>
            </p:nvSpPr>
            <p:spPr>
              <a:xfrm>
                <a:off x="7420645" y="12339869"/>
                <a:ext cx="403518" cy="241473"/>
              </a:xfrm>
              <a:custGeom>
                <a:avLst/>
                <a:gdLst>
                  <a:gd name="connsiteX0" fmla="*/ 293029 w 403518"/>
                  <a:gd name="connsiteY0" fmla="*/ 0 h 241473"/>
                  <a:gd name="connsiteX1" fmla="*/ 131184 w 403518"/>
                  <a:gd name="connsiteY1" fmla="*/ 127608 h 241473"/>
                  <a:gd name="connsiteX2" fmla="*/ 330378 w 403518"/>
                  <a:gd name="connsiteY2" fmla="*/ 77810 h 241473"/>
                  <a:gd name="connsiteX3" fmla="*/ 401962 w 403518"/>
                  <a:gd name="connsiteY3" fmla="*/ 52911 h 241473"/>
                  <a:gd name="connsiteX4" fmla="*/ 395738 w 403518"/>
                  <a:gd name="connsiteY4" fmla="*/ 161845 h 241473"/>
                  <a:gd name="connsiteX5" fmla="*/ 159196 w 403518"/>
                  <a:gd name="connsiteY5" fmla="*/ 236542 h 241473"/>
                  <a:gd name="connsiteX6" fmla="*/ 19139 w 403518"/>
                  <a:gd name="connsiteY6" fmla="*/ 236542 h 241473"/>
                  <a:gd name="connsiteX7" fmla="*/ 12913 w 403518"/>
                  <a:gd name="connsiteY7" fmla="*/ 180519 h 241473"/>
                  <a:gd name="connsiteX8" fmla="*/ 293029 w 403518"/>
                  <a:gd name="connsiteY8" fmla="*/ 0 h 241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3518" h="241473">
                    <a:moveTo>
                      <a:pt x="293029" y="0"/>
                    </a:moveTo>
                    <a:cubicBezTo>
                      <a:pt x="293029" y="0"/>
                      <a:pt x="115623" y="115159"/>
                      <a:pt x="131184" y="127608"/>
                    </a:cubicBezTo>
                    <a:cubicBezTo>
                      <a:pt x="143634" y="143170"/>
                      <a:pt x="330378" y="77810"/>
                      <a:pt x="330378" y="77810"/>
                    </a:cubicBezTo>
                    <a:lnTo>
                      <a:pt x="401962" y="52911"/>
                    </a:lnTo>
                    <a:cubicBezTo>
                      <a:pt x="401962" y="52911"/>
                      <a:pt x="408188" y="136945"/>
                      <a:pt x="395738" y="161845"/>
                    </a:cubicBezTo>
                    <a:cubicBezTo>
                      <a:pt x="321041" y="199193"/>
                      <a:pt x="233894" y="224093"/>
                      <a:pt x="159196" y="236542"/>
                    </a:cubicBezTo>
                    <a:cubicBezTo>
                      <a:pt x="112510" y="245879"/>
                      <a:pt x="28475" y="239655"/>
                      <a:pt x="19139" y="236542"/>
                    </a:cubicBezTo>
                    <a:cubicBezTo>
                      <a:pt x="9801" y="233429"/>
                      <a:pt x="-15098" y="208531"/>
                      <a:pt x="12913" y="180519"/>
                    </a:cubicBezTo>
                    <a:cubicBezTo>
                      <a:pt x="75161" y="115159"/>
                      <a:pt x="293029" y="0"/>
                      <a:pt x="293029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445E9F68-03E3-4701-B13B-B06BDD1CFB13}"/>
                  </a:ext>
                </a:extLst>
              </p:cNvPr>
              <p:cNvSpPr/>
              <p:nvPr/>
            </p:nvSpPr>
            <p:spPr>
              <a:xfrm>
                <a:off x="7550475" y="12212260"/>
                <a:ext cx="272132" cy="259375"/>
              </a:xfrm>
              <a:custGeom>
                <a:avLst/>
                <a:gdLst>
                  <a:gd name="connsiteX0" fmla="*/ 147637 w 272132"/>
                  <a:gd name="connsiteY0" fmla="*/ 0 h 259375"/>
                  <a:gd name="connsiteX1" fmla="*/ 163199 w 272132"/>
                  <a:gd name="connsiteY1" fmla="*/ 127608 h 259375"/>
                  <a:gd name="connsiteX2" fmla="*/ 1355 w 272132"/>
                  <a:gd name="connsiteY2" fmla="*/ 255217 h 259375"/>
                  <a:gd name="connsiteX3" fmla="*/ 244122 w 272132"/>
                  <a:gd name="connsiteY3" fmla="*/ 211643 h 259375"/>
                  <a:gd name="connsiteX4" fmla="*/ 272133 w 272132"/>
                  <a:gd name="connsiteY4" fmla="*/ 180519 h 259375"/>
                  <a:gd name="connsiteX5" fmla="*/ 272133 w 272132"/>
                  <a:gd name="connsiteY5" fmla="*/ 43574 h 259375"/>
                  <a:gd name="connsiteX6" fmla="*/ 147637 w 272132"/>
                  <a:gd name="connsiteY6" fmla="*/ 0 h 259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2132" h="259375">
                    <a:moveTo>
                      <a:pt x="147637" y="0"/>
                    </a:moveTo>
                    <a:lnTo>
                      <a:pt x="163199" y="127608"/>
                    </a:lnTo>
                    <a:cubicBezTo>
                      <a:pt x="163199" y="127608"/>
                      <a:pt x="-17319" y="233429"/>
                      <a:pt x="1355" y="255217"/>
                    </a:cubicBezTo>
                    <a:cubicBezTo>
                      <a:pt x="13805" y="270778"/>
                      <a:pt x="172537" y="239655"/>
                      <a:pt x="244122" y="211643"/>
                    </a:cubicBezTo>
                    <a:cubicBezTo>
                      <a:pt x="269021" y="202305"/>
                      <a:pt x="272133" y="180519"/>
                      <a:pt x="272133" y="180519"/>
                    </a:cubicBezTo>
                    <a:lnTo>
                      <a:pt x="272133" y="43574"/>
                    </a:lnTo>
                    <a:lnTo>
                      <a:pt x="147637" y="0"/>
                    </a:ln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17D1CED9-4BC9-4B96-9087-BBE63CF5A157}"/>
                </a:ext>
              </a:extLst>
            </p:cNvPr>
            <p:cNvGrpSpPr/>
            <p:nvPr/>
          </p:nvGrpSpPr>
          <p:grpSpPr>
            <a:xfrm>
              <a:off x="6695458" y="12212260"/>
              <a:ext cx="403518" cy="369081"/>
              <a:chOff x="6695458" y="12212260"/>
              <a:chExt cx="403518" cy="369081"/>
            </a:xfrm>
          </p:grpSpPr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51DECF5F-6FE1-4A7E-9B91-0042E3CED207}"/>
                  </a:ext>
                </a:extLst>
              </p:cNvPr>
              <p:cNvSpPr/>
              <p:nvPr/>
            </p:nvSpPr>
            <p:spPr>
              <a:xfrm>
                <a:off x="6695458" y="12339869"/>
                <a:ext cx="403518" cy="241473"/>
              </a:xfrm>
              <a:custGeom>
                <a:avLst/>
                <a:gdLst>
                  <a:gd name="connsiteX0" fmla="*/ 293029 w 403518"/>
                  <a:gd name="connsiteY0" fmla="*/ 0 h 241473"/>
                  <a:gd name="connsiteX1" fmla="*/ 131184 w 403518"/>
                  <a:gd name="connsiteY1" fmla="*/ 127608 h 241473"/>
                  <a:gd name="connsiteX2" fmla="*/ 330378 w 403518"/>
                  <a:gd name="connsiteY2" fmla="*/ 77810 h 241473"/>
                  <a:gd name="connsiteX3" fmla="*/ 401963 w 403518"/>
                  <a:gd name="connsiteY3" fmla="*/ 52911 h 241473"/>
                  <a:gd name="connsiteX4" fmla="*/ 395738 w 403518"/>
                  <a:gd name="connsiteY4" fmla="*/ 161845 h 241473"/>
                  <a:gd name="connsiteX5" fmla="*/ 159196 w 403518"/>
                  <a:gd name="connsiteY5" fmla="*/ 236542 h 241473"/>
                  <a:gd name="connsiteX6" fmla="*/ 19139 w 403518"/>
                  <a:gd name="connsiteY6" fmla="*/ 236542 h 241473"/>
                  <a:gd name="connsiteX7" fmla="*/ 12914 w 403518"/>
                  <a:gd name="connsiteY7" fmla="*/ 180519 h 241473"/>
                  <a:gd name="connsiteX8" fmla="*/ 293029 w 403518"/>
                  <a:gd name="connsiteY8" fmla="*/ 0 h 241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3518" h="241473">
                    <a:moveTo>
                      <a:pt x="293029" y="0"/>
                    </a:moveTo>
                    <a:cubicBezTo>
                      <a:pt x="293029" y="0"/>
                      <a:pt x="115622" y="115159"/>
                      <a:pt x="131184" y="127608"/>
                    </a:cubicBezTo>
                    <a:cubicBezTo>
                      <a:pt x="143634" y="143170"/>
                      <a:pt x="330378" y="77810"/>
                      <a:pt x="330378" y="77810"/>
                    </a:cubicBezTo>
                    <a:lnTo>
                      <a:pt x="401963" y="52911"/>
                    </a:lnTo>
                    <a:cubicBezTo>
                      <a:pt x="401963" y="52911"/>
                      <a:pt x="408188" y="136945"/>
                      <a:pt x="395738" y="161845"/>
                    </a:cubicBezTo>
                    <a:cubicBezTo>
                      <a:pt x="321040" y="199193"/>
                      <a:pt x="233893" y="224093"/>
                      <a:pt x="159196" y="236542"/>
                    </a:cubicBezTo>
                    <a:cubicBezTo>
                      <a:pt x="112510" y="245879"/>
                      <a:pt x="28476" y="239655"/>
                      <a:pt x="19139" y="236542"/>
                    </a:cubicBezTo>
                    <a:cubicBezTo>
                      <a:pt x="9801" y="233429"/>
                      <a:pt x="-15098" y="208531"/>
                      <a:pt x="12914" y="180519"/>
                    </a:cubicBezTo>
                    <a:cubicBezTo>
                      <a:pt x="75162" y="115159"/>
                      <a:pt x="293029" y="0"/>
                      <a:pt x="293029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4CAF7F3B-DFC1-483B-A917-4477554BB506}"/>
                  </a:ext>
                </a:extLst>
              </p:cNvPr>
              <p:cNvSpPr/>
              <p:nvPr/>
            </p:nvSpPr>
            <p:spPr>
              <a:xfrm>
                <a:off x="6825287" y="12212260"/>
                <a:ext cx="272133" cy="259375"/>
              </a:xfrm>
              <a:custGeom>
                <a:avLst/>
                <a:gdLst>
                  <a:gd name="connsiteX0" fmla="*/ 147638 w 272133"/>
                  <a:gd name="connsiteY0" fmla="*/ 0 h 259375"/>
                  <a:gd name="connsiteX1" fmla="*/ 163200 w 272133"/>
                  <a:gd name="connsiteY1" fmla="*/ 127608 h 259375"/>
                  <a:gd name="connsiteX2" fmla="*/ 1355 w 272133"/>
                  <a:gd name="connsiteY2" fmla="*/ 255217 h 259375"/>
                  <a:gd name="connsiteX3" fmla="*/ 244122 w 272133"/>
                  <a:gd name="connsiteY3" fmla="*/ 211643 h 259375"/>
                  <a:gd name="connsiteX4" fmla="*/ 272133 w 272133"/>
                  <a:gd name="connsiteY4" fmla="*/ 180519 h 259375"/>
                  <a:gd name="connsiteX5" fmla="*/ 272133 w 272133"/>
                  <a:gd name="connsiteY5" fmla="*/ 43574 h 259375"/>
                  <a:gd name="connsiteX6" fmla="*/ 147638 w 272133"/>
                  <a:gd name="connsiteY6" fmla="*/ 0 h 259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2133" h="259375">
                    <a:moveTo>
                      <a:pt x="147638" y="0"/>
                    </a:moveTo>
                    <a:lnTo>
                      <a:pt x="163200" y="127608"/>
                    </a:lnTo>
                    <a:cubicBezTo>
                      <a:pt x="163200" y="127608"/>
                      <a:pt x="-17319" y="233429"/>
                      <a:pt x="1355" y="255217"/>
                    </a:cubicBezTo>
                    <a:cubicBezTo>
                      <a:pt x="13805" y="270778"/>
                      <a:pt x="172537" y="239655"/>
                      <a:pt x="244122" y="211643"/>
                    </a:cubicBezTo>
                    <a:cubicBezTo>
                      <a:pt x="269021" y="202305"/>
                      <a:pt x="272133" y="180519"/>
                      <a:pt x="272133" y="180519"/>
                    </a:cubicBezTo>
                    <a:lnTo>
                      <a:pt x="272133" y="43574"/>
                    </a:lnTo>
                    <a:lnTo>
                      <a:pt x="147638" y="0"/>
                    </a:ln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ABBCD354-58AD-4959-B123-4AFBBE3CB19F}"/>
                </a:ext>
              </a:extLst>
            </p:cNvPr>
            <p:cNvSpPr/>
            <p:nvPr/>
          </p:nvSpPr>
          <p:spPr>
            <a:xfrm>
              <a:off x="7321478" y="7990555"/>
              <a:ext cx="236413" cy="152278"/>
            </a:xfrm>
            <a:custGeom>
              <a:avLst/>
              <a:gdLst>
                <a:gd name="connsiteX0" fmla="*/ 35 w 236413"/>
                <a:gd name="connsiteY0" fmla="*/ 69775 h 152278"/>
                <a:gd name="connsiteX1" fmla="*/ 121418 w 236413"/>
                <a:gd name="connsiteY1" fmla="*/ 1302 h 152278"/>
                <a:gd name="connsiteX2" fmla="*/ 230352 w 236413"/>
                <a:gd name="connsiteY2" fmla="*/ 125798 h 152278"/>
                <a:gd name="connsiteX3" fmla="*/ 35 w 236413"/>
                <a:gd name="connsiteY3" fmla="*/ 69775 h 152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413" h="152278">
                  <a:moveTo>
                    <a:pt x="35" y="69775"/>
                  </a:moveTo>
                  <a:cubicBezTo>
                    <a:pt x="35" y="69775"/>
                    <a:pt x="24934" y="-11147"/>
                    <a:pt x="121418" y="1302"/>
                  </a:cubicBezTo>
                  <a:cubicBezTo>
                    <a:pt x="183666" y="10639"/>
                    <a:pt x="258364" y="57325"/>
                    <a:pt x="230352" y="125798"/>
                  </a:cubicBezTo>
                  <a:cubicBezTo>
                    <a:pt x="202340" y="194270"/>
                    <a:pt x="-3078" y="113348"/>
                    <a:pt x="35" y="69775"/>
                  </a:cubicBezTo>
                  <a:close/>
                </a:path>
              </a:pathLst>
            </a:custGeom>
            <a:solidFill>
              <a:srgbClr val="F1DDBA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B4E83D17-F715-4F34-832E-C749E628CF5F}"/>
                </a:ext>
              </a:extLst>
            </p:cNvPr>
            <p:cNvSpPr/>
            <p:nvPr/>
          </p:nvSpPr>
          <p:spPr>
            <a:xfrm>
              <a:off x="6867022" y="8913927"/>
              <a:ext cx="244862" cy="752078"/>
            </a:xfrm>
            <a:custGeom>
              <a:avLst/>
              <a:gdLst>
                <a:gd name="connsiteX0" fmla="*/ 208611 w 244862"/>
                <a:gd name="connsiteY0" fmla="*/ 304213 h 752078"/>
                <a:gd name="connsiteX1" fmla="*/ 211724 w 244862"/>
                <a:gd name="connsiteY1" fmla="*/ 5423 h 752078"/>
                <a:gd name="connsiteX2" fmla="*/ 18756 w 244862"/>
                <a:gd name="connsiteY2" fmla="*/ 238853 h 752078"/>
                <a:gd name="connsiteX3" fmla="*/ 81 w 244862"/>
                <a:gd name="connsiteY3" fmla="*/ 624789 h 752078"/>
                <a:gd name="connsiteX4" fmla="*/ 168150 w 244862"/>
                <a:gd name="connsiteY4" fmla="*/ 708824 h 752078"/>
                <a:gd name="connsiteX5" fmla="*/ 208611 w 244862"/>
                <a:gd name="connsiteY5" fmla="*/ 304213 h 752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4862" h="752078">
                  <a:moveTo>
                    <a:pt x="208611" y="304213"/>
                  </a:moveTo>
                  <a:cubicBezTo>
                    <a:pt x="205499" y="117470"/>
                    <a:pt x="289534" y="33435"/>
                    <a:pt x="211724" y="5423"/>
                  </a:cubicBezTo>
                  <a:cubicBezTo>
                    <a:pt x="124577" y="-28813"/>
                    <a:pt x="40542" y="105020"/>
                    <a:pt x="18756" y="238853"/>
                  </a:cubicBezTo>
                  <a:cubicBezTo>
                    <a:pt x="3194" y="341562"/>
                    <a:pt x="81" y="624789"/>
                    <a:pt x="81" y="624789"/>
                  </a:cubicBezTo>
                  <a:cubicBezTo>
                    <a:pt x="-3031" y="730611"/>
                    <a:pt x="84115" y="802196"/>
                    <a:pt x="168150" y="708824"/>
                  </a:cubicBezTo>
                  <a:cubicBezTo>
                    <a:pt x="249072" y="618564"/>
                    <a:pt x="211724" y="494069"/>
                    <a:pt x="208611" y="304213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C741EC9E-2A95-4550-86F5-40CFC3BCD6FB}"/>
                </a:ext>
              </a:extLst>
            </p:cNvPr>
            <p:cNvSpPr/>
            <p:nvPr/>
          </p:nvSpPr>
          <p:spPr>
            <a:xfrm>
              <a:off x="6811080" y="8797054"/>
              <a:ext cx="393476" cy="443041"/>
            </a:xfrm>
            <a:custGeom>
              <a:avLst/>
              <a:gdLst>
                <a:gd name="connsiteX0" fmla="*/ 364150 w 393476"/>
                <a:gd name="connsiteY0" fmla="*/ 442873 h 443041"/>
                <a:gd name="connsiteX1" fmla="*/ 323689 w 393476"/>
                <a:gd name="connsiteY1" fmla="*/ 7138 h 443041"/>
                <a:gd name="connsiteX2" fmla="*/ 0 w 393476"/>
                <a:gd name="connsiteY2" fmla="*/ 352613 h 443041"/>
                <a:gd name="connsiteX3" fmla="*/ 364150 w 393476"/>
                <a:gd name="connsiteY3" fmla="*/ 442873 h 443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476" h="443041">
                  <a:moveTo>
                    <a:pt x="364150" y="442873"/>
                  </a:moveTo>
                  <a:cubicBezTo>
                    <a:pt x="417061" y="262354"/>
                    <a:pt x="395274" y="44487"/>
                    <a:pt x="323689" y="7138"/>
                  </a:cubicBezTo>
                  <a:cubicBezTo>
                    <a:pt x="230317" y="-42660"/>
                    <a:pt x="46686" y="178320"/>
                    <a:pt x="0" y="352613"/>
                  </a:cubicBezTo>
                  <a:cubicBezTo>
                    <a:pt x="56023" y="405524"/>
                    <a:pt x="258329" y="445985"/>
                    <a:pt x="364150" y="442873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156211DD-3ED7-4573-AC0B-CCC75171761F}"/>
                </a:ext>
              </a:extLst>
            </p:cNvPr>
            <p:cNvSpPr/>
            <p:nvPr/>
          </p:nvSpPr>
          <p:spPr>
            <a:xfrm>
              <a:off x="6918203" y="9706785"/>
              <a:ext cx="942505" cy="2577060"/>
            </a:xfrm>
            <a:custGeom>
              <a:avLst/>
              <a:gdLst>
                <a:gd name="connsiteX0" fmla="*/ 807921 w 942505"/>
                <a:gd name="connsiteY0" fmla="*/ 0 h 2577060"/>
                <a:gd name="connsiteX1" fmla="*/ 126307 w 942505"/>
                <a:gd name="connsiteY1" fmla="*/ 0 h 2577060"/>
                <a:gd name="connsiteX2" fmla="*/ 4924 w 942505"/>
                <a:gd name="connsiteY2" fmla="*/ 469971 h 2577060"/>
                <a:gd name="connsiteX3" fmla="*/ 26711 w 942505"/>
                <a:gd name="connsiteY3" fmla="*/ 2577061 h 2577060"/>
                <a:gd name="connsiteX4" fmla="*/ 210342 w 942505"/>
                <a:gd name="connsiteY4" fmla="*/ 2577061 h 2577060"/>
                <a:gd name="connsiteX5" fmla="*/ 431322 w 942505"/>
                <a:gd name="connsiteY5" fmla="*/ 883920 h 2577060"/>
                <a:gd name="connsiteX6" fmla="*/ 739449 w 942505"/>
                <a:gd name="connsiteY6" fmla="*/ 2567723 h 2577060"/>
                <a:gd name="connsiteX7" fmla="*/ 938642 w 942505"/>
                <a:gd name="connsiteY7" fmla="*/ 2567723 h 2577060"/>
                <a:gd name="connsiteX8" fmla="*/ 941754 w 942505"/>
                <a:gd name="connsiteY8" fmla="*/ 429510 h 2577060"/>
                <a:gd name="connsiteX9" fmla="*/ 807921 w 942505"/>
                <a:gd name="connsiteY9" fmla="*/ 0 h 2577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2505" h="2577060">
                  <a:moveTo>
                    <a:pt x="807921" y="0"/>
                  </a:moveTo>
                  <a:lnTo>
                    <a:pt x="126307" y="0"/>
                  </a:lnTo>
                  <a:cubicBezTo>
                    <a:pt x="126307" y="0"/>
                    <a:pt x="26711" y="311239"/>
                    <a:pt x="4924" y="469971"/>
                  </a:cubicBezTo>
                  <a:cubicBezTo>
                    <a:pt x="-13751" y="625591"/>
                    <a:pt x="26711" y="2577061"/>
                    <a:pt x="26711" y="2577061"/>
                  </a:cubicBezTo>
                  <a:lnTo>
                    <a:pt x="210342" y="2577061"/>
                  </a:lnTo>
                  <a:lnTo>
                    <a:pt x="431322" y="883920"/>
                  </a:lnTo>
                  <a:lnTo>
                    <a:pt x="739449" y="2567723"/>
                  </a:lnTo>
                  <a:lnTo>
                    <a:pt x="938642" y="2567723"/>
                  </a:lnTo>
                  <a:cubicBezTo>
                    <a:pt x="938642" y="2567723"/>
                    <a:pt x="932417" y="550893"/>
                    <a:pt x="941754" y="429510"/>
                  </a:cubicBezTo>
                  <a:cubicBezTo>
                    <a:pt x="954204" y="301902"/>
                    <a:pt x="807921" y="0"/>
                    <a:pt x="807921" y="0"/>
                  </a:cubicBezTo>
                  <a:close/>
                </a:path>
              </a:pathLst>
            </a:custGeom>
            <a:solidFill>
              <a:srgbClr val="F1DDBA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91B96D00-34B5-4AEA-B90C-87670135B435}"/>
                </a:ext>
              </a:extLst>
            </p:cNvPr>
            <p:cNvSpPr/>
            <p:nvPr/>
          </p:nvSpPr>
          <p:spPr>
            <a:xfrm>
              <a:off x="7022723" y="9750359"/>
              <a:ext cx="734524" cy="12449"/>
            </a:xfrm>
            <a:custGeom>
              <a:avLst/>
              <a:gdLst>
                <a:gd name="connsiteX0" fmla="*/ 728300 w 734524"/>
                <a:gd name="connsiteY0" fmla="*/ 12449 h 12449"/>
                <a:gd name="connsiteX1" fmla="*/ 6225 w 734524"/>
                <a:gd name="connsiteY1" fmla="*/ 12449 h 12449"/>
                <a:gd name="connsiteX2" fmla="*/ 0 w 734524"/>
                <a:gd name="connsiteY2" fmla="*/ 6224 h 12449"/>
                <a:gd name="connsiteX3" fmla="*/ 6225 w 734524"/>
                <a:gd name="connsiteY3" fmla="*/ 0 h 12449"/>
                <a:gd name="connsiteX4" fmla="*/ 728300 w 734524"/>
                <a:gd name="connsiteY4" fmla="*/ 0 h 12449"/>
                <a:gd name="connsiteX5" fmla="*/ 734525 w 734524"/>
                <a:gd name="connsiteY5" fmla="*/ 6224 h 12449"/>
                <a:gd name="connsiteX6" fmla="*/ 728300 w 734524"/>
                <a:gd name="connsiteY6" fmla="*/ 12449 h 12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524" h="12449">
                  <a:moveTo>
                    <a:pt x="728300" y="12449"/>
                  </a:moveTo>
                  <a:lnTo>
                    <a:pt x="6225" y="12449"/>
                  </a:lnTo>
                  <a:cubicBezTo>
                    <a:pt x="3113" y="12449"/>
                    <a:pt x="0" y="9337"/>
                    <a:pt x="0" y="6224"/>
                  </a:cubicBezTo>
                  <a:cubicBezTo>
                    <a:pt x="0" y="3112"/>
                    <a:pt x="3113" y="0"/>
                    <a:pt x="6225" y="0"/>
                  </a:cubicBezTo>
                  <a:lnTo>
                    <a:pt x="728300" y="0"/>
                  </a:lnTo>
                  <a:cubicBezTo>
                    <a:pt x="731412" y="0"/>
                    <a:pt x="734525" y="3112"/>
                    <a:pt x="734525" y="6224"/>
                  </a:cubicBezTo>
                  <a:cubicBezTo>
                    <a:pt x="734525" y="12449"/>
                    <a:pt x="731412" y="12449"/>
                    <a:pt x="728300" y="12449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D16FB176-CBCD-4018-869D-273BA6F2B611}"/>
                </a:ext>
              </a:extLst>
            </p:cNvPr>
            <p:cNvSpPr/>
            <p:nvPr/>
          </p:nvSpPr>
          <p:spPr>
            <a:xfrm>
              <a:off x="7346412" y="10105171"/>
              <a:ext cx="320575" cy="2172449"/>
            </a:xfrm>
            <a:custGeom>
              <a:avLst/>
              <a:gdLst>
                <a:gd name="connsiteX0" fmla="*/ 314351 w 320575"/>
                <a:gd name="connsiteY0" fmla="*/ 2172449 h 2172449"/>
                <a:gd name="connsiteX1" fmla="*/ 308127 w 320575"/>
                <a:gd name="connsiteY1" fmla="*/ 2169337 h 2172449"/>
                <a:gd name="connsiteX2" fmla="*/ 0 w 320575"/>
                <a:gd name="connsiteY2" fmla="*/ 485533 h 2172449"/>
                <a:gd name="connsiteX3" fmla="*/ 0 w 320575"/>
                <a:gd name="connsiteY3" fmla="*/ 6224 h 2172449"/>
                <a:gd name="connsiteX4" fmla="*/ 6225 w 320575"/>
                <a:gd name="connsiteY4" fmla="*/ 0 h 2172449"/>
                <a:gd name="connsiteX5" fmla="*/ 12449 w 320575"/>
                <a:gd name="connsiteY5" fmla="*/ 6224 h 2172449"/>
                <a:gd name="connsiteX6" fmla="*/ 12449 w 320575"/>
                <a:gd name="connsiteY6" fmla="*/ 485533 h 2172449"/>
                <a:gd name="connsiteX7" fmla="*/ 320576 w 320575"/>
                <a:gd name="connsiteY7" fmla="*/ 2169337 h 2172449"/>
                <a:gd name="connsiteX8" fmla="*/ 314351 w 320575"/>
                <a:gd name="connsiteY8" fmla="*/ 2172449 h 2172449"/>
                <a:gd name="connsiteX9" fmla="*/ 314351 w 320575"/>
                <a:gd name="connsiteY9" fmla="*/ 2172449 h 2172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0575" h="2172449">
                  <a:moveTo>
                    <a:pt x="314351" y="2172449"/>
                  </a:moveTo>
                  <a:cubicBezTo>
                    <a:pt x="311239" y="2172449"/>
                    <a:pt x="308127" y="2169337"/>
                    <a:pt x="308127" y="2169337"/>
                  </a:cubicBezTo>
                  <a:lnTo>
                    <a:pt x="0" y="485533"/>
                  </a:lnTo>
                  <a:lnTo>
                    <a:pt x="0" y="6224"/>
                  </a:lnTo>
                  <a:cubicBezTo>
                    <a:pt x="0" y="3113"/>
                    <a:pt x="3112" y="0"/>
                    <a:pt x="6225" y="0"/>
                  </a:cubicBezTo>
                  <a:cubicBezTo>
                    <a:pt x="9337" y="0"/>
                    <a:pt x="12449" y="3113"/>
                    <a:pt x="12449" y="6224"/>
                  </a:cubicBezTo>
                  <a:lnTo>
                    <a:pt x="12449" y="485533"/>
                  </a:lnTo>
                  <a:lnTo>
                    <a:pt x="320576" y="2169337"/>
                  </a:lnTo>
                  <a:cubicBezTo>
                    <a:pt x="320576" y="2169337"/>
                    <a:pt x="317464" y="2172449"/>
                    <a:pt x="314351" y="2172449"/>
                  </a:cubicBezTo>
                  <a:cubicBezTo>
                    <a:pt x="314351" y="2172449"/>
                    <a:pt x="314351" y="2172449"/>
                    <a:pt x="314351" y="2172449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27211F52-BF80-4451-8093-B109353607C9}"/>
                </a:ext>
              </a:extLst>
            </p:cNvPr>
            <p:cNvSpPr/>
            <p:nvPr/>
          </p:nvSpPr>
          <p:spPr>
            <a:xfrm>
              <a:off x="6952269" y="8731161"/>
              <a:ext cx="837701" cy="1006839"/>
            </a:xfrm>
            <a:custGeom>
              <a:avLst/>
              <a:gdLst>
                <a:gd name="connsiteX0" fmla="*/ 792529 w 837701"/>
                <a:gd name="connsiteY0" fmla="*/ 399831 h 1006839"/>
                <a:gd name="connsiteX1" fmla="*/ 776967 w 837701"/>
                <a:gd name="connsiteY1" fmla="*/ 69918 h 1006839"/>
                <a:gd name="connsiteX2" fmla="*/ 400368 w 837701"/>
                <a:gd name="connsiteY2" fmla="*/ 4558 h 1006839"/>
                <a:gd name="connsiteX3" fmla="*/ 92241 w 837701"/>
                <a:gd name="connsiteY3" fmla="*/ 107266 h 1006839"/>
                <a:gd name="connsiteX4" fmla="*/ 51780 w 837701"/>
                <a:gd name="connsiteY4" fmla="*/ 667497 h 1006839"/>
                <a:gd name="connsiteX5" fmla="*/ 95354 w 837701"/>
                <a:gd name="connsiteY5" fmla="*/ 1000523 h 1006839"/>
                <a:gd name="connsiteX6" fmla="*/ 786305 w 837701"/>
                <a:gd name="connsiteY6" fmla="*/ 984961 h 1006839"/>
                <a:gd name="connsiteX7" fmla="*/ 792529 w 837701"/>
                <a:gd name="connsiteY7" fmla="*/ 399831 h 1006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7701" h="1006839">
                  <a:moveTo>
                    <a:pt x="792529" y="399831"/>
                  </a:moveTo>
                  <a:cubicBezTo>
                    <a:pt x="801866" y="368708"/>
                    <a:pt x="898351" y="135278"/>
                    <a:pt x="776967" y="69918"/>
                  </a:cubicBezTo>
                  <a:cubicBezTo>
                    <a:pt x="671146" y="13895"/>
                    <a:pt x="521751" y="-11004"/>
                    <a:pt x="400368" y="4558"/>
                  </a:cubicBezTo>
                  <a:cubicBezTo>
                    <a:pt x="266535" y="20120"/>
                    <a:pt x="132702" y="41906"/>
                    <a:pt x="92241" y="107266"/>
                  </a:cubicBezTo>
                  <a:cubicBezTo>
                    <a:pt x="-22917" y="297122"/>
                    <a:pt x="-22917" y="465191"/>
                    <a:pt x="51780" y="667497"/>
                  </a:cubicBezTo>
                  <a:cubicBezTo>
                    <a:pt x="73567" y="726633"/>
                    <a:pt x="79792" y="863578"/>
                    <a:pt x="95354" y="1000523"/>
                  </a:cubicBezTo>
                  <a:cubicBezTo>
                    <a:pt x="95354" y="1000523"/>
                    <a:pt x="384806" y="1022309"/>
                    <a:pt x="786305" y="984961"/>
                  </a:cubicBezTo>
                  <a:cubicBezTo>
                    <a:pt x="755181" y="760869"/>
                    <a:pt x="783192" y="424731"/>
                    <a:pt x="792529" y="399831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74DCCB17-118E-4701-A88E-F5BFDF1C1517}"/>
                </a:ext>
              </a:extLst>
            </p:cNvPr>
            <p:cNvSpPr/>
            <p:nvPr/>
          </p:nvSpPr>
          <p:spPr>
            <a:xfrm>
              <a:off x="7114619" y="8044119"/>
              <a:ext cx="331728" cy="611354"/>
            </a:xfrm>
            <a:custGeom>
              <a:avLst/>
              <a:gdLst>
                <a:gd name="connsiteX0" fmla="*/ 241130 w 331728"/>
                <a:gd name="connsiteY0" fmla="*/ 308776 h 611354"/>
                <a:gd name="connsiteX1" fmla="*/ 290928 w 331728"/>
                <a:gd name="connsiteY1" fmla="*/ 162494 h 611354"/>
                <a:gd name="connsiteX2" fmla="*/ 331390 w 331728"/>
                <a:gd name="connsiteY2" fmla="*/ 9986 h 611354"/>
                <a:gd name="connsiteX3" fmla="*/ 10813 w 331728"/>
                <a:gd name="connsiteY3" fmla="*/ 187392 h 611354"/>
                <a:gd name="connsiteX4" fmla="*/ 191332 w 331728"/>
                <a:gd name="connsiteY4" fmla="*/ 529755 h 611354"/>
                <a:gd name="connsiteX5" fmla="*/ 290928 w 331728"/>
                <a:gd name="connsiteY5" fmla="*/ 582667 h 611354"/>
                <a:gd name="connsiteX6" fmla="*/ 241130 w 331728"/>
                <a:gd name="connsiteY6" fmla="*/ 308776 h 611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1728" h="611354">
                  <a:moveTo>
                    <a:pt x="241130" y="308776"/>
                  </a:moveTo>
                  <a:cubicBezTo>
                    <a:pt x="250467" y="255865"/>
                    <a:pt x="266029" y="209179"/>
                    <a:pt x="290928" y="162494"/>
                  </a:cubicBezTo>
                  <a:cubicBezTo>
                    <a:pt x="315828" y="112695"/>
                    <a:pt x="334502" y="9986"/>
                    <a:pt x="331390" y="9986"/>
                  </a:cubicBezTo>
                  <a:cubicBezTo>
                    <a:pt x="216231" y="-30475"/>
                    <a:pt x="45050" y="56672"/>
                    <a:pt x="10813" y="187392"/>
                  </a:cubicBezTo>
                  <a:cubicBezTo>
                    <a:pt x="-4749" y="252753"/>
                    <a:pt x="-35873" y="445721"/>
                    <a:pt x="191332" y="529755"/>
                  </a:cubicBezTo>
                  <a:cubicBezTo>
                    <a:pt x="290928" y="613790"/>
                    <a:pt x="278479" y="635577"/>
                    <a:pt x="290928" y="582667"/>
                  </a:cubicBezTo>
                  <a:cubicBezTo>
                    <a:pt x="297153" y="535981"/>
                    <a:pt x="231793" y="361686"/>
                    <a:pt x="241130" y="308776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41353853-9899-46A9-9015-2047A08498EF}"/>
                </a:ext>
              </a:extLst>
            </p:cNvPr>
            <p:cNvSpPr/>
            <p:nvPr/>
          </p:nvSpPr>
          <p:spPr>
            <a:xfrm>
              <a:off x="7182662" y="8081229"/>
              <a:ext cx="431415" cy="580118"/>
            </a:xfrm>
            <a:custGeom>
              <a:avLst/>
              <a:gdLst>
                <a:gd name="connsiteX0" fmla="*/ 8130 w 431415"/>
                <a:gd name="connsiteY0" fmla="*/ 187631 h 580118"/>
                <a:gd name="connsiteX1" fmla="*/ 20580 w 431415"/>
                <a:gd name="connsiteY1" fmla="*/ 449072 h 580118"/>
                <a:gd name="connsiteX2" fmla="*/ 173087 w 431415"/>
                <a:gd name="connsiteY2" fmla="*/ 579792 h 580118"/>
                <a:gd name="connsiteX3" fmla="*/ 394067 w 431415"/>
                <a:gd name="connsiteY3" fmla="*/ 433510 h 580118"/>
                <a:gd name="connsiteX4" fmla="*/ 431415 w 431415"/>
                <a:gd name="connsiteY4" fmla="*/ 203193 h 580118"/>
                <a:gd name="connsiteX5" fmla="*/ 213548 w 431415"/>
                <a:gd name="connsiteY5" fmla="*/ 887 h 580118"/>
                <a:gd name="connsiteX6" fmla="*/ 8130 w 431415"/>
                <a:gd name="connsiteY6" fmla="*/ 187631 h 580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1415" h="580118">
                  <a:moveTo>
                    <a:pt x="8130" y="187631"/>
                  </a:moveTo>
                  <a:cubicBezTo>
                    <a:pt x="8130" y="187631"/>
                    <a:pt x="-16769" y="380599"/>
                    <a:pt x="20580" y="449072"/>
                  </a:cubicBezTo>
                  <a:cubicBezTo>
                    <a:pt x="57928" y="517544"/>
                    <a:pt x="120176" y="576680"/>
                    <a:pt x="173087" y="579792"/>
                  </a:cubicBezTo>
                  <a:cubicBezTo>
                    <a:pt x="241560" y="586017"/>
                    <a:pt x="356718" y="501982"/>
                    <a:pt x="394067" y="433510"/>
                  </a:cubicBezTo>
                  <a:cubicBezTo>
                    <a:pt x="431415" y="365037"/>
                    <a:pt x="431415" y="256103"/>
                    <a:pt x="431415" y="203193"/>
                  </a:cubicBezTo>
                  <a:cubicBezTo>
                    <a:pt x="428303" y="106708"/>
                    <a:pt x="400292" y="25786"/>
                    <a:pt x="213548" y="887"/>
                  </a:cubicBezTo>
                  <a:cubicBezTo>
                    <a:pt x="126401" y="-11563"/>
                    <a:pt x="29917" y="109821"/>
                    <a:pt x="8130" y="187631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EE2D675A-6AA8-4B48-9CC9-CB7485A98B22}"/>
                </a:ext>
              </a:extLst>
            </p:cNvPr>
            <p:cNvSpPr/>
            <p:nvPr/>
          </p:nvSpPr>
          <p:spPr>
            <a:xfrm>
              <a:off x="7321513" y="8357830"/>
              <a:ext cx="56023" cy="135122"/>
            </a:xfrm>
            <a:custGeom>
              <a:avLst/>
              <a:gdLst>
                <a:gd name="connsiteX0" fmla="*/ 31124 w 56023"/>
                <a:gd name="connsiteY0" fmla="*/ 135122 h 135122"/>
                <a:gd name="connsiteX1" fmla="*/ 6225 w 56023"/>
                <a:gd name="connsiteY1" fmla="*/ 128898 h 135122"/>
                <a:gd name="connsiteX2" fmla="*/ 0 w 56023"/>
                <a:gd name="connsiteY2" fmla="*/ 116448 h 135122"/>
                <a:gd name="connsiteX3" fmla="*/ 28011 w 56023"/>
                <a:gd name="connsiteY3" fmla="*/ 4402 h 135122"/>
                <a:gd name="connsiteX4" fmla="*/ 34236 w 56023"/>
                <a:gd name="connsiteY4" fmla="*/ 1289 h 135122"/>
                <a:gd name="connsiteX5" fmla="*/ 37349 w 56023"/>
                <a:gd name="connsiteY5" fmla="*/ 7514 h 135122"/>
                <a:gd name="connsiteX6" fmla="*/ 9337 w 56023"/>
                <a:gd name="connsiteY6" fmla="*/ 116448 h 135122"/>
                <a:gd name="connsiteX7" fmla="*/ 9337 w 56023"/>
                <a:gd name="connsiteY7" fmla="*/ 119560 h 135122"/>
                <a:gd name="connsiteX8" fmla="*/ 49798 w 56023"/>
                <a:gd name="connsiteY8" fmla="*/ 119560 h 135122"/>
                <a:gd name="connsiteX9" fmla="*/ 56023 w 56023"/>
                <a:gd name="connsiteY9" fmla="*/ 125785 h 135122"/>
                <a:gd name="connsiteX10" fmla="*/ 49798 w 56023"/>
                <a:gd name="connsiteY10" fmla="*/ 132010 h 135122"/>
                <a:gd name="connsiteX11" fmla="*/ 31124 w 56023"/>
                <a:gd name="connsiteY11" fmla="*/ 135122 h 135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023" h="135122">
                  <a:moveTo>
                    <a:pt x="31124" y="135122"/>
                  </a:moveTo>
                  <a:cubicBezTo>
                    <a:pt x="21787" y="135122"/>
                    <a:pt x="12449" y="135122"/>
                    <a:pt x="6225" y="128898"/>
                  </a:cubicBezTo>
                  <a:cubicBezTo>
                    <a:pt x="3112" y="125785"/>
                    <a:pt x="0" y="122672"/>
                    <a:pt x="0" y="116448"/>
                  </a:cubicBezTo>
                  <a:cubicBezTo>
                    <a:pt x="0" y="94661"/>
                    <a:pt x="28011" y="7514"/>
                    <a:pt x="28011" y="4402"/>
                  </a:cubicBezTo>
                  <a:cubicBezTo>
                    <a:pt x="28011" y="1289"/>
                    <a:pt x="31124" y="-1823"/>
                    <a:pt x="34236" y="1289"/>
                  </a:cubicBezTo>
                  <a:cubicBezTo>
                    <a:pt x="37349" y="1289"/>
                    <a:pt x="40461" y="4402"/>
                    <a:pt x="37349" y="7514"/>
                  </a:cubicBezTo>
                  <a:cubicBezTo>
                    <a:pt x="31124" y="32413"/>
                    <a:pt x="9337" y="97774"/>
                    <a:pt x="9337" y="116448"/>
                  </a:cubicBezTo>
                  <a:cubicBezTo>
                    <a:pt x="9337" y="116448"/>
                    <a:pt x="9337" y="119560"/>
                    <a:pt x="9337" y="119560"/>
                  </a:cubicBezTo>
                  <a:cubicBezTo>
                    <a:pt x="15562" y="125785"/>
                    <a:pt x="37349" y="122672"/>
                    <a:pt x="49798" y="119560"/>
                  </a:cubicBezTo>
                  <a:cubicBezTo>
                    <a:pt x="52911" y="119560"/>
                    <a:pt x="56023" y="119560"/>
                    <a:pt x="56023" y="125785"/>
                  </a:cubicBezTo>
                  <a:cubicBezTo>
                    <a:pt x="56023" y="128898"/>
                    <a:pt x="56023" y="132010"/>
                    <a:pt x="49798" y="132010"/>
                  </a:cubicBezTo>
                  <a:cubicBezTo>
                    <a:pt x="52911" y="132010"/>
                    <a:pt x="43573" y="135122"/>
                    <a:pt x="31124" y="135122"/>
                  </a:cubicBezTo>
                  <a:close/>
                </a:path>
              </a:pathLst>
            </a:custGeom>
            <a:solidFill>
              <a:srgbClr val="E58777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EBB22E0A-D1ED-497F-AD07-2421FBC8E7B1}"/>
                </a:ext>
              </a:extLst>
            </p:cNvPr>
            <p:cNvSpPr/>
            <p:nvPr/>
          </p:nvSpPr>
          <p:spPr>
            <a:xfrm>
              <a:off x="7302838" y="8542750"/>
              <a:ext cx="108933" cy="56023"/>
            </a:xfrm>
            <a:custGeom>
              <a:avLst/>
              <a:gdLst>
                <a:gd name="connsiteX0" fmla="*/ 108934 w 108933"/>
                <a:gd name="connsiteY0" fmla="*/ 0 h 56023"/>
                <a:gd name="connsiteX1" fmla="*/ 0 w 108933"/>
                <a:gd name="connsiteY1" fmla="*/ 0 h 56023"/>
                <a:gd name="connsiteX2" fmla="*/ 52911 w 108933"/>
                <a:gd name="connsiteY2" fmla="*/ 56023 h 56023"/>
                <a:gd name="connsiteX3" fmla="*/ 108934 w 108933"/>
                <a:gd name="connsiteY3" fmla="*/ 0 h 56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933" h="56023">
                  <a:moveTo>
                    <a:pt x="108934" y="0"/>
                  </a:moveTo>
                  <a:cubicBezTo>
                    <a:pt x="52911" y="24899"/>
                    <a:pt x="0" y="0"/>
                    <a:pt x="0" y="0"/>
                  </a:cubicBezTo>
                  <a:cubicBezTo>
                    <a:pt x="0" y="0"/>
                    <a:pt x="15562" y="56023"/>
                    <a:pt x="52911" y="56023"/>
                  </a:cubicBezTo>
                  <a:cubicBezTo>
                    <a:pt x="96484" y="56023"/>
                    <a:pt x="108934" y="0"/>
                    <a:pt x="108934" y="0"/>
                  </a:cubicBezTo>
                  <a:close/>
                </a:path>
              </a:pathLst>
            </a:custGeom>
            <a:solidFill>
              <a:srgbClr val="FFFFFF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7E58269E-00ED-4C51-B32A-EAB5517C89DA}"/>
                </a:ext>
              </a:extLst>
            </p:cNvPr>
            <p:cNvSpPr/>
            <p:nvPr/>
          </p:nvSpPr>
          <p:spPr>
            <a:xfrm>
              <a:off x="7249134" y="8327202"/>
              <a:ext cx="41864" cy="42047"/>
            </a:xfrm>
            <a:custGeom>
              <a:avLst/>
              <a:gdLst>
                <a:gd name="connsiteX0" fmla="*/ 41254 w 41864"/>
                <a:gd name="connsiteY0" fmla="*/ 25692 h 42047"/>
                <a:gd name="connsiteX1" fmla="*/ 16355 w 41864"/>
                <a:gd name="connsiteY1" fmla="*/ 41254 h 42047"/>
                <a:gd name="connsiteX2" fmla="*/ 793 w 41864"/>
                <a:gd name="connsiteY2" fmla="*/ 16355 h 42047"/>
                <a:gd name="connsiteX3" fmla="*/ 25692 w 41864"/>
                <a:gd name="connsiteY3" fmla="*/ 793 h 42047"/>
                <a:gd name="connsiteX4" fmla="*/ 41254 w 41864"/>
                <a:gd name="connsiteY4" fmla="*/ 25692 h 42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864" h="42047">
                  <a:moveTo>
                    <a:pt x="41254" y="25692"/>
                  </a:moveTo>
                  <a:cubicBezTo>
                    <a:pt x="38142" y="38142"/>
                    <a:pt x="28805" y="44366"/>
                    <a:pt x="16355" y="41254"/>
                  </a:cubicBezTo>
                  <a:cubicBezTo>
                    <a:pt x="3906" y="38142"/>
                    <a:pt x="-2319" y="28805"/>
                    <a:pt x="793" y="16355"/>
                  </a:cubicBezTo>
                  <a:cubicBezTo>
                    <a:pt x="3906" y="3906"/>
                    <a:pt x="13243" y="-2319"/>
                    <a:pt x="25692" y="793"/>
                  </a:cubicBezTo>
                  <a:cubicBezTo>
                    <a:pt x="35030" y="3906"/>
                    <a:pt x="44366" y="16355"/>
                    <a:pt x="41254" y="25692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06874143-C2C6-4E78-8D75-0D2ADD900ABD}"/>
                </a:ext>
              </a:extLst>
            </p:cNvPr>
            <p:cNvSpPr/>
            <p:nvPr/>
          </p:nvSpPr>
          <p:spPr>
            <a:xfrm>
              <a:off x="7442285" y="8336540"/>
              <a:ext cx="41864" cy="41864"/>
            </a:xfrm>
            <a:custGeom>
              <a:avLst/>
              <a:gdLst>
                <a:gd name="connsiteX0" fmla="*/ 41072 w 41864"/>
                <a:gd name="connsiteY0" fmla="*/ 25692 h 41864"/>
                <a:gd name="connsiteX1" fmla="*/ 16172 w 41864"/>
                <a:gd name="connsiteY1" fmla="*/ 41254 h 41864"/>
                <a:gd name="connsiteX2" fmla="*/ 610 w 41864"/>
                <a:gd name="connsiteY2" fmla="*/ 16355 h 41864"/>
                <a:gd name="connsiteX3" fmla="*/ 25510 w 41864"/>
                <a:gd name="connsiteY3" fmla="*/ 793 h 41864"/>
                <a:gd name="connsiteX4" fmla="*/ 41072 w 41864"/>
                <a:gd name="connsiteY4" fmla="*/ 25692 h 4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864" h="41864">
                  <a:moveTo>
                    <a:pt x="41072" y="25692"/>
                  </a:moveTo>
                  <a:cubicBezTo>
                    <a:pt x="37959" y="35029"/>
                    <a:pt x="28622" y="44367"/>
                    <a:pt x="16172" y="41254"/>
                  </a:cubicBezTo>
                  <a:cubicBezTo>
                    <a:pt x="6835" y="38142"/>
                    <a:pt x="-2502" y="28805"/>
                    <a:pt x="610" y="16355"/>
                  </a:cubicBezTo>
                  <a:cubicBezTo>
                    <a:pt x="3723" y="3905"/>
                    <a:pt x="13060" y="-2319"/>
                    <a:pt x="25510" y="793"/>
                  </a:cubicBezTo>
                  <a:cubicBezTo>
                    <a:pt x="37959" y="3905"/>
                    <a:pt x="44184" y="13243"/>
                    <a:pt x="41072" y="25692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CCB03605-F465-43BA-B221-442467E4DDBF}"/>
                </a:ext>
              </a:extLst>
            </p:cNvPr>
            <p:cNvSpPr/>
            <p:nvPr/>
          </p:nvSpPr>
          <p:spPr>
            <a:xfrm>
              <a:off x="7222694" y="8276641"/>
              <a:ext cx="93882" cy="35792"/>
            </a:xfrm>
            <a:custGeom>
              <a:avLst/>
              <a:gdLst>
                <a:gd name="connsiteX0" fmla="*/ 8559 w 93882"/>
                <a:gd name="connsiteY0" fmla="*/ 35793 h 35792"/>
                <a:gd name="connsiteX1" fmla="*/ 2334 w 93882"/>
                <a:gd name="connsiteY1" fmla="*/ 32680 h 35792"/>
                <a:gd name="connsiteX2" fmla="*/ 2334 w 93882"/>
                <a:gd name="connsiteY2" fmla="*/ 20231 h 35792"/>
                <a:gd name="connsiteX3" fmla="*/ 89481 w 93882"/>
                <a:gd name="connsiteY3" fmla="*/ 7781 h 35792"/>
                <a:gd name="connsiteX4" fmla="*/ 92594 w 93882"/>
                <a:gd name="connsiteY4" fmla="*/ 17118 h 35792"/>
                <a:gd name="connsiteX5" fmla="*/ 83256 w 93882"/>
                <a:gd name="connsiteY5" fmla="*/ 20231 h 35792"/>
                <a:gd name="connsiteX6" fmla="*/ 14784 w 93882"/>
                <a:gd name="connsiteY6" fmla="*/ 26455 h 35792"/>
                <a:gd name="connsiteX7" fmla="*/ 8559 w 93882"/>
                <a:gd name="connsiteY7" fmla="*/ 35793 h 35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82" h="35792">
                  <a:moveTo>
                    <a:pt x="8559" y="35793"/>
                  </a:moveTo>
                  <a:cubicBezTo>
                    <a:pt x="5447" y="35793"/>
                    <a:pt x="5447" y="35793"/>
                    <a:pt x="2334" y="32680"/>
                  </a:cubicBezTo>
                  <a:cubicBezTo>
                    <a:pt x="-778" y="29568"/>
                    <a:pt x="-778" y="23343"/>
                    <a:pt x="2334" y="20231"/>
                  </a:cubicBezTo>
                  <a:cubicBezTo>
                    <a:pt x="30346" y="-10893"/>
                    <a:pt x="70807" y="1556"/>
                    <a:pt x="89481" y="7781"/>
                  </a:cubicBezTo>
                  <a:cubicBezTo>
                    <a:pt x="92594" y="10893"/>
                    <a:pt x="95706" y="14006"/>
                    <a:pt x="92594" y="17118"/>
                  </a:cubicBezTo>
                  <a:cubicBezTo>
                    <a:pt x="89481" y="20231"/>
                    <a:pt x="86369" y="23343"/>
                    <a:pt x="83256" y="20231"/>
                  </a:cubicBezTo>
                  <a:cubicBezTo>
                    <a:pt x="80144" y="20231"/>
                    <a:pt x="39683" y="-1556"/>
                    <a:pt x="14784" y="26455"/>
                  </a:cubicBezTo>
                  <a:cubicBezTo>
                    <a:pt x="14784" y="35793"/>
                    <a:pt x="11671" y="35793"/>
                    <a:pt x="8559" y="35793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67503C1E-3F55-4F6E-945B-85A0F2E592E6}"/>
                </a:ext>
              </a:extLst>
            </p:cNvPr>
            <p:cNvSpPr/>
            <p:nvPr/>
          </p:nvSpPr>
          <p:spPr>
            <a:xfrm>
              <a:off x="7416708" y="8278514"/>
              <a:ext cx="93882" cy="37032"/>
            </a:xfrm>
            <a:custGeom>
              <a:avLst/>
              <a:gdLst>
                <a:gd name="connsiteX0" fmla="*/ 88436 w 93882"/>
                <a:gd name="connsiteY0" fmla="*/ 37032 h 37032"/>
                <a:gd name="connsiteX1" fmla="*/ 82211 w 93882"/>
                <a:gd name="connsiteY1" fmla="*/ 33920 h 37032"/>
                <a:gd name="connsiteX2" fmla="*/ 13739 w 93882"/>
                <a:gd name="connsiteY2" fmla="*/ 27695 h 37032"/>
                <a:gd name="connsiteX3" fmla="*/ 1289 w 93882"/>
                <a:gd name="connsiteY3" fmla="*/ 24582 h 37032"/>
                <a:gd name="connsiteX4" fmla="*/ 4402 w 93882"/>
                <a:gd name="connsiteY4" fmla="*/ 12133 h 37032"/>
                <a:gd name="connsiteX5" fmla="*/ 91549 w 93882"/>
                <a:gd name="connsiteY5" fmla="*/ 21470 h 37032"/>
                <a:gd name="connsiteX6" fmla="*/ 91549 w 93882"/>
                <a:gd name="connsiteY6" fmla="*/ 33920 h 37032"/>
                <a:gd name="connsiteX7" fmla="*/ 88436 w 93882"/>
                <a:gd name="connsiteY7" fmla="*/ 37032 h 37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82" h="37032">
                  <a:moveTo>
                    <a:pt x="88436" y="37032"/>
                  </a:moveTo>
                  <a:cubicBezTo>
                    <a:pt x="85324" y="37032"/>
                    <a:pt x="85324" y="37032"/>
                    <a:pt x="82211" y="33920"/>
                  </a:cubicBezTo>
                  <a:cubicBezTo>
                    <a:pt x="82211" y="33920"/>
                    <a:pt x="51088" y="2796"/>
                    <a:pt x="13739" y="27695"/>
                  </a:cubicBezTo>
                  <a:cubicBezTo>
                    <a:pt x="10626" y="30807"/>
                    <a:pt x="4402" y="27695"/>
                    <a:pt x="1289" y="24582"/>
                  </a:cubicBezTo>
                  <a:cubicBezTo>
                    <a:pt x="-1823" y="21470"/>
                    <a:pt x="1289" y="15245"/>
                    <a:pt x="4402" y="12133"/>
                  </a:cubicBezTo>
                  <a:cubicBezTo>
                    <a:pt x="41750" y="-12766"/>
                    <a:pt x="79099" y="5908"/>
                    <a:pt x="91549" y="21470"/>
                  </a:cubicBezTo>
                  <a:cubicBezTo>
                    <a:pt x="94661" y="24582"/>
                    <a:pt x="94661" y="30807"/>
                    <a:pt x="91549" y="33920"/>
                  </a:cubicBezTo>
                  <a:cubicBezTo>
                    <a:pt x="91549" y="37032"/>
                    <a:pt x="88436" y="37032"/>
                    <a:pt x="88436" y="37032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048340AC-D829-4128-81E0-E24665B65A43}"/>
                </a:ext>
              </a:extLst>
            </p:cNvPr>
            <p:cNvSpPr/>
            <p:nvPr/>
          </p:nvSpPr>
          <p:spPr>
            <a:xfrm>
              <a:off x="7165663" y="8048675"/>
              <a:ext cx="282480" cy="263758"/>
            </a:xfrm>
            <a:custGeom>
              <a:avLst/>
              <a:gdLst>
                <a:gd name="connsiteX0" fmla="*/ 280346 w 282480"/>
                <a:gd name="connsiteY0" fmla="*/ 2318 h 263758"/>
                <a:gd name="connsiteX1" fmla="*/ 242997 w 282480"/>
                <a:gd name="connsiteY1" fmla="*/ 133039 h 263758"/>
                <a:gd name="connsiteX2" fmla="*/ 231 w 282480"/>
                <a:gd name="connsiteY2" fmla="*/ 263759 h 263758"/>
                <a:gd name="connsiteX3" fmla="*/ 280346 w 282480"/>
                <a:gd name="connsiteY3" fmla="*/ 2318 h 263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80" h="263758">
                  <a:moveTo>
                    <a:pt x="280346" y="2318"/>
                  </a:moveTo>
                  <a:cubicBezTo>
                    <a:pt x="280346" y="2318"/>
                    <a:pt x="295908" y="92577"/>
                    <a:pt x="242997" y="133039"/>
                  </a:cubicBezTo>
                  <a:cubicBezTo>
                    <a:pt x="242997" y="133039"/>
                    <a:pt x="28242" y="176612"/>
                    <a:pt x="231" y="263759"/>
                  </a:cubicBezTo>
                  <a:cubicBezTo>
                    <a:pt x="231" y="263759"/>
                    <a:pt x="-18444" y="-28806"/>
                    <a:pt x="280346" y="2318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85A8434D-A281-4CDC-96D4-28600B5BBA22}"/>
                </a:ext>
              </a:extLst>
            </p:cNvPr>
            <p:cNvSpPr/>
            <p:nvPr/>
          </p:nvSpPr>
          <p:spPr>
            <a:xfrm>
              <a:off x="7408660" y="8050993"/>
              <a:ext cx="228934" cy="321081"/>
            </a:xfrm>
            <a:custGeom>
              <a:avLst/>
              <a:gdLst>
                <a:gd name="connsiteX0" fmla="*/ 0 w 228934"/>
                <a:gd name="connsiteY0" fmla="*/ 130720 h 321081"/>
                <a:gd name="connsiteX1" fmla="*/ 143170 w 228934"/>
                <a:gd name="connsiteY1" fmla="*/ 186744 h 321081"/>
                <a:gd name="connsiteX2" fmla="*/ 202305 w 228934"/>
                <a:gd name="connsiteY2" fmla="*/ 308127 h 321081"/>
                <a:gd name="connsiteX3" fmla="*/ 227204 w 228934"/>
                <a:gd name="connsiteY3" fmla="*/ 305014 h 321081"/>
                <a:gd name="connsiteX4" fmla="*/ 34236 w 228934"/>
                <a:gd name="connsiteY4" fmla="*/ 0 h 321081"/>
                <a:gd name="connsiteX5" fmla="*/ 0 w 228934"/>
                <a:gd name="connsiteY5" fmla="*/ 130720 h 32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934" h="321081">
                  <a:moveTo>
                    <a:pt x="0" y="130720"/>
                  </a:moveTo>
                  <a:cubicBezTo>
                    <a:pt x="0" y="130720"/>
                    <a:pt x="93372" y="180518"/>
                    <a:pt x="143170" y="186744"/>
                  </a:cubicBezTo>
                  <a:cubicBezTo>
                    <a:pt x="196080" y="192968"/>
                    <a:pt x="202305" y="308127"/>
                    <a:pt x="202305" y="308127"/>
                  </a:cubicBezTo>
                  <a:cubicBezTo>
                    <a:pt x="202305" y="308127"/>
                    <a:pt x="224092" y="339251"/>
                    <a:pt x="227204" y="305014"/>
                  </a:cubicBezTo>
                  <a:cubicBezTo>
                    <a:pt x="233429" y="224092"/>
                    <a:pt x="233429" y="21787"/>
                    <a:pt x="34236" y="0"/>
                  </a:cubicBezTo>
                  <a:cubicBezTo>
                    <a:pt x="37349" y="0"/>
                    <a:pt x="24899" y="124496"/>
                    <a:pt x="0" y="130720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595AC47C-AB73-4BF7-833A-6738E8620E26}"/>
                </a:ext>
              </a:extLst>
            </p:cNvPr>
            <p:cNvSpPr/>
            <p:nvPr/>
          </p:nvSpPr>
          <p:spPr>
            <a:xfrm>
              <a:off x="7402435" y="8097679"/>
              <a:ext cx="158732" cy="146282"/>
            </a:xfrm>
            <a:custGeom>
              <a:avLst/>
              <a:gdLst>
                <a:gd name="connsiteX0" fmla="*/ 149395 w 158732"/>
                <a:gd name="connsiteY0" fmla="*/ 146282 h 146282"/>
                <a:gd name="connsiteX1" fmla="*/ 149395 w 158732"/>
                <a:gd name="connsiteY1" fmla="*/ 146282 h 146282"/>
                <a:gd name="connsiteX2" fmla="*/ 49798 w 158732"/>
                <a:gd name="connsiteY2" fmla="*/ 112046 h 146282"/>
                <a:gd name="connsiteX3" fmla="*/ 3113 w 158732"/>
                <a:gd name="connsiteY3" fmla="*/ 87147 h 146282"/>
                <a:gd name="connsiteX4" fmla="*/ 0 w 158732"/>
                <a:gd name="connsiteY4" fmla="*/ 84034 h 146282"/>
                <a:gd name="connsiteX5" fmla="*/ 0 w 158732"/>
                <a:gd name="connsiteY5" fmla="*/ 77810 h 146282"/>
                <a:gd name="connsiteX6" fmla="*/ 28012 w 158732"/>
                <a:gd name="connsiteY6" fmla="*/ 6225 h 146282"/>
                <a:gd name="connsiteX7" fmla="*/ 34237 w 158732"/>
                <a:gd name="connsiteY7" fmla="*/ 0 h 146282"/>
                <a:gd name="connsiteX8" fmla="*/ 40461 w 158732"/>
                <a:gd name="connsiteY8" fmla="*/ 6225 h 146282"/>
                <a:gd name="connsiteX9" fmla="*/ 15562 w 158732"/>
                <a:gd name="connsiteY9" fmla="*/ 77810 h 146282"/>
                <a:gd name="connsiteX10" fmla="*/ 56023 w 158732"/>
                <a:gd name="connsiteY10" fmla="*/ 99596 h 146282"/>
                <a:gd name="connsiteX11" fmla="*/ 152507 w 158732"/>
                <a:gd name="connsiteY11" fmla="*/ 130720 h 146282"/>
                <a:gd name="connsiteX12" fmla="*/ 158732 w 158732"/>
                <a:gd name="connsiteY12" fmla="*/ 136945 h 146282"/>
                <a:gd name="connsiteX13" fmla="*/ 149395 w 158732"/>
                <a:gd name="connsiteY13" fmla="*/ 146282 h 14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8732" h="146282">
                  <a:moveTo>
                    <a:pt x="149395" y="146282"/>
                  </a:moveTo>
                  <a:cubicBezTo>
                    <a:pt x="149395" y="146282"/>
                    <a:pt x="149395" y="146282"/>
                    <a:pt x="149395" y="146282"/>
                  </a:cubicBezTo>
                  <a:cubicBezTo>
                    <a:pt x="118271" y="143170"/>
                    <a:pt x="84035" y="130720"/>
                    <a:pt x="49798" y="112046"/>
                  </a:cubicBezTo>
                  <a:cubicBezTo>
                    <a:pt x="21787" y="99596"/>
                    <a:pt x="3113" y="87147"/>
                    <a:pt x="3113" y="87147"/>
                  </a:cubicBezTo>
                  <a:cubicBezTo>
                    <a:pt x="3113" y="87147"/>
                    <a:pt x="0" y="84034"/>
                    <a:pt x="0" y="84034"/>
                  </a:cubicBezTo>
                  <a:cubicBezTo>
                    <a:pt x="0" y="80922"/>
                    <a:pt x="0" y="80922"/>
                    <a:pt x="0" y="77810"/>
                  </a:cubicBezTo>
                  <a:cubicBezTo>
                    <a:pt x="6225" y="71585"/>
                    <a:pt x="24899" y="31124"/>
                    <a:pt x="28012" y="6225"/>
                  </a:cubicBezTo>
                  <a:cubicBezTo>
                    <a:pt x="28012" y="3112"/>
                    <a:pt x="31124" y="0"/>
                    <a:pt x="34237" y="0"/>
                  </a:cubicBezTo>
                  <a:cubicBezTo>
                    <a:pt x="37349" y="0"/>
                    <a:pt x="40461" y="3112"/>
                    <a:pt x="40461" y="6225"/>
                  </a:cubicBezTo>
                  <a:cubicBezTo>
                    <a:pt x="40461" y="31124"/>
                    <a:pt x="24899" y="65360"/>
                    <a:pt x="15562" y="77810"/>
                  </a:cubicBezTo>
                  <a:cubicBezTo>
                    <a:pt x="21787" y="80922"/>
                    <a:pt x="37349" y="90259"/>
                    <a:pt x="56023" y="99596"/>
                  </a:cubicBezTo>
                  <a:cubicBezTo>
                    <a:pt x="90260" y="115158"/>
                    <a:pt x="124496" y="127608"/>
                    <a:pt x="152507" y="130720"/>
                  </a:cubicBezTo>
                  <a:cubicBezTo>
                    <a:pt x="155620" y="130720"/>
                    <a:pt x="158732" y="133832"/>
                    <a:pt x="158732" y="136945"/>
                  </a:cubicBezTo>
                  <a:cubicBezTo>
                    <a:pt x="155620" y="143170"/>
                    <a:pt x="152507" y="146282"/>
                    <a:pt x="149395" y="146282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E19593E2-4A2C-4DB9-85DE-153AEFC26D4F}"/>
                </a:ext>
              </a:extLst>
            </p:cNvPr>
            <p:cNvSpPr/>
            <p:nvPr/>
          </p:nvSpPr>
          <p:spPr>
            <a:xfrm>
              <a:off x="7237478" y="8551989"/>
              <a:ext cx="314351" cy="229089"/>
            </a:xfrm>
            <a:custGeom>
              <a:avLst/>
              <a:gdLst>
                <a:gd name="connsiteX0" fmla="*/ 56023 w 314351"/>
                <a:gd name="connsiteY0" fmla="*/ 62347 h 229089"/>
                <a:gd name="connsiteX1" fmla="*/ 0 w 314351"/>
                <a:gd name="connsiteY1" fmla="*/ 205517 h 229089"/>
                <a:gd name="connsiteX2" fmla="*/ 314351 w 314351"/>
                <a:gd name="connsiteY2" fmla="*/ 189955 h 229089"/>
                <a:gd name="connsiteX3" fmla="*/ 261441 w 314351"/>
                <a:gd name="connsiteY3" fmla="*/ 99 h 229089"/>
                <a:gd name="connsiteX4" fmla="*/ 56023 w 314351"/>
                <a:gd name="connsiteY4" fmla="*/ 62347 h 229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351" h="229089">
                  <a:moveTo>
                    <a:pt x="56023" y="62347"/>
                  </a:moveTo>
                  <a:cubicBezTo>
                    <a:pt x="56023" y="62347"/>
                    <a:pt x="62248" y="174393"/>
                    <a:pt x="0" y="205517"/>
                  </a:cubicBezTo>
                  <a:cubicBezTo>
                    <a:pt x="0" y="205517"/>
                    <a:pt x="183631" y="267765"/>
                    <a:pt x="314351" y="189955"/>
                  </a:cubicBezTo>
                  <a:cubicBezTo>
                    <a:pt x="258328" y="146381"/>
                    <a:pt x="261441" y="62347"/>
                    <a:pt x="261441" y="99"/>
                  </a:cubicBezTo>
                  <a:cubicBezTo>
                    <a:pt x="264553" y="-3013"/>
                    <a:pt x="112046" y="68571"/>
                    <a:pt x="56023" y="62347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477F7597-F682-4C1E-9DB9-37EA9F329F44}"/>
                </a:ext>
              </a:extLst>
            </p:cNvPr>
            <p:cNvSpPr/>
            <p:nvPr/>
          </p:nvSpPr>
          <p:spPr>
            <a:xfrm>
              <a:off x="7284942" y="8588147"/>
              <a:ext cx="227715" cy="82211"/>
            </a:xfrm>
            <a:custGeom>
              <a:avLst/>
              <a:gdLst>
                <a:gd name="connsiteX0" fmla="*/ 73919 w 227715"/>
                <a:gd name="connsiteY0" fmla="*/ 82211 h 82211"/>
                <a:gd name="connsiteX1" fmla="*/ 2334 w 227715"/>
                <a:gd name="connsiteY1" fmla="*/ 54200 h 82211"/>
                <a:gd name="connsiteX2" fmla="*/ 2334 w 227715"/>
                <a:gd name="connsiteY2" fmla="*/ 44863 h 82211"/>
                <a:gd name="connsiteX3" fmla="*/ 11671 w 227715"/>
                <a:gd name="connsiteY3" fmla="*/ 44863 h 82211"/>
                <a:gd name="connsiteX4" fmla="*/ 83256 w 227715"/>
                <a:gd name="connsiteY4" fmla="*/ 69762 h 82211"/>
                <a:gd name="connsiteX5" fmla="*/ 217089 w 227715"/>
                <a:gd name="connsiteY5" fmla="*/ 1289 h 82211"/>
                <a:gd name="connsiteX6" fmla="*/ 226426 w 227715"/>
                <a:gd name="connsiteY6" fmla="*/ 4402 h 82211"/>
                <a:gd name="connsiteX7" fmla="*/ 223314 w 227715"/>
                <a:gd name="connsiteY7" fmla="*/ 13739 h 82211"/>
                <a:gd name="connsiteX8" fmla="*/ 83256 w 227715"/>
                <a:gd name="connsiteY8" fmla="*/ 82211 h 82211"/>
                <a:gd name="connsiteX9" fmla="*/ 73919 w 227715"/>
                <a:gd name="connsiteY9" fmla="*/ 82211 h 82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7715" h="82211">
                  <a:moveTo>
                    <a:pt x="73919" y="82211"/>
                  </a:moveTo>
                  <a:cubicBezTo>
                    <a:pt x="33458" y="82211"/>
                    <a:pt x="5447" y="54200"/>
                    <a:pt x="2334" y="54200"/>
                  </a:cubicBezTo>
                  <a:cubicBezTo>
                    <a:pt x="-778" y="51088"/>
                    <a:pt x="-778" y="47975"/>
                    <a:pt x="2334" y="44863"/>
                  </a:cubicBezTo>
                  <a:cubicBezTo>
                    <a:pt x="5447" y="41750"/>
                    <a:pt x="8559" y="41750"/>
                    <a:pt x="11671" y="44863"/>
                  </a:cubicBezTo>
                  <a:cubicBezTo>
                    <a:pt x="11671" y="44863"/>
                    <a:pt x="45908" y="75987"/>
                    <a:pt x="83256" y="69762"/>
                  </a:cubicBezTo>
                  <a:cubicBezTo>
                    <a:pt x="123718" y="63537"/>
                    <a:pt x="217089" y="1289"/>
                    <a:pt x="217089" y="1289"/>
                  </a:cubicBezTo>
                  <a:cubicBezTo>
                    <a:pt x="220202" y="-1823"/>
                    <a:pt x="223314" y="1289"/>
                    <a:pt x="226426" y="4402"/>
                  </a:cubicBezTo>
                  <a:cubicBezTo>
                    <a:pt x="229539" y="7514"/>
                    <a:pt x="226426" y="10626"/>
                    <a:pt x="223314" y="13739"/>
                  </a:cubicBezTo>
                  <a:cubicBezTo>
                    <a:pt x="220202" y="16851"/>
                    <a:pt x="126830" y="79099"/>
                    <a:pt x="83256" y="82211"/>
                  </a:cubicBezTo>
                  <a:cubicBezTo>
                    <a:pt x="80144" y="82211"/>
                    <a:pt x="77032" y="82211"/>
                    <a:pt x="73919" y="82211"/>
                  </a:cubicBezTo>
                  <a:close/>
                </a:path>
              </a:pathLst>
            </a:custGeom>
            <a:solidFill>
              <a:srgbClr val="E58777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38AACB2F-648F-4876-8810-EC2E85B7870D}"/>
                </a:ext>
              </a:extLst>
            </p:cNvPr>
            <p:cNvSpPr/>
            <p:nvPr/>
          </p:nvSpPr>
          <p:spPr>
            <a:xfrm>
              <a:off x="6950294" y="8832203"/>
              <a:ext cx="103553" cy="569567"/>
            </a:xfrm>
            <a:custGeom>
              <a:avLst/>
              <a:gdLst>
                <a:gd name="connsiteX0" fmla="*/ 56867 w 103553"/>
                <a:gd name="connsiteY0" fmla="*/ 569568 h 569567"/>
                <a:gd name="connsiteX1" fmla="*/ 50643 w 103553"/>
                <a:gd name="connsiteY1" fmla="*/ 566455 h 569567"/>
                <a:gd name="connsiteX2" fmla="*/ 35081 w 103553"/>
                <a:gd name="connsiteY2" fmla="*/ 510433 h 569567"/>
                <a:gd name="connsiteX3" fmla="*/ 844 w 103553"/>
                <a:gd name="connsiteY3" fmla="*/ 354813 h 569567"/>
                <a:gd name="connsiteX4" fmla="*/ 91104 w 103553"/>
                <a:gd name="connsiteY4" fmla="*/ 3113 h 569567"/>
                <a:gd name="connsiteX5" fmla="*/ 100441 w 103553"/>
                <a:gd name="connsiteY5" fmla="*/ 0 h 569567"/>
                <a:gd name="connsiteX6" fmla="*/ 103553 w 103553"/>
                <a:gd name="connsiteY6" fmla="*/ 9337 h 569567"/>
                <a:gd name="connsiteX7" fmla="*/ 13294 w 103553"/>
                <a:gd name="connsiteY7" fmla="*/ 354813 h 569567"/>
                <a:gd name="connsiteX8" fmla="*/ 47530 w 103553"/>
                <a:gd name="connsiteY8" fmla="*/ 507320 h 569567"/>
                <a:gd name="connsiteX9" fmla="*/ 63092 w 103553"/>
                <a:gd name="connsiteY9" fmla="*/ 563343 h 569567"/>
                <a:gd name="connsiteX10" fmla="*/ 56867 w 103553"/>
                <a:gd name="connsiteY10" fmla="*/ 569568 h 569567"/>
                <a:gd name="connsiteX11" fmla="*/ 56867 w 103553"/>
                <a:gd name="connsiteY11" fmla="*/ 569568 h 56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3553" h="569567">
                  <a:moveTo>
                    <a:pt x="56867" y="569568"/>
                  </a:moveTo>
                  <a:cubicBezTo>
                    <a:pt x="53755" y="569568"/>
                    <a:pt x="50643" y="566455"/>
                    <a:pt x="50643" y="566455"/>
                  </a:cubicBezTo>
                  <a:cubicBezTo>
                    <a:pt x="44418" y="547781"/>
                    <a:pt x="41305" y="529107"/>
                    <a:pt x="35081" y="510433"/>
                  </a:cubicBezTo>
                  <a:cubicBezTo>
                    <a:pt x="19519" y="457522"/>
                    <a:pt x="3957" y="404611"/>
                    <a:pt x="844" y="354813"/>
                  </a:cubicBezTo>
                  <a:cubicBezTo>
                    <a:pt x="-5381" y="227205"/>
                    <a:pt x="22631" y="108934"/>
                    <a:pt x="91104" y="3113"/>
                  </a:cubicBezTo>
                  <a:cubicBezTo>
                    <a:pt x="94216" y="0"/>
                    <a:pt x="97329" y="0"/>
                    <a:pt x="100441" y="0"/>
                  </a:cubicBezTo>
                  <a:cubicBezTo>
                    <a:pt x="103553" y="3113"/>
                    <a:pt x="103553" y="6225"/>
                    <a:pt x="103553" y="9337"/>
                  </a:cubicBezTo>
                  <a:cubicBezTo>
                    <a:pt x="38193" y="115158"/>
                    <a:pt x="7069" y="230317"/>
                    <a:pt x="13294" y="354813"/>
                  </a:cubicBezTo>
                  <a:cubicBezTo>
                    <a:pt x="16406" y="401499"/>
                    <a:pt x="31968" y="454409"/>
                    <a:pt x="47530" y="507320"/>
                  </a:cubicBezTo>
                  <a:cubicBezTo>
                    <a:pt x="53755" y="525995"/>
                    <a:pt x="59980" y="544669"/>
                    <a:pt x="63092" y="563343"/>
                  </a:cubicBezTo>
                  <a:cubicBezTo>
                    <a:pt x="63092" y="566455"/>
                    <a:pt x="59980" y="569568"/>
                    <a:pt x="56867" y="569568"/>
                  </a:cubicBezTo>
                  <a:cubicBezTo>
                    <a:pt x="56867" y="569568"/>
                    <a:pt x="56867" y="569568"/>
                    <a:pt x="56867" y="569568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C484DF5F-0DF0-4849-A47E-E4547B323250}"/>
                </a:ext>
              </a:extLst>
            </p:cNvPr>
            <p:cNvSpPr/>
            <p:nvPr/>
          </p:nvSpPr>
          <p:spPr>
            <a:xfrm>
              <a:off x="7075634" y="9283698"/>
              <a:ext cx="409012" cy="37150"/>
            </a:xfrm>
            <a:custGeom>
              <a:avLst/>
              <a:gdLst>
                <a:gd name="connsiteX0" fmla="*/ 6225 w 409012"/>
                <a:gd name="connsiteY0" fmla="*/ 37150 h 37150"/>
                <a:gd name="connsiteX1" fmla="*/ 0 w 409012"/>
                <a:gd name="connsiteY1" fmla="*/ 34038 h 37150"/>
                <a:gd name="connsiteX2" fmla="*/ 3113 w 409012"/>
                <a:gd name="connsiteY2" fmla="*/ 27814 h 37150"/>
                <a:gd name="connsiteX3" fmla="*/ 404611 w 409012"/>
                <a:gd name="connsiteY3" fmla="*/ 15364 h 37150"/>
                <a:gd name="connsiteX4" fmla="*/ 407724 w 409012"/>
                <a:gd name="connsiteY4" fmla="*/ 21589 h 37150"/>
                <a:gd name="connsiteX5" fmla="*/ 401499 w 409012"/>
                <a:gd name="connsiteY5" fmla="*/ 24701 h 37150"/>
                <a:gd name="connsiteX6" fmla="*/ 6225 w 409012"/>
                <a:gd name="connsiteY6" fmla="*/ 37150 h 37150"/>
                <a:gd name="connsiteX7" fmla="*/ 6225 w 409012"/>
                <a:gd name="connsiteY7" fmla="*/ 37150 h 3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9012" h="37150">
                  <a:moveTo>
                    <a:pt x="6225" y="37150"/>
                  </a:moveTo>
                  <a:cubicBezTo>
                    <a:pt x="3113" y="37150"/>
                    <a:pt x="3113" y="37150"/>
                    <a:pt x="0" y="34038"/>
                  </a:cubicBezTo>
                  <a:cubicBezTo>
                    <a:pt x="0" y="30926"/>
                    <a:pt x="0" y="27814"/>
                    <a:pt x="3113" y="27814"/>
                  </a:cubicBezTo>
                  <a:cubicBezTo>
                    <a:pt x="90260" y="-3310"/>
                    <a:pt x="301902" y="-9535"/>
                    <a:pt x="404611" y="15364"/>
                  </a:cubicBezTo>
                  <a:cubicBezTo>
                    <a:pt x="407724" y="15364"/>
                    <a:pt x="410836" y="18476"/>
                    <a:pt x="407724" y="21589"/>
                  </a:cubicBezTo>
                  <a:cubicBezTo>
                    <a:pt x="407724" y="24701"/>
                    <a:pt x="404611" y="27814"/>
                    <a:pt x="401499" y="24701"/>
                  </a:cubicBezTo>
                  <a:cubicBezTo>
                    <a:pt x="301902" y="2914"/>
                    <a:pt x="90260" y="9139"/>
                    <a:pt x="6225" y="37150"/>
                  </a:cubicBezTo>
                  <a:cubicBezTo>
                    <a:pt x="6225" y="37150"/>
                    <a:pt x="6225" y="37150"/>
                    <a:pt x="6225" y="37150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221EFCAD-3C58-4732-8DDD-E26FEDAFC400}"/>
                </a:ext>
              </a:extLst>
            </p:cNvPr>
            <p:cNvSpPr/>
            <p:nvPr/>
          </p:nvSpPr>
          <p:spPr>
            <a:xfrm>
              <a:off x="7212579" y="8738831"/>
              <a:ext cx="367262" cy="65360"/>
            </a:xfrm>
            <a:custGeom>
              <a:avLst/>
              <a:gdLst>
                <a:gd name="connsiteX0" fmla="*/ 37349 w 367262"/>
                <a:gd name="connsiteY0" fmla="*/ 9337 h 65360"/>
                <a:gd name="connsiteX1" fmla="*/ 342363 w 367262"/>
                <a:gd name="connsiteY1" fmla="*/ 0 h 65360"/>
                <a:gd name="connsiteX2" fmla="*/ 367262 w 367262"/>
                <a:gd name="connsiteY2" fmla="*/ 9337 h 65360"/>
                <a:gd name="connsiteX3" fmla="*/ 174294 w 367262"/>
                <a:gd name="connsiteY3" fmla="*/ 65360 h 65360"/>
                <a:gd name="connsiteX4" fmla="*/ 0 w 367262"/>
                <a:gd name="connsiteY4" fmla="*/ 15562 h 65360"/>
                <a:gd name="connsiteX5" fmla="*/ 37349 w 367262"/>
                <a:gd name="connsiteY5" fmla="*/ 9337 h 65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7262" h="65360">
                  <a:moveTo>
                    <a:pt x="37349" y="9337"/>
                  </a:moveTo>
                  <a:cubicBezTo>
                    <a:pt x="37349" y="9337"/>
                    <a:pt x="152507" y="68473"/>
                    <a:pt x="342363" y="0"/>
                  </a:cubicBezTo>
                  <a:lnTo>
                    <a:pt x="367262" y="9337"/>
                  </a:lnTo>
                  <a:cubicBezTo>
                    <a:pt x="367262" y="9337"/>
                    <a:pt x="286340" y="65360"/>
                    <a:pt x="174294" y="65360"/>
                  </a:cubicBezTo>
                  <a:cubicBezTo>
                    <a:pt x="68473" y="65360"/>
                    <a:pt x="0" y="15562"/>
                    <a:pt x="0" y="15562"/>
                  </a:cubicBezTo>
                  <a:cubicBezTo>
                    <a:pt x="0" y="15562"/>
                    <a:pt x="15562" y="12450"/>
                    <a:pt x="37349" y="9337"/>
                  </a:cubicBezTo>
                  <a:close/>
                </a:path>
              </a:pathLst>
            </a:custGeom>
            <a:solidFill>
              <a:srgbClr val="F6EBE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3CEAB9A5-2B32-4B3C-B670-66A9CD499697}"/>
                </a:ext>
              </a:extLst>
            </p:cNvPr>
            <p:cNvSpPr/>
            <p:nvPr/>
          </p:nvSpPr>
          <p:spPr>
            <a:xfrm>
              <a:off x="7676325" y="9865517"/>
              <a:ext cx="184920" cy="192968"/>
            </a:xfrm>
            <a:custGeom>
              <a:avLst/>
              <a:gdLst>
                <a:gd name="connsiteX0" fmla="*/ 180519 w 184920"/>
                <a:gd name="connsiteY0" fmla="*/ 192969 h 192968"/>
                <a:gd name="connsiteX1" fmla="*/ 180519 w 184920"/>
                <a:gd name="connsiteY1" fmla="*/ 192969 h 192968"/>
                <a:gd name="connsiteX2" fmla="*/ 0 w 184920"/>
                <a:gd name="connsiteY2" fmla="*/ 6225 h 192968"/>
                <a:gd name="connsiteX3" fmla="*/ 3113 w 184920"/>
                <a:gd name="connsiteY3" fmla="*/ 0 h 192968"/>
                <a:gd name="connsiteX4" fmla="*/ 9337 w 184920"/>
                <a:gd name="connsiteY4" fmla="*/ 3113 h 192968"/>
                <a:gd name="connsiteX5" fmla="*/ 180519 w 184920"/>
                <a:gd name="connsiteY5" fmla="*/ 183631 h 192968"/>
                <a:gd name="connsiteX6" fmla="*/ 183631 w 184920"/>
                <a:gd name="connsiteY6" fmla="*/ 189856 h 192968"/>
                <a:gd name="connsiteX7" fmla="*/ 180519 w 184920"/>
                <a:gd name="connsiteY7" fmla="*/ 192969 h 19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4920" h="192968">
                  <a:moveTo>
                    <a:pt x="180519" y="192969"/>
                  </a:moveTo>
                  <a:cubicBezTo>
                    <a:pt x="180519" y="192969"/>
                    <a:pt x="177406" y="192969"/>
                    <a:pt x="180519" y="192969"/>
                  </a:cubicBezTo>
                  <a:cubicBezTo>
                    <a:pt x="59136" y="158732"/>
                    <a:pt x="3113" y="12449"/>
                    <a:pt x="0" y="6225"/>
                  </a:cubicBezTo>
                  <a:cubicBezTo>
                    <a:pt x="0" y="3113"/>
                    <a:pt x="0" y="0"/>
                    <a:pt x="3113" y="0"/>
                  </a:cubicBezTo>
                  <a:cubicBezTo>
                    <a:pt x="6225" y="0"/>
                    <a:pt x="9337" y="0"/>
                    <a:pt x="9337" y="3113"/>
                  </a:cubicBezTo>
                  <a:cubicBezTo>
                    <a:pt x="9337" y="3113"/>
                    <a:pt x="65360" y="152507"/>
                    <a:pt x="180519" y="183631"/>
                  </a:cubicBezTo>
                  <a:cubicBezTo>
                    <a:pt x="183631" y="183631"/>
                    <a:pt x="186744" y="186744"/>
                    <a:pt x="183631" y="189856"/>
                  </a:cubicBezTo>
                  <a:cubicBezTo>
                    <a:pt x="183631" y="189856"/>
                    <a:pt x="183631" y="192969"/>
                    <a:pt x="180519" y="192969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8F9AE6AA-E5C3-4961-A532-3807F8C21510}"/>
                </a:ext>
              </a:extLst>
            </p:cNvPr>
            <p:cNvSpPr/>
            <p:nvPr/>
          </p:nvSpPr>
          <p:spPr>
            <a:xfrm>
              <a:off x="6941801" y="9865517"/>
              <a:ext cx="174293" cy="196081"/>
            </a:xfrm>
            <a:custGeom>
              <a:avLst/>
              <a:gdLst>
                <a:gd name="connsiteX0" fmla="*/ 6225 w 174293"/>
                <a:gd name="connsiteY0" fmla="*/ 196081 h 196081"/>
                <a:gd name="connsiteX1" fmla="*/ 0 w 174293"/>
                <a:gd name="connsiteY1" fmla="*/ 192969 h 196081"/>
                <a:gd name="connsiteX2" fmla="*/ 3112 w 174293"/>
                <a:gd name="connsiteY2" fmla="*/ 186744 h 196081"/>
                <a:gd name="connsiteX3" fmla="*/ 164956 w 174293"/>
                <a:gd name="connsiteY3" fmla="*/ 3113 h 196081"/>
                <a:gd name="connsiteX4" fmla="*/ 171182 w 174293"/>
                <a:gd name="connsiteY4" fmla="*/ 0 h 196081"/>
                <a:gd name="connsiteX5" fmla="*/ 174294 w 174293"/>
                <a:gd name="connsiteY5" fmla="*/ 6225 h 196081"/>
                <a:gd name="connsiteX6" fmla="*/ 6225 w 174293"/>
                <a:gd name="connsiteY6" fmla="*/ 196081 h 196081"/>
                <a:gd name="connsiteX7" fmla="*/ 6225 w 174293"/>
                <a:gd name="connsiteY7" fmla="*/ 196081 h 196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293" h="196081">
                  <a:moveTo>
                    <a:pt x="6225" y="196081"/>
                  </a:moveTo>
                  <a:cubicBezTo>
                    <a:pt x="3112" y="196081"/>
                    <a:pt x="3112" y="196081"/>
                    <a:pt x="0" y="192969"/>
                  </a:cubicBezTo>
                  <a:cubicBezTo>
                    <a:pt x="0" y="189856"/>
                    <a:pt x="0" y="186744"/>
                    <a:pt x="3112" y="186744"/>
                  </a:cubicBezTo>
                  <a:cubicBezTo>
                    <a:pt x="84034" y="155620"/>
                    <a:pt x="164956" y="3113"/>
                    <a:pt x="164956" y="3113"/>
                  </a:cubicBezTo>
                  <a:cubicBezTo>
                    <a:pt x="164956" y="0"/>
                    <a:pt x="171182" y="0"/>
                    <a:pt x="171182" y="0"/>
                  </a:cubicBezTo>
                  <a:cubicBezTo>
                    <a:pt x="174294" y="0"/>
                    <a:pt x="174294" y="6225"/>
                    <a:pt x="174294" y="6225"/>
                  </a:cubicBezTo>
                  <a:cubicBezTo>
                    <a:pt x="171182" y="12449"/>
                    <a:pt x="90259" y="161845"/>
                    <a:pt x="6225" y="196081"/>
                  </a:cubicBezTo>
                  <a:cubicBezTo>
                    <a:pt x="6225" y="196081"/>
                    <a:pt x="6225" y="196081"/>
                    <a:pt x="6225" y="196081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432B6D4F-2512-4364-9D39-0B5532F0BE13}"/>
                </a:ext>
              </a:extLst>
            </p:cNvPr>
            <p:cNvSpPr/>
            <p:nvPr/>
          </p:nvSpPr>
          <p:spPr>
            <a:xfrm>
              <a:off x="7573616" y="8345154"/>
              <a:ext cx="79201" cy="116428"/>
            </a:xfrm>
            <a:custGeom>
              <a:avLst/>
              <a:gdLst>
                <a:gd name="connsiteX0" fmla="*/ 12450 w 79201"/>
                <a:gd name="connsiteY0" fmla="*/ 17078 h 116428"/>
                <a:gd name="connsiteX1" fmla="*/ 71585 w 79201"/>
                <a:gd name="connsiteY1" fmla="*/ 7740 h 116428"/>
                <a:gd name="connsiteX2" fmla="*/ 12450 w 79201"/>
                <a:gd name="connsiteY2" fmla="*/ 113562 h 116428"/>
                <a:gd name="connsiteX3" fmla="*/ 12450 w 79201"/>
                <a:gd name="connsiteY3" fmla="*/ 17078 h 116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201" h="116428">
                  <a:moveTo>
                    <a:pt x="12450" y="17078"/>
                  </a:moveTo>
                  <a:cubicBezTo>
                    <a:pt x="12450" y="17078"/>
                    <a:pt x="46686" y="-14046"/>
                    <a:pt x="71585" y="7740"/>
                  </a:cubicBezTo>
                  <a:cubicBezTo>
                    <a:pt x="96484" y="26414"/>
                    <a:pt x="56023" y="135348"/>
                    <a:pt x="12450" y="113562"/>
                  </a:cubicBezTo>
                  <a:cubicBezTo>
                    <a:pt x="-15562" y="91775"/>
                    <a:pt x="12450" y="17078"/>
                    <a:pt x="12450" y="17078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D853E9BA-CACE-49A7-A676-85563B191EC0}"/>
                </a:ext>
              </a:extLst>
            </p:cNvPr>
            <p:cNvSpPr/>
            <p:nvPr/>
          </p:nvSpPr>
          <p:spPr>
            <a:xfrm>
              <a:off x="7159669" y="8172376"/>
              <a:ext cx="258328" cy="161844"/>
            </a:xfrm>
            <a:custGeom>
              <a:avLst/>
              <a:gdLst>
                <a:gd name="connsiteX0" fmla="*/ 6225 w 258328"/>
                <a:gd name="connsiteY0" fmla="*/ 161844 h 161844"/>
                <a:gd name="connsiteX1" fmla="*/ 6225 w 258328"/>
                <a:gd name="connsiteY1" fmla="*/ 161844 h 161844"/>
                <a:gd name="connsiteX2" fmla="*/ 0 w 258328"/>
                <a:gd name="connsiteY2" fmla="*/ 155620 h 161844"/>
                <a:gd name="connsiteX3" fmla="*/ 112046 w 258328"/>
                <a:gd name="connsiteY3" fmla="*/ 46686 h 161844"/>
                <a:gd name="connsiteX4" fmla="*/ 248991 w 258328"/>
                <a:gd name="connsiteY4" fmla="*/ 0 h 161844"/>
                <a:gd name="connsiteX5" fmla="*/ 258328 w 258328"/>
                <a:gd name="connsiteY5" fmla="*/ 3113 h 161844"/>
                <a:gd name="connsiteX6" fmla="*/ 255216 w 258328"/>
                <a:gd name="connsiteY6" fmla="*/ 12449 h 161844"/>
                <a:gd name="connsiteX7" fmla="*/ 118271 w 258328"/>
                <a:gd name="connsiteY7" fmla="*/ 59135 h 161844"/>
                <a:gd name="connsiteX8" fmla="*/ 15562 w 258328"/>
                <a:gd name="connsiteY8" fmla="*/ 158732 h 161844"/>
                <a:gd name="connsiteX9" fmla="*/ 6225 w 258328"/>
                <a:gd name="connsiteY9" fmla="*/ 161844 h 161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8328" h="161844">
                  <a:moveTo>
                    <a:pt x="6225" y="161844"/>
                  </a:moveTo>
                  <a:cubicBezTo>
                    <a:pt x="6225" y="161844"/>
                    <a:pt x="6225" y="161844"/>
                    <a:pt x="6225" y="161844"/>
                  </a:cubicBezTo>
                  <a:cubicBezTo>
                    <a:pt x="3112" y="161844"/>
                    <a:pt x="0" y="158732"/>
                    <a:pt x="0" y="155620"/>
                  </a:cubicBezTo>
                  <a:cubicBezTo>
                    <a:pt x="12449" y="84034"/>
                    <a:pt x="62248" y="62248"/>
                    <a:pt x="112046" y="46686"/>
                  </a:cubicBezTo>
                  <a:cubicBezTo>
                    <a:pt x="180518" y="28011"/>
                    <a:pt x="245879" y="0"/>
                    <a:pt x="248991" y="0"/>
                  </a:cubicBezTo>
                  <a:cubicBezTo>
                    <a:pt x="252103" y="0"/>
                    <a:pt x="255216" y="0"/>
                    <a:pt x="258328" y="3113"/>
                  </a:cubicBezTo>
                  <a:cubicBezTo>
                    <a:pt x="258328" y="6225"/>
                    <a:pt x="258328" y="9337"/>
                    <a:pt x="255216" y="12449"/>
                  </a:cubicBezTo>
                  <a:cubicBezTo>
                    <a:pt x="255216" y="12449"/>
                    <a:pt x="186744" y="37349"/>
                    <a:pt x="118271" y="59135"/>
                  </a:cubicBezTo>
                  <a:cubicBezTo>
                    <a:pt x="62248" y="74697"/>
                    <a:pt x="24899" y="99596"/>
                    <a:pt x="15562" y="158732"/>
                  </a:cubicBezTo>
                  <a:cubicBezTo>
                    <a:pt x="9337" y="161844"/>
                    <a:pt x="9337" y="161844"/>
                    <a:pt x="6225" y="161844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E4C25B26-A098-40EB-9DEE-8456843C9634}"/>
                </a:ext>
              </a:extLst>
            </p:cNvPr>
            <p:cNvSpPr/>
            <p:nvPr/>
          </p:nvSpPr>
          <p:spPr>
            <a:xfrm>
              <a:off x="6997593" y="9189826"/>
              <a:ext cx="202536" cy="140359"/>
            </a:xfrm>
            <a:custGeom>
              <a:avLst/>
              <a:gdLst>
                <a:gd name="connsiteX0" fmla="*/ 202537 w 202536"/>
                <a:gd name="connsiteY0" fmla="*/ 140360 h 140359"/>
                <a:gd name="connsiteX1" fmla="*/ 130952 w 202536"/>
                <a:gd name="connsiteY1" fmla="*/ 6527 h 140359"/>
                <a:gd name="connsiteX2" fmla="*/ 231 w 202536"/>
                <a:gd name="connsiteY2" fmla="*/ 18977 h 140359"/>
                <a:gd name="connsiteX3" fmla="*/ 130952 w 202536"/>
                <a:gd name="connsiteY3" fmla="*/ 106124 h 140359"/>
                <a:gd name="connsiteX4" fmla="*/ 202537 w 202536"/>
                <a:gd name="connsiteY4" fmla="*/ 140360 h 140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536" h="140359">
                  <a:moveTo>
                    <a:pt x="202537" y="140360"/>
                  </a:moveTo>
                  <a:cubicBezTo>
                    <a:pt x="202537" y="140360"/>
                    <a:pt x="165188" y="18977"/>
                    <a:pt x="130952" y="6527"/>
                  </a:cubicBezTo>
                  <a:cubicBezTo>
                    <a:pt x="84266" y="-9035"/>
                    <a:pt x="6456" y="6527"/>
                    <a:pt x="231" y="18977"/>
                  </a:cubicBezTo>
                  <a:cubicBezTo>
                    <a:pt x="-5993" y="31426"/>
                    <a:pt x="115390" y="96786"/>
                    <a:pt x="130952" y="106124"/>
                  </a:cubicBezTo>
                  <a:cubicBezTo>
                    <a:pt x="152739" y="118573"/>
                    <a:pt x="202537" y="140360"/>
                    <a:pt x="202537" y="140360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7" name="图形 1">
              <a:extLst>
                <a:ext uri="{FF2B5EF4-FFF2-40B4-BE49-F238E27FC236}">
                  <a16:creationId xmlns:a16="http://schemas.microsoft.com/office/drawing/2014/main" id="{747DE85C-C4B1-48E3-B013-A3B91AD4B5C3}"/>
                </a:ext>
              </a:extLst>
            </p:cNvPr>
            <p:cNvGrpSpPr/>
            <p:nvPr/>
          </p:nvGrpSpPr>
          <p:grpSpPr>
            <a:xfrm>
              <a:off x="5961397" y="8639235"/>
              <a:ext cx="1313429" cy="1512622"/>
              <a:chOff x="5961397" y="8639235"/>
              <a:chExt cx="1313429" cy="1512622"/>
            </a:xfrm>
          </p:grpSpPr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C6539A46-EE89-4F12-A294-FFD388A60452}"/>
                  </a:ext>
                </a:extLst>
              </p:cNvPr>
              <p:cNvSpPr/>
              <p:nvPr/>
            </p:nvSpPr>
            <p:spPr>
              <a:xfrm>
                <a:off x="5961397" y="8639235"/>
                <a:ext cx="1313429" cy="1512622"/>
              </a:xfrm>
              <a:custGeom>
                <a:avLst/>
                <a:gdLst>
                  <a:gd name="connsiteX0" fmla="*/ 146283 w 1313429"/>
                  <a:gd name="connsiteY0" fmla="*/ 1027089 h 1512622"/>
                  <a:gd name="connsiteX1" fmla="*/ 87147 w 1313429"/>
                  <a:gd name="connsiteY1" fmla="*/ 1409913 h 1512622"/>
                  <a:gd name="connsiteX2" fmla="*/ 417061 w 1313429"/>
                  <a:gd name="connsiteY2" fmla="*/ 1422364 h 1512622"/>
                  <a:gd name="connsiteX3" fmla="*/ 479308 w 1313429"/>
                  <a:gd name="connsiteY3" fmla="*/ 1425475 h 1512622"/>
                  <a:gd name="connsiteX4" fmla="*/ 557118 w 1313429"/>
                  <a:gd name="connsiteY4" fmla="*/ 1428588 h 1512622"/>
                  <a:gd name="connsiteX5" fmla="*/ 619366 w 1313429"/>
                  <a:gd name="connsiteY5" fmla="*/ 1431700 h 1512622"/>
                  <a:gd name="connsiteX6" fmla="*/ 718963 w 1313429"/>
                  <a:gd name="connsiteY6" fmla="*/ 1434813 h 1512622"/>
                  <a:gd name="connsiteX7" fmla="*/ 718963 w 1313429"/>
                  <a:gd name="connsiteY7" fmla="*/ 1512623 h 1512622"/>
                  <a:gd name="connsiteX8" fmla="*/ 930605 w 1313429"/>
                  <a:gd name="connsiteY8" fmla="*/ 1497061 h 1512622"/>
                  <a:gd name="connsiteX9" fmla="*/ 995966 w 1313429"/>
                  <a:gd name="connsiteY9" fmla="*/ 1490836 h 1512622"/>
                  <a:gd name="connsiteX10" fmla="*/ 1300980 w 1313429"/>
                  <a:gd name="connsiteY10" fmla="*/ 1465937 h 1512622"/>
                  <a:gd name="connsiteX11" fmla="*/ 1235620 w 1313429"/>
                  <a:gd name="connsiteY11" fmla="*/ 1300980 h 1512622"/>
                  <a:gd name="connsiteX12" fmla="*/ 1213833 w 1313429"/>
                  <a:gd name="connsiteY12" fmla="*/ 1241844 h 1512622"/>
                  <a:gd name="connsiteX13" fmla="*/ 1120461 w 1313429"/>
                  <a:gd name="connsiteY13" fmla="*/ 849683 h 1512622"/>
                  <a:gd name="connsiteX14" fmla="*/ 1132911 w 1313429"/>
                  <a:gd name="connsiteY14" fmla="*/ 728300 h 1512622"/>
                  <a:gd name="connsiteX15" fmla="*/ 1145360 w 1313429"/>
                  <a:gd name="connsiteY15" fmla="*/ 666052 h 1512622"/>
                  <a:gd name="connsiteX16" fmla="*/ 1313430 w 1313429"/>
                  <a:gd name="connsiteY16" fmla="*/ 99596 h 1512622"/>
                  <a:gd name="connsiteX17" fmla="*/ 989741 w 1313429"/>
                  <a:gd name="connsiteY17" fmla="*/ 102709 h 1512622"/>
                  <a:gd name="connsiteX18" fmla="*/ 927493 w 1313429"/>
                  <a:gd name="connsiteY18" fmla="*/ 99596 h 1512622"/>
                  <a:gd name="connsiteX19" fmla="*/ 662939 w 1313429"/>
                  <a:gd name="connsiteY19" fmla="*/ 80922 h 1512622"/>
                  <a:gd name="connsiteX20" fmla="*/ 600692 w 1313429"/>
                  <a:gd name="connsiteY20" fmla="*/ 74697 h 1512622"/>
                  <a:gd name="connsiteX21" fmla="*/ 392161 w 1313429"/>
                  <a:gd name="connsiteY21" fmla="*/ 52911 h 1512622"/>
                  <a:gd name="connsiteX22" fmla="*/ 329914 w 1313429"/>
                  <a:gd name="connsiteY22" fmla="*/ 46686 h 1512622"/>
                  <a:gd name="connsiteX23" fmla="*/ 0 w 1313429"/>
                  <a:gd name="connsiteY23" fmla="*/ 0 h 1512622"/>
                  <a:gd name="connsiteX24" fmla="*/ 149395 w 1313429"/>
                  <a:gd name="connsiteY24" fmla="*/ 494870 h 1512622"/>
                  <a:gd name="connsiteX25" fmla="*/ 168069 w 1313429"/>
                  <a:gd name="connsiteY25" fmla="*/ 560231 h 1512622"/>
                  <a:gd name="connsiteX26" fmla="*/ 180519 w 1313429"/>
                  <a:gd name="connsiteY26" fmla="*/ 613141 h 1512622"/>
                  <a:gd name="connsiteX27" fmla="*/ 161845 w 1313429"/>
                  <a:gd name="connsiteY27" fmla="*/ 961729 h 1512622"/>
                  <a:gd name="connsiteX28" fmla="*/ 146283 w 1313429"/>
                  <a:gd name="connsiteY28" fmla="*/ 1027089 h 1512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313429" h="1512622">
                    <a:moveTo>
                      <a:pt x="146283" y="1027089"/>
                    </a:moveTo>
                    <a:cubicBezTo>
                      <a:pt x="121383" y="1223170"/>
                      <a:pt x="87147" y="1409913"/>
                      <a:pt x="87147" y="1409913"/>
                    </a:cubicBezTo>
                    <a:lnTo>
                      <a:pt x="417061" y="1422364"/>
                    </a:lnTo>
                    <a:lnTo>
                      <a:pt x="479308" y="1425475"/>
                    </a:lnTo>
                    <a:lnTo>
                      <a:pt x="557118" y="1428588"/>
                    </a:lnTo>
                    <a:lnTo>
                      <a:pt x="619366" y="1431700"/>
                    </a:lnTo>
                    <a:lnTo>
                      <a:pt x="718963" y="1434813"/>
                    </a:lnTo>
                    <a:lnTo>
                      <a:pt x="718963" y="1512623"/>
                    </a:lnTo>
                    <a:lnTo>
                      <a:pt x="930605" y="1497061"/>
                    </a:lnTo>
                    <a:lnTo>
                      <a:pt x="995966" y="1490836"/>
                    </a:lnTo>
                    <a:lnTo>
                      <a:pt x="1300980" y="1465937"/>
                    </a:lnTo>
                    <a:cubicBezTo>
                      <a:pt x="1300980" y="1465937"/>
                      <a:pt x="1269856" y="1397464"/>
                      <a:pt x="1235620" y="1300980"/>
                    </a:cubicBezTo>
                    <a:cubicBezTo>
                      <a:pt x="1229395" y="1282306"/>
                      <a:pt x="1220058" y="1260519"/>
                      <a:pt x="1213833" y="1241844"/>
                    </a:cubicBezTo>
                    <a:cubicBezTo>
                      <a:pt x="1170259" y="1114236"/>
                      <a:pt x="1123573" y="955504"/>
                      <a:pt x="1120461" y="849683"/>
                    </a:cubicBezTo>
                    <a:cubicBezTo>
                      <a:pt x="1120461" y="815447"/>
                      <a:pt x="1123573" y="774985"/>
                      <a:pt x="1132911" y="728300"/>
                    </a:cubicBezTo>
                    <a:cubicBezTo>
                      <a:pt x="1136023" y="709625"/>
                      <a:pt x="1139135" y="687839"/>
                      <a:pt x="1145360" y="666052"/>
                    </a:cubicBezTo>
                    <a:cubicBezTo>
                      <a:pt x="1195159" y="423286"/>
                      <a:pt x="1313430" y="99596"/>
                      <a:pt x="1313430" y="99596"/>
                    </a:cubicBezTo>
                    <a:cubicBezTo>
                      <a:pt x="1220058" y="108934"/>
                      <a:pt x="1108012" y="108934"/>
                      <a:pt x="989741" y="102709"/>
                    </a:cubicBezTo>
                    <a:cubicBezTo>
                      <a:pt x="967954" y="102709"/>
                      <a:pt x="949280" y="99596"/>
                      <a:pt x="927493" y="99596"/>
                    </a:cubicBezTo>
                    <a:cubicBezTo>
                      <a:pt x="840346" y="96484"/>
                      <a:pt x="750086" y="87147"/>
                      <a:pt x="662939" y="80922"/>
                    </a:cubicBezTo>
                    <a:cubicBezTo>
                      <a:pt x="641153" y="77810"/>
                      <a:pt x="622479" y="77810"/>
                      <a:pt x="600692" y="74697"/>
                    </a:cubicBezTo>
                    <a:cubicBezTo>
                      <a:pt x="529107" y="68473"/>
                      <a:pt x="457522" y="59135"/>
                      <a:pt x="392161" y="52911"/>
                    </a:cubicBezTo>
                    <a:cubicBezTo>
                      <a:pt x="370375" y="49798"/>
                      <a:pt x="348588" y="46686"/>
                      <a:pt x="329914" y="46686"/>
                    </a:cubicBezTo>
                    <a:cubicBezTo>
                      <a:pt x="136945" y="21787"/>
                      <a:pt x="0" y="0"/>
                      <a:pt x="0" y="0"/>
                    </a:cubicBezTo>
                    <a:cubicBezTo>
                      <a:pt x="0" y="0"/>
                      <a:pt x="93372" y="301902"/>
                      <a:pt x="149395" y="494870"/>
                    </a:cubicBezTo>
                    <a:cubicBezTo>
                      <a:pt x="155620" y="519769"/>
                      <a:pt x="161845" y="541556"/>
                      <a:pt x="168069" y="560231"/>
                    </a:cubicBezTo>
                    <a:cubicBezTo>
                      <a:pt x="174294" y="582017"/>
                      <a:pt x="177406" y="600692"/>
                      <a:pt x="180519" y="613141"/>
                    </a:cubicBezTo>
                    <a:cubicBezTo>
                      <a:pt x="192968" y="669164"/>
                      <a:pt x="180519" y="812335"/>
                      <a:pt x="161845" y="961729"/>
                    </a:cubicBezTo>
                    <a:cubicBezTo>
                      <a:pt x="152507" y="986628"/>
                      <a:pt x="149395" y="1008415"/>
                      <a:pt x="146283" y="1027089"/>
                    </a:cubicBezTo>
                    <a:close/>
                  </a:path>
                </a:pathLst>
              </a:custGeom>
              <a:solidFill>
                <a:srgbClr val="F6EBE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F93F2F1D-172B-43F5-98E1-30F5C399A520}"/>
                  </a:ext>
                </a:extLst>
              </p:cNvPr>
              <p:cNvSpPr/>
              <p:nvPr/>
            </p:nvSpPr>
            <p:spPr>
              <a:xfrm>
                <a:off x="6107680" y="8723269"/>
                <a:ext cx="1086224" cy="1413026"/>
              </a:xfrm>
              <a:custGeom>
                <a:avLst/>
                <a:gdLst>
                  <a:gd name="connsiteX0" fmla="*/ 230317 w 1086224"/>
                  <a:gd name="connsiteY0" fmla="*/ 952392 h 1413026"/>
                  <a:gd name="connsiteX1" fmla="*/ 220980 w 1086224"/>
                  <a:gd name="connsiteY1" fmla="*/ 1051989 h 1413026"/>
                  <a:gd name="connsiteX2" fmla="*/ 245879 w 1086224"/>
                  <a:gd name="connsiteY2" fmla="*/ 1104900 h 1413026"/>
                  <a:gd name="connsiteX3" fmla="*/ 289453 w 1086224"/>
                  <a:gd name="connsiteY3" fmla="*/ 1129798 h 1413026"/>
                  <a:gd name="connsiteX4" fmla="*/ 286340 w 1086224"/>
                  <a:gd name="connsiteY4" fmla="*/ 1142248 h 1413026"/>
                  <a:gd name="connsiteX5" fmla="*/ 270778 w 1086224"/>
                  <a:gd name="connsiteY5" fmla="*/ 1338329 h 1413026"/>
                  <a:gd name="connsiteX6" fmla="*/ 333026 w 1086224"/>
                  <a:gd name="connsiteY6" fmla="*/ 1341441 h 1413026"/>
                  <a:gd name="connsiteX7" fmla="*/ 348588 w 1086224"/>
                  <a:gd name="connsiteY7" fmla="*/ 1151586 h 1413026"/>
                  <a:gd name="connsiteX8" fmla="*/ 423285 w 1086224"/>
                  <a:gd name="connsiteY8" fmla="*/ 1176484 h 1413026"/>
                  <a:gd name="connsiteX9" fmla="*/ 407723 w 1086224"/>
                  <a:gd name="connsiteY9" fmla="*/ 1344553 h 1413026"/>
                  <a:gd name="connsiteX10" fmla="*/ 469971 w 1086224"/>
                  <a:gd name="connsiteY10" fmla="*/ 1347666 h 1413026"/>
                  <a:gd name="connsiteX11" fmla="*/ 510432 w 1086224"/>
                  <a:gd name="connsiteY11" fmla="*/ 834121 h 1413026"/>
                  <a:gd name="connsiteX12" fmla="*/ 737637 w 1086224"/>
                  <a:gd name="connsiteY12" fmla="*/ 865245 h 1413026"/>
                  <a:gd name="connsiteX13" fmla="*/ 784323 w 1086224"/>
                  <a:gd name="connsiteY13" fmla="*/ 1067551 h 1413026"/>
                  <a:gd name="connsiteX14" fmla="*/ 781210 w 1086224"/>
                  <a:gd name="connsiteY14" fmla="*/ 1413026 h 1413026"/>
                  <a:gd name="connsiteX15" fmla="*/ 846571 w 1086224"/>
                  <a:gd name="connsiteY15" fmla="*/ 1406801 h 1413026"/>
                  <a:gd name="connsiteX16" fmla="*/ 855908 w 1086224"/>
                  <a:gd name="connsiteY16" fmla="*/ 1235620 h 1413026"/>
                  <a:gd name="connsiteX17" fmla="*/ 1086225 w 1086224"/>
                  <a:gd name="connsiteY17" fmla="*/ 1220058 h 1413026"/>
                  <a:gd name="connsiteX18" fmla="*/ 1064438 w 1086224"/>
                  <a:gd name="connsiteY18" fmla="*/ 1160922 h 1413026"/>
                  <a:gd name="connsiteX19" fmla="*/ 859020 w 1086224"/>
                  <a:gd name="connsiteY19" fmla="*/ 1173372 h 1413026"/>
                  <a:gd name="connsiteX20" fmla="*/ 837233 w 1086224"/>
                  <a:gd name="connsiteY20" fmla="*/ 883920 h 1413026"/>
                  <a:gd name="connsiteX21" fmla="*/ 516657 w 1086224"/>
                  <a:gd name="connsiteY21" fmla="*/ 771873 h 1413026"/>
                  <a:gd name="connsiteX22" fmla="*/ 538444 w 1086224"/>
                  <a:gd name="connsiteY22" fmla="*/ 392162 h 1413026"/>
                  <a:gd name="connsiteX23" fmla="*/ 746974 w 1086224"/>
                  <a:gd name="connsiteY23" fmla="*/ 401499 h 1413026"/>
                  <a:gd name="connsiteX24" fmla="*/ 753199 w 1086224"/>
                  <a:gd name="connsiteY24" fmla="*/ 469971 h 1413026"/>
                  <a:gd name="connsiteX25" fmla="*/ 980403 w 1086224"/>
                  <a:gd name="connsiteY25" fmla="*/ 647378 h 1413026"/>
                  <a:gd name="connsiteX26" fmla="*/ 992853 w 1086224"/>
                  <a:gd name="connsiteY26" fmla="*/ 585130 h 1413026"/>
                  <a:gd name="connsiteX27" fmla="*/ 868357 w 1086224"/>
                  <a:gd name="connsiteY27" fmla="*/ 519769 h 1413026"/>
                  <a:gd name="connsiteX28" fmla="*/ 818559 w 1086224"/>
                  <a:gd name="connsiteY28" fmla="*/ 320576 h 1413026"/>
                  <a:gd name="connsiteX29" fmla="*/ 837233 w 1086224"/>
                  <a:gd name="connsiteY29" fmla="*/ 24899 h 1413026"/>
                  <a:gd name="connsiteX30" fmla="*/ 774985 w 1086224"/>
                  <a:gd name="connsiteY30" fmla="*/ 21787 h 1413026"/>
                  <a:gd name="connsiteX31" fmla="*/ 759423 w 1086224"/>
                  <a:gd name="connsiteY31" fmla="*/ 248991 h 1413026"/>
                  <a:gd name="connsiteX32" fmla="*/ 750086 w 1086224"/>
                  <a:gd name="connsiteY32" fmla="*/ 342363 h 1413026"/>
                  <a:gd name="connsiteX33" fmla="*/ 600692 w 1086224"/>
                  <a:gd name="connsiteY33" fmla="*/ 336138 h 1413026"/>
                  <a:gd name="connsiteX34" fmla="*/ 525994 w 1086224"/>
                  <a:gd name="connsiteY34" fmla="*/ 308127 h 1413026"/>
                  <a:gd name="connsiteX35" fmla="*/ 516657 w 1086224"/>
                  <a:gd name="connsiteY35" fmla="*/ 224092 h 1413026"/>
                  <a:gd name="connsiteX36" fmla="*/ 507320 w 1086224"/>
                  <a:gd name="connsiteY36" fmla="*/ 6225 h 1413026"/>
                  <a:gd name="connsiteX37" fmla="*/ 445072 w 1086224"/>
                  <a:gd name="connsiteY37" fmla="*/ 0 h 1413026"/>
                  <a:gd name="connsiteX38" fmla="*/ 448184 w 1086224"/>
                  <a:gd name="connsiteY38" fmla="*/ 152507 h 1413026"/>
                  <a:gd name="connsiteX39" fmla="*/ 473083 w 1086224"/>
                  <a:gd name="connsiteY39" fmla="*/ 345476 h 1413026"/>
                  <a:gd name="connsiteX40" fmla="*/ 479308 w 1086224"/>
                  <a:gd name="connsiteY40" fmla="*/ 354813 h 1413026"/>
                  <a:gd name="connsiteX41" fmla="*/ 479308 w 1086224"/>
                  <a:gd name="connsiteY41" fmla="*/ 357925 h 1413026"/>
                  <a:gd name="connsiteX42" fmla="*/ 448184 w 1086224"/>
                  <a:gd name="connsiteY42" fmla="*/ 890144 h 1413026"/>
                  <a:gd name="connsiteX43" fmla="*/ 9337 w 1086224"/>
                  <a:gd name="connsiteY43" fmla="*/ 887032 h 1413026"/>
                  <a:gd name="connsiteX44" fmla="*/ 0 w 1086224"/>
                  <a:gd name="connsiteY44" fmla="*/ 949280 h 1413026"/>
                  <a:gd name="connsiteX45" fmla="*/ 230317 w 1086224"/>
                  <a:gd name="connsiteY45" fmla="*/ 952392 h 1413026"/>
                  <a:gd name="connsiteX46" fmla="*/ 283227 w 1086224"/>
                  <a:gd name="connsiteY46" fmla="*/ 1058214 h 1413026"/>
                  <a:gd name="connsiteX47" fmla="*/ 289453 w 1086224"/>
                  <a:gd name="connsiteY47" fmla="*/ 952392 h 1413026"/>
                  <a:gd name="connsiteX48" fmla="*/ 441960 w 1086224"/>
                  <a:gd name="connsiteY48" fmla="*/ 949280 h 1413026"/>
                  <a:gd name="connsiteX49" fmla="*/ 429510 w 1086224"/>
                  <a:gd name="connsiteY49" fmla="*/ 1114236 h 1413026"/>
                  <a:gd name="connsiteX50" fmla="*/ 357925 w 1086224"/>
                  <a:gd name="connsiteY50" fmla="*/ 1089338 h 1413026"/>
                  <a:gd name="connsiteX51" fmla="*/ 283227 w 1086224"/>
                  <a:gd name="connsiteY51" fmla="*/ 1058214 h 141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1086224" h="1413026">
                    <a:moveTo>
                      <a:pt x="230317" y="952392"/>
                    </a:moveTo>
                    <a:cubicBezTo>
                      <a:pt x="227205" y="986628"/>
                      <a:pt x="224092" y="1020865"/>
                      <a:pt x="220980" y="1051989"/>
                    </a:cubicBezTo>
                    <a:cubicBezTo>
                      <a:pt x="220980" y="1076887"/>
                      <a:pt x="224092" y="1092449"/>
                      <a:pt x="245879" y="1104900"/>
                    </a:cubicBezTo>
                    <a:cubicBezTo>
                      <a:pt x="258329" y="1114236"/>
                      <a:pt x="273891" y="1120462"/>
                      <a:pt x="289453" y="1129798"/>
                    </a:cubicBezTo>
                    <a:cubicBezTo>
                      <a:pt x="286340" y="1132911"/>
                      <a:pt x="286340" y="1139135"/>
                      <a:pt x="286340" y="1142248"/>
                    </a:cubicBezTo>
                    <a:cubicBezTo>
                      <a:pt x="280115" y="1207608"/>
                      <a:pt x="277003" y="1272969"/>
                      <a:pt x="270778" y="1338329"/>
                    </a:cubicBezTo>
                    <a:lnTo>
                      <a:pt x="333026" y="1341441"/>
                    </a:lnTo>
                    <a:cubicBezTo>
                      <a:pt x="339251" y="1279193"/>
                      <a:pt x="342363" y="1213833"/>
                      <a:pt x="348588" y="1151586"/>
                    </a:cubicBezTo>
                    <a:cubicBezTo>
                      <a:pt x="373487" y="1160922"/>
                      <a:pt x="401498" y="1170259"/>
                      <a:pt x="423285" y="1176484"/>
                    </a:cubicBezTo>
                    <a:cubicBezTo>
                      <a:pt x="417060" y="1232507"/>
                      <a:pt x="413948" y="1288531"/>
                      <a:pt x="407723" y="1344553"/>
                    </a:cubicBezTo>
                    <a:lnTo>
                      <a:pt x="469971" y="1347666"/>
                    </a:lnTo>
                    <a:cubicBezTo>
                      <a:pt x="485533" y="1176484"/>
                      <a:pt x="501095" y="1005303"/>
                      <a:pt x="510432" y="834121"/>
                    </a:cubicBezTo>
                    <a:cubicBezTo>
                      <a:pt x="578905" y="840346"/>
                      <a:pt x="678502" y="834121"/>
                      <a:pt x="737637" y="865245"/>
                    </a:cubicBezTo>
                    <a:cubicBezTo>
                      <a:pt x="799885" y="899482"/>
                      <a:pt x="784323" y="995965"/>
                      <a:pt x="784323" y="1067551"/>
                    </a:cubicBezTo>
                    <a:cubicBezTo>
                      <a:pt x="784323" y="1182709"/>
                      <a:pt x="781210" y="1297867"/>
                      <a:pt x="781210" y="1413026"/>
                    </a:cubicBezTo>
                    <a:lnTo>
                      <a:pt x="846571" y="1406801"/>
                    </a:lnTo>
                    <a:cubicBezTo>
                      <a:pt x="849683" y="1350778"/>
                      <a:pt x="852795" y="1291643"/>
                      <a:pt x="855908" y="1235620"/>
                    </a:cubicBezTo>
                    <a:cubicBezTo>
                      <a:pt x="933718" y="1232507"/>
                      <a:pt x="1008415" y="1226283"/>
                      <a:pt x="1086225" y="1220058"/>
                    </a:cubicBezTo>
                    <a:cubicBezTo>
                      <a:pt x="1080000" y="1201383"/>
                      <a:pt x="1070663" y="1179597"/>
                      <a:pt x="1064438" y="1160922"/>
                    </a:cubicBezTo>
                    <a:cubicBezTo>
                      <a:pt x="995965" y="1167148"/>
                      <a:pt x="927493" y="1170259"/>
                      <a:pt x="859020" y="1173372"/>
                    </a:cubicBezTo>
                    <a:cubicBezTo>
                      <a:pt x="862132" y="1073776"/>
                      <a:pt x="859020" y="974179"/>
                      <a:pt x="837233" y="883920"/>
                    </a:cubicBezTo>
                    <a:cubicBezTo>
                      <a:pt x="806109" y="750087"/>
                      <a:pt x="631816" y="781211"/>
                      <a:pt x="516657" y="771873"/>
                    </a:cubicBezTo>
                    <a:cubicBezTo>
                      <a:pt x="525994" y="644265"/>
                      <a:pt x="532219" y="519769"/>
                      <a:pt x="538444" y="392162"/>
                    </a:cubicBezTo>
                    <a:cubicBezTo>
                      <a:pt x="600692" y="410836"/>
                      <a:pt x="687838" y="404611"/>
                      <a:pt x="746974" y="401499"/>
                    </a:cubicBezTo>
                    <a:cubicBezTo>
                      <a:pt x="746974" y="426398"/>
                      <a:pt x="746974" y="448185"/>
                      <a:pt x="753199" y="469971"/>
                    </a:cubicBezTo>
                    <a:cubicBezTo>
                      <a:pt x="774985" y="569568"/>
                      <a:pt x="893256" y="606916"/>
                      <a:pt x="980403" y="647378"/>
                    </a:cubicBezTo>
                    <a:cubicBezTo>
                      <a:pt x="983516" y="628703"/>
                      <a:pt x="986628" y="606916"/>
                      <a:pt x="992853" y="585130"/>
                    </a:cubicBezTo>
                    <a:cubicBezTo>
                      <a:pt x="949280" y="566455"/>
                      <a:pt x="899481" y="547781"/>
                      <a:pt x="868357" y="519769"/>
                    </a:cubicBezTo>
                    <a:cubicBezTo>
                      <a:pt x="796772" y="457522"/>
                      <a:pt x="815447" y="398386"/>
                      <a:pt x="818559" y="320576"/>
                    </a:cubicBezTo>
                    <a:cubicBezTo>
                      <a:pt x="821671" y="220980"/>
                      <a:pt x="827896" y="124496"/>
                      <a:pt x="837233" y="24899"/>
                    </a:cubicBezTo>
                    <a:cubicBezTo>
                      <a:pt x="815447" y="24899"/>
                      <a:pt x="796772" y="21787"/>
                      <a:pt x="774985" y="21787"/>
                    </a:cubicBezTo>
                    <a:cubicBezTo>
                      <a:pt x="768761" y="96484"/>
                      <a:pt x="765648" y="171182"/>
                      <a:pt x="759423" y="248991"/>
                    </a:cubicBezTo>
                    <a:cubicBezTo>
                      <a:pt x="759423" y="277003"/>
                      <a:pt x="753199" y="308127"/>
                      <a:pt x="750086" y="342363"/>
                    </a:cubicBezTo>
                    <a:cubicBezTo>
                      <a:pt x="700288" y="342363"/>
                      <a:pt x="647378" y="342363"/>
                      <a:pt x="600692" y="336138"/>
                    </a:cubicBezTo>
                    <a:cubicBezTo>
                      <a:pt x="575793" y="333026"/>
                      <a:pt x="541556" y="336138"/>
                      <a:pt x="525994" y="308127"/>
                    </a:cubicBezTo>
                    <a:cubicBezTo>
                      <a:pt x="513545" y="289453"/>
                      <a:pt x="516657" y="245879"/>
                      <a:pt x="516657" y="224092"/>
                    </a:cubicBezTo>
                    <a:cubicBezTo>
                      <a:pt x="510432" y="152507"/>
                      <a:pt x="507320" y="77810"/>
                      <a:pt x="507320" y="6225"/>
                    </a:cubicBezTo>
                    <a:cubicBezTo>
                      <a:pt x="485533" y="3113"/>
                      <a:pt x="466859" y="3113"/>
                      <a:pt x="445072" y="0"/>
                    </a:cubicBezTo>
                    <a:cubicBezTo>
                      <a:pt x="445072" y="49798"/>
                      <a:pt x="445072" y="102709"/>
                      <a:pt x="448184" y="152507"/>
                    </a:cubicBezTo>
                    <a:cubicBezTo>
                      <a:pt x="451297" y="211643"/>
                      <a:pt x="445072" y="292565"/>
                      <a:pt x="473083" y="345476"/>
                    </a:cubicBezTo>
                    <a:cubicBezTo>
                      <a:pt x="476196" y="348588"/>
                      <a:pt x="476196" y="351700"/>
                      <a:pt x="479308" y="354813"/>
                    </a:cubicBezTo>
                    <a:cubicBezTo>
                      <a:pt x="479308" y="354813"/>
                      <a:pt x="479308" y="354813"/>
                      <a:pt x="479308" y="357925"/>
                    </a:cubicBezTo>
                    <a:cubicBezTo>
                      <a:pt x="469971" y="535331"/>
                      <a:pt x="460634" y="712738"/>
                      <a:pt x="448184" y="890144"/>
                    </a:cubicBezTo>
                    <a:cubicBezTo>
                      <a:pt x="301902" y="896369"/>
                      <a:pt x="155620" y="893256"/>
                      <a:pt x="9337" y="887032"/>
                    </a:cubicBezTo>
                    <a:cubicBezTo>
                      <a:pt x="6225" y="908818"/>
                      <a:pt x="3112" y="927493"/>
                      <a:pt x="0" y="949280"/>
                    </a:cubicBezTo>
                    <a:cubicBezTo>
                      <a:pt x="77810" y="949280"/>
                      <a:pt x="152507" y="949280"/>
                      <a:pt x="230317" y="952392"/>
                    </a:cubicBezTo>
                    <a:close/>
                    <a:moveTo>
                      <a:pt x="283227" y="1058214"/>
                    </a:moveTo>
                    <a:cubicBezTo>
                      <a:pt x="283227" y="1023977"/>
                      <a:pt x="286340" y="986628"/>
                      <a:pt x="289453" y="952392"/>
                    </a:cubicBezTo>
                    <a:cubicBezTo>
                      <a:pt x="339251" y="952392"/>
                      <a:pt x="392161" y="952392"/>
                      <a:pt x="441960" y="949280"/>
                    </a:cubicBezTo>
                    <a:cubicBezTo>
                      <a:pt x="438847" y="1005303"/>
                      <a:pt x="432622" y="1058214"/>
                      <a:pt x="429510" y="1114236"/>
                    </a:cubicBezTo>
                    <a:cubicBezTo>
                      <a:pt x="404611" y="1104900"/>
                      <a:pt x="382824" y="1098675"/>
                      <a:pt x="357925" y="1089338"/>
                    </a:cubicBezTo>
                    <a:cubicBezTo>
                      <a:pt x="339251" y="1080000"/>
                      <a:pt x="305015" y="1070663"/>
                      <a:pt x="283227" y="1058214"/>
                    </a:cubicBezTo>
                    <a:close/>
                  </a:path>
                </a:pathLst>
              </a:custGeom>
              <a:solidFill>
                <a:srgbClr val="EDE2E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371C7260-A270-45B2-9C3C-C753E9CC51F4}"/>
                  </a:ext>
                </a:extLst>
              </p:cNvPr>
              <p:cNvSpPr/>
              <p:nvPr/>
            </p:nvSpPr>
            <p:spPr>
              <a:xfrm>
                <a:off x="6101455" y="8689033"/>
                <a:ext cx="245879" cy="513544"/>
              </a:xfrm>
              <a:custGeom>
                <a:avLst/>
                <a:gdLst>
                  <a:gd name="connsiteX0" fmla="*/ 0 w 245879"/>
                  <a:gd name="connsiteY0" fmla="*/ 448184 h 513544"/>
                  <a:gd name="connsiteX1" fmla="*/ 18674 w 245879"/>
                  <a:gd name="connsiteY1" fmla="*/ 513545 h 513544"/>
                  <a:gd name="connsiteX2" fmla="*/ 199193 w 245879"/>
                  <a:gd name="connsiteY2" fmla="*/ 438847 h 513544"/>
                  <a:gd name="connsiteX3" fmla="*/ 236542 w 245879"/>
                  <a:gd name="connsiteY3" fmla="*/ 199193 h 513544"/>
                  <a:gd name="connsiteX4" fmla="*/ 245879 w 245879"/>
                  <a:gd name="connsiteY4" fmla="*/ 6225 h 513544"/>
                  <a:gd name="connsiteX5" fmla="*/ 183631 w 245879"/>
                  <a:gd name="connsiteY5" fmla="*/ 0 h 513544"/>
                  <a:gd name="connsiteX6" fmla="*/ 161845 w 245879"/>
                  <a:gd name="connsiteY6" fmla="*/ 298789 h 513544"/>
                  <a:gd name="connsiteX7" fmla="*/ 87147 w 245879"/>
                  <a:gd name="connsiteY7" fmla="*/ 441960 h 513544"/>
                  <a:gd name="connsiteX8" fmla="*/ 0 w 245879"/>
                  <a:gd name="connsiteY8" fmla="*/ 448184 h 513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5879" h="513544">
                    <a:moveTo>
                      <a:pt x="0" y="448184"/>
                    </a:moveTo>
                    <a:cubicBezTo>
                      <a:pt x="6225" y="473083"/>
                      <a:pt x="12450" y="494870"/>
                      <a:pt x="18674" y="513545"/>
                    </a:cubicBezTo>
                    <a:cubicBezTo>
                      <a:pt x="93372" y="513545"/>
                      <a:pt x="171182" y="504207"/>
                      <a:pt x="199193" y="438847"/>
                    </a:cubicBezTo>
                    <a:cubicBezTo>
                      <a:pt x="227205" y="370374"/>
                      <a:pt x="227205" y="273890"/>
                      <a:pt x="236542" y="199193"/>
                    </a:cubicBezTo>
                    <a:cubicBezTo>
                      <a:pt x="242766" y="133832"/>
                      <a:pt x="245879" y="68473"/>
                      <a:pt x="245879" y="6225"/>
                    </a:cubicBezTo>
                    <a:cubicBezTo>
                      <a:pt x="224092" y="3112"/>
                      <a:pt x="202305" y="0"/>
                      <a:pt x="183631" y="0"/>
                    </a:cubicBezTo>
                    <a:cubicBezTo>
                      <a:pt x="183631" y="99596"/>
                      <a:pt x="177406" y="199193"/>
                      <a:pt x="161845" y="298789"/>
                    </a:cubicBezTo>
                    <a:cubicBezTo>
                      <a:pt x="152507" y="364150"/>
                      <a:pt x="161845" y="423285"/>
                      <a:pt x="87147" y="441960"/>
                    </a:cubicBezTo>
                    <a:cubicBezTo>
                      <a:pt x="59135" y="445072"/>
                      <a:pt x="31124" y="448184"/>
                      <a:pt x="0" y="448184"/>
                    </a:cubicBezTo>
                    <a:close/>
                  </a:path>
                </a:pathLst>
              </a:custGeom>
              <a:solidFill>
                <a:srgbClr val="EDE2E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51BCA88F-0C42-413F-9090-B91468BB2AA8}"/>
                </a:ext>
              </a:extLst>
            </p:cNvPr>
            <p:cNvSpPr/>
            <p:nvPr/>
          </p:nvSpPr>
          <p:spPr>
            <a:xfrm>
              <a:off x="6641633" y="9478291"/>
              <a:ext cx="40016" cy="679790"/>
            </a:xfrm>
            <a:custGeom>
              <a:avLst/>
              <a:gdLst>
                <a:gd name="connsiteX0" fmla="*/ 35615 w 40016"/>
                <a:gd name="connsiteY0" fmla="*/ 679790 h 679790"/>
                <a:gd name="connsiteX1" fmla="*/ 29390 w 40016"/>
                <a:gd name="connsiteY1" fmla="*/ 673566 h 679790"/>
                <a:gd name="connsiteX2" fmla="*/ 13828 w 40016"/>
                <a:gd name="connsiteY2" fmla="*/ 4402 h 679790"/>
                <a:gd name="connsiteX3" fmla="*/ 20053 w 40016"/>
                <a:gd name="connsiteY3" fmla="*/ 1289 h 679790"/>
                <a:gd name="connsiteX4" fmla="*/ 23165 w 40016"/>
                <a:gd name="connsiteY4" fmla="*/ 7514 h 679790"/>
                <a:gd name="connsiteX5" fmla="*/ 38727 w 40016"/>
                <a:gd name="connsiteY5" fmla="*/ 673566 h 679790"/>
                <a:gd name="connsiteX6" fmla="*/ 35615 w 40016"/>
                <a:gd name="connsiteY6" fmla="*/ 679790 h 679790"/>
                <a:gd name="connsiteX7" fmla="*/ 35615 w 40016"/>
                <a:gd name="connsiteY7" fmla="*/ 679790 h 679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16" h="679790">
                  <a:moveTo>
                    <a:pt x="35615" y="679790"/>
                  </a:moveTo>
                  <a:cubicBezTo>
                    <a:pt x="32502" y="679790"/>
                    <a:pt x="29390" y="676679"/>
                    <a:pt x="29390" y="673566"/>
                  </a:cubicBezTo>
                  <a:cubicBezTo>
                    <a:pt x="26277" y="651779"/>
                    <a:pt x="-23521" y="153796"/>
                    <a:pt x="13828" y="4402"/>
                  </a:cubicBezTo>
                  <a:cubicBezTo>
                    <a:pt x="13828" y="1289"/>
                    <a:pt x="16940" y="-1823"/>
                    <a:pt x="20053" y="1289"/>
                  </a:cubicBezTo>
                  <a:cubicBezTo>
                    <a:pt x="23165" y="1289"/>
                    <a:pt x="26277" y="4402"/>
                    <a:pt x="23165" y="7514"/>
                  </a:cubicBezTo>
                  <a:cubicBezTo>
                    <a:pt x="-14184" y="153796"/>
                    <a:pt x="38727" y="667341"/>
                    <a:pt x="38727" y="673566"/>
                  </a:cubicBezTo>
                  <a:cubicBezTo>
                    <a:pt x="41839" y="676679"/>
                    <a:pt x="38727" y="679790"/>
                    <a:pt x="35615" y="679790"/>
                  </a:cubicBezTo>
                  <a:cubicBezTo>
                    <a:pt x="35615" y="679790"/>
                    <a:pt x="35615" y="679790"/>
                    <a:pt x="35615" y="679790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9" name="图形 1">
              <a:extLst>
                <a:ext uri="{FF2B5EF4-FFF2-40B4-BE49-F238E27FC236}">
                  <a16:creationId xmlns:a16="http://schemas.microsoft.com/office/drawing/2014/main" id="{F40A30E5-6973-4E20-A4B4-3FCD2474B46C}"/>
                </a:ext>
              </a:extLst>
            </p:cNvPr>
            <p:cNvGrpSpPr/>
            <p:nvPr/>
          </p:nvGrpSpPr>
          <p:grpSpPr>
            <a:xfrm>
              <a:off x="6098343" y="9230755"/>
              <a:ext cx="82966" cy="188609"/>
              <a:chOff x="6098343" y="9230755"/>
              <a:chExt cx="82966" cy="188609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185F8F0E-92D3-47A8-A196-E4BFA9C8B349}"/>
                  </a:ext>
                </a:extLst>
              </p:cNvPr>
              <p:cNvSpPr/>
              <p:nvPr/>
            </p:nvSpPr>
            <p:spPr>
              <a:xfrm>
                <a:off x="6103740" y="9236814"/>
                <a:ext cx="77569" cy="182551"/>
              </a:xfrm>
              <a:custGeom>
                <a:avLst/>
                <a:gdLst>
                  <a:gd name="connsiteX0" fmla="*/ 10165 w 77569"/>
                  <a:gd name="connsiteY0" fmla="*/ 43574 h 182551"/>
                  <a:gd name="connsiteX1" fmla="*/ 10165 w 77569"/>
                  <a:gd name="connsiteY1" fmla="*/ 43574 h 182551"/>
                  <a:gd name="connsiteX2" fmla="*/ 10165 w 77569"/>
                  <a:gd name="connsiteY2" fmla="*/ 40461 h 182551"/>
                  <a:gd name="connsiteX3" fmla="*/ 16390 w 77569"/>
                  <a:gd name="connsiteY3" fmla="*/ 3113 h 182551"/>
                  <a:gd name="connsiteX4" fmla="*/ 22615 w 77569"/>
                  <a:gd name="connsiteY4" fmla="*/ 0 h 182551"/>
                  <a:gd name="connsiteX5" fmla="*/ 28839 w 77569"/>
                  <a:gd name="connsiteY5" fmla="*/ 3113 h 182551"/>
                  <a:gd name="connsiteX6" fmla="*/ 72413 w 77569"/>
                  <a:gd name="connsiteY6" fmla="*/ 28012 h 182551"/>
                  <a:gd name="connsiteX7" fmla="*/ 75525 w 77569"/>
                  <a:gd name="connsiteY7" fmla="*/ 65360 h 182551"/>
                  <a:gd name="connsiteX8" fmla="*/ 66188 w 77569"/>
                  <a:gd name="connsiteY8" fmla="*/ 74698 h 182551"/>
                  <a:gd name="connsiteX9" fmla="*/ 66188 w 77569"/>
                  <a:gd name="connsiteY9" fmla="*/ 108934 h 182551"/>
                  <a:gd name="connsiteX10" fmla="*/ 59963 w 77569"/>
                  <a:gd name="connsiteY10" fmla="*/ 115158 h 182551"/>
                  <a:gd name="connsiteX11" fmla="*/ 63076 w 77569"/>
                  <a:gd name="connsiteY11" fmla="*/ 146282 h 182551"/>
                  <a:gd name="connsiteX12" fmla="*/ 53739 w 77569"/>
                  <a:gd name="connsiteY12" fmla="*/ 152507 h 182551"/>
                  <a:gd name="connsiteX13" fmla="*/ 56851 w 77569"/>
                  <a:gd name="connsiteY13" fmla="*/ 177406 h 182551"/>
                  <a:gd name="connsiteX14" fmla="*/ 44401 w 77569"/>
                  <a:gd name="connsiteY14" fmla="*/ 180519 h 182551"/>
                  <a:gd name="connsiteX15" fmla="*/ 25727 w 77569"/>
                  <a:gd name="connsiteY15" fmla="*/ 171182 h 182551"/>
                  <a:gd name="connsiteX16" fmla="*/ 13277 w 77569"/>
                  <a:gd name="connsiteY16" fmla="*/ 155620 h 182551"/>
                  <a:gd name="connsiteX17" fmla="*/ 16390 w 77569"/>
                  <a:gd name="connsiteY17" fmla="*/ 133833 h 182551"/>
                  <a:gd name="connsiteX18" fmla="*/ 7053 w 77569"/>
                  <a:gd name="connsiteY18" fmla="*/ 115158 h 182551"/>
                  <a:gd name="connsiteX19" fmla="*/ 7053 w 77569"/>
                  <a:gd name="connsiteY19" fmla="*/ 90260 h 182551"/>
                  <a:gd name="connsiteX20" fmla="*/ 828 w 77569"/>
                  <a:gd name="connsiteY20" fmla="*/ 77810 h 182551"/>
                  <a:gd name="connsiteX21" fmla="*/ 10165 w 77569"/>
                  <a:gd name="connsiteY21" fmla="*/ 43574 h 182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7569" h="182551">
                    <a:moveTo>
                      <a:pt x="10165" y="43574"/>
                    </a:moveTo>
                    <a:cubicBezTo>
                      <a:pt x="10165" y="40461"/>
                      <a:pt x="10165" y="40461"/>
                      <a:pt x="10165" y="43574"/>
                    </a:cubicBezTo>
                    <a:cubicBezTo>
                      <a:pt x="13277" y="40461"/>
                      <a:pt x="10165" y="40461"/>
                      <a:pt x="10165" y="40461"/>
                    </a:cubicBezTo>
                    <a:cubicBezTo>
                      <a:pt x="7053" y="24899"/>
                      <a:pt x="10165" y="6225"/>
                      <a:pt x="16390" y="3113"/>
                    </a:cubicBezTo>
                    <a:cubicBezTo>
                      <a:pt x="19502" y="0"/>
                      <a:pt x="19502" y="0"/>
                      <a:pt x="22615" y="0"/>
                    </a:cubicBezTo>
                    <a:cubicBezTo>
                      <a:pt x="22615" y="0"/>
                      <a:pt x="28839" y="3113"/>
                      <a:pt x="28839" y="3113"/>
                    </a:cubicBezTo>
                    <a:cubicBezTo>
                      <a:pt x="44401" y="9337"/>
                      <a:pt x="63076" y="9337"/>
                      <a:pt x="72413" y="28012"/>
                    </a:cubicBezTo>
                    <a:cubicBezTo>
                      <a:pt x="78638" y="37349"/>
                      <a:pt x="78638" y="52911"/>
                      <a:pt x="75525" y="65360"/>
                    </a:cubicBezTo>
                    <a:cubicBezTo>
                      <a:pt x="72413" y="71585"/>
                      <a:pt x="69301" y="74698"/>
                      <a:pt x="66188" y="74698"/>
                    </a:cubicBezTo>
                    <a:cubicBezTo>
                      <a:pt x="69301" y="84034"/>
                      <a:pt x="72413" y="99596"/>
                      <a:pt x="66188" y="108934"/>
                    </a:cubicBezTo>
                    <a:cubicBezTo>
                      <a:pt x="63076" y="115158"/>
                      <a:pt x="63076" y="115158"/>
                      <a:pt x="59963" y="115158"/>
                    </a:cubicBezTo>
                    <a:cubicBezTo>
                      <a:pt x="63076" y="124496"/>
                      <a:pt x="66188" y="136946"/>
                      <a:pt x="63076" y="146282"/>
                    </a:cubicBezTo>
                    <a:cubicBezTo>
                      <a:pt x="59963" y="152507"/>
                      <a:pt x="56851" y="152507"/>
                      <a:pt x="53739" y="152507"/>
                    </a:cubicBezTo>
                    <a:cubicBezTo>
                      <a:pt x="56851" y="158732"/>
                      <a:pt x="56851" y="168069"/>
                      <a:pt x="56851" y="177406"/>
                    </a:cubicBezTo>
                    <a:cubicBezTo>
                      <a:pt x="53739" y="186744"/>
                      <a:pt x="47514" y="180519"/>
                      <a:pt x="44401" y="180519"/>
                    </a:cubicBezTo>
                    <a:cubicBezTo>
                      <a:pt x="38177" y="177406"/>
                      <a:pt x="31952" y="177406"/>
                      <a:pt x="25727" y="171182"/>
                    </a:cubicBezTo>
                    <a:cubicBezTo>
                      <a:pt x="22615" y="168069"/>
                      <a:pt x="13277" y="168069"/>
                      <a:pt x="13277" y="155620"/>
                    </a:cubicBezTo>
                    <a:cubicBezTo>
                      <a:pt x="13277" y="146282"/>
                      <a:pt x="13277" y="140058"/>
                      <a:pt x="16390" y="133833"/>
                    </a:cubicBezTo>
                    <a:cubicBezTo>
                      <a:pt x="13277" y="130720"/>
                      <a:pt x="7053" y="127608"/>
                      <a:pt x="7053" y="115158"/>
                    </a:cubicBezTo>
                    <a:cubicBezTo>
                      <a:pt x="3940" y="105822"/>
                      <a:pt x="7053" y="96484"/>
                      <a:pt x="7053" y="90260"/>
                    </a:cubicBezTo>
                    <a:cubicBezTo>
                      <a:pt x="3940" y="87147"/>
                      <a:pt x="3940" y="84034"/>
                      <a:pt x="828" y="77810"/>
                    </a:cubicBezTo>
                    <a:cubicBezTo>
                      <a:pt x="-2285" y="65360"/>
                      <a:pt x="3940" y="46686"/>
                      <a:pt x="10165" y="4357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82C9292B-761A-41E5-8879-5CEC1A6BDB31}"/>
                  </a:ext>
                </a:extLst>
              </p:cNvPr>
              <p:cNvSpPr/>
              <p:nvPr/>
            </p:nvSpPr>
            <p:spPr>
              <a:xfrm>
                <a:off x="6098343" y="9230755"/>
                <a:ext cx="81548" cy="124329"/>
              </a:xfrm>
              <a:custGeom>
                <a:avLst/>
                <a:gdLst>
                  <a:gd name="connsiteX0" fmla="*/ 59135 w 81548"/>
                  <a:gd name="connsiteY0" fmla="*/ 124330 h 124329"/>
                  <a:gd name="connsiteX1" fmla="*/ 31124 w 81548"/>
                  <a:gd name="connsiteY1" fmla="*/ 114992 h 124329"/>
                  <a:gd name="connsiteX2" fmla="*/ 0 w 81548"/>
                  <a:gd name="connsiteY2" fmla="*/ 74531 h 124329"/>
                  <a:gd name="connsiteX3" fmla="*/ 9337 w 81548"/>
                  <a:gd name="connsiteY3" fmla="*/ 37183 h 124329"/>
                  <a:gd name="connsiteX4" fmla="*/ 9337 w 81548"/>
                  <a:gd name="connsiteY4" fmla="*/ 37183 h 124329"/>
                  <a:gd name="connsiteX5" fmla="*/ 6225 w 81548"/>
                  <a:gd name="connsiteY5" fmla="*/ 24733 h 124329"/>
                  <a:gd name="connsiteX6" fmla="*/ 15562 w 81548"/>
                  <a:gd name="connsiteY6" fmla="*/ 2947 h 124329"/>
                  <a:gd name="connsiteX7" fmla="*/ 65360 w 81548"/>
                  <a:gd name="connsiteY7" fmla="*/ 12283 h 124329"/>
                  <a:gd name="connsiteX8" fmla="*/ 68473 w 81548"/>
                  <a:gd name="connsiteY8" fmla="*/ 21621 h 124329"/>
                  <a:gd name="connsiteX9" fmla="*/ 59135 w 81548"/>
                  <a:gd name="connsiteY9" fmla="*/ 24733 h 124329"/>
                  <a:gd name="connsiteX10" fmla="*/ 21787 w 81548"/>
                  <a:gd name="connsiteY10" fmla="*/ 15396 h 124329"/>
                  <a:gd name="connsiteX11" fmla="*/ 18674 w 81548"/>
                  <a:gd name="connsiteY11" fmla="*/ 27845 h 124329"/>
                  <a:gd name="connsiteX12" fmla="*/ 71585 w 81548"/>
                  <a:gd name="connsiteY12" fmla="*/ 71419 h 124329"/>
                  <a:gd name="connsiteX13" fmla="*/ 80922 w 81548"/>
                  <a:gd name="connsiteY13" fmla="*/ 99430 h 124329"/>
                  <a:gd name="connsiteX14" fmla="*/ 68473 w 81548"/>
                  <a:gd name="connsiteY14" fmla="*/ 121217 h 124329"/>
                  <a:gd name="connsiteX15" fmla="*/ 59135 w 81548"/>
                  <a:gd name="connsiteY15" fmla="*/ 124330 h 124329"/>
                  <a:gd name="connsiteX16" fmla="*/ 15562 w 81548"/>
                  <a:gd name="connsiteY16" fmla="*/ 55857 h 124329"/>
                  <a:gd name="connsiteX17" fmla="*/ 12450 w 81548"/>
                  <a:gd name="connsiteY17" fmla="*/ 77644 h 124329"/>
                  <a:gd name="connsiteX18" fmla="*/ 37349 w 81548"/>
                  <a:gd name="connsiteY18" fmla="*/ 105655 h 124329"/>
                  <a:gd name="connsiteX19" fmla="*/ 68473 w 81548"/>
                  <a:gd name="connsiteY19" fmla="*/ 111880 h 124329"/>
                  <a:gd name="connsiteX20" fmla="*/ 74697 w 81548"/>
                  <a:gd name="connsiteY20" fmla="*/ 99430 h 124329"/>
                  <a:gd name="connsiteX21" fmla="*/ 74697 w 81548"/>
                  <a:gd name="connsiteY21" fmla="*/ 83868 h 124329"/>
                  <a:gd name="connsiteX22" fmla="*/ 15562 w 81548"/>
                  <a:gd name="connsiteY22" fmla="*/ 55857 h 124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81548" h="124329">
                    <a:moveTo>
                      <a:pt x="59135" y="124330"/>
                    </a:moveTo>
                    <a:cubicBezTo>
                      <a:pt x="49798" y="124330"/>
                      <a:pt x="40461" y="121217"/>
                      <a:pt x="31124" y="114992"/>
                    </a:cubicBezTo>
                    <a:cubicBezTo>
                      <a:pt x="12450" y="105655"/>
                      <a:pt x="0" y="99430"/>
                      <a:pt x="0" y="74531"/>
                    </a:cubicBezTo>
                    <a:cubicBezTo>
                      <a:pt x="0" y="55857"/>
                      <a:pt x="9337" y="40295"/>
                      <a:pt x="9337" y="37183"/>
                    </a:cubicBezTo>
                    <a:lnTo>
                      <a:pt x="9337" y="37183"/>
                    </a:lnTo>
                    <a:cubicBezTo>
                      <a:pt x="9337" y="34070"/>
                      <a:pt x="9337" y="27845"/>
                      <a:pt x="6225" y="24733"/>
                    </a:cubicBezTo>
                    <a:cubicBezTo>
                      <a:pt x="6225" y="12283"/>
                      <a:pt x="12450" y="6059"/>
                      <a:pt x="15562" y="2947"/>
                    </a:cubicBezTo>
                    <a:cubicBezTo>
                      <a:pt x="31124" y="-6391"/>
                      <a:pt x="59135" y="9171"/>
                      <a:pt x="65360" y="12283"/>
                    </a:cubicBezTo>
                    <a:cubicBezTo>
                      <a:pt x="68473" y="15396"/>
                      <a:pt x="68473" y="18509"/>
                      <a:pt x="68473" y="21621"/>
                    </a:cubicBezTo>
                    <a:cubicBezTo>
                      <a:pt x="65360" y="24733"/>
                      <a:pt x="62248" y="24733"/>
                      <a:pt x="59135" y="24733"/>
                    </a:cubicBezTo>
                    <a:cubicBezTo>
                      <a:pt x="46686" y="18509"/>
                      <a:pt x="28012" y="9171"/>
                      <a:pt x="21787" y="15396"/>
                    </a:cubicBezTo>
                    <a:cubicBezTo>
                      <a:pt x="18674" y="15396"/>
                      <a:pt x="18674" y="21621"/>
                      <a:pt x="18674" y="27845"/>
                    </a:cubicBezTo>
                    <a:cubicBezTo>
                      <a:pt x="18674" y="43407"/>
                      <a:pt x="18674" y="65194"/>
                      <a:pt x="71585" y="71419"/>
                    </a:cubicBezTo>
                    <a:cubicBezTo>
                      <a:pt x="74697" y="71419"/>
                      <a:pt x="84034" y="77644"/>
                      <a:pt x="80922" y="99430"/>
                    </a:cubicBezTo>
                    <a:cubicBezTo>
                      <a:pt x="80922" y="108768"/>
                      <a:pt x="74697" y="118105"/>
                      <a:pt x="68473" y="121217"/>
                    </a:cubicBezTo>
                    <a:cubicBezTo>
                      <a:pt x="68473" y="124330"/>
                      <a:pt x="65360" y="124330"/>
                      <a:pt x="59135" y="124330"/>
                    </a:cubicBezTo>
                    <a:close/>
                    <a:moveTo>
                      <a:pt x="15562" y="55857"/>
                    </a:moveTo>
                    <a:cubicBezTo>
                      <a:pt x="12450" y="62082"/>
                      <a:pt x="12450" y="68306"/>
                      <a:pt x="12450" y="77644"/>
                    </a:cubicBezTo>
                    <a:cubicBezTo>
                      <a:pt x="12450" y="93206"/>
                      <a:pt x="18674" y="96318"/>
                      <a:pt x="37349" y="105655"/>
                    </a:cubicBezTo>
                    <a:cubicBezTo>
                      <a:pt x="56023" y="114992"/>
                      <a:pt x="65360" y="111880"/>
                      <a:pt x="68473" y="111880"/>
                    </a:cubicBezTo>
                    <a:cubicBezTo>
                      <a:pt x="68473" y="111880"/>
                      <a:pt x="74697" y="108768"/>
                      <a:pt x="74697" y="99430"/>
                    </a:cubicBezTo>
                    <a:cubicBezTo>
                      <a:pt x="74697" y="90093"/>
                      <a:pt x="74697" y="83868"/>
                      <a:pt x="74697" y="83868"/>
                    </a:cubicBezTo>
                    <a:cubicBezTo>
                      <a:pt x="40461" y="77644"/>
                      <a:pt x="24899" y="68306"/>
                      <a:pt x="15562" y="5585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B9DF22C0-31D4-4437-8BCE-28DEAFA984C8}"/>
                  </a:ext>
                </a:extLst>
              </p:cNvPr>
              <p:cNvSpPr/>
              <p:nvPr/>
            </p:nvSpPr>
            <p:spPr>
              <a:xfrm>
                <a:off x="6099466" y="9319559"/>
                <a:ext cx="74863" cy="75986"/>
              </a:xfrm>
              <a:custGeom>
                <a:avLst/>
                <a:gdLst>
                  <a:gd name="connsiteX0" fmla="*/ 61124 w 74863"/>
                  <a:gd name="connsiteY0" fmla="*/ 75987 h 75986"/>
                  <a:gd name="connsiteX1" fmla="*/ 14439 w 74863"/>
                  <a:gd name="connsiteY1" fmla="*/ 57312 h 75986"/>
                  <a:gd name="connsiteX2" fmla="*/ 1989 w 74863"/>
                  <a:gd name="connsiteY2" fmla="*/ 4402 h 75986"/>
                  <a:gd name="connsiteX3" fmla="*/ 8214 w 74863"/>
                  <a:gd name="connsiteY3" fmla="*/ 1289 h 75986"/>
                  <a:gd name="connsiteX4" fmla="*/ 11326 w 74863"/>
                  <a:gd name="connsiteY4" fmla="*/ 7514 h 75986"/>
                  <a:gd name="connsiteX5" fmla="*/ 20663 w 74863"/>
                  <a:gd name="connsiteY5" fmla="*/ 47975 h 75986"/>
                  <a:gd name="connsiteX6" fmla="*/ 61124 w 74863"/>
                  <a:gd name="connsiteY6" fmla="*/ 63537 h 75986"/>
                  <a:gd name="connsiteX7" fmla="*/ 58012 w 74863"/>
                  <a:gd name="connsiteY7" fmla="*/ 35526 h 75986"/>
                  <a:gd name="connsiteX8" fmla="*/ 61124 w 74863"/>
                  <a:gd name="connsiteY8" fmla="*/ 26188 h 75986"/>
                  <a:gd name="connsiteX9" fmla="*/ 70462 w 74863"/>
                  <a:gd name="connsiteY9" fmla="*/ 29301 h 75986"/>
                  <a:gd name="connsiteX10" fmla="*/ 73574 w 74863"/>
                  <a:gd name="connsiteY10" fmla="*/ 66649 h 75986"/>
                  <a:gd name="connsiteX11" fmla="*/ 67349 w 74863"/>
                  <a:gd name="connsiteY11" fmla="*/ 72874 h 75986"/>
                  <a:gd name="connsiteX12" fmla="*/ 61124 w 74863"/>
                  <a:gd name="connsiteY12" fmla="*/ 75987 h 75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4863" h="75986">
                    <a:moveTo>
                      <a:pt x="61124" y="75987"/>
                    </a:moveTo>
                    <a:cubicBezTo>
                      <a:pt x="48675" y="75987"/>
                      <a:pt x="30001" y="69762"/>
                      <a:pt x="14439" y="57312"/>
                    </a:cubicBezTo>
                    <a:cubicBezTo>
                      <a:pt x="-7348" y="38638"/>
                      <a:pt x="1989" y="4402"/>
                      <a:pt x="1989" y="4402"/>
                    </a:cubicBezTo>
                    <a:cubicBezTo>
                      <a:pt x="1989" y="1289"/>
                      <a:pt x="5101" y="-1823"/>
                      <a:pt x="8214" y="1289"/>
                    </a:cubicBezTo>
                    <a:cubicBezTo>
                      <a:pt x="11326" y="1289"/>
                      <a:pt x="14439" y="4402"/>
                      <a:pt x="11326" y="7514"/>
                    </a:cubicBezTo>
                    <a:cubicBezTo>
                      <a:pt x="11326" y="7514"/>
                      <a:pt x="5101" y="35526"/>
                      <a:pt x="20663" y="47975"/>
                    </a:cubicBezTo>
                    <a:cubicBezTo>
                      <a:pt x="39338" y="63537"/>
                      <a:pt x="58012" y="63537"/>
                      <a:pt x="61124" y="63537"/>
                    </a:cubicBezTo>
                    <a:cubicBezTo>
                      <a:pt x="64237" y="60425"/>
                      <a:pt x="61124" y="41750"/>
                      <a:pt x="58012" y="35526"/>
                    </a:cubicBezTo>
                    <a:cubicBezTo>
                      <a:pt x="58012" y="32413"/>
                      <a:pt x="58012" y="29301"/>
                      <a:pt x="61124" y="26188"/>
                    </a:cubicBezTo>
                    <a:cubicBezTo>
                      <a:pt x="64237" y="26188"/>
                      <a:pt x="67349" y="26188"/>
                      <a:pt x="70462" y="29301"/>
                    </a:cubicBezTo>
                    <a:cubicBezTo>
                      <a:pt x="73574" y="35526"/>
                      <a:pt x="76686" y="57312"/>
                      <a:pt x="73574" y="66649"/>
                    </a:cubicBezTo>
                    <a:cubicBezTo>
                      <a:pt x="73574" y="69762"/>
                      <a:pt x="70462" y="72874"/>
                      <a:pt x="67349" y="72874"/>
                    </a:cubicBezTo>
                    <a:cubicBezTo>
                      <a:pt x="67349" y="75987"/>
                      <a:pt x="64237" y="75987"/>
                      <a:pt x="61124" y="7598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CEA33ED4-4439-4DE4-BBE0-5659442871D3}"/>
                </a:ext>
              </a:extLst>
            </p:cNvPr>
            <p:cNvSpPr/>
            <p:nvPr/>
          </p:nvSpPr>
          <p:spPr>
            <a:xfrm>
              <a:off x="7354408" y="8745443"/>
              <a:ext cx="483761" cy="964454"/>
            </a:xfrm>
            <a:custGeom>
              <a:avLst/>
              <a:gdLst>
                <a:gd name="connsiteX0" fmla="*/ 225434 w 483761"/>
                <a:gd name="connsiteY0" fmla="*/ 2726 h 964454"/>
                <a:gd name="connsiteX1" fmla="*/ 23128 w 483761"/>
                <a:gd name="connsiteY1" fmla="*/ 731025 h 964454"/>
                <a:gd name="connsiteX2" fmla="*/ 483762 w 483761"/>
                <a:gd name="connsiteY2" fmla="*/ 964455 h 964454"/>
                <a:gd name="connsiteX3" fmla="*/ 474425 w 483761"/>
                <a:gd name="connsiteY3" fmla="*/ 877308 h 964454"/>
                <a:gd name="connsiteX4" fmla="*/ 119612 w 483761"/>
                <a:gd name="connsiteY4" fmla="*/ 706126 h 964454"/>
                <a:gd name="connsiteX5" fmla="*/ 300131 w 483761"/>
                <a:gd name="connsiteY5" fmla="*/ 24512 h 964454"/>
                <a:gd name="connsiteX6" fmla="*/ 225434 w 483761"/>
                <a:gd name="connsiteY6" fmla="*/ 2726 h 964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3761" h="964454">
                  <a:moveTo>
                    <a:pt x="225434" y="2726"/>
                  </a:moveTo>
                  <a:cubicBezTo>
                    <a:pt x="225434" y="2726"/>
                    <a:pt x="-85806" y="482034"/>
                    <a:pt x="23128" y="731025"/>
                  </a:cubicBezTo>
                  <a:cubicBezTo>
                    <a:pt x="72926" y="846184"/>
                    <a:pt x="483762" y="964455"/>
                    <a:pt x="483762" y="964455"/>
                  </a:cubicBezTo>
                  <a:lnTo>
                    <a:pt x="474425" y="877308"/>
                  </a:lnTo>
                  <a:cubicBezTo>
                    <a:pt x="474425" y="877308"/>
                    <a:pt x="141399" y="762149"/>
                    <a:pt x="119612" y="706126"/>
                  </a:cubicBezTo>
                  <a:cubicBezTo>
                    <a:pt x="32465" y="478922"/>
                    <a:pt x="300131" y="24512"/>
                    <a:pt x="300131" y="24512"/>
                  </a:cubicBezTo>
                  <a:cubicBezTo>
                    <a:pt x="300131" y="24512"/>
                    <a:pt x="278344" y="-9724"/>
                    <a:pt x="225434" y="2726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4D7FC441-AAE9-4FD9-B703-7C1676E3635C}"/>
                </a:ext>
              </a:extLst>
            </p:cNvPr>
            <p:cNvSpPr/>
            <p:nvPr/>
          </p:nvSpPr>
          <p:spPr>
            <a:xfrm>
              <a:off x="7456879" y="9068745"/>
              <a:ext cx="328380" cy="765672"/>
            </a:xfrm>
            <a:custGeom>
              <a:avLst/>
              <a:gdLst>
                <a:gd name="connsiteX0" fmla="*/ 116738 w 328380"/>
                <a:gd name="connsiteY0" fmla="*/ 0 h 765672"/>
                <a:gd name="connsiteX1" fmla="*/ 1579 w 328380"/>
                <a:gd name="connsiteY1" fmla="*/ 476196 h 765672"/>
                <a:gd name="connsiteX2" fmla="*/ 98064 w 328380"/>
                <a:gd name="connsiteY2" fmla="*/ 765648 h 765672"/>
                <a:gd name="connsiteX3" fmla="*/ 328380 w 328380"/>
                <a:gd name="connsiteY3" fmla="*/ 130720 h 765672"/>
                <a:gd name="connsiteX4" fmla="*/ 116738 w 328380"/>
                <a:gd name="connsiteY4" fmla="*/ 0 h 765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8380" h="765672">
                  <a:moveTo>
                    <a:pt x="116738" y="0"/>
                  </a:moveTo>
                  <a:lnTo>
                    <a:pt x="1579" y="476196"/>
                  </a:lnTo>
                  <a:cubicBezTo>
                    <a:pt x="1579" y="476196"/>
                    <a:pt x="-20207" y="768761"/>
                    <a:pt x="98064" y="765648"/>
                  </a:cubicBezTo>
                  <a:cubicBezTo>
                    <a:pt x="247458" y="759424"/>
                    <a:pt x="328380" y="130720"/>
                    <a:pt x="328380" y="130720"/>
                  </a:cubicBezTo>
                  <a:lnTo>
                    <a:pt x="116738" y="0"/>
                  </a:ln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9CF23C56-A059-4618-8C18-0061DE9EA821}"/>
                </a:ext>
              </a:extLst>
            </p:cNvPr>
            <p:cNvSpPr/>
            <p:nvPr/>
          </p:nvSpPr>
          <p:spPr>
            <a:xfrm>
              <a:off x="7137527" y="9323961"/>
              <a:ext cx="492082" cy="512209"/>
            </a:xfrm>
            <a:custGeom>
              <a:avLst/>
              <a:gdLst>
                <a:gd name="connsiteX0" fmla="*/ 71940 w 492082"/>
                <a:gd name="connsiteY0" fmla="*/ 0 h 512209"/>
                <a:gd name="connsiteX1" fmla="*/ 476551 w 492082"/>
                <a:gd name="connsiteY1" fmla="*/ 333026 h 512209"/>
                <a:gd name="connsiteX2" fmla="*/ 370729 w 492082"/>
                <a:gd name="connsiteY2" fmla="*/ 507320 h 512209"/>
                <a:gd name="connsiteX3" fmla="*/ 355 w 492082"/>
                <a:gd name="connsiteY3" fmla="*/ 115158 h 512209"/>
                <a:gd name="connsiteX4" fmla="*/ 71940 w 492082"/>
                <a:gd name="connsiteY4" fmla="*/ 0 h 512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082" h="512209">
                  <a:moveTo>
                    <a:pt x="71940" y="0"/>
                  </a:moveTo>
                  <a:cubicBezTo>
                    <a:pt x="71940" y="0"/>
                    <a:pt x="439202" y="252104"/>
                    <a:pt x="476551" y="333026"/>
                  </a:cubicBezTo>
                  <a:cubicBezTo>
                    <a:pt x="513899" y="413948"/>
                    <a:pt x="485888" y="538443"/>
                    <a:pt x="370729" y="507320"/>
                  </a:cubicBezTo>
                  <a:cubicBezTo>
                    <a:pt x="255571" y="476196"/>
                    <a:pt x="6580" y="121383"/>
                    <a:pt x="355" y="115158"/>
                  </a:cubicBezTo>
                  <a:cubicBezTo>
                    <a:pt x="-5870" y="108934"/>
                    <a:pt x="71940" y="0"/>
                    <a:pt x="71940" y="0"/>
                  </a:cubicBezTo>
                  <a:close/>
                </a:path>
              </a:pathLst>
            </a:custGeom>
            <a:solidFill>
              <a:srgbClr val="F5A39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63570FF5-88CE-49AC-99FA-8518B04C38F1}"/>
                </a:ext>
              </a:extLst>
            </p:cNvPr>
            <p:cNvSpPr/>
            <p:nvPr/>
          </p:nvSpPr>
          <p:spPr>
            <a:xfrm>
              <a:off x="7459236" y="9505258"/>
              <a:ext cx="110490" cy="95705"/>
            </a:xfrm>
            <a:custGeom>
              <a:avLst/>
              <a:gdLst>
                <a:gd name="connsiteX0" fmla="*/ 101931 w 110490"/>
                <a:gd name="connsiteY0" fmla="*/ 95706 h 95705"/>
                <a:gd name="connsiteX1" fmla="*/ 98818 w 110490"/>
                <a:gd name="connsiteY1" fmla="*/ 92594 h 95705"/>
                <a:gd name="connsiteX2" fmla="*/ 2334 w 110490"/>
                <a:gd name="connsiteY2" fmla="*/ 11671 h 95705"/>
                <a:gd name="connsiteX3" fmla="*/ 2334 w 110490"/>
                <a:gd name="connsiteY3" fmla="*/ 2334 h 95705"/>
                <a:gd name="connsiteX4" fmla="*/ 11672 w 110490"/>
                <a:gd name="connsiteY4" fmla="*/ 2334 h 95705"/>
                <a:gd name="connsiteX5" fmla="*/ 108156 w 110490"/>
                <a:gd name="connsiteY5" fmla="*/ 83256 h 95705"/>
                <a:gd name="connsiteX6" fmla="*/ 108156 w 110490"/>
                <a:gd name="connsiteY6" fmla="*/ 92594 h 95705"/>
                <a:gd name="connsiteX7" fmla="*/ 101931 w 110490"/>
                <a:gd name="connsiteY7" fmla="*/ 95706 h 95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490" h="95705">
                  <a:moveTo>
                    <a:pt x="101931" y="95706"/>
                  </a:moveTo>
                  <a:cubicBezTo>
                    <a:pt x="101931" y="95706"/>
                    <a:pt x="98818" y="95706"/>
                    <a:pt x="98818" y="92594"/>
                  </a:cubicBezTo>
                  <a:cubicBezTo>
                    <a:pt x="83256" y="77032"/>
                    <a:pt x="5447" y="11671"/>
                    <a:pt x="2334" y="11671"/>
                  </a:cubicBezTo>
                  <a:cubicBezTo>
                    <a:pt x="-778" y="8559"/>
                    <a:pt x="-778" y="5447"/>
                    <a:pt x="2334" y="2334"/>
                  </a:cubicBezTo>
                  <a:cubicBezTo>
                    <a:pt x="5447" y="-778"/>
                    <a:pt x="8559" y="-778"/>
                    <a:pt x="11672" y="2334"/>
                  </a:cubicBezTo>
                  <a:cubicBezTo>
                    <a:pt x="14784" y="5447"/>
                    <a:pt x="92594" y="67695"/>
                    <a:pt x="108156" y="83256"/>
                  </a:cubicBezTo>
                  <a:cubicBezTo>
                    <a:pt x="111268" y="86369"/>
                    <a:pt x="111268" y="89481"/>
                    <a:pt x="108156" y="92594"/>
                  </a:cubicBezTo>
                  <a:cubicBezTo>
                    <a:pt x="105043" y="92594"/>
                    <a:pt x="105043" y="95706"/>
                    <a:pt x="101931" y="95706"/>
                  </a:cubicBezTo>
                  <a:close/>
                </a:path>
              </a:pathLst>
            </a:custGeom>
            <a:solidFill>
              <a:srgbClr val="E58777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4" name="图形 1">
              <a:extLst>
                <a:ext uri="{FF2B5EF4-FFF2-40B4-BE49-F238E27FC236}">
                  <a16:creationId xmlns:a16="http://schemas.microsoft.com/office/drawing/2014/main" id="{D772D646-34DE-49B4-9732-8265F64D1BD0}"/>
                </a:ext>
              </a:extLst>
            </p:cNvPr>
            <p:cNvGrpSpPr/>
            <p:nvPr/>
          </p:nvGrpSpPr>
          <p:grpSpPr>
            <a:xfrm>
              <a:off x="6862702" y="9196006"/>
              <a:ext cx="362326" cy="247424"/>
              <a:chOff x="6862702" y="9196006"/>
              <a:chExt cx="362326" cy="247424"/>
            </a:xfrm>
          </p:grpSpPr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C2037F5C-C96F-4CC7-82FE-91DA9C1D324B}"/>
                  </a:ext>
                </a:extLst>
              </p:cNvPr>
              <p:cNvSpPr/>
              <p:nvPr/>
            </p:nvSpPr>
            <p:spPr>
              <a:xfrm>
                <a:off x="6870132" y="9199056"/>
                <a:ext cx="354896" cy="244373"/>
              </a:xfrm>
              <a:custGeom>
                <a:avLst/>
                <a:gdLst>
                  <a:gd name="connsiteX0" fmla="*/ 354897 w 354896"/>
                  <a:gd name="connsiteY0" fmla="*/ 143579 h 244373"/>
                  <a:gd name="connsiteX1" fmla="*/ 242851 w 354896"/>
                  <a:gd name="connsiteY1" fmla="*/ 12858 h 244373"/>
                  <a:gd name="connsiteX2" fmla="*/ 15646 w 354896"/>
                  <a:gd name="connsiteY2" fmla="*/ 22195 h 244373"/>
                  <a:gd name="connsiteX3" fmla="*/ 81006 w 354896"/>
                  <a:gd name="connsiteY3" fmla="*/ 40870 h 244373"/>
                  <a:gd name="connsiteX4" fmla="*/ 84 w 354896"/>
                  <a:gd name="connsiteY4" fmla="*/ 81331 h 244373"/>
                  <a:gd name="connsiteX5" fmla="*/ 31208 w 354896"/>
                  <a:gd name="connsiteY5" fmla="*/ 109342 h 244373"/>
                  <a:gd name="connsiteX6" fmla="*/ 65444 w 354896"/>
                  <a:gd name="connsiteY6" fmla="*/ 137354 h 244373"/>
                  <a:gd name="connsiteX7" fmla="*/ 62332 w 354896"/>
                  <a:gd name="connsiteY7" fmla="*/ 168478 h 244373"/>
                  <a:gd name="connsiteX8" fmla="*/ 174378 w 354896"/>
                  <a:gd name="connsiteY8" fmla="*/ 168478 h 244373"/>
                  <a:gd name="connsiteX9" fmla="*/ 230401 w 354896"/>
                  <a:gd name="connsiteY9" fmla="*/ 227613 h 244373"/>
                  <a:gd name="connsiteX10" fmla="*/ 320661 w 354896"/>
                  <a:gd name="connsiteY10" fmla="*/ 240063 h 244373"/>
                  <a:gd name="connsiteX11" fmla="*/ 354897 w 354896"/>
                  <a:gd name="connsiteY11" fmla="*/ 143579 h 24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4896" h="244373">
                    <a:moveTo>
                      <a:pt x="354897" y="143579"/>
                    </a:moveTo>
                    <a:cubicBezTo>
                      <a:pt x="354897" y="143579"/>
                      <a:pt x="277087" y="28420"/>
                      <a:pt x="242851" y="12858"/>
                    </a:cubicBezTo>
                    <a:cubicBezTo>
                      <a:pt x="208615" y="-2704"/>
                      <a:pt x="18758" y="-8928"/>
                      <a:pt x="15646" y="22195"/>
                    </a:cubicBezTo>
                    <a:cubicBezTo>
                      <a:pt x="12534" y="53319"/>
                      <a:pt x="81006" y="40870"/>
                      <a:pt x="81006" y="40870"/>
                    </a:cubicBezTo>
                    <a:cubicBezTo>
                      <a:pt x="81006" y="40870"/>
                      <a:pt x="-3028" y="56432"/>
                      <a:pt x="84" y="81331"/>
                    </a:cubicBezTo>
                    <a:cubicBezTo>
                      <a:pt x="3196" y="106230"/>
                      <a:pt x="31208" y="109342"/>
                      <a:pt x="31208" y="109342"/>
                    </a:cubicBezTo>
                    <a:cubicBezTo>
                      <a:pt x="31208" y="109342"/>
                      <a:pt x="15646" y="140466"/>
                      <a:pt x="65444" y="137354"/>
                    </a:cubicBezTo>
                    <a:cubicBezTo>
                      <a:pt x="65444" y="137354"/>
                      <a:pt x="40546" y="162253"/>
                      <a:pt x="62332" y="168478"/>
                    </a:cubicBezTo>
                    <a:cubicBezTo>
                      <a:pt x="84119" y="171590"/>
                      <a:pt x="158816" y="159141"/>
                      <a:pt x="174378" y="168478"/>
                    </a:cubicBezTo>
                    <a:cubicBezTo>
                      <a:pt x="189940" y="177815"/>
                      <a:pt x="199277" y="212052"/>
                      <a:pt x="230401" y="227613"/>
                    </a:cubicBezTo>
                    <a:cubicBezTo>
                      <a:pt x="289537" y="255625"/>
                      <a:pt x="320661" y="240063"/>
                      <a:pt x="320661" y="240063"/>
                    </a:cubicBezTo>
                    <a:lnTo>
                      <a:pt x="354897" y="143579"/>
                    </a:lnTo>
                    <a:close/>
                  </a:path>
                </a:pathLst>
              </a:custGeom>
              <a:solidFill>
                <a:srgbClr val="F5A39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0C2251CF-315D-4228-B3F6-92BF9482C1D1}"/>
                  </a:ext>
                </a:extLst>
              </p:cNvPr>
              <p:cNvSpPr/>
              <p:nvPr/>
            </p:nvSpPr>
            <p:spPr>
              <a:xfrm>
                <a:off x="6872981" y="9196006"/>
                <a:ext cx="319367" cy="99944"/>
              </a:xfrm>
              <a:custGeom>
                <a:avLst/>
                <a:gdLst>
                  <a:gd name="connsiteX0" fmla="*/ 314699 w 319367"/>
                  <a:gd name="connsiteY0" fmla="*/ 99944 h 99944"/>
                  <a:gd name="connsiteX1" fmla="*/ 308474 w 319367"/>
                  <a:gd name="connsiteY1" fmla="*/ 96831 h 99944"/>
                  <a:gd name="connsiteX2" fmla="*/ 236889 w 319367"/>
                  <a:gd name="connsiteY2" fmla="*/ 22134 h 99944"/>
                  <a:gd name="connsiteX3" fmla="*/ 28359 w 319367"/>
                  <a:gd name="connsiteY3" fmla="*/ 19022 h 99944"/>
                  <a:gd name="connsiteX4" fmla="*/ 12797 w 319367"/>
                  <a:gd name="connsiteY4" fmla="*/ 28359 h 99944"/>
                  <a:gd name="connsiteX5" fmla="*/ 71932 w 319367"/>
                  <a:gd name="connsiteY5" fmla="*/ 40808 h 99944"/>
                  <a:gd name="connsiteX6" fmla="*/ 78157 w 319367"/>
                  <a:gd name="connsiteY6" fmla="*/ 47033 h 99944"/>
                  <a:gd name="connsiteX7" fmla="*/ 71932 w 319367"/>
                  <a:gd name="connsiteY7" fmla="*/ 53258 h 99944"/>
                  <a:gd name="connsiteX8" fmla="*/ 347 w 319367"/>
                  <a:gd name="connsiteY8" fmla="*/ 31471 h 99944"/>
                  <a:gd name="connsiteX9" fmla="*/ 22134 w 319367"/>
                  <a:gd name="connsiteY9" fmla="*/ 9684 h 99944"/>
                  <a:gd name="connsiteX10" fmla="*/ 236889 w 319367"/>
                  <a:gd name="connsiteY10" fmla="*/ 12797 h 99944"/>
                  <a:gd name="connsiteX11" fmla="*/ 314699 w 319367"/>
                  <a:gd name="connsiteY11" fmla="*/ 96831 h 99944"/>
                  <a:gd name="connsiteX12" fmla="*/ 314699 w 319367"/>
                  <a:gd name="connsiteY12" fmla="*/ 99944 h 99944"/>
                  <a:gd name="connsiteX13" fmla="*/ 314699 w 319367"/>
                  <a:gd name="connsiteY13" fmla="*/ 99944 h 99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19367" h="99944">
                    <a:moveTo>
                      <a:pt x="314699" y="99944"/>
                    </a:moveTo>
                    <a:cubicBezTo>
                      <a:pt x="311586" y="99944"/>
                      <a:pt x="311586" y="99944"/>
                      <a:pt x="308474" y="96831"/>
                    </a:cubicBezTo>
                    <a:cubicBezTo>
                      <a:pt x="308474" y="96831"/>
                      <a:pt x="274238" y="28359"/>
                      <a:pt x="236889" y="22134"/>
                    </a:cubicBezTo>
                    <a:cubicBezTo>
                      <a:pt x="199540" y="15909"/>
                      <a:pt x="78157" y="3460"/>
                      <a:pt x="28359" y="19022"/>
                    </a:cubicBezTo>
                    <a:cubicBezTo>
                      <a:pt x="15909" y="22134"/>
                      <a:pt x="12797" y="28359"/>
                      <a:pt x="12797" y="28359"/>
                    </a:cubicBezTo>
                    <a:cubicBezTo>
                      <a:pt x="15909" y="34584"/>
                      <a:pt x="47033" y="40808"/>
                      <a:pt x="71932" y="40808"/>
                    </a:cubicBezTo>
                    <a:cubicBezTo>
                      <a:pt x="75045" y="40808"/>
                      <a:pt x="78157" y="43921"/>
                      <a:pt x="78157" y="47033"/>
                    </a:cubicBezTo>
                    <a:cubicBezTo>
                      <a:pt x="78157" y="50146"/>
                      <a:pt x="75045" y="53258"/>
                      <a:pt x="71932" y="53258"/>
                    </a:cubicBezTo>
                    <a:cubicBezTo>
                      <a:pt x="50146" y="56370"/>
                      <a:pt x="3460" y="50146"/>
                      <a:pt x="347" y="31471"/>
                    </a:cubicBezTo>
                    <a:cubicBezTo>
                      <a:pt x="-2765" y="19022"/>
                      <a:pt x="15909" y="12797"/>
                      <a:pt x="22134" y="9684"/>
                    </a:cubicBezTo>
                    <a:cubicBezTo>
                      <a:pt x="71932" y="-8990"/>
                      <a:pt x="196428" y="3460"/>
                      <a:pt x="236889" y="12797"/>
                    </a:cubicBezTo>
                    <a:cubicBezTo>
                      <a:pt x="280462" y="22134"/>
                      <a:pt x="314699" y="93719"/>
                      <a:pt x="314699" y="96831"/>
                    </a:cubicBezTo>
                    <a:cubicBezTo>
                      <a:pt x="320924" y="93719"/>
                      <a:pt x="320924" y="99944"/>
                      <a:pt x="314699" y="99944"/>
                    </a:cubicBezTo>
                    <a:cubicBezTo>
                      <a:pt x="314699" y="99944"/>
                      <a:pt x="314699" y="99944"/>
                      <a:pt x="314699" y="9994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9EFCB6EA-4A5A-4AD0-B94A-8B3A74F5456C}"/>
                  </a:ext>
                </a:extLst>
              </p:cNvPr>
              <p:cNvSpPr/>
              <p:nvPr/>
            </p:nvSpPr>
            <p:spPr>
              <a:xfrm>
                <a:off x="7047622" y="9228255"/>
                <a:ext cx="42795" cy="89481"/>
              </a:xfrm>
              <a:custGeom>
                <a:avLst/>
                <a:gdLst>
                  <a:gd name="connsiteX0" fmla="*/ 6225 w 42795"/>
                  <a:gd name="connsiteY0" fmla="*/ 89482 h 89481"/>
                  <a:gd name="connsiteX1" fmla="*/ 6225 w 42795"/>
                  <a:gd name="connsiteY1" fmla="*/ 89482 h 89481"/>
                  <a:gd name="connsiteX2" fmla="*/ 0 w 42795"/>
                  <a:gd name="connsiteY2" fmla="*/ 83257 h 89481"/>
                  <a:gd name="connsiteX3" fmla="*/ 31124 w 42795"/>
                  <a:gd name="connsiteY3" fmla="*/ 2334 h 89481"/>
                  <a:gd name="connsiteX4" fmla="*/ 40461 w 42795"/>
                  <a:gd name="connsiteY4" fmla="*/ 2334 h 89481"/>
                  <a:gd name="connsiteX5" fmla="*/ 40461 w 42795"/>
                  <a:gd name="connsiteY5" fmla="*/ 11672 h 89481"/>
                  <a:gd name="connsiteX6" fmla="*/ 9337 w 42795"/>
                  <a:gd name="connsiteY6" fmla="*/ 86369 h 89481"/>
                  <a:gd name="connsiteX7" fmla="*/ 6225 w 42795"/>
                  <a:gd name="connsiteY7" fmla="*/ 89482 h 89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795" h="89481">
                    <a:moveTo>
                      <a:pt x="6225" y="89482"/>
                    </a:moveTo>
                    <a:cubicBezTo>
                      <a:pt x="6225" y="89482"/>
                      <a:pt x="6225" y="89482"/>
                      <a:pt x="6225" y="89482"/>
                    </a:cubicBezTo>
                    <a:cubicBezTo>
                      <a:pt x="3113" y="89482"/>
                      <a:pt x="0" y="86369"/>
                      <a:pt x="0" y="83257"/>
                    </a:cubicBezTo>
                    <a:cubicBezTo>
                      <a:pt x="3113" y="42796"/>
                      <a:pt x="31124" y="2334"/>
                      <a:pt x="31124" y="2334"/>
                    </a:cubicBezTo>
                    <a:cubicBezTo>
                      <a:pt x="34237" y="-778"/>
                      <a:pt x="37349" y="-778"/>
                      <a:pt x="40461" y="2334"/>
                    </a:cubicBezTo>
                    <a:cubicBezTo>
                      <a:pt x="43573" y="5447"/>
                      <a:pt x="43573" y="8559"/>
                      <a:pt x="40461" y="11672"/>
                    </a:cubicBezTo>
                    <a:cubicBezTo>
                      <a:pt x="40461" y="11672"/>
                      <a:pt x="12449" y="49020"/>
                      <a:pt x="9337" y="86369"/>
                    </a:cubicBezTo>
                    <a:cubicBezTo>
                      <a:pt x="12449" y="86369"/>
                      <a:pt x="9337" y="89482"/>
                      <a:pt x="6225" y="8948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C077B191-CF70-4AB5-B3B0-E1722CF8FBF3}"/>
                  </a:ext>
                </a:extLst>
              </p:cNvPr>
              <p:cNvSpPr/>
              <p:nvPr/>
            </p:nvSpPr>
            <p:spPr>
              <a:xfrm>
                <a:off x="6862702" y="9234747"/>
                <a:ext cx="206706" cy="73652"/>
              </a:xfrm>
              <a:custGeom>
                <a:avLst/>
                <a:gdLst>
                  <a:gd name="connsiteX0" fmla="*/ 32413 w 206706"/>
                  <a:gd name="connsiteY0" fmla="*/ 73652 h 73652"/>
                  <a:gd name="connsiteX1" fmla="*/ 4401 w 206706"/>
                  <a:gd name="connsiteY1" fmla="*/ 61203 h 73652"/>
                  <a:gd name="connsiteX2" fmla="*/ 1289 w 206706"/>
                  <a:gd name="connsiteY2" fmla="*/ 45641 h 73652"/>
                  <a:gd name="connsiteX3" fmla="*/ 44863 w 206706"/>
                  <a:gd name="connsiteY3" fmla="*/ 11404 h 73652"/>
                  <a:gd name="connsiteX4" fmla="*/ 200482 w 206706"/>
                  <a:gd name="connsiteY4" fmla="*/ 8292 h 73652"/>
                  <a:gd name="connsiteX5" fmla="*/ 206707 w 206706"/>
                  <a:gd name="connsiteY5" fmla="*/ 14517 h 73652"/>
                  <a:gd name="connsiteX6" fmla="*/ 200482 w 206706"/>
                  <a:gd name="connsiteY6" fmla="*/ 20742 h 73652"/>
                  <a:gd name="connsiteX7" fmla="*/ 51087 w 206706"/>
                  <a:gd name="connsiteY7" fmla="*/ 23854 h 73652"/>
                  <a:gd name="connsiteX8" fmla="*/ 13739 w 206706"/>
                  <a:gd name="connsiteY8" fmla="*/ 51866 h 73652"/>
                  <a:gd name="connsiteX9" fmla="*/ 13739 w 206706"/>
                  <a:gd name="connsiteY9" fmla="*/ 58090 h 73652"/>
                  <a:gd name="connsiteX10" fmla="*/ 44863 w 206706"/>
                  <a:gd name="connsiteY10" fmla="*/ 61203 h 73652"/>
                  <a:gd name="connsiteX11" fmla="*/ 181808 w 206706"/>
                  <a:gd name="connsiteY11" fmla="*/ 39416 h 73652"/>
                  <a:gd name="connsiteX12" fmla="*/ 188033 w 206706"/>
                  <a:gd name="connsiteY12" fmla="*/ 45641 h 73652"/>
                  <a:gd name="connsiteX13" fmla="*/ 181808 w 206706"/>
                  <a:gd name="connsiteY13" fmla="*/ 51866 h 73652"/>
                  <a:gd name="connsiteX14" fmla="*/ 47975 w 206706"/>
                  <a:gd name="connsiteY14" fmla="*/ 73652 h 73652"/>
                  <a:gd name="connsiteX15" fmla="*/ 32413 w 206706"/>
                  <a:gd name="connsiteY15" fmla="*/ 73652 h 73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6706" h="73652">
                    <a:moveTo>
                      <a:pt x="32413" y="73652"/>
                    </a:moveTo>
                    <a:cubicBezTo>
                      <a:pt x="19963" y="73652"/>
                      <a:pt x="10626" y="67428"/>
                      <a:pt x="4401" y="61203"/>
                    </a:cubicBezTo>
                    <a:cubicBezTo>
                      <a:pt x="1289" y="54978"/>
                      <a:pt x="-1823" y="51866"/>
                      <a:pt x="1289" y="45641"/>
                    </a:cubicBezTo>
                    <a:cubicBezTo>
                      <a:pt x="4401" y="33191"/>
                      <a:pt x="19963" y="20742"/>
                      <a:pt x="44863" y="11404"/>
                    </a:cubicBezTo>
                    <a:cubicBezTo>
                      <a:pt x="94661" y="-10382"/>
                      <a:pt x="194257" y="5180"/>
                      <a:pt x="200482" y="8292"/>
                    </a:cubicBezTo>
                    <a:cubicBezTo>
                      <a:pt x="203595" y="8292"/>
                      <a:pt x="206707" y="11404"/>
                      <a:pt x="206707" y="14517"/>
                    </a:cubicBezTo>
                    <a:cubicBezTo>
                      <a:pt x="206707" y="17629"/>
                      <a:pt x="203595" y="20742"/>
                      <a:pt x="200482" y="20742"/>
                    </a:cubicBezTo>
                    <a:cubicBezTo>
                      <a:pt x="200482" y="20742"/>
                      <a:pt x="97773" y="5180"/>
                      <a:pt x="51087" y="23854"/>
                    </a:cubicBezTo>
                    <a:cubicBezTo>
                      <a:pt x="19963" y="36304"/>
                      <a:pt x="13739" y="45641"/>
                      <a:pt x="13739" y="51866"/>
                    </a:cubicBezTo>
                    <a:cubicBezTo>
                      <a:pt x="13739" y="54978"/>
                      <a:pt x="13739" y="58090"/>
                      <a:pt x="13739" y="58090"/>
                    </a:cubicBezTo>
                    <a:cubicBezTo>
                      <a:pt x="16851" y="61203"/>
                      <a:pt x="29301" y="70540"/>
                      <a:pt x="44863" y="61203"/>
                    </a:cubicBezTo>
                    <a:cubicBezTo>
                      <a:pt x="66649" y="51866"/>
                      <a:pt x="122672" y="33191"/>
                      <a:pt x="181808" y="39416"/>
                    </a:cubicBezTo>
                    <a:cubicBezTo>
                      <a:pt x="184920" y="39416"/>
                      <a:pt x="188033" y="42528"/>
                      <a:pt x="188033" y="45641"/>
                    </a:cubicBezTo>
                    <a:cubicBezTo>
                      <a:pt x="188033" y="48753"/>
                      <a:pt x="184920" y="51866"/>
                      <a:pt x="181808" y="51866"/>
                    </a:cubicBezTo>
                    <a:cubicBezTo>
                      <a:pt x="122672" y="45641"/>
                      <a:pt x="66649" y="64315"/>
                      <a:pt x="47975" y="73652"/>
                    </a:cubicBezTo>
                    <a:cubicBezTo>
                      <a:pt x="44863" y="73652"/>
                      <a:pt x="38638" y="73652"/>
                      <a:pt x="32413" y="7365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D3A67327-B632-4C4C-972C-AD83DBD79D0C}"/>
                  </a:ext>
                </a:extLst>
              </p:cNvPr>
              <p:cNvSpPr/>
              <p:nvPr/>
            </p:nvSpPr>
            <p:spPr>
              <a:xfrm>
                <a:off x="6910074" y="9311512"/>
                <a:ext cx="139882" cy="62247"/>
              </a:xfrm>
              <a:custGeom>
                <a:avLst/>
                <a:gdLst>
                  <a:gd name="connsiteX0" fmla="*/ 19277 w 139882"/>
                  <a:gd name="connsiteY0" fmla="*/ 62248 h 62247"/>
                  <a:gd name="connsiteX1" fmla="*/ 19277 w 139882"/>
                  <a:gd name="connsiteY1" fmla="*/ 62248 h 62247"/>
                  <a:gd name="connsiteX2" fmla="*/ 603 w 139882"/>
                  <a:gd name="connsiteY2" fmla="*/ 52911 h 62247"/>
                  <a:gd name="connsiteX3" fmla="*/ 19277 w 139882"/>
                  <a:gd name="connsiteY3" fmla="*/ 21787 h 62247"/>
                  <a:gd name="connsiteX4" fmla="*/ 118874 w 139882"/>
                  <a:gd name="connsiteY4" fmla="*/ 0 h 62247"/>
                  <a:gd name="connsiteX5" fmla="*/ 125099 w 139882"/>
                  <a:gd name="connsiteY5" fmla="*/ 6225 h 62247"/>
                  <a:gd name="connsiteX6" fmla="*/ 118874 w 139882"/>
                  <a:gd name="connsiteY6" fmla="*/ 12449 h 62247"/>
                  <a:gd name="connsiteX7" fmla="*/ 25502 w 139882"/>
                  <a:gd name="connsiteY7" fmla="*/ 31124 h 62247"/>
                  <a:gd name="connsiteX8" fmla="*/ 13053 w 139882"/>
                  <a:gd name="connsiteY8" fmla="*/ 46686 h 62247"/>
                  <a:gd name="connsiteX9" fmla="*/ 19277 w 139882"/>
                  <a:gd name="connsiteY9" fmla="*/ 49798 h 62247"/>
                  <a:gd name="connsiteX10" fmla="*/ 19277 w 139882"/>
                  <a:gd name="connsiteY10" fmla="*/ 49798 h 62247"/>
                  <a:gd name="connsiteX11" fmla="*/ 47289 w 139882"/>
                  <a:gd name="connsiteY11" fmla="*/ 46686 h 62247"/>
                  <a:gd name="connsiteX12" fmla="*/ 137548 w 139882"/>
                  <a:gd name="connsiteY12" fmla="*/ 49798 h 62247"/>
                  <a:gd name="connsiteX13" fmla="*/ 137548 w 139882"/>
                  <a:gd name="connsiteY13" fmla="*/ 59135 h 62247"/>
                  <a:gd name="connsiteX14" fmla="*/ 128211 w 139882"/>
                  <a:gd name="connsiteY14" fmla="*/ 59135 h 62247"/>
                  <a:gd name="connsiteX15" fmla="*/ 50401 w 139882"/>
                  <a:gd name="connsiteY15" fmla="*/ 59135 h 62247"/>
                  <a:gd name="connsiteX16" fmla="*/ 19277 w 139882"/>
                  <a:gd name="connsiteY16" fmla="*/ 62248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9882" h="62247">
                    <a:moveTo>
                      <a:pt x="19277" y="62248"/>
                    </a:moveTo>
                    <a:cubicBezTo>
                      <a:pt x="19277" y="62248"/>
                      <a:pt x="19277" y="62248"/>
                      <a:pt x="19277" y="62248"/>
                    </a:cubicBezTo>
                    <a:cubicBezTo>
                      <a:pt x="6828" y="62248"/>
                      <a:pt x="603" y="56023"/>
                      <a:pt x="603" y="52911"/>
                    </a:cubicBezTo>
                    <a:cubicBezTo>
                      <a:pt x="-2509" y="43573"/>
                      <a:pt x="6828" y="31124"/>
                      <a:pt x="19277" y="21787"/>
                    </a:cubicBezTo>
                    <a:cubicBezTo>
                      <a:pt x="37952" y="9337"/>
                      <a:pt x="109537" y="0"/>
                      <a:pt x="118874" y="0"/>
                    </a:cubicBezTo>
                    <a:cubicBezTo>
                      <a:pt x="121986" y="0"/>
                      <a:pt x="125099" y="3112"/>
                      <a:pt x="125099" y="6225"/>
                    </a:cubicBezTo>
                    <a:cubicBezTo>
                      <a:pt x="125099" y="9337"/>
                      <a:pt x="121986" y="12449"/>
                      <a:pt x="118874" y="12449"/>
                    </a:cubicBezTo>
                    <a:cubicBezTo>
                      <a:pt x="87750" y="15562"/>
                      <a:pt x="37952" y="24899"/>
                      <a:pt x="25502" y="31124"/>
                    </a:cubicBezTo>
                    <a:cubicBezTo>
                      <a:pt x="16165" y="37349"/>
                      <a:pt x="13053" y="46686"/>
                      <a:pt x="13053" y="46686"/>
                    </a:cubicBezTo>
                    <a:cubicBezTo>
                      <a:pt x="13053" y="46686"/>
                      <a:pt x="16165" y="49798"/>
                      <a:pt x="19277" y="49798"/>
                    </a:cubicBezTo>
                    <a:cubicBezTo>
                      <a:pt x="19277" y="49798"/>
                      <a:pt x="19277" y="49798"/>
                      <a:pt x="19277" y="49798"/>
                    </a:cubicBezTo>
                    <a:cubicBezTo>
                      <a:pt x="25502" y="49798"/>
                      <a:pt x="34839" y="49798"/>
                      <a:pt x="47289" y="46686"/>
                    </a:cubicBezTo>
                    <a:cubicBezTo>
                      <a:pt x="90862" y="40461"/>
                      <a:pt x="125099" y="37349"/>
                      <a:pt x="137548" y="49798"/>
                    </a:cubicBezTo>
                    <a:cubicBezTo>
                      <a:pt x="140661" y="52911"/>
                      <a:pt x="140661" y="56023"/>
                      <a:pt x="137548" y="59135"/>
                    </a:cubicBezTo>
                    <a:cubicBezTo>
                      <a:pt x="134436" y="62248"/>
                      <a:pt x="131324" y="62248"/>
                      <a:pt x="128211" y="59135"/>
                    </a:cubicBezTo>
                    <a:cubicBezTo>
                      <a:pt x="118874" y="49798"/>
                      <a:pt x="75301" y="56023"/>
                      <a:pt x="50401" y="59135"/>
                    </a:cubicBezTo>
                    <a:cubicBezTo>
                      <a:pt x="37952" y="59135"/>
                      <a:pt x="25502" y="62248"/>
                      <a:pt x="19277" y="6224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1CFDF9CA-3BDF-4B19-AC4C-E9519C760B4C}"/>
                </a:ext>
              </a:extLst>
            </p:cNvPr>
            <p:cNvSpPr/>
            <p:nvPr/>
          </p:nvSpPr>
          <p:spPr>
            <a:xfrm>
              <a:off x="7458458" y="8806030"/>
              <a:ext cx="401782" cy="418333"/>
            </a:xfrm>
            <a:custGeom>
              <a:avLst/>
              <a:gdLst>
                <a:gd name="connsiteX0" fmla="*/ 373487 w 401782"/>
                <a:gd name="connsiteY0" fmla="*/ 418334 h 418333"/>
                <a:gd name="connsiteX1" fmla="*/ 314352 w 401782"/>
                <a:gd name="connsiteY1" fmla="*/ 10610 h 418333"/>
                <a:gd name="connsiteX2" fmla="*/ 0 w 401782"/>
                <a:gd name="connsiteY2" fmla="*/ 334300 h 418333"/>
                <a:gd name="connsiteX3" fmla="*/ 373487 w 401782"/>
                <a:gd name="connsiteY3" fmla="*/ 418334 h 418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1782" h="418333">
                  <a:moveTo>
                    <a:pt x="373487" y="418334"/>
                  </a:moveTo>
                  <a:cubicBezTo>
                    <a:pt x="435735" y="240928"/>
                    <a:pt x="385937" y="51072"/>
                    <a:pt x="314352" y="10610"/>
                  </a:cubicBezTo>
                  <a:cubicBezTo>
                    <a:pt x="220980" y="-45413"/>
                    <a:pt x="46686" y="128881"/>
                    <a:pt x="0" y="334300"/>
                  </a:cubicBezTo>
                  <a:cubicBezTo>
                    <a:pt x="56023" y="390322"/>
                    <a:pt x="270778" y="418334"/>
                    <a:pt x="373487" y="418334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A94E702F-F5BC-4082-97E6-010B03A196B8}"/>
                </a:ext>
              </a:extLst>
            </p:cNvPr>
            <p:cNvSpPr/>
            <p:nvPr/>
          </p:nvSpPr>
          <p:spPr>
            <a:xfrm>
              <a:off x="7452233" y="8795581"/>
              <a:ext cx="296966" cy="403883"/>
            </a:xfrm>
            <a:custGeom>
              <a:avLst/>
              <a:gdLst>
                <a:gd name="connsiteX0" fmla="*/ 146282 w 296966"/>
                <a:gd name="connsiteY0" fmla="*/ 403884 h 403883"/>
                <a:gd name="connsiteX1" fmla="*/ 146282 w 296966"/>
                <a:gd name="connsiteY1" fmla="*/ 403884 h 403883"/>
                <a:gd name="connsiteX2" fmla="*/ 0 w 296966"/>
                <a:gd name="connsiteY2" fmla="*/ 347861 h 403883"/>
                <a:gd name="connsiteX3" fmla="*/ 0 w 296966"/>
                <a:gd name="connsiteY3" fmla="*/ 347861 h 403883"/>
                <a:gd name="connsiteX4" fmla="*/ 0 w 296966"/>
                <a:gd name="connsiteY4" fmla="*/ 344749 h 403883"/>
                <a:gd name="connsiteX5" fmla="*/ 220980 w 296966"/>
                <a:gd name="connsiteY5" fmla="*/ 17947 h 403883"/>
                <a:gd name="connsiteX6" fmla="*/ 292565 w 296966"/>
                <a:gd name="connsiteY6" fmla="*/ 2386 h 403883"/>
                <a:gd name="connsiteX7" fmla="*/ 295677 w 296966"/>
                <a:gd name="connsiteY7" fmla="*/ 8610 h 403883"/>
                <a:gd name="connsiteX8" fmla="*/ 289453 w 296966"/>
                <a:gd name="connsiteY8" fmla="*/ 11722 h 403883"/>
                <a:gd name="connsiteX9" fmla="*/ 227205 w 296966"/>
                <a:gd name="connsiteY9" fmla="*/ 24172 h 403883"/>
                <a:gd name="connsiteX10" fmla="*/ 12449 w 296966"/>
                <a:gd name="connsiteY10" fmla="*/ 341636 h 403883"/>
                <a:gd name="connsiteX11" fmla="*/ 146282 w 296966"/>
                <a:gd name="connsiteY11" fmla="*/ 388322 h 403883"/>
                <a:gd name="connsiteX12" fmla="*/ 149395 w 296966"/>
                <a:gd name="connsiteY12" fmla="*/ 394547 h 403883"/>
                <a:gd name="connsiteX13" fmla="*/ 146282 w 296966"/>
                <a:gd name="connsiteY13" fmla="*/ 403884 h 403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6966" h="403883">
                  <a:moveTo>
                    <a:pt x="146282" y="403884"/>
                  </a:moveTo>
                  <a:cubicBezTo>
                    <a:pt x="146282" y="403884"/>
                    <a:pt x="146282" y="403884"/>
                    <a:pt x="146282" y="403884"/>
                  </a:cubicBezTo>
                  <a:cubicBezTo>
                    <a:pt x="18675" y="378985"/>
                    <a:pt x="3113" y="354085"/>
                    <a:pt x="0" y="347861"/>
                  </a:cubicBezTo>
                  <a:lnTo>
                    <a:pt x="0" y="347861"/>
                  </a:lnTo>
                  <a:lnTo>
                    <a:pt x="0" y="344749"/>
                  </a:lnTo>
                  <a:cubicBezTo>
                    <a:pt x="21787" y="242040"/>
                    <a:pt x="127608" y="70858"/>
                    <a:pt x="220980" y="17947"/>
                  </a:cubicBezTo>
                  <a:cubicBezTo>
                    <a:pt x="248991" y="2386"/>
                    <a:pt x="273891" y="-3840"/>
                    <a:pt x="292565" y="2386"/>
                  </a:cubicBezTo>
                  <a:cubicBezTo>
                    <a:pt x="295677" y="2386"/>
                    <a:pt x="298790" y="5498"/>
                    <a:pt x="295677" y="8610"/>
                  </a:cubicBezTo>
                  <a:cubicBezTo>
                    <a:pt x="295677" y="11722"/>
                    <a:pt x="292565" y="14835"/>
                    <a:pt x="289453" y="11722"/>
                  </a:cubicBezTo>
                  <a:cubicBezTo>
                    <a:pt x="270778" y="5498"/>
                    <a:pt x="248991" y="11722"/>
                    <a:pt x="227205" y="24172"/>
                  </a:cubicBezTo>
                  <a:cubicBezTo>
                    <a:pt x="140058" y="77083"/>
                    <a:pt x="37349" y="242040"/>
                    <a:pt x="12449" y="341636"/>
                  </a:cubicBezTo>
                  <a:cubicBezTo>
                    <a:pt x="15562" y="344749"/>
                    <a:pt x="40461" y="366535"/>
                    <a:pt x="146282" y="388322"/>
                  </a:cubicBezTo>
                  <a:cubicBezTo>
                    <a:pt x="149395" y="388322"/>
                    <a:pt x="152507" y="391435"/>
                    <a:pt x="149395" y="394547"/>
                  </a:cubicBezTo>
                  <a:cubicBezTo>
                    <a:pt x="152507" y="400771"/>
                    <a:pt x="149395" y="403884"/>
                    <a:pt x="146282" y="403884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70" name="图形 1">
            <a:extLst>
              <a:ext uri="{FF2B5EF4-FFF2-40B4-BE49-F238E27FC236}">
                <a16:creationId xmlns:a16="http://schemas.microsoft.com/office/drawing/2014/main" id="{5B62EA9C-DAF0-41B5-952F-9A3602F6AEF2}"/>
              </a:ext>
            </a:extLst>
          </p:cNvPr>
          <p:cNvGrpSpPr/>
          <p:nvPr/>
        </p:nvGrpSpPr>
        <p:grpSpPr>
          <a:xfrm>
            <a:off x="3058084" y="1808514"/>
            <a:ext cx="2575214" cy="5049486"/>
            <a:chOff x="2350161" y="7533150"/>
            <a:chExt cx="2575214" cy="5049486"/>
          </a:xfrm>
        </p:grpSpPr>
        <p:grpSp>
          <p:nvGrpSpPr>
            <p:cNvPr id="71" name="图形 1">
              <a:extLst>
                <a:ext uri="{FF2B5EF4-FFF2-40B4-BE49-F238E27FC236}">
                  <a16:creationId xmlns:a16="http://schemas.microsoft.com/office/drawing/2014/main" id="{78A7E21D-3E35-4B20-B6CD-6B9527701382}"/>
                </a:ext>
              </a:extLst>
            </p:cNvPr>
            <p:cNvGrpSpPr/>
            <p:nvPr/>
          </p:nvGrpSpPr>
          <p:grpSpPr>
            <a:xfrm>
              <a:off x="2883588" y="10699639"/>
              <a:ext cx="458559" cy="1882997"/>
              <a:chOff x="2883588" y="10699639"/>
              <a:chExt cx="458559" cy="1882997"/>
            </a:xfrm>
          </p:grpSpPr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D37CE68B-238C-45B9-96EE-796103A30DB3}"/>
                  </a:ext>
                </a:extLst>
              </p:cNvPr>
              <p:cNvSpPr/>
              <p:nvPr/>
            </p:nvSpPr>
            <p:spPr>
              <a:xfrm>
                <a:off x="2883588" y="12240273"/>
                <a:ext cx="291961" cy="342363"/>
              </a:xfrm>
              <a:custGeom>
                <a:avLst/>
                <a:gdLst>
                  <a:gd name="connsiteX0" fmla="*/ 2767 w 291961"/>
                  <a:gd name="connsiteY0" fmla="*/ 230317 h 342363"/>
                  <a:gd name="connsiteX1" fmla="*/ 2767 w 291961"/>
                  <a:gd name="connsiteY1" fmla="*/ 286340 h 342363"/>
                  <a:gd name="connsiteX2" fmla="*/ 139712 w 291961"/>
                  <a:gd name="connsiteY2" fmla="*/ 342363 h 342363"/>
                  <a:gd name="connsiteX3" fmla="*/ 285994 w 291961"/>
                  <a:gd name="connsiteY3" fmla="*/ 286340 h 342363"/>
                  <a:gd name="connsiteX4" fmla="*/ 273545 w 291961"/>
                  <a:gd name="connsiteY4" fmla="*/ 40461 h 342363"/>
                  <a:gd name="connsiteX5" fmla="*/ 257983 w 291961"/>
                  <a:gd name="connsiteY5" fmla="*/ 0 h 342363"/>
                  <a:gd name="connsiteX6" fmla="*/ 239308 w 291961"/>
                  <a:gd name="connsiteY6" fmla="*/ 230317 h 342363"/>
                  <a:gd name="connsiteX7" fmla="*/ 2767 w 291961"/>
                  <a:gd name="connsiteY7" fmla="*/ 230317 h 342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1961" h="342363">
                    <a:moveTo>
                      <a:pt x="2767" y="230317"/>
                    </a:moveTo>
                    <a:cubicBezTo>
                      <a:pt x="2767" y="230317"/>
                      <a:pt x="-3458" y="273890"/>
                      <a:pt x="2767" y="286340"/>
                    </a:cubicBezTo>
                    <a:cubicBezTo>
                      <a:pt x="12104" y="305014"/>
                      <a:pt x="74352" y="342363"/>
                      <a:pt x="139712" y="342363"/>
                    </a:cubicBezTo>
                    <a:cubicBezTo>
                      <a:pt x="217522" y="342363"/>
                      <a:pt x="270432" y="305014"/>
                      <a:pt x="285994" y="286340"/>
                    </a:cubicBezTo>
                    <a:cubicBezTo>
                      <a:pt x="304669" y="267665"/>
                      <a:pt x="273545" y="40461"/>
                      <a:pt x="273545" y="40461"/>
                    </a:cubicBezTo>
                    <a:lnTo>
                      <a:pt x="257983" y="0"/>
                    </a:lnTo>
                    <a:lnTo>
                      <a:pt x="239308" y="230317"/>
                    </a:lnTo>
                    <a:lnTo>
                      <a:pt x="2767" y="230317"/>
                    </a:ln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F471492B-9921-414D-8098-EA2B99A5AB3B}"/>
                  </a:ext>
                </a:extLst>
              </p:cNvPr>
              <p:cNvSpPr/>
              <p:nvPr/>
            </p:nvSpPr>
            <p:spPr>
              <a:xfrm>
                <a:off x="2964164" y="10699639"/>
                <a:ext cx="377982" cy="1655791"/>
              </a:xfrm>
              <a:custGeom>
                <a:avLst/>
                <a:gdLst>
                  <a:gd name="connsiteX0" fmla="*/ 3112 w 377982"/>
                  <a:gd name="connsiteY0" fmla="*/ 1559308 h 1655791"/>
                  <a:gd name="connsiteX1" fmla="*/ 15562 w 377982"/>
                  <a:gd name="connsiteY1" fmla="*/ 395273 h 1655791"/>
                  <a:gd name="connsiteX2" fmla="*/ 0 w 377982"/>
                  <a:gd name="connsiteY2" fmla="*/ 80921 h 1655791"/>
                  <a:gd name="connsiteX3" fmla="*/ 376599 w 377982"/>
                  <a:gd name="connsiteY3" fmla="*/ 0 h 1655791"/>
                  <a:gd name="connsiteX4" fmla="*/ 376599 w 377982"/>
                  <a:gd name="connsiteY4" fmla="*/ 423285 h 1655791"/>
                  <a:gd name="connsiteX5" fmla="*/ 155620 w 377982"/>
                  <a:gd name="connsiteY5" fmla="*/ 1655792 h 1655791"/>
                  <a:gd name="connsiteX6" fmla="*/ 3112 w 377982"/>
                  <a:gd name="connsiteY6" fmla="*/ 1559308 h 1655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7982" h="1655791">
                    <a:moveTo>
                      <a:pt x="3112" y="1559308"/>
                    </a:moveTo>
                    <a:cubicBezTo>
                      <a:pt x="3112" y="1559308"/>
                      <a:pt x="12450" y="494870"/>
                      <a:pt x="15562" y="395273"/>
                    </a:cubicBezTo>
                    <a:cubicBezTo>
                      <a:pt x="18674" y="292565"/>
                      <a:pt x="0" y="80921"/>
                      <a:pt x="0" y="80921"/>
                    </a:cubicBezTo>
                    <a:lnTo>
                      <a:pt x="376599" y="0"/>
                    </a:lnTo>
                    <a:cubicBezTo>
                      <a:pt x="376599" y="0"/>
                      <a:pt x="379712" y="351700"/>
                      <a:pt x="376599" y="423285"/>
                    </a:cubicBezTo>
                    <a:cubicBezTo>
                      <a:pt x="373487" y="494870"/>
                      <a:pt x="155620" y="1655792"/>
                      <a:pt x="155620" y="1655792"/>
                    </a:cubicBezTo>
                    <a:lnTo>
                      <a:pt x="3112" y="1559308"/>
                    </a:ln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7741EC96-A287-48EE-A3A7-8F01F7613C36}"/>
                  </a:ext>
                </a:extLst>
              </p:cNvPr>
              <p:cNvSpPr/>
              <p:nvPr/>
            </p:nvSpPr>
            <p:spPr>
              <a:xfrm>
                <a:off x="2885484" y="12221598"/>
                <a:ext cx="276855" cy="317678"/>
              </a:xfrm>
              <a:custGeom>
                <a:avLst/>
                <a:gdLst>
                  <a:gd name="connsiteX0" fmla="*/ 78680 w 276855"/>
                  <a:gd name="connsiteY0" fmla="*/ 0 h 317678"/>
                  <a:gd name="connsiteX1" fmla="*/ 259199 w 276855"/>
                  <a:gd name="connsiteY1" fmla="*/ 15562 h 317678"/>
                  <a:gd name="connsiteX2" fmla="*/ 274761 w 276855"/>
                  <a:gd name="connsiteY2" fmla="*/ 255216 h 317678"/>
                  <a:gd name="connsiteX3" fmla="*/ 131591 w 276855"/>
                  <a:gd name="connsiteY3" fmla="*/ 317463 h 317678"/>
                  <a:gd name="connsiteX4" fmla="*/ 870 w 276855"/>
                  <a:gd name="connsiteY4" fmla="*/ 252104 h 317678"/>
                  <a:gd name="connsiteX5" fmla="*/ 78680 w 276855"/>
                  <a:gd name="connsiteY5" fmla="*/ 0 h 317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6855" h="317678">
                    <a:moveTo>
                      <a:pt x="78680" y="0"/>
                    </a:moveTo>
                    <a:cubicBezTo>
                      <a:pt x="78680" y="0"/>
                      <a:pt x="140928" y="71585"/>
                      <a:pt x="259199" y="15562"/>
                    </a:cubicBezTo>
                    <a:cubicBezTo>
                      <a:pt x="259199" y="15562"/>
                      <a:pt x="284098" y="220980"/>
                      <a:pt x="274761" y="255216"/>
                    </a:cubicBezTo>
                    <a:cubicBezTo>
                      <a:pt x="262311" y="289452"/>
                      <a:pt x="172052" y="320576"/>
                      <a:pt x="131591" y="317463"/>
                    </a:cubicBezTo>
                    <a:cubicBezTo>
                      <a:pt x="91130" y="314352"/>
                      <a:pt x="13320" y="277003"/>
                      <a:pt x="870" y="252104"/>
                    </a:cubicBezTo>
                    <a:cubicBezTo>
                      <a:pt x="-8467" y="233429"/>
                      <a:pt x="60006" y="56023"/>
                      <a:pt x="78680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903354DE-7011-4652-97F5-B5CDED666C33}"/>
                  </a:ext>
                </a:extLst>
              </p:cNvPr>
              <p:cNvSpPr/>
              <p:nvPr/>
            </p:nvSpPr>
            <p:spPr>
              <a:xfrm>
                <a:off x="2956650" y="12214084"/>
                <a:ext cx="194257" cy="51087"/>
              </a:xfrm>
              <a:custGeom>
                <a:avLst/>
                <a:gdLst>
                  <a:gd name="connsiteX0" fmla="*/ 94661 w 194257"/>
                  <a:gd name="connsiteY0" fmla="*/ 51088 h 51087"/>
                  <a:gd name="connsiteX1" fmla="*/ 1289 w 194257"/>
                  <a:gd name="connsiteY1" fmla="*/ 10627 h 51087"/>
                  <a:gd name="connsiteX2" fmla="*/ 4402 w 194257"/>
                  <a:gd name="connsiteY2" fmla="*/ 1289 h 51087"/>
                  <a:gd name="connsiteX3" fmla="*/ 13739 w 194257"/>
                  <a:gd name="connsiteY3" fmla="*/ 4402 h 51087"/>
                  <a:gd name="connsiteX4" fmla="*/ 188033 w 194257"/>
                  <a:gd name="connsiteY4" fmla="*/ 16851 h 51087"/>
                  <a:gd name="connsiteX5" fmla="*/ 194257 w 194257"/>
                  <a:gd name="connsiteY5" fmla="*/ 19964 h 51087"/>
                  <a:gd name="connsiteX6" fmla="*/ 191145 w 194257"/>
                  <a:gd name="connsiteY6" fmla="*/ 26189 h 51087"/>
                  <a:gd name="connsiteX7" fmla="*/ 94661 w 194257"/>
                  <a:gd name="connsiteY7" fmla="*/ 51088 h 51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4257" h="51087">
                    <a:moveTo>
                      <a:pt x="94661" y="51088"/>
                    </a:moveTo>
                    <a:cubicBezTo>
                      <a:pt x="29301" y="51088"/>
                      <a:pt x="4402" y="13739"/>
                      <a:pt x="1289" y="10627"/>
                    </a:cubicBezTo>
                    <a:cubicBezTo>
                      <a:pt x="-1823" y="7514"/>
                      <a:pt x="1289" y="4402"/>
                      <a:pt x="4402" y="1289"/>
                    </a:cubicBezTo>
                    <a:cubicBezTo>
                      <a:pt x="7514" y="-1823"/>
                      <a:pt x="10626" y="1289"/>
                      <a:pt x="13739" y="4402"/>
                    </a:cubicBezTo>
                    <a:cubicBezTo>
                      <a:pt x="16851" y="7514"/>
                      <a:pt x="60425" y="72875"/>
                      <a:pt x="188033" y="16851"/>
                    </a:cubicBezTo>
                    <a:cubicBezTo>
                      <a:pt x="191145" y="16851"/>
                      <a:pt x="194257" y="16851"/>
                      <a:pt x="194257" y="19964"/>
                    </a:cubicBezTo>
                    <a:cubicBezTo>
                      <a:pt x="194257" y="23076"/>
                      <a:pt x="194257" y="26189"/>
                      <a:pt x="191145" y="26189"/>
                    </a:cubicBezTo>
                    <a:cubicBezTo>
                      <a:pt x="153796" y="44863"/>
                      <a:pt x="119560" y="51088"/>
                      <a:pt x="94661" y="5108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B048D26E-0C02-444A-95FF-846246CE9663}"/>
                  </a:ext>
                </a:extLst>
              </p:cNvPr>
              <p:cNvSpPr/>
              <p:nvPr/>
            </p:nvSpPr>
            <p:spPr>
              <a:xfrm>
                <a:off x="2976614" y="12293183"/>
                <a:ext cx="127608" cy="28011"/>
              </a:xfrm>
              <a:custGeom>
                <a:avLst/>
                <a:gdLst>
                  <a:gd name="connsiteX0" fmla="*/ 80922 w 127608"/>
                  <a:gd name="connsiteY0" fmla="*/ 28011 h 28011"/>
                  <a:gd name="connsiteX1" fmla="*/ 3112 w 127608"/>
                  <a:gd name="connsiteY1" fmla="*/ 9338 h 28011"/>
                  <a:gd name="connsiteX2" fmla="*/ 0 w 127608"/>
                  <a:gd name="connsiteY2" fmla="*/ 3113 h 28011"/>
                  <a:gd name="connsiteX3" fmla="*/ 9337 w 127608"/>
                  <a:gd name="connsiteY3" fmla="*/ 0 h 28011"/>
                  <a:gd name="connsiteX4" fmla="*/ 121383 w 127608"/>
                  <a:gd name="connsiteY4" fmla="*/ 12449 h 28011"/>
                  <a:gd name="connsiteX5" fmla="*/ 127608 w 127608"/>
                  <a:gd name="connsiteY5" fmla="*/ 15562 h 28011"/>
                  <a:gd name="connsiteX6" fmla="*/ 124496 w 127608"/>
                  <a:gd name="connsiteY6" fmla="*/ 21787 h 28011"/>
                  <a:gd name="connsiteX7" fmla="*/ 80922 w 127608"/>
                  <a:gd name="connsiteY7" fmla="*/ 28011 h 28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08" h="28011">
                    <a:moveTo>
                      <a:pt x="80922" y="28011"/>
                    </a:moveTo>
                    <a:cubicBezTo>
                      <a:pt x="34236" y="28011"/>
                      <a:pt x="3112" y="12449"/>
                      <a:pt x="3112" y="9338"/>
                    </a:cubicBezTo>
                    <a:cubicBezTo>
                      <a:pt x="0" y="9338"/>
                      <a:pt x="0" y="3113"/>
                      <a:pt x="0" y="3113"/>
                    </a:cubicBezTo>
                    <a:cubicBezTo>
                      <a:pt x="0" y="0"/>
                      <a:pt x="6225" y="0"/>
                      <a:pt x="9337" y="0"/>
                    </a:cubicBezTo>
                    <a:cubicBezTo>
                      <a:pt x="9337" y="0"/>
                      <a:pt x="59135" y="24900"/>
                      <a:pt x="121383" y="12449"/>
                    </a:cubicBezTo>
                    <a:cubicBezTo>
                      <a:pt x="124496" y="12449"/>
                      <a:pt x="127608" y="12449"/>
                      <a:pt x="127608" y="15562"/>
                    </a:cubicBezTo>
                    <a:cubicBezTo>
                      <a:pt x="127608" y="18675"/>
                      <a:pt x="127608" y="21787"/>
                      <a:pt x="124496" y="21787"/>
                    </a:cubicBezTo>
                    <a:cubicBezTo>
                      <a:pt x="105821" y="28011"/>
                      <a:pt x="93372" y="28011"/>
                      <a:pt x="80922" y="2801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5E32773C-9914-4D23-8CF6-E99E9F1839F7}"/>
                  </a:ext>
                </a:extLst>
              </p:cNvPr>
              <p:cNvSpPr/>
              <p:nvPr/>
            </p:nvSpPr>
            <p:spPr>
              <a:xfrm>
                <a:off x="2961052" y="12349206"/>
                <a:ext cx="124495" cy="28011"/>
              </a:xfrm>
              <a:custGeom>
                <a:avLst/>
                <a:gdLst>
                  <a:gd name="connsiteX0" fmla="*/ 80922 w 124495"/>
                  <a:gd name="connsiteY0" fmla="*/ 28011 h 28011"/>
                  <a:gd name="connsiteX1" fmla="*/ 3112 w 124495"/>
                  <a:gd name="connsiteY1" fmla="*/ 9337 h 28011"/>
                  <a:gd name="connsiteX2" fmla="*/ 0 w 124495"/>
                  <a:gd name="connsiteY2" fmla="*/ 3112 h 28011"/>
                  <a:gd name="connsiteX3" fmla="*/ 6225 w 124495"/>
                  <a:gd name="connsiteY3" fmla="*/ 0 h 28011"/>
                  <a:gd name="connsiteX4" fmla="*/ 118271 w 124495"/>
                  <a:gd name="connsiteY4" fmla="*/ 12449 h 28011"/>
                  <a:gd name="connsiteX5" fmla="*/ 124496 w 124495"/>
                  <a:gd name="connsiteY5" fmla="*/ 15562 h 28011"/>
                  <a:gd name="connsiteX6" fmla="*/ 121383 w 124495"/>
                  <a:gd name="connsiteY6" fmla="*/ 21786 h 28011"/>
                  <a:gd name="connsiteX7" fmla="*/ 80922 w 124495"/>
                  <a:gd name="connsiteY7" fmla="*/ 28011 h 28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4495" h="28011">
                    <a:moveTo>
                      <a:pt x="80922" y="28011"/>
                    </a:moveTo>
                    <a:cubicBezTo>
                      <a:pt x="34236" y="28011"/>
                      <a:pt x="3112" y="12449"/>
                      <a:pt x="3112" y="9337"/>
                    </a:cubicBezTo>
                    <a:cubicBezTo>
                      <a:pt x="0" y="9337"/>
                      <a:pt x="0" y="3112"/>
                      <a:pt x="0" y="3112"/>
                    </a:cubicBezTo>
                    <a:cubicBezTo>
                      <a:pt x="0" y="0"/>
                      <a:pt x="6225" y="0"/>
                      <a:pt x="6225" y="0"/>
                    </a:cubicBezTo>
                    <a:cubicBezTo>
                      <a:pt x="6225" y="0"/>
                      <a:pt x="56023" y="24899"/>
                      <a:pt x="118271" y="12449"/>
                    </a:cubicBezTo>
                    <a:cubicBezTo>
                      <a:pt x="121383" y="12449"/>
                      <a:pt x="124496" y="12449"/>
                      <a:pt x="124496" y="15562"/>
                    </a:cubicBezTo>
                    <a:cubicBezTo>
                      <a:pt x="124496" y="18674"/>
                      <a:pt x="124496" y="21786"/>
                      <a:pt x="121383" y="21786"/>
                    </a:cubicBezTo>
                    <a:cubicBezTo>
                      <a:pt x="108934" y="28011"/>
                      <a:pt x="93372" y="28011"/>
                      <a:pt x="80922" y="2801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2" name="图形 1">
              <a:extLst>
                <a:ext uri="{FF2B5EF4-FFF2-40B4-BE49-F238E27FC236}">
                  <a16:creationId xmlns:a16="http://schemas.microsoft.com/office/drawing/2014/main" id="{319157D5-EECA-4F78-B726-9B66D173869B}"/>
                </a:ext>
              </a:extLst>
            </p:cNvPr>
            <p:cNvGrpSpPr/>
            <p:nvPr/>
          </p:nvGrpSpPr>
          <p:grpSpPr>
            <a:xfrm>
              <a:off x="2350161" y="8449300"/>
              <a:ext cx="1096449" cy="1288843"/>
              <a:chOff x="2350161" y="8449300"/>
              <a:chExt cx="1096449" cy="1288843"/>
            </a:xfrm>
          </p:grpSpPr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99EEFE3B-9937-48B9-B096-C73D427EBC8B}"/>
                  </a:ext>
                </a:extLst>
              </p:cNvPr>
              <p:cNvSpPr/>
              <p:nvPr/>
            </p:nvSpPr>
            <p:spPr>
              <a:xfrm>
                <a:off x="2427418" y="8449300"/>
                <a:ext cx="1019193" cy="1288843"/>
              </a:xfrm>
              <a:custGeom>
                <a:avLst/>
                <a:gdLst>
                  <a:gd name="connsiteX0" fmla="*/ 988043 w 1019193"/>
                  <a:gd name="connsiteY0" fmla="*/ 379790 h 1288843"/>
                  <a:gd name="connsiteX1" fmla="*/ 835536 w 1019193"/>
                  <a:gd name="connsiteY1" fmla="*/ 90338 h 1288843"/>
                  <a:gd name="connsiteX2" fmla="*/ 458937 w 1019193"/>
                  <a:gd name="connsiteY2" fmla="*/ 3191 h 1288843"/>
                  <a:gd name="connsiteX3" fmla="*/ 163259 w 1019193"/>
                  <a:gd name="connsiteY3" fmla="*/ 230395 h 1288843"/>
                  <a:gd name="connsiteX4" fmla="*/ 32539 w 1019193"/>
                  <a:gd name="connsiteY4" fmla="*/ 1101865 h 1288843"/>
                  <a:gd name="connsiteX5" fmla="*/ 387352 w 1019193"/>
                  <a:gd name="connsiteY5" fmla="*/ 1288609 h 1288843"/>
                  <a:gd name="connsiteX6" fmla="*/ 1006718 w 1019193"/>
                  <a:gd name="connsiteY6" fmla="*/ 759502 h 1288843"/>
                  <a:gd name="connsiteX7" fmla="*/ 988043 w 1019193"/>
                  <a:gd name="connsiteY7" fmla="*/ 379790 h 1288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9193" h="1288843">
                    <a:moveTo>
                      <a:pt x="988043" y="379790"/>
                    </a:moveTo>
                    <a:cubicBezTo>
                      <a:pt x="963144" y="267744"/>
                      <a:pt x="916458" y="158810"/>
                      <a:pt x="835536" y="90338"/>
                    </a:cubicBezTo>
                    <a:cubicBezTo>
                      <a:pt x="729715" y="78"/>
                      <a:pt x="586545" y="-6147"/>
                      <a:pt x="458937" y="3191"/>
                    </a:cubicBezTo>
                    <a:cubicBezTo>
                      <a:pt x="334441" y="12528"/>
                      <a:pt x="209945" y="146361"/>
                      <a:pt x="163259" y="230395"/>
                    </a:cubicBezTo>
                    <a:cubicBezTo>
                      <a:pt x="57438" y="432701"/>
                      <a:pt x="-57720" y="818637"/>
                      <a:pt x="32539" y="1101865"/>
                    </a:cubicBezTo>
                    <a:cubicBezTo>
                      <a:pt x="69888" y="1213911"/>
                      <a:pt x="287755" y="1279271"/>
                      <a:pt x="387352" y="1288609"/>
                    </a:cubicBezTo>
                    <a:cubicBezTo>
                      <a:pt x="527409" y="1297946"/>
                      <a:pt x="960032" y="1027167"/>
                      <a:pt x="1006718" y="759502"/>
                    </a:cubicBezTo>
                    <a:cubicBezTo>
                      <a:pt x="1031617" y="635006"/>
                      <a:pt x="1016055" y="501173"/>
                      <a:pt x="988043" y="37979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F03231E5-B9D1-4F2C-8967-23AB26C60739}"/>
                  </a:ext>
                </a:extLst>
              </p:cNvPr>
              <p:cNvSpPr/>
              <p:nvPr/>
            </p:nvSpPr>
            <p:spPr>
              <a:xfrm>
                <a:off x="2354854" y="9159861"/>
                <a:ext cx="182912" cy="399603"/>
              </a:xfrm>
              <a:custGeom>
                <a:avLst/>
                <a:gdLst>
                  <a:gd name="connsiteX0" fmla="*/ 182913 w 182912"/>
                  <a:gd name="connsiteY0" fmla="*/ 27155 h 399603"/>
                  <a:gd name="connsiteX1" fmla="*/ 182913 w 182912"/>
                  <a:gd name="connsiteY1" fmla="*/ 391304 h 399603"/>
                  <a:gd name="connsiteX2" fmla="*/ 45968 w 182912"/>
                  <a:gd name="connsiteY2" fmla="*/ 391304 h 399603"/>
                  <a:gd name="connsiteX3" fmla="*/ 17956 w 182912"/>
                  <a:gd name="connsiteY3" fmla="*/ 27155 h 399603"/>
                  <a:gd name="connsiteX4" fmla="*/ 182913 w 182912"/>
                  <a:gd name="connsiteY4" fmla="*/ 27155 h 399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912" h="399603">
                    <a:moveTo>
                      <a:pt x="182913" y="27155"/>
                    </a:moveTo>
                    <a:cubicBezTo>
                      <a:pt x="182913" y="27155"/>
                      <a:pt x="142452" y="229460"/>
                      <a:pt x="182913" y="391304"/>
                    </a:cubicBezTo>
                    <a:cubicBezTo>
                      <a:pt x="182913" y="391304"/>
                      <a:pt x="95766" y="409978"/>
                      <a:pt x="45968" y="391304"/>
                    </a:cubicBezTo>
                    <a:cubicBezTo>
                      <a:pt x="-3831" y="372630"/>
                      <a:pt x="-13168" y="58279"/>
                      <a:pt x="17956" y="27155"/>
                    </a:cubicBezTo>
                    <a:cubicBezTo>
                      <a:pt x="49080" y="-857"/>
                      <a:pt x="151789" y="-16419"/>
                      <a:pt x="182913" y="27155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31979BF9-2610-4FF6-8DFB-C7C9D39A2B69}"/>
                  </a:ext>
                </a:extLst>
              </p:cNvPr>
              <p:cNvSpPr/>
              <p:nvPr/>
            </p:nvSpPr>
            <p:spPr>
              <a:xfrm>
                <a:off x="2350161" y="9154289"/>
                <a:ext cx="193830" cy="412438"/>
              </a:xfrm>
              <a:custGeom>
                <a:avLst/>
                <a:gdLst>
                  <a:gd name="connsiteX0" fmla="*/ 106683 w 193830"/>
                  <a:gd name="connsiteY0" fmla="*/ 412438 h 412438"/>
                  <a:gd name="connsiteX1" fmla="*/ 47548 w 193830"/>
                  <a:gd name="connsiteY1" fmla="*/ 403101 h 412438"/>
                  <a:gd name="connsiteX2" fmla="*/ 13311 w 193830"/>
                  <a:gd name="connsiteY2" fmla="*/ 328404 h 412438"/>
                  <a:gd name="connsiteX3" fmla="*/ 19536 w 193830"/>
                  <a:gd name="connsiteY3" fmla="*/ 29614 h 412438"/>
                  <a:gd name="connsiteX4" fmla="*/ 134695 w 193830"/>
                  <a:gd name="connsiteY4" fmla="*/ 1603 h 412438"/>
                  <a:gd name="connsiteX5" fmla="*/ 193830 w 193830"/>
                  <a:gd name="connsiteY5" fmla="*/ 32726 h 412438"/>
                  <a:gd name="connsiteX6" fmla="*/ 193830 w 193830"/>
                  <a:gd name="connsiteY6" fmla="*/ 35839 h 412438"/>
                  <a:gd name="connsiteX7" fmla="*/ 193830 w 193830"/>
                  <a:gd name="connsiteY7" fmla="*/ 38951 h 412438"/>
                  <a:gd name="connsiteX8" fmla="*/ 187605 w 193830"/>
                  <a:gd name="connsiteY8" fmla="*/ 365752 h 412438"/>
                  <a:gd name="connsiteX9" fmla="*/ 181380 w 193830"/>
                  <a:gd name="connsiteY9" fmla="*/ 396876 h 412438"/>
                  <a:gd name="connsiteX10" fmla="*/ 153369 w 193830"/>
                  <a:gd name="connsiteY10" fmla="*/ 412438 h 412438"/>
                  <a:gd name="connsiteX11" fmla="*/ 106683 w 193830"/>
                  <a:gd name="connsiteY11" fmla="*/ 412438 h 412438"/>
                  <a:gd name="connsiteX12" fmla="*/ 116020 w 193830"/>
                  <a:gd name="connsiteY12" fmla="*/ 10939 h 412438"/>
                  <a:gd name="connsiteX13" fmla="*/ 25761 w 193830"/>
                  <a:gd name="connsiteY13" fmla="*/ 35839 h 412438"/>
                  <a:gd name="connsiteX14" fmla="*/ 22648 w 193830"/>
                  <a:gd name="connsiteY14" fmla="*/ 325291 h 412438"/>
                  <a:gd name="connsiteX15" fmla="*/ 50660 w 193830"/>
                  <a:gd name="connsiteY15" fmla="*/ 390652 h 412438"/>
                  <a:gd name="connsiteX16" fmla="*/ 150257 w 193830"/>
                  <a:gd name="connsiteY16" fmla="*/ 396876 h 412438"/>
                  <a:gd name="connsiteX17" fmla="*/ 168931 w 193830"/>
                  <a:gd name="connsiteY17" fmla="*/ 384426 h 412438"/>
                  <a:gd name="connsiteX18" fmla="*/ 175156 w 193830"/>
                  <a:gd name="connsiteY18" fmla="*/ 362640 h 412438"/>
                  <a:gd name="connsiteX19" fmla="*/ 181380 w 193830"/>
                  <a:gd name="connsiteY19" fmla="*/ 32726 h 412438"/>
                  <a:gd name="connsiteX20" fmla="*/ 131582 w 193830"/>
                  <a:gd name="connsiteY20" fmla="*/ 10939 h 412438"/>
                  <a:gd name="connsiteX21" fmla="*/ 116020 w 193830"/>
                  <a:gd name="connsiteY21" fmla="*/ 10939 h 412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93830" h="412438">
                    <a:moveTo>
                      <a:pt x="106683" y="412438"/>
                    </a:moveTo>
                    <a:cubicBezTo>
                      <a:pt x="84896" y="412438"/>
                      <a:pt x="63110" y="409326"/>
                      <a:pt x="47548" y="403101"/>
                    </a:cubicBezTo>
                    <a:cubicBezTo>
                      <a:pt x="31986" y="396876"/>
                      <a:pt x="19536" y="371977"/>
                      <a:pt x="13311" y="328404"/>
                    </a:cubicBezTo>
                    <a:cubicBezTo>
                      <a:pt x="-5363" y="231919"/>
                      <a:pt x="-5363" y="54513"/>
                      <a:pt x="19536" y="29614"/>
                    </a:cubicBezTo>
                    <a:cubicBezTo>
                      <a:pt x="41323" y="7827"/>
                      <a:pt x="91121" y="-4623"/>
                      <a:pt x="134695" y="1603"/>
                    </a:cubicBezTo>
                    <a:cubicBezTo>
                      <a:pt x="162706" y="4715"/>
                      <a:pt x="184493" y="14052"/>
                      <a:pt x="193830" y="32726"/>
                    </a:cubicBezTo>
                    <a:lnTo>
                      <a:pt x="193830" y="35839"/>
                    </a:lnTo>
                    <a:lnTo>
                      <a:pt x="193830" y="38951"/>
                    </a:lnTo>
                    <a:cubicBezTo>
                      <a:pt x="193830" y="42063"/>
                      <a:pt x="159594" y="216357"/>
                      <a:pt x="187605" y="365752"/>
                    </a:cubicBezTo>
                    <a:cubicBezTo>
                      <a:pt x="190718" y="375090"/>
                      <a:pt x="187605" y="387539"/>
                      <a:pt x="181380" y="396876"/>
                    </a:cubicBezTo>
                    <a:cubicBezTo>
                      <a:pt x="175156" y="406213"/>
                      <a:pt x="165819" y="412438"/>
                      <a:pt x="153369" y="412438"/>
                    </a:cubicBezTo>
                    <a:cubicBezTo>
                      <a:pt x="137807" y="409326"/>
                      <a:pt x="122245" y="412438"/>
                      <a:pt x="106683" y="412438"/>
                    </a:cubicBezTo>
                    <a:close/>
                    <a:moveTo>
                      <a:pt x="116020" y="10939"/>
                    </a:moveTo>
                    <a:cubicBezTo>
                      <a:pt x="81784" y="10939"/>
                      <a:pt x="44435" y="20277"/>
                      <a:pt x="25761" y="35839"/>
                    </a:cubicBezTo>
                    <a:cubicBezTo>
                      <a:pt x="7087" y="54513"/>
                      <a:pt x="862" y="222582"/>
                      <a:pt x="22648" y="325291"/>
                    </a:cubicBezTo>
                    <a:cubicBezTo>
                      <a:pt x="31986" y="378202"/>
                      <a:pt x="44435" y="387539"/>
                      <a:pt x="50660" y="390652"/>
                    </a:cubicBezTo>
                    <a:cubicBezTo>
                      <a:pt x="78672" y="399988"/>
                      <a:pt x="119133" y="399988"/>
                      <a:pt x="150257" y="396876"/>
                    </a:cubicBezTo>
                    <a:cubicBezTo>
                      <a:pt x="156481" y="396876"/>
                      <a:pt x="165819" y="390652"/>
                      <a:pt x="168931" y="384426"/>
                    </a:cubicBezTo>
                    <a:cubicBezTo>
                      <a:pt x="172043" y="378202"/>
                      <a:pt x="175156" y="371977"/>
                      <a:pt x="175156" y="362640"/>
                    </a:cubicBezTo>
                    <a:cubicBezTo>
                      <a:pt x="150257" y="219470"/>
                      <a:pt x="178268" y="54513"/>
                      <a:pt x="181380" y="32726"/>
                    </a:cubicBezTo>
                    <a:cubicBezTo>
                      <a:pt x="168931" y="17164"/>
                      <a:pt x="147144" y="10939"/>
                      <a:pt x="131582" y="10939"/>
                    </a:cubicBezTo>
                    <a:cubicBezTo>
                      <a:pt x="125357" y="10939"/>
                      <a:pt x="119133" y="10939"/>
                      <a:pt x="116020" y="1093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26346B13-B9B9-48EB-ABF6-1159D6A70D56}"/>
                  </a:ext>
                </a:extLst>
              </p:cNvPr>
              <p:cNvSpPr/>
              <p:nvPr/>
            </p:nvSpPr>
            <p:spPr>
              <a:xfrm>
                <a:off x="2400674" y="8655202"/>
                <a:ext cx="264700" cy="404205"/>
              </a:xfrm>
              <a:custGeom>
                <a:avLst/>
                <a:gdLst>
                  <a:gd name="connsiteX0" fmla="*/ 264701 w 264700"/>
                  <a:gd name="connsiteY0" fmla="*/ 64955 h 404205"/>
                  <a:gd name="connsiteX1" fmla="*/ 140205 w 264700"/>
                  <a:gd name="connsiteY1" fmla="*/ 404206 h 404205"/>
                  <a:gd name="connsiteX2" fmla="*/ 9485 w 264700"/>
                  <a:gd name="connsiteY2" fmla="*/ 357520 h 404205"/>
                  <a:gd name="connsiteX3" fmla="*/ 109081 w 264700"/>
                  <a:gd name="connsiteY3" fmla="*/ 5819 h 404205"/>
                  <a:gd name="connsiteX4" fmla="*/ 264701 w 264700"/>
                  <a:gd name="connsiteY4" fmla="*/ 64955 h 404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4700" h="404205">
                    <a:moveTo>
                      <a:pt x="264701" y="64955"/>
                    </a:moveTo>
                    <a:cubicBezTo>
                      <a:pt x="264701" y="64955"/>
                      <a:pt x="155767" y="242361"/>
                      <a:pt x="140205" y="404206"/>
                    </a:cubicBezTo>
                    <a:cubicBezTo>
                      <a:pt x="140205" y="404206"/>
                      <a:pt x="49946" y="391756"/>
                      <a:pt x="9485" y="357520"/>
                    </a:cubicBezTo>
                    <a:cubicBezTo>
                      <a:pt x="-30976" y="323283"/>
                      <a:pt x="68620" y="24494"/>
                      <a:pt x="109081" y="5819"/>
                    </a:cubicBezTo>
                    <a:cubicBezTo>
                      <a:pt x="149542" y="-12855"/>
                      <a:pt x="255364" y="15157"/>
                      <a:pt x="264701" y="64955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7A7F7931-7ED1-448E-9262-9D3253A180FD}"/>
                  </a:ext>
                </a:extLst>
              </p:cNvPr>
              <p:cNvSpPr/>
              <p:nvPr/>
            </p:nvSpPr>
            <p:spPr>
              <a:xfrm>
                <a:off x="2394596" y="8651432"/>
                <a:ext cx="277002" cy="407975"/>
              </a:xfrm>
              <a:custGeom>
                <a:avLst/>
                <a:gdLst>
                  <a:gd name="connsiteX0" fmla="*/ 118271 w 277002"/>
                  <a:gd name="connsiteY0" fmla="*/ 407976 h 407975"/>
                  <a:gd name="connsiteX1" fmla="*/ 108934 w 277002"/>
                  <a:gd name="connsiteY1" fmla="*/ 407976 h 407975"/>
                  <a:gd name="connsiteX2" fmla="*/ 12450 w 277002"/>
                  <a:gd name="connsiteY2" fmla="*/ 367514 h 407975"/>
                  <a:gd name="connsiteX3" fmla="*/ 3112 w 277002"/>
                  <a:gd name="connsiteY3" fmla="*/ 286593 h 407975"/>
                  <a:gd name="connsiteX4" fmla="*/ 112046 w 277002"/>
                  <a:gd name="connsiteY4" fmla="*/ 6477 h 407975"/>
                  <a:gd name="connsiteX5" fmla="*/ 230317 w 277002"/>
                  <a:gd name="connsiteY5" fmla="*/ 18927 h 407975"/>
                  <a:gd name="connsiteX6" fmla="*/ 277003 w 277002"/>
                  <a:gd name="connsiteY6" fmla="*/ 68725 h 407975"/>
                  <a:gd name="connsiteX7" fmla="*/ 277003 w 277002"/>
                  <a:gd name="connsiteY7" fmla="*/ 71837 h 407975"/>
                  <a:gd name="connsiteX8" fmla="*/ 277003 w 277002"/>
                  <a:gd name="connsiteY8" fmla="*/ 74950 h 407975"/>
                  <a:gd name="connsiteX9" fmla="*/ 158732 w 277002"/>
                  <a:gd name="connsiteY9" fmla="*/ 379964 h 407975"/>
                  <a:gd name="connsiteX10" fmla="*/ 143170 w 277002"/>
                  <a:gd name="connsiteY10" fmla="*/ 404863 h 407975"/>
                  <a:gd name="connsiteX11" fmla="*/ 118271 w 277002"/>
                  <a:gd name="connsiteY11" fmla="*/ 407976 h 407975"/>
                  <a:gd name="connsiteX12" fmla="*/ 152507 w 277002"/>
                  <a:gd name="connsiteY12" fmla="*/ 12702 h 407975"/>
                  <a:gd name="connsiteX13" fmla="*/ 121383 w 277002"/>
                  <a:gd name="connsiteY13" fmla="*/ 18927 h 407975"/>
                  <a:gd name="connsiteX14" fmla="*/ 18674 w 277002"/>
                  <a:gd name="connsiteY14" fmla="*/ 289705 h 407975"/>
                  <a:gd name="connsiteX15" fmla="*/ 21787 w 277002"/>
                  <a:gd name="connsiteY15" fmla="*/ 361290 h 407975"/>
                  <a:gd name="connsiteX16" fmla="*/ 112046 w 277002"/>
                  <a:gd name="connsiteY16" fmla="*/ 401751 h 407975"/>
                  <a:gd name="connsiteX17" fmla="*/ 133833 w 277002"/>
                  <a:gd name="connsiteY17" fmla="*/ 398638 h 407975"/>
                  <a:gd name="connsiteX18" fmla="*/ 146282 w 277002"/>
                  <a:gd name="connsiteY18" fmla="*/ 379964 h 407975"/>
                  <a:gd name="connsiteX19" fmla="*/ 264553 w 277002"/>
                  <a:gd name="connsiteY19" fmla="*/ 74950 h 407975"/>
                  <a:gd name="connsiteX20" fmla="*/ 224092 w 277002"/>
                  <a:gd name="connsiteY20" fmla="*/ 37601 h 407975"/>
                  <a:gd name="connsiteX21" fmla="*/ 152507 w 277002"/>
                  <a:gd name="connsiteY21" fmla="*/ 12702 h 407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7002" h="407975">
                    <a:moveTo>
                      <a:pt x="118271" y="407976"/>
                    </a:moveTo>
                    <a:cubicBezTo>
                      <a:pt x="115158" y="407976"/>
                      <a:pt x="112046" y="407976"/>
                      <a:pt x="108934" y="407976"/>
                    </a:cubicBezTo>
                    <a:cubicBezTo>
                      <a:pt x="77810" y="401751"/>
                      <a:pt x="37349" y="389301"/>
                      <a:pt x="12450" y="367514"/>
                    </a:cubicBezTo>
                    <a:cubicBezTo>
                      <a:pt x="0" y="358177"/>
                      <a:pt x="-3112" y="330166"/>
                      <a:pt x="3112" y="286593"/>
                    </a:cubicBezTo>
                    <a:cubicBezTo>
                      <a:pt x="18674" y="190108"/>
                      <a:pt x="77810" y="22039"/>
                      <a:pt x="112046" y="6477"/>
                    </a:cubicBezTo>
                    <a:cubicBezTo>
                      <a:pt x="140058" y="-5973"/>
                      <a:pt x="189856" y="252"/>
                      <a:pt x="230317" y="18927"/>
                    </a:cubicBezTo>
                    <a:cubicBezTo>
                      <a:pt x="255216" y="31376"/>
                      <a:pt x="270778" y="46938"/>
                      <a:pt x="277003" y="68725"/>
                    </a:cubicBezTo>
                    <a:lnTo>
                      <a:pt x="277003" y="71837"/>
                    </a:lnTo>
                    <a:lnTo>
                      <a:pt x="277003" y="74950"/>
                    </a:lnTo>
                    <a:cubicBezTo>
                      <a:pt x="277003" y="74950"/>
                      <a:pt x="183631" y="230569"/>
                      <a:pt x="158732" y="379964"/>
                    </a:cubicBezTo>
                    <a:cubicBezTo>
                      <a:pt x="155620" y="389301"/>
                      <a:pt x="149395" y="398638"/>
                      <a:pt x="143170" y="404863"/>
                    </a:cubicBezTo>
                    <a:cubicBezTo>
                      <a:pt x="133833" y="407976"/>
                      <a:pt x="127608" y="407976"/>
                      <a:pt x="118271" y="407976"/>
                    </a:cubicBezTo>
                    <a:close/>
                    <a:moveTo>
                      <a:pt x="152507" y="12702"/>
                    </a:moveTo>
                    <a:cubicBezTo>
                      <a:pt x="140058" y="12702"/>
                      <a:pt x="127608" y="15814"/>
                      <a:pt x="121383" y="18927"/>
                    </a:cubicBezTo>
                    <a:cubicBezTo>
                      <a:pt x="96484" y="28264"/>
                      <a:pt x="34236" y="183883"/>
                      <a:pt x="18674" y="289705"/>
                    </a:cubicBezTo>
                    <a:cubicBezTo>
                      <a:pt x="9337" y="342615"/>
                      <a:pt x="18674" y="358177"/>
                      <a:pt x="21787" y="361290"/>
                    </a:cubicBezTo>
                    <a:cubicBezTo>
                      <a:pt x="43573" y="379964"/>
                      <a:pt x="84035" y="392414"/>
                      <a:pt x="112046" y="401751"/>
                    </a:cubicBezTo>
                    <a:cubicBezTo>
                      <a:pt x="118271" y="404863"/>
                      <a:pt x="127608" y="401751"/>
                      <a:pt x="133833" y="398638"/>
                    </a:cubicBezTo>
                    <a:cubicBezTo>
                      <a:pt x="140058" y="395526"/>
                      <a:pt x="143170" y="389301"/>
                      <a:pt x="146282" y="379964"/>
                    </a:cubicBezTo>
                    <a:cubicBezTo>
                      <a:pt x="171182" y="236794"/>
                      <a:pt x="255216" y="93624"/>
                      <a:pt x="264553" y="74950"/>
                    </a:cubicBezTo>
                    <a:cubicBezTo>
                      <a:pt x="258329" y="56275"/>
                      <a:pt x="239654" y="43826"/>
                      <a:pt x="224092" y="37601"/>
                    </a:cubicBezTo>
                    <a:cubicBezTo>
                      <a:pt x="205418" y="18927"/>
                      <a:pt x="174294" y="12702"/>
                      <a:pt x="152507" y="1270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332FF3B6-ACBD-4F94-A1A3-83A51BD57393}"/>
                </a:ext>
              </a:extLst>
            </p:cNvPr>
            <p:cNvGrpSpPr/>
            <p:nvPr/>
          </p:nvGrpSpPr>
          <p:grpSpPr>
            <a:xfrm>
              <a:off x="2519092" y="8231511"/>
              <a:ext cx="1170427" cy="317464"/>
              <a:chOff x="2519092" y="8231511"/>
              <a:chExt cx="1170427" cy="317464"/>
            </a:xfrm>
          </p:grpSpPr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E8CEA0C3-F459-41C8-9ACE-F92C41263CCE}"/>
                  </a:ext>
                </a:extLst>
              </p:cNvPr>
              <p:cNvSpPr/>
              <p:nvPr/>
            </p:nvSpPr>
            <p:spPr>
              <a:xfrm>
                <a:off x="2606239" y="8234624"/>
                <a:ext cx="1083280" cy="314351"/>
              </a:xfrm>
              <a:custGeom>
                <a:avLst/>
                <a:gdLst>
                  <a:gd name="connsiteX0" fmla="*/ 995965 w 1083280"/>
                  <a:gd name="connsiteY0" fmla="*/ 9337 h 314351"/>
                  <a:gd name="connsiteX1" fmla="*/ 3112 w 1083280"/>
                  <a:gd name="connsiteY1" fmla="*/ 0 h 314351"/>
                  <a:gd name="connsiteX2" fmla="*/ 0 w 1083280"/>
                  <a:gd name="connsiteY2" fmla="*/ 305015 h 314351"/>
                  <a:gd name="connsiteX3" fmla="*/ 992853 w 1083280"/>
                  <a:gd name="connsiteY3" fmla="*/ 314352 h 314351"/>
                  <a:gd name="connsiteX4" fmla="*/ 1083112 w 1083280"/>
                  <a:gd name="connsiteY4" fmla="*/ 161844 h 314351"/>
                  <a:gd name="connsiteX5" fmla="*/ 995965 w 1083280"/>
                  <a:gd name="connsiteY5" fmla="*/ 9337 h 314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83280" h="314351">
                    <a:moveTo>
                      <a:pt x="995965" y="9337"/>
                    </a:moveTo>
                    <a:lnTo>
                      <a:pt x="3112" y="0"/>
                    </a:lnTo>
                    <a:lnTo>
                      <a:pt x="0" y="305015"/>
                    </a:lnTo>
                    <a:lnTo>
                      <a:pt x="992853" y="314352"/>
                    </a:lnTo>
                    <a:cubicBezTo>
                      <a:pt x="1042651" y="314352"/>
                      <a:pt x="1083112" y="245879"/>
                      <a:pt x="1083112" y="161844"/>
                    </a:cubicBezTo>
                    <a:cubicBezTo>
                      <a:pt x="1086225" y="77810"/>
                      <a:pt x="1045764" y="9337"/>
                      <a:pt x="995965" y="9337"/>
                    </a:cubicBezTo>
                    <a:close/>
                  </a:path>
                </a:pathLst>
              </a:custGeom>
              <a:solidFill>
                <a:srgbClr val="F1DDBA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FBA2C042-9BE0-4540-B4A8-EDA8F6A58D3A}"/>
                  </a:ext>
                </a:extLst>
              </p:cNvPr>
              <p:cNvSpPr/>
              <p:nvPr/>
            </p:nvSpPr>
            <p:spPr>
              <a:xfrm>
                <a:off x="2519092" y="8231511"/>
                <a:ext cx="177406" cy="305014"/>
              </a:xfrm>
              <a:custGeom>
                <a:avLst/>
                <a:gdLst>
                  <a:gd name="connsiteX0" fmla="*/ 0 w 177406"/>
                  <a:gd name="connsiteY0" fmla="*/ 152507 h 305014"/>
                  <a:gd name="connsiteX1" fmla="*/ 87147 w 177406"/>
                  <a:gd name="connsiteY1" fmla="*/ 305015 h 305014"/>
                  <a:gd name="connsiteX2" fmla="*/ 177406 w 177406"/>
                  <a:gd name="connsiteY2" fmla="*/ 152507 h 305014"/>
                  <a:gd name="connsiteX3" fmla="*/ 90259 w 177406"/>
                  <a:gd name="connsiteY3" fmla="*/ 0 h 305014"/>
                  <a:gd name="connsiteX4" fmla="*/ 0 w 177406"/>
                  <a:gd name="connsiteY4" fmla="*/ 152507 h 30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406" h="305014">
                    <a:moveTo>
                      <a:pt x="0" y="152507"/>
                    </a:moveTo>
                    <a:cubicBezTo>
                      <a:pt x="0" y="236542"/>
                      <a:pt x="37349" y="305015"/>
                      <a:pt x="87147" y="305015"/>
                    </a:cubicBezTo>
                    <a:cubicBezTo>
                      <a:pt x="136945" y="305015"/>
                      <a:pt x="177406" y="236542"/>
                      <a:pt x="177406" y="152507"/>
                    </a:cubicBezTo>
                    <a:cubicBezTo>
                      <a:pt x="177406" y="68473"/>
                      <a:pt x="140058" y="0"/>
                      <a:pt x="90259" y="0"/>
                    </a:cubicBezTo>
                    <a:cubicBezTo>
                      <a:pt x="40461" y="0"/>
                      <a:pt x="0" y="68473"/>
                      <a:pt x="0" y="152507"/>
                    </a:cubicBezTo>
                    <a:close/>
                  </a:path>
                </a:pathLst>
              </a:custGeom>
              <a:solidFill>
                <a:srgbClr val="E2CCA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DFFF014C-DC97-4330-96D7-1E1268EEC429}"/>
                  </a:ext>
                </a:extLst>
              </p:cNvPr>
              <p:cNvSpPr/>
              <p:nvPr/>
            </p:nvSpPr>
            <p:spPr>
              <a:xfrm>
                <a:off x="2530859" y="8253298"/>
                <a:ext cx="129479" cy="242766"/>
              </a:xfrm>
              <a:custGeom>
                <a:avLst/>
                <a:gdLst>
                  <a:gd name="connsiteX0" fmla="*/ 69155 w 129479"/>
                  <a:gd name="connsiteY0" fmla="*/ 242766 h 242766"/>
                  <a:gd name="connsiteX1" fmla="*/ 59818 w 129479"/>
                  <a:gd name="connsiteY1" fmla="*/ 242766 h 242766"/>
                  <a:gd name="connsiteX2" fmla="*/ 10019 w 129479"/>
                  <a:gd name="connsiteY2" fmla="*/ 183631 h 242766"/>
                  <a:gd name="connsiteX3" fmla="*/ 72267 w 129479"/>
                  <a:gd name="connsiteY3" fmla="*/ 0 h 242766"/>
                  <a:gd name="connsiteX4" fmla="*/ 78492 w 129479"/>
                  <a:gd name="connsiteY4" fmla="*/ 3112 h 242766"/>
                  <a:gd name="connsiteX5" fmla="*/ 75380 w 129479"/>
                  <a:gd name="connsiteY5" fmla="*/ 9337 h 242766"/>
                  <a:gd name="connsiteX6" fmla="*/ 19357 w 129479"/>
                  <a:gd name="connsiteY6" fmla="*/ 180518 h 242766"/>
                  <a:gd name="connsiteX7" fmla="*/ 59818 w 129479"/>
                  <a:gd name="connsiteY7" fmla="*/ 233429 h 242766"/>
                  <a:gd name="connsiteX8" fmla="*/ 112728 w 129479"/>
                  <a:gd name="connsiteY8" fmla="*/ 199193 h 242766"/>
                  <a:gd name="connsiteX9" fmla="*/ 106504 w 129479"/>
                  <a:gd name="connsiteY9" fmla="*/ 56023 h 242766"/>
                  <a:gd name="connsiteX10" fmla="*/ 78492 w 129479"/>
                  <a:gd name="connsiteY10" fmla="*/ 52911 h 242766"/>
                  <a:gd name="connsiteX11" fmla="*/ 56705 w 129479"/>
                  <a:gd name="connsiteY11" fmla="*/ 105821 h 242766"/>
                  <a:gd name="connsiteX12" fmla="*/ 53593 w 129479"/>
                  <a:gd name="connsiteY12" fmla="*/ 118271 h 242766"/>
                  <a:gd name="connsiteX13" fmla="*/ 72267 w 129479"/>
                  <a:gd name="connsiteY13" fmla="*/ 189856 h 242766"/>
                  <a:gd name="connsiteX14" fmla="*/ 78492 w 129479"/>
                  <a:gd name="connsiteY14" fmla="*/ 189856 h 242766"/>
                  <a:gd name="connsiteX15" fmla="*/ 90942 w 129479"/>
                  <a:gd name="connsiteY15" fmla="*/ 146282 h 242766"/>
                  <a:gd name="connsiteX16" fmla="*/ 90942 w 129479"/>
                  <a:gd name="connsiteY16" fmla="*/ 143170 h 242766"/>
                  <a:gd name="connsiteX17" fmla="*/ 84717 w 129479"/>
                  <a:gd name="connsiteY17" fmla="*/ 143170 h 242766"/>
                  <a:gd name="connsiteX18" fmla="*/ 81604 w 129479"/>
                  <a:gd name="connsiteY18" fmla="*/ 149394 h 242766"/>
                  <a:gd name="connsiteX19" fmla="*/ 75380 w 129479"/>
                  <a:gd name="connsiteY19" fmla="*/ 155620 h 242766"/>
                  <a:gd name="connsiteX20" fmla="*/ 69155 w 129479"/>
                  <a:gd name="connsiteY20" fmla="*/ 149394 h 242766"/>
                  <a:gd name="connsiteX21" fmla="*/ 75380 w 129479"/>
                  <a:gd name="connsiteY21" fmla="*/ 133832 h 242766"/>
                  <a:gd name="connsiteX22" fmla="*/ 90942 w 129479"/>
                  <a:gd name="connsiteY22" fmla="*/ 130720 h 242766"/>
                  <a:gd name="connsiteX23" fmla="*/ 100279 w 129479"/>
                  <a:gd name="connsiteY23" fmla="*/ 143170 h 242766"/>
                  <a:gd name="connsiteX24" fmla="*/ 84717 w 129479"/>
                  <a:gd name="connsiteY24" fmla="*/ 196080 h 242766"/>
                  <a:gd name="connsiteX25" fmla="*/ 62930 w 129479"/>
                  <a:gd name="connsiteY25" fmla="*/ 199193 h 242766"/>
                  <a:gd name="connsiteX26" fmla="*/ 41143 w 129479"/>
                  <a:gd name="connsiteY26" fmla="*/ 118271 h 242766"/>
                  <a:gd name="connsiteX27" fmla="*/ 41143 w 129479"/>
                  <a:gd name="connsiteY27" fmla="*/ 108934 h 242766"/>
                  <a:gd name="connsiteX28" fmla="*/ 69155 w 129479"/>
                  <a:gd name="connsiteY28" fmla="*/ 46686 h 242766"/>
                  <a:gd name="connsiteX29" fmla="*/ 109616 w 129479"/>
                  <a:gd name="connsiteY29" fmla="*/ 52911 h 242766"/>
                  <a:gd name="connsiteX30" fmla="*/ 118953 w 129479"/>
                  <a:gd name="connsiteY30" fmla="*/ 211642 h 242766"/>
                  <a:gd name="connsiteX31" fmla="*/ 69155 w 129479"/>
                  <a:gd name="connsiteY31" fmla="*/ 242766 h 242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29479" h="242766">
                    <a:moveTo>
                      <a:pt x="69155" y="242766"/>
                    </a:moveTo>
                    <a:cubicBezTo>
                      <a:pt x="66043" y="242766"/>
                      <a:pt x="62930" y="242766"/>
                      <a:pt x="59818" y="242766"/>
                    </a:cubicBezTo>
                    <a:cubicBezTo>
                      <a:pt x="34919" y="236542"/>
                      <a:pt x="19357" y="202305"/>
                      <a:pt x="10019" y="183631"/>
                    </a:cubicBezTo>
                    <a:cubicBezTo>
                      <a:pt x="-14880" y="115158"/>
                      <a:pt x="6907" y="24899"/>
                      <a:pt x="72267" y="0"/>
                    </a:cubicBezTo>
                    <a:cubicBezTo>
                      <a:pt x="75380" y="0"/>
                      <a:pt x="78492" y="0"/>
                      <a:pt x="78492" y="3112"/>
                    </a:cubicBezTo>
                    <a:cubicBezTo>
                      <a:pt x="78492" y="6225"/>
                      <a:pt x="78492" y="9337"/>
                      <a:pt x="75380" y="9337"/>
                    </a:cubicBezTo>
                    <a:cubicBezTo>
                      <a:pt x="10019" y="34236"/>
                      <a:pt x="682" y="124496"/>
                      <a:pt x="19357" y="180518"/>
                    </a:cubicBezTo>
                    <a:cubicBezTo>
                      <a:pt x="22469" y="192968"/>
                      <a:pt x="38031" y="227204"/>
                      <a:pt x="59818" y="233429"/>
                    </a:cubicBezTo>
                    <a:cubicBezTo>
                      <a:pt x="81604" y="236542"/>
                      <a:pt x="103391" y="217867"/>
                      <a:pt x="112728" y="199193"/>
                    </a:cubicBezTo>
                    <a:cubicBezTo>
                      <a:pt x="122066" y="180518"/>
                      <a:pt x="131403" y="80922"/>
                      <a:pt x="106504" y="56023"/>
                    </a:cubicBezTo>
                    <a:cubicBezTo>
                      <a:pt x="103391" y="52911"/>
                      <a:pt x="94054" y="46686"/>
                      <a:pt x="78492" y="52911"/>
                    </a:cubicBezTo>
                    <a:cubicBezTo>
                      <a:pt x="62930" y="59135"/>
                      <a:pt x="59818" y="87147"/>
                      <a:pt x="56705" y="105821"/>
                    </a:cubicBezTo>
                    <a:cubicBezTo>
                      <a:pt x="56705" y="108934"/>
                      <a:pt x="56705" y="112046"/>
                      <a:pt x="53593" y="118271"/>
                    </a:cubicBezTo>
                    <a:cubicBezTo>
                      <a:pt x="47368" y="149394"/>
                      <a:pt x="50481" y="171182"/>
                      <a:pt x="72267" y="189856"/>
                    </a:cubicBezTo>
                    <a:cubicBezTo>
                      <a:pt x="72267" y="189856"/>
                      <a:pt x="75380" y="189856"/>
                      <a:pt x="78492" y="189856"/>
                    </a:cubicBezTo>
                    <a:cubicBezTo>
                      <a:pt x="90942" y="174294"/>
                      <a:pt x="94054" y="164956"/>
                      <a:pt x="90942" y="146282"/>
                    </a:cubicBezTo>
                    <a:cubicBezTo>
                      <a:pt x="90942" y="143170"/>
                      <a:pt x="90942" y="143170"/>
                      <a:pt x="90942" y="143170"/>
                    </a:cubicBezTo>
                    <a:cubicBezTo>
                      <a:pt x="90942" y="143170"/>
                      <a:pt x="87829" y="143170"/>
                      <a:pt x="84717" y="143170"/>
                    </a:cubicBezTo>
                    <a:cubicBezTo>
                      <a:pt x="81604" y="143170"/>
                      <a:pt x="81604" y="146282"/>
                      <a:pt x="81604" y="149394"/>
                    </a:cubicBezTo>
                    <a:cubicBezTo>
                      <a:pt x="81604" y="152507"/>
                      <a:pt x="78492" y="155620"/>
                      <a:pt x="75380" y="155620"/>
                    </a:cubicBezTo>
                    <a:cubicBezTo>
                      <a:pt x="72267" y="155620"/>
                      <a:pt x="69155" y="152507"/>
                      <a:pt x="69155" y="149394"/>
                    </a:cubicBezTo>
                    <a:cubicBezTo>
                      <a:pt x="69155" y="143170"/>
                      <a:pt x="69155" y="136945"/>
                      <a:pt x="75380" y="133832"/>
                    </a:cubicBezTo>
                    <a:cubicBezTo>
                      <a:pt x="81604" y="130720"/>
                      <a:pt x="87829" y="127608"/>
                      <a:pt x="90942" y="130720"/>
                    </a:cubicBezTo>
                    <a:cubicBezTo>
                      <a:pt x="94054" y="133832"/>
                      <a:pt x="97166" y="136945"/>
                      <a:pt x="100279" y="143170"/>
                    </a:cubicBezTo>
                    <a:cubicBezTo>
                      <a:pt x="103391" y="164956"/>
                      <a:pt x="100279" y="180518"/>
                      <a:pt x="84717" y="196080"/>
                    </a:cubicBezTo>
                    <a:cubicBezTo>
                      <a:pt x="78492" y="202305"/>
                      <a:pt x="69155" y="202305"/>
                      <a:pt x="62930" y="199193"/>
                    </a:cubicBezTo>
                    <a:cubicBezTo>
                      <a:pt x="31806" y="177406"/>
                      <a:pt x="34919" y="146282"/>
                      <a:pt x="41143" y="118271"/>
                    </a:cubicBezTo>
                    <a:cubicBezTo>
                      <a:pt x="41143" y="115158"/>
                      <a:pt x="41143" y="112046"/>
                      <a:pt x="41143" y="108934"/>
                    </a:cubicBezTo>
                    <a:cubicBezTo>
                      <a:pt x="44256" y="87147"/>
                      <a:pt x="47368" y="59135"/>
                      <a:pt x="69155" y="46686"/>
                    </a:cubicBezTo>
                    <a:cubicBezTo>
                      <a:pt x="87829" y="37349"/>
                      <a:pt x="100279" y="43573"/>
                      <a:pt x="109616" y="52911"/>
                    </a:cubicBezTo>
                    <a:cubicBezTo>
                      <a:pt x="140740" y="84034"/>
                      <a:pt x="128290" y="186744"/>
                      <a:pt x="118953" y="211642"/>
                    </a:cubicBezTo>
                    <a:cubicBezTo>
                      <a:pt x="115841" y="224092"/>
                      <a:pt x="94054" y="242766"/>
                      <a:pt x="69155" y="24276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5FE1A8B0-326D-426F-AD19-CEAD4CFAF7F9}"/>
                </a:ext>
              </a:extLst>
            </p:cNvPr>
            <p:cNvSpPr/>
            <p:nvPr/>
          </p:nvSpPr>
          <p:spPr>
            <a:xfrm>
              <a:off x="2893169" y="7645172"/>
              <a:ext cx="1035801" cy="347894"/>
            </a:xfrm>
            <a:custGeom>
              <a:avLst/>
              <a:gdLst>
                <a:gd name="connsiteX0" fmla="*/ 2523 w 1035801"/>
                <a:gd name="connsiteY0" fmla="*/ 284437 h 347894"/>
                <a:gd name="connsiteX1" fmla="*/ 568978 w 1035801"/>
                <a:gd name="connsiteY1" fmla="*/ 309336 h 347894"/>
                <a:gd name="connsiteX2" fmla="*/ 1032724 w 1035801"/>
                <a:gd name="connsiteY2" fmla="*/ 63457 h 347894"/>
                <a:gd name="connsiteX3" fmla="*/ 466269 w 1035801"/>
                <a:gd name="connsiteY3" fmla="*/ 38558 h 347894"/>
                <a:gd name="connsiteX4" fmla="*/ 2523 w 1035801"/>
                <a:gd name="connsiteY4" fmla="*/ 284437 h 34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801" h="347894">
                  <a:moveTo>
                    <a:pt x="2523" y="284437"/>
                  </a:moveTo>
                  <a:cubicBezTo>
                    <a:pt x="30534" y="359135"/>
                    <a:pt x="285750" y="368471"/>
                    <a:pt x="568978" y="309336"/>
                  </a:cubicBezTo>
                  <a:cubicBezTo>
                    <a:pt x="855318" y="247088"/>
                    <a:pt x="1063848" y="138155"/>
                    <a:pt x="1032724" y="63457"/>
                  </a:cubicBezTo>
                  <a:cubicBezTo>
                    <a:pt x="1004713" y="-11240"/>
                    <a:pt x="749497" y="-20578"/>
                    <a:pt x="466269" y="38558"/>
                  </a:cubicBezTo>
                  <a:cubicBezTo>
                    <a:pt x="183041" y="100806"/>
                    <a:pt x="-25489" y="209740"/>
                    <a:pt x="2523" y="284437"/>
                  </a:cubicBezTo>
                  <a:close/>
                </a:path>
              </a:pathLst>
            </a:custGeom>
            <a:solidFill>
              <a:srgbClr val="F1DDBA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5" name="图形 1">
              <a:extLst>
                <a:ext uri="{FF2B5EF4-FFF2-40B4-BE49-F238E27FC236}">
                  <a16:creationId xmlns:a16="http://schemas.microsoft.com/office/drawing/2014/main" id="{02922C5D-0EA5-44FD-BFD4-FB5F30A80E2B}"/>
                </a:ext>
              </a:extLst>
            </p:cNvPr>
            <p:cNvGrpSpPr/>
            <p:nvPr/>
          </p:nvGrpSpPr>
          <p:grpSpPr>
            <a:xfrm>
              <a:off x="3519207" y="10771223"/>
              <a:ext cx="493832" cy="1652680"/>
              <a:chOff x="3519207" y="10771223"/>
              <a:chExt cx="493832" cy="1652680"/>
            </a:xfrm>
          </p:grpSpPr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6AA19E06-70EA-4444-9A2F-DEE62C702F7A}"/>
                  </a:ext>
                </a:extLst>
              </p:cNvPr>
              <p:cNvSpPr/>
              <p:nvPr/>
            </p:nvSpPr>
            <p:spPr>
              <a:xfrm>
                <a:off x="3527507" y="10771223"/>
                <a:ext cx="463640" cy="1509510"/>
              </a:xfrm>
              <a:custGeom>
                <a:avLst/>
                <a:gdLst>
                  <a:gd name="connsiteX0" fmla="*/ 168069 w 463640"/>
                  <a:gd name="connsiteY0" fmla="*/ 1484611 h 1509510"/>
                  <a:gd name="connsiteX1" fmla="*/ 457522 w 463640"/>
                  <a:gd name="connsiteY1" fmla="*/ 441960 h 1509510"/>
                  <a:gd name="connsiteX2" fmla="*/ 423285 w 463640"/>
                  <a:gd name="connsiteY2" fmla="*/ 0 h 1509510"/>
                  <a:gd name="connsiteX3" fmla="*/ 108934 w 463640"/>
                  <a:gd name="connsiteY3" fmla="*/ 46686 h 1509510"/>
                  <a:gd name="connsiteX4" fmla="*/ 140058 w 463640"/>
                  <a:gd name="connsiteY4" fmla="*/ 404611 h 1509510"/>
                  <a:gd name="connsiteX5" fmla="*/ 0 w 463640"/>
                  <a:gd name="connsiteY5" fmla="*/ 1509510 h 1509510"/>
                  <a:gd name="connsiteX6" fmla="*/ 168069 w 463640"/>
                  <a:gd name="connsiteY6" fmla="*/ 1484611 h 1509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3640" h="1509510">
                    <a:moveTo>
                      <a:pt x="168069" y="1484611"/>
                    </a:moveTo>
                    <a:cubicBezTo>
                      <a:pt x="168069" y="1484611"/>
                      <a:pt x="432622" y="557118"/>
                      <a:pt x="457522" y="441960"/>
                    </a:cubicBezTo>
                    <a:cubicBezTo>
                      <a:pt x="482421" y="326801"/>
                      <a:pt x="423285" y="0"/>
                      <a:pt x="423285" y="0"/>
                    </a:cubicBezTo>
                    <a:lnTo>
                      <a:pt x="108934" y="46686"/>
                    </a:lnTo>
                    <a:cubicBezTo>
                      <a:pt x="108934" y="46686"/>
                      <a:pt x="146282" y="342363"/>
                      <a:pt x="140058" y="404611"/>
                    </a:cubicBezTo>
                    <a:cubicBezTo>
                      <a:pt x="133833" y="460634"/>
                      <a:pt x="21787" y="1357003"/>
                      <a:pt x="0" y="1509510"/>
                    </a:cubicBezTo>
                    <a:lnTo>
                      <a:pt x="168069" y="1484611"/>
                    </a:ln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EAFBB832-B8C7-4066-A5BD-A1542B63C6C9}"/>
                  </a:ext>
                </a:extLst>
              </p:cNvPr>
              <p:cNvSpPr/>
              <p:nvPr/>
            </p:nvSpPr>
            <p:spPr>
              <a:xfrm>
                <a:off x="3519207" y="12215373"/>
                <a:ext cx="493832" cy="161844"/>
              </a:xfrm>
              <a:custGeom>
                <a:avLst/>
                <a:gdLst>
                  <a:gd name="connsiteX0" fmla="*/ 8300 w 493832"/>
                  <a:gd name="connsiteY0" fmla="*/ 46686 h 161844"/>
                  <a:gd name="connsiteX1" fmla="*/ 185706 w 493832"/>
                  <a:gd name="connsiteY1" fmla="*/ 0 h 161844"/>
                  <a:gd name="connsiteX2" fmla="*/ 322651 w 493832"/>
                  <a:gd name="connsiteY2" fmla="*/ 80922 h 161844"/>
                  <a:gd name="connsiteX3" fmla="*/ 493833 w 493832"/>
                  <a:gd name="connsiteY3" fmla="*/ 161845 h 161844"/>
                  <a:gd name="connsiteX4" fmla="*/ 8300 w 493832"/>
                  <a:gd name="connsiteY4" fmla="*/ 161845 h 161844"/>
                  <a:gd name="connsiteX5" fmla="*/ 8300 w 493832"/>
                  <a:gd name="connsiteY5" fmla="*/ 46686 h 161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3832" h="161844">
                    <a:moveTo>
                      <a:pt x="8300" y="46686"/>
                    </a:moveTo>
                    <a:cubicBezTo>
                      <a:pt x="8300" y="46686"/>
                      <a:pt x="120346" y="65360"/>
                      <a:pt x="185706" y="0"/>
                    </a:cubicBezTo>
                    <a:cubicBezTo>
                      <a:pt x="185706" y="0"/>
                      <a:pt x="275965" y="71586"/>
                      <a:pt x="322651" y="80922"/>
                    </a:cubicBezTo>
                    <a:cubicBezTo>
                      <a:pt x="369337" y="90259"/>
                      <a:pt x="481383" y="87148"/>
                      <a:pt x="493833" y="161845"/>
                    </a:cubicBezTo>
                    <a:lnTo>
                      <a:pt x="8300" y="161845"/>
                    </a:lnTo>
                    <a:cubicBezTo>
                      <a:pt x="8300" y="161845"/>
                      <a:pt x="-10375" y="96484"/>
                      <a:pt x="8300" y="4668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6EB51EF5-1C0C-478D-9215-6E1009B244F3}"/>
                  </a:ext>
                </a:extLst>
              </p:cNvPr>
              <p:cNvSpPr/>
              <p:nvPr/>
            </p:nvSpPr>
            <p:spPr>
              <a:xfrm>
                <a:off x="3527507" y="12377217"/>
                <a:ext cx="485533" cy="46685"/>
              </a:xfrm>
              <a:custGeom>
                <a:avLst/>
                <a:gdLst>
                  <a:gd name="connsiteX0" fmla="*/ 0 w 485533"/>
                  <a:gd name="connsiteY0" fmla="*/ 0 h 46685"/>
                  <a:gd name="connsiteX1" fmla="*/ 485533 w 485533"/>
                  <a:gd name="connsiteY1" fmla="*/ 0 h 46685"/>
                  <a:gd name="connsiteX2" fmla="*/ 485533 w 485533"/>
                  <a:gd name="connsiteY2" fmla="*/ 46686 h 46685"/>
                  <a:gd name="connsiteX3" fmla="*/ 0 w 485533"/>
                  <a:gd name="connsiteY3" fmla="*/ 46686 h 46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533" h="46685">
                    <a:moveTo>
                      <a:pt x="0" y="0"/>
                    </a:moveTo>
                    <a:lnTo>
                      <a:pt x="485533" y="0"/>
                    </a:lnTo>
                    <a:lnTo>
                      <a:pt x="485533" y="46686"/>
                    </a:lnTo>
                    <a:lnTo>
                      <a:pt x="0" y="46686"/>
                    </a:ln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A5580308-B9D4-4C83-BE68-C2301E3FDD15}"/>
                  </a:ext>
                </a:extLst>
              </p:cNvPr>
              <p:cNvSpPr/>
              <p:nvPr/>
            </p:nvSpPr>
            <p:spPr>
              <a:xfrm>
                <a:off x="3521282" y="12203702"/>
                <a:ext cx="189077" cy="64582"/>
              </a:xfrm>
              <a:custGeom>
                <a:avLst/>
                <a:gdLst>
                  <a:gd name="connsiteX0" fmla="*/ 40461 w 189077"/>
                  <a:gd name="connsiteY0" fmla="*/ 64582 h 64582"/>
                  <a:gd name="connsiteX1" fmla="*/ 6225 w 189077"/>
                  <a:gd name="connsiteY1" fmla="*/ 61470 h 64582"/>
                  <a:gd name="connsiteX2" fmla="*/ 0 w 189077"/>
                  <a:gd name="connsiteY2" fmla="*/ 55245 h 64582"/>
                  <a:gd name="connsiteX3" fmla="*/ 6225 w 189077"/>
                  <a:gd name="connsiteY3" fmla="*/ 49020 h 64582"/>
                  <a:gd name="connsiteX4" fmla="*/ 177406 w 189077"/>
                  <a:gd name="connsiteY4" fmla="*/ 2334 h 64582"/>
                  <a:gd name="connsiteX5" fmla="*/ 186744 w 189077"/>
                  <a:gd name="connsiteY5" fmla="*/ 2334 h 64582"/>
                  <a:gd name="connsiteX6" fmla="*/ 186744 w 189077"/>
                  <a:gd name="connsiteY6" fmla="*/ 11671 h 64582"/>
                  <a:gd name="connsiteX7" fmla="*/ 40461 w 189077"/>
                  <a:gd name="connsiteY7" fmla="*/ 64582 h 64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9077" h="64582">
                    <a:moveTo>
                      <a:pt x="40461" y="64582"/>
                    </a:moveTo>
                    <a:cubicBezTo>
                      <a:pt x="21787" y="64582"/>
                      <a:pt x="9337" y="61470"/>
                      <a:pt x="6225" y="61470"/>
                    </a:cubicBezTo>
                    <a:cubicBezTo>
                      <a:pt x="3112" y="61470"/>
                      <a:pt x="0" y="58357"/>
                      <a:pt x="0" y="55245"/>
                    </a:cubicBezTo>
                    <a:cubicBezTo>
                      <a:pt x="0" y="52133"/>
                      <a:pt x="3112" y="49020"/>
                      <a:pt x="6225" y="49020"/>
                    </a:cubicBezTo>
                    <a:cubicBezTo>
                      <a:pt x="6225" y="49020"/>
                      <a:pt x="108934" y="64582"/>
                      <a:pt x="177406" y="2334"/>
                    </a:cubicBezTo>
                    <a:cubicBezTo>
                      <a:pt x="180519" y="-778"/>
                      <a:pt x="183631" y="-778"/>
                      <a:pt x="186744" y="2334"/>
                    </a:cubicBezTo>
                    <a:cubicBezTo>
                      <a:pt x="189856" y="5447"/>
                      <a:pt x="189856" y="8559"/>
                      <a:pt x="186744" y="11671"/>
                    </a:cubicBezTo>
                    <a:cubicBezTo>
                      <a:pt x="140058" y="58357"/>
                      <a:pt x="77810" y="64582"/>
                      <a:pt x="40461" y="645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A88BA9D6-73D4-476E-9FED-39A283426A60}"/>
                  </a:ext>
                </a:extLst>
              </p:cNvPr>
              <p:cNvSpPr/>
              <p:nvPr/>
            </p:nvSpPr>
            <p:spPr>
              <a:xfrm>
                <a:off x="3708804" y="12231713"/>
                <a:ext cx="42017" cy="42795"/>
              </a:xfrm>
              <a:custGeom>
                <a:avLst/>
                <a:gdLst>
                  <a:gd name="connsiteX0" fmla="*/ 5447 w 42017"/>
                  <a:gd name="connsiteY0" fmla="*/ 42795 h 42795"/>
                  <a:gd name="connsiteX1" fmla="*/ 2334 w 42017"/>
                  <a:gd name="connsiteY1" fmla="*/ 39684 h 42795"/>
                  <a:gd name="connsiteX2" fmla="*/ 2334 w 42017"/>
                  <a:gd name="connsiteY2" fmla="*/ 30346 h 42795"/>
                  <a:gd name="connsiteX3" fmla="*/ 30346 w 42017"/>
                  <a:gd name="connsiteY3" fmla="*/ 2334 h 42795"/>
                  <a:gd name="connsiteX4" fmla="*/ 39683 w 42017"/>
                  <a:gd name="connsiteY4" fmla="*/ 2334 h 42795"/>
                  <a:gd name="connsiteX5" fmla="*/ 39683 w 42017"/>
                  <a:gd name="connsiteY5" fmla="*/ 11671 h 42795"/>
                  <a:gd name="connsiteX6" fmla="*/ 11671 w 42017"/>
                  <a:gd name="connsiteY6" fmla="*/ 39684 h 42795"/>
                  <a:gd name="connsiteX7" fmla="*/ 5447 w 42017"/>
                  <a:gd name="connsiteY7" fmla="*/ 42795 h 42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017" h="42795">
                    <a:moveTo>
                      <a:pt x="5447" y="42795"/>
                    </a:moveTo>
                    <a:cubicBezTo>
                      <a:pt x="5447" y="42795"/>
                      <a:pt x="2334" y="42795"/>
                      <a:pt x="2334" y="39684"/>
                    </a:cubicBezTo>
                    <a:cubicBezTo>
                      <a:pt x="-778" y="36571"/>
                      <a:pt x="-778" y="33458"/>
                      <a:pt x="2334" y="30346"/>
                    </a:cubicBezTo>
                    <a:lnTo>
                      <a:pt x="30346" y="2334"/>
                    </a:lnTo>
                    <a:cubicBezTo>
                      <a:pt x="33458" y="-778"/>
                      <a:pt x="36571" y="-778"/>
                      <a:pt x="39683" y="2334"/>
                    </a:cubicBezTo>
                    <a:cubicBezTo>
                      <a:pt x="42795" y="5447"/>
                      <a:pt x="42795" y="8560"/>
                      <a:pt x="39683" y="11671"/>
                    </a:cubicBezTo>
                    <a:lnTo>
                      <a:pt x="11671" y="39684"/>
                    </a:lnTo>
                    <a:cubicBezTo>
                      <a:pt x="8559" y="42795"/>
                      <a:pt x="8559" y="42795"/>
                      <a:pt x="5447" y="4279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4D3D894D-033F-4C62-BE8B-1814631EFC97}"/>
                  </a:ext>
                </a:extLst>
              </p:cNvPr>
              <p:cNvSpPr/>
              <p:nvPr/>
            </p:nvSpPr>
            <p:spPr>
              <a:xfrm>
                <a:off x="3749265" y="12259724"/>
                <a:ext cx="38904" cy="42796"/>
              </a:xfrm>
              <a:custGeom>
                <a:avLst/>
                <a:gdLst>
                  <a:gd name="connsiteX0" fmla="*/ 5447 w 38904"/>
                  <a:gd name="connsiteY0" fmla="*/ 42796 h 42796"/>
                  <a:gd name="connsiteX1" fmla="*/ 2334 w 38904"/>
                  <a:gd name="connsiteY1" fmla="*/ 39684 h 42796"/>
                  <a:gd name="connsiteX2" fmla="*/ 2334 w 38904"/>
                  <a:gd name="connsiteY2" fmla="*/ 30346 h 42796"/>
                  <a:gd name="connsiteX3" fmla="*/ 27233 w 38904"/>
                  <a:gd name="connsiteY3" fmla="*/ 2334 h 42796"/>
                  <a:gd name="connsiteX4" fmla="*/ 36571 w 38904"/>
                  <a:gd name="connsiteY4" fmla="*/ 2334 h 42796"/>
                  <a:gd name="connsiteX5" fmla="*/ 36571 w 38904"/>
                  <a:gd name="connsiteY5" fmla="*/ 11672 h 42796"/>
                  <a:gd name="connsiteX6" fmla="*/ 11672 w 38904"/>
                  <a:gd name="connsiteY6" fmla="*/ 39684 h 42796"/>
                  <a:gd name="connsiteX7" fmla="*/ 5447 w 38904"/>
                  <a:gd name="connsiteY7" fmla="*/ 42796 h 42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904" h="42796">
                    <a:moveTo>
                      <a:pt x="5447" y="42796"/>
                    </a:moveTo>
                    <a:cubicBezTo>
                      <a:pt x="5447" y="42796"/>
                      <a:pt x="2334" y="42796"/>
                      <a:pt x="2334" y="39684"/>
                    </a:cubicBezTo>
                    <a:cubicBezTo>
                      <a:pt x="-778" y="36571"/>
                      <a:pt x="-778" y="33458"/>
                      <a:pt x="2334" y="30346"/>
                    </a:cubicBezTo>
                    <a:lnTo>
                      <a:pt x="27233" y="2334"/>
                    </a:lnTo>
                    <a:cubicBezTo>
                      <a:pt x="30346" y="-778"/>
                      <a:pt x="33458" y="-778"/>
                      <a:pt x="36571" y="2334"/>
                    </a:cubicBezTo>
                    <a:cubicBezTo>
                      <a:pt x="39683" y="5447"/>
                      <a:pt x="39683" y="8560"/>
                      <a:pt x="36571" y="11672"/>
                    </a:cubicBezTo>
                    <a:lnTo>
                      <a:pt x="11672" y="39684"/>
                    </a:lnTo>
                    <a:cubicBezTo>
                      <a:pt x="8559" y="39684"/>
                      <a:pt x="5447" y="42796"/>
                      <a:pt x="5447" y="427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2C111FAF-3123-4B90-A79D-36DD31E54871}"/>
                </a:ext>
              </a:extLst>
            </p:cNvPr>
            <p:cNvSpPr/>
            <p:nvPr/>
          </p:nvSpPr>
          <p:spPr>
            <a:xfrm>
              <a:off x="2864086" y="9837506"/>
              <a:ext cx="1213913" cy="1254430"/>
            </a:xfrm>
            <a:custGeom>
              <a:avLst/>
              <a:gdLst>
                <a:gd name="connsiteX0" fmla="*/ 1064919 w 1213913"/>
                <a:gd name="connsiteY0" fmla="*/ 18675 h 1254430"/>
                <a:gd name="connsiteX1" fmla="*/ 1208089 w 1213913"/>
                <a:gd name="connsiteY1" fmla="*/ 1170260 h 1254430"/>
                <a:gd name="connsiteX2" fmla="*/ 713219 w 1213913"/>
                <a:gd name="connsiteY2" fmla="*/ 1226282 h 1254430"/>
                <a:gd name="connsiteX3" fmla="*/ 557600 w 1213913"/>
                <a:gd name="connsiteY3" fmla="*/ 513545 h 1254430"/>
                <a:gd name="connsiteX4" fmla="*/ 557600 w 1213913"/>
                <a:gd name="connsiteY4" fmla="*/ 1226282 h 1254430"/>
                <a:gd name="connsiteX5" fmla="*/ 25380 w 1213913"/>
                <a:gd name="connsiteY5" fmla="*/ 1223170 h 1254430"/>
                <a:gd name="connsiteX6" fmla="*/ 22268 w 1213913"/>
                <a:gd name="connsiteY6" fmla="*/ 0 h 1254430"/>
                <a:gd name="connsiteX7" fmla="*/ 1064919 w 1213913"/>
                <a:gd name="connsiteY7" fmla="*/ 18675 h 1254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3913" h="1254430">
                  <a:moveTo>
                    <a:pt x="1064919" y="18675"/>
                  </a:moveTo>
                  <a:cubicBezTo>
                    <a:pt x="1064919" y="18675"/>
                    <a:pt x="1248551" y="1064438"/>
                    <a:pt x="1208089" y="1170260"/>
                  </a:cubicBezTo>
                  <a:cubicBezTo>
                    <a:pt x="1089819" y="1248069"/>
                    <a:pt x="865726" y="1235620"/>
                    <a:pt x="713219" y="1226282"/>
                  </a:cubicBezTo>
                  <a:cubicBezTo>
                    <a:pt x="719444" y="1126686"/>
                    <a:pt x="573161" y="541556"/>
                    <a:pt x="557600" y="513545"/>
                  </a:cubicBezTo>
                  <a:cubicBezTo>
                    <a:pt x="542038" y="482421"/>
                    <a:pt x="557600" y="1226282"/>
                    <a:pt x="557600" y="1226282"/>
                  </a:cubicBezTo>
                  <a:cubicBezTo>
                    <a:pt x="557600" y="1226282"/>
                    <a:pt x="205899" y="1291643"/>
                    <a:pt x="25380" y="1223170"/>
                  </a:cubicBezTo>
                  <a:cubicBezTo>
                    <a:pt x="9818" y="1123574"/>
                    <a:pt x="-21305" y="99597"/>
                    <a:pt x="22268" y="0"/>
                  </a:cubicBezTo>
                  <a:cubicBezTo>
                    <a:pt x="735006" y="34237"/>
                    <a:pt x="1064919" y="18675"/>
                    <a:pt x="1064919" y="18675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FEF80775-293A-4BA9-9BB2-746D4E4C58FC}"/>
                </a:ext>
              </a:extLst>
            </p:cNvPr>
            <p:cNvSpPr/>
            <p:nvPr/>
          </p:nvSpPr>
          <p:spPr>
            <a:xfrm>
              <a:off x="3418573" y="9983788"/>
              <a:ext cx="71584" cy="373487"/>
            </a:xfrm>
            <a:custGeom>
              <a:avLst/>
              <a:gdLst>
                <a:gd name="connsiteX0" fmla="*/ 6225 w 71584"/>
                <a:gd name="connsiteY0" fmla="*/ 373487 h 373487"/>
                <a:gd name="connsiteX1" fmla="*/ 6225 w 71584"/>
                <a:gd name="connsiteY1" fmla="*/ 373487 h 373487"/>
                <a:gd name="connsiteX2" fmla="*/ 0 w 71584"/>
                <a:gd name="connsiteY2" fmla="*/ 364149 h 373487"/>
                <a:gd name="connsiteX3" fmla="*/ 59135 w 71584"/>
                <a:gd name="connsiteY3" fmla="*/ 6224 h 373487"/>
                <a:gd name="connsiteX4" fmla="*/ 65360 w 71584"/>
                <a:gd name="connsiteY4" fmla="*/ 0 h 373487"/>
                <a:gd name="connsiteX5" fmla="*/ 65360 w 71584"/>
                <a:gd name="connsiteY5" fmla="*/ 0 h 373487"/>
                <a:gd name="connsiteX6" fmla="*/ 71585 w 71584"/>
                <a:gd name="connsiteY6" fmla="*/ 6224 h 373487"/>
                <a:gd name="connsiteX7" fmla="*/ 12449 w 71584"/>
                <a:gd name="connsiteY7" fmla="*/ 367262 h 373487"/>
                <a:gd name="connsiteX8" fmla="*/ 6225 w 71584"/>
                <a:gd name="connsiteY8" fmla="*/ 373487 h 373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584" h="373487">
                  <a:moveTo>
                    <a:pt x="6225" y="373487"/>
                  </a:moveTo>
                  <a:cubicBezTo>
                    <a:pt x="3112" y="373487"/>
                    <a:pt x="3112" y="373487"/>
                    <a:pt x="6225" y="373487"/>
                  </a:cubicBezTo>
                  <a:cubicBezTo>
                    <a:pt x="0" y="370374"/>
                    <a:pt x="0" y="367262"/>
                    <a:pt x="0" y="364149"/>
                  </a:cubicBezTo>
                  <a:cubicBezTo>
                    <a:pt x="49798" y="248991"/>
                    <a:pt x="59135" y="9337"/>
                    <a:pt x="59135" y="6224"/>
                  </a:cubicBezTo>
                  <a:cubicBezTo>
                    <a:pt x="59135" y="3112"/>
                    <a:pt x="62248" y="0"/>
                    <a:pt x="65360" y="0"/>
                  </a:cubicBezTo>
                  <a:cubicBezTo>
                    <a:pt x="65360" y="0"/>
                    <a:pt x="65360" y="0"/>
                    <a:pt x="65360" y="0"/>
                  </a:cubicBezTo>
                  <a:cubicBezTo>
                    <a:pt x="68473" y="0"/>
                    <a:pt x="71585" y="3112"/>
                    <a:pt x="71585" y="6224"/>
                  </a:cubicBezTo>
                  <a:cubicBezTo>
                    <a:pt x="71585" y="15562"/>
                    <a:pt x="62248" y="248991"/>
                    <a:pt x="12449" y="367262"/>
                  </a:cubicBezTo>
                  <a:cubicBezTo>
                    <a:pt x="9337" y="373487"/>
                    <a:pt x="6225" y="373487"/>
                    <a:pt x="6225" y="373487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4E66BE2D-370F-41C5-9B05-82AEE797225E}"/>
                </a:ext>
              </a:extLst>
            </p:cNvPr>
            <p:cNvSpPr/>
            <p:nvPr/>
          </p:nvSpPr>
          <p:spPr>
            <a:xfrm>
              <a:off x="3445296" y="9912203"/>
              <a:ext cx="160021" cy="364150"/>
            </a:xfrm>
            <a:custGeom>
              <a:avLst/>
              <a:gdLst>
                <a:gd name="connsiteX0" fmla="*/ 7514 w 160021"/>
                <a:gd name="connsiteY0" fmla="*/ 364150 h 364150"/>
                <a:gd name="connsiteX1" fmla="*/ 1289 w 160021"/>
                <a:gd name="connsiteY1" fmla="*/ 361038 h 364150"/>
                <a:gd name="connsiteX2" fmla="*/ 4402 w 160021"/>
                <a:gd name="connsiteY2" fmla="*/ 351701 h 364150"/>
                <a:gd name="connsiteX3" fmla="*/ 113335 w 160021"/>
                <a:gd name="connsiteY3" fmla="*/ 273891 h 364150"/>
                <a:gd name="connsiteX4" fmla="*/ 147572 w 160021"/>
                <a:gd name="connsiteY4" fmla="*/ 6225 h 364150"/>
                <a:gd name="connsiteX5" fmla="*/ 153796 w 160021"/>
                <a:gd name="connsiteY5" fmla="*/ 0 h 364150"/>
                <a:gd name="connsiteX6" fmla="*/ 160021 w 160021"/>
                <a:gd name="connsiteY6" fmla="*/ 6225 h 364150"/>
                <a:gd name="connsiteX7" fmla="*/ 125785 w 160021"/>
                <a:gd name="connsiteY7" fmla="*/ 280115 h 364150"/>
                <a:gd name="connsiteX8" fmla="*/ 13739 w 160021"/>
                <a:gd name="connsiteY8" fmla="*/ 361038 h 364150"/>
                <a:gd name="connsiteX9" fmla="*/ 7514 w 160021"/>
                <a:gd name="connsiteY9" fmla="*/ 364150 h 36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0021" h="364150">
                  <a:moveTo>
                    <a:pt x="7514" y="364150"/>
                  </a:moveTo>
                  <a:cubicBezTo>
                    <a:pt x="4402" y="364150"/>
                    <a:pt x="4402" y="364150"/>
                    <a:pt x="1289" y="361038"/>
                  </a:cubicBezTo>
                  <a:cubicBezTo>
                    <a:pt x="-1823" y="357925"/>
                    <a:pt x="1289" y="354813"/>
                    <a:pt x="4402" y="351701"/>
                  </a:cubicBezTo>
                  <a:cubicBezTo>
                    <a:pt x="44863" y="326801"/>
                    <a:pt x="103998" y="283228"/>
                    <a:pt x="113335" y="273891"/>
                  </a:cubicBezTo>
                  <a:cubicBezTo>
                    <a:pt x="122673" y="261441"/>
                    <a:pt x="138234" y="102710"/>
                    <a:pt x="147572" y="6225"/>
                  </a:cubicBezTo>
                  <a:cubicBezTo>
                    <a:pt x="147572" y="3113"/>
                    <a:pt x="150684" y="0"/>
                    <a:pt x="153796" y="0"/>
                  </a:cubicBezTo>
                  <a:cubicBezTo>
                    <a:pt x="156909" y="0"/>
                    <a:pt x="160021" y="3113"/>
                    <a:pt x="160021" y="6225"/>
                  </a:cubicBezTo>
                  <a:cubicBezTo>
                    <a:pt x="156909" y="49798"/>
                    <a:pt x="135122" y="264553"/>
                    <a:pt x="125785" y="280115"/>
                  </a:cubicBezTo>
                  <a:cubicBezTo>
                    <a:pt x="113335" y="295677"/>
                    <a:pt x="23076" y="354813"/>
                    <a:pt x="13739" y="361038"/>
                  </a:cubicBezTo>
                  <a:cubicBezTo>
                    <a:pt x="10626" y="364150"/>
                    <a:pt x="7514" y="364150"/>
                    <a:pt x="7514" y="364150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703406C8-A5A3-49A9-9713-E63084581A90}"/>
                </a:ext>
              </a:extLst>
            </p:cNvPr>
            <p:cNvSpPr/>
            <p:nvPr/>
          </p:nvSpPr>
          <p:spPr>
            <a:xfrm>
              <a:off x="3812945" y="8677777"/>
              <a:ext cx="922169" cy="887238"/>
            </a:xfrm>
            <a:custGeom>
              <a:avLst/>
              <a:gdLst>
                <a:gd name="connsiteX0" fmla="*/ 22689 w 922169"/>
                <a:gd name="connsiteY0" fmla="*/ 288258 h 887238"/>
                <a:gd name="connsiteX1" fmla="*/ 100498 w 922169"/>
                <a:gd name="connsiteY1" fmla="*/ 1918 h 887238"/>
                <a:gd name="connsiteX2" fmla="*/ 355715 w 922169"/>
                <a:gd name="connsiteY2" fmla="*/ 294483 h 887238"/>
                <a:gd name="connsiteX3" fmla="*/ 508222 w 922169"/>
                <a:gd name="connsiteY3" fmla="*/ 599498 h 887238"/>
                <a:gd name="connsiteX4" fmla="*/ 875484 w 922169"/>
                <a:gd name="connsiteY4" fmla="*/ 257134 h 887238"/>
                <a:gd name="connsiteX5" fmla="*/ 922170 w 922169"/>
                <a:gd name="connsiteY5" fmla="*/ 400305 h 887238"/>
                <a:gd name="connsiteX6" fmla="*/ 417962 w 922169"/>
                <a:gd name="connsiteY6" fmla="*/ 882725 h 887238"/>
                <a:gd name="connsiteX7" fmla="*/ 22689 w 922169"/>
                <a:gd name="connsiteY7" fmla="*/ 288258 h 88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169" h="887238">
                  <a:moveTo>
                    <a:pt x="22689" y="288258"/>
                  </a:moveTo>
                  <a:cubicBezTo>
                    <a:pt x="-33334" y="148201"/>
                    <a:pt x="22689" y="-19868"/>
                    <a:pt x="100498" y="1918"/>
                  </a:cubicBezTo>
                  <a:cubicBezTo>
                    <a:pt x="190758" y="26818"/>
                    <a:pt x="296579" y="123302"/>
                    <a:pt x="355715" y="294483"/>
                  </a:cubicBezTo>
                  <a:cubicBezTo>
                    <a:pt x="389951" y="394080"/>
                    <a:pt x="489547" y="602610"/>
                    <a:pt x="508222" y="599498"/>
                  </a:cubicBezTo>
                  <a:cubicBezTo>
                    <a:pt x="514446" y="599498"/>
                    <a:pt x="875484" y="257134"/>
                    <a:pt x="875484" y="257134"/>
                  </a:cubicBezTo>
                  <a:cubicBezTo>
                    <a:pt x="875484" y="319382"/>
                    <a:pt x="922170" y="400305"/>
                    <a:pt x="922170" y="400305"/>
                  </a:cubicBezTo>
                  <a:cubicBezTo>
                    <a:pt x="922170" y="400305"/>
                    <a:pt x="614043" y="941861"/>
                    <a:pt x="417962" y="882725"/>
                  </a:cubicBezTo>
                  <a:cubicBezTo>
                    <a:pt x="315253" y="851602"/>
                    <a:pt x="91161" y="462553"/>
                    <a:pt x="22689" y="288258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C3C9EC0F-9583-43E1-9392-BAE57548564C}"/>
                </a:ext>
              </a:extLst>
            </p:cNvPr>
            <p:cNvSpPr/>
            <p:nvPr/>
          </p:nvSpPr>
          <p:spPr>
            <a:xfrm>
              <a:off x="3294078" y="8138139"/>
              <a:ext cx="255216" cy="263630"/>
            </a:xfrm>
            <a:custGeom>
              <a:avLst/>
              <a:gdLst>
                <a:gd name="connsiteX0" fmla="*/ 255216 w 255216"/>
                <a:gd name="connsiteY0" fmla="*/ 40461 h 263630"/>
                <a:gd name="connsiteX1" fmla="*/ 248991 w 255216"/>
                <a:gd name="connsiteY1" fmla="*/ 217867 h 263630"/>
                <a:gd name="connsiteX2" fmla="*/ 0 w 255216"/>
                <a:gd name="connsiteY2" fmla="*/ 208531 h 263630"/>
                <a:gd name="connsiteX3" fmla="*/ 15562 w 255216"/>
                <a:gd name="connsiteY3" fmla="*/ 0 h 263630"/>
                <a:gd name="connsiteX4" fmla="*/ 255216 w 255216"/>
                <a:gd name="connsiteY4" fmla="*/ 40461 h 263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216" h="263630">
                  <a:moveTo>
                    <a:pt x="255216" y="40461"/>
                  </a:moveTo>
                  <a:cubicBezTo>
                    <a:pt x="255216" y="40461"/>
                    <a:pt x="248991" y="143170"/>
                    <a:pt x="248991" y="217867"/>
                  </a:cubicBezTo>
                  <a:cubicBezTo>
                    <a:pt x="248991" y="217867"/>
                    <a:pt x="152507" y="326801"/>
                    <a:pt x="0" y="208531"/>
                  </a:cubicBezTo>
                  <a:cubicBezTo>
                    <a:pt x="0" y="146283"/>
                    <a:pt x="12450" y="65360"/>
                    <a:pt x="15562" y="0"/>
                  </a:cubicBezTo>
                  <a:cubicBezTo>
                    <a:pt x="12450" y="0"/>
                    <a:pt x="202306" y="52911"/>
                    <a:pt x="255216" y="40461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1713F4D3-B4DD-4918-AD5D-4B77AF22ECBA}"/>
                </a:ext>
              </a:extLst>
            </p:cNvPr>
            <p:cNvSpPr/>
            <p:nvPr/>
          </p:nvSpPr>
          <p:spPr>
            <a:xfrm>
              <a:off x="3200706" y="8016756"/>
              <a:ext cx="71585" cy="140057"/>
            </a:xfrm>
            <a:custGeom>
              <a:avLst/>
              <a:gdLst>
                <a:gd name="connsiteX0" fmla="*/ 0 w 71585"/>
                <a:gd name="connsiteY0" fmla="*/ 0 h 140057"/>
                <a:gd name="connsiteX1" fmla="*/ 68473 w 71585"/>
                <a:gd name="connsiteY1" fmla="*/ 140058 h 140057"/>
                <a:gd name="connsiteX2" fmla="*/ 71585 w 71585"/>
                <a:gd name="connsiteY2" fmla="*/ 52911 h 140057"/>
                <a:gd name="connsiteX3" fmla="*/ 0 w 71585"/>
                <a:gd name="connsiteY3" fmla="*/ 0 h 140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585" h="140057">
                  <a:moveTo>
                    <a:pt x="0" y="0"/>
                  </a:moveTo>
                  <a:cubicBezTo>
                    <a:pt x="0" y="0"/>
                    <a:pt x="15562" y="121383"/>
                    <a:pt x="68473" y="140058"/>
                  </a:cubicBezTo>
                  <a:lnTo>
                    <a:pt x="71585" y="529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9401E553-7C29-454C-B439-338093A4F13E}"/>
                </a:ext>
              </a:extLst>
            </p:cNvPr>
            <p:cNvSpPr/>
            <p:nvPr/>
          </p:nvSpPr>
          <p:spPr>
            <a:xfrm>
              <a:off x="3564395" y="7802001"/>
              <a:ext cx="104776" cy="242779"/>
            </a:xfrm>
            <a:custGeom>
              <a:avLst/>
              <a:gdLst>
                <a:gd name="connsiteX0" fmla="*/ 96945 w 104776"/>
                <a:gd name="connsiteY0" fmla="*/ 0 h 242779"/>
                <a:gd name="connsiteX1" fmla="*/ 56484 w 104776"/>
                <a:gd name="connsiteY1" fmla="*/ 239654 h 242779"/>
                <a:gd name="connsiteX2" fmla="*/ 461 w 104776"/>
                <a:gd name="connsiteY2" fmla="*/ 15562 h 242779"/>
                <a:gd name="connsiteX3" fmla="*/ 96945 w 104776"/>
                <a:gd name="connsiteY3" fmla="*/ 0 h 242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76" h="242779">
                  <a:moveTo>
                    <a:pt x="96945" y="0"/>
                  </a:moveTo>
                  <a:cubicBezTo>
                    <a:pt x="96945" y="0"/>
                    <a:pt x="131182" y="199193"/>
                    <a:pt x="56484" y="239654"/>
                  </a:cubicBezTo>
                  <a:cubicBezTo>
                    <a:pt x="-8876" y="273890"/>
                    <a:pt x="461" y="15562"/>
                    <a:pt x="461" y="15562"/>
                  </a:cubicBezTo>
                  <a:lnTo>
                    <a:pt x="96945" y="0"/>
                  </a:ln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C2C39C7C-81D6-4F50-A551-C864E09958DC}"/>
                </a:ext>
              </a:extLst>
            </p:cNvPr>
            <p:cNvSpPr/>
            <p:nvPr/>
          </p:nvSpPr>
          <p:spPr>
            <a:xfrm>
              <a:off x="3200706" y="7664125"/>
              <a:ext cx="432222" cy="580451"/>
            </a:xfrm>
            <a:custGeom>
              <a:avLst/>
              <a:gdLst>
                <a:gd name="connsiteX0" fmla="*/ 420173 w 432222"/>
                <a:gd name="connsiteY0" fmla="*/ 184562 h 580451"/>
                <a:gd name="connsiteX1" fmla="*/ 423285 w 432222"/>
                <a:gd name="connsiteY1" fmla="*/ 439778 h 580451"/>
                <a:gd name="connsiteX2" fmla="*/ 261441 w 432222"/>
                <a:gd name="connsiteY2" fmla="*/ 579836 h 580451"/>
                <a:gd name="connsiteX3" fmla="*/ 40461 w 432222"/>
                <a:gd name="connsiteY3" fmla="*/ 436666 h 580451"/>
                <a:gd name="connsiteX4" fmla="*/ 0 w 432222"/>
                <a:gd name="connsiteY4" fmla="*/ 206349 h 580451"/>
                <a:gd name="connsiteX5" fmla="*/ 214755 w 432222"/>
                <a:gd name="connsiteY5" fmla="*/ 931 h 580451"/>
                <a:gd name="connsiteX6" fmla="*/ 420173 w 432222"/>
                <a:gd name="connsiteY6" fmla="*/ 184562 h 58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222" h="580451">
                  <a:moveTo>
                    <a:pt x="420173" y="184562"/>
                  </a:moveTo>
                  <a:cubicBezTo>
                    <a:pt x="420173" y="184562"/>
                    <a:pt x="445072" y="365080"/>
                    <a:pt x="423285" y="439778"/>
                  </a:cubicBezTo>
                  <a:cubicBezTo>
                    <a:pt x="404611" y="508251"/>
                    <a:pt x="314352" y="573611"/>
                    <a:pt x="261441" y="579836"/>
                  </a:cubicBezTo>
                  <a:cubicBezTo>
                    <a:pt x="192968" y="586060"/>
                    <a:pt x="71585" y="545599"/>
                    <a:pt x="40461" y="436666"/>
                  </a:cubicBezTo>
                  <a:cubicBezTo>
                    <a:pt x="18674" y="361968"/>
                    <a:pt x="0" y="259259"/>
                    <a:pt x="0" y="206349"/>
                  </a:cubicBezTo>
                  <a:cubicBezTo>
                    <a:pt x="0" y="109864"/>
                    <a:pt x="28012" y="28942"/>
                    <a:pt x="214755" y="931"/>
                  </a:cubicBezTo>
                  <a:cubicBezTo>
                    <a:pt x="301902" y="-11519"/>
                    <a:pt x="398386" y="103640"/>
                    <a:pt x="420173" y="184562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4C213D0B-E42C-4F62-AFCE-0047B1C752A8}"/>
                </a:ext>
              </a:extLst>
            </p:cNvPr>
            <p:cNvSpPr/>
            <p:nvPr/>
          </p:nvSpPr>
          <p:spPr>
            <a:xfrm>
              <a:off x="3434135" y="7929609"/>
              <a:ext cx="59135" cy="143170"/>
            </a:xfrm>
            <a:custGeom>
              <a:avLst/>
              <a:gdLst>
                <a:gd name="connsiteX0" fmla="*/ 28011 w 59135"/>
                <a:gd name="connsiteY0" fmla="*/ 143170 h 143170"/>
                <a:gd name="connsiteX1" fmla="*/ 6225 w 59135"/>
                <a:gd name="connsiteY1" fmla="*/ 140058 h 143170"/>
                <a:gd name="connsiteX2" fmla="*/ 0 w 59135"/>
                <a:gd name="connsiteY2" fmla="*/ 133833 h 143170"/>
                <a:gd name="connsiteX3" fmla="*/ 6225 w 59135"/>
                <a:gd name="connsiteY3" fmla="*/ 127608 h 143170"/>
                <a:gd name="connsiteX4" fmla="*/ 46686 w 59135"/>
                <a:gd name="connsiteY4" fmla="*/ 124496 h 143170"/>
                <a:gd name="connsiteX5" fmla="*/ 46686 w 59135"/>
                <a:gd name="connsiteY5" fmla="*/ 121384 h 143170"/>
                <a:gd name="connsiteX6" fmla="*/ 28011 w 59135"/>
                <a:gd name="connsiteY6" fmla="*/ 6225 h 143170"/>
                <a:gd name="connsiteX7" fmla="*/ 34236 w 59135"/>
                <a:gd name="connsiteY7" fmla="*/ 0 h 143170"/>
                <a:gd name="connsiteX8" fmla="*/ 40461 w 59135"/>
                <a:gd name="connsiteY8" fmla="*/ 6225 h 143170"/>
                <a:gd name="connsiteX9" fmla="*/ 59135 w 59135"/>
                <a:gd name="connsiteY9" fmla="*/ 121384 h 143170"/>
                <a:gd name="connsiteX10" fmla="*/ 52911 w 59135"/>
                <a:gd name="connsiteY10" fmla="*/ 133833 h 143170"/>
                <a:gd name="connsiteX11" fmla="*/ 28011 w 59135"/>
                <a:gd name="connsiteY11" fmla="*/ 143170 h 14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135" h="143170">
                  <a:moveTo>
                    <a:pt x="28011" y="143170"/>
                  </a:moveTo>
                  <a:cubicBezTo>
                    <a:pt x="18674" y="143170"/>
                    <a:pt x="9337" y="140058"/>
                    <a:pt x="6225" y="140058"/>
                  </a:cubicBezTo>
                  <a:cubicBezTo>
                    <a:pt x="3112" y="140058"/>
                    <a:pt x="0" y="136946"/>
                    <a:pt x="0" y="133833"/>
                  </a:cubicBezTo>
                  <a:cubicBezTo>
                    <a:pt x="0" y="130720"/>
                    <a:pt x="3112" y="127608"/>
                    <a:pt x="6225" y="127608"/>
                  </a:cubicBezTo>
                  <a:cubicBezTo>
                    <a:pt x="18674" y="130720"/>
                    <a:pt x="40461" y="130720"/>
                    <a:pt x="46686" y="124496"/>
                  </a:cubicBezTo>
                  <a:cubicBezTo>
                    <a:pt x="46686" y="124496"/>
                    <a:pt x="46686" y="121384"/>
                    <a:pt x="46686" y="121384"/>
                  </a:cubicBezTo>
                  <a:cubicBezTo>
                    <a:pt x="46686" y="102709"/>
                    <a:pt x="28011" y="9337"/>
                    <a:pt x="28011" y="6225"/>
                  </a:cubicBezTo>
                  <a:cubicBezTo>
                    <a:pt x="28011" y="3113"/>
                    <a:pt x="28011" y="0"/>
                    <a:pt x="34236" y="0"/>
                  </a:cubicBezTo>
                  <a:cubicBezTo>
                    <a:pt x="37349" y="0"/>
                    <a:pt x="40461" y="0"/>
                    <a:pt x="40461" y="6225"/>
                  </a:cubicBezTo>
                  <a:cubicBezTo>
                    <a:pt x="40461" y="9337"/>
                    <a:pt x="59135" y="102709"/>
                    <a:pt x="59135" y="121384"/>
                  </a:cubicBezTo>
                  <a:cubicBezTo>
                    <a:pt x="59135" y="127608"/>
                    <a:pt x="56023" y="130720"/>
                    <a:pt x="52911" y="133833"/>
                  </a:cubicBezTo>
                  <a:cubicBezTo>
                    <a:pt x="49798" y="143170"/>
                    <a:pt x="37349" y="143170"/>
                    <a:pt x="28011" y="143170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59C0BB06-6501-4D6C-89D6-AFEFCE1560DE}"/>
                </a:ext>
              </a:extLst>
            </p:cNvPr>
            <p:cNvSpPr/>
            <p:nvPr/>
          </p:nvSpPr>
          <p:spPr>
            <a:xfrm>
              <a:off x="3523601" y="7910325"/>
              <a:ext cx="41864" cy="41681"/>
            </a:xfrm>
            <a:custGeom>
              <a:avLst/>
              <a:gdLst>
                <a:gd name="connsiteX0" fmla="*/ 793 w 41864"/>
                <a:gd name="connsiteY0" fmla="*/ 25509 h 41681"/>
                <a:gd name="connsiteX1" fmla="*/ 25692 w 41864"/>
                <a:gd name="connsiteY1" fmla="*/ 41071 h 41681"/>
                <a:gd name="connsiteX2" fmla="*/ 41254 w 41864"/>
                <a:gd name="connsiteY2" fmla="*/ 16173 h 41681"/>
                <a:gd name="connsiteX3" fmla="*/ 16355 w 41864"/>
                <a:gd name="connsiteY3" fmla="*/ 611 h 41681"/>
                <a:gd name="connsiteX4" fmla="*/ 793 w 41864"/>
                <a:gd name="connsiteY4" fmla="*/ 25509 h 4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864" h="41681">
                  <a:moveTo>
                    <a:pt x="793" y="25509"/>
                  </a:moveTo>
                  <a:cubicBezTo>
                    <a:pt x="3906" y="34847"/>
                    <a:pt x="13243" y="44184"/>
                    <a:pt x="25692" y="41071"/>
                  </a:cubicBezTo>
                  <a:cubicBezTo>
                    <a:pt x="35030" y="37959"/>
                    <a:pt x="44367" y="28622"/>
                    <a:pt x="41254" y="16173"/>
                  </a:cubicBezTo>
                  <a:cubicBezTo>
                    <a:pt x="38142" y="6835"/>
                    <a:pt x="28805" y="-2502"/>
                    <a:pt x="16355" y="611"/>
                  </a:cubicBezTo>
                  <a:cubicBezTo>
                    <a:pt x="3906" y="3723"/>
                    <a:pt x="-2319" y="13060"/>
                    <a:pt x="793" y="25509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A4C09549-655E-4997-A48B-78B128F32063}"/>
                </a:ext>
              </a:extLst>
            </p:cNvPr>
            <p:cNvSpPr/>
            <p:nvPr/>
          </p:nvSpPr>
          <p:spPr>
            <a:xfrm>
              <a:off x="3336858" y="7928999"/>
              <a:ext cx="41864" cy="41682"/>
            </a:xfrm>
            <a:custGeom>
              <a:avLst/>
              <a:gdLst>
                <a:gd name="connsiteX0" fmla="*/ 793 w 41864"/>
                <a:gd name="connsiteY0" fmla="*/ 25510 h 41682"/>
                <a:gd name="connsiteX1" fmla="*/ 25692 w 41864"/>
                <a:gd name="connsiteY1" fmla="*/ 41072 h 41682"/>
                <a:gd name="connsiteX2" fmla="*/ 41254 w 41864"/>
                <a:gd name="connsiteY2" fmla="*/ 16172 h 41682"/>
                <a:gd name="connsiteX3" fmla="*/ 16355 w 41864"/>
                <a:gd name="connsiteY3" fmla="*/ 610 h 41682"/>
                <a:gd name="connsiteX4" fmla="*/ 793 w 41864"/>
                <a:gd name="connsiteY4" fmla="*/ 25510 h 41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864" h="41682">
                  <a:moveTo>
                    <a:pt x="793" y="25510"/>
                  </a:moveTo>
                  <a:cubicBezTo>
                    <a:pt x="3906" y="34847"/>
                    <a:pt x="13243" y="44184"/>
                    <a:pt x="25692" y="41072"/>
                  </a:cubicBezTo>
                  <a:cubicBezTo>
                    <a:pt x="35030" y="37959"/>
                    <a:pt x="44367" y="28622"/>
                    <a:pt x="41254" y="16172"/>
                  </a:cubicBezTo>
                  <a:cubicBezTo>
                    <a:pt x="38142" y="6835"/>
                    <a:pt x="28805" y="-2502"/>
                    <a:pt x="16355" y="610"/>
                  </a:cubicBezTo>
                  <a:cubicBezTo>
                    <a:pt x="3906" y="3723"/>
                    <a:pt x="-2319" y="16172"/>
                    <a:pt x="793" y="25510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903B76C1-2750-46EB-B682-E312448902F2}"/>
                </a:ext>
              </a:extLst>
            </p:cNvPr>
            <p:cNvSpPr/>
            <p:nvPr/>
          </p:nvSpPr>
          <p:spPr>
            <a:xfrm>
              <a:off x="3495094" y="7858024"/>
              <a:ext cx="93882" cy="34236"/>
            </a:xfrm>
            <a:custGeom>
              <a:avLst/>
              <a:gdLst>
                <a:gd name="connsiteX0" fmla="*/ 88436 w 93882"/>
                <a:gd name="connsiteY0" fmla="*/ 34236 h 34236"/>
                <a:gd name="connsiteX1" fmla="*/ 82211 w 93882"/>
                <a:gd name="connsiteY1" fmla="*/ 31124 h 34236"/>
                <a:gd name="connsiteX2" fmla="*/ 13739 w 93882"/>
                <a:gd name="connsiteY2" fmla="*/ 24899 h 34236"/>
                <a:gd name="connsiteX3" fmla="*/ 1289 w 93882"/>
                <a:gd name="connsiteY3" fmla="*/ 21787 h 34236"/>
                <a:gd name="connsiteX4" fmla="*/ 4402 w 93882"/>
                <a:gd name="connsiteY4" fmla="*/ 9337 h 34236"/>
                <a:gd name="connsiteX5" fmla="*/ 91549 w 93882"/>
                <a:gd name="connsiteY5" fmla="*/ 18674 h 34236"/>
                <a:gd name="connsiteX6" fmla="*/ 91549 w 93882"/>
                <a:gd name="connsiteY6" fmla="*/ 31124 h 34236"/>
                <a:gd name="connsiteX7" fmla="*/ 88436 w 93882"/>
                <a:gd name="connsiteY7" fmla="*/ 34236 h 3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82" h="34236">
                  <a:moveTo>
                    <a:pt x="88436" y="34236"/>
                  </a:moveTo>
                  <a:cubicBezTo>
                    <a:pt x="85324" y="34236"/>
                    <a:pt x="85324" y="34236"/>
                    <a:pt x="82211" y="31124"/>
                  </a:cubicBezTo>
                  <a:cubicBezTo>
                    <a:pt x="54200" y="3112"/>
                    <a:pt x="13739" y="24899"/>
                    <a:pt x="13739" y="24899"/>
                  </a:cubicBezTo>
                  <a:cubicBezTo>
                    <a:pt x="10626" y="28012"/>
                    <a:pt x="4402" y="24899"/>
                    <a:pt x="1289" y="21787"/>
                  </a:cubicBezTo>
                  <a:cubicBezTo>
                    <a:pt x="-1823" y="18674"/>
                    <a:pt x="1289" y="12450"/>
                    <a:pt x="4402" y="9337"/>
                  </a:cubicBezTo>
                  <a:cubicBezTo>
                    <a:pt x="23076" y="0"/>
                    <a:pt x="63537" y="-9337"/>
                    <a:pt x="91549" y="18674"/>
                  </a:cubicBezTo>
                  <a:cubicBezTo>
                    <a:pt x="94661" y="21787"/>
                    <a:pt x="94661" y="28012"/>
                    <a:pt x="91549" y="31124"/>
                  </a:cubicBezTo>
                  <a:cubicBezTo>
                    <a:pt x="91549" y="34236"/>
                    <a:pt x="88436" y="34236"/>
                    <a:pt x="88436" y="34236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00B17111-4B18-480A-87CD-89A93DC32489}"/>
                </a:ext>
              </a:extLst>
            </p:cNvPr>
            <p:cNvSpPr/>
            <p:nvPr/>
          </p:nvSpPr>
          <p:spPr>
            <a:xfrm>
              <a:off x="3301081" y="7861453"/>
              <a:ext cx="93882" cy="37031"/>
            </a:xfrm>
            <a:custGeom>
              <a:avLst/>
              <a:gdLst>
                <a:gd name="connsiteX0" fmla="*/ 8559 w 93882"/>
                <a:gd name="connsiteY0" fmla="*/ 37032 h 37031"/>
                <a:gd name="connsiteX1" fmla="*/ 2334 w 93882"/>
                <a:gd name="connsiteY1" fmla="*/ 33920 h 37031"/>
                <a:gd name="connsiteX2" fmla="*/ 2334 w 93882"/>
                <a:gd name="connsiteY2" fmla="*/ 21470 h 37031"/>
                <a:gd name="connsiteX3" fmla="*/ 89481 w 93882"/>
                <a:gd name="connsiteY3" fmla="*/ 12133 h 37031"/>
                <a:gd name="connsiteX4" fmla="*/ 92594 w 93882"/>
                <a:gd name="connsiteY4" fmla="*/ 24583 h 37031"/>
                <a:gd name="connsiteX5" fmla="*/ 80144 w 93882"/>
                <a:gd name="connsiteY5" fmla="*/ 27695 h 37031"/>
                <a:gd name="connsiteX6" fmla="*/ 11671 w 93882"/>
                <a:gd name="connsiteY6" fmla="*/ 33920 h 37031"/>
                <a:gd name="connsiteX7" fmla="*/ 8559 w 93882"/>
                <a:gd name="connsiteY7" fmla="*/ 37032 h 3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82" h="37031">
                  <a:moveTo>
                    <a:pt x="8559" y="37032"/>
                  </a:moveTo>
                  <a:cubicBezTo>
                    <a:pt x="5447" y="37032"/>
                    <a:pt x="5447" y="37032"/>
                    <a:pt x="2334" y="33920"/>
                  </a:cubicBezTo>
                  <a:cubicBezTo>
                    <a:pt x="-778" y="30807"/>
                    <a:pt x="-778" y="24583"/>
                    <a:pt x="2334" y="21470"/>
                  </a:cubicBezTo>
                  <a:cubicBezTo>
                    <a:pt x="14784" y="5908"/>
                    <a:pt x="52133" y="-12766"/>
                    <a:pt x="89481" y="12133"/>
                  </a:cubicBezTo>
                  <a:cubicBezTo>
                    <a:pt x="92594" y="15245"/>
                    <a:pt x="95706" y="18358"/>
                    <a:pt x="92594" y="24583"/>
                  </a:cubicBezTo>
                  <a:cubicBezTo>
                    <a:pt x="89481" y="27695"/>
                    <a:pt x="86369" y="30807"/>
                    <a:pt x="80144" y="27695"/>
                  </a:cubicBezTo>
                  <a:cubicBezTo>
                    <a:pt x="42795" y="2796"/>
                    <a:pt x="14784" y="33920"/>
                    <a:pt x="11671" y="33920"/>
                  </a:cubicBezTo>
                  <a:cubicBezTo>
                    <a:pt x="14784" y="37032"/>
                    <a:pt x="11671" y="37032"/>
                    <a:pt x="8559" y="37032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DE5E3EF4-F615-454E-9C46-9AD9F6303E52}"/>
                </a:ext>
              </a:extLst>
            </p:cNvPr>
            <p:cNvSpPr/>
            <p:nvPr/>
          </p:nvSpPr>
          <p:spPr>
            <a:xfrm>
              <a:off x="3297190" y="8184825"/>
              <a:ext cx="235763" cy="65360"/>
            </a:xfrm>
            <a:custGeom>
              <a:avLst/>
              <a:gdLst>
                <a:gd name="connsiteX0" fmla="*/ 152507 w 235763"/>
                <a:gd name="connsiteY0" fmla="*/ 65360 h 65360"/>
                <a:gd name="connsiteX1" fmla="*/ 3112 w 235763"/>
                <a:gd name="connsiteY1" fmla="*/ 12450 h 65360"/>
                <a:gd name="connsiteX2" fmla="*/ 0 w 235763"/>
                <a:gd name="connsiteY2" fmla="*/ 3113 h 65360"/>
                <a:gd name="connsiteX3" fmla="*/ 9337 w 235763"/>
                <a:gd name="connsiteY3" fmla="*/ 0 h 65360"/>
                <a:gd name="connsiteX4" fmla="*/ 152507 w 235763"/>
                <a:gd name="connsiteY4" fmla="*/ 49798 h 65360"/>
                <a:gd name="connsiteX5" fmla="*/ 152507 w 235763"/>
                <a:gd name="connsiteY5" fmla="*/ 49798 h 65360"/>
                <a:gd name="connsiteX6" fmla="*/ 224092 w 235763"/>
                <a:gd name="connsiteY6" fmla="*/ 24899 h 65360"/>
                <a:gd name="connsiteX7" fmla="*/ 233429 w 235763"/>
                <a:gd name="connsiteY7" fmla="*/ 24899 h 65360"/>
                <a:gd name="connsiteX8" fmla="*/ 233429 w 235763"/>
                <a:gd name="connsiteY8" fmla="*/ 34237 h 65360"/>
                <a:gd name="connsiteX9" fmla="*/ 152507 w 235763"/>
                <a:gd name="connsiteY9" fmla="*/ 65360 h 65360"/>
                <a:gd name="connsiteX10" fmla="*/ 152507 w 235763"/>
                <a:gd name="connsiteY10" fmla="*/ 65360 h 65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5763" h="65360">
                  <a:moveTo>
                    <a:pt x="152507" y="65360"/>
                  </a:moveTo>
                  <a:cubicBezTo>
                    <a:pt x="99597" y="65360"/>
                    <a:pt x="9337" y="15562"/>
                    <a:pt x="3112" y="12450"/>
                  </a:cubicBezTo>
                  <a:cubicBezTo>
                    <a:pt x="0" y="9337"/>
                    <a:pt x="0" y="6225"/>
                    <a:pt x="0" y="3113"/>
                  </a:cubicBezTo>
                  <a:cubicBezTo>
                    <a:pt x="3112" y="0"/>
                    <a:pt x="6225" y="0"/>
                    <a:pt x="9337" y="0"/>
                  </a:cubicBezTo>
                  <a:cubicBezTo>
                    <a:pt x="9337" y="0"/>
                    <a:pt x="102709" y="49798"/>
                    <a:pt x="152507" y="49798"/>
                  </a:cubicBezTo>
                  <a:cubicBezTo>
                    <a:pt x="152507" y="49798"/>
                    <a:pt x="152507" y="49798"/>
                    <a:pt x="152507" y="49798"/>
                  </a:cubicBezTo>
                  <a:cubicBezTo>
                    <a:pt x="192968" y="49798"/>
                    <a:pt x="224092" y="24899"/>
                    <a:pt x="224092" y="24899"/>
                  </a:cubicBezTo>
                  <a:cubicBezTo>
                    <a:pt x="227205" y="21787"/>
                    <a:pt x="230317" y="21787"/>
                    <a:pt x="233429" y="24899"/>
                  </a:cubicBezTo>
                  <a:cubicBezTo>
                    <a:pt x="236542" y="28012"/>
                    <a:pt x="236542" y="31124"/>
                    <a:pt x="233429" y="34237"/>
                  </a:cubicBezTo>
                  <a:cubicBezTo>
                    <a:pt x="230317" y="37349"/>
                    <a:pt x="196081" y="65360"/>
                    <a:pt x="152507" y="65360"/>
                  </a:cubicBezTo>
                  <a:cubicBezTo>
                    <a:pt x="152507" y="65360"/>
                    <a:pt x="152507" y="65360"/>
                    <a:pt x="152507" y="65360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8239C9F3-C50A-4B31-BCCA-ACEFA79C09C4}"/>
                </a:ext>
              </a:extLst>
            </p:cNvPr>
            <p:cNvSpPr/>
            <p:nvPr/>
          </p:nvSpPr>
          <p:spPr>
            <a:xfrm>
              <a:off x="3159922" y="7689955"/>
              <a:ext cx="115481" cy="273890"/>
            </a:xfrm>
            <a:custGeom>
              <a:avLst/>
              <a:gdLst>
                <a:gd name="connsiteX0" fmla="*/ 115481 w 115481"/>
                <a:gd name="connsiteY0" fmla="*/ 130720 h 273890"/>
                <a:gd name="connsiteX1" fmla="*/ 65683 w 115481"/>
                <a:gd name="connsiteY1" fmla="*/ 273891 h 273890"/>
                <a:gd name="connsiteX2" fmla="*/ 6548 w 115481"/>
                <a:gd name="connsiteY2" fmla="*/ 171182 h 273890"/>
                <a:gd name="connsiteX3" fmla="*/ 65683 w 115481"/>
                <a:gd name="connsiteY3" fmla="*/ 0 h 273890"/>
                <a:gd name="connsiteX4" fmla="*/ 115481 w 115481"/>
                <a:gd name="connsiteY4" fmla="*/ 13072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481" h="273890">
                  <a:moveTo>
                    <a:pt x="115481" y="130720"/>
                  </a:moveTo>
                  <a:cubicBezTo>
                    <a:pt x="115481" y="130720"/>
                    <a:pt x="59458" y="242767"/>
                    <a:pt x="65683" y="273891"/>
                  </a:cubicBezTo>
                  <a:cubicBezTo>
                    <a:pt x="65683" y="273891"/>
                    <a:pt x="22110" y="227205"/>
                    <a:pt x="6548" y="171182"/>
                  </a:cubicBezTo>
                  <a:cubicBezTo>
                    <a:pt x="-9014" y="112046"/>
                    <a:pt x="323" y="15562"/>
                    <a:pt x="65683" y="0"/>
                  </a:cubicBezTo>
                  <a:cubicBezTo>
                    <a:pt x="68795" y="0"/>
                    <a:pt x="75020" y="108934"/>
                    <a:pt x="115481" y="130720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A9859E37-430F-4FB1-8B9C-422B8A4EF10A}"/>
                </a:ext>
              </a:extLst>
            </p:cNvPr>
            <p:cNvSpPr/>
            <p:nvPr/>
          </p:nvSpPr>
          <p:spPr>
            <a:xfrm>
              <a:off x="3216647" y="7566827"/>
              <a:ext cx="510053" cy="263217"/>
            </a:xfrm>
            <a:custGeom>
              <a:avLst/>
              <a:gdLst>
                <a:gd name="connsiteX0" fmla="*/ 58757 w 510053"/>
                <a:gd name="connsiteY0" fmla="*/ 253848 h 263217"/>
                <a:gd name="connsiteX1" fmla="*/ 183252 w 510053"/>
                <a:gd name="connsiteY1" fmla="*/ 213387 h 263217"/>
                <a:gd name="connsiteX2" fmla="*/ 510053 w 510053"/>
                <a:gd name="connsiteY2" fmla="*/ 200938 h 263217"/>
                <a:gd name="connsiteX3" fmla="*/ 413569 w 510053"/>
                <a:gd name="connsiteY3" fmla="*/ 138690 h 263217"/>
                <a:gd name="connsiteX4" fmla="*/ 130342 w 510053"/>
                <a:gd name="connsiteY4" fmla="*/ 11082 h 263217"/>
                <a:gd name="connsiteX5" fmla="*/ 8958 w 510053"/>
                <a:gd name="connsiteY5" fmla="*/ 120016 h 263217"/>
                <a:gd name="connsiteX6" fmla="*/ 58757 w 510053"/>
                <a:gd name="connsiteY6" fmla="*/ 253848 h 263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0053" h="263217">
                  <a:moveTo>
                    <a:pt x="58757" y="253848"/>
                  </a:moveTo>
                  <a:cubicBezTo>
                    <a:pt x="58757" y="253848"/>
                    <a:pt x="155241" y="213387"/>
                    <a:pt x="183252" y="213387"/>
                  </a:cubicBezTo>
                  <a:cubicBezTo>
                    <a:pt x="285961" y="216500"/>
                    <a:pt x="416682" y="331658"/>
                    <a:pt x="510053" y="200938"/>
                  </a:cubicBezTo>
                  <a:cubicBezTo>
                    <a:pt x="457143" y="213387"/>
                    <a:pt x="432244" y="163589"/>
                    <a:pt x="413569" y="138690"/>
                  </a:cubicBezTo>
                  <a:cubicBezTo>
                    <a:pt x="369996" y="76442"/>
                    <a:pt x="298411" y="-35604"/>
                    <a:pt x="130342" y="11082"/>
                  </a:cubicBezTo>
                  <a:cubicBezTo>
                    <a:pt x="49419" y="32869"/>
                    <a:pt x="15183" y="82667"/>
                    <a:pt x="8958" y="120016"/>
                  </a:cubicBezTo>
                  <a:cubicBezTo>
                    <a:pt x="12071" y="123128"/>
                    <a:pt x="-34615" y="241399"/>
                    <a:pt x="58757" y="253848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8E3234D7-6AC6-4237-ADD5-B837E78FF5F2}"/>
                </a:ext>
              </a:extLst>
            </p:cNvPr>
            <p:cNvSpPr/>
            <p:nvPr/>
          </p:nvSpPr>
          <p:spPr>
            <a:xfrm>
              <a:off x="3162285" y="7929415"/>
              <a:ext cx="78882" cy="112808"/>
            </a:xfrm>
            <a:custGeom>
              <a:avLst/>
              <a:gdLst>
                <a:gd name="connsiteX0" fmla="*/ 66433 w 78882"/>
                <a:gd name="connsiteY0" fmla="*/ 15756 h 112808"/>
                <a:gd name="connsiteX1" fmla="*/ 7297 w 78882"/>
                <a:gd name="connsiteY1" fmla="*/ 6419 h 112808"/>
                <a:gd name="connsiteX2" fmla="*/ 66433 w 78882"/>
                <a:gd name="connsiteY2" fmla="*/ 109128 h 112808"/>
                <a:gd name="connsiteX3" fmla="*/ 66433 w 78882"/>
                <a:gd name="connsiteY3" fmla="*/ 15756 h 112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882" h="112808">
                  <a:moveTo>
                    <a:pt x="66433" y="15756"/>
                  </a:moveTo>
                  <a:cubicBezTo>
                    <a:pt x="66433" y="15756"/>
                    <a:pt x="32197" y="-12255"/>
                    <a:pt x="7297" y="6419"/>
                  </a:cubicBezTo>
                  <a:cubicBezTo>
                    <a:pt x="-17602" y="25094"/>
                    <a:pt x="25972" y="134027"/>
                    <a:pt x="66433" y="109128"/>
                  </a:cubicBezTo>
                  <a:cubicBezTo>
                    <a:pt x="94444" y="93566"/>
                    <a:pt x="66433" y="15756"/>
                    <a:pt x="66433" y="15756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B774D635-EF57-4461-BA51-EA592D57A71F}"/>
                </a:ext>
              </a:extLst>
            </p:cNvPr>
            <p:cNvSpPr/>
            <p:nvPr/>
          </p:nvSpPr>
          <p:spPr>
            <a:xfrm>
              <a:off x="3210630" y="7704228"/>
              <a:ext cx="77222" cy="247168"/>
            </a:xfrm>
            <a:custGeom>
              <a:avLst/>
              <a:gdLst>
                <a:gd name="connsiteX0" fmla="*/ 18087 w 77222"/>
                <a:gd name="connsiteY0" fmla="*/ 247168 h 247168"/>
                <a:gd name="connsiteX1" fmla="*/ 18087 w 77222"/>
                <a:gd name="connsiteY1" fmla="*/ 247168 h 247168"/>
                <a:gd name="connsiteX2" fmla="*/ 11863 w 77222"/>
                <a:gd name="connsiteY2" fmla="*/ 240943 h 247168"/>
                <a:gd name="connsiteX3" fmla="*/ 58548 w 77222"/>
                <a:gd name="connsiteY3" fmla="*/ 116448 h 247168"/>
                <a:gd name="connsiteX4" fmla="*/ 8750 w 77222"/>
                <a:gd name="connsiteY4" fmla="*/ 72874 h 247168"/>
                <a:gd name="connsiteX5" fmla="*/ 5638 w 77222"/>
                <a:gd name="connsiteY5" fmla="*/ 4402 h 247168"/>
                <a:gd name="connsiteX6" fmla="*/ 11863 w 77222"/>
                <a:gd name="connsiteY6" fmla="*/ 1289 h 247168"/>
                <a:gd name="connsiteX7" fmla="*/ 14975 w 77222"/>
                <a:gd name="connsiteY7" fmla="*/ 7514 h 247168"/>
                <a:gd name="connsiteX8" fmla="*/ 18087 w 77222"/>
                <a:gd name="connsiteY8" fmla="*/ 66650 h 247168"/>
                <a:gd name="connsiteX9" fmla="*/ 67886 w 77222"/>
                <a:gd name="connsiteY9" fmla="*/ 107110 h 247168"/>
                <a:gd name="connsiteX10" fmla="*/ 77223 w 77222"/>
                <a:gd name="connsiteY10" fmla="*/ 110223 h 247168"/>
                <a:gd name="connsiteX11" fmla="*/ 70998 w 77222"/>
                <a:gd name="connsiteY11" fmla="*/ 116448 h 247168"/>
                <a:gd name="connsiteX12" fmla="*/ 24312 w 77222"/>
                <a:gd name="connsiteY12" fmla="*/ 240943 h 247168"/>
                <a:gd name="connsiteX13" fmla="*/ 18087 w 77222"/>
                <a:gd name="connsiteY13" fmla="*/ 247168 h 24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7222" h="247168">
                  <a:moveTo>
                    <a:pt x="18087" y="247168"/>
                  </a:moveTo>
                  <a:cubicBezTo>
                    <a:pt x="18087" y="247168"/>
                    <a:pt x="18087" y="247168"/>
                    <a:pt x="18087" y="247168"/>
                  </a:cubicBezTo>
                  <a:cubicBezTo>
                    <a:pt x="14975" y="247168"/>
                    <a:pt x="11863" y="244056"/>
                    <a:pt x="11863" y="240943"/>
                  </a:cubicBezTo>
                  <a:cubicBezTo>
                    <a:pt x="14975" y="188033"/>
                    <a:pt x="46099" y="135122"/>
                    <a:pt x="58548" y="116448"/>
                  </a:cubicBezTo>
                  <a:cubicBezTo>
                    <a:pt x="46099" y="110223"/>
                    <a:pt x="21200" y="97774"/>
                    <a:pt x="8750" y="72874"/>
                  </a:cubicBezTo>
                  <a:cubicBezTo>
                    <a:pt x="-587" y="54200"/>
                    <a:pt x="-3699" y="29301"/>
                    <a:pt x="5638" y="4402"/>
                  </a:cubicBezTo>
                  <a:cubicBezTo>
                    <a:pt x="5638" y="1289"/>
                    <a:pt x="8750" y="-1823"/>
                    <a:pt x="11863" y="1289"/>
                  </a:cubicBezTo>
                  <a:cubicBezTo>
                    <a:pt x="14975" y="1289"/>
                    <a:pt x="18087" y="4402"/>
                    <a:pt x="14975" y="7514"/>
                  </a:cubicBezTo>
                  <a:cubicBezTo>
                    <a:pt x="8750" y="29301"/>
                    <a:pt x="8750" y="51088"/>
                    <a:pt x="18087" y="66650"/>
                  </a:cubicBezTo>
                  <a:cubicBezTo>
                    <a:pt x="33649" y="94661"/>
                    <a:pt x="67886" y="107110"/>
                    <a:pt x="67886" y="107110"/>
                  </a:cubicBezTo>
                  <a:lnTo>
                    <a:pt x="77223" y="110223"/>
                  </a:lnTo>
                  <a:lnTo>
                    <a:pt x="70998" y="116448"/>
                  </a:lnTo>
                  <a:cubicBezTo>
                    <a:pt x="70998" y="116448"/>
                    <a:pt x="27424" y="178696"/>
                    <a:pt x="24312" y="240943"/>
                  </a:cubicBezTo>
                  <a:cubicBezTo>
                    <a:pt x="24312" y="247168"/>
                    <a:pt x="21200" y="247168"/>
                    <a:pt x="18087" y="247168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7C37784C-BED7-4928-91D7-F96555820C1F}"/>
                </a:ext>
              </a:extLst>
            </p:cNvPr>
            <p:cNvSpPr/>
            <p:nvPr/>
          </p:nvSpPr>
          <p:spPr>
            <a:xfrm>
              <a:off x="2870792" y="8306209"/>
              <a:ext cx="1093283" cy="1599581"/>
            </a:xfrm>
            <a:custGeom>
              <a:avLst/>
              <a:gdLst>
                <a:gd name="connsiteX0" fmla="*/ 404611 w 1093283"/>
                <a:gd name="connsiteY0" fmla="*/ 0 h 1599581"/>
                <a:gd name="connsiteX1" fmla="*/ 700288 w 1093283"/>
                <a:gd name="connsiteY1" fmla="*/ 0 h 1599581"/>
                <a:gd name="connsiteX2" fmla="*/ 1005303 w 1093283"/>
                <a:gd name="connsiteY2" fmla="*/ 133833 h 1599581"/>
                <a:gd name="connsiteX3" fmla="*/ 1092450 w 1093283"/>
                <a:gd name="connsiteY3" fmla="*/ 1568646 h 1599581"/>
                <a:gd name="connsiteX4" fmla="*/ 0 w 1093283"/>
                <a:gd name="connsiteY4" fmla="*/ 1543746 h 1599581"/>
                <a:gd name="connsiteX5" fmla="*/ 118271 w 1093283"/>
                <a:gd name="connsiteY5" fmla="*/ 105821 h 1599581"/>
                <a:gd name="connsiteX6" fmla="*/ 404611 w 1093283"/>
                <a:gd name="connsiteY6" fmla="*/ 0 h 159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3283" h="1599581">
                  <a:moveTo>
                    <a:pt x="404611" y="0"/>
                  </a:moveTo>
                  <a:cubicBezTo>
                    <a:pt x="404611" y="0"/>
                    <a:pt x="582017" y="56023"/>
                    <a:pt x="700288" y="0"/>
                  </a:cubicBezTo>
                  <a:cubicBezTo>
                    <a:pt x="700288" y="0"/>
                    <a:pt x="980403" y="99596"/>
                    <a:pt x="1005303" y="133833"/>
                  </a:cubicBezTo>
                  <a:cubicBezTo>
                    <a:pt x="1030202" y="164957"/>
                    <a:pt x="1101787" y="1500173"/>
                    <a:pt x="1092450" y="1568646"/>
                  </a:cubicBezTo>
                  <a:cubicBezTo>
                    <a:pt x="1092450" y="1568646"/>
                    <a:pt x="591354" y="1652680"/>
                    <a:pt x="0" y="1543746"/>
                  </a:cubicBezTo>
                  <a:cubicBezTo>
                    <a:pt x="0" y="1179596"/>
                    <a:pt x="74697" y="136945"/>
                    <a:pt x="118271" y="105821"/>
                  </a:cubicBezTo>
                  <a:cubicBezTo>
                    <a:pt x="161844" y="71585"/>
                    <a:pt x="404611" y="0"/>
                    <a:pt x="404611" y="0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BF5E0E09-92B5-4771-AB1A-E3DD74BCD099}"/>
                </a:ext>
              </a:extLst>
            </p:cNvPr>
            <p:cNvSpPr/>
            <p:nvPr/>
          </p:nvSpPr>
          <p:spPr>
            <a:xfrm>
              <a:off x="3714883" y="8397984"/>
              <a:ext cx="460001" cy="624075"/>
            </a:xfrm>
            <a:custGeom>
              <a:avLst/>
              <a:gdLst>
                <a:gd name="connsiteX0" fmla="*/ 64728 w 460001"/>
                <a:gd name="connsiteY0" fmla="*/ 624075 h 624075"/>
                <a:gd name="connsiteX1" fmla="*/ 52278 w 460001"/>
                <a:gd name="connsiteY1" fmla="*/ 10934 h 624075"/>
                <a:gd name="connsiteX2" fmla="*/ 460002 w 460001"/>
                <a:gd name="connsiteY2" fmla="*/ 452894 h 624075"/>
                <a:gd name="connsiteX3" fmla="*/ 64728 w 460001"/>
                <a:gd name="connsiteY3" fmla="*/ 624075 h 62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0001" h="624075">
                  <a:moveTo>
                    <a:pt x="64728" y="624075"/>
                  </a:moveTo>
                  <a:cubicBezTo>
                    <a:pt x="64728" y="624075"/>
                    <a:pt x="-72217" y="91856"/>
                    <a:pt x="52278" y="10934"/>
                  </a:cubicBezTo>
                  <a:cubicBezTo>
                    <a:pt x="198561" y="-82438"/>
                    <a:pt x="460002" y="452894"/>
                    <a:pt x="460002" y="452894"/>
                  </a:cubicBezTo>
                  <a:cubicBezTo>
                    <a:pt x="460002" y="452894"/>
                    <a:pt x="282596" y="605401"/>
                    <a:pt x="64728" y="624075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C90918F9-9661-4B70-AE9E-F0D003AA96C4}"/>
                </a:ext>
              </a:extLst>
            </p:cNvPr>
            <p:cNvSpPr/>
            <p:nvPr/>
          </p:nvSpPr>
          <p:spPr>
            <a:xfrm>
              <a:off x="3869870" y="8433817"/>
              <a:ext cx="54199" cy="563343"/>
            </a:xfrm>
            <a:custGeom>
              <a:avLst/>
              <a:gdLst>
                <a:gd name="connsiteX0" fmla="*/ 49798 w 54199"/>
                <a:gd name="connsiteY0" fmla="*/ 563343 h 563343"/>
                <a:gd name="connsiteX1" fmla="*/ 43573 w 54199"/>
                <a:gd name="connsiteY1" fmla="*/ 557118 h 563343"/>
                <a:gd name="connsiteX2" fmla="*/ 0 w 54199"/>
                <a:gd name="connsiteY2" fmla="*/ 6225 h 563343"/>
                <a:gd name="connsiteX3" fmla="*/ 3112 w 54199"/>
                <a:gd name="connsiteY3" fmla="*/ 0 h 563343"/>
                <a:gd name="connsiteX4" fmla="*/ 9337 w 54199"/>
                <a:gd name="connsiteY4" fmla="*/ 3113 h 563343"/>
                <a:gd name="connsiteX5" fmla="*/ 52911 w 54199"/>
                <a:gd name="connsiteY5" fmla="*/ 557118 h 563343"/>
                <a:gd name="connsiteX6" fmla="*/ 49798 w 54199"/>
                <a:gd name="connsiteY6" fmla="*/ 563343 h 563343"/>
                <a:gd name="connsiteX7" fmla="*/ 49798 w 54199"/>
                <a:gd name="connsiteY7" fmla="*/ 563343 h 563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199" h="563343">
                  <a:moveTo>
                    <a:pt x="49798" y="563343"/>
                  </a:moveTo>
                  <a:cubicBezTo>
                    <a:pt x="46686" y="563343"/>
                    <a:pt x="43573" y="560231"/>
                    <a:pt x="43573" y="557118"/>
                  </a:cubicBezTo>
                  <a:cubicBezTo>
                    <a:pt x="43573" y="550894"/>
                    <a:pt x="6225" y="46686"/>
                    <a:pt x="0" y="6225"/>
                  </a:cubicBezTo>
                  <a:cubicBezTo>
                    <a:pt x="0" y="3113"/>
                    <a:pt x="0" y="0"/>
                    <a:pt x="3112" y="0"/>
                  </a:cubicBezTo>
                  <a:cubicBezTo>
                    <a:pt x="6225" y="0"/>
                    <a:pt x="9337" y="0"/>
                    <a:pt x="9337" y="3113"/>
                  </a:cubicBezTo>
                  <a:cubicBezTo>
                    <a:pt x="18674" y="43574"/>
                    <a:pt x="52911" y="535332"/>
                    <a:pt x="52911" y="557118"/>
                  </a:cubicBezTo>
                  <a:cubicBezTo>
                    <a:pt x="56023" y="560231"/>
                    <a:pt x="52911" y="563343"/>
                    <a:pt x="49798" y="563343"/>
                  </a:cubicBezTo>
                  <a:cubicBezTo>
                    <a:pt x="49798" y="563343"/>
                    <a:pt x="49798" y="563343"/>
                    <a:pt x="49798" y="563343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23C9F281-6B45-4DDF-999C-E73536DCB20A}"/>
                </a:ext>
              </a:extLst>
            </p:cNvPr>
            <p:cNvSpPr/>
            <p:nvPr/>
          </p:nvSpPr>
          <p:spPr>
            <a:xfrm>
              <a:off x="2703561" y="8882001"/>
              <a:ext cx="304176" cy="736196"/>
            </a:xfrm>
            <a:custGeom>
              <a:avLst/>
              <a:gdLst>
                <a:gd name="connsiteX0" fmla="*/ 304176 w 304176"/>
                <a:gd name="connsiteY0" fmla="*/ 24899 h 736196"/>
                <a:gd name="connsiteX1" fmla="*/ 195242 w 304176"/>
                <a:gd name="connsiteY1" fmla="*/ 569568 h 736196"/>
                <a:gd name="connsiteX2" fmla="*/ 52072 w 304176"/>
                <a:gd name="connsiteY2" fmla="*/ 718962 h 736196"/>
                <a:gd name="connsiteX3" fmla="*/ 30286 w 304176"/>
                <a:gd name="connsiteY3" fmla="*/ 0 h 736196"/>
                <a:gd name="connsiteX4" fmla="*/ 304176 w 304176"/>
                <a:gd name="connsiteY4" fmla="*/ 24899 h 736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176" h="736196">
                  <a:moveTo>
                    <a:pt x="304176" y="24899"/>
                  </a:moveTo>
                  <a:lnTo>
                    <a:pt x="195242" y="569568"/>
                  </a:lnTo>
                  <a:cubicBezTo>
                    <a:pt x="195242" y="569568"/>
                    <a:pt x="154781" y="799885"/>
                    <a:pt x="52072" y="718962"/>
                  </a:cubicBezTo>
                  <a:cubicBezTo>
                    <a:pt x="-50637" y="638040"/>
                    <a:pt x="30286" y="0"/>
                    <a:pt x="30286" y="0"/>
                  </a:cubicBezTo>
                  <a:lnTo>
                    <a:pt x="304176" y="24899"/>
                  </a:ln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384667C1-43E9-497F-8DF8-8EA968821368}"/>
                </a:ext>
              </a:extLst>
            </p:cNvPr>
            <p:cNvSpPr/>
            <p:nvPr/>
          </p:nvSpPr>
          <p:spPr>
            <a:xfrm>
              <a:off x="2671599" y="8412030"/>
              <a:ext cx="438402" cy="595958"/>
            </a:xfrm>
            <a:custGeom>
              <a:avLst/>
              <a:gdLst>
                <a:gd name="connsiteX0" fmla="*/ 0 w 438402"/>
                <a:gd name="connsiteY0" fmla="*/ 522882 h 595958"/>
                <a:gd name="connsiteX1" fmla="*/ 317464 w 438402"/>
                <a:gd name="connsiteY1" fmla="*/ 0 h 595958"/>
                <a:gd name="connsiteX2" fmla="*/ 426398 w 438402"/>
                <a:gd name="connsiteY2" fmla="*/ 591354 h 595958"/>
                <a:gd name="connsiteX3" fmla="*/ 0 w 438402"/>
                <a:gd name="connsiteY3" fmla="*/ 522882 h 595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402" h="595958">
                  <a:moveTo>
                    <a:pt x="0" y="522882"/>
                  </a:moveTo>
                  <a:cubicBezTo>
                    <a:pt x="0" y="522882"/>
                    <a:pt x="168069" y="0"/>
                    <a:pt x="317464" y="0"/>
                  </a:cubicBezTo>
                  <a:cubicBezTo>
                    <a:pt x="491758" y="0"/>
                    <a:pt x="426398" y="591354"/>
                    <a:pt x="426398" y="591354"/>
                  </a:cubicBezTo>
                  <a:cubicBezTo>
                    <a:pt x="426398" y="591354"/>
                    <a:pt x="192968" y="622478"/>
                    <a:pt x="0" y="522882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AA062962-B1ED-4184-B9DE-7163BA899194}"/>
                </a:ext>
              </a:extLst>
            </p:cNvPr>
            <p:cNvSpPr/>
            <p:nvPr/>
          </p:nvSpPr>
          <p:spPr>
            <a:xfrm>
              <a:off x="3409236" y="8129581"/>
              <a:ext cx="122766" cy="30345"/>
            </a:xfrm>
            <a:custGeom>
              <a:avLst/>
              <a:gdLst>
                <a:gd name="connsiteX0" fmla="*/ 68473 w 122766"/>
                <a:gd name="connsiteY0" fmla="*/ 30346 h 30345"/>
                <a:gd name="connsiteX1" fmla="*/ 3112 w 122766"/>
                <a:gd name="connsiteY1" fmla="*/ 14784 h 30345"/>
                <a:gd name="connsiteX2" fmla="*/ 0 w 122766"/>
                <a:gd name="connsiteY2" fmla="*/ 5447 h 30345"/>
                <a:gd name="connsiteX3" fmla="*/ 9337 w 122766"/>
                <a:gd name="connsiteY3" fmla="*/ 2334 h 30345"/>
                <a:gd name="connsiteX4" fmla="*/ 112046 w 122766"/>
                <a:gd name="connsiteY4" fmla="*/ 2334 h 30345"/>
                <a:gd name="connsiteX5" fmla="*/ 121383 w 122766"/>
                <a:gd name="connsiteY5" fmla="*/ 2334 h 30345"/>
                <a:gd name="connsiteX6" fmla="*/ 121383 w 122766"/>
                <a:gd name="connsiteY6" fmla="*/ 11671 h 30345"/>
                <a:gd name="connsiteX7" fmla="*/ 68473 w 122766"/>
                <a:gd name="connsiteY7" fmla="*/ 30346 h 3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766" h="30345">
                  <a:moveTo>
                    <a:pt x="68473" y="30346"/>
                  </a:moveTo>
                  <a:cubicBezTo>
                    <a:pt x="34236" y="30346"/>
                    <a:pt x="6225" y="14784"/>
                    <a:pt x="3112" y="14784"/>
                  </a:cubicBezTo>
                  <a:cubicBezTo>
                    <a:pt x="0" y="14784"/>
                    <a:pt x="0" y="8559"/>
                    <a:pt x="0" y="5447"/>
                  </a:cubicBezTo>
                  <a:cubicBezTo>
                    <a:pt x="0" y="2334"/>
                    <a:pt x="6225" y="2334"/>
                    <a:pt x="9337" y="2334"/>
                  </a:cubicBezTo>
                  <a:cubicBezTo>
                    <a:pt x="9337" y="2334"/>
                    <a:pt x="74697" y="33458"/>
                    <a:pt x="112046" y="2334"/>
                  </a:cubicBezTo>
                  <a:cubicBezTo>
                    <a:pt x="115159" y="-778"/>
                    <a:pt x="118271" y="-778"/>
                    <a:pt x="121383" y="2334"/>
                  </a:cubicBezTo>
                  <a:cubicBezTo>
                    <a:pt x="124496" y="5447"/>
                    <a:pt x="121383" y="8559"/>
                    <a:pt x="121383" y="11671"/>
                  </a:cubicBezTo>
                  <a:cubicBezTo>
                    <a:pt x="102709" y="27233"/>
                    <a:pt x="84035" y="30346"/>
                    <a:pt x="68473" y="30346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E3174798-51AB-4519-95B0-B69AA6D6439B}"/>
                </a:ext>
              </a:extLst>
            </p:cNvPr>
            <p:cNvSpPr/>
            <p:nvPr/>
          </p:nvSpPr>
          <p:spPr>
            <a:xfrm>
              <a:off x="2947983" y="8324185"/>
              <a:ext cx="384499" cy="1061692"/>
            </a:xfrm>
            <a:custGeom>
              <a:avLst/>
              <a:gdLst>
                <a:gd name="connsiteX0" fmla="*/ 13069 w 384499"/>
                <a:gd name="connsiteY0" fmla="*/ 1049575 h 1061692"/>
                <a:gd name="connsiteX1" fmla="*/ 37968 w 384499"/>
                <a:gd name="connsiteY1" fmla="*/ 1055800 h 1061692"/>
                <a:gd name="connsiteX2" fmla="*/ 59755 w 384499"/>
                <a:gd name="connsiteY2" fmla="*/ 1055800 h 1061692"/>
                <a:gd name="connsiteX3" fmla="*/ 81542 w 384499"/>
                <a:gd name="connsiteY3" fmla="*/ 1027788 h 1061692"/>
                <a:gd name="connsiteX4" fmla="*/ 128228 w 384499"/>
                <a:gd name="connsiteY4" fmla="*/ 971765 h 1061692"/>
                <a:gd name="connsiteX5" fmla="*/ 383444 w 384499"/>
                <a:gd name="connsiteY5" fmla="*/ 508018 h 1061692"/>
                <a:gd name="connsiteX6" fmla="*/ 255836 w 384499"/>
                <a:gd name="connsiteY6" fmla="*/ 698 h 1061692"/>
                <a:gd name="connsiteX7" fmla="*/ 156239 w 384499"/>
                <a:gd name="connsiteY7" fmla="*/ 34935 h 1061692"/>
                <a:gd name="connsiteX8" fmla="*/ 293184 w 384499"/>
                <a:gd name="connsiteY8" fmla="*/ 480007 h 1061692"/>
                <a:gd name="connsiteX9" fmla="*/ 128228 w 384499"/>
                <a:gd name="connsiteY9" fmla="*/ 862831 h 1061692"/>
                <a:gd name="connsiteX10" fmla="*/ 47305 w 384499"/>
                <a:gd name="connsiteY10" fmla="*/ 953091 h 1061692"/>
                <a:gd name="connsiteX11" fmla="*/ 13069 w 384499"/>
                <a:gd name="connsiteY11" fmla="*/ 977990 h 1061692"/>
                <a:gd name="connsiteX12" fmla="*/ 13069 w 384499"/>
                <a:gd name="connsiteY12" fmla="*/ 1049575 h 1061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4499" h="1061692">
                  <a:moveTo>
                    <a:pt x="13069" y="1049575"/>
                  </a:moveTo>
                  <a:cubicBezTo>
                    <a:pt x="22406" y="1055800"/>
                    <a:pt x="28631" y="1058912"/>
                    <a:pt x="37968" y="1055800"/>
                  </a:cubicBezTo>
                  <a:cubicBezTo>
                    <a:pt x="44193" y="1062024"/>
                    <a:pt x="53530" y="1065137"/>
                    <a:pt x="59755" y="1055800"/>
                  </a:cubicBezTo>
                  <a:cubicBezTo>
                    <a:pt x="65980" y="1046462"/>
                    <a:pt x="75317" y="1037125"/>
                    <a:pt x="81542" y="1027788"/>
                  </a:cubicBezTo>
                  <a:cubicBezTo>
                    <a:pt x="97104" y="1012226"/>
                    <a:pt x="112666" y="990439"/>
                    <a:pt x="128228" y="971765"/>
                  </a:cubicBezTo>
                  <a:cubicBezTo>
                    <a:pt x="240274" y="834820"/>
                    <a:pt x="380331" y="682313"/>
                    <a:pt x="383444" y="508018"/>
                  </a:cubicBezTo>
                  <a:cubicBezTo>
                    <a:pt x="389669" y="321275"/>
                    <a:pt x="370994" y="137644"/>
                    <a:pt x="255836" y="698"/>
                  </a:cubicBezTo>
                  <a:cubicBezTo>
                    <a:pt x="221599" y="-5526"/>
                    <a:pt x="146902" y="31822"/>
                    <a:pt x="156239" y="34935"/>
                  </a:cubicBezTo>
                  <a:cubicBezTo>
                    <a:pt x="258948" y="69171"/>
                    <a:pt x="296297" y="414647"/>
                    <a:pt x="293184" y="480007"/>
                  </a:cubicBezTo>
                  <a:cubicBezTo>
                    <a:pt x="286960" y="632514"/>
                    <a:pt x="206037" y="738336"/>
                    <a:pt x="128228" y="862831"/>
                  </a:cubicBezTo>
                  <a:cubicBezTo>
                    <a:pt x="106441" y="897067"/>
                    <a:pt x="81542" y="928191"/>
                    <a:pt x="47305" y="953091"/>
                  </a:cubicBezTo>
                  <a:cubicBezTo>
                    <a:pt x="34856" y="962428"/>
                    <a:pt x="22406" y="968653"/>
                    <a:pt x="13069" y="977990"/>
                  </a:cubicBezTo>
                  <a:cubicBezTo>
                    <a:pt x="620" y="1002889"/>
                    <a:pt x="-8718" y="1030900"/>
                    <a:pt x="13069" y="1049575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58E97071-330B-462B-82C2-030E6EB20A80}"/>
                </a:ext>
              </a:extLst>
            </p:cNvPr>
            <p:cNvSpPr/>
            <p:nvPr/>
          </p:nvSpPr>
          <p:spPr>
            <a:xfrm>
              <a:off x="3272808" y="8292941"/>
              <a:ext cx="305339" cy="55285"/>
            </a:xfrm>
            <a:custGeom>
              <a:avLst/>
              <a:gdLst>
                <a:gd name="connsiteX0" fmla="*/ 18157 w 305339"/>
                <a:gd name="connsiteY0" fmla="*/ 818 h 55285"/>
                <a:gd name="connsiteX1" fmla="*/ 285823 w 305339"/>
                <a:gd name="connsiteY1" fmla="*/ 818 h 55285"/>
                <a:gd name="connsiteX2" fmla="*/ 295160 w 305339"/>
                <a:gd name="connsiteY2" fmla="*/ 31942 h 55285"/>
                <a:gd name="connsiteX3" fmla="*/ 8820 w 305339"/>
                <a:gd name="connsiteY3" fmla="*/ 31942 h 55285"/>
                <a:gd name="connsiteX4" fmla="*/ 18157 w 305339"/>
                <a:gd name="connsiteY4" fmla="*/ 818 h 55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339" h="55285">
                  <a:moveTo>
                    <a:pt x="18157" y="818"/>
                  </a:moveTo>
                  <a:cubicBezTo>
                    <a:pt x="108417" y="28830"/>
                    <a:pt x="198676" y="28830"/>
                    <a:pt x="285823" y="818"/>
                  </a:cubicBezTo>
                  <a:cubicBezTo>
                    <a:pt x="304497" y="-5406"/>
                    <a:pt x="313834" y="25718"/>
                    <a:pt x="295160" y="31942"/>
                  </a:cubicBezTo>
                  <a:cubicBezTo>
                    <a:pt x="201788" y="63066"/>
                    <a:pt x="105304" y="63066"/>
                    <a:pt x="8820" y="31942"/>
                  </a:cubicBezTo>
                  <a:cubicBezTo>
                    <a:pt x="-6742" y="25718"/>
                    <a:pt x="-517" y="-5406"/>
                    <a:pt x="18157" y="818"/>
                  </a:cubicBezTo>
                  <a:close/>
                </a:path>
              </a:pathLst>
            </a:custGeom>
            <a:solidFill>
              <a:srgbClr val="F6EBE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9C9F41EF-17DA-45B6-9D23-E7DF6FC76722}"/>
                </a:ext>
              </a:extLst>
            </p:cNvPr>
            <p:cNvSpPr/>
            <p:nvPr/>
          </p:nvSpPr>
          <p:spPr>
            <a:xfrm>
              <a:off x="3903265" y="8833074"/>
              <a:ext cx="290899" cy="162707"/>
            </a:xfrm>
            <a:custGeom>
              <a:avLst/>
              <a:gdLst>
                <a:gd name="connsiteX0" fmla="*/ 10179 w 290899"/>
                <a:gd name="connsiteY0" fmla="*/ 132962 h 162707"/>
                <a:gd name="connsiteX1" fmla="*/ 265395 w 290899"/>
                <a:gd name="connsiteY1" fmla="*/ 5354 h 162707"/>
                <a:gd name="connsiteX2" fmla="*/ 287182 w 290899"/>
                <a:gd name="connsiteY2" fmla="*/ 27141 h 162707"/>
                <a:gd name="connsiteX3" fmla="*/ 19516 w 290899"/>
                <a:gd name="connsiteY3" fmla="*/ 160973 h 162707"/>
                <a:gd name="connsiteX4" fmla="*/ 10179 w 290899"/>
                <a:gd name="connsiteY4" fmla="*/ 132962 h 16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899" h="162707">
                  <a:moveTo>
                    <a:pt x="10179" y="132962"/>
                  </a:moveTo>
                  <a:cubicBezTo>
                    <a:pt x="103551" y="104951"/>
                    <a:pt x="196923" y="76939"/>
                    <a:pt x="265395" y="5354"/>
                  </a:cubicBezTo>
                  <a:cubicBezTo>
                    <a:pt x="277845" y="-10208"/>
                    <a:pt x="299632" y="11579"/>
                    <a:pt x="287182" y="27141"/>
                  </a:cubicBezTo>
                  <a:cubicBezTo>
                    <a:pt x="215597" y="101838"/>
                    <a:pt x="116000" y="132962"/>
                    <a:pt x="19516" y="160973"/>
                  </a:cubicBezTo>
                  <a:cubicBezTo>
                    <a:pt x="842" y="170311"/>
                    <a:pt x="-8495" y="139187"/>
                    <a:pt x="10179" y="132962"/>
                  </a:cubicBezTo>
                  <a:close/>
                </a:path>
              </a:pathLst>
            </a:custGeom>
            <a:solidFill>
              <a:srgbClr val="F6EBE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3E04B375-E753-423D-BD7D-7EE2A122F434}"/>
                </a:ext>
              </a:extLst>
            </p:cNvPr>
            <p:cNvSpPr/>
            <p:nvPr/>
          </p:nvSpPr>
          <p:spPr>
            <a:xfrm>
              <a:off x="2660324" y="8921569"/>
              <a:ext cx="451678" cy="94265"/>
            </a:xfrm>
            <a:custGeom>
              <a:avLst/>
              <a:gdLst>
                <a:gd name="connsiteX0" fmla="*/ 17500 w 451678"/>
                <a:gd name="connsiteY0" fmla="*/ 894 h 94265"/>
                <a:gd name="connsiteX1" fmla="*/ 437673 w 451678"/>
                <a:gd name="connsiteY1" fmla="*/ 63141 h 94265"/>
                <a:gd name="connsiteX2" fmla="*/ 437673 w 451678"/>
                <a:gd name="connsiteY2" fmla="*/ 94265 h 94265"/>
                <a:gd name="connsiteX3" fmla="*/ 11275 w 451678"/>
                <a:gd name="connsiteY3" fmla="*/ 32017 h 94265"/>
                <a:gd name="connsiteX4" fmla="*/ 17500 w 451678"/>
                <a:gd name="connsiteY4" fmla="*/ 894 h 9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1678" h="94265">
                  <a:moveTo>
                    <a:pt x="17500" y="894"/>
                  </a:moveTo>
                  <a:cubicBezTo>
                    <a:pt x="154446" y="44467"/>
                    <a:pt x="294503" y="63141"/>
                    <a:pt x="437673" y="63141"/>
                  </a:cubicBezTo>
                  <a:cubicBezTo>
                    <a:pt x="456348" y="63141"/>
                    <a:pt x="456348" y="94265"/>
                    <a:pt x="437673" y="94265"/>
                  </a:cubicBezTo>
                  <a:cubicBezTo>
                    <a:pt x="291391" y="94265"/>
                    <a:pt x="151333" y="75591"/>
                    <a:pt x="11275" y="32017"/>
                  </a:cubicBezTo>
                  <a:cubicBezTo>
                    <a:pt x="-7399" y="22680"/>
                    <a:pt x="-1174" y="-5332"/>
                    <a:pt x="17500" y="894"/>
                  </a:cubicBezTo>
                  <a:close/>
                </a:path>
              </a:pathLst>
            </a:custGeom>
            <a:solidFill>
              <a:srgbClr val="F6EBE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EB76BDFC-4FE9-4D8A-8805-E5FE910FBE58}"/>
                </a:ext>
              </a:extLst>
            </p:cNvPr>
            <p:cNvSpPr/>
            <p:nvPr/>
          </p:nvSpPr>
          <p:spPr>
            <a:xfrm>
              <a:off x="2982838" y="8405805"/>
              <a:ext cx="125130" cy="582017"/>
            </a:xfrm>
            <a:custGeom>
              <a:avLst/>
              <a:gdLst>
                <a:gd name="connsiteX0" fmla="*/ 115159 w 125130"/>
                <a:gd name="connsiteY0" fmla="*/ 582017 h 582017"/>
                <a:gd name="connsiteX1" fmla="*/ 115159 w 125130"/>
                <a:gd name="connsiteY1" fmla="*/ 582017 h 582017"/>
                <a:gd name="connsiteX2" fmla="*/ 108934 w 125130"/>
                <a:gd name="connsiteY2" fmla="*/ 575793 h 582017"/>
                <a:gd name="connsiteX3" fmla="*/ 115159 w 125130"/>
                <a:gd name="connsiteY3" fmla="*/ 227205 h 582017"/>
                <a:gd name="connsiteX4" fmla="*/ 3112 w 125130"/>
                <a:gd name="connsiteY4" fmla="*/ 9337 h 582017"/>
                <a:gd name="connsiteX5" fmla="*/ 0 w 125130"/>
                <a:gd name="connsiteY5" fmla="*/ 3113 h 582017"/>
                <a:gd name="connsiteX6" fmla="*/ 6225 w 125130"/>
                <a:gd name="connsiteY6" fmla="*/ 0 h 582017"/>
                <a:gd name="connsiteX7" fmla="*/ 124496 w 125130"/>
                <a:gd name="connsiteY7" fmla="*/ 230317 h 582017"/>
                <a:gd name="connsiteX8" fmla="*/ 118271 w 125130"/>
                <a:gd name="connsiteY8" fmla="*/ 578905 h 582017"/>
                <a:gd name="connsiteX9" fmla="*/ 115159 w 125130"/>
                <a:gd name="connsiteY9" fmla="*/ 582017 h 582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5130" h="582017">
                  <a:moveTo>
                    <a:pt x="115159" y="582017"/>
                  </a:moveTo>
                  <a:cubicBezTo>
                    <a:pt x="115159" y="582017"/>
                    <a:pt x="115159" y="582017"/>
                    <a:pt x="115159" y="582017"/>
                  </a:cubicBezTo>
                  <a:cubicBezTo>
                    <a:pt x="112046" y="582017"/>
                    <a:pt x="108934" y="578905"/>
                    <a:pt x="108934" y="575793"/>
                  </a:cubicBezTo>
                  <a:cubicBezTo>
                    <a:pt x="108934" y="572680"/>
                    <a:pt x="118271" y="413948"/>
                    <a:pt x="115159" y="227205"/>
                  </a:cubicBezTo>
                  <a:cubicBezTo>
                    <a:pt x="112046" y="46686"/>
                    <a:pt x="6225" y="9337"/>
                    <a:pt x="3112" y="9337"/>
                  </a:cubicBezTo>
                  <a:cubicBezTo>
                    <a:pt x="0" y="9337"/>
                    <a:pt x="0" y="6225"/>
                    <a:pt x="0" y="3113"/>
                  </a:cubicBezTo>
                  <a:cubicBezTo>
                    <a:pt x="0" y="0"/>
                    <a:pt x="3112" y="0"/>
                    <a:pt x="6225" y="0"/>
                  </a:cubicBezTo>
                  <a:cubicBezTo>
                    <a:pt x="12450" y="0"/>
                    <a:pt x="121383" y="40461"/>
                    <a:pt x="124496" y="230317"/>
                  </a:cubicBezTo>
                  <a:cubicBezTo>
                    <a:pt x="127608" y="417060"/>
                    <a:pt x="118271" y="578905"/>
                    <a:pt x="118271" y="578905"/>
                  </a:cubicBezTo>
                  <a:cubicBezTo>
                    <a:pt x="121383" y="582017"/>
                    <a:pt x="118271" y="582017"/>
                    <a:pt x="115159" y="582017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1917E715-92CD-4FBC-B3D6-D854C29E5E92}"/>
                </a:ext>
              </a:extLst>
            </p:cNvPr>
            <p:cNvSpPr/>
            <p:nvPr/>
          </p:nvSpPr>
          <p:spPr>
            <a:xfrm>
              <a:off x="3284815" y="8696733"/>
              <a:ext cx="123324" cy="202259"/>
            </a:xfrm>
            <a:custGeom>
              <a:avLst/>
              <a:gdLst>
                <a:gd name="connsiteX0" fmla="*/ 18600 w 123324"/>
                <a:gd name="connsiteY0" fmla="*/ 23424 h 202259"/>
                <a:gd name="connsiteX1" fmla="*/ 68398 w 123324"/>
                <a:gd name="connsiteY1" fmla="*/ 1637 h 202259"/>
                <a:gd name="connsiteX2" fmla="*/ 83960 w 123324"/>
                <a:gd name="connsiteY2" fmla="*/ 32761 h 202259"/>
                <a:gd name="connsiteX3" fmla="*/ 80848 w 123324"/>
                <a:gd name="connsiteY3" fmla="*/ 38986 h 202259"/>
                <a:gd name="connsiteX4" fmla="*/ 87073 w 123324"/>
                <a:gd name="connsiteY4" fmla="*/ 38986 h 202259"/>
                <a:gd name="connsiteX5" fmla="*/ 99522 w 123324"/>
                <a:gd name="connsiteY5" fmla="*/ 45211 h 202259"/>
                <a:gd name="connsiteX6" fmla="*/ 99522 w 123324"/>
                <a:gd name="connsiteY6" fmla="*/ 76335 h 202259"/>
                <a:gd name="connsiteX7" fmla="*/ 111972 w 123324"/>
                <a:gd name="connsiteY7" fmla="*/ 126133 h 202259"/>
                <a:gd name="connsiteX8" fmla="*/ 108859 w 123324"/>
                <a:gd name="connsiteY8" fmla="*/ 129245 h 202259"/>
                <a:gd name="connsiteX9" fmla="*/ 121309 w 123324"/>
                <a:gd name="connsiteY9" fmla="*/ 151032 h 202259"/>
                <a:gd name="connsiteX10" fmla="*/ 65286 w 123324"/>
                <a:gd name="connsiteY10" fmla="*/ 200830 h 202259"/>
                <a:gd name="connsiteX11" fmla="*/ 43499 w 123324"/>
                <a:gd name="connsiteY11" fmla="*/ 182156 h 202259"/>
                <a:gd name="connsiteX12" fmla="*/ 27937 w 123324"/>
                <a:gd name="connsiteY12" fmla="*/ 160369 h 202259"/>
                <a:gd name="connsiteX13" fmla="*/ 27937 w 123324"/>
                <a:gd name="connsiteY13" fmla="*/ 157257 h 202259"/>
                <a:gd name="connsiteX14" fmla="*/ 31050 w 123324"/>
                <a:gd name="connsiteY14" fmla="*/ 154144 h 202259"/>
                <a:gd name="connsiteX15" fmla="*/ 37274 w 123324"/>
                <a:gd name="connsiteY15" fmla="*/ 144807 h 202259"/>
                <a:gd name="connsiteX16" fmla="*/ 21712 w 123324"/>
                <a:gd name="connsiteY16" fmla="*/ 135470 h 202259"/>
                <a:gd name="connsiteX17" fmla="*/ 24825 w 123324"/>
                <a:gd name="connsiteY17" fmla="*/ 101234 h 202259"/>
                <a:gd name="connsiteX18" fmla="*/ 15488 w 123324"/>
                <a:gd name="connsiteY18" fmla="*/ 98121 h 202259"/>
                <a:gd name="connsiteX19" fmla="*/ 18600 w 123324"/>
                <a:gd name="connsiteY19" fmla="*/ 23424 h 202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324" h="202259">
                  <a:moveTo>
                    <a:pt x="18600" y="23424"/>
                  </a:moveTo>
                  <a:cubicBezTo>
                    <a:pt x="31050" y="7862"/>
                    <a:pt x="55949" y="-4588"/>
                    <a:pt x="68398" y="1637"/>
                  </a:cubicBezTo>
                  <a:cubicBezTo>
                    <a:pt x="77735" y="4750"/>
                    <a:pt x="87073" y="23424"/>
                    <a:pt x="83960" y="32761"/>
                  </a:cubicBezTo>
                  <a:cubicBezTo>
                    <a:pt x="83960" y="35873"/>
                    <a:pt x="80848" y="35873"/>
                    <a:pt x="80848" y="38986"/>
                  </a:cubicBezTo>
                  <a:cubicBezTo>
                    <a:pt x="83960" y="38986"/>
                    <a:pt x="83960" y="38986"/>
                    <a:pt x="87073" y="38986"/>
                  </a:cubicBezTo>
                  <a:cubicBezTo>
                    <a:pt x="90185" y="38986"/>
                    <a:pt x="96410" y="42098"/>
                    <a:pt x="99522" y="45211"/>
                  </a:cubicBezTo>
                  <a:cubicBezTo>
                    <a:pt x="108859" y="54548"/>
                    <a:pt x="108859" y="66997"/>
                    <a:pt x="99522" y="76335"/>
                  </a:cubicBezTo>
                  <a:cubicBezTo>
                    <a:pt x="118197" y="82559"/>
                    <a:pt x="124421" y="107459"/>
                    <a:pt x="111972" y="126133"/>
                  </a:cubicBezTo>
                  <a:cubicBezTo>
                    <a:pt x="111972" y="126133"/>
                    <a:pt x="111972" y="126133"/>
                    <a:pt x="108859" y="129245"/>
                  </a:cubicBezTo>
                  <a:cubicBezTo>
                    <a:pt x="118197" y="129245"/>
                    <a:pt x="127534" y="138582"/>
                    <a:pt x="121309" y="151032"/>
                  </a:cubicBezTo>
                  <a:cubicBezTo>
                    <a:pt x="108859" y="172818"/>
                    <a:pt x="90185" y="191493"/>
                    <a:pt x="65286" y="200830"/>
                  </a:cubicBezTo>
                  <a:cubicBezTo>
                    <a:pt x="49724" y="207055"/>
                    <a:pt x="40387" y="191493"/>
                    <a:pt x="43499" y="182156"/>
                  </a:cubicBezTo>
                  <a:cubicBezTo>
                    <a:pt x="34162" y="182156"/>
                    <a:pt x="24825" y="169706"/>
                    <a:pt x="27937" y="160369"/>
                  </a:cubicBezTo>
                  <a:cubicBezTo>
                    <a:pt x="27937" y="160369"/>
                    <a:pt x="27937" y="160369"/>
                    <a:pt x="27937" y="157257"/>
                  </a:cubicBezTo>
                  <a:cubicBezTo>
                    <a:pt x="27937" y="157257"/>
                    <a:pt x="27937" y="154144"/>
                    <a:pt x="31050" y="154144"/>
                  </a:cubicBezTo>
                  <a:cubicBezTo>
                    <a:pt x="34162" y="151032"/>
                    <a:pt x="34162" y="147920"/>
                    <a:pt x="37274" y="144807"/>
                  </a:cubicBezTo>
                  <a:cubicBezTo>
                    <a:pt x="31050" y="144807"/>
                    <a:pt x="21712" y="141695"/>
                    <a:pt x="21712" y="135470"/>
                  </a:cubicBezTo>
                  <a:cubicBezTo>
                    <a:pt x="18600" y="126133"/>
                    <a:pt x="18600" y="113683"/>
                    <a:pt x="24825" y="101234"/>
                  </a:cubicBezTo>
                  <a:cubicBezTo>
                    <a:pt x="21712" y="101234"/>
                    <a:pt x="15488" y="101234"/>
                    <a:pt x="15488" y="98121"/>
                  </a:cubicBezTo>
                  <a:cubicBezTo>
                    <a:pt x="-12524" y="79447"/>
                    <a:pt x="3038" y="42098"/>
                    <a:pt x="18600" y="23424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3DF2E88D-8825-4C67-8404-50315C24C97C}"/>
                </a:ext>
              </a:extLst>
            </p:cNvPr>
            <p:cNvSpPr/>
            <p:nvPr/>
          </p:nvSpPr>
          <p:spPr>
            <a:xfrm>
              <a:off x="2718912" y="8791552"/>
              <a:ext cx="550266" cy="846388"/>
            </a:xfrm>
            <a:custGeom>
              <a:avLst/>
              <a:gdLst>
                <a:gd name="connsiteX0" fmla="*/ 550266 w 550266"/>
                <a:gd name="connsiteY0" fmla="*/ 143359 h 846388"/>
                <a:gd name="connsiteX1" fmla="*/ 183004 w 550266"/>
                <a:gd name="connsiteY1" fmla="*/ 837423 h 846388"/>
                <a:gd name="connsiteX2" fmla="*/ 5597 w 550266"/>
                <a:gd name="connsiteY2" fmla="*/ 672466 h 846388"/>
                <a:gd name="connsiteX3" fmla="*/ 488018 w 550266"/>
                <a:gd name="connsiteY3" fmla="*/ 189 h 846388"/>
                <a:gd name="connsiteX4" fmla="*/ 550266 w 550266"/>
                <a:gd name="connsiteY4" fmla="*/ 143359 h 846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266" h="846388">
                  <a:moveTo>
                    <a:pt x="550266" y="143359"/>
                  </a:moveTo>
                  <a:cubicBezTo>
                    <a:pt x="550266" y="143359"/>
                    <a:pt x="267038" y="800074"/>
                    <a:pt x="183004" y="837423"/>
                  </a:cubicBezTo>
                  <a:cubicBezTo>
                    <a:pt x="102082" y="874772"/>
                    <a:pt x="-28639" y="790737"/>
                    <a:pt x="5597" y="672466"/>
                  </a:cubicBezTo>
                  <a:cubicBezTo>
                    <a:pt x="39834" y="557308"/>
                    <a:pt x="481793" y="6414"/>
                    <a:pt x="488018" y="189"/>
                  </a:cubicBezTo>
                  <a:cubicBezTo>
                    <a:pt x="494243" y="-6035"/>
                    <a:pt x="550266" y="143359"/>
                    <a:pt x="550266" y="143359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B6610ADE-E65F-4C0F-843B-CA0799DFC9F9}"/>
                </a:ext>
              </a:extLst>
            </p:cNvPr>
            <p:cNvSpPr/>
            <p:nvPr/>
          </p:nvSpPr>
          <p:spPr>
            <a:xfrm>
              <a:off x="2833444" y="9091310"/>
              <a:ext cx="142391" cy="167290"/>
            </a:xfrm>
            <a:custGeom>
              <a:avLst/>
              <a:gdLst>
                <a:gd name="connsiteX0" fmla="*/ 6225 w 142391"/>
                <a:gd name="connsiteY0" fmla="*/ 167291 h 167290"/>
                <a:gd name="connsiteX1" fmla="*/ 6225 w 142391"/>
                <a:gd name="connsiteY1" fmla="*/ 167291 h 167290"/>
                <a:gd name="connsiteX2" fmla="*/ 0 w 142391"/>
                <a:gd name="connsiteY2" fmla="*/ 157954 h 167290"/>
                <a:gd name="connsiteX3" fmla="*/ 130720 w 142391"/>
                <a:gd name="connsiteY3" fmla="*/ 2334 h 167290"/>
                <a:gd name="connsiteX4" fmla="*/ 140058 w 142391"/>
                <a:gd name="connsiteY4" fmla="*/ 2334 h 167290"/>
                <a:gd name="connsiteX5" fmla="*/ 140058 w 142391"/>
                <a:gd name="connsiteY5" fmla="*/ 11671 h 167290"/>
                <a:gd name="connsiteX6" fmla="*/ 9337 w 142391"/>
                <a:gd name="connsiteY6" fmla="*/ 167291 h 167290"/>
                <a:gd name="connsiteX7" fmla="*/ 6225 w 142391"/>
                <a:gd name="connsiteY7" fmla="*/ 167291 h 16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391" h="167290">
                  <a:moveTo>
                    <a:pt x="6225" y="167291"/>
                  </a:moveTo>
                  <a:cubicBezTo>
                    <a:pt x="3112" y="167291"/>
                    <a:pt x="3112" y="167291"/>
                    <a:pt x="6225" y="167291"/>
                  </a:cubicBezTo>
                  <a:cubicBezTo>
                    <a:pt x="0" y="164179"/>
                    <a:pt x="0" y="161066"/>
                    <a:pt x="0" y="157954"/>
                  </a:cubicBezTo>
                  <a:cubicBezTo>
                    <a:pt x="37349" y="95706"/>
                    <a:pt x="127608" y="5447"/>
                    <a:pt x="130720" y="2334"/>
                  </a:cubicBezTo>
                  <a:cubicBezTo>
                    <a:pt x="133833" y="-778"/>
                    <a:pt x="136945" y="-778"/>
                    <a:pt x="140058" y="2334"/>
                  </a:cubicBezTo>
                  <a:cubicBezTo>
                    <a:pt x="143170" y="5447"/>
                    <a:pt x="143170" y="8559"/>
                    <a:pt x="140058" y="11671"/>
                  </a:cubicBezTo>
                  <a:cubicBezTo>
                    <a:pt x="140058" y="11671"/>
                    <a:pt x="46686" y="105043"/>
                    <a:pt x="9337" y="167291"/>
                  </a:cubicBezTo>
                  <a:cubicBezTo>
                    <a:pt x="9337" y="167291"/>
                    <a:pt x="6225" y="167291"/>
                    <a:pt x="6225" y="167291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8" name="图形 1">
              <a:extLst>
                <a:ext uri="{FF2B5EF4-FFF2-40B4-BE49-F238E27FC236}">
                  <a16:creationId xmlns:a16="http://schemas.microsoft.com/office/drawing/2014/main" id="{F3E78D04-DF4D-458A-A644-DDA7A5280ED5}"/>
                </a:ext>
              </a:extLst>
            </p:cNvPr>
            <p:cNvGrpSpPr/>
            <p:nvPr/>
          </p:nvGrpSpPr>
          <p:grpSpPr>
            <a:xfrm>
              <a:off x="3194792" y="8649161"/>
              <a:ext cx="213376" cy="299826"/>
              <a:chOff x="3194792" y="8649161"/>
              <a:chExt cx="213376" cy="299826"/>
            </a:xfrm>
          </p:grpSpPr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BB414766-D999-4A6A-AD8B-E15E41700D65}"/>
                  </a:ext>
                </a:extLst>
              </p:cNvPr>
              <p:cNvSpPr/>
              <p:nvPr/>
            </p:nvSpPr>
            <p:spPr>
              <a:xfrm>
                <a:off x="3194792" y="8649161"/>
                <a:ext cx="105510" cy="172125"/>
              </a:xfrm>
              <a:custGeom>
                <a:avLst/>
                <a:gdLst>
                  <a:gd name="connsiteX0" fmla="*/ 21476 w 105510"/>
                  <a:gd name="connsiteY0" fmla="*/ 52322 h 172125"/>
                  <a:gd name="connsiteX1" fmla="*/ 80612 w 105510"/>
                  <a:gd name="connsiteY1" fmla="*/ 2523 h 172125"/>
                  <a:gd name="connsiteX2" fmla="*/ 105511 w 105510"/>
                  <a:gd name="connsiteY2" fmla="*/ 24311 h 172125"/>
                  <a:gd name="connsiteX3" fmla="*/ 68162 w 105510"/>
                  <a:gd name="connsiteY3" fmla="*/ 80333 h 172125"/>
                  <a:gd name="connsiteX4" fmla="*/ 43263 w 105510"/>
                  <a:gd name="connsiteY4" fmla="*/ 142581 h 172125"/>
                  <a:gd name="connsiteX5" fmla="*/ 30813 w 105510"/>
                  <a:gd name="connsiteY5" fmla="*/ 148806 h 172125"/>
                  <a:gd name="connsiteX6" fmla="*/ 5914 w 105510"/>
                  <a:gd name="connsiteY6" fmla="*/ 167480 h 172125"/>
                  <a:gd name="connsiteX7" fmla="*/ 21476 w 105510"/>
                  <a:gd name="connsiteY7" fmla="*/ 52322 h 172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5510" h="172125">
                    <a:moveTo>
                      <a:pt x="21476" y="52322"/>
                    </a:moveTo>
                    <a:cubicBezTo>
                      <a:pt x="37038" y="30535"/>
                      <a:pt x="58825" y="14973"/>
                      <a:pt x="80612" y="2523"/>
                    </a:cubicBezTo>
                    <a:cubicBezTo>
                      <a:pt x="96173" y="-6813"/>
                      <a:pt x="105511" y="11861"/>
                      <a:pt x="105511" y="24311"/>
                    </a:cubicBezTo>
                    <a:cubicBezTo>
                      <a:pt x="99286" y="49209"/>
                      <a:pt x="80612" y="61659"/>
                      <a:pt x="68162" y="80333"/>
                    </a:cubicBezTo>
                    <a:cubicBezTo>
                      <a:pt x="55712" y="99008"/>
                      <a:pt x="58825" y="123907"/>
                      <a:pt x="43263" y="142581"/>
                    </a:cubicBezTo>
                    <a:cubicBezTo>
                      <a:pt x="40150" y="145694"/>
                      <a:pt x="37038" y="148806"/>
                      <a:pt x="30813" y="148806"/>
                    </a:cubicBezTo>
                    <a:cubicBezTo>
                      <a:pt x="21476" y="155031"/>
                      <a:pt x="12139" y="183042"/>
                      <a:pt x="5914" y="167480"/>
                    </a:cubicBezTo>
                    <a:cubicBezTo>
                      <a:pt x="-9648" y="123907"/>
                      <a:pt x="9027" y="74109"/>
                      <a:pt x="21476" y="5232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09C117C4-FEF0-4B04-995E-1410EF90F2A4}"/>
                  </a:ext>
                </a:extLst>
              </p:cNvPr>
              <p:cNvSpPr/>
              <p:nvPr/>
            </p:nvSpPr>
            <p:spPr>
              <a:xfrm>
                <a:off x="3201929" y="8698370"/>
                <a:ext cx="165352" cy="250617"/>
              </a:xfrm>
              <a:custGeom>
                <a:avLst/>
                <a:gdLst>
                  <a:gd name="connsiteX0" fmla="*/ 129498 w 165352"/>
                  <a:gd name="connsiteY0" fmla="*/ 0 h 250617"/>
                  <a:gd name="connsiteX1" fmla="*/ 1890 w 165352"/>
                  <a:gd name="connsiteY1" fmla="*/ 108934 h 250617"/>
                  <a:gd name="connsiteX2" fmla="*/ 48575 w 165352"/>
                  <a:gd name="connsiteY2" fmla="*/ 245879 h 250617"/>
                  <a:gd name="connsiteX3" fmla="*/ 157509 w 165352"/>
                  <a:gd name="connsiteY3" fmla="*/ 192969 h 250617"/>
                  <a:gd name="connsiteX4" fmla="*/ 129498 w 165352"/>
                  <a:gd name="connsiteY4" fmla="*/ 0 h 250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352" h="250617">
                    <a:moveTo>
                      <a:pt x="129498" y="0"/>
                    </a:moveTo>
                    <a:cubicBezTo>
                      <a:pt x="129498" y="0"/>
                      <a:pt x="39238" y="37349"/>
                      <a:pt x="1890" y="108934"/>
                    </a:cubicBezTo>
                    <a:cubicBezTo>
                      <a:pt x="-10560" y="130721"/>
                      <a:pt x="42351" y="224093"/>
                      <a:pt x="48575" y="245879"/>
                    </a:cubicBezTo>
                    <a:cubicBezTo>
                      <a:pt x="54800" y="264553"/>
                      <a:pt x="132610" y="224093"/>
                      <a:pt x="157509" y="192969"/>
                    </a:cubicBezTo>
                    <a:cubicBezTo>
                      <a:pt x="185521" y="164957"/>
                      <a:pt x="129498" y="0"/>
                      <a:pt x="129498" y="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A86B151B-6A77-4FE2-91BD-E60F45A9B3BC}"/>
                  </a:ext>
                </a:extLst>
              </p:cNvPr>
              <p:cNvSpPr/>
              <p:nvPr/>
            </p:nvSpPr>
            <p:spPr>
              <a:xfrm>
                <a:off x="3238833" y="8694306"/>
                <a:ext cx="169335" cy="218819"/>
              </a:xfrm>
              <a:custGeom>
                <a:avLst/>
                <a:gdLst>
                  <a:gd name="connsiteX0" fmla="*/ 108156 w 169335"/>
                  <a:gd name="connsiteY0" fmla="*/ 218820 h 218819"/>
                  <a:gd name="connsiteX1" fmla="*/ 101931 w 169335"/>
                  <a:gd name="connsiteY1" fmla="*/ 215707 h 218819"/>
                  <a:gd name="connsiteX2" fmla="*/ 105043 w 169335"/>
                  <a:gd name="connsiteY2" fmla="*/ 206370 h 218819"/>
                  <a:gd name="connsiteX3" fmla="*/ 154841 w 169335"/>
                  <a:gd name="connsiteY3" fmla="*/ 162797 h 218819"/>
                  <a:gd name="connsiteX4" fmla="*/ 157954 w 169335"/>
                  <a:gd name="connsiteY4" fmla="*/ 144122 h 218819"/>
                  <a:gd name="connsiteX5" fmla="*/ 151729 w 169335"/>
                  <a:gd name="connsiteY5" fmla="*/ 137897 h 218819"/>
                  <a:gd name="connsiteX6" fmla="*/ 148617 w 169335"/>
                  <a:gd name="connsiteY6" fmla="*/ 134785 h 218819"/>
                  <a:gd name="connsiteX7" fmla="*/ 148617 w 169335"/>
                  <a:gd name="connsiteY7" fmla="*/ 128560 h 218819"/>
                  <a:gd name="connsiteX8" fmla="*/ 154841 w 169335"/>
                  <a:gd name="connsiteY8" fmla="*/ 100549 h 218819"/>
                  <a:gd name="connsiteX9" fmla="*/ 145504 w 169335"/>
                  <a:gd name="connsiteY9" fmla="*/ 91212 h 218819"/>
                  <a:gd name="connsiteX10" fmla="*/ 142392 w 169335"/>
                  <a:gd name="connsiteY10" fmla="*/ 84987 h 218819"/>
                  <a:gd name="connsiteX11" fmla="*/ 142392 w 169335"/>
                  <a:gd name="connsiteY11" fmla="*/ 60088 h 218819"/>
                  <a:gd name="connsiteX12" fmla="*/ 120605 w 169335"/>
                  <a:gd name="connsiteY12" fmla="*/ 53863 h 218819"/>
                  <a:gd name="connsiteX13" fmla="*/ 114380 w 169335"/>
                  <a:gd name="connsiteY13" fmla="*/ 50750 h 218819"/>
                  <a:gd name="connsiteX14" fmla="*/ 114380 w 169335"/>
                  <a:gd name="connsiteY14" fmla="*/ 44526 h 218819"/>
                  <a:gd name="connsiteX15" fmla="*/ 123718 w 169335"/>
                  <a:gd name="connsiteY15" fmla="*/ 19626 h 218819"/>
                  <a:gd name="connsiteX16" fmla="*/ 114380 w 169335"/>
                  <a:gd name="connsiteY16" fmla="*/ 13402 h 218819"/>
                  <a:gd name="connsiteX17" fmla="*/ 11671 w 169335"/>
                  <a:gd name="connsiteY17" fmla="*/ 69425 h 218819"/>
                  <a:gd name="connsiteX18" fmla="*/ 2334 w 169335"/>
                  <a:gd name="connsiteY18" fmla="*/ 69425 h 218819"/>
                  <a:gd name="connsiteX19" fmla="*/ 2334 w 169335"/>
                  <a:gd name="connsiteY19" fmla="*/ 60088 h 218819"/>
                  <a:gd name="connsiteX20" fmla="*/ 117493 w 169335"/>
                  <a:gd name="connsiteY20" fmla="*/ 952 h 218819"/>
                  <a:gd name="connsiteX21" fmla="*/ 133055 w 169335"/>
                  <a:gd name="connsiteY21" fmla="*/ 16514 h 218819"/>
                  <a:gd name="connsiteX22" fmla="*/ 129942 w 169335"/>
                  <a:gd name="connsiteY22" fmla="*/ 41414 h 218819"/>
                  <a:gd name="connsiteX23" fmla="*/ 151729 w 169335"/>
                  <a:gd name="connsiteY23" fmla="*/ 50750 h 218819"/>
                  <a:gd name="connsiteX24" fmla="*/ 154841 w 169335"/>
                  <a:gd name="connsiteY24" fmla="*/ 84987 h 218819"/>
                  <a:gd name="connsiteX25" fmla="*/ 167291 w 169335"/>
                  <a:gd name="connsiteY25" fmla="*/ 100549 h 218819"/>
                  <a:gd name="connsiteX26" fmla="*/ 161066 w 169335"/>
                  <a:gd name="connsiteY26" fmla="*/ 134785 h 218819"/>
                  <a:gd name="connsiteX27" fmla="*/ 167291 w 169335"/>
                  <a:gd name="connsiteY27" fmla="*/ 144122 h 218819"/>
                  <a:gd name="connsiteX28" fmla="*/ 164179 w 169335"/>
                  <a:gd name="connsiteY28" fmla="*/ 172134 h 218819"/>
                  <a:gd name="connsiteX29" fmla="*/ 108156 w 169335"/>
                  <a:gd name="connsiteY29" fmla="*/ 218820 h 218819"/>
                  <a:gd name="connsiteX30" fmla="*/ 108156 w 169335"/>
                  <a:gd name="connsiteY30" fmla="*/ 218820 h 218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69335" h="218819">
                    <a:moveTo>
                      <a:pt x="108156" y="218820"/>
                    </a:moveTo>
                    <a:cubicBezTo>
                      <a:pt x="105043" y="218820"/>
                      <a:pt x="105043" y="218820"/>
                      <a:pt x="101931" y="215707"/>
                    </a:cubicBezTo>
                    <a:cubicBezTo>
                      <a:pt x="101931" y="212595"/>
                      <a:pt x="101931" y="209483"/>
                      <a:pt x="105043" y="206370"/>
                    </a:cubicBezTo>
                    <a:cubicBezTo>
                      <a:pt x="105043" y="206370"/>
                      <a:pt x="145504" y="187696"/>
                      <a:pt x="154841" y="162797"/>
                    </a:cubicBezTo>
                    <a:cubicBezTo>
                      <a:pt x="157954" y="153459"/>
                      <a:pt x="157954" y="147235"/>
                      <a:pt x="157954" y="144122"/>
                    </a:cubicBezTo>
                    <a:cubicBezTo>
                      <a:pt x="154841" y="141010"/>
                      <a:pt x="151729" y="137897"/>
                      <a:pt x="151729" y="137897"/>
                    </a:cubicBezTo>
                    <a:cubicBezTo>
                      <a:pt x="148617" y="137897"/>
                      <a:pt x="148617" y="134785"/>
                      <a:pt x="148617" y="134785"/>
                    </a:cubicBezTo>
                    <a:cubicBezTo>
                      <a:pt x="148617" y="131673"/>
                      <a:pt x="148617" y="131673"/>
                      <a:pt x="148617" y="128560"/>
                    </a:cubicBezTo>
                    <a:cubicBezTo>
                      <a:pt x="154841" y="116111"/>
                      <a:pt x="157954" y="106773"/>
                      <a:pt x="154841" y="100549"/>
                    </a:cubicBezTo>
                    <a:cubicBezTo>
                      <a:pt x="151729" y="94324"/>
                      <a:pt x="145504" y="91212"/>
                      <a:pt x="145504" y="91212"/>
                    </a:cubicBezTo>
                    <a:cubicBezTo>
                      <a:pt x="142392" y="91212"/>
                      <a:pt x="139279" y="88099"/>
                      <a:pt x="142392" y="84987"/>
                    </a:cubicBezTo>
                    <a:cubicBezTo>
                      <a:pt x="145504" y="75650"/>
                      <a:pt x="148617" y="66312"/>
                      <a:pt x="142392" y="60088"/>
                    </a:cubicBezTo>
                    <a:cubicBezTo>
                      <a:pt x="136167" y="50750"/>
                      <a:pt x="120605" y="53863"/>
                      <a:pt x="120605" y="53863"/>
                    </a:cubicBezTo>
                    <a:cubicBezTo>
                      <a:pt x="117493" y="53863"/>
                      <a:pt x="114380" y="53863"/>
                      <a:pt x="114380" y="50750"/>
                    </a:cubicBezTo>
                    <a:cubicBezTo>
                      <a:pt x="114380" y="47638"/>
                      <a:pt x="114380" y="44526"/>
                      <a:pt x="114380" y="44526"/>
                    </a:cubicBezTo>
                    <a:cubicBezTo>
                      <a:pt x="117493" y="41414"/>
                      <a:pt x="126830" y="28964"/>
                      <a:pt x="123718" y="19626"/>
                    </a:cubicBezTo>
                    <a:cubicBezTo>
                      <a:pt x="123718" y="19626"/>
                      <a:pt x="123718" y="13402"/>
                      <a:pt x="114380" y="13402"/>
                    </a:cubicBezTo>
                    <a:cubicBezTo>
                      <a:pt x="95706" y="7177"/>
                      <a:pt x="39683" y="44526"/>
                      <a:pt x="11671" y="69425"/>
                    </a:cubicBezTo>
                    <a:cubicBezTo>
                      <a:pt x="8559" y="72537"/>
                      <a:pt x="5447" y="72537"/>
                      <a:pt x="2334" y="69425"/>
                    </a:cubicBezTo>
                    <a:cubicBezTo>
                      <a:pt x="-778" y="66312"/>
                      <a:pt x="-778" y="63200"/>
                      <a:pt x="2334" y="60088"/>
                    </a:cubicBezTo>
                    <a:cubicBezTo>
                      <a:pt x="11671" y="53863"/>
                      <a:pt x="86369" y="-8385"/>
                      <a:pt x="117493" y="952"/>
                    </a:cubicBezTo>
                    <a:cubicBezTo>
                      <a:pt x="129942" y="4064"/>
                      <a:pt x="133055" y="10290"/>
                      <a:pt x="133055" y="16514"/>
                    </a:cubicBezTo>
                    <a:cubicBezTo>
                      <a:pt x="136167" y="25852"/>
                      <a:pt x="133055" y="35188"/>
                      <a:pt x="129942" y="41414"/>
                    </a:cubicBezTo>
                    <a:cubicBezTo>
                      <a:pt x="136167" y="41414"/>
                      <a:pt x="145504" y="44526"/>
                      <a:pt x="151729" y="50750"/>
                    </a:cubicBezTo>
                    <a:cubicBezTo>
                      <a:pt x="157954" y="56975"/>
                      <a:pt x="157954" y="69425"/>
                      <a:pt x="154841" y="84987"/>
                    </a:cubicBezTo>
                    <a:cubicBezTo>
                      <a:pt x="157954" y="88099"/>
                      <a:pt x="164179" y="91212"/>
                      <a:pt x="167291" y="100549"/>
                    </a:cubicBezTo>
                    <a:cubicBezTo>
                      <a:pt x="170403" y="109886"/>
                      <a:pt x="170403" y="122335"/>
                      <a:pt x="161066" y="134785"/>
                    </a:cubicBezTo>
                    <a:cubicBezTo>
                      <a:pt x="164179" y="137897"/>
                      <a:pt x="167291" y="141010"/>
                      <a:pt x="167291" y="144122"/>
                    </a:cubicBezTo>
                    <a:cubicBezTo>
                      <a:pt x="170403" y="153459"/>
                      <a:pt x="170403" y="162797"/>
                      <a:pt x="164179" y="172134"/>
                    </a:cubicBezTo>
                    <a:cubicBezTo>
                      <a:pt x="154841" y="197033"/>
                      <a:pt x="111268" y="215707"/>
                      <a:pt x="108156" y="218820"/>
                    </a:cubicBezTo>
                    <a:cubicBezTo>
                      <a:pt x="108156" y="218820"/>
                      <a:pt x="108156" y="218820"/>
                      <a:pt x="108156" y="21882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3B531E6A-84DF-4378-B3A2-F5EF5FE17EB6}"/>
                </a:ext>
              </a:extLst>
            </p:cNvPr>
            <p:cNvSpPr/>
            <p:nvPr/>
          </p:nvSpPr>
          <p:spPr>
            <a:xfrm>
              <a:off x="4268256" y="9271050"/>
              <a:ext cx="59135" cy="99596"/>
            </a:xfrm>
            <a:custGeom>
              <a:avLst/>
              <a:gdLst>
                <a:gd name="connsiteX0" fmla="*/ 6225 w 59135"/>
                <a:gd name="connsiteY0" fmla="*/ 99596 h 99596"/>
                <a:gd name="connsiteX1" fmla="*/ 6225 w 59135"/>
                <a:gd name="connsiteY1" fmla="*/ 99596 h 99596"/>
                <a:gd name="connsiteX2" fmla="*/ 0 w 59135"/>
                <a:gd name="connsiteY2" fmla="*/ 90259 h 99596"/>
                <a:gd name="connsiteX3" fmla="*/ 46686 w 59135"/>
                <a:gd name="connsiteY3" fmla="*/ 3112 h 99596"/>
                <a:gd name="connsiteX4" fmla="*/ 56023 w 59135"/>
                <a:gd name="connsiteY4" fmla="*/ 0 h 99596"/>
                <a:gd name="connsiteX5" fmla="*/ 59135 w 59135"/>
                <a:gd name="connsiteY5" fmla="*/ 9337 h 99596"/>
                <a:gd name="connsiteX6" fmla="*/ 12449 w 59135"/>
                <a:gd name="connsiteY6" fmla="*/ 96484 h 99596"/>
                <a:gd name="connsiteX7" fmla="*/ 6225 w 59135"/>
                <a:gd name="connsiteY7" fmla="*/ 99596 h 99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135" h="99596">
                  <a:moveTo>
                    <a:pt x="6225" y="99596"/>
                  </a:moveTo>
                  <a:cubicBezTo>
                    <a:pt x="6225" y="99596"/>
                    <a:pt x="3112" y="99596"/>
                    <a:pt x="6225" y="99596"/>
                  </a:cubicBezTo>
                  <a:cubicBezTo>
                    <a:pt x="0" y="96484"/>
                    <a:pt x="0" y="93372"/>
                    <a:pt x="0" y="90259"/>
                  </a:cubicBezTo>
                  <a:lnTo>
                    <a:pt x="46686" y="3112"/>
                  </a:lnTo>
                  <a:cubicBezTo>
                    <a:pt x="49798" y="0"/>
                    <a:pt x="52911" y="0"/>
                    <a:pt x="56023" y="0"/>
                  </a:cubicBezTo>
                  <a:cubicBezTo>
                    <a:pt x="59135" y="0"/>
                    <a:pt x="59135" y="6225"/>
                    <a:pt x="59135" y="9337"/>
                  </a:cubicBezTo>
                  <a:lnTo>
                    <a:pt x="12449" y="96484"/>
                  </a:lnTo>
                  <a:cubicBezTo>
                    <a:pt x="9337" y="99596"/>
                    <a:pt x="9337" y="99596"/>
                    <a:pt x="6225" y="99596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0" name="图形 1">
              <a:extLst>
                <a:ext uri="{FF2B5EF4-FFF2-40B4-BE49-F238E27FC236}">
                  <a16:creationId xmlns:a16="http://schemas.microsoft.com/office/drawing/2014/main" id="{E1F71CC3-C314-43AD-B6CF-E1CD41E7E737}"/>
                </a:ext>
              </a:extLst>
            </p:cNvPr>
            <p:cNvGrpSpPr/>
            <p:nvPr/>
          </p:nvGrpSpPr>
          <p:grpSpPr>
            <a:xfrm>
              <a:off x="4557938" y="8768751"/>
              <a:ext cx="367438" cy="353052"/>
              <a:chOff x="4557938" y="8768751"/>
              <a:chExt cx="367438" cy="353052"/>
            </a:xfrm>
          </p:grpSpPr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63637E39-4EEE-4346-A6B8-9EC92C856474}"/>
                  </a:ext>
                </a:extLst>
              </p:cNvPr>
              <p:cNvSpPr/>
              <p:nvPr/>
            </p:nvSpPr>
            <p:spPr>
              <a:xfrm>
                <a:off x="4557938" y="8768751"/>
                <a:ext cx="351471" cy="353052"/>
              </a:xfrm>
              <a:custGeom>
                <a:avLst/>
                <a:gdLst>
                  <a:gd name="connsiteX0" fmla="*/ 332797 w 351471"/>
                  <a:gd name="connsiteY0" fmla="*/ 166161 h 353052"/>
                  <a:gd name="connsiteX1" fmla="*/ 311010 w 351471"/>
                  <a:gd name="connsiteY1" fmla="*/ 156824 h 353052"/>
                  <a:gd name="connsiteX2" fmla="*/ 301673 w 351471"/>
                  <a:gd name="connsiteY2" fmla="*/ 159936 h 353052"/>
                  <a:gd name="connsiteX3" fmla="*/ 326572 w 351471"/>
                  <a:gd name="connsiteY3" fmla="*/ 138150 h 353052"/>
                  <a:gd name="connsiteX4" fmla="*/ 351472 w 351471"/>
                  <a:gd name="connsiteY4" fmla="*/ 85239 h 353052"/>
                  <a:gd name="connsiteX5" fmla="*/ 345247 w 351471"/>
                  <a:gd name="connsiteY5" fmla="*/ 79014 h 353052"/>
                  <a:gd name="connsiteX6" fmla="*/ 342134 w 351471"/>
                  <a:gd name="connsiteY6" fmla="*/ 79014 h 353052"/>
                  <a:gd name="connsiteX7" fmla="*/ 345247 w 351471"/>
                  <a:gd name="connsiteY7" fmla="*/ 41665 h 353052"/>
                  <a:gd name="connsiteX8" fmla="*/ 314123 w 351471"/>
                  <a:gd name="connsiteY8" fmla="*/ 26103 h 353052"/>
                  <a:gd name="connsiteX9" fmla="*/ 261212 w 351471"/>
                  <a:gd name="connsiteY9" fmla="*/ 63452 h 353052"/>
                  <a:gd name="connsiteX10" fmla="*/ 189627 w 351471"/>
                  <a:gd name="connsiteY10" fmla="*/ 119475 h 353052"/>
                  <a:gd name="connsiteX11" fmla="*/ 230088 w 351471"/>
                  <a:gd name="connsiteY11" fmla="*/ 60340 h 353052"/>
                  <a:gd name="connsiteX12" fmla="*/ 258100 w 351471"/>
                  <a:gd name="connsiteY12" fmla="*/ 13654 h 353052"/>
                  <a:gd name="connsiteX13" fmla="*/ 217639 w 351471"/>
                  <a:gd name="connsiteY13" fmla="*/ 10541 h 353052"/>
                  <a:gd name="connsiteX14" fmla="*/ 77581 w 351471"/>
                  <a:gd name="connsiteY14" fmla="*/ 181723 h 353052"/>
                  <a:gd name="connsiteX15" fmla="*/ 83806 w 351471"/>
                  <a:gd name="connsiteY15" fmla="*/ 66565 h 353052"/>
                  <a:gd name="connsiteX16" fmla="*/ 62019 w 351471"/>
                  <a:gd name="connsiteY16" fmla="*/ 57227 h 353052"/>
                  <a:gd name="connsiteX17" fmla="*/ 18445 w 351471"/>
                  <a:gd name="connsiteY17" fmla="*/ 293769 h 353052"/>
                  <a:gd name="connsiteX18" fmla="*/ 18445 w 351471"/>
                  <a:gd name="connsiteY18" fmla="*/ 296881 h 353052"/>
                  <a:gd name="connsiteX19" fmla="*/ 15333 w 351471"/>
                  <a:gd name="connsiteY19" fmla="*/ 303106 h 353052"/>
                  <a:gd name="connsiteX20" fmla="*/ 114930 w 351471"/>
                  <a:gd name="connsiteY20" fmla="*/ 352904 h 353052"/>
                  <a:gd name="connsiteX21" fmla="*/ 239425 w 351471"/>
                  <a:gd name="connsiteY21" fmla="*/ 275095 h 353052"/>
                  <a:gd name="connsiteX22" fmla="*/ 307898 w 351471"/>
                  <a:gd name="connsiteY22" fmla="*/ 212847 h 353052"/>
                  <a:gd name="connsiteX23" fmla="*/ 332797 w 351471"/>
                  <a:gd name="connsiteY23" fmla="*/ 166161 h 353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51471" h="353052">
                    <a:moveTo>
                      <a:pt x="332797" y="166161"/>
                    </a:moveTo>
                    <a:cubicBezTo>
                      <a:pt x="329685" y="156824"/>
                      <a:pt x="320348" y="153712"/>
                      <a:pt x="311010" y="156824"/>
                    </a:cubicBezTo>
                    <a:cubicBezTo>
                      <a:pt x="307898" y="156824"/>
                      <a:pt x="304786" y="156824"/>
                      <a:pt x="301673" y="159936"/>
                    </a:cubicBezTo>
                    <a:cubicBezTo>
                      <a:pt x="311010" y="153712"/>
                      <a:pt x="317235" y="147486"/>
                      <a:pt x="326572" y="138150"/>
                    </a:cubicBezTo>
                    <a:cubicBezTo>
                      <a:pt x="342134" y="122588"/>
                      <a:pt x="351472" y="107026"/>
                      <a:pt x="351472" y="85239"/>
                    </a:cubicBezTo>
                    <a:cubicBezTo>
                      <a:pt x="351472" y="82126"/>
                      <a:pt x="348359" y="79014"/>
                      <a:pt x="345247" y="79014"/>
                    </a:cubicBezTo>
                    <a:cubicBezTo>
                      <a:pt x="345247" y="79014"/>
                      <a:pt x="342134" y="79014"/>
                      <a:pt x="342134" y="79014"/>
                    </a:cubicBezTo>
                    <a:cubicBezTo>
                      <a:pt x="348359" y="66565"/>
                      <a:pt x="351472" y="54115"/>
                      <a:pt x="345247" y="41665"/>
                    </a:cubicBezTo>
                    <a:cubicBezTo>
                      <a:pt x="339022" y="29216"/>
                      <a:pt x="326572" y="22991"/>
                      <a:pt x="314123" y="26103"/>
                    </a:cubicBezTo>
                    <a:cubicBezTo>
                      <a:pt x="295448" y="32328"/>
                      <a:pt x="276774" y="51003"/>
                      <a:pt x="261212" y="63452"/>
                    </a:cubicBezTo>
                    <a:cubicBezTo>
                      <a:pt x="236313" y="82126"/>
                      <a:pt x="214526" y="100801"/>
                      <a:pt x="189627" y="119475"/>
                    </a:cubicBezTo>
                    <a:cubicBezTo>
                      <a:pt x="202077" y="100801"/>
                      <a:pt x="214526" y="79014"/>
                      <a:pt x="230088" y="60340"/>
                    </a:cubicBezTo>
                    <a:cubicBezTo>
                      <a:pt x="239425" y="47890"/>
                      <a:pt x="258100" y="29216"/>
                      <a:pt x="258100" y="13654"/>
                    </a:cubicBezTo>
                    <a:cubicBezTo>
                      <a:pt x="258100" y="-11245"/>
                      <a:pt x="230088" y="4317"/>
                      <a:pt x="217639" y="10541"/>
                    </a:cubicBezTo>
                    <a:cubicBezTo>
                      <a:pt x="155391" y="51003"/>
                      <a:pt x="130492" y="128812"/>
                      <a:pt x="77581" y="181723"/>
                    </a:cubicBezTo>
                    <a:cubicBezTo>
                      <a:pt x="52682" y="147486"/>
                      <a:pt x="86918" y="107026"/>
                      <a:pt x="83806" y="66565"/>
                    </a:cubicBezTo>
                    <a:cubicBezTo>
                      <a:pt x="83806" y="60340"/>
                      <a:pt x="68244" y="54115"/>
                      <a:pt x="62019" y="57227"/>
                    </a:cubicBezTo>
                    <a:cubicBezTo>
                      <a:pt x="2884" y="97688"/>
                      <a:pt x="-18903" y="203510"/>
                      <a:pt x="18445" y="293769"/>
                    </a:cubicBezTo>
                    <a:cubicBezTo>
                      <a:pt x="18445" y="293769"/>
                      <a:pt x="18445" y="293769"/>
                      <a:pt x="18445" y="296881"/>
                    </a:cubicBezTo>
                    <a:cubicBezTo>
                      <a:pt x="15333" y="296881"/>
                      <a:pt x="15333" y="299994"/>
                      <a:pt x="15333" y="303106"/>
                    </a:cubicBezTo>
                    <a:cubicBezTo>
                      <a:pt x="27783" y="343567"/>
                      <a:pt x="77581" y="349792"/>
                      <a:pt x="114930" y="352904"/>
                    </a:cubicBezTo>
                    <a:cubicBezTo>
                      <a:pt x="170953" y="356017"/>
                      <a:pt x="202077" y="309331"/>
                      <a:pt x="239425" y="275095"/>
                    </a:cubicBezTo>
                    <a:cubicBezTo>
                      <a:pt x="261212" y="253308"/>
                      <a:pt x="286111" y="234634"/>
                      <a:pt x="307898" y="212847"/>
                    </a:cubicBezTo>
                    <a:cubicBezTo>
                      <a:pt x="323460" y="197285"/>
                      <a:pt x="342134" y="181723"/>
                      <a:pt x="332797" y="16616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B3EE1995-4ADD-4930-841A-766B8554834E}"/>
                  </a:ext>
                </a:extLst>
              </p:cNvPr>
              <p:cNvSpPr/>
              <p:nvPr/>
            </p:nvSpPr>
            <p:spPr>
              <a:xfrm>
                <a:off x="4655922" y="8967765"/>
                <a:ext cx="25241" cy="82305"/>
              </a:xfrm>
              <a:custGeom>
                <a:avLst/>
                <a:gdLst>
                  <a:gd name="connsiteX0" fmla="*/ 10721 w 25241"/>
                  <a:gd name="connsiteY0" fmla="*/ 82305 h 82305"/>
                  <a:gd name="connsiteX1" fmla="*/ 7608 w 25241"/>
                  <a:gd name="connsiteY1" fmla="*/ 82305 h 82305"/>
                  <a:gd name="connsiteX2" fmla="*/ 4496 w 25241"/>
                  <a:gd name="connsiteY2" fmla="*/ 72968 h 82305"/>
                  <a:gd name="connsiteX3" fmla="*/ 1383 w 25241"/>
                  <a:gd name="connsiteY3" fmla="*/ 10720 h 82305"/>
                  <a:gd name="connsiteX4" fmla="*/ 1383 w 25241"/>
                  <a:gd name="connsiteY4" fmla="*/ 1383 h 82305"/>
                  <a:gd name="connsiteX5" fmla="*/ 10721 w 25241"/>
                  <a:gd name="connsiteY5" fmla="*/ 1383 h 82305"/>
                  <a:gd name="connsiteX6" fmla="*/ 16945 w 25241"/>
                  <a:gd name="connsiteY6" fmla="*/ 79193 h 82305"/>
                  <a:gd name="connsiteX7" fmla="*/ 10721 w 25241"/>
                  <a:gd name="connsiteY7" fmla="*/ 82305 h 82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241" h="82305">
                    <a:moveTo>
                      <a:pt x="10721" y="82305"/>
                    </a:moveTo>
                    <a:cubicBezTo>
                      <a:pt x="10721" y="82305"/>
                      <a:pt x="7608" y="82305"/>
                      <a:pt x="7608" y="82305"/>
                    </a:cubicBezTo>
                    <a:cubicBezTo>
                      <a:pt x="4496" y="79193"/>
                      <a:pt x="4496" y="76081"/>
                      <a:pt x="4496" y="72968"/>
                    </a:cubicBezTo>
                    <a:cubicBezTo>
                      <a:pt x="23170" y="41844"/>
                      <a:pt x="1383" y="10720"/>
                      <a:pt x="1383" y="10720"/>
                    </a:cubicBezTo>
                    <a:cubicBezTo>
                      <a:pt x="-1729" y="7608"/>
                      <a:pt x="1383" y="4495"/>
                      <a:pt x="1383" y="1383"/>
                    </a:cubicBezTo>
                    <a:cubicBezTo>
                      <a:pt x="4496" y="-1729"/>
                      <a:pt x="7608" y="1383"/>
                      <a:pt x="10721" y="1383"/>
                    </a:cubicBezTo>
                    <a:cubicBezTo>
                      <a:pt x="10721" y="4495"/>
                      <a:pt x="38732" y="41844"/>
                      <a:pt x="16945" y="79193"/>
                    </a:cubicBezTo>
                    <a:cubicBezTo>
                      <a:pt x="13833" y="79193"/>
                      <a:pt x="10721" y="82305"/>
                      <a:pt x="10721" y="8230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96894716-8A77-4D6C-A71B-6FB52ABF023A}"/>
                  </a:ext>
                </a:extLst>
              </p:cNvPr>
              <p:cNvSpPr/>
              <p:nvPr/>
            </p:nvSpPr>
            <p:spPr>
              <a:xfrm>
                <a:off x="4745230" y="8769955"/>
                <a:ext cx="171570" cy="164956"/>
              </a:xfrm>
              <a:custGeom>
                <a:avLst/>
                <a:gdLst>
                  <a:gd name="connsiteX0" fmla="*/ 58357 w 171570"/>
                  <a:gd name="connsiteY0" fmla="*/ 164957 h 164956"/>
                  <a:gd name="connsiteX1" fmla="*/ 55245 w 171570"/>
                  <a:gd name="connsiteY1" fmla="*/ 161844 h 164956"/>
                  <a:gd name="connsiteX2" fmla="*/ 55245 w 171570"/>
                  <a:gd name="connsiteY2" fmla="*/ 152507 h 164956"/>
                  <a:gd name="connsiteX3" fmla="*/ 145504 w 171570"/>
                  <a:gd name="connsiteY3" fmla="*/ 65360 h 164956"/>
                  <a:gd name="connsiteX4" fmla="*/ 151729 w 171570"/>
                  <a:gd name="connsiteY4" fmla="*/ 40461 h 164956"/>
                  <a:gd name="connsiteX5" fmla="*/ 139280 w 171570"/>
                  <a:gd name="connsiteY5" fmla="*/ 28012 h 164956"/>
                  <a:gd name="connsiteX6" fmla="*/ 139280 w 171570"/>
                  <a:gd name="connsiteY6" fmla="*/ 28012 h 164956"/>
                  <a:gd name="connsiteX7" fmla="*/ 11672 w 171570"/>
                  <a:gd name="connsiteY7" fmla="*/ 118271 h 164956"/>
                  <a:gd name="connsiteX8" fmla="*/ 2334 w 171570"/>
                  <a:gd name="connsiteY8" fmla="*/ 118271 h 164956"/>
                  <a:gd name="connsiteX9" fmla="*/ 2334 w 171570"/>
                  <a:gd name="connsiteY9" fmla="*/ 108934 h 164956"/>
                  <a:gd name="connsiteX10" fmla="*/ 70807 w 171570"/>
                  <a:gd name="connsiteY10" fmla="*/ 3113 h 164956"/>
                  <a:gd name="connsiteX11" fmla="*/ 80144 w 171570"/>
                  <a:gd name="connsiteY11" fmla="*/ 0 h 164956"/>
                  <a:gd name="connsiteX12" fmla="*/ 83256 w 171570"/>
                  <a:gd name="connsiteY12" fmla="*/ 9337 h 164956"/>
                  <a:gd name="connsiteX13" fmla="*/ 42795 w 171570"/>
                  <a:gd name="connsiteY13" fmla="*/ 77810 h 164956"/>
                  <a:gd name="connsiteX14" fmla="*/ 148617 w 171570"/>
                  <a:gd name="connsiteY14" fmla="*/ 12450 h 164956"/>
                  <a:gd name="connsiteX15" fmla="*/ 170403 w 171570"/>
                  <a:gd name="connsiteY15" fmla="*/ 34237 h 164956"/>
                  <a:gd name="connsiteX16" fmla="*/ 161066 w 171570"/>
                  <a:gd name="connsiteY16" fmla="*/ 71585 h 164956"/>
                  <a:gd name="connsiteX17" fmla="*/ 70807 w 171570"/>
                  <a:gd name="connsiteY17" fmla="*/ 158732 h 164956"/>
                  <a:gd name="connsiteX18" fmla="*/ 58357 w 171570"/>
                  <a:gd name="connsiteY18" fmla="*/ 164957 h 1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71570" h="164956">
                    <a:moveTo>
                      <a:pt x="58357" y="164957"/>
                    </a:moveTo>
                    <a:cubicBezTo>
                      <a:pt x="55245" y="164957"/>
                      <a:pt x="55245" y="164957"/>
                      <a:pt x="55245" y="161844"/>
                    </a:cubicBezTo>
                    <a:cubicBezTo>
                      <a:pt x="52132" y="158732"/>
                      <a:pt x="52132" y="155620"/>
                      <a:pt x="55245" y="152507"/>
                    </a:cubicBezTo>
                    <a:cubicBezTo>
                      <a:pt x="55245" y="152507"/>
                      <a:pt x="133055" y="80922"/>
                      <a:pt x="145504" y="65360"/>
                    </a:cubicBezTo>
                    <a:cubicBezTo>
                      <a:pt x="151729" y="56023"/>
                      <a:pt x="154842" y="46686"/>
                      <a:pt x="151729" y="40461"/>
                    </a:cubicBezTo>
                    <a:cubicBezTo>
                      <a:pt x="148617" y="34237"/>
                      <a:pt x="145504" y="28012"/>
                      <a:pt x="139280" y="28012"/>
                    </a:cubicBezTo>
                    <a:cubicBezTo>
                      <a:pt x="139280" y="28012"/>
                      <a:pt x="139280" y="28012"/>
                      <a:pt x="139280" y="28012"/>
                    </a:cubicBezTo>
                    <a:cubicBezTo>
                      <a:pt x="126830" y="28012"/>
                      <a:pt x="61470" y="74698"/>
                      <a:pt x="11672" y="118271"/>
                    </a:cubicBezTo>
                    <a:cubicBezTo>
                      <a:pt x="8559" y="121384"/>
                      <a:pt x="5447" y="121384"/>
                      <a:pt x="2334" y="118271"/>
                    </a:cubicBezTo>
                    <a:cubicBezTo>
                      <a:pt x="-778" y="115158"/>
                      <a:pt x="-778" y="112046"/>
                      <a:pt x="2334" y="108934"/>
                    </a:cubicBezTo>
                    <a:cubicBezTo>
                      <a:pt x="30346" y="74698"/>
                      <a:pt x="70807" y="6225"/>
                      <a:pt x="70807" y="3113"/>
                    </a:cubicBezTo>
                    <a:cubicBezTo>
                      <a:pt x="73919" y="0"/>
                      <a:pt x="77032" y="0"/>
                      <a:pt x="80144" y="0"/>
                    </a:cubicBezTo>
                    <a:cubicBezTo>
                      <a:pt x="83256" y="3113"/>
                      <a:pt x="83256" y="6225"/>
                      <a:pt x="83256" y="9337"/>
                    </a:cubicBezTo>
                    <a:cubicBezTo>
                      <a:pt x="83256" y="12450"/>
                      <a:pt x="64582" y="43574"/>
                      <a:pt x="42795" y="77810"/>
                    </a:cubicBezTo>
                    <a:cubicBezTo>
                      <a:pt x="83256" y="46686"/>
                      <a:pt x="133055" y="9337"/>
                      <a:pt x="148617" y="12450"/>
                    </a:cubicBezTo>
                    <a:cubicBezTo>
                      <a:pt x="161066" y="15562"/>
                      <a:pt x="167291" y="24899"/>
                      <a:pt x="170403" y="34237"/>
                    </a:cubicBezTo>
                    <a:cubicBezTo>
                      <a:pt x="173516" y="46686"/>
                      <a:pt x="170403" y="59136"/>
                      <a:pt x="161066" y="71585"/>
                    </a:cubicBezTo>
                    <a:cubicBezTo>
                      <a:pt x="148617" y="87147"/>
                      <a:pt x="73919" y="155620"/>
                      <a:pt x="70807" y="158732"/>
                    </a:cubicBezTo>
                    <a:cubicBezTo>
                      <a:pt x="61470" y="164957"/>
                      <a:pt x="61470" y="164957"/>
                      <a:pt x="58357" y="16495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FC0C6885-8078-43FA-A368-7A02F590EB64}"/>
                  </a:ext>
                </a:extLst>
              </p:cNvPr>
              <p:cNvSpPr/>
              <p:nvPr/>
            </p:nvSpPr>
            <p:spPr>
              <a:xfrm>
                <a:off x="4791138" y="8835315"/>
                <a:ext cx="134237" cy="146282"/>
              </a:xfrm>
              <a:custGeom>
                <a:avLst/>
                <a:gdLst>
                  <a:gd name="connsiteX0" fmla="*/ 6225 w 134237"/>
                  <a:gd name="connsiteY0" fmla="*/ 146282 h 146282"/>
                  <a:gd name="connsiteX1" fmla="*/ 0 w 134237"/>
                  <a:gd name="connsiteY1" fmla="*/ 136945 h 146282"/>
                  <a:gd name="connsiteX2" fmla="*/ 65360 w 134237"/>
                  <a:gd name="connsiteY2" fmla="*/ 87147 h 146282"/>
                  <a:gd name="connsiteX3" fmla="*/ 118271 w 134237"/>
                  <a:gd name="connsiteY3" fmla="*/ 31124 h 146282"/>
                  <a:gd name="connsiteX4" fmla="*/ 105821 w 134237"/>
                  <a:gd name="connsiteY4" fmla="*/ 12449 h 146282"/>
                  <a:gd name="connsiteX5" fmla="*/ 102709 w 134237"/>
                  <a:gd name="connsiteY5" fmla="*/ 3112 h 146282"/>
                  <a:gd name="connsiteX6" fmla="*/ 112046 w 134237"/>
                  <a:gd name="connsiteY6" fmla="*/ 0 h 146282"/>
                  <a:gd name="connsiteX7" fmla="*/ 133833 w 134237"/>
                  <a:gd name="connsiteY7" fmla="*/ 31124 h 146282"/>
                  <a:gd name="connsiteX8" fmla="*/ 77810 w 134237"/>
                  <a:gd name="connsiteY8" fmla="*/ 93372 h 146282"/>
                  <a:gd name="connsiteX9" fmla="*/ 6225 w 134237"/>
                  <a:gd name="connsiteY9" fmla="*/ 146282 h 146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237" h="146282">
                    <a:moveTo>
                      <a:pt x="6225" y="146282"/>
                    </a:moveTo>
                    <a:lnTo>
                      <a:pt x="0" y="136945"/>
                    </a:lnTo>
                    <a:cubicBezTo>
                      <a:pt x="0" y="136945"/>
                      <a:pt x="52911" y="93372"/>
                      <a:pt x="65360" y="87147"/>
                    </a:cubicBezTo>
                    <a:cubicBezTo>
                      <a:pt x="77810" y="77810"/>
                      <a:pt x="115158" y="43573"/>
                      <a:pt x="118271" y="31124"/>
                    </a:cubicBezTo>
                    <a:cubicBezTo>
                      <a:pt x="121383" y="21787"/>
                      <a:pt x="105821" y="12449"/>
                      <a:pt x="105821" y="12449"/>
                    </a:cubicBezTo>
                    <a:cubicBezTo>
                      <a:pt x="102709" y="12449"/>
                      <a:pt x="102709" y="6225"/>
                      <a:pt x="102709" y="3112"/>
                    </a:cubicBezTo>
                    <a:cubicBezTo>
                      <a:pt x="102709" y="0"/>
                      <a:pt x="108934" y="0"/>
                      <a:pt x="112046" y="0"/>
                    </a:cubicBezTo>
                    <a:cubicBezTo>
                      <a:pt x="121383" y="3112"/>
                      <a:pt x="136945" y="15562"/>
                      <a:pt x="133833" y="31124"/>
                    </a:cubicBezTo>
                    <a:cubicBezTo>
                      <a:pt x="127608" y="49798"/>
                      <a:pt x="84034" y="90259"/>
                      <a:pt x="77810" y="93372"/>
                    </a:cubicBezTo>
                    <a:cubicBezTo>
                      <a:pt x="59135" y="105821"/>
                      <a:pt x="6225" y="146282"/>
                      <a:pt x="6225" y="14628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1" name="图形 1">
              <a:extLst>
                <a:ext uri="{FF2B5EF4-FFF2-40B4-BE49-F238E27FC236}">
                  <a16:creationId xmlns:a16="http://schemas.microsoft.com/office/drawing/2014/main" id="{A25756D5-4C4E-4A29-8D65-C8550174191E}"/>
                </a:ext>
              </a:extLst>
            </p:cNvPr>
            <p:cNvGrpSpPr/>
            <p:nvPr/>
          </p:nvGrpSpPr>
          <p:grpSpPr>
            <a:xfrm>
              <a:off x="2893169" y="7533150"/>
              <a:ext cx="1038964" cy="446258"/>
              <a:chOff x="2893169" y="7533150"/>
              <a:chExt cx="1038964" cy="446258"/>
            </a:xfrm>
          </p:grpSpPr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BBC82794-1EAB-48E8-9822-DC6E810E0FDA}"/>
                  </a:ext>
                </a:extLst>
              </p:cNvPr>
              <p:cNvSpPr/>
              <p:nvPr/>
            </p:nvSpPr>
            <p:spPr>
              <a:xfrm>
                <a:off x="3180662" y="7533150"/>
                <a:ext cx="455778" cy="234615"/>
              </a:xfrm>
              <a:custGeom>
                <a:avLst/>
                <a:gdLst>
                  <a:gd name="connsiteX0" fmla="*/ 4482 w 455778"/>
                  <a:gd name="connsiteY0" fmla="*/ 234615 h 234615"/>
                  <a:gd name="connsiteX1" fmla="*/ 60505 w 455778"/>
                  <a:gd name="connsiteY1" fmla="*/ 47872 h 234615"/>
                  <a:gd name="connsiteX2" fmla="*/ 315721 w 455778"/>
                  <a:gd name="connsiteY2" fmla="*/ 1186 h 234615"/>
                  <a:gd name="connsiteX3" fmla="*/ 455779 w 455778"/>
                  <a:gd name="connsiteY3" fmla="*/ 150581 h 234615"/>
                  <a:gd name="connsiteX4" fmla="*/ 4482 w 455778"/>
                  <a:gd name="connsiteY4" fmla="*/ 234615 h 23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5778" h="234615">
                    <a:moveTo>
                      <a:pt x="4482" y="234615"/>
                    </a:moveTo>
                    <a:cubicBezTo>
                      <a:pt x="4482" y="234615"/>
                      <a:pt x="-23530" y="97670"/>
                      <a:pt x="60505" y="47872"/>
                    </a:cubicBezTo>
                    <a:cubicBezTo>
                      <a:pt x="119640" y="13635"/>
                      <a:pt x="247248" y="-5039"/>
                      <a:pt x="315721" y="1186"/>
                    </a:cubicBezTo>
                    <a:cubicBezTo>
                      <a:pt x="427767" y="10523"/>
                      <a:pt x="446441" y="100782"/>
                      <a:pt x="455779" y="150581"/>
                    </a:cubicBezTo>
                    <a:lnTo>
                      <a:pt x="4482" y="234615"/>
                    </a:lnTo>
                    <a:close/>
                  </a:path>
                </a:pathLst>
              </a:custGeom>
              <a:solidFill>
                <a:srgbClr val="F1DDBA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03F565A5-A32A-4D1A-B046-D5776BB030D1}"/>
                  </a:ext>
                </a:extLst>
              </p:cNvPr>
              <p:cNvSpPr/>
              <p:nvPr/>
            </p:nvSpPr>
            <p:spPr>
              <a:xfrm>
                <a:off x="2893169" y="7643874"/>
                <a:ext cx="1038964" cy="335533"/>
              </a:xfrm>
              <a:custGeom>
                <a:avLst/>
                <a:gdLst>
                  <a:gd name="connsiteX0" fmla="*/ 488056 w 1038964"/>
                  <a:gd name="connsiteY0" fmla="*/ 114553 h 335533"/>
                  <a:gd name="connsiteX1" fmla="*/ 80332 w 1038964"/>
                  <a:gd name="connsiteY1" fmla="*/ 335533 h 335533"/>
                  <a:gd name="connsiteX2" fmla="*/ 2523 w 1038964"/>
                  <a:gd name="connsiteY2" fmla="*/ 285735 h 335533"/>
                  <a:gd name="connsiteX3" fmla="*/ 466269 w 1038964"/>
                  <a:gd name="connsiteY3" fmla="*/ 39856 h 335533"/>
                  <a:gd name="connsiteX4" fmla="*/ 1032724 w 1038964"/>
                  <a:gd name="connsiteY4" fmla="*/ 64755 h 335533"/>
                  <a:gd name="connsiteX5" fmla="*/ 1010938 w 1038964"/>
                  <a:gd name="connsiteY5" fmla="*/ 130115 h 335533"/>
                  <a:gd name="connsiteX6" fmla="*/ 488056 w 1038964"/>
                  <a:gd name="connsiteY6" fmla="*/ 114553 h 335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8964" h="335533">
                    <a:moveTo>
                      <a:pt x="488056" y="114553"/>
                    </a:moveTo>
                    <a:cubicBezTo>
                      <a:pt x="248401" y="167464"/>
                      <a:pt x="74108" y="263948"/>
                      <a:pt x="80332" y="335533"/>
                    </a:cubicBezTo>
                    <a:cubicBezTo>
                      <a:pt x="36759" y="326196"/>
                      <a:pt x="8747" y="307521"/>
                      <a:pt x="2523" y="285735"/>
                    </a:cubicBezTo>
                    <a:cubicBezTo>
                      <a:pt x="-25489" y="211038"/>
                      <a:pt x="183041" y="98991"/>
                      <a:pt x="466269" y="39856"/>
                    </a:cubicBezTo>
                    <a:cubicBezTo>
                      <a:pt x="752609" y="-22392"/>
                      <a:pt x="1004713" y="-9942"/>
                      <a:pt x="1032724" y="64755"/>
                    </a:cubicBezTo>
                    <a:cubicBezTo>
                      <a:pt x="1042061" y="89654"/>
                      <a:pt x="1045174" y="98991"/>
                      <a:pt x="1010938" y="130115"/>
                    </a:cubicBezTo>
                    <a:cubicBezTo>
                      <a:pt x="973589" y="58530"/>
                      <a:pt x="733935" y="61643"/>
                      <a:pt x="488056" y="114553"/>
                    </a:cubicBezTo>
                    <a:close/>
                  </a:path>
                </a:pathLst>
              </a:custGeom>
              <a:solidFill>
                <a:srgbClr val="F1DDBA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8C048D7D-B0EC-4A79-BC8A-DF94F2217E97}"/>
                  </a:ext>
                </a:extLst>
              </p:cNvPr>
              <p:cNvSpPr/>
              <p:nvPr/>
            </p:nvSpPr>
            <p:spPr>
              <a:xfrm>
                <a:off x="3172694" y="7640157"/>
                <a:ext cx="463746" cy="96484"/>
              </a:xfrm>
              <a:custGeom>
                <a:avLst/>
                <a:gdLst>
                  <a:gd name="connsiteX0" fmla="*/ 6225 w 463746"/>
                  <a:gd name="connsiteY0" fmla="*/ 96484 h 96484"/>
                  <a:gd name="connsiteX1" fmla="*/ 0 w 463746"/>
                  <a:gd name="connsiteY1" fmla="*/ 93372 h 96484"/>
                  <a:gd name="connsiteX2" fmla="*/ 3112 w 463746"/>
                  <a:gd name="connsiteY2" fmla="*/ 87147 h 96484"/>
                  <a:gd name="connsiteX3" fmla="*/ 457522 w 463746"/>
                  <a:gd name="connsiteY3" fmla="*/ 0 h 96484"/>
                  <a:gd name="connsiteX4" fmla="*/ 463746 w 463746"/>
                  <a:gd name="connsiteY4" fmla="*/ 6225 h 96484"/>
                  <a:gd name="connsiteX5" fmla="*/ 457522 w 463746"/>
                  <a:gd name="connsiteY5" fmla="*/ 12450 h 96484"/>
                  <a:gd name="connsiteX6" fmla="*/ 6225 w 463746"/>
                  <a:gd name="connsiteY6" fmla="*/ 96484 h 96484"/>
                  <a:gd name="connsiteX7" fmla="*/ 6225 w 463746"/>
                  <a:gd name="connsiteY7" fmla="*/ 96484 h 96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3746" h="96484">
                    <a:moveTo>
                      <a:pt x="6225" y="96484"/>
                    </a:moveTo>
                    <a:cubicBezTo>
                      <a:pt x="3112" y="96484"/>
                      <a:pt x="3112" y="96484"/>
                      <a:pt x="0" y="93372"/>
                    </a:cubicBezTo>
                    <a:cubicBezTo>
                      <a:pt x="0" y="90260"/>
                      <a:pt x="0" y="87147"/>
                      <a:pt x="3112" y="87147"/>
                    </a:cubicBezTo>
                    <a:cubicBezTo>
                      <a:pt x="202305" y="21787"/>
                      <a:pt x="457522" y="0"/>
                      <a:pt x="457522" y="0"/>
                    </a:cubicBezTo>
                    <a:cubicBezTo>
                      <a:pt x="460634" y="0"/>
                      <a:pt x="463746" y="3113"/>
                      <a:pt x="463746" y="6225"/>
                    </a:cubicBezTo>
                    <a:cubicBezTo>
                      <a:pt x="463746" y="9337"/>
                      <a:pt x="460634" y="12450"/>
                      <a:pt x="457522" y="12450"/>
                    </a:cubicBezTo>
                    <a:cubicBezTo>
                      <a:pt x="460634" y="12450"/>
                      <a:pt x="208530" y="31124"/>
                      <a:pt x="6225" y="96484"/>
                    </a:cubicBezTo>
                    <a:cubicBezTo>
                      <a:pt x="9337" y="96484"/>
                      <a:pt x="9337" y="96484"/>
                      <a:pt x="6225" y="96484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01346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2" name="图形 114">
            <a:extLst>
              <a:ext uri="{FF2B5EF4-FFF2-40B4-BE49-F238E27FC236}">
                <a16:creationId xmlns:a16="http://schemas.microsoft.com/office/drawing/2014/main" id="{9B118E89-9211-4851-A00F-787C4806825E}"/>
              </a:ext>
            </a:extLst>
          </p:cNvPr>
          <p:cNvGrpSpPr/>
          <p:nvPr/>
        </p:nvGrpSpPr>
        <p:grpSpPr>
          <a:xfrm>
            <a:off x="6793598" y="3061041"/>
            <a:ext cx="3178982" cy="3622153"/>
            <a:chOff x="6494615" y="3061041"/>
            <a:chExt cx="3178982" cy="3622153"/>
          </a:xfrm>
        </p:grpSpPr>
        <p:grpSp>
          <p:nvGrpSpPr>
            <p:cNvPr id="253" name="图形 114">
              <a:extLst>
                <a:ext uri="{FF2B5EF4-FFF2-40B4-BE49-F238E27FC236}">
                  <a16:creationId xmlns:a16="http://schemas.microsoft.com/office/drawing/2014/main" id="{9B118E89-9211-4851-A00F-787C4806825E}"/>
                </a:ext>
              </a:extLst>
            </p:cNvPr>
            <p:cNvGrpSpPr/>
            <p:nvPr/>
          </p:nvGrpSpPr>
          <p:grpSpPr>
            <a:xfrm>
              <a:off x="8065801" y="3854261"/>
              <a:ext cx="1264001" cy="2709152"/>
              <a:chOff x="8065801" y="3854261"/>
              <a:chExt cx="1264001" cy="2709152"/>
            </a:xfrm>
          </p:grpSpPr>
          <p:sp>
            <p:nvSpPr>
              <p:cNvPr id="254" name="任意多边形: 形状 253">
                <a:extLst>
                  <a:ext uri="{FF2B5EF4-FFF2-40B4-BE49-F238E27FC236}">
                    <a16:creationId xmlns:a16="http://schemas.microsoft.com/office/drawing/2014/main" id="{597D22F6-5CC4-4D13-BBEE-3490231332EC}"/>
                  </a:ext>
                </a:extLst>
              </p:cNvPr>
              <p:cNvSpPr/>
              <p:nvPr/>
            </p:nvSpPr>
            <p:spPr>
              <a:xfrm>
                <a:off x="8563089" y="5254600"/>
                <a:ext cx="122033" cy="1278305"/>
              </a:xfrm>
              <a:custGeom>
                <a:avLst/>
                <a:gdLst>
                  <a:gd name="connsiteX0" fmla="*/ 0 w 122033"/>
                  <a:gd name="connsiteY0" fmla="*/ 0 h 1278305"/>
                  <a:gd name="connsiteX1" fmla="*/ 122034 w 122033"/>
                  <a:gd name="connsiteY1" fmla="*/ 0 h 1278305"/>
                  <a:gd name="connsiteX2" fmla="*/ 122034 w 122033"/>
                  <a:gd name="connsiteY2" fmla="*/ 1278305 h 1278305"/>
                  <a:gd name="connsiteX3" fmla="*/ 0 w 122033"/>
                  <a:gd name="connsiteY3" fmla="*/ 1278305 h 1278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2033" h="1278305">
                    <a:moveTo>
                      <a:pt x="0" y="0"/>
                    </a:moveTo>
                    <a:lnTo>
                      <a:pt x="122034" y="0"/>
                    </a:lnTo>
                    <a:lnTo>
                      <a:pt x="122034" y="1278305"/>
                    </a:lnTo>
                    <a:lnTo>
                      <a:pt x="0" y="1278305"/>
                    </a:ln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5" name="任意多边形: 形状 254">
                <a:extLst>
                  <a:ext uri="{FF2B5EF4-FFF2-40B4-BE49-F238E27FC236}">
                    <a16:creationId xmlns:a16="http://schemas.microsoft.com/office/drawing/2014/main" id="{3A913D9E-A1AB-4B1A-A1BF-DC9865DABA0A}"/>
                  </a:ext>
                </a:extLst>
              </p:cNvPr>
              <p:cNvSpPr/>
              <p:nvPr/>
            </p:nvSpPr>
            <p:spPr>
              <a:xfrm>
                <a:off x="8297665" y="6508498"/>
                <a:ext cx="655932" cy="54915"/>
              </a:xfrm>
              <a:custGeom>
                <a:avLst/>
                <a:gdLst>
                  <a:gd name="connsiteX0" fmla="*/ 0 w 655932"/>
                  <a:gd name="connsiteY0" fmla="*/ 0 h 54915"/>
                  <a:gd name="connsiteX1" fmla="*/ 655932 w 655932"/>
                  <a:gd name="connsiteY1" fmla="*/ 0 h 54915"/>
                  <a:gd name="connsiteX2" fmla="*/ 655932 w 655932"/>
                  <a:gd name="connsiteY2" fmla="*/ 54915 h 54915"/>
                  <a:gd name="connsiteX3" fmla="*/ 0 w 655932"/>
                  <a:gd name="connsiteY3" fmla="*/ 54915 h 54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5932" h="54915">
                    <a:moveTo>
                      <a:pt x="0" y="0"/>
                    </a:moveTo>
                    <a:lnTo>
                      <a:pt x="655932" y="0"/>
                    </a:lnTo>
                    <a:lnTo>
                      <a:pt x="655932" y="54915"/>
                    </a:lnTo>
                    <a:lnTo>
                      <a:pt x="0" y="54915"/>
                    </a:ln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6" name="任意多边形: 形状 255">
                <a:extLst>
                  <a:ext uri="{FF2B5EF4-FFF2-40B4-BE49-F238E27FC236}">
                    <a16:creationId xmlns:a16="http://schemas.microsoft.com/office/drawing/2014/main" id="{F1204792-82A8-4A46-97AA-133F4FE1B595}"/>
                  </a:ext>
                </a:extLst>
              </p:cNvPr>
              <p:cNvSpPr/>
              <p:nvPr/>
            </p:nvSpPr>
            <p:spPr>
              <a:xfrm>
                <a:off x="8367835" y="3854261"/>
                <a:ext cx="961968" cy="1394237"/>
              </a:xfrm>
              <a:custGeom>
                <a:avLst/>
                <a:gdLst>
                  <a:gd name="connsiteX0" fmla="*/ 774916 w 961968"/>
                  <a:gd name="connsiteY0" fmla="*/ 1394237 h 1394237"/>
                  <a:gd name="connsiteX1" fmla="*/ 0 w 961968"/>
                  <a:gd name="connsiteY1" fmla="*/ 1394237 h 1394237"/>
                  <a:gd name="connsiteX2" fmla="*/ 189152 w 961968"/>
                  <a:gd name="connsiteY2" fmla="*/ 109831 h 1394237"/>
                  <a:gd name="connsiteX3" fmla="*/ 317288 w 961968"/>
                  <a:gd name="connsiteY3" fmla="*/ 0 h 1394237"/>
                  <a:gd name="connsiteX4" fmla="*/ 832881 w 961968"/>
                  <a:gd name="connsiteY4" fmla="*/ 0 h 1394237"/>
                  <a:gd name="connsiteX5" fmla="*/ 961017 w 961968"/>
                  <a:gd name="connsiteY5" fmla="*/ 146441 h 1394237"/>
                  <a:gd name="connsiteX6" fmla="*/ 774916 w 961968"/>
                  <a:gd name="connsiteY6" fmla="*/ 1394237 h 1394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61968" h="1394237">
                    <a:moveTo>
                      <a:pt x="774916" y="1394237"/>
                    </a:moveTo>
                    <a:lnTo>
                      <a:pt x="0" y="1394237"/>
                    </a:lnTo>
                    <a:lnTo>
                      <a:pt x="189152" y="109831"/>
                    </a:lnTo>
                    <a:cubicBezTo>
                      <a:pt x="198305" y="45763"/>
                      <a:pt x="253220" y="0"/>
                      <a:pt x="317288" y="0"/>
                    </a:cubicBezTo>
                    <a:lnTo>
                      <a:pt x="832881" y="0"/>
                    </a:lnTo>
                    <a:cubicBezTo>
                      <a:pt x="912204" y="0"/>
                      <a:pt x="970170" y="70170"/>
                      <a:pt x="961017" y="146441"/>
                    </a:cubicBezTo>
                    <a:lnTo>
                      <a:pt x="774916" y="1394237"/>
                    </a:ln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7" name="任意多边形: 形状 256">
                <a:extLst>
                  <a:ext uri="{FF2B5EF4-FFF2-40B4-BE49-F238E27FC236}">
                    <a16:creationId xmlns:a16="http://schemas.microsoft.com/office/drawing/2014/main" id="{07062AC4-B2DB-475D-A1A6-CFB7097C1B36}"/>
                  </a:ext>
                </a:extLst>
              </p:cNvPr>
              <p:cNvSpPr/>
              <p:nvPr/>
            </p:nvSpPr>
            <p:spPr>
              <a:xfrm>
                <a:off x="8294615" y="3854261"/>
                <a:ext cx="961968" cy="1394237"/>
              </a:xfrm>
              <a:custGeom>
                <a:avLst/>
                <a:gdLst>
                  <a:gd name="connsiteX0" fmla="*/ 774915 w 961968"/>
                  <a:gd name="connsiteY0" fmla="*/ 1394237 h 1394237"/>
                  <a:gd name="connsiteX1" fmla="*/ 0 w 961968"/>
                  <a:gd name="connsiteY1" fmla="*/ 1394237 h 1394237"/>
                  <a:gd name="connsiteX2" fmla="*/ 189152 w 961968"/>
                  <a:gd name="connsiteY2" fmla="*/ 109831 h 1394237"/>
                  <a:gd name="connsiteX3" fmla="*/ 317288 w 961968"/>
                  <a:gd name="connsiteY3" fmla="*/ 0 h 1394237"/>
                  <a:gd name="connsiteX4" fmla="*/ 832881 w 961968"/>
                  <a:gd name="connsiteY4" fmla="*/ 0 h 1394237"/>
                  <a:gd name="connsiteX5" fmla="*/ 961017 w 961968"/>
                  <a:gd name="connsiteY5" fmla="*/ 146441 h 1394237"/>
                  <a:gd name="connsiteX6" fmla="*/ 774915 w 961968"/>
                  <a:gd name="connsiteY6" fmla="*/ 1394237 h 1394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61968" h="1394237">
                    <a:moveTo>
                      <a:pt x="774915" y="1394237"/>
                    </a:moveTo>
                    <a:lnTo>
                      <a:pt x="0" y="1394237"/>
                    </a:lnTo>
                    <a:lnTo>
                      <a:pt x="189152" y="109831"/>
                    </a:lnTo>
                    <a:cubicBezTo>
                      <a:pt x="198305" y="45763"/>
                      <a:pt x="253220" y="0"/>
                      <a:pt x="317288" y="0"/>
                    </a:cubicBezTo>
                    <a:lnTo>
                      <a:pt x="832881" y="0"/>
                    </a:lnTo>
                    <a:cubicBezTo>
                      <a:pt x="912203" y="0"/>
                      <a:pt x="970170" y="70170"/>
                      <a:pt x="961017" y="146441"/>
                    </a:cubicBezTo>
                    <a:lnTo>
                      <a:pt x="774915" y="1394237"/>
                    </a:ln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8" name="任意多边形: 形状 257">
                <a:extLst>
                  <a:ext uri="{FF2B5EF4-FFF2-40B4-BE49-F238E27FC236}">
                    <a16:creationId xmlns:a16="http://schemas.microsoft.com/office/drawing/2014/main" id="{5B56011F-1489-4CAB-9F81-4FFF9CD811A7}"/>
                  </a:ext>
                </a:extLst>
              </p:cNvPr>
              <p:cNvSpPr/>
              <p:nvPr/>
            </p:nvSpPr>
            <p:spPr>
              <a:xfrm>
                <a:off x="8126818" y="5120363"/>
                <a:ext cx="1119660" cy="213559"/>
              </a:xfrm>
              <a:custGeom>
                <a:avLst/>
                <a:gdLst>
                  <a:gd name="connsiteX0" fmla="*/ 1012881 w 1119660"/>
                  <a:gd name="connsiteY0" fmla="*/ 213559 h 213559"/>
                  <a:gd name="connsiteX1" fmla="*/ 106780 w 1119660"/>
                  <a:gd name="connsiteY1" fmla="*/ 213559 h 213559"/>
                  <a:gd name="connsiteX2" fmla="*/ 0 w 1119660"/>
                  <a:gd name="connsiteY2" fmla="*/ 106780 h 213559"/>
                  <a:gd name="connsiteX3" fmla="*/ 0 w 1119660"/>
                  <a:gd name="connsiteY3" fmla="*/ 106780 h 213559"/>
                  <a:gd name="connsiteX4" fmla="*/ 106780 w 1119660"/>
                  <a:gd name="connsiteY4" fmla="*/ 0 h 213559"/>
                  <a:gd name="connsiteX5" fmla="*/ 1012881 w 1119660"/>
                  <a:gd name="connsiteY5" fmla="*/ 0 h 213559"/>
                  <a:gd name="connsiteX6" fmla="*/ 1119661 w 1119660"/>
                  <a:gd name="connsiteY6" fmla="*/ 106780 h 213559"/>
                  <a:gd name="connsiteX7" fmla="*/ 1119661 w 1119660"/>
                  <a:gd name="connsiteY7" fmla="*/ 106780 h 213559"/>
                  <a:gd name="connsiteX8" fmla="*/ 1012881 w 1119660"/>
                  <a:gd name="connsiteY8" fmla="*/ 213559 h 213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9660" h="213559">
                    <a:moveTo>
                      <a:pt x="1012881" y="213559"/>
                    </a:moveTo>
                    <a:lnTo>
                      <a:pt x="106780" y="213559"/>
                    </a:lnTo>
                    <a:cubicBezTo>
                      <a:pt x="48813" y="213559"/>
                      <a:pt x="0" y="164746"/>
                      <a:pt x="0" y="106780"/>
                    </a:cubicBezTo>
                    <a:lnTo>
                      <a:pt x="0" y="106780"/>
                    </a:lnTo>
                    <a:cubicBezTo>
                      <a:pt x="0" y="48814"/>
                      <a:pt x="48813" y="0"/>
                      <a:pt x="106780" y="0"/>
                    </a:cubicBezTo>
                    <a:lnTo>
                      <a:pt x="1012881" y="0"/>
                    </a:lnTo>
                    <a:cubicBezTo>
                      <a:pt x="1070847" y="0"/>
                      <a:pt x="1119661" y="48814"/>
                      <a:pt x="1119661" y="106780"/>
                    </a:cubicBezTo>
                    <a:lnTo>
                      <a:pt x="1119661" y="106780"/>
                    </a:lnTo>
                    <a:cubicBezTo>
                      <a:pt x="1119661" y="167797"/>
                      <a:pt x="1070847" y="213559"/>
                      <a:pt x="1012881" y="213559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9" name="任意多边形: 形状 258">
                <a:extLst>
                  <a:ext uri="{FF2B5EF4-FFF2-40B4-BE49-F238E27FC236}">
                    <a16:creationId xmlns:a16="http://schemas.microsoft.com/office/drawing/2014/main" id="{71755D13-D40A-4D98-8149-0F6A21EB53DB}"/>
                  </a:ext>
                </a:extLst>
              </p:cNvPr>
              <p:cNvSpPr/>
              <p:nvPr/>
            </p:nvSpPr>
            <p:spPr>
              <a:xfrm>
                <a:off x="8065801" y="5120363"/>
                <a:ext cx="1119660" cy="213559"/>
              </a:xfrm>
              <a:custGeom>
                <a:avLst/>
                <a:gdLst>
                  <a:gd name="connsiteX0" fmla="*/ 1012881 w 1119660"/>
                  <a:gd name="connsiteY0" fmla="*/ 213559 h 213559"/>
                  <a:gd name="connsiteX1" fmla="*/ 106780 w 1119660"/>
                  <a:gd name="connsiteY1" fmla="*/ 213559 h 213559"/>
                  <a:gd name="connsiteX2" fmla="*/ 0 w 1119660"/>
                  <a:gd name="connsiteY2" fmla="*/ 106780 h 213559"/>
                  <a:gd name="connsiteX3" fmla="*/ 0 w 1119660"/>
                  <a:gd name="connsiteY3" fmla="*/ 106780 h 213559"/>
                  <a:gd name="connsiteX4" fmla="*/ 106780 w 1119660"/>
                  <a:gd name="connsiteY4" fmla="*/ 0 h 213559"/>
                  <a:gd name="connsiteX5" fmla="*/ 1012881 w 1119660"/>
                  <a:gd name="connsiteY5" fmla="*/ 0 h 213559"/>
                  <a:gd name="connsiteX6" fmla="*/ 1119661 w 1119660"/>
                  <a:gd name="connsiteY6" fmla="*/ 106780 h 213559"/>
                  <a:gd name="connsiteX7" fmla="*/ 1119661 w 1119660"/>
                  <a:gd name="connsiteY7" fmla="*/ 106780 h 213559"/>
                  <a:gd name="connsiteX8" fmla="*/ 1012881 w 1119660"/>
                  <a:gd name="connsiteY8" fmla="*/ 213559 h 213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9660" h="213559">
                    <a:moveTo>
                      <a:pt x="1012881" y="213559"/>
                    </a:moveTo>
                    <a:lnTo>
                      <a:pt x="106780" y="213559"/>
                    </a:lnTo>
                    <a:cubicBezTo>
                      <a:pt x="48813" y="213559"/>
                      <a:pt x="0" y="164746"/>
                      <a:pt x="0" y="106780"/>
                    </a:cubicBezTo>
                    <a:lnTo>
                      <a:pt x="0" y="106780"/>
                    </a:lnTo>
                    <a:cubicBezTo>
                      <a:pt x="0" y="48814"/>
                      <a:pt x="48813" y="0"/>
                      <a:pt x="106780" y="0"/>
                    </a:cubicBezTo>
                    <a:lnTo>
                      <a:pt x="1012881" y="0"/>
                    </a:lnTo>
                    <a:cubicBezTo>
                      <a:pt x="1070847" y="0"/>
                      <a:pt x="1119661" y="48814"/>
                      <a:pt x="1119661" y="106780"/>
                    </a:cubicBezTo>
                    <a:lnTo>
                      <a:pt x="1119661" y="106780"/>
                    </a:lnTo>
                    <a:cubicBezTo>
                      <a:pt x="1119661" y="167797"/>
                      <a:pt x="1070847" y="213559"/>
                      <a:pt x="1012881" y="21355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60" name="任意多边形: 形状 259">
              <a:extLst>
                <a:ext uri="{FF2B5EF4-FFF2-40B4-BE49-F238E27FC236}">
                  <a16:creationId xmlns:a16="http://schemas.microsoft.com/office/drawing/2014/main" id="{DD8A38E7-356C-4383-BD11-A174752F8A71}"/>
                </a:ext>
              </a:extLst>
            </p:cNvPr>
            <p:cNvSpPr/>
            <p:nvPr/>
          </p:nvSpPr>
          <p:spPr>
            <a:xfrm>
              <a:off x="8303505" y="6273583"/>
              <a:ext cx="226024" cy="409611"/>
            </a:xfrm>
            <a:custGeom>
              <a:avLst/>
              <a:gdLst>
                <a:gd name="connsiteX0" fmla="*/ 9414 w 226024"/>
                <a:gd name="connsiteY0" fmla="*/ 61017 h 409611"/>
                <a:gd name="connsiteX1" fmla="*/ 30771 w 226024"/>
                <a:gd name="connsiteY1" fmla="*/ 262373 h 409611"/>
                <a:gd name="connsiteX2" fmla="*/ 125347 w 226024"/>
                <a:gd name="connsiteY2" fmla="*/ 21356 h 409611"/>
                <a:gd name="connsiteX3" fmla="*/ 113143 w 226024"/>
                <a:gd name="connsiteY3" fmla="*/ 0 h 409611"/>
                <a:gd name="connsiteX4" fmla="*/ 177211 w 226024"/>
                <a:gd name="connsiteY4" fmla="*/ 45763 h 409611"/>
                <a:gd name="connsiteX5" fmla="*/ 226025 w 226024"/>
                <a:gd name="connsiteY5" fmla="*/ 125085 h 409611"/>
                <a:gd name="connsiteX6" fmla="*/ 207719 w 226024"/>
                <a:gd name="connsiteY6" fmla="*/ 143390 h 409611"/>
                <a:gd name="connsiteX7" fmla="*/ 155855 w 226024"/>
                <a:gd name="connsiteY7" fmla="*/ 103729 h 409611"/>
                <a:gd name="connsiteX8" fmla="*/ 137550 w 226024"/>
                <a:gd name="connsiteY8" fmla="*/ 298983 h 409611"/>
                <a:gd name="connsiteX9" fmla="*/ 30771 w 226024"/>
                <a:gd name="connsiteY9" fmla="*/ 408813 h 409611"/>
                <a:gd name="connsiteX10" fmla="*/ 262 w 226024"/>
                <a:gd name="connsiteY10" fmla="*/ 372203 h 409611"/>
                <a:gd name="connsiteX11" fmla="*/ 9414 w 226024"/>
                <a:gd name="connsiteY11" fmla="*/ 61017 h 409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024" h="409611">
                  <a:moveTo>
                    <a:pt x="9414" y="61017"/>
                  </a:moveTo>
                  <a:cubicBezTo>
                    <a:pt x="9414" y="61017"/>
                    <a:pt x="9414" y="268475"/>
                    <a:pt x="30771" y="262373"/>
                  </a:cubicBezTo>
                  <a:cubicBezTo>
                    <a:pt x="49075" y="259322"/>
                    <a:pt x="125347" y="21356"/>
                    <a:pt x="125347" y="21356"/>
                  </a:cubicBezTo>
                  <a:lnTo>
                    <a:pt x="113143" y="0"/>
                  </a:lnTo>
                  <a:cubicBezTo>
                    <a:pt x="113143" y="0"/>
                    <a:pt x="165008" y="21356"/>
                    <a:pt x="177211" y="45763"/>
                  </a:cubicBezTo>
                  <a:cubicBezTo>
                    <a:pt x="192465" y="70170"/>
                    <a:pt x="226025" y="125085"/>
                    <a:pt x="226025" y="125085"/>
                  </a:cubicBezTo>
                  <a:lnTo>
                    <a:pt x="207719" y="143390"/>
                  </a:lnTo>
                  <a:lnTo>
                    <a:pt x="155855" y="103729"/>
                  </a:lnTo>
                  <a:cubicBezTo>
                    <a:pt x="155855" y="103729"/>
                    <a:pt x="149753" y="280678"/>
                    <a:pt x="137550" y="298983"/>
                  </a:cubicBezTo>
                  <a:cubicBezTo>
                    <a:pt x="125347" y="317288"/>
                    <a:pt x="36872" y="402712"/>
                    <a:pt x="30771" y="408813"/>
                  </a:cubicBezTo>
                  <a:cubicBezTo>
                    <a:pt x="21618" y="414915"/>
                    <a:pt x="-2789" y="384407"/>
                    <a:pt x="262" y="372203"/>
                  </a:cubicBezTo>
                  <a:cubicBezTo>
                    <a:pt x="24669" y="286779"/>
                    <a:pt x="9414" y="61017"/>
                    <a:pt x="9414" y="61017"/>
                  </a:cubicBez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1" name="任意多边形: 形状 260">
              <a:extLst>
                <a:ext uri="{FF2B5EF4-FFF2-40B4-BE49-F238E27FC236}">
                  <a16:creationId xmlns:a16="http://schemas.microsoft.com/office/drawing/2014/main" id="{F9A54D59-09B3-4584-9697-03BA2B868292}"/>
                </a:ext>
              </a:extLst>
            </p:cNvPr>
            <p:cNvSpPr/>
            <p:nvPr/>
          </p:nvSpPr>
          <p:spPr>
            <a:xfrm>
              <a:off x="8264106" y="6179007"/>
              <a:ext cx="164745" cy="356983"/>
            </a:xfrm>
            <a:custGeom>
              <a:avLst/>
              <a:gdLst>
                <a:gd name="connsiteX0" fmla="*/ 0 w 164745"/>
                <a:gd name="connsiteY0" fmla="*/ 82373 h 356983"/>
                <a:gd name="connsiteX1" fmla="*/ 48813 w 164745"/>
                <a:gd name="connsiteY1" fmla="*/ 155593 h 356983"/>
                <a:gd name="connsiteX2" fmla="*/ 70170 w 164745"/>
                <a:gd name="connsiteY2" fmla="*/ 356950 h 356983"/>
                <a:gd name="connsiteX3" fmla="*/ 164746 w 164745"/>
                <a:gd name="connsiteY3" fmla="*/ 115932 h 356983"/>
                <a:gd name="connsiteX4" fmla="*/ 103729 w 164745"/>
                <a:gd name="connsiteY4" fmla="*/ 0 h 356983"/>
                <a:gd name="connsiteX5" fmla="*/ 0 w 164745"/>
                <a:gd name="connsiteY5" fmla="*/ 82373 h 356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745" h="356983">
                  <a:moveTo>
                    <a:pt x="0" y="82373"/>
                  </a:moveTo>
                  <a:lnTo>
                    <a:pt x="48813" y="155593"/>
                  </a:lnTo>
                  <a:cubicBezTo>
                    <a:pt x="48813" y="155593"/>
                    <a:pt x="42712" y="360000"/>
                    <a:pt x="70170" y="356950"/>
                  </a:cubicBezTo>
                  <a:cubicBezTo>
                    <a:pt x="97627" y="353899"/>
                    <a:pt x="164746" y="115932"/>
                    <a:pt x="164746" y="115932"/>
                  </a:cubicBezTo>
                  <a:lnTo>
                    <a:pt x="103729" y="0"/>
                  </a:lnTo>
                  <a:lnTo>
                    <a:pt x="0" y="82373"/>
                  </a:ln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2" name="任意多边形: 形状 261">
              <a:extLst>
                <a:ext uri="{FF2B5EF4-FFF2-40B4-BE49-F238E27FC236}">
                  <a16:creationId xmlns:a16="http://schemas.microsoft.com/office/drawing/2014/main" id="{C2AE2D47-9833-4117-B31A-C6D92905FCD0}"/>
                </a:ext>
              </a:extLst>
            </p:cNvPr>
            <p:cNvSpPr/>
            <p:nvPr/>
          </p:nvSpPr>
          <p:spPr>
            <a:xfrm>
              <a:off x="8571980" y="6221719"/>
              <a:ext cx="226025" cy="409611"/>
            </a:xfrm>
            <a:custGeom>
              <a:avLst/>
              <a:gdLst>
                <a:gd name="connsiteX0" fmla="*/ 9415 w 226025"/>
                <a:gd name="connsiteY0" fmla="*/ 61017 h 409611"/>
                <a:gd name="connsiteX1" fmla="*/ 30771 w 226025"/>
                <a:gd name="connsiteY1" fmla="*/ 262373 h 409611"/>
                <a:gd name="connsiteX2" fmla="*/ 125347 w 226025"/>
                <a:gd name="connsiteY2" fmla="*/ 21356 h 409611"/>
                <a:gd name="connsiteX3" fmla="*/ 113144 w 226025"/>
                <a:gd name="connsiteY3" fmla="*/ 0 h 409611"/>
                <a:gd name="connsiteX4" fmla="*/ 177211 w 226025"/>
                <a:gd name="connsiteY4" fmla="*/ 45763 h 409611"/>
                <a:gd name="connsiteX5" fmla="*/ 226025 w 226025"/>
                <a:gd name="connsiteY5" fmla="*/ 125084 h 409611"/>
                <a:gd name="connsiteX6" fmla="*/ 207720 w 226025"/>
                <a:gd name="connsiteY6" fmla="*/ 143390 h 409611"/>
                <a:gd name="connsiteX7" fmla="*/ 155855 w 226025"/>
                <a:gd name="connsiteY7" fmla="*/ 103729 h 409611"/>
                <a:gd name="connsiteX8" fmla="*/ 137550 w 226025"/>
                <a:gd name="connsiteY8" fmla="*/ 298983 h 409611"/>
                <a:gd name="connsiteX9" fmla="*/ 30771 w 226025"/>
                <a:gd name="connsiteY9" fmla="*/ 408813 h 409611"/>
                <a:gd name="connsiteX10" fmla="*/ 262 w 226025"/>
                <a:gd name="connsiteY10" fmla="*/ 372203 h 409611"/>
                <a:gd name="connsiteX11" fmla="*/ 9415 w 226025"/>
                <a:gd name="connsiteY11" fmla="*/ 61017 h 409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025" h="409611">
                  <a:moveTo>
                    <a:pt x="9415" y="61017"/>
                  </a:moveTo>
                  <a:cubicBezTo>
                    <a:pt x="9415" y="61017"/>
                    <a:pt x="9415" y="268475"/>
                    <a:pt x="30771" y="262373"/>
                  </a:cubicBezTo>
                  <a:cubicBezTo>
                    <a:pt x="49076" y="259322"/>
                    <a:pt x="125347" y="21356"/>
                    <a:pt x="125347" y="21356"/>
                  </a:cubicBezTo>
                  <a:lnTo>
                    <a:pt x="113144" y="0"/>
                  </a:lnTo>
                  <a:cubicBezTo>
                    <a:pt x="113144" y="0"/>
                    <a:pt x="165008" y="21356"/>
                    <a:pt x="177211" y="45763"/>
                  </a:cubicBezTo>
                  <a:cubicBezTo>
                    <a:pt x="192466" y="70170"/>
                    <a:pt x="226025" y="125084"/>
                    <a:pt x="226025" y="125084"/>
                  </a:cubicBezTo>
                  <a:lnTo>
                    <a:pt x="207720" y="143390"/>
                  </a:lnTo>
                  <a:lnTo>
                    <a:pt x="155855" y="103729"/>
                  </a:lnTo>
                  <a:cubicBezTo>
                    <a:pt x="155855" y="103729"/>
                    <a:pt x="149754" y="280678"/>
                    <a:pt x="137550" y="298983"/>
                  </a:cubicBezTo>
                  <a:cubicBezTo>
                    <a:pt x="125347" y="317288"/>
                    <a:pt x="36873" y="402712"/>
                    <a:pt x="30771" y="408813"/>
                  </a:cubicBezTo>
                  <a:cubicBezTo>
                    <a:pt x="21618" y="414915"/>
                    <a:pt x="-2789" y="384407"/>
                    <a:pt x="262" y="372203"/>
                  </a:cubicBezTo>
                  <a:cubicBezTo>
                    <a:pt x="24669" y="283729"/>
                    <a:pt x="9415" y="61017"/>
                    <a:pt x="9415" y="61017"/>
                  </a:cubicBez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3" name="任意多边形: 形状 262">
              <a:extLst>
                <a:ext uri="{FF2B5EF4-FFF2-40B4-BE49-F238E27FC236}">
                  <a16:creationId xmlns:a16="http://schemas.microsoft.com/office/drawing/2014/main" id="{F5F1EEBA-040E-437C-9707-FA39E37795AA}"/>
                </a:ext>
              </a:extLst>
            </p:cNvPr>
            <p:cNvSpPr/>
            <p:nvPr/>
          </p:nvSpPr>
          <p:spPr>
            <a:xfrm>
              <a:off x="8532581" y="6127142"/>
              <a:ext cx="164745" cy="356982"/>
            </a:xfrm>
            <a:custGeom>
              <a:avLst/>
              <a:gdLst>
                <a:gd name="connsiteX0" fmla="*/ 0 w 164745"/>
                <a:gd name="connsiteY0" fmla="*/ 82373 h 356982"/>
                <a:gd name="connsiteX1" fmla="*/ 48813 w 164745"/>
                <a:gd name="connsiteY1" fmla="*/ 155593 h 356982"/>
                <a:gd name="connsiteX2" fmla="*/ 70169 w 164745"/>
                <a:gd name="connsiteY2" fmla="*/ 356949 h 356982"/>
                <a:gd name="connsiteX3" fmla="*/ 164746 w 164745"/>
                <a:gd name="connsiteY3" fmla="*/ 115932 h 356982"/>
                <a:gd name="connsiteX4" fmla="*/ 103729 w 164745"/>
                <a:gd name="connsiteY4" fmla="*/ 0 h 356982"/>
                <a:gd name="connsiteX5" fmla="*/ 0 w 164745"/>
                <a:gd name="connsiteY5" fmla="*/ 82373 h 356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745" h="356982">
                  <a:moveTo>
                    <a:pt x="0" y="82373"/>
                  </a:moveTo>
                  <a:lnTo>
                    <a:pt x="48813" y="155593"/>
                  </a:lnTo>
                  <a:cubicBezTo>
                    <a:pt x="48813" y="155593"/>
                    <a:pt x="42712" y="360000"/>
                    <a:pt x="70169" y="356949"/>
                  </a:cubicBezTo>
                  <a:cubicBezTo>
                    <a:pt x="97627" y="353899"/>
                    <a:pt x="164746" y="115932"/>
                    <a:pt x="164746" y="115932"/>
                  </a:cubicBezTo>
                  <a:lnTo>
                    <a:pt x="103729" y="0"/>
                  </a:lnTo>
                  <a:lnTo>
                    <a:pt x="0" y="82373"/>
                  </a:ln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4" name="任意多边形: 形状 263">
              <a:extLst>
                <a:ext uri="{FF2B5EF4-FFF2-40B4-BE49-F238E27FC236}">
                  <a16:creationId xmlns:a16="http://schemas.microsoft.com/office/drawing/2014/main" id="{D33E09A1-DBF7-40D8-AA62-BF5034E958B6}"/>
                </a:ext>
              </a:extLst>
            </p:cNvPr>
            <p:cNvSpPr/>
            <p:nvPr/>
          </p:nvSpPr>
          <p:spPr>
            <a:xfrm>
              <a:off x="7501394" y="3809669"/>
              <a:ext cx="708680" cy="785948"/>
            </a:xfrm>
            <a:custGeom>
              <a:avLst/>
              <a:gdLst>
                <a:gd name="connsiteX0" fmla="*/ 686441 w 708680"/>
                <a:gd name="connsiteY0" fmla="*/ 282558 h 785948"/>
                <a:gd name="connsiteX1" fmla="*/ 610170 w 708680"/>
                <a:gd name="connsiteY1" fmla="*/ 1881 h 785948"/>
                <a:gd name="connsiteX2" fmla="*/ 360000 w 708680"/>
                <a:gd name="connsiteY2" fmla="*/ 288660 h 785948"/>
                <a:gd name="connsiteX3" fmla="*/ 210508 w 708680"/>
                <a:gd name="connsiteY3" fmla="*/ 587643 h 785948"/>
                <a:gd name="connsiteX4" fmla="*/ 0 w 708680"/>
                <a:gd name="connsiteY4" fmla="*/ 337474 h 785948"/>
                <a:gd name="connsiteX5" fmla="*/ 21356 w 708680"/>
                <a:gd name="connsiteY5" fmla="*/ 444253 h 785948"/>
                <a:gd name="connsiteX6" fmla="*/ 353898 w 708680"/>
                <a:gd name="connsiteY6" fmla="*/ 785948 h 785948"/>
                <a:gd name="connsiteX7" fmla="*/ 686441 w 708680"/>
                <a:gd name="connsiteY7" fmla="*/ 282558 h 78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8680" h="785948">
                  <a:moveTo>
                    <a:pt x="686441" y="282558"/>
                  </a:moveTo>
                  <a:cubicBezTo>
                    <a:pt x="741356" y="145270"/>
                    <a:pt x="686441" y="-19476"/>
                    <a:pt x="610170" y="1881"/>
                  </a:cubicBezTo>
                  <a:cubicBezTo>
                    <a:pt x="521695" y="26287"/>
                    <a:pt x="417966" y="120863"/>
                    <a:pt x="360000" y="288660"/>
                  </a:cubicBezTo>
                  <a:cubicBezTo>
                    <a:pt x="326441" y="386287"/>
                    <a:pt x="228814" y="590694"/>
                    <a:pt x="210508" y="587643"/>
                  </a:cubicBezTo>
                  <a:cubicBezTo>
                    <a:pt x="204407" y="587643"/>
                    <a:pt x="0" y="337474"/>
                    <a:pt x="0" y="337474"/>
                  </a:cubicBezTo>
                  <a:cubicBezTo>
                    <a:pt x="15254" y="364931"/>
                    <a:pt x="21356" y="444253"/>
                    <a:pt x="21356" y="444253"/>
                  </a:cubicBezTo>
                  <a:cubicBezTo>
                    <a:pt x="21356" y="444253"/>
                    <a:pt x="268475" y="785948"/>
                    <a:pt x="353898" y="785948"/>
                  </a:cubicBezTo>
                  <a:cubicBezTo>
                    <a:pt x="485085" y="782897"/>
                    <a:pt x="616271" y="453406"/>
                    <a:pt x="686441" y="282558"/>
                  </a:cubicBezTo>
                  <a:close/>
                </a:path>
              </a:pathLst>
            </a:custGeom>
            <a:solidFill>
              <a:srgbClr val="7E94B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5" name="任意多边形: 形状 264">
              <a:extLst>
                <a:ext uri="{FF2B5EF4-FFF2-40B4-BE49-F238E27FC236}">
                  <a16:creationId xmlns:a16="http://schemas.microsoft.com/office/drawing/2014/main" id="{4A2A756C-9882-4464-93CA-870177B2EFFF}"/>
                </a:ext>
              </a:extLst>
            </p:cNvPr>
            <p:cNvSpPr/>
            <p:nvPr/>
          </p:nvSpPr>
          <p:spPr>
            <a:xfrm>
              <a:off x="8095373" y="4796295"/>
              <a:ext cx="711726" cy="1449830"/>
            </a:xfrm>
            <a:custGeom>
              <a:avLst/>
              <a:gdLst>
                <a:gd name="connsiteX0" fmla="*/ 669072 w 711726"/>
                <a:gd name="connsiteY0" fmla="*/ 6780 h 1449830"/>
                <a:gd name="connsiteX1" fmla="*/ 699581 w 711726"/>
                <a:gd name="connsiteY1" fmla="*/ 302712 h 1449830"/>
                <a:gd name="connsiteX2" fmla="*/ 333479 w 711726"/>
                <a:gd name="connsiteY2" fmla="*/ 494915 h 1449830"/>
                <a:gd name="connsiteX3" fmla="*/ 598903 w 711726"/>
                <a:gd name="connsiteY3" fmla="*/ 1376610 h 1449830"/>
                <a:gd name="connsiteX4" fmla="*/ 437208 w 711726"/>
                <a:gd name="connsiteY4" fmla="*/ 1449831 h 1449830"/>
                <a:gd name="connsiteX5" fmla="*/ 937 w 711726"/>
                <a:gd name="connsiteY5" fmla="*/ 430847 h 1449830"/>
                <a:gd name="connsiteX6" fmla="*/ 367038 w 711726"/>
                <a:gd name="connsiteY6" fmla="*/ 6780 h 1449830"/>
                <a:gd name="connsiteX7" fmla="*/ 669072 w 711726"/>
                <a:gd name="connsiteY7" fmla="*/ 6780 h 144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1726" h="1449830">
                  <a:moveTo>
                    <a:pt x="669072" y="6780"/>
                  </a:moveTo>
                  <a:cubicBezTo>
                    <a:pt x="669072" y="6780"/>
                    <a:pt x="739242" y="189831"/>
                    <a:pt x="699581" y="302712"/>
                  </a:cubicBezTo>
                  <a:cubicBezTo>
                    <a:pt x="656869" y="415593"/>
                    <a:pt x="357886" y="443051"/>
                    <a:pt x="333479" y="494915"/>
                  </a:cubicBezTo>
                  <a:cubicBezTo>
                    <a:pt x="309072" y="549830"/>
                    <a:pt x="598903" y="1376610"/>
                    <a:pt x="598903" y="1376610"/>
                  </a:cubicBezTo>
                  <a:cubicBezTo>
                    <a:pt x="598903" y="1376610"/>
                    <a:pt x="516530" y="1440678"/>
                    <a:pt x="437208" y="1449831"/>
                  </a:cubicBezTo>
                  <a:cubicBezTo>
                    <a:pt x="437208" y="1449831"/>
                    <a:pt x="-23470" y="574237"/>
                    <a:pt x="937" y="430847"/>
                  </a:cubicBezTo>
                  <a:cubicBezTo>
                    <a:pt x="25344" y="287458"/>
                    <a:pt x="309072" y="18983"/>
                    <a:pt x="367038" y="6780"/>
                  </a:cubicBezTo>
                  <a:cubicBezTo>
                    <a:pt x="421954" y="-8475"/>
                    <a:pt x="669072" y="6780"/>
                    <a:pt x="669072" y="6780"/>
                  </a:cubicBezTo>
                  <a:close/>
                </a:path>
              </a:pathLst>
            </a:custGeom>
            <a:solidFill>
              <a:srgbClr val="F6EBE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6" name="任意多边形: 形状 265">
              <a:extLst>
                <a:ext uri="{FF2B5EF4-FFF2-40B4-BE49-F238E27FC236}">
                  <a16:creationId xmlns:a16="http://schemas.microsoft.com/office/drawing/2014/main" id="{59344F1E-D35C-4478-AE9E-90F3EAC4B7B7}"/>
                </a:ext>
              </a:extLst>
            </p:cNvPr>
            <p:cNvSpPr/>
            <p:nvPr/>
          </p:nvSpPr>
          <p:spPr>
            <a:xfrm>
              <a:off x="7618158" y="4795292"/>
              <a:ext cx="841201" cy="1487443"/>
            </a:xfrm>
            <a:custGeom>
              <a:avLst/>
              <a:gdLst>
                <a:gd name="connsiteX0" fmla="*/ 841202 w 841201"/>
                <a:gd name="connsiteY0" fmla="*/ 7783 h 1487443"/>
                <a:gd name="connsiteX1" fmla="*/ 703914 w 841201"/>
                <a:gd name="connsiteY1" fmla="*/ 303715 h 1487443"/>
                <a:gd name="connsiteX2" fmla="*/ 371372 w 841201"/>
                <a:gd name="connsiteY2" fmla="*/ 431850 h 1487443"/>
                <a:gd name="connsiteX3" fmla="*/ 795439 w 841201"/>
                <a:gd name="connsiteY3" fmla="*/ 1414223 h 1487443"/>
                <a:gd name="connsiteX4" fmla="*/ 633744 w 841201"/>
                <a:gd name="connsiteY4" fmla="*/ 1487444 h 1487443"/>
                <a:gd name="connsiteX5" fmla="*/ 2219 w 841201"/>
                <a:gd name="connsiteY5" fmla="*/ 322020 h 1487443"/>
                <a:gd name="connsiteX6" fmla="*/ 374422 w 841201"/>
                <a:gd name="connsiteY6" fmla="*/ 4732 h 1487443"/>
                <a:gd name="connsiteX7" fmla="*/ 841202 w 841201"/>
                <a:gd name="connsiteY7" fmla="*/ 7783 h 148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1201" h="1487443">
                  <a:moveTo>
                    <a:pt x="841202" y="7783"/>
                  </a:moveTo>
                  <a:cubicBezTo>
                    <a:pt x="841202" y="7783"/>
                    <a:pt x="746626" y="190834"/>
                    <a:pt x="703914" y="303715"/>
                  </a:cubicBezTo>
                  <a:cubicBezTo>
                    <a:pt x="661202" y="416596"/>
                    <a:pt x="395778" y="379986"/>
                    <a:pt x="371372" y="431850"/>
                  </a:cubicBezTo>
                  <a:cubicBezTo>
                    <a:pt x="346965" y="486766"/>
                    <a:pt x="795439" y="1414223"/>
                    <a:pt x="795439" y="1414223"/>
                  </a:cubicBezTo>
                  <a:cubicBezTo>
                    <a:pt x="795439" y="1414223"/>
                    <a:pt x="713066" y="1478291"/>
                    <a:pt x="633744" y="1487444"/>
                  </a:cubicBezTo>
                  <a:cubicBezTo>
                    <a:pt x="633744" y="1487444"/>
                    <a:pt x="-43544" y="572190"/>
                    <a:pt x="2219" y="322020"/>
                  </a:cubicBezTo>
                  <a:cubicBezTo>
                    <a:pt x="26626" y="178630"/>
                    <a:pt x="316456" y="19986"/>
                    <a:pt x="374422" y="4732"/>
                  </a:cubicBezTo>
                  <a:cubicBezTo>
                    <a:pt x="429337" y="-7471"/>
                    <a:pt x="841202" y="7783"/>
                    <a:pt x="841202" y="7783"/>
                  </a:cubicBezTo>
                  <a:close/>
                </a:path>
              </a:pathLst>
            </a:custGeom>
            <a:solidFill>
              <a:srgbClr val="F6EBE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7" name="任意多边形: 形状 266">
              <a:extLst>
                <a:ext uri="{FF2B5EF4-FFF2-40B4-BE49-F238E27FC236}">
                  <a16:creationId xmlns:a16="http://schemas.microsoft.com/office/drawing/2014/main" id="{165A89C9-771D-4167-B30E-F051B9D10E9A}"/>
                </a:ext>
              </a:extLst>
            </p:cNvPr>
            <p:cNvSpPr/>
            <p:nvPr/>
          </p:nvSpPr>
          <p:spPr>
            <a:xfrm>
              <a:off x="8160377" y="4910617"/>
              <a:ext cx="170084" cy="295169"/>
            </a:xfrm>
            <a:custGeom>
              <a:avLst/>
              <a:gdLst>
                <a:gd name="connsiteX0" fmla="*/ 6102 w 170084"/>
                <a:gd name="connsiteY0" fmla="*/ 295169 h 295169"/>
                <a:gd name="connsiteX1" fmla="*/ 6102 w 170084"/>
                <a:gd name="connsiteY1" fmla="*/ 295169 h 295169"/>
                <a:gd name="connsiteX2" fmla="*/ 0 w 170084"/>
                <a:gd name="connsiteY2" fmla="*/ 289068 h 295169"/>
                <a:gd name="connsiteX3" fmla="*/ 158644 w 170084"/>
                <a:gd name="connsiteY3" fmla="*/ 2288 h 295169"/>
                <a:gd name="connsiteX4" fmla="*/ 167797 w 170084"/>
                <a:gd name="connsiteY4" fmla="*/ 2288 h 295169"/>
                <a:gd name="connsiteX5" fmla="*/ 167797 w 170084"/>
                <a:gd name="connsiteY5" fmla="*/ 11441 h 295169"/>
                <a:gd name="connsiteX6" fmla="*/ 15254 w 170084"/>
                <a:gd name="connsiteY6" fmla="*/ 289068 h 295169"/>
                <a:gd name="connsiteX7" fmla="*/ 6102 w 170084"/>
                <a:gd name="connsiteY7" fmla="*/ 295169 h 295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084" h="295169">
                  <a:moveTo>
                    <a:pt x="6102" y="295169"/>
                  </a:moveTo>
                  <a:cubicBezTo>
                    <a:pt x="6102" y="295169"/>
                    <a:pt x="6102" y="295169"/>
                    <a:pt x="6102" y="295169"/>
                  </a:cubicBezTo>
                  <a:cubicBezTo>
                    <a:pt x="3051" y="295169"/>
                    <a:pt x="0" y="292119"/>
                    <a:pt x="0" y="289068"/>
                  </a:cubicBezTo>
                  <a:cubicBezTo>
                    <a:pt x="0" y="286017"/>
                    <a:pt x="21356" y="118220"/>
                    <a:pt x="158644" y="2288"/>
                  </a:cubicBezTo>
                  <a:cubicBezTo>
                    <a:pt x="161695" y="-763"/>
                    <a:pt x="164746" y="-763"/>
                    <a:pt x="167797" y="2288"/>
                  </a:cubicBezTo>
                  <a:cubicBezTo>
                    <a:pt x="170848" y="5339"/>
                    <a:pt x="170848" y="8390"/>
                    <a:pt x="167797" y="11441"/>
                  </a:cubicBezTo>
                  <a:cubicBezTo>
                    <a:pt x="33560" y="124322"/>
                    <a:pt x="15254" y="289068"/>
                    <a:pt x="15254" y="289068"/>
                  </a:cubicBezTo>
                  <a:cubicBezTo>
                    <a:pt x="12204" y="295169"/>
                    <a:pt x="9153" y="295169"/>
                    <a:pt x="6102" y="295169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8" name="任意多边形: 形状 267">
              <a:extLst>
                <a:ext uri="{FF2B5EF4-FFF2-40B4-BE49-F238E27FC236}">
                  <a16:creationId xmlns:a16="http://schemas.microsoft.com/office/drawing/2014/main" id="{899CEA86-6FA4-40D9-A118-711BFDAEF380}"/>
                </a:ext>
              </a:extLst>
            </p:cNvPr>
            <p:cNvSpPr/>
            <p:nvPr/>
          </p:nvSpPr>
          <p:spPr>
            <a:xfrm>
              <a:off x="7965123" y="5562735"/>
              <a:ext cx="364314" cy="704745"/>
            </a:xfrm>
            <a:custGeom>
              <a:avLst/>
              <a:gdLst>
                <a:gd name="connsiteX0" fmla="*/ 356949 w 364314"/>
                <a:gd name="connsiteY0" fmla="*/ 704746 h 704745"/>
                <a:gd name="connsiteX1" fmla="*/ 350847 w 364314"/>
                <a:gd name="connsiteY1" fmla="*/ 701695 h 704745"/>
                <a:gd name="connsiteX2" fmla="*/ 0 w 364314"/>
                <a:gd name="connsiteY2" fmla="*/ 9153 h 704745"/>
                <a:gd name="connsiteX3" fmla="*/ 3051 w 364314"/>
                <a:gd name="connsiteY3" fmla="*/ 0 h 704745"/>
                <a:gd name="connsiteX4" fmla="*/ 12203 w 364314"/>
                <a:gd name="connsiteY4" fmla="*/ 3051 h 704745"/>
                <a:gd name="connsiteX5" fmla="*/ 363051 w 364314"/>
                <a:gd name="connsiteY5" fmla="*/ 695593 h 704745"/>
                <a:gd name="connsiteX6" fmla="*/ 360000 w 364314"/>
                <a:gd name="connsiteY6" fmla="*/ 704746 h 704745"/>
                <a:gd name="connsiteX7" fmla="*/ 356949 w 364314"/>
                <a:gd name="connsiteY7" fmla="*/ 704746 h 704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4314" h="704745">
                  <a:moveTo>
                    <a:pt x="356949" y="704746"/>
                  </a:moveTo>
                  <a:cubicBezTo>
                    <a:pt x="353899" y="704746"/>
                    <a:pt x="353899" y="704746"/>
                    <a:pt x="350847" y="701695"/>
                  </a:cubicBezTo>
                  <a:cubicBezTo>
                    <a:pt x="228814" y="518644"/>
                    <a:pt x="3051" y="12203"/>
                    <a:pt x="0" y="9153"/>
                  </a:cubicBezTo>
                  <a:cubicBezTo>
                    <a:pt x="0" y="6102"/>
                    <a:pt x="0" y="3051"/>
                    <a:pt x="3051" y="0"/>
                  </a:cubicBezTo>
                  <a:cubicBezTo>
                    <a:pt x="6102" y="0"/>
                    <a:pt x="9153" y="0"/>
                    <a:pt x="12203" y="3051"/>
                  </a:cubicBezTo>
                  <a:cubicBezTo>
                    <a:pt x="15254" y="9153"/>
                    <a:pt x="241017" y="512542"/>
                    <a:pt x="363051" y="695593"/>
                  </a:cubicBezTo>
                  <a:cubicBezTo>
                    <a:pt x="366102" y="698644"/>
                    <a:pt x="363051" y="701695"/>
                    <a:pt x="360000" y="704746"/>
                  </a:cubicBezTo>
                  <a:cubicBezTo>
                    <a:pt x="360000" y="704746"/>
                    <a:pt x="360000" y="704746"/>
                    <a:pt x="356949" y="704746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9" name="任意多边形: 形状 268">
              <a:extLst>
                <a:ext uri="{FF2B5EF4-FFF2-40B4-BE49-F238E27FC236}">
                  <a16:creationId xmlns:a16="http://schemas.microsoft.com/office/drawing/2014/main" id="{E2DE9B82-0B33-4B9D-AFF6-8870279AD1BE}"/>
                </a:ext>
              </a:extLst>
            </p:cNvPr>
            <p:cNvSpPr/>
            <p:nvPr/>
          </p:nvSpPr>
          <p:spPr>
            <a:xfrm>
              <a:off x="8288513" y="5364430"/>
              <a:ext cx="304037" cy="872542"/>
            </a:xfrm>
            <a:custGeom>
              <a:avLst/>
              <a:gdLst>
                <a:gd name="connsiteX0" fmla="*/ 298983 w 304037"/>
                <a:gd name="connsiteY0" fmla="*/ 872543 h 872542"/>
                <a:gd name="connsiteX1" fmla="*/ 292881 w 304037"/>
                <a:gd name="connsiteY1" fmla="*/ 869492 h 872542"/>
                <a:gd name="connsiteX2" fmla="*/ 0 w 304037"/>
                <a:gd name="connsiteY2" fmla="*/ 6102 h 872542"/>
                <a:gd name="connsiteX3" fmla="*/ 3051 w 304037"/>
                <a:gd name="connsiteY3" fmla="*/ 0 h 872542"/>
                <a:gd name="connsiteX4" fmla="*/ 9152 w 304037"/>
                <a:gd name="connsiteY4" fmla="*/ 3051 h 872542"/>
                <a:gd name="connsiteX5" fmla="*/ 302034 w 304037"/>
                <a:gd name="connsiteY5" fmla="*/ 866441 h 872542"/>
                <a:gd name="connsiteX6" fmla="*/ 298983 w 304037"/>
                <a:gd name="connsiteY6" fmla="*/ 872543 h 872542"/>
                <a:gd name="connsiteX7" fmla="*/ 298983 w 304037"/>
                <a:gd name="connsiteY7" fmla="*/ 872543 h 87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4037" h="872542">
                  <a:moveTo>
                    <a:pt x="298983" y="872543"/>
                  </a:moveTo>
                  <a:cubicBezTo>
                    <a:pt x="295932" y="872543"/>
                    <a:pt x="295932" y="872543"/>
                    <a:pt x="292881" y="869492"/>
                  </a:cubicBezTo>
                  <a:cubicBezTo>
                    <a:pt x="167797" y="604068"/>
                    <a:pt x="0" y="12203"/>
                    <a:pt x="0" y="6102"/>
                  </a:cubicBezTo>
                  <a:cubicBezTo>
                    <a:pt x="0" y="3051"/>
                    <a:pt x="0" y="0"/>
                    <a:pt x="3051" y="0"/>
                  </a:cubicBezTo>
                  <a:cubicBezTo>
                    <a:pt x="6102" y="0"/>
                    <a:pt x="9152" y="0"/>
                    <a:pt x="9152" y="3051"/>
                  </a:cubicBezTo>
                  <a:cubicBezTo>
                    <a:pt x="12203" y="9153"/>
                    <a:pt x="176949" y="601017"/>
                    <a:pt x="302034" y="866441"/>
                  </a:cubicBezTo>
                  <a:cubicBezTo>
                    <a:pt x="305085" y="869492"/>
                    <a:pt x="305085" y="872543"/>
                    <a:pt x="298983" y="872543"/>
                  </a:cubicBezTo>
                  <a:cubicBezTo>
                    <a:pt x="298983" y="872543"/>
                    <a:pt x="298983" y="872543"/>
                    <a:pt x="298983" y="872543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0" name="任意多边形: 形状 269">
              <a:extLst>
                <a:ext uri="{FF2B5EF4-FFF2-40B4-BE49-F238E27FC236}">
                  <a16:creationId xmlns:a16="http://schemas.microsoft.com/office/drawing/2014/main" id="{28EA61B1-CA06-43C9-AB86-B70948E14A0A}"/>
                </a:ext>
              </a:extLst>
            </p:cNvPr>
            <p:cNvSpPr/>
            <p:nvPr/>
          </p:nvSpPr>
          <p:spPr>
            <a:xfrm>
              <a:off x="7881934" y="3065756"/>
              <a:ext cx="483599" cy="779352"/>
            </a:xfrm>
            <a:custGeom>
              <a:avLst/>
              <a:gdLst>
                <a:gd name="connsiteX0" fmla="*/ 452342 w 483599"/>
                <a:gd name="connsiteY0" fmla="*/ 465115 h 779352"/>
                <a:gd name="connsiteX1" fmla="*/ 430986 w 483599"/>
                <a:gd name="connsiteY1" fmla="*/ 306471 h 779352"/>
                <a:gd name="connsiteX2" fmla="*/ 461494 w 483599"/>
                <a:gd name="connsiteY2" fmla="*/ 156980 h 779352"/>
                <a:gd name="connsiteX3" fmla="*/ 482851 w 483599"/>
                <a:gd name="connsiteY3" fmla="*/ 4437 h 779352"/>
                <a:gd name="connsiteX4" fmla="*/ 186918 w 483599"/>
                <a:gd name="connsiteY4" fmla="*/ 211895 h 779352"/>
                <a:gd name="connsiteX5" fmla="*/ 193020 w 483599"/>
                <a:gd name="connsiteY5" fmla="*/ 269861 h 779352"/>
                <a:gd name="connsiteX6" fmla="*/ 150308 w 483599"/>
                <a:gd name="connsiteY6" fmla="*/ 330878 h 779352"/>
                <a:gd name="connsiteX7" fmla="*/ 104545 w 483599"/>
                <a:gd name="connsiteY7" fmla="*/ 404098 h 779352"/>
                <a:gd name="connsiteX8" fmla="*/ 113698 w 483599"/>
                <a:gd name="connsiteY8" fmla="*/ 492573 h 779352"/>
                <a:gd name="connsiteX9" fmla="*/ 98444 w 483599"/>
                <a:gd name="connsiteY9" fmla="*/ 568844 h 779352"/>
                <a:gd name="connsiteX10" fmla="*/ 46579 w 483599"/>
                <a:gd name="connsiteY10" fmla="*/ 608505 h 779352"/>
                <a:gd name="connsiteX11" fmla="*/ 22173 w 483599"/>
                <a:gd name="connsiteY11" fmla="*/ 736641 h 779352"/>
                <a:gd name="connsiteX12" fmla="*/ 229630 w 483599"/>
                <a:gd name="connsiteY12" fmla="*/ 745793 h 779352"/>
                <a:gd name="connsiteX13" fmla="*/ 305901 w 483599"/>
                <a:gd name="connsiteY13" fmla="*/ 779352 h 779352"/>
                <a:gd name="connsiteX14" fmla="*/ 397427 w 483599"/>
                <a:gd name="connsiteY14" fmla="*/ 761047 h 779352"/>
                <a:gd name="connsiteX15" fmla="*/ 473698 w 483599"/>
                <a:gd name="connsiteY15" fmla="*/ 593251 h 779352"/>
                <a:gd name="connsiteX16" fmla="*/ 452342 w 483599"/>
                <a:gd name="connsiteY16" fmla="*/ 465115 h 77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83599" h="779352">
                  <a:moveTo>
                    <a:pt x="452342" y="465115"/>
                  </a:moveTo>
                  <a:cubicBezTo>
                    <a:pt x="440139" y="413251"/>
                    <a:pt x="427935" y="358335"/>
                    <a:pt x="430986" y="306471"/>
                  </a:cubicBezTo>
                  <a:cubicBezTo>
                    <a:pt x="434037" y="254607"/>
                    <a:pt x="443190" y="205793"/>
                    <a:pt x="461494" y="156980"/>
                  </a:cubicBezTo>
                  <a:cubicBezTo>
                    <a:pt x="479800" y="105115"/>
                    <a:pt x="485901" y="1386"/>
                    <a:pt x="482851" y="4437"/>
                  </a:cubicBezTo>
                  <a:cubicBezTo>
                    <a:pt x="363867" y="-23021"/>
                    <a:pt x="174715" y="80708"/>
                    <a:pt x="186918" y="211895"/>
                  </a:cubicBezTo>
                  <a:cubicBezTo>
                    <a:pt x="189969" y="230200"/>
                    <a:pt x="193020" y="251556"/>
                    <a:pt x="193020" y="269861"/>
                  </a:cubicBezTo>
                  <a:cubicBezTo>
                    <a:pt x="189969" y="300369"/>
                    <a:pt x="171664" y="312573"/>
                    <a:pt x="150308" y="330878"/>
                  </a:cubicBezTo>
                  <a:cubicBezTo>
                    <a:pt x="128952" y="349183"/>
                    <a:pt x="110647" y="373590"/>
                    <a:pt x="104545" y="404098"/>
                  </a:cubicBezTo>
                  <a:cubicBezTo>
                    <a:pt x="95393" y="437658"/>
                    <a:pt x="104545" y="462064"/>
                    <a:pt x="113698" y="492573"/>
                  </a:cubicBezTo>
                  <a:cubicBezTo>
                    <a:pt x="122851" y="523081"/>
                    <a:pt x="122851" y="544437"/>
                    <a:pt x="98444" y="568844"/>
                  </a:cubicBezTo>
                  <a:cubicBezTo>
                    <a:pt x="83190" y="584098"/>
                    <a:pt x="64884" y="596302"/>
                    <a:pt x="46579" y="608505"/>
                  </a:cubicBezTo>
                  <a:cubicBezTo>
                    <a:pt x="9969" y="639014"/>
                    <a:pt x="-23590" y="696979"/>
                    <a:pt x="22173" y="736641"/>
                  </a:cubicBezTo>
                  <a:cubicBezTo>
                    <a:pt x="83190" y="788505"/>
                    <a:pt x="162512" y="712234"/>
                    <a:pt x="229630" y="745793"/>
                  </a:cubicBezTo>
                  <a:cubicBezTo>
                    <a:pt x="257088" y="757996"/>
                    <a:pt x="275393" y="776302"/>
                    <a:pt x="305901" y="779352"/>
                  </a:cubicBezTo>
                  <a:cubicBezTo>
                    <a:pt x="333359" y="779352"/>
                    <a:pt x="373020" y="773251"/>
                    <a:pt x="397427" y="761047"/>
                  </a:cubicBezTo>
                  <a:cubicBezTo>
                    <a:pt x="449291" y="733590"/>
                    <a:pt x="470647" y="645115"/>
                    <a:pt x="473698" y="593251"/>
                  </a:cubicBezTo>
                  <a:cubicBezTo>
                    <a:pt x="479800" y="550539"/>
                    <a:pt x="464545" y="507827"/>
                    <a:pt x="452342" y="465115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1" name="任意多边形: 形状 270">
              <a:extLst>
                <a:ext uri="{FF2B5EF4-FFF2-40B4-BE49-F238E27FC236}">
                  <a16:creationId xmlns:a16="http://schemas.microsoft.com/office/drawing/2014/main" id="{39D4ECAF-D430-40F2-BB69-949A03572A46}"/>
                </a:ext>
              </a:extLst>
            </p:cNvPr>
            <p:cNvSpPr/>
            <p:nvPr/>
          </p:nvSpPr>
          <p:spPr>
            <a:xfrm>
              <a:off x="8421253" y="3355148"/>
              <a:ext cx="281057" cy="448960"/>
            </a:xfrm>
            <a:custGeom>
              <a:avLst/>
              <a:gdLst>
                <a:gd name="connsiteX0" fmla="*/ 266921 w 281057"/>
                <a:gd name="connsiteY0" fmla="*/ 334367 h 448960"/>
                <a:gd name="connsiteX1" fmla="*/ 208955 w 281057"/>
                <a:gd name="connsiteY1" fmla="*/ 285553 h 448960"/>
                <a:gd name="connsiteX2" fmla="*/ 208955 w 281057"/>
                <a:gd name="connsiteY2" fmla="*/ 190977 h 448960"/>
                <a:gd name="connsiteX3" fmla="*/ 154040 w 281057"/>
                <a:gd name="connsiteY3" fmla="*/ 23181 h 448960"/>
                <a:gd name="connsiteX4" fmla="*/ 157091 w 281057"/>
                <a:gd name="connsiteY4" fmla="*/ 7926 h 448960"/>
                <a:gd name="connsiteX5" fmla="*/ 141836 w 281057"/>
                <a:gd name="connsiteY5" fmla="*/ 1825 h 448960"/>
                <a:gd name="connsiteX6" fmla="*/ 132684 w 281057"/>
                <a:gd name="connsiteY6" fmla="*/ 10977 h 448960"/>
                <a:gd name="connsiteX7" fmla="*/ 135734 w 281057"/>
                <a:gd name="connsiteY7" fmla="*/ 20130 h 448960"/>
                <a:gd name="connsiteX8" fmla="*/ 93023 w 281057"/>
                <a:gd name="connsiteY8" fmla="*/ 93350 h 448960"/>
                <a:gd name="connsiteX9" fmla="*/ 62514 w 281057"/>
                <a:gd name="connsiteY9" fmla="*/ 166570 h 448960"/>
                <a:gd name="connsiteX10" fmla="*/ 1497 w 281057"/>
                <a:gd name="connsiteY10" fmla="*/ 331316 h 448960"/>
                <a:gd name="connsiteX11" fmla="*/ 132684 w 281057"/>
                <a:gd name="connsiteY11" fmla="*/ 438096 h 448960"/>
                <a:gd name="connsiteX12" fmla="*/ 230311 w 281057"/>
                <a:gd name="connsiteY12" fmla="*/ 425893 h 448960"/>
                <a:gd name="connsiteX13" fmla="*/ 269972 w 281057"/>
                <a:gd name="connsiteY13" fmla="*/ 401486 h 448960"/>
                <a:gd name="connsiteX14" fmla="*/ 266921 w 281057"/>
                <a:gd name="connsiteY14" fmla="*/ 334367 h 44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1057" h="448960">
                  <a:moveTo>
                    <a:pt x="266921" y="334367"/>
                  </a:moveTo>
                  <a:cubicBezTo>
                    <a:pt x="251667" y="316062"/>
                    <a:pt x="221158" y="306909"/>
                    <a:pt x="208955" y="285553"/>
                  </a:cubicBezTo>
                  <a:cubicBezTo>
                    <a:pt x="193701" y="258096"/>
                    <a:pt x="208955" y="221486"/>
                    <a:pt x="208955" y="190977"/>
                  </a:cubicBezTo>
                  <a:cubicBezTo>
                    <a:pt x="205904" y="136062"/>
                    <a:pt x="175395" y="75045"/>
                    <a:pt x="154040" y="23181"/>
                  </a:cubicBezTo>
                  <a:cubicBezTo>
                    <a:pt x="154040" y="20130"/>
                    <a:pt x="154040" y="14028"/>
                    <a:pt x="157091" y="7926"/>
                  </a:cubicBezTo>
                  <a:cubicBezTo>
                    <a:pt x="157091" y="-1226"/>
                    <a:pt x="147938" y="-1226"/>
                    <a:pt x="141836" y="1825"/>
                  </a:cubicBezTo>
                  <a:cubicBezTo>
                    <a:pt x="135734" y="1825"/>
                    <a:pt x="132684" y="4875"/>
                    <a:pt x="132684" y="10977"/>
                  </a:cubicBezTo>
                  <a:cubicBezTo>
                    <a:pt x="132684" y="14028"/>
                    <a:pt x="135734" y="17079"/>
                    <a:pt x="135734" y="20130"/>
                  </a:cubicBezTo>
                  <a:cubicBezTo>
                    <a:pt x="129633" y="47587"/>
                    <a:pt x="108277" y="68943"/>
                    <a:pt x="93023" y="93350"/>
                  </a:cubicBezTo>
                  <a:cubicBezTo>
                    <a:pt x="77768" y="117757"/>
                    <a:pt x="68616" y="142164"/>
                    <a:pt x="62514" y="166570"/>
                  </a:cubicBezTo>
                  <a:cubicBezTo>
                    <a:pt x="47260" y="221486"/>
                    <a:pt x="10650" y="273350"/>
                    <a:pt x="1497" y="331316"/>
                  </a:cubicBezTo>
                  <a:cubicBezTo>
                    <a:pt x="-10706" y="413689"/>
                    <a:pt x="53362" y="474706"/>
                    <a:pt x="132684" y="438096"/>
                  </a:cubicBezTo>
                  <a:cubicBezTo>
                    <a:pt x="169294" y="419791"/>
                    <a:pt x="193701" y="431994"/>
                    <a:pt x="230311" y="425893"/>
                  </a:cubicBezTo>
                  <a:cubicBezTo>
                    <a:pt x="245565" y="422842"/>
                    <a:pt x="260819" y="416740"/>
                    <a:pt x="269972" y="401486"/>
                  </a:cubicBezTo>
                  <a:cubicBezTo>
                    <a:pt x="285226" y="386231"/>
                    <a:pt x="285226" y="355723"/>
                    <a:pt x="266921" y="334367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2" name="任意多边形: 形状 271">
              <a:extLst>
                <a:ext uri="{FF2B5EF4-FFF2-40B4-BE49-F238E27FC236}">
                  <a16:creationId xmlns:a16="http://schemas.microsoft.com/office/drawing/2014/main" id="{9AC4174B-FAD3-4AAB-AFD5-E2915190B754}"/>
                </a:ext>
              </a:extLst>
            </p:cNvPr>
            <p:cNvSpPr/>
            <p:nvPr/>
          </p:nvSpPr>
          <p:spPr>
            <a:xfrm>
              <a:off x="7998968" y="3731416"/>
              <a:ext cx="786494" cy="908158"/>
            </a:xfrm>
            <a:custGeom>
              <a:avLst/>
              <a:gdLst>
                <a:gd name="connsiteX0" fmla="*/ 72935 w 786494"/>
                <a:gd name="connsiteY0" fmla="*/ 888608 h 908158"/>
                <a:gd name="connsiteX1" fmla="*/ 683104 w 786494"/>
                <a:gd name="connsiteY1" fmla="*/ 879455 h 908158"/>
                <a:gd name="connsiteX2" fmla="*/ 750223 w 786494"/>
                <a:gd name="connsiteY2" fmla="*/ 382167 h 908158"/>
                <a:gd name="connsiteX3" fmla="*/ 722766 w 786494"/>
                <a:gd name="connsiteY3" fmla="*/ 58777 h 908158"/>
                <a:gd name="connsiteX4" fmla="*/ 353613 w 786494"/>
                <a:gd name="connsiteY4" fmla="*/ 6913 h 908158"/>
                <a:gd name="connsiteX5" fmla="*/ 36325 w 786494"/>
                <a:gd name="connsiteY5" fmla="*/ 150303 h 908158"/>
                <a:gd name="connsiteX6" fmla="*/ 72935 w 786494"/>
                <a:gd name="connsiteY6" fmla="*/ 888608 h 908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6494" h="908158">
                  <a:moveTo>
                    <a:pt x="72935" y="888608"/>
                  </a:moveTo>
                  <a:cubicBezTo>
                    <a:pt x="72935" y="894709"/>
                    <a:pt x="445138" y="934371"/>
                    <a:pt x="683104" y="879455"/>
                  </a:cubicBezTo>
                  <a:cubicBezTo>
                    <a:pt x="670901" y="790981"/>
                    <a:pt x="731918" y="452337"/>
                    <a:pt x="750223" y="382167"/>
                  </a:cubicBezTo>
                  <a:cubicBezTo>
                    <a:pt x="759376" y="348608"/>
                    <a:pt x="841748" y="116743"/>
                    <a:pt x="722766" y="58777"/>
                  </a:cubicBezTo>
                  <a:cubicBezTo>
                    <a:pt x="615986" y="6913"/>
                    <a:pt x="469545" y="-11392"/>
                    <a:pt x="353613" y="6913"/>
                  </a:cubicBezTo>
                  <a:cubicBezTo>
                    <a:pt x="222426" y="28269"/>
                    <a:pt x="66833" y="83184"/>
                    <a:pt x="36325" y="150303"/>
                  </a:cubicBezTo>
                  <a:cubicBezTo>
                    <a:pt x="-70455" y="385218"/>
                    <a:pt x="94291" y="531659"/>
                    <a:pt x="72935" y="888608"/>
                  </a:cubicBezTo>
                  <a:close/>
                </a:path>
              </a:pathLst>
            </a:custGeom>
            <a:solidFill>
              <a:srgbClr val="7E94B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3" name="任意多边形: 形状 272">
              <a:extLst>
                <a:ext uri="{FF2B5EF4-FFF2-40B4-BE49-F238E27FC236}">
                  <a16:creationId xmlns:a16="http://schemas.microsoft.com/office/drawing/2014/main" id="{793F47EE-AC07-4204-B41E-6C1542AA72A3}"/>
                </a:ext>
              </a:extLst>
            </p:cNvPr>
            <p:cNvSpPr/>
            <p:nvPr/>
          </p:nvSpPr>
          <p:spPr>
            <a:xfrm>
              <a:off x="8145123" y="3103752"/>
              <a:ext cx="416847" cy="570644"/>
            </a:xfrm>
            <a:custGeom>
              <a:avLst/>
              <a:gdLst>
                <a:gd name="connsiteX0" fmla="*/ 0 w 416847"/>
                <a:gd name="connsiteY0" fmla="*/ 207458 h 570644"/>
                <a:gd name="connsiteX1" fmla="*/ 42712 w 416847"/>
                <a:gd name="connsiteY1" fmla="*/ 460678 h 570644"/>
                <a:gd name="connsiteX2" fmla="*/ 204407 w 416847"/>
                <a:gd name="connsiteY2" fmla="*/ 570509 h 570644"/>
                <a:gd name="connsiteX3" fmla="*/ 399661 w 416847"/>
                <a:gd name="connsiteY3" fmla="*/ 399661 h 570644"/>
                <a:gd name="connsiteX4" fmla="*/ 408814 w 416847"/>
                <a:gd name="connsiteY4" fmla="*/ 170848 h 570644"/>
                <a:gd name="connsiteX5" fmla="*/ 170848 w 416847"/>
                <a:gd name="connsiteY5" fmla="*/ 0 h 570644"/>
                <a:gd name="connsiteX6" fmla="*/ 0 w 416847"/>
                <a:gd name="connsiteY6" fmla="*/ 207458 h 570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6847" h="570644">
                  <a:moveTo>
                    <a:pt x="0" y="207458"/>
                  </a:moveTo>
                  <a:cubicBezTo>
                    <a:pt x="0" y="207458"/>
                    <a:pt x="0" y="396610"/>
                    <a:pt x="42712" y="460678"/>
                  </a:cubicBezTo>
                  <a:cubicBezTo>
                    <a:pt x="88475" y="524746"/>
                    <a:pt x="155593" y="573559"/>
                    <a:pt x="204407" y="570509"/>
                  </a:cubicBezTo>
                  <a:cubicBezTo>
                    <a:pt x="271526" y="567458"/>
                    <a:pt x="372204" y="469831"/>
                    <a:pt x="399661" y="399661"/>
                  </a:cubicBezTo>
                  <a:cubicBezTo>
                    <a:pt x="427119" y="329492"/>
                    <a:pt x="414915" y="222712"/>
                    <a:pt x="408814" y="170848"/>
                  </a:cubicBezTo>
                  <a:cubicBezTo>
                    <a:pt x="396610" y="76271"/>
                    <a:pt x="360000" y="3051"/>
                    <a:pt x="170848" y="0"/>
                  </a:cubicBezTo>
                  <a:cubicBezTo>
                    <a:pt x="88475" y="0"/>
                    <a:pt x="9153" y="128136"/>
                    <a:pt x="0" y="207458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4" name="任意多边形: 形状 273">
              <a:extLst>
                <a:ext uri="{FF2B5EF4-FFF2-40B4-BE49-F238E27FC236}">
                  <a16:creationId xmlns:a16="http://schemas.microsoft.com/office/drawing/2014/main" id="{2B3E8D39-FBED-40A1-B9AE-A900FC585C98}"/>
                </a:ext>
              </a:extLst>
            </p:cNvPr>
            <p:cNvSpPr/>
            <p:nvPr/>
          </p:nvSpPr>
          <p:spPr>
            <a:xfrm>
              <a:off x="8294214" y="3375278"/>
              <a:ext cx="61418" cy="134237"/>
            </a:xfrm>
            <a:custGeom>
              <a:avLst/>
              <a:gdLst>
                <a:gd name="connsiteX0" fmla="*/ 24808 w 61418"/>
                <a:gd name="connsiteY0" fmla="*/ 134237 h 134237"/>
                <a:gd name="connsiteX1" fmla="*/ 6503 w 61418"/>
                <a:gd name="connsiteY1" fmla="*/ 131186 h 134237"/>
                <a:gd name="connsiteX2" fmla="*/ 401 w 61418"/>
                <a:gd name="connsiteY2" fmla="*/ 118983 h 134237"/>
                <a:gd name="connsiteX3" fmla="*/ 15655 w 61418"/>
                <a:gd name="connsiteY3" fmla="*/ 6102 h 134237"/>
                <a:gd name="connsiteX4" fmla="*/ 21757 w 61418"/>
                <a:gd name="connsiteY4" fmla="*/ 0 h 134237"/>
                <a:gd name="connsiteX5" fmla="*/ 27859 w 61418"/>
                <a:gd name="connsiteY5" fmla="*/ 6102 h 134237"/>
                <a:gd name="connsiteX6" fmla="*/ 12604 w 61418"/>
                <a:gd name="connsiteY6" fmla="*/ 112881 h 134237"/>
                <a:gd name="connsiteX7" fmla="*/ 15655 w 61418"/>
                <a:gd name="connsiteY7" fmla="*/ 115932 h 134237"/>
                <a:gd name="connsiteX8" fmla="*/ 55317 w 61418"/>
                <a:gd name="connsiteY8" fmla="*/ 112881 h 134237"/>
                <a:gd name="connsiteX9" fmla="*/ 61418 w 61418"/>
                <a:gd name="connsiteY9" fmla="*/ 115932 h 134237"/>
                <a:gd name="connsiteX10" fmla="*/ 58367 w 61418"/>
                <a:gd name="connsiteY10" fmla="*/ 122034 h 134237"/>
                <a:gd name="connsiteX11" fmla="*/ 24808 w 61418"/>
                <a:gd name="connsiteY11" fmla="*/ 134237 h 13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418" h="134237">
                  <a:moveTo>
                    <a:pt x="24808" y="134237"/>
                  </a:moveTo>
                  <a:cubicBezTo>
                    <a:pt x="18706" y="134237"/>
                    <a:pt x="12604" y="134237"/>
                    <a:pt x="6503" y="131186"/>
                  </a:cubicBezTo>
                  <a:cubicBezTo>
                    <a:pt x="3452" y="128136"/>
                    <a:pt x="401" y="125085"/>
                    <a:pt x="401" y="118983"/>
                  </a:cubicBezTo>
                  <a:cubicBezTo>
                    <a:pt x="-2650" y="97627"/>
                    <a:pt x="12604" y="12203"/>
                    <a:pt x="15655" y="6102"/>
                  </a:cubicBezTo>
                  <a:cubicBezTo>
                    <a:pt x="15655" y="3051"/>
                    <a:pt x="18706" y="0"/>
                    <a:pt x="21757" y="0"/>
                  </a:cubicBezTo>
                  <a:cubicBezTo>
                    <a:pt x="24808" y="0"/>
                    <a:pt x="27859" y="3051"/>
                    <a:pt x="27859" y="6102"/>
                  </a:cubicBezTo>
                  <a:cubicBezTo>
                    <a:pt x="24808" y="30508"/>
                    <a:pt x="12604" y="97627"/>
                    <a:pt x="12604" y="112881"/>
                  </a:cubicBezTo>
                  <a:cubicBezTo>
                    <a:pt x="12604" y="112881"/>
                    <a:pt x="12604" y="115932"/>
                    <a:pt x="15655" y="115932"/>
                  </a:cubicBezTo>
                  <a:cubicBezTo>
                    <a:pt x="21757" y="118983"/>
                    <a:pt x="43113" y="115932"/>
                    <a:pt x="55317" y="112881"/>
                  </a:cubicBezTo>
                  <a:cubicBezTo>
                    <a:pt x="58367" y="112881"/>
                    <a:pt x="61418" y="112881"/>
                    <a:pt x="61418" y="115932"/>
                  </a:cubicBezTo>
                  <a:cubicBezTo>
                    <a:pt x="61418" y="118983"/>
                    <a:pt x="61418" y="122034"/>
                    <a:pt x="58367" y="122034"/>
                  </a:cubicBezTo>
                  <a:cubicBezTo>
                    <a:pt x="52266" y="128136"/>
                    <a:pt x="37011" y="134237"/>
                    <a:pt x="24808" y="134237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5" name="任意多边形: 形状 274">
              <a:extLst>
                <a:ext uri="{FF2B5EF4-FFF2-40B4-BE49-F238E27FC236}">
                  <a16:creationId xmlns:a16="http://schemas.microsoft.com/office/drawing/2014/main" id="{0F5E6382-9C3F-4C7F-946F-21A3187B6DD6}"/>
                </a:ext>
              </a:extLst>
            </p:cNvPr>
            <p:cNvSpPr/>
            <p:nvPr/>
          </p:nvSpPr>
          <p:spPr>
            <a:xfrm>
              <a:off x="8282411" y="3544769"/>
              <a:ext cx="120339" cy="31864"/>
            </a:xfrm>
            <a:custGeom>
              <a:avLst/>
              <a:gdLst>
                <a:gd name="connsiteX0" fmla="*/ 45763 w 120339"/>
                <a:gd name="connsiteY0" fmla="*/ 31864 h 31864"/>
                <a:gd name="connsiteX1" fmla="*/ 3051 w 120339"/>
                <a:gd name="connsiteY1" fmla="*/ 25763 h 31864"/>
                <a:gd name="connsiteX2" fmla="*/ 0 w 120339"/>
                <a:gd name="connsiteY2" fmla="*/ 16610 h 31864"/>
                <a:gd name="connsiteX3" fmla="*/ 9153 w 120339"/>
                <a:gd name="connsiteY3" fmla="*/ 13559 h 31864"/>
                <a:gd name="connsiteX4" fmla="*/ 109831 w 120339"/>
                <a:gd name="connsiteY4" fmla="*/ 1356 h 31864"/>
                <a:gd name="connsiteX5" fmla="*/ 118983 w 120339"/>
                <a:gd name="connsiteY5" fmla="*/ 1356 h 31864"/>
                <a:gd name="connsiteX6" fmla="*/ 118983 w 120339"/>
                <a:gd name="connsiteY6" fmla="*/ 10509 h 31864"/>
                <a:gd name="connsiteX7" fmla="*/ 45763 w 120339"/>
                <a:gd name="connsiteY7" fmla="*/ 31864 h 3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339" h="31864">
                  <a:moveTo>
                    <a:pt x="45763" y="31864"/>
                  </a:moveTo>
                  <a:cubicBezTo>
                    <a:pt x="21356" y="31864"/>
                    <a:pt x="3051" y="25763"/>
                    <a:pt x="3051" y="25763"/>
                  </a:cubicBezTo>
                  <a:cubicBezTo>
                    <a:pt x="0" y="25763"/>
                    <a:pt x="0" y="19661"/>
                    <a:pt x="0" y="16610"/>
                  </a:cubicBezTo>
                  <a:cubicBezTo>
                    <a:pt x="0" y="13559"/>
                    <a:pt x="6102" y="13559"/>
                    <a:pt x="9153" y="13559"/>
                  </a:cubicBezTo>
                  <a:cubicBezTo>
                    <a:pt x="9153" y="13559"/>
                    <a:pt x="64068" y="34915"/>
                    <a:pt x="109831" y="1356"/>
                  </a:cubicBezTo>
                  <a:cubicBezTo>
                    <a:pt x="112882" y="-1695"/>
                    <a:pt x="115932" y="1356"/>
                    <a:pt x="118983" y="1356"/>
                  </a:cubicBezTo>
                  <a:cubicBezTo>
                    <a:pt x="122034" y="4407"/>
                    <a:pt x="118983" y="7458"/>
                    <a:pt x="118983" y="10509"/>
                  </a:cubicBezTo>
                  <a:cubicBezTo>
                    <a:pt x="91525" y="28814"/>
                    <a:pt x="67119" y="31864"/>
                    <a:pt x="45763" y="31864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6" name="任意多边形: 形状 275">
              <a:extLst>
                <a:ext uri="{FF2B5EF4-FFF2-40B4-BE49-F238E27FC236}">
                  <a16:creationId xmlns:a16="http://schemas.microsoft.com/office/drawing/2014/main" id="{8B8E52D2-354A-496E-B37C-FAEA8CB01A0B}"/>
                </a:ext>
              </a:extLst>
            </p:cNvPr>
            <p:cNvSpPr/>
            <p:nvPr/>
          </p:nvSpPr>
          <p:spPr>
            <a:xfrm>
              <a:off x="8209191" y="3360024"/>
              <a:ext cx="40252" cy="39660"/>
            </a:xfrm>
            <a:custGeom>
              <a:avLst/>
              <a:gdLst>
                <a:gd name="connsiteX0" fmla="*/ 39661 w 40252"/>
                <a:gd name="connsiteY0" fmla="*/ 21356 h 39660"/>
                <a:gd name="connsiteX1" fmla="*/ 18305 w 40252"/>
                <a:gd name="connsiteY1" fmla="*/ 39661 h 39660"/>
                <a:gd name="connsiteX2" fmla="*/ 0 w 40252"/>
                <a:gd name="connsiteY2" fmla="*/ 18305 h 39660"/>
                <a:gd name="connsiteX3" fmla="*/ 21356 w 40252"/>
                <a:gd name="connsiteY3" fmla="*/ 0 h 39660"/>
                <a:gd name="connsiteX4" fmla="*/ 39661 w 40252"/>
                <a:gd name="connsiteY4" fmla="*/ 21356 h 39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252" h="39660">
                  <a:moveTo>
                    <a:pt x="39661" y="21356"/>
                  </a:moveTo>
                  <a:cubicBezTo>
                    <a:pt x="39661" y="33559"/>
                    <a:pt x="30508" y="39661"/>
                    <a:pt x="18305" y="39661"/>
                  </a:cubicBezTo>
                  <a:cubicBezTo>
                    <a:pt x="6102" y="39661"/>
                    <a:pt x="0" y="30508"/>
                    <a:pt x="0" y="18305"/>
                  </a:cubicBezTo>
                  <a:cubicBezTo>
                    <a:pt x="0" y="6102"/>
                    <a:pt x="9153" y="0"/>
                    <a:pt x="21356" y="0"/>
                  </a:cubicBezTo>
                  <a:cubicBezTo>
                    <a:pt x="33560" y="0"/>
                    <a:pt x="42712" y="12203"/>
                    <a:pt x="39661" y="21356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7" name="任意多边形: 形状 276">
              <a:extLst>
                <a:ext uri="{FF2B5EF4-FFF2-40B4-BE49-F238E27FC236}">
                  <a16:creationId xmlns:a16="http://schemas.microsoft.com/office/drawing/2014/main" id="{227998E5-319B-455C-9D0F-E6EF8BC00884}"/>
                </a:ext>
              </a:extLst>
            </p:cNvPr>
            <p:cNvSpPr/>
            <p:nvPr/>
          </p:nvSpPr>
          <p:spPr>
            <a:xfrm>
              <a:off x="8401394" y="3344769"/>
              <a:ext cx="39661" cy="39660"/>
            </a:xfrm>
            <a:custGeom>
              <a:avLst/>
              <a:gdLst>
                <a:gd name="connsiteX0" fmla="*/ 39661 w 39661"/>
                <a:gd name="connsiteY0" fmla="*/ 21356 h 39660"/>
                <a:gd name="connsiteX1" fmla="*/ 18305 w 39661"/>
                <a:gd name="connsiteY1" fmla="*/ 39661 h 39660"/>
                <a:gd name="connsiteX2" fmla="*/ 0 w 39661"/>
                <a:gd name="connsiteY2" fmla="*/ 18305 h 39660"/>
                <a:gd name="connsiteX3" fmla="*/ 21356 w 39661"/>
                <a:gd name="connsiteY3" fmla="*/ 0 h 39660"/>
                <a:gd name="connsiteX4" fmla="*/ 39661 w 39661"/>
                <a:gd name="connsiteY4" fmla="*/ 21356 h 39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61" h="39660">
                  <a:moveTo>
                    <a:pt x="39661" y="21356"/>
                  </a:moveTo>
                  <a:cubicBezTo>
                    <a:pt x="39661" y="33559"/>
                    <a:pt x="30508" y="39661"/>
                    <a:pt x="18305" y="39661"/>
                  </a:cubicBezTo>
                  <a:cubicBezTo>
                    <a:pt x="6102" y="39661"/>
                    <a:pt x="0" y="30508"/>
                    <a:pt x="0" y="18305"/>
                  </a:cubicBezTo>
                  <a:cubicBezTo>
                    <a:pt x="0" y="6102"/>
                    <a:pt x="9153" y="0"/>
                    <a:pt x="21356" y="0"/>
                  </a:cubicBezTo>
                  <a:cubicBezTo>
                    <a:pt x="30508" y="0"/>
                    <a:pt x="39661" y="9153"/>
                    <a:pt x="39661" y="21356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8" name="任意多边形: 形状 277">
              <a:extLst>
                <a:ext uri="{FF2B5EF4-FFF2-40B4-BE49-F238E27FC236}">
                  <a16:creationId xmlns:a16="http://schemas.microsoft.com/office/drawing/2014/main" id="{04BA82D5-DBAB-4462-B3E3-514A2F1ECD58}"/>
                </a:ext>
              </a:extLst>
            </p:cNvPr>
            <p:cNvSpPr/>
            <p:nvPr/>
          </p:nvSpPr>
          <p:spPr>
            <a:xfrm>
              <a:off x="8178682" y="3312525"/>
              <a:ext cx="88474" cy="38345"/>
            </a:xfrm>
            <a:custGeom>
              <a:avLst/>
              <a:gdLst>
                <a:gd name="connsiteX0" fmla="*/ 9153 w 88474"/>
                <a:gd name="connsiteY0" fmla="*/ 38346 h 38345"/>
                <a:gd name="connsiteX1" fmla="*/ 3051 w 88474"/>
                <a:gd name="connsiteY1" fmla="*/ 38346 h 38345"/>
                <a:gd name="connsiteX2" fmla="*/ 0 w 88474"/>
                <a:gd name="connsiteY2" fmla="*/ 26142 h 38345"/>
                <a:gd name="connsiteX3" fmla="*/ 82373 w 88474"/>
                <a:gd name="connsiteY3" fmla="*/ 4787 h 38345"/>
                <a:gd name="connsiteX4" fmla="*/ 88474 w 88474"/>
                <a:gd name="connsiteY4" fmla="*/ 13939 h 38345"/>
                <a:gd name="connsiteX5" fmla="*/ 79322 w 88474"/>
                <a:gd name="connsiteY5" fmla="*/ 20041 h 38345"/>
                <a:gd name="connsiteX6" fmla="*/ 15254 w 88474"/>
                <a:gd name="connsiteY6" fmla="*/ 35295 h 38345"/>
                <a:gd name="connsiteX7" fmla="*/ 9153 w 88474"/>
                <a:gd name="connsiteY7" fmla="*/ 38346 h 3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474" h="38345">
                  <a:moveTo>
                    <a:pt x="9153" y="38346"/>
                  </a:moveTo>
                  <a:cubicBezTo>
                    <a:pt x="6102" y="38346"/>
                    <a:pt x="6102" y="38346"/>
                    <a:pt x="3051" y="38346"/>
                  </a:cubicBezTo>
                  <a:cubicBezTo>
                    <a:pt x="0" y="35295"/>
                    <a:pt x="0" y="32244"/>
                    <a:pt x="0" y="26142"/>
                  </a:cubicBezTo>
                  <a:cubicBezTo>
                    <a:pt x="24407" y="-7417"/>
                    <a:pt x="64068" y="-1315"/>
                    <a:pt x="82373" y="4787"/>
                  </a:cubicBezTo>
                  <a:cubicBezTo>
                    <a:pt x="85424" y="4787"/>
                    <a:pt x="88474" y="10888"/>
                    <a:pt x="88474" y="13939"/>
                  </a:cubicBezTo>
                  <a:cubicBezTo>
                    <a:pt x="88474" y="16990"/>
                    <a:pt x="82373" y="20041"/>
                    <a:pt x="79322" y="20041"/>
                  </a:cubicBezTo>
                  <a:cubicBezTo>
                    <a:pt x="76271" y="20041"/>
                    <a:pt x="36610" y="4787"/>
                    <a:pt x="15254" y="35295"/>
                  </a:cubicBezTo>
                  <a:cubicBezTo>
                    <a:pt x="12203" y="35295"/>
                    <a:pt x="12203" y="38346"/>
                    <a:pt x="9153" y="38346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9" name="任意多边形: 形状 278">
              <a:extLst>
                <a:ext uri="{FF2B5EF4-FFF2-40B4-BE49-F238E27FC236}">
                  <a16:creationId xmlns:a16="http://schemas.microsoft.com/office/drawing/2014/main" id="{CBADB707-EE09-46BE-A39B-525169E14BA7}"/>
                </a:ext>
              </a:extLst>
            </p:cNvPr>
            <p:cNvSpPr/>
            <p:nvPr/>
          </p:nvSpPr>
          <p:spPr>
            <a:xfrm>
              <a:off x="8365547" y="3288519"/>
              <a:ext cx="90000" cy="31843"/>
            </a:xfrm>
            <a:custGeom>
              <a:avLst/>
              <a:gdLst>
                <a:gd name="connsiteX0" fmla="*/ 8390 w 90000"/>
                <a:gd name="connsiteY0" fmla="*/ 31844 h 31843"/>
                <a:gd name="connsiteX1" fmla="*/ 2288 w 90000"/>
                <a:gd name="connsiteY1" fmla="*/ 28793 h 31843"/>
                <a:gd name="connsiteX2" fmla="*/ 2288 w 90000"/>
                <a:gd name="connsiteY2" fmla="*/ 16589 h 31843"/>
                <a:gd name="connsiteX3" fmla="*/ 87712 w 90000"/>
                <a:gd name="connsiteY3" fmla="*/ 13538 h 31843"/>
                <a:gd name="connsiteX4" fmla="*/ 87712 w 90000"/>
                <a:gd name="connsiteY4" fmla="*/ 25742 h 31843"/>
                <a:gd name="connsiteX5" fmla="*/ 75509 w 90000"/>
                <a:gd name="connsiteY5" fmla="*/ 25742 h 31843"/>
                <a:gd name="connsiteX6" fmla="*/ 8390 w 90000"/>
                <a:gd name="connsiteY6" fmla="*/ 28793 h 31843"/>
                <a:gd name="connsiteX7" fmla="*/ 8390 w 90000"/>
                <a:gd name="connsiteY7" fmla="*/ 31844 h 3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000" h="31843">
                  <a:moveTo>
                    <a:pt x="8390" y="31844"/>
                  </a:moveTo>
                  <a:cubicBezTo>
                    <a:pt x="5339" y="31844"/>
                    <a:pt x="5339" y="31844"/>
                    <a:pt x="2288" y="28793"/>
                  </a:cubicBezTo>
                  <a:cubicBezTo>
                    <a:pt x="-763" y="25742"/>
                    <a:pt x="-763" y="19640"/>
                    <a:pt x="2288" y="16589"/>
                  </a:cubicBezTo>
                  <a:cubicBezTo>
                    <a:pt x="35847" y="-10868"/>
                    <a:pt x="75509" y="1335"/>
                    <a:pt x="87712" y="13538"/>
                  </a:cubicBezTo>
                  <a:cubicBezTo>
                    <a:pt x="90763" y="16589"/>
                    <a:pt x="90763" y="22691"/>
                    <a:pt x="87712" y="25742"/>
                  </a:cubicBezTo>
                  <a:cubicBezTo>
                    <a:pt x="84661" y="28793"/>
                    <a:pt x="78559" y="28793"/>
                    <a:pt x="75509" y="25742"/>
                  </a:cubicBezTo>
                  <a:cubicBezTo>
                    <a:pt x="75509" y="25742"/>
                    <a:pt x="41949" y="-1716"/>
                    <a:pt x="8390" y="28793"/>
                  </a:cubicBezTo>
                  <a:cubicBezTo>
                    <a:pt x="14492" y="31844"/>
                    <a:pt x="11441" y="31844"/>
                    <a:pt x="8390" y="31844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0" name="任意多边形: 形状 279">
              <a:extLst>
                <a:ext uri="{FF2B5EF4-FFF2-40B4-BE49-F238E27FC236}">
                  <a16:creationId xmlns:a16="http://schemas.microsoft.com/office/drawing/2014/main" id="{85E7397B-D0FF-46C9-9668-248BD95B59B4}"/>
                </a:ext>
              </a:extLst>
            </p:cNvPr>
            <p:cNvSpPr/>
            <p:nvPr/>
          </p:nvSpPr>
          <p:spPr>
            <a:xfrm>
              <a:off x="8121411" y="3070193"/>
              <a:ext cx="251542" cy="286779"/>
            </a:xfrm>
            <a:custGeom>
              <a:avLst/>
              <a:gdLst>
                <a:gd name="connsiteX0" fmla="*/ 243373 w 251542"/>
                <a:gd name="connsiteY0" fmla="*/ 0 h 286779"/>
                <a:gd name="connsiteX1" fmla="*/ 225068 w 251542"/>
                <a:gd name="connsiteY1" fmla="*/ 131186 h 286779"/>
                <a:gd name="connsiteX2" fmla="*/ 5407 w 251542"/>
                <a:gd name="connsiteY2" fmla="*/ 286780 h 286779"/>
                <a:gd name="connsiteX3" fmla="*/ 243373 w 251542"/>
                <a:gd name="connsiteY3" fmla="*/ 0 h 28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1542" h="286779">
                  <a:moveTo>
                    <a:pt x="243373" y="0"/>
                  </a:moveTo>
                  <a:cubicBezTo>
                    <a:pt x="243373" y="0"/>
                    <a:pt x="270831" y="85424"/>
                    <a:pt x="225068" y="131186"/>
                  </a:cubicBezTo>
                  <a:cubicBezTo>
                    <a:pt x="225068" y="131186"/>
                    <a:pt x="20661" y="201356"/>
                    <a:pt x="5407" y="286780"/>
                  </a:cubicBezTo>
                  <a:cubicBezTo>
                    <a:pt x="2356" y="286780"/>
                    <a:pt x="-49508" y="3051"/>
                    <a:pt x="243373" y="0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1" name="任意多边形: 形状 280">
              <a:extLst>
                <a:ext uri="{FF2B5EF4-FFF2-40B4-BE49-F238E27FC236}">
                  <a16:creationId xmlns:a16="http://schemas.microsoft.com/office/drawing/2014/main" id="{9012B909-37D4-4EDF-955A-22246C1B48F4}"/>
                </a:ext>
              </a:extLst>
            </p:cNvPr>
            <p:cNvSpPr/>
            <p:nvPr/>
          </p:nvSpPr>
          <p:spPr>
            <a:xfrm>
              <a:off x="8343428" y="3073106"/>
              <a:ext cx="244067" cy="288343"/>
            </a:xfrm>
            <a:custGeom>
              <a:avLst/>
              <a:gdLst>
                <a:gd name="connsiteX0" fmla="*/ 0 w 244067"/>
                <a:gd name="connsiteY0" fmla="*/ 128273 h 288343"/>
                <a:gd name="connsiteX1" fmla="*/ 146441 w 244067"/>
                <a:gd name="connsiteY1" fmla="*/ 164884 h 288343"/>
                <a:gd name="connsiteX2" fmla="*/ 219661 w 244067"/>
                <a:gd name="connsiteY2" fmla="*/ 277765 h 288343"/>
                <a:gd name="connsiteX3" fmla="*/ 244068 w 244067"/>
                <a:gd name="connsiteY3" fmla="*/ 271663 h 288343"/>
                <a:gd name="connsiteX4" fmla="*/ 18305 w 244067"/>
                <a:gd name="connsiteY4" fmla="*/ 138 h 288343"/>
                <a:gd name="connsiteX5" fmla="*/ 0 w 244067"/>
                <a:gd name="connsiteY5" fmla="*/ 128273 h 288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4067" h="288343">
                  <a:moveTo>
                    <a:pt x="0" y="128273"/>
                  </a:moveTo>
                  <a:cubicBezTo>
                    <a:pt x="0" y="128273"/>
                    <a:pt x="94576" y="164884"/>
                    <a:pt x="146441" y="164884"/>
                  </a:cubicBezTo>
                  <a:cubicBezTo>
                    <a:pt x="198305" y="164884"/>
                    <a:pt x="219661" y="277765"/>
                    <a:pt x="219661" y="277765"/>
                  </a:cubicBezTo>
                  <a:cubicBezTo>
                    <a:pt x="219661" y="277765"/>
                    <a:pt x="244068" y="305222"/>
                    <a:pt x="244068" y="271663"/>
                  </a:cubicBezTo>
                  <a:cubicBezTo>
                    <a:pt x="241017" y="192341"/>
                    <a:pt x="216610" y="-5964"/>
                    <a:pt x="18305" y="138"/>
                  </a:cubicBezTo>
                  <a:cubicBezTo>
                    <a:pt x="21356" y="-2913"/>
                    <a:pt x="24407" y="119121"/>
                    <a:pt x="0" y="128273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2" name="任意多边形: 形状 281">
              <a:extLst>
                <a:ext uri="{FF2B5EF4-FFF2-40B4-BE49-F238E27FC236}">
                  <a16:creationId xmlns:a16="http://schemas.microsoft.com/office/drawing/2014/main" id="{A7D290E3-D603-4AB4-A8E7-6F7A50199842}"/>
                </a:ext>
              </a:extLst>
            </p:cNvPr>
            <p:cNvSpPr/>
            <p:nvPr/>
          </p:nvSpPr>
          <p:spPr>
            <a:xfrm>
              <a:off x="8533700" y="3331641"/>
              <a:ext cx="73968" cy="115807"/>
            </a:xfrm>
            <a:custGeom>
              <a:avLst/>
              <a:gdLst>
                <a:gd name="connsiteX0" fmla="*/ 4983 w 73968"/>
                <a:gd name="connsiteY0" fmla="*/ 22281 h 115807"/>
                <a:gd name="connsiteX1" fmla="*/ 62949 w 73968"/>
                <a:gd name="connsiteY1" fmla="*/ 3976 h 115807"/>
                <a:gd name="connsiteX2" fmla="*/ 20237 w 73968"/>
                <a:gd name="connsiteY2" fmla="*/ 113806 h 115807"/>
                <a:gd name="connsiteX3" fmla="*/ 4983 w 73968"/>
                <a:gd name="connsiteY3" fmla="*/ 22281 h 115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968" h="115807">
                  <a:moveTo>
                    <a:pt x="4983" y="22281"/>
                  </a:moveTo>
                  <a:cubicBezTo>
                    <a:pt x="4983" y="22281"/>
                    <a:pt x="35491" y="-11279"/>
                    <a:pt x="62949" y="3976"/>
                  </a:cubicBezTo>
                  <a:cubicBezTo>
                    <a:pt x="90407" y="19230"/>
                    <a:pt x="62949" y="132111"/>
                    <a:pt x="20237" y="113806"/>
                  </a:cubicBezTo>
                  <a:cubicBezTo>
                    <a:pt x="-13322" y="98552"/>
                    <a:pt x="4983" y="22281"/>
                    <a:pt x="4983" y="22281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3" name="任意多边形: 形状 282">
              <a:extLst>
                <a:ext uri="{FF2B5EF4-FFF2-40B4-BE49-F238E27FC236}">
                  <a16:creationId xmlns:a16="http://schemas.microsoft.com/office/drawing/2014/main" id="{6C858928-0E3B-40EA-B18E-3157ED330685}"/>
                </a:ext>
              </a:extLst>
            </p:cNvPr>
            <p:cNvSpPr/>
            <p:nvPr/>
          </p:nvSpPr>
          <p:spPr>
            <a:xfrm>
              <a:off x="8337326" y="3061041"/>
              <a:ext cx="227766" cy="280677"/>
            </a:xfrm>
            <a:custGeom>
              <a:avLst/>
              <a:gdLst>
                <a:gd name="connsiteX0" fmla="*/ 222712 w 227766"/>
                <a:gd name="connsiteY0" fmla="*/ 280678 h 280677"/>
                <a:gd name="connsiteX1" fmla="*/ 216610 w 227766"/>
                <a:gd name="connsiteY1" fmla="*/ 274576 h 280677"/>
                <a:gd name="connsiteX2" fmla="*/ 152542 w 227766"/>
                <a:gd name="connsiteY2" fmla="*/ 180000 h 280677"/>
                <a:gd name="connsiteX3" fmla="*/ 3051 w 227766"/>
                <a:gd name="connsiteY3" fmla="*/ 140339 h 280677"/>
                <a:gd name="connsiteX4" fmla="*/ 0 w 227766"/>
                <a:gd name="connsiteY4" fmla="*/ 137288 h 280677"/>
                <a:gd name="connsiteX5" fmla="*/ 0 w 227766"/>
                <a:gd name="connsiteY5" fmla="*/ 131186 h 280677"/>
                <a:gd name="connsiteX6" fmla="*/ 15254 w 227766"/>
                <a:gd name="connsiteY6" fmla="*/ 106780 h 280677"/>
                <a:gd name="connsiteX7" fmla="*/ 21356 w 227766"/>
                <a:gd name="connsiteY7" fmla="*/ 64068 h 280677"/>
                <a:gd name="connsiteX8" fmla="*/ 21356 w 227766"/>
                <a:gd name="connsiteY8" fmla="*/ 36610 h 280677"/>
                <a:gd name="connsiteX9" fmla="*/ 21356 w 227766"/>
                <a:gd name="connsiteY9" fmla="*/ 6102 h 280677"/>
                <a:gd name="connsiteX10" fmla="*/ 27458 w 227766"/>
                <a:gd name="connsiteY10" fmla="*/ 0 h 280677"/>
                <a:gd name="connsiteX11" fmla="*/ 27458 w 227766"/>
                <a:gd name="connsiteY11" fmla="*/ 0 h 280677"/>
                <a:gd name="connsiteX12" fmla="*/ 33560 w 227766"/>
                <a:gd name="connsiteY12" fmla="*/ 6102 h 280677"/>
                <a:gd name="connsiteX13" fmla="*/ 33560 w 227766"/>
                <a:gd name="connsiteY13" fmla="*/ 36610 h 280677"/>
                <a:gd name="connsiteX14" fmla="*/ 33560 w 227766"/>
                <a:gd name="connsiteY14" fmla="*/ 64068 h 280677"/>
                <a:gd name="connsiteX15" fmla="*/ 27458 w 227766"/>
                <a:gd name="connsiteY15" fmla="*/ 109830 h 280677"/>
                <a:gd name="connsiteX16" fmla="*/ 15254 w 227766"/>
                <a:gd name="connsiteY16" fmla="*/ 131186 h 280677"/>
                <a:gd name="connsiteX17" fmla="*/ 152542 w 227766"/>
                <a:gd name="connsiteY17" fmla="*/ 167797 h 280677"/>
                <a:gd name="connsiteX18" fmla="*/ 225763 w 227766"/>
                <a:gd name="connsiteY18" fmla="*/ 274576 h 280677"/>
                <a:gd name="connsiteX19" fmla="*/ 222712 w 227766"/>
                <a:gd name="connsiteY19" fmla="*/ 280678 h 280677"/>
                <a:gd name="connsiteX20" fmla="*/ 222712 w 227766"/>
                <a:gd name="connsiteY20" fmla="*/ 280678 h 280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7766" h="280677">
                  <a:moveTo>
                    <a:pt x="222712" y="280678"/>
                  </a:moveTo>
                  <a:cubicBezTo>
                    <a:pt x="219661" y="280678"/>
                    <a:pt x="216610" y="277627"/>
                    <a:pt x="216610" y="274576"/>
                  </a:cubicBezTo>
                  <a:cubicBezTo>
                    <a:pt x="216610" y="274576"/>
                    <a:pt x="204407" y="180000"/>
                    <a:pt x="152542" y="180000"/>
                  </a:cubicBezTo>
                  <a:cubicBezTo>
                    <a:pt x="82373" y="176949"/>
                    <a:pt x="6102" y="143390"/>
                    <a:pt x="3051" y="140339"/>
                  </a:cubicBezTo>
                  <a:cubicBezTo>
                    <a:pt x="0" y="140339"/>
                    <a:pt x="0" y="137288"/>
                    <a:pt x="0" y="137288"/>
                  </a:cubicBezTo>
                  <a:cubicBezTo>
                    <a:pt x="0" y="134237"/>
                    <a:pt x="0" y="134237"/>
                    <a:pt x="0" y="131186"/>
                  </a:cubicBezTo>
                  <a:cubicBezTo>
                    <a:pt x="6102" y="122034"/>
                    <a:pt x="12204" y="115932"/>
                    <a:pt x="15254" y="106780"/>
                  </a:cubicBezTo>
                  <a:cubicBezTo>
                    <a:pt x="21356" y="94576"/>
                    <a:pt x="21356" y="79322"/>
                    <a:pt x="21356" y="64068"/>
                  </a:cubicBezTo>
                  <a:cubicBezTo>
                    <a:pt x="21356" y="57966"/>
                    <a:pt x="21356" y="45763"/>
                    <a:pt x="21356" y="36610"/>
                  </a:cubicBezTo>
                  <a:cubicBezTo>
                    <a:pt x="21356" y="24407"/>
                    <a:pt x="21356" y="15254"/>
                    <a:pt x="21356" y="6102"/>
                  </a:cubicBezTo>
                  <a:cubicBezTo>
                    <a:pt x="21356" y="3051"/>
                    <a:pt x="24407" y="0"/>
                    <a:pt x="27458" y="0"/>
                  </a:cubicBezTo>
                  <a:cubicBezTo>
                    <a:pt x="27458" y="0"/>
                    <a:pt x="27458" y="0"/>
                    <a:pt x="27458" y="0"/>
                  </a:cubicBezTo>
                  <a:cubicBezTo>
                    <a:pt x="30508" y="0"/>
                    <a:pt x="33560" y="3051"/>
                    <a:pt x="33560" y="6102"/>
                  </a:cubicBezTo>
                  <a:cubicBezTo>
                    <a:pt x="33560" y="12203"/>
                    <a:pt x="33560" y="24407"/>
                    <a:pt x="33560" y="36610"/>
                  </a:cubicBezTo>
                  <a:cubicBezTo>
                    <a:pt x="33560" y="48814"/>
                    <a:pt x="33560" y="57966"/>
                    <a:pt x="33560" y="64068"/>
                  </a:cubicBezTo>
                  <a:cubicBezTo>
                    <a:pt x="33560" y="79322"/>
                    <a:pt x="33560" y="94576"/>
                    <a:pt x="27458" y="109830"/>
                  </a:cubicBezTo>
                  <a:cubicBezTo>
                    <a:pt x="24407" y="118983"/>
                    <a:pt x="21356" y="125085"/>
                    <a:pt x="15254" y="131186"/>
                  </a:cubicBezTo>
                  <a:cubicBezTo>
                    <a:pt x="33560" y="140339"/>
                    <a:pt x="97627" y="164746"/>
                    <a:pt x="152542" y="167797"/>
                  </a:cubicBezTo>
                  <a:cubicBezTo>
                    <a:pt x="213559" y="167797"/>
                    <a:pt x="225763" y="268475"/>
                    <a:pt x="225763" y="274576"/>
                  </a:cubicBezTo>
                  <a:cubicBezTo>
                    <a:pt x="228814" y="277627"/>
                    <a:pt x="228814" y="280678"/>
                    <a:pt x="222712" y="280678"/>
                  </a:cubicBezTo>
                  <a:cubicBezTo>
                    <a:pt x="222712" y="280678"/>
                    <a:pt x="222712" y="280678"/>
                    <a:pt x="222712" y="280678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4" name="任意多边形: 形状 283">
              <a:extLst>
                <a:ext uri="{FF2B5EF4-FFF2-40B4-BE49-F238E27FC236}">
                  <a16:creationId xmlns:a16="http://schemas.microsoft.com/office/drawing/2014/main" id="{129EAF0C-6B93-4654-B7DE-0DEB04E30D60}"/>
                </a:ext>
              </a:extLst>
            </p:cNvPr>
            <p:cNvSpPr/>
            <p:nvPr/>
          </p:nvSpPr>
          <p:spPr>
            <a:xfrm>
              <a:off x="8049180" y="3219685"/>
              <a:ext cx="239332" cy="317288"/>
            </a:xfrm>
            <a:custGeom>
              <a:avLst/>
              <a:gdLst>
                <a:gd name="connsiteX0" fmla="*/ 7468 w 239332"/>
                <a:gd name="connsiteY0" fmla="*/ 317288 h 317288"/>
                <a:gd name="connsiteX1" fmla="*/ 1366 w 239332"/>
                <a:gd name="connsiteY1" fmla="*/ 311186 h 317288"/>
                <a:gd name="connsiteX2" fmla="*/ 28824 w 239332"/>
                <a:gd name="connsiteY2" fmla="*/ 244068 h 317288"/>
                <a:gd name="connsiteX3" fmla="*/ 68485 w 239332"/>
                <a:gd name="connsiteY3" fmla="*/ 152542 h 317288"/>
                <a:gd name="connsiteX4" fmla="*/ 233231 w 239332"/>
                <a:gd name="connsiteY4" fmla="*/ 0 h 317288"/>
                <a:gd name="connsiteX5" fmla="*/ 239333 w 239332"/>
                <a:gd name="connsiteY5" fmla="*/ 3051 h 317288"/>
                <a:gd name="connsiteX6" fmla="*/ 236282 w 239332"/>
                <a:gd name="connsiteY6" fmla="*/ 9153 h 317288"/>
                <a:gd name="connsiteX7" fmla="*/ 80688 w 239332"/>
                <a:gd name="connsiteY7" fmla="*/ 149491 h 317288"/>
                <a:gd name="connsiteX8" fmla="*/ 37977 w 239332"/>
                <a:gd name="connsiteY8" fmla="*/ 250169 h 317288"/>
                <a:gd name="connsiteX9" fmla="*/ 13570 w 239332"/>
                <a:gd name="connsiteY9" fmla="*/ 308136 h 317288"/>
                <a:gd name="connsiteX10" fmla="*/ 7468 w 239332"/>
                <a:gd name="connsiteY10" fmla="*/ 317288 h 317288"/>
                <a:gd name="connsiteX11" fmla="*/ 7468 w 239332"/>
                <a:gd name="connsiteY11" fmla="*/ 317288 h 317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9332" h="317288">
                  <a:moveTo>
                    <a:pt x="7468" y="317288"/>
                  </a:moveTo>
                  <a:cubicBezTo>
                    <a:pt x="4417" y="317288"/>
                    <a:pt x="1366" y="314237"/>
                    <a:pt x="1366" y="311186"/>
                  </a:cubicBezTo>
                  <a:cubicBezTo>
                    <a:pt x="-4735" y="277627"/>
                    <a:pt x="10519" y="259322"/>
                    <a:pt x="28824" y="244068"/>
                  </a:cubicBezTo>
                  <a:cubicBezTo>
                    <a:pt x="47129" y="225763"/>
                    <a:pt x="71536" y="204407"/>
                    <a:pt x="68485" y="152542"/>
                  </a:cubicBezTo>
                  <a:cubicBezTo>
                    <a:pt x="62383" y="45763"/>
                    <a:pt x="227129" y="0"/>
                    <a:pt x="233231" y="0"/>
                  </a:cubicBezTo>
                  <a:cubicBezTo>
                    <a:pt x="236282" y="0"/>
                    <a:pt x="239333" y="0"/>
                    <a:pt x="239333" y="3051"/>
                  </a:cubicBezTo>
                  <a:cubicBezTo>
                    <a:pt x="239333" y="6102"/>
                    <a:pt x="239333" y="9153"/>
                    <a:pt x="236282" y="9153"/>
                  </a:cubicBezTo>
                  <a:cubicBezTo>
                    <a:pt x="233231" y="9153"/>
                    <a:pt x="74587" y="54915"/>
                    <a:pt x="80688" y="149491"/>
                  </a:cubicBezTo>
                  <a:cubicBezTo>
                    <a:pt x="83739" y="207458"/>
                    <a:pt x="59332" y="231864"/>
                    <a:pt x="37977" y="250169"/>
                  </a:cubicBezTo>
                  <a:cubicBezTo>
                    <a:pt x="19671" y="268475"/>
                    <a:pt x="7468" y="277627"/>
                    <a:pt x="13570" y="308136"/>
                  </a:cubicBezTo>
                  <a:cubicBezTo>
                    <a:pt x="13570" y="314237"/>
                    <a:pt x="10519" y="317288"/>
                    <a:pt x="7468" y="317288"/>
                  </a:cubicBezTo>
                  <a:cubicBezTo>
                    <a:pt x="7468" y="317288"/>
                    <a:pt x="7468" y="317288"/>
                    <a:pt x="7468" y="317288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5" name="任意多边形: 形状 284">
              <a:extLst>
                <a:ext uri="{FF2B5EF4-FFF2-40B4-BE49-F238E27FC236}">
                  <a16:creationId xmlns:a16="http://schemas.microsoft.com/office/drawing/2014/main" id="{C8E68FCF-BDC0-43D0-946B-A6F1595F0269}"/>
                </a:ext>
              </a:extLst>
            </p:cNvPr>
            <p:cNvSpPr/>
            <p:nvPr/>
          </p:nvSpPr>
          <p:spPr>
            <a:xfrm>
              <a:off x="7942919" y="3641464"/>
              <a:ext cx="109916" cy="130423"/>
            </a:xfrm>
            <a:custGeom>
              <a:avLst/>
              <a:gdLst>
                <a:gd name="connsiteX0" fmla="*/ 10001 w 109916"/>
                <a:gd name="connsiteY0" fmla="*/ 130424 h 130423"/>
                <a:gd name="connsiteX1" fmla="*/ 3899 w 109916"/>
                <a:gd name="connsiteY1" fmla="*/ 127373 h 130423"/>
                <a:gd name="connsiteX2" fmla="*/ 28306 w 109916"/>
                <a:gd name="connsiteY2" fmla="*/ 63305 h 130423"/>
                <a:gd name="connsiteX3" fmla="*/ 98476 w 109916"/>
                <a:gd name="connsiteY3" fmla="*/ 2288 h 130423"/>
                <a:gd name="connsiteX4" fmla="*/ 107628 w 109916"/>
                <a:gd name="connsiteY4" fmla="*/ 2288 h 130423"/>
                <a:gd name="connsiteX5" fmla="*/ 107628 w 109916"/>
                <a:gd name="connsiteY5" fmla="*/ 11441 h 130423"/>
                <a:gd name="connsiteX6" fmla="*/ 34408 w 109916"/>
                <a:gd name="connsiteY6" fmla="*/ 75508 h 130423"/>
                <a:gd name="connsiteX7" fmla="*/ 16103 w 109916"/>
                <a:gd name="connsiteY7" fmla="*/ 124322 h 130423"/>
                <a:gd name="connsiteX8" fmla="*/ 10001 w 109916"/>
                <a:gd name="connsiteY8" fmla="*/ 130424 h 130423"/>
                <a:gd name="connsiteX9" fmla="*/ 10001 w 109916"/>
                <a:gd name="connsiteY9" fmla="*/ 130424 h 130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916" h="130423">
                  <a:moveTo>
                    <a:pt x="10001" y="130424"/>
                  </a:moveTo>
                  <a:cubicBezTo>
                    <a:pt x="6950" y="130424"/>
                    <a:pt x="6950" y="130424"/>
                    <a:pt x="3899" y="127373"/>
                  </a:cubicBezTo>
                  <a:cubicBezTo>
                    <a:pt x="3899" y="127373"/>
                    <a:pt x="-14406" y="87712"/>
                    <a:pt x="28306" y="63305"/>
                  </a:cubicBezTo>
                  <a:cubicBezTo>
                    <a:pt x="64916" y="41949"/>
                    <a:pt x="98476" y="2288"/>
                    <a:pt x="98476" y="2288"/>
                  </a:cubicBezTo>
                  <a:cubicBezTo>
                    <a:pt x="101527" y="-763"/>
                    <a:pt x="104577" y="-763"/>
                    <a:pt x="107628" y="2288"/>
                  </a:cubicBezTo>
                  <a:cubicBezTo>
                    <a:pt x="110679" y="5339"/>
                    <a:pt x="110679" y="8390"/>
                    <a:pt x="107628" y="11441"/>
                  </a:cubicBezTo>
                  <a:cubicBezTo>
                    <a:pt x="107628" y="14492"/>
                    <a:pt x="74069" y="51102"/>
                    <a:pt x="34408" y="75508"/>
                  </a:cubicBezTo>
                  <a:cubicBezTo>
                    <a:pt x="849" y="93814"/>
                    <a:pt x="16103" y="124322"/>
                    <a:pt x="16103" y="124322"/>
                  </a:cubicBezTo>
                  <a:cubicBezTo>
                    <a:pt x="19153" y="124322"/>
                    <a:pt x="16103" y="127373"/>
                    <a:pt x="10001" y="130424"/>
                  </a:cubicBezTo>
                  <a:cubicBezTo>
                    <a:pt x="13052" y="130424"/>
                    <a:pt x="13052" y="130424"/>
                    <a:pt x="10001" y="130424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6" name="任意多边形: 形状 285">
              <a:extLst>
                <a:ext uri="{FF2B5EF4-FFF2-40B4-BE49-F238E27FC236}">
                  <a16:creationId xmlns:a16="http://schemas.microsoft.com/office/drawing/2014/main" id="{51A3348E-39F8-4B6C-B560-B94D1E935B6F}"/>
                </a:ext>
              </a:extLst>
            </p:cNvPr>
            <p:cNvSpPr/>
            <p:nvPr/>
          </p:nvSpPr>
          <p:spPr>
            <a:xfrm>
              <a:off x="8230547" y="3552138"/>
              <a:ext cx="317288" cy="257313"/>
            </a:xfrm>
            <a:custGeom>
              <a:avLst/>
              <a:gdLst>
                <a:gd name="connsiteX0" fmla="*/ 57966 w 317288"/>
                <a:gd name="connsiteY0" fmla="*/ 70259 h 257313"/>
                <a:gd name="connsiteX1" fmla="*/ 0 w 317288"/>
                <a:gd name="connsiteY1" fmla="*/ 219750 h 257313"/>
                <a:gd name="connsiteX2" fmla="*/ 317288 w 317288"/>
                <a:gd name="connsiteY2" fmla="*/ 186191 h 257313"/>
                <a:gd name="connsiteX3" fmla="*/ 259322 w 317288"/>
                <a:gd name="connsiteY3" fmla="*/ 89 h 257313"/>
                <a:gd name="connsiteX4" fmla="*/ 57966 w 317288"/>
                <a:gd name="connsiteY4" fmla="*/ 70259 h 257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288" h="257313">
                  <a:moveTo>
                    <a:pt x="57966" y="70259"/>
                  </a:moveTo>
                  <a:cubicBezTo>
                    <a:pt x="57966" y="70259"/>
                    <a:pt x="70170" y="183140"/>
                    <a:pt x="0" y="219750"/>
                  </a:cubicBezTo>
                  <a:cubicBezTo>
                    <a:pt x="0" y="219750"/>
                    <a:pt x="183051" y="323479"/>
                    <a:pt x="317288" y="186191"/>
                  </a:cubicBezTo>
                  <a:cubicBezTo>
                    <a:pt x="259322" y="146530"/>
                    <a:pt x="259322" y="64157"/>
                    <a:pt x="259322" y="89"/>
                  </a:cubicBezTo>
                  <a:cubicBezTo>
                    <a:pt x="256271" y="-2962"/>
                    <a:pt x="109831" y="73310"/>
                    <a:pt x="57966" y="70259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7" name="任意多边形: 形状 286">
              <a:extLst>
                <a:ext uri="{FF2B5EF4-FFF2-40B4-BE49-F238E27FC236}">
                  <a16:creationId xmlns:a16="http://schemas.microsoft.com/office/drawing/2014/main" id="{D9E5B86F-A0E9-48CC-84B0-22C44098FB0D}"/>
                </a:ext>
              </a:extLst>
            </p:cNvPr>
            <p:cNvSpPr/>
            <p:nvPr/>
          </p:nvSpPr>
          <p:spPr>
            <a:xfrm>
              <a:off x="8283174" y="3580447"/>
              <a:ext cx="218135" cy="99915"/>
            </a:xfrm>
            <a:custGeom>
              <a:avLst/>
              <a:gdLst>
                <a:gd name="connsiteX0" fmla="*/ 63305 w 218135"/>
                <a:gd name="connsiteY0" fmla="*/ 99915 h 99915"/>
                <a:gd name="connsiteX1" fmla="*/ 2288 w 218135"/>
                <a:gd name="connsiteY1" fmla="*/ 78559 h 99915"/>
                <a:gd name="connsiteX2" fmla="*/ 2288 w 218135"/>
                <a:gd name="connsiteY2" fmla="*/ 69407 h 99915"/>
                <a:gd name="connsiteX3" fmla="*/ 11441 w 218135"/>
                <a:gd name="connsiteY3" fmla="*/ 69407 h 99915"/>
                <a:gd name="connsiteX4" fmla="*/ 84661 w 218135"/>
                <a:gd name="connsiteY4" fmla="*/ 84661 h 99915"/>
                <a:gd name="connsiteX5" fmla="*/ 206695 w 218135"/>
                <a:gd name="connsiteY5" fmla="*/ 2288 h 99915"/>
                <a:gd name="connsiteX6" fmla="*/ 215848 w 218135"/>
                <a:gd name="connsiteY6" fmla="*/ 2288 h 99915"/>
                <a:gd name="connsiteX7" fmla="*/ 215848 w 218135"/>
                <a:gd name="connsiteY7" fmla="*/ 11441 h 99915"/>
                <a:gd name="connsiteX8" fmla="*/ 87712 w 218135"/>
                <a:gd name="connsiteY8" fmla="*/ 96864 h 99915"/>
                <a:gd name="connsiteX9" fmla="*/ 63305 w 218135"/>
                <a:gd name="connsiteY9" fmla="*/ 99915 h 9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135" h="99915">
                  <a:moveTo>
                    <a:pt x="63305" y="99915"/>
                  </a:moveTo>
                  <a:cubicBezTo>
                    <a:pt x="29746" y="99915"/>
                    <a:pt x="2288" y="81610"/>
                    <a:pt x="2288" y="78559"/>
                  </a:cubicBezTo>
                  <a:cubicBezTo>
                    <a:pt x="-763" y="75508"/>
                    <a:pt x="-763" y="72458"/>
                    <a:pt x="2288" y="69407"/>
                  </a:cubicBezTo>
                  <a:cubicBezTo>
                    <a:pt x="5339" y="66356"/>
                    <a:pt x="8390" y="66356"/>
                    <a:pt x="11441" y="69407"/>
                  </a:cubicBezTo>
                  <a:cubicBezTo>
                    <a:pt x="11441" y="69407"/>
                    <a:pt x="48051" y="93814"/>
                    <a:pt x="84661" y="84661"/>
                  </a:cubicBezTo>
                  <a:cubicBezTo>
                    <a:pt x="124322" y="75508"/>
                    <a:pt x="206695" y="2288"/>
                    <a:pt x="206695" y="2288"/>
                  </a:cubicBezTo>
                  <a:cubicBezTo>
                    <a:pt x="209746" y="-763"/>
                    <a:pt x="212797" y="-763"/>
                    <a:pt x="215848" y="2288"/>
                  </a:cubicBezTo>
                  <a:cubicBezTo>
                    <a:pt x="218899" y="5339"/>
                    <a:pt x="218899" y="8390"/>
                    <a:pt x="215848" y="11441"/>
                  </a:cubicBezTo>
                  <a:cubicBezTo>
                    <a:pt x="212797" y="14492"/>
                    <a:pt x="127373" y="84661"/>
                    <a:pt x="87712" y="96864"/>
                  </a:cubicBezTo>
                  <a:cubicBezTo>
                    <a:pt x="75508" y="99915"/>
                    <a:pt x="69407" y="99915"/>
                    <a:pt x="63305" y="99915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8" name="任意多边形: 形状 287">
              <a:extLst>
                <a:ext uri="{FF2B5EF4-FFF2-40B4-BE49-F238E27FC236}">
                  <a16:creationId xmlns:a16="http://schemas.microsoft.com/office/drawing/2014/main" id="{D9132E25-E1A8-4B8F-A544-0A2B6F28FA05}"/>
                </a:ext>
              </a:extLst>
            </p:cNvPr>
            <p:cNvSpPr/>
            <p:nvPr/>
          </p:nvSpPr>
          <p:spPr>
            <a:xfrm>
              <a:off x="7989530" y="4610871"/>
              <a:ext cx="775882" cy="239121"/>
            </a:xfrm>
            <a:custGeom>
              <a:avLst/>
              <a:gdLst>
                <a:gd name="connsiteX0" fmla="*/ 0 w 775882"/>
                <a:gd name="connsiteY0" fmla="*/ 192203 h 239121"/>
                <a:gd name="connsiteX1" fmla="*/ 76271 w 775882"/>
                <a:gd name="connsiteY1" fmla="*/ 12203 h 239121"/>
                <a:gd name="connsiteX2" fmla="*/ 689491 w 775882"/>
                <a:gd name="connsiteY2" fmla="*/ 0 h 239121"/>
                <a:gd name="connsiteX3" fmla="*/ 774915 w 775882"/>
                <a:gd name="connsiteY3" fmla="*/ 192203 h 239121"/>
                <a:gd name="connsiteX4" fmla="*/ 353898 w 775882"/>
                <a:gd name="connsiteY4" fmla="*/ 228814 h 239121"/>
                <a:gd name="connsiteX5" fmla="*/ 0 w 775882"/>
                <a:gd name="connsiteY5" fmla="*/ 192203 h 239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5882" h="239121">
                  <a:moveTo>
                    <a:pt x="0" y="192203"/>
                  </a:moveTo>
                  <a:cubicBezTo>
                    <a:pt x="0" y="192203"/>
                    <a:pt x="61017" y="67119"/>
                    <a:pt x="76271" y="12203"/>
                  </a:cubicBezTo>
                  <a:cubicBezTo>
                    <a:pt x="76271" y="12203"/>
                    <a:pt x="454576" y="45763"/>
                    <a:pt x="689491" y="0"/>
                  </a:cubicBezTo>
                  <a:cubicBezTo>
                    <a:pt x="689491" y="0"/>
                    <a:pt x="750508" y="118983"/>
                    <a:pt x="774915" y="192203"/>
                  </a:cubicBezTo>
                  <a:cubicBezTo>
                    <a:pt x="799322" y="268475"/>
                    <a:pt x="353898" y="228814"/>
                    <a:pt x="353898" y="228814"/>
                  </a:cubicBezTo>
                  <a:lnTo>
                    <a:pt x="0" y="192203"/>
                  </a:lnTo>
                  <a:close/>
                </a:path>
              </a:pathLst>
            </a:custGeom>
            <a:solidFill>
              <a:srgbClr val="F6EBE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89" name="图形 114">
              <a:extLst>
                <a:ext uri="{FF2B5EF4-FFF2-40B4-BE49-F238E27FC236}">
                  <a16:creationId xmlns:a16="http://schemas.microsoft.com/office/drawing/2014/main" id="{9B118E89-9211-4851-A00F-787C4806825E}"/>
                </a:ext>
              </a:extLst>
            </p:cNvPr>
            <p:cNvGrpSpPr/>
            <p:nvPr/>
          </p:nvGrpSpPr>
          <p:grpSpPr>
            <a:xfrm>
              <a:off x="6549530" y="4589515"/>
              <a:ext cx="3124067" cy="1998305"/>
              <a:chOff x="6549530" y="4589515"/>
              <a:chExt cx="3124067" cy="1998305"/>
            </a:xfrm>
          </p:grpSpPr>
          <p:grpSp>
            <p:nvGrpSpPr>
              <p:cNvPr id="290" name="图形 114">
                <a:extLst>
                  <a:ext uri="{FF2B5EF4-FFF2-40B4-BE49-F238E27FC236}">
                    <a16:creationId xmlns:a16="http://schemas.microsoft.com/office/drawing/2014/main" id="{9B118E89-9211-4851-A00F-787C4806825E}"/>
                  </a:ext>
                </a:extLst>
              </p:cNvPr>
              <p:cNvGrpSpPr/>
              <p:nvPr/>
            </p:nvGrpSpPr>
            <p:grpSpPr>
              <a:xfrm>
                <a:off x="6549530" y="4693244"/>
                <a:ext cx="3124067" cy="1894576"/>
                <a:chOff x="6549530" y="4693244"/>
                <a:chExt cx="3124067" cy="1894576"/>
              </a:xfrm>
              <a:solidFill>
                <a:srgbClr val="38343B"/>
              </a:solidFill>
            </p:grpSpPr>
            <p:sp>
              <p:nvSpPr>
                <p:cNvPr id="291" name="任意多边形: 形状 290">
                  <a:extLst>
                    <a:ext uri="{FF2B5EF4-FFF2-40B4-BE49-F238E27FC236}">
                      <a16:creationId xmlns:a16="http://schemas.microsoft.com/office/drawing/2014/main" id="{BDEE226A-C883-4FEF-B0BA-E76723DF825A}"/>
                    </a:ext>
                  </a:extLst>
                </p:cNvPr>
                <p:cNvSpPr/>
                <p:nvPr/>
              </p:nvSpPr>
              <p:spPr>
                <a:xfrm>
                  <a:off x="6549530" y="4693244"/>
                  <a:ext cx="433220" cy="1894576"/>
                </a:xfrm>
                <a:custGeom>
                  <a:avLst/>
                  <a:gdLst>
                    <a:gd name="connsiteX0" fmla="*/ 61017 w 433220"/>
                    <a:gd name="connsiteY0" fmla="*/ 1894577 h 1894576"/>
                    <a:gd name="connsiteX1" fmla="*/ 0 w 433220"/>
                    <a:gd name="connsiteY1" fmla="*/ 1894577 h 1894576"/>
                    <a:gd name="connsiteX2" fmla="*/ 372203 w 433220"/>
                    <a:gd name="connsiteY2" fmla="*/ 0 h 1894576"/>
                    <a:gd name="connsiteX3" fmla="*/ 433220 w 433220"/>
                    <a:gd name="connsiteY3" fmla="*/ 0 h 1894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3220" h="1894576">
                      <a:moveTo>
                        <a:pt x="61017" y="1894577"/>
                      </a:moveTo>
                      <a:lnTo>
                        <a:pt x="0" y="1894577"/>
                      </a:lnTo>
                      <a:lnTo>
                        <a:pt x="372203" y="0"/>
                      </a:lnTo>
                      <a:lnTo>
                        <a:pt x="433220" y="0"/>
                      </a:lnTo>
                      <a:close/>
                    </a:path>
                  </a:pathLst>
                </a:custGeom>
                <a:solidFill>
                  <a:srgbClr val="38343B"/>
                </a:solidFill>
                <a:ln w="305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92" name="任意多边形: 形状 291">
                  <a:extLst>
                    <a:ext uri="{FF2B5EF4-FFF2-40B4-BE49-F238E27FC236}">
                      <a16:creationId xmlns:a16="http://schemas.microsoft.com/office/drawing/2014/main" id="{8D189F05-2D04-4BC7-8F1A-B59E864B3B11}"/>
                    </a:ext>
                  </a:extLst>
                </p:cNvPr>
                <p:cNvSpPr/>
                <p:nvPr/>
              </p:nvSpPr>
              <p:spPr>
                <a:xfrm>
                  <a:off x="9240377" y="4693244"/>
                  <a:ext cx="433220" cy="1894576"/>
                </a:xfrm>
                <a:custGeom>
                  <a:avLst/>
                  <a:gdLst>
                    <a:gd name="connsiteX0" fmla="*/ 372203 w 433220"/>
                    <a:gd name="connsiteY0" fmla="*/ 1894577 h 1894576"/>
                    <a:gd name="connsiteX1" fmla="*/ 433220 w 433220"/>
                    <a:gd name="connsiteY1" fmla="*/ 1894577 h 1894576"/>
                    <a:gd name="connsiteX2" fmla="*/ 61017 w 433220"/>
                    <a:gd name="connsiteY2" fmla="*/ 0 h 1894576"/>
                    <a:gd name="connsiteX3" fmla="*/ 0 w 433220"/>
                    <a:gd name="connsiteY3" fmla="*/ 0 h 1894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3220" h="1894576">
                      <a:moveTo>
                        <a:pt x="372203" y="1894577"/>
                      </a:moveTo>
                      <a:lnTo>
                        <a:pt x="433220" y="1894577"/>
                      </a:lnTo>
                      <a:lnTo>
                        <a:pt x="610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8343B"/>
                </a:solidFill>
                <a:ln w="305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93" name="任意多边形: 形状 292">
                <a:extLst>
                  <a:ext uri="{FF2B5EF4-FFF2-40B4-BE49-F238E27FC236}">
                    <a16:creationId xmlns:a16="http://schemas.microsoft.com/office/drawing/2014/main" id="{14449F2E-2ED7-4585-835F-D183732E1AC0}"/>
                  </a:ext>
                </a:extLst>
              </p:cNvPr>
              <p:cNvSpPr/>
              <p:nvPr/>
            </p:nvSpPr>
            <p:spPr>
              <a:xfrm>
                <a:off x="6549530" y="4589515"/>
                <a:ext cx="3121016" cy="128135"/>
              </a:xfrm>
              <a:custGeom>
                <a:avLst/>
                <a:gdLst>
                  <a:gd name="connsiteX0" fmla="*/ 2995932 w 3121016"/>
                  <a:gd name="connsiteY0" fmla="*/ 128136 h 128135"/>
                  <a:gd name="connsiteX1" fmla="*/ 128136 w 3121016"/>
                  <a:gd name="connsiteY1" fmla="*/ 128136 h 128135"/>
                  <a:gd name="connsiteX2" fmla="*/ 0 w 3121016"/>
                  <a:gd name="connsiteY2" fmla="*/ 0 h 128135"/>
                  <a:gd name="connsiteX3" fmla="*/ 0 w 3121016"/>
                  <a:gd name="connsiteY3" fmla="*/ 0 h 128135"/>
                  <a:gd name="connsiteX4" fmla="*/ 3121017 w 3121016"/>
                  <a:gd name="connsiteY4" fmla="*/ 0 h 128135"/>
                  <a:gd name="connsiteX5" fmla="*/ 3121017 w 3121016"/>
                  <a:gd name="connsiteY5" fmla="*/ 0 h 128135"/>
                  <a:gd name="connsiteX6" fmla="*/ 2995932 w 3121016"/>
                  <a:gd name="connsiteY6" fmla="*/ 128136 h 128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21016" h="128135">
                    <a:moveTo>
                      <a:pt x="2995932" y="128136"/>
                    </a:moveTo>
                    <a:lnTo>
                      <a:pt x="128136" y="128136"/>
                    </a:lnTo>
                    <a:cubicBezTo>
                      <a:pt x="57966" y="128136"/>
                      <a:pt x="0" y="70169"/>
                      <a:pt x="0" y="0"/>
                    </a:cubicBezTo>
                    <a:lnTo>
                      <a:pt x="0" y="0"/>
                    </a:lnTo>
                    <a:lnTo>
                      <a:pt x="3121017" y="0"/>
                    </a:lnTo>
                    <a:lnTo>
                      <a:pt x="3121017" y="0"/>
                    </a:lnTo>
                    <a:cubicBezTo>
                      <a:pt x="3121017" y="73220"/>
                      <a:pt x="3066102" y="128136"/>
                      <a:pt x="2995932" y="12813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94" name="任意多边形: 形状 293">
              <a:extLst>
                <a:ext uri="{FF2B5EF4-FFF2-40B4-BE49-F238E27FC236}">
                  <a16:creationId xmlns:a16="http://schemas.microsoft.com/office/drawing/2014/main" id="{B7011138-FB68-4F84-86AA-1B8A83ED45B7}"/>
                </a:ext>
              </a:extLst>
            </p:cNvPr>
            <p:cNvSpPr/>
            <p:nvPr/>
          </p:nvSpPr>
          <p:spPr>
            <a:xfrm>
              <a:off x="8510906" y="3791763"/>
              <a:ext cx="285491" cy="822158"/>
            </a:xfrm>
            <a:custGeom>
              <a:avLst/>
              <a:gdLst>
                <a:gd name="connsiteX0" fmla="*/ 274895 w 285491"/>
                <a:gd name="connsiteY0" fmla="*/ 334023 h 822158"/>
                <a:gd name="connsiteX1" fmla="*/ 238285 w 285491"/>
                <a:gd name="connsiteY1" fmla="*/ 13684 h 822158"/>
                <a:gd name="connsiteX2" fmla="*/ 21675 w 285491"/>
                <a:gd name="connsiteY2" fmla="*/ 187583 h 822158"/>
                <a:gd name="connsiteX3" fmla="*/ 79641 w 285491"/>
                <a:gd name="connsiteY3" fmla="*/ 822159 h 822158"/>
                <a:gd name="connsiteX4" fmla="*/ 274895 w 285491"/>
                <a:gd name="connsiteY4" fmla="*/ 334023 h 82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491" h="822158">
                  <a:moveTo>
                    <a:pt x="274895" y="334023"/>
                  </a:moveTo>
                  <a:cubicBezTo>
                    <a:pt x="284048" y="150972"/>
                    <a:pt x="305404" y="59447"/>
                    <a:pt x="238285" y="13684"/>
                  </a:cubicBezTo>
                  <a:cubicBezTo>
                    <a:pt x="162014" y="-38180"/>
                    <a:pt x="70489" y="65549"/>
                    <a:pt x="21675" y="187583"/>
                  </a:cubicBezTo>
                  <a:cubicBezTo>
                    <a:pt x="-17986" y="282159"/>
                    <a:pt x="-5783" y="822159"/>
                    <a:pt x="79641" y="822159"/>
                  </a:cubicBezTo>
                  <a:cubicBezTo>
                    <a:pt x="204726" y="822159"/>
                    <a:pt x="262692" y="532328"/>
                    <a:pt x="274895" y="334023"/>
                  </a:cubicBezTo>
                  <a:close/>
                </a:path>
              </a:pathLst>
            </a:custGeom>
            <a:solidFill>
              <a:srgbClr val="7E94B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5" name="任意多边形: 形状 294">
              <a:extLst>
                <a:ext uri="{FF2B5EF4-FFF2-40B4-BE49-F238E27FC236}">
                  <a16:creationId xmlns:a16="http://schemas.microsoft.com/office/drawing/2014/main" id="{11DBAFEE-7357-4E2C-A839-3FF1A745C412}"/>
                </a:ext>
              </a:extLst>
            </p:cNvPr>
            <p:cNvSpPr/>
            <p:nvPr/>
          </p:nvSpPr>
          <p:spPr>
            <a:xfrm>
              <a:off x="8017176" y="3811549"/>
              <a:ext cx="85234" cy="573559"/>
            </a:xfrm>
            <a:custGeom>
              <a:avLst/>
              <a:gdLst>
                <a:gd name="connsiteX0" fmla="*/ 54726 w 85234"/>
                <a:gd name="connsiteY0" fmla="*/ 573559 h 573559"/>
                <a:gd name="connsiteX1" fmla="*/ 48625 w 85234"/>
                <a:gd name="connsiteY1" fmla="*/ 570508 h 573559"/>
                <a:gd name="connsiteX2" fmla="*/ 2862 w 85234"/>
                <a:gd name="connsiteY2" fmla="*/ 381356 h 573559"/>
                <a:gd name="connsiteX3" fmla="*/ 76082 w 85234"/>
                <a:gd name="connsiteY3" fmla="*/ 3051 h 573559"/>
                <a:gd name="connsiteX4" fmla="*/ 82184 w 85234"/>
                <a:gd name="connsiteY4" fmla="*/ 0 h 573559"/>
                <a:gd name="connsiteX5" fmla="*/ 85235 w 85234"/>
                <a:gd name="connsiteY5" fmla="*/ 6102 h 573559"/>
                <a:gd name="connsiteX6" fmla="*/ 12015 w 85234"/>
                <a:gd name="connsiteY6" fmla="*/ 378305 h 573559"/>
                <a:gd name="connsiteX7" fmla="*/ 57778 w 85234"/>
                <a:gd name="connsiteY7" fmla="*/ 564407 h 573559"/>
                <a:gd name="connsiteX8" fmla="*/ 54726 w 85234"/>
                <a:gd name="connsiteY8" fmla="*/ 573559 h 573559"/>
                <a:gd name="connsiteX9" fmla="*/ 54726 w 85234"/>
                <a:gd name="connsiteY9" fmla="*/ 573559 h 57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234" h="573559">
                  <a:moveTo>
                    <a:pt x="54726" y="573559"/>
                  </a:moveTo>
                  <a:cubicBezTo>
                    <a:pt x="51675" y="573559"/>
                    <a:pt x="48625" y="570508"/>
                    <a:pt x="48625" y="570508"/>
                  </a:cubicBezTo>
                  <a:cubicBezTo>
                    <a:pt x="30320" y="509491"/>
                    <a:pt x="8964" y="445424"/>
                    <a:pt x="2862" y="381356"/>
                  </a:cubicBezTo>
                  <a:cubicBezTo>
                    <a:pt x="-12392" y="244068"/>
                    <a:pt x="36421" y="106780"/>
                    <a:pt x="76082" y="3051"/>
                  </a:cubicBezTo>
                  <a:cubicBezTo>
                    <a:pt x="76082" y="0"/>
                    <a:pt x="79133" y="0"/>
                    <a:pt x="82184" y="0"/>
                  </a:cubicBezTo>
                  <a:cubicBezTo>
                    <a:pt x="85235" y="0"/>
                    <a:pt x="85235" y="3051"/>
                    <a:pt x="85235" y="6102"/>
                  </a:cubicBezTo>
                  <a:cubicBezTo>
                    <a:pt x="42523" y="106780"/>
                    <a:pt x="-3239" y="241017"/>
                    <a:pt x="12015" y="378305"/>
                  </a:cubicBezTo>
                  <a:cubicBezTo>
                    <a:pt x="18116" y="442373"/>
                    <a:pt x="36421" y="503390"/>
                    <a:pt x="57778" y="564407"/>
                  </a:cubicBezTo>
                  <a:cubicBezTo>
                    <a:pt x="60828" y="570508"/>
                    <a:pt x="57778" y="573559"/>
                    <a:pt x="54726" y="573559"/>
                  </a:cubicBezTo>
                  <a:cubicBezTo>
                    <a:pt x="54726" y="573559"/>
                    <a:pt x="54726" y="573559"/>
                    <a:pt x="54726" y="573559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96" name="图形 114">
              <a:extLst>
                <a:ext uri="{FF2B5EF4-FFF2-40B4-BE49-F238E27FC236}">
                  <a16:creationId xmlns:a16="http://schemas.microsoft.com/office/drawing/2014/main" id="{9B118E89-9211-4851-A00F-787C4806825E}"/>
                </a:ext>
              </a:extLst>
            </p:cNvPr>
            <p:cNvGrpSpPr/>
            <p:nvPr/>
          </p:nvGrpSpPr>
          <p:grpSpPr>
            <a:xfrm>
              <a:off x="7452581" y="3839007"/>
              <a:ext cx="689491" cy="616271"/>
              <a:chOff x="7452581" y="3839007"/>
              <a:chExt cx="689491" cy="616271"/>
            </a:xfrm>
          </p:grpSpPr>
          <p:sp>
            <p:nvSpPr>
              <p:cNvPr id="297" name="任意多边形: 形状 296">
                <a:extLst>
                  <a:ext uri="{FF2B5EF4-FFF2-40B4-BE49-F238E27FC236}">
                    <a16:creationId xmlns:a16="http://schemas.microsoft.com/office/drawing/2014/main" id="{5DB10E55-2363-4FE3-BEFC-8E7939F01B84}"/>
                  </a:ext>
                </a:extLst>
              </p:cNvPr>
              <p:cNvSpPr/>
              <p:nvPr/>
            </p:nvSpPr>
            <p:spPr>
              <a:xfrm>
                <a:off x="7467835" y="3839007"/>
                <a:ext cx="622373" cy="311186"/>
              </a:xfrm>
              <a:custGeom>
                <a:avLst/>
                <a:gdLst>
                  <a:gd name="connsiteX0" fmla="*/ 0 w 622373"/>
                  <a:gd name="connsiteY0" fmla="*/ 42712 h 311186"/>
                  <a:gd name="connsiteX1" fmla="*/ 30508 w 622373"/>
                  <a:gd name="connsiteY1" fmla="*/ 0 h 311186"/>
                  <a:gd name="connsiteX2" fmla="*/ 225763 w 622373"/>
                  <a:gd name="connsiteY2" fmla="*/ 183051 h 311186"/>
                  <a:gd name="connsiteX3" fmla="*/ 579661 w 622373"/>
                  <a:gd name="connsiteY3" fmla="*/ 73220 h 311186"/>
                  <a:gd name="connsiteX4" fmla="*/ 622373 w 622373"/>
                  <a:gd name="connsiteY4" fmla="*/ 146441 h 311186"/>
                  <a:gd name="connsiteX5" fmla="*/ 353899 w 622373"/>
                  <a:gd name="connsiteY5" fmla="*/ 253220 h 311186"/>
                  <a:gd name="connsiteX6" fmla="*/ 143390 w 622373"/>
                  <a:gd name="connsiteY6" fmla="*/ 311187 h 311186"/>
                  <a:gd name="connsiteX7" fmla="*/ 0 w 622373"/>
                  <a:gd name="connsiteY7" fmla="*/ 42712 h 31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2373" h="311186">
                    <a:moveTo>
                      <a:pt x="0" y="42712"/>
                    </a:moveTo>
                    <a:lnTo>
                      <a:pt x="30508" y="0"/>
                    </a:lnTo>
                    <a:cubicBezTo>
                      <a:pt x="30508" y="0"/>
                      <a:pt x="173898" y="94576"/>
                      <a:pt x="225763" y="183051"/>
                    </a:cubicBezTo>
                    <a:cubicBezTo>
                      <a:pt x="225763" y="183051"/>
                      <a:pt x="439322" y="79322"/>
                      <a:pt x="579661" y="73220"/>
                    </a:cubicBezTo>
                    <a:lnTo>
                      <a:pt x="622373" y="146441"/>
                    </a:lnTo>
                    <a:lnTo>
                      <a:pt x="353899" y="253220"/>
                    </a:lnTo>
                    <a:lnTo>
                      <a:pt x="143390" y="311187"/>
                    </a:lnTo>
                    <a:lnTo>
                      <a:pt x="0" y="42712"/>
                    </a:lnTo>
                    <a:close/>
                  </a:path>
                </a:pathLst>
              </a:custGeom>
              <a:solidFill>
                <a:srgbClr val="F6EBE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8" name="任意多边形: 形状 297">
                <a:extLst>
                  <a:ext uri="{FF2B5EF4-FFF2-40B4-BE49-F238E27FC236}">
                    <a16:creationId xmlns:a16="http://schemas.microsoft.com/office/drawing/2014/main" id="{1019C534-1E92-464F-9EE2-207A3EB7EB97}"/>
                  </a:ext>
                </a:extLst>
              </p:cNvPr>
              <p:cNvSpPr/>
              <p:nvPr/>
            </p:nvSpPr>
            <p:spPr>
              <a:xfrm>
                <a:off x="7452581" y="3851210"/>
                <a:ext cx="689491" cy="597966"/>
              </a:xfrm>
              <a:custGeom>
                <a:avLst/>
                <a:gdLst>
                  <a:gd name="connsiteX0" fmla="*/ 0 w 689491"/>
                  <a:gd name="connsiteY0" fmla="*/ 0 h 597966"/>
                  <a:gd name="connsiteX1" fmla="*/ 18305 w 689491"/>
                  <a:gd name="connsiteY1" fmla="*/ 363051 h 597966"/>
                  <a:gd name="connsiteX2" fmla="*/ 231865 w 689491"/>
                  <a:gd name="connsiteY2" fmla="*/ 597966 h 597966"/>
                  <a:gd name="connsiteX3" fmla="*/ 320339 w 689491"/>
                  <a:gd name="connsiteY3" fmla="*/ 597966 h 597966"/>
                  <a:gd name="connsiteX4" fmla="*/ 689492 w 689491"/>
                  <a:gd name="connsiteY4" fmla="*/ 552203 h 597966"/>
                  <a:gd name="connsiteX5" fmla="*/ 652882 w 689491"/>
                  <a:gd name="connsiteY5" fmla="*/ 115932 h 597966"/>
                  <a:gd name="connsiteX6" fmla="*/ 289831 w 689491"/>
                  <a:gd name="connsiteY6" fmla="*/ 192203 h 597966"/>
                  <a:gd name="connsiteX7" fmla="*/ 204407 w 689491"/>
                  <a:gd name="connsiteY7" fmla="*/ 198305 h 597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9491" h="597966">
                    <a:moveTo>
                      <a:pt x="0" y="0"/>
                    </a:moveTo>
                    <a:lnTo>
                      <a:pt x="18305" y="363051"/>
                    </a:lnTo>
                    <a:lnTo>
                      <a:pt x="231865" y="597966"/>
                    </a:lnTo>
                    <a:lnTo>
                      <a:pt x="320339" y="597966"/>
                    </a:lnTo>
                    <a:lnTo>
                      <a:pt x="689492" y="552203"/>
                    </a:lnTo>
                    <a:lnTo>
                      <a:pt x="652882" y="115932"/>
                    </a:lnTo>
                    <a:lnTo>
                      <a:pt x="289831" y="192203"/>
                    </a:lnTo>
                    <a:lnTo>
                      <a:pt x="204407" y="198305"/>
                    </a:lnTo>
                    <a:close/>
                  </a:path>
                </a:pathLst>
              </a:custGeom>
              <a:solidFill>
                <a:srgbClr val="D16156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9" name="任意多边形: 形状 298">
                <a:extLst>
                  <a:ext uri="{FF2B5EF4-FFF2-40B4-BE49-F238E27FC236}">
                    <a16:creationId xmlns:a16="http://schemas.microsoft.com/office/drawing/2014/main" id="{194990E1-6B6F-4429-9771-33F963F475FD}"/>
                  </a:ext>
                </a:extLst>
              </p:cNvPr>
              <p:cNvSpPr/>
              <p:nvPr/>
            </p:nvSpPr>
            <p:spPr>
              <a:xfrm>
                <a:off x="7650886" y="4040363"/>
                <a:ext cx="39661" cy="414915"/>
              </a:xfrm>
              <a:custGeom>
                <a:avLst/>
                <a:gdLst>
                  <a:gd name="connsiteX0" fmla="*/ 33560 w 39661"/>
                  <a:gd name="connsiteY0" fmla="*/ 414915 h 414915"/>
                  <a:gd name="connsiteX1" fmla="*/ 27458 w 39661"/>
                  <a:gd name="connsiteY1" fmla="*/ 408813 h 414915"/>
                  <a:gd name="connsiteX2" fmla="*/ 0 w 39661"/>
                  <a:gd name="connsiteY2" fmla="*/ 6102 h 414915"/>
                  <a:gd name="connsiteX3" fmla="*/ 6102 w 39661"/>
                  <a:gd name="connsiteY3" fmla="*/ 0 h 414915"/>
                  <a:gd name="connsiteX4" fmla="*/ 6102 w 39661"/>
                  <a:gd name="connsiteY4" fmla="*/ 0 h 414915"/>
                  <a:gd name="connsiteX5" fmla="*/ 12204 w 39661"/>
                  <a:gd name="connsiteY5" fmla="*/ 6102 h 414915"/>
                  <a:gd name="connsiteX6" fmla="*/ 39661 w 39661"/>
                  <a:gd name="connsiteY6" fmla="*/ 408813 h 414915"/>
                  <a:gd name="connsiteX7" fmla="*/ 33560 w 39661"/>
                  <a:gd name="connsiteY7" fmla="*/ 414915 h 414915"/>
                  <a:gd name="connsiteX8" fmla="*/ 33560 w 39661"/>
                  <a:gd name="connsiteY8" fmla="*/ 414915 h 414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661" h="414915">
                    <a:moveTo>
                      <a:pt x="33560" y="414915"/>
                    </a:moveTo>
                    <a:cubicBezTo>
                      <a:pt x="30508" y="414915"/>
                      <a:pt x="27458" y="411864"/>
                      <a:pt x="27458" y="408813"/>
                    </a:cubicBezTo>
                    <a:lnTo>
                      <a:pt x="0" y="6102"/>
                    </a:lnTo>
                    <a:cubicBezTo>
                      <a:pt x="0" y="3051"/>
                      <a:pt x="3051" y="0"/>
                      <a:pt x="6102" y="0"/>
                    </a:cubicBezTo>
                    <a:cubicBezTo>
                      <a:pt x="6102" y="0"/>
                      <a:pt x="6102" y="0"/>
                      <a:pt x="6102" y="0"/>
                    </a:cubicBezTo>
                    <a:cubicBezTo>
                      <a:pt x="9153" y="0"/>
                      <a:pt x="12204" y="3051"/>
                      <a:pt x="12204" y="6102"/>
                    </a:cubicBezTo>
                    <a:lnTo>
                      <a:pt x="39661" y="408813"/>
                    </a:lnTo>
                    <a:cubicBezTo>
                      <a:pt x="39661" y="411864"/>
                      <a:pt x="36610" y="414915"/>
                      <a:pt x="33560" y="414915"/>
                    </a:cubicBezTo>
                    <a:cubicBezTo>
                      <a:pt x="33560" y="414915"/>
                      <a:pt x="33560" y="414915"/>
                      <a:pt x="33560" y="41491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0" name="任意多边形: 形状 299">
                <a:extLst>
                  <a:ext uri="{FF2B5EF4-FFF2-40B4-BE49-F238E27FC236}">
                    <a16:creationId xmlns:a16="http://schemas.microsoft.com/office/drawing/2014/main" id="{9ABC4CAD-1FC5-4B18-A28B-5F3CCFEF339D}"/>
                  </a:ext>
                </a:extLst>
              </p:cNvPr>
              <p:cNvSpPr/>
              <p:nvPr/>
            </p:nvSpPr>
            <p:spPr>
              <a:xfrm>
                <a:off x="7739361" y="4037312"/>
                <a:ext cx="39660" cy="417966"/>
              </a:xfrm>
              <a:custGeom>
                <a:avLst/>
                <a:gdLst>
                  <a:gd name="connsiteX0" fmla="*/ 33559 w 39660"/>
                  <a:gd name="connsiteY0" fmla="*/ 417966 h 417966"/>
                  <a:gd name="connsiteX1" fmla="*/ 27457 w 39660"/>
                  <a:gd name="connsiteY1" fmla="*/ 411864 h 417966"/>
                  <a:gd name="connsiteX2" fmla="*/ 0 w 39660"/>
                  <a:gd name="connsiteY2" fmla="*/ 6102 h 417966"/>
                  <a:gd name="connsiteX3" fmla="*/ 6102 w 39660"/>
                  <a:gd name="connsiteY3" fmla="*/ 0 h 417966"/>
                  <a:gd name="connsiteX4" fmla="*/ 6102 w 39660"/>
                  <a:gd name="connsiteY4" fmla="*/ 0 h 417966"/>
                  <a:gd name="connsiteX5" fmla="*/ 12203 w 39660"/>
                  <a:gd name="connsiteY5" fmla="*/ 6102 h 417966"/>
                  <a:gd name="connsiteX6" fmla="*/ 39661 w 39660"/>
                  <a:gd name="connsiteY6" fmla="*/ 411864 h 417966"/>
                  <a:gd name="connsiteX7" fmla="*/ 33559 w 39660"/>
                  <a:gd name="connsiteY7" fmla="*/ 417966 h 417966"/>
                  <a:gd name="connsiteX8" fmla="*/ 33559 w 39660"/>
                  <a:gd name="connsiteY8" fmla="*/ 417966 h 417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660" h="417966">
                    <a:moveTo>
                      <a:pt x="33559" y="417966"/>
                    </a:moveTo>
                    <a:cubicBezTo>
                      <a:pt x="30508" y="417966"/>
                      <a:pt x="27457" y="414915"/>
                      <a:pt x="27457" y="411864"/>
                    </a:cubicBezTo>
                    <a:lnTo>
                      <a:pt x="0" y="6102"/>
                    </a:lnTo>
                    <a:cubicBezTo>
                      <a:pt x="0" y="3051"/>
                      <a:pt x="3051" y="0"/>
                      <a:pt x="6102" y="0"/>
                    </a:cubicBezTo>
                    <a:cubicBezTo>
                      <a:pt x="6102" y="0"/>
                      <a:pt x="6102" y="0"/>
                      <a:pt x="6102" y="0"/>
                    </a:cubicBezTo>
                    <a:cubicBezTo>
                      <a:pt x="9152" y="0"/>
                      <a:pt x="12203" y="3051"/>
                      <a:pt x="12203" y="6102"/>
                    </a:cubicBezTo>
                    <a:lnTo>
                      <a:pt x="39661" y="411864"/>
                    </a:lnTo>
                    <a:cubicBezTo>
                      <a:pt x="39661" y="414915"/>
                      <a:pt x="36610" y="417966"/>
                      <a:pt x="33559" y="417966"/>
                    </a:cubicBezTo>
                    <a:cubicBezTo>
                      <a:pt x="33559" y="417966"/>
                      <a:pt x="33559" y="417966"/>
                      <a:pt x="33559" y="41796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01" name="任意多边形: 形状 300">
              <a:extLst>
                <a:ext uri="{FF2B5EF4-FFF2-40B4-BE49-F238E27FC236}">
                  <a16:creationId xmlns:a16="http://schemas.microsoft.com/office/drawing/2014/main" id="{67FE489F-E4B7-4CAC-95B1-3C40D3175B01}"/>
                </a:ext>
              </a:extLst>
            </p:cNvPr>
            <p:cNvSpPr/>
            <p:nvPr/>
          </p:nvSpPr>
          <p:spPr>
            <a:xfrm>
              <a:off x="8500526" y="3787905"/>
              <a:ext cx="231623" cy="548389"/>
            </a:xfrm>
            <a:custGeom>
              <a:avLst/>
              <a:gdLst>
                <a:gd name="connsiteX0" fmla="*/ 13750 w 231623"/>
                <a:gd name="connsiteY0" fmla="*/ 548390 h 548389"/>
                <a:gd name="connsiteX1" fmla="*/ 7648 w 231623"/>
                <a:gd name="connsiteY1" fmla="*/ 542288 h 548389"/>
                <a:gd name="connsiteX2" fmla="*/ 77818 w 231623"/>
                <a:gd name="connsiteY2" fmla="*/ 84661 h 548389"/>
                <a:gd name="connsiteX3" fmla="*/ 138835 w 231623"/>
                <a:gd name="connsiteY3" fmla="*/ 20593 h 548389"/>
                <a:gd name="connsiteX4" fmla="*/ 227309 w 231623"/>
                <a:gd name="connsiteY4" fmla="*/ 2288 h 548389"/>
                <a:gd name="connsiteX5" fmla="*/ 230360 w 231623"/>
                <a:gd name="connsiteY5" fmla="*/ 8390 h 548389"/>
                <a:gd name="connsiteX6" fmla="*/ 224258 w 231623"/>
                <a:gd name="connsiteY6" fmla="*/ 11441 h 548389"/>
                <a:gd name="connsiteX7" fmla="*/ 144936 w 231623"/>
                <a:gd name="connsiteY7" fmla="*/ 26695 h 548389"/>
                <a:gd name="connsiteX8" fmla="*/ 86970 w 231623"/>
                <a:gd name="connsiteY8" fmla="*/ 87712 h 548389"/>
                <a:gd name="connsiteX9" fmla="*/ 19851 w 231623"/>
                <a:gd name="connsiteY9" fmla="*/ 536186 h 548389"/>
                <a:gd name="connsiteX10" fmla="*/ 13750 w 231623"/>
                <a:gd name="connsiteY10" fmla="*/ 548390 h 548389"/>
                <a:gd name="connsiteX11" fmla="*/ 13750 w 231623"/>
                <a:gd name="connsiteY11" fmla="*/ 548390 h 548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1623" h="548389">
                  <a:moveTo>
                    <a:pt x="13750" y="548390"/>
                  </a:moveTo>
                  <a:cubicBezTo>
                    <a:pt x="10699" y="548390"/>
                    <a:pt x="7648" y="545339"/>
                    <a:pt x="7648" y="542288"/>
                  </a:cubicBezTo>
                  <a:cubicBezTo>
                    <a:pt x="-19810" y="392797"/>
                    <a:pt x="32055" y="151780"/>
                    <a:pt x="77818" y="84661"/>
                  </a:cubicBezTo>
                  <a:cubicBezTo>
                    <a:pt x="93072" y="63305"/>
                    <a:pt x="111377" y="35847"/>
                    <a:pt x="138835" y="20593"/>
                  </a:cubicBezTo>
                  <a:cubicBezTo>
                    <a:pt x="166292" y="2288"/>
                    <a:pt x="199852" y="-3814"/>
                    <a:pt x="227309" y="2288"/>
                  </a:cubicBezTo>
                  <a:cubicBezTo>
                    <a:pt x="230360" y="2288"/>
                    <a:pt x="233411" y="5339"/>
                    <a:pt x="230360" y="8390"/>
                  </a:cubicBezTo>
                  <a:cubicBezTo>
                    <a:pt x="230360" y="11441"/>
                    <a:pt x="227309" y="14492"/>
                    <a:pt x="224258" y="11441"/>
                  </a:cubicBezTo>
                  <a:cubicBezTo>
                    <a:pt x="199852" y="5339"/>
                    <a:pt x="172394" y="11441"/>
                    <a:pt x="144936" y="26695"/>
                  </a:cubicBezTo>
                  <a:cubicBezTo>
                    <a:pt x="120529" y="41949"/>
                    <a:pt x="102224" y="66356"/>
                    <a:pt x="86970" y="87712"/>
                  </a:cubicBezTo>
                  <a:cubicBezTo>
                    <a:pt x="41207" y="151780"/>
                    <a:pt x="-7606" y="389746"/>
                    <a:pt x="19851" y="536186"/>
                  </a:cubicBezTo>
                  <a:cubicBezTo>
                    <a:pt x="19851" y="545339"/>
                    <a:pt x="16801" y="548390"/>
                    <a:pt x="13750" y="548390"/>
                  </a:cubicBezTo>
                  <a:cubicBezTo>
                    <a:pt x="13750" y="548390"/>
                    <a:pt x="13750" y="548390"/>
                    <a:pt x="13750" y="548390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2" name="任意多边形: 形状 301">
              <a:extLst>
                <a:ext uri="{FF2B5EF4-FFF2-40B4-BE49-F238E27FC236}">
                  <a16:creationId xmlns:a16="http://schemas.microsoft.com/office/drawing/2014/main" id="{AA75CAAB-BDDE-4496-B613-BE7712145FAD}"/>
                </a:ext>
              </a:extLst>
            </p:cNvPr>
            <p:cNvSpPr/>
            <p:nvPr/>
          </p:nvSpPr>
          <p:spPr>
            <a:xfrm>
              <a:off x="8089963" y="4024812"/>
              <a:ext cx="183295" cy="128431"/>
            </a:xfrm>
            <a:custGeom>
              <a:avLst/>
              <a:gdLst>
                <a:gd name="connsiteX0" fmla="*/ 183296 w 183295"/>
                <a:gd name="connsiteY0" fmla="*/ 128432 h 128431"/>
                <a:gd name="connsiteX1" fmla="*/ 119228 w 183295"/>
                <a:gd name="connsiteY1" fmla="*/ 6398 h 128431"/>
                <a:gd name="connsiteX2" fmla="*/ 245 w 183295"/>
                <a:gd name="connsiteY2" fmla="*/ 18601 h 128431"/>
                <a:gd name="connsiteX3" fmla="*/ 119228 w 183295"/>
                <a:gd name="connsiteY3" fmla="*/ 97923 h 128431"/>
                <a:gd name="connsiteX4" fmla="*/ 183296 w 183295"/>
                <a:gd name="connsiteY4" fmla="*/ 128432 h 12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295" h="128431">
                  <a:moveTo>
                    <a:pt x="183296" y="128432"/>
                  </a:moveTo>
                  <a:cubicBezTo>
                    <a:pt x="183296" y="128432"/>
                    <a:pt x="149736" y="18601"/>
                    <a:pt x="119228" y="6398"/>
                  </a:cubicBezTo>
                  <a:cubicBezTo>
                    <a:pt x="76516" y="-8857"/>
                    <a:pt x="6346" y="6398"/>
                    <a:pt x="245" y="18601"/>
                  </a:cubicBezTo>
                  <a:cubicBezTo>
                    <a:pt x="-5857" y="30805"/>
                    <a:pt x="103973" y="88770"/>
                    <a:pt x="119228" y="97923"/>
                  </a:cubicBezTo>
                  <a:cubicBezTo>
                    <a:pt x="137533" y="110127"/>
                    <a:pt x="183296" y="128432"/>
                    <a:pt x="183296" y="128432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03" name="图形 114">
              <a:extLst>
                <a:ext uri="{FF2B5EF4-FFF2-40B4-BE49-F238E27FC236}">
                  <a16:creationId xmlns:a16="http://schemas.microsoft.com/office/drawing/2014/main" id="{9B118E89-9211-4851-A00F-787C4806825E}"/>
                </a:ext>
              </a:extLst>
            </p:cNvPr>
            <p:cNvGrpSpPr/>
            <p:nvPr/>
          </p:nvGrpSpPr>
          <p:grpSpPr>
            <a:xfrm>
              <a:off x="7968174" y="4025913"/>
              <a:ext cx="326440" cy="229183"/>
              <a:chOff x="7968174" y="4025913"/>
              <a:chExt cx="326440" cy="229183"/>
            </a:xfrm>
          </p:grpSpPr>
          <p:sp>
            <p:nvSpPr>
              <p:cNvPr id="304" name="任意多边形: 形状 303">
                <a:extLst>
                  <a:ext uri="{FF2B5EF4-FFF2-40B4-BE49-F238E27FC236}">
                    <a16:creationId xmlns:a16="http://schemas.microsoft.com/office/drawing/2014/main" id="{41ECE000-E267-4009-96F1-3D2990172897}"/>
                  </a:ext>
                </a:extLst>
              </p:cNvPr>
              <p:cNvSpPr/>
              <p:nvPr/>
            </p:nvSpPr>
            <p:spPr>
              <a:xfrm>
                <a:off x="7974187" y="4036146"/>
                <a:ext cx="320428" cy="218951"/>
              </a:xfrm>
              <a:custGeom>
                <a:avLst/>
                <a:gdLst>
                  <a:gd name="connsiteX0" fmla="*/ 320428 w 320428"/>
                  <a:gd name="connsiteY0" fmla="*/ 129302 h 218951"/>
                  <a:gd name="connsiteX1" fmla="*/ 219750 w 320428"/>
                  <a:gd name="connsiteY1" fmla="*/ 10319 h 218951"/>
                  <a:gd name="connsiteX2" fmla="*/ 15343 w 320428"/>
                  <a:gd name="connsiteY2" fmla="*/ 19471 h 218951"/>
                  <a:gd name="connsiteX3" fmla="*/ 73309 w 320428"/>
                  <a:gd name="connsiteY3" fmla="*/ 34726 h 218951"/>
                  <a:gd name="connsiteX4" fmla="*/ 89 w 320428"/>
                  <a:gd name="connsiteY4" fmla="*/ 71336 h 218951"/>
                  <a:gd name="connsiteX5" fmla="*/ 27547 w 320428"/>
                  <a:gd name="connsiteY5" fmla="*/ 95743 h 218951"/>
                  <a:gd name="connsiteX6" fmla="*/ 58055 w 320428"/>
                  <a:gd name="connsiteY6" fmla="*/ 120149 h 218951"/>
                  <a:gd name="connsiteX7" fmla="*/ 55005 w 320428"/>
                  <a:gd name="connsiteY7" fmla="*/ 147607 h 218951"/>
                  <a:gd name="connsiteX8" fmla="*/ 158733 w 320428"/>
                  <a:gd name="connsiteY8" fmla="*/ 147607 h 218951"/>
                  <a:gd name="connsiteX9" fmla="*/ 210597 w 320428"/>
                  <a:gd name="connsiteY9" fmla="*/ 202522 h 218951"/>
                  <a:gd name="connsiteX10" fmla="*/ 292970 w 320428"/>
                  <a:gd name="connsiteY10" fmla="*/ 214725 h 218951"/>
                  <a:gd name="connsiteX11" fmla="*/ 320428 w 320428"/>
                  <a:gd name="connsiteY11" fmla="*/ 129302 h 218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428" h="218951">
                    <a:moveTo>
                      <a:pt x="320428" y="129302"/>
                    </a:moveTo>
                    <a:cubicBezTo>
                      <a:pt x="320428" y="129302"/>
                      <a:pt x="250259" y="22522"/>
                      <a:pt x="219750" y="10319"/>
                    </a:cubicBezTo>
                    <a:cubicBezTo>
                      <a:pt x="189242" y="-1885"/>
                      <a:pt x="15343" y="-7986"/>
                      <a:pt x="15343" y="19471"/>
                    </a:cubicBezTo>
                    <a:cubicBezTo>
                      <a:pt x="12292" y="46929"/>
                      <a:pt x="73309" y="34726"/>
                      <a:pt x="73309" y="34726"/>
                    </a:cubicBezTo>
                    <a:cubicBezTo>
                      <a:pt x="73309" y="34726"/>
                      <a:pt x="-2962" y="49980"/>
                      <a:pt x="89" y="71336"/>
                    </a:cubicBezTo>
                    <a:cubicBezTo>
                      <a:pt x="3140" y="95743"/>
                      <a:pt x="27547" y="95743"/>
                      <a:pt x="27547" y="95743"/>
                    </a:cubicBezTo>
                    <a:cubicBezTo>
                      <a:pt x="27547" y="95743"/>
                      <a:pt x="12292" y="123200"/>
                      <a:pt x="58055" y="120149"/>
                    </a:cubicBezTo>
                    <a:cubicBezTo>
                      <a:pt x="58055" y="120149"/>
                      <a:pt x="36699" y="144556"/>
                      <a:pt x="55005" y="147607"/>
                    </a:cubicBezTo>
                    <a:cubicBezTo>
                      <a:pt x="73309" y="150658"/>
                      <a:pt x="143479" y="138454"/>
                      <a:pt x="158733" y="147607"/>
                    </a:cubicBezTo>
                    <a:cubicBezTo>
                      <a:pt x="173987" y="156760"/>
                      <a:pt x="180089" y="187268"/>
                      <a:pt x="210597" y="202522"/>
                    </a:cubicBezTo>
                    <a:cubicBezTo>
                      <a:pt x="262462" y="229980"/>
                      <a:pt x="292970" y="214725"/>
                      <a:pt x="292970" y="214725"/>
                    </a:cubicBezTo>
                    <a:lnTo>
                      <a:pt x="320428" y="129302"/>
                    </a:ln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5" name="任意多边形: 形状 304">
                <a:extLst>
                  <a:ext uri="{FF2B5EF4-FFF2-40B4-BE49-F238E27FC236}">
                    <a16:creationId xmlns:a16="http://schemas.microsoft.com/office/drawing/2014/main" id="{98F25ED8-256B-4712-A7B3-E4C3A4B7771B}"/>
                  </a:ext>
                </a:extLst>
              </p:cNvPr>
              <p:cNvSpPr/>
              <p:nvPr/>
            </p:nvSpPr>
            <p:spPr>
              <a:xfrm>
                <a:off x="7976986" y="4025913"/>
                <a:ext cx="290170" cy="96822"/>
              </a:xfrm>
              <a:custGeom>
                <a:avLst/>
                <a:gdLst>
                  <a:gd name="connsiteX0" fmla="*/ 284069 w 290170"/>
                  <a:gd name="connsiteY0" fmla="*/ 96823 h 96822"/>
                  <a:gd name="connsiteX1" fmla="*/ 277968 w 290170"/>
                  <a:gd name="connsiteY1" fmla="*/ 93772 h 96822"/>
                  <a:gd name="connsiteX2" fmla="*/ 213900 w 290170"/>
                  <a:gd name="connsiteY2" fmla="*/ 23602 h 96822"/>
                  <a:gd name="connsiteX3" fmla="*/ 24747 w 290170"/>
                  <a:gd name="connsiteY3" fmla="*/ 20551 h 96822"/>
                  <a:gd name="connsiteX4" fmla="*/ 12544 w 290170"/>
                  <a:gd name="connsiteY4" fmla="*/ 26653 h 96822"/>
                  <a:gd name="connsiteX5" fmla="*/ 67459 w 290170"/>
                  <a:gd name="connsiteY5" fmla="*/ 35806 h 96822"/>
                  <a:gd name="connsiteX6" fmla="*/ 73561 w 290170"/>
                  <a:gd name="connsiteY6" fmla="*/ 41907 h 96822"/>
                  <a:gd name="connsiteX7" fmla="*/ 67459 w 290170"/>
                  <a:gd name="connsiteY7" fmla="*/ 48009 h 96822"/>
                  <a:gd name="connsiteX8" fmla="*/ 340 w 290170"/>
                  <a:gd name="connsiteY8" fmla="*/ 29704 h 96822"/>
                  <a:gd name="connsiteX9" fmla="*/ 21697 w 290170"/>
                  <a:gd name="connsiteY9" fmla="*/ 8348 h 96822"/>
                  <a:gd name="connsiteX10" fmla="*/ 216951 w 290170"/>
                  <a:gd name="connsiteY10" fmla="*/ 8348 h 96822"/>
                  <a:gd name="connsiteX11" fmla="*/ 290171 w 290170"/>
                  <a:gd name="connsiteY11" fmla="*/ 84619 h 96822"/>
                  <a:gd name="connsiteX12" fmla="*/ 284069 w 290170"/>
                  <a:gd name="connsiteY12" fmla="*/ 96823 h 96822"/>
                  <a:gd name="connsiteX13" fmla="*/ 284069 w 290170"/>
                  <a:gd name="connsiteY13" fmla="*/ 96823 h 96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90170" h="96822">
                    <a:moveTo>
                      <a:pt x="284069" y="96823"/>
                    </a:moveTo>
                    <a:cubicBezTo>
                      <a:pt x="281019" y="96823"/>
                      <a:pt x="281019" y="96823"/>
                      <a:pt x="277968" y="93772"/>
                    </a:cubicBezTo>
                    <a:cubicBezTo>
                      <a:pt x="277968" y="93772"/>
                      <a:pt x="247459" y="32755"/>
                      <a:pt x="213900" y="23602"/>
                    </a:cubicBezTo>
                    <a:cubicBezTo>
                      <a:pt x="180340" y="17501"/>
                      <a:pt x="70510" y="5297"/>
                      <a:pt x="24747" y="20551"/>
                    </a:cubicBezTo>
                    <a:cubicBezTo>
                      <a:pt x="12544" y="23602"/>
                      <a:pt x="12544" y="26653"/>
                      <a:pt x="12544" y="26653"/>
                    </a:cubicBezTo>
                    <a:cubicBezTo>
                      <a:pt x="15594" y="29704"/>
                      <a:pt x="43052" y="38856"/>
                      <a:pt x="67459" y="35806"/>
                    </a:cubicBezTo>
                    <a:cubicBezTo>
                      <a:pt x="70510" y="35806"/>
                      <a:pt x="73561" y="38856"/>
                      <a:pt x="73561" y="41907"/>
                    </a:cubicBezTo>
                    <a:cubicBezTo>
                      <a:pt x="73561" y="44958"/>
                      <a:pt x="70510" y="48009"/>
                      <a:pt x="67459" y="48009"/>
                    </a:cubicBezTo>
                    <a:cubicBezTo>
                      <a:pt x="46103" y="51060"/>
                      <a:pt x="3391" y="44958"/>
                      <a:pt x="340" y="29704"/>
                    </a:cubicBezTo>
                    <a:cubicBezTo>
                      <a:pt x="-2710" y="17501"/>
                      <a:pt x="15594" y="11399"/>
                      <a:pt x="21697" y="8348"/>
                    </a:cubicBezTo>
                    <a:cubicBezTo>
                      <a:pt x="67459" y="-6906"/>
                      <a:pt x="180340" y="2246"/>
                      <a:pt x="216951" y="8348"/>
                    </a:cubicBezTo>
                    <a:cubicBezTo>
                      <a:pt x="256612" y="17501"/>
                      <a:pt x="287120" y="81568"/>
                      <a:pt x="290171" y="84619"/>
                    </a:cubicBezTo>
                    <a:cubicBezTo>
                      <a:pt x="290171" y="93772"/>
                      <a:pt x="290171" y="96823"/>
                      <a:pt x="284069" y="96823"/>
                    </a:cubicBezTo>
                    <a:cubicBezTo>
                      <a:pt x="287120" y="96823"/>
                      <a:pt x="284069" y="96823"/>
                      <a:pt x="284069" y="9682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6" name="任意多边形: 形状 305">
                <a:extLst>
                  <a:ext uri="{FF2B5EF4-FFF2-40B4-BE49-F238E27FC236}">
                    <a16:creationId xmlns:a16="http://schemas.microsoft.com/office/drawing/2014/main" id="{C6548B96-9816-4573-9C8A-5F45A3F22D87}"/>
                  </a:ext>
                </a:extLst>
              </p:cNvPr>
              <p:cNvSpPr/>
              <p:nvPr/>
            </p:nvSpPr>
            <p:spPr>
              <a:xfrm>
                <a:off x="8132920" y="4062481"/>
                <a:ext cx="41949" cy="81610"/>
              </a:xfrm>
              <a:custGeom>
                <a:avLst/>
                <a:gdLst>
                  <a:gd name="connsiteX0" fmla="*/ 6102 w 41949"/>
                  <a:gd name="connsiteY0" fmla="*/ 81610 h 81610"/>
                  <a:gd name="connsiteX1" fmla="*/ 6102 w 41949"/>
                  <a:gd name="connsiteY1" fmla="*/ 81610 h 81610"/>
                  <a:gd name="connsiteX2" fmla="*/ 0 w 41949"/>
                  <a:gd name="connsiteY2" fmla="*/ 75508 h 81610"/>
                  <a:gd name="connsiteX3" fmla="*/ 30508 w 41949"/>
                  <a:gd name="connsiteY3" fmla="*/ 2288 h 81610"/>
                  <a:gd name="connsiteX4" fmla="*/ 39661 w 41949"/>
                  <a:gd name="connsiteY4" fmla="*/ 2288 h 81610"/>
                  <a:gd name="connsiteX5" fmla="*/ 39661 w 41949"/>
                  <a:gd name="connsiteY5" fmla="*/ 11441 h 81610"/>
                  <a:gd name="connsiteX6" fmla="*/ 12203 w 41949"/>
                  <a:gd name="connsiteY6" fmla="*/ 78559 h 81610"/>
                  <a:gd name="connsiteX7" fmla="*/ 6102 w 41949"/>
                  <a:gd name="connsiteY7" fmla="*/ 81610 h 8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949" h="81610">
                    <a:moveTo>
                      <a:pt x="6102" y="81610"/>
                    </a:moveTo>
                    <a:cubicBezTo>
                      <a:pt x="6102" y="81610"/>
                      <a:pt x="6102" y="81610"/>
                      <a:pt x="6102" y="81610"/>
                    </a:cubicBezTo>
                    <a:cubicBezTo>
                      <a:pt x="3051" y="81610"/>
                      <a:pt x="0" y="78559"/>
                      <a:pt x="0" y="75508"/>
                    </a:cubicBezTo>
                    <a:cubicBezTo>
                      <a:pt x="3051" y="38898"/>
                      <a:pt x="27457" y="2288"/>
                      <a:pt x="30508" y="2288"/>
                    </a:cubicBezTo>
                    <a:cubicBezTo>
                      <a:pt x="33560" y="-763"/>
                      <a:pt x="36610" y="-763"/>
                      <a:pt x="39661" y="2288"/>
                    </a:cubicBezTo>
                    <a:cubicBezTo>
                      <a:pt x="42712" y="5339"/>
                      <a:pt x="42712" y="8390"/>
                      <a:pt x="39661" y="11441"/>
                    </a:cubicBezTo>
                    <a:cubicBezTo>
                      <a:pt x="39661" y="11441"/>
                      <a:pt x="15254" y="45000"/>
                      <a:pt x="12203" y="78559"/>
                    </a:cubicBezTo>
                    <a:cubicBezTo>
                      <a:pt x="12203" y="78559"/>
                      <a:pt x="9153" y="81610"/>
                      <a:pt x="6102" y="8161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7" name="任意多边形: 形状 306">
                <a:extLst>
                  <a:ext uri="{FF2B5EF4-FFF2-40B4-BE49-F238E27FC236}">
                    <a16:creationId xmlns:a16="http://schemas.microsoft.com/office/drawing/2014/main" id="{8BBEAF0A-FE76-4195-A356-AA15C8052A3D}"/>
                  </a:ext>
                </a:extLst>
              </p:cNvPr>
              <p:cNvSpPr/>
              <p:nvPr/>
            </p:nvSpPr>
            <p:spPr>
              <a:xfrm>
                <a:off x="7968174" y="4064913"/>
                <a:ext cx="186101" cy="70026"/>
              </a:xfrm>
              <a:custGeom>
                <a:avLst/>
                <a:gdLst>
                  <a:gd name="connsiteX0" fmla="*/ 27457 w 186101"/>
                  <a:gd name="connsiteY0" fmla="*/ 70026 h 70026"/>
                  <a:gd name="connsiteX1" fmla="*/ 3051 w 186101"/>
                  <a:gd name="connsiteY1" fmla="*/ 57823 h 70026"/>
                  <a:gd name="connsiteX2" fmla="*/ 0 w 186101"/>
                  <a:gd name="connsiteY2" fmla="*/ 42569 h 70026"/>
                  <a:gd name="connsiteX3" fmla="*/ 39661 w 186101"/>
                  <a:gd name="connsiteY3" fmla="*/ 9009 h 70026"/>
                  <a:gd name="connsiteX4" fmla="*/ 180000 w 186101"/>
                  <a:gd name="connsiteY4" fmla="*/ 5959 h 70026"/>
                  <a:gd name="connsiteX5" fmla="*/ 186101 w 186101"/>
                  <a:gd name="connsiteY5" fmla="*/ 12060 h 70026"/>
                  <a:gd name="connsiteX6" fmla="*/ 180000 w 186101"/>
                  <a:gd name="connsiteY6" fmla="*/ 18162 h 70026"/>
                  <a:gd name="connsiteX7" fmla="*/ 45763 w 186101"/>
                  <a:gd name="connsiteY7" fmla="*/ 21213 h 70026"/>
                  <a:gd name="connsiteX8" fmla="*/ 12203 w 186101"/>
                  <a:gd name="connsiteY8" fmla="*/ 45620 h 70026"/>
                  <a:gd name="connsiteX9" fmla="*/ 12203 w 186101"/>
                  <a:gd name="connsiteY9" fmla="*/ 51721 h 70026"/>
                  <a:gd name="connsiteX10" fmla="*/ 39661 w 186101"/>
                  <a:gd name="connsiteY10" fmla="*/ 54772 h 70026"/>
                  <a:gd name="connsiteX11" fmla="*/ 164746 w 186101"/>
                  <a:gd name="connsiteY11" fmla="*/ 33416 h 70026"/>
                  <a:gd name="connsiteX12" fmla="*/ 170847 w 186101"/>
                  <a:gd name="connsiteY12" fmla="*/ 39518 h 70026"/>
                  <a:gd name="connsiteX13" fmla="*/ 164746 w 186101"/>
                  <a:gd name="connsiteY13" fmla="*/ 45620 h 70026"/>
                  <a:gd name="connsiteX14" fmla="*/ 45763 w 186101"/>
                  <a:gd name="connsiteY14" fmla="*/ 63925 h 70026"/>
                  <a:gd name="connsiteX15" fmla="*/ 27457 w 186101"/>
                  <a:gd name="connsiteY15" fmla="*/ 70026 h 70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86101" h="70026">
                    <a:moveTo>
                      <a:pt x="27457" y="70026"/>
                    </a:moveTo>
                    <a:cubicBezTo>
                      <a:pt x="15254" y="70026"/>
                      <a:pt x="6102" y="63925"/>
                      <a:pt x="3051" y="57823"/>
                    </a:cubicBezTo>
                    <a:cubicBezTo>
                      <a:pt x="0" y="54772"/>
                      <a:pt x="0" y="48670"/>
                      <a:pt x="0" y="42569"/>
                    </a:cubicBezTo>
                    <a:cubicBezTo>
                      <a:pt x="3051" y="30365"/>
                      <a:pt x="18305" y="21213"/>
                      <a:pt x="39661" y="9009"/>
                    </a:cubicBezTo>
                    <a:cubicBezTo>
                      <a:pt x="85423" y="-9296"/>
                      <a:pt x="176949" y="5959"/>
                      <a:pt x="180000" y="5959"/>
                    </a:cubicBezTo>
                    <a:cubicBezTo>
                      <a:pt x="183051" y="5959"/>
                      <a:pt x="186101" y="9009"/>
                      <a:pt x="186101" y="12060"/>
                    </a:cubicBezTo>
                    <a:cubicBezTo>
                      <a:pt x="186101" y="15111"/>
                      <a:pt x="183051" y="18162"/>
                      <a:pt x="180000" y="18162"/>
                    </a:cubicBezTo>
                    <a:cubicBezTo>
                      <a:pt x="180000" y="18162"/>
                      <a:pt x="85423" y="2908"/>
                      <a:pt x="45763" y="21213"/>
                    </a:cubicBezTo>
                    <a:cubicBezTo>
                      <a:pt x="18305" y="33416"/>
                      <a:pt x="12203" y="42569"/>
                      <a:pt x="12203" y="45620"/>
                    </a:cubicBezTo>
                    <a:cubicBezTo>
                      <a:pt x="12203" y="48670"/>
                      <a:pt x="12203" y="51721"/>
                      <a:pt x="12203" y="51721"/>
                    </a:cubicBezTo>
                    <a:cubicBezTo>
                      <a:pt x="15254" y="54772"/>
                      <a:pt x="27457" y="60874"/>
                      <a:pt x="39661" y="54772"/>
                    </a:cubicBezTo>
                    <a:cubicBezTo>
                      <a:pt x="61017" y="45620"/>
                      <a:pt x="112881" y="30365"/>
                      <a:pt x="164746" y="33416"/>
                    </a:cubicBezTo>
                    <a:cubicBezTo>
                      <a:pt x="167797" y="33416"/>
                      <a:pt x="170847" y="36467"/>
                      <a:pt x="170847" y="39518"/>
                    </a:cubicBezTo>
                    <a:cubicBezTo>
                      <a:pt x="170847" y="42569"/>
                      <a:pt x="167797" y="45620"/>
                      <a:pt x="164746" y="45620"/>
                    </a:cubicBezTo>
                    <a:cubicBezTo>
                      <a:pt x="109830" y="42569"/>
                      <a:pt x="61017" y="57823"/>
                      <a:pt x="45763" y="63925"/>
                    </a:cubicBezTo>
                    <a:cubicBezTo>
                      <a:pt x="39661" y="70026"/>
                      <a:pt x="33559" y="70026"/>
                      <a:pt x="27457" y="7002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8" name="任意多边形: 形状 307">
                <a:extLst>
                  <a:ext uri="{FF2B5EF4-FFF2-40B4-BE49-F238E27FC236}">
                    <a16:creationId xmlns:a16="http://schemas.microsoft.com/office/drawing/2014/main" id="{B39A3E4E-5CC2-446E-B5AD-A7FF41D07969}"/>
                  </a:ext>
                </a:extLst>
              </p:cNvPr>
              <p:cNvSpPr/>
              <p:nvPr/>
            </p:nvSpPr>
            <p:spPr>
              <a:xfrm>
                <a:off x="8007236" y="4137990"/>
                <a:ext cx="124920" cy="57203"/>
              </a:xfrm>
              <a:custGeom>
                <a:avLst/>
                <a:gdLst>
                  <a:gd name="connsiteX0" fmla="*/ 18904 w 124920"/>
                  <a:gd name="connsiteY0" fmla="*/ 54915 h 57203"/>
                  <a:gd name="connsiteX1" fmla="*/ 18904 w 124920"/>
                  <a:gd name="connsiteY1" fmla="*/ 54915 h 57203"/>
                  <a:gd name="connsiteX2" fmla="*/ 598 w 124920"/>
                  <a:gd name="connsiteY2" fmla="*/ 45763 h 57203"/>
                  <a:gd name="connsiteX3" fmla="*/ 15853 w 124920"/>
                  <a:gd name="connsiteY3" fmla="*/ 18305 h 57203"/>
                  <a:gd name="connsiteX4" fmla="*/ 107378 w 124920"/>
                  <a:gd name="connsiteY4" fmla="*/ 0 h 57203"/>
                  <a:gd name="connsiteX5" fmla="*/ 113480 w 124920"/>
                  <a:gd name="connsiteY5" fmla="*/ 6102 h 57203"/>
                  <a:gd name="connsiteX6" fmla="*/ 107378 w 124920"/>
                  <a:gd name="connsiteY6" fmla="*/ 12203 h 57203"/>
                  <a:gd name="connsiteX7" fmla="*/ 21955 w 124920"/>
                  <a:gd name="connsiteY7" fmla="*/ 30508 h 57203"/>
                  <a:gd name="connsiteX8" fmla="*/ 9751 w 124920"/>
                  <a:gd name="connsiteY8" fmla="*/ 45763 h 57203"/>
                  <a:gd name="connsiteX9" fmla="*/ 15853 w 124920"/>
                  <a:gd name="connsiteY9" fmla="*/ 45763 h 57203"/>
                  <a:gd name="connsiteX10" fmla="*/ 15853 w 124920"/>
                  <a:gd name="connsiteY10" fmla="*/ 45763 h 57203"/>
                  <a:gd name="connsiteX11" fmla="*/ 40259 w 124920"/>
                  <a:gd name="connsiteY11" fmla="*/ 42712 h 57203"/>
                  <a:gd name="connsiteX12" fmla="*/ 122632 w 124920"/>
                  <a:gd name="connsiteY12" fmla="*/ 45763 h 57203"/>
                  <a:gd name="connsiteX13" fmla="*/ 122632 w 124920"/>
                  <a:gd name="connsiteY13" fmla="*/ 54915 h 57203"/>
                  <a:gd name="connsiteX14" fmla="*/ 113480 w 124920"/>
                  <a:gd name="connsiteY14" fmla="*/ 54915 h 57203"/>
                  <a:gd name="connsiteX15" fmla="*/ 40259 w 124920"/>
                  <a:gd name="connsiteY15" fmla="*/ 54915 h 57203"/>
                  <a:gd name="connsiteX16" fmla="*/ 18904 w 124920"/>
                  <a:gd name="connsiteY16" fmla="*/ 54915 h 57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4920" h="57203">
                    <a:moveTo>
                      <a:pt x="18904" y="54915"/>
                    </a:moveTo>
                    <a:cubicBezTo>
                      <a:pt x="18904" y="54915"/>
                      <a:pt x="18904" y="54915"/>
                      <a:pt x="18904" y="54915"/>
                    </a:cubicBezTo>
                    <a:cubicBezTo>
                      <a:pt x="6700" y="54915"/>
                      <a:pt x="3649" y="48814"/>
                      <a:pt x="598" y="45763"/>
                    </a:cubicBezTo>
                    <a:cubicBezTo>
                      <a:pt x="-2452" y="36610"/>
                      <a:pt x="6700" y="24407"/>
                      <a:pt x="15853" y="18305"/>
                    </a:cubicBezTo>
                    <a:cubicBezTo>
                      <a:pt x="31107" y="6102"/>
                      <a:pt x="98226" y="0"/>
                      <a:pt x="107378" y="0"/>
                    </a:cubicBezTo>
                    <a:cubicBezTo>
                      <a:pt x="110429" y="0"/>
                      <a:pt x="113480" y="3051"/>
                      <a:pt x="113480" y="6102"/>
                    </a:cubicBezTo>
                    <a:cubicBezTo>
                      <a:pt x="113480" y="9153"/>
                      <a:pt x="110429" y="12203"/>
                      <a:pt x="107378" y="12203"/>
                    </a:cubicBezTo>
                    <a:cubicBezTo>
                      <a:pt x="79921" y="15254"/>
                      <a:pt x="34158" y="21356"/>
                      <a:pt x="21955" y="30508"/>
                    </a:cubicBezTo>
                    <a:cubicBezTo>
                      <a:pt x="12802" y="36610"/>
                      <a:pt x="9751" y="42712"/>
                      <a:pt x="9751" y="45763"/>
                    </a:cubicBezTo>
                    <a:cubicBezTo>
                      <a:pt x="9751" y="45763"/>
                      <a:pt x="12802" y="45763"/>
                      <a:pt x="15853" y="45763"/>
                    </a:cubicBezTo>
                    <a:cubicBezTo>
                      <a:pt x="15853" y="45763"/>
                      <a:pt x="15853" y="45763"/>
                      <a:pt x="15853" y="45763"/>
                    </a:cubicBezTo>
                    <a:cubicBezTo>
                      <a:pt x="21955" y="45763"/>
                      <a:pt x="31107" y="45763"/>
                      <a:pt x="40259" y="42712"/>
                    </a:cubicBezTo>
                    <a:cubicBezTo>
                      <a:pt x="79921" y="36610"/>
                      <a:pt x="110429" y="33559"/>
                      <a:pt x="122632" y="45763"/>
                    </a:cubicBezTo>
                    <a:cubicBezTo>
                      <a:pt x="125683" y="48814"/>
                      <a:pt x="125683" y="51864"/>
                      <a:pt x="122632" y="54915"/>
                    </a:cubicBezTo>
                    <a:cubicBezTo>
                      <a:pt x="119582" y="57966"/>
                      <a:pt x="116531" y="57966"/>
                      <a:pt x="113480" y="54915"/>
                    </a:cubicBezTo>
                    <a:cubicBezTo>
                      <a:pt x="107378" y="45763"/>
                      <a:pt x="61615" y="51864"/>
                      <a:pt x="40259" y="54915"/>
                    </a:cubicBezTo>
                    <a:cubicBezTo>
                      <a:pt x="34158" y="54915"/>
                      <a:pt x="25005" y="54915"/>
                      <a:pt x="18904" y="5491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09" name="任意多边形: 形状 308">
              <a:extLst>
                <a:ext uri="{FF2B5EF4-FFF2-40B4-BE49-F238E27FC236}">
                  <a16:creationId xmlns:a16="http://schemas.microsoft.com/office/drawing/2014/main" id="{345B2F0B-31C8-4007-BA51-2EF120104400}"/>
                </a:ext>
              </a:extLst>
            </p:cNvPr>
            <p:cNvSpPr/>
            <p:nvPr/>
          </p:nvSpPr>
          <p:spPr>
            <a:xfrm>
              <a:off x="8223622" y="4165447"/>
              <a:ext cx="438982" cy="446588"/>
            </a:xfrm>
            <a:custGeom>
              <a:avLst/>
              <a:gdLst>
                <a:gd name="connsiteX0" fmla="*/ 61840 w 438982"/>
                <a:gd name="connsiteY0" fmla="*/ 0 h 446588"/>
                <a:gd name="connsiteX1" fmla="*/ 424891 w 438982"/>
                <a:gd name="connsiteY1" fmla="*/ 283729 h 446588"/>
                <a:gd name="connsiteX2" fmla="*/ 330315 w 438982"/>
                <a:gd name="connsiteY2" fmla="*/ 442373 h 446588"/>
                <a:gd name="connsiteX3" fmla="*/ 823 w 438982"/>
                <a:gd name="connsiteY3" fmla="*/ 79322 h 446588"/>
                <a:gd name="connsiteX4" fmla="*/ 61840 w 438982"/>
                <a:gd name="connsiteY4" fmla="*/ 0 h 446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982" h="446588">
                  <a:moveTo>
                    <a:pt x="61840" y="0"/>
                  </a:moveTo>
                  <a:cubicBezTo>
                    <a:pt x="61840" y="0"/>
                    <a:pt x="391332" y="213559"/>
                    <a:pt x="424891" y="283729"/>
                  </a:cubicBezTo>
                  <a:cubicBezTo>
                    <a:pt x="458451" y="356949"/>
                    <a:pt x="434044" y="469831"/>
                    <a:pt x="330315" y="442373"/>
                  </a:cubicBezTo>
                  <a:cubicBezTo>
                    <a:pt x="226586" y="414915"/>
                    <a:pt x="6925" y="85424"/>
                    <a:pt x="823" y="79322"/>
                  </a:cubicBezTo>
                  <a:cubicBezTo>
                    <a:pt x="-8329" y="73220"/>
                    <a:pt x="61840" y="0"/>
                    <a:pt x="61840" y="0"/>
                  </a:cubicBezTo>
                  <a:close/>
                </a:path>
              </a:pathLst>
            </a:custGeom>
            <a:solidFill>
              <a:srgbClr val="7E94B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0" name="任意多边形: 形状 309">
              <a:extLst>
                <a:ext uri="{FF2B5EF4-FFF2-40B4-BE49-F238E27FC236}">
                  <a16:creationId xmlns:a16="http://schemas.microsoft.com/office/drawing/2014/main" id="{83F452B1-F319-4DE7-AC1A-A94AE3037608}"/>
                </a:ext>
              </a:extLst>
            </p:cNvPr>
            <p:cNvSpPr/>
            <p:nvPr/>
          </p:nvSpPr>
          <p:spPr>
            <a:xfrm>
              <a:off x="8215293" y="4147142"/>
              <a:ext cx="350084" cy="427118"/>
            </a:xfrm>
            <a:custGeom>
              <a:avLst/>
              <a:gdLst>
                <a:gd name="connsiteX0" fmla="*/ 271526 w 350084"/>
                <a:gd name="connsiteY0" fmla="*/ 424068 h 427118"/>
                <a:gd name="connsiteX1" fmla="*/ 268475 w 350084"/>
                <a:gd name="connsiteY1" fmla="*/ 424068 h 427118"/>
                <a:gd name="connsiteX2" fmla="*/ 3051 w 350084"/>
                <a:gd name="connsiteY2" fmla="*/ 115932 h 427118"/>
                <a:gd name="connsiteX3" fmla="*/ 0 w 350084"/>
                <a:gd name="connsiteY3" fmla="*/ 112881 h 427118"/>
                <a:gd name="connsiteX4" fmla="*/ 76271 w 350084"/>
                <a:gd name="connsiteY4" fmla="*/ 0 h 427118"/>
                <a:gd name="connsiteX5" fmla="*/ 82373 w 350084"/>
                <a:gd name="connsiteY5" fmla="*/ 3051 h 427118"/>
                <a:gd name="connsiteX6" fmla="*/ 347797 w 350084"/>
                <a:gd name="connsiteY6" fmla="*/ 231864 h 427118"/>
                <a:gd name="connsiteX7" fmla="*/ 347797 w 350084"/>
                <a:gd name="connsiteY7" fmla="*/ 241017 h 427118"/>
                <a:gd name="connsiteX8" fmla="*/ 338644 w 350084"/>
                <a:gd name="connsiteY8" fmla="*/ 241017 h 427118"/>
                <a:gd name="connsiteX9" fmla="*/ 79322 w 350084"/>
                <a:gd name="connsiteY9" fmla="*/ 18305 h 427118"/>
                <a:gd name="connsiteX10" fmla="*/ 12204 w 350084"/>
                <a:gd name="connsiteY10" fmla="*/ 115932 h 427118"/>
                <a:gd name="connsiteX11" fmla="*/ 271526 w 350084"/>
                <a:gd name="connsiteY11" fmla="*/ 417966 h 427118"/>
                <a:gd name="connsiteX12" fmla="*/ 271526 w 350084"/>
                <a:gd name="connsiteY12" fmla="*/ 427119 h 427118"/>
                <a:gd name="connsiteX13" fmla="*/ 271526 w 350084"/>
                <a:gd name="connsiteY13" fmla="*/ 424068 h 427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0084" h="427118">
                  <a:moveTo>
                    <a:pt x="271526" y="424068"/>
                  </a:moveTo>
                  <a:cubicBezTo>
                    <a:pt x="271526" y="424068"/>
                    <a:pt x="268475" y="424068"/>
                    <a:pt x="268475" y="424068"/>
                  </a:cubicBezTo>
                  <a:cubicBezTo>
                    <a:pt x="183051" y="366102"/>
                    <a:pt x="12204" y="125085"/>
                    <a:pt x="3051" y="115932"/>
                  </a:cubicBezTo>
                  <a:lnTo>
                    <a:pt x="0" y="112881"/>
                  </a:lnTo>
                  <a:lnTo>
                    <a:pt x="76271" y="0"/>
                  </a:lnTo>
                  <a:lnTo>
                    <a:pt x="82373" y="3051"/>
                  </a:lnTo>
                  <a:cubicBezTo>
                    <a:pt x="85424" y="3051"/>
                    <a:pt x="250169" y="115932"/>
                    <a:pt x="347797" y="231864"/>
                  </a:cubicBezTo>
                  <a:cubicBezTo>
                    <a:pt x="350847" y="234915"/>
                    <a:pt x="350847" y="237966"/>
                    <a:pt x="347797" y="241017"/>
                  </a:cubicBezTo>
                  <a:cubicBezTo>
                    <a:pt x="344746" y="244068"/>
                    <a:pt x="341695" y="244068"/>
                    <a:pt x="338644" y="241017"/>
                  </a:cubicBezTo>
                  <a:cubicBezTo>
                    <a:pt x="250169" y="137288"/>
                    <a:pt x="106780" y="36610"/>
                    <a:pt x="79322" y="18305"/>
                  </a:cubicBezTo>
                  <a:lnTo>
                    <a:pt x="12204" y="115932"/>
                  </a:lnTo>
                  <a:cubicBezTo>
                    <a:pt x="33560" y="146441"/>
                    <a:pt x="192203" y="363051"/>
                    <a:pt x="271526" y="417966"/>
                  </a:cubicBezTo>
                  <a:cubicBezTo>
                    <a:pt x="274576" y="421017"/>
                    <a:pt x="274576" y="424068"/>
                    <a:pt x="271526" y="427119"/>
                  </a:cubicBezTo>
                  <a:cubicBezTo>
                    <a:pt x="274576" y="424068"/>
                    <a:pt x="271526" y="424068"/>
                    <a:pt x="271526" y="424068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1" name="任意多边形: 形状 310">
              <a:extLst>
                <a:ext uri="{FF2B5EF4-FFF2-40B4-BE49-F238E27FC236}">
                  <a16:creationId xmlns:a16="http://schemas.microsoft.com/office/drawing/2014/main" id="{E9CBBF82-ECEB-44AA-B2BF-3473BF98A861}"/>
                </a:ext>
              </a:extLst>
            </p:cNvPr>
            <p:cNvSpPr/>
            <p:nvPr/>
          </p:nvSpPr>
          <p:spPr>
            <a:xfrm>
              <a:off x="7983428" y="4786676"/>
              <a:ext cx="250169" cy="22499"/>
            </a:xfrm>
            <a:custGeom>
              <a:avLst/>
              <a:gdLst>
                <a:gd name="connsiteX0" fmla="*/ 6102 w 250169"/>
                <a:gd name="connsiteY0" fmla="*/ 22500 h 22499"/>
                <a:gd name="connsiteX1" fmla="*/ 0 w 250169"/>
                <a:gd name="connsiteY1" fmla="*/ 16398 h 22499"/>
                <a:gd name="connsiteX2" fmla="*/ 6102 w 250169"/>
                <a:gd name="connsiteY2" fmla="*/ 10297 h 22499"/>
                <a:gd name="connsiteX3" fmla="*/ 244068 w 250169"/>
                <a:gd name="connsiteY3" fmla="*/ 4195 h 22499"/>
                <a:gd name="connsiteX4" fmla="*/ 250169 w 250169"/>
                <a:gd name="connsiteY4" fmla="*/ 10297 h 22499"/>
                <a:gd name="connsiteX5" fmla="*/ 244068 w 250169"/>
                <a:gd name="connsiteY5" fmla="*/ 16398 h 22499"/>
                <a:gd name="connsiteX6" fmla="*/ 6102 w 250169"/>
                <a:gd name="connsiteY6" fmla="*/ 22500 h 22499"/>
                <a:gd name="connsiteX7" fmla="*/ 6102 w 250169"/>
                <a:gd name="connsiteY7" fmla="*/ 22500 h 2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169" h="22499">
                  <a:moveTo>
                    <a:pt x="6102" y="22500"/>
                  </a:moveTo>
                  <a:cubicBezTo>
                    <a:pt x="3051" y="22500"/>
                    <a:pt x="0" y="19449"/>
                    <a:pt x="0" y="16398"/>
                  </a:cubicBezTo>
                  <a:cubicBezTo>
                    <a:pt x="0" y="13347"/>
                    <a:pt x="3051" y="10297"/>
                    <a:pt x="6102" y="10297"/>
                  </a:cubicBezTo>
                  <a:cubicBezTo>
                    <a:pt x="12203" y="10297"/>
                    <a:pt x="180000" y="-8008"/>
                    <a:pt x="244068" y="4195"/>
                  </a:cubicBezTo>
                  <a:cubicBezTo>
                    <a:pt x="247118" y="4195"/>
                    <a:pt x="250169" y="7246"/>
                    <a:pt x="250169" y="10297"/>
                  </a:cubicBezTo>
                  <a:cubicBezTo>
                    <a:pt x="250169" y="13347"/>
                    <a:pt x="247118" y="16398"/>
                    <a:pt x="244068" y="16398"/>
                  </a:cubicBezTo>
                  <a:cubicBezTo>
                    <a:pt x="176949" y="1144"/>
                    <a:pt x="6102" y="19449"/>
                    <a:pt x="6102" y="22500"/>
                  </a:cubicBezTo>
                  <a:cubicBezTo>
                    <a:pt x="6102" y="22500"/>
                    <a:pt x="6102" y="22500"/>
                    <a:pt x="6102" y="22500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2" name="图形 114">
              <a:extLst>
                <a:ext uri="{FF2B5EF4-FFF2-40B4-BE49-F238E27FC236}">
                  <a16:creationId xmlns:a16="http://schemas.microsoft.com/office/drawing/2014/main" id="{9B118E89-9211-4851-A00F-787C4806825E}"/>
                </a:ext>
              </a:extLst>
            </p:cNvPr>
            <p:cNvGrpSpPr/>
            <p:nvPr/>
          </p:nvGrpSpPr>
          <p:grpSpPr>
            <a:xfrm>
              <a:off x="7425123" y="3970356"/>
              <a:ext cx="74483" cy="150091"/>
              <a:chOff x="7425123" y="3970356"/>
              <a:chExt cx="74483" cy="150091"/>
            </a:xfrm>
          </p:grpSpPr>
          <p:sp>
            <p:nvSpPr>
              <p:cNvPr id="313" name="任意多边形: 形状 312">
                <a:extLst>
                  <a:ext uri="{FF2B5EF4-FFF2-40B4-BE49-F238E27FC236}">
                    <a16:creationId xmlns:a16="http://schemas.microsoft.com/office/drawing/2014/main" id="{D8C0F3D0-86C5-491C-B673-30DBCC5D610E}"/>
                  </a:ext>
                </a:extLst>
              </p:cNvPr>
              <p:cNvSpPr/>
              <p:nvPr/>
            </p:nvSpPr>
            <p:spPr>
              <a:xfrm>
                <a:off x="7439181" y="3973244"/>
                <a:ext cx="60426" cy="62542"/>
              </a:xfrm>
              <a:custGeom>
                <a:avLst/>
                <a:gdLst>
                  <a:gd name="connsiteX0" fmla="*/ 56112 w 60426"/>
                  <a:gd name="connsiteY0" fmla="*/ 24407 h 62542"/>
                  <a:gd name="connsiteX1" fmla="*/ 19502 w 60426"/>
                  <a:gd name="connsiteY1" fmla="*/ 3051 h 62542"/>
                  <a:gd name="connsiteX2" fmla="*/ 13400 w 60426"/>
                  <a:gd name="connsiteY2" fmla="*/ 0 h 62542"/>
                  <a:gd name="connsiteX3" fmla="*/ 7299 w 60426"/>
                  <a:gd name="connsiteY3" fmla="*/ 3051 h 62542"/>
                  <a:gd name="connsiteX4" fmla="*/ 1197 w 60426"/>
                  <a:gd name="connsiteY4" fmla="*/ 33559 h 62542"/>
                  <a:gd name="connsiteX5" fmla="*/ 19502 w 60426"/>
                  <a:gd name="connsiteY5" fmla="*/ 51865 h 62542"/>
                  <a:gd name="connsiteX6" fmla="*/ 43909 w 60426"/>
                  <a:gd name="connsiteY6" fmla="*/ 61017 h 62542"/>
                  <a:gd name="connsiteX7" fmla="*/ 59163 w 60426"/>
                  <a:gd name="connsiteY7" fmla="*/ 54915 h 62542"/>
                  <a:gd name="connsiteX8" fmla="*/ 56112 w 60426"/>
                  <a:gd name="connsiteY8" fmla="*/ 24407 h 62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426" h="62542">
                    <a:moveTo>
                      <a:pt x="56112" y="24407"/>
                    </a:moveTo>
                    <a:cubicBezTo>
                      <a:pt x="46960" y="9153"/>
                      <a:pt x="31705" y="9153"/>
                      <a:pt x="19502" y="3051"/>
                    </a:cubicBezTo>
                    <a:cubicBezTo>
                      <a:pt x="19502" y="3051"/>
                      <a:pt x="13400" y="0"/>
                      <a:pt x="13400" y="0"/>
                    </a:cubicBezTo>
                    <a:cubicBezTo>
                      <a:pt x="10350" y="0"/>
                      <a:pt x="10350" y="0"/>
                      <a:pt x="7299" y="3051"/>
                    </a:cubicBezTo>
                    <a:cubicBezTo>
                      <a:pt x="1197" y="6102"/>
                      <a:pt x="-1854" y="21356"/>
                      <a:pt x="1197" y="33559"/>
                    </a:cubicBezTo>
                    <a:cubicBezTo>
                      <a:pt x="4248" y="48814"/>
                      <a:pt x="13400" y="48814"/>
                      <a:pt x="19502" y="51865"/>
                    </a:cubicBezTo>
                    <a:cubicBezTo>
                      <a:pt x="28654" y="54915"/>
                      <a:pt x="34756" y="57966"/>
                      <a:pt x="43909" y="61017"/>
                    </a:cubicBezTo>
                    <a:cubicBezTo>
                      <a:pt x="50010" y="61017"/>
                      <a:pt x="56112" y="67119"/>
                      <a:pt x="59163" y="54915"/>
                    </a:cubicBezTo>
                    <a:cubicBezTo>
                      <a:pt x="62214" y="45763"/>
                      <a:pt x="59163" y="33559"/>
                      <a:pt x="56112" y="2440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4" name="任意多边形: 形状 313">
                <a:extLst>
                  <a:ext uri="{FF2B5EF4-FFF2-40B4-BE49-F238E27FC236}">
                    <a16:creationId xmlns:a16="http://schemas.microsoft.com/office/drawing/2014/main" id="{8B2641A5-A873-4118-A134-FFFD3ADA536C}"/>
                  </a:ext>
                </a:extLst>
              </p:cNvPr>
              <p:cNvSpPr/>
              <p:nvPr/>
            </p:nvSpPr>
            <p:spPr>
              <a:xfrm>
                <a:off x="7433079" y="4009854"/>
                <a:ext cx="59162" cy="62542"/>
              </a:xfrm>
              <a:custGeom>
                <a:avLst/>
                <a:gdLst>
                  <a:gd name="connsiteX0" fmla="*/ 56112 w 59162"/>
                  <a:gd name="connsiteY0" fmla="*/ 24407 h 62542"/>
                  <a:gd name="connsiteX1" fmla="*/ 16451 w 59162"/>
                  <a:gd name="connsiteY1" fmla="*/ 0 h 62542"/>
                  <a:gd name="connsiteX2" fmla="*/ 13400 w 59162"/>
                  <a:gd name="connsiteY2" fmla="*/ 0 h 62542"/>
                  <a:gd name="connsiteX3" fmla="*/ 7299 w 59162"/>
                  <a:gd name="connsiteY3" fmla="*/ 3051 h 62542"/>
                  <a:gd name="connsiteX4" fmla="*/ 1197 w 59162"/>
                  <a:gd name="connsiteY4" fmla="*/ 33559 h 62542"/>
                  <a:gd name="connsiteX5" fmla="*/ 19502 w 59162"/>
                  <a:gd name="connsiteY5" fmla="*/ 51864 h 62542"/>
                  <a:gd name="connsiteX6" fmla="*/ 43909 w 59162"/>
                  <a:gd name="connsiteY6" fmla="*/ 61017 h 62542"/>
                  <a:gd name="connsiteX7" fmla="*/ 59163 w 59162"/>
                  <a:gd name="connsiteY7" fmla="*/ 54915 h 62542"/>
                  <a:gd name="connsiteX8" fmla="*/ 56112 w 59162"/>
                  <a:gd name="connsiteY8" fmla="*/ 24407 h 62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162" h="62542">
                    <a:moveTo>
                      <a:pt x="56112" y="24407"/>
                    </a:moveTo>
                    <a:cubicBezTo>
                      <a:pt x="43909" y="0"/>
                      <a:pt x="28654" y="3051"/>
                      <a:pt x="16451" y="0"/>
                    </a:cubicBezTo>
                    <a:cubicBezTo>
                      <a:pt x="16451" y="0"/>
                      <a:pt x="13400" y="0"/>
                      <a:pt x="13400" y="0"/>
                    </a:cubicBezTo>
                    <a:cubicBezTo>
                      <a:pt x="10349" y="0"/>
                      <a:pt x="10349" y="0"/>
                      <a:pt x="7299" y="3051"/>
                    </a:cubicBezTo>
                    <a:cubicBezTo>
                      <a:pt x="1197" y="6102"/>
                      <a:pt x="-1854" y="21356"/>
                      <a:pt x="1197" y="33559"/>
                    </a:cubicBezTo>
                    <a:cubicBezTo>
                      <a:pt x="4248" y="48814"/>
                      <a:pt x="13400" y="48814"/>
                      <a:pt x="19502" y="51864"/>
                    </a:cubicBezTo>
                    <a:cubicBezTo>
                      <a:pt x="28654" y="54915"/>
                      <a:pt x="34756" y="57966"/>
                      <a:pt x="43909" y="61017"/>
                    </a:cubicBezTo>
                    <a:cubicBezTo>
                      <a:pt x="50010" y="61017"/>
                      <a:pt x="56112" y="67119"/>
                      <a:pt x="59163" y="54915"/>
                    </a:cubicBezTo>
                    <a:cubicBezTo>
                      <a:pt x="59163" y="45763"/>
                      <a:pt x="59163" y="30508"/>
                      <a:pt x="56112" y="2440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5" name="任意多边形: 形状 314">
                <a:extLst>
                  <a:ext uri="{FF2B5EF4-FFF2-40B4-BE49-F238E27FC236}">
                    <a16:creationId xmlns:a16="http://schemas.microsoft.com/office/drawing/2014/main" id="{7E24F0E5-BD0F-4412-9EEB-16FFDF57A8BE}"/>
                  </a:ext>
                </a:extLst>
              </p:cNvPr>
              <p:cNvSpPr/>
              <p:nvPr/>
            </p:nvSpPr>
            <p:spPr>
              <a:xfrm>
                <a:off x="7434276" y="4046464"/>
                <a:ext cx="53127" cy="56907"/>
              </a:xfrm>
              <a:custGeom>
                <a:avLst/>
                <a:gdLst>
                  <a:gd name="connsiteX0" fmla="*/ 48813 w 53127"/>
                  <a:gd name="connsiteY0" fmla="*/ 24407 h 56907"/>
                  <a:gd name="connsiteX1" fmla="*/ 15254 w 53127"/>
                  <a:gd name="connsiteY1" fmla="*/ 0 h 56907"/>
                  <a:gd name="connsiteX2" fmla="*/ 12203 w 53127"/>
                  <a:gd name="connsiteY2" fmla="*/ 0 h 56907"/>
                  <a:gd name="connsiteX3" fmla="*/ 6102 w 53127"/>
                  <a:gd name="connsiteY3" fmla="*/ 0 h 56907"/>
                  <a:gd name="connsiteX4" fmla="*/ 0 w 53127"/>
                  <a:gd name="connsiteY4" fmla="*/ 27458 h 56907"/>
                  <a:gd name="connsiteX5" fmla="*/ 15254 w 53127"/>
                  <a:gd name="connsiteY5" fmla="*/ 45763 h 56907"/>
                  <a:gd name="connsiteX6" fmla="*/ 36610 w 53127"/>
                  <a:gd name="connsiteY6" fmla="*/ 54915 h 56907"/>
                  <a:gd name="connsiteX7" fmla="*/ 51864 w 53127"/>
                  <a:gd name="connsiteY7" fmla="*/ 51864 h 56907"/>
                  <a:gd name="connsiteX8" fmla="*/ 48813 w 53127"/>
                  <a:gd name="connsiteY8" fmla="*/ 24407 h 56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3127" h="56907">
                    <a:moveTo>
                      <a:pt x="48813" y="24407"/>
                    </a:moveTo>
                    <a:cubicBezTo>
                      <a:pt x="39661" y="3051"/>
                      <a:pt x="24406" y="6102"/>
                      <a:pt x="15254" y="0"/>
                    </a:cubicBezTo>
                    <a:cubicBezTo>
                      <a:pt x="15254" y="0"/>
                      <a:pt x="12203" y="0"/>
                      <a:pt x="12203" y="0"/>
                    </a:cubicBezTo>
                    <a:cubicBezTo>
                      <a:pt x="9152" y="0"/>
                      <a:pt x="9152" y="0"/>
                      <a:pt x="6102" y="0"/>
                    </a:cubicBezTo>
                    <a:cubicBezTo>
                      <a:pt x="3051" y="3051"/>
                      <a:pt x="0" y="15254"/>
                      <a:pt x="0" y="27458"/>
                    </a:cubicBezTo>
                    <a:cubicBezTo>
                      <a:pt x="3051" y="39661"/>
                      <a:pt x="9152" y="42712"/>
                      <a:pt x="15254" y="45763"/>
                    </a:cubicBezTo>
                    <a:cubicBezTo>
                      <a:pt x="21356" y="48814"/>
                      <a:pt x="30508" y="51864"/>
                      <a:pt x="36610" y="54915"/>
                    </a:cubicBezTo>
                    <a:cubicBezTo>
                      <a:pt x="42712" y="54915"/>
                      <a:pt x="48813" y="61017"/>
                      <a:pt x="51864" y="51864"/>
                    </a:cubicBezTo>
                    <a:cubicBezTo>
                      <a:pt x="54915" y="42712"/>
                      <a:pt x="51864" y="30508"/>
                      <a:pt x="48813" y="2440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6" name="任意多边形: 形状 315">
                <a:extLst>
                  <a:ext uri="{FF2B5EF4-FFF2-40B4-BE49-F238E27FC236}">
                    <a16:creationId xmlns:a16="http://schemas.microsoft.com/office/drawing/2014/main" id="{05334A81-6D6D-4ACB-BDC1-110EC611286A}"/>
                  </a:ext>
                </a:extLst>
              </p:cNvPr>
              <p:cNvSpPr/>
              <p:nvPr/>
            </p:nvSpPr>
            <p:spPr>
              <a:xfrm>
                <a:off x="7442164" y="4083074"/>
                <a:ext cx="39137" cy="37373"/>
              </a:xfrm>
              <a:custGeom>
                <a:avLst/>
                <a:gdLst>
                  <a:gd name="connsiteX0" fmla="*/ 34823 w 39137"/>
                  <a:gd name="connsiteY0" fmla="*/ 18305 h 37373"/>
                  <a:gd name="connsiteX1" fmla="*/ 10416 w 39137"/>
                  <a:gd name="connsiteY1" fmla="*/ 0 h 37373"/>
                  <a:gd name="connsiteX2" fmla="*/ 7366 w 39137"/>
                  <a:gd name="connsiteY2" fmla="*/ 0 h 37373"/>
                  <a:gd name="connsiteX3" fmla="*/ 4315 w 39137"/>
                  <a:gd name="connsiteY3" fmla="*/ 0 h 37373"/>
                  <a:gd name="connsiteX4" fmla="*/ 1264 w 39137"/>
                  <a:gd name="connsiteY4" fmla="*/ 18305 h 37373"/>
                  <a:gd name="connsiteX5" fmla="*/ 13467 w 39137"/>
                  <a:gd name="connsiteY5" fmla="*/ 30508 h 37373"/>
                  <a:gd name="connsiteX6" fmla="*/ 28721 w 39137"/>
                  <a:gd name="connsiteY6" fmla="*/ 36610 h 37373"/>
                  <a:gd name="connsiteX7" fmla="*/ 37874 w 39137"/>
                  <a:gd name="connsiteY7" fmla="*/ 33560 h 37373"/>
                  <a:gd name="connsiteX8" fmla="*/ 34823 w 39137"/>
                  <a:gd name="connsiteY8" fmla="*/ 18305 h 37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37" h="37373">
                    <a:moveTo>
                      <a:pt x="34823" y="18305"/>
                    </a:moveTo>
                    <a:cubicBezTo>
                      <a:pt x="28721" y="3051"/>
                      <a:pt x="16518" y="3051"/>
                      <a:pt x="10416" y="0"/>
                    </a:cubicBezTo>
                    <a:cubicBezTo>
                      <a:pt x="10416" y="0"/>
                      <a:pt x="10416" y="0"/>
                      <a:pt x="7366" y="0"/>
                    </a:cubicBezTo>
                    <a:cubicBezTo>
                      <a:pt x="7366" y="0"/>
                      <a:pt x="4315" y="0"/>
                      <a:pt x="4315" y="0"/>
                    </a:cubicBezTo>
                    <a:cubicBezTo>
                      <a:pt x="1264" y="3051"/>
                      <a:pt x="-1787" y="12203"/>
                      <a:pt x="1264" y="18305"/>
                    </a:cubicBezTo>
                    <a:cubicBezTo>
                      <a:pt x="4315" y="27458"/>
                      <a:pt x="7366" y="30508"/>
                      <a:pt x="13467" y="30508"/>
                    </a:cubicBezTo>
                    <a:cubicBezTo>
                      <a:pt x="19569" y="33560"/>
                      <a:pt x="22620" y="36610"/>
                      <a:pt x="28721" y="36610"/>
                    </a:cubicBezTo>
                    <a:cubicBezTo>
                      <a:pt x="31772" y="36610"/>
                      <a:pt x="37874" y="39661"/>
                      <a:pt x="37874" y="33560"/>
                    </a:cubicBezTo>
                    <a:cubicBezTo>
                      <a:pt x="40925" y="33560"/>
                      <a:pt x="37874" y="24407"/>
                      <a:pt x="34823" y="18305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7" name="任意多边形: 形状 316">
                <a:extLst>
                  <a:ext uri="{FF2B5EF4-FFF2-40B4-BE49-F238E27FC236}">
                    <a16:creationId xmlns:a16="http://schemas.microsoft.com/office/drawing/2014/main" id="{0A1D81E5-A16E-42C4-BA3A-E815547172F0}"/>
                  </a:ext>
                </a:extLst>
              </p:cNvPr>
              <p:cNvSpPr/>
              <p:nvPr/>
            </p:nvSpPr>
            <p:spPr>
              <a:xfrm>
                <a:off x="7425123" y="3970356"/>
                <a:ext cx="73834" cy="103566"/>
              </a:xfrm>
              <a:custGeom>
                <a:avLst/>
                <a:gdLst>
                  <a:gd name="connsiteX0" fmla="*/ 51864 w 73834"/>
                  <a:gd name="connsiteY0" fmla="*/ 103566 h 103566"/>
                  <a:gd name="connsiteX1" fmla="*/ 27457 w 73834"/>
                  <a:gd name="connsiteY1" fmla="*/ 97464 h 103566"/>
                  <a:gd name="connsiteX2" fmla="*/ 0 w 73834"/>
                  <a:gd name="connsiteY2" fmla="*/ 63905 h 103566"/>
                  <a:gd name="connsiteX3" fmla="*/ 9153 w 73834"/>
                  <a:gd name="connsiteY3" fmla="*/ 33397 h 103566"/>
                  <a:gd name="connsiteX4" fmla="*/ 9153 w 73834"/>
                  <a:gd name="connsiteY4" fmla="*/ 21193 h 103566"/>
                  <a:gd name="connsiteX5" fmla="*/ 18305 w 73834"/>
                  <a:gd name="connsiteY5" fmla="*/ 2888 h 103566"/>
                  <a:gd name="connsiteX6" fmla="*/ 61017 w 73834"/>
                  <a:gd name="connsiteY6" fmla="*/ 12041 h 103566"/>
                  <a:gd name="connsiteX7" fmla="*/ 64068 w 73834"/>
                  <a:gd name="connsiteY7" fmla="*/ 21193 h 103566"/>
                  <a:gd name="connsiteX8" fmla="*/ 54915 w 73834"/>
                  <a:gd name="connsiteY8" fmla="*/ 24244 h 103566"/>
                  <a:gd name="connsiteX9" fmla="*/ 24407 w 73834"/>
                  <a:gd name="connsiteY9" fmla="*/ 15092 h 103566"/>
                  <a:gd name="connsiteX10" fmla="*/ 21356 w 73834"/>
                  <a:gd name="connsiteY10" fmla="*/ 24244 h 103566"/>
                  <a:gd name="connsiteX11" fmla="*/ 64068 w 73834"/>
                  <a:gd name="connsiteY11" fmla="*/ 60854 h 103566"/>
                  <a:gd name="connsiteX12" fmla="*/ 73220 w 73834"/>
                  <a:gd name="connsiteY12" fmla="*/ 85261 h 103566"/>
                  <a:gd name="connsiteX13" fmla="*/ 64068 w 73834"/>
                  <a:gd name="connsiteY13" fmla="*/ 103566 h 103566"/>
                  <a:gd name="connsiteX14" fmla="*/ 51864 w 73834"/>
                  <a:gd name="connsiteY14" fmla="*/ 103566 h 103566"/>
                  <a:gd name="connsiteX15" fmla="*/ 15254 w 73834"/>
                  <a:gd name="connsiteY15" fmla="*/ 45600 h 103566"/>
                  <a:gd name="connsiteX16" fmla="*/ 12203 w 73834"/>
                  <a:gd name="connsiteY16" fmla="*/ 60854 h 103566"/>
                  <a:gd name="connsiteX17" fmla="*/ 33559 w 73834"/>
                  <a:gd name="connsiteY17" fmla="*/ 85261 h 103566"/>
                  <a:gd name="connsiteX18" fmla="*/ 57966 w 73834"/>
                  <a:gd name="connsiteY18" fmla="*/ 88312 h 103566"/>
                  <a:gd name="connsiteX19" fmla="*/ 61017 w 73834"/>
                  <a:gd name="connsiteY19" fmla="*/ 79159 h 103566"/>
                  <a:gd name="connsiteX20" fmla="*/ 61017 w 73834"/>
                  <a:gd name="connsiteY20" fmla="*/ 66956 h 103566"/>
                  <a:gd name="connsiteX21" fmla="*/ 15254 w 73834"/>
                  <a:gd name="connsiteY21" fmla="*/ 45600 h 103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3834" h="103566">
                    <a:moveTo>
                      <a:pt x="51864" y="103566"/>
                    </a:moveTo>
                    <a:cubicBezTo>
                      <a:pt x="45763" y="103566"/>
                      <a:pt x="36610" y="100515"/>
                      <a:pt x="27457" y="97464"/>
                    </a:cubicBezTo>
                    <a:cubicBezTo>
                      <a:pt x="12203" y="91363"/>
                      <a:pt x="3051" y="82210"/>
                      <a:pt x="0" y="63905"/>
                    </a:cubicBezTo>
                    <a:cubicBezTo>
                      <a:pt x="0" y="48651"/>
                      <a:pt x="6102" y="36447"/>
                      <a:pt x="9153" y="33397"/>
                    </a:cubicBezTo>
                    <a:cubicBezTo>
                      <a:pt x="9153" y="30346"/>
                      <a:pt x="9153" y="27295"/>
                      <a:pt x="9153" y="21193"/>
                    </a:cubicBezTo>
                    <a:cubicBezTo>
                      <a:pt x="9153" y="8990"/>
                      <a:pt x="12203" y="2888"/>
                      <a:pt x="18305" y="2888"/>
                    </a:cubicBezTo>
                    <a:cubicBezTo>
                      <a:pt x="30508" y="-6264"/>
                      <a:pt x="54915" y="8990"/>
                      <a:pt x="61017" y="12041"/>
                    </a:cubicBezTo>
                    <a:cubicBezTo>
                      <a:pt x="64068" y="15092"/>
                      <a:pt x="64068" y="18142"/>
                      <a:pt x="64068" y="21193"/>
                    </a:cubicBezTo>
                    <a:cubicBezTo>
                      <a:pt x="61017" y="24244"/>
                      <a:pt x="57966" y="24244"/>
                      <a:pt x="54915" y="24244"/>
                    </a:cubicBezTo>
                    <a:cubicBezTo>
                      <a:pt x="45763" y="18142"/>
                      <a:pt x="30508" y="12041"/>
                      <a:pt x="24407" y="15092"/>
                    </a:cubicBezTo>
                    <a:cubicBezTo>
                      <a:pt x="21356" y="15092"/>
                      <a:pt x="21356" y="21193"/>
                      <a:pt x="21356" y="24244"/>
                    </a:cubicBezTo>
                    <a:cubicBezTo>
                      <a:pt x="21356" y="36447"/>
                      <a:pt x="21356" y="54753"/>
                      <a:pt x="64068" y="60854"/>
                    </a:cubicBezTo>
                    <a:cubicBezTo>
                      <a:pt x="67119" y="60854"/>
                      <a:pt x="76271" y="66956"/>
                      <a:pt x="73220" y="85261"/>
                    </a:cubicBezTo>
                    <a:cubicBezTo>
                      <a:pt x="73220" y="94414"/>
                      <a:pt x="70170" y="100515"/>
                      <a:pt x="64068" y="103566"/>
                    </a:cubicBezTo>
                    <a:cubicBezTo>
                      <a:pt x="61017" y="100515"/>
                      <a:pt x="54915" y="103566"/>
                      <a:pt x="51864" y="103566"/>
                    </a:cubicBezTo>
                    <a:close/>
                    <a:moveTo>
                      <a:pt x="15254" y="45600"/>
                    </a:moveTo>
                    <a:cubicBezTo>
                      <a:pt x="12203" y="48651"/>
                      <a:pt x="12203" y="54753"/>
                      <a:pt x="12203" y="60854"/>
                    </a:cubicBezTo>
                    <a:cubicBezTo>
                      <a:pt x="12203" y="73058"/>
                      <a:pt x="18305" y="76109"/>
                      <a:pt x="33559" y="85261"/>
                    </a:cubicBezTo>
                    <a:cubicBezTo>
                      <a:pt x="48813" y="91363"/>
                      <a:pt x="54915" y="91363"/>
                      <a:pt x="57966" y="88312"/>
                    </a:cubicBezTo>
                    <a:cubicBezTo>
                      <a:pt x="61017" y="88312"/>
                      <a:pt x="61017" y="85261"/>
                      <a:pt x="61017" y="79159"/>
                    </a:cubicBezTo>
                    <a:cubicBezTo>
                      <a:pt x="61017" y="70007"/>
                      <a:pt x="61017" y="66956"/>
                      <a:pt x="61017" y="66956"/>
                    </a:cubicBezTo>
                    <a:cubicBezTo>
                      <a:pt x="36610" y="63905"/>
                      <a:pt x="21356" y="57803"/>
                      <a:pt x="15254" y="4560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8" name="任意多边形: 形状 317">
                <a:extLst>
                  <a:ext uri="{FF2B5EF4-FFF2-40B4-BE49-F238E27FC236}">
                    <a16:creationId xmlns:a16="http://schemas.microsoft.com/office/drawing/2014/main" id="{AC022A4D-0E4F-4D3F-9503-2AF1FB755F5A}"/>
                  </a:ext>
                </a:extLst>
              </p:cNvPr>
              <p:cNvSpPr/>
              <p:nvPr/>
            </p:nvSpPr>
            <p:spPr>
              <a:xfrm>
                <a:off x="7431988" y="4042150"/>
                <a:ext cx="64568" cy="65331"/>
              </a:xfrm>
              <a:custGeom>
                <a:avLst/>
                <a:gdLst>
                  <a:gd name="connsiteX0" fmla="*/ 48051 w 64568"/>
                  <a:gd name="connsiteY0" fmla="*/ 65331 h 65331"/>
                  <a:gd name="connsiteX1" fmla="*/ 11440 w 64568"/>
                  <a:gd name="connsiteY1" fmla="*/ 50077 h 65331"/>
                  <a:gd name="connsiteX2" fmla="*/ 2288 w 64568"/>
                  <a:gd name="connsiteY2" fmla="*/ 4314 h 65331"/>
                  <a:gd name="connsiteX3" fmla="*/ 8390 w 64568"/>
                  <a:gd name="connsiteY3" fmla="*/ 1264 h 65331"/>
                  <a:gd name="connsiteX4" fmla="*/ 11440 w 64568"/>
                  <a:gd name="connsiteY4" fmla="*/ 7365 h 65331"/>
                  <a:gd name="connsiteX5" fmla="*/ 17542 w 64568"/>
                  <a:gd name="connsiteY5" fmla="*/ 40925 h 65331"/>
                  <a:gd name="connsiteX6" fmla="*/ 51101 w 64568"/>
                  <a:gd name="connsiteY6" fmla="*/ 53128 h 65331"/>
                  <a:gd name="connsiteX7" fmla="*/ 48051 w 64568"/>
                  <a:gd name="connsiteY7" fmla="*/ 31772 h 65331"/>
                  <a:gd name="connsiteX8" fmla="*/ 51101 w 64568"/>
                  <a:gd name="connsiteY8" fmla="*/ 22620 h 65331"/>
                  <a:gd name="connsiteX9" fmla="*/ 60254 w 64568"/>
                  <a:gd name="connsiteY9" fmla="*/ 25670 h 65331"/>
                  <a:gd name="connsiteX10" fmla="*/ 63305 w 64568"/>
                  <a:gd name="connsiteY10" fmla="*/ 59230 h 65331"/>
                  <a:gd name="connsiteX11" fmla="*/ 57203 w 64568"/>
                  <a:gd name="connsiteY11" fmla="*/ 65331 h 65331"/>
                  <a:gd name="connsiteX12" fmla="*/ 48051 w 64568"/>
                  <a:gd name="connsiteY12" fmla="*/ 65331 h 65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4568" h="65331">
                    <a:moveTo>
                      <a:pt x="48051" y="65331"/>
                    </a:moveTo>
                    <a:cubicBezTo>
                      <a:pt x="38898" y="65331"/>
                      <a:pt x="23644" y="59230"/>
                      <a:pt x="11440" y="50077"/>
                    </a:cubicBezTo>
                    <a:cubicBezTo>
                      <a:pt x="-6864" y="34823"/>
                      <a:pt x="2288" y="7365"/>
                      <a:pt x="2288" y="4314"/>
                    </a:cubicBezTo>
                    <a:cubicBezTo>
                      <a:pt x="2288" y="1264"/>
                      <a:pt x="5339" y="-1787"/>
                      <a:pt x="8390" y="1264"/>
                    </a:cubicBezTo>
                    <a:cubicBezTo>
                      <a:pt x="11440" y="1264"/>
                      <a:pt x="14491" y="4314"/>
                      <a:pt x="11440" y="7365"/>
                    </a:cubicBezTo>
                    <a:cubicBezTo>
                      <a:pt x="11440" y="7365"/>
                      <a:pt x="5339" y="28721"/>
                      <a:pt x="17542" y="40925"/>
                    </a:cubicBezTo>
                    <a:cubicBezTo>
                      <a:pt x="32797" y="53128"/>
                      <a:pt x="48051" y="53128"/>
                      <a:pt x="51101" y="53128"/>
                    </a:cubicBezTo>
                    <a:cubicBezTo>
                      <a:pt x="51101" y="50077"/>
                      <a:pt x="51101" y="34823"/>
                      <a:pt x="48051" y="31772"/>
                    </a:cubicBezTo>
                    <a:cubicBezTo>
                      <a:pt x="48051" y="28721"/>
                      <a:pt x="48051" y="25670"/>
                      <a:pt x="51101" y="22620"/>
                    </a:cubicBezTo>
                    <a:cubicBezTo>
                      <a:pt x="54153" y="22620"/>
                      <a:pt x="57203" y="22620"/>
                      <a:pt x="60254" y="25670"/>
                    </a:cubicBezTo>
                    <a:cubicBezTo>
                      <a:pt x="63305" y="31772"/>
                      <a:pt x="66356" y="50077"/>
                      <a:pt x="63305" y="59230"/>
                    </a:cubicBezTo>
                    <a:cubicBezTo>
                      <a:pt x="63305" y="62281"/>
                      <a:pt x="60254" y="65331"/>
                      <a:pt x="57203" y="65331"/>
                    </a:cubicBezTo>
                    <a:cubicBezTo>
                      <a:pt x="51101" y="65331"/>
                      <a:pt x="51101" y="65331"/>
                      <a:pt x="48051" y="6533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19" name="图形 114">
              <a:extLst>
                <a:ext uri="{FF2B5EF4-FFF2-40B4-BE49-F238E27FC236}">
                  <a16:creationId xmlns:a16="http://schemas.microsoft.com/office/drawing/2014/main" id="{9B118E89-9211-4851-A00F-787C4806825E}"/>
                </a:ext>
              </a:extLst>
            </p:cNvPr>
            <p:cNvGrpSpPr/>
            <p:nvPr/>
          </p:nvGrpSpPr>
          <p:grpSpPr>
            <a:xfrm>
              <a:off x="6634953" y="4443075"/>
              <a:ext cx="896949" cy="146440"/>
              <a:chOff x="6634953" y="4443075"/>
              <a:chExt cx="896949" cy="146440"/>
            </a:xfrm>
          </p:grpSpPr>
          <p:sp>
            <p:nvSpPr>
              <p:cNvPr id="320" name="任意多边形: 形状 319">
                <a:extLst>
                  <a:ext uri="{FF2B5EF4-FFF2-40B4-BE49-F238E27FC236}">
                    <a16:creationId xmlns:a16="http://schemas.microsoft.com/office/drawing/2014/main" id="{3B35622A-7DF3-4C9A-8AAD-ED8099EDE06C}"/>
                  </a:ext>
                </a:extLst>
              </p:cNvPr>
              <p:cNvSpPr/>
              <p:nvPr/>
            </p:nvSpPr>
            <p:spPr>
              <a:xfrm>
                <a:off x="6988852" y="4446125"/>
                <a:ext cx="543050" cy="143389"/>
              </a:xfrm>
              <a:custGeom>
                <a:avLst/>
                <a:gdLst>
                  <a:gd name="connsiteX0" fmla="*/ 0 w 543050"/>
                  <a:gd name="connsiteY0" fmla="*/ 0 h 143389"/>
                  <a:gd name="connsiteX1" fmla="*/ 543051 w 543050"/>
                  <a:gd name="connsiteY1" fmla="*/ 0 h 143389"/>
                  <a:gd name="connsiteX2" fmla="*/ 543051 w 543050"/>
                  <a:gd name="connsiteY2" fmla="*/ 143390 h 143389"/>
                  <a:gd name="connsiteX3" fmla="*/ 0 w 543050"/>
                  <a:gd name="connsiteY3" fmla="*/ 143390 h 143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3050" h="143389">
                    <a:moveTo>
                      <a:pt x="0" y="0"/>
                    </a:moveTo>
                    <a:lnTo>
                      <a:pt x="543051" y="0"/>
                    </a:lnTo>
                    <a:lnTo>
                      <a:pt x="543051" y="143390"/>
                    </a:lnTo>
                    <a:lnTo>
                      <a:pt x="0" y="143390"/>
                    </a:lnTo>
                    <a:close/>
                  </a:path>
                </a:pathLst>
              </a:custGeom>
              <a:solidFill>
                <a:srgbClr val="7E94B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1" name="任意多边形: 形状 320">
                <a:extLst>
                  <a:ext uri="{FF2B5EF4-FFF2-40B4-BE49-F238E27FC236}">
                    <a16:creationId xmlns:a16="http://schemas.microsoft.com/office/drawing/2014/main" id="{63B79CBB-2DD0-413F-A801-5FC5F20F3E1D}"/>
                  </a:ext>
                </a:extLst>
              </p:cNvPr>
              <p:cNvSpPr/>
              <p:nvPr/>
            </p:nvSpPr>
            <p:spPr>
              <a:xfrm>
                <a:off x="6634953" y="4446125"/>
                <a:ext cx="353898" cy="143389"/>
              </a:xfrm>
              <a:custGeom>
                <a:avLst/>
                <a:gdLst>
                  <a:gd name="connsiteX0" fmla="*/ 353899 w 353898"/>
                  <a:gd name="connsiteY0" fmla="*/ 0 h 143389"/>
                  <a:gd name="connsiteX1" fmla="*/ 353899 w 353898"/>
                  <a:gd name="connsiteY1" fmla="*/ 143390 h 143389"/>
                  <a:gd name="connsiteX2" fmla="*/ 0 w 353898"/>
                  <a:gd name="connsiteY2" fmla="*/ 143390 h 143389"/>
                  <a:gd name="connsiteX3" fmla="*/ 0 w 353898"/>
                  <a:gd name="connsiteY3" fmla="*/ 112881 h 143389"/>
                  <a:gd name="connsiteX4" fmla="*/ 259322 w 353898"/>
                  <a:gd name="connsiteY4" fmla="*/ 112881 h 143389"/>
                  <a:gd name="connsiteX5" fmla="*/ 259322 w 353898"/>
                  <a:gd name="connsiteY5" fmla="*/ 30508 h 143389"/>
                  <a:gd name="connsiteX6" fmla="*/ 0 w 353898"/>
                  <a:gd name="connsiteY6" fmla="*/ 30508 h 143389"/>
                  <a:gd name="connsiteX7" fmla="*/ 0 w 353898"/>
                  <a:gd name="connsiteY7" fmla="*/ 0 h 143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3898" h="143389">
                    <a:moveTo>
                      <a:pt x="353899" y="0"/>
                    </a:moveTo>
                    <a:lnTo>
                      <a:pt x="353899" y="143390"/>
                    </a:lnTo>
                    <a:lnTo>
                      <a:pt x="0" y="143390"/>
                    </a:lnTo>
                    <a:lnTo>
                      <a:pt x="0" y="112881"/>
                    </a:lnTo>
                    <a:lnTo>
                      <a:pt x="259322" y="112881"/>
                    </a:lnTo>
                    <a:lnTo>
                      <a:pt x="259322" y="30508"/>
                    </a:lnTo>
                    <a:lnTo>
                      <a:pt x="0" y="3050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E94B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2" name="任意多边形: 形状 321">
                <a:extLst>
                  <a:ext uri="{FF2B5EF4-FFF2-40B4-BE49-F238E27FC236}">
                    <a16:creationId xmlns:a16="http://schemas.microsoft.com/office/drawing/2014/main" id="{4AAF11ED-0350-4C0E-BE87-FCFCB269824C}"/>
                  </a:ext>
                </a:extLst>
              </p:cNvPr>
              <p:cNvSpPr/>
              <p:nvPr/>
            </p:nvSpPr>
            <p:spPr>
              <a:xfrm>
                <a:off x="6683767" y="4476634"/>
                <a:ext cx="302033" cy="82372"/>
              </a:xfrm>
              <a:custGeom>
                <a:avLst/>
                <a:gdLst>
                  <a:gd name="connsiteX0" fmla="*/ 0 w 302033"/>
                  <a:gd name="connsiteY0" fmla="*/ 0 h 82372"/>
                  <a:gd name="connsiteX1" fmla="*/ 302034 w 302033"/>
                  <a:gd name="connsiteY1" fmla="*/ 0 h 82372"/>
                  <a:gd name="connsiteX2" fmla="*/ 302034 w 302033"/>
                  <a:gd name="connsiteY2" fmla="*/ 82373 h 82372"/>
                  <a:gd name="connsiteX3" fmla="*/ 0 w 302033"/>
                  <a:gd name="connsiteY3" fmla="*/ 82373 h 82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2033" h="82372">
                    <a:moveTo>
                      <a:pt x="0" y="0"/>
                    </a:moveTo>
                    <a:lnTo>
                      <a:pt x="302034" y="0"/>
                    </a:lnTo>
                    <a:lnTo>
                      <a:pt x="302034" y="82373"/>
                    </a:lnTo>
                    <a:lnTo>
                      <a:pt x="0" y="82373"/>
                    </a:lnTo>
                    <a:close/>
                  </a:path>
                </a:pathLst>
              </a:custGeom>
              <a:solidFill>
                <a:srgbClr val="F6EBE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3" name="任意多边形: 形状 322">
                <a:extLst>
                  <a:ext uri="{FF2B5EF4-FFF2-40B4-BE49-F238E27FC236}">
                    <a16:creationId xmlns:a16="http://schemas.microsoft.com/office/drawing/2014/main" id="{6332D8B9-9F89-4087-9AB3-CC9266BF5B86}"/>
                  </a:ext>
                </a:extLst>
              </p:cNvPr>
              <p:cNvSpPr/>
              <p:nvPr/>
            </p:nvSpPr>
            <p:spPr>
              <a:xfrm>
                <a:off x="7022411" y="4443075"/>
                <a:ext cx="12203" cy="146440"/>
              </a:xfrm>
              <a:custGeom>
                <a:avLst/>
                <a:gdLst>
                  <a:gd name="connsiteX0" fmla="*/ 6102 w 12203"/>
                  <a:gd name="connsiteY0" fmla="*/ 146441 h 146440"/>
                  <a:gd name="connsiteX1" fmla="*/ 0 w 12203"/>
                  <a:gd name="connsiteY1" fmla="*/ 140339 h 146440"/>
                  <a:gd name="connsiteX2" fmla="*/ 0 w 12203"/>
                  <a:gd name="connsiteY2" fmla="*/ 6102 h 146440"/>
                  <a:gd name="connsiteX3" fmla="*/ 6102 w 12203"/>
                  <a:gd name="connsiteY3" fmla="*/ 0 h 146440"/>
                  <a:gd name="connsiteX4" fmla="*/ 12203 w 12203"/>
                  <a:gd name="connsiteY4" fmla="*/ 6102 h 146440"/>
                  <a:gd name="connsiteX5" fmla="*/ 12203 w 12203"/>
                  <a:gd name="connsiteY5" fmla="*/ 140339 h 146440"/>
                  <a:gd name="connsiteX6" fmla="*/ 6102 w 12203"/>
                  <a:gd name="connsiteY6" fmla="*/ 146441 h 146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03" h="146440">
                    <a:moveTo>
                      <a:pt x="6102" y="146441"/>
                    </a:moveTo>
                    <a:cubicBezTo>
                      <a:pt x="3051" y="146441"/>
                      <a:pt x="0" y="143390"/>
                      <a:pt x="0" y="140339"/>
                    </a:cubicBezTo>
                    <a:lnTo>
                      <a:pt x="0" y="6102"/>
                    </a:lnTo>
                    <a:cubicBezTo>
                      <a:pt x="0" y="3051"/>
                      <a:pt x="3051" y="0"/>
                      <a:pt x="6102" y="0"/>
                    </a:cubicBezTo>
                    <a:cubicBezTo>
                      <a:pt x="9152" y="0"/>
                      <a:pt x="12203" y="3051"/>
                      <a:pt x="12203" y="6102"/>
                    </a:cubicBezTo>
                    <a:lnTo>
                      <a:pt x="12203" y="140339"/>
                    </a:lnTo>
                    <a:cubicBezTo>
                      <a:pt x="12203" y="143390"/>
                      <a:pt x="9152" y="146441"/>
                      <a:pt x="6102" y="14644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24" name="图形 114">
              <a:extLst>
                <a:ext uri="{FF2B5EF4-FFF2-40B4-BE49-F238E27FC236}">
                  <a16:creationId xmlns:a16="http://schemas.microsoft.com/office/drawing/2014/main" id="{9B118E89-9211-4851-A00F-787C4806825E}"/>
                </a:ext>
              </a:extLst>
            </p:cNvPr>
            <p:cNvGrpSpPr/>
            <p:nvPr/>
          </p:nvGrpSpPr>
          <p:grpSpPr>
            <a:xfrm>
              <a:off x="6494615" y="4296634"/>
              <a:ext cx="893898" cy="146440"/>
              <a:chOff x="6494615" y="4296634"/>
              <a:chExt cx="893898" cy="146440"/>
            </a:xfrm>
          </p:grpSpPr>
          <p:sp>
            <p:nvSpPr>
              <p:cNvPr id="325" name="任意多边形: 形状 324">
                <a:extLst>
                  <a:ext uri="{FF2B5EF4-FFF2-40B4-BE49-F238E27FC236}">
                    <a16:creationId xmlns:a16="http://schemas.microsoft.com/office/drawing/2014/main" id="{DB86D731-A1B0-416E-A8FF-372FB00980FE}"/>
                  </a:ext>
                </a:extLst>
              </p:cNvPr>
              <p:cNvSpPr/>
              <p:nvPr/>
            </p:nvSpPr>
            <p:spPr>
              <a:xfrm>
                <a:off x="6845462" y="4299685"/>
                <a:ext cx="543050" cy="143389"/>
              </a:xfrm>
              <a:custGeom>
                <a:avLst/>
                <a:gdLst>
                  <a:gd name="connsiteX0" fmla="*/ 0 w 543050"/>
                  <a:gd name="connsiteY0" fmla="*/ 0 h 143389"/>
                  <a:gd name="connsiteX1" fmla="*/ 543051 w 543050"/>
                  <a:gd name="connsiteY1" fmla="*/ 0 h 143389"/>
                  <a:gd name="connsiteX2" fmla="*/ 543051 w 543050"/>
                  <a:gd name="connsiteY2" fmla="*/ 143390 h 143389"/>
                  <a:gd name="connsiteX3" fmla="*/ 0 w 543050"/>
                  <a:gd name="connsiteY3" fmla="*/ 143390 h 143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3050" h="143389">
                    <a:moveTo>
                      <a:pt x="0" y="0"/>
                    </a:moveTo>
                    <a:lnTo>
                      <a:pt x="543051" y="0"/>
                    </a:lnTo>
                    <a:lnTo>
                      <a:pt x="543051" y="143390"/>
                    </a:lnTo>
                    <a:lnTo>
                      <a:pt x="0" y="143390"/>
                    </a:lnTo>
                    <a:close/>
                  </a:path>
                </a:pathLst>
              </a:custGeom>
              <a:solidFill>
                <a:srgbClr val="D3977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6" name="任意多边形: 形状 325">
                <a:extLst>
                  <a:ext uri="{FF2B5EF4-FFF2-40B4-BE49-F238E27FC236}">
                    <a16:creationId xmlns:a16="http://schemas.microsoft.com/office/drawing/2014/main" id="{6FCF6C0F-35FC-47BB-8342-EB7261B0CC66}"/>
                  </a:ext>
                </a:extLst>
              </p:cNvPr>
              <p:cNvSpPr/>
              <p:nvPr/>
            </p:nvSpPr>
            <p:spPr>
              <a:xfrm>
                <a:off x="6494615" y="4299685"/>
                <a:ext cx="350847" cy="143389"/>
              </a:xfrm>
              <a:custGeom>
                <a:avLst/>
                <a:gdLst>
                  <a:gd name="connsiteX0" fmla="*/ 350847 w 350847"/>
                  <a:gd name="connsiteY0" fmla="*/ 0 h 143389"/>
                  <a:gd name="connsiteX1" fmla="*/ 350847 w 350847"/>
                  <a:gd name="connsiteY1" fmla="*/ 143390 h 143389"/>
                  <a:gd name="connsiteX2" fmla="*/ 0 w 350847"/>
                  <a:gd name="connsiteY2" fmla="*/ 143390 h 143389"/>
                  <a:gd name="connsiteX3" fmla="*/ 0 w 350847"/>
                  <a:gd name="connsiteY3" fmla="*/ 112881 h 143389"/>
                  <a:gd name="connsiteX4" fmla="*/ 256271 w 350847"/>
                  <a:gd name="connsiteY4" fmla="*/ 112881 h 143389"/>
                  <a:gd name="connsiteX5" fmla="*/ 256271 w 350847"/>
                  <a:gd name="connsiteY5" fmla="*/ 30508 h 143389"/>
                  <a:gd name="connsiteX6" fmla="*/ 0 w 350847"/>
                  <a:gd name="connsiteY6" fmla="*/ 30508 h 143389"/>
                  <a:gd name="connsiteX7" fmla="*/ 0 w 350847"/>
                  <a:gd name="connsiteY7" fmla="*/ 0 h 143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0847" h="143389">
                    <a:moveTo>
                      <a:pt x="350847" y="0"/>
                    </a:moveTo>
                    <a:lnTo>
                      <a:pt x="350847" y="143390"/>
                    </a:lnTo>
                    <a:lnTo>
                      <a:pt x="0" y="143390"/>
                    </a:lnTo>
                    <a:lnTo>
                      <a:pt x="0" y="112881"/>
                    </a:lnTo>
                    <a:lnTo>
                      <a:pt x="256271" y="112881"/>
                    </a:lnTo>
                    <a:lnTo>
                      <a:pt x="256271" y="30508"/>
                    </a:lnTo>
                    <a:lnTo>
                      <a:pt x="0" y="3050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3977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7" name="任意多边形: 形状 326">
                <a:extLst>
                  <a:ext uri="{FF2B5EF4-FFF2-40B4-BE49-F238E27FC236}">
                    <a16:creationId xmlns:a16="http://schemas.microsoft.com/office/drawing/2014/main" id="{9EBFBDAF-617F-40B6-B297-4AFBD28AA6E7}"/>
                  </a:ext>
                </a:extLst>
              </p:cNvPr>
              <p:cNvSpPr/>
              <p:nvPr/>
            </p:nvSpPr>
            <p:spPr>
              <a:xfrm>
                <a:off x="6543428" y="4330193"/>
                <a:ext cx="302033" cy="82372"/>
              </a:xfrm>
              <a:custGeom>
                <a:avLst/>
                <a:gdLst>
                  <a:gd name="connsiteX0" fmla="*/ 0 w 302033"/>
                  <a:gd name="connsiteY0" fmla="*/ 0 h 82372"/>
                  <a:gd name="connsiteX1" fmla="*/ 302034 w 302033"/>
                  <a:gd name="connsiteY1" fmla="*/ 0 h 82372"/>
                  <a:gd name="connsiteX2" fmla="*/ 302034 w 302033"/>
                  <a:gd name="connsiteY2" fmla="*/ 82373 h 82372"/>
                  <a:gd name="connsiteX3" fmla="*/ 0 w 302033"/>
                  <a:gd name="connsiteY3" fmla="*/ 82373 h 82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2033" h="82372">
                    <a:moveTo>
                      <a:pt x="0" y="0"/>
                    </a:moveTo>
                    <a:lnTo>
                      <a:pt x="302034" y="0"/>
                    </a:lnTo>
                    <a:lnTo>
                      <a:pt x="302034" y="82373"/>
                    </a:lnTo>
                    <a:lnTo>
                      <a:pt x="0" y="82373"/>
                    </a:lnTo>
                    <a:close/>
                  </a:path>
                </a:pathLst>
              </a:custGeom>
              <a:solidFill>
                <a:srgbClr val="F6EBE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8" name="任意多边形: 形状 327">
                <a:extLst>
                  <a:ext uri="{FF2B5EF4-FFF2-40B4-BE49-F238E27FC236}">
                    <a16:creationId xmlns:a16="http://schemas.microsoft.com/office/drawing/2014/main" id="{BD70801E-D204-4D98-8BCA-78C6759C1208}"/>
                  </a:ext>
                </a:extLst>
              </p:cNvPr>
              <p:cNvSpPr/>
              <p:nvPr/>
            </p:nvSpPr>
            <p:spPr>
              <a:xfrm>
                <a:off x="6882072" y="4296634"/>
                <a:ext cx="12203" cy="146440"/>
              </a:xfrm>
              <a:custGeom>
                <a:avLst/>
                <a:gdLst>
                  <a:gd name="connsiteX0" fmla="*/ 6102 w 12203"/>
                  <a:gd name="connsiteY0" fmla="*/ 146441 h 146440"/>
                  <a:gd name="connsiteX1" fmla="*/ 0 w 12203"/>
                  <a:gd name="connsiteY1" fmla="*/ 140339 h 146440"/>
                  <a:gd name="connsiteX2" fmla="*/ 0 w 12203"/>
                  <a:gd name="connsiteY2" fmla="*/ 6102 h 146440"/>
                  <a:gd name="connsiteX3" fmla="*/ 6102 w 12203"/>
                  <a:gd name="connsiteY3" fmla="*/ 0 h 146440"/>
                  <a:gd name="connsiteX4" fmla="*/ 12203 w 12203"/>
                  <a:gd name="connsiteY4" fmla="*/ 6102 h 146440"/>
                  <a:gd name="connsiteX5" fmla="*/ 12203 w 12203"/>
                  <a:gd name="connsiteY5" fmla="*/ 140339 h 146440"/>
                  <a:gd name="connsiteX6" fmla="*/ 6102 w 12203"/>
                  <a:gd name="connsiteY6" fmla="*/ 146441 h 146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03" h="146440">
                    <a:moveTo>
                      <a:pt x="6102" y="146441"/>
                    </a:moveTo>
                    <a:cubicBezTo>
                      <a:pt x="3051" y="146441"/>
                      <a:pt x="0" y="143390"/>
                      <a:pt x="0" y="140339"/>
                    </a:cubicBezTo>
                    <a:lnTo>
                      <a:pt x="0" y="6102"/>
                    </a:lnTo>
                    <a:cubicBezTo>
                      <a:pt x="0" y="3051"/>
                      <a:pt x="3051" y="0"/>
                      <a:pt x="6102" y="0"/>
                    </a:cubicBezTo>
                    <a:cubicBezTo>
                      <a:pt x="9153" y="0"/>
                      <a:pt x="12203" y="3051"/>
                      <a:pt x="12203" y="6102"/>
                    </a:cubicBezTo>
                    <a:lnTo>
                      <a:pt x="12203" y="140339"/>
                    </a:lnTo>
                    <a:cubicBezTo>
                      <a:pt x="12203" y="143390"/>
                      <a:pt x="9153" y="146441"/>
                      <a:pt x="6102" y="14644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329" name="图形 114">
            <a:extLst>
              <a:ext uri="{FF2B5EF4-FFF2-40B4-BE49-F238E27FC236}">
                <a16:creationId xmlns:a16="http://schemas.microsoft.com/office/drawing/2014/main" id="{9B118E89-9211-4851-A00F-787C4806825E}"/>
              </a:ext>
            </a:extLst>
          </p:cNvPr>
          <p:cNvGrpSpPr/>
          <p:nvPr/>
        </p:nvGrpSpPr>
        <p:grpSpPr>
          <a:xfrm>
            <a:off x="2817379" y="1744167"/>
            <a:ext cx="3570456" cy="4822297"/>
            <a:chOff x="2518396" y="1744167"/>
            <a:chExt cx="3570456" cy="4822297"/>
          </a:xfrm>
        </p:grpSpPr>
        <p:sp>
          <p:nvSpPr>
            <p:cNvPr id="330" name="任意多边形: 形状 329">
              <a:extLst>
                <a:ext uri="{FF2B5EF4-FFF2-40B4-BE49-F238E27FC236}">
                  <a16:creationId xmlns:a16="http://schemas.microsoft.com/office/drawing/2014/main" id="{21D076AF-8293-4A9E-8AA0-6D3BB68FE1A0}"/>
                </a:ext>
              </a:extLst>
            </p:cNvPr>
            <p:cNvSpPr/>
            <p:nvPr/>
          </p:nvSpPr>
          <p:spPr>
            <a:xfrm>
              <a:off x="5280377" y="3442724"/>
              <a:ext cx="363174" cy="210430"/>
            </a:xfrm>
            <a:custGeom>
              <a:avLst/>
              <a:gdLst>
                <a:gd name="connsiteX0" fmla="*/ 271525 w 363174"/>
                <a:gd name="connsiteY0" fmla="*/ 197978 h 210430"/>
                <a:gd name="connsiteX1" fmla="*/ 265424 w 363174"/>
                <a:gd name="connsiteY1" fmla="*/ 176622 h 210430"/>
                <a:gd name="connsiteX2" fmla="*/ 259322 w 363174"/>
                <a:gd name="connsiteY2" fmla="*/ 173571 h 210430"/>
                <a:gd name="connsiteX3" fmla="*/ 286780 w 363174"/>
                <a:gd name="connsiteY3" fmla="*/ 179673 h 210430"/>
                <a:gd name="connsiteX4" fmla="*/ 335593 w 363174"/>
                <a:gd name="connsiteY4" fmla="*/ 167469 h 210430"/>
                <a:gd name="connsiteX5" fmla="*/ 335593 w 363174"/>
                <a:gd name="connsiteY5" fmla="*/ 161368 h 210430"/>
                <a:gd name="connsiteX6" fmla="*/ 332542 w 363174"/>
                <a:gd name="connsiteY6" fmla="*/ 158317 h 210430"/>
                <a:gd name="connsiteX7" fmla="*/ 360000 w 363174"/>
                <a:gd name="connsiteY7" fmla="*/ 140012 h 210430"/>
                <a:gd name="connsiteX8" fmla="*/ 353898 w 363174"/>
                <a:gd name="connsiteY8" fmla="*/ 109503 h 210430"/>
                <a:gd name="connsiteX9" fmla="*/ 298983 w 363174"/>
                <a:gd name="connsiteY9" fmla="*/ 94249 h 210430"/>
                <a:gd name="connsiteX10" fmla="*/ 219661 w 363174"/>
                <a:gd name="connsiteY10" fmla="*/ 75944 h 210430"/>
                <a:gd name="connsiteX11" fmla="*/ 283729 w 363174"/>
                <a:gd name="connsiteY11" fmla="*/ 69842 h 210430"/>
                <a:gd name="connsiteX12" fmla="*/ 332542 w 363174"/>
                <a:gd name="connsiteY12" fmla="*/ 63740 h 210430"/>
                <a:gd name="connsiteX13" fmla="*/ 314237 w 363174"/>
                <a:gd name="connsiteY13" fmla="*/ 36283 h 210430"/>
                <a:gd name="connsiteX14" fmla="*/ 0 w 363174"/>
                <a:gd name="connsiteY14" fmla="*/ 39334 h 210430"/>
                <a:gd name="connsiteX15" fmla="*/ 24407 w 363174"/>
                <a:gd name="connsiteY15" fmla="*/ 158317 h 210430"/>
                <a:gd name="connsiteX16" fmla="*/ 149492 w 363174"/>
                <a:gd name="connsiteY16" fmla="*/ 197978 h 210430"/>
                <a:gd name="connsiteX17" fmla="*/ 231864 w 363174"/>
                <a:gd name="connsiteY17" fmla="*/ 210181 h 210430"/>
                <a:gd name="connsiteX18" fmla="*/ 271525 w 363174"/>
                <a:gd name="connsiteY18" fmla="*/ 197978 h 210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63174" h="210430">
                  <a:moveTo>
                    <a:pt x="271525" y="197978"/>
                  </a:moveTo>
                  <a:cubicBezTo>
                    <a:pt x="277627" y="188825"/>
                    <a:pt x="271525" y="182724"/>
                    <a:pt x="265424" y="176622"/>
                  </a:cubicBezTo>
                  <a:cubicBezTo>
                    <a:pt x="262373" y="173571"/>
                    <a:pt x="262373" y="173571"/>
                    <a:pt x="259322" y="173571"/>
                  </a:cubicBezTo>
                  <a:cubicBezTo>
                    <a:pt x="268475" y="176622"/>
                    <a:pt x="277627" y="176622"/>
                    <a:pt x="286780" y="179673"/>
                  </a:cubicBezTo>
                  <a:cubicBezTo>
                    <a:pt x="305085" y="182724"/>
                    <a:pt x="323390" y="179673"/>
                    <a:pt x="335593" y="167469"/>
                  </a:cubicBezTo>
                  <a:cubicBezTo>
                    <a:pt x="335593" y="167469"/>
                    <a:pt x="335593" y="161368"/>
                    <a:pt x="335593" y="161368"/>
                  </a:cubicBezTo>
                  <a:cubicBezTo>
                    <a:pt x="335593" y="161368"/>
                    <a:pt x="335593" y="161368"/>
                    <a:pt x="332542" y="158317"/>
                  </a:cubicBezTo>
                  <a:cubicBezTo>
                    <a:pt x="344746" y="155266"/>
                    <a:pt x="356949" y="152215"/>
                    <a:pt x="360000" y="140012"/>
                  </a:cubicBezTo>
                  <a:cubicBezTo>
                    <a:pt x="366102" y="127808"/>
                    <a:pt x="363051" y="118656"/>
                    <a:pt x="353898" y="109503"/>
                  </a:cubicBezTo>
                  <a:cubicBezTo>
                    <a:pt x="338644" y="100351"/>
                    <a:pt x="314237" y="97300"/>
                    <a:pt x="298983" y="94249"/>
                  </a:cubicBezTo>
                  <a:cubicBezTo>
                    <a:pt x="271525" y="88147"/>
                    <a:pt x="247119" y="82046"/>
                    <a:pt x="219661" y="75944"/>
                  </a:cubicBezTo>
                  <a:cubicBezTo>
                    <a:pt x="241017" y="72893"/>
                    <a:pt x="262373" y="72893"/>
                    <a:pt x="283729" y="69842"/>
                  </a:cubicBezTo>
                  <a:cubicBezTo>
                    <a:pt x="295932" y="69842"/>
                    <a:pt x="320339" y="72893"/>
                    <a:pt x="332542" y="63740"/>
                  </a:cubicBezTo>
                  <a:cubicBezTo>
                    <a:pt x="350847" y="51537"/>
                    <a:pt x="323390" y="39334"/>
                    <a:pt x="314237" y="36283"/>
                  </a:cubicBezTo>
                  <a:cubicBezTo>
                    <a:pt x="250169" y="17978"/>
                    <a:pt x="39661" y="-36938"/>
                    <a:pt x="0" y="39334"/>
                  </a:cubicBezTo>
                  <a:cubicBezTo>
                    <a:pt x="0" y="39334"/>
                    <a:pt x="3051" y="130859"/>
                    <a:pt x="24407" y="158317"/>
                  </a:cubicBezTo>
                  <a:cubicBezTo>
                    <a:pt x="54915" y="194927"/>
                    <a:pt x="103729" y="194927"/>
                    <a:pt x="149492" y="197978"/>
                  </a:cubicBezTo>
                  <a:cubicBezTo>
                    <a:pt x="176949" y="201029"/>
                    <a:pt x="204407" y="204079"/>
                    <a:pt x="231864" y="210181"/>
                  </a:cubicBezTo>
                  <a:cubicBezTo>
                    <a:pt x="244068" y="210181"/>
                    <a:pt x="262373" y="213232"/>
                    <a:pt x="271525" y="197978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1" name="任意多边形: 形状 330">
              <a:extLst>
                <a:ext uri="{FF2B5EF4-FFF2-40B4-BE49-F238E27FC236}">
                  <a16:creationId xmlns:a16="http://schemas.microsoft.com/office/drawing/2014/main" id="{0811C983-2A2E-4237-B29C-A1BF5008B61E}"/>
                </a:ext>
              </a:extLst>
            </p:cNvPr>
            <p:cNvSpPr/>
            <p:nvPr/>
          </p:nvSpPr>
          <p:spPr>
            <a:xfrm>
              <a:off x="4076092" y="2556030"/>
              <a:ext cx="1259200" cy="1100170"/>
            </a:xfrm>
            <a:custGeom>
              <a:avLst/>
              <a:gdLst>
                <a:gd name="connsiteX0" fmla="*/ 78523 w 1259200"/>
                <a:gd name="connsiteY0" fmla="*/ 7722 h 1100170"/>
                <a:gd name="connsiteX1" fmla="*/ 469031 w 1259200"/>
                <a:gd name="connsiteY1" fmla="*/ 346366 h 1100170"/>
                <a:gd name="connsiteX2" fmla="*/ 670387 w 1259200"/>
                <a:gd name="connsiteY2" fmla="*/ 764332 h 1100170"/>
                <a:gd name="connsiteX3" fmla="*/ 1225641 w 1259200"/>
                <a:gd name="connsiteY3" fmla="*/ 883315 h 1100170"/>
                <a:gd name="connsiteX4" fmla="*/ 1259201 w 1259200"/>
                <a:gd name="connsiteY4" fmla="*/ 1066366 h 1100170"/>
                <a:gd name="connsiteX5" fmla="*/ 478184 w 1259200"/>
                <a:gd name="connsiteY5" fmla="*/ 1078570 h 1100170"/>
                <a:gd name="connsiteX6" fmla="*/ 78523 w 1259200"/>
                <a:gd name="connsiteY6" fmla="*/ 7722 h 1100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9200" h="1100170">
                  <a:moveTo>
                    <a:pt x="78523" y="7722"/>
                  </a:moveTo>
                  <a:cubicBezTo>
                    <a:pt x="200557" y="-50244"/>
                    <a:pt x="404964" y="233485"/>
                    <a:pt x="469031" y="346366"/>
                  </a:cubicBezTo>
                  <a:cubicBezTo>
                    <a:pt x="526998" y="447044"/>
                    <a:pt x="670387" y="764332"/>
                    <a:pt x="670387" y="764332"/>
                  </a:cubicBezTo>
                  <a:lnTo>
                    <a:pt x="1225641" y="883315"/>
                  </a:lnTo>
                  <a:lnTo>
                    <a:pt x="1259201" y="1066366"/>
                  </a:lnTo>
                  <a:cubicBezTo>
                    <a:pt x="1259201" y="1066366"/>
                    <a:pt x="594116" y="1133485"/>
                    <a:pt x="478184" y="1078570"/>
                  </a:cubicBezTo>
                  <a:cubicBezTo>
                    <a:pt x="350048" y="1023655"/>
                    <a:pt x="-202155" y="132807"/>
                    <a:pt x="78523" y="7722"/>
                  </a:cubicBezTo>
                  <a:close/>
                </a:path>
              </a:pathLst>
            </a:custGeom>
            <a:solidFill>
              <a:srgbClr val="7F95BC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2" name="任意多边形: 形状 331">
              <a:extLst>
                <a:ext uri="{FF2B5EF4-FFF2-40B4-BE49-F238E27FC236}">
                  <a16:creationId xmlns:a16="http://schemas.microsoft.com/office/drawing/2014/main" id="{9996EA9F-88E5-4044-B661-0096B1A147BD}"/>
                </a:ext>
              </a:extLst>
            </p:cNvPr>
            <p:cNvSpPr/>
            <p:nvPr/>
          </p:nvSpPr>
          <p:spPr>
            <a:xfrm>
              <a:off x="3687835" y="2197651"/>
              <a:ext cx="67118" cy="140338"/>
            </a:xfrm>
            <a:custGeom>
              <a:avLst/>
              <a:gdLst>
                <a:gd name="connsiteX0" fmla="*/ 0 w 67118"/>
                <a:gd name="connsiteY0" fmla="*/ 0 h 140338"/>
                <a:gd name="connsiteX1" fmla="*/ 64068 w 67118"/>
                <a:gd name="connsiteY1" fmla="*/ 140339 h 140338"/>
                <a:gd name="connsiteX2" fmla="*/ 67119 w 67118"/>
                <a:gd name="connsiteY2" fmla="*/ 54915 h 140338"/>
                <a:gd name="connsiteX3" fmla="*/ 0 w 67118"/>
                <a:gd name="connsiteY3" fmla="*/ 0 h 14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118" h="140338">
                  <a:moveTo>
                    <a:pt x="0" y="0"/>
                  </a:moveTo>
                  <a:cubicBezTo>
                    <a:pt x="0" y="0"/>
                    <a:pt x="12203" y="118983"/>
                    <a:pt x="64068" y="140339"/>
                  </a:cubicBezTo>
                  <a:lnTo>
                    <a:pt x="67119" y="549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3" name="任意多边形: 形状 332">
              <a:extLst>
                <a:ext uri="{FF2B5EF4-FFF2-40B4-BE49-F238E27FC236}">
                  <a16:creationId xmlns:a16="http://schemas.microsoft.com/office/drawing/2014/main" id="{D0B646B8-9BBD-4EC5-9573-A7C20519D192}"/>
                </a:ext>
              </a:extLst>
            </p:cNvPr>
            <p:cNvSpPr/>
            <p:nvPr/>
          </p:nvSpPr>
          <p:spPr>
            <a:xfrm>
              <a:off x="4049957" y="1993244"/>
              <a:ext cx="101808" cy="237945"/>
            </a:xfrm>
            <a:custGeom>
              <a:avLst/>
              <a:gdLst>
                <a:gd name="connsiteX0" fmla="*/ 95505 w 101808"/>
                <a:gd name="connsiteY0" fmla="*/ 0 h 237945"/>
                <a:gd name="connsiteX1" fmla="*/ 52793 w 101808"/>
                <a:gd name="connsiteY1" fmla="*/ 234915 h 237945"/>
                <a:gd name="connsiteX2" fmla="*/ 929 w 101808"/>
                <a:gd name="connsiteY2" fmla="*/ 12203 h 237945"/>
                <a:gd name="connsiteX3" fmla="*/ 95505 w 101808"/>
                <a:gd name="connsiteY3" fmla="*/ 0 h 23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08" h="237945">
                  <a:moveTo>
                    <a:pt x="95505" y="0"/>
                  </a:moveTo>
                  <a:cubicBezTo>
                    <a:pt x="95505" y="0"/>
                    <a:pt x="126013" y="195254"/>
                    <a:pt x="52793" y="234915"/>
                  </a:cubicBezTo>
                  <a:cubicBezTo>
                    <a:pt x="-11275" y="268475"/>
                    <a:pt x="929" y="12203"/>
                    <a:pt x="929" y="12203"/>
                  </a:cubicBezTo>
                  <a:lnTo>
                    <a:pt x="95505" y="0"/>
                  </a:ln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4" name="任意多边形: 形状 333">
              <a:extLst>
                <a:ext uri="{FF2B5EF4-FFF2-40B4-BE49-F238E27FC236}">
                  <a16:creationId xmlns:a16="http://schemas.microsoft.com/office/drawing/2014/main" id="{E81789C2-1A03-4266-BE92-E863804B35B8}"/>
                </a:ext>
              </a:extLst>
            </p:cNvPr>
            <p:cNvSpPr/>
            <p:nvPr/>
          </p:nvSpPr>
          <p:spPr>
            <a:xfrm>
              <a:off x="3690886" y="1855066"/>
              <a:ext cx="421355" cy="568951"/>
            </a:xfrm>
            <a:custGeom>
              <a:avLst/>
              <a:gdLst>
                <a:gd name="connsiteX0" fmla="*/ 411864 w 421355"/>
                <a:gd name="connsiteY0" fmla="*/ 183941 h 568951"/>
                <a:gd name="connsiteX1" fmla="*/ 411864 w 421355"/>
                <a:gd name="connsiteY1" fmla="*/ 434111 h 568951"/>
                <a:gd name="connsiteX2" fmla="*/ 253220 w 421355"/>
                <a:gd name="connsiteY2" fmla="*/ 568348 h 568951"/>
                <a:gd name="connsiteX3" fmla="*/ 36610 w 421355"/>
                <a:gd name="connsiteY3" fmla="*/ 424958 h 568951"/>
                <a:gd name="connsiteX4" fmla="*/ 0 w 421355"/>
                <a:gd name="connsiteY4" fmla="*/ 199195 h 568951"/>
                <a:gd name="connsiteX5" fmla="*/ 213559 w 421355"/>
                <a:gd name="connsiteY5" fmla="*/ 890 h 568951"/>
                <a:gd name="connsiteX6" fmla="*/ 411864 w 421355"/>
                <a:gd name="connsiteY6" fmla="*/ 183941 h 568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355" h="568951">
                  <a:moveTo>
                    <a:pt x="411864" y="183941"/>
                  </a:moveTo>
                  <a:cubicBezTo>
                    <a:pt x="411864" y="183941"/>
                    <a:pt x="433220" y="360890"/>
                    <a:pt x="411864" y="434111"/>
                  </a:cubicBezTo>
                  <a:cubicBezTo>
                    <a:pt x="393559" y="501229"/>
                    <a:pt x="302034" y="565297"/>
                    <a:pt x="253220" y="568348"/>
                  </a:cubicBezTo>
                  <a:cubicBezTo>
                    <a:pt x="186102" y="574450"/>
                    <a:pt x="67119" y="534789"/>
                    <a:pt x="36610" y="424958"/>
                  </a:cubicBezTo>
                  <a:cubicBezTo>
                    <a:pt x="15254" y="351738"/>
                    <a:pt x="0" y="251060"/>
                    <a:pt x="0" y="199195"/>
                  </a:cubicBezTo>
                  <a:cubicBezTo>
                    <a:pt x="3051" y="104619"/>
                    <a:pt x="27458" y="25297"/>
                    <a:pt x="213559" y="890"/>
                  </a:cubicBezTo>
                  <a:cubicBezTo>
                    <a:pt x="298983" y="-11313"/>
                    <a:pt x="393559" y="104619"/>
                    <a:pt x="411864" y="183941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5" name="任意多边形: 形状 334">
              <a:extLst>
                <a:ext uri="{FF2B5EF4-FFF2-40B4-BE49-F238E27FC236}">
                  <a16:creationId xmlns:a16="http://schemas.microsoft.com/office/drawing/2014/main" id="{B62EF620-F513-4EB9-B53B-C92180F30B91}"/>
                </a:ext>
              </a:extLst>
            </p:cNvPr>
            <p:cNvSpPr/>
            <p:nvPr/>
          </p:nvSpPr>
          <p:spPr>
            <a:xfrm>
              <a:off x="3913598" y="2118329"/>
              <a:ext cx="57966" cy="137288"/>
            </a:xfrm>
            <a:custGeom>
              <a:avLst/>
              <a:gdLst>
                <a:gd name="connsiteX0" fmla="*/ 30508 w 57966"/>
                <a:gd name="connsiteY0" fmla="*/ 137288 h 137288"/>
                <a:gd name="connsiteX1" fmla="*/ 6102 w 57966"/>
                <a:gd name="connsiteY1" fmla="*/ 134237 h 137288"/>
                <a:gd name="connsiteX2" fmla="*/ 0 w 57966"/>
                <a:gd name="connsiteY2" fmla="*/ 128136 h 137288"/>
                <a:gd name="connsiteX3" fmla="*/ 6102 w 57966"/>
                <a:gd name="connsiteY3" fmla="*/ 122034 h 137288"/>
                <a:gd name="connsiteX4" fmla="*/ 45763 w 57966"/>
                <a:gd name="connsiteY4" fmla="*/ 122034 h 137288"/>
                <a:gd name="connsiteX5" fmla="*/ 45763 w 57966"/>
                <a:gd name="connsiteY5" fmla="*/ 118983 h 137288"/>
                <a:gd name="connsiteX6" fmla="*/ 30508 w 57966"/>
                <a:gd name="connsiteY6" fmla="*/ 6102 h 137288"/>
                <a:gd name="connsiteX7" fmla="*/ 36610 w 57966"/>
                <a:gd name="connsiteY7" fmla="*/ 0 h 137288"/>
                <a:gd name="connsiteX8" fmla="*/ 42712 w 57966"/>
                <a:gd name="connsiteY8" fmla="*/ 6102 h 137288"/>
                <a:gd name="connsiteX9" fmla="*/ 57966 w 57966"/>
                <a:gd name="connsiteY9" fmla="*/ 118983 h 137288"/>
                <a:gd name="connsiteX10" fmla="*/ 51864 w 57966"/>
                <a:gd name="connsiteY10" fmla="*/ 131186 h 137288"/>
                <a:gd name="connsiteX11" fmla="*/ 30508 w 57966"/>
                <a:gd name="connsiteY11" fmla="*/ 137288 h 137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66" h="137288">
                  <a:moveTo>
                    <a:pt x="30508" y="137288"/>
                  </a:moveTo>
                  <a:cubicBezTo>
                    <a:pt x="18305" y="137288"/>
                    <a:pt x="9153" y="134237"/>
                    <a:pt x="6102" y="134237"/>
                  </a:cubicBezTo>
                  <a:cubicBezTo>
                    <a:pt x="3051" y="134237"/>
                    <a:pt x="0" y="131186"/>
                    <a:pt x="0" y="128136"/>
                  </a:cubicBezTo>
                  <a:cubicBezTo>
                    <a:pt x="0" y="125085"/>
                    <a:pt x="3051" y="122034"/>
                    <a:pt x="6102" y="122034"/>
                  </a:cubicBezTo>
                  <a:cubicBezTo>
                    <a:pt x="18305" y="125085"/>
                    <a:pt x="39661" y="125085"/>
                    <a:pt x="45763" y="122034"/>
                  </a:cubicBezTo>
                  <a:cubicBezTo>
                    <a:pt x="45763" y="122034"/>
                    <a:pt x="45763" y="118983"/>
                    <a:pt x="45763" y="118983"/>
                  </a:cubicBezTo>
                  <a:cubicBezTo>
                    <a:pt x="45763" y="100678"/>
                    <a:pt x="30508" y="9153"/>
                    <a:pt x="30508" y="6102"/>
                  </a:cubicBezTo>
                  <a:cubicBezTo>
                    <a:pt x="30508" y="3051"/>
                    <a:pt x="33559" y="0"/>
                    <a:pt x="36610" y="0"/>
                  </a:cubicBezTo>
                  <a:cubicBezTo>
                    <a:pt x="39661" y="0"/>
                    <a:pt x="42712" y="3051"/>
                    <a:pt x="42712" y="6102"/>
                  </a:cubicBezTo>
                  <a:cubicBezTo>
                    <a:pt x="42712" y="9153"/>
                    <a:pt x="57966" y="100678"/>
                    <a:pt x="57966" y="118983"/>
                  </a:cubicBezTo>
                  <a:cubicBezTo>
                    <a:pt x="57966" y="125085"/>
                    <a:pt x="54915" y="128136"/>
                    <a:pt x="51864" y="131186"/>
                  </a:cubicBezTo>
                  <a:cubicBezTo>
                    <a:pt x="51864" y="134237"/>
                    <a:pt x="42712" y="137288"/>
                    <a:pt x="30508" y="137288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6" name="任意多边形: 形状 335">
              <a:extLst>
                <a:ext uri="{FF2B5EF4-FFF2-40B4-BE49-F238E27FC236}">
                  <a16:creationId xmlns:a16="http://schemas.microsoft.com/office/drawing/2014/main" id="{28100C1B-F36D-4DAB-90A1-9361BD88C948}"/>
                </a:ext>
              </a:extLst>
            </p:cNvPr>
            <p:cNvSpPr/>
            <p:nvPr/>
          </p:nvSpPr>
          <p:spPr>
            <a:xfrm>
              <a:off x="4007397" y="2096195"/>
              <a:ext cx="41215" cy="41215"/>
            </a:xfrm>
            <a:custGeom>
              <a:avLst/>
              <a:gdLst>
                <a:gd name="connsiteX0" fmla="*/ 777 w 41215"/>
                <a:gd name="connsiteY0" fmla="*/ 25184 h 41215"/>
                <a:gd name="connsiteX1" fmla="*/ 25184 w 41215"/>
                <a:gd name="connsiteY1" fmla="*/ 40438 h 41215"/>
                <a:gd name="connsiteX2" fmla="*/ 40438 w 41215"/>
                <a:gd name="connsiteY2" fmla="*/ 16032 h 41215"/>
                <a:gd name="connsiteX3" fmla="*/ 16032 w 41215"/>
                <a:gd name="connsiteY3" fmla="*/ 777 h 41215"/>
                <a:gd name="connsiteX4" fmla="*/ 777 w 41215"/>
                <a:gd name="connsiteY4" fmla="*/ 25184 h 4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5" h="41215">
                  <a:moveTo>
                    <a:pt x="777" y="25184"/>
                  </a:moveTo>
                  <a:cubicBezTo>
                    <a:pt x="3828" y="37388"/>
                    <a:pt x="12981" y="43489"/>
                    <a:pt x="25184" y="40438"/>
                  </a:cubicBezTo>
                  <a:cubicBezTo>
                    <a:pt x="37388" y="37388"/>
                    <a:pt x="43489" y="28235"/>
                    <a:pt x="40438" y="16032"/>
                  </a:cubicBezTo>
                  <a:cubicBezTo>
                    <a:pt x="37388" y="3828"/>
                    <a:pt x="28235" y="-2273"/>
                    <a:pt x="16032" y="777"/>
                  </a:cubicBezTo>
                  <a:cubicBezTo>
                    <a:pt x="3828" y="3828"/>
                    <a:pt x="-2273" y="12981"/>
                    <a:pt x="777" y="25184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7" name="任意多边形: 形状 336">
              <a:extLst>
                <a:ext uri="{FF2B5EF4-FFF2-40B4-BE49-F238E27FC236}">
                  <a16:creationId xmlns:a16="http://schemas.microsoft.com/office/drawing/2014/main" id="{EBE6A6B1-16F0-4D0F-B247-65979BF18742}"/>
                </a:ext>
              </a:extLst>
            </p:cNvPr>
            <p:cNvSpPr/>
            <p:nvPr/>
          </p:nvSpPr>
          <p:spPr>
            <a:xfrm>
              <a:off x="3824346" y="2111629"/>
              <a:ext cx="41215" cy="41036"/>
            </a:xfrm>
            <a:custGeom>
              <a:avLst/>
              <a:gdLst>
                <a:gd name="connsiteX0" fmla="*/ 777 w 41215"/>
                <a:gd name="connsiteY0" fmla="*/ 25005 h 41036"/>
                <a:gd name="connsiteX1" fmla="*/ 25184 w 41215"/>
                <a:gd name="connsiteY1" fmla="*/ 40259 h 41036"/>
                <a:gd name="connsiteX2" fmla="*/ 40438 w 41215"/>
                <a:gd name="connsiteY2" fmla="*/ 15853 h 41036"/>
                <a:gd name="connsiteX3" fmla="*/ 16032 w 41215"/>
                <a:gd name="connsiteY3" fmla="*/ 598 h 41036"/>
                <a:gd name="connsiteX4" fmla="*/ 777 w 41215"/>
                <a:gd name="connsiteY4" fmla="*/ 25005 h 4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5" h="41036">
                  <a:moveTo>
                    <a:pt x="777" y="25005"/>
                  </a:moveTo>
                  <a:cubicBezTo>
                    <a:pt x="3828" y="37209"/>
                    <a:pt x="12981" y="43310"/>
                    <a:pt x="25184" y="40259"/>
                  </a:cubicBezTo>
                  <a:cubicBezTo>
                    <a:pt x="37388" y="37209"/>
                    <a:pt x="43489" y="28056"/>
                    <a:pt x="40438" y="15853"/>
                  </a:cubicBezTo>
                  <a:cubicBezTo>
                    <a:pt x="37388" y="6700"/>
                    <a:pt x="28235" y="-2452"/>
                    <a:pt x="16032" y="598"/>
                  </a:cubicBezTo>
                  <a:cubicBezTo>
                    <a:pt x="3828" y="3649"/>
                    <a:pt x="-2273" y="15853"/>
                    <a:pt x="777" y="25005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8" name="任意多边形: 形状 337">
              <a:extLst>
                <a:ext uri="{FF2B5EF4-FFF2-40B4-BE49-F238E27FC236}">
                  <a16:creationId xmlns:a16="http://schemas.microsoft.com/office/drawing/2014/main" id="{86292BAA-C666-48D7-A389-39670875A89E}"/>
                </a:ext>
              </a:extLst>
            </p:cNvPr>
            <p:cNvSpPr/>
            <p:nvPr/>
          </p:nvSpPr>
          <p:spPr>
            <a:xfrm>
              <a:off x="3979453" y="2051210"/>
              <a:ext cx="92026" cy="30508"/>
            </a:xfrm>
            <a:custGeom>
              <a:avLst/>
              <a:gdLst>
                <a:gd name="connsiteX0" fmla="*/ 83637 w 92026"/>
                <a:gd name="connsiteY0" fmla="*/ 30508 h 30508"/>
                <a:gd name="connsiteX1" fmla="*/ 77535 w 92026"/>
                <a:gd name="connsiteY1" fmla="*/ 27458 h 30508"/>
                <a:gd name="connsiteX2" fmla="*/ 10416 w 92026"/>
                <a:gd name="connsiteY2" fmla="*/ 21356 h 30508"/>
                <a:gd name="connsiteX3" fmla="*/ 1264 w 92026"/>
                <a:gd name="connsiteY3" fmla="*/ 18305 h 30508"/>
                <a:gd name="connsiteX4" fmla="*/ 4315 w 92026"/>
                <a:gd name="connsiteY4" fmla="*/ 9153 h 30508"/>
                <a:gd name="connsiteX5" fmla="*/ 89738 w 92026"/>
                <a:gd name="connsiteY5" fmla="*/ 18305 h 30508"/>
                <a:gd name="connsiteX6" fmla="*/ 89738 w 92026"/>
                <a:gd name="connsiteY6" fmla="*/ 30508 h 30508"/>
                <a:gd name="connsiteX7" fmla="*/ 83637 w 92026"/>
                <a:gd name="connsiteY7" fmla="*/ 30508 h 3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0508">
                  <a:moveTo>
                    <a:pt x="83637" y="30508"/>
                  </a:moveTo>
                  <a:cubicBezTo>
                    <a:pt x="80586" y="30508"/>
                    <a:pt x="80586" y="30508"/>
                    <a:pt x="77535" y="27458"/>
                  </a:cubicBezTo>
                  <a:cubicBezTo>
                    <a:pt x="53128" y="0"/>
                    <a:pt x="10416" y="21356"/>
                    <a:pt x="10416" y="21356"/>
                  </a:cubicBezTo>
                  <a:cubicBezTo>
                    <a:pt x="7365" y="24407"/>
                    <a:pt x="1264" y="21356"/>
                    <a:pt x="1264" y="18305"/>
                  </a:cubicBezTo>
                  <a:cubicBezTo>
                    <a:pt x="-1787" y="15254"/>
                    <a:pt x="1264" y="9153"/>
                    <a:pt x="4315" y="9153"/>
                  </a:cubicBezTo>
                  <a:cubicBezTo>
                    <a:pt x="22620" y="0"/>
                    <a:pt x="62281" y="-9153"/>
                    <a:pt x="89738" y="18305"/>
                  </a:cubicBezTo>
                  <a:cubicBezTo>
                    <a:pt x="92789" y="21356"/>
                    <a:pt x="92789" y="27458"/>
                    <a:pt x="89738" y="30508"/>
                  </a:cubicBezTo>
                  <a:cubicBezTo>
                    <a:pt x="89738" y="27458"/>
                    <a:pt x="86687" y="30508"/>
                    <a:pt x="83637" y="30508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9" name="任意多边形: 形状 338">
              <a:extLst>
                <a:ext uri="{FF2B5EF4-FFF2-40B4-BE49-F238E27FC236}">
                  <a16:creationId xmlns:a16="http://schemas.microsoft.com/office/drawing/2014/main" id="{4B5A7C3F-F2DE-413F-A028-B194EF310667}"/>
                </a:ext>
              </a:extLst>
            </p:cNvPr>
            <p:cNvSpPr/>
            <p:nvPr/>
          </p:nvSpPr>
          <p:spPr>
            <a:xfrm>
              <a:off x="3789276" y="2045419"/>
              <a:ext cx="92026" cy="36299"/>
            </a:xfrm>
            <a:custGeom>
              <a:avLst/>
              <a:gdLst>
                <a:gd name="connsiteX0" fmla="*/ 8390 w 92026"/>
                <a:gd name="connsiteY0" fmla="*/ 36300 h 36299"/>
                <a:gd name="connsiteX1" fmla="*/ 2288 w 92026"/>
                <a:gd name="connsiteY1" fmla="*/ 33249 h 36299"/>
                <a:gd name="connsiteX2" fmla="*/ 2288 w 92026"/>
                <a:gd name="connsiteY2" fmla="*/ 21046 h 36299"/>
                <a:gd name="connsiteX3" fmla="*/ 87712 w 92026"/>
                <a:gd name="connsiteY3" fmla="*/ 11893 h 36299"/>
                <a:gd name="connsiteX4" fmla="*/ 90763 w 92026"/>
                <a:gd name="connsiteY4" fmla="*/ 24096 h 36299"/>
                <a:gd name="connsiteX5" fmla="*/ 78559 w 92026"/>
                <a:gd name="connsiteY5" fmla="*/ 27147 h 36299"/>
                <a:gd name="connsiteX6" fmla="*/ 11441 w 92026"/>
                <a:gd name="connsiteY6" fmla="*/ 33249 h 36299"/>
                <a:gd name="connsiteX7" fmla="*/ 8390 w 92026"/>
                <a:gd name="connsiteY7" fmla="*/ 36300 h 3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6299">
                  <a:moveTo>
                    <a:pt x="8390" y="36300"/>
                  </a:moveTo>
                  <a:cubicBezTo>
                    <a:pt x="5339" y="36300"/>
                    <a:pt x="5339" y="36300"/>
                    <a:pt x="2288" y="33249"/>
                  </a:cubicBezTo>
                  <a:cubicBezTo>
                    <a:pt x="-763" y="30198"/>
                    <a:pt x="-763" y="24096"/>
                    <a:pt x="2288" y="21046"/>
                  </a:cubicBezTo>
                  <a:cubicBezTo>
                    <a:pt x="14492" y="5791"/>
                    <a:pt x="51102" y="-12514"/>
                    <a:pt x="87712" y="11893"/>
                  </a:cubicBezTo>
                  <a:cubicBezTo>
                    <a:pt x="90763" y="14944"/>
                    <a:pt x="93814" y="17995"/>
                    <a:pt x="90763" y="24096"/>
                  </a:cubicBezTo>
                  <a:cubicBezTo>
                    <a:pt x="87712" y="27147"/>
                    <a:pt x="84661" y="30198"/>
                    <a:pt x="78559" y="27147"/>
                  </a:cubicBezTo>
                  <a:cubicBezTo>
                    <a:pt x="41949" y="2740"/>
                    <a:pt x="14492" y="33249"/>
                    <a:pt x="11441" y="33249"/>
                  </a:cubicBezTo>
                  <a:cubicBezTo>
                    <a:pt x="11441" y="36300"/>
                    <a:pt x="11441" y="36300"/>
                    <a:pt x="8390" y="36300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0" name="任意多边形: 形状 339">
              <a:extLst>
                <a:ext uri="{FF2B5EF4-FFF2-40B4-BE49-F238E27FC236}">
                  <a16:creationId xmlns:a16="http://schemas.microsoft.com/office/drawing/2014/main" id="{B6165DE4-8D9C-4DD9-B230-72D1821BA81F}"/>
                </a:ext>
              </a:extLst>
            </p:cNvPr>
            <p:cNvSpPr/>
            <p:nvPr/>
          </p:nvSpPr>
          <p:spPr>
            <a:xfrm>
              <a:off x="3649861" y="2110741"/>
              <a:ext cx="78991" cy="114126"/>
            </a:xfrm>
            <a:custGeom>
              <a:avLst/>
              <a:gdLst>
                <a:gd name="connsiteX0" fmla="*/ 65432 w 78991"/>
                <a:gd name="connsiteY0" fmla="*/ 16740 h 114126"/>
                <a:gd name="connsiteX1" fmla="*/ 7466 w 78991"/>
                <a:gd name="connsiteY1" fmla="*/ 7587 h 114126"/>
                <a:gd name="connsiteX2" fmla="*/ 65432 w 78991"/>
                <a:gd name="connsiteY2" fmla="*/ 111316 h 114126"/>
                <a:gd name="connsiteX3" fmla="*/ 65432 w 78991"/>
                <a:gd name="connsiteY3" fmla="*/ 16740 h 11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91" h="114126">
                  <a:moveTo>
                    <a:pt x="65432" y="16740"/>
                  </a:moveTo>
                  <a:cubicBezTo>
                    <a:pt x="65432" y="16740"/>
                    <a:pt x="31872" y="-13769"/>
                    <a:pt x="7466" y="7587"/>
                  </a:cubicBezTo>
                  <a:cubicBezTo>
                    <a:pt x="-16941" y="25892"/>
                    <a:pt x="22720" y="132672"/>
                    <a:pt x="65432" y="111316"/>
                  </a:cubicBezTo>
                  <a:cubicBezTo>
                    <a:pt x="95940" y="89960"/>
                    <a:pt x="65432" y="16740"/>
                    <a:pt x="65432" y="16740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1" name="任意多边形: 形状 340">
              <a:extLst>
                <a:ext uri="{FF2B5EF4-FFF2-40B4-BE49-F238E27FC236}">
                  <a16:creationId xmlns:a16="http://schemas.microsoft.com/office/drawing/2014/main" id="{1B9E35AB-8EC9-4D7C-A23E-2BFE0F6485CA}"/>
                </a:ext>
              </a:extLst>
            </p:cNvPr>
            <p:cNvSpPr/>
            <p:nvPr/>
          </p:nvSpPr>
          <p:spPr>
            <a:xfrm>
              <a:off x="3652217" y="1744167"/>
              <a:ext cx="518191" cy="401619"/>
            </a:xfrm>
            <a:custGeom>
              <a:avLst/>
              <a:gdLst>
                <a:gd name="connsiteX0" fmla="*/ 5109 w 518191"/>
                <a:gd name="connsiteY0" fmla="*/ 300942 h 401619"/>
                <a:gd name="connsiteX1" fmla="*/ 63075 w 518191"/>
                <a:gd name="connsiteY1" fmla="*/ 401620 h 401619"/>
                <a:gd name="connsiteX2" fmla="*/ 114940 w 518191"/>
                <a:gd name="connsiteY2" fmla="*/ 261281 h 401619"/>
                <a:gd name="connsiteX3" fmla="*/ 124092 w 518191"/>
                <a:gd name="connsiteY3" fmla="*/ 258230 h 401619"/>
                <a:gd name="connsiteX4" fmla="*/ 200364 w 518191"/>
                <a:gd name="connsiteY4" fmla="*/ 230772 h 401619"/>
                <a:gd name="connsiteX5" fmla="*/ 212567 w 518191"/>
                <a:gd name="connsiteY5" fmla="*/ 227721 h 401619"/>
                <a:gd name="connsiteX6" fmla="*/ 249177 w 518191"/>
                <a:gd name="connsiteY6" fmla="*/ 249077 h 401619"/>
                <a:gd name="connsiteX7" fmla="*/ 264431 w 518191"/>
                <a:gd name="connsiteY7" fmla="*/ 239925 h 401619"/>
                <a:gd name="connsiteX8" fmla="*/ 316296 w 518191"/>
                <a:gd name="connsiteY8" fmla="*/ 255179 h 401619"/>
                <a:gd name="connsiteX9" fmla="*/ 352906 w 518191"/>
                <a:gd name="connsiteY9" fmla="*/ 264331 h 401619"/>
                <a:gd name="connsiteX10" fmla="*/ 365109 w 518191"/>
                <a:gd name="connsiteY10" fmla="*/ 264331 h 401619"/>
                <a:gd name="connsiteX11" fmla="*/ 377313 w 518191"/>
                <a:gd name="connsiteY11" fmla="*/ 261281 h 401619"/>
                <a:gd name="connsiteX12" fmla="*/ 386465 w 518191"/>
                <a:gd name="connsiteY12" fmla="*/ 267382 h 401619"/>
                <a:gd name="connsiteX13" fmla="*/ 392567 w 518191"/>
                <a:gd name="connsiteY13" fmla="*/ 270433 h 401619"/>
                <a:gd name="connsiteX14" fmla="*/ 398669 w 518191"/>
                <a:gd name="connsiteY14" fmla="*/ 270433 h 401619"/>
                <a:gd name="connsiteX15" fmla="*/ 404770 w 518191"/>
                <a:gd name="connsiteY15" fmla="*/ 273484 h 401619"/>
                <a:gd name="connsiteX16" fmla="*/ 410872 w 518191"/>
                <a:gd name="connsiteY16" fmla="*/ 282637 h 401619"/>
                <a:gd name="connsiteX17" fmla="*/ 429177 w 518191"/>
                <a:gd name="connsiteY17" fmla="*/ 303992 h 401619"/>
                <a:gd name="connsiteX18" fmla="*/ 459686 w 518191"/>
                <a:gd name="connsiteY18" fmla="*/ 316196 h 401619"/>
                <a:gd name="connsiteX19" fmla="*/ 477991 w 518191"/>
                <a:gd name="connsiteY19" fmla="*/ 371111 h 401619"/>
                <a:gd name="connsiteX20" fmla="*/ 487143 w 518191"/>
                <a:gd name="connsiteY20" fmla="*/ 340603 h 401619"/>
                <a:gd name="connsiteX21" fmla="*/ 496296 w 518191"/>
                <a:gd name="connsiteY21" fmla="*/ 337552 h 401619"/>
                <a:gd name="connsiteX22" fmla="*/ 514601 w 518191"/>
                <a:gd name="connsiteY22" fmla="*/ 239925 h 401619"/>
                <a:gd name="connsiteX23" fmla="*/ 496296 w 518191"/>
                <a:gd name="connsiteY23" fmla="*/ 197213 h 401619"/>
                <a:gd name="connsiteX24" fmla="*/ 499347 w 518191"/>
                <a:gd name="connsiteY24" fmla="*/ 163653 h 401619"/>
                <a:gd name="connsiteX25" fmla="*/ 493245 w 518191"/>
                <a:gd name="connsiteY25" fmla="*/ 127043 h 401619"/>
                <a:gd name="connsiteX26" fmla="*/ 468838 w 518191"/>
                <a:gd name="connsiteY26" fmla="*/ 102637 h 401619"/>
                <a:gd name="connsiteX27" fmla="*/ 453584 w 518191"/>
                <a:gd name="connsiteY27" fmla="*/ 59925 h 401619"/>
                <a:gd name="connsiteX28" fmla="*/ 392567 w 518191"/>
                <a:gd name="connsiteY28" fmla="*/ 38569 h 401619"/>
                <a:gd name="connsiteX29" fmla="*/ 267482 w 518191"/>
                <a:gd name="connsiteY29" fmla="*/ 1959 h 401619"/>
                <a:gd name="connsiteX30" fmla="*/ 255279 w 518191"/>
                <a:gd name="connsiteY30" fmla="*/ 8060 h 401619"/>
                <a:gd name="connsiteX31" fmla="*/ 200364 w 518191"/>
                <a:gd name="connsiteY31" fmla="*/ 23315 h 401619"/>
                <a:gd name="connsiteX32" fmla="*/ 166804 w 518191"/>
                <a:gd name="connsiteY32" fmla="*/ 26365 h 401619"/>
                <a:gd name="connsiteX33" fmla="*/ 136296 w 518191"/>
                <a:gd name="connsiteY33" fmla="*/ 59925 h 401619"/>
                <a:gd name="connsiteX34" fmla="*/ 124092 w 518191"/>
                <a:gd name="connsiteY34" fmla="*/ 78230 h 401619"/>
                <a:gd name="connsiteX35" fmla="*/ 93584 w 518191"/>
                <a:gd name="connsiteY35" fmla="*/ 99586 h 401619"/>
                <a:gd name="connsiteX36" fmla="*/ 81380 w 518191"/>
                <a:gd name="connsiteY36" fmla="*/ 96535 h 401619"/>
                <a:gd name="connsiteX37" fmla="*/ 63075 w 518191"/>
                <a:gd name="connsiteY37" fmla="*/ 136196 h 401619"/>
                <a:gd name="connsiteX38" fmla="*/ 5109 w 518191"/>
                <a:gd name="connsiteY38" fmla="*/ 300942 h 40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8191" h="401619">
                  <a:moveTo>
                    <a:pt x="5109" y="300942"/>
                  </a:moveTo>
                  <a:cubicBezTo>
                    <a:pt x="20364" y="355857"/>
                    <a:pt x="63075" y="401620"/>
                    <a:pt x="63075" y="401620"/>
                  </a:cubicBezTo>
                  <a:cubicBezTo>
                    <a:pt x="56974" y="371111"/>
                    <a:pt x="114940" y="261281"/>
                    <a:pt x="114940" y="261281"/>
                  </a:cubicBezTo>
                  <a:cubicBezTo>
                    <a:pt x="114940" y="261281"/>
                    <a:pt x="117991" y="261281"/>
                    <a:pt x="124092" y="258230"/>
                  </a:cubicBezTo>
                  <a:cubicBezTo>
                    <a:pt x="151550" y="258230"/>
                    <a:pt x="179008" y="249077"/>
                    <a:pt x="200364" y="230772"/>
                  </a:cubicBezTo>
                  <a:cubicBezTo>
                    <a:pt x="203414" y="230772"/>
                    <a:pt x="209516" y="227721"/>
                    <a:pt x="212567" y="227721"/>
                  </a:cubicBezTo>
                  <a:cubicBezTo>
                    <a:pt x="221720" y="239925"/>
                    <a:pt x="230872" y="252128"/>
                    <a:pt x="249177" y="249077"/>
                  </a:cubicBezTo>
                  <a:cubicBezTo>
                    <a:pt x="258330" y="249077"/>
                    <a:pt x="261381" y="239925"/>
                    <a:pt x="264431" y="239925"/>
                  </a:cubicBezTo>
                  <a:cubicBezTo>
                    <a:pt x="285787" y="230772"/>
                    <a:pt x="297991" y="246026"/>
                    <a:pt x="316296" y="255179"/>
                  </a:cubicBezTo>
                  <a:cubicBezTo>
                    <a:pt x="328499" y="261281"/>
                    <a:pt x="340702" y="264331"/>
                    <a:pt x="352906" y="264331"/>
                  </a:cubicBezTo>
                  <a:cubicBezTo>
                    <a:pt x="355957" y="264331"/>
                    <a:pt x="362058" y="261281"/>
                    <a:pt x="365109" y="264331"/>
                  </a:cubicBezTo>
                  <a:cubicBezTo>
                    <a:pt x="371211" y="261281"/>
                    <a:pt x="374262" y="261281"/>
                    <a:pt x="377313" y="261281"/>
                  </a:cubicBezTo>
                  <a:cubicBezTo>
                    <a:pt x="380363" y="264331"/>
                    <a:pt x="383414" y="264331"/>
                    <a:pt x="386465" y="267382"/>
                  </a:cubicBezTo>
                  <a:cubicBezTo>
                    <a:pt x="389516" y="267382"/>
                    <a:pt x="389516" y="270433"/>
                    <a:pt x="392567" y="270433"/>
                  </a:cubicBezTo>
                  <a:cubicBezTo>
                    <a:pt x="395618" y="270433"/>
                    <a:pt x="395618" y="270433"/>
                    <a:pt x="398669" y="270433"/>
                  </a:cubicBezTo>
                  <a:cubicBezTo>
                    <a:pt x="401719" y="270433"/>
                    <a:pt x="404770" y="273484"/>
                    <a:pt x="404770" y="273484"/>
                  </a:cubicBezTo>
                  <a:cubicBezTo>
                    <a:pt x="407821" y="276535"/>
                    <a:pt x="410872" y="279586"/>
                    <a:pt x="410872" y="282637"/>
                  </a:cubicBezTo>
                  <a:cubicBezTo>
                    <a:pt x="416974" y="291789"/>
                    <a:pt x="420025" y="297891"/>
                    <a:pt x="429177" y="303992"/>
                  </a:cubicBezTo>
                  <a:cubicBezTo>
                    <a:pt x="435279" y="310094"/>
                    <a:pt x="447482" y="310094"/>
                    <a:pt x="459686" y="316196"/>
                  </a:cubicBezTo>
                  <a:cubicBezTo>
                    <a:pt x="474940" y="334501"/>
                    <a:pt x="481042" y="352806"/>
                    <a:pt x="477991" y="371111"/>
                  </a:cubicBezTo>
                  <a:cubicBezTo>
                    <a:pt x="477991" y="371111"/>
                    <a:pt x="481042" y="358908"/>
                    <a:pt x="487143" y="340603"/>
                  </a:cubicBezTo>
                  <a:cubicBezTo>
                    <a:pt x="490194" y="343654"/>
                    <a:pt x="493245" y="343654"/>
                    <a:pt x="496296" y="337552"/>
                  </a:cubicBezTo>
                  <a:cubicBezTo>
                    <a:pt x="514601" y="307043"/>
                    <a:pt x="523753" y="273484"/>
                    <a:pt x="514601" y="239925"/>
                  </a:cubicBezTo>
                  <a:cubicBezTo>
                    <a:pt x="511550" y="224670"/>
                    <a:pt x="502397" y="212467"/>
                    <a:pt x="496296" y="197213"/>
                  </a:cubicBezTo>
                  <a:cubicBezTo>
                    <a:pt x="487143" y="178908"/>
                    <a:pt x="496296" y="178908"/>
                    <a:pt x="499347" y="163653"/>
                  </a:cubicBezTo>
                  <a:cubicBezTo>
                    <a:pt x="502397" y="151450"/>
                    <a:pt x="496296" y="139247"/>
                    <a:pt x="493245" y="127043"/>
                  </a:cubicBezTo>
                  <a:cubicBezTo>
                    <a:pt x="484092" y="120942"/>
                    <a:pt x="474940" y="111789"/>
                    <a:pt x="468838" y="102637"/>
                  </a:cubicBezTo>
                  <a:cubicBezTo>
                    <a:pt x="456635" y="87382"/>
                    <a:pt x="459686" y="78230"/>
                    <a:pt x="453584" y="59925"/>
                  </a:cubicBezTo>
                  <a:cubicBezTo>
                    <a:pt x="441380" y="32467"/>
                    <a:pt x="416974" y="38569"/>
                    <a:pt x="392567" y="38569"/>
                  </a:cubicBezTo>
                  <a:cubicBezTo>
                    <a:pt x="349855" y="38569"/>
                    <a:pt x="313245" y="-10245"/>
                    <a:pt x="267482" y="1959"/>
                  </a:cubicBezTo>
                  <a:cubicBezTo>
                    <a:pt x="261381" y="1959"/>
                    <a:pt x="258330" y="5009"/>
                    <a:pt x="255279" y="8060"/>
                  </a:cubicBezTo>
                  <a:cubicBezTo>
                    <a:pt x="236974" y="17213"/>
                    <a:pt x="218669" y="23315"/>
                    <a:pt x="200364" y="23315"/>
                  </a:cubicBezTo>
                  <a:cubicBezTo>
                    <a:pt x="188160" y="23315"/>
                    <a:pt x="179008" y="20264"/>
                    <a:pt x="166804" y="26365"/>
                  </a:cubicBezTo>
                  <a:cubicBezTo>
                    <a:pt x="151550" y="32467"/>
                    <a:pt x="145448" y="47721"/>
                    <a:pt x="136296" y="59925"/>
                  </a:cubicBezTo>
                  <a:cubicBezTo>
                    <a:pt x="133245" y="66026"/>
                    <a:pt x="127143" y="72128"/>
                    <a:pt x="124092" y="78230"/>
                  </a:cubicBezTo>
                  <a:cubicBezTo>
                    <a:pt x="111889" y="84331"/>
                    <a:pt x="102736" y="93484"/>
                    <a:pt x="93584" y="99586"/>
                  </a:cubicBezTo>
                  <a:cubicBezTo>
                    <a:pt x="93584" y="96535"/>
                    <a:pt x="96635" y="84331"/>
                    <a:pt x="81380" y="96535"/>
                  </a:cubicBezTo>
                  <a:cubicBezTo>
                    <a:pt x="66126" y="105687"/>
                    <a:pt x="63075" y="120942"/>
                    <a:pt x="63075" y="136196"/>
                  </a:cubicBezTo>
                  <a:cubicBezTo>
                    <a:pt x="-992" y="154501"/>
                    <a:pt x="-7094" y="242976"/>
                    <a:pt x="5109" y="300942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2" name="任意多边形: 形状 341">
              <a:extLst>
                <a:ext uri="{FF2B5EF4-FFF2-40B4-BE49-F238E27FC236}">
                  <a16:creationId xmlns:a16="http://schemas.microsoft.com/office/drawing/2014/main" id="{4BC086C2-38BB-4FDC-8AAD-A5E4D44F03F4}"/>
                </a:ext>
              </a:extLst>
            </p:cNvPr>
            <p:cNvSpPr/>
            <p:nvPr/>
          </p:nvSpPr>
          <p:spPr>
            <a:xfrm>
              <a:off x="3699276" y="1895617"/>
              <a:ext cx="70932" cy="237966"/>
            </a:xfrm>
            <a:custGeom>
              <a:avLst/>
              <a:gdLst>
                <a:gd name="connsiteX0" fmla="*/ 16017 w 70932"/>
                <a:gd name="connsiteY0" fmla="*/ 237966 h 237966"/>
                <a:gd name="connsiteX1" fmla="*/ 16017 w 70932"/>
                <a:gd name="connsiteY1" fmla="*/ 237966 h 237966"/>
                <a:gd name="connsiteX2" fmla="*/ 9915 w 70932"/>
                <a:gd name="connsiteY2" fmla="*/ 231864 h 237966"/>
                <a:gd name="connsiteX3" fmla="*/ 55678 w 70932"/>
                <a:gd name="connsiteY3" fmla="*/ 112881 h 237966"/>
                <a:gd name="connsiteX4" fmla="*/ 6864 w 70932"/>
                <a:gd name="connsiteY4" fmla="*/ 70170 h 237966"/>
                <a:gd name="connsiteX5" fmla="*/ 6864 w 70932"/>
                <a:gd name="connsiteY5" fmla="*/ 3051 h 237966"/>
                <a:gd name="connsiteX6" fmla="*/ 12966 w 70932"/>
                <a:gd name="connsiteY6" fmla="*/ 0 h 237966"/>
                <a:gd name="connsiteX7" fmla="*/ 16017 w 70932"/>
                <a:gd name="connsiteY7" fmla="*/ 6102 h 237966"/>
                <a:gd name="connsiteX8" fmla="*/ 16017 w 70932"/>
                <a:gd name="connsiteY8" fmla="*/ 64068 h 237966"/>
                <a:gd name="connsiteX9" fmla="*/ 64831 w 70932"/>
                <a:gd name="connsiteY9" fmla="*/ 103729 h 237966"/>
                <a:gd name="connsiteX10" fmla="*/ 70932 w 70932"/>
                <a:gd name="connsiteY10" fmla="*/ 106780 h 237966"/>
                <a:gd name="connsiteX11" fmla="*/ 70932 w 70932"/>
                <a:gd name="connsiteY11" fmla="*/ 112881 h 237966"/>
                <a:gd name="connsiteX12" fmla="*/ 22119 w 70932"/>
                <a:gd name="connsiteY12" fmla="*/ 234915 h 237966"/>
                <a:gd name="connsiteX13" fmla="*/ 16017 w 70932"/>
                <a:gd name="connsiteY13" fmla="*/ 237966 h 237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932" h="237966">
                  <a:moveTo>
                    <a:pt x="16017" y="237966"/>
                  </a:moveTo>
                  <a:cubicBezTo>
                    <a:pt x="16017" y="237966"/>
                    <a:pt x="16017" y="237966"/>
                    <a:pt x="16017" y="237966"/>
                  </a:cubicBezTo>
                  <a:cubicBezTo>
                    <a:pt x="12966" y="237966"/>
                    <a:pt x="9915" y="234915"/>
                    <a:pt x="9915" y="231864"/>
                  </a:cubicBezTo>
                  <a:cubicBezTo>
                    <a:pt x="16017" y="176949"/>
                    <a:pt x="43475" y="128136"/>
                    <a:pt x="55678" y="112881"/>
                  </a:cubicBezTo>
                  <a:cubicBezTo>
                    <a:pt x="43475" y="106780"/>
                    <a:pt x="19068" y="94576"/>
                    <a:pt x="6864" y="70170"/>
                  </a:cubicBezTo>
                  <a:cubicBezTo>
                    <a:pt x="-2288" y="51864"/>
                    <a:pt x="-2288" y="27458"/>
                    <a:pt x="6864" y="3051"/>
                  </a:cubicBezTo>
                  <a:cubicBezTo>
                    <a:pt x="6864" y="0"/>
                    <a:pt x="9915" y="0"/>
                    <a:pt x="12966" y="0"/>
                  </a:cubicBezTo>
                  <a:cubicBezTo>
                    <a:pt x="16017" y="0"/>
                    <a:pt x="16017" y="3051"/>
                    <a:pt x="16017" y="6102"/>
                  </a:cubicBezTo>
                  <a:cubicBezTo>
                    <a:pt x="6864" y="27458"/>
                    <a:pt x="9915" y="48814"/>
                    <a:pt x="16017" y="64068"/>
                  </a:cubicBezTo>
                  <a:cubicBezTo>
                    <a:pt x="31271" y="91525"/>
                    <a:pt x="64831" y="103729"/>
                    <a:pt x="64831" y="103729"/>
                  </a:cubicBezTo>
                  <a:cubicBezTo>
                    <a:pt x="70932" y="103729"/>
                    <a:pt x="70932" y="103729"/>
                    <a:pt x="70932" y="106780"/>
                  </a:cubicBezTo>
                  <a:cubicBezTo>
                    <a:pt x="70932" y="109831"/>
                    <a:pt x="70932" y="109831"/>
                    <a:pt x="70932" y="112881"/>
                  </a:cubicBezTo>
                  <a:cubicBezTo>
                    <a:pt x="70932" y="112881"/>
                    <a:pt x="28220" y="170847"/>
                    <a:pt x="22119" y="234915"/>
                  </a:cubicBezTo>
                  <a:cubicBezTo>
                    <a:pt x="22119" y="234915"/>
                    <a:pt x="19068" y="237966"/>
                    <a:pt x="16017" y="237966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3" name="任意多边形: 形状 342">
              <a:extLst>
                <a:ext uri="{FF2B5EF4-FFF2-40B4-BE49-F238E27FC236}">
                  <a16:creationId xmlns:a16="http://schemas.microsoft.com/office/drawing/2014/main" id="{937ABB28-482C-41FB-B521-EB17350930CF}"/>
                </a:ext>
              </a:extLst>
            </p:cNvPr>
            <p:cNvSpPr/>
            <p:nvPr/>
          </p:nvSpPr>
          <p:spPr>
            <a:xfrm>
              <a:off x="3862496" y="2311295"/>
              <a:ext cx="115169" cy="35847"/>
            </a:xfrm>
            <a:custGeom>
              <a:avLst/>
              <a:gdLst>
                <a:gd name="connsiteX0" fmla="*/ 78559 w 115169"/>
                <a:gd name="connsiteY0" fmla="*/ 35847 h 35847"/>
                <a:gd name="connsiteX1" fmla="*/ 2288 w 115169"/>
                <a:gd name="connsiteY1" fmla="*/ 11441 h 35847"/>
                <a:gd name="connsiteX2" fmla="*/ 2288 w 115169"/>
                <a:gd name="connsiteY2" fmla="*/ 2288 h 35847"/>
                <a:gd name="connsiteX3" fmla="*/ 11441 w 115169"/>
                <a:gd name="connsiteY3" fmla="*/ 2288 h 35847"/>
                <a:gd name="connsiteX4" fmla="*/ 109068 w 115169"/>
                <a:gd name="connsiteY4" fmla="*/ 20593 h 35847"/>
                <a:gd name="connsiteX5" fmla="*/ 115169 w 115169"/>
                <a:gd name="connsiteY5" fmla="*/ 23644 h 35847"/>
                <a:gd name="connsiteX6" fmla="*/ 112119 w 115169"/>
                <a:gd name="connsiteY6" fmla="*/ 29746 h 35847"/>
                <a:gd name="connsiteX7" fmla="*/ 78559 w 115169"/>
                <a:gd name="connsiteY7" fmla="*/ 35847 h 3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169" h="35847">
                  <a:moveTo>
                    <a:pt x="78559" y="35847"/>
                  </a:moveTo>
                  <a:cubicBezTo>
                    <a:pt x="54153" y="35847"/>
                    <a:pt x="23644" y="29746"/>
                    <a:pt x="2288" y="11441"/>
                  </a:cubicBezTo>
                  <a:cubicBezTo>
                    <a:pt x="-763" y="8390"/>
                    <a:pt x="-763" y="5339"/>
                    <a:pt x="2288" y="2288"/>
                  </a:cubicBezTo>
                  <a:cubicBezTo>
                    <a:pt x="5339" y="-763"/>
                    <a:pt x="8390" y="-763"/>
                    <a:pt x="11441" y="2288"/>
                  </a:cubicBezTo>
                  <a:cubicBezTo>
                    <a:pt x="45000" y="35847"/>
                    <a:pt x="109068" y="20593"/>
                    <a:pt x="109068" y="20593"/>
                  </a:cubicBezTo>
                  <a:cubicBezTo>
                    <a:pt x="112119" y="20593"/>
                    <a:pt x="115169" y="20593"/>
                    <a:pt x="115169" y="23644"/>
                  </a:cubicBezTo>
                  <a:cubicBezTo>
                    <a:pt x="115169" y="26695"/>
                    <a:pt x="115169" y="29746"/>
                    <a:pt x="112119" y="29746"/>
                  </a:cubicBezTo>
                  <a:cubicBezTo>
                    <a:pt x="112119" y="32797"/>
                    <a:pt x="96864" y="35847"/>
                    <a:pt x="78559" y="35847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4" name="任意多边形: 形状 343">
              <a:extLst>
                <a:ext uri="{FF2B5EF4-FFF2-40B4-BE49-F238E27FC236}">
                  <a16:creationId xmlns:a16="http://schemas.microsoft.com/office/drawing/2014/main" id="{CAAE6DBB-0AB4-4B1D-9530-0F5406B4B938}"/>
                </a:ext>
              </a:extLst>
            </p:cNvPr>
            <p:cNvSpPr/>
            <p:nvPr/>
          </p:nvSpPr>
          <p:spPr>
            <a:xfrm>
              <a:off x="3808605" y="1872436"/>
              <a:ext cx="260585" cy="84197"/>
            </a:xfrm>
            <a:custGeom>
              <a:avLst/>
              <a:gdLst>
                <a:gd name="connsiteX0" fmla="*/ 251433 w 260585"/>
                <a:gd name="connsiteY0" fmla="*/ 84198 h 84197"/>
                <a:gd name="connsiteX1" fmla="*/ 251433 w 260585"/>
                <a:gd name="connsiteY1" fmla="*/ 84198 h 84197"/>
                <a:gd name="connsiteX2" fmla="*/ 196518 w 260585"/>
                <a:gd name="connsiteY2" fmla="*/ 59791 h 84197"/>
                <a:gd name="connsiteX3" fmla="*/ 187365 w 260585"/>
                <a:gd name="connsiteY3" fmla="*/ 50638 h 84197"/>
                <a:gd name="connsiteX4" fmla="*/ 156857 w 260585"/>
                <a:gd name="connsiteY4" fmla="*/ 32333 h 84197"/>
                <a:gd name="connsiteX5" fmla="*/ 132450 w 260585"/>
                <a:gd name="connsiteY5" fmla="*/ 38435 h 84197"/>
                <a:gd name="connsiteX6" fmla="*/ 98891 w 260585"/>
                <a:gd name="connsiteY6" fmla="*/ 47587 h 84197"/>
                <a:gd name="connsiteX7" fmla="*/ 71433 w 260585"/>
                <a:gd name="connsiteY7" fmla="*/ 29282 h 84197"/>
                <a:gd name="connsiteX8" fmla="*/ 53128 w 260585"/>
                <a:gd name="connsiteY8" fmla="*/ 14028 h 84197"/>
                <a:gd name="connsiteX9" fmla="*/ 25670 w 260585"/>
                <a:gd name="connsiteY9" fmla="*/ 17079 h 84197"/>
                <a:gd name="connsiteX10" fmla="*/ 10416 w 260585"/>
                <a:gd name="connsiteY10" fmla="*/ 44537 h 84197"/>
                <a:gd name="connsiteX11" fmla="*/ 4315 w 260585"/>
                <a:gd name="connsiteY11" fmla="*/ 47587 h 84197"/>
                <a:gd name="connsiteX12" fmla="*/ 1264 w 260585"/>
                <a:gd name="connsiteY12" fmla="*/ 41486 h 84197"/>
                <a:gd name="connsiteX13" fmla="*/ 22620 w 260585"/>
                <a:gd name="connsiteY13" fmla="*/ 7926 h 84197"/>
                <a:gd name="connsiteX14" fmla="*/ 62281 w 260585"/>
                <a:gd name="connsiteY14" fmla="*/ 1825 h 84197"/>
                <a:gd name="connsiteX15" fmla="*/ 83637 w 260585"/>
                <a:gd name="connsiteY15" fmla="*/ 23181 h 84197"/>
                <a:gd name="connsiteX16" fmla="*/ 104993 w 260585"/>
                <a:gd name="connsiteY16" fmla="*/ 38435 h 84197"/>
                <a:gd name="connsiteX17" fmla="*/ 132450 w 260585"/>
                <a:gd name="connsiteY17" fmla="*/ 32333 h 84197"/>
                <a:gd name="connsiteX18" fmla="*/ 162959 w 260585"/>
                <a:gd name="connsiteY18" fmla="*/ 23181 h 84197"/>
                <a:gd name="connsiteX19" fmla="*/ 199569 w 260585"/>
                <a:gd name="connsiteY19" fmla="*/ 44537 h 84197"/>
                <a:gd name="connsiteX20" fmla="*/ 208721 w 260585"/>
                <a:gd name="connsiteY20" fmla="*/ 53689 h 84197"/>
                <a:gd name="connsiteX21" fmla="*/ 254484 w 260585"/>
                <a:gd name="connsiteY21" fmla="*/ 75045 h 84197"/>
                <a:gd name="connsiteX22" fmla="*/ 260586 w 260585"/>
                <a:gd name="connsiteY22" fmla="*/ 81147 h 84197"/>
                <a:gd name="connsiteX23" fmla="*/ 251433 w 260585"/>
                <a:gd name="connsiteY23" fmla="*/ 84198 h 8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0585" h="84197">
                  <a:moveTo>
                    <a:pt x="251433" y="84198"/>
                  </a:moveTo>
                  <a:cubicBezTo>
                    <a:pt x="251433" y="84198"/>
                    <a:pt x="251433" y="84198"/>
                    <a:pt x="251433" y="84198"/>
                  </a:cubicBezTo>
                  <a:cubicBezTo>
                    <a:pt x="230077" y="81147"/>
                    <a:pt x="211772" y="75045"/>
                    <a:pt x="196518" y="59791"/>
                  </a:cubicBezTo>
                  <a:cubicBezTo>
                    <a:pt x="193467" y="56740"/>
                    <a:pt x="190416" y="53689"/>
                    <a:pt x="187365" y="50638"/>
                  </a:cubicBezTo>
                  <a:cubicBezTo>
                    <a:pt x="178213" y="41486"/>
                    <a:pt x="169060" y="32333"/>
                    <a:pt x="156857" y="32333"/>
                  </a:cubicBezTo>
                  <a:cubicBezTo>
                    <a:pt x="147704" y="32333"/>
                    <a:pt x="141603" y="35384"/>
                    <a:pt x="132450" y="38435"/>
                  </a:cubicBezTo>
                  <a:cubicBezTo>
                    <a:pt x="123298" y="44537"/>
                    <a:pt x="111094" y="47587"/>
                    <a:pt x="98891" y="47587"/>
                  </a:cubicBezTo>
                  <a:cubicBezTo>
                    <a:pt x="86687" y="44537"/>
                    <a:pt x="80586" y="35384"/>
                    <a:pt x="71433" y="29282"/>
                  </a:cubicBezTo>
                  <a:cubicBezTo>
                    <a:pt x="65332" y="23181"/>
                    <a:pt x="59230" y="17079"/>
                    <a:pt x="53128" y="14028"/>
                  </a:cubicBezTo>
                  <a:cubicBezTo>
                    <a:pt x="43976" y="10977"/>
                    <a:pt x="34823" y="10977"/>
                    <a:pt x="25670" y="17079"/>
                  </a:cubicBezTo>
                  <a:cubicBezTo>
                    <a:pt x="16518" y="23181"/>
                    <a:pt x="13467" y="32333"/>
                    <a:pt x="10416" y="44537"/>
                  </a:cubicBezTo>
                  <a:cubicBezTo>
                    <a:pt x="10416" y="47587"/>
                    <a:pt x="7365" y="50638"/>
                    <a:pt x="4315" y="47587"/>
                  </a:cubicBezTo>
                  <a:cubicBezTo>
                    <a:pt x="1264" y="47587"/>
                    <a:pt x="-1787" y="44537"/>
                    <a:pt x="1264" y="41486"/>
                  </a:cubicBezTo>
                  <a:cubicBezTo>
                    <a:pt x="4315" y="29282"/>
                    <a:pt x="10416" y="17079"/>
                    <a:pt x="22620" y="7926"/>
                  </a:cubicBezTo>
                  <a:cubicBezTo>
                    <a:pt x="34823" y="-1226"/>
                    <a:pt x="50077" y="-1226"/>
                    <a:pt x="62281" y="1825"/>
                  </a:cubicBezTo>
                  <a:cubicBezTo>
                    <a:pt x="71433" y="7926"/>
                    <a:pt x="77535" y="14028"/>
                    <a:pt x="83637" y="23181"/>
                  </a:cubicBezTo>
                  <a:cubicBezTo>
                    <a:pt x="89738" y="29282"/>
                    <a:pt x="95840" y="35384"/>
                    <a:pt x="104993" y="38435"/>
                  </a:cubicBezTo>
                  <a:cubicBezTo>
                    <a:pt x="114145" y="41486"/>
                    <a:pt x="123298" y="35384"/>
                    <a:pt x="132450" y="32333"/>
                  </a:cubicBezTo>
                  <a:cubicBezTo>
                    <a:pt x="141603" y="26231"/>
                    <a:pt x="150755" y="23181"/>
                    <a:pt x="162959" y="23181"/>
                  </a:cubicBezTo>
                  <a:cubicBezTo>
                    <a:pt x="178213" y="23181"/>
                    <a:pt x="190416" y="35384"/>
                    <a:pt x="199569" y="44537"/>
                  </a:cubicBezTo>
                  <a:cubicBezTo>
                    <a:pt x="202620" y="47587"/>
                    <a:pt x="205670" y="50638"/>
                    <a:pt x="208721" y="53689"/>
                  </a:cubicBezTo>
                  <a:cubicBezTo>
                    <a:pt x="220925" y="65892"/>
                    <a:pt x="239230" y="71994"/>
                    <a:pt x="254484" y="75045"/>
                  </a:cubicBezTo>
                  <a:cubicBezTo>
                    <a:pt x="257535" y="75045"/>
                    <a:pt x="260586" y="78096"/>
                    <a:pt x="260586" y="81147"/>
                  </a:cubicBezTo>
                  <a:cubicBezTo>
                    <a:pt x="257535" y="81147"/>
                    <a:pt x="254484" y="84198"/>
                    <a:pt x="251433" y="84198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5" name="任意多边形: 形状 344">
              <a:extLst>
                <a:ext uri="{FF2B5EF4-FFF2-40B4-BE49-F238E27FC236}">
                  <a16:creationId xmlns:a16="http://schemas.microsoft.com/office/drawing/2014/main" id="{568013E7-CEE9-4EAB-A71F-7CB31536D86D}"/>
                </a:ext>
              </a:extLst>
            </p:cNvPr>
            <p:cNvSpPr/>
            <p:nvPr/>
          </p:nvSpPr>
          <p:spPr>
            <a:xfrm>
              <a:off x="3801479" y="1784123"/>
              <a:ext cx="289067" cy="87086"/>
            </a:xfrm>
            <a:custGeom>
              <a:avLst/>
              <a:gdLst>
                <a:gd name="connsiteX0" fmla="*/ 282966 w 289067"/>
                <a:gd name="connsiteY0" fmla="*/ 87087 h 87086"/>
                <a:gd name="connsiteX1" fmla="*/ 276864 w 289067"/>
                <a:gd name="connsiteY1" fmla="*/ 80985 h 87086"/>
                <a:gd name="connsiteX2" fmla="*/ 264661 w 289067"/>
                <a:gd name="connsiteY2" fmla="*/ 62680 h 87086"/>
                <a:gd name="connsiteX3" fmla="*/ 212797 w 289067"/>
                <a:gd name="connsiteY3" fmla="*/ 50477 h 87086"/>
                <a:gd name="connsiteX4" fmla="*/ 163983 w 289067"/>
                <a:gd name="connsiteY4" fmla="*/ 29121 h 87086"/>
                <a:gd name="connsiteX5" fmla="*/ 139576 w 289067"/>
                <a:gd name="connsiteY5" fmla="*/ 13866 h 87086"/>
                <a:gd name="connsiteX6" fmla="*/ 96864 w 289067"/>
                <a:gd name="connsiteY6" fmla="*/ 29121 h 87086"/>
                <a:gd name="connsiteX7" fmla="*/ 57203 w 289067"/>
                <a:gd name="connsiteY7" fmla="*/ 35222 h 87086"/>
                <a:gd name="connsiteX8" fmla="*/ 11441 w 289067"/>
                <a:gd name="connsiteY8" fmla="*/ 50477 h 87086"/>
                <a:gd name="connsiteX9" fmla="*/ 2288 w 289067"/>
                <a:gd name="connsiteY9" fmla="*/ 50477 h 87086"/>
                <a:gd name="connsiteX10" fmla="*/ 2288 w 289067"/>
                <a:gd name="connsiteY10" fmla="*/ 41324 h 87086"/>
                <a:gd name="connsiteX11" fmla="*/ 63305 w 289067"/>
                <a:gd name="connsiteY11" fmla="*/ 19968 h 87086"/>
                <a:gd name="connsiteX12" fmla="*/ 90763 w 289067"/>
                <a:gd name="connsiteY12" fmla="*/ 13866 h 87086"/>
                <a:gd name="connsiteX13" fmla="*/ 145678 w 289067"/>
                <a:gd name="connsiteY13" fmla="*/ 1663 h 87086"/>
                <a:gd name="connsiteX14" fmla="*/ 173136 w 289067"/>
                <a:gd name="connsiteY14" fmla="*/ 16917 h 87086"/>
                <a:gd name="connsiteX15" fmla="*/ 212797 w 289067"/>
                <a:gd name="connsiteY15" fmla="*/ 35222 h 87086"/>
                <a:gd name="connsiteX16" fmla="*/ 273814 w 289067"/>
                <a:gd name="connsiteY16" fmla="*/ 50477 h 87086"/>
                <a:gd name="connsiteX17" fmla="*/ 289068 w 289067"/>
                <a:gd name="connsiteY17" fmla="*/ 77934 h 87086"/>
                <a:gd name="connsiteX18" fmla="*/ 282966 w 289067"/>
                <a:gd name="connsiteY18" fmla="*/ 87087 h 87086"/>
                <a:gd name="connsiteX19" fmla="*/ 282966 w 289067"/>
                <a:gd name="connsiteY19" fmla="*/ 87087 h 8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067" h="87086">
                  <a:moveTo>
                    <a:pt x="282966" y="87087"/>
                  </a:moveTo>
                  <a:cubicBezTo>
                    <a:pt x="279915" y="87087"/>
                    <a:pt x="276864" y="84036"/>
                    <a:pt x="276864" y="80985"/>
                  </a:cubicBezTo>
                  <a:cubicBezTo>
                    <a:pt x="276864" y="71832"/>
                    <a:pt x="273814" y="65731"/>
                    <a:pt x="264661" y="62680"/>
                  </a:cubicBezTo>
                  <a:cubicBezTo>
                    <a:pt x="249407" y="50477"/>
                    <a:pt x="225000" y="50477"/>
                    <a:pt x="212797" y="50477"/>
                  </a:cubicBezTo>
                  <a:cubicBezTo>
                    <a:pt x="197542" y="53527"/>
                    <a:pt x="179237" y="41324"/>
                    <a:pt x="163983" y="29121"/>
                  </a:cubicBezTo>
                  <a:cubicBezTo>
                    <a:pt x="154830" y="23019"/>
                    <a:pt x="145678" y="16917"/>
                    <a:pt x="139576" y="13866"/>
                  </a:cubicBezTo>
                  <a:cubicBezTo>
                    <a:pt x="121271" y="13866"/>
                    <a:pt x="109068" y="19968"/>
                    <a:pt x="96864" y="29121"/>
                  </a:cubicBezTo>
                  <a:cubicBezTo>
                    <a:pt x="84661" y="35222"/>
                    <a:pt x="72458" y="44375"/>
                    <a:pt x="57203" y="35222"/>
                  </a:cubicBezTo>
                  <a:cubicBezTo>
                    <a:pt x="35847" y="23019"/>
                    <a:pt x="11441" y="50477"/>
                    <a:pt x="11441" y="50477"/>
                  </a:cubicBezTo>
                  <a:cubicBezTo>
                    <a:pt x="8390" y="53527"/>
                    <a:pt x="5339" y="53527"/>
                    <a:pt x="2288" y="50477"/>
                  </a:cubicBezTo>
                  <a:cubicBezTo>
                    <a:pt x="-763" y="47426"/>
                    <a:pt x="-763" y="44375"/>
                    <a:pt x="2288" y="41324"/>
                  </a:cubicBezTo>
                  <a:cubicBezTo>
                    <a:pt x="2288" y="41324"/>
                    <a:pt x="32797" y="4714"/>
                    <a:pt x="63305" y="19968"/>
                  </a:cubicBezTo>
                  <a:cubicBezTo>
                    <a:pt x="72458" y="26070"/>
                    <a:pt x="78559" y="19968"/>
                    <a:pt x="90763" y="13866"/>
                  </a:cubicBezTo>
                  <a:cubicBezTo>
                    <a:pt x="102966" y="7765"/>
                    <a:pt x="118220" y="-4439"/>
                    <a:pt x="145678" y="1663"/>
                  </a:cubicBezTo>
                  <a:cubicBezTo>
                    <a:pt x="154830" y="1663"/>
                    <a:pt x="163983" y="10816"/>
                    <a:pt x="173136" y="16917"/>
                  </a:cubicBezTo>
                  <a:cubicBezTo>
                    <a:pt x="185339" y="26070"/>
                    <a:pt x="203644" y="38273"/>
                    <a:pt x="212797" y="35222"/>
                  </a:cubicBezTo>
                  <a:cubicBezTo>
                    <a:pt x="228051" y="32171"/>
                    <a:pt x="255509" y="35222"/>
                    <a:pt x="273814" y="50477"/>
                  </a:cubicBezTo>
                  <a:cubicBezTo>
                    <a:pt x="282966" y="56578"/>
                    <a:pt x="289068" y="65731"/>
                    <a:pt x="289068" y="77934"/>
                  </a:cubicBezTo>
                  <a:cubicBezTo>
                    <a:pt x="289068" y="84036"/>
                    <a:pt x="286017" y="87087"/>
                    <a:pt x="282966" y="87087"/>
                  </a:cubicBezTo>
                  <a:cubicBezTo>
                    <a:pt x="282966" y="87087"/>
                    <a:pt x="282966" y="87087"/>
                    <a:pt x="282966" y="87087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6" name="图形 114">
              <a:extLst>
                <a:ext uri="{FF2B5EF4-FFF2-40B4-BE49-F238E27FC236}">
                  <a16:creationId xmlns:a16="http://schemas.microsoft.com/office/drawing/2014/main" id="{9B118E89-9211-4851-A00F-787C4806825E}"/>
                </a:ext>
              </a:extLst>
            </p:cNvPr>
            <p:cNvGrpSpPr/>
            <p:nvPr/>
          </p:nvGrpSpPr>
          <p:grpSpPr>
            <a:xfrm>
              <a:off x="2833436" y="5873922"/>
              <a:ext cx="433262" cy="553757"/>
              <a:chOff x="2833436" y="5873922"/>
              <a:chExt cx="433262" cy="553757"/>
            </a:xfrm>
          </p:grpSpPr>
          <p:sp>
            <p:nvSpPr>
              <p:cNvPr id="347" name="任意多边形: 形状 346">
                <a:extLst>
                  <a:ext uri="{FF2B5EF4-FFF2-40B4-BE49-F238E27FC236}">
                    <a16:creationId xmlns:a16="http://schemas.microsoft.com/office/drawing/2014/main" id="{8570B6B7-6574-4DF6-9029-E0D03ECB6E00}"/>
                  </a:ext>
                </a:extLst>
              </p:cNvPr>
              <p:cNvSpPr/>
              <p:nvPr/>
            </p:nvSpPr>
            <p:spPr>
              <a:xfrm>
                <a:off x="2922072" y="5873922"/>
                <a:ext cx="265423" cy="256271"/>
              </a:xfrm>
              <a:custGeom>
                <a:avLst/>
                <a:gdLst>
                  <a:gd name="connsiteX0" fmla="*/ 12203 w 265423"/>
                  <a:gd name="connsiteY0" fmla="*/ 155593 h 256271"/>
                  <a:gd name="connsiteX1" fmla="*/ 112881 w 265423"/>
                  <a:gd name="connsiteY1" fmla="*/ 0 h 256271"/>
                  <a:gd name="connsiteX2" fmla="*/ 265424 w 265423"/>
                  <a:gd name="connsiteY2" fmla="*/ 103729 h 256271"/>
                  <a:gd name="connsiteX3" fmla="*/ 140339 w 265423"/>
                  <a:gd name="connsiteY3" fmla="*/ 256271 h 256271"/>
                  <a:gd name="connsiteX4" fmla="*/ 0 w 265423"/>
                  <a:gd name="connsiteY4" fmla="*/ 195255 h 256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5423" h="256271">
                    <a:moveTo>
                      <a:pt x="12203" y="155593"/>
                    </a:moveTo>
                    <a:lnTo>
                      <a:pt x="112881" y="0"/>
                    </a:lnTo>
                    <a:lnTo>
                      <a:pt x="265424" y="103729"/>
                    </a:lnTo>
                    <a:lnTo>
                      <a:pt x="140339" y="256271"/>
                    </a:lnTo>
                    <a:lnTo>
                      <a:pt x="0" y="195255"/>
                    </a:ln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8" name="任意多边形: 形状 347">
                <a:extLst>
                  <a:ext uri="{FF2B5EF4-FFF2-40B4-BE49-F238E27FC236}">
                    <a16:creationId xmlns:a16="http://schemas.microsoft.com/office/drawing/2014/main" id="{9C8248DB-F5FB-4508-A914-1282D0FECB64}"/>
                  </a:ext>
                </a:extLst>
              </p:cNvPr>
              <p:cNvSpPr/>
              <p:nvPr/>
            </p:nvSpPr>
            <p:spPr>
              <a:xfrm>
                <a:off x="2858005" y="6020363"/>
                <a:ext cx="408694" cy="372203"/>
              </a:xfrm>
              <a:custGeom>
                <a:avLst/>
                <a:gdLst>
                  <a:gd name="connsiteX0" fmla="*/ 64068 w 408694"/>
                  <a:gd name="connsiteY0" fmla="*/ 0 h 372203"/>
                  <a:gd name="connsiteX1" fmla="*/ 244068 w 408694"/>
                  <a:gd name="connsiteY1" fmla="*/ 67119 h 372203"/>
                  <a:gd name="connsiteX2" fmla="*/ 308136 w 408694"/>
                  <a:gd name="connsiteY2" fmla="*/ 210509 h 372203"/>
                  <a:gd name="connsiteX3" fmla="*/ 402712 w 408694"/>
                  <a:gd name="connsiteY3" fmla="*/ 372203 h 372203"/>
                  <a:gd name="connsiteX4" fmla="*/ 0 w 408694"/>
                  <a:gd name="connsiteY4" fmla="*/ 94576 h 372203"/>
                  <a:gd name="connsiteX5" fmla="*/ 64068 w 408694"/>
                  <a:gd name="connsiteY5" fmla="*/ 0 h 372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8694" h="372203">
                    <a:moveTo>
                      <a:pt x="64068" y="0"/>
                    </a:moveTo>
                    <a:cubicBezTo>
                      <a:pt x="64068" y="0"/>
                      <a:pt x="155593" y="85424"/>
                      <a:pt x="244068" y="67119"/>
                    </a:cubicBezTo>
                    <a:cubicBezTo>
                      <a:pt x="244068" y="67119"/>
                      <a:pt x="274576" y="176949"/>
                      <a:pt x="308136" y="210509"/>
                    </a:cubicBezTo>
                    <a:cubicBezTo>
                      <a:pt x="338644" y="244068"/>
                      <a:pt x="433220" y="305085"/>
                      <a:pt x="402712" y="372203"/>
                    </a:cubicBezTo>
                    <a:lnTo>
                      <a:pt x="0" y="94576"/>
                    </a:lnTo>
                    <a:cubicBezTo>
                      <a:pt x="0" y="94576"/>
                      <a:pt x="21356" y="33560"/>
                      <a:pt x="64068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9" name="任意多边形: 形状 348">
                <a:extLst>
                  <a:ext uri="{FF2B5EF4-FFF2-40B4-BE49-F238E27FC236}">
                    <a16:creationId xmlns:a16="http://schemas.microsoft.com/office/drawing/2014/main" id="{6B10E6BE-3FEE-427A-BD05-B04ED193DF09}"/>
                  </a:ext>
                </a:extLst>
              </p:cNvPr>
              <p:cNvSpPr/>
              <p:nvPr/>
            </p:nvSpPr>
            <p:spPr>
              <a:xfrm rot="-3319574">
                <a:off x="3024293" y="6025945"/>
                <a:ext cx="45762" cy="488132"/>
              </a:xfrm>
              <a:custGeom>
                <a:avLst/>
                <a:gdLst>
                  <a:gd name="connsiteX0" fmla="*/ 0 w 45762"/>
                  <a:gd name="connsiteY0" fmla="*/ 0 h 488132"/>
                  <a:gd name="connsiteX1" fmla="*/ 45762 w 45762"/>
                  <a:gd name="connsiteY1" fmla="*/ 0 h 488132"/>
                  <a:gd name="connsiteX2" fmla="*/ 45762 w 45762"/>
                  <a:gd name="connsiteY2" fmla="*/ 488133 h 488132"/>
                  <a:gd name="connsiteX3" fmla="*/ 0 w 45762"/>
                  <a:gd name="connsiteY3" fmla="*/ 488133 h 488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762" h="488132">
                    <a:moveTo>
                      <a:pt x="0" y="0"/>
                    </a:moveTo>
                    <a:lnTo>
                      <a:pt x="45762" y="0"/>
                    </a:lnTo>
                    <a:lnTo>
                      <a:pt x="45762" y="488133"/>
                    </a:lnTo>
                    <a:lnTo>
                      <a:pt x="0" y="488133"/>
                    </a:lnTo>
                    <a:close/>
                  </a:path>
                </a:pathLst>
              </a:custGeom>
              <a:solidFill>
                <a:srgbClr val="38333D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0" name="任意多边形: 形状 349">
                <a:extLst>
                  <a:ext uri="{FF2B5EF4-FFF2-40B4-BE49-F238E27FC236}">
                    <a16:creationId xmlns:a16="http://schemas.microsoft.com/office/drawing/2014/main" id="{8262C344-BA6C-433B-A90F-3E4477432C34}"/>
                  </a:ext>
                </a:extLst>
              </p:cNvPr>
              <p:cNvSpPr/>
              <p:nvPr/>
            </p:nvSpPr>
            <p:spPr>
              <a:xfrm>
                <a:off x="2916733" y="6015024"/>
                <a:ext cx="191440" cy="81610"/>
              </a:xfrm>
              <a:custGeom>
                <a:avLst/>
                <a:gdLst>
                  <a:gd name="connsiteX0" fmla="*/ 167034 w 191440"/>
                  <a:gd name="connsiteY0" fmla="*/ 81610 h 81610"/>
                  <a:gd name="connsiteX1" fmla="*/ 2288 w 191440"/>
                  <a:gd name="connsiteY1" fmla="*/ 11440 h 81610"/>
                  <a:gd name="connsiteX2" fmla="*/ 2288 w 191440"/>
                  <a:gd name="connsiteY2" fmla="*/ 2288 h 81610"/>
                  <a:gd name="connsiteX3" fmla="*/ 11441 w 191440"/>
                  <a:gd name="connsiteY3" fmla="*/ 2288 h 81610"/>
                  <a:gd name="connsiteX4" fmla="*/ 185339 w 191440"/>
                  <a:gd name="connsiteY4" fmla="*/ 69407 h 81610"/>
                  <a:gd name="connsiteX5" fmla="*/ 191441 w 191440"/>
                  <a:gd name="connsiteY5" fmla="*/ 75508 h 81610"/>
                  <a:gd name="connsiteX6" fmla="*/ 185339 w 191440"/>
                  <a:gd name="connsiteY6" fmla="*/ 81610 h 81610"/>
                  <a:gd name="connsiteX7" fmla="*/ 167034 w 191440"/>
                  <a:gd name="connsiteY7" fmla="*/ 81610 h 8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1440" h="81610">
                    <a:moveTo>
                      <a:pt x="167034" y="81610"/>
                    </a:moveTo>
                    <a:cubicBezTo>
                      <a:pt x="78559" y="81610"/>
                      <a:pt x="5339" y="14491"/>
                      <a:pt x="2288" y="11440"/>
                    </a:cubicBezTo>
                    <a:cubicBezTo>
                      <a:pt x="-763" y="8390"/>
                      <a:pt x="-763" y="5339"/>
                      <a:pt x="2288" y="2288"/>
                    </a:cubicBezTo>
                    <a:cubicBezTo>
                      <a:pt x="5339" y="-763"/>
                      <a:pt x="8390" y="-763"/>
                      <a:pt x="11441" y="2288"/>
                    </a:cubicBezTo>
                    <a:cubicBezTo>
                      <a:pt x="11441" y="2288"/>
                      <a:pt x="93814" y="78559"/>
                      <a:pt x="185339" y="69407"/>
                    </a:cubicBezTo>
                    <a:cubicBezTo>
                      <a:pt x="188390" y="69407"/>
                      <a:pt x="191441" y="72457"/>
                      <a:pt x="191441" y="75508"/>
                    </a:cubicBezTo>
                    <a:cubicBezTo>
                      <a:pt x="191441" y="78559"/>
                      <a:pt x="188390" y="81610"/>
                      <a:pt x="185339" y="81610"/>
                    </a:cubicBezTo>
                    <a:cubicBezTo>
                      <a:pt x="179237" y="81610"/>
                      <a:pt x="173136" y="81610"/>
                      <a:pt x="167034" y="8161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1" name="任意多边形: 形状 350">
                <a:extLst>
                  <a:ext uri="{FF2B5EF4-FFF2-40B4-BE49-F238E27FC236}">
                    <a16:creationId xmlns:a16="http://schemas.microsoft.com/office/drawing/2014/main" id="{E12DA6B3-784A-4B05-8A9E-EFC75BC9F6AF}"/>
                  </a:ext>
                </a:extLst>
              </p:cNvPr>
              <p:cNvSpPr/>
              <p:nvPr/>
            </p:nvSpPr>
            <p:spPr>
              <a:xfrm>
                <a:off x="3074615" y="6130193"/>
                <a:ext cx="45762" cy="15254"/>
              </a:xfrm>
              <a:custGeom>
                <a:avLst/>
                <a:gdLst>
                  <a:gd name="connsiteX0" fmla="*/ 6102 w 45762"/>
                  <a:gd name="connsiteY0" fmla="*/ 15254 h 15254"/>
                  <a:gd name="connsiteX1" fmla="*/ 0 w 45762"/>
                  <a:gd name="connsiteY1" fmla="*/ 12203 h 15254"/>
                  <a:gd name="connsiteX2" fmla="*/ 3051 w 45762"/>
                  <a:gd name="connsiteY2" fmla="*/ 6102 h 15254"/>
                  <a:gd name="connsiteX3" fmla="*/ 39661 w 45762"/>
                  <a:gd name="connsiteY3" fmla="*/ 0 h 15254"/>
                  <a:gd name="connsiteX4" fmla="*/ 45763 w 45762"/>
                  <a:gd name="connsiteY4" fmla="*/ 3051 h 15254"/>
                  <a:gd name="connsiteX5" fmla="*/ 42712 w 45762"/>
                  <a:gd name="connsiteY5" fmla="*/ 9153 h 15254"/>
                  <a:gd name="connsiteX6" fmla="*/ 6102 w 45762"/>
                  <a:gd name="connsiteY6" fmla="*/ 15254 h 15254"/>
                  <a:gd name="connsiteX7" fmla="*/ 6102 w 45762"/>
                  <a:gd name="connsiteY7" fmla="*/ 15254 h 1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762" h="15254">
                    <a:moveTo>
                      <a:pt x="6102" y="15254"/>
                    </a:moveTo>
                    <a:cubicBezTo>
                      <a:pt x="3051" y="15254"/>
                      <a:pt x="0" y="12203"/>
                      <a:pt x="0" y="12203"/>
                    </a:cubicBezTo>
                    <a:cubicBezTo>
                      <a:pt x="0" y="9153"/>
                      <a:pt x="0" y="6102"/>
                      <a:pt x="3051" y="6102"/>
                    </a:cubicBezTo>
                    <a:lnTo>
                      <a:pt x="39661" y="0"/>
                    </a:lnTo>
                    <a:cubicBezTo>
                      <a:pt x="42712" y="0"/>
                      <a:pt x="45763" y="0"/>
                      <a:pt x="45763" y="3051"/>
                    </a:cubicBezTo>
                    <a:cubicBezTo>
                      <a:pt x="45763" y="6102"/>
                      <a:pt x="45763" y="9153"/>
                      <a:pt x="42712" y="9153"/>
                    </a:cubicBezTo>
                    <a:lnTo>
                      <a:pt x="6102" y="15254"/>
                    </a:lnTo>
                    <a:cubicBezTo>
                      <a:pt x="6102" y="15254"/>
                      <a:pt x="6102" y="15254"/>
                      <a:pt x="6102" y="1525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2" name="任意多边形: 形状 351">
                <a:extLst>
                  <a:ext uri="{FF2B5EF4-FFF2-40B4-BE49-F238E27FC236}">
                    <a16:creationId xmlns:a16="http://schemas.microsoft.com/office/drawing/2014/main" id="{C96032C1-2DEE-4984-BED2-633ECA6AD353}"/>
                  </a:ext>
                </a:extLst>
              </p:cNvPr>
              <p:cNvSpPr/>
              <p:nvPr/>
            </p:nvSpPr>
            <p:spPr>
              <a:xfrm>
                <a:off x="3089869" y="6172905"/>
                <a:ext cx="45762" cy="15254"/>
              </a:xfrm>
              <a:custGeom>
                <a:avLst/>
                <a:gdLst>
                  <a:gd name="connsiteX0" fmla="*/ 6102 w 45762"/>
                  <a:gd name="connsiteY0" fmla="*/ 15254 h 15254"/>
                  <a:gd name="connsiteX1" fmla="*/ 0 w 45762"/>
                  <a:gd name="connsiteY1" fmla="*/ 12204 h 15254"/>
                  <a:gd name="connsiteX2" fmla="*/ 3051 w 45762"/>
                  <a:gd name="connsiteY2" fmla="*/ 6102 h 15254"/>
                  <a:gd name="connsiteX3" fmla="*/ 39661 w 45762"/>
                  <a:gd name="connsiteY3" fmla="*/ 0 h 15254"/>
                  <a:gd name="connsiteX4" fmla="*/ 45763 w 45762"/>
                  <a:gd name="connsiteY4" fmla="*/ 3051 h 15254"/>
                  <a:gd name="connsiteX5" fmla="*/ 42712 w 45762"/>
                  <a:gd name="connsiteY5" fmla="*/ 9153 h 15254"/>
                  <a:gd name="connsiteX6" fmla="*/ 6102 w 45762"/>
                  <a:gd name="connsiteY6" fmla="*/ 15254 h 15254"/>
                  <a:gd name="connsiteX7" fmla="*/ 6102 w 45762"/>
                  <a:gd name="connsiteY7" fmla="*/ 15254 h 1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762" h="15254">
                    <a:moveTo>
                      <a:pt x="6102" y="15254"/>
                    </a:moveTo>
                    <a:cubicBezTo>
                      <a:pt x="3051" y="15254"/>
                      <a:pt x="0" y="12204"/>
                      <a:pt x="0" y="12204"/>
                    </a:cubicBezTo>
                    <a:cubicBezTo>
                      <a:pt x="0" y="9153"/>
                      <a:pt x="0" y="6102"/>
                      <a:pt x="3051" y="6102"/>
                    </a:cubicBezTo>
                    <a:lnTo>
                      <a:pt x="39661" y="0"/>
                    </a:lnTo>
                    <a:cubicBezTo>
                      <a:pt x="42712" y="0"/>
                      <a:pt x="45763" y="0"/>
                      <a:pt x="45763" y="3051"/>
                    </a:cubicBezTo>
                    <a:cubicBezTo>
                      <a:pt x="45763" y="6102"/>
                      <a:pt x="45763" y="9153"/>
                      <a:pt x="42712" y="9153"/>
                    </a:cubicBezTo>
                    <a:lnTo>
                      <a:pt x="6102" y="15254"/>
                    </a:lnTo>
                    <a:cubicBezTo>
                      <a:pt x="9153" y="15254"/>
                      <a:pt x="6102" y="15254"/>
                      <a:pt x="6102" y="1525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53" name="图形 114">
              <a:extLst>
                <a:ext uri="{FF2B5EF4-FFF2-40B4-BE49-F238E27FC236}">
                  <a16:creationId xmlns:a16="http://schemas.microsoft.com/office/drawing/2014/main" id="{9B118E89-9211-4851-A00F-787C4806825E}"/>
                </a:ext>
              </a:extLst>
            </p:cNvPr>
            <p:cNvGrpSpPr/>
            <p:nvPr/>
          </p:nvGrpSpPr>
          <p:grpSpPr>
            <a:xfrm>
              <a:off x="4066140" y="6221719"/>
              <a:ext cx="497288" cy="344745"/>
              <a:chOff x="4066140" y="6221719"/>
              <a:chExt cx="497288" cy="344745"/>
            </a:xfrm>
          </p:grpSpPr>
          <p:sp>
            <p:nvSpPr>
              <p:cNvPr id="354" name="任意多边形: 形状 353">
                <a:extLst>
                  <a:ext uri="{FF2B5EF4-FFF2-40B4-BE49-F238E27FC236}">
                    <a16:creationId xmlns:a16="http://schemas.microsoft.com/office/drawing/2014/main" id="{11E44B6C-17D5-49FA-B3F8-8A2F35EDF19E}"/>
                  </a:ext>
                </a:extLst>
              </p:cNvPr>
              <p:cNvSpPr/>
              <p:nvPr/>
            </p:nvSpPr>
            <p:spPr>
              <a:xfrm>
                <a:off x="4084445" y="6221719"/>
                <a:ext cx="183050" cy="225762"/>
              </a:xfrm>
              <a:custGeom>
                <a:avLst/>
                <a:gdLst>
                  <a:gd name="connsiteX0" fmla="*/ 3051 w 183050"/>
                  <a:gd name="connsiteY0" fmla="*/ 186101 h 225762"/>
                  <a:gd name="connsiteX1" fmla="*/ 0 w 183050"/>
                  <a:gd name="connsiteY1" fmla="*/ 0 h 225762"/>
                  <a:gd name="connsiteX2" fmla="*/ 183051 w 183050"/>
                  <a:gd name="connsiteY2" fmla="*/ 0 h 225762"/>
                  <a:gd name="connsiteX3" fmla="*/ 167797 w 183050"/>
                  <a:gd name="connsiteY3" fmla="*/ 195254 h 225762"/>
                  <a:gd name="connsiteX4" fmla="*/ 15254 w 183050"/>
                  <a:gd name="connsiteY4" fmla="*/ 225763 h 22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3050" h="225762">
                    <a:moveTo>
                      <a:pt x="3051" y="186101"/>
                    </a:moveTo>
                    <a:lnTo>
                      <a:pt x="0" y="0"/>
                    </a:lnTo>
                    <a:lnTo>
                      <a:pt x="183051" y="0"/>
                    </a:lnTo>
                    <a:lnTo>
                      <a:pt x="167797" y="195254"/>
                    </a:lnTo>
                    <a:lnTo>
                      <a:pt x="15254" y="225763"/>
                    </a:ln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5" name="任意多边形: 形状 354">
                <a:extLst>
                  <a:ext uri="{FF2B5EF4-FFF2-40B4-BE49-F238E27FC236}">
                    <a16:creationId xmlns:a16="http://schemas.microsoft.com/office/drawing/2014/main" id="{8386D89B-62F4-4264-A3AE-7C56FE445DE2}"/>
                  </a:ext>
                </a:extLst>
              </p:cNvPr>
              <p:cNvSpPr/>
              <p:nvPr/>
            </p:nvSpPr>
            <p:spPr>
              <a:xfrm>
                <a:off x="4067157" y="6362057"/>
                <a:ext cx="496271" cy="158644"/>
              </a:xfrm>
              <a:custGeom>
                <a:avLst/>
                <a:gdLst>
                  <a:gd name="connsiteX0" fmla="*/ 8136 w 496271"/>
                  <a:gd name="connsiteY0" fmla="*/ 45763 h 158644"/>
                  <a:gd name="connsiteX1" fmla="*/ 194237 w 496271"/>
                  <a:gd name="connsiteY1" fmla="*/ 0 h 158644"/>
                  <a:gd name="connsiteX2" fmla="*/ 328475 w 496271"/>
                  <a:gd name="connsiteY2" fmla="*/ 79322 h 158644"/>
                  <a:gd name="connsiteX3" fmla="*/ 496271 w 496271"/>
                  <a:gd name="connsiteY3" fmla="*/ 158644 h 158644"/>
                  <a:gd name="connsiteX4" fmla="*/ 8136 w 496271"/>
                  <a:gd name="connsiteY4" fmla="*/ 158644 h 158644"/>
                  <a:gd name="connsiteX5" fmla="*/ 8136 w 496271"/>
                  <a:gd name="connsiteY5" fmla="*/ 45763 h 158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6271" h="158644">
                    <a:moveTo>
                      <a:pt x="8136" y="45763"/>
                    </a:moveTo>
                    <a:cubicBezTo>
                      <a:pt x="8136" y="45763"/>
                      <a:pt x="133220" y="64068"/>
                      <a:pt x="194237" y="0"/>
                    </a:cubicBezTo>
                    <a:cubicBezTo>
                      <a:pt x="194237" y="0"/>
                      <a:pt x="282712" y="70170"/>
                      <a:pt x="328475" y="79322"/>
                    </a:cubicBezTo>
                    <a:cubicBezTo>
                      <a:pt x="374237" y="88475"/>
                      <a:pt x="484068" y="85424"/>
                      <a:pt x="496271" y="158644"/>
                    </a:cubicBezTo>
                    <a:lnTo>
                      <a:pt x="8136" y="158644"/>
                    </a:lnTo>
                    <a:cubicBezTo>
                      <a:pt x="8136" y="158644"/>
                      <a:pt x="-10169" y="94576"/>
                      <a:pt x="8136" y="4576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6" name="任意多边形: 形状 355">
                <a:extLst>
                  <a:ext uri="{FF2B5EF4-FFF2-40B4-BE49-F238E27FC236}">
                    <a16:creationId xmlns:a16="http://schemas.microsoft.com/office/drawing/2014/main" id="{EEB7AA26-6470-4DA0-A885-4382FC695C55}"/>
                  </a:ext>
                </a:extLst>
              </p:cNvPr>
              <p:cNvSpPr/>
              <p:nvPr/>
            </p:nvSpPr>
            <p:spPr>
              <a:xfrm>
                <a:off x="4075293" y="6520702"/>
                <a:ext cx="488135" cy="45762"/>
              </a:xfrm>
              <a:custGeom>
                <a:avLst/>
                <a:gdLst>
                  <a:gd name="connsiteX0" fmla="*/ 0 w 488135"/>
                  <a:gd name="connsiteY0" fmla="*/ 0 h 45762"/>
                  <a:gd name="connsiteX1" fmla="*/ 488136 w 488135"/>
                  <a:gd name="connsiteY1" fmla="*/ 0 h 45762"/>
                  <a:gd name="connsiteX2" fmla="*/ 488136 w 488135"/>
                  <a:gd name="connsiteY2" fmla="*/ 45763 h 45762"/>
                  <a:gd name="connsiteX3" fmla="*/ 0 w 488135"/>
                  <a:gd name="connsiteY3" fmla="*/ 45763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5" h="45762">
                    <a:moveTo>
                      <a:pt x="0" y="0"/>
                    </a:moveTo>
                    <a:lnTo>
                      <a:pt x="488136" y="0"/>
                    </a:lnTo>
                    <a:lnTo>
                      <a:pt x="488136" y="45763"/>
                    </a:lnTo>
                    <a:lnTo>
                      <a:pt x="0" y="45763"/>
                    </a:lnTo>
                    <a:close/>
                  </a:path>
                </a:pathLst>
              </a:custGeom>
              <a:solidFill>
                <a:srgbClr val="38333D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7" name="任意多边形: 形状 356">
                <a:extLst>
                  <a:ext uri="{FF2B5EF4-FFF2-40B4-BE49-F238E27FC236}">
                    <a16:creationId xmlns:a16="http://schemas.microsoft.com/office/drawing/2014/main" id="{5FFEFAF2-71E8-4A4B-98BA-193861342D6D}"/>
                  </a:ext>
                </a:extLst>
              </p:cNvPr>
              <p:cNvSpPr/>
              <p:nvPr/>
            </p:nvSpPr>
            <p:spPr>
              <a:xfrm>
                <a:off x="4066140" y="6350617"/>
                <a:ext cx="200593" cy="63305"/>
              </a:xfrm>
              <a:custGeom>
                <a:avLst/>
                <a:gdLst>
                  <a:gd name="connsiteX0" fmla="*/ 42712 w 200593"/>
                  <a:gd name="connsiteY0" fmla="*/ 63305 h 63305"/>
                  <a:gd name="connsiteX1" fmla="*/ 6102 w 200593"/>
                  <a:gd name="connsiteY1" fmla="*/ 60254 h 63305"/>
                  <a:gd name="connsiteX2" fmla="*/ 0 w 200593"/>
                  <a:gd name="connsiteY2" fmla="*/ 54153 h 63305"/>
                  <a:gd name="connsiteX3" fmla="*/ 6102 w 200593"/>
                  <a:gd name="connsiteY3" fmla="*/ 48051 h 63305"/>
                  <a:gd name="connsiteX4" fmla="*/ 189153 w 200593"/>
                  <a:gd name="connsiteY4" fmla="*/ 2288 h 63305"/>
                  <a:gd name="connsiteX5" fmla="*/ 198305 w 200593"/>
                  <a:gd name="connsiteY5" fmla="*/ 2288 h 63305"/>
                  <a:gd name="connsiteX6" fmla="*/ 198305 w 200593"/>
                  <a:gd name="connsiteY6" fmla="*/ 11440 h 63305"/>
                  <a:gd name="connsiteX7" fmla="*/ 42712 w 200593"/>
                  <a:gd name="connsiteY7" fmla="*/ 63305 h 63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0593" h="63305">
                    <a:moveTo>
                      <a:pt x="42712" y="63305"/>
                    </a:moveTo>
                    <a:cubicBezTo>
                      <a:pt x="21356" y="63305"/>
                      <a:pt x="9153" y="60254"/>
                      <a:pt x="6102" y="60254"/>
                    </a:cubicBezTo>
                    <a:cubicBezTo>
                      <a:pt x="3051" y="60254"/>
                      <a:pt x="0" y="57203"/>
                      <a:pt x="0" y="54153"/>
                    </a:cubicBezTo>
                    <a:cubicBezTo>
                      <a:pt x="0" y="51102"/>
                      <a:pt x="3051" y="48051"/>
                      <a:pt x="6102" y="48051"/>
                    </a:cubicBezTo>
                    <a:cubicBezTo>
                      <a:pt x="6102" y="48051"/>
                      <a:pt x="118983" y="63305"/>
                      <a:pt x="189153" y="2288"/>
                    </a:cubicBezTo>
                    <a:cubicBezTo>
                      <a:pt x="192203" y="-763"/>
                      <a:pt x="195254" y="-763"/>
                      <a:pt x="198305" y="2288"/>
                    </a:cubicBezTo>
                    <a:cubicBezTo>
                      <a:pt x="201356" y="5339"/>
                      <a:pt x="201356" y="8390"/>
                      <a:pt x="198305" y="11440"/>
                    </a:cubicBezTo>
                    <a:cubicBezTo>
                      <a:pt x="149491" y="57203"/>
                      <a:pt x="85424" y="63305"/>
                      <a:pt x="42712" y="6330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8" name="任意多边形: 形状 357">
                <a:extLst>
                  <a:ext uri="{FF2B5EF4-FFF2-40B4-BE49-F238E27FC236}">
                    <a16:creationId xmlns:a16="http://schemas.microsoft.com/office/drawing/2014/main" id="{8C4003A4-3CD1-4DB1-BD42-21850C08039A}"/>
                  </a:ext>
                </a:extLst>
              </p:cNvPr>
              <p:cNvSpPr/>
              <p:nvPr/>
            </p:nvSpPr>
            <p:spPr>
              <a:xfrm>
                <a:off x="4265208" y="6378074"/>
                <a:ext cx="41186" cy="41949"/>
              </a:xfrm>
              <a:custGeom>
                <a:avLst/>
                <a:gdLst>
                  <a:gd name="connsiteX0" fmla="*/ 5339 w 41186"/>
                  <a:gd name="connsiteY0" fmla="*/ 41949 h 41949"/>
                  <a:gd name="connsiteX1" fmla="*/ 2288 w 41186"/>
                  <a:gd name="connsiteY1" fmla="*/ 38898 h 41949"/>
                  <a:gd name="connsiteX2" fmla="*/ 2288 w 41186"/>
                  <a:gd name="connsiteY2" fmla="*/ 29746 h 41949"/>
                  <a:gd name="connsiteX3" fmla="*/ 29746 w 41186"/>
                  <a:gd name="connsiteY3" fmla="*/ 2288 h 41949"/>
                  <a:gd name="connsiteX4" fmla="*/ 38898 w 41186"/>
                  <a:gd name="connsiteY4" fmla="*/ 2288 h 41949"/>
                  <a:gd name="connsiteX5" fmla="*/ 38898 w 41186"/>
                  <a:gd name="connsiteY5" fmla="*/ 11441 h 41949"/>
                  <a:gd name="connsiteX6" fmla="*/ 11441 w 41186"/>
                  <a:gd name="connsiteY6" fmla="*/ 38898 h 41949"/>
                  <a:gd name="connsiteX7" fmla="*/ 5339 w 41186"/>
                  <a:gd name="connsiteY7" fmla="*/ 41949 h 41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186" h="41949">
                    <a:moveTo>
                      <a:pt x="5339" y="41949"/>
                    </a:moveTo>
                    <a:cubicBezTo>
                      <a:pt x="5339" y="41949"/>
                      <a:pt x="2288" y="41949"/>
                      <a:pt x="2288" y="38898"/>
                    </a:cubicBezTo>
                    <a:cubicBezTo>
                      <a:pt x="-763" y="35848"/>
                      <a:pt x="-763" y="32797"/>
                      <a:pt x="2288" y="29746"/>
                    </a:cubicBezTo>
                    <a:lnTo>
                      <a:pt x="29746" y="2288"/>
                    </a:lnTo>
                    <a:cubicBezTo>
                      <a:pt x="32797" y="-763"/>
                      <a:pt x="35847" y="-763"/>
                      <a:pt x="38898" y="2288"/>
                    </a:cubicBezTo>
                    <a:cubicBezTo>
                      <a:pt x="41949" y="5339"/>
                      <a:pt x="41949" y="8390"/>
                      <a:pt x="38898" y="11441"/>
                    </a:cubicBezTo>
                    <a:lnTo>
                      <a:pt x="11441" y="38898"/>
                    </a:lnTo>
                    <a:cubicBezTo>
                      <a:pt x="8390" y="41949"/>
                      <a:pt x="5339" y="41949"/>
                      <a:pt x="5339" y="4194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9" name="任意多边形: 形状 358">
                <a:extLst>
                  <a:ext uri="{FF2B5EF4-FFF2-40B4-BE49-F238E27FC236}">
                    <a16:creationId xmlns:a16="http://schemas.microsoft.com/office/drawing/2014/main" id="{06169369-67D1-498A-B83D-C87C8D6044BF}"/>
                  </a:ext>
                </a:extLst>
              </p:cNvPr>
              <p:cNvSpPr/>
              <p:nvPr/>
            </p:nvSpPr>
            <p:spPr>
              <a:xfrm>
                <a:off x="4301818" y="6405532"/>
                <a:ext cx="41186" cy="41949"/>
              </a:xfrm>
              <a:custGeom>
                <a:avLst/>
                <a:gdLst>
                  <a:gd name="connsiteX0" fmla="*/ 5339 w 41186"/>
                  <a:gd name="connsiteY0" fmla="*/ 41949 h 41949"/>
                  <a:gd name="connsiteX1" fmla="*/ 2288 w 41186"/>
                  <a:gd name="connsiteY1" fmla="*/ 38898 h 41949"/>
                  <a:gd name="connsiteX2" fmla="*/ 2288 w 41186"/>
                  <a:gd name="connsiteY2" fmla="*/ 29746 h 41949"/>
                  <a:gd name="connsiteX3" fmla="*/ 29746 w 41186"/>
                  <a:gd name="connsiteY3" fmla="*/ 2288 h 41949"/>
                  <a:gd name="connsiteX4" fmla="*/ 38898 w 41186"/>
                  <a:gd name="connsiteY4" fmla="*/ 2288 h 41949"/>
                  <a:gd name="connsiteX5" fmla="*/ 38898 w 41186"/>
                  <a:gd name="connsiteY5" fmla="*/ 11441 h 41949"/>
                  <a:gd name="connsiteX6" fmla="*/ 11441 w 41186"/>
                  <a:gd name="connsiteY6" fmla="*/ 38898 h 41949"/>
                  <a:gd name="connsiteX7" fmla="*/ 5339 w 41186"/>
                  <a:gd name="connsiteY7" fmla="*/ 41949 h 41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186" h="41949">
                    <a:moveTo>
                      <a:pt x="5339" y="41949"/>
                    </a:moveTo>
                    <a:cubicBezTo>
                      <a:pt x="5339" y="41949"/>
                      <a:pt x="2288" y="41949"/>
                      <a:pt x="2288" y="38898"/>
                    </a:cubicBezTo>
                    <a:cubicBezTo>
                      <a:pt x="-763" y="35847"/>
                      <a:pt x="-763" y="32796"/>
                      <a:pt x="2288" y="29746"/>
                    </a:cubicBezTo>
                    <a:lnTo>
                      <a:pt x="29746" y="2288"/>
                    </a:lnTo>
                    <a:cubicBezTo>
                      <a:pt x="32797" y="-763"/>
                      <a:pt x="35847" y="-763"/>
                      <a:pt x="38898" y="2288"/>
                    </a:cubicBezTo>
                    <a:cubicBezTo>
                      <a:pt x="41949" y="5339"/>
                      <a:pt x="41949" y="8390"/>
                      <a:pt x="38898" y="11441"/>
                    </a:cubicBezTo>
                    <a:lnTo>
                      <a:pt x="11441" y="38898"/>
                    </a:lnTo>
                    <a:cubicBezTo>
                      <a:pt x="8390" y="38898"/>
                      <a:pt x="8390" y="41949"/>
                      <a:pt x="5339" y="4194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60" name="任意多边形: 形状 359">
              <a:extLst>
                <a:ext uri="{FF2B5EF4-FFF2-40B4-BE49-F238E27FC236}">
                  <a16:creationId xmlns:a16="http://schemas.microsoft.com/office/drawing/2014/main" id="{6EEA12E3-ADD9-4242-8CAC-D6AE48EF5DF1}"/>
                </a:ext>
              </a:extLst>
            </p:cNvPr>
            <p:cNvSpPr/>
            <p:nvPr/>
          </p:nvSpPr>
          <p:spPr>
            <a:xfrm>
              <a:off x="2934276" y="4006803"/>
              <a:ext cx="1478477" cy="2297288"/>
            </a:xfrm>
            <a:custGeom>
              <a:avLst/>
              <a:gdLst>
                <a:gd name="connsiteX0" fmla="*/ 1470508 w 1478477"/>
                <a:gd name="connsiteY0" fmla="*/ 21356 h 2297288"/>
                <a:gd name="connsiteX1" fmla="*/ 1458305 w 1478477"/>
                <a:gd name="connsiteY1" fmla="*/ 1406441 h 2297288"/>
                <a:gd name="connsiteX2" fmla="*/ 1388136 w 1478477"/>
                <a:gd name="connsiteY2" fmla="*/ 2297288 h 2297288"/>
                <a:gd name="connsiteX3" fmla="*/ 1092203 w 1478477"/>
                <a:gd name="connsiteY3" fmla="*/ 2297288 h 2297288"/>
                <a:gd name="connsiteX4" fmla="*/ 1052542 w 1478477"/>
                <a:gd name="connsiteY4" fmla="*/ 1430848 h 2297288"/>
                <a:gd name="connsiteX5" fmla="*/ 970170 w 1478477"/>
                <a:gd name="connsiteY5" fmla="*/ 503390 h 2297288"/>
                <a:gd name="connsiteX6" fmla="*/ 750509 w 1478477"/>
                <a:gd name="connsiteY6" fmla="*/ 1305763 h 2297288"/>
                <a:gd name="connsiteX7" fmla="*/ 668136 w 1478477"/>
                <a:gd name="connsiteY7" fmla="*/ 1482712 h 2297288"/>
                <a:gd name="connsiteX8" fmla="*/ 256271 w 1478477"/>
                <a:gd name="connsiteY8" fmla="*/ 2068475 h 2297288"/>
                <a:gd name="connsiteX9" fmla="*/ 0 w 1478477"/>
                <a:gd name="connsiteY9" fmla="*/ 1891525 h 2297288"/>
                <a:gd name="connsiteX10" fmla="*/ 350847 w 1478477"/>
                <a:gd name="connsiteY10" fmla="*/ 1266102 h 2297288"/>
                <a:gd name="connsiteX11" fmla="*/ 448475 w 1478477"/>
                <a:gd name="connsiteY11" fmla="*/ 0 h 2297288"/>
                <a:gd name="connsiteX12" fmla="*/ 1470508 w 1478477"/>
                <a:gd name="connsiteY12" fmla="*/ 21356 h 2297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78477" h="2297288">
                  <a:moveTo>
                    <a:pt x="1470508" y="21356"/>
                  </a:moveTo>
                  <a:cubicBezTo>
                    <a:pt x="1470508" y="21356"/>
                    <a:pt x="1494915" y="1095254"/>
                    <a:pt x="1458305" y="1406441"/>
                  </a:cubicBezTo>
                  <a:cubicBezTo>
                    <a:pt x="1427797" y="1677966"/>
                    <a:pt x="1388136" y="2297288"/>
                    <a:pt x="1388136" y="2297288"/>
                  </a:cubicBezTo>
                  <a:lnTo>
                    <a:pt x="1092203" y="2297288"/>
                  </a:lnTo>
                  <a:cubicBezTo>
                    <a:pt x="1092203" y="2297288"/>
                    <a:pt x="1058644" y="1528475"/>
                    <a:pt x="1052542" y="1430848"/>
                  </a:cubicBezTo>
                  <a:cubicBezTo>
                    <a:pt x="1046441" y="1290509"/>
                    <a:pt x="985424" y="533898"/>
                    <a:pt x="970170" y="503390"/>
                  </a:cubicBezTo>
                  <a:cubicBezTo>
                    <a:pt x="957966" y="478983"/>
                    <a:pt x="808475" y="1067797"/>
                    <a:pt x="750509" y="1305763"/>
                  </a:cubicBezTo>
                  <a:cubicBezTo>
                    <a:pt x="735254" y="1369831"/>
                    <a:pt x="707797" y="1427797"/>
                    <a:pt x="668136" y="1482712"/>
                  </a:cubicBezTo>
                  <a:lnTo>
                    <a:pt x="256271" y="2068475"/>
                  </a:lnTo>
                  <a:lnTo>
                    <a:pt x="0" y="1891525"/>
                  </a:lnTo>
                  <a:lnTo>
                    <a:pt x="350847" y="1266102"/>
                  </a:lnTo>
                  <a:cubicBezTo>
                    <a:pt x="350847" y="1266102"/>
                    <a:pt x="402712" y="97627"/>
                    <a:pt x="448475" y="0"/>
                  </a:cubicBezTo>
                  <a:cubicBezTo>
                    <a:pt x="1144068" y="33560"/>
                    <a:pt x="1470508" y="21356"/>
                    <a:pt x="1470508" y="21356"/>
                  </a:cubicBezTo>
                  <a:close/>
                </a:path>
              </a:pathLst>
            </a:custGeom>
            <a:solidFill>
              <a:srgbClr val="F6EBE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1" name="任意多边形: 形状 360">
              <a:extLst>
                <a:ext uri="{FF2B5EF4-FFF2-40B4-BE49-F238E27FC236}">
                  <a16:creationId xmlns:a16="http://schemas.microsoft.com/office/drawing/2014/main" id="{F0805DD1-BA2A-4D08-950E-97C48C914764}"/>
                </a:ext>
              </a:extLst>
            </p:cNvPr>
            <p:cNvSpPr/>
            <p:nvPr/>
          </p:nvSpPr>
          <p:spPr>
            <a:xfrm>
              <a:off x="3901394" y="4150193"/>
              <a:ext cx="70169" cy="366101"/>
            </a:xfrm>
            <a:custGeom>
              <a:avLst/>
              <a:gdLst>
                <a:gd name="connsiteX0" fmla="*/ 6102 w 70169"/>
                <a:gd name="connsiteY0" fmla="*/ 366102 h 366101"/>
                <a:gd name="connsiteX1" fmla="*/ 6102 w 70169"/>
                <a:gd name="connsiteY1" fmla="*/ 366102 h 366101"/>
                <a:gd name="connsiteX2" fmla="*/ 0 w 70169"/>
                <a:gd name="connsiteY2" fmla="*/ 356949 h 366101"/>
                <a:gd name="connsiteX3" fmla="*/ 57966 w 70169"/>
                <a:gd name="connsiteY3" fmla="*/ 6102 h 366101"/>
                <a:gd name="connsiteX4" fmla="*/ 64068 w 70169"/>
                <a:gd name="connsiteY4" fmla="*/ 0 h 366101"/>
                <a:gd name="connsiteX5" fmla="*/ 64068 w 70169"/>
                <a:gd name="connsiteY5" fmla="*/ 0 h 366101"/>
                <a:gd name="connsiteX6" fmla="*/ 70169 w 70169"/>
                <a:gd name="connsiteY6" fmla="*/ 6102 h 366101"/>
                <a:gd name="connsiteX7" fmla="*/ 12203 w 70169"/>
                <a:gd name="connsiteY7" fmla="*/ 360000 h 366101"/>
                <a:gd name="connsiteX8" fmla="*/ 6102 w 70169"/>
                <a:gd name="connsiteY8" fmla="*/ 366102 h 36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169" h="366101">
                  <a:moveTo>
                    <a:pt x="6102" y="366102"/>
                  </a:moveTo>
                  <a:cubicBezTo>
                    <a:pt x="3051" y="366102"/>
                    <a:pt x="3051" y="366102"/>
                    <a:pt x="6102" y="366102"/>
                  </a:cubicBezTo>
                  <a:cubicBezTo>
                    <a:pt x="0" y="363051"/>
                    <a:pt x="0" y="360000"/>
                    <a:pt x="0" y="356949"/>
                  </a:cubicBezTo>
                  <a:cubicBezTo>
                    <a:pt x="48814" y="244068"/>
                    <a:pt x="57966" y="9152"/>
                    <a:pt x="57966" y="6102"/>
                  </a:cubicBezTo>
                  <a:cubicBezTo>
                    <a:pt x="57966" y="3051"/>
                    <a:pt x="61017" y="0"/>
                    <a:pt x="64068" y="0"/>
                  </a:cubicBezTo>
                  <a:cubicBezTo>
                    <a:pt x="64068" y="0"/>
                    <a:pt x="64068" y="0"/>
                    <a:pt x="64068" y="0"/>
                  </a:cubicBezTo>
                  <a:cubicBezTo>
                    <a:pt x="67119" y="0"/>
                    <a:pt x="70169" y="3051"/>
                    <a:pt x="70169" y="6102"/>
                  </a:cubicBezTo>
                  <a:cubicBezTo>
                    <a:pt x="70169" y="15254"/>
                    <a:pt x="61017" y="244068"/>
                    <a:pt x="12203" y="360000"/>
                  </a:cubicBezTo>
                  <a:cubicBezTo>
                    <a:pt x="9153" y="366102"/>
                    <a:pt x="6102" y="366102"/>
                    <a:pt x="6102" y="366102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2" name="任意多边形: 形状 361">
              <a:extLst>
                <a:ext uri="{FF2B5EF4-FFF2-40B4-BE49-F238E27FC236}">
                  <a16:creationId xmlns:a16="http://schemas.microsoft.com/office/drawing/2014/main" id="{912F172B-C9D4-414C-8A78-88ABBC7739D3}"/>
                </a:ext>
              </a:extLst>
            </p:cNvPr>
            <p:cNvSpPr/>
            <p:nvPr/>
          </p:nvSpPr>
          <p:spPr>
            <a:xfrm>
              <a:off x="3927588" y="4080024"/>
              <a:ext cx="156856" cy="356949"/>
            </a:xfrm>
            <a:custGeom>
              <a:avLst/>
              <a:gdLst>
                <a:gd name="connsiteX0" fmla="*/ 7365 w 156856"/>
                <a:gd name="connsiteY0" fmla="*/ 356949 h 356949"/>
                <a:gd name="connsiteX1" fmla="*/ 1264 w 156856"/>
                <a:gd name="connsiteY1" fmla="*/ 353898 h 356949"/>
                <a:gd name="connsiteX2" fmla="*/ 4315 w 156856"/>
                <a:gd name="connsiteY2" fmla="*/ 344746 h 356949"/>
                <a:gd name="connsiteX3" fmla="*/ 111094 w 156856"/>
                <a:gd name="connsiteY3" fmla="*/ 268475 h 356949"/>
                <a:gd name="connsiteX4" fmla="*/ 144654 w 156856"/>
                <a:gd name="connsiteY4" fmla="*/ 6102 h 356949"/>
                <a:gd name="connsiteX5" fmla="*/ 150755 w 156856"/>
                <a:gd name="connsiteY5" fmla="*/ 0 h 356949"/>
                <a:gd name="connsiteX6" fmla="*/ 156857 w 156856"/>
                <a:gd name="connsiteY6" fmla="*/ 6102 h 356949"/>
                <a:gd name="connsiteX7" fmla="*/ 123298 w 156856"/>
                <a:gd name="connsiteY7" fmla="*/ 274576 h 356949"/>
                <a:gd name="connsiteX8" fmla="*/ 13467 w 156856"/>
                <a:gd name="connsiteY8" fmla="*/ 353898 h 356949"/>
                <a:gd name="connsiteX9" fmla="*/ 7365 w 156856"/>
                <a:gd name="connsiteY9" fmla="*/ 356949 h 35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856" h="356949">
                  <a:moveTo>
                    <a:pt x="7365" y="356949"/>
                  </a:moveTo>
                  <a:cubicBezTo>
                    <a:pt x="4315" y="356949"/>
                    <a:pt x="4315" y="356949"/>
                    <a:pt x="1264" y="353898"/>
                  </a:cubicBezTo>
                  <a:cubicBezTo>
                    <a:pt x="-1787" y="350847"/>
                    <a:pt x="1264" y="347797"/>
                    <a:pt x="4315" y="344746"/>
                  </a:cubicBezTo>
                  <a:cubicBezTo>
                    <a:pt x="43976" y="320339"/>
                    <a:pt x="101942" y="277627"/>
                    <a:pt x="111094" y="268475"/>
                  </a:cubicBezTo>
                  <a:cubicBezTo>
                    <a:pt x="120247" y="256271"/>
                    <a:pt x="135501" y="100678"/>
                    <a:pt x="144654" y="6102"/>
                  </a:cubicBezTo>
                  <a:cubicBezTo>
                    <a:pt x="144654" y="3051"/>
                    <a:pt x="147704" y="0"/>
                    <a:pt x="150755" y="0"/>
                  </a:cubicBezTo>
                  <a:cubicBezTo>
                    <a:pt x="153806" y="0"/>
                    <a:pt x="156857" y="3051"/>
                    <a:pt x="156857" y="6102"/>
                  </a:cubicBezTo>
                  <a:cubicBezTo>
                    <a:pt x="153806" y="48814"/>
                    <a:pt x="132450" y="259322"/>
                    <a:pt x="123298" y="274576"/>
                  </a:cubicBezTo>
                  <a:cubicBezTo>
                    <a:pt x="111094" y="289831"/>
                    <a:pt x="22620" y="347797"/>
                    <a:pt x="13467" y="353898"/>
                  </a:cubicBezTo>
                  <a:cubicBezTo>
                    <a:pt x="10416" y="356949"/>
                    <a:pt x="10416" y="356949"/>
                    <a:pt x="7365" y="356949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3" name="任意多边形: 形状 362">
              <a:extLst>
                <a:ext uri="{FF2B5EF4-FFF2-40B4-BE49-F238E27FC236}">
                  <a16:creationId xmlns:a16="http://schemas.microsoft.com/office/drawing/2014/main" id="{65EE7FF4-B1AD-4A2A-9F3D-4948A0FA7782}"/>
                </a:ext>
              </a:extLst>
            </p:cNvPr>
            <p:cNvSpPr/>
            <p:nvPr/>
          </p:nvSpPr>
          <p:spPr>
            <a:xfrm>
              <a:off x="3770208" y="2331888"/>
              <a:ext cx="250169" cy="258417"/>
            </a:xfrm>
            <a:custGeom>
              <a:avLst/>
              <a:gdLst>
                <a:gd name="connsiteX0" fmla="*/ 250170 w 250169"/>
                <a:gd name="connsiteY0" fmla="*/ 39661 h 258417"/>
                <a:gd name="connsiteX1" fmla="*/ 244068 w 250169"/>
                <a:gd name="connsiteY1" fmla="*/ 213559 h 258417"/>
                <a:gd name="connsiteX2" fmla="*/ 0 w 250169"/>
                <a:gd name="connsiteY2" fmla="*/ 204407 h 258417"/>
                <a:gd name="connsiteX3" fmla="*/ 15254 w 250169"/>
                <a:gd name="connsiteY3" fmla="*/ 0 h 258417"/>
                <a:gd name="connsiteX4" fmla="*/ 250170 w 250169"/>
                <a:gd name="connsiteY4" fmla="*/ 39661 h 25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69" h="258417">
                  <a:moveTo>
                    <a:pt x="250170" y="39661"/>
                  </a:moveTo>
                  <a:cubicBezTo>
                    <a:pt x="250170" y="39661"/>
                    <a:pt x="244068" y="140339"/>
                    <a:pt x="244068" y="213559"/>
                  </a:cubicBezTo>
                  <a:cubicBezTo>
                    <a:pt x="244068" y="213559"/>
                    <a:pt x="149492" y="320339"/>
                    <a:pt x="0" y="204407"/>
                  </a:cubicBezTo>
                  <a:cubicBezTo>
                    <a:pt x="0" y="143390"/>
                    <a:pt x="12203" y="64068"/>
                    <a:pt x="15254" y="0"/>
                  </a:cubicBezTo>
                  <a:cubicBezTo>
                    <a:pt x="12203" y="0"/>
                    <a:pt x="195254" y="51864"/>
                    <a:pt x="250170" y="39661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4" name="任意多边形: 形状 363">
              <a:extLst>
                <a:ext uri="{FF2B5EF4-FFF2-40B4-BE49-F238E27FC236}">
                  <a16:creationId xmlns:a16="http://schemas.microsoft.com/office/drawing/2014/main" id="{18444D5D-0884-457C-AD38-66026A00691D}"/>
                </a:ext>
              </a:extLst>
            </p:cNvPr>
            <p:cNvSpPr/>
            <p:nvPr/>
          </p:nvSpPr>
          <p:spPr>
            <a:xfrm>
              <a:off x="3355293" y="2496634"/>
              <a:ext cx="1071665" cy="1567951"/>
            </a:xfrm>
            <a:custGeom>
              <a:avLst/>
              <a:gdLst>
                <a:gd name="connsiteX0" fmla="*/ 396610 w 1071665"/>
                <a:gd name="connsiteY0" fmla="*/ 0 h 1567951"/>
                <a:gd name="connsiteX1" fmla="*/ 686441 w 1071665"/>
                <a:gd name="connsiteY1" fmla="*/ 0 h 1567951"/>
                <a:gd name="connsiteX2" fmla="*/ 985424 w 1071665"/>
                <a:gd name="connsiteY2" fmla="*/ 131186 h 1567951"/>
                <a:gd name="connsiteX3" fmla="*/ 1070848 w 1071665"/>
                <a:gd name="connsiteY3" fmla="*/ 1537627 h 1567951"/>
                <a:gd name="connsiteX4" fmla="*/ 0 w 1071665"/>
                <a:gd name="connsiteY4" fmla="*/ 1513220 h 1567951"/>
                <a:gd name="connsiteX5" fmla="*/ 115932 w 1071665"/>
                <a:gd name="connsiteY5" fmla="*/ 103729 h 1567951"/>
                <a:gd name="connsiteX6" fmla="*/ 396610 w 1071665"/>
                <a:gd name="connsiteY6" fmla="*/ 0 h 156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1665" h="1567951">
                  <a:moveTo>
                    <a:pt x="396610" y="0"/>
                  </a:moveTo>
                  <a:cubicBezTo>
                    <a:pt x="396610" y="0"/>
                    <a:pt x="570508" y="54915"/>
                    <a:pt x="686441" y="0"/>
                  </a:cubicBezTo>
                  <a:cubicBezTo>
                    <a:pt x="686441" y="0"/>
                    <a:pt x="961017" y="97627"/>
                    <a:pt x="985424" y="131186"/>
                  </a:cubicBezTo>
                  <a:cubicBezTo>
                    <a:pt x="1009831" y="161695"/>
                    <a:pt x="1080000" y="1470509"/>
                    <a:pt x="1070848" y="1537627"/>
                  </a:cubicBezTo>
                  <a:cubicBezTo>
                    <a:pt x="1070848" y="1537627"/>
                    <a:pt x="579661" y="1620000"/>
                    <a:pt x="0" y="1513220"/>
                  </a:cubicBezTo>
                  <a:cubicBezTo>
                    <a:pt x="0" y="1156271"/>
                    <a:pt x="73220" y="134237"/>
                    <a:pt x="115932" y="103729"/>
                  </a:cubicBezTo>
                  <a:cubicBezTo>
                    <a:pt x="155593" y="70169"/>
                    <a:pt x="396610" y="0"/>
                    <a:pt x="396610" y="0"/>
                  </a:cubicBezTo>
                  <a:close/>
                </a:path>
              </a:pathLst>
            </a:custGeom>
            <a:solidFill>
              <a:srgbClr val="F1DDBA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5" name="任意多边形: 形状 364">
              <a:extLst>
                <a:ext uri="{FF2B5EF4-FFF2-40B4-BE49-F238E27FC236}">
                  <a16:creationId xmlns:a16="http://schemas.microsoft.com/office/drawing/2014/main" id="{5E1A0B4E-11CC-4D07-9272-EA6E264B3213}"/>
                </a:ext>
              </a:extLst>
            </p:cNvPr>
            <p:cNvSpPr/>
            <p:nvPr/>
          </p:nvSpPr>
          <p:spPr>
            <a:xfrm>
              <a:off x="3306479" y="2496634"/>
              <a:ext cx="520041" cy="1589491"/>
            </a:xfrm>
            <a:custGeom>
              <a:avLst/>
              <a:gdLst>
                <a:gd name="connsiteX0" fmla="*/ 445424 w 520041"/>
                <a:gd name="connsiteY0" fmla="*/ 0 h 1589491"/>
                <a:gd name="connsiteX1" fmla="*/ 128136 w 520041"/>
                <a:gd name="connsiteY1" fmla="*/ 94576 h 1589491"/>
                <a:gd name="connsiteX2" fmla="*/ 0 w 520041"/>
                <a:gd name="connsiteY2" fmla="*/ 1525424 h 1589491"/>
                <a:gd name="connsiteX3" fmla="*/ 494237 w 520041"/>
                <a:gd name="connsiteY3" fmla="*/ 1589492 h 1589491"/>
                <a:gd name="connsiteX4" fmla="*/ 445424 w 520041"/>
                <a:gd name="connsiteY4" fmla="*/ 0 h 1589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0041" h="1589491">
                  <a:moveTo>
                    <a:pt x="445424" y="0"/>
                  </a:moveTo>
                  <a:cubicBezTo>
                    <a:pt x="445424" y="0"/>
                    <a:pt x="192203" y="79322"/>
                    <a:pt x="128136" y="94576"/>
                  </a:cubicBezTo>
                  <a:cubicBezTo>
                    <a:pt x="64068" y="109830"/>
                    <a:pt x="0" y="1525424"/>
                    <a:pt x="0" y="1525424"/>
                  </a:cubicBezTo>
                  <a:cubicBezTo>
                    <a:pt x="0" y="1525424"/>
                    <a:pt x="366102" y="1583390"/>
                    <a:pt x="494237" y="1589492"/>
                  </a:cubicBezTo>
                  <a:cubicBezTo>
                    <a:pt x="491187" y="1589492"/>
                    <a:pt x="579661" y="457627"/>
                    <a:pt x="445424" y="0"/>
                  </a:cubicBezTo>
                  <a:close/>
                </a:path>
              </a:pathLst>
            </a:custGeom>
            <a:solidFill>
              <a:srgbClr val="7F95BC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6" name="任意多边形: 形状 365">
              <a:extLst>
                <a:ext uri="{FF2B5EF4-FFF2-40B4-BE49-F238E27FC236}">
                  <a16:creationId xmlns:a16="http://schemas.microsoft.com/office/drawing/2014/main" id="{0EB6BC9F-9937-4C78-8B71-469CAA49A403}"/>
                </a:ext>
              </a:extLst>
            </p:cNvPr>
            <p:cNvSpPr/>
            <p:nvPr/>
          </p:nvSpPr>
          <p:spPr>
            <a:xfrm>
              <a:off x="2978775" y="3419777"/>
              <a:ext cx="114145" cy="77534"/>
            </a:xfrm>
            <a:custGeom>
              <a:avLst/>
              <a:gdLst>
                <a:gd name="connsiteX0" fmla="*/ 31772 w 114145"/>
                <a:gd name="connsiteY0" fmla="*/ 74484 h 77534"/>
                <a:gd name="connsiteX1" fmla="*/ 25670 w 114145"/>
                <a:gd name="connsiteY1" fmla="*/ 71433 h 77534"/>
                <a:gd name="connsiteX2" fmla="*/ 28721 w 114145"/>
                <a:gd name="connsiteY2" fmla="*/ 65331 h 77534"/>
                <a:gd name="connsiteX3" fmla="*/ 86687 w 114145"/>
                <a:gd name="connsiteY3" fmla="*/ 62281 h 77534"/>
                <a:gd name="connsiteX4" fmla="*/ 4315 w 114145"/>
                <a:gd name="connsiteY4" fmla="*/ 10416 h 77534"/>
                <a:gd name="connsiteX5" fmla="*/ 1264 w 114145"/>
                <a:gd name="connsiteY5" fmla="*/ 4314 h 77534"/>
                <a:gd name="connsiteX6" fmla="*/ 7365 w 114145"/>
                <a:gd name="connsiteY6" fmla="*/ 1264 h 77534"/>
                <a:gd name="connsiteX7" fmla="*/ 111094 w 114145"/>
                <a:gd name="connsiteY7" fmla="*/ 68382 h 77534"/>
                <a:gd name="connsiteX8" fmla="*/ 114145 w 114145"/>
                <a:gd name="connsiteY8" fmla="*/ 74484 h 77534"/>
                <a:gd name="connsiteX9" fmla="*/ 108043 w 114145"/>
                <a:gd name="connsiteY9" fmla="*/ 77535 h 77534"/>
                <a:gd name="connsiteX10" fmla="*/ 31772 w 114145"/>
                <a:gd name="connsiteY10" fmla="*/ 74484 h 77534"/>
                <a:gd name="connsiteX11" fmla="*/ 31772 w 114145"/>
                <a:gd name="connsiteY11" fmla="*/ 74484 h 7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145" h="77534">
                  <a:moveTo>
                    <a:pt x="31772" y="74484"/>
                  </a:moveTo>
                  <a:cubicBezTo>
                    <a:pt x="28721" y="74484"/>
                    <a:pt x="25670" y="71433"/>
                    <a:pt x="25670" y="71433"/>
                  </a:cubicBezTo>
                  <a:cubicBezTo>
                    <a:pt x="25670" y="68382"/>
                    <a:pt x="25670" y="65331"/>
                    <a:pt x="28721" y="65331"/>
                  </a:cubicBezTo>
                  <a:cubicBezTo>
                    <a:pt x="43976" y="59230"/>
                    <a:pt x="68382" y="62281"/>
                    <a:pt x="86687" y="62281"/>
                  </a:cubicBezTo>
                  <a:cubicBezTo>
                    <a:pt x="59230" y="40925"/>
                    <a:pt x="19569" y="13467"/>
                    <a:pt x="4315" y="10416"/>
                  </a:cubicBezTo>
                  <a:cubicBezTo>
                    <a:pt x="1264" y="10416"/>
                    <a:pt x="-1787" y="7365"/>
                    <a:pt x="1264" y="4314"/>
                  </a:cubicBezTo>
                  <a:cubicBezTo>
                    <a:pt x="1264" y="1264"/>
                    <a:pt x="4315" y="-1787"/>
                    <a:pt x="7365" y="1264"/>
                  </a:cubicBezTo>
                  <a:cubicBezTo>
                    <a:pt x="34823" y="7365"/>
                    <a:pt x="101942" y="62281"/>
                    <a:pt x="111094" y="68382"/>
                  </a:cubicBezTo>
                  <a:cubicBezTo>
                    <a:pt x="114145" y="71433"/>
                    <a:pt x="114145" y="71433"/>
                    <a:pt x="114145" y="74484"/>
                  </a:cubicBezTo>
                  <a:cubicBezTo>
                    <a:pt x="114145" y="77535"/>
                    <a:pt x="111094" y="77535"/>
                    <a:pt x="108043" y="77535"/>
                  </a:cubicBezTo>
                  <a:cubicBezTo>
                    <a:pt x="108043" y="74484"/>
                    <a:pt x="59230" y="65331"/>
                    <a:pt x="31772" y="74484"/>
                  </a:cubicBezTo>
                  <a:cubicBezTo>
                    <a:pt x="31772" y="74484"/>
                    <a:pt x="31772" y="74484"/>
                    <a:pt x="31772" y="74484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7" name="任意多边形: 形状 366">
              <a:extLst>
                <a:ext uri="{FF2B5EF4-FFF2-40B4-BE49-F238E27FC236}">
                  <a16:creationId xmlns:a16="http://schemas.microsoft.com/office/drawing/2014/main" id="{928229D6-13D2-4D9F-A618-BD49B2130A48}"/>
                </a:ext>
              </a:extLst>
            </p:cNvPr>
            <p:cNvSpPr/>
            <p:nvPr/>
          </p:nvSpPr>
          <p:spPr>
            <a:xfrm>
              <a:off x="3275971" y="5263753"/>
              <a:ext cx="153806" cy="64067"/>
            </a:xfrm>
            <a:custGeom>
              <a:avLst/>
              <a:gdLst>
                <a:gd name="connsiteX0" fmla="*/ 45763 w 153806"/>
                <a:gd name="connsiteY0" fmla="*/ 64068 h 64067"/>
                <a:gd name="connsiteX1" fmla="*/ 42712 w 153806"/>
                <a:gd name="connsiteY1" fmla="*/ 61017 h 64067"/>
                <a:gd name="connsiteX2" fmla="*/ 0 w 153806"/>
                <a:gd name="connsiteY2" fmla="*/ 0 h 64067"/>
                <a:gd name="connsiteX3" fmla="*/ 149492 w 153806"/>
                <a:gd name="connsiteY3" fmla="*/ 27458 h 64067"/>
                <a:gd name="connsiteX4" fmla="*/ 152542 w 153806"/>
                <a:gd name="connsiteY4" fmla="*/ 33559 h 64067"/>
                <a:gd name="connsiteX5" fmla="*/ 146441 w 153806"/>
                <a:gd name="connsiteY5" fmla="*/ 36610 h 64067"/>
                <a:gd name="connsiteX6" fmla="*/ 21356 w 153806"/>
                <a:gd name="connsiteY6" fmla="*/ 15254 h 64067"/>
                <a:gd name="connsiteX7" fmla="*/ 48814 w 153806"/>
                <a:gd name="connsiteY7" fmla="*/ 54915 h 64067"/>
                <a:gd name="connsiteX8" fmla="*/ 48814 w 153806"/>
                <a:gd name="connsiteY8" fmla="*/ 64068 h 64067"/>
                <a:gd name="connsiteX9" fmla="*/ 45763 w 153806"/>
                <a:gd name="connsiteY9" fmla="*/ 64068 h 64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3806" h="64067">
                  <a:moveTo>
                    <a:pt x="45763" y="64068"/>
                  </a:moveTo>
                  <a:cubicBezTo>
                    <a:pt x="42712" y="64068"/>
                    <a:pt x="42712" y="64068"/>
                    <a:pt x="42712" y="61017"/>
                  </a:cubicBezTo>
                  <a:lnTo>
                    <a:pt x="0" y="0"/>
                  </a:lnTo>
                  <a:lnTo>
                    <a:pt x="149492" y="27458"/>
                  </a:lnTo>
                  <a:cubicBezTo>
                    <a:pt x="152542" y="27458"/>
                    <a:pt x="155593" y="30508"/>
                    <a:pt x="152542" y="33559"/>
                  </a:cubicBezTo>
                  <a:cubicBezTo>
                    <a:pt x="152542" y="36610"/>
                    <a:pt x="149492" y="39661"/>
                    <a:pt x="146441" y="36610"/>
                  </a:cubicBezTo>
                  <a:lnTo>
                    <a:pt x="21356" y="15254"/>
                  </a:lnTo>
                  <a:lnTo>
                    <a:pt x="48814" y="54915"/>
                  </a:lnTo>
                  <a:cubicBezTo>
                    <a:pt x="51864" y="57966"/>
                    <a:pt x="48814" y="61017"/>
                    <a:pt x="48814" y="64068"/>
                  </a:cubicBezTo>
                  <a:cubicBezTo>
                    <a:pt x="45763" y="64068"/>
                    <a:pt x="45763" y="64068"/>
                    <a:pt x="45763" y="64068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8" name="任意多边形: 形状 367">
              <a:extLst>
                <a:ext uri="{FF2B5EF4-FFF2-40B4-BE49-F238E27FC236}">
                  <a16:creationId xmlns:a16="http://schemas.microsoft.com/office/drawing/2014/main" id="{BEA738B6-48FE-4C5B-8C2A-7AC9ECFD0046}"/>
                </a:ext>
              </a:extLst>
            </p:cNvPr>
            <p:cNvSpPr/>
            <p:nvPr/>
          </p:nvSpPr>
          <p:spPr>
            <a:xfrm>
              <a:off x="4038682" y="2496634"/>
              <a:ext cx="436271" cy="1602128"/>
            </a:xfrm>
            <a:custGeom>
              <a:avLst/>
              <a:gdLst>
                <a:gd name="connsiteX0" fmla="*/ 0 w 436271"/>
                <a:gd name="connsiteY0" fmla="*/ 0 h 1602128"/>
                <a:gd name="connsiteX1" fmla="*/ 158644 w 436271"/>
                <a:gd name="connsiteY1" fmla="*/ 1601695 h 1602128"/>
                <a:gd name="connsiteX2" fmla="*/ 436271 w 436271"/>
                <a:gd name="connsiteY2" fmla="*/ 1574237 h 1602128"/>
                <a:gd name="connsiteX3" fmla="*/ 298983 w 436271"/>
                <a:gd name="connsiteY3" fmla="*/ 131186 h 1602128"/>
                <a:gd name="connsiteX4" fmla="*/ 0 w 436271"/>
                <a:gd name="connsiteY4" fmla="*/ 0 h 1602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6271" h="1602128">
                  <a:moveTo>
                    <a:pt x="0" y="0"/>
                  </a:moveTo>
                  <a:cubicBezTo>
                    <a:pt x="0" y="0"/>
                    <a:pt x="204407" y="781017"/>
                    <a:pt x="158644" y="1601695"/>
                  </a:cubicBezTo>
                  <a:cubicBezTo>
                    <a:pt x="158644" y="1601695"/>
                    <a:pt x="356949" y="1607797"/>
                    <a:pt x="436271" y="1574237"/>
                  </a:cubicBezTo>
                  <a:cubicBezTo>
                    <a:pt x="436271" y="1574237"/>
                    <a:pt x="344746" y="183051"/>
                    <a:pt x="298983" y="131186"/>
                  </a:cubicBezTo>
                  <a:cubicBezTo>
                    <a:pt x="256271" y="7627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7F95BC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9" name="任意多边形: 形状 368">
              <a:extLst>
                <a:ext uri="{FF2B5EF4-FFF2-40B4-BE49-F238E27FC236}">
                  <a16:creationId xmlns:a16="http://schemas.microsoft.com/office/drawing/2014/main" id="{0961A370-3623-4069-AC43-D1CBB330129A}"/>
                </a:ext>
              </a:extLst>
            </p:cNvPr>
            <p:cNvSpPr/>
            <p:nvPr/>
          </p:nvSpPr>
          <p:spPr>
            <a:xfrm>
              <a:off x="4331564" y="2621719"/>
              <a:ext cx="123297" cy="1083050"/>
            </a:xfrm>
            <a:custGeom>
              <a:avLst/>
              <a:gdLst>
                <a:gd name="connsiteX0" fmla="*/ 118983 w 123297"/>
                <a:gd name="connsiteY0" fmla="*/ 1083051 h 1083050"/>
                <a:gd name="connsiteX1" fmla="*/ 112881 w 123297"/>
                <a:gd name="connsiteY1" fmla="*/ 1076949 h 1083050"/>
                <a:gd name="connsiteX2" fmla="*/ 73220 w 123297"/>
                <a:gd name="connsiteY2" fmla="*/ 594915 h 1083050"/>
                <a:gd name="connsiteX3" fmla="*/ 0 w 123297"/>
                <a:gd name="connsiteY3" fmla="*/ 6102 h 1083050"/>
                <a:gd name="connsiteX4" fmla="*/ 3051 w 123297"/>
                <a:gd name="connsiteY4" fmla="*/ 0 h 1083050"/>
                <a:gd name="connsiteX5" fmla="*/ 9153 w 123297"/>
                <a:gd name="connsiteY5" fmla="*/ 3051 h 1083050"/>
                <a:gd name="connsiteX6" fmla="*/ 82373 w 123297"/>
                <a:gd name="connsiteY6" fmla="*/ 591864 h 1083050"/>
                <a:gd name="connsiteX7" fmla="*/ 122034 w 123297"/>
                <a:gd name="connsiteY7" fmla="*/ 1073898 h 1083050"/>
                <a:gd name="connsiteX8" fmla="*/ 118983 w 123297"/>
                <a:gd name="connsiteY8" fmla="*/ 1083051 h 1083050"/>
                <a:gd name="connsiteX9" fmla="*/ 118983 w 123297"/>
                <a:gd name="connsiteY9" fmla="*/ 1083051 h 108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297" h="1083050">
                  <a:moveTo>
                    <a:pt x="118983" y="1083051"/>
                  </a:moveTo>
                  <a:cubicBezTo>
                    <a:pt x="115932" y="1083051"/>
                    <a:pt x="112881" y="1080000"/>
                    <a:pt x="112881" y="1076949"/>
                  </a:cubicBezTo>
                  <a:cubicBezTo>
                    <a:pt x="112881" y="1073898"/>
                    <a:pt x="82373" y="701695"/>
                    <a:pt x="73220" y="594915"/>
                  </a:cubicBezTo>
                  <a:cubicBezTo>
                    <a:pt x="73220" y="588814"/>
                    <a:pt x="6102" y="45763"/>
                    <a:pt x="0" y="6102"/>
                  </a:cubicBezTo>
                  <a:cubicBezTo>
                    <a:pt x="0" y="3051"/>
                    <a:pt x="0" y="0"/>
                    <a:pt x="3051" y="0"/>
                  </a:cubicBezTo>
                  <a:cubicBezTo>
                    <a:pt x="6102" y="0"/>
                    <a:pt x="9153" y="0"/>
                    <a:pt x="9153" y="3051"/>
                  </a:cubicBezTo>
                  <a:cubicBezTo>
                    <a:pt x="18305" y="42712"/>
                    <a:pt x="79322" y="570509"/>
                    <a:pt x="82373" y="591864"/>
                  </a:cubicBezTo>
                  <a:cubicBezTo>
                    <a:pt x="91525" y="698644"/>
                    <a:pt x="122034" y="1070848"/>
                    <a:pt x="122034" y="1073898"/>
                  </a:cubicBezTo>
                  <a:cubicBezTo>
                    <a:pt x="125085" y="1080000"/>
                    <a:pt x="122034" y="1083051"/>
                    <a:pt x="118983" y="1083051"/>
                  </a:cubicBezTo>
                  <a:cubicBezTo>
                    <a:pt x="118983" y="1083051"/>
                    <a:pt x="118983" y="1083051"/>
                    <a:pt x="118983" y="1083051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0" name="任意多边形: 形状 369">
              <a:extLst>
                <a:ext uri="{FF2B5EF4-FFF2-40B4-BE49-F238E27FC236}">
                  <a16:creationId xmlns:a16="http://schemas.microsoft.com/office/drawing/2014/main" id="{BD556103-A6C8-4EBB-A1B7-39167E86C43A}"/>
                </a:ext>
              </a:extLst>
            </p:cNvPr>
            <p:cNvSpPr/>
            <p:nvPr/>
          </p:nvSpPr>
          <p:spPr>
            <a:xfrm>
              <a:off x="3785462" y="2365447"/>
              <a:ext cx="242280" cy="64067"/>
            </a:xfrm>
            <a:custGeom>
              <a:avLst/>
              <a:gdLst>
                <a:gd name="connsiteX0" fmla="*/ 137288 w 242280"/>
                <a:gd name="connsiteY0" fmla="*/ 64068 h 64067"/>
                <a:gd name="connsiteX1" fmla="*/ 125085 w 242280"/>
                <a:gd name="connsiteY1" fmla="*/ 64068 h 64067"/>
                <a:gd name="connsiteX2" fmla="*/ 51864 w 242280"/>
                <a:gd name="connsiteY2" fmla="*/ 36610 h 64067"/>
                <a:gd name="connsiteX3" fmla="*/ 3051 w 242280"/>
                <a:gd name="connsiteY3" fmla="*/ 12203 h 64067"/>
                <a:gd name="connsiteX4" fmla="*/ 0 w 242280"/>
                <a:gd name="connsiteY4" fmla="*/ 3051 h 64067"/>
                <a:gd name="connsiteX5" fmla="*/ 9153 w 242280"/>
                <a:gd name="connsiteY5" fmla="*/ 0 h 64067"/>
                <a:gd name="connsiteX6" fmla="*/ 54915 w 242280"/>
                <a:gd name="connsiteY6" fmla="*/ 24407 h 64067"/>
                <a:gd name="connsiteX7" fmla="*/ 146441 w 242280"/>
                <a:gd name="connsiteY7" fmla="*/ 51864 h 64067"/>
                <a:gd name="connsiteX8" fmla="*/ 146441 w 242280"/>
                <a:gd name="connsiteY8" fmla="*/ 51864 h 64067"/>
                <a:gd name="connsiteX9" fmla="*/ 158644 w 242280"/>
                <a:gd name="connsiteY9" fmla="*/ 51864 h 64067"/>
                <a:gd name="connsiteX10" fmla="*/ 207458 w 242280"/>
                <a:gd name="connsiteY10" fmla="*/ 33559 h 64067"/>
                <a:gd name="connsiteX11" fmla="*/ 216610 w 242280"/>
                <a:gd name="connsiteY11" fmla="*/ 27458 h 64067"/>
                <a:gd name="connsiteX12" fmla="*/ 222712 w 242280"/>
                <a:gd name="connsiteY12" fmla="*/ 27458 h 64067"/>
                <a:gd name="connsiteX13" fmla="*/ 231864 w 242280"/>
                <a:gd name="connsiteY13" fmla="*/ 21356 h 64067"/>
                <a:gd name="connsiteX14" fmla="*/ 241017 w 242280"/>
                <a:gd name="connsiteY14" fmla="*/ 24407 h 64067"/>
                <a:gd name="connsiteX15" fmla="*/ 237966 w 242280"/>
                <a:gd name="connsiteY15" fmla="*/ 33559 h 64067"/>
                <a:gd name="connsiteX16" fmla="*/ 213559 w 242280"/>
                <a:gd name="connsiteY16" fmla="*/ 45763 h 64067"/>
                <a:gd name="connsiteX17" fmla="*/ 158644 w 242280"/>
                <a:gd name="connsiteY17" fmla="*/ 64068 h 64067"/>
                <a:gd name="connsiteX18" fmla="*/ 137288 w 242280"/>
                <a:gd name="connsiteY18" fmla="*/ 64068 h 64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2280" h="64067">
                  <a:moveTo>
                    <a:pt x="137288" y="64068"/>
                  </a:moveTo>
                  <a:cubicBezTo>
                    <a:pt x="131186" y="64068"/>
                    <a:pt x="128136" y="64068"/>
                    <a:pt x="125085" y="64068"/>
                  </a:cubicBezTo>
                  <a:cubicBezTo>
                    <a:pt x="106780" y="61017"/>
                    <a:pt x="76271" y="48814"/>
                    <a:pt x="51864" y="36610"/>
                  </a:cubicBezTo>
                  <a:cubicBezTo>
                    <a:pt x="24407" y="24407"/>
                    <a:pt x="3051" y="12203"/>
                    <a:pt x="3051" y="12203"/>
                  </a:cubicBezTo>
                  <a:cubicBezTo>
                    <a:pt x="0" y="9153"/>
                    <a:pt x="0" y="6102"/>
                    <a:pt x="0" y="3051"/>
                  </a:cubicBezTo>
                  <a:cubicBezTo>
                    <a:pt x="3051" y="0"/>
                    <a:pt x="6102" y="0"/>
                    <a:pt x="9153" y="0"/>
                  </a:cubicBezTo>
                  <a:cubicBezTo>
                    <a:pt x="9153" y="0"/>
                    <a:pt x="30508" y="12203"/>
                    <a:pt x="54915" y="24407"/>
                  </a:cubicBezTo>
                  <a:cubicBezTo>
                    <a:pt x="85424" y="36610"/>
                    <a:pt x="122034" y="51864"/>
                    <a:pt x="146441" y="51864"/>
                  </a:cubicBezTo>
                  <a:cubicBezTo>
                    <a:pt x="146441" y="51864"/>
                    <a:pt x="146441" y="51864"/>
                    <a:pt x="146441" y="51864"/>
                  </a:cubicBezTo>
                  <a:cubicBezTo>
                    <a:pt x="149492" y="51864"/>
                    <a:pt x="155593" y="51864"/>
                    <a:pt x="158644" y="51864"/>
                  </a:cubicBezTo>
                  <a:cubicBezTo>
                    <a:pt x="176949" y="48814"/>
                    <a:pt x="195254" y="39661"/>
                    <a:pt x="207458" y="33559"/>
                  </a:cubicBezTo>
                  <a:cubicBezTo>
                    <a:pt x="213559" y="30508"/>
                    <a:pt x="216610" y="27458"/>
                    <a:pt x="216610" y="27458"/>
                  </a:cubicBezTo>
                  <a:cubicBezTo>
                    <a:pt x="216610" y="27458"/>
                    <a:pt x="219661" y="27458"/>
                    <a:pt x="222712" y="27458"/>
                  </a:cubicBezTo>
                  <a:cubicBezTo>
                    <a:pt x="228814" y="24407"/>
                    <a:pt x="231864" y="21356"/>
                    <a:pt x="231864" y="21356"/>
                  </a:cubicBezTo>
                  <a:cubicBezTo>
                    <a:pt x="234915" y="18305"/>
                    <a:pt x="237966" y="21356"/>
                    <a:pt x="241017" y="24407"/>
                  </a:cubicBezTo>
                  <a:cubicBezTo>
                    <a:pt x="244068" y="27458"/>
                    <a:pt x="241017" y="30508"/>
                    <a:pt x="237966" y="33559"/>
                  </a:cubicBezTo>
                  <a:cubicBezTo>
                    <a:pt x="237966" y="33559"/>
                    <a:pt x="228814" y="39661"/>
                    <a:pt x="213559" y="45763"/>
                  </a:cubicBezTo>
                  <a:cubicBezTo>
                    <a:pt x="201356" y="51864"/>
                    <a:pt x="183051" y="61017"/>
                    <a:pt x="158644" y="64068"/>
                  </a:cubicBezTo>
                  <a:cubicBezTo>
                    <a:pt x="149492" y="64068"/>
                    <a:pt x="143390" y="64068"/>
                    <a:pt x="137288" y="64068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1" name="任意多边形: 形状 370">
              <a:extLst>
                <a:ext uri="{FF2B5EF4-FFF2-40B4-BE49-F238E27FC236}">
                  <a16:creationId xmlns:a16="http://schemas.microsoft.com/office/drawing/2014/main" id="{FCC093C3-8759-4580-B125-448319EDA88B}"/>
                </a:ext>
              </a:extLst>
            </p:cNvPr>
            <p:cNvSpPr/>
            <p:nvPr/>
          </p:nvSpPr>
          <p:spPr>
            <a:xfrm>
              <a:off x="3260716" y="4089176"/>
              <a:ext cx="155567" cy="156025"/>
            </a:xfrm>
            <a:custGeom>
              <a:avLst/>
              <a:gdLst>
                <a:gd name="connsiteX0" fmla="*/ 0 w 155567"/>
                <a:gd name="connsiteY0" fmla="*/ 0 h 156025"/>
                <a:gd name="connsiteX1" fmla="*/ 118983 w 155567"/>
                <a:gd name="connsiteY1" fmla="*/ 70169 h 156025"/>
                <a:gd name="connsiteX2" fmla="*/ 152542 w 155567"/>
                <a:gd name="connsiteY2" fmla="*/ 149492 h 156025"/>
                <a:gd name="connsiteX3" fmla="*/ 42712 w 155567"/>
                <a:gd name="connsiteY3" fmla="*/ 79322 h 156025"/>
                <a:gd name="connsiteX4" fmla="*/ 0 w 155567"/>
                <a:gd name="connsiteY4" fmla="*/ 0 h 156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567" h="156025">
                  <a:moveTo>
                    <a:pt x="0" y="0"/>
                  </a:moveTo>
                  <a:cubicBezTo>
                    <a:pt x="0" y="0"/>
                    <a:pt x="100678" y="42712"/>
                    <a:pt x="118983" y="70169"/>
                  </a:cubicBezTo>
                  <a:cubicBezTo>
                    <a:pt x="137288" y="97627"/>
                    <a:pt x="164746" y="137288"/>
                    <a:pt x="152542" y="149492"/>
                  </a:cubicBezTo>
                  <a:cubicBezTo>
                    <a:pt x="122034" y="183051"/>
                    <a:pt x="79322" y="76271"/>
                    <a:pt x="42712" y="79322"/>
                  </a:cubicBezTo>
                  <a:cubicBezTo>
                    <a:pt x="24407" y="8542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72" name="图形 114">
              <a:extLst>
                <a:ext uri="{FF2B5EF4-FFF2-40B4-BE49-F238E27FC236}">
                  <a16:creationId xmlns:a16="http://schemas.microsoft.com/office/drawing/2014/main" id="{9B118E89-9211-4851-A00F-787C4806825E}"/>
                </a:ext>
              </a:extLst>
            </p:cNvPr>
            <p:cNvGrpSpPr/>
            <p:nvPr/>
          </p:nvGrpSpPr>
          <p:grpSpPr>
            <a:xfrm>
              <a:off x="2518396" y="4170705"/>
              <a:ext cx="1387460" cy="1254982"/>
              <a:chOff x="2518396" y="4170705"/>
              <a:chExt cx="1387460" cy="1254982"/>
            </a:xfrm>
          </p:grpSpPr>
          <p:sp>
            <p:nvSpPr>
              <p:cNvPr id="373" name="任意多边形: 形状 372">
                <a:extLst>
                  <a:ext uri="{FF2B5EF4-FFF2-40B4-BE49-F238E27FC236}">
                    <a16:creationId xmlns:a16="http://schemas.microsoft.com/office/drawing/2014/main" id="{12EE7569-DF64-4E94-BAB2-639F4E773CB7}"/>
                  </a:ext>
                </a:extLst>
              </p:cNvPr>
              <p:cNvSpPr/>
              <p:nvPr/>
            </p:nvSpPr>
            <p:spPr>
              <a:xfrm>
                <a:off x="2518396" y="4411828"/>
                <a:ext cx="490786" cy="934006"/>
              </a:xfrm>
              <a:custGeom>
                <a:avLst/>
                <a:gdLst>
                  <a:gd name="connsiteX0" fmla="*/ 107745 w 490786"/>
                  <a:gd name="connsiteY0" fmla="*/ 919043 h 934006"/>
                  <a:gd name="connsiteX1" fmla="*/ 354863 w 490786"/>
                  <a:gd name="connsiteY1" fmla="*/ 824467 h 934006"/>
                  <a:gd name="connsiteX2" fmla="*/ 336558 w 490786"/>
                  <a:gd name="connsiteY2" fmla="*/ 797009 h 934006"/>
                  <a:gd name="connsiteX3" fmla="*/ 312151 w 490786"/>
                  <a:gd name="connsiteY3" fmla="*/ 809213 h 934006"/>
                  <a:gd name="connsiteX4" fmla="*/ 302999 w 490786"/>
                  <a:gd name="connsiteY4" fmla="*/ 809213 h 934006"/>
                  <a:gd name="connsiteX5" fmla="*/ 174863 w 490786"/>
                  <a:gd name="connsiteY5" fmla="*/ 824467 h 934006"/>
                  <a:gd name="connsiteX6" fmla="*/ 107745 w 490786"/>
                  <a:gd name="connsiteY6" fmla="*/ 671924 h 934006"/>
                  <a:gd name="connsiteX7" fmla="*/ 171812 w 490786"/>
                  <a:gd name="connsiteY7" fmla="*/ 418704 h 934006"/>
                  <a:gd name="connsiteX8" fmla="*/ 370117 w 490786"/>
                  <a:gd name="connsiteY8" fmla="*/ 125823 h 934006"/>
                  <a:gd name="connsiteX9" fmla="*/ 473846 w 490786"/>
                  <a:gd name="connsiteY9" fmla="*/ 61755 h 934006"/>
                  <a:gd name="connsiteX10" fmla="*/ 473846 w 490786"/>
                  <a:gd name="connsiteY10" fmla="*/ 37348 h 934006"/>
                  <a:gd name="connsiteX11" fmla="*/ 479948 w 490786"/>
                  <a:gd name="connsiteY11" fmla="*/ 34297 h 934006"/>
                  <a:gd name="connsiteX12" fmla="*/ 470795 w 490786"/>
                  <a:gd name="connsiteY12" fmla="*/ 738 h 934006"/>
                  <a:gd name="connsiteX13" fmla="*/ 245033 w 490786"/>
                  <a:gd name="connsiteY13" fmla="*/ 150230 h 934006"/>
                  <a:gd name="connsiteX14" fmla="*/ 138253 w 490786"/>
                  <a:gd name="connsiteY14" fmla="*/ 260060 h 934006"/>
                  <a:gd name="connsiteX15" fmla="*/ 965 w 490786"/>
                  <a:gd name="connsiteY15" fmla="*/ 617009 h 934006"/>
                  <a:gd name="connsiteX16" fmla="*/ 107745 w 490786"/>
                  <a:gd name="connsiteY16" fmla="*/ 919043 h 934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90786" h="934006">
                    <a:moveTo>
                      <a:pt x="107745" y="919043"/>
                    </a:moveTo>
                    <a:cubicBezTo>
                      <a:pt x="196219" y="964806"/>
                      <a:pt x="296897" y="897687"/>
                      <a:pt x="354863" y="824467"/>
                    </a:cubicBezTo>
                    <a:cubicBezTo>
                      <a:pt x="367067" y="809213"/>
                      <a:pt x="351812" y="787857"/>
                      <a:pt x="336558" y="797009"/>
                    </a:cubicBezTo>
                    <a:cubicBezTo>
                      <a:pt x="327406" y="800060"/>
                      <a:pt x="321304" y="806162"/>
                      <a:pt x="312151" y="809213"/>
                    </a:cubicBezTo>
                    <a:cubicBezTo>
                      <a:pt x="309100" y="809213"/>
                      <a:pt x="306050" y="809213"/>
                      <a:pt x="302999" y="809213"/>
                    </a:cubicBezTo>
                    <a:cubicBezTo>
                      <a:pt x="266389" y="818365"/>
                      <a:pt x="214524" y="836670"/>
                      <a:pt x="174863" y="824467"/>
                    </a:cubicBezTo>
                    <a:cubicBezTo>
                      <a:pt x="98592" y="800060"/>
                      <a:pt x="101643" y="739043"/>
                      <a:pt x="107745" y="671924"/>
                    </a:cubicBezTo>
                    <a:cubicBezTo>
                      <a:pt x="113846" y="583450"/>
                      <a:pt x="138253" y="498026"/>
                      <a:pt x="171812" y="418704"/>
                    </a:cubicBezTo>
                    <a:cubicBezTo>
                      <a:pt x="217575" y="308874"/>
                      <a:pt x="284694" y="199043"/>
                      <a:pt x="370117" y="125823"/>
                    </a:cubicBezTo>
                    <a:cubicBezTo>
                      <a:pt x="406728" y="110568"/>
                      <a:pt x="440287" y="92263"/>
                      <a:pt x="473846" y="61755"/>
                    </a:cubicBezTo>
                    <a:cubicBezTo>
                      <a:pt x="479948" y="55653"/>
                      <a:pt x="479948" y="46501"/>
                      <a:pt x="473846" y="37348"/>
                    </a:cubicBezTo>
                    <a:cubicBezTo>
                      <a:pt x="476897" y="37348"/>
                      <a:pt x="476897" y="34297"/>
                      <a:pt x="479948" y="34297"/>
                    </a:cubicBezTo>
                    <a:cubicBezTo>
                      <a:pt x="498253" y="28196"/>
                      <a:pt x="492151" y="-5364"/>
                      <a:pt x="470795" y="738"/>
                    </a:cubicBezTo>
                    <a:cubicBezTo>
                      <a:pt x="382321" y="28196"/>
                      <a:pt x="306050" y="80060"/>
                      <a:pt x="245033" y="150230"/>
                    </a:cubicBezTo>
                    <a:cubicBezTo>
                      <a:pt x="202321" y="177687"/>
                      <a:pt x="168761" y="214297"/>
                      <a:pt x="138253" y="260060"/>
                    </a:cubicBezTo>
                    <a:cubicBezTo>
                      <a:pt x="65033" y="360738"/>
                      <a:pt x="7067" y="482772"/>
                      <a:pt x="965" y="617009"/>
                    </a:cubicBezTo>
                    <a:cubicBezTo>
                      <a:pt x="-5137" y="717687"/>
                      <a:pt x="16219" y="870230"/>
                      <a:pt x="107745" y="91904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4" name="任意多边形: 形状 373">
                <a:extLst>
                  <a:ext uri="{FF2B5EF4-FFF2-40B4-BE49-F238E27FC236}">
                    <a16:creationId xmlns:a16="http://schemas.microsoft.com/office/drawing/2014/main" id="{867F4AB2-8626-4E2D-A493-16B8234440A3}"/>
                  </a:ext>
                </a:extLst>
              </p:cNvPr>
              <p:cNvSpPr/>
              <p:nvPr/>
            </p:nvSpPr>
            <p:spPr>
              <a:xfrm>
                <a:off x="3027835" y="4170705"/>
                <a:ext cx="476186" cy="256882"/>
              </a:xfrm>
              <a:custGeom>
                <a:avLst/>
                <a:gdLst>
                  <a:gd name="connsiteX0" fmla="*/ 4068 w 476186"/>
                  <a:gd name="connsiteY0" fmla="*/ 226607 h 256882"/>
                  <a:gd name="connsiteX1" fmla="*/ 68136 w 476186"/>
                  <a:gd name="connsiteY1" fmla="*/ 244912 h 256882"/>
                  <a:gd name="connsiteX2" fmla="*/ 92542 w 476186"/>
                  <a:gd name="connsiteY2" fmla="*/ 211352 h 256882"/>
                  <a:gd name="connsiteX3" fmla="*/ 126102 w 476186"/>
                  <a:gd name="connsiteY3" fmla="*/ 95420 h 256882"/>
                  <a:gd name="connsiteX4" fmla="*/ 309153 w 476186"/>
                  <a:gd name="connsiteY4" fmla="*/ 80166 h 256882"/>
                  <a:gd name="connsiteX5" fmla="*/ 406780 w 476186"/>
                  <a:gd name="connsiteY5" fmla="*/ 214403 h 256882"/>
                  <a:gd name="connsiteX6" fmla="*/ 470847 w 476186"/>
                  <a:gd name="connsiteY6" fmla="*/ 247962 h 256882"/>
                  <a:gd name="connsiteX7" fmla="*/ 473898 w 476186"/>
                  <a:gd name="connsiteY7" fmla="*/ 241861 h 256882"/>
                  <a:gd name="connsiteX8" fmla="*/ 473898 w 476186"/>
                  <a:gd name="connsiteY8" fmla="*/ 232708 h 256882"/>
                  <a:gd name="connsiteX9" fmla="*/ 406780 w 476186"/>
                  <a:gd name="connsiteY9" fmla="*/ 67963 h 256882"/>
                  <a:gd name="connsiteX10" fmla="*/ 238983 w 476186"/>
                  <a:gd name="connsiteY10" fmla="*/ 844 h 256882"/>
                  <a:gd name="connsiteX11" fmla="*/ 107797 w 476186"/>
                  <a:gd name="connsiteY11" fmla="*/ 13047 h 256882"/>
                  <a:gd name="connsiteX12" fmla="*/ 4068 w 476186"/>
                  <a:gd name="connsiteY12" fmla="*/ 119827 h 256882"/>
                  <a:gd name="connsiteX13" fmla="*/ 4068 w 476186"/>
                  <a:gd name="connsiteY13" fmla="*/ 226607 h 256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76186" h="256882">
                    <a:moveTo>
                      <a:pt x="4068" y="226607"/>
                    </a:moveTo>
                    <a:cubicBezTo>
                      <a:pt x="10170" y="257115"/>
                      <a:pt x="43729" y="257115"/>
                      <a:pt x="68136" y="244912"/>
                    </a:cubicBezTo>
                    <a:cubicBezTo>
                      <a:pt x="83390" y="238810"/>
                      <a:pt x="89492" y="226607"/>
                      <a:pt x="92542" y="211352"/>
                    </a:cubicBezTo>
                    <a:cubicBezTo>
                      <a:pt x="98644" y="177793"/>
                      <a:pt x="86441" y="110674"/>
                      <a:pt x="126102" y="95420"/>
                    </a:cubicBezTo>
                    <a:cubicBezTo>
                      <a:pt x="147458" y="89318"/>
                      <a:pt x="272542" y="77115"/>
                      <a:pt x="309153" y="80166"/>
                    </a:cubicBezTo>
                    <a:cubicBezTo>
                      <a:pt x="367119" y="83217"/>
                      <a:pt x="385424" y="168640"/>
                      <a:pt x="406780" y="214403"/>
                    </a:cubicBezTo>
                    <a:cubicBezTo>
                      <a:pt x="418983" y="241861"/>
                      <a:pt x="440339" y="272369"/>
                      <a:pt x="470847" y="247962"/>
                    </a:cubicBezTo>
                    <a:cubicBezTo>
                      <a:pt x="473898" y="247962"/>
                      <a:pt x="473898" y="244912"/>
                      <a:pt x="473898" y="241861"/>
                    </a:cubicBezTo>
                    <a:cubicBezTo>
                      <a:pt x="476949" y="238810"/>
                      <a:pt x="476949" y="235759"/>
                      <a:pt x="473898" y="232708"/>
                    </a:cubicBezTo>
                    <a:cubicBezTo>
                      <a:pt x="440339" y="180844"/>
                      <a:pt x="449492" y="110674"/>
                      <a:pt x="406780" y="67963"/>
                    </a:cubicBezTo>
                    <a:cubicBezTo>
                      <a:pt x="364068" y="22200"/>
                      <a:pt x="290848" y="-5258"/>
                      <a:pt x="238983" y="844"/>
                    </a:cubicBezTo>
                    <a:cubicBezTo>
                      <a:pt x="196271" y="3895"/>
                      <a:pt x="153559" y="9996"/>
                      <a:pt x="107797" y="13047"/>
                    </a:cubicBezTo>
                    <a:cubicBezTo>
                      <a:pt x="43729" y="19149"/>
                      <a:pt x="7119" y="104573"/>
                      <a:pt x="4068" y="119827"/>
                    </a:cubicBezTo>
                    <a:cubicBezTo>
                      <a:pt x="4068" y="150335"/>
                      <a:pt x="-5085" y="193047"/>
                      <a:pt x="4068" y="226607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5" name="任意多边形: 形状 374">
                <a:extLst>
                  <a:ext uri="{FF2B5EF4-FFF2-40B4-BE49-F238E27FC236}">
                    <a16:creationId xmlns:a16="http://schemas.microsoft.com/office/drawing/2014/main" id="{262A1D50-730A-4200-8A87-3C997FD3828D}"/>
                  </a:ext>
                </a:extLst>
              </p:cNvPr>
              <p:cNvSpPr/>
              <p:nvPr/>
            </p:nvSpPr>
            <p:spPr>
              <a:xfrm>
                <a:off x="2721375" y="4354219"/>
                <a:ext cx="887282" cy="1052923"/>
              </a:xfrm>
              <a:custGeom>
                <a:avLst/>
                <a:gdLst>
                  <a:gd name="connsiteX0" fmla="*/ 136629 w 887282"/>
                  <a:gd name="connsiteY0" fmla="*/ 985805 h 1052923"/>
                  <a:gd name="connsiteX1" fmla="*/ 395951 w 887282"/>
                  <a:gd name="connsiteY1" fmla="*/ 1031567 h 1052923"/>
                  <a:gd name="connsiteX2" fmla="*/ 755951 w 887282"/>
                  <a:gd name="connsiteY2" fmla="*/ 1052923 h 1052923"/>
                  <a:gd name="connsiteX3" fmla="*/ 762053 w 887282"/>
                  <a:gd name="connsiteY3" fmla="*/ 1037669 h 1052923"/>
                  <a:gd name="connsiteX4" fmla="*/ 887138 w 887282"/>
                  <a:gd name="connsiteY4" fmla="*/ 708178 h 1052923"/>
                  <a:gd name="connsiteX5" fmla="*/ 798663 w 887282"/>
                  <a:gd name="connsiteY5" fmla="*/ 317669 h 1052923"/>
                  <a:gd name="connsiteX6" fmla="*/ 643070 w 887282"/>
                  <a:gd name="connsiteY6" fmla="*/ 49194 h 1052923"/>
                  <a:gd name="connsiteX7" fmla="*/ 383748 w 887282"/>
                  <a:gd name="connsiteY7" fmla="*/ 15635 h 1052923"/>
                  <a:gd name="connsiteX8" fmla="*/ 145782 w 887282"/>
                  <a:gd name="connsiteY8" fmla="*/ 137669 h 1052923"/>
                  <a:gd name="connsiteX9" fmla="*/ 26799 w 887282"/>
                  <a:gd name="connsiteY9" fmla="*/ 436652 h 1052923"/>
                  <a:gd name="connsiteX10" fmla="*/ 136629 w 887282"/>
                  <a:gd name="connsiteY10" fmla="*/ 985805 h 1052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87282" h="1052923">
                    <a:moveTo>
                      <a:pt x="136629" y="985805"/>
                    </a:moveTo>
                    <a:cubicBezTo>
                      <a:pt x="215951" y="1028517"/>
                      <a:pt x="310528" y="1025466"/>
                      <a:pt x="395951" y="1031567"/>
                    </a:cubicBezTo>
                    <a:cubicBezTo>
                      <a:pt x="514934" y="1037669"/>
                      <a:pt x="636968" y="1043771"/>
                      <a:pt x="755951" y="1052923"/>
                    </a:cubicBezTo>
                    <a:cubicBezTo>
                      <a:pt x="765104" y="1052923"/>
                      <a:pt x="765104" y="1043771"/>
                      <a:pt x="762053" y="1037669"/>
                    </a:cubicBezTo>
                    <a:cubicBezTo>
                      <a:pt x="823070" y="940042"/>
                      <a:pt x="884087" y="833262"/>
                      <a:pt x="887138" y="708178"/>
                    </a:cubicBezTo>
                    <a:cubicBezTo>
                      <a:pt x="890189" y="576991"/>
                      <a:pt x="844426" y="436652"/>
                      <a:pt x="798663" y="317669"/>
                    </a:cubicBezTo>
                    <a:cubicBezTo>
                      <a:pt x="762053" y="223093"/>
                      <a:pt x="719341" y="113262"/>
                      <a:pt x="643070" y="49194"/>
                    </a:cubicBezTo>
                    <a:cubicBezTo>
                      <a:pt x="566799" y="-17924"/>
                      <a:pt x="472223" y="-2670"/>
                      <a:pt x="383748" y="15635"/>
                    </a:cubicBezTo>
                    <a:cubicBezTo>
                      <a:pt x="298324" y="33940"/>
                      <a:pt x="206799" y="58347"/>
                      <a:pt x="145782" y="137669"/>
                    </a:cubicBezTo>
                    <a:cubicBezTo>
                      <a:pt x="84765" y="220042"/>
                      <a:pt x="51206" y="332923"/>
                      <a:pt x="26799" y="436652"/>
                    </a:cubicBezTo>
                    <a:cubicBezTo>
                      <a:pt x="-6761" y="604449"/>
                      <a:pt x="-40320" y="891229"/>
                      <a:pt x="136629" y="985805"/>
                    </a:cubicBezTo>
                    <a:close/>
                  </a:path>
                </a:pathLst>
              </a:custGeom>
              <a:solidFill>
                <a:srgbClr val="664241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6" name="任意多边形: 形状 375">
                <a:extLst>
                  <a:ext uri="{FF2B5EF4-FFF2-40B4-BE49-F238E27FC236}">
                    <a16:creationId xmlns:a16="http://schemas.microsoft.com/office/drawing/2014/main" id="{D9671A87-5554-4B1F-B8A7-22F4A779272B}"/>
                  </a:ext>
                </a:extLst>
              </p:cNvPr>
              <p:cNvSpPr/>
              <p:nvPr/>
            </p:nvSpPr>
            <p:spPr>
              <a:xfrm>
                <a:off x="2776822" y="4348421"/>
                <a:ext cx="1129033" cy="1077266"/>
              </a:xfrm>
              <a:custGeom>
                <a:avLst/>
                <a:gdLst>
                  <a:gd name="connsiteX0" fmla="*/ 11013 w 1129033"/>
                  <a:gd name="connsiteY0" fmla="*/ 744484 h 1077266"/>
                  <a:gd name="connsiteX1" fmla="*/ 480844 w 1129033"/>
                  <a:gd name="connsiteY1" fmla="*/ 1064823 h 1077266"/>
                  <a:gd name="connsiteX2" fmla="*/ 895759 w 1129033"/>
                  <a:gd name="connsiteY2" fmla="*/ 1073975 h 1077266"/>
                  <a:gd name="connsiteX3" fmla="*/ 1106267 w 1129033"/>
                  <a:gd name="connsiteY3" fmla="*/ 903128 h 1077266"/>
                  <a:gd name="connsiteX4" fmla="*/ 877454 w 1129033"/>
                  <a:gd name="connsiteY4" fmla="*/ 161772 h 1077266"/>
                  <a:gd name="connsiteX5" fmla="*/ 544911 w 1129033"/>
                  <a:gd name="connsiteY5" fmla="*/ 3128 h 1077266"/>
                  <a:gd name="connsiteX6" fmla="*/ 175759 w 1129033"/>
                  <a:gd name="connsiteY6" fmla="*/ 88551 h 1077266"/>
                  <a:gd name="connsiteX7" fmla="*/ 26267 w 1129033"/>
                  <a:gd name="connsiteY7" fmla="*/ 372280 h 1077266"/>
                  <a:gd name="connsiteX8" fmla="*/ 11013 w 1129033"/>
                  <a:gd name="connsiteY8" fmla="*/ 744484 h 1077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29033" h="1077266">
                    <a:moveTo>
                      <a:pt x="11013" y="744484"/>
                    </a:moveTo>
                    <a:cubicBezTo>
                      <a:pt x="56776" y="1006856"/>
                      <a:pt x="282538" y="1055670"/>
                      <a:pt x="480844" y="1064823"/>
                    </a:cubicBezTo>
                    <a:cubicBezTo>
                      <a:pt x="618132" y="1070924"/>
                      <a:pt x="758471" y="1083128"/>
                      <a:pt x="895759" y="1073975"/>
                    </a:cubicBezTo>
                    <a:cubicBezTo>
                      <a:pt x="993386" y="1067873"/>
                      <a:pt x="1072708" y="1009907"/>
                      <a:pt x="1106267" y="903128"/>
                    </a:cubicBezTo>
                    <a:cubicBezTo>
                      <a:pt x="1194742" y="628551"/>
                      <a:pt x="1005589" y="292958"/>
                      <a:pt x="877454" y="161772"/>
                    </a:cubicBezTo>
                    <a:cubicBezTo>
                      <a:pt x="810335" y="91602"/>
                      <a:pt x="666945" y="12280"/>
                      <a:pt x="544911" y="3128"/>
                    </a:cubicBezTo>
                    <a:cubicBezTo>
                      <a:pt x="422877" y="-6025"/>
                      <a:pt x="279488" y="77"/>
                      <a:pt x="175759" y="88551"/>
                    </a:cubicBezTo>
                    <a:cubicBezTo>
                      <a:pt x="96437" y="155670"/>
                      <a:pt x="50674" y="265500"/>
                      <a:pt x="26267" y="372280"/>
                    </a:cubicBezTo>
                    <a:cubicBezTo>
                      <a:pt x="1860" y="491263"/>
                      <a:pt x="-10343" y="622450"/>
                      <a:pt x="11013" y="744484"/>
                    </a:cubicBezTo>
                    <a:close/>
                  </a:path>
                </a:pathLst>
              </a:custGeom>
              <a:solidFill>
                <a:srgbClr val="D3977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7" name="任意多边形: 形状 376">
                <a:extLst>
                  <a:ext uri="{FF2B5EF4-FFF2-40B4-BE49-F238E27FC236}">
                    <a16:creationId xmlns:a16="http://schemas.microsoft.com/office/drawing/2014/main" id="{E3ACC53B-622A-4BFD-966A-6771C9FA19BC}"/>
                  </a:ext>
                </a:extLst>
              </p:cNvPr>
              <p:cNvSpPr/>
              <p:nvPr/>
            </p:nvSpPr>
            <p:spPr>
              <a:xfrm>
                <a:off x="2976276" y="4867047"/>
                <a:ext cx="836715" cy="445519"/>
              </a:xfrm>
              <a:custGeom>
                <a:avLst/>
                <a:gdLst>
                  <a:gd name="connsiteX0" fmla="*/ 470542 w 836715"/>
                  <a:gd name="connsiteY0" fmla="*/ 445519 h 445519"/>
                  <a:gd name="connsiteX1" fmla="*/ 76983 w 836715"/>
                  <a:gd name="connsiteY1" fmla="*/ 411960 h 445519"/>
                  <a:gd name="connsiteX2" fmla="*/ 12915 w 836715"/>
                  <a:gd name="connsiteY2" fmla="*/ 45858 h 445519"/>
                  <a:gd name="connsiteX3" fmla="*/ 89186 w 836715"/>
                  <a:gd name="connsiteY3" fmla="*/ 18401 h 445519"/>
                  <a:gd name="connsiteX4" fmla="*/ 806136 w 836715"/>
                  <a:gd name="connsiteY4" fmla="*/ 61113 h 445519"/>
                  <a:gd name="connsiteX5" fmla="*/ 806136 w 836715"/>
                  <a:gd name="connsiteY5" fmla="*/ 61113 h 445519"/>
                  <a:gd name="connsiteX6" fmla="*/ 787830 w 836715"/>
                  <a:gd name="connsiteY6" fmla="*/ 411960 h 445519"/>
                  <a:gd name="connsiteX7" fmla="*/ 470542 w 836715"/>
                  <a:gd name="connsiteY7" fmla="*/ 445519 h 445519"/>
                  <a:gd name="connsiteX8" fmla="*/ 388169 w 836715"/>
                  <a:gd name="connsiteY8" fmla="*/ 12299 h 445519"/>
                  <a:gd name="connsiteX9" fmla="*/ 89186 w 836715"/>
                  <a:gd name="connsiteY9" fmla="*/ 30604 h 445519"/>
                  <a:gd name="connsiteX10" fmla="*/ 19017 w 836715"/>
                  <a:gd name="connsiteY10" fmla="*/ 51960 h 445519"/>
                  <a:gd name="connsiteX11" fmla="*/ 80034 w 836715"/>
                  <a:gd name="connsiteY11" fmla="*/ 402807 h 445519"/>
                  <a:gd name="connsiteX12" fmla="*/ 778678 w 836715"/>
                  <a:gd name="connsiteY12" fmla="*/ 402807 h 445519"/>
                  <a:gd name="connsiteX13" fmla="*/ 796983 w 836715"/>
                  <a:gd name="connsiteY13" fmla="*/ 67214 h 445519"/>
                  <a:gd name="connsiteX14" fmla="*/ 796983 w 836715"/>
                  <a:gd name="connsiteY14" fmla="*/ 67214 h 445519"/>
                  <a:gd name="connsiteX15" fmla="*/ 388169 w 836715"/>
                  <a:gd name="connsiteY15" fmla="*/ 12299 h 445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36715" h="445519">
                    <a:moveTo>
                      <a:pt x="470542" y="445519"/>
                    </a:moveTo>
                    <a:cubicBezTo>
                      <a:pt x="293593" y="445519"/>
                      <a:pt x="107491" y="433316"/>
                      <a:pt x="76983" y="411960"/>
                    </a:cubicBezTo>
                    <a:cubicBezTo>
                      <a:pt x="6813" y="369248"/>
                      <a:pt x="-17593" y="112977"/>
                      <a:pt x="12915" y="45858"/>
                    </a:cubicBezTo>
                    <a:cubicBezTo>
                      <a:pt x="15966" y="39757"/>
                      <a:pt x="28169" y="27553"/>
                      <a:pt x="89186" y="18401"/>
                    </a:cubicBezTo>
                    <a:cubicBezTo>
                      <a:pt x="272237" y="-12108"/>
                      <a:pt x="739017" y="-9057"/>
                      <a:pt x="806136" y="61113"/>
                    </a:cubicBezTo>
                    <a:lnTo>
                      <a:pt x="806136" y="61113"/>
                    </a:lnTo>
                    <a:cubicBezTo>
                      <a:pt x="854949" y="112977"/>
                      <a:pt x="842746" y="357045"/>
                      <a:pt x="787830" y="411960"/>
                    </a:cubicBezTo>
                    <a:cubicBezTo>
                      <a:pt x="763424" y="436367"/>
                      <a:pt x="620034" y="445519"/>
                      <a:pt x="470542" y="445519"/>
                    </a:cubicBezTo>
                    <a:close/>
                    <a:moveTo>
                      <a:pt x="388169" y="12299"/>
                    </a:moveTo>
                    <a:cubicBezTo>
                      <a:pt x="272237" y="12299"/>
                      <a:pt x="159356" y="18401"/>
                      <a:pt x="89186" y="30604"/>
                    </a:cubicBezTo>
                    <a:cubicBezTo>
                      <a:pt x="28169" y="39757"/>
                      <a:pt x="22068" y="48909"/>
                      <a:pt x="19017" y="51960"/>
                    </a:cubicBezTo>
                    <a:cubicBezTo>
                      <a:pt x="-11492" y="116028"/>
                      <a:pt x="15966" y="363147"/>
                      <a:pt x="80034" y="402807"/>
                    </a:cubicBezTo>
                    <a:cubicBezTo>
                      <a:pt x="128847" y="433316"/>
                      <a:pt x="729864" y="451621"/>
                      <a:pt x="778678" y="402807"/>
                    </a:cubicBezTo>
                    <a:cubicBezTo>
                      <a:pt x="827491" y="353994"/>
                      <a:pt x="839695" y="116028"/>
                      <a:pt x="796983" y="67214"/>
                    </a:cubicBezTo>
                    <a:lnTo>
                      <a:pt x="796983" y="67214"/>
                    </a:lnTo>
                    <a:cubicBezTo>
                      <a:pt x="757322" y="30604"/>
                      <a:pt x="571220" y="12299"/>
                      <a:pt x="388169" y="1229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8" name="任意多边形: 形状 377">
                <a:extLst>
                  <a:ext uri="{FF2B5EF4-FFF2-40B4-BE49-F238E27FC236}">
                    <a16:creationId xmlns:a16="http://schemas.microsoft.com/office/drawing/2014/main" id="{4E2D4221-B00C-4477-A4A5-53AEE2A54EED}"/>
                  </a:ext>
                </a:extLst>
              </p:cNvPr>
              <p:cNvSpPr/>
              <p:nvPr/>
            </p:nvSpPr>
            <p:spPr>
              <a:xfrm>
                <a:off x="2952120" y="4423197"/>
                <a:ext cx="766223" cy="300555"/>
              </a:xfrm>
              <a:custGeom>
                <a:avLst/>
                <a:gdLst>
                  <a:gd name="connsiteX0" fmla="*/ 348257 w 766223"/>
                  <a:gd name="connsiteY0" fmla="*/ 300556 h 300555"/>
                  <a:gd name="connsiteX1" fmla="*/ 34020 w 766223"/>
                  <a:gd name="connsiteY1" fmla="*/ 270047 h 300555"/>
                  <a:gd name="connsiteX2" fmla="*/ 461 w 766223"/>
                  <a:gd name="connsiteY2" fmla="*/ 187675 h 300555"/>
                  <a:gd name="connsiteX3" fmla="*/ 70630 w 766223"/>
                  <a:gd name="connsiteY3" fmla="*/ 44285 h 300555"/>
                  <a:gd name="connsiteX4" fmla="*/ 601478 w 766223"/>
                  <a:gd name="connsiteY4" fmla="*/ 44285 h 300555"/>
                  <a:gd name="connsiteX5" fmla="*/ 601478 w 766223"/>
                  <a:gd name="connsiteY5" fmla="*/ 44285 h 300555"/>
                  <a:gd name="connsiteX6" fmla="*/ 766223 w 766223"/>
                  <a:gd name="connsiteY6" fmla="*/ 263946 h 300555"/>
                  <a:gd name="connsiteX7" fmla="*/ 763173 w 766223"/>
                  <a:gd name="connsiteY7" fmla="*/ 273098 h 300555"/>
                  <a:gd name="connsiteX8" fmla="*/ 348257 w 766223"/>
                  <a:gd name="connsiteY8" fmla="*/ 300556 h 300555"/>
                  <a:gd name="connsiteX9" fmla="*/ 348257 w 766223"/>
                  <a:gd name="connsiteY9" fmla="*/ 13776 h 300555"/>
                  <a:gd name="connsiteX10" fmla="*/ 79783 w 766223"/>
                  <a:gd name="connsiteY10" fmla="*/ 56488 h 300555"/>
                  <a:gd name="connsiteX11" fmla="*/ 15715 w 766223"/>
                  <a:gd name="connsiteY11" fmla="*/ 190725 h 300555"/>
                  <a:gd name="connsiteX12" fmla="*/ 43173 w 766223"/>
                  <a:gd name="connsiteY12" fmla="*/ 260895 h 300555"/>
                  <a:gd name="connsiteX13" fmla="*/ 418427 w 766223"/>
                  <a:gd name="connsiteY13" fmla="*/ 288353 h 300555"/>
                  <a:gd name="connsiteX14" fmla="*/ 760122 w 766223"/>
                  <a:gd name="connsiteY14" fmla="*/ 263946 h 300555"/>
                  <a:gd name="connsiteX15" fmla="*/ 601478 w 766223"/>
                  <a:gd name="connsiteY15" fmla="*/ 56488 h 300555"/>
                  <a:gd name="connsiteX16" fmla="*/ 348257 w 766223"/>
                  <a:gd name="connsiteY16" fmla="*/ 13776 h 300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66223" h="300555">
                    <a:moveTo>
                      <a:pt x="348257" y="300556"/>
                    </a:moveTo>
                    <a:cubicBezTo>
                      <a:pt x="201817" y="300556"/>
                      <a:pt x="67579" y="291403"/>
                      <a:pt x="34020" y="270047"/>
                    </a:cubicBezTo>
                    <a:cubicBezTo>
                      <a:pt x="9613" y="254793"/>
                      <a:pt x="-2590" y="224285"/>
                      <a:pt x="461" y="187675"/>
                    </a:cubicBezTo>
                    <a:cubicBezTo>
                      <a:pt x="6562" y="126658"/>
                      <a:pt x="46223" y="56488"/>
                      <a:pt x="70630" y="44285"/>
                    </a:cubicBezTo>
                    <a:cubicBezTo>
                      <a:pt x="101139" y="29031"/>
                      <a:pt x="357410" y="-47241"/>
                      <a:pt x="601478" y="44285"/>
                    </a:cubicBezTo>
                    <a:lnTo>
                      <a:pt x="601478" y="44285"/>
                    </a:lnTo>
                    <a:cubicBezTo>
                      <a:pt x="607579" y="47336"/>
                      <a:pt x="744867" y="135810"/>
                      <a:pt x="766223" y="263946"/>
                    </a:cubicBezTo>
                    <a:cubicBezTo>
                      <a:pt x="766223" y="266997"/>
                      <a:pt x="766223" y="270047"/>
                      <a:pt x="763173" y="273098"/>
                    </a:cubicBezTo>
                    <a:cubicBezTo>
                      <a:pt x="744867" y="288353"/>
                      <a:pt x="537410" y="300556"/>
                      <a:pt x="348257" y="300556"/>
                    </a:cubicBezTo>
                    <a:close/>
                    <a:moveTo>
                      <a:pt x="348257" y="13776"/>
                    </a:moveTo>
                    <a:cubicBezTo>
                      <a:pt x="207918" y="13776"/>
                      <a:pt x="95037" y="47336"/>
                      <a:pt x="79783" y="56488"/>
                    </a:cubicBezTo>
                    <a:cubicBezTo>
                      <a:pt x="61478" y="65641"/>
                      <a:pt x="18766" y="132759"/>
                      <a:pt x="15715" y="190725"/>
                    </a:cubicBezTo>
                    <a:cubicBezTo>
                      <a:pt x="12664" y="224285"/>
                      <a:pt x="21817" y="248692"/>
                      <a:pt x="43173" y="260895"/>
                    </a:cubicBezTo>
                    <a:cubicBezTo>
                      <a:pt x="73681" y="282251"/>
                      <a:pt x="217071" y="291403"/>
                      <a:pt x="418427" y="288353"/>
                    </a:cubicBezTo>
                    <a:cubicBezTo>
                      <a:pt x="601478" y="285302"/>
                      <a:pt x="741817" y="273098"/>
                      <a:pt x="760122" y="263946"/>
                    </a:cubicBezTo>
                    <a:cubicBezTo>
                      <a:pt x="738766" y="148013"/>
                      <a:pt x="610630" y="62590"/>
                      <a:pt x="601478" y="56488"/>
                    </a:cubicBezTo>
                    <a:cubicBezTo>
                      <a:pt x="516054" y="25980"/>
                      <a:pt x="427579" y="13776"/>
                      <a:pt x="348257" y="1377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9" name="任意多边形: 形状 378">
                <a:extLst>
                  <a:ext uri="{FF2B5EF4-FFF2-40B4-BE49-F238E27FC236}">
                    <a16:creationId xmlns:a16="http://schemas.microsoft.com/office/drawing/2014/main" id="{CE1D8E3B-2E4E-43B8-B2DA-5BCFC4936C29}"/>
                  </a:ext>
                </a:extLst>
              </p:cNvPr>
              <p:cNvSpPr/>
              <p:nvPr/>
            </p:nvSpPr>
            <p:spPr>
              <a:xfrm>
                <a:off x="3303428" y="4501041"/>
                <a:ext cx="73220" cy="73220"/>
              </a:xfrm>
              <a:custGeom>
                <a:avLst/>
                <a:gdLst>
                  <a:gd name="connsiteX0" fmla="*/ 0 w 73220"/>
                  <a:gd name="connsiteY0" fmla="*/ 36610 h 73220"/>
                  <a:gd name="connsiteX1" fmla="*/ 36610 w 73220"/>
                  <a:gd name="connsiteY1" fmla="*/ 73220 h 73220"/>
                  <a:gd name="connsiteX2" fmla="*/ 73220 w 73220"/>
                  <a:gd name="connsiteY2" fmla="*/ 36610 h 73220"/>
                  <a:gd name="connsiteX3" fmla="*/ 36610 w 73220"/>
                  <a:gd name="connsiteY3" fmla="*/ 0 h 73220"/>
                  <a:gd name="connsiteX4" fmla="*/ 0 w 73220"/>
                  <a:gd name="connsiteY4" fmla="*/ 36610 h 73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220" h="73220">
                    <a:moveTo>
                      <a:pt x="0" y="36610"/>
                    </a:moveTo>
                    <a:cubicBezTo>
                      <a:pt x="0" y="57966"/>
                      <a:pt x="15254" y="73220"/>
                      <a:pt x="36610" y="73220"/>
                    </a:cubicBezTo>
                    <a:cubicBezTo>
                      <a:pt x="57966" y="73220"/>
                      <a:pt x="73220" y="57966"/>
                      <a:pt x="73220" y="36610"/>
                    </a:cubicBezTo>
                    <a:cubicBezTo>
                      <a:pt x="73220" y="15254"/>
                      <a:pt x="57966" y="0"/>
                      <a:pt x="36610" y="0"/>
                    </a:cubicBezTo>
                    <a:cubicBezTo>
                      <a:pt x="18305" y="0"/>
                      <a:pt x="0" y="18305"/>
                      <a:pt x="0" y="3661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0" name="任意多边形: 形状 379">
                <a:extLst>
                  <a:ext uri="{FF2B5EF4-FFF2-40B4-BE49-F238E27FC236}">
                    <a16:creationId xmlns:a16="http://schemas.microsoft.com/office/drawing/2014/main" id="{C1F5F0CC-8910-4618-A28E-B05F6E5F6ED9}"/>
                  </a:ext>
                </a:extLst>
              </p:cNvPr>
              <p:cNvSpPr/>
              <p:nvPr/>
            </p:nvSpPr>
            <p:spPr>
              <a:xfrm>
                <a:off x="3620716" y="4976973"/>
                <a:ext cx="73220" cy="73220"/>
              </a:xfrm>
              <a:custGeom>
                <a:avLst/>
                <a:gdLst>
                  <a:gd name="connsiteX0" fmla="*/ 0 w 73220"/>
                  <a:gd name="connsiteY0" fmla="*/ 36610 h 73220"/>
                  <a:gd name="connsiteX1" fmla="*/ 36610 w 73220"/>
                  <a:gd name="connsiteY1" fmla="*/ 73220 h 73220"/>
                  <a:gd name="connsiteX2" fmla="*/ 73220 w 73220"/>
                  <a:gd name="connsiteY2" fmla="*/ 36610 h 73220"/>
                  <a:gd name="connsiteX3" fmla="*/ 36610 w 73220"/>
                  <a:gd name="connsiteY3" fmla="*/ 0 h 73220"/>
                  <a:gd name="connsiteX4" fmla="*/ 0 w 73220"/>
                  <a:gd name="connsiteY4" fmla="*/ 36610 h 73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220" h="73220">
                    <a:moveTo>
                      <a:pt x="0" y="36610"/>
                    </a:moveTo>
                    <a:cubicBezTo>
                      <a:pt x="0" y="57966"/>
                      <a:pt x="15254" y="73220"/>
                      <a:pt x="36610" y="73220"/>
                    </a:cubicBezTo>
                    <a:cubicBezTo>
                      <a:pt x="57966" y="73220"/>
                      <a:pt x="73220" y="57966"/>
                      <a:pt x="73220" y="36610"/>
                    </a:cubicBezTo>
                    <a:cubicBezTo>
                      <a:pt x="73220" y="15254"/>
                      <a:pt x="57966" y="0"/>
                      <a:pt x="36610" y="0"/>
                    </a:cubicBezTo>
                    <a:cubicBezTo>
                      <a:pt x="15254" y="0"/>
                      <a:pt x="0" y="15254"/>
                      <a:pt x="0" y="3661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1" name="任意多边形: 形状 380">
                <a:extLst>
                  <a:ext uri="{FF2B5EF4-FFF2-40B4-BE49-F238E27FC236}">
                    <a16:creationId xmlns:a16="http://schemas.microsoft.com/office/drawing/2014/main" id="{9672D14F-F1C6-4B58-9D73-DDBA10D80186}"/>
                  </a:ext>
                </a:extLst>
              </p:cNvPr>
              <p:cNvSpPr/>
              <p:nvPr/>
            </p:nvSpPr>
            <p:spPr>
              <a:xfrm>
                <a:off x="3083767" y="4976973"/>
                <a:ext cx="73220" cy="73220"/>
              </a:xfrm>
              <a:custGeom>
                <a:avLst/>
                <a:gdLst>
                  <a:gd name="connsiteX0" fmla="*/ 0 w 73220"/>
                  <a:gd name="connsiteY0" fmla="*/ 36610 h 73220"/>
                  <a:gd name="connsiteX1" fmla="*/ 36610 w 73220"/>
                  <a:gd name="connsiteY1" fmla="*/ 73220 h 73220"/>
                  <a:gd name="connsiteX2" fmla="*/ 73220 w 73220"/>
                  <a:gd name="connsiteY2" fmla="*/ 36610 h 73220"/>
                  <a:gd name="connsiteX3" fmla="*/ 36610 w 73220"/>
                  <a:gd name="connsiteY3" fmla="*/ 0 h 73220"/>
                  <a:gd name="connsiteX4" fmla="*/ 0 w 73220"/>
                  <a:gd name="connsiteY4" fmla="*/ 36610 h 73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220" h="73220">
                    <a:moveTo>
                      <a:pt x="0" y="36610"/>
                    </a:moveTo>
                    <a:cubicBezTo>
                      <a:pt x="0" y="57966"/>
                      <a:pt x="15254" y="73220"/>
                      <a:pt x="36610" y="73220"/>
                    </a:cubicBezTo>
                    <a:cubicBezTo>
                      <a:pt x="57966" y="73220"/>
                      <a:pt x="73220" y="57966"/>
                      <a:pt x="73220" y="36610"/>
                    </a:cubicBezTo>
                    <a:cubicBezTo>
                      <a:pt x="73220" y="15254"/>
                      <a:pt x="57966" y="0"/>
                      <a:pt x="36610" y="0"/>
                    </a:cubicBezTo>
                    <a:cubicBezTo>
                      <a:pt x="15254" y="0"/>
                      <a:pt x="0" y="15254"/>
                      <a:pt x="0" y="3661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82" name="图形 114">
              <a:extLst>
                <a:ext uri="{FF2B5EF4-FFF2-40B4-BE49-F238E27FC236}">
                  <a16:creationId xmlns:a16="http://schemas.microsoft.com/office/drawing/2014/main" id="{9B118E89-9211-4851-A00F-787C4806825E}"/>
                </a:ext>
              </a:extLst>
            </p:cNvPr>
            <p:cNvGrpSpPr/>
            <p:nvPr/>
          </p:nvGrpSpPr>
          <p:grpSpPr>
            <a:xfrm>
              <a:off x="3049328" y="4009525"/>
              <a:ext cx="309015" cy="312264"/>
              <a:chOff x="3049328" y="4009525"/>
              <a:chExt cx="309015" cy="312264"/>
            </a:xfrm>
          </p:grpSpPr>
          <p:sp>
            <p:nvSpPr>
              <p:cNvPr id="383" name="任意多边形: 形状 382">
                <a:extLst>
                  <a:ext uri="{FF2B5EF4-FFF2-40B4-BE49-F238E27FC236}">
                    <a16:creationId xmlns:a16="http://schemas.microsoft.com/office/drawing/2014/main" id="{217E5C99-AC72-4DF2-9ED4-16159327D87F}"/>
                  </a:ext>
                </a:extLst>
              </p:cNvPr>
              <p:cNvSpPr/>
              <p:nvPr/>
            </p:nvSpPr>
            <p:spPr>
              <a:xfrm>
                <a:off x="3049328" y="4009525"/>
                <a:ext cx="302698" cy="312264"/>
              </a:xfrm>
              <a:custGeom>
                <a:avLst/>
                <a:gdLst>
                  <a:gd name="connsiteX0" fmla="*/ 6981 w 302698"/>
                  <a:gd name="connsiteY0" fmla="*/ 107109 h 312264"/>
                  <a:gd name="connsiteX1" fmla="*/ 49693 w 302698"/>
                  <a:gd name="connsiteY1" fmla="*/ 204736 h 312264"/>
                  <a:gd name="connsiteX2" fmla="*/ 71049 w 302698"/>
                  <a:gd name="connsiteY2" fmla="*/ 290160 h 312264"/>
                  <a:gd name="connsiteX3" fmla="*/ 129015 w 302698"/>
                  <a:gd name="connsiteY3" fmla="*/ 290160 h 312264"/>
                  <a:gd name="connsiteX4" fmla="*/ 168676 w 302698"/>
                  <a:gd name="connsiteY4" fmla="*/ 311516 h 312264"/>
                  <a:gd name="connsiteX5" fmla="*/ 196134 w 302698"/>
                  <a:gd name="connsiteY5" fmla="*/ 290160 h 312264"/>
                  <a:gd name="connsiteX6" fmla="*/ 251049 w 302698"/>
                  <a:gd name="connsiteY6" fmla="*/ 265753 h 312264"/>
                  <a:gd name="connsiteX7" fmla="*/ 290710 w 302698"/>
                  <a:gd name="connsiteY7" fmla="*/ 259651 h 312264"/>
                  <a:gd name="connsiteX8" fmla="*/ 284608 w 302698"/>
                  <a:gd name="connsiteY8" fmla="*/ 192532 h 312264"/>
                  <a:gd name="connsiteX9" fmla="*/ 150371 w 302698"/>
                  <a:gd name="connsiteY9" fmla="*/ 329 h 312264"/>
                  <a:gd name="connsiteX10" fmla="*/ 16134 w 302698"/>
                  <a:gd name="connsiteY10" fmla="*/ 49143 h 312264"/>
                  <a:gd name="connsiteX11" fmla="*/ 6981 w 302698"/>
                  <a:gd name="connsiteY11" fmla="*/ 107109 h 312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2698" h="312264">
                    <a:moveTo>
                      <a:pt x="6981" y="107109"/>
                    </a:moveTo>
                    <a:cubicBezTo>
                      <a:pt x="19185" y="140668"/>
                      <a:pt x="37490" y="171177"/>
                      <a:pt x="49693" y="204736"/>
                    </a:cubicBezTo>
                    <a:cubicBezTo>
                      <a:pt x="61896" y="238295"/>
                      <a:pt x="52744" y="259651"/>
                      <a:pt x="71049" y="290160"/>
                    </a:cubicBezTo>
                    <a:cubicBezTo>
                      <a:pt x="86303" y="314566"/>
                      <a:pt x="110710" y="308465"/>
                      <a:pt x="129015" y="290160"/>
                    </a:cubicBezTo>
                    <a:cubicBezTo>
                      <a:pt x="138168" y="308465"/>
                      <a:pt x="147320" y="314566"/>
                      <a:pt x="168676" y="311516"/>
                    </a:cubicBezTo>
                    <a:cubicBezTo>
                      <a:pt x="177829" y="311516"/>
                      <a:pt x="193083" y="299312"/>
                      <a:pt x="196134" y="290160"/>
                    </a:cubicBezTo>
                    <a:cubicBezTo>
                      <a:pt x="205286" y="305414"/>
                      <a:pt x="247998" y="293210"/>
                      <a:pt x="251049" y="265753"/>
                    </a:cubicBezTo>
                    <a:cubicBezTo>
                      <a:pt x="266303" y="277956"/>
                      <a:pt x="281558" y="265753"/>
                      <a:pt x="290710" y="259651"/>
                    </a:cubicBezTo>
                    <a:cubicBezTo>
                      <a:pt x="318168" y="238295"/>
                      <a:pt x="290710" y="207787"/>
                      <a:pt x="284608" y="192532"/>
                    </a:cubicBezTo>
                    <a:cubicBezTo>
                      <a:pt x="244947" y="104058"/>
                      <a:pt x="202235" y="82702"/>
                      <a:pt x="150371" y="329"/>
                    </a:cubicBezTo>
                    <a:cubicBezTo>
                      <a:pt x="153422" y="-2722"/>
                      <a:pt x="49693" y="15583"/>
                      <a:pt x="16134" y="49143"/>
                    </a:cubicBezTo>
                    <a:cubicBezTo>
                      <a:pt x="-5222" y="73549"/>
                      <a:pt x="-2171" y="82702"/>
                      <a:pt x="6981" y="107109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4" name="任意多边形: 形状 383">
                <a:extLst>
                  <a:ext uri="{FF2B5EF4-FFF2-40B4-BE49-F238E27FC236}">
                    <a16:creationId xmlns:a16="http://schemas.microsoft.com/office/drawing/2014/main" id="{B686A824-26D0-49C8-A399-B450F2BD824F}"/>
                  </a:ext>
                </a:extLst>
              </p:cNvPr>
              <p:cNvSpPr/>
              <p:nvPr/>
            </p:nvSpPr>
            <p:spPr>
              <a:xfrm>
                <a:off x="3273683" y="4126549"/>
                <a:ext cx="84661" cy="160932"/>
              </a:xfrm>
              <a:custGeom>
                <a:avLst/>
                <a:gdLst>
                  <a:gd name="connsiteX0" fmla="*/ 38898 w 84661"/>
                  <a:gd name="connsiteY0" fmla="*/ 160932 h 160932"/>
                  <a:gd name="connsiteX1" fmla="*/ 23644 w 84661"/>
                  <a:gd name="connsiteY1" fmla="*/ 160932 h 160932"/>
                  <a:gd name="connsiteX2" fmla="*/ 20593 w 84661"/>
                  <a:gd name="connsiteY2" fmla="*/ 154830 h 160932"/>
                  <a:gd name="connsiteX3" fmla="*/ 26695 w 84661"/>
                  <a:gd name="connsiteY3" fmla="*/ 151780 h 160932"/>
                  <a:gd name="connsiteX4" fmla="*/ 66356 w 84661"/>
                  <a:gd name="connsiteY4" fmla="*/ 145678 h 160932"/>
                  <a:gd name="connsiteX5" fmla="*/ 72458 w 84661"/>
                  <a:gd name="connsiteY5" fmla="*/ 127373 h 160932"/>
                  <a:gd name="connsiteX6" fmla="*/ 2288 w 84661"/>
                  <a:gd name="connsiteY6" fmla="*/ 11441 h 160932"/>
                  <a:gd name="connsiteX7" fmla="*/ 2288 w 84661"/>
                  <a:gd name="connsiteY7" fmla="*/ 2288 h 160932"/>
                  <a:gd name="connsiteX8" fmla="*/ 11441 w 84661"/>
                  <a:gd name="connsiteY8" fmla="*/ 2288 h 160932"/>
                  <a:gd name="connsiteX9" fmla="*/ 84661 w 84661"/>
                  <a:gd name="connsiteY9" fmla="*/ 124322 h 160932"/>
                  <a:gd name="connsiteX10" fmla="*/ 75508 w 84661"/>
                  <a:gd name="connsiteY10" fmla="*/ 151780 h 160932"/>
                  <a:gd name="connsiteX11" fmla="*/ 38898 w 84661"/>
                  <a:gd name="connsiteY11" fmla="*/ 160932 h 160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4661" h="160932">
                    <a:moveTo>
                      <a:pt x="38898" y="160932"/>
                    </a:moveTo>
                    <a:cubicBezTo>
                      <a:pt x="29746" y="160932"/>
                      <a:pt x="26695" y="160932"/>
                      <a:pt x="23644" y="160932"/>
                    </a:cubicBezTo>
                    <a:cubicBezTo>
                      <a:pt x="20593" y="160932"/>
                      <a:pt x="17542" y="157882"/>
                      <a:pt x="20593" y="154830"/>
                    </a:cubicBezTo>
                    <a:cubicBezTo>
                      <a:pt x="20593" y="151780"/>
                      <a:pt x="23644" y="148729"/>
                      <a:pt x="26695" y="151780"/>
                    </a:cubicBezTo>
                    <a:cubicBezTo>
                      <a:pt x="26695" y="151780"/>
                      <a:pt x="54153" y="154830"/>
                      <a:pt x="66356" y="145678"/>
                    </a:cubicBezTo>
                    <a:cubicBezTo>
                      <a:pt x="72458" y="142627"/>
                      <a:pt x="72458" y="136525"/>
                      <a:pt x="72458" y="127373"/>
                    </a:cubicBezTo>
                    <a:cubicBezTo>
                      <a:pt x="69407" y="81610"/>
                      <a:pt x="2288" y="11441"/>
                      <a:pt x="2288" y="11441"/>
                    </a:cubicBezTo>
                    <a:cubicBezTo>
                      <a:pt x="-763" y="8390"/>
                      <a:pt x="-763" y="5339"/>
                      <a:pt x="2288" y="2288"/>
                    </a:cubicBezTo>
                    <a:cubicBezTo>
                      <a:pt x="5339" y="-763"/>
                      <a:pt x="8390" y="-763"/>
                      <a:pt x="11441" y="2288"/>
                    </a:cubicBezTo>
                    <a:cubicBezTo>
                      <a:pt x="14492" y="5339"/>
                      <a:pt x="81610" y="75508"/>
                      <a:pt x="84661" y="124322"/>
                    </a:cubicBezTo>
                    <a:cubicBezTo>
                      <a:pt x="84661" y="136525"/>
                      <a:pt x="81610" y="145678"/>
                      <a:pt x="75508" y="151780"/>
                    </a:cubicBezTo>
                    <a:cubicBezTo>
                      <a:pt x="63305" y="157882"/>
                      <a:pt x="48051" y="160932"/>
                      <a:pt x="38898" y="16093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5" name="任意多边形: 形状 384">
                <a:extLst>
                  <a:ext uri="{FF2B5EF4-FFF2-40B4-BE49-F238E27FC236}">
                    <a16:creationId xmlns:a16="http://schemas.microsoft.com/office/drawing/2014/main" id="{2D0B47C5-AC77-42AD-8726-9E83B518497D}"/>
                  </a:ext>
                </a:extLst>
              </p:cNvPr>
              <p:cNvSpPr/>
              <p:nvPr/>
            </p:nvSpPr>
            <p:spPr>
              <a:xfrm>
                <a:off x="3169191" y="4244769"/>
                <a:ext cx="97627" cy="24406"/>
              </a:xfrm>
              <a:custGeom>
                <a:avLst/>
                <a:gdLst>
                  <a:gd name="connsiteX0" fmla="*/ 6102 w 97627"/>
                  <a:gd name="connsiteY0" fmla="*/ 24407 h 24406"/>
                  <a:gd name="connsiteX1" fmla="*/ 0 w 97627"/>
                  <a:gd name="connsiteY1" fmla="*/ 18305 h 24406"/>
                  <a:gd name="connsiteX2" fmla="*/ 6102 w 97627"/>
                  <a:gd name="connsiteY2" fmla="*/ 12203 h 24406"/>
                  <a:gd name="connsiteX3" fmla="*/ 91525 w 97627"/>
                  <a:gd name="connsiteY3" fmla="*/ 0 h 24406"/>
                  <a:gd name="connsiteX4" fmla="*/ 97627 w 97627"/>
                  <a:gd name="connsiteY4" fmla="*/ 3051 h 24406"/>
                  <a:gd name="connsiteX5" fmla="*/ 94576 w 97627"/>
                  <a:gd name="connsiteY5" fmla="*/ 9153 h 24406"/>
                  <a:gd name="connsiteX6" fmla="*/ 6102 w 97627"/>
                  <a:gd name="connsiteY6" fmla="*/ 24407 h 24406"/>
                  <a:gd name="connsiteX7" fmla="*/ 6102 w 97627"/>
                  <a:gd name="connsiteY7" fmla="*/ 24407 h 24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627" h="24406">
                    <a:moveTo>
                      <a:pt x="6102" y="24407"/>
                    </a:moveTo>
                    <a:cubicBezTo>
                      <a:pt x="3051" y="24407"/>
                      <a:pt x="0" y="21356"/>
                      <a:pt x="0" y="18305"/>
                    </a:cubicBezTo>
                    <a:cubicBezTo>
                      <a:pt x="0" y="15254"/>
                      <a:pt x="3051" y="12203"/>
                      <a:pt x="6102" y="12203"/>
                    </a:cubicBezTo>
                    <a:cubicBezTo>
                      <a:pt x="24407" y="12203"/>
                      <a:pt x="76271" y="6102"/>
                      <a:pt x="91525" y="0"/>
                    </a:cubicBezTo>
                    <a:cubicBezTo>
                      <a:pt x="94576" y="0"/>
                      <a:pt x="97627" y="0"/>
                      <a:pt x="97627" y="3051"/>
                    </a:cubicBezTo>
                    <a:cubicBezTo>
                      <a:pt x="97627" y="6102"/>
                      <a:pt x="97627" y="9153"/>
                      <a:pt x="94576" y="9153"/>
                    </a:cubicBezTo>
                    <a:cubicBezTo>
                      <a:pt x="76271" y="21356"/>
                      <a:pt x="9153" y="24407"/>
                      <a:pt x="6102" y="24407"/>
                    </a:cubicBezTo>
                    <a:cubicBezTo>
                      <a:pt x="6102" y="24407"/>
                      <a:pt x="6102" y="24407"/>
                      <a:pt x="6102" y="2440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86" name="任意多边形: 形状 385">
              <a:extLst>
                <a:ext uri="{FF2B5EF4-FFF2-40B4-BE49-F238E27FC236}">
                  <a16:creationId xmlns:a16="http://schemas.microsoft.com/office/drawing/2014/main" id="{B71EEF9B-087B-4DF2-A0DE-85656FC72140}"/>
                </a:ext>
              </a:extLst>
            </p:cNvPr>
            <p:cNvSpPr/>
            <p:nvPr/>
          </p:nvSpPr>
          <p:spPr>
            <a:xfrm>
              <a:off x="2717653" y="2593716"/>
              <a:ext cx="823938" cy="1556477"/>
            </a:xfrm>
            <a:custGeom>
              <a:avLst/>
              <a:gdLst>
                <a:gd name="connsiteX0" fmla="*/ 790182 w 823938"/>
                <a:gd name="connsiteY0" fmla="*/ 28003 h 1556477"/>
                <a:gd name="connsiteX1" fmla="*/ 658996 w 823938"/>
                <a:gd name="connsiteY1" fmla="*/ 531393 h 1556477"/>
                <a:gd name="connsiteX2" fmla="*/ 369165 w 823938"/>
                <a:gd name="connsiteY2" fmla="*/ 894444 h 1556477"/>
                <a:gd name="connsiteX3" fmla="*/ 506453 w 823938"/>
                <a:gd name="connsiteY3" fmla="*/ 1446647 h 1556477"/>
                <a:gd name="connsiteX4" fmla="*/ 353911 w 823938"/>
                <a:gd name="connsiteY4" fmla="*/ 1556478 h 1556477"/>
                <a:gd name="connsiteX5" fmla="*/ 12 w 823938"/>
                <a:gd name="connsiteY5" fmla="*/ 860884 h 1556477"/>
                <a:gd name="connsiteX6" fmla="*/ 790182 w 823938"/>
                <a:gd name="connsiteY6" fmla="*/ 28003 h 1556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3938" h="1556477">
                  <a:moveTo>
                    <a:pt x="790182" y="28003"/>
                  </a:moveTo>
                  <a:cubicBezTo>
                    <a:pt x="893911" y="113427"/>
                    <a:pt x="732216" y="421562"/>
                    <a:pt x="658996" y="531393"/>
                  </a:cubicBezTo>
                  <a:cubicBezTo>
                    <a:pt x="594928" y="629020"/>
                    <a:pt x="369165" y="894444"/>
                    <a:pt x="369165" y="894444"/>
                  </a:cubicBezTo>
                  <a:lnTo>
                    <a:pt x="506453" y="1446647"/>
                  </a:lnTo>
                  <a:lnTo>
                    <a:pt x="353911" y="1556478"/>
                  </a:lnTo>
                  <a:cubicBezTo>
                    <a:pt x="353911" y="1556478"/>
                    <a:pt x="12" y="989020"/>
                    <a:pt x="12" y="860884"/>
                  </a:cubicBezTo>
                  <a:cubicBezTo>
                    <a:pt x="-3038" y="717495"/>
                    <a:pt x="555267" y="-167251"/>
                    <a:pt x="790182" y="28003"/>
                  </a:cubicBezTo>
                  <a:close/>
                </a:path>
              </a:pathLst>
            </a:custGeom>
            <a:solidFill>
              <a:srgbClr val="7F95BC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7" name="任意多边形: 形状 386">
              <a:extLst>
                <a:ext uri="{FF2B5EF4-FFF2-40B4-BE49-F238E27FC236}">
                  <a16:creationId xmlns:a16="http://schemas.microsoft.com/office/drawing/2014/main" id="{E949090C-59AD-4A71-9282-7FD4730B85A4}"/>
                </a:ext>
              </a:extLst>
            </p:cNvPr>
            <p:cNvSpPr/>
            <p:nvPr/>
          </p:nvSpPr>
          <p:spPr>
            <a:xfrm>
              <a:off x="3368259" y="2585046"/>
              <a:ext cx="178365" cy="543113"/>
            </a:xfrm>
            <a:custGeom>
              <a:avLst/>
              <a:gdLst>
                <a:gd name="connsiteX0" fmla="*/ 5339 w 178365"/>
                <a:gd name="connsiteY0" fmla="*/ 543113 h 543113"/>
                <a:gd name="connsiteX1" fmla="*/ 2288 w 178365"/>
                <a:gd name="connsiteY1" fmla="*/ 543113 h 543113"/>
                <a:gd name="connsiteX2" fmla="*/ 2288 w 178365"/>
                <a:gd name="connsiteY2" fmla="*/ 533961 h 543113"/>
                <a:gd name="connsiteX3" fmla="*/ 157881 w 178365"/>
                <a:gd name="connsiteY3" fmla="*/ 192266 h 543113"/>
                <a:gd name="connsiteX4" fmla="*/ 133475 w 178365"/>
                <a:gd name="connsiteY4" fmla="*/ 42774 h 543113"/>
                <a:gd name="connsiteX5" fmla="*/ 66356 w 178365"/>
                <a:gd name="connsiteY5" fmla="*/ 12266 h 543113"/>
                <a:gd name="connsiteX6" fmla="*/ 60254 w 178365"/>
                <a:gd name="connsiteY6" fmla="*/ 6164 h 543113"/>
                <a:gd name="connsiteX7" fmla="*/ 66356 w 178365"/>
                <a:gd name="connsiteY7" fmla="*/ 62 h 543113"/>
                <a:gd name="connsiteX8" fmla="*/ 145678 w 178365"/>
                <a:gd name="connsiteY8" fmla="*/ 33622 h 543113"/>
                <a:gd name="connsiteX9" fmla="*/ 173136 w 178365"/>
                <a:gd name="connsiteY9" fmla="*/ 192266 h 543113"/>
                <a:gd name="connsiteX10" fmla="*/ 14492 w 178365"/>
                <a:gd name="connsiteY10" fmla="*/ 540062 h 543113"/>
                <a:gd name="connsiteX11" fmla="*/ 5339 w 178365"/>
                <a:gd name="connsiteY11" fmla="*/ 543113 h 543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8365" h="543113">
                  <a:moveTo>
                    <a:pt x="5339" y="543113"/>
                  </a:moveTo>
                  <a:cubicBezTo>
                    <a:pt x="5339" y="543113"/>
                    <a:pt x="2288" y="543113"/>
                    <a:pt x="2288" y="543113"/>
                  </a:cubicBezTo>
                  <a:cubicBezTo>
                    <a:pt x="-763" y="540062"/>
                    <a:pt x="-763" y="537011"/>
                    <a:pt x="2288" y="533961"/>
                  </a:cubicBezTo>
                  <a:cubicBezTo>
                    <a:pt x="2288" y="530910"/>
                    <a:pt x="127373" y="369215"/>
                    <a:pt x="157881" y="192266"/>
                  </a:cubicBezTo>
                  <a:cubicBezTo>
                    <a:pt x="170085" y="125147"/>
                    <a:pt x="160932" y="73283"/>
                    <a:pt x="133475" y="42774"/>
                  </a:cubicBezTo>
                  <a:cubicBezTo>
                    <a:pt x="106017" y="12266"/>
                    <a:pt x="66356" y="12266"/>
                    <a:pt x="66356" y="12266"/>
                  </a:cubicBezTo>
                  <a:cubicBezTo>
                    <a:pt x="63305" y="12266"/>
                    <a:pt x="60254" y="9215"/>
                    <a:pt x="60254" y="6164"/>
                  </a:cubicBezTo>
                  <a:cubicBezTo>
                    <a:pt x="60254" y="3113"/>
                    <a:pt x="63305" y="62"/>
                    <a:pt x="66356" y="62"/>
                  </a:cubicBezTo>
                  <a:cubicBezTo>
                    <a:pt x="69407" y="62"/>
                    <a:pt x="112119" y="-2989"/>
                    <a:pt x="145678" y="33622"/>
                  </a:cubicBezTo>
                  <a:cubicBezTo>
                    <a:pt x="176186" y="67181"/>
                    <a:pt x="185339" y="119045"/>
                    <a:pt x="173136" y="192266"/>
                  </a:cubicBezTo>
                  <a:cubicBezTo>
                    <a:pt x="142627" y="372266"/>
                    <a:pt x="14492" y="537011"/>
                    <a:pt x="14492" y="540062"/>
                  </a:cubicBezTo>
                  <a:cubicBezTo>
                    <a:pt x="11441" y="543113"/>
                    <a:pt x="8390" y="543113"/>
                    <a:pt x="5339" y="543113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8" name="任意多边形: 形状 387">
              <a:extLst>
                <a:ext uri="{FF2B5EF4-FFF2-40B4-BE49-F238E27FC236}">
                  <a16:creationId xmlns:a16="http://schemas.microsoft.com/office/drawing/2014/main" id="{987B4B27-D610-4898-B5D7-01D374FD46A6}"/>
                </a:ext>
              </a:extLst>
            </p:cNvPr>
            <p:cNvSpPr/>
            <p:nvPr/>
          </p:nvSpPr>
          <p:spPr>
            <a:xfrm>
              <a:off x="3373598" y="3613244"/>
              <a:ext cx="305084" cy="320339"/>
            </a:xfrm>
            <a:custGeom>
              <a:avLst/>
              <a:gdLst>
                <a:gd name="connsiteX0" fmla="*/ 42712 w 305084"/>
                <a:gd name="connsiteY0" fmla="*/ 320339 h 320339"/>
                <a:gd name="connsiteX1" fmla="*/ 39661 w 305084"/>
                <a:gd name="connsiteY1" fmla="*/ 317288 h 320339"/>
                <a:gd name="connsiteX2" fmla="*/ 0 w 305084"/>
                <a:gd name="connsiteY2" fmla="*/ 268475 h 320339"/>
                <a:gd name="connsiteX3" fmla="*/ 0 w 305084"/>
                <a:gd name="connsiteY3" fmla="*/ 262373 h 320339"/>
                <a:gd name="connsiteX4" fmla="*/ 231864 w 305084"/>
                <a:gd name="connsiteY4" fmla="*/ 3051 h 320339"/>
                <a:gd name="connsiteX5" fmla="*/ 234915 w 305084"/>
                <a:gd name="connsiteY5" fmla="*/ 0 h 320339"/>
                <a:gd name="connsiteX6" fmla="*/ 237966 w 305084"/>
                <a:gd name="connsiteY6" fmla="*/ 0 h 320339"/>
                <a:gd name="connsiteX7" fmla="*/ 302034 w 305084"/>
                <a:gd name="connsiteY7" fmla="*/ 30508 h 320339"/>
                <a:gd name="connsiteX8" fmla="*/ 305085 w 305084"/>
                <a:gd name="connsiteY8" fmla="*/ 33559 h 320339"/>
                <a:gd name="connsiteX9" fmla="*/ 305085 w 305084"/>
                <a:gd name="connsiteY9" fmla="*/ 36610 h 320339"/>
                <a:gd name="connsiteX10" fmla="*/ 42712 w 305084"/>
                <a:gd name="connsiteY10" fmla="*/ 320339 h 320339"/>
                <a:gd name="connsiteX11" fmla="*/ 42712 w 305084"/>
                <a:gd name="connsiteY11" fmla="*/ 320339 h 320339"/>
                <a:gd name="connsiteX12" fmla="*/ 12203 w 305084"/>
                <a:gd name="connsiteY12" fmla="*/ 265424 h 320339"/>
                <a:gd name="connsiteX13" fmla="*/ 42712 w 305084"/>
                <a:gd name="connsiteY13" fmla="*/ 305085 h 320339"/>
                <a:gd name="connsiteX14" fmla="*/ 289831 w 305084"/>
                <a:gd name="connsiteY14" fmla="*/ 33559 h 320339"/>
                <a:gd name="connsiteX15" fmla="*/ 237966 w 305084"/>
                <a:gd name="connsiteY15" fmla="*/ 9153 h 320339"/>
                <a:gd name="connsiteX16" fmla="*/ 12203 w 305084"/>
                <a:gd name="connsiteY16" fmla="*/ 265424 h 32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5084" h="320339">
                  <a:moveTo>
                    <a:pt x="42712" y="320339"/>
                  </a:moveTo>
                  <a:cubicBezTo>
                    <a:pt x="39661" y="320339"/>
                    <a:pt x="39661" y="320339"/>
                    <a:pt x="39661" y="317288"/>
                  </a:cubicBezTo>
                  <a:lnTo>
                    <a:pt x="0" y="268475"/>
                  </a:lnTo>
                  <a:cubicBezTo>
                    <a:pt x="0" y="265424"/>
                    <a:pt x="0" y="262373"/>
                    <a:pt x="0" y="262373"/>
                  </a:cubicBezTo>
                  <a:cubicBezTo>
                    <a:pt x="3051" y="259322"/>
                    <a:pt x="198305" y="76271"/>
                    <a:pt x="231864" y="3051"/>
                  </a:cubicBezTo>
                  <a:cubicBezTo>
                    <a:pt x="231864" y="3051"/>
                    <a:pt x="234915" y="0"/>
                    <a:pt x="234915" y="0"/>
                  </a:cubicBezTo>
                  <a:cubicBezTo>
                    <a:pt x="234915" y="0"/>
                    <a:pt x="237966" y="0"/>
                    <a:pt x="237966" y="0"/>
                  </a:cubicBezTo>
                  <a:lnTo>
                    <a:pt x="302034" y="30508"/>
                  </a:lnTo>
                  <a:cubicBezTo>
                    <a:pt x="302034" y="30508"/>
                    <a:pt x="305085" y="33559"/>
                    <a:pt x="305085" y="33559"/>
                  </a:cubicBezTo>
                  <a:cubicBezTo>
                    <a:pt x="305085" y="33559"/>
                    <a:pt x="305085" y="36610"/>
                    <a:pt x="305085" y="36610"/>
                  </a:cubicBezTo>
                  <a:cubicBezTo>
                    <a:pt x="298983" y="45763"/>
                    <a:pt x="170847" y="256271"/>
                    <a:pt x="42712" y="320339"/>
                  </a:cubicBezTo>
                  <a:cubicBezTo>
                    <a:pt x="45763" y="320339"/>
                    <a:pt x="42712" y="320339"/>
                    <a:pt x="42712" y="320339"/>
                  </a:cubicBezTo>
                  <a:close/>
                  <a:moveTo>
                    <a:pt x="12203" y="265424"/>
                  </a:moveTo>
                  <a:lnTo>
                    <a:pt x="42712" y="305085"/>
                  </a:lnTo>
                  <a:cubicBezTo>
                    <a:pt x="152542" y="247119"/>
                    <a:pt x="268475" y="67119"/>
                    <a:pt x="289831" y="33559"/>
                  </a:cubicBezTo>
                  <a:lnTo>
                    <a:pt x="237966" y="9153"/>
                  </a:lnTo>
                  <a:cubicBezTo>
                    <a:pt x="201356" y="85424"/>
                    <a:pt x="39661" y="241017"/>
                    <a:pt x="12203" y="265424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9" name="任意多边形: 形状 388">
              <a:extLst>
                <a:ext uri="{FF2B5EF4-FFF2-40B4-BE49-F238E27FC236}">
                  <a16:creationId xmlns:a16="http://schemas.microsoft.com/office/drawing/2014/main" id="{072D7AD7-B65C-4E33-9B01-760BF42C627D}"/>
                </a:ext>
              </a:extLst>
            </p:cNvPr>
            <p:cNvSpPr/>
            <p:nvPr/>
          </p:nvSpPr>
          <p:spPr>
            <a:xfrm>
              <a:off x="4319360" y="3692566"/>
              <a:ext cx="147704" cy="207457"/>
            </a:xfrm>
            <a:custGeom>
              <a:avLst/>
              <a:gdLst>
                <a:gd name="connsiteX0" fmla="*/ 143390 w 147704"/>
                <a:gd name="connsiteY0" fmla="*/ 207457 h 207457"/>
                <a:gd name="connsiteX1" fmla="*/ 143390 w 147704"/>
                <a:gd name="connsiteY1" fmla="*/ 207457 h 207457"/>
                <a:gd name="connsiteX2" fmla="*/ 0 w 147704"/>
                <a:gd name="connsiteY2" fmla="*/ 79322 h 207457"/>
                <a:gd name="connsiteX3" fmla="*/ 0 w 147704"/>
                <a:gd name="connsiteY3" fmla="*/ 76271 h 207457"/>
                <a:gd name="connsiteX4" fmla="*/ 12203 w 147704"/>
                <a:gd name="connsiteY4" fmla="*/ 3051 h 207457"/>
                <a:gd name="connsiteX5" fmla="*/ 15254 w 147704"/>
                <a:gd name="connsiteY5" fmla="*/ 0 h 207457"/>
                <a:gd name="connsiteX6" fmla="*/ 21356 w 147704"/>
                <a:gd name="connsiteY6" fmla="*/ 3051 h 207457"/>
                <a:gd name="connsiteX7" fmla="*/ 131186 w 147704"/>
                <a:gd name="connsiteY7" fmla="*/ 106780 h 207457"/>
                <a:gd name="connsiteX8" fmla="*/ 134237 w 147704"/>
                <a:gd name="connsiteY8" fmla="*/ 115932 h 207457"/>
                <a:gd name="connsiteX9" fmla="*/ 125085 w 147704"/>
                <a:gd name="connsiteY9" fmla="*/ 118983 h 207457"/>
                <a:gd name="connsiteX10" fmla="*/ 18305 w 147704"/>
                <a:gd name="connsiteY10" fmla="*/ 21356 h 207457"/>
                <a:gd name="connsiteX11" fmla="*/ 9153 w 147704"/>
                <a:gd name="connsiteY11" fmla="*/ 79322 h 207457"/>
                <a:gd name="connsiteX12" fmla="*/ 140339 w 147704"/>
                <a:gd name="connsiteY12" fmla="*/ 198305 h 207457"/>
                <a:gd name="connsiteX13" fmla="*/ 146441 w 147704"/>
                <a:gd name="connsiteY13" fmla="*/ 204407 h 207457"/>
                <a:gd name="connsiteX14" fmla="*/ 143390 w 147704"/>
                <a:gd name="connsiteY14" fmla="*/ 207457 h 207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7704" h="207457">
                  <a:moveTo>
                    <a:pt x="143390" y="207457"/>
                  </a:moveTo>
                  <a:cubicBezTo>
                    <a:pt x="143390" y="207457"/>
                    <a:pt x="143390" y="207457"/>
                    <a:pt x="143390" y="207457"/>
                  </a:cubicBezTo>
                  <a:cubicBezTo>
                    <a:pt x="51864" y="198305"/>
                    <a:pt x="3051" y="85424"/>
                    <a:pt x="0" y="79322"/>
                  </a:cubicBezTo>
                  <a:cubicBezTo>
                    <a:pt x="0" y="79322"/>
                    <a:pt x="0" y="76271"/>
                    <a:pt x="0" y="76271"/>
                  </a:cubicBezTo>
                  <a:lnTo>
                    <a:pt x="12203" y="3051"/>
                  </a:lnTo>
                  <a:cubicBezTo>
                    <a:pt x="12203" y="0"/>
                    <a:pt x="15254" y="0"/>
                    <a:pt x="15254" y="0"/>
                  </a:cubicBezTo>
                  <a:cubicBezTo>
                    <a:pt x="18305" y="0"/>
                    <a:pt x="18305" y="0"/>
                    <a:pt x="21356" y="3051"/>
                  </a:cubicBezTo>
                  <a:cubicBezTo>
                    <a:pt x="64068" y="61017"/>
                    <a:pt x="131186" y="106780"/>
                    <a:pt x="131186" y="106780"/>
                  </a:cubicBezTo>
                  <a:cubicBezTo>
                    <a:pt x="134237" y="109830"/>
                    <a:pt x="134237" y="112881"/>
                    <a:pt x="134237" y="115932"/>
                  </a:cubicBezTo>
                  <a:cubicBezTo>
                    <a:pt x="131186" y="118983"/>
                    <a:pt x="128136" y="118983"/>
                    <a:pt x="125085" y="118983"/>
                  </a:cubicBezTo>
                  <a:cubicBezTo>
                    <a:pt x="122034" y="115932"/>
                    <a:pt x="61017" y="76271"/>
                    <a:pt x="18305" y="21356"/>
                  </a:cubicBezTo>
                  <a:lnTo>
                    <a:pt x="9153" y="79322"/>
                  </a:lnTo>
                  <a:cubicBezTo>
                    <a:pt x="15254" y="91525"/>
                    <a:pt x="61017" y="192203"/>
                    <a:pt x="140339" y="198305"/>
                  </a:cubicBezTo>
                  <a:cubicBezTo>
                    <a:pt x="143390" y="198305"/>
                    <a:pt x="146441" y="201356"/>
                    <a:pt x="146441" y="204407"/>
                  </a:cubicBezTo>
                  <a:cubicBezTo>
                    <a:pt x="149492" y="207457"/>
                    <a:pt x="146441" y="207457"/>
                    <a:pt x="143390" y="207457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90" name="图形 114">
              <a:extLst>
                <a:ext uri="{FF2B5EF4-FFF2-40B4-BE49-F238E27FC236}">
                  <a16:creationId xmlns:a16="http://schemas.microsoft.com/office/drawing/2014/main" id="{9B118E89-9211-4851-A00F-787C4806825E}"/>
                </a:ext>
              </a:extLst>
            </p:cNvPr>
            <p:cNvGrpSpPr/>
            <p:nvPr/>
          </p:nvGrpSpPr>
          <p:grpSpPr>
            <a:xfrm>
              <a:off x="5298682" y="3201380"/>
              <a:ext cx="790169" cy="787118"/>
              <a:chOff x="5298682" y="3201380"/>
              <a:chExt cx="790169" cy="787118"/>
            </a:xfrm>
          </p:grpSpPr>
          <p:sp>
            <p:nvSpPr>
              <p:cNvPr id="391" name="任意多边形: 形状 390">
                <a:extLst>
                  <a:ext uri="{FF2B5EF4-FFF2-40B4-BE49-F238E27FC236}">
                    <a16:creationId xmlns:a16="http://schemas.microsoft.com/office/drawing/2014/main" id="{63ADEA95-898B-4D08-B2B3-87AA5DD0F823}"/>
                  </a:ext>
                </a:extLst>
              </p:cNvPr>
              <p:cNvSpPr/>
              <p:nvPr/>
            </p:nvSpPr>
            <p:spPr>
              <a:xfrm>
                <a:off x="5298682" y="3201380"/>
                <a:ext cx="753559" cy="695593"/>
              </a:xfrm>
              <a:custGeom>
                <a:avLst/>
                <a:gdLst>
                  <a:gd name="connsiteX0" fmla="*/ 0 w 753559"/>
                  <a:gd name="connsiteY0" fmla="*/ 607119 h 695593"/>
                  <a:gd name="connsiteX1" fmla="*/ 500339 w 753559"/>
                  <a:gd name="connsiteY1" fmla="*/ 695593 h 695593"/>
                  <a:gd name="connsiteX2" fmla="*/ 753559 w 753559"/>
                  <a:gd name="connsiteY2" fmla="*/ 112881 h 695593"/>
                  <a:gd name="connsiteX3" fmla="*/ 219661 w 753559"/>
                  <a:gd name="connsiteY3" fmla="*/ 0 h 695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3559" h="695593">
                    <a:moveTo>
                      <a:pt x="0" y="607119"/>
                    </a:moveTo>
                    <a:lnTo>
                      <a:pt x="500339" y="695593"/>
                    </a:lnTo>
                    <a:lnTo>
                      <a:pt x="753559" y="112881"/>
                    </a:lnTo>
                    <a:lnTo>
                      <a:pt x="219661" y="0"/>
                    </a:lnTo>
                    <a:close/>
                  </a:path>
                </a:pathLst>
              </a:custGeom>
              <a:solidFill>
                <a:srgbClr val="D16156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2" name="任意多边形: 形状 391">
                <a:extLst>
                  <a:ext uri="{FF2B5EF4-FFF2-40B4-BE49-F238E27FC236}">
                    <a16:creationId xmlns:a16="http://schemas.microsoft.com/office/drawing/2014/main" id="{8640BED7-EFA9-416D-B05C-410E06CFBA28}"/>
                  </a:ext>
                </a:extLst>
              </p:cNvPr>
              <p:cNvSpPr/>
              <p:nvPr/>
            </p:nvSpPr>
            <p:spPr>
              <a:xfrm>
                <a:off x="5911903" y="3314261"/>
                <a:ext cx="176949" cy="173898"/>
              </a:xfrm>
              <a:custGeom>
                <a:avLst/>
                <a:gdLst>
                  <a:gd name="connsiteX0" fmla="*/ 176949 w 176949"/>
                  <a:gd name="connsiteY0" fmla="*/ 88475 h 173898"/>
                  <a:gd name="connsiteX1" fmla="*/ 140339 w 176949"/>
                  <a:gd name="connsiteY1" fmla="*/ 0 h 173898"/>
                  <a:gd name="connsiteX2" fmla="*/ 0 w 176949"/>
                  <a:gd name="connsiteY2" fmla="*/ 88475 h 173898"/>
                  <a:gd name="connsiteX3" fmla="*/ 21356 w 176949"/>
                  <a:gd name="connsiteY3" fmla="*/ 173898 h 17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6949" h="173898">
                    <a:moveTo>
                      <a:pt x="176949" y="88475"/>
                    </a:moveTo>
                    <a:lnTo>
                      <a:pt x="140339" y="0"/>
                    </a:lnTo>
                    <a:lnTo>
                      <a:pt x="0" y="88475"/>
                    </a:lnTo>
                    <a:lnTo>
                      <a:pt x="21356" y="173898"/>
                    </a:lnTo>
                    <a:close/>
                  </a:path>
                </a:pathLst>
              </a:custGeom>
              <a:solidFill>
                <a:srgbClr val="D16156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3" name="任意多边形: 形状 392">
                <a:extLst>
                  <a:ext uri="{FF2B5EF4-FFF2-40B4-BE49-F238E27FC236}">
                    <a16:creationId xmlns:a16="http://schemas.microsoft.com/office/drawing/2014/main" id="{AC09C3C3-AC71-416A-8DF4-751FC41F2260}"/>
                  </a:ext>
                </a:extLst>
              </p:cNvPr>
              <p:cNvSpPr/>
              <p:nvPr/>
            </p:nvSpPr>
            <p:spPr>
              <a:xfrm>
                <a:off x="5344445" y="3231888"/>
                <a:ext cx="710847" cy="643728"/>
              </a:xfrm>
              <a:custGeom>
                <a:avLst/>
                <a:gdLst>
                  <a:gd name="connsiteX0" fmla="*/ 710848 w 710847"/>
                  <a:gd name="connsiteY0" fmla="*/ 173898 h 643728"/>
                  <a:gd name="connsiteX1" fmla="*/ 686441 w 710847"/>
                  <a:gd name="connsiteY1" fmla="*/ 106780 h 643728"/>
                  <a:gd name="connsiteX2" fmla="*/ 198305 w 710847"/>
                  <a:gd name="connsiteY2" fmla="*/ 0 h 643728"/>
                  <a:gd name="connsiteX3" fmla="*/ 0 w 710847"/>
                  <a:gd name="connsiteY3" fmla="*/ 549153 h 643728"/>
                  <a:gd name="connsiteX4" fmla="*/ 39661 w 710847"/>
                  <a:gd name="connsiteY4" fmla="*/ 643729 h 643728"/>
                  <a:gd name="connsiteX5" fmla="*/ 219661 w 710847"/>
                  <a:gd name="connsiteY5" fmla="*/ 567458 h 643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10847" h="643728">
                    <a:moveTo>
                      <a:pt x="710848" y="173898"/>
                    </a:moveTo>
                    <a:lnTo>
                      <a:pt x="686441" y="106780"/>
                    </a:lnTo>
                    <a:lnTo>
                      <a:pt x="198305" y="0"/>
                    </a:lnTo>
                    <a:lnTo>
                      <a:pt x="0" y="549153"/>
                    </a:lnTo>
                    <a:lnTo>
                      <a:pt x="39661" y="643729"/>
                    </a:lnTo>
                    <a:lnTo>
                      <a:pt x="219661" y="567458"/>
                    </a:lnTo>
                    <a:close/>
                  </a:path>
                </a:pathLst>
              </a:custGeom>
              <a:solidFill>
                <a:srgbClr val="FFFFFF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4" name="任意多边形: 形状 393">
                <a:extLst>
                  <a:ext uri="{FF2B5EF4-FFF2-40B4-BE49-F238E27FC236}">
                    <a16:creationId xmlns:a16="http://schemas.microsoft.com/office/drawing/2014/main" id="{436100B6-F631-4F12-BC10-E54F75B6B8AD}"/>
                  </a:ext>
                </a:extLst>
              </p:cNvPr>
              <p:cNvSpPr/>
              <p:nvPr/>
            </p:nvSpPr>
            <p:spPr>
              <a:xfrm>
                <a:off x="5338344" y="3289854"/>
                <a:ext cx="750508" cy="698643"/>
              </a:xfrm>
              <a:custGeom>
                <a:avLst/>
                <a:gdLst>
                  <a:gd name="connsiteX0" fmla="*/ 0 w 750508"/>
                  <a:gd name="connsiteY0" fmla="*/ 607119 h 698643"/>
                  <a:gd name="connsiteX1" fmla="*/ 500339 w 750508"/>
                  <a:gd name="connsiteY1" fmla="*/ 698644 h 698643"/>
                  <a:gd name="connsiteX2" fmla="*/ 750508 w 750508"/>
                  <a:gd name="connsiteY2" fmla="*/ 112881 h 698643"/>
                  <a:gd name="connsiteX3" fmla="*/ 219661 w 750508"/>
                  <a:gd name="connsiteY3" fmla="*/ 0 h 698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0508" h="698643">
                    <a:moveTo>
                      <a:pt x="0" y="607119"/>
                    </a:moveTo>
                    <a:lnTo>
                      <a:pt x="500339" y="698644"/>
                    </a:lnTo>
                    <a:lnTo>
                      <a:pt x="750508" y="112881"/>
                    </a:lnTo>
                    <a:lnTo>
                      <a:pt x="219661" y="0"/>
                    </a:lnTo>
                    <a:close/>
                  </a:path>
                </a:pathLst>
              </a:custGeom>
              <a:solidFill>
                <a:srgbClr val="D16156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95" name="任意多边形: 形状 394">
              <a:extLst>
                <a:ext uri="{FF2B5EF4-FFF2-40B4-BE49-F238E27FC236}">
                  <a16:creationId xmlns:a16="http://schemas.microsoft.com/office/drawing/2014/main" id="{D3714119-6B1D-4931-A9A8-7D00EFF328A3}"/>
                </a:ext>
              </a:extLst>
            </p:cNvPr>
            <p:cNvSpPr/>
            <p:nvPr/>
          </p:nvSpPr>
          <p:spPr>
            <a:xfrm>
              <a:off x="5324784" y="3447582"/>
              <a:ext cx="153561" cy="111831"/>
            </a:xfrm>
            <a:custGeom>
              <a:avLst/>
              <a:gdLst>
                <a:gd name="connsiteX0" fmla="*/ 141695 w 153561"/>
                <a:gd name="connsiteY0" fmla="*/ 28374 h 111831"/>
                <a:gd name="connsiteX1" fmla="*/ 31864 w 153561"/>
                <a:gd name="connsiteY1" fmla="*/ 3967 h 111831"/>
                <a:gd name="connsiteX2" fmla="*/ 1356 w 153561"/>
                <a:gd name="connsiteY2" fmla="*/ 80238 h 111831"/>
                <a:gd name="connsiteX3" fmla="*/ 62373 w 153561"/>
                <a:gd name="connsiteY3" fmla="*/ 61933 h 111831"/>
                <a:gd name="connsiteX4" fmla="*/ 120339 w 153561"/>
                <a:gd name="connsiteY4" fmla="*/ 89391 h 111831"/>
                <a:gd name="connsiteX5" fmla="*/ 141695 w 153561"/>
                <a:gd name="connsiteY5" fmla="*/ 110747 h 111831"/>
                <a:gd name="connsiteX6" fmla="*/ 141695 w 153561"/>
                <a:gd name="connsiteY6" fmla="*/ 28374 h 111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3561" h="111831">
                  <a:moveTo>
                    <a:pt x="141695" y="28374"/>
                  </a:moveTo>
                  <a:cubicBezTo>
                    <a:pt x="120339" y="916"/>
                    <a:pt x="62373" y="-5185"/>
                    <a:pt x="31864" y="3967"/>
                  </a:cubicBezTo>
                  <a:cubicBezTo>
                    <a:pt x="10508" y="10069"/>
                    <a:pt x="-4746" y="80238"/>
                    <a:pt x="1356" y="80238"/>
                  </a:cubicBezTo>
                  <a:cubicBezTo>
                    <a:pt x="16610" y="77188"/>
                    <a:pt x="47118" y="61933"/>
                    <a:pt x="62373" y="61933"/>
                  </a:cubicBezTo>
                  <a:cubicBezTo>
                    <a:pt x="89830" y="61933"/>
                    <a:pt x="105085" y="74137"/>
                    <a:pt x="120339" y="89391"/>
                  </a:cubicBezTo>
                  <a:cubicBezTo>
                    <a:pt x="126440" y="95493"/>
                    <a:pt x="129491" y="116849"/>
                    <a:pt x="141695" y="110747"/>
                  </a:cubicBezTo>
                  <a:cubicBezTo>
                    <a:pt x="163051" y="104645"/>
                    <a:pt x="150847" y="43628"/>
                    <a:pt x="141695" y="28374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6" name="任意多边形: 形状 395">
              <a:extLst>
                <a:ext uri="{FF2B5EF4-FFF2-40B4-BE49-F238E27FC236}">
                  <a16:creationId xmlns:a16="http://schemas.microsoft.com/office/drawing/2014/main" id="{7D5BBD51-A57A-49B0-971A-6D17A5E31558}"/>
                </a:ext>
              </a:extLst>
            </p:cNvPr>
            <p:cNvSpPr/>
            <p:nvPr/>
          </p:nvSpPr>
          <p:spPr>
            <a:xfrm>
              <a:off x="5347496" y="3451952"/>
              <a:ext cx="140249" cy="115529"/>
            </a:xfrm>
            <a:custGeom>
              <a:avLst/>
              <a:gdLst>
                <a:gd name="connsiteX0" fmla="*/ 118983 w 140249"/>
                <a:gd name="connsiteY0" fmla="*/ 115530 h 115529"/>
                <a:gd name="connsiteX1" fmla="*/ 94576 w 140249"/>
                <a:gd name="connsiteY1" fmla="*/ 97225 h 115529"/>
                <a:gd name="connsiteX2" fmla="*/ 42712 w 140249"/>
                <a:gd name="connsiteY2" fmla="*/ 63665 h 115529"/>
                <a:gd name="connsiteX3" fmla="*/ 6102 w 140249"/>
                <a:gd name="connsiteY3" fmla="*/ 100275 h 115529"/>
                <a:gd name="connsiteX4" fmla="*/ 0 w 140249"/>
                <a:gd name="connsiteY4" fmla="*/ 97225 h 115529"/>
                <a:gd name="connsiteX5" fmla="*/ 3051 w 140249"/>
                <a:gd name="connsiteY5" fmla="*/ 91123 h 115529"/>
                <a:gd name="connsiteX6" fmla="*/ 33560 w 140249"/>
                <a:gd name="connsiteY6" fmla="*/ 57564 h 115529"/>
                <a:gd name="connsiteX7" fmla="*/ 39661 w 140249"/>
                <a:gd name="connsiteY7" fmla="*/ 54513 h 115529"/>
                <a:gd name="connsiteX8" fmla="*/ 42712 w 140249"/>
                <a:gd name="connsiteY8" fmla="*/ 54513 h 115529"/>
                <a:gd name="connsiteX9" fmla="*/ 103729 w 140249"/>
                <a:gd name="connsiteY9" fmla="*/ 91123 h 115529"/>
                <a:gd name="connsiteX10" fmla="*/ 118983 w 140249"/>
                <a:gd name="connsiteY10" fmla="*/ 106377 h 115529"/>
                <a:gd name="connsiteX11" fmla="*/ 125085 w 140249"/>
                <a:gd name="connsiteY11" fmla="*/ 103326 h 115529"/>
                <a:gd name="connsiteX12" fmla="*/ 115932 w 140249"/>
                <a:gd name="connsiteY12" fmla="*/ 33157 h 115529"/>
                <a:gd name="connsiteX13" fmla="*/ 12203 w 140249"/>
                <a:gd name="connsiteY13" fmla="*/ 11801 h 115529"/>
                <a:gd name="connsiteX14" fmla="*/ 6102 w 140249"/>
                <a:gd name="connsiteY14" fmla="*/ 8750 h 115529"/>
                <a:gd name="connsiteX15" fmla="*/ 9153 w 140249"/>
                <a:gd name="connsiteY15" fmla="*/ 2648 h 115529"/>
                <a:gd name="connsiteX16" fmla="*/ 125085 w 140249"/>
                <a:gd name="connsiteY16" fmla="*/ 30106 h 115529"/>
                <a:gd name="connsiteX17" fmla="*/ 134237 w 140249"/>
                <a:gd name="connsiteY17" fmla="*/ 112479 h 115529"/>
                <a:gd name="connsiteX18" fmla="*/ 118983 w 140249"/>
                <a:gd name="connsiteY18" fmla="*/ 115530 h 115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0249" h="115529">
                  <a:moveTo>
                    <a:pt x="118983" y="115530"/>
                  </a:moveTo>
                  <a:cubicBezTo>
                    <a:pt x="109831" y="115530"/>
                    <a:pt x="103729" y="106377"/>
                    <a:pt x="94576" y="97225"/>
                  </a:cubicBezTo>
                  <a:cubicBezTo>
                    <a:pt x="82373" y="81970"/>
                    <a:pt x="70170" y="63665"/>
                    <a:pt x="42712" y="63665"/>
                  </a:cubicBezTo>
                  <a:cubicBezTo>
                    <a:pt x="39661" y="72818"/>
                    <a:pt x="27458" y="94174"/>
                    <a:pt x="6102" y="100275"/>
                  </a:cubicBezTo>
                  <a:cubicBezTo>
                    <a:pt x="3051" y="100275"/>
                    <a:pt x="0" y="100275"/>
                    <a:pt x="0" y="97225"/>
                  </a:cubicBezTo>
                  <a:cubicBezTo>
                    <a:pt x="0" y="94174"/>
                    <a:pt x="0" y="91123"/>
                    <a:pt x="3051" y="91123"/>
                  </a:cubicBezTo>
                  <a:cubicBezTo>
                    <a:pt x="21356" y="85021"/>
                    <a:pt x="33560" y="57564"/>
                    <a:pt x="33560" y="57564"/>
                  </a:cubicBezTo>
                  <a:cubicBezTo>
                    <a:pt x="33560" y="54513"/>
                    <a:pt x="36610" y="54513"/>
                    <a:pt x="39661" y="54513"/>
                  </a:cubicBezTo>
                  <a:cubicBezTo>
                    <a:pt x="39661" y="54513"/>
                    <a:pt x="42712" y="54513"/>
                    <a:pt x="42712" y="54513"/>
                  </a:cubicBezTo>
                  <a:cubicBezTo>
                    <a:pt x="73220" y="54513"/>
                    <a:pt x="91525" y="75869"/>
                    <a:pt x="103729" y="91123"/>
                  </a:cubicBezTo>
                  <a:cubicBezTo>
                    <a:pt x="109831" y="97225"/>
                    <a:pt x="115932" y="106377"/>
                    <a:pt x="118983" y="106377"/>
                  </a:cubicBezTo>
                  <a:cubicBezTo>
                    <a:pt x="118983" y="106377"/>
                    <a:pt x="122034" y="106377"/>
                    <a:pt x="125085" y="103326"/>
                  </a:cubicBezTo>
                  <a:cubicBezTo>
                    <a:pt x="131187" y="91123"/>
                    <a:pt x="131187" y="60614"/>
                    <a:pt x="115932" y="33157"/>
                  </a:cubicBezTo>
                  <a:cubicBezTo>
                    <a:pt x="94576" y="-3453"/>
                    <a:pt x="12203" y="11801"/>
                    <a:pt x="12203" y="11801"/>
                  </a:cubicBezTo>
                  <a:cubicBezTo>
                    <a:pt x="9153" y="11801"/>
                    <a:pt x="6102" y="11801"/>
                    <a:pt x="6102" y="8750"/>
                  </a:cubicBezTo>
                  <a:cubicBezTo>
                    <a:pt x="6102" y="5699"/>
                    <a:pt x="6102" y="2648"/>
                    <a:pt x="9153" y="2648"/>
                  </a:cubicBezTo>
                  <a:cubicBezTo>
                    <a:pt x="12203" y="2648"/>
                    <a:pt x="100678" y="-12606"/>
                    <a:pt x="125085" y="30106"/>
                  </a:cubicBezTo>
                  <a:cubicBezTo>
                    <a:pt x="143390" y="60614"/>
                    <a:pt x="143390" y="97225"/>
                    <a:pt x="134237" y="112479"/>
                  </a:cubicBezTo>
                  <a:cubicBezTo>
                    <a:pt x="131187" y="112479"/>
                    <a:pt x="125085" y="115530"/>
                    <a:pt x="118983" y="115530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40177718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6EAC907B-FBA5-4435-9BF6-020355B43FFD}"/>
              </a:ext>
            </a:extLst>
          </p:cNvPr>
          <p:cNvGrpSpPr/>
          <p:nvPr/>
        </p:nvGrpSpPr>
        <p:grpSpPr>
          <a:xfrm>
            <a:off x="3187138" y="1777702"/>
            <a:ext cx="2350716" cy="4894500"/>
            <a:chOff x="16667164" y="1777702"/>
            <a:chExt cx="2350716" cy="4894500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691594E8-FAEF-4FA0-941F-29E2EC2D03F2}"/>
                </a:ext>
              </a:extLst>
            </p:cNvPr>
            <p:cNvSpPr/>
            <p:nvPr/>
          </p:nvSpPr>
          <p:spPr>
            <a:xfrm>
              <a:off x="17011755" y="4054681"/>
              <a:ext cx="1094584" cy="2505475"/>
            </a:xfrm>
            <a:custGeom>
              <a:avLst/>
              <a:gdLst>
                <a:gd name="connsiteX0" fmla="*/ 1063071 w 1094584"/>
                <a:gd name="connsiteY0" fmla="*/ 28012 h 2505475"/>
                <a:gd name="connsiteX1" fmla="*/ 1081745 w 1094584"/>
                <a:gd name="connsiteY1" fmla="*/ 1441038 h 2505475"/>
                <a:gd name="connsiteX2" fmla="*/ 938575 w 1094584"/>
                <a:gd name="connsiteY2" fmla="*/ 2465014 h 2505475"/>
                <a:gd name="connsiteX3" fmla="*/ 767394 w 1094584"/>
                <a:gd name="connsiteY3" fmla="*/ 2505476 h 2505475"/>
                <a:gd name="connsiteX4" fmla="*/ 748720 w 1094584"/>
                <a:gd name="connsiteY4" fmla="*/ 1456600 h 2505475"/>
                <a:gd name="connsiteX5" fmla="*/ 555751 w 1094584"/>
                <a:gd name="connsiteY5" fmla="*/ 516657 h 2505475"/>
                <a:gd name="connsiteX6" fmla="*/ 384570 w 1094584"/>
                <a:gd name="connsiteY6" fmla="*/ 1490836 h 2505475"/>
                <a:gd name="connsiteX7" fmla="*/ 197826 w 1094584"/>
                <a:gd name="connsiteY7" fmla="*/ 2452565 h 2505475"/>
                <a:gd name="connsiteX8" fmla="*/ 42207 w 1094584"/>
                <a:gd name="connsiteY8" fmla="*/ 2477464 h 2505475"/>
                <a:gd name="connsiteX9" fmla="*/ 29757 w 1094584"/>
                <a:gd name="connsiteY9" fmla="*/ 1447262 h 2505475"/>
                <a:gd name="connsiteX10" fmla="*/ 20420 w 1094584"/>
                <a:gd name="connsiteY10" fmla="*/ 0 h 2505475"/>
                <a:gd name="connsiteX11" fmla="*/ 1063071 w 1094584"/>
                <a:gd name="connsiteY11" fmla="*/ 28012 h 250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94584" h="2505475">
                  <a:moveTo>
                    <a:pt x="1063071" y="28012"/>
                  </a:moveTo>
                  <a:cubicBezTo>
                    <a:pt x="1063071" y="28012"/>
                    <a:pt x="1119094" y="1123574"/>
                    <a:pt x="1081745" y="1441038"/>
                  </a:cubicBezTo>
                  <a:cubicBezTo>
                    <a:pt x="1050621" y="1718040"/>
                    <a:pt x="938575" y="2465014"/>
                    <a:pt x="938575" y="2465014"/>
                  </a:cubicBezTo>
                  <a:lnTo>
                    <a:pt x="767394" y="2505476"/>
                  </a:lnTo>
                  <a:cubicBezTo>
                    <a:pt x="767394" y="2505476"/>
                    <a:pt x="754944" y="1556196"/>
                    <a:pt x="748720" y="1456600"/>
                  </a:cubicBezTo>
                  <a:cubicBezTo>
                    <a:pt x="742495" y="1313430"/>
                    <a:pt x="571313" y="547781"/>
                    <a:pt x="555751" y="516657"/>
                  </a:cubicBezTo>
                  <a:cubicBezTo>
                    <a:pt x="540189" y="485533"/>
                    <a:pt x="384570" y="1490836"/>
                    <a:pt x="384570" y="1490836"/>
                  </a:cubicBezTo>
                  <a:lnTo>
                    <a:pt x="197826" y="2452565"/>
                  </a:lnTo>
                  <a:lnTo>
                    <a:pt x="42207" y="2477464"/>
                  </a:lnTo>
                  <a:cubicBezTo>
                    <a:pt x="42207" y="2477464"/>
                    <a:pt x="35981" y="1549971"/>
                    <a:pt x="29757" y="1447262"/>
                  </a:cubicBezTo>
                  <a:cubicBezTo>
                    <a:pt x="20420" y="1291643"/>
                    <a:pt x="-26266" y="99597"/>
                    <a:pt x="20420" y="0"/>
                  </a:cubicBezTo>
                  <a:cubicBezTo>
                    <a:pt x="730045" y="40461"/>
                    <a:pt x="1063071" y="28012"/>
                    <a:pt x="1063071" y="28012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EA63F564-EF10-44B5-8F6D-8AFA49673818}"/>
                </a:ext>
              </a:extLst>
            </p:cNvPr>
            <p:cNvSpPr/>
            <p:nvPr/>
          </p:nvSpPr>
          <p:spPr>
            <a:xfrm>
              <a:off x="16925524" y="4060906"/>
              <a:ext cx="1246409" cy="1398917"/>
            </a:xfrm>
            <a:custGeom>
              <a:avLst/>
              <a:gdLst>
                <a:gd name="connsiteX0" fmla="*/ 1149302 w 1246409"/>
                <a:gd name="connsiteY0" fmla="*/ 21787 h 1398917"/>
                <a:gd name="connsiteX1" fmla="*/ 1239562 w 1246409"/>
                <a:gd name="connsiteY1" fmla="*/ 1369453 h 1398917"/>
                <a:gd name="connsiteX2" fmla="*/ 673106 w 1246409"/>
                <a:gd name="connsiteY2" fmla="*/ 1369453 h 1398917"/>
                <a:gd name="connsiteX3" fmla="*/ 645095 w 1246409"/>
                <a:gd name="connsiteY3" fmla="*/ 513545 h 1398917"/>
                <a:gd name="connsiteX4" fmla="*/ 526824 w 1246409"/>
                <a:gd name="connsiteY4" fmla="*/ 1369453 h 1398917"/>
                <a:gd name="connsiteX5" fmla="*/ 830 w 1246409"/>
                <a:gd name="connsiteY5" fmla="*/ 1328991 h 1398917"/>
                <a:gd name="connsiteX6" fmla="*/ 109763 w 1246409"/>
                <a:gd name="connsiteY6" fmla="*/ 0 h 1398917"/>
                <a:gd name="connsiteX7" fmla="*/ 1149302 w 1246409"/>
                <a:gd name="connsiteY7" fmla="*/ 21787 h 1398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6409" h="1398917">
                  <a:moveTo>
                    <a:pt x="1149302" y="21787"/>
                  </a:moveTo>
                  <a:cubicBezTo>
                    <a:pt x="1149302" y="21787"/>
                    <a:pt x="1276910" y="1051988"/>
                    <a:pt x="1239562" y="1369453"/>
                  </a:cubicBezTo>
                  <a:cubicBezTo>
                    <a:pt x="1096392" y="1400576"/>
                    <a:pt x="931435" y="1416138"/>
                    <a:pt x="673106" y="1369453"/>
                  </a:cubicBezTo>
                  <a:cubicBezTo>
                    <a:pt x="666881" y="1226283"/>
                    <a:pt x="660657" y="544669"/>
                    <a:pt x="645095" y="513545"/>
                  </a:cubicBezTo>
                  <a:cubicBezTo>
                    <a:pt x="629533" y="482421"/>
                    <a:pt x="526824" y="1369453"/>
                    <a:pt x="526824" y="1369453"/>
                  </a:cubicBezTo>
                  <a:cubicBezTo>
                    <a:pt x="526824" y="1369453"/>
                    <a:pt x="271608" y="1366340"/>
                    <a:pt x="830" y="1328991"/>
                  </a:cubicBezTo>
                  <a:cubicBezTo>
                    <a:pt x="-8507" y="1173372"/>
                    <a:pt x="63077" y="99596"/>
                    <a:pt x="109763" y="0"/>
                  </a:cubicBezTo>
                  <a:cubicBezTo>
                    <a:pt x="816277" y="34236"/>
                    <a:pt x="1149302" y="21787"/>
                    <a:pt x="1149302" y="21787"/>
                  </a:cubicBezTo>
                  <a:close/>
                </a:path>
              </a:pathLst>
            </a:custGeom>
            <a:solidFill>
              <a:srgbClr val="F1DDBA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1357A501-10EF-49D9-94AE-6BEDDC5FCD6D}"/>
                </a:ext>
              </a:extLst>
            </p:cNvPr>
            <p:cNvSpPr/>
            <p:nvPr/>
          </p:nvSpPr>
          <p:spPr>
            <a:xfrm>
              <a:off x="17092433" y="1899039"/>
              <a:ext cx="1036846" cy="321197"/>
            </a:xfrm>
            <a:custGeom>
              <a:avLst/>
              <a:gdLst>
                <a:gd name="connsiteX0" fmla="*/ 1990 w 1036846"/>
                <a:gd name="connsiteY0" fmla="*/ 244633 h 321197"/>
                <a:gd name="connsiteX1" fmla="*/ 562220 w 1036846"/>
                <a:gd name="connsiteY1" fmla="*/ 297544 h 321197"/>
                <a:gd name="connsiteX2" fmla="*/ 1035304 w 1036846"/>
                <a:gd name="connsiteY2" fmla="*/ 76564 h 321197"/>
                <a:gd name="connsiteX3" fmla="*/ 475074 w 1036846"/>
                <a:gd name="connsiteY3" fmla="*/ 23653 h 321197"/>
                <a:gd name="connsiteX4" fmla="*/ 1990 w 1036846"/>
                <a:gd name="connsiteY4" fmla="*/ 244633 h 32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6846" h="321197">
                  <a:moveTo>
                    <a:pt x="1990" y="244633"/>
                  </a:moveTo>
                  <a:cubicBezTo>
                    <a:pt x="26890" y="319331"/>
                    <a:pt x="275881" y="344230"/>
                    <a:pt x="562220" y="297544"/>
                  </a:cubicBezTo>
                  <a:cubicBezTo>
                    <a:pt x="845448" y="250858"/>
                    <a:pt x="1057092" y="151262"/>
                    <a:pt x="1035304" y="76564"/>
                  </a:cubicBezTo>
                  <a:cubicBezTo>
                    <a:pt x="1010406" y="1867"/>
                    <a:pt x="761414" y="-23032"/>
                    <a:pt x="475074" y="23653"/>
                  </a:cubicBezTo>
                  <a:cubicBezTo>
                    <a:pt x="188733" y="70339"/>
                    <a:pt x="-22909" y="169936"/>
                    <a:pt x="1990" y="244633"/>
                  </a:cubicBezTo>
                  <a:close/>
                </a:path>
              </a:pathLst>
            </a:custGeom>
            <a:solidFill>
              <a:srgbClr val="F1DDBA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C832CD07-8517-4D54-913E-F3F1985C019C}"/>
                </a:ext>
              </a:extLst>
            </p:cNvPr>
            <p:cNvGrpSpPr/>
            <p:nvPr/>
          </p:nvGrpSpPr>
          <p:grpSpPr>
            <a:xfrm>
              <a:off x="16667164" y="2632240"/>
              <a:ext cx="1093337" cy="1288843"/>
              <a:chOff x="16667164" y="2632240"/>
              <a:chExt cx="1093337" cy="1288843"/>
            </a:xfrm>
          </p:grpSpPr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6479E327-B0A1-4956-AD48-2B8CCC775A05}"/>
                  </a:ext>
                </a:extLst>
              </p:cNvPr>
              <p:cNvSpPr/>
              <p:nvPr/>
            </p:nvSpPr>
            <p:spPr>
              <a:xfrm>
                <a:off x="16741308" y="2632240"/>
                <a:ext cx="1019193" cy="1288843"/>
              </a:xfrm>
              <a:custGeom>
                <a:avLst/>
                <a:gdLst>
                  <a:gd name="connsiteX0" fmla="*/ 988044 w 1019193"/>
                  <a:gd name="connsiteY0" fmla="*/ 379790 h 1288843"/>
                  <a:gd name="connsiteX1" fmla="*/ 835536 w 1019193"/>
                  <a:gd name="connsiteY1" fmla="*/ 90338 h 1288843"/>
                  <a:gd name="connsiteX2" fmla="*/ 458937 w 1019193"/>
                  <a:gd name="connsiteY2" fmla="*/ 3191 h 1288843"/>
                  <a:gd name="connsiteX3" fmla="*/ 163260 w 1019193"/>
                  <a:gd name="connsiteY3" fmla="*/ 230395 h 1288843"/>
                  <a:gd name="connsiteX4" fmla="*/ 32539 w 1019193"/>
                  <a:gd name="connsiteY4" fmla="*/ 1101865 h 1288843"/>
                  <a:gd name="connsiteX5" fmla="*/ 387351 w 1019193"/>
                  <a:gd name="connsiteY5" fmla="*/ 1288609 h 1288843"/>
                  <a:gd name="connsiteX6" fmla="*/ 1006717 w 1019193"/>
                  <a:gd name="connsiteY6" fmla="*/ 759502 h 1288843"/>
                  <a:gd name="connsiteX7" fmla="*/ 988044 w 1019193"/>
                  <a:gd name="connsiteY7" fmla="*/ 379790 h 1288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9193" h="1288843">
                    <a:moveTo>
                      <a:pt x="988044" y="379790"/>
                    </a:moveTo>
                    <a:cubicBezTo>
                      <a:pt x="963144" y="267744"/>
                      <a:pt x="916458" y="158810"/>
                      <a:pt x="835536" y="90338"/>
                    </a:cubicBezTo>
                    <a:cubicBezTo>
                      <a:pt x="729714" y="78"/>
                      <a:pt x="586544" y="-6147"/>
                      <a:pt x="458937" y="3191"/>
                    </a:cubicBezTo>
                    <a:cubicBezTo>
                      <a:pt x="334441" y="12528"/>
                      <a:pt x="209946" y="146361"/>
                      <a:pt x="163260" y="230395"/>
                    </a:cubicBezTo>
                    <a:cubicBezTo>
                      <a:pt x="57438" y="432701"/>
                      <a:pt x="-57720" y="818637"/>
                      <a:pt x="32539" y="1101865"/>
                    </a:cubicBezTo>
                    <a:cubicBezTo>
                      <a:pt x="69888" y="1213911"/>
                      <a:pt x="287755" y="1279271"/>
                      <a:pt x="387351" y="1288609"/>
                    </a:cubicBezTo>
                    <a:cubicBezTo>
                      <a:pt x="527409" y="1297946"/>
                      <a:pt x="960031" y="1027168"/>
                      <a:pt x="1006717" y="759502"/>
                    </a:cubicBezTo>
                    <a:cubicBezTo>
                      <a:pt x="1031617" y="638119"/>
                      <a:pt x="1016055" y="501173"/>
                      <a:pt x="988044" y="37979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7FB8104D-86B2-4ABC-A3B8-6D3B209543F0}"/>
                  </a:ext>
                </a:extLst>
              </p:cNvPr>
              <p:cNvSpPr/>
              <p:nvPr/>
            </p:nvSpPr>
            <p:spPr>
              <a:xfrm>
                <a:off x="16668744" y="3344864"/>
                <a:ext cx="182912" cy="400652"/>
              </a:xfrm>
              <a:custGeom>
                <a:avLst/>
                <a:gdLst>
                  <a:gd name="connsiteX0" fmla="*/ 182913 w 182912"/>
                  <a:gd name="connsiteY0" fmla="*/ 28203 h 400652"/>
                  <a:gd name="connsiteX1" fmla="*/ 182913 w 182912"/>
                  <a:gd name="connsiteY1" fmla="*/ 392353 h 400652"/>
                  <a:gd name="connsiteX2" fmla="*/ 45968 w 182912"/>
                  <a:gd name="connsiteY2" fmla="*/ 392353 h 400652"/>
                  <a:gd name="connsiteX3" fmla="*/ 17956 w 182912"/>
                  <a:gd name="connsiteY3" fmla="*/ 28203 h 400652"/>
                  <a:gd name="connsiteX4" fmla="*/ 182913 w 182912"/>
                  <a:gd name="connsiteY4" fmla="*/ 28203 h 400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912" h="400652">
                    <a:moveTo>
                      <a:pt x="182913" y="28203"/>
                    </a:moveTo>
                    <a:cubicBezTo>
                      <a:pt x="182913" y="28203"/>
                      <a:pt x="142452" y="230509"/>
                      <a:pt x="182913" y="392353"/>
                    </a:cubicBezTo>
                    <a:cubicBezTo>
                      <a:pt x="182913" y="392353"/>
                      <a:pt x="95766" y="411028"/>
                      <a:pt x="45968" y="392353"/>
                    </a:cubicBezTo>
                    <a:cubicBezTo>
                      <a:pt x="-3831" y="373679"/>
                      <a:pt x="-13168" y="59327"/>
                      <a:pt x="17956" y="28203"/>
                    </a:cubicBezTo>
                    <a:cubicBezTo>
                      <a:pt x="49080" y="-2921"/>
                      <a:pt x="154901" y="-15370"/>
                      <a:pt x="182913" y="28203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AE00B367-D3C4-4498-BF06-340D055D3560}"/>
                  </a:ext>
                </a:extLst>
              </p:cNvPr>
              <p:cNvSpPr/>
              <p:nvPr/>
            </p:nvSpPr>
            <p:spPr>
              <a:xfrm>
                <a:off x="16667164" y="3337229"/>
                <a:ext cx="193829" cy="412438"/>
              </a:xfrm>
              <a:custGeom>
                <a:avLst/>
                <a:gdLst>
                  <a:gd name="connsiteX0" fmla="*/ 106683 w 193829"/>
                  <a:gd name="connsiteY0" fmla="*/ 412438 h 412438"/>
                  <a:gd name="connsiteX1" fmla="*/ 47548 w 193829"/>
                  <a:gd name="connsiteY1" fmla="*/ 403101 h 412438"/>
                  <a:gd name="connsiteX2" fmla="*/ 13311 w 193829"/>
                  <a:gd name="connsiteY2" fmla="*/ 328404 h 412438"/>
                  <a:gd name="connsiteX3" fmla="*/ 19537 w 193829"/>
                  <a:gd name="connsiteY3" fmla="*/ 29614 h 412438"/>
                  <a:gd name="connsiteX4" fmla="*/ 134695 w 193829"/>
                  <a:gd name="connsiteY4" fmla="*/ 1602 h 412438"/>
                  <a:gd name="connsiteX5" fmla="*/ 193830 w 193829"/>
                  <a:gd name="connsiteY5" fmla="*/ 32726 h 412438"/>
                  <a:gd name="connsiteX6" fmla="*/ 193830 w 193829"/>
                  <a:gd name="connsiteY6" fmla="*/ 35839 h 412438"/>
                  <a:gd name="connsiteX7" fmla="*/ 193830 w 193829"/>
                  <a:gd name="connsiteY7" fmla="*/ 38951 h 412438"/>
                  <a:gd name="connsiteX8" fmla="*/ 187606 w 193829"/>
                  <a:gd name="connsiteY8" fmla="*/ 365752 h 412438"/>
                  <a:gd name="connsiteX9" fmla="*/ 181380 w 193829"/>
                  <a:gd name="connsiteY9" fmla="*/ 396876 h 412438"/>
                  <a:gd name="connsiteX10" fmla="*/ 153369 w 193829"/>
                  <a:gd name="connsiteY10" fmla="*/ 412438 h 412438"/>
                  <a:gd name="connsiteX11" fmla="*/ 106683 w 193829"/>
                  <a:gd name="connsiteY11" fmla="*/ 412438 h 412438"/>
                  <a:gd name="connsiteX12" fmla="*/ 112908 w 193829"/>
                  <a:gd name="connsiteY12" fmla="*/ 14052 h 412438"/>
                  <a:gd name="connsiteX13" fmla="*/ 22648 w 193829"/>
                  <a:gd name="connsiteY13" fmla="*/ 38951 h 412438"/>
                  <a:gd name="connsiteX14" fmla="*/ 19537 w 193829"/>
                  <a:gd name="connsiteY14" fmla="*/ 328404 h 412438"/>
                  <a:gd name="connsiteX15" fmla="*/ 47548 w 193829"/>
                  <a:gd name="connsiteY15" fmla="*/ 393764 h 412438"/>
                  <a:gd name="connsiteX16" fmla="*/ 147144 w 193829"/>
                  <a:gd name="connsiteY16" fmla="*/ 399989 h 412438"/>
                  <a:gd name="connsiteX17" fmla="*/ 165818 w 193829"/>
                  <a:gd name="connsiteY17" fmla="*/ 387539 h 412438"/>
                  <a:gd name="connsiteX18" fmla="*/ 172044 w 193829"/>
                  <a:gd name="connsiteY18" fmla="*/ 365752 h 412438"/>
                  <a:gd name="connsiteX19" fmla="*/ 178268 w 193829"/>
                  <a:gd name="connsiteY19" fmla="*/ 35839 h 412438"/>
                  <a:gd name="connsiteX20" fmla="*/ 128470 w 193829"/>
                  <a:gd name="connsiteY20" fmla="*/ 14052 h 412438"/>
                  <a:gd name="connsiteX21" fmla="*/ 112908 w 193829"/>
                  <a:gd name="connsiteY21" fmla="*/ 14052 h 412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93829" h="412438">
                    <a:moveTo>
                      <a:pt x="106683" y="412438"/>
                    </a:moveTo>
                    <a:cubicBezTo>
                      <a:pt x="84896" y="412438"/>
                      <a:pt x="63110" y="409326"/>
                      <a:pt x="47548" y="403101"/>
                    </a:cubicBezTo>
                    <a:cubicBezTo>
                      <a:pt x="31986" y="396876"/>
                      <a:pt x="19537" y="371977"/>
                      <a:pt x="13311" y="328404"/>
                    </a:cubicBezTo>
                    <a:cubicBezTo>
                      <a:pt x="-5363" y="231919"/>
                      <a:pt x="-5363" y="54513"/>
                      <a:pt x="19537" y="29614"/>
                    </a:cubicBezTo>
                    <a:cubicBezTo>
                      <a:pt x="41323" y="7827"/>
                      <a:pt x="91121" y="-4622"/>
                      <a:pt x="134695" y="1602"/>
                    </a:cubicBezTo>
                    <a:cubicBezTo>
                      <a:pt x="162706" y="4715"/>
                      <a:pt x="184493" y="14052"/>
                      <a:pt x="193830" y="32726"/>
                    </a:cubicBezTo>
                    <a:lnTo>
                      <a:pt x="193830" y="35839"/>
                    </a:lnTo>
                    <a:lnTo>
                      <a:pt x="193830" y="38951"/>
                    </a:lnTo>
                    <a:cubicBezTo>
                      <a:pt x="193830" y="42063"/>
                      <a:pt x="159594" y="216357"/>
                      <a:pt x="187606" y="365752"/>
                    </a:cubicBezTo>
                    <a:cubicBezTo>
                      <a:pt x="190718" y="375089"/>
                      <a:pt x="187606" y="387539"/>
                      <a:pt x="181380" y="396876"/>
                    </a:cubicBezTo>
                    <a:cubicBezTo>
                      <a:pt x="175156" y="406213"/>
                      <a:pt x="165818" y="412438"/>
                      <a:pt x="153369" y="412438"/>
                    </a:cubicBezTo>
                    <a:cubicBezTo>
                      <a:pt x="137807" y="412438"/>
                      <a:pt x="122245" y="412438"/>
                      <a:pt x="106683" y="412438"/>
                    </a:cubicBezTo>
                    <a:close/>
                    <a:moveTo>
                      <a:pt x="112908" y="14052"/>
                    </a:moveTo>
                    <a:cubicBezTo>
                      <a:pt x="78672" y="14052"/>
                      <a:pt x="41323" y="23389"/>
                      <a:pt x="22648" y="38951"/>
                    </a:cubicBezTo>
                    <a:cubicBezTo>
                      <a:pt x="3975" y="57625"/>
                      <a:pt x="-2251" y="225695"/>
                      <a:pt x="19537" y="328404"/>
                    </a:cubicBezTo>
                    <a:cubicBezTo>
                      <a:pt x="28873" y="381314"/>
                      <a:pt x="41323" y="390651"/>
                      <a:pt x="47548" y="393764"/>
                    </a:cubicBezTo>
                    <a:cubicBezTo>
                      <a:pt x="75559" y="403101"/>
                      <a:pt x="116020" y="403101"/>
                      <a:pt x="147144" y="399989"/>
                    </a:cubicBezTo>
                    <a:cubicBezTo>
                      <a:pt x="156482" y="399989"/>
                      <a:pt x="162706" y="393764"/>
                      <a:pt x="165818" y="387539"/>
                    </a:cubicBezTo>
                    <a:cubicBezTo>
                      <a:pt x="168931" y="381314"/>
                      <a:pt x="172044" y="375089"/>
                      <a:pt x="172044" y="365752"/>
                    </a:cubicBezTo>
                    <a:cubicBezTo>
                      <a:pt x="147144" y="222582"/>
                      <a:pt x="175156" y="57625"/>
                      <a:pt x="178268" y="35839"/>
                    </a:cubicBezTo>
                    <a:cubicBezTo>
                      <a:pt x="165818" y="20277"/>
                      <a:pt x="144032" y="14052"/>
                      <a:pt x="128470" y="14052"/>
                    </a:cubicBezTo>
                    <a:cubicBezTo>
                      <a:pt x="122245" y="14052"/>
                      <a:pt x="119133" y="14052"/>
                      <a:pt x="112908" y="1405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6F3334A4-C669-400B-A5F3-10ABE7E8D0A1}"/>
                  </a:ext>
                </a:extLst>
              </p:cNvPr>
              <p:cNvSpPr/>
              <p:nvPr/>
            </p:nvSpPr>
            <p:spPr>
              <a:xfrm>
                <a:off x="16717676" y="2843602"/>
                <a:ext cx="264701" cy="401857"/>
              </a:xfrm>
              <a:custGeom>
                <a:avLst/>
                <a:gdLst>
                  <a:gd name="connsiteX0" fmla="*/ 264701 w 264701"/>
                  <a:gd name="connsiteY0" fmla="*/ 62607 h 401857"/>
                  <a:gd name="connsiteX1" fmla="*/ 140205 w 264701"/>
                  <a:gd name="connsiteY1" fmla="*/ 401858 h 401857"/>
                  <a:gd name="connsiteX2" fmla="*/ 9484 w 264701"/>
                  <a:gd name="connsiteY2" fmla="*/ 355172 h 401857"/>
                  <a:gd name="connsiteX3" fmla="*/ 109081 w 264701"/>
                  <a:gd name="connsiteY3" fmla="*/ 6584 h 401857"/>
                  <a:gd name="connsiteX4" fmla="*/ 264701 w 264701"/>
                  <a:gd name="connsiteY4" fmla="*/ 62607 h 401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4701" h="401857">
                    <a:moveTo>
                      <a:pt x="264701" y="62607"/>
                    </a:moveTo>
                    <a:cubicBezTo>
                      <a:pt x="264701" y="62607"/>
                      <a:pt x="155767" y="240013"/>
                      <a:pt x="140205" y="401858"/>
                    </a:cubicBezTo>
                    <a:cubicBezTo>
                      <a:pt x="140205" y="401858"/>
                      <a:pt x="49945" y="389408"/>
                      <a:pt x="9484" y="355172"/>
                    </a:cubicBezTo>
                    <a:cubicBezTo>
                      <a:pt x="-30976" y="320935"/>
                      <a:pt x="68620" y="22146"/>
                      <a:pt x="109081" y="6584"/>
                    </a:cubicBezTo>
                    <a:cubicBezTo>
                      <a:pt x="149542" y="-12091"/>
                      <a:pt x="252251" y="9696"/>
                      <a:pt x="264701" y="62607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28BE2502-CBD1-4E6E-989A-1DDA73494DFB}"/>
                  </a:ext>
                </a:extLst>
              </p:cNvPr>
              <p:cNvSpPr/>
              <p:nvPr/>
            </p:nvSpPr>
            <p:spPr>
              <a:xfrm>
                <a:off x="16711599" y="2837484"/>
                <a:ext cx="277002" cy="407975"/>
              </a:xfrm>
              <a:custGeom>
                <a:avLst/>
                <a:gdLst>
                  <a:gd name="connsiteX0" fmla="*/ 118271 w 277002"/>
                  <a:gd name="connsiteY0" fmla="*/ 407976 h 407975"/>
                  <a:gd name="connsiteX1" fmla="*/ 108934 w 277002"/>
                  <a:gd name="connsiteY1" fmla="*/ 407976 h 407975"/>
                  <a:gd name="connsiteX2" fmla="*/ 12449 w 277002"/>
                  <a:gd name="connsiteY2" fmla="*/ 367515 h 407975"/>
                  <a:gd name="connsiteX3" fmla="*/ 3113 w 277002"/>
                  <a:gd name="connsiteY3" fmla="*/ 286592 h 407975"/>
                  <a:gd name="connsiteX4" fmla="*/ 112046 w 277002"/>
                  <a:gd name="connsiteY4" fmla="*/ 6477 h 407975"/>
                  <a:gd name="connsiteX5" fmla="*/ 230317 w 277002"/>
                  <a:gd name="connsiteY5" fmla="*/ 18927 h 407975"/>
                  <a:gd name="connsiteX6" fmla="*/ 277003 w 277002"/>
                  <a:gd name="connsiteY6" fmla="*/ 68725 h 407975"/>
                  <a:gd name="connsiteX7" fmla="*/ 277003 w 277002"/>
                  <a:gd name="connsiteY7" fmla="*/ 71837 h 407975"/>
                  <a:gd name="connsiteX8" fmla="*/ 277003 w 277002"/>
                  <a:gd name="connsiteY8" fmla="*/ 74950 h 407975"/>
                  <a:gd name="connsiteX9" fmla="*/ 158732 w 277002"/>
                  <a:gd name="connsiteY9" fmla="*/ 379964 h 407975"/>
                  <a:gd name="connsiteX10" fmla="*/ 143170 w 277002"/>
                  <a:gd name="connsiteY10" fmla="*/ 404863 h 407975"/>
                  <a:gd name="connsiteX11" fmla="*/ 118271 w 277002"/>
                  <a:gd name="connsiteY11" fmla="*/ 407976 h 407975"/>
                  <a:gd name="connsiteX12" fmla="*/ 149394 w 277002"/>
                  <a:gd name="connsiteY12" fmla="*/ 9589 h 407975"/>
                  <a:gd name="connsiteX13" fmla="*/ 118271 w 277002"/>
                  <a:gd name="connsiteY13" fmla="*/ 15814 h 407975"/>
                  <a:gd name="connsiteX14" fmla="*/ 15562 w 277002"/>
                  <a:gd name="connsiteY14" fmla="*/ 286592 h 407975"/>
                  <a:gd name="connsiteX15" fmla="*/ 18675 w 277002"/>
                  <a:gd name="connsiteY15" fmla="*/ 358177 h 407975"/>
                  <a:gd name="connsiteX16" fmla="*/ 108934 w 277002"/>
                  <a:gd name="connsiteY16" fmla="*/ 398638 h 407975"/>
                  <a:gd name="connsiteX17" fmla="*/ 130721 w 277002"/>
                  <a:gd name="connsiteY17" fmla="*/ 395526 h 407975"/>
                  <a:gd name="connsiteX18" fmla="*/ 143170 w 277002"/>
                  <a:gd name="connsiteY18" fmla="*/ 376852 h 407975"/>
                  <a:gd name="connsiteX19" fmla="*/ 261441 w 277002"/>
                  <a:gd name="connsiteY19" fmla="*/ 71837 h 407975"/>
                  <a:gd name="connsiteX20" fmla="*/ 220980 w 277002"/>
                  <a:gd name="connsiteY20" fmla="*/ 34489 h 407975"/>
                  <a:gd name="connsiteX21" fmla="*/ 149394 w 277002"/>
                  <a:gd name="connsiteY21" fmla="*/ 9589 h 407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7002" h="407975">
                    <a:moveTo>
                      <a:pt x="118271" y="407976"/>
                    </a:moveTo>
                    <a:cubicBezTo>
                      <a:pt x="115159" y="407976"/>
                      <a:pt x="112046" y="407976"/>
                      <a:pt x="108934" y="407976"/>
                    </a:cubicBezTo>
                    <a:cubicBezTo>
                      <a:pt x="77810" y="401751"/>
                      <a:pt x="37349" y="389301"/>
                      <a:pt x="12449" y="367515"/>
                    </a:cubicBezTo>
                    <a:cubicBezTo>
                      <a:pt x="0" y="358177"/>
                      <a:pt x="-3113" y="330166"/>
                      <a:pt x="3113" y="286592"/>
                    </a:cubicBezTo>
                    <a:cubicBezTo>
                      <a:pt x="18675" y="190108"/>
                      <a:pt x="77810" y="22039"/>
                      <a:pt x="112046" y="6477"/>
                    </a:cubicBezTo>
                    <a:cubicBezTo>
                      <a:pt x="140058" y="-5973"/>
                      <a:pt x="189856" y="252"/>
                      <a:pt x="230317" y="18927"/>
                    </a:cubicBezTo>
                    <a:cubicBezTo>
                      <a:pt x="255217" y="31376"/>
                      <a:pt x="270779" y="46938"/>
                      <a:pt x="277003" y="68725"/>
                    </a:cubicBezTo>
                    <a:lnTo>
                      <a:pt x="277003" y="71837"/>
                    </a:lnTo>
                    <a:lnTo>
                      <a:pt x="277003" y="74950"/>
                    </a:lnTo>
                    <a:cubicBezTo>
                      <a:pt x="277003" y="74950"/>
                      <a:pt x="183631" y="230569"/>
                      <a:pt x="158732" y="379964"/>
                    </a:cubicBezTo>
                    <a:cubicBezTo>
                      <a:pt x="155620" y="389301"/>
                      <a:pt x="149394" y="398638"/>
                      <a:pt x="143170" y="404863"/>
                    </a:cubicBezTo>
                    <a:cubicBezTo>
                      <a:pt x="130721" y="404863"/>
                      <a:pt x="124496" y="407976"/>
                      <a:pt x="118271" y="407976"/>
                    </a:cubicBezTo>
                    <a:close/>
                    <a:moveTo>
                      <a:pt x="149394" y="9589"/>
                    </a:moveTo>
                    <a:cubicBezTo>
                      <a:pt x="136945" y="9589"/>
                      <a:pt x="124496" y="12702"/>
                      <a:pt x="118271" y="15814"/>
                    </a:cubicBezTo>
                    <a:cubicBezTo>
                      <a:pt x="93372" y="25151"/>
                      <a:pt x="31124" y="180771"/>
                      <a:pt x="15562" y="286592"/>
                    </a:cubicBezTo>
                    <a:cubicBezTo>
                      <a:pt x="6225" y="339503"/>
                      <a:pt x="15562" y="355065"/>
                      <a:pt x="18675" y="358177"/>
                    </a:cubicBezTo>
                    <a:cubicBezTo>
                      <a:pt x="40461" y="376852"/>
                      <a:pt x="80922" y="389301"/>
                      <a:pt x="108934" y="398638"/>
                    </a:cubicBezTo>
                    <a:cubicBezTo>
                      <a:pt x="115159" y="401751"/>
                      <a:pt x="124496" y="398638"/>
                      <a:pt x="130721" y="395526"/>
                    </a:cubicBezTo>
                    <a:cubicBezTo>
                      <a:pt x="136945" y="392414"/>
                      <a:pt x="140058" y="386189"/>
                      <a:pt x="143170" y="376852"/>
                    </a:cubicBezTo>
                    <a:cubicBezTo>
                      <a:pt x="168069" y="233682"/>
                      <a:pt x="252104" y="90512"/>
                      <a:pt x="261441" y="71837"/>
                    </a:cubicBezTo>
                    <a:cubicBezTo>
                      <a:pt x="255217" y="53163"/>
                      <a:pt x="236542" y="40713"/>
                      <a:pt x="220980" y="34489"/>
                    </a:cubicBezTo>
                    <a:cubicBezTo>
                      <a:pt x="202306" y="15814"/>
                      <a:pt x="174294" y="9589"/>
                      <a:pt x="149394" y="958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802816E6-F803-440D-AD8E-8376BFDEF57B}"/>
                </a:ext>
              </a:extLst>
            </p:cNvPr>
            <p:cNvGrpSpPr/>
            <p:nvPr/>
          </p:nvGrpSpPr>
          <p:grpSpPr>
            <a:xfrm>
              <a:off x="16951254" y="2439350"/>
              <a:ext cx="1170426" cy="317464"/>
              <a:chOff x="16951254" y="2439350"/>
              <a:chExt cx="1170426" cy="317464"/>
            </a:xfrm>
          </p:grpSpPr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17B43E6E-B678-4A92-B0B4-CF48B7A8CA6E}"/>
                  </a:ext>
                </a:extLst>
              </p:cNvPr>
              <p:cNvSpPr/>
              <p:nvPr/>
            </p:nvSpPr>
            <p:spPr>
              <a:xfrm>
                <a:off x="17038400" y="2442462"/>
                <a:ext cx="1083280" cy="314351"/>
              </a:xfrm>
              <a:custGeom>
                <a:avLst/>
                <a:gdLst>
                  <a:gd name="connsiteX0" fmla="*/ 995965 w 1083280"/>
                  <a:gd name="connsiteY0" fmla="*/ 9337 h 314351"/>
                  <a:gd name="connsiteX1" fmla="*/ 3113 w 1083280"/>
                  <a:gd name="connsiteY1" fmla="*/ 0 h 314351"/>
                  <a:gd name="connsiteX2" fmla="*/ 0 w 1083280"/>
                  <a:gd name="connsiteY2" fmla="*/ 305014 h 314351"/>
                  <a:gd name="connsiteX3" fmla="*/ 992853 w 1083280"/>
                  <a:gd name="connsiteY3" fmla="*/ 314352 h 314351"/>
                  <a:gd name="connsiteX4" fmla="*/ 1083112 w 1083280"/>
                  <a:gd name="connsiteY4" fmla="*/ 161844 h 314351"/>
                  <a:gd name="connsiteX5" fmla="*/ 995965 w 1083280"/>
                  <a:gd name="connsiteY5" fmla="*/ 9337 h 314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83280" h="314351">
                    <a:moveTo>
                      <a:pt x="995965" y="9337"/>
                    </a:moveTo>
                    <a:lnTo>
                      <a:pt x="3113" y="0"/>
                    </a:lnTo>
                    <a:lnTo>
                      <a:pt x="0" y="305014"/>
                    </a:lnTo>
                    <a:lnTo>
                      <a:pt x="992853" y="314352"/>
                    </a:lnTo>
                    <a:cubicBezTo>
                      <a:pt x="1042651" y="314352"/>
                      <a:pt x="1083112" y="245879"/>
                      <a:pt x="1083112" y="161844"/>
                    </a:cubicBezTo>
                    <a:cubicBezTo>
                      <a:pt x="1086225" y="77810"/>
                      <a:pt x="1045764" y="9337"/>
                      <a:pt x="995965" y="9337"/>
                    </a:cubicBezTo>
                    <a:close/>
                  </a:path>
                </a:pathLst>
              </a:custGeom>
              <a:solidFill>
                <a:srgbClr val="F1DDBA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1476DB28-4E9F-45C9-9D95-F63FDF766B93}"/>
                  </a:ext>
                </a:extLst>
              </p:cNvPr>
              <p:cNvSpPr/>
              <p:nvPr/>
            </p:nvSpPr>
            <p:spPr>
              <a:xfrm>
                <a:off x="16951254" y="2439350"/>
                <a:ext cx="177405" cy="305014"/>
              </a:xfrm>
              <a:custGeom>
                <a:avLst/>
                <a:gdLst>
                  <a:gd name="connsiteX0" fmla="*/ 0 w 177405"/>
                  <a:gd name="connsiteY0" fmla="*/ 152507 h 305014"/>
                  <a:gd name="connsiteX1" fmla="*/ 87147 w 177405"/>
                  <a:gd name="connsiteY1" fmla="*/ 305014 h 305014"/>
                  <a:gd name="connsiteX2" fmla="*/ 177406 w 177405"/>
                  <a:gd name="connsiteY2" fmla="*/ 152507 h 305014"/>
                  <a:gd name="connsiteX3" fmla="*/ 90259 w 177405"/>
                  <a:gd name="connsiteY3" fmla="*/ 0 h 305014"/>
                  <a:gd name="connsiteX4" fmla="*/ 0 w 177405"/>
                  <a:gd name="connsiteY4" fmla="*/ 152507 h 305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405" h="305014">
                    <a:moveTo>
                      <a:pt x="0" y="152507"/>
                    </a:moveTo>
                    <a:cubicBezTo>
                      <a:pt x="0" y="236542"/>
                      <a:pt x="37348" y="305014"/>
                      <a:pt x="87147" y="305014"/>
                    </a:cubicBezTo>
                    <a:cubicBezTo>
                      <a:pt x="136945" y="305014"/>
                      <a:pt x="177406" y="236542"/>
                      <a:pt x="177406" y="152507"/>
                    </a:cubicBezTo>
                    <a:cubicBezTo>
                      <a:pt x="177406" y="68473"/>
                      <a:pt x="140058" y="0"/>
                      <a:pt x="90259" y="0"/>
                    </a:cubicBezTo>
                    <a:cubicBezTo>
                      <a:pt x="40461" y="0"/>
                      <a:pt x="0" y="68473"/>
                      <a:pt x="0" y="152507"/>
                    </a:cubicBezTo>
                    <a:close/>
                  </a:path>
                </a:pathLst>
              </a:custGeom>
              <a:solidFill>
                <a:srgbClr val="E2CCA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8FD48BD7-E211-4790-B861-FDB024D90025}"/>
                  </a:ext>
                </a:extLst>
              </p:cNvPr>
              <p:cNvSpPr/>
              <p:nvPr/>
            </p:nvSpPr>
            <p:spPr>
              <a:xfrm>
                <a:off x="16963020" y="2461137"/>
                <a:ext cx="129479" cy="242766"/>
              </a:xfrm>
              <a:custGeom>
                <a:avLst/>
                <a:gdLst>
                  <a:gd name="connsiteX0" fmla="*/ 69155 w 129479"/>
                  <a:gd name="connsiteY0" fmla="*/ 242767 h 242766"/>
                  <a:gd name="connsiteX1" fmla="*/ 59818 w 129479"/>
                  <a:gd name="connsiteY1" fmla="*/ 242767 h 242766"/>
                  <a:gd name="connsiteX2" fmla="*/ 10019 w 129479"/>
                  <a:gd name="connsiteY2" fmla="*/ 183631 h 242766"/>
                  <a:gd name="connsiteX3" fmla="*/ 72267 w 129479"/>
                  <a:gd name="connsiteY3" fmla="*/ 0 h 242766"/>
                  <a:gd name="connsiteX4" fmla="*/ 78492 w 129479"/>
                  <a:gd name="connsiteY4" fmla="*/ 3112 h 242766"/>
                  <a:gd name="connsiteX5" fmla="*/ 75380 w 129479"/>
                  <a:gd name="connsiteY5" fmla="*/ 9337 h 242766"/>
                  <a:gd name="connsiteX6" fmla="*/ 19357 w 129479"/>
                  <a:gd name="connsiteY6" fmla="*/ 180519 h 242766"/>
                  <a:gd name="connsiteX7" fmla="*/ 59818 w 129479"/>
                  <a:gd name="connsiteY7" fmla="*/ 233429 h 242766"/>
                  <a:gd name="connsiteX8" fmla="*/ 112729 w 129479"/>
                  <a:gd name="connsiteY8" fmla="*/ 199193 h 242766"/>
                  <a:gd name="connsiteX9" fmla="*/ 106504 w 129479"/>
                  <a:gd name="connsiteY9" fmla="*/ 56023 h 242766"/>
                  <a:gd name="connsiteX10" fmla="*/ 78492 w 129479"/>
                  <a:gd name="connsiteY10" fmla="*/ 52911 h 242766"/>
                  <a:gd name="connsiteX11" fmla="*/ 56705 w 129479"/>
                  <a:gd name="connsiteY11" fmla="*/ 105821 h 242766"/>
                  <a:gd name="connsiteX12" fmla="*/ 53593 w 129479"/>
                  <a:gd name="connsiteY12" fmla="*/ 118271 h 242766"/>
                  <a:gd name="connsiteX13" fmla="*/ 72267 w 129479"/>
                  <a:gd name="connsiteY13" fmla="*/ 189856 h 242766"/>
                  <a:gd name="connsiteX14" fmla="*/ 78492 w 129479"/>
                  <a:gd name="connsiteY14" fmla="*/ 189856 h 242766"/>
                  <a:gd name="connsiteX15" fmla="*/ 90942 w 129479"/>
                  <a:gd name="connsiteY15" fmla="*/ 146282 h 242766"/>
                  <a:gd name="connsiteX16" fmla="*/ 87829 w 129479"/>
                  <a:gd name="connsiteY16" fmla="*/ 143170 h 242766"/>
                  <a:gd name="connsiteX17" fmla="*/ 81605 w 129479"/>
                  <a:gd name="connsiteY17" fmla="*/ 149395 h 242766"/>
                  <a:gd name="connsiteX18" fmla="*/ 75380 w 129479"/>
                  <a:gd name="connsiteY18" fmla="*/ 155620 h 242766"/>
                  <a:gd name="connsiteX19" fmla="*/ 69155 w 129479"/>
                  <a:gd name="connsiteY19" fmla="*/ 149395 h 242766"/>
                  <a:gd name="connsiteX20" fmla="*/ 84717 w 129479"/>
                  <a:gd name="connsiteY20" fmla="*/ 130720 h 242766"/>
                  <a:gd name="connsiteX21" fmla="*/ 100279 w 129479"/>
                  <a:gd name="connsiteY21" fmla="*/ 143170 h 242766"/>
                  <a:gd name="connsiteX22" fmla="*/ 84717 w 129479"/>
                  <a:gd name="connsiteY22" fmla="*/ 196081 h 242766"/>
                  <a:gd name="connsiteX23" fmla="*/ 62930 w 129479"/>
                  <a:gd name="connsiteY23" fmla="*/ 199193 h 242766"/>
                  <a:gd name="connsiteX24" fmla="*/ 41143 w 129479"/>
                  <a:gd name="connsiteY24" fmla="*/ 118271 h 242766"/>
                  <a:gd name="connsiteX25" fmla="*/ 41143 w 129479"/>
                  <a:gd name="connsiteY25" fmla="*/ 108934 h 242766"/>
                  <a:gd name="connsiteX26" fmla="*/ 69155 w 129479"/>
                  <a:gd name="connsiteY26" fmla="*/ 46686 h 242766"/>
                  <a:gd name="connsiteX27" fmla="*/ 109616 w 129479"/>
                  <a:gd name="connsiteY27" fmla="*/ 52911 h 242766"/>
                  <a:gd name="connsiteX28" fmla="*/ 118953 w 129479"/>
                  <a:gd name="connsiteY28" fmla="*/ 211643 h 242766"/>
                  <a:gd name="connsiteX29" fmla="*/ 69155 w 129479"/>
                  <a:gd name="connsiteY29" fmla="*/ 242767 h 242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29479" h="242766">
                    <a:moveTo>
                      <a:pt x="69155" y="242767"/>
                    </a:moveTo>
                    <a:cubicBezTo>
                      <a:pt x="66043" y="242767"/>
                      <a:pt x="62930" y="242767"/>
                      <a:pt x="59818" y="242767"/>
                    </a:cubicBezTo>
                    <a:cubicBezTo>
                      <a:pt x="31806" y="236542"/>
                      <a:pt x="16245" y="199193"/>
                      <a:pt x="10019" y="183631"/>
                    </a:cubicBezTo>
                    <a:cubicBezTo>
                      <a:pt x="-14879" y="115159"/>
                      <a:pt x="6907" y="24899"/>
                      <a:pt x="72267" y="0"/>
                    </a:cubicBezTo>
                    <a:cubicBezTo>
                      <a:pt x="75380" y="0"/>
                      <a:pt x="78492" y="0"/>
                      <a:pt x="78492" y="3112"/>
                    </a:cubicBezTo>
                    <a:cubicBezTo>
                      <a:pt x="78492" y="6225"/>
                      <a:pt x="78492" y="9337"/>
                      <a:pt x="75380" y="9337"/>
                    </a:cubicBezTo>
                    <a:cubicBezTo>
                      <a:pt x="10019" y="34236"/>
                      <a:pt x="683" y="124496"/>
                      <a:pt x="19357" y="180519"/>
                    </a:cubicBezTo>
                    <a:cubicBezTo>
                      <a:pt x="22469" y="192968"/>
                      <a:pt x="38031" y="227205"/>
                      <a:pt x="59818" y="233429"/>
                    </a:cubicBezTo>
                    <a:cubicBezTo>
                      <a:pt x="84717" y="239654"/>
                      <a:pt x="103391" y="214755"/>
                      <a:pt x="112729" y="199193"/>
                    </a:cubicBezTo>
                    <a:cubicBezTo>
                      <a:pt x="122066" y="180519"/>
                      <a:pt x="131402" y="80922"/>
                      <a:pt x="106504" y="56023"/>
                    </a:cubicBezTo>
                    <a:cubicBezTo>
                      <a:pt x="103391" y="52911"/>
                      <a:pt x="94054" y="46686"/>
                      <a:pt x="78492" y="52911"/>
                    </a:cubicBezTo>
                    <a:cubicBezTo>
                      <a:pt x="62930" y="59135"/>
                      <a:pt x="59818" y="87147"/>
                      <a:pt x="56705" y="105821"/>
                    </a:cubicBezTo>
                    <a:cubicBezTo>
                      <a:pt x="56705" y="108934"/>
                      <a:pt x="56705" y="112046"/>
                      <a:pt x="53593" y="118271"/>
                    </a:cubicBezTo>
                    <a:cubicBezTo>
                      <a:pt x="47368" y="149395"/>
                      <a:pt x="50481" y="171182"/>
                      <a:pt x="72267" y="189856"/>
                    </a:cubicBezTo>
                    <a:cubicBezTo>
                      <a:pt x="72267" y="189856"/>
                      <a:pt x="75380" y="189856"/>
                      <a:pt x="78492" y="189856"/>
                    </a:cubicBezTo>
                    <a:cubicBezTo>
                      <a:pt x="90942" y="174294"/>
                      <a:pt x="94054" y="164957"/>
                      <a:pt x="90942" y="146282"/>
                    </a:cubicBezTo>
                    <a:cubicBezTo>
                      <a:pt x="90942" y="146282"/>
                      <a:pt x="90942" y="143170"/>
                      <a:pt x="87829" y="143170"/>
                    </a:cubicBezTo>
                    <a:cubicBezTo>
                      <a:pt x="84717" y="143170"/>
                      <a:pt x="81605" y="146282"/>
                      <a:pt x="81605" y="149395"/>
                    </a:cubicBezTo>
                    <a:cubicBezTo>
                      <a:pt x="81605" y="152507"/>
                      <a:pt x="78492" y="155620"/>
                      <a:pt x="75380" y="155620"/>
                    </a:cubicBezTo>
                    <a:cubicBezTo>
                      <a:pt x="72267" y="155620"/>
                      <a:pt x="69155" y="152507"/>
                      <a:pt x="69155" y="149395"/>
                    </a:cubicBezTo>
                    <a:cubicBezTo>
                      <a:pt x="69155" y="140058"/>
                      <a:pt x="75380" y="130720"/>
                      <a:pt x="84717" y="130720"/>
                    </a:cubicBezTo>
                    <a:cubicBezTo>
                      <a:pt x="94054" y="130720"/>
                      <a:pt x="100279" y="133833"/>
                      <a:pt x="100279" y="143170"/>
                    </a:cubicBezTo>
                    <a:cubicBezTo>
                      <a:pt x="103391" y="164957"/>
                      <a:pt x="100279" y="180519"/>
                      <a:pt x="84717" y="196081"/>
                    </a:cubicBezTo>
                    <a:cubicBezTo>
                      <a:pt x="81605" y="202305"/>
                      <a:pt x="69155" y="202305"/>
                      <a:pt x="62930" y="199193"/>
                    </a:cubicBezTo>
                    <a:cubicBezTo>
                      <a:pt x="31806" y="177406"/>
                      <a:pt x="34919" y="146282"/>
                      <a:pt x="41143" y="118271"/>
                    </a:cubicBezTo>
                    <a:cubicBezTo>
                      <a:pt x="41143" y="115159"/>
                      <a:pt x="41143" y="112046"/>
                      <a:pt x="41143" y="108934"/>
                    </a:cubicBezTo>
                    <a:cubicBezTo>
                      <a:pt x="44256" y="87147"/>
                      <a:pt x="47368" y="59135"/>
                      <a:pt x="69155" y="46686"/>
                    </a:cubicBezTo>
                    <a:cubicBezTo>
                      <a:pt x="87829" y="37349"/>
                      <a:pt x="100279" y="43573"/>
                      <a:pt x="109616" y="52911"/>
                    </a:cubicBezTo>
                    <a:cubicBezTo>
                      <a:pt x="140740" y="84035"/>
                      <a:pt x="128291" y="186744"/>
                      <a:pt x="118953" y="211643"/>
                    </a:cubicBezTo>
                    <a:cubicBezTo>
                      <a:pt x="115840" y="224092"/>
                      <a:pt x="94054" y="242767"/>
                      <a:pt x="69155" y="24276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图形 1">
              <a:extLst>
                <a:ext uri="{FF2B5EF4-FFF2-40B4-BE49-F238E27FC236}">
                  <a16:creationId xmlns:a16="http://schemas.microsoft.com/office/drawing/2014/main" id="{602DE8FB-24A7-4F7F-B486-1C03F97EA804}"/>
                </a:ext>
              </a:extLst>
            </p:cNvPr>
            <p:cNvGrpSpPr/>
            <p:nvPr/>
          </p:nvGrpSpPr>
          <p:grpSpPr>
            <a:xfrm>
              <a:off x="17760129" y="6452001"/>
              <a:ext cx="507665" cy="220201"/>
              <a:chOff x="17760129" y="6452001"/>
              <a:chExt cx="507665" cy="220201"/>
            </a:xfrm>
          </p:grpSpPr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8117FE6E-9F57-4483-BEC6-0535CF52845B}"/>
                  </a:ext>
                </a:extLst>
              </p:cNvPr>
              <p:cNvSpPr/>
              <p:nvPr/>
            </p:nvSpPr>
            <p:spPr>
              <a:xfrm>
                <a:off x="17760129" y="6463673"/>
                <a:ext cx="507665" cy="161844"/>
              </a:xfrm>
              <a:custGeom>
                <a:avLst/>
                <a:gdLst>
                  <a:gd name="connsiteX0" fmla="*/ 9683 w 507665"/>
                  <a:gd name="connsiteY0" fmla="*/ 46686 h 161844"/>
                  <a:gd name="connsiteX1" fmla="*/ 199539 w 507665"/>
                  <a:gd name="connsiteY1" fmla="*/ 0 h 161844"/>
                  <a:gd name="connsiteX2" fmla="*/ 336484 w 507665"/>
                  <a:gd name="connsiteY2" fmla="*/ 80922 h 161844"/>
                  <a:gd name="connsiteX3" fmla="*/ 507666 w 507665"/>
                  <a:gd name="connsiteY3" fmla="*/ 161844 h 161844"/>
                  <a:gd name="connsiteX4" fmla="*/ 9683 w 507665"/>
                  <a:gd name="connsiteY4" fmla="*/ 161844 h 161844"/>
                  <a:gd name="connsiteX5" fmla="*/ 9683 w 507665"/>
                  <a:gd name="connsiteY5" fmla="*/ 46686 h 161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7665" h="161844">
                    <a:moveTo>
                      <a:pt x="9683" y="46686"/>
                    </a:moveTo>
                    <a:cubicBezTo>
                      <a:pt x="9683" y="46686"/>
                      <a:pt x="137291" y="65360"/>
                      <a:pt x="199539" y="0"/>
                    </a:cubicBezTo>
                    <a:cubicBezTo>
                      <a:pt x="199539" y="0"/>
                      <a:pt x="289798" y="71585"/>
                      <a:pt x="336484" y="80922"/>
                    </a:cubicBezTo>
                    <a:cubicBezTo>
                      <a:pt x="383170" y="90259"/>
                      <a:pt x="495217" y="87147"/>
                      <a:pt x="507666" y="161844"/>
                    </a:cubicBezTo>
                    <a:lnTo>
                      <a:pt x="9683" y="161844"/>
                    </a:lnTo>
                    <a:cubicBezTo>
                      <a:pt x="9683" y="161844"/>
                      <a:pt x="-12104" y="96484"/>
                      <a:pt x="9683" y="46686"/>
                    </a:cubicBezTo>
                    <a:close/>
                  </a:path>
                </a:pathLst>
              </a:custGeom>
              <a:solidFill>
                <a:srgbClr val="F6EBE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EC574E4A-16CF-4176-849E-13E13157966F}"/>
                  </a:ext>
                </a:extLst>
              </p:cNvPr>
              <p:cNvSpPr/>
              <p:nvPr/>
            </p:nvSpPr>
            <p:spPr>
              <a:xfrm>
                <a:off x="17769812" y="6625517"/>
                <a:ext cx="497982" cy="46685"/>
              </a:xfrm>
              <a:custGeom>
                <a:avLst/>
                <a:gdLst>
                  <a:gd name="connsiteX0" fmla="*/ 0 w 497982"/>
                  <a:gd name="connsiteY0" fmla="*/ 0 h 46685"/>
                  <a:gd name="connsiteX1" fmla="*/ 497983 w 497982"/>
                  <a:gd name="connsiteY1" fmla="*/ 0 h 46685"/>
                  <a:gd name="connsiteX2" fmla="*/ 497983 w 497982"/>
                  <a:gd name="connsiteY2" fmla="*/ 46686 h 46685"/>
                  <a:gd name="connsiteX3" fmla="*/ 0 w 497982"/>
                  <a:gd name="connsiteY3" fmla="*/ 46686 h 46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7982" h="46685">
                    <a:moveTo>
                      <a:pt x="0" y="0"/>
                    </a:moveTo>
                    <a:lnTo>
                      <a:pt x="497983" y="0"/>
                    </a:lnTo>
                    <a:lnTo>
                      <a:pt x="497983" y="46686"/>
                    </a:lnTo>
                    <a:lnTo>
                      <a:pt x="0" y="46686"/>
                    </a:ln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33FE03EE-53FD-4B03-9FAD-0C48198093AB}"/>
                  </a:ext>
                </a:extLst>
              </p:cNvPr>
              <p:cNvSpPr/>
              <p:nvPr/>
            </p:nvSpPr>
            <p:spPr>
              <a:xfrm>
                <a:off x="17760475" y="6452001"/>
                <a:ext cx="204639" cy="64582"/>
              </a:xfrm>
              <a:custGeom>
                <a:avLst/>
                <a:gdLst>
                  <a:gd name="connsiteX0" fmla="*/ 43573 w 204639"/>
                  <a:gd name="connsiteY0" fmla="*/ 64582 h 64582"/>
                  <a:gd name="connsiteX1" fmla="*/ 6224 w 204639"/>
                  <a:gd name="connsiteY1" fmla="*/ 61470 h 64582"/>
                  <a:gd name="connsiteX2" fmla="*/ 0 w 204639"/>
                  <a:gd name="connsiteY2" fmla="*/ 55245 h 64582"/>
                  <a:gd name="connsiteX3" fmla="*/ 6224 w 204639"/>
                  <a:gd name="connsiteY3" fmla="*/ 49020 h 64582"/>
                  <a:gd name="connsiteX4" fmla="*/ 192968 w 204639"/>
                  <a:gd name="connsiteY4" fmla="*/ 2334 h 64582"/>
                  <a:gd name="connsiteX5" fmla="*/ 202305 w 204639"/>
                  <a:gd name="connsiteY5" fmla="*/ 2334 h 64582"/>
                  <a:gd name="connsiteX6" fmla="*/ 202305 w 204639"/>
                  <a:gd name="connsiteY6" fmla="*/ 11672 h 64582"/>
                  <a:gd name="connsiteX7" fmla="*/ 43573 w 204639"/>
                  <a:gd name="connsiteY7" fmla="*/ 64582 h 64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4639" h="64582">
                    <a:moveTo>
                      <a:pt x="43573" y="64582"/>
                    </a:moveTo>
                    <a:cubicBezTo>
                      <a:pt x="21786" y="64582"/>
                      <a:pt x="9337" y="61470"/>
                      <a:pt x="6224" y="61470"/>
                    </a:cubicBezTo>
                    <a:cubicBezTo>
                      <a:pt x="3112" y="61470"/>
                      <a:pt x="0" y="58358"/>
                      <a:pt x="0" y="55245"/>
                    </a:cubicBezTo>
                    <a:cubicBezTo>
                      <a:pt x="0" y="52132"/>
                      <a:pt x="3112" y="49020"/>
                      <a:pt x="6224" y="49020"/>
                    </a:cubicBezTo>
                    <a:cubicBezTo>
                      <a:pt x="6224" y="49020"/>
                      <a:pt x="121383" y="64582"/>
                      <a:pt x="192968" y="2334"/>
                    </a:cubicBezTo>
                    <a:cubicBezTo>
                      <a:pt x="196080" y="-778"/>
                      <a:pt x="199193" y="-778"/>
                      <a:pt x="202305" y="2334"/>
                    </a:cubicBezTo>
                    <a:cubicBezTo>
                      <a:pt x="205417" y="5447"/>
                      <a:pt x="205417" y="8559"/>
                      <a:pt x="202305" y="11672"/>
                    </a:cubicBezTo>
                    <a:cubicBezTo>
                      <a:pt x="152507" y="58358"/>
                      <a:pt x="84034" y="64582"/>
                      <a:pt x="43573" y="645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40CF7740-9676-4B69-A857-E3FDAA6F8D1D}"/>
                  </a:ext>
                </a:extLst>
              </p:cNvPr>
              <p:cNvSpPr/>
              <p:nvPr/>
            </p:nvSpPr>
            <p:spPr>
              <a:xfrm>
                <a:off x="17963559" y="6480013"/>
                <a:ext cx="42017" cy="42795"/>
              </a:xfrm>
              <a:custGeom>
                <a:avLst/>
                <a:gdLst>
                  <a:gd name="connsiteX0" fmla="*/ 5446 w 42017"/>
                  <a:gd name="connsiteY0" fmla="*/ 42795 h 42795"/>
                  <a:gd name="connsiteX1" fmla="*/ 2334 w 42017"/>
                  <a:gd name="connsiteY1" fmla="*/ 39683 h 42795"/>
                  <a:gd name="connsiteX2" fmla="*/ 2334 w 42017"/>
                  <a:gd name="connsiteY2" fmla="*/ 30346 h 42795"/>
                  <a:gd name="connsiteX3" fmla="*/ 30346 w 42017"/>
                  <a:gd name="connsiteY3" fmla="*/ 2334 h 42795"/>
                  <a:gd name="connsiteX4" fmla="*/ 39683 w 42017"/>
                  <a:gd name="connsiteY4" fmla="*/ 2334 h 42795"/>
                  <a:gd name="connsiteX5" fmla="*/ 39683 w 42017"/>
                  <a:gd name="connsiteY5" fmla="*/ 11671 h 42795"/>
                  <a:gd name="connsiteX6" fmla="*/ 11671 w 42017"/>
                  <a:gd name="connsiteY6" fmla="*/ 39683 h 42795"/>
                  <a:gd name="connsiteX7" fmla="*/ 5446 w 42017"/>
                  <a:gd name="connsiteY7" fmla="*/ 42795 h 42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017" h="42795">
                    <a:moveTo>
                      <a:pt x="5446" y="42795"/>
                    </a:moveTo>
                    <a:cubicBezTo>
                      <a:pt x="5446" y="42795"/>
                      <a:pt x="2334" y="42795"/>
                      <a:pt x="2334" y="39683"/>
                    </a:cubicBezTo>
                    <a:cubicBezTo>
                      <a:pt x="-778" y="36571"/>
                      <a:pt x="-778" y="33458"/>
                      <a:pt x="2334" y="30346"/>
                    </a:cubicBezTo>
                    <a:lnTo>
                      <a:pt x="30346" y="2334"/>
                    </a:lnTo>
                    <a:cubicBezTo>
                      <a:pt x="33458" y="-778"/>
                      <a:pt x="36570" y="-778"/>
                      <a:pt x="39683" y="2334"/>
                    </a:cubicBezTo>
                    <a:cubicBezTo>
                      <a:pt x="42795" y="5447"/>
                      <a:pt x="42795" y="8559"/>
                      <a:pt x="39683" y="11671"/>
                    </a:cubicBezTo>
                    <a:lnTo>
                      <a:pt x="11671" y="39683"/>
                    </a:lnTo>
                    <a:cubicBezTo>
                      <a:pt x="8559" y="42795"/>
                      <a:pt x="5446" y="42795"/>
                      <a:pt x="5446" y="4279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243D5F80-A9F4-44ED-B6A5-4A5EB8EEBDC3}"/>
                  </a:ext>
                </a:extLst>
              </p:cNvPr>
              <p:cNvSpPr/>
              <p:nvPr/>
            </p:nvSpPr>
            <p:spPr>
              <a:xfrm>
                <a:off x="18000907" y="6508024"/>
                <a:ext cx="38905" cy="42795"/>
              </a:xfrm>
              <a:custGeom>
                <a:avLst/>
                <a:gdLst>
                  <a:gd name="connsiteX0" fmla="*/ 5447 w 38905"/>
                  <a:gd name="connsiteY0" fmla="*/ 42795 h 42795"/>
                  <a:gd name="connsiteX1" fmla="*/ 2334 w 38905"/>
                  <a:gd name="connsiteY1" fmla="*/ 39683 h 42795"/>
                  <a:gd name="connsiteX2" fmla="*/ 2334 w 38905"/>
                  <a:gd name="connsiteY2" fmla="*/ 30346 h 42795"/>
                  <a:gd name="connsiteX3" fmla="*/ 27233 w 38905"/>
                  <a:gd name="connsiteY3" fmla="*/ 2334 h 42795"/>
                  <a:gd name="connsiteX4" fmla="*/ 36571 w 38905"/>
                  <a:gd name="connsiteY4" fmla="*/ 2334 h 42795"/>
                  <a:gd name="connsiteX5" fmla="*/ 36571 w 38905"/>
                  <a:gd name="connsiteY5" fmla="*/ 11671 h 42795"/>
                  <a:gd name="connsiteX6" fmla="*/ 11671 w 38905"/>
                  <a:gd name="connsiteY6" fmla="*/ 39683 h 42795"/>
                  <a:gd name="connsiteX7" fmla="*/ 5447 w 38905"/>
                  <a:gd name="connsiteY7" fmla="*/ 42795 h 42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905" h="42795">
                    <a:moveTo>
                      <a:pt x="5447" y="42795"/>
                    </a:moveTo>
                    <a:cubicBezTo>
                      <a:pt x="5447" y="42795"/>
                      <a:pt x="2334" y="42795"/>
                      <a:pt x="2334" y="39683"/>
                    </a:cubicBezTo>
                    <a:cubicBezTo>
                      <a:pt x="-778" y="36570"/>
                      <a:pt x="-778" y="33458"/>
                      <a:pt x="2334" y="30346"/>
                    </a:cubicBezTo>
                    <a:lnTo>
                      <a:pt x="27233" y="2334"/>
                    </a:lnTo>
                    <a:cubicBezTo>
                      <a:pt x="30346" y="-778"/>
                      <a:pt x="33458" y="-778"/>
                      <a:pt x="36571" y="2334"/>
                    </a:cubicBezTo>
                    <a:cubicBezTo>
                      <a:pt x="39684" y="5447"/>
                      <a:pt x="39684" y="8559"/>
                      <a:pt x="36571" y="11671"/>
                    </a:cubicBezTo>
                    <a:lnTo>
                      <a:pt x="11671" y="39683"/>
                    </a:lnTo>
                    <a:cubicBezTo>
                      <a:pt x="8560" y="42795"/>
                      <a:pt x="8560" y="42795"/>
                      <a:pt x="5447" y="4279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图形 1">
              <a:extLst>
                <a:ext uri="{FF2B5EF4-FFF2-40B4-BE49-F238E27FC236}">
                  <a16:creationId xmlns:a16="http://schemas.microsoft.com/office/drawing/2014/main" id="{7A2A9CB8-FF7C-4ACC-8FE8-1BB10FEE836A}"/>
                </a:ext>
              </a:extLst>
            </p:cNvPr>
            <p:cNvGrpSpPr/>
            <p:nvPr/>
          </p:nvGrpSpPr>
          <p:grpSpPr>
            <a:xfrm>
              <a:off x="17032175" y="6452001"/>
              <a:ext cx="507320" cy="220201"/>
              <a:chOff x="17032175" y="6452001"/>
              <a:chExt cx="507320" cy="220201"/>
            </a:xfrm>
          </p:grpSpPr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17707927-508A-4EC2-9E57-0CF0594BBC7A}"/>
                  </a:ext>
                </a:extLst>
              </p:cNvPr>
              <p:cNvSpPr/>
              <p:nvPr/>
            </p:nvSpPr>
            <p:spPr>
              <a:xfrm>
                <a:off x="17033213" y="6463673"/>
                <a:ext cx="506282" cy="161844"/>
              </a:xfrm>
              <a:custGeom>
                <a:avLst/>
                <a:gdLst>
                  <a:gd name="connsiteX0" fmla="*/ 8300 w 506282"/>
                  <a:gd name="connsiteY0" fmla="*/ 46686 h 161844"/>
                  <a:gd name="connsiteX1" fmla="*/ 198156 w 506282"/>
                  <a:gd name="connsiteY1" fmla="*/ 0 h 161844"/>
                  <a:gd name="connsiteX2" fmla="*/ 335101 w 506282"/>
                  <a:gd name="connsiteY2" fmla="*/ 80922 h 161844"/>
                  <a:gd name="connsiteX3" fmla="*/ 506283 w 506282"/>
                  <a:gd name="connsiteY3" fmla="*/ 161844 h 161844"/>
                  <a:gd name="connsiteX4" fmla="*/ 8300 w 506282"/>
                  <a:gd name="connsiteY4" fmla="*/ 161844 h 161844"/>
                  <a:gd name="connsiteX5" fmla="*/ 8300 w 506282"/>
                  <a:gd name="connsiteY5" fmla="*/ 46686 h 161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6282" h="161844">
                    <a:moveTo>
                      <a:pt x="8300" y="46686"/>
                    </a:moveTo>
                    <a:cubicBezTo>
                      <a:pt x="8300" y="46686"/>
                      <a:pt x="135908" y="65360"/>
                      <a:pt x="198156" y="0"/>
                    </a:cubicBezTo>
                    <a:cubicBezTo>
                      <a:pt x="198156" y="0"/>
                      <a:pt x="288415" y="71585"/>
                      <a:pt x="335101" y="80922"/>
                    </a:cubicBezTo>
                    <a:cubicBezTo>
                      <a:pt x="381787" y="90259"/>
                      <a:pt x="493833" y="87147"/>
                      <a:pt x="506283" y="161844"/>
                    </a:cubicBezTo>
                    <a:lnTo>
                      <a:pt x="8300" y="161844"/>
                    </a:lnTo>
                    <a:cubicBezTo>
                      <a:pt x="8300" y="161844"/>
                      <a:pt x="-10375" y="96484"/>
                      <a:pt x="8300" y="46686"/>
                    </a:cubicBezTo>
                    <a:close/>
                  </a:path>
                </a:pathLst>
              </a:custGeom>
              <a:solidFill>
                <a:srgbClr val="F6EBE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A43E90E7-3276-4EAA-9D24-1DD9677372EE}"/>
                  </a:ext>
                </a:extLst>
              </p:cNvPr>
              <p:cNvSpPr/>
              <p:nvPr/>
            </p:nvSpPr>
            <p:spPr>
              <a:xfrm>
                <a:off x="17041513" y="6625517"/>
                <a:ext cx="497982" cy="46685"/>
              </a:xfrm>
              <a:custGeom>
                <a:avLst/>
                <a:gdLst>
                  <a:gd name="connsiteX0" fmla="*/ 0 w 497982"/>
                  <a:gd name="connsiteY0" fmla="*/ 0 h 46685"/>
                  <a:gd name="connsiteX1" fmla="*/ 497983 w 497982"/>
                  <a:gd name="connsiteY1" fmla="*/ 0 h 46685"/>
                  <a:gd name="connsiteX2" fmla="*/ 497983 w 497982"/>
                  <a:gd name="connsiteY2" fmla="*/ 46686 h 46685"/>
                  <a:gd name="connsiteX3" fmla="*/ 0 w 497982"/>
                  <a:gd name="connsiteY3" fmla="*/ 46686 h 46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7982" h="46685">
                    <a:moveTo>
                      <a:pt x="0" y="0"/>
                    </a:moveTo>
                    <a:lnTo>
                      <a:pt x="497983" y="0"/>
                    </a:lnTo>
                    <a:lnTo>
                      <a:pt x="497983" y="46686"/>
                    </a:lnTo>
                    <a:lnTo>
                      <a:pt x="0" y="46686"/>
                    </a:ln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F66540D8-2434-4561-AEFE-CAF0A17FA6CC}"/>
                  </a:ext>
                </a:extLst>
              </p:cNvPr>
              <p:cNvSpPr/>
              <p:nvPr/>
            </p:nvSpPr>
            <p:spPr>
              <a:xfrm>
                <a:off x="17032175" y="6452001"/>
                <a:ext cx="204639" cy="64582"/>
              </a:xfrm>
              <a:custGeom>
                <a:avLst/>
                <a:gdLst>
                  <a:gd name="connsiteX0" fmla="*/ 43574 w 204639"/>
                  <a:gd name="connsiteY0" fmla="*/ 64582 h 64582"/>
                  <a:gd name="connsiteX1" fmla="*/ 6225 w 204639"/>
                  <a:gd name="connsiteY1" fmla="*/ 61470 h 64582"/>
                  <a:gd name="connsiteX2" fmla="*/ 0 w 204639"/>
                  <a:gd name="connsiteY2" fmla="*/ 55245 h 64582"/>
                  <a:gd name="connsiteX3" fmla="*/ 6225 w 204639"/>
                  <a:gd name="connsiteY3" fmla="*/ 49020 h 64582"/>
                  <a:gd name="connsiteX4" fmla="*/ 192969 w 204639"/>
                  <a:gd name="connsiteY4" fmla="*/ 2334 h 64582"/>
                  <a:gd name="connsiteX5" fmla="*/ 202305 w 204639"/>
                  <a:gd name="connsiteY5" fmla="*/ 2334 h 64582"/>
                  <a:gd name="connsiteX6" fmla="*/ 202305 w 204639"/>
                  <a:gd name="connsiteY6" fmla="*/ 11672 h 64582"/>
                  <a:gd name="connsiteX7" fmla="*/ 43574 w 204639"/>
                  <a:gd name="connsiteY7" fmla="*/ 64582 h 64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4639" h="64582">
                    <a:moveTo>
                      <a:pt x="43574" y="64582"/>
                    </a:moveTo>
                    <a:cubicBezTo>
                      <a:pt x="21787" y="64582"/>
                      <a:pt x="9338" y="61470"/>
                      <a:pt x="6225" y="61470"/>
                    </a:cubicBezTo>
                    <a:cubicBezTo>
                      <a:pt x="3113" y="61470"/>
                      <a:pt x="0" y="58358"/>
                      <a:pt x="0" y="55245"/>
                    </a:cubicBezTo>
                    <a:cubicBezTo>
                      <a:pt x="0" y="52132"/>
                      <a:pt x="3113" y="49020"/>
                      <a:pt x="6225" y="49020"/>
                    </a:cubicBezTo>
                    <a:cubicBezTo>
                      <a:pt x="6225" y="49020"/>
                      <a:pt x="121384" y="64582"/>
                      <a:pt x="192969" y="2334"/>
                    </a:cubicBezTo>
                    <a:cubicBezTo>
                      <a:pt x="196081" y="-778"/>
                      <a:pt x="199194" y="-778"/>
                      <a:pt x="202305" y="2334"/>
                    </a:cubicBezTo>
                    <a:cubicBezTo>
                      <a:pt x="205418" y="5447"/>
                      <a:pt x="205418" y="8559"/>
                      <a:pt x="202305" y="11672"/>
                    </a:cubicBezTo>
                    <a:cubicBezTo>
                      <a:pt x="152508" y="58358"/>
                      <a:pt x="87148" y="64582"/>
                      <a:pt x="43574" y="6458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7E68E7D1-4728-4D21-89FC-647BFE49C0A2}"/>
                  </a:ext>
                </a:extLst>
              </p:cNvPr>
              <p:cNvSpPr/>
              <p:nvPr/>
            </p:nvSpPr>
            <p:spPr>
              <a:xfrm>
                <a:off x="17235259" y="6480013"/>
                <a:ext cx="42017" cy="42795"/>
              </a:xfrm>
              <a:custGeom>
                <a:avLst/>
                <a:gdLst>
                  <a:gd name="connsiteX0" fmla="*/ 5447 w 42017"/>
                  <a:gd name="connsiteY0" fmla="*/ 42795 h 42795"/>
                  <a:gd name="connsiteX1" fmla="*/ 2334 w 42017"/>
                  <a:gd name="connsiteY1" fmla="*/ 39683 h 42795"/>
                  <a:gd name="connsiteX2" fmla="*/ 2334 w 42017"/>
                  <a:gd name="connsiteY2" fmla="*/ 30346 h 42795"/>
                  <a:gd name="connsiteX3" fmla="*/ 30346 w 42017"/>
                  <a:gd name="connsiteY3" fmla="*/ 2334 h 42795"/>
                  <a:gd name="connsiteX4" fmla="*/ 39684 w 42017"/>
                  <a:gd name="connsiteY4" fmla="*/ 2334 h 42795"/>
                  <a:gd name="connsiteX5" fmla="*/ 39684 w 42017"/>
                  <a:gd name="connsiteY5" fmla="*/ 11671 h 42795"/>
                  <a:gd name="connsiteX6" fmla="*/ 11672 w 42017"/>
                  <a:gd name="connsiteY6" fmla="*/ 39683 h 42795"/>
                  <a:gd name="connsiteX7" fmla="*/ 5447 w 42017"/>
                  <a:gd name="connsiteY7" fmla="*/ 42795 h 42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017" h="42795">
                    <a:moveTo>
                      <a:pt x="5447" y="42795"/>
                    </a:moveTo>
                    <a:cubicBezTo>
                      <a:pt x="5447" y="42795"/>
                      <a:pt x="2334" y="42795"/>
                      <a:pt x="2334" y="39683"/>
                    </a:cubicBezTo>
                    <a:cubicBezTo>
                      <a:pt x="-778" y="36571"/>
                      <a:pt x="-778" y="33458"/>
                      <a:pt x="2334" y="30346"/>
                    </a:cubicBezTo>
                    <a:lnTo>
                      <a:pt x="30346" y="2334"/>
                    </a:lnTo>
                    <a:cubicBezTo>
                      <a:pt x="33458" y="-778"/>
                      <a:pt x="36571" y="-778"/>
                      <a:pt x="39684" y="2334"/>
                    </a:cubicBezTo>
                    <a:cubicBezTo>
                      <a:pt x="42796" y="5447"/>
                      <a:pt x="42796" y="8559"/>
                      <a:pt x="39684" y="11671"/>
                    </a:cubicBezTo>
                    <a:lnTo>
                      <a:pt x="11672" y="39683"/>
                    </a:lnTo>
                    <a:cubicBezTo>
                      <a:pt x="8560" y="42795"/>
                      <a:pt x="5447" y="42795"/>
                      <a:pt x="5447" y="4279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4F6334F5-C4E4-48B1-BC18-8FBA0F701D5D}"/>
                  </a:ext>
                </a:extLst>
              </p:cNvPr>
              <p:cNvSpPr/>
              <p:nvPr/>
            </p:nvSpPr>
            <p:spPr>
              <a:xfrm>
                <a:off x="17272608" y="6508024"/>
                <a:ext cx="42017" cy="42795"/>
              </a:xfrm>
              <a:custGeom>
                <a:avLst/>
                <a:gdLst>
                  <a:gd name="connsiteX0" fmla="*/ 5447 w 42017"/>
                  <a:gd name="connsiteY0" fmla="*/ 42795 h 42795"/>
                  <a:gd name="connsiteX1" fmla="*/ 2334 w 42017"/>
                  <a:gd name="connsiteY1" fmla="*/ 39683 h 42795"/>
                  <a:gd name="connsiteX2" fmla="*/ 2334 w 42017"/>
                  <a:gd name="connsiteY2" fmla="*/ 30346 h 42795"/>
                  <a:gd name="connsiteX3" fmla="*/ 30346 w 42017"/>
                  <a:gd name="connsiteY3" fmla="*/ 2334 h 42795"/>
                  <a:gd name="connsiteX4" fmla="*/ 39683 w 42017"/>
                  <a:gd name="connsiteY4" fmla="*/ 2334 h 42795"/>
                  <a:gd name="connsiteX5" fmla="*/ 39683 w 42017"/>
                  <a:gd name="connsiteY5" fmla="*/ 11671 h 42795"/>
                  <a:gd name="connsiteX6" fmla="*/ 11671 w 42017"/>
                  <a:gd name="connsiteY6" fmla="*/ 39683 h 42795"/>
                  <a:gd name="connsiteX7" fmla="*/ 5447 w 42017"/>
                  <a:gd name="connsiteY7" fmla="*/ 42795 h 42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017" h="42795">
                    <a:moveTo>
                      <a:pt x="5447" y="42795"/>
                    </a:moveTo>
                    <a:cubicBezTo>
                      <a:pt x="5447" y="42795"/>
                      <a:pt x="2334" y="42795"/>
                      <a:pt x="2334" y="39683"/>
                    </a:cubicBezTo>
                    <a:cubicBezTo>
                      <a:pt x="-778" y="36570"/>
                      <a:pt x="-778" y="33458"/>
                      <a:pt x="2334" y="30346"/>
                    </a:cubicBezTo>
                    <a:lnTo>
                      <a:pt x="30346" y="2334"/>
                    </a:lnTo>
                    <a:cubicBezTo>
                      <a:pt x="33458" y="-778"/>
                      <a:pt x="36571" y="-778"/>
                      <a:pt x="39683" y="2334"/>
                    </a:cubicBezTo>
                    <a:cubicBezTo>
                      <a:pt x="42795" y="5447"/>
                      <a:pt x="42795" y="8559"/>
                      <a:pt x="39683" y="11671"/>
                    </a:cubicBezTo>
                    <a:lnTo>
                      <a:pt x="11671" y="39683"/>
                    </a:lnTo>
                    <a:cubicBezTo>
                      <a:pt x="8559" y="42795"/>
                      <a:pt x="8559" y="42795"/>
                      <a:pt x="5447" y="4279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42AF7D46-845C-49F7-97F5-7D21250AC732}"/>
                </a:ext>
              </a:extLst>
            </p:cNvPr>
            <p:cNvSpPr/>
            <p:nvPr/>
          </p:nvSpPr>
          <p:spPr>
            <a:xfrm>
              <a:off x="17561282" y="4207189"/>
              <a:ext cx="71585" cy="373487"/>
            </a:xfrm>
            <a:custGeom>
              <a:avLst/>
              <a:gdLst>
                <a:gd name="connsiteX0" fmla="*/ 6225 w 71585"/>
                <a:gd name="connsiteY0" fmla="*/ 373487 h 373487"/>
                <a:gd name="connsiteX1" fmla="*/ 6225 w 71585"/>
                <a:gd name="connsiteY1" fmla="*/ 373487 h 373487"/>
                <a:gd name="connsiteX2" fmla="*/ 0 w 71585"/>
                <a:gd name="connsiteY2" fmla="*/ 364150 h 373487"/>
                <a:gd name="connsiteX3" fmla="*/ 59136 w 71585"/>
                <a:gd name="connsiteY3" fmla="*/ 6225 h 373487"/>
                <a:gd name="connsiteX4" fmla="*/ 65360 w 71585"/>
                <a:gd name="connsiteY4" fmla="*/ 0 h 373487"/>
                <a:gd name="connsiteX5" fmla="*/ 65360 w 71585"/>
                <a:gd name="connsiteY5" fmla="*/ 0 h 373487"/>
                <a:gd name="connsiteX6" fmla="*/ 71586 w 71585"/>
                <a:gd name="connsiteY6" fmla="*/ 6225 h 373487"/>
                <a:gd name="connsiteX7" fmla="*/ 12450 w 71585"/>
                <a:gd name="connsiteY7" fmla="*/ 367262 h 373487"/>
                <a:gd name="connsiteX8" fmla="*/ 6225 w 71585"/>
                <a:gd name="connsiteY8" fmla="*/ 373487 h 373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585" h="373487">
                  <a:moveTo>
                    <a:pt x="6225" y="373487"/>
                  </a:moveTo>
                  <a:cubicBezTo>
                    <a:pt x="3113" y="373487"/>
                    <a:pt x="3113" y="373487"/>
                    <a:pt x="6225" y="373487"/>
                  </a:cubicBezTo>
                  <a:cubicBezTo>
                    <a:pt x="0" y="370375"/>
                    <a:pt x="0" y="367262"/>
                    <a:pt x="0" y="364150"/>
                  </a:cubicBezTo>
                  <a:cubicBezTo>
                    <a:pt x="49798" y="248991"/>
                    <a:pt x="59136" y="9337"/>
                    <a:pt x="59136" y="6225"/>
                  </a:cubicBezTo>
                  <a:cubicBezTo>
                    <a:pt x="59136" y="3112"/>
                    <a:pt x="62248" y="0"/>
                    <a:pt x="65360" y="0"/>
                  </a:cubicBezTo>
                  <a:lnTo>
                    <a:pt x="65360" y="0"/>
                  </a:lnTo>
                  <a:cubicBezTo>
                    <a:pt x="68473" y="0"/>
                    <a:pt x="71586" y="3112"/>
                    <a:pt x="71586" y="6225"/>
                  </a:cubicBezTo>
                  <a:cubicBezTo>
                    <a:pt x="71586" y="15562"/>
                    <a:pt x="62248" y="248991"/>
                    <a:pt x="12450" y="367262"/>
                  </a:cubicBezTo>
                  <a:cubicBezTo>
                    <a:pt x="9338" y="373487"/>
                    <a:pt x="6225" y="373487"/>
                    <a:pt x="6225" y="373487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7095B7D8-85E2-4C21-8E78-43454DA52905}"/>
                </a:ext>
              </a:extLst>
            </p:cNvPr>
            <p:cNvSpPr/>
            <p:nvPr/>
          </p:nvSpPr>
          <p:spPr>
            <a:xfrm>
              <a:off x="17588005" y="4135604"/>
              <a:ext cx="160020" cy="364149"/>
            </a:xfrm>
            <a:custGeom>
              <a:avLst/>
              <a:gdLst>
                <a:gd name="connsiteX0" fmla="*/ 7514 w 160020"/>
                <a:gd name="connsiteY0" fmla="*/ 364150 h 364149"/>
                <a:gd name="connsiteX1" fmla="*/ 1289 w 160020"/>
                <a:gd name="connsiteY1" fmla="*/ 361037 h 364149"/>
                <a:gd name="connsiteX2" fmla="*/ 4401 w 160020"/>
                <a:gd name="connsiteY2" fmla="*/ 351700 h 364149"/>
                <a:gd name="connsiteX3" fmla="*/ 113335 w 160020"/>
                <a:gd name="connsiteY3" fmla="*/ 273890 h 364149"/>
                <a:gd name="connsiteX4" fmla="*/ 147571 w 160020"/>
                <a:gd name="connsiteY4" fmla="*/ 6225 h 364149"/>
                <a:gd name="connsiteX5" fmla="*/ 153796 w 160020"/>
                <a:gd name="connsiteY5" fmla="*/ 0 h 364149"/>
                <a:gd name="connsiteX6" fmla="*/ 160021 w 160020"/>
                <a:gd name="connsiteY6" fmla="*/ 6225 h 364149"/>
                <a:gd name="connsiteX7" fmla="*/ 125785 w 160020"/>
                <a:gd name="connsiteY7" fmla="*/ 280115 h 364149"/>
                <a:gd name="connsiteX8" fmla="*/ 13739 w 160020"/>
                <a:gd name="connsiteY8" fmla="*/ 361037 h 364149"/>
                <a:gd name="connsiteX9" fmla="*/ 7514 w 160020"/>
                <a:gd name="connsiteY9" fmla="*/ 364150 h 36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0020" h="364149">
                  <a:moveTo>
                    <a:pt x="7514" y="364150"/>
                  </a:moveTo>
                  <a:cubicBezTo>
                    <a:pt x="4401" y="364150"/>
                    <a:pt x="4401" y="364150"/>
                    <a:pt x="1289" y="361037"/>
                  </a:cubicBezTo>
                  <a:cubicBezTo>
                    <a:pt x="-1823" y="357925"/>
                    <a:pt x="1289" y="354813"/>
                    <a:pt x="4401" y="351700"/>
                  </a:cubicBezTo>
                  <a:cubicBezTo>
                    <a:pt x="44863" y="326801"/>
                    <a:pt x="103998" y="283228"/>
                    <a:pt x="113335" y="273890"/>
                  </a:cubicBezTo>
                  <a:cubicBezTo>
                    <a:pt x="122672" y="261441"/>
                    <a:pt x="138234" y="102709"/>
                    <a:pt x="147571" y="6225"/>
                  </a:cubicBezTo>
                  <a:cubicBezTo>
                    <a:pt x="147571" y="3112"/>
                    <a:pt x="150684" y="0"/>
                    <a:pt x="153796" y="0"/>
                  </a:cubicBezTo>
                  <a:cubicBezTo>
                    <a:pt x="156909" y="0"/>
                    <a:pt x="160021" y="3112"/>
                    <a:pt x="160021" y="6225"/>
                  </a:cubicBezTo>
                  <a:cubicBezTo>
                    <a:pt x="156909" y="49798"/>
                    <a:pt x="135122" y="264553"/>
                    <a:pt x="125785" y="280115"/>
                  </a:cubicBezTo>
                  <a:cubicBezTo>
                    <a:pt x="113335" y="295677"/>
                    <a:pt x="23075" y="354813"/>
                    <a:pt x="13739" y="361037"/>
                  </a:cubicBezTo>
                  <a:cubicBezTo>
                    <a:pt x="10626" y="364150"/>
                    <a:pt x="10626" y="364150"/>
                    <a:pt x="7514" y="364150"/>
                  </a:cubicBezTo>
                  <a:close/>
                </a:path>
              </a:pathLst>
            </a:custGeom>
            <a:solidFill>
              <a:srgbClr val="6C5D6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DADAE9FB-F98E-47F8-BD2F-A0F58DB3BA7B}"/>
                </a:ext>
              </a:extLst>
            </p:cNvPr>
            <p:cNvSpPr/>
            <p:nvPr/>
          </p:nvSpPr>
          <p:spPr>
            <a:xfrm>
              <a:off x="17452348" y="2464249"/>
              <a:ext cx="255216" cy="263630"/>
            </a:xfrm>
            <a:custGeom>
              <a:avLst/>
              <a:gdLst>
                <a:gd name="connsiteX0" fmla="*/ 255217 w 255216"/>
                <a:gd name="connsiteY0" fmla="*/ 40461 h 263630"/>
                <a:gd name="connsiteX1" fmla="*/ 248991 w 255216"/>
                <a:gd name="connsiteY1" fmla="*/ 217867 h 263630"/>
                <a:gd name="connsiteX2" fmla="*/ 0 w 255216"/>
                <a:gd name="connsiteY2" fmla="*/ 208530 h 263630"/>
                <a:gd name="connsiteX3" fmla="*/ 15562 w 255216"/>
                <a:gd name="connsiteY3" fmla="*/ 0 h 263630"/>
                <a:gd name="connsiteX4" fmla="*/ 255217 w 255216"/>
                <a:gd name="connsiteY4" fmla="*/ 40461 h 263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216" h="263630">
                  <a:moveTo>
                    <a:pt x="255217" y="40461"/>
                  </a:moveTo>
                  <a:cubicBezTo>
                    <a:pt x="255217" y="40461"/>
                    <a:pt x="248991" y="143170"/>
                    <a:pt x="248991" y="217867"/>
                  </a:cubicBezTo>
                  <a:cubicBezTo>
                    <a:pt x="248991" y="217867"/>
                    <a:pt x="152508" y="326801"/>
                    <a:pt x="0" y="208530"/>
                  </a:cubicBezTo>
                  <a:cubicBezTo>
                    <a:pt x="0" y="146282"/>
                    <a:pt x="12450" y="65360"/>
                    <a:pt x="15562" y="0"/>
                  </a:cubicBezTo>
                  <a:cubicBezTo>
                    <a:pt x="15562" y="0"/>
                    <a:pt x="202305" y="52911"/>
                    <a:pt x="255217" y="40461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A1462656-6B13-4160-8C4C-FB4FDF8DECF6}"/>
                </a:ext>
              </a:extLst>
            </p:cNvPr>
            <p:cNvSpPr/>
            <p:nvPr/>
          </p:nvSpPr>
          <p:spPr>
            <a:xfrm>
              <a:off x="16985489" y="2632318"/>
              <a:ext cx="1104260" cy="1526007"/>
            </a:xfrm>
            <a:custGeom>
              <a:avLst/>
              <a:gdLst>
                <a:gd name="connsiteX0" fmla="*/ 451297 w 1104260"/>
                <a:gd name="connsiteY0" fmla="*/ 0 h 1526007"/>
                <a:gd name="connsiteX1" fmla="*/ 746974 w 1104260"/>
                <a:gd name="connsiteY1" fmla="*/ 0 h 1526007"/>
                <a:gd name="connsiteX2" fmla="*/ 1051989 w 1104260"/>
                <a:gd name="connsiteY2" fmla="*/ 133833 h 1526007"/>
                <a:gd name="connsiteX3" fmla="*/ 1101788 w 1104260"/>
                <a:gd name="connsiteY3" fmla="*/ 1475274 h 1526007"/>
                <a:gd name="connsiteX4" fmla="*/ 0 w 1104260"/>
                <a:gd name="connsiteY4" fmla="*/ 1478386 h 1526007"/>
                <a:gd name="connsiteX5" fmla="*/ 164957 w 1104260"/>
                <a:gd name="connsiteY5" fmla="*/ 105821 h 1526007"/>
                <a:gd name="connsiteX6" fmla="*/ 451297 w 1104260"/>
                <a:gd name="connsiteY6" fmla="*/ 0 h 1526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4260" h="1526007">
                  <a:moveTo>
                    <a:pt x="451297" y="0"/>
                  </a:moveTo>
                  <a:cubicBezTo>
                    <a:pt x="451297" y="0"/>
                    <a:pt x="628704" y="56023"/>
                    <a:pt x="746974" y="0"/>
                  </a:cubicBezTo>
                  <a:cubicBezTo>
                    <a:pt x="746974" y="0"/>
                    <a:pt x="1027089" y="99597"/>
                    <a:pt x="1051989" y="133833"/>
                  </a:cubicBezTo>
                  <a:cubicBezTo>
                    <a:pt x="1076888" y="164957"/>
                    <a:pt x="1114237" y="1406801"/>
                    <a:pt x="1101788" y="1475274"/>
                  </a:cubicBezTo>
                  <a:cubicBezTo>
                    <a:pt x="1101788" y="1475274"/>
                    <a:pt x="591354" y="1587320"/>
                    <a:pt x="0" y="1478386"/>
                  </a:cubicBezTo>
                  <a:cubicBezTo>
                    <a:pt x="0" y="1114236"/>
                    <a:pt x="121384" y="140058"/>
                    <a:pt x="164957" y="105821"/>
                  </a:cubicBezTo>
                  <a:cubicBezTo>
                    <a:pt x="205418" y="71585"/>
                    <a:pt x="451297" y="0"/>
                    <a:pt x="451297" y="0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5BF5385D-1DCC-4A13-8B93-9150BA7868B5}"/>
                </a:ext>
              </a:extLst>
            </p:cNvPr>
            <p:cNvSpPr/>
            <p:nvPr/>
          </p:nvSpPr>
          <p:spPr>
            <a:xfrm>
              <a:off x="17876266" y="2724093"/>
              <a:ext cx="460002" cy="624075"/>
            </a:xfrm>
            <a:custGeom>
              <a:avLst/>
              <a:gdLst>
                <a:gd name="connsiteX0" fmla="*/ 64728 w 460002"/>
                <a:gd name="connsiteY0" fmla="*/ 624075 h 624075"/>
                <a:gd name="connsiteX1" fmla="*/ 52279 w 460002"/>
                <a:gd name="connsiteY1" fmla="*/ 10934 h 624075"/>
                <a:gd name="connsiteX2" fmla="*/ 460002 w 460002"/>
                <a:gd name="connsiteY2" fmla="*/ 452894 h 624075"/>
                <a:gd name="connsiteX3" fmla="*/ 64728 w 460002"/>
                <a:gd name="connsiteY3" fmla="*/ 624075 h 62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0002" h="624075">
                  <a:moveTo>
                    <a:pt x="64728" y="624075"/>
                  </a:moveTo>
                  <a:cubicBezTo>
                    <a:pt x="64728" y="624075"/>
                    <a:pt x="-72217" y="91856"/>
                    <a:pt x="52279" y="10934"/>
                  </a:cubicBezTo>
                  <a:cubicBezTo>
                    <a:pt x="198560" y="-82438"/>
                    <a:pt x="460002" y="452894"/>
                    <a:pt x="460002" y="452894"/>
                  </a:cubicBezTo>
                  <a:cubicBezTo>
                    <a:pt x="460002" y="452894"/>
                    <a:pt x="282595" y="602289"/>
                    <a:pt x="64728" y="624075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82B04678-EAF3-427A-9988-8559735BF375}"/>
                </a:ext>
              </a:extLst>
            </p:cNvPr>
            <p:cNvSpPr/>
            <p:nvPr/>
          </p:nvSpPr>
          <p:spPr>
            <a:xfrm>
              <a:off x="18028140" y="2759926"/>
              <a:ext cx="54200" cy="563342"/>
            </a:xfrm>
            <a:custGeom>
              <a:avLst/>
              <a:gdLst>
                <a:gd name="connsiteX0" fmla="*/ 49798 w 54200"/>
                <a:gd name="connsiteY0" fmla="*/ 563343 h 563342"/>
                <a:gd name="connsiteX1" fmla="*/ 43574 w 54200"/>
                <a:gd name="connsiteY1" fmla="*/ 557118 h 563342"/>
                <a:gd name="connsiteX2" fmla="*/ 0 w 54200"/>
                <a:gd name="connsiteY2" fmla="*/ 6225 h 563342"/>
                <a:gd name="connsiteX3" fmla="*/ 3113 w 54200"/>
                <a:gd name="connsiteY3" fmla="*/ 0 h 563342"/>
                <a:gd name="connsiteX4" fmla="*/ 9338 w 54200"/>
                <a:gd name="connsiteY4" fmla="*/ 3112 h 563342"/>
                <a:gd name="connsiteX5" fmla="*/ 52911 w 54200"/>
                <a:gd name="connsiteY5" fmla="*/ 557118 h 563342"/>
                <a:gd name="connsiteX6" fmla="*/ 49798 w 54200"/>
                <a:gd name="connsiteY6" fmla="*/ 563343 h 563342"/>
                <a:gd name="connsiteX7" fmla="*/ 49798 w 54200"/>
                <a:gd name="connsiteY7" fmla="*/ 563343 h 563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200" h="563342">
                  <a:moveTo>
                    <a:pt x="49798" y="563343"/>
                  </a:moveTo>
                  <a:cubicBezTo>
                    <a:pt x="46686" y="563343"/>
                    <a:pt x="43574" y="560231"/>
                    <a:pt x="43574" y="557118"/>
                  </a:cubicBezTo>
                  <a:cubicBezTo>
                    <a:pt x="43574" y="550893"/>
                    <a:pt x="6225" y="46686"/>
                    <a:pt x="0" y="6225"/>
                  </a:cubicBezTo>
                  <a:cubicBezTo>
                    <a:pt x="0" y="3112"/>
                    <a:pt x="0" y="0"/>
                    <a:pt x="3113" y="0"/>
                  </a:cubicBezTo>
                  <a:cubicBezTo>
                    <a:pt x="6225" y="0"/>
                    <a:pt x="9338" y="0"/>
                    <a:pt x="9338" y="3112"/>
                  </a:cubicBezTo>
                  <a:cubicBezTo>
                    <a:pt x="18675" y="43573"/>
                    <a:pt x="52911" y="535331"/>
                    <a:pt x="52911" y="557118"/>
                  </a:cubicBezTo>
                  <a:cubicBezTo>
                    <a:pt x="56024" y="560231"/>
                    <a:pt x="52911" y="563343"/>
                    <a:pt x="49798" y="563343"/>
                  </a:cubicBezTo>
                  <a:cubicBezTo>
                    <a:pt x="49798" y="563343"/>
                    <a:pt x="49798" y="563343"/>
                    <a:pt x="49798" y="563343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31B46B23-C983-4745-A804-E21990DEF016}"/>
                </a:ext>
              </a:extLst>
            </p:cNvPr>
            <p:cNvSpPr/>
            <p:nvPr/>
          </p:nvSpPr>
          <p:spPr>
            <a:xfrm>
              <a:off x="17024394" y="3142744"/>
              <a:ext cx="417709" cy="102933"/>
            </a:xfrm>
            <a:custGeom>
              <a:avLst/>
              <a:gdLst>
                <a:gd name="connsiteX0" fmla="*/ 393718 w 417709"/>
                <a:gd name="connsiteY0" fmla="*/ 3119 h 102933"/>
                <a:gd name="connsiteX1" fmla="*/ 14006 w 417709"/>
                <a:gd name="connsiteY1" fmla="*/ 71592 h 102933"/>
                <a:gd name="connsiteX2" fmla="*/ 14006 w 417709"/>
                <a:gd name="connsiteY2" fmla="*/ 102715 h 102933"/>
                <a:gd name="connsiteX3" fmla="*/ 409280 w 417709"/>
                <a:gd name="connsiteY3" fmla="*/ 31131 h 102933"/>
                <a:gd name="connsiteX4" fmla="*/ 393718 w 417709"/>
                <a:gd name="connsiteY4" fmla="*/ 3119 h 102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7709" h="102933">
                  <a:moveTo>
                    <a:pt x="393718" y="3119"/>
                  </a:moveTo>
                  <a:cubicBezTo>
                    <a:pt x="291009" y="68479"/>
                    <a:pt x="132276" y="59142"/>
                    <a:pt x="14006" y="71592"/>
                  </a:cubicBezTo>
                  <a:cubicBezTo>
                    <a:pt x="-4669" y="74704"/>
                    <a:pt x="-4669" y="105828"/>
                    <a:pt x="14006" y="102715"/>
                  </a:cubicBezTo>
                  <a:cubicBezTo>
                    <a:pt x="141614" y="90266"/>
                    <a:pt x="300346" y="99603"/>
                    <a:pt x="409280" y="31131"/>
                  </a:cubicBezTo>
                  <a:cubicBezTo>
                    <a:pt x="427954" y="18681"/>
                    <a:pt x="412392" y="-9331"/>
                    <a:pt x="393718" y="3119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A62912E9-83BE-4617-B3A4-B9DDBC70862F}"/>
                </a:ext>
              </a:extLst>
            </p:cNvPr>
            <p:cNvSpPr/>
            <p:nvPr/>
          </p:nvSpPr>
          <p:spPr>
            <a:xfrm>
              <a:off x="17399438" y="2330416"/>
              <a:ext cx="68472" cy="146282"/>
            </a:xfrm>
            <a:custGeom>
              <a:avLst/>
              <a:gdLst>
                <a:gd name="connsiteX0" fmla="*/ 0 w 68472"/>
                <a:gd name="connsiteY0" fmla="*/ 0 h 146282"/>
                <a:gd name="connsiteX1" fmla="*/ 59135 w 68472"/>
                <a:gd name="connsiteY1" fmla="*/ 146282 h 146282"/>
                <a:gd name="connsiteX2" fmla="*/ 68472 w 68472"/>
                <a:gd name="connsiteY2" fmla="*/ 59135 h 146282"/>
                <a:gd name="connsiteX3" fmla="*/ 0 w 68472"/>
                <a:gd name="connsiteY3" fmla="*/ 0 h 146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472" h="146282">
                  <a:moveTo>
                    <a:pt x="0" y="0"/>
                  </a:moveTo>
                  <a:cubicBezTo>
                    <a:pt x="0" y="0"/>
                    <a:pt x="6224" y="121383"/>
                    <a:pt x="59135" y="146282"/>
                  </a:cubicBezTo>
                  <a:lnTo>
                    <a:pt x="68472" y="591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01109880-9A8B-438F-8BEC-B69E117164C4}"/>
                </a:ext>
              </a:extLst>
            </p:cNvPr>
            <p:cNvSpPr/>
            <p:nvPr/>
          </p:nvSpPr>
          <p:spPr>
            <a:xfrm>
              <a:off x="17770365" y="2149898"/>
              <a:ext cx="107937" cy="239144"/>
            </a:xfrm>
            <a:custGeom>
              <a:avLst/>
              <a:gdLst>
                <a:gd name="connsiteX0" fmla="*/ 105269 w 107937"/>
                <a:gd name="connsiteY0" fmla="*/ 0 h 239144"/>
                <a:gd name="connsiteX1" fmla="*/ 46133 w 107937"/>
                <a:gd name="connsiteY1" fmla="*/ 236542 h 239144"/>
                <a:gd name="connsiteX2" fmla="*/ 5673 w 107937"/>
                <a:gd name="connsiteY2" fmla="*/ 9337 h 239144"/>
                <a:gd name="connsiteX3" fmla="*/ 105269 w 107937"/>
                <a:gd name="connsiteY3" fmla="*/ 0 h 23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937" h="239144">
                  <a:moveTo>
                    <a:pt x="105269" y="0"/>
                  </a:moveTo>
                  <a:cubicBezTo>
                    <a:pt x="105269" y="0"/>
                    <a:pt x="127056" y="202305"/>
                    <a:pt x="46133" y="236542"/>
                  </a:cubicBezTo>
                  <a:cubicBezTo>
                    <a:pt x="-22340" y="267666"/>
                    <a:pt x="5673" y="9337"/>
                    <a:pt x="5673" y="9337"/>
                  </a:cubicBezTo>
                  <a:lnTo>
                    <a:pt x="105269" y="0"/>
                  </a:lnTo>
                  <a:close/>
                </a:path>
              </a:pathLst>
            </a:custGeom>
            <a:solidFill>
              <a:srgbClr val="664241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E1536E78-C803-418C-8351-5408FF6510E1}"/>
                </a:ext>
              </a:extLst>
            </p:cNvPr>
            <p:cNvSpPr/>
            <p:nvPr/>
          </p:nvSpPr>
          <p:spPr>
            <a:xfrm>
              <a:off x="17408294" y="1996894"/>
              <a:ext cx="426522" cy="579538"/>
            </a:xfrm>
            <a:custGeom>
              <a:avLst/>
              <a:gdLst>
                <a:gd name="connsiteX0" fmla="*/ 423766 w 426522"/>
                <a:gd name="connsiteY0" fmla="*/ 196577 h 579538"/>
                <a:gd name="connsiteX1" fmla="*/ 408204 w 426522"/>
                <a:gd name="connsiteY1" fmla="*/ 451793 h 579538"/>
                <a:gd name="connsiteX2" fmla="*/ 237022 w 426522"/>
                <a:gd name="connsiteY2" fmla="*/ 579401 h 579538"/>
                <a:gd name="connsiteX3" fmla="*/ 25380 w 426522"/>
                <a:gd name="connsiteY3" fmla="*/ 420669 h 579538"/>
                <a:gd name="connsiteX4" fmla="*/ 480 w 426522"/>
                <a:gd name="connsiteY4" fmla="*/ 190352 h 579538"/>
                <a:gd name="connsiteX5" fmla="*/ 230797 w 426522"/>
                <a:gd name="connsiteY5" fmla="*/ 496 h 579538"/>
                <a:gd name="connsiteX6" fmla="*/ 423766 w 426522"/>
                <a:gd name="connsiteY6" fmla="*/ 196577 h 579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522" h="579538">
                  <a:moveTo>
                    <a:pt x="423766" y="196577"/>
                  </a:moveTo>
                  <a:cubicBezTo>
                    <a:pt x="423766" y="196577"/>
                    <a:pt x="436215" y="377096"/>
                    <a:pt x="408204" y="451793"/>
                  </a:cubicBezTo>
                  <a:cubicBezTo>
                    <a:pt x="386417" y="517153"/>
                    <a:pt x="289933" y="579401"/>
                    <a:pt x="237022" y="579401"/>
                  </a:cubicBezTo>
                  <a:cubicBezTo>
                    <a:pt x="168549" y="582514"/>
                    <a:pt x="50279" y="532715"/>
                    <a:pt x="25380" y="420669"/>
                  </a:cubicBezTo>
                  <a:cubicBezTo>
                    <a:pt x="9818" y="345972"/>
                    <a:pt x="-2632" y="240151"/>
                    <a:pt x="480" y="190352"/>
                  </a:cubicBezTo>
                  <a:cubicBezTo>
                    <a:pt x="6705" y="93868"/>
                    <a:pt x="40942" y="16058"/>
                    <a:pt x="230797" y="496"/>
                  </a:cubicBezTo>
                  <a:cubicBezTo>
                    <a:pt x="317945" y="-8841"/>
                    <a:pt x="408204" y="115655"/>
                    <a:pt x="423766" y="196577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4F919358-C20B-4570-9506-31EEF70DCCF7}"/>
                </a:ext>
              </a:extLst>
            </p:cNvPr>
            <p:cNvSpPr/>
            <p:nvPr/>
          </p:nvSpPr>
          <p:spPr>
            <a:xfrm>
              <a:off x="17631578" y="2268168"/>
              <a:ext cx="64036" cy="136945"/>
            </a:xfrm>
            <a:custGeom>
              <a:avLst/>
              <a:gdLst>
                <a:gd name="connsiteX0" fmla="*/ 32413 w 64036"/>
                <a:gd name="connsiteY0" fmla="*/ 136945 h 136945"/>
                <a:gd name="connsiteX1" fmla="*/ 4402 w 64036"/>
                <a:gd name="connsiteY1" fmla="*/ 133833 h 136945"/>
                <a:gd name="connsiteX2" fmla="*/ 1289 w 64036"/>
                <a:gd name="connsiteY2" fmla="*/ 127608 h 136945"/>
                <a:gd name="connsiteX3" fmla="*/ 7513 w 64036"/>
                <a:gd name="connsiteY3" fmla="*/ 124496 h 136945"/>
                <a:gd name="connsiteX4" fmla="*/ 47975 w 64036"/>
                <a:gd name="connsiteY4" fmla="*/ 124496 h 136945"/>
                <a:gd name="connsiteX5" fmla="*/ 51088 w 64036"/>
                <a:gd name="connsiteY5" fmla="*/ 121383 h 136945"/>
                <a:gd name="connsiteX6" fmla="*/ 41750 w 64036"/>
                <a:gd name="connsiteY6" fmla="*/ 6225 h 136945"/>
                <a:gd name="connsiteX7" fmla="*/ 47975 w 64036"/>
                <a:gd name="connsiteY7" fmla="*/ 0 h 136945"/>
                <a:gd name="connsiteX8" fmla="*/ 54199 w 64036"/>
                <a:gd name="connsiteY8" fmla="*/ 6225 h 136945"/>
                <a:gd name="connsiteX9" fmla="*/ 63537 w 64036"/>
                <a:gd name="connsiteY9" fmla="*/ 124496 h 136945"/>
                <a:gd name="connsiteX10" fmla="*/ 57312 w 64036"/>
                <a:gd name="connsiteY10" fmla="*/ 136945 h 136945"/>
                <a:gd name="connsiteX11" fmla="*/ 32413 w 64036"/>
                <a:gd name="connsiteY11" fmla="*/ 136945 h 136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036" h="136945">
                  <a:moveTo>
                    <a:pt x="32413" y="136945"/>
                  </a:moveTo>
                  <a:cubicBezTo>
                    <a:pt x="19964" y="136945"/>
                    <a:pt x="7513" y="133833"/>
                    <a:pt x="4402" y="133833"/>
                  </a:cubicBezTo>
                  <a:cubicBezTo>
                    <a:pt x="1289" y="133833"/>
                    <a:pt x="-1823" y="130720"/>
                    <a:pt x="1289" y="127608"/>
                  </a:cubicBezTo>
                  <a:cubicBezTo>
                    <a:pt x="1289" y="124496"/>
                    <a:pt x="4402" y="121383"/>
                    <a:pt x="7513" y="124496"/>
                  </a:cubicBezTo>
                  <a:cubicBezTo>
                    <a:pt x="19964" y="127608"/>
                    <a:pt x="41750" y="130720"/>
                    <a:pt x="47975" y="124496"/>
                  </a:cubicBezTo>
                  <a:cubicBezTo>
                    <a:pt x="47975" y="124496"/>
                    <a:pt x="51088" y="121383"/>
                    <a:pt x="51088" y="121383"/>
                  </a:cubicBezTo>
                  <a:cubicBezTo>
                    <a:pt x="51088" y="102709"/>
                    <a:pt x="41750" y="6225"/>
                    <a:pt x="41750" y="6225"/>
                  </a:cubicBezTo>
                  <a:cubicBezTo>
                    <a:pt x="41750" y="3112"/>
                    <a:pt x="44863" y="0"/>
                    <a:pt x="47975" y="0"/>
                  </a:cubicBezTo>
                  <a:cubicBezTo>
                    <a:pt x="51088" y="0"/>
                    <a:pt x="54199" y="3112"/>
                    <a:pt x="54199" y="6225"/>
                  </a:cubicBezTo>
                  <a:cubicBezTo>
                    <a:pt x="54199" y="9337"/>
                    <a:pt x="66650" y="102709"/>
                    <a:pt x="63537" y="124496"/>
                  </a:cubicBezTo>
                  <a:cubicBezTo>
                    <a:pt x="63537" y="130720"/>
                    <a:pt x="60425" y="133833"/>
                    <a:pt x="57312" y="136945"/>
                  </a:cubicBezTo>
                  <a:cubicBezTo>
                    <a:pt x="47975" y="136945"/>
                    <a:pt x="38637" y="136945"/>
                    <a:pt x="32413" y="136945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7CAC5404-8097-4B20-92ED-F04CB3E85CEC}"/>
                </a:ext>
              </a:extLst>
            </p:cNvPr>
            <p:cNvSpPr/>
            <p:nvPr/>
          </p:nvSpPr>
          <p:spPr>
            <a:xfrm>
              <a:off x="17728741" y="2248701"/>
              <a:ext cx="38751" cy="38934"/>
            </a:xfrm>
            <a:custGeom>
              <a:avLst/>
              <a:gdLst>
                <a:gd name="connsiteX0" fmla="*/ 611 w 38751"/>
                <a:gd name="connsiteY0" fmla="*/ 22580 h 38934"/>
                <a:gd name="connsiteX1" fmla="*/ 22397 w 38751"/>
                <a:gd name="connsiteY1" fmla="*/ 38142 h 38934"/>
                <a:gd name="connsiteX2" fmla="*/ 37959 w 38751"/>
                <a:gd name="connsiteY2" fmla="*/ 16355 h 38934"/>
                <a:gd name="connsiteX3" fmla="*/ 16173 w 38751"/>
                <a:gd name="connsiteY3" fmla="*/ 793 h 38934"/>
                <a:gd name="connsiteX4" fmla="*/ 611 w 38751"/>
                <a:gd name="connsiteY4" fmla="*/ 22580 h 38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751" h="38934">
                  <a:moveTo>
                    <a:pt x="611" y="22580"/>
                  </a:moveTo>
                  <a:cubicBezTo>
                    <a:pt x="3722" y="35029"/>
                    <a:pt x="13060" y="41254"/>
                    <a:pt x="22397" y="38142"/>
                  </a:cubicBezTo>
                  <a:cubicBezTo>
                    <a:pt x="34846" y="35029"/>
                    <a:pt x="41071" y="25692"/>
                    <a:pt x="37959" y="16355"/>
                  </a:cubicBezTo>
                  <a:cubicBezTo>
                    <a:pt x="34846" y="3906"/>
                    <a:pt x="25509" y="-2319"/>
                    <a:pt x="16173" y="793"/>
                  </a:cubicBezTo>
                  <a:cubicBezTo>
                    <a:pt x="6835" y="793"/>
                    <a:pt x="-2502" y="10130"/>
                    <a:pt x="611" y="22580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E8873603-8825-42B9-AB68-11EE65C8DAA4}"/>
                </a:ext>
              </a:extLst>
            </p:cNvPr>
            <p:cNvSpPr/>
            <p:nvPr/>
          </p:nvSpPr>
          <p:spPr>
            <a:xfrm>
              <a:off x="17539495" y="2254926"/>
              <a:ext cx="38141" cy="38935"/>
            </a:xfrm>
            <a:custGeom>
              <a:avLst/>
              <a:gdLst>
                <a:gd name="connsiteX0" fmla="*/ 0 w 38141"/>
                <a:gd name="connsiteY0" fmla="*/ 22580 h 38935"/>
                <a:gd name="connsiteX1" fmla="*/ 21786 w 38141"/>
                <a:gd name="connsiteY1" fmla="*/ 38142 h 38935"/>
                <a:gd name="connsiteX2" fmla="*/ 37348 w 38141"/>
                <a:gd name="connsiteY2" fmla="*/ 16355 h 38935"/>
                <a:gd name="connsiteX3" fmla="*/ 15562 w 38141"/>
                <a:gd name="connsiteY3" fmla="*/ 793 h 38935"/>
                <a:gd name="connsiteX4" fmla="*/ 0 w 38141"/>
                <a:gd name="connsiteY4" fmla="*/ 22580 h 38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41" h="38935">
                  <a:moveTo>
                    <a:pt x="0" y="22580"/>
                  </a:moveTo>
                  <a:cubicBezTo>
                    <a:pt x="3113" y="35029"/>
                    <a:pt x="12449" y="41254"/>
                    <a:pt x="21786" y="38142"/>
                  </a:cubicBezTo>
                  <a:cubicBezTo>
                    <a:pt x="34237" y="35029"/>
                    <a:pt x="40461" y="25692"/>
                    <a:pt x="37348" y="16355"/>
                  </a:cubicBezTo>
                  <a:cubicBezTo>
                    <a:pt x="34237" y="3906"/>
                    <a:pt x="24899" y="-2319"/>
                    <a:pt x="15562" y="793"/>
                  </a:cubicBezTo>
                  <a:cubicBezTo>
                    <a:pt x="6224" y="793"/>
                    <a:pt x="0" y="13243"/>
                    <a:pt x="0" y="22580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BC291ED3-A18E-45FF-A51B-1A4988A1ED06}"/>
                </a:ext>
              </a:extLst>
            </p:cNvPr>
            <p:cNvSpPr/>
            <p:nvPr/>
          </p:nvSpPr>
          <p:spPr>
            <a:xfrm>
              <a:off x="17703163" y="2198320"/>
              <a:ext cx="93882" cy="35612"/>
            </a:xfrm>
            <a:custGeom>
              <a:avLst/>
              <a:gdLst>
                <a:gd name="connsiteX0" fmla="*/ 85324 w 93882"/>
                <a:gd name="connsiteY0" fmla="*/ 35613 h 35612"/>
                <a:gd name="connsiteX1" fmla="*/ 79099 w 93882"/>
                <a:gd name="connsiteY1" fmla="*/ 32500 h 35612"/>
                <a:gd name="connsiteX2" fmla="*/ 10627 w 93882"/>
                <a:gd name="connsiteY2" fmla="*/ 20051 h 35612"/>
                <a:gd name="connsiteX3" fmla="*/ 1289 w 93882"/>
                <a:gd name="connsiteY3" fmla="*/ 16938 h 35612"/>
                <a:gd name="connsiteX4" fmla="*/ 4402 w 93882"/>
                <a:gd name="connsiteY4" fmla="*/ 7601 h 35612"/>
                <a:gd name="connsiteX5" fmla="*/ 91548 w 93882"/>
                <a:gd name="connsiteY5" fmla="*/ 23163 h 35612"/>
                <a:gd name="connsiteX6" fmla="*/ 91548 w 93882"/>
                <a:gd name="connsiteY6" fmla="*/ 35613 h 35612"/>
                <a:gd name="connsiteX7" fmla="*/ 85324 w 93882"/>
                <a:gd name="connsiteY7" fmla="*/ 35613 h 35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82" h="35612">
                  <a:moveTo>
                    <a:pt x="85324" y="35613"/>
                  </a:moveTo>
                  <a:cubicBezTo>
                    <a:pt x="82212" y="35613"/>
                    <a:pt x="82212" y="35613"/>
                    <a:pt x="79099" y="32500"/>
                  </a:cubicBezTo>
                  <a:cubicBezTo>
                    <a:pt x="54200" y="1376"/>
                    <a:pt x="10627" y="20051"/>
                    <a:pt x="10627" y="20051"/>
                  </a:cubicBezTo>
                  <a:cubicBezTo>
                    <a:pt x="7514" y="23163"/>
                    <a:pt x="1289" y="20051"/>
                    <a:pt x="1289" y="16938"/>
                  </a:cubicBezTo>
                  <a:cubicBezTo>
                    <a:pt x="-1823" y="13826"/>
                    <a:pt x="1289" y="7601"/>
                    <a:pt x="4402" y="7601"/>
                  </a:cubicBezTo>
                  <a:cubicBezTo>
                    <a:pt x="23076" y="-1736"/>
                    <a:pt x="66650" y="-7961"/>
                    <a:pt x="91548" y="23163"/>
                  </a:cubicBezTo>
                  <a:cubicBezTo>
                    <a:pt x="94661" y="26275"/>
                    <a:pt x="94661" y="32500"/>
                    <a:pt x="91548" y="35613"/>
                  </a:cubicBezTo>
                  <a:cubicBezTo>
                    <a:pt x="88437" y="35613"/>
                    <a:pt x="88437" y="35613"/>
                    <a:pt x="85324" y="35613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B23004CB-D094-43F5-AA35-31283612A6BB}"/>
                </a:ext>
              </a:extLst>
            </p:cNvPr>
            <p:cNvSpPr/>
            <p:nvPr/>
          </p:nvSpPr>
          <p:spPr>
            <a:xfrm>
              <a:off x="17509150" y="2188195"/>
              <a:ext cx="92593" cy="33287"/>
            </a:xfrm>
            <a:custGeom>
              <a:avLst/>
              <a:gdLst>
                <a:gd name="connsiteX0" fmla="*/ 8559 w 92593"/>
                <a:gd name="connsiteY0" fmla="*/ 33287 h 33287"/>
                <a:gd name="connsiteX1" fmla="*/ 2334 w 92593"/>
                <a:gd name="connsiteY1" fmla="*/ 30175 h 33287"/>
                <a:gd name="connsiteX2" fmla="*/ 2334 w 92593"/>
                <a:gd name="connsiteY2" fmla="*/ 17725 h 33287"/>
                <a:gd name="connsiteX3" fmla="*/ 89481 w 92593"/>
                <a:gd name="connsiteY3" fmla="*/ 14613 h 33287"/>
                <a:gd name="connsiteX4" fmla="*/ 92594 w 92593"/>
                <a:gd name="connsiteY4" fmla="*/ 27063 h 33287"/>
                <a:gd name="connsiteX5" fmla="*/ 80144 w 92593"/>
                <a:gd name="connsiteY5" fmla="*/ 30175 h 33287"/>
                <a:gd name="connsiteX6" fmla="*/ 11671 w 92593"/>
                <a:gd name="connsiteY6" fmla="*/ 33287 h 33287"/>
                <a:gd name="connsiteX7" fmla="*/ 8559 w 92593"/>
                <a:gd name="connsiteY7" fmla="*/ 33287 h 3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93" h="33287">
                  <a:moveTo>
                    <a:pt x="8559" y="33287"/>
                  </a:moveTo>
                  <a:cubicBezTo>
                    <a:pt x="5446" y="33287"/>
                    <a:pt x="5446" y="33287"/>
                    <a:pt x="2334" y="30175"/>
                  </a:cubicBezTo>
                  <a:cubicBezTo>
                    <a:pt x="-778" y="27063"/>
                    <a:pt x="-778" y="20838"/>
                    <a:pt x="2334" y="17725"/>
                  </a:cubicBezTo>
                  <a:cubicBezTo>
                    <a:pt x="17896" y="5276"/>
                    <a:pt x="55245" y="-13399"/>
                    <a:pt x="89481" y="14613"/>
                  </a:cubicBezTo>
                  <a:cubicBezTo>
                    <a:pt x="92594" y="17725"/>
                    <a:pt x="92594" y="20838"/>
                    <a:pt x="92594" y="27063"/>
                  </a:cubicBezTo>
                  <a:cubicBezTo>
                    <a:pt x="89481" y="30175"/>
                    <a:pt x="86368" y="30175"/>
                    <a:pt x="80144" y="30175"/>
                  </a:cubicBezTo>
                  <a:cubicBezTo>
                    <a:pt x="45908" y="5276"/>
                    <a:pt x="14784" y="33287"/>
                    <a:pt x="11671" y="33287"/>
                  </a:cubicBezTo>
                  <a:cubicBezTo>
                    <a:pt x="11671" y="30175"/>
                    <a:pt x="11671" y="33287"/>
                    <a:pt x="8559" y="33287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38DA2EA3-BFDF-48D9-8161-BC5D9415617C}"/>
                </a:ext>
              </a:extLst>
            </p:cNvPr>
            <p:cNvSpPr/>
            <p:nvPr/>
          </p:nvSpPr>
          <p:spPr>
            <a:xfrm>
              <a:off x="17483472" y="2507823"/>
              <a:ext cx="234812" cy="74697"/>
            </a:xfrm>
            <a:custGeom>
              <a:avLst/>
              <a:gdLst>
                <a:gd name="connsiteX0" fmla="*/ 155620 w 234812"/>
                <a:gd name="connsiteY0" fmla="*/ 74697 h 74697"/>
                <a:gd name="connsiteX1" fmla="*/ 149395 w 234812"/>
                <a:gd name="connsiteY1" fmla="*/ 74697 h 74697"/>
                <a:gd name="connsiteX2" fmla="*/ 3113 w 234812"/>
                <a:gd name="connsiteY2" fmla="*/ 12450 h 74697"/>
                <a:gd name="connsiteX3" fmla="*/ 0 w 234812"/>
                <a:gd name="connsiteY3" fmla="*/ 3112 h 74697"/>
                <a:gd name="connsiteX4" fmla="*/ 9338 w 234812"/>
                <a:gd name="connsiteY4" fmla="*/ 0 h 74697"/>
                <a:gd name="connsiteX5" fmla="*/ 149395 w 234812"/>
                <a:gd name="connsiteY5" fmla="*/ 59135 h 74697"/>
                <a:gd name="connsiteX6" fmla="*/ 224093 w 234812"/>
                <a:gd name="connsiteY6" fmla="*/ 37349 h 74697"/>
                <a:gd name="connsiteX7" fmla="*/ 233429 w 234812"/>
                <a:gd name="connsiteY7" fmla="*/ 37349 h 74697"/>
                <a:gd name="connsiteX8" fmla="*/ 233429 w 234812"/>
                <a:gd name="connsiteY8" fmla="*/ 46686 h 74697"/>
                <a:gd name="connsiteX9" fmla="*/ 155620 w 234812"/>
                <a:gd name="connsiteY9" fmla="*/ 74697 h 74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4812" h="74697">
                  <a:moveTo>
                    <a:pt x="155620" y="74697"/>
                  </a:moveTo>
                  <a:cubicBezTo>
                    <a:pt x="152508" y="74697"/>
                    <a:pt x="152508" y="74697"/>
                    <a:pt x="149395" y="74697"/>
                  </a:cubicBezTo>
                  <a:cubicBezTo>
                    <a:pt x="96484" y="71585"/>
                    <a:pt x="9338" y="15562"/>
                    <a:pt x="3113" y="12450"/>
                  </a:cubicBezTo>
                  <a:cubicBezTo>
                    <a:pt x="0" y="9337"/>
                    <a:pt x="0" y="6225"/>
                    <a:pt x="0" y="3112"/>
                  </a:cubicBezTo>
                  <a:cubicBezTo>
                    <a:pt x="3113" y="0"/>
                    <a:pt x="6225" y="0"/>
                    <a:pt x="9338" y="0"/>
                  </a:cubicBezTo>
                  <a:cubicBezTo>
                    <a:pt x="9338" y="0"/>
                    <a:pt x="99597" y="56023"/>
                    <a:pt x="149395" y="59135"/>
                  </a:cubicBezTo>
                  <a:cubicBezTo>
                    <a:pt x="189856" y="62248"/>
                    <a:pt x="220980" y="37349"/>
                    <a:pt x="224093" y="37349"/>
                  </a:cubicBezTo>
                  <a:cubicBezTo>
                    <a:pt x="227205" y="34236"/>
                    <a:pt x="230318" y="37349"/>
                    <a:pt x="233429" y="37349"/>
                  </a:cubicBezTo>
                  <a:cubicBezTo>
                    <a:pt x="236542" y="40461"/>
                    <a:pt x="233429" y="43573"/>
                    <a:pt x="233429" y="46686"/>
                  </a:cubicBezTo>
                  <a:cubicBezTo>
                    <a:pt x="227205" y="49798"/>
                    <a:pt x="196081" y="74697"/>
                    <a:pt x="155620" y="74697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2DA72FDD-B24F-4149-8089-6604CC537FC2}"/>
                </a:ext>
              </a:extLst>
            </p:cNvPr>
            <p:cNvSpPr/>
            <p:nvPr/>
          </p:nvSpPr>
          <p:spPr>
            <a:xfrm>
              <a:off x="17373740" y="2006728"/>
              <a:ext cx="115956" cy="273890"/>
            </a:xfrm>
            <a:custGeom>
              <a:avLst/>
              <a:gdLst>
                <a:gd name="connsiteX0" fmla="*/ 115957 w 115956"/>
                <a:gd name="connsiteY0" fmla="*/ 133833 h 273890"/>
                <a:gd name="connsiteX1" fmla="*/ 56822 w 115956"/>
                <a:gd name="connsiteY1" fmla="*/ 273891 h 273890"/>
                <a:gd name="connsiteX2" fmla="*/ 3910 w 115956"/>
                <a:gd name="connsiteY2" fmla="*/ 168069 h 273890"/>
                <a:gd name="connsiteX3" fmla="*/ 75496 w 115956"/>
                <a:gd name="connsiteY3" fmla="*/ 0 h 273890"/>
                <a:gd name="connsiteX4" fmla="*/ 115957 w 115956"/>
                <a:gd name="connsiteY4" fmla="*/ 133833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956" h="273890">
                  <a:moveTo>
                    <a:pt x="115957" y="133833"/>
                  </a:moveTo>
                  <a:cubicBezTo>
                    <a:pt x="115957" y="133833"/>
                    <a:pt x="50596" y="242767"/>
                    <a:pt x="56822" y="273891"/>
                  </a:cubicBezTo>
                  <a:cubicBezTo>
                    <a:pt x="56822" y="273891"/>
                    <a:pt x="16360" y="227205"/>
                    <a:pt x="3910" y="168069"/>
                  </a:cubicBezTo>
                  <a:cubicBezTo>
                    <a:pt x="-8539" y="105821"/>
                    <a:pt x="7023" y="12450"/>
                    <a:pt x="75496" y="0"/>
                  </a:cubicBezTo>
                  <a:cubicBezTo>
                    <a:pt x="75496" y="0"/>
                    <a:pt x="75496" y="108934"/>
                    <a:pt x="115957" y="133833"/>
                  </a:cubicBezTo>
                  <a:close/>
                </a:path>
              </a:pathLst>
            </a:custGeom>
            <a:solidFill>
              <a:srgbClr val="664241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BC15B56C-05F6-44E2-BEED-4E33295B509B}"/>
                </a:ext>
              </a:extLst>
            </p:cNvPr>
            <p:cNvSpPr/>
            <p:nvPr/>
          </p:nvSpPr>
          <p:spPr>
            <a:xfrm>
              <a:off x="17434617" y="1898851"/>
              <a:ext cx="512601" cy="274914"/>
            </a:xfrm>
            <a:custGeom>
              <a:avLst/>
              <a:gdLst>
                <a:gd name="connsiteX0" fmla="*/ 55080 w 512601"/>
                <a:gd name="connsiteY0" fmla="*/ 241709 h 274914"/>
                <a:gd name="connsiteX1" fmla="*/ 182688 w 512601"/>
                <a:gd name="connsiteY1" fmla="*/ 210585 h 274914"/>
                <a:gd name="connsiteX2" fmla="*/ 512602 w 512601"/>
                <a:gd name="connsiteY2" fmla="*/ 219922 h 274914"/>
                <a:gd name="connsiteX3" fmla="*/ 145339 w 512601"/>
                <a:gd name="connsiteY3" fmla="*/ 5167 h 274914"/>
                <a:gd name="connsiteX4" fmla="*/ 17731 w 512601"/>
                <a:gd name="connsiteY4" fmla="*/ 107876 h 274914"/>
                <a:gd name="connsiteX5" fmla="*/ 55080 w 512601"/>
                <a:gd name="connsiteY5" fmla="*/ 241709 h 274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2601" h="274914">
                  <a:moveTo>
                    <a:pt x="55080" y="241709"/>
                  </a:moveTo>
                  <a:cubicBezTo>
                    <a:pt x="55080" y="241709"/>
                    <a:pt x="154677" y="207473"/>
                    <a:pt x="182688" y="210585"/>
                  </a:cubicBezTo>
                  <a:cubicBezTo>
                    <a:pt x="285396" y="219922"/>
                    <a:pt x="406780" y="344418"/>
                    <a:pt x="512602" y="219922"/>
                  </a:cubicBezTo>
                  <a:cubicBezTo>
                    <a:pt x="472140" y="114101"/>
                    <a:pt x="316520" y="-29069"/>
                    <a:pt x="145339" y="5167"/>
                  </a:cubicBezTo>
                  <a:cubicBezTo>
                    <a:pt x="64416" y="23842"/>
                    <a:pt x="23956" y="70528"/>
                    <a:pt x="17731" y="107876"/>
                  </a:cubicBezTo>
                  <a:cubicBezTo>
                    <a:pt x="14619" y="107876"/>
                    <a:pt x="-38292" y="223035"/>
                    <a:pt x="55080" y="241709"/>
                  </a:cubicBezTo>
                  <a:close/>
                </a:path>
              </a:pathLst>
            </a:custGeom>
            <a:solidFill>
              <a:srgbClr val="664241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668A53F0-7B54-49BC-946D-8CB70EAE32CC}"/>
                </a:ext>
              </a:extLst>
            </p:cNvPr>
            <p:cNvSpPr/>
            <p:nvPr/>
          </p:nvSpPr>
          <p:spPr>
            <a:xfrm>
              <a:off x="17361734" y="2243527"/>
              <a:ext cx="78256" cy="117698"/>
            </a:xfrm>
            <a:custGeom>
              <a:avLst/>
              <a:gdLst>
                <a:gd name="connsiteX0" fmla="*/ 68827 w 78256"/>
                <a:gd name="connsiteY0" fmla="*/ 18417 h 117698"/>
                <a:gd name="connsiteX1" fmla="*/ 9692 w 78256"/>
                <a:gd name="connsiteY1" fmla="*/ 5967 h 117698"/>
                <a:gd name="connsiteX2" fmla="*/ 62602 w 78256"/>
                <a:gd name="connsiteY2" fmla="*/ 114901 h 117698"/>
                <a:gd name="connsiteX3" fmla="*/ 68827 w 78256"/>
                <a:gd name="connsiteY3" fmla="*/ 18417 h 117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56" h="117698">
                  <a:moveTo>
                    <a:pt x="68827" y="18417"/>
                  </a:moveTo>
                  <a:cubicBezTo>
                    <a:pt x="68827" y="18417"/>
                    <a:pt x="37703" y="-12707"/>
                    <a:pt x="9692" y="5967"/>
                  </a:cubicBezTo>
                  <a:cubicBezTo>
                    <a:pt x="-18320" y="24641"/>
                    <a:pt x="19029" y="136687"/>
                    <a:pt x="62602" y="114901"/>
                  </a:cubicBezTo>
                  <a:cubicBezTo>
                    <a:pt x="93726" y="96226"/>
                    <a:pt x="68827" y="18417"/>
                    <a:pt x="68827" y="18417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97C54FAA-33F7-479A-852B-56424D8830F9}"/>
                </a:ext>
              </a:extLst>
            </p:cNvPr>
            <p:cNvSpPr/>
            <p:nvPr/>
          </p:nvSpPr>
          <p:spPr>
            <a:xfrm>
              <a:off x="17423906" y="2022289"/>
              <a:ext cx="75128" cy="245878"/>
            </a:xfrm>
            <a:custGeom>
              <a:avLst/>
              <a:gdLst>
                <a:gd name="connsiteX0" fmla="*/ 6656 w 75128"/>
                <a:gd name="connsiteY0" fmla="*/ 245879 h 245878"/>
                <a:gd name="connsiteX1" fmla="*/ 6656 w 75128"/>
                <a:gd name="connsiteY1" fmla="*/ 245879 h 245878"/>
                <a:gd name="connsiteX2" fmla="*/ 431 w 75128"/>
                <a:gd name="connsiteY2" fmla="*/ 239654 h 245878"/>
                <a:gd name="connsiteX3" fmla="*/ 53342 w 75128"/>
                <a:gd name="connsiteY3" fmla="*/ 118271 h 245878"/>
                <a:gd name="connsiteX4" fmla="*/ 6656 w 75128"/>
                <a:gd name="connsiteY4" fmla="*/ 71585 h 245878"/>
                <a:gd name="connsiteX5" fmla="*/ 9769 w 75128"/>
                <a:gd name="connsiteY5" fmla="*/ 3112 h 245878"/>
                <a:gd name="connsiteX6" fmla="*/ 19105 w 75128"/>
                <a:gd name="connsiteY6" fmla="*/ 0 h 245878"/>
                <a:gd name="connsiteX7" fmla="*/ 22218 w 75128"/>
                <a:gd name="connsiteY7" fmla="*/ 9337 h 245878"/>
                <a:gd name="connsiteX8" fmla="*/ 19105 w 75128"/>
                <a:gd name="connsiteY8" fmla="*/ 68473 h 245878"/>
                <a:gd name="connsiteX9" fmla="*/ 65791 w 75128"/>
                <a:gd name="connsiteY9" fmla="*/ 112046 h 245878"/>
                <a:gd name="connsiteX10" fmla="*/ 75128 w 75128"/>
                <a:gd name="connsiteY10" fmla="*/ 115159 h 245878"/>
                <a:gd name="connsiteX11" fmla="*/ 68904 w 75128"/>
                <a:gd name="connsiteY11" fmla="*/ 121383 h 245878"/>
                <a:gd name="connsiteX12" fmla="*/ 12880 w 75128"/>
                <a:gd name="connsiteY12" fmla="*/ 242767 h 245878"/>
                <a:gd name="connsiteX13" fmla="*/ 6656 w 75128"/>
                <a:gd name="connsiteY13" fmla="*/ 245879 h 245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5128" h="245878">
                  <a:moveTo>
                    <a:pt x="6656" y="245879"/>
                  </a:moveTo>
                  <a:cubicBezTo>
                    <a:pt x="6656" y="245879"/>
                    <a:pt x="6656" y="245879"/>
                    <a:pt x="6656" y="245879"/>
                  </a:cubicBezTo>
                  <a:cubicBezTo>
                    <a:pt x="3543" y="245879"/>
                    <a:pt x="431" y="242767"/>
                    <a:pt x="431" y="239654"/>
                  </a:cubicBezTo>
                  <a:cubicBezTo>
                    <a:pt x="9769" y="186744"/>
                    <a:pt x="40893" y="136945"/>
                    <a:pt x="53342" y="118271"/>
                  </a:cubicBezTo>
                  <a:cubicBezTo>
                    <a:pt x="40893" y="112046"/>
                    <a:pt x="19105" y="96484"/>
                    <a:pt x="6656" y="71585"/>
                  </a:cubicBezTo>
                  <a:cubicBezTo>
                    <a:pt x="-2682" y="49798"/>
                    <a:pt x="-2682" y="28012"/>
                    <a:pt x="9769" y="3112"/>
                  </a:cubicBezTo>
                  <a:cubicBezTo>
                    <a:pt x="9769" y="0"/>
                    <a:pt x="15993" y="0"/>
                    <a:pt x="19105" y="0"/>
                  </a:cubicBezTo>
                  <a:cubicBezTo>
                    <a:pt x="22218" y="0"/>
                    <a:pt x="22218" y="6225"/>
                    <a:pt x="22218" y="9337"/>
                  </a:cubicBezTo>
                  <a:cubicBezTo>
                    <a:pt x="12880" y="31124"/>
                    <a:pt x="12880" y="49798"/>
                    <a:pt x="19105" y="68473"/>
                  </a:cubicBezTo>
                  <a:cubicBezTo>
                    <a:pt x="31555" y="99597"/>
                    <a:pt x="65791" y="112046"/>
                    <a:pt x="65791" y="112046"/>
                  </a:cubicBezTo>
                  <a:lnTo>
                    <a:pt x="75128" y="115159"/>
                  </a:lnTo>
                  <a:lnTo>
                    <a:pt x="68904" y="121383"/>
                  </a:lnTo>
                  <a:cubicBezTo>
                    <a:pt x="68904" y="121383"/>
                    <a:pt x="22218" y="180519"/>
                    <a:pt x="12880" y="242767"/>
                  </a:cubicBezTo>
                  <a:cubicBezTo>
                    <a:pt x="12880" y="242767"/>
                    <a:pt x="9769" y="245879"/>
                    <a:pt x="6656" y="245879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980CB221-BF8F-4975-8C98-B4357F8051EA}"/>
                </a:ext>
              </a:extLst>
            </p:cNvPr>
            <p:cNvSpPr/>
            <p:nvPr/>
          </p:nvSpPr>
          <p:spPr>
            <a:xfrm>
              <a:off x="17607967" y="2083394"/>
              <a:ext cx="198415" cy="38492"/>
            </a:xfrm>
            <a:custGeom>
              <a:avLst/>
              <a:gdLst>
                <a:gd name="connsiteX0" fmla="*/ 196081 w 198415"/>
                <a:gd name="connsiteY0" fmla="*/ 38492 h 38492"/>
                <a:gd name="connsiteX1" fmla="*/ 192969 w 198415"/>
                <a:gd name="connsiteY1" fmla="*/ 38492 h 38492"/>
                <a:gd name="connsiteX2" fmla="*/ 9338 w 198415"/>
                <a:gd name="connsiteY2" fmla="*/ 32267 h 38492"/>
                <a:gd name="connsiteX3" fmla="*/ 0 w 198415"/>
                <a:gd name="connsiteY3" fmla="*/ 29155 h 38492"/>
                <a:gd name="connsiteX4" fmla="*/ 3113 w 198415"/>
                <a:gd name="connsiteY4" fmla="*/ 19818 h 38492"/>
                <a:gd name="connsiteX5" fmla="*/ 196081 w 198415"/>
                <a:gd name="connsiteY5" fmla="*/ 26043 h 38492"/>
                <a:gd name="connsiteX6" fmla="*/ 196081 w 198415"/>
                <a:gd name="connsiteY6" fmla="*/ 35380 h 38492"/>
                <a:gd name="connsiteX7" fmla="*/ 196081 w 198415"/>
                <a:gd name="connsiteY7" fmla="*/ 38492 h 3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415" h="38492">
                  <a:moveTo>
                    <a:pt x="196081" y="38492"/>
                  </a:moveTo>
                  <a:cubicBezTo>
                    <a:pt x="196081" y="38492"/>
                    <a:pt x="192969" y="38492"/>
                    <a:pt x="192969" y="38492"/>
                  </a:cubicBezTo>
                  <a:cubicBezTo>
                    <a:pt x="127608" y="-11306"/>
                    <a:pt x="12450" y="32267"/>
                    <a:pt x="9338" y="32267"/>
                  </a:cubicBezTo>
                  <a:cubicBezTo>
                    <a:pt x="6225" y="32267"/>
                    <a:pt x="3113" y="32267"/>
                    <a:pt x="0" y="29155"/>
                  </a:cubicBezTo>
                  <a:cubicBezTo>
                    <a:pt x="0" y="26043"/>
                    <a:pt x="0" y="22930"/>
                    <a:pt x="3113" y="19818"/>
                  </a:cubicBezTo>
                  <a:cubicBezTo>
                    <a:pt x="9338" y="16705"/>
                    <a:pt x="127608" y="-26868"/>
                    <a:pt x="196081" y="26043"/>
                  </a:cubicBezTo>
                  <a:cubicBezTo>
                    <a:pt x="199194" y="29155"/>
                    <a:pt x="199194" y="32267"/>
                    <a:pt x="196081" y="35380"/>
                  </a:cubicBezTo>
                  <a:cubicBezTo>
                    <a:pt x="199194" y="38492"/>
                    <a:pt x="199194" y="38492"/>
                    <a:pt x="196081" y="38492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7BDB13D0-BA48-468E-B540-FC11F202C742}"/>
                </a:ext>
              </a:extLst>
            </p:cNvPr>
            <p:cNvSpPr/>
            <p:nvPr/>
          </p:nvSpPr>
          <p:spPr>
            <a:xfrm>
              <a:off x="17598631" y="2461137"/>
              <a:ext cx="122672" cy="31123"/>
            </a:xfrm>
            <a:custGeom>
              <a:avLst/>
              <a:gdLst>
                <a:gd name="connsiteX0" fmla="*/ 74697 w 122672"/>
                <a:gd name="connsiteY0" fmla="*/ 31124 h 31123"/>
                <a:gd name="connsiteX1" fmla="*/ 3113 w 122672"/>
                <a:gd name="connsiteY1" fmla="*/ 12450 h 31123"/>
                <a:gd name="connsiteX2" fmla="*/ 0 w 122672"/>
                <a:gd name="connsiteY2" fmla="*/ 3112 h 31123"/>
                <a:gd name="connsiteX3" fmla="*/ 9337 w 122672"/>
                <a:gd name="connsiteY3" fmla="*/ 0 h 31123"/>
                <a:gd name="connsiteX4" fmla="*/ 112046 w 122672"/>
                <a:gd name="connsiteY4" fmla="*/ 6225 h 31123"/>
                <a:gd name="connsiteX5" fmla="*/ 121383 w 122672"/>
                <a:gd name="connsiteY5" fmla="*/ 9337 h 31123"/>
                <a:gd name="connsiteX6" fmla="*/ 118271 w 122672"/>
                <a:gd name="connsiteY6" fmla="*/ 18674 h 31123"/>
                <a:gd name="connsiteX7" fmla="*/ 74697 w 122672"/>
                <a:gd name="connsiteY7" fmla="*/ 31124 h 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672" h="31123">
                  <a:moveTo>
                    <a:pt x="74697" y="31124"/>
                  </a:moveTo>
                  <a:cubicBezTo>
                    <a:pt x="37349" y="31124"/>
                    <a:pt x="6225" y="12450"/>
                    <a:pt x="3113" y="12450"/>
                  </a:cubicBezTo>
                  <a:cubicBezTo>
                    <a:pt x="0" y="9337"/>
                    <a:pt x="0" y="6225"/>
                    <a:pt x="0" y="3112"/>
                  </a:cubicBezTo>
                  <a:cubicBezTo>
                    <a:pt x="3113" y="0"/>
                    <a:pt x="6225" y="0"/>
                    <a:pt x="9337" y="0"/>
                  </a:cubicBezTo>
                  <a:cubicBezTo>
                    <a:pt x="9337" y="0"/>
                    <a:pt x="71585" y="34236"/>
                    <a:pt x="112046" y="6225"/>
                  </a:cubicBezTo>
                  <a:cubicBezTo>
                    <a:pt x="115159" y="3112"/>
                    <a:pt x="118271" y="6225"/>
                    <a:pt x="121383" y="9337"/>
                  </a:cubicBezTo>
                  <a:cubicBezTo>
                    <a:pt x="124496" y="12450"/>
                    <a:pt x="121383" y="15562"/>
                    <a:pt x="118271" y="18674"/>
                  </a:cubicBezTo>
                  <a:cubicBezTo>
                    <a:pt x="105821" y="28012"/>
                    <a:pt x="90259" y="31124"/>
                    <a:pt x="74697" y="31124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2" name="图形 1">
              <a:extLst>
                <a:ext uri="{FF2B5EF4-FFF2-40B4-BE49-F238E27FC236}">
                  <a16:creationId xmlns:a16="http://schemas.microsoft.com/office/drawing/2014/main" id="{589F7BE9-8DB6-4579-B38B-A08A9D92B39D}"/>
                </a:ext>
              </a:extLst>
            </p:cNvPr>
            <p:cNvGrpSpPr/>
            <p:nvPr/>
          </p:nvGrpSpPr>
          <p:grpSpPr>
            <a:xfrm>
              <a:off x="17092433" y="1777702"/>
              <a:ext cx="1039229" cy="418880"/>
              <a:chOff x="17092433" y="1777702"/>
              <a:chExt cx="1039229" cy="418880"/>
            </a:xfrm>
          </p:grpSpPr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3708A5C9-DDE1-4624-B230-4B918A260974}"/>
                  </a:ext>
                </a:extLst>
              </p:cNvPr>
              <p:cNvSpPr/>
              <p:nvPr/>
            </p:nvSpPr>
            <p:spPr>
              <a:xfrm>
                <a:off x="17387679" y="1777702"/>
                <a:ext cx="453717" cy="219687"/>
              </a:xfrm>
              <a:custGeom>
                <a:avLst/>
                <a:gdLst>
                  <a:gd name="connsiteX0" fmla="*/ 2421 w 453717"/>
                  <a:gd name="connsiteY0" fmla="*/ 219688 h 219687"/>
                  <a:gd name="connsiteX1" fmla="*/ 67781 w 453717"/>
                  <a:gd name="connsiteY1" fmla="*/ 36057 h 219687"/>
                  <a:gd name="connsiteX2" fmla="*/ 322998 w 453717"/>
                  <a:gd name="connsiteY2" fmla="*/ 1820 h 219687"/>
                  <a:gd name="connsiteX3" fmla="*/ 453717 w 453717"/>
                  <a:gd name="connsiteY3" fmla="*/ 157440 h 219687"/>
                  <a:gd name="connsiteX4" fmla="*/ 2421 w 453717"/>
                  <a:gd name="connsiteY4" fmla="*/ 219688 h 219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3717" h="219687">
                    <a:moveTo>
                      <a:pt x="2421" y="219688"/>
                    </a:moveTo>
                    <a:cubicBezTo>
                      <a:pt x="2421" y="219688"/>
                      <a:pt x="-19366" y="79630"/>
                      <a:pt x="67781" y="36057"/>
                    </a:cubicBezTo>
                    <a:cubicBezTo>
                      <a:pt x="126916" y="4933"/>
                      <a:pt x="254525" y="-4404"/>
                      <a:pt x="322998" y="1820"/>
                    </a:cubicBezTo>
                    <a:cubicBezTo>
                      <a:pt x="435044" y="17382"/>
                      <a:pt x="447493" y="107642"/>
                      <a:pt x="453717" y="157440"/>
                    </a:cubicBezTo>
                    <a:lnTo>
                      <a:pt x="2421" y="219688"/>
                    </a:lnTo>
                    <a:close/>
                  </a:path>
                </a:pathLst>
              </a:custGeom>
              <a:solidFill>
                <a:srgbClr val="F1DDBA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802185BE-5F5B-4048-8681-F23FDA8301A8}"/>
                  </a:ext>
                </a:extLst>
              </p:cNvPr>
              <p:cNvSpPr/>
              <p:nvPr/>
            </p:nvSpPr>
            <p:spPr>
              <a:xfrm>
                <a:off x="17092433" y="1899039"/>
                <a:ext cx="1039229" cy="297543"/>
              </a:xfrm>
              <a:custGeom>
                <a:avLst/>
                <a:gdLst>
                  <a:gd name="connsiteX0" fmla="*/ 490636 w 1039229"/>
                  <a:gd name="connsiteY0" fmla="*/ 98351 h 297543"/>
                  <a:gd name="connsiteX1" fmla="*/ 76688 w 1039229"/>
                  <a:gd name="connsiteY1" fmla="*/ 297544 h 297543"/>
                  <a:gd name="connsiteX2" fmla="*/ 1990 w 1039229"/>
                  <a:gd name="connsiteY2" fmla="*/ 244633 h 297543"/>
                  <a:gd name="connsiteX3" fmla="*/ 475074 w 1039229"/>
                  <a:gd name="connsiteY3" fmla="*/ 23653 h 297543"/>
                  <a:gd name="connsiteX4" fmla="*/ 1035304 w 1039229"/>
                  <a:gd name="connsiteY4" fmla="*/ 76564 h 297543"/>
                  <a:gd name="connsiteX5" fmla="*/ 1010406 w 1039229"/>
                  <a:gd name="connsiteY5" fmla="*/ 138812 h 297543"/>
                  <a:gd name="connsiteX6" fmla="*/ 490636 w 1039229"/>
                  <a:gd name="connsiteY6" fmla="*/ 98351 h 297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9229" h="297543">
                    <a:moveTo>
                      <a:pt x="490636" y="98351"/>
                    </a:moveTo>
                    <a:cubicBezTo>
                      <a:pt x="250981" y="135700"/>
                      <a:pt x="73576" y="225959"/>
                      <a:pt x="76688" y="297544"/>
                    </a:cubicBezTo>
                    <a:cubicBezTo>
                      <a:pt x="36226" y="285094"/>
                      <a:pt x="8215" y="266420"/>
                      <a:pt x="1990" y="244633"/>
                    </a:cubicBezTo>
                    <a:cubicBezTo>
                      <a:pt x="-22909" y="169936"/>
                      <a:pt x="188733" y="70339"/>
                      <a:pt x="475074" y="23653"/>
                    </a:cubicBezTo>
                    <a:cubicBezTo>
                      <a:pt x="758302" y="-23032"/>
                      <a:pt x="1010406" y="1867"/>
                      <a:pt x="1035304" y="76564"/>
                    </a:cubicBezTo>
                    <a:cubicBezTo>
                      <a:pt x="1041530" y="101463"/>
                      <a:pt x="1044641" y="113913"/>
                      <a:pt x="1010406" y="138812"/>
                    </a:cubicBezTo>
                    <a:cubicBezTo>
                      <a:pt x="973057" y="67227"/>
                      <a:pt x="736515" y="57890"/>
                      <a:pt x="490636" y="98351"/>
                    </a:cubicBezTo>
                    <a:close/>
                  </a:path>
                </a:pathLst>
              </a:custGeom>
              <a:solidFill>
                <a:srgbClr val="F1DDBA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B1D984C2-8DAE-4D5F-AECC-D5361B51F12B}"/>
                  </a:ext>
                </a:extLst>
              </p:cNvPr>
              <p:cNvSpPr/>
              <p:nvPr/>
            </p:nvSpPr>
            <p:spPr>
              <a:xfrm>
                <a:off x="17377651" y="1894681"/>
                <a:ext cx="463746" cy="71585"/>
              </a:xfrm>
              <a:custGeom>
                <a:avLst/>
                <a:gdLst>
                  <a:gd name="connsiteX0" fmla="*/ 6225 w 463746"/>
                  <a:gd name="connsiteY0" fmla="*/ 71585 h 71585"/>
                  <a:gd name="connsiteX1" fmla="*/ 0 w 463746"/>
                  <a:gd name="connsiteY1" fmla="*/ 68473 h 71585"/>
                  <a:gd name="connsiteX2" fmla="*/ 3113 w 463746"/>
                  <a:gd name="connsiteY2" fmla="*/ 62248 h 71585"/>
                  <a:gd name="connsiteX3" fmla="*/ 457522 w 463746"/>
                  <a:gd name="connsiteY3" fmla="*/ 0 h 71585"/>
                  <a:gd name="connsiteX4" fmla="*/ 457522 w 463746"/>
                  <a:gd name="connsiteY4" fmla="*/ 0 h 71585"/>
                  <a:gd name="connsiteX5" fmla="*/ 463746 w 463746"/>
                  <a:gd name="connsiteY5" fmla="*/ 6225 h 71585"/>
                  <a:gd name="connsiteX6" fmla="*/ 457522 w 463746"/>
                  <a:gd name="connsiteY6" fmla="*/ 12450 h 71585"/>
                  <a:gd name="connsiteX7" fmla="*/ 6225 w 463746"/>
                  <a:gd name="connsiteY7" fmla="*/ 71585 h 71585"/>
                  <a:gd name="connsiteX8" fmla="*/ 6225 w 463746"/>
                  <a:gd name="connsiteY8" fmla="*/ 71585 h 71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3746" h="71585">
                    <a:moveTo>
                      <a:pt x="6225" y="71585"/>
                    </a:moveTo>
                    <a:cubicBezTo>
                      <a:pt x="3113" y="71585"/>
                      <a:pt x="0" y="68473"/>
                      <a:pt x="0" y="68473"/>
                    </a:cubicBezTo>
                    <a:cubicBezTo>
                      <a:pt x="0" y="65360"/>
                      <a:pt x="0" y="62248"/>
                      <a:pt x="3113" y="62248"/>
                    </a:cubicBezTo>
                    <a:cubicBezTo>
                      <a:pt x="202305" y="6225"/>
                      <a:pt x="454409" y="0"/>
                      <a:pt x="457522" y="0"/>
                    </a:cubicBezTo>
                    <a:cubicBezTo>
                      <a:pt x="457522" y="0"/>
                      <a:pt x="457522" y="0"/>
                      <a:pt x="457522" y="0"/>
                    </a:cubicBezTo>
                    <a:cubicBezTo>
                      <a:pt x="460635" y="0"/>
                      <a:pt x="463746" y="3112"/>
                      <a:pt x="463746" y="6225"/>
                    </a:cubicBezTo>
                    <a:cubicBezTo>
                      <a:pt x="463746" y="9337"/>
                      <a:pt x="460635" y="12450"/>
                      <a:pt x="457522" y="12450"/>
                    </a:cubicBezTo>
                    <a:cubicBezTo>
                      <a:pt x="457522" y="9337"/>
                      <a:pt x="208531" y="18674"/>
                      <a:pt x="6225" y="71585"/>
                    </a:cubicBezTo>
                    <a:cubicBezTo>
                      <a:pt x="9338" y="71585"/>
                      <a:pt x="9338" y="71585"/>
                      <a:pt x="6225" y="71585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99FDE7E9-1BFB-4859-9E82-F83D18C8945D}"/>
                </a:ext>
              </a:extLst>
            </p:cNvPr>
            <p:cNvSpPr/>
            <p:nvPr/>
          </p:nvSpPr>
          <p:spPr>
            <a:xfrm>
              <a:off x="16994827" y="2628960"/>
              <a:ext cx="442721" cy="1105144"/>
            </a:xfrm>
            <a:custGeom>
              <a:avLst/>
              <a:gdLst>
                <a:gd name="connsiteX0" fmla="*/ 441959 w 442721"/>
                <a:gd name="connsiteY0" fmla="*/ 3358 h 1105144"/>
                <a:gd name="connsiteX1" fmla="*/ 404611 w 442721"/>
                <a:gd name="connsiteY1" fmla="*/ 921514 h 1105144"/>
                <a:gd name="connsiteX2" fmla="*/ 0 w 442721"/>
                <a:gd name="connsiteY2" fmla="*/ 1105145 h 1105144"/>
                <a:gd name="connsiteX3" fmla="*/ 12449 w 442721"/>
                <a:gd name="connsiteY3" fmla="*/ 1005548 h 1105144"/>
                <a:gd name="connsiteX4" fmla="*/ 298790 w 442721"/>
                <a:gd name="connsiteY4" fmla="*/ 893502 h 1105144"/>
                <a:gd name="connsiteX5" fmla="*/ 351700 w 442721"/>
                <a:gd name="connsiteY5" fmla="*/ 31370 h 1105144"/>
                <a:gd name="connsiteX6" fmla="*/ 441959 w 442721"/>
                <a:gd name="connsiteY6" fmla="*/ 3358 h 110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2721" h="1105144">
                  <a:moveTo>
                    <a:pt x="441959" y="3358"/>
                  </a:moveTo>
                  <a:cubicBezTo>
                    <a:pt x="441959" y="3358"/>
                    <a:pt x="451297" y="787681"/>
                    <a:pt x="404611" y="921514"/>
                  </a:cubicBezTo>
                  <a:cubicBezTo>
                    <a:pt x="357925" y="1055347"/>
                    <a:pt x="0" y="1105145"/>
                    <a:pt x="0" y="1105145"/>
                  </a:cubicBezTo>
                  <a:lnTo>
                    <a:pt x="12449" y="1005548"/>
                  </a:lnTo>
                  <a:cubicBezTo>
                    <a:pt x="12449" y="1005548"/>
                    <a:pt x="248991" y="940188"/>
                    <a:pt x="298790" y="893502"/>
                  </a:cubicBezTo>
                  <a:cubicBezTo>
                    <a:pt x="348587" y="846816"/>
                    <a:pt x="351700" y="31370"/>
                    <a:pt x="351700" y="31370"/>
                  </a:cubicBezTo>
                  <a:cubicBezTo>
                    <a:pt x="351700" y="31370"/>
                    <a:pt x="382824" y="-12204"/>
                    <a:pt x="441959" y="3358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B3145C3A-1D72-45F2-8400-8B837B71E1DE}"/>
                </a:ext>
              </a:extLst>
            </p:cNvPr>
            <p:cNvSpPr/>
            <p:nvPr/>
          </p:nvSpPr>
          <p:spPr>
            <a:xfrm>
              <a:off x="17097535" y="2990243"/>
              <a:ext cx="361037" cy="837256"/>
            </a:xfrm>
            <a:custGeom>
              <a:avLst/>
              <a:gdLst>
                <a:gd name="connsiteX0" fmla="*/ 233429 w 361037"/>
                <a:gd name="connsiteY0" fmla="*/ 0 h 837256"/>
                <a:gd name="connsiteX1" fmla="*/ 361038 w 361037"/>
                <a:gd name="connsiteY1" fmla="*/ 525994 h 837256"/>
                <a:gd name="connsiteX2" fmla="*/ 227205 w 361037"/>
                <a:gd name="connsiteY2" fmla="*/ 837234 h 837256"/>
                <a:gd name="connsiteX3" fmla="*/ 0 w 361037"/>
                <a:gd name="connsiteY3" fmla="*/ 146282 h 837256"/>
                <a:gd name="connsiteX4" fmla="*/ 233429 w 361037"/>
                <a:gd name="connsiteY4" fmla="*/ 0 h 83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037" h="837256">
                  <a:moveTo>
                    <a:pt x="233429" y="0"/>
                  </a:moveTo>
                  <a:lnTo>
                    <a:pt x="361038" y="525994"/>
                  </a:lnTo>
                  <a:cubicBezTo>
                    <a:pt x="361038" y="525994"/>
                    <a:pt x="357925" y="840346"/>
                    <a:pt x="227205" y="837234"/>
                  </a:cubicBezTo>
                  <a:cubicBezTo>
                    <a:pt x="96484" y="834121"/>
                    <a:pt x="0" y="146282"/>
                    <a:pt x="0" y="146282"/>
                  </a:cubicBezTo>
                  <a:lnTo>
                    <a:pt x="233429" y="0"/>
                  </a:ln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A4917B66-907B-4D85-A673-816CD920D977}"/>
                </a:ext>
              </a:extLst>
            </p:cNvPr>
            <p:cNvSpPr/>
            <p:nvPr/>
          </p:nvSpPr>
          <p:spPr>
            <a:xfrm>
              <a:off x="17020358" y="2717950"/>
              <a:ext cx="447551" cy="607799"/>
            </a:xfrm>
            <a:custGeom>
              <a:avLst/>
              <a:gdLst>
                <a:gd name="connsiteX0" fmla="*/ 24267 w 447551"/>
                <a:gd name="connsiteY0" fmla="*/ 602207 h 607799"/>
                <a:gd name="connsiteX1" fmla="*/ 148763 w 447551"/>
                <a:gd name="connsiteY1" fmla="*/ 1516 h 607799"/>
                <a:gd name="connsiteX2" fmla="*/ 447552 w 447551"/>
                <a:gd name="connsiteY2" fmla="*/ 524398 h 607799"/>
                <a:gd name="connsiteX3" fmla="*/ 24267 w 447551"/>
                <a:gd name="connsiteY3" fmla="*/ 602207 h 60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7551" h="607799">
                  <a:moveTo>
                    <a:pt x="24267" y="602207"/>
                  </a:moveTo>
                  <a:cubicBezTo>
                    <a:pt x="24267" y="602207"/>
                    <a:pt x="-81555" y="45089"/>
                    <a:pt x="148763" y="1516"/>
                  </a:cubicBezTo>
                  <a:cubicBezTo>
                    <a:pt x="319944" y="-32721"/>
                    <a:pt x="447552" y="524398"/>
                    <a:pt x="447552" y="524398"/>
                  </a:cubicBezTo>
                  <a:cubicBezTo>
                    <a:pt x="447552" y="524398"/>
                    <a:pt x="239022" y="633331"/>
                    <a:pt x="24267" y="602207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44351168-F2B0-4965-80B4-D2B8F09A22FA}"/>
                </a:ext>
              </a:extLst>
            </p:cNvPr>
            <p:cNvSpPr/>
            <p:nvPr/>
          </p:nvSpPr>
          <p:spPr>
            <a:xfrm>
              <a:off x="17741801" y="3122401"/>
              <a:ext cx="221190" cy="154182"/>
            </a:xfrm>
            <a:custGeom>
              <a:avLst/>
              <a:gdLst>
                <a:gd name="connsiteX0" fmla="*/ 0 w 221190"/>
                <a:gd name="connsiteY0" fmla="*/ 154183 h 154182"/>
                <a:gd name="connsiteX1" fmla="*/ 77810 w 221190"/>
                <a:gd name="connsiteY1" fmla="*/ 7900 h 154182"/>
                <a:gd name="connsiteX2" fmla="*/ 220980 w 221190"/>
                <a:gd name="connsiteY2" fmla="*/ 20350 h 154182"/>
                <a:gd name="connsiteX3" fmla="*/ 74697 w 221190"/>
                <a:gd name="connsiteY3" fmla="*/ 116834 h 154182"/>
                <a:gd name="connsiteX4" fmla="*/ 0 w 221190"/>
                <a:gd name="connsiteY4" fmla="*/ 154183 h 15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190" h="154182">
                  <a:moveTo>
                    <a:pt x="0" y="154183"/>
                  </a:moveTo>
                  <a:cubicBezTo>
                    <a:pt x="0" y="154183"/>
                    <a:pt x="40461" y="20350"/>
                    <a:pt x="77810" y="7900"/>
                  </a:cubicBezTo>
                  <a:cubicBezTo>
                    <a:pt x="130720" y="-10774"/>
                    <a:pt x="214755" y="7900"/>
                    <a:pt x="220980" y="20350"/>
                  </a:cubicBezTo>
                  <a:cubicBezTo>
                    <a:pt x="227204" y="32799"/>
                    <a:pt x="93372" y="104384"/>
                    <a:pt x="74697" y="116834"/>
                  </a:cubicBezTo>
                  <a:cubicBezTo>
                    <a:pt x="56023" y="129284"/>
                    <a:pt x="0" y="154183"/>
                    <a:pt x="0" y="154183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E3D4A883-A9A7-4DCA-BECB-728EF4BB7198}"/>
                </a:ext>
              </a:extLst>
            </p:cNvPr>
            <p:cNvSpPr/>
            <p:nvPr/>
          </p:nvSpPr>
          <p:spPr>
            <a:xfrm>
              <a:off x="17268837" y="3267246"/>
              <a:ext cx="544866" cy="565513"/>
            </a:xfrm>
            <a:custGeom>
              <a:avLst/>
              <a:gdLst>
                <a:gd name="connsiteX0" fmla="*/ 463626 w 544866"/>
                <a:gd name="connsiteY0" fmla="*/ 0 h 565513"/>
                <a:gd name="connsiteX1" fmla="*/ 18555 w 544866"/>
                <a:gd name="connsiteY1" fmla="*/ 367262 h 565513"/>
                <a:gd name="connsiteX2" fmla="*/ 133713 w 544866"/>
                <a:gd name="connsiteY2" fmla="*/ 560231 h 565513"/>
                <a:gd name="connsiteX3" fmla="*/ 544549 w 544866"/>
                <a:gd name="connsiteY3" fmla="*/ 127608 h 565513"/>
                <a:gd name="connsiteX4" fmla="*/ 463626 w 544866"/>
                <a:gd name="connsiteY4" fmla="*/ 0 h 565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4866" h="565513">
                  <a:moveTo>
                    <a:pt x="463626" y="0"/>
                  </a:moveTo>
                  <a:cubicBezTo>
                    <a:pt x="463626" y="0"/>
                    <a:pt x="59015" y="280115"/>
                    <a:pt x="18555" y="367262"/>
                  </a:cubicBezTo>
                  <a:cubicBezTo>
                    <a:pt x="-25019" y="454409"/>
                    <a:pt x="6105" y="594467"/>
                    <a:pt x="133713" y="560231"/>
                  </a:cubicBezTo>
                  <a:cubicBezTo>
                    <a:pt x="261321" y="525994"/>
                    <a:pt x="535212" y="133833"/>
                    <a:pt x="544549" y="127608"/>
                  </a:cubicBezTo>
                  <a:cubicBezTo>
                    <a:pt x="550774" y="124496"/>
                    <a:pt x="463626" y="0"/>
                    <a:pt x="463626" y="0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2812B2EF-D4A2-48DF-B288-8829E2200B2A}"/>
                </a:ext>
              </a:extLst>
            </p:cNvPr>
            <p:cNvSpPr/>
            <p:nvPr/>
          </p:nvSpPr>
          <p:spPr>
            <a:xfrm>
              <a:off x="17337968" y="3467217"/>
              <a:ext cx="119826" cy="105043"/>
            </a:xfrm>
            <a:custGeom>
              <a:avLst/>
              <a:gdLst>
                <a:gd name="connsiteX0" fmla="*/ 5446 w 119826"/>
                <a:gd name="connsiteY0" fmla="*/ 105043 h 105043"/>
                <a:gd name="connsiteX1" fmla="*/ 2334 w 119826"/>
                <a:gd name="connsiteY1" fmla="*/ 101931 h 105043"/>
                <a:gd name="connsiteX2" fmla="*/ 2334 w 119826"/>
                <a:gd name="connsiteY2" fmla="*/ 92594 h 105043"/>
                <a:gd name="connsiteX3" fmla="*/ 108156 w 119826"/>
                <a:gd name="connsiteY3" fmla="*/ 2334 h 105043"/>
                <a:gd name="connsiteX4" fmla="*/ 117492 w 119826"/>
                <a:gd name="connsiteY4" fmla="*/ 2334 h 105043"/>
                <a:gd name="connsiteX5" fmla="*/ 117492 w 119826"/>
                <a:gd name="connsiteY5" fmla="*/ 11671 h 105043"/>
                <a:gd name="connsiteX6" fmla="*/ 11671 w 119826"/>
                <a:gd name="connsiteY6" fmla="*/ 101931 h 105043"/>
                <a:gd name="connsiteX7" fmla="*/ 5446 w 119826"/>
                <a:gd name="connsiteY7" fmla="*/ 105043 h 105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826" h="105043">
                  <a:moveTo>
                    <a:pt x="5446" y="105043"/>
                  </a:moveTo>
                  <a:cubicBezTo>
                    <a:pt x="5446" y="105043"/>
                    <a:pt x="2334" y="105043"/>
                    <a:pt x="2334" y="101931"/>
                  </a:cubicBezTo>
                  <a:cubicBezTo>
                    <a:pt x="-778" y="98818"/>
                    <a:pt x="-778" y="95706"/>
                    <a:pt x="2334" y="92594"/>
                  </a:cubicBezTo>
                  <a:cubicBezTo>
                    <a:pt x="21008" y="73919"/>
                    <a:pt x="105043" y="5447"/>
                    <a:pt x="108156" y="2334"/>
                  </a:cubicBezTo>
                  <a:cubicBezTo>
                    <a:pt x="111268" y="-778"/>
                    <a:pt x="114380" y="-778"/>
                    <a:pt x="117492" y="2334"/>
                  </a:cubicBezTo>
                  <a:cubicBezTo>
                    <a:pt x="120605" y="5447"/>
                    <a:pt x="120605" y="8559"/>
                    <a:pt x="117492" y="11671"/>
                  </a:cubicBezTo>
                  <a:cubicBezTo>
                    <a:pt x="117492" y="11671"/>
                    <a:pt x="30346" y="83256"/>
                    <a:pt x="11671" y="101931"/>
                  </a:cubicBezTo>
                  <a:cubicBezTo>
                    <a:pt x="8559" y="105043"/>
                    <a:pt x="5446" y="105043"/>
                    <a:pt x="5446" y="105043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57B0AD94-9FF7-480C-9296-B1F497F20495}"/>
                </a:ext>
              </a:extLst>
            </p:cNvPr>
            <p:cNvSpPr/>
            <p:nvPr/>
          </p:nvSpPr>
          <p:spPr>
            <a:xfrm>
              <a:off x="17159783" y="2713240"/>
              <a:ext cx="311239" cy="585129"/>
            </a:xfrm>
            <a:custGeom>
              <a:avLst/>
              <a:gdLst>
                <a:gd name="connsiteX0" fmla="*/ 177407 w 311239"/>
                <a:gd name="connsiteY0" fmla="*/ 585130 h 585129"/>
                <a:gd name="connsiteX1" fmla="*/ 171182 w 311239"/>
                <a:gd name="connsiteY1" fmla="*/ 582017 h 585129"/>
                <a:gd name="connsiteX2" fmla="*/ 174294 w 311239"/>
                <a:gd name="connsiteY2" fmla="*/ 575792 h 585129"/>
                <a:gd name="connsiteX3" fmla="*/ 298790 w 311239"/>
                <a:gd name="connsiteY3" fmla="*/ 525994 h 585129"/>
                <a:gd name="connsiteX4" fmla="*/ 183631 w 311239"/>
                <a:gd name="connsiteY4" fmla="*/ 180519 h 585129"/>
                <a:gd name="connsiteX5" fmla="*/ 6225 w 311239"/>
                <a:gd name="connsiteY5" fmla="*/ 12450 h 585129"/>
                <a:gd name="connsiteX6" fmla="*/ 6225 w 311239"/>
                <a:gd name="connsiteY6" fmla="*/ 12450 h 585129"/>
                <a:gd name="connsiteX7" fmla="*/ 6225 w 311239"/>
                <a:gd name="connsiteY7" fmla="*/ 12450 h 585129"/>
                <a:gd name="connsiteX8" fmla="*/ 0 w 311239"/>
                <a:gd name="connsiteY8" fmla="*/ 6225 h 585129"/>
                <a:gd name="connsiteX9" fmla="*/ 6225 w 311239"/>
                <a:gd name="connsiteY9" fmla="*/ 0 h 585129"/>
                <a:gd name="connsiteX10" fmla="*/ 196081 w 311239"/>
                <a:gd name="connsiteY10" fmla="*/ 177406 h 585129"/>
                <a:gd name="connsiteX11" fmla="*/ 311239 w 311239"/>
                <a:gd name="connsiteY11" fmla="*/ 525994 h 585129"/>
                <a:gd name="connsiteX12" fmla="*/ 311239 w 311239"/>
                <a:gd name="connsiteY12" fmla="*/ 529107 h 585129"/>
                <a:gd name="connsiteX13" fmla="*/ 308127 w 311239"/>
                <a:gd name="connsiteY13" fmla="*/ 532219 h 585129"/>
                <a:gd name="connsiteX14" fmla="*/ 177407 w 311239"/>
                <a:gd name="connsiteY14" fmla="*/ 585130 h 585129"/>
                <a:gd name="connsiteX15" fmla="*/ 177407 w 311239"/>
                <a:gd name="connsiteY15" fmla="*/ 585130 h 58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11239" h="585129">
                  <a:moveTo>
                    <a:pt x="177407" y="585130"/>
                  </a:moveTo>
                  <a:cubicBezTo>
                    <a:pt x="174294" y="585130"/>
                    <a:pt x="171182" y="582017"/>
                    <a:pt x="171182" y="582017"/>
                  </a:cubicBezTo>
                  <a:cubicBezTo>
                    <a:pt x="171182" y="578905"/>
                    <a:pt x="171182" y="575792"/>
                    <a:pt x="174294" y="575792"/>
                  </a:cubicBezTo>
                  <a:cubicBezTo>
                    <a:pt x="230317" y="563343"/>
                    <a:pt x="283228" y="535331"/>
                    <a:pt x="298790" y="525994"/>
                  </a:cubicBezTo>
                  <a:cubicBezTo>
                    <a:pt x="289453" y="497983"/>
                    <a:pt x="245879" y="339251"/>
                    <a:pt x="183631" y="180519"/>
                  </a:cubicBezTo>
                  <a:cubicBezTo>
                    <a:pt x="118271" y="12450"/>
                    <a:pt x="9338" y="12450"/>
                    <a:pt x="6225" y="12450"/>
                  </a:cubicBezTo>
                  <a:lnTo>
                    <a:pt x="6225" y="12450"/>
                  </a:lnTo>
                  <a:lnTo>
                    <a:pt x="6225" y="12450"/>
                  </a:lnTo>
                  <a:cubicBezTo>
                    <a:pt x="3113" y="12450"/>
                    <a:pt x="0" y="9337"/>
                    <a:pt x="0" y="6225"/>
                  </a:cubicBezTo>
                  <a:cubicBezTo>
                    <a:pt x="0" y="3112"/>
                    <a:pt x="3113" y="0"/>
                    <a:pt x="6225" y="0"/>
                  </a:cubicBezTo>
                  <a:cubicBezTo>
                    <a:pt x="9338" y="0"/>
                    <a:pt x="127608" y="0"/>
                    <a:pt x="196081" y="177406"/>
                  </a:cubicBezTo>
                  <a:cubicBezTo>
                    <a:pt x="261441" y="351700"/>
                    <a:pt x="311239" y="525994"/>
                    <a:pt x="311239" y="525994"/>
                  </a:cubicBezTo>
                  <a:lnTo>
                    <a:pt x="311239" y="529107"/>
                  </a:lnTo>
                  <a:lnTo>
                    <a:pt x="308127" y="532219"/>
                  </a:lnTo>
                  <a:cubicBezTo>
                    <a:pt x="311239" y="535331"/>
                    <a:pt x="245879" y="569568"/>
                    <a:pt x="177407" y="585130"/>
                  </a:cubicBezTo>
                  <a:cubicBezTo>
                    <a:pt x="180519" y="585130"/>
                    <a:pt x="177407" y="585130"/>
                    <a:pt x="177407" y="585130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0" name="图形 1">
              <a:extLst>
                <a:ext uri="{FF2B5EF4-FFF2-40B4-BE49-F238E27FC236}">
                  <a16:creationId xmlns:a16="http://schemas.microsoft.com/office/drawing/2014/main" id="{2D13F563-7D9C-46B6-8E09-1642127D7D8D}"/>
                </a:ext>
              </a:extLst>
            </p:cNvPr>
            <p:cNvGrpSpPr/>
            <p:nvPr/>
          </p:nvGrpSpPr>
          <p:grpSpPr>
            <a:xfrm>
              <a:off x="17704452" y="2560733"/>
              <a:ext cx="1313428" cy="1512622"/>
              <a:chOff x="17704452" y="2560733"/>
              <a:chExt cx="1313428" cy="1512622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B7101A31-1F6A-424E-A7E3-3153EEC27137}"/>
                  </a:ext>
                </a:extLst>
              </p:cNvPr>
              <p:cNvSpPr/>
              <p:nvPr/>
            </p:nvSpPr>
            <p:spPr>
              <a:xfrm>
                <a:off x="17704452" y="2560733"/>
                <a:ext cx="1313428" cy="1512622"/>
              </a:xfrm>
              <a:custGeom>
                <a:avLst/>
                <a:gdLst>
                  <a:gd name="connsiteX0" fmla="*/ 1167148 w 1313428"/>
                  <a:gd name="connsiteY0" fmla="*/ 1027089 h 1512622"/>
                  <a:gd name="connsiteX1" fmla="*/ 1226282 w 1313428"/>
                  <a:gd name="connsiteY1" fmla="*/ 1409914 h 1512622"/>
                  <a:gd name="connsiteX2" fmla="*/ 896369 w 1313428"/>
                  <a:gd name="connsiteY2" fmla="*/ 1422363 h 1512622"/>
                  <a:gd name="connsiteX3" fmla="*/ 834122 w 1313428"/>
                  <a:gd name="connsiteY3" fmla="*/ 1425476 h 1512622"/>
                  <a:gd name="connsiteX4" fmla="*/ 756312 w 1313428"/>
                  <a:gd name="connsiteY4" fmla="*/ 1428588 h 1512622"/>
                  <a:gd name="connsiteX5" fmla="*/ 694064 w 1313428"/>
                  <a:gd name="connsiteY5" fmla="*/ 1431700 h 1512622"/>
                  <a:gd name="connsiteX6" fmla="*/ 594467 w 1313428"/>
                  <a:gd name="connsiteY6" fmla="*/ 1434813 h 1512622"/>
                  <a:gd name="connsiteX7" fmla="*/ 594467 w 1313428"/>
                  <a:gd name="connsiteY7" fmla="*/ 1512623 h 1512622"/>
                  <a:gd name="connsiteX8" fmla="*/ 382825 w 1313428"/>
                  <a:gd name="connsiteY8" fmla="*/ 1497061 h 1512622"/>
                  <a:gd name="connsiteX9" fmla="*/ 317464 w 1313428"/>
                  <a:gd name="connsiteY9" fmla="*/ 1490836 h 1512622"/>
                  <a:gd name="connsiteX10" fmla="*/ 12449 w 1313428"/>
                  <a:gd name="connsiteY10" fmla="*/ 1465937 h 1512622"/>
                  <a:gd name="connsiteX11" fmla="*/ 77810 w 1313428"/>
                  <a:gd name="connsiteY11" fmla="*/ 1300980 h 1512622"/>
                  <a:gd name="connsiteX12" fmla="*/ 99597 w 1313428"/>
                  <a:gd name="connsiteY12" fmla="*/ 1241844 h 1512622"/>
                  <a:gd name="connsiteX13" fmla="*/ 192969 w 1313428"/>
                  <a:gd name="connsiteY13" fmla="*/ 849683 h 1512622"/>
                  <a:gd name="connsiteX14" fmla="*/ 180519 w 1313428"/>
                  <a:gd name="connsiteY14" fmla="*/ 728300 h 1512622"/>
                  <a:gd name="connsiteX15" fmla="*/ 168069 w 1313428"/>
                  <a:gd name="connsiteY15" fmla="*/ 666052 h 1512622"/>
                  <a:gd name="connsiteX16" fmla="*/ 0 w 1313428"/>
                  <a:gd name="connsiteY16" fmla="*/ 99597 h 1512622"/>
                  <a:gd name="connsiteX17" fmla="*/ 323689 w 1313428"/>
                  <a:gd name="connsiteY17" fmla="*/ 102709 h 1512622"/>
                  <a:gd name="connsiteX18" fmla="*/ 385936 w 1313428"/>
                  <a:gd name="connsiteY18" fmla="*/ 99597 h 1512622"/>
                  <a:gd name="connsiteX19" fmla="*/ 650490 w 1313428"/>
                  <a:gd name="connsiteY19" fmla="*/ 80922 h 1512622"/>
                  <a:gd name="connsiteX20" fmla="*/ 712738 w 1313428"/>
                  <a:gd name="connsiteY20" fmla="*/ 74697 h 1512622"/>
                  <a:gd name="connsiteX21" fmla="*/ 921268 w 1313428"/>
                  <a:gd name="connsiteY21" fmla="*/ 52911 h 1512622"/>
                  <a:gd name="connsiteX22" fmla="*/ 983516 w 1313428"/>
                  <a:gd name="connsiteY22" fmla="*/ 46686 h 1512622"/>
                  <a:gd name="connsiteX23" fmla="*/ 1313429 w 1313428"/>
                  <a:gd name="connsiteY23" fmla="*/ 0 h 1512622"/>
                  <a:gd name="connsiteX24" fmla="*/ 1164034 w 1313428"/>
                  <a:gd name="connsiteY24" fmla="*/ 494870 h 1512622"/>
                  <a:gd name="connsiteX25" fmla="*/ 1145361 w 1313428"/>
                  <a:gd name="connsiteY25" fmla="*/ 560231 h 1512622"/>
                  <a:gd name="connsiteX26" fmla="*/ 1132911 w 1313428"/>
                  <a:gd name="connsiteY26" fmla="*/ 613141 h 1512622"/>
                  <a:gd name="connsiteX27" fmla="*/ 1151586 w 1313428"/>
                  <a:gd name="connsiteY27" fmla="*/ 961729 h 1512622"/>
                  <a:gd name="connsiteX28" fmla="*/ 1167148 w 1313428"/>
                  <a:gd name="connsiteY28" fmla="*/ 1027089 h 1512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313428" h="1512622">
                    <a:moveTo>
                      <a:pt x="1167148" y="1027089"/>
                    </a:moveTo>
                    <a:cubicBezTo>
                      <a:pt x="1192047" y="1223170"/>
                      <a:pt x="1226282" y="1409914"/>
                      <a:pt x="1226282" y="1409914"/>
                    </a:cubicBezTo>
                    <a:lnTo>
                      <a:pt x="896369" y="1422363"/>
                    </a:lnTo>
                    <a:lnTo>
                      <a:pt x="834122" y="1425476"/>
                    </a:lnTo>
                    <a:lnTo>
                      <a:pt x="756312" y="1428588"/>
                    </a:lnTo>
                    <a:lnTo>
                      <a:pt x="694064" y="1431700"/>
                    </a:lnTo>
                    <a:lnTo>
                      <a:pt x="594467" y="1434813"/>
                    </a:lnTo>
                    <a:lnTo>
                      <a:pt x="594467" y="1512623"/>
                    </a:lnTo>
                    <a:lnTo>
                      <a:pt x="382825" y="1497061"/>
                    </a:lnTo>
                    <a:lnTo>
                      <a:pt x="317464" y="1490836"/>
                    </a:lnTo>
                    <a:lnTo>
                      <a:pt x="12449" y="1465937"/>
                    </a:lnTo>
                    <a:cubicBezTo>
                      <a:pt x="12449" y="1465937"/>
                      <a:pt x="40462" y="1397464"/>
                      <a:pt x="77810" y="1300980"/>
                    </a:cubicBezTo>
                    <a:cubicBezTo>
                      <a:pt x="84035" y="1282306"/>
                      <a:pt x="93372" y="1260519"/>
                      <a:pt x="99597" y="1241844"/>
                    </a:cubicBezTo>
                    <a:cubicBezTo>
                      <a:pt x="143170" y="1114236"/>
                      <a:pt x="189856" y="955504"/>
                      <a:pt x="192969" y="849683"/>
                    </a:cubicBezTo>
                    <a:cubicBezTo>
                      <a:pt x="192969" y="815447"/>
                      <a:pt x="189856" y="774986"/>
                      <a:pt x="180519" y="728300"/>
                    </a:cubicBezTo>
                    <a:cubicBezTo>
                      <a:pt x="177407" y="709625"/>
                      <a:pt x="174294" y="687839"/>
                      <a:pt x="168069" y="666052"/>
                    </a:cubicBezTo>
                    <a:cubicBezTo>
                      <a:pt x="118271" y="423285"/>
                      <a:pt x="0" y="99597"/>
                      <a:pt x="0" y="99597"/>
                    </a:cubicBezTo>
                    <a:cubicBezTo>
                      <a:pt x="93372" y="108934"/>
                      <a:pt x="205418" y="108934"/>
                      <a:pt x="323689" y="102709"/>
                    </a:cubicBezTo>
                    <a:cubicBezTo>
                      <a:pt x="345476" y="102709"/>
                      <a:pt x="364150" y="99597"/>
                      <a:pt x="385936" y="99597"/>
                    </a:cubicBezTo>
                    <a:cubicBezTo>
                      <a:pt x="473084" y="96484"/>
                      <a:pt x="563343" y="87147"/>
                      <a:pt x="650490" y="80922"/>
                    </a:cubicBezTo>
                    <a:cubicBezTo>
                      <a:pt x="672277" y="77810"/>
                      <a:pt x="690950" y="77810"/>
                      <a:pt x="712738" y="74697"/>
                    </a:cubicBezTo>
                    <a:cubicBezTo>
                      <a:pt x="784322" y="68473"/>
                      <a:pt x="855909" y="59135"/>
                      <a:pt x="921268" y="52911"/>
                    </a:cubicBezTo>
                    <a:cubicBezTo>
                      <a:pt x="943055" y="49798"/>
                      <a:pt x="964842" y="46686"/>
                      <a:pt x="983516" y="46686"/>
                    </a:cubicBezTo>
                    <a:cubicBezTo>
                      <a:pt x="1176485" y="21787"/>
                      <a:pt x="1313429" y="0"/>
                      <a:pt x="1313429" y="0"/>
                    </a:cubicBezTo>
                    <a:cubicBezTo>
                      <a:pt x="1313429" y="0"/>
                      <a:pt x="1220057" y="301902"/>
                      <a:pt x="1164034" y="494870"/>
                    </a:cubicBezTo>
                    <a:cubicBezTo>
                      <a:pt x="1157809" y="519769"/>
                      <a:pt x="1151586" y="541556"/>
                      <a:pt x="1145361" y="560231"/>
                    </a:cubicBezTo>
                    <a:cubicBezTo>
                      <a:pt x="1139136" y="582017"/>
                      <a:pt x="1136024" y="600692"/>
                      <a:pt x="1132911" y="613141"/>
                    </a:cubicBezTo>
                    <a:cubicBezTo>
                      <a:pt x="1120462" y="669164"/>
                      <a:pt x="1132911" y="812334"/>
                      <a:pt x="1151586" y="961729"/>
                    </a:cubicBezTo>
                    <a:cubicBezTo>
                      <a:pt x="1160923" y="983516"/>
                      <a:pt x="1164034" y="1005303"/>
                      <a:pt x="1167148" y="1027089"/>
                    </a:cubicBezTo>
                    <a:close/>
                  </a:path>
                </a:pathLst>
              </a:custGeom>
              <a:solidFill>
                <a:srgbClr val="F6EBE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B137E2B5-0813-44FD-9E01-8E56717DC40C}"/>
                  </a:ext>
                </a:extLst>
              </p:cNvPr>
              <p:cNvSpPr/>
              <p:nvPr/>
            </p:nvSpPr>
            <p:spPr>
              <a:xfrm>
                <a:off x="17782262" y="2638543"/>
                <a:ext cx="1089338" cy="1413025"/>
              </a:xfrm>
              <a:custGeom>
                <a:avLst/>
                <a:gdLst>
                  <a:gd name="connsiteX0" fmla="*/ 1089338 w 1089338"/>
                  <a:gd name="connsiteY0" fmla="*/ 949280 h 1413025"/>
                  <a:gd name="connsiteX1" fmla="*/ 1079999 w 1089338"/>
                  <a:gd name="connsiteY1" fmla="*/ 887032 h 1413025"/>
                  <a:gd name="connsiteX2" fmla="*/ 641153 w 1089338"/>
                  <a:gd name="connsiteY2" fmla="*/ 890144 h 1413025"/>
                  <a:gd name="connsiteX3" fmla="*/ 610029 w 1089338"/>
                  <a:gd name="connsiteY3" fmla="*/ 357925 h 1413025"/>
                  <a:gd name="connsiteX4" fmla="*/ 610029 w 1089338"/>
                  <a:gd name="connsiteY4" fmla="*/ 354813 h 1413025"/>
                  <a:gd name="connsiteX5" fmla="*/ 616254 w 1089338"/>
                  <a:gd name="connsiteY5" fmla="*/ 345475 h 1413025"/>
                  <a:gd name="connsiteX6" fmla="*/ 641153 w 1089338"/>
                  <a:gd name="connsiteY6" fmla="*/ 152507 h 1413025"/>
                  <a:gd name="connsiteX7" fmla="*/ 644265 w 1089338"/>
                  <a:gd name="connsiteY7" fmla="*/ 0 h 1413025"/>
                  <a:gd name="connsiteX8" fmla="*/ 582017 w 1089338"/>
                  <a:gd name="connsiteY8" fmla="*/ 6225 h 1413025"/>
                  <a:gd name="connsiteX9" fmla="*/ 572680 w 1089338"/>
                  <a:gd name="connsiteY9" fmla="*/ 224092 h 1413025"/>
                  <a:gd name="connsiteX10" fmla="*/ 563343 w 1089338"/>
                  <a:gd name="connsiteY10" fmla="*/ 308127 h 1413025"/>
                  <a:gd name="connsiteX11" fmla="*/ 488646 w 1089338"/>
                  <a:gd name="connsiteY11" fmla="*/ 336138 h 1413025"/>
                  <a:gd name="connsiteX12" fmla="*/ 339251 w 1089338"/>
                  <a:gd name="connsiteY12" fmla="*/ 342363 h 1413025"/>
                  <a:gd name="connsiteX13" fmla="*/ 329914 w 1089338"/>
                  <a:gd name="connsiteY13" fmla="*/ 248991 h 1413025"/>
                  <a:gd name="connsiteX14" fmla="*/ 314352 w 1089338"/>
                  <a:gd name="connsiteY14" fmla="*/ 21787 h 1413025"/>
                  <a:gd name="connsiteX15" fmla="*/ 252104 w 1089338"/>
                  <a:gd name="connsiteY15" fmla="*/ 24899 h 1413025"/>
                  <a:gd name="connsiteX16" fmla="*/ 267666 w 1089338"/>
                  <a:gd name="connsiteY16" fmla="*/ 320576 h 1413025"/>
                  <a:gd name="connsiteX17" fmla="*/ 217867 w 1089338"/>
                  <a:gd name="connsiteY17" fmla="*/ 519769 h 1413025"/>
                  <a:gd name="connsiteX18" fmla="*/ 93372 w 1089338"/>
                  <a:gd name="connsiteY18" fmla="*/ 585130 h 1413025"/>
                  <a:gd name="connsiteX19" fmla="*/ 105821 w 1089338"/>
                  <a:gd name="connsiteY19" fmla="*/ 647378 h 1413025"/>
                  <a:gd name="connsiteX20" fmla="*/ 333026 w 1089338"/>
                  <a:gd name="connsiteY20" fmla="*/ 469971 h 1413025"/>
                  <a:gd name="connsiteX21" fmla="*/ 339251 w 1089338"/>
                  <a:gd name="connsiteY21" fmla="*/ 401499 h 1413025"/>
                  <a:gd name="connsiteX22" fmla="*/ 547781 w 1089338"/>
                  <a:gd name="connsiteY22" fmla="*/ 392161 h 1413025"/>
                  <a:gd name="connsiteX23" fmla="*/ 569568 w 1089338"/>
                  <a:gd name="connsiteY23" fmla="*/ 771873 h 1413025"/>
                  <a:gd name="connsiteX24" fmla="*/ 248991 w 1089338"/>
                  <a:gd name="connsiteY24" fmla="*/ 883919 h 1413025"/>
                  <a:gd name="connsiteX25" fmla="*/ 227205 w 1089338"/>
                  <a:gd name="connsiteY25" fmla="*/ 1173372 h 1413025"/>
                  <a:gd name="connsiteX26" fmla="*/ 21787 w 1089338"/>
                  <a:gd name="connsiteY26" fmla="*/ 1160922 h 1413025"/>
                  <a:gd name="connsiteX27" fmla="*/ 0 w 1089338"/>
                  <a:gd name="connsiteY27" fmla="*/ 1220058 h 1413025"/>
                  <a:gd name="connsiteX28" fmla="*/ 230317 w 1089338"/>
                  <a:gd name="connsiteY28" fmla="*/ 1235620 h 1413025"/>
                  <a:gd name="connsiteX29" fmla="*/ 239655 w 1089338"/>
                  <a:gd name="connsiteY29" fmla="*/ 1406801 h 1413025"/>
                  <a:gd name="connsiteX30" fmla="*/ 305015 w 1089338"/>
                  <a:gd name="connsiteY30" fmla="*/ 1413026 h 1413025"/>
                  <a:gd name="connsiteX31" fmla="*/ 301902 w 1089338"/>
                  <a:gd name="connsiteY31" fmla="*/ 1067550 h 1413025"/>
                  <a:gd name="connsiteX32" fmla="*/ 348588 w 1089338"/>
                  <a:gd name="connsiteY32" fmla="*/ 865245 h 1413025"/>
                  <a:gd name="connsiteX33" fmla="*/ 575793 w 1089338"/>
                  <a:gd name="connsiteY33" fmla="*/ 834121 h 1413025"/>
                  <a:gd name="connsiteX34" fmla="*/ 616254 w 1089338"/>
                  <a:gd name="connsiteY34" fmla="*/ 1347666 h 1413025"/>
                  <a:gd name="connsiteX35" fmla="*/ 678502 w 1089338"/>
                  <a:gd name="connsiteY35" fmla="*/ 1344553 h 1413025"/>
                  <a:gd name="connsiteX36" fmla="*/ 662940 w 1089338"/>
                  <a:gd name="connsiteY36" fmla="*/ 1176484 h 1413025"/>
                  <a:gd name="connsiteX37" fmla="*/ 737636 w 1089338"/>
                  <a:gd name="connsiteY37" fmla="*/ 1151585 h 1413025"/>
                  <a:gd name="connsiteX38" fmla="*/ 753198 w 1089338"/>
                  <a:gd name="connsiteY38" fmla="*/ 1341441 h 1413025"/>
                  <a:gd name="connsiteX39" fmla="*/ 815446 w 1089338"/>
                  <a:gd name="connsiteY39" fmla="*/ 1338328 h 1413025"/>
                  <a:gd name="connsiteX40" fmla="*/ 799884 w 1089338"/>
                  <a:gd name="connsiteY40" fmla="*/ 1139136 h 1413025"/>
                  <a:gd name="connsiteX41" fmla="*/ 796773 w 1089338"/>
                  <a:gd name="connsiteY41" fmla="*/ 1126686 h 1413025"/>
                  <a:gd name="connsiteX42" fmla="*/ 840347 w 1089338"/>
                  <a:gd name="connsiteY42" fmla="*/ 1101787 h 1413025"/>
                  <a:gd name="connsiteX43" fmla="*/ 865246 w 1089338"/>
                  <a:gd name="connsiteY43" fmla="*/ 1048876 h 1413025"/>
                  <a:gd name="connsiteX44" fmla="*/ 855909 w 1089338"/>
                  <a:gd name="connsiteY44" fmla="*/ 949280 h 1413025"/>
                  <a:gd name="connsiteX45" fmla="*/ 1089338 w 1089338"/>
                  <a:gd name="connsiteY45" fmla="*/ 949280 h 1413025"/>
                  <a:gd name="connsiteX46" fmla="*/ 728300 w 1089338"/>
                  <a:gd name="connsiteY46" fmla="*/ 1092450 h 1413025"/>
                  <a:gd name="connsiteX47" fmla="*/ 656715 w 1089338"/>
                  <a:gd name="connsiteY47" fmla="*/ 1117349 h 1413025"/>
                  <a:gd name="connsiteX48" fmla="*/ 644265 w 1089338"/>
                  <a:gd name="connsiteY48" fmla="*/ 952392 h 1413025"/>
                  <a:gd name="connsiteX49" fmla="*/ 796773 w 1089338"/>
                  <a:gd name="connsiteY49" fmla="*/ 955504 h 1413025"/>
                  <a:gd name="connsiteX50" fmla="*/ 802998 w 1089338"/>
                  <a:gd name="connsiteY50" fmla="*/ 1061326 h 1413025"/>
                  <a:gd name="connsiteX51" fmla="*/ 728300 w 1089338"/>
                  <a:gd name="connsiteY51" fmla="*/ 1092450 h 1413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1089338" h="1413025">
                    <a:moveTo>
                      <a:pt x="1089338" y="949280"/>
                    </a:moveTo>
                    <a:cubicBezTo>
                      <a:pt x="1086225" y="927493"/>
                      <a:pt x="1083113" y="908818"/>
                      <a:pt x="1079999" y="887032"/>
                    </a:cubicBezTo>
                    <a:cubicBezTo>
                      <a:pt x="933719" y="896369"/>
                      <a:pt x="787436" y="896369"/>
                      <a:pt x="641153" y="890144"/>
                    </a:cubicBezTo>
                    <a:cubicBezTo>
                      <a:pt x="628703" y="712738"/>
                      <a:pt x="616254" y="535331"/>
                      <a:pt x="610029" y="357925"/>
                    </a:cubicBezTo>
                    <a:cubicBezTo>
                      <a:pt x="610029" y="357925"/>
                      <a:pt x="610029" y="354813"/>
                      <a:pt x="610029" y="354813"/>
                    </a:cubicBezTo>
                    <a:cubicBezTo>
                      <a:pt x="613141" y="351700"/>
                      <a:pt x="613141" y="348588"/>
                      <a:pt x="616254" y="345475"/>
                    </a:cubicBezTo>
                    <a:cubicBezTo>
                      <a:pt x="641153" y="289452"/>
                      <a:pt x="638041" y="211643"/>
                      <a:pt x="641153" y="152507"/>
                    </a:cubicBezTo>
                    <a:cubicBezTo>
                      <a:pt x="644265" y="102709"/>
                      <a:pt x="644265" y="52911"/>
                      <a:pt x="644265" y="0"/>
                    </a:cubicBezTo>
                    <a:cubicBezTo>
                      <a:pt x="625591" y="3112"/>
                      <a:pt x="603804" y="3112"/>
                      <a:pt x="582017" y="6225"/>
                    </a:cubicBezTo>
                    <a:cubicBezTo>
                      <a:pt x="582017" y="77810"/>
                      <a:pt x="578905" y="152507"/>
                      <a:pt x="572680" y="224092"/>
                    </a:cubicBezTo>
                    <a:cubicBezTo>
                      <a:pt x="569568" y="245879"/>
                      <a:pt x="572680" y="292565"/>
                      <a:pt x="563343" y="308127"/>
                    </a:cubicBezTo>
                    <a:cubicBezTo>
                      <a:pt x="547781" y="333026"/>
                      <a:pt x="513546" y="329914"/>
                      <a:pt x="488646" y="336138"/>
                    </a:cubicBezTo>
                    <a:cubicBezTo>
                      <a:pt x="441960" y="342363"/>
                      <a:pt x="389049" y="342363"/>
                      <a:pt x="339251" y="342363"/>
                    </a:cubicBezTo>
                    <a:cubicBezTo>
                      <a:pt x="336139" y="311239"/>
                      <a:pt x="333026" y="277003"/>
                      <a:pt x="329914" y="248991"/>
                    </a:cubicBezTo>
                    <a:cubicBezTo>
                      <a:pt x="326801" y="174294"/>
                      <a:pt x="320577" y="99597"/>
                      <a:pt x="314352" y="21787"/>
                    </a:cubicBezTo>
                    <a:cubicBezTo>
                      <a:pt x="292565" y="21787"/>
                      <a:pt x="273891" y="24899"/>
                      <a:pt x="252104" y="24899"/>
                    </a:cubicBezTo>
                    <a:cubicBezTo>
                      <a:pt x="261441" y="124496"/>
                      <a:pt x="264553" y="220980"/>
                      <a:pt x="267666" y="320576"/>
                    </a:cubicBezTo>
                    <a:cubicBezTo>
                      <a:pt x="270778" y="401499"/>
                      <a:pt x="289453" y="460634"/>
                      <a:pt x="217867" y="519769"/>
                    </a:cubicBezTo>
                    <a:cubicBezTo>
                      <a:pt x="186744" y="547781"/>
                      <a:pt x="136945" y="566455"/>
                      <a:pt x="93372" y="585130"/>
                    </a:cubicBezTo>
                    <a:cubicBezTo>
                      <a:pt x="96484" y="606916"/>
                      <a:pt x="102710" y="628703"/>
                      <a:pt x="105821" y="647378"/>
                    </a:cubicBezTo>
                    <a:cubicBezTo>
                      <a:pt x="196081" y="606916"/>
                      <a:pt x="311239" y="569568"/>
                      <a:pt x="333026" y="469971"/>
                    </a:cubicBezTo>
                    <a:cubicBezTo>
                      <a:pt x="336139" y="448184"/>
                      <a:pt x="339251" y="426398"/>
                      <a:pt x="339251" y="401499"/>
                    </a:cubicBezTo>
                    <a:cubicBezTo>
                      <a:pt x="398387" y="404611"/>
                      <a:pt x="485533" y="410836"/>
                      <a:pt x="547781" y="392161"/>
                    </a:cubicBezTo>
                    <a:cubicBezTo>
                      <a:pt x="554006" y="519769"/>
                      <a:pt x="560232" y="644265"/>
                      <a:pt x="569568" y="771873"/>
                    </a:cubicBezTo>
                    <a:cubicBezTo>
                      <a:pt x="454409" y="781210"/>
                      <a:pt x="280115" y="750086"/>
                      <a:pt x="248991" y="883919"/>
                    </a:cubicBezTo>
                    <a:cubicBezTo>
                      <a:pt x="227205" y="974179"/>
                      <a:pt x="224093" y="1073775"/>
                      <a:pt x="227205" y="1173372"/>
                    </a:cubicBezTo>
                    <a:cubicBezTo>
                      <a:pt x="158732" y="1170259"/>
                      <a:pt x="90259" y="1167147"/>
                      <a:pt x="21787" y="1160922"/>
                    </a:cubicBezTo>
                    <a:cubicBezTo>
                      <a:pt x="15562" y="1182709"/>
                      <a:pt x="6225" y="1201383"/>
                      <a:pt x="0" y="1220058"/>
                    </a:cubicBezTo>
                    <a:cubicBezTo>
                      <a:pt x="74697" y="1226282"/>
                      <a:pt x="152507" y="1232507"/>
                      <a:pt x="230317" y="1235620"/>
                    </a:cubicBezTo>
                    <a:cubicBezTo>
                      <a:pt x="233429" y="1294755"/>
                      <a:pt x="236542" y="1350778"/>
                      <a:pt x="239655" y="1406801"/>
                    </a:cubicBezTo>
                    <a:lnTo>
                      <a:pt x="305015" y="1413026"/>
                    </a:lnTo>
                    <a:cubicBezTo>
                      <a:pt x="305015" y="1297868"/>
                      <a:pt x="301902" y="1182709"/>
                      <a:pt x="301902" y="1067550"/>
                    </a:cubicBezTo>
                    <a:cubicBezTo>
                      <a:pt x="301902" y="995965"/>
                      <a:pt x="286340" y="899481"/>
                      <a:pt x="348588" y="865245"/>
                    </a:cubicBezTo>
                    <a:cubicBezTo>
                      <a:pt x="407724" y="831009"/>
                      <a:pt x="507320" y="837233"/>
                      <a:pt x="575793" y="834121"/>
                    </a:cubicBezTo>
                    <a:cubicBezTo>
                      <a:pt x="588242" y="1005303"/>
                      <a:pt x="600692" y="1176484"/>
                      <a:pt x="616254" y="1347666"/>
                    </a:cubicBezTo>
                    <a:lnTo>
                      <a:pt x="678502" y="1344553"/>
                    </a:lnTo>
                    <a:cubicBezTo>
                      <a:pt x="672277" y="1288530"/>
                      <a:pt x="669165" y="1232507"/>
                      <a:pt x="662940" y="1176484"/>
                    </a:cubicBezTo>
                    <a:cubicBezTo>
                      <a:pt x="687839" y="1170259"/>
                      <a:pt x="712738" y="1160922"/>
                      <a:pt x="737636" y="1151585"/>
                    </a:cubicBezTo>
                    <a:cubicBezTo>
                      <a:pt x="743861" y="1213833"/>
                      <a:pt x="746975" y="1279193"/>
                      <a:pt x="753198" y="1341441"/>
                    </a:cubicBezTo>
                    <a:lnTo>
                      <a:pt x="815446" y="1338328"/>
                    </a:lnTo>
                    <a:cubicBezTo>
                      <a:pt x="809223" y="1272968"/>
                      <a:pt x="802998" y="1207608"/>
                      <a:pt x="799884" y="1139136"/>
                    </a:cubicBezTo>
                    <a:cubicBezTo>
                      <a:pt x="799884" y="1136023"/>
                      <a:pt x="796773" y="1129798"/>
                      <a:pt x="796773" y="1126686"/>
                    </a:cubicBezTo>
                    <a:cubicBezTo>
                      <a:pt x="812334" y="1120461"/>
                      <a:pt x="827896" y="1111124"/>
                      <a:pt x="840347" y="1101787"/>
                    </a:cubicBezTo>
                    <a:cubicBezTo>
                      <a:pt x="862132" y="1089337"/>
                      <a:pt x="865246" y="1073775"/>
                      <a:pt x="865246" y="1048876"/>
                    </a:cubicBezTo>
                    <a:cubicBezTo>
                      <a:pt x="865246" y="1014640"/>
                      <a:pt x="859020" y="980403"/>
                      <a:pt x="855909" y="949280"/>
                    </a:cubicBezTo>
                    <a:cubicBezTo>
                      <a:pt x="933719" y="955504"/>
                      <a:pt x="1011528" y="952392"/>
                      <a:pt x="1089338" y="949280"/>
                    </a:cubicBezTo>
                    <a:close/>
                    <a:moveTo>
                      <a:pt x="728300" y="1092450"/>
                    </a:moveTo>
                    <a:cubicBezTo>
                      <a:pt x="703401" y="1101787"/>
                      <a:pt x="681614" y="1111124"/>
                      <a:pt x="656715" y="1117349"/>
                    </a:cubicBezTo>
                    <a:cubicBezTo>
                      <a:pt x="653603" y="1061326"/>
                      <a:pt x="647378" y="1008415"/>
                      <a:pt x="644265" y="952392"/>
                    </a:cubicBezTo>
                    <a:cubicBezTo>
                      <a:pt x="694064" y="952392"/>
                      <a:pt x="746975" y="955504"/>
                      <a:pt x="796773" y="955504"/>
                    </a:cubicBezTo>
                    <a:cubicBezTo>
                      <a:pt x="799884" y="989741"/>
                      <a:pt x="806109" y="1027089"/>
                      <a:pt x="802998" y="1061326"/>
                    </a:cubicBezTo>
                    <a:cubicBezTo>
                      <a:pt x="784322" y="1073775"/>
                      <a:pt x="746975" y="1083112"/>
                      <a:pt x="728300" y="1092450"/>
                    </a:cubicBezTo>
                    <a:close/>
                  </a:path>
                </a:pathLst>
              </a:custGeom>
              <a:solidFill>
                <a:srgbClr val="EDE2E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F1831BD6-A150-4CBD-B9D4-95CB19CD9BCA}"/>
                  </a:ext>
                </a:extLst>
              </p:cNvPr>
              <p:cNvSpPr/>
              <p:nvPr/>
            </p:nvSpPr>
            <p:spPr>
              <a:xfrm>
                <a:off x="18628832" y="2610532"/>
                <a:ext cx="245879" cy="513544"/>
              </a:xfrm>
              <a:custGeom>
                <a:avLst/>
                <a:gdLst>
                  <a:gd name="connsiteX0" fmla="*/ 245880 w 245879"/>
                  <a:gd name="connsiteY0" fmla="*/ 448185 h 513544"/>
                  <a:gd name="connsiteX1" fmla="*/ 227206 w 245879"/>
                  <a:gd name="connsiteY1" fmla="*/ 513545 h 513544"/>
                  <a:gd name="connsiteX2" fmla="*/ 46686 w 245879"/>
                  <a:gd name="connsiteY2" fmla="*/ 438847 h 513544"/>
                  <a:gd name="connsiteX3" fmla="*/ 9339 w 245879"/>
                  <a:gd name="connsiteY3" fmla="*/ 199193 h 513544"/>
                  <a:gd name="connsiteX4" fmla="*/ 0 w 245879"/>
                  <a:gd name="connsiteY4" fmla="*/ 6225 h 513544"/>
                  <a:gd name="connsiteX5" fmla="*/ 62248 w 245879"/>
                  <a:gd name="connsiteY5" fmla="*/ 0 h 513544"/>
                  <a:gd name="connsiteX6" fmla="*/ 84035 w 245879"/>
                  <a:gd name="connsiteY6" fmla="*/ 298790 h 513544"/>
                  <a:gd name="connsiteX7" fmla="*/ 158733 w 245879"/>
                  <a:gd name="connsiteY7" fmla="*/ 441960 h 513544"/>
                  <a:gd name="connsiteX8" fmla="*/ 245880 w 245879"/>
                  <a:gd name="connsiteY8" fmla="*/ 448185 h 513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5879" h="513544">
                    <a:moveTo>
                      <a:pt x="245880" y="448185"/>
                    </a:moveTo>
                    <a:cubicBezTo>
                      <a:pt x="239655" y="473084"/>
                      <a:pt x="233429" y="494870"/>
                      <a:pt x="227206" y="513545"/>
                    </a:cubicBezTo>
                    <a:cubicBezTo>
                      <a:pt x="152508" y="513545"/>
                      <a:pt x="74698" y="504208"/>
                      <a:pt x="46686" y="438847"/>
                    </a:cubicBezTo>
                    <a:cubicBezTo>
                      <a:pt x="18675" y="370375"/>
                      <a:pt x="18675" y="273890"/>
                      <a:pt x="9339" y="199193"/>
                    </a:cubicBezTo>
                    <a:cubicBezTo>
                      <a:pt x="3114" y="133833"/>
                      <a:pt x="0" y="68473"/>
                      <a:pt x="0" y="6225"/>
                    </a:cubicBezTo>
                    <a:cubicBezTo>
                      <a:pt x="21787" y="3112"/>
                      <a:pt x="43574" y="0"/>
                      <a:pt x="62248" y="0"/>
                    </a:cubicBezTo>
                    <a:cubicBezTo>
                      <a:pt x="62248" y="99597"/>
                      <a:pt x="68473" y="199193"/>
                      <a:pt x="84035" y="298790"/>
                    </a:cubicBezTo>
                    <a:cubicBezTo>
                      <a:pt x="93372" y="367262"/>
                      <a:pt x="84035" y="426398"/>
                      <a:pt x="158733" y="441960"/>
                    </a:cubicBezTo>
                    <a:cubicBezTo>
                      <a:pt x="186744" y="445072"/>
                      <a:pt x="217867" y="445072"/>
                      <a:pt x="245880" y="448185"/>
                    </a:cubicBezTo>
                    <a:close/>
                  </a:path>
                </a:pathLst>
              </a:custGeom>
              <a:solidFill>
                <a:srgbClr val="EDE2E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F3FEB8A5-4B9D-4EA7-AC23-C1E5DCBA6716}"/>
                </a:ext>
              </a:extLst>
            </p:cNvPr>
            <p:cNvSpPr/>
            <p:nvPr/>
          </p:nvSpPr>
          <p:spPr>
            <a:xfrm>
              <a:off x="18292694" y="3397967"/>
              <a:ext cx="38726" cy="678501"/>
            </a:xfrm>
            <a:custGeom>
              <a:avLst/>
              <a:gdLst>
                <a:gd name="connsiteX0" fmla="*/ 6225 w 38726"/>
                <a:gd name="connsiteY0" fmla="*/ 678502 h 678501"/>
                <a:gd name="connsiteX1" fmla="*/ 6225 w 38726"/>
                <a:gd name="connsiteY1" fmla="*/ 678502 h 678501"/>
                <a:gd name="connsiteX2" fmla="*/ 0 w 38726"/>
                <a:gd name="connsiteY2" fmla="*/ 672277 h 678501"/>
                <a:gd name="connsiteX3" fmla="*/ 15562 w 38726"/>
                <a:gd name="connsiteY3" fmla="*/ 6225 h 678501"/>
                <a:gd name="connsiteX4" fmla="*/ 18675 w 38726"/>
                <a:gd name="connsiteY4" fmla="*/ 0 h 678501"/>
                <a:gd name="connsiteX5" fmla="*/ 24899 w 38726"/>
                <a:gd name="connsiteY5" fmla="*/ 3112 h 678501"/>
                <a:gd name="connsiteX6" fmla="*/ 9337 w 38726"/>
                <a:gd name="connsiteY6" fmla="*/ 672277 h 678501"/>
                <a:gd name="connsiteX7" fmla="*/ 6225 w 38726"/>
                <a:gd name="connsiteY7" fmla="*/ 678502 h 67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26" h="678501">
                  <a:moveTo>
                    <a:pt x="6225" y="678502"/>
                  </a:moveTo>
                  <a:cubicBezTo>
                    <a:pt x="6225" y="678502"/>
                    <a:pt x="6225" y="678502"/>
                    <a:pt x="6225" y="678502"/>
                  </a:cubicBezTo>
                  <a:cubicBezTo>
                    <a:pt x="3114" y="678502"/>
                    <a:pt x="0" y="675389"/>
                    <a:pt x="0" y="672277"/>
                  </a:cubicBezTo>
                  <a:cubicBezTo>
                    <a:pt x="0" y="666052"/>
                    <a:pt x="52911" y="155620"/>
                    <a:pt x="15562" y="6225"/>
                  </a:cubicBezTo>
                  <a:cubicBezTo>
                    <a:pt x="15562" y="3112"/>
                    <a:pt x="15562" y="0"/>
                    <a:pt x="18675" y="0"/>
                  </a:cubicBezTo>
                  <a:cubicBezTo>
                    <a:pt x="21787" y="0"/>
                    <a:pt x="24899" y="0"/>
                    <a:pt x="24899" y="3112"/>
                  </a:cubicBezTo>
                  <a:cubicBezTo>
                    <a:pt x="62248" y="152507"/>
                    <a:pt x="12450" y="650490"/>
                    <a:pt x="9337" y="672277"/>
                  </a:cubicBezTo>
                  <a:cubicBezTo>
                    <a:pt x="12450" y="675389"/>
                    <a:pt x="9337" y="678502"/>
                    <a:pt x="6225" y="678502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2" name="图形 1">
              <a:extLst>
                <a:ext uri="{FF2B5EF4-FFF2-40B4-BE49-F238E27FC236}">
                  <a16:creationId xmlns:a16="http://schemas.microsoft.com/office/drawing/2014/main" id="{B15DB772-C2C4-4DA7-A5C0-87168F42B9E3}"/>
                </a:ext>
              </a:extLst>
            </p:cNvPr>
            <p:cNvGrpSpPr/>
            <p:nvPr/>
          </p:nvGrpSpPr>
          <p:grpSpPr>
            <a:xfrm>
              <a:off x="18793163" y="3147855"/>
              <a:ext cx="85159" cy="189896"/>
              <a:chOff x="18793163" y="3147855"/>
              <a:chExt cx="85159" cy="189896"/>
            </a:xfrm>
          </p:grpSpPr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8F1EF7F2-A79D-4D4D-BD84-2F67B9A1FB34}"/>
                  </a:ext>
                </a:extLst>
              </p:cNvPr>
              <p:cNvSpPr/>
              <p:nvPr/>
            </p:nvSpPr>
            <p:spPr>
              <a:xfrm>
                <a:off x="18797969" y="3155200"/>
                <a:ext cx="76741" cy="182551"/>
              </a:xfrm>
              <a:custGeom>
                <a:avLst/>
                <a:gdLst>
                  <a:gd name="connsiteX0" fmla="*/ 67405 w 76741"/>
                  <a:gd name="connsiteY0" fmla="*/ 43574 h 182551"/>
                  <a:gd name="connsiteX1" fmla="*/ 67405 w 76741"/>
                  <a:gd name="connsiteY1" fmla="*/ 43574 h 182551"/>
                  <a:gd name="connsiteX2" fmla="*/ 67405 w 76741"/>
                  <a:gd name="connsiteY2" fmla="*/ 40461 h 182551"/>
                  <a:gd name="connsiteX3" fmla="*/ 61180 w 76741"/>
                  <a:gd name="connsiteY3" fmla="*/ 3112 h 182551"/>
                  <a:gd name="connsiteX4" fmla="*/ 54955 w 76741"/>
                  <a:gd name="connsiteY4" fmla="*/ 0 h 182551"/>
                  <a:gd name="connsiteX5" fmla="*/ 48730 w 76741"/>
                  <a:gd name="connsiteY5" fmla="*/ 3112 h 182551"/>
                  <a:gd name="connsiteX6" fmla="*/ 5157 w 76741"/>
                  <a:gd name="connsiteY6" fmla="*/ 28012 h 182551"/>
                  <a:gd name="connsiteX7" fmla="*/ 2044 w 76741"/>
                  <a:gd name="connsiteY7" fmla="*/ 65360 h 182551"/>
                  <a:gd name="connsiteX8" fmla="*/ 11382 w 76741"/>
                  <a:gd name="connsiteY8" fmla="*/ 74697 h 182551"/>
                  <a:gd name="connsiteX9" fmla="*/ 11382 w 76741"/>
                  <a:gd name="connsiteY9" fmla="*/ 108934 h 182551"/>
                  <a:gd name="connsiteX10" fmla="*/ 17606 w 76741"/>
                  <a:gd name="connsiteY10" fmla="*/ 115159 h 182551"/>
                  <a:gd name="connsiteX11" fmla="*/ 14494 w 76741"/>
                  <a:gd name="connsiteY11" fmla="*/ 146282 h 182551"/>
                  <a:gd name="connsiteX12" fmla="*/ 23831 w 76741"/>
                  <a:gd name="connsiteY12" fmla="*/ 152507 h 182551"/>
                  <a:gd name="connsiteX13" fmla="*/ 20719 w 76741"/>
                  <a:gd name="connsiteY13" fmla="*/ 177406 h 182551"/>
                  <a:gd name="connsiteX14" fmla="*/ 33168 w 76741"/>
                  <a:gd name="connsiteY14" fmla="*/ 180519 h 182551"/>
                  <a:gd name="connsiteX15" fmla="*/ 51843 w 76741"/>
                  <a:gd name="connsiteY15" fmla="*/ 171182 h 182551"/>
                  <a:gd name="connsiteX16" fmla="*/ 64292 w 76741"/>
                  <a:gd name="connsiteY16" fmla="*/ 155620 h 182551"/>
                  <a:gd name="connsiteX17" fmla="*/ 61180 w 76741"/>
                  <a:gd name="connsiteY17" fmla="*/ 133833 h 182551"/>
                  <a:gd name="connsiteX18" fmla="*/ 70517 w 76741"/>
                  <a:gd name="connsiteY18" fmla="*/ 115159 h 182551"/>
                  <a:gd name="connsiteX19" fmla="*/ 70517 w 76741"/>
                  <a:gd name="connsiteY19" fmla="*/ 90259 h 182551"/>
                  <a:gd name="connsiteX20" fmla="*/ 76742 w 76741"/>
                  <a:gd name="connsiteY20" fmla="*/ 77810 h 182551"/>
                  <a:gd name="connsiteX21" fmla="*/ 67405 w 76741"/>
                  <a:gd name="connsiteY21" fmla="*/ 43574 h 182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6741" h="182551">
                    <a:moveTo>
                      <a:pt x="67405" y="43574"/>
                    </a:moveTo>
                    <a:cubicBezTo>
                      <a:pt x="67405" y="43574"/>
                      <a:pt x="67405" y="43574"/>
                      <a:pt x="67405" y="43574"/>
                    </a:cubicBezTo>
                    <a:cubicBezTo>
                      <a:pt x="64292" y="40461"/>
                      <a:pt x="67405" y="40461"/>
                      <a:pt x="67405" y="40461"/>
                    </a:cubicBezTo>
                    <a:cubicBezTo>
                      <a:pt x="70517" y="24899"/>
                      <a:pt x="67405" y="6225"/>
                      <a:pt x="61180" y="3112"/>
                    </a:cubicBezTo>
                    <a:cubicBezTo>
                      <a:pt x="58068" y="0"/>
                      <a:pt x="58068" y="0"/>
                      <a:pt x="54955" y="0"/>
                    </a:cubicBezTo>
                    <a:cubicBezTo>
                      <a:pt x="54955" y="0"/>
                      <a:pt x="48730" y="3112"/>
                      <a:pt x="48730" y="3112"/>
                    </a:cubicBezTo>
                    <a:cubicBezTo>
                      <a:pt x="33168" y="9337"/>
                      <a:pt x="14494" y="9337"/>
                      <a:pt x="5157" y="28012"/>
                    </a:cubicBezTo>
                    <a:cubicBezTo>
                      <a:pt x="-1068" y="37349"/>
                      <a:pt x="-1068" y="52911"/>
                      <a:pt x="2044" y="65360"/>
                    </a:cubicBezTo>
                    <a:cubicBezTo>
                      <a:pt x="5157" y="71585"/>
                      <a:pt x="8269" y="74697"/>
                      <a:pt x="11382" y="74697"/>
                    </a:cubicBezTo>
                    <a:cubicBezTo>
                      <a:pt x="8269" y="84035"/>
                      <a:pt x="5157" y="99597"/>
                      <a:pt x="11382" y="108934"/>
                    </a:cubicBezTo>
                    <a:cubicBezTo>
                      <a:pt x="14494" y="115159"/>
                      <a:pt x="14494" y="115159"/>
                      <a:pt x="17606" y="115159"/>
                    </a:cubicBezTo>
                    <a:cubicBezTo>
                      <a:pt x="14494" y="124496"/>
                      <a:pt x="11382" y="136945"/>
                      <a:pt x="14494" y="146282"/>
                    </a:cubicBezTo>
                    <a:cubicBezTo>
                      <a:pt x="17606" y="152507"/>
                      <a:pt x="20719" y="152507"/>
                      <a:pt x="23831" y="152507"/>
                    </a:cubicBezTo>
                    <a:cubicBezTo>
                      <a:pt x="20719" y="158732"/>
                      <a:pt x="20719" y="168069"/>
                      <a:pt x="20719" y="177406"/>
                    </a:cubicBezTo>
                    <a:cubicBezTo>
                      <a:pt x="23831" y="186744"/>
                      <a:pt x="30056" y="180519"/>
                      <a:pt x="33168" y="180519"/>
                    </a:cubicBezTo>
                    <a:cubicBezTo>
                      <a:pt x="39393" y="177406"/>
                      <a:pt x="45618" y="177406"/>
                      <a:pt x="51843" y="171182"/>
                    </a:cubicBezTo>
                    <a:cubicBezTo>
                      <a:pt x="54955" y="168069"/>
                      <a:pt x="64292" y="168069"/>
                      <a:pt x="64292" y="155620"/>
                    </a:cubicBezTo>
                    <a:cubicBezTo>
                      <a:pt x="64292" y="146282"/>
                      <a:pt x="64292" y="140058"/>
                      <a:pt x="61180" y="133833"/>
                    </a:cubicBezTo>
                    <a:cubicBezTo>
                      <a:pt x="64292" y="130720"/>
                      <a:pt x="70517" y="127608"/>
                      <a:pt x="70517" y="115159"/>
                    </a:cubicBezTo>
                    <a:cubicBezTo>
                      <a:pt x="73630" y="105821"/>
                      <a:pt x="70517" y="96484"/>
                      <a:pt x="70517" y="90259"/>
                    </a:cubicBezTo>
                    <a:cubicBezTo>
                      <a:pt x="73630" y="87147"/>
                      <a:pt x="73630" y="84035"/>
                      <a:pt x="76742" y="77810"/>
                    </a:cubicBezTo>
                    <a:cubicBezTo>
                      <a:pt x="76742" y="65360"/>
                      <a:pt x="73630" y="49798"/>
                      <a:pt x="67405" y="4357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89A292E9-FFC0-4E27-B11C-4CA2B99D932E}"/>
                  </a:ext>
                </a:extLst>
              </p:cNvPr>
              <p:cNvSpPr/>
              <p:nvPr/>
            </p:nvSpPr>
            <p:spPr>
              <a:xfrm>
                <a:off x="18793163" y="3147855"/>
                <a:ext cx="85159" cy="125615"/>
              </a:xfrm>
              <a:custGeom>
                <a:avLst/>
                <a:gdLst>
                  <a:gd name="connsiteX0" fmla="*/ 25526 w 85159"/>
                  <a:gd name="connsiteY0" fmla="*/ 125616 h 125615"/>
                  <a:gd name="connsiteX1" fmla="*/ 13075 w 85159"/>
                  <a:gd name="connsiteY1" fmla="*/ 122503 h 125615"/>
                  <a:gd name="connsiteX2" fmla="*/ 627 w 85159"/>
                  <a:gd name="connsiteY2" fmla="*/ 100716 h 125615"/>
                  <a:gd name="connsiteX3" fmla="*/ 9964 w 85159"/>
                  <a:gd name="connsiteY3" fmla="*/ 72705 h 125615"/>
                  <a:gd name="connsiteX4" fmla="*/ 65986 w 85159"/>
                  <a:gd name="connsiteY4" fmla="*/ 29131 h 125615"/>
                  <a:gd name="connsiteX5" fmla="*/ 62875 w 85159"/>
                  <a:gd name="connsiteY5" fmla="*/ 16682 h 125615"/>
                  <a:gd name="connsiteX6" fmla="*/ 25526 w 85159"/>
                  <a:gd name="connsiteY6" fmla="*/ 26019 h 125615"/>
                  <a:gd name="connsiteX7" fmla="*/ 16189 w 85159"/>
                  <a:gd name="connsiteY7" fmla="*/ 22907 h 125615"/>
                  <a:gd name="connsiteX8" fmla="*/ 19300 w 85159"/>
                  <a:gd name="connsiteY8" fmla="*/ 13570 h 125615"/>
                  <a:gd name="connsiteX9" fmla="*/ 69098 w 85159"/>
                  <a:gd name="connsiteY9" fmla="*/ 4232 h 125615"/>
                  <a:gd name="connsiteX10" fmla="*/ 78437 w 85159"/>
                  <a:gd name="connsiteY10" fmla="*/ 26019 h 125615"/>
                  <a:gd name="connsiteX11" fmla="*/ 75323 w 85159"/>
                  <a:gd name="connsiteY11" fmla="*/ 38469 h 125615"/>
                  <a:gd name="connsiteX12" fmla="*/ 75323 w 85159"/>
                  <a:gd name="connsiteY12" fmla="*/ 38469 h 125615"/>
                  <a:gd name="connsiteX13" fmla="*/ 84660 w 85159"/>
                  <a:gd name="connsiteY13" fmla="*/ 75817 h 125615"/>
                  <a:gd name="connsiteX14" fmla="*/ 53536 w 85159"/>
                  <a:gd name="connsiteY14" fmla="*/ 113166 h 125615"/>
                  <a:gd name="connsiteX15" fmla="*/ 25526 w 85159"/>
                  <a:gd name="connsiteY15" fmla="*/ 125616 h 125615"/>
                  <a:gd name="connsiteX16" fmla="*/ 16189 w 85159"/>
                  <a:gd name="connsiteY16" fmla="*/ 85155 h 125615"/>
                  <a:gd name="connsiteX17" fmla="*/ 13075 w 85159"/>
                  <a:gd name="connsiteY17" fmla="*/ 100716 h 125615"/>
                  <a:gd name="connsiteX18" fmla="*/ 19300 w 85159"/>
                  <a:gd name="connsiteY18" fmla="*/ 113166 h 125615"/>
                  <a:gd name="connsiteX19" fmla="*/ 50424 w 85159"/>
                  <a:gd name="connsiteY19" fmla="*/ 106941 h 125615"/>
                  <a:gd name="connsiteX20" fmla="*/ 75323 w 85159"/>
                  <a:gd name="connsiteY20" fmla="*/ 78930 h 125615"/>
                  <a:gd name="connsiteX21" fmla="*/ 72211 w 85159"/>
                  <a:gd name="connsiteY21" fmla="*/ 57143 h 125615"/>
                  <a:gd name="connsiteX22" fmla="*/ 16189 w 85159"/>
                  <a:gd name="connsiteY22" fmla="*/ 85155 h 125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85159" h="125615">
                    <a:moveTo>
                      <a:pt x="25526" y="125616"/>
                    </a:moveTo>
                    <a:cubicBezTo>
                      <a:pt x="19300" y="125616"/>
                      <a:pt x="16189" y="125616"/>
                      <a:pt x="13075" y="122503"/>
                    </a:cubicBezTo>
                    <a:cubicBezTo>
                      <a:pt x="6850" y="119391"/>
                      <a:pt x="3738" y="110054"/>
                      <a:pt x="627" y="100716"/>
                    </a:cubicBezTo>
                    <a:cubicBezTo>
                      <a:pt x="-2487" y="75817"/>
                      <a:pt x="6850" y="72705"/>
                      <a:pt x="9964" y="72705"/>
                    </a:cubicBezTo>
                    <a:cubicBezTo>
                      <a:pt x="62875" y="63368"/>
                      <a:pt x="62875" y="41581"/>
                      <a:pt x="65986" y="29131"/>
                    </a:cubicBezTo>
                    <a:cubicBezTo>
                      <a:pt x="65986" y="22907"/>
                      <a:pt x="65986" y="19794"/>
                      <a:pt x="62875" y="16682"/>
                    </a:cubicBezTo>
                    <a:cubicBezTo>
                      <a:pt x="53536" y="13570"/>
                      <a:pt x="34862" y="22907"/>
                      <a:pt x="25526" y="26019"/>
                    </a:cubicBezTo>
                    <a:cubicBezTo>
                      <a:pt x="22412" y="29131"/>
                      <a:pt x="19300" y="26019"/>
                      <a:pt x="16189" y="22907"/>
                    </a:cubicBezTo>
                    <a:cubicBezTo>
                      <a:pt x="13075" y="19794"/>
                      <a:pt x="16189" y="16682"/>
                      <a:pt x="19300" y="13570"/>
                    </a:cubicBezTo>
                    <a:cubicBezTo>
                      <a:pt x="22412" y="10457"/>
                      <a:pt x="53536" y="-8217"/>
                      <a:pt x="69098" y="4232"/>
                    </a:cubicBezTo>
                    <a:cubicBezTo>
                      <a:pt x="75323" y="7345"/>
                      <a:pt x="78437" y="16682"/>
                      <a:pt x="78437" y="26019"/>
                    </a:cubicBezTo>
                    <a:cubicBezTo>
                      <a:pt x="78437" y="32244"/>
                      <a:pt x="78437" y="35356"/>
                      <a:pt x="75323" y="38469"/>
                    </a:cubicBezTo>
                    <a:lnTo>
                      <a:pt x="75323" y="38469"/>
                    </a:lnTo>
                    <a:cubicBezTo>
                      <a:pt x="75323" y="38469"/>
                      <a:pt x="87773" y="54031"/>
                      <a:pt x="84660" y="75817"/>
                    </a:cubicBezTo>
                    <a:cubicBezTo>
                      <a:pt x="84660" y="97604"/>
                      <a:pt x="69098" y="106941"/>
                      <a:pt x="53536" y="113166"/>
                    </a:cubicBezTo>
                    <a:cubicBezTo>
                      <a:pt x="44199" y="122503"/>
                      <a:pt x="34862" y="125616"/>
                      <a:pt x="25526" y="125616"/>
                    </a:cubicBezTo>
                    <a:close/>
                    <a:moveTo>
                      <a:pt x="16189" y="85155"/>
                    </a:moveTo>
                    <a:cubicBezTo>
                      <a:pt x="16189" y="85155"/>
                      <a:pt x="13075" y="91379"/>
                      <a:pt x="13075" y="100716"/>
                    </a:cubicBezTo>
                    <a:cubicBezTo>
                      <a:pt x="13075" y="106941"/>
                      <a:pt x="16189" y="110054"/>
                      <a:pt x="19300" y="113166"/>
                    </a:cubicBezTo>
                    <a:cubicBezTo>
                      <a:pt x="22412" y="116278"/>
                      <a:pt x="31751" y="116278"/>
                      <a:pt x="50424" y="106941"/>
                    </a:cubicBezTo>
                    <a:cubicBezTo>
                      <a:pt x="69098" y="97604"/>
                      <a:pt x="75323" y="91379"/>
                      <a:pt x="75323" y="78930"/>
                    </a:cubicBezTo>
                    <a:cubicBezTo>
                      <a:pt x="75323" y="69593"/>
                      <a:pt x="72211" y="63368"/>
                      <a:pt x="72211" y="57143"/>
                    </a:cubicBezTo>
                    <a:cubicBezTo>
                      <a:pt x="62875" y="69593"/>
                      <a:pt x="47313" y="78930"/>
                      <a:pt x="16189" y="8515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5D694391-91B8-48B9-90E2-480CA90E2BA8}"/>
                  </a:ext>
                </a:extLst>
              </p:cNvPr>
              <p:cNvSpPr/>
              <p:nvPr/>
            </p:nvSpPr>
            <p:spPr>
              <a:xfrm>
                <a:off x="18798724" y="3242347"/>
                <a:ext cx="71750" cy="71585"/>
              </a:xfrm>
              <a:custGeom>
                <a:avLst/>
                <a:gdLst>
                  <a:gd name="connsiteX0" fmla="*/ 16851 w 71750"/>
                  <a:gd name="connsiteY0" fmla="*/ 71585 h 71585"/>
                  <a:gd name="connsiteX1" fmla="*/ 7514 w 71750"/>
                  <a:gd name="connsiteY1" fmla="*/ 71585 h 71585"/>
                  <a:gd name="connsiteX2" fmla="*/ 1289 w 71750"/>
                  <a:gd name="connsiteY2" fmla="*/ 65360 h 71585"/>
                  <a:gd name="connsiteX3" fmla="*/ 4402 w 71750"/>
                  <a:gd name="connsiteY3" fmla="*/ 28012 h 71585"/>
                  <a:gd name="connsiteX4" fmla="*/ 10628 w 71750"/>
                  <a:gd name="connsiteY4" fmla="*/ 24899 h 71585"/>
                  <a:gd name="connsiteX5" fmla="*/ 13739 w 71750"/>
                  <a:gd name="connsiteY5" fmla="*/ 31124 h 71585"/>
                  <a:gd name="connsiteX6" fmla="*/ 10628 w 71750"/>
                  <a:gd name="connsiteY6" fmla="*/ 62248 h 71585"/>
                  <a:gd name="connsiteX7" fmla="*/ 51088 w 71750"/>
                  <a:gd name="connsiteY7" fmla="*/ 46686 h 71585"/>
                  <a:gd name="connsiteX8" fmla="*/ 60425 w 71750"/>
                  <a:gd name="connsiteY8" fmla="*/ 6225 h 71585"/>
                  <a:gd name="connsiteX9" fmla="*/ 63537 w 71750"/>
                  <a:gd name="connsiteY9" fmla="*/ 0 h 71585"/>
                  <a:gd name="connsiteX10" fmla="*/ 69762 w 71750"/>
                  <a:gd name="connsiteY10" fmla="*/ 3112 h 71585"/>
                  <a:gd name="connsiteX11" fmla="*/ 57313 w 71750"/>
                  <a:gd name="connsiteY11" fmla="*/ 56023 h 71585"/>
                  <a:gd name="connsiteX12" fmla="*/ 16851 w 71750"/>
                  <a:gd name="connsiteY12" fmla="*/ 71585 h 71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750" h="71585">
                    <a:moveTo>
                      <a:pt x="16851" y="71585"/>
                    </a:moveTo>
                    <a:cubicBezTo>
                      <a:pt x="13739" y="71585"/>
                      <a:pt x="10628" y="71585"/>
                      <a:pt x="7514" y="71585"/>
                    </a:cubicBezTo>
                    <a:cubicBezTo>
                      <a:pt x="4402" y="71585"/>
                      <a:pt x="4402" y="68473"/>
                      <a:pt x="1289" y="65360"/>
                    </a:cubicBezTo>
                    <a:cubicBezTo>
                      <a:pt x="-1823" y="56023"/>
                      <a:pt x="1289" y="34236"/>
                      <a:pt x="4402" y="28012"/>
                    </a:cubicBezTo>
                    <a:cubicBezTo>
                      <a:pt x="4402" y="24899"/>
                      <a:pt x="10628" y="24899"/>
                      <a:pt x="10628" y="24899"/>
                    </a:cubicBezTo>
                    <a:cubicBezTo>
                      <a:pt x="13739" y="24899"/>
                      <a:pt x="13739" y="31124"/>
                      <a:pt x="13739" y="31124"/>
                    </a:cubicBezTo>
                    <a:cubicBezTo>
                      <a:pt x="10628" y="37349"/>
                      <a:pt x="10628" y="56023"/>
                      <a:pt x="10628" y="62248"/>
                    </a:cubicBezTo>
                    <a:cubicBezTo>
                      <a:pt x="13739" y="62248"/>
                      <a:pt x="32413" y="62248"/>
                      <a:pt x="51088" y="46686"/>
                    </a:cubicBezTo>
                    <a:cubicBezTo>
                      <a:pt x="66650" y="34236"/>
                      <a:pt x="60425" y="6225"/>
                      <a:pt x="60425" y="6225"/>
                    </a:cubicBezTo>
                    <a:cubicBezTo>
                      <a:pt x="60425" y="3112"/>
                      <a:pt x="60425" y="0"/>
                      <a:pt x="63537" y="0"/>
                    </a:cubicBezTo>
                    <a:cubicBezTo>
                      <a:pt x="66650" y="0"/>
                      <a:pt x="69762" y="0"/>
                      <a:pt x="69762" y="3112"/>
                    </a:cubicBezTo>
                    <a:cubicBezTo>
                      <a:pt x="69762" y="3112"/>
                      <a:pt x="79099" y="37349"/>
                      <a:pt x="57313" y="56023"/>
                    </a:cubicBezTo>
                    <a:cubicBezTo>
                      <a:pt x="47975" y="65360"/>
                      <a:pt x="29301" y="71585"/>
                      <a:pt x="16851" y="7158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80F64379-2ED8-4F76-9316-7D4FD1BE9E89}"/>
                </a:ext>
              </a:extLst>
            </p:cNvPr>
            <p:cNvGrpSpPr/>
            <p:nvPr/>
          </p:nvGrpSpPr>
          <p:grpSpPr>
            <a:xfrm>
              <a:off x="17716901" y="3126841"/>
              <a:ext cx="396563" cy="276681"/>
              <a:chOff x="17716901" y="3126841"/>
              <a:chExt cx="396563" cy="276681"/>
            </a:xfrm>
          </p:grpSpPr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A0F30B1F-91D1-47AC-9F06-899D6ED7377B}"/>
                  </a:ext>
                </a:extLst>
              </p:cNvPr>
              <p:cNvSpPr/>
              <p:nvPr/>
            </p:nvSpPr>
            <p:spPr>
              <a:xfrm>
                <a:off x="17716901" y="3133339"/>
                <a:ext cx="389125" cy="270183"/>
              </a:xfrm>
              <a:custGeom>
                <a:avLst/>
                <a:gdLst>
                  <a:gd name="connsiteX0" fmla="*/ 0 w 389125"/>
                  <a:gd name="connsiteY0" fmla="*/ 155693 h 270183"/>
                  <a:gd name="connsiteX1" fmla="*/ 121384 w 389125"/>
                  <a:gd name="connsiteY1" fmla="*/ 12523 h 270183"/>
                  <a:gd name="connsiteX2" fmla="*/ 370375 w 389125"/>
                  <a:gd name="connsiteY2" fmla="*/ 24973 h 270183"/>
                  <a:gd name="connsiteX3" fmla="*/ 298790 w 389125"/>
                  <a:gd name="connsiteY3" fmla="*/ 43647 h 270183"/>
                  <a:gd name="connsiteX4" fmla="*/ 389049 w 389125"/>
                  <a:gd name="connsiteY4" fmla="*/ 90333 h 270183"/>
                  <a:gd name="connsiteX5" fmla="*/ 354813 w 389125"/>
                  <a:gd name="connsiteY5" fmla="*/ 121457 h 270183"/>
                  <a:gd name="connsiteX6" fmla="*/ 317464 w 389125"/>
                  <a:gd name="connsiteY6" fmla="*/ 152581 h 270183"/>
                  <a:gd name="connsiteX7" fmla="*/ 320577 w 389125"/>
                  <a:gd name="connsiteY7" fmla="*/ 186817 h 270183"/>
                  <a:gd name="connsiteX8" fmla="*/ 196081 w 389125"/>
                  <a:gd name="connsiteY8" fmla="*/ 186817 h 270183"/>
                  <a:gd name="connsiteX9" fmla="*/ 133833 w 389125"/>
                  <a:gd name="connsiteY9" fmla="*/ 252178 h 270183"/>
                  <a:gd name="connsiteX10" fmla="*/ 34237 w 389125"/>
                  <a:gd name="connsiteY10" fmla="*/ 264627 h 270183"/>
                  <a:gd name="connsiteX11" fmla="*/ 0 w 389125"/>
                  <a:gd name="connsiteY11" fmla="*/ 155693 h 270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9125" h="270183">
                    <a:moveTo>
                      <a:pt x="0" y="155693"/>
                    </a:moveTo>
                    <a:cubicBezTo>
                      <a:pt x="0" y="155693"/>
                      <a:pt x="87148" y="28085"/>
                      <a:pt x="121384" y="12523"/>
                    </a:cubicBezTo>
                    <a:cubicBezTo>
                      <a:pt x="158732" y="-3038"/>
                      <a:pt x="367263" y="-9263"/>
                      <a:pt x="370375" y="24973"/>
                    </a:cubicBezTo>
                    <a:cubicBezTo>
                      <a:pt x="373487" y="59209"/>
                      <a:pt x="298790" y="43647"/>
                      <a:pt x="298790" y="43647"/>
                    </a:cubicBezTo>
                    <a:cubicBezTo>
                      <a:pt x="298790" y="43647"/>
                      <a:pt x="392162" y="62322"/>
                      <a:pt x="389049" y="90333"/>
                    </a:cubicBezTo>
                    <a:cubicBezTo>
                      <a:pt x="385937" y="118345"/>
                      <a:pt x="354813" y="121457"/>
                      <a:pt x="354813" y="121457"/>
                    </a:cubicBezTo>
                    <a:cubicBezTo>
                      <a:pt x="354813" y="121457"/>
                      <a:pt x="373487" y="155693"/>
                      <a:pt x="317464" y="152581"/>
                    </a:cubicBezTo>
                    <a:cubicBezTo>
                      <a:pt x="317464" y="152581"/>
                      <a:pt x="345476" y="180593"/>
                      <a:pt x="320577" y="186817"/>
                    </a:cubicBezTo>
                    <a:cubicBezTo>
                      <a:pt x="295677" y="189930"/>
                      <a:pt x="214756" y="174368"/>
                      <a:pt x="196081" y="186817"/>
                    </a:cubicBezTo>
                    <a:cubicBezTo>
                      <a:pt x="177407" y="196155"/>
                      <a:pt x="168070" y="233503"/>
                      <a:pt x="133833" y="252178"/>
                    </a:cubicBezTo>
                    <a:cubicBezTo>
                      <a:pt x="68473" y="283302"/>
                      <a:pt x="34237" y="264627"/>
                      <a:pt x="34237" y="264627"/>
                    </a:cubicBezTo>
                    <a:lnTo>
                      <a:pt x="0" y="155693"/>
                    </a:ln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09C88784-38D2-4FE0-B592-CBD3861E497A}"/>
                  </a:ext>
                </a:extLst>
              </p:cNvPr>
              <p:cNvSpPr/>
              <p:nvPr/>
            </p:nvSpPr>
            <p:spPr>
              <a:xfrm>
                <a:off x="17751138" y="3126841"/>
                <a:ext cx="348890" cy="112393"/>
              </a:xfrm>
              <a:custGeom>
                <a:avLst/>
                <a:gdLst>
                  <a:gd name="connsiteX0" fmla="*/ 6225 w 348890"/>
                  <a:gd name="connsiteY0" fmla="*/ 112394 h 112393"/>
                  <a:gd name="connsiteX1" fmla="*/ 6225 w 348890"/>
                  <a:gd name="connsiteY1" fmla="*/ 112394 h 112393"/>
                  <a:gd name="connsiteX2" fmla="*/ 0 w 348890"/>
                  <a:gd name="connsiteY2" fmla="*/ 103056 h 112393"/>
                  <a:gd name="connsiteX3" fmla="*/ 87148 w 348890"/>
                  <a:gd name="connsiteY3" fmla="*/ 12797 h 112393"/>
                  <a:gd name="connsiteX4" fmla="*/ 323689 w 348890"/>
                  <a:gd name="connsiteY4" fmla="*/ 9685 h 112393"/>
                  <a:gd name="connsiteX5" fmla="*/ 348588 w 348890"/>
                  <a:gd name="connsiteY5" fmla="*/ 31471 h 112393"/>
                  <a:gd name="connsiteX6" fmla="*/ 267666 w 348890"/>
                  <a:gd name="connsiteY6" fmla="*/ 53258 h 112393"/>
                  <a:gd name="connsiteX7" fmla="*/ 261441 w 348890"/>
                  <a:gd name="connsiteY7" fmla="*/ 47033 h 112393"/>
                  <a:gd name="connsiteX8" fmla="*/ 267666 w 348890"/>
                  <a:gd name="connsiteY8" fmla="*/ 40809 h 112393"/>
                  <a:gd name="connsiteX9" fmla="*/ 336139 w 348890"/>
                  <a:gd name="connsiteY9" fmla="*/ 28359 h 112393"/>
                  <a:gd name="connsiteX10" fmla="*/ 336139 w 348890"/>
                  <a:gd name="connsiteY10" fmla="*/ 28359 h 112393"/>
                  <a:gd name="connsiteX11" fmla="*/ 320577 w 348890"/>
                  <a:gd name="connsiteY11" fmla="*/ 19022 h 112393"/>
                  <a:gd name="connsiteX12" fmla="*/ 90259 w 348890"/>
                  <a:gd name="connsiteY12" fmla="*/ 22134 h 112393"/>
                  <a:gd name="connsiteX13" fmla="*/ 12449 w 348890"/>
                  <a:gd name="connsiteY13" fmla="*/ 106169 h 112393"/>
                  <a:gd name="connsiteX14" fmla="*/ 6225 w 348890"/>
                  <a:gd name="connsiteY14" fmla="*/ 112394 h 112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8890" h="112393">
                    <a:moveTo>
                      <a:pt x="6225" y="112394"/>
                    </a:moveTo>
                    <a:cubicBezTo>
                      <a:pt x="6225" y="112394"/>
                      <a:pt x="3113" y="112394"/>
                      <a:pt x="6225" y="112394"/>
                    </a:cubicBezTo>
                    <a:cubicBezTo>
                      <a:pt x="0" y="109281"/>
                      <a:pt x="0" y="106169"/>
                      <a:pt x="0" y="103056"/>
                    </a:cubicBezTo>
                    <a:cubicBezTo>
                      <a:pt x="0" y="99944"/>
                      <a:pt x="37349" y="22134"/>
                      <a:pt x="87148" y="12797"/>
                    </a:cubicBezTo>
                    <a:cubicBezTo>
                      <a:pt x="130721" y="3460"/>
                      <a:pt x="267666" y="-8990"/>
                      <a:pt x="323689" y="9685"/>
                    </a:cubicBezTo>
                    <a:cubicBezTo>
                      <a:pt x="329914" y="12797"/>
                      <a:pt x="351701" y="19022"/>
                      <a:pt x="348588" y="31471"/>
                    </a:cubicBezTo>
                    <a:cubicBezTo>
                      <a:pt x="345476" y="50146"/>
                      <a:pt x="292565" y="56370"/>
                      <a:pt x="267666" y="53258"/>
                    </a:cubicBezTo>
                    <a:cubicBezTo>
                      <a:pt x="264553" y="53258"/>
                      <a:pt x="261441" y="50146"/>
                      <a:pt x="261441" y="47033"/>
                    </a:cubicBezTo>
                    <a:cubicBezTo>
                      <a:pt x="261441" y="43921"/>
                      <a:pt x="264553" y="40809"/>
                      <a:pt x="267666" y="40809"/>
                    </a:cubicBezTo>
                    <a:cubicBezTo>
                      <a:pt x="298790" y="43921"/>
                      <a:pt x="333026" y="34584"/>
                      <a:pt x="336139" y="28359"/>
                    </a:cubicBezTo>
                    <a:lnTo>
                      <a:pt x="336139" y="28359"/>
                    </a:lnTo>
                    <a:cubicBezTo>
                      <a:pt x="336139" y="28359"/>
                      <a:pt x="336139" y="25247"/>
                      <a:pt x="320577" y="19022"/>
                    </a:cubicBezTo>
                    <a:cubicBezTo>
                      <a:pt x="267666" y="347"/>
                      <a:pt x="133833" y="12797"/>
                      <a:pt x="90259" y="22134"/>
                    </a:cubicBezTo>
                    <a:cubicBezTo>
                      <a:pt x="49798" y="31471"/>
                      <a:pt x="12449" y="106169"/>
                      <a:pt x="12449" y="106169"/>
                    </a:cubicBezTo>
                    <a:cubicBezTo>
                      <a:pt x="9338" y="109281"/>
                      <a:pt x="9338" y="112394"/>
                      <a:pt x="6225" y="11239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CCC1EBC9-BB43-49B0-AA1D-9739F3B8122A}"/>
                  </a:ext>
                </a:extLst>
              </p:cNvPr>
              <p:cNvSpPr/>
              <p:nvPr/>
            </p:nvSpPr>
            <p:spPr>
              <a:xfrm>
                <a:off x="17861801" y="3160042"/>
                <a:ext cx="46245" cy="100979"/>
              </a:xfrm>
              <a:custGeom>
                <a:avLst/>
                <a:gdLst>
                  <a:gd name="connsiteX0" fmla="*/ 41844 w 46245"/>
                  <a:gd name="connsiteY0" fmla="*/ 100980 h 100979"/>
                  <a:gd name="connsiteX1" fmla="*/ 35620 w 46245"/>
                  <a:gd name="connsiteY1" fmla="*/ 94755 h 100979"/>
                  <a:gd name="connsiteX2" fmla="*/ 1383 w 46245"/>
                  <a:gd name="connsiteY2" fmla="*/ 10720 h 100979"/>
                  <a:gd name="connsiteX3" fmla="*/ 1383 w 46245"/>
                  <a:gd name="connsiteY3" fmla="*/ 1383 h 100979"/>
                  <a:gd name="connsiteX4" fmla="*/ 10720 w 46245"/>
                  <a:gd name="connsiteY4" fmla="*/ 1383 h 100979"/>
                  <a:gd name="connsiteX5" fmla="*/ 44957 w 46245"/>
                  <a:gd name="connsiteY5" fmla="*/ 91643 h 100979"/>
                  <a:gd name="connsiteX6" fmla="*/ 41844 w 46245"/>
                  <a:gd name="connsiteY6" fmla="*/ 100980 h 100979"/>
                  <a:gd name="connsiteX7" fmla="*/ 41844 w 46245"/>
                  <a:gd name="connsiteY7" fmla="*/ 100980 h 100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245" h="100979">
                    <a:moveTo>
                      <a:pt x="41844" y="100980"/>
                    </a:moveTo>
                    <a:cubicBezTo>
                      <a:pt x="38732" y="100980"/>
                      <a:pt x="35620" y="97867"/>
                      <a:pt x="35620" y="94755"/>
                    </a:cubicBezTo>
                    <a:cubicBezTo>
                      <a:pt x="32507" y="54294"/>
                      <a:pt x="4496" y="10720"/>
                      <a:pt x="1383" y="10720"/>
                    </a:cubicBezTo>
                    <a:cubicBezTo>
                      <a:pt x="-1729" y="7608"/>
                      <a:pt x="1383" y="4496"/>
                      <a:pt x="1383" y="1383"/>
                    </a:cubicBezTo>
                    <a:cubicBezTo>
                      <a:pt x="4496" y="-1729"/>
                      <a:pt x="7609" y="1383"/>
                      <a:pt x="10720" y="1383"/>
                    </a:cubicBezTo>
                    <a:cubicBezTo>
                      <a:pt x="10720" y="4496"/>
                      <a:pt x="41844" y="44957"/>
                      <a:pt x="44957" y="91643"/>
                    </a:cubicBezTo>
                    <a:cubicBezTo>
                      <a:pt x="48069" y="97867"/>
                      <a:pt x="44957" y="100980"/>
                      <a:pt x="41844" y="100980"/>
                    </a:cubicBezTo>
                    <a:cubicBezTo>
                      <a:pt x="41844" y="100980"/>
                      <a:pt x="41844" y="100980"/>
                      <a:pt x="41844" y="10098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88FD64A8-17E4-43C7-A7E0-08CBEB348758}"/>
                  </a:ext>
                </a:extLst>
              </p:cNvPr>
              <p:cNvSpPr/>
              <p:nvPr/>
            </p:nvSpPr>
            <p:spPr>
              <a:xfrm>
                <a:off x="17884971" y="3167152"/>
                <a:ext cx="228493" cy="84532"/>
              </a:xfrm>
              <a:custGeom>
                <a:avLst/>
                <a:gdLst>
                  <a:gd name="connsiteX0" fmla="*/ 192968 w 228493"/>
                  <a:gd name="connsiteY0" fmla="*/ 84533 h 84532"/>
                  <a:gd name="connsiteX1" fmla="*/ 171182 w 228493"/>
                  <a:gd name="connsiteY1" fmla="*/ 78308 h 84532"/>
                  <a:gd name="connsiteX2" fmla="*/ 24899 w 228493"/>
                  <a:gd name="connsiteY2" fmla="*/ 53409 h 84532"/>
                  <a:gd name="connsiteX3" fmla="*/ 18674 w 228493"/>
                  <a:gd name="connsiteY3" fmla="*/ 47184 h 84532"/>
                  <a:gd name="connsiteX4" fmla="*/ 24899 w 228493"/>
                  <a:gd name="connsiteY4" fmla="*/ 40959 h 84532"/>
                  <a:gd name="connsiteX5" fmla="*/ 177406 w 228493"/>
                  <a:gd name="connsiteY5" fmla="*/ 65858 h 84532"/>
                  <a:gd name="connsiteX6" fmla="*/ 214755 w 228493"/>
                  <a:gd name="connsiteY6" fmla="*/ 62746 h 84532"/>
                  <a:gd name="connsiteX7" fmla="*/ 214755 w 228493"/>
                  <a:gd name="connsiteY7" fmla="*/ 53409 h 84532"/>
                  <a:gd name="connsiteX8" fmla="*/ 171182 w 228493"/>
                  <a:gd name="connsiteY8" fmla="*/ 22285 h 84532"/>
                  <a:gd name="connsiteX9" fmla="*/ 6224 w 228493"/>
                  <a:gd name="connsiteY9" fmla="*/ 19172 h 84532"/>
                  <a:gd name="connsiteX10" fmla="*/ 0 w 228493"/>
                  <a:gd name="connsiteY10" fmla="*/ 12948 h 84532"/>
                  <a:gd name="connsiteX11" fmla="*/ 6224 w 228493"/>
                  <a:gd name="connsiteY11" fmla="*/ 6723 h 84532"/>
                  <a:gd name="connsiteX12" fmla="*/ 177406 w 228493"/>
                  <a:gd name="connsiteY12" fmla="*/ 12948 h 84532"/>
                  <a:gd name="connsiteX13" fmla="*/ 227204 w 228493"/>
                  <a:gd name="connsiteY13" fmla="*/ 50296 h 84532"/>
                  <a:gd name="connsiteX14" fmla="*/ 224092 w 228493"/>
                  <a:gd name="connsiteY14" fmla="*/ 68971 h 84532"/>
                  <a:gd name="connsiteX15" fmla="*/ 192968 w 228493"/>
                  <a:gd name="connsiteY15" fmla="*/ 84533 h 84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28493" h="84532">
                    <a:moveTo>
                      <a:pt x="192968" y="84533"/>
                    </a:moveTo>
                    <a:cubicBezTo>
                      <a:pt x="186744" y="84533"/>
                      <a:pt x="180518" y="84533"/>
                      <a:pt x="171182" y="78308"/>
                    </a:cubicBezTo>
                    <a:cubicBezTo>
                      <a:pt x="152507" y="68971"/>
                      <a:pt x="90259" y="50296"/>
                      <a:pt x="24899" y="53409"/>
                    </a:cubicBezTo>
                    <a:cubicBezTo>
                      <a:pt x="21786" y="53409"/>
                      <a:pt x="18674" y="50296"/>
                      <a:pt x="18674" y="47184"/>
                    </a:cubicBezTo>
                    <a:cubicBezTo>
                      <a:pt x="18674" y="44071"/>
                      <a:pt x="21786" y="40959"/>
                      <a:pt x="24899" y="40959"/>
                    </a:cubicBezTo>
                    <a:cubicBezTo>
                      <a:pt x="90259" y="34734"/>
                      <a:pt x="152507" y="53409"/>
                      <a:pt x="177406" y="65858"/>
                    </a:cubicBezTo>
                    <a:cubicBezTo>
                      <a:pt x="196080" y="75195"/>
                      <a:pt x="211642" y="65858"/>
                      <a:pt x="214755" y="62746"/>
                    </a:cubicBezTo>
                    <a:cubicBezTo>
                      <a:pt x="214755" y="62746"/>
                      <a:pt x="217867" y="59633"/>
                      <a:pt x="214755" y="53409"/>
                    </a:cubicBezTo>
                    <a:cubicBezTo>
                      <a:pt x="214755" y="47184"/>
                      <a:pt x="205417" y="34734"/>
                      <a:pt x="171182" y="22285"/>
                    </a:cubicBezTo>
                    <a:cubicBezTo>
                      <a:pt x="121383" y="498"/>
                      <a:pt x="6224" y="19172"/>
                      <a:pt x="6224" y="19172"/>
                    </a:cubicBezTo>
                    <a:cubicBezTo>
                      <a:pt x="3112" y="19172"/>
                      <a:pt x="0" y="16060"/>
                      <a:pt x="0" y="12948"/>
                    </a:cubicBezTo>
                    <a:cubicBezTo>
                      <a:pt x="0" y="9835"/>
                      <a:pt x="3112" y="6723"/>
                      <a:pt x="6224" y="6723"/>
                    </a:cubicBezTo>
                    <a:cubicBezTo>
                      <a:pt x="12449" y="6723"/>
                      <a:pt x="124496" y="-11952"/>
                      <a:pt x="177406" y="12948"/>
                    </a:cubicBezTo>
                    <a:cubicBezTo>
                      <a:pt x="205417" y="25397"/>
                      <a:pt x="220979" y="37847"/>
                      <a:pt x="227204" y="50296"/>
                    </a:cubicBezTo>
                    <a:cubicBezTo>
                      <a:pt x="230317" y="56521"/>
                      <a:pt x="227204" y="62746"/>
                      <a:pt x="224092" y="68971"/>
                    </a:cubicBezTo>
                    <a:cubicBezTo>
                      <a:pt x="217867" y="78308"/>
                      <a:pt x="208530" y="84533"/>
                      <a:pt x="192968" y="8453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496EF765-CDDB-47AA-8D26-B26C987A0264}"/>
                  </a:ext>
                </a:extLst>
              </p:cNvPr>
              <p:cNvSpPr/>
              <p:nvPr/>
            </p:nvSpPr>
            <p:spPr>
              <a:xfrm>
                <a:off x="17910648" y="3254797"/>
                <a:ext cx="152332" cy="68472"/>
              </a:xfrm>
              <a:custGeom>
                <a:avLst/>
                <a:gdLst>
                  <a:gd name="connsiteX0" fmla="*/ 129943 w 152332"/>
                  <a:gd name="connsiteY0" fmla="*/ 68473 h 68472"/>
                  <a:gd name="connsiteX1" fmla="*/ 98819 w 152332"/>
                  <a:gd name="connsiteY1" fmla="*/ 65360 h 68472"/>
                  <a:gd name="connsiteX2" fmla="*/ 11671 w 152332"/>
                  <a:gd name="connsiteY2" fmla="*/ 65360 h 68472"/>
                  <a:gd name="connsiteX3" fmla="*/ 2334 w 152332"/>
                  <a:gd name="connsiteY3" fmla="*/ 65360 h 68472"/>
                  <a:gd name="connsiteX4" fmla="*/ 2334 w 152332"/>
                  <a:gd name="connsiteY4" fmla="*/ 56023 h 68472"/>
                  <a:gd name="connsiteX5" fmla="*/ 101930 w 152332"/>
                  <a:gd name="connsiteY5" fmla="*/ 52911 h 68472"/>
                  <a:gd name="connsiteX6" fmla="*/ 133054 w 152332"/>
                  <a:gd name="connsiteY6" fmla="*/ 56023 h 68472"/>
                  <a:gd name="connsiteX7" fmla="*/ 142392 w 152332"/>
                  <a:gd name="connsiteY7" fmla="*/ 52911 h 68472"/>
                  <a:gd name="connsiteX8" fmla="*/ 126830 w 152332"/>
                  <a:gd name="connsiteY8" fmla="*/ 34236 h 68472"/>
                  <a:gd name="connsiteX9" fmla="*/ 24121 w 152332"/>
                  <a:gd name="connsiteY9" fmla="*/ 12450 h 68472"/>
                  <a:gd name="connsiteX10" fmla="*/ 17896 w 152332"/>
                  <a:gd name="connsiteY10" fmla="*/ 6225 h 68472"/>
                  <a:gd name="connsiteX11" fmla="*/ 24121 w 152332"/>
                  <a:gd name="connsiteY11" fmla="*/ 0 h 68472"/>
                  <a:gd name="connsiteX12" fmla="*/ 133054 w 152332"/>
                  <a:gd name="connsiteY12" fmla="*/ 24899 h 68472"/>
                  <a:gd name="connsiteX13" fmla="*/ 151729 w 152332"/>
                  <a:gd name="connsiteY13" fmla="*/ 56023 h 68472"/>
                  <a:gd name="connsiteX14" fmla="*/ 129943 w 152332"/>
                  <a:gd name="connsiteY14" fmla="*/ 68473 h 68472"/>
                  <a:gd name="connsiteX15" fmla="*/ 129943 w 152332"/>
                  <a:gd name="connsiteY15" fmla="*/ 68473 h 68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2332" h="68472">
                    <a:moveTo>
                      <a:pt x="129943" y="68473"/>
                    </a:moveTo>
                    <a:cubicBezTo>
                      <a:pt x="123718" y="68473"/>
                      <a:pt x="111268" y="68473"/>
                      <a:pt x="98819" y="65360"/>
                    </a:cubicBezTo>
                    <a:cubicBezTo>
                      <a:pt x="70806" y="62248"/>
                      <a:pt x="21009" y="56023"/>
                      <a:pt x="11671" y="65360"/>
                    </a:cubicBezTo>
                    <a:cubicBezTo>
                      <a:pt x="8559" y="68473"/>
                      <a:pt x="5447" y="68473"/>
                      <a:pt x="2334" y="65360"/>
                    </a:cubicBezTo>
                    <a:cubicBezTo>
                      <a:pt x="-778" y="62248"/>
                      <a:pt x="-778" y="59135"/>
                      <a:pt x="2334" y="56023"/>
                    </a:cubicBezTo>
                    <a:cubicBezTo>
                      <a:pt x="14784" y="43574"/>
                      <a:pt x="52133" y="46686"/>
                      <a:pt x="101930" y="52911"/>
                    </a:cubicBezTo>
                    <a:cubicBezTo>
                      <a:pt x="114381" y="56023"/>
                      <a:pt x="126830" y="56023"/>
                      <a:pt x="133054" y="56023"/>
                    </a:cubicBezTo>
                    <a:cubicBezTo>
                      <a:pt x="139279" y="56023"/>
                      <a:pt x="142392" y="56023"/>
                      <a:pt x="142392" y="52911"/>
                    </a:cubicBezTo>
                    <a:cubicBezTo>
                      <a:pt x="142392" y="49798"/>
                      <a:pt x="139279" y="40461"/>
                      <a:pt x="126830" y="34236"/>
                    </a:cubicBezTo>
                    <a:cubicBezTo>
                      <a:pt x="111268" y="24899"/>
                      <a:pt x="45908" y="15562"/>
                      <a:pt x="24121" y="12450"/>
                    </a:cubicBezTo>
                    <a:cubicBezTo>
                      <a:pt x="21009" y="12450"/>
                      <a:pt x="17896" y="9337"/>
                      <a:pt x="17896" y="6225"/>
                    </a:cubicBezTo>
                    <a:cubicBezTo>
                      <a:pt x="17896" y="3112"/>
                      <a:pt x="21009" y="0"/>
                      <a:pt x="24121" y="0"/>
                    </a:cubicBezTo>
                    <a:cubicBezTo>
                      <a:pt x="33458" y="0"/>
                      <a:pt x="114381" y="9337"/>
                      <a:pt x="133054" y="24899"/>
                    </a:cubicBezTo>
                    <a:cubicBezTo>
                      <a:pt x="145505" y="34236"/>
                      <a:pt x="154841" y="46686"/>
                      <a:pt x="151729" y="56023"/>
                    </a:cubicBezTo>
                    <a:cubicBezTo>
                      <a:pt x="148616" y="62248"/>
                      <a:pt x="145505" y="68473"/>
                      <a:pt x="129943" y="68473"/>
                    </a:cubicBezTo>
                    <a:cubicBezTo>
                      <a:pt x="129943" y="68473"/>
                      <a:pt x="129943" y="68473"/>
                      <a:pt x="129943" y="6847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76" name="图形 1">
            <a:extLst>
              <a:ext uri="{FF2B5EF4-FFF2-40B4-BE49-F238E27FC236}">
                <a16:creationId xmlns:a16="http://schemas.microsoft.com/office/drawing/2014/main" id="{21263E8A-7636-45C6-B8B9-FC19BCD09F54}"/>
              </a:ext>
            </a:extLst>
          </p:cNvPr>
          <p:cNvGrpSpPr/>
          <p:nvPr/>
        </p:nvGrpSpPr>
        <p:grpSpPr>
          <a:xfrm>
            <a:off x="6061991" y="2553531"/>
            <a:ext cx="3879565" cy="4118672"/>
            <a:chOff x="2601852" y="2553531"/>
            <a:chExt cx="3879565" cy="4118672"/>
          </a:xfrm>
        </p:grpSpPr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A55C3B96-9FAD-4FA0-9A58-A16FBB168026}"/>
                </a:ext>
              </a:extLst>
            </p:cNvPr>
            <p:cNvSpPr/>
            <p:nvPr/>
          </p:nvSpPr>
          <p:spPr>
            <a:xfrm>
              <a:off x="3379235" y="2907454"/>
              <a:ext cx="1036846" cy="321197"/>
            </a:xfrm>
            <a:custGeom>
              <a:avLst/>
              <a:gdLst>
                <a:gd name="connsiteX0" fmla="*/ 1990 w 1036846"/>
                <a:gd name="connsiteY0" fmla="*/ 244633 h 321197"/>
                <a:gd name="connsiteX1" fmla="*/ 562221 w 1036846"/>
                <a:gd name="connsiteY1" fmla="*/ 297544 h 321197"/>
                <a:gd name="connsiteX2" fmla="*/ 1035304 w 1036846"/>
                <a:gd name="connsiteY2" fmla="*/ 76564 h 321197"/>
                <a:gd name="connsiteX3" fmla="*/ 475074 w 1036846"/>
                <a:gd name="connsiteY3" fmla="*/ 23653 h 321197"/>
                <a:gd name="connsiteX4" fmla="*/ 1990 w 1036846"/>
                <a:gd name="connsiteY4" fmla="*/ 244633 h 32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6846" h="321197">
                  <a:moveTo>
                    <a:pt x="1990" y="244633"/>
                  </a:moveTo>
                  <a:cubicBezTo>
                    <a:pt x="26889" y="319331"/>
                    <a:pt x="275880" y="344230"/>
                    <a:pt x="562221" y="297544"/>
                  </a:cubicBezTo>
                  <a:cubicBezTo>
                    <a:pt x="845448" y="250858"/>
                    <a:pt x="1057091" y="151262"/>
                    <a:pt x="1035304" y="76564"/>
                  </a:cubicBezTo>
                  <a:cubicBezTo>
                    <a:pt x="1010405" y="1867"/>
                    <a:pt x="761414" y="-23032"/>
                    <a:pt x="475074" y="23653"/>
                  </a:cubicBezTo>
                  <a:cubicBezTo>
                    <a:pt x="188733" y="67227"/>
                    <a:pt x="-22909" y="166824"/>
                    <a:pt x="1990" y="244633"/>
                  </a:cubicBezTo>
                  <a:close/>
                </a:path>
              </a:pathLst>
            </a:custGeom>
            <a:solidFill>
              <a:srgbClr val="F1DDBA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F4352EC7-AD8C-435F-B422-C3790287445D}"/>
                </a:ext>
              </a:extLst>
            </p:cNvPr>
            <p:cNvSpPr/>
            <p:nvPr/>
          </p:nvSpPr>
          <p:spPr>
            <a:xfrm>
              <a:off x="4167034" y="3925489"/>
              <a:ext cx="645890" cy="951683"/>
            </a:xfrm>
            <a:custGeom>
              <a:avLst/>
              <a:gdLst>
                <a:gd name="connsiteX0" fmla="*/ 1626 w 645890"/>
                <a:gd name="connsiteY0" fmla="*/ 259913 h 951683"/>
                <a:gd name="connsiteX1" fmla="*/ 154133 w 645890"/>
                <a:gd name="connsiteY1" fmla="*/ 7810 h 951683"/>
                <a:gd name="connsiteX2" fmla="*/ 319089 w 645890"/>
                <a:gd name="connsiteY2" fmla="*/ 356397 h 951683"/>
                <a:gd name="connsiteX3" fmla="*/ 347101 w 645890"/>
                <a:gd name="connsiteY3" fmla="*/ 636513 h 951683"/>
                <a:gd name="connsiteX4" fmla="*/ 540069 w 645890"/>
                <a:gd name="connsiteY4" fmla="*/ 359510 h 951683"/>
                <a:gd name="connsiteX5" fmla="*/ 645891 w 645890"/>
                <a:gd name="connsiteY5" fmla="*/ 449769 h 951683"/>
                <a:gd name="connsiteX6" fmla="*/ 216381 w 645890"/>
                <a:gd name="connsiteY6" fmla="*/ 938415 h 951683"/>
                <a:gd name="connsiteX7" fmla="*/ 1626 w 645890"/>
                <a:gd name="connsiteY7" fmla="*/ 259913 h 951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5890" h="951683">
                  <a:moveTo>
                    <a:pt x="1626" y="259913"/>
                  </a:moveTo>
                  <a:cubicBezTo>
                    <a:pt x="-13936" y="110518"/>
                    <a:pt x="85660" y="-35764"/>
                    <a:pt x="154133" y="7810"/>
                  </a:cubicBezTo>
                  <a:cubicBezTo>
                    <a:pt x="235055" y="57608"/>
                    <a:pt x="309752" y="178991"/>
                    <a:pt x="319089" y="356397"/>
                  </a:cubicBezTo>
                  <a:cubicBezTo>
                    <a:pt x="325314" y="459106"/>
                    <a:pt x="331539" y="636513"/>
                    <a:pt x="347101" y="636513"/>
                  </a:cubicBezTo>
                  <a:cubicBezTo>
                    <a:pt x="353326" y="639625"/>
                    <a:pt x="540069" y="359510"/>
                    <a:pt x="540069" y="359510"/>
                  </a:cubicBezTo>
                  <a:cubicBezTo>
                    <a:pt x="524507" y="418645"/>
                    <a:pt x="645891" y="449769"/>
                    <a:pt x="645891" y="449769"/>
                  </a:cubicBezTo>
                  <a:cubicBezTo>
                    <a:pt x="645891" y="449769"/>
                    <a:pt x="390675" y="1047348"/>
                    <a:pt x="216381" y="938415"/>
                  </a:cubicBezTo>
                  <a:cubicBezTo>
                    <a:pt x="129234" y="882392"/>
                    <a:pt x="20300" y="446657"/>
                    <a:pt x="1626" y="259913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CDD9005D-2BE8-4E58-8E98-55EB37B2D1F3}"/>
                </a:ext>
              </a:extLst>
            </p:cNvPr>
            <p:cNvSpPr/>
            <p:nvPr/>
          </p:nvSpPr>
          <p:spPr>
            <a:xfrm>
              <a:off x="4477565" y="4556555"/>
              <a:ext cx="48242" cy="58357"/>
            </a:xfrm>
            <a:custGeom>
              <a:avLst/>
              <a:gdLst>
                <a:gd name="connsiteX0" fmla="*/ 5447 w 48242"/>
                <a:gd name="connsiteY0" fmla="*/ 58357 h 58357"/>
                <a:gd name="connsiteX1" fmla="*/ 2334 w 48242"/>
                <a:gd name="connsiteY1" fmla="*/ 58357 h 58357"/>
                <a:gd name="connsiteX2" fmla="*/ 2334 w 48242"/>
                <a:gd name="connsiteY2" fmla="*/ 49020 h 58357"/>
                <a:gd name="connsiteX3" fmla="*/ 36571 w 48242"/>
                <a:gd name="connsiteY3" fmla="*/ 2334 h 58357"/>
                <a:gd name="connsiteX4" fmla="*/ 45908 w 48242"/>
                <a:gd name="connsiteY4" fmla="*/ 2334 h 58357"/>
                <a:gd name="connsiteX5" fmla="*/ 45908 w 48242"/>
                <a:gd name="connsiteY5" fmla="*/ 11671 h 58357"/>
                <a:gd name="connsiteX6" fmla="*/ 11672 w 48242"/>
                <a:gd name="connsiteY6" fmla="*/ 58357 h 58357"/>
                <a:gd name="connsiteX7" fmla="*/ 5447 w 48242"/>
                <a:gd name="connsiteY7" fmla="*/ 58357 h 5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242" h="58357">
                  <a:moveTo>
                    <a:pt x="5447" y="58357"/>
                  </a:moveTo>
                  <a:cubicBezTo>
                    <a:pt x="5447" y="58357"/>
                    <a:pt x="2334" y="58357"/>
                    <a:pt x="2334" y="58357"/>
                  </a:cubicBezTo>
                  <a:cubicBezTo>
                    <a:pt x="-778" y="55245"/>
                    <a:pt x="-778" y="52132"/>
                    <a:pt x="2334" y="49020"/>
                  </a:cubicBezTo>
                  <a:lnTo>
                    <a:pt x="36571" y="2334"/>
                  </a:lnTo>
                  <a:cubicBezTo>
                    <a:pt x="39683" y="-778"/>
                    <a:pt x="42795" y="-778"/>
                    <a:pt x="45908" y="2334"/>
                  </a:cubicBezTo>
                  <a:cubicBezTo>
                    <a:pt x="49020" y="5447"/>
                    <a:pt x="49020" y="8559"/>
                    <a:pt x="45908" y="11671"/>
                  </a:cubicBezTo>
                  <a:lnTo>
                    <a:pt x="11672" y="58357"/>
                  </a:lnTo>
                  <a:cubicBezTo>
                    <a:pt x="8559" y="58357"/>
                    <a:pt x="5447" y="58357"/>
                    <a:pt x="5447" y="58357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0" name="图形 1">
              <a:extLst>
                <a:ext uri="{FF2B5EF4-FFF2-40B4-BE49-F238E27FC236}">
                  <a16:creationId xmlns:a16="http://schemas.microsoft.com/office/drawing/2014/main" id="{82F8E531-AA9F-46C2-910F-13FC1BA57BB1}"/>
                </a:ext>
              </a:extLst>
            </p:cNvPr>
            <p:cNvGrpSpPr/>
            <p:nvPr/>
          </p:nvGrpSpPr>
          <p:grpSpPr>
            <a:xfrm>
              <a:off x="2601852" y="5200042"/>
              <a:ext cx="1752578" cy="1472161"/>
              <a:chOff x="2601852" y="5200042"/>
              <a:chExt cx="1752578" cy="1472161"/>
            </a:xfrm>
          </p:grpSpPr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77498786-AD28-47B8-865C-F6D06CB557CC}"/>
                  </a:ext>
                </a:extLst>
              </p:cNvPr>
              <p:cNvSpPr/>
              <p:nvPr/>
            </p:nvSpPr>
            <p:spPr>
              <a:xfrm>
                <a:off x="2755044" y="5255475"/>
                <a:ext cx="352879" cy="1416728"/>
              </a:xfrm>
              <a:custGeom>
                <a:avLst/>
                <a:gdLst>
                  <a:gd name="connsiteX0" fmla="*/ 321166 w 352879"/>
                  <a:gd name="connsiteY0" fmla="*/ 1416728 h 1416728"/>
                  <a:gd name="connsiteX1" fmla="*/ 327391 w 352879"/>
                  <a:gd name="connsiteY1" fmla="*/ 1416728 h 1416728"/>
                  <a:gd name="connsiteX2" fmla="*/ 352290 w 352879"/>
                  <a:gd name="connsiteY2" fmla="*/ 1376267 h 1416728"/>
                  <a:gd name="connsiteX3" fmla="*/ 65950 w 352879"/>
                  <a:gd name="connsiteY3" fmla="*/ 25489 h 1416728"/>
                  <a:gd name="connsiteX4" fmla="*/ 25489 w 352879"/>
                  <a:gd name="connsiteY4" fmla="*/ 590 h 1416728"/>
                  <a:gd name="connsiteX5" fmla="*/ 590 w 352879"/>
                  <a:gd name="connsiteY5" fmla="*/ 41051 h 1416728"/>
                  <a:gd name="connsiteX6" fmla="*/ 286930 w 352879"/>
                  <a:gd name="connsiteY6" fmla="*/ 1391829 h 1416728"/>
                  <a:gd name="connsiteX7" fmla="*/ 321166 w 352879"/>
                  <a:gd name="connsiteY7" fmla="*/ 1416728 h 1416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879" h="1416728">
                    <a:moveTo>
                      <a:pt x="321166" y="1416728"/>
                    </a:moveTo>
                    <a:cubicBezTo>
                      <a:pt x="324279" y="1416728"/>
                      <a:pt x="327391" y="1416728"/>
                      <a:pt x="327391" y="1416728"/>
                    </a:cubicBezTo>
                    <a:cubicBezTo>
                      <a:pt x="346065" y="1413616"/>
                      <a:pt x="355402" y="1394942"/>
                      <a:pt x="352290" y="1376267"/>
                    </a:cubicBezTo>
                    <a:lnTo>
                      <a:pt x="65950" y="25489"/>
                    </a:lnTo>
                    <a:cubicBezTo>
                      <a:pt x="62838" y="6815"/>
                      <a:pt x="44163" y="-2523"/>
                      <a:pt x="25489" y="590"/>
                    </a:cubicBezTo>
                    <a:cubicBezTo>
                      <a:pt x="6815" y="3702"/>
                      <a:pt x="-2523" y="22377"/>
                      <a:pt x="590" y="41051"/>
                    </a:cubicBezTo>
                    <a:lnTo>
                      <a:pt x="286930" y="1391829"/>
                    </a:lnTo>
                    <a:cubicBezTo>
                      <a:pt x="293155" y="1404278"/>
                      <a:pt x="305604" y="1416728"/>
                      <a:pt x="321166" y="1416728"/>
                    </a:cubicBez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A8DE1754-FCE2-48A0-BE3E-D429AA40E6E2}"/>
                  </a:ext>
                </a:extLst>
              </p:cNvPr>
              <p:cNvSpPr/>
              <p:nvPr/>
            </p:nvSpPr>
            <p:spPr>
              <a:xfrm>
                <a:off x="2601852" y="5463320"/>
                <a:ext cx="637477" cy="1106173"/>
              </a:xfrm>
              <a:custGeom>
                <a:avLst/>
                <a:gdLst>
                  <a:gd name="connsiteX0" fmla="*/ 32399 w 637477"/>
                  <a:gd name="connsiteY0" fmla="*/ 1106174 h 1106173"/>
                  <a:gd name="connsiteX1" fmla="*/ 60410 w 637477"/>
                  <a:gd name="connsiteY1" fmla="*/ 1090612 h 1106173"/>
                  <a:gd name="connsiteX2" fmla="*/ 633090 w 637477"/>
                  <a:gd name="connsiteY2" fmla="*/ 51073 h 1106173"/>
                  <a:gd name="connsiteX3" fmla="*/ 620641 w 637477"/>
                  <a:gd name="connsiteY3" fmla="*/ 4387 h 1106173"/>
                  <a:gd name="connsiteX4" fmla="*/ 573955 w 637477"/>
                  <a:gd name="connsiteY4" fmla="*/ 16837 h 1106173"/>
                  <a:gd name="connsiteX5" fmla="*/ 4387 w 637477"/>
                  <a:gd name="connsiteY5" fmla="*/ 1056375 h 1106173"/>
                  <a:gd name="connsiteX6" fmla="*/ 16837 w 637477"/>
                  <a:gd name="connsiteY6" fmla="*/ 1103061 h 1106173"/>
                  <a:gd name="connsiteX7" fmla="*/ 32399 w 637477"/>
                  <a:gd name="connsiteY7" fmla="*/ 1106174 h 1106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37477" h="1106173">
                    <a:moveTo>
                      <a:pt x="32399" y="1106174"/>
                    </a:moveTo>
                    <a:cubicBezTo>
                      <a:pt x="44848" y="1106174"/>
                      <a:pt x="54185" y="1099949"/>
                      <a:pt x="60410" y="1090612"/>
                    </a:cubicBezTo>
                    <a:lnTo>
                      <a:pt x="633090" y="51073"/>
                    </a:lnTo>
                    <a:cubicBezTo>
                      <a:pt x="642427" y="35511"/>
                      <a:pt x="636203" y="13724"/>
                      <a:pt x="620641" y="4387"/>
                    </a:cubicBezTo>
                    <a:cubicBezTo>
                      <a:pt x="605079" y="-4950"/>
                      <a:pt x="583292" y="1275"/>
                      <a:pt x="573955" y="16837"/>
                    </a:cubicBezTo>
                    <a:lnTo>
                      <a:pt x="4387" y="1056375"/>
                    </a:lnTo>
                    <a:cubicBezTo>
                      <a:pt x="-4950" y="1071937"/>
                      <a:pt x="1275" y="1093724"/>
                      <a:pt x="16837" y="1103061"/>
                    </a:cubicBezTo>
                    <a:cubicBezTo>
                      <a:pt x="19949" y="1106174"/>
                      <a:pt x="26174" y="1106174"/>
                      <a:pt x="32399" y="1106174"/>
                    </a:cubicBez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9789652F-B836-4EB8-A8B0-4A18518A20B3}"/>
                  </a:ext>
                </a:extLst>
              </p:cNvPr>
              <p:cNvSpPr/>
              <p:nvPr/>
            </p:nvSpPr>
            <p:spPr>
              <a:xfrm>
                <a:off x="3444445" y="5216576"/>
                <a:ext cx="909985" cy="1380929"/>
              </a:xfrm>
              <a:custGeom>
                <a:avLst/>
                <a:gdLst>
                  <a:gd name="connsiteX0" fmla="*/ 876722 w 909985"/>
                  <a:gd name="connsiteY0" fmla="*/ 1380929 h 1380929"/>
                  <a:gd name="connsiteX1" fmla="*/ 895396 w 909985"/>
                  <a:gd name="connsiteY1" fmla="*/ 1374705 h 1380929"/>
                  <a:gd name="connsiteX2" fmla="*/ 904734 w 909985"/>
                  <a:gd name="connsiteY2" fmla="*/ 1328019 h 1380929"/>
                  <a:gd name="connsiteX3" fmla="*/ 61275 w 909985"/>
                  <a:gd name="connsiteY3" fmla="*/ 14589 h 1380929"/>
                  <a:gd name="connsiteX4" fmla="*/ 14589 w 909985"/>
                  <a:gd name="connsiteY4" fmla="*/ 5252 h 1380929"/>
                  <a:gd name="connsiteX5" fmla="*/ 5252 w 909985"/>
                  <a:gd name="connsiteY5" fmla="*/ 51938 h 1380929"/>
                  <a:gd name="connsiteX6" fmla="*/ 848710 w 909985"/>
                  <a:gd name="connsiteY6" fmla="*/ 1365367 h 1380929"/>
                  <a:gd name="connsiteX7" fmla="*/ 876722 w 909985"/>
                  <a:gd name="connsiteY7" fmla="*/ 1380929 h 1380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9985" h="1380929">
                    <a:moveTo>
                      <a:pt x="876722" y="1380929"/>
                    </a:moveTo>
                    <a:cubicBezTo>
                      <a:pt x="882947" y="1380929"/>
                      <a:pt x="889171" y="1377817"/>
                      <a:pt x="895396" y="1374705"/>
                    </a:cubicBezTo>
                    <a:cubicBezTo>
                      <a:pt x="910958" y="1365367"/>
                      <a:pt x="914071" y="1343581"/>
                      <a:pt x="904734" y="1328019"/>
                    </a:cubicBezTo>
                    <a:lnTo>
                      <a:pt x="61275" y="14589"/>
                    </a:lnTo>
                    <a:cubicBezTo>
                      <a:pt x="51938" y="-973"/>
                      <a:pt x="30151" y="-4085"/>
                      <a:pt x="14589" y="5252"/>
                    </a:cubicBezTo>
                    <a:cubicBezTo>
                      <a:pt x="-973" y="14589"/>
                      <a:pt x="-4085" y="36376"/>
                      <a:pt x="5252" y="51938"/>
                    </a:cubicBezTo>
                    <a:lnTo>
                      <a:pt x="848710" y="1365367"/>
                    </a:lnTo>
                    <a:cubicBezTo>
                      <a:pt x="854935" y="1377817"/>
                      <a:pt x="864272" y="1380929"/>
                      <a:pt x="876722" y="1380929"/>
                    </a:cubicBez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2F2AAAFA-312D-46D0-B437-31E6AE5B1893}"/>
                  </a:ext>
                </a:extLst>
              </p:cNvPr>
              <p:cNvSpPr/>
              <p:nvPr/>
            </p:nvSpPr>
            <p:spPr>
              <a:xfrm>
                <a:off x="3596952" y="5462455"/>
                <a:ext cx="710792" cy="1107038"/>
              </a:xfrm>
              <a:custGeom>
                <a:avLst/>
                <a:gdLst>
                  <a:gd name="connsiteX0" fmla="*/ 33264 w 710792"/>
                  <a:gd name="connsiteY0" fmla="*/ 1107039 h 1107038"/>
                  <a:gd name="connsiteX1" fmla="*/ 61275 w 710792"/>
                  <a:gd name="connsiteY1" fmla="*/ 1091477 h 1107038"/>
                  <a:gd name="connsiteX2" fmla="*/ 705540 w 710792"/>
                  <a:gd name="connsiteY2" fmla="*/ 51938 h 1107038"/>
                  <a:gd name="connsiteX3" fmla="*/ 696203 w 710792"/>
                  <a:gd name="connsiteY3" fmla="*/ 5252 h 1107038"/>
                  <a:gd name="connsiteX4" fmla="*/ 649517 w 710792"/>
                  <a:gd name="connsiteY4" fmla="*/ 14589 h 1107038"/>
                  <a:gd name="connsiteX5" fmla="*/ 5252 w 710792"/>
                  <a:gd name="connsiteY5" fmla="*/ 1054128 h 1107038"/>
                  <a:gd name="connsiteX6" fmla="*/ 14589 w 710792"/>
                  <a:gd name="connsiteY6" fmla="*/ 1100814 h 1107038"/>
                  <a:gd name="connsiteX7" fmla="*/ 33264 w 710792"/>
                  <a:gd name="connsiteY7" fmla="*/ 1107039 h 1107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0792" h="1107038">
                    <a:moveTo>
                      <a:pt x="33264" y="1107039"/>
                    </a:moveTo>
                    <a:cubicBezTo>
                      <a:pt x="42601" y="1107039"/>
                      <a:pt x="55051" y="1100814"/>
                      <a:pt x="61275" y="1091477"/>
                    </a:cubicBezTo>
                    <a:lnTo>
                      <a:pt x="705540" y="51938"/>
                    </a:lnTo>
                    <a:cubicBezTo>
                      <a:pt x="714878" y="36376"/>
                      <a:pt x="711765" y="17702"/>
                      <a:pt x="696203" y="5252"/>
                    </a:cubicBezTo>
                    <a:cubicBezTo>
                      <a:pt x="680641" y="-4085"/>
                      <a:pt x="661967" y="-973"/>
                      <a:pt x="649517" y="14589"/>
                    </a:cubicBezTo>
                    <a:lnTo>
                      <a:pt x="5252" y="1054128"/>
                    </a:lnTo>
                    <a:cubicBezTo>
                      <a:pt x="-4085" y="1069690"/>
                      <a:pt x="-973" y="1088364"/>
                      <a:pt x="14589" y="1100814"/>
                    </a:cubicBezTo>
                    <a:cubicBezTo>
                      <a:pt x="20814" y="1103926"/>
                      <a:pt x="27039" y="1107039"/>
                      <a:pt x="33264" y="1107039"/>
                    </a:cubicBez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A08D3106-3D3C-489B-92F8-2993ACEC4C0B}"/>
                  </a:ext>
                </a:extLst>
              </p:cNvPr>
              <p:cNvSpPr/>
              <p:nvPr/>
            </p:nvSpPr>
            <p:spPr>
              <a:xfrm>
                <a:off x="3135346" y="5445921"/>
                <a:ext cx="1216945" cy="150086"/>
              </a:xfrm>
              <a:custGeom>
                <a:avLst/>
                <a:gdLst>
                  <a:gd name="connsiteX0" fmla="*/ 0 w 1216945"/>
                  <a:gd name="connsiteY0" fmla="*/ 0 h 150086"/>
                  <a:gd name="connsiteX1" fmla="*/ 0 w 1216945"/>
                  <a:gd name="connsiteY1" fmla="*/ 68473 h 150086"/>
                  <a:gd name="connsiteX2" fmla="*/ 1216945 w 1216945"/>
                  <a:gd name="connsiteY2" fmla="*/ 68473 h 150086"/>
                  <a:gd name="connsiteX3" fmla="*/ 1216945 w 1216945"/>
                  <a:gd name="connsiteY3" fmla="*/ 0 h 150086"/>
                  <a:gd name="connsiteX4" fmla="*/ 0 w 1216945"/>
                  <a:gd name="connsiteY4" fmla="*/ 0 h 150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6945" h="150086">
                    <a:moveTo>
                      <a:pt x="0" y="0"/>
                    </a:moveTo>
                    <a:lnTo>
                      <a:pt x="0" y="68473"/>
                    </a:lnTo>
                    <a:cubicBezTo>
                      <a:pt x="0" y="68473"/>
                      <a:pt x="323689" y="252104"/>
                      <a:pt x="1216945" y="68473"/>
                    </a:cubicBezTo>
                    <a:lnTo>
                      <a:pt x="1216945" y="0"/>
                    </a:lnTo>
                    <a:cubicBezTo>
                      <a:pt x="1216945" y="0"/>
                      <a:pt x="638040" y="127608"/>
                      <a:pt x="0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47F21E64-0A63-428A-8C44-F9104D676149}"/>
                  </a:ext>
                </a:extLst>
              </p:cNvPr>
              <p:cNvSpPr/>
              <p:nvPr/>
            </p:nvSpPr>
            <p:spPr>
              <a:xfrm>
                <a:off x="2646700" y="5200042"/>
                <a:ext cx="1705590" cy="312276"/>
              </a:xfrm>
              <a:custGeom>
                <a:avLst/>
                <a:gdLst>
                  <a:gd name="connsiteX0" fmla="*/ 1705591 w 1705590"/>
                  <a:gd name="connsiteY0" fmla="*/ 245879 h 312276"/>
                  <a:gd name="connsiteX1" fmla="*/ 967954 w 1705590"/>
                  <a:gd name="connsiteY1" fmla="*/ 0 h 312276"/>
                  <a:gd name="connsiteX2" fmla="*/ 0 w 1705590"/>
                  <a:gd name="connsiteY2" fmla="*/ 18674 h 312276"/>
                  <a:gd name="connsiteX3" fmla="*/ 488646 w 1705590"/>
                  <a:gd name="connsiteY3" fmla="*/ 245879 h 312276"/>
                  <a:gd name="connsiteX4" fmla="*/ 1705591 w 1705590"/>
                  <a:gd name="connsiteY4" fmla="*/ 245879 h 312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5590" h="312276">
                    <a:moveTo>
                      <a:pt x="1705591" y="245879"/>
                    </a:moveTo>
                    <a:cubicBezTo>
                      <a:pt x="1705591" y="245879"/>
                      <a:pt x="1484611" y="205418"/>
                      <a:pt x="967954" y="0"/>
                    </a:cubicBezTo>
                    <a:cubicBezTo>
                      <a:pt x="967954" y="0"/>
                      <a:pt x="572680" y="52911"/>
                      <a:pt x="0" y="18674"/>
                    </a:cubicBezTo>
                    <a:cubicBezTo>
                      <a:pt x="0" y="18674"/>
                      <a:pt x="177406" y="174294"/>
                      <a:pt x="488646" y="245879"/>
                    </a:cubicBezTo>
                    <a:cubicBezTo>
                      <a:pt x="488646" y="245879"/>
                      <a:pt x="921268" y="395274"/>
                      <a:pt x="1705591" y="245879"/>
                    </a:cubicBezTo>
                    <a:close/>
                  </a:path>
                </a:pathLst>
              </a:custGeom>
              <a:solidFill>
                <a:srgbClr val="F6EBE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A2D2B14B-B57B-4722-B594-223EB5FA0F6C}"/>
                  </a:ext>
                </a:extLst>
              </p:cNvPr>
              <p:cNvSpPr/>
              <p:nvPr/>
            </p:nvSpPr>
            <p:spPr>
              <a:xfrm>
                <a:off x="2646700" y="5215604"/>
                <a:ext cx="488645" cy="295677"/>
              </a:xfrm>
              <a:custGeom>
                <a:avLst/>
                <a:gdLst>
                  <a:gd name="connsiteX0" fmla="*/ 488646 w 488645"/>
                  <a:gd name="connsiteY0" fmla="*/ 295677 h 295677"/>
                  <a:gd name="connsiteX1" fmla="*/ 488646 w 488645"/>
                  <a:gd name="connsiteY1" fmla="*/ 227205 h 295677"/>
                  <a:gd name="connsiteX2" fmla="*/ 0 w 488645"/>
                  <a:gd name="connsiteY2" fmla="*/ 0 h 295677"/>
                  <a:gd name="connsiteX3" fmla="*/ 0 w 488645"/>
                  <a:gd name="connsiteY3" fmla="*/ 74697 h 295677"/>
                  <a:gd name="connsiteX4" fmla="*/ 488646 w 488645"/>
                  <a:gd name="connsiteY4" fmla="*/ 295677 h 295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645" h="295677">
                    <a:moveTo>
                      <a:pt x="488646" y="295677"/>
                    </a:moveTo>
                    <a:lnTo>
                      <a:pt x="488646" y="227205"/>
                    </a:lnTo>
                    <a:cubicBezTo>
                      <a:pt x="488646" y="227205"/>
                      <a:pt x="233429" y="118271"/>
                      <a:pt x="0" y="0"/>
                    </a:cubicBezTo>
                    <a:lnTo>
                      <a:pt x="0" y="74697"/>
                    </a:lnTo>
                    <a:cubicBezTo>
                      <a:pt x="0" y="77810"/>
                      <a:pt x="196081" y="220980"/>
                      <a:pt x="488646" y="29567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C6CE6418-C6CE-40FD-B768-63E95EBCE1B1}"/>
                </a:ext>
              </a:extLst>
            </p:cNvPr>
            <p:cNvSpPr/>
            <p:nvPr/>
          </p:nvSpPr>
          <p:spPr>
            <a:xfrm>
              <a:off x="3341312" y="4923039"/>
              <a:ext cx="1253102" cy="1584207"/>
            </a:xfrm>
            <a:custGeom>
              <a:avLst/>
              <a:gdLst>
                <a:gd name="connsiteX0" fmla="*/ 21238 w 1253102"/>
                <a:gd name="connsiteY0" fmla="*/ 0 h 1584207"/>
                <a:gd name="connsiteX1" fmla="*/ 24351 w 1253102"/>
                <a:gd name="connsiteY1" fmla="*/ 348588 h 1584207"/>
                <a:gd name="connsiteX2" fmla="*/ 902045 w 1253102"/>
                <a:gd name="connsiteY2" fmla="*/ 610029 h 1584207"/>
                <a:gd name="connsiteX3" fmla="*/ 786887 w 1253102"/>
                <a:gd name="connsiteY3" fmla="*/ 1584208 h 1584207"/>
                <a:gd name="connsiteX4" fmla="*/ 951844 w 1253102"/>
                <a:gd name="connsiteY4" fmla="*/ 1549971 h 1584207"/>
                <a:gd name="connsiteX5" fmla="*/ 1250633 w 1253102"/>
                <a:gd name="connsiteY5" fmla="*/ 519770 h 1584207"/>
                <a:gd name="connsiteX6" fmla="*/ 531671 w 1253102"/>
                <a:gd name="connsiteY6" fmla="*/ 62248 h 1584207"/>
                <a:gd name="connsiteX7" fmla="*/ 21238 w 1253102"/>
                <a:gd name="connsiteY7" fmla="*/ 0 h 1584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3102" h="1584207">
                  <a:moveTo>
                    <a:pt x="21238" y="0"/>
                  </a:moveTo>
                  <a:cubicBezTo>
                    <a:pt x="21238" y="0"/>
                    <a:pt x="-28560" y="233429"/>
                    <a:pt x="24351" y="348588"/>
                  </a:cubicBezTo>
                  <a:cubicBezTo>
                    <a:pt x="108385" y="538444"/>
                    <a:pt x="874034" y="554006"/>
                    <a:pt x="902045" y="610029"/>
                  </a:cubicBezTo>
                  <a:cubicBezTo>
                    <a:pt x="930057" y="666052"/>
                    <a:pt x="786887" y="1584208"/>
                    <a:pt x="786887" y="1584208"/>
                  </a:cubicBezTo>
                  <a:cubicBezTo>
                    <a:pt x="786887" y="1584208"/>
                    <a:pt x="877146" y="1571758"/>
                    <a:pt x="951844" y="1549971"/>
                  </a:cubicBezTo>
                  <a:cubicBezTo>
                    <a:pt x="951844" y="1549971"/>
                    <a:pt x="1284869" y="706513"/>
                    <a:pt x="1250633" y="519770"/>
                  </a:cubicBezTo>
                  <a:cubicBezTo>
                    <a:pt x="1216397" y="336138"/>
                    <a:pt x="597031" y="77810"/>
                    <a:pt x="531671" y="62248"/>
                  </a:cubicBezTo>
                  <a:cubicBezTo>
                    <a:pt x="463198" y="49798"/>
                    <a:pt x="21238" y="0"/>
                    <a:pt x="21238" y="0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CB666E21-86C7-490F-87AD-B68797B285EF}"/>
                </a:ext>
              </a:extLst>
            </p:cNvPr>
            <p:cNvSpPr/>
            <p:nvPr/>
          </p:nvSpPr>
          <p:spPr>
            <a:xfrm>
              <a:off x="3739150" y="4957896"/>
              <a:ext cx="1333682" cy="1589811"/>
            </a:xfrm>
            <a:custGeom>
              <a:avLst/>
              <a:gdLst>
                <a:gd name="connsiteX0" fmla="*/ 0 w 1333682"/>
                <a:gd name="connsiteY0" fmla="*/ 11829 h 1589811"/>
                <a:gd name="connsiteX1" fmla="*/ 155620 w 1333682"/>
                <a:gd name="connsiteY1" fmla="*/ 313731 h 1589811"/>
                <a:gd name="connsiteX2" fmla="*/ 989741 w 1333682"/>
                <a:gd name="connsiteY2" fmla="*/ 488025 h 1589811"/>
                <a:gd name="connsiteX3" fmla="*/ 883919 w 1333682"/>
                <a:gd name="connsiteY3" fmla="*/ 1589812 h 1589811"/>
                <a:gd name="connsiteX4" fmla="*/ 1058213 w 1333682"/>
                <a:gd name="connsiteY4" fmla="*/ 1518227 h 1589811"/>
                <a:gd name="connsiteX5" fmla="*/ 1304092 w 1333682"/>
                <a:gd name="connsiteY5" fmla="*/ 344855 h 1589811"/>
                <a:gd name="connsiteX6" fmla="*/ 631816 w 1333682"/>
                <a:gd name="connsiteY6" fmla="*/ 5604 h 1589811"/>
                <a:gd name="connsiteX7" fmla="*/ 0 w 1333682"/>
                <a:gd name="connsiteY7" fmla="*/ 11829 h 1589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33682" h="1589811">
                  <a:moveTo>
                    <a:pt x="0" y="11829"/>
                  </a:moveTo>
                  <a:cubicBezTo>
                    <a:pt x="0" y="11829"/>
                    <a:pt x="108934" y="198572"/>
                    <a:pt x="155620" y="313731"/>
                  </a:cubicBezTo>
                  <a:cubicBezTo>
                    <a:pt x="202305" y="428889"/>
                    <a:pt x="958617" y="432002"/>
                    <a:pt x="989741" y="488025"/>
                  </a:cubicBezTo>
                  <a:cubicBezTo>
                    <a:pt x="1017752" y="544048"/>
                    <a:pt x="883919" y="1589812"/>
                    <a:pt x="883919" y="1589812"/>
                  </a:cubicBezTo>
                  <a:cubicBezTo>
                    <a:pt x="883919" y="1589812"/>
                    <a:pt x="974179" y="1543126"/>
                    <a:pt x="1058213" y="1518227"/>
                  </a:cubicBezTo>
                  <a:cubicBezTo>
                    <a:pt x="1058213" y="1518227"/>
                    <a:pt x="1441037" y="568947"/>
                    <a:pt x="1304092" y="344855"/>
                  </a:cubicBezTo>
                  <a:cubicBezTo>
                    <a:pt x="1179597" y="142549"/>
                    <a:pt x="697176" y="21166"/>
                    <a:pt x="631816" y="5604"/>
                  </a:cubicBezTo>
                  <a:cubicBezTo>
                    <a:pt x="563343" y="-9958"/>
                    <a:pt x="0" y="11829"/>
                    <a:pt x="0" y="11829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76443423-AC5A-4827-B237-4FD12EFC2174}"/>
                </a:ext>
              </a:extLst>
            </p:cNvPr>
            <p:cNvSpPr/>
            <p:nvPr/>
          </p:nvSpPr>
          <p:spPr>
            <a:xfrm>
              <a:off x="3341312" y="4923039"/>
              <a:ext cx="1293070" cy="884518"/>
            </a:xfrm>
            <a:custGeom>
              <a:avLst/>
              <a:gdLst>
                <a:gd name="connsiteX0" fmla="*/ 21238 w 1293070"/>
                <a:gd name="connsiteY0" fmla="*/ 0 h 884518"/>
                <a:gd name="connsiteX1" fmla="*/ 24351 w 1293070"/>
                <a:gd name="connsiteY1" fmla="*/ 348588 h 884518"/>
                <a:gd name="connsiteX2" fmla="*/ 830460 w 1293070"/>
                <a:gd name="connsiteY2" fmla="*/ 597579 h 884518"/>
                <a:gd name="connsiteX3" fmla="*/ 833573 w 1293070"/>
                <a:gd name="connsiteY3" fmla="*/ 862133 h 884518"/>
                <a:gd name="connsiteX4" fmla="*/ 1235071 w 1293070"/>
                <a:gd name="connsiteY4" fmla="*/ 877695 h 884518"/>
                <a:gd name="connsiteX5" fmla="*/ 1284869 w 1293070"/>
                <a:gd name="connsiteY5" fmla="*/ 522882 h 884518"/>
                <a:gd name="connsiteX6" fmla="*/ 528558 w 1293070"/>
                <a:gd name="connsiteY6" fmla="*/ 65360 h 884518"/>
                <a:gd name="connsiteX7" fmla="*/ 21238 w 1293070"/>
                <a:gd name="connsiteY7" fmla="*/ 0 h 884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3070" h="884518">
                  <a:moveTo>
                    <a:pt x="21238" y="0"/>
                  </a:moveTo>
                  <a:cubicBezTo>
                    <a:pt x="21238" y="0"/>
                    <a:pt x="-28560" y="233429"/>
                    <a:pt x="24351" y="348588"/>
                  </a:cubicBezTo>
                  <a:cubicBezTo>
                    <a:pt x="108385" y="538444"/>
                    <a:pt x="802449" y="541556"/>
                    <a:pt x="830460" y="597579"/>
                  </a:cubicBezTo>
                  <a:cubicBezTo>
                    <a:pt x="858472" y="653602"/>
                    <a:pt x="833573" y="862133"/>
                    <a:pt x="833573" y="862133"/>
                  </a:cubicBezTo>
                  <a:cubicBezTo>
                    <a:pt x="833573" y="862133"/>
                    <a:pt x="1160374" y="899481"/>
                    <a:pt x="1235071" y="877695"/>
                  </a:cubicBezTo>
                  <a:cubicBezTo>
                    <a:pt x="1235071" y="877695"/>
                    <a:pt x="1319106" y="709625"/>
                    <a:pt x="1284869" y="522882"/>
                  </a:cubicBezTo>
                  <a:cubicBezTo>
                    <a:pt x="1250633" y="339251"/>
                    <a:pt x="597031" y="80922"/>
                    <a:pt x="528558" y="65360"/>
                  </a:cubicBezTo>
                  <a:cubicBezTo>
                    <a:pt x="463198" y="49798"/>
                    <a:pt x="21238" y="0"/>
                    <a:pt x="21238" y="0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9F24CA16-14F9-4EDF-8DC7-EAFAB1D3DE0A}"/>
                </a:ext>
              </a:extLst>
            </p:cNvPr>
            <p:cNvSpPr/>
            <p:nvPr/>
          </p:nvSpPr>
          <p:spPr>
            <a:xfrm>
              <a:off x="3739150" y="4956545"/>
              <a:ext cx="1363346" cy="834723"/>
            </a:xfrm>
            <a:custGeom>
              <a:avLst/>
              <a:gdLst>
                <a:gd name="connsiteX0" fmla="*/ 0 w 1363346"/>
                <a:gd name="connsiteY0" fmla="*/ 13180 h 834723"/>
                <a:gd name="connsiteX1" fmla="*/ 155620 w 1363346"/>
                <a:gd name="connsiteY1" fmla="*/ 315082 h 834723"/>
                <a:gd name="connsiteX2" fmla="*/ 939942 w 1363346"/>
                <a:gd name="connsiteY2" fmla="*/ 489376 h 834723"/>
                <a:gd name="connsiteX3" fmla="*/ 918156 w 1363346"/>
                <a:gd name="connsiteY3" fmla="*/ 828626 h 834723"/>
                <a:gd name="connsiteX4" fmla="*/ 1322766 w 1363346"/>
                <a:gd name="connsiteY4" fmla="*/ 819289 h 834723"/>
                <a:gd name="connsiteX5" fmla="*/ 1304092 w 1363346"/>
                <a:gd name="connsiteY5" fmla="*/ 296407 h 834723"/>
                <a:gd name="connsiteX6" fmla="*/ 625591 w 1363346"/>
                <a:gd name="connsiteY6" fmla="*/ 3842 h 834723"/>
                <a:gd name="connsiteX7" fmla="*/ 0 w 1363346"/>
                <a:gd name="connsiteY7" fmla="*/ 13180 h 834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63346" h="834723">
                  <a:moveTo>
                    <a:pt x="0" y="13180"/>
                  </a:moveTo>
                  <a:cubicBezTo>
                    <a:pt x="0" y="13180"/>
                    <a:pt x="108934" y="199923"/>
                    <a:pt x="155620" y="315082"/>
                  </a:cubicBezTo>
                  <a:cubicBezTo>
                    <a:pt x="202305" y="430240"/>
                    <a:pt x="911931" y="433352"/>
                    <a:pt x="939942" y="489376"/>
                  </a:cubicBezTo>
                  <a:cubicBezTo>
                    <a:pt x="967954" y="545399"/>
                    <a:pt x="918156" y="828626"/>
                    <a:pt x="918156" y="828626"/>
                  </a:cubicBezTo>
                  <a:cubicBezTo>
                    <a:pt x="918156" y="828626"/>
                    <a:pt x="1241844" y="847300"/>
                    <a:pt x="1322766" y="819289"/>
                  </a:cubicBezTo>
                  <a:cubicBezTo>
                    <a:pt x="1322766" y="819289"/>
                    <a:pt x="1425476" y="461364"/>
                    <a:pt x="1304092" y="296407"/>
                  </a:cubicBezTo>
                  <a:cubicBezTo>
                    <a:pt x="1207608" y="165687"/>
                    <a:pt x="694063" y="19404"/>
                    <a:pt x="625591" y="3842"/>
                  </a:cubicBezTo>
                  <a:cubicBezTo>
                    <a:pt x="563343" y="-8607"/>
                    <a:pt x="0" y="13180"/>
                    <a:pt x="0" y="13180"/>
                  </a:cubicBezTo>
                  <a:close/>
                </a:path>
              </a:pathLst>
            </a:custGeom>
            <a:solidFill>
              <a:srgbClr val="7F95BC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2840A8CC-E230-490D-9B54-5C0F303B2D1B}"/>
                </a:ext>
              </a:extLst>
            </p:cNvPr>
            <p:cNvSpPr/>
            <p:nvPr/>
          </p:nvSpPr>
          <p:spPr>
            <a:xfrm>
              <a:off x="4266967" y="5145842"/>
              <a:ext cx="362607" cy="278291"/>
            </a:xfrm>
            <a:custGeom>
              <a:avLst/>
              <a:gdLst>
                <a:gd name="connsiteX0" fmla="*/ 356102 w 362607"/>
                <a:gd name="connsiteY0" fmla="*/ 278292 h 278291"/>
                <a:gd name="connsiteX1" fmla="*/ 349877 w 362607"/>
                <a:gd name="connsiteY1" fmla="*/ 275180 h 278291"/>
                <a:gd name="connsiteX2" fmla="*/ 4402 w 362607"/>
                <a:gd name="connsiteY2" fmla="*/ 10626 h 278291"/>
                <a:gd name="connsiteX3" fmla="*/ 1289 w 362607"/>
                <a:gd name="connsiteY3" fmla="*/ 4402 h 278291"/>
                <a:gd name="connsiteX4" fmla="*/ 7514 w 362607"/>
                <a:gd name="connsiteY4" fmla="*/ 1289 h 278291"/>
                <a:gd name="connsiteX5" fmla="*/ 359214 w 362607"/>
                <a:gd name="connsiteY5" fmla="*/ 275180 h 278291"/>
                <a:gd name="connsiteX6" fmla="*/ 356102 w 362607"/>
                <a:gd name="connsiteY6" fmla="*/ 278292 h 278291"/>
                <a:gd name="connsiteX7" fmla="*/ 356102 w 362607"/>
                <a:gd name="connsiteY7" fmla="*/ 278292 h 27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2607" h="278291">
                  <a:moveTo>
                    <a:pt x="356102" y="278292"/>
                  </a:moveTo>
                  <a:cubicBezTo>
                    <a:pt x="352990" y="278292"/>
                    <a:pt x="349877" y="275180"/>
                    <a:pt x="349877" y="275180"/>
                  </a:cubicBezTo>
                  <a:cubicBezTo>
                    <a:pt x="349877" y="272067"/>
                    <a:pt x="306304" y="107110"/>
                    <a:pt x="4402" y="10626"/>
                  </a:cubicBezTo>
                  <a:cubicBezTo>
                    <a:pt x="1289" y="10626"/>
                    <a:pt x="-1823" y="7514"/>
                    <a:pt x="1289" y="4402"/>
                  </a:cubicBezTo>
                  <a:cubicBezTo>
                    <a:pt x="1289" y="1289"/>
                    <a:pt x="4402" y="-1823"/>
                    <a:pt x="7514" y="1289"/>
                  </a:cubicBezTo>
                  <a:cubicBezTo>
                    <a:pt x="315641" y="100886"/>
                    <a:pt x="359214" y="268955"/>
                    <a:pt x="359214" y="275180"/>
                  </a:cubicBezTo>
                  <a:cubicBezTo>
                    <a:pt x="365439" y="275180"/>
                    <a:pt x="362327" y="278292"/>
                    <a:pt x="356102" y="278292"/>
                  </a:cubicBezTo>
                  <a:cubicBezTo>
                    <a:pt x="359214" y="278292"/>
                    <a:pt x="359214" y="278292"/>
                    <a:pt x="356102" y="278292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BA382AFA-B703-40AE-A821-1B7369899C2A}"/>
                </a:ext>
              </a:extLst>
            </p:cNvPr>
            <p:cNvSpPr/>
            <p:nvPr/>
          </p:nvSpPr>
          <p:spPr>
            <a:xfrm>
              <a:off x="3739150" y="3391742"/>
              <a:ext cx="255216" cy="263630"/>
            </a:xfrm>
            <a:custGeom>
              <a:avLst/>
              <a:gdLst>
                <a:gd name="connsiteX0" fmla="*/ 255216 w 255216"/>
                <a:gd name="connsiteY0" fmla="*/ 40461 h 263630"/>
                <a:gd name="connsiteX1" fmla="*/ 248991 w 255216"/>
                <a:gd name="connsiteY1" fmla="*/ 217867 h 263630"/>
                <a:gd name="connsiteX2" fmla="*/ 0 w 255216"/>
                <a:gd name="connsiteY2" fmla="*/ 208530 h 263630"/>
                <a:gd name="connsiteX3" fmla="*/ 15562 w 255216"/>
                <a:gd name="connsiteY3" fmla="*/ 0 h 263630"/>
                <a:gd name="connsiteX4" fmla="*/ 255216 w 255216"/>
                <a:gd name="connsiteY4" fmla="*/ 40461 h 263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216" h="263630">
                  <a:moveTo>
                    <a:pt x="255216" y="40461"/>
                  </a:moveTo>
                  <a:cubicBezTo>
                    <a:pt x="255216" y="40461"/>
                    <a:pt x="248991" y="143170"/>
                    <a:pt x="248991" y="217867"/>
                  </a:cubicBezTo>
                  <a:cubicBezTo>
                    <a:pt x="248991" y="217867"/>
                    <a:pt x="152507" y="326801"/>
                    <a:pt x="0" y="208530"/>
                  </a:cubicBezTo>
                  <a:cubicBezTo>
                    <a:pt x="0" y="146282"/>
                    <a:pt x="12449" y="65360"/>
                    <a:pt x="15562" y="0"/>
                  </a:cubicBezTo>
                  <a:cubicBezTo>
                    <a:pt x="12449" y="0"/>
                    <a:pt x="202305" y="52911"/>
                    <a:pt x="255216" y="40461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36B2F5F8-792C-4FE7-96AF-4DE2F330DC51}"/>
                </a:ext>
              </a:extLst>
            </p:cNvPr>
            <p:cNvSpPr/>
            <p:nvPr/>
          </p:nvSpPr>
          <p:spPr>
            <a:xfrm>
              <a:off x="3290965" y="3559811"/>
              <a:ext cx="1079529" cy="1537901"/>
            </a:xfrm>
            <a:custGeom>
              <a:avLst/>
              <a:gdLst>
                <a:gd name="connsiteX0" fmla="*/ 429510 w 1079529"/>
                <a:gd name="connsiteY0" fmla="*/ 0 h 1537901"/>
                <a:gd name="connsiteX1" fmla="*/ 725187 w 1079529"/>
                <a:gd name="connsiteY1" fmla="*/ 0 h 1537901"/>
                <a:gd name="connsiteX2" fmla="*/ 1030202 w 1079529"/>
                <a:gd name="connsiteY2" fmla="*/ 133833 h 1537901"/>
                <a:gd name="connsiteX3" fmla="*/ 1076888 w 1079529"/>
                <a:gd name="connsiteY3" fmla="*/ 1406801 h 1537901"/>
                <a:gd name="connsiteX4" fmla="*/ 0 w 1079529"/>
                <a:gd name="connsiteY4" fmla="*/ 1506398 h 1537901"/>
                <a:gd name="connsiteX5" fmla="*/ 140058 w 1079529"/>
                <a:gd name="connsiteY5" fmla="*/ 108934 h 1537901"/>
                <a:gd name="connsiteX6" fmla="*/ 429510 w 1079529"/>
                <a:gd name="connsiteY6" fmla="*/ 0 h 1537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9529" h="1537901">
                  <a:moveTo>
                    <a:pt x="429510" y="0"/>
                  </a:moveTo>
                  <a:cubicBezTo>
                    <a:pt x="429510" y="0"/>
                    <a:pt x="606916" y="56023"/>
                    <a:pt x="725187" y="0"/>
                  </a:cubicBezTo>
                  <a:cubicBezTo>
                    <a:pt x="725187" y="0"/>
                    <a:pt x="1005303" y="99597"/>
                    <a:pt x="1030202" y="133833"/>
                  </a:cubicBezTo>
                  <a:cubicBezTo>
                    <a:pt x="1055101" y="164957"/>
                    <a:pt x="1089337" y="1338329"/>
                    <a:pt x="1076888" y="1406801"/>
                  </a:cubicBezTo>
                  <a:cubicBezTo>
                    <a:pt x="1076888" y="1406801"/>
                    <a:pt x="591354" y="1615331"/>
                    <a:pt x="0" y="1506398"/>
                  </a:cubicBezTo>
                  <a:cubicBezTo>
                    <a:pt x="0" y="1142248"/>
                    <a:pt x="99597" y="140058"/>
                    <a:pt x="140058" y="108934"/>
                  </a:cubicBezTo>
                  <a:cubicBezTo>
                    <a:pt x="186744" y="71585"/>
                    <a:pt x="429510" y="0"/>
                    <a:pt x="429510" y="0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48F19CEE-58F8-424A-BB62-4FA5C9D5E66A}"/>
                </a:ext>
              </a:extLst>
            </p:cNvPr>
            <p:cNvSpPr/>
            <p:nvPr/>
          </p:nvSpPr>
          <p:spPr>
            <a:xfrm>
              <a:off x="4103300" y="3678202"/>
              <a:ext cx="426397" cy="604513"/>
            </a:xfrm>
            <a:custGeom>
              <a:avLst/>
              <a:gdLst>
                <a:gd name="connsiteX0" fmla="*/ 0 w 426397"/>
                <a:gd name="connsiteY0" fmla="*/ 594347 h 604513"/>
                <a:gd name="connsiteX1" fmla="*/ 155620 w 426397"/>
                <a:gd name="connsiteY1" fmla="*/ 2992 h 604513"/>
                <a:gd name="connsiteX2" fmla="*/ 426398 w 426397"/>
                <a:gd name="connsiteY2" fmla="*/ 541436 h 604513"/>
                <a:gd name="connsiteX3" fmla="*/ 0 w 426397"/>
                <a:gd name="connsiteY3" fmla="*/ 594347 h 604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397" h="604513">
                  <a:moveTo>
                    <a:pt x="0" y="594347"/>
                  </a:moveTo>
                  <a:cubicBezTo>
                    <a:pt x="0" y="594347"/>
                    <a:pt x="12449" y="43453"/>
                    <a:pt x="155620" y="2992"/>
                  </a:cubicBezTo>
                  <a:cubicBezTo>
                    <a:pt x="323689" y="-46806"/>
                    <a:pt x="426398" y="541436"/>
                    <a:pt x="426398" y="541436"/>
                  </a:cubicBezTo>
                  <a:cubicBezTo>
                    <a:pt x="426398" y="541436"/>
                    <a:pt x="214755" y="634808"/>
                    <a:pt x="0" y="594347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89486680-A4CB-4654-A117-B5239F746801}"/>
                </a:ext>
              </a:extLst>
            </p:cNvPr>
            <p:cNvSpPr/>
            <p:nvPr/>
          </p:nvSpPr>
          <p:spPr>
            <a:xfrm>
              <a:off x="4314942" y="3687419"/>
              <a:ext cx="54199" cy="563342"/>
            </a:xfrm>
            <a:custGeom>
              <a:avLst/>
              <a:gdLst>
                <a:gd name="connsiteX0" fmla="*/ 49798 w 54199"/>
                <a:gd name="connsiteY0" fmla="*/ 563343 h 563342"/>
                <a:gd name="connsiteX1" fmla="*/ 43573 w 54199"/>
                <a:gd name="connsiteY1" fmla="*/ 557118 h 563342"/>
                <a:gd name="connsiteX2" fmla="*/ 0 w 54199"/>
                <a:gd name="connsiteY2" fmla="*/ 6225 h 563342"/>
                <a:gd name="connsiteX3" fmla="*/ 3112 w 54199"/>
                <a:gd name="connsiteY3" fmla="*/ 0 h 563342"/>
                <a:gd name="connsiteX4" fmla="*/ 9337 w 54199"/>
                <a:gd name="connsiteY4" fmla="*/ 3112 h 563342"/>
                <a:gd name="connsiteX5" fmla="*/ 52911 w 54199"/>
                <a:gd name="connsiteY5" fmla="*/ 557118 h 563342"/>
                <a:gd name="connsiteX6" fmla="*/ 49798 w 54199"/>
                <a:gd name="connsiteY6" fmla="*/ 563343 h 563342"/>
                <a:gd name="connsiteX7" fmla="*/ 49798 w 54199"/>
                <a:gd name="connsiteY7" fmla="*/ 563343 h 563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199" h="563342">
                  <a:moveTo>
                    <a:pt x="49798" y="563343"/>
                  </a:moveTo>
                  <a:cubicBezTo>
                    <a:pt x="46686" y="563343"/>
                    <a:pt x="43573" y="560231"/>
                    <a:pt x="43573" y="557118"/>
                  </a:cubicBezTo>
                  <a:cubicBezTo>
                    <a:pt x="43573" y="550893"/>
                    <a:pt x="6225" y="46686"/>
                    <a:pt x="0" y="6225"/>
                  </a:cubicBezTo>
                  <a:cubicBezTo>
                    <a:pt x="0" y="3112"/>
                    <a:pt x="0" y="0"/>
                    <a:pt x="3112" y="0"/>
                  </a:cubicBezTo>
                  <a:cubicBezTo>
                    <a:pt x="6225" y="0"/>
                    <a:pt x="9337" y="0"/>
                    <a:pt x="9337" y="3112"/>
                  </a:cubicBezTo>
                  <a:cubicBezTo>
                    <a:pt x="18674" y="43573"/>
                    <a:pt x="52911" y="535331"/>
                    <a:pt x="52911" y="557118"/>
                  </a:cubicBezTo>
                  <a:cubicBezTo>
                    <a:pt x="56023" y="560231"/>
                    <a:pt x="52911" y="563343"/>
                    <a:pt x="49798" y="563343"/>
                  </a:cubicBezTo>
                  <a:cubicBezTo>
                    <a:pt x="49798" y="563343"/>
                    <a:pt x="49798" y="563343"/>
                    <a:pt x="49798" y="563343"/>
                  </a:cubicBez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19F8DB6D-8463-4E79-8826-65CF64B195B6}"/>
                </a:ext>
              </a:extLst>
            </p:cNvPr>
            <p:cNvSpPr/>
            <p:nvPr/>
          </p:nvSpPr>
          <p:spPr>
            <a:xfrm>
              <a:off x="3449697" y="3899062"/>
              <a:ext cx="1170259" cy="829242"/>
            </a:xfrm>
            <a:custGeom>
              <a:avLst/>
              <a:gdLst>
                <a:gd name="connsiteX0" fmla="*/ 245879 w 1170259"/>
                <a:gd name="connsiteY0" fmla="*/ 0 h 829242"/>
                <a:gd name="connsiteX1" fmla="*/ 538444 w 1170259"/>
                <a:gd name="connsiteY1" fmla="*/ 625591 h 829242"/>
                <a:gd name="connsiteX2" fmla="*/ 1123573 w 1170259"/>
                <a:gd name="connsiteY2" fmla="*/ 572680 h 829242"/>
                <a:gd name="connsiteX3" fmla="*/ 1170259 w 1170259"/>
                <a:gd name="connsiteY3" fmla="*/ 718963 h 829242"/>
                <a:gd name="connsiteX4" fmla="*/ 417060 w 1170259"/>
                <a:gd name="connsiteY4" fmla="*/ 827896 h 829242"/>
                <a:gd name="connsiteX5" fmla="*/ 0 w 1170259"/>
                <a:gd name="connsiteY5" fmla="*/ 124496 h 829242"/>
                <a:gd name="connsiteX6" fmla="*/ 245879 w 1170259"/>
                <a:gd name="connsiteY6" fmla="*/ 0 h 829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70259" h="829242">
                  <a:moveTo>
                    <a:pt x="245879" y="0"/>
                  </a:moveTo>
                  <a:lnTo>
                    <a:pt x="538444" y="625591"/>
                  </a:lnTo>
                  <a:lnTo>
                    <a:pt x="1123573" y="572680"/>
                  </a:lnTo>
                  <a:lnTo>
                    <a:pt x="1170259" y="718963"/>
                  </a:lnTo>
                  <a:cubicBezTo>
                    <a:pt x="1170259" y="718963"/>
                    <a:pt x="547781" y="843458"/>
                    <a:pt x="417060" y="827896"/>
                  </a:cubicBezTo>
                  <a:cubicBezTo>
                    <a:pt x="286340" y="812335"/>
                    <a:pt x="0" y="124496"/>
                    <a:pt x="0" y="124496"/>
                  </a:cubicBezTo>
                  <a:lnTo>
                    <a:pt x="245879" y="0"/>
                  </a:ln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109B217C-AAE6-4910-8E36-E7A0DD426BC4}"/>
                </a:ext>
              </a:extLst>
            </p:cNvPr>
            <p:cNvSpPr/>
            <p:nvPr/>
          </p:nvSpPr>
          <p:spPr>
            <a:xfrm>
              <a:off x="3664452" y="3254797"/>
              <a:ext cx="62247" cy="149394"/>
            </a:xfrm>
            <a:custGeom>
              <a:avLst/>
              <a:gdLst>
                <a:gd name="connsiteX0" fmla="*/ 0 w 62247"/>
                <a:gd name="connsiteY0" fmla="*/ 0 h 149394"/>
                <a:gd name="connsiteX1" fmla="*/ 49798 w 62247"/>
                <a:gd name="connsiteY1" fmla="*/ 149395 h 149394"/>
                <a:gd name="connsiteX2" fmla="*/ 62248 w 62247"/>
                <a:gd name="connsiteY2" fmla="*/ 62248 h 149394"/>
                <a:gd name="connsiteX3" fmla="*/ 0 w 62247"/>
                <a:gd name="connsiteY3" fmla="*/ 0 h 14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47" h="149394">
                  <a:moveTo>
                    <a:pt x="0" y="0"/>
                  </a:moveTo>
                  <a:cubicBezTo>
                    <a:pt x="0" y="0"/>
                    <a:pt x="0" y="121383"/>
                    <a:pt x="49798" y="149395"/>
                  </a:cubicBezTo>
                  <a:lnTo>
                    <a:pt x="62248" y="622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9A38A906-994F-405D-9A31-342E07BC6263}"/>
                </a:ext>
              </a:extLst>
            </p:cNvPr>
            <p:cNvSpPr/>
            <p:nvPr/>
          </p:nvSpPr>
          <p:spPr>
            <a:xfrm>
              <a:off x="4037110" y="3099177"/>
              <a:ext cx="113204" cy="235553"/>
            </a:xfrm>
            <a:custGeom>
              <a:avLst/>
              <a:gdLst>
                <a:gd name="connsiteX0" fmla="*/ 112876 w 113204"/>
                <a:gd name="connsiteY0" fmla="*/ 0 h 235553"/>
                <a:gd name="connsiteX1" fmla="*/ 41291 w 113204"/>
                <a:gd name="connsiteY1" fmla="*/ 233429 h 235553"/>
                <a:gd name="connsiteX2" fmla="*/ 10167 w 113204"/>
                <a:gd name="connsiteY2" fmla="*/ 3112 h 235553"/>
                <a:gd name="connsiteX3" fmla="*/ 112876 w 113204"/>
                <a:gd name="connsiteY3" fmla="*/ 0 h 235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204" h="235553">
                  <a:moveTo>
                    <a:pt x="112876" y="0"/>
                  </a:moveTo>
                  <a:cubicBezTo>
                    <a:pt x="112876" y="0"/>
                    <a:pt x="122213" y="202305"/>
                    <a:pt x="41291" y="233429"/>
                  </a:cubicBezTo>
                  <a:cubicBezTo>
                    <a:pt x="-27182" y="261441"/>
                    <a:pt x="10167" y="3112"/>
                    <a:pt x="10167" y="3112"/>
                  </a:cubicBezTo>
                  <a:lnTo>
                    <a:pt x="112876" y="0"/>
                  </a:ln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FCDB6D38-9427-4115-9FC5-E889B1F84DA7}"/>
                </a:ext>
              </a:extLst>
            </p:cNvPr>
            <p:cNvSpPr/>
            <p:nvPr/>
          </p:nvSpPr>
          <p:spPr>
            <a:xfrm>
              <a:off x="3680685" y="2931052"/>
              <a:ext cx="422701" cy="582196"/>
            </a:xfrm>
            <a:custGeom>
              <a:avLst/>
              <a:gdLst>
                <a:gd name="connsiteX0" fmla="*/ 422615 w 422701"/>
                <a:gd name="connsiteY0" fmla="*/ 208586 h 582196"/>
                <a:gd name="connsiteX1" fmla="*/ 394603 w 422701"/>
                <a:gd name="connsiteY1" fmla="*/ 463802 h 582196"/>
                <a:gd name="connsiteX2" fmla="*/ 217197 w 422701"/>
                <a:gd name="connsiteY2" fmla="*/ 582073 h 582196"/>
                <a:gd name="connsiteX3" fmla="*/ 14892 w 422701"/>
                <a:gd name="connsiteY3" fmla="*/ 410892 h 582196"/>
                <a:gd name="connsiteX4" fmla="*/ 2442 w 422701"/>
                <a:gd name="connsiteY4" fmla="*/ 177462 h 582196"/>
                <a:gd name="connsiteX5" fmla="*/ 242096 w 422701"/>
                <a:gd name="connsiteY5" fmla="*/ 56 h 582196"/>
                <a:gd name="connsiteX6" fmla="*/ 422615 w 422701"/>
                <a:gd name="connsiteY6" fmla="*/ 208586 h 582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2701" h="582196">
                  <a:moveTo>
                    <a:pt x="422615" y="208586"/>
                  </a:moveTo>
                  <a:cubicBezTo>
                    <a:pt x="422615" y="208586"/>
                    <a:pt x="425727" y="389105"/>
                    <a:pt x="394603" y="463802"/>
                  </a:cubicBezTo>
                  <a:cubicBezTo>
                    <a:pt x="366592" y="529163"/>
                    <a:pt x="270108" y="585186"/>
                    <a:pt x="217197" y="582073"/>
                  </a:cubicBezTo>
                  <a:cubicBezTo>
                    <a:pt x="148724" y="578961"/>
                    <a:pt x="33566" y="526050"/>
                    <a:pt x="14892" y="410892"/>
                  </a:cubicBezTo>
                  <a:cubicBezTo>
                    <a:pt x="2442" y="333082"/>
                    <a:pt x="-3783" y="230373"/>
                    <a:pt x="2442" y="177462"/>
                  </a:cubicBezTo>
                  <a:cubicBezTo>
                    <a:pt x="14892" y="80978"/>
                    <a:pt x="49128" y="3168"/>
                    <a:pt x="242096" y="56"/>
                  </a:cubicBezTo>
                  <a:cubicBezTo>
                    <a:pt x="329243" y="-3056"/>
                    <a:pt x="413278" y="124552"/>
                    <a:pt x="422615" y="208586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497256EB-75F2-4DC5-AA52-9B06459CEB93}"/>
                </a:ext>
              </a:extLst>
            </p:cNvPr>
            <p:cNvSpPr/>
            <p:nvPr/>
          </p:nvSpPr>
          <p:spPr>
            <a:xfrm>
              <a:off x="3890368" y="3204998"/>
              <a:ext cx="64408" cy="136945"/>
            </a:xfrm>
            <a:custGeom>
              <a:avLst/>
              <a:gdLst>
                <a:gd name="connsiteX0" fmla="*/ 38638 w 64408"/>
                <a:gd name="connsiteY0" fmla="*/ 136945 h 136945"/>
                <a:gd name="connsiteX1" fmla="*/ 4402 w 64408"/>
                <a:gd name="connsiteY1" fmla="*/ 130720 h 136945"/>
                <a:gd name="connsiteX2" fmla="*/ 1289 w 64408"/>
                <a:gd name="connsiteY2" fmla="*/ 124496 h 136945"/>
                <a:gd name="connsiteX3" fmla="*/ 7514 w 64408"/>
                <a:gd name="connsiteY3" fmla="*/ 121383 h 136945"/>
                <a:gd name="connsiteX4" fmla="*/ 47975 w 64408"/>
                <a:gd name="connsiteY4" fmla="*/ 124496 h 136945"/>
                <a:gd name="connsiteX5" fmla="*/ 51088 w 64408"/>
                <a:gd name="connsiteY5" fmla="*/ 121383 h 136945"/>
                <a:gd name="connsiteX6" fmla="*/ 47975 w 64408"/>
                <a:gd name="connsiteY6" fmla="*/ 6225 h 136945"/>
                <a:gd name="connsiteX7" fmla="*/ 54200 w 64408"/>
                <a:gd name="connsiteY7" fmla="*/ 0 h 136945"/>
                <a:gd name="connsiteX8" fmla="*/ 60425 w 64408"/>
                <a:gd name="connsiteY8" fmla="*/ 6225 h 136945"/>
                <a:gd name="connsiteX9" fmla="*/ 63537 w 64408"/>
                <a:gd name="connsiteY9" fmla="*/ 124496 h 136945"/>
                <a:gd name="connsiteX10" fmla="*/ 57312 w 64408"/>
                <a:gd name="connsiteY10" fmla="*/ 136945 h 136945"/>
                <a:gd name="connsiteX11" fmla="*/ 38638 w 64408"/>
                <a:gd name="connsiteY11" fmla="*/ 136945 h 136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408" h="136945">
                  <a:moveTo>
                    <a:pt x="38638" y="136945"/>
                  </a:moveTo>
                  <a:cubicBezTo>
                    <a:pt x="26188" y="136945"/>
                    <a:pt x="10626" y="133833"/>
                    <a:pt x="4402" y="130720"/>
                  </a:cubicBezTo>
                  <a:cubicBezTo>
                    <a:pt x="1289" y="130720"/>
                    <a:pt x="-1823" y="127608"/>
                    <a:pt x="1289" y="124496"/>
                  </a:cubicBezTo>
                  <a:cubicBezTo>
                    <a:pt x="1289" y="121383"/>
                    <a:pt x="4402" y="118271"/>
                    <a:pt x="7514" y="121383"/>
                  </a:cubicBezTo>
                  <a:cubicBezTo>
                    <a:pt x="19964" y="124496"/>
                    <a:pt x="41750" y="127608"/>
                    <a:pt x="47975" y="124496"/>
                  </a:cubicBezTo>
                  <a:cubicBezTo>
                    <a:pt x="47975" y="124496"/>
                    <a:pt x="51088" y="121383"/>
                    <a:pt x="51088" y="121383"/>
                  </a:cubicBezTo>
                  <a:cubicBezTo>
                    <a:pt x="54200" y="102709"/>
                    <a:pt x="47975" y="6225"/>
                    <a:pt x="47975" y="6225"/>
                  </a:cubicBezTo>
                  <a:cubicBezTo>
                    <a:pt x="47975" y="3112"/>
                    <a:pt x="51088" y="0"/>
                    <a:pt x="54200" y="0"/>
                  </a:cubicBezTo>
                  <a:cubicBezTo>
                    <a:pt x="57312" y="0"/>
                    <a:pt x="60425" y="3112"/>
                    <a:pt x="60425" y="6225"/>
                  </a:cubicBezTo>
                  <a:cubicBezTo>
                    <a:pt x="60425" y="9337"/>
                    <a:pt x="66649" y="102709"/>
                    <a:pt x="63537" y="124496"/>
                  </a:cubicBezTo>
                  <a:cubicBezTo>
                    <a:pt x="63537" y="130720"/>
                    <a:pt x="60425" y="133833"/>
                    <a:pt x="57312" y="136945"/>
                  </a:cubicBezTo>
                  <a:cubicBezTo>
                    <a:pt x="51088" y="136945"/>
                    <a:pt x="44863" y="136945"/>
                    <a:pt x="38638" y="136945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757F7FE9-D4F8-4622-97E3-10AD685A80D5}"/>
                </a:ext>
              </a:extLst>
            </p:cNvPr>
            <p:cNvSpPr/>
            <p:nvPr/>
          </p:nvSpPr>
          <p:spPr>
            <a:xfrm>
              <a:off x="3996875" y="3189436"/>
              <a:ext cx="41064" cy="40461"/>
            </a:xfrm>
            <a:custGeom>
              <a:avLst/>
              <a:gdLst>
                <a:gd name="connsiteX0" fmla="*/ 603 w 41064"/>
                <a:gd name="connsiteY0" fmla="*/ 21787 h 40461"/>
                <a:gd name="connsiteX1" fmla="*/ 22390 w 41064"/>
                <a:gd name="connsiteY1" fmla="*/ 40461 h 40461"/>
                <a:gd name="connsiteX2" fmla="*/ 41064 w 41064"/>
                <a:gd name="connsiteY2" fmla="*/ 18674 h 40461"/>
                <a:gd name="connsiteX3" fmla="*/ 19278 w 41064"/>
                <a:gd name="connsiteY3" fmla="*/ 0 h 40461"/>
                <a:gd name="connsiteX4" fmla="*/ 603 w 41064"/>
                <a:gd name="connsiteY4" fmla="*/ 21787 h 4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64" h="40461">
                  <a:moveTo>
                    <a:pt x="603" y="21787"/>
                  </a:moveTo>
                  <a:cubicBezTo>
                    <a:pt x="603" y="34236"/>
                    <a:pt x="13053" y="40461"/>
                    <a:pt x="22390" y="40461"/>
                  </a:cubicBezTo>
                  <a:cubicBezTo>
                    <a:pt x="34839" y="40461"/>
                    <a:pt x="41064" y="28011"/>
                    <a:pt x="41064" y="18674"/>
                  </a:cubicBezTo>
                  <a:cubicBezTo>
                    <a:pt x="41064" y="6225"/>
                    <a:pt x="28615" y="0"/>
                    <a:pt x="19278" y="0"/>
                  </a:cubicBezTo>
                  <a:cubicBezTo>
                    <a:pt x="6828" y="3112"/>
                    <a:pt x="-2509" y="12449"/>
                    <a:pt x="603" y="21787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857D63CE-94CF-4F79-BFEB-6D61903082E6}"/>
                </a:ext>
              </a:extLst>
            </p:cNvPr>
            <p:cNvSpPr/>
            <p:nvPr/>
          </p:nvSpPr>
          <p:spPr>
            <a:xfrm>
              <a:off x="3810131" y="3189436"/>
              <a:ext cx="41064" cy="40461"/>
            </a:xfrm>
            <a:custGeom>
              <a:avLst/>
              <a:gdLst>
                <a:gd name="connsiteX0" fmla="*/ 603 w 41064"/>
                <a:gd name="connsiteY0" fmla="*/ 21787 h 40461"/>
                <a:gd name="connsiteX1" fmla="*/ 22390 w 41064"/>
                <a:gd name="connsiteY1" fmla="*/ 40461 h 40461"/>
                <a:gd name="connsiteX2" fmla="*/ 41064 w 41064"/>
                <a:gd name="connsiteY2" fmla="*/ 18674 h 40461"/>
                <a:gd name="connsiteX3" fmla="*/ 19278 w 41064"/>
                <a:gd name="connsiteY3" fmla="*/ 0 h 40461"/>
                <a:gd name="connsiteX4" fmla="*/ 603 w 41064"/>
                <a:gd name="connsiteY4" fmla="*/ 21787 h 4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64" h="40461">
                  <a:moveTo>
                    <a:pt x="603" y="21787"/>
                  </a:moveTo>
                  <a:cubicBezTo>
                    <a:pt x="603" y="34236"/>
                    <a:pt x="13053" y="40461"/>
                    <a:pt x="22390" y="40461"/>
                  </a:cubicBezTo>
                  <a:cubicBezTo>
                    <a:pt x="34839" y="40461"/>
                    <a:pt x="41064" y="28011"/>
                    <a:pt x="41064" y="18674"/>
                  </a:cubicBezTo>
                  <a:cubicBezTo>
                    <a:pt x="41064" y="6225"/>
                    <a:pt x="28615" y="0"/>
                    <a:pt x="19278" y="0"/>
                  </a:cubicBezTo>
                  <a:cubicBezTo>
                    <a:pt x="6828" y="0"/>
                    <a:pt x="-2509" y="9337"/>
                    <a:pt x="603" y="21787"/>
                  </a:cubicBezTo>
                  <a:close/>
                </a:path>
              </a:pathLst>
            </a:custGeom>
            <a:solidFill>
              <a:srgbClr val="38333D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A3A4656F-4147-44A3-9CC1-F1988BFF130E}"/>
                </a:ext>
              </a:extLst>
            </p:cNvPr>
            <p:cNvSpPr/>
            <p:nvPr/>
          </p:nvSpPr>
          <p:spPr>
            <a:xfrm>
              <a:off x="3974402" y="3140780"/>
              <a:ext cx="93592" cy="36206"/>
            </a:xfrm>
            <a:custGeom>
              <a:avLst/>
              <a:gdLst>
                <a:gd name="connsiteX0" fmla="*/ 85324 w 93592"/>
                <a:gd name="connsiteY0" fmla="*/ 36206 h 36206"/>
                <a:gd name="connsiteX1" fmla="*/ 79099 w 93592"/>
                <a:gd name="connsiteY1" fmla="*/ 33094 h 36206"/>
                <a:gd name="connsiteX2" fmla="*/ 10626 w 93592"/>
                <a:gd name="connsiteY2" fmla="*/ 17532 h 36206"/>
                <a:gd name="connsiteX3" fmla="*/ 1289 w 93592"/>
                <a:gd name="connsiteY3" fmla="*/ 14420 h 36206"/>
                <a:gd name="connsiteX4" fmla="*/ 4402 w 93592"/>
                <a:gd name="connsiteY4" fmla="*/ 5083 h 36206"/>
                <a:gd name="connsiteX5" fmla="*/ 91549 w 93592"/>
                <a:gd name="connsiteY5" fmla="*/ 23757 h 36206"/>
                <a:gd name="connsiteX6" fmla="*/ 88436 w 93592"/>
                <a:gd name="connsiteY6" fmla="*/ 36206 h 36206"/>
                <a:gd name="connsiteX7" fmla="*/ 85324 w 93592"/>
                <a:gd name="connsiteY7" fmla="*/ 36206 h 36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592" h="36206">
                  <a:moveTo>
                    <a:pt x="85324" y="36206"/>
                  </a:moveTo>
                  <a:cubicBezTo>
                    <a:pt x="82211" y="36206"/>
                    <a:pt x="79099" y="36206"/>
                    <a:pt x="79099" y="33094"/>
                  </a:cubicBezTo>
                  <a:cubicBezTo>
                    <a:pt x="57312" y="1970"/>
                    <a:pt x="13739" y="17532"/>
                    <a:pt x="10626" y="17532"/>
                  </a:cubicBezTo>
                  <a:cubicBezTo>
                    <a:pt x="7514" y="20645"/>
                    <a:pt x="1289" y="17532"/>
                    <a:pt x="1289" y="14420"/>
                  </a:cubicBezTo>
                  <a:cubicBezTo>
                    <a:pt x="-1823" y="11307"/>
                    <a:pt x="1289" y="5083"/>
                    <a:pt x="4402" y="5083"/>
                  </a:cubicBezTo>
                  <a:cubicBezTo>
                    <a:pt x="23076" y="-1142"/>
                    <a:pt x="66649" y="-7367"/>
                    <a:pt x="91549" y="23757"/>
                  </a:cubicBezTo>
                  <a:cubicBezTo>
                    <a:pt x="94661" y="26869"/>
                    <a:pt x="94661" y="33094"/>
                    <a:pt x="88436" y="36206"/>
                  </a:cubicBezTo>
                  <a:cubicBezTo>
                    <a:pt x="88436" y="36206"/>
                    <a:pt x="88436" y="36206"/>
                    <a:pt x="85324" y="36206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1CE43021-2942-459A-95EC-AAE05C18CCE2}"/>
                </a:ext>
              </a:extLst>
            </p:cNvPr>
            <p:cNvSpPr/>
            <p:nvPr/>
          </p:nvSpPr>
          <p:spPr>
            <a:xfrm>
              <a:off x="3777277" y="3120828"/>
              <a:ext cx="93075" cy="31260"/>
            </a:xfrm>
            <a:custGeom>
              <a:avLst/>
              <a:gdLst>
                <a:gd name="connsiteX0" fmla="*/ 89481 w 93075"/>
                <a:gd name="connsiteY0" fmla="*/ 31260 h 31260"/>
                <a:gd name="connsiteX1" fmla="*/ 83256 w 93075"/>
                <a:gd name="connsiteY1" fmla="*/ 28148 h 31260"/>
                <a:gd name="connsiteX2" fmla="*/ 14784 w 93075"/>
                <a:gd name="connsiteY2" fmla="*/ 28148 h 31260"/>
                <a:gd name="connsiteX3" fmla="*/ 2334 w 93075"/>
                <a:gd name="connsiteY3" fmla="*/ 28148 h 31260"/>
                <a:gd name="connsiteX4" fmla="*/ 2334 w 93075"/>
                <a:gd name="connsiteY4" fmla="*/ 15698 h 31260"/>
                <a:gd name="connsiteX5" fmla="*/ 89481 w 93075"/>
                <a:gd name="connsiteY5" fmla="*/ 15698 h 31260"/>
                <a:gd name="connsiteX6" fmla="*/ 89481 w 93075"/>
                <a:gd name="connsiteY6" fmla="*/ 28148 h 31260"/>
                <a:gd name="connsiteX7" fmla="*/ 89481 w 93075"/>
                <a:gd name="connsiteY7" fmla="*/ 31260 h 31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5" h="31260">
                  <a:moveTo>
                    <a:pt x="89481" y="31260"/>
                  </a:moveTo>
                  <a:cubicBezTo>
                    <a:pt x="86369" y="31260"/>
                    <a:pt x="86369" y="31260"/>
                    <a:pt x="83256" y="28148"/>
                  </a:cubicBezTo>
                  <a:cubicBezTo>
                    <a:pt x="49020" y="136"/>
                    <a:pt x="17896" y="25035"/>
                    <a:pt x="14784" y="28148"/>
                  </a:cubicBezTo>
                  <a:cubicBezTo>
                    <a:pt x="11671" y="31260"/>
                    <a:pt x="5447" y="31260"/>
                    <a:pt x="2334" y="28148"/>
                  </a:cubicBezTo>
                  <a:cubicBezTo>
                    <a:pt x="-778" y="25035"/>
                    <a:pt x="-778" y="18811"/>
                    <a:pt x="2334" y="15698"/>
                  </a:cubicBezTo>
                  <a:cubicBezTo>
                    <a:pt x="17896" y="3249"/>
                    <a:pt x="55245" y="-12313"/>
                    <a:pt x="89481" y="15698"/>
                  </a:cubicBezTo>
                  <a:cubicBezTo>
                    <a:pt x="92594" y="18811"/>
                    <a:pt x="92594" y="25035"/>
                    <a:pt x="89481" y="28148"/>
                  </a:cubicBezTo>
                  <a:cubicBezTo>
                    <a:pt x="95706" y="28148"/>
                    <a:pt x="92594" y="31260"/>
                    <a:pt x="89481" y="31260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A638FB2E-F0EC-466B-8453-03AB1EC0511B}"/>
                </a:ext>
              </a:extLst>
            </p:cNvPr>
            <p:cNvSpPr/>
            <p:nvPr/>
          </p:nvSpPr>
          <p:spPr>
            <a:xfrm>
              <a:off x="3743040" y="3436093"/>
              <a:ext cx="233940" cy="80144"/>
            </a:xfrm>
            <a:custGeom>
              <a:avLst/>
              <a:gdLst>
                <a:gd name="connsiteX0" fmla="*/ 154841 w 233940"/>
                <a:gd name="connsiteY0" fmla="*/ 80144 h 80144"/>
                <a:gd name="connsiteX1" fmla="*/ 142392 w 233940"/>
                <a:gd name="connsiteY1" fmla="*/ 80144 h 80144"/>
                <a:gd name="connsiteX2" fmla="*/ 2334 w 233940"/>
                <a:gd name="connsiteY2" fmla="*/ 11671 h 80144"/>
                <a:gd name="connsiteX3" fmla="*/ 2334 w 233940"/>
                <a:gd name="connsiteY3" fmla="*/ 2334 h 80144"/>
                <a:gd name="connsiteX4" fmla="*/ 11671 w 233940"/>
                <a:gd name="connsiteY4" fmla="*/ 2334 h 80144"/>
                <a:gd name="connsiteX5" fmla="*/ 148617 w 233940"/>
                <a:gd name="connsiteY5" fmla="*/ 70807 h 80144"/>
                <a:gd name="connsiteX6" fmla="*/ 223314 w 233940"/>
                <a:gd name="connsiteY6" fmla="*/ 52133 h 80144"/>
                <a:gd name="connsiteX7" fmla="*/ 232651 w 233940"/>
                <a:gd name="connsiteY7" fmla="*/ 55245 h 80144"/>
                <a:gd name="connsiteX8" fmla="*/ 229539 w 233940"/>
                <a:gd name="connsiteY8" fmla="*/ 64582 h 80144"/>
                <a:gd name="connsiteX9" fmla="*/ 154841 w 233940"/>
                <a:gd name="connsiteY9" fmla="*/ 80144 h 80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3940" h="80144">
                  <a:moveTo>
                    <a:pt x="154841" y="80144"/>
                  </a:moveTo>
                  <a:cubicBezTo>
                    <a:pt x="151729" y="80144"/>
                    <a:pt x="145504" y="80144"/>
                    <a:pt x="142392" y="80144"/>
                  </a:cubicBezTo>
                  <a:cubicBezTo>
                    <a:pt x="89481" y="73919"/>
                    <a:pt x="5447" y="11671"/>
                    <a:pt x="2334" y="11671"/>
                  </a:cubicBezTo>
                  <a:cubicBezTo>
                    <a:pt x="-778" y="8559"/>
                    <a:pt x="-778" y="5447"/>
                    <a:pt x="2334" y="2334"/>
                  </a:cubicBezTo>
                  <a:cubicBezTo>
                    <a:pt x="5447" y="-778"/>
                    <a:pt x="8559" y="-778"/>
                    <a:pt x="11671" y="2334"/>
                  </a:cubicBezTo>
                  <a:cubicBezTo>
                    <a:pt x="11671" y="2334"/>
                    <a:pt x="98818" y="64582"/>
                    <a:pt x="148617" y="70807"/>
                  </a:cubicBezTo>
                  <a:cubicBezTo>
                    <a:pt x="189078" y="73919"/>
                    <a:pt x="223314" y="55245"/>
                    <a:pt x="223314" y="52133"/>
                  </a:cubicBezTo>
                  <a:cubicBezTo>
                    <a:pt x="226426" y="49020"/>
                    <a:pt x="229539" y="52133"/>
                    <a:pt x="232651" y="55245"/>
                  </a:cubicBezTo>
                  <a:cubicBezTo>
                    <a:pt x="235764" y="58357"/>
                    <a:pt x="232651" y="61470"/>
                    <a:pt x="229539" y="64582"/>
                  </a:cubicBezTo>
                  <a:cubicBezTo>
                    <a:pt x="223314" y="61470"/>
                    <a:pt x="192190" y="80144"/>
                    <a:pt x="154841" y="80144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4A1C289C-2281-45DC-BBA5-C884B97C11F3}"/>
                </a:ext>
              </a:extLst>
            </p:cNvPr>
            <p:cNvSpPr/>
            <p:nvPr/>
          </p:nvSpPr>
          <p:spPr>
            <a:xfrm>
              <a:off x="3631986" y="3168301"/>
              <a:ext cx="76647" cy="117240"/>
            </a:xfrm>
            <a:custGeom>
              <a:avLst/>
              <a:gdLst>
                <a:gd name="connsiteX0" fmla="*/ 69815 w 76647"/>
                <a:gd name="connsiteY0" fmla="*/ 21136 h 117240"/>
                <a:gd name="connsiteX1" fmla="*/ 10680 w 76647"/>
                <a:gd name="connsiteY1" fmla="*/ 5574 h 117240"/>
                <a:gd name="connsiteX2" fmla="*/ 57365 w 76647"/>
                <a:gd name="connsiteY2" fmla="*/ 114507 h 117240"/>
                <a:gd name="connsiteX3" fmla="*/ 69815 w 76647"/>
                <a:gd name="connsiteY3" fmla="*/ 21136 h 11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647" h="117240">
                  <a:moveTo>
                    <a:pt x="69815" y="21136"/>
                  </a:moveTo>
                  <a:cubicBezTo>
                    <a:pt x="69815" y="21136"/>
                    <a:pt x="38691" y="-13101"/>
                    <a:pt x="10680" y="5574"/>
                  </a:cubicBezTo>
                  <a:cubicBezTo>
                    <a:pt x="-17332" y="21136"/>
                    <a:pt x="13792" y="136294"/>
                    <a:pt x="57365" y="114507"/>
                  </a:cubicBezTo>
                  <a:cubicBezTo>
                    <a:pt x="91602" y="98946"/>
                    <a:pt x="69815" y="21136"/>
                    <a:pt x="69815" y="21136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F4F139E7-5E11-413C-A059-44C723C5FFE1}"/>
                </a:ext>
              </a:extLst>
            </p:cNvPr>
            <p:cNvSpPr/>
            <p:nvPr/>
          </p:nvSpPr>
          <p:spPr>
            <a:xfrm>
              <a:off x="3649723" y="2827351"/>
              <a:ext cx="520539" cy="396322"/>
            </a:xfrm>
            <a:custGeom>
              <a:avLst/>
              <a:gdLst>
                <a:gd name="connsiteX0" fmla="*/ 2280 w 520539"/>
                <a:gd name="connsiteY0" fmla="*/ 268714 h 396322"/>
                <a:gd name="connsiteX1" fmla="*/ 48966 w 520539"/>
                <a:gd name="connsiteY1" fmla="*/ 377648 h 396322"/>
                <a:gd name="connsiteX2" fmla="*/ 114326 w 520539"/>
                <a:gd name="connsiteY2" fmla="*/ 240703 h 396322"/>
                <a:gd name="connsiteX3" fmla="*/ 123663 w 520539"/>
                <a:gd name="connsiteY3" fmla="*/ 237590 h 396322"/>
                <a:gd name="connsiteX4" fmla="*/ 204585 w 520539"/>
                <a:gd name="connsiteY4" fmla="*/ 218916 h 396322"/>
                <a:gd name="connsiteX5" fmla="*/ 217035 w 520539"/>
                <a:gd name="connsiteY5" fmla="*/ 215803 h 396322"/>
                <a:gd name="connsiteX6" fmla="*/ 251271 w 520539"/>
                <a:gd name="connsiteY6" fmla="*/ 240703 h 396322"/>
                <a:gd name="connsiteX7" fmla="*/ 269945 w 520539"/>
                <a:gd name="connsiteY7" fmla="*/ 231365 h 396322"/>
                <a:gd name="connsiteX8" fmla="*/ 319744 w 520539"/>
                <a:gd name="connsiteY8" fmla="*/ 253152 h 396322"/>
                <a:gd name="connsiteX9" fmla="*/ 353980 w 520539"/>
                <a:gd name="connsiteY9" fmla="*/ 265602 h 396322"/>
                <a:gd name="connsiteX10" fmla="*/ 366429 w 520539"/>
                <a:gd name="connsiteY10" fmla="*/ 265602 h 396322"/>
                <a:gd name="connsiteX11" fmla="*/ 381991 w 520539"/>
                <a:gd name="connsiteY11" fmla="*/ 265602 h 396322"/>
                <a:gd name="connsiteX12" fmla="*/ 391329 w 520539"/>
                <a:gd name="connsiteY12" fmla="*/ 271826 h 396322"/>
                <a:gd name="connsiteX13" fmla="*/ 394441 w 520539"/>
                <a:gd name="connsiteY13" fmla="*/ 278051 h 396322"/>
                <a:gd name="connsiteX14" fmla="*/ 400666 w 520539"/>
                <a:gd name="connsiteY14" fmla="*/ 281164 h 396322"/>
                <a:gd name="connsiteX15" fmla="*/ 406891 w 520539"/>
                <a:gd name="connsiteY15" fmla="*/ 287388 h 396322"/>
                <a:gd name="connsiteX16" fmla="*/ 413115 w 520539"/>
                <a:gd name="connsiteY16" fmla="*/ 296726 h 396322"/>
                <a:gd name="connsiteX17" fmla="*/ 428677 w 520539"/>
                <a:gd name="connsiteY17" fmla="*/ 321625 h 396322"/>
                <a:gd name="connsiteX18" fmla="*/ 456689 w 520539"/>
                <a:gd name="connsiteY18" fmla="*/ 337187 h 396322"/>
                <a:gd name="connsiteX19" fmla="*/ 469138 w 520539"/>
                <a:gd name="connsiteY19" fmla="*/ 396322 h 396322"/>
                <a:gd name="connsiteX20" fmla="*/ 481588 w 520539"/>
                <a:gd name="connsiteY20" fmla="*/ 368311 h 396322"/>
                <a:gd name="connsiteX21" fmla="*/ 490925 w 520539"/>
                <a:gd name="connsiteY21" fmla="*/ 368311 h 396322"/>
                <a:gd name="connsiteX22" fmla="*/ 518937 w 520539"/>
                <a:gd name="connsiteY22" fmla="*/ 271826 h 396322"/>
                <a:gd name="connsiteX23" fmla="*/ 503375 w 520539"/>
                <a:gd name="connsiteY23" fmla="*/ 228253 h 396322"/>
                <a:gd name="connsiteX24" fmla="*/ 509600 w 520539"/>
                <a:gd name="connsiteY24" fmla="*/ 194017 h 396322"/>
                <a:gd name="connsiteX25" fmla="*/ 506487 w 520539"/>
                <a:gd name="connsiteY25" fmla="*/ 156668 h 396322"/>
                <a:gd name="connsiteX26" fmla="*/ 490925 w 520539"/>
                <a:gd name="connsiteY26" fmla="*/ 125544 h 396322"/>
                <a:gd name="connsiteX27" fmla="*/ 419340 w 520539"/>
                <a:gd name="connsiteY27" fmla="*/ 50847 h 396322"/>
                <a:gd name="connsiteX28" fmla="*/ 297957 w 520539"/>
                <a:gd name="connsiteY28" fmla="*/ 1048 h 396322"/>
                <a:gd name="connsiteX29" fmla="*/ 282395 w 520539"/>
                <a:gd name="connsiteY29" fmla="*/ 7273 h 396322"/>
                <a:gd name="connsiteX30" fmla="*/ 223259 w 520539"/>
                <a:gd name="connsiteY30" fmla="*/ 16610 h 396322"/>
                <a:gd name="connsiteX31" fmla="*/ 189023 w 520539"/>
                <a:gd name="connsiteY31" fmla="*/ 16610 h 396322"/>
                <a:gd name="connsiteX32" fmla="*/ 154787 w 520539"/>
                <a:gd name="connsiteY32" fmla="*/ 44622 h 396322"/>
                <a:gd name="connsiteX33" fmla="*/ 139225 w 520539"/>
                <a:gd name="connsiteY33" fmla="*/ 63296 h 396322"/>
                <a:gd name="connsiteX34" fmla="*/ 104989 w 520539"/>
                <a:gd name="connsiteY34" fmla="*/ 81971 h 396322"/>
                <a:gd name="connsiteX35" fmla="*/ 92539 w 520539"/>
                <a:gd name="connsiteY35" fmla="*/ 78858 h 396322"/>
                <a:gd name="connsiteX36" fmla="*/ 70752 w 520539"/>
                <a:gd name="connsiteY36" fmla="*/ 119319 h 396322"/>
                <a:gd name="connsiteX37" fmla="*/ 2280 w 520539"/>
                <a:gd name="connsiteY37" fmla="*/ 268714 h 396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20539" h="396322">
                  <a:moveTo>
                    <a:pt x="2280" y="268714"/>
                  </a:moveTo>
                  <a:cubicBezTo>
                    <a:pt x="11617" y="327849"/>
                    <a:pt x="48966" y="377648"/>
                    <a:pt x="48966" y="377648"/>
                  </a:cubicBezTo>
                  <a:cubicBezTo>
                    <a:pt x="45853" y="346524"/>
                    <a:pt x="114326" y="240703"/>
                    <a:pt x="114326" y="240703"/>
                  </a:cubicBezTo>
                  <a:cubicBezTo>
                    <a:pt x="114326" y="240703"/>
                    <a:pt x="117438" y="240703"/>
                    <a:pt x="123663" y="237590"/>
                  </a:cubicBezTo>
                  <a:cubicBezTo>
                    <a:pt x="151674" y="240703"/>
                    <a:pt x="179686" y="234478"/>
                    <a:pt x="204585" y="218916"/>
                  </a:cubicBezTo>
                  <a:cubicBezTo>
                    <a:pt x="207697" y="218916"/>
                    <a:pt x="213922" y="218916"/>
                    <a:pt x="217035" y="215803"/>
                  </a:cubicBezTo>
                  <a:cubicBezTo>
                    <a:pt x="223259" y="231365"/>
                    <a:pt x="232597" y="243815"/>
                    <a:pt x="251271" y="240703"/>
                  </a:cubicBezTo>
                  <a:cubicBezTo>
                    <a:pt x="260608" y="240703"/>
                    <a:pt x="263721" y="234478"/>
                    <a:pt x="269945" y="231365"/>
                  </a:cubicBezTo>
                  <a:cubicBezTo>
                    <a:pt x="291732" y="225141"/>
                    <a:pt x="301069" y="240703"/>
                    <a:pt x="319744" y="253152"/>
                  </a:cubicBezTo>
                  <a:cubicBezTo>
                    <a:pt x="329081" y="259377"/>
                    <a:pt x="341530" y="265602"/>
                    <a:pt x="353980" y="265602"/>
                  </a:cubicBezTo>
                  <a:cubicBezTo>
                    <a:pt x="357092" y="265602"/>
                    <a:pt x="363317" y="265602"/>
                    <a:pt x="366429" y="265602"/>
                  </a:cubicBezTo>
                  <a:cubicBezTo>
                    <a:pt x="372654" y="262489"/>
                    <a:pt x="375767" y="262489"/>
                    <a:pt x="381991" y="265602"/>
                  </a:cubicBezTo>
                  <a:cubicBezTo>
                    <a:pt x="385104" y="268714"/>
                    <a:pt x="388216" y="268714"/>
                    <a:pt x="391329" y="271826"/>
                  </a:cubicBezTo>
                  <a:cubicBezTo>
                    <a:pt x="391329" y="271826"/>
                    <a:pt x="394441" y="274939"/>
                    <a:pt x="394441" y="278051"/>
                  </a:cubicBezTo>
                  <a:cubicBezTo>
                    <a:pt x="397553" y="278051"/>
                    <a:pt x="397553" y="278051"/>
                    <a:pt x="400666" y="281164"/>
                  </a:cubicBezTo>
                  <a:cubicBezTo>
                    <a:pt x="403778" y="284276"/>
                    <a:pt x="406891" y="284276"/>
                    <a:pt x="406891" y="287388"/>
                  </a:cubicBezTo>
                  <a:cubicBezTo>
                    <a:pt x="410003" y="290501"/>
                    <a:pt x="410003" y="293613"/>
                    <a:pt x="413115" y="296726"/>
                  </a:cubicBezTo>
                  <a:cubicBezTo>
                    <a:pt x="419340" y="306063"/>
                    <a:pt x="419340" y="315400"/>
                    <a:pt x="428677" y="321625"/>
                  </a:cubicBezTo>
                  <a:cubicBezTo>
                    <a:pt x="434902" y="327849"/>
                    <a:pt x="447352" y="330962"/>
                    <a:pt x="456689" y="337187"/>
                  </a:cubicBezTo>
                  <a:cubicBezTo>
                    <a:pt x="469138" y="355861"/>
                    <a:pt x="475363" y="377648"/>
                    <a:pt x="469138" y="396322"/>
                  </a:cubicBezTo>
                  <a:cubicBezTo>
                    <a:pt x="469138" y="396322"/>
                    <a:pt x="475363" y="383873"/>
                    <a:pt x="481588" y="368311"/>
                  </a:cubicBezTo>
                  <a:cubicBezTo>
                    <a:pt x="484700" y="371423"/>
                    <a:pt x="487813" y="371423"/>
                    <a:pt x="490925" y="368311"/>
                  </a:cubicBezTo>
                  <a:cubicBezTo>
                    <a:pt x="512712" y="340299"/>
                    <a:pt x="525162" y="306063"/>
                    <a:pt x="518937" y="271826"/>
                  </a:cubicBezTo>
                  <a:cubicBezTo>
                    <a:pt x="515824" y="256264"/>
                    <a:pt x="509600" y="240703"/>
                    <a:pt x="503375" y="228253"/>
                  </a:cubicBezTo>
                  <a:cubicBezTo>
                    <a:pt x="497150" y="209579"/>
                    <a:pt x="506487" y="209579"/>
                    <a:pt x="509600" y="194017"/>
                  </a:cubicBezTo>
                  <a:cubicBezTo>
                    <a:pt x="512712" y="181567"/>
                    <a:pt x="509600" y="169118"/>
                    <a:pt x="506487" y="156668"/>
                  </a:cubicBezTo>
                  <a:cubicBezTo>
                    <a:pt x="503375" y="144218"/>
                    <a:pt x="497150" y="134881"/>
                    <a:pt x="490925" y="125544"/>
                  </a:cubicBezTo>
                  <a:cubicBezTo>
                    <a:pt x="481588" y="106870"/>
                    <a:pt x="444239" y="53959"/>
                    <a:pt x="419340" y="50847"/>
                  </a:cubicBezTo>
                  <a:cubicBezTo>
                    <a:pt x="375767" y="47734"/>
                    <a:pt x="344643" y="-8289"/>
                    <a:pt x="297957" y="1048"/>
                  </a:cubicBezTo>
                  <a:cubicBezTo>
                    <a:pt x="291732" y="1048"/>
                    <a:pt x="288620" y="4161"/>
                    <a:pt x="282395" y="7273"/>
                  </a:cubicBezTo>
                  <a:cubicBezTo>
                    <a:pt x="263721" y="13498"/>
                    <a:pt x="245046" y="19723"/>
                    <a:pt x="223259" y="16610"/>
                  </a:cubicBezTo>
                  <a:cubicBezTo>
                    <a:pt x="210810" y="13498"/>
                    <a:pt x="201473" y="10385"/>
                    <a:pt x="189023" y="16610"/>
                  </a:cubicBezTo>
                  <a:cubicBezTo>
                    <a:pt x="173461" y="22835"/>
                    <a:pt x="164124" y="35285"/>
                    <a:pt x="154787" y="44622"/>
                  </a:cubicBezTo>
                  <a:cubicBezTo>
                    <a:pt x="148562" y="50847"/>
                    <a:pt x="145450" y="57071"/>
                    <a:pt x="139225" y="63296"/>
                  </a:cubicBezTo>
                  <a:cubicBezTo>
                    <a:pt x="126775" y="69521"/>
                    <a:pt x="114326" y="75746"/>
                    <a:pt x="104989" y="81971"/>
                  </a:cubicBezTo>
                  <a:cubicBezTo>
                    <a:pt x="104989" y="78858"/>
                    <a:pt x="111213" y="69521"/>
                    <a:pt x="92539" y="78858"/>
                  </a:cubicBezTo>
                  <a:cubicBezTo>
                    <a:pt x="76977" y="88195"/>
                    <a:pt x="70752" y="100645"/>
                    <a:pt x="70752" y="119319"/>
                  </a:cubicBezTo>
                  <a:cubicBezTo>
                    <a:pt x="11617" y="122432"/>
                    <a:pt x="-7058" y="209579"/>
                    <a:pt x="2280" y="268714"/>
                  </a:cubicBezTo>
                  <a:close/>
                </a:path>
              </a:pathLst>
            </a:custGeom>
            <a:solidFill>
              <a:srgbClr val="664540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DFEDFC1B-1F22-4168-9F88-25F78D4331A0}"/>
                </a:ext>
              </a:extLst>
            </p:cNvPr>
            <p:cNvSpPr/>
            <p:nvPr/>
          </p:nvSpPr>
          <p:spPr>
            <a:xfrm>
              <a:off x="3830187" y="3392520"/>
              <a:ext cx="117492" cy="45907"/>
            </a:xfrm>
            <a:custGeom>
              <a:avLst/>
              <a:gdLst>
                <a:gd name="connsiteX0" fmla="*/ 95706 w 117492"/>
                <a:gd name="connsiteY0" fmla="*/ 45908 h 45907"/>
                <a:gd name="connsiteX1" fmla="*/ 2334 w 117492"/>
                <a:gd name="connsiteY1" fmla="*/ 11671 h 45907"/>
                <a:gd name="connsiteX2" fmla="*/ 2334 w 117492"/>
                <a:gd name="connsiteY2" fmla="*/ 2334 h 45907"/>
                <a:gd name="connsiteX3" fmla="*/ 11671 w 117492"/>
                <a:gd name="connsiteY3" fmla="*/ 2334 h 45907"/>
                <a:gd name="connsiteX4" fmla="*/ 111268 w 117492"/>
                <a:gd name="connsiteY4" fmla="*/ 33458 h 45907"/>
                <a:gd name="connsiteX5" fmla="*/ 117493 w 117492"/>
                <a:gd name="connsiteY5" fmla="*/ 39683 h 45907"/>
                <a:gd name="connsiteX6" fmla="*/ 111268 w 117492"/>
                <a:gd name="connsiteY6" fmla="*/ 45908 h 45907"/>
                <a:gd name="connsiteX7" fmla="*/ 95706 w 117492"/>
                <a:gd name="connsiteY7" fmla="*/ 45908 h 4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492" h="45907">
                  <a:moveTo>
                    <a:pt x="95706" y="45908"/>
                  </a:moveTo>
                  <a:cubicBezTo>
                    <a:pt x="70807" y="45908"/>
                    <a:pt x="27233" y="42795"/>
                    <a:pt x="2334" y="11671"/>
                  </a:cubicBezTo>
                  <a:cubicBezTo>
                    <a:pt x="-778" y="8559"/>
                    <a:pt x="-778" y="5447"/>
                    <a:pt x="2334" y="2334"/>
                  </a:cubicBezTo>
                  <a:cubicBezTo>
                    <a:pt x="5447" y="-778"/>
                    <a:pt x="8559" y="-778"/>
                    <a:pt x="11671" y="2334"/>
                  </a:cubicBezTo>
                  <a:cubicBezTo>
                    <a:pt x="42795" y="39683"/>
                    <a:pt x="108156" y="33458"/>
                    <a:pt x="111268" y="33458"/>
                  </a:cubicBezTo>
                  <a:cubicBezTo>
                    <a:pt x="114380" y="33458"/>
                    <a:pt x="117493" y="36571"/>
                    <a:pt x="117493" y="39683"/>
                  </a:cubicBezTo>
                  <a:cubicBezTo>
                    <a:pt x="117493" y="42795"/>
                    <a:pt x="114380" y="45908"/>
                    <a:pt x="111268" y="45908"/>
                  </a:cubicBezTo>
                  <a:cubicBezTo>
                    <a:pt x="111268" y="45908"/>
                    <a:pt x="105043" y="45908"/>
                    <a:pt x="95706" y="45908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E933EFA7-77F6-4A89-83CF-1E4521131459}"/>
                </a:ext>
              </a:extLst>
            </p:cNvPr>
            <p:cNvSpPr/>
            <p:nvPr/>
          </p:nvSpPr>
          <p:spPr>
            <a:xfrm>
              <a:off x="4700879" y="4182290"/>
              <a:ext cx="277002" cy="246880"/>
            </a:xfrm>
            <a:custGeom>
              <a:avLst/>
              <a:gdLst>
                <a:gd name="connsiteX0" fmla="*/ 230317 w 277002"/>
                <a:gd name="connsiteY0" fmla="*/ 183631 h 246880"/>
                <a:gd name="connsiteX1" fmla="*/ 261441 w 277002"/>
                <a:gd name="connsiteY1" fmla="*/ 136945 h 246880"/>
                <a:gd name="connsiteX2" fmla="*/ 277003 w 277002"/>
                <a:gd name="connsiteY2" fmla="*/ 102709 h 246880"/>
                <a:gd name="connsiteX3" fmla="*/ 258329 w 277002"/>
                <a:gd name="connsiteY3" fmla="*/ 49798 h 246880"/>
                <a:gd name="connsiteX4" fmla="*/ 248991 w 277002"/>
                <a:gd name="connsiteY4" fmla="*/ 0 h 246880"/>
                <a:gd name="connsiteX5" fmla="*/ 0 w 277002"/>
                <a:gd name="connsiteY5" fmla="*/ 124496 h 246880"/>
                <a:gd name="connsiteX6" fmla="*/ 52911 w 277002"/>
                <a:gd name="connsiteY6" fmla="*/ 239654 h 246880"/>
                <a:gd name="connsiteX7" fmla="*/ 189856 w 277002"/>
                <a:gd name="connsiteY7" fmla="*/ 208530 h 246880"/>
                <a:gd name="connsiteX8" fmla="*/ 230317 w 277002"/>
                <a:gd name="connsiteY8" fmla="*/ 183631 h 246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7002" h="246880">
                  <a:moveTo>
                    <a:pt x="230317" y="183631"/>
                  </a:moveTo>
                  <a:cubicBezTo>
                    <a:pt x="230317" y="174294"/>
                    <a:pt x="255216" y="155620"/>
                    <a:pt x="261441" y="136945"/>
                  </a:cubicBezTo>
                  <a:cubicBezTo>
                    <a:pt x="261441" y="133833"/>
                    <a:pt x="277003" y="115158"/>
                    <a:pt x="277003" y="102709"/>
                  </a:cubicBezTo>
                  <a:cubicBezTo>
                    <a:pt x="277003" y="90259"/>
                    <a:pt x="239654" y="56023"/>
                    <a:pt x="258329" y="49798"/>
                  </a:cubicBezTo>
                  <a:cubicBezTo>
                    <a:pt x="270778" y="43573"/>
                    <a:pt x="258329" y="0"/>
                    <a:pt x="248991" y="0"/>
                  </a:cubicBezTo>
                  <a:cubicBezTo>
                    <a:pt x="180519" y="3112"/>
                    <a:pt x="12450" y="37349"/>
                    <a:pt x="0" y="124496"/>
                  </a:cubicBezTo>
                  <a:cubicBezTo>
                    <a:pt x="0" y="124496"/>
                    <a:pt x="24899" y="224092"/>
                    <a:pt x="52911" y="239654"/>
                  </a:cubicBezTo>
                  <a:cubicBezTo>
                    <a:pt x="93372" y="264553"/>
                    <a:pt x="146283" y="217867"/>
                    <a:pt x="189856" y="208530"/>
                  </a:cubicBezTo>
                  <a:cubicBezTo>
                    <a:pt x="220980" y="202305"/>
                    <a:pt x="227205" y="202305"/>
                    <a:pt x="230317" y="183631"/>
                  </a:cubicBezTo>
                  <a:close/>
                </a:path>
              </a:pathLst>
            </a:custGeom>
            <a:solidFill>
              <a:srgbClr val="F49F84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4" name="图形 1">
              <a:extLst>
                <a:ext uri="{FF2B5EF4-FFF2-40B4-BE49-F238E27FC236}">
                  <a16:creationId xmlns:a16="http://schemas.microsoft.com/office/drawing/2014/main" id="{C3F75FC0-680C-4F4E-B017-0F2B6772FE73}"/>
                </a:ext>
              </a:extLst>
            </p:cNvPr>
            <p:cNvGrpSpPr/>
            <p:nvPr/>
          </p:nvGrpSpPr>
          <p:grpSpPr>
            <a:xfrm>
              <a:off x="4622723" y="6411540"/>
              <a:ext cx="545014" cy="238876"/>
              <a:chOff x="4622723" y="6411540"/>
              <a:chExt cx="545014" cy="238876"/>
            </a:xfrm>
          </p:grpSpPr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07FE50C9-7D2B-410F-A801-99DC0E483AF0}"/>
                  </a:ext>
                </a:extLst>
              </p:cNvPr>
              <p:cNvSpPr/>
              <p:nvPr/>
            </p:nvSpPr>
            <p:spPr>
              <a:xfrm>
                <a:off x="4622723" y="6420099"/>
                <a:ext cx="545014" cy="180518"/>
              </a:xfrm>
              <a:custGeom>
                <a:avLst/>
                <a:gdLst>
                  <a:gd name="connsiteX0" fmla="*/ 9683 w 545014"/>
                  <a:gd name="connsiteY0" fmla="*/ 52911 h 180518"/>
                  <a:gd name="connsiteX1" fmla="*/ 205764 w 545014"/>
                  <a:gd name="connsiteY1" fmla="*/ 0 h 180518"/>
                  <a:gd name="connsiteX2" fmla="*/ 355159 w 545014"/>
                  <a:gd name="connsiteY2" fmla="*/ 90260 h 180518"/>
                  <a:gd name="connsiteX3" fmla="*/ 545014 w 545014"/>
                  <a:gd name="connsiteY3" fmla="*/ 180519 h 180518"/>
                  <a:gd name="connsiteX4" fmla="*/ 9683 w 545014"/>
                  <a:gd name="connsiteY4" fmla="*/ 180519 h 180518"/>
                  <a:gd name="connsiteX5" fmla="*/ 9683 w 545014"/>
                  <a:gd name="connsiteY5" fmla="*/ 52911 h 180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5014" h="180518">
                    <a:moveTo>
                      <a:pt x="9683" y="52911"/>
                    </a:moveTo>
                    <a:cubicBezTo>
                      <a:pt x="9683" y="52911"/>
                      <a:pt x="134179" y="74698"/>
                      <a:pt x="205764" y="0"/>
                    </a:cubicBezTo>
                    <a:cubicBezTo>
                      <a:pt x="205764" y="0"/>
                      <a:pt x="305360" y="80922"/>
                      <a:pt x="355159" y="90260"/>
                    </a:cubicBezTo>
                    <a:cubicBezTo>
                      <a:pt x="404957" y="99596"/>
                      <a:pt x="529452" y="99596"/>
                      <a:pt x="545014" y="180519"/>
                    </a:cubicBezTo>
                    <a:lnTo>
                      <a:pt x="9683" y="180519"/>
                    </a:lnTo>
                    <a:cubicBezTo>
                      <a:pt x="9683" y="180519"/>
                      <a:pt x="-12104" y="108934"/>
                      <a:pt x="9683" y="52911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A1AA7E6E-9A22-4414-8CED-B8FC31E57650}"/>
                  </a:ext>
                </a:extLst>
              </p:cNvPr>
              <p:cNvSpPr/>
              <p:nvPr/>
            </p:nvSpPr>
            <p:spPr>
              <a:xfrm>
                <a:off x="4632406" y="6600618"/>
                <a:ext cx="535331" cy="49798"/>
              </a:xfrm>
              <a:custGeom>
                <a:avLst/>
                <a:gdLst>
                  <a:gd name="connsiteX0" fmla="*/ 0 w 535331"/>
                  <a:gd name="connsiteY0" fmla="*/ 0 h 49798"/>
                  <a:gd name="connsiteX1" fmla="*/ 535331 w 535331"/>
                  <a:gd name="connsiteY1" fmla="*/ 0 h 49798"/>
                  <a:gd name="connsiteX2" fmla="*/ 535331 w 535331"/>
                  <a:gd name="connsiteY2" fmla="*/ 49798 h 49798"/>
                  <a:gd name="connsiteX3" fmla="*/ 0 w 535331"/>
                  <a:gd name="connsiteY3" fmla="*/ 49798 h 49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5331" h="49798">
                    <a:moveTo>
                      <a:pt x="0" y="0"/>
                    </a:moveTo>
                    <a:lnTo>
                      <a:pt x="535331" y="0"/>
                    </a:lnTo>
                    <a:lnTo>
                      <a:pt x="535331" y="49798"/>
                    </a:lnTo>
                    <a:lnTo>
                      <a:pt x="0" y="49798"/>
                    </a:ln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B40D0BD6-02E1-4505-8264-C82A4D55096A}"/>
                  </a:ext>
                </a:extLst>
              </p:cNvPr>
              <p:cNvSpPr/>
              <p:nvPr/>
            </p:nvSpPr>
            <p:spPr>
              <a:xfrm>
                <a:off x="4623069" y="6411540"/>
                <a:ext cx="207752" cy="70806"/>
              </a:xfrm>
              <a:custGeom>
                <a:avLst/>
                <a:gdLst>
                  <a:gd name="connsiteX0" fmla="*/ 43574 w 207752"/>
                  <a:gd name="connsiteY0" fmla="*/ 70807 h 70806"/>
                  <a:gd name="connsiteX1" fmla="*/ 6225 w 207752"/>
                  <a:gd name="connsiteY1" fmla="*/ 67695 h 70806"/>
                  <a:gd name="connsiteX2" fmla="*/ 0 w 207752"/>
                  <a:gd name="connsiteY2" fmla="*/ 61470 h 70806"/>
                  <a:gd name="connsiteX3" fmla="*/ 6225 w 207752"/>
                  <a:gd name="connsiteY3" fmla="*/ 55245 h 70806"/>
                  <a:gd name="connsiteX4" fmla="*/ 196081 w 207752"/>
                  <a:gd name="connsiteY4" fmla="*/ 2334 h 70806"/>
                  <a:gd name="connsiteX5" fmla="*/ 205418 w 207752"/>
                  <a:gd name="connsiteY5" fmla="*/ 2334 h 70806"/>
                  <a:gd name="connsiteX6" fmla="*/ 205418 w 207752"/>
                  <a:gd name="connsiteY6" fmla="*/ 11672 h 70806"/>
                  <a:gd name="connsiteX7" fmla="*/ 43574 w 207752"/>
                  <a:gd name="connsiteY7" fmla="*/ 70807 h 70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7752" h="70806">
                    <a:moveTo>
                      <a:pt x="43574" y="70807"/>
                    </a:moveTo>
                    <a:cubicBezTo>
                      <a:pt x="21787" y="70807"/>
                      <a:pt x="9337" y="67695"/>
                      <a:pt x="6225" y="67695"/>
                    </a:cubicBezTo>
                    <a:cubicBezTo>
                      <a:pt x="3112" y="67695"/>
                      <a:pt x="0" y="64582"/>
                      <a:pt x="0" y="61470"/>
                    </a:cubicBezTo>
                    <a:cubicBezTo>
                      <a:pt x="0" y="58358"/>
                      <a:pt x="3112" y="55245"/>
                      <a:pt x="6225" y="55245"/>
                    </a:cubicBezTo>
                    <a:cubicBezTo>
                      <a:pt x="6225" y="55245"/>
                      <a:pt x="118271" y="73920"/>
                      <a:pt x="196081" y="2334"/>
                    </a:cubicBezTo>
                    <a:cubicBezTo>
                      <a:pt x="199193" y="-778"/>
                      <a:pt x="202305" y="-778"/>
                      <a:pt x="205418" y="2334"/>
                    </a:cubicBezTo>
                    <a:cubicBezTo>
                      <a:pt x="208530" y="5447"/>
                      <a:pt x="208530" y="8559"/>
                      <a:pt x="205418" y="11672"/>
                    </a:cubicBezTo>
                    <a:cubicBezTo>
                      <a:pt x="152507" y="61470"/>
                      <a:pt x="84035" y="70807"/>
                      <a:pt x="43574" y="708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5" name="图形 1">
              <a:extLst>
                <a:ext uri="{FF2B5EF4-FFF2-40B4-BE49-F238E27FC236}">
                  <a16:creationId xmlns:a16="http://schemas.microsoft.com/office/drawing/2014/main" id="{A623615F-6163-46CD-8438-E89144DB38F0}"/>
                </a:ext>
              </a:extLst>
            </p:cNvPr>
            <p:cNvGrpSpPr/>
            <p:nvPr/>
          </p:nvGrpSpPr>
          <p:grpSpPr>
            <a:xfrm>
              <a:off x="4115403" y="6411540"/>
              <a:ext cx="545014" cy="238876"/>
              <a:chOff x="4115403" y="6411540"/>
              <a:chExt cx="545014" cy="238876"/>
            </a:xfrm>
          </p:grpSpPr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E214C498-BCA9-4F80-A676-FC4EA84046EC}"/>
                  </a:ext>
                </a:extLst>
              </p:cNvPr>
              <p:cNvSpPr/>
              <p:nvPr/>
            </p:nvSpPr>
            <p:spPr>
              <a:xfrm>
                <a:off x="4115403" y="6420099"/>
                <a:ext cx="545014" cy="180518"/>
              </a:xfrm>
              <a:custGeom>
                <a:avLst/>
                <a:gdLst>
                  <a:gd name="connsiteX0" fmla="*/ 9683 w 545014"/>
                  <a:gd name="connsiteY0" fmla="*/ 52911 h 180518"/>
                  <a:gd name="connsiteX1" fmla="*/ 205764 w 545014"/>
                  <a:gd name="connsiteY1" fmla="*/ 0 h 180518"/>
                  <a:gd name="connsiteX2" fmla="*/ 355158 w 545014"/>
                  <a:gd name="connsiteY2" fmla="*/ 90260 h 180518"/>
                  <a:gd name="connsiteX3" fmla="*/ 545015 w 545014"/>
                  <a:gd name="connsiteY3" fmla="*/ 180519 h 180518"/>
                  <a:gd name="connsiteX4" fmla="*/ 9683 w 545014"/>
                  <a:gd name="connsiteY4" fmla="*/ 180519 h 180518"/>
                  <a:gd name="connsiteX5" fmla="*/ 9683 w 545014"/>
                  <a:gd name="connsiteY5" fmla="*/ 52911 h 180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5014" h="180518">
                    <a:moveTo>
                      <a:pt x="9683" y="52911"/>
                    </a:moveTo>
                    <a:cubicBezTo>
                      <a:pt x="9683" y="52911"/>
                      <a:pt x="134179" y="74698"/>
                      <a:pt x="205764" y="0"/>
                    </a:cubicBezTo>
                    <a:cubicBezTo>
                      <a:pt x="205764" y="0"/>
                      <a:pt x="305360" y="80922"/>
                      <a:pt x="355158" y="90260"/>
                    </a:cubicBezTo>
                    <a:cubicBezTo>
                      <a:pt x="404957" y="99596"/>
                      <a:pt x="529453" y="99596"/>
                      <a:pt x="545015" y="180519"/>
                    </a:cubicBezTo>
                    <a:lnTo>
                      <a:pt x="9683" y="180519"/>
                    </a:lnTo>
                    <a:cubicBezTo>
                      <a:pt x="9683" y="180519"/>
                      <a:pt x="-12104" y="108934"/>
                      <a:pt x="9683" y="52911"/>
                    </a:cubicBezTo>
                    <a:close/>
                  </a:path>
                </a:pathLst>
              </a:custGeom>
              <a:solidFill>
                <a:srgbClr val="6C5D6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D960C608-6533-4F48-ACC2-B68FFCADB0FA}"/>
                  </a:ext>
                </a:extLst>
              </p:cNvPr>
              <p:cNvSpPr/>
              <p:nvPr/>
            </p:nvSpPr>
            <p:spPr>
              <a:xfrm>
                <a:off x="4125086" y="6600618"/>
                <a:ext cx="535331" cy="49798"/>
              </a:xfrm>
              <a:custGeom>
                <a:avLst/>
                <a:gdLst>
                  <a:gd name="connsiteX0" fmla="*/ 0 w 535331"/>
                  <a:gd name="connsiteY0" fmla="*/ 0 h 49798"/>
                  <a:gd name="connsiteX1" fmla="*/ 535331 w 535331"/>
                  <a:gd name="connsiteY1" fmla="*/ 0 h 49798"/>
                  <a:gd name="connsiteX2" fmla="*/ 535331 w 535331"/>
                  <a:gd name="connsiteY2" fmla="*/ 49798 h 49798"/>
                  <a:gd name="connsiteX3" fmla="*/ 0 w 535331"/>
                  <a:gd name="connsiteY3" fmla="*/ 49798 h 49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5331" h="49798">
                    <a:moveTo>
                      <a:pt x="0" y="0"/>
                    </a:moveTo>
                    <a:lnTo>
                      <a:pt x="535331" y="0"/>
                    </a:lnTo>
                    <a:lnTo>
                      <a:pt x="535331" y="49798"/>
                    </a:lnTo>
                    <a:lnTo>
                      <a:pt x="0" y="49798"/>
                    </a:ln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424EC91B-C199-48E9-8A33-D8059043B262}"/>
                  </a:ext>
                </a:extLst>
              </p:cNvPr>
              <p:cNvSpPr/>
              <p:nvPr/>
            </p:nvSpPr>
            <p:spPr>
              <a:xfrm>
                <a:off x="4115749" y="6411540"/>
                <a:ext cx="207752" cy="70806"/>
              </a:xfrm>
              <a:custGeom>
                <a:avLst/>
                <a:gdLst>
                  <a:gd name="connsiteX0" fmla="*/ 43574 w 207752"/>
                  <a:gd name="connsiteY0" fmla="*/ 70807 h 70806"/>
                  <a:gd name="connsiteX1" fmla="*/ 6225 w 207752"/>
                  <a:gd name="connsiteY1" fmla="*/ 67695 h 70806"/>
                  <a:gd name="connsiteX2" fmla="*/ 0 w 207752"/>
                  <a:gd name="connsiteY2" fmla="*/ 61470 h 70806"/>
                  <a:gd name="connsiteX3" fmla="*/ 6225 w 207752"/>
                  <a:gd name="connsiteY3" fmla="*/ 55245 h 70806"/>
                  <a:gd name="connsiteX4" fmla="*/ 196081 w 207752"/>
                  <a:gd name="connsiteY4" fmla="*/ 2334 h 70806"/>
                  <a:gd name="connsiteX5" fmla="*/ 205418 w 207752"/>
                  <a:gd name="connsiteY5" fmla="*/ 2334 h 70806"/>
                  <a:gd name="connsiteX6" fmla="*/ 205418 w 207752"/>
                  <a:gd name="connsiteY6" fmla="*/ 11672 h 70806"/>
                  <a:gd name="connsiteX7" fmla="*/ 43574 w 207752"/>
                  <a:gd name="connsiteY7" fmla="*/ 70807 h 70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7752" h="70806">
                    <a:moveTo>
                      <a:pt x="43574" y="70807"/>
                    </a:moveTo>
                    <a:cubicBezTo>
                      <a:pt x="21787" y="70807"/>
                      <a:pt x="9337" y="67695"/>
                      <a:pt x="6225" y="67695"/>
                    </a:cubicBezTo>
                    <a:cubicBezTo>
                      <a:pt x="3112" y="67695"/>
                      <a:pt x="0" y="64582"/>
                      <a:pt x="0" y="61470"/>
                    </a:cubicBezTo>
                    <a:cubicBezTo>
                      <a:pt x="0" y="58358"/>
                      <a:pt x="3112" y="55245"/>
                      <a:pt x="6225" y="55245"/>
                    </a:cubicBezTo>
                    <a:cubicBezTo>
                      <a:pt x="6225" y="55245"/>
                      <a:pt x="118271" y="73920"/>
                      <a:pt x="196081" y="2334"/>
                    </a:cubicBezTo>
                    <a:cubicBezTo>
                      <a:pt x="199193" y="-778"/>
                      <a:pt x="202305" y="-778"/>
                      <a:pt x="205418" y="2334"/>
                    </a:cubicBezTo>
                    <a:cubicBezTo>
                      <a:pt x="208530" y="5447"/>
                      <a:pt x="208530" y="8559"/>
                      <a:pt x="205418" y="11672"/>
                    </a:cubicBezTo>
                    <a:cubicBezTo>
                      <a:pt x="155620" y="61470"/>
                      <a:pt x="87147" y="70807"/>
                      <a:pt x="43574" y="7080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6" name="图形 1">
              <a:extLst>
                <a:ext uri="{FF2B5EF4-FFF2-40B4-BE49-F238E27FC236}">
                  <a16:creationId xmlns:a16="http://schemas.microsoft.com/office/drawing/2014/main" id="{320130AB-F0B2-49A0-856E-624F6C1AB345}"/>
                </a:ext>
              </a:extLst>
            </p:cNvPr>
            <p:cNvGrpSpPr/>
            <p:nvPr/>
          </p:nvGrpSpPr>
          <p:grpSpPr>
            <a:xfrm>
              <a:off x="3379235" y="2783005"/>
              <a:ext cx="1039229" cy="421993"/>
              <a:chOff x="3379235" y="2783005"/>
              <a:chExt cx="1039229" cy="421993"/>
            </a:xfrm>
          </p:grpSpPr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EE13AF6A-F3B1-4CA2-B916-B222033EE4C1}"/>
                  </a:ext>
                </a:extLst>
              </p:cNvPr>
              <p:cNvSpPr/>
              <p:nvPr/>
            </p:nvSpPr>
            <p:spPr>
              <a:xfrm>
                <a:off x="3671369" y="2783005"/>
                <a:ext cx="453717" cy="219687"/>
              </a:xfrm>
              <a:custGeom>
                <a:avLst/>
                <a:gdLst>
                  <a:gd name="connsiteX0" fmla="*/ 2421 w 453717"/>
                  <a:gd name="connsiteY0" fmla="*/ 219688 h 219687"/>
                  <a:gd name="connsiteX1" fmla="*/ 67781 w 453717"/>
                  <a:gd name="connsiteY1" fmla="*/ 36057 h 219687"/>
                  <a:gd name="connsiteX2" fmla="*/ 322997 w 453717"/>
                  <a:gd name="connsiteY2" fmla="*/ 1820 h 219687"/>
                  <a:gd name="connsiteX3" fmla="*/ 453718 w 453717"/>
                  <a:gd name="connsiteY3" fmla="*/ 157440 h 219687"/>
                  <a:gd name="connsiteX4" fmla="*/ 2421 w 453717"/>
                  <a:gd name="connsiteY4" fmla="*/ 219688 h 219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3717" h="219687">
                    <a:moveTo>
                      <a:pt x="2421" y="219688"/>
                    </a:moveTo>
                    <a:cubicBezTo>
                      <a:pt x="2421" y="219688"/>
                      <a:pt x="-19366" y="79630"/>
                      <a:pt x="67781" y="36057"/>
                    </a:cubicBezTo>
                    <a:cubicBezTo>
                      <a:pt x="126916" y="4933"/>
                      <a:pt x="254525" y="-4404"/>
                      <a:pt x="322997" y="1820"/>
                    </a:cubicBezTo>
                    <a:cubicBezTo>
                      <a:pt x="435043" y="17382"/>
                      <a:pt x="447493" y="107642"/>
                      <a:pt x="453718" y="157440"/>
                    </a:cubicBezTo>
                    <a:lnTo>
                      <a:pt x="2421" y="219688"/>
                    </a:lnTo>
                    <a:close/>
                  </a:path>
                </a:pathLst>
              </a:custGeom>
              <a:solidFill>
                <a:srgbClr val="F1DDBA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80B17B0D-2CAA-42AC-81ED-4B377C894F40}"/>
                  </a:ext>
                </a:extLst>
              </p:cNvPr>
              <p:cNvSpPr/>
              <p:nvPr/>
            </p:nvSpPr>
            <p:spPr>
              <a:xfrm>
                <a:off x="3379235" y="2907454"/>
                <a:ext cx="1039229" cy="297544"/>
              </a:xfrm>
              <a:custGeom>
                <a:avLst/>
                <a:gdLst>
                  <a:gd name="connsiteX0" fmla="*/ 490636 w 1039229"/>
                  <a:gd name="connsiteY0" fmla="*/ 98351 h 297544"/>
                  <a:gd name="connsiteX1" fmla="*/ 76687 w 1039229"/>
                  <a:gd name="connsiteY1" fmla="*/ 297544 h 297544"/>
                  <a:gd name="connsiteX2" fmla="*/ 1990 w 1039229"/>
                  <a:gd name="connsiteY2" fmla="*/ 244633 h 297544"/>
                  <a:gd name="connsiteX3" fmla="*/ 475074 w 1039229"/>
                  <a:gd name="connsiteY3" fmla="*/ 23653 h 297544"/>
                  <a:gd name="connsiteX4" fmla="*/ 1035304 w 1039229"/>
                  <a:gd name="connsiteY4" fmla="*/ 76564 h 297544"/>
                  <a:gd name="connsiteX5" fmla="*/ 1010405 w 1039229"/>
                  <a:gd name="connsiteY5" fmla="*/ 138812 h 297544"/>
                  <a:gd name="connsiteX6" fmla="*/ 490636 w 1039229"/>
                  <a:gd name="connsiteY6" fmla="*/ 98351 h 297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9229" h="297544">
                    <a:moveTo>
                      <a:pt x="490636" y="98351"/>
                    </a:moveTo>
                    <a:cubicBezTo>
                      <a:pt x="250981" y="135700"/>
                      <a:pt x="73575" y="225959"/>
                      <a:pt x="76687" y="297544"/>
                    </a:cubicBezTo>
                    <a:cubicBezTo>
                      <a:pt x="36226" y="285094"/>
                      <a:pt x="8215" y="266420"/>
                      <a:pt x="1990" y="244633"/>
                    </a:cubicBezTo>
                    <a:cubicBezTo>
                      <a:pt x="-22909" y="169936"/>
                      <a:pt x="188733" y="70339"/>
                      <a:pt x="475074" y="23653"/>
                    </a:cubicBezTo>
                    <a:cubicBezTo>
                      <a:pt x="758301" y="-23032"/>
                      <a:pt x="1010405" y="1867"/>
                      <a:pt x="1035304" y="76564"/>
                    </a:cubicBezTo>
                    <a:cubicBezTo>
                      <a:pt x="1041529" y="101463"/>
                      <a:pt x="1044641" y="113913"/>
                      <a:pt x="1010405" y="138812"/>
                    </a:cubicBezTo>
                    <a:cubicBezTo>
                      <a:pt x="973056" y="67227"/>
                      <a:pt x="736514" y="57890"/>
                      <a:pt x="490636" y="98351"/>
                    </a:cubicBezTo>
                    <a:close/>
                  </a:path>
                </a:pathLst>
              </a:custGeom>
              <a:solidFill>
                <a:srgbClr val="F1DDBA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28B7D86B-118A-4E10-94D9-2DC73ED8DBED}"/>
                  </a:ext>
                </a:extLst>
              </p:cNvPr>
              <p:cNvSpPr/>
              <p:nvPr/>
            </p:nvSpPr>
            <p:spPr>
              <a:xfrm>
                <a:off x="3664452" y="2903096"/>
                <a:ext cx="463746" cy="71584"/>
              </a:xfrm>
              <a:custGeom>
                <a:avLst/>
                <a:gdLst>
                  <a:gd name="connsiteX0" fmla="*/ 6225 w 463746"/>
                  <a:gd name="connsiteY0" fmla="*/ 71585 h 71584"/>
                  <a:gd name="connsiteX1" fmla="*/ 0 w 463746"/>
                  <a:gd name="connsiteY1" fmla="*/ 68473 h 71584"/>
                  <a:gd name="connsiteX2" fmla="*/ 3112 w 463746"/>
                  <a:gd name="connsiteY2" fmla="*/ 62248 h 71584"/>
                  <a:gd name="connsiteX3" fmla="*/ 457522 w 463746"/>
                  <a:gd name="connsiteY3" fmla="*/ 0 h 71584"/>
                  <a:gd name="connsiteX4" fmla="*/ 457522 w 463746"/>
                  <a:gd name="connsiteY4" fmla="*/ 0 h 71584"/>
                  <a:gd name="connsiteX5" fmla="*/ 463746 w 463746"/>
                  <a:gd name="connsiteY5" fmla="*/ 6225 h 71584"/>
                  <a:gd name="connsiteX6" fmla="*/ 457522 w 463746"/>
                  <a:gd name="connsiteY6" fmla="*/ 12449 h 71584"/>
                  <a:gd name="connsiteX7" fmla="*/ 6225 w 463746"/>
                  <a:gd name="connsiteY7" fmla="*/ 71585 h 71584"/>
                  <a:gd name="connsiteX8" fmla="*/ 6225 w 463746"/>
                  <a:gd name="connsiteY8" fmla="*/ 71585 h 7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3746" h="71584">
                    <a:moveTo>
                      <a:pt x="6225" y="71585"/>
                    </a:moveTo>
                    <a:cubicBezTo>
                      <a:pt x="3112" y="71585"/>
                      <a:pt x="0" y="68473"/>
                      <a:pt x="0" y="68473"/>
                    </a:cubicBezTo>
                    <a:cubicBezTo>
                      <a:pt x="0" y="65360"/>
                      <a:pt x="0" y="62248"/>
                      <a:pt x="3112" y="62248"/>
                    </a:cubicBezTo>
                    <a:cubicBezTo>
                      <a:pt x="202305" y="6225"/>
                      <a:pt x="454409" y="0"/>
                      <a:pt x="457522" y="0"/>
                    </a:cubicBezTo>
                    <a:cubicBezTo>
                      <a:pt x="457522" y="0"/>
                      <a:pt x="457522" y="0"/>
                      <a:pt x="457522" y="0"/>
                    </a:cubicBezTo>
                    <a:cubicBezTo>
                      <a:pt x="460634" y="0"/>
                      <a:pt x="463746" y="3112"/>
                      <a:pt x="463746" y="6225"/>
                    </a:cubicBezTo>
                    <a:cubicBezTo>
                      <a:pt x="463746" y="9337"/>
                      <a:pt x="460634" y="12449"/>
                      <a:pt x="457522" y="12449"/>
                    </a:cubicBezTo>
                    <a:cubicBezTo>
                      <a:pt x="457522" y="9337"/>
                      <a:pt x="208530" y="15562"/>
                      <a:pt x="6225" y="71585"/>
                    </a:cubicBezTo>
                    <a:cubicBezTo>
                      <a:pt x="9337" y="71585"/>
                      <a:pt x="6225" y="71585"/>
                      <a:pt x="6225" y="71585"/>
                    </a:cubicBezTo>
                    <a:close/>
                  </a:path>
                </a:pathLst>
              </a:custGeom>
              <a:solidFill>
                <a:srgbClr val="D39778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7" name="图形 1">
              <a:extLst>
                <a:ext uri="{FF2B5EF4-FFF2-40B4-BE49-F238E27FC236}">
                  <a16:creationId xmlns:a16="http://schemas.microsoft.com/office/drawing/2014/main" id="{984CF999-C35C-4ADC-B7D3-E139617E633C}"/>
                </a:ext>
              </a:extLst>
            </p:cNvPr>
            <p:cNvGrpSpPr/>
            <p:nvPr/>
          </p:nvGrpSpPr>
          <p:grpSpPr>
            <a:xfrm>
              <a:off x="4828487" y="2553531"/>
              <a:ext cx="1459137" cy="3147605"/>
              <a:chOff x="4828487" y="2553531"/>
              <a:chExt cx="1459137" cy="3147605"/>
            </a:xfrm>
            <a:solidFill>
              <a:srgbClr val="38333D"/>
            </a:solidFill>
          </p:grpSpPr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21A7587C-0A31-45D6-9130-3C80356EBD53}"/>
                  </a:ext>
                </a:extLst>
              </p:cNvPr>
              <p:cNvSpPr/>
              <p:nvPr/>
            </p:nvSpPr>
            <p:spPr>
              <a:xfrm>
                <a:off x="4828487" y="2553531"/>
                <a:ext cx="1451152" cy="1974177"/>
              </a:xfrm>
              <a:custGeom>
                <a:avLst/>
                <a:gdLst>
                  <a:gd name="connsiteX0" fmla="*/ 1397464 w 1451152"/>
                  <a:gd name="connsiteY0" fmla="*/ 35214 h 1974177"/>
                  <a:gd name="connsiteX1" fmla="*/ 1254294 w 1451152"/>
                  <a:gd name="connsiteY1" fmla="*/ 7202 h 1974177"/>
                  <a:gd name="connsiteX2" fmla="*/ 890144 w 1451152"/>
                  <a:gd name="connsiteY2" fmla="*/ 38326 h 1974177"/>
                  <a:gd name="connsiteX3" fmla="*/ 578905 w 1451152"/>
                  <a:gd name="connsiteY3" fmla="*/ 231295 h 1974177"/>
                  <a:gd name="connsiteX4" fmla="*/ 361038 w 1451152"/>
                  <a:gd name="connsiteY4" fmla="*/ 526972 h 1974177"/>
                  <a:gd name="connsiteX5" fmla="*/ 118271 w 1451152"/>
                  <a:gd name="connsiteY5" fmla="*/ 1217923 h 1974177"/>
                  <a:gd name="connsiteX6" fmla="*/ 56023 w 1451152"/>
                  <a:gd name="connsiteY6" fmla="*/ 1575848 h 1974177"/>
                  <a:gd name="connsiteX7" fmla="*/ 37349 w 1451152"/>
                  <a:gd name="connsiteY7" fmla="*/ 1585185 h 1974177"/>
                  <a:gd name="connsiteX8" fmla="*/ 0 w 1451152"/>
                  <a:gd name="connsiteY8" fmla="*/ 1949335 h 1974177"/>
                  <a:gd name="connsiteX9" fmla="*/ 102709 w 1451152"/>
                  <a:gd name="connsiteY9" fmla="*/ 1958672 h 1974177"/>
                  <a:gd name="connsiteX10" fmla="*/ 133833 w 1451152"/>
                  <a:gd name="connsiteY10" fmla="*/ 1582073 h 1974177"/>
                  <a:gd name="connsiteX11" fmla="*/ 108934 w 1451152"/>
                  <a:gd name="connsiteY11" fmla="*/ 1572736 h 1974177"/>
                  <a:gd name="connsiteX12" fmla="*/ 136945 w 1451152"/>
                  <a:gd name="connsiteY12" fmla="*/ 1351756 h 1974177"/>
                  <a:gd name="connsiteX13" fmla="*/ 161845 w 1451152"/>
                  <a:gd name="connsiteY13" fmla="*/ 1351756 h 1974177"/>
                  <a:gd name="connsiteX14" fmla="*/ 158732 w 1451152"/>
                  <a:gd name="connsiteY14" fmla="*/ 1320632 h 1974177"/>
                  <a:gd name="connsiteX15" fmla="*/ 143170 w 1451152"/>
                  <a:gd name="connsiteY15" fmla="*/ 1320632 h 1974177"/>
                  <a:gd name="connsiteX16" fmla="*/ 158732 w 1451152"/>
                  <a:gd name="connsiteY16" fmla="*/ 1227260 h 1974177"/>
                  <a:gd name="connsiteX17" fmla="*/ 214755 w 1451152"/>
                  <a:gd name="connsiteY17" fmla="*/ 1000055 h 1974177"/>
                  <a:gd name="connsiteX18" fmla="*/ 227205 w 1451152"/>
                  <a:gd name="connsiteY18" fmla="*/ 1003168 h 1974177"/>
                  <a:gd name="connsiteX19" fmla="*/ 239654 w 1451152"/>
                  <a:gd name="connsiteY19" fmla="*/ 975156 h 1974177"/>
                  <a:gd name="connsiteX20" fmla="*/ 224092 w 1451152"/>
                  <a:gd name="connsiteY20" fmla="*/ 972044 h 1974177"/>
                  <a:gd name="connsiteX21" fmla="*/ 326801 w 1451152"/>
                  <a:gd name="connsiteY21" fmla="*/ 691929 h 1974177"/>
                  <a:gd name="connsiteX22" fmla="*/ 333026 w 1451152"/>
                  <a:gd name="connsiteY22" fmla="*/ 698153 h 1974177"/>
                  <a:gd name="connsiteX23" fmla="*/ 351700 w 1451152"/>
                  <a:gd name="connsiteY23" fmla="*/ 673254 h 1974177"/>
                  <a:gd name="connsiteX24" fmla="*/ 339251 w 1451152"/>
                  <a:gd name="connsiteY24" fmla="*/ 663917 h 1974177"/>
                  <a:gd name="connsiteX25" fmla="*/ 395274 w 1451152"/>
                  <a:gd name="connsiteY25" fmla="*/ 551871 h 1974177"/>
                  <a:gd name="connsiteX26" fmla="*/ 482421 w 1451152"/>
                  <a:gd name="connsiteY26" fmla="*/ 405589 h 1974177"/>
                  <a:gd name="connsiteX27" fmla="*/ 497983 w 1451152"/>
                  <a:gd name="connsiteY27" fmla="*/ 418038 h 1974177"/>
                  <a:gd name="connsiteX28" fmla="*/ 516657 w 1451152"/>
                  <a:gd name="connsiteY28" fmla="*/ 393139 h 1974177"/>
                  <a:gd name="connsiteX29" fmla="*/ 501095 w 1451152"/>
                  <a:gd name="connsiteY29" fmla="*/ 380689 h 1974177"/>
                  <a:gd name="connsiteX30" fmla="*/ 603804 w 1451152"/>
                  <a:gd name="connsiteY30" fmla="*/ 259306 h 1974177"/>
                  <a:gd name="connsiteX31" fmla="*/ 731412 w 1451152"/>
                  <a:gd name="connsiteY31" fmla="*/ 156597 h 1974177"/>
                  <a:gd name="connsiteX32" fmla="*/ 737637 w 1451152"/>
                  <a:gd name="connsiteY32" fmla="*/ 172159 h 1974177"/>
                  <a:gd name="connsiteX33" fmla="*/ 768761 w 1451152"/>
                  <a:gd name="connsiteY33" fmla="*/ 169047 h 1974177"/>
                  <a:gd name="connsiteX34" fmla="*/ 759424 w 1451152"/>
                  <a:gd name="connsiteY34" fmla="*/ 141035 h 1974177"/>
                  <a:gd name="connsiteX35" fmla="*/ 899481 w 1451152"/>
                  <a:gd name="connsiteY35" fmla="*/ 75675 h 1974177"/>
                  <a:gd name="connsiteX36" fmla="*/ 1073775 w 1451152"/>
                  <a:gd name="connsiteY36" fmla="*/ 38326 h 1974177"/>
                  <a:gd name="connsiteX37" fmla="*/ 1073775 w 1451152"/>
                  <a:gd name="connsiteY37" fmla="*/ 41439 h 1974177"/>
                  <a:gd name="connsiteX38" fmla="*/ 1080000 w 1451152"/>
                  <a:gd name="connsiteY38" fmla="*/ 57001 h 1974177"/>
                  <a:gd name="connsiteX39" fmla="*/ 1108012 w 1451152"/>
                  <a:gd name="connsiteY39" fmla="*/ 44551 h 1974177"/>
                  <a:gd name="connsiteX40" fmla="*/ 1104899 w 1451152"/>
                  <a:gd name="connsiteY40" fmla="*/ 35214 h 1974177"/>
                  <a:gd name="connsiteX41" fmla="*/ 1254294 w 1451152"/>
                  <a:gd name="connsiteY41" fmla="*/ 38326 h 1974177"/>
                  <a:gd name="connsiteX42" fmla="*/ 1397464 w 1451152"/>
                  <a:gd name="connsiteY42" fmla="*/ 57001 h 1974177"/>
                  <a:gd name="connsiteX43" fmla="*/ 1397464 w 1451152"/>
                  <a:gd name="connsiteY43" fmla="*/ 35214 h 1974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451152" h="1974177">
                    <a:moveTo>
                      <a:pt x="1397464" y="35214"/>
                    </a:moveTo>
                    <a:cubicBezTo>
                      <a:pt x="1350778" y="22764"/>
                      <a:pt x="1304092" y="13427"/>
                      <a:pt x="1254294" y="7202"/>
                    </a:cubicBezTo>
                    <a:cubicBezTo>
                      <a:pt x="1132911" y="-8360"/>
                      <a:pt x="1008415" y="978"/>
                      <a:pt x="890144" y="38326"/>
                    </a:cubicBezTo>
                    <a:cubicBezTo>
                      <a:pt x="771873" y="75675"/>
                      <a:pt x="666052" y="144148"/>
                      <a:pt x="578905" y="231295"/>
                    </a:cubicBezTo>
                    <a:cubicBezTo>
                      <a:pt x="491758" y="318442"/>
                      <a:pt x="420173" y="418038"/>
                      <a:pt x="361038" y="526972"/>
                    </a:cubicBezTo>
                    <a:cubicBezTo>
                      <a:pt x="242767" y="741727"/>
                      <a:pt x="168069" y="978269"/>
                      <a:pt x="118271" y="1217923"/>
                    </a:cubicBezTo>
                    <a:cubicBezTo>
                      <a:pt x="93372" y="1336194"/>
                      <a:pt x="71585" y="1454465"/>
                      <a:pt x="56023" y="1575848"/>
                    </a:cubicBezTo>
                    <a:cubicBezTo>
                      <a:pt x="46686" y="1578960"/>
                      <a:pt x="37349" y="1585185"/>
                      <a:pt x="37349" y="1585185"/>
                    </a:cubicBezTo>
                    <a:cubicBezTo>
                      <a:pt x="21787" y="1613197"/>
                      <a:pt x="0" y="1949335"/>
                      <a:pt x="0" y="1949335"/>
                    </a:cubicBezTo>
                    <a:cubicBezTo>
                      <a:pt x="37349" y="1999133"/>
                      <a:pt x="102709" y="1958672"/>
                      <a:pt x="102709" y="1958672"/>
                    </a:cubicBezTo>
                    <a:cubicBezTo>
                      <a:pt x="99597" y="1930661"/>
                      <a:pt x="133833" y="1582073"/>
                      <a:pt x="133833" y="1582073"/>
                    </a:cubicBezTo>
                    <a:cubicBezTo>
                      <a:pt x="127608" y="1575848"/>
                      <a:pt x="118271" y="1572736"/>
                      <a:pt x="108934" y="1572736"/>
                    </a:cubicBezTo>
                    <a:cubicBezTo>
                      <a:pt x="118271" y="1498038"/>
                      <a:pt x="127608" y="1426453"/>
                      <a:pt x="136945" y="1351756"/>
                    </a:cubicBezTo>
                    <a:cubicBezTo>
                      <a:pt x="143170" y="1354868"/>
                      <a:pt x="152507" y="1354868"/>
                      <a:pt x="161845" y="1351756"/>
                    </a:cubicBezTo>
                    <a:cubicBezTo>
                      <a:pt x="180519" y="1348643"/>
                      <a:pt x="177406" y="1317520"/>
                      <a:pt x="158732" y="1320632"/>
                    </a:cubicBezTo>
                    <a:cubicBezTo>
                      <a:pt x="152507" y="1320632"/>
                      <a:pt x="149395" y="1320632"/>
                      <a:pt x="143170" y="1320632"/>
                    </a:cubicBezTo>
                    <a:cubicBezTo>
                      <a:pt x="149395" y="1289508"/>
                      <a:pt x="152507" y="1258384"/>
                      <a:pt x="158732" y="1227260"/>
                    </a:cubicBezTo>
                    <a:cubicBezTo>
                      <a:pt x="174294" y="1149450"/>
                      <a:pt x="192968" y="1074753"/>
                      <a:pt x="214755" y="1000055"/>
                    </a:cubicBezTo>
                    <a:cubicBezTo>
                      <a:pt x="217867" y="1000055"/>
                      <a:pt x="224092" y="1003168"/>
                      <a:pt x="227205" y="1003168"/>
                    </a:cubicBezTo>
                    <a:cubicBezTo>
                      <a:pt x="245879" y="1009393"/>
                      <a:pt x="258329" y="981381"/>
                      <a:pt x="239654" y="975156"/>
                    </a:cubicBezTo>
                    <a:cubicBezTo>
                      <a:pt x="233429" y="975156"/>
                      <a:pt x="230317" y="972044"/>
                      <a:pt x="224092" y="972044"/>
                    </a:cubicBezTo>
                    <a:cubicBezTo>
                      <a:pt x="252104" y="875560"/>
                      <a:pt x="286340" y="782188"/>
                      <a:pt x="326801" y="691929"/>
                    </a:cubicBezTo>
                    <a:cubicBezTo>
                      <a:pt x="329914" y="695041"/>
                      <a:pt x="329914" y="695041"/>
                      <a:pt x="333026" y="698153"/>
                    </a:cubicBezTo>
                    <a:cubicBezTo>
                      <a:pt x="348588" y="710603"/>
                      <a:pt x="367262" y="685704"/>
                      <a:pt x="351700" y="673254"/>
                    </a:cubicBezTo>
                    <a:cubicBezTo>
                      <a:pt x="348588" y="670142"/>
                      <a:pt x="342363" y="667030"/>
                      <a:pt x="339251" y="663917"/>
                    </a:cubicBezTo>
                    <a:cubicBezTo>
                      <a:pt x="357925" y="626568"/>
                      <a:pt x="373487" y="589220"/>
                      <a:pt x="395274" y="551871"/>
                    </a:cubicBezTo>
                    <a:cubicBezTo>
                      <a:pt x="420173" y="502073"/>
                      <a:pt x="451297" y="452274"/>
                      <a:pt x="482421" y="405589"/>
                    </a:cubicBezTo>
                    <a:cubicBezTo>
                      <a:pt x="488646" y="408701"/>
                      <a:pt x="494870" y="414926"/>
                      <a:pt x="497983" y="418038"/>
                    </a:cubicBezTo>
                    <a:cubicBezTo>
                      <a:pt x="513545" y="430488"/>
                      <a:pt x="532219" y="405589"/>
                      <a:pt x="516657" y="393139"/>
                    </a:cubicBezTo>
                    <a:cubicBezTo>
                      <a:pt x="510432" y="390027"/>
                      <a:pt x="504208" y="383802"/>
                      <a:pt x="501095" y="380689"/>
                    </a:cubicBezTo>
                    <a:cubicBezTo>
                      <a:pt x="532219" y="337116"/>
                      <a:pt x="566455" y="296655"/>
                      <a:pt x="603804" y="259306"/>
                    </a:cubicBezTo>
                    <a:cubicBezTo>
                      <a:pt x="644265" y="218845"/>
                      <a:pt x="684726" y="184609"/>
                      <a:pt x="731412" y="156597"/>
                    </a:cubicBezTo>
                    <a:cubicBezTo>
                      <a:pt x="734525" y="162822"/>
                      <a:pt x="737637" y="165934"/>
                      <a:pt x="737637" y="172159"/>
                    </a:cubicBezTo>
                    <a:cubicBezTo>
                      <a:pt x="740749" y="190833"/>
                      <a:pt x="771873" y="187721"/>
                      <a:pt x="768761" y="169047"/>
                    </a:cubicBezTo>
                    <a:cubicBezTo>
                      <a:pt x="768761" y="159710"/>
                      <a:pt x="762536" y="150372"/>
                      <a:pt x="759424" y="141035"/>
                    </a:cubicBezTo>
                    <a:cubicBezTo>
                      <a:pt x="802997" y="116136"/>
                      <a:pt x="849683" y="94349"/>
                      <a:pt x="899481" y="75675"/>
                    </a:cubicBezTo>
                    <a:cubicBezTo>
                      <a:pt x="955504" y="57001"/>
                      <a:pt x="1014640" y="44551"/>
                      <a:pt x="1073775" y="38326"/>
                    </a:cubicBezTo>
                    <a:cubicBezTo>
                      <a:pt x="1073775" y="38326"/>
                      <a:pt x="1073775" y="41439"/>
                      <a:pt x="1073775" y="41439"/>
                    </a:cubicBezTo>
                    <a:cubicBezTo>
                      <a:pt x="1076888" y="47663"/>
                      <a:pt x="1076888" y="50776"/>
                      <a:pt x="1080000" y="57001"/>
                    </a:cubicBezTo>
                    <a:cubicBezTo>
                      <a:pt x="1086225" y="75675"/>
                      <a:pt x="1114236" y="63225"/>
                      <a:pt x="1108012" y="44551"/>
                    </a:cubicBezTo>
                    <a:cubicBezTo>
                      <a:pt x="1108012" y="41439"/>
                      <a:pt x="1104899" y="38326"/>
                      <a:pt x="1104899" y="35214"/>
                    </a:cubicBezTo>
                    <a:cubicBezTo>
                      <a:pt x="1154698" y="32101"/>
                      <a:pt x="1204496" y="32101"/>
                      <a:pt x="1254294" y="38326"/>
                    </a:cubicBezTo>
                    <a:cubicBezTo>
                      <a:pt x="1304092" y="44551"/>
                      <a:pt x="1350778" y="47663"/>
                      <a:pt x="1397464" y="57001"/>
                    </a:cubicBezTo>
                    <a:cubicBezTo>
                      <a:pt x="1469049" y="63225"/>
                      <a:pt x="1469049" y="53888"/>
                      <a:pt x="1397464" y="35214"/>
                    </a:cubicBez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8C72566B-1571-4A61-8523-0BB7F5BABC61}"/>
                  </a:ext>
                </a:extLst>
              </p:cNvPr>
              <p:cNvSpPr/>
              <p:nvPr/>
            </p:nvSpPr>
            <p:spPr>
              <a:xfrm>
                <a:off x="6117017" y="2604307"/>
                <a:ext cx="170607" cy="3096829"/>
              </a:xfrm>
              <a:custGeom>
                <a:avLst/>
                <a:gdLst>
                  <a:gd name="connsiteX0" fmla="*/ 0 w 170607"/>
                  <a:gd name="connsiteY0" fmla="*/ 3096830 h 3096829"/>
                  <a:gd name="connsiteX1" fmla="*/ 155620 w 170607"/>
                  <a:gd name="connsiteY1" fmla="*/ 9337 h 3096829"/>
                  <a:gd name="connsiteX2" fmla="*/ 168069 w 170607"/>
                  <a:gd name="connsiteY2" fmla="*/ 0 h 3096829"/>
                  <a:gd name="connsiteX3" fmla="*/ 15562 w 170607"/>
                  <a:gd name="connsiteY3" fmla="*/ 3093718 h 3096829"/>
                  <a:gd name="connsiteX4" fmla="*/ 0 w 170607"/>
                  <a:gd name="connsiteY4" fmla="*/ 3096830 h 309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607" h="3096829">
                    <a:moveTo>
                      <a:pt x="0" y="3096830"/>
                    </a:moveTo>
                    <a:cubicBezTo>
                      <a:pt x="161845" y="1465937"/>
                      <a:pt x="161845" y="21787"/>
                      <a:pt x="155620" y="9337"/>
                    </a:cubicBezTo>
                    <a:lnTo>
                      <a:pt x="168069" y="0"/>
                    </a:lnTo>
                    <a:cubicBezTo>
                      <a:pt x="177406" y="12450"/>
                      <a:pt x="168069" y="1655793"/>
                      <a:pt x="15562" y="3093718"/>
                    </a:cubicBezTo>
                    <a:lnTo>
                      <a:pt x="0" y="3096830"/>
                    </a:ln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8" name="图形 1">
              <a:extLst>
                <a:ext uri="{FF2B5EF4-FFF2-40B4-BE49-F238E27FC236}">
                  <a16:creationId xmlns:a16="http://schemas.microsoft.com/office/drawing/2014/main" id="{BAD3D1D4-3DDF-4E81-B96E-5EDF947D9FEC}"/>
                </a:ext>
              </a:extLst>
            </p:cNvPr>
            <p:cNvGrpSpPr/>
            <p:nvPr/>
          </p:nvGrpSpPr>
          <p:grpSpPr>
            <a:xfrm>
              <a:off x="4825374" y="4186799"/>
              <a:ext cx="201718" cy="196066"/>
              <a:chOff x="4825374" y="4186799"/>
              <a:chExt cx="201718" cy="196066"/>
            </a:xfrm>
          </p:grpSpPr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BC5B4300-E3E1-4FE0-AA0F-9C6874E2487E}"/>
                  </a:ext>
                </a:extLst>
              </p:cNvPr>
              <p:cNvSpPr/>
              <p:nvPr/>
            </p:nvSpPr>
            <p:spPr>
              <a:xfrm>
                <a:off x="4857974" y="4188514"/>
                <a:ext cx="169119" cy="71585"/>
              </a:xfrm>
              <a:custGeom>
                <a:avLst/>
                <a:gdLst>
                  <a:gd name="connsiteX0" fmla="*/ 160369 w 169119"/>
                  <a:gd name="connsiteY0" fmla="*/ 12450 h 71585"/>
                  <a:gd name="connsiteX1" fmla="*/ 57660 w 169119"/>
                  <a:gd name="connsiteY1" fmla="*/ 3112 h 71585"/>
                  <a:gd name="connsiteX2" fmla="*/ 42098 w 169119"/>
                  <a:gd name="connsiteY2" fmla="*/ 0 h 71585"/>
                  <a:gd name="connsiteX3" fmla="*/ 23424 w 169119"/>
                  <a:gd name="connsiteY3" fmla="*/ 6225 h 71585"/>
                  <a:gd name="connsiteX4" fmla="*/ 1637 w 169119"/>
                  <a:gd name="connsiteY4" fmla="*/ 52911 h 71585"/>
                  <a:gd name="connsiteX5" fmla="*/ 48323 w 169119"/>
                  <a:gd name="connsiteY5" fmla="*/ 71585 h 71585"/>
                  <a:gd name="connsiteX6" fmla="*/ 116796 w 169119"/>
                  <a:gd name="connsiteY6" fmla="*/ 71585 h 71585"/>
                  <a:gd name="connsiteX7" fmla="*/ 163481 w 169119"/>
                  <a:gd name="connsiteY7" fmla="*/ 56023 h 71585"/>
                  <a:gd name="connsiteX8" fmla="*/ 160369 w 169119"/>
                  <a:gd name="connsiteY8" fmla="*/ 12450 h 71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9119" h="71585">
                    <a:moveTo>
                      <a:pt x="160369" y="12450"/>
                    </a:moveTo>
                    <a:cubicBezTo>
                      <a:pt x="135470" y="-3112"/>
                      <a:pt x="95009" y="3112"/>
                      <a:pt x="57660" y="3112"/>
                    </a:cubicBezTo>
                    <a:cubicBezTo>
                      <a:pt x="54548" y="3112"/>
                      <a:pt x="45210" y="0"/>
                      <a:pt x="42098" y="0"/>
                    </a:cubicBezTo>
                    <a:cubicBezTo>
                      <a:pt x="35873" y="0"/>
                      <a:pt x="29649" y="3112"/>
                      <a:pt x="23424" y="6225"/>
                    </a:cubicBezTo>
                    <a:cubicBezTo>
                      <a:pt x="7862" y="15562"/>
                      <a:pt x="-4588" y="34236"/>
                      <a:pt x="1637" y="52911"/>
                    </a:cubicBezTo>
                    <a:cubicBezTo>
                      <a:pt x="7862" y="71585"/>
                      <a:pt x="32761" y="68473"/>
                      <a:pt x="48323" y="71585"/>
                    </a:cubicBezTo>
                    <a:cubicBezTo>
                      <a:pt x="70110" y="71585"/>
                      <a:pt x="91896" y="71585"/>
                      <a:pt x="116796" y="71585"/>
                    </a:cubicBezTo>
                    <a:cubicBezTo>
                      <a:pt x="132358" y="71585"/>
                      <a:pt x="151032" y="71585"/>
                      <a:pt x="163481" y="56023"/>
                    </a:cubicBezTo>
                    <a:cubicBezTo>
                      <a:pt x="172819" y="37349"/>
                      <a:pt x="169706" y="18674"/>
                      <a:pt x="160369" y="1245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E3D656DC-8A79-45CA-BC0D-5FCA48967677}"/>
                  </a:ext>
                </a:extLst>
              </p:cNvPr>
              <p:cNvSpPr/>
              <p:nvPr/>
            </p:nvSpPr>
            <p:spPr>
              <a:xfrm>
                <a:off x="4829962" y="4234002"/>
                <a:ext cx="171692" cy="79008"/>
              </a:xfrm>
              <a:custGeom>
                <a:avLst/>
                <a:gdLst>
                  <a:gd name="connsiteX0" fmla="*/ 163481 w 171692"/>
                  <a:gd name="connsiteY0" fmla="*/ 16760 h 79008"/>
                  <a:gd name="connsiteX1" fmla="*/ 51435 w 171692"/>
                  <a:gd name="connsiteY1" fmla="*/ 4311 h 79008"/>
                  <a:gd name="connsiteX2" fmla="*/ 42098 w 171692"/>
                  <a:gd name="connsiteY2" fmla="*/ 7423 h 79008"/>
                  <a:gd name="connsiteX3" fmla="*/ 23424 w 171692"/>
                  <a:gd name="connsiteY3" fmla="*/ 13648 h 79008"/>
                  <a:gd name="connsiteX4" fmla="*/ 1637 w 171692"/>
                  <a:gd name="connsiteY4" fmla="*/ 60334 h 79008"/>
                  <a:gd name="connsiteX5" fmla="*/ 48323 w 171692"/>
                  <a:gd name="connsiteY5" fmla="*/ 79008 h 79008"/>
                  <a:gd name="connsiteX6" fmla="*/ 116795 w 171692"/>
                  <a:gd name="connsiteY6" fmla="*/ 79008 h 79008"/>
                  <a:gd name="connsiteX7" fmla="*/ 163481 w 171692"/>
                  <a:gd name="connsiteY7" fmla="*/ 63446 h 79008"/>
                  <a:gd name="connsiteX8" fmla="*/ 163481 w 171692"/>
                  <a:gd name="connsiteY8" fmla="*/ 16760 h 79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1692" h="79008">
                    <a:moveTo>
                      <a:pt x="163481" y="16760"/>
                    </a:moveTo>
                    <a:cubicBezTo>
                      <a:pt x="135470" y="-11251"/>
                      <a:pt x="91896" y="4311"/>
                      <a:pt x="51435" y="4311"/>
                    </a:cubicBezTo>
                    <a:cubicBezTo>
                      <a:pt x="48323" y="4311"/>
                      <a:pt x="45210" y="4311"/>
                      <a:pt x="42098" y="7423"/>
                    </a:cubicBezTo>
                    <a:cubicBezTo>
                      <a:pt x="35873" y="7423"/>
                      <a:pt x="29648" y="10536"/>
                      <a:pt x="23424" y="13648"/>
                    </a:cubicBezTo>
                    <a:cubicBezTo>
                      <a:pt x="7862" y="22985"/>
                      <a:pt x="-4588" y="41660"/>
                      <a:pt x="1637" y="60334"/>
                    </a:cubicBezTo>
                    <a:cubicBezTo>
                      <a:pt x="7862" y="79008"/>
                      <a:pt x="32761" y="75896"/>
                      <a:pt x="48323" y="79008"/>
                    </a:cubicBezTo>
                    <a:cubicBezTo>
                      <a:pt x="70110" y="79008"/>
                      <a:pt x="91896" y="79008"/>
                      <a:pt x="116795" y="79008"/>
                    </a:cubicBezTo>
                    <a:cubicBezTo>
                      <a:pt x="132357" y="79008"/>
                      <a:pt x="151032" y="79008"/>
                      <a:pt x="163481" y="63446"/>
                    </a:cubicBezTo>
                    <a:cubicBezTo>
                      <a:pt x="175931" y="41660"/>
                      <a:pt x="172819" y="26098"/>
                      <a:pt x="163481" y="1676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C26CA217-D48F-4BCF-8720-9261D1CCD5E9}"/>
                  </a:ext>
                </a:extLst>
              </p:cNvPr>
              <p:cNvSpPr/>
              <p:nvPr/>
            </p:nvSpPr>
            <p:spPr>
              <a:xfrm>
                <a:off x="4834108" y="4284565"/>
                <a:ext cx="148872" cy="58790"/>
              </a:xfrm>
              <a:custGeom>
                <a:avLst/>
                <a:gdLst>
                  <a:gd name="connsiteX0" fmla="*/ 140661 w 148872"/>
                  <a:gd name="connsiteY0" fmla="*/ 15995 h 58790"/>
                  <a:gd name="connsiteX1" fmla="*/ 44177 w 148872"/>
                  <a:gd name="connsiteY1" fmla="*/ 433 h 58790"/>
                  <a:gd name="connsiteX2" fmla="*/ 34839 w 148872"/>
                  <a:gd name="connsiteY2" fmla="*/ 433 h 58790"/>
                  <a:gd name="connsiteX3" fmla="*/ 19278 w 148872"/>
                  <a:gd name="connsiteY3" fmla="*/ 3546 h 58790"/>
                  <a:gd name="connsiteX4" fmla="*/ 603 w 148872"/>
                  <a:gd name="connsiteY4" fmla="*/ 40895 h 58790"/>
                  <a:gd name="connsiteX5" fmla="*/ 41064 w 148872"/>
                  <a:gd name="connsiteY5" fmla="*/ 56457 h 58790"/>
                  <a:gd name="connsiteX6" fmla="*/ 100200 w 148872"/>
                  <a:gd name="connsiteY6" fmla="*/ 56457 h 58790"/>
                  <a:gd name="connsiteX7" fmla="*/ 140661 w 148872"/>
                  <a:gd name="connsiteY7" fmla="*/ 44007 h 58790"/>
                  <a:gd name="connsiteX8" fmla="*/ 140661 w 148872"/>
                  <a:gd name="connsiteY8" fmla="*/ 15995 h 58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872" h="58790">
                    <a:moveTo>
                      <a:pt x="140661" y="15995"/>
                    </a:moveTo>
                    <a:cubicBezTo>
                      <a:pt x="115762" y="-8904"/>
                      <a:pt x="78413" y="3546"/>
                      <a:pt x="44177" y="433"/>
                    </a:cubicBezTo>
                    <a:cubicBezTo>
                      <a:pt x="41064" y="433"/>
                      <a:pt x="37952" y="433"/>
                      <a:pt x="34839" y="433"/>
                    </a:cubicBezTo>
                    <a:cubicBezTo>
                      <a:pt x="28615" y="433"/>
                      <a:pt x="25502" y="3546"/>
                      <a:pt x="19278" y="3546"/>
                    </a:cubicBezTo>
                    <a:cubicBezTo>
                      <a:pt x="6828" y="9771"/>
                      <a:pt x="-2509" y="28445"/>
                      <a:pt x="603" y="40895"/>
                    </a:cubicBezTo>
                    <a:cubicBezTo>
                      <a:pt x="6828" y="56457"/>
                      <a:pt x="25502" y="56457"/>
                      <a:pt x="41064" y="56457"/>
                    </a:cubicBezTo>
                    <a:cubicBezTo>
                      <a:pt x="59739" y="59569"/>
                      <a:pt x="81525" y="59569"/>
                      <a:pt x="100200" y="56457"/>
                    </a:cubicBezTo>
                    <a:cubicBezTo>
                      <a:pt x="112649" y="56457"/>
                      <a:pt x="131324" y="56457"/>
                      <a:pt x="140661" y="44007"/>
                    </a:cubicBezTo>
                    <a:cubicBezTo>
                      <a:pt x="153110" y="40895"/>
                      <a:pt x="149998" y="25333"/>
                      <a:pt x="140661" y="15995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09F0B836-CEC7-4A69-8853-59E09FFC77D5}"/>
                  </a:ext>
                </a:extLst>
              </p:cNvPr>
              <p:cNvSpPr/>
              <p:nvPr/>
            </p:nvSpPr>
            <p:spPr>
              <a:xfrm>
                <a:off x="4848258" y="4335575"/>
                <a:ext cx="110617" cy="47291"/>
              </a:xfrm>
              <a:custGeom>
                <a:avLst/>
                <a:gdLst>
                  <a:gd name="connsiteX0" fmla="*/ 104724 w 110617"/>
                  <a:gd name="connsiteY0" fmla="*/ 11671 h 47291"/>
                  <a:gd name="connsiteX1" fmla="*/ 33140 w 110617"/>
                  <a:gd name="connsiteY1" fmla="*/ 2334 h 47291"/>
                  <a:gd name="connsiteX2" fmla="*/ 26915 w 110617"/>
                  <a:gd name="connsiteY2" fmla="*/ 2334 h 47291"/>
                  <a:gd name="connsiteX3" fmla="*/ 14465 w 110617"/>
                  <a:gd name="connsiteY3" fmla="*/ 5447 h 47291"/>
                  <a:gd name="connsiteX4" fmla="*/ 2016 w 110617"/>
                  <a:gd name="connsiteY4" fmla="*/ 33458 h 47291"/>
                  <a:gd name="connsiteX5" fmla="*/ 30027 w 110617"/>
                  <a:gd name="connsiteY5" fmla="*/ 45908 h 47291"/>
                  <a:gd name="connsiteX6" fmla="*/ 73600 w 110617"/>
                  <a:gd name="connsiteY6" fmla="*/ 45908 h 47291"/>
                  <a:gd name="connsiteX7" fmla="*/ 104724 w 110617"/>
                  <a:gd name="connsiteY7" fmla="*/ 36571 h 47291"/>
                  <a:gd name="connsiteX8" fmla="*/ 104724 w 110617"/>
                  <a:gd name="connsiteY8" fmla="*/ 11671 h 47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617" h="47291">
                    <a:moveTo>
                      <a:pt x="104724" y="11671"/>
                    </a:moveTo>
                    <a:cubicBezTo>
                      <a:pt x="86050" y="-7003"/>
                      <a:pt x="58038" y="2334"/>
                      <a:pt x="33140" y="2334"/>
                    </a:cubicBezTo>
                    <a:cubicBezTo>
                      <a:pt x="30027" y="2334"/>
                      <a:pt x="30027" y="2334"/>
                      <a:pt x="26915" y="2334"/>
                    </a:cubicBezTo>
                    <a:cubicBezTo>
                      <a:pt x="23802" y="2334"/>
                      <a:pt x="20690" y="2334"/>
                      <a:pt x="14465" y="5447"/>
                    </a:cubicBezTo>
                    <a:cubicBezTo>
                      <a:pt x="5128" y="11671"/>
                      <a:pt x="-4209" y="24121"/>
                      <a:pt x="2016" y="33458"/>
                    </a:cubicBezTo>
                    <a:cubicBezTo>
                      <a:pt x="5128" y="45908"/>
                      <a:pt x="20690" y="45908"/>
                      <a:pt x="30027" y="45908"/>
                    </a:cubicBezTo>
                    <a:cubicBezTo>
                      <a:pt x="45589" y="45908"/>
                      <a:pt x="58038" y="49020"/>
                      <a:pt x="73600" y="45908"/>
                    </a:cubicBezTo>
                    <a:cubicBezTo>
                      <a:pt x="82938" y="45908"/>
                      <a:pt x="95387" y="45908"/>
                      <a:pt x="104724" y="36571"/>
                    </a:cubicBezTo>
                    <a:cubicBezTo>
                      <a:pt x="114062" y="30346"/>
                      <a:pt x="110949" y="17896"/>
                      <a:pt x="104724" y="1167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2F64E7E3-6380-4394-80E7-C2B9E82B6B65}"/>
                  </a:ext>
                </a:extLst>
              </p:cNvPr>
              <p:cNvSpPr/>
              <p:nvPr/>
            </p:nvSpPr>
            <p:spPr>
              <a:xfrm>
                <a:off x="4825374" y="4186799"/>
                <a:ext cx="181807" cy="126210"/>
              </a:xfrm>
              <a:custGeom>
                <a:avLst/>
                <a:gdLst>
                  <a:gd name="connsiteX0" fmla="*/ 87147 w 181807"/>
                  <a:gd name="connsiteY0" fmla="*/ 126211 h 126210"/>
                  <a:gd name="connsiteX1" fmla="*/ 68473 w 181807"/>
                  <a:gd name="connsiteY1" fmla="*/ 126211 h 126210"/>
                  <a:gd name="connsiteX2" fmla="*/ 0 w 181807"/>
                  <a:gd name="connsiteY2" fmla="*/ 95087 h 126210"/>
                  <a:gd name="connsiteX3" fmla="*/ 28012 w 181807"/>
                  <a:gd name="connsiteY3" fmla="*/ 51513 h 126210"/>
                  <a:gd name="connsiteX4" fmla="*/ 28012 w 181807"/>
                  <a:gd name="connsiteY4" fmla="*/ 51513 h 126210"/>
                  <a:gd name="connsiteX5" fmla="*/ 24899 w 181807"/>
                  <a:gd name="connsiteY5" fmla="*/ 35951 h 126210"/>
                  <a:gd name="connsiteX6" fmla="*/ 34236 w 181807"/>
                  <a:gd name="connsiteY6" fmla="*/ 17277 h 126210"/>
                  <a:gd name="connsiteX7" fmla="*/ 152507 w 181807"/>
                  <a:gd name="connsiteY7" fmla="*/ 1715 h 126210"/>
                  <a:gd name="connsiteX8" fmla="*/ 158732 w 181807"/>
                  <a:gd name="connsiteY8" fmla="*/ 7940 h 126210"/>
                  <a:gd name="connsiteX9" fmla="*/ 152507 w 181807"/>
                  <a:gd name="connsiteY9" fmla="*/ 14165 h 126210"/>
                  <a:gd name="connsiteX10" fmla="*/ 43574 w 181807"/>
                  <a:gd name="connsiteY10" fmla="*/ 26614 h 126210"/>
                  <a:gd name="connsiteX11" fmla="*/ 37349 w 181807"/>
                  <a:gd name="connsiteY11" fmla="*/ 39064 h 126210"/>
                  <a:gd name="connsiteX12" fmla="*/ 43574 w 181807"/>
                  <a:gd name="connsiteY12" fmla="*/ 54626 h 126210"/>
                  <a:gd name="connsiteX13" fmla="*/ 164957 w 181807"/>
                  <a:gd name="connsiteY13" fmla="*/ 60851 h 126210"/>
                  <a:gd name="connsiteX14" fmla="*/ 177406 w 181807"/>
                  <a:gd name="connsiteY14" fmla="*/ 67075 h 126210"/>
                  <a:gd name="connsiteX15" fmla="*/ 180519 w 181807"/>
                  <a:gd name="connsiteY15" fmla="*/ 91974 h 126210"/>
                  <a:gd name="connsiteX16" fmla="*/ 87147 w 181807"/>
                  <a:gd name="connsiteY16" fmla="*/ 126211 h 126210"/>
                  <a:gd name="connsiteX17" fmla="*/ 34236 w 181807"/>
                  <a:gd name="connsiteY17" fmla="*/ 57738 h 126210"/>
                  <a:gd name="connsiteX18" fmla="*/ 12450 w 181807"/>
                  <a:gd name="connsiteY18" fmla="*/ 91974 h 126210"/>
                  <a:gd name="connsiteX19" fmla="*/ 68473 w 181807"/>
                  <a:gd name="connsiteY19" fmla="*/ 110649 h 126210"/>
                  <a:gd name="connsiteX20" fmla="*/ 171182 w 181807"/>
                  <a:gd name="connsiteY20" fmla="*/ 82637 h 126210"/>
                  <a:gd name="connsiteX21" fmla="*/ 171182 w 181807"/>
                  <a:gd name="connsiteY21" fmla="*/ 70188 h 126210"/>
                  <a:gd name="connsiteX22" fmla="*/ 168069 w 181807"/>
                  <a:gd name="connsiteY22" fmla="*/ 70188 h 126210"/>
                  <a:gd name="connsiteX23" fmla="*/ 168069 w 181807"/>
                  <a:gd name="connsiteY23" fmla="*/ 70188 h 126210"/>
                  <a:gd name="connsiteX24" fmla="*/ 34236 w 181807"/>
                  <a:gd name="connsiteY24" fmla="*/ 57738 h 126210"/>
                  <a:gd name="connsiteX25" fmla="*/ 34236 w 181807"/>
                  <a:gd name="connsiteY25" fmla="*/ 57738 h 126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81807" h="126210">
                    <a:moveTo>
                      <a:pt x="87147" y="126211"/>
                    </a:moveTo>
                    <a:cubicBezTo>
                      <a:pt x="80922" y="126211"/>
                      <a:pt x="74697" y="126211"/>
                      <a:pt x="68473" y="126211"/>
                    </a:cubicBezTo>
                    <a:cubicBezTo>
                      <a:pt x="34236" y="126211"/>
                      <a:pt x="0" y="123098"/>
                      <a:pt x="0" y="95087"/>
                    </a:cubicBezTo>
                    <a:cubicBezTo>
                      <a:pt x="0" y="73300"/>
                      <a:pt x="28012" y="51513"/>
                      <a:pt x="28012" y="51513"/>
                    </a:cubicBezTo>
                    <a:cubicBezTo>
                      <a:pt x="28012" y="51513"/>
                      <a:pt x="28012" y="51513"/>
                      <a:pt x="28012" y="51513"/>
                    </a:cubicBezTo>
                    <a:cubicBezTo>
                      <a:pt x="24899" y="45289"/>
                      <a:pt x="24899" y="39064"/>
                      <a:pt x="24899" y="35951"/>
                    </a:cubicBezTo>
                    <a:cubicBezTo>
                      <a:pt x="24899" y="29727"/>
                      <a:pt x="28012" y="20389"/>
                      <a:pt x="34236" y="17277"/>
                    </a:cubicBezTo>
                    <a:cubicBezTo>
                      <a:pt x="62248" y="-7622"/>
                      <a:pt x="146283" y="1715"/>
                      <a:pt x="152507" y="1715"/>
                    </a:cubicBezTo>
                    <a:cubicBezTo>
                      <a:pt x="155620" y="1715"/>
                      <a:pt x="158732" y="4827"/>
                      <a:pt x="158732" y="7940"/>
                    </a:cubicBezTo>
                    <a:cubicBezTo>
                      <a:pt x="158732" y="11052"/>
                      <a:pt x="155620" y="14165"/>
                      <a:pt x="152507" y="14165"/>
                    </a:cubicBezTo>
                    <a:cubicBezTo>
                      <a:pt x="130721" y="11052"/>
                      <a:pt x="65360" y="7940"/>
                      <a:pt x="43574" y="26614"/>
                    </a:cubicBezTo>
                    <a:cubicBezTo>
                      <a:pt x="40461" y="29727"/>
                      <a:pt x="37349" y="32839"/>
                      <a:pt x="37349" y="39064"/>
                    </a:cubicBezTo>
                    <a:cubicBezTo>
                      <a:pt x="37349" y="45289"/>
                      <a:pt x="37349" y="51513"/>
                      <a:pt x="43574" y="54626"/>
                    </a:cubicBezTo>
                    <a:cubicBezTo>
                      <a:pt x="56023" y="67075"/>
                      <a:pt x="96484" y="70188"/>
                      <a:pt x="164957" y="60851"/>
                    </a:cubicBezTo>
                    <a:cubicBezTo>
                      <a:pt x="164957" y="60851"/>
                      <a:pt x="174294" y="60851"/>
                      <a:pt x="177406" y="67075"/>
                    </a:cubicBezTo>
                    <a:cubicBezTo>
                      <a:pt x="180519" y="73300"/>
                      <a:pt x="183631" y="79525"/>
                      <a:pt x="180519" y="91974"/>
                    </a:cubicBezTo>
                    <a:cubicBezTo>
                      <a:pt x="174294" y="113761"/>
                      <a:pt x="143170" y="126211"/>
                      <a:pt x="87147" y="126211"/>
                    </a:cubicBezTo>
                    <a:close/>
                    <a:moveTo>
                      <a:pt x="34236" y="57738"/>
                    </a:moveTo>
                    <a:cubicBezTo>
                      <a:pt x="28012" y="63963"/>
                      <a:pt x="12450" y="79525"/>
                      <a:pt x="12450" y="91974"/>
                    </a:cubicBezTo>
                    <a:cubicBezTo>
                      <a:pt x="12450" y="104424"/>
                      <a:pt x="24899" y="110649"/>
                      <a:pt x="68473" y="110649"/>
                    </a:cubicBezTo>
                    <a:cubicBezTo>
                      <a:pt x="127608" y="113761"/>
                      <a:pt x="164957" y="104424"/>
                      <a:pt x="171182" y="82637"/>
                    </a:cubicBezTo>
                    <a:cubicBezTo>
                      <a:pt x="174294" y="73300"/>
                      <a:pt x="171182" y="70188"/>
                      <a:pt x="171182" y="70188"/>
                    </a:cubicBezTo>
                    <a:cubicBezTo>
                      <a:pt x="171182" y="70188"/>
                      <a:pt x="168069" y="70188"/>
                      <a:pt x="168069" y="70188"/>
                    </a:cubicBezTo>
                    <a:lnTo>
                      <a:pt x="168069" y="70188"/>
                    </a:lnTo>
                    <a:cubicBezTo>
                      <a:pt x="71585" y="79525"/>
                      <a:pt x="46686" y="70188"/>
                      <a:pt x="34236" y="57738"/>
                    </a:cubicBezTo>
                    <a:cubicBezTo>
                      <a:pt x="37349" y="60851"/>
                      <a:pt x="34236" y="57738"/>
                      <a:pt x="34236" y="5773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BED11DE0-8691-46B6-AE93-DCBF65654F72}"/>
                  </a:ext>
                </a:extLst>
              </p:cNvPr>
              <p:cNvSpPr/>
              <p:nvPr/>
            </p:nvSpPr>
            <p:spPr>
              <a:xfrm>
                <a:off x="4828616" y="4291223"/>
                <a:ext cx="164827" cy="65360"/>
              </a:xfrm>
              <a:custGeom>
                <a:avLst/>
                <a:gdLst>
                  <a:gd name="connsiteX0" fmla="*/ 80793 w 164827"/>
                  <a:gd name="connsiteY0" fmla="*/ 65360 h 65360"/>
                  <a:gd name="connsiteX1" fmla="*/ 30995 w 164827"/>
                  <a:gd name="connsiteY1" fmla="*/ 59135 h 65360"/>
                  <a:gd name="connsiteX2" fmla="*/ 2984 w 164827"/>
                  <a:gd name="connsiteY2" fmla="*/ 40461 h 65360"/>
                  <a:gd name="connsiteX3" fmla="*/ 9208 w 164827"/>
                  <a:gd name="connsiteY3" fmla="*/ 3112 h 65360"/>
                  <a:gd name="connsiteX4" fmla="*/ 18545 w 164827"/>
                  <a:gd name="connsiteY4" fmla="*/ 0 h 65360"/>
                  <a:gd name="connsiteX5" fmla="*/ 21658 w 164827"/>
                  <a:gd name="connsiteY5" fmla="*/ 9337 h 65360"/>
                  <a:gd name="connsiteX6" fmla="*/ 15433 w 164827"/>
                  <a:gd name="connsiteY6" fmla="*/ 37349 h 65360"/>
                  <a:gd name="connsiteX7" fmla="*/ 34107 w 164827"/>
                  <a:gd name="connsiteY7" fmla="*/ 49798 h 65360"/>
                  <a:gd name="connsiteX8" fmla="*/ 143041 w 164827"/>
                  <a:gd name="connsiteY8" fmla="*/ 46686 h 65360"/>
                  <a:gd name="connsiteX9" fmla="*/ 149266 w 164827"/>
                  <a:gd name="connsiteY9" fmla="*/ 34236 h 65360"/>
                  <a:gd name="connsiteX10" fmla="*/ 146154 w 164827"/>
                  <a:gd name="connsiteY10" fmla="*/ 15562 h 65360"/>
                  <a:gd name="connsiteX11" fmla="*/ 146154 w 164827"/>
                  <a:gd name="connsiteY11" fmla="*/ 6225 h 65360"/>
                  <a:gd name="connsiteX12" fmla="*/ 155491 w 164827"/>
                  <a:gd name="connsiteY12" fmla="*/ 6225 h 65360"/>
                  <a:gd name="connsiteX13" fmla="*/ 164828 w 164827"/>
                  <a:gd name="connsiteY13" fmla="*/ 37349 h 65360"/>
                  <a:gd name="connsiteX14" fmla="*/ 149266 w 164827"/>
                  <a:gd name="connsiteY14" fmla="*/ 59135 h 65360"/>
                  <a:gd name="connsiteX15" fmla="*/ 80793 w 164827"/>
                  <a:gd name="connsiteY15" fmla="*/ 65360 h 65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4827" h="65360">
                    <a:moveTo>
                      <a:pt x="80793" y="65360"/>
                    </a:moveTo>
                    <a:cubicBezTo>
                      <a:pt x="65231" y="65360"/>
                      <a:pt x="46557" y="65360"/>
                      <a:pt x="30995" y="59135"/>
                    </a:cubicBezTo>
                    <a:cubicBezTo>
                      <a:pt x="15433" y="56023"/>
                      <a:pt x="6096" y="49798"/>
                      <a:pt x="2984" y="40461"/>
                    </a:cubicBezTo>
                    <a:cubicBezTo>
                      <a:pt x="-6354" y="24899"/>
                      <a:pt x="9208" y="6225"/>
                      <a:pt x="9208" y="3112"/>
                    </a:cubicBezTo>
                    <a:cubicBezTo>
                      <a:pt x="12321" y="0"/>
                      <a:pt x="15433" y="0"/>
                      <a:pt x="18545" y="0"/>
                    </a:cubicBezTo>
                    <a:cubicBezTo>
                      <a:pt x="21658" y="3112"/>
                      <a:pt x="21658" y="6225"/>
                      <a:pt x="21658" y="9337"/>
                    </a:cubicBezTo>
                    <a:cubicBezTo>
                      <a:pt x="18545" y="12449"/>
                      <a:pt x="12321" y="28011"/>
                      <a:pt x="15433" y="37349"/>
                    </a:cubicBezTo>
                    <a:cubicBezTo>
                      <a:pt x="18545" y="43573"/>
                      <a:pt x="24770" y="46686"/>
                      <a:pt x="34107" y="49798"/>
                    </a:cubicBezTo>
                    <a:cubicBezTo>
                      <a:pt x="74568" y="59135"/>
                      <a:pt x="127479" y="52911"/>
                      <a:pt x="143041" y="46686"/>
                    </a:cubicBezTo>
                    <a:cubicBezTo>
                      <a:pt x="149266" y="43573"/>
                      <a:pt x="149266" y="40461"/>
                      <a:pt x="149266" y="34236"/>
                    </a:cubicBezTo>
                    <a:cubicBezTo>
                      <a:pt x="149266" y="24899"/>
                      <a:pt x="146154" y="15562"/>
                      <a:pt x="146154" y="15562"/>
                    </a:cubicBezTo>
                    <a:cubicBezTo>
                      <a:pt x="143041" y="12449"/>
                      <a:pt x="143041" y="9337"/>
                      <a:pt x="146154" y="6225"/>
                    </a:cubicBezTo>
                    <a:cubicBezTo>
                      <a:pt x="149266" y="3112"/>
                      <a:pt x="152378" y="3112"/>
                      <a:pt x="155491" y="6225"/>
                    </a:cubicBezTo>
                    <a:cubicBezTo>
                      <a:pt x="161715" y="12449"/>
                      <a:pt x="164828" y="24899"/>
                      <a:pt x="164828" y="37349"/>
                    </a:cubicBezTo>
                    <a:cubicBezTo>
                      <a:pt x="161715" y="46686"/>
                      <a:pt x="158603" y="56023"/>
                      <a:pt x="149266" y="59135"/>
                    </a:cubicBezTo>
                    <a:cubicBezTo>
                      <a:pt x="133704" y="62248"/>
                      <a:pt x="108805" y="65360"/>
                      <a:pt x="80793" y="6536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9" name="图形 1">
              <a:extLst>
                <a:ext uri="{FF2B5EF4-FFF2-40B4-BE49-F238E27FC236}">
                  <a16:creationId xmlns:a16="http://schemas.microsoft.com/office/drawing/2014/main" id="{2C82353D-BC51-4B2A-A591-95752E239856}"/>
                </a:ext>
              </a:extLst>
            </p:cNvPr>
            <p:cNvGrpSpPr/>
            <p:nvPr/>
          </p:nvGrpSpPr>
          <p:grpSpPr>
            <a:xfrm>
              <a:off x="4737411" y="4199149"/>
              <a:ext cx="178615" cy="135647"/>
              <a:chOff x="4737411" y="4199149"/>
              <a:chExt cx="178615" cy="135647"/>
            </a:xfrm>
          </p:grpSpPr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E966DC77-0983-450B-A514-4387772B3E75}"/>
                  </a:ext>
                </a:extLst>
              </p:cNvPr>
              <p:cNvSpPr/>
              <p:nvPr/>
            </p:nvSpPr>
            <p:spPr>
              <a:xfrm>
                <a:off x="4737411" y="4214321"/>
                <a:ext cx="171203" cy="117447"/>
              </a:xfrm>
              <a:custGeom>
                <a:avLst/>
                <a:gdLst>
                  <a:gd name="connsiteX0" fmla="*/ 134649 w 171203"/>
                  <a:gd name="connsiteY0" fmla="*/ 8430 h 117447"/>
                  <a:gd name="connsiteX1" fmla="*/ 22603 w 171203"/>
                  <a:gd name="connsiteY1" fmla="*/ 23992 h 117447"/>
                  <a:gd name="connsiteX2" fmla="*/ 47502 w 171203"/>
                  <a:gd name="connsiteY2" fmla="*/ 117364 h 117447"/>
                  <a:gd name="connsiteX3" fmla="*/ 72401 w 171203"/>
                  <a:gd name="connsiteY3" fmla="*/ 67565 h 117447"/>
                  <a:gd name="connsiteX4" fmla="*/ 137762 w 171203"/>
                  <a:gd name="connsiteY4" fmla="*/ 73790 h 117447"/>
                  <a:gd name="connsiteX5" fmla="*/ 165773 w 171203"/>
                  <a:gd name="connsiteY5" fmla="*/ 89352 h 117447"/>
                  <a:gd name="connsiteX6" fmla="*/ 134649 w 171203"/>
                  <a:gd name="connsiteY6" fmla="*/ 8430 h 117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1203" h="117447">
                    <a:moveTo>
                      <a:pt x="134649" y="8430"/>
                    </a:moveTo>
                    <a:cubicBezTo>
                      <a:pt x="103525" y="-10244"/>
                      <a:pt x="47502" y="5318"/>
                      <a:pt x="22603" y="23992"/>
                    </a:cubicBezTo>
                    <a:cubicBezTo>
                      <a:pt x="3929" y="36441"/>
                      <a:pt x="-27195" y="120476"/>
                      <a:pt x="47502" y="117364"/>
                    </a:cubicBezTo>
                    <a:cubicBezTo>
                      <a:pt x="84851" y="114251"/>
                      <a:pt x="56839" y="73790"/>
                      <a:pt x="72401" y="67565"/>
                    </a:cubicBezTo>
                    <a:cubicBezTo>
                      <a:pt x="97301" y="58228"/>
                      <a:pt x="115975" y="64453"/>
                      <a:pt x="137762" y="73790"/>
                    </a:cubicBezTo>
                    <a:cubicBezTo>
                      <a:pt x="147099" y="76903"/>
                      <a:pt x="156436" y="95577"/>
                      <a:pt x="165773" y="89352"/>
                    </a:cubicBezTo>
                    <a:cubicBezTo>
                      <a:pt x="184447" y="70678"/>
                      <a:pt x="150211" y="17767"/>
                      <a:pt x="134649" y="843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D015E592-DF95-423A-B1AA-8C497A4272B1}"/>
                  </a:ext>
                </a:extLst>
              </p:cNvPr>
              <p:cNvSpPr/>
              <p:nvPr/>
            </p:nvSpPr>
            <p:spPr>
              <a:xfrm>
                <a:off x="4752500" y="4199149"/>
                <a:ext cx="163526" cy="135647"/>
              </a:xfrm>
              <a:custGeom>
                <a:avLst/>
                <a:gdLst>
                  <a:gd name="connsiteX0" fmla="*/ 38638 w 163526"/>
                  <a:gd name="connsiteY0" fmla="*/ 135648 h 135647"/>
                  <a:gd name="connsiteX1" fmla="*/ 35526 w 163526"/>
                  <a:gd name="connsiteY1" fmla="*/ 132535 h 135647"/>
                  <a:gd name="connsiteX2" fmla="*/ 35526 w 163526"/>
                  <a:gd name="connsiteY2" fmla="*/ 123198 h 135647"/>
                  <a:gd name="connsiteX3" fmla="*/ 51088 w 163526"/>
                  <a:gd name="connsiteY3" fmla="*/ 79625 h 135647"/>
                  <a:gd name="connsiteX4" fmla="*/ 54200 w 163526"/>
                  <a:gd name="connsiteY4" fmla="*/ 73400 h 135647"/>
                  <a:gd name="connsiteX5" fmla="*/ 128897 w 163526"/>
                  <a:gd name="connsiteY5" fmla="*/ 85850 h 135647"/>
                  <a:gd name="connsiteX6" fmla="*/ 147572 w 163526"/>
                  <a:gd name="connsiteY6" fmla="*/ 95187 h 135647"/>
                  <a:gd name="connsiteX7" fmla="*/ 150684 w 163526"/>
                  <a:gd name="connsiteY7" fmla="*/ 88962 h 135647"/>
                  <a:gd name="connsiteX8" fmla="*/ 116448 w 163526"/>
                  <a:gd name="connsiteY8" fmla="*/ 23602 h 135647"/>
                  <a:gd name="connsiteX9" fmla="*/ 10626 w 163526"/>
                  <a:gd name="connsiteY9" fmla="*/ 39164 h 135647"/>
                  <a:gd name="connsiteX10" fmla="*/ 1289 w 163526"/>
                  <a:gd name="connsiteY10" fmla="*/ 36051 h 135647"/>
                  <a:gd name="connsiteX11" fmla="*/ 4402 w 163526"/>
                  <a:gd name="connsiteY11" fmla="*/ 26714 h 135647"/>
                  <a:gd name="connsiteX12" fmla="*/ 122672 w 163526"/>
                  <a:gd name="connsiteY12" fmla="*/ 11152 h 135647"/>
                  <a:gd name="connsiteX13" fmla="*/ 163134 w 163526"/>
                  <a:gd name="connsiteY13" fmla="*/ 85850 h 135647"/>
                  <a:gd name="connsiteX14" fmla="*/ 150684 w 163526"/>
                  <a:gd name="connsiteY14" fmla="*/ 101412 h 135647"/>
                  <a:gd name="connsiteX15" fmla="*/ 119560 w 163526"/>
                  <a:gd name="connsiteY15" fmla="*/ 92074 h 135647"/>
                  <a:gd name="connsiteX16" fmla="*/ 60425 w 163526"/>
                  <a:gd name="connsiteY16" fmla="*/ 79625 h 135647"/>
                  <a:gd name="connsiteX17" fmla="*/ 38638 w 163526"/>
                  <a:gd name="connsiteY17" fmla="*/ 126311 h 135647"/>
                  <a:gd name="connsiteX18" fmla="*/ 38638 w 163526"/>
                  <a:gd name="connsiteY18" fmla="*/ 135648 h 135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3526" h="135647">
                    <a:moveTo>
                      <a:pt x="38638" y="135648"/>
                    </a:moveTo>
                    <a:cubicBezTo>
                      <a:pt x="35526" y="135648"/>
                      <a:pt x="35526" y="135648"/>
                      <a:pt x="35526" y="132535"/>
                    </a:cubicBezTo>
                    <a:cubicBezTo>
                      <a:pt x="32413" y="129423"/>
                      <a:pt x="35526" y="126311"/>
                      <a:pt x="35526" y="123198"/>
                    </a:cubicBezTo>
                    <a:cubicBezTo>
                      <a:pt x="47975" y="113861"/>
                      <a:pt x="51088" y="88962"/>
                      <a:pt x="51088" y="79625"/>
                    </a:cubicBezTo>
                    <a:cubicBezTo>
                      <a:pt x="51088" y="76513"/>
                      <a:pt x="51088" y="76513"/>
                      <a:pt x="54200" y="73400"/>
                    </a:cubicBezTo>
                    <a:cubicBezTo>
                      <a:pt x="85324" y="60951"/>
                      <a:pt x="110223" y="76513"/>
                      <a:pt x="128897" y="85850"/>
                    </a:cubicBezTo>
                    <a:cubicBezTo>
                      <a:pt x="138234" y="92074"/>
                      <a:pt x="144459" y="95187"/>
                      <a:pt x="147572" y="95187"/>
                    </a:cubicBezTo>
                    <a:cubicBezTo>
                      <a:pt x="147572" y="95187"/>
                      <a:pt x="150684" y="95187"/>
                      <a:pt x="150684" y="88962"/>
                    </a:cubicBezTo>
                    <a:cubicBezTo>
                      <a:pt x="153796" y="73400"/>
                      <a:pt x="141347" y="45389"/>
                      <a:pt x="116448" y="23602"/>
                    </a:cubicBezTo>
                    <a:cubicBezTo>
                      <a:pt x="85324" y="-4410"/>
                      <a:pt x="10626" y="39164"/>
                      <a:pt x="10626" y="39164"/>
                    </a:cubicBezTo>
                    <a:cubicBezTo>
                      <a:pt x="7514" y="42276"/>
                      <a:pt x="4402" y="39164"/>
                      <a:pt x="1289" y="36051"/>
                    </a:cubicBezTo>
                    <a:cubicBezTo>
                      <a:pt x="-1823" y="32939"/>
                      <a:pt x="1289" y="29827"/>
                      <a:pt x="4402" y="26714"/>
                    </a:cubicBezTo>
                    <a:cubicBezTo>
                      <a:pt x="7514" y="23602"/>
                      <a:pt x="85324" y="-19972"/>
                      <a:pt x="122672" y="11152"/>
                    </a:cubicBezTo>
                    <a:cubicBezTo>
                      <a:pt x="150684" y="36051"/>
                      <a:pt x="166246" y="67175"/>
                      <a:pt x="163134" y="85850"/>
                    </a:cubicBezTo>
                    <a:cubicBezTo>
                      <a:pt x="163134" y="92074"/>
                      <a:pt x="156909" y="98299"/>
                      <a:pt x="150684" y="101412"/>
                    </a:cubicBezTo>
                    <a:cubicBezTo>
                      <a:pt x="141347" y="104524"/>
                      <a:pt x="132010" y="98299"/>
                      <a:pt x="119560" y="92074"/>
                    </a:cubicBezTo>
                    <a:cubicBezTo>
                      <a:pt x="103998" y="82737"/>
                      <a:pt x="85324" y="70288"/>
                      <a:pt x="60425" y="79625"/>
                    </a:cubicBezTo>
                    <a:cubicBezTo>
                      <a:pt x="60425" y="88962"/>
                      <a:pt x="57312" y="113861"/>
                      <a:pt x="38638" y="126311"/>
                    </a:cubicBezTo>
                    <a:cubicBezTo>
                      <a:pt x="41750" y="135648"/>
                      <a:pt x="38638" y="135648"/>
                      <a:pt x="38638" y="13564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0" name="图形 1">
              <a:extLst>
                <a:ext uri="{FF2B5EF4-FFF2-40B4-BE49-F238E27FC236}">
                  <a16:creationId xmlns:a16="http://schemas.microsoft.com/office/drawing/2014/main" id="{A4223C92-4A0A-41A1-AD2E-97011B1B7D77}"/>
                </a:ext>
              </a:extLst>
            </p:cNvPr>
            <p:cNvGrpSpPr/>
            <p:nvPr/>
          </p:nvGrpSpPr>
          <p:grpSpPr>
            <a:xfrm>
              <a:off x="4541429" y="4341100"/>
              <a:ext cx="397941" cy="280382"/>
              <a:chOff x="4541429" y="4341100"/>
              <a:chExt cx="397941" cy="280382"/>
            </a:xfrm>
          </p:grpSpPr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AB9FFC39-08D2-44D8-9492-27A26E522689}"/>
                  </a:ext>
                </a:extLst>
              </p:cNvPr>
              <p:cNvSpPr/>
              <p:nvPr/>
            </p:nvSpPr>
            <p:spPr>
              <a:xfrm>
                <a:off x="4541429" y="4341100"/>
                <a:ext cx="397941" cy="280382"/>
              </a:xfrm>
              <a:custGeom>
                <a:avLst/>
                <a:gdLst>
                  <a:gd name="connsiteX0" fmla="*/ 78528 w 397941"/>
                  <a:gd name="connsiteY0" fmla="*/ 276924 h 280382"/>
                  <a:gd name="connsiteX1" fmla="*/ 175012 w 397941"/>
                  <a:gd name="connsiteY1" fmla="*/ 245800 h 280382"/>
                  <a:gd name="connsiteX2" fmla="*/ 274608 w 397941"/>
                  <a:gd name="connsiteY2" fmla="*/ 224013 h 280382"/>
                  <a:gd name="connsiteX3" fmla="*/ 327519 w 397941"/>
                  <a:gd name="connsiteY3" fmla="*/ 199114 h 280382"/>
                  <a:gd name="connsiteX4" fmla="*/ 262159 w 397941"/>
                  <a:gd name="connsiteY4" fmla="*/ 180440 h 280382"/>
                  <a:gd name="connsiteX5" fmla="*/ 318182 w 397941"/>
                  <a:gd name="connsiteY5" fmla="*/ 161765 h 280382"/>
                  <a:gd name="connsiteX6" fmla="*/ 383542 w 397941"/>
                  <a:gd name="connsiteY6" fmla="*/ 118192 h 280382"/>
                  <a:gd name="connsiteX7" fmla="*/ 377317 w 397941"/>
                  <a:gd name="connsiteY7" fmla="*/ 102630 h 280382"/>
                  <a:gd name="connsiteX8" fmla="*/ 395992 w 397941"/>
                  <a:gd name="connsiteY8" fmla="*/ 74619 h 280382"/>
                  <a:gd name="connsiteX9" fmla="*/ 330631 w 397941"/>
                  <a:gd name="connsiteY9" fmla="*/ 52832 h 280382"/>
                  <a:gd name="connsiteX10" fmla="*/ 268384 w 397941"/>
                  <a:gd name="connsiteY10" fmla="*/ 59057 h 280382"/>
                  <a:gd name="connsiteX11" fmla="*/ 308845 w 397941"/>
                  <a:gd name="connsiteY11" fmla="*/ 34157 h 280382"/>
                  <a:gd name="connsiteX12" fmla="*/ 321294 w 397941"/>
                  <a:gd name="connsiteY12" fmla="*/ 15483 h 280382"/>
                  <a:gd name="connsiteX13" fmla="*/ 243485 w 397941"/>
                  <a:gd name="connsiteY13" fmla="*/ 12371 h 280382"/>
                  <a:gd name="connsiteX14" fmla="*/ 718 w 397941"/>
                  <a:gd name="connsiteY14" fmla="*/ 130641 h 280382"/>
                  <a:gd name="connsiteX15" fmla="*/ 34954 w 397941"/>
                  <a:gd name="connsiteY15" fmla="*/ 258249 h 280382"/>
                  <a:gd name="connsiteX16" fmla="*/ 78528 w 397941"/>
                  <a:gd name="connsiteY16" fmla="*/ 276924 h 280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97941" h="280382">
                    <a:moveTo>
                      <a:pt x="78528" y="276924"/>
                    </a:moveTo>
                    <a:cubicBezTo>
                      <a:pt x="109652" y="267587"/>
                      <a:pt x="140776" y="255137"/>
                      <a:pt x="175012" y="245800"/>
                    </a:cubicBezTo>
                    <a:cubicBezTo>
                      <a:pt x="209248" y="236463"/>
                      <a:pt x="243485" y="233350"/>
                      <a:pt x="274608" y="224013"/>
                    </a:cubicBezTo>
                    <a:cubicBezTo>
                      <a:pt x="287058" y="220901"/>
                      <a:pt x="321294" y="214676"/>
                      <a:pt x="327519" y="199114"/>
                    </a:cubicBezTo>
                    <a:cubicBezTo>
                      <a:pt x="333744" y="177327"/>
                      <a:pt x="296395" y="177327"/>
                      <a:pt x="262159" y="180440"/>
                    </a:cubicBezTo>
                    <a:cubicBezTo>
                      <a:pt x="280833" y="174215"/>
                      <a:pt x="299507" y="167990"/>
                      <a:pt x="318182" y="161765"/>
                    </a:cubicBezTo>
                    <a:cubicBezTo>
                      <a:pt x="336856" y="155541"/>
                      <a:pt x="377317" y="139979"/>
                      <a:pt x="383542" y="118192"/>
                    </a:cubicBezTo>
                    <a:cubicBezTo>
                      <a:pt x="386655" y="111967"/>
                      <a:pt x="383542" y="105742"/>
                      <a:pt x="377317" y="102630"/>
                    </a:cubicBezTo>
                    <a:cubicBezTo>
                      <a:pt x="392879" y="96405"/>
                      <a:pt x="402216" y="87068"/>
                      <a:pt x="395992" y="74619"/>
                    </a:cubicBezTo>
                    <a:cubicBezTo>
                      <a:pt x="389767" y="52832"/>
                      <a:pt x="346193" y="52832"/>
                      <a:pt x="330631" y="52832"/>
                    </a:cubicBezTo>
                    <a:cubicBezTo>
                      <a:pt x="308845" y="52832"/>
                      <a:pt x="287058" y="55944"/>
                      <a:pt x="268384" y="59057"/>
                    </a:cubicBezTo>
                    <a:cubicBezTo>
                      <a:pt x="280833" y="52832"/>
                      <a:pt x="296395" y="43495"/>
                      <a:pt x="308845" y="34157"/>
                    </a:cubicBezTo>
                    <a:cubicBezTo>
                      <a:pt x="315069" y="27933"/>
                      <a:pt x="321294" y="24820"/>
                      <a:pt x="321294" y="15483"/>
                    </a:cubicBezTo>
                    <a:cubicBezTo>
                      <a:pt x="318182" y="-15641"/>
                      <a:pt x="255934" y="9258"/>
                      <a:pt x="243485" y="12371"/>
                    </a:cubicBezTo>
                    <a:cubicBezTo>
                      <a:pt x="156337" y="40382"/>
                      <a:pt x="81640" y="90180"/>
                      <a:pt x="718" y="130641"/>
                    </a:cubicBezTo>
                    <a:cubicBezTo>
                      <a:pt x="-2394" y="127529"/>
                      <a:pt x="3830" y="227126"/>
                      <a:pt x="34954" y="258249"/>
                    </a:cubicBezTo>
                    <a:cubicBezTo>
                      <a:pt x="44291" y="283149"/>
                      <a:pt x="53628" y="283149"/>
                      <a:pt x="78528" y="27692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4FD37A0C-D703-4249-81A3-590A395E57AD}"/>
                  </a:ext>
                </a:extLst>
              </p:cNvPr>
              <p:cNvSpPr/>
              <p:nvPr/>
            </p:nvSpPr>
            <p:spPr>
              <a:xfrm>
                <a:off x="4679092" y="4344938"/>
                <a:ext cx="187964" cy="98791"/>
              </a:xfrm>
              <a:custGeom>
                <a:avLst/>
                <a:gdLst>
                  <a:gd name="connsiteX0" fmla="*/ 46686 w 187964"/>
                  <a:gd name="connsiteY0" fmla="*/ 98792 h 98791"/>
                  <a:gd name="connsiteX1" fmla="*/ 43574 w 187964"/>
                  <a:gd name="connsiteY1" fmla="*/ 98792 h 98791"/>
                  <a:gd name="connsiteX2" fmla="*/ 43574 w 187964"/>
                  <a:gd name="connsiteY2" fmla="*/ 89455 h 98791"/>
                  <a:gd name="connsiteX3" fmla="*/ 127608 w 187964"/>
                  <a:gd name="connsiteY3" fmla="*/ 55219 h 98791"/>
                  <a:gd name="connsiteX4" fmla="*/ 174294 w 187964"/>
                  <a:gd name="connsiteY4" fmla="*/ 17870 h 98791"/>
                  <a:gd name="connsiteX5" fmla="*/ 171182 w 187964"/>
                  <a:gd name="connsiteY5" fmla="*/ 14758 h 98791"/>
                  <a:gd name="connsiteX6" fmla="*/ 6225 w 187964"/>
                  <a:gd name="connsiteY6" fmla="*/ 61443 h 98791"/>
                  <a:gd name="connsiteX7" fmla="*/ 0 w 187964"/>
                  <a:gd name="connsiteY7" fmla="*/ 58331 h 98791"/>
                  <a:gd name="connsiteX8" fmla="*/ 3112 w 187964"/>
                  <a:gd name="connsiteY8" fmla="*/ 52106 h 98791"/>
                  <a:gd name="connsiteX9" fmla="*/ 180519 w 187964"/>
                  <a:gd name="connsiteY9" fmla="*/ 5420 h 98791"/>
                  <a:gd name="connsiteX10" fmla="*/ 186744 w 187964"/>
                  <a:gd name="connsiteY10" fmla="*/ 20982 h 98791"/>
                  <a:gd name="connsiteX11" fmla="*/ 130720 w 187964"/>
                  <a:gd name="connsiteY11" fmla="*/ 67668 h 98791"/>
                  <a:gd name="connsiteX12" fmla="*/ 52911 w 187964"/>
                  <a:gd name="connsiteY12" fmla="*/ 95680 h 98791"/>
                  <a:gd name="connsiteX13" fmla="*/ 46686 w 187964"/>
                  <a:gd name="connsiteY13" fmla="*/ 98792 h 98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7964" h="98791">
                    <a:moveTo>
                      <a:pt x="46686" y="98792"/>
                    </a:moveTo>
                    <a:cubicBezTo>
                      <a:pt x="46686" y="98792"/>
                      <a:pt x="43574" y="98792"/>
                      <a:pt x="43574" y="98792"/>
                    </a:cubicBezTo>
                    <a:cubicBezTo>
                      <a:pt x="40461" y="95680"/>
                      <a:pt x="40461" y="92567"/>
                      <a:pt x="43574" y="89455"/>
                    </a:cubicBezTo>
                    <a:cubicBezTo>
                      <a:pt x="52911" y="77005"/>
                      <a:pt x="108934" y="61443"/>
                      <a:pt x="127608" y="55219"/>
                    </a:cubicBezTo>
                    <a:cubicBezTo>
                      <a:pt x="140058" y="52106"/>
                      <a:pt x="174294" y="36544"/>
                      <a:pt x="174294" y="17870"/>
                    </a:cubicBezTo>
                    <a:cubicBezTo>
                      <a:pt x="174294" y="17870"/>
                      <a:pt x="174294" y="14758"/>
                      <a:pt x="171182" y="14758"/>
                    </a:cubicBezTo>
                    <a:cubicBezTo>
                      <a:pt x="155620" y="5420"/>
                      <a:pt x="96484" y="14758"/>
                      <a:pt x="6225" y="61443"/>
                    </a:cubicBezTo>
                    <a:cubicBezTo>
                      <a:pt x="3112" y="61443"/>
                      <a:pt x="0" y="61443"/>
                      <a:pt x="0" y="58331"/>
                    </a:cubicBezTo>
                    <a:cubicBezTo>
                      <a:pt x="0" y="55219"/>
                      <a:pt x="0" y="52106"/>
                      <a:pt x="3112" y="52106"/>
                    </a:cubicBezTo>
                    <a:cubicBezTo>
                      <a:pt x="80922" y="8533"/>
                      <a:pt x="155620" y="-10142"/>
                      <a:pt x="180519" y="5420"/>
                    </a:cubicBezTo>
                    <a:cubicBezTo>
                      <a:pt x="186744" y="8533"/>
                      <a:pt x="189856" y="14758"/>
                      <a:pt x="186744" y="20982"/>
                    </a:cubicBezTo>
                    <a:cubicBezTo>
                      <a:pt x="183631" y="48994"/>
                      <a:pt x="136945" y="67668"/>
                      <a:pt x="130720" y="67668"/>
                    </a:cubicBezTo>
                    <a:cubicBezTo>
                      <a:pt x="96484" y="77005"/>
                      <a:pt x="59135" y="92567"/>
                      <a:pt x="52911" y="95680"/>
                    </a:cubicBezTo>
                    <a:cubicBezTo>
                      <a:pt x="49798" y="95680"/>
                      <a:pt x="46686" y="98792"/>
                      <a:pt x="46686" y="9879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457B714D-CC52-4F13-B0A2-4A706E65E099}"/>
                  </a:ext>
                </a:extLst>
              </p:cNvPr>
              <p:cNvSpPr/>
              <p:nvPr/>
            </p:nvSpPr>
            <p:spPr>
              <a:xfrm>
                <a:off x="4740051" y="4440618"/>
                <a:ext cx="178695" cy="43573"/>
              </a:xfrm>
              <a:custGeom>
                <a:avLst/>
                <a:gdLst>
                  <a:gd name="connsiteX0" fmla="*/ 7514 w 178695"/>
                  <a:gd name="connsiteY0" fmla="*/ 43574 h 43573"/>
                  <a:gd name="connsiteX1" fmla="*/ 1289 w 178695"/>
                  <a:gd name="connsiteY1" fmla="*/ 40461 h 43573"/>
                  <a:gd name="connsiteX2" fmla="*/ 4402 w 178695"/>
                  <a:gd name="connsiteY2" fmla="*/ 31124 h 43573"/>
                  <a:gd name="connsiteX3" fmla="*/ 172471 w 178695"/>
                  <a:gd name="connsiteY3" fmla="*/ 0 h 43573"/>
                  <a:gd name="connsiteX4" fmla="*/ 178695 w 178695"/>
                  <a:gd name="connsiteY4" fmla="*/ 6225 h 43573"/>
                  <a:gd name="connsiteX5" fmla="*/ 172471 w 178695"/>
                  <a:gd name="connsiteY5" fmla="*/ 12450 h 43573"/>
                  <a:gd name="connsiteX6" fmla="*/ 7514 w 178695"/>
                  <a:gd name="connsiteY6" fmla="*/ 43574 h 43573"/>
                  <a:gd name="connsiteX7" fmla="*/ 7514 w 178695"/>
                  <a:gd name="connsiteY7" fmla="*/ 43574 h 43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8695" h="43573">
                    <a:moveTo>
                      <a:pt x="7514" y="43574"/>
                    </a:moveTo>
                    <a:cubicBezTo>
                      <a:pt x="4402" y="43574"/>
                      <a:pt x="4402" y="43574"/>
                      <a:pt x="1289" y="40461"/>
                    </a:cubicBezTo>
                    <a:cubicBezTo>
                      <a:pt x="-1823" y="37349"/>
                      <a:pt x="1289" y="34236"/>
                      <a:pt x="4402" y="31124"/>
                    </a:cubicBezTo>
                    <a:cubicBezTo>
                      <a:pt x="35525" y="12450"/>
                      <a:pt x="166246" y="0"/>
                      <a:pt x="172471" y="0"/>
                    </a:cubicBezTo>
                    <a:cubicBezTo>
                      <a:pt x="175583" y="0"/>
                      <a:pt x="178695" y="3112"/>
                      <a:pt x="178695" y="6225"/>
                    </a:cubicBezTo>
                    <a:cubicBezTo>
                      <a:pt x="178695" y="9337"/>
                      <a:pt x="175583" y="12450"/>
                      <a:pt x="172471" y="12450"/>
                    </a:cubicBezTo>
                    <a:cubicBezTo>
                      <a:pt x="172471" y="12450"/>
                      <a:pt x="41750" y="24899"/>
                      <a:pt x="7514" y="43574"/>
                    </a:cubicBezTo>
                    <a:cubicBezTo>
                      <a:pt x="10626" y="43574"/>
                      <a:pt x="7514" y="43574"/>
                      <a:pt x="7514" y="4357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D5074136-ED90-4166-8820-82A72655FE64}"/>
                  </a:ext>
                </a:extLst>
              </p:cNvPr>
              <p:cNvSpPr/>
              <p:nvPr/>
            </p:nvSpPr>
            <p:spPr>
              <a:xfrm>
                <a:off x="4741340" y="4521540"/>
                <a:ext cx="62247" cy="24899"/>
              </a:xfrm>
              <a:custGeom>
                <a:avLst/>
                <a:gdLst>
                  <a:gd name="connsiteX0" fmla="*/ 6225 w 62247"/>
                  <a:gd name="connsiteY0" fmla="*/ 24899 h 24899"/>
                  <a:gd name="connsiteX1" fmla="*/ 0 w 62247"/>
                  <a:gd name="connsiteY1" fmla="*/ 21787 h 24899"/>
                  <a:gd name="connsiteX2" fmla="*/ 3112 w 62247"/>
                  <a:gd name="connsiteY2" fmla="*/ 15562 h 24899"/>
                  <a:gd name="connsiteX3" fmla="*/ 56023 w 62247"/>
                  <a:gd name="connsiteY3" fmla="*/ 0 h 24899"/>
                  <a:gd name="connsiteX4" fmla="*/ 62248 w 62247"/>
                  <a:gd name="connsiteY4" fmla="*/ 3113 h 24899"/>
                  <a:gd name="connsiteX5" fmla="*/ 59135 w 62247"/>
                  <a:gd name="connsiteY5" fmla="*/ 9337 h 24899"/>
                  <a:gd name="connsiteX6" fmla="*/ 6225 w 62247"/>
                  <a:gd name="connsiteY6" fmla="*/ 24899 h 24899"/>
                  <a:gd name="connsiteX7" fmla="*/ 6225 w 62247"/>
                  <a:gd name="connsiteY7" fmla="*/ 24899 h 2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247" h="24899">
                    <a:moveTo>
                      <a:pt x="6225" y="24899"/>
                    </a:moveTo>
                    <a:cubicBezTo>
                      <a:pt x="3112" y="24899"/>
                      <a:pt x="0" y="24899"/>
                      <a:pt x="0" y="21787"/>
                    </a:cubicBezTo>
                    <a:cubicBezTo>
                      <a:pt x="0" y="18675"/>
                      <a:pt x="0" y="15562"/>
                      <a:pt x="3112" y="15562"/>
                    </a:cubicBezTo>
                    <a:lnTo>
                      <a:pt x="56023" y="0"/>
                    </a:lnTo>
                    <a:cubicBezTo>
                      <a:pt x="59135" y="0"/>
                      <a:pt x="62248" y="0"/>
                      <a:pt x="62248" y="3113"/>
                    </a:cubicBezTo>
                    <a:cubicBezTo>
                      <a:pt x="62248" y="6225"/>
                      <a:pt x="62248" y="9337"/>
                      <a:pt x="59135" y="9337"/>
                    </a:cubicBezTo>
                    <a:lnTo>
                      <a:pt x="6225" y="24899"/>
                    </a:lnTo>
                    <a:cubicBezTo>
                      <a:pt x="6225" y="24899"/>
                      <a:pt x="6225" y="24899"/>
                      <a:pt x="6225" y="2489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2F2C0A99-79AE-462D-B863-FA7A645DD1F4}"/>
                  </a:ext>
                </a:extLst>
              </p:cNvPr>
              <p:cNvSpPr/>
              <p:nvPr/>
            </p:nvSpPr>
            <p:spPr>
              <a:xfrm>
                <a:off x="4658083" y="4453846"/>
                <a:ext cx="49204" cy="108155"/>
              </a:xfrm>
              <a:custGeom>
                <a:avLst/>
                <a:gdLst>
                  <a:gd name="connsiteX0" fmla="*/ 42795 w 49204"/>
                  <a:gd name="connsiteY0" fmla="*/ 108156 h 108155"/>
                  <a:gd name="connsiteX1" fmla="*/ 42795 w 49204"/>
                  <a:gd name="connsiteY1" fmla="*/ 108156 h 108155"/>
                  <a:gd name="connsiteX2" fmla="*/ 36571 w 49204"/>
                  <a:gd name="connsiteY2" fmla="*/ 101931 h 108155"/>
                  <a:gd name="connsiteX3" fmla="*/ 2334 w 49204"/>
                  <a:gd name="connsiteY3" fmla="*/ 11672 h 108155"/>
                  <a:gd name="connsiteX4" fmla="*/ 2334 w 49204"/>
                  <a:gd name="connsiteY4" fmla="*/ 2334 h 108155"/>
                  <a:gd name="connsiteX5" fmla="*/ 11671 w 49204"/>
                  <a:gd name="connsiteY5" fmla="*/ 2334 h 108155"/>
                  <a:gd name="connsiteX6" fmla="*/ 49020 w 49204"/>
                  <a:gd name="connsiteY6" fmla="*/ 101931 h 108155"/>
                  <a:gd name="connsiteX7" fmla="*/ 42795 w 49204"/>
                  <a:gd name="connsiteY7" fmla="*/ 108156 h 108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204" h="108155">
                    <a:moveTo>
                      <a:pt x="42795" y="108156"/>
                    </a:moveTo>
                    <a:cubicBezTo>
                      <a:pt x="42795" y="108156"/>
                      <a:pt x="42795" y="108156"/>
                      <a:pt x="42795" y="108156"/>
                    </a:cubicBezTo>
                    <a:cubicBezTo>
                      <a:pt x="39683" y="108156"/>
                      <a:pt x="36571" y="105043"/>
                      <a:pt x="36571" y="101931"/>
                    </a:cubicBezTo>
                    <a:cubicBezTo>
                      <a:pt x="39683" y="49020"/>
                      <a:pt x="2334" y="11672"/>
                      <a:pt x="2334" y="11672"/>
                    </a:cubicBezTo>
                    <a:cubicBezTo>
                      <a:pt x="-778" y="8559"/>
                      <a:pt x="-778" y="5447"/>
                      <a:pt x="2334" y="2334"/>
                    </a:cubicBezTo>
                    <a:cubicBezTo>
                      <a:pt x="5447" y="-778"/>
                      <a:pt x="8559" y="-778"/>
                      <a:pt x="11671" y="2334"/>
                    </a:cubicBezTo>
                    <a:cubicBezTo>
                      <a:pt x="14784" y="5447"/>
                      <a:pt x="52133" y="42795"/>
                      <a:pt x="49020" y="101931"/>
                    </a:cubicBezTo>
                    <a:cubicBezTo>
                      <a:pt x="49020" y="105043"/>
                      <a:pt x="45908" y="108156"/>
                      <a:pt x="42795" y="10815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FAFB98C5-6C22-4F98-9049-14FAC986CFFB}"/>
                </a:ext>
              </a:extLst>
            </p:cNvPr>
            <p:cNvSpPr/>
            <p:nvPr/>
          </p:nvSpPr>
          <p:spPr>
            <a:xfrm>
              <a:off x="4181109" y="4618024"/>
              <a:ext cx="398386" cy="84034"/>
            </a:xfrm>
            <a:custGeom>
              <a:avLst/>
              <a:gdLst>
                <a:gd name="connsiteX0" fmla="*/ 6225 w 398386"/>
                <a:gd name="connsiteY0" fmla="*/ 84034 h 84034"/>
                <a:gd name="connsiteX1" fmla="*/ 0 w 398386"/>
                <a:gd name="connsiteY1" fmla="*/ 77810 h 84034"/>
                <a:gd name="connsiteX2" fmla="*/ 3112 w 398386"/>
                <a:gd name="connsiteY2" fmla="*/ 71585 h 84034"/>
                <a:gd name="connsiteX3" fmla="*/ 392161 w 398386"/>
                <a:gd name="connsiteY3" fmla="*/ 0 h 84034"/>
                <a:gd name="connsiteX4" fmla="*/ 398386 w 398386"/>
                <a:gd name="connsiteY4" fmla="*/ 3112 h 84034"/>
                <a:gd name="connsiteX5" fmla="*/ 395274 w 398386"/>
                <a:gd name="connsiteY5" fmla="*/ 9337 h 84034"/>
                <a:gd name="connsiteX6" fmla="*/ 6225 w 398386"/>
                <a:gd name="connsiteY6" fmla="*/ 84034 h 84034"/>
                <a:gd name="connsiteX7" fmla="*/ 6225 w 398386"/>
                <a:gd name="connsiteY7" fmla="*/ 84034 h 84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8386" h="84034">
                  <a:moveTo>
                    <a:pt x="6225" y="84034"/>
                  </a:moveTo>
                  <a:cubicBezTo>
                    <a:pt x="3112" y="84034"/>
                    <a:pt x="0" y="80922"/>
                    <a:pt x="0" y="77810"/>
                  </a:cubicBezTo>
                  <a:cubicBezTo>
                    <a:pt x="0" y="74697"/>
                    <a:pt x="0" y="71585"/>
                    <a:pt x="3112" y="71585"/>
                  </a:cubicBezTo>
                  <a:lnTo>
                    <a:pt x="392161" y="0"/>
                  </a:lnTo>
                  <a:cubicBezTo>
                    <a:pt x="395274" y="0"/>
                    <a:pt x="398386" y="0"/>
                    <a:pt x="398386" y="3112"/>
                  </a:cubicBezTo>
                  <a:cubicBezTo>
                    <a:pt x="398386" y="6225"/>
                    <a:pt x="398386" y="9337"/>
                    <a:pt x="395274" y="9337"/>
                  </a:cubicBezTo>
                  <a:lnTo>
                    <a:pt x="6225" y="84034"/>
                  </a:lnTo>
                  <a:cubicBezTo>
                    <a:pt x="9337" y="84034"/>
                    <a:pt x="6225" y="84034"/>
                    <a:pt x="6225" y="84034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570EDBD8-C7B1-431F-9D30-1B9F960CD221}"/>
                </a:ext>
              </a:extLst>
            </p:cNvPr>
            <p:cNvSpPr/>
            <p:nvPr/>
          </p:nvSpPr>
          <p:spPr>
            <a:xfrm>
              <a:off x="3726700" y="3995546"/>
              <a:ext cx="812334" cy="535331"/>
            </a:xfrm>
            <a:custGeom>
              <a:avLst/>
              <a:gdLst>
                <a:gd name="connsiteX0" fmla="*/ 261441 w 812334"/>
                <a:gd name="connsiteY0" fmla="*/ 535331 h 535331"/>
                <a:gd name="connsiteX1" fmla="*/ 255216 w 812334"/>
                <a:gd name="connsiteY1" fmla="*/ 532219 h 535331"/>
                <a:gd name="connsiteX2" fmla="*/ 0 w 812334"/>
                <a:gd name="connsiteY2" fmla="*/ 6225 h 535331"/>
                <a:gd name="connsiteX3" fmla="*/ 3112 w 812334"/>
                <a:gd name="connsiteY3" fmla="*/ 0 h 535331"/>
                <a:gd name="connsiteX4" fmla="*/ 9337 w 812334"/>
                <a:gd name="connsiteY4" fmla="*/ 3112 h 535331"/>
                <a:gd name="connsiteX5" fmla="*/ 261441 w 812334"/>
                <a:gd name="connsiteY5" fmla="*/ 525994 h 535331"/>
                <a:gd name="connsiteX6" fmla="*/ 806109 w 812334"/>
                <a:gd name="connsiteY6" fmla="*/ 482421 h 535331"/>
                <a:gd name="connsiteX7" fmla="*/ 806109 w 812334"/>
                <a:gd name="connsiteY7" fmla="*/ 482421 h 535331"/>
                <a:gd name="connsiteX8" fmla="*/ 812334 w 812334"/>
                <a:gd name="connsiteY8" fmla="*/ 488645 h 535331"/>
                <a:gd name="connsiteX9" fmla="*/ 806109 w 812334"/>
                <a:gd name="connsiteY9" fmla="*/ 494870 h 535331"/>
                <a:gd name="connsiteX10" fmla="*/ 261441 w 812334"/>
                <a:gd name="connsiteY10" fmla="*/ 535331 h 535331"/>
                <a:gd name="connsiteX11" fmla="*/ 261441 w 812334"/>
                <a:gd name="connsiteY11" fmla="*/ 535331 h 535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2334" h="535331">
                  <a:moveTo>
                    <a:pt x="261441" y="535331"/>
                  </a:moveTo>
                  <a:cubicBezTo>
                    <a:pt x="258329" y="535331"/>
                    <a:pt x="258329" y="535331"/>
                    <a:pt x="255216" y="532219"/>
                  </a:cubicBezTo>
                  <a:cubicBezTo>
                    <a:pt x="211643" y="420173"/>
                    <a:pt x="3112" y="9337"/>
                    <a:pt x="0" y="6225"/>
                  </a:cubicBezTo>
                  <a:cubicBezTo>
                    <a:pt x="0" y="3112"/>
                    <a:pt x="0" y="0"/>
                    <a:pt x="3112" y="0"/>
                  </a:cubicBezTo>
                  <a:cubicBezTo>
                    <a:pt x="6225" y="0"/>
                    <a:pt x="9337" y="0"/>
                    <a:pt x="9337" y="3112"/>
                  </a:cubicBezTo>
                  <a:cubicBezTo>
                    <a:pt x="12450" y="6225"/>
                    <a:pt x="217867" y="410836"/>
                    <a:pt x="261441" y="525994"/>
                  </a:cubicBezTo>
                  <a:cubicBezTo>
                    <a:pt x="305014" y="522882"/>
                    <a:pt x="644265" y="491758"/>
                    <a:pt x="806109" y="482421"/>
                  </a:cubicBezTo>
                  <a:cubicBezTo>
                    <a:pt x="806109" y="482421"/>
                    <a:pt x="806109" y="482421"/>
                    <a:pt x="806109" y="482421"/>
                  </a:cubicBezTo>
                  <a:cubicBezTo>
                    <a:pt x="809222" y="482421"/>
                    <a:pt x="812334" y="485533"/>
                    <a:pt x="812334" y="488645"/>
                  </a:cubicBezTo>
                  <a:cubicBezTo>
                    <a:pt x="812334" y="491758"/>
                    <a:pt x="809222" y="494870"/>
                    <a:pt x="806109" y="494870"/>
                  </a:cubicBezTo>
                  <a:cubicBezTo>
                    <a:pt x="641153" y="501095"/>
                    <a:pt x="264553" y="535331"/>
                    <a:pt x="261441" y="535331"/>
                  </a:cubicBezTo>
                  <a:cubicBezTo>
                    <a:pt x="261441" y="535331"/>
                    <a:pt x="261441" y="535331"/>
                    <a:pt x="261441" y="535331"/>
                  </a:cubicBezTo>
                  <a:close/>
                </a:path>
              </a:pathLst>
            </a:custGeom>
            <a:solidFill>
              <a:srgbClr val="E87952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3B3B3DF2-A76C-4C43-BB0F-AAD0F757A5A3}"/>
                </a:ext>
              </a:extLst>
            </p:cNvPr>
            <p:cNvSpPr/>
            <p:nvPr/>
          </p:nvSpPr>
          <p:spPr>
            <a:xfrm>
              <a:off x="3392927" y="3657811"/>
              <a:ext cx="464493" cy="624075"/>
            </a:xfrm>
            <a:custGeom>
              <a:avLst/>
              <a:gdLst>
                <a:gd name="connsiteX0" fmla="*/ 66107 w 464493"/>
                <a:gd name="connsiteY0" fmla="*/ 624075 h 624075"/>
                <a:gd name="connsiteX1" fmla="*/ 53658 w 464493"/>
                <a:gd name="connsiteY1" fmla="*/ 10934 h 624075"/>
                <a:gd name="connsiteX2" fmla="*/ 464493 w 464493"/>
                <a:gd name="connsiteY2" fmla="*/ 452894 h 624075"/>
                <a:gd name="connsiteX3" fmla="*/ 66107 w 464493"/>
                <a:gd name="connsiteY3" fmla="*/ 624075 h 62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493" h="624075">
                  <a:moveTo>
                    <a:pt x="66107" y="624075"/>
                  </a:moveTo>
                  <a:cubicBezTo>
                    <a:pt x="66107" y="624075"/>
                    <a:pt x="-73950" y="91856"/>
                    <a:pt x="53658" y="10934"/>
                  </a:cubicBezTo>
                  <a:cubicBezTo>
                    <a:pt x="199940" y="-82438"/>
                    <a:pt x="464493" y="452894"/>
                    <a:pt x="464493" y="452894"/>
                  </a:cubicBezTo>
                  <a:cubicBezTo>
                    <a:pt x="464493" y="452894"/>
                    <a:pt x="283975" y="602289"/>
                    <a:pt x="66107" y="624075"/>
                  </a:cubicBezTo>
                  <a:close/>
                </a:path>
              </a:pathLst>
            </a:custGeom>
            <a:solidFill>
              <a:srgbClr val="D39778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69E97BE0-677D-46B7-97AF-16C389029C7D}"/>
                </a:ext>
              </a:extLst>
            </p:cNvPr>
            <p:cNvSpPr/>
            <p:nvPr/>
          </p:nvSpPr>
          <p:spPr>
            <a:xfrm>
              <a:off x="3390562" y="3666839"/>
              <a:ext cx="479308" cy="627497"/>
            </a:xfrm>
            <a:custGeom>
              <a:avLst/>
              <a:gdLst>
                <a:gd name="connsiteX0" fmla="*/ 65360 w 479308"/>
                <a:gd name="connsiteY0" fmla="*/ 621272 h 627497"/>
                <a:gd name="connsiteX1" fmla="*/ 65360 w 479308"/>
                <a:gd name="connsiteY1" fmla="*/ 618160 h 627497"/>
                <a:gd name="connsiteX2" fmla="*/ 0 w 479308"/>
                <a:gd name="connsiteY2" fmla="*/ 316258 h 627497"/>
                <a:gd name="connsiteX3" fmla="*/ 6225 w 479308"/>
                <a:gd name="connsiteY3" fmla="*/ 310033 h 627497"/>
                <a:gd name="connsiteX4" fmla="*/ 12450 w 479308"/>
                <a:gd name="connsiteY4" fmla="*/ 316258 h 627497"/>
                <a:gd name="connsiteX5" fmla="*/ 77810 w 479308"/>
                <a:gd name="connsiteY5" fmla="*/ 611935 h 627497"/>
                <a:gd name="connsiteX6" fmla="*/ 463746 w 479308"/>
                <a:gd name="connsiteY6" fmla="*/ 443866 h 627497"/>
                <a:gd name="connsiteX7" fmla="*/ 273890 w 479308"/>
                <a:gd name="connsiteY7" fmla="*/ 135739 h 627497"/>
                <a:gd name="connsiteX8" fmla="*/ 62248 w 479308"/>
                <a:gd name="connsiteY8" fmla="*/ 11243 h 627497"/>
                <a:gd name="connsiteX9" fmla="*/ 56023 w 479308"/>
                <a:gd name="connsiteY9" fmla="*/ 8131 h 627497"/>
                <a:gd name="connsiteX10" fmla="*/ 59135 w 479308"/>
                <a:gd name="connsiteY10" fmla="*/ 1906 h 627497"/>
                <a:gd name="connsiteX11" fmla="*/ 283228 w 479308"/>
                <a:gd name="connsiteY11" fmla="*/ 132627 h 627497"/>
                <a:gd name="connsiteX12" fmla="*/ 476196 w 479308"/>
                <a:gd name="connsiteY12" fmla="*/ 446978 h 627497"/>
                <a:gd name="connsiteX13" fmla="*/ 479308 w 479308"/>
                <a:gd name="connsiteY13" fmla="*/ 450091 h 627497"/>
                <a:gd name="connsiteX14" fmla="*/ 476196 w 479308"/>
                <a:gd name="connsiteY14" fmla="*/ 453203 h 627497"/>
                <a:gd name="connsiteX15" fmla="*/ 77810 w 479308"/>
                <a:gd name="connsiteY15" fmla="*/ 627497 h 627497"/>
                <a:gd name="connsiteX16" fmla="*/ 65360 w 479308"/>
                <a:gd name="connsiteY16" fmla="*/ 621272 h 627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9308" h="627497">
                  <a:moveTo>
                    <a:pt x="65360" y="621272"/>
                  </a:moveTo>
                  <a:lnTo>
                    <a:pt x="65360" y="618160"/>
                  </a:lnTo>
                  <a:cubicBezTo>
                    <a:pt x="62248" y="608823"/>
                    <a:pt x="3112" y="409630"/>
                    <a:pt x="0" y="316258"/>
                  </a:cubicBezTo>
                  <a:cubicBezTo>
                    <a:pt x="0" y="313146"/>
                    <a:pt x="3112" y="310033"/>
                    <a:pt x="6225" y="310033"/>
                  </a:cubicBezTo>
                  <a:cubicBezTo>
                    <a:pt x="9337" y="310033"/>
                    <a:pt x="12450" y="313146"/>
                    <a:pt x="12450" y="316258"/>
                  </a:cubicBezTo>
                  <a:cubicBezTo>
                    <a:pt x="18674" y="400292"/>
                    <a:pt x="68473" y="580811"/>
                    <a:pt x="77810" y="611935"/>
                  </a:cubicBezTo>
                  <a:cubicBezTo>
                    <a:pt x="277003" y="590148"/>
                    <a:pt x="435735" y="465653"/>
                    <a:pt x="463746" y="443866"/>
                  </a:cubicBezTo>
                  <a:cubicBezTo>
                    <a:pt x="448184" y="418967"/>
                    <a:pt x="367262" y="275797"/>
                    <a:pt x="273890" y="135739"/>
                  </a:cubicBezTo>
                  <a:cubicBezTo>
                    <a:pt x="171182" y="-13656"/>
                    <a:pt x="62248" y="11243"/>
                    <a:pt x="62248" y="11243"/>
                  </a:cubicBezTo>
                  <a:cubicBezTo>
                    <a:pt x="59135" y="11243"/>
                    <a:pt x="56023" y="11243"/>
                    <a:pt x="56023" y="8131"/>
                  </a:cubicBezTo>
                  <a:cubicBezTo>
                    <a:pt x="56023" y="5019"/>
                    <a:pt x="56023" y="1906"/>
                    <a:pt x="59135" y="1906"/>
                  </a:cubicBezTo>
                  <a:cubicBezTo>
                    <a:pt x="65360" y="1906"/>
                    <a:pt x="177406" y="-26105"/>
                    <a:pt x="283228" y="132627"/>
                  </a:cubicBezTo>
                  <a:cubicBezTo>
                    <a:pt x="385937" y="288246"/>
                    <a:pt x="473084" y="443866"/>
                    <a:pt x="476196" y="446978"/>
                  </a:cubicBezTo>
                  <a:lnTo>
                    <a:pt x="479308" y="450091"/>
                  </a:lnTo>
                  <a:lnTo>
                    <a:pt x="476196" y="453203"/>
                  </a:lnTo>
                  <a:cubicBezTo>
                    <a:pt x="473084" y="453203"/>
                    <a:pt x="298790" y="605710"/>
                    <a:pt x="77810" y="627497"/>
                  </a:cubicBezTo>
                  <a:lnTo>
                    <a:pt x="65360" y="621272"/>
                  </a:lnTo>
                  <a:close/>
                </a:path>
              </a:pathLst>
            </a:custGeom>
            <a:solidFill>
              <a:srgbClr val="38343B"/>
            </a:solidFill>
            <a:ln w="31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5" name="图形 1">
              <a:extLst>
                <a:ext uri="{FF2B5EF4-FFF2-40B4-BE49-F238E27FC236}">
                  <a16:creationId xmlns:a16="http://schemas.microsoft.com/office/drawing/2014/main" id="{A39ED890-F880-4275-BC0B-334065A38333}"/>
                </a:ext>
              </a:extLst>
            </p:cNvPr>
            <p:cNvGrpSpPr/>
            <p:nvPr/>
          </p:nvGrpSpPr>
          <p:grpSpPr>
            <a:xfrm>
              <a:off x="5882737" y="5646453"/>
              <a:ext cx="598679" cy="983408"/>
              <a:chOff x="5882737" y="5646453"/>
              <a:chExt cx="598679" cy="983408"/>
            </a:xfrm>
          </p:grpSpPr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5529231D-400E-4338-BCCF-9E62AA593F0D}"/>
                  </a:ext>
                </a:extLst>
              </p:cNvPr>
              <p:cNvSpPr/>
              <p:nvPr/>
            </p:nvSpPr>
            <p:spPr>
              <a:xfrm>
                <a:off x="5882737" y="5915892"/>
                <a:ext cx="202810" cy="178970"/>
              </a:xfrm>
              <a:custGeom>
                <a:avLst/>
                <a:gdLst>
                  <a:gd name="connsiteX0" fmla="*/ 200044 w 202810"/>
                  <a:gd name="connsiteY0" fmla="*/ 0 h 178970"/>
                  <a:gd name="connsiteX1" fmla="*/ 38199 w 202810"/>
                  <a:gd name="connsiteY1" fmla="*/ 34237 h 178970"/>
                  <a:gd name="connsiteX2" fmla="*/ 3963 w 202810"/>
                  <a:gd name="connsiteY2" fmla="*/ 174294 h 178970"/>
                  <a:gd name="connsiteX3" fmla="*/ 200044 w 202810"/>
                  <a:gd name="connsiteY3" fmla="*/ 43573 h 178970"/>
                  <a:gd name="connsiteX4" fmla="*/ 200044 w 202810"/>
                  <a:gd name="connsiteY4" fmla="*/ 0 h 178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2810" h="178970">
                    <a:moveTo>
                      <a:pt x="200044" y="0"/>
                    </a:moveTo>
                    <a:cubicBezTo>
                      <a:pt x="200044" y="0"/>
                      <a:pt x="53761" y="21787"/>
                      <a:pt x="38199" y="34237"/>
                    </a:cubicBezTo>
                    <a:cubicBezTo>
                      <a:pt x="22637" y="46686"/>
                      <a:pt x="-11599" y="140058"/>
                      <a:pt x="3963" y="174294"/>
                    </a:cubicBezTo>
                    <a:cubicBezTo>
                      <a:pt x="19525" y="208530"/>
                      <a:pt x="200044" y="43573"/>
                      <a:pt x="200044" y="43573"/>
                    </a:cubicBezTo>
                    <a:cubicBezTo>
                      <a:pt x="200044" y="43573"/>
                      <a:pt x="206268" y="24899"/>
                      <a:pt x="200044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AC30E2DC-05C3-4AB7-BAAB-3BFED0EAA316}"/>
                  </a:ext>
                </a:extLst>
              </p:cNvPr>
              <p:cNvSpPr/>
              <p:nvPr/>
            </p:nvSpPr>
            <p:spPr>
              <a:xfrm>
                <a:off x="6177050" y="6373413"/>
                <a:ext cx="235864" cy="256448"/>
              </a:xfrm>
              <a:custGeom>
                <a:avLst/>
                <a:gdLst>
                  <a:gd name="connsiteX0" fmla="*/ 98699 w 235864"/>
                  <a:gd name="connsiteY0" fmla="*/ 0 h 256448"/>
                  <a:gd name="connsiteX1" fmla="*/ 235645 w 235864"/>
                  <a:gd name="connsiteY1" fmla="*/ 196081 h 256448"/>
                  <a:gd name="connsiteX2" fmla="*/ 86250 w 235864"/>
                  <a:gd name="connsiteY2" fmla="*/ 133833 h 256448"/>
                  <a:gd name="connsiteX3" fmla="*/ 27114 w 235864"/>
                  <a:gd name="connsiteY3" fmla="*/ 255216 h 256448"/>
                  <a:gd name="connsiteX4" fmla="*/ 24002 w 235864"/>
                  <a:gd name="connsiteY4" fmla="*/ 9337 h 256448"/>
                  <a:gd name="connsiteX5" fmla="*/ 98699 w 235864"/>
                  <a:gd name="connsiteY5" fmla="*/ 0 h 256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5864" h="256448">
                    <a:moveTo>
                      <a:pt x="98699" y="0"/>
                    </a:moveTo>
                    <a:cubicBezTo>
                      <a:pt x="98699" y="0"/>
                      <a:pt x="229420" y="161844"/>
                      <a:pt x="235645" y="196081"/>
                    </a:cubicBezTo>
                    <a:cubicBezTo>
                      <a:pt x="241869" y="230317"/>
                      <a:pt x="114261" y="164957"/>
                      <a:pt x="86250" y="133833"/>
                    </a:cubicBezTo>
                    <a:cubicBezTo>
                      <a:pt x="86250" y="133833"/>
                      <a:pt x="45789" y="270778"/>
                      <a:pt x="27114" y="255216"/>
                    </a:cubicBezTo>
                    <a:cubicBezTo>
                      <a:pt x="-32021" y="199193"/>
                      <a:pt x="24002" y="9337"/>
                      <a:pt x="24002" y="9337"/>
                    </a:cubicBezTo>
                    <a:lnTo>
                      <a:pt x="98699" y="0"/>
                    </a:ln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02CE0B78-3777-4534-8445-C59D26010BEE}"/>
                  </a:ext>
                </a:extLst>
              </p:cNvPr>
              <p:cNvSpPr/>
              <p:nvPr/>
            </p:nvSpPr>
            <p:spPr>
              <a:xfrm>
                <a:off x="5986297" y="5663788"/>
                <a:ext cx="404015" cy="750086"/>
              </a:xfrm>
              <a:custGeom>
                <a:avLst/>
                <a:gdLst>
                  <a:gd name="connsiteX0" fmla="*/ 258328 w 404015"/>
                  <a:gd name="connsiteY0" fmla="*/ 750086 h 750086"/>
                  <a:gd name="connsiteX1" fmla="*/ 161844 w 404015"/>
                  <a:gd name="connsiteY1" fmla="*/ 669164 h 750086"/>
                  <a:gd name="connsiteX2" fmla="*/ 0 w 404015"/>
                  <a:gd name="connsiteY2" fmla="*/ 379712 h 750086"/>
                  <a:gd name="connsiteX3" fmla="*/ 9337 w 404015"/>
                  <a:gd name="connsiteY3" fmla="*/ 270778 h 750086"/>
                  <a:gd name="connsiteX4" fmla="*/ 9337 w 404015"/>
                  <a:gd name="connsiteY4" fmla="*/ 270778 h 750086"/>
                  <a:gd name="connsiteX5" fmla="*/ 43574 w 404015"/>
                  <a:gd name="connsiteY5" fmla="*/ 171181 h 750086"/>
                  <a:gd name="connsiteX6" fmla="*/ 62248 w 404015"/>
                  <a:gd name="connsiteY6" fmla="*/ 130721 h 750086"/>
                  <a:gd name="connsiteX7" fmla="*/ 112046 w 404015"/>
                  <a:gd name="connsiteY7" fmla="*/ 46686 h 750086"/>
                  <a:gd name="connsiteX8" fmla="*/ 118271 w 404015"/>
                  <a:gd name="connsiteY8" fmla="*/ 37349 h 750086"/>
                  <a:gd name="connsiteX9" fmla="*/ 124496 w 404015"/>
                  <a:gd name="connsiteY9" fmla="*/ 31124 h 750086"/>
                  <a:gd name="connsiteX10" fmla="*/ 149395 w 404015"/>
                  <a:gd name="connsiteY10" fmla="*/ 0 h 750086"/>
                  <a:gd name="connsiteX11" fmla="*/ 161844 w 404015"/>
                  <a:gd name="connsiteY11" fmla="*/ 9337 h 750086"/>
                  <a:gd name="connsiteX12" fmla="*/ 186744 w 404015"/>
                  <a:gd name="connsiteY12" fmla="*/ 28012 h 750086"/>
                  <a:gd name="connsiteX13" fmla="*/ 220980 w 404015"/>
                  <a:gd name="connsiteY13" fmla="*/ 56023 h 750086"/>
                  <a:gd name="connsiteX14" fmla="*/ 220980 w 404015"/>
                  <a:gd name="connsiteY14" fmla="*/ 56023 h 750086"/>
                  <a:gd name="connsiteX15" fmla="*/ 333026 w 404015"/>
                  <a:gd name="connsiteY15" fmla="*/ 183631 h 750086"/>
                  <a:gd name="connsiteX16" fmla="*/ 367262 w 404015"/>
                  <a:gd name="connsiteY16" fmla="*/ 248991 h 750086"/>
                  <a:gd name="connsiteX17" fmla="*/ 401499 w 404015"/>
                  <a:gd name="connsiteY17" fmla="*/ 376599 h 750086"/>
                  <a:gd name="connsiteX18" fmla="*/ 258328 w 404015"/>
                  <a:gd name="connsiteY18" fmla="*/ 750086 h 750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04015" h="750086">
                    <a:moveTo>
                      <a:pt x="258328" y="750086"/>
                    </a:moveTo>
                    <a:cubicBezTo>
                      <a:pt x="258328" y="750086"/>
                      <a:pt x="214755" y="718963"/>
                      <a:pt x="161844" y="669164"/>
                    </a:cubicBezTo>
                    <a:cubicBezTo>
                      <a:pt x="90259" y="600692"/>
                      <a:pt x="3112" y="494870"/>
                      <a:pt x="0" y="379712"/>
                    </a:cubicBezTo>
                    <a:cubicBezTo>
                      <a:pt x="0" y="342363"/>
                      <a:pt x="3112" y="308127"/>
                      <a:pt x="9337" y="270778"/>
                    </a:cubicBezTo>
                    <a:lnTo>
                      <a:pt x="9337" y="270778"/>
                    </a:lnTo>
                    <a:cubicBezTo>
                      <a:pt x="18674" y="236542"/>
                      <a:pt x="28012" y="202305"/>
                      <a:pt x="43574" y="171181"/>
                    </a:cubicBezTo>
                    <a:cubicBezTo>
                      <a:pt x="49798" y="155619"/>
                      <a:pt x="56023" y="143170"/>
                      <a:pt x="62248" y="130721"/>
                    </a:cubicBezTo>
                    <a:cubicBezTo>
                      <a:pt x="80922" y="96484"/>
                      <a:pt x="96484" y="68473"/>
                      <a:pt x="112046" y="46686"/>
                    </a:cubicBezTo>
                    <a:cubicBezTo>
                      <a:pt x="115158" y="43574"/>
                      <a:pt x="115158" y="40461"/>
                      <a:pt x="118271" y="37349"/>
                    </a:cubicBezTo>
                    <a:cubicBezTo>
                      <a:pt x="121383" y="34236"/>
                      <a:pt x="121383" y="31124"/>
                      <a:pt x="124496" y="31124"/>
                    </a:cubicBezTo>
                    <a:cubicBezTo>
                      <a:pt x="140058" y="12450"/>
                      <a:pt x="149395" y="0"/>
                      <a:pt x="149395" y="0"/>
                    </a:cubicBezTo>
                    <a:cubicBezTo>
                      <a:pt x="152507" y="3112"/>
                      <a:pt x="158732" y="6225"/>
                      <a:pt x="161844" y="9337"/>
                    </a:cubicBezTo>
                    <a:cubicBezTo>
                      <a:pt x="171182" y="15562"/>
                      <a:pt x="177406" y="21787"/>
                      <a:pt x="186744" y="28012"/>
                    </a:cubicBezTo>
                    <a:cubicBezTo>
                      <a:pt x="199193" y="37349"/>
                      <a:pt x="211643" y="46686"/>
                      <a:pt x="220980" y="56023"/>
                    </a:cubicBezTo>
                    <a:cubicBezTo>
                      <a:pt x="220980" y="56023"/>
                      <a:pt x="220980" y="56023"/>
                      <a:pt x="220980" y="56023"/>
                    </a:cubicBezTo>
                    <a:cubicBezTo>
                      <a:pt x="261441" y="93372"/>
                      <a:pt x="298790" y="133833"/>
                      <a:pt x="333026" y="183631"/>
                    </a:cubicBezTo>
                    <a:cubicBezTo>
                      <a:pt x="345475" y="202305"/>
                      <a:pt x="357925" y="224092"/>
                      <a:pt x="367262" y="248991"/>
                    </a:cubicBezTo>
                    <a:cubicBezTo>
                      <a:pt x="385937" y="289452"/>
                      <a:pt x="398386" y="329914"/>
                      <a:pt x="401499" y="376599"/>
                    </a:cubicBezTo>
                    <a:cubicBezTo>
                      <a:pt x="426398" y="557118"/>
                      <a:pt x="258328" y="750086"/>
                      <a:pt x="258328" y="750086"/>
                    </a:cubicBezTo>
                    <a:close/>
                  </a:path>
                </a:pathLst>
              </a:custGeom>
              <a:solidFill>
                <a:srgbClr val="7F95BC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8173BC85-D470-4CF7-A902-04E2CFD6202B}"/>
                  </a:ext>
                </a:extLst>
              </p:cNvPr>
              <p:cNvSpPr/>
              <p:nvPr/>
            </p:nvSpPr>
            <p:spPr>
              <a:xfrm>
                <a:off x="5982017" y="5791396"/>
                <a:ext cx="274484" cy="538443"/>
              </a:xfrm>
              <a:custGeom>
                <a:avLst/>
                <a:gdLst>
                  <a:gd name="connsiteX0" fmla="*/ 262608 w 274484"/>
                  <a:gd name="connsiteY0" fmla="*/ 445072 h 538443"/>
                  <a:gd name="connsiteX1" fmla="*/ 247046 w 274484"/>
                  <a:gd name="connsiteY1" fmla="*/ 270778 h 538443"/>
                  <a:gd name="connsiteX2" fmla="*/ 169236 w 274484"/>
                  <a:gd name="connsiteY2" fmla="*/ 108934 h 538443"/>
                  <a:gd name="connsiteX3" fmla="*/ 141225 w 274484"/>
                  <a:gd name="connsiteY3" fmla="*/ 21787 h 538443"/>
                  <a:gd name="connsiteX4" fmla="*/ 128775 w 274484"/>
                  <a:gd name="connsiteY4" fmla="*/ 21787 h 538443"/>
                  <a:gd name="connsiteX5" fmla="*/ 128775 w 274484"/>
                  <a:gd name="connsiteY5" fmla="*/ 21787 h 538443"/>
                  <a:gd name="connsiteX6" fmla="*/ 63415 w 274484"/>
                  <a:gd name="connsiteY6" fmla="*/ 0 h 538443"/>
                  <a:gd name="connsiteX7" fmla="*/ 60302 w 274484"/>
                  <a:gd name="connsiteY7" fmla="*/ 0 h 538443"/>
                  <a:gd name="connsiteX8" fmla="*/ 44741 w 274484"/>
                  <a:gd name="connsiteY8" fmla="*/ 40461 h 538443"/>
                  <a:gd name="connsiteX9" fmla="*/ 44741 w 274484"/>
                  <a:gd name="connsiteY9" fmla="*/ 40461 h 538443"/>
                  <a:gd name="connsiteX10" fmla="*/ 10504 w 274484"/>
                  <a:gd name="connsiteY10" fmla="*/ 140058 h 538443"/>
                  <a:gd name="connsiteX11" fmla="*/ 10504 w 274484"/>
                  <a:gd name="connsiteY11" fmla="*/ 140058 h 538443"/>
                  <a:gd name="connsiteX12" fmla="*/ 1167 w 274484"/>
                  <a:gd name="connsiteY12" fmla="*/ 248991 h 538443"/>
                  <a:gd name="connsiteX13" fmla="*/ 163012 w 274484"/>
                  <a:gd name="connsiteY13" fmla="*/ 538444 h 538443"/>
                  <a:gd name="connsiteX14" fmla="*/ 181686 w 274484"/>
                  <a:gd name="connsiteY14" fmla="*/ 538444 h 538443"/>
                  <a:gd name="connsiteX15" fmla="*/ 262608 w 274484"/>
                  <a:gd name="connsiteY15" fmla="*/ 445072 h 538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4484" h="538443">
                    <a:moveTo>
                      <a:pt x="262608" y="445072"/>
                    </a:moveTo>
                    <a:cubicBezTo>
                      <a:pt x="287507" y="382824"/>
                      <a:pt x="268833" y="329914"/>
                      <a:pt x="247046" y="270778"/>
                    </a:cubicBezTo>
                    <a:cubicBezTo>
                      <a:pt x="228372" y="217867"/>
                      <a:pt x="194135" y="164957"/>
                      <a:pt x="169236" y="108934"/>
                    </a:cubicBezTo>
                    <a:cubicBezTo>
                      <a:pt x="156787" y="80922"/>
                      <a:pt x="147450" y="52911"/>
                      <a:pt x="141225" y="21787"/>
                    </a:cubicBezTo>
                    <a:cubicBezTo>
                      <a:pt x="141225" y="12449"/>
                      <a:pt x="125663" y="12449"/>
                      <a:pt x="128775" y="21787"/>
                    </a:cubicBezTo>
                    <a:cubicBezTo>
                      <a:pt x="128775" y="21787"/>
                      <a:pt x="128775" y="21787"/>
                      <a:pt x="128775" y="21787"/>
                    </a:cubicBezTo>
                    <a:cubicBezTo>
                      <a:pt x="106988" y="6225"/>
                      <a:pt x="85202" y="0"/>
                      <a:pt x="63415" y="0"/>
                    </a:cubicBezTo>
                    <a:cubicBezTo>
                      <a:pt x="63415" y="0"/>
                      <a:pt x="60302" y="0"/>
                      <a:pt x="60302" y="0"/>
                    </a:cubicBezTo>
                    <a:cubicBezTo>
                      <a:pt x="54078" y="12449"/>
                      <a:pt x="47853" y="28011"/>
                      <a:pt x="44741" y="40461"/>
                    </a:cubicBezTo>
                    <a:cubicBezTo>
                      <a:pt x="44741" y="40461"/>
                      <a:pt x="44741" y="40461"/>
                      <a:pt x="44741" y="40461"/>
                    </a:cubicBezTo>
                    <a:cubicBezTo>
                      <a:pt x="32291" y="71585"/>
                      <a:pt x="19842" y="105821"/>
                      <a:pt x="10504" y="140058"/>
                    </a:cubicBezTo>
                    <a:lnTo>
                      <a:pt x="10504" y="140058"/>
                    </a:lnTo>
                    <a:cubicBezTo>
                      <a:pt x="1167" y="174294"/>
                      <a:pt x="-1945" y="211643"/>
                      <a:pt x="1167" y="248991"/>
                    </a:cubicBezTo>
                    <a:cubicBezTo>
                      <a:pt x="7392" y="364150"/>
                      <a:pt x="91426" y="469971"/>
                      <a:pt x="163012" y="538444"/>
                    </a:cubicBezTo>
                    <a:cubicBezTo>
                      <a:pt x="169236" y="538444"/>
                      <a:pt x="175461" y="538444"/>
                      <a:pt x="181686" y="538444"/>
                    </a:cubicBezTo>
                    <a:cubicBezTo>
                      <a:pt x="231484" y="535331"/>
                      <a:pt x="247046" y="482421"/>
                      <a:pt x="262608" y="445072"/>
                    </a:cubicBezTo>
                    <a:close/>
                  </a:path>
                </a:pathLst>
              </a:custGeom>
              <a:solidFill>
                <a:srgbClr val="748CAF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053FD3FF-6CB3-44AF-A497-971BD30D282E}"/>
                  </a:ext>
                </a:extLst>
              </p:cNvPr>
              <p:cNvSpPr/>
              <p:nvPr/>
            </p:nvSpPr>
            <p:spPr>
              <a:xfrm>
                <a:off x="6026758" y="5646453"/>
                <a:ext cx="286340" cy="255581"/>
              </a:xfrm>
              <a:custGeom>
                <a:avLst/>
                <a:gdLst>
                  <a:gd name="connsiteX0" fmla="*/ 124496 w 286340"/>
                  <a:gd name="connsiteY0" fmla="*/ 253877 h 255581"/>
                  <a:gd name="connsiteX1" fmla="*/ 0 w 286340"/>
                  <a:gd name="connsiteY1" fmla="*/ 188516 h 255581"/>
                  <a:gd name="connsiteX2" fmla="*/ 0 w 286340"/>
                  <a:gd name="connsiteY2" fmla="*/ 188516 h 255581"/>
                  <a:gd name="connsiteX3" fmla="*/ 15562 w 286340"/>
                  <a:gd name="connsiteY3" fmla="*/ 148055 h 255581"/>
                  <a:gd name="connsiteX4" fmla="*/ 68473 w 286340"/>
                  <a:gd name="connsiteY4" fmla="*/ 64021 h 255581"/>
                  <a:gd name="connsiteX5" fmla="*/ 74697 w 286340"/>
                  <a:gd name="connsiteY5" fmla="*/ 54683 h 255581"/>
                  <a:gd name="connsiteX6" fmla="*/ 80922 w 286340"/>
                  <a:gd name="connsiteY6" fmla="*/ 48459 h 255581"/>
                  <a:gd name="connsiteX7" fmla="*/ 80922 w 286340"/>
                  <a:gd name="connsiteY7" fmla="*/ 48459 h 255581"/>
                  <a:gd name="connsiteX8" fmla="*/ 68473 w 286340"/>
                  <a:gd name="connsiteY8" fmla="*/ 36009 h 255581"/>
                  <a:gd name="connsiteX9" fmla="*/ 84035 w 286340"/>
                  <a:gd name="connsiteY9" fmla="*/ 14222 h 255581"/>
                  <a:gd name="connsiteX10" fmla="*/ 90259 w 286340"/>
                  <a:gd name="connsiteY10" fmla="*/ 20447 h 255581"/>
                  <a:gd name="connsiteX11" fmla="*/ 93372 w 286340"/>
                  <a:gd name="connsiteY11" fmla="*/ 7997 h 255581"/>
                  <a:gd name="connsiteX12" fmla="*/ 118271 w 286340"/>
                  <a:gd name="connsiteY12" fmla="*/ 17335 h 255581"/>
                  <a:gd name="connsiteX13" fmla="*/ 115159 w 286340"/>
                  <a:gd name="connsiteY13" fmla="*/ 26672 h 255581"/>
                  <a:gd name="connsiteX14" fmla="*/ 140058 w 286340"/>
                  <a:gd name="connsiteY14" fmla="*/ 45346 h 255581"/>
                  <a:gd name="connsiteX15" fmla="*/ 174294 w 286340"/>
                  <a:gd name="connsiteY15" fmla="*/ 73358 h 255581"/>
                  <a:gd name="connsiteX16" fmla="*/ 174294 w 286340"/>
                  <a:gd name="connsiteY16" fmla="*/ 73358 h 255581"/>
                  <a:gd name="connsiteX17" fmla="*/ 286340 w 286340"/>
                  <a:gd name="connsiteY17" fmla="*/ 200966 h 255581"/>
                  <a:gd name="connsiteX18" fmla="*/ 124496 w 286340"/>
                  <a:gd name="connsiteY18" fmla="*/ 253877 h 255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6340" h="255581">
                    <a:moveTo>
                      <a:pt x="124496" y="253877"/>
                    </a:moveTo>
                    <a:cubicBezTo>
                      <a:pt x="52911" y="244539"/>
                      <a:pt x="3113" y="194741"/>
                      <a:pt x="0" y="188516"/>
                    </a:cubicBezTo>
                    <a:cubicBezTo>
                      <a:pt x="0" y="188516"/>
                      <a:pt x="0" y="188516"/>
                      <a:pt x="0" y="188516"/>
                    </a:cubicBezTo>
                    <a:cubicBezTo>
                      <a:pt x="3113" y="172954"/>
                      <a:pt x="9337" y="160505"/>
                      <a:pt x="15562" y="148055"/>
                    </a:cubicBezTo>
                    <a:cubicBezTo>
                      <a:pt x="31124" y="116931"/>
                      <a:pt x="49798" y="92032"/>
                      <a:pt x="68473" y="64021"/>
                    </a:cubicBezTo>
                    <a:cubicBezTo>
                      <a:pt x="71585" y="60908"/>
                      <a:pt x="71585" y="57796"/>
                      <a:pt x="74697" y="54683"/>
                    </a:cubicBezTo>
                    <a:cubicBezTo>
                      <a:pt x="77810" y="51571"/>
                      <a:pt x="77810" y="48459"/>
                      <a:pt x="80922" y="48459"/>
                    </a:cubicBezTo>
                    <a:lnTo>
                      <a:pt x="80922" y="48459"/>
                    </a:lnTo>
                    <a:cubicBezTo>
                      <a:pt x="77810" y="45346"/>
                      <a:pt x="74697" y="39121"/>
                      <a:pt x="68473" y="36009"/>
                    </a:cubicBezTo>
                    <a:cubicBezTo>
                      <a:pt x="56023" y="23559"/>
                      <a:pt x="71585" y="4885"/>
                      <a:pt x="84035" y="14222"/>
                    </a:cubicBezTo>
                    <a:cubicBezTo>
                      <a:pt x="87147" y="17335"/>
                      <a:pt x="87147" y="17335"/>
                      <a:pt x="90259" y="20447"/>
                    </a:cubicBezTo>
                    <a:cubicBezTo>
                      <a:pt x="90259" y="17335"/>
                      <a:pt x="93372" y="11110"/>
                      <a:pt x="93372" y="7997"/>
                    </a:cubicBezTo>
                    <a:cubicBezTo>
                      <a:pt x="99597" y="-7564"/>
                      <a:pt x="124496" y="1773"/>
                      <a:pt x="118271" y="17335"/>
                    </a:cubicBezTo>
                    <a:cubicBezTo>
                      <a:pt x="118271" y="20447"/>
                      <a:pt x="115159" y="23559"/>
                      <a:pt x="115159" y="26672"/>
                    </a:cubicBezTo>
                    <a:cubicBezTo>
                      <a:pt x="124496" y="32897"/>
                      <a:pt x="130721" y="39121"/>
                      <a:pt x="140058" y="45346"/>
                    </a:cubicBezTo>
                    <a:cubicBezTo>
                      <a:pt x="152507" y="54683"/>
                      <a:pt x="164957" y="64021"/>
                      <a:pt x="174294" y="73358"/>
                    </a:cubicBezTo>
                    <a:cubicBezTo>
                      <a:pt x="174294" y="73358"/>
                      <a:pt x="174294" y="73358"/>
                      <a:pt x="174294" y="73358"/>
                    </a:cubicBezTo>
                    <a:cubicBezTo>
                      <a:pt x="227205" y="120044"/>
                      <a:pt x="267666" y="166729"/>
                      <a:pt x="286340" y="200966"/>
                    </a:cubicBezTo>
                    <a:cubicBezTo>
                      <a:pt x="230317" y="250764"/>
                      <a:pt x="171182" y="260101"/>
                      <a:pt x="124496" y="253877"/>
                    </a:cubicBezTo>
                    <a:close/>
                  </a:path>
                </a:pathLst>
              </a:custGeom>
              <a:solidFill>
                <a:srgbClr val="93AACC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C44FF7FA-4EF6-41BE-B8F0-6879423DF081}"/>
                  </a:ext>
                </a:extLst>
              </p:cNvPr>
              <p:cNvSpPr/>
              <p:nvPr/>
            </p:nvSpPr>
            <p:spPr>
              <a:xfrm>
                <a:off x="6366009" y="5959465"/>
                <a:ext cx="115408" cy="262641"/>
              </a:xfrm>
              <a:custGeom>
                <a:avLst/>
                <a:gdLst>
                  <a:gd name="connsiteX0" fmla="*/ 0 w 115408"/>
                  <a:gd name="connsiteY0" fmla="*/ 0 h 262641"/>
                  <a:gd name="connsiteX1" fmla="*/ 115158 w 115408"/>
                  <a:gd name="connsiteY1" fmla="*/ 239655 h 262641"/>
                  <a:gd name="connsiteX2" fmla="*/ 9337 w 115408"/>
                  <a:gd name="connsiteY2" fmla="*/ 161845 h 262641"/>
                  <a:gd name="connsiteX3" fmla="*/ 0 w 115408"/>
                  <a:gd name="connsiteY3" fmla="*/ 0 h 262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5408" h="262641">
                    <a:moveTo>
                      <a:pt x="0" y="0"/>
                    </a:moveTo>
                    <a:cubicBezTo>
                      <a:pt x="0" y="0"/>
                      <a:pt x="108934" y="158732"/>
                      <a:pt x="115158" y="239655"/>
                    </a:cubicBezTo>
                    <a:cubicBezTo>
                      <a:pt x="121383" y="320576"/>
                      <a:pt x="9337" y="161845"/>
                      <a:pt x="9337" y="161845"/>
                    </a:cubicBezTo>
                    <a:cubicBezTo>
                      <a:pt x="9337" y="161845"/>
                      <a:pt x="24899" y="56023"/>
                      <a:pt x="0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ED62E08D-8EA9-4B72-89BC-DCA83B732486}"/>
                  </a:ext>
                </a:extLst>
              </p:cNvPr>
              <p:cNvSpPr/>
              <p:nvPr/>
            </p:nvSpPr>
            <p:spPr>
              <a:xfrm>
                <a:off x="5960211" y="6068399"/>
                <a:ext cx="144356" cy="253521"/>
              </a:xfrm>
              <a:custGeom>
                <a:avLst/>
                <a:gdLst>
                  <a:gd name="connsiteX0" fmla="*/ 119457 w 144356"/>
                  <a:gd name="connsiteY0" fmla="*/ 0 h 253521"/>
                  <a:gd name="connsiteX1" fmla="*/ 1186 w 144356"/>
                  <a:gd name="connsiteY1" fmla="*/ 115159 h 253521"/>
                  <a:gd name="connsiteX2" fmla="*/ 47872 w 144356"/>
                  <a:gd name="connsiteY2" fmla="*/ 252104 h 253521"/>
                  <a:gd name="connsiteX3" fmla="*/ 144356 w 144356"/>
                  <a:gd name="connsiteY3" fmla="*/ 37349 h 253521"/>
                  <a:gd name="connsiteX4" fmla="*/ 119457 w 144356"/>
                  <a:gd name="connsiteY4" fmla="*/ 0 h 253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356" h="253521">
                    <a:moveTo>
                      <a:pt x="119457" y="0"/>
                    </a:moveTo>
                    <a:cubicBezTo>
                      <a:pt x="119457" y="0"/>
                      <a:pt x="7411" y="96484"/>
                      <a:pt x="1186" y="115159"/>
                    </a:cubicBezTo>
                    <a:cubicBezTo>
                      <a:pt x="-5039" y="133833"/>
                      <a:pt x="13636" y="230317"/>
                      <a:pt x="47872" y="252104"/>
                    </a:cubicBezTo>
                    <a:cubicBezTo>
                      <a:pt x="82108" y="273891"/>
                      <a:pt x="144356" y="37349"/>
                      <a:pt x="144356" y="37349"/>
                    </a:cubicBezTo>
                    <a:cubicBezTo>
                      <a:pt x="144356" y="37349"/>
                      <a:pt x="138131" y="15562"/>
                      <a:pt x="119457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71A96066-416C-46B7-933F-9B8D6537EA69}"/>
                  </a:ext>
                </a:extLst>
              </p:cNvPr>
              <p:cNvSpPr/>
              <p:nvPr/>
            </p:nvSpPr>
            <p:spPr>
              <a:xfrm>
                <a:off x="6228660" y="5796844"/>
                <a:ext cx="36955" cy="35012"/>
              </a:xfrm>
              <a:custGeom>
                <a:avLst/>
                <a:gdLst>
                  <a:gd name="connsiteX0" fmla="*/ 31527 w 36955"/>
                  <a:gd name="connsiteY0" fmla="*/ 3889 h 35012"/>
                  <a:gd name="connsiteX1" fmla="*/ 403 w 36955"/>
                  <a:gd name="connsiteY1" fmla="*/ 13226 h 35012"/>
                  <a:gd name="connsiteX2" fmla="*/ 25302 w 36955"/>
                  <a:gd name="connsiteY2" fmla="*/ 35013 h 35012"/>
                  <a:gd name="connsiteX3" fmla="*/ 31527 w 36955"/>
                  <a:gd name="connsiteY3" fmla="*/ 3889 h 35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955" h="35012">
                    <a:moveTo>
                      <a:pt x="31527" y="3889"/>
                    </a:moveTo>
                    <a:cubicBezTo>
                      <a:pt x="22190" y="-2336"/>
                      <a:pt x="6628" y="-2336"/>
                      <a:pt x="403" y="13226"/>
                    </a:cubicBezTo>
                    <a:cubicBezTo>
                      <a:pt x="-2710" y="22563"/>
                      <a:pt x="12852" y="35013"/>
                      <a:pt x="25302" y="35013"/>
                    </a:cubicBezTo>
                    <a:cubicBezTo>
                      <a:pt x="37752" y="31900"/>
                      <a:pt x="40864" y="13226"/>
                      <a:pt x="31527" y="3889"/>
                    </a:cubicBezTo>
                    <a:close/>
                  </a:path>
                </a:pathLst>
              </a:custGeom>
              <a:solidFill>
                <a:srgbClr val="38333D"/>
              </a:solidFill>
              <a:ln w="311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57004091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图形 1">
            <a:extLst>
              <a:ext uri="{FF2B5EF4-FFF2-40B4-BE49-F238E27FC236}">
                <a16:creationId xmlns:a16="http://schemas.microsoft.com/office/drawing/2014/main" id="{0CE540B5-BA07-4234-AB09-E4698FCCAC5A}"/>
              </a:ext>
            </a:extLst>
          </p:cNvPr>
          <p:cNvGrpSpPr/>
          <p:nvPr/>
        </p:nvGrpSpPr>
        <p:grpSpPr>
          <a:xfrm>
            <a:off x="6825361" y="2541822"/>
            <a:ext cx="2847789" cy="4157513"/>
            <a:chOff x="7479595" y="1892883"/>
            <a:chExt cx="2847789" cy="4157513"/>
          </a:xfrm>
        </p:grpSpPr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B7F403FA-1412-47B1-8197-6FE5A3087554}"/>
                </a:ext>
              </a:extLst>
            </p:cNvPr>
            <p:cNvSpPr/>
            <p:nvPr/>
          </p:nvSpPr>
          <p:spPr>
            <a:xfrm>
              <a:off x="8530580" y="4138635"/>
              <a:ext cx="654447" cy="1786029"/>
            </a:xfrm>
            <a:custGeom>
              <a:avLst/>
              <a:gdLst>
                <a:gd name="connsiteX0" fmla="*/ 0 w 654447"/>
                <a:gd name="connsiteY0" fmla="*/ 1660299 h 1786029"/>
                <a:gd name="connsiteX1" fmla="*/ 161194 w 654447"/>
                <a:gd name="connsiteY1" fmla="*/ 744716 h 1786029"/>
                <a:gd name="connsiteX2" fmla="*/ 364299 w 654447"/>
                <a:gd name="connsiteY2" fmla="*/ 0 h 1786029"/>
                <a:gd name="connsiteX3" fmla="*/ 654448 w 654447"/>
                <a:gd name="connsiteY3" fmla="*/ 199881 h 1786029"/>
                <a:gd name="connsiteX4" fmla="*/ 419104 w 654447"/>
                <a:gd name="connsiteY4" fmla="*/ 873672 h 1786029"/>
                <a:gd name="connsiteX5" fmla="*/ 96716 w 654447"/>
                <a:gd name="connsiteY5" fmla="*/ 1786030 h 1786029"/>
                <a:gd name="connsiteX6" fmla="*/ 0 w 654447"/>
                <a:gd name="connsiteY6" fmla="*/ 1660299 h 1786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4447" h="1786029">
                  <a:moveTo>
                    <a:pt x="0" y="1660299"/>
                  </a:moveTo>
                  <a:cubicBezTo>
                    <a:pt x="0" y="1660299"/>
                    <a:pt x="148298" y="776955"/>
                    <a:pt x="161194" y="744716"/>
                  </a:cubicBezTo>
                  <a:cubicBezTo>
                    <a:pt x="174089" y="712478"/>
                    <a:pt x="364299" y="0"/>
                    <a:pt x="364299" y="0"/>
                  </a:cubicBezTo>
                  <a:lnTo>
                    <a:pt x="654448" y="199881"/>
                  </a:lnTo>
                  <a:cubicBezTo>
                    <a:pt x="654448" y="199881"/>
                    <a:pt x="461015" y="786627"/>
                    <a:pt x="419104" y="873672"/>
                  </a:cubicBezTo>
                  <a:cubicBezTo>
                    <a:pt x="402985" y="905910"/>
                    <a:pt x="96716" y="1786030"/>
                    <a:pt x="96716" y="1786030"/>
                  </a:cubicBezTo>
                  <a:lnTo>
                    <a:pt x="0" y="1660299"/>
                  </a:ln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558BAFBF-0D02-4FDF-8CC9-E1D39EF96972}"/>
                </a:ext>
              </a:extLst>
            </p:cNvPr>
            <p:cNvSpPr/>
            <p:nvPr/>
          </p:nvSpPr>
          <p:spPr>
            <a:xfrm>
              <a:off x="9255635" y="4303053"/>
              <a:ext cx="425870" cy="1647402"/>
            </a:xfrm>
            <a:custGeom>
              <a:avLst/>
              <a:gdLst>
                <a:gd name="connsiteX0" fmla="*/ 383960 w 425870"/>
                <a:gd name="connsiteY0" fmla="*/ 1647403 h 1647402"/>
                <a:gd name="connsiteX1" fmla="*/ 245333 w 425870"/>
                <a:gd name="connsiteY1" fmla="*/ 828537 h 1647402"/>
                <a:gd name="connsiteX2" fmla="*/ 425871 w 425870"/>
                <a:gd name="connsiteY2" fmla="*/ 19343 h 1647402"/>
                <a:gd name="connsiteX3" fmla="*/ 87363 w 425870"/>
                <a:gd name="connsiteY3" fmla="*/ 0 h 1647402"/>
                <a:gd name="connsiteX4" fmla="*/ 319 w 425870"/>
                <a:gd name="connsiteY4" fmla="*/ 818866 h 1647402"/>
                <a:gd name="connsiteX5" fmla="*/ 258229 w 425870"/>
                <a:gd name="connsiteY5" fmla="*/ 1624836 h 1647402"/>
                <a:gd name="connsiteX6" fmla="*/ 383960 w 425870"/>
                <a:gd name="connsiteY6" fmla="*/ 1647403 h 1647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5870" h="1647402">
                  <a:moveTo>
                    <a:pt x="383960" y="1647403"/>
                  </a:moveTo>
                  <a:cubicBezTo>
                    <a:pt x="383960" y="1647403"/>
                    <a:pt x="242110" y="851105"/>
                    <a:pt x="245333" y="828537"/>
                  </a:cubicBezTo>
                  <a:cubicBezTo>
                    <a:pt x="248558" y="802746"/>
                    <a:pt x="425871" y="19343"/>
                    <a:pt x="425871" y="19343"/>
                  </a:cubicBezTo>
                  <a:lnTo>
                    <a:pt x="87363" y="0"/>
                  </a:lnTo>
                  <a:cubicBezTo>
                    <a:pt x="87363" y="0"/>
                    <a:pt x="-6129" y="757612"/>
                    <a:pt x="319" y="818866"/>
                  </a:cubicBezTo>
                  <a:cubicBezTo>
                    <a:pt x="6766" y="880120"/>
                    <a:pt x="258229" y="1624836"/>
                    <a:pt x="258229" y="1624836"/>
                  </a:cubicBezTo>
                  <a:lnTo>
                    <a:pt x="383960" y="1647403"/>
                  </a:ln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0CE540B5-BA07-4234-AB09-E4698FCCAC5A}"/>
                </a:ext>
              </a:extLst>
            </p:cNvPr>
            <p:cNvGrpSpPr/>
            <p:nvPr/>
          </p:nvGrpSpPr>
          <p:grpSpPr>
            <a:xfrm>
              <a:off x="8232751" y="5769919"/>
              <a:ext cx="434567" cy="218900"/>
              <a:chOff x="8232751" y="5769919"/>
              <a:chExt cx="434567" cy="218900"/>
            </a:xfrm>
          </p:grpSpPr>
          <p:sp>
            <p:nvSpPr>
              <p:cNvPr id="8" name="任意多边形: 形状 7">
                <a:extLst>
                  <a:ext uri="{FF2B5EF4-FFF2-40B4-BE49-F238E27FC236}">
                    <a16:creationId xmlns:a16="http://schemas.microsoft.com/office/drawing/2014/main" id="{8CDE35F6-77BF-411F-80BF-377A2F26E7D7}"/>
                  </a:ext>
                </a:extLst>
              </p:cNvPr>
              <p:cNvSpPr/>
              <p:nvPr/>
            </p:nvSpPr>
            <p:spPr>
              <a:xfrm>
                <a:off x="8246879" y="5773142"/>
                <a:ext cx="415880" cy="180537"/>
              </a:xfrm>
              <a:custGeom>
                <a:avLst/>
                <a:gdLst>
                  <a:gd name="connsiteX0" fmla="*/ 415880 w 415880"/>
                  <a:gd name="connsiteY0" fmla="*/ 93493 h 180537"/>
                  <a:gd name="connsiteX1" fmla="*/ 283702 w 415880"/>
                  <a:gd name="connsiteY1" fmla="*/ 0 h 180537"/>
                  <a:gd name="connsiteX2" fmla="*/ 154746 w 415880"/>
                  <a:gd name="connsiteY2" fmla="*/ 22567 h 180537"/>
                  <a:gd name="connsiteX3" fmla="*/ 0 w 415880"/>
                  <a:gd name="connsiteY3" fmla="*/ 32239 h 180537"/>
                  <a:gd name="connsiteX4" fmla="*/ 380418 w 415880"/>
                  <a:gd name="connsiteY4" fmla="*/ 180538 h 180537"/>
                  <a:gd name="connsiteX5" fmla="*/ 415880 w 415880"/>
                  <a:gd name="connsiteY5" fmla="*/ 93493 h 180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880" h="180537">
                    <a:moveTo>
                      <a:pt x="415880" y="93493"/>
                    </a:moveTo>
                    <a:cubicBezTo>
                      <a:pt x="415880" y="93493"/>
                      <a:pt x="312716" y="70926"/>
                      <a:pt x="283702" y="0"/>
                    </a:cubicBezTo>
                    <a:cubicBezTo>
                      <a:pt x="283702" y="0"/>
                      <a:pt x="193433" y="29015"/>
                      <a:pt x="154746" y="22567"/>
                    </a:cubicBezTo>
                    <a:cubicBezTo>
                      <a:pt x="116060" y="16119"/>
                      <a:pt x="32239" y="-19343"/>
                      <a:pt x="0" y="32239"/>
                    </a:cubicBezTo>
                    <a:lnTo>
                      <a:pt x="380418" y="180538"/>
                    </a:lnTo>
                    <a:cubicBezTo>
                      <a:pt x="380418" y="180538"/>
                      <a:pt x="412657" y="138627"/>
                      <a:pt x="415880" y="93493"/>
                    </a:cubicBezTo>
                    <a:close/>
                  </a:path>
                </a:pathLst>
              </a:custGeom>
              <a:solidFill>
                <a:srgbClr val="7E94B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" name="任意多边形: 形状 8">
                <a:extLst>
                  <a:ext uri="{FF2B5EF4-FFF2-40B4-BE49-F238E27FC236}">
                    <a16:creationId xmlns:a16="http://schemas.microsoft.com/office/drawing/2014/main" id="{59733FB4-EE06-468B-B5D9-8D5CE9EE653F}"/>
                  </a:ext>
                </a:extLst>
              </p:cNvPr>
              <p:cNvSpPr/>
              <p:nvPr/>
            </p:nvSpPr>
            <p:spPr>
              <a:xfrm rot="-4120324">
                <a:off x="8411136" y="5691633"/>
                <a:ext cx="38685" cy="409426"/>
              </a:xfrm>
              <a:custGeom>
                <a:avLst/>
                <a:gdLst>
                  <a:gd name="connsiteX0" fmla="*/ 0 w 38685"/>
                  <a:gd name="connsiteY0" fmla="*/ 0 h 409426"/>
                  <a:gd name="connsiteX1" fmla="*/ 38686 w 38685"/>
                  <a:gd name="connsiteY1" fmla="*/ 0 h 409426"/>
                  <a:gd name="connsiteX2" fmla="*/ 38686 w 38685"/>
                  <a:gd name="connsiteY2" fmla="*/ 409426 h 409426"/>
                  <a:gd name="connsiteX3" fmla="*/ 0 w 38685"/>
                  <a:gd name="connsiteY3" fmla="*/ 409426 h 409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685" h="409426">
                    <a:moveTo>
                      <a:pt x="0" y="0"/>
                    </a:moveTo>
                    <a:lnTo>
                      <a:pt x="38686" y="0"/>
                    </a:lnTo>
                    <a:lnTo>
                      <a:pt x="38686" y="409426"/>
                    </a:lnTo>
                    <a:lnTo>
                      <a:pt x="0" y="409426"/>
                    </a:ln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" name="任意多边形: 形状 9">
                <a:extLst>
                  <a:ext uri="{FF2B5EF4-FFF2-40B4-BE49-F238E27FC236}">
                    <a16:creationId xmlns:a16="http://schemas.microsoft.com/office/drawing/2014/main" id="{07946209-2167-4AE5-B211-4A45677CEC1A}"/>
                  </a:ext>
                </a:extLst>
              </p:cNvPr>
              <p:cNvSpPr/>
              <p:nvPr/>
            </p:nvSpPr>
            <p:spPr>
              <a:xfrm>
                <a:off x="8527356" y="5769919"/>
                <a:ext cx="139962" cy="103164"/>
              </a:xfrm>
              <a:custGeom>
                <a:avLst/>
                <a:gdLst>
                  <a:gd name="connsiteX0" fmla="*/ 135403 w 139962"/>
                  <a:gd name="connsiteY0" fmla="*/ 103164 h 103164"/>
                  <a:gd name="connsiteX1" fmla="*/ 135403 w 139962"/>
                  <a:gd name="connsiteY1" fmla="*/ 103164 h 103164"/>
                  <a:gd name="connsiteX2" fmla="*/ 0 w 139962"/>
                  <a:gd name="connsiteY2" fmla="*/ 6448 h 103164"/>
                  <a:gd name="connsiteX3" fmla="*/ 3224 w 139962"/>
                  <a:gd name="connsiteY3" fmla="*/ 0 h 103164"/>
                  <a:gd name="connsiteX4" fmla="*/ 9672 w 139962"/>
                  <a:gd name="connsiteY4" fmla="*/ 3224 h 103164"/>
                  <a:gd name="connsiteX5" fmla="*/ 135403 w 139962"/>
                  <a:gd name="connsiteY5" fmla="*/ 93493 h 103164"/>
                  <a:gd name="connsiteX6" fmla="*/ 138627 w 139962"/>
                  <a:gd name="connsiteY6" fmla="*/ 99940 h 103164"/>
                  <a:gd name="connsiteX7" fmla="*/ 135403 w 139962"/>
                  <a:gd name="connsiteY7" fmla="*/ 103164 h 103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962" h="103164">
                    <a:moveTo>
                      <a:pt x="135403" y="103164"/>
                    </a:moveTo>
                    <a:cubicBezTo>
                      <a:pt x="132179" y="103164"/>
                      <a:pt x="132179" y="103164"/>
                      <a:pt x="135403" y="103164"/>
                    </a:cubicBezTo>
                    <a:cubicBezTo>
                      <a:pt x="128955" y="103164"/>
                      <a:pt x="35463" y="80597"/>
                      <a:pt x="0" y="6448"/>
                    </a:cubicBezTo>
                    <a:cubicBezTo>
                      <a:pt x="0" y="3224"/>
                      <a:pt x="0" y="0"/>
                      <a:pt x="3224" y="0"/>
                    </a:cubicBezTo>
                    <a:cubicBezTo>
                      <a:pt x="6448" y="0"/>
                      <a:pt x="9672" y="0"/>
                      <a:pt x="9672" y="3224"/>
                    </a:cubicBezTo>
                    <a:cubicBezTo>
                      <a:pt x="45135" y="70926"/>
                      <a:pt x="135403" y="93493"/>
                      <a:pt x="135403" y="93493"/>
                    </a:cubicBezTo>
                    <a:cubicBezTo>
                      <a:pt x="138627" y="93493"/>
                      <a:pt x="141851" y="96716"/>
                      <a:pt x="138627" y="99940"/>
                    </a:cubicBezTo>
                    <a:cubicBezTo>
                      <a:pt x="138627" y="99940"/>
                      <a:pt x="135403" y="103164"/>
                      <a:pt x="135403" y="10316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" name="任意多边形: 形状 10">
                <a:extLst>
                  <a:ext uri="{FF2B5EF4-FFF2-40B4-BE49-F238E27FC236}">
                    <a16:creationId xmlns:a16="http://schemas.microsoft.com/office/drawing/2014/main" id="{E57B6828-9A5F-4459-8210-2C7ED44FEA8E}"/>
                  </a:ext>
                </a:extLst>
              </p:cNvPr>
              <p:cNvSpPr/>
              <p:nvPr/>
            </p:nvSpPr>
            <p:spPr>
              <a:xfrm>
                <a:off x="8488670" y="5779590"/>
                <a:ext cx="23902" cy="38686"/>
              </a:xfrm>
              <a:custGeom>
                <a:avLst/>
                <a:gdLst>
                  <a:gd name="connsiteX0" fmla="*/ 19343 w 23902"/>
                  <a:gd name="connsiteY0" fmla="*/ 38686 h 38686"/>
                  <a:gd name="connsiteX1" fmla="*/ 12895 w 23902"/>
                  <a:gd name="connsiteY1" fmla="*/ 35463 h 38686"/>
                  <a:gd name="connsiteX2" fmla="*/ 0 w 23902"/>
                  <a:gd name="connsiteY2" fmla="*/ 6448 h 38686"/>
                  <a:gd name="connsiteX3" fmla="*/ 3224 w 23902"/>
                  <a:gd name="connsiteY3" fmla="*/ 0 h 38686"/>
                  <a:gd name="connsiteX4" fmla="*/ 9672 w 23902"/>
                  <a:gd name="connsiteY4" fmla="*/ 3224 h 38686"/>
                  <a:gd name="connsiteX5" fmla="*/ 22567 w 23902"/>
                  <a:gd name="connsiteY5" fmla="*/ 32239 h 38686"/>
                  <a:gd name="connsiteX6" fmla="*/ 19343 w 23902"/>
                  <a:gd name="connsiteY6" fmla="*/ 38686 h 38686"/>
                  <a:gd name="connsiteX7" fmla="*/ 19343 w 23902"/>
                  <a:gd name="connsiteY7" fmla="*/ 38686 h 38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02" h="38686">
                    <a:moveTo>
                      <a:pt x="19343" y="38686"/>
                    </a:moveTo>
                    <a:cubicBezTo>
                      <a:pt x="16119" y="38686"/>
                      <a:pt x="16119" y="38686"/>
                      <a:pt x="12895" y="35463"/>
                    </a:cubicBezTo>
                    <a:lnTo>
                      <a:pt x="0" y="6448"/>
                    </a:lnTo>
                    <a:cubicBezTo>
                      <a:pt x="0" y="3224"/>
                      <a:pt x="0" y="0"/>
                      <a:pt x="3224" y="0"/>
                    </a:cubicBezTo>
                    <a:cubicBezTo>
                      <a:pt x="6448" y="0"/>
                      <a:pt x="9672" y="0"/>
                      <a:pt x="9672" y="3224"/>
                    </a:cubicBezTo>
                    <a:lnTo>
                      <a:pt x="22567" y="32239"/>
                    </a:lnTo>
                    <a:cubicBezTo>
                      <a:pt x="25791" y="32239"/>
                      <a:pt x="22567" y="35463"/>
                      <a:pt x="19343" y="38686"/>
                    </a:cubicBezTo>
                    <a:cubicBezTo>
                      <a:pt x="19343" y="38686"/>
                      <a:pt x="19343" y="38686"/>
                      <a:pt x="19343" y="3868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" name="任意多边形: 形状 11">
                <a:extLst>
                  <a:ext uri="{FF2B5EF4-FFF2-40B4-BE49-F238E27FC236}">
                    <a16:creationId xmlns:a16="http://schemas.microsoft.com/office/drawing/2014/main" id="{B423429B-78F8-4E72-A64C-EB2B4571AAA8}"/>
                  </a:ext>
                </a:extLst>
              </p:cNvPr>
              <p:cNvSpPr/>
              <p:nvPr/>
            </p:nvSpPr>
            <p:spPr>
              <a:xfrm>
                <a:off x="8449983" y="5789262"/>
                <a:ext cx="24684" cy="38686"/>
              </a:xfrm>
              <a:custGeom>
                <a:avLst/>
                <a:gdLst>
                  <a:gd name="connsiteX0" fmla="*/ 19343 w 24684"/>
                  <a:gd name="connsiteY0" fmla="*/ 38687 h 38686"/>
                  <a:gd name="connsiteX1" fmla="*/ 12895 w 24684"/>
                  <a:gd name="connsiteY1" fmla="*/ 35463 h 38686"/>
                  <a:gd name="connsiteX2" fmla="*/ 0 w 24684"/>
                  <a:gd name="connsiteY2" fmla="*/ 6448 h 38686"/>
                  <a:gd name="connsiteX3" fmla="*/ 3224 w 24684"/>
                  <a:gd name="connsiteY3" fmla="*/ 0 h 38686"/>
                  <a:gd name="connsiteX4" fmla="*/ 9672 w 24684"/>
                  <a:gd name="connsiteY4" fmla="*/ 3224 h 38686"/>
                  <a:gd name="connsiteX5" fmla="*/ 22567 w 24684"/>
                  <a:gd name="connsiteY5" fmla="*/ 32239 h 38686"/>
                  <a:gd name="connsiteX6" fmla="*/ 19343 w 24684"/>
                  <a:gd name="connsiteY6" fmla="*/ 38687 h 38686"/>
                  <a:gd name="connsiteX7" fmla="*/ 19343 w 24684"/>
                  <a:gd name="connsiteY7" fmla="*/ 38687 h 38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684" h="38686">
                    <a:moveTo>
                      <a:pt x="19343" y="38687"/>
                    </a:moveTo>
                    <a:cubicBezTo>
                      <a:pt x="16119" y="38687"/>
                      <a:pt x="16119" y="38687"/>
                      <a:pt x="12895" y="35463"/>
                    </a:cubicBezTo>
                    <a:lnTo>
                      <a:pt x="0" y="6448"/>
                    </a:lnTo>
                    <a:cubicBezTo>
                      <a:pt x="0" y="3224"/>
                      <a:pt x="0" y="0"/>
                      <a:pt x="3224" y="0"/>
                    </a:cubicBezTo>
                    <a:cubicBezTo>
                      <a:pt x="6448" y="0"/>
                      <a:pt x="9672" y="0"/>
                      <a:pt x="9672" y="3224"/>
                    </a:cubicBezTo>
                    <a:lnTo>
                      <a:pt x="22567" y="32239"/>
                    </a:lnTo>
                    <a:cubicBezTo>
                      <a:pt x="25791" y="32239"/>
                      <a:pt x="25791" y="35463"/>
                      <a:pt x="19343" y="38687"/>
                    </a:cubicBezTo>
                    <a:cubicBezTo>
                      <a:pt x="19343" y="38687"/>
                      <a:pt x="19343" y="38687"/>
                      <a:pt x="19343" y="3868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图形 1">
              <a:extLst>
                <a:ext uri="{FF2B5EF4-FFF2-40B4-BE49-F238E27FC236}">
                  <a16:creationId xmlns:a16="http://schemas.microsoft.com/office/drawing/2014/main" id="{0CE540B5-BA07-4234-AB09-E4698FCCAC5A}"/>
                </a:ext>
              </a:extLst>
            </p:cNvPr>
            <p:cNvGrpSpPr/>
            <p:nvPr/>
          </p:nvGrpSpPr>
          <p:grpSpPr>
            <a:xfrm>
              <a:off x="9239834" y="5870665"/>
              <a:ext cx="419104" cy="179731"/>
              <a:chOff x="9239834" y="5870665"/>
              <a:chExt cx="419104" cy="179731"/>
            </a:xfrm>
          </p:grpSpPr>
          <p:sp>
            <p:nvSpPr>
              <p:cNvPr id="14" name="任意多边形: 形状 13">
                <a:extLst>
                  <a:ext uri="{FF2B5EF4-FFF2-40B4-BE49-F238E27FC236}">
                    <a16:creationId xmlns:a16="http://schemas.microsoft.com/office/drawing/2014/main" id="{69E37A48-2E39-4B4B-A000-12915118AEE3}"/>
                  </a:ext>
                </a:extLst>
              </p:cNvPr>
              <p:cNvSpPr/>
              <p:nvPr/>
            </p:nvSpPr>
            <p:spPr>
              <a:xfrm>
                <a:off x="9239834" y="5879531"/>
                <a:ext cx="416596" cy="132179"/>
              </a:xfrm>
              <a:custGeom>
                <a:avLst/>
                <a:gdLst>
                  <a:gd name="connsiteX0" fmla="*/ 409433 w 416596"/>
                  <a:gd name="connsiteY0" fmla="*/ 38686 h 132179"/>
                  <a:gd name="connsiteX1" fmla="*/ 254686 w 416596"/>
                  <a:gd name="connsiteY1" fmla="*/ 0 h 132179"/>
                  <a:gd name="connsiteX2" fmla="*/ 141851 w 416596"/>
                  <a:gd name="connsiteY2" fmla="*/ 67701 h 132179"/>
                  <a:gd name="connsiteX3" fmla="*/ 0 w 416596"/>
                  <a:gd name="connsiteY3" fmla="*/ 132179 h 132179"/>
                  <a:gd name="connsiteX4" fmla="*/ 409433 w 416596"/>
                  <a:gd name="connsiteY4" fmla="*/ 132179 h 132179"/>
                  <a:gd name="connsiteX5" fmla="*/ 409433 w 416596"/>
                  <a:gd name="connsiteY5" fmla="*/ 38686 h 132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6596" h="132179">
                    <a:moveTo>
                      <a:pt x="409433" y="38686"/>
                    </a:moveTo>
                    <a:cubicBezTo>
                      <a:pt x="409433" y="38686"/>
                      <a:pt x="306269" y="54806"/>
                      <a:pt x="254686" y="0"/>
                    </a:cubicBezTo>
                    <a:cubicBezTo>
                      <a:pt x="254686" y="0"/>
                      <a:pt x="180537" y="58030"/>
                      <a:pt x="141851" y="67701"/>
                    </a:cubicBezTo>
                    <a:cubicBezTo>
                      <a:pt x="103164" y="74149"/>
                      <a:pt x="12895" y="74149"/>
                      <a:pt x="0" y="132179"/>
                    </a:cubicBezTo>
                    <a:lnTo>
                      <a:pt x="409433" y="132179"/>
                    </a:lnTo>
                    <a:cubicBezTo>
                      <a:pt x="409433" y="132179"/>
                      <a:pt x="425552" y="80597"/>
                      <a:pt x="409433" y="38686"/>
                    </a:cubicBezTo>
                    <a:close/>
                  </a:path>
                </a:pathLst>
              </a:custGeom>
              <a:solidFill>
                <a:srgbClr val="7E94B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" name="任意多边形: 形状 14">
                <a:extLst>
                  <a:ext uri="{FF2B5EF4-FFF2-40B4-BE49-F238E27FC236}">
                    <a16:creationId xmlns:a16="http://schemas.microsoft.com/office/drawing/2014/main" id="{237A7541-CED0-4417-9355-DE591B42851F}"/>
                  </a:ext>
                </a:extLst>
              </p:cNvPr>
              <p:cNvSpPr/>
              <p:nvPr/>
            </p:nvSpPr>
            <p:spPr>
              <a:xfrm>
                <a:off x="9239834" y="6011710"/>
                <a:ext cx="409432" cy="38686"/>
              </a:xfrm>
              <a:custGeom>
                <a:avLst/>
                <a:gdLst>
                  <a:gd name="connsiteX0" fmla="*/ 0 w 409432"/>
                  <a:gd name="connsiteY0" fmla="*/ 0 h 38686"/>
                  <a:gd name="connsiteX1" fmla="*/ 409433 w 409432"/>
                  <a:gd name="connsiteY1" fmla="*/ 0 h 38686"/>
                  <a:gd name="connsiteX2" fmla="*/ 409433 w 409432"/>
                  <a:gd name="connsiteY2" fmla="*/ 38687 h 38686"/>
                  <a:gd name="connsiteX3" fmla="*/ 0 w 409432"/>
                  <a:gd name="connsiteY3" fmla="*/ 38687 h 38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432" h="38686">
                    <a:moveTo>
                      <a:pt x="0" y="0"/>
                    </a:moveTo>
                    <a:lnTo>
                      <a:pt x="409433" y="0"/>
                    </a:lnTo>
                    <a:lnTo>
                      <a:pt x="409433" y="38687"/>
                    </a:lnTo>
                    <a:lnTo>
                      <a:pt x="0" y="38687"/>
                    </a:ln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" name="任意多边形: 形状 15">
                <a:extLst>
                  <a:ext uri="{FF2B5EF4-FFF2-40B4-BE49-F238E27FC236}">
                    <a16:creationId xmlns:a16="http://schemas.microsoft.com/office/drawing/2014/main" id="{C788C8AB-1A6D-4CE7-8D9A-1D18FAA6E7ED}"/>
                  </a:ext>
                </a:extLst>
              </p:cNvPr>
              <p:cNvSpPr/>
              <p:nvPr/>
            </p:nvSpPr>
            <p:spPr>
              <a:xfrm>
                <a:off x="9488879" y="5870665"/>
                <a:ext cx="170059" cy="54000"/>
              </a:xfrm>
              <a:custGeom>
                <a:avLst/>
                <a:gdLst>
                  <a:gd name="connsiteX0" fmla="*/ 131373 w 170059"/>
                  <a:gd name="connsiteY0" fmla="*/ 54000 h 54000"/>
                  <a:gd name="connsiteX1" fmla="*/ 2418 w 170059"/>
                  <a:gd name="connsiteY1" fmla="*/ 12090 h 54000"/>
                  <a:gd name="connsiteX2" fmla="*/ 2418 w 170059"/>
                  <a:gd name="connsiteY2" fmla="*/ 2418 h 54000"/>
                  <a:gd name="connsiteX3" fmla="*/ 12089 w 170059"/>
                  <a:gd name="connsiteY3" fmla="*/ 2418 h 54000"/>
                  <a:gd name="connsiteX4" fmla="*/ 163612 w 170059"/>
                  <a:gd name="connsiteY4" fmla="*/ 41105 h 54000"/>
                  <a:gd name="connsiteX5" fmla="*/ 170060 w 170059"/>
                  <a:gd name="connsiteY5" fmla="*/ 47552 h 54000"/>
                  <a:gd name="connsiteX6" fmla="*/ 163612 w 170059"/>
                  <a:gd name="connsiteY6" fmla="*/ 54000 h 54000"/>
                  <a:gd name="connsiteX7" fmla="*/ 131373 w 170059"/>
                  <a:gd name="connsiteY7" fmla="*/ 54000 h 5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0059" h="54000">
                    <a:moveTo>
                      <a:pt x="131373" y="54000"/>
                    </a:moveTo>
                    <a:cubicBezTo>
                      <a:pt x="95910" y="54000"/>
                      <a:pt x="41105" y="47552"/>
                      <a:pt x="2418" y="12090"/>
                    </a:cubicBezTo>
                    <a:cubicBezTo>
                      <a:pt x="-806" y="8866"/>
                      <a:pt x="-806" y="5642"/>
                      <a:pt x="2418" y="2418"/>
                    </a:cubicBezTo>
                    <a:cubicBezTo>
                      <a:pt x="5642" y="-806"/>
                      <a:pt x="8866" y="-806"/>
                      <a:pt x="12089" y="2418"/>
                    </a:cubicBezTo>
                    <a:cubicBezTo>
                      <a:pt x="70119" y="54000"/>
                      <a:pt x="163612" y="41105"/>
                      <a:pt x="163612" y="41105"/>
                    </a:cubicBezTo>
                    <a:cubicBezTo>
                      <a:pt x="166836" y="41105"/>
                      <a:pt x="170060" y="44328"/>
                      <a:pt x="170060" y="47552"/>
                    </a:cubicBezTo>
                    <a:cubicBezTo>
                      <a:pt x="170060" y="50776"/>
                      <a:pt x="166836" y="54000"/>
                      <a:pt x="163612" y="54000"/>
                    </a:cubicBezTo>
                    <a:cubicBezTo>
                      <a:pt x="160388" y="50776"/>
                      <a:pt x="147493" y="54000"/>
                      <a:pt x="131373" y="540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" name="任意多边形: 形状 16">
                <a:extLst>
                  <a:ext uri="{FF2B5EF4-FFF2-40B4-BE49-F238E27FC236}">
                    <a16:creationId xmlns:a16="http://schemas.microsoft.com/office/drawing/2014/main" id="{D0338B32-3693-43C4-A643-DA4FF081DE9F}"/>
                  </a:ext>
                </a:extLst>
              </p:cNvPr>
              <p:cNvSpPr/>
              <p:nvPr/>
            </p:nvSpPr>
            <p:spPr>
              <a:xfrm>
                <a:off x="9456640" y="5890008"/>
                <a:ext cx="37074" cy="37880"/>
              </a:xfrm>
              <a:custGeom>
                <a:avLst/>
                <a:gdLst>
                  <a:gd name="connsiteX0" fmla="*/ 28209 w 37074"/>
                  <a:gd name="connsiteY0" fmla="*/ 37881 h 37880"/>
                  <a:gd name="connsiteX1" fmla="*/ 24985 w 37074"/>
                  <a:gd name="connsiteY1" fmla="*/ 34657 h 37880"/>
                  <a:gd name="connsiteX2" fmla="*/ 2418 w 37074"/>
                  <a:gd name="connsiteY2" fmla="*/ 12089 h 37880"/>
                  <a:gd name="connsiteX3" fmla="*/ 2418 w 37074"/>
                  <a:gd name="connsiteY3" fmla="*/ 2418 h 37880"/>
                  <a:gd name="connsiteX4" fmla="*/ 12089 w 37074"/>
                  <a:gd name="connsiteY4" fmla="*/ 2418 h 37880"/>
                  <a:gd name="connsiteX5" fmla="*/ 34657 w 37074"/>
                  <a:gd name="connsiteY5" fmla="*/ 24985 h 37880"/>
                  <a:gd name="connsiteX6" fmla="*/ 34657 w 37074"/>
                  <a:gd name="connsiteY6" fmla="*/ 34657 h 37880"/>
                  <a:gd name="connsiteX7" fmla="*/ 28209 w 37074"/>
                  <a:gd name="connsiteY7" fmla="*/ 37881 h 3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74" h="37880">
                    <a:moveTo>
                      <a:pt x="28209" y="37881"/>
                    </a:moveTo>
                    <a:cubicBezTo>
                      <a:pt x="28209" y="37881"/>
                      <a:pt x="24985" y="37881"/>
                      <a:pt x="24985" y="34657"/>
                    </a:cubicBezTo>
                    <a:lnTo>
                      <a:pt x="2418" y="12089"/>
                    </a:lnTo>
                    <a:cubicBezTo>
                      <a:pt x="-806" y="8866"/>
                      <a:pt x="-806" y="5642"/>
                      <a:pt x="2418" y="2418"/>
                    </a:cubicBezTo>
                    <a:cubicBezTo>
                      <a:pt x="5642" y="-806"/>
                      <a:pt x="8866" y="-806"/>
                      <a:pt x="12089" y="2418"/>
                    </a:cubicBezTo>
                    <a:lnTo>
                      <a:pt x="34657" y="24985"/>
                    </a:lnTo>
                    <a:cubicBezTo>
                      <a:pt x="37880" y="28209"/>
                      <a:pt x="37880" y="31433"/>
                      <a:pt x="34657" y="34657"/>
                    </a:cubicBezTo>
                    <a:cubicBezTo>
                      <a:pt x="31433" y="37881"/>
                      <a:pt x="28209" y="37881"/>
                      <a:pt x="28209" y="3788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AF94542E-9B38-4039-A9F5-2A751FF27D75}"/>
                  </a:ext>
                </a:extLst>
              </p:cNvPr>
              <p:cNvSpPr/>
              <p:nvPr/>
            </p:nvSpPr>
            <p:spPr>
              <a:xfrm>
                <a:off x="9424401" y="5912575"/>
                <a:ext cx="37074" cy="37880"/>
              </a:xfrm>
              <a:custGeom>
                <a:avLst/>
                <a:gdLst>
                  <a:gd name="connsiteX0" fmla="*/ 28209 w 37074"/>
                  <a:gd name="connsiteY0" fmla="*/ 37881 h 37880"/>
                  <a:gd name="connsiteX1" fmla="*/ 24985 w 37074"/>
                  <a:gd name="connsiteY1" fmla="*/ 34657 h 37880"/>
                  <a:gd name="connsiteX2" fmla="*/ 2418 w 37074"/>
                  <a:gd name="connsiteY2" fmla="*/ 12090 h 37880"/>
                  <a:gd name="connsiteX3" fmla="*/ 2418 w 37074"/>
                  <a:gd name="connsiteY3" fmla="*/ 2418 h 37880"/>
                  <a:gd name="connsiteX4" fmla="*/ 12089 w 37074"/>
                  <a:gd name="connsiteY4" fmla="*/ 2418 h 37880"/>
                  <a:gd name="connsiteX5" fmla="*/ 34657 w 37074"/>
                  <a:gd name="connsiteY5" fmla="*/ 24985 h 37880"/>
                  <a:gd name="connsiteX6" fmla="*/ 34657 w 37074"/>
                  <a:gd name="connsiteY6" fmla="*/ 34657 h 37880"/>
                  <a:gd name="connsiteX7" fmla="*/ 28209 w 37074"/>
                  <a:gd name="connsiteY7" fmla="*/ 37881 h 3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74" h="37880">
                    <a:moveTo>
                      <a:pt x="28209" y="37881"/>
                    </a:moveTo>
                    <a:cubicBezTo>
                      <a:pt x="28209" y="37881"/>
                      <a:pt x="24985" y="37881"/>
                      <a:pt x="24985" y="34657"/>
                    </a:cubicBezTo>
                    <a:lnTo>
                      <a:pt x="2418" y="12090"/>
                    </a:lnTo>
                    <a:cubicBezTo>
                      <a:pt x="-806" y="8866"/>
                      <a:pt x="-806" y="5642"/>
                      <a:pt x="2418" y="2418"/>
                    </a:cubicBezTo>
                    <a:cubicBezTo>
                      <a:pt x="5642" y="-806"/>
                      <a:pt x="8866" y="-806"/>
                      <a:pt x="12089" y="2418"/>
                    </a:cubicBezTo>
                    <a:lnTo>
                      <a:pt x="34657" y="24985"/>
                    </a:lnTo>
                    <a:cubicBezTo>
                      <a:pt x="37880" y="28209"/>
                      <a:pt x="37880" y="31433"/>
                      <a:pt x="34657" y="34657"/>
                    </a:cubicBezTo>
                    <a:cubicBezTo>
                      <a:pt x="31433" y="37881"/>
                      <a:pt x="31433" y="37881"/>
                      <a:pt x="28209" y="3788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3C940C6E-6855-4B88-97A0-599B3A48CB29}"/>
                </a:ext>
              </a:extLst>
            </p:cNvPr>
            <p:cNvSpPr/>
            <p:nvPr/>
          </p:nvSpPr>
          <p:spPr>
            <a:xfrm>
              <a:off x="8636968" y="3909740"/>
              <a:ext cx="1089423" cy="1147701"/>
            </a:xfrm>
            <a:custGeom>
              <a:avLst/>
              <a:gdLst>
                <a:gd name="connsiteX0" fmla="*/ 551283 w 1089423"/>
                <a:gd name="connsiteY0" fmla="*/ 1131582 h 1147701"/>
                <a:gd name="connsiteX1" fmla="*/ 693134 w 1089423"/>
                <a:gd name="connsiteY1" fmla="*/ 1147702 h 1147701"/>
                <a:gd name="connsiteX2" fmla="*/ 725373 w 1089423"/>
                <a:gd name="connsiteY2" fmla="*/ 1147702 h 1147701"/>
                <a:gd name="connsiteX3" fmla="*/ 773731 w 1089423"/>
                <a:gd name="connsiteY3" fmla="*/ 1147702 h 1147701"/>
                <a:gd name="connsiteX4" fmla="*/ 809194 w 1089423"/>
                <a:gd name="connsiteY4" fmla="*/ 1147702 h 1147701"/>
                <a:gd name="connsiteX5" fmla="*/ 960716 w 1089423"/>
                <a:gd name="connsiteY5" fmla="*/ 1131582 h 1147701"/>
                <a:gd name="connsiteX6" fmla="*/ 1083224 w 1089423"/>
                <a:gd name="connsiteY6" fmla="*/ 0 h 1147701"/>
                <a:gd name="connsiteX7" fmla="*/ 986507 w 1089423"/>
                <a:gd name="connsiteY7" fmla="*/ 3224 h 1147701"/>
                <a:gd name="connsiteX8" fmla="*/ 954268 w 1089423"/>
                <a:gd name="connsiteY8" fmla="*/ 3224 h 1147701"/>
                <a:gd name="connsiteX9" fmla="*/ 883343 w 1089423"/>
                <a:gd name="connsiteY9" fmla="*/ 6448 h 1147701"/>
                <a:gd name="connsiteX10" fmla="*/ 851104 w 1089423"/>
                <a:gd name="connsiteY10" fmla="*/ 6448 h 1147701"/>
                <a:gd name="connsiteX11" fmla="*/ 228895 w 1089423"/>
                <a:gd name="connsiteY11" fmla="*/ 12896 h 1147701"/>
                <a:gd name="connsiteX12" fmla="*/ 0 w 1089423"/>
                <a:gd name="connsiteY12" fmla="*/ 944597 h 1147701"/>
                <a:gd name="connsiteX13" fmla="*/ 367522 w 1089423"/>
                <a:gd name="connsiteY13" fmla="*/ 1086448 h 1147701"/>
                <a:gd name="connsiteX14" fmla="*/ 593194 w 1089423"/>
                <a:gd name="connsiteY14" fmla="*/ 415881 h 1147701"/>
                <a:gd name="connsiteX15" fmla="*/ 551283 w 1089423"/>
                <a:gd name="connsiteY15" fmla="*/ 1131582 h 1147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89423" h="1147701">
                  <a:moveTo>
                    <a:pt x="551283" y="1131582"/>
                  </a:moveTo>
                  <a:cubicBezTo>
                    <a:pt x="551283" y="1131582"/>
                    <a:pt x="609313" y="1141254"/>
                    <a:pt x="693134" y="1147702"/>
                  </a:cubicBezTo>
                  <a:cubicBezTo>
                    <a:pt x="702806" y="1147702"/>
                    <a:pt x="715701" y="1147702"/>
                    <a:pt x="725373" y="1147702"/>
                  </a:cubicBezTo>
                  <a:cubicBezTo>
                    <a:pt x="741493" y="1147702"/>
                    <a:pt x="757612" y="1147702"/>
                    <a:pt x="773731" y="1147702"/>
                  </a:cubicBezTo>
                  <a:cubicBezTo>
                    <a:pt x="786627" y="1147702"/>
                    <a:pt x="796298" y="1147702"/>
                    <a:pt x="809194" y="1147702"/>
                  </a:cubicBezTo>
                  <a:cubicBezTo>
                    <a:pt x="857552" y="1147702"/>
                    <a:pt x="909134" y="1141254"/>
                    <a:pt x="960716" y="1131582"/>
                  </a:cubicBezTo>
                  <a:cubicBezTo>
                    <a:pt x="967164" y="1002627"/>
                    <a:pt x="1121910" y="80597"/>
                    <a:pt x="1083224" y="0"/>
                  </a:cubicBezTo>
                  <a:cubicBezTo>
                    <a:pt x="1047761" y="0"/>
                    <a:pt x="1015522" y="3224"/>
                    <a:pt x="986507" y="3224"/>
                  </a:cubicBezTo>
                  <a:cubicBezTo>
                    <a:pt x="976835" y="3224"/>
                    <a:pt x="963940" y="3224"/>
                    <a:pt x="954268" y="3224"/>
                  </a:cubicBezTo>
                  <a:cubicBezTo>
                    <a:pt x="928477" y="3224"/>
                    <a:pt x="905910" y="6448"/>
                    <a:pt x="883343" y="6448"/>
                  </a:cubicBezTo>
                  <a:cubicBezTo>
                    <a:pt x="873671" y="6448"/>
                    <a:pt x="860776" y="6448"/>
                    <a:pt x="851104" y="6448"/>
                  </a:cubicBezTo>
                  <a:cubicBezTo>
                    <a:pt x="428776" y="22567"/>
                    <a:pt x="228895" y="12896"/>
                    <a:pt x="228895" y="12896"/>
                  </a:cubicBezTo>
                  <a:lnTo>
                    <a:pt x="0" y="944597"/>
                  </a:lnTo>
                  <a:cubicBezTo>
                    <a:pt x="0" y="944597"/>
                    <a:pt x="235343" y="1092896"/>
                    <a:pt x="367522" y="1086448"/>
                  </a:cubicBezTo>
                  <a:cubicBezTo>
                    <a:pt x="496477" y="735045"/>
                    <a:pt x="586746" y="425552"/>
                    <a:pt x="593194" y="415881"/>
                  </a:cubicBezTo>
                  <a:cubicBezTo>
                    <a:pt x="609313" y="396537"/>
                    <a:pt x="551283" y="1131582"/>
                    <a:pt x="551283" y="1131582"/>
                  </a:cubicBez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E2228F34-E8BF-467E-8B10-B5CC626E3229}"/>
                </a:ext>
              </a:extLst>
            </p:cNvPr>
            <p:cNvSpPr/>
            <p:nvPr/>
          </p:nvSpPr>
          <p:spPr>
            <a:xfrm>
              <a:off x="9222640" y="4029023"/>
              <a:ext cx="17194" cy="309492"/>
            </a:xfrm>
            <a:custGeom>
              <a:avLst/>
              <a:gdLst>
                <a:gd name="connsiteX0" fmla="*/ 10746 w 17194"/>
                <a:gd name="connsiteY0" fmla="*/ 309493 h 309492"/>
                <a:gd name="connsiteX1" fmla="*/ 4298 w 17194"/>
                <a:gd name="connsiteY1" fmla="*/ 303045 h 309492"/>
                <a:gd name="connsiteX2" fmla="*/ 4298 w 17194"/>
                <a:gd name="connsiteY2" fmla="*/ 6448 h 309492"/>
                <a:gd name="connsiteX3" fmla="*/ 10746 w 17194"/>
                <a:gd name="connsiteY3" fmla="*/ 0 h 309492"/>
                <a:gd name="connsiteX4" fmla="*/ 17194 w 17194"/>
                <a:gd name="connsiteY4" fmla="*/ 6448 h 309492"/>
                <a:gd name="connsiteX5" fmla="*/ 17194 w 17194"/>
                <a:gd name="connsiteY5" fmla="*/ 299821 h 309492"/>
                <a:gd name="connsiteX6" fmla="*/ 10746 w 17194"/>
                <a:gd name="connsiteY6" fmla="*/ 309493 h 309492"/>
                <a:gd name="connsiteX7" fmla="*/ 10746 w 17194"/>
                <a:gd name="connsiteY7" fmla="*/ 309493 h 309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4" h="309492">
                  <a:moveTo>
                    <a:pt x="10746" y="309493"/>
                  </a:moveTo>
                  <a:cubicBezTo>
                    <a:pt x="7522" y="309493"/>
                    <a:pt x="4298" y="306269"/>
                    <a:pt x="4298" y="303045"/>
                  </a:cubicBezTo>
                  <a:cubicBezTo>
                    <a:pt x="-5373" y="216000"/>
                    <a:pt x="4298" y="9672"/>
                    <a:pt x="4298" y="6448"/>
                  </a:cubicBezTo>
                  <a:cubicBezTo>
                    <a:pt x="4298" y="3224"/>
                    <a:pt x="7522" y="0"/>
                    <a:pt x="10746" y="0"/>
                  </a:cubicBezTo>
                  <a:cubicBezTo>
                    <a:pt x="13970" y="0"/>
                    <a:pt x="17194" y="3224"/>
                    <a:pt x="17194" y="6448"/>
                  </a:cubicBezTo>
                  <a:cubicBezTo>
                    <a:pt x="17194" y="9672"/>
                    <a:pt x="7522" y="212776"/>
                    <a:pt x="17194" y="299821"/>
                  </a:cubicBezTo>
                  <a:cubicBezTo>
                    <a:pt x="17194" y="306269"/>
                    <a:pt x="17194" y="309493"/>
                    <a:pt x="10746" y="309493"/>
                  </a:cubicBezTo>
                  <a:cubicBezTo>
                    <a:pt x="13970" y="309493"/>
                    <a:pt x="10746" y="309493"/>
                    <a:pt x="10746" y="309493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D6D5CCE2-3644-4870-974A-FBEE4D747CA8}"/>
                </a:ext>
              </a:extLst>
            </p:cNvPr>
            <p:cNvSpPr/>
            <p:nvPr/>
          </p:nvSpPr>
          <p:spPr>
            <a:xfrm>
              <a:off x="9136670" y="3970993"/>
              <a:ext cx="102358" cy="286925"/>
            </a:xfrm>
            <a:custGeom>
              <a:avLst/>
              <a:gdLst>
                <a:gd name="connsiteX0" fmla="*/ 93492 w 102358"/>
                <a:gd name="connsiteY0" fmla="*/ 286925 h 286925"/>
                <a:gd name="connsiteX1" fmla="*/ 90268 w 102358"/>
                <a:gd name="connsiteY1" fmla="*/ 286925 h 286925"/>
                <a:gd name="connsiteX2" fmla="*/ 29015 w 102358"/>
                <a:gd name="connsiteY2" fmla="*/ 232119 h 286925"/>
                <a:gd name="connsiteX3" fmla="*/ 0 w 102358"/>
                <a:gd name="connsiteY3" fmla="*/ 6448 h 286925"/>
                <a:gd name="connsiteX4" fmla="*/ 6448 w 102358"/>
                <a:gd name="connsiteY4" fmla="*/ 0 h 286925"/>
                <a:gd name="connsiteX5" fmla="*/ 6448 w 102358"/>
                <a:gd name="connsiteY5" fmla="*/ 0 h 286925"/>
                <a:gd name="connsiteX6" fmla="*/ 12895 w 102358"/>
                <a:gd name="connsiteY6" fmla="*/ 6448 h 286925"/>
                <a:gd name="connsiteX7" fmla="*/ 38686 w 102358"/>
                <a:gd name="connsiteY7" fmla="*/ 225672 h 286925"/>
                <a:gd name="connsiteX8" fmla="*/ 99940 w 102358"/>
                <a:gd name="connsiteY8" fmla="*/ 277254 h 286925"/>
                <a:gd name="connsiteX9" fmla="*/ 99940 w 102358"/>
                <a:gd name="connsiteY9" fmla="*/ 286925 h 286925"/>
                <a:gd name="connsiteX10" fmla="*/ 93492 w 102358"/>
                <a:gd name="connsiteY10" fmla="*/ 286925 h 28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2358" h="286925">
                  <a:moveTo>
                    <a:pt x="93492" y="286925"/>
                  </a:moveTo>
                  <a:cubicBezTo>
                    <a:pt x="93492" y="286925"/>
                    <a:pt x="90268" y="286925"/>
                    <a:pt x="90268" y="286925"/>
                  </a:cubicBezTo>
                  <a:cubicBezTo>
                    <a:pt x="83821" y="283701"/>
                    <a:pt x="35462" y="245015"/>
                    <a:pt x="29015" y="232119"/>
                  </a:cubicBezTo>
                  <a:cubicBezTo>
                    <a:pt x="19343" y="219224"/>
                    <a:pt x="3224" y="54806"/>
                    <a:pt x="0" y="6448"/>
                  </a:cubicBezTo>
                  <a:cubicBezTo>
                    <a:pt x="0" y="3224"/>
                    <a:pt x="3224" y="0"/>
                    <a:pt x="6448" y="0"/>
                  </a:cubicBezTo>
                  <a:cubicBezTo>
                    <a:pt x="6448" y="0"/>
                    <a:pt x="6448" y="0"/>
                    <a:pt x="6448" y="0"/>
                  </a:cubicBezTo>
                  <a:cubicBezTo>
                    <a:pt x="9671" y="0"/>
                    <a:pt x="12895" y="3224"/>
                    <a:pt x="12895" y="6448"/>
                  </a:cubicBezTo>
                  <a:cubicBezTo>
                    <a:pt x="19343" y="87045"/>
                    <a:pt x="32239" y="216000"/>
                    <a:pt x="38686" y="225672"/>
                  </a:cubicBezTo>
                  <a:cubicBezTo>
                    <a:pt x="45134" y="235343"/>
                    <a:pt x="83821" y="267582"/>
                    <a:pt x="99940" y="277254"/>
                  </a:cubicBezTo>
                  <a:cubicBezTo>
                    <a:pt x="103164" y="280478"/>
                    <a:pt x="103164" y="283701"/>
                    <a:pt x="99940" y="286925"/>
                  </a:cubicBezTo>
                  <a:cubicBezTo>
                    <a:pt x="96716" y="286925"/>
                    <a:pt x="96716" y="286925"/>
                    <a:pt x="93492" y="286925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2" name="图形 1">
              <a:extLst>
                <a:ext uri="{FF2B5EF4-FFF2-40B4-BE49-F238E27FC236}">
                  <a16:creationId xmlns:a16="http://schemas.microsoft.com/office/drawing/2014/main" id="{0CE540B5-BA07-4234-AB09-E4698FCCAC5A}"/>
                </a:ext>
              </a:extLst>
            </p:cNvPr>
            <p:cNvGrpSpPr/>
            <p:nvPr/>
          </p:nvGrpSpPr>
          <p:grpSpPr>
            <a:xfrm>
              <a:off x="7479595" y="4947829"/>
              <a:ext cx="899462" cy="741492"/>
              <a:chOff x="7479595" y="4947829"/>
              <a:chExt cx="899462" cy="741492"/>
            </a:xfrm>
          </p:grpSpPr>
          <p:grpSp>
            <p:nvGrpSpPr>
              <p:cNvPr id="23" name="图形 1">
                <a:extLst>
                  <a:ext uri="{FF2B5EF4-FFF2-40B4-BE49-F238E27FC236}">
                    <a16:creationId xmlns:a16="http://schemas.microsoft.com/office/drawing/2014/main" id="{0CE540B5-BA07-4234-AB09-E4698FCCAC5A}"/>
                  </a:ext>
                </a:extLst>
              </p:cNvPr>
              <p:cNvGrpSpPr/>
              <p:nvPr/>
            </p:nvGrpSpPr>
            <p:grpSpPr>
              <a:xfrm>
                <a:off x="7611774" y="4997799"/>
                <a:ext cx="637537" cy="635708"/>
                <a:chOff x="7611774" y="4997799"/>
                <a:chExt cx="637537" cy="635708"/>
              </a:xfrm>
            </p:grpSpPr>
            <p:sp>
              <p:nvSpPr>
                <p:cNvPr id="24" name="任意多边形: 形状 23">
                  <a:extLst>
                    <a:ext uri="{FF2B5EF4-FFF2-40B4-BE49-F238E27FC236}">
                      <a16:creationId xmlns:a16="http://schemas.microsoft.com/office/drawing/2014/main" id="{AB5BA81C-8640-4F8F-A6BF-98F6AD900AF1}"/>
                    </a:ext>
                  </a:extLst>
                </p:cNvPr>
                <p:cNvSpPr/>
                <p:nvPr/>
              </p:nvSpPr>
              <p:spPr>
                <a:xfrm>
                  <a:off x="7611774" y="4997799"/>
                  <a:ext cx="637537" cy="635708"/>
                </a:xfrm>
                <a:custGeom>
                  <a:avLst/>
                  <a:gdLst>
                    <a:gd name="connsiteX0" fmla="*/ 16119 w 637537"/>
                    <a:gd name="connsiteY0" fmla="*/ 224060 h 635708"/>
                    <a:gd name="connsiteX1" fmla="*/ 0 w 637537"/>
                    <a:gd name="connsiteY1" fmla="*/ 314328 h 635708"/>
                    <a:gd name="connsiteX2" fmla="*/ 35462 w 637537"/>
                    <a:gd name="connsiteY2" fmla="*/ 465851 h 635708"/>
                    <a:gd name="connsiteX3" fmla="*/ 209552 w 637537"/>
                    <a:gd name="connsiteY3" fmla="*/ 617373 h 635708"/>
                    <a:gd name="connsiteX4" fmla="*/ 222448 w 637537"/>
                    <a:gd name="connsiteY4" fmla="*/ 620597 h 635708"/>
                    <a:gd name="connsiteX5" fmla="*/ 367522 w 637537"/>
                    <a:gd name="connsiteY5" fmla="*/ 630269 h 635708"/>
                    <a:gd name="connsiteX6" fmla="*/ 560955 w 637537"/>
                    <a:gd name="connsiteY6" fmla="*/ 523881 h 635708"/>
                    <a:gd name="connsiteX7" fmla="*/ 622209 w 637537"/>
                    <a:gd name="connsiteY7" fmla="*/ 414269 h 635708"/>
                    <a:gd name="connsiteX8" fmla="*/ 631880 w 637537"/>
                    <a:gd name="connsiteY8" fmla="*/ 378806 h 635708"/>
                    <a:gd name="connsiteX9" fmla="*/ 586746 w 637537"/>
                    <a:gd name="connsiteY9" fmla="*/ 143463 h 635708"/>
                    <a:gd name="connsiteX10" fmla="*/ 473910 w 637537"/>
                    <a:gd name="connsiteY10" fmla="*/ 40299 h 635708"/>
                    <a:gd name="connsiteX11" fmla="*/ 415880 w 637537"/>
                    <a:gd name="connsiteY11" fmla="*/ 14507 h 635708"/>
                    <a:gd name="connsiteX12" fmla="*/ 225672 w 637537"/>
                    <a:gd name="connsiteY12" fmla="*/ 14507 h 635708"/>
                    <a:gd name="connsiteX13" fmla="*/ 96716 w 637537"/>
                    <a:gd name="connsiteY13" fmla="*/ 91881 h 635708"/>
                    <a:gd name="connsiteX14" fmla="*/ 16119 w 637537"/>
                    <a:gd name="connsiteY14" fmla="*/ 224060 h 635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37537" h="635708">
                      <a:moveTo>
                        <a:pt x="16119" y="224060"/>
                      </a:moveTo>
                      <a:cubicBezTo>
                        <a:pt x="6448" y="253075"/>
                        <a:pt x="3224" y="285313"/>
                        <a:pt x="0" y="314328"/>
                      </a:cubicBezTo>
                      <a:cubicBezTo>
                        <a:pt x="0" y="369134"/>
                        <a:pt x="12895" y="420716"/>
                        <a:pt x="35462" y="465851"/>
                      </a:cubicBezTo>
                      <a:cubicBezTo>
                        <a:pt x="70925" y="533552"/>
                        <a:pt x="132179" y="588358"/>
                        <a:pt x="209552" y="617373"/>
                      </a:cubicBezTo>
                      <a:cubicBezTo>
                        <a:pt x="212776" y="617373"/>
                        <a:pt x="216000" y="620597"/>
                        <a:pt x="222448" y="620597"/>
                      </a:cubicBezTo>
                      <a:cubicBezTo>
                        <a:pt x="270806" y="636717"/>
                        <a:pt x="319164" y="639940"/>
                        <a:pt x="367522" y="630269"/>
                      </a:cubicBezTo>
                      <a:cubicBezTo>
                        <a:pt x="441672" y="617373"/>
                        <a:pt x="509373" y="578687"/>
                        <a:pt x="560955" y="523881"/>
                      </a:cubicBezTo>
                      <a:cubicBezTo>
                        <a:pt x="586746" y="491642"/>
                        <a:pt x="609313" y="456179"/>
                        <a:pt x="622209" y="414269"/>
                      </a:cubicBezTo>
                      <a:cubicBezTo>
                        <a:pt x="625433" y="401373"/>
                        <a:pt x="628657" y="391702"/>
                        <a:pt x="631880" y="378806"/>
                      </a:cubicBezTo>
                      <a:cubicBezTo>
                        <a:pt x="648000" y="294985"/>
                        <a:pt x="628657" y="211164"/>
                        <a:pt x="586746" y="143463"/>
                      </a:cubicBezTo>
                      <a:cubicBezTo>
                        <a:pt x="557731" y="101552"/>
                        <a:pt x="522269" y="66089"/>
                        <a:pt x="473910" y="40299"/>
                      </a:cubicBezTo>
                      <a:cubicBezTo>
                        <a:pt x="454567" y="30627"/>
                        <a:pt x="435224" y="20955"/>
                        <a:pt x="415880" y="14507"/>
                      </a:cubicBezTo>
                      <a:cubicBezTo>
                        <a:pt x="351403" y="-4836"/>
                        <a:pt x="286925" y="-4836"/>
                        <a:pt x="225672" y="14507"/>
                      </a:cubicBezTo>
                      <a:cubicBezTo>
                        <a:pt x="177313" y="30627"/>
                        <a:pt x="132179" y="56418"/>
                        <a:pt x="96716" y="91881"/>
                      </a:cubicBezTo>
                      <a:cubicBezTo>
                        <a:pt x="58030" y="130567"/>
                        <a:pt x="29015" y="172478"/>
                        <a:pt x="16119" y="224060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任意多边形: 形状 24">
                  <a:extLst>
                    <a:ext uri="{FF2B5EF4-FFF2-40B4-BE49-F238E27FC236}">
                      <a16:creationId xmlns:a16="http://schemas.microsoft.com/office/drawing/2014/main" id="{1BBCBD6F-F08E-401B-B8B2-F8990170DD43}"/>
                    </a:ext>
                  </a:extLst>
                </p:cNvPr>
                <p:cNvSpPr/>
                <p:nvPr/>
              </p:nvSpPr>
              <p:spPr>
                <a:xfrm>
                  <a:off x="7611774" y="5015531"/>
                  <a:ext cx="625432" cy="617977"/>
                </a:xfrm>
                <a:custGeom>
                  <a:avLst/>
                  <a:gdLst>
                    <a:gd name="connsiteX0" fmla="*/ 0 w 625432"/>
                    <a:gd name="connsiteY0" fmla="*/ 296597 h 617977"/>
                    <a:gd name="connsiteX1" fmla="*/ 35462 w 625432"/>
                    <a:gd name="connsiteY1" fmla="*/ 448119 h 617977"/>
                    <a:gd name="connsiteX2" fmla="*/ 51582 w 625432"/>
                    <a:gd name="connsiteY2" fmla="*/ 454567 h 617977"/>
                    <a:gd name="connsiteX3" fmla="*/ 193433 w 625432"/>
                    <a:gd name="connsiteY3" fmla="*/ 560955 h 617977"/>
                    <a:gd name="connsiteX4" fmla="*/ 206328 w 625432"/>
                    <a:gd name="connsiteY4" fmla="*/ 599642 h 617977"/>
                    <a:gd name="connsiteX5" fmla="*/ 219224 w 625432"/>
                    <a:gd name="connsiteY5" fmla="*/ 602866 h 617977"/>
                    <a:gd name="connsiteX6" fmla="*/ 364299 w 625432"/>
                    <a:gd name="connsiteY6" fmla="*/ 612537 h 617977"/>
                    <a:gd name="connsiteX7" fmla="*/ 380418 w 625432"/>
                    <a:gd name="connsiteY7" fmla="*/ 580299 h 617977"/>
                    <a:gd name="connsiteX8" fmla="*/ 522269 w 625432"/>
                    <a:gd name="connsiteY8" fmla="*/ 502926 h 617977"/>
                    <a:gd name="connsiteX9" fmla="*/ 554507 w 625432"/>
                    <a:gd name="connsiteY9" fmla="*/ 506149 h 617977"/>
                    <a:gd name="connsiteX10" fmla="*/ 615761 w 625432"/>
                    <a:gd name="connsiteY10" fmla="*/ 396537 h 617977"/>
                    <a:gd name="connsiteX11" fmla="*/ 625433 w 625432"/>
                    <a:gd name="connsiteY11" fmla="*/ 361075 h 617977"/>
                    <a:gd name="connsiteX12" fmla="*/ 589970 w 625432"/>
                    <a:gd name="connsiteY12" fmla="*/ 328836 h 617977"/>
                    <a:gd name="connsiteX13" fmla="*/ 564179 w 625432"/>
                    <a:gd name="connsiteY13" fmla="*/ 170866 h 617977"/>
                    <a:gd name="connsiteX14" fmla="*/ 577074 w 625432"/>
                    <a:gd name="connsiteY14" fmla="*/ 125731 h 617977"/>
                    <a:gd name="connsiteX15" fmla="*/ 577074 w 625432"/>
                    <a:gd name="connsiteY15" fmla="*/ 125731 h 617977"/>
                    <a:gd name="connsiteX16" fmla="*/ 464239 w 625432"/>
                    <a:gd name="connsiteY16" fmla="*/ 22567 h 617977"/>
                    <a:gd name="connsiteX17" fmla="*/ 425552 w 625432"/>
                    <a:gd name="connsiteY17" fmla="*/ 41911 h 617977"/>
                    <a:gd name="connsiteX18" fmla="*/ 257910 w 625432"/>
                    <a:gd name="connsiteY18" fmla="*/ 29015 h 617977"/>
                    <a:gd name="connsiteX19" fmla="*/ 216000 w 625432"/>
                    <a:gd name="connsiteY19" fmla="*/ 0 h 617977"/>
                    <a:gd name="connsiteX20" fmla="*/ 87045 w 625432"/>
                    <a:gd name="connsiteY20" fmla="*/ 77373 h 617977"/>
                    <a:gd name="connsiteX21" fmla="*/ 93492 w 625432"/>
                    <a:gd name="connsiteY21" fmla="*/ 122508 h 617977"/>
                    <a:gd name="connsiteX22" fmla="*/ 25791 w 625432"/>
                    <a:gd name="connsiteY22" fmla="*/ 274030 h 617977"/>
                    <a:gd name="connsiteX23" fmla="*/ 0 w 625432"/>
                    <a:gd name="connsiteY23" fmla="*/ 296597 h 617977"/>
                    <a:gd name="connsiteX24" fmla="*/ 441672 w 625432"/>
                    <a:gd name="connsiteY24" fmla="*/ 135403 h 617977"/>
                    <a:gd name="connsiteX25" fmla="*/ 386866 w 625432"/>
                    <a:gd name="connsiteY25" fmla="*/ 216000 h 617977"/>
                    <a:gd name="connsiteX26" fmla="*/ 270806 w 625432"/>
                    <a:gd name="connsiteY26" fmla="*/ 206328 h 617977"/>
                    <a:gd name="connsiteX27" fmla="*/ 219224 w 625432"/>
                    <a:gd name="connsiteY27" fmla="*/ 122508 h 617977"/>
                    <a:gd name="connsiteX28" fmla="*/ 274030 w 625432"/>
                    <a:gd name="connsiteY28" fmla="*/ 45134 h 617977"/>
                    <a:gd name="connsiteX29" fmla="*/ 419104 w 625432"/>
                    <a:gd name="connsiteY29" fmla="*/ 54806 h 617977"/>
                    <a:gd name="connsiteX30" fmla="*/ 441672 w 625432"/>
                    <a:gd name="connsiteY30" fmla="*/ 135403 h 617977"/>
                    <a:gd name="connsiteX31" fmla="*/ 570627 w 625432"/>
                    <a:gd name="connsiteY31" fmla="*/ 332060 h 617977"/>
                    <a:gd name="connsiteX32" fmla="*/ 509373 w 625432"/>
                    <a:gd name="connsiteY32" fmla="*/ 386866 h 617977"/>
                    <a:gd name="connsiteX33" fmla="*/ 422328 w 625432"/>
                    <a:gd name="connsiteY33" fmla="*/ 348179 h 617977"/>
                    <a:gd name="connsiteX34" fmla="*/ 399761 w 625432"/>
                    <a:gd name="connsiteY34" fmla="*/ 222448 h 617977"/>
                    <a:gd name="connsiteX35" fmla="*/ 451343 w 625432"/>
                    <a:gd name="connsiteY35" fmla="*/ 151523 h 617977"/>
                    <a:gd name="connsiteX36" fmla="*/ 548060 w 625432"/>
                    <a:gd name="connsiteY36" fmla="*/ 183761 h 617977"/>
                    <a:gd name="connsiteX37" fmla="*/ 570627 w 625432"/>
                    <a:gd name="connsiteY37" fmla="*/ 332060 h 617977"/>
                    <a:gd name="connsiteX38" fmla="*/ 306269 w 625432"/>
                    <a:gd name="connsiteY38" fmla="*/ 522269 h 617977"/>
                    <a:gd name="connsiteX39" fmla="*/ 312716 w 625432"/>
                    <a:gd name="connsiteY39" fmla="*/ 425552 h 617977"/>
                    <a:gd name="connsiteX40" fmla="*/ 415880 w 625432"/>
                    <a:gd name="connsiteY40" fmla="*/ 364299 h 617977"/>
                    <a:gd name="connsiteX41" fmla="*/ 506149 w 625432"/>
                    <a:gd name="connsiteY41" fmla="*/ 402985 h 617977"/>
                    <a:gd name="connsiteX42" fmla="*/ 509373 w 625432"/>
                    <a:gd name="connsiteY42" fmla="*/ 490030 h 617977"/>
                    <a:gd name="connsiteX43" fmla="*/ 377194 w 625432"/>
                    <a:gd name="connsiteY43" fmla="*/ 564179 h 617977"/>
                    <a:gd name="connsiteX44" fmla="*/ 306269 w 625432"/>
                    <a:gd name="connsiteY44" fmla="*/ 522269 h 617977"/>
                    <a:gd name="connsiteX45" fmla="*/ 112836 w 625432"/>
                    <a:gd name="connsiteY45" fmla="*/ 361075 h 617977"/>
                    <a:gd name="connsiteX46" fmla="*/ 206328 w 625432"/>
                    <a:gd name="connsiteY46" fmla="*/ 341732 h 617977"/>
                    <a:gd name="connsiteX47" fmla="*/ 293373 w 625432"/>
                    <a:gd name="connsiteY47" fmla="*/ 425552 h 617977"/>
                    <a:gd name="connsiteX48" fmla="*/ 286925 w 625432"/>
                    <a:gd name="connsiteY48" fmla="*/ 519045 h 617977"/>
                    <a:gd name="connsiteX49" fmla="*/ 206328 w 625432"/>
                    <a:gd name="connsiteY49" fmla="*/ 551284 h 617977"/>
                    <a:gd name="connsiteX50" fmla="*/ 80597 w 625432"/>
                    <a:gd name="connsiteY50" fmla="*/ 457791 h 617977"/>
                    <a:gd name="connsiteX51" fmla="*/ 112836 w 625432"/>
                    <a:gd name="connsiteY51" fmla="*/ 361075 h 617977"/>
                    <a:gd name="connsiteX52" fmla="*/ 51582 w 625432"/>
                    <a:gd name="connsiteY52" fmla="*/ 267582 h 617977"/>
                    <a:gd name="connsiteX53" fmla="*/ 112836 w 625432"/>
                    <a:gd name="connsiteY53" fmla="*/ 135403 h 617977"/>
                    <a:gd name="connsiteX54" fmla="*/ 206328 w 625432"/>
                    <a:gd name="connsiteY54" fmla="*/ 135403 h 617977"/>
                    <a:gd name="connsiteX55" fmla="*/ 254686 w 625432"/>
                    <a:gd name="connsiteY55" fmla="*/ 209552 h 617977"/>
                    <a:gd name="connsiteX56" fmla="*/ 203105 w 625432"/>
                    <a:gd name="connsiteY56" fmla="*/ 328836 h 617977"/>
                    <a:gd name="connsiteX57" fmla="*/ 112836 w 625432"/>
                    <a:gd name="connsiteY57" fmla="*/ 348179 h 617977"/>
                    <a:gd name="connsiteX58" fmla="*/ 51582 w 625432"/>
                    <a:gd name="connsiteY58" fmla="*/ 267582 h 6179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</a:cxnLst>
                  <a:rect l="l" t="t" r="r" b="b"/>
                  <a:pathLst>
                    <a:path w="625432" h="617977">
                      <a:moveTo>
                        <a:pt x="0" y="296597"/>
                      </a:moveTo>
                      <a:cubicBezTo>
                        <a:pt x="0" y="351403"/>
                        <a:pt x="12895" y="402985"/>
                        <a:pt x="35462" y="448119"/>
                      </a:cubicBezTo>
                      <a:lnTo>
                        <a:pt x="51582" y="454567"/>
                      </a:lnTo>
                      <a:lnTo>
                        <a:pt x="193433" y="560955"/>
                      </a:lnTo>
                      <a:lnTo>
                        <a:pt x="206328" y="599642"/>
                      </a:lnTo>
                      <a:cubicBezTo>
                        <a:pt x="209552" y="599642"/>
                        <a:pt x="212776" y="602866"/>
                        <a:pt x="219224" y="602866"/>
                      </a:cubicBezTo>
                      <a:cubicBezTo>
                        <a:pt x="267582" y="618985"/>
                        <a:pt x="315940" y="622209"/>
                        <a:pt x="364299" y="612537"/>
                      </a:cubicBezTo>
                      <a:lnTo>
                        <a:pt x="380418" y="580299"/>
                      </a:lnTo>
                      <a:lnTo>
                        <a:pt x="522269" y="502926"/>
                      </a:lnTo>
                      <a:lnTo>
                        <a:pt x="554507" y="506149"/>
                      </a:lnTo>
                      <a:cubicBezTo>
                        <a:pt x="580299" y="473911"/>
                        <a:pt x="602866" y="438448"/>
                        <a:pt x="615761" y="396537"/>
                      </a:cubicBezTo>
                      <a:cubicBezTo>
                        <a:pt x="618985" y="383642"/>
                        <a:pt x="622209" y="373970"/>
                        <a:pt x="625433" y="361075"/>
                      </a:cubicBezTo>
                      <a:lnTo>
                        <a:pt x="589970" y="328836"/>
                      </a:lnTo>
                      <a:lnTo>
                        <a:pt x="564179" y="170866"/>
                      </a:lnTo>
                      <a:lnTo>
                        <a:pt x="577074" y="125731"/>
                      </a:lnTo>
                      <a:lnTo>
                        <a:pt x="577074" y="125731"/>
                      </a:lnTo>
                      <a:cubicBezTo>
                        <a:pt x="548060" y="83821"/>
                        <a:pt x="512597" y="48358"/>
                        <a:pt x="464239" y="22567"/>
                      </a:cubicBezTo>
                      <a:lnTo>
                        <a:pt x="425552" y="41911"/>
                      </a:lnTo>
                      <a:lnTo>
                        <a:pt x="257910" y="29015"/>
                      </a:lnTo>
                      <a:lnTo>
                        <a:pt x="216000" y="0"/>
                      </a:lnTo>
                      <a:cubicBezTo>
                        <a:pt x="167642" y="16119"/>
                        <a:pt x="122508" y="41911"/>
                        <a:pt x="87045" y="77373"/>
                      </a:cubicBezTo>
                      <a:lnTo>
                        <a:pt x="93492" y="122508"/>
                      </a:lnTo>
                      <a:lnTo>
                        <a:pt x="25791" y="274030"/>
                      </a:lnTo>
                      <a:lnTo>
                        <a:pt x="0" y="296597"/>
                      </a:lnTo>
                      <a:close/>
                      <a:moveTo>
                        <a:pt x="441672" y="135403"/>
                      </a:moveTo>
                      <a:lnTo>
                        <a:pt x="386866" y="216000"/>
                      </a:lnTo>
                      <a:lnTo>
                        <a:pt x="270806" y="206328"/>
                      </a:lnTo>
                      <a:lnTo>
                        <a:pt x="219224" y="122508"/>
                      </a:lnTo>
                      <a:lnTo>
                        <a:pt x="274030" y="45134"/>
                      </a:lnTo>
                      <a:lnTo>
                        <a:pt x="419104" y="54806"/>
                      </a:lnTo>
                      <a:lnTo>
                        <a:pt x="441672" y="135403"/>
                      </a:lnTo>
                      <a:close/>
                      <a:moveTo>
                        <a:pt x="570627" y="332060"/>
                      </a:moveTo>
                      <a:lnTo>
                        <a:pt x="509373" y="386866"/>
                      </a:lnTo>
                      <a:lnTo>
                        <a:pt x="422328" y="348179"/>
                      </a:lnTo>
                      <a:lnTo>
                        <a:pt x="399761" y="222448"/>
                      </a:lnTo>
                      <a:lnTo>
                        <a:pt x="451343" y="151523"/>
                      </a:lnTo>
                      <a:lnTo>
                        <a:pt x="548060" y="183761"/>
                      </a:lnTo>
                      <a:lnTo>
                        <a:pt x="570627" y="332060"/>
                      </a:lnTo>
                      <a:close/>
                      <a:moveTo>
                        <a:pt x="306269" y="522269"/>
                      </a:moveTo>
                      <a:lnTo>
                        <a:pt x="312716" y="425552"/>
                      </a:lnTo>
                      <a:lnTo>
                        <a:pt x="415880" y="364299"/>
                      </a:lnTo>
                      <a:lnTo>
                        <a:pt x="506149" y="402985"/>
                      </a:lnTo>
                      <a:lnTo>
                        <a:pt x="509373" y="490030"/>
                      </a:lnTo>
                      <a:lnTo>
                        <a:pt x="377194" y="564179"/>
                      </a:lnTo>
                      <a:lnTo>
                        <a:pt x="306269" y="522269"/>
                      </a:lnTo>
                      <a:close/>
                      <a:moveTo>
                        <a:pt x="112836" y="361075"/>
                      </a:moveTo>
                      <a:lnTo>
                        <a:pt x="206328" y="341732"/>
                      </a:lnTo>
                      <a:lnTo>
                        <a:pt x="293373" y="425552"/>
                      </a:lnTo>
                      <a:lnTo>
                        <a:pt x="286925" y="519045"/>
                      </a:lnTo>
                      <a:lnTo>
                        <a:pt x="206328" y="551284"/>
                      </a:lnTo>
                      <a:lnTo>
                        <a:pt x="80597" y="457791"/>
                      </a:lnTo>
                      <a:lnTo>
                        <a:pt x="112836" y="361075"/>
                      </a:lnTo>
                      <a:close/>
                      <a:moveTo>
                        <a:pt x="51582" y="267582"/>
                      </a:moveTo>
                      <a:lnTo>
                        <a:pt x="112836" y="135403"/>
                      </a:lnTo>
                      <a:lnTo>
                        <a:pt x="206328" y="135403"/>
                      </a:lnTo>
                      <a:lnTo>
                        <a:pt x="254686" y="209552"/>
                      </a:lnTo>
                      <a:lnTo>
                        <a:pt x="203105" y="328836"/>
                      </a:lnTo>
                      <a:lnTo>
                        <a:pt x="112836" y="348179"/>
                      </a:lnTo>
                      <a:lnTo>
                        <a:pt x="51582" y="267582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A613D11B-F1D1-4A79-BE92-758A685C951E}"/>
                  </a:ext>
                </a:extLst>
              </p:cNvPr>
              <p:cNvSpPr/>
              <p:nvPr/>
            </p:nvSpPr>
            <p:spPr>
              <a:xfrm>
                <a:off x="8037326" y="4947829"/>
                <a:ext cx="279921" cy="486805"/>
              </a:xfrm>
              <a:custGeom>
                <a:avLst/>
                <a:gdLst>
                  <a:gd name="connsiteX0" fmla="*/ 261135 w 279921"/>
                  <a:gd name="connsiteY0" fmla="*/ 486806 h 486805"/>
                  <a:gd name="connsiteX1" fmla="*/ 235343 w 279921"/>
                  <a:gd name="connsiteY1" fmla="*/ 190209 h 486805"/>
                  <a:gd name="connsiteX2" fmla="*/ 6448 w 279921"/>
                  <a:gd name="connsiteY2" fmla="*/ 0 h 486805"/>
                  <a:gd name="connsiteX3" fmla="*/ 0 w 279921"/>
                  <a:gd name="connsiteY3" fmla="*/ 16119 h 486805"/>
                  <a:gd name="connsiteX4" fmla="*/ 219224 w 279921"/>
                  <a:gd name="connsiteY4" fmla="*/ 199881 h 486805"/>
                  <a:gd name="connsiteX5" fmla="*/ 245015 w 279921"/>
                  <a:gd name="connsiteY5" fmla="*/ 483582 h 486805"/>
                  <a:gd name="connsiteX6" fmla="*/ 261135 w 279921"/>
                  <a:gd name="connsiteY6" fmla="*/ 486806 h 486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9921" h="486805">
                    <a:moveTo>
                      <a:pt x="261135" y="486806"/>
                    </a:moveTo>
                    <a:cubicBezTo>
                      <a:pt x="293373" y="386866"/>
                      <a:pt x="283702" y="283702"/>
                      <a:pt x="235343" y="190209"/>
                    </a:cubicBezTo>
                    <a:cubicBezTo>
                      <a:pt x="186985" y="96716"/>
                      <a:pt x="106388" y="29015"/>
                      <a:pt x="6448" y="0"/>
                    </a:cubicBezTo>
                    <a:lnTo>
                      <a:pt x="0" y="16119"/>
                    </a:lnTo>
                    <a:cubicBezTo>
                      <a:pt x="93492" y="45134"/>
                      <a:pt x="170866" y="109612"/>
                      <a:pt x="219224" y="199881"/>
                    </a:cubicBezTo>
                    <a:cubicBezTo>
                      <a:pt x="264358" y="286925"/>
                      <a:pt x="274030" y="386866"/>
                      <a:pt x="245015" y="483582"/>
                    </a:cubicBezTo>
                    <a:lnTo>
                      <a:pt x="261135" y="486806"/>
                    </a:lnTo>
                    <a:close/>
                  </a:path>
                </a:pathLst>
              </a:custGeom>
              <a:solidFill>
                <a:srgbClr val="F6EBE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F6B13D57-5EAA-47DE-82A0-827087634763}"/>
                  </a:ext>
                </a:extLst>
              </p:cNvPr>
              <p:cNvSpPr/>
              <p:nvPr/>
            </p:nvSpPr>
            <p:spPr>
              <a:xfrm>
                <a:off x="7538181" y="5199292"/>
                <a:ext cx="279921" cy="490029"/>
              </a:xfrm>
              <a:custGeom>
                <a:avLst/>
                <a:gdLst>
                  <a:gd name="connsiteX0" fmla="*/ 273473 w 279921"/>
                  <a:gd name="connsiteY0" fmla="*/ 490030 h 490029"/>
                  <a:gd name="connsiteX1" fmla="*/ 279921 w 279921"/>
                  <a:gd name="connsiteY1" fmla="*/ 473910 h 490029"/>
                  <a:gd name="connsiteX2" fmla="*/ 60697 w 279921"/>
                  <a:gd name="connsiteY2" fmla="*/ 290149 h 490029"/>
                  <a:gd name="connsiteX3" fmla="*/ 34906 w 279921"/>
                  <a:gd name="connsiteY3" fmla="*/ 6448 h 490029"/>
                  <a:gd name="connsiteX4" fmla="*/ 18787 w 279921"/>
                  <a:gd name="connsiteY4" fmla="*/ 0 h 490029"/>
                  <a:gd name="connsiteX5" fmla="*/ 44578 w 279921"/>
                  <a:gd name="connsiteY5" fmla="*/ 296597 h 490029"/>
                  <a:gd name="connsiteX6" fmla="*/ 273473 w 279921"/>
                  <a:gd name="connsiteY6" fmla="*/ 490030 h 490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9921" h="490029">
                    <a:moveTo>
                      <a:pt x="273473" y="490030"/>
                    </a:moveTo>
                    <a:lnTo>
                      <a:pt x="279921" y="473910"/>
                    </a:lnTo>
                    <a:cubicBezTo>
                      <a:pt x="186429" y="444895"/>
                      <a:pt x="109055" y="380418"/>
                      <a:pt x="60697" y="290149"/>
                    </a:cubicBezTo>
                    <a:cubicBezTo>
                      <a:pt x="15563" y="203104"/>
                      <a:pt x="5891" y="103164"/>
                      <a:pt x="34906" y="6448"/>
                    </a:cubicBezTo>
                    <a:lnTo>
                      <a:pt x="18787" y="0"/>
                    </a:lnTo>
                    <a:cubicBezTo>
                      <a:pt x="-13452" y="99940"/>
                      <a:pt x="-3780" y="203104"/>
                      <a:pt x="44578" y="296597"/>
                    </a:cubicBezTo>
                    <a:cubicBezTo>
                      <a:pt x="92936" y="390090"/>
                      <a:pt x="173533" y="457791"/>
                      <a:pt x="273473" y="490030"/>
                    </a:cubicBezTo>
                    <a:close/>
                  </a:path>
                </a:pathLst>
              </a:custGeom>
              <a:solidFill>
                <a:srgbClr val="F6EBE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81BE5389-AF50-4CDB-B44D-C57FB6FFF8C6}"/>
                  </a:ext>
                </a:extLst>
              </p:cNvPr>
              <p:cNvSpPr/>
              <p:nvPr/>
            </p:nvSpPr>
            <p:spPr>
              <a:xfrm>
                <a:off x="7479595" y="5379829"/>
                <a:ext cx="164418" cy="283701"/>
              </a:xfrm>
              <a:custGeom>
                <a:avLst/>
                <a:gdLst>
                  <a:gd name="connsiteX0" fmla="*/ 154746 w 164418"/>
                  <a:gd name="connsiteY0" fmla="*/ 283702 h 283701"/>
                  <a:gd name="connsiteX1" fmla="*/ 164418 w 164418"/>
                  <a:gd name="connsiteY1" fmla="*/ 270806 h 283701"/>
                  <a:gd name="connsiteX2" fmla="*/ 16119 w 164418"/>
                  <a:gd name="connsiteY2" fmla="*/ 0 h 283701"/>
                  <a:gd name="connsiteX3" fmla="*/ 0 w 164418"/>
                  <a:gd name="connsiteY3" fmla="*/ 3224 h 283701"/>
                  <a:gd name="connsiteX4" fmla="*/ 154746 w 164418"/>
                  <a:gd name="connsiteY4" fmla="*/ 283702 h 2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18" h="283701">
                    <a:moveTo>
                      <a:pt x="154746" y="283702"/>
                    </a:moveTo>
                    <a:lnTo>
                      <a:pt x="164418" y="270806"/>
                    </a:lnTo>
                    <a:cubicBezTo>
                      <a:pt x="83821" y="203105"/>
                      <a:pt x="29015" y="106388"/>
                      <a:pt x="16119" y="0"/>
                    </a:cubicBezTo>
                    <a:lnTo>
                      <a:pt x="0" y="3224"/>
                    </a:lnTo>
                    <a:cubicBezTo>
                      <a:pt x="16119" y="112836"/>
                      <a:pt x="70925" y="212776"/>
                      <a:pt x="154746" y="283702"/>
                    </a:cubicBezTo>
                    <a:close/>
                  </a:path>
                </a:pathLst>
              </a:custGeom>
              <a:solidFill>
                <a:srgbClr val="F6EBE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4D56F10B-5EDB-4A6A-9F2B-46B1B089F0F0}"/>
                  </a:ext>
                </a:extLst>
              </p:cNvPr>
              <p:cNvSpPr/>
              <p:nvPr/>
            </p:nvSpPr>
            <p:spPr>
              <a:xfrm>
                <a:off x="8208192" y="4973620"/>
                <a:ext cx="170865" cy="309492"/>
              </a:xfrm>
              <a:custGeom>
                <a:avLst/>
                <a:gdLst>
                  <a:gd name="connsiteX0" fmla="*/ 154746 w 170865"/>
                  <a:gd name="connsiteY0" fmla="*/ 309493 h 309492"/>
                  <a:gd name="connsiteX1" fmla="*/ 170866 w 170865"/>
                  <a:gd name="connsiteY1" fmla="*/ 309493 h 309492"/>
                  <a:gd name="connsiteX2" fmla="*/ 9672 w 170865"/>
                  <a:gd name="connsiteY2" fmla="*/ 0 h 309492"/>
                  <a:gd name="connsiteX3" fmla="*/ 0 w 170865"/>
                  <a:gd name="connsiteY3" fmla="*/ 12896 h 309492"/>
                  <a:gd name="connsiteX4" fmla="*/ 154746 w 170865"/>
                  <a:gd name="connsiteY4" fmla="*/ 309493 h 309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865" h="309492">
                    <a:moveTo>
                      <a:pt x="154746" y="309493"/>
                    </a:moveTo>
                    <a:lnTo>
                      <a:pt x="170866" y="309493"/>
                    </a:lnTo>
                    <a:cubicBezTo>
                      <a:pt x="161194" y="190209"/>
                      <a:pt x="103164" y="77373"/>
                      <a:pt x="9672" y="0"/>
                    </a:cubicBezTo>
                    <a:lnTo>
                      <a:pt x="0" y="12896"/>
                    </a:lnTo>
                    <a:cubicBezTo>
                      <a:pt x="87045" y="83821"/>
                      <a:pt x="145075" y="193433"/>
                      <a:pt x="154746" y="309493"/>
                    </a:cubicBezTo>
                    <a:close/>
                  </a:path>
                </a:pathLst>
              </a:custGeom>
              <a:solidFill>
                <a:srgbClr val="F6EBE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A81A7DDA-6EF8-45D8-80D1-8E3A0649860A}"/>
                </a:ext>
              </a:extLst>
            </p:cNvPr>
            <p:cNvSpPr/>
            <p:nvPr/>
          </p:nvSpPr>
          <p:spPr>
            <a:xfrm>
              <a:off x="9413923" y="3892814"/>
              <a:ext cx="210386" cy="1167850"/>
            </a:xfrm>
            <a:custGeom>
              <a:avLst/>
              <a:gdLst>
                <a:gd name="connsiteX0" fmla="*/ 0 w 210386"/>
                <a:gd name="connsiteY0" fmla="*/ 1167851 h 1167850"/>
                <a:gd name="connsiteX1" fmla="*/ 35463 w 210386"/>
                <a:gd name="connsiteY1" fmla="*/ 1167851 h 1167850"/>
                <a:gd name="connsiteX2" fmla="*/ 157970 w 210386"/>
                <a:gd name="connsiteY2" fmla="*/ 639134 h 1167850"/>
                <a:gd name="connsiteX3" fmla="*/ 209552 w 210386"/>
                <a:gd name="connsiteY3" fmla="*/ 23373 h 1167850"/>
                <a:gd name="connsiteX4" fmla="*/ 209552 w 210386"/>
                <a:gd name="connsiteY4" fmla="*/ 16925 h 1167850"/>
                <a:gd name="connsiteX5" fmla="*/ 177313 w 210386"/>
                <a:gd name="connsiteY5" fmla="*/ 16925 h 1167850"/>
                <a:gd name="connsiteX6" fmla="*/ 177313 w 210386"/>
                <a:gd name="connsiteY6" fmla="*/ 26597 h 1167850"/>
                <a:gd name="connsiteX7" fmla="*/ 135403 w 210386"/>
                <a:gd name="connsiteY7" fmla="*/ 577881 h 1167850"/>
                <a:gd name="connsiteX8" fmla="*/ 0 w 210386"/>
                <a:gd name="connsiteY8" fmla="*/ 1167851 h 116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0386" h="1167850">
                  <a:moveTo>
                    <a:pt x="0" y="1167851"/>
                  </a:moveTo>
                  <a:cubicBezTo>
                    <a:pt x="12896" y="1167851"/>
                    <a:pt x="22567" y="1167851"/>
                    <a:pt x="35463" y="1167851"/>
                  </a:cubicBezTo>
                  <a:cubicBezTo>
                    <a:pt x="109612" y="993761"/>
                    <a:pt x="135403" y="826119"/>
                    <a:pt x="157970" y="639134"/>
                  </a:cubicBezTo>
                  <a:cubicBezTo>
                    <a:pt x="183761" y="436030"/>
                    <a:pt x="216000" y="229701"/>
                    <a:pt x="209552" y="23373"/>
                  </a:cubicBezTo>
                  <a:cubicBezTo>
                    <a:pt x="209552" y="20149"/>
                    <a:pt x="209552" y="20149"/>
                    <a:pt x="209552" y="16925"/>
                  </a:cubicBezTo>
                  <a:cubicBezTo>
                    <a:pt x="209552" y="-5642"/>
                    <a:pt x="177313" y="-5642"/>
                    <a:pt x="177313" y="16925"/>
                  </a:cubicBezTo>
                  <a:cubicBezTo>
                    <a:pt x="177313" y="20149"/>
                    <a:pt x="177313" y="23373"/>
                    <a:pt x="177313" y="26597"/>
                  </a:cubicBezTo>
                  <a:cubicBezTo>
                    <a:pt x="183761" y="213582"/>
                    <a:pt x="157970" y="394119"/>
                    <a:pt x="135403" y="577881"/>
                  </a:cubicBezTo>
                  <a:cubicBezTo>
                    <a:pt x="106388" y="784209"/>
                    <a:pt x="87045" y="974418"/>
                    <a:pt x="0" y="1167851"/>
                  </a:cubicBezTo>
                  <a:close/>
                </a:path>
              </a:pathLst>
            </a:custGeom>
            <a:solidFill>
              <a:srgbClr val="7F95BC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47CCDA90-DECE-4E96-A86D-10B8CB1E7B89}"/>
                </a:ext>
              </a:extLst>
            </p:cNvPr>
            <p:cNvSpPr/>
            <p:nvPr/>
          </p:nvSpPr>
          <p:spPr>
            <a:xfrm>
              <a:off x="9330103" y="3904098"/>
              <a:ext cx="186984" cy="1153343"/>
            </a:xfrm>
            <a:custGeom>
              <a:avLst/>
              <a:gdLst>
                <a:gd name="connsiteX0" fmla="*/ 0 w 186984"/>
                <a:gd name="connsiteY0" fmla="*/ 1153343 h 1153343"/>
                <a:gd name="connsiteX1" fmla="*/ 32239 w 186984"/>
                <a:gd name="connsiteY1" fmla="*/ 1153343 h 1153343"/>
                <a:gd name="connsiteX2" fmla="*/ 186985 w 186984"/>
                <a:gd name="connsiteY2" fmla="*/ 15313 h 1153343"/>
                <a:gd name="connsiteX3" fmla="*/ 186985 w 186984"/>
                <a:gd name="connsiteY3" fmla="*/ 12090 h 1153343"/>
                <a:gd name="connsiteX4" fmla="*/ 154746 w 186984"/>
                <a:gd name="connsiteY4" fmla="*/ 12090 h 1153343"/>
                <a:gd name="connsiteX5" fmla="*/ 154746 w 186984"/>
                <a:gd name="connsiteY5" fmla="*/ 15313 h 1153343"/>
                <a:gd name="connsiteX6" fmla="*/ 0 w 186984"/>
                <a:gd name="connsiteY6" fmla="*/ 1153343 h 1153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6984" h="1153343">
                  <a:moveTo>
                    <a:pt x="0" y="1153343"/>
                  </a:moveTo>
                  <a:cubicBezTo>
                    <a:pt x="9671" y="1153343"/>
                    <a:pt x="22567" y="1153343"/>
                    <a:pt x="32239" y="1153343"/>
                  </a:cubicBezTo>
                  <a:cubicBezTo>
                    <a:pt x="151522" y="785821"/>
                    <a:pt x="170865" y="398955"/>
                    <a:pt x="186985" y="15313"/>
                  </a:cubicBezTo>
                  <a:cubicBezTo>
                    <a:pt x="186985" y="15313"/>
                    <a:pt x="186985" y="12090"/>
                    <a:pt x="186985" y="12090"/>
                  </a:cubicBezTo>
                  <a:cubicBezTo>
                    <a:pt x="183761" y="-4030"/>
                    <a:pt x="157970" y="-4030"/>
                    <a:pt x="154746" y="12090"/>
                  </a:cubicBezTo>
                  <a:cubicBezTo>
                    <a:pt x="154746" y="12090"/>
                    <a:pt x="154746" y="15313"/>
                    <a:pt x="154746" y="15313"/>
                  </a:cubicBezTo>
                  <a:cubicBezTo>
                    <a:pt x="141851" y="402179"/>
                    <a:pt x="122507" y="789045"/>
                    <a:pt x="0" y="1153343"/>
                  </a:cubicBezTo>
                  <a:close/>
                </a:path>
              </a:pathLst>
            </a:custGeom>
            <a:solidFill>
              <a:srgbClr val="7F95BC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8486B19A-0147-4965-82D8-8B195599DB07}"/>
                </a:ext>
              </a:extLst>
            </p:cNvPr>
            <p:cNvSpPr/>
            <p:nvPr/>
          </p:nvSpPr>
          <p:spPr>
            <a:xfrm>
              <a:off x="8134043" y="2875661"/>
              <a:ext cx="875228" cy="758257"/>
            </a:xfrm>
            <a:custGeom>
              <a:avLst/>
              <a:gdLst>
                <a:gd name="connsiteX0" fmla="*/ 867224 w 875228"/>
                <a:gd name="connsiteY0" fmla="*/ 234556 h 758257"/>
                <a:gd name="connsiteX1" fmla="*/ 751164 w 875228"/>
                <a:gd name="connsiteY1" fmla="*/ 2437 h 758257"/>
                <a:gd name="connsiteX2" fmla="*/ 509373 w 875228"/>
                <a:gd name="connsiteY2" fmla="*/ 318377 h 758257"/>
                <a:gd name="connsiteX3" fmla="*/ 354627 w 875228"/>
                <a:gd name="connsiteY3" fmla="*/ 582735 h 758257"/>
                <a:gd name="connsiteX4" fmla="*/ 29015 w 875228"/>
                <a:gd name="connsiteY4" fmla="*/ 614974 h 758257"/>
                <a:gd name="connsiteX5" fmla="*/ 0 w 875228"/>
                <a:gd name="connsiteY5" fmla="*/ 743929 h 758257"/>
                <a:gd name="connsiteX6" fmla="*/ 464239 w 875228"/>
                <a:gd name="connsiteY6" fmla="*/ 743929 h 758257"/>
                <a:gd name="connsiteX7" fmla="*/ 867224 w 875228"/>
                <a:gd name="connsiteY7" fmla="*/ 234556 h 758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5228" h="758257">
                  <a:moveTo>
                    <a:pt x="867224" y="234556"/>
                  </a:moveTo>
                  <a:cubicBezTo>
                    <a:pt x="902687" y="118496"/>
                    <a:pt x="812418" y="-20130"/>
                    <a:pt x="751164" y="2437"/>
                  </a:cubicBezTo>
                  <a:cubicBezTo>
                    <a:pt x="677015" y="28228"/>
                    <a:pt x="580299" y="186198"/>
                    <a:pt x="509373" y="318377"/>
                  </a:cubicBezTo>
                  <a:cubicBezTo>
                    <a:pt x="464239" y="402198"/>
                    <a:pt x="367522" y="585959"/>
                    <a:pt x="354627" y="582735"/>
                  </a:cubicBezTo>
                  <a:cubicBezTo>
                    <a:pt x="348179" y="582735"/>
                    <a:pt x="29015" y="614974"/>
                    <a:pt x="29015" y="614974"/>
                  </a:cubicBezTo>
                  <a:cubicBezTo>
                    <a:pt x="32239" y="666556"/>
                    <a:pt x="0" y="743929"/>
                    <a:pt x="0" y="743929"/>
                  </a:cubicBezTo>
                  <a:cubicBezTo>
                    <a:pt x="0" y="743929"/>
                    <a:pt x="402985" y="776168"/>
                    <a:pt x="464239" y="743929"/>
                  </a:cubicBezTo>
                  <a:cubicBezTo>
                    <a:pt x="541612" y="705243"/>
                    <a:pt x="822090" y="382855"/>
                    <a:pt x="867224" y="234556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30EF422C-A47F-4695-A72F-B1FDABC81C36}"/>
                </a:ext>
              </a:extLst>
            </p:cNvPr>
            <p:cNvSpPr/>
            <p:nvPr/>
          </p:nvSpPr>
          <p:spPr>
            <a:xfrm>
              <a:off x="8643416" y="2737244"/>
              <a:ext cx="398402" cy="511599"/>
            </a:xfrm>
            <a:custGeom>
              <a:avLst/>
              <a:gdLst>
                <a:gd name="connsiteX0" fmla="*/ 312716 w 398402"/>
                <a:gd name="connsiteY0" fmla="*/ 511600 h 511599"/>
                <a:gd name="connsiteX1" fmla="*/ 364299 w 398402"/>
                <a:gd name="connsiteY1" fmla="*/ 11898 h 511599"/>
                <a:gd name="connsiteX2" fmla="*/ 0 w 398402"/>
                <a:gd name="connsiteY2" fmla="*/ 343958 h 511599"/>
                <a:gd name="connsiteX3" fmla="*/ 312716 w 398402"/>
                <a:gd name="connsiteY3" fmla="*/ 511600 h 511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8402" h="511599">
                  <a:moveTo>
                    <a:pt x="312716" y="511600"/>
                  </a:moveTo>
                  <a:cubicBezTo>
                    <a:pt x="312716" y="511600"/>
                    <a:pt x="464239" y="86047"/>
                    <a:pt x="364299" y="11898"/>
                  </a:cubicBezTo>
                  <a:cubicBezTo>
                    <a:pt x="251463" y="-75147"/>
                    <a:pt x="0" y="343958"/>
                    <a:pt x="0" y="343958"/>
                  </a:cubicBezTo>
                  <a:cubicBezTo>
                    <a:pt x="0" y="343958"/>
                    <a:pt x="138627" y="482585"/>
                    <a:pt x="312716" y="511600"/>
                  </a:cubicBezTo>
                  <a:close/>
                </a:path>
              </a:pathLst>
            </a:custGeom>
            <a:solidFill>
              <a:srgbClr val="70868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23D6745D-B1B4-430D-B6CF-3B2B836F0E70}"/>
                </a:ext>
              </a:extLst>
            </p:cNvPr>
            <p:cNvSpPr/>
            <p:nvPr/>
          </p:nvSpPr>
          <p:spPr>
            <a:xfrm>
              <a:off x="9175356" y="2510575"/>
              <a:ext cx="225671" cy="216509"/>
            </a:xfrm>
            <a:custGeom>
              <a:avLst/>
              <a:gdLst>
                <a:gd name="connsiteX0" fmla="*/ 0 w 225671"/>
                <a:gd name="connsiteY0" fmla="*/ 29015 h 216509"/>
                <a:gd name="connsiteX1" fmla="*/ 6448 w 225671"/>
                <a:gd name="connsiteY1" fmla="*/ 180537 h 216509"/>
                <a:gd name="connsiteX2" fmla="*/ 225672 w 225671"/>
                <a:gd name="connsiteY2" fmla="*/ 170866 h 216509"/>
                <a:gd name="connsiteX3" fmla="*/ 212776 w 225671"/>
                <a:gd name="connsiteY3" fmla="*/ 0 h 216509"/>
                <a:gd name="connsiteX4" fmla="*/ 0 w 225671"/>
                <a:gd name="connsiteY4" fmla="*/ 29015 h 216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671" h="216509">
                  <a:moveTo>
                    <a:pt x="0" y="29015"/>
                  </a:moveTo>
                  <a:cubicBezTo>
                    <a:pt x="0" y="29015"/>
                    <a:pt x="6448" y="119284"/>
                    <a:pt x="6448" y="180537"/>
                  </a:cubicBezTo>
                  <a:cubicBezTo>
                    <a:pt x="6448" y="180537"/>
                    <a:pt x="99940" y="267582"/>
                    <a:pt x="225672" y="170866"/>
                  </a:cubicBezTo>
                  <a:cubicBezTo>
                    <a:pt x="225672" y="119284"/>
                    <a:pt x="216000" y="54806"/>
                    <a:pt x="212776" y="0"/>
                  </a:cubicBezTo>
                  <a:cubicBezTo>
                    <a:pt x="212776" y="0"/>
                    <a:pt x="41911" y="41910"/>
                    <a:pt x="0" y="29015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384BC098-8B84-419F-8EDD-C2BC70C4411E}"/>
                </a:ext>
              </a:extLst>
            </p:cNvPr>
            <p:cNvSpPr/>
            <p:nvPr/>
          </p:nvSpPr>
          <p:spPr>
            <a:xfrm>
              <a:off x="9433267" y="2365501"/>
              <a:ext cx="77372" cy="145074"/>
            </a:xfrm>
            <a:custGeom>
              <a:avLst/>
              <a:gdLst>
                <a:gd name="connsiteX0" fmla="*/ 77373 w 77372"/>
                <a:gd name="connsiteY0" fmla="*/ 0 h 145074"/>
                <a:gd name="connsiteX1" fmla="*/ 0 w 77372"/>
                <a:gd name="connsiteY1" fmla="*/ 145075 h 145074"/>
                <a:gd name="connsiteX2" fmla="*/ 0 w 77372"/>
                <a:gd name="connsiteY2" fmla="*/ 54806 h 145074"/>
                <a:gd name="connsiteX3" fmla="*/ 77373 w 77372"/>
                <a:gd name="connsiteY3" fmla="*/ 0 h 14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372" h="145074">
                  <a:moveTo>
                    <a:pt x="77373" y="0"/>
                  </a:moveTo>
                  <a:cubicBezTo>
                    <a:pt x="77373" y="0"/>
                    <a:pt x="58030" y="125731"/>
                    <a:pt x="0" y="145075"/>
                  </a:cubicBezTo>
                  <a:lnTo>
                    <a:pt x="0" y="54806"/>
                  </a:lnTo>
                  <a:lnTo>
                    <a:pt x="77373" y="0"/>
                  </a:ln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F3D05721-6F09-46CC-AA3B-B0C82C169BD1}"/>
                </a:ext>
              </a:extLst>
            </p:cNvPr>
            <p:cNvSpPr/>
            <p:nvPr/>
          </p:nvSpPr>
          <p:spPr>
            <a:xfrm>
              <a:off x="9028621" y="2126934"/>
              <a:ext cx="114496" cy="255245"/>
            </a:xfrm>
            <a:custGeom>
              <a:avLst/>
              <a:gdLst>
                <a:gd name="connsiteX0" fmla="*/ 11333 w 114496"/>
                <a:gd name="connsiteY0" fmla="*/ 0 h 255245"/>
                <a:gd name="connsiteX1" fmla="*/ 46795 w 114496"/>
                <a:gd name="connsiteY1" fmla="*/ 251463 h 255245"/>
                <a:gd name="connsiteX2" fmla="*/ 114497 w 114496"/>
                <a:gd name="connsiteY2" fmla="*/ 19343 h 255245"/>
                <a:gd name="connsiteX3" fmla="*/ 11333 w 114496"/>
                <a:gd name="connsiteY3" fmla="*/ 0 h 25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496" h="255245">
                  <a:moveTo>
                    <a:pt x="11333" y="0"/>
                  </a:moveTo>
                  <a:cubicBezTo>
                    <a:pt x="11333" y="0"/>
                    <a:pt x="-30578" y="206328"/>
                    <a:pt x="46795" y="251463"/>
                  </a:cubicBezTo>
                  <a:cubicBezTo>
                    <a:pt x="111273" y="290149"/>
                    <a:pt x="114497" y="19343"/>
                    <a:pt x="114497" y="19343"/>
                  </a:cubicBezTo>
                  <a:lnTo>
                    <a:pt x="11333" y="0"/>
                  </a:ln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53C662D3-8E92-4FB8-B3AA-7294A5A252AF}"/>
                </a:ext>
              </a:extLst>
            </p:cNvPr>
            <p:cNvSpPr/>
            <p:nvPr/>
          </p:nvSpPr>
          <p:spPr>
            <a:xfrm>
              <a:off x="9062134" y="1992666"/>
              <a:ext cx="448754" cy="600633"/>
            </a:xfrm>
            <a:custGeom>
              <a:avLst/>
              <a:gdLst>
                <a:gd name="connsiteX0" fmla="*/ 16506 w 448754"/>
                <a:gd name="connsiteY0" fmla="*/ 182626 h 600633"/>
                <a:gd name="connsiteX1" fmla="*/ 3611 w 448754"/>
                <a:gd name="connsiteY1" fmla="*/ 446984 h 600633"/>
                <a:gd name="connsiteX2" fmla="*/ 164805 w 448754"/>
                <a:gd name="connsiteY2" fmla="*/ 598507 h 600633"/>
                <a:gd name="connsiteX3" fmla="*/ 400148 w 448754"/>
                <a:gd name="connsiteY3" fmla="*/ 456656 h 600633"/>
                <a:gd name="connsiteX4" fmla="*/ 448506 w 448754"/>
                <a:gd name="connsiteY4" fmla="*/ 221313 h 600633"/>
                <a:gd name="connsiteX5" fmla="*/ 232506 w 448754"/>
                <a:gd name="connsiteY5" fmla="*/ 2089 h 600633"/>
                <a:gd name="connsiteX6" fmla="*/ 16506 w 448754"/>
                <a:gd name="connsiteY6" fmla="*/ 182626 h 600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754" h="600633">
                  <a:moveTo>
                    <a:pt x="16506" y="182626"/>
                  </a:moveTo>
                  <a:cubicBezTo>
                    <a:pt x="16506" y="182626"/>
                    <a:pt x="-9285" y="366387"/>
                    <a:pt x="3611" y="446984"/>
                  </a:cubicBezTo>
                  <a:cubicBezTo>
                    <a:pt x="16506" y="530805"/>
                    <a:pt x="113223" y="592059"/>
                    <a:pt x="164805" y="598507"/>
                  </a:cubicBezTo>
                  <a:cubicBezTo>
                    <a:pt x="235730" y="608179"/>
                    <a:pt x="351790" y="588835"/>
                    <a:pt x="400148" y="456656"/>
                  </a:cubicBezTo>
                  <a:cubicBezTo>
                    <a:pt x="425939" y="379283"/>
                    <a:pt x="448506" y="276119"/>
                    <a:pt x="448506" y="221313"/>
                  </a:cubicBezTo>
                  <a:cubicBezTo>
                    <a:pt x="451730" y="121373"/>
                    <a:pt x="425939" y="37552"/>
                    <a:pt x="232506" y="2089"/>
                  </a:cubicBezTo>
                  <a:cubicBezTo>
                    <a:pt x="148685" y="-17254"/>
                    <a:pt x="42298" y="102029"/>
                    <a:pt x="16506" y="182626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E4101273-6C83-489E-BB1A-2420D404E3D7}"/>
                </a:ext>
              </a:extLst>
            </p:cNvPr>
            <p:cNvSpPr/>
            <p:nvPr/>
          </p:nvSpPr>
          <p:spPr>
            <a:xfrm>
              <a:off x="9201148" y="2267449"/>
              <a:ext cx="58029" cy="146410"/>
            </a:xfrm>
            <a:custGeom>
              <a:avLst/>
              <a:gdLst>
                <a:gd name="connsiteX0" fmla="*/ 38686 w 58029"/>
                <a:gd name="connsiteY0" fmla="*/ 146410 h 146410"/>
                <a:gd name="connsiteX1" fmla="*/ 6448 w 58029"/>
                <a:gd name="connsiteY1" fmla="*/ 136738 h 146410"/>
                <a:gd name="connsiteX2" fmla="*/ 0 w 58029"/>
                <a:gd name="connsiteY2" fmla="*/ 123843 h 146410"/>
                <a:gd name="connsiteX3" fmla="*/ 22567 w 58029"/>
                <a:gd name="connsiteY3" fmla="*/ 4559 h 146410"/>
                <a:gd name="connsiteX4" fmla="*/ 29015 w 58029"/>
                <a:gd name="connsiteY4" fmla="*/ 1335 h 146410"/>
                <a:gd name="connsiteX5" fmla="*/ 32239 w 58029"/>
                <a:gd name="connsiteY5" fmla="*/ 7783 h 146410"/>
                <a:gd name="connsiteX6" fmla="*/ 9671 w 58029"/>
                <a:gd name="connsiteY6" fmla="*/ 123843 h 146410"/>
                <a:gd name="connsiteX7" fmla="*/ 9671 w 58029"/>
                <a:gd name="connsiteY7" fmla="*/ 127067 h 146410"/>
                <a:gd name="connsiteX8" fmla="*/ 51582 w 58029"/>
                <a:gd name="connsiteY8" fmla="*/ 130291 h 146410"/>
                <a:gd name="connsiteX9" fmla="*/ 58029 w 58029"/>
                <a:gd name="connsiteY9" fmla="*/ 136738 h 146410"/>
                <a:gd name="connsiteX10" fmla="*/ 51582 w 58029"/>
                <a:gd name="connsiteY10" fmla="*/ 143186 h 146410"/>
                <a:gd name="connsiteX11" fmla="*/ 38686 w 58029"/>
                <a:gd name="connsiteY11" fmla="*/ 146410 h 146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029" h="146410">
                  <a:moveTo>
                    <a:pt x="38686" y="146410"/>
                  </a:moveTo>
                  <a:cubicBezTo>
                    <a:pt x="25791" y="146410"/>
                    <a:pt x="12895" y="143186"/>
                    <a:pt x="6448" y="136738"/>
                  </a:cubicBezTo>
                  <a:cubicBezTo>
                    <a:pt x="3224" y="133515"/>
                    <a:pt x="0" y="127067"/>
                    <a:pt x="0" y="123843"/>
                  </a:cubicBezTo>
                  <a:cubicBezTo>
                    <a:pt x="0" y="101276"/>
                    <a:pt x="22567" y="7783"/>
                    <a:pt x="22567" y="4559"/>
                  </a:cubicBezTo>
                  <a:cubicBezTo>
                    <a:pt x="22567" y="1335"/>
                    <a:pt x="25791" y="-1889"/>
                    <a:pt x="29015" y="1335"/>
                  </a:cubicBezTo>
                  <a:cubicBezTo>
                    <a:pt x="32239" y="1335"/>
                    <a:pt x="35462" y="4559"/>
                    <a:pt x="32239" y="7783"/>
                  </a:cubicBezTo>
                  <a:cubicBezTo>
                    <a:pt x="32239" y="7783"/>
                    <a:pt x="9671" y="104500"/>
                    <a:pt x="9671" y="123843"/>
                  </a:cubicBezTo>
                  <a:cubicBezTo>
                    <a:pt x="9671" y="123843"/>
                    <a:pt x="9671" y="127067"/>
                    <a:pt x="9671" y="127067"/>
                  </a:cubicBezTo>
                  <a:cubicBezTo>
                    <a:pt x="16119" y="133515"/>
                    <a:pt x="38686" y="133515"/>
                    <a:pt x="51582" y="130291"/>
                  </a:cubicBezTo>
                  <a:cubicBezTo>
                    <a:pt x="54806" y="130291"/>
                    <a:pt x="58029" y="133515"/>
                    <a:pt x="58029" y="136738"/>
                  </a:cubicBezTo>
                  <a:cubicBezTo>
                    <a:pt x="58029" y="139962"/>
                    <a:pt x="54806" y="143186"/>
                    <a:pt x="51582" y="143186"/>
                  </a:cubicBezTo>
                  <a:cubicBezTo>
                    <a:pt x="58029" y="146410"/>
                    <a:pt x="48358" y="146410"/>
                    <a:pt x="38686" y="146410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F3154A4F-7F44-4052-9257-CC3269CEF6A5}"/>
                </a:ext>
              </a:extLst>
            </p:cNvPr>
            <p:cNvSpPr/>
            <p:nvPr/>
          </p:nvSpPr>
          <p:spPr>
            <a:xfrm>
              <a:off x="9136038" y="2242361"/>
              <a:ext cx="42542" cy="43175"/>
            </a:xfrm>
            <a:custGeom>
              <a:avLst/>
              <a:gdLst>
                <a:gd name="connsiteX0" fmla="*/ 42542 w 42542"/>
                <a:gd name="connsiteY0" fmla="*/ 26423 h 43175"/>
                <a:gd name="connsiteX1" fmla="*/ 16752 w 42542"/>
                <a:gd name="connsiteY1" fmla="*/ 42543 h 43175"/>
                <a:gd name="connsiteX2" fmla="*/ 632 w 42542"/>
                <a:gd name="connsiteY2" fmla="*/ 16752 h 43175"/>
                <a:gd name="connsiteX3" fmla="*/ 26423 w 42542"/>
                <a:gd name="connsiteY3" fmla="*/ 632 h 43175"/>
                <a:gd name="connsiteX4" fmla="*/ 42542 w 42542"/>
                <a:gd name="connsiteY4" fmla="*/ 26423 h 4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42" h="43175">
                  <a:moveTo>
                    <a:pt x="42542" y="26423"/>
                  </a:moveTo>
                  <a:cubicBezTo>
                    <a:pt x="39319" y="36095"/>
                    <a:pt x="29647" y="45767"/>
                    <a:pt x="16752" y="42543"/>
                  </a:cubicBezTo>
                  <a:cubicBezTo>
                    <a:pt x="7080" y="39319"/>
                    <a:pt x="-2592" y="26423"/>
                    <a:pt x="632" y="16752"/>
                  </a:cubicBezTo>
                  <a:cubicBezTo>
                    <a:pt x="3856" y="7080"/>
                    <a:pt x="16752" y="-2591"/>
                    <a:pt x="26423" y="632"/>
                  </a:cubicBezTo>
                  <a:cubicBezTo>
                    <a:pt x="36095" y="3856"/>
                    <a:pt x="42542" y="13528"/>
                    <a:pt x="42542" y="2642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23612C77-6F39-491C-AFCA-D33701FD08C3}"/>
                </a:ext>
              </a:extLst>
            </p:cNvPr>
            <p:cNvSpPr/>
            <p:nvPr/>
          </p:nvSpPr>
          <p:spPr>
            <a:xfrm>
              <a:off x="9326246" y="2268152"/>
              <a:ext cx="43364" cy="43175"/>
            </a:xfrm>
            <a:custGeom>
              <a:avLst/>
              <a:gdLst>
                <a:gd name="connsiteX0" fmla="*/ 42543 w 43364"/>
                <a:gd name="connsiteY0" fmla="*/ 26423 h 43175"/>
                <a:gd name="connsiteX1" fmla="*/ 16752 w 43364"/>
                <a:gd name="connsiteY1" fmla="*/ 42543 h 43175"/>
                <a:gd name="connsiteX2" fmla="*/ 632 w 43364"/>
                <a:gd name="connsiteY2" fmla="*/ 16752 h 43175"/>
                <a:gd name="connsiteX3" fmla="*/ 26424 w 43364"/>
                <a:gd name="connsiteY3" fmla="*/ 632 h 43175"/>
                <a:gd name="connsiteX4" fmla="*/ 42543 w 43364"/>
                <a:gd name="connsiteY4" fmla="*/ 26423 h 4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64" h="43175">
                  <a:moveTo>
                    <a:pt x="42543" y="26423"/>
                  </a:moveTo>
                  <a:cubicBezTo>
                    <a:pt x="39319" y="36095"/>
                    <a:pt x="29647" y="45767"/>
                    <a:pt x="16752" y="42543"/>
                  </a:cubicBezTo>
                  <a:cubicBezTo>
                    <a:pt x="7080" y="39319"/>
                    <a:pt x="-2592" y="29647"/>
                    <a:pt x="632" y="16752"/>
                  </a:cubicBezTo>
                  <a:cubicBezTo>
                    <a:pt x="3857" y="7080"/>
                    <a:pt x="16752" y="-2592"/>
                    <a:pt x="26424" y="632"/>
                  </a:cubicBezTo>
                  <a:cubicBezTo>
                    <a:pt x="39319" y="3856"/>
                    <a:pt x="45767" y="16752"/>
                    <a:pt x="42543" y="2642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81825708-3E98-4406-8D33-C4980A48628B}"/>
                </a:ext>
              </a:extLst>
            </p:cNvPr>
            <p:cNvSpPr/>
            <p:nvPr/>
          </p:nvSpPr>
          <p:spPr>
            <a:xfrm>
              <a:off x="9111685" y="2189702"/>
              <a:ext cx="97245" cy="33948"/>
            </a:xfrm>
            <a:custGeom>
              <a:avLst/>
              <a:gdLst>
                <a:gd name="connsiteX0" fmla="*/ 8866 w 97245"/>
                <a:gd name="connsiteY0" fmla="*/ 33948 h 33948"/>
                <a:gd name="connsiteX1" fmla="*/ 2418 w 97245"/>
                <a:gd name="connsiteY1" fmla="*/ 30725 h 33948"/>
                <a:gd name="connsiteX2" fmla="*/ 2418 w 97245"/>
                <a:gd name="connsiteY2" fmla="*/ 17829 h 33948"/>
                <a:gd name="connsiteX3" fmla="*/ 92686 w 97245"/>
                <a:gd name="connsiteY3" fmla="*/ 11381 h 33948"/>
                <a:gd name="connsiteX4" fmla="*/ 95911 w 97245"/>
                <a:gd name="connsiteY4" fmla="*/ 24277 h 33948"/>
                <a:gd name="connsiteX5" fmla="*/ 83015 w 97245"/>
                <a:gd name="connsiteY5" fmla="*/ 27501 h 33948"/>
                <a:gd name="connsiteX6" fmla="*/ 12089 w 97245"/>
                <a:gd name="connsiteY6" fmla="*/ 30725 h 33948"/>
                <a:gd name="connsiteX7" fmla="*/ 8866 w 97245"/>
                <a:gd name="connsiteY7" fmla="*/ 33948 h 3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5" h="33948">
                  <a:moveTo>
                    <a:pt x="8866" y="33948"/>
                  </a:moveTo>
                  <a:cubicBezTo>
                    <a:pt x="5642" y="33948"/>
                    <a:pt x="5642" y="33948"/>
                    <a:pt x="2418" y="30725"/>
                  </a:cubicBezTo>
                  <a:cubicBezTo>
                    <a:pt x="-806" y="27501"/>
                    <a:pt x="-806" y="21053"/>
                    <a:pt x="2418" y="17829"/>
                  </a:cubicBezTo>
                  <a:cubicBezTo>
                    <a:pt x="31433" y="-11186"/>
                    <a:pt x="76567" y="1710"/>
                    <a:pt x="92686" y="11381"/>
                  </a:cubicBezTo>
                  <a:cubicBezTo>
                    <a:pt x="95911" y="14605"/>
                    <a:pt x="99134" y="17829"/>
                    <a:pt x="95911" y="24277"/>
                  </a:cubicBezTo>
                  <a:cubicBezTo>
                    <a:pt x="92686" y="27501"/>
                    <a:pt x="89463" y="30725"/>
                    <a:pt x="83015" y="27501"/>
                  </a:cubicBezTo>
                  <a:cubicBezTo>
                    <a:pt x="79791" y="27501"/>
                    <a:pt x="41105" y="4934"/>
                    <a:pt x="12089" y="30725"/>
                  </a:cubicBezTo>
                  <a:cubicBezTo>
                    <a:pt x="12089" y="33948"/>
                    <a:pt x="8866" y="33948"/>
                    <a:pt x="8866" y="33948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378F3E45-9F82-4FEF-ADC1-78CBB945A3ED}"/>
                </a:ext>
              </a:extLst>
            </p:cNvPr>
            <p:cNvSpPr/>
            <p:nvPr/>
          </p:nvSpPr>
          <p:spPr>
            <a:xfrm>
              <a:off x="9309424" y="2200482"/>
              <a:ext cx="97245" cy="39287"/>
            </a:xfrm>
            <a:custGeom>
              <a:avLst/>
              <a:gdLst>
                <a:gd name="connsiteX0" fmla="*/ 91604 w 97245"/>
                <a:gd name="connsiteY0" fmla="*/ 39287 h 39287"/>
                <a:gd name="connsiteX1" fmla="*/ 85157 w 97245"/>
                <a:gd name="connsiteY1" fmla="*/ 36063 h 39287"/>
                <a:gd name="connsiteX2" fmla="*/ 14231 w 97245"/>
                <a:gd name="connsiteY2" fmla="*/ 26392 h 39287"/>
                <a:gd name="connsiteX3" fmla="*/ 1335 w 97245"/>
                <a:gd name="connsiteY3" fmla="*/ 23168 h 39287"/>
                <a:gd name="connsiteX4" fmla="*/ 4560 w 97245"/>
                <a:gd name="connsiteY4" fmla="*/ 10272 h 39287"/>
                <a:gd name="connsiteX5" fmla="*/ 94828 w 97245"/>
                <a:gd name="connsiteY5" fmla="*/ 23168 h 39287"/>
                <a:gd name="connsiteX6" fmla="*/ 94828 w 97245"/>
                <a:gd name="connsiteY6" fmla="*/ 36063 h 39287"/>
                <a:gd name="connsiteX7" fmla="*/ 91604 w 97245"/>
                <a:gd name="connsiteY7" fmla="*/ 39287 h 39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5" h="39287">
                  <a:moveTo>
                    <a:pt x="91604" y="39287"/>
                  </a:moveTo>
                  <a:cubicBezTo>
                    <a:pt x="88380" y="39287"/>
                    <a:pt x="88380" y="39287"/>
                    <a:pt x="85157" y="36063"/>
                  </a:cubicBezTo>
                  <a:cubicBezTo>
                    <a:pt x="85157" y="36063"/>
                    <a:pt x="52918" y="3824"/>
                    <a:pt x="14231" y="26392"/>
                  </a:cubicBezTo>
                  <a:cubicBezTo>
                    <a:pt x="11007" y="29616"/>
                    <a:pt x="4560" y="26392"/>
                    <a:pt x="1335" y="23168"/>
                  </a:cubicBezTo>
                  <a:cubicBezTo>
                    <a:pt x="-1889" y="19944"/>
                    <a:pt x="1335" y="13496"/>
                    <a:pt x="4560" y="10272"/>
                  </a:cubicBezTo>
                  <a:cubicBezTo>
                    <a:pt x="46470" y="-12295"/>
                    <a:pt x="81932" y="7048"/>
                    <a:pt x="94828" y="23168"/>
                  </a:cubicBezTo>
                  <a:cubicBezTo>
                    <a:pt x="98052" y="26392"/>
                    <a:pt x="98052" y="32839"/>
                    <a:pt x="94828" y="36063"/>
                  </a:cubicBezTo>
                  <a:cubicBezTo>
                    <a:pt x="94828" y="36063"/>
                    <a:pt x="91604" y="39287"/>
                    <a:pt x="91604" y="39287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0D58923D-06AB-4DAE-9C2F-40404FA7B68F}"/>
                </a:ext>
              </a:extLst>
            </p:cNvPr>
            <p:cNvSpPr/>
            <p:nvPr/>
          </p:nvSpPr>
          <p:spPr>
            <a:xfrm>
              <a:off x="9139894" y="2533949"/>
              <a:ext cx="263552" cy="63671"/>
            </a:xfrm>
            <a:custGeom>
              <a:avLst/>
              <a:gdLst>
                <a:gd name="connsiteX0" fmla="*/ 122508 w 263552"/>
                <a:gd name="connsiteY0" fmla="*/ 63672 h 63671"/>
                <a:gd name="connsiteX1" fmla="*/ 103164 w 263552"/>
                <a:gd name="connsiteY1" fmla="*/ 63672 h 63671"/>
                <a:gd name="connsiteX2" fmla="*/ 3224 w 263552"/>
                <a:gd name="connsiteY2" fmla="*/ 24985 h 63671"/>
                <a:gd name="connsiteX3" fmla="*/ 0 w 263552"/>
                <a:gd name="connsiteY3" fmla="*/ 15313 h 63671"/>
                <a:gd name="connsiteX4" fmla="*/ 9672 w 263552"/>
                <a:gd name="connsiteY4" fmla="*/ 12090 h 63671"/>
                <a:gd name="connsiteX5" fmla="*/ 103164 w 263552"/>
                <a:gd name="connsiteY5" fmla="*/ 47552 h 63671"/>
                <a:gd name="connsiteX6" fmla="*/ 251463 w 263552"/>
                <a:gd name="connsiteY6" fmla="*/ 2418 h 63671"/>
                <a:gd name="connsiteX7" fmla="*/ 261135 w 263552"/>
                <a:gd name="connsiteY7" fmla="*/ 2418 h 63671"/>
                <a:gd name="connsiteX8" fmla="*/ 261135 w 263552"/>
                <a:gd name="connsiteY8" fmla="*/ 12090 h 63671"/>
                <a:gd name="connsiteX9" fmla="*/ 122508 w 263552"/>
                <a:gd name="connsiteY9" fmla="*/ 63672 h 63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3552" h="63671">
                  <a:moveTo>
                    <a:pt x="122508" y="63672"/>
                  </a:moveTo>
                  <a:cubicBezTo>
                    <a:pt x="116060" y="63672"/>
                    <a:pt x="109612" y="63672"/>
                    <a:pt x="103164" y="63672"/>
                  </a:cubicBezTo>
                  <a:cubicBezTo>
                    <a:pt x="58030" y="60448"/>
                    <a:pt x="6448" y="28209"/>
                    <a:pt x="3224" y="24985"/>
                  </a:cubicBezTo>
                  <a:cubicBezTo>
                    <a:pt x="0" y="21761"/>
                    <a:pt x="0" y="18537"/>
                    <a:pt x="0" y="15313"/>
                  </a:cubicBezTo>
                  <a:cubicBezTo>
                    <a:pt x="3224" y="12090"/>
                    <a:pt x="6448" y="12090"/>
                    <a:pt x="9672" y="12090"/>
                  </a:cubicBezTo>
                  <a:cubicBezTo>
                    <a:pt x="9672" y="12090"/>
                    <a:pt x="61254" y="44328"/>
                    <a:pt x="103164" y="47552"/>
                  </a:cubicBezTo>
                  <a:cubicBezTo>
                    <a:pt x="186985" y="57224"/>
                    <a:pt x="251463" y="2418"/>
                    <a:pt x="251463" y="2418"/>
                  </a:cubicBezTo>
                  <a:cubicBezTo>
                    <a:pt x="254687" y="-806"/>
                    <a:pt x="257910" y="-806"/>
                    <a:pt x="261135" y="2418"/>
                  </a:cubicBezTo>
                  <a:cubicBezTo>
                    <a:pt x="264358" y="5642"/>
                    <a:pt x="264358" y="8866"/>
                    <a:pt x="261135" y="12090"/>
                  </a:cubicBezTo>
                  <a:cubicBezTo>
                    <a:pt x="257910" y="15313"/>
                    <a:pt x="203105" y="63672"/>
                    <a:pt x="122508" y="63672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E7475086-3E92-43A6-8AF7-E5897AAA3D93}"/>
                </a:ext>
              </a:extLst>
            </p:cNvPr>
            <p:cNvSpPr/>
            <p:nvPr/>
          </p:nvSpPr>
          <p:spPr>
            <a:xfrm>
              <a:off x="9436490" y="2026927"/>
              <a:ext cx="119109" cy="283767"/>
            </a:xfrm>
            <a:custGeom>
              <a:avLst/>
              <a:gdLst>
                <a:gd name="connsiteX0" fmla="*/ 0 w 119109"/>
                <a:gd name="connsiteY0" fmla="*/ 132245 h 283767"/>
                <a:gd name="connsiteX1" fmla="*/ 45135 w 119109"/>
                <a:gd name="connsiteY1" fmla="*/ 283767 h 283767"/>
                <a:gd name="connsiteX2" fmla="*/ 109612 w 119109"/>
                <a:gd name="connsiteY2" fmla="*/ 180603 h 283767"/>
                <a:gd name="connsiteX3" fmla="*/ 54806 w 119109"/>
                <a:gd name="connsiteY3" fmla="*/ 66 h 283767"/>
                <a:gd name="connsiteX4" fmla="*/ 0 w 119109"/>
                <a:gd name="connsiteY4" fmla="*/ 132245 h 283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109" h="283767">
                  <a:moveTo>
                    <a:pt x="0" y="132245"/>
                  </a:moveTo>
                  <a:cubicBezTo>
                    <a:pt x="0" y="132245"/>
                    <a:pt x="54806" y="251529"/>
                    <a:pt x="45135" y="283767"/>
                  </a:cubicBezTo>
                  <a:cubicBezTo>
                    <a:pt x="45135" y="283767"/>
                    <a:pt x="93493" y="238633"/>
                    <a:pt x="109612" y="180603"/>
                  </a:cubicBezTo>
                  <a:cubicBezTo>
                    <a:pt x="128955" y="119349"/>
                    <a:pt x="122508" y="19409"/>
                    <a:pt x="54806" y="66"/>
                  </a:cubicBezTo>
                  <a:cubicBezTo>
                    <a:pt x="58030" y="-3158"/>
                    <a:pt x="45135" y="112902"/>
                    <a:pt x="0" y="132245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AAF6D75D-5B43-4882-910E-D574B477EA9B}"/>
                </a:ext>
              </a:extLst>
            </p:cNvPr>
            <p:cNvSpPr/>
            <p:nvPr/>
          </p:nvSpPr>
          <p:spPr>
            <a:xfrm>
              <a:off x="8978178" y="1892883"/>
              <a:ext cx="524559" cy="266289"/>
            </a:xfrm>
            <a:custGeom>
              <a:avLst/>
              <a:gdLst>
                <a:gd name="connsiteX0" fmla="*/ 458313 w 524559"/>
                <a:gd name="connsiteY0" fmla="*/ 266290 h 266289"/>
                <a:gd name="connsiteX1" fmla="*/ 329357 w 524559"/>
                <a:gd name="connsiteY1" fmla="*/ 221155 h 266289"/>
                <a:gd name="connsiteX2" fmla="*/ 522 w 524559"/>
                <a:gd name="connsiteY2" fmla="*/ 182469 h 266289"/>
                <a:gd name="connsiteX3" fmla="*/ 390611 w 524559"/>
                <a:gd name="connsiteY3" fmla="*/ 14827 h 266289"/>
                <a:gd name="connsiteX4" fmla="*/ 513119 w 524559"/>
                <a:gd name="connsiteY4" fmla="*/ 134110 h 266289"/>
                <a:gd name="connsiteX5" fmla="*/ 458313 w 524559"/>
                <a:gd name="connsiteY5" fmla="*/ 266290 h 266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4559" h="266289">
                  <a:moveTo>
                    <a:pt x="458313" y="266290"/>
                  </a:moveTo>
                  <a:cubicBezTo>
                    <a:pt x="458313" y="266290"/>
                    <a:pt x="358373" y="221155"/>
                    <a:pt x="329357" y="221155"/>
                  </a:cubicBezTo>
                  <a:cubicBezTo>
                    <a:pt x="222970" y="221155"/>
                    <a:pt x="16641" y="324319"/>
                    <a:pt x="522" y="182469"/>
                  </a:cubicBezTo>
                  <a:cubicBezTo>
                    <a:pt x="-12374" y="66409"/>
                    <a:pt x="216521" y="-39979"/>
                    <a:pt x="390611" y="14827"/>
                  </a:cubicBezTo>
                  <a:cubicBezTo>
                    <a:pt x="471208" y="40618"/>
                    <a:pt x="506671" y="95424"/>
                    <a:pt x="513119" y="134110"/>
                  </a:cubicBezTo>
                  <a:cubicBezTo>
                    <a:pt x="516342" y="130886"/>
                    <a:pt x="558253" y="256618"/>
                    <a:pt x="458313" y="266290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8C11D238-FEBB-4EF1-99F5-28C4DD110F06}"/>
                </a:ext>
              </a:extLst>
            </p:cNvPr>
            <p:cNvSpPr/>
            <p:nvPr/>
          </p:nvSpPr>
          <p:spPr>
            <a:xfrm>
              <a:off x="9468087" y="2276310"/>
              <a:ext cx="85242" cy="118885"/>
            </a:xfrm>
            <a:custGeom>
              <a:avLst/>
              <a:gdLst>
                <a:gd name="connsiteX0" fmla="*/ 16761 w 85242"/>
                <a:gd name="connsiteY0" fmla="*/ 15041 h 118885"/>
                <a:gd name="connsiteX1" fmla="*/ 78015 w 85242"/>
                <a:gd name="connsiteY1" fmla="*/ 8594 h 118885"/>
                <a:gd name="connsiteX2" fmla="*/ 13538 w 85242"/>
                <a:gd name="connsiteY2" fmla="*/ 114982 h 118885"/>
                <a:gd name="connsiteX3" fmla="*/ 16761 w 85242"/>
                <a:gd name="connsiteY3" fmla="*/ 15041 h 118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242" h="118885">
                  <a:moveTo>
                    <a:pt x="16761" y="15041"/>
                  </a:moveTo>
                  <a:cubicBezTo>
                    <a:pt x="16761" y="15041"/>
                    <a:pt x="52224" y="-13974"/>
                    <a:pt x="78015" y="8594"/>
                  </a:cubicBezTo>
                  <a:cubicBezTo>
                    <a:pt x="103807" y="31161"/>
                    <a:pt x="55448" y="140773"/>
                    <a:pt x="13538" y="114982"/>
                  </a:cubicBezTo>
                  <a:cubicBezTo>
                    <a:pt x="-18701" y="92414"/>
                    <a:pt x="16761" y="15041"/>
                    <a:pt x="16761" y="15041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B4898546-4B1C-457C-81BF-DB438A212EAB}"/>
                </a:ext>
              </a:extLst>
            </p:cNvPr>
            <p:cNvSpPr/>
            <p:nvPr/>
          </p:nvSpPr>
          <p:spPr>
            <a:xfrm>
              <a:off x="9433267" y="2046337"/>
              <a:ext cx="76764" cy="251462"/>
            </a:xfrm>
            <a:custGeom>
              <a:avLst/>
              <a:gdLst>
                <a:gd name="connsiteX0" fmla="*/ 51582 w 76764"/>
                <a:gd name="connsiteY0" fmla="*/ 251463 h 251462"/>
                <a:gd name="connsiteX1" fmla="*/ 45134 w 76764"/>
                <a:gd name="connsiteY1" fmla="*/ 245015 h 251462"/>
                <a:gd name="connsiteX2" fmla="*/ 0 w 76764"/>
                <a:gd name="connsiteY2" fmla="*/ 116060 h 251462"/>
                <a:gd name="connsiteX3" fmla="*/ 0 w 76764"/>
                <a:gd name="connsiteY3" fmla="*/ 109612 h 251462"/>
                <a:gd name="connsiteX4" fmla="*/ 3224 w 76764"/>
                <a:gd name="connsiteY4" fmla="*/ 106388 h 251462"/>
                <a:gd name="connsiteX5" fmla="*/ 58030 w 76764"/>
                <a:gd name="connsiteY5" fmla="*/ 67701 h 251462"/>
                <a:gd name="connsiteX6" fmla="*/ 61254 w 76764"/>
                <a:gd name="connsiteY6" fmla="*/ 6448 h 251462"/>
                <a:gd name="connsiteX7" fmla="*/ 64478 w 76764"/>
                <a:gd name="connsiteY7" fmla="*/ 0 h 251462"/>
                <a:gd name="connsiteX8" fmla="*/ 70925 w 76764"/>
                <a:gd name="connsiteY8" fmla="*/ 3224 h 251462"/>
                <a:gd name="connsiteX9" fmla="*/ 67701 w 76764"/>
                <a:gd name="connsiteY9" fmla="*/ 74149 h 251462"/>
                <a:gd name="connsiteX10" fmla="*/ 16119 w 76764"/>
                <a:gd name="connsiteY10" fmla="*/ 116060 h 251462"/>
                <a:gd name="connsiteX11" fmla="*/ 58030 w 76764"/>
                <a:gd name="connsiteY11" fmla="*/ 245015 h 251462"/>
                <a:gd name="connsiteX12" fmla="*/ 51582 w 76764"/>
                <a:gd name="connsiteY12" fmla="*/ 251463 h 251462"/>
                <a:gd name="connsiteX13" fmla="*/ 51582 w 76764"/>
                <a:gd name="connsiteY13" fmla="*/ 251463 h 251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764" h="251462">
                  <a:moveTo>
                    <a:pt x="51582" y="251463"/>
                  </a:moveTo>
                  <a:cubicBezTo>
                    <a:pt x="48358" y="251463"/>
                    <a:pt x="45134" y="248239"/>
                    <a:pt x="45134" y="245015"/>
                  </a:cubicBezTo>
                  <a:cubicBezTo>
                    <a:pt x="41911" y="180537"/>
                    <a:pt x="0" y="116060"/>
                    <a:pt x="0" y="116060"/>
                  </a:cubicBezTo>
                  <a:cubicBezTo>
                    <a:pt x="0" y="112836"/>
                    <a:pt x="0" y="112836"/>
                    <a:pt x="0" y="109612"/>
                  </a:cubicBezTo>
                  <a:cubicBezTo>
                    <a:pt x="0" y="106388"/>
                    <a:pt x="3224" y="106388"/>
                    <a:pt x="3224" y="106388"/>
                  </a:cubicBezTo>
                  <a:cubicBezTo>
                    <a:pt x="3224" y="106388"/>
                    <a:pt x="38686" y="96716"/>
                    <a:pt x="58030" y="67701"/>
                  </a:cubicBezTo>
                  <a:cubicBezTo>
                    <a:pt x="67701" y="51582"/>
                    <a:pt x="67701" y="29015"/>
                    <a:pt x="61254" y="6448"/>
                  </a:cubicBezTo>
                  <a:cubicBezTo>
                    <a:pt x="61254" y="3224"/>
                    <a:pt x="61254" y="0"/>
                    <a:pt x="64478" y="0"/>
                  </a:cubicBezTo>
                  <a:cubicBezTo>
                    <a:pt x="67701" y="0"/>
                    <a:pt x="70925" y="0"/>
                    <a:pt x="70925" y="3224"/>
                  </a:cubicBezTo>
                  <a:cubicBezTo>
                    <a:pt x="80597" y="29015"/>
                    <a:pt x="77373" y="54806"/>
                    <a:pt x="67701" y="74149"/>
                  </a:cubicBezTo>
                  <a:cubicBezTo>
                    <a:pt x="54806" y="99940"/>
                    <a:pt x="29015" y="112836"/>
                    <a:pt x="16119" y="116060"/>
                  </a:cubicBezTo>
                  <a:cubicBezTo>
                    <a:pt x="25791" y="135403"/>
                    <a:pt x="54806" y="190209"/>
                    <a:pt x="58030" y="245015"/>
                  </a:cubicBezTo>
                  <a:cubicBezTo>
                    <a:pt x="58030" y="248239"/>
                    <a:pt x="54806" y="251463"/>
                    <a:pt x="51582" y="251463"/>
                  </a:cubicBezTo>
                  <a:cubicBezTo>
                    <a:pt x="51582" y="251463"/>
                    <a:pt x="51582" y="251463"/>
                    <a:pt x="51582" y="251463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438166EC-035A-410D-A76D-F4CFDD35F4DE}"/>
                </a:ext>
              </a:extLst>
            </p:cNvPr>
            <p:cNvSpPr/>
            <p:nvPr/>
          </p:nvSpPr>
          <p:spPr>
            <a:xfrm>
              <a:off x="9109543" y="2075533"/>
              <a:ext cx="207663" cy="44952"/>
            </a:xfrm>
            <a:custGeom>
              <a:avLst/>
              <a:gdLst>
                <a:gd name="connsiteX0" fmla="*/ 201216 w 207663"/>
                <a:gd name="connsiteY0" fmla="*/ 44953 h 44952"/>
                <a:gd name="connsiteX1" fmla="*/ 201216 w 207663"/>
                <a:gd name="connsiteY1" fmla="*/ 44953 h 44952"/>
                <a:gd name="connsiteX2" fmla="*/ 11007 w 207663"/>
                <a:gd name="connsiteY2" fmla="*/ 32057 h 44952"/>
                <a:gd name="connsiteX3" fmla="*/ 1335 w 207663"/>
                <a:gd name="connsiteY3" fmla="*/ 28833 h 44952"/>
                <a:gd name="connsiteX4" fmla="*/ 4559 w 207663"/>
                <a:gd name="connsiteY4" fmla="*/ 19162 h 44952"/>
                <a:gd name="connsiteX5" fmla="*/ 204440 w 207663"/>
                <a:gd name="connsiteY5" fmla="*/ 32057 h 44952"/>
                <a:gd name="connsiteX6" fmla="*/ 207664 w 207663"/>
                <a:gd name="connsiteY6" fmla="*/ 41729 h 44952"/>
                <a:gd name="connsiteX7" fmla="*/ 201216 w 207663"/>
                <a:gd name="connsiteY7" fmla="*/ 44953 h 4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663" h="44952">
                  <a:moveTo>
                    <a:pt x="201216" y="44953"/>
                  </a:moveTo>
                  <a:cubicBezTo>
                    <a:pt x="201216" y="44953"/>
                    <a:pt x="197992" y="44953"/>
                    <a:pt x="201216" y="44953"/>
                  </a:cubicBezTo>
                  <a:cubicBezTo>
                    <a:pt x="197992" y="44953"/>
                    <a:pt x="81932" y="-13077"/>
                    <a:pt x="11007" y="32057"/>
                  </a:cubicBezTo>
                  <a:cubicBezTo>
                    <a:pt x="7783" y="35281"/>
                    <a:pt x="4559" y="32057"/>
                    <a:pt x="1335" y="28833"/>
                  </a:cubicBezTo>
                  <a:cubicBezTo>
                    <a:pt x="-1889" y="25610"/>
                    <a:pt x="1335" y="22386"/>
                    <a:pt x="4559" y="19162"/>
                  </a:cubicBezTo>
                  <a:cubicBezTo>
                    <a:pt x="81932" y="-29196"/>
                    <a:pt x="201216" y="28833"/>
                    <a:pt x="204440" y="32057"/>
                  </a:cubicBezTo>
                  <a:cubicBezTo>
                    <a:pt x="207664" y="32057"/>
                    <a:pt x="207664" y="38505"/>
                    <a:pt x="207664" y="41729"/>
                  </a:cubicBezTo>
                  <a:cubicBezTo>
                    <a:pt x="204440" y="41729"/>
                    <a:pt x="204440" y="44953"/>
                    <a:pt x="201216" y="44953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DFE539CA-C802-488E-AEC3-FB3CD6864ABB}"/>
                </a:ext>
              </a:extLst>
            </p:cNvPr>
            <p:cNvSpPr/>
            <p:nvPr/>
          </p:nvSpPr>
          <p:spPr>
            <a:xfrm>
              <a:off x="8851940" y="2649202"/>
              <a:ext cx="894043" cy="1311412"/>
            </a:xfrm>
            <a:custGeom>
              <a:avLst/>
              <a:gdLst>
                <a:gd name="connsiteX0" fmla="*/ 561983 w 894043"/>
                <a:gd name="connsiteY0" fmla="*/ 0 h 1311412"/>
                <a:gd name="connsiteX1" fmla="*/ 320192 w 894043"/>
                <a:gd name="connsiteY1" fmla="*/ 0 h 1311412"/>
                <a:gd name="connsiteX2" fmla="*/ 71953 w 894043"/>
                <a:gd name="connsiteY2" fmla="*/ 109612 h 1311412"/>
                <a:gd name="connsiteX3" fmla="*/ 1028 w 894043"/>
                <a:gd name="connsiteY3" fmla="*/ 1286328 h 1311412"/>
                <a:gd name="connsiteX4" fmla="*/ 894043 w 894043"/>
                <a:gd name="connsiteY4" fmla="*/ 1266985 h 1311412"/>
                <a:gd name="connsiteX5" fmla="*/ 797327 w 894043"/>
                <a:gd name="connsiteY5" fmla="*/ 87045 h 1311412"/>
                <a:gd name="connsiteX6" fmla="*/ 561983 w 894043"/>
                <a:gd name="connsiteY6" fmla="*/ 0 h 1311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043" h="1311412">
                  <a:moveTo>
                    <a:pt x="561983" y="0"/>
                  </a:moveTo>
                  <a:cubicBezTo>
                    <a:pt x="561983" y="0"/>
                    <a:pt x="416909" y="48358"/>
                    <a:pt x="320192" y="0"/>
                  </a:cubicBezTo>
                  <a:cubicBezTo>
                    <a:pt x="320192" y="0"/>
                    <a:pt x="91297" y="83821"/>
                    <a:pt x="71953" y="109612"/>
                  </a:cubicBezTo>
                  <a:cubicBezTo>
                    <a:pt x="52610" y="135403"/>
                    <a:pt x="-8644" y="1228299"/>
                    <a:pt x="1028" y="1286328"/>
                  </a:cubicBezTo>
                  <a:cubicBezTo>
                    <a:pt x="1028" y="1286328"/>
                    <a:pt x="413685" y="1354030"/>
                    <a:pt x="894043" y="1266985"/>
                  </a:cubicBezTo>
                  <a:cubicBezTo>
                    <a:pt x="894043" y="970388"/>
                    <a:pt x="832790" y="116060"/>
                    <a:pt x="797327" y="87045"/>
                  </a:cubicBezTo>
                  <a:cubicBezTo>
                    <a:pt x="761864" y="58030"/>
                    <a:pt x="561983" y="0"/>
                    <a:pt x="561983" y="0"/>
                  </a:cubicBezTo>
                  <a:close/>
                </a:path>
              </a:pathLst>
            </a:custGeom>
            <a:solidFill>
              <a:srgbClr val="70868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C72EF9AA-208D-4DDC-AA3A-A105273C6D1D}"/>
                </a:ext>
              </a:extLst>
            </p:cNvPr>
            <p:cNvSpPr/>
            <p:nvPr/>
          </p:nvSpPr>
          <p:spPr>
            <a:xfrm>
              <a:off x="8881983" y="2751031"/>
              <a:ext cx="46469" cy="623544"/>
            </a:xfrm>
            <a:custGeom>
              <a:avLst/>
              <a:gdLst>
                <a:gd name="connsiteX0" fmla="*/ 6448 w 46469"/>
                <a:gd name="connsiteY0" fmla="*/ 623544 h 623544"/>
                <a:gd name="connsiteX1" fmla="*/ 6448 w 46469"/>
                <a:gd name="connsiteY1" fmla="*/ 623544 h 623544"/>
                <a:gd name="connsiteX2" fmla="*/ 0 w 46469"/>
                <a:gd name="connsiteY2" fmla="*/ 617097 h 623544"/>
                <a:gd name="connsiteX3" fmla="*/ 35463 w 46469"/>
                <a:gd name="connsiteY3" fmla="*/ 4559 h 623544"/>
                <a:gd name="connsiteX4" fmla="*/ 41911 w 46469"/>
                <a:gd name="connsiteY4" fmla="*/ 1335 h 623544"/>
                <a:gd name="connsiteX5" fmla="*/ 45135 w 46469"/>
                <a:gd name="connsiteY5" fmla="*/ 7783 h 623544"/>
                <a:gd name="connsiteX6" fmla="*/ 9672 w 46469"/>
                <a:gd name="connsiteY6" fmla="*/ 617097 h 623544"/>
                <a:gd name="connsiteX7" fmla="*/ 6448 w 46469"/>
                <a:gd name="connsiteY7" fmla="*/ 623544 h 623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469" h="623544">
                  <a:moveTo>
                    <a:pt x="6448" y="623544"/>
                  </a:moveTo>
                  <a:cubicBezTo>
                    <a:pt x="3224" y="623544"/>
                    <a:pt x="3224" y="623544"/>
                    <a:pt x="6448" y="623544"/>
                  </a:cubicBezTo>
                  <a:cubicBezTo>
                    <a:pt x="3224" y="623544"/>
                    <a:pt x="0" y="620321"/>
                    <a:pt x="0" y="617097"/>
                  </a:cubicBezTo>
                  <a:cubicBezTo>
                    <a:pt x="0" y="594529"/>
                    <a:pt x="29015" y="40022"/>
                    <a:pt x="35463" y="4559"/>
                  </a:cubicBezTo>
                  <a:cubicBezTo>
                    <a:pt x="35463" y="1335"/>
                    <a:pt x="38686" y="-1889"/>
                    <a:pt x="41911" y="1335"/>
                  </a:cubicBezTo>
                  <a:cubicBezTo>
                    <a:pt x="45135" y="1335"/>
                    <a:pt x="48358" y="4559"/>
                    <a:pt x="45135" y="7783"/>
                  </a:cubicBezTo>
                  <a:cubicBezTo>
                    <a:pt x="38686" y="40022"/>
                    <a:pt x="9672" y="610649"/>
                    <a:pt x="9672" y="617097"/>
                  </a:cubicBezTo>
                  <a:cubicBezTo>
                    <a:pt x="9672" y="620321"/>
                    <a:pt x="6448" y="623544"/>
                    <a:pt x="6448" y="623544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810971CB-AF81-4866-8FCB-D7C55456E52A}"/>
                </a:ext>
              </a:extLst>
            </p:cNvPr>
            <p:cNvSpPr/>
            <p:nvPr/>
          </p:nvSpPr>
          <p:spPr>
            <a:xfrm>
              <a:off x="9163267" y="2472695"/>
              <a:ext cx="128149" cy="31432"/>
            </a:xfrm>
            <a:custGeom>
              <a:avLst/>
              <a:gdLst>
                <a:gd name="connsiteX0" fmla="*/ 60448 w 128149"/>
                <a:gd name="connsiteY0" fmla="*/ 31433 h 31432"/>
                <a:gd name="connsiteX1" fmla="*/ 2418 w 128149"/>
                <a:gd name="connsiteY1" fmla="*/ 12090 h 31432"/>
                <a:gd name="connsiteX2" fmla="*/ 2418 w 128149"/>
                <a:gd name="connsiteY2" fmla="*/ 2418 h 31432"/>
                <a:gd name="connsiteX3" fmla="*/ 12090 w 128149"/>
                <a:gd name="connsiteY3" fmla="*/ 2418 h 31432"/>
                <a:gd name="connsiteX4" fmla="*/ 118478 w 128149"/>
                <a:gd name="connsiteY4" fmla="*/ 5642 h 31432"/>
                <a:gd name="connsiteX5" fmla="*/ 128149 w 128149"/>
                <a:gd name="connsiteY5" fmla="*/ 8866 h 31432"/>
                <a:gd name="connsiteX6" fmla="*/ 124926 w 128149"/>
                <a:gd name="connsiteY6" fmla="*/ 18537 h 31432"/>
                <a:gd name="connsiteX7" fmla="*/ 60448 w 128149"/>
                <a:gd name="connsiteY7" fmla="*/ 31433 h 3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8149" h="31432">
                  <a:moveTo>
                    <a:pt x="60448" y="31433"/>
                  </a:moveTo>
                  <a:cubicBezTo>
                    <a:pt x="41105" y="31433"/>
                    <a:pt x="21762" y="28209"/>
                    <a:pt x="2418" y="12090"/>
                  </a:cubicBezTo>
                  <a:cubicBezTo>
                    <a:pt x="-806" y="8866"/>
                    <a:pt x="-806" y="5642"/>
                    <a:pt x="2418" y="2418"/>
                  </a:cubicBezTo>
                  <a:cubicBezTo>
                    <a:pt x="5642" y="-806"/>
                    <a:pt x="8866" y="-806"/>
                    <a:pt x="12090" y="2418"/>
                  </a:cubicBezTo>
                  <a:cubicBezTo>
                    <a:pt x="50776" y="34657"/>
                    <a:pt x="118478" y="5642"/>
                    <a:pt x="118478" y="5642"/>
                  </a:cubicBezTo>
                  <a:cubicBezTo>
                    <a:pt x="121702" y="5642"/>
                    <a:pt x="124926" y="5642"/>
                    <a:pt x="128149" y="8866"/>
                  </a:cubicBezTo>
                  <a:cubicBezTo>
                    <a:pt x="128149" y="12090"/>
                    <a:pt x="128149" y="15313"/>
                    <a:pt x="124926" y="18537"/>
                  </a:cubicBezTo>
                  <a:cubicBezTo>
                    <a:pt x="121702" y="18537"/>
                    <a:pt x="92687" y="31433"/>
                    <a:pt x="60448" y="31433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A465F319-D4CC-4A28-9E21-FFD058C4FE93}"/>
                </a:ext>
              </a:extLst>
            </p:cNvPr>
            <p:cNvSpPr/>
            <p:nvPr/>
          </p:nvSpPr>
          <p:spPr>
            <a:xfrm>
              <a:off x="9755655" y="2894217"/>
              <a:ext cx="571729" cy="925253"/>
            </a:xfrm>
            <a:custGeom>
              <a:avLst/>
              <a:gdLst>
                <a:gd name="connsiteX0" fmla="*/ 0 w 571729"/>
                <a:gd name="connsiteY0" fmla="*/ 161194 h 925253"/>
                <a:gd name="connsiteX1" fmla="*/ 344955 w 571729"/>
                <a:gd name="connsiteY1" fmla="*/ 454567 h 925253"/>
                <a:gd name="connsiteX2" fmla="*/ 109612 w 571729"/>
                <a:gd name="connsiteY2" fmla="*/ 847881 h 925253"/>
                <a:gd name="connsiteX3" fmla="*/ 190209 w 571729"/>
                <a:gd name="connsiteY3" fmla="*/ 925254 h 925253"/>
                <a:gd name="connsiteX4" fmla="*/ 570627 w 571729"/>
                <a:gd name="connsiteY4" fmla="*/ 422328 h 925253"/>
                <a:gd name="connsiteX5" fmla="*/ 161194 w 571729"/>
                <a:gd name="connsiteY5" fmla="*/ 0 h 925253"/>
                <a:gd name="connsiteX6" fmla="*/ 0 w 571729"/>
                <a:gd name="connsiteY6" fmla="*/ 161194 h 92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729" h="925253">
                  <a:moveTo>
                    <a:pt x="0" y="161194"/>
                  </a:moveTo>
                  <a:lnTo>
                    <a:pt x="344955" y="454567"/>
                  </a:lnTo>
                  <a:lnTo>
                    <a:pt x="109612" y="847881"/>
                  </a:lnTo>
                  <a:lnTo>
                    <a:pt x="190209" y="925254"/>
                  </a:lnTo>
                  <a:cubicBezTo>
                    <a:pt x="190209" y="925254"/>
                    <a:pt x="548060" y="528716"/>
                    <a:pt x="570627" y="422328"/>
                  </a:cubicBezTo>
                  <a:cubicBezTo>
                    <a:pt x="596418" y="319164"/>
                    <a:pt x="161194" y="0"/>
                    <a:pt x="161194" y="0"/>
                  </a:cubicBezTo>
                  <a:lnTo>
                    <a:pt x="0" y="161194"/>
                  </a:ln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0638DDE7-A5E6-48DA-ADDF-02C0C7F93322}"/>
                </a:ext>
              </a:extLst>
            </p:cNvPr>
            <p:cNvSpPr/>
            <p:nvPr/>
          </p:nvSpPr>
          <p:spPr>
            <a:xfrm>
              <a:off x="9816908" y="3106993"/>
              <a:ext cx="341731" cy="248238"/>
            </a:xfrm>
            <a:custGeom>
              <a:avLst/>
              <a:gdLst>
                <a:gd name="connsiteX0" fmla="*/ 283702 w 341731"/>
                <a:gd name="connsiteY0" fmla="*/ 248239 h 248238"/>
                <a:gd name="connsiteX1" fmla="*/ 280478 w 341731"/>
                <a:gd name="connsiteY1" fmla="*/ 248239 h 248238"/>
                <a:gd name="connsiteX2" fmla="*/ 0 w 341731"/>
                <a:gd name="connsiteY2" fmla="*/ 9672 h 248238"/>
                <a:gd name="connsiteX3" fmla="*/ 6448 w 341731"/>
                <a:gd name="connsiteY3" fmla="*/ 0 h 248238"/>
                <a:gd name="connsiteX4" fmla="*/ 283702 w 341731"/>
                <a:gd name="connsiteY4" fmla="*/ 238567 h 248238"/>
                <a:gd name="connsiteX5" fmla="*/ 335284 w 341731"/>
                <a:gd name="connsiteY5" fmla="*/ 228895 h 248238"/>
                <a:gd name="connsiteX6" fmla="*/ 341732 w 341731"/>
                <a:gd name="connsiteY6" fmla="*/ 232119 h 248238"/>
                <a:gd name="connsiteX7" fmla="*/ 338507 w 341731"/>
                <a:gd name="connsiteY7" fmla="*/ 238567 h 248238"/>
                <a:gd name="connsiteX8" fmla="*/ 283702 w 341731"/>
                <a:gd name="connsiteY8" fmla="*/ 248239 h 248238"/>
                <a:gd name="connsiteX9" fmla="*/ 283702 w 341731"/>
                <a:gd name="connsiteY9" fmla="*/ 248239 h 24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1731" h="248238">
                  <a:moveTo>
                    <a:pt x="283702" y="248239"/>
                  </a:moveTo>
                  <a:cubicBezTo>
                    <a:pt x="283702" y="248239"/>
                    <a:pt x="280478" y="248239"/>
                    <a:pt x="280478" y="248239"/>
                  </a:cubicBezTo>
                  <a:cubicBezTo>
                    <a:pt x="206329" y="183761"/>
                    <a:pt x="0" y="9672"/>
                    <a:pt x="0" y="9672"/>
                  </a:cubicBezTo>
                  <a:lnTo>
                    <a:pt x="6448" y="0"/>
                  </a:lnTo>
                  <a:cubicBezTo>
                    <a:pt x="6448" y="0"/>
                    <a:pt x="206329" y="170866"/>
                    <a:pt x="283702" y="238567"/>
                  </a:cubicBezTo>
                  <a:cubicBezTo>
                    <a:pt x="293373" y="238567"/>
                    <a:pt x="322388" y="232119"/>
                    <a:pt x="335284" y="228895"/>
                  </a:cubicBezTo>
                  <a:cubicBezTo>
                    <a:pt x="338507" y="228895"/>
                    <a:pt x="341732" y="228895"/>
                    <a:pt x="341732" y="232119"/>
                  </a:cubicBezTo>
                  <a:cubicBezTo>
                    <a:pt x="341732" y="235343"/>
                    <a:pt x="341732" y="238567"/>
                    <a:pt x="338507" y="238567"/>
                  </a:cubicBezTo>
                  <a:cubicBezTo>
                    <a:pt x="322388" y="245015"/>
                    <a:pt x="283702" y="248239"/>
                    <a:pt x="283702" y="248239"/>
                  </a:cubicBezTo>
                  <a:cubicBezTo>
                    <a:pt x="283702" y="248239"/>
                    <a:pt x="283702" y="248239"/>
                    <a:pt x="283702" y="248239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938B33B4-F7E4-4FF9-BC71-2BA22DF5D480}"/>
                </a:ext>
              </a:extLst>
            </p:cNvPr>
            <p:cNvSpPr/>
            <p:nvPr/>
          </p:nvSpPr>
          <p:spPr>
            <a:xfrm>
              <a:off x="9491013" y="2709672"/>
              <a:ext cx="493536" cy="448903"/>
            </a:xfrm>
            <a:custGeom>
              <a:avLst/>
              <a:gdLst>
                <a:gd name="connsiteX0" fmla="*/ 493537 w 493536"/>
                <a:gd name="connsiteY0" fmla="*/ 190993 h 448903"/>
                <a:gd name="connsiteX1" fmla="*/ 22851 w 493536"/>
                <a:gd name="connsiteY1" fmla="*/ 13679 h 448903"/>
                <a:gd name="connsiteX2" fmla="*/ 251746 w 493536"/>
                <a:gd name="connsiteY2" fmla="*/ 448903 h 448903"/>
                <a:gd name="connsiteX3" fmla="*/ 493537 w 493536"/>
                <a:gd name="connsiteY3" fmla="*/ 190993 h 448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3536" h="448903">
                  <a:moveTo>
                    <a:pt x="493537" y="190993"/>
                  </a:moveTo>
                  <a:cubicBezTo>
                    <a:pt x="493537" y="190993"/>
                    <a:pt x="119567" y="-60470"/>
                    <a:pt x="22851" y="13679"/>
                  </a:cubicBezTo>
                  <a:cubicBezTo>
                    <a:pt x="-89985" y="100724"/>
                    <a:pt x="251746" y="448903"/>
                    <a:pt x="251746" y="448903"/>
                  </a:cubicBezTo>
                  <a:cubicBezTo>
                    <a:pt x="251746" y="448903"/>
                    <a:pt x="419388" y="352187"/>
                    <a:pt x="493537" y="190993"/>
                  </a:cubicBezTo>
                  <a:close/>
                </a:path>
              </a:pathLst>
            </a:custGeom>
            <a:solidFill>
              <a:srgbClr val="70868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B2F5DCCB-0CD0-4541-855F-412E384DD3A2}"/>
                </a:ext>
              </a:extLst>
            </p:cNvPr>
            <p:cNvSpPr/>
            <p:nvPr/>
          </p:nvSpPr>
          <p:spPr>
            <a:xfrm>
              <a:off x="9493560" y="2716904"/>
              <a:ext cx="354781" cy="451343"/>
            </a:xfrm>
            <a:custGeom>
              <a:avLst/>
              <a:gdLst>
                <a:gd name="connsiteX0" fmla="*/ 249199 w 354781"/>
                <a:gd name="connsiteY0" fmla="*/ 451343 h 451343"/>
                <a:gd name="connsiteX1" fmla="*/ 245976 w 354781"/>
                <a:gd name="connsiteY1" fmla="*/ 448119 h 451343"/>
                <a:gd name="connsiteX2" fmla="*/ 55766 w 354781"/>
                <a:gd name="connsiteY2" fmla="*/ 212776 h 451343"/>
                <a:gd name="connsiteX3" fmla="*/ 17080 w 354781"/>
                <a:gd name="connsiteY3" fmla="*/ 3224 h 451343"/>
                <a:gd name="connsiteX4" fmla="*/ 26752 w 354781"/>
                <a:gd name="connsiteY4" fmla="*/ 0 h 451343"/>
                <a:gd name="connsiteX5" fmla="*/ 29976 w 354781"/>
                <a:gd name="connsiteY5" fmla="*/ 9672 h 451343"/>
                <a:gd name="connsiteX6" fmla="*/ 68662 w 354781"/>
                <a:gd name="connsiteY6" fmla="*/ 206328 h 451343"/>
                <a:gd name="connsiteX7" fmla="*/ 255647 w 354781"/>
                <a:gd name="connsiteY7" fmla="*/ 435224 h 451343"/>
                <a:gd name="connsiteX8" fmla="*/ 342692 w 354781"/>
                <a:gd name="connsiteY8" fmla="*/ 370746 h 451343"/>
                <a:gd name="connsiteX9" fmla="*/ 352364 w 354781"/>
                <a:gd name="connsiteY9" fmla="*/ 370746 h 451343"/>
                <a:gd name="connsiteX10" fmla="*/ 352364 w 354781"/>
                <a:gd name="connsiteY10" fmla="*/ 380418 h 451343"/>
                <a:gd name="connsiteX11" fmla="*/ 258871 w 354781"/>
                <a:gd name="connsiteY11" fmla="*/ 448119 h 451343"/>
                <a:gd name="connsiteX12" fmla="*/ 249199 w 354781"/>
                <a:gd name="connsiteY12" fmla="*/ 451343 h 451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4781" h="451343">
                  <a:moveTo>
                    <a:pt x="249199" y="451343"/>
                  </a:moveTo>
                  <a:lnTo>
                    <a:pt x="245976" y="448119"/>
                  </a:lnTo>
                  <a:cubicBezTo>
                    <a:pt x="245976" y="448119"/>
                    <a:pt x="146035" y="335284"/>
                    <a:pt x="55766" y="212776"/>
                  </a:cubicBezTo>
                  <a:cubicBezTo>
                    <a:pt x="-37726" y="87045"/>
                    <a:pt x="13856" y="6448"/>
                    <a:pt x="17080" y="3224"/>
                  </a:cubicBezTo>
                  <a:cubicBezTo>
                    <a:pt x="20304" y="0"/>
                    <a:pt x="23528" y="0"/>
                    <a:pt x="26752" y="0"/>
                  </a:cubicBezTo>
                  <a:cubicBezTo>
                    <a:pt x="29976" y="3224"/>
                    <a:pt x="29976" y="6448"/>
                    <a:pt x="29976" y="9672"/>
                  </a:cubicBezTo>
                  <a:cubicBezTo>
                    <a:pt x="26752" y="12896"/>
                    <a:pt x="-18382" y="87045"/>
                    <a:pt x="68662" y="206328"/>
                  </a:cubicBezTo>
                  <a:cubicBezTo>
                    <a:pt x="149259" y="315940"/>
                    <a:pt x="239528" y="415881"/>
                    <a:pt x="255647" y="435224"/>
                  </a:cubicBezTo>
                  <a:cubicBezTo>
                    <a:pt x="268543" y="428776"/>
                    <a:pt x="310453" y="402985"/>
                    <a:pt x="342692" y="370746"/>
                  </a:cubicBezTo>
                  <a:cubicBezTo>
                    <a:pt x="345916" y="367522"/>
                    <a:pt x="349140" y="367522"/>
                    <a:pt x="352364" y="370746"/>
                  </a:cubicBezTo>
                  <a:cubicBezTo>
                    <a:pt x="355587" y="373970"/>
                    <a:pt x="355587" y="377194"/>
                    <a:pt x="352364" y="380418"/>
                  </a:cubicBezTo>
                  <a:cubicBezTo>
                    <a:pt x="313677" y="419105"/>
                    <a:pt x="262095" y="448119"/>
                    <a:pt x="258871" y="448119"/>
                  </a:cubicBezTo>
                  <a:lnTo>
                    <a:pt x="249199" y="451343"/>
                  </a:ln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9E6ED780-7034-4089-BD7D-0C0F7E2C2DAE}"/>
                </a:ext>
              </a:extLst>
            </p:cNvPr>
            <p:cNvSpPr/>
            <p:nvPr/>
          </p:nvSpPr>
          <p:spPr>
            <a:xfrm>
              <a:off x="7973457" y="3459959"/>
              <a:ext cx="234735" cy="171418"/>
            </a:xfrm>
            <a:custGeom>
              <a:avLst/>
              <a:gdLst>
                <a:gd name="connsiteX0" fmla="*/ 102556 w 234735"/>
                <a:gd name="connsiteY0" fmla="*/ 166079 h 171418"/>
                <a:gd name="connsiteX1" fmla="*/ 218616 w 234735"/>
                <a:gd name="connsiteY1" fmla="*/ 156408 h 171418"/>
                <a:gd name="connsiteX2" fmla="*/ 234735 w 234735"/>
                <a:gd name="connsiteY2" fmla="*/ 40348 h 171418"/>
                <a:gd name="connsiteX3" fmla="*/ 5840 w 234735"/>
                <a:gd name="connsiteY3" fmla="*/ 17781 h 171418"/>
                <a:gd name="connsiteX4" fmla="*/ 9064 w 234735"/>
                <a:gd name="connsiteY4" fmla="*/ 59691 h 171418"/>
                <a:gd name="connsiteX5" fmla="*/ 9064 w 234735"/>
                <a:gd name="connsiteY5" fmla="*/ 108049 h 171418"/>
                <a:gd name="connsiteX6" fmla="*/ 31631 w 234735"/>
                <a:gd name="connsiteY6" fmla="*/ 130617 h 171418"/>
                <a:gd name="connsiteX7" fmla="*/ 67094 w 234735"/>
                <a:gd name="connsiteY7" fmla="*/ 159632 h 171418"/>
                <a:gd name="connsiteX8" fmla="*/ 102556 w 234735"/>
                <a:gd name="connsiteY8" fmla="*/ 166079 h 17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4735" h="171418">
                  <a:moveTo>
                    <a:pt x="102556" y="166079"/>
                  </a:moveTo>
                  <a:cubicBezTo>
                    <a:pt x="138019" y="162855"/>
                    <a:pt x="192825" y="185423"/>
                    <a:pt x="218616" y="156408"/>
                  </a:cubicBezTo>
                  <a:cubicBezTo>
                    <a:pt x="234735" y="137064"/>
                    <a:pt x="234735" y="40348"/>
                    <a:pt x="234735" y="40348"/>
                  </a:cubicBezTo>
                  <a:cubicBezTo>
                    <a:pt x="202497" y="-24130"/>
                    <a:pt x="60646" y="4885"/>
                    <a:pt x="5840" y="17781"/>
                  </a:cubicBezTo>
                  <a:cubicBezTo>
                    <a:pt x="-3832" y="21005"/>
                    <a:pt x="-608" y="56467"/>
                    <a:pt x="9064" y="59691"/>
                  </a:cubicBezTo>
                  <a:cubicBezTo>
                    <a:pt x="25183" y="62915"/>
                    <a:pt x="5840" y="98378"/>
                    <a:pt x="9064" y="108049"/>
                  </a:cubicBezTo>
                  <a:cubicBezTo>
                    <a:pt x="12287" y="117721"/>
                    <a:pt x="28407" y="130617"/>
                    <a:pt x="31631" y="130617"/>
                  </a:cubicBezTo>
                  <a:cubicBezTo>
                    <a:pt x="41303" y="143512"/>
                    <a:pt x="63870" y="149960"/>
                    <a:pt x="67094" y="159632"/>
                  </a:cubicBezTo>
                  <a:cubicBezTo>
                    <a:pt x="73541" y="169303"/>
                    <a:pt x="79989" y="169303"/>
                    <a:pt x="102556" y="166079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7" name="图形 1">
              <a:extLst>
                <a:ext uri="{FF2B5EF4-FFF2-40B4-BE49-F238E27FC236}">
                  <a16:creationId xmlns:a16="http://schemas.microsoft.com/office/drawing/2014/main" id="{0CE540B5-BA07-4234-AB09-E4698FCCAC5A}"/>
                </a:ext>
              </a:extLst>
            </p:cNvPr>
            <p:cNvGrpSpPr/>
            <p:nvPr/>
          </p:nvGrpSpPr>
          <p:grpSpPr>
            <a:xfrm>
              <a:off x="7927715" y="3464483"/>
              <a:ext cx="190208" cy="168502"/>
              <a:chOff x="7927715" y="3464483"/>
              <a:chExt cx="190208" cy="168502"/>
            </a:xfrm>
          </p:grpSpPr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0796D17B-C896-4B6F-88B0-9D61E84E4400}"/>
                  </a:ext>
                </a:extLst>
              </p:cNvPr>
              <p:cNvSpPr/>
              <p:nvPr/>
            </p:nvSpPr>
            <p:spPr>
              <a:xfrm>
                <a:off x="7927715" y="3468068"/>
                <a:ext cx="138626" cy="76033"/>
              </a:xfrm>
              <a:custGeom>
                <a:avLst/>
                <a:gdLst>
                  <a:gd name="connsiteX0" fmla="*/ 3224 w 138626"/>
                  <a:gd name="connsiteY0" fmla="*/ 38687 h 76033"/>
                  <a:gd name="connsiteX1" fmla="*/ 80597 w 138626"/>
                  <a:gd name="connsiteY1" fmla="*/ 6448 h 76033"/>
                  <a:gd name="connsiteX2" fmla="*/ 93493 w 138626"/>
                  <a:gd name="connsiteY2" fmla="*/ 0 h 76033"/>
                  <a:gd name="connsiteX3" fmla="*/ 109612 w 138626"/>
                  <a:gd name="connsiteY3" fmla="*/ 0 h 76033"/>
                  <a:gd name="connsiteX4" fmla="*/ 138627 w 138626"/>
                  <a:gd name="connsiteY4" fmla="*/ 29015 h 76033"/>
                  <a:gd name="connsiteX5" fmla="*/ 106388 w 138626"/>
                  <a:gd name="connsiteY5" fmla="*/ 54806 h 76033"/>
                  <a:gd name="connsiteX6" fmla="*/ 54806 w 138626"/>
                  <a:gd name="connsiteY6" fmla="*/ 70925 h 76033"/>
                  <a:gd name="connsiteX7" fmla="*/ 12896 w 138626"/>
                  <a:gd name="connsiteY7" fmla="*/ 70925 h 76033"/>
                  <a:gd name="connsiteX8" fmla="*/ 3224 w 138626"/>
                  <a:gd name="connsiteY8" fmla="*/ 38687 h 76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626" h="76033">
                    <a:moveTo>
                      <a:pt x="3224" y="38687"/>
                    </a:moveTo>
                    <a:cubicBezTo>
                      <a:pt x="19343" y="19343"/>
                      <a:pt x="51582" y="16119"/>
                      <a:pt x="80597" y="6448"/>
                    </a:cubicBezTo>
                    <a:cubicBezTo>
                      <a:pt x="83821" y="6448"/>
                      <a:pt x="90268" y="0"/>
                      <a:pt x="93493" y="0"/>
                    </a:cubicBezTo>
                    <a:cubicBezTo>
                      <a:pt x="96717" y="0"/>
                      <a:pt x="103164" y="0"/>
                      <a:pt x="109612" y="0"/>
                    </a:cubicBezTo>
                    <a:cubicBezTo>
                      <a:pt x="122507" y="3224"/>
                      <a:pt x="138627" y="16119"/>
                      <a:pt x="138627" y="29015"/>
                    </a:cubicBezTo>
                    <a:cubicBezTo>
                      <a:pt x="138627" y="45134"/>
                      <a:pt x="119284" y="48358"/>
                      <a:pt x="106388" y="54806"/>
                    </a:cubicBezTo>
                    <a:cubicBezTo>
                      <a:pt x="90268" y="61254"/>
                      <a:pt x="70925" y="67701"/>
                      <a:pt x="54806" y="70925"/>
                    </a:cubicBezTo>
                    <a:cubicBezTo>
                      <a:pt x="41910" y="74149"/>
                      <a:pt x="25791" y="80597"/>
                      <a:pt x="12896" y="70925"/>
                    </a:cubicBezTo>
                    <a:cubicBezTo>
                      <a:pt x="0" y="64478"/>
                      <a:pt x="-3224" y="48358"/>
                      <a:pt x="3224" y="38687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8C7E944C-7FC0-4A6D-92FF-FB8B9CD84510}"/>
                  </a:ext>
                </a:extLst>
              </p:cNvPr>
              <p:cNvSpPr/>
              <p:nvPr/>
            </p:nvSpPr>
            <p:spPr>
              <a:xfrm>
                <a:off x="7961386" y="3503531"/>
                <a:ext cx="137193" cy="76033"/>
              </a:xfrm>
              <a:custGeom>
                <a:avLst/>
                <a:gdLst>
                  <a:gd name="connsiteX0" fmla="*/ 1791 w 137193"/>
                  <a:gd name="connsiteY0" fmla="*/ 38687 h 76033"/>
                  <a:gd name="connsiteX1" fmla="*/ 85612 w 137193"/>
                  <a:gd name="connsiteY1" fmla="*/ 0 h 76033"/>
                  <a:gd name="connsiteX2" fmla="*/ 92060 w 137193"/>
                  <a:gd name="connsiteY2" fmla="*/ 0 h 76033"/>
                  <a:gd name="connsiteX3" fmla="*/ 108179 w 137193"/>
                  <a:gd name="connsiteY3" fmla="*/ 0 h 76033"/>
                  <a:gd name="connsiteX4" fmla="*/ 137194 w 137193"/>
                  <a:gd name="connsiteY4" fmla="*/ 29015 h 76033"/>
                  <a:gd name="connsiteX5" fmla="*/ 104955 w 137193"/>
                  <a:gd name="connsiteY5" fmla="*/ 54806 h 76033"/>
                  <a:gd name="connsiteX6" fmla="*/ 53373 w 137193"/>
                  <a:gd name="connsiteY6" fmla="*/ 70925 h 76033"/>
                  <a:gd name="connsiteX7" fmla="*/ 11463 w 137193"/>
                  <a:gd name="connsiteY7" fmla="*/ 70925 h 76033"/>
                  <a:gd name="connsiteX8" fmla="*/ 1791 w 137193"/>
                  <a:gd name="connsiteY8" fmla="*/ 38687 h 76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7193" h="76033">
                    <a:moveTo>
                      <a:pt x="1791" y="38687"/>
                    </a:moveTo>
                    <a:cubicBezTo>
                      <a:pt x="17910" y="9672"/>
                      <a:pt x="56597" y="9672"/>
                      <a:pt x="85612" y="0"/>
                    </a:cubicBezTo>
                    <a:cubicBezTo>
                      <a:pt x="88836" y="0"/>
                      <a:pt x="92060" y="0"/>
                      <a:pt x="92060" y="0"/>
                    </a:cubicBezTo>
                    <a:cubicBezTo>
                      <a:pt x="95284" y="0"/>
                      <a:pt x="101731" y="0"/>
                      <a:pt x="108179" y="0"/>
                    </a:cubicBezTo>
                    <a:cubicBezTo>
                      <a:pt x="121074" y="3224"/>
                      <a:pt x="137194" y="16119"/>
                      <a:pt x="137194" y="29015"/>
                    </a:cubicBezTo>
                    <a:cubicBezTo>
                      <a:pt x="137194" y="45134"/>
                      <a:pt x="117851" y="48358"/>
                      <a:pt x="104955" y="54806"/>
                    </a:cubicBezTo>
                    <a:cubicBezTo>
                      <a:pt x="88836" y="61254"/>
                      <a:pt x="69493" y="67702"/>
                      <a:pt x="53373" y="70925"/>
                    </a:cubicBezTo>
                    <a:cubicBezTo>
                      <a:pt x="40477" y="74149"/>
                      <a:pt x="24358" y="80597"/>
                      <a:pt x="11463" y="70925"/>
                    </a:cubicBezTo>
                    <a:cubicBezTo>
                      <a:pt x="-1433" y="61254"/>
                      <a:pt x="-1433" y="48358"/>
                      <a:pt x="1791" y="38687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DF661DCF-E566-40B9-A768-A2513D8B730B}"/>
                  </a:ext>
                </a:extLst>
              </p:cNvPr>
              <p:cNvSpPr/>
              <p:nvPr/>
            </p:nvSpPr>
            <p:spPr>
              <a:xfrm>
                <a:off x="7987177" y="3542217"/>
                <a:ext cx="117851" cy="69585"/>
              </a:xfrm>
              <a:custGeom>
                <a:avLst/>
                <a:gdLst>
                  <a:gd name="connsiteX0" fmla="*/ 1791 w 117851"/>
                  <a:gd name="connsiteY0" fmla="*/ 35463 h 69585"/>
                  <a:gd name="connsiteX1" fmla="*/ 72716 w 117851"/>
                  <a:gd name="connsiteY1" fmla="*/ 0 h 69585"/>
                  <a:gd name="connsiteX2" fmla="*/ 79164 w 117851"/>
                  <a:gd name="connsiteY2" fmla="*/ 0 h 69585"/>
                  <a:gd name="connsiteX3" fmla="*/ 92060 w 117851"/>
                  <a:gd name="connsiteY3" fmla="*/ 0 h 69585"/>
                  <a:gd name="connsiteX4" fmla="*/ 117851 w 117851"/>
                  <a:gd name="connsiteY4" fmla="*/ 25791 h 69585"/>
                  <a:gd name="connsiteX5" fmla="*/ 92060 w 117851"/>
                  <a:gd name="connsiteY5" fmla="*/ 48358 h 69585"/>
                  <a:gd name="connsiteX6" fmla="*/ 46925 w 117851"/>
                  <a:gd name="connsiteY6" fmla="*/ 64478 h 69585"/>
                  <a:gd name="connsiteX7" fmla="*/ 11463 w 117851"/>
                  <a:gd name="connsiteY7" fmla="*/ 64478 h 69585"/>
                  <a:gd name="connsiteX8" fmla="*/ 1791 w 117851"/>
                  <a:gd name="connsiteY8" fmla="*/ 35463 h 6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7851" h="69585">
                    <a:moveTo>
                      <a:pt x="1791" y="35463"/>
                    </a:moveTo>
                    <a:cubicBezTo>
                      <a:pt x="14686" y="9672"/>
                      <a:pt x="46925" y="9672"/>
                      <a:pt x="72716" y="0"/>
                    </a:cubicBezTo>
                    <a:cubicBezTo>
                      <a:pt x="75941" y="0"/>
                      <a:pt x="75941" y="0"/>
                      <a:pt x="79164" y="0"/>
                    </a:cubicBezTo>
                    <a:cubicBezTo>
                      <a:pt x="82388" y="0"/>
                      <a:pt x="88836" y="0"/>
                      <a:pt x="92060" y="0"/>
                    </a:cubicBezTo>
                    <a:cubicBezTo>
                      <a:pt x="104955" y="3224"/>
                      <a:pt x="114627" y="12896"/>
                      <a:pt x="117851" y="25791"/>
                    </a:cubicBezTo>
                    <a:cubicBezTo>
                      <a:pt x="117851" y="38687"/>
                      <a:pt x="101732" y="45134"/>
                      <a:pt x="92060" y="48358"/>
                    </a:cubicBezTo>
                    <a:cubicBezTo>
                      <a:pt x="75941" y="54806"/>
                      <a:pt x="63045" y="61254"/>
                      <a:pt x="46925" y="64478"/>
                    </a:cubicBezTo>
                    <a:cubicBezTo>
                      <a:pt x="37254" y="67701"/>
                      <a:pt x="24358" y="74149"/>
                      <a:pt x="11463" y="64478"/>
                    </a:cubicBezTo>
                    <a:cubicBezTo>
                      <a:pt x="-1433" y="54806"/>
                      <a:pt x="-1433" y="41910"/>
                      <a:pt x="1791" y="35463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FFAE4CF5-4166-430E-990F-B7AD31A73045}"/>
                  </a:ext>
                </a:extLst>
              </p:cNvPr>
              <p:cNvSpPr/>
              <p:nvPr/>
            </p:nvSpPr>
            <p:spPr>
              <a:xfrm>
                <a:off x="8016192" y="3580904"/>
                <a:ext cx="88836" cy="52080"/>
              </a:xfrm>
              <a:custGeom>
                <a:avLst/>
                <a:gdLst>
                  <a:gd name="connsiteX0" fmla="*/ 1791 w 88836"/>
                  <a:gd name="connsiteY0" fmla="*/ 25791 h 52080"/>
                  <a:gd name="connsiteX1" fmla="*/ 56597 w 88836"/>
                  <a:gd name="connsiteY1" fmla="*/ 0 h 52080"/>
                  <a:gd name="connsiteX2" fmla="*/ 59821 w 88836"/>
                  <a:gd name="connsiteY2" fmla="*/ 0 h 52080"/>
                  <a:gd name="connsiteX3" fmla="*/ 69493 w 88836"/>
                  <a:gd name="connsiteY3" fmla="*/ 0 h 52080"/>
                  <a:gd name="connsiteX4" fmla="*/ 88836 w 88836"/>
                  <a:gd name="connsiteY4" fmla="*/ 19343 h 52080"/>
                  <a:gd name="connsiteX5" fmla="*/ 69493 w 88836"/>
                  <a:gd name="connsiteY5" fmla="*/ 35463 h 52080"/>
                  <a:gd name="connsiteX6" fmla="*/ 37254 w 88836"/>
                  <a:gd name="connsiteY6" fmla="*/ 48358 h 52080"/>
                  <a:gd name="connsiteX7" fmla="*/ 11463 w 88836"/>
                  <a:gd name="connsiteY7" fmla="*/ 48358 h 52080"/>
                  <a:gd name="connsiteX8" fmla="*/ 1791 w 88836"/>
                  <a:gd name="connsiteY8" fmla="*/ 25791 h 52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8836" h="52080">
                    <a:moveTo>
                      <a:pt x="1791" y="25791"/>
                    </a:moveTo>
                    <a:cubicBezTo>
                      <a:pt x="11463" y="6448"/>
                      <a:pt x="37254" y="6448"/>
                      <a:pt x="56597" y="0"/>
                    </a:cubicBezTo>
                    <a:cubicBezTo>
                      <a:pt x="56597" y="0"/>
                      <a:pt x="59821" y="0"/>
                      <a:pt x="59821" y="0"/>
                    </a:cubicBezTo>
                    <a:cubicBezTo>
                      <a:pt x="63045" y="0"/>
                      <a:pt x="66268" y="0"/>
                      <a:pt x="69493" y="0"/>
                    </a:cubicBezTo>
                    <a:cubicBezTo>
                      <a:pt x="79164" y="3224"/>
                      <a:pt x="88836" y="9672"/>
                      <a:pt x="88836" y="19343"/>
                    </a:cubicBezTo>
                    <a:cubicBezTo>
                      <a:pt x="88836" y="29015"/>
                      <a:pt x="75940" y="32239"/>
                      <a:pt x="69493" y="35463"/>
                    </a:cubicBezTo>
                    <a:cubicBezTo>
                      <a:pt x="59821" y="38687"/>
                      <a:pt x="46925" y="45134"/>
                      <a:pt x="37254" y="48358"/>
                    </a:cubicBezTo>
                    <a:cubicBezTo>
                      <a:pt x="30806" y="51582"/>
                      <a:pt x="21134" y="54806"/>
                      <a:pt x="11463" y="48358"/>
                    </a:cubicBezTo>
                    <a:cubicBezTo>
                      <a:pt x="-1433" y="41910"/>
                      <a:pt x="-1433" y="32239"/>
                      <a:pt x="1791" y="2579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824C27A0-AF23-4BE4-9972-E025301A68CB}"/>
                  </a:ext>
                </a:extLst>
              </p:cNvPr>
              <p:cNvSpPr/>
              <p:nvPr/>
            </p:nvSpPr>
            <p:spPr>
              <a:xfrm>
                <a:off x="7951388" y="3464483"/>
                <a:ext cx="152321" cy="116421"/>
              </a:xfrm>
              <a:custGeom>
                <a:avLst/>
                <a:gdLst>
                  <a:gd name="connsiteX0" fmla="*/ 40804 w 152321"/>
                  <a:gd name="connsiteY0" fmla="*/ 116421 h 116421"/>
                  <a:gd name="connsiteX1" fmla="*/ 5341 w 152321"/>
                  <a:gd name="connsiteY1" fmla="*/ 100302 h 116421"/>
                  <a:gd name="connsiteX2" fmla="*/ 2117 w 152321"/>
                  <a:gd name="connsiteY2" fmla="*/ 80959 h 116421"/>
                  <a:gd name="connsiteX3" fmla="*/ 11789 w 152321"/>
                  <a:gd name="connsiteY3" fmla="*/ 71287 h 116421"/>
                  <a:gd name="connsiteX4" fmla="*/ 105282 w 152321"/>
                  <a:gd name="connsiteY4" fmla="*/ 35824 h 116421"/>
                  <a:gd name="connsiteX5" fmla="*/ 105282 w 152321"/>
                  <a:gd name="connsiteY5" fmla="*/ 22929 h 116421"/>
                  <a:gd name="connsiteX6" fmla="*/ 98834 w 152321"/>
                  <a:gd name="connsiteY6" fmla="*/ 16481 h 116421"/>
                  <a:gd name="connsiteX7" fmla="*/ 11789 w 152321"/>
                  <a:gd name="connsiteY7" fmla="*/ 32600 h 116421"/>
                  <a:gd name="connsiteX8" fmla="*/ 2117 w 152321"/>
                  <a:gd name="connsiteY8" fmla="*/ 29376 h 116421"/>
                  <a:gd name="connsiteX9" fmla="*/ 5341 w 152321"/>
                  <a:gd name="connsiteY9" fmla="*/ 19705 h 116421"/>
                  <a:gd name="connsiteX10" fmla="*/ 102058 w 152321"/>
                  <a:gd name="connsiteY10" fmla="*/ 3585 h 116421"/>
                  <a:gd name="connsiteX11" fmla="*/ 114953 w 152321"/>
                  <a:gd name="connsiteY11" fmla="*/ 16481 h 116421"/>
                  <a:gd name="connsiteX12" fmla="*/ 118177 w 152321"/>
                  <a:gd name="connsiteY12" fmla="*/ 26153 h 116421"/>
                  <a:gd name="connsiteX13" fmla="*/ 150416 w 152321"/>
                  <a:gd name="connsiteY13" fmla="*/ 55167 h 116421"/>
                  <a:gd name="connsiteX14" fmla="*/ 105282 w 152321"/>
                  <a:gd name="connsiteY14" fmla="*/ 97078 h 116421"/>
                  <a:gd name="connsiteX15" fmla="*/ 40804 w 152321"/>
                  <a:gd name="connsiteY15" fmla="*/ 116421 h 116421"/>
                  <a:gd name="connsiteX16" fmla="*/ 15013 w 152321"/>
                  <a:gd name="connsiteY16" fmla="*/ 84182 h 116421"/>
                  <a:gd name="connsiteX17" fmla="*/ 15013 w 152321"/>
                  <a:gd name="connsiteY17" fmla="*/ 84182 h 116421"/>
                  <a:gd name="connsiteX18" fmla="*/ 18237 w 152321"/>
                  <a:gd name="connsiteY18" fmla="*/ 93854 h 116421"/>
                  <a:gd name="connsiteX19" fmla="*/ 102058 w 152321"/>
                  <a:gd name="connsiteY19" fmla="*/ 90630 h 116421"/>
                  <a:gd name="connsiteX20" fmla="*/ 140744 w 152321"/>
                  <a:gd name="connsiteY20" fmla="*/ 64839 h 116421"/>
                  <a:gd name="connsiteX21" fmla="*/ 114953 w 152321"/>
                  <a:gd name="connsiteY21" fmla="*/ 45496 h 116421"/>
                  <a:gd name="connsiteX22" fmla="*/ 114953 w 152321"/>
                  <a:gd name="connsiteY22" fmla="*/ 45496 h 116421"/>
                  <a:gd name="connsiteX23" fmla="*/ 15013 w 152321"/>
                  <a:gd name="connsiteY23" fmla="*/ 84182 h 116421"/>
                  <a:gd name="connsiteX24" fmla="*/ 15013 w 152321"/>
                  <a:gd name="connsiteY24" fmla="*/ 84182 h 116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52321" h="116421">
                    <a:moveTo>
                      <a:pt x="40804" y="116421"/>
                    </a:moveTo>
                    <a:cubicBezTo>
                      <a:pt x="24685" y="116421"/>
                      <a:pt x="11789" y="113197"/>
                      <a:pt x="5341" y="100302"/>
                    </a:cubicBezTo>
                    <a:cubicBezTo>
                      <a:pt x="-1106" y="93854"/>
                      <a:pt x="-1106" y="84182"/>
                      <a:pt x="2117" y="80959"/>
                    </a:cubicBezTo>
                    <a:cubicBezTo>
                      <a:pt x="5341" y="74511"/>
                      <a:pt x="11789" y="71287"/>
                      <a:pt x="11789" y="71287"/>
                    </a:cubicBezTo>
                    <a:cubicBezTo>
                      <a:pt x="79491" y="58391"/>
                      <a:pt x="98834" y="45496"/>
                      <a:pt x="105282" y="35824"/>
                    </a:cubicBezTo>
                    <a:cubicBezTo>
                      <a:pt x="108506" y="32600"/>
                      <a:pt x="108506" y="29376"/>
                      <a:pt x="105282" y="22929"/>
                    </a:cubicBezTo>
                    <a:cubicBezTo>
                      <a:pt x="105282" y="19705"/>
                      <a:pt x="102058" y="16481"/>
                      <a:pt x="98834" y="16481"/>
                    </a:cubicBezTo>
                    <a:cubicBezTo>
                      <a:pt x="79491" y="6809"/>
                      <a:pt x="31133" y="26153"/>
                      <a:pt x="11789" y="32600"/>
                    </a:cubicBezTo>
                    <a:cubicBezTo>
                      <a:pt x="8566" y="32600"/>
                      <a:pt x="5341" y="32600"/>
                      <a:pt x="2117" y="29376"/>
                    </a:cubicBezTo>
                    <a:cubicBezTo>
                      <a:pt x="2117" y="26153"/>
                      <a:pt x="2117" y="22929"/>
                      <a:pt x="5341" y="19705"/>
                    </a:cubicBezTo>
                    <a:cubicBezTo>
                      <a:pt x="11789" y="16481"/>
                      <a:pt x="73043" y="-9310"/>
                      <a:pt x="102058" y="3585"/>
                    </a:cubicBezTo>
                    <a:cubicBezTo>
                      <a:pt x="108506" y="6809"/>
                      <a:pt x="111730" y="10033"/>
                      <a:pt x="114953" y="16481"/>
                    </a:cubicBezTo>
                    <a:cubicBezTo>
                      <a:pt x="114953" y="19705"/>
                      <a:pt x="118177" y="22929"/>
                      <a:pt x="118177" y="26153"/>
                    </a:cubicBezTo>
                    <a:cubicBezTo>
                      <a:pt x="121401" y="29376"/>
                      <a:pt x="147192" y="39048"/>
                      <a:pt x="150416" y="55167"/>
                    </a:cubicBezTo>
                    <a:cubicBezTo>
                      <a:pt x="160088" y="77735"/>
                      <a:pt x="131073" y="87406"/>
                      <a:pt x="105282" y="97078"/>
                    </a:cubicBezTo>
                    <a:cubicBezTo>
                      <a:pt x="85938" y="106750"/>
                      <a:pt x="60147" y="116421"/>
                      <a:pt x="40804" y="116421"/>
                    </a:cubicBezTo>
                    <a:close/>
                    <a:moveTo>
                      <a:pt x="15013" y="84182"/>
                    </a:moveTo>
                    <a:cubicBezTo>
                      <a:pt x="15013" y="84182"/>
                      <a:pt x="15013" y="84182"/>
                      <a:pt x="15013" y="84182"/>
                    </a:cubicBezTo>
                    <a:cubicBezTo>
                      <a:pt x="15013" y="87406"/>
                      <a:pt x="15013" y="90630"/>
                      <a:pt x="18237" y="93854"/>
                    </a:cubicBezTo>
                    <a:cubicBezTo>
                      <a:pt x="27909" y="106750"/>
                      <a:pt x="56924" y="106750"/>
                      <a:pt x="102058" y="90630"/>
                    </a:cubicBezTo>
                    <a:cubicBezTo>
                      <a:pt x="134297" y="77735"/>
                      <a:pt x="143968" y="71287"/>
                      <a:pt x="140744" y="64839"/>
                    </a:cubicBezTo>
                    <a:cubicBezTo>
                      <a:pt x="137521" y="55167"/>
                      <a:pt x="124625" y="48720"/>
                      <a:pt x="114953" y="45496"/>
                    </a:cubicBezTo>
                    <a:lnTo>
                      <a:pt x="114953" y="45496"/>
                    </a:lnTo>
                    <a:cubicBezTo>
                      <a:pt x="108506" y="51944"/>
                      <a:pt x="92386" y="68063"/>
                      <a:pt x="15013" y="84182"/>
                    </a:cubicBezTo>
                    <a:lnTo>
                      <a:pt x="15013" y="84182"/>
                    </a:ln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A83AFF1C-7FD9-4F8A-B14D-AD2BE988C30E}"/>
                  </a:ext>
                </a:extLst>
              </p:cNvPr>
              <p:cNvSpPr/>
              <p:nvPr/>
            </p:nvSpPr>
            <p:spPr>
              <a:xfrm>
                <a:off x="7982022" y="3530128"/>
                <a:ext cx="135901" cy="83014"/>
              </a:xfrm>
              <a:custGeom>
                <a:avLst/>
                <a:gdLst>
                  <a:gd name="connsiteX0" fmla="*/ 23066 w 135901"/>
                  <a:gd name="connsiteY0" fmla="*/ 83015 h 83014"/>
                  <a:gd name="connsiteX1" fmla="*/ 23066 w 135901"/>
                  <a:gd name="connsiteY1" fmla="*/ 83015 h 83014"/>
                  <a:gd name="connsiteX2" fmla="*/ 3722 w 135901"/>
                  <a:gd name="connsiteY2" fmla="*/ 70119 h 83014"/>
                  <a:gd name="connsiteX3" fmla="*/ 3722 w 135901"/>
                  <a:gd name="connsiteY3" fmla="*/ 41105 h 83014"/>
                  <a:gd name="connsiteX4" fmla="*/ 13394 w 135901"/>
                  <a:gd name="connsiteY4" fmla="*/ 37881 h 83014"/>
                  <a:gd name="connsiteX5" fmla="*/ 16618 w 135901"/>
                  <a:gd name="connsiteY5" fmla="*/ 47552 h 83014"/>
                  <a:gd name="connsiteX6" fmla="*/ 19842 w 135901"/>
                  <a:gd name="connsiteY6" fmla="*/ 63672 h 83014"/>
                  <a:gd name="connsiteX7" fmla="*/ 26290 w 135901"/>
                  <a:gd name="connsiteY7" fmla="*/ 70119 h 83014"/>
                  <a:gd name="connsiteX8" fmla="*/ 110111 w 135901"/>
                  <a:gd name="connsiteY8" fmla="*/ 44328 h 83014"/>
                  <a:gd name="connsiteX9" fmla="*/ 119782 w 135901"/>
                  <a:gd name="connsiteY9" fmla="*/ 31433 h 83014"/>
                  <a:gd name="connsiteX10" fmla="*/ 110111 w 135901"/>
                  <a:gd name="connsiteY10" fmla="*/ 12090 h 83014"/>
                  <a:gd name="connsiteX11" fmla="*/ 110111 w 135901"/>
                  <a:gd name="connsiteY11" fmla="*/ 2418 h 83014"/>
                  <a:gd name="connsiteX12" fmla="*/ 119782 w 135901"/>
                  <a:gd name="connsiteY12" fmla="*/ 2418 h 83014"/>
                  <a:gd name="connsiteX13" fmla="*/ 135902 w 135901"/>
                  <a:gd name="connsiteY13" fmla="*/ 31433 h 83014"/>
                  <a:gd name="connsiteX14" fmla="*/ 119782 w 135901"/>
                  <a:gd name="connsiteY14" fmla="*/ 54000 h 83014"/>
                  <a:gd name="connsiteX15" fmla="*/ 23066 w 135901"/>
                  <a:gd name="connsiteY15" fmla="*/ 83015 h 83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5901" h="83014">
                    <a:moveTo>
                      <a:pt x="23066" y="83015"/>
                    </a:moveTo>
                    <a:cubicBezTo>
                      <a:pt x="23066" y="83015"/>
                      <a:pt x="23066" y="83015"/>
                      <a:pt x="23066" y="83015"/>
                    </a:cubicBezTo>
                    <a:cubicBezTo>
                      <a:pt x="13394" y="83015"/>
                      <a:pt x="6947" y="76567"/>
                      <a:pt x="3722" y="70119"/>
                    </a:cubicBezTo>
                    <a:cubicBezTo>
                      <a:pt x="499" y="60448"/>
                      <a:pt x="-2725" y="50776"/>
                      <a:pt x="3722" y="41105"/>
                    </a:cubicBezTo>
                    <a:cubicBezTo>
                      <a:pt x="6947" y="37881"/>
                      <a:pt x="10171" y="37881"/>
                      <a:pt x="13394" y="37881"/>
                    </a:cubicBezTo>
                    <a:cubicBezTo>
                      <a:pt x="16618" y="41105"/>
                      <a:pt x="16618" y="44328"/>
                      <a:pt x="16618" y="47552"/>
                    </a:cubicBezTo>
                    <a:cubicBezTo>
                      <a:pt x="16618" y="47552"/>
                      <a:pt x="16618" y="57224"/>
                      <a:pt x="19842" y="63672"/>
                    </a:cubicBezTo>
                    <a:cubicBezTo>
                      <a:pt x="19842" y="66896"/>
                      <a:pt x="23066" y="70119"/>
                      <a:pt x="26290" y="70119"/>
                    </a:cubicBezTo>
                    <a:cubicBezTo>
                      <a:pt x="39185" y="70119"/>
                      <a:pt x="81096" y="63672"/>
                      <a:pt x="110111" y="44328"/>
                    </a:cubicBezTo>
                    <a:cubicBezTo>
                      <a:pt x="116558" y="41105"/>
                      <a:pt x="119782" y="34657"/>
                      <a:pt x="119782" y="31433"/>
                    </a:cubicBezTo>
                    <a:cubicBezTo>
                      <a:pt x="119782" y="24985"/>
                      <a:pt x="113335" y="15313"/>
                      <a:pt x="110111" y="12090"/>
                    </a:cubicBezTo>
                    <a:cubicBezTo>
                      <a:pt x="106887" y="8866"/>
                      <a:pt x="106887" y="5642"/>
                      <a:pt x="110111" y="2418"/>
                    </a:cubicBezTo>
                    <a:cubicBezTo>
                      <a:pt x="113335" y="-806"/>
                      <a:pt x="116558" y="-806"/>
                      <a:pt x="119782" y="2418"/>
                    </a:cubicBezTo>
                    <a:cubicBezTo>
                      <a:pt x="123006" y="2418"/>
                      <a:pt x="135902" y="15313"/>
                      <a:pt x="135902" y="31433"/>
                    </a:cubicBezTo>
                    <a:cubicBezTo>
                      <a:pt x="135902" y="41105"/>
                      <a:pt x="129454" y="47552"/>
                      <a:pt x="119782" y="54000"/>
                    </a:cubicBezTo>
                    <a:cubicBezTo>
                      <a:pt x="81096" y="76567"/>
                      <a:pt x="39185" y="83015"/>
                      <a:pt x="23066" y="8301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4" name="图形 1">
              <a:extLst>
                <a:ext uri="{FF2B5EF4-FFF2-40B4-BE49-F238E27FC236}">
                  <a16:creationId xmlns:a16="http://schemas.microsoft.com/office/drawing/2014/main" id="{0CE540B5-BA07-4234-AB09-E4698FCCAC5A}"/>
                </a:ext>
              </a:extLst>
            </p:cNvPr>
            <p:cNvGrpSpPr/>
            <p:nvPr/>
          </p:nvGrpSpPr>
          <p:grpSpPr>
            <a:xfrm>
              <a:off x="8030246" y="3461189"/>
              <a:ext cx="133429" cy="103595"/>
              <a:chOff x="8030246" y="3461189"/>
              <a:chExt cx="133429" cy="103595"/>
            </a:xfrm>
          </p:grpSpPr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475C42D7-E036-4E9C-B5CF-309F8941EE9E}"/>
                  </a:ext>
                </a:extLst>
              </p:cNvPr>
              <p:cNvSpPr/>
              <p:nvPr/>
            </p:nvSpPr>
            <p:spPr>
              <a:xfrm>
                <a:off x="8036782" y="3466151"/>
                <a:ext cx="126893" cy="92607"/>
              </a:xfrm>
              <a:custGeom>
                <a:avLst/>
                <a:gdLst>
                  <a:gd name="connsiteX0" fmla="*/ 10216 w 126893"/>
                  <a:gd name="connsiteY0" fmla="*/ 92186 h 92607"/>
                  <a:gd name="connsiteX1" fmla="*/ 26336 w 126893"/>
                  <a:gd name="connsiteY1" fmla="*/ 72842 h 92607"/>
                  <a:gd name="connsiteX2" fmla="*/ 74694 w 126893"/>
                  <a:gd name="connsiteY2" fmla="*/ 50275 h 92607"/>
                  <a:gd name="connsiteX3" fmla="*/ 126276 w 126893"/>
                  <a:gd name="connsiteY3" fmla="*/ 69618 h 92607"/>
                  <a:gd name="connsiteX4" fmla="*/ 103709 w 126893"/>
                  <a:gd name="connsiteY4" fmla="*/ 5141 h 92607"/>
                  <a:gd name="connsiteX5" fmla="*/ 10216 w 126893"/>
                  <a:gd name="connsiteY5" fmla="*/ 21260 h 92607"/>
                  <a:gd name="connsiteX6" fmla="*/ 10216 w 126893"/>
                  <a:gd name="connsiteY6" fmla="*/ 92186 h 92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6893" h="92607">
                    <a:moveTo>
                      <a:pt x="10216" y="92186"/>
                    </a:moveTo>
                    <a:cubicBezTo>
                      <a:pt x="19888" y="95409"/>
                      <a:pt x="23112" y="79290"/>
                      <a:pt x="26336" y="72842"/>
                    </a:cubicBezTo>
                    <a:cubicBezTo>
                      <a:pt x="42455" y="59947"/>
                      <a:pt x="55350" y="50275"/>
                      <a:pt x="74694" y="50275"/>
                    </a:cubicBezTo>
                    <a:cubicBezTo>
                      <a:pt x="87589" y="50275"/>
                      <a:pt x="113380" y="63171"/>
                      <a:pt x="126276" y="69618"/>
                    </a:cubicBezTo>
                    <a:cubicBezTo>
                      <a:pt x="129500" y="69618"/>
                      <a:pt x="119828" y="11588"/>
                      <a:pt x="103709" y="5141"/>
                    </a:cubicBezTo>
                    <a:cubicBezTo>
                      <a:pt x="77917" y="-4531"/>
                      <a:pt x="29559" y="-1307"/>
                      <a:pt x="10216" y="21260"/>
                    </a:cubicBezTo>
                    <a:cubicBezTo>
                      <a:pt x="3769" y="34156"/>
                      <a:pt x="-9127" y="85738"/>
                      <a:pt x="10216" y="9218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A44596B4-2EFE-41DB-A2BE-EAA2F54D09D0}"/>
                  </a:ext>
                </a:extLst>
              </p:cNvPr>
              <p:cNvSpPr/>
              <p:nvPr/>
            </p:nvSpPr>
            <p:spPr>
              <a:xfrm>
                <a:off x="8030246" y="3461189"/>
                <a:ext cx="118027" cy="103595"/>
              </a:xfrm>
              <a:custGeom>
                <a:avLst/>
                <a:gdLst>
                  <a:gd name="connsiteX0" fmla="*/ 16752 w 118027"/>
                  <a:gd name="connsiteY0" fmla="*/ 103596 h 103595"/>
                  <a:gd name="connsiteX1" fmla="*/ 16752 w 118027"/>
                  <a:gd name="connsiteY1" fmla="*/ 103596 h 103595"/>
                  <a:gd name="connsiteX2" fmla="*/ 3856 w 118027"/>
                  <a:gd name="connsiteY2" fmla="*/ 93924 h 103595"/>
                  <a:gd name="connsiteX3" fmla="*/ 16752 w 118027"/>
                  <a:gd name="connsiteY3" fmla="*/ 22999 h 103595"/>
                  <a:gd name="connsiteX4" fmla="*/ 113468 w 118027"/>
                  <a:gd name="connsiteY4" fmla="*/ 3655 h 103595"/>
                  <a:gd name="connsiteX5" fmla="*/ 116692 w 118027"/>
                  <a:gd name="connsiteY5" fmla="*/ 10103 h 103595"/>
                  <a:gd name="connsiteX6" fmla="*/ 110244 w 118027"/>
                  <a:gd name="connsiteY6" fmla="*/ 13327 h 103595"/>
                  <a:gd name="connsiteX7" fmla="*/ 23200 w 118027"/>
                  <a:gd name="connsiteY7" fmla="*/ 26222 h 103595"/>
                  <a:gd name="connsiteX8" fmla="*/ 10304 w 118027"/>
                  <a:gd name="connsiteY8" fmla="*/ 84252 h 103595"/>
                  <a:gd name="connsiteX9" fmla="*/ 13528 w 118027"/>
                  <a:gd name="connsiteY9" fmla="*/ 87476 h 103595"/>
                  <a:gd name="connsiteX10" fmla="*/ 26424 w 118027"/>
                  <a:gd name="connsiteY10" fmla="*/ 77805 h 103595"/>
                  <a:gd name="connsiteX11" fmla="*/ 81230 w 118027"/>
                  <a:gd name="connsiteY11" fmla="*/ 48790 h 103595"/>
                  <a:gd name="connsiteX12" fmla="*/ 87677 w 118027"/>
                  <a:gd name="connsiteY12" fmla="*/ 52013 h 103595"/>
                  <a:gd name="connsiteX13" fmla="*/ 110244 w 118027"/>
                  <a:gd name="connsiteY13" fmla="*/ 81028 h 103595"/>
                  <a:gd name="connsiteX14" fmla="*/ 113468 w 118027"/>
                  <a:gd name="connsiteY14" fmla="*/ 87476 h 103595"/>
                  <a:gd name="connsiteX15" fmla="*/ 107021 w 118027"/>
                  <a:gd name="connsiteY15" fmla="*/ 90700 h 103595"/>
                  <a:gd name="connsiteX16" fmla="*/ 78006 w 118027"/>
                  <a:gd name="connsiteY16" fmla="*/ 58461 h 103595"/>
                  <a:gd name="connsiteX17" fmla="*/ 78006 w 118027"/>
                  <a:gd name="connsiteY17" fmla="*/ 58461 h 103595"/>
                  <a:gd name="connsiteX18" fmla="*/ 36095 w 118027"/>
                  <a:gd name="connsiteY18" fmla="*/ 84252 h 103595"/>
                  <a:gd name="connsiteX19" fmla="*/ 16752 w 118027"/>
                  <a:gd name="connsiteY19" fmla="*/ 103596 h 103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8027" h="103595">
                    <a:moveTo>
                      <a:pt x="16752" y="103596"/>
                    </a:moveTo>
                    <a:cubicBezTo>
                      <a:pt x="16752" y="103596"/>
                      <a:pt x="16752" y="103596"/>
                      <a:pt x="16752" y="103596"/>
                    </a:cubicBezTo>
                    <a:cubicBezTo>
                      <a:pt x="10304" y="103596"/>
                      <a:pt x="7080" y="100372"/>
                      <a:pt x="3856" y="93924"/>
                    </a:cubicBezTo>
                    <a:cubicBezTo>
                      <a:pt x="-2591" y="81028"/>
                      <a:pt x="-2591" y="52013"/>
                      <a:pt x="16752" y="22999"/>
                    </a:cubicBezTo>
                    <a:cubicBezTo>
                      <a:pt x="39319" y="-12464"/>
                      <a:pt x="113468" y="3655"/>
                      <a:pt x="113468" y="3655"/>
                    </a:cubicBezTo>
                    <a:cubicBezTo>
                      <a:pt x="116692" y="3655"/>
                      <a:pt x="119916" y="6879"/>
                      <a:pt x="116692" y="10103"/>
                    </a:cubicBezTo>
                    <a:cubicBezTo>
                      <a:pt x="116692" y="13327"/>
                      <a:pt x="113468" y="16551"/>
                      <a:pt x="110244" y="13327"/>
                    </a:cubicBezTo>
                    <a:cubicBezTo>
                      <a:pt x="90901" y="10103"/>
                      <a:pt x="39319" y="3655"/>
                      <a:pt x="23200" y="26222"/>
                    </a:cubicBezTo>
                    <a:cubicBezTo>
                      <a:pt x="7080" y="48790"/>
                      <a:pt x="7080" y="74581"/>
                      <a:pt x="10304" y="84252"/>
                    </a:cubicBezTo>
                    <a:cubicBezTo>
                      <a:pt x="13528" y="87476"/>
                      <a:pt x="13528" y="87476"/>
                      <a:pt x="13528" y="87476"/>
                    </a:cubicBezTo>
                    <a:cubicBezTo>
                      <a:pt x="16752" y="87476"/>
                      <a:pt x="19976" y="81028"/>
                      <a:pt x="26424" y="77805"/>
                    </a:cubicBezTo>
                    <a:cubicBezTo>
                      <a:pt x="36095" y="64909"/>
                      <a:pt x="52214" y="45566"/>
                      <a:pt x="81230" y="48790"/>
                    </a:cubicBezTo>
                    <a:cubicBezTo>
                      <a:pt x="84453" y="48790"/>
                      <a:pt x="84453" y="52013"/>
                      <a:pt x="87677" y="52013"/>
                    </a:cubicBezTo>
                    <a:cubicBezTo>
                      <a:pt x="90901" y="58461"/>
                      <a:pt x="97349" y="77805"/>
                      <a:pt x="110244" y="81028"/>
                    </a:cubicBezTo>
                    <a:cubicBezTo>
                      <a:pt x="113468" y="81028"/>
                      <a:pt x="113468" y="84252"/>
                      <a:pt x="113468" y="87476"/>
                    </a:cubicBezTo>
                    <a:cubicBezTo>
                      <a:pt x="113468" y="90700"/>
                      <a:pt x="110244" y="90700"/>
                      <a:pt x="107021" y="90700"/>
                    </a:cubicBezTo>
                    <a:cubicBezTo>
                      <a:pt x="90901" y="84252"/>
                      <a:pt x="81230" y="64909"/>
                      <a:pt x="78006" y="58461"/>
                    </a:cubicBezTo>
                    <a:cubicBezTo>
                      <a:pt x="78006" y="58461"/>
                      <a:pt x="78006" y="58461"/>
                      <a:pt x="78006" y="58461"/>
                    </a:cubicBezTo>
                    <a:cubicBezTo>
                      <a:pt x="58663" y="58461"/>
                      <a:pt x="45767" y="71357"/>
                      <a:pt x="36095" y="84252"/>
                    </a:cubicBezTo>
                    <a:cubicBezTo>
                      <a:pt x="32871" y="97148"/>
                      <a:pt x="26424" y="103596"/>
                      <a:pt x="16752" y="10359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7" name="图形 1">
              <a:extLst>
                <a:ext uri="{FF2B5EF4-FFF2-40B4-BE49-F238E27FC236}">
                  <a16:creationId xmlns:a16="http://schemas.microsoft.com/office/drawing/2014/main" id="{0CE540B5-BA07-4234-AB09-E4698FCCAC5A}"/>
                </a:ext>
              </a:extLst>
            </p:cNvPr>
            <p:cNvGrpSpPr/>
            <p:nvPr/>
          </p:nvGrpSpPr>
          <p:grpSpPr>
            <a:xfrm>
              <a:off x="9703920" y="3726348"/>
              <a:ext cx="261638" cy="199510"/>
              <a:chOff x="9703920" y="3726348"/>
              <a:chExt cx="261638" cy="199510"/>
            </a:xfrm>
          </p:grpSpPr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8802FF3A-968D-4311-AF6E-C7FF487DD0C6}"/>
                  </a:ext>
                </a:extLst>
              </p:cNvPr>
              <p:cNvSpPr/>
              <p:nvPr/>
            </p:nvSpPr>
            <p:spPr>
              <a:xfrm>
                <a:off x="9703920" y="3726348"/>
                <a:ext cx="161684" cy="77003"/>
              </a:xfrm>
              <a:custGeom>
                <a:avLst/>
                <a:gdLst>
                  <a:gd name="connsiteX0" fmla="*/ 54959 w 161684"/>
                  <a:gd name="connsiteY0" fmla="*/ 9302 h 77003"/>
                  <a:gd name="connsiteX1" fmla="*/ 3377 w 161684"/>
                  <a:gd name="connsiteY1" fmla="*/ 54436 h 77003"/>
                  <a:gd name="connsiteX2" fmla="*/ 19496 w 161684"/>
                  <a:gd name="connsiteY2" fmla="*/ 77003 h 77003"/>
                  <a:gd name="connsiteX3" fmla="*/ 74302 w 161684"/>
                  <a:gd name="connsiteY3" fmla="*/ 54436 h 77003"/>
                  <a:gd name="connsiteX4" fmla="*/ 132332 w 161684"/>
                  <a:gd name="connsiteY4" fmla="*/ 41541 h 77003"/>
                  <a:gd name="connsiteX5" fmla="*/ 138780 w 161684"/>
                  <a:gd name="connsiteY5" fmla="*/ 31869 h 77003"/>
                  <a:gd name="connsiteX6" fmla="*/ 158123 w 161684"/>
                  <a:gd name="connsiteY6" fmla="*/ 12526 h 77003"/>
                  <a:gd name="connsiteX7" fmla="*/ 54959 w 161684"/>
                  <a:gd name="connsiteY7" fmla="*/ 9302 h 77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1684" h="77003">
                    <a:moveTo>
                      <a:pt x="54959" y="9302"/>
                    </a:moveTo>
                    <a:cubicBezTo>
                      <a:pt x="32392" y="18973"/>
                      <a:pt x="19496" y="35093"/>
                      <a:pt x="3377" y="54436"/>
                    </a:cubicBezTo>
                    <a:cubicBezTo>
                      <a:pt x="-6295" y="64108"/>
                      <a:pt x="6600" y="77003"/>
                      <a:pt x="19496" y="77003"/>
                    </a:cubicBezTo>
                    <a:cubicBezTo>
                      <a:pt x="42063" y="77003"/>
                      <a:pt x="54959" y="60884"/>
                      <a:pt x="74302" y="54436"/>
                    </a:cubicBezTo>
                    <a:cubicBezTo>
                      <a:pt x="93646" y="47988"/>
                      <a:pt x="112989" y="51212"/>
                      <a:pt x="132332" y="41541"/>
                    </a:cubicBezTo>
                    <a:cubicBezTo>
                      <a:pt x="135556" y="38317"/>
                      <a:pt x="138780" y="35093"/>
                      <a:pt x="138780" y="31869"/>
                    </a:cubicBezTo>
                    <a:cubicBezTo>
                      <a:pt x="145227" y="25421"/>
                      <a:pt x="171019" y="22197"/>
                      <a:pt x="158123" y="12526"/>
                    </a:cubicBezTo>
                    <a:cubicBezTo>
                      <a:pt x="122660" y="-6818"/>
                      <a:pt x="80750" y="-370"/>
                      <a:pt x="54959" y="930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C1D9F090-2965-4F59-AD48-8F21AC555325}"/>
                  </a:ext>
                </a:extLst>
              </p:cNvPr>
              <p:cNvSpPr/>
              <p:nvPr/>
            </p:nvSpPr>
            <p:spPr>
              <a:xfrm>
                <a:off x="9739536" y="3731763"/>
                <a:ext cx="226023" cy="185740"/>
              </a:xfrm>
              <a:custGeom>
                <a:avLst/>
                <a:gdLst>
                  <a:gd name="connsiteX0" fmla="*/ 106388 w 226023"/>
                  <a:gd name="connsiteY0" fmla="*/ 171529 h 185740"/>
                  <a:gd name="connsiteX1" fmla="*/ 64478 w 226023"/>
                  <a:gd name="connsiteY1" fmla="*/ 158633 h 185740"/>
                  <a:gd name="connsiteX2" fmla="*/ 35462 w 226023"/>
                  <a:gd name="connsiteY2" fmla="*/ 129618 h 185740"/>
                  <a:gd name="connsiteX3" fmla="*/ 0 w 226023"/>
                  <a:gd name="connsiteY3" fmla="*/ 119947 h 185740"/>
                  <a:gd name="connsiteX4" fmla="*/ 3224 w 226023"/>
                  <a:gd name="connsiteY4" fmla="*/ 103827 h 185740"/>
                  <a:gd name="connsiteX5" fmla="*/ 3224 w 226023"/>
                  <a:gd name="connsiteY5" fmla="*/ 103827 h 185740"/>
                  <a:gd name="connsiteX6" fmla="*/ 64478 w 226023"/>
                  <a:gd name="connsiteY6" fmla="*/ 39350 h 185740"/>
                  <a:gd name="connsiteX7" fmla="*/ 67701 w 226023"/>
                  <a:gd name="connsiteY7" fmla="*/ 36126 h 185740"/>
                  <a:gd name="connsiteX8" fmla="*/ 67701 w 226023"/>
                  <a:gd name="connsiteY8" fmla="*/ 36126 h 185740"/>
                  <a:gd name="connsiteX9" fmla="*/ 132179 w 226023"/>
                  <a:gd name="connsiteY9" fmla="*/ 663 h 185740"/>
                  <a:gd name="connsiteX10" fmla="*/ 225672 w 226023"/>
                  <a:gd name="connsiteY10" fmla="*/ 68365 h 185740"/>
                  <a:gd name="connsiteX11" fmla="*/ 183761 w 226023"/>
                  <a:gd name="connsiteY11" fmla="*/ 145738 h 185740"/>
                  <a:gd name="connsiteX12" fmla="*/ 183761 w 226023"/>
                  <a:gd name="connsiteY12" fmla="*/ 145738 h 185740"/>
                  <a:gd name="connsiteX13" fmla="*/ 135403 w 226023"/>
                  <a:gd name="connsiteY13" fmla="*/ 184424 h 185740"/>
                  <a:gd name="connsiteX14" fmla="*/ 106388 w 226023"/>
                  <a:gd name="connsiteY14" fmla="*/ 171529 h 185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6023" h="185740">
                    <a:moveTo>
                      <a:pt x="106388" y="171529"/>
                    </a:moveTo>
                    <a:cubicBezTo>
                      <a:pt x="70925" y="184424"/>
                      <a:pt x="64478" y="158633"/>
                      <a:pt x="64478" y="158633"/>
                    </a:cubicBezTo>
                    <a:cubicBezTo>
                      <a:pt x="22567" y="165081"/>
                      <a:pt x="35462" y="129618"/>
                      <a:pt x="35462" y="129618"/>
                    </a:cubicBezTo>
                    <a:cubicBezTo>
                      <a:pt x="35462" y="129618"/>
                      <a:pt x="3224" y="148962"/>
                      <a:pt x="0" y="119947"/>
                    </a:cubicBezTo>
                    <a:cubicBezTo>
                      <a:pt x="0" y="116723"/>
                      <a:pt x="0" y="110275"/>
                      <a:pt x="3224" y="103827"/>
                    </a:cubicBezTo>
                    <a:cubicBezTo>
                      <a:pt x="3224" y="103827"/>
                      <a:pt x="3224" y="103827"/>
                      <a:pt x="3224" y="103827"/>
                    </a:cubicBezTo>
                    <a:cubicBezTo>
                      <a:pt x="3224" y="103827"/>
                      <a:pt x="25791" y="68365"/>
                      <a:pt x="64478" y="39350"/>
                    </a:cubicBezTo>
                    <a:cubicBezTo>
                      <a:pt x="67701" y="39350"/>
                      <a:pt x="67701" y="36126"/>
                      <a:pt x="67701" y="36126"/>
                    </a:cubicBezTo>
                    <a:lnTo>
                      <a:pt x="67701" y="36126"/>
                    </a:lnTo>
                    <a:cubicBezTo>
                      <a:pt x="80597" y="26454"/>
                      <a:pt x="112836" y="7111"/>
                      <a:pt x="132179" y="663"/>
                    </a:cubicBezTo>
                    <a:cubicBezTo>
                      <a:pt x="154746" y="-5785"/>
                      <a:pt x="219224" y="36126"/>
                      <a:pt x="225672" y="68365"/>
                    </a:cubicBezTo>
                    <a:cubicBezTo>
                      <a:pt x="228895" y="84484"/>
                      <a:pt x="209552" y="119947"/>
                      <a:pt x="183761" y="145738"/>
                    </a:cubicBezTo>
                    <a:lnTo>
                      <a:pt x="183761" y="145738"/>
                    </a:lnTo>
                    <a:cubicBezTo>
                      <a:pt x="183761" y="145738"/>
                      <a:pt x="161194" y="177977"/>
                      <a:pt x="135403" y="184424"/>
                    </a:cubicBezTo>
                    <a:cubicBezTo>
                      <a:pt x="109612" y="190872"/>
                      <a:pt x="106388" y="171529"/>
                      <a:pt x="106388" y="171529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85643161-EB11-4C36-A9FC-E827F2E154B0}"/>
                  </a:ext>
                </a:extLst>
              </p:cNvPr>
              <p:cNvSpPr/>
              <p:nvPr/>
            </p:nvSpPr>
            <p:spPr>
              <a:xfrm>
                <a:off x="9729735" y="3762247"/>
                <a:ext cx="195980" cy="163611"/>
              </a:xfrm>
              <a:custGeom>
                <a:avLst/>
                <a:gdLst>
                  <a:gd name="connsiteX0" fmla="*/ 132309 w 195980"/>
                  <a:gd name="connsiteY0" fmla="*/ 160388 h 163611"/>
                  <a:gd name="connsiteX1" fmla="*/ 116189 w 195980"/>
                  <a:gd name="connsiteY1" fmla="*/ 157164 h 163611"/>
                  <a:gd name="connsiteX2" fmla="*/ 109741 w 195980"/>
                  <a:gd name="connsiteY2" fmla="*/ 150716 h 163611"/>
                  <a:gd name="connsiteX3" fmla="*/ 80726 w 195980"/>
                  <a:gd name="connsiteY3" fmla="*/ 150716 h 163611"/>
                  <a:gd name="connsiteX4" fmla="*/ 71055 w 195980"/>
                  <a:gd name="connsiteY4" fmla="*/ 137821 h 163611"/>
                  <a:gd name="connsiteX5" fmla="*/ 42040 w 195980"/>
                  <a:gd name="connsiteY5" fmla="*/ 128149 h 163611"/>
                  <a:gd name="connsiteX6" fmla="*/ 35592 w 195980"/>
                  <a:gd name="connsiteY6" fmla="*/ 108806 h 163611"/>
                  <a:gd name="connsiteX7" fmla="*/ 13025 w 195980"/>
                  <a:gd name="connsiteY7" fmla="*/ 108806 h 163611"/>
                  <a:gd name="connsiteX8" fmla="*/ 129 w 195980"/>
                  <a:gd name="connsiteY8" fmla="*/ 92687 h 163611"/>
                  <a:gd name="connsiteX9" fmla="*/ 67831 w 195980"/>
                  <a:gd name="connsiteY9" fmla="*/ 2418 h 163611"/>
                  <a:gd name="connsiteX10" fmla="*/ 77502 w 195980"/>
                  <a:gd name="connsiteY10" fmla="*/ 2418 h 163611"/>
                  <a:gd name="connsiteX11" fmla="*/ 77502 w 195980"/>
                  <a:gd name="connsiteY11" fmla="*/ 12090 h 163611"/>
                  <a:gd name="connsiteX12" fmla="*/ 13025 w 195980"/>
                  <a:gd name="connsiteY12" fmla="*/ 92687 h 163611"/>
                  <a:gd name="connsiteX13" fmla="*/ 16249 w 195980"/>
                  <a:gd name="connsiteY13" fmla="*/ 99134 h 163611"/>
                  <a:gd name="connsiteX14" fmla="*/ 38816 w 195980"/>
                  <a:gd name="connsiteY14" fmla="*/ 95910 h 163611"/>
                  <a:gd name="connsiteX15" fmla="*/ 45263 w 195980"/>
                  <a:gd name="connsiteY15" fmla="*/ 95910 h 163611"/>
                  <a:gd name="connsiteX16" fmla="*/ 48487 w 195980"/>
                  <a:gd name="connsiteY16" fmla="*/ 102358 h 163611"/>
                  <a:gd name="connsiteX17" fmla="*/ 48487 w 195980"/>
                  <a:gd name="connsiteY17" fmla="*/ 121701 h 163611"/>
                  <a:gd name="connsiteX18" fmla="*/ 71055 w 195980"/>
                  <a:gd name="connsiteY18" fmla="*/ 124925 h 163611"/>
                  <a:gd name="connsiteX19" fmla="*/ 77502 w 195980"/>
                  <a:gd name="connsiteY19" fmla="*/ 131373 h 163611"/>
                  <a:gd name="connsiteX20" fmla="*/ 83950 w 195980"/>
                  <a:gd name="connsiteY20" fmla="*/ 141045 h 163611"/>
                  <a:gd name="connsiteX21" fmla="*/ 109741 w 195980"/>
                  <a:gd name="connsiteY21" fmla="*/ 137821 h 163611"/>
                  <a:gd name="connsiteX22" fmla="*/ 116189 w 195980"/>
                  <a:gd name="connsiteY22" fmla="*/ 137821 h 163611"/>
                  <a:gd name="connsiteX23" fmla="*/ 119413 w 195980"/>
                  <a:gd name="connsiteY23" fmla="*/ 141045 h 163611"/>
                  <a:gd name="connsiteX24" fmla="*/ 122637 w 195980"/>
                  <a:gd name="connsiteY24" fmla="*/ 147493 h 163611"/>
                  <a:gd name="connsiteX25" fmla="*/ 138756 w 195980"/>
                  <a:gd name="connsiteY25" fmla="*/ 147493 h 163611"/>
                  <a:gd name="connsiteX26" fmla="*/ 183890 w 195980"/>
                  <a:gd name="connsiteY26" fmla="*/ 112030 h 163611"/>
                  <a:gd name="connsiteX27" fmla="*/ 193562 w 195980"/>
                  <a:gd name="connsiteY27" fmla="*/ 112030 h 163611"/>
                  <a:gd name="connsiteX28" fmla="*/ 193562 w 195980"/>
                  <a:gd name="connsiteY28" fmla="*/ 121701 h 163611"/>
                  <a:gd name="connsiteX29" fmla="*/ 141980 w 195980"/>
                  <a:gd name="connsiteY29" fmla="*/ 163612 h 163611"/>
                  <a:gd name="connsiteX30" fmla="*/ 132309 w 195980"/>
                  <a:gd name="connsiteY30" fmla="*/ 160388 h 163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95980" h="163611">
                    <a:moveTo>
                      <a:pt x="132309" y="160388"/>
                    </a:moveTo>
                    <a:cubicBezTo>
                      <a:pt x="125860" y="160388"/>
                      <a:pt x="122637" y="160388"/>
                      <a:pt x="116189" y="157164"/>
                    </a:cubicBezTo>
                    <a:cubicBezTo>
                      <a:pt x="112965" y="153940"/>
                      <a:pt x="109741" y="153940"/>
                      <a:pt x="109741" y="150716"/>
                    </a:cubicBezTo>
                    <a:cubicBezTo>
                      <a:pt x="96846" y="153940"/>
                      <a:pt x="87174" y="153940"/>
                      <a:pt x="80726" y="150716"/>
                    </a:cubicBezTo>
                    <a:cubicBezTo>
                      <a:pt x="74279" y="147493"/>
                      <a:pt x="71055" y="141045"/>
                      <a:pt x="71055" y="137821"/>
                    </a:cubicBezTo>
                    <a:cubicBezTo>
                      <a:pt x="58159" y="137821"/>
                      <a:pt x="48487" y="137821"/>
                      <a:pt x="42040" y="128149"/>
                    </a:cubicBezTo>
                    <a:cubicBezTo>
                      <a:pt x="35592" y="121701"/>
                      <a:pt x="35592" y="115254"/>
                      <a:pt x="35592" y="108806"/>
                    </a:cubicBezTo>
                    <a:cubicBezTo>
                      <a:pt x="29144" y="112030"/>
                      <a:pt x="19473" y="112030"/>
                      <a:pt x="13025" y="108806"/>
                    </a:cubicBezTo>
                    <a:cubicBezTo>
                      <a:pt x="9801" y="105582"/>
                      <a:pt x="3353" y="102358"/>
                      <a:pt x="129" y="92687"/>
                    </a:cubicBezTo>
                    <a:cubicBezTo>
                      <a:pt x="-3095" y="63672"/>
                      <a:pt x="54935" y="12090"/>
                      <a:pt x="67831" y="2418"/>
                    </a:cubicBezTo>
                    <a:cubicBezTo>
                      <a:pt x="71055" y="-806"/>
                      <a:pt x="74279" y="-806"/>
                      <a:pt x="77502" y="2418"/>
                    </a:cubicBezTo>
                    <a:cubicBezTo>
                      <a:pt x="80726" y="5642"/>
                      <a:pt x="80726" y="8866"/>
                      <a:pt x="77502" y="12090"/>
                    </a:cubicBezTo>
                    <a:cubicBezTo>
                      <a:pt x="48487" y="34657"/>
                      <a:pt x="13025" y="76567"/>
                      <a:pt x="13025" y="92687"/>
                    </a:cubicBezTo>
                    <a:cubicBezTo>
                      <a:pt x="13025" y="99134"/>
                      <a:pt x="16249" y="99134"/>
                      <a:pt x="16249" y="99134"/>
                    </a:cubicBezTo>
                    <a:cubicBezTo>
                      <a:pt x="22696" y="102358"/>
                      <a:pt x="32368" y="95910"/>
                      <a:pt x="38816" y="95910"/>
                    </a:cubicBezTo>
                    <a:cubicBezTo>
                      <a:pt x="42040" y="95910"/>
                      <a:pt x="45263" y="95910"/>
                      <a:pt x="45263" y="95910"/>
                    </a:cubicBezTo>
                    <a:cubicBezTo>
                      <a:pt x="48487" y="99134"/>
                      <a:pt x="48487" y="99134"/>
                      <a:pt x="48487" y="102358"/>
                    </a:cubicBezTo>
                    <a:cubicBezTo>
                      <a:pt x="48487" y="105582"/>
                      <a:pt x="45263" y="115254"/>
                      <a:pt x="48487" y="121701"/>
                    </a:cubicBezTo>
                    <a:cubicBezTo>
                      <a:pt x="51712" y="128149"/>
                      <a:pt x="61383" y="124925"/>
                      <a:pt x="71055" y="124925"/>
                    </a:cubicBezTo>
                    <a:cubicBezTo>
                      <a:pt x="74279" y="124925"/>
                      <a:pt x="77502" y="128149"/>
                      <a:pt x="77502" y="131373"/>
                    </a:cubicBezTo>
                    <a:cubicBezTo>
                      <a:pt x="77502" y="131373"/>
                      <a:pt x="77502" y="137821"/>
                      <a:pt x="83950" y="141045"/>
                    </a:cubicBezTo>
                    <a:cubicBezTo>
                      <a:pt x="90398" y="144269"/>
                      <a:pt x="96846" y="144269"/>
                      <a:pt x="109741" y="137821"/>
                    </a:cubicBezTo>
                    <a:cubicBezTo>
                      <a:pt x="112965" y="137821"/>
                      <a:pt x="112965" y="137821"/>
                      <a:pt x="116189" y="137821"/>
                    </a:cubicBezTo>
                    <a:cubicBezTo>
                      <a:pt x="119413" y="137821"/>
                      <a:pt x="119413" y="141045"/>
                      <a:pt x="119413" y="141045"/>
                    </a:cubicBezTo>
                    <a:cubicBezTo>
                      <a:pt x="119413" y="141045"/>
                      <a:pt x="119413" y="144269"/>
                      <a:pt x="122637" y="147493"/>
                    </a:cubicBezTo>
                    <a:cubicBezTo>
                      <a:pt x="125860" y="150716"/>
                      <a:pt x="132309" y="150716"/>
                      <a:pt x="138756" y="147493"/>
                    </a:cubicBezTo>
                    <a:cubicBezTo>
                      <a:pt x="161323" y="141045"/>
                      <a:pt x="183890" y="112030"/>
                      <a:pt x="183890" y="112030"/>
                    </a:cubicBezTo>
                    <a:cubicBezTo>
                      <a:pt x="187114" y="108806"/>
                      <a:pt x="190338" y="108806"/>
                      <a:pt x="193562" y="112030"/>
                    </a:cubicBezTo>
                    <a:cubicBezTo>
                      <a:pt x="196786" y="115254"/>
                      <a:pt x="196786" y="118478"/>
                      <a:pt x="193562" y="121701"/>
                    </a:cubicBezTo>
                    <a:cubicBezTo>
                      <a:pt x="193562" y="121701"/>
                      <a:pt x="167771" y="157164"/>
                      <a:pt x="141980" y="163612"/>
                    </a:cubicBezTo>
                    <a:cubicBezTo>
                      <a:pt x="141980" y="160388"/>
                      <a:pt x="135532" y="160388"/>
                      <a:pt x="132309" y="1603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210" name="图形 1">
            <a:extLst>
              <a:ext uri="{FF2B5EF4-FFF2-40B4-BE49-F238E27FC236}">
                <a16:creationId xmlns:a16="http://schemas.microsoft.com/office/drawing/2014/main" id="{0CE540B5-BA07-4234-AB09-E4698FCCAC5A}"/>
              </a:ext>
            </a:extLst>
          </p:cNvPr>
          <p:cNvGrpSpPr/>
          <p:nvPr/>
        </p:nvGrpSpPr>
        <p:grpSpPr>
          <a:xfrm>
            <a:off x="1812930" y="2866495"/>
            <a:ext cx="4676735" cy="3859129"/>
            <a:chOff x="2467164" y="2217556"/>
            <a:chExt cx="4676735" cy="3859129"/>
          </a:xfrm>
        </p:grpSpPr>
        <p:sp>
          <p:nvSpPr>
            <p:cNvPr id="211" name="任意多边形: 形状 210">
              <a:extLst>
                <a:ext uri="{FF2B5EF4-FFF2-40B4-BE49-F238E27FC236}">
                  <a16:creationId xmlns:a16="http://schemas.microsoft.com/office/drawing/2014/main" id="{6015B1F7-1788-4440-861E-FEB479DECC5D}"/>
                </a:ext>
              </a:extLst>
            </p:cNvPr>
            <p:cNvSpPr/>
            <p:nvPr/>
          </p:nvSpPr>
          <p:spPr>
            <a:xfrm>
              <a:off x="6252387" y="3061978"/>
              <a:ext cx="765279" cy="506683"/>
            </a:xfrm>
            <a:custGeom>
              <a:avLst/>
              <a:gdLst>
                <a:gd name="connsiteX0" fmla="*/ 92402 w 765279"/>
                <a:gd name="connsiteY0" fmla="*/ 6329 h 506683"/>
                <a:gd name="connsiteX1" fmla="*/ 450253 w 765279"/>
                <a:gd name="connsiteY1" fmla="*/ 331941 h 506683"/>
                <a:gd name="connsiteX2" fmla="*/ 704940 w 765279"/>
                <a:gd name="connsiteY2" fmla="*/ 106269 h 506683"/>
                <a:gd name="connsiteX3" fmla="*/ 759745 w 765279"/>
                <a:gd name="connsiteY3" fmla="*/ 164299 h 506683"/>
                <a:gd name="connsiteX4" fmla="*/ 447029 w 765279"/>
                <a:gd name="connsiteY4" fmla="*/ 506030 h 506683"/>
                <a:gd name="connsiteX5" fmla="*/ 60163 w 765279"/>
                <a:gd name="connsiteY5" fmla="*/ 190090 h 506683"/>
                <a:gd name="connsiteX6" fmla="*/ 92402 w 765279"/>
                <a:gd name="connsiteY6" fmla="*/ 6329 h 50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5279" h="506683">
                  <a:moveTo>
                    <a:pt x="92402" y="6329"/>
                  </a:moveTo>
                  <a:cubicBezTo>
                    <a:pt x="185895" y="32120"/>
                    <a:pt x="450253" y="331941"/>
                    <a:pt x="450253" y="331941"/>
                  </a:cubicBezTo>
                  <a:cubicBezTo>
                    <a:pt x="450253" y="331941"/>
                    <a:pt x="698492" y="103045"/>
                    <a:pt x="704940" y="106269"/>
                  </a:cubicBezTo>
                  <a:cubicBezTo>
                    <a:pt x="756522" y="132060"/>
                    <a:pt x="775865" y="135284"/>
                    <a:pt x="759745" y="164299"/>
                  </a:cubicBezTo>
                  <a:cubicBezTo>
                    <a:pt x="756522" y="170747"/>
                    <a:pt x="595328" y="473792"/>
                    <a:pt x="447029" y="506030"/>
                  </a:cubicBezTo>
                  <a:cubicBezTo>
                    <a:pt x="392223" y="518926"/>
                    <a:pt x="185895" y="338389"/>
                    <a:pt x="60163" y="190090"/>
                  </a:cubicBezTo>
                  <a:cubicBezTo>
                    <a:pt x="-1090" y="115941"/>
                    <a:pt x="-49449" y="-32358"/>
                    <a:pt x="92402" y="6329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2" name="任意多边形: 形状 211">
              <a:extLst>
                <a:ext uri="{FF2B5EF4-FFF2-40B4-BE49-F238E27FC236}">
                  <a16:creationId xmlns:a16="http://schemas.microsoft.com/office/drawing/2014/main" id="{6A21D969-0457-4FE7-A467-CA1EFB35505F}"/>
                </a:ext>
              </a:extLst>
            </p:cNvPr>
            <p:cNvSpPr/>
            <p:nvPr/>
          </p:nvSpPr>
          <p:spPr>
            <a:xfrm>
              <a:off x="6099718" y="2958490"/>
              <a:ext cx="409488" cy="403190"/>
            </a:xfrm>
            <a:custGeom>
              <a:avLst/>
              <a:gdLst>
                <a:gd name="connsiteX0" fmla="*/ 206384 w 409488"/>
                <a:gd name="connsiteY0" fmla="*/ 403190 h 403190"/>
                <a:gd name="connsiteX1" fmla="*/ 3280 w 409488"/>
                <a:gd name="connsiteY1" fmla="*/ 29220 h 403190"/>
                <a:gd name="connsiteX2" fmla="*/ 409489 w 409488"/>
                <a:gd name="connsiteY2" fmla="*/ 161399 h 403190"/>
                <a:gd name="connsiteX3" fmla="*/ 206384 w 409488"/>
                <a:gd name="connsiteY3" fmla="*/ 403190 h 403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488" h="403190">
                  <a:moveTo>
                    <a:pt x="206384" y="403190"/>
                  </a:moveTo>
                  <a:cubicBezTo>
                    <a:pt x="77429" y="316145"/>
                    <a:pt x="-19287" y="93698"/>
                    <a:pt x="3280" y="29220"/>
                  </a:cubicBezTo>
                  <a:cubicBezTo>
                    <a:pt x="35519" y="-51377"/>
                    <a:pt x="274086" y="48563"/>
                    <a:pt x="409489" y="161399"/>
                  </a:cubicBezTo>
                  <a:cubicBezTo>
                    <a:pt x="403041" y="222653"/>
                    <a:pt x="274086" y="348384"/>
                    <a:pt x="206384" y="403190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3" name="任意多边形: 形状 212">
              <a:extLst>
                <a:ext uri="{FF2B5EF4-FFF2-40B4-BE49-F238E27FC236}">
                  <a16:creationId xmlns:a16="http://schemas.microsoft.com/office/drawing/2014/main" id="{C337340D-F0D1-4F9C-B0A3-963CBB302987}"/>
                </a:ext>
              </a:extLst>
            </p:cNvPr>
            <p:cNvSpPr/>
            <p:nvPr/>
          </p:nvSpPr>
          <p:spPr>
            <a:xfrm>
              <a:off x="5193864" y="4157978"/>
              <a:ext cx="760835" cy="1441074"/>
            </a:xfrm>
            <a:custGeom>
              <a:avLst/>
              <a:gdLst>
                <a:gd name="connsiteX0" fmla="*/ 87045 w 760835"/>
                <a:gd name="connsiteY0" fmla="*/ 1441075 h 1441074"/>
                <a:gd name="connsiteX1" fmla="*/ 680239 w 760835"/>
                <a:gd name="connsiteY1" fmla="*/ 992955 h 1441074"/>
                <a:gd name="connsiteX2" fmla="*/ 760836 w 760835"/>
                <a:gd name="connsiteY2" fmla="*/ 61254 h 1441074"/>
                <a:gd name="connsiteX3" fmla="*/ 441672 w 760835"/>
                <a:gd name="connsiteY3" fmla="*/ 0 h 1441074"/>
                <a:gd name="connsiteX4" fmla="*/ 441672 w 760835"/>
                <a:gd name="connsiteY4" fmla="*/ 899463 h 1441074"/>
                <a:gd name="connsiteX5" fmla="*/ 0 w 760835"/>
                <a:gd name="connsiteY5" fmla="*/ 1389493 h 1441074"/>
                <a:gd name="connsiteX6" fmla="*/ 87045 w 760835"/>
                <a:gd name="connsiteY6" fmla="*/ 1441075 h 1441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0835" h="1441074">
                  <a:moveTo>
                    <a:pt x="87045" y="1441075"/>
                  </a:moveTo>
                  <a:cubicBezTo>
                    <a:pt x="87045" y="1441075"/>
                    <a:pt x="651224" y="1047761"/>
                    <a:pt x="680239" y="992955"/>
                  </a:cubicBezTo>
                  <a:cubicBezTo>
                    <a:pt x="709254" y="934925"/>
                    <a:pt x="760836" y="61254"/>
                    <a:pt x="760836" y="61254"/>
                  </a:cubicBezTo>
                  <a:lnTo>
                    <a:pt x="441672" y="0"/>
                  </a:lnTo>
                  <a:cubicBezTo>
                    <a:pt x="441672" y="0"/>
                    <a:pt x="480358" y="854328"/>
                    <a:pt x="441672" y="899463"/>
                  </a:cubicBezTo>
                  <a:cubicBezTo>
                    <a:pt x="402985" y="944597"/>
                    <a:pt x="0" y="1389493"/>
                    <a:pt x="0" y="1389493"/>
                  </a:cubicBezTo>
                  <a:lnTo>
                    <a:pt x="87045" y="1441075"/>
                  </a:ln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4" name="任意多边形: 形状 213">
              <a:extLst>
                <a:ext uri="{FF2B5EF4-FFF2-40B4-BE49-F238E27FC236}">
                  <a16:creationId xmlns:a16="http://schemas.microsoft.com/office/drawing/2014/main" id="{97F32405-67AC-41D6-ADF2-97A749F6A755}"/>
                </a:ext>
              </a:extLst>
            </p:cNvPr>
            <p:cNvSpPr/>
            <p:nvPr/>
          </p:nvSpPr>
          <p:spPr>
            <a:xfrm>
              <a:off x="5993386" y="4251471"/>
              <a:ext cx="390693" cy="1669970"/>
            </a:xfrm>
            <a:custGeom>
              <a:avLst/>
              <a:gdLst>
                <a:gd name="connsiteX0" fmla="*/ 135403 w 390693"/>
                <a:gd name="connsiteY0" fmla="*/ 1669970 h 1669970"/>
                <a:gd name="connsiteX1" fmla="*/ 145075 w 390693"/>
                <a:gd name="connsiteY1" fmla="*/ 751164 h 1669970"/>
                <a:gd name="connsiteX2" fmla="*/ 0 w 390693"/>
                <a:gd name="connsiteY2" fmla="*/ 125731 h 1669970"/>
                <a:gd name="connsiteX3" fmla="*/ 290149 w 390693"/>
                <a:gd name="connsiteY3" fmla="*/ 0 h 1669970"/>
                <a:gd name="connsiteX4" fmla="*/ 390090 w 390693"/>
                <a:gd name="connsiteY4" fmla="*/ 728597 h 1669970"/>
                <a:gd name="connsiteX5" fmla="*/ 228895 w 390693"/>
                <a:gd name="connsiteY5" fmla="*/ 1621612 h 1669970"/>
                <a:gd name="connsiteX6" fmla="*/ 135403 w 390693"/>
                <a:gd name="connsiteY6" fmla="*/ 1669970 h 1669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0693" h="1669970">
                  <a:moveTo>
                    <a:pt x="135403" y="1669970"/>
                  </a:moveTo>
                  <a:cubicBezTo>
                    <a:pt x="135403" y="1669970"/>
                    <a:pt x="154746" y="825313"/>
                    <a:pt x="145075" y="751164"/>
                  </a:cubicBezTo>
                  <a:cubicBezTo>
                    <a:pt x="135403" y="677015"/>
                    <a:pt x="0" y="125731"/>
                    <a:pt x="0" y="125731"/>
                  </a:cubicBezTo>
                  <a:lnTo>
                    <a:pt x="290149" y="0"/>
                  </a:lnTo>
                  <a:cubicBezTo>
                    <a:pt x="290149" y="0"/>
                    <a:pt x="399761" y="670567"/>
                    <a:pt x="390090" y="728597"/>
                  </a:cubicBezTo>
                  <a:cubicBezTo>
                    <a:pt x="377194" y="789851"/>
                    <a:pt x="228895" y="1621612"/>
                    <a:pt x="228895" y="1621612"/>
                  </a:cubicBezTo>
                  <a:lnTo>
                    <a:pt x="135403" y="1669970"/>
                  </a:ln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15" name="图形 1">
              <a:extLst>
                <a:ext uri="{FF2B5EF4-FFF2-40B4-BE49-F238E27FC236}">
                  <a16:creationId xmlns:a16="http://schemas.microsoft.com/office/drawing/2014/main" id="{0CE540B5-BA07-4234-AB09-E4698FCCAC5A}"/>
                </a:ext>
              </a:extLst>
            </p:cNvPr>
            <p:cNvGrpSpPr/>
            <p:nvPr/>
          </p:nvGrpSpPr>
          <p:grpSpPr>
            <a:xfrm>
              <a:off x="6128789" y="5773142"/>
              <a:ext cx="338642" cy="303543"/>
              <a:chOff x="6128789" y="5773142"/>
              <a:chExt cx="338642" cy="303543"/>
            </a:xfrm>
          </p:grpSpPr>
          <p:sp>
            <p:nvSpPr>
              <p:cNvPr id="216" name="任意多边形: 形状 215">
                <a:extLst>
                  <a:ext uri="{FF2B5EF4-FFF2-40B4-BE49-F238E27FC236}">
                    <a16:creationId xmlns:a16="http://schemas.microsoft.com/office/drawing/2014/main" id="{BFA03C9E-3138-4D5B-A269-FA65531E8E81}"/>
                  </a:ext>
                </a:extLst>
              </p:cNvPr>
              <p:cNvSpPr/>
              <p:nvPr/>
            </p:nvSpPr>
            <p:spPr>
              <a:xfrm>
                <a:off x="6130401" y="5876307"/>
                <a:ext cx="337030" cy="200379"/>
              </a:xfrm>
              <a:custGeom>
                <a:avLst/>
                <a:gdLst>
                  <a:gd name="connsiteX0" fmla="*/ 91881 w 337030"/>
                  <a:gd name="connsiteY0" fmla="*/ 0 h 200379"/>
                  <a:gd name="connsiteX1" fmla="*/ 227284 w 337030"/>
                  <a:gd name="connsiteY1" fmla="*/ 106388 h 200379"/>
                  <a:gd name="connsiteX2" fmla="*/ 62866 w 337030"/>
                  <a:gd name="connsiteY2" fmla="*/ 67701 h 200379"/>
                  <a:gd name="connsiteX3" fmla="*/ 1612 w 337030"/>
                  <a:gd name="connsiteY3" fmla="*/ 45134 h 200379"/>
                  <a:gd name="connsiteX4" fmla="*/ 8060 w 337030"/>
                  <a:gd name="connsiteY4" fmla="*/ 135403 h 200379"/>
                  <a:gd name="connsiteX5" fmla="*/ 204716 w 337030"/>
                  <a:gd name="connsiteY5" fmla="*/ 196657 h 200379"/>
                  <a:gd name="connsiteX6" fmla="*/ 320776 w 337030"/>
                  <a:gd name="connsiteY6" fmla="*/ 196657 h 200379"/>
                  <a:gd name="connsiteX7" fmla="*/ 327224 w 337030"/>
                  <a:gd name="connsiteY7" fmla="*/ 148298 h 200379"/>
                  <a:gd name="connsiteX8" fmla="*/ 91881 w 337030"/>
                  <a:gd name="connsiteY8" fmla="*/ 0 h 200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030" h="200379">
                    <a:moveTo>
                      <a:pt x="91881" y="0"/>
                    </a:moveTo>
                    <a:cubicBezTo>
                      <a:pt x="91881" y="0"/>
                      <a:pt x="236955" y="93493"/>
                      <a:pt x="227284" y="106388"/>
                    </a:cubicBezTo>
                    <a:cubicBezTo>
                      <a:pt x="214388" y="119284"/>
                      <a:pt x="62866" y="67701"/>
                      <a:pt x="62866" y="67701"/>
                    </a:cubicBezTo>
                    <a:lnTo>
                      <a:pt x="1612" y="45134"/>
                    </a:lnTo>
                    <a:cubicBezTo>
                      <a:pt x="1612" y="45134"/>
                      <a:pt x="-4836" y="112836"/>
                      <a:pt x="8060" y="135403"/>
                    </a:cubicBezTo>
                    <a:cubicBezTo>
                      <a:pt x="69313" y="167642"/>
                      <a:pt x="140239" y="186985"/>
                      <a:pt x="204716" y="196657"/>
                    </a:cubicBezTo>
                    <a:cubicBezTo>
                      <a:pt x="243403" y="203104"/>
                      <a:pt x="314328" y="199881"/>
                      <a:pt x="320776" y="196657"/>
                    </a:cubicBezTo>
                    <a:cubicBezTo>
                      <a:pt x="327224" y="193433"/>
                      <a:pt x="349791" y="174090"/>
                      <a:pt x="327224" y="148298"/>
                    </a:cubicBezTo>
                    <a:cubicBezTo>
                      <a:pt x="269194" y="93493"/>
                      <a:pt x="91881" y="0"/>
                      <a:pt x="91881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7" name="任意多边形: 形状 216">
                <a:extLst>
                  <a:ext uri="{FF2B5EF4-FFF2-40B4-BE49-F238E27FC236}">
                    <a16:creationId xmlns:a16="http://schemas.microsoft.com/office/drawing/2014/main" id="{73863287-CE43-45E3-BDC5-66FCB6E35D94}"/>
                  </a:ext>
                </a:extLst>
              </p:cNvPr>
              <p:cNvSpPr/>
              <p:nvPr/>
            </p:nvSpPr>
            <p:spPr>
              <a:xfrm>
                <a:off x="6128789" y="5773142"/>
                <a:ext cx="226466" cy="213002"/>
              </a:xfrm>
              <a:custGeom>
                <a:avLst/>
                <a:gdLst>
                  <a:gd name="connsiteX0" fmla="*/ 103164 w 226466"/>
                  <a:gd name="connsiteY0" fmla="*/ 0 h 213002"/>
                  <a:gd name="connsiteX1" fmla="*/ 90269 w 226466"/>
                  <a:gd name="connsiteY1" fmla="*/ 103164 h 213002"/>
                  <a:gd name="connsiteX2" fmla="*/ 225672 w 226466"/>
                  <a:gd name="connsiteY2" fmla="*/ 209552 h 213002"/>
                  <a:gd name="connsiteX3" fmla="*/ 22567 w 226466"/>
                  <a:gd name="connsiteY3" fmla="*/ 174090 h 213002"/>
                  <a:gd name="connsiteX4" fmla="*/ 0 w 226466"/>
                  <a:gd name="connsiteY4" fmla="*/ 148299 h 213002"/>
                  <a:gd name="connsiteX5" fmla="*/ 3224 w 226466"/>
                  <a:gd name="connsiteY5" fmla="*/ 32239 h 213002"/>
                  <a:gd name="connsiteX6" fmla="*/ 103164 w 226466"/>
                  <a:gd name="connsiteY6" fmla="*/ 0 h 213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6466" h="213002">
                    <a:moveTo>
                      <a:pt x="103164" y="0"/>
                    </a:moveTo>
                    <a:lnTo>
                      <a:pt x="90269" y="103164"/>
                    </a:lnTo>
                    <a:cubicBezTo>
                      <a:pt x="90269" y="103164"/>
                      <a:pt x="238567" y="190209"/>
                      <a:pt x="225672" y="209552"/>
                    </a:cubicBezTo>
                    <a:cubicBezTo>
                      <a:pt x="216000" y="222448"/>
                      <a:pt x="83821" y="196657"/>
                      <a:pt x="22567" y="174090"/>
                    </a:cubicBezTo>
                    <a:cubicBezTo>
                      <a:pt x="3224" y="167642"/>
                      <a:pt x="0" y="148299"/>
                      <a:pt x="0" y="148299"/>
                    </a:cubicBezTo>
                    <a:lnTo>
                      <a:pt x="3224" y="32239"/>
                    </a:lnTo>
                    <a:lnTo>
                      <a:pt x="103164" y="0"/>
                    </a:ln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18" name="图形 1">
              <a:extLst>
                <a:ext uri="{FF2B5EF4-FFF2-40B4-BE49-F238E27FC236}">
                  <a16:creationId xmlns:a16="http://schemas.microsoft.com/office/drawing/2014/main" id="{0CE540B5-BA07-4234-AB09-E4698FCCAC5A}"/>
                </a:ext>
              </a:extLst>
            </p:cNvPr>
            <p:cNvGrpSpPr/>
            <p:nvPr/>
          </p:nvGrpSpPr>
          <p:grpSpPr>
            <a:xfrm>
              <a:off x="5126162" y="5470098"/>
              <a:ext cx="245015" cy="417824"/>
              <a:chOff x="5126162" y="5470098"/>
              <a:chExt cx="245015" cy="417824"/>
            </a:xfrm>
          </p:grpSpPr>
          <p:sp>
            <p:nvSpPr>
              <p:cNvPr id="219" name="任意多边形: 形状 218">
                <a:extLst>
                  <a:ext uri="{FF2B5EF4-FFF2-40B4-BE49-F238E27FC236}">
                    <a16:creationId xmlns:a16="http://schemas.microsoft.com/office/drawing/2014/main" id="{D0E9D554-1A63-4BD0-9A3B-2D9952E5A7CB}"/>
                  </a:ext>
                </a:extLst>
              </p:cNvPr>
              <p:cNvSpPr/>
              <p:nvPr/>
            </p:nvSpPr>
            <p:spPr>
              <a:xfrm>
                <a:off x="5126162" y="5544247"/>
                <a:ext cx="191761" cy="343675"/>
              </a:xfrm>
              <a:custGeom>
                <a:avLst/>
                <a:gdLst>
                  <a:gd name="connsiteX0" fmla="*/ 161194 w 191761"/>
                  <a:gd name="connsiteY0" fmla="*/ 45134 h 343675"/>
                  <a:gd name="connsiteX1" fmla="*/ 161194 w 191761"/>
                  <a:gd name="connsiteY1" fmla="*/ 216000 h 343675"/>
                  <a:gd name="connsiteX2" fmla="*/ 90269 w 191761"/>
                  <a:gd name="connsiteY2" fmla="*/ 61254 h 343675"/>
                  <a:gd name="connsiteX3" fmla="*/ 67702 w 191761"/>
                  <a:gd name="connsiteY3" fmla="*/ 0 h 343675"/>
                  <a:gd name="connsiteX4" fmla="*/ 0 w 191761"/>
                  <a:gd name="connsiteY4" fmla="*/ 61254 h 343675"/>
                  <a:gd name="connsiteX5" fmla="*/ 74149 w 191761"/>
                  <a:gd name="connsiteY5" fmla="*/ 251463 h 343675"/>
                  <a:gd name="connsiteX6" fmla="*/ 148299 w 191761"/>
                  <a:gd name="connsiteY6" fmla="*/ 341731 h 343675"/>
                  <a:gd name="connsiteX7" fmla="*/ 190209 w 191761"/>
                  <a:gd name="connsiteY7" fmla="*/ 315940 h 343675"/>
                  <a:gd name="connsiteX8" fmla="*/ 161194 w 191761"/>
                  <a:gd name="connsiteY8" fmla="*/ 45134 h 343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1761" h="343675">
                    <a:moveTo>
                      <a:pt x="161194" y="45134"/>
                    </a:moveTo>
                    <a:cubicBezTo>
                      <a:pt x="161194" y="45134"/>
                      <a:pt x="177313" y="219224"/>
                      <a:pt x="161194" y="216000"/>
                    </a:cubicBezTo>
                    <a:cubicBezTo>
                      <a:pt x="145075" y="216000"/>
                      <a:pt x="90269" y="61254"/>
                      <a:pt x="90269" y="61254"/>
                    </a:cubicBezTo>
                    <a:lnTo>
                      <a:pt x="67702" y="0"/>
                    </a:lnTo>
                    <a:cubicBezTo>
                      <a:pt x="67702" y="0"/>
                      <a:pt x="9672" y="38687"/>
                      <a:pt x="0" y="61254"/>
                    </a:cubicBezTo>
                    <a:cubicBezTo>
                      <a:pt x="12896" y="128955"/>
                      <a:pt x="45134" y="196657"/>
                      <a:pt x="74149" y="251463"/>
                    </a:cubicBezTo>
                    <a:cubicBezTo>
                      <a:pt x="93493" y="286925"/>
                      <a:pt x="141851" y="338507"/>
                      <a:pt x="148299" y="341731"/>
                    </a:cubicBezTo>
                    <a:cubicBezTo>
                      <a:pt x="154746" y="344955"/>
                      <a:pt x="183761" y="348179"/>
                      <a:pt x="190209" y="315940"/>
                    </a:cubicBezTo>
                    <a:cubicBezTo>
                      <a:pt x="199881" y="241791"/>
                      <a:pt x="161194" y="45134"/>
                      <a:pt x="161194" y="45134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0" name="任意多边形: 形状 219">
                <a:extLst>
                  <a:ext uri="{FF2B5EF4-FFF2-40B4-BE49-F238E27FC236}">
                    <a16:creationId xmlns:a16="http://schemas.microsoft.com/office/drawing/2014/main" id="{BE1B7B30-DF90-4406-A32B-B29110978E38}"/>
                  </a:ext>
                </a:extLst>
              </p:cNvPr>
              <p:cNvSpPr/>
              <p:nvPr/>
            </p:nvSpPr>
            <p:spPr>
              <a:xfrm>
                <a:off x="5182387" y="5470098"/>
                <a:ext cx="188790" cy="286925"/>
              </a:xfrm>
              <a:custGeom>
                <a:avLst/>
                <a:gdLst>
                  <a:gd name="connsiteX0" fmla="*/ 188791 w 188790"/>
                  <a:gd name="connsiteY0" fmla="*/ 58030 h 286925"/>
                  <a:gd name="connsiteX1" fmla="*/ 101746 w 188790"/>
                  <a:gd name="connsiteY1" fmla="*/ 116060 h 286925"/>
                  <a:gd name="connsiteX2" fmla="*/ 101746 w 188790"/>
                  <a:gd name="connsiteY2" fmla="*/ 286925 h 286925"/>
                  <a:gd name="connsiteX3" fmla="*/ 1805 w 188790"/>
                  <a:gd name="connsiteY3" fmla="*/ 106388 h 286925"/>
                  <a:gd name="connsiteX4" fmla="*/ 8253 w 188790"/>
                  <a:gd name="connsiteY4" fmla="*/ 70925 h 286925"/>
                  <a:gd name="connsiteX5" fmla="*/ 95298 w 188790"/>
                  <a:gd name="connsiteY5" fmla="*/ 0 h 286925"/>
                  <a:gd name="connsiteX6" fmla="*/ 188791 w 188790"/>
                  <a:gd name="connsiteY6" fmla="*/ 58030 h 286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8790" h="286925">
                    <a:moveTo>
                      <a:pt x="188791" y="58030"/>
                    </a:moveTo>
                    <a:lnTo>
                      <a:pt x="101746" y="116060"/>
                    </a:lnTo>
                    <a:cubicBezTo>
                      <a:pt x="101746" y="116060"/>
                      <a:pt x="127537" y="286925"/>
                      <a:pt x="101746" y="286925"/>
                    </a:cubicBezTo>
                    <a:cubicBezTo>
                      <a:pt x="85626" y="286925"/>
                      <a:pt x="24372" y="167642"/>
                      <a:pt x="1805" y="106388"/>
                    </a:cubicBezTo>
                    <a:cubicBezTo>
                      <a:pt x="-4642" y="87045"/>
                      <a:pt x="8253" y="70925"/>
                      <a:pt x="8253" y="70925"/>
                    </a:cubicBezTo>
                    <a:lnTo>
                      <a:pt x="95298" y="0"/>
                    </a:lnTo>
                    <a:lnTo>
                      <a:pt x="188791" y="58030"/>
                    </a:ln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21" name="任意多边形: 形状 220">
              <a:extLst>
                <a:ext uri="{FF2B5EF4-FFF2-40B4-BE49-F238E27FC236}">
                  <a16:creationId xmlns:a16="http://schemas.microsoft.com/office/drawing/2014/main" id="{76693509-2CFE-4209-8767-AE72E120395C}"/>
                </a:ext>
              </a:extLst>
            </p:cNvPr>
            <p:cNvSpPr/>
            <p:nvPr/>
          </p:nvSpPr>
          <p:spPr>
            <a:xfrm>
              <a:off x="5570080" y="3716307"/>
              <a:ext cx="893992" cy="1218773"/>
            </a:xfrm>
            <a:custGeom>
              <a:avLst/>
              <a:gdLst>
                <a:gd name="connsiteX0" fmla="*/ 23544 w 893992"/>
                <a:gd name="connsiteY0" fmla="*/ 1189612 h 1218773"/>
                <a:gd name="connsiteX1" fmla="*/ 94470 w 893992"/>
                <a:gd name="connsiteY1" fmla="*/ 1202507 h 1218773"/>
                <a:gd name="connsiteX2" fmla="*/ 146052 w 893992"/>
                <a:gd name="connsiteY2" fmla="*/ 1208955 h 1218773"/>
                <a:gd name="connsiteX3" fmla="*/ 400739 w 893992"/>
                <a:gd name="connsiteY3" fmla="*/ 1208955 h 1218773"/>
                <a:gd name="connsiteX4" fmla="*/ 387843 w 893992"/>
                <a:gd name="connsiteY4" fmla="*/ 686686 h 1218773"/>
                <a:gd name="connsiteX5" fmla="*/ 497455 w 893992"/>
                <a:gd name="connsiteY5" fmla="*/ 1199284 h 1218773"/>
                <a:gd name="connsiteX6" fmla="*/ 893992 w 893992"/>
                <a:gd name="connsiteY6" fmla="*/ 1154149 h 1218773"/>
                <a:gd name="connsiteX7" fmla="*/ 774709 w 893992"/>
                <a:gd name="connsiteY7" fmla="*/ 386866 h 1218773"/>
                <a:gd name="connsiteX8" fmla="*/ 674769 w 893992"/>
                <a:gd name="connsiteY8" fmla="*/ 0 h 1218773"/>
                <a:gd name="connsiteX9" fmla="*/ 113813 w 893992"/>
                <a:gd name="connsiteY9" fmla="*/ 0 h 1218773"/>
                <a:gd name="connsiteX10" fmla="*/ 4201 w 893992"/>
                <a:gd name="connsiteY10" fmla="*/ 399761 h 1218773"/>
                <a:gd name="connsiteX11" fmla="*/ 23544 w 893992"/>
                <a:gd name="connsiteY11" fmla="*/ 1189612 h 1218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93992" h="1218773">
                  <a:moveTo>
                    <a:pt x="23544" y="1189612"/>
                  </a:moveTo>
                  <a:cubicBezTo>
                    <a:pt x="23544" y="1189612"/>
                    <a:pt x="49336" y="1196060"/>
                    <a:pt x="94470" y="1202507"/>
                  </a:cubicBezTo>
                  <a:cubicBezTo>
                    <a:pt x="110589" y="1205731"/>
                    <a:pt x="126709" y="1208955"/>
                    <a:pt x="146052" y="1208955"/>
                  </a:cubicBezTo>
                  <a:cubicBezTo>
                    <a:pt x="216977" y="1218627"/>
                    <a:pt x="313694" y="1225075"/>
                    <a:pt x="400739" y="1208955"/>
                  </a:cubicBezTo>
                  <a:cubicBezTo>
                    <a:pt x="416858" y="1076776"/>
                    <a:pt x="387843" y="686686"/>
                    <a:pt x="387843" y="686686"/>
                  </a:cubicBezTo>
                  <a:lnTo>
                    <a:pt x="497455" y="1199284"/>
                  </a:lnTo>
                  <a:cubicBezTo>
                    <a:pt x="616739" y="1212179"/>
                    <a:pt x="761813" y="1196060"/>
                    <a:pt x="893992" y="1154149"/>
                  </a:cubicBezTo>
                  <a:cubicBezTo>
                    <a:pt x="871425" y="960716"/>
                    <a:pt x="781156" y="438448"/>
                    <a:pt x="774709" y="386866"/>
                  </a:cubicBezTo>
                  <a:cubicBezTo>
                    <a:pt x="758589" y="257910"/>
                    <a:pt x="674769" y="0"/>
                    <a:pt x="674769" y="0"/>
                  </a:cubicBezTo>
                  <a:lnTo>
                    <a:pt x="113813" y="0"/>
                  </a:lnTo>
                  <a:cubicBezTo>
                    <a:pt x="113813" y="0"/>
                    <a:pt x="26769" y="186985"/>
                    <a:pt x="4201" y="399761"/>
                  </a:cubicBezTo>
                  <a:cubicBezTo>
                    <a:pt x="-11918" y="551284"/>
                    <a:pt x="23544" y="1189612"/>
                    <a:pt x="23544" y="1189612"/>
                  </a:cubicBezTo>
                  <a:close/>
                </a:path>
              </a:pathLst>
            </a:custGeom>
            <a:solidFill>
              <a:srgbClr val="7F95BC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2" name="任意多边形: 形状 221">
              <a:extLst>
                <a:ext uri="{FF2B5EF4-FFF2-40B4-BE49-F238E27FC236}">
                  <a16:creationId xmlns:a16="http://schemas.microsoft.com/office/drawing/2014/main" id="{4DD44C5C-D70D-4488-AC85-425B9710E9DD}"/>
                </a:ext>
              </a:extLst>
            </p:cNvPr>
            <p:cNvSpPr/>
            <p:nvPr/>
          </p:nvSpPr>
          <p:spPr>
            <a:xfrm>
              <a:off x="5951476" y="4045143"/>
              <a:ext cx="48358" cy="367522"/>
            </a:xfrm>
            <a:custGeom>
              <a:avLst/>
              <a:gdLst>
                <a:gd name="connsiteX0" fmla="*/ 6448 w 48358"/>
                <a:gd name="connsiteY0" fmla="*/ 367522 h 367522"/>
                <a:gd name="connsiteX1" fmla="*/ 6448 w 48358"/>
                <a:gd name="connsiteY1" fmla="*/ 367522 h 367522"/>
                <a:gd name="connsiteX2" fmla="*/ 0 w 48358"/>
                <a:gd name="connsiteY2" fmla="*/ 361075 h 367522"/>
                <a:gd name="connsiteX3" fmla="*/ 35463 w 48358"/>
                <a:gd name="connsiteY3" fmla="*/ 6448 h 367522"/>
                <a:gd name="connsiteX4" fmla="*/ 41910 w 48358"/>
                <a:gd name="connsiteY4" fmla="*/ 0 h 367522"/>
                <a:gd name="connsiteX5" fmla="*/ 48358 w 48358"/>
                <a:gd name="connsiteY5" fmla="*/ 6448 h 367522"/>
                <a:gd name="connsiteX6" fmla="*/ 12895 w 48358"/>
                <a:gd name="connsiteY6" fmla="*/ 361075 h 367522"/>
                <a:gd name="connsiteX7" fmla="*/ 6448 w 48358"/>
                <a:gd name="connsiteY7" fmla="*/ 367522 h 367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358" h="367522">
                  <a:moveTo>
                    <a:pt x="6448" y="367522"/>
                  </a:moveTo>
                  <a:cubicBezTo>
                    <a:pt x="6448" y="367522"/>
                    <a:pt x="6448" y="367522"/>
                    <a:pt x="6448" y="367522"/>
                  </a:cubicBezTo>
                  <a:cubicBezTo>
                    <a:pt x="3224" y="367522"/>
                    <a:pt x="0" y="364299"/>
                    <a:pt x="0" y="361075"/>
                  </a:cubicBezTo>
                  <a:lnTo>
                    <a:pt x="35463" y="6448"/>
                  </a:lnTo>
                  <a:cubicBezTo>
                    <a:pt x="35463" y="3224"/>
                    <a:pt x="38686" y="0"/>
                    <a:pt x="41910" y="0"/>
                  </a:cubicBezTo>
                  <a:cubicBezTo>
                    <a:pt x="45134" y="0"/>
                    <a:pt x="48358" y="3224"/>
                    <a:pt x="48358" y="6448"/>
                  </a:cubicBezTo>
                  <a:lnTo>
                    <a:pt x="12895" y="361075"/>
                  </a:lnTo>
                  <a:cubicBezTo>
                    <a:pt x="12895" y="364299"/>
                    <a:pt x="9671" y="367522"/>
                    <a:pt x="6448" y="367522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3" name="任意多边形: 形状 222">
              <a:extLst>
                <a:ext uri="{FF2B5EF4-FFF2-40B4-BE49-F238E27FC236}">
                  <a16:creationId xmlns:a16="http://schemas.microsoft.com/office/drawing/2014/main" id="{8CA40C2B-0A32-4271-ACC0-F762AEF43D2B}"/>
                </a:ext>
              </a:extLst>
            </p:cNvPr>
            <p:cNvSpPr/>
            <p:nvPr/>
          </p:nvSpPr>
          <p:spPr>
            <a:xfrm>
              <a:off x="6044968" y="2693408"/>
              <a:ext cx="157970" cy="216928"/>
            </a:xfrm>
            <a:custGeom>
              <a:avLst/>
              <a:gdLst>
                <a:gd name="connsiteX0" fmla="*/ 157970 w 157970"/>
                <a:gd name="connsiteY0" fmla="*/ 928 h 216928"/>
                <a:gd name="connsiteX1" fmla="*/ 116060 w 157970"/>
                <a:gd name="connsiteY1" fmla="*/ 200809 h 216928"/>
                <a:gd name="connsiteX2" fmla="*/ 48358 w 157970"/>
                <a:gd name="connsiteY2" fmla="*/ 216928 h 216928"/>
                <a:gd name="connsiteX3" fmla="*/ 0 w 157970"/>
                <a:gd name="connsiteY3" fmla="*/ 113764 h 216928"/>
                <a:gd name="connsiteX4" fmla="*/ 157970 w 157970"/>
                <a:gd name="connsiteY4" fmla="*/ 928 h 216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970" h="216928">
                  <a:moveTo>
                    <a:pt x="157970" y="928"/>
                  </a:moveTo>
                  <a:lnTo>
                    <a:pt x="116060" y="200809"/>
                  </a:lnTo>
                  <a:lnTo>
                    <a:pt x="48358" y="216928"/>
                  </a:lnTo>
                  <a:lnTo>
                    <a:pt x="0" y="113764"/>
                  </a:lnTo>
                  <a:cubicBezTo>
                    <a:pt x="0" y="113764"/>
                    <a:pt x="54806" y="-11967"/>
                    <a:pt x="157970" y="928"/>
                  </a:cubicBez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4" name="任意多边形: 形状 223">
              <a:extLst>
                <a:ext uri="{FF2B5EF4-FFF2-40B4-BE49-F238E27FC236}">
                  <a16:creationId xmlns:a16="http://schemas.microsoft.com/office/drawing/2014/main" id="{0F289CCE-CBE6-4638-98E6-94B3F10BBA6D}"/>
                </a:ext>
              </a:extLst>
            </p:cNvPr>
            <p:cNvSpPr/>
            <p:nvPr/>
          </p:nvSpPr>
          <p:spPr>
            <a:xfrm>
              <a:off x="5625864" y="2529919"/>
              <a:ext cx="261134" cy="386865"/>
            </a:xfrm>
            <a:custGeom>
              <a:avLst/>
              <a:gdLst>
                <a:gd name="connsiteX0" fmla="*/ 0 w 261134"/>
                <a:gd name="connsiteY0" fmla="*/ 0 h 386865"/>
                <a:gd name="connsiteX1" fmla="*/ 128955 w 261134"/>
                <a:gd name="connsiteY1" fmla="*/ 380418 h 386865"/>
                <a:gd name="connsiteX2" fmla="*/ 212776 w 261134"/>
                <a:gd name="connsiteY2" fmla="*/ 386866 h 386865"/>
                <a:gd name="connsiteX3" fmla="*/ 261135 w 261134"/>
                <a:gd name="connsiteY3" fmla="*/ 264358 h 386865"/>
                <a:gd name="connsiteX4" fmla="*/ 164418 w 261134"/>
                <a:gd name="connsiteY4" fmla="*/ 119284 h 386865"/>
                <a:gd name="connsiteX5" fmla="*/ 0 w 261134"/>
                <a:gd name="connsiteY5" fmla="*/ 0 h 386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1134" h="386865">
                  <a:moveTo>
                    <a:pt x="0" y="0"/>
                  </a:moveTo>
                  <a:cubicBezTo>
                    <a:pt x="0" y="0"/>
                    <a:pt x="0" y="193433"/>
                    <a:pt x="128955" y="380418"/>
                  </a:cubicBezTo>
                  <a:lnTo>
                    <a:pt x="212776" y="386866"/>
                  </a:lnTo>
                  <a:lnTo>
                    <a:pt x="261135" y="264358"/>
                  </a:lnTo>
                  <a:lnTo>
                    <a:pt x="164418" y="1192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5" name="任意多边形: 形状 224">
              <a:extLst>
                <a:ext uri="{FF2B5EF4-FFF2-40B4-BE49-F238E27FC236}">
                  <a16:creationId xmlns:a16="http://schemas.microsoft.com/office/drawing/2014/main" id="{45A48923-8C09-43CA-8A73-8447F991A73D}"/>
                </a:ext>
              </a:extLst>
            </p:cNvPr>
            <p:cNvSpPr/>
            <p:nvPr/>
          </p:nvSpPr>
          <p:spPr>
            <a:xfrm>
              <a:off x="5636551" y="2909666"/>
              <a:ext cx="658394" cy="834963"/>
            </a:xfrm>
            <a:custGeom>
              <a:avLst/>
              <a:gdLst>
                <a:gd name="connsiteX0" fmla="*/ 37671 w 658394"/>
                <a:gd name="connsiteY0" fmla="*/ 332731 h 834963"/>
                <a:gd name="connsiteX1" fmla="*/ 50567 w 658394"/>
                <a:gd name="connsiteY1" fmla="*/ 58701 h 834963"/>
                <a:gd name="connsiteX2" fmla="*/ 360059 w 658394"/>
                <a:gd name="connsiteY2" fmla="*/ 3895 h 834963"/>
                <a:gd name="connsiteX3" fmla="*/ 614746 w 658394"/>
                <a:gd name="connsiteY3" fmla="*/ 90940 h 834963"/>
                <a:gd name="connsiteX4" fmla="*/ 611522 w 658394"/>
                <a:gd name="connsiteY4" fmla="*/ 829208 h 834963"/>
                <a:gd name="connsiteX5" fmla="*/ 37671 w 658394"/>
                <a:gd name="connsiteY5" fmla="*/ 816313 h 834963"/>
                <a:gd name="connsiteX6" fmla="*/ 37671 w 658394"/>
                <a:gd name="connsiteY6" fmla="*/ 332731 h 834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8394" h="834963">
                  <a:moveTo>
                    <a:pt x="37671" y="332731"/>
                  </a:moveTo>
                  <a:cubicBezTo>
                    <a:pt x="28000" y="306940"/>
                    <a:pt x="-49373" y="113507"/>
                    <a:pt x="50567" y="58701"/>
                  </a:cubicBezTo>
                  <a:cubicBezTo>
                    <a:pt x="137612" y="10343"/>
                    <a:pt x="263343" y="-9001"/>
                    <a:pt x="360059" y="3895"/>
                  </a:cubicBezTo>
                  <a:cubicBezTo>
                    <a:pt x="469671" y="16790"/>
                    <a:pt x="582507" y="36134"/>
                    <a:pt x="614746" y="90940"/>
                  </a:cubicBezTo>
                  <a:cubicBezTo>
                    <a:pt x="708239" y="248910"/>
                    <a:pt x="624418" y="716372"/>
                    <a:pt x="611522" y="829208"/>
                  </a:cubicBezTo>
                  <a:cubicBezTo>
                    <a:pt x="611522" y="829208"/>
                    <a:pt x="369731" y="848552"/>
                    <a:pt x="37671" y="816313"/>
                  </a:cubicBezTo>
                  <a:cubicBezTo>
                    <a:pt x="28000" y="632552"/>
                    <a:pt x="44119" y="352074"/>
                    <a:pt x="37671" y="332731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6" name="任意多边形: 形状 225">
              <a:extLst>
                <a:ext uri="{FF2B5EF4-FFF2-40B4-BE49-F238E27FC236}">
                  <a16:creationId xmlns:a16="http://schemas.microsoft.com/office/drawing/2014/main" id="{54A3B33C-E8A2-430C-894B-F57C0D13C457}"/>
                </a:ext>
              </a:extLst>
            </p:cNvPr>
            <p:cNvSpPr/>
            <p:nvPr/>
          </p:nvSpPr>
          <p:spPr>
            <a:xfrm>
              <a:off x="5909213" y="2217556"/>
              <a:ext cx="339675" cy="624694"/>
            </a:xfrm>
            <a:custGeom>
              <a:avLst/>
              <a:gdLst>
                <a:gd name="connsiteX0" fmla="*/ 151875 w 339675"/>
                <a:gd name="connsiteY0" fmla="*/ 608959 h 624694"/>
                <a:gd name="connsiteX1" fmla="*/ 338860 w 339675"/>
                <a:gd name="connsiteY1" fmla="*/ 244661 h 624694"/>
                <a:gd name="connsiteX2" fmla="*/ 353 w 339675"/>
                <a:gd name="connsiteY2" fmla="*/ 9317 h 624694"/>
                <a:gd name="connsiteX3" fmla="*/ 39039 w 339675"/>
                <a:gd name="connsiteY3" fmla="*/ 186631 h 624694"/>
                <a:gd name="connsiteX4" fmla="*/ 90622 w 339675"/>
                <a:gd name="connsiteY4" fmla="*/ 338153 h 624694"/>
                <a:gd name="connsiteX5" fmla="*/ 151875 w 339675"/>
                <a:gd name="connsiteY5" fmla="*/ 608959 h 62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9675" h="624694">
                  <a:moveTo>
                    <a:pt x="151875" y="608959"/>
                  </a:moveTo>
                  <a:cubicBezTo>
                    <a:pt x="316293" y="576720"/>
                    <a:pt x="345308" y="312362"/>
                    <a:pt x="338860" y="244661"/>
                  </a:cubicBezTo>
                  <a:cubicBezTo>
                    <a:pt x="316293" y="70571"/>
                    <a:pt x="122860" y="-32593"/>
                    <a:pt x="353" y="9317"/>
                  </a:cubicBezTo>
                  <a:cubicBezTo>
                    <a:pt x="-2871" y="9317"/>
                    <a:pt x="16472" y="135049"/>
                    <a:pt x="39039" y="186631"/>
                  </a:cubicBezTo>
                  <a:cubicBezTo>
                    <a:pt x="61607" y="234989"/>
                    <a:pt x="80950" y="286571"/>
                    <a:pt x="90622" y="338153"/>
                  </a:cubicBezTo>
                  <a:cubicBezTo>
                    <a:pt x="97069" y="396183"/>
                    <a:pt x="45487" y="696004"/>
                    <a:pt x="151875" y="608959"/>
                  </a:cubicBez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7" name="任意多边形: 形状 226">
              <a:extLst>
                <a:ext uri="{FF2B5EF4-FFF2-40B4-BE49-F238E27FC236}">
                  <a16:creationId xmlns:a16="http://schemas.microsoft.com/office/drawing/2014/main" id="{E6031747-9170-4FB2-BF63-99C3C21725B6}"/>
                </a:ext>
              </a:extLst>
            </p:cNvPr>
            <p:cNvSpPr/>
            <p:nvPr/>
          </p:nvSpPr>
          <p:spPr>
            <a:xfrm>
              <a:off x="5729028" y="2277515"/>
              <a:ext cx="444202" cy="601046"/>
            </a:xfrm>
            <a:custGeom>
              <a:avLst/>
              <a:gdLst>
                <a:gd name="connsiteX0" fmla="*/ 438448 w 444202"/>
                <a:gd name="connsiteY0" fmla="*/ 194374 h 601046"/>
                <a:gd name="connsiteX1" fmla="*/ 425552 w 444202"/>
                <a:gd name="connsiteY1" fmla="*/ 465180 h 601046"/>
                <a:gd name="connsiteX2" fmla="*/ 267582 w 444202"/>
                <a:gd name="connsiteY2" fmla="*/ 600583 h 601046"/>
                <a:gd name="connsiteX3" fmla="*/ 38686 w 444202"/>
                <a:gd name="connsiteY3" fmla="*/ 449060 h 601046"/>
                <a:gd name="connsiteX4" fmla="*/ 0 w 444202"/>
                <a:gd name="connsiteY4" fmla="*/ 210493 h 601046"/>
                <a:gd name="connsiteX5" fmla="*/ 225672 w 444202"/>
                <a:gd name="connsiteY5" fmla="*/ 941 h 601046"/>
                <a:gd name="connsiteX6" fmla="*/ 438448 w 444202"/>
                <a:gd name="connsiteY6" fmla="*/ 194374 h 60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4202" h="601046">
                  <a:moveTo>
                    <a:pt x="438448" y="194374"/>
                  </a:moveTo>
                  <a:cubicBezTo>
                    <a:pt x="438448" y="194374"/>
                    <a:pt x="457791" y="391030"/>
                    <a:pt x="425552" y="465180"/>
                  </a:cubicBezTo>
                  <a:cubicBezTo>
                    <a:pt x="390090" y="552224"/>
                    <a:pt x="322388" y="597359"/>
                    <a:pt x="267582" y="600583"/>
                  </a:cubicBezTo>
                  <a:cubicBezTo>
                    <a:pt x="196657" y="607030"/>
                    <a:pt x="77373" y="545777"/>
                    <a:pt x="38686" y="449060"/>
                  </a:cubicBezTo>
                  <a:cubicBezTo>
                    <a:pt x="9671" y="374911"/>
                    <a:pt x="0" y="265299"/>
                    <a:pt x="0" y="210493"/>
                  </a:cubicBezTo>
                  <a:cubicBezTo>
                    <a:pt x="3224" y="110553"/>
                    <a:pt x="32239" y="26732"/>
                    <a:pt x="225672" y="941"/>
                  </a:cubicBezTo>
                  <a:cubicBezTo>
                    <a:pt x="319164" y="-11955"/>
                    <a:pt x="419104" y="110553"/>
                    <a:pt x="438448" y="194374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8" name="任意多边形: 形状 227">
              <a:extLst>
                <a:ext uri="{FF2B5EF4-FFF2-40B4-BE49-F238E27FC236}">
                  <a16:creationId xmlns:a16="http://schemas.microsoft.com/office/drawing/2014/main" id="{DD62D407-B95F-4C41-AC53-8AA81B2C1AB7}"/>
                </a:ext>
              </a:extLst>
            </p:cNvPr>
            <p:cNvSpPr/>
            <p:nvPr/>
          </p:nvSpPr>
          <p:spPr>
            <a:xfrm>
              <a:off x="5967595" y="2562158"/>
              <a:ext cx="58029" cy="138626"/>
            </a:xfrm>
            <a:custGeom>
              <a:avLst/>
              <a:gdLst>
                <a:gd name="connsiteX0" fmla="*/ 32239 w 58029"/>
                <a:gd name="connsiteY0" fmla="*/ 138627 h 138626"/>
                <a:gd name="connsiteX1" fmla="*/ 6448 w 58029"/>
                <a:gd name="connsiteY1" fmla="*/ 135403 h 138626"/>
                <a:gd name="connsiteX2" fmla="*/ 0 w 58029"/>
                <a:gd name="connsiteY2" fmla="*/ 128955 h 138626"/>
                <a:gd name="connsiteX3" fmla="*/ 6448 w 58029"/>
                <a:gd name="connsiteY3" fmla="*/ 122507 h 138626"/>
                <a:gd name="connsiteX4" fmla="*/ 48358 w 58029"/>
                <a:gd name="connsiteY4" fmla="*/ 122507 h 138626"/>
                <a:gd name="connsiteX5" fmla="*/ 48358 w 58029"/>
                <a:gd name="connsiteY5" fmla="*/ 119284 h 138626"/>
                <a:gd name="connsiteX6" fmla="*/ 19343 w 58029"/>
                <a:gd name="connsiteY6" fmla="*/ 6448 h 138626"/>
                <a:gd name="connsiteX7" fmla="*/ 22567 w 58029"/>
                <a:gd name="connsiteY7" fmla="*/ 0 h 138626"/>
                <a:gd name="connsiteX8" fmla="*/ 29015 w 58029"/>
                <a:gd name="connsiteY8" fmla="*/ 3224 h 138626"/>
                <a:gd name="connsiteX9" fmla="*/ 58030 w 58029"/>
                <a:gd name="connsiteY9" fmla="*/ 119284 h 138626"/>
                <a:gd name="connsiteX10" fmla="*/ 51582 w 58029"/>
                <a:gd name="connsiteY10" fmla="*/ 132179 h 138626"/>
                <a:gd name="connsiteX11" fmla="*/ 32239 w 58029"/>
                <a:gd name="connsiteY11" fmla="*/ 138627 h 13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029" h="138626">
                  <a:moveTo>
                    <a:pt x="32239" y="138627"/>
                  </a:moveTo>
                  <a:cubicBezTo>
                    <a:pt x="19343" y="138627"/>
                    <a:pt x="9671" y="135403"/>
                    <a:pt x="6448" y="135403"/>
                  </a:cubicBezTo>
                  <a:cubicBezTo>
                    <a:pt x="3224" y="135403"/>
                    <a:pt x="0" y="132179"/>
                    <a:pt x="0" y="128955"/>
                  </a:cubicBezTo>
                  <a:cubicBezTo>
                    <a:pt x="0" y="125731"/>
                    <a:pt x="3224" y="122507"/>
                    <a:pt x="6448" y="122507"/>
                  </a:cubicBezTo>
                  <a:cubicBezTo>
                    <a:pt x="19343" y="125731"/>
                    <a:pt x="41910" y="125731"/>
                    <a:pt x="48358" y="122507"/>
                  </a:cubicBezTo>
                  <a:cubicBezTo>
                    <a:pt x="48358" y="122507"/>
                    <a:pt x="48358" y="119284"/>
                    <a:pt x="48358" y="119284"/>
                  </a:cubicBezTo>
                  <a:cubicBezTo>
                    <a:pt x="48358" y="103164"/>
                    <a:pt x="25791" y="32239"/>
                    <a:pt x="19343" y="6448"/>
                  </a:cubicBezTo>
                  <a:cubicBezTo>
                    <a:pt x="19343" y="3224"/>
                    <a:pt x="19343" y="0"/>
                    <a:pt x="22567" y="0"/>
                  </a:cubicBezTo>
                  <a:cubicBezTo>
                    <a:pt x="25791" y="0"/>
                    <a:pt x="29015" y="0"/>
                    <a:pt x="29015" y="3224"/>
                  </a:cubicBezTo>
                  <a:cubicBezTo>
                    <a:pt x="29015" y="6448"/>
                    <a:pt x="58030" y="96716"/>
                    <a:pt x="58030" y="119284"/>
                  </a:cubicBezTo>
                  <a:cubicBezTo>
                    <a:pt x="58030" y="125731"/>
                    <a:pt x="54806" y="128955"/>
                    <a:pt x="51582" y="132179"/>
                  </a:cubicBezTo>
                  <a:cubicBezTo>
                    <a:pt x="51582" y="138627"/>
                    <a:pt x="41910" y="138627"/>
                    <a:pt x="32239" y="138627"/>
                  </a:cubicBezTo>
                  <a:close/>
                </a:path>
              </a:pathLst>
            </a:custGeom>
            <a:solidFill>
              <a:srgbClr val="E58777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9" name="任意多边形: 形状 228">
              <a:extLst>
                <a:ext uri="{FF2B5EF4-FFF2-40B4-BE49-F238E27FC236}">
                  <a16:creationId xmlns:a16="http://schemas.microsoft.com/office/drawing/2014/main" id="{802867ED-37FA-4C66-B125-DA3C84414BD6}"/>
                </a:ext>
              </a:extLst>
            </p:cNvPr>
            <p:cNvSpPr/>
            <p:nvPr/>
          </p:nvSpPr>
          <p:spPr>
            <a:xfrm>
              <a:off x="6064312" y="2532321"/>
              <a:ext cx="42542" cy="43553"/>
            </a:xfrm>
            <a:custGeom>
              <a:avLst/>
              <a:gdLst>
                <a:gd name="connsiteX0" fmla="*/ 0 w 42542"/>
                <a:gd name="connsiteY0" fmla="*/ 26613 h 43553"/>
                <a:gd name="connsiteX1" fmla="*/ 25791 w 42542"/>
                <a:gd name="connsiteY1" fmla="*/ 42732 h 43553"/>
                <a:gd name="connsiteX2" fmla="*/ 41910 w 42542"/>
                <a:gd name="connsiteY2" fmla="*/ 16941 h 43553"/>
                <a:gd name="connsiteX3" fmla="*/ 16119 w 42542"/>
                <a:gd name="connsiteY3" fmla="*/ 822 h 43553"/>
                <a:gd name="connsiteX4" fmla="*/ 0 w 42542"/>
                <a:gd name="connsiteY4" fmla="*/ 26613 h 4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42" h="43553">
                  <a:moveTo>
                    <a:pt x="0" y="26613"/>
                  </a:moveTo>
                  <a:cubicBezTo>
                    <a:pt x="3224" y="39508"/>
                    <a:pt x="12895" y="45956"/>
                    <a:pt x="25791" y="42732"/>
                  </a:cubicBezTo>
                  <a:cubicBezTo>
                    <a:pt x="35463" y="39508"/>
                    <a:pt x="45134" y="29836"/>
                    <a:pt x="41910" y="16941"/>
                  </a:cubicBezTo>
                  <a:cubicBezTo>
                    <a:pt x="38686" y="4045"/>
                    <a:pt x="29015" y="-2402"/>
                    <a:pt x="16119" y="822"/>
                  </a:cubicBezTo>
                  <a:cubicBezTo>
                    <a:pt x="6448" y="4045"/>
                    <a:pt x="0" y="13717"/>
                    <a:pt x="0" y="2661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0" name="任意多边形: 形状 229">
              <a:extLst>
                <a:ext uri="{FF2B5EF4-FFF2-40B4-BE49-F238E27FC236}">
                  <a16:creationId xmlns:a16="http://schemas.microsoft.com/office/drawing/2014/main" id="{D184CC7A-52F6-4E7E-AFE5-2CD69EA339AE}"/>
                </a:ext>
              </a:extLst>
            </p:cNvPr>
            <p:cNvSpPr/>
            <p:nvPr/>
          </p:nvSpPr>
          <p:spPr>
            <a:xfrm>
              <a:off x="5863609" y="2538769"/>
              <a:ext cx="43553" cy="43553"/>
            </a:xfrm>
            <a:custGeom>
              <a:avLst/>
              <a:gdLst>
                <a:gd name="connsiteX0" fmla="*/ 822 w 43553"/>
                <a:gd name="connsiteY0" fmla="*/ 26613 h 43553"/>
                <a:gd name="connsiteX1" fmla="*/ 26613 w 43553"/>
                <a:gd name="connsiteY1" fmla="*/ 42732 h 43553"/>
                <a:gd name="connsiteX2" fmla="*/ 42732 w 43553"/>
                <a:gd name="connsiteY2" fmla="*/ 16941 h 43553"/>
                <a:gd name="connsiteX3" fmla="*/ 16941 w 43553"/>
                <a:gd name="connsiteY3" fmla="*/ 822 h 43553"/>
                <a:gd name="connsiteX4" fmla="*/ 822 w 43553"/>
                <a:gd name="connsiteY4" fmla="*/ 26613 h 4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53" h="43553">
                  <a:moveTo>
                    <a:pt x="822" y="26613"/>
                  </a:moveTo>
                  <a:cubicBezTo>
                    <a:pt x="4045" y="39508"/>
                    <a:pt x="13717" y="45956"/>
                    <a:pt x="26613" y="42732"/>
                  </a:cubicBezTo>
                  <a:cubicBezTo>
                    <a:pt x="39508" y="39508"/>
                    <a:pt x="45956" y="29836"/>
                    <a:pt x="42732" y="16941"/>
                  </a:cubicBezTo>
                  <a:cubicBezTo>
                    <a:pt x="39508" y="4045"/>
                    <a:pt x="29837" y="-2402"/>
                    <a:pt x="16941" y="822"/>
                  </a:cubicBezTo>
                  <a:cubicBezTo>
                    <a:pt x="4045" y="4045"/>
                    <a:pt x="-2402" y="13717"/>
                    <a:pt x="822" y="2661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1" name="任意多边形: 形状 230">
              <a:extLst>
                <a:ext uri="{FF2B5EF4-FFF2-40B4-BE49-F238E27FC236}">
                  <a16:creationId xmlns:a16="http://schemas.microsoft.com/office/drawing/2014/main" id="{993B5556-28C5-4A12-B9AA-7836C0146EAA}"/>
                </a:ext>
              </a:extLst>
            </p:cNvPr>
            <p:cNvSpPr/>
            <p:nvPr/>
          </p:nvSpPr>
          <p:spPr>
            <a:xfrm>
              <a:off x="6037185" y="2484784"/>
              <a:ext cx="97245" cy="32238"/>
            </a:xfrm>
            <a:custGeom>
              <a:avLst/>
              <a:gdLst>
                <a:gd name="connsiteX0" fmla="*/ 88380 w 97245"/>
                <a:gd name="connsiteY0" fmla="*/ 32239 h 32238"/>
                <a:gd name="connsiteX1" fmla="*/ 81932 w 97245"/>
                <a:gd name="connsiteY1" fmla="*/ 29015 h 32238"/>
                <a:gd name="connsiteX2" fmla="*/ 11007 w 97245"/>
                <a:gd name="connsiteY2" fmla="*/ 22567 h 32238"/>
                <a:gd name="connsiteX3" fmla="*/ 1335 w 97245"/>
                <a:gd name="connsiteY3" fmla="*/ 19343 h 32238"/>
                <a:gd name="connsiteX4" fmla="*/ 4559 w 97245"/>
                <a:gd name="connsiteY4" fmla="*/ 9672 h 32238"/>
                <a:gd name="connsiteX5" fmla="*/ 94828 w 97245"/>
                <a:gd name="connsiteY5" fmla="*/ 19343 h 32238"/>
                <a:gd name="connsiteX6" fmla="*/ 94828 w 97245"/>
                <a:gd name="connsiteY6" fmla="*/ 32239 h 32238"/>
                <a:gd name="connsiteX7" fmla="*/ 88380 w 97245"/>
                <a:gd name="connsiteY7" fmla="*/ 32239 h 32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5" h="32238">
                  <a:moveTo>
                    <a:pt x="88380" y="32239"/>
                  </a:moveTo>
                  <a:cubicBezTo>
                    <a:pt x="85156" y="32239"/>
                    <a:pt x="85156" y="32239"/>
                    <a:pt x="81932" y="29015"/>
                  </a:cubicBezTo>
                  <a:cubicBezTo>
                    <a:pt x="56141" y="0"/>
                    <a:pt x="14231" y="19343"/>
                    <a:pt x="11007" y="22567"/>
                  </a:cubicBezTo>
                  <a:cubicBezTo>
                    <a:pt x="7783" y="25791"/>
                    <a:pt x="1335" y="22567"/>
                    <a:pt x="1335" y="19343"/>
                  </a:cubicBezTo>
                  <a:cubicBezTo>
                    <a:pt x="-1888" y="16119"/>
                    <a:pt x="1335" y="9672"/>
                    <a:pt x="4559" y="9672"/>
                  </a:cubicBezTo>
                  <a:cubicBezTo>
                    <a:pt x="23902" y="0"/>
                    <a:pt x="65813" y="-9672"/>
                    <a:pt x="94828" y="19343"/>
                  </a:cubicBezTo>
                  <a:cubicBezTo>
                    <a:pt x="98052" y="22567"/>
                    <a:pt x="98052" y="29015"/>
                    <a:pt x="94828" y="32239"/>
                  </a:cubicBezTo>
                  <a:cubicBezTo>
                    <a:pt x="91604" y="32239"/>
                    <a:pt x="91604" y="32239"/>
                    <a:pt x="88380" y="32239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2" name="任意多边形: 形状 231">
              <a:extLst>
                <a:ext uri="{FF2B5EF4-FFF2-40B4-BE49-F238E27FC236}">
                  <a16:creationId xmlns:a16="http://schemas.microsoft.com/office/drawing/2014/main" id="{B62113F9-596C-45B7-95E4-C43DF763FE1D}"/>
                </a:ext>
              </a:extLst>
            </p:cNvPr>
            <p:cNvSpPr/>
            <p:nvPr/>
          </p:nvSpPr>
          <p:spPr>
            <a:xfrm>
              <a:off x="5836222" y="2479411"/>
              <a:ext cx="97245" cy="37611"/>
            </a:xfrm>
            <a:custGeom>
              <a:avLst/>
              <a:gdLst>
                <a:gd name="connsiteX0" fmla="*/ 8866 w 97245"/>
                <a:gd name="connsiteY0" fmla="*/ 37612 h 37611"/>
                <a:gd name="connsiteX1" fmla="*/ 2418 w 97245"/>
                <a:gd name="connsiteY1" fmla="*/ 34388 h 37611"/>
                <a:gd name="connsiteX2" fmla="*/ 2418 w 97245"/>
                <a:gd name="connsiteY2" fmla="*/ 21493 h 37611"/>
                <a:gd name="connsiteX3" fmla="*/ 92687 w 97245"/>
                <a:gd name="connsiteY3" fmla="*/ 11821 h 37611"/>
                <a:gd name="connsiteX4" fmla="*/ 95910 w 97245"/>
                <a:gd name="connsiteY4" fmla="*/ 24716 h 37611"/>
                <a:gd name="connsiteX5" fmla="*/ 83015 w 97245"/>
                <a:gd name="connsiteY5" fmla="*/ 27940 h 37611"/>
                <a:gd name="connsiteX6" fmla="*/ 12090 w 97245"/>
                <a:gd name="connsiteY6" fmla="*/ 34388 h 37611"/>
                <a:gd name="connsiteX7" fmla="*/ 8866 w 97245"/>
                <a:gd name="connsiteY7" fmla="*/ 37612 h 37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5" h="37611">
                  <a:moveTo>
                    <a:pt x="8866" y="37612"/>
                  </a:moveTo>
                  <a:cubicBezTo>
                    <a:pt x="5642" y="37612"/>
                    <a:pt x="5642" y="37612"/>
                    <a:pt x="2418" y="34388"/>
                  </a:cubicBezTo>
                  <a:cubicBezTo>
                    <a:pt x="-806" y="31164"/>
                    <a:pt x="-806" y="24716"/>
                    <a:pt x="2418" y="21493"/>
                  </a:cubicBezTo>
                  <a:cubicBezTo>
                    <a:pt x="15313" y="8597"/>
                    <a:pt x="54000" y="-13970"/>
                    <a:pt x="92687" y="11821"/>
                  </a:cubicBezTo>
                  <a:cubicBezTo>
                    <a:pt x="95910" y="15045"/>
                    <a:pt x="99134" y="18269"/>
                    <a:pt x="95910" y="24716"/>
                  </a:cubicBezTo>
                  <a:cubicBezTo>
                    <a:pt x="92687" y="27940"/>
                    <a:pt x="89463" y="31164"/>
                    <a:pt x="83015" y="27940"/>
                  </a:cubicBezTo>
                  <a:cubicBezTo>
                    <a:pt x="44328" y="2149"/>
                    <a:pt x="15313" y="34388"/>
                    <a:pt x="12090" y="34388"/>
                  </a:cubicBezTo>
                  <a:cubicBezTo>
                    <a:pt x="12090" y="37612"/>
                    <a:pt x="8866" y="37612"/>
                    <a:pt x="8866" y="37612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3" name="任意多边形: 形状 232">
              <a:extLst>
                <a:ext uri="{FF2B5EF4-FFF2-40B4-BE49-F238E27FC236}">
                  <a16:creationId xmlns:a16="http://schemas.microsoft.com/office/drawing/2014/main" id="{1C144A20-0544-413F-BDF1-5E48FCE06E13}"/>
                </a:ext>
              </a:extLst>
            </p:cNvPr>
            <p:cNvSpPr/>
            <p:nvPr/>
          </p:nvSpPr>
          <p:spPr>
            <a:xfrm>
              <a:off x="5906253" y="2224149"/>
              <a:ext cx="290237" cy="292873"/>
            </a:xfrm>
            <a:custGeom>
              <a:avLst/>
              <a:gdLst>
                <a:gd name="connsiteX0" fmla="*/ 3312 w 290237"/>
                <a:gd name="connsiteY0" fmla="*/ 2724 h 292873"/>
                <a:gd name="connsiteX1" fmla="*/ 38775 w 290237"/>
                <a:gd name="connsiteY1" fmla="*/ 157471 h 292873"/>
                <a:gd name="connsiteX2" fmla="*/ 290237 w 290237"/>
                <a:gd name="connsiteY2" fmla="*/ 292874 h 292873"/>
                <a:gd name="connsiteX3" fmla="*/ 3312 w 290237"/>
                <a:gd name="connsiteY3" fmla="*/ 2724 h 292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237" h="292873">
                  <a:moveTo>
                    <a:pt x="3312" y="2724"/>
                  </a:moveTo>
                  <a:cubicBezTo>
                    <a:pt x="3312" y="2724"/>
                    <a:pt x="-16031" y="115560"/>
                    <a:pt x="38775" y="157471"/>
                  </a:cubicBezTo>
                  <a:cubicBezTo>
                    <a:pt x="38775" y="157471"/>
                    <a:pt x="261222" y="202605"/>
                    <a:pt x="290237" y="292874"/>
                  </a:cubicBezTo>
                  <a:cubicBezTo>
                    <a:pt x="287014" y="289650"/>
                    <a:pt x="309581" y="-32738"/>
                    <a:pt x="3312" y="2724"/>
                  </a:cubicBez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4" name="任意多边形: 形状 233">
              <a:extLst>
                <a:ext uri="{FF2B5EF4-FFF2-40B4-BE49-F238E27FC236}">
                  <a16:creationId xmlns:a16="http://schemas.microsoft.com/office/drawing/2014/main" id="{CFB6D2CA-8E30-48BB-A564-07F30024759E}"/>
                </a:ext>
              </a:extLst>
            </p:cNvPr>
            <p:cNvSpPr/>
            <p:nvPr/>
          </p:nvSpPr>
          <p:spPr>
            <a:xfrm>
              <a:off x="5627617" y="2226874"/>
              <a:ext cx="314187" cy="371232"/>
            </a:xfrm>
            <a:custGeom>
              <a:avLst/>
              <a:gdLst>
                <a:gd name="connsiteX0" fmla="*/ 314188 w 314187"/>
                <a:gd name="connsiteY0" fmla="*/ 154746 h 371232"/>
                <a:gd name="connsiteX1" fmla="*/ 165889 w 314187"/>
                <a:gd name="connsiteY1" fmla="*/ 212776 h 371232"/>
                <a:gd name="connsiteX2" fmla="*/ 104635 w 314187"/>
                <a:gd name="connsiteY2" fmla="*/ 338508 h 371232"/>
                <a:gd name="connsiteX3" fmla="*/ 11143 w 314187"/>
                <a:gd name="connsiteY3" fmla="*/ 361075 h 371232"/>
                <a:gd name="connsiteX4" fmla="*/ 281949 w 314187"/>
                <a:gd name="connsiteY4" fmla="*/ 0 h 371232"/>
                <a:gd name="connsiteX5" fmla="*/ 314188 w 314187"/>
                <a:gd name="connsiteY5" fmla="*/ 154746 h 371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4187" h="371232">
                  <a:moveTo>
                    <a:pt x="314188" y="154746"/>
                  </a:moveTo>
                  <a:cubicBezTo>
                    <a:pt x="314188" y="154746"/>
                    <a:pt x="217471" y="206328"/>
                    <a:pt x="165889" y="212776"/>
                  </a:cubicBezTo>
                  <a:cubicBezTo>
                    <a:pt x="111083" y="219224"/>
                    <a:pt x="104635" y="338508"/>
                    <a:pt x="104635" y="338508"/>
                  </a:cubicBezTo>
                  <a:cubicBezTo>
                    <a:pt x="104635" y="338508"/>
                    <a:pt x="27262" y="393313"/>
                    <a:pt x="11143" y="361075"/>
                  </a:cubicBezTo>
                  <a:cubicBezTo>
                    <a:pt x="-24320" y="290149"/>
                    <a:pt x="14367" y="0"/>
                    <a:pt x="281949" y="0"/>
                  </a:cubicBezTo>
                  <a:cubicBezTo>
                    <a:pt x="281949" y="0"/>
                    <a:pt x="291621" y="148298"/>
                    <a:pt x="314188" y="154746"/>
                  </a:cubicBez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5" name="任意多边形: 形状 234">
              <a:extLst>
                <a:ext uri="{FF2B5EF4-FFF2-40B4-BE49-F238E27FC236}">
                  <a16:creationId xmlns:a16="http://schemas.microsoft.com/office/drawing/2014/main" id="{A1D27519-9180-4610-B181-0F63D9439DD5}"/>
                </a:ext>
              </a:extLst>
            </p:cNvPr>
            <p:cNvSpPr/>
            <p:nvPr/>
          </p:nvSpPr>
          <p:spPr>
            <a:xfrm>
              <a:off x="5828968" y="2758814"/>
              <a:ext cx="261134" cy="277253"/>
            </a:xfrm>
            <a:custGeom>
              <a:avLst/>
              <a:gdLst>
                <a:gd name="connsiteX0" fmla="*/ 235343 w 261134"/>
                <a:gd name="connsiteY0" fmla="*/ 35463 h 277253"/>
                <a:gd name="connsiteX1" fmla="*/ 261134 w 261134"/>
                <a:gd name="connsiteY1" fmla="*/ 170866 h 277253"/>
                <a:gd name="connsiteX2" fmla="*/ 164418 w 261134"/>
                <a:gd name="connsiteY2" fmla="*/ 277254 h 277253"/>
                <a:gd name="connsiteX3" fmla="*/ 0 w 261134"/>
                <a:gd name="connsiteY3" fmla="*/ 157970 h 277253"/>
                <a:gd name="connsiteX4" fmla="*/ 45134 w 261134"/>
                <a:gd name="connsiteY4" fmla="*/ 0 h 277253"/>
                <a:gd name="connsiteX5" fmla="*/ 235343 w 261134"/>
                <a:gd name="connsiteY5" fmla="*/ 35463 h 27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1134" h="277253">
                  <a:moveTo>
                    <a:pt x="235343" y="35463"/>
                  </a:moveTo>
                  <a:cubicBezTo>
                    <a:pt x="235343" y="35463"/>
                    <a:pt x="232119" y="119284"/>
                    <a:pt x="261134" y="170866"/>
                  </a:cubicBezTo>
                  <a:lnTo>
                    <a:pt x="164418" y="277254"/>
                  </a:lnTo>
                  <a:cubicBezTo>
                    <a:pt x="164418" y="277254"/>
                    <a:pt x="45134" y="183761"/>
                    <a:pt x="0" y="157970"/>
                  </a:cubicBezTo>
                  <a:cubicBezTo>
                    <a:pt x="35463" y="106388"/>
                    <a:pt x="45134" y="51582"/>
                    <a:pt x="45134" y="0"/>
                  </a:cubicBezTo>
                  <a:cubicBezTo>
                    <a:pt x="45134" y="0"/>
                    <a:pt x="190209" y="41910"/>
                    <a:pt x="235343" y="35463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6" name="任意多边形: 形状 235">
              <a:extLst>
                <a:ext uri="{FF2B5EF4-FFF2-40B4-BE49-F238E27FC236}">
                  <a16:creationId xmlns:a16="http://schemas.microsoft.com/office/drawing/2014/main" id="{F3F47A36-C787-4299-84D9-F1003701B3CA}"/>
                </a:ext>
              </a:extLst>
            </p:cNvPr>
            <p:cNvSpPr/>
            <p:nvPr/>
          </p:nvSpPr>
          <p:spPr>
            <a:xfrm>
              <a:off x="5845894" y="2820874"/>
              <a:ext cx="223074" cy="63671"/>
            </a:xfrm>
            <a:custGeom>
              <a:avLst/>
              <a:gdLst>
                <a:gd name="connsiteX0" fmla="*/ 137821 w 223074"/>
                <a:gd name="connsiteY0" fmla="*/ 63672 h 63671"/>
                <a:gd name="connsiteX1" fmla="*/ 2418 w 223074"/>
                <a:gd name="connsiteY1" fmla="*/ 12090 h 63671"/>
                <a:gd name="connsiteX2" fmla="*/ 2418 w 223074"/>
                <a:gd name="connsiteY2" fmla="*/ 2418 h 63671"/>
                <a:gd name="connsiteX3" fmla="*/ 12090 w 223074"/>
                <a:gd name="connsiteY3" fmla="*/ 2418 h 63671"/>
                <a:gd name="connsiteX4" fmla="*/ 137821 w 223074"/>
                <a:gd name="connsiteY4" fmla="*/ 50776 h 63671"/>
                <a:gd name="connsiteX5" fmla="*/ 137821 w 223074"/>
                <a:gd name="connsiteY5" fmla="*/ 50776 h 63671"/>
                <a:gd name="connsiteX6" fmla="*/ 211970 w 223074"/>
                <a:gd name="connsiteY6" fmla="*/ 24985 h 63671"/>
                <a:gd name="connsiteX7" fmla="*/ 221642 w 223074"/>
                <a:gd name="connsiteY7" fmla="*/ 24985 h 63671"/>
                <a:gd name="connsiteX8" fmla="*/ 221642 w 223074"/>
                <a:gd name="connsiteY8" fmla="*/ 34657 h 63671"/>
                <a:gd name="connsiteX9" fmla="*/ 137821 w 223074"/>
                <a:gd name="connsiteY9" fmla="*/ 63672 h 63671"/>
                <a:gd name="connsiteX10" fmla="*/ 137821 w 223074"/>
                <a:gd name="connsiteY10" fmla="*/ 63672 h 63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3074" h="63671">
                  <a:moveTo>
                    <a:pt x="137821" y="63672"/>
                  </a:moveTo>
                  <a:cubicBezTo>
                    <a:pt x="79791" y="63672"/>
                    <a:pt x="5642" y="15313"/>
                    <a:pt x="2418" y="12090"/>
                  </a:cubicBezTo>
                  <a:cubicBezTo>
                    <a:pt x="-806" y="8866"/>
                    <a:pt x="-806" y="5642"/>
                    <a:pt x="2418" y="2418"/>
                  </a:cubicBezTo>
                  <a:cubicBezTo>
                    <a:pt x="5642" y="-806"/>
                    <a:pt x="8866" y="-806"/>
                    <a:pt x="12090" y="2418"/>
                  </a:cubicBezTo>
                  <a:cubicBezTo>
                    <a:pt x="12090" y="2418"/>
                    <a:pt x="83015" y="50776"/>
                    <a:pt x="137821" y="50776"/>
                  </a:cubicBezTo>
                  <a:cubicBezTo>
                    <a:pt x="137821" y="50776"/>
                    <a:pt x="137821" y="50776"/>
                    <a:pt x="137821" y="50776"/>
                  </a:cubicBezTo>
                  <a:cubicBezTo>
                    <a:pt x="179731" y="50776"/>
                    <a:pt x="211970" y="24985"/>
                    <a:pt x="211970" y="24985"/>
                  </a:cubicBezTo>
                  <a:cubicBezTo>
                    <a:pt x="215194" y="21761"/>
                    <a:pt x="218418" y="21761"/>
                    <a:pt x="221642" y="24985"/>
                  </a:cubicBezTo>
                  <a:cubicBezTo>
                    <a:pt x="224866" y="28209"/>
                    <a:pt x="221642" y="31433"/>
                    <a:pt x="221642" y="34657"/>
                  </a:cubicBezTo>
                  <a:cubicBezTo>
                    <a:pt x="218418" y="34657"/>
                    <a:pt x="182955" y="63672"/>
                    <a:pt x="137821" y="63672"/>
                  </a:cubicBezTo>
                  <a:cubicBezTo>
                    <a:pt x="137821" y="63672"/>
                    <a:pt x="137821" y="63672"/>
                    <a:pt x="137821" y="63672"/>
                  </a:cubicBezTo>
                  <a:close/>
                </a:path>
              </a:pathLst>
            </a:custGeom>
            <a:solidFill>
              <a:srgbClr val="E58777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7" name="任意多边形: 形状 236">
              <a:extLst>
                <a:ext uri="{FF2B5EF4-FFF2-40B4-BE49-F238E27FC236}">
                  <a16:creationId xmlns:a16="http://schemas.microsoft.com/office/drawing/2014/main" id="{244BA3B2-5205-4FCB-B86F-F8A1276D4D32}"/>
                </a:ext>
              </a:extLst>
            </p:cNvPr>
            <p:cNvSpPr/>
            <p:nvPr/>
          </p:nvSpPr>
          <p:spPr>
            <a:xfrm>
              <a:off x="6243514" y="2992822"/>
              <a:ext cx="56483" cy="475245"/>
            </a:xfrm>
            <a:custGeom>
              <a:avLst/>
              <a:gdLst>
                <a:gd name="connsiteX0" fmla="*/ 40022 w 56483"/>
                <a:gd name="connsiteY0" fmla="*/ 475246 h 475245"/>
                <a:gd name="connsiteX1" fmla="*/ 40022 w 56483"/>
                <a:gd name="connsiteY1" fmla="*/ 475246 h 475245"/>
                <a:gd name="connsiteX2" fmla="*/ 33574 w 56483"/>
                <a:gd name="connsiteY2" fmla="*/ 468798 h 475245"/>
                <a:gd name="connsiteX3" fmla="*/ 1335 w 56483"/>
                <a:gd name="connsiteY3" fmla="*/ 11007 h 475245"/>
                <a:gd name="connsiteX4" fmla="*/ 4559 w 56483"/>
                <a:gd name="connsiteY4" fmla="*/ 1335 h 475245"/>
                <a:gd name="connsiteX5" fmla="*/ 14231 w 56483"/>
                <a:gd name="connsiteY5" fmla="*/ 4559 h 475245"/>
                <a:gd name="connsiteX6" fmla="*/ 46470 w 56483"/>
                <a:gd name="connsiteY6" fmla="*/ 472022 h 475245"/>
                <a:gd name="connsiteX7" fmla="*/ 40022 w 56483"/>
                <a:gd name="connsiteY7" fmla="*/ 475246 h 47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483" h="475245">
                  <a:moveTo>
                    <a:pt x="40022" y="475246"/>
                  </a:moveTo>
                  <a:cubicBezTo>
                    <a:pt x="40022" y="475246"/>
                    <a:pt x="36798" y="475246"/>
                    <a:pt x="40022" y="475246"/>
                  </a:cubicBezTo>
                  <a:cubicBezTo>
                    <a:pt x="36798" y="475246"/>
                    <a:pt x="33574" y="472022"/>
                    <a:pt x="33574" y="468798"/>
                  </a:cubicBezTo>
                  <a:cubicBezTo>
                    <a:pt x="46470" y="420440"/>
                    <a:pt x="52917" y="94828"/>
                    <a:pt x="1335" y="11007"/>
                  </a:cubicBezTo>
                  <a:cubicBezTo>
                    <a:pt x="-1888" y="7783"/>
                    <a:pt x="1335" y="4559"/>
                    <a:pt x="4559" y="1335"/>
                  </a:cubicBezTo>
                  <a:cubicBezTo>
                    <a:pt x="7783" y="-1888"/>
                    <a:pt x="11007" y="1335"/>
                    <a:pt x="14231" y="4559"/>
                  </a:cubicBezTo>
                  <a:cubicBezTo>
                    <a:pt x="69037" y="91604"/>
                    <a:pt x="59365" y="420440"/>
                    <a:pt x="46470" y="472022"/>
                  </a:cubicBezTo>
                  <a:cubicBezTo>
                    <a:pt x="43246" y="472022"/>
                    <a:pt x="43246" y="475246"/>
                    <a:pt x="40022" y="475246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8" name="任意多边形: 形状 237">
              <a:extLst>
                <a:ext uri="{FF2B5EF4-FFF2-40B4-BE49-F238E27FC236}">
                  <a16:creationId xmlns:a16="http://schemas.microsoft.com/office/drawing/2014/main" id="{0905F69C-374B-498C-8470-137D19D6CCD6}"/>
                </a:ext>
              </a:extLst>
            </p:cNvPr>
            <p:cNvSpPr/>
            <p:nvPr/>
          </p:nvSpPr>
          <p:spPr>
            <a:xfrm>
              <a:off x="5688900" y="2547692"/>
              <a:ext cx="82038" cy="120599"/>
            </a:xfrm>
            <a:custGeom>
              <a:avLst/>
              <a:gdLst>
                <a:gd name="connsiteX0" fmla="*/ 69143 w 82038"/>
                <a:gd name="connsiteY0" fmla="*/ 17689 h 120599"/>
                <a:gd name="connsiteX1" fmla="*/ 7889 w 82038"/>
                <a:gd name="connsiteY1" fmla="*/ 8018 h 120599"/>
                <a:gd name="connsiteX2" fmla="*/ 69143 w 82038"/>
                <a:gd name="connsiteY2" fmla="*/ 117630 h 120599"/>
                <a:gd name="connsiteX3" fmla="*/ 69143 w 82038"/>
                <a:gd name="connsiteY3" fmla="*/ 17689 h 12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038" h="120599">
                  <a:moveTo>
                    <a:pt x="69143" y="17689"/>
                  </a:moveTo>
                  <a:cubicBezTo>
                    <a:pt x="69143" y="17689"/>
                    <a:pt x="33680" y="-14549"/>
                    <a:pt x="7889" y="8018"/>
                  </a:cubicBezTo>
                  <a:cubicBezTo>
                    <a:pt x="-17902" y="27361"/>
                    <a:pt x="24009" y="140197"/>
                    <a:pt x="69143" y="117630"/>
                  </a:cubicBezTo>
                  <a:cubicBezTo>
                    <a:pt x="98158" y="98286"/>
                    <a:pt x="69143" y="17689"/>
                    <a:pt x="69143" y="17689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9" name="任意多边形: 形状 238">
              <a:extLst>
                <a:ext uri="{FF2B5EF4-FFF2-40B4-BE49-F238E27FC236}">
                  <a16:creationId xmlns:a16="http://schemas.microsoft.com/office/drawing/2014/main" id="{38EA42EC-0D79-46B7-BD08-66E471C6B28A}"/>
                </a:ext>
              </a:extLst>
            </p:cNvPr>
            <p:cNvSpPr/>
            <p:nvPr/>
          </p:nvSpPr>
          <p:spPr>
            <a:xfrm>
              <a:off x="6075872" y="2422195"/>
              <a:ext cx="156081" cy="172201"/>
            </a:xfrm>
            <a:custGeom>
              <a:avLst/>
              <a:gdLst>
                <a:gd name="connsiteX0" fmla="*/ 149634 w 156081"/>
                <a:gd name="connsiteY0" fmla="*/ 172201 h 172201"/>
                <a:gd name="connsiteX1" fmla="*/ 143186 w 156081"/>
                <a:gd name="connsiteY1" fmla="*/ 168977 h 172201"/>
                <a:gd name="connsiteX2" fmla="*/ 4559 w 156081"/>
                <a:gd name="connsiteY2" fmla="*/ 11007 h 172201"/>
                <a:gd name="connsiteX3" fmla="*/ 1335 w 156081"/>
                <a:gd name="connsiteY3" fmla="*/ 4559 h 172201"/>
                <a:gd name="connsiteX4" fmla="*/ 7783 w 156081"/>
                <a:gd name="connsiteY4" fmla="*/ 1335 h 172201"/>
                <a:gd name="connsiteX5" fmla="*/ 156082 w 156081"/>
                <a:gd name="connsiteY5" fmla="*/ 168977 h 172201"/>
                <a:gd name="connsiteX6" fmla="*/ 149634 w 156081"/>
                <a:gd name="connsiteY6" fmla="*/ 172201 h 172201"/>
                <a:gd name="connsiteX7" fmla="*/ 149634 w 156081"/>
                <a:gd name="connsiteY7" fmla="*/ 172201 h 172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081" h="172201">
                  <a:moveTo>
                    <a:pt x="149634" y="172201"/>
                  </a:moveTo>
                  <a:cubicBezTo>
                    <a:pt x="146410" y="172201"/>
                    <a:pt x="143186" y="168977"/>
                    <a:pt x="143186" y="168977"/>
                  </a:cubicBezTo>
                  <a:cubicBezTo>
                    <a:pt x="117395" y="40022"/>
                    <a:pt x="4559" y="11007"/>
                    <a:pt x="4559" y="11007"/>
                  </a:cubicBezTo>
                  <a:cubicBezTo>
                    <a:pt x="1335" y="11007"/>
                    <a:pt x="-1888" y="7783"/>
                    <a:pt x="1335" y="4559"/>
                  </a:cubicBezTo>
                  <a:cubicBezTo>
                    <a:pt x="1335" y="1335"/>
                    <a:pt x="4559" y="-1888"/>
                    <a:pt x="7783" y="1335"/>
                  </a:cubicBezTo>
                  <a:cubicBezTo>
                    <a:pt x="7783" y="1335"/>
                    <a:pt x="130291" y="33574"/>
                    <a:pt x="156082" y="168977"/>
                  </a:cubicBezTo>
                  <a:cubicBezTo>
                    <a:pt x="156082" y="168977"/>
                    <a:pt x="152858" y="172201"/>
                    <a:pt x="149634" y="172201"/>
                  </a:cubicBezTo>
                  <a:cubicBezTo>
                    <a:pt x="149634" y="172201"/>
                    <a:pt x="149634" y="172201"/>
                    <a:pt x="149634" y="172201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37D25E03-A3FB-4038-8C5D-32135A7870F3}"/>
                </a:ext>
              </a:extLst>
            </p:cNvPr>
            <p:cNvSpPr/>
            <p:nvPr/>
          </p:nvSpPr>
          <p:spPr>
            <a:xfrm>
              <a:off x="5806401" y="2916784"/>
              <a:ext cx="303538" cy="128955"/>
            </a:xfrm>
            <a:custGeom>
              <a:avLst/>
              <a:gdLst>
                <a:gd name="connsiteX0" fmla="*/ 274030 w 303538"/>
                <a:gd name="connsiteY0" fmla="*/ 6448 h 128955"/>
                <a:gd name="connsiteX1" fmla="*/ 186985 w 303538"/>
                <a:gd name="connsiteY1" fmla="*/ 103164 h 128955"/>
                <a:gd name="connsiteX2" fmla="*/ 22567 w 303538"/>
                <a:gd name="connsiteY2" fmla="*/ 0 h 128955"/>
                <a:gd name="connsiteX3" fmla="*/ 0 w 303538"/>
                <a:gd name="connsiteY3" fmla="*/ 6448 h 128955"/>
                <a:gd name="connsiteX4" fmla="*/ 186985 w 303538"/>
                <a:gd name="connsiteY4" fmla="*/ 128955 h 128955"/>
                <a:gd name="connsiteX5" fmla="*/ 303045 w 303538"/>
                <a:gd name="connsiteY5" fmla="*/ 12896 h 128955"/>
                <a:gd name="connsiteX6" fmla="*/ 274030 w 303538"/>
                <a:gd name="connsiteY6" fmla="*/ 6448 h 12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3538" h="128955">
                  <a:moveTo>
                    <a:pt x="274030" y="6448"/>
                  </a:moveTo>
                  <a:lnTo>
                    <a:pt x="186985" y="103164"/>
                  </a:lnTo>
                  <a:cubicBezTo>
                    <a:pt x="186985" y="103164"/>
                    <a:pt x="74149" y="19343"/>
                    <a:pt x="22567" y="0"/>
                  </a:cubicBezTo>
                  <a:lnTo>
                    <a:pt x="0" y="6448"/>
                  </a:lnTo>
                  <a:lnTo>
                    <a:pt x="186985" y="128955"/>
                  </a:lnTo>
                  <a:lnTo>
                    <a:pt x="303045" y="12896"/>
                  </a:lnTo>
                  <a:cubicBezTo>
                    <a:pt x="306269" y="12896"/>
                    <a:pt x="293373" y="9672"/>
                    <a:pt x="274030" y="6448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id="{2ACC565C-91A3-4B28-A197-CFE8587E6F85}"/>
                </a:ext>
              </a:extLst>
            </p:cNvPr>
            <p:cNvSpPr/>
            <p:nvPr/>
          </p:nvSpPr>
          <p:spPr>
            <a:xfrm>
              <a:off x="5674222" y="3713083"/>
              <a:ext cx="573850" cy="32238"/>
            </a:xfrm>
            <a:custGeom>
              <a:avLst/>
              <a:gdLst>
                <a:gd name="connsiteX0" fmla="*/ 428776 w 573850"/>
                <a:gd name="connsiteY0" fmla="*/ 32239 h 32238"/>
                <a:gd name="connsiteX1" fmla="*/ 6448 w 573850"/>
                <a:gd name="connsiteY1" fmla="*/ 12896 h 32238"/>
                <a:gd name="connsiteX2" fmla="*/ 0 w 573850"/>
                <a:gd name="connsiteY2" fmla="*/ 6448 h 32238"/>
                <a:gd name="connsiteX3" fmla="*/ 6448 w 573850"/>
                <a:gd name="connsiteY3" fmla="*/ 0 h 32238"/>
                <a:gd name="connsiteX4" fmla="*/ 567403 w 573850"/>
                <a:gd name="connsiteY4" fmla="*/ 16119 h 32238"/>
                <a:gd name="connsiteX5" fmla="*/ 573851 w 573850"/>
                <a:gd name="connsiteY5" fmla="*/ 22567 h 32238"/>
                <a:gd name="connsiteX6" fmla="*/ 567403 w 573850"/>
                <a:gd name="connsiteY6" fmla="*/ 29015 h 32238"/>
                <a:gd name="connsiteX7" fmla="*/ 428776 w 573850"/>
                <a:gd name="connsiteY7" fmla="*/ 32239 h 32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3850" h="32238">
                  <a:moveTo>
                    <a:pt x="428776" y="32239"/>
                  </a:moveTo>
                  <a:cubicBezTo>
                    <a:pt x="335284" y="32239"/>
                    <a:pt x="196657" y="29015"/>
                    <a:pt x="6448" y="12896"/>
                  </a:cubicBezTo>
                  <a:cubicBezTo>
                    <a:pt x="3224" y="12896"/>
                    <a:pt x="0" y="9672"/>
                    <a:pt x="0" y="6448"/>
                  </a:cubicBezTo>
                  <a:cubicBezTo>
                    <a:pt x="0" y="3224"/>
                    <a:pt x="3224" y="0"/>
                    <a:pt x="6448" y="0"/>
                  </a:cubicBezTo>
                  <a:cubicBezTo>
                    <a:pt x="390090" y="32239"/>
                    <a:pt x="567403" y="16119"/>
                    <a:pt x="567403" y="16119"/>
                  </a:cubicBezTo>
                  <a:cubicBezTo>
                    <a:pt x="570627" y="16119"/>
                    <a:pt x="573851" y="19343"/>
                    <a:pt x="573851" y="22567"/>
                  </a:cubicBezTo>
                  <a:cubicBezTo>
                    <a:pt x="573851" y="25791"/>
                    <a:pt x="570627" y="29015"/>
                    <a:pt x="567403" y="29015"/>
                  </a:cubicBezTo>
                  <a:cubicBezTo>
                    <a:pt x="570627" y="29015"/>
                    <a:pt x="525493" y="32239"/>
                    <a:pt x="428776" y="32239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2" name="任意多边形: 形状 241">
              <a:extLst>
                <a:ext uri="{FF2B5EF4-FFF2-40B4-BE49-F238E27FC236}">
                  <a16:creationId xmlns:a16="http://schemas.microsoft.com/office/drawing/2014/main" id="{EE6C1334-A62F-40F8-8AA0-B66ED2CA90EA}"/>
                </a:ext>
              </a:extLst>
            </p:cNvPr>
            <p:cNvSpPr/>
            <p:nvPr/>
          </p:nvSpPr>
          <p:spPr>
            <a:xfrm>
              <a:off x="5758043" y="2868426"/>
              <a:ext cx="253128" cy="435223"/>
            </a:xfrm>
            <a:custGeom>
              <a:avLst/>
              <a:gdLst>
                <a:gd name="connsiteX0" fmla="*/ 35463 w 253128"/>
                <a:gd name="connsiteY0" fmla="*/ 0 h 435223"/>
                <a:gd name="connsiteX1" fmla="*/ 222448 w 253128"/>
                <a:gd name="connsiteY1" fmla="*/ 206328 h 435223"/>
                <a:gd name="connsiteX2" fmla="*/ 241791 w 253128"/>
                <a:gd name="connsiteY2" fmla="*/ 412657 h 435223"/>
                <a:gd name="connsiteX3" fmla="*/ 193433 w 253128"/>
                <a:gd name="connsiteY3" fmla="*/ 412657 h 435223"/>
                <a:gd name="connsiteX4" fmla="*/ 112836 w 253128"/>
                <a:gd name="connsiteY4" fmla="*/ 435224 h 435223"/>
                <a:gd name="connsiteX5" fmla="*/ 67701 w 253128"/>
                <a:gd name="connsiteY5" fmla="*/ 406209 h 435223"/>
                <a:gd name="connsiteX6" fmla="*/ 0 w 253128"/>
                <a:gd name="connsiteY6" fmla="*/ 38687 h 435223"/>
                <a:gd name="connsiteX7" fmla="*/ 35463 w 253128"/>
                <a:gd name="connsiteY7" fmla="*/ 0 h 43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3128" h="435223">
                  <a:moveTo>
                    <a:pt x="35463" y="0"/>
                  </a:moveTo>
                  <a:cubicBezTo>
                    <a:pt x="35463" y="0"/>
                    <a:pt x="183761" y="96716"/>
                    <a:pt x="222448" y="206328"/>
                  </a:cubicBezTo>
                  <a:cubicBezTo>
                    <a:pt x="261134" y="319164"/>
                    <a:pt x="257910" y="402985"/>
                    <a:pt x="241791" y="412657"/>
                  </a:cubicBezTo>
                  <a:cubicBezTo>
                    <a:pt x="228895" y="422328"/>
                    <a:pt x="212776" y="402985"/>
                    <a:pt x="193433" y="412657"/>
                  </a:cubicBezTo>
                  <a:cubicBezTo>
                    <a:pt x="174089" y="422328"/>
                    <a:pt x="125731" y="435224"/>
                    <a:pt x="112836" y="435224"/>
                  </a:cubicBezTo>
                  <a:cubicBezTo>
                    <a:pt x="96716" y="435224"/>
                    <a:pt x="61254" y="419104"/>
                    <a:pt x="67701" y="406209"/>
                  </a:cubicBezTo>
                  <a:cubicBezTo>
                    <a:pt x="74149" y="393313"/>
                    <a:pt x="25791" y="67702"/>
                    <a:pt x="0" y="38687"/>
                  </a:cubicBezTo>
                  <a:lnTo>
                    <a:pt x="35463" y="0"/>
                  </a:ln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3" name="任意多边形: 形状 242">
              <a:extLst>
                <a:ext uri="{FF2B5EF4-FFF2-40B4-BE49-F238E27FC236}">
                  <a16:creationId xmlns:a16="http://schemas.microsoft.com/office/drawing/2014/main" id="{A3063B5B-0ED7-4F9B-818F-43235740ADCA}"/>
                </a:ext>
              </a:extLst>
            </p:cNvPr>
            <p:cNvSpPr/>
            <p:nvPr/>
          </p:nvSpPr>
          <p:spPr>
            <a:xfrm>
              <a:off x="5740461" y="2851674"/>
              <a:ext cx="111074" cy="83362"/>
            </a:xfrm>
            <a:custGeom>
              <a:avLst/>
              <a:gdLst>
                <a:gd name="connsiteX0" fmla="*/ 111074 w 111074"/>
                <a:gd name="connsiteY0" fmla="*/ 16752 h 83362"/>
                <a:gd name="connsiteX1" fmla="*/ 91731 w 111074"/>
                <a:gd name="connsiteY1" fmla="*/ 632 h 83362"/>
                <a:gd name="connsiteX2" fmla="*/ 11134 w 111074"/>
                <a:gd name="connsiteY2" fmla="*/ 26423 h 83362"/>
                <a:gd name="connsiteX3" fmla="*/ 4686 w 111074"/>
                <a:gd name="connsiteY3" fmla="*/ 55438 h 83362"/>
                <a:gd name="connsiteX4" fmla="*/ 24029 w 111074"/>
                <a:gd name="connsiteY4" fmla="*/ 81229 h 83362"/>
                <a:gd name="connsiteX5" fmla="*/ 94955 w 111074"/>
                <a:gd name="connsiteY5" fmla="*/ 58662 h 83362"/>
                <a:gd name="connsiteX6" fmla="*/ 104626 w 111074"/>
                <a:gd name="connsiteY6" fmla="*/ 42543 h 83362"/>
                <a:gd name="connsiteX7" fmla="*/ 111074 w 111074"/>
                <a:gd name="connsiteY7" fmla="*/ 16752 h 8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1074" h="83362">
                  <a:moveTo>
                    <a:pt x="111074" y="16752"/>
                  </a:moveTo>
                  <a:cubicBezTo>
                    <a:pt x="111074" y="7080"/>
                    <a:pt x="101403" y="-2592"/>
                    <a:pt x="91731" y="632"/>
                  </a:cubicBezTo>
                  <a:cubicBezTo>
                    <a:pt x="65940" y="10304"/>
                    <a:pt x="36925" y="16752"/>
                    <a:pt x="11134" y="26423"/>
                  </a:cubicBezTo>
                  <a:cubicBezTo>
                    <a:pt x="-1762" y="29647"/>
                    <a:pt x="-1762" y="48991"/>
                    <a:pt x="4686" y="55438"/>
                  </a:cubicBezTo>
                  <a:cubicBezTo>
                    <a:pt x="-8209" y="65110"/>
                    <a:pt x="7910" y="90901"/>
                    <a:pt x="24029" y="81229"/>
                  </a:cubicBezTo>
                  <a:cubicBezTo>
                    <a:pt x="46596" y="68334"/>
                    <a:pt x="69164" y="61886"/>
                    <a:pt x="94955" y="58662"/>
                  </a:cubicBezTo>
                  <a:cubicBezTo>
                    <a:pt x="104626" y="58662"/>
                    <a:pt x="107850" y="48991"/>
                    <a:pt x="104626" y="42543"/>
                  </a:cubicBezTo>
                  <a:cubicBezTo>
                    <a:pt x="111074" y="36095"/>
                    <a:pt x="111074" y="26423"/>
                    <a:pt x="111074" y="16752"/>
                  </a:cubicBezTo>
                  <a:close/>
                </a:path>
              </a:pathLst>
            </a:custGeom>
            <a:solidFill>
              <a:srgbClr val="7F95BC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4" name="任意多边形: 形状 243">
              <a:extLst>
                <a:ext uri="{FF2B5EF4-FFF2-40B4-BE49-F238E27FC236}">
                  <a16:creationId xmlns:a16="http://schemas.microsoft.com/office/drawing/2014/main" id="{6BFDB517-8262-471C-A554-F50B761DCFAA}"/>
                </a:ext>
              </a:extLst>
            </p:cNvPr>
            <p:cNvSpPr/>
            <p:nvPr/>
          </p:nvSpPr>
          <p:spPr>
            <a:xfrm>
              <a:off x="6096550" y="2868426"/>
              <a:ext cx="253128" cy="435223"/>
            </a:xfrm>
            <a:custGeom>
              <a:avLst/>
              <a:gdLst>
                <a:gd name="connsiteX0" fmla="*/ 35463 w 253128"/>
                <a:gd name="connsiteY0" fmla="*/ 0 h 435223"/>
                <a:gd name="connsiteX1" fmla="*/ 222448 w 253128"/>
                <a:gd name="connsiteY1" fmla="*/ 206328 h 435223"/>
                <a:gd name="connsiteX2" fmla="*/ 241791 w 253128"/>
                <a:gd name="connsiteY2" fmla="*/ 412657 h 435223"/>
                <a:gd name="connsiteX3" fmla="*/ 193433 w 253128"/>
                <a:gd name="connsiteY3" fmla="*/ 412657 h 435223"/>
                <a:gd name="connsiteX4" fmla="*/ 112836 w 253128"/>
                <a:gd name="connsiteY4" fmla="*/ 435224 h 435223"/>
                <a:gd name="connsiteX5" fmla="*/ 67701 w 253128"/>
                <a:gd name="connsiteY5" fmla="*/ 406209 h 435223"/>
                <a:gd name="connsiteX6" fmla="*/ 0 w 253128"/>
                <a:gd name="connsiteY6" fmla="*/ 38687 h 435223"/>
                <a:gd name="connsiteX7" fmla="*/ 35463 w 253128"/>
                <a:gd name="connsiteY7" fmla="*/ 0 h 43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3128" h="435223">
                  <a:moveTo>
                    <a:pt x="35463" y="0"/>
                  </a:moveTo>
                  <a:cubicBezTo>
                    <a:pt x="35463" y="0"/>
                    <a:pt x="183761" y="96716"/>
                    <a:pt x="222448" y="206328"/>
                  </a:cubicBezTo>
                  <a:cubicBezTo>
                    <a:pt x="261134" y="319164"/>
                    <a:pt x="257910" y="402985"/>
                    <a:pt x="241791" y="412657"/>
                  </a:cubicBezTo>
                  <a:cubicBezTo>
                    <a:pt x="228895" y="422328"/>
                    <a:pt x="212776" y="402985"/>
                    <a:pt x="193433" y="412657"/>
                  </a:cubicBezTo>
                  <a:cubicBezTo>
                    <a:pt x="174089" y="422328"/>
                    <a:pt x="125731" y="435224"/>
                    <a:pt x="112836" y="435224"/>
                  </a:cubicBezTo>
                  <a:cubicBezTo>
                    <a:pt x="96716" y="435224"/>
                    <a:pt x="61254" y="419104"/>
                    <a:pt x="67701" y="406209"/>
                  </a:cubicBezTo>
                  <a:cubicBezTo>
                    <a:pt x="74149" y="393313"/>
                    <a:pt x="25791" y="67702"/>
                    <a:pt x="0" y="38687"/>
                  </a:cubicBezTo>
                  <a:lnTo>
                    <a:pt x="35463" y="0"/>
                  </a:ln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id="{49485793-9D62-4E6A-AA52-0A5C671853AA}"/>
                </a:ext>
              </a:extLst>
            </p:cNvPr>
            <p:cNvSpPr/>
            <p:nvPr/>
          </p:nvSpPr>
          <p:spPr>
            <a:xfrm>
              <a:off x="6078969" y="2851674"/>
              <a:ext cx="111074" cy="83362"/>
            </a:xfrm>
            <a:custGeom>
              <a:avLst/>
              <a:gdLst>
                <a:gd name="connsiteX0" fmla="*/ 111074 w 111074"/>
                <a:gd name="connsiteY0" fmla="*/ 16752 h 83362"/>
                <a:gd name="connsiteX1" fmla="*/ 91731 w 111074"/>
                <a:gd name="connsiteY1" fmla="*/ 632 h 83362"/>
                <a:gd name="connsiteX2" fmla="*/ 11134 w 111074"/>
                <a:gd name="connsiteY2" fmla="*/ 26423 h 83362"/>
                <a:gd name="connsiteX3" fmla="*/ 4686 w 111074"/>
                <a:gd name="connsiteY3" fmla="*/ 55438 h 83362"/>
                <a:gd name="connsiteX4" fmla="*/ 24029 w 111074"/>
                <a:gd name="connsiteY4" fmla="*/ 81229 h 83362"/>
                <a:gd name="connsiteX5" fmla="*/ 94955 w 111074"/>
                <a:gd name="connsiteY5" fmla="*/ 58662 h 83362"/>
                <a:gd name="connsiteX6" fmla="*/ 104626 w 111074"/>
                <a:gd name="connsiteY6" fmla="*/ 42543 h 83362"/>
                <a:gd name="connsiteX7" fmla="*/ 111074 w 111074"/>
                <a:gd name="connsiteY7" fmla="*/ 16752 h 8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1074" h="83362">
                  <a:moveTo>
                    <a:pt x="111074" y="16752"/>
                  </a:moveTo>
                  <a:cubicBezTo>
                    <a:pt x="111074" y="7080"/>
                    <a:pt x="101403" y="-2592"/>
                    <a:pt x="91731" y="632"/>
                  </a:cubicBezTo>
                  <a:cubicBezTo>
                    <a:pt x="65940" y="10304"/>
                    <a:pt x="36925" y="16752"/>
                    <a:pt x="11134" y="26423"/>
                  </a:cubicBezTo>
                  <a:cubicBezTo>
                    <a:pt x="-1762" y="29647"/>
                    <a:pt x="-1762" y="48991"/>
                    <a:pt x="4686" y="55438"/>
                  </a:cubicBezTo>
                  <a:cubicBezTo>
                    <a:pt x="-8209" y="65110"/>
                    <a:pt x="7910" y="90901"/>
                    <a:pt x="24029" y="81229"/>
                  </a:cubicBezTo>
                  <a:cubicBezTo>
                    <a:pt x="46596" y="68334"/>
                    <a:pt x="69164" y="61886"/>
                    <a:pt x="94955" y="58662"/>
                  </a:cubicBezTo>
                  <a:cubicBezTo>
                    <a:pt x="104626" y="58662"/>
                    <a:pt x="107850" y="48991"/>
                    <a:pt x="104626" y="42543"/>
                  </a:cubicBezTo>
                  <a:cubicBezTo>
                    <a:pt x="111074" y="36095"/>
                    <a:pt x="111074" y="26423"/>
                    <a:pt x="111074" y="16752"/>
                  </a:cubicBezTo>
                  <a:close/>
                </a:path>
              </a:pathLst>
            </a:custGeom>
            <a:solidFill>
              <a:srgbClr val="7F95BC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6" name="任意多边形: 形状 245">
              <a:extLst>
                <a:ext uri="{FF2B5EF4-FFF2-40B4-BE49-F238E27FC236}">
                  <a16:creationId xmlns:a16="http://schemas.microsoft.com/office/drawing/2014/main" id="{50DBCFA1-A1D8-4370-B8E7-A073916A86F4}"/>
                </a:ext>
              </a:extLst>
            </p:cNvPr>
            <p:cNvSpPr/>
            <p:nvPr/>
          </p:nvSpPr>
          <p:spPr>
            <a:xfrm>
              <a:off x="5385265" y="3082317"/>
              <a:ext cx="488837" cy="759721"/>
            </a:xfrm>
            <a:custGeom>
              <a:avLst/>
              <a:gdLst>
                <a:gd name="connsiteX0" fmla="*/ 214808 w 488837"/>
                <a:gd name="connsiteY0" fmla="*/ 11781 h 759721"/>
                <a:gd name="connsiteX1" fmla="*/ 346987 w 488837"/>
                <a:gd name="connsiteY1" fmla="*/ 182647 h 759721"/>
                <a:gd name="connsiteX2" fmla="*/ 208360 w 488837"/>
                <a:gd name="connsiteY2" fmla="*/ 469572 h 759721"/>
                <a:gd name="connsiteX3" fmla="*/ 488838 w 488837"/>
                <a:gd name="connsiteY3" fmla="*/ 666229 h 759721"/>
                <a:gd name="connsiteX4" fmla="*/ 443704 w 488837"/>
                <a:gd name="connsiteY4" fmla="*/ 759721 h 759721"/>
                <a:gd name="connsiteX5" fmla="*/ 2032 w 488837"/>
                <a:gd name="connsiteY5" fmla="*/ 514707 h 759721"/>
                <a:gd name="connsiteX6" fmla="*/ 214808 w 488837"/>
                <a:gd name="connsiteY6" fmla="*/ 11781 h 759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8837" h="759721">
                  <a:moveTo>
                    <a:pt x="214808" y="11781"/>
                  </a:moveTo>
                  <a:cubicBezTo>
                    <a:pt x="359883" y="-39801"/>
                    <a:pt x="408241" y="89154"/>
                    <a:pt x="346987" y="182647"/>
                  </a:cubicBezTo>
                  <a:cubicBezTo>
                    <a:pt x="285733" y="272916"/>
                    <a:pt x="205136" y="443781"/>
                    <a:pt x="208360" y="469572"/>
                  </a:cubicBezTo>
                  <a:cubicBezTo>
                    <a:pt x="240599" y="508259"/>
                    <a:pt x="488838" y="666229"/>
                    <a:pt x="488838" y="666229"/>
                  </a:cubicBezTo>
                  <a:cubicBezTo>
                    <a:pt x="463047" y="679124"/>
                    <a:pt x="443704" y="759721"/>
                    <a:pt x="443704" y="759721"/>
                  </a:cubicBezTo>
                  <a:cubicBezTo>
                    <a:pt x="443704" y="759721"/>
                    <a:pt x="24599" y="627542"/>
                    <a:pt x="2032" y="514707"/>
                  </a:cubicBezTo>
                  <a:cubicBezTo>
                    <a:pt x="-14087" y="459901"/>
                    <a:pt x="66510" y="63363"/>
                    <a:pt x="214808" y="11781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7" name="任意多边形: 形状 246">
              <a:extLst>
                <a:ext uri="{FF2B5EF4-FFF2-40B4-BE49-F238E27FC236}">
                  <a16:creationId xmlns:a16="http://schemas.microsoft.com/office/drawing/2014/main" id="{9773961F-6C4E-4791-AA10-B4BE27132BDE}"/>
                </a:ext>
              </a:extLst>
            </p:cNvPr>
            <p:cNvSpPr/>
            <p:nvPr/>
          </p:nvSpPr>
          <p:spPr>
            <a:xfrm>
              <a:off x="5429207" y="2956579"/>
              <a:ext cx="356433" cy="376085"/>
            </a:xfrm>
            <a:custGeom>
              <a:avLst/>
              <a:gdLst>
                <a:gd name="connsiteX0" fmla="*/ 0 w 356433"/>
                <a:gd name="connsiteY0" fmla="*/ 237459 h 376085"/>
                <a:gd name="connsiteX1" fmla="*/ 296597 w 356433"/>
                <a:gd name="connsiteY1" fmla="*/ 2116 h 376085"/>
                <a:gd name="connsiteX2" fmla="*/ 280478 w 356433"/>
                <a:gd name="connsiteY2" fmla="*/ 376086 h 376085"/>
                <a:gd name="connsiteX3" fmla="*/ 0 w 356433"/>
                <a:gd name="connsiteY3" fmla="*/ 237459 h 376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6433" h="376085">
                  <a:moveTo>
                    <a:pt x="0" y="237459"/>
                  </a:moveTo>
                  <a:cubicBezTo>
                    <a:pt x="70926" y="98832"/>
                    <a:pt x="232120" y="-17228"/>
                    <a:pt x="296597" y="2116"/>
                  </a:cubicBezTo>
                  <a:cubicBezTo>
                    <a:pt x="380418" y="24683"/>
                    <a:pt x="377194" y="231011"/>
                    <a:pt x="280478" y="376086"/>
                  </a:cubicBezTo>
                  <a:cubicBezTo>
                    <a:pt x="219224" y="376086"/>
                    <a:pt x="61254" y="301936"/>
                    <a:pt x="0" y="237459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8" name="任意多边形: 形状 247">
              <a:extLst>
                <a:ext uri="{FF2B5EF4-FFF2-40B4-BE49-F238E27FC236}">
                  <a16:creationId xmlns:a16="http://schemas.microsoft.com/office/drawing/2014/main" id="{BFDF7D4D-5BBE-4903-9AEA-D4851489884F}"/>
                </a:ext>
              </a:extLst>
            </p:cNvPr>
            <p:cNvSpPr/>
            <p:nvPr/>
          </p:nvSpPr>
          <p:spPr>
            <a:xfrm>
              <a:off x="5583953" y="2953053"/>
              <a:ext cx="210003" cy="386059"/>
            </a:xfrm>
            <a:custGeom>
              <a:avLst/>
              <a:gdLst>
                <a:gd name="connsiteX0" fmla="*/ 125731 w 210003"/>
                <a:gd name="connsiteY0" fmla="*/ 386060 h 386059"/>
                <a:gd name="connsiteX1" fmla="*/ 3224 w 210003"/>
                <a:gd name="connsiteY1" fmla="*/ 350597 h 386059"/>
                <a:gd name="connsiteX2" fmla="*/ 0 w 210003"/>
                <a:gd name="connsiteY2" fmla="*/ 340925 h 386059"/>
                <a:gd name="connsiteX3" fmla="*/ 9671 w 210003"/>
                <a:gd name="connsiteY3" fmla="*/ 337702 h 386059"/>
                <a:gd name="connsiteX4" fmla="*/ 125731 w 210003"/>
                <a:gd name="connsiteY4" fmla="*/ 373164 h 386059"/>
                <a:gd name="connsiteX5" fmla="*/ 196657 w 210003"/>
                <a:gd name="connsiteY5" fmla="*/ 137821 h 386059"/>
                <a:gd name="connsiteX6" fmla="*/ 196657 w 210003"/>
                <a:gd name="connsiteY6" fmla="*/ 128149 h 386059"/>
                <a:gd name="connsiteX7" fmla="*/ 151522 w 210003"/>
                <a:gd name="connsiteY7" fmla="*/ 12089 h 386059"/>
                <a:gd name="connsiteX8" fmla="*/ 151522 w 210003"/>
                <a:gd name="connsiteY8" fmla="*/ 2418 h 386059"/>
                <a:gd name="connsiteX9" fmla="*/ 161194 w 210003"/>
                <a:gd name="connsiteY9" fmla="*/ 2418 h 386059"/>
                <a:gd name="connsiteX10" fmla="*/ 209552 w 210003"/>
                <a:gd name="connsiteY10" fmla="*/ 128149 h 386059"/>
                <a:gd name="connsiteX11" fmla="*/ 209552 w 210003"/>
                <a:gd name="connsiteY11" fmla="*/ 134597 h 386059"/>
                <a:gd name="connsiteX12" fmla="*/ 132179 w 210003"/>
                <a:gd name="connsiteY12" fmla="*/ 379612 h 386059"/>
                <a:gd name="connsiteX13" fmla="*/ 128955 w 210003"/>
                <a:gd name="connsiteY13" fmla="*/ 382836 h 386059"/>
                <a:gd name="connsiteX14" fmla="*/ 125731 w 210003"/>
                <a:gd name="connsiteY14" fmla="*/ 386060 h 386059"/>
                <a:gd name="connsiteX15" fmla="*/ 125731 w 210003"/>
                <a:gd name="connsiteY15" fmla="*/ 386060 h 386059"/>
                <a:gd name="connsiteX16" fmla="*/ 128955 w 210003"/>
                <a:gd name="connsiteY16" fmla="*/ 379612 h 386059"/>
                <a:gd name="connsiteX17" fmla="*/ 128955 w 210003"/>
                <a:gd name="connsiteY17" fmla="*/ 379612 h 386059"/>
                <a:gd name="connsiteX18" fmla="*/ 128955 w 210003"/>
                <a:gd name="connsiteY18" fmla="*/ 379612 h 386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0003" h="386059">
                  <a:moveTo>
                    <a:pt x="125731" y="386060"/>
                  </a:moveTo>
                  <a:cubicBezTo>
                    <a:pt x="99940" y="386060"/>
                    <a:pt x="61254" y="379612"/>
                    <a:pt x="3224" y="350597"/>
                  </a:cubicBezTo>
                  <a:cubicBezTo>
                    <a:pt x="0" y="350597"/>
                    <a:pt x="0" y="344149"/>
                    <a:pt x="0" y="340925"/>
                  </a:cubicBezTo>
                  <a:cubicBezTo>
                    <a:pt x="0" y="337702"/>
                    <a:pt x="6448" y="337702"/>
                    <a:pt x="9671" y="337702"/>
                  </a:cubicBezTo>
                  <a:cubicBezTo>
                    <a:pt x="64478" y="366716"/>
                    <a:pt x="103164" y="373164"/>
                    <a:pt x="125731" y="373164"/>
                  </a:cubicBezTo>
                  <a:cubicBezTo>
                    <a:pt x="145075" y="347373"/>
                    <a:pt x="203104" y="224866"/>
                    <a:pt x="196657" y="137821"/>
                  </a:cubicBezTo>
                  <a:cubicBezTo>
                    <a:pt x="196657" y="134597"/>
                    <a:pt x="196657" y="131373"/>
                    <a:pt x="196657" y="128149"/>
                  </a:cubicBezTo>
                  <a:cubicBezTo>
                    <a:pt x="196657" y="99134"/>
                    <a:pt x="193433" y="41104"/>
                    <a:pt x="151522" y="12089"/>
                  </a:cubicBezTo>
                  <a:cubicBezTo>
                    <a:pt x="148298" y="8866"/>
                    <a:pt x="148298" y="5642"/>
                    <a:pt x="151522" y="2418"/>
                  </a:cubicBezTo>
                  <a:cubicBezTo>
                    <a:pt x="154746" y="-806"/>
                    <a:pt x="157970" y="-806"/>
                    <a:pt x="161194" y="2418"/>
                  </a:cubicBezTo>
                  <a:cubicBezTo>
                    <a:pt x="209552" y="34657"/>
                    <a:pt x="209552" y="95910"/>
                    <a:pt x="209552" y="128149"/>
                  </a:cubicBezTo>
                  <a:cubicBezTo>
                    <a:pt x="209552" y="131373"/>
                    <a:pt x="209552" y="134597"/>
                    <a:pt x="209552" y="134597"/>
                  </a:cubicBezTo>
                  <a:cubicBezTo>
                    <a:pt x="216000" y="224866"/>
                    <a:pt x="151522" y="357045"/>
                    <a:pt x="132179" y="379612"/>
                  </a:cubicBezTo>
                  <a:lnTo>
                    <a:pt x="128955" y="382836"/>
                  </a:lnTo>
                  <a:lnTo>
                    <a:pt x="125731" y="386060"/>
                  </a:lnTo>
                  <a:cubicBezTo>
                    <a:pt x="128955" y="386060"/>
                    <a:pt x="128955" y="386060"/>
                    <a:pt x="125731" y="386060"/>
                  </a:cubicBezTo>
                  <a:close/>
                  <a:moveTo>
                    <a:pt x="128955" y="379612"/>
                  </a:moveTo>
                  <a:lnTo>
                    <a:pt x="128955" y="379612"/>
                  </a:lnTo>
                  <a:lnTo>
                    <a:pt x="128955" y="379612"/>
                  </a:ln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9" name="任意多边形: 形状 248">
              <a:extLst>
                <a:ext uri="{FF2B5EF4-FFF2-40B4-BE49-F238E27FC236}">
                  <a16:creationId xmlns:a16="http://schemas.microsoft.com/office/drawing/2014/main" id="{C32B5DAB-FE4A-408B-813E-B22FD3EFEEAB}"/>
                </a:ext>
              </a:extLst>
            </p:cNvPr>
            <p:cNvSpPr/>
            <p:nvPr/>
          </p:nvSpPr>
          <p:spPr>
            <a:xfrm>
              <a:off x="5938580" y="2755590"/>
              <a:ext cx="112835" cy="58029"/>
            </a:xfrm>
            <a:custGeom>
              <a:avLst/>
              <a:gdLst>
                <a:gd name="connsiteX0" fmla="*/ 0 w 112835"/>
                <a:gd name="connsiteY0" fmla="*/ 0 h 58029"/>
                <a:gd name="connsiteX1" fmla="*/ 112836 w 112835"/>
                <a:gd name="connsiteY1" fmla="*/ 0 h 58029"/>
                <a:gd name="connsiteX2" fmla="*/ 58030 w 112835"/>
                <a:gd name="connsiteY2" fmla="*/ 58030 h 58029"/>
                <a:gd name="connsiteX3" fmla="*/ 0 w 112835"/>
                <a:gd name="connsiteY3" fmla="*/ 0 h 58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835" h="58029">
                  <a:moveTo>
                    <a:pt x="0" y="0"/>
                  </a:moveTo>
                  <a:cubicBezTo>
                    <a:pt x="58030" y="25791"/>
                    <a:pt x="112836" y="0"/>
                    <a:pt x="112836" y="0"/>
                  </a:cubicBezTo>
                  <a:cubicBezTo>
                    <a:pt x="112836" y="0"/>
                    <a:pt x="96716" y="58030"/>
                    <a:pt x="58030" y="58030"/>
                  </a:cubicBezTo>
                  <a:cubicBezTo>
                    <a:pt x="12896" y="5480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0" name="任意多边形: 形状 249">
              <a:extLst>
                <a:ext uri="{FF2B5EF4-FFF2-40B4-BE49-F238E27FC236}">
                  <a16:creationId xmlns:a16="http://schemas.microsoft.com/office/drawing/2014/main" id="{273FF6D6-AF5D-42AB-AEDE-AB40C1D10B45}"/>
                </a:ext>
              </a:extLst>
            </p:cNvPr>
            <p:cNvSpPr/>
            <p:nvPr/>
          </p:nvSpPr>
          <p:spPr>
            <a:xfrm>
              <a:off x="6927204" y="3071217"/>
              <a:ext cx="168749" cy="188016"/>
            </a:xfrm>
            <a:custGeom>
              <a:avLst/>
              <a:gdLst>
                <a:gd name="connsiteX0" fmla="*/ 155854 w 168749"/>
                <a:gd name="connsiteY0" fmla="*/ 116373 h 188016"/>
                <a:gd name="connsiteX1" fmla="*/ 165525 w 168749"/>
                <a:gd name="connsiteY1" fmla="*/ 80910 h 188016"/>
                <a:gd name="connsiteX2" fmla="*/ 168750 w 168749"/>
                <a:gd name="connsiteY2" fmla="*/ 55119 h 188016"/>
                <a:gd name="connsiteX3" fmla="*/ 146182 w 168749"/>
                <a:gd name="connsiteY3" fmla="*/ 26104 h 188016"/>
                <a:gd name="connsiteX4" fmla="*/ 130063 w 168749"/>
                <a:gd name="connsiteY4" fmla="*/ 313 h 188016"/>
                <a:gd name="connsiteX5" fmla="*/ 1108 w 168749"/>
                <a:gd name="connsiteY5" fmla="*/ 122821 h 188016"/>
                <a:gd name="connsiteX6" fmla="*/ 65585 w 168749"/>
                <a:gd name="connsiteY6" fmla="*/ 187298 h 188016"/>
                <a:gd name="connsiteX7" fmla="*/ 139734 w 168749"/>
                <a:gd name="connsiteY7" fmla="*/ 138940 h 188016"/>
                <a:gd name="connsiteX8" fmla="*/ 155854 w 168749"/>
                <a:gd name="connsiteY8" fmla="*/ 116373 h 18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49" h="188016">
                  <a:moveTo>
                    <a:pt x="155854" y="116373"/>
                  </a:moveTo>
                  <a:cubicBezTo>
                    <a:pt x="155854" y="109925"/>
                    <a:pt x="165525" y="93806"/>
                    <a:pt x="165525" y="80910"/>
                  </a:cubicBezTo>
                  <a:cubicBezTo>
                    <a:pt x="165525" y="80910"/>
                    <a:pt x="168750" y="64791"/>
                    <a:pt x="168750" y="55119"/>
                  </a:cubicBezTo>
                  <a:cubicBezTo>
                    <a:pt x="165525" y="48672"/>
                    <a:pt x="136511" y="35776"/>
                    <a:pt x="146182" y="26104"/>
                  </a:cubicBezTo>
                  <a:cubicBezTo>
                    <a:pt x="152630" y="19657"/>
                    <a:pt x="136511" y="-2911"/>
                    <a:pt x="130063" y="313"/>
                  </a:cubicBezTo>
                  <a:cubicBezTo>
                    <a:pt x="91376" y="16433"/>
                    <a:pt x="-11788" y="68015"/>
                    <a:pt x="1108" y="122821"/>
                  </a:cubicBezTo>
                  <a:cubicBezTo>
                    <a:pt x="1108" y="122821"/>
                    <a:pt x="46242" y="184074"/>
                    <a:pt x="65585" y="187298"/>
                  </a:cubicBezTo>
                  <a:cubicBezTo>
                    <a:pt x="97824" y="193746"/>
                    <a:pt x="117167" y="155060"/>
                    <a:pt x="139734" y="138940"/>
                  </a:cubicBezTo>
                  <a:cubicBezTo>
                    <a:pt x="155854" y="129269"/>
                    <a:pt x="159078" y="126045"/>
                    <a:pt x="155854" y="116373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51" name="图形 1">
              <a:extLst>
                <a:ext uri="{FF2B5EF4-FFF2-40B4-BE49-F238E27FC236}">
                  <a16:creationId xmlns:a16="http://schemas.microsoft.com/office/drawing/2014/main" id="{0CE540B5-BA07-4234-AB09-E4698FCCAC5A}"/>
                </a:ext>
              </a:extLst>
            </p:cNvPr>
            <p:cNvGrpSpPr/>
            <p:nvPr/>
          </p:nvGrpSpPr>
          <p:grpSpPr>
            <a:xfrm>
              <a:off x="6838383" y="2635037"/>
              <a:ext cx="305516" cy="802034"/>
              <a:chOff x="6838383" y="2635037"/>
              <a:chExt cx="305516" cy="802034"/>
            </a:xfrm>
          </p:grpSpPr>
          <p:grpSp>
            <p:nvGrpSpPr>
              <p:cNvPr id="252" name="图形 1">
                <a:extLst>
                  <a:ext uri="{FF2B5EF4-FFF2-40B4-BE49-F238E27FC236}">
                    <a16:creationId xmlns:a16="http://schemas.microsoft.com/office/drawing/2014/main" id="{0CE540B5-BA07-4234-AB09-E4698FCCAC5A}"/>
                  </a:ext>
                </a:extLst>
              </p:cNvPr>
              <p:cNvGrpSpPr/>
              <p:nvPr/>
            </p:nvGrpSpPr>
            <p:grpSpPr>
              <a:xfrm>
                <a:off x="6842831" y="2636307"/>
                <a:ext cx="301067" cy="800764"/>
                <a:chOff x="6842831" y="2636307"/>
                <a:chExt cx="301067" cy="800764"/>
              </a:xfrm>
            </p:grpSpPr>
            <p:sp>
              <p:nvSpPr>
                <p:cNvPr id="253" name="任意多边形: 形状 252">
                  <a:extLst>
                    <a:ext uri="{FF2B5EF4-FFF2-40B4-BE49-F238E27FC236}">
                      <a16:creationId xmlns:a16="http://schemas.microsoft.com/office/drawing/2014/main" id="{D5573F59-D698-401C-9690-5AB8BB431338}"/>
                    </a:ext>
                  </a:extLst>
                </p:cNvPr>
                <p:cNvSpPr/>
                <p:nvPr/>
              </p:nvSpPr>
              <p:spPr>
                <a:xfrm>
                  <a:off x="6842831" y="2636307"/>
                  <a:ext cx="220424" cy="377193"/>
                </a:xfrm>
                <a:custGeom>
                  <a:avLst/>
                  <a:gdLst>
                    <a:gd name="connsiteX0" fmla="*/ 191868 w 220424"/>
                    <a:gd name="connsiteY0" fmla="*/ 361075 h 377193"/>
                    <a:gd name="connsiteX1" fmla="*/ 162853 w 220424"/>
                    <a:gd name="connsiteY1" fmla="*/ 157970 h 377193"/>
                    <a:gd name="connsiteX2" fmla="*/ 53242 w 220424"/>
                    <a:gd name="connsiteY2" fmla="*/ 0 h 377193"/>
                    <a:gd name="connsiteX3" fmla="*/ 130614 w 220424"/>
                    <a:gd name="connsiteY3" fmla="*/ 377194 h 377193"/>
                    <a:gd name="connsiteX4" fmla="*/ 191868 w 220424"/>
                    <a:gd name="connsiteY4" fmla="*/ 361075 h 377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0424" h="377193">
                      <a:moveTo>
                        <a:pt x="191868" y="361075"/>
                      </a:moveTo>
                      <a:cubicBezTo>
                        <a:pt x="191868" y="361075"/>
                        <a:pt x="272465" y="222448"/>
                        <a:pt x="162853" y="157970"/>
                      </a:cubicBezTo>
                      <a:cubicBezTo>
                        <a:pt x="53242" y="96716"/>
                        <a:pt x="37122" y="67702"/>
                        <a:pt x="53242" y="0"/>
                      </a:cubicBezTo>
                      <a:cubicBezTo>
                        <a:pt x="53242" y="0"/>
                        <a:pt x="-107952" y="322388"/>
                        <a:pt x="130614" y="377194"/>
                      </a:cubicBezTo>
                      <a:lnTo>
                        <a:pt x="191868" y="361075"/>
                      </a:lnTo>
                      <a:close/>
                    </a:path>
                  </a:pathLst>
                </a:custGeom>
                <a:solidFill>
                  <a:srgbClr val="D3977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4" name="任意多边形: 形状 253">
                  <a:extLst>
                    <a:ext uri="{FF2B5EF4-FFF2-40B4-BE49-F238E27FC236}">
                      <a16:creationId xmlns:a16="http://schemas.microsoft.com/office/drawing/2014/main" id="{44280739-8777-4983-A07C-A4A43FA9E40E}"/>
                    </a:ext>
                  </a:extLst>
                </p:cNvPr>
                <p:cNvSpPr/>
                <p:nvPr/>
              </p:nvSpPr>
              <p:spPr>
                <a:xfrm>
                  <a:off x="6873713" y="2735465"/>
                  <a:ext cx="162230" cy="304600"/>
                </a:xfrm>
                <a:custGeom>
                  <a:avLst/>
                  <a:gdLst>
                    <a:gd name="connsiteX0" fmla="*/ 15911 w 162230"/>
                    <a:gd name="connsiteY0" fmla="*/ 97499 h 304600"/>
                    <a:gd name="connsiteX1" fmla="*/ 64270 w 162230"/>
                    <a:gd name="connsiteY1" fmla="*/ 132961 h 304600"/>
                    <a:gd name="connsiteX2" fmla="*/ 102957 w 162230"/>
                    <a:gd name="connsiteY2" fmla="*/ 174872 h 304600"/>
                    <a:gd name="connsiteX3" fmla="*/ 128747 w 162230"/>
                    <a:gd name="connsiteY3" fmla="*/ 261917 h 304600"/>
                    <a:gd name="connsiteX4" fmla="*/ 144867 w 162230"/>
                    <a:gd name="connsiteY4" fmla="*/ 190991 h 304600"/>
                    <a:gd name="connsiteX5" fmla="*/ 93285 w 162230"/>
                    <a:gd name="connsiteY5" fmla="*/ 100723 h 304600"/>
                    <a:gd name="connsiteX6" fmla="*/ 12688 w 162230"/>
                    <a:gd name="connsiteY6" fmla="*/ 13678 h 304600"/>
                    <a:gd name="connsiteX7" fmla="*/ 28807 w 162230"/>
                    <a:gd name="connsiteY7" fmla="*/ 4006 h 304600"/>
                    <a:gd name="connsiteX8" fmla="*/ 148091 w 162230"/>
                    <a:gd name="connsiteY8" fmla="*/ 129737 h 304600"/>
                    <a:gd name="connsiteX9" fmla="*/ 141643 w 162230"/>
                    <a:gd name="connsiteY9" fmla="*/ 278036 h 304600"/>
                    <a:gd name="connsiteX10" fmla="*/ 131971 w 162230"/>
                    <a:gd name="connsiteY10" fmla="*/ 284484 h 304600"/>
                    <a:gd name="connsiteX11" fmla="*/ 131971 w 162230"/>
                    <a:gd name="connsiteY11" fmla="*/ 294155 h 304600"/>
                    <a:gd name="connsiteX12" fmla="*/ 115852 w 162230"/>
                    <a:gd name="connsiteY12" fmla="*/ 297379 h 304600"/>
                    <a:gd name="connsiteX13" fmla="*/ 67494 w 162230"/>
                    <a:gd name="connsiteY13" fmla="*/ 155529 h 304600"/>
                    <a:gd name="connsiteX14" fmla="*/ 3016 w 162230"/>
                    <a:gd name="connsiteY14" fmla="*/ 103946 h 304600"/>
                    <a:gd name="connsiteX15" fmla="*/ 15911 w 162230"/>
                    <a:gd name="connsiteY15" fmla="*/ 97499 h 304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62230" h="304600">
                      <a:moveTo>
                        <a:pt x="15911" y="97499"/>
                      </a:moveTo>
                      <a:cubicBezTo>
                        <a:pt x="28807" y="116842"/>
                        <a:pt x="48150" y="120066"/>
                        <a:pt x="64270" y="132961"/>
                      </a:cubicBezTo>
                      <a:cubicBezTo>
                        <a:pt x="80389" y="142633"/>
                        <a:pt x="93285" y="158752"/>
                        <a:pt x="102957" y="174872"/>
                      </a:cubicBezTo>
                      <a:cubicBezTo>
                        <a:pt x="119076" y="200663"/>
                        <a:pt x="125524" y="232902"/>
                        <a:pt x="128747" y="261917"/>
                      </a:cubicBezTo>
                      <a:cubicBezTo>
                        <a:pt x="135195" y="239349"/>
                        <a:pt x="144867" y="213558"/>
                        <a:pt x="144867" y="190991"/>
                      </a:cubicBezTo>
                      <a:cubicBezTo>
                        <a:pt x="148091" y="152305"/>
                        <a:pt x="122300" y="123290"/>
                        <a:pt x="93285" y="100723"/>
                      </a:cubicBezTo>
                      <a:cubicBezTo>
                        <a:pt x="61046" y="74931"/>
                        <a:pt x="28807" y="52364"/>
                        <a:pt x="12688" y="13678"/>
                      </a:cubicBezTo>
                      <a:cubicBezTo>
                        <a:pt x="9464" y="4006"/>
                        <a:pt x="22360" y="-5666"/>
                        <a:pt x="28807" y="4006"/>
                      </a:cubicBezTo>
                      <a:cubicBezTo>
                        <a:pt x="54598" y="58812"/>
                        <a:pt x="115852" y="78155"/>
                        <a:pt x="148091" y="129737"/>
                      </a:cubicBezTo>
                      <a:cubicBezTo>
                        <a:pt x="177106" y="178096"/>
                        <a:pt x="154538" y="229678"/>
                        <a:pt x="141643" y="278036"/>
                      </a:cubicBezTo>
                      <a:cubicBezTo>
                        <a:pt x="141643" y="284484"/>
                        <a:pt x="135195" y="284484"/>
                        <a:pt x="131971" y="284484"/>
                      </a:cubicBezTo>
                      <a:cubicBezTo>
                        <a:pt x="131971" y="287708"/>
                        <a:pt x="131971" y="290932"/>
                        <a:pt x="131971" y="294155"/>
                      </a:cubicBezTo>
                      <a:cubicBezTo>
                        <a:pt x="131971" y="303827"/>
                        <a:pt x="115852" y="310275"/>
                        <a:pt x="115852" y="297379"/>
                      </a:cubicBezTo>
                      <a:cubicBezTo>
                        <a:pt x="109404" y="245797"/>
                        <a:pt x="106180" y="194215"/>
                        <a:pt x="67494" y="155529"/>
                      </a:cubicBezTo>
                      <a:cubicBezTo>
                        <a:pt x="48150" y="136185"/>
                        <a:pt x="19136" y="126514"/>
                        <a:pt x="3016" y="103946"/>
                      </a:cubicBezTo>
                      <a:cubicBezTo>
                        <a:pt x="-6656" y="94275"/>
                        <a:pt x="9464" y="87827"/>
                        <a:pt x="15911" y="97499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5" name="任意多边形: 形状 254">
                  <a:extLst>
                    <a:ext uri="{FF2B5EF4-FFF2-40B4-BE49-F238E27FC236}">
                      <a16:creationId xmlns:a16="http://schemas.microsoft.com/office/drawing/2014/main" id="{7063033A-4263-4493-827A-C219169C2199}"/>
                    </a:ext>
                  </a:extLst>
                </p:cNvPr>
                <p:cNvSpPr/>
                <p:nvPr/>
              </p:nvSpPr>
              <p:spPr>
                <a:xfrm>
                  <a:off x="6979894" y="3026396"/>
                  <a:ext cx="164005" cy="410675"/>
                </a:xfrm>
                <a:custGeom>
                  <a:avLst/>
                  <a:gdLst>
                    <a:gd name="connsiteX0" fmla="*/ 125732 w 164005"/>
                    <a:gd name="connsiteY0" fmla="*/ 409433 h 410675"/>
                    <a:gd name="connsiteX1" fmla="*/ 125732 w 164005"/>
                    <a:gd name="connsiteY1" fmla="*/ 409433 h 410675"/>
                    <a:gd name="connsiteX2" fmla="*/ 161194 w 164005"/>
                    <a:gd name="connsiteY2" fmla="*/ 344955 h 410675"/>
                    <a:gd name="connsiteX3" fmla="*/ 64478 w 164005"/>
                    <a:gd name="connsiteY3" fmla="*/ 0 h 410675"/>
                    <a:gd name="connsiteX4" fmla="*/ 0 w 164005"/>
                    <a:gd name="connsiteY4" fmla="*/ 16119 h 410675"/>
                    <a:gd name="connsiteX5" fmla="*/ 64478 w 164005"/>
                    <a:gd name="connsiteY5" fmla="*/ 367522 h 410675"/>
                    <a:gd name="connsiteX6" fmla="*/ 125732 w 164005"/>
                    <a:gd name="connsiteY6" fmla="*/ 409433 h 410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4005" h="410675">
                      <a:moveTo>
                        <a:pt x="125732" y="409433"/>
                      </a:moveTo>
                      <a:lnTo>
                        <a:pt x="125732" y="409433"/>
                      </a:lnTo>
                      <a:cubicBezTo>
                        <a:pt x="154746" y="402985"/>
                        <a:pt x="170866" y="373970"/>
                        <a:pt x="161194" y="344955"/>
                      </a:cubicBezTo>
                      <a:lnTo>
                        <a:pt x="64478" y="0"/>
                      </a:lnTo>
                      <a:lnTo>
                        <a:pt x="0" y="16119"/>
                      </a:lnTo>
                      <a:lnTo>
                        <a:pt x="64478" y="367522"/>
                      </a:lnTo>
                      <a:cubicBezTo>
                        <a:pt x="70925" y="396537"/>
                        <a:pt x="99940" y="415881"/>
                        <a:pt x="125732" y="409433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6" name="任意多边形: 形状 255">
                  <a:extLst>
                    <a:ext uri="{FF2B5EF4-FFF2-40B4-BE49-F238E27FC236}">
                      <a16:creationId xmlns:a16="http://schemas.microsoft.com/office/drawing/2014/main" id="{3CC4810D-F0C4-4E1F-B30D-B7D3DB89B8A1}"/>
                    </a:ext>
                  </a:extLst>
                </p:cNvPr>
                <p:cNvSpPr/>
                <p:nvPr/>
              </p:nvSpPr>
              <p:spPr>
                <a:xfrm rot="9993345">
                  <a:off x="6973851" y="3002412"/>
                  <a:ext cx="67701" cy="32238"/>
                </a:xfrm>
                <a:custGeom>
                  <a:avLst/>
                  <a:gdLst>
                    <a:gd name="connsiteX0" fmla="*/ 0 w 67701"/>
                    <a:gd name="connsiteY0" fmla="*/ 0 h 32238"/>
                    <a:gd name="connsiteX1" fmla="*/ 67702 w 67701"/>
                    <a:gd name="connsiteY1" fmla="*/ 0 h 32238"/>
                    <a:gd name="connsiteX2" fmla="*/ 67702 w 67701"/>
                    <a:gd name="connsiteY2" fmla="*/ 32239 h 32238"/>
                    <a:gd name="connsiteX3" fmla="*/ 0 w 67701"/>
                    <a:gd name="connsiteY3" fmla="*/ 32239 h 32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701" h="32238">
                      <a:moveTo>
                        <a:pt x="0" y="0"/>
                      </a:moveTo>
                      <a:lnTo>
                        <a:pt x="67702" y="0"/>
                      </a:lnTo>
                      <a:lnTo>
                        <a:pt x="67702" y="32239"/>
                      </a:lnTo>
                      <a:lnTo>
                        <a:pt x="0" y="32239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57" name="任意多边形: 形状 256">
                <a:extLst>
                  <a:ext uri="{FF2B5EF4-FFF2-40B4-BE49-F238E27FC236}">
                    <a16:creationId xmlns:a16="http://schemas.microsoft.com/office/drawing/2014/main" id="{2DC5239F-1ED2-43A1-A795-32888902348D}"/>
                  </a:ext>
                </a:extLst>
              </p:cNvPr>
              <p:cNvSpPr/>
              <p:nvPr/>
            </p:nvSpPr>
            <p:spPr>
              <a:xfrm>
                <a:off x="6838383" y="2635037"/>
                <a:ext cx="104159" cy="268866"/>
              </a:xfrm>
              <a:custGeom>
                <a:avLst/>
                <a:gdLst>
                  <a:gd name="connsiteX0" fmla="*/ 9331 w 104159"/>
                  <a:gd name="connsiteY0" fmla="*/ 262404 h 268866"/>
                  <a:gd name="connsiteX1" fmla="*/ 48018 w 104159"/>
                  <a:gd name="connsiteY1" fmla="*/ 239837 h 268866"/>
                  <a:gd name="connsiteX2" fmla="*/ 60913 w 104159"/>
                  <a:gd name="connsiteY2" fmla="*/ 165688 h 268866"/>
                  <a:gd name="connsiteX3" fmla="*/ 102824 w 104159"/>
                  <a:gd name="connsiteY3" fmla="*/ 114106 h 268866"/>
                  <a:gd name="connsiteX4" fmla="*/ 99600 w 104159"/>
                  <a:gd name="connsiteY4" fmla="*/ 104434 h 268866"/>
                  <a:gd name="connsiteX5" fmla="*/ 96376 w 104159"/>
                  <a:gd name="connsiteY5" fmla="*/ 91539 h 268866"/>
                  <a:gd name="connsiteX6" fmla="*/ 83480 w 104159"/>
                  <a:gd name="connsiteY6" fmla="*/ 72195 h 268866"/>
                  <a:gd name="connsiteX7" fmla="*/ 70585 w 104159"/>
                  <a:gd name="connsiteY7" fmla="*/ 7718 h 268866"/>
                  <a:gd name="connsiteX8" fmla="*/ 54466 w 104159"/>
                  <a:gd name="connsiteY8" fmla="*/ 4494 h 268866"/>
                  <a:gd name="connsiteX9" fmla="*/ 31899 w 104159"/>
                  <a:gd name="connsiteY9" fmla="*/ 59300 h 268866"/>
                  <a:gd name="connsiteX10" fmla="*/ 28674 w 104159"/>
                  <a:gd name="connsiteY10" fmla="*/ 62524 h 268866"/>
                  <a:gd name="connsiteX11" fmla="*/ 2883 w 104159"/>
                  <a:gd name="connsiteY11" fmla="*/ 188255 h 268866"/>
                  <a:gd name="connsiteX12" fmla="*/ 9331 w 104159"/>
                  <a:gd name="connsiteY12" fmla="*/ 262404 h 26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4159" h="268866">
                    <a:moveTo>
                      <a:pt x="9331" y="262404"/>
                    </a:moveTo>
                    <a:cubicBezTo>
                      <a:pt x="28674" y="281747"/>
                      <a:pt x="41570" y="252733"/>
                      <a:pt x="48018" y="239837"/>
                    </a:cubicBezTo>
                    <a:cubicBezTo>
                      <a:pt x="54466" y="217270"/>
                      <a:pt x="51242" y="188255"/>
                      <a:pt x="60913" y="165688"/>
                    </a:cubicBezTo>
                    <a:cubicBezTo>
                      <a:pt x="70585" y="146344"/>
                      <a:pt x="89929" y="133449"/>
                      <a:pt x="102824" y="114106"/>
                    </a:cubicBezTo>
                    <a:cubicBezTo>
                      <a:pt x="106048" y="110882"/>
                      <a:pt x="102824" y="107658"/>
                      <a:pt x="99600" y="104434"/>
                    </a:cubicBezTo>
                    <a:cubicBezTo>
                      <a:pt x="99600" y="101210"/>
                      <a:pt x="99600" y="94762"/>
                      <a:pt x="96376" y="91539"/>
                    </a:cubicBezTo>
                    <a:cubicBezTo>
                      <a:pt x="93152" y="85091"/>
                      <a:pt x="83480" y="75419"/>
                      <a:pt x="83480" y="72195"/>
                    </a:cubicBezTo>
                    <a:cubicBezTo>
                      <a:pt x="70585" y="52852"/>
                      <a:pt x="67361" y="30285"/>
                      <a:pt x="70585" y="7718"/>
                    </a:cubicBezTo>
                    <a:cubicBezTo>
                      <a:pt x="70585" y="-1954"/>
                      <a:pt x="57690" y="-1954"/>
                      <a:pt x="54466" y="4494"/>
                    </a:cubicBezTo>
                    <a:cubicBezTo>
                      <a:pt x="48018" y="23837"/>
                      <a:pt x="38346" y="39956"/>
                      <a:pt x="31899" y="59300"/>
                    </a:cubicBezTo>
                    <a:cubicBezTo>
                      <a:pt x="31899" y="59300"/>
                      <a:pt x="28674" y="62524"/>
                      <a:pt x="28674" y="62524"/>
                    </a:cubicBezTo>
                    <a:cubicBezTo>
                      <a:pt x="9331" y="107658"/>
                      <a:pt x="2883" y="146344"/>
                      <a:pt x="2883" y="188255"/>
                    </a:cubicBezTo>
                    <a:cubicBezTo>
                      <a:pt x="-340" y="217270"/>
                      <a:pt x="-3564" y="249509"/>
                      <a:pt x="9331" y="262404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58" name="图形 1">
              <a:extLst>
                <a:ext uri="{FF2B5EF4-FFF2-40B4-BE49-F238E27FC236}">
                  <a16:creationId xmlns:a16="http://schemas.microsoft.com/office/drawing/2014/main" id="{0CE540B5-BA07-4234-AB09-E4698FCCAC5A}"/>
                </a:ext>
              </a:extLst>
            </p:cNvPr>
            <p:cNvGrpSpPr/>
            <p:nvPr/>
          </p:nvGrpSpPr>
          <p:grpSpPr>
            <a:xfrm>
              <a:off x="6998358" y="3068307"/>
              <a:ext cx="110490" cy="145573"/>
              <a:chOff x="6998358" y="3068307"/>
              <a:chExt cx="110490" cy="145573"/>
            </a:xfrm>
          </p:grpSpPr>
          <p:sp>
            <p:nvSpPr>
              <p:cNvPr id="259" name="任意多边形: 形状 258">
                <a:extLst>
                  <a:ext uri="{FF2B5EF4-FFF2-40B4-BE49-F238E27FC236}">
                    <a16:creationId xmlns:a16="http://schemas.microsoft.com/office/drawing/2014/main" id="{76519BC9-FDC3-452A-8EB3-32248F36A828}"/>
                  </a:ext>
                </a:extLst>
              </p:cNvPr>
              <p:cNvSpPr/>
              <p:nvPr/>
            </p:nvSpPr>
            <p:spPr>
              <a:xfrm>
                <a:off x="7002170" y="3069795"/>
                <a:ext cx="104663" cy="144084"/>
              </a:xfrm>
              <a:custGeom>
                <a:avLst/>
                <a:gdLst>
                  <a:gd name="connsiteX0" fmla="*/ 16410 w 104663"/>
                  <a:gd name="connsiteY0" fmla="*/ 117795 h 144084"/>
                  <a:gd name="connsiteX1" fmla="*/ 13186 w 104663"/>
                  <a:gd name="connsiteY1" fmla="*/ 98452 h 144084"/>
                  <a:gd name="connsiteX2" fmla="*/ 3515 w 104663"/>
                  <a:gd name="connsiteY2" fmla="*/ 95228 h 144084"/>
                  <a:gd name="connsiteX3" fmla="*/ 6739 w 104663"/>
                  <a:gd name="connsiteY3" fmla="*/ 62989 h 144084"/>
                  <a:gd name="connsiteX4" fmla="*/ 9962 w 104663"/>
                  <a:gd name="connsiteY4" fmla="*/ 59765 h 144084"/>
                  <a:gd name="connsiteX5" fmla="*/ 6739 w 104663"/>
                  <a:gd name="connsiteY5" fmla="*/ 59765 h 144084"/>
                  <a:gd name="connsiteX6" fmla="*/ 9962 w 104663"/>
                  <a:gd name="connsiteY6" fmla="*/ 27527 h 144084"/>
                  <a:gd name="connsiteX7" fmla="*/ 19634 w 104663"/>
                  <a:gd name="connsiteY7" fmla="*/ 21079 h 144084"/>
                  <a:gd name="connsiteX8" fmla="*/ 29306 w 104663"/>
                  <a:gd name="connsiteY8" fmla="*/ 17855 h 144084"/>
                  <a:gd name="connsiteX9" fmla="*/ 93783 w 104663"/>
                  <a:gd name="connsiteY9" fmla="*/ 1736 h 144084"/>
                  <a:gd name="connsiteX10" fmla="*/ 103455 w 104663"/>
                  <a:gd name="connsiteY10" fmla="*/ 24303 h 144084"/>
                  <a:gd name="connsiteX11" fmla="*/ 90559 w 104663"/>
                  <a:gd name="connsiteY11" fmla="*/ 37198 h 144084"/>
                  <a:gd name="connsiteX12" fmla="*/ 97007 w 104663"/>
                  <a:gd name="connsiteY12" fmla="*/ 59765 h 144084"/>
                  <a:gd name="connsiteX13" fmla="*/ 90559 w 104663"/>
                  <a:gd name="connsiteY13" fmla="*/ 69437 h 144084"/>
                  <a:gd name="connsiteX14" fmla="*/ 100231 w 104663"/>
                  <a:gd name="connsiteY14" fmla="*/ 88780 h 144084"/>
                  <a:gd name="connsiteX15" fmla="*/ 87336 w 104663"/>
                  <a:gd name="connsiteY15" fmla="*/ 101676 h 144084"/>
                  <a:gd name="connsiteX16" fmla="*/ 93783 w 104663"/>
                  <a:gd name="connsiteY16" fmla="*/ 117795 h 144084"/>
                  <a:gd name="connsiteX17" fmla="*/ 77664 w 104663"/>
                  <a:gd name="connsiteY17" fmla="*/ 130691 h 144084"/>
                  <a:gd name="connsiteX18" fmla="*/ 51873 w 104663"/>
                  <a:gd name="connsiteY18" fmla="*/ 140362 h 144084"/>
                  <a:gd name="connsiteX19" fmla="*/ 32529 w 104663"/>
                  <a:gd name="connsiteY19" fmla="*/ 140362 h 144084"/>
                  <a:gd name="connsiteX20" fmla="*/ 32529 w 104663"/>
                  <a:gd name="connsiteY20" fmla="*/ 124243 h 144084"/>
                  <a:gd name="connsiteX21" fmla="*/ 16410 w 104663"/>
                  <a:gd name="connsiteY21" fmla="*/ 117795 h 144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04663" h="144084">
                    <a:moveTo>
                      <a:pt x="16410" y="117795"/>
                    </a:moveTo>
                    <a:cubicBezTo>
                      <a:pt x="13186" y="111347"/>
                      <a:pt x="13186" y="104900"/>
                      <a:pt x="13186" y="98452"/>
                    </a:cubicBezTo>
                    <a:cubicBezTo>
                      <a:pt x="9962" y="98452"/>
                      <a:pt x="6739" y="98452"/>
                      <a:pt x="3515" y="95228"/>
                    </a:cubicBezTo>
                    <a:cubicBezTo>
                      <a:pt x="-2933" y="85556"/>
                      <a:pt x="290" y="72661"/>
                      <a:pt x="6739" y="62989"/>
                    </a:cubicBezTo>
                    <a:cubicBezTo>
                      <a:pt x="6739" y="62989"/>
                      <a:pt x="9962" y="62989"/>
                      <a:pt x="9962" y="59765"/>
                    </a:cubicBezTo>
                    <a:cubicBezTo>
                      <a:pt x="9962" y="59765"/>
                      <a:pt x="9962" y="59765"/>
                      <a:pt x="6739" y="59765"/>
                    </a:cubicBezTo>
                    <a:cubicBezTo>
                      <a:pt x="290" y="50094"/>
                      <a:pt x="3515" y="37198"/>
                      <a:pt x="9962" y="27527"/>
                    </a:cubicBezTo>
                    <a:cubicBezTo>
                      <a:pt x="13186" y="24303"/>
                      <a:pt x="16410" y="21079"/>
                      <a:pt x="19634" y="21079"/>
                    </a:cubicBezTo>
                    <a:cubicBezTo>
                      <a:pt x="19634" y="21079"/>
                      <a:pt x="29306" y="17855"/>
                      <a:pt x="29306" y="17855"/>
                    </a:cubicBezTo>
                    <a:cubicBezTo>
                      <a:pt x="51873" y="8183"/>
                      <a:pt x="74440" y="-4712"/>
                      <a:pt x="93783" y="1736"/>
                    </a:cubicBezTo>
                    <a:cubicBezTo>
                      <a:pt x="103455" y="4959"/>
                      <a:pt x="106679" y="14631"/>
                      <a:pt x="103455" y="24303"/>
                    </a:cubicBezTo>
                    <a:cubicBezTo>
                      <a:pt x="100231" y="30750"/>
                      <a:pt x="97007" y="33974"/>
                      <a:pt x="90559" y="37198"/>
                    </a:cubicBezTo>
                    <a:cubicBezTo>
                      <a:pt x="97007" y="40422"/>
                      <a:pt x="100231" y="50094"/>
                      <a:pt x="97007" y="59765"/>
                    </a:cubicBezTo>
                    <a:cubicBezTo>
                      <a:pt x="97007" y="62989"/>
                      <a:pt x="93783" y="66213"/>
                      <a:pt x="90559" y="69437"/>
                    </a:cubicBezTo>
                    <a:cubicBezTo>
                      <a:pt x="97007" y="72661"/>
                      <a:pt x="100231" y="79109"/>
                      <a:pt x="100231" y="88780"/>
                    </a:cubicBezTo>
                    <a:cubicBezTo>
                      <a:pt x="97007" y="95228"/>
                      <a:pt x="93783" y="98452"/>
                      <a:pt x="87336" y="101676"/>
                    </a:cubicBezTo>
                    <a:cubicBezTo>
                      <a:pt x="93783" y="104900"/>
                      <a:pt x="97007" y="108124"/>
                      <a:pt x="93783" y="117795"/>
                    </a:cubicBezTo>
                    <a:cubicBezTo>
                      <a:pt x="90559" y="124243"/>
                      <a:pt x="84112" y="127467"/>
                      <a:pt x="77664" y="130691"/>
                    </a:cubicBezTo>
                    <a:cubicBezTo>
                      <a:pt x="67992" y="133915"/>
                      <a:pt x="61545" y="137138"/>
                      <a:pt x="51873" y="140362"/>
                    </a:cubicBezTo>
                    <a:cubicBezTo>
                      <a:pt x="45425" y="143586"/>
                      <a:pt x="35753" y="146810"/>
                      <a:pt x="32529" y="140362"/>
                    </a:cubicBezTo>
                    <a:cubicBezTo>
                      <a:pt x="29306" y="137138"/>
                      <a:pt x="29306" y="130691"/>
                      <a:pt x="32529" y="124243"/>
                    </a:cubicBezTo>
                    <a:cubicBezTo>
                      <a:pt x="29306" y="121019"/>
                      <a:pt x="22858" y="124243"/>
                      <a:pt x="16410" y="117795"/>
                    </a:cubicBez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0" name="任意多边形: 形状 259">
                <a:extLst>
                  <a:ext uri="{FF2B5EF4-FFF2-40B4-BE49-F238E27FC236}">
                    <a16:creationId xmlns:a16="http://schemas.microsoft.com/office/drawing/2014/main" id="{F79C1DE7-5F78-4C31-978F-A95A6E2F3A1B}"/>
                  </a:ext>
                </a:extLst>
              </p:cNvPr>
              <p:cNvSpPr/>
              <p:nvPr/>
            </p:nvSpPr>
            <p:spPr>
              <a:xfrm>
                <a:off x="6998358" y="3068307"/>
                <a:ext cx="110490" cy="103164"/>
              </a:xfrm>
              <a:custGeom>
                <a:avLst/>
                <a:gdLst>
                  <a:gd name="connsiteX0" fmla="*/ 20222 w 110490"/>
                  <a:gd name="connsiteY0" fmla="*/ 103164 h 103164"/>
                  <a:gd name="connsiteX1" fmla="*/ 879 w 110490"/>
                  <a:gd name="connsiteY1" fmla="*/ 90269 h 103164"/>
                  <a:gd name="connsiteX2" fmla="*/ 7326 w 110490"/>
                  <a:gd name="connsiteY2" fmla="*/ 58030 h 103164"/>
                  <a:gd name="connsiteX3" fmla="*/ 4102 w 110490"/>
                  <a:gd name="connsiteY3" fmla="*/ 51582 h 103164"/>
                  <a:gd name="connsiteX4" fmla="*/ 4102 w 110490"/>
                  <a:gd name="connsiteY4" fmla="*/ 35463 h 103164"/>
                  <a:gd name="connsiteX5" fmla="*/ 71804 w 110490"/>
                  <a:gd name="connsiteY5" fmla="*/ 0 h 103164"/>
                  <a:gd name="connsiteX6" fmla="*/ 78252 w 110490"/>
                  <a:gd name="connsiteY6" fmla="*/ 3224 h 103164"/>
                  <a:gd name="connsiteX7" fmla="*/ 75028 w 110490"/>
                  <a:gd name="connsiteY7" fmla="*/ 9672 h 103164"/>
                  <a:gd name="connsiteX8" fmla="*/ 13774 w 110490"/>
                  <a:gd name="connsiteY8" fmla="*/ 38687 h 103164"/>
                  <a:gd name="connsiteX9" fmla="*/ 13774 w 110490"/>
                  <a:gd name="connsiteY9" fmla="*/ 45134 h 103164"/>
                  <a:gd name="connsiteX10" fmla="*/ 20222 w 110490"/>
                  <a:gd name="connsiteY10" fmla="*/ 51582 h 103164"/>
                  <a:gd name="connsiteX11" fmla="*/ 91148 w 110490"/>
                  <a:gd name="connsiteY11" fmla="*/ 29015 h 103164"/>
                  <a:gd name="connsiteX12" fmla="*/ 104043 w 110490"/>
                  <a:gd name="connsiteY12" fmla="*/ 29015 h 103164"/>
                  <a:gd name="connsiteX13" fmla="*/ 110490 w 110490"/>
                  <a:gd name="connsiteY13" fmla="*/ 45134 h 103164"/>
                  <a:gd name="connsiteX14" fmla="*/ 49237 w 110490"/>
                  <a:gd name="connsiteY14" fmla="*/ 93493 h 103164"/>
                  <a:gd name="connsiteX15" fmla="*/ 20222 w 110490"/>
                  <a:gd name="connsiteY15" fmla="*/ 103164 h 103164"/>
                  <a:gd name="connsiteX16" fmla="*/ 16998 w 110490"/>
                  <a:gd name="connsiteY16" fmla="*/ 64478 h 103164"/>
                  <a:gd name="connsiteX17" fmla="*/ 10550 w 110490"/>
                  <a:gd name="connsiteY17" fmla="*/ 87045 h 103164"/>
                  <a:gd name="connsiteX18" fmla="*/ 46013 w 110490"/>
                  <a:gd name="connsiteY18" fmla="*/ 83821 h 103164"/>
                  <a:gd name="connsiteX19" fmla="*/ 97595 w 110490"/>
                  <a:gd name="connsiteY19" fmla="*/ 48358 h 103164"/>
                  <a:gd name="connsiteX20" fmla="*/ 94371 w 110490"/>
                  <a:gd name="connsiteY20" fmla="*/ 41910 h 103164"/>
                  <a:gd name="connsiteX21" fmla="*/ 16998 w 110490"/>
                  <a:gd name="connsiteY21" fmla="*/ 64478 h 103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0490" h="103164">
                    <a:moveTo>
                      <a:pt x="20222" y="103164"/>
                    </a:moveTo>
                    <a:cubicBezTo>
                      <a:pt x="10550" y="103164"/>
                      <a:pt x="4102" y="99940"/>
                      <a:pt x="879" y="90269"/>
                    </a:cubicBezTo>
                    <a:cubicBezTo>
                      <a:pt x="-2345" y="77373"/>
                      <a:pt x="4102" y="61254"/>
                      <a:pt x="7326" y="58030"/>
                    </a:cubicBezTo>
                    <a:cubicBezTo>
                      <a:pt x="4102" y="54806"/>
                      <a:pt x="4102" y="51582"/>
                      <a:pt x="4102" y="51582"/>
                    </a:cubicBezTo>
                    <a:cubicBezTo>
                      <a:pt x="879" y="45134"/>
                      <a:pt x="4102" y="41910"/>
                      <a:pt x="4102" y="35463"/>
                    </a:cubicBezTo>
                    <a:cubicBezTo>
                      <a:pt x="16998" y="12896"/>
                      <a:pt x="65356" y="0"/>
                      <a:pt x="71804" y="0"/>
                    </a:cubicBezTo>
                    <a:cubicBezTo>
                      <a:pt x="75028" y="0"/>
                      <a:pt x="78252" y="0"/>
                      <a:pt x="78252" y="3224"/>
                    </a:cubicBezTo>
                    <a:cubicBezTo>
                      <a:pt x="78252" y="6448"/>
                      <a:pt x="78252" y="9672"/>
                      <a:pt x="75028" y="9672"/>
                    </a:cubicBezTo>
                    <a:cubicBezTo>
                      <a:pt x="55685" y="16119"/>
                      <a:pt x="23446" y="25791"/>
                      <a:pt x="13774" y="38687"/>
                    </a:cubicBezTo>
                    <a:cubicBezTo>
                      <a:pt x="13774" y="41910"/>
                      <a:pt x="13774" y="41910"/>
                      <a:pt x="13774" y="45134"/>
                    </a:cubicBezTo>
                    <a:cubicBezTo>
                      <a:pt x="13774" y="48358"/>
                      <a:pt x="16998" y="51582"/>
                      <a:pt x="20222" y="51582"/>
                    </a:cubicBezTo>
                    <a:cubicBezTo>
                      <a:pt x="26670" y="54806"/>
                      <a:pt x="46013" y="51582"/>
                      <a:pt x="91148" y="29015"/>
                    </a:cubicBezTo>
                    <a:cubicBezTo>
                      <a:pt x="94371" y="29015"/>
                      <a:pt x="97595" y="25791"/>
                      <a:pt x="104043" y="29015"/>
                    </a:cubicBezTo>
                    <a:cubicBezTo>
                      <a:pt x="107267" y="32239"/>
                      <a:pt x="110490" y="35463"/>
                      <a:pt x="110490" y="45134"/>
                    </a:cubicBezTo>
                    <a:cubicBezTo>
                      <a:pt x="110490" y="64478"/>
                      <a:pt x="91148" y="80597"/>
                      <a:pt x="49237" y="93493"/>
                    </a:cubicBezTo>
                    <a:cubicBezTo>
                      <a:pt x="39565" y="99940"/>
                      <a:pt x="29893" y="103164"/>
                      <a:pt x="20222" y="103164"/>
                    </a:cubicBezTo>
                    <a:close/>
                    <a:moveTo>
                      <a:pt x="16998" y="64478"/>
                    </a:moveTo>
                    <a:cubicBezTo>
                      <a:pt x="13774" y="70925"/>
                      <a:pt x="10550" y="80597"/>
                      <a:pt x="10550" y="87045"/>
                    </a:cubicBezTo>
                    <a:cubicBezTo>
                      <a:pt x="13774" y="93493"/>
                      <a:pt x="16998" y="93493"/>
                      <a:pt x="46013" y="83821"/>
                    </a:cubicBezTo>
                    <a:cubicBezTo>
                      <a:pt x="78252" y="74149"/>
                      <a:pt x="100819" y="58030"/>
                      <a:pt x="97595" y="48358"/>
                    </a:cubicBezTo>
                    <a:cubicBezTo>
                      <a:pt x="97595" y="41910"/>
                      <a:pt x="94371" y="41910"/>
                      <a:pt x="94371" y="41910"/>
                    </a:cubicBezTo>
                    <a:cubicBezTo>
                      <a:pt x="46013" y="67702"/>
                      <a:pt x="26670" y="67702"/>
                      <a:pt x="16998" y="6447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1" name="任意多边形: 形状 260">
                <a:extLst>
                  <a:ext uri="{FF2B5EF4-FFF2-40B4-BE49-F238E27FC236}">
                    <a16:creationId xmlns:a16="http://schemas.microsoft.com/office/drawing/2014/main" id="{0C1A089E-E80B-424A-BAC9-DDB25614EC52}"/>
                  </a:ext>
                </a:extLst>
              </p:cNvPr>
              <p:cNvSpPr/>
              <p:nvPr/>
            </p:nvSpPr>
            <p:spPr>
              <a:xfrm>
                <a:off x="7008393" y="3134673"/>
                <a:ext cx="97232" cy="69036"/>
              </a:xfrm>
              <a:custGeom>
                <a:avLst/>
                <a:gdLst>
                  <a:gd name="connsiteX0" fmla="*/ 23083 w 97232"/>
                  <a:gd name="connsiteY0" fmla="*/ 62589 h 69036"/>
                  <a:gd name="connsiteX1" fmla="*/ 6964 w 97232"/>
                  <a:gd name="connsiteY1" fmla="*/ 56141 h 69036"/>
                  <a:gd name="connsiteX2" fmla="*/ 516 w 97232"/>
                  <a:gd name="connsiteY2" fmla="*/ 30350 h 69036"/>
                  <a:gd name="connsiteX3" fmla="*/ 6964 w 97232"/>
                  <a:gd name="connsiteY3" fmla="*/ 27126 h 69036"/>
                  <a:gd name="connsiteX4" fmla="*/ 10187 w 97232"/>
                  <a:gd name="connsiteY4" fmla="*/ 33574 h 69036"/>
                  <a:gd name="connsiteX5" fmla="*/ 13411 w 97232"/>
                  <a:gd name="connsiteY5" fmla="*/ 49694 h 69036"/>
                  <a:gd name="connsiteX6" fmla="*/ 26307 w 97232"/>
                  <a:gd name="connsiteY6" fmla="*/ 52917 h 69036"/>
                  <a:gd name="connsiteX7" fmla="*/ 87561 w 97232"/>
                  <a:gd name="connsiteY7" fmla="*/ 27126 h 69036"/>
                  <a:gd name="connsiteX8" fmla="*/ 87561 w 97232"/>
                  <a:gd name="connsiteY8" fmla="*/ 20679 h 69036"/>
                  <a:gd name="connsiteX9" fmla="*/ 81113 w 97232"/>
                  <a:gd name="connsiteY9" fmla="*/ 11007 h 69036"/>
                  <a:gd name="connsiteX10" fmla="*/ 77889 w 97232"/>
                  <a:gd name="connsiteY10" fmla="*/ 4559 h 69036"/>
                  <a:gd name="connsiteX11" fmla="*/ 84336 w 97232"/>
                  <a:gd name="connsiteY11" fmla="*/ 1335 h 69036"/>
                  <a:gd name="connsiteX12" fmla="*/ 97232 w 97232"/>
                  <a:gd name="connsiteY12" fmla="*/ 20679 h 69036"/>
                  <a:gd name="connsiteX13" fmla="*/ 90784 w 97232"/>
                  <a:gd name="connsiteY13" fmla="*/ 40022 h 69036"/>
                  <a:gd name="connsiteX14" fmla="*/ 23083 w 97232"/>
                  <a:gd name="connsiteY14" fmla="*/ 69037 h 69036"/>
                  <a:gd name="connsiteX15" fmla="*/ 23083 w 97232"/>
                  <a:gd name="connsiteY15" fmla="*/ 62589 h 69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7232" h="69036">
                    <a:moveTo>
                      <a:pt x="23083" y="62589"/>
                    </a:moveTo>
                    <a:cubicBezTo>
                      <a:pt x="16635" y="62589"/>
                      <a:pt x="10187" y="59365"/>
                      <a:pt x="6964" y="56141"/>
                    </a:cubicBezTo>
                    <a:cubicBezTo>
                      <a:pt x="-2708" y="46470"/>
                      <a:pt x="516" y="30350"/>
                      <a:pt x="516" y="30350"/>
                    </a:cubicBezTo>
                    <a:cubicBezTo>
                      <a:pt x="516" y="27126"/>
                      <a:pt x="3739" y="23902"/>
                      <a:pt x="6964" y="27126"/>
                    </a:cubicBezTo>
                    <a:cubicBezTo>
                      <a:pt x="10187" y="27126"/>
                      <a:pt x="13411" y="30350"/>
                      <a:pt x="10187" y="33574"/>
                    </a:cubicBezTo>
                    <a:cubicBezTo>
                      <a:pt x="10187" y="36798"/>
                      <a:pt x="10187" y="43246"/>
                      <a:pt x="13411" y="49694"/>
                    </a:cubicBezTo>
                    <a:cubicBezTo>
                      <a:pt x="16635" y="52917"/>
                      <a:pt x="19859" y="52917"/>
                      <a:pt x="26307" y="52917"/>
                    </a:cubicBezTo>
                    <a:cubicBezTo>
                      <a:pt x="52098" y="49694"/>
                      <a:pt x="81113" y="33574"/>
                      <a:pt x="87561" y="27126"/>
                    </a:cubicBezTo>
                    <a:cubicBezTo>
                      <a:pt x="87561" y="27126"/>
                      <a:pt x="87561" y="23902"/>
                      <a:pt x="87561" y="20679"/>
                    </a:cubicBezTo>
                    <a:cubicBezTo>
                      <a:pt x="87561" y="14231"/>
                      <a:pt x="84336" y="11007"/>
                      <a:pt x="81113" y="11007"/>
                    </a:cubicBezTo>
                    <a:cubicBezTo>
                      <a:pt x="77889" y="11007"/>
                      <a:pt x="74665" y="7783"/>
                      <a:pt x="77889" y="4559"/>
                    </a:cubicBezTo>
                    <a:cubicBezTo>
                      <a:pt x="77889" y="1335"/>
                      <a:pt x="84336" y="-1889"/>
                      <a:pt x="84336" y="1335"/>
                    </a:cubicBezTo>
                    <a:cubicBezTo>
                      <a:pt x="90784" y="4559"/>
                      <a:pt x="97232" y="11007"/>
                      <a:pt x="97232" y="20679"/>
                    </a:cubicBezTo>
                    <a:cubicBezTo>
                      <a:pt x="97232" y="27126"/>
                      <a:pt x="97232" y="33574"/>
                      <a:pt x="90784" y="40022"/>
                    </a:cubicBezTo>
                    <a:cubicBezTo>
                      <a:pt x="81113" y="49694"/>
                      <a:pt x="48874" y="65813"/>
                      <a:pt x="23083" y="69037"/>
                    </a:cubicBezTo>
                    <a:cubicBezTo>
                      <a:pt x="26307" y="62589"/>
                      <a:pt x="26307" y="62589"/>
                      <a:pt x="23083" y="6258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62" name="图形 1">
              <a:extLst>
                <a:ext uri="{FF2B5EF4-FFF2-40B4-BE49-F238E27FC236}">
                  <a16:creationId xmlns:a16="http://schemas.microsoft.com/office/drawing/2014/main" id="{0CE540B5-BA07-4234-AB09-E4698FCCAC5A}"/>
                </a:ext>
              </a:extLst>
            </p:cNvPr>
            <p:cNvGrpSpPr/>
            <p:nvPr/>
          </p:nvGrpSpPr>
          <p:grpSpPr>
            <a:xfrm>
              <a:off x="6945237" y="3104682"/>
              <a:ext cx="115253" cy="99027"/>
              <a:chOff x="6945237" y="3104682"/>
              <a:chExt cx="115253" cy="99027"/>
            </a:xfrm>
          </p:grpSpPr>
          <p:sp>
            <p:nvSpPr>
              <p:cNvPr id="263" name="任意多边形: 形状 262">
                <a:extLst>
                  <a:ext uri="{FF2B5EF4-FFF2-40B4-BE49-F238E27FC236}">
                    <a16:creationId xmlns:a16="http://schemas.microsoft.com/office/drawing/2014/main" id="{8AB31163-811B-4E3F-A2DB-3BFF329BD1DC}"/>
                  </a:ext>
                </a:extLst>
              </p:cNvPr>
              <p:cNvSpPr/>
              <p:nvPr/>
            </p:nvSpPr>
            <p:spPr>
              <a:xfrm>
                <a:off x="6951710" y="3112318"/>
                <a:ext cx="103177" cy="85134"/>
              </a:xfrm>
              <a:custGeom>
                <a:avLst/>
                <a:gdLst>
                  <a:gd name="connsiteX0" fmla="*/ 66870 w 103177"/>
                  <a:gd name="connsiteY0" fmla="*/ 1124 h 85134"/>
                  <a:gd name="connsiteX1" fmla="*/ 2392 w 103177"/>
                  <a:gd name="connsiteY1" fmla="*/ 36586 h 85134"/>
                  <a:gd name="connsiteX2" fmla="*/ 18511 w 103177"/>
                  <a:gd name="connsiteY2" fmla="*/ 84944 h 85134"/>
                  <a:gd name="connsiteX3" fmla="*/ 41079 w 103177"/>
                  <a:gd name="connsiteY3" fmla="*/ 49482 h 85134"/>
                  <a:gd name="connsiteX4" fmla="*/ 82989 w 103177"/>
                  <a:gd name="connsiteY4" fmla="*/ 39810 h 85134"/>
                  <a:gd name="connsiteX5" fmla="*/ 102332 w 103177"/>
                  <a:gd name="connsiteY5" fmla="*/ 43034 h 85134"/>
                  <a:gd name="connsiteX6" fmla="*/ 66870 w 103177"/>
                  <a:gd name="connsiteY6" fmla="*/ 1124 h 85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177" h="85134">
                    <a:moveTo>
                      <a:pt x="66870" y="1124"/>
                    </a:moveTo>
                    <a:cubicBezTo>
                      <a:pt x="44303" y="-5324"/>
                      <a:pt x="15288" y="17243"/>
                      <a:pt x="2392" y="36586"/>
                    </a:cubicBezTo>
                    <a:cubicBezTo>
                      <a:pt x="-7279" y="49482"/>
                      <a:pt x="15288" y="88168"/>
                      <a:pt x="18511" y="84944"/>
                    </a:cubicBezTo>
                    <a:cubicBezTo>
                      <a:pt x="24960" y="78497"/>
                      <a:pt x="34631" y="55930"/>
                      <a:pt x="41079" y="49482"/>
                    </a:cubicBezTo>
                    <a:cubicBezTo>
                      <a:pt x="53974" y="39810"/>
                      <a:pt x="66870" y="36586"/>
                      <a:pt x="82989" y="39810"/>
                    </a:cubicBezTo>
                    <a:cubicBezTo>
                      <a:pt x="89437" y="39810"/>
                      <a:pt x="99108" y="49482"/>
                      <a:pt x="102332" y="43034"/>
                    </a:cubicBezTo>
                    <a:cubicBezTo>
                      <a:pt x="108780" y="30138"/>
                      <a:pt x="76541" y="4347"/>
                      <a:pt x="66870" y="112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4" name="任意多边形: 形状 263">
                <a:extLst>
                  <a:ext uri="{FF2B5EF4-FFF2-40B4-BE49-F238E27FC236}">
                    <a16:creationId xmlns:a16="http://schemas.microsoft.com/office/drawing/2014/main" id="{454E6D1C-9EE6-4AB1-AC50-9F3C34421603}"/>
                  </a:ext>
                </a:extLst>
              </p:cNvPr>
              <p:cNvSpPr/>
              <p:nvPr/>
            </p:nvSpPr>
            <p:spPr>
              <a:xfrm>
                <a:off x="6945237" y="3104682"/>
                <a:ext cx="115253" cy="99027"/>
              </a:xfrm>
              <a:custGeom>
                <a:avLst/>
                <a:gdLst>
                  <a:gd name="connsiteX0" fmla="*/ 47552 w 115253"/>
                  <a:gd name="connsiteY0" fmla="*/ 99027 h 99027"/>
                  <a:gd name="connsiteX1" fmla="*/ 44328 w 115253"/>
                  <a:gd name="connsiteY1" fmla="*/ 99027 h 99027"/>
                  <a:gd name="connsiteX2" fmla="*/ 41104 w 115253"/>
                  <a:gd name="connsiteY2" fmla="*/ 89356 h 99027"/>
                  <a:gd name="connsiteX3" fmla="*/ 41104 w 115253"/>
                  <a:gd name="connsiteY3" fmla="*/ 63565 h 99027"/>
                  <a:gd name="connsiteX4" fmla="*/ 41104 w 115253"/>
                  <a:gd name="connsiteY4" fmla="*/ 57117 h 99027"/>
                  <a:gd name="connsiteX5" fmla="*/ 89462 w 115253"/>
                  <a:gd name="connsiteY5" fmla="*/ 47445 h 99027"/>
                  <a:gd name="connsiteX6" fmla="*/ 102358 w 115253"/>
                  <a:gd name="connsiteY6" fmla="*/ 47445 h 99027"/>
                  <a:gd name="connsiteX7" fmla="*/ 102358 w 115253"/>
                  <a:gd name="connsiteY7" fmla="*/ 44221 h 99027"/>
                  <a:gd name="connsiteX8" fmla="*/ 70119 w 115253"/>
                  <a:gd name="connsiteY8" fmla="*/ 15206 h 99027"/>
                  <a:gd name="connsiteX9" fmla="*/ 12089 w 115253"/>
                  <a:gd name="connsiteY9" fmla="*/ 47445 h 99027"/>
                  <a:gd name="connsiteX10" fmla="*/ 2418 w 115253"/>
                  <a:gd name="connsiteY10" fmla="*/ 47445 h 99027"/>
                  <a:gd name="connsiteX11" fmla="*/ 2418 w 115253"/>
                  <a:gd name="connsiteY11" fmla="*/ 37774 h 99027"/>
                  <a:gd name="connsiteX12" fmla="*/ 73343 w 115253"/>
                  <a:gd name="connsiteY12" fmla="*/ 2311 h 99027"/>
                  <a:gd name="connsiteX13" fmla="*/ 115254 w 115253"/>
                  <a:gd name="connsiteY13" fmla="*/ 40998 h 99027"/>
                  <a:gd name="connsiteX14" fmla="*/ 112030 w 115253"/>
                  <a:gd name="connsiteY14" fmla="*/ 53893 h 99027"/>
                  <a:gd name="connsiteX15" fmla="*/ 89462 w 115253"/>
                  <a:gd name="connsiteY15" fmla="*/ 53893 h 99027"/>
                  <a:gd name="connsiteX16" fmla="*/ 54000 w 115253"/>
                  <a:gd name="connsiteY16" fmla="*/ 57117 h 99027"/>
                  <a:gd name="connsiteX17" fmla="*/ 50776 w 115253"/>
                  <a:gd name="connsiteY17" fmla="*/ 89356 h 99027"/>
                  <a:gd name="connsiteX18" fmla="*/ 47552 w 115253"/>
                  <a:gd name="connsiteY18" fmla="*/ 99027 h 99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5253" h="99027">
                    <a:moveTo>
                      <a:pt x="47552" y="99027"/>
                    </a:moveTo>
                    <a:cubicBezTo>
                      <a:pt x="47552" y="99027"/>
                      <a:pt x="44328" y="99027"/>
                      <a:pt x="44328" y="99027"/>
                    </a:cubicBezTo>
                    <a:cubicBezTo>
                      <a:pt x="41104" y="95804"/>
                      <a:pt x="41104" y="92580"/>
                      <a:pt x="41104" y="89356"/>
                    </a:cubicBezTo>
                    <a:cubicBezTo>
                      <a:pt x="47552" y="82908"/>
                      <a:pt x="41104" y="66789"/>
                      <a:pt x="41104" y="63565"/>
                    </a:cubicBezTo>
                    <a:cubicBezTo>
                      <a:pt x="41104" y="60341"/>
                      <a:pt x="41104" y="57117"/>
                      <a:pt x="41104" y="57117"/>
                    </a:cubicBezTo>
                    <a:cubicBezTo>
                      <a:pt x="57224" y="40998"/>
                      <a:pt x="76567" y="44221"/>
                      <a:pt x="89462" y="47445"/>
                    </a:cubicBezTo>
                    <a:cubicBezTo>
                      <a:pt x="92686" y="47445"/>
                      <a:pt x="99134" y="50669"/>
                      <a:pt x="102358" y="47445"/>
                    </a:cubicBezTo>
                    <a:cubicBezTo>
                      <a:pt x="102358" y="47445"/>
                      <a:pt x="102358" y="47445"/>
                      <a:pt x="102358" y="44221"/>
                    </a:cubicBezTo>
                    <a:cubicBezTo>
                      <a:pt x="102358" y="37774"/>
                      <a:pt x="89462" y="21654"/>
                      <a:pt x="70119" y="15206"/>
                    </a:cubicBezTo>
                    <a:cubicBezTo>
                      <a:pt x="50776" y="8759"/>
                      <a:pt x="21761" y="37774"/>
                      <a:pt x="12089" y="47445"/>
                    </a:cubicBezTo>
                    <a:cubicBezTo>
                      <a:pt x="8865" y="50669"/>
                      <a:pt x="5642" y="50669"/>
                      <a:pt x="2418" y="47445"/>
                    </a:cubicBezTo>
                    <a:cubicBezTo>
                      <a:pt x="-806" y="44221"/>
                      <a:pt x="-806" y="40998"/>
                      <a:pt x="2418" y="37774"/>
                    </a:cubicBezTo>
                    <a:cubicBezTo>
                      <a:pt x="2418" y="34550"/>
                      <a:pt x="41104" y="-10585"/>
                      <a:pt x="73343" y="2311"/>
                    </a:cubicBezTo>
                    <a:cubicBezTo>
                      <a:pt x="95911" y="11983"/>
                      <a:pt x="112030" y="28102"/>
                      <a:pt x="115254" y="40998"/>
                    </a:cubicBezTo>
                    <a:cubicBezTo>
                      <a:pt x="115254" y="47445"/>
                      <a:pt x="115254" y="50669"/>
                      <a:pt x="112030" y="53893"/>
                    </a:cubicBezTo>
                    <a:cubicBezTo>
                      <a:pt x="105582" y="60341"/>
                      <a:pt x="99134" y="57117"/>
                      <a:pt x="89462" y="53893"/>
                    </a:cubicBezTo>
                    <a:cubicBezTo>
                      <a:pt x="79791" y="50669"/>
                      <a:pt x="66895" y="47445"/>
                      <a:pt x="54000" y="57117"/>
                    </a:cubicBezTo>
                    <a:cubicBezTo>
                      <a:pt x="57224" y="63565"/>
                      <a:pt x="57224" y="79684"/>
                      <a:pt x="50776" y="89356"/>
                    </a:cubicBezTo>
                    <a:cubicBezTo>
                      <a:pt x="50776" y="95804"/>
                      <a:pt x="47552" y="99027"/>
                      <a:pt x="47552" y="9902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65" name="图形 1">
              <a:extLst>
                <a:ext uri="{FF2B5EF4-FFF2-40B4-BE49-F238E27FC236}">
                  <a16:creationId xmlns:a16="http://schemas.microsoft.com/office/drawing/2014/main" id="{0CE540B5-BA07-4234-AB09-E4698FCCAC5A}"/>
                </a:ext>
              </a:extLst>
            </p:cNvPr>
            <p:cNvGrpSpPr/>
            <p:nvPr/>
          </p:nvGrpSpPr>
          <p:grpSpPr>
            <a:xfrm>
              <a:off x="5815118" y="3709343"/>
              <a:ext cx="285921" cy="167233"/>
              <a:chOff x="5815118" y="3709343"/>
              <a:chExt cx="285921" cy="167233"/>
            </a:xfrm>
          </p:grpSpPr>
          <p:sp>
            <p:nvSpPr>
              <p:cNvPr id="266" name="任意多边形: 形状 265">
                <a:extLst>
                  <a:ext uri="{FF2B5EF4-FFF2-40B4-BE49-F238E27FC236}">
                    <a16:creationId xmlns:a16="http://schemas.microsoft.com/office/drawing/2014/main" id="{7624FA46-4B60-4CE6-AE20-6CC02F6A0A57}"/>
                  </a:ext>
                </a:extLst>
              </p:cNvPr>
              <p:cNvSpPr/>
              <p:nvPr/>
            </p:nvSpPr>
            <p:spPr>
              <a:xfrm>
                <a:off x="5815118" y="3709343"/>
                <a:ext cx="274984" cy="167233"/>
              </a:xfrm>
              <a:custGeom>
                <a:avLst/>
                <a:gdLst>
                  <a:gd name="connsiteX0" fmla="*/ 4179 w 274984"/>
                  <a:gd name="connsiteY0" fmla="*/ 129471 h 167233"/>
                  <a:gd name="connsiteX1" fmla="*/ 152478 w 274984"/>
                  <a:gd name="connsiteY1" fmla="*/ 164934 h 167233"/>
                  <a:gd name="connsiteX2" fmla="*/ 262089 w 274984"/>
                  <a:gd name="connsiteY2" fmla="*/ 106904 h 167233"/>
                  <a:gd name="connsiteX3" fmla="*/ 252418 w 274984"/>
                  <a:gd name="connsiteY3" fmla="*/ 97232 h 167233"/>
                  <a:gd name="connsiteX4" fmla="*/ 216955 w 274984"/>
                  <a:gd name="connsiteY4" fmla="*/ 106904 h 167233"/>
                  <a:gd name="connsiteX5" fmla="*/ 255642 w 274984"/>
                  <a:gd name="connsiteY5" fmla="*/ 87561 h 167233"/>
                  <a:gd name="connsiteX6" fmla="*/ 274985 w 274984"/>
                  <a:gd name="connsiteY6" fmla="*/ 64993 h 167233"/>
                  <a:gd name="connsiteX7" fmla="*/ 262089 w 274984"/>
                  <a:gd name="connsiteY7" fmla="*/ 55322 h 167233"/>
                  <a:gd name="connsiteX8" fmla="*/ 265313 w 274984"/>
                  <a:gd name="connsiteY8" fmla="*/ 52098 h 167233"/>
                  <a:gd name="connsiteX9" fmla="*/ 249194 w 274984"/>
                  <a:gd name="connsiteY9" fmla="*/ 42426 h 167233"/>
                  <a:gd name="connsiteX10" fmla="*/ 107343 w 274984"/>
                  <a:gd name="connsiteY10" fmla="*/ 71441 h 167233"/>
                  <a:gd name="connsiteX11" fmla="*/ 136358 w 274984"/>
                  <a:gd name="connsiteY11" fmla="*/ 35978 h 167233"/>
                  <a:gd name="connsiteX12" fmla="*/ 181492 w 274984"/>
                  <a:gd name="connsiteY12" fmla="*/ 19859 h 167233"/>
                  <a:gd name="connsiteX13" fmla="*/ 155701 w 274984"/>
                  <a:gd name="connsiteY13" fmla="*/ 516 h 167233"/>
                  <a:gd name="connsiteX14" fmla="*/ 100895 w 274984"/>
                  <a:gd name="connsiteY14" fmla="*/ 6964 h 167233"/>
                  <a:gd name="connsiteX15" fmla="*/ 33194 w 274984"/>
                  <a:gd name="connsiteY15" fmla="*/ 32755 h 167233"/>
                  <a:gd name="connsiteX16" fmla="*/ 4179 w 274984"/>
                  <a:gd name="connsiteY16" fmla="*/ 129471 h 167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74984" h="167233">
                    <a:moveTo>
                      <a:pt x="4179" y="129471"/>
                    </a:moveTo>
                    <a:cubicBezTo>
                      <a:pt x="33194" y="152038"/>
                      <a:pt x="110567" y="174605"/>
                      <a:pt x="152478" y="164934"/>
                    </a:cubicBezTo>
                    <a:cubicBezTo>
                      <a:pt x="181492" y="158486"/>
                      <a:pt x="262089" y="123023"/>
                      <a:pt x="262089" y="106904"/>
                    </a:cubicBezTo>
                    <a:cubicBezTo>
                      <a:pt x="262089" y="103680"/>
                      <a:pt x="255642" y="97232"/>
                      <a:pt x="252418" y="97232"/>
                    </a:cubicBezTo>
                    <a:cubicBezTo>
                      <a:pt x="249194" y="94008"/>
                      <a:pt x="223403" y="106904"/>
                      <a:pt x="216955" y="106904"/>
                    </a:cubicBezTo>
                    <a:cubicBezTo>
                      <a:pt x="229850" y="100456"/>
                      <a:pt x="245970" y="94008"/>
                      <a:pt x="255642" y="87561"/>
                    </a:cubicBezTo>
                    <a:cubicBezTo>
                      <a:pt x="265313" y="81113"/>
                      <a:pt x="274985" y="71441"/>
                      <a:pt x="274985" y="64993"/>
                    </a:cubicBezTo>
                    <a:cubicBezTo>
                      <a:pt x="274985" y="52098"/>
                      <a:pt x="271761" y="55322"/>
                      <a:pt x="262089" y="55322"/>
                    </a:cubicBezTo>
                    <a:cubicBezTo>
                      <a:pt x="262089" y="55322"/>
                      <a:pt x="265313" y="52098"/>
                      <a:pt x="265313" y="52098"/>
                    </a:cubicBezTo>
                    <a:cubicBezTo>
                      <a:pt x="268537" y="48874"/>
                      <a:pt x="252418" y="45650"/>
                      <a:pt x="249194" y="42426"/>
                    </a:cubicBezTo>
                    <a:cubicBezTo>
                      <a:pt x="236298" y="23083"/>
                      <a:pt x="133134" y="100456"/>
                      <a:pt x="107343" y="71441"/>
                    </a:cubicBezTo>
                    <a:cubicBezTo>
                      <a:pt x="110567" y="64993"/>
                      <a:pt x="120239" y="45650"/>
                      <a:pt x="136358" y="35978"/>
                    </a:cubicBezTo>
                    <a:cubicBezTo>
                      <a:pt x="171821" y="35978"/>
                      <a:pt x="181492" y="26307"/>
                      <a:pt x="181492" y="19859"/>
                    </a:cubicBezTo>
                    <a:cubicBezTo>
                      <a:pt x="181492" y="16635"/>
                      <a:pt x="158925" y="516"/>
                      <a:pt x="155701" y="516"/>
                    </a:cubicBezTo>
                    <a:cubicBezTo>
                      <a:pt x="123463" y="516"/>
                      <a:pt x="129910" y="-2708"/>
                      <a:pt x="100895" y="6964"/>
                    </a:cubicBezTo>
                    <a:cubicBezTo>
                      <a:pt x="78328" y="16635"/>
                      <a:pt x="55761" y="26307"/>
                      <a:pt x="33194" y="32755"/>
                    </a:cubicBezTo>
                    <a:cubicBezTo>
                      <a:pt x="-11941" y="45650"/>
                      <a:pt x="955" y="129471"/>
                      <a:pt x="4179" y="129471"/>
                    </a:cubicBez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7" name="任意多边形: 形状 266">
                <a:extLst>
                  <a:ext uri="{FF2B5EF4-FFF2-40B4-BE49-F238E27FC236}">
                    <a16:creationId xmlns:a16="http://schemas.microsoft.com/office/drawing/2014/main" id="{D1E1DB0C-9718-4C76-9174-C34EFE853FCB}"/>
                  </a:ext>
                </a:extLst>
              </p:cNvPr>
              <p:cNvSpPr/>
              <p:nvPr/>
            </p:nvSpPr>
            <p:spPr>
              <a:xfrm>
                <a:off x="5970819" y="3755799"/>
                <a:ext cx="130219" cy="89462"/>
              </a:xfrm>
              <a:custGeom>
                <a:avLst/>
                <a:gdLst>
                  <a:gd name="connsiteX0" fmla="*/ 29015 w 130219"/>
                  <a:gd name="connsiteY0" fmla="*/ 89463 h 89462"/>
                  <a:gd name="connsiteX1" fmla="*/ 22567 w 130219"/>
                  <a:gd name="connsiteY1" fmla="*/ 86239 h 89462"/>
                  <a:gd name="connsiteX2" fmla="*/ 25791 w 130219"/>
                  <a:gd name="connsiteY2" fmla="*/ 76567 h 89462"/>
                  <a:gd name="connsiteX3" fmla="*/ 93493 w 130219"/>
                  <a:gd name="connsiteY3" fmla="*/ 37881 h 89462"/>
                  <a:gd name="connsiteX4" fmla="*/ 112836 w 130219"/>
                  <a:gd name="connsiteY4" fmla="*/ 15313 h 89462"/>
                  <a:gd name="connsiteX5" fmla="*/ 109612 w 130219"/>
                  <a:gd name="connsiteY5" fmla="*/ 12090 h 89462"/>
                  <a:gd name="connsiteX6" fmla="*/ 83821 w 130219"/>
                  <a:gd name="connsiteY6" fmla="*/ 31433 h 89462"/>
                  <a:gd name="connsiteX7" fmla="*/ 6448 w 130219"/>
                  <a:gd name="connsiteY7" fmla="*/ 76567 h 89462"/>
                  <a:gd name="connsiteX8" fmla="*/ 0 w 130219"/>
                  <a:gd name="connsiteY8" fmla="*/ 70119 h 89462"/>
                  <a:gd name="connsiteX9" fmla="*/ 6448 w 130219"/>
                  <a:gd name="connsiteY9" fmla="*/ 63672 h 89462"/>
                  <a:gd name="connsiteX10" fmla="*/ 80597 w 130219"/>
                  <a:gd name="connsiteY10" fmla="*/ 21761 h 89462"/>
                  <a:gd name="connsiteX11" fmla="*/ 122507 w 130219"/>
                  <a:gd name="connsiteY11" fmla="*/ 2418 h 89462"/>
                  <a:gd name="connsiteX12" fmla="*/ 128955 w 130219"/>
                  <a:gd name="connsiteY12" fmla="*/ 18537 h 89462"/>
                  <a:gd name="connsiteX13" fmla="*/ 103164 w 130219"/>
                  <a:gd name="connsiteY13" fmla="*/ 50776 h 89462"/>
                  <a:gd name="connsiteX14" fmla="*/ 29015 w 130219"/>
                  <a:gd name="connsiteY14" fmla="*/ 89463 h 89462"/>
                  <a:gd name="connsiteX15" fmla="*/ 29015 w 130219"/>
                  <a:gd name="connsiteY15" fmla="*/ 89463 h 8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0219" h="89462">
                    <a:moveTo>
                      <a:pt x="29015" y="89463"/>
                    </a:moveTo>
                    <a:cubicBezTo>
                      <a:pt x="25791" y="89463"/>
                      <a:pt x="25791" y="89463"/>
                      <a:pt x="22567" y="86239"/>
                    </a:cubicBezTo>
                    <a:cubicBezTo>
                      <a:pt x="22567" y="83015"/>
                      <a:pt x="22567" y="79791"/>
                      <a:pt x="25791" y="76567"/>
                    </a:cubicBezTo>
                    <a:cubicBezTo>
                      <a:pt x="25791" y="76567"/>
                      <a:pt x="77373" y="50776"/>
                      <a:pt x="93493" y="37881"/>
                    </a:cubicBezTo>
                    <a:cubicBezTo>
                      <a:pt x="99940" y="31433"/>
                      <a:pt x="112836" y="21761"/>
                      <a:pt x="112836" y="15313"/>
                    </a:cubicBezTo>
                    <a:cubicBezTo>
                      <a:pt x="112836" y="15313"/>
                      <a:pt x="112836" y="12090"/>
                      <a:pt x="109612" y="12090"/>
                    </a:cubicBezTo>
                    <a:cubicBezTo>
                      <a:pt x="103164" y="15313"/>
                      <a:pt x="93493" y="21761"/>
                      <a:pt x="83821" y="31433"/>
                    </a:cubicBezTo>
                    <a:cubicBezTo>
                      <a:pt x="58030" y="50776"/>
                      <a:pt x="29015" y="73343"/>
                      <a:pt x="6448" y="76567"/>
                    </a:cubicBezTo>
                    <a:cubicBezTo>
                      <a:pt x="3224" y="76567"/>
                      <a:pt x="0" y="73343"/>
                      <a:pt x="0" y="70119"/>
                    </a:cubicBezTo>
                    <a:cubicBezTo>
                      <a:pt x="0" y="66896"/>
                      <a:pt x="3224" y="63672"/>
                      <a:pt x="6448" y="63672"/>
                    </a:cubicBezTo>
                    <a:cubicBezTo>
                      <a:pt x="25791" y="60448"/>
                      <a:pt x="58030" y="37881"/>
                      <a:pt x="80597" y="21761"/>
                    </a:cubicBezTo>
                    <a:cubicBezTo>
                      <a:pt x="106388" y="2418"/>
                      <a:pt x="116060" y="-4030"/>
                      <a:pt x="122507" y="2418"/>
                    </a:cubicBezTo>
                    <a:cubicBezTo>
                      <a:pt x="128955" y="5642"/>
                      <a:pt x="132179" y="12090"/>
                      <a:pt x="128955" y="18537"/>
                    </a:cubicBezTo>
                    <a:cubicBezTo>
                      <a:pt x="128955" y="28209"/>
                      <a:pt x="119283" y="37881"/>
                      <a:pt x="103164" y="50776"/>
                    </a:cubicBezTo>
                    <a:cubicBezTo>
                      <a:pt x="83821" y="63672"/>
                      <a:pt x="32239" y="86239"/>
                      <a:pt x="29015" y="89463"/>
                    </a:cubicBezTo>
                    <a:cubicBezTo>
                      <a:pt x="29015" y="89463"/>
                      <a:pt x="29015" y="89463"/>
                      <a:pt x="29015" y="8946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8" name="任意多边形: 形状 267">
                <a:extLst>
                  <a:ext uri="{FF2B5EF4-FFF2-40B4-BE49-F238E27FC236}">
                    <a16:creationId xmlns:a16="http://schemas.microsoft.com/office/drawing/2014/main" id="{87D7CE05-5700-4025-A6DA-CBE864974297}"/>
                  </a:ext>
                </a:extLst>
              </p:cNvPr>
              <p:cNvSpPr/>
              <p:nvPr/>
            </p:nvSpPr>
            <p:spPr>
              <a:xfrm>
                <a:off x="5917902" y="3738874"/>
                <a:ext cx="159305" cy="51582"/>
              </a:xfrm>
              <a:custGeom>
                <a:avLst/>
                <a:gdLst>
                  <a:gd name="connsiteX0" fmla="*/ 36798 w 159305"/>
                  <a:gd name="connsiteY0" fmla="*/ 51582 h 51582"/>
                  <a:gd name="connsiteX1" fmla="*/ 4559 w 159305"/>
                  <a:gd name="connsiteY1" fmla="*/ 45134 h 51582"/>
                  <a:gd name="connsiteX2" fmla="*/ 1335 w 159305"/>
                  <a:gd name="connsiteY2" fmla="*/ 35463 h 51582"/>
                  <a:gd name="connsiteX3" fmla="*/ 11007 w 159305"/>
                  <a:gd name="connsiteY3" fmla="*/ 32239 h 51582"/>
                  <a:gd name="connsiteX4" fmla="*/ 40022 w 159305"/>
                  <a:gd name="connsiteY4" fmla="*/ 38687 h 51582"/>
                  <a:gd name="connsiteX5" fmla="*/ 98052 w 159305"/>
                  <a:gd name="connsiteY5" fmla="*/ 16119 h 51582"/>
                  <a:gd name="connsiteX6" fmla="*/ 136738 w 159305"/>
                  <a:gd name="connsiteY6" fmla="*/ 0 h 51582"/>
                  <a:gd name="connsiteX7" fmla="*/ 156082 w 159305"/>
                  <a:gd name="connsiteY7" fmla="*/ 9672 h 51582"/>
                  <a:gd name="connsiteX8" fmla="*/ 159305 w 159305"/>
                  <a:gd name="connsiteY8" fmla="*/ 25791 h 51582"/>
                  <a:gd name="connsiteX9" fmla="*/ 152858 w 159305"/>
                  <a:gd name="connsiteY9" fmla="*/ 29015 h 51582"/>
                  <a:gd name="connsiteX10" fmla="*/ 149634 w 159305"/>
                  <a:gd name="connsiteY10" fmla="*/ 22567 h 51582"/>
                  <a:gd name="connsiteX11" fmla="*/ 149634 w 159305"/>
                  <a:gd name="connsiteY11" fmla="*/ 16119 h 51582"/>
                  <a:gd name="connsiteX12" fmla="*/ 139962 w 159305"/>
                  <a:gd name="connsiteY12" fmla="*/ 12896 h 51582"/>
                  <a:gd name="connsiteX13" fmla="*/ 107723 w 159305"/>
                  <a:gd name="connsiteY13" fmla="*/ 25791 h 51582"/>
                  <a:gd name="connsiteX14" fmla="*/ 43246 w 159305"/>
                  <a:gd name="connsiteY14" fmla="*/ 51582 h 51582"/>
                  <a:gd name="connsiteX15" fmla="*/ 36798 w 159305"/>
                  <a:gd name="connsiteY15" fmla="*/ 51582 h 51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9305" h="51582">
                    <a:moveTo>
                      <a:pt x="36798" y="51582"/>
                    </a:moveTo>
                    <a:cubicBezTo>
                      <a:pt x="23903" y="51582"/>
                      <a:pt x="7783" y="45134"/>
                      <a:pt x="4559" y="45134"/>
                    </a:cubicBezTo>
                    <a:cubicBezTo>
                      <a:pt x="1335" y="45134"/>
                      <a:pt x="-1889" y="38687"/>
                      <a:pt x="1335" y="35463"/>
                    </a:cubicBezTo>
                    <a:cubicBezTo>
                      <a:pt x="1335" y="32239"/>
                      <a:pt x="7783" y="29015"/>
                      <a:pt x="11007" y="32239"/>
                    </a:cubicBezTo>
                    <a:cubicBezTo>
                      <a:pt x="17455" y="35463"/>
                      <a:pt x="30350" y="38687"/>
                      <a:pt x="40022" y="38687"/>
                    </a:cubicBezTo>
                    <a:cubicBezTo>
                      <a:pt x="62589" y="35463"/>
                      <a:pt x="81932" y="25791"/>
                      <a:pt x="98052" y="16119"/>
                    </a:cubicBezTo>
                    <a:cubicBezTo>
                      <a:pt x="114171" y="6448"/>
                      <a:pt x="127067" y="0"/>
                      <a:pt x="136738" y="0"/>
                    </a:cubicBezTo>
                    <a:cubicBezTo>
                      <a:pt x="146410" y="0"/>
                      <a:pt x="152858" y="3224"/>
                      <a:pt x="156082" y="9672"/>
                    </a:cubicBezTo>
                    <a:cubicBezTo>
                      <a:pt x="159305" y="16119"/>
                      <a:pt x="159305" y="25791"/>
                      <a:pt x="159305" y="25791"/>
                    </a:cubicBezTo>
                    <a:cubicBezTo>
                      <a:pt x="159305" y="29015"/>
                      <a:pt x="156082" y="32239"/>
                      <a:pt x="152858" y="29015"/>
                    </a:cubicBezTo>
                    <a:cubicBezTo>
                      <a:pt x="149634" y="29015"/>
                      <a:pt x="146410" y="25791"/>
                      <a:pt x="149634" y="22567"/>
                    </a:cubicBezTo>
                    <a:cubicBezTo>
                      <a:pt x="149634" y="22567"/>
                      <a:pt x="149634" y="19343"/>
                      <a:pt x="149634" y="16119"/>
                    </a:cubicBezTo>
                    <a:cubicBezTo>
                      <a:pt x="149634" y="12896"/>
                      <a:pt x="143186" y="12896"/>
                      <a:pt x="139962" y="12896"/>
                    </a:cubicBezTo>
                    <a:cubicBezTo>
                      <a:pt x="133515" y="12896"/>
                      <a:pt x="120619" y="19343"/>
                      <a:pt x="107723" y="25791"/>
                    </a:cubicBezTo>
                    <a:cubicBezTo>
                      <a:pt x="91604" y="35463"/>
                      <a:pt x="69037" y="48358"/>
                      <a:pt x="43246" y="51582"/>
                    </a:cubicBezTo>
                    <a:cubicBezTo>
                      <a:pt x="40022" y="51582"/>
                      <a:pt x="40022" y="51582"/>
                      <a:pt x="36798" y="5158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69" name="图形 1">
              <a:extLst>
                <a:ext uri="{FF2B5EF4-FFF2-40B4-BE49-F238E27FC236}">
                  <a16:creationId xmlns:a16="http://schemas.microsoft.com/office/drawing/2014/main" id="{0CE540B5-BA07-4234-AB09-E4698FCCAC5A}"/>
                </a:ext>
              </a:extLst>
            </p:cNvPr>
            <p:cNvGrpSpPr/>
            <p:nvPr/>
          </p:nvGrpSpPr>
          <p:grpSpPr>
            <a:xfrm>
              <a:off x="5833396" y="3617172"/>
              <a:ext cx="617981" cy="520683"/>
              <a:chOff x="5833396" y="3617172"/>
              <a:chExt cx="617981" cy="520683"/>
            </a:xfrm>
          </p:grpSpPr>
          <p:sp>
            <p:nvSpPr>
              <p:cNvPr id="270" name="任意多边形: 形状 269">
                <a:extLst>
                  <a:ext uri="{FF2B5EF4-FFF2-40B4-BE49-F238E27FC236}">
                    <a16:creationId xmlns:a16="http://schemas.microsoft.com/office/drawing/2014/main" id="{19D0A9CD-FD42-4D7E-ACBB-405A4930E1FE}"/>
                  </a:ext>
                </a:extLst>
              </p:cNvPr>
              <p:cNvSpPr/>
              <p:nvPr/>
            </p:nvSpPr>
            <p:spPr>
              <a:xfrm>
                <a:off x="5833396" y="3617172"/>
                <a:ext cx="617981" cy="520683"/>
              </a:xfrm>
              <a:custGeom>
                <a:avLst/>
                <a:gdLst>
                  <a:gd name="connsiteX0" fmla="*/ 21363 w 617981"/>
                  <a:gd name="connsiteY0" fmla="*/ 102358 h 520683"/>
                  <a:gd name="connsiteX1" fmla="*/ 111632 w 617981"/>
                  <a:gd name="connsiteY1" fmla="*/ 179731 h 520683"/>
                  <a:gd name="connsiteX2" fmla="*/ 114855 w 617981"/>
                  <a:gd name="connsiteY2" fmla="*/ 270000 h 520683"/>
                  <a:gd name="connsiteX3" fmla="*/ 85841 w 617981"/>
                  <a:gd name="connsiteY3" fmla="*/ 292567 h 520683"/>
                  <a:gd name="connsiteX4" fmla="*/ 76169 w 617981"/>
                  <a:gd name="connsiteY4" fmla="*/ 353821 h 520683"/>
                  <a:gd name="connsiteX5" fmla="*/ 201900 w 617981"/>
                  <a:gd name="connsiteY5" fmla="*/ 476328 h 520683"/>
                  <a:gd name="connsiteX6" fmla="*/ 569423 w 617981"/>
                  <a:gd name="connsiteY6" fmla="*/ 453761 h 520683"/>
                  <a:gd name="connsiteX7" fmla="*/ 611333 w 617981"/>
                  <a:gd name="connsiteY7" fmla="*/ 282895 h 520683"/>
                  <a:gd name="connsiteX8" fmla="*/ 508169 w 617981"/>
                  <a:gd name="connsiteY8" fmla="*/ 95910 h 520683"/>
                  <a:gd name="connsiteX9" fmla="*/ 295393 w 617981"/>
                  <a:gd name="connsiteY9" fmla="*/ 15313 h 520683"/>
                  <a:gd name="connsiteX10" fmla="*/ 169662 w 617981"/>
                  <a:gd name="connsiteY10" fmla="*/ 2418 h 520683"/>
                  <a:gd name="connsiteX11" fmla="*/ 76169 w 617981"/>
                  <a:gd name="connsiteY11" fmla="*/ 2418 h 520683"/>
                  <a:gd name="connsiteX12" fmla="*/ 2020 w 617981"/>
                  <a:gd name="connsiteY12" fmla="*/ 34657 h 520683"/>
                  <a:gd name="connsiteX13" fmla="*/ 21363 w 617981"/>
                  <a:gd name="connsiteY13" fmla="*/ 102358 h 520683"/>
                  <a:gd name="connsiteX14" fmla="*/ 134199 w 617981"/>
                  <a:gd name="connsiteY14" fmla="*/ 92687 h 520683"/>
                  <a:gd name="connsiteX15" fmla="*/ 195452 w 617981"/>
                  <a:gd name="connsiteY15" fmla="*/ 89463 h 520683"/>
                  <a:gd name="connsiteX16" fmla="*/ 218020 w 617981"/>
                  <a:gd name="connsiteY16" fmla="*/ 115254 h 520683"/>
                  <a:gd name="connsiteX17" fmla="*/ 259930 w 617981"/>
                  <a:gd name="connsiteY17" fmla="*/ 182955 h 520683"/>
                  <a:gd name="connsiteX18" fmla="*/ 214796 w 617981"/>
                  <a:gd name="connsiteY18" fmla="*/ 218418 h 520683"/>
                  <a:gd name="connsiteX19" fmla="*/ 163214 w 617981"/>
                  <a:gd name="connsiteY19" fmla="*/ 189403 h 520683"/>
                  <a:gd name="connsiteX20" fmla="*/ 134199 w 617981"/>
                  <a:gd name="connsiteY20" fmla="*/ 92687 h 520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17981" h="520683">
                    <a:moveTo>
                      <a:pt x="21363" y="102358"/>
                    </a:moveTo>
                    <a:cubicBezTo>
                      <a:pt x="50378" y="131373"/>
                      <a:pt x="89065" y="144269"/>
                      <a:pt x="111632" y="179731"/>
                    </a:cubicBezTo>
                    <a:cubicBezTo>
                      <a:pt x="130975" y="208746"/>
                      <a:pt x="143870" y="244209"/>
                      <a:pt x="114855" y="270000"/>
                    </a:cubicBezTo>
                    <a:cubicBezTo>
                      <a:pt x="105184" y="279672"/>
                      <a:pt x="95512" y="282895"/>
                      <a:pt x="85841" y="292567"/>
                    </a:cubicBezTo>
                    <a:cubicBezTo>
                      <a:pt x="72945" y="308687"/>
                      <a:pt x="69721" y="334478"/>
                      <a:pt x="76169" y="353821"/>
                    </a:cubicBezTo>
                    <a:cubicBezTo>
                      <a:pt x="92288" y="408627"/>
                      <a:pt x="156766" y="450537"/>
                      <a:pt x="201900" y="476328"/>
                    </a:cubicBezTo>
                    <a:cubicBezTo>
                      <a:pt x="305064" y="531134"/>
                      <a:pt x="479154" y="547254"/>
                      <a:pt x="569423" y="453761"/>
                    </a:cubicBezTo>
                    <a:cubicBezTo>
                      <a:pt x="614557" y="408627"/>
                      <a:pt x="627452" y="344149"/>
                      <a:pt x="611333" y="282895"/>
                    </a:cubicBezTo>
                    <a:cubicBezTo>
                      <a:pt x="595214" y="218418"/>
                      <a:pt x="556527" y="137821"/>
                      <a:pt x="508169" y="95910"/>
                    </a:cubicBezTo>
                    <a:cubicBezTo>
                      <a:pt x="450139" y="47552"/>
                      <a:pt x="369542" y="28209"/>
                      <a:pt x="295393" y="15313"/>
                    </a:cubicBezTo>
                    <a:cubicBezTo>
                      <a:pt x="253482" y="8866"/>
                      <a:pt x="211572" y="2418"/>
                      <a:pt x="169662" y="2418"/>
                    </a:cubicBezTo>
                    <a:cubicBezTo>
                      <a:pt x="137423" y="-806"/>
                      <a:pt x="108408" y="-806"/>
                      <a:pt x="76169" y="2418"/>
                    </a:cubicBezTo>
                    <a:cubicBezTo>
                      <a:pt x="50378" y="5642"/>
                      <a:pt x="18139" y="8866"/>
                      <a:pt x="2020" y="34657"/>
                    </a:cubicBezTo>
                    <a:cubicBezTo>
                      <a:pt x="-4428" y="60448"/>
                      <a:pt x="5244" y="86239"/>
                      <a:pt x="21363" y="102358"/>
                    </a:cubicBezTo>
                    <a:close/>
                    <a:moveTo>
                      <a:pt x="134199" y="92687"/>
                    </a:moveTo>
                    <a:cubicBezTo>
                      <a:pt x="150318" y="76567"/>
                      <a:pt x="179333" y="76567"/>
                      <a:pt x="195452" y="89463"/>
                    </a:cubicBezTo>
                    <a:cubicBezTo>
                      <a:pt x="205124" y="95910"/>
                      <a:pt x="211572" y="105582"/>
                      <a:pt x="218020" y="115254"/>
                    </a:cubicBezTo>
                    <a:cubicBezTo>
                      <a:pt x="240587" y="131373"/>
                      <a:pt x="263154" y="153940"/>
                      <a:pt x="259930" y="182955"/>
                    </a:cubicBezTo>
                    <a:cubicBezTo>
                      <a:pt x="256706" y="205522"/>
                      <a:pt x="234139" y="218418"/>
                      <a:pt x="214796" y="218418"/>
                    </a:cubicBezTo>
                    <a:cubicBezTo>
                      <a:pt x="195452" y="215194"/>
                      <a:pt x="176109" y="202298"/>
                      <a:pt x="163214" y="189403"/>
                    </a:cubicBezTo>
                    <a:cubicBezTo>
                      <a:pt x="140647" y="166836"/>
                      <a:pt x="108408" y="121701"/>
                      <a:pt x="134199" y="92687"/>
                    </a:cubicBezTo>
                    <a:close/>
                  </a:path>
                </a:pathLst>
              </a:custGeom>
              <a:solidFill>
                <a:srgbClr val="D3977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1" name="任意多边形: 形状 270">
                <a:extLst>
                  <a:ext uri="{FF2B5EF4-FFF2-40B4-BE49-F238E27FC236}">
                    <a16:creationId xmlns:a16="http://schemas.microsoft.com/office/drawing/2014/main" id="{CA551720-8363-4AA7-BE6E-1EC4555BAE04}"/>
                  </a:ext>
                </a:extLst>
              </p:cNvPr>
              <p:cNvSpPr/>
              <p:nvPr/>
            </p:nvSpPr>
            <p:spPr>
              <a:xfrm>
                <a:off x="6022341" y="3954874"/>
                <a:ext cx="108720" cy="87850"/>
              </a:xfrm>
              <a:custGeom>
                <a:avLst/>
                <a:gdLst>
                  <a:gd name="connsiteX0" fmla="*/ 25851 w 108720"/>
                  <a:gd name="connsiteY0" fmla="*/ 6448 h 87850"/>
                  <a:gd name="connsiteX1" fmla="*/ 54866 w 108720"/>
                  <a:gd name="connsiteY1" fmla="*/ 3224 h 87850"/>
                  <a:gd name="connsiteX2" fmla="*/ 64538 w 108720"/>
                  <a:gd name="connsiteY2" fmla="*/ 0 h 87850"/>
                  <a:gd name="connsiteX3" fmla="*/ 106449 w 108720"/>
                  <a:gd name="connsiteY3" fmla="*/ 67701 h 87850"/>
                  <a:gd name="connsiteX4" fmla="*/ 22627 w 108720"/>
                  <a:gd name="connsiteY4" fmla="*/ 74149 h 87850"/>
                  <a:gd name="connsiteX5" fmla="*/ 25851 w 108720"/>
                  <a:gd name="connsiteY5" fmla="*/ 6448 h 87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8720" h="87850">
                    <a:moveTo>
                      <a:pt x="25851" y="6448"/>
                    </a:moveTo>
                    <a:cubicBezTo>
                      <a:pt x="35523" y="3224"/>
                      <a:pt x="45195" y="0"/>
                      <a:pt x="54866" y="3224"/>
                    </a:cubicBezTo>
                    <a:cubicBezTo>
                      <a:pt x="54866" y="0"/>
                      <a:pt x="58090" y="0"/>
                      <a:pt x="64538" y="0"/>
                    </a:cubicBezTo>
                    <a:cubicBezTo>
                      <a:pt x="93553" y="6448"/>
                      <a:pt x="116120" y="38686"/>
                      <a:pt x="106449" y="67701"/>
                    </a:cubicBezTo>
                    <a:cubicBezTo>
                      <a:pt x="93553" y="96716"/>
                      <a:pt x="41971" y="90269"/>
                      <a:pt x="22627" y="74149"/>
                    </a:cubicBezTo>
                    <a:cubicBezTo>
                      <a:pt x="-9611" y="54806"/>
                      <a:pt x="-6387" y="19343"/>
                      <a:pt x="25851" y="6448"/>
                    </a:cubicBezTo>
                    <a:close/>
                  </a:path>
                </a:pathLst>
              </a:custGeom>
              <a:solidFill>
                <a:srgbClr val="70868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2" name="任意多边形: 形状 271">
                <a:extLst>
                  <a:ext uri="{FF2B5EF4-FFF2-40B4-BE49-F238E27FC236}">
                    <a16:creationId xmlns:a16="http://schemas.microsoft.com/office/drawing/2014/main" id="{AAB28972-0064-4847-8D40-E098F2A289FE}"/>
                  </a:ext>
                </a:extLst>
              </p:cNvPr>
              <p:cNvSpPr/>
              <p:nvPr/>
            </p:nvSpPr>
            <p:spPr>
              <a:xfrm>
                <a:off x="6194742" y="3962765"/>
                <a:ext cx="129964" cy="98920"/>
              </a:xfrm>
              <a:custGeom>
                <a:avLst/>
                <a:gdLst>
                  <a:gd name="connsiteX0" fmla="*/ 8196 w 129964"/>
                  <a:gd name="connsiteY0" fmla="*/ 75930 h 98920"/>
                  <a:gd name="connsiteX1" fmla="*/ 108137 w 129964"/>
                  <a:gd name="connsiteY1" fmla="*/ 85601 h 98920"/>
                  <a:gd name="connsiteX2" fmla="*/ 108137 w 129964"/>
                  <a:gd name="connsiteY2" fmla="*/ 11452 h 98920"/>
                  <a:gd name="connsiteX3" fmla="*/ 43659 w 129964"/>
                  <a:gd name="connsiteY3" fmla="*/ 1780 h 98920"/>
                  <a:gd name="connsiteX4" fmla="*/ 8196 w 129964"/>
                  <a:gd name="connsiteY4" fmla="*/ 75930 h 98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964" h="98920">
                    <a:moveTo>
                      <a:pt x="8196" y="75930"/>
                    </a:moveTo>
                    <a:cubicBezTo>
                      <a:pt x="27540" y="108169"/>
                      <a:pt x="79122" y="101721"/>
                      <a:pt x="108137" y="85601"/>
                    </a:cubicBezTo>
                    <a:cubicBezTo>
                      <a:pt x="133928" y="66258"/>
                      <a:pt x="140375" y="27572"/>
                      <a:pt x="108137" y="11452"/>
                    </a:cubicBezTo>
                    <a:cubicBezTo>
                      <a:pt x="104913" y="8228"/>
                      <a:pt x="59778" y="-4667"/>
                      <a:pt x="43659" y="1780"/>
                    </a:cubicBezTo>
                    <a:cubicBezTo>
                      <a:pt x="4973" y="8228"/>
                      <a:pt x="-11147" y="40467"/>
                      <a:pt x="8196" y="7593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3" name="任意多边形: 形状 272">
                <a:extLst>
                  <a:ext uri="{FF2B5EF4-FFF2-40B4-BE49-F238E27FC236}">
                    <a16:creationId xmlns:a16="http://schemas.microsoft.com/office/drawing/2014/main" id="{CEF3CAF8-0F26-49AC-A86C-A82D2C999371}"/>
                  </a:ext>
                </a:extLst>
              </p:cNvPr>
              <p:cNvSpPr/>
              <p:nvPr/>
            </p:nvSpPr>
            <p:spPr>
              <a:xfrm>
                <a:off x="6278065" y="3816247"/>
                <a:ext cx="111858" cy="119193"/>
              </a:xfrm>
              <a:custGeom>
                <a:avLst/>
                <a:gdLst>
                  <a:gd name="connsiteX0" fmla="*/ 2246 w 111858"/>
                  <a:gd name="connsiteY0" fmla="*/ 67701 h 119193"/>
                  <a:gd name="connsiteX1" fmla="*/ 79619 w 111858"/>
                  <a:gd name="connsiteY1" fmla="*/ 116060 h 119193"/>
                  <a:gd name="connsiteX2" fmla="*/ 111858 w 111858"/>
                  <a:gd name="connsiteY2" fmla="*/ 61254 h 119193"/>
                  <a:gd name="connsiteX3" fmla="*/ 111858 w 111858"/>
                  <a:gd name="connsiteY3" fmla="*/ 58030 h 119193"/>
                  <a:gd name="connsiteX4" fmla="*/ 95739 w 111858"/>
                  <a:gd name="connsiteY4" fmla="*/ 12896 h 119193"/>
                  <a:gd name="connsiteX5" fmla="*/ 50604 w 111858"/>
                  <a:gd name="connsiteY5" fmla="*/ 0 h 119193"/>
                  <a:gd name="connsiteX6" fmla="*/ 2246 w 111858"/>
                  <a:gd name="connsiteY6" fmla="*/ 67701 h 119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858" h="119193">
                    <a:moveTo>
                      <a:pt x="2246" y="67701"/>
                    </a:moveTo>
                    <a:cubicBezTo>
                      <a:pt x="8694" y="99940"/>
                      <a:pt x="47381" y="128955"/>
                      <a:pt x="79619" y="116060"/>
                    </a:cubicBezTo>
                    <a:cubicBezTo>
                      <a:pt x="102187" y="106388"/>
                      <a:pt x="111858" y="83821"/>
                      <a:pt x="111858" y="61254"/>
                    </a:cubicBezTo>
                    <a:cubicBezTo>
                      <a:pt x="111858" y="61254"/>
                      <a:pt x="111858" y="61254"/>
                      <a:pt x="111858" y="58030"/>
                    </a:cubicBezTo>
                    <a:cubicBezTo>
                      <a:pt x="111858" y="41910"/>
                      <a:pt x="111858" y="22567"/>
                      <a:pt x="95739" y="12896"/>
                    </a:cubicBezTo>
                    <a:cubicBezTo>
                      <a:pt x="82843" y="3224"/>
                      <a:pt x="63500" y="0"/>
                      <a:pt x="50604" y="0"/>
                    </a:cubicBezTo>
                    <a:cubicBezTo>
                      <a:pt x="15142" y="3224"/>
                      <a:pt x="-7425" y="35463"/>
                      <a:pt x="2246" y="67701"/>
                    </a:cubicBez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4" name="任意多边形: 形状 273">
                <a:extLst>
                  <a:ext uri="{FF2B5EF4-FFF2-40B4-BE49-F238E27FC236}">
                    <a16:creationId xmlns:a16="http://schemas.microsoft.com/office/drawing/2014/main" id="{79ABDAC4-2348-445F-BA72-4B832877D017}"/>
                  </a:ext>
                </a:extLst>
              </p:cNvPr>
              <p:cNvSpPr/>
              <p:nvPr/>
            </p:nvSpPr>
            <p:spPr>
              <a:xfrm>
                <a:off x="6141679" y="3681771"/>
                <a:ext cx="123083" cy="127554"/>
              </a:xfrm>
              <a:custGeom>
                <a:avLst/>
                <a:gdLst>
                  <a:gd name="connsiteX0" fmla="*/ 32245 w 123083"/>
                  <a:gd name="connsiteY0" fmla="*/ 118357 h 127554"/>
                  <a:gd name="connsiteX1" fmla="*/ 119290 w 123083"/>
                  <a:gd name="connsiteY1" fmla="*/ 95790 h 127554"/>
                  <a:gd name="connsiteX2" fmla="*/ 99947 w 123083"/>
                  <a:gd name="connsiteY2" fmla="*/ 18417 h 127554"/>
                  <a:gd name="connsiteX3" fmla="*/ 96722 w 123083"/>
                  <a:gd name="connsiteY3" fmla="*/ 11969 h 127554"/>
                  <a:gd name="connsiteX4" fmla="*/ 6454 w 123083"/>
                  <a:gd name="connsiteY4" fmla="*/ 28088 h 127554"/>
                  <a:gd name="connsiteX5" fmla="*/ 32245 w 123083"/>
                  <a:gd name="connsiteY5" fmla="*/ 118357 h 127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3083" h="127554">
                    <a:moveTo>
                      <a:pt x="32245" y="118357"/>
                    </a:moveTo>
                    <a:cubicBezTo>
                      <a:pt x="58036" y="137700"/>
                      <a:pt x="106394" y="124805"/>
                      <a:pt x="119290" y="95790"/>
                    </a:cubicBezTo>
                    <a:cubicBezTo>
                      <a:pt x="128961" y="69999"/>
                      <a:pt x="119290" y="37760"/>
                      <a:pt x="99947" y="18417"/>
                    </a:cubicBezTo>
                    <a:cubicBezTo>
                      <a:pt x="99947" y="15193"/>
                      <a:pt x="99947" y="15193"/>
                      <a:pt x="96722" y="11969"/>
                    </a:cubicBezTo>
                    <a:cubicBezTo>
                      <a:pt x="67708" y="-7374"/>
                      <a:pt x="25797" y="-4150"/>
                      <a:pt x="6454" y="28088"/>
                    </a:cubicBezTo>
                    <a:cubicBezTo>
                      <a:pt x="-9665" y="53879"/>
                      <a:pt x="6454" y="102238"/>
                      <a:pt x="32245" y="118357"/>
                    </a:cubicBez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75" name="图形 1">
              <a:extLst>
                <a:ext uri="{FF2B5EF4-FFF2-40B4-BE49-F238E27FC236}">
                  <a16:creationId xmlns:a16="http://schemas.microsoft.com/office/drawing/2014/main" id="{0CE540B5-BA07-4234-AB09-E4698FCCAC5A}"/>
                </a:ext>
              </a:extLst>
            </p:cNvPr>
            <p:cNvGrpSpPr/>
            <p:nvPr/>
          </p:nvGrpSpPr>
          <p:grpSpPr>
            <a:xfrm>
              <a:off x="5854759" y="3696963"/>
              <a:ext cx="151522" cy="87044"/>
              <a:chOff x="5854759" y="3696963"/>
              <a:chExt cx="151522" cy="87044"/>
            </a:xfrm>
          </p:grpSpPr>
          <p:sp>
            <p:nvSpPr>
              <p:cNvPr id="276" name="任意多边形: 形状 275">
                <a:extLst>
                  <a:ext uri="{FF2B5EF4-FFF2-40B4-BE49-F238E27FC236}">
                    <a16:creationId xmlns:a16="http://schemas.microsoft.com/office/drawing/2014/main" id="{E9E7BA43-96E0-4D75-A332-2B1A2759EC32}"/>
                  </a:ext>
                </a:extLst>
              </p:cNvPr>
              <p:cNvSpPr/>
              <p:nvPr/>
            </p:nvSpPr>
            <p:spPr>
              <a:xfrm>
                <a:off x="5854759" y="3703411"/>
                <a:ext cx="139343" cy="74149"/>
              </a:xfrm>
              <a:custGeom>
                <a:avLst/>
                <a:gdLst>
                  <a:gd name="connsiteX0" fmla="*/ 0 w 139343"/>
                  <a:gd name="connsiteY0" fmla="*/ 35463 h 74149"/>
                  <a:gd name="connsiteX1" fmla="*/ 87045 w 139343"/>
                  <a:gd name="connsiteY1" fmla="*/ 0 h 74149"/>
                  <a:gd name="connsiteX2" fmla="*/ 138627 w 139343"/>
                  <a:gd name="connsiteY2" fmla="*/ 29015 h 74149"/>
                  <a:gd name="connsiteX3" fmla="*/ 93492 w 139343"/>
                  <a:gd name="connsiteY3" fmla="*/ 38687 h 74149"/>
                  <a:gd name="connsiteX4" fmla="*/ 64478 w 139343"/>
                  <a:gd name="connsiteY4" fmla="*/ 74149 h 74149"/>
                  <a:gd name="connsiteX5" fmla="*/ 0 w 139343"/>
                  <a:gd name="connsiteY5" fmla="*/ 35463 h 74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343" h="74149">
                    <a:moveTo>
                      <a:pt x="0" y="35463"/>
                    </a:moveTo>
                    <a:cubicBezTo>
                      <a:pt x="0" y="35463"/>
                      <a:pt x="67701" y="0"/>
                      <a:pt x="87045" y="0"/>
                    </a:cubicBezTo>
                    <a:cubicBezTo>
                      <a:pt x="106388" y="0"/>
                      <a:pt x="145075" y="9672"/>
                      <a:pt x="138627" y="29015"/>
                    </a:cubicBezTo>
                    <a:cubicBezTo>
                      <a:pt x="135403" y="38687"/>
                      <a:pt x="106388" y="35463"/>
                      <a:pt x="93492" y="38687"/>
                    </a:cubicBezTo>
                    <a:cubicBezTo>
                      <a:pt x="80597" y="41910"/>
                      <a:pt x="74149" y="61254"/>
                      <a:pt x="64478" y="74149"/>
                    </a:cubicBezTo>
                    <a:lnTo>
                      <a:pt x="0" y="35463"/>
                    </a:ln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7" name="任意多边形: 形状 276">
                <a:extLst>
                  <a:ext uri="{FF2B5EF4-FFF2-40B4-BE49-F238E27FC236}">
                    <a16:creationId xmlns:a16="http://schemas.microsoft.com/office/drawing/2014/main" id="{F66C9AAF-CD0E-49CB-A7B3-92A79E5C4323}"/>
                  </a:ext>
                </a:extLst>
              </p:cNvPr>
              <p:cNvSpPr/>
              <p:nvPr/>
            </p:nvSpPr>
            <p:spPr>
              <a:xfrm>
                <a:off x="5854759" y="3696963"/>
                <a:ext cx="151522" cy="87044"/>
              </a:xfrm>
              <a:custGeom>
                <a:avLst/>
                <a:gdLst>
                  <a:gd name="connsiteX0" fmla="*/ 70925 w 151522"/>
                  <a:gd name="connsiteY0" fmla="*/ 87045 h 87044"/>
                  <a:gd name="connsiteX1" fmla="*/ 67701 w 151522"/>
                  <a:gd name="connsiteY1" fmla="*/ 87045 h 87044"/>
                  <a:gd name="connsiteX2" fmla="*/ 67701 w 151522"/>
                  <a:gd name="connsiteY2" fmla="*/ 77373 h 87044"/>
                  <a:gd name="connsiteX3" fmla="*/ 77373 w 151522"/>
                  <a:gd name="connsiteY3" fmla="*/ 64478 h 87044"/>
                  <a:gd name="connsiteX4" fmla="*/ 99940 w 151522"/>
                  <a:gd name="connsiteY4" fmla="*/ 38687 h 87044"/>
                  <a:gd name="connsiteX5" fmla="*/ 119283 w 151522"/>
                  <a:gd name="connsiteY5" fmla="*/ 35463 h 87044"/>
                  <a:gd name="connsiteX6" fmla="*/ 138627 w 151522"/>
                  <a:gd name="connsiteY6" fmla="*/ 32239 h 87044"/>
                  <a:gd name="connsiteX7" fmla="*/ 138627 w 151522"/>
                  <a:gd name="connsiteY7" fmla="*/ 25791 h 87044"/>
                  <a:gd name="connsiteX8" fmla="*/ 93492 w 151522"/>
                  <a:gd name="connsiteY8" fmla="*/ 12896 h 87044"/>
                  <a:gd name="connsiteX9" fmla="*/ 93492 w 151522"/>
                  <a:gd name="connsiteY9" fmla="*/ 12896 h 87044"/>
                  <a:gd name="connsiteX10" fmla="*/ 9671 w 151522"/>
                  <a:gd name="connsiteY10" fmla="*/ 48358 h 87044"/>
                  <a:gd name="connsiteX11" fmla="*/ 0 w 151522"/>
                  <a:gd name="connsiteY11" fmla="*/ 45134 h 87044"/>
                  <a:gd name="connsiteX12" fmla="*/ 3224 w 151522"/>
                  <a:gd name="connsiteY12" fmla="*/ 35463 h 87044"/>
                  <a:gd name="connsiteX13" fmla="*/ 93492 w 151522"/>
                  <a:gd name="connsiteY13" fmla="*/ 0 h 87044"/>
                  <a:gd name="connsiteX14" fmla="*/ 93492 w 151522"/>
                  <a:gd name="connsiteY14" fmla="*/ 0 h 87044"/>
                  <a:gd name="connsiteX15" fmla="*/ 148298 w 151522"/>
                  <a:gd name="connsiteY15" fmla="*/ 19343 h 87044"/>
                  <a:gd name="connsiteX16" fmla="*/ 151522 w 151522"/>
                  <a:gd name="connsiteY16" fmla="*/ 35463 h 87044"/>
                  <a:gd name="connsiteX17" fmla="*/ 119283 w 151522"/>
                  <a:gd name="connsiteY17" fmla="*/ 48358 h 87044"/>
                  <a:gd name="connsiteX18" fmla="*/ 103164 w 151522"/>
                  <a:gd name="connsiteY18" fmla="*/ 51582 h 87044"/>
                  <a:gd name="connsiteX19" fmla="*/ 87045 w 151522"/>
                  <a:gd name="connsiteY19" fmla="*/ 70925 h 87044"/>
                  <a:gd name="connsiteX20" fmla="*/ 77373 w 151522"/>
                  <a:gd name="connsiteY20" fmla="*/ 87045 h 87044"/>
                  <a:gd name="connsiteX21" fmla="*/ 70925 w 151522"/>
                  <a:gd name="connsiteY21" fmla="*/ 87045 h 87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51522" h="87044">
                    <a:moveTo>
                      <a:pt x="70925" y="87045"/>
                    </a:moveTo>
                    <a:cubicBezTo>
                      <a:pt x="70925" y="87045"/>
                      <a:pt x="67701" y="87045"/>
                      <a:pt x="67701" y="87045"/>
                    </a:cubicBezTo>
                    <a:cubicBezTo>
                      <a:pt x="64478" y="83821"/>
                      <a:pt x="64478" y="80597"/>
                      <a:pt x="67701" y="77373"/>
                    </a:cubicBezTo>
                    <a:cubicBezTo>
                      <a:pt x="70925" y="74149"/>
                      <a:pt x="74149" y="67702"/>
                      <a:pt x="77373" y="64478"/>
                    </a:cubicBezTo>
                    <a:cubicBezTo>
                      <a:pt x="83821" y="54806"/>
                      <a:pt x="90269" y="45134"/>
                      <a:pt x="99940" y="38687"/>
                    </a:cubicBezTo>
                    <a:cubicBezTo>
                      <a:pt x="106388" y="35463"/>
                      <a:pt x="112836" y="35463"/>
                      <a:pt x="119283" y="35463"/>
                    </a:cubicBezTo>
                    <a:cubicBezTo>
                      <a:pt x="125731" y="35463"/>
                      <a:pt x="138627" y="35463"/>
                      <a:pt x="138627" y="32239"/>
                    </a:cubicBezTo>
                    <a:cubicBezTo>
                      <a:pt x="138627" y="29015"/>
                      <a:pt x="138627" y="29015"/>
                      <a:pt x="138627" y="25791"/>
                    </a:cubicBezTo>
                    <a:cubicBezTo>
                      <a:pt x="132179" y="16119"/>
                      <a:pt x="109612" y="12896"/>
                      <a:pt x="93492" y="12896"/>
                    </a:cubicBezTo>
                    <a:lnTo>
                      <a:pt x="93492" y="12896"/>
                    </a:lnTo>
                    <a:cubicBezTo>
                      <a:pt x="77373" y="12896"/>
                      <a:pt x="25791" y="38687"/>
                      <a:pt x="9671" y="48358"/>
                    </a:cubicBezTo>
                    <a:cubicBezTo>
                      <a:pt x="6448" y="48358"/>
                      <a:pt x="3224" y="48358"/>
                      <a:pt x="0" y="45134"/>
                    </a:cubicBezTo>
                    <a:cubicBezTo>
                      <a:pt x="0" y="41910"/>
                      <a:pt x="0" y="38687"/>
                      <a:pt x="3224" y="35463"/>
                    </a:cubicBezTo>
                    <a:cubicBezTo>
                      <a:pt x="9671" y="32239"/>
                      <a:pt x="74149" y="0"/>
                      <a:pt x="93492" y="0"/>
                    </a:cubicBezTo>
                    <a:lnTo>
                      <a:pt x="93492" y="0"/>
                    </a:lnTo>
                    <a:cubicBezTo>
                      <a:pt x="109612" y="0"/>
                      <a:pt x="138627" y="6448"/>
                      <a:pt x="148298" y="19343"/>
                    </a:cubicBezTo>
                    <a:cubicBezTo>
                      <a:pt x="151522" y="25791"/>
                      <a:pt x="151522" y="29015"/>
                      <a:pt x="151522" y="35463"/>
                    </a:cubicBezTo>
                    <a:cubicBezTo>
                      <a:pt x="148298" y="45134"/>
                      <a:pt x="132179" y="45134"/>
                      <a:pt x="119283" y="48358"/>
                    </a:cubicBezTo>
                    <a:cubicBezTo>
                      <a:pt x="112836" y="48358"/>
                      <a:pt x="106388" y="48358"/>
                      <a:pt x="103164" y="51582"/>
                    </a:cubicBezTo>
                    <a:cubicBezTo>
                      <a:pt x="96716" y="54806"/>
                      <a:pt x="93492" y="61254"/>
                      <a:pt x="87045" y="70925"/>
                    </a:cubicBezTo>
                    <a:cubicBezTo>
                      <a:pt x="83821" y="77373"/>
                      <a:pt x="80597" y="80597"/>
                      <a:pt x="77373" y="87045"/>
                    </a:cubicBezTo>
                    <a:cubicBezTo>
                      <a:pt x="74149" y="87045"/>
                      <a:pt x="70925" y="87045"/>
                      <a:pt x="70925" y="8704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78" name="图形 1">
              <a:extLst>
                <a:ext uri="{FF2B5EF4-FFF2-40B4-BE49-F238E27FC236}">
                  <a16:creationId xmlns:a16="http://schemas.microsoft.com/office/drawing/2014/main" id="{0CE540B5-BA07-4234-AB09-E4698FCCAC5A}"/>
                </a:ext>
              </a:extLst>
            </p:cNvPr>
            <p:cNvGrpSpPr/>
            <p:nvPr/>
          </p:nvGrpSpPr>
          <p:grpSpPr>
            <a:xfrm>
              <a:off x="2467164" y="3927858"/>
              <a:ext cx="2416225" cy="2142753"/>
              <a:chOff x="2467164" y="3927858"/>
              <a:chExt cx="2416225" cy="2142753"/>
            </a:xfrm>
          </p:grpSpPr>
          <p:grpSp>
            <p:nvGrpSpPr>
              <p:cNvPr id="279" name="图形 1">
                <a:extLst>
                  <a:ext uri="{FF2B5EF4-FFF2-40B4-BE49-F238E27FC236}">
                    <a16:creationId xmlns:a16="http://schemas.microsoft.com/office/drawing/2014/main" id="{0CE540B5-BA07-4234-AB09-E4698FCCAC5A}"/>
                  </a:ext>
                </a:extLst>
              </p:cNvPr>
              <p:cNvGrpSpPr/>
              <p:nvPr/>
            </p:nvGrpSpPr>
            <p:grpSpPr>
              <a:xfrm>
                <a:off x="3584853" y="4001197"/>
                <a:ext cx="1298536" cy="2069414"/>
                <a:chOff x="3584853" y="4001197"/>
                <a:chExt cx="1298536" cy="2069414"/>
              </a:xfrm>
            </p:grpSpPr>
            <p:sp>
              <p:nvSpPr>
                <p:cNvPr id="280" name="任意多边形: 形状 279">
                  <a:extLst>
                    <a:ext uri="{FF2B5EF4-FFF2-40B4-BE49-F238E27FC236}">
                      <a16:creationId xmlns:a16="http://schemas.microsoft.com/office/drawing/2014/main" id="{F3161E59-DB17-47BE-956D-00FF07950334}"/>
                    </a:ext>
                  </a:extLst>
                </p:cNvPr>
                <p:cNvSpPr/>
                <p:nvPr/>
              </p:nvSpPr>
              <p:spPr>
                <a:xfrm>
                  <a:off x="3913135" y="4406067"/>
                  <a:ext cx="624584" cy="1664544"/>
                </a:xfrm>
                <a:custGeom>
                  <a:avLst/>
                  <a:gdLst>
                    <a:gd name="connsiteX0" fmla="*/ 594042 w 624584"/>
                    <a:gd name="connsiteY0" fmla="*/ 6598 h 1664544"/>
                    <a:gd name="connsiteX1" fmla="*/ 200728 w 624584"/>
                    <a:gd name="connsiteY1" fmla="*/ 757763 h 1664544"/>
                    <a:gd name="connsiteX2" fmla="*/ 848 w 624584"/>
                    <a:gd name="connsiteY2" fmla="*/ 1644330 h 1664544"/>
                    <a:gd name="connsiteX3" fmla="*/ 33087 w 624584"/>
                    <a:gd name="connsiteY3" fmla="*/ 1654002 h 1664544"/>
                    <a:gd name="connsiteX4" fmla="*/ 223296 w 624584"/>
                    <a:gd name="connsiteY4" fmla="*/ 793225 h 1664544"/>
                    <a:gd name="connsiteX5" fmla="*/ 619833 w 624584"/>
                    <a:gd name="connsiteY5" fmla="*/ 25942 h 1664544"/>
                    <a:gd name="connsiteX6" fmla="*/ 594042 w 624584"/>
                    <a:gd name="connsiteY6" fmla="*/ 6598 h 1664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4584" h="1664544">
                      <a:moveTo>
                        <a:pt x="594042" y="6598"/>
                      </a:moveTo>
                      <a:cubicBezTo>
                        <a:pt x="426400" y="235494"/>
                        <a:pt x="294221" y="486957"/>
                        <a:pt x="200728" y="757763"/>
                      </a:cubicBezTo>
                      <a:cubicBezTo>
                        <a:pt x="104012" y="1047912"/>
                        <a:pt x="94340" y="1354181"/>
                        <a:pt x="848" y="1644330"/>
                      </a:cubicBezTo>
                      <a:cubicBezTo>
                        <a:pt x="-5600" y="1663673"/>
                        <a:pt x="26639" y="1673345"/>
                        <a:pt x="33087" y="1654002"/>
                      </a:cubicBezTo>
                      <a:cubicBezTo>
                        <a:pt x="123355" y="1373524"/>
                        <a:pt x="133027" y="1073703"/>
                        <a:pt x="223296" y="793225"/>
                      </a:cubicBezTo>
                      <a:cubicBezTo>
                        <a:pt x="313564" y="515972"/>
                        <a:pt x="448967" y="258061"/>
                        <a:pt x="619833" y="25942"/>
                      </a:cubicBezTo>
                      <a:cubicBezTo>
                        <a:pt x="635952" y="6598"/>
                        <a:pt x="606937" y="-9521"/>
                        <a:pt x="594042" y="659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81" name="任意多边形: 形状 280">
                  <a:extLst>
                    <a:ext uri="{FF2B5EF4-FFF2-40B4-BE49-F238E27FC236}">
                      <a16:creationId xmlns:a16="http://schemas.microsoft.com/office/drawing/2014/main" id="{8B262B57-7140-47B3-86C0-E3234D879EE4}"/>
                    </a:ext>
                  </a:extLst>
                </p:cNvPr>
                <p:cNvSpPr/>
                <p:nvPr/>
              </p:nvSpPr>
              <p:spPr>
                <a:xfrm>
                  <a:off x="4491058" y="4021958"/>
                  <a:ext cx="363381" cy="418615"/>
                </a:xfrm>
                <a:custGeom>
                  <a:avLst/>
                  <a:gdLst>
                    <a:gd name="connsiteX0" fmla="*/ 348179 w 363381"/>
                    <a:gd name="connsiteY0" fmla="*/ 23185 h 418615"/>
                    <a:gd name="connsiteX1" fmla="*/ 309493 w 363381"/>
                    <a:gd name="connsiteY1" fmla="*/ 618 h 418615"/>
                    <a:gd name="connsiteX2" fmla="*/ 0 w 363381"/>
                    <a:gd name="connsiteY2" fmla="*/ 387483 h 418615"/>
                    <a:gd name="connsiteX3" fmla="*/ 45134 w 363381"/>
                    <a:gd name="connsiteY3" fmla="*/ 416498 h 418615"/>
                    <a:gd name="connsiteX4" fmla="*/ 70925 w 363381"/>
                    <a:gd name="connsiteY4" fmla="*/ 413274 h 418615"/>
                    <a:gd name="connsiteX5" fmla="*/ 312716 w 363381"/>
                    <a:gd name="connsiteY5" fmla="*/ 271424 h 418615"/>
                    <a:gd name="connsiteX6" fmla="*/ 348179 w 363381"/>
                    <a:gd name="connsiteY6" fmla="*/ 23185 h 418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3381" h="418615">
                      <a:moveTo>
                        <a:pt x="348179" y="23185"/>
                      </a:moveTo>
                      <a:cubicBezTo>
                        <a:pt x="341731" y="7065"/>
                        <a:pt x="325612" y="-2606"/>
                        <a:pt x="309493" y="618"/>
                      </a:cubicBezTo>
                      <a:cubicBezTo>
                        <a:pt x="125731" y="45752"/>
                        <a:pt x="3224" y="200498"/>
                        <a:pt x="0" y="387483"/>
                      </a:cubicBezTo>
                      <a:cubicBezTo>
                        <a:pt x="0" y="413274"/>
                        <a:pt x="25791" y="422946"/>
                        <a:pt x="45134" y="416498"/>
                      </a:cubicBezTo>
                      <a:cubicBezTo>
                        <a:pt x="51582" y="419722"/>
                        <a:pt x="61254" y="419722"/>
                        <a:pt x="70925" y="413274"/>
                      </a:cubicBezTo>
                      <a:cubicBezTo>
                        <a:pt x="154746" y="361692"/>
                        <a:pt x="248239" y="355245"/>
                        <a:pt x="312716" y="271424"/>
                      </a:cubicBezTo>
                      <a:cubicBezTo>
                        <a:pt x="364299" y="200498"/>
                        <a:pt x="377194" y="110230"/>
                        <a:pt x="348179" y="23185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82" name="任意多边形: 形状 281">
                  <a:extLst>
                    <a:ext uri="{FF2B5EF4-FFF2-40B4-BE49-F238E27FC236}">
                      <a16:creationId xmlns:a16="http://schemas.microsoft.com/office/drawing/2014/main" id="{A288C605-6FB5-4E90-8B87-33BA11E0ECF3}"/>
                    </a:ext>
                  </a:extLst>
                </p:cNvPr>
                <p:cNvSpPr/>
                <p:nvPr/>
              </p:nvSpPr>
              <p:spPr>
                <a:xfrm>
                  <a:off x="4216332" y="4001197"/>
                  <a:ext cx="667057" cy="643212"/>
                </a:xfrm>
                <a:custGeom>
                  <a:avLst/>
                  <a:gdLst>
                    <a:gd name="connsiteX0" fmla="*/ 664815 w 667057"/>
                    <a:gd name="connsiteY0" fmla="*/ 524304 h 643212"/>
                    <a:gd name="connsiteX1" fmla="*/ 471382 w 667057"/>
                    <a:gd name="connsiteY1" fmla="*/ 482393 h 643212"/>
                    <a:gd name="connsiteX2" fmla="*/ 236039 w 667057"/>
                    <a:gd name="connsiteY2" fmla="*/ 530752 h 643212"/>
                    <a:gd name="connsiteX3" fmla="*/ 78069 w 667057"/>
                    <a:gd name="connsiteY3" fmla="*/ 14931 h 643212"/>
                    <a:gd name="connsiteX4" fmla="*/ 20039 w 667057"/>
                    <a:gd name="connsiteY4" fmla="*/ 21379 h 643212"/>
                    <a:gd name="connsiteX5" fmla="*/ 152218 w 667057"/>
                    <a:gd name="connsiteY5" fmla="*/ 569438 h 643212"/>
                    <a:gd name="connsiteX6" fmla="*/ 165114 w 667057"/>
                    <a:gd name="connsiteY6" fmla="*/ 621020 h 643212"/>
                    <a:gd name="connsiteX7" fmla="*/ 664815 w 667057"/>
                    <a:gd name="connsiteY7" fmla="*/ 524304 h 643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67057" h="643212">
                      <a:moveTo>
                        <a:pt x="664815" y="524304"/>
                      </a:moveTo>
                      <a:cubicBezTo>
                        <a:pt x="648696" y="456602"/>
                        <a:pt x="516517" y="479169"/>
                        <a:pt x="471382" y="482393"/>
                      </a:cubicBezTo>
                      <a:cubicBezTo>
                        <a:pt x="387561" y="485617"/>
                        <a:pt x="310188" y="501737"/>
                        <a:pt x="236039" y="530752"/>
                      </a:cubicBezTo>
                      <a:cubicBezTo>
                        <a:pt x="219920" y="346990"/>
                        <a:pt x="194129" y="166453"/>
                        <a:pt x="78069" y="14931"/>
                      </a:cubicBezTo>
                      <a:cubicBezTo>
                        <a:pt x="61949" y="-4413"/>
                        <a:pt x="26487" y="-7636"/>
                        <a:pt x="20039" y="21379"/>
                      </a:cubicBezTo>
                      <a:cubicBezTo>
                        <a:pt x="-25095" y="237378"/>
                        <a:pt x="696" y="408244"/>
                        <a:pt x="152218" y="569438"/>
                      </a:cubicBezTo>
                      <a:cubicBezTo>
                        <a:pt x="139323" y="585558"/>
                        <a:pt x="139323" y="614573"/>
                        <a:pt x="165114" y="621020"/>
                      </a:cubicBezTo>
                      <a:cubicBezTo>
                        <a:pt x="229591" y="643587"/>
                        <a:pt x="703502" y="685498"/>
                        <a:pt x="664815" y="524304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83" name="任意多边形: 形状 282">
                  <a:extLst>
                    <a:ext uri="{FF2B5EF4-FFF2-40B4-BE49-F238E27FC236}">
                      <a16:creationId xmlns:a16="http://schemas.microsoft.com/office/drawing/2014/main" id="{43EAFAC4-6AB3-4474-8D3F-9FDEC3F99E39}"/>
                    </a:ext>
                  </a:extLst>
                </p:cNvPr>
                <p:cNvSpPr/>
                <p:nvPr/>
              </p:nvSpPr>
              <p:spPr>
                <a:xfrm>
                  <a:off x="4038909" y="4341173"/>
                  <a:ext cx="649185" cy="535872"/>
                </a:xfrm>
                <a:custGeom>
                  <a:avLst/>
                  <a:gdLst>
                    <a:gd name="connsiteX0" fmla="*/ 510179 w 649185"/>
                    <a:gd name="connsiteY0" fmla="*/ 368089 h 535872"/>
                    <a:gd name="connsiteX1" fmla="*/ 294179 w 649185"/>
                    <a:gd name="connsiteY1" fmla="*/ 393880 h 535872"/>
                    <a:gd name="connsiteX2" fmla="*/ 200687 w 649185"/>
                    <a:gd name="connsiteY2" fmla="*/ 139194 h 535872"/>
                    <a:gd name="connsiteX3" fmla="*/ 42716 w 649185"/>
                    <a:gd name="connsiteY3" fmla="*/ 7014 h 535872"/>
                    <a:gd name="connsiteX4" fmla="*/ 20149 w 649185"/>
                    <a:gd name="connsiteY4" fmla="*/ 229462 h 535872"/>
                    <a:gd name="connsiteX5" fmla="*/ 207134 w 649185"/>
                    <a:gd name="connsiteY5" fmla="*/ 471253 h 535872"/>
                    <a:gd name="connsiteX6" fmla="*/ 223254 w 649185"/>
                    <a:gd name="connsiteY6" fmla="*/ 519612 h 535872"/>
                    <a:gd name="connsiteX7" fmla="*/ 535970 w 649185"/>
                    <a:gd name="connsiteY7" fmla="*/ 519612 h 535872"/>
                    <a:gd name="connsiteX8" fmla="*/ 648806 w 649185"/>
                    <a:gd name="connsiteY8" fmla="*/ 445462 h 535872"/>
                    <a:gd name="connsiteX9" fmla="*/ 510179 w 649185"/>
                    <a:gd name="connsiteY9" fmla="*/ 368089 h 5358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49185" h="535872">
                      <a:moveTo>
                        <a:pt x="510179" y="368089"/>
                      </a:moveTo>
                      <a:cubicBezTo>
                        <a:pt x="436030" y="361641"/>
                        <a:pt x="361881" y="361641"/>
                        <a:pt x="294179" y="393880"/>
                      </a:cubicBezTo>
                      <a:cubicBezTo>
                        <a:pt x="284507" y="303611"/>
                        <a:pt x="252269" y="216567"/>
                        <a:pt x="200687" y="139194"/>
                      </a:cubicBezTo>
                      <a:cubicBezTo>
                        <a:pt x="174896" y="100507"/>
                        <a:pt x="103970" y="-31672"/>
                        <a:pt x="42716" y="7014"/>
                      </a:cubicBezTo>
                      <a:cubicBezTo>
                        <a:pt x="-21761" y="42477"/>
                        <a:pt x="806" y="177880"/>
                        <a:pt x="20149" y="229462"/>
                      </a:cubicBezTo>
                      <a:cubicBezTo>
                        <a:pt x="52388" y="329403"/>
                        <a:pt x="126537" y="406776"/>
                        <a:pt x="207134" y="471253"/>
                      </a:cubicBezTo>
                      <a:cubicBezTo>
                        <a:pt x="197463" y="487373"/>
                        <a:pt x="200687" y="513164"/>
                        <a:pt x="223254" y="519612"/>
                      </a:cubicBezTo>
                      <a:cubicBezTo>
                        <a:pt x="323194" y="548627"/>
                        <a:pt x="436030" y="532507"/>
                        <a:pt x="535970" y="519612"/>
                      </a:cubicBezTo>
                      <a:cubicBezTo>
                        <a:pt x="577881" y="513164"/>
                        <a:pt x="655254" y="506716"/>
                        <a:pt x="648806" y="445462"/>
                      </a:cubicBezTo>
                      <a:cubicBezTo>
                        <a:pt x="642358" y="384208"/>
                        <a:pt x="558537" y="374537"/>
                        <a:pt x="510179" y="368089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84" name="任意多边形: 形状 283">
                  <a:extLst>
                    <a:ext uri="{FF2B5EF4-FFF2-40B4-BE49-F238E27FC236}">
                      <a16:creationId xmlns:a16="http://schemas.microsoft.com/office/drawing/2014/main" id="{2435368F-67CF-4894-A359-B00F9D2297DC}"/>
                    </a:ext>
                  </a:extLst>
                </p:cNvPr>
                <p:cNvSpPr/>
                <p:nvPr/>
              </p:nvSpPr>
              <p:spPr>
                <a:xfrm>
                  <a:off x="3925626" y="4640739"/>
                  <a:ext cx="730590" cy="487549"/>
                </a:xfrm>
                <a:custGeom>
                  <a:avLst/>
                  <a:gdLst>
                    <a:gd name="connsiteX0" fmla="*/ 729849 w 730590"/>
                    <a:gd name="connsiteY0" fmla="*/ 326433 h 487549"/>
                    <a:gd name="connsiteX1" fmla="*/ 542864 w 730590"/>
                    <a:gd name="connsiteY1" fmla="*/ 281299 h 487549"/>
                    <a:gd name="connsiteX2" fmla="*/ 297849 w 730590"/>
                    <a:gd name="connsiteY2" fmla="*/ 361896 h 487549"/>
                    <a:gd name="connsiteX3" fmla="*/ 233372 w 730590"/>
                    <a:gd name="connsiteY3" fmla="*/ 165239 h 487549"/>
                    <a:gd name="connsiteX4" fmla="*/ 49610 w 730590"/>
                    <a:gd name="connsiteY4" fmla="*/ 822 h 487549"/>
                    <a:gd name="connsiteX5" fmla="*/ 14148 w 730590"/>
                    <a:gd name="connsiteY5" fmla="*/ 16941 h 487549"/>
                    <a:gd name="connsiteX6" fmla="*/ 39939 w 730590"/>
                    <a:gd name="connsiteY6" fmla="*/ 249061 h 487549"/>
                    <a:gd name="connsiteX7" fmla="*/ 207581 w 730590"/>
                    <a:gd name="connsiteY7" fmla="*/ 442493 h 487549"/>
                    <a:gd name="connsiteX8" fmla="*/ 236596 w 730590"/>
                    <a:gd name="connsiteY8" fmla="*/ 477956 h 487549"/>
                    <a:gd name="connsiteX9" fmla="*/ 591223 w 730590"/>
                    <a:gd name="connsiteY9" fmla="*/ 471508 h 487549"/>
                    <a:gd name="connsiteX10" fmla="*/ 729849 w 730590"/>
                    <a:gd name="connsiteY10" fmla="*/ 326433 h 4875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30590" h="487549">
                      <a:moveTo>
                        <a:pt x="729849" y="326433"/>
                      </a:moveTo>
                      <a:cubicBezTo>
                        <a:pt x="720178" y="236165"/>
                        <a:pt x="604118" y="271628"/>
                        <a:pt x="542864" y="281299"/>
                      </a:cubicBezTo>
                      <a:cubicBezTo>
                        <a:pt x="459043" y="297419"/>
                        <a:pt x="368775" y="316762"/>
                        <a:pt x="297849" y="361896"/>
                      </a:cubicBezTo>
                      <a:cubicBezTo>
                        <a:pt x="301073" y="290971"/>
                        <a:pt x="278506" y="226493"/>
                        <a:pt x="233372" y="165239"/>
                      </a:cubicBezTo>
                      <a:cubicBezTo>
                        <a:pt x="191461" y="107210"/>
                        <a:pt x="117312" y="26613"/>
                        <a:pt x="49610" y="822"/>
                      </a:cubicBezTo>
                      <a:cubicBezTo>
                        <a:pt x="36715" y="-2402"/>
                        <a:pt x="20596" y="4045"/>
                        <a:pt x="14148" y="16941"/>
                      </a:cubicBezTo>
                      <a:cubicBezTo>
                        <a:pt x="-18091" y="81419"/>
                        <a:pt x="10924" y="187807"/>
                        <a:pt x="39939" y="249061"/>
                      </a:cubicBezTo>
                      <a:cubicBezTo>
                        <a:pt x="75402" y="329658"/>
                        <a:pt x="133431" y="394135"/>
                        <a:pt x="207581" y="442493"/>
                      </a:cubicBezTo>
                      <a:cubicBezTo>
                        <a:pt x="204357" y="461837"/>
                        <a:pt x="214028" y="481180"/>
                        <a:pt x="236596" y="477956"/>
                      </a:cubicBezTo>
                      <a:cubicBezTo>
                        <a:pt x="355879" y="465060"/>
                        <a:pt x="471939" y="510195"/>
                        <a:pt x="591223" y="471508"/>
                      </a:cubicBezTo>
                      <a:cubicBezTo>
                        <a:pt x="652476" y="455389"/>
                        <a:pt x="739521" y="407030"/>
                        <a:pt x="729849" y="326433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85" name="任意多边形: 形状 284">
                  <a:extLst>
                    <a:ext uri="{FF2B5EF4-FFF2-40B4-BE49-F238E27FC236}">
                      <a16:creationId xmlns:a16="http://schemas.microsoft.com/office/drawing/2014/main" id="{B0673961-5594-43CB-9479-4C5290BBB7E9}"/>
                    </a:ext>
                  </a:extLst>
                </p:cNvPr>
                <p:cNvSpPr/>
                <p:nvPr/>
              </p:nvSpPr>
              <p:spPr>
                <a:xfrm>
                  <a:off x="3747724" y="5108186"/>
                  <a:ext cx="684399" cy="398752"/>
                </a:xfrm>
                <a:custGeom>
                  <a:avLst/>
                  <a:gdLst>
                    <a:gd name="connsiteX0" fmla="*/ 562797 w 684399"/>
                    <a:gd name="connsiteY0" fmla="*/ 178151 h 398752"/>
                    <a:gd name="connsiteX1" fmla="*/ 327453 w 684399"/>
                    <a:gd name="connsiteY1" fmla="*/ 249076 h 398752"/>
                    <a:gd name="connsiteX2" fmla="*/ 188827 w 684399"/>
                    <a:gd name="connsiteY2" fmla="*/ 55643 h 398752"/>
                    <a:gd name="connsiteX3" fmla="*/ 17961 w 684399"/>
                    <a:gd name="connsiteY3" fmla="*/ 29852 h 398752"/>
                    <a:gd name="connsiteX4" fmla="*/ 59871 w 684399"/>
                    <a:gd name="connsiteY4" fmla="*/ 203942 h 398752"/>
                    <a:gd name="connsiteX5" fmla="*/ 285543 w 684399"/>
                    <a:gd name="connsiteY5" fmla="*/ 313554 h 398752"/>
                    <a:gd name="connsiteX6" fmla="*/ 285543 w 684399"/>
                    <a:gd name="connsiteY6" fmla="*/ 313554 h 398752"/>
                    <a:gd name="connsiteX7" fmla="*/ 301662 w 684399"/>
                    <a:gd name="connsiteY7" fmla="*/ 329673 h 398752"/>
                    <a:gd name="connsiteX8" fmla="*/ 311334 w 684399"/>
                    <a:gd name="connsiteY8" fmla="*/ 339345 h 398752"/>
                    <a:gd name="connsiteX9" fmla="*/ 546677 w 684399"/>
                    <a:gd name="connsiteY9" fmla="*/ 390927 h 398752"/>
                    <a:gd name="connsiteX10" fmla="*/ 682080 w 684399"/>
                    <a:gd name="connsiteY10" fmla="*/ 249076 h 398752"/>
                    <a:gd name="connsiteX11" fmla="*/ 562797 w 684399"/>
                    <a:gd name="connsiteY11" fmla="*/ 178151 h 3987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684399" h="398752">
                      <a:moveTo>
                        <a:pt x="562797" y="178151"/>
                      </a:moveTo>
                      <a:cubicBezTo>
                        <a:pt x="485424" y="187822"/>
                        <a:pt x="388707" y="194270"/>
                        <a:pt x="327453" y="249076"/>
                      </a:cubicBezTo>
                      <a:cubicBezTo>
                        <a:pt x="291991" y="174927"/>
                        <a:pt x="250080" y="107225"/>
                        <a:pt x="188827" y="55643"/>
                      </a:cubicBezTo>
                      <a:cubicBezTo>
                        <a:pt x="143692" y="20180"/>
                        <a:pt x="63095" y="-34626"/>
                        <a:pt x="17961" y="29852"/>
                      </a:cubicBezTo>
                      <a:cubicBezTo>
                        <a:pt x="-23950" y="87882"/>
                        <a:pt x="14737" y="165255"/>
                        <a:pt x="59871" y="203942"/>
                      </a:cubicBezTo>
                      <a:cubicBezTo>
                        <a:pt x="121125" y="255524"/>
                        <a:pt x="204946" y="287763"/>
                        <a:pt x="285543" y="313554"/>
                      </a:cubicBezTo>
                      <a:cubicBezTo>
                        <a:pt x="285543" y="313554"/>
                        <a:pt x="285543" y="313554"/>
                        <a:pt x="285543" y="313554"/>
                      </a:cubicBezTo>
                      <a:cubicBezTo>
                        <a:pt x="288767" y="323225"/>
                        <a:pt x="295215" y="326449"/>
                        <a:pt x="301662" y="329673"/>
                      </a:cubicBezTo>
                      <a:cubicBezTo>
                        <a:pt x="304886" y="332897"/>
                        <a:pt x="308110" y="336121"/>
                        <a:pt x="311334" y="339345"/>
                      </a:cubicBezTo>
                      <a:cubicBezTo>
                        <a:pt x="379036" y="384479"/>
                        <a:pt x="462856" y="413494"/>
                        <a:pt x="546677" y="390927"/>
                      </a:cubicBezTo>
                      <a:cubicBezTo>
                        <a:pt x="611155" y="371583"/>
                        <a:pt x="672409" y="316778"/>
                        <a:pt x="682080" y="249076"/>
                      </a:cubicBezTo>
                      <a:cubicBezTo>
                        <a:pt x="698200" y="162031"/>
                        <a:pt x="627274" y="171703"/>
                        <a:pt x="562797" y="178151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86" name="任意多边形: 形状 285">
                  <a:extLst>
                    <a:ext uri="{FF2B5EF4-FFF2-40B4-BE49-F238E27FC236}">
                      <a16:creationId xmlns:a16="http://schemas.microsoft.com/office/drawing/2014/main" id="{FD5CA859-8464-4AE9-BB34-33F992313ACA}"/>
                    </a:ext>
                  </a:extLst>
                </p:cNvPr>
                <p:cNvSpPr/>
                <p:nvPr/>
              </p:nvSpPr>
              <p:spPr>
                <a:xfrm>
                  <a:off x="3584853" y="5514483"/>
                  <a:ext cx="868687" cy="322931"/>
                </a:xfrm>
                <a:custGeom>
                  <a:avLst/>
                  <a:gdLst>
                    <a:gd name="connsiteX0" fmla="*/ 867519 w 868687"/>
                    <a:gd name="connsiteY0" fmla="*/ 155495 h 322931"/>
                    <a:gd name="connsiteX1" fmla="*/ 686981 w 868687"/>
                    <a:gd name="connsiteY1" fmla="*/ 120032 h 322931"/>
                    <a:gd name="connsiteX2" fmla="*/ 432295 w 868687"/>
                    <a:gd name="connsiteY2" fmla="*/ 203853 h 322931"/>
                    <a:gd name="connsiteX3" fmla="*/ 16414 w 868687"/>
                    <a:gd name="connsiteY3" fmla="*/ 62002 h 322931"/>
                    <a:gd name="connsiteX4" fmla="*/ 432295 w 868687"/>
                    <a:gd name="connsiteY4" fmla="*/ 297346 h 322931"/>
                    <a:gd name="connsiteX5" fmla="*/ 441966 w 868687"/>
                    <a:gd name="connsiteY5" fmla="*/ 294122 h 322931"/>
                    <a:gd name="connsiteX6" fmla="*/ 722444 w 868687"/>
                    <a:gd name="connsiteY6" fmla="*/ 307017 h 322931"/>
                    <a:gd name="connsiteX7" fmla="*/ 867519 w 868687"/>
                    <a:gd name="connsiteY7" fmla="*/ 155495 h 322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68687" h="322931">
                      <a:moveTo>
                        <a:pt x="867519" y="155495"/>
                      </a:moveTo>
                      <a:cubicBezTo>
                        <a:pt x="854623" y="81346"/>
                        <a:pt x="735340" y="116809"/>
                        <a:pt x="686981" y="120032"/>
                      </a:cubicBezTo>
                      <a:cubicBezTo>
                        <a:pt x="593489" y="126480"/>
                        <a:pt x="506444" y="142599"/>
                        <a:pt x="432295" y="203853"/>
                      </a:cubicBezTo>
                      <a:cubicBezTo>
                        <a:pt x="361369" y="100689"/>
                        <a:pt x="97011" y="-102415"/>
                        <a:pt x="16414" y="62002"/>
                      </a:cubicBezTo>
                      <a:cubicBezTo>
                        <a:pt x="-86750" y="274778"/>
                        <a:pt x="325907" y="294122"/>
                        <a:pt x="432295" y="297346"/>
                      </a:cubicBezTo>
                      <a:cubicBezTo>
                        <a:pt x="435519" y="297346"/>
                        <a:pt x="438743" y="297346"/>
                        <a:pt x="441966" y="294122"/>
                      </a:cubicBezTo>
                      <a:cubicBezTo>
                        <a:pt x="532235" y="326361"/>
                        <a:pt x="628952" y="332808"/>
                        <a:pt x="722444" y="307017"/>
                      </a:cubicBezTo>
                      <a:cubicBezTo>
                        <a:pt x="783698" y="290898"/>
                        <a:pt x="880414" y="239316"/>
                        <a:pt x="867519" y="155495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287" name="图形 1">
                <a:extLst>
                  <a:ext uri="{FF2B5EF4-FFF2-40B4-BE49-F238E27FC236}">
                    <a16:creationId xmlns:a16="http://schemas.microsoft.com/office/drawing/2014/main" id="{0CE540B5-BA07-4234-AB09-E4698FCCAC5A}"/>
                  </a:ext>
                </a:extLst>
              </p:cNvPr>
              <p:cNvGrpSpPr/>
              <p:nvPr/>
            </p:nvGrpSpPr>
            <p:grpSpPr>
              <a:xfrm>
                <a:off x="2467164" y="3927858"/>
                <a:ext cx="1374537" cy="2117872"/>
                <a:chOff x="2467164" y="3927858"/>
                <a:chExt cx="1374537" cy="2117872"/>
              </a:xfrm>
            </p:grpSpPr>
            <p:sp>
              <p:nvSpPr>
                <p:cNvPr id="288" name="任意多边形: 形状 287">
                  <a:extLst>
                    <a:ext uri="{FF2B5EF4-FFF2-40B4-BE49-F238E27FC236}">
                      <a16:creationId xmlns:a16="http://schemas.microsoft.com/office/drawing/2014/main" id="{7E2A7C0F-DE40-4C90-8BEF-97C1F4169474}"/>
                    </a:ext>
                  </a:extLst>
                </p:cNvPr>
                <p:cNvSpPr/>
                <p:nvPr/>
              </p:nvSpPr>
              <p:spPr>
                <a:xfrm>
                  <a:off x="2860876" y="4402764"/>
                  <a:ext cx="859900" cy="1642966"/>
                </a:xfrm>
                <a:custGeom>
                  <a:avLst/>
                  <a:gdLst>
                    <a:gd name="connsiteX0" fmla="*/ 859674 w 859900"/>
                    <a:gd name="connsiteY0" fmla="*/ 1621841 h 1642966"/>
                    <a:gd name="connsiteX1" fmla="*/ 598540 w 859900"/>
                    <a:gd name="connsiteY1" fmla="*/ 715931 h 1642966"/>
                    <a:gd name="connsiteX2" fmla="*/ 31137 w 859900"/>
                    <a:gd name="connsiteY2" fmla="*/ 6677 h 1642966"/>
                    <a:gd name="connsiteX3" fmla="*/ 2122 w 859900"/>
                    <a:gd name="connsiteY3" fmla="*/ 22796 h 1642966"/>
                    <a:gd name="connsiteX4" fmla="*/ 556630 w 859900"/>
                    <a:gd name="connsiteY4" fmla="*/ 706259 h 1642966"/>
                    <a:gd name="connsiteX5" fmla="*/ 827436 w 859900"/>
                    <a:gd name="connsiteY5" fmla="*/ 1631513 h 1642966"/>
                    <a:gd name="connsiteX6" fmla="*/ 859674 w 859900"/>
                    <a:gd name="connsiteY6" fmla="*/ 1621841 h 16429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59900" h="1642966">
                      <a:moveTo>
                        <a:pt x="859674" y="1621841"/>
                      </a:moveTo>
                      <a:cubicBezTo>
                        <a:pt x="785525" y="1318796"/>
                        <a:pt x="733943" y="996408"/>
                        <a:pt x="598540" y="715931"/>
                      </a:cubicBezTo>
                      <a:cubicBezTo>
                        <a:pt x="463137" y="438677"/>
                        <a:pt x="208450" y="254916"/>
                        <a:pt x="31137" y="6677"/>
                      </a:cubicBezTo>
                      <a:cubicBezTo>
                        <a:pt x="18242" y="-9443"/>
                        <a:pt x="-7550" y="6677"/>
                        <a:pt x="2122" y="22796"/>
                      </a:cubicBezTo>
                      <a:cubicBezTo>
                        <a:pt x="176212" y="261363"/>
                        <a:pt x="421227" y="441901"/>
                        <a:pt x="556630" y="706259"/>
                      </a:cubicBezTo>
                      <a:cubicBezTo>
                        <a:pt x="701704" y="989960"/>
                        <a:pt x="753286" y="1325244"/>
                        <a:pt x="827436" y="1631513"/>
                      </a:cubicBezTo>
                      <a:cubicBezTo>
                        <a:pt x="830659" y="1650856"/>
                        <a:pt x="862898" y="1644408"/>
                        <a:pt x="859674" y="1621841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89" name="任意多边形: 形状 288">
                  <a:extLst>
                    <a:ext uri="{FF2B5EF4-FFF2-40B4-BE49-F238E27FC236}">
                      <a16:creationId xmlns:a16="http://schemas.microsoft.com/office/drawing/2014/main" id="{A0354C29-3E9F-4727-8030-43E615F1AFC5}"/>
                    </a:ext>
                  </a:extLst>
                </p:cNvPr>
                <p:cNvSpPr/>
                <p:nvPr/>
              </p:nvSpPr>
              <p:spPr>
                <a:xfrm>
                  <a:off x="2467164" y="3927858"/>
                  <a:ext cx="457705" cy="562885"/>
                </a:xfrm>
                <a:custGeom>
                  <a:avLst/>
                  <a:gdLst>
                    <a:gd name="connsiteX0" fmla="*/ 457088 w 457705"/>
                    <a:gd name="connsiteY0" fmla="*/ 517046 h 562885"/>
                    <a:gd name="connsiteX1" fmla="*/ 286222 w 457705"/>
                    <a:gd name="connsiteY1" fmla="*/ 159195 h 562885"/>
                    <a:gd name="connsiteX2" fmla="*/ 34760 w 457705"/>
                    <a:gd name="connsiteY2" fmla="*/ 14121 h 562885"/>
                    <a:gd name="connsiteX3" fmla="*/ 92789 w 457705"/>
                    <a:gd name="connsiteY3" fmla="*/ 288151 h 562885"/>
                    <a:gd name="connsiteX4" fmla="*/ 392610 w 457705"/>
                    <a:gd name="connsiteY4" fmla="*/ 558957 h 562885"/>
                    <a:gd name="connsiteX5" fmla="*/ 434521 w 457705"/>
                    <a:gd name="connsiteY5" fmla="*/ 546061 h 562885"/>
                    <a:gd name="connsiteX6" fmla="*/ 457088 w 457705"/>
                    <a:gd name="connsiteY6" fmla="*/ 517046 h 5628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7705" h="562885">
                      <a:moveTo>
                        <a:pt x="457088" y="517046"/>
                      </a:moveTo>
                      <a:cubicBezTo>
                        <a:pt x="440969" y="378419"/>
                        <a:pt x="376491" y="262359"/>
                        <a:pt x="286222" y="159195"/>
                      </a:cubicBezTo>
                      <a:cubicBezTo>
                        <a:pt x="241088" y="107613"/>
                        <a:pt x="121804" y="-47133"/>
                        <a:pt x="34760" y="14121"/>
                      </a:cubicBezTo>
                      <a:cubicBezTo>
                        <a:pt x="-55509" y="75375"/>
                        <a:pt x="54103" y="233344"/>
                        <a:pt x="92789" y="288151"/>
                      </a:cubicBezTo>
                      <a:cubicBezTo>
                        <a:pt x="176610" y="407434"/>
                        <a:pt x="260431" y="494479"/>
                        <a:pt x="392610" y="558957"/>
                      </a:cubicBezTo>
                      <a:cubicBezTo>
                        <a:pt x="408730" y="568628"/>
                        <a:pt x="428073" y="558957"/>
                        <a:pt x="434521" y="546061"/>
                      </a:cubicBezTo>
                      <a:cubicBezTo>
                        <a:pt x="450640" y="546061"/>
                        <a:pt x="460312" y="536389"/>
                        <a:pt x="457088" y="517046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90" name="任意多边形: 形状 289">
                  <a:extLst>
                    <a:ext uri="{FF2B5EF4-FFF2-40B4-BE49-F238E27FC236}">
                      <a16:creationId xmlns:a16="http://schemas.microsoft.com/office/drawing/2014/main" id="{D2F69EBB-53E3-46DA-AC68-A3CD4F773D5A}"/>
                    </a:ext>
                  </a:extLst>
                </p:cNvPr>
                <p:cNvSpPr/>
                <p:nvPr/>
              </p:nvSpPr>
              <p:spPr>
                <a:xfrm>
                  <a:off x="2533039" y="4052407"/>
                  <a:ext cx="738305" cy="731151"/>
                </a:xfrm>
                <a:custGeom>
                  <a:avLst/>
                  <a:gdLst>
                    <a:gd name="connsiteX0" fmla="*/ 694258 w 738305"/>
                    <a:gd name="connsiteY0" fmla="*/ 5631 h 731151"/>
                    <a:gd name="connsiteX1" fmla="*/ 497601 w 738305"/>
                    <a:gd name="connsiteY1" fmla="*/ 157153 h 731151"/>
                    <a:gd name="connsiteX2" fmla="*/ 478258 w 738305"/>
                    <a:gd name="connsiteY2" fmla="*/ 547243 h 731151"/>
                    <a:gd name="connsiteX3" fmla="*/ 481482 w 738305"/>
                    <a:gd name="connsiteY3" fmla="*/ 550467 h 731151"/>
                    <a:gd name="connsiteX4" fmla="*/ 4348 w 738305"/>
                    <a:gd name="connsiteY4" fmla="*/ 585930 h 731151"/>
                    <a:gd name="connsiteX5" fmla="*/ 252586 w 738305"/>
                    <a:gd name="connsiteY5" fmla="*/ 727781 h 731151"/>
                    <a:gd name="connsiteX6" fmla="*/ 513721 w 738305"/>
                    <a:gd name="connsiteY6" fmla="*/ 621392 h 731151"/>
                    <a:gd name="connsiteX7" fmla="*/ 526616 w 738305"/>
                    <a:gd name="connsiteY7" fmla="*/ 608497 h 731151"/>
                    <a:gd name="connsiteX8" fmla="*/ 526616 w 738305"/>
                    <a:gd name="connsiteY8" fmla="*/ 608497 h 731151"/>
                    <a:gd name="connsiteX9" fmla="*/ 726497 w 738305"/>
                    <a:gd name="connsiteY9" fmla="*/ 257094 h 731151"/>
                    <a:gd name="connsiteX10" fmla="*/ 694258 w 738305"/>
                    <a:gd name="connsiteY10" fmla="*/ 5631 h 731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38305" h="731151">
                      <a:moveTo>
                        <a:pt x="694258" y="5631"/>
                      </a:moveTo>
                      <a:cubicBezTo>
                        <a:pt x="623333" y="-29831"/>
                        <a:pt x="526616" y="112019"/>
                        <a:pt x="497601" y="157153"/>
                      </a:cubicBezTo>
                      <a:cubicBezTo>
                        <a:pt x="426676" y="276437"/>
                        <a:pt x="426676" y="421512"/>
                        <a:pt x="478258" y="547243"/>
                      </a:cubicBezTo>
                      <a:cubicBezTo>
                        <a:pt x="478258" y="547243"/>
                        <a:pt x="478258" y="547243"/>
                        <a:pt x="481482" y="550467"/>
                      </a:cubicBezTo>
                      <a:cubicBezTo>
                        <a:pt x="375094" y="508557"/>
                        <a:pt x="-47234" y="418288"/>
                        <a:pt x="4348" y="585930"/>
                      </a:cubicBezTo>
                      <a:cubicBezTo>
                        <a:pt x="30139" y="669751"/>
                        <a:pt x="178437" y="714885"/>
                        <a:pt x="252586" y="727781"/>
                      </a:cubicBezTo>
                      <a:cubicBezTo>
                        <a:pt x="368646" y="747124"/>
                        <a:pt x="426676" y="679422"/>
                        <a:pt x="513721" y="621392"/>
                      </a:cubicBezTo>
                      <a:cubicBezTo>
                        <a:pt x="520169" y="618169"/>
                        <a:pt x="523392" y="611721"/>
                        <a:pt x="526616" y="608497"/>
                      </a:cubicBezTo>
                      <a:cubicBezTo>
                        <a:pt x="526616" y="608497"/>
                        <a:pt x="526616" y="608497"/>
                        <a:pt x="526616" y="608497"/>
                      </a:cubicBezTo>
                      <a:cubicBezTo>
                        <a:pt x="633004" y="518228"/>
                        <a:pt x="703930" y="395721"/>
                        <a:pt x="726497" y="257094"/>
                      </a:cubicBezTo>
                      <a:cubicBezTo>
                        <a:pt x="736169" y="211960"/>
                        <a:pt x="758736" y="37870"/>
                        <a:pt x="694258" y="5631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91" name="任意多边形: 形状 290">
                  <a:extLst>
                    <a:ext uri="{FF2B5EF4-FFF2-40B4-BE49-F238E27FC236}">
                      <a16:creationId xmlns:a16="http://schemas.microsoft.com/office/drawing/2014/main" id="{562563BD-E9E7-48B4-AC52-8BA4E76D525E}"/>
                    </a:ext>
                  </a:extLst>
                </p:cNvPr>
                <p:cNvSpPr/>
                <p:nvPr/>
              </p:nvSpPr>
              <p:spPr>
                <a:xfrm>
                  <a:off x="2797613" y="4315055"/>
                  <a:ext cx="703685" cy="763161"/>
                </a:xfrm>
                <a:custGeom>
                  <a:avLst/>
                  <a:gdLst>
                    <a:gd name="connsiteX0" fmla="*/ 671475 w 703685"/>
                    <a:gd name="connsiteY0" fmla="*/ 4117 h 763161"/>
                    <a:gd name="connsiteX1" fmla="*/ 494162 w 703685"/>
                    <a:gd name="connsiteY1" fmla="*/ 155640 h 763161"/>
                    <a:gd name="connsiteX2" fmla="*/ 420012 w 703685"/>
                    <a:gd name="connsiteY2" fmla="*/ 471580 h 763161"/>
                    <a:gd name="connsiteX3" fmla="*/ 403893 w 703685"/>
                    <a:gd name="connsiteY3" fmla="*/ 481251 h 763161"/>
                    <a:gd name="connsiteX4" fmla="*/ 87953 w 703685"/>
                    <a:gd name="connsiteY4" fmla="*/ 584415 h 763161"/>
                    <a:gd name="connsiteX5" fmla="*/ 20251 w 703685"/>
                    <a:gd name="connsiteY5" fmla="*/ 739162 h 763161"/>
                    <a:gd name="connsiteX6" fmla="*/ 249147 w 703685"/>
                    <a:gd name="connsiteY6" fmla="*/ 726266 h 763161"/>
                    <a:gd name="connsiteX7" fmla="*/ 452251 w 703685"/>
                    <a:gd name="connsiteY7" fmla="*/ 529610 h 763161"/>
                    <a:gd name="connsiteX8" fmla="*/ 455475 w 703685"/>
                    <a:gd name="connsiteY8" fmla="*/ 526386 h 763161"/>
                    <a:gd name="connsiteX9" fmla="*/ 487714 w 703685"/>
                    <a:gd name="connsiteY9" fmla="*/ 503818 h 763161"/>
                    <a:gd name="connsiteX10" fmla="*/ 668251 w 703685"/>
                    <a:gd name="connsiteY10" fmla="*/ 226565 h 763161"/>
                    <a:gd name="connsiteX11" fmla="*/ 671475 w 703685"/>
                    <a:gd name="connsiteY11" fmla="*/ 4117 h 763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703685" h="763161">
                      <a:moveTo>
                        <a:pt x="671475" y="4117"/>
                      </a:moveTo>
                      <a:cubicBezTo>
                        <a:pt x="597326" y="-24898"/>
                        <a:pt x="519953" y="107281"/>
                        <a:pt x="494162" y="155640"/>
                      </a:cubicBezTo>
                      <a:cubicBezTo>
                        <a:pt x="439356" y="252356"/>
                        <a:pt x="416789" y="358744"/>
                        <a:pt x="420012" y="471580"/>
                      </a:cubicBezTo>
                      <a:cubicBezTo>
                        <a:pt x="413565" y="471580"/>
                        <a:pt x="410341" y="478028"/>
                        <a:pt x="403893" y="481251"/>
                      </a:cubicBezTo>
                      <a:cubicBezTo>
                        <a:pt x="294281" y="494147"/>
                        <a:pt x="181445" y="526386"/>
                        <a:pt x="87953" y="584415"/>
                      </a:cubicBezTo>
                      <a:cubicBezTo>
                        <a:pt x="42818" y="613430"/>
                        <a:pt x="-37779" y="684356"/>
                        <a:pt x="20251" y="739162"/>
                      </a:cubicBezTo>
                      <a:cubicBezTo>
                        <a:pt x="75057" y="787520"/>
                        <a:pt x="191117" y="752057"/>
                        <a:pt x="249147" y="726266"/>
                      </a:cubicBezTo>
                      <a:cubicBezTo>
                        <a:pt x="339415" y="687580"/>
                        <a:pt x="410341" y="616654"/>
                        <a:pt x="452251" y="529610"/>
                      </a:cubicBezTo>
                      <a:cubicBezTo>
                        <a:pt x="452251" y="529610"/>
                        <a:pt x="455475" y="526386"/>
                        <a:pt x="455475" y="526386"/>
                      </a:cubicBezTo>
                      <a:cubicBezTo>
                        <a:pt x="468371" y="526386"/>
                        <a:pt x="484490" y="519938"/>
                        <a:pt x="487714" y="503818"/>
                      </a:cubicBezTo>
                      <a:cubicBezTo>
                        <a:pt x="568311" y="426445"/>
                        <a:pt x="632789" y="332953"/>
                        <a:pt x="668251" y="226565"/>
                      </a:cubicBezTo>
                      <a:cubicBezTo>
                        <a:pt x="681147" y="181430"/>
                        <a:pt x="739177" y="29908"/>
                        <a:pt x="671475" y="4117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92" name="任意多边形: 形状 291">
                  <a:extLst>
                    <a:ext uri="{FF2B5EF4-FFF2-40B4-BE49-F238E27FC236}">
                      <a16:creationId xmlns:a16="http://schemas.microsoft.com/office/drawing/2014/main" id="{9CF95CCF-CB62-4EC4-A858-FADDCF80C286}"/>
                    </a:ext>
                  </a:extLst>
                </p:cNvPr>
                <p:cNvSpPr/>
                <p:nvPr/>
              </p:nvSpPr>
              <p:spPr>
                <a:xfrm>
                  <a:off x="2912720" y="4518552"/>
                  <a:ext cx="862625" cy="842054"/>
                </a:xfrm>
                <a:custGeom>
                  <a:avLst/>
                  <a:gdLst>
                    <a:gd name="connsiteX0" fmla="*/ 852965 w 862625"/>
                    <a:gd name="connsiteY0" fmla="*/ 23068 h 842054"/>
                    <a:gd name="connsiteX1" fmla="*/ 820726 w 862625"/>
                    <a:gd name="connsiteY1" fmla="*/ 501 h 842054"/>
                    <a:gd name="connsiteX2" fmla="*/ 598278 w 862625"/>
                    <a:gd name="connsiteY2" fmla="*/ 161695 h 842054"/>
                    <a:gd name="connsiteX3" fmla="*/ 466099 w 862625"/>
                    <a:gd name="connsiteY3" fmla="*/ 513098 h 842054"/>
                    <a:gd name="connsiteX4" fmla="*/ 466099 w 862625"/>
                    <a:gd name="connsiteY4" fmla="*/ 525994 h 842054"/>
                    <a:gd name="connsiteX5" fmla="*/ 462875 w 862625"/>
                    <a:gd name="connsiteY5" fmla="*/ 529217 h 842054"/>
                    <a:gd name="connsiteX6" fmla="*/ 453203 w 862625"/>
                    <a:gd name="connsiteY6" fmla="*/ 529217 h 842054"/>
                    <a:gd name="connsiteX7" fmla="*/ 50218 w 862625"/>
                    <a:gd name="connsiteY7" fmla="*/ 645277 h 842054"/>
                    <a:gd name="connsiteX8" fmla="*/ 40547 w 862625"/>
                    <a:gd name="connsiteY8" fmla="*/ 819367 h 842054"/>
                    <a:gd name="connsiteX9" fmla="*/ 301681 w 862625"/>
                    <a:gd name="connsiteY9" fmla="*/ 793576 h 842054"/>
                    <a:gd name="connsiteX10" fmla="*/ 508009 w 862625"/>
                    <a:gd name="connsiteY10" fmla="*/ 574352 h 842054"/>
                    <a:gd name="connsiteX11" fmla="*/ 524129 w 862625"/>
                    <a:gd name="connsiteY11" fmla="*/ 567904 h 842054"/>
                    <a:gd name="connsiteX12" fmla="*/ 782039 w 862625"/>
                    <a:gd name="connsiteY12" fmla="*/ 297098 h 842054"/>
                    <a:gd name="connsiteX13" fmla="*/ 852965 w 862625"/>
                    <a:gd name="connsiteY13" fmla="*/ 23068 h 8420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62625" h="842054">
                      <a:moveTo>
                        <a:pt x="852965" y="23068"/>
                      </a:moveTo>
                      <a:cubicBezTo>
                        <a:pt x="849741" y="10173"/>
                        <a:pt x="836845" y="-2723"/>
                        <a:pt x="820726" y="501"/>
                      </a:cubicBezTo>
                      <a:cubicBezTo>
                        <a:pt x="733681" y="10173"/>
                        <a:pt x="646636" y="97218"/>
                        <a:pt x="598278" y="161695"/>
                      </a:cubicBezTo>
                      <a:cubicBezTo>
                        <a:pt x="520905" y="264859"/>
                        <a:pt x="498338" y="390591"/>
                        <a:pt x="466099" y="513098"/>
                      </a:cubicBezTo>
                      <a:cubicBezTo>
                        <a:pt x="466099" y="519546"/>
                        <a:pt x="466099" y="522770"/>
                        <a:pt x="466099" y="525994"/>
                      </a:cubicBezTo>
                      <a:cubicBezTo>
                        <a:pt x="466099" y="525994"/>
                        <a:pt x="462875" y="529217"/>
                        <a:pt x="462875" y="529217"/>
                      </a:cubicBezTo>
                      <a:cubicBezTo>
                        <a:pt x="459651" y="529217"/>
                        <a:pt x="456427" y="529217"/>
                        <a:pt x="453203" y="529217"/>
                      </a:cubicBezTo>
                      <a:cubicBezTo>
                        <a:pt x="327472" y="555008"/>
                        <a:pt x="153382" y="564680"/>
                        <a:pt x="50218" y="645277"/>
                      </a:cubicBezTo>
                      <a:cubicBezTo>
                        <a:pt x="-4588" y="690411"/>
                        <a:pt x="-23931" y="774232"/>
                        <a:pt x="40547" y="819367"/>
                      </a:cubicBezTo>
                      <a:cubicBezTo>
                        <a:pt x="108248" y="867725"/>
                        <a:pt x="233980" y="829038"/>
                        <a:pt x="301681" y="793576"/>
                      </a:cubicBezTo>
                      <a:cubicBezTo>
                        <a:pt x="391950" y="745218"/>
                        <a:pt x="453203" y="661397"/>
                        <a:pt x="508009" y="574352"/>
                      </a:cubicBezTo>
                      <a:cubicBezTo>
                        <a:pt x="514457" y="574352"/>
                        <a:pt x="517681" y="571128"/>
                        <a:pt x="524129" y="567904"/>
                      </a:cubicBezTo>
                      <a:cubicBezTo>
                        <a:pt x="611174" y="484083"/>
                        <a:pt x="717562" y="400262"/>
                        <a:pt x="782039" y="297098"/>
                      </a:cubicBezTo>
                      <a:cubicBezTo>
                        <a:pt x="830397" y="232620"/>
                        <a:pt x="885203" y="106889"/>
                        <a:pt x="852965" y="23068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93" name="任意多边形: 形状 292">
                  <a:extLst>
                    <a:ext uri="{FF2B5EF4-FFF2-40B4-BE49-F238E27FC236}">
                      <a16:creationId xmlns:a16="http://schemas.microsoft.com/office/drawing/2014/main" id="{7A5AC296-4CB4-49FB-8DCE-396D42600487}"/>
                    </a:ext>
                  </a:extLst>
                </p:cNvPr>
                <p:cNvSpPr/>
                <p:nvPr/>
              </p:nvSpPr>
              <p:spPr>
                <a:xfrm>
                  <a:off x="3191815" y="4945862"/>
                  <a:ext cx="649886" cy="596672"/>
                </a:xfrm>
                <a:custGeom>
                  <a:avLst/>
                  <a:gdLst>
                    <a:gd name="connsiteX0" fmla="*/ 635124 w 649886"/>
                    <a:gd name="connsiteY0" fmla="*/ 24534 h 596672"/>
                    <a:gd name="connsiteX1" fmla="*/ 586765 w 649886"/>
                    <a:gd name="connsiteY1" fmla="*/ 5191 h 596672"/>
                    <a:gd name="connsiteX2" fmla="*/ 328855 w 649886"/>
                    <a:gd name="connsiteY2" fmla="*/ 417848 h 596672"/>
                    <a:gd name="connsiteX3" fmla="*/ 6467 w 649886"/>
                    <a:gd name="connsiteY3" fmla="*/ 537131 h 596672"/>
                    <a:gd name="connsiteX4" fmla="*/ 367541 w 649886"/>
                    <a:gd name="connsiteY4" fmla="*/ 491997 h 596672"/>
                    <a:gd name="connsiteX5" fmla="*/ 390109 w 649886"/>
                    <a:gd name="connsiteY5" fmla="*/ 488773 h 596672"/>
                    <a:gd name="connsiteX6" fmla="*/ 635124 w 649886"/>
                    <a:gd name="connsiteY6" fmla="*/ 24534 h 59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49886" h="596672">
                      <a:moveTo>
                        <a:pt x="635124" y="24534"/>
                      </a:moveTo>
                      <a:cubicBezTo>
                        <a:pt x="628676" y="5191"/>
                        <a:pt x="606109" y="-7705"/>
                        <a:pt x="586765" y="5191"/>
                      </a:cubicBezTo>
                      <a:cubicBezTo>
                        <a:pt x="438467" y="98683"/>
                        <a:pt x="380437" y="256654"/>
                        <a:pt x="328855" y="417848"/>
                      </a:cubicBezTo>
                      <a:cubicBezTo>
                        <a:pt x="225691" y="404952"/>
                        <a:pt x="-45115" y="382385"/>
                        <a:pt x="6467" y="537131"/>
                      </a:cubicBezTo>
                      <a:cubicBezTo>
                        <a:pt x="54825" y="678982"/>
                        <a:pt x="277273" y="527460"/>
                        <a:pt x="367541" y="491997"/>
                      </a:cubicBezTo>
                      <a:cubicBezTo>
                        <a:pt x="373989" y="495221"/>
                        <a:pt x="383661" y="491997"/>
                        <a:pt x="390109" y="488773"/>
                      </a:cubicBezTo>
                      <a:cubicBezTo>
                        <a:pt x="557751" y="395281"/>
                        <a:pt x="696377" y="227639"/>
                        <a:pt x="635124" y="24534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94" name="任意多边形: 形状 293">
                  <a:extLst>
                    <a:ext uri="{FF2B5EF4-FFF2-40B4-BE49-F238E27FC236}">
                      <a16:creationId xmlns:a16="http://schemas.microsoft.com/office/drawing/2014/main" id="{2FEC9B50-344D-4682-A008-B8AB8D316359}"/>
                    </a:ext>
                  </a:extLst>
                </p:cNvPr>
                <p:cNvSpPr/>
                <p:nvPr/>
              </p:nvSpPr>
              <p:spPr>
                <a:xfrm>
                  <a:off x="3323281" y="5432790"/>
                  <a:ext cx="461574" cy="363908"/>
                </a:xfrm>
                <a:custGeom>
                  <a:avLst/>
                  <a:gdLst>
                    <a:gd name="connsiteX0" fmla="*/ 426285 w 461574"/>
                    <a:gd name="connsiteY0" fmla="*/ 5069 h 363908"/>
                    <a:gd name="connsiteX1" fmla="*/ 326344 w 461574"/>
                    <a:gd name="connsiteY1" fmla="*/ 75994 h 363908"/>
                    <a:gd name="connsiteX2" fmla="*/ 287658 w 461574"/>
                    <a:gd name="connsiteY2" fmla="*/ 250084 h 363908"/>
                    <a:gd name="connsiteX3" fmla="*/ 152255 w 461574"/>
                    <a:gd name="connsiteY3" fmla="*/ 214621 h 363908"/>
                    <a:gd name="connsiteX4" fmla="*/ 7180 w 461574"/>
                    <a:gd name="connsiteY4" fmla="*/ 259755 h 363908"/>
                    <a:gd name="connsiteX5" fmla="*/ 78106 w 461574"/>
                    <a:gd name="connsiteY5" fmla="*/ 359696 h 363908"/>
                    <a:gd name="connsiteX6" fmla="*/ 316673 w 461574"/>
                    <a:gd name="connsiteY6" fmla="*/ 337129 h 363908"/>
                    <a:gd name="connsiteX7" fmla="*/ 339240 w 461574"/>
                    <a:gd name="connsiteY7" fmla="*/ 308114 h 363908"/>
                    <a:gd name="connsiteX8" fmla="*/ 348911 w 461574"/>
                    <a:gd name="connsiteY8" fmla="*/ 298442 h 363908"/>
                    <a:gd name="connsiteX9" fmla="*/ 452076 w 461574"/>
                    <a:gd name="connsiteY9" fmla="*/ 137248 h 363908"/>
                    <a:gd name="connsiteX10" fmla="*/ 426285 w 461574"/>
                    <a:gd name="connsiteY10" fmla="*/ 5069 h 3639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61574" h="363908">
                      <a:moveTo>
                        <a:pt x="426285" y="5069"/>
                      </a:moveTo>
                      <a:cubicBezTo>
                        <a:pt x="381150" y="-17498"/>
                        <a:pt x="342464" y="40532"/>
                        <a:pt x="326344" y="75994"/>
                      </a:cubicBezTo>
                      <a:cubicBezTo>
                        <a:pt x="300553" y="130800"/>
                        <a:pt x="290882" y="192054"/>
                        <a:pt x="287658" y="250084"/>
                      </a:cubicBezTo>
                      <a:cubicBezTo>
                        <a:pt x="245747" y="227517"/>
                        <a:pt x="200613" y="217845"/>
                        <a:pt x="152255" y="214621"/>
                      </a:cubicBezTo>
                      <a:cubicBezTo>
                        <a:pt x="103897" y="211397"/>
                        <a:pt x="32971" y="204949"/>
                        <a:pt x="7180" y="259755"/>
                      </a:cubicBezTo>
                      <a:cubicBezTo>
                        <a:pt x="-18611" y="311338"/>
                        <a:pt x="29747" y="353248"/>
                        <a:pt x="78106" y="359696"/>
                      </a:cubicBezTo>
                      <a:cubicBezTo>
                        <a:pt x="155479" y="372591"/>
                        <a:pt x="242523" y="353248"/>
                        <a:pt x="316673" y="337129"/>
                      </a:cubicBezTo>
                      <a:cubicBezTo>
                        <a:pt x="332792" y="333905"/>
                        <a:pt x="339240" y="321009"/>
                        <a:pt x="339240" y="308114"/>
                      </a:cubicBezTo>
                      <a:cubicBezTo>
                        <a:pt x="342464" y="304890"/>
                        <a:pt x="345688" y="301666"/>
                        <a:pt x="348911" y="298442"/>
                      </a:cubicBezTo>
                      <a:cubicBezTo>
                        <a:pt x="384374" y="246860"/>
                        <a:pt x="429508" y="195278"/>
                        <a:pt x="452076" y="137248"/>
                      </a:cubicBezTo>
                      <a:cubicBezTo>
                        <a:pt x="464971" y="98561"/>
                        <a:pt x="471419" y="30860"/>
                        <a:pt x="426285" y="5069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594135417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D926DF8E-6AEF-429E-A18A-F9E08E90F7FC}"/>
              </a:ext>
            </a:extLst>
          </p:cNvPr>
          <p:cNvGrpSpPr/>
          <p:nvPr/>
        </p:nvGrpSpPr>
        <p:grpSpPr>
          <a:xfrm>
            <a:off x="2153731" y="2707059"/>
            <a:ext cx="7051084" cy="4150941"/>
            <a:chOff x="10619305" y="2034858"/>
            <a:chExt cx="7051084" cy="4150941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F80F0875-147B-450C-9ABF-818A2A7B3CE3}"/>
                </a:ext>
              </a:extLst>
            </p:cNvPr>
            <p:cNvSpPr/>
            <p:nvPr/>
          </p:nvSpPr>
          <p:spPr>
            <a:xfrm>
              <a:off x="16469798" y="3690516"/>
              <a:ext cx="920006" cy="2218029"/>
            </a:xfrm>
            <a:custGeom>
              <a:avLst/>
              <a:gdLst>
                <a:gd name="connsiteX0" fmla="*/ 678216 w 920006"/>
                <a:gd name="connsiteY0" fmla="*/ 0 h 2218029"/>
                <a:gd name="connsiteX1" fmla="*/ 104364 w 920006"/>
                <a:gd name="connsiteY1" fmla="*/ 0 h 2218029"/>
                <a:gd name="connsiteX2" fmla="*/ 1201 w 920006"/>
                <a:gd name="connsiteY2" fmla="*/ 393314 h 2218029"/>
                <a:gd name="connsiteX3" fmla="*/ 136603 w 920006"/>
                <a:gd name="connsiteY3" fmla="*/ 2195463 h 2218029"/>
                <a:gd name="connsiteX4" fmla="*/ 262335 w 920006"/>
                <a:gd name="connsiteY4" fmla="*/ 2218030 h 2218029"/>
                <a:gd name="connsiteX5" fmla="*/ 397738 w 920006"/>
                <a:gd name="connsiteY5" fmla="*/ 696358 h 2218029"/>
                <a:gd name="connsiteX6" fmla="*/ 455768 w 920006"/>
                <a:gd name="connsiteY6" fmla="*/ 1392717 h 2218029"/>
                <a:gd name="connsiteX7" fmla="*/ 465439 w 920006"/>
                <a:gd name="connsiteY7" fmla="*/ 1437851 h 2218029"/>
                <a:gd name="connsiteX8" fmla="*/ 816842 w 920006"/>
                <a:gd name="connsiteY8" fmla="*/ 2166448 h 2218029"/>
                <a:gd name="connsiteX9" fmla="*/ 920007 w 920006"/>
                <a:gd name="connsiteY9" fmla="*/ 2130985 h 2218029"/>
                <a:gd name="connsiteX10" fmla="*/ 758813 w 920006"/>
                <a:gd name="connsiteY10" fmla="*/ 1424955 h 2218029"/>
                <a:gd name="connsiteX11" fmla="*/ 791051 w 920006"/>
                <a:gd name="connsiteY11" fmla="*/ 357851 h 2218029"/>
                <a:gd name="connsiteX12" fmla="*/ 678216 w 920006"/>
                <a:gd name="connsiteY12" fmla="*/ 0 h 2218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20006" h="2218029">
                  <a:moveTo>
                    <a:pt x="678216" y="0"/>
                  </a:moveTo>
                  <a:lnTo>
                    <a:pt x="104364" y="0"/>
                  </a:lnTo>
                  <a:cubicBezTo>
                    <a:pt x="104364" y="0"/>
                    <a:pt x="20544" y="261134"/>
                    <a:pt x="1201" y="393314"/>
                  </a:cubicBezTo>
                  <a:cubicBezTo>
                    <a:pt x="-14919" y="525493"/>
                    <a:pt x="136603" y="2195463"/>
                    <a:pt x="136603" y="2195463"/>
                  </a:cubicBezTo>
                  <a:lnTo>
                    <a:pt x="262335" y="2218030"/>
                  </a:lnTo>
                  <a:lnTo>
                    <a:pt x="397738" y="696358"/>
                  </a:lnTo>
                  <a:lnTo>
                    <a:pt x="455768" y="1392717"/>
                  </a:lnTo>
                  <a:cubicBezTo>
                    <a:pt x="455768" y="1408836"/>
                    <a:pt x="462215" y="1424955"/>
                    <a:pt x="465439" y="1437851"/>
                  </a:cubicBezTo>
                  <a:lnTo>
                    <a:pt x="816842" y="2166448"/>
                  </a:lnTo>
                  <a:lnTo>
                    <a:pt x="920007" y="2130985"/>
                  </a:lnTo>
                  <a:lnTo>
                    <a:pt x="758813" y="1424955"/>
                  </a:lnTo>
                  <a:cubicBezTo>
                    <a:pt x="758813" y="1424955"/>
                    <a:pt x="784603" y="415881"/>
                    <a:pt x="791051" y="357851"/>
                  </a:cubicBezTo>
                  <a:cubicBezTo>
                    <a:pt x="803947" y="254687"/>
                    <a:pt x="678216" y="0"/>
                    <a:pt x="678216" y="0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6256420B-7CF1-4A88-9356-01BAD5D53D7E}"/>
                </a:ext>
              </a:extLst>
            </p:cNvPr>
            <p:cNvSpPr/>
            <p:nvPr/>
          </p:nvSpPr>
          <p:spPr>
            <a:xfrm>
              <a:off x="16222759" y="3693740"/>
              <a:ext cx="1431402" cy="1416125"/>
            </a:xfrm>
            <a:custGeom>
              <a:avLst/>
              <a:gdLst>
                <a:gd name="connsiteX0" fmla="*/ 1431403 w 1431402"/>
                <a:gd name="connsiteY0" fmla="*/ 1189612 h 1416125"/>
                <a:gd name="connsiteX1" fmla="*/ 1402388 w 1431402"/>
                <a:gd name="connsiteY1" fmla="*/ 1212179 h 1416125"/>
                <a:gd name="connsiteX2" fmla="*/ 0 w 1431402"/>
                <a:gd name="connsiteY2" fmla="*/ 1347582 h 1416125"/>
                <a:gd name="connsiteX3" fmla="*/ 122508 w 1431402"/>
                <a:gd name="connsiteY3" fmla="*/ 1086448 h 1416125"/>
                <a:gd name="connsiteX4" fmla="*/ 132179 w 1431402"/>
                <a:gd name="connsiteY4" fmla="*/ 1063881 h 1416125"/>
                <a:gd name="connsiteX5" fmla="*/ 206328 w 1431402"/>
                <a:gd name="connsiteY5" fmla="*/ 815642 h 1416125"/>
                <a:gd name="connsiteX6" fmla="*/ 212776 w 1431402"/>
                <a:gd name="connsiteY6" fmla="*/ 789851 h 1416125"/>
                <a:gd name="connsiteX7" fmla="*/ 251463 w 1431402"/>
                <a:gd name="connsiteY7" fmla="*/ 477134 h 1416125"/>
                <a:gd name="connsiteX8" fmla="*/ 251463 w 1431402"/>
                <a:gd name="connsiteY8" fmla="*/ 451343 h 1416125"/>
                <a:gd name="connsiteX9" fmla="*/ 254686 w 1431402"/>
                <a:gd name="connsiteY9" fmla="*/ 393313 h 1416125"/>
                <a:gd name="connsiteX10" fmla="*/ 293373 w 1431402"/>
                <a:gd name="connsiteY10" fmla="*/ 174089 h 1416125"/>
                <a:gd name="connsiteX11" fmla="*/ 299821 w 1431402"/>
                <a:gd name="connsiteY11" fmla="*/ 148298 h 1416125"/>
                <a:gd name="connsiteX12" fmla="*/ 351403 w 1431402"/>
                <a:gd name="connsiteY12" fmla="*/ 16119 h 1416125"/>
                <a:gd name="connsiteX13" fmla="*/ 928478 w 1431402"/>
                <a:gd name="connsiteY13" fmla="*/ 0 h 1416125"/>
                <a:gd name="connsiteX14" fmla="*/ 989732 w 1431402"/>
                <a:gd name="connsiteY14" fmla="*/ 87045 h 1416125"/>
                <a:gd name="connsiteX15" fmla="*/ 1002627 w 1431402"/>
                <a:gd name="connsiteY15" fmla="*/ 109612 h 1416125"/>
                <a:gd name="connsiteX16" fmla="*/ 1002627 w 1431402"/>
                <a:gd name="connsiteY16" fmla="*/ 109612 h 1416125"/>
                <a:gd name="connsiteX17" fmla="*/ 1141254 w 1431402"/>
                <a:gd name="connsiteY17" fmla="*/ 396537 h 1416125"/>
                <a:gd name="connsiteX18" fmla="*/ 1150926 w 1431402"/>
                <a:gd name="connsiteY18" fmla="*/ 419104 h 1416125"/>
                <a:gd name="connsiteX19" fmla="*/ 1270209 w 1431402"/>
                <a:gd name="connsiteY19" fmla="*/ 760836 h 1416125"/>
                <a:gd name="connsiteX20" fmla="*/ 1279881 w 1431402"/>
                <a:gd name="connsiteY20" fmla="*/ 786627 h 1416125"/>
                <a:gd name="connsiteX21" fmla="*/ 1424956 w 1431402"/>
                <a:gd name="connsiteY21" fmla="*/ 1179940 h 1416125"/>
                <a:gd name="connsiteX22" fmla="*/ 1424956 w 1431402"/>
                <a:gd name="connsiteY22" fmla="*/ 1179940 h 1416125"/>
                <a:gd name="connsiteX23" fmla="*/ 1431403 w 1431402"/>
                <a:gd name="connsiteY23" fmla="*/ 1189612 h 1416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431402" h="1416125">
                  <a:moveTo>
                    <a:pt x="1431403" y="1189612"/>
                  </a:moveTo>
                  <a:cubicBezTo>
                    <a:pt x="1421732" y="1196060"/>
                    <a:pt x="1412060" y="1205731"/>
                    <a:pt x="1402388" y="1212179"/>
                  </a:cubicBezTo>
                  <a:cubicBezTo>
                    <a:pt x="1083224" y="1441075"/>
                    <a:pt x="499702" y="1463642"/>
                    <a:pt x="0" y="1347582"/>
                  </a:cubicBezTo>
                  <a:cubicBezTo>
                    <a:pt x="51582" y="1254090"/>
                    <a:pt x="90269" y="1167045"/>
                    <a:pt x="122508" y="1086448"/>
                  </a:cubicBezTo>
                  <a:cubicBezTo>
                    <a:pt x="125731" y="1076776"/>
                    <a:pt x="128955" y="1070328"/>
                    <a:pt x="132179" y="1063881"/>
                  </a:cubicBezTo>
                  <a:cubicBezTo>
                    <a:pt x="167642" y="973612"/>
                    <a:pt x="190209" y="893015"/>
                    <a:pt x="206328" y="815642"/>
                  </a:cubicBezTo>
                  <a:cubicBezTo>
                    <a:pt x="209552" y="805970"/>
                    <a:pt x="209552" y="796299"/>
                    <a:pt x="212776" y="789851"/>
                  </a:cubicBezTo>
                  <a:cubicBezTo>
                    <a:pt x="238567" y="664120"/>
                    <a:pt x="245015" y="560955"/>
                    <a:pt x="251463" y="477134"/>
                  </a:cubicBezTo>
                  <a:cubicBezTo>
                    <a:pt x="251463" y="467463"/>
                    <a:pt x="251463" y="457791"/>
                    <a:pt x="251463" y="451343"/>
                  </a:cubicBezTo>
                  <a:cubicBezTo>
                    <a:pt x="251463" y="432000"/>
                    <a:pt x="254686" y="412657"/>
                    <a:pt x="254686" y="393313"/>
                  </a:cubicBezTo>
                  <a:cubicBezTo>
                    <a:pt x="261135" y="312716"/>
                    <a:pt x="277254" y="238567"/>
                    <a:pt x="293373" y="174089"/>
                  </a:cubicBezTo>
                  <a:cubicBezTo>
                    <a:pt x="296597" y="164418"/>
                    <a:pt x="299821" y="157970"/>
                    <a:pt x="299821" y="148298"/>
                  </a:cubicBezTo>
                  <a:cubicBezTo>
                    <a:pt x="325612" y="58030"/>
                    <a:pt x="351403" y="16119"/>
                    <a:pt x="351403" y="16119"/>
                  </a:cubicBezTo>
                  <a:cubicBezTo>
                    <a:pt x="351403" y="16119"/>
                    <a:pt x="599642" y="35463"/>
                    <a:pt x="928478" y="0"/>
                  </a:cubicBezTo>
                  <a:cubicBezTo>
                    <a:pt x="951045" y="29015"/>
                    <a:pt x="970388" y="58030"/>
                    <a:pt x="989732" y="87045"/>
                  </a:cubicBezTo>
                  <a:cubicBezTo>
                    <a:pt x="992956" y="93492"/>
                    <a:pt x="999403" y="103164"/>
                    <a:pt x="1002627" y="109612"/>
                  </a:cubicBezTo>
                  <a:lnTo>
                    <a:pt x="1002627" y="109612"/>
                  </a:lnTo>
                  <a:cubicBezTo>
                    <a:pt x="1057433" y="196657"/>
                    <a:pt x="1102568" y="293373"/>
                    <a:pt x="1141254" y="396537"/>
                  </a:cubicBezTo>
                  <a:cubicBezTo>
                    <a:pt x="1144478" y="402985"/>
                    <a:pt x="1147702" y="412657"/>
                    <a:pt x="1150926" y="419104"/>
                  </a:cubicBezTo>
                  <a:cubicBezTo>
                    <a:pt x="1192836" y="531940"/>
                    <a:pt x="1231523" y="648000"/>
                    <a:pt x="1270209" y="760836"/>
                  </a:cubicBezTo>
                  <a:cubicBezTo>
                    <a:pt x="1273433" y="770507"/>
                    <a:pt x="1276657" y="776955"/>
                    <a:pt x="1279881" y="786627"/>
                  </a:cubicBezTo>
                  <a:cubicBezTo>
                    <a:pt x="1325015" y="925254"/>
                    <a:pt x="1373373" y="1060657"/>
                    <a:pt x="1424956" y="1179940"/>
                  </a:cubicBezTo>
                  <a:lnTo>
                    <a:pt x="1424956" y="1179940"/>
                  </a:lnTo>
                  <a:cubicBezTo>
                    <a:pt x="1428180" y="1183164"/>
                    <a:pt x="1428180" y="1186388"/>
                    <a:pt x="1431403" y="1189612"/>
                  </a:cubicBezTo>
                  <a:close/>
                </a:path>
              </a:pathLst>
            </a:custGeom>
            <a:solidFill>
              <a:srgbClr val="7F95BC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5BE7A54B-C45B-42FF-B796-B8C783987156}"/>
                </a:ext>
              </a:extLst>
            </p:cNvPr>
            <p:cNvSpPr/>
            <p:nvPr/>
          </p:nvSpPr>
          <p:spPr>
            <a:xfrm>
              <a:off x="16206975" y="3678426"/>
              <a:ext cx="1463414" cy="1443287"/>
            </a:xfrm>
            <a:custGeom>
              <a:avLst/>
              <a:gdLst>
                <a:gd name="connsiteX0" fmla="*/ 1440740 w 1463414"/>
                <a:gd name="connsiteY0" fmla="*/ 1188806 h 1443287"/>
                <a:gd name="connsiteX1" fmla="*/ 1327904 w 1463414"/>
                <a:gd name="connsiteY1" fmla="*/ 1262955 h 1443287"/>
                <a:gd name="connsiteX2" fmla="*/ 863666 w 1463414"/>
                <a:gd name="connsiteY2" fmla="*/ 24985 h 1443287"/>
                <a:gd name="connsiteX3" fmla="*/ 841098 w 1463414"/>
                <a:gd name="connsiteY3" fmla="*/ 37881 h 1443287"/>
                <a:gd name="connsiteX4" fmla="*/ 1302113 w 1463414"/>
                <a:gd name="connsiteY4" fmla="*/ 1275851 h 1443287"/>
                <a:gd name="connsiteX5" fmla="*/ 1134471 w 1463414"/>
                <a:gd name="connsiteY5" fmla="*/ 1359672 h 1443287"/>
                <a:gd name="connsiteX6" fmla="*/ 1031307 w 1463414"/>
                <a:gd name="connsiteY6" fmla="*/ 1388687 h 1443287"/>
                <a:gd name="connsiteX7" fmla="*/ 1011963 w 1463414"/>
                <a:gd name="connsiteY7" fmla="*/ 708448 h 1443287"/>
                <a:gd name="connsiteX8" fmla="*/ 783069 w 1463414"/>
                <a:gd name="connsiteY8" fmla="*/ 34657 h 1443287"/>
                <a:gd name="connsiteX9" fmla="*/ 757277 w 1463414"/>
                <a:gd name="connsiteY9" fmla="*/ 41105 h 1443287"/>
                <a:gd name="connsiteX10" fmla="*/ 979725 w 1463414"/>
                <a:gd name="connsiteY10" fmla="*/ 689105 h 1443287"/>
                <a:gd name="connsiteX11" fmla="*/ 1005516 w 1463414"/>
                <a:gd name="connsiteY11" fmla="*/ 1388687 h 1443287"/>
                <a:gd name="connsiteX12" fmla="*/ 1005516 w 1463414"/>
                <a:gd name="connsiteY12" fmla="*/ 1388687 h 1443287"/>
                <a:gd name="connsiteX13" fmla="*/ 760501 w 1463414"/>
                <a:gd name="connsiteY13" fmla="*/ 1408030 h 1443287"/>
                <a:gd name="connsiteX14" fmla="*/ 667009 w 1463414"/>
                <a:gd name="connsiteY14" fmla="*/ 1411254 h 1443287"/>
                <a:gd name="connsiteX15" fmla="*/ 718591 w 1463414"/>
                <a:gd name="connsiteY15" fmla="*/ 12090 h 1443287"/>
                <a:gd name="connsiteX16" fmla="*/ 692799 w 1463414"/>
                <a:gd name="connsiteY16" fmla="*/ 12090 h 1443287"/>
                <a:gd name="connsiteX17" fmla="*/ 641217 w 1463414"/>
                <a:gd name="connsiteY17" fmla="*/ 1414478 h 1443287"/>
                <a:gd name="connsiteX18" fmla="*/ 322053 w 1463414"/>
                <a:gd name="connsiteY18" fmla="*/ 1404806 h 1443287"/>
                <a:gd name="connsiteX19" fmla="*/ 541278 w 1463414"/>
                <a:gd name="connsiteY19" fmla="*/ 31433 h 1443287"/>
                <a:gd name="connsiteX20" fmla="*/ 518710 w 1463414"/>
                <a:gd name="connsiteY20" fmla="*/ 18537 h 1443287"/>
                <a:gd name="connsiteX21" fmla="*/ 296262 w 1463414"/>
                <a:gd name="connsiteY21" fmla="*/ 1401582 h 1443287"/>
                <a:gd name="connsiteX22" fmla="*/ 15784 w 1463414"/>
                <a:gd name="connsiteY22" fmla="*/ 1340329 h 1443287"/>
                <a:gd name="connsiteX23" fmla="*/ 9337 w 1463414"/>
                <a:gd name="connsiteY23" fmla="*/ 1366119 h 1443287"/>
                <a:gd name="connsiteX24" fmla="*/ 789516 w 1463414"/>
                <a:gd name="connsiteY24" fmla="*/ 1437045 h 1443287"/>
                <a:gd name="connsiteX25" fmla="*/ 1147367 w 1463414"/>
                <a:gd name="connsiteY25" fmla="*/ 1385463 h 1443287"/>
                <a:gd name="connsiteX26" fmla="*/ 1460084 w 1463414"/>
                <a:gd name="connsiteY26" fmla="*/ 1211373 h 1443287"/>
                <a:gd name="connsiteX27" fmla="*/ 1440740 w 1463414"/>
                <a:gd name="connsiteY27" fmla="*/ 1188806 h 144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463414" h="1443287">
                  <a:moveTo>
                    <a:pt x="1440740" y="1188806"/>
                  </a:moveTo>
                  <a:cubicBezTo>
                    <a:pt x="1402053" y="1214597"/>
                    <a:pt x="1366590" y="1237164"/>
                    <a:pt x="1327904" y="1262955"/>
                  </a:cubicBezTo>
                  <a:cubicBezTo>
                    <a:pt x="1253754" y="824508"/>
                    <a:pt x="1095785" y="405403"/>
                    <a:pt x="863666" y="24985"/>
                  </a:cubicBezTo>
                  <a:cubicBezTo>
                    <a:pt x="853993" y="12090"/>
                    <a:pt x="831427" y="24985"/>
                    <a:pt x="841098" y="37881"/>
                  </a:cubicBezTo>
                  <a:cubicBezTo>
                    <a:pt x="1073218" y="418298"/>
                    <a:pt x="1231188" y="837403"/>
                    <a:pt x="1302113" y="1275851"/>
                  </a:cubicBezTo>
                  <a:cubicBezTo>
                    <a:pt x="1247307" y="1308090"/>
                    <a:pt x="1192501" y="1337104"/>
                    <a:pt x="1134471" y="1359672"/>
                  </a:cubicBezTo>
                  <a:cubicBezTo>
                    <a:pt x="1102233" y="1372567"/>
                    <a:pt x="1066770" y="1382239"/>
                    <a:pt x="1031307" y="1388687"/>
                  </a:cubicBezTo>
                  <a:cubicBezTo>
                    <a:pt x="1044202" y="1163015"/>
                    <a:pt x="1060322" y="930896"/>
                    <a:pt x="1011963" y="708448"/>
                  </a:cubicBezTo>
                  <a:cubicBezTo>
                    <a:pt x="960382" y="479552"/>
                    <a:pt x="873337" y="250657"/>
                    <a:pt x="783069" y="34657"/>
                  </a:cubicBezTo>
                  <a:cubicBezTo>
                    <a:pt x="776620" y="18537"/>
                    <a:pt x="750830" y="24985"/>
                    <a:pt x="757277" y="41105"/>
                  </a:cubicBezTo>
                  <a:cubicBezTo>
                    <a:pt x="844322" y="250657"/>
                    <a:pt x="928143" y="469881"/>
                    <a:pt x="979725" y="689105"/>
                  </a:cubicBezTo>
                  <a:cubicBezTo>
                    <a:pt x="1034531" y="918000"/>
                    <a:pt x="1018412" y="1156567"/>
                    <a:pt x="1005516" y="1388687"/>
                  </a:cubicBezTo>
                  <a:cubicBezTo>
                    <a:pt x="1005516" y="1388687"/>
                    <a:pt x="1005516" y="1388687"/>
                    <a:pt x="1005516" y="1388687"/>
                  </a:cubicBezTo>
                  <a:cubicBezTo>
                    <a:pt x="924919" y="1401582"/>
                    <a:pt x="841098" y="1404806"/>
                    <a:pt x="760501" y="1408030"/>
                  </a:cubicBezTo>
                  <a:cubicBezTo>
                    <a:pt x="728262" y="1408030"/>
                    <a:pt x="699248" y="1411254"/>
                    <a:pt x="667009" y="1411254"/>
                  </a:cubicBezTo>
                  <a:cubicBezTo>
                    <a:pt x="715367" y="947015"/>
                    <a:pt x="731486" y="479552"/>
                    <a:pt x="718591" y="12090"/>
                  </a:cubicBezTo>
                  <a:cubicBezTo>
                    <a:pt x="718591" y="-4030"/>
                    <a:pt x="692799" y="-4030"/>
                    <a:pt x="692799" y="12090"/>
                  </a:cubicBezTo>
                  <a:cubicBezTo>
                    <a:pt x="708919" y="479552"/>
                    <a:pt x="689575" y="947015"/>
                    <a:pt x="641217" y="1414478"/>
                  </a:cubicBezTo>
                  <a:cubicBezTo>
                    <a:pt x="534829" y="1417702"/>
                    <a:pt x="428442" y="1414478"/>
                    <a:pt x="322053" y="1404806"/>
                  </a:cubicBezTo>
                  <a:cubicBezTo>
                    <a:pt x="576740" y="985702"/>
                    <a:pt x="338173" y="466657"/>
                    <a:pt x="541278" y="31433"/>
                  </a:cubicBezTo>
                  <a:cubicBezTo>
                    <a:pt x="547725" y="15314"/>
                    <a:pt x="525158" y="2418"/>
                    <a:pt x="518710" y="18537"/>
                  </a:cubicBezTo>
                  <a:cubicBezTo>
                    <a:pt x="315606" y="456985"/>
                    <a:pt x="560620" y="985702"/>
                    <a:pt x="296262" y="1401582"/>
                  </a:cubicBezTo>
                  <a:cubicBezTo>
                    <a:pt x="202770" y="1388687"/>
                    <a:pt x="106054" y="1372567"/>
                    <a:pt x="15784" y="1340329"/>
                  </a:cubicBezTo>
                  <a:cubicBezTo>
                    <a:pt x="-335" y="1333881"/>
                    <a:pt x="-6782" y="1359672"/>
                    <a:pt x="9337" y="1366119"/>
                  </a:cubicBezTo>
                  <a:cubicBezTo>
                    <a:pt x="260800" y="1449940"/>
                    <a:pt x="525158" y="1449940"/>
                    <a:pt x="789516" y="1437045"/>
                  </a:cubicBezTo>
                  <a:cubicBezTo>
                    <a:pt x="912024" y="1430597"/>
                    <a:pt x="1031307" y="1427373"/>
                    <a:pt x="1147367" y="1385463"/>
                  </a:cubicBezTo>
                  <a:cubicBezTo>
                    <a:pt x="1260203" y="1343552"/>
                    <a:pt x="1360143" y="1279075"/>
                    <a:pt x="1460084" y="1211373"/>
                  </a:cubicBezTo>
                  <a:cubicBezTo>
                    <a:pt x="1469755" y="1201702"/>
                    <a:pt x="1456860" y="1179135"/>
                    <a:pt x="1440740" y="1188806"/>
                  </a:cubicBez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E270962B-0DD8-4A15-8B29-2FA8F0099BA1}"/>
                </a:ext>
              </a:extLst>
            </p:cNvPr>
            <p:cNvSpPr/>
            <p:nvPr/>
          </p:nvSpPr>
          <p:spPr>
            <a:xfrm>
              <a:off x="16882673" y="2167296"/>
              <a:ext cx="586571" cy="970310"/>
            </a:xfrm>
            <a:custGeom>
              <a:avLst/>
              <a:gdLst>
                <a:gd name="connsiteX0" fmla="*/ 26773 w 586571"/>
                <a:gd name="connsiteY0" fmla="*/ 697906 h 970310"/>
                <a:gd name="connsiteX1" fmla="*/ 158951 w 586571"/>
                <a:gd name="connsiteY1" fmla="*/ 952593 h 970310"/>
                <a:gd name="connsiteX2" fmla="*/ 333042 w 586571"/>
                <a:gd name="connsiteY2" fmla="*/ 968712 h 970310"/>
                <a:gd name="connsiteX3" fmla="*/ 503907 w 586571"/>
                <a:gd name="connsiteY3" fmla="*/ 942921 h 970310"/>
                <a:gd name="connsiteX4" fmla="*/ 581280 w 586571"/>
                <a:gd name="connsiteY4" fmla="*/ 794622 h 970310"/>
                <a:gd name="connsiteX5" fmla="*/ 455549 w 586571"/>
                <a:gd name="connsiteY5" fmla="*/ 617309 h 970310"/>
                <a:gd name="connsiteX6" fmla="*/ 439429 w 586571"/>
                <a:gd name="connsiteY6" fmla="*/ 469010 h 970310"/>
                <a:gd name="connsiteX7" fmla="*/ 352384 w 586571"/>
                <a:gd name="connsiteY7" fmla="*/ 385190 h 970310"/>
                <a:gd name="connsiteX8" fmla="*/ 310474 w 586571"/>
                <a:gd name="connsiteY8" fmla="*/ 198204 h 970310"/>
                <a:gd name="connsiteX9" fmla="*/ 4205 w 586571"/>
                <a:gd name="connsiteY9" fmla="*/ 1548 h 970310"/>
                <a:gd name="connsiteX10" fmla="*/ 59012 w 586571"/>
                <a:gd name="connsiteY10" fmla="*/ 46682 h 970310"/>
                <a:gd name="connsiteX11" fmla="*/ 117041 w 586571"/>
                <a:gd name="connsiteY11" fmla="*/ 72473 h 970310"/>
                <a:gd name="connsiteX12" fmla="*/ 26773 w 586571"/>
                <a:gd name="connsiteY12" fmla="*/ 697906 h 97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6571" h="970310">
                  <a:moveTo>
                    <a:pt x="26773" y="697906"/>
                  </a:moveTo>
                  <a:cubicBezTo>
                    <a:pt x="46115" y="797846"/>
                    <a:pt x="49339" y="913906"/>
                    <a:pt x="158951" y="952593"/>
                  </a:cubicBezTo>
                  <a:cubicBezTo>
                    <a:pt x="213758" y="971936"/>
                    <a:pt x="275011" y="971936"/>
                    <a:pt x="333042" y="968712"/>
                  </a:cubicBezTo>
                  <a:cubicBezTo>
                    <a:pt x="387847" y="965488"/>
                    <a:pt x="452325" y="965488"/>
                    <a:pt x="503907" y="942921"/>
                  </a:cubicBezTo>
                  <a:cubicBezTo>
                    <a:pt x="565160" y="917130"/>
                    <a:pt x="600623" y="859100"/>
                    <a:pt x="581280" y="794622"/>
                  </a:cubicBezTo>
                  <a:cubicBezTo>
                    <a:pt x="558713" y="723697"/>
                    <a:pt x="471668" y="688234"/>
                    <a:pt x="455549" y="617309"/>
                  </a:cubicBezTo>
                  <a:cubicBezTo>
                    <a:pt x="445877" y="565727"/>
                    <a:pt x="471668" y="517369"/>
                    <a:pt x="439429" y="469010"/>
                  </a:cubicBezTo>
                  <a:cubicBezTo>
                    <a:pt x="416862" y="433548"/>
                    <a:pt x="374952" y="417428"/>
                    <a:pt x="352384" y="385190"/>
                  </a:cubicBezTo>
                  <a:cubicBezTo>
                    <a:pt x="310474" y="330384"/>
                    <a:pt x="336265" y="259458"/>
                    <a:pt x="310474" y="198204"/>
                  </a:cubicBezTo>
                  <a:cubicBezTo>
                    <a:pt x="268564" y="98264"/>
                    <a:pt x="120265" y="-14572"/>
                    <a:pt x="4205" y="1548"/>
                  </a:cubicBezTo>
                  <a:cubicBezTo>
                    <a:pt x="-15138" y="4772"/>
                    <a:pt x="39668" y="37010"/>
                    <a:pt x="59012" y="46682"/>
                  </a:cubicBezTo>
                  <a:cubicBezTo>
                    <a:pt x="78354" y="53130"/>
                    <a:pt x="97698" y="62801"/>
                    <a:pt x="117041" y="72473"/>
                  </a:cubicBezTo>
                  <a:cubicBezTo>
                    <a:pt x="-37705" y="217548"/>
                    <a:pt x="-5466" y="510921"/>
                    <a:pt x="26773" y="697906"/>
                  </a:cubicBez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06831267-F927-4EFE-82D1-7852D02FBC14}"/>
                </a:ext>
              </a:extLst>
            </p:cNvPr>
            <p:cNvSpPr/>
            <p:nvPr/>
          </p:nvSpPr>
          <p:spPr>
            <a:xfrm>
              <a:off x="16345340" y="2160057"/>
              <a:ext cx="548397" cy="903338"/>
            </a:xfrm>
            <a:custGeom>
              <a:avLst/>
              <a:gdLst>
                <a:gd name="connsiteX0" fmla="*/ 477061 w 548397"/>
                <a:gd name="connsiteY0" fmla="*/ 495593 h 903338"/>
                <a:gd name="connsiteX1" fmla="*/ 467390 w 548397"/>
                <a:gd name="connsiteY1" fmla="*/ 324727 h 903338"/>
                <a:gd name="connsiteX2" fmla="*/ 512524 w 548397"/>
                <a:gd name="connsiteY2" fmla="*/ 169981 h 903338"/>
                <a:gd name="connsiteX3" fmla="*/ 547987 w 548397"/>
                <a:gd name="connsiteY3" fmla="*/ 8787 h 903338"/>
                <a:gd name="connsiteX4" fmla="*/ 219150 w 548397"/>
                <a:gd name="connsiteY4" fmla="*/ 202220 h 903338"/>
                <a:gd name="connsiteX5" fmla="*/ 219150 w 548397"/>
                <a:gd name="connsiteY5" fmla="*/ 263473 h 903338"/>
                <a:gd name="connsiteX6" fmla="*/ 167568 w 548397"/>
                <a:gd name="connsiteY6" fmla="*/ 324727 h 903338"/>
                <a:gd name="connsiteX7" fmla="*/ 112763 w 548397"/>
                <a:gd name="connsiteY7" fmla="*/ 395653 h 903338"/>
                <a:gd name="connsiteX8" fmla="*/ 112763 w 548397"/>
                <a:gd name="connsiteY8" fmla="*/ 489145 h 903338"/>
                <a:gd name="connsiteX9" fmla="*/ 90195 w 548397"/>
                <a:gd name="connsiteY9" fmla="*/ 569742 h 903338"/>
                <a:gd name="connsiteX10" fmla="*/ 16046 w 548397"/>
                <a:gd name="connsiteY10" fmla="*/ 676130 h 903338"/>
                <a:gd name="connsiteX11" fmla="*/ 67628 w 548397"/>
                <a:gd name="connsiteY11" fmla="*/ 876011 h 903338"/>
                <a:gd name="connsiteX12" fmla="*/ 283628 w 548397"/>
                <a:gd name="connsiteY12" fmla="*/ 901802 h 903338"/>
                <a:gd name="connsiteX13" fmla="*/ 290076 w 548397"/>
                <a:gd name="connsiteY13" fmla="*/ 805085 h 903338"/>
                <a:gd name="connsiteX14" fmla="*/ 390016 w 548397"/>
                <a:gd name="connsiteY14" fmla="*/ 795414 h 903338"/>
                <a:gd name="connsiteX15" fmla="*/ 486732 w 548397"/>
                <a:gd name="connsiteY15" fmla="*/ 627772 h 903338"/>
                <a:gd name="connsiteX16" fmla="*/ 477061 w 548397"/>
                <a:gd name="connsiteY16" fmla="*/ 495593 h 903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48397" h="903338">
                  <a:moveTo>
                    <a:pt x="477061" y="495593"/>
                  </a:moveTo>
                  <a:cubicBezTo>
                    <a:pt x="467390" y="440787"/>
                    <a:pt x="460941" y="382757"/>
                    <a:pt x="467390" y="324727"/>
                  </a:cubicBezTo>
                  <a:cubicBezTo>
                    <a:pt x="473837" y="269921"/>
                    <a:pt x="489956" y="218339"/>
                    <a:pt x="512524" y="169981"/>
                  </a:cubicBezTo>
                  <a:cubicBezTo>
                    <a:pt x="535090" y="118399"/>
                    <a:pt x="551210" y="8787"/>
                    <a:pt x="547987" y="8787"/>
                  </a:cubicBezTo>
                  <a:cubicBezTo>
                    <a:pt x="425479" y="-29900"/>
                    <a:pt x="215926" y="63593"/>
                    <a:pt x="219150" y="202220"/>
                  </a:cubicBezTo>
                  <a:cubicBezTo>
                    <a:pt x="219150" y="221563"/>
                    <a:pt x="222374" y="244130"/>
                    <a:pt x="219150" y="263473"/>
                  </a:cubicBezTo>
                  <a:cubicBezTo>
                    <a:pt x="212702" y="295712"/>
                    <a:pt x="193360" y="308608"/>
                    <a:pt x="167568" y="324727"/>
                  </a:cubicBezTo>
                  <a:cubicBezTo>
                    <a:pt x="141777" y="344070"/>
                    <a:pt x="122434" y="366638"/>
                    <a:pt x="112763" y="395653"/>
                  </a:cubicBezTo>
                  <a:cubicBezTo>
                    <a:pt x="103090" y="427891"/>
                    <a:pt x="106315" y="456906"/>
                    <a:pt x="112763" y="489145"/>
                  </a:cubicBezTo>
                  <a:cubicBezTo>
                    <a:pt x="119210" y="521384"/>
                    <a:pt x="119210" y="547175"/>
                    <a:pt x="90195" y="569742"/>
                  </a:cubicBezTo>
                  <a:cubicBezTo>
                    <a:pt x="74076" y="585861"/>
                    <a:pt x="22493" y="656787"/>
                    <a:pt x="16046" y="676130"/>
                  </a:cubicBezTo>
                  <a:cubicBezTo>
                    <a:pt x="-25865" y="785742"/>
                    <a:pt x="22493" y="830876"/>
                    <a:pt x="67628" y="876011"/>
                  </a:cubicBezTo>
                  <a:cubicBezTo>
                    <a:pt x="128882" y="934041"/>
                    <a:pt x="219150" y="863115"/>
                    <a:pt x="283628" y="901802"/>
                  </a:cubicBezTo>
                  <a:cubicBezTo>
                    <a:pt x="309419" y="917921"/>
                    <a:pt x="257837" y="801862"/>
                    <a:pt x="290076" y="805085"/>
                  </a:cubicBezTo>
                  <a:cubicBezTo>
                    <a:pt x="319091" y="808309"/>
                    <a:pt x="361001" y="805085"/>
                    <a:pt x="390016" y="795414"/>
                  </a:cubicBezTo>
                  <a:cubicBezTo>
                    <a:pt x="444822" y="772847"/>
                    <a:pt x="477061" y="682578"/>
                    <a:pt x="486732" y="627772"/>
                  </a:cubicBezTo>
                  <a:cubicBezTo>
                    <a:pt x="493180" y="585861"/>
                    <a:pt x="483509" y="540727"/>
                    <a:pt x="477061" y="495593"/>
                  </a:cubicBez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0AD9B722-6E89-4BF2-9233-5715BFC734B3}"/>
                </a:ext>
              </a:extLst>
            </p:cNvPr>
            <p:cNvSpPr/>
            <p:nvPr/>
          </p:nvSpPr>
          <p:spPr>
            <a:xfrm>
              <a:off x="15635888" y="3084573"/>
              <a:ext cx="855511" cy="393618"/>
            </a:xfrm>
            <a:custGeom>
              <a:avLst/>
              <a:gdLst>
                <a:gd name="connsiteX0" fmla="*/ 690036 w 855511"/>
                <a:gd name="connsiteY0" fmla="*/ 12749 h 393618"/>
                <a:gd name="connsiteX1" fmla="*/ 374095 w 855511"/>
                <a:gd name="connsiteY1" fmla="*/ 225525 h 393618"/>
                <a:gd name="connsiteX2" fmla="*/ 19468 w 855511"/>
                <a:gd name="connsiteY2" fmla="*/ 167495 h 393618"/>
                <a:gd name="connsiteX3" fmla="*/ 13021 w 855511"/>
                <a:gd name="connsiteY3" fmla="*/ 254540 h 393618"/>
                <a:gd name="connsiteX4" fmla="*/ 383767 w 855511"/>
                <a:gd name="connsiteY4" fmla="*/ 393167 h 393618"/>
                <a:gd name="connsiteX5" fmla="*/ 831886 w 855511"/>
                <a:gd name="connsiteY5" fmla="*/ 199734 h 393618"/>
                <a:gd name="connsiteX6" fmla="*/ 690036 w 855511"/>
                <a:gd name="connsiteY6" fmla="*/ 12749 h 393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5511" h="393618">
                  <a:moveTo>
                    <a:pt x="690036" y="12749"/>
                  </a:moveTo>
                  <a:cubicBezTo>
                    <a:pt x="622334" y="48212"/>
                    <a:pt x="374095" y="225525"/>
                    <a:pt x="374095" y="225525"/>
                  </a:cubicBezTo>
                  <a:cubicBezTo>
                    <a:pt x="374095" y="225525"/>
                    <a:pt x="22692" y="164271"/>
                    <a:pt x="19468" y="167495"/>
                  </a:cubicBezTo>
                  <a:cubicBezTo>
                    <a:pt x="-15994" y="215853"/>
                    <a:pt x="6573" y="196510"/>
                    <a:pt x="13021" y="254540"/>
                  </a:cubicBezTo>
                  <a:cubicBezTo>
                    <a:pt x="13021" y="264212"/>
                    <a:pt x="167767" y="351256"/>
                    <a:pt x="383767" y="393167"/>
                  </a:cubicBezTo>
                  <a:cubicBezTo>
                    <a:pt x="441796" y="402838"/>
                    <a:pt x="715826" y="254540"/>
                    <a:pt x="831886" y="199734"/>
                  </a:cubicBezTo>
                  <a:cubicBezTo>
                    <a:pt x="896364" y="167495"/>
                    <a:pt x="822215" y="-54953"/>
                    <a:pt x="690036" y="12749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609B3460-EA13-4CAD-A8A0-827DCDF992B5}"/>
                </a:ext>
              </a:extLst>
            </p:cNvPr>
            <p:cNvSpPr/>
            <p:nvPr/>
          </p:nvSpPr>
          <p:spPr>
            <a:xfrm>
              <a:off x="16293615" y="2921419"/>
              <a:ext cx="372255" cy="424141"/>
            </a:xfrm>
            <a:custGeom>
              <a:avLst/>
              <a:gdLst>
                <a:gd name="connsiteX0" fmla="*/ 164488 w 372255"/>
                <a:gd name="connsiteY0" fmla="*/ 424142 h 424141"/>
                <a:gd name="connsiteX1" fmla="*/ 370816 w 372255"/>
                <a:gd name="connsiteY1" fmla="*/ 30828 h 424141"/>
                <a:gd name="connsiteX2" fmla="*/ 70 w 372255"/>
                <a:gd name="connsiteY2" fmla="*/ 146888 h 424141"/>
                <a:gd name="connsiteX3" fmla="*/ 164488 w 372255"/>
                <a:gd name="connsiteY3" fmla="*/ 424142 h 424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2255" h="424141">
                  <a:moveTo>
                    <a:pt x="164488" y="424142"/>
                  </a:moveTo>
                  <a:cubicBezTo>
                    <a:pt x="309562" y="359664"/>
                    <a:pt x="383711" y="98530"/>
                    <a:pt x="370816" y="30828"/>
                  </a:cubicBezTo>
                  <a:cubicBezTo>
                    <a:pt x="351472" y="-56216"/>
                    <a:pt x="154815" y="59843"/>
                    <a:pt x="70" y="146888"/>
                  </a:cubicBezTo>
                  <a:cubicBezTo>
                    <a:pt x="-3154" y="214590"/>
                    <a:pt x="106457" y="359664"/>
                    <a:pt x="164488" y="424142"/>
                  </a:cubicBezTo>
                  <a:close/>
                </a:path>
              </a:pathLst>
            </a:custGeom>
            <a:solidFill>
              <a:srgbClr val="F6EBE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D5BF726D-3C02-4582-901D-8320349F8697}"/>
                </a:ext>
              </a:extLst>
            </p:cNvPr>
            <p:cNvSpPr/>
            <p:nvPr/>
          </p:nvSpPr>
          <p:spPr>
            <a:xfrm>
              <a:off x="16522636" y="2870979"/>
              <a:ext cx="670907" cy="844634"/>
            </a:xfrm>
            <a:custGeom>
              <a:avLst/>
              <a:gdLst>
                <a:gd name="connsiteX0" fmla="*/ 631825 w 670907"/>
                <a:gd name="connsiteY0" fmla="*/ 335955 h 844634"/>
                <a:gd name="connsiteX1" fmla="*/ 618929 w 670907"/>
                <a:gd name="connsiteY1" fmla="*/ 58701 h 844634"/>
                <a:gd name="connsiteX2" fmla="*/ 302989 w 670907"/>
                <a:gd name="connsiteY2" fmla="*/ 3895 h 844634"/>
                <a:gd name="connsiteX3" fmla="*/ 45079 w 670907"/>
                <a:gd name="connsiteY3" fmla="*/ 90940 h 844634"/>
                <a:gd name="connsiteX4" fmla="*/ 48303 w 670907"/>
                <a:gd name="connsiteY4" fmla="*/ 838880 h 844634"/>
                <a:gd name="connsiteX5" fmla="*/ 631825 w 670907"/>
                <a:gd name="connsiteY5" fmla="*/ 825984 h 844634"/>
                <a:gd name="connsiteX6" fmla="*/ 631825 w 670907"/>
                <a:gd name="connsiteY6" fmla="*/ 335955 h 844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0907" h="844634">
                  <a:moveTo>
                    <a:pt x="631825" y="335955"/>
                  </a:moveTo>
                  <a:cubicBezTo>
                    <a:pt x="641497" y="310164"/>
                    <a:pt x="722094" y="113507"/>
                    <a:pt x="618929" y="58701"/>
                  </a:cubicBezTo>
                  <a:cubicBezTo>
                    <a:pt x="528661" y="10343"/>
                    <a:pt x="402930" y="-9001"/>
                    <a:pt x="302989" y="3895"/>
                  </a:cubicBezTo>
                  <a:cubicBezTo>
                    <a:pt x="190154" y="16790"/>
                    <a:pt x="77318" y="36134"/>
                    <a:pt x="45079" y="90940"/>
                  </a:cubicBezTo>
                  <a:cubicBezTo>
                    <a:pt x="-51638" y="252134"/>
                    <a:pt x="35407" y="726044"/>
                    <a:pt x="48303" y="838880"/>
                  </a:cubicBezTo>
                  <a:cubicBezTo>
                    <a:pt x="48303" y="838880"/>
                    <a:pt x="293317" y="858223"/>
                    <a:pt x="631825" y="825984"/>
                  </a:cubicBezTo>
                  <a:cubicBezTo>
                    <a:pt x="602810" y="638999"/>
                    <a:pt x="625377" y="355298"/>
                    <a:pt x="631825" y="335955"/>
                  </a:cubicBezTo>
                  <a:close/>
                </a:path>
              </a:pathLst>
            </a:custGeom>
            <a:solidFill>
              <a:srgbClr val="F6EBE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8FB8B916-84A9-43E9-BF14-C7D8AB8BA3F7}"/>
                </a:ext>
              </a:extLst>
            </p:cNvPr>
            <p:cNvSpPr/>
            <p:nvPr/>
          </p:nvSpPr>
          <p:spPr>
            <a:xfrm>
              <a:off x="16732133" y="2716904"/>
              <a:ext cx="264357" cy="280477"/>
            </a:xfrm>
            <a:custGeom>
              <a:avLst/>
              <a:gdLst>
                <a:gd name="connsiteX0" fmla="*/ 35462 w 264357"/>
                <a:gd name="connsiteY0" fmla="*/ 38687 h 280477"/>
                <a:gd name="connsiteX1" fmla="*/ 0 w 264357"/>
                <a:gd name="connsiteY1" fmla="*/ 174090 h 280477"/>
                <a:gd name="connsiteX2" fmla="*/ 96716 w 264357"/>
                <a:gd name="connsiteY2" fmla="*/ 280478 h 280477"/>
                <a:gd name="connsiteX3" fmla="*/ 264358 w 264357"/>
                <a:gd name="connsiteY3" fmla="*/ 161194 h 280477"/>
                <a:gd name="connsiteX4" fmla="*/ 232119 w 264357"/>
                <a:gd name="connsiteY4" fmla="*/ 0 h 280477"/>
                <a:gd name="connsiteX5" fmla="*/ 35462 w 264357"/>
                <a:gd name="connsiteY5" fmla="*/ 38687 h 28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4357" h="280477">
                  <a:moveTo>
                    <a:pt x="35462" y="38687"/>
                  </a:moveTo>
                  <a:cubicBezTo>
                    <a:pt x="35462" y="38687"/>
                    <a:pt x="29015" y="148299"/>
                    <a:pt x="0" y="174090"/>
                  </a:cubicBezTo>
                  <a:lnTo>
                    <a:pt x="96716" y="280478"/>
                  </a:lnTo>
                  <a:cubicBezTo>
                    <a:pt x="96716" y="280478"/>
                    <a:pt x="215999" y="186985"/>
                    <a:pt x="264358" y="161194"/>
                  </a:cubicBezTo>
                  <a:cubicBezTo>
                    <a:pt x="235343" y="122508"/>
                    <a:pt x="232119" y="54806"/>
                    <a:pt x="232119" y="0"/>
                  </a:cubicBezTo>
                  <a:cubicBezTo>
                    <a:pt x="232119" y="0"/>
                    <a:pt x="80597" y="41910"/>
                    <a:pt x="35462" y="38687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99FCF837-6434-49D5-8A2E-940EE5129BC5}"/>
                </a:ext>
              </a:extLst>
            </p:cNvPr>
            <p:cNvSpPr/>
            <p:nvPr/>
          </p:nvSpPr>
          <p:spPr>
            <a:xfrm>
              <a:off x="16519014" y="2955471"/>
              <a:ext cx="55147" cy="480358"/>
            </a:xfrm>
            <a:custGeom>
              <a:avLst/>
              <a:gdLst>
                <a:gd name="connsiteX0" fmla="*/ 16462 w 55147"/>
                <a:gd name="connsiteY0" fmla="*/ 480358 h 480358"/>
                <a:gd name="connsiteX1" fmla="*/ 10014 w 55147"/>
                <a:gd name="connsiteY1" fmla="*/ 477134 h 480358"/>
                <a:gd name="connsiteX2" fmla="*/ 42253 w 55147"/>
                <a:gd name="connsiteY2" fmla="*/ 3224 h 480358"/>
                <a:gd name="connsiteX3" fmla="*/ 51925 w 55147"/>
                <a:gd name="connsiteY3" fmla="*/ 0 h 480358"/>
                <a:gd name="connsiteX4" fmla="*/ 55148 w 55147"/>
                <a:gd name="connsiteY4" fmla="*/ 9672 h 480358"/>
                <a:gd name="connsiteX5" fmla="*/ 22909 w 55147"/>
                <a:gd name="connsiteY5" fmla="*/ 473910 h 480358"/>
                <a:gd name="connsiteX6" fmla="*/ 16462 w 55147"/>
                <a:gd name="connsiteY6" fmla="*/ 480358 h 480358"/>
                <a:gd name="connsiteX7" fmla="*/ 16462 w 55147"/>
                <a:gd name="connsiteY7" fmla="*/ 480358 h 48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147" h="480358">
                  <a:moveTo>
                    <a:pt x="16462" y="480358"/>
                  </a:moveTo>
                  <a:cubicBezTo>
                    <a:pt x="13238" y="480358"/>
                    <a:pt x="10014" y="477134"/>
                    <a:pt x="10014" y="477134"/>
                  </a:cubicBezTo>
                  <a:cubicBezTo>
                    <a:pt x="-2882" y="425552"/>
                    <a:pt x="-12553" y="90269"/>
                    <a:pt x="42253" y="3224"/>
                  </a:cubicBezTo>
                  <a:cubicBezTo>
                    <a:pt x="45477" y="0"/>
                    <a:pt x="48701" y="0"/>
                    <a:pt x="51925" y="0"/>
                  </a:cubicBezTo>
                  <a:cubicBezTo>
                    <a:pt x="55148" y="3224"/>
                    <a:pt x="55148" y="6448"/>
                    <a:pt x="55148" y="9672"/>
                  </a:cubicBezTo>
                  <a:cubicBezTo>
                    <a:pt x="343" y="93493"/>
                    <a:pt x="10014" y="425552"/>
                    <a:pt x="22909" y="473910"/>
                  </a:cubicBezTo>
                  <a:cubicBezTo>
                    <a:pt x="22909" y="473910"/>
                    <a:pt x="22909" y="477134"/>
                    <a:pt x="16462" y="480358"/>
                  </a:cubicBezTo>
                  <a:cubicBezTo>
                    <a:pt x="16462" y="480358"/>
                    <a:pt x="16462" y="480358"/>
                    <a:pt x="16462" y="480358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38AD0979-7DE0-42D2-A35A-D196D398568D}"/>
                </a:ext>
              </a:extLst>
            </p:cNvPr>
            <p:cNvSpPr/>
            <p:nvPr/>
          </p:nvSpPr>
          <p:spPr>
            <a:xfrm>
              <a:off x="16709565" y="2874874"/>
              <a:ext cx="309492" cy="132179"/>
            </a:xfrm>
            <a:custGeom>
              <a:avLst/>
              <a:gdLst>
                <a:gd name="connsiteX0" fmla="*/ 29015 w 309492"/>
                <a:gd name="connsiteY0" fmla="*/ 9672 h 132179"/>
                <a:gd name="connsiteX1" fmla="*/ 119284 w 309492"/>
                <a:gd name="connsiteY1" fmla="*/ 106388 h 132179"/>
                <a:gd name="connsiteX2" fmla="*/ 286925 w 309492"/>
                <a:gd name="connsiteY2" fmla="*/ 0 h 132179"/>
                <a:gd name="connsiteX3" fmla="*/ 309493 w 309492"/>
                <a:gd name="connsiteY3" fmla="*/ 6448 h 132179"/>
                <a:gd name="connsiteX4" fmla="*/ 119284 w 309492"/>
                <a:gd name="connsiteY4" fmla="*/ 132179 h 132179"/>
                <a:gd name="connsiteX5" fmla="*/ 0 w 309492"/>
                <a:gd name="connsiteY5" fmla="*/ 12896 h 132179"/>
                <a:gd name="connsiteX6" fmla="*/ 29015 w 309492"/>
                <a:gd name="connsiteY6" fmla="*/ 9672 h 132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9492" h="132179">
                  <a:moveTo>
                    <a:pt x="29015" y="9672"/>
                  </a:moveTo>
                  <a:lnTo>
                    <a:pt x="119284" y="106388"/>
                  </a:lnTo>
                  <a:cubicBezTo>
                    <a:pt x="119284" y="106388"/>
                    <a:pt x="232120" y="19343"/>
                    <a:pt x="286925" y="0"/>
                  </a:cubicBezTo>
                  <a:lnTo>
                    <a:pt x="309493" y="6448"/>
                  </a:lnTo>
                  <a:lnTo>
                    <a:pt x="119284" y="132179"/>
                  </a:lnTo>
                  <a:lnTo>
                    <a:pt x="0" y="12896"/>
                  </a:lnTo>
                  <a:cubicBezTo>
                    <a:pt x="0" y="16119"/>
                    <a:pt x="12895" y="9672"/>
                    <a:pt x="29015" y="9672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4143FC7F-FCF4-4808-8464-A6CF35E7F7B5}"/>
                </a:ext>
              </a:extLst>
            </p:cNvPr>
            <p:cNvSpPr/>
            <p:nvPr/>
          </p:nvSpPr>
          <p:spPr>
            <a:xfrm>
              <a:off x="15444946" y="3135202"/>
              <a:ext cx="275647" cy="222129"/>
            </a:xfrm>
            <a:custGeom>
              <a:avLst/>
              <a:gdLst>
                <a:gd name="connsiteX0" fmla="*/ 49215 w 275647"/>
                <a:gd name="connsiteY0" fmla="*/ 149104 h 222129"/>
                <a:gd name="connsiteX1" fmla="*/ 104022 w 275647"/>
                <a:gd name="connsiteY1" fmla="*/ 184567 h 222129"/>
                <a:gd name="connsiteX2" fmla="*/ 200738 w 275647"/>
                <a:gd name="connsiteY2" fmla="*/ 220030 h 222129"/>
                <a:gd name="connsiteX3" fmla="*/ 274887 w 275647"/>
                <a:gd name="connsiteY3" fmla="*/ 162000 h 222129"/>
                <a:gd name="connsiteX4" fmla="*/ 84678 w 275647"/>
                <a:gd name="connsiteY4" fmla="*/ 4030 h 222129"/>
                <a:gd name="connsiteX5" fmla="*/ 58888 w 275647"/>
                <a:gd name="connsiteY5" fmla="*/ 10478 h 222129"/>
                <a:gd name="connsiteX6" fmla="*/ 84678 w 275647"/>
                <a:gd name="connsiteY6" fmla="*/ 39492 h 222129"/>
                <a:gd name="connsiteX7" fmla="*/ 120141 w 275647"/>
                <a:gd name="connsiteY7" fmla="*/ 74955 h 222129"/>
                <a:gd name="connsiteX8" fmla="*/ 62112 w 275647"/>
                <a:gd name="connsiteY8" fmla="*/ 45940 h 222129"/>
                <a:gd name="connsiteX9" fmla="*/ 20201 w 275647"/>
                <a:gd name="connsiteY9" fmla="*/ 26597 h 222129"/>
                <a:gd name="connsiteX10" fmla="*/ 857 w 275647"/>
                <a:gd name="connsiteY10" fmla="*/ 39492 h 222129"/>
                <a:gd name="connsiteX11" fmla="*/ 10529 w 275647"/>
                <a:gd name="connsiteY11" fmla="*/ 65284 h 222129"/>
                <a:gd name="connsiteX12" fmla="*/ 7305 w 275647"/>
                <a:gd name="connsiteY12" fmla="*/ 65284 h 222129"/>
                <a:gd name="connsiteX13" fmla="*/ 4081 w 275647"/>
                <a:gd name="connsiteY13" fmla="*/ 68507 h 222129"/>
                <a:gd name="connsiteX14" fmla="*/ 26649 w 275647"/>
                <a:gd name="connsiteY14" fmla="*/ 100746 h 222129"/>
                <a:gd name="connsiteX15" fmla="*/ 45992 w 275647"/>
                <a:gd name="connsiteY15" fmla="*/ 110418 h 222129"/>
                <a:gd name="connsiteX16" fmla="*/ 39544 w 275647"/>
                <a:gd name="connsiteY16" fmla="*/ 110418 h 222129"/>
                <a:gd name="connsiteX17" fmla="*/ 26649 w 275647"/>
                <a:gd name="connsiteY17" fmla="*/ 120089 h 222129"/>
                <a:gd name="connsiteX18" fmla="*/ 49215 w 275647"/>
                <a:gd name="connsiteY18" fmla="*/ 149104 h 222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647" h="222129">
                  <a:moveTo>
                    <a:pt x="49215" y="149104"/>
                  </a:moveTo>
                  <a:cubicBezTo>
                    <a:pt x="68559" y="162000"/>
                    <a:pt x="84678" y="171672"/>
                    <a:pt x="104022" y="184567"/>
                  </a:cubicBezTo>
                  <a:cubicBezTo>
                    <a:pt x="133037" y="203910"/>
                    <a:pt x="162051" y="229701"/>
                    <a:pt x="200738" y="220030"/>
                  </a:cubicBezTo>
                  <a:cubicBezTo>
                    <a:pt x="226529" y="213582"/>
                    <a:pt x="274887" y="162000"/>
                    <a:pt x="274887" y="162000"/>
                  </a:cubicBezTo>
                  <a:cubicBezTo>
                    <a:pt x="287783" y="97522"/>
                    <a:pt x="133037" y="23373"/>
                    <a:pt x="84678" y="4030"/>
                  </a:cubicBezTo>
                  <a:cubicBezTo>
                    <a:pt x="78231" y="806"/>
                    <a:pt x="55664" y="-5642"/>
                    <a:pt x="58888" y="10478"/>
                  </a:cubicBezTo>
                  <a:cubicBezTo>
                    <a:pt x="62112" y="20149"/>
                    <a:pt x="78231" y="29821"/>
                    <a:pt x="84678" y="39492"/>
                  </a:cubicBezTo>
                  <a:cubicBezTo>
                    <a:pt x="97574" y="52388"/>
                    <a:pt x="107246" y="62060"/>
                    <a:pt x="120141" y="74955"/>
                  </a:cubicBezTo>
                  <a:cubicBezTo>
                    <a:pt x="100798" y="65284"/>
                    <a:pt x="81454" y="55612"/>
                    <a:pt x="62112" y="45940"/>
                  </a:cubicBezTo>
                  <a:cubicBezTo>
                    <a:pt x="49215" y="39492"/>
                    <a:pt x="36320" y="29821"/>
                    <a:pt x="20201" y="26597"/>
                  </a:cubicBezTo>
                  <a:cubicBezTo>
                    <a:pt x="10529" y="26597"/>
                    <a:pt x="4081" y="29821"/>
                    <a:pt x="857" y="39492"/>
                  </a:cubicBezTo>
                  <a:cubicBezTo>
                    <a:pt x="-2366" y="49164"/>
                    <a:pt x="4081" y="58836"/>
                    <a:pt x="10529" y="65284"/>
                  </a:cubicBezTo>
                  <a:cubicBezTo>
                    <a:pt x="10529" y="65284"/>
                    <a:pt x="10529" y="65284"/>
                    <a:pt x="7305" y="65284"/>
                  </a:cubicBezTo>
                  <a:cubicBezTo>
                    <a:pt x="7305" y="65284"/>
                    <a:pt x="4081" y="68507"/>
                    <a:pt x="4081" y="68507"/>
                  </a:cubicBezTo>
                  <a:cubicBezTo>
                    <a:pt x="4081" y="84627"/>
                    <a:pt x="13754" y="94298"/>
                    <a:pt x="26649" y="100746"/>
                  </a:cubicBezTo>
                  <a:cubicBezTo>
                    <a:pt x="33096" y="103970"/>
                    <a:pt x="39544" y="107194"/>
                    <a:pt x="45992" y="110418"/>
                  </a:cubicBezTo>
                  <a:cubicBezTo>
                    <a:pt x="42768" y="110418"/>
                    <a:pt x="42768" y="110418"/>
                    <a:pt x="39544" y="110418"/>
                  </a:cubicBezTo>
                  <a:cubicBezTo>
                    <a:pt x="33096" y="110418"/>
                    <a:pt x="26649" y="113642"/>
                    <a:pt x="26649" y="120089"/>
                  </a:cubicBezTo>
                  <a:cubicBezTo>
                    <a:pt x="26649" y="136209"/>
                    <a:pt x="39544" y="142657"/>
                    <a:pt x="49215" y="149104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7C2F122C-16D1-4D10-92E2-181A99F27686}"/>
                </a:ext>
              </a:extLst>
            </p:cNvPr>
            <p:cNvSpPr/>
            <p:nvPr/>
          </p:nvSpPr>
          <p:spPr>
            <a:xfrm>
              <a:off x="16635309" y="2209346"/>
              <a:ext cx="439561" cy="601050"/>
            </a:xfrm>
            <a:custGeom>
              <a:avLst/>
              <a:gdLst>
                <a:gd name="connsiteX0" fmla="*/ 3330 w 439561"/>
                <a:gd name="connsiteY0" fmla="*/ 198066 h 601050"/>
                <a:gd name="connsiteX1" fmla="*/ 25898 w 439561"/>
                <a:gd name="connsiteY1" fmla="*/ 468872 h 601050"/>
                <a:gd name="connsiteX2" fmla="*/ 187092 w 439561"/>
                <a:gd name="connsiteY2" fmla="*/ 601051 h 601050"/>
                <a:gd name="connsiteX3" fmla="*/ 409540 w 439561"/>
                <a:gd name="connsiteY3" fmla="*/ 439857 h 601050"/>
                <a:gd name="connsiteX4" fmla="*/ 438554 w 439561"/>
                <a:gd name="connsiteY4" fmla="*/ 201289 h 601050"/>
                <a:gd name="connsiteX5" fmla="*/ 203211 w 439561"/>
                <a:gd name="connsiteY5" fmla="*/ 1409 h 601050"/>
                <a:gd name="connsiteX6" fmla="*/ 3330 w 439561"/>
                <a:gd name="connsiteY6" fmla="*/ 198066 h 60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9561" h="601050">
                  <a:moveTo>
                    <a:pt x="3330" y="198066"/>
                  </a:moveTo>
                  <a:cubicBezTo>
                    <a:pt x="3330" y="198066"/>
                    <a:pt x="-12789" y="397946"/>
                    <a:pt x="25898" y="468872"/>
                  </a:cubicBezTo>
                  <a:cubicBezTo>
                    <a:pt x="71032" y="555916"/>
                    <a:pt x="119390" y="601051"/>
                    <a:pt x="187092" y="601051"/>
                  </a:cubicBezTo>
                  <a:cubicBezTo>
                    <a:pt x="280584" y="601051"/>
                    <a:pt x="370854" y="536573"/>
                    <a:pt x="409540" y="439857"/>
                  </a:cubicBezTo>
                  <a:cubicBezTo>
                    <a:pt x="438554" y="365707"/>
                    <a:pt x="441778" y="252872"/>
                    <a:pt x="438554" y="201289"/>
                  </a:cubicBezTo>
                  <a:cubicBezTo>
                    <a:pt x="432107" y="101349"/>
                    <a:pt x="399868" y="20752"/>
                    <a:pt x="203211" y="1409"/>
                  </a:cubicBezTo>
                  <a:cubicBezTo>
                    <a:pt x="116166" y="-14711"/>
                    <a:pt x="22674" y="111021"/>
                    <a:pt x="3330" y="198066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FC30A807-F3E5-4960-8503-8C039AA119BC}"/>
                </a:ext>
              </a:extLst>
            </p:cNvPr>
            <p:cNvSpPr/>
            <p:nvPr/>
          </p:nvSpPr>
          <p:spPr>
            <a:xfrm>
              <a:off x="16783714" y="2489897"/>
              <a:ext cx="61254" cy="139962"/>
            </a:xfrm>
            <a:custGeom>
              <a:avLst/>
              <a:gdLst>
                <a:gd name="connsiteX0" fmla="*/ 29016 w 61254"/>
                <a:gd name="connsiteY0" fmla="*/ 139962 h 139962"/>
                <a:gd name="connsiteX1" fmla="*/ 6448 w 61254"/>
                <a:gd name="connsiteY1" fmla="*/ 133515 h 139962"/>
                <a:gd name="connsiteX2" fmla="*/ 0 w 61254"/>
                <a:gd name="connsiteY2" fmla="*/ 120619 h 139962"/>
                <a:gd name="connsiteX3" fmla="*/ 25792 w 61254"/>
                <a:gd name="connsiteY3" fmla="*/ 4559 h 139962"/>
                <a:gd name="connsiteX4" fmla="*/ 32239 w 61254"/>
                <a:gd name="connsiteY4" fmla="*/ 1335 h 139962"/>
                <a:gd name="connsiteX5" fmla="*/ 35463 w 61254"/>
                <a:gd name="connsiteY5" fmla="*/ 7783 h 139962"/>
                <a:gd name="connsiteX6" fmla="*/ 9672 w 61254"/>
                <a:gd name="connsiteY6" fmla="*/ 120619 h 139962"/>
                <a:gd name="connsiteX7" fmla="*/ 12896 w 61254"/>
                <a:gd name="connsiteY7" fmla="*/ 123843 h 139962"/>
                <a:gd name="connsiteX8" fmla="*/ 54806 w 61254"/>
                <a:gd name="connsiteY8" fmla="*/ 123843 h 139962"/>
                <a:gd name="connsiteX9" fmla="*/ 61255 w 61254"/>
                <a:gd name="connsiteY9" fmla="*/ 127067 h 139962"/>
                <a:gd name="connsiteX10" fmla="*/ 58030 w 61254"/>
                <a:gd name="connsiteY10" fmla="*/ 133515 h 139962"/>
                <a:gd name="connsiteX11" fmla="*/ 29016 w 61254"/>
                <a:gd name="connsiteY11" fmla="*/ 139962 h 139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254" h="139962">
                  <a:moveTo>
                    <a:pt x="29016" y="139962"/>
                  </a:moveTo>
                  <a:cubicBezTo>
                    <a:pt x="19343" y="139962"/>
                    <a:pt x="9672" y="139962"/>
                    <a:pt x="6448" y="133515"/>
                  </a:cubicBezTo>
                  <a:cubicBezTo>
                    <a:pt x="3224" y="130291"/>
                    <a:pt x="0" y="127067"/>
                    <a:pt x="0" y="120619"/>
                  </a:cubicBezTo>
                  <a:cubicBezTo>
                    <a:pt x="0" y="98052"/>
                    <a:pt x="22568" y="7783"/>
                    <a:pt x="25792" y="4559"/>
                  </a:cubicBezTo>
                  <a:cubicBezTo>
                    <a:pt x="25792" y="1335"/>
                    <a:pt x="29016" y="-1889"/>
                    <a:pt x="32239" y="1335"/>
                  </a:cubicBezTo>
                  <a:cubicBezTo>
                    <a:pt x="35463" y="1335"/>
                    <a:pt x="38687" y="4559"/>
                    <a:pt x="35463" y="7783"/>
                  </a:cubicBezTo>
                  <a:cubicBezTo>
                    <a:pt x="29016" y="33574"/>
                    <a:pt x="9672" y="104500"/>
                    <a:pt x="9672" y="120619"/>
                  </a:cubicBezTo>
                  <a:cubicBezTo>
                    <a:pt x="9672" y="120619"/>
                    <a:pt x="9672" y="123843"/>
                    <a:pt x="12896" y="123843"/>
                  </a:cubicBezTo>
                  <a:cubicBezTo>
                    <a:pt x="19343" y="130291"/>
                    <a:pt x="41911" y="127067"/>
                    <a:pt x="54806" y="123843"/>
                  </a:cubicBezTo>
                  <a:cubicBezTo>
                    <a:pt x="58030" y="123843"/>
                    <a:pt x="61255" y="123843"/>
                    <a:pt x="61255" y="127067"/>
                  </a:cubicBezTo>
                  <a:cubicBezTo>
                    <a:pt x="61255" y="130291"/>
                    <a:pt x="61255" y="133515"/>
                    <a:pt x="58030" y="133515"/>
                  </a:cubicBezTo>
                  <a:cubicBezTo>
                    <a:pt x="54806" y="136738"/>
                    <a:pt x="41911" y="139962"/>
                    <a:pt x="29016" y="139962"/>
                  </a:cubicBezTo>
                  <a:close/>
                </a:path>
              </a:pathLst>
            </a:custGeom>
            <a:solidFill>
              <a:srgbClr val="E58777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F6945740-8D01-447F-9152-3CF08341FEEF}"/>
                </a:ext>
              </a:extLst>
            </p:cNvPr>
            <p:cNvSpPr/>
            <p:nvPr/>
          </p:nvSpPr>
          <p:spPr>
            <a:xfrm>
              <a:off x="16767595" y="2678217"/>
              <a:ext cx="112835" cy="61686"/>
            </a:xfrm>
            <a:custGeom>
              <a:avLst/>
              <a:gdLst>
                <a:gd name="connsiteX0" fmla="*/ 112836 w 112835"/>
                <a:gd name="connsiteY0" fmla="*/ 0 h 61686"/>
                <a:gd name="connsiteX1" fmla="*/ 0 w 112835"/>
                <a:gd name="connsiteY1" fmla="*/ 3224 h 61686"/>
                <a:gd name="connsiteX2" fmla="*/ 45135 w 112835"/>
                <a:gd name="connsiteY2" fmla="*/ 61254 h 61686"/>
                <a:gd name="connsiteX3" fmla="*/ 112836 w 112835"/>
                <a:gd name="connsiteY3" fmla="*/ 0 h 61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835" h="61686">
                  <a:moveTo>
                    <a:pt x="112836" y="0"/>
                  </a:moveTo>
                  <a:cubicBezTo>
                    <a:pt x="58030" y="32239"/>
                    <a:pt x="0" y="3224"/>
                    <a:pt x="0" y="3224"/>
                  </a:cubicBezTo>
                  <a:cubicBezTo>
                    <a:pt x="0" y="3224"/>
                    <a:pt x="9672" y="54806"/>
                    <a:pt x="45135" y="61254"/>
                  </a:cubicBezTo>
                  <a:cubicBezTo>
                    <a:pt x="83821" y="67701"/>
                    <a:pt x="112836" y="0"/>
                    <a:pt x="112836" y="0"/>
                  </a:cubicBezTo>
                  <a:close/>
                </a:path>
              </a:pathLst>
            </a:custGeom>
            <a:solidFill>
              <a:srgbClr val="FFFFFF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4F1ADA10-A301-434B-B755-BFECE9AFE41B}"/>
                </a:ext>
              </a:extLst>
            </p:cNvPr>
            <p:cNvSpPr/>
            <p:nvPr/>
          </p:nvSpPr>
          <p:spPr>
            <a:xfrm>
              <a:off x="16702296" y="2461396"/>
              <a:ext cx="43364" cy="43553"/>
            </a:xfrm>
            <a:custGeom>
              <a:avLst/>
              <a:gdLst>
                <a:gd name="connsiteX0" fmla="*/ 42732 w 43364"/>
                <a:gd name="connsiteY0" fmla="*/ 26613 h 43553"/>
                <a:gd name="connsiteX1" fmla="*/ 16941 w 43364"/>
                <a:gd name="connsiteY1" fmla="*/ 42732 h 43553"/>
                <a:gd name="connsiteX2" fmla="*/ 821 w 43364"/>
                <a:gd name="connsiteY2" fmla="*/ 16941 h 43553"/>
                <a:gd name="connsiteX3" fmla="*/ 26613 w 43364"/>
                <a:gd name="connsiteY3" fmla="*/ 822 h 43553"/>
                <a:gd name="connsiteX4" fmla="*/ 42732 w 43364"/>
                <a:gd name="connsiteY4" fmla="*/ 26613 h 4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64" h="43553">
                  <a:moveTo>
                    <a:pt x="42732" y="26613"/>
                  </a:moveTo>
                  <a:cubicBezTo>
                    <a:pt x="39508" y="39508"/>
                    <a:pt x="29837" y="45956"/>
                    <a:pt x="16941" y="42732"/>
                  </a:cubicBezTo>
                  <a:cubicBezTo>
                    <a:pt x="4045" y="39508"/>
                    <a:pt x="-2402" y="29836"/>
                    <a:pt x="821" y="16941"/>
                  </a:cubicBezTo>
                  <a:cubicBezTo>
                    <a:pt x="4045" y="4045"/>
                    <a:pt x="13718" y="-2402"/>
                    <a:pt x="26613" y="822"/>
                  </a:cubicBezTo>
                  <a:cubicBezTo>
                    <a:pt x="36284" y="4045"/>
                    <a:pt x="45956" y="16941"/>
                    <a:pt x="42732" y="2661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9FA8DFA3-5B92-4C0A-BC22-2BB46E346FF7}"/>
                </a:ext>
              </a:extLst>
            </p:cNvPr>
            <p:cNvSpPr/>
            <p:nvPr/>
          </p:nvSpPr>
          <p:spPr>
            <a:xfrm>
              <a:off x="16902176" y="2461396"/>
              <a:ext cx="43553" cy="43553"/>
            </a:xfrm>
            <a:custGeom>
              <a:avLst/>
              <a:gdLst>
                <a:gd name="connsiteX0" fmla="*/ 42732 w 43553"/>
                <a:gd name="connsiteY0" fmla="*/ 26613 h 43553"/>
                <a:gd name="connsiteX1" fmla="*/ 16941 w 43553"/>
                <a:gd name="connsiteY1" fmla="*/ 42732 h 43553"/>
                <a:gd name="connsiteX2" fmla="*/ 822 w 43553"/>
                <a:gd name="connsiteY2" fmla="*/ 16941 h 43553"/>
                <a:gd name="connsiteX3" fmla="*/ 26612 w 43553"/>
                <a:gd name="connsiteY3" fmla="*/ 822 h 43553"/>
                <a:gd name="connsiteX4" fmla="*/ 42732 w 43553"/>
                <a:gd name="connsiteY4" fmla="*/ 26613 h 4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53" h="43553">
                  <a:moveTo>
                    <a:pt x="42732" y="26613"/>
                  </a:moveTo>
                  <a:cubicBezTo>
                    <a:pt x="39509" y="39508"/>
                    <a:pt x="29836" y="45956"/>
                    <a:pt x="16941" y="42732"/>
                  </a:cubicBezTo>
                  <a:cubicBezTo>
                    <a:pt x="4046" y="39508"/>
                    <a:pt x="-2402" y="29836"/>
                    <a:pt x="822" y="16941"/>
                  </a:cubicBezTo>
                  <a:cubicBezTo>
                    <a:pt x="4046" y="4045"/>
                    <a:pt x="13717" y="-2402"/>
                    <a:pt x="26612" y="822"/>
                  </a:cubicBezTo>
                  <a:cubicBezTo>
                    <a:pt x="39509" y="4045"/>
                    <a:pt x="45956" y="16941"/>
                    <a:pt x="42732" y="2661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1DEDA22E-2961-48E2-9502-D4D81B3E5D00}"/>
                </a:ext>
              </a:extLst>
            </p:cNvPr>
            <p:cNvSpPr/>
            <p:nvPr/>
          </p:nvSpPr>
          <p:spPr>
            <a:xfrm>
              <a:off x="16674908" y="2410531"/>
              <a:ext cx="97245" cy="38790"/>
            </a:xfrm>
            <a:custGeom>
              <a:avLst/>
              <a:gdLst>
                <a:gd name="connsiteX0" fmla="*/ 8866 w 97245"/>
                <a:gd name="connsiteY0" fmla="*/ 38791 h 38790"/>
                <a:gd name="connsiteX1" fmla="*/ 2418 w 97245"/>
                <a:gd name="connsiteY1" fmla="*/ 35567 h 38790"/>
                <a:gd name="connsiteX2" fmla="*/ 2418 w 97245"/>
                <a:gd name="connsiteY2" fmla="*/ 22671 h 38790"/>
                <a:gd name="connsiteX3" fmla="*/ 92686 w 97245"/>
                <a:gd name="connsiteY3" fmla="*/ 6552 h 38790"/>
                <a:gd name="connsiteX4" fmla="*/ 95910 w 97245"/>
                <a:gd name="connsiteY4" fmla="*/ 16224 h 38790"/>
                <a:gd name="connsiteX5" fmla="*/ 86239 w 97245"/>
                <a:gd name="connsiteY5" fmla="*/ 19448 h 38790"/>
                <a:gd name="connsiteX6" fmla="*/ 15313 w 97245"/>
                <a:gd name="connsiteY6" fmla="*/ 29119 h 38790"/>
                <a:gd name="connsiteX7" fmla="*/ 8866 w 97245"/>
                <a:gd name="connsiteY7" fmla="*/ 38791 h 38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5" h="38790">
                  <a:moveTo>
                    <a:pt x="8866" y="38791"/>
                  </a:moveTo>
                  <a:cubicBezTo>
                    <a:pt x="5642" y="38791"/>
                    <a:pt x="5642" y="38791"/>
                    <a:pt x="2418" y="35567"/>
                  </a:cubicBezTo>
                  <a:cubicBezTo>
                    <a:pt x="-806" y="32343"/>
                    <a:pt x="-806" y="25895"/>
                    <a:pt x="2418" y="22671"/>
                  </a:cubicBezTo>
                  <a:cubicBezTo>
                    <a:pt x="28209" y="-9567"/>
                    <a:pt x="73344" y="104"/>
                    <a:pt x="92686" y="6552"/>
                  </a:cubicBezTo>
                  <a:cubicBezTo>
                    <a:pt x="95910" y="9776"/>
                    <a:pt x="99134" y="13000"/>
                    <a:pt x="95910" y="16224"/>
                  </a:cubicBezTo>
                  <a:cubicBezTo>
                    <a:pt x="92686" y="19448"/>
                    <a:pt x="89463" y="22671"/>
                    <a:pt x="86239" y="19448"/>
                  </a:cubicBezTo>
                  <a:cubicBezTo>
                    <a:pt x="83015" y="19448"/>
                    <a:pt x="41105" y="104"/>
                    <a:pt x="15313" y="29119"/>
                  </a:cubicBezTo>
                  <a:cubicBezTo>
                    <a:pt x="12089" y="38791"/>
                    <a:pt x="8866" y="38791"/>
                    <a:pt x="8866" y="38791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81BBE397-D1B6-4D43-9CB3-9998149E253A}"/>
                </a:ext>
              </a:extLst>
            </p:cNvPr>
            <p:cNvSpPr/>
            <p:nvPr/>
          </p:nvSpPr>
          <p:spPr>
            <a:xfrm>
              <a:off x="16871866" y="2403537"/>
              <a:ext cx="98028" cy="36113"/>
            </a:xfrm>
            <a:custGeom>
              <a:avLst/>
              <a:gdLst>
                <a:gd name="connsiteX0" fmla="*/ 92386 w 98028"/>
                <a:gd name="connsiteY0" fmla="*/ 36113 h 36113"/>
                <a:gd name="connsiteX1" fmla="*/ 85939 w 98028"/>
                <a:gd name="connsiteY1" fmla="*/ 32889 h 36113"/>
                <a:gd name="connsiteX2" fmla="*/ 15013 w 98028"/>
                <a:gd name="connsiteY2" fmla="*/ 29665 h 36113"/>
                <a:gd name="connsiteX3" fmla="*/ 2118 w 98028"/>
                <a:gd name="connsiteY3" fmla="*/ 26441 h 36113"/>
                <a:gd name="connsiteX4" fmla="*/ 5342 w 98028"/>
                <a:gd name="connsiteY4" fmla="*/ 13546 h 36113"/>
                <a:gd name="connsiteX5" fmla="*/ 95610 w 98028"/>
                <a:gd name="connsiteY5" fmla="*/ 19994 h 36113"/>
                <a:gd name="connsiteX6" fmla="*/ 95610 w 98028"/>
                <a:gd name="connsiteY6" fmla="*/ 32889 h 36113"/>
                <a:gd name="connsiteX7" fmla="*/ 92386 w 98028"/>
                <a:gd name="connsiteY7" fmla="*/ 36113 h 36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8028" h="36113">
                  <a:moveTo>
                    <a:pt x="92386" y="36113"/>
                  </a:moveTo>
                  <a:cubicBezTo>
                    <a:pt x="89162" y="36113"/>
                    <a:pt x="89162" y="36113"/>
                    <a:pt x="85939" y="32889"/>
                  </a:cubicBezTo>
                  <a:cubicBezTo>
                    <a:pt x="85939" y="32889"/>
                    <a:pt x="53700" y="3874"/>
                    <a:pt x="15013" y="29665"/>
                  </a:cubicBezTo>
                  <a:cubicBezTo>
                    <a:pt x="11789" y="32889"/>
                    <a:pt x="5342" y="32889"/>
                    <a:pt x="2118" y="26441"/>
                  </a:cubicBezTo>
                  <a:cubicBezTo>
                    <a:pt x="-1106" y="23218"/>
                    <a:pt x="-1106" y="16770"/>
                    <a:pt x="5342" y="13546"/>
                  </a:cubicBezTo>
                  <a:cubicBezTo>
                    <a:pt x="44028" y="-12245"/>
                    <a:pt x="82715" y="3874"/>
                    <a:pt x="95610" y="19994"/>
                  </a:cubicBezTo>
                  <a:cubicBezTo>
                    <a:pt x="98834" y="23218"/>
                    <a:pt x="98834" y="29665"/>
                    <a:pt x="95610" y="32889"/>
                  </a:cubicBezTo>
                  <a:cubicBezTo>
                    <a:pt x="95610" y="36113"/>
                    <a:pt x="95610" y="36113"/>
                    <a:pt x="92386" y="36113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DB248867-39AD-4A2D-B84B-C0E0C2650D50}"/>
                </a:ext>
              </a:extLst>
            </p:cNvPr>
            <p:cNvSpPr/>
            <p:nvPr/>
          </p:nvSpPr>
          <p:spPr>
            <a:xfrm>
              <a:off x="16612125" y="2167947"/>
              <a:ext cx="284753" cy="281374"/>
            </a:xfrm>
            <a:custGeom>
              <a:avLst/>
              <a:gdLst>
                <a:gd name="connsiteX0" fmla="*/ 281201 w 284753"/>
                <a:gd name="connsiteY0" fmla="*/ 897 h 281374"/>
                <a:gd name="connsiteX1" fmla="*/ 248963 w 284753"/>
                <a:gd name="connsiteY1" fmla="*/ 136300 h 281374"/>
                <a:gd name="connsiteX2" fmla="*/ 723 w 284753"/>
                <a:gd name="connsiteY2" fmla="*/ 281375 h 281374"/>
                <a:gd name="connsiteX3" fmla="*/ 281201 w 284753"/>
                <a:gd name="connsiteY3" fmla="*/ 897 h 281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753" h="281374">
                  <a:moveTo>
                    <a:pt x="281201" y="897"/>
                  </a:moveTo>
                  <a:cubicBezTo>
                    <a:pt x="281201" y="897"/>
                    <a:pt x="300544" y="94390"/>
                    <a:pt x="248963" y="136300"/>
                  </a:cubicBezTo>
                  <a:cubicBezTo>
                    <a:pt x="248963" y="136300"/>
                    <a:pt x="29738" y="191106"/>
                    <a:pt x="723" y="281375"/>
                  </a:cubicBezTo>
                  <a:cubicBezTo>
                    <a:pt x="723" y="281375"/>
                    <a:pt x="-28291" y="-18446"/>
                    <a:pt x="281201" y="897"/>
                  </a:cubicBez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432D94C1-9D41-4E95-9EBF-9BAD02D9AD08}"/>
                </a:ext>
              </a:extLst>
            </p:cNvPr>
            <p:cNvSpPr/>
            <p:nvPr/>
          </p:nvSpPr>
          <p:spPr>
            <a:xfrm>
              <a:off x="16861088" y="2172010"/>
              <a:ext cx="246321" cy="325367"/>
            </a:xfrm>
            <a:custGeom>
              <a:avLst/>
              <a:gdLst>
                <a:gd name="connsiteX0" fmla="*/ 0 w 246321"/>
                <a:gd name="connsiteY0" fmla="*/ 135461 h 325367"/>
                <a:gd name="connsiteX1" fmla="*/ 151522 w 246321"/>
                <a:gd name="connsiteY1" fmla="*/ 187043 h 325367"/>
                <a:gd name="connsiteX2" fmla="*/ 219223 w 246321"/>
                <a:gd name="connsiteY2" fmla="*/ 312774 h 325367"/>
                <a:gd name="connsiteX3" fmla="*/ 245014 w 246321"/>
                <a:gd name="connsiteY3" fmla="*/ 306327 h 325367"/>
                <a:gd name="connsiteX4" fmla="*/ 32239 w 246321"/>
                <a:gd name="connsiteY4" fmla="*/ 58 h 325367"/>
                <a:gd name="connsiteX5" fmla="*/ 0 w 246321"/>
                <a:gd name="connsiteY5" fmla="*/ 135461 h 325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6321" h="325367">
                  <a:moveTo>
                    <a:pt x="0" y="135461"/>
                  </a:moveTo>
                  <a:cubicBezTo>
                    <a:pt x="0" y="135461"/>
                    <a:pt x="96716" y="183819"/>
                    <a:pt x="151522" y="187043"/>
                  </a:cubicBezTo>
                  <a:cubicBezTo>
                    <a:pt x="206328" y="190267"/>
                    <a:pt x="219223" y="312774"/>
                    <a:pt x="219223" y="312774"/>
                  </a:cubicBezTo>
                  <a:cubicBezTo>
                    <a:pt x="219223" y="312774"/>
                    <a:pt x="241791" y="345013"/>
                    <a:pt x="245014" y="306327"/>
                  </a:cubicBezTo>
                  <a:cubicBezTo>
                    <a:pt x="251462" y="222506"/>
                    <a:pt x="241791" y="12954"/>
                    <a:pt x="32239" y="58"/>
                  </a:cubicBezTo>
                  <a:cubicBezTo>
                    <a:pt x="32239" y="-3166"/>
                    <a:pt x="25791" y="129013"/>
                    <a:pt x="0" y="135461"/>
                  </a:cubicBez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18837FAD-700E-4226-BE32-2F85C7587E92}"/>
                </a:ext>
              </a:extLst>
            </p:cNvPr>
            <p:cNvSpPr/>
            <p:nvPr/>
          </p:nvSpPr>
          <p:spPr>
            <a:xfrm>
              <a:off x="17041529" y="2465708"/>
              <a:ext cx="80648" cy="119513"/>
            </a:xfrm>
            <a:custGeom>
              <a:avLst/>
              <a:gdLst>
                <a:gd name="connsiteX0" fmla="*/ 9767 w 80648"/>
                <a:gd name="connsiteY0" fmla="*/ 19076 h 119513"/>
                <a:gd name="connsiteX1" fmla="*/ 71021 w 80648"/>
                <a:gd name="connsiteY1" fmla="*/ 6181 h 119513"/>
                <a:gd name="connsiteX2" fmla="*/ 16215 w 80648"/>
                <a:gd name="connsiteY2" fmla="*/ 115793 h 119513"/>
                <a:gd name="connsiteX3" fmla="*/ 9767 w 80648"/>
                <a:gd name="connsiteY3" fmla="*/ 19076 h 119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648" h="119513">
                  <a:moveTo>
                    <a:pt x="9767" y="19076"/>
                  </a:moveTo>
                  <a:cubicBezTo>
                    <a:pt x="9767" y="19076"/>
                    <a:pt x="45230" y="-13163"/>
                    <a:pt x="71021" y="6181"/>
                  </a:cubicBezTo>
                  <a:cubicBezTo>
                    <a:pt x="100036" y="25524"/>
                    <a:pt x="58126" y="141584"/>
                    <a:pt x="16215" y="115793"/>
                  </a:cubicBezTo>
                  <a:cubicBezTo>
                    <a:pt x="-16024" y="99673"/>
                    <a:pt x="9767" y="19076"/>
                    <a:pt x="9767" y="19076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8220A20D-AED9-427B-8700-8E5927849912}"/>
                </a:ext>
              </a:extLst>
            </p:cNvPr>
            <p:cNvSpPr/>
            <p:nvPr/>
          </p:nvSpPr>
          <p:spPr>
            <a:xfrm>
              <a:off x="16851416" y="2165620"/>
              <a:ext cx="230231" cy="309492"/>
            </a:xfrm>
            <a:custGeom>
              <a:avLst/>
              <a:gdLst>
                <a:gd name="connsiteX0" fmla="*/ 225672 w 230231"/>
                <a:gd name="connsiteY0" fmla="*/ 309493 h 309492"/>
                <a:gd name="connsiteX1" fmla="*/ 219224 w 230231"/>
                <a:gd name="connsiteY1" fmla="*/ 303045 h 309492"/>
                <a:gd name="connsiteX2" fmla="*/ 161194 w 230231"/>
                <a:gd name="connsiteY2" fmla="*/ 196657 h 309492"/>
                <a:gd name="connsiteX3" fmla="*/ 6448 w 230231"/>
                <a:gd name="connsiteY3" fmla="*/ 141851 h 309492"/>
                <a:gd name="connsiteX4" fmla="*/ 0 w 230231"/>
                <a:gd name="connsiteY4" fmla="*/ 138627 h 309492"/>
                <a:gd name="connsiteX5" fmla="*/ 3224 w 230231"/>
                <a:gd name="connsiteY5" fmla="*/ 132179 h 309492"/>
                <a:gd name="connsiteX6" fmla="*/ 22568 w 230231"/>
                <a:gd name="connsiteY6" fmla="*/ 106388 h 309492"/>
                <a:gd name="connsiteX7" fmla="*/ 32239 w 230231"/>
                <a:gd name="connsiteY7" fmla="*/ 64478 h 309492"/>
                <a:gd name="connsiteX8" fmla="*/ 35463 w 230231"/>
                <a:gd name="connsiteY8" fmla="*/ 35463 h 309492"/>
                <a:gd name="connsiteX9" fmla="*/ 38687 w 230231"/>
                <a:gd name="connsiteY9" fmla="*/ 6448 h 309492"/>
                <a:gd name="connsiteX10" fmla="*/ 45134 w 230231"/>
                <a:gd name="connsiteY10" fmla="*/ 0 h 309492"/>
                <a:gd name="connsiteX11" fmla="*/ 51582 w 230231"/>
                <a:gd name="connsiteY11" fmla="*/ 6448 h 309492"/>
                <a:gd name="connsiteX12" fmla="*/ 48358 w 230231"/>
                <a:gd name="connsiteY12" fmla="*/ 35463 h 309492"/>
                <a:gd name="connsiteX13" fmla="*/ 45134 w 230231"/>
                <a:gd name="connsiteY13" fmla="*/ 64478 h 309492"/>
                <a:gd name="connsiteX14" fmla="*/ 35463 w 230231"/>
                <a:gd name="connsiteY14" fmla="*/ 112836 h 309492"/>
                <a:gd name="connsiteX15" fmla="*/ 19343 w 230231"/>
                <a:gd name="connsiteY15" fmla="*/ 135403 h 309492"/>
                <a:gd name="connsiteX16" fmla="*/ 161194 w 230231"/>
                <a:gd name="connsiteY16" fmla="*/ 183761 h 309492"/>
                <a:gd name="connsiteX17" fmla="*/ 228896 w 230231"/>
                <a:gd name="connsiteY17" fmla="*/ 303045 h 309492"/>
                <a:gd name="connsiteX18" fmla="*/ 225672 w 230231"/>
                <a:gd name="connsiteY18" fmla="*/ 309493 h 309492"/>
                <a:gd name="connsiteX19" fmla="*/ 225672 w 230231"/>
                <a:gd name="connsiteY19" fmla="*/ 309493 h 309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30231" h="309492">
                  <a:moveTo>
                    <a:pt x="225672" y="309493"/>
                  </a:moveTo>
                  <a:cubicBezTo>
                    <a:pt x="222448" y="309493"/>
                    <a:pt x="219224" y="306269"/>
                    <a:pt x="219224" y="303045"/>
                  </a:cubicBezTo>
                  <a:cubicBezTo>
                    <a:pt x="219224" y="303045"/>
                    <a:pt x="212776" y="203104"/>
                    <a:pt x="161194" y="196657"/>
                  </a:cubicBezTo>
                  <a:cubicBezTo>
                    <a:pt x="87045" y="186985"/>
                    <a:pt x="9672" y="145075"/>
                    <a:pt x="6448" y="141851"/>
                  </a:cubicBezTo>
                  <a:lnTo>
                    <a:pt x="0" y="138627"/>
                  </a:lnTo>
                  <a:lnTo>
                    <a:pt x="3224" y="132179"/>
                  </a:lnTo>
                  <a:cubicBezTo>
                    <a:pt x="9672" y="122507"/>
                    <a:pt x="16119" y="116060"/>
                    <a:pt x="22568" y="106388"/>
                  </a:cubicBezTo>
                  <a:cubicBezTo>
                    <a:pt x="29015" y="93493"/>
                    <a:pt x="29015" y="77373"/>
                    <a:pt x="32239" y="64478"/>
                  </a:cubicBezTo>
                  <a:cubicBezTo>
                    <a:pt x="32239" y="58030"/>
                    <a:pt x="35463" y="45134"/>
                    <a:pt x="35463" y="35463"/>
                  </a:cubicBezTo>
                  <a:cubicBezTo>
                    <a:pt x="35463" y="22567"/>
                    <a:pt x="38687" y="12896"/>
                    <a:pt x="38687" y="6448"/>
                  </a:cubicBezTo>
                  <a:cubicBezTo>
                    <a:pt x="38687" y="3224"/>
                    <a:pt x="41911" y="0"/>
                    <a:pt x="45134" y="0"/>
                  </a:cubicBezTo>
                  <a:cubicBezTo>
                    <a:pt x="48358" y="0"/>
                    <a:pt x="51582" y="3224"/>
                    <a:pt x="51582" y="6448"/>
                  </a:cubicBezTo>
                  <a:cubicBezTo>
                    <a:pt x="51582" y="12896"/>
                    <a:pt x="48358" y="25791"/>
                    <a:pt x="48358" y="35463"/>
                  </a:cubicBezTo>
                  <a:cubicBezTo>
                    <a:pt x="48358" y="48358"/>
                    <a:pt x="45134" y="58030"/>
                    <a:pt x="45134" y="64478"/>
                  </a:cubicBezTo>
                  <a:cubicBezTo>
                    <a:pt x="45134" y="80597"/>
                    <a:pt x="41911" y="96716"/>
                    <a:pt x="35463" y="112836"/>
                  </a:cubicBezTo>
                  <a:cubicBezTo>
                    <a:pt x="32239" y="122507"/>
                    <a:pt x="25792" y="128955"/>
                    <a:pt x="19343" y="135403"/>
                  </a:cubicBezTo>
                  <a:cubicBezTo>
                    <a:pt x="38687" y="145075"/>
                    <a:pt x="103165" y="177313"/>
                    <a:pt x="161194" y="183761"/>
                  </a:cubicBezTo>
                  <a:cubicBezTo>
                    <a:pt x="222448" y="190209"/>
                    <a:pt x="228896" y="296597"/>
                    <a:pt x="228896" y="303045"/>
                  </a:cubicBezTo>
                  <a:cubicBezTo>
                    <a:pt x="232120" y="306269"/>
                    <a:pt x="228896" y="309493"/>
                    <a:pt x="225672" y="309493"/>
                  </a:cubicBezTo>
                  <a:cubicBezTo>
                    <a:pt x="225672" y="309493"/>
                    <a:pt x="225672" y="309493"/>
                    <a:pt x="225672" y="309493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B01FE5D8-BE61-4CEA-A7E8-CCECDAC91BA5}"/>
                </a:ext>
              </a:extLst>
            </p:cNvPr>
            <p:cNvSpPr/>
            <p:nvPr/>
          </p:nvSpPr>
          <p:spPr>
            <a:xfrm>
              <a:off x="16745028" y="2727381"/>
              <a:ext cx="247432" cy="83014"/>
            </a:xfrm>
            <a:custGeom>
              <a:avLst/>
              <a:gdLst>
                <a:gd name="connsiteX0" fmla="*/ 93492 w 247432"/>
                <a:gd name="connsiteY0" fmla="*/ 83015 h 83014"/>
                <a:gd name="connsiteX1" fmla="*/ 93492 w 247432"/>
                <a:gd name="connsiteY1" fmla="*/ 83015 h 83014"/>
                <a:gd name="connsiteX2" fmla="*/ 3224 w 247432"/>
                <a:gd name="connsiteY2" fmla="*/ 60448 h 83014"/>
                <a:gd name="connsiteX3" fmla="*/ 0 w 247432"/>
                <a:gd name="connsiteY3" fmla="*/ 50776 h 83014"/>
                <a:gd name="connsiteX4" fmla="*/ 9671 w 247432"/>
                <a:gd name="connsiteY4" fmla="*/ 47552 h 83014"/>
                <a:gd name="connsiteX5" fmla="*/ 93492 w 247432"/>
                <a:gd name="connsiteY5" fmla="*/ 70119 h 83014"/>
                <a:gd name="connsiteX6" fmla="*/ 93492 w 247432"/>
                <a:gd name="connsiteY6" fmla="*/ 70119 h 83014"/>
                <a:gd name="connsiteX7" fmla="*/ 235343 w 247432"/>
                <a:gd name="connsiteY7" fmla="*/ 2418 h 83014"/>
                <a:gd name="connsiteX8" fmla="*/ 245015 w 247432"/>
                <a:gd name="connsiteY8" fmla="*/ 2418 h 83014"/>
                <a:gd name="connsiteX9" fmla="*/ 245015 w 247432"/>
                <a:gd name="connsiteY9" fmla="*/ 12090 h 83014"/>
                <a:gd name="connsiteX10" fmla="*/ 93492 w 247432"/>
                <a:gd name="connsiteY10" fmla="*/ 83015 h 8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7432" h="83014">
                  <a:moveTo>
                    <a:pt x="93492" y="83015"/>
                  </a:moveTo>
                  <a:cubicBezTo>
                    <a:pt x="93492" y="83015"/>
                    <a:pt x="93492" y="83015"/>
                    <a:pt x="93492" y="83015"/>
                  </a:cubicBezTo>
                  <a:cubicBezTo>
                    <a:pt x="48358" y="83015"/>
                    <a:pt x="6447" y="60448"/>
                    <a:pt x="3224" y="60448"/>
                  </a:cubicBezTo>
                  <a:cubicBezTo>
                    <a:pt x="0" y="60448"/>
                    <a:pt x="0" y="54000"/>
                    <a:pt x="0" y="50776"/>
                  </a:cubicBezTo>
                  <a:cubicBezTo>
                    <a:pt x="0" y="47552"/>
                    <a:pt x="6447" y="47552"/>
                    <a:pt x="9671" y="47552"/>
                  </a:cubicBezTo>
                  <a:cubicBezTo>
                    <a:pt x="9671" y="47552"/>
                    <a:pt x="51582" y="70119"/>
                    <a:pt x="93492" y="70119"/>
                  </a:cubicBezTo>
                  <a:cubicBezTo>
                    <a:pt x="93492" y="70119"/>
                    <a:pt x="93492" y="70119"/>
                    <a:pt x="93492" y="70119"/>
                  </a:cubicBezTo>
                  <a:cubicBezTo>
                    <a:pt x="151522" y="70119"/>
                    <a:pt x="235343" y="2418"/>
                    <a:pt x="235343" y="2418"/>
                  </a:cubicBezTo>
                  <a:cubicBezTo>
                    <a:pt x="238567" y="-806"/>
                    <a:pt x="241791" y="-806"/>
                    <a:pt x="245015" y="2418"/>
                  </a:cubicBezTo>
                  <a:cubicBezTo>
                    <a:pt x="248238" y="5642"/>
                    <a:pt x="248238" y="8866"/>
                    <a:pt x="245015" y="12090"/>
                  </a:cubicBezTo>
                  <a:cubicBezTo>
                    <a:pt x="241791" y="18537"/>
                    <a:pt x="157970" y="83015"/>
                    <a:pt x="93492" y="83015"/>
                  </a:cubicBezTo>
                  <a:close/>
                </a:path>
              </a:pathLst>
            </a:custGeom>
            <a:solidFill>
              <a:srgbClr val="E58777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D0E144AE-6999-4FF7-89AE-FECE4E502A3A}"/>
                </a:ext>
              </a:extLst>
            </p:cNvPr>
            <p:cNvSpPr/>
            <p:nvPr/>
          </p:nvSpPr>
          <p:spPr>
            <a:xfrm>
              <a:off x="17173804" y="2552486"/>
              <a:ext cx="128149" cy="309492"/>
            </a:xfrm>
            <a:custGeom>
              <a:avLst/>
              <a:gdLst>
                <a:gd name="connsiteX0" fmla="*/ 119284 w 128149"/>
                <a:gd name="connsiteY0" fmla="*/ 309493 h 309492"/>
                <a:gd name="connsiteX1" fmla="*/ 116060 w 128149"/>
                <a:gd name="connsiteY1" fmla="*/ 306269 h 309492"/>
                <a:gd name="connsiteX2" fmla="*/ 90269 w 128149"/>
                <a:gd name="connsiteY2" fmla="*/ 196657 h 309492"/>
                <a:gd name="connsiteX3" fmla="*/ 38687 w 128149"/>
                <a:gd name="connsiteY3" fmla="*/ 83821 h 309492"/>
                <a:gd name="connsiteX4" fmla="*/ 0 w 128149"/>
                <a:gd name="connsiteY4" fmla="*/ 6448 h 309492"/>
                <a:gd name="connsiteX5" fmla="*/ 6448 w 128149"/>
                <a:gd name="connsiteY5" fmla="*/ 0 h 309492"/>
                <a:gd name="connsiteX6" fmla="*/ 12895 w 128149"/>
                <a:gd name="connsiteY6" fmla="*/ 6448 h 309492"/>
                <a:gd name="connsiteX7" fmla="*/ 48358 w 128149"/>
                <a:gd name="connsiteY7" fmla="*/ 77373 h 309492"/>
                <a:gd name="connsiteX8" fmla="*/ 103165 w 128149"/>
                <a:gd name="connsiteY8" fmla="*/ 199881 h 309492"/>
                <a:gd name="connsiteX9" fmla="*/ 125731 w 128149"/>
                <a:gd name="connsiteY9" fmla="*/ 299821 h 309492"/>
                <a:gd name="connsiteX10" fmla="*/ 125731 w 128149"/>
                <a:gd name="connsiteY10" fmla="*/ 309493 h 309492"/>
                <a:gd name="connsiteX11" fmla="*/ 119284 w 128149"/>
                <a:gd name="connsiteY11" fmla="*/ 309493 h 309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8149" h="309492">
                  <a:moveTo>
                    <a:pt x="119284" y="309493"/>
                  </a:moveTo>
                  <a:cubicBezTo>
                    <a:pt x="116060" y="309493"/>
                    <a:pt x="116060" y="309493"/>
                    <a:pt x="116060" y="306269"/>
                  </a:cubicBezTo>
                  <a:cubicBezTo>
                    <a:pt x="96716" y="283702"/>
                    <a:pt x="80597" y="235343"/>
                    <a:pt x="90269" y="196657"/>
                  </a:cubicBezTo>
                  <a:cubicBezTo>
                    <a:pt x="99940" y="157970"/>
                    <a:pt x="70926" y="109612"/>
                    <a:pt x="38687" y="83821"/>
                  </a:cubicBezTo>
                  <a:cubicBezTo>
                    <a:pt x="3224" y="54806"/>
                    <a:pt x="0" y="6448"/>
                    <a:pt x="0" y="6448"/>
                  </a:cubicBezTo>
                  <a:cubicBezTo>
                    <a:pt x="0" y="3224"/>
                    <a:pt x="3224" y="0"/>
                    <a:pt x="6448" y="0"/>
                  </a:cubicBezTo>
                  <a:cubicBezTo>
                    <a:pt x="9672" y="0"/>
                    <a:pt x="12895" y="3224"/>
                    <a:pt x="12895" y="6448"/>
                  </a:cubicBezTo>
                  <a:cubicBezTo>
                    <a:pt x="12895" y="6448"/>
                    <a:pt x="16119" y="51582"/>
                    <a:pt x="48358" y="77373"/>
                  </a:cubicBezTo>
                  <a:cubicBezTo>
                    <a:pt x="83821" y="106388"/>
                    <a:pt x="112836" y="157970"/>
                    <a:pt x="103165" y="199881"/>
                  </a:cubicBezTo>
                  <a:cubicBezTo>
                    <a:pt x="93492" y="238567"/>
                    <a:pt x="109612" y="280478"/>
                    <a:pt x="125731" y="299821"/>
                  </a:cubicBezTo>
                  <a:cubicBezTo>
                    <a:pt x="128955" y="303045"/>
                    <a:pt x="128955" y="306269"/>
                    <a:pt x="125731" y="309493"/>
                  </a:cubicBezTo>
                  <a:cubicBezTo>
                    <a:pt x="119284" y="309493"/>
                    <a:pt x="119284" y="309493"/>
                    <a:pt x="119284" y="309493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017AE2C-B26B-4BF5-8747-37CD8F86F259}"/>
                </a:ext>
              </a:extLst>
            </p:cNvPr>
            <p:cNvSpPr/>
            <p:nvPr/>
          </p:nvSpPr>
          <p:spPr>
            <a:xfrm>
              <a:off x="16507267" y="2522038"/>
              <a:ext cx="71551" cy="256119"/>
            </a:xfrm>
            <a:custGeom>
              <a:avLst/>
              <a:gdLst>
                <a:gd name="connsiteX0" fmla="*/ 5641 w 71551"/>
                <a:gd name="connsiteY0" fmla="*/ 256119 h 256119"/>
                <a:gd name="connsiteX1" fmla="*/ 2417 w 71551"/>
                <a:gd name="connsiteY1" fmla="*/ 252896 h 256119"/>
                <a:gd name="connsiteX2" fmla="*/ 2417 w 71551"/>
                <a:gd name="connsiteY2" fmla="*/ 243224 h 256119"/>
                <a:gd name="connsiteX3" fmla="*/ 15314 w 71551"/>
                <a:gd name="connsiteY3" fmla="*/ 98149 h 256119"/>
                <a:gd name="connsiteX4" fmla="*/ 60448 w 71551"/>
                <a:gd name="connsiteY4" fmla="*/ 1433 h 256119"/>
                <a:gd name="connsiteX5" fmla="*/ 70119 w 71551"/>
                <a:gd name="connsiteY5" fmla="*/ 1433 h 256119"/>
                <a:gd name="connsiteX6" fmla="*/ 70119 w 71551"/>
                <a:gd name="connsiteY6" fmla="*/ 11105 h 256119"/>
                <a:gd name="connsiteX7" fmla="*/ 31433 w 71551"/>
                <a:gd name="connsiteY7" fmla="*/ 94925 h 256119"/>
                <a:gd name="connsiteX8" fmla="*/ 15314 w 71551"/>
                <a:gd name="connsiteY8" fmla="*/ 249672 h 256119"/>
                <a:gd name="connsiteX9" fmla="*/ 5641 w 71551"/>
                <a:gd name="connsiteY9" fmla="*/ 256119 h 256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551" h="256119">
                  <a:moveTo>
                    <a:pt x="5641" y="256119"/>
                  </a:moveTo>
                  <a:cubicBezTo>
                    <a:pt x="2417" y="256119"/>
                    <a:pt x="2417" y="256119"/>
                    <a:pt x="2417" y="252896"/>
                  </a:cubicBezTo>
                  <a:cubicBezTo>
                    <a:pt x="-806" y="249672"/>
                    <a:pt x="-806" y="246448"/>
                    <a:pt x="2417" y="243224"/>
                  </a:cubicBezTo>
                  <a:cubicBezTo>
                    <a:pt x="34656" y="217433"/>
                    <a:pt x="28209" y="156179"/>
                    <a:pt x="15314" y="98149"/>
                  </a:cubicBezTo>
                  <a:cubicBezTo>
                    <a:pt x="2417" y="43343"/>
                    <a:pt x="57224" y="1433"/>
                    <a:pt x="60448" y="1433"/>
                  </a:cubicBezTo>
                  <a:cubicBezTo>
                    <a:pt x="63672" y="-1791"/>
                    <a:pt x="66895" y="1433"/>
                    <a:pt x="70119" y="1433"/>
                  </a:cubicBezTo>
                  <a:cubicBezTo>
                    <a:pt x="73343" y="4657"/>
                    <a:pt x="70119" y="7881"/>
                    <a:pt x="70119" y="11105"/>
                  </a:cubicBezTo>
                  <a:cubicBezTo>
                    <a:pt x="70119" y="11105"/>
                    <a:pt x="21761" y="49791"/>
                    <a:pt x="31433" y="94925"/>
                  </a:cubicBezTo>
                  <a:cubicBezTo>
                    <a:pt x="44328" y="156179"/>
                    <a:pt x="50776" y="220657"/>
                    <a:pt x="15314" y="249672"/>
                  </a:cubicBezTo>
                  <a:cubicBezTo>
                    <a:pt x="8865" y="256119"/>
                    <a:pt x="5641" y="256119"/>
                    <a:pt x="5641" y="256119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06F4A03B-8E6D-47A7-A22F-26522E4E1017}"/>
                </a:ext>
              </a:extLst>
            </p:cNvPr>
            <p:cNvSpPr/>
            <p:nvPr/>
          </p:nvSpPr>
          <p:spPr>
            <a:xfrm>
              <a:off x="16566282" y="2720128"/>
              <a:ext cx="63243" cy="125731"/>
            </a:xfrm>
            <a:custGeom>
              <a:avLst/>
              <a:gdLst>
                <a:gd name="connsiteX0" fmla="*/ 4657 w 63243"/>
                <a:gd name="connsiteY0" fmla="*/ 125731 h 125731"/>
                <a:gd name="connsiteX1" fmla="*/ 1433 w 63243"/>
                <a:gd name="connsiteY1" fmla="*/ 122507 h 125731"/>
                <a:gd name="connsiteX2" fmla="*/ 1433 w 63243"/>
                <a:gd name="connsiteY2" fmla="*/ 112836 h 125731"/>
                <a:gd name="connsiteX3" fmla="*/ 49791 w 63243"/>
                <a:gd name="connsiteY3" fmla="*/ 6448 h 125731"/>
                <a:gd name="connsiteX4" fmla="*/ 56238 w 63243"/>
                <a:gd name="connsiteY4" fmla="*/ 0 h 125731"/>
                <a:gd name="connsiteX5" fmla="*/ 62686 w 63243"/>
                <a:gd name="connsiteY5" fmla="*/ 6448 h 125731"/>
                <a:gd name="connsiteX6" fmla="*/ 11104 w 63243"/>
                <a:gd name="connsiteY6" fmla="*/ 122507 h 125731"/>
                <a:gd name="connsiteX7" fmla="*/ 4657 w 63243"/>
                <a:gd name="connsiteY7" fmla="*/ 125731 h 125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243" h="125731">
                  <a:moveTo>
                    <a:pt x="4657" y="125731"/>
                  </a:moveTo>
                  <a:cubicBezTo>
                    <a:pt x="1433" y="125731"/>
                    <a:pt x="1433" y="125731"/>
                    <a:pt x="1433" y="122507"/>
                  </a:cubicBezTo>
                  <a:cubicBezTo>
                    <a:pt x="-1791" y="119284"/>
                    <a:pt x="1433" y="116060"/>
                    <a:pt x="1433" y="112836"/>
                  </a:cubicBezTo>
                  <a:cubicBezTo>
                    <a:pt x="56238" y="74149"/>
                    <a:pt x="49791" y="9672"/>
                    <a:pt x="49791" y="6448"/>
                  </a:cubicBezTo>
                  <a:cubicBezTo>
                    <a:pt x="49791" y="3224"/>
                    <a:pt x="53015" y="0"/>
                    <a:pt x="56238" y="0"/>
                  </a:cubicBezTo>
                  <a:cubicBezTo>
                    <a:pt x="59462" y="0"/>
                    <a:pt x="62686" y="3224"/>
                    <a:pt x="62686" y="6448"/>
                  </a:cubicBezTo>
                  <a:cubicBezTo>
                    <a:pt x="62686" y="9672"/>
                    <a:pt x="72358" y="77373"/>
                    <a:pt x="11104" y="122507"/>
                  </a:cubicBezTo>
                  <a:cubicBezTo>
                    <a:pt x="4657" y="125731"/>
                    <a:pt x="4657" y="125731"/>
                    <a:pt x="4657" y="125731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8605D1A7-67AB-4548-8ACD-CCF77D5BFD9B}"/>
                </a:ext>
              </a:extLst>
            </p:cNvPr>
            <p:cNvSpPr/>
            <p:nvPr/>
          </p:nvSpPr>
          <p:spPr>
            <a:xfrm>
              <a:off x="16567715" y="3658277"/>
              <a:ext cx="586745" cy="55435"/>
            </a:xfrm>
            <a:custGeom>
              <a:avLst/>
              <a:gdLst>
                <a:gd name="connsiteX0" fmla="*/ 586746 w 586745"/>
                <a:gd name="connsiteY0" fmla="*/ 35463 h 55435"/>
                <a:gd name="connsiteX1" fmla="*/ 3224 w 586745"/>
                <a:gd name="connsiteY1" fmla="*/ 48358 h 55435"/>
                <a:gd name="connsiteX2" fmla="*/ 0 w 586745"/>
                <a:gd name="connsiteY2" fmla="*/ 9672 h 55435"/>
                <a:gd name="connsiteX3" fmla="*/ 580299 w 586745"/>
                <a:gd name="connsiteY3" fmla="*/ 0 h 55435"/>
                <a:gd name="connsiteX4" fmla="*/ 586746 w 586745"/>
                <a:gd name="connsiteY4" fmla="*/ 35463 h 55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6745" h="55435">
                  <a:moveTo>
                    <a:pt x="586746" y="35463"/>
                  </a:moveTo>
                  <a:cubicBezTo>
                    <a:pt x="425552" y="70925"/>
                    <a:pt x="3224" y="48358"/>
                    <a:pt x="3224" y="48358"/>
                  </a:cubicBezTo>
                  <a:lnTo>
                    <a:pt x="0" y="9672"/>
                  </a:lnTo>
                  <a:cubicBezTo>
                    <a:pt x="0" y="9672"/>
                    <a:pt x="354627" y="32239"/>
                    <a:pt x="580299" y="0"/>
                  </a:cubicBezTo>
                  <a:lnTo>
                    <a:pt x="586746" y="35463"/>
                  </a:ln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AF0AEE9C-C3E9-488C-AE7B-F980CB66093A}"/>
                </a:ext>
              </a:extLst>
            </p:cNvPr>
            <p:cNvGrpSpPr/>
            <p:nvPr/>
          </p:nvGrpSpPr>
          <p:grpSpPr>
            <a:xfrm>
              <a:off x="16975987" y="3858157"/>
              <a:ext cx="160372" cy="209552"/>
              <a:chOff x="16975987" y="3858157"/>
              <a:chExt cx="160372" cy="209552"/>
            </a:xfrm>
          </p:grpSpPr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CBAAE6E3-F1A9-470B-9532-717F82EE7232}"/>
                  </a:ext>
                </a:extLst>
              </p:cNvPr>
              <p:cNvSpPr/>
              <p:nvPr/>
            </p:nvSpPr>
            <p:spPr>
              <a:xfrm>
                <a:off x="16983079" y="3858157"/>
                <a:ext cx="153280" cy="204439"/>
              </a:xfrm>
              <a:custGeom>
                <a:avLst/>
                <a:gdLst>
                  <a:gd name="connsiteX0" fmla="*/ 110128 w 153280"/>
                  <a:gd name="connsiteY0" fmla="*/ 3224 h 204439"/>
                  <a:gd name="connsiteX1" fmla="*/ 100456 w 153280"/>
                  <a:gd name="connsiteY1" fmla="*/ 0 h 204439"/>
                  <a:gd name="connsiteX2" fmla="*/ 10187 w 153280"/>
                  <a:gd name="connsiteY2" fmla="*/ 67702 h 204439"/>
                  <a:gd name="connsiteX3" fmla="*/ 516 w 153280"/>
                  <a:gd name="connsiteY3" fmla="*/ 135403 h 204439"/>
                  <a:gd name="connsiteX4" fmla="*/ 6964 w 153280"/>
                  <a:gd name="connsiteY4" fmla="*/ 161194 h 204439"/>
                  <a:gd name="connsiteX5" fmla="*/ 13411 w 153280"/>
                  <a:gd name="connsiteY5" fmla="*/ 161194 h 204439"/>
                  <a:gd name="connsiteX6" fmla="*/ 19859 w 153280"/>
                  <a:gd name="connsiteY6" fmla="*/ 151522 h 204439"/>
                  <a:gd name="connsiteX7" fmla="*/ 23083 w 153280"/>
                  <a:gd name="connsiteY7" fmla="*/ 180537 h 204439"/>
                  <a:gd name="connsiteX8" fmla="*/ 35979 w 153280"/>
                  <a:gd name="connsiteY8" fmla="*/ 203104 h 204439"/>
                  <a:gd name="connsiteX9" fmla="*/ 52098 w 153280"/>
                  <a:gd name="connsiteY9" fmla="*/ 199881 h 204439"/>
                  <a:gd name="connsiteX10" fmla="*/ 52098 w 153280"/>
                  <a:gd name="connsiteY10" fmla="*/ 199881 h 204439"/>
                  <a:gd name="connsiteX11" fmla="*/ 58545 w 153280"/>
                  <a:gd name="connsiteY11" fmla="*/ 203104 h 204439"/>
                  <a:gd name="connsiteX12" fmla="*/ 84337 w 153280"/>
                  <a:gd name="connsiteY12" fmla="*/ 161194 h 204439"/>
                  <a:gd name="connsiteX13" fmla="*/ 97232 w 153280"/>
                  <a:gd name="connsiteY13" fmla="*/ 170866 h 204439"/>
                  <a:gd name="connsiteX14" fmla="*/ 103680 w 153280"/>
                  <a:gd name="connsiteY14" fmla="*/ 167642 h 204439"/>
                  <a:gd name="connsiteX15" fmla="*/ 123023 w 153280"/>
                  <a:gd name="connsiteY15" fmla="*/ 96717 h 204439"/>
                  <a:gd name="connsiteX16" fmla="*/ 152039 w 153280"/>
                  <a:gd name="connsiteY16" fmla="*/ 54806 h 204439"/>
                  <a:gd name="connsiteX17" fmla="*/ 110128 w 153280"/>
                  <a:gd name="connsiteY17" fmla="*/ 3224 h 204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3280" h="204439">
                    <a:moveTo>
                      <a:pt x="110128" y="3224"/>
                    </a:moveTo>
                    <a:cubicBezTo>
                      <a:pt x="106904" y="0"/>
                      <a:pt x="103680" y="0"/>
                      <a:pt x="100456" y="0"/>
                    </a:cubicBezTo>
                    <a:cubicBezTo>
                      <a:pt x="71442" y="9672"/>
                      <a:pt x="19859" y="35463"/>
                      <a:pt x="10187" y="67702"/>
                    </a:cubicBezTo>
                    <a:cubicBezTo>
                      <a:pt x="3740" y="90269"/>
                      <a:pt x="516" y="112836"/>
                      <a:pt x="516" y="135403"/>
                    </a:cubicBezTo>
                    <a:cubicBezTo>
                      <a:pt x="516" y="145075"/>
                      <a:pt x="-2708" y="154746"/>
                      <a:pt x="6964" y="161194"/>
                    </a:cubicBezTo>
                    <a:cubicBezTo>
                      <a:pt x="10187" y="161194"/>
                      <a:pt x="13411" y="164418"/>
                      <a:pt x="13411" y="161194"/>
                    </a:cubicBezTo>
                    <a:cubicBezTo>
                      <a:pt x="16635" y="157970"/>
                      <a:pt x="19859" y="154746"/>
                      <a:pt x="19859" y="151522"/>
                    </a:cubicBezTo>
                    <a:cubicBezTo>
                      <a:pt x="19859" y="161194"/>
                      <a:pt x="19859" y="170866"/>
                      <a:pt x="23083" y="180537"/>
                    </a:cubicBezTo>
                    <a:cubicBezTo>
                      <a:pt x="23083" y="190209"/>
                      <a:pt x="26307" y="199881"/>
                      <a:pt x="35979" y="203104"/>
                    </a:cubicBezTo>
                    <a:cubicBezTo>
                      <a:pt x="42426" y="206328"/>
                      <a:pt x="48874" y="203104"/>
                      <a:pt x="52098" y="199881"/>
                    </a:cubicBezTo>
                    <a:cubicBezTo>
                      <a:pt x="52098" y="199881"/>
                      <a:pt x="52098" y="199881"/>
                      <a:pt x="52098" y="199881"/>
                    </a:cubicBezTo>
                    <a:cubicBezTo>
                      <a:pt x="52098" y="203104"/>
                      <a:pt x="55322" y="203104"/>
                      <a:pt x="58545" y="203104"/>
                    </a:cubicBezTo>
                    <a:cubicBezTo>
                      <a:pt x="74665" y="203104"/>
                      <a:pt x="81113" y="180537"/>
                      <a:pt x="84337" y="161194"/>
                    </a:cubicBezTo>
                    <a:cubicBezTo>
                      <a:pt x="87561" y="164418"/>
                      <a:pt x="90784" y="167642"/>
                      <a:pt x="97232" y="170866"/>
                    </a:cubicBezTo>
                    <a:cubicBezTo>
                      <a:pt x="100456" y="170866"/>
                      <a:pt x="103680" y="170866"/>
                      <a:pt x="103680" y="167642"/>
                    </a:cubicBezTo>
                    <a:cubicBezTo>
                      <a:pt x="116576" y="145075"/>
                      <a:pt x="106904" y="119284"/>
                      <a:pt x="123023" y="96717"/>
                    </a:cubicBezTo>
                    <a:cubicBezTo>
                      <a:pt x="132695" y="80597"/>
                      <a:pt x="148815" y="74149"/>
                      <a:pt x="152039" y="54806"/>
                    </a:cubicBezTo>
                    <a:cubicBezTo>
                      <a:pt x="158486" y="22567"/>
                      <a:pt x="139142" y="3224"/>
                      <a:pt x="110128" y="322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22C80B22-493C-4686-B0ED-3312308B947F}"/>
                  </a:ext>
                </a:extLst>
              </p:cNvPr>
              <p:cNvSpPr/>
              <p:nvPr/>
            </p:nvSpPr>
            <p:spPr>
              <a:xfrm>
                <a:off x="16975987" y="3911628"/>
                <a:ext cx="32592" cy="114171"/>
              </a:xfrm>
              <a:custGeom>
                <a:avLst/>
                <a:gdLst>
                  <a:gd name="connsiteX0" fmla="*/ 14056 w 32592"/>
                  <a:gd name="connsiteY0" fmla="*/ 114171 h 114171"/>
                  <a:gd name="connsiteX1" fmla="*/ 4384 w 32592"/>
                  <a:gd name="connsiteY1" fmla="*/ 107724 h 114171"/>
                  <a:gd name="connsiteX2" fmla="*/ 14056 w 32592"/>
                  <a:gd name="connsiteY2" fmla="*/ 4559 h 114171"/>
                  <a:gd name="connsiteX3" fmla="*/ 20503 w 32592"/>
                  <a:gd name="connsiteY3" fmla="*/ 1335 h 114171"/>
                  <a:gd name="connsiteX4" fmla="*/ 23727 w 32592"/>
                  <a:gd name="connsiteY4" fmla="*/ 7783 h 114171"/>
                  <a:gd name="connsiteX5" fmla="*/ 10832 w 32592"/>
                  <a:gd name="connsiteY5" fmla="*/ 98052 h 114171"/>
                  <a:gd name="connsiteX6" fmla="*/ 20503 w 32592"/>
                  <a:gd name="connsiteY6" fmla="*/ 91604 h 114171"/>
                  <a:gd name="connsiteX7" fmla="*/ 30175 w 32592"/>
                  <a:gd name="connsiteY7" fmla="*/ 91604 h 114171"/>
                  <a:gd name="connsiteX8" fmla="*/ 30175 w 32592"/>
                  <a:gd name="connsiteY8" fmla="*/ 101276 h 114171"/>
                  <a:gd name="connsiteX9" fmla="*/ 14056 w 32592"/>
                  <a:gd name="connsiteY9" fmla="*/ 114171 h 114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592" h="114171">
                    <a:moveTo>
                      <a:pt x="14056" y="114171"/>
                    </a:moveTo>
                    <a:cubicBezTo>
                      <a:pt x="10832" y="114171"/>
                      <a:pt x="7608" y="110947"/>
                      <a:pt x="4384" y="107724"/>
                    </a:cubicBezTo>
                    <a:cubicBezTo>
                      <a:pt x="-8512" y="91604"/>
                      <a:pt x="10832" y="23902"/>
                      <a:pt x="14056" y="4559"/>
                    </a:cubicBezTo>
                    <a:cubicBezTo>
                      <a:pt x="14056" y="1335"/>
                      <a:pt x="17279" y="-1888"/>
                      <a:pt x="20503" y="1335"/>
                    </a:cubicBezTo>
                    <a:cubicBezTo>
                      <a:pt x="23727" y="1335"/>
                      <a:pt x="26951" y="4559"/>
                      <a:pt x="23727" y="7783"/>
                    </a:cubicBezTo>
                    <a:cubicBezTo>
                      <a:pt x="10832" y="49694"/>
                      <a:pt x="4384" y="94828"/>
                      <a:pt x="10832" y="98052"/>
                    </a:cubicBezTo>
                    <a:cubicBezTo>
                      <a:pt x="14056" y="98052"/>
                      <a:pt x="17279" y="94828"/>
                      <a:pt x="20503" y="91604"/>
                    </a:cubicBezTo>
                    <a:cubicBezTo>
                      <a:pt x="23727" y="88380"/>
                      <a:pt x="26951" y="88380"/>
                      <a:pt x="30175" y="91604"/>
                    </a:cubicBezTo>
                    <a:cubicBezTo>
                      <a:pt x="33399" y="94828"/>
                      <a:pt x="33399" y="98052"/>
                      <a:pt x="30175" y="101276"/>
                    </a:cubicBezTo>
                    <a:cubicBezTo>
                      <a:pt x="30175" y="104499"/>
                      <a:pt x="23727" y="114171"/>
                      <a:pt x="14056" y="11417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71D06303-5AE0-4F0D-AF96-FA70D16B2808}"/>
                  </a:ext>
                </a:extLst>
              </p:cNvPr>
              <p:cNvSpPr/>
              <p:nvPr/>
            </p:nvSpPr>
            <p:spPr>
              <a:xfrm>
                <a:off x="16999056" y="3938755"/>
                <a:ext cx="42568" cy="128955"/>
              </a:xfrm>
              <a:custGeom>
                <a:avLst/>
                <a:gdLst>
                  <a:gd name="connsiteX0" fmla="*/ 26449 w 42568"/>
                  <a:gd name="connsiteY0" fmla="*/ 128955 h 128955"/>
                  <a:gd name="connsiteX1" fmla="*/ 16777 w 42568"/>
                  <a:gd name="connsiteY1" fmla="*/ 125731 h 128955"/>
                  <a:gd name="connsiteX2" fmla="*/ 658 w 42568"/>
                  <a:gd name="connsiteY2" fmla="*/ 90269 h 128955"/>
                  <a:gd name="connsiteX3" fmla="*/ 658 w 42568"/>
                  <a:gd name="connsiteY3" fmla="*/ 87045 h 128955"/>
                  <a:gd name="connsiteX4" fmla="*/ 7106 w 42568"/>
                  <a:gd name="connsiteY4" fmla="*/ 6448 h 128955"/>
                  <a:gd name="connsiteX5" fmla="*/ 13553 w 42568"/>
                  <a:gd name="connsiteY5" fmla="*/ 0 h 128955"/>
                  <a:gd name="connsiteX6" fmla="*/ 20001 w 42568"/>
                  <a:gd name="connsiteY6" fmla="*/ 6448 h 128955"/>
                  <a:gd name="connsiteX7" fmla="*/ 13553 w 42568"/>
                  <a:gd name="connsiteY7" fmla="*/ 83821 h 128955"/>
                  <a:gd name="connsiteX8" fmla="*/ 13553 w 42568"/>
                  <a:gd name="connsiteY8" fmla="*/ 87045 h 128955"/>
                  <a:gd name="connsiteX9" fmla="*/ 23226 w 42568"/>
                  <a:gd name="connsiteY9" fmla="*/ 112836 h 128955"/>
                  <a:gd name="connsiteX10" fmla="*/ 29673 w 42568"/>
                  <a:gd name="connsiteY10" fmla="*/ 112836 h 128955"/>
                  <a:gd name="connsiteX11" fmla="*/ 29673 w 42568"/>
                  <a:gd name="connsiteY11" fmla="*/ 22567 h 128955"/>
                  <a:gd name="connsiteX12" fmla="*/ 39345 w 42568"/>
                  <a:gd name="connsiteY12" fmla="*/ 19343 h 128955"/>
                  <a:gd name="connsiteX13" fmla="*/ 42568 w 42568"/>
                  <a:gd name="connsiteY13" fmla="*/ 29015 h 128955"/>
                  <a:gd name="connsiteX14" fmla="*/ 42568 w 42568"/>
                  <a:gd name="connsiteY14" fmla="*/ 119283 h 128955"/>
                  <a:gd name="connsiteX15" fmla="*/ 39345 w 42568"/>
                  <a:gd name="connsiteY15" fmla="*/ 125731 h 128955"/>
                  <a:gd name="connsiteX16" fmla="*/ 26449 w 42568"/>
                  <a:gd name="connsiteY16" fmla="*/ 128955 h 128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2568" h="128955">
                    <a:moveTo>
                      <a:pt x="26449" y="128955"/>
                    </a:moveTo>
                    <a:cubicBezTo>
                      <a:pt x="23226" y="128955"/>
                      <a:pt x="20001" y="128955"/>
                      <a:pt x="16777" y="125731"/>
                    </a:cubicBezTo>
                    <a:cubicBezTo>
                      <a:pt x="3882" y="119283"/>
                      <a:pt x="3882" y="103164"/>
                      <a:pt x="658" y="90269"/>
                    </a:cubicBezTo>
                    <a:lnTo>
                      <a:pt x="658" y="87045"/>
                    </a:lnTo>
                    <a:cubicBezTo>
                      <a:pt x="-2566" y="70925"/>
                      <a:pt x="7106" y="12895"/>
                      <a:pt x="7106" y="6448"/>
                    </a:cubicBezTo>
                    <a:cubicBezTo>
                      <a:pt x="7106" y="3224"/>
                      <a:pt x="10329" y="0"/>
                      <a:pt x="13553" y="0"/>
                    </a:cubicBezTo>
                    <a:cubicBezTo>
                      <a:pt x="16777" y="0"/>
                      <a:pt x="20001" y="3224"/>
                      <a:pt x="20001" y="6448"/>
                    </a:cubicBezTo>
                    <a:cubicBezTo>
                      <a:pt x="16777" y="22567"/>
                      <a:pt x="10329" y="67701"/>
                      <a:pt x="13553" y="83821"/>
                    </a:cubicBezTo>
                    <a:lnTo>
                      <a:pt x="13553" y="87045"/>
                    </a:lnTo>
                    <a:cubicBezTo>
                      <a:pt x="13553" y="96716"/>
                      <a:pt x="16777" y="109612"/>
                      <a:pt x="23226" y="112836"/>
                    </a:cubicBezTo>
                    <a:cubicBezTo>
                      <a:pt x="26449" y="112836"/>
                      <a:pt x="29673" y="112836"/>
                      <a:pt x="29673" y="112836"/>
                    </a:cubicBezTo>
                    <a:cubicBezTo>
                      <a:pt x="26449" y="96716"/>
                      <a:pt x="20001" y="45134"/>
                      <a:pt x="29673" y="22567"/>
                    </a:cubicBezTo>
                    <a:cubicBezTo>
                      <a:pt x="29673" y="19343"/>
                      <a:pt x="36121" y="16119"/>
                      <a:pt x="39345" y="19343"/>
                    </a:cubicBezTo>
                    <a:cubicBezTo>
                      <a:pt x="42568" y="19343"/>
                      <a:pt x="42568" y="25791"/>
                      <a:pt x="42568" y="29015"/>
                    </a:cubicBezTo>
                    <a:cubicBezTo>
                      <a:pt x="36121" y="48358"/>
                      <a:pt x="42568" y="99940"/>
                      <a:pt x="42568" y="119283"/>
                    </a:cubicBezTo>
                    <a:cubicBezTo>
                      <a:pt x="42568" y="122507"/>
                      <a:pt x="42568" y="125731"/>
                      <a:pt x="39345" y="125731"/>
                    </a:cubicBezTo>
                    <a:cubicBezTo>
                      <a:pt x="36121" y="128955"/>
                      <a:pt x="29673" y="128955"/>
                      <a:pt x="26449" y="12895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7513B17C-877F-4EBC-AC70-1A08455441EC}"/>
                  </a:ext>
                </a:extLst>
              </p:cNvPr>
              <p:cNvSpPr/>
              <p:nvPr/>
            </p:nvSpPr>
            <p:spPr>
              <a:xfrm>
                <a:off x="17028729" y="3933113"/>
                <a:ext cx="57224" cy="134597"/>
              </a:xfrm>
              <a:custGeom>
                <a:avLst/>
                <a:gdLst>
                  <a:gd name="connsiteX0" fmla="*/ 16119 w 57224"/>
                  <a:gd name="connsiteY0" fmla="*/ 134597 h 134597"/>
                  <a:gd name="connsiteX1" fmla="*/ 3224 w 57224"/>
                  <a:gd name="connsiteY1" fmla="*/ 131373 h 134597"/>
                  <a:gd name="connsiteX2" fmla="*/ 0 w 57224"/>
                  <a:gd name="connsiteY2" fmla="*/ 121702 h 134597"/>
                  <a:gd name="connsiteX3" fmla="*/ 9672 w 57224"/>
                  <a:gd name="connsiteY3" fmla="*/ 118478 h 134597"/>
                  <a:gd name="connsiteX4" fmla="*/ 22568 w 57224"/>
                  <a:gd name="connsiteY4" fmla="*/ 115254 h 134597"/>
                  <a:gd name="connsiteX5" fmla="*/ 32239 w 57224"/>
                  <a:gd name="connsiteY5" fmla="*/ 86239 h 134597"/>
                  <a:gd name="connsiteX6" fmla="*/ 25792 w 57224"/>
                  <a:gd name="connsiteY6" fmla="*/ 31433 h 134597"/>
                  <a:gd name="connsiteX7" fmla="*/ 45134 w 57224"/>
                  <a:gd name="connsiteY7" fmla="*/ 2418 h 134597"/>
                  <a:gd name="connsiteX8" fmla="*/ 54806 w 57224"/>
                  <a:gd name="connsiteY8" fmla="*/ 2418 h 134597"/>
                  <a:gd name="connsiteX9" fmla="*/ 54806 w 57224"/>
                  <a:gd name="connsiteY9" fmla="*/ 12090 h 134597"/>
                  <a:gd name="connsiteX10" fmla="*/ 38687 w 57224"/>
                  <a:gd name="connsiteY10" fmla="*/ 37881 h 134597"/>
                  <a:gd name="connsiteX11" fmla="*/ 45134 w 57224"/>
                  <a:gd name="connsiteY11" fmla="*/ 86239 h 134597"/>
                  <a:gd name="connsiteX12" fmla="*/ 35463 w 57224"/>
                  <a:gd name="connsiteY12" fmla="*/ 124925 h 134597"/>
                  <a:gd name="connsiteX13" fmla="*/ 16119 w 57224"/>
                  <a:gd name="connsiteY13" fmla="*/ 134597 h 134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7224" h="134597">
                    <a:moveTo>
                      <a:pt x="16119" y="134597"/>
                    </a:moveTo>
                    <a:cubicBezTo>
                      <a:pt x="12895" y="134597"/>
                      <a:pt x="6448" y="134597"/>
                      <a:pt x="3224" y="131373"/>
                    </a:cubicBezTo>
                    <a:cubicBezTo>
                      <a:pt x="0" y="128149"/>
                      <a:pt x="0" y="124925"/>
                      <a:pt x="0" y="121702"/>
                    </a:cubicBezTo>
                    <a:cubicBezTo>
                      <a:pt x="3224" y="118478"/>
                      <a:pt x="6448" y="118478"/>
                      <a:pt x="9672" y="118478"/>
                    </a:cubicBezTo>
                    <a:cubicBezTo>
                      <a:pt x="12895" y="118478"/>
                      <a:pt x="16119" y="121702"/>
                      <a:pt x="22568" y="115254"/>
                    </a:cubicBezTo>
                    <a:cubicBezTo>
                      <a:pt x="32239" y="105582"/>
                      <a:pt x="32239" y="86239"/>
                      <a:pt x="32239" y="86239"/>
                    </a:cubicBezTo>
                    <a:cubicBezTo>
                      <a:pt x="29015" y="76567"/>
                      <a:pt x="25792" y="41105"/>
                      <a:pt x="25792" y="31433"/>
                    </a:cubicBezTo>
                    <a:cubicBezTo>
                      <a:pt x="29015" y="21761"/>
                      <a:pt x="41911" y="5642"/>
                      <a:pt x="45134" y="2418"/>
                    </a:cubicBezTo>
                    <a:cubicBezTo>
                      <a:pt x="48358" y="-806"/>
                      <a:pt x="51582" y="-806"/>
                      <a:pt x="54806" y="2418"/>
                    </a:cubicBezTo>
                    <a:cubicBezTo>
                      <a:pt x="58030" y="5642"/>
                      <a:pt x="58030" y="8866"/>
                      <a:pt x="54806" y="12090"/>
                    </a:cubicBezTo>
                    <a:cubicBezTo>
                      <a:pt x="48358" y="18537"/>
                      <a:pt x="38687" y="31433"/>
                      <a:pt x="38687" y="37881"/>
                    </a:cubicBezTo>
                    <a:cubicBezTo>
                      <a:pt x="38687" y="41105"/>
                      <a:pt x="41911" y="66895"/>
                      <a:pt x="45134" y="86239"/>
                    </a:cubicBezTo>
                    <a:cubicBezTo>
                      <a:pt x="45134" y="89463"/>
                      <a:pt x="45134" y="112030"/>
                      <a:pt x="35463" y="124925"/>
                    </a:cubicBezTo>
                    <a:cubicBezTo>
                      <a:pt x="29015" y="131373"/>
                      <a:pt x="22568" y="134597"/>
                      <a:pt x="16119" y="13459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726A5C4C-7AA1-447F-881D-2DFD1AD19B32}"/>
                </a:ext>
              </a:extLst>
            </p:cNvPr>
            <p:cNvSpPr/>
            <p:nvPr/>
          </p:nvSpPr>
          <p:spPr>
            <a:xfrm>
              <a:off x="17041625" y="2979410"/>
              <a:ext cx="409477" cy="949673"/>
            </a:xfrm>
            <a:custGeom>
              <a:avLst/>
              <a:gdLst>
                <a:gd name="connsiteX0" fmla="*/ 196657 w 409477"/>
                <a:gd name="connsiteY0" fmla="*/ 46986 h 949673"/>
                <a:gd name="connsiteX1" fmla="*/ 25792 w 409477"/>
                <a:gd name="connsiteY1" fmla="*/ 182389 h 949673"/>
                <a:gd name="connsiteX2" fmla="*/ 222449 w 409477"/>
                <a:gd name="connsiteY2" fmla="*/ 553136 h 949673"/>
                <a:gd name="connsiteX3" fmla="*/ 0 w 409477"/>
                <a:gd name="connsiteY3" fmla="*/ 914210 h 949673"/>
                <a:gd name="connsiteX4" fmla="*/ 80597 w 409477"/>
                <a:gd name="connsiteY4" fmla="*/ 949673 h 949673"/>
                <a:gd name="connsiteX5" fmla="*/ 406209 w 409477"/>
                <a:gd name="connsiteY5" fmla="*/ 572479 h 949673"/>
                <a:gd name="connsiteX6" fmla="*/ 196657 w 409477"/>
                <a:gd name="connsiteY6" fmla="*/ 46986 h 94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9477" h="949673">
                  <a:moveTo>
                    <a:pt x="196657" y="46986"/>
                  </a:moveTo>
                  <a:cubicBezTo>
                    <a:pt x="99940" y="-78745"/>
                    <a:pt x="-12895" y="76001"/>
                    <a:pt x="25792" y="182389"/>
                  </a:cubicBezTo>
                  <a:cubicBezTo>
                    <a:pt x="64478" y="285554"/>
                    <a:pt x="193433" y="488658"/>
                    <a:pt x="222449" y="553136"/>
                  </a:cubicBezTo>
                  <a:cubicBezTo>
                    <a:pt x="209552" y="633733"/>
                    <a:pt x="0" y="914210"/>
                    <a:pt x="0" y="914210"/>
                  </a:cubicBezTo>
                  <a:cubicBezTo>
                    <a:pt x="22568" y="933554"/>
                    <a:pt x="80597" y="949673"/>
                    <a:pt x="80597" y="949673"/>
                  </a:cubicBezTo>
                  <a:cubicBezTo>
                    <a:pt x="80597" y="949673"/>
                    <a:pt x="354627" y="672419"/>
                    <a:pt x="406209" y="572479"/>
                  </a:cubicBezTo>
                  <a:cubicBezTo>
                    <a:pt x="432001" y="517673"/>
                    <a:pt x="299821" y="179165"/>
                    <a:pt x="196657" y="46986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C7AACAD2-C36D-4686-AC89-D5C5D0FA465E}"/>
                </a:ext>
              </a:extLst>
            </p:cNvPr>
            <p:cNvSpPr/>
            <p:nvPr/>
          </p:nvSpPr>
          <p:spPr>
            <a:xfrm>
              <a:off x="17021602" y="2903594"/>
              <a:ext cx="335963" cy="378695"/>
            </a:xfrm>
            <a:custGeom>
              <a:avLst/>
              <a:gdLst>
                <a:gd name="connsiteX0" fmla="*/ 335963 w 335963"/>
                <a:gd name="connsiteY0" fmla="*/ 242086 h 378695"/>
                <a:gd name="connsiteX1" fmla="*/ 84500 w 335963"/>
                <a:gd name="connsiteY1" fmla="*/ 295 h 378695"/>
                <a:gd name="connsiteX2" fmla="*/ 45814 w 335963"/>
                <a:gd name="connsiteY2" fmla="*/ 377489 h 378695"/>
                <a:gd name="connsiteX3" fmla="*/ 335963 w 335963"/>
                <a:gd name="connsiteY3" fmla="*/ 242086 h 378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963" h="378695">
                  <a:moveTo>
                    <a:pt x="335963" y="242086"/>
                  </a:moveTo>
                  <a:cubicBezTo>
                    <a:pt x="284381" y="93787"/>
                    <a:pt x="152202" y="-6153"/>
                    <a:pt x="84500" y="295"/>
                  </a:cubicBezTo>
                  <a:cubicBezTo>
                    <a:pt x="-5768" y="13190"/>
                    <a:pt x="-31559" y="216295"/>
                    <a:pt x="45814" y="377489"/>
                  </a:cubicBezTo>
                  <a:cubicBezTo>
                    <a:pt x="110292" y="390384"/>
                    <a:pt x="265038" y="296892"/>
                    <a:pt x="335963" y="242086"/>
                  </a:cubicBezTo>
                  <a:close/>
                </a:path>
              </a:pathLst>
            </a:custGeom>
            <a:solidFill>
              <a:srgbClr val="F6EBE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61D77BA2-BB3D-4E6F-8143-BB8091F76492}"/>
                </a:ext>
              </a:extLst>
            </p:cNvPr>
            <p:cNvSpPr/>
            <p:nvPr/>
          </p:nvSpPr>
          <p:spPr>
            <a:xfrm>
              <a:off x="17015432" y="2903889"/>
              <a:ext cx="171266" cy="386865"/>
            </a:xfrm>
            <a:custGeom>
              <a:avLst/>
              <a:gdLst>
                <a:gd name="connsiteX0" fmla="*/ 58431 w 171266"/>
                <a:gd name="connsiteY0" fmla="*/ 386866 h 386865"/>
                <a:gd name="connsiteX1" fmla="*/ 48760 w 171266"/>
                <a:gd name="connsiteY1" fmla="*/ 386866 h 386865"/>
                <a:gd name="connsiteX2" fmla="*/ 45536 w 171266"/>
                <a:gd name="connsiteY2" fmla="*/ 386866 h 386865"/>
                <a:gd name="connsiteX3" fmla="*/ 45536 w 171266"/>
                <a:gd name="connsiteY3" fmla="*/ 383642 h 386865"/>
                <a:gd name="connsiteX4" fmla="*/ 3626 w 171266"/>
                <a:gd name="connsiteY4" fmla="*/ 125731 h 386865"/>
                <a:gd name="connsiteX5" fmla="*/ 3626 w 171266"/>
                <a:gd name="connsiteY5" fmla="*/ 119284 h 386865"/>
                <a:gd name="connsiteX6" fmla="*/ 71327 w 171266"/>
                <a:gd name="connsiteY6" fmla="*/ 0 h 386865"/>
                <a:gd name="connsiteX7" fmla="*/ 77774 w 171266"/>
                <a:gd name="connsiteY7" fmla="*/ 3224 h 386865"/>
                <a:gd name="connsiteX8" fmla="*/ 74550 w 171266"/>
                <a:gd name="connsiteY8" fmla="*/ 9672 h 386865"/>
                <a:gd name="connsiteX9" fmla="*/ 13297 w 171266"/>
                <a:gd name="connsiteY9" fmla="*/ 119284 h 386865"/>
                <a:gd name="connsiteX10" fmla="*/ 13297 w 171266"/>
                <a:gd name="connsiteY10" fmla="*/ 128955 h 386865"/>
                <a:gd name="connsiteX11" fmla="*/ 51984 w 171266"/>
                <a:gd name="connsiteY11" fmla="*/ 373970 h 386865"/>
                <a:gd name="connsiteX12" fmla="*/ 164820 w 171266"/>
                <a:gd name="connsiteY12" fmla="*/ 341731 h 386865"/>
                <a:gd name="connsiteX13" fmla="*/ 171267 w 171266"/>
                <a:gd name="connsiteY13" fmla="*/ 344955 h 386865"/>
                <a:gd name="connsiteX14" fmla="*/ 168044 w 171266"/>
                <a:gd name="connsiteY14" fmla="*/ 351403 h 386865"/>
                <a:gd name="connsiteX15" fmla="*/ 58431 w 171266"/>
                <a:gd name="connsiteY15" fmla="*/ 386866 h 386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266" h="386865">
                  <a:moveTo>
                    <a:pt x="58431" y="386866"/>
                  </a:moveTo>
                  <a:cubicBezTo>
                    <a:pt x="55208" y="386866"/>
                    <a:pt x="51984" y="386866"/>
                    <a:pt x="48760" y="386866"/>
                  </a:cubicBezTo>
                  <a:lnTo>
                    <a:pt x="45536" y="386866"/>
                  </a:lnTo>
                  <a:lnTo>
                    <a:pt x="45536" y="383642"/>
                  </a:lnTo>
                  <a:cubicBezTo>
                    <a:pt x="29416" y="357851"/>
                    <a:pt x="-12494" y="219224"/>
                    <a:pt x="3626" y="125731"/>
                  </a:cubicBezTo>
                  <a:cubicBezTo>
                    <a:pt x="3626" y="122507"/>
                    <a:pt x="3626" y="119284"/>
                    <a:pt x="3626" y="119284"/>
                  </a:cubicBezTo>
                  <a:cubicBezTo>
                    <a:pt x="10073" y="90269"/>
                    <a:pt x="19745" y="25791"/>
                    <a:pt x="71327" y="0"/>
                  </a:cubicBezTo>
                  <a:cubicBezTo>
                    <a:pt x="74550" y="0"/>
                    <a:pt x="77774" y="0"/>
                    <a:pt x="77774" y="3224"/>
                  </a:cubicBezTo>
                  <a:cubicBezTo>
                    <a:pt x="77774" y="6448"/>
                    <a:pt x="77774" y="9672"/>
                    <a:pt x="74550" y="9672"/>
                  </a:cubicBezTo>
                  <a:cubicBezTo>
                    <a:pt x="29416" y="32239"/>
                    <a:pt x="16521" y="90269"/>
                    <a:pt x="13297" y="119284"/>
                  </a:cubicBezTo>
                  <a:cubicBezTo>
                    <a:pt x="13297" y="122507"/>
                    <a:pt x="13297" y="125731"/>
                    <a:pt x="13297" y="128955"/>
                  </a:cubicBezTo>
                  <a:cubicBezTo>
                    <a:pt x="-2823" y="212776"/>
                    <a:pt x="35864" y="344955"/>
                    <a:pt x="51984" y="373970"/>
                  </a:cubicBezTo>
                  <a:cubicBezTo>
                    <a:pt x="74550" y="377194"/>
                    <a:pt x="113237" y="361075"/>
                    <a:pt x="164820" y="341731"/>
                  </a:cubicBezTo>
                  <a:cubicBezTo>
                    <a:pt x="168044" y="341731"/>
                    <a:pt x="171267" y="341731"/>
                    <a:pt x="171267" y="344955"/>
                  </a:cubicBezTo>
                  <a:cubicBezTo>
                    <a:pt x="171267" y="348179"/>
                    <a:pt x="171267" y="351403"/>
                    <a:pt x="168044" y="351403"/>
                  </a:cubicBezTo>
                  <a:cubicBezTo>
                    <a:pt x="122909" y="373970"/>
                    <a:pt x="84223" y="386866"/>
                    <a:pt x="58431" y="386866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5" name="图形 1">
              <a:extLst>
                <a:ext uri="{FF2B5EF4-FFF2-40B4-BE49-F238E27FC236}">
                  <a16:creationId xmlns:a16="http://schemas.microsoft.com/office/drawing/2014/main" id="{71BABC3E-A24B-4609-B2E7-DBC2ABCDB67F}"/>
                </a:ext>
              </a:extLst>
            </p:cNvPr>
            <p:cNvGrpSpPr/>
            <p:nvPr/>
          </p:nvGrpSpPr>
          <p:grpSpPr>
            <a:xfrm>
              <a:off x="13226341" y="4686695"/>
              <a:ext cx="367163" cy="1499104"/>
              <a:chOff x="13226341" y="4686695"/>
              <a:chExt cx="367163" cy="1499104"/>
            </a:xfrm>
          </p:grpSpPr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6F6A9BC5-B8AB-41F8-BE20-03F294A5958F}"/>
                  </a:ext>
                </a:extLst>
              </p:cNvPr>
              <p:cNvSpPr/>
              <p:nvPr/>
            </p:nvSpPr>
            <p:spPr>
              <a:xfrm>
                <a:off x="13226341" y="5911769"/>
                <a:ext cx="232404" cy="274029"/>
              </a:xfrm>
              <a:custGeom>
                <a:avLst/>
                <a:gdLst>
                  <a:gd name="connsiteX0" fmla="*/ 1433 w 232404"/>
                  <a:gd name="connsiteY0" fmla="*/ 183761 h 274029"/>
                  <a:gd name="connsiteX1" fmla="*/ 1433 w 232404"/>
                  <a:gd name="connsiteY1" fmla="*/ 228896 h 274029"/>
                  <a:gd name="connsiteX2" fmla="*/ 111045 w 232404"/>
                  <a:gd name="connsiteY2" fmla="*/ 274030 h 274029"/>
                  <a:gd name="connsiteX3" fmla="*/ 227105 w 232404"/>
                  <a:gd name="connsiteY3" fmla="*/ 228896 h 274029"/>
                  <a:gd name="connsiteX4" fmla="*/ 217433 w 232404"/>
                  <a:gd name="connsiteY4" fmla="*/ 32239 h 274029"/>
                  <a:gd name="connsiteX5" fmla="*/ 204537 w 232404"/>
                  <a:gd name="connsiteY5" fmla="*/ 0 h 274029"/>
                  <a:gd name="connsiteX6" fmla="*/ 188418 w 232404"/>
                  <a:gd name="connsiteY6" fmla="*/ 183761 h 274029"/>
                  <a:gd name="connsiteX7" fmla="*/ 1433 w 232404"/>
                  <a:gd name="connsiteY7" fmla="*/ 183761 h 274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2404" h="274029">
                    <a:moveTo>
                      <a:pt x="1433" y="183761"/>
                    </a:moveTo>
                    <a:cubicBezTo>
                      <a:pt x="1433" y="183761"/>
                      <a:pt x="-1791" y="219224"/>
                      <a:pt x="1433" y="228896"/>
                    </a:cubicBezTo>
                    <a:cubicBezTo>
                      <a:pt x="7881" y="245015"/>
                      <a:pt x="59462" y="274030"/>
                      <a:pt x="111045" y="274030"/>
                    </a:cubicBezTo>
                    <a:cubicBezTo>
                      <a:pt x="172298" y="274030"/>
                      <a:pt x="214209" y="241791"/>
                      <a:pt x="227105" y="228896"/>
                    </a:cubicBezTo>
                    <a:cubicBezTo>
                      <a:pt x="243224" y="212776"/>
                      <a:pt x="217433" y="32239"/>
                      <a:pt x="217433" y="32239"/>
                    </a:cubicBezTo>
                    <a:lnTo>
                      <a:pt x="204537" y="0"/>
                    </a:lnTo>
                    <a:lnTo>
                      <a:pt x="188418" y="183761"/>
                    </a:lnTo>
                    <a:lnTo>
                      <a:pt x="1433" y="183761"/>
                    </a:ln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74F3AB53-73C6-4AB3-80F7-A9C8E6CE3B93}"/>
                  </a:ext>
                </a:extLst>
              </p:cNvPr>
              <p:cNvSpPr/>
              <p:nvPr/>
            </p:nvSpPr>
            <p:spPr>
              <a:xfrm>
                <a:off x="13292252" y="4686695"/>
                <a:ext cx="301253" cy="1318566"/>
              </a:xfrm>
              <a:custGeom>
                <a:avLst/>
                <a:gdLst>
                  <a:gd name="connsiteX0" fmla="*/ 3224 w 301253"/>
                  <a:gd name="connsiteY0" fmla="*/ 1241194 h 1318566"/>
                  <a:gd name="connsiteX1" fmla="*/ 12895 w 301253"/>
                  <a:gd name="connsiteY1" fmla="*/ 315940 h 1318566"/>
                  <a:gd name="connsiteX2" fmla="*/ 0 w 301253"/>
                  <a:gd name="connsiteY2" fmla="*/ 64478 h 1318566"/>
                  <a:gd name="connsiteX3" fmla="*/ 299821 w 301253"/>
                  <a:gd name="connsiteY3" fmla="*/ 0 h 1318566"/>
                  <a:gd name="connsiteX4" fmla="*/ 299821 w 301253"/>
                  <a:gd name="connsiteY4" fmla="*/ 338507 h 1318566"/>
                  <a:gd name="connsiteX5" fmla="*/ 125731 w 301253"/>
                  <a:gd name="connsiteY5" fmla="*/ 1318567 h 1318566"/>
                  <a:gd name="connsiteX6" fmla="*/ 3224 w 301253"/>
                  <a:gd name="connsiteY6" fmla="*/ 1241194 h 131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1253" h="1318566">
                    <a:moveTo>
                      <a:pt x="3224" y="1241194"/>
                    </a:moveTo>
                    <a:cubicBezTo>
                      <a:pt x="3224" y="1241194"/>
                      <a:pt x="9671" y="396537"/>
                      <a:pt x="12895" y="315940"/>
                    </a:cubicBezTo>
                    <a:cubicBezTo>
                      <a:pt x="16119" y="235343"/>
                      <a:pt x="0" y="64478"/>
                      <a:pt x="0" y="64478"/>
                    </a:cubicBezTo>
                    <a:lnTo>
                      <a:pt x="299821" y="0"/>
                    </a:lnTo>
                    <a:cubicBezTo>
                      <a:pt x="299821" y="0"/>
                      <a:pt x="303045" y="277254"/>
                      <a:pt x="299821" y="338507"/>
                    </a:cubicBezTo>
                    <a:cubicBezTo>
                      <a:pt x="296597" y="396537"/>
                      <a:pt x="125731" y="1318567"/>
                      <a:pt x="125731" y="1318567"/>
                    </a:cubicBezTo>
                    <a:lnTo>
                      <a:pt x="3224" y="1241194"/>
                    </a:ln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5C468CF0-4621-4ADA-9D06-A871DD88EABD}"/>
                  </a:ext>
                </a:extLst>
              </p:cNvPr>
              <p:cNvSpPr/>
              <p:nvPr/>
            </p:nvSpPr>
            <p:spPr>
              <a:xfrm>
                <a:off x="13232276" y="5898874"/>
                <a:ext cx="219261" cy="251769"/>
              </a:xfrm>
              <a:custGeom>
                <a:avLst/>
                <a:gdLst>
                  <a:gd name="connsiteX0" fmla="*/ 59976 w 219261"/>
                  <a:gd name="connsiteY0" fmla="*/ 0 h 251769"/>
                  <a:gd name="connsiteX1" fmla="*/ 205051 w 219261"/>
                  <a:gd name="connsiteY1" fmla="*/ 12896 h 251769"/>
                  <a:gd name="connsiteX2" fmla="*/ 217946 w 219261"/>
                  <a:gd name="connsiteY2" fmla="*/ 203104 h 251769"/>
                  <a:gd name="connsiteX3" fmla="*/ 105110 w 219261"/>
                  <a:gd name="connsiteY3" fmla="*/ 251463 h 251769"/>
                  <a:gd name="connsiteX4" fmla="*/ 1947 w 219261"/>
                  <a:gd name="connsiteY4" fmla="*/ 199881 h 251769"/>
                  <a:gd name="connsiteX5" fmla="*/ 59976 w 219261"/>
                  <a:gd name="connsiteY5" fmla="*/ 0 h 251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9261" h="251769">
                    <a:moveTo>
                      <a:pt x="59976" y="0"/>
                    </a:moveTo>
                    <a:cubicBezTo>
                      <a:pt x="59976" y="0"/>
                      <a:pt x="108334" y="54806"/>
                      <a:pt x="205051" y="12896"/>
                    </a:cubicBezTo>
                    <a:cubicBezTo>
                      <a:pt x="205051" y="12896"/>
                      <a:pt x="224394" y="177314"/>
                      <a:pt x="217946" y="203104"/>
                    </a:cubicBezTo>
                    <a:cubicBezTo>
                      <a:pt x="208275" y="232120"/>
                      <a:pt x="134125" y="254687"/>
                      <a:pt x="105110" y="251463"/>
                    </a:cubicBezTo>
                    <a:cubicBezTo>
                      <a:pt x="72871" y="248239"/>
                      <a:pt x="11618" y="219224"/>
                      <a:pt x="1947" y="199881"/>
                    </a:cubicBezTo>
                    <a:cubicBezTo>
                      <a:pt x="-10950" y="183761"/>
                      <a:pt x="43857" y="41911"/>
                      <a:pt x="59976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1454374D-8681-4F61-A8CC-038849AA1B39}"/>
                  </a:ext>
                </a:extLst>
              </p:cNvPr>
              <p:cNvSpPr/>
              <p:nvPr/>
            </p:nvSpPr>
            <p:spPr>
              <a:xfrm>
                <a:off x="13284469" y="5891091"/>
                <a:ext cx="156081" cy="43245"/>
              </a:xfrm>
              <a:custGeom>
                <a:avLst/>
                <a:gdLst>
                  <a:gd name="connsiteX0" fmla="*/ 75485 w 156081"/>
                  <a:gd name="connsiteY0" fmla="*/ 43246 h 43245"/>
                  <a:gd name="connsiteX1" fmla="*/ 1335 w 156081"/>
                  <a:gd name="connsiteY1" fmla="*/ 11007 h 43245"/>
                  <a:gd name="connsiteX2" fmla="*/ 4559 w 156081"/>
                  <a:gd name="connsiteY2" fmla="*/ 1335 h 43245"/>
                  <a:gd name="connsiteX3" fmla="*/ 14231 w 156081"/>
                  <a:gd name="connsiteY3" fmla="*/ 4559 h 43245"/>
                  <a:gd name="connsiteX4" fmla="*/ 149634 w 156081"/>
                  <a:gd name="connsiteY4" fmla="*/ 14231 h 43245"/>
                  <a:gd name="connsiteX5" fmla="*/ 156082 w 156081"/>
                  <a:gd name="connsiteY5" fmla="*/ 17455 h 43245"/>
                  <a:gd name="connsiteX6" fmla="*/ 152858 w 156081"/>
                  <a:gd name="connsiteY6" fmla="*/ 23902 h 43245"/>
                  <a:gd name="connsiteX7" fmla="*/ 75485 w 156081"/>
                  <a:gd name="connsiteY7" fmla="*/ 43246 h 43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6081" h="43245">
                    <a:moveTo>
                      <a:pt x="75485" y="43246"/>
                    </a:moveTo>
                    <a:cubicBezTo>
                      <a:pt x="23903" y="43246"/>
                      <a:pt x="1335" y="14231"/>
                      <a:pt x="1335" y="11007"/>
                    </a:cubicBezTo>
                    <a:cubicBezTo>
                      <a:pt x="-1888" y="7783"/>
                      <a:pt x="1335" y="4559"/>
                      <a:pt x="4559" y="1335"/>
                    </a:cubicBezTo>
                    <a:cubicBezTo>
                      <a:pt x="7783" y="-1888"/>
                      <a:pt x="11007" y="1335"/>
                      <a:pt x="14231" y="4559"/>
                    </a:cubicBezTo>
                    <a:cubicBezTo>
                      <a:pt x="14231" y="7783"/>
                      <a:pt x="52917" y="56141"/>
                      <a:pt x="149634" y="14231"/>
                    </a:cubicBezTo>
                    <a:cubicBezTo>
                      <a:pt x="152858" y="14231"/>
                      <a:pt x="156082" y="14231"/>
                      <a:pt x="156082" y="17455"/>
                    </a:cubicBezTo>
                    <a:cubicBezTo>
                      <a:pt x="156082" y="20679"/>
                      <a:pt x="156082" y="23902"/>
                      <a:pt x="152858" y="23902"/>
                    </a:cubicBezTo>
                    <a:cubicBezTo>
                      <a:pt x="120619" y="36798"/>
                      <a:pt x="98051" y="43246"/>
                      <a:pt x="75485" y="4324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F1F89AED-417A-434B-BA72-BF97CED86825}"/>
                  </a:ext>
                </a:extLst>
              </p:cNvPr>
              <p:cNvSpPr/>
              <p:nvPr/>
            </p:nvSpPr>
            <p:spPr>
              <a:xfrm>
                <a:off x="13295476" y="5956904"/>
                <a:ext cx="99940" cy="22567"/>
              </a:xfrm>
              <a:custGeom>
                <a:avLst/>
                <a:gdLst>
                  <a:gd name="connsiteX0" fmla="*/ 67702 w 99940"/>
                  <a:gd name="connsiteY0" fmla="*/ 22567 h 22567"/>
                  <a:gd name="connsiteX1" fmla="*/ 3224 w 99940"/>
                  <a:gd name="connsiteY1" fmla="*/ 9671 h 22567"/>
                  <a:gd name="connsiteX2" fmla="*/ 0 w 99940"/>
                  <a:gd name="connsiteY2" fmla="*/ 3224 h 22567"/>
                  <a:gd name="connsiteX3" fmla="*/ 6447 w 99940"/>
                  <a:gd name="connsiteY3" fmla="*/ 0 h 22567"/>
                  <a:gd name="connsiteX4" fmla="*/ 93492 w 99940"/>
                  <a:gd name="connsiteY4" fmla="*/ 9671 h 22567"/>
                  <a:gd name="connsiteX5" fmla="*/ 99940 w 99940"/>
                  <a:gd name="connsiteY5" fmla="*/ 12896 h 22567"/>
                  <a:gd name="connsiteX6" fmla="*/ 96716 w 99940"/>
                  <a:gd name="connsiteY6" fmla="*/ 19343 h 22567"/>
                  <a:gd name="connsiteX7" fmla="*/ 67702 w 99940"/>
                  <a:gd name="connsiteY7" fmla="*/ 22567 h 22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940" h="22567">
                    <a:moveTo>
                      <a:pt x="67702" y="22567"/>
                    </a:moveTo>
                    <a:cubicBezTo>
                      <a:pt x="32239" y="22567"/>
                      <a:pt x="6447" y="9671"/>
                      <a:pt x="3224" y="9671"/>
                    </a:cubicBezTo>
                    <a:cubicBezTo>
                      <a:pt x="0" y="9671"/>
                      <a:pt x="0" y="3224"/>
                      <a:pt x="0" y="3224"/>
                    </a:cubicBezTo>
                    <a:cubicBezTo>
                      <a:pt x="0" y="0"/>
                      <a:pt x="6447" y="0"/>
                      <a:pt x="6447" y="0"/>
                    </a:cubicBezTo>
                    <a:cubicBezTo>
                      <a:pt x="6447" y="0"/>
                      <a:pt x="45134" y="19343"/>
                      <a:pt x="93492" y="9671"/>
                    </a:cubicBezTo>
                    <a:cubicBezTo>
                      <a:pt x="96716" y="9671"/>
                      <a:pt x="99940" y="9671"/>
                      <a:pt x="99940" y="12896"/>
                    </a:cubicBezTo>
                    <a:cubicBezTo>
                      <a:pt x="99940" y="16119"/>
                      <a:pt x="99940" y="19343"/>
                      <a:pt x="96716" y="19343"/>
                    </a:cubicBezTo>
                    <a:cubicBezTo>
                      <a:pt x="90268" y="19343"/>
                      <a:pt x="77373" y="22567"/>
                      <a:pt x="67702" y="2256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43E4B51A-1030-4236-AE4D-4B42B570276B}"/>
                  </a:ext>
                </a:extLst>
              </p:cNvPr>
              <p:cNvSpPr/>
              <p:nvPr/>
            </p:nvSpPr>
            <p:spPr>
              <a:xfrm>
                <a:off x="13285804" y="5998814"/>
                <a:ext cx="103164" cy="22567"/>
              </a:xfrm>
              <a:custGeom>
                <a:avLst/>
                <a:gdLst>
                  <a:gd name="connsiteX0" fmla="*/ 67702 w 103164"/>
                  <a:gd name="connsiteY0" fmla="*/ 22567 h 22567"/>
                  <a:gd name="connsiteX1" fmla="*/ 3224 w 103164"/>
                  <a:gd name="connsiteY1" fmla="*/ 9672 h 22567"/>
                  <a:gd name="connsiteX2" fmla="*/ 0 w 103164"/>
                  <a:gd name="connsiteY2" fmla="*/ 3224 h 22567"/>
                  <a:gd name="connsiteX3" fmla="*/ 9672 w 103164"/>
                  <a:gd name="connsiteY3" fmla="*/ 0 h 22567"/>
                  <a:gd name="connsiteX4" fmla="*/ 96716 w 103164"/>
                  <a:gd name="connsiteY4" fmla="*/ 9672 h 22567"/>
                  <a:gd name="connsiteX5" fmla="*/ 103165 w 103164"/>
                  <a:gd name="connsiteY5" fmla="*/ 12896 h 22567"/>
                  <a:gd name="connsiteX6" fmla="*/ 99940 w 103164"/>
                  <a:gd name="connsiteY6" fmla="*/ 19343 h 22567"/>
                  <a:gd name="connsiteX7" fmla="*/ 67702 w 103164"/>
                  <a:gd name="connsiteY7" fmla="*/ 22567 h 22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164" h="22567">
                    <a:moveTo>
                      <a:pt x="67702" y="22567"/>
                    </a:moveTo>
                    <a:cubicBezTo>
                      <a:pt x="32239" y="22567"/>
                      <a:pt x="6448" y="9672"/>
                      <a:pt x="3224" y="9672"/>
                    </a:cubicBezTo>
                    <a:cubicBezTo>
                      <a:pt x="0" y="9672"/>
                      <a:pt x="0" y="3224"/>
                      <a:pt x="0" y="3224"/>
                    </a:cubicBezTo>
                    <a:cubicBezTo>
                      <a:pt x="0" y="0"/>
                      <a:pt x="6448" y="0"/>
                      <a:pt x="9672" y="0"/>
                    </a:cubicBezTo>
                    <a:cubicBezTo>
                      <a:pt x="9672" y="0"/>
                      <a:pt x="48358" y="19343"/>
                      <a:pt x="96716" y="9672"/>
                    </a:cubicBezTo>
                    <a:cubicBezTo>
                      <a:pt x="99940" y="9672"/>
                      <a:pt x="103165" y="9672"/>
                      <a:pt x="103165" y="12896"/>
                    </a:cubicBezTo>
                    <a:cubicBezTo>
                      <a:pt x="103165" y="16119"/>
                      <a:pt x="103165" y="19343"/>
                      <a:pt x="99940" y="19343"/>
                    </a:cubicBezTo>
                    <a:cubicBezTo>
                      <a:pt x="90269" y="22567"/>
                      <a:pt x="77374" y="22567"/>
                      <a:pt x="67702" y="2256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59CCB69C-9CB5-455F-B408-E39BA6AB9560}"/>
                </a:ext>
              </a:extLst>
            </p:cNvPr>
            <p:cNvGrpSpPr/>
            <p:nvPr/>
          </p:nvGrpSpPr>
          <p:grpSpPr>
            <a:xfrm>
              <a:off x="12800509" y="2895513"/>
              <a:ext cx="873717" cy="1024211"/>
              <a:chOff x="12800509" y="2895513"/>
              <a:chExt cx="873717" cy="1024211"/>
            </a:xfrm>
          </p:grpSpPr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AB74B823-5C02-47AC-B259-5274886D86A7}"/>
                  </a:ext>
                </a:extLst>
              </p:cNvPr>
              <p:cNvSpPr/>
              <p:nvPr/>
            </p:nvSpPr>
            <p:spPr>
              <a:xfrm>
                <a:off x="12865529" y="2895513"/>
                <a:ext cx="808697" cy="1024211"/>
              </a:xfrm>
              <a:custGeom>
                <a:avLst/>
                <a:gdLst>
                  <a:gd name="connsiteX0" fmla="*/ 784574 w 808697"/>
                  <a:gd name="connsiteY0" fmla="*/ 304973 h 1024211"/>
                  <a:gd name="connsiteX1" fmla="*/ 665290 w 808697"/>
                  <a:gd name="connsiteY1" fmla="*/ 72854 h 1024211"/>
                  <a:gd name="connsiteX2" fmla="*/ 365469 w 808697"/>
                  <a:gd name="connsiteY2" fmla="*/ 1928 h 1024211"/>
                  <a:gd name="connsiteX3" fmla="*/ 130126 w 808697"/>
                  <a:gd name="connsiteY3" fmla="*/ 182465 h 1024211"/>
                  <a:gd name="connsiteX4" fmla="*/ 26962 w 808697"/>
                  <a:gd name="connsiteY4" fmla="*/ 875600 h 1024211"/>
                  <a:gd name="connsiteX5" fmla="*/ 310663 w 808697"/>
                  <a:gd name="connsiteY5" fmla="*/ 1023898 h 1024211"/>
                  <a:gd name="connsiteX6" fmla="*/ 800693 w 808697"/>
                  <a:gd name="connsiteY6" fmla="*/ 604794 h 1024211"/>
                  <a:gd name="connsiteX7" fmla="*/ 784574 w 808697"/>
                  <a:gd name="connsiteY7" fmla="*/ 304973 h 1024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08697" h="1024211">
                    <a:moveTo>
                      <a:pt x="784574" y="304973"/>
                    </a:moveTo>
                    <a:cubicBezTo>
                      <a:pt x="765230" y="217928"/>
                      <a:pt x="729768" y="130883"/>
                      <a:pt x="665290" y="72854"/>
                    </a:cubicBezTo>
                    <a:cubicBezTo>
                      <a:pt x="581469" y="1928"/>
                      <a:pt x="465410" y="-4520"/>
                      <a:pt x="365469" y="1928"/>
                    </a:cubicBezTo>
                    <a:cubicBezTo>
                      <a:pt x="265529" y="8376"/>
                      <a:pt x="168813" y="114764"/>
                      <a:pt x="130126" y="182465"/>
                    </a:cubicBezTo>
                    <a:cubicBezTo>
                      <a:pt x="46305" y="343659"/>
                      <a:pt x="-47188" y="649928"/>
                      <a:pt x="26962" y="875600"/>
                    </a:cubicBezTo>
                    <a:cubicBezTo>
                      <a:pt x="55977" y="962645"/>
                      <a:pt x="230066" y="1017451"/>
                      <a:pt x="310663" y="1023898"/>
                    </a:cubicBezTo>
                    <a:cubicBezTo>
                      <a:pt x="420275" y="1033570"/>
                      <a:pt x="765230" y="817570"/>
                      <a:pt x="800693" y="604794"/>
                    </a:cubicBezTo>
                    <a:cubicBezTo>
                      <a:pt x="816813" y="508077"/>
                      <a:pt x="807141" y="401689"/>
                      <a:pt x="784574" y="304973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5FC351F6-996C-47AD-9E0C-B85E733C4143}"/>
                  </a:ext>
                </a:extLst>
              </p:cNvPr>
              <p:cNvSpPr/>
              <p:nvPr/>
            </p:nvSpPr>
            <p:spPr>
              <a:xfrm>
                <a:off x="12805361" y="3463478"/>
                <a:ext cx="145159" cy="314799"/>
              </a:xfrm>
              <a:custGeom>
                <a:avLst/>
                <a:gdLst>
                  <a:gd name="connsiteX0" fmla="*/ 145159 w 145159"/>
                  <a:gd name="connsiteY0" fmla="*/ 20710 h 314799"/>
                  <a:gd name="connsiteX1" fmla="*/ 145159 w 145159"/>
                  <a:gd name="connsiteY1" fmla="*/ 307635 h 314799"/>
                  <a:gd name="connsiteX2" fmla="*/ 35548 w 145159"/>
                  <a:gd name="connsiteY2" fmla="*/ 307635 h 314799"/>
                  <a:gd name="connsiteX3" fmla="*/ 12980 w 145159"/>
                  <a:gd name="connsiteY3" fmla="*/ 20710 h 314799"/>
                  <a:gd name="connsiteX4" fmla="*/ 145159 w 145159"/>
                  <a:gd name="connsiteY4" fmla="*/ 20710 h 31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159" h="314799">
                    <a:moveTo>
                      <a:pt x="145159" y="20710"/>
                    </a:moveTo>
                    <a:cubicBezTo>
                      <a:pt x="145159" y="20710"/>
                      <a:pt x="112921" y="181904"/>
                      <a:pt x="145159" y="307635"/>
                    </a:cubicBezTo>
                    <a:cubicBezTo>
                      <a:pt x="145159" y="307635"/>
                      <a:pt x="74235" y="323755"/>
                      <a:pt x="35548" y="307635"/>
                    </a:cubicBezTo>
                    <a:cubicBezTo>
                      <a:pt x="-3139" y="291516"/>
                      <a:pt x="-9586" y="43277"/>
                      <a:pt x="12980" y="20710"/>
                    </a:cubicBezTo>
                    <a:cubicBezTo>
                      <a:pt x="38772" y="-1857"/>
                      <a:pt x="122593" y="-11529"/>
                      <a:pt x="145159" y="2071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6DFF6C57-20CD-4BD3-9FA6-7B26532B3454}"/>
                  </a:ext>
                </a:extLst>
              </p:cNvPr>
              <p:cNvSpPr/>
              <p:nvPr/>
            </p:nvSpPr>
            <p:spPr>
              <a:xfrm>
                <a:off x="12800509" y="3461003"/>
                <a:ext cx="156459" cy="329453"/>
              </a:xfrm>
              <a:custGeom>
                <a:avLst/>
                <a:gdLst>
                  <a:gd name="connsiteX0" fmla="*/ 88758 w 156459"/>
                  <a:gd name="connsiteY0" fmla="*/ 326230 h 329453"/>
                  <a:gd name="connsiteX1" fmla="*/ 40400 w 156459"/>
                  <a:gd name="connsiteY1" fmla="*/ 319782 h 329453"/>
                  <a:gd name="connsiteX2" fmla="*/ 11385 w 156459"/>
                  <a:gd name="connsiteY2" fmla="*/ 261752 h 329453"/>
                  <a:gd name="connsiteX3" fmla="*/ 17832 w 156459"/>
                  <a:gd name="connsiteY3" fmla="*/ 23185 h 329453"/>
                  <a:gd name="connsiteX4" fmla="*/ 108101 w 156459"/>
                  <a:gd name="connsiteY4" fmla="*/ 618 h 329453"/>
                  <a:gd name="connsiteX5" fmla="*/ 156459 w 156459"/>
                  <a:gd name="connsiteY5" fmla="*/ 23185 h 329453"/>
                  <a:gd name="connsiteX6" fmla="*/ 156459 w 156459"/>
                  <a:gd name="connsiteY6" fmla="*/ 26409 h 329453"/>
                  <a:gd name="connsiteX7" fmla="*/ 156459 w 156459"/>
                  <a:gd name="connsiteY7" fmla="*/ 29633 h 329453"/>
                  <a:gd name="connsiteX8" fmla="*/ 150011 w 156459"/>
                  <a:gd name="connsiteY8" fmla="*/ 290767 h 329453"/>
                  <a:gd name="connsiteX9" fmla="*/ 143564 w 156459"/>
                  <a:gd name="connsiteY9" fmla="*/ 316558 h 329453"/>
                  <a:gd name="connsiteX10" fmla="*/ 120997 w 156459"/>
                  <a:gd name="connsiteY10" fmla="*/ 329454 h 329453"/>
                  <a:gd name="connsiteX11" fmla="*/ 88758 w 156459"/>
                  <a:gd name="connsiteY11" fmla="*/ 326230 h 329453"/>
                  <a:gd name="connsiteX12" fmla="*/ 91982 w 156459"/>
                  <a:gd name="connsiteY12" fmla="*/ 7065 h 329453"/>
                  <a:gd name="connsiteX13" fmla="*/ 21056 w 156459"/>
                  <a:gd name="connsiteY13" fmla="*/ 26409 h 329453"/>
                  <a:gd name="connsiteX14" fmla="*/ 17832 w 156459"/>
                  <a:gd name="connsiteY14" fmla="*/ 255304 h 329453"/>
                  <a:gd name="connsiteX15" fmla="*/ 40400 w 156459"/>
                  <a:gd name="connsiteY15" fmla="*/ 306886 h 329453"/>
                  <a:gd name="connsiteX16" fmla="*/ 117773 w 156459"/>
                  <a:gd name="connsiteY16" fmla="*/ 310110 h 329453"/>
                  <a:gd name="connsiteX17" fmla="*/ 130668 w 156459"/>
                  <a:gd name="connsiteY17" fmla="*/ 300439 h 329453"/>
                  <a:gd name="connsiteX18" fmla="*/ 133892 w 156459"/>
                  <a:gd name="connsiteY18" fmla="*/ 284319 h 329453"/>
                  <a:gd name="connsiteX19" fmla="*/ 140340 w 156459"/>
                  <a:gd name="connsiteY19" fmla="*/ 23185 h 329453"/>
                  <a:gd name="connsiteX20" fmla="*/ 101653 w 156459"/>
                  <a:gd name="connsiteY20" fmla="*/ 7065 h 329453"/>
                  <a:gd name="connsiteX21" fmla="*/ 91982 w 156459"/>
                  <a:gd name="connsiteY21" fmla="*/ 7065 h 329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56459" h="329453">
                    <a:moveTo>
                      <a:pt x="88758" y="326230"/>
                    </a:moveTo>
                    <a:cubicBezTo>
                      <a:pt x="72638" y="326230"/>
                      <a:pt x="53295" y="323006"/>
                      <a:pt x="40400" y="319782"/>
                    </a:cubicBezTo>
                    <a:cubicBezTo>
                      <a:pt x="27504" y="316558"/>
                      <a:pt x="17832" y="297215"/>
                      <a:pt x="11385" y="261752"/>
                    </a:cubicBezTo>
                    <a:cubicBezTo>
                      <a:pt x="-4735" y="184379"/>
                      <a:pt x="-4735" y="42528"/>
                      <a:pt x="17832" y="23185"/>
                    </a:cubicBezTo>
                    <a:cubicBezTo>
                      <a:pt x="33951" y="7065"/>
                      <a:pt x="75862" y="-2606"/>
                      <a:pt x="108101" y="618"/>
                    </a:cubicBezTo>
                    <a:cubicBezTo>
                      <a:pt x="130668" y="3842"/>
                      <a:pt x="146787" y="10289"/>
                      <a:pt x="156459" y="23185"/>
                    </a:cubicBezTo>
                    <a:lnTo>
                      <a:pt x="156459" y="26409"/>
                    </a:lnTo>
                    <a:lnTo>
                      <a:pt x="156459" y="29633"/>
                    </a:lnTo>
                    <a:cubicBezTo>
                      <a:pt x="156459" y="29633"/>
                      <a:pt x="127445" y="171483"/>
                      <a:pt x="150011" y="290767"/>
                    </a:cubicBezTo>
                    <a:cubicBezTo>
                      <a:pt x="153235" y="300439"/>
                      <a:pt x="150011" y="310110"/>
                      <a:pt x="143564" y="316558"/>
                    </a:cubicBezTo>
                    <a:cubicBezTo>
                      <a:pt x="137116" y="323006"/>
                      <a:pt x="130668" y="329454"/>
                      <a:pt x="120997" y="329454"/>
                    </a:cubicBezTo>
                    <a:cubicBezTo>
                      <a:pt x="111325" y="326230"/>
                      <a:pt x="101653" y="326230"/>
                      <a:pt x="88758" y="326230"/>
                    </a:cubicBezTo>
                    <a:close/>
                    <a:moveTo>
                      <a:pt x="91982" y="7065"/>
                    </a:moveTo>
                    <a:cubicBezTo>
                      <a:pt x="66190" y="7065"/>
                      <a:pt x="33951" y="16737"/>
                      <a:pt x="21056" y="26409"/>
                    </a:cubicBezTo>
                    <a:cubicBezTo>
                      <a:pt x="4937" y="39304"/>
                      <a:pt x="1713" y="171483"/>
                      <a:pt x="17832" y="255304"/>
                    </a:cubicBezTo>
                    <a:cubicBezTo>
                      <a:pt x="27504" y="297215"/>
                      <a:pt x="37176" y="303663"/>
                      <a:pt x="40400" y="306886"/>
                    </a:cubicBezTo>
                    <a:cubicBezTo>
                      <a:pt x="62967" y="316558"/>
                      <a:pt x="95206" y="313334"/>
                      <a:pt x="117773" y="310110"/>
                    </a:cubicBezTo>
                    <a:cubicBezTo>
                      <a:pt x="124221" y="310110"/>
                      <a:pt x="127445" y="306886"/>
                      <a:pt x="130668" y="300439"/>
                    </a:cubicBezTo>
                    <a:cubicBezTo>
                      <a:pt x="133892" y="297215"/>
                      <a:pt x="133892" y="290767"/>
                      <a:pt x="133892" y="284319"/>
                    </a:cubicBezTo>
                    <a:cubicBezTo>
                      <a:pt x="114548" y="171483"/>
                      <a:pt x="137116" y="42528"/>
                      <a:pt x="140340" y="23185"/>
                    </a:cubicBezTo>
                    <a:cubicBezTo>
                      <a:pt x="130668" y="10289"/>
                      <a:pt x="114548" y="7065"/>
                      <a:pt x="101653" y="7065"/>
                    </a:cubicBezTo>
                    <a:cubicBezTo>
                      <a:pt x="101653" y="7065"/>
                      <a:pt x="98429" y="7065"/>
                      <a:pt x="91982" y="706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DA18A05C-41ED-4C04-ACEB-B54201232C61}"/>
                  </a:ext>
                </a:extLst>
              </p:cNvPr>
              <p:cNvSpPr/>
              <p:nvPr/>
            </p:nvSpPr>
            <p:spPr>
              <a:xfrm>
                <a:off x="12843096" y="3063972"/>
                <a:ext cx="210588" cy="320274"/>
              </a:xfrm>
              <a:custGeom>
                <a:avLst/>
                <a:gdLst>
                  <a:gd name="connsiteX0" fmla="*/ 210588 w 210588"/>
                  <a:gd name="connsiteY0" fmla="*/ 49469 h 320274"/>
                  <a:gd name="connsiteX1" fmla="*/ 110648 w 210588"/>
                  <a:gd name="connsiteY1" fmla="*/ 320275 h 320274"/>
                  <a:gd name="connsiteX2" fmla="*/ 7483 w 210588"/>
                  <a:gd name="connsiteY2" fmla="*/ 281588 h 320274"/>
                  <a:gd name="connsiteX3" fmla="*/ 84857 w 210588"/>
                  <a:gd name="connsiteY3" fmla="*/ 4335 h 320274"/>
                  <a:gd name="connsiteX4" fmla="*/ 210588 w 210588"/>
                  <a:gd name="connsiteY4" fmla="*/ 49469 h 320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0588" h="320274">
                    <a:moveTo>
                      <a:pt x="210588" y="49469"/>
                    </a:moveTo>
                    <a:cubicBezTo>
                      <a:pt x="210588" y="49469"/>
                      <a:pt x="123543" y="191320"/>
                      <a:pt x="110648" y="320275"/>
                    </a:cubicBezTo>
                    <a:cubicBezTo>
                      <a:pt x="110648" y="320275"/>
                      <a:pt x="39722" y="310603"/>
                      <a:pt x="7483" y="281588"/>
                    </a:cubicBezTo>
                    <a:cubicBezTo>
                      <a:pt x="-24756" y="252573"/>
                      <a:pt x="55842" y="17230"/>
                      <a:pt x="84857" y="4335"/>
                    </a:cubicBezTo>
                    <a:cubicBezTo>
                      <a:pt x="120319" y="-8561"/>
                      <a:pt x="200916" y="7558"/>
                      <a:pt x="210588" y="49469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D23E613B-E207-4677-9C15-78DBD5E2D4E4}"/>
                  </a:ext>
                </a:extLst>
              </p:cNvPr>
              <p:cNvSpPr/>
              <p:nvPr/>
            </p:nvSpPr>
            <p:spPr>
              <a:xfrm>
                <a:off x="12837554" y="3059643"/>
                <a:ext cx="222578" cy="324604"/>
              </a:xfrm>
              <a:custGeom>
                <a:avLst/>
                <a:gdLst>
                  <a:gd name="connsiteX0" fmla="*/ 93623 w 222578"/>
                  <a:gd name="connsiteY0" fmla="*/ 324604 h 324604"/>
                  <a:gd name="connsiteX1" fmla="*/ 87176 w 222578"/>
                  <a:gd name="connsiteY1" fmla="*/ 324604 h 324604"/>
                  <a:gd name="connsiteX2" fmla="*/ 9803 w 222578"/>
                  <a:gd name="connsiteY2" fmla="*/ 292366 h 324604"/>
                  <a:gd name="connsiteX3" fmla="*/ 3355 w 222578"/>
                  <a:gd name="connsiteY3" fmla="*/ 227888 h 324604"/>
                  <a:gd name="connsiteX4" fmla="*/ 90400 w 222578"/>
                  <a:gd name="connsiteY4" fmla="*/ 5440 h 324604"/>
                  <a:gd name="connsiteX5" fmla="*/ 183892 w 222578"/>
                  <a:gd name="connsiteY5" fmla="*/ 15112 h 324604"/>
                  <a:gd name="connsiteX6" fmla="*/ 222578 w 222578"/>
                  <a:gd name="connsiteY6" fmla="*/ 53799 h 324604"/>
                  <a:gd name="connsiteX7" fmla="*/ 222578 w 222578"/>
                  <a:gd name="connsiteY7" fmla="*/ 57022 h 324604"/>
                  <a:gd name="connsiteX8" fmla="*/ 222578 w 222578"/>
                  <a:gd name="connsiteY8" fmla="*/ 60246 h 324604"/>
                  <a:gd name="connsiteX9" fmla="*/ 129086 w 222578"/>
                  <a:gd name="connsiteY9" fmla="*/ 302037 h 324604"/>
                  <a:gd name="connsiteX10" fmla="*/ 116191 w 222578"/>
                  <a:gd name="connsiteY10" fmla="*/ 324604 h 324604"/>
                  <a:gd name="connsiteX11" fmla="*/ 93623 w 222578"/>
                  <a:gd name="connsiteY11" fmla="*/ 324604 h 324604"/>
                  <a:gd name="connsiteX12" fmla="*/ 119415 w 222578"/>
                  <a:gd name="connsiteY12" fmla="*/ 8664 h 324604"/>
                  <a:gd name="connsiteX13" fmla="*/ 93623 w 222578"/>
                  <a:gd name="connsiteY13" fmla="*/ 11888 h 324604"/>
                  <a:gd name="connsiteX14" fmla="*/ 13026 w 222578"/>
                  <a:gd name="connsiteY14" fmla="*/ 224664 h 324604"/>
                  <a:gd name="connsiteX15" fmla="*/ 16250 w 222578"/>
                  <a:gd name="connsiteY15" fmla="*/ 279470 h 324604"/>
                  <a:gd name="connsiteX16" fmla="*/ 87176 w 222578"/>
                  <a:gd name="connsiteY16" fmla="*/ 311709 h 324604"/>
                  <a:gd name="connsiteX17" fmla="*/ 103295 w 222578"/>
                  <a:gd name="connsiteY17" fmla="*/ 308485 h 324604"/>
                  <a:gd name="connsiteX18" fmla="*/ 112966 w 222578"/>
                  <a:gd name="connsiteY18" fmla="*/ 295590 h 324604"/>
                  <a:gd name="connsiteX19" fmla="*/ 206459 w 222578"/>
                  <a:gd name="connsiteY19" fmla="*/ 50575 h 324604"/>
                  <a:gd name="connsiteX20" fmla="*/ 177444 w 222578"/>
                  <a:gd name="connsiteY20" fmla="*/ 21560 h 324604"/>
                  <a:gd name="connsiteX21" fmla="*/ 119415 w 222578"/>
                  <a:gd name="connsiteY21" fmla="*/ 8664 h 324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22578" h="324604">
                    <a:moveTo>
                      <a:pt x="93623" y="324604"/>
                    </a:moveTo>
                    <a:cubicBezTo>
                      <a:pt x="90400" y="324604"/>
                      <a:pt x="87176" y="324604"/>
                      <a:pt x="87176" y="324604"/>
                    </a:cubicBezTo>
                    <a:cubicBezTo>
                      <a:pt x="64608" y="318157"/>
                      <a:pt x="29145" y="308485"/>
                      <a:pt x="9803" y="292366"/>
                    </a:cubicBezTo>
                    <a:cubicBezTo>
                      <a:pt x="131" y="282694"/>
                      <a:pt x="-3093" y="263351"/>
                      <a:pt x="3355" y="227888"/>
                    </a:cubicBezTo>
                    <a:cubicBezTo>
                      <a:pt x="16250" y="150515"/>
                      <a:pt x="64608" y="18336"/>
                      <a:pt x="90400" y="5440"/>
                    </a:cubicBezTo>
                    <a:cubicBezTo>
                      <a:pt x="112966" y="-4231"/>
                      <a:pt x="154877" y="-1007"/>
                      <a:pt x="183892" y="15112"/>
                    </a:cubicBezTo>
                    <a:cubicBezTo>
                      <a:pt x="203236" y="24784"/>
                      <a:pt x="216131" y="37679"/>
                      <a:pt x="222578" y="53799"/>
                    </a:cubicBezTo>
                    <a:lnTo>
                      <a:pt x="222578" y="57022"/>
                    </a:lnTo>
                    <a:lnTo>
                      <a:pt x="222578" y="60246"/>
                    </a:lnTo>
                    <a:cubicBezTo>
                      <a:pt x="222578" y="60246"/>
                      <a:pt x="148429" y="182754"/>
                      <a:pt x="129086" y="302037"/>
                    </a:cubicBezTo>
                    <a:cubicBezTo>
                      <a:pt x="129086" y="311709"/>
                      <a:pt x="122639" y="318157"/>
                      <a:pt x="116191" y="324604"/>
                    </a:cubicBezTo>
                    <a:cubicBezTo>
                      <a:pt x="106519" y="324604"/>
                      <a:pt x="100071" y="324604"/>
                      <a:pt x="93623" y="324604"/>
                    </a:cubicBezTo>
                    <a:close/>
                    <a:moveTo>
                      <a:pt x="119415" y="8664"/>
                    </a:moveTo>
                    <a:cubicBezTo>
                      <a:pt x="109742" y="8664"/>
                      <a:pt x="100071" y="8664"/>
                      <a:pt x="93623" y="11888"/>
                    </a:cubicBezTo>
                    <a:cubicBezTo>
                      <a:pt x="74280" y="21560"/>
                      <a:pt x="25922" y="144067"/>
                      <a:pt x="13026" y="224664"/>
                    </a:cubicBezTo>
                    <a:cubicBezTo>
                      <a:pt x="6579" y="266575"/>
                      <a:pt x="13026" y="276246"/>
                      <a:pt x="16250" y="279470"/>
                    </a:cubicBezTo>
                    <a:cubicBezTo>
                      <a:pt x="35594" y="295590"/>
                      <a:pt x="64608" y="305261"/>
                      <a:pt x="87176" y="311709"/>
                    </a:cubicBezTo>
                    <a:cubicBezTo>
                      <a:pt x="93623" y="311709"/>
                      <a:pt x="100071" y="311709"/>
                      <a:pt x="103295" y="308485"/>
                    </a:cubicBezTo>
                    <a:cubicBezTo>
                      <a:pt x="109742" y="305261"/>
                      <a:pt x="112966" y="298813"/>
                      <a:pt x="112966" y="295590"/>
                    </a:cubicBezTo>
                    <a:cubicBezTo>
                      <a:pt x="132310" y="182754"/>
                      <a:pt x="196788" y="69918"/>
                      <a:pt x="206459" y="50575"/>
                    </a:cubicBezTo>
                    <a:cubicBezTo>
                      <a:pt x="203236" y="37679"/>
                      <a:pt x="187116" y="28007"/>
                      <a:pt x="177444" y="21560"/>
                    </a:cubicBezTo>
                    <a:cubicBezTo>
                      <a:pt x="161325" y="15112"/>
                      <a:pt x="138758" y="8664"/>
                      <a:pt x="119415" y="866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7" name="图形 1">
              <a:extLst>
                <a:ext uri="{FF2B5EF4-FFF2-40B4-BE49-F238E27FC236}">
                  <a16:creationId xmlns:a16="http://schemas.microsoft.com/office/drawing/2014/main" id="{FBB83E8E-2302-4361-B37A-66D50F7A9322}"/>
                </a:ext>
              </a:extLst>
            </p:cNvPr>
            <p:cNvGrpSpPr/>
            <p:nvPr/>
          </p:nvGrpSpPr>
          <p:grpSpPr>
            <a:xfrm>
              <a:off x="13733207" y="4744725"/>
              <a:ext cx="390806" cy="1312119"/>
              <a:chOff x="13733207" y="4744725"/>
              <a:chExt cx="390806" cy="1312119"/>
            </a:xfrm>
          </p:grpSpPr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52AAF773-F721-49B6-B8BB-B86E0A96D85E}"/>
                  </a:ext>
                </a:extLst>
              </p:cNvPr>
              <p:cNvSpPr/>
              <p:nvPr/>
            </p:nvSpPr>
            <p:spPr>
              <a:xfrm>
                <a:off x="13743595" y="4744725"/>
                <a:ext cx="365893" cy="1202507"/>
              </a:xfrm>
              <a:custGeom>
                <a:avLst/>
                <a:gdLst>
                  <a:gd name="connsiteX0" fmla="*/ 128955 w 365893"/>
                  <a:gd name="connsiteY0" fmla="*/ 1179940 h 1202507"/>
                  <a:gd name="connsiteX1" fmla="*/ 361075 w 365893"/>
                  <a:gd name="connsiteY1" fmla="*/ 351403 h 1202507"/>
                  <a:gd name="connsiteX2" fmla="*/ 335283 w 365893"/>
                  <a:gd name="connsiteY2" fmla="*/ 0 h 1202507"/>
                  <a:gd name="connsiteX3" fmla="*/ 87045 w 365893"/>
                  <a:gd name="connsiteY3" fmla="*/ 38686 h 1202507"/>
                  <a:gd name="connsiteX4" fmla="*/ 112836 w 365893"/>
                  <a:gd name="connsiteY4" fmla="*/ 322388 h 1202507"/>
                  <a:gd name="connsiteX5" fmla="*/ 0 w 365893"/>
                  <a:gd name="connsiteY5" fmla="*/ 1202507 h 1202507"/>
                  <a:gd name="connsiteX6" fmla="*/ 128955 w 365893"/>
                  <a:gd name="connsiteY6" fmla="*/ 1179940 h 1202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5893" h="1202507">
                    <a:moveTo>
                      <a:pt x="128955" y="1179940"/>
                    </a:moveTo>
                    <a:cubicBezTo>
                      <a:pt x="128955" y="1179940"/>
                      <a:pt x="338507" y="441672"/>
                      <a:pt x="361075" y="351403"/>
                    </a:cubicBezTo>
                    <a:cubicBezTo>
                      <a:pt x="380418" y="261134"/>
                      <a:pt x="335283" y="0"/>
                      <a:pt x="335283" y="0"/>
                    </a:cubicBezTo>
                    <a:lnTo>
                      <a:pt x="87045" y="38686"/>
                    </a:lnTo>
                    <a:cubicBezTo>
                      <a:pt x="87045" y="38686"/>
                      <a:pt x="116060" y="274030"/>
                      <a:pt x="112836" y="322388"/>
                    </a:cubicBezTo>
                    <a:cubicBezTo>
                      <a:pt x="109612" y="367522"/>
                      <a:pt x="16119" y="1080000"/>
                      <a:pt x="0" y="1202507"/>
                    </a:cubicBezTo>
                    <a:lnTo>
                      <a:pt x="128955" y="1179940"/>
                    </a:ln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468A5785-05E3-4F58-AE0A-6FCEF2F7853E}"/>
                  </a:ext>
                </a:extLst>
              </p:cNvPr>
              <p:cNvSpPr/>
              <p:nvPr/>
            </p:nvSpPr>
            <p:spPr>
              <a:xfrm>
                <a:off x="13733207" y="5889202"/>
                <a:ext cx="390805" cy="129099"/>
              </a:xfrm>
              <a:custGeom>
                <a:avLst/>
                <a:gdLst>
                  <a:gd name="connsiteX0" fmla="*/ 7164 w 390805"/>
                  <a:gd name="connsiteY0" fmla="*/ 38686 h 129099"/>
                  <a:gd name="connsiteX1" fmla="*/ 145792 w 390805"/>
                  <a:gd name="connsiteY1" fmla="*/ 0 h 129099"/>
                  <a:gd name="connsiteX2" fmla="*/ 255403 w 390805"/>
                  <a:gd name="connsiteY2" fmla="*/ 64478 h 129099"/>
                  <a:gd name="connsiteX3" fmla="*/ 390806 w 390805"/>
                  <a:gd name="connsiteY3" fmla="*/ 128955 h 129099"/>
                  <a:gd name="connsiteX4" fmla="*/ 7164 w 390805"/>
                  <a:gd name="connsiteY4" fmla="*/ 128955 h 129099"/>
                  <a:gd name="connsiteX5" fmla="*/ 7164 w 390805"/>
                  <a:gd name="connsiteY5" fmla="*/ 38686 h 129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0805" h="129099">
                    <a:moveTo>
                      <a:pt x="7164" y="38686"/>
                    </a:moveTo>
                    <a:cubicBezTo>
                      <a:pt x="7164" y="38686"/>
                      <a:pt x="97433" y="54806"/>
                      <a:pt x="145792" y="0"/>
                    </a:cubicBezTo>
                    <a:cubicBezTo>
                      <a:pt x="145792" y="0"/>
                      <a:pt x="216716" y="58030"/>
                      <a:pt x="255403" y="64478"/>
                    </a:cubicBezTo>
                    <a:cubicBezTo>
                      <a:pt x="290866" y="70925"/>
                      <a:pt x="381135" y="70925"/>
                      <a:pt x="390806" y="128955"/>
                    </a:cubicBezTo>
                    <a:lnTo>
                      <a:pt x="7164" y="128955"/>
                    </a:lnTo>
                    <a:cubicBezTo>
                      <a:pt x="7164" y="132179"/>
                      <a:pt x="-8955" y="80597"/>
                      <a:pt x="7164" y="3868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3F733708-DF36-4EBD-9356-0444CF04FCF5}"/>
                  </a:ext>
                </a:extLst>
              </p:cNvPr>
              <p:cNvSpPr/>
              <p:nvPr/>
            </p:nvSpPr>
            <p:spPr>
              <a:xfrm>
                <a:off x="13740371" y="6021381"/>
                <a:ext cx="383641" cy="35462"/>
              </a:xfrm>
              <a:custGeom>
                <a:avLst/>
                <a:gdLst>
                  <a:gd name="connsiteX0" fmla="*/ 0 w 383641"/>
                  <a:gd name="connsiteY0" fmla="*/ 0 h 35462"/>
                  <a:gd name="connsiteX1" fmla="*/ 383641 w 383641"/>
                  <a:gd name="connsiteY1" fmla="*/ 0 h 35462"/>
                  <a:gd name="connsiteX2" fmla="*/ 383641 w 383641"/>
                  <a:gd name="connsiteY2" fmla="*/ 35463 h 35462"/>
                  <a:gd name="connsiteX3" fmla="*/ 0 w 383641"/>
                  <a:gd name="connsiteY3" fmla="*/ 35463 h 35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3641" h="35462">
                    <a:moveTo>
                      <a:pt x="0" y="0"/>
                    </a:moveTo>
                    <a:lnTo>
                      <a:pt x="383641" y="0"/>
                    </a:lnTo>
                    <a:lnTo>
                      <a:pt x="383641" y="35463"/>
                    </a:lnTo>
                    <a:lnTo>
                      <a:pt x="0" y="35463"/>
                    </a:ln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AEED6C2B-5680-449A-9B28-89BC558772F8}"/>
                  </a:ext>
                </a:extLst>
              </p:cNvPr>
              <p:cNvSpPr/>
              <p:nvPr/>
            </p:nvSpPr>
            <p:spPr>
              <a:xfrm>
                <a:off x="13733924" y="5883560"/>
                <a:ext cx="153939" cy="54000"/>
              </a:xfrm>
              <a:custGeom>
                <a:avLst/>
                <a:gdLst>
                  <a:gd name="connsiteX0" fmla="*/ 32239 w 153939"/>
                  <a:gd name="connsiteY0" fmla="*/ 54000 h 54000"/>
                  <a:gd name="connsiteX1" fmla="*/ 6447 w 153939"/>
                  <a:gd name="connsiteY1" fmla="*/ 50776 h 54000"/>
                  <a:gd name="connsiteX2" fmla="*/ 0 w 153939"/>
                  <a:gd name="connsiteY2" fmla="*/ 44328 h 54000"/>
                  <a:gd name="connsiteX3" fmla="*/ 6447 w 153939"/>
                  <a:gd name="connsiteY3" fmla="*/ 37881 h 54000"/>
                  <a:gd name="connsiteX4" fmla="*/ 141851 w 153939"/>
                  <a:gd name="connsiteY4" fmla="*/ 2418 h 54000"/>
                  <a:gd name="connsiteX5" fmla="*/ 151522 w 153939"/>
                  <a:gd name="connsiteY5" fmla="*/ 2418 h 54000"/>
                  <a:gd name="connsiteX6" fmla="*/ 151522 w 153939"/>
                  <a:gd name="connsiteY6" fmla="*/ 12090 h 54000"/>
                  <a:gd name="connsiteX7" fmla="*/ 32239 w 153939"/>
                  <a:gd name="connsiteY7" fmla="*/ 54000 h 5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939" h="54000">
                    <a:moveTo>
                      <a:pt x="32239" y="54000"/>
                    </a:moveTo>
                    <a:cubicBezTo>
                      <a:pt x="16119" y="54000"/>
                      <a:pt x="6447" y="54000"/>
                      <a:pt x="6447" y="50776"/>
                    </a:cubicBezTo>
                    <a:cubicBezTo>
                      <a:pt x="3223" y="50776"/>
                      <a:pt x="0" y="47552"/>
                      <a:pt x="0" y="44328"/>
                    </a:cubicBezTo>
                    <a:cubicBezTo>
                      <a:pt x="0" y="41105"/>
                      <a:pt x="3223" y="37881"/>
                      <a:pt x="6447" y="37881"/>
                    </a:cubicBezTo>
                    <a:cubicBezTo>
                      <a:pt x="6447" y="37881"/>
                      <a:pt x="87044" y="50776"/>
                      <a:pt x="141851" y="2418"/>
                    </a:cubicBezTo>
                    <a:cubicBezTo>
                      <a:pt x="145075" y="-806"/>
                      <a:pt x="148298" y="-806"/>
                      <a:pt x="151522" y="2418"/>
                    </a:cubicBezTo>
                    <a:cubicBezTo>
                      <a:pt x="154746" y="5642"/>
                      <a:pt x="154746" y="8866"/>
                      <a:pt x="151522" y="12090"/>
                    </a:cubicBezTo>
                    <a:cubicBezTo>
                      <a:pt x="109612" y="47552"/>
                      <a:pt x="61254" y="54000"/>
                      <a:pt x="32239" y="5400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977CB574-6EBA-48CD-B917-1783894C2BC9}"/>
                  </a:ext>
                </a:extLst>
              </p:cNvPr>
              <p:cNvSpPr/>
              <p:nvPr/>
            </p:nvSpPr>
            <p:spPr>
              <a:xfrm>
                <a:off x="13883028" y="5902904"/>
                <a:ext cx="37074" cy="37880"/>
              </a:xfrm>
              <a:custGeom>
                <a:avLst/>
                <a:gdLst>
                  <a:gd name="connsiteX0" fmla="*/ 5642 w 37074"/>
                  <a:gd name="connsiteY0" fmla="*/ 37881 h 37880"/>
                  <a:gd name="connsiteX1" fmla="*/ 2418 w 37074"/>
                  <a:gd name="connsiteY1" fmla="*/ 34657 h 37880"/>
                  <a:gd name="connsiteX2" fmla="*/ 2418 w 37074"/>
                  <a:gd name="connsiteY2" fmla="*/ 24985 h 37880"/>
                  <a:gd name="connsiteX3" fmla="*/ 24986 w 37074"/>
                  <a:gd name="connsiteY3" fmla="*/ 2418 h 37880"/>
                  <a:gd name="connsiteX4" fmla="*/ 34657 w 37074"/>
                  <a:gd name="connsiteY4" fmla="*/ 2418 h 37880"/>
                  <a:gd name="connsiteX5" fmla="*/ 34657 w 37074"/>
                  <a:gd name="connsiteY5" fmla="*/ 12090 h 37880"/>
                  <a:gd name="connsiteX6" fmla="*/ 12090 w 37074"/>
                  <a:gd name="connsiteY6" fmla="*/ 34657 h 37880"/>
                  <a:gd name="connsiteX7" fmla="*/ 5642 w 37074"/>
                  <a:gd name="connsiteY7" fmla="*/ 37881 h 3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74" h="37880">
                    <a:moveTo>
                      <a:pt x="5642" y="37881"/>
                    </a:moveTo>
                    <a:cubicBezTo>
                      <a:pt x="5642" y="37881"/>
                      <a:pt x="2418" y="37881"/>
                      <a:pt x="2418" y="34657"/>
                    </a:cubicBezTo>
                    <a:cubicBezTo>
                      <a:pt x="-806" y="31433"/>
                      <a:pt x="-806" y="28209"/>
                      <a:pt x="2418" y="24985"/>
                    </a:cubicBezTo>
                    <a:lnTo>
                      <a:pt x="24986" y="2418"/>
                    </a:lnTo>
                    <a:cubicBezTo>
                      <a:pt x="28210" y="-806"/>
                      <a:pt x="31433" y="-806"/>
                      <a:pt x="34657" y="2418"/>
                    </a:cubicBezTo>
                    <a:cubicBezTo>
                      <a:pt x="37881" y="5642"/>
                      <a:pt x="37881" y="8866"/>
                      <a:pt x="34657" y="12090"/>
                    </a:cubicBezTo>
                    <a:lnTo>
                      <a:pt x="12090" y="34657"/>
                    </a:lnTo>
                    <a:cubicBezTo>
                      <a:pt x="8866" y="37881"/>
                      <a:pt x="5642" y="37881"/>
                      <a:pt x="5642" y="3788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A0138235-2FF5-4B06-80FA-77DE0D180874}"/>
                  </a:ext>
                </a:extLst>
              </p:cNvPr>
              <p:cNvSpPr/>
              <p:nvPr/>
            </p:nvSpPr>
            <p:spPr>
              <a:xfrm>
                <a:off x="13912043" y="5925471"/>
                <a:ext cx="37074" cy="37880"/>
              </a:xfrm>
              <a:custGeom>
                <a:avLst/>
                <a:gdLst>
                  <a:gd name="connsiteX0" fmla="*/ 5641 w 37074"/>
                  <a:gd name="connsiteY0" fmla="*/ 37881 h 37880"/>
                  <a:gd name="connsiteX1" fmla="*/ 2417 w 37074"/>
                  <a:gd name="connsiteY1" fmla="*/ 34657 h 37880"/>
                  <a:gd name="connsiteX2" fmla="*/ 2417 w 37074"/>
                  <a:gd name="connsiteY2" fmla="*/ 24985 h 37880"/>
                  <a:gd name="connsiteX3" fmla="*/ 24985 w 37074"/>
                  <a:gd name="connsiteY3" fmla="*/ 2418 h 37880"/>
                  <a:gd name="connsiteX4" fmla="*/ 34656 w 37074"/>
                  <a:gd name="connsiteY4" fmla="*/ 2418 h 37880"/>
                  <a:gd name="connsiteX5" fmla="*/ 34656 w 37074"/>
                  <a:gd name="connsiteY5" fmla="*/ 12090 h 37880"/>
                  <a:gd name="connsiteX6" fmla="*/ 12090 w 37074"/>
                  <a:gd name="connsiteY6" fmla="*/ 34657 h 37880"/>
                  <a:gd name="connsiteX7" fmla="*/ 5641 w 37074"/>
                  <a:gd name="connsiteY7" fmla="*/ 37881 h 3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74" h="37880">
                    <a:moveTo>
                      <a:pt x="5641" y="37881"/>
                    </a:moveTo>
                    <a:cubicBezTo>
                      <a:pt x="5641" y="37881"/>
                      <a:pt x="2417" y="37881"/>
                      <a:pt x="2417" y="34657"/>
                    </a:cubicBezTo>
                    <a:cubicBezTo>
                      <a:pt x="-806" y="31433"/>
                      <a:pt x="-806" y="28209"/>
                      <a:pt x="2417" y="24985"/>
                    </a:cubicBezTo>
                    <a:lnTo>
                      <a:pt x="24985" y="2418"/>
                    </a:lnTo>
                    <a:cubicBezTo>
                      <a:pt x="28209" y="-806"/>
                      <a:pt x="31433" y="-806"/>
                      <a:pt x="34656" y="2418"/>
                    </a:cubicBezTo>
                    <a:cubicBezTo>
                      <a:pt x="37880" y="5642"/>
                      <a:pt x="37880" y="8866"/>
                      <a:pt x="34656" y="12090"/>
                    </a:cubicBezTo>
                    <a:lnTo>
                      <a:pt x="12090" y="34657"/>
                    </a:lnTo>
                    <a:cubicBezTo>
                      <a:pt x="8865" y="34657"/>
                      <a:pt x="8865" y="37881"/>
                      <a:pt x="5641" y="3788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0569654A-BDC0-43ED-A47D-58DD4F2F7FF9}"/>
                </a:ext>
              </a:extLst>
            </p:cNvPr>
            <p:cNvSpPr/>
            <p:nvPr/>
          </p:nvSpPr>
          <p:spPr>
            <a:xfrm>
              <a:off x="13216258" y="3996784"/>
              <a:ext cx="963173" cy="998835"/>
            </a:xfrm>
            <a:custGeom>
              <a:avLst/>
              <a:gdLst>
                <a:gd name="connsiteX0" fmla="*/ 843277 w 963173"/>
                <a:gd name="connsiteY0" fmla="*/ 19343 h 998835"/>
                <a:gd name="connsiteX1" fmla="*/ 959337 w 963173"/>
                <a:gd name="connsiteY1" fmla="*/ 934925 h 998835"/>
                <a:gd name="connsiteX2" fmla="*/ 566024 w 963173"/>
                <a:gd name="connsiteY2" fmla="*/ 976836 h 998835"/>
                <a:gd name="connsiteX3" fmla="*/ 443516 w 963173"/>
                <a:gd name="connsiteY3" fmla="*/ 409433 h 998835"/>
                <a:gd name="connsiteX4" fmla="*/ 443516 w 963173"/>
                <a:gd name="connsiteY4" fmla="*/ 976836 h 998835"/>
                <a:gd name="connsiteX5" fmla="*/ 21188 w 963173"/>
                <a:gd name="connsiteY5" fmla="*/ 973612 h 998835"/>
                <a:gd name="connsiteX6" fmla="*/ 17965 w 963173"/>
                <a:gd name="connsiteY6" fmla="*/ 0 h 998835"/>
                <a:gd name="connsiteX7" fmla="*/ 843277 w 963173"/>
                <a:gd name="connsiteY7" fmla="*/ 19343 h 998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3173" h="998835">
                  <a:moveTo>
                    <a:pt x="843277" y="19343"/>
                  </a:moveTo>
                  <a:cubicBezTo>
                    <a:pt x="843277" y="19343"/>
                    <a:pt x="988352" y="851105"/>
                    <a:pt x="959337" y="934925"/>
                  </a:cubicBezTo>
                  <a:cubicBezTo>
                    <a:pt x="865845" y="996179"/>
                    <a:pt x="685307" y="986507"/>
                    <a:pt x="566024" y="976836"/>
                  </a:cubicBezTo>
                  <a:cubicBezTo>
                    <a:pt x="572472" y="896239"/>
                    <a:pt x="456412" y="432000"/>
                    <a:pt x="443516" y="409433"/>
                  </a:cubicBezTo>
                  <a:cubicBezTo>
                    <a:pt x="430621" y="383642"/>
                    <a:pt x="443516" y="976836"/>
                    <a:pt x="443516" y="976836"/>
                  </a:cubicBezTo>
                  <a:cubicBezTo>
                    <a:pt x="443516" y="976836"/>
                    <a:pt x="163039" y="1028418"/>
                    <a:pt x="21188" y="973612"/>
                  </a:cubicBezTo>
                  <a:cubicBezTo>
                    <a:pt x="8292" y="893015"/>
                    <a:pt x="-17498" y="80597"/>
                    <a:pt x="17965" y="0"/>
                  </a:cubicBezTo>
                  <a:cubicBezTo>
                    <a:pt x="578920" y="32239"/>
                    <a:pt x="843277" y="19343"/>
                    <a:pt x="843277" y="19343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1F1846CB-F1FA-4442-8B43-9024D05EDE16}"/>
                </a:ext>
              </a:extLst>
            </p:cNvPr>
            <p:cNvSpPr/>
            <p:nvPr/>
          </p:nvSpPr>
          <p:spPr>
            <a:xfrm>
              <a:off x="13650103" y="4116068"/>
              <a:ext cx="61253" cy="299820"/>
            </a:xfrm>
            <a:custGeom>
              <a:avLst/>
              <a:gdLst>
                <a:gd name="connsiteX0" fmla="*/ 6447 w 61253"/>
                <a:gd name="connsiteY0" fmla="*/ 299821 h 299820"/>
                <a:gd name="connsiteX1" fmla="*/ 6447 w 61253"/>
                <a:gd name="connsiteY1" fmla="*/ 299821 h 299820"/>
                <a:gd name="connsiteX2" fmla="*/ 0 w 61253"/>
                <a:gd name="connsiteY2" fmla="*/ 290149 h 299820"/>
                <a:gd name="connsiteX3" fmla="*/ 48358 w 61253"/>
                <a:gd name="connsiteY3" fmla="*/ 6448 h 299820"/>
                <a:gd name="connsiteX4" fmla="*/ 54805 w 61253"/>
                <a:gd name="connsiteY4" fmla="*/ 0 h 299820"/>
                <a:gd name="connsiteX5" fmla="*/ 61254 w 61253"/>
                <a:gd name="connsiteY5" fmla="*/ 6448 h 299820"/>
                <a:gd name="connsiteX6" fmla="*/ 12895 w 61253"/>
                <a:gd name="connsiteY6" fmla="*/ 293373 h 299820"/>
                <a:gd name="connsiteX7" fmla="*/ 6447 w 61253"/>
                <a:gd name="connsiteY7" fmla="*/ 299821 h 299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253" h="299820">
                  <a:moveTo>
                    <a:pt x="6447" y="299821"/>
                  </a:moveTo>
                  <a:cubicBezTo>
                    <a:pt x="6447" y="299821"/>
                    <a:pt x="3224" y="299821"/>
                    <a:pt x="6447" y="299821"/>
                  </a:cubicBezTo>
                  <a:cubicBezTo>
                    <a:pt x="0" y="296597"/>
                    <a:pt x="0" y="293373"/>
                    <a:pt x="0" y="290149"/>
                  </a:cubicBezTo>
                  <a:cubicBezTo>
                    <a:pt x="38686" y="196657"/>
                    <a:pt x="48358" y="9671"/>
                    <a:pt x="48358" y="6448"/>
                  </a:cubicBezTo>
                  <a:cubicBezTo>
                    <a:pt x="48358" y="3224"/>
                    <a:pt x="51582" y="0"/>
                    <a:pt x="54805" y="0"/>
                  </a:cubicBezTo>
                  <a:cubicBezTo>
                    <a:pt x="58029" y="0"/>
                    <a:pt x="61254" y="3224"/>
                    <a:pt x="61254" y="6448"/>
                  </a:cubicBezTo>
                  <a:cubicBezTo>
                    <a:pt x="61254" y="12895"/>
                    <a:pt x="54805" y="199881"/>
                    <a:pt x="12895" y="293373"/>
                  </a:cubicBezTo>
                  <a:cubicBezTo>
                    <a:pt x="9671" y="299821"/>
                    <a:pt x="9671" y="299821"/>
                    <a:pt x="6447" y="299821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39DB8109-B7DD-476D-AE93-7B16B48E410C}"/>
                </a:ext>
              </a:extLst>
            </p:cNvPr>
            <p:cNvSpPr/>
            <p:nvPr/>
          </p:nvSpPr>
          <p:spPr>
            <a:xfrm>
              <a:off x="13671334" y="4058038"/>
              <a:ext cx="130290" cy="293373"/>
            </a:xfrm>
            <a:custGeom>
              <a:avLst/>
              <a:gdLst>
                <a:gd name="connsiteX0" fmla="*/ 7783 w 130290"/>
                <a:gd name="connsiteY0" fmla="*/ 293373 h 293373"/>
                <a:gd name="connsiteX1" fmla="*/ 1335 w 130290"/>
                <a:gd name="connsiteY1" fmla="*/ 290149 h 293373"/>
                <a:gd name="connsiteX2" fmla="*/ 4559 w 130290"/>
                <a:gd name="connsiteY2" fmla="*/ 280478 h 293373"/>
                <a:gd name="connsiteX3" fmla="*/ 91604 w 130290"/>
                <a:gd name="connsiteY3" fmla="*/ 219224 h 293373"/>
                <a:gd name="connsiteX4" fmla="*/ 117395 w 130290"/>
                <a:gd name="connsiteY4" fmla="*/ 6448 h 293373"/>
                <a:gd name="connsiteX5" fmla="*/ 123843 w 130290"/>
                <a:gd name="connsiteY5" fmla="*/ 0 h 293373"/>
                <a:gd name="connsiteX6" fmla="*/ 130290 w 130290"/>
                <a:gd name="connsiteY6" fmla="*/ 6448 h 293373"/>
                <a:gd name="connsiteX7" fmla="*/ 101276 w 130290"/>
                <a:gd name="connsiteY7" fmla="*/ 225672 h 293373"/>
                <a:gd name="connsiteX8" fmla="*/ 11007 w 130290"/>
                <a:gd name="connsiteY8" fmla="*/ 290149 h 293373"/>
                <a:gd name="connsiteX9" fmla="*/ 7783 w 130290"/>
                <a:gd name="connsiteY9" fmla="*/ 293373 h 293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0290" h="293373">
                  <a:moveTo>
                    <a:pt x="7783" y="293373"/>
                  </a:moveTo>
                  <a:cubicBezTo>
                    <a:pt x="4559" y="293373"/>
                    <a:pt x="4559" y="293373"/>
                    <a:pt x="1335" y="290149"/>
                  </a:cubicBezTo>
                  <a:cubicBezTo>
                    <a:pt x="-1888" y="286925"/>
                    <a:pt x="1335" y="283702"/>
                    <a:pt x="4559" y="280478"/>
                  </a:cubicBezTo>
                  <a:cubicBezTo>
                    <a:pt x="33574" y="261134"/>
                    <a:pt x="85156" y="225672"/>
                    <a:pt x="91604" y="219224"/>
                  </a:cubicBezTo>
                  <a:cubicBezTo>
                    <a:pt x="98051" y="209552"/>
                    <a:pt x="110948" y="83821"/>
                    <a:pt x="117395" y="6448"/>
                  </a:cubicBezTo>
                  <a:cubicBezTo>
                    <a:pt x="117395" y="3224"/>
                    <a:pt x="120619" y="0"/>
                    <a:pt x="123843" y="0"/>
                  </a:cubicBezTo>
                  <a:cubicBezTo>
                    <a:pt x="127067" y="0"/>
                    <a:pt x="130290" y="3224"/>
                    <a:pt x="130290" y="6448"/>
                  </a:cubicBezTo>
                  <a:cubicBezTo>
                    <a:pt x="127067" y="54806"/>
                    <a:pt x="110948" y="212776"/>
                    <a:pt x="101276" y="225672"/>
                  </a:cubicBezTo>
                  <a:cubicBezTo>
                    <a:pt x="91604" y="238567"/>
                    <a:pt x="20679" y="286925"/>
                    <a:pt x="11007" y="290149"/>
                  </a:cubicBezTo>
                  <a:cubicBezTo>
                    <a:pt x="11007" y="293373"/>
                    <a:pt x="11007" y="293373"/>
                    <a:pt x="7783" y="293373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2DCAC7C4-7A0D-45DB-9180-FEFB89881E63}"/>
                </a:ext>
              </a:extLst>
            </p:cNvPr>
            <p:cNvSpPr/>
            <p:nvPr/>
          </p:nvSpPr>
          <p:spPr>
            <a:xfrm>
              <a:off x="13967075" y="3082566"/>
              <a:ext cx="737235" cy="704770"/>
            </a:xfrm>
            <a:custGeom>
              <a:avLst/>
              <a:gdLst>
                <a:gd name="connsiteX0" fmla="*/ 18311 w 737235"/>
                <a:gd name="connsiteY0" fmla="*/ 227532 h 704770"/>
                <a:gd name="connsiteX1" fmla="*/ 79565 w 737235"/>
                <a:gd name="connsiteY1" fmla="*/ 1860 h 704770"/>
                <a:gd name="connsiteX2" fmla="*/ 282670 w 737235"/>
                <a:gd name="connsiteY2" fmla="*/ 233980 h 704770"/>
                <a:gd name="connsiteX3" fmla="*/ 405177 w 737235"/>
                <a:gd name="connsiteY3" fmla="*/ 475771 h 704770"/>
                <a:gd name="connsiteX4" fmla="*/ 698550 w 737235"/>
                <a:gd name="connsiteY4" fmla="*/ 204965 h 704770"/>
                <a:gd name="connsiteX5" fmla="*/ 737236 w 737235"/>
                <a:gd name="connsiteY5" fmla="*/ 317800 h 704770"/>
                <a:gd name="connsiteX6" fmla="*/ 334251 w 737235"/>
                <a:gd name="connsiteY6" fmla="*/ 701442 h 704770"/>
                <a:gd name="connsiteX7" fmla="*/ 18311 w 737235"/>
                <a:gd name="connsiteY7" fmla="*/ 227532 h 704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7235" h="704770">
                  <a:moveTo>
                    <a:pt x="18311" y="227532"/>
                  </a:moveTo>
                  <a:cubicBezTo>
                    <a:pt x="-26823" y="117920"/>
                    <a:pt x="18311" y="-17483"/>
                    <a:pt x="79565" y="1860"/>
                  </a:cubicBezTo>
                  <a:cubicBezTo>
                    <a:pt x="150490" y="21203"/>
                    <a:pt x="234311" y="98577"/>
                    <a:pt x="282670" y="233980"/>
                  </a:cubicBezTo>
                  <a:cubicBezTo>
                    <a:pt x="311684" y="311353"/>
                    <a:pt x="389057" y="478994"/>
                    <a:pt x="405177" y="475771"/>
                  </a:cubicBezTo>
                  <a:cubicBezTo>
                    <a:pt x="411625" y="475771"/>
                    <a:pt x="698550" y="204965"/>
                    <a:pt x="698550" y="204965"/>
                  </a:cubicBezTo>
                  <a:cubicBezTo>
                    <a:pt x="698550" y="253323"/>
                    <a:pt x="737236" y="317800"/>
                    <a:pt x="737236" y="317800"/>
                  </a:cubicBezTo>
                  <a:cubicBezTo>
                    <a:pt x="737236" y="317800"/>
                    <a:pt x="492222" y="746577"/>
                    <a:pt x="334251" y="701442"/>
                  </a:cubicBezTo>
                  <a:cubicBezTo>
                    <a:pt x="250431" y="675651"/>
                    <a:pt x="73117" y="366159"/>
                    <a:pt x="18311" y="227532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6C97247D-8197-404D-A072-F01B442259E9}"/>
                </a:ext>
              </a:extLst>
            </p:cNvPr>
            <p:cNvSpPr/>
            <p:nvPr/>
          </p:nvSpPr>
          <p:spPr>
            <a:xfrm>
              <a:off x="13537267" y="2648975"/>
              <a:ext cx="228895" cy="219961"/>
            </a:xfrm>
            <a:custGeom>
              <a:avLst/>
              <a:gdLst>
                <a:gd name="connsiteX0" fmla="*/ 228896 w 228895"/>
                <a:gd name="connsiteY0" fmla="*/ 19571 h 219961"/>
                <a:gd name="connsiteX1" fmla="*/ 228896 w 228895"/>
                <a:gd name="connsiteY1" fmla="*/ 183989 h 219961"/>
                <a:gd name="connsiteX2" fmla="*/ 0 w 228895"/>
                <a:gd name="connsiteY2" fmla="*/ 174317 h 219961"/>
                <a:gd name="connsiteX3" fmla="*/ 6447 w 228895"/>
                <a:gd name="connsiteY3" fmla="*/ 228 h 219961"/>
                <a:gd name="connsiteX4" fmla="*/ 228896 w 228895"/>
                <a:gd name="connsiteY4" fmla="*/ 19571 h 21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895" h="219961">
                  <a:moveTo>
                    <a:pt x="228896" y="19571"/>
                  </a:moveTo>
                  <a:cubicBezTo>
                    <a:pt x="228896" y="19571"/>
                    <a:pt x="228896" y="122735"/>
                    <a:pt x="228896" y="183989"/>
                  </a:cubicBezTo>
                  <a:cubicBezTo>
                    <a:pt x="228896" y="183989"/>
                    <a:pt x="122507" y="271034"/>
                    <a:pt x="0" y="174317"/>
                  </a:cubicBezTo>
                  <a:cubicBezTo>
                    <a:pt x="0" y="125959"/>
                    <a:pt x="6447" y="51810"/>
                    <a:pt x="6447" y="228"/>
                  </a:cubicBezTo>
                  <a:cubicBezTo>
                    <a:pt x="9671" y="-2996"/>
                    <a:pt x="186985" y="29243"/>
                    <a:pt x="228896" y="19571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7A4C7490-11A4-4C7F-A6F5-5F8B8F115A2D}"/>
                </a:ext>
              </a:extLst>
            </p:cNvPr>
            <p:cNvSpPr/>
            <p:nvPr/>
          </p:nvSpPr>
          <p:spPr>
            <a:xfrm>
              <a:off x="13430878" y="2500904"/>
              <a:ext cx="74149" cy="145074"/>
            </a:xfrm>
            <a:custGeom>
              <a:avLst/>
              <a:gdLst>
                <a:gd name="connsiteX0" fmla="*/ 0 w 74149"/>
                <a:gd name="connsiteY0" fmla="*/ 0 h 145074"/>
                <a:gd name="connsiteX1" fmla="*/ 70926 w 74149"/>
                <a:gd name="connsiteY1" fmla="*/ 145075 h 145074"/>
                <a:gd name="connsiteX2" fmla="*/ 74150 w 74149"/>
                <a:gd name="connsiteY2" fmla="*/ 54806 h 145074"/>
                <a:gd name="connsiteX3" fmla="*/ 0 w 74149"/>
                <a:gd name="connsiteY3" fmla="*/ 0 h 14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149" h="145074">
                  <a:moveTo>
                    <a:pt x="0" y="0"/>
                  </a:moveTo>
                  <a:cubicBezTo>
                    <a:pt x="0" y="0"/>
                    <a:pt x="16119" y="125731"/>
                    <a:pt x="70926" y="145075"/>
                  </a:cubicBezTo>
                  <a:lnTo>
                    <a:pt x="74150" y="548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598710AA-FFE2-4408-9A35-CA74D20B4D00}"/>
                </a:ext>
              </a:extLst>
            </p:cNvPr>
            <p:cNvSpPr/>
            <p:nvPr/>
          </p:nvSpPr>
          <p:spPr>
            <a:xfrm>
              <a:off x="13810819" y="2281680"/>
              <a:ext cx="108529" cy="251476"/>
            </a:xfrm>
            <a:custGeom>
              <a:avLst/>
              <a:gdLst>
                <a:gd name="connsiteX0" fmla="*/ 100418 w 108529"/>
                <a:gd name="connsiteY0" fmla="*/ 0 h 251476"/>
                <a:gd name="connsiteX1" fmla="*/ 58507 w 108529"/>
                <a:gd name="connsiteY1" fmla="*/ 248239 h 251476"/>
                <a:gd name="connsiteX2" fmla="*/ 478 w 108529"/>
                <a:gd name="connsiteY2" fmla="*/ 16119 h 251476"/>
                <a:gd name="connsiteX3" fmla="*/ 100418 w 108529"/>
                <a:gd name="connsiteY3" fmla="*/ 0 h 251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529" h="251476">
                  <a:moveTo>
                    <a:pt x="100418" y="0"/>
                  </a:moveTo>
                  <a:cubicBezTo>
                    <a:pt x="100418" y="0"/>
                    <a:pt x="135880" y="206328"/>
                    <a:pt x="58507" y="248239"/>
                  </a:cubicBezTo>
                  <a:cubicBezTo>
                    <a:pt x="-9195" y="283702"/>
                    <a:pt x="478" y="16119"/>
                    <a:pt x="478" y="16119"/>
                  </a:cubicBezTo>
                  <a:lnTo>
                    <a:pt x="100418" y="0"/>
                  </a:ln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5C64189F-568C-4C15-A093-5572F8BCBA55}"/>
                </a:ext>
              </a:extLst>
            </p:cNvPr>
            <p:cNvSpPr/>
            <p:nvPr/>
          </p:nvSpPr>
          <p:spPr>
            <a:xfrm>
              <a:off x="13429007" y="2135641"/>
              <a:ext cx="452800" cy="601390"/>
            </a:xfrm>
            <a:custGeom>
              <a:avLst/>
              <a:gdLst>
                <a:gd name="connsiteX0" fmla="*/ 440319 w 452800"/>
                <a:gd name="connsiteY0" fmla="*/ 191173 h 601390"/>
                <a:gd name="connsiteX1" fmla="*/ 443543 w 452800"/>
                <a:gd name="connsiteY1" fmla="*/ 455531 h 601390"/>
                <a:gd name="connsiteX2" fmla="*/ 275901 w 452800"/>
                <a:gd name="connsiteY2" fmla="*/ 600606 h 601390"/>
                <a:gd name="connsiteX3" fmla="*/ 30887 w 452800"/>
                <a:gd name="connsiteY3" fmla="*/ 465203 h 601390"/>
                <a:gd name="connsiteX4" fmla="*/ 1871 w 452800"/>
                <a:gd name="connsiteY4" fmla="*/ 213740 h 601390"/>
                <a:gd name="connsiteX5" fmla="*/ 224320 w 452800"/>
                <a:gd name="connsiteY5" fmla="*/ 964 h 601390"/>
                <a:gd name="connsiteX6" fmla="*/ 440319 w 452800"/>
                <a:gd name="connsiteY6" fmla="*/ 191173 h 601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800" h="601390">
                  <a:moveTo>
                    <a:pt x="440319" y="191173"/>
                  </a:moveTo>
                  <a:cubicBezTo>
                    <a:pt x="440319" y="191173"/>
                    <a:pt x="466111" y="349143"/>
                    <a:pt x="443543" y="455531"/>
                  </a:cubicBezTo>
                  <a:cubicBezTo>
                    <a:pt x="424200" y="542576"/>
                    <a:pt x="330708" y="594158"/>
                    <a:pt x="275901" y="600606"/>
                  </a:cubicBezTo>
                  <a:cubicBezTo>
                    <a:pt x="204976" y="607054"/>
                    <a:pt x="85692" y="574815"/>
                    <a:pt x="30887" y="465203"/>
                  </a:cubicBezTo>
                  <a:cubicBezTo>
                    <a:pt x="-11024" y="378158"/>
                    <a:pt x="1871" y="265322"/>
                    <a:pt x="1871" y="213740"/>
                  </a:cubicBezTo>
                  <a:cubicBezTo>
                    <a:pt x="1871" y="113800"/>
                    <a:pt x="30887" y="29979"/>
                    <a:pt x="224320" y="964"/>
                  </a:cubicBezTo>
                  <a:cubicBezTo>
                    <a:pt x="314588" y="-11932"/>
                    <a:pt x="417753" y="107352"/>
                    <a:pt x="440319" y="191173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B1CC0546-C2D7-48A3-9FCE-68065C310311}"/>
                </a:ext>
              </a:extLst>
            </p:cNvPr>
            <p:cNvSpPr/>
            <p:nvPr/>
          </p:nvSpPr>
          <p:spPr>
            <a:xfrm>
              <a:off x="13672669" y="2410635"/>
              <a:ext cx="61254" cy="148298"/>
            </a:xfrm>
            <a:custGeom>
              <a:avLst/>
              <a:gdLst>
                <a:gd name="connsiteX0" fmla="*/ 29016 w 61254"/>
                <a:gd name="connsiteY0" fmla="*/ 148299 h 148298"/>
                <a:gd name="connsiteX1" fmla="*/ 6448 w 61254"/>
                <a:gd name="connsiteY1" fmla="*/ 145075 h 148298"/>
                <a:gd name="connsiteX2" fmla="*/ 0 w 61254"/>
                <a:gd name="connsiteY2" fmla="*/ 138627 h 148298"/>
                <a:gd name="connsiteX3" fmla="*/ 6448 w 61254"/>
                <a:gd name="connsiteY3" fmla="*/ 132179 h 148298"/>
                <a:gd name="connsiteX4" fmla="*/ 48358 w 61254"/>
                <a:gd name="connsiteY4" fmla="*/ 128955 h 148298"/>
                <a:gd name="connsiteX5" fmla="*/ 48358 w 61254"/>
                <a:gd name="connsiteY5" fmla="*/ 125731 h 148298"/>
                <a:gd name="connsiteX6" fmla="*/ 29016 w 61254"/>
                <a:gd name="connsiteY6" fmla="*/ 6448 h 148298"/>
                <a:gd name="connsiteX7" fmla="*/ 35463 w 61254"/>
                <a:gd name="connsiteY7" fmla="*/ 0 h 148298"/>
                <a:gd name="connsiteX8" fmla="*/ 41911 w 61254"/>
                <a:gd name="connsiteY8" fmla="*/ 6448 h 148298"/>
                <a:gd name="connsiteX9" fmla="*/ 61255 w 61254"/>
                <a:gd name="connsiteY9" fmla="*/ 125731 h 148298"/>
                <a:gd name="connsiteX10" fmla="*/ 54806 w 61254"/>
                <a:gd name="connsiteY10" fmla="*/ 138627 h 148298"/>
                <a:gd name="connsiteX11" fmla="*/ 29016 w 61254"/>
                <a:gd name="connsiteY11" fmla="*/ 148299 h 14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254" h="148298">
                  <a:moveTo>
                    <a:pt x="29016" y="148299"/>
                  </a:moveTo>
                  <a:cubicBezTo>
                    <a:pt x="19343" y="148299"/>
                    <a:pt x="9672" y="145075"/>
                    <a:pt x="6448" y="145075"/>
                  </a:cubicBezTo>
                  <a:cubicBezTo>
                    <a:pt x="3224" y="145075"/>
                    <a:pt x="0" y="141851"/>
                    <a:pt x="0" y="138627"/>
                  </a:cubicBezTo>
                  <a:cubicBezTo>
                    <a:pt x="0" y="135403"/>
                    <a:pt x="3224" y="132179"/>
                    <a:pt x="6448" y="132179"/>
                  </a:cubicBezTo>
                  <a:cubicBezTo>
                    <a:pt x="19343" y="135403"/>
                    <a:pt x="41911" y="135403"/>
                    <a:pt x="48358" y="128955"/>
                  </a:cubicBezTo>
                  <a:cubicBezTo>
                    <a:pt x="48358" y="128955"/>
                    <a:pt x="48358" y="125731"/>
                    <a:pt x="48358" y="125731"/>
                  </a:cubicBezTo>
                  <a:cubicBezTo>
                    <a:pt x="48358" y="106388"/>
                    <a:pt x="29016" y="9672"/>
                    <a:pt x="29016" y="6448"/>
                  </a:cubicBezTo>
                  <a:cubicBezTo>
                    <a:pt x="29016" y="3224"/>
                    <a:pt x="29016" y="0"/>
                    <a:pt x="35463" y="0"/>
                  </a:cubicBezTo>
                  <a:cubicBezTo>
                    <a:pt x="38687" y="0"/>
                    <a:pt x="41911" y="0"/>
                    <a:pt x="41911" y="6448"/>
                  </a:cubicBezTo>
                  <a:cubicBezTo>
                    <a:pt x="41911" y="9672"/>
                    <a:pt x="61255" y="106388"/>
                    <a:pt x="61255" y="125731"/>
                  </a:cubicBezTo>
                  <a:cubicBezTo>
                    <a:pt x="61255" y="132179"/>
                    <a:pt x="58030" y="135403"/>
                    <a:pt x="54806" y="138627"/>
                  </a:cubicBezTo>
                  <a:cubicBezTo>
                    <a:pt x="51582" y="148299"/>
                    <a:pt x="41911" y="148299"/>
                    <a:pt x="29016" y="148299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7ADDFDA6-FB69-46EC-8A6B-AD5AD6C16DA6}"/>
                </a:ext>
              </a:extLst>
            </p:cNvPr>
            <p:cNvSpPr/>
            <p:nvPr/>
          </p:nvSpPr>
          <p:spPr>
            <a:xfrm>
              <a:off x="13768564" y="2390659"/>
              <a:ext cx="43364" cy="43175"/>
            </a:xfrm>
            <a:custGeom>
              <a:avLst/>
              <a:gdLst>
                <a:gd name="connsiteX0" fmla="*/ 821 w 43364"/>
                <a:gd name="connsiteY0" fmla="*/ 26423 h 43175"/>
                <a:gd name="connsiteX1" fmla="*/ 26613 w 43364"/>
                <a:gd name="connsiteY1" fmla="*/ 42543 h 43175"/>
                <a:gd name="connsiteX2" fmla="*/ 42732 w 43364"/>
                <a:gd name="connsiteY2" fmla="*/ 16752 h 43175"/>
                <a:gd name="connsiteX3" fmla="*/ 16941 w 43364"/>
                <a:gd name="connsiteY3" fmla="*/ 632 h 43175"/>
                <a:gd name="connsiteX4" fmla="*/ 821 w 43364"/>
                <a:gd name="connsiteY4" fmla="*/ 26423 h 4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64" h="43175">
                  <a:moveTo>
                    <a:pt x="821" y="26423"/>
                  </a:moveTo>
                  <a:cubicBezTo>
                    <a:pt x="4045" y="36095"/>
                    <a:pt x="13718" y="45767"/>
                    <a:pt x="26613" y="42543"/>
                  </a:cubicBezTo>
                  <a:cubicBezTo>
                    <a:pt x="36284" y="39319"/>
                    <a:pt x="45956" y="29647"/>
                    <a:pt x="42732" y="16752"/>
                  </a:cubicBezTo>
                  <a:cubicBezTo>
                    <a:pt x="39508" y="7080"/>
                    <a:pt x="29837" y="-2591"/>
                    <a:pt x="16941" y="632"/>
                  </a:cubicBezTo>
                  <a:cubicBezTo>
                    <a:pt x="4045" y="3856"/>
                    <a:pt x="-2402" y="13528"/>
                    <a:pt x="821" y="2642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117C3090-7213-4802-8F38-57C0F2788628}"/>
                </a:ext>
              </a:extLst>
            </p:cNvPr>
            <p:cNvSpPr/>
            <p:nvPr/>
          </p:nvSpPr>
          <p:spPr>
            <a:xfrm>
              <a:off x="13575132" y="2410003"/>
              <a:ext cx="43364" cy="43175"/>
            </a:xfrm>
            <a:custGeom>
              <a:avLst/>
              <a:gdLst>
                <a:gd name="connsiteX0" fmla="*/ 821 w 43364"/>
                <a:gd name="connsiteY0" fmla="*/ 26423 h 43175"/>
                <a:gd name="connsiteX1" fmla="*/ 26613 w 43364"/>
                <a:gd name="connsiteY1" fmla="*/ 42543 h 43175"/>
                <a:gd name="connsiteX2" fmla="*/ 42732 w 43364"/>
                <a:gd name="connsiteY2" fmla="*/ 16752 h 43175"/>
                <a:gd name="connsiteX3" fmla="*/ 16941 w 43364"/>
                <a:gd name="connsiteY3" fmla="*/ 632 h 43175"/>
                <a:gd name="connsiteX4" fmla="*/ 821 w 43364"/>
                <a:gd name="connsiteY4" fmla="*/ 26423 h 4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64" h="43175">
                  <a:moveTo>
                    <a:pt x="821" y="26423"/>
                  </a:moveTo>
                  <a:cubicBezTo>
                    <a:pt x="4045" y="36095"/>
                    <a:pt x="13718" y="45767"/>
                    <a:pt x="26613" y="42543"/>
                  </a:cubicBezTo>
                  <a:cubicBezTo>
                    <a:pt x="36284" y="39319"/>
                    <a:pt x="45956" y="29647"/>
                    <a:pt x="42732" y="16752"/>
                  </a:cubicBezTo>
                  <a:cubicBezTo>
                    <a:pt x="39508" y="7080"/>
                    <a:pt x="29837" y="-2592"/>
                    <a:pt x="16941" y="632"/>
                  </a:cubicBezTo>
                  <a:cubicBezTo>
                    <a:pt x="4045" y="3856"/>
                    <a:pt x="-2402" y="16752"/>
                    <a:pt x="821" y="2642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F58F2D9E-9BBB-467F-A097-C09B3BB0F8CB}"/>
                </a:ext>
              </a:extLst>
            </p:cNvPr>
            <p:cNvSpPr/>
            <p:nvPr/>
          </p:nvSpPr>
          <p:spPr>
            <a:xfrm>
              <a:off x="13735812" y="2336486"/>
              <a:ext cx="97245" cy="35462"/>
            </a:xfrm>
            <a:custGeom>
              <a:avLst/>
              <a:gdLst>
                <a:gd name="connsiteX0" fmla="*/ 91604 w 97245"/>
                <a:gd name="connsiteY0" fmla="*/ 35463 h 35462"/>
                <a:gd name="connsiteX1" fmla="*/ 85156 w 97245"/>
                <a:gd name="connsiteY1" fmla="*/ 32239 h 35462"/>
                <a:gd name="connsiteX2" fmla="*/ 14231 w 97245"/>
                <a:gd name="connsiteY2" fmla="*/ 25791 h 35462"/>
                <a:gd name="connsiteX3" fmla="*/ 1335 w 97245"/>
                <a:gd name="connsiteY3" fmla="*/ 22567 h 35462"/>
                <a:gd name="connsiteX4" fmla="*/ 4559 w 97245"/>
                <a:gd name="connsiteY4" fmla="*/ 9672 h 35462"/>
                <a:gd name="connsiteX5" fmla="*/ 94828 w 97245"/>
                <a:gd name="connsiteY5" fmla="*/ 19343 h 35462"/>
                <a:gd name="connsiteX6" fmla="*/ 94828 w 97245"/>
                <a:gd name="connsiteY6" fmla="*/ 32239 h 35462"/>
                <a:gd name="connsiteX7" fmla="*/ 91604 w 97245"/>
                <a:gd name="connsiteY7" fmla="*/ 35463 h 35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5" h="35462">
                  <a:moveTo>
                    <a:pt x="91604" y="35463"/>
                  </a:moveTo>
                  <a:cubicBezTo>
                    <a:pt x="88380" y="35463"/>
                    <a:pt x="88380" y="35463"/>
                    <a:pt x="85156" y="32239"/>
                  </a:cubicBezTo>
                  <a:cubicBezTo>
                    <a:pt x="56141" y="3224"/>
                    <a:pt x="14231" y="25791"/>
                    <a:pt x="14231" y="25791"/>
                  </a:cubicBezTo>
                  <a:cubicBezTo>
                    <a:pt x="11007" y="29015"/>
                    <a:pt x="4559" y="25791"/>
                    <a:pt x="1335" y="22567"/>
                  </a:cubicBezTo>
                  <a:cubicBezTo>
                    <a:pt x="-1888" y="19343"/>
                    <a:pt x="1335" y="12896"/>
                    <a:pt x="4559" y="9672"/>
                  </a:cubicBezTo>
                  <a:cubicBezTo>
                    <a:pt x="23903" y="0"/>
                    <a:pt x="65813" y="-9672"/>
                    <a:pt x="94828" y="19343"/>
                  </a:cubicBezTo>
                  <a:cubicBezTo>
                    <a:pt x="98051" y="22567"/>
                    <a:pt x="98051" y="29015"/>
                    <a:pt x="94828" y="32239"/>
                  </a:cubicBezTo>
                  <a:cubicBezTo>
                    <a:pt x="94828" y="35463"/>
                    <a:pt x="94828" y="35463"/>
                    <a:pt x="91604" y="35463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09D95E3E-D523-47D3-969C-2FEB22731BCF}"/>
                </a:ext>
              </a:extLst>
            </p:cNvPr>
            <p:cNvSpPr/>
            <p:nvPr/>
          </p:nvSpPr>
          <p:spPr>
            <a:xfrm>
              <a:off x="13538073" y="2340038"/>
              <a:ext cx="97245" cy="38358"/>
            </a:xfrm>
            <a:custGeom>
              <a:avLst/>
              <a:gdLst>
                <a:gd name="connsiteX0" fmla="*/ 8865 w 97245"/>
                <a:gd name="connsiteY0" fmla="*/ 38359 h 38358"/>
                <a:gd name="connsiteX1" fmla="*/ 2418 w 97245"/>
                <a:gd name="connsiteY1" fmla="*/ 35135 h 38358"/>
                <a:gd name="connsiteX2" fmla="*/ 2418 w 97245"/>
                <a:gd name="connsiteY2" fmla="*/ 22239 h 38358"/>
                <a:gd name="connsiteX3" fmla="*/ 92686 w 97245"/>
                <a:gd name="connsiteY3" fmla="*/ 12567 h 38358"/>
                <a:gd name="connsiteX4" fmla="*/ 95910 w 97245"/>
                <a:gd name="connsiteY4" fmla="*/ 25463 h 38358"/>
                <a:gd name="connsiteX5" fmla="*/ 83015 w 97245"/>
                <a:gd name="connsiteY5" fmla="*/ 28687 h 38358"/>
                <a:gd name="connsiteX6" fmla="*/ 12089 w 97245"/>
                <a:gd name="connsiteY6" fmla="*/ 35135 h 38358"/>
                <a:gd name="connsiteX7" fmla="*/ 8865 w 97245"/>
                <a:gd name="connsiteY7" fmla="*/ 38359 h 3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5" h="38358">
                  <a:moveTo>
                    <a:pt x="8865" y="38359"/>
                  </a:moveTo>
                  <a:cubicBezTo>
                    <a:pt x="5641" y="38359"/>
                    <a:pt x="5641" y="38359"/>
                    <a:pt x="2418" y="35135"/>
                  </a:cubicBezTo>
                  <a:cubicBezTo>
                    <a:pt x="-806" y="31911"/>
                    <a:pt x="-806" y="25463"/>
                    <a:pt x="2418" y="22239"/>
                  </a:cubicBezTo>
                  <a:cubicBezTo>
                    <a:pt x="15313" y="6120"/>
                    <a:pt x="53999" y="-13224"/>
                    <a:pt x="92686" y="12567"/>
                  </a:cubicBezTo>
                  <a:cubicBezTo>
                    <a:pt x="95910" y="15791"/>
                    <a:pt x="99134" y="19015"/>
                    <a:pt x="95910" y="25463"/>
                  </a:cubicBezTo>
                  <a:cubicBezTo>
                    <a:pt x="92686" y="28687"/>
                    <a:pt x="89462" y="31911"/>
                    <a:pt x="83015" y="28687"/>
                  </a:cubicBezTo>
                  <a:cubicBezTo>
                    <a:pt x="44328" y="2896"/>
                    <a:pt x="15313" y="35135"/>
                    <a:pt x="12089" y="35135"/>
                  </a:cubicBezTo>
                  <a:cubicBezTo>
                    <a:pt x="12089" y="38359"/>
                    <a:pt x="8865" y="38359"/>
                    <a:pt x="8865" y="38359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4C1D2512-D158-49D5-8C90-0E812D5EBDFC}"/>
                </a:ext>
              </a:extLst>
            </p:cNvPr>
            <p:cNvSpPr/>
            <p:nvPr/>
          </p:nvSpPr>
          <p:spPr>
            <a:xfrm>
              <a:off x="13538073" y="2688695"/>
              <a:ext cx="239193" cy="54000"/>
            </a:xfrm>
            <a:custGeom>
              <a:avLst/>
              <a:gdLst>
                <a:gd name="connsiteX0" fmla="*/ 137820 w 239193"/>
                <a:gd name="connsiteY0" fmla="*/ 54000 h 54000"/>
                <a:gd name="connsiteX1" fmla="*/ 2418 w 239193"/>
                <a:gd name="connsiteY1" fmla="*/ 12090 h 54000"/>
                <a:gd name="connsiteX2" fmla="*/ 2418 w 239193"/>
                <a:gd name="connsiteY2" fmla="*/ 2418 h 54000"/>
                <a:gd name="connsiteX3" fmla="*/ 12089 w 239193"/>
                <a:gd name="connsiteY3" fmla="*/ 2418 h 54000"/>
                <a:gd name="connsiteX4" fmla="*/ 153940 w 239193"/>
                <a:gd name="connsiteY4" fmla="*/ 41104 h 54000"/>
                <a:gd name="connsiteX5" fmla="*/ 228090 w 239193"/>
                <a:gd name="connsiteY5" fmla="*/ 15313 h 54000"/>
                <a:gd name="connsiteX6" fmla="*/ 237761 w 239193"/>
                <a:gd name="connsiteY6" fmla="*/ 15313 h 54000"/>
                <a:gd name="connsiteX7" fmla="*/ 237761 w 239193"/>
                <a:gd name="connsiteY7" fmla="*/ 24985 h 54000"/>
                <a:gd name="connsiteX8" fmla="*/ 157164 w 239193"/>
                <a:gd name="connsiteY8" fmla="*/ 54000 h 54000"/>
                <a:gd name="connsiteX9" fmla="*/ 137820 w 239193"/>
                <a:gd name="connsiteY9" fmla="*/ 54000 h 5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193" h="54000">
                  <a:moveTo>
                    <a:pt x="137820" y="54000"/>
                  </a:moveTo>
                  <a:cubicBezTo>
                    <a:pt x="60448" y="54000"/>
                    <a:pt x="5641" y="12090"/>
                    <a:pt x="2418" y="12090"/>
                  </a:cubicBezTo>
                  <a:cubicBezTo>
                    <a:pt x="-806" y="8866"/>
                    <a:pt x="-806" y="5642"/>
                    <a:pt x="2418" y="2418"/>
                  </a:cubicBezTo>
                  <a:cubicBezTo>
                    <a:pt x="5641" y="-806"/>
                    <a:pt x="8865" y="-806"/>
                    <a:pt x="12089" y="2418"/>
                  </a:cubicBezTo>
                  <a:cubicBezTo>
                    <a:pt x="12089" y="2418"/>
                    <a:pt x="73343" y="47552"/>
                    <a:pt x="153940" y="41104"/>
                  </a:cubicBezTo>
                  <a:cubicBezTo>
                    <a:pt x="195851" y="37881"/>
                    <a:pt x="228090" y="15313"/>
                    <a:pt x="228090" y="15313"/>
                  </a:cubicBezTo>
                  <a:cubicBezTo>
                    <a:pt x="231313" y="12090"/>
                    <a:pt x="234537" y="15313"/>
                    <a:pt x="237761" y="15313"/>
                  </a:cubicBezTo>
                  <a:cubicBezTo>
                    <a:pt x="240985" y="18537"/>
                    <a:pt x="237761" y="21761"/>
                    <a:pt x="237761" y="24985"/>
                  </a:cubicBezTo>
                  <a:cubicBezTo>
                    <a:pt x="237761" y="24985"/>
                    <a:pt x="202298" y="50776"/>
                    <a:pt x="157164" y="54000"/>
                  </a:cubicBezTo>
                  <a:cubicBezTo>
                    <a:pt x="147493" y="54000"/>
                    <a:pt x="144269" y="54000"/>
                    <a:pt x="137820" y="54000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A48A0493-9F5C-44C4-89D3-5008A7C15934}"/>
                </a:ext>
              </a:extLst>
            </p:cNvPr>
            <p:cNvSpPr/>
            <p:nvPr/>
          </p:nvSpPr>
          <p:spPr>
            <a:xfrm>
              <a:off x="13391857" y="2162396"/>
              <a:ext cx="119617" cy="283701"/>
            </a:xfrm>
            <a:custGeom>
              <a:avLst/>
              <a:gdLst>
                <a:gd name="connsiteX0" fmla="*/ 119618 w 119617"/>
                <a:gd name="connsiteY0" fmla="*/ 135403 h 283701"/>
                <a:gd name="connsiteX1" fmla="*/ 68037 w 119617"/>
                <a:gd name="connsiteY1" fmla="*/ 283702 h 283701"/>
                <a:gd name="connsiteX2" fmla="*/ 6782 w 119617"/>
                <a:gd name="connsiteY2" fmla="*/ 177313 h 283701"/>
                <a:gd name="connsiteX3" fmla="*/ 68037 w 119617"/>
                <a:gd name="connsiteY3" fmla="*/ 0 h 283701"/>
                <a:gd name="connsiteX4" fmla="*/ 119618 w 119617"/>
                <a:gd name="connsiteY4" fmla="*/ 135403 h 283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617" h="283701">
                  <a:moveTo>
                    <a:pt x="119618" y="135403"/>
                  </a:moveTo>
                  <a:cubicBezTo>
                    <a:pt x="119618" y="135403"/>
                    <a:pt x="61588" y="251463"/>
                    <a:pt x="68037" y="283702"/>
                  </a:cubicBezTo>
                  <a:cubicBezTo>
                    <a:pt x="68037" y="283702"/>
                    <a:pt x="22901" y="235343"/>
                    <a:pt x="6782" y="177313"/>
                  </a:cubicBezTo>
                  <a:cubicBezTo>
                    <a:pt x="-9337" y="116060"/>
                    <a:pt x="335" y="16119"/>
                    <a:pt x="68037" y="0"/>
                  </a:cubicBezTo>
                  <a:cubicBezTo>
                    <a:pt x="68037" y="0"/>
                    <a:pt x="77708" y="112836"/>
                    <a:pt x="119618" y="135403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ED9551AB-9CB8-4227-BEA9-828DAD8C9091}"/>
                </a:ext>
              </a:extLst>
            </p:cNvPr>
            <p:cNvSpPr/>
            <p:nvPr/>
          </p:nvSpPr>
          <p:spPr>
            <a:xfrm>
              <a:off x="13448197" y="2034858"/>
              <a:ext cx="530740" cy="272646"/>
            </a:xfrm>
            <a:custGeom>
              <a:avLst/>
              <a:gdLst>
                <a:gd name="connsiteX0" fmla="*/ 63278 w 530740"/>
                <a:gd name="connsiteY0" fmla="*/ 262941 h 272646"/>
                <a:gd name="connsiteX1" fmla="*/ 192233 w 530740"/>
                <a:gd name="connsiteY1" fmla="*/ 221031 h 272646"/>
                <a:gd name="connsiteX2" fmla="*/ 530741 w 530740"/>
                <a:gd name="connsiteY2" fmla="*/ 208136 h 272646"/>
                <a:gd name="connsiteX3" fmla="*/ 430801 w 530740"/>
                <a:gd name="connsiteY3" fmla="*/ 143658 h 272646"/>
                <a:gd name="connsiteX4" fmla="*/ 137428 w 530740"/>
                <a:gd name="connsiteY4" fmla="*/ 11479 h 272646"/>
                <a:gd name="connsiteX5" fmla="*/ 11697 w 530740"/>
                <a:gd name="connsiteY5" fmla="*/ 124315 h 272646"/>
                <a:gd name="connsiteX6" fmla="*/ 63278 w 530740"/>
                <a:gd name="connsiteY6" fmla="*/ 262941 h 272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0740" h="272646">
                  <a:moveTo>
                    <a:pt x="63278" y="262941"/>
                  </a:moveTo>
                  <a:cubicBezTo>
                    <a:pt x="63278" y="262941"/>
                    <a:pt x="163218" y="221031"/>
                    <a:pt x="192233" y="221031"/>
                  </a:cubicBezTo>
                  <a:cubicBezTo>
                    <a:pt x="298622" y="224255"/>
                    <a:pt x="434024" y="343538"/>
                    <a:pt x="530741" y="208136"/>
                  </a:cubicBezTo>
                  <a:cubicBezTo>
                    <a:pt x="475935" y="221031"/>
                    <a:pt x="450144" y="169449"/>
                    <a:pt x="430801" y="143658"/>
                  </a:cubicBezTo>
                  <a:cubicBezTo>
                    <a:pt x="385666" y="79180"/>
                    <a:pt x="311517" y="-36879"/>
                    <a:pt x="137428" y="11479"/>
                  </a:cubicBezTo>
                  <a:cubicBezTo>
                    <a:pt x="53607" y="34046"/>
                    <a:pt x="18144" y="85628"/>
                    <a:pt x="11697" y="124315"/>
                  </a:cubicBezTo>
                  <a:cubicBezTo>
                    <a:pt x="11697" y="127538"/>
                    <a:pt x="-36662" y="250046"/>
                    <a:pt x="63278" y="262941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31C730D9-0909-4567-B2D9-D07A5C144074}"/>
                </a:ext>
              </a:extLst>
            </p:cNvPr>
            <p:cNvSpPr/>
            <p:nvPr/>
          </p:nvSpPr>
          <p:spPr>
            <a:xfrm>
              <a:off x="13391081" y="2410434"/>
              <a:ext cx="83141" cy="116848"/>
            </a:xfrm>
            <a:custGeom>
              <a:avLst/>
              <a:gdLst>
                <a:gd name="connsiteX0" fmla="*/ 68813 w 83141"/>
                <a:gd name="connsiteY0" fmla="*/ 16321 h 116848"/>
                <a:gd name="connsiteX1" fmla="*/ 7559 w 83141"/>
                <a:gd name="connsiteY1" fmla="*/ 6649 h 116848"/>
                <a:gd name="connsiteX2" fmla="*/ 68813 w 83141"/>
                <a:gd name="connsiteY2" fmla="*/ 113037 h 116848"/>
                <a:gd name="connsiteX3" fmla="*/ 68813 w 83141"/>
                <a:gd name="connsiteY3" fmla="*/ 16321 h 116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141" h="116848">
                  <a:moveTo>
                    <a:pt x="68813" y="16321"/>
                  </a:moveTo>
                  <a:cubicBezTo>
                    <a:pt x="68813" y="16321"/>
                    <a:pt x="33350" y="-12694"/>
                    <a:pt x="7559" y="6649"/>
                  </a:cubicBezTo>
                  <a:cubicBezTo>
                    <a:pt x="-18232" y="25993"/>
                    <a:pt x="26902" y="138828"/>
                    <a:pt x="68813" y="113037"/>
                  </a:cubicBezTo>
                  <a:cubicBezTo>
                    <a:pt x="101052" y="96918"/>
                    <a:pt x="68813" y="16321"/>
                    <a:pt x="68813" y="16321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49786E14-49FD-4FA8-9D9C-51E42C955F1E}"/>
                </a:ext>
              </a:extLst>
            </p:cNvPr>
            <p:cNvSpPr/>
            <p:nvPr/>
          </p:nvSpPr>
          <p:spPr>
            <a:xfrm>
              <a:off x="13441158" y="2177180"/>
              <a:ext cx="79989" cy="256021"/>
            </a:xfrm>
            <a:custGeom>
              <a:avLst/>
              <a:gdLst>
                <a:gd name="connsiteX0" fmla="*/ 18736 w 79989"/>
                <a:gd name="connsiteY0" fmla="*/ 256022 h 256021"/>
                <a:gd name="connsiteX1" fmla="*/ 18736 w 79989"/>
                <a:gd name="connsiteY1" fmla="*/ 256022 h 256021"/>
                <a:gd name="connsiteX2" fmla="*/ 12287 w 79989"/>
                <a:gd name="connsiteY2" fmla="*/ 249574 h 256021"/>
                <a:gd name="connsiteX3" fmla="*/ 60646 w 79989"/>
                <a:gd name="connsiteY3" fmla="*/ 120619 h 256021"/>
                <a:gd name="connsiteX4" fmla="*/ 9063 w 79989"/>
                <a:gd name="connsiteY4" fmla="*/ 75485 h 256021"/>
                <a:gd name="connsiteX5" fmla="*/ 5839 w 79989"/>
                <a:gd name="connsiteY5" fmla="*/ 4559 h 256021"/>
                <a:gd name="connsiteX6" fmla="*/ 12287 w 79989"/>
                <a:gd name="connsiteY6" fmla="*/ 1335 h 256021"/>
                <a:gd name="connsiteX7" fmla="*/ 15512 w 79989"/>
                <a:gd name="connsiteY7" fmla="*/ 7783 h 256021"/>
                <a:gd name="connsiteX8" fmla="*/ 18736 w 79989"/>
                <a:gd name="connsiteY8" fmla="*/ 69037 h 256021"/>
                <a:gd name="connsiteX9" fmla="*/ 70317 w 79989"/>
                <a:gd name="connsiteY9" fmla="*/ 110947 h 256021"/>
                <a:gd name="connsiteX10" fmla="*/ 79989 w 79989"/>
                <a:gd name="connsiteY10" fmla="*/ 114171 h 256021"/>
                <a:gd name="connsiteX11" fmla="*/ 73541 w 79989"/>
                <a:gd name="connsiteY11" fmla="*/ 120619 h 256021"/>
                <a:gd name="connsiteX12" fmla="*/ 25183 w 79989"/>
                <a:gd name="connsiteY12" fmla="*/ 249574 h 256021"/>
                <a:gd name="connsiteX13" fmla="*/ 18736 w 79989"/>
                <a:gd name="connsiteY13" fmla="*/ 256022 h 256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989" h="256021">
                  <a:moveTo>
                    <a:pt x="18736" y="256022"/>
                  </a:moveTo>
                  <a:lnTo>
                    <a:pt x="18736" y="256022"/>
                  </a:lnTo>
                  <a:cubicBezTo>
                    <a:pt x="15512" y="256022"/>
                    <a:pt x="12287" y="252798"/>
                    <a:pt x="12287" y="249574"/>
                  </a:cubicBezTo>
                  <a:cubicBezTo>
                    <a:pt x="15512" y="194768"/>
                    <a:pt x="47750" y="139962"/>
                    <a:pt x="60646" y="120619"/>
                  </a:cubicBezTo>
                  <a:cubicBezTo>
                    <a:pt x="47750" y="114171"/>
                    <a:pt x="21959" y="101276"/>
                    <a:pt x="9063" y="75485"/>
                  </a:cubicBezTo>
                  <a:cubicBezTo>
                    <a:pt x="-608" y="56141"/>
                    <a:pt x="-3832" y="30350"/>
                    <a:pt x="5839" y="4559"/>
                  </a:cubicBezTo>
                  <a:cubicBezTo>
                    <a:pt x="5839" y="1335"/>
                    <a:pt x="9063" y="-1888"/>
                    <a:pt x="12287" y="1335"/>
                  </a:cubicBezTo>
                  <a:cubicBezTo>
                    <a:pt x="15512" y="1335"/>
                    <a:pt x="18736" y="4559"/>
                    <a:pt x="15512" y="7783"/>
                  </a:cubicBezTo>
                  <a:cubicBezTo>
                    <a:pt x="9063" y="30350"/>
                    <a:pt x="9063" y="49694"/>
                    <a:pt x="18736" y="69037"/>
                  </a:cubicBezTo>
                  <a:cubicBezTo>
                    <a:pt x="34855" y="98052"/>
                    <a:pt x="70317" y="110947"/>
                    <a:pt x="70317" y="110947"/>
                  </a:cubicBezTo>
                  <a:lnTo>
                    <a:pt x="79989" y="114171"/>
                  </a:lnTo>
                  <a:lnTo>
                    <a:pt x="73541" y="120619"/>
                  </a:lnTo>
                  <a:cubicBezTo>
                    <a:pt x="73541" y="120619"/>
                    <a:pt x="28407" y="185097"/>
                    <a:pt x="25183" y="249574"/>
                  </a:cubicBezTo>
                  <a:cubicBezTo>
                    <a:pt x="25183" y="256022"/>
                    <a:pt x="21959" y="256022"/>
                    <a:pt x="18736" y="256022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FB353B71-E85B-4199-A676-543E306A3152}"/>
                </a:ext>
              </a:extLst>
            </p:cNvPr>
            <p:cNvSpPr/>
            <p:nvPr/>
          </p:nvSpPr>
          <p:spPr>
            <a:xfrm>
              <a:off x="13218103" y="2784605"/>
              <a:ext cx="868302" cy="1271324"/>
            </a:xfrm>
            <a:custGeom>
              <a:avLst/>
              <a:gdLst>
                <a:gd name="connsiteX0" fmla="*/ 322388 w 868302"/>
                <a:gd name="connsiteY0" fmla="*/ 0 h 1271324"/>
                <a:gd name="connsiteX1" fmla="*/ 557731 w 868302"/>
                <a:gd name="connsiteY1" fmla="*/ 0 h 1271324"/>
                <a:gd name="connsiteX2" fmla="*/ 799522 w 868302"/>
                <a:gd name="connsiteY2" fmla="*/ 106388 h 1271324"/>
                <a:gd name="connsiteX3" fmla="*/ 867224 w 868302"/>
                <a:gd name="connsiteY3" fmla="*/ 1247642 h 1271324"/>
                <a:gd name="connsiteX4" fmla="*/ 0 w 868302"/>
                <a:gd name="connsiteY4" fmla="*/ 1228299 h 1271324"/>
                <a:gd name="connsiteX5" fmla="*/ 93492 w 868302"/>
                <a:gd name="connsiteY5" fmla="*/ 83821 h 1271324"/>
                <a:gd name="connsiteX6" fmla="*/ 322388 w 868302"/>
                <a:gd name="connsiteY6" fmla="*/ 0 h 1271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8302" h="1271324">
                  <a:moveTo>
                    <a:pt x="322388" y="0"/>
                  </a:moveTo>
                  <a:cubicBezTo>
                    <a:pt x="322388" y="0"/>
                    <a:pt x="461015" y="45134"/>
                    <a:pt x="557731" y="0"/>
                  </a:cubicBezTo>
                  <a:cubicBezTo>
                    <a:pt x="557731" y="0"/>
                    <a:pt x="780179" y="80597"/>
                    <a:pt x="799522" y="106388"/>
                  </a:cubicBezTo>
                  <a:cubicBezTo>
                    <a:pt x="818865" y="132179"/>
                    <a:pt x="876895" y="1192836"/>
                    <a:pt x="867224" y="1247642"/>
                  </a:cubicBezTo>
                  <a:cubicBezTo>
                    <a:pt x="867224" y="1247642"/>
                    <a:pt x="467463" y="1312119"/>
                    <a:pt x="0" y="1228299"/>
                  </a:cubicBezTo>
                  <a:cubicBezTo>
                    <a:pt x="0" y="938149"/>
                    <a:pt x="61254" y="109612"/>
                    <a:pt x="93492" y="83821"/>
                  </a:cubicBezTo>
                  <a:cubicBezTo>
                    <a:pt x="125731" y="58030"/>
                    <a:pt x="322388" y="0"/>
                    <a:pt x="322388" y="0"/>
                  </a:cubicBezTo>
                  <a:close/>
                </a:path>
              </a:pathLst>
            </a:custGeom>
            <a:solidFill>
              <a:srgbClr val="7F95BC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8FB2B382-8EFE-4487-AA5D-76152C08E6FB}"/>
                </a:ext>
              </a:extLst>
            </p:cNvPr>
            <p:cNvSpPr/>
            <p:nvPr/>
          </p:nvSpPr>
          <p:spPr>
            <a:xfrm>
              <a:off x="13888538" y="2856527"/>
              <a:ext cx="367653" cy="495481"/>
            </a:xfrm>
            <a:custGeom>
              <a:avLst/>
              <a:gdLst>
                <a:gd name="connsiteX0" fmla="*/ 51714 w 367653"/>
                <a:gd name="connsiteY0" fmla="*/ 495481 h 495481"/>
                <a:gd name="connsiteX1" fmla="*/ 42042 w 367653"/>
                <a:gd name="connsiteY1" fmla="*/ 8675 h 495481"/>
                <a:gd name="connsiteX2" fmla="*/ 367654 w 367653"/>
                <a:gd name="connsiteY2" fmla="*/ 360078 h 495481"/>
                <a:gd name="connsiteX3" fmla="*/ 51714 w 367653"/>
                <a:gd name="connsiteY3" fmla="*/ 495481 h 495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7653" h="495481">
                  <a:moveTo>
                    <a:pt x="51714" y="495481"/>
                  </a:moveTo>
                  <a:cubicBezTo>
                    <a:pt x="51714" y="495481"/>
                    <a:pt x="-57898" y="73153"/>
                    <a:pt x="42042" y="8675"/>
                  </a:cubicBezTo>
                  <a:cubicBezTo>
                    <a:pt x="158101" y="-65474"/>
                    <a:pt x="367654" y="360078"/>
                    <a:pt x="367654" y="360078"/>
                  </a:cubicBezTo>
                  <a:cubicBezTo>
                    <a:pt x="367654" y="360078"/>
                    <a:pt x="225803" y="479362"/>
                    <a:pt x="51714" y="495481"/>
                  </a:cubicBezTo>
                  <a:close/>
                </a:path>
              </a:pathLst>
            </a:custGeom>
            <a:solidFill>
              <a:srgbClr val="7F95BC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E597FC84-BD77-4436-B690-5C63FC50F2BC}"/>
                </a:ext>
              </a:extLst>
            </p:cNvPr>
            <p:cNvSpPr/>
            <p:nvPr/>
          </p:nvSpPr>
          <p:spPr>
            <a:xfrm>
              <a:off x="14007954" y="2884546"/>
              <a:ext cx="46469" cy="451343"/>
            </a:xfrm>
            <a:custGeom>
              <a:avLst/>
              <a:gdLst>
                <a:gd name="connsiteX0" fmla="*/ 41910 w 46469"/>
                <a:gd name="connsiteY0" fmla="*/ 451343 h 451343"/>
                <a:gd name="connsiteX1" fmla="*/ 35462 w 46469"/>
                <a:gd name="connsiteY1" fmla="*/ 444896 h 451343"/>
                <a:gd name="connsiteX2" fmla="*/ 0 w 46469"/>
                <a:gd name="connsiteY2" fmla="*/ 6448 h 451343"/>
                <a:gd name="connsiteX3" fmla="*/ 3223 w 46469"/>
                <a:gd name="connsiteY3" fmla="*/ 0 h 451343"/>
                <a:gd name="connsiteX4" fmla="*/ 9671 w 46469"/>
                <a:gd name="connsiteY4" fmla="*/ 3224 h 451343"/>
                <a:gd name="connsiteX5" fmla="*/ 45134 w 46469"/>
                <a:gd name="connsiteY5" fmla="*/ 441672 h 451343"/>
                <a:gd name="connsiteX6" fmla="*/ 41910 w 46469"/>
                <a:gd name="connsiteY6" fmla="*/ 451343 h 451343"/>
                <a:gd name="connsiteX7" fmla="*/ 41910 w 46469"/>
                <a:gd name="connsiteY7" fmla="*/ 451343 h 451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469" h="451343">
                  <a:moveTo>
                    <a:pt x="41910" y="451343"/>
                  </a:moveTo>
                  <a:cubicBezTo>
                    <a:pt x="38686" y="451343"/>
                    <a:pt x="35462" y="448119"/>
                    <a:pt x="35462" y="444896"/>
                  </a:cubicBezTo>
                  <a:cubicBezTo>
                    <a:pt x="35462" y="441672"/>
                    <a:pt x="6447" y="38687"/>
                    <a:pt x="0" y="6448"/>
                  </a:cubicBezTo>
                  <a:cubicBezTo>
                    <a:pt x="0" y="3224"/>
                    <a:pt x="0" y="0"/>
                    <a:pt x="3223" y="0"/>
                  </a:cubicBezTo>
                  <a:cubicBezTo>
                    <a:pt x="6447" y="0"/>
                    <a:pt x="9671" y="0"/>
                    <a:pt x="9671" y="3224"/>
                  </a:cubicBezTo>
                  <a:cubicBezTo>
                    <a:pt x="16119" y="35463"/>
                    <a:pt x="45134" y="425552"/>
                    <a:pt x="45134" y="441672"/>
                  </a:cubicBezTo>
                  <a:cubicBezTo>
                    <a:pt x="48358" y="448119"/>
                    <a:pt x="45134" y="451343"/>
                    <a:pt x="41910" y="451343"/>
                  </a:cubicBezTo>
                  <a:cubicBezTo>
                    <a:pt x="41910" y="451343"/>
                    <a:pt x="41910" y="451343"/>
                    <a:pt x="41910" y="451343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A8316A2A-E55B-46FF-B967-5FD47AB544E9}"/>
                </a:ext>
              </a:extLst>
            </p:cNvPr>
            <p:cNvSpPr/>
            <p:nvPr/>
          </p:nvSpPr>
          <p:spPr>
            <a:xfrm>
              <a:off x="13086205" y="3239172"/>
              <a:ext cx="241509" cy="585604"/>
            </a:xfrm>
            <a:custGeom>
              <a:avLst/>
              <a:gdLst>
                <a:gd name="connsiteX0" fmla="*/ 241510 w 241509"/>
                <a:gd name="connsiteY0" fmla="*/ 22567 h 585604"/>
                <a:gd name="connsiteX1" fmla="*/ 154464 w 241509"/>
                <a:gd name="connsiteY1" fmla="*/ 454567 h 585604"/>
                <a:gd name="connsiteX2" fmla="*/ 41629 w 241509"/>
                <a:gd name="connsiteY2" fmla="*/ 570627 h 585604"/>
                <a:gd name="connsiteX3" fmla="*/ 22285 w 241509"/>
                <a:gd name="connsiteY3" fmla="*/ 0 h 585604"/>
                <a:gd name="connsiteX4" fmla="*/ 241510 w 241509"/>
                <a:gd name="connsiteY4" fmla="*/ 22567 h 585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509" h="585604">
                  <a:moveTo>
                    <a:pt x="241510" y="22567"/>
                  </a:moveTo>
                  <a:lnTo>
                    <a:pt x="154464" y="454567"/>
                  </a:lnTo>
                  <a:cubicBezTo>
                    <a:pt x="154464" y="454567"/>
                    <a:pt x="122226" y="638328"/>
                    <a:pt x="41629" y="570627"/>
                  </a:cubicBezTo>
                  <a:cubicBezTo>
                    <a:pt x="-38968" y="506149"/>
                    <a:pt x="22285" y="0"/>
                    <a:pt x="22285" y="0"/>
                  </a:cubicBezTo>
                  <a:lnTo>
                    <a:pt x="241510" y="22567"/>
                  </a:ln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7E3A6E18-4ED2-4F2D-8C53-39AD40C023B4}"/>
                </a:ext>
              </a:extLst>
            </p:cNvPr>
            <p:cNvSpPr/>
            <p:nvPr/>
          </p:nvSpPr>
          <p:spPr>
            <a:xfrm>
              <a:off x="13056909" y="2868426"/>
              <a:ext cx="351120" cy="473749"/>
            </a:xfrm>
            <a:custGeom>
              <a:avLst/>
              <a:gdLst>
                <a:gd name="connsiteX0" fmla="*/ 0 w 351120"/>
                <a:gd name="connsiteY0" fmla="*/ 415881 h 473749"/>
                <a:gd name="connsiteX1" fmla="*/ 254686 w 351120"/>
                <a:gd name="connsiteY1" fmla="*/ 0 h 473749"/>
                <a:gd name="connsiteX2" fmla="*/ 341731 w 351120"/>
                <a:gd name="connsiteY2" fmla="*/ 470687 h 473749"/>
                <a:gd name="connsiteX3" fmla="*/ 0 w 351120"/>
                <a:gd name="connsiteY3" fmla="*/ 415881 h 473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1120" h="473749">
                  <a:moveTo>
                    <a:pt x="0" y="415881"/>
                  </a:moveTo>
                  <a:cubicBezTo>
                    <a:pt x="0" y="415881"/>
                    <a:pt x="132178" y="0"/>
                    <a:pt x="254686" y="0"/>
                  </a:cubicBezTo>
                  <a:cubicBezTo>
                    <a:pt x="393313" y="0"/>
                    <a:pt x="341731" y="470687"/>
                    <a:pt x="341731" y="470687"/>
                  </a:cubicBezTo>
                  <a:cubicBezTo>
                    <a:pt x="341731" y="470687"/>
                    <a:pt x="154746" y="493254"/>
                    <a:pt x="0" y="415881"/>
                  </a:cubicBezTo>
                  <a:close/>
                </a:path>
              </a:pathLst>
            </a:custGeom>
            <a:solidFill>
              <a:srgbClr val="7F95BC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03C2DC1A-6D4F-42C9-A8EF-9B0DAE0CDFEB}"/>
                </a:ext>
              </a:extLst>
            </p:cNvPr>
            <p:cNvSpPr/>
            <p:nvPr/>
          </p:nvSpPr>
          <p:spPr>
            <a:xfrm>
              <a:off x="13646879" y="2617769"/>
              <a:ext cx="127164" cy="31432"/>
            </a:xfrm>
            <a:custGeom>
              <a:avLst/>
              <a:gdLst>
                <a:gd name="connsiteX0" fmla="*/ 70926 w 127164"/>
                <a:gd name="connsiteY0" fmla="*/ 31433 h 31432"/>
                <a:gd name="connsiteX1" fmla="*/ 3224 w 127164"/>
                <a:gd name="connsiteY1" fmla="*/ 15313 h 31432"/>
                <a:gd name="connsiteX2" fmla="*/ 0 w 127164"/>
                <a:gd name="connsiteY2" fmla="*/ 5642 h 31432"/>
                <a:gd name="connsiteX3" fmla="*/ 9671 w 127164"/>
                <a:gd name="connsiteY3" fmla="*/ 2418 h 31432"/>
                <a:gd name="connsiteX4" fmla="*/ 116060 w 127164"/>
                <a:gd name="connsiteY4" fmla="*/ 2418 h 31432"/>
                <a:gd name="connsiteX5" fmla="*/ 125731 w 127164"/>
                <a:gd name="connsiteY5" fmla="*/ 2418 h 31432"/>
                <a:gd name="connsiteX6" fmla="*/ 125731 w 127164"/>
                <a:gd name="connsiteY6" fmla="*/ 12090 h 31432"/>
                <a:gd name="connsiteX7" fmla="*/ 70926 w 127164"/>
                <a:gd name="connsiteY7" fmla="*/ 31433 h 3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7164" h="31432">
                  <a:moveTo>
                    <a:pt x="70926" y="31433"/>
                  </a:moveTo>
                  <a:cubicBezTo>
                    <a:pt x="35463" y="31433"/>
                    <a:pt x="6448" y="15313"/>
                    <a:pt x="3224" y="15313"/>
                  </a:cubicBezTo>
                  <a:cubicBezTo>
                    <a:pt x="0" y="15313"/>
                    <a:pt x="0" y="8866"/>
                    <a:pt x="0" y="5642"/>
                  </a:cubicBezTo>
                  <a:cubicBezTo>
                    <a:pt x="0" y="2418"/>
                    <a:pt x="6448" y="2418"/>
                    <a:pt x="9671" y="2418"/>
                  </a:cubicBezTo>
                  <a:cubicBezTo>
                    <a:pt x="9671" y="2418"/>
                    <a:pt x="77373" y="34657"/>
                    <a:pt x="116060" y="2418"/>
                  </a:cubicBezTo>
                  <a:cubicBezTo>
                    <a:pt x="119284" y="-806"/>
                    <a:pt x="122507" y="-806"/>
                    <a:pt x="125731" y="2418"/>
                  </a:cubicBezTo>
                  <a:cubicBezTo>
                    <a:pt x="128955" y="5642"/>
                    <a:pt x="125731" y="8866"/>
                    <a:pt x="125731" y="12090"/>
                  </a:cubicBezTo>
                  <a:cubicBezTo>
                    <a:pt x="109612" y="28209"/>
                    <a:pt x="90268" y="31433"/>
                    <a:pt x="70926" y="31433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173D5821-5BF6-4869-96D4-F71B56F11573}"/>
                </a:ext>
              </a:extLst>
            </p:cNvPr>
            <p:cNvSpPr/>
            <p:nvPr/>
          </p:nvSpPr>
          <p:spPr>
            <a:xfrm>
              <a:off x="13277600" y="2800475"/>
              <a:ext cx="302010" cy="843294"/>
            </a:xfrm>
            <a:custGeom>
              <a:avLst/>
              <a:gdLst>
                <a:gd name="connsiteX0" fmla="*/ 11428 w 302010"/>
                <a:gd name="connsiteY0" fmla="*/ 832011 h 843294"/>
                <a:gd name="connsiteX1" fmla="*/ 30771 w 302010"/>
                <a:gd name="connsiteY1" fmla="*/ 838459 h 843294"/>
                <a:gd name="connsiteX2" fmla="*/ 46890 w 302010"/>
                <a:gd name="connsiteY2" fmla="*/ 838459 h 843294"/>
                <a:gd name="connsiteX3" fmla="*/ 63010 w 302010"/>
                <a:gd name="connsiteY3" fmla="*/ 815892 h 843294"/>
                <a:gd name="connsiteX4" fmla="*/ 98473 w 302010"/>
                <a:gd name="connsiteY4" fmla="*/ 770758 h 843294"/>
                <a:gd name="connsiteX5" fmla="*/ 301577 w 302010"/>
                <a:gd name="connsiteY5" fmla="*/ 403235 h 843294"/>
                <a:gd name="connsiteX6" fmla="*/ 198413 w 302010"/>
                <a:gd name="connsiteY6" fmla="*/ 250 h 843294"/>
                <a:gd name="connsiteX7" fmla="*/ 121039 w 302010"/>
                <a:gd name="connsiteY7" fmla="*/ 26041 h 843294"/>
                <a:gd name="connsiteX8" fmla="*/ 230652 w 302010"/>
                <a:gd name="connsiteY8" fmla="*/ 380668 h 843294"/>
                <a:gd name="connsiteX9" fmla="*/ 98473 w 302010"/>
                <a:gd name="connsiteY9" fmla="*/ 683713 h 843294"/>
                <a:gd name="connsiteX10" fmla="*/ 33995 w 302010"/>
                <a:gd name="connsiteY10" fmla="*/ 757862 h 843294"/>
                <a:gd name="connsiteX11" fmla="*/ 8204 w 302010"/>
                <a:gd name="connsiteY11" fmla="*/ 777205 h 843294"/>
                <a:gd name="connsiteX12" fmla="*/ 11428 w 302010"/>
                <a:gd name="connsiteY12" fmla="*/ 832011 h 843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010" h="843294">
                  <a:moveTo>
                    <a:pt x="11428" y="832011"/>
                  </a:moveTo>
                  <a:cubicBezTo>
                    <a:pt x="17876" y="838459"/>
                    <a:pt x="24323" y="838459"/>
                    <a:pt x="30771" y="838459"/>
                  </a:cubicBezTo>
                  <a:cubicBezTo>
                    <a:pt x="33995" y="844907"/>
                    <a:pt x="43666" y="844907"/>
                    <a:pt x="46890" y="838459"/>
                  </a:cubicBezTo>
                  <a:cubicBezTo>
                    <a:pt x="53339" y="832011"/>
                    <a:pt x="59786" y="825563"/>
                    <a:pt x="63010" y="815892"/>
                  </a:cubicBezTo>
                  <a:cubicBezTo>
                    <a:pt x="75905" y="802996"/>
                    <a:pt x="88801" y="786877"/>
                    <a:pt x="98473" y="770758"/>
                  </a:cubicBezTo>
                  <a:cubicBezTo>
                    <a:pt x="188741" y="661146"/>
                    <a:pt x="298353" y="541862"/>
                    <a:pt x="301577" y="403235"/>
                  </a:cubicBezTo>
                  <a:cubicBezTo>
                    <a:pt x="304801" y="254937"/>
                    <a:pt x="291906" y="109862"/>
                    <a:pt x="198413" y="250"/>
                  </a:cubicBezTo>
                  <a:cubicBezTo>
                    <a:pt x="169398" y="-2974"/>
                    <a:pt x="111368" y="26041"/>
                    <a:pt x="121039" y="26041"/>
                  </a:cubicBezTo>
                  <a:cubicBezTo>
                    <a:pt x="201636" y="55056"/>
                    <a:pt x="230652" y="329086"/>
                    <a:pt x="230652" y="380668"/>
                  </a:cubicBezTo>
                  <a:cubicBezTo>
                    <a:pt x="224204" y="499952"/>
                    <a:pt x="162950" y="586996"/>
                    <a:pt x="98473" y="683713"/>
                  </a:cubicBezTo>
                  <a:cubicBezTo>
                    <a:pt x="79129" y="712728"/>
                    <a:pt x="59786" y="735295"/>
                    <a:pt x="33995" y="757862"/>
                  </a:cubicBezTo>
                  <a:cubicBezTo>
                    <a:pt x="24323" y="764310"/>
                    <a:pt x="14652" y="770758"/>
                    <a:pt x="8204" y="777205"/>
                  </a:cubicBezTo>
                  <a:cubicBezTo>
                    <a:pt x="1756" y="793325"/>
                    <a:pt x="-7916" y="815892"/>
                    <a:pt x="11428" y="832011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E88542C4-FBCC-4906-B2F1-976368B9219B}"/>
                </a:ext>
              </a:extLst>
            </p:cNvPr>
            <p:cNvSpPr/>
            <p:nvPr/>
          </p:nvSpPr>
          <p:spPr>
            <a:xfrm>
              <a:off x="13537601" y="2773903"/>
              <a:ext cx="244345" cy="42940"/>
            </a:xfrm>
            <a:custGeom>
              <a:avLst/>
              <a:gdLst>
                <a:gd name="connsiteX0" fmla="*/ 15785 w 244345"/>
                <a:gd name="connsiteY0" fmla="*/ 1030 h 42940"/>
                <a:gd name="connsiteX1" fmla="*/ 228561 w 244345"/>
                <a:gd name="connsiteY1" fmla="*/ 1030 h 42940"/>
                <a:gd name="connsiteX2" fmla="*/ 235009 w 244345"/>
                <a:gd name="connsiteY2" fmla="*/ 23598 h 42940"/>
                <a:gd name="connsiteX3" fmla="*/ 9337 w 244345"/>
                <a:gd name="connsiteY3" fmla="*/ 23598 h 42940"/>
                <a:gd name="connsiteX4" fmla="*/ 15785 w 244345"/>
                <a:gd name="connsiteY4" fmla="*/ 1030 h 42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345" h="42940">
                  <a:moveTo>
                    <a:pt x="15785" y="1030"/>
                  </a:moveTo>
                  <a:cubicBezTo>
                    <a:pt x="86710" y="23598"/>
                    <a:pt x="157636" y="23598"/>
                    <a:pt x="228561" y="1030"/>
                  </a:cubicBezTo>
                  <a:cubicBezTo>
                    <a:pt x="244681" y="-5417"/>
                    <a:pt x="251128" y="20374"/>
                    <a:pt x="235009" y="23598"/>
                  </a:cubicBezTo>
                  <a:cubicBezTo>
                    <a:pt x="160860" y="49389"/>
                    <a:pt x="83487" y="49389"/>
                    <a:pt x="9337" y="23598"/>
                  </a:cubicBezTo>
                  <a:cubicBezTo>
                    <a:pt x="-6782" y="20374"/>
                    <a:pt x="-334" y="-5417"/>
                    <a:pt x="15785" y="1030"/>
                  </a:cubicBezTo>
                  <a:close/>
                </a:path>
              </a:pathLst>
            </a:custGeom>
            <a:solidFill>
              <a:srgbClr val="F6EBE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ECFD3D2A-77CB-441E-907B-26E393747A8D}"/>
                </a:ext>
              </a:extLst>
            </p:cNvPr>
            <p:cNvSpPr/>
            <p:nvPr/>
          </p:nvSpPr>
          <p:spPr>
            <a:xfrm>
              <a:off x="14037303" y="3205863"/>
              <a:ext cx="232855" cy="127115"/>
            </a:xfrm>
            <a:custGeom>
              <a:avLst/>
              <a:gdLst>
                <a:gd name="connsiteX0" fmla="*/ 9337 w 232855"/>
                <a:gd name="connsiteY0" fmla="*/ 104234 h 127115"/>
                <a:gd name="connsiteX1" fmla="*/ 212442 w 232855"/>
                <a:gd name="connsiteY1" fmla="*/ 4294 h 127115"/>
                <a:gd name="connsiteX2" fmla="*/ 228561 w 232855"/>
                <a:gd name="connsiteY2" fmla="*/ 20414 h 127115"/>
                <a:gd name="connsiteX3" fmla="*/ 15785 w 232855"/>
                <a:gd name="connsiteY3" fmla="*/ 126802 h 127115"/>
                <a:gd name="connsiteX4" fmla="*/ 9337 w 232855"/>
                <a:gd name="connsiteY4" fmla="*/ 104234 h 127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855" h="127115">
                  <a:moveTo>
                    <a:pt x="9337" y="104234"/>
                  </a:moveTo>
                  <a:cubicBezTo>
                    <a:pt x="83487" y="81667"/>
                    <a:pt x="157636" y="59100"/>
                    <a:pt x="212442" y="4294"/>
                  </a:cubicBezTo>
                  <a:cubicBezTo>
                    <a:pt x="222113" y="-8601"/>
                    <a:pt x="241457" y="10742"/>
                    <a:pt x="228561" y="20414"/>
                  </a:cubicBezTo>
                  <a:cubicBezTo>
                    <a:pt x="170531" y="81667"/>
                    <a:pt x="93158" y="104234"/>
                    <a:pt x="15785" y="126802"/>
                  </a:cubicBezTo>
                  <a:cubicBezTo>
                    <a:pt x="-334" y="130025"/>
                    <a:pt x="-6782" y="107458"/>
                    <a:pt x="9337" y="104234"/>
                  </a:cubicBezTo>
                  <a:close/>
                </a:path>
              </a:pathLst>
            </a:custGeom>
            <a:solidFill>
              <a:srgbClr val="F6EBE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4834FF76-E662-46BC-B3A5-2BD59A88EBA2}"/>
                </a:ext>
              </a:extLst>
            </p:cNvPr>
            <p:cNvSpPr/>
            <p:nvPr/>
          </p:nvSpPr>
          <p:spPr>
            <a:xfrm>
              <a:off x="13049879" y="3273605"/>
              <a:ext cx="357626" cy="75179"/>
            </a:xfrm>
            <a:custGeom>
              <a:avLst/>
              <a:gdLst>
                <a:gd name="connsiteX0" fmla="*/ 13477 w 357626"/>
                <a:gd name="connsiteY0" fmla="*/ 1030 h 75179"/>
                <a:gd name="connsiteX1" fmla="*/ 345537 w 357626"/>
                <a:gd name="connsiteY1" fmla="*/ 49389 h 75179"/>
                <a:gd name="connsiteX2" fmla="*/ 345537 w 357626"/>
                <a:gd name="connsiteY2" fmla="*/ 75180 h 75179"/>
                <a:gd name="connsiteX3" fmla="*/ 7030 w 357626"/>
                <a:gd name="connsiteY3" fmla="*/ 23598 h 75179"/>
                <a:gd name="connsiteX4" fmla="*/ 13477 w 357626"/>
                <a:gd name="connsiteY4" fmla="*/ 1030 h 7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7626" h="75179">
                  <a:moveTo>
                    <a:pt x="13477" y="1030"/>
                  </a:moveTo>
                  <a:cubicBezTo>
                    <a:pt x="123089" y="36493"/>
                    <a:pt x="232701" y="52612"/>
                    <a:pt x="345537" y="49389"/>
                  </a:cubicBezTo>
                  <a:cubicBezTo>
                    <a:pt x="361657" y="49389"/>
                    <a:pt x="361657" y="75180"/>
                    <a:pt x="345537" y="75180"/>
                  </a:cubicBezTo>
                  <a:cubicBezTo>
                    <a:pt x="229477" y="75180"/>
                    <a:pt x="116641" y="59060"/>
                    <a:pt x="7030" y="23598"/>
                  </a:cubicBezTo>
                  <a:cubicBezTo>
                    <a:pt x="-5867" y="20374"/>
                    <a:pt x="581" y="-5417"/>
                    <a:pt x="13477" y="1030"/>
                  </a:cubicBezTo>
                  <a:close/>
                </a:path>
              </a:pathLst>
            </a:custGeom>
            <a:solidFill>
              <a:srgbClr val="F6EBE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7B1AC96A-AAB5-40C1-9A76-9D70C059A1D9}"/>
                </a:ext>
              </a:extLst>
            </p:cNvPr>
            <p:cNvSpPr/>
            <p:nvPr/>
          </p:nvSpPr>
          <p:spPr>
            <a:xfrm>
              <a:off x="13308371" y="2861978"/>
              <a:ext cx="103822" cy="467462"/>
            </a:xfrm>
            <a:custGeom>
              <a:avLst/>
              <a:gdLst>
                <a:gd name="connsiteX0" fmla="*/ 90268 w 103822"/>
                <a:gd name="connsiteY0" fmla="*/ 467463 h 467462"/>
                <a:gd name="connsiteX1" fmla="*/ 90268 w 103822"/>
                <a:gd name="connsiteY1" fmla="*/ 467463 h 467462"/>
                <a:gd name="connsiteX2" fmla="*/ 83821 w 103822"/>
                <a:gd name="connsiteY2" fmla="*/ 461015 h 467462"/>
                <a:gd name="connsiteX3" fmla="*/ 90268 w 103822"/>
                <a:gd name="connsiteY3" fmla="*/ 183761 h 467462"/>
                <a:gd name="connsiteX4" fmla="*/ 3224 w 103822"/>
                <a:gd name="connsiteY4" fmla="*/ 9672 h 467462"/>
                <a:gd name="connsiteX5" fmla="*/ 0 w 103822"/>
                <a:gd name="connsiteY5" fmla="*/ 3224 h 467462"/>
                <a:gd name="connsiteX6" fmla="*/ 6448 w 103822"/>
                <a:gd name="connsiteY6" fmla="*/ 0 h 467462"/>
                <a:gd name="connsiteX7" fmla="*/ 103165 w 103822"/>
                <a:gd name="connsiteY7" fmla="*/ 183761 h 467462"/>
                <a:gd name="connsiteX8" fmla="*/ 96716 w 103822"/>
                <a:gd name="connsiteY8" fmla="*/ 461015 h 467462"/>
                <a:gd name="connsiteX9" fmla="*/ 90268 w 103822"/>
                <a:gd name="connsiteY9" fmla="*/ 467463 h 467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3822" h="467462">
                  <a:moveTo>
                    <a:pt x="90268" y="467463"/>
                  </a:moveTo>
                  <a:cubicBezTo>
                    <a:pt x="90268" y="467463"/>
                    <a:pt x="87045" y="467463"/>
                    <a:pt x="90268" y="467463"/>
                  </a:cubicBezTo>
                  <a:cubicBezTo>
                    <a:pt x="87045" y="467463"/>
                    <a:pt x="83821" y="464239"/>
                    <a:pt x="83821" y="461015"/>
                  </a:cubicBezTo>
                  <a:cubicBezTo>
                    <a:pt x="83821" y="461015"/>
                    <a:pt x="93492" y="332060"/>
                    <a:pt x="90268" y="183761"/>
                  </a:cubicBezTo>
                  <a:cubicBezTo>
                    <a:pt x="87045" y="38687"/>
                    <a:pt x="3224" y="9672"/>
                    <a:pt x="3224" y="9672"/>
                  </a:cubicBezTo>
                  <a:cubicBezTo>
                    <a:pt x="0" y="9672"/>
                    <a:pt x="0" y="6448"/>
                    <a:pt x="0" y="3224"/>
                  </a:cubicBezTo>
                  <a:cubicBezTo>
                    <a:pt x="0" y="0"/>
                    <a:pt x="3224" y="0"/>
                    <a:pt x="6448" y="0"/>
                  </a:cubicBezTo>
                  <a:cubicBezTo>
                    <a:pt x="9671" y="0"/>
                    <a:pt x="96716" y="32239"/>
                    <a:pt x="103165" y="183761"/>
                  </a:cubicBezTo>
                  <a:cubicBezTo>
                    <a:pt x="106388" y="332060"/>
                    <a:pt x="96716" y="461015"/>
                    <a:pt x="96716" y="461015"/>
                  </a:cubicBezTo>
                  <a:cubicBezTo>
                    <a:pt x="93492" y="464239"/>
                    <a:pt x="93492" y="467463"/>
                    <a:pt x="90268" y="467463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118A8A3A-0771-4A73-A01F-23C46E96B5AA}"/>
                </a:ext>
              </a:extLst>
            </p:cNvPr>
            <p:cNvSpPr/>
            <p:nvPr/>
          </p:nvSpPr>
          <p:spPr>
            <a:xfrm>
              <a:off x="13543312" y="3095269"/>
              <a:ext cx="99713" cy="160654"/>
            </a:xfrm>
            <a:custGeom>
              <a:avLst/>
              <a:gdLst>
                <a:gd name="connsiteX0" fmla="*/ 16521 w 99713"/>
                <a:gd name="connsiteY0" fmla="*/ 18172 h 160654"/>
                <a:gd name="connsiteX1" fmla="*/ 55208 w 99713"/>
                <a:gd name="connsiteY1" fmla="*/ 2052 h 160654"/>
                <a:gd name="connsiteX2" fmla="*/ 68103 w 99713"/>
                <a:gd name="connsiteY2" fmla="*/ 27843 h 160654"/>
                <a:gd name="connsiteX3" fmla="*/ 64879 w 99713"/>
                <a:gd name="connsiteY3" fmla="*/ 34291 h 160654"/>
                <a:gd name="connsiteX4" fmla="*/ 68103 w 99713"/>
                <a:gd name="connsiteY4" fmla="*/ 34291 h 160654"/>
                <a:gd name="connsiteX5" fmla="*/ 77776 w 99713"/>
                <a:gd name="connsiteY5" fmla="*/ 37515 h 160654"/>
                <a:gd name="connsiteX6" fmla="*/ 77776 w 99713"/>
                <a:gd name="connsiteY6" fmla="*/ 60082 h 160654"/>
                <a:gd name="connsiteX7" fmla="*/ 87447 w 99713"/>
                <a:gd name="connsiteY7" fmla="*/ 101993 h 160654"/>
                <a:gd name="connsiteX8" fmla="*/ 87447 w 99713"/>
                <a:gd name="connsiteY8" fmla="*/ 105217 h 160654"/>
                <a:gd name="connsiteX9" fmla="*/ 97118 w 99713"/>
                <a:gd name="connsiteY9" fmla="*/ 121336 h 160654"/>
                <a:gd name="connsiteX10" fmla="*/ 51984 w 99713"/>
                <a:gd name="connsiteY10" fmla="*/ 160022 h 160654"/>
                <a:gd name="connsiteX11" fmla="*/ 32641 w 99713"/>
                <a:gd name="connsiteY11" fmla="*/ 143903 h 160654"/>
                <a:gd name="connsiteX12" fmla="*/ 22969 w 99713"/>
                <a:gd name="connsiteY12" fmla="*/ 124560 h 160654"/>
                <a:gd name="connsiteX13" fmla="*/ 22969 w 99713"/>
                <a:gd name="connsiteY13" fmla="*/ 121336 h 160654"/>
                <a:gd name="connsiteX14" fmla="*/ 26193 w 99713"/>
                <a:gd name="connsiteY14" fmla="*/ 118112 h 160654"/>
                <a:gd name="connsiteX15" fmla="*/ 29418 w 99713"/>
                <a:gd name="connsiteY15" fmla="*/ 111664 h 160654"/>
                <a:gd name="connsiteX16" fmla="*/ 16521 w 99713"/>
                <a:gd name="connsiteY16" fmla="*/ 101993 h 160654"/>
                <a:gd name="connsiteX17" fmla="*/ 16521 w 99713"/>
                <a:gd name="connsiteY17" fmla="*/ 76202 h 160654"/>
                <a:gd name="connsiteX18" fmla="*/ 6850 w 99713"/>
                <a:gd name="connsiteY18" fmla="*/ 72978 h 160654"/>
                <a:gd name="connsiteX19" fmla="*/ 16521 w 99713"/>
                <a:gd name="connsiteY19" fmla="*/ 18172 h 160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9713" h="160654">
                  <a:moveTo>
                    <a:pt x="16521" y="18172"/>
                  </a:moveTo>
                  <a:cubicBezTo>
                    <a:pt x="26193" y="5276"/>
                    <a:pt x="45537" y="-4395"/>
                    <a:pt x="55208" y="2052"/>
                  </a:cubicBezTo>
                  <a:cubicBezTo>
                    <a:pt x="61656" y="5276"/>
                    <a:pt x="71328" y="21396"/>
                    <a:pt x="68103" y="27843"/>
                  </a:cubicBezTo>
                  <a:cubicBezTo>
                    <a:pt x="68103" y="31067"/>
                    <a:pt x="64879" y="31067"/>
                    <a:pt x="64879" y="34291"/>
                  </a:cubicBezTo>
                  <a:cubicBezTo>
                    <a:pt x="64879" y="34291"/>
                    <a:pt x="68103" y="34291"/>
                    <a:pt x="68103" y="34291"/>
                  </a:cubicBezTo>
                  <a:cubicBezTo>
                    <a:pt x="71328" y="34291"/>
                    <a:pt x="74552" y="37515"/>
                    <a:pt x="77776" y="37515"/>
                  </a:cubicBezTo>
                  <a:cubicBezTo>
                    <a:pt x="84223" y="43963"/>
                    <a:pt x="84223" y="53634"/>
                    <a:pt x="77776" y="60082"/>
                  </a:cubicBezTo>
                  <a:cubicBezTo>
                    <a:pt x="93895" y="66530"/>
                    <a:pt x="97118" y="85873"/>
                    <a:pt x="87447" y="101993"/>
                  </a:cubicBezTo>
                  <a:cubicBezTo>
                    <a:pt x="87447" y="101993"/>
                    <a:pt x="87447" y="101993"/>
                    <a:pt x="87447" y="105217"/>
                  </a:cubicBezTo>
                  <a:cubicBezTo>
                    <a:pt x="97118" y="105217"/>
                    <a:pt x="103566" y="114888"/>
                    <a:pt x="97118" y="121336"/>
                  </a:cubicBezTo>
                  <a:cubicBezTo>
                    <a:pt x="87447" y="140679"/>
                    <a:pt x="74552" y="153575"/>
                    <a:pt x="51984" y="160022"/>
                  </a:cubicBezTo>
                  <a:cubicBezTo>
                    <a:pt x="39089" y="163246"/>
                    <a:pt x="32641" y="153575"/>
                    <a:pt x="32641" y="143903"/>
                  </a:cubicBezTo>
                  <a:cubicBezTo>
                    <a:pt x="22969" y="143903"/>
                    <a:pt x="16521" y="134231"/>
                    <a:pt x="22969" y="124560"/>
                  </a:cubicBezTo>
                  <a:cubicBezTo>
                    <a:pt x="22969" y="124560"/>
                    <a:pt x="22969" y="124560"/>
                    <a:pt x="22969" y="121336"/>
                  </a:cubicBezTo>
                  <a:cubicBezTo>
                    <a:pt x="22969" y="121336"/>
                    <a:pt x="22969" y="118112"/>
                    <a:pt x="26193" y="118112"/>
                  </a:cubicBezTo>
                  <a:cubicBezTo>
                    <a:pt x="26193" y="114888"/>
                    <a:pt x="29418" y="114888"/>
                    <a:pt x="29418" y="111664"/>
                  </a:cubicBezTo>
                  <a:cubicBezTo>
                    <a:pt x="22969" y="111664"/>
                    <a:pt x="16521" y="108440"/>
                    <a:pt x="16521" y="101993"/>
                  </a:cubicBezTo>
                  <a:cubicBezTo>
                    <a:pt x="13298" y="92321"/>
                    <a:pt x="16521" y="85873"/>
                    <a:pt x="16521" y="76202"/>
                  </a:cubicBezTo>
                  <a:cubicBezTo>
                    <a:pt x="13298" y="76202"/>
                    <a:pt x="10074" y="76202"/>
                    <a:pt x="6850" y="72978"/>
                  </a:cubicBezTo>
                  <a:cubicBezTo>
                    <a:pt x="-9269" y="63306"/>
                    <a:pt x="6850" y="34291"/>
                    <a:pt x="16521" y="18172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061BAD6A-FFC6-4FF0-A57D-B8E2DD07802B}"/>
                </a:ext>
              </a:extLst>
            </p:cNvPr>
            <p:cNvSpPr/>
            <p:nvPr/>
          </p:nvSpPr>
          <p:spPr>
            <a:xfrm>
              <a:off x="13097988" y="3171219"/>
              <a:ext cx="436055" cy="671174"/>
            </a:xfrm>
            <a:custGeom>
              <a:avLst/>
              <a:gdLst>
                <a:gd name="connsiteX0" fmla="*/ 436055 w 436055"/>
                <a:gd name="connsiteY0" fmla="*/ 113088 h 671174"/>
                <a:gd name="connsiteX1" fmla="*/ 145906 w 436055"/>
                <a:gd name="connsiteY1" fmla="*/ 664372 h 671174"/>
                <a:gd name="connsiteX2" fmla="*/ 4055 w 436055"/>
                <a:gd name="connsiteY2" fmla="*/ 535416 h 671174"/>
                <a:gd name="connsiteX3" fmla="*/ 387697 w 436055"/>
                <a:gd name="connsiteY3" fmla="*/ 252 h 671174"/>
                <a:gd name="connsiteX4" fmla="*/ 436055 w 436055"/>
                <a:gd name="connsiteY4" fmla="*/ 113088 h 67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6055" h="671174">
                  <a:moveTo>
                    <a:pt x="436055" y="113088"/>
                  </a:moveTo>
                  <a:cubicBezTo>
                    <a:pt x="436055" y="113088"/>
                    <a:pt x="210383" y="635357"/>
                    <a:pt x="145906" y="664372"/>
                  </a:cubicBezTo>
                  <a:cubicBezTo>
                    <a:pt x="81428" y="693387"/>
                    <a:pt x="-21736" y="625685"/>
                    <a:pt x="4055" y="535416"/>
                  </a:cubicBezTo>
                  <a:cubicBezTo>
                    <a:pt x="29846" y="441924"/>
                    <a:pt x="381249" y="6700"/>
                    <a:pt x="387697" y="252"/>
                  </a:cubicBezTo>
                  <a:cubicBezTo>
                    <a:pt x="390921" y="-6195"/>
                    <a:pt x="436055" y="113088"/>
                    <a:pt x="436055" y="113088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C9C3A691-F4E8-46C8-A930-23A4955D7A75}"/>
                </a:ext>
              </a:extLst>
            </p:cNvPr>
            <p:cNvSpPr/>
            <p:nvPr/>
          </p:nvSpPr>
          <p:spPr>
            <a:xfrm>
              <a:off x="13185864" y="3407620"/>
              <a:ext cx="118476" cy="137820"/>
            </a:xfrm>
            <a:custGeom>
              <a:avLst/>
              <a:gdLst>
                <a:gd name="connsiteX0" fmla="*/ 6447 w 118476"/>
                <a:gd name="connsiteY0" fmla="*/ 137821 h 137820"/>
                <a:gd name="connsiteX1" fmla="*/ 6447 w 118476"/>
                <a:gd name="connsiteY1" fmla="*/ 137821 h 137820"/>
                <a:gd name="connsiteX2" fmla="*/ 0 w 118476"/>
                <a:gd name="connsiteY2" fmla="*/ 128149 h 137820"/>
                <a:gd name="connsiteX3" fmla="*/ 106388 w 118476"/>
                <a:gd name="connsiteY3" fmla="*/ 2418 h 137820"/>
                <a:gd name="connsiteX4" fmla="*/ 116059 w 118476"/>
                <a:gd name="connsiteY4" fmla="*/ 2418 h 137820"/>
                <a:gd name="connsiteX5" fmla="*/ 116059 w 118476"/>
                <a:gd name="connsiteY5" fmla="*/ 12090 h 137820"/>
                <a:gd name="connsiteX6" fmla="*/ 12895 w 118476"/>
                <a:gd name="connsiteY6" fmla="*/ 134597 h 137820"/>
                <a:gd name="connsiteX7" fmla="*/ 6447 w 118476"/>
                <a:gd name="connsiteY7" fmla="*/ 137821 h 137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476" h="137820">
                  <a:moveTo>
                    <a:pt x="6447" y="137821"/>
                  </a:moveTo>
                  <a:cubicBezTo>
                    <a:pt x="3223" y="137821"/>
                    <a:pt x="3223" y="134597"/>
                    <a:pt x="6447" y="137821"/>
                  </a:cubicBezTo>
                  <a:cubicBezTo>
                    <a:pt x="0" y="134597"/>
                    <a:pt x="0" y="131373"/>
                    <a:pt x="0" y="128149"/>
                  </a:cubicBezTo>
                  <a:cubicBezTo>
                    <a:pt x="29015" y="76567"/>
                    <a:pt x="103164" y="5642"/>
                    <a:pt x="106388" y="2418"/>
                  </a:cubicBezTo>
                  <a:cubicBezTo>
                    <a:pt x="109612" y="-806"/>
                    <a:pt x="112836" y="-806"/>
                    <a:pt x="116059" y="2418"/>
                  </a:cubicBezTo>
                  <a:cubicBezTo>
                    <a:pt x="119283" y="5642"/>
                    <a:pt x="119283" y="8866"/>
                    <a:pt x="116059" y="12090"/>
                  </a:cubicBezTo>
                  <a:cubicBezTo>
                    <a:pt x="116059" y="12090"/>
                    <a:pt x="41910" y="86239"/>
                    <a:pt x="12895" y="134597"/>
                  </a:cubicBezTo>
                  <a:cubicBezTo>
                    <a:pt x="9671" y="134597"/>
                    <a:pt x="6447" y="137821"/>
                    <a:pt x="6447" y="137821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0" name="图形 1">
              <a:extLst>
                <a:ext uri="{FF2B5EF4-FFF2-40B4-BE49-F238E27FC236}">
                  <a16:creationId xmlns:a16="http://schemas.microsoft.com/office/drawing/2014/main" id="{4913EFDC-C8C4-4D7F-BDA4-E052FCF57D38}"/>
                </a:ext>
              </a:extLst>
            </p:cNvPr>
            <p:cNvGrpSpPr/>
            <p:nvPr/>
          </p:nvGrpSpPr>
          <p:grpSpPr>
            <a:xfrm>
              <a:off x="13474938" y="3056900"/>
              <a:ext cx="171134" cy="241147"/>
              <a:chOff x="13474938" y="3056900"/>
              <a:chExt cx="171134" cy="241147"/>
            </a:xfrm>
          </p:grpSpPr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913B4BB9-FC25-425E-98C3-92CF03573784}"/>
                  </a:ext>
                </a:extLst>
              </p:cNvPr>
              <p:cNvSpPr/>
              <p:nvPr/>
            </p:nvSpPr>
            <p:spPr>
              <a:xfrm>
                <a:off x="13474938" y="3056900"/>
                <a:ext cx="84895" cy="137827"/>
              </a:xfrm>
              <a:custGeom>
                <a:avLst/>
                <a:gdLst>
                  <a:gd name="connsiteX0" fmla="*/ 17195 w 84895"/>
                  <a:gd name="connsiteY0" fmla="*/ 40422 h 137827"/>
                  <a:gd name="connsiteX1" fmla="*/ 65553 w 84895"/>
                  <a:gd name="connsiteY1" fmla="*/ 1736 h 137827"/>
                  <a:gd name="connsiteX2" fmla="*/ 84895 w 84895"/>
                  <a:gd name="connsiteY2" fmla="*/ 17855 h 137827"/>
                  <a:gd name="connsiteX3" fmla="*/ 55881 w 84895"/>
                  <a:gd name="connsiteY3" fmla="*/ 62989 h 137827"/>
                  <a:gd name="connsiteX4" fmla="*/ 36537 w 84895"/>
                  <a:gd name="connsiteY4" fmla="*/ 111348 h 137827"/>
                  <a:gd name="connsiteX5" fmla="*/ 26866 w 84895"/>
                  <a:gd name="connsiteY5" fmla="*/ 117795 h 137827"/>
                  <a:gd name="connsiteX6" fmla="*/ 7522 w 84895"/>
                  <a:gd name="connsiteY6" fmla="*/ 133915 h 137827"/>
                  <a:gd name="connsiteX7" fmla="*/ 17195 w 84895"/>
                  <a:gd name="connsiteY7" fmla="*/ 40422 h 137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895" h="137827">
                    <a:moveTo>
                      <a:pt x="17195" y="40422"/>
                    </a:moveTo>
                    <a:cubicBezTo>
                      <a:pt x="26866" y="21079"/>
                      <a:pt x="46209" y="11407"/>
                      <a:pt x="65553" y="1736"/>
                    </a:cubicBezTo>
                    <a:cubicBezTo>
                      <a:pt x="78448" y="-4712"/>
                      <a:pt x="84895" y="8183"/>
                      <a:pt x="84895" y="17855"/>
                    </a:cubicBezTo>
                    <a:cubicBezTo>
                      <a:pt x="81672" y="37198"/>
                      <a:pt x="65553" y="46870"/>
                      <a:pt x="55881" y="62989"/>
                    </a:cubicBezTo>
                    <a:cubicBezTo>
                      <a:pt x="46209" y="79109"/>
                      <a:pt x="49433" y="98452"/>
                      <a:pt x="36537" y="111348"/>
                    </a:cubicBezTo>
                    <a:cubicBezTo>
                      <a:pt x="33314" y="114571"/>
                      <a:pt x="30090" y="114571"/>
                      <a:pt x="26866" y="117795"/>
                    </a:cubicBezTo>
                    <a:cubicBezTo>
                      <a:pt x="20418" y="124243"/>
                      <a:pt x="10746" y="146810"/>
                      <a:pt x="7522" y="133915"/>
                    </a:cubicBezTo>
                    <a:cubicBezTo>
                      <a:pt x="-8597" y="98452"/>
                      <a:pt x="4298" y="59765"/>
                      <a:pt x="17195" y="4042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A62297EC-F532-44BE-BDFD-044190D08401}"/>
                  </a:ext>
                </a:extLst>
              </p:cNvPr>
              <p:cNvSpPr/>
              <p:nvPr/>
            </p:nvSpPr>
            <p:spPr>
              <a:xfrm>
                <a:off x="13481019" y="3097322"/>
                <a:ext cx="131992" cy="200725"/>
              </a:xfrm>
              <a:custGeom>
                <a:avLst/>
                <a:gdLst>
                  <a:gd name="connsiteX0" fmla="*/ 101382 w 131992"/>
                  <a:gd name="connsiteY0" fmla="*/ 0 h 200725"/>
                  <a:gd name="connsiteX1" fmla="*/ 1442 w 131992"/>
                  <a:gd name="connsiteY1" fmla="*/ 87045 h 200725"/>
                  <a:gd name="connsiteX2" fmla="*/ 40129 w 131992"/>
                  <a:gd name="connsiteY2" fmla="*/ 196657 h 200725"/>
                  <a:gd name="connsiteX3" fmla="*/ 127173 w 131992"/>
                  <a:gd name="connsiteY3" fmla="*/ 154746 h 200725"/>
                  <a:gd name="connsiteX4" fmla="*/ 101382 w 131992"/>
                  <a:gd name="connsiteY4" fmla="*/ 0 h 200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992" h="200725">
                    <a:moveTo>
                      <a:pt x="101382" y="0"/>
                    </a:moveTo>
                    <a:cubicBezTo>
                      <a:pt x="101382" y="0"/>
                      <a:pt x="30457" y="29015"/>
                      <a:pt x="1442" y="87045"/>
                    </a:cubicBezTo>
                    <a:cubicBezTo>
                      <a:pt x="-8229" y="106388"/>
                      <a:pt x="33681" y="180537"/>
                      <a:pt x="40129" y="196657"/>
                    </a:cubicBezTo>
                    <a:cubicBezTo>
                      <a:pt x="46576" y="212776"/>
                      <a:pt x="107831" y="177313"/>
                      <a:pt x="127173" y="154746"/>
                    </a:cubicBezTo>
                    <a:cubicBezTo>
                      <a:pt x="146517" y="128955"/>
                      <a:pt x="101382" y="0"/>
                      <a:pt x="101382" y="0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041F767E-332F-4836-909C-57EBC916F1D4}"/>
                  </a:ext>
                </a:extLst>
              </p:cNvPr>
              <p:cNvSpPr/>
              <p:nvPr/>
            </p:nvSpPr>
            <p:spPr>
              <a:xfrm>
                <a:off x="13505834" y="3087022"/>
                <a:ext cx="140238" cy="181164"/>
              </a:xfrm>
              <a:custGeom>
                <a:avLst/>
                <a:gdLst>
                  <a:gd name="connsiteX0" fmla="*/ 89462 w 140238"/>
                  <a:gd name="connsiteY0" fmla="*/ 181165 h 181164"/>
                  <a:gd name="connsiteX1" fmla="*/ 83015 w 140238"/>
                  <a:gd name="connsiteY1" fmla="*/ 177941 h 181164"/>
                  <a:gd name="connsiteX2" fmla="*/ 86238 w 140238"/>
                  <a:gd name="connsiteY2" fmla="*/ 168269 h 181164"/>
                  <a:gd name="connsiteX3" fmla="*/ 124925 w 140238"/>
                  <a:gd name="connsiteY3" fmla="*/ 132807 h 181164"/>
                  <a:gd name="connsiteX4" fmla="*/ 124925 w 140238"/>
                  <a:gd name="connsiteY4" fmla="*/ 119911 h 181164"/>
                  <a:gd name="connsiteX5" fmla="*/ 121701 w 140238"/>
                  <a:gd name="connsiteY5" fmla="*/ 116687 h 181164"/>
                  <a:gd name="connsiteX6" fmla="*/ 118477 w 140238"/>
                  <a:gd name="connsiteY6" fmla="*/ 113463 h 181164"/>
                  <a:gd name="connsiteX7" fmla="*/ 118477 w 140238"/>
                  <a:gd name="connsiteY7" fmla="*/ 107016 h 181164"/>
                  <a:gd name="connsiteX8" fmla="*/ 124925 w 140238"/>
                  <a:gd name="connsiteY8" fmla="*/ 84448 h 181164"/>
                  <a:gd name="connsiteX9" fmla="*/ 118477 w 140238"/>
                  <a:gd name="connsiteY9" fmla="*/ 78001 h 181164"/>
                  <a:gd name="connsiteX10" fmla="*/ 115254 w 140238"/>
                  <a:gd name="connsiteY10" fmla="*/ 68329 h 181164"/>
                  <a:gd name="connsiteX11" fmla="*/ 115254 w 140238"/>
                  <a:gd name="connsiteY11" fmla="*/ 48986 h 181164"/>
                  <a:gd name="connsiteX12" fmla="*/ 99134 w 140238"/>
                  <a:gd name="connsiteY12" fmla="*/ 45762 h 181164"/>
                  <a:gd name="connsiteX13" fmla="*/ 92686 w 140238"/>
                  <a:gd name="connsiteY13" fmla="*/ 42538 h 181164"/>
                  <a:gd name="connsiteX14" fmla="*/ 92686 w 140238"/>
                  <a:gd name="connsiteY14" fmla="*/ 36090 h 181164"/>
                  <a:gd name="connsiteX15" fmla="*/ 99134 w 140238"/>
                  <a:gd name="connsiteY15" fmla="*/ 16747 h 181164"/>
                  <a:gd name="connsiteX16" fmla="*/ 92686 w 140238"/>
                  <a:gd name="connsiteY16" fmla="*/ 13523 h 181164"/>
                  <a:gd name="connsiteX17" fmla="*/ 12089 w 140238"/>
                  <a:gd name="connsiteY17" fmla="*/ 58657 h 181164"/>
                  <a:gd name="connsiteX18" fmla="*/ 2418 w 140238"/>
                  <a:gd name="connsiteY18" fmla="*/ 58657 h 181164"/>
                  <a:gd name="connsiteX19" fmla="*/ 2418 w 140238"/>
                  <a:gd name="connsiteY19" fmla="*/ 48986 h 181164"/>
                  <a:gd name="connsiteX20" fmla="*/ 95910 w 140238"/>
                  <a:gd name="connsiteY20" fmla="*/ 628 h 181164"/>
                  <a:gd name="connsiteX21" fmla="*/ 108806 w 140238"/>
                  <a:gd name="connsiteY21" fmla="*/ 13523 h 181164"/>
                  <a:gd name="connsiteX22" fmla="*/ 105582 w 140238"/>
                  <a:gd name="connsiteY22" fmla="*/ 32866 h 181164"/>
                  <a:gd name="connsiteX23" fmla="*/ 121701 w 140238"/>
                  <a:gd name="connsiteY23" fmla="*/ 39314 h 181164"/>
                  <a:gd name="connsiteX24" fmla="*/ 124925 w 140238"/>
                  <a:gd name="connsiteY24" fmla="*/ 65105 h 181164"/>
                  <a:gd name="connsiteX25" fmla="*/ 134596 w 140238"/>
                  <a:gd name="connsiteY25" fmla="*/ 78001 h 181164"/>
                  <a:gd name="connsiteX26" fmla="*/ 131373 w 140238"/>
                  <a:gd name="connsiteY26" fmla="*/ 103792 h 181164"/>
                  <a:gd name="connsiteX27" fmla="*/ 137820 w 140238"/>
                  <a:gd name="connsiteY27" fmla="*/ 110239 h 181164"/>
                  <a:gd name="connsiteX28" fmla="*/ 137820 w 140238"/>
                  <a:gd name="connsiteY28" fmla="*/ 132807 h 181164"/>
                  <a:gd name="connsiteX29" fmla="*/ 89462 w 140238"/>
                  <a:gd name="connsiteY29" fmla="*/ 181165 h 181164"/>
                  <a:gd name="connsiteX30" fmla="*/ 89462 w 140238"/>
                  <a:gd name="connsiteY30" fmla="*/ 181165 h 181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40238" h="181164">
                    <a:moveTo>
                      <a:pt x="89462" y="181165"/>
                    </a:moveTo>
                    <a:cubicBezTo>
                      <a:pt x="86238" y="181165"/>
                      <a:pt x="86238" y="181165"/>
                      <a:pt x="83015" y="177941"/>
                    </a:cubicBezTo>
                    <a:cubicBezTo>
                      <a:pt x="83015" y="174717"/>
                      <a:pt x="83015" y="171493"/>
                      <a:pt x="86238" y="168269"/>
                    </a:cubicBezTo>
                    <a:cubicBezTo>
                      <a:pt x="86238" y="168269"/>
                      <a:pt x="118477" y="152150"/>
                      <a:pt x="124925" y="132807"/>
                    </a:cubicBezTo>
                    <a:cubicBezTo>
                      <a:pt x="128149" y="126359"/>
                      <a:pt x="128149" y="123135"/>
                      <a:pt x="124925" y="119911"/>
                    </a:cubicBezTo>
                    <a:cubicBezTo>
                      <a:pt x="124925" y="116687"/>
                      <a:pt x="121701" y="116687"/>
                      <a:pt x="121701" y="116687"/>
                    </a:cubicBezTo>
                    <a:cubicBezTo>
                      <a:pt x="118477" y="116687"/>
                      <a:pt x="118477" y="113463"/>
                      <a:pt x="118477" y="113463"/>
                    </a:cubicBezTo>
                    <a:cubicBezTo>
                      <a:pt x="118477" y="110239"/>
                      <a:pt x="118477" y="110239"/>
                      <a:pt x="118477" y="107016"/>
                    </a:cubicBezTo>
                    <a:cubicBezTo>
                      <a:pt x="124925" y="97344"/>
                      <a:pt x="124925" y="90896"/>
                      <a:pt x="124925" y="84448"/>
                    </a:cubicBezTo>
                    <a:cubicBezTo>
                      <a:pt x="121701" y="78001"/>
                      <a:pt x="118477" y="78001"/>
                      <a:pt x="118477" y="78001"/>
                    </a:cubicBezTo>
                    <a:cubicBezTo>
                      <a:pt x="115254" y="78001"/>
                      <a:pt x="112030" y="71553"/>
                      <a:pt x="115254" y="68329"/>
                    </a:cubicBezTo>
                    <a:cubicBezTo>
                      <a:pt x="118477" y="61881"/>
                      <a:pt x="118477" y="52210"/>
                      <a:pt x="115254" y="48986"/>
                    </a:cubicBezTo>
                    <a:cubicBezTo>
                      <a:pt x="112030" y="45762"/>
                      <a:pt x="102358" y="45762"/>
                      <a:pt x="99134" y="45762"/>
                    </a:cubicBezTo>
                    <a:cubicBezTo>
                      <a:pt x="95910" y="45762"/>
                      <a:pt x="92686" y="45762"/>
                      <a:pt x="92686" y="42538"/>
                    </a:cubicBezTo>
                    <a:cubicBezTo>
                      <a:pt x="92686" y="39314"/>
                      <a:pt x="92686" y="36090"/>
                      <a:pt x="92686" y="36090"/>
                    </a:cubicBezTo>
                    <a:cubicBezTo>
                      <a:pt x="95910" y="32866"/>
                      <a:pt x="102358" y="23195"/>
                      <a:pt x="99134" y="16747"/>
                    </a:cubicBezTo>
                    <a:cubicBezTo>
                      <a:pt x="99134" y="16747"/>
                      <a:pt x="99134" y="13523"/>
                      <a:pt x="92686" y="13523"/>
                    </a:cubicBezTo>
                    <a:cubicBezTo>
                      <a:pt x="79791" y="10299"/>
                      <a:pt x="37880" y="36090"/>
                      <a:pt x="12089" y="58657"/>
                    </a:cubicBezTo>
                    <a:cubicBezTo>
                      <a:pt x="8865" y="61881"/>
                      <a:pt x="5641" y="61881"/>
                      <a:pt x="2418" y="58657"/>
                    </a:cubicBezTo>
                    <a:cubicBezTo>
                      <a:pt x="-806" y="55433"/>
                      <a:pt x="-806" y="52210"/>
                      <a:pt x="2418" y="48986"/>
                    </a:cubicBezTo>
                    <a:cubicBezTo>
                      <a:pt x="12089" y="39314"/>
                      <a:pt x="70119" y="-5820"/>
                      <a:pt x="95910" y="628"/>
                    </a:cubicBezTo>
                    <a:cubicBezTo>
                      <a:pt x="105582" y="3851"/>
                      <a:pt x="108806" y="10299"/>
                      <a:pt x="108806" y="13523"/>
                    </a:cubicBezTo>
                    <a:cubicBezTo>
                      <a:pt x="112030" y="19971"/>
                      <a:pt x="108806" y="26419"/>
                      <a:pt x="105582" y="32866"/>
                    </a:cubicBezTo>
                    <a:cubicBezTo>
                      <a:pt x="112030" y="32866"/>
                      <a:pt x="118477" y="36090"/>
                      <a:pt x="121701" y="39314"/>
                    </a:cubicBezTo>
                    <a:cubicBezTo>
                      <a:pt x="128149" y="45762"/>
                      <a:pt x="128149" y="55433"/>
                      <a:pt x="124925" y="65105"/>
                    </a:cubicBezTo>
                    <a:cubicBezTo>
                      <a:pt x="128149" y="68329"/>
                      <a:pt x="131373" y="71553"/>
                      <a:pt x="134596" y="78001"/>
                    </a:cubicBezTo>
                    <a:cubicBezTo>
                      <a:pt x="137820" y="84448"/>
                      <a:pt x="137820" y="94120"/>
                      <a:pt x="131373" y="103792"/>
                    </a:cubicBezTo>
                    <a:cubicBezTo>
                      <a:pt x="134596" y="107016"/>
                      <a:pt x="134596" y="107016"/>
                      <a:pt x="137820" y="110239"/>
                    </a:cubicBezTo>
                    <a:cubicBezTo>
                      <a:pt x="141045" y="116687"/>
                      <a:pt x="141045" y="126359"/>
                      <a:pt x="137820" y="132807"/>
                    </a:cubicBezTo>
                    <a:cubicBezTo>
                      <a:pt x="128149" y="161822"/>
                      <a:pt x="92686" y="177941"/>
                      <a:pt x="89462" y="181165"/>
                    </a:cubicBezTo>
                    <a:cubicBezTo>
                      <a:pt x="92686" y="181165"/>
                      <a:pt x="89462" y="181165"/>
                      <a:pt x="89462" y="18116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4847CF9B-9E8B-4C65-84A9-6AE0A6E60908}"/>
                </a:ext>
              </a:extLst>
            </p:cNvPr>
            <p:cNvSpPr/>
            <p:nvPr/>
          </p:nvSpPr>
          <p:spPr>
            <a:xfrm>
              <a:off x="14327118" y="3548665"/>
              <a:ext cx="51582" cy="83820"/>
            </a:xfrm>
            <a:custGeom>
              <a:avLst/>
              <a:gdLst>
                <a:gd name="connsiteX0" fmla="*/ 6447 w 51582"/>
                <a:gd name="connsiteY0" fmla="*/ 83821 h 83820"/>
                <a:gd name="connsiteX1" fmla="*/ 6447 w 51582"/>
                <a:gd name="connsiteY1" fmla="*/ 83821 h 83820"/>
                <a:gd name="connsiteX2" fmla="*/ 0 w 51582"/>
                <a:gd name="connsiteY2" fmla="*/ 74149 h 83820"/>
                <a:gd name="connsiteX3" fmla="*/ 38686 w 51582"/>
                <a:gd name="connsiteY3" fmla="*/ 3224 h 83820"/>
                <a:gd name="connsiteX4" fmla="*/ 48358 w 51582"/>
                <a:gd name="connsiteY4" fmla="*/ 0 h 83820"/>
                <a:gd name="connsiteX5" fmla="*/ 51582 w 51582"/>
                <a:gd name="connsiteY5" fmla="*/ 9672 h 83820"/>
                <a:gd name="connsiteX6" fmla="*/ 12895 w 51582"/>
                <a:gd name="connsiteY6" fmla="*/ 80597 h 83820"/>
                <a:gd name="connsiteX7" fmla="*/ 6447 w 51582"/>
                <a:gd name="connsiteY7" fmla="*/ 83821 h 83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582" h="83820">
                  <a:moveTo>
                    <a:pt x="6447" y="83821"/>
                  </a:moveTo>
                  <a:cubicBezTo>
                    <a:pt x="3224" y="83821"/>
                    <a:pt x="3224" y="83821"/>
                    <a:pt x="6447" y="83821"/>
                  </a:cubicBezTo>
                  <a:cubicBezTo>
                    <a:pt x="0" y="80597"/>
                    <a:pt x="0" y="77373"/>
                    <a:pt x="0" y="74149"/>
                  </a:cubicBezTo>
                  <a:lnTo>
                    <a:pt x="38686" y="3224"/>
                  </a:lnTo>
                  <a:cubicBezTo>
                    <a:pt x="38686" y="0"/>
                    <a:pt x="45134" y="0"/>
                    <a:pt x="48358" y="0"/>
                  </a:cubicBezTo>
                  <a:cubicBezTo>
                    <a:pt x="51582" y="0"/>
                    <a:pt x="51582" y="6448"/>
                    <a:pt x="51582" y="9672"/>
                  </a:cubicBezTo>
                  <a:lnTo>
                    <a:pt x="12895" y="80597"/>
                  </a:lnTo>
                  <a:cubicBezTo>
                    <a:pt x="9671" y="83821"/>
                    <a:pt x="6447" y="83821"/>
                    <a:pt x="6447" y="83821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72" name="图形 1">
              <a:extLst>
                <a:ext uri="{FF2B5EF4-FFF2-40B4-BE49-F238E27FC236}">
                  <a16:creationId xmlns:a16="http://schemas.microsoft.com/office/drawing/2014/main" id="{A20571F5-8BB4-4EB9-B5AF-544F52AD511E}"/>
                </a:ext>
              </a:extLst>
            </p:cNvPr>
            <p:cNvGrpSpPr/>
            <p:nvPr/>
          </p:nvGrpSpPr>
          <p:grpSpPr>
            <a:xfrm>
              <a:off x="14558392" y="3148904"/>
              <a:ext cx="291626" cy="283701"/>
              <a:chOff x="14558392" y="3148904"/>
              <a:chExt cx="291626" cy="283701"/>
            </a:xfrm>
          </p:grpSpPr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031D563E-E318-450F-928F-D06E0B9B5CAB}"/>
                  </a:ext>
                </a:extLst>
              </p:cNvPr>
              <p:cNvSpPr/>
              <p:nvPr/>
            </p:nvSpPr>
            <p:spPr>
              <a:xfrm>
                <a:off x="14558392" y="3153596"/>
                <a:ext cx="278098" cy="279009"/>
              </a:xfrm>
              <a:custGeom>
                <a:avLst/>
                <a:gdLst>
                  <a:gd name="connsiteX0" fmla="*/ 265204 w 278098"/>
                  <a:gd name="connsiteY0" fmla="*/ 130711 h 279009"/>
                  <a:gd name="connsiteX1" fmla="*/ 245860 w 278098"/>
                  <a:gd name="connsiteY1" fmla="*/ 121040 h 279009"/>
                  <a:gd name="connsiteX2" fmla="*/ 239413 w 278098"/>
                  <a:gd name="connsiteY2" fmla="*/ 124263 h 279009"/>
                  <a:gd name="connsiteX3" fmla="*/ 258755 w 278098"/>
                  <a:gd name="connsiteY3" fmla="*/ 108144 h 279009"/>
                  <a:gd name="connsiteX4" fmla="*/ 278099 w 278098"/>
                  <a:gd name="connsiteY4" fmla="*/ 66234 h 279009"/>
                  <a:gd name="connsiteX5" fmla="*/ 274875 w 278098"/>
                  <a:gd name="connsiteY5" fmla="*/ 63010 h 279009"/>
                  <a:gd name="connsiteX6" fmla="*/ 271652 w 278098"/>
                  <a:gd name="connsiteY6" fmla="*/ 63010 h 279009"/>
                  <a:gd name="connsiteX7" fmla="*/ 274875 w 278098"/>
                  <a:gd name="connsiteY7" fmla="*/ 33995 h 279009"/>
                  <a:gd name="connsiteX8" fmla="*/ 249084 w 278098"/>
                  <a:gd name="connsiteY8" fmla="*/ 21099 h 279009"/>
                  <a:gd name="connsiteX9" fmla="*/ 207174 w 278098"/>
                  <a:gd name="connsiteY9" fmla="*/ 50114 h 279009"/>
                  <a:gd name="connsiteX10" fmla="*/ 149144 w 278098"/>
                  <a:gd name="connsiteY10" fmla="*/ 95249 h 279009"/>
                  <a:gd name="connsiteX11" fmla="*/ 181382 w 278098"/>
                  <a:gd name="connsiteY11" fmla="*/ 46890 h 279009"/>
                  <a:gd name="connsiteX12" fmla="*/ 203950 w 278098"/>
                  <a:gd name="connsiteY12" fmla="*/ 11428 h 279009"/>
                  <a:gd name="connsiteX13" fmla="*/ 171711 w 278098"/>
                  <a:gd name="connsiteY13" fmla="*/ 8204 h 279009"/>
                  <a:gd name="connsiteX14" fmla="*/ 58875 w 278098"/>
                  <a:gd name="connsiteY14" fmla="*/ 143607 h 279009"/>
                  <a:gd name="connsiteX15" fmla="*/ 65323 w 278098"/>
                  <a:gd name="connsiteY15" fmla="*/ 53338 h 279009"/>
                  <a:gd name="connsiteX16" fmla="*/ 49203 w 278098"/>
                  <a:gd name="connsiteY16" fmla="*/ 46890 h 279009"/>
                  <a:gd name="connsiteX17" fmla="*/ 13741 w 278098"/>
                  <a:gd name="connsiteY17" fmla="*/ 237099 h 279009"/>
                  <a:gd name="connsiteX18" fmla="*/ 13741 w 278098"/>
                  <a:gd name="connsiteY18" fmla="*/ 237099 h 279009"/>
                  <a:gd name="connsiteX19" fmla="*/ 13741 w 278098"/>
                  <a:gd name="connsiteY19" fmla="*/ 240323 h 279009"/>
                  <a:gd name="connsiteX20" fmla="*/ 91114 w 278098"/>
                  <a:gd name="connsiteY20" fmla="*/ 279010 h 279009"/>
                  <a:gd name="connsiteX21" fmla="*/ 191055 w 278098"/>
                  <a:gd name="connsiteY21" fmla="*/ 217756 h 279009"/>
                  <a:gd name="connsiteX22" fmla="*/ 245860 w 278098"/>
                  <a:gd name="connsiteY22" fmla="*/ 166174 h 279009"/>
                  <a:gd name="connsiteX23" fmla="*/ 265204 w 278098"/>
                  <a:gd name="connsiteY23" fmla="*/ 130711 h 279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78098" h="279009">
                    <a:moveTo>
                      <a:pt x="265204" y="130711"/>
                    </a:moveTo>
                    <a:cubicBezTo>
                      <a:pt x="261979" y="124263"/>
                      <a:pt x="255532" y="121040"/>
                      <a:pt x="245860" y="121040"/>
                    </a:cubicBezTo>
                    <a:cubicBezTo>
                      <a:pt x="242636" y="121040"/>
                      <a:pt x="242636" y="121040"/>
                      <a:pt x="239413" y="124263"/>
                    </a:cubicBezTo>
                    <a:cubicBezTo>
                      <a:pt x="245860" y="117816"/>
                      <a:pt x="252308" y="114592"/>
                      <a:pt x="258755" y="108144"/>
                    </a:cubicBezTo>
                    <a:cubicBezTo>
                      <a:pt x="271652" y="95249"/>
                      <a:pt x="278099" y="85577"/>
                      <a:pt x="278099" y="66234"/>
                    </a:cubicBezTo>
                    <a:cubicBezTo>
                      <a:pt x="278099" y="63010"/>
                      <a:pt x="274875" y="63010"/>
                      <a:pt x="274875" y="63010"/>
                    </a:cubicBezTo>
                    <a:cubicBezTo>
                      <a:pt x="274875" y="63010"/>
                      <a:pt x="274875" y="63010"/>
                      <a:pt x="271652" y="63010"/>
                    </a:cubicBezTo>
                    <a:cubicBezTo>
                      <a:pt x="274875" y="53338"/>
                      <a:pt x="278099" y="43666"/>
                      <a:pt x="274875" y="33995"/>
                    </a:cubicBezTo>
                    <a:cubicBezTo>
                      <a:pt x="271652" y="24323"/>
                      <a:pt x="261979" y="17875"/>
                      <a:pt x="249084" y="21099"/>
                    </a:cubicBezTo>
                    <a:cubicBezTo>
                      <a:pt x="232965" y="24323"/>
                      <a:pt x="220069" y="40443"/>
                      <a:pt x="207174" y="50114"/>
                    </a:cubicBezTo>
                    <a:cubicBezTo>
                      <a:pt x="187831" y="66234"/>
                      <a:pt x="168487" y="79129"/>
                      <a:pt x="149144" y="95249"/>
                    </a:cubicBezTo>
                    <a:cubicBezTo>
                      <a:pt x="158816" y="79129"/>
                      <a:pt x="171711" y="63010"/>
                      <a:pt x="181382" y="46890"/>
                    </a:cubicBezTo>
                    <a:cubicBezTo>
                      <a:pt x="187831" y="37219"/>
                      <a:pt x="203950" y="24323"/>
                      <a:pt x="203950" y="11428"/>
                    </a:cubicBezTo>
                    <a:cubicBezTo>
                      <a:pt x="203950" y="-7916"/>
                      <a:pt x="181382" y="1756"/>
                      <a:pt x="171711" y="8204"/>
                    </a:cubicBezTo>
                    <a:cubicBezTo>
                      <a:pt x="123353" y="40443"/>
                      <a:pt x="100785" y="101696"/>
                      <a:pt x="58875" y="143607"/>
                    </a:cubicBezTo>
                    <a:cubicBezTo>
                      <a:pt x="39532" y="114592"/>
                      <a:pt x="65323" y="82353"/>
                      <a:pt x="65323" y="53338"/>
                    </a:cubicBezTo>
                    <a:cubicBezTo>
                      <a:pt x="65323" y="50114"/>
                      <a:pt x="52427" y="43666"/>
                      <a:pt x="49203" y="46890"/>
                    </a:cubicBezTo>
                    <a:cubicBezTo>
                      <a:pt x="4069" y="79129"/>
                      <a:pt x="-15274" y="162950"/>
                      <a:pt x="13741" y="237099"/>
                    </a:cubicBezTo>
                    <a:cubicBezTo>
                      <a:pt x="13741" y="237099"/>
                      <a:pt x="13741" y="237099"/>
                      <a:pt x="13741" y="237099"/>
                    </a:cubicBezTo>
                    <a:cubicBezTo>
                      <a:pt x="13741" y="237099"/>
                      <a:pt x="10517" y="240323"/>
                      <a:pt x="13741" y="240323"/>
                    </a:cubicBezTo>
                    <a:cubicBezTo>
                      <a:pt x="23413" y="272562"/>
                      <a:pt x="62099" y="279010"/>
                      <a:pt x="91114" y="279010"/>
                    </a:cubicBezTo>
                    <a:cubicBezTo>
                      <a:pt x="133024" y="279010"/>
                      <a:pt x="162039" y="243547"/>
                      <a:pt x="191055" y="217756"/>
                    </a:cubicBezTo>
                    <a:cubicBezTo>
                      <a:pt x="210397" y="201637"/>
                      <a:pt x="226517" y="185517"/>
                      <a:pt x="245860" y="166174"/>
                    </a:cubicBezTo>
                    <a:cubicBezTo>
                      <a:pt x="255532" y="156502"/>
                      <a:pt x="271652" y="143607"/>
                      <a:pt x="265204" y="130711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80E1D661-43A4-45E0-B4CE-55BE03BB333E}"/>
                  </a:ext>
                </a:extLst>
              </p:cNvPr>
              <p:cNvSpPr/>
              <p:nvPr/>
            </p:nvSpPr>
            <p:spPr>
              <a:xfrm>
                <a:off x="14631953" y="3305441"/>
                <a:ext cx="22162" cy="69134"/>
              </a:xfrm>
              <a:custGeom>
                <a:avLst/>
                <a:gdLst>
                  <a:gd name="connsiteX0" fmla="*/ 11104 w 22162"/>
                  <a:gd name="connsiteY0" fmla="*/ 69134 h 69134"/>
                  <a:gd name="connsiteX1" fmla="*/ 7880 w 22162"/>
                  <a:gd name="connsiteY1" fmla="*/ 69134 h 69134"/>
                  <a:gd name="connsiteX2" fmla="*/ 4657 w 22162"/>
                  <a:gd name="connsiteY2" fmla="*/ 59463 h 69134"/>
                  <a:gd name="connsiteX3" fmla="*/ 1433 w 22162"/>
                  <a:gd name="connsiteY3" fmla="*/ 11104 h 69134"/>
                  <a:gd name="connsiteX4" fmla="*/ 1433 w 22162"/>
                  <a:gd name="connsiteY4" fmla="*/ 1433 h 69134"/>
                  <a:gd name="connsiteX5" fmla="*/ 11104 w 22162"/>
                  <a:gd name="connsiteY5" fmla="*/ 1433 h 69134"/>
                  <a:gd name="connsiteX6" fmla="*/ 14328 w 22162"/>
                  <a:gd name="connsiteY6" fmla="*/ 62687 h 69134"/>
                  <a:gd name="connsiteX7" fmla="*/ 11104 w 22162"/>
                  <a:gd name="connsiteY7" fmla="*/ 69134 h 69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162" h="69134">
                    <a:moveTo>
                      <a:pt x="11104" y="69134"/>
                    </a:moveTo>
                    <a:cubicBezTo>
                      <a:pt x="11104" y="69134"/>
                      <a:pt x="7880" y="69134"/>
                      <a:pt x="7880" y="69134"/>
                    </a:cubicBezTo>
                    <a:cubicBezTo>
                      <a:pt x="4657" y="65910"/>
                      <a:pt x="4657" y="62687"/>
                      <a:pt x="4657" y="59463"/>
                    </a:cubicBezTo>
                    <a:cubicBezTo>
                      <a:pt x="20776" y="36896"/>
                      <a:pt x="1433" y="11104"/>
                      <a:pt x="1433" y="11104"/>
                    </a:cubicBezTo>
                    <a:cubicBezTo>
                      <a:pt x="-1791" y="7881"/>
                      <a:pt x="1433" y="4657"/>
                      <a:pt x="1433" y="1433"/>
                    </a:cubicBezTo>
                    <a:cubicBezTo>
                      <a:pt x="4657" y="-1791"/>
                      <a:pt x="7880" y="1433"/>
                      <a:pt x="11104" y="1433"/>
                    </a:cubicBezTo>
                    <a:cubicBezTo>
                      <a:pt x="11104" y="1433"/>
                      <a:pt x="33672" y="33672"/>
                      <a:pt x="14328" y="62687"/>
                    </a:cubicBezTo>
                    <a:cubicBezTo>
                      <a:pt x="14328" y="69134"/>
                      <a:pt x="14328" y="69134"/>
                      <a:pt x="11104" y="6913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7F367444-D9AD-4BFF-9988-1C64F42B373F}"/>
                  </a:ext>
                </a:extLst>
              </p:cNvPr>
              <p:cNvSpPr/>
              <p:nvPr/>
            </p:nvSpPr>
            <p:spPr>
              <a:xfrm>
                <a:off x="14701894" y="3148904"/>
                <a:ext cx="139085" cy="135403"/>
              </a:xfrm>
              <a:custGeom>
                <a:avLst/>
                <a:gdLst>
                  <a:gd name="connsiteX0" fmla="*/ 50776 w 139085"/>
                  <a:gd name="connsiteY0" fmla="*/ 135403 h 135403"/>
                  <a:gd name="connsiteX1" fmla="*/ 47552 w 139085"/>
                  <a:gd name="connsiteY1" fmla="*/ 132179 h 135403"/>
                  <a:gd name="connsiteX2" fmla="*/ 47552 w 139085"/>
                  <a:gd name="connsiteY2" fmla="*/ 122507 h 135403"/>
                  <a:gd name="connsiteX3" fmla="*/ 118477 w 139085"/>
                  <a:gd name="connsiteY3" fmla="*/ 54806 h 135403"/>
                  <a:gd name="connsiteX4" fmla="*/ 121701 w 139085"/>
                  <a:gd name="connsiteY4" fmla="*/ 35463 h 135403"/>
                  <a:gd name="connsiteX5" fmla="*/ 112030 w 139085"/>
                  <a:gd name="connsiteY5" fmla="*/ 25791 h 135403"/>
                  <a:gd name="connsiteX6" fmla="*/ 112030 w 139085"/>
                  <a:gd name="connsiteY6" fmla="*/ 25791 h 135403"/>
                  <a:gd name="connsiteX7" fmla="*/ 12090 w 139085"/>
                  <a:gd name="connsiteY7" fmla="*/ 96716 h 135403"/>
                  <a:gd name="connsiteX8" fmla="*/ 2417 w 139085"/>
                  <a:gd name="connsiteY8" fmla="*/ 96716 h 135403"/>
                  <a:gd name="connsiteX9" fmla="*/ 2417 w 139085"/>
                  <a:gd name="connsiteY9" fmla="*/ 87045 h 135403"/>
                  <a:gd name="connsiteX10" fmla="*/ 57224 w 139085"/>
                  <a:gd name="connsiteY10" fmla="*/ 3224 h 135403"/>
                  <a:gd name="connsiteX11" fmla="*/ 66895 w 139085"/>
                  <a:gd name="connsiteY11" fmla="*/ 0 h 135403"/>
                  <a:gd name="connsiteX12" fmla="*/ 70119 w 139085"/>
                  <a:gd name="connsiteY12" fmla="*/ 9672 h 135403"/>
                  <a:gd name="connsiteX13" fmla="*/ 41104 w 139085"/>
                  <a:gd name="connsiteY13" fmla="*/ 54806 h 135403"/>
                  <a:gd name="connsiteX14" fmla="*/ 118477 w 139085"/>
                  <a:gd name="connsiteY14" fmla="*/ 9672 h 135403"/>
                  <a:gd name="connsiteX15" fmla="*/ 137821 w 139085"/>
                  <a:gd name="connsiteY15" fmla="*/ 29015 h 135403"/>
                  <a:gd name="connsiteX16" fmla="*/ 131373 w 139085"/>
                  <a:gd name="connsiteY16" fmla="*/ 58030 h 135403"/>
                  <a:gd name="connsiteX17" fmla="*/ 57224 w 139085"/>
                  <a:gd name="connsiteY17" fmla="*/ 128955 h 135403"/>
                  <a:gd name="connsiteX18" fmla="*/ 50776 w 139085"/>
                  <a:gd name="connsiteY18" fmla="*/ 135403 h 135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39085" h="135403">
                    <a:moveTo>
                      <a:pt x="50776" y="135403"/>
                    </a:moveTo>
                    <a:cubicBezTo>
                      <a:pt x="47552" y="135403"/>
                      <a:pt x="47552" y="135403"/>
                      <a:pt x="47552" y="132179"/>
                    </a:cubicBezTo>
                    <a:cubicBezTo>
                      <a:pt x="44328" y="128955"/>
                      <a:pt x="44328" y="125731"/>
                      <a:pt x="47552" y="122507"/>
                    </a:cubicBezTo>
                    <a:cubicBezTo>
                      <a:pt x="70119" y="103164"/>
                      <a:pt x="112030" y="64478"/>
                      <a:pt x="118477" y="54806"/>
                    </a:cubicBezTo>
                    <a:cubicBezTo>
                      <a:pt x="121701" y="48358"/>
                      <a:pt x="124925" y="41910"/>
                      <a:pt x="121701" y="35463"/>
                    </a:cubicBezTo>
                    <a:cubicBezTo>
                      <a:pt x="121701" y="32239"/>
                      <a:pt x="115253" y="29015"/>
                      <a:pt x="112030" y="25791"/>
                    </a:cubicBezTo>
                    <a:cubicBezTo>
                      <a:pt x="112030" y="25791"/>
                      <a:pt x="112030" y="25791"/>
                      <a:pt x="112030" y="25791"/>
                    </a:cubicBezTo>
                    <a:cubicBezTo>
                      <a:pt x="102358" y="25791"/>
                      <a:pt x="50776" y="64478"/>
                      <a:pt x="12090" y="96716"/>
                    </a:cubicBezTo>
                    <a:cubicBezTo>
                      <a:pt x="8865" y="99940"/>
                      <a:pt x="5641" y="99940"/>
                      <a:pt x="2417" y="96716"/>
                    </a:cubicBezTo>
                    <a:cubicBezTo>
                      <a:pt x="-806" y="93493"/>
                      <a:pt x="-806" y="90269"/>
                      <a:pt x="2417" y="87045"/>
                    </a:cubicBezTo>
                    <a:cubicBezTo>
                      <a:pt x="24985" y="58030"/>
                      <a:pt x="54000" y="3224"/>
                      <a:pt x="57224" y="3224"/>
                    </a:cubicBezTo>
                    <a:cubicBezTo>
                      <a:pt x="60448" y="0"/>
                      <a:pt x="63672" y="0"/>
                      <a:pt x="66895" y="0"/>
                    </a:cubicBezTo>
                    <a:cubicBezTo>
                      <a:pt x="70119" y="3224"/>
                      <a:pt x="70119" y="6448"/>
                      <a:pt x="70119" y="9672"/>
                    </a:cubicBezTo>
                    <a:cubicBezTo>
                      <a:pt x="70119" y="9672"/>
                      <a:pt x="57224" y="32239"/>
                      <a:pt x="41104" y="54806"/>
                    </a:cubicBezTo>
                    <a:cubicBezTo>
                      <a:pt x="73343" y="29015"/>
                      <a:pt x="108806" y="6448"/>
                      <a:pt x="118477" y="9672"/>
                    </a:cubicBezTo>
                    <a:cubicBezTo>
                      <a:pt x="128149" y="12896"/>
                      <a:pt x="134597" y="19343"/>
                      <a:pt x="137821" y="29015"/>
                    </a:cubicBezTo>
                    <a:cubicBezTo>
                      <a:pt x="141045" y="38687"/>
                      <a:pt x="137821" y="51582"/>
                      <a:pt x="131373" y="58030"/>
                    </a:cubicBezTo>
                    <a:cubicBezTo>
                      <a:pt x="121701" y="70925"/>
                      <a:pt x="60448" y="125731"/>
                      <a:pt x="57224" y="128955"/>
                    </a:cubicBezTo>
                    <a:cubicBezTo>
                      <a:pt x="54000" y="135403"/>
                      <a:pt x="54000" y="135403"/>
                      <a:pt x="50776" y="13540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92666781-6375-44F0-93C4-269A5F85235A}"/>
                  </a:ext>
                </a:extLst>
              </p:cNvPr>
              <p:cNvSpPr/>
              <p:nvPr/>
            </p:nvSpPr>
            <p:spPr>
              <a:xfrm>
                <a:off x="14742998" y="3203710"/>
                <a:ext cx="107020" cy="119283"/>
              </a:xfrm>
              <a:custGeom>
                <a:avLst/>
                <a:gdLst>
                  <a:gd name="connsiteX0" fmla="*/ 6448 w 107020"/>
                  <a:gd name="connsiteY0" fmla="*/ 119284 h 119283"/>
                  <a:gd name="connsiteX1" fmla="*/ 0 w 107020"/>
                  <a:gd name="connsiteY1" fmla="*/ 109612 h 119283"/>
                  <a:gd name="connsiteX2" fmla="*/ 51582 w 107020"/>
                  <a:gd name="connsiteY2" fmla="*/ 70925 h 119283"/>
                  <a:gd name="connsiteX3" fmla="*/ 93492 w 107020"/>
                  <a:gd name="connsiteY3" fmla="*/ 25791 h 119283"/>
                  <a:gd name="connsiteX4" fmla="*/ 83821 w 107020"/>
                  <a:gd name="connsiteY4" fmla="*/ 12896 h 119283"/>
                  <a:gd name="connsiteX5" fmla="*/ 80597 w 107020"/>
                  <a:gd name="connsiteY5" fmla="*/ 3224 h 119283"/>
                  <a:gd name="connsiteX6" fmla="*/ 90268 w 107020"/>
                  <a:gd name="connsiteY6" fmla="*/ 0 h 119283"/>
                  <a:gd name="connsiteX7" fmla="*/ 106388 w 107020"/>
                  <a:gd name="connsiteY7" fmla="*/ 25791 h 119283"/>
                  <a:gd name="connsiteX8" fmla="*/ 61254 w 107020"/>
                  <a:gd name="connsiteY8" fmla="*/ 77373 h 119283"/>
                  <a:gd name="connsiteX9" fmla="*/ 6448 w 107020"/>
                  <a:gd name="connsiteY9" fmla="*/ 119284 h 119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7020" h="119283">
                    <a:moveTo>
                      <a:pt x="6448" y="119284"/>
                    </a:moveTo>
                    <a:lnTo>
                      <a:pt x="0" y="109612"/>
                    </a:lnTo>
                    <a:cubicBezTo>
                      <a:pt x="0" y="109612"/>
                      <a:pt x="41910" y="77373"/>
                      <a:pt x="51582" y="70925"/>
                    </a:cubicBezTo>
                    <a:cubicBezTo>
                      <a:pt x="61254" y="64478"/>
                      <a:pt x="90268" y="35463"/>
                      <a:pt x="93492" y="25791"/>
                    </a:cubicBezTo>
                    <a:cubicBezTo>
                      <a:pt x="96716" y="19343"/>
                      <a:pt x="83821" y="12896"/>
                      <a:pt x="83821" y="12896"/>
                    </a:cubicBezTo>
                    <a:cubicBezTo>
                      <a:pt x="80597" y="12896"/>
                      <a:pt x="80597" y="6448"/>
                      <a:pt x="80597" y="3224"/>
                    </a:cubicBezTo>
                    <a:cubicBezTo>
                      <a:pt x="80597" y="0"/>
                      <a:pt x="87045" y="0"/>
                      <a:pt x="90268" y="0"/>
                    </a:cubicBezTo>
                    <a:cubicBezTo>
                      <a:pt x="99940" y="3224"/>
                      <a:pt x="109612" y="12896"/>
                      <a:pt x="106388" y="25791"/>
                    </a:cubicBezTo>
                    <a:cubicBezTo>
                      <a:pt x="103165" y="41910"/>
                      <a:pt x="67702" y="74149"/>
                      <a:pt x="61254" y="77373"/>
                    </a:cubicBezTo>
                    <a:cubicBezTo>
                      <a:pt x="48358" y="87045"/>
                      <a:pt x="6448" y="119284"/>
                      <a:pt x="6448" y="11928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3" name="图形 1">
              <a:extLst>
                <a:ext uri="{FF2B5EF4-FFF2-40B4-BE49-F238E27FC236}">
                  <a16:creationId xmlns:a16="http://schemas.microsoft.com/office/drawing/2014/main" id="{54959EC5-4D63-40C8-B426-61FEE6D5C119}"/>
                </a:ext>
              </a:extLst>
            </p:cNvPr>
            <p:cNvGrpSpPr/>
            <p:nvPr/>
          </p:nvGrpSpPr>
          <p:grpSpPr>
            <a:xfrm>
              <a:off x="16393490" y="5776367"/>
              <a:ext cx="343478" cy="300319"/>
              <a:chOff x="16393490" y="5776367"/>
              <a:chExt cx="343478" cy="300319"/>
            </a:xfrm>
          </p:grpSpPr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AB6714BC-7187-4DF0-A976-F528E4D27928}"/>
                  </a:ext>
                </a:extLst>
              </p:cNvPr>
              <p:cNvSpPr/>
              <p:nvPr/>
            </p:nvSpPr>
            <p:spPr>
              <a:xfrm>
                <a:off x="16393490" y="5889202"/>
                <a:ext cx="343478" cy="187483"/>
              </a:xfrm>
              <a:custGeom>
                <a:avLst/>
                <a:gdLst>
                  <a:gd name="connsiteX0" fmla="*/ 216135 w 343478"/>
                  <a:gd name="connsiteY0" fmla="*/ 0 h 187483"/>
                  <a:gd name="connsiteX1" fmla="*/ 112971 w 343478"/>
                  <a:gd name="connsiteY1" fmla="*/ 93492 h 187483"/>
                  <a:gd name="connsiteX2" fmla="*/ 280612 w 343478"/>
                  <a:gd name="connsiteY2" fmla="*/ 51582 h 187483"/>
                  <a:gd name="connsiteX3" fmla="*/ 341866 w 343478"/>
                  <a:gd name="connsiteY3" fmla="*/ 29015 h 187483"/>
                  <a:gd name="connsiteX4" fmla="*/ 335419 w 343478"/>
                  <a:gd name="connsiteY4" fmla="*/ 122508 h 187483"/>
                  <a:gd name="connsiteX5" fmla="*/ 135538 w 343478"/>
                  <a:gd name="connsiteY5" fmla="*/ 183761 h 187483"/>
                  <a:gd name="connsiteX6" fmla="*/ 16255 w 343478"/>
                  <a:gd name="connsiteY6" fmla="*/ 183761 h 187483"/>
                  <a:gd name="connsiteX7" fmla="*/ 9807 w 343478"/>
                  <a:gd name="connsiteY7" fmla="*/ 135403 h 187483"/>
                  <a:gd name="connsiteX8" fmla="*/ 216135 w 343478"/>
                  <a:gd name="connsiteY8" fmla="*/ 0 h 187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3478" h="187483">
                    <a:moveTo>
                      <a:pt x="216135" y="0"/>
                    </a:moveTo>
                    <a:cubicBezTo>
                      <a:pt x="216135" y="0"/>
                      <a:pt x="100075" y="80597"/>
                      <a:pt x="112971" y="93492"/>
                    </a:cubicBezTo>
                    <a:cubicBezTo>
                      <a:pt x="125867" y="106388"/>
                      <a:pt x="280612" y="51582"/>
                      <a:pt x="280612" y="51582"/>
                    </a:cubicBezTo>
                    <a:lnTo>
                      <a:pt x="341866" y="29015"/>
                    </a:lnTo>
                    <a:cubicBezTo>
                      <a:pt x="341866" y="29015"/>
                      <a:pt x="348314" y="99940"/>
                      <a:pt x="335419" y="122508"/>
                    </a:cubicBezTo>
                    <a:cubicBezTo>
                      <a:pt x="274165" y="154746"/>
                      <a:pt x="200015" y="174089"/>
                      <a:pt x="135538" y="183761"/>
                    </a:cubicBezTo>
                    <a:cubicBezTo>
                      <a:pt x="96852" y="190209"/>
                      <a:pt x="25926" y="186985"/>
                      <a:pt x="16255" y="183761"/>
                    </a:cubicBezTo>
                    <a:cubicBezTo>
                      <a:pt x="9807" y="180537"/>
                      <a:pt x="-12761" y="157970"/>
                      <a:pt x="9807" y="135403"/>
                    </a:cubicBezTo>
                    <a:cubicBezTo>
                      <a:pt x="64613" y="80597"/>
                      <a:pt x="216135" y="0"/>
                      <a:pt x="216135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96A240F8-F7A2-44B9-91EC-9AD54AE33D8C}"/>
                  </a:ext>
                </a:extLst>
              </p:cNvPr>
              <p:cNvSpPr/>
              <p:nvPr/>
            </p:nvSpPr>
            <p:spPr>
              <a:xfrm>
                <a:off x="16502237" y="5776367"/>
                <a:ext cx="229895" cy="209778"/>
              </a:xfrm>
              <a:custGeom>
                <a:avLst/>
                <a:gdLst>
                  <a:gd name="connsiteX0" fmla="*/ 149299 w 229895"/>
                  <a:gd name="connsiteY0" fmla="*/ 0 h 209778"/>
                  <a:gd name="connsiteX1" fmla="*/ 104164 w 229895"/>
                  <a:gd name="connsiteY1" fmla="*/ 112836 h 209778"/>
                  <a:gd name="connsiteX2" fmla="*/ 1000 w 229895"/>
                  <a:gd name="connsiteY2" fmla="*/ 206328 h 209778"/>
                  <a:gd name="connsiteX3" fmla="*/ 207328 w 229895"/>
                  <a:gd name="connsiteY3" fmla="*/ 170866 h 209778"/>
                  <a:gd name="connsiteX4" fmla="*/ 229896 w 229895"/>
                  <a:gd name="connsiteY4" fmla="*/ 145075 h 209778"/>
                  <a:gd name="connsiteX5" fmla="*/ 229896 w 229895"/>
                  <a:gd name="connsiteY5" fmla="*/ 29015 h 209778"/>
                  <a:gd name="connsiteX6" fmla="*/ 149299 w 229895"/>
                  <a:gd name="connsiteY6" fmla="*/ 0 h 209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9895" h="209778">
                    <a:moveTo>
                      <a:pt x="149299" y="0"/>
                    </a:moveTo>
                    <a:lnTo>
                      <a:pt x="104164" y="112836"/>
                    </a:lnTo>
                    <a:cubicBezTo>
                      <a:pt x="104164" y="112836"/>
                      <a:pt x="-11895" y="186985"/>
                      <a:pt x="1000" y="206328"/>
                    </a:cubicBezTo>
                    <a:cubicBezTo>
                      <a:pt x="10671" y="219224"/>
                      <a:pt x="146075" y="193433"/>
                      <a:pt x="207328" y="170866"/>
                    </a:cubicBezTo>
                    <a:cubicBezTo>
                      <a:pt x="226672" y="164418"/>
                      <a:pt x="229896" y="145075"/>
                      <a:pt x="229896" y="145075"/>
                    </a:cubicBezTo>
                    <a:lnTo>
                      <a:pt x="229896" y="29015"/>
                    </a:lnTo>
                    <a:lnTo>
                      <a:pt x="149299" y="0"/>
                    </a:ln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4" name="图形 1">
              <a:extLst>
                <a:ext uri="{FF2B5EF4-FFF2-40B4-BE49-F238E27FC236}">
                  <a16:creationId xmlns:a16="http://schemas.microsoft.com/office/drawing/2014/main" id="{CBCC57E3-2162-4E7B-AFEB-6DD9F8DF3C1C}"/>
                </a:ext>
              </a:extLst>
            </p:cNvPr>
            <p:cNvGrpSpPr/>
            <p:nvPr/>
          </p:nvGrpSpPr>
          <p:grpSpPr>
            <a:xfrm>
              <a:off x="17152327" y="5715113"/>
              <a:ext cx="282611" cy="380417"/>
              <a:chOff x="17152327" y="5715113"/>
              <a:chExt cx="282611" cy="380417"/>
            </a:xfrm>
          </p:grpSpPr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E5D772EC-BC1C-4DE3-9D63-AC0DFCB10D82}"/>
                  </a:ext>
                </a:extLst>
              </p:cNvPr>
              <p:cNvSpPr/>
              <p:nvPr/>
            </p:nvSpPr>
            <p:spPr>
              <a:xfrm>
                <a:off x="17152327" y="5815053"/>
                <a:ext cx="282611" cy="280477"/>
              </a:xfrm>
              <a:custGeom>
                <a:avLst/>
                <a:gdLst>
                  <a:gd name="connsiteX0" fmla="*/ 143985 w 282611"/>
                  <a:gd name="connsiteY0" fmla="*/ 3224 h 280477"/>
                  <a:gd name="connsiteX1" fmla="*/ 69835 w 282611"/>
                  <a:gd name="connsiteY1" fmla="*/ 161194 h 280477"/>
                  <a:gd name="connsiteX2" fmla="*/ 202014 w 282611"/>
                  <a:gd name="connsiteY2" fmla="*/ 48358 h 280477"/>
                  <a:gd name="connsiteX3" fmla="*/ 247149 w 282611"/>
                  <a:gd name="connsiteY3" fmla="*/ 0 h 280477"/>
                  <a:gd name="connsiteX4" fmla="*/ 282611 w 282611"/>
                  <a:gd name="connsiteY4" fmla="*/ 83821 h 280477"/>
                  <a:gd name="connsiteX5" fmla="*/ 134313 w 282611"/>
                  <a:gd name="connsiteY5" fmla="*/ 228896 h 280477"/>
                  <a:gd name="connsiteX6" fmla="*/ 27925 w 282611"/>
                  <a:gd name="connsiteY6" fmla="*/ 280478 h 280477"/>
                  <a:gd name="connsiteX7" fmla="*/ 2133 w 282611"/>
                  <a:gd name="connsiteY7" fmla="*/ 238567 h 280477"/>
                  <a:gd name="connsiteX8" fmla="*/ 143985 w 282611"/>
                  <a:gd name="connsiteY8" fmla="*/ 3224 h 280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2611" h="280477">
                    <a:moveTo>
                      <a:pt x="143985" y="3224"/>
                    </a:moveTo>
                    <a:cubicBezTo>
                      <a:pt x="143985" y="3224"/>
                      <a:pt x="56940" y="154746"/>
                      <a:pt x="69835" y="161194"/>
                    </a:cubicBezTo>
                    <a:cubicBezTo>
                      <a:pt x="85955" y="167642"/>
                      <a:pt x="202014" y="48358"/>
                      <a:pt x="202014" y="48358"/>
                    </a:cubicBezTo>
                    <a:lnTo>
                      <a:pt x="247149" y="0"/>
                    </a:lnTo>
                    <a:cubicBezTo>
                      <a:pt x="247149" y="0"/>
                      <a:pt x="282611" y="61254"/>
                      <a:pt x="282611" y="83821"/>
                    </a:cubicBezTo>
                    <a:cubicBezTo>
                      <a:pt x="240701" y="138627"/>
                      <a:pt x="185895" y="190209"/>
                      <a:pt x="134313" y="228896"/>
                    </a:cubicBezTo>
                    <a:cubicBezTo>
                      <a:pt x="102074" y="251463"/>
                      <a:pt x="37596" y="280478"/>
                      <a:pt x="27925" y="280478"/>
                    </a:cubicBezTo>
                    <a:cubicBezTo>
                      <a:pt x="18253" y="280478"/>
                      <a:pt x="-7538" y="270806"/>
                      <a:pt x="2133" y="238567"/>
                    </a:cubicBezTo>
                    <a:cubicBezTo>
                      <a:pt x="24701" y="170866"/>
                      <a:pt x="143985" y="3224"/>
                      <a:pt x="143985" y="3224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B8FE2FAB-251B-47B0-A430-545BD9F3B25F}"/>
                  </a:ext>
                </a:extLst>
              </p:cNvPr>
              <p:cNvSpPr/>
              <p:nvPr/>
            </p:nvSpPr>
            <p:spPr>
              <a:xfrm>
                <a:off x="17219164" y="5715113"/>
                <a:ext cx="181584" cy="264709"/>
              </a:xfrm>
              <a:custGeom>
                <a:avLst/>
                <a:gdLst>
                  <a:gd name="connsiteX0" fmla="*/ 41685 w 181584"/>
                  <a:gd name="connsiteY0" fmla="*/ 12896 h 264709"/>
                  <a:gd name="connsiteX1" fmla="*/ 64251 w 181584"/>
                  <a:gd name="connsiteY1" fmla="*/ 125731 h 264709"/>
                  <a:gd name="connsiteX2" fmla="*/ 2998 w 181584"/>
                  <a:gd name="connsiteY2" fmla="*/ 264358 h 264709"/>
                  <a:gd name="connsiteX3" fmla="*/ 170640 w 181584"/>
                  <a:gd name="connsiteY3" fmla="*/ 138627 h 264709"/>
                  <a:gd name="connsiteX4" fmla="*/ 180311 w 181584"/>
                  <a:gd name="connsiteY4" fmla="*/ 103164 h 264709"/>
                  <a:gd name="connsiteX5" fmla="*/ 128729 w 181584"/>
                  <a:gd name="connsiteY5" fmla="*/ 0 h 264709"/>
                  <a:gd name="connsiteX6" fmla="*/ 41685 w 181584"/>
                  <a:gd name="connsiteY6" fmla="*/ 12896 h 264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1584" h="264709">
                    <a:moveTo>
                      <a:pt x="41685" y="12896"/>
                    </a:moveTo>
                    <a:lnTo>
                      <a:pt x="64251" y="125731"/>
                    </a:lnTo>
                    <a:cubicBezTo>
                      <a:pt x="64251" y="125731"/>
                      <a:pt x="-16346" y="251463"/>
                      <a:pt x="2998" y="264358"/>
                    </a:cubicBezTo>
                    <a:cubicBezTo>
                      <a:pt x="19117" y="270806"/>
                      <a:pt x="125506" y="186985"/>
                      <a:pt x="170640" y="138627"/>
                    </a:cubicBezTo>
                    <a:cubicBezTo>
                      <a:pt x="186759" y="122507"/>
                      <a:pt x="180311" y="103164"/>
                      <a:pt x="180311" y="103164"/>
                    </a:cubicBezTo>
                    <a:lnTo>
                      <a:pt x="128729" y="0"/>
                    </a:lnTo>
                    <a:lnTo>
                      <a:pt x="41685" y="12896"/>
                    </a:ln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5" name="图形 1">
              <a:extLst>
                <a:ext uri="{FF2B5EF4-FFF2-40B4-BE49-F238E27FC236}">
                  <a16:creationId xmlns:a16="http://schemas.microsoft.com/office/drawing/2014/main" id="{5825DBCA-C00C-4FCF-B9E4-89F1C6F32C51}"/>
                </a:ext>
              </a:extLst>
            </p:cNvPr>
            <p:cNvGrpSpPr/>
            <p:nvPr/>
          </p:nvGrpSpPr>
          <p:grpSpPr>
            <a:xfrm>
              <a:off x="15544247" y="2713630"/>
              <a:ext cx="283237" cy="689960"/>
              <a:chOff x="15544247" y="2713630"/>
              <a:chExt cx="283237" cy="689960"/>
            </a:xfrm>
          </p:grpSpPr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F2C903E8-CDF7-43BD-867B-44E5BA5B0787}"/>
                  </a:ext>
                </a:extLst>
              </p:cNvPr>
              <p:cNvSpPr/>
              <p:nvPr/>
            </p:nvSpPr>
            <p:spPr>
              <a:xfrm>
                <a:off x="15561864" y="2872756"/>
                <a:ext cx="143968" cy="530834"/>
              </a:xfrm>
              <a:custGeom>
                <a:avLst/>
                <a:gdLst>
                  <a:gd name="connsiteX0" fmla="*/ 12895 w 143968"/>
                  <a:gd name="connsiteY0" fmla="*/ 530834 h 530834"/>
                  <a:gd name="connsiteX1" fmla="*/ 12895 w 143968"/>
                  <a:gd name="connsiteY1" fmla="*/ 530834 h 530834"/>
                  <a:gd name="connsiteX2" fmla="*/ 0 w 143968"/>
                  <a:gd name="connsiteY2" fmla="*/ 517938 h 530834"/>
                  <a:gd name="connsiteX3" fmla="*/ 119284 w 143968"/>
                  <a:gd name="connsiteY3" fmla="*/ 5342 h 530834"/>
                  <a:gd name="connsiteX4" fmla="*/ 138627 w 143968"/>
                  <a:gd name="connsiteY4" fmla="*/ 2118 h 530834"/>
                  <a:gd name="connsiteX5" fmla="*/ 141851 w 143968"/>
                  <a:gd name="connsiteY5" fmla="*/ 21461 h 530834"/>
                  <a:gd name="connsiteX6" fmla="*/ 29015 w 143968"/>
                  <a:gd name="connsiteY6" fmla="*/ 517938 h 530834"/>
                  <a:gd name="connsiteX7" fmla="*/ 12895 w 143968"/>
                  <a:gd name="connsiteY7" fmla="*/ 530834 h 530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968" h="530834">
                    <a:moveTo>
                      <a:pt x="12895" y="530834"/>
                    </a:moveTo>
                    <a:lnTo>
                      <a:pt x="12895" y="530834"/>
                    </a:lnTo>
                    <a:cubicBezTo>
                      <a:pt x="6448" y="530834"/>
                      <a:pt x="0" y="524386"/>
                      <a:pt x="0" y="517938"/>
                    </a:cubicBezTo>
                    <a:cubicBezTo>
                      <a:pt x="0" y="508267"/>
                      <a:pt x="25792" y="137521"/>
                      <a:pt x="119284" y="5342"/>
                    </a:cubicBezTo>
                    <a:cubicBezTo>
                      <a:pt x="122508" y="-1106"/>
                      <a:pt x="132179" y="-1106"/>
                      <a:pt x="138627" y="2118"/>
                    </a:cubicBezTo>
                    <a:cubicBezTo>
                      <a:pt x="145075" y="5342"/>
                      <a:pt x="145075" y="15013"/>
                      <a:pt x="141851" y="21461"/>
                    </a:cubicBezTo>
                    <a:cubicBezTo>
                      <a:pt x="51582" y="147192"/>
                      <a:pt x="29015" y="514715"/>
                      <a:pt x="29015" y="517938"/>
                    </a:cubicBezTo>
                    <a:cubicBezTo>
                      <a:pt x="25792" y="524386"/>
                      <a:pt x="19343" y="530834"/>
                      <a:pt x="12895" y="530834"/>
                    </a:cubicBezTo>
                    <a:close/>
                  </a:path>
                </a:pathLst>
              </a:custGeom>
              <a:solidFill>
                <a:srgbClr val="70868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6643DEA9-2D33-487A-B1BB-852ED6020D1A}"/>
                  </a:ext>
                </a:extLst>
              </p:cNvPr>
              <p:cNvSpPr/>
              <p:nvPr/>
            </p:nvSpPr>
            <p:spPr>
              <a:xfrm>
                <a:off x="15544247" y="2735255"/>
                <a:ext cx="140124" cy="122195"/>
              </a:xfrm>
              <a:custGeom>
                <a:avLst/>
                <a:gdLst>
                  <a:gd name="connsiteX0" fmla="*/ 140124 w 140124"/>
                  <a:gd name="connsiteY0" fmla="*/ 120276 h 122195"/>
                  <a:gd name="connsiteX1" fmla="*/ 11169 w 140124"/>
                  <a:gd name="connsiteY1" fmla="*/ 33231 h 122195"/>
                  <a:gd name="connsiteX2" fmla="*/ 140124 w 140124"/>
                  <a:gd name="connsiteY2" fmla="*/ 120276 h 122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124" h="122195">
                    <a:moveTo>
                      <a:pt x="140124" y="120276"/>
                    </a:moveTo>
                    <a:cubicBezTo>
                      <a:pt x="140124" y="120276"/>
                      <a:pt x="69199" y="-76381"/>
                      <a:pt x="11169" y="33231"/>
                    </a:cubicBezTo>
                    <a:cubicBezTo>
                      <a:pt x="-46861" y="142843"/>
                      <a:pt x="140124" y="120276"/>
                      <a:pt x="140124" y="120276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7BCB5929-68C2-452E-ABBE-BD63B40CDD51}"/>
                  </a:ext>
                </a:extLst>
              </p:cNvPr>
              <p:cNvSpPr/>
              <p:nvPr/>
            </p:nvSpPr>
            <p:spPr>
              <a:xfrm>
                <a:off x="15685560" y="2713630"/>
                <a:ext cx="77448" cy="151572"/>
              </a:xfrm>
              <a:custGeom>
                <a:avLst/>
                <a:gdLst>
                  <a:gd name="connsiteX0" fmla="*/ 5259 w 77448"/>
                  <a:gd name="connsiteY0" fmla="*/ 151572 h 151572"/>
                  <a:gd name="connsiteX1" fmla="*/ 31051 w 77448"/>
                  <a:gd name="connsiteY1" fmla="*/ 50 h 151572"/>
                  <a:gd name="connsiteX2" fmla="*/ 5259 w 77448"/>
                  <a:gd name="connsiteY2" fmla="*/ 151572 h 151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7448" h="151572">
                    <a:moveTo>
                      <a:pt x="5259" y="151572"/>
                    </a:moveTo>
                    <a:cubicBezTo>
                      <a:pt x="5259" y="151572"/>
                      <a:pt x="-17307" y="-3174"/>
                      <a:pt x="31051" y="50"/>
                    </a:cubicBezTo>
                    <a:cubicBezTo>
                      <a:pt x="79409" y="3274"/>
                      <a:pt x="114871" y="67751"/>
                      <a:pt x="5259" y="151572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5CFDC488-D144-4ECC-8AD7-9705BFB18F72}"/>
                  </a:ext>
                </a:extLst>
              </p:cNvPr>
              <p:cNvSpPr/>
              <p:nvPr/>
            </p:nvSpPr>
            <p:spPr>
              <a:xfrm>
                <a:off x="15550229" y="2868426"/>
                <a:ext cx="127694" cy="108188"/>
              </a:xfrm>
              <a:custGeom>
                <a:avLst/>
                <a:gdLst>
                  <a:gd name="connsiteX0" fmla="*/ 127695 w 127694"/>
                  <a:gd name="connsiteY0" fmla="*/ 0 h 108188"/>
                  <a:gd name="connsiteX1" fmla="*/ 5188 w 127694"/>
                  <a:gd name="connsiteY1" fmla="*/ 77373 h 108188"/>
                  <a:gd name="connsiteX2" fmla="*/ 127695 w 127694"/>
                  <a:gd name="connsiteY2" fmla="*/ 0 h 108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7694" h="108188">
                    <a:moveTo>
                      <a:pt x="127695" y="0"/>
                    </a:moveTo>
                    <a:cubicBezTo>
                      <a:pt x="127695" y="0"/>
                      <a:pt x="-30275" y="12896"/>
                      <a:pt x="5188" y="77373"/>
                    </a:cubicBezTo>
                    <a:cubicBezTo>
                      <a:pt x="37426" y="141851"/>
                      <a:pt x="127695" y="99940"/>
                      <a:pt x="127695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685D3B70-56A9-4949-BB9D-C3419006E69B}"/>
                  </a:ext>
                </a:extLst>
              </p:cNvPr>
              <p:cNvSpPr/>
              <p:nvPr/>
            </p:nvSpPr>
            <p:spPr>
              <a:xfrm>
                <a:off x="15671285" y="2878098"/>
                <a:ext cx="74820" cy="117118"/>
              </a:xfrm>
              <a:custGeom>
                <a:avLst/>
                <a:gdLst>
                  <a:gd name="connsiteX0" fmla="*/ 19534 w 74820"/>
                  <a:gd name="connsiteY0" fmla="*/ 0 h 117118"/>
                  <a:gd name="connsiteX1" fmla="*/ 32430 w 74820"/>
                  <a:gd name="connsiteY1" fmla="*/ 116060 h 117118"/>
                  <a:gd name="connsiteX2" fmla="*/ 19534 w 74820"/>
                  <a:gd name="connsiteY2" fmla="*/ 0 h 117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820" h="117118">
                    <a:moveTo>
                      <a:pt x="19534" y="0"/>
                    </a:moveTo>
                    <a:cubicBezTo>
                      <a:pt x="19534" y="0"/>
                      <a:pt x="-32048" y="106388"/>
                      <a:pt x="32430" y="116060"/>
                    </a:cubicBezTo>
                    <a:cubicBezTo>
                      <a:pt x="96907" y="125731"/>
                      <a:pt x="84012" y="67701"/>
                      <a:pt x="19534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F23E526B-ECA7-4F32-9B17-759654F62F21}"/>
                  </a:ext>
                </a:extLst>
              </p:cNvPr>
              <p:cNvSpPr/>
              <p:nvPr/>
            </p:nvSpPr>
            <p:spPr>
              <a:xfrm>
                <a:off x="15703714" y="2826965"/>
                <a:ext cx="123770" cy="73108"/>
              </a:xfrm>
              <a:custGeom>
                <a:avLst/>
                <a:gdLst>
                  <a:gd name="connsiteX0" fmla="*/ 0 w 123770"/>
                  <a:gd name="connsiteY0" fmla="*/ 47909 h 73108"/>
                  <a:gd name="connsiteX1" fmla="*/ 109613 w 123770"/>
                  <a:gd name="connsiteY1" fmla="*/ 12446 h 73108"/>
                  <a:gd name="connsiteX2" fmla="*/ 0 w 123770"/>
                  <a:gd name="connsiteY2" fmla="*/ 47909 h 73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3770" h="73108">
                    <a:moveTo>
                      <a:pt x="0" y="47909"/>
                    </a:moveTo>
                    <a:cubicBezTo>
                      <a:pt x="0" y="47909"/>
                      <a:pt x="70926" y="-29465"/>
                      <a:pt x="109613" y="12446"/>
                    </a:cubicBezTo>
                    <a:cubicBezTo>
                      <a:pt x="148299" y="57580"/>
                      <a:pt x="106389" y="102715"/>
                      <a:pt x="0" y="47909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ADFE0E45-BD22-4FF2-95CD-D43A589B5586}"/>
                  </a:ext>
                </a:extLst>
              </p:cNvPr>
              <p:cNvSpPr/>
              <p:nvPr/>
            </p:nvSpPr>
            <p:spPr>
              <a:xfrm>
                <a:off x="15655356" y="2836187"/>
                <a:ext cx="70925" cy="70925"/>
              </a:xfrm>
              <a:custGeom>
                <a:avLst/>
                <a:gdLst>
                  <a:gd name="connsiteX0" fmla="*/ 70926 w 70925"/>
                  <a:gd name="connsiteY0" fmla="*/ 35463 h 70925"/>
                  <a:gd name="connsiteX1" fmla="*/ 35463 w 70925"/>
                  <a:gd name="connsiteY1" fmla="*/ 0 h 70925"/>
                  <a:gd name="connsiteX2" fmla="*/ 0 w 70925"/>
                  <a:gd name="connsiteY2" fmla="*/ 35463 h 70925"/>
                  <a:gd name="connsiteX3" fmla="*/ 35463 w 70925"/>
                  <a:gd name="connsiteY3" fmla="*/ 70925 h 70925"/>
                  <a:gd name="connsiteX4" fmla="*/ 70926 w 70925"/>
                  <a:gd name="connsiteY4" fmla="*/ 35463 h 70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0925" h="70925">
                    <a:moveTo>
                      <a:pt x="70926" y="35463"/>
                    </a:moveTo>
                    <a:cubicBezTo>
                      <a:pt x="70926" y="16119"/>
                      <a:pt x="54806" y="0"/>
                      <a:pt x="35463" y="0"/>
                    </a:cubicBezTo>
                    <a:cubicBezTo>
                      <a:pt x="16119" y="0"/>
                      <a:pt x="0" y="16119"/>
                      <a:pt x="0" y="35463"/>
                    </a:cubicBezTo>
                    <a:cubicBezTo>
                      <a:pt x="0" y="54806"/>
                      <a:pt x="16119" y="70925"/>
                      <a:pt x="35463" y="70925"/>
                    </a:cubicBezTo>
                    <a:cubicBezTo>
                      <a:pt x="54806" y="70925"/>
                      <a:pt x="70926" y="54806"/>
                      <a:pt x="70926" y="35463"/>
                    </a:cubicBezTo>
                    <a:close/>
                  </a:path>
                </a:pathLst>
              </a:custGeom>
              <a:solidFill>
                <a:srgbClr val="F1DDBA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6" name="图形 1">
              <a:extLst>
                <a:ext uri="{FF2B5EF4-FFF2-40B4-BE49-F238E27FC236}">
                  <a16:creationId xmlns:a16="http://schemas.microsoft.com/office/drawing/2014/main" id="{44277A1C-50A0-40E6-9392-725AE6798650}"/>
                </a:ext>
              </a:extLst>
            </p:cNvPr>
            <p:cNvGrpSpPr/>
            <p:nvPr/>
          </p:nvGrpSpPr>
          <p:grpSpPr>
            <a:xfrm>
              <a:off x="15600101" y="3000524"/>
              <a:ext cx="168302" cy="412738"/>
              <a:chOff x="15600101" y="3000524"/>
              <a:chExt cx="168302" cy="412738"/>
            </a:xfrm>
          </p:grpSpPr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2AA61AC9-9CFE-4E6C-897C-85A0FB0C2292}"/>
                  </a:ext>
                </a:extLst>
              </p:cNvPr>
              <p:cNvSpPr/>
              <p:nvPr/>
            </p:nvSpPr>
            <p:spPr>
              <a:xfrm>
                <a:off x="15606998" y="3094098"/>
                <a:ext cx="87045" cy="319164"/>
              </a:xfrm>
              <a:custGeom>
                <a:avLst/>
                <a:gdLst>
                  <a:gd name="connsiteX0" fmla="*/ 9672 w 87045"/>
                  <a:gd name="connsiteY0" fmla="*/ 319164 h 319164"/>
                  <a:gd name="connsiteX1" fmla="*/ 9672 w 87045"/>
                  <a:gd name="connsiteY1" fmla="*/ 319164 h 319164"/>
                  <a:gd name="connsiteX2" fmla="*/ 0 w 87045"/>
                  <a:gd name="connsiteY2" fmla="*/ 309493 h 319164"/>
                  <a:gd name="connsiteX3" fmla="*/ 70926 w 87045"/>
                  <a:gd name="connsiteY3" fmla="*/ 3224 h 319164"/>
                  <a:gd name="connsiteX4" fmla="*/ 83821 w 87045"/>
                  <a:gd name="connsiteY4" fmla="*/ 0 h 319164"/>
                  <a:gd name="connsiteX5" fmla="*/ 87045 w 87045"/>
                  <a:gd name="connsiteY5" fmla="*/ 12896 h 319164"/>
                  <a:gd name="connsiteX6" fmla="*/ 19343 w 87045"/>
                  <a:gd name="connsiteY6" fmla="*/ 309493 h 319164"/>
                  <a:gd name="connsiteX7" fmla="*/ 9672 w 87045"/>
                  <a:gd name="connsiteY7" fmla="*/ 319164 h 319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7045" h="319164">
                    <a:moveTo>
                      <a:pt x="9672" y="319164"/>
                    </a:moveTo>
                    <a:lnTo>
                      <a:pt x="9672" y="319164"/>
                    </a:lnTo>
                    <a:cubicBezTo>
                      <a:pt x="6448" y="319164"/>
                      <a:pt x="0" y="315940"/>
                      <a:pt x="0" y="309493"/>
                    </a:cubicBezTo>
                    <a:cubicBezTo>
                      <a:pt x="0" y="303045"/>
                      <a:pt x="16119" y="83821"/>
                      <a:pt x="70926" y="3224"/>
                    </a:cubicBezTo>
                    <a:cubicBezTo>
                      <a:pt x="74150" y="0"/>
                      <a:pt x="77374" y="0"/>
                      <a:pt x="83821" y="0"/>
                    </a:cubicBezTo>
                    <a:cubicBezTo>
                      <a:pt x="87045" y="3224"/>
                      <a:pt x="87045" y="6448"/>
                      <a:pt x="87045" y="12896"/>
                    </a:cubicBezTo>
                    <a:cubicBezTo>
                      <a:pt x="32239" y="87045"/>
                      <a:pt x="19343" y="309493"/>
                      <a:pt x="19343" y="309493"/>
                    </a:cubicBezTo>
                    <a:cubicBezTo>
                      <a:pt x="19343" y="315940"/>
                      <a:pt x="12896" y="319164"/>
                      <a:pt x="9672" y="319164"/>
                    </a:cubicBezTo>
                    <a:close/>
                  </a:path>
                </a:pathLst>
              </a:custGeom>
              <a:solidFill>
                <a:srgbClr val="70868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2B76C7E0-0BB3-402D-B1CB-28399CDB3F12}"/>
                  </a:ext>
                </a:extLst>
              </p:cNvPr>
              <p:cNvSpPr/>
              <p:nvPr/>
            </p:nvSpPr>
            <p:spPr>
              <a:xfrm>
                <a:off x="15600101" y="3013342"/>
                <a:ext cx="84270" cy="72136"/>
              </a:xfrm>
              <a:custGeom>
                <a:avLst/>
                <a:gdLst>
                  <a:gd name="connsiteX0" fmla="*/ 84271 w 84270"/>
                  <a:gd name="connsiteY0" fmla="*/ 71084 h 72136"/>
                  <a:gd name="connsiteX1" fmla="*/ 6897 w 84270"/>
                  <a:gd name="connsiteY1" fmla="*/ 19502 h 72136"/>
                  <a:gd name="connsiteX2" fmla="*/ 84271 w 84270"/>
                  <a:gd name="connsiteY2" fmla="*/ 71084 h 72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4270" h="72136">
                    <a:moveTo>
                      <a:pt x="84271" y="71084"/>
                    </a:moveTo>
                    <a:cubicBezTo>
                      <a:pt x="84271" y="71084"/>
                      <a:pt x="42359" y="-44976"/>
                      <a:pt x="6897" y="19502"/>
                    </a:cubicBezTo>
                    <a:cubicBezTo>
                      <a:pt x="-28565" y="83979"/>
                      <a:pt x="84271" y="71084"/>
                      <a:pt x="84271" y="71084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6D16052F-14E4-4FC7-AA09-22E342177ACA}"/>
                  </a:ext>
                </a:extLst>
              </p:cNvPr>
              <p:cNvSpPr/>
              <p:nvPr/>
            </p:nvSpPr>
            <p:spPr>
              <a:xfrm>
                <a:off x="15684739" y="3000524"/>
                <a:ext cx="44809" cy="90350"/>
              </a:xfrm>
              <a:custGeom>
                <a:avLst/>
                <a:gdLst>
                  <a:gd name="connsiteX0" fmla="*/ 2856 w 44809"/>
                  <a:gd name="connsiteY0" fmla="*/ 90350 h 90350"/>
                  <a:gd name="connsiteX1" fmla="*/ 18975 w 44809"/>
                  <a:gd name="connsiteY1" fmla="*/ 82 h 90350"/>
                  <a:gd name="connsiteX2" fmla="*/ 2856 w 44809"/>
                  <a:gd name="connsiteY2" fmla="*/ 90350 h 90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809" h="90350">
                    <a:moveTo>
                      <a:pt x="2856" y="90350"/>
                    </a:moveTo>
                    <a:cubicBezTo>
                      <a:pt x="2856" y="90350"/>
                      <a:pt x="-10040" y="-3142"/>
                      <a:pt x="18975" y="82"/>
                    </a:cubicBezTo>
                    <a:cubicBezTo>
                      <a:pt x="44767" y="82"/>
                      <a:pt x="67333" y="38768"/>
                      <a:pt x="2856" y="9035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5B429550-EBD3-4281-9EE8-A1F57D452B42}"/>
                  </a:ext>
                </a:extLst>
              </p:cNvPr>
              <p:cNvSpPr/>
              <p:nvPr/>
            </p:nvSpPr>
            <p:spPr>
              <a:xfrm>
                <a:off x="15601139" y="3090874"/>
                <a:ext cx="76784" cy="64240"/>
              </a:xfrm>
              <a:custGeom>
                <a:avLst/>
                <a:gdLst>
                  <a:gd name="connsiteX0" fmla="*/ 76784 w 76784"/>
                  <a:gd name="connsiteY0" fmla="*/ 0 h 64240"/>
                  <a:gd name="connsiteX1" fmla="*/ 2635 w 76784"/>
                  <a:gd name="connsiteY1" fmla="*/ 45134 h 64240"/>
                  <a:gd name="connsiteX2" fmla="*/ 76784 w 76784"/>
                  <a:gd name="connsiteY2" fmla="*/ 0 h 64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84" h="64240">
                    <a:moveTo>
                      <a:pt x="76784" y="0"/>
                    </a:moveTo>
                    <a:cubicBezTo>
                      <a:pt x="76784" y="0"/>
                      <a:pt x="-16708" y="6448"/>
                      <a:pt x="2635" y="45134"/>
                    </a:cubicBezTo>
                    <a:cubicBezTo>
                      <a:pt x="21978" y="83821"/>
                      <a:pt x="76784" y="61254"/>
                      <a:pt x="76784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40A31E3C-105E-4E30-84B3-538B3C64C14A}"/>
                  </a:ext>
                </a:extLst>
              </p:cNvPr>
              <p:cNvSpPr/>
              <p:nvPr/>
            </p:nvSpPr>
            <p:spPr>
              <a:xfrm>
                <a:off x="15675001" y="3097322"/>
                <a:ext cx="43948" cy="67945"/>
              </a:xfrm>
              <a:custGeom>
                <a:avLst/>
                <a:gdLst>
                  <a:gd name="connsiteX0" fmla="*/ 12593 w 43948"/>
                  <a:gd name="connsiteY0" fmla="*/ 0 h 67945"/>
                  <a:gd name="connsiteX1" fmla="*/ 19041 w 43948"/>
                  <a:gd name="connsiteY1" fmla="*/ 67701 h 67945"/>
                  <a:gd name="connsiteX2" fmla="*/ 12593 w 43948"/>
                  <a:gd name="connsiteY2" fmla="*/ 0 h 67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948" h="67945">
                    <a:moveTo>
                      <a:pt x="12593" y="0"/>
                    </a:moveTo>
                    <a:cubicBezTo>
                      <a:pt x="12593" y="0"/>
                      <a:pt x="-19646" y="64478"/>
                      <a:pt x="19041" y="67701"/>
                    </a:cubicBezTo>
                    <a:cubicBezTo>
                      <a:pt x="57728" y="70925"/>
                      <a:pt x="48056" y="41910"/>
                      <a:pt x="12593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1CCB223C-3B75-4F6D-BD3D-702BEFCA0146}"/>
                  </a:ext>
                </a:extLst>
              </p:cNvPr>
              <p:cNvSpPr/>
              <p:nvPr/>
            </p:nvSpPr>
            <p:spPr>
              <a:xfrm>
                <a:off x="15694043" y="3070018"/>
                <a:ext cx="74360" cy="42348"/>
              </a:xfrm>
              <a:custGeom>
                <a:avLst/>
                <a:gdLst>
                  <a:gd name="connsiteX0" fmla="*/ 0 w 74360"/>
                  <a:gd name="connsiteY0" fmla="*/ 27304 h 42348"/>
                  <a:gd name="connsiteX1" fmla="*/ 64478 w 74360"/>
                  <a:gd name="connsiteY1" fmla="*/ 7960 h 42348"/>
                  <a:gd name="connsiteX2" fmla="*/ 0 w 74360"/>
                  <a:gd name="connsiteY2" fmla="*/ 27304 h 42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360" h="42348">
                    <a:moveTo>
                      <a:pt x="0" y="27304"/>
                    </a:moveTo>
                    <a:cubicBezTo>
                      <a:pt x="0" y="27304"/>
                      <a:pt x="41910" y="-17831"/>
                      <a:pt x="64478" y="7960"/>
                    </a:cubicBezTo>
                    <a:cubicBezTo>
                      <a:pt x="90268" y="33751"/>
                      <a:pt x="64478" y="59542"/>
                      <a:pt x="0" y="27304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6557859F-3DCB-4B35-850C-2396614B754B}"/>
                  </a:ext>
                </a:extLst>
              </p:cNvPr>
              <p:cNvSpPr/>
              <p:nvPr/>
            </p:nvSpPr>
            <p:spPr>
              <a:xfrm>
                <a:off x="15661804" y="3071531"/>
                <a:ext cx="45134" cy="45134"/>
              </a:xfrm>
              <a:custGeom>
                <a:avLst/>
                <a:gdLst>
                  <a:gd name="connsiteX0" fmla="*/ 45134 w 45134"/>
                  <a:gd name="connsiteY0" fmla="*/ 22567 h 45134"/>
                  <a:gd name="connsiteX1" fmla="*/ 22568 w 45134"/>
                  <a:gd name="connsiteY1" fmla="*/ 0 h 45134"/>
                  <a:gd name="connsiteX2" fmla="*/ 0 w 45134"/>
                  <a:gd name="connsiteY2" fmla="*/ 22567 h 45134"/>
                  <a:gd name="connsiteX3" fmla="*/ 22568 w 45134"/>
                  <a:gd name="connsiteY3" fmla="*/ 45134 h 45134"/>
                  <a:gd name="connsiteX4" fmla="*/ 45134 w 45134"/>
                  <a:gd name="connsiteY4" fmla="*/ 22567 h 45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134" h="45134">
                    <a:moveTo>
                      <a:pt x="45134" y="22567"/>
                    </a:moveTo>
                    <a:cubicBezTo>
                      <a:pt x="45134" y="9672"/>
                      <a:pt x="35463" y="0"/>
                      <a:pt x="22568" y="0"/>
                    </a:cubicBezTo>
                    <a:cubicBezTo>
                      <a:pt x="9671" y="0"/>
                      <a:pt x="0" y="9672"/>
                      <a:pt x="0" y="22567"/>
                    </a:cubicBezTo>
                    <a:cubicBezTo>
                      <a:pt x="0" y="35463"/>
                      <a:pt x="9671" y="45134"/>
                      <a:pt x="22568" y="45134"/>
                    </a:cubicBezTo>
                    <a:cubicBezTo>
                      <a:pt x="35463" y="45134"/>
                      <a:pt x="45134" y="35463"/>
                      <a:pt x="45134" y="22567"/>
                    </a:cubicBezTo>
                    <a:close/>
                  </a:path>
                </a:pathLst>
              </a:custGeom>
              <a:solidFill>
                <a:srgbClr val="F1DDBA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7" name="图形 1">
              <a:extLst>
                <a:ext uri="{FF2B5EF4-FFF2-40B4-BE49-F238E27FC236}">
                  <a16:creationId xmlns:a16="http://schemas.microsoft.com/office/drawing/2014/main" id="{FF5EAEE5-95D9-46D1-AB32-35EDE5772EBE}"/>
                </a:ext>
              </a:extLst>
            </p:cNvPr>
            <p:cNvGrpSpPr/>
            <p:nvPr/>
          </p:nvGrpSpPr>
          <p:grpSpPr>
            <a:xfrm>
              <a:off x="15351176" y="2832735"/>
              <a:ext cx="291284" cy="565286"/>
              <a:chOff x="15351176" y="2832735"/>
              <a:chExt cx="291284" cy="565286"/>
            </a:xfrm>
          </p:grpSpPr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18DDF134-0392-4CD2-A75D-50976BD01CAC}"/>
                  </a:ext>
                </a:extLst>
              </p:cNvPr>
              <p:cNvSpPr/>
              <p:nvPr/>
            </p:nvSpPr>
            <p:spPr>
              <a:xfrm>
                <a:off x="15459506" y="2965949"/>
                <a:ext cx="182954" cy="432072"/>
              </a:xfrm>
              <a:custGeom>
                <a:avLst/>
                <a:gdLst>
                  <a:gd name="connsiteX0" fmla="*/ 173284 w 182954"/>
                  <a:gd name="connsiteY0" fmla="*/ 431194 h 432072"/>
                  <a:gd name="connsiteX1" fmla="*/ 173284 w 182954"/>
                  <a:gd name="connsiteY1" fmla="*/ 431194 h 432072"/>
                  <a:gd name="connsiteX2" fmla="*/ 182955 w 182954"/>
                  <a:gd name="connsiteY2" fmla="*/ 418299 h 432072"/>
                  <a:gd name="connsiteX3" fmla="*/ 18537 w 182954"/>
                  <a:gd name="connsiteY3" fmla="*/ 2418 h 432072"/>
                  <a:gd name="connsiteX4" fmla="*/ 2417 w 182954"/>
                  <a:gd name="connsiteY4" fmla="*/ 2418 h 432072"/>
                  <a:gd name="connsiteX5" fmla="*/ 2417 w 182954"/>
                  <a:gd name="connsiteY5" fmla="*/ 18537 h 432072"/>
                  <a:gd name="connsiteX6" fmla="*/ 160388 w 182954"/>
                  <a:gd name="connsiteY6" fmla="*/ 424746 h 432072"/>
                  <a:gd name="connsiteX7" fmla="*/ 173284 w 182954"/>
                  <a:gd name="connsiteY7" fmla="*/ 431194 h 432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2954" h="432072">
                    <a:moveTo>
                      <a:pt x="173284" y="431194"/>
                    </a:moveTo>
                    <a:lnTo>
                      <a:pt x="173284" y="431194"/>
                    </a:lnTo>
                    <a:cubicBezTo>
                      <a:pt x="179731" y="431194"/>
                      <a:pt x="182955" y="424746"/>
                      <a:pt x="182955" y="418299"/>
                    </a:cubicBezTo>
                    <a:cubicBezTo>
                      <a:pt x="179731" y="408627"/>
                      <a:pt x="115253" y="102358"/>
                      <a:pt x="18537" y="2418"/>
                    </a:cubicBezTo>
                    <a:cubicBezTo>
                      <a:pt x="15314" y="-806"/>
                      <a:pt x="5641" y="-806"/>
                      <a:pt x="2417" y="2418"/>
                    </a:cubicBezTo>
                    <a:cubicBezTo>
                      <a:pt x="-806" y="5642"/>
                      <a:pt x="-806" y="15313"/>
                      <a:pt x="2417" y="18537"/>
                    </a:cubicBezTo>
                    <a:cubicBezTo>
                      <a:pt x="95911" y="115254"/>
                      <a:pt x="160388" y="421522"/>
                      <a:pt x="160388" y="424746"/>
                    </a:cubicBezTo>
                    <a:cubicBezTo>
                      <a:pt x="160388" y="427970"/>
                      <a:pt x="166835" y="434418"/>
                      <a:pt x="173284" y="431194"/>
                    </a:cubicBezTo>
                    <a:close/>
                  </a:path>
                </a:pathLst>
              </a:custGeom>
              <a:solidFill>
                <a:srgbClr val="70868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BB9A5284-6E59-4966-A2F9-5C201915E7F6}"/>
                  </a:ext>
                </a:extLst>
              </p:cNvPr>
              <p:cNvSpPr/>
              <p:nvPr/>
            </p:nvSpPr>
            <p:spPr>
              <a:xfrm>
                <a:off x="15471595" y="2835937"/>
                <a:ext cx="113829" cy="113086"/>
              </a:xfrm>
              <a:custGeom>
                <a:avLst/>
                <a:gdLst>
                  <a:gd name="connsiteX0" fmla="*/ 0 w 113829"/>
                  <a:gd name="connsiteY0" fmla="*/ 113086 h 113086"/>
                  <a:gd name="connsiteX1" fmla="*/ 99940 w 113829"/>
                  <a:gd name="connsiteY1" fmla="*/ 22818 h 113086"/>
                  <a:gd name="connsiteX2" fmla="*/ 0 w 113829"/>
                  <a:gd name="connsiteY2" fmla="*/ 113086 h 113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3829" h="113086">
                    <a:moveTo>
                      <a:pt x="0" y="113086"/>
                    </a:moveTo>
                    <a:cubicBezTo>
                      <a:pt x="0" y="113086"/>
                      <a:pt x="35463" y="-61003"/>
                      <a:pt x="99940" y="22818"/>
                    </a:cubicBezTo>
                    <a:cubicBezTo>
                      <a:pt x="161194" y="106639"/>
                      <a:pt x="0" y="113086"/>
                      <a:pt x="0" y="113086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F68F302F-B854-4933-AFD3-DE2B7AB1B45B}"/>
                  </a:ext>
                </a:extLst>
              </p:cNvPr>
              <p:cNvSpPr/>
              <p:nvPr/>
            </p:nvSpPr>
            <p:spPr>
              <a:xfrm>
                <a:off x="15391564" y="2832735"/>
                <a:ext cx="76807" cy="125959"/>
              </a:xfrm>
              <a:custGeom>
                <a:avLst/>
                <a:gdLst>
                  <a:gd name="connsiteX0" fmla="*/ 76808 w 76807"/>
                  <a:gd name="connsiteY0" fmla="*/ 125960 h 125959"/>
                  <a:gd name="connsiteX1" fmla="*/ 34897 w 76807"/>
                  <a:gd name="connsiteY1" fmla="*/ 228 h 125959"/>
                  <a:gd name="connsiteX2" fmla="*/ 76808 w 76807"/>
                  <a:gd name="connsiteY2" fmla="*/ 125960 h 125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807" h="125959">
                    <a:moveTo>
                      <a:pt x="76808" y="125960"/>
                    </a:moveTo>
                    <a:cubicBezTo>
                      <a:pt x="76808" y="125960"/>
                      <a:pt x="76808" y="-6219"/>
                      <a:pt x="34897" y="228"/>
                    </a:cubicBezTo>
                    <a:cubicBezTo>
                      <a:pt x="-7014" y="9900"/>
                      <a:pt x="-29580" y="67930"/>
                      <a:pt x="76808" y="12596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67293641-5F10-4B76-9CB8-F87E9F6AFB94}"/>
                  </a:ext>
                </a:extLst>
              </p:cNvPr>
              <p:cNvSpPr/>
              <p:nvPr/>
            </p:nvSpPr>
            <p:spPr>
              <a:xfrm>
                <a:off x="15478042" y="2958090"/>
                <a:ext cx="117951" cy="82681"/>
              </a:xfrm>
              <a:custGeom>
                <a:avLst/>
                <a:gdLst>
                  <a:gd name="connsiteX0" fmla="*/ 0 w 117951"/>
                  <a:gd name="connsiteY0" fmla="*/ 604 h 82681"/>
                  <a:gd name="connsiteX1" fmla="*/ 116060 w 117951"/>
                  <a:gd name="connsiteY1" fmla="*/ 48963 h 82681"/>
                  <a:gd name="connsiteX2" fmla="*/ 0 w 117951"/>
                  <a:gd name="connsiteY2" fmla="*/ 604 h 82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7951" h="82681">
                    <a:moveTo>
                      <a:pt x="0" y="604"/>
                    </a:moveTo>
                    <a:cubicBezTo>
                      <a:pt x="0" y="604"/>
                      <a:pt x="135403" y="-9067"/>
                      <a:pt x="116060" y="48963"/>
                    </a:cubicBezTo>
                    <a:cubicBezTo>
                      <a:pt x="96716" y="110216"/>
                      <a:pt x="12896" y="84425"/>
                      <a:pt x="0" y="604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6BA6E1C6-9DFC-44CE-BE34-9A54CCE0E82B}"/>
                  </a:ext>
                </a:extLst>
              </p:cNvPr>
              <p:cNvSpPr/>
              <p:nvPr/>
            </p:nvSpPr>
            <p:spPr>
              <a:xfrm>
                <a:off x="15433715" y="2971590"/>
                <a:ext cx="61429" cy="102790"/>
              </a:xfrm>
              <a:custGeom>
                <a:avLst/>
                <a:gdLst>
                  <a:gd name="connsiteX0" fmla="*/ 34657 w 61429"/>
                  <a:gd name="connsiteY0" fmla="*/ 0 h 102790"/>
                  <a:gd name="connsiteX1" fmla="*/ 37881 w 61429"/>
                  <a:gd name="connsiteY1" fmla="*/ 99940 h 102790"/>
                  <a:gd name="connsiteX2" fmla="*/ 34657 w 61429"/>
                  <a:gd name="connsiteY2" fmla="*/ 0 h 102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1429" h="102790">
                    <a:moveTo>
                      <a:pt x="34657" y="0"/>
                    </a:moveTo>
                    <a:cubicBezTo>
                      <a:pt x="34657" y="0"/>
                      <a:pt x="92686" y="83821"/>
                      <a:pt x="37881" y="99940"/>
                    </a:cubicBezTo>
                    <a:cubicBezTo>
                      <a:pt x="-13702" y="116060"/>
                      <a:pt x="-10478" y="61254"/>
                      <a:pt x="34657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17804FF9-2DAE-4A1B-99B8-386A4CCE302B}"/>
                  </a:ext>
                </a:extLst>
              </p:cNvPr>
              <p:cNvSpPr/>
              <p:nvPr/>
            </p:nvSpPr>
            <p:spPr>
              <a:xfrm>
                <a:off x="15351176" y="2937043"/>
                <a:ext cx="104299" cy="64215"/>
              </a:xfrm>
              <a:custGeom>
                <a:avLst/>
                <a:gdLst>
                  <a:gd name="connsiteX0" fmla="*/ 104299 w 104299"/>
                  <a:gd name="connsiteY0" fmla="*/ 31323 h 64215"/>
                  <a:gd name="connsiteX1" fmla="*/ 7583 w 104299"/>
                  <a:gd name="connsiteY1" fmla="*/ 15204 h 64215"/>
                  <a:gd name="connsiteX2" fmla="*/ 104299 w 104299"/>
                  <a:gd name="connsiteY2" fmla="*/ 31323 h 64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299" h="64215">
                    <a:moveTo>
                      <a:pt x="104299" y="31323"/>
                    </a:moveTo>
                    <a:cubicBezTo>
                      <a:pt x="104299" y="31323"/>
                      <a:pt x="36598" y="-26707"/>
                      <a:pt x="7583" y="15204"/>
                    </a:cubicBezTo>
                    <a:cubicBezTo>
                      <a:pt x="-18209" y="57114"/>
                      <a:pt x="23702" y="92577"/>
                      <a:pt x="104299" y="31323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15C1F34F-B263-4F1D-93CE-640D2D530659}"/>
                  </a:ext>
                </a:extLst>
              </p:cNvPr>
              <p:cNvSpPr/>
              <p:nvPr/>
            </p:nvSpPr>
            <p:spPr>
              <a:xfrm>
                <a:off x="15435635" y="2932406"/>
                <a:ext cx="62248" cy="62248"/>
              </a:xfrm>
              <a:custGeom>
                <a:avLst/>
                <a:gdLst>
                  <a:gd name="connsiteX0" fmla="*/ 497 w 62248"/>
                  <a:gd name="connsiteY0" fmla="*/ 35960 h 62248"/>
                  <a:gd name="connsiteX1" fmla="*/ 26288 w 62248"/>
                  <a:gd name="connsiteY1" fmla="*/ 497 h 62248"/>
                  <a:gd name="connsiteX2" fmla="*/ 61751 w 62248"/>
                  <a:gd name="connsiteY2" fmla="*/ 26288 h 62248"/>
                  <a:gd name="connsiteX3" fmla="*/ 35960 w 62248"/>
                  <a:gd name="connsiteY3" fmla="*/ 61751 h 62248"/>
                  <a:gd name="connsiteX4" fmla="*/ 497 w 62248"/>
                  <a:gd name="connsiteY4" fmla="*/ 35960 h 62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48" h="62248">
                    <a:moveTo>
                      <a:pt x="497" y="35960"/>
                    </a:moveTo>
                    <a:cubicBezTo>
                      <a:pt x="-2727" y="19841"/>
                      <a:pt x="10169" y="3721"/>
                      <a:pt x="26288" y="497"/>
                    </a:cubicBezTo>
                    <a:cubicBezTo>
                      <a:pt x="42407" y="-2727"/>
                      <a:pt x="58527" y="10169"/>
                      <a:pt x="61751" y="26288"/>
                    </a:cubicBezTo>
                    <a:cubicBezTo>
                      <a:pt x="64975" y="42408"/>
                      <a:pt x="52080" y="58527"/>
                      <a:pt x="35960" y="61751"/>
                    </a:cubicBezTo>
                    <a:cubicBezTo>
                      <a:pt x="19841" y="64975"/>
                      <a:pt x="3721" y="52079"/>
                      <a:pt x="497" y="35960"/>
                    </a:cubicBezTo>
                    <a:close/>
                  </a:path>
                </a:pathLst>
              </a:custGeom>
              <a:solidFill>
                <a:srgbClr val="F1DDBA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8" name="图形 1">
              <a:extLst>
                <a:ext uri="{FF2B5EF4-FFF2-40B4-BE49-F238E27FC236}">
                  <a16:creationId xmlns:a16="http://schemas.microsoft.com/office/drawing/2014/main" id="{09241728-EFEE-43B8-98F1-AC8DFAA2B0E8}"/>
                </a:ext>
              </a:extLst>
            </p:cNvPr>
            <p:cNvGrpSpPr/>
            <p:nvPr/>
          </p:nvGrpSpPr>
          <p:grpSpPr>
            <a:xfrm>
              <a:off x="15552192" y="3198421"/>
              <a:ext cx="134596" cy="118241"/>
              <a:chOff x="15552192" y="3198421"/>
              <a:chExt cx="134596" cy="118241"/>
            </a:xfrm>
          </p:grpSpPr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57BB68E1-C493-4911-A5D6-422A5848918C}"/>
                  </a:ext>
                </a:extLst>
              </p:cNvPr>
              <p:cNvSpPr/>
              <p:nvPr/>
            </p:nvSpPr>
            <p:spPr>
              <a:xfrm>
                <a:off x="15563553" y="3202700"/>
                <a:ext cx="122264" cy="113962"/>
              </a:xfrm>
              <a:custGeom>
                <a:avLst/>
                <a:gdLst>
                  <a:gd name="connsiteX0" fmla="*/ 1535 w 122264"/>
                  <a:gd name="connsiteY0" fmla="*/ 49368 h 113962"/>
                  <a:gd name="connsiteX1" fmla="*/ 24102 w 122264"/>
                  <a:gd name="connsiteY1" fmla="*/ 46144 h 113962"/>
                  <a:gd name="connsiteX2" fmla="*/ 72461 w 122264"/>
                  <a:gd name="connsiteY2" fmla="*/ 59040 h 113962"/>
                  <a:gd name="connsiteX3" fmla="*/ 85356 w 122264"/>
                  <a:gd name="connsiteY3" fmla="*/ 113846 h 113962"/>
                  <a:gd name="connsiteX4" fmla="*/ 120819 w 122264"/>
                  <a:gd name="connsiteY4" fmla="*/ 39696 h 113962"/>
                  <a:gd name="connsiteX5" fmla="*/ 43445 w 122264"/>
                  <a:gd name="connsiteY5" fmla="*/ 1010 h 113962"/>
                  <a:gd name="connsiteX6" fmla="*/ 1535 w 122264"/>
                  <a:gd name="connsiteY6" fmla="*/ 49368 h 113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264" h="113962">
                    <a:moveTo>
                      <a:pt x="1535" y="49368"/>
                    </a:moveTo>
                    <a:cubicBezTo>
                      <a:pt x="4759" y="55816"/>
                      <a:pt x="17654" y="46144"/>
                      <a:pt x="24102" y="46144"/>
                    </a:cubicBezTo>
                    <a:cubicBezTo>
                      <a:pt x="43445" y="42920"/>
                      <a:pt x="59564" y="42920"/>
                      <a:pt x="72461" y="59040"/>
                    </a:cubicBezTo>
                    <a:cubicBezTo>
                      <a:pt x="66013" y="78383"/>
                      <a:pt x="75684" y="104174"/>
                      <a:pt x="85356" y="113846"/>
                    </a:cubicBezTo>
                    <a:cubicBezTo>
                      <a:pt x="88580" y="117069"/>
                      <a:pt x="130490" y="52592"/>
                      <a:pt x="120819" y="39696"/>
                    </a:cubicBezTo>
                    <a:cubicBezTo>
                      <a:pt x="107923" y="20353"/>
                      <a:pt x="69237" y="-5438"/>
                      <a:pt x="43445" y="1010"/>
                    </a:cubicBezTo>
                    <a:cubicBezTo>
                      <a:pt x="30550" y="1010"/>
                      <a:pt x="-8136" y="33249"/>
                      <a:pt x="1535" y="49368"/>
                    </a:cubicBez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8FC6632D-A7D5-4BB5-B9EF-519AD22CEE37}"/>
                  </a:ext>
                </a:extLst>
              </p:cNvPr>
              <p:cNvSpPr/>
              <p:nvPr/>
            </p:nvSpPr>
            <p:spPr>
              <a:xfrm>
                <a:off x="15552192" y="3198421"/>
                <a:ext cx="134596" cy="108453"/>
              </a:xfrm>
              <a:custGeom>
                <a:avLst/>
                <a:gdLst>
                  <a:gd name="connsiteX0" fmla="*/ 87044 w 134596"/>
                  <a:gd name="connsiteY0" fmla="*/ 108453 h 108453"/>
                  <a:gd name="connsiteX1" fmla="*/ 80597 w 134596"/>
                  <a:gd name="connsiteY1" fmla="*/ 105229 h 108453"/>
                  <a:gd name="connsiteX2" fmla="*/ 77373 w 134596"/>
                  <a:gd name="connsiteY2" fmla="*/ 66543 h 108453"/>
                  <a:gd name="connsiteX3" fmla="*/ 32239 w 134596"/>
                  <a:gd name="connsiteY3" fmla="*/ 63319 h 108453"/>
                  <a:gd name="connsiteX4" fmla="*/ 6447 w 134596"/>
                  <a:gd name="connsiteY4" fmla="*/ 63319 h 108453"/>
                  <a:gd name="connsiteX5" fmla="*/ 0 w 134596"/>
                  <a:gd name="connsiteY5" fmla="*/ 47200 h 108453"/>
                  <a:gd name="connsiteX6" fmla="*/ 48358 w 134596"/>
                  <a:gd name="connsiteY6" fmla="*/ 2065 h 108453"/>
                  <a:gd name="connsiteX7" fmla="*/ 132179 w 134596"/>
                  <a:gd name="connsiteY7" fmla="*/ 43976 h 108453"/>
                  <a:gd name="connsiteX8" fmla="*/ 132179 w 134596"/>
                  <a:gd name="connsiteY8" fmla="*/ 53647 h 108453"/>
                  <a:gd name="connsiteX9" fmla="*/ 122507 w 134596"/>
                  <a:gd name="connsiteY9" fmla="*/ 53647 h 108453"/>
                  <a:gd name="connsiteX10" fmla="*/ 51582 w 134596"/>
                  <a:gd name="connsiteY10" fmla="*/ 14961 h 108453"/>
                  <a:gd name="connsiteX11" fmla="*/ 9671 w 134596"/>
                  <a:gd name="connsiteY11" fmla="*/ 50423 h 108453"/>
                  <a:gd name="connsiteX12" fmla="*/ 9671 w 134596"/>
                  <a:gd name="connsiteY12" fmla="*/ 53647 h 108453"/>
                  <a:gd name="connsiteX13" fmla="*/ 25791 w 134596"/>
                  <a:gd name="connsiteY13" fmla="*/ 50423 h 108453"/>
                  <a:gd name="connsiteX14" fmla="*/ 83821 w 134596"/>
                  <a:gd name="connsiteY14" fmla="*/ 60095 h 108453"/>
                  <a:gd name="connsiteX15" fmla="*/ 87044 w 134596"/>
                  <a:gd name="connsiteY15" fmla="*/ 66543 h 108453"/>
                  <a:gd name="connsiteX16" fmla="*/ 87044 w 134596"/>
                  <a:gd name="connsiteY16" fmla="*/ 98782 h 108453"/>
                  <a:gd name="connsiteX17" fmla="*/ 83821 w 134596"/>
                  <a:gd name="connsiteY17" fmla="*/ 108453 h 108453"/>
                  <a:gd name="connsiteX18" fmla="*/ 87044 w 134596"/>
                  <a:gd name="connsiteY18" fmla="*/ 108453 h 108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34596" h="108453">
                    <a:moveTo>
                      <a:pt x="87044" y="108453"/>
                    </a:moveTo>
                    <a:cubicBezTo>
                      <a:pt x="83821" y="108453"/>
                      <a:pt x="83821" y="108453"/>
                      <a:pt x="80597" y="105229"/>
                    </a:cubicBezTo>
                    <a:cubicBezTo>
                      <a:pt x="70925" y="92334"/>
                      <a:pt x="74149" y="72991"/>
                      <a:pt x="77373" y="66543"/>
                    </a:cubicBezTo>
                    <a:cubicBezTo>
                      <a:pt x="61254" y="53647"/>
                      <a:pt x="48358" y="60095"/>
                      <a:pt x="32239" y="63319"/>
                    </a:cubicBezTo>
                    <a:cubicBezTo>
                      <a:pt x="22567" y="66543"/>
                      <a:pt x="12895" y="66543"/>
                      <a:pt x="6447" y="63319"/>
                    </a:cubicBezTo>
                    <a:cubicBezTo>
                      <a:pt x="3224" y="60095"/>
                      <a:pt x="0" y="53647"/>
                      <a:pt x="0" y="47200"/>
                    </a:cubicBezTo>
                    <a:cubicBezTo>
                      <a:pt x="3224" y="34304"/>
                      <a:pt x="19343" y="11737"/>
                      <a:pt x="48358" y="2065"/>
                    </a:cubicBezTo>
                    <a:cubicBezTo>
                      <a:pt x="83821" y="-10830"/>
                      <a:pt x="132179" y="40752"/>
                      <a:pt x="132179" y="43976"/>
                    </a:cubicBezTo>
                    <a:cubicBezTo>
                      <a:pt x="135402" y="47200"/>
                      <a:pt x="135402" y="50423"/>
                      <a:pt x="132179" y="53647"/>
                    </a:cubicBezTo>
                    <a:cubicBezTo>
                      <a:pt x="128955" y="56871"/>
                      <a:pt x="125731" y="56871"/>
                      <a:pt x="122507" y="53647"/>
                    </a:cubicBezTo>
                    <a:cubicBezTo>
                      <a:pt x="109612" y="40752"/>
                      <a:pt x="77373" y="8513"/>
                      <a:pt x="51582" y="14961"/>
                    </a:cubicBezTo>
                    <a:cubicBezTo>
                      <a:pt x="29015" y="24632"/>
                      <a:pt x="12895" y="40752"/>
                      <a:pt x="9671" y="50423"/>
                    </a:cubicBezTo>
                    <a:cubicBezTo>
                      <a:pt x="9671" y="53647"/>
                      <a:pt x="9671" y="53647"/>
                      <a:pt x="9671" y="53647"/>
                    </a:cubicBezTo>
                    <a:cubicBezTo>
                      <a:pt x="12895" y="53647"/>
                      <a:pt x="19343" y="53647"/>
                      <a:pt x="25791" y="50423"/>
                    </a:cubicBezTo>
                    <a:cubicBezTo>
                      <a:pt x="41910" y="47200"/>
                      <a:pt x="64478" y="40752"/>
                      <a:pt x="83821" y="60095"/>
                    </a:cubicBezTo>
                    <a:cubicBezTo>
                      <a:pt x="87044" y="63319"/>
                      <a:pt x="87044" y="63319"/>
                      <a:pt x="87044" y="66543"/>
                    </a:cubicBezTo>
                    <a:cubicBezTo>
                      <a:pt x="83821" y="72991"/>
                      <a:pt x="80597" y="89110"/>
                      <a:pt x="87044" y="98782"/>
                    </a:cubicBezTo>
                    <a:cubicBezTo>
                      <a:pt x="90268" y="102006"/>
                      <a:pt x="87044" y="105229"/>
                      <a:pt x="83821" y="108453"/>
                    </a:cubicBezTo>
                    <a:cubicBezTo>
                      <a:pt x="90268" y="108453"/>
                      <a:pt x="87044" y="108453"/>
                      <a:pt x="87044" y="10845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9" name="图形 1">
              <a:extLst>
                <a:ext uri="{FF2B5EF4-FFF2-40B4-BE49-F238E27FC236}">
                  <a16:creationId xmlns:a16="http://schemas.microsoft.com/office/drawing/2014/main" id="{6F6A2E9A-E3CC-44D3-A287-1B3A7F5478AA}"/>
                </a:ext>
              </a:extLst>
            </p:cNvPr>
            <p:cNvGrpSpPr/>
            <p:nvPr/>
          </p:nvGrpSpPr>
          <p:grpSpPr>
            <a:xfrm>
              <a:off x="10619305" y="4113668"/>
              <a:ext cx="1647446" cy="1930280"/>
              <a:chOff x="10619305" y="4113668"/>
              <a:chExt cx="1647446" cy="1930280"/>
            </a:xfrm>
          </p:grpSpPr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182C59FC-DF58-4A07-98A1-40B441F6C847}"/>
                  </a:ext>
                </a:extLst>
              </p:cNvPr>
              <p:cNvSpPr/>
              <p:nvPr/>
            </p:nvSpPr>
            <p:spPr>
              <a:xfrm>
                <a:off x="10619305" y="4261231"/>
                <a:ext cx="620581" cy="609370"/>
              </a:xfrm>
              <a:custGeom>
                <a:avLst/>
                <a:gdLst>
                  <a:gd name="connsiteX0" fmla="*/ 535515 w 620581"/>
                  <a:gd name="connsiteY0" fmla="*/ 348090 h 609370"/>
                  <a:gd name="connsiteX1" fmla="*/ 567754 w 620581"/>
                  <a:gd name="connsiteY1" fmla="*/ 144986 h 609370"/>
                  <a:gd name="connsiteX2" fmla="*/ 400111 w 620581"/>
                  <a:gd name="connsiteY2" fmla="*/ 80508 h 609370"/>
                  <a:gd name="connsiteX3" fmla="*/ 213127 w 620581"/>
                  <a:gd name="connsiteY3" fmla="*/ 12807 h 609370"/>
                  <a:gd name="connsiteX4" fmla="*/ 116410 w 620581"/>
                  <a:gd name="connsiteY4" fmla="*/ 209463 h 609370"/>
                  <a:gd name="connsiteX5" fmla="*/ 350 w 620581"/>
                  <a:gd name="connsiteY5" fmla="*/ 315851 h 609370"/>
                  <a:gd name="connsiteX6" fmla="*/ 45484 w 620581"/>
                  <a:gd name="connsiteY6" fmla="*/ 428687 h 609370"/>
                  <a:gd name="connsiteX7" fmla="*/ 251813 w 620581"/>
                  <a:gd name="connsiteY7" fmla="*/ 570538 h 609370"/>
                  <a:gd name="connsiteX8" fmla="*/ 529067 w 620581"/>
                  <a:gd name="connsiteY8" fmla="*/ 573762 h 609370"/>
                  <a:gd name="connsiteX9" fmla="*/ 535515 w 620581"/>
                  <a:gd name="connsiteY9" fmla="*/ 348090 h 609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0581" h="609370">
                    <a:moveTo>
                      <a:pt x="535515" y="348090"/>
                    </a:moveTo>
                    <a:cubicBezTo>
                      <a:pt x="580649" y="290060"/>
                      <a:pt x="606439" y="215911"/>
                      <a:pt x="567754" y="144986"/>
                    </a:cubicBezTo>
                    <a:cubicBezTo>
                      <a:pt x="532291" y="77284"/>
                      <a:pt x="464589" y="61165"/>
                      <a:pt x="400111" y="80508"/>
                    </a:cubicBezTo>
                    <a:cubicBezTo>
                      <a:pt x="377544" y="3135"/>
                      <a:pt x="287275" y="-16208"/>
                      <a:pt x="213127" y="12807"/>
                    </a:cubicBezTo>
                    <a:cubicBezTo>
                      <a:pt x="119633" y="45045"/>
                      <a:pt x="100291" y="122419"/>
                      <a:pt x="116410" y="209463"/>
                    </a:cubicBezTo>
                    <a:cubicBezTo>
                      <a:pt x="55156" y="206239"/>
                      <a:pt x="3574" y="251374"/>
                      <a:pt x="350" y="315851"/>
                    </a:cubicBezTo>
                    <a:cubicBezTo>
                      <a:pt x="-2874" y="360986"/>
                      <a:pt x="16470" y="399672"/>
                      <a:pt x="45484" y="428687"/>
                    </a:cubicBezTo>
                    <a:cubicBezTo>
                      <a:pt x="42260" y="538299"/>
                      <a:pt x="184111" y="625344"/>
                      <a:pt x="251813" y="570538"/>
                    </a:cubicBezTo>
                    <a:cubicBezTo>
                      <a:pt x="296947" y="638239"/>
                      <a:pt x="471037" y="602777"/>
                      <a:pt x="529067" y="573762"/>
                    </a:cubicBezTo>
                    <a:cubicBezTo>
                      <a:pt x="648351" y="522180"/>
                      <a:pt x="651574" y="373881"/>
                      <a:pt x="535515" y="348090"/>
                    </a:cubicBezTo>
                    <a:close/>
                  </a:path>
                </a:pathLst>
              </a:custGeom>
              <a:solidFill>
                <a:srgbClr val="70868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A2BDEEBE-2D40-4126-9FB7-10687A052045}"/>
                  </a:ext>
                </a:extLst>
              </p:cNvPr>
              <p:cNvSpPr/>
              <p:nvPr/>
            </p:nvSpPr>
            <p:spPr>
              <a:xfrm>
                <a:off x="10928797" y="4138724"/>
                <a:ext cx="620580" cy="609370"/>
              </a:xfrm>
              <a:custGeom>
                <a:avLst/>
                <a:gdLst>
                  <a:gd name="connsiteX0" fmla="*/ 535514 w 620580"/>
                  <a:gd name="connsiteY0" fmla="*/ 348090 h 609370"/>
                  <a:gd name="connsiteX1" fmla="*/ 567753 w 620580"/>
                  <a:gd name="connsiteY1" fmla="*/ 144986 h 609370"/>
                  <a:gd name="connsiteX2" fmla="*/ 400111 w 620580"/>
                  <a:gd name="connsiteY2" fmla="*/ 80508 h 609370"/>
                  <a:gd name="connsiteX3" fmla="*/ 213126 w 620580"/>
                  <a:gd name="connsiteY3" fmla="*/ 12807 h 609370"/>
                  <a:gd name="connsiteX4" fmla="*/ 116409 w 620580"/>
                  <a:gd name="connsiteY4" fmla="*/ 209463 h 609370"/>
                  <a:gd name="connsiteX5" fmla="*/ 350 w 620580"/>
                  <a:gd name="connsiteY5" fmla="*/ 315852 h 609370"/>
                  <a:gd name="connsiteX6" fmla="*/ 45484 w 620580"/>
                  <a:gd name="connsiteY6" fmla="*/ 428687 h 609370"/>
                  <a:gd name="connsiteX7" fmla="*/ 251813 w 620580"/>
                  <a:gd name="connsiteY7" fmla="*/ 570538 h 609370"/>
                  <a:gd name="connsiteX8" fmla="*/ 529067 w 620580"/>
                  <a:gd name="connsiteY8" fmla="*/ 573762 h 609370"/>
                  <a:gd name="connsiteX9" fmla="*/ 535514 w 620580"/>
                  <a:gd name="connsiteY9" fmla="*/ 348090 h 609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0580" h="609370">
                    <a:moveTo>
                      <a:pt x="535514" y="348090"/>
                    </a:moveTo>
                    <a:cubicBezTo>
                      <a:pt x="580649" y="290060"/>
                      <a:pt x="606439" y="215911"/>
                      <a:pt x="567753" y="144986"/>
                    </a:cubicBezTo>
                    <a:cubicBezTo>
                      <a:pt x="532291" y="77284"/>
                      <a:pt x="464589" y="61165"/>
                      <a:pt x="400111" y="80508"/>
                    </a:cubicBezTo>
                    <a:cubicBezTo>
                      <a:pt x="377544" y="3135"/>
                      <a:pt x="287275" y="-16208"/>
                      <a:pt x="213126" y="12807"/>
                    </a:cubicBezTo>
                    <a:cubicBezTo>
                      <a:pt x="119633" y="45046"/>
                      <a:pt x="100290" y="122419"/>
                      <a:pt x="116409" y="209463"/>
                    </a:cubicBezTo>
                    <a:cubicBezTo>
                      <a:pt x="55156" y="206240"/>
                      <a:pt x="3573" y="251374"/>
                      <a:pt x="350" y="315852"/>
                    </a:cubicBezTo>
                    <a:cubicBezTo>
                      <a:pt x="-2874" y="360986"/>
                      <a:pt x="16470" y="399672"/>
                      <a:pt x="45484" y="428687"/>
                    </a:cubicBezTo>
                    <a:cubicBezTo>
                      <a:pt x="42260" y="538299"/>
                      <a:pt x="184111" y="625344"/>
                      <a:pt x="251813" y="570538"/>
                    </a:cubicBezTo>
                    <a:cubicBezTo>
                      <a:pt x="296947" y="638240"/>
                      <a:pt x="471036" y="602777"/>
                      <a:pt x="529067" y="573762"/>
                    </a:cubicBezTo>
                    <a:cubicBezTo>
                      <a:pt x="648350" y="518956"/>
                      <a:pt x="651574" y="373881"/>
                      <a:pt x="535514" y="348090"/>
                    </a:cubicBezTo>
                    <a:close/>
                  </a:path>
                </a:pathLst>
              </a:custGeom>
              <a:solidFill>
                <a:srgbClr val="70868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18DB287B-6A16-4597-89EA-8098C6D3D74A}"/>
                  </a:ext>
                </a:extLst>
              </p:cNvPr>
              <p:cNvSpPr/>
              <p:nvPr/>
            </p:nvSpPr>
            <p:spPr>
              <a:xfrm>
                <a:off x="11607750" y="4113668"/>
                <a:ext cx="635210" cy="643378"/>
              </a:xfrm>
              <a:custGeom>
                <a:avLst/>
                <a:gdLst>
                  <a:gd name="connsiteX0" fmla="*/ 633516 w 635210"/>
                  <a:gd name="connsiteY0" fmla="*/ 240967 h 643378"/>
                  <a:gd name="connsiteX1" fmla="*/ 511009 w 635210"/>
                  <a:gd name="connsiteY1" fmla="*/ 124907 h 643378"/>
                  <a:gd name="connsiteX2" fmla="*/ 436859 w 635210"/>
                  <a:gd name="connsiteY2" fmla="*/ 5624 h 643378"/>
                  <a:gd name="connsiteX3" fmla="*/ 349815 w 635210"/>
                  <a:gd name="connsiteY3" fmla="*/ 12071 h 643378"/>
                  <a:gd name="connsiteX4" fmla="*/ 246651 w 635210"/>
                  <a:gd name="connsiteY4" fmla="*/ 44310 h 643378"/>
                  <a:gd name="connsiteX5" fmla="*/ 24203 w 635210"/>
                  <a:gd name="connsiteY5" fmla="*/ 82997 h 643378"/>
                  <a:gd name="connsiteX6" fmla="*/ 49994 w 635210"/>
                  <a:gd name="connsiteY6" fmla="*/ 250638 h 643378"/>
                  <a:gd name="connsiteX7" fmla="*/ 46771 w 635210"/>
                  <a:gd name="connsiteY7" fmla="*/ 253862 h 643378"/>
                  <a:gd name="connsiteX8" fmla="*/ 127368 w 635210"/>
                  <a:gd name="connsiteY8" fmla="*/ 453743 h 643378"/>
                  <a:gd name="connsiteX9" fmla="*/ 372382 w 635210"/>
                  <a:gd name="connsiteY9" fmla="*/ 589146 h 643378"/>
                  <a:gd name="connsiteX10" fmla="*/ 549695 w 635210"/>
                  <a:gd name="connsiteY10" fmla="*/ 389265 h 643378"/>
                  <a:gd name="connsiteX11" fmla="*/ 633516 w 635210"/>
                  <a:gd name="connsiteY11" fmla="*/ 240967 h 643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35210" h="643378">
                    <a:moveTo>
                      <a:pt x="633516" y="240967"/>
                    </a:moveTo>
                    <a:cubicBezTo>
                      <a:pt x="623845" y="173265"/>
                      <a:pt x="575487" y="124907"/>
                      <a:pt x="511009" y="124907"/>
                    </a:cubicBezTo>
                    <a:cubicBezTo>
                      <a:pt x="511009" y="73325"/>
                      <a:pt x="488442" y="24967"/>
                      <a:pt x="436859" y="5624"/>
                    </a:cubicBezTo>
                    <a:cubicBezTo>
                      <a:pt x="407845" y="-4048"/>
                      <a:pt x="375606" y="-824"/>
                      <a:pt x="349815" y="12071"/>
                    </a:cubicBezTo>
                    <a:cubicBezTo>
                      <a:pt x="301457" y="34639"/>
                      <a:pt x="307904" y="53982"/>
                      <a:pt x="246651" y="44310"/>
                    </a:cubicBezTo>
                    <a:cubicBezTo>
                      <a:pt x="178949" y="37862"/>
                      <a:pt x="79009" y="24967"/>
                      <a:pt x="24203" y="82997"/>
                    </a:cubicBezTo>
                    <a:cubicBezTo>
                      <a:pt x="-24155" y="137803"/>
                      <a:pt x="8084" y="202280"/>
                      <a:pt x="49994" y="250638"/>
                    </a:cubicBezTo>
                    <a:cubicBezTo>
                      <a:pt x="49994" y="250638"/>
                      <a:pt x="49994" y="253862"/>
                      <a:pt x="46771" y="253862"/>
                    </a:cubicBezTo>
                    <a:cubicBezTo>
                      <a:pt x="11308" y="337683"/>
                      <a:pt x="30651" y="450519"/>
                      <a:pt x="127368" y="453743"/>
                    </a:cubicBezTo>
                    <a:cubicBezTo>
                      <a:pt x="75785" y="602042"/>
                      <a:pt x="269218" y="714877"/>
                      <a:pt x="372382" y="589146"/>
                    </a:cubicBezTo>
                    <a:cubicBezTo>
                      <a:pt x="501337" y="679415"/>
                      <a:pt x="623845" y="514997"/>
                      <a:pt x="549695" y="389265"/>
                    </a:cubicBezTo>
                    <a:cubicBezTo>
                      <a:pt x="610950" y="360250"/>
                      <a:pt x="643188" y="311892"/>
                      <a:pt x="633516" y="240967"/>
                    </a:cubicBezTo>
                    <a:close/>
                  </a:path>
                </a:pathLst>
              </a:custGeom>
              <a:solidFill>
                <a:srgbClr val="70868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232FDF60-D49D-4310-A675-4E527668187C}"/>
                  </a:ext>
                </a:extLst>
              </p:cNvPr>
              <p:cNvSpPr/>
              <p:nvPr/>
            </p:nvSpPr>
            <p:spPr>
              <a:xfrm>
                <a:off x="10622266" y="4894860"/>
                <a:ext cx="619124" cy="618361"/>
              </a:xfrm>
              <a:custGeom>
                <a:avLst/>
                <a:gdLst>
                  <a:gd name="connsiteX0" fmla="*/ 516434 w 619124"/>
                  <a:gd name="connsiteY0" fmla="*/ 136790 h 618361"/>
                  <a:gd name="connsiteX1" fmla="*/ 206942 w 619124"/>
                  <a:gd name="connsiteY1" fmla="*/ 117447 h 618361"/>
                  <a:gd name="connsiteX2" fmla="*/ 613 w 619124"/>
                  <a:gd name="connsiteY2" fmla="*/ 339895 h 618361"/>
                  <a:gd name="connsiteX3" fmla="*/ 145688 w 619124"/>
                  <a:gd name="connsiteY3" fmla="*/ 475298 h 618361"/>
                  <a:gd name="connsiteX4" fmla="*/ 181150 w 619124"/>
                  <a:gd name="connsiteY4" fmla="*/ 610701 h 618361"/>
                  <a:gd name="connsiteX5" fmla="*/ 458404 w 619124"/>
                  <a:gd name="connsiteY5" fmla="*/ 523656 h 618361"/>
                  <a:gd name="connsiteX6" fmla="*/ 522881 w 619124"/>
                  <a:gd name="connsiteY6" fmla="*/ 533327 h 618361"/>
                  <a:gd name="connsiteX7" fmla="*/ 587359 w 619124"/>
                  <a:gd name="connsiteY7" fmla="*/ 330223 h 618361"/>
                  <a:gd name="connsiteX8" fmla="*/ 587359 w 619124"/>
                  <a:gd name="connsiteY8" fmla="*/ 326999 h 618361"/>
                  <a:gd name="connsiteX9" fmla="*/ 516434 w 619124"/>
                  <a:gd name="connsiteY9" fmla="*/ 136790 h 618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9124" h="618361">
                    <a:moveTo>
                      <a:pt x="516434" y="136790"/>
                    </a:moveTo>
                    <a:cubicBezTo>
                      <a:pt x="519657" y="-14732"/>
                      <a:pt x="203717" y="-66314"/>
                      <a:pt x="206942" y="117447"/>
                    </a:cubicBezTo>
                    <a:cubicBezTo>
                      <a:pt x="97330" y="140014"/>
                      <a:pt x="-9059" y="214163"/>
                      <a:pt x="613" y="339895"/>
                    </a:cubicBezTo>
                    <a:cubicBezTo>
                      <a:pt x="7061" y="420492"/>
                      <a:pt x="71538" y="475298"/>
                      <a:pt x="145688" y="475298"/>
                    </a:cubicBezTo>
                    <a:cubicBezTo>
                      <a:pt x="100553" y="530104"/>
                      <a:pt x="77986" y="584910"/>
                      <a:pt x="181150" y="610701"/>
                    </a:cubicBezTo>
                    <a:cubicBezTo>
                      <a:pt x="284315" y="636492"/>
                      <a:pt x="387479" y="594581"/>
                      <a:pt x="458404" y="523656"/>
                    </a:cubicBezTo>
                    <a:cubicBezTo>
                      <a:pt x="474523" y="539775"/>
                      <a:pt x="500315" y="546223"/>
                      <a:pt x="522881" y="533327"/>
                    </a:cubicBezTo>
                    <a:cubicBezTo>
                      <a:pt x="580912" y="507536"/>
                      <a:pt x="580912" y="381805"/>
                      <a:pt x="587359" y="330223"/>
                    </a:cubicBezTo>
                    <a:cubicBezTo>
                      <a:pt x="587359" y="330223"/>
                      <a:pt x="587359" y="326999"/>
                      <a:pt x="587359" y="326999"/>
                    </a:cubicBezTo>
                    <a:cubicBezTo>
                      <a:pt x="651837" y="252850"/>
                      <a:pt x="613151" y="149686"/>
                      <a:pt x="516434" y="136790"/>
                    </a:cubicBezTo>
                    <a:close/>
                  </a:path>
                </a:pathLst>
              </a:custGeom>
              <a:solidFill>
                <a:srgbClr val="70868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2A389F58-BEDC-4B36-9E29-456B9009CD49}"/>
                  </a:ext>
                </a:extLst>
              </p:cNvPr>
              <p:cNvSpPr/>
              <p:nvPr/>
            </p:nvSpPr>
            <p:spPr>
              <a:xfrm>
                <a:off x="11677722" y="5083331"/>
                <a:ext cx="589029" cy="573819"/>
              </a:xfrm>
              <a:custGeom>
                <a:avLst/>
                <a:gdLst>
                  <a:gd name="connsiteX0" fmla="*/ 44500 w 589029"/>
                  <a:gd name="connsiteY0" fmla="*/ 219125 h 573819"/>
                  <a:gd name="connsiteX1" fmla="*/ 292739 w 589029"/>
                  <a:gd name="connsiteY1" fmla="*/ 64379 h 573819"/>
                  <a:gd name="connsiteX2" fmla="*/ 569993 w 589029"/>
                  <a:gd name="connsiteY2" fmla="*/ 167543 h 573819"/>
                  <a:gd name="connsiteX3" fmla="*/ 515186 w 589029"/>
                  <a:gd name="connsiteY3" fmla="*/ 351304 h 573819"/>
                  <a:gd name="connsiteX4" fmla="*/ 550649 w 589029"/>
                  <a:gd name="connsiteY4" fmla="*/ 486707 h 573819"/>
                  <a:gd name="connsiteX5" fmla="*/ 276619 w 589029"/>
                  <a:gd name="connsiteY5" fmla="*/ 535066 h 573819"/>
                  <a:gd name="connsiteX6" fmla="*/ 228261 w 589029"/>
                  <a:gd name="connsiteY6" fmla="*/ 573752 h 573819"/>
                  <a:gd name="connsiteX7" fmla="*/ 79963 w 589029"/>
                  <a:gd name="connsiteY7" fmla="*/ 422230 h 573819"/>
                  <a:gd name="connsiteX8" fmla="*/ 76738 w 589029"/>
                  <a:gd name="connsiteY8" fmla="*/ 419006 h 573819"/>
                  <a:gd name="connsiteX9" fmla="*/ 44500 w 589029"/>
                  <a:gd name="connsiteY9" fmla="*/ 219125 h 57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89029" h="573819">
                    <a:moveTo>
                      <a:pt x="44500" y="219125"/>
                    </a:moveTo>
                    <a:cubicBezTo>
                      <a:pt x="-29649" y="86946"/>
                      <a:pt x="208918" y="-100039"/>
                      <a:pt x="292739" y="64379"/>
                    </a:cubicBezTo>
                    <a:cubicBezTo>
                      <a:pt x="392679" y="35364"/>
                      <a:pt x="518411" y="54707"/>
                      <a:pt x="569993" y="167543"/>
                    </a:cubicBezTo>
                    <a:cubicBezTo>
                      <a:pt x="602232" y="241693"/>
                      <a:pt x="576440" y="319066"/>
                      <a:pt x="515186" y="351304"/>
                    </a:cubicBezTo>
                    <a:cubicBezTo>
                      <a:pt x="579664" y="380319"/>
                      <a:pt x="624798" y="419006"/>
                      <a:pt x="550649" y="486707"/>
                    </a:cubicBezTo>
                    <a:cubicBezTo>
                      <a:pt x="476500" y="554409"/>
                      <a:pt x="370112" y="567304"/>
                      <a:pt x="276619" y="535066"/>
                    </a:cubicBezTo>
                    <a:cubicBezTo>
                      <a:pt x="273395" y="557633"/>
                      <a:pt x="254052" y="573752"/>
                      <a:pt x="228261" y="573752"/>
                    </a:cubicBezTo>
                    <a:cubicBezTo>
                      <a:pt x="167008" y="576976"/>
                      <a:pt x="108977" y="464140"/>
                      <a:pt x="79963" y="422230"/>
                    </a:cubicBezTo>
                    <a:cubicBezTo>
                      <a:pt x="79963" y="422230"/>
                      <a:pt x="79963" y="419006"/>
                      <a:pt x="76738" y="419006"/>
                    </a:cubicBezTo>
                    <a:cubicBezTo>
                      <a:pt x="-10306" y="380319"/>
                      <a:pt x="-26425" y="273931"/>
                      <a:pt x="44500" y="219125"/>
                    </a:cubicBezTo>
                    <a:close/>
                  </a:path>
                </a:pathLst>
              </a:custGeom>
              <a:solidFill>
                <a:srgbClr val="70868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1F63A49C-0FA3-4A7F-A15B-0C348D8EDA52}"/>
                  </a:ext>
                </a:extLst>
              </p:cNvPr>
              <p:cNvSpPr/>
              <p:nvPr/>
            </p:nvSpPr>
            <p:spPr>
              <a:xfrm>
                <a:off x="10827708" y="4441292"/>
                <a:ext cx="1142724" cy="1602656"/>
              </a:xfrm>
              <a:custGeom>
                <a:avLst/>
                <a:gdLst>
                  <a:gd name="connsiteX0" fmla="*/ 1110514 w 1142724"/>
                  <a:gd name="connsiteY0" fmla="*/ 951433 h 1602656"/>
                  <a:gd name="connsiteX1" fmla="*/ 755887 w 1142724"/>
                  <a:gd name="connsiteY1" fmla="*/ 1209343 h 1602656"/>
                  <a:gd name="connsiteX2" fmla="*/ 707529 w 1142724"/>
                  <a:gd name="connsiteY2" fmla="*/ 970776 h 1602656"/>
                  <a:gd name="connsiteX3" fmla="*/ 713977 w 1142724"/>
                  <a:gd name="connsiteY3" fmla="*/ 961104 h 1602656"/>
                  <a:gd name="connsiteX4" fmla="*/ 804245 w 1142724"/>
                  <a:gd name="connsiteY4" fmla="*/ 490418 h 1602656"/>
                  <a:gd name="connsiteX5" fmla="*/ 1023469 w 1142724"/>
                  <a:gd name="connsiteY5" fmla="*/ 29403 h 1602656"/>
                  <a:gd name="connsiteX6" fmla="*/ 991230 w 1142724"/>
                  <a:gd name="connsiteY6" fmla="*/ 10059 h 1602656"/>
                  <a:gd name="connsiteX7" fmla="*/ 846155 w 1142724"/>
                  <a:gd name="connsiteY7" fmla="*/ 267970 h 1602656"/>
                  <a:gd name="connsiteX8" fmla="*/ 749439 w 1142724"/>
                  <a:gd name="connsiteY8" fmla="*/ 103552 h 1602656"/>
                  <a:gd name="connsiteX9" fmla="*/ 717200 w 1142724"/>
                  <a:gd name="connsiteY9" fmla="*/ 122895 h 1602656"/>
                  <a:gd name="connsiteX10" fmla="*/ 820365 w 1142724"/>
                  <a:gd name="connsiteY10" fmla="*/ 300209 h 1602656"/>
                  <a:gd name="connsiteX11" fmla="*/ 826813 w 1142724"/>
                  <a:gd name="connsiteY11" fmla="*/ 306657 h 1602656"/>
                  <a:gd name="connsiteX12" fmla="*/ 775230 w 1142724"/>
                  <a:gd name="connsiteY12" fmla="*/ 445283 h 1602656"/>
                  <a:gd name="connsiteX13" fmla="*/ 691409 w 1142724"/>
                  <a:gd name="connsiteY13" fmla="*/ 899851 h 1602656"/>
                  <a:gd name="connsiteX14" fmla="*/ 688185 w 1142724"/>
                  <a:gd name="connsiteY14" fmla="*/ 886955 h 1602656"/>
                  <a:gd name="connsiteX15" fmla="*/ 507648 w 1142724"/>
                  <a:gd name="connsiteY15" fmla="*/ 126119 h 1602656"/>
                  <a:gd name="connsiteX16" fmla="*/ 468962 w 1142724"/>
                  <a:gd name="connsiteY16" fmla="*/ 135791 h 1602656"/>
                  <a:gd name="connsiteX17" fmla="*/ 539887 w 1142724"/>
                  <a:gd name="connsiteY17" fmla="*/ 435612 h 1602656"/>
                  <a:gd name="connsiteX18" fmla="*/ 33738 w 1142724"/>
                  <a:gd name="connsiteY18" fmla="*/ 177701 h 1602656"/>
                  <a:gd name="connsiteX19" fmla="*/ 4723 w 1142724"/>
                  <a:gd name="connsiteY19" fmla="*/ 206716 h 1602656"/>
                  <a:gd name="connsiteX20" fmla="*/ 546335 w 1142724"/>
                  <a:gd name="connsiteY20" fmla="*/ 477522 h 1602656"/>
                  <a:gd name="connsiteX21" fmla="*/ 549559 w 1142724"/>
                  <a:gd name="connsiteY21" fmla="*/ 477522 h 1602656"/>
                  <a:gd name="connsiteX22" fmla="*/ 639827 w 1142724"/>
                  <a:gd name="connsiteY22" fmla="*/ 861164 h 1602656"/>
                  <a:gd name="connsiteX23" fmla="*/ 672066 w 1142724"/>
                  <a:gd name="connsiteY23" fmla="*/ 993343 h 1602656"/>
                  <a:gd name="connsiteX24" fmla="*/ 175588 w 1142724"/>
                  <a:gd name="connsiteY24" fmla="*/ 777343 h 1602656"/>
                  <a:gd name="connsiteX25" fmla="*/ 156245 w 1142724"/>
                  <a:gd name="connsiteY25" fmla="*/ 809582 h 1602656"/>
                  <a:gd name="connsiteX26" fmla="*/ 668842 w 1142724"/>
                  <a:gd name="connsiteY26" fmla="*/ 1028806 h 1602656"/>
                  <a:gd name="connsiteX27" fmla="*/ 681738 w 1142724"/>
                  <a:gd name="connsiteY27" fmla="*/ 1025582 h 1602656"/>
                  <a:gd name="connsiteX28" fmla="*/ 746216 w 1142724"/>
                  <a:gd name="connsiteY28" fmla="*/ 1583313 h 1602656"/>
                  <a:gd name="connsiteX29" fmla="*/ 784902 w 1142724"/>
                  <a:gd name="connsiteY29" fmla="*/ 1583313 h 1602656"/>
                  <a:gd name="connsiteX30" fmla="*/ 762335 w 1142724"/>
                  <a:gd name="connsiteY30" fmla="*/ 1235134 h 1602656"/>
                  <a:gd name="connsiteX31" fmla="*/ 775230 w 1142724"/>
                  <a:gd name="connsiteY31" fmla="*/ 1235134 h 1602656"/>
                  <a:gd name="connsiteX32" fmla="*/ 1136304 w 1142724"/>
                  <a:gd name="connsiteY32" fmla="*/ 970776 h 1602656"/>
                  <a:gd name="connsiteX33" fmla="*/ 1110514 w 1142724"/>
                  <a:gd name="connsiteY33" fmla="*/ 951433 h 1602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142724" h="1602656">
                    <a:moveTo>
                      <a:pt x="1110514" y="951433"/>
                    </a:moveTo>
                    <a:cubicBezTo>
                      <a:pt x="1013797" y="1064269"/>
                      <a:pt x="894513" y="1151313"/>
                      <a:pt x="755887" y="1209343"/>
                    </a:cubicBezTo>
                    <a:cubicBezTo>
                      <a:pt x="742992" y="1128746"/>
                      <a:pt x="726872" y="1051373"/>
                      <a:pt x="707529" y="970776"/>
                    </a:cubicBezTo>
                    <a:cubicBezTo>
                      <a:pt x="710753" y="967552"/>
                      <a:pt x="713977" y="967552"/>
                      <a:pt x="713977" y="961104"/>
                    </a:cubicBezTo>
                    <a:cubicBezTo>
                      <a:pt x="772006" y="809582"/>
                      <a:pt x="762335" y="645164"/>
                      <a:pt x="804245" y="490418"/>
                    </a:cubicBezTo>
                    <a:cubicBezTo>
                      <a:pt x="849379" y="326000"/>
                      <a:pt x="936424" y="177701"/>
                      <a:pt x="1023469" y="29403"/>
                    </a:cubicBezTo>
                    <a:cubicBezTo>
                      <a:pt x="1036365" y="6836"/>
                      <a:pt x="1004126" y="-12508"/>
                      <a:pt x="991230" y="10059"/>
                    </a:cubicBezTo>
                    <a:cubicBezTo>
                      <a:pt x="939649" y="93880"/>
                      <a:pt x="891290" y="177701"/>
                      <a:pt x="846155" y="267970"/>
                    </a:cubicBezTo>
                    <a:cubicBezTo>
                      <a:pt x="817140" y="209940"/>
                      <a:pt x="788126" y="155134"/>
                      <a:pt x="749439" y="103552"/>
                    </a:cubicBezTo>
                    <a:cubicBezTo>
                      <a:pt x="733319" y="84209"/>
                      <a:pt x="701081" y="103552"/>
                      <a:pt x="717200" y="122895"/>
                    </a:cubicBezTo>
                    <a:cubicBezTo>
                      <a:pt x="759111" y="177701"/>
                      <a:pt x="791350" y="238955"/>
                      <a:pt x="820365" y="300209"/>
                    </a:cubicBezTo>
                    <a:cubicBezTo>
                      <a:pt x="823589" y="303433"/>
                      <a:pt x="823589" y="306657"/>
                      <a:pt x="826813" y="306657"/>
                    </a:cubicBezTo>
                    <a:cubicBezTo>
                      <a:pt x="807469" y="351791"/>
                      <a:pt x="788126" y="396925"/>
                      <a:pt x="775230" y="445283"/>
                    </a:cubicBezTo>
                    <a:cubicBezTo>
                      <a:pt x="730096" y="593582"/>
                      <a:pt x="733319" y="751552"/>
                      <a:pt x="691409" y="899851"/>
                    </a:cubicBezTo>
                    <a:cubicBezTo>
                      <a:pt x="691409" y="896627"/>
                      <a:pt x="688185" y="890179"/>
                      <a:pt x="688185" y="886955"/>
                    </a:cubicBezTo>
                    <a:cubicBezTo>
                      <a:pt x="626932" y="632268"/>
                      <a:pt x="568902" y="380806"/>
                      <a:pt x="507648" y="126119"/>
                    </a:cubicBezTo>
                    <a:cubicBezTo>
                      <a:pt x="501201" y="100328"/>
                      <a:pt x="465738" y="113224"/>
                      <a:pt x="468962" y="135791"/>
                    </a:cubicBezTo>
                    <a:cubicBezTo>
                      <a:pt x="491528" y="235731"/>
                      <a:pt x="517320" y="335672"/>
                      <a:pt x="539887" y="435612"/>
                    </a:cubicBezTo>
                    <a:cubicBezTo>
                      <a:pt x="343231" y="409821"/>
                      <a:pt x="169140" y="319552"/>
                      <a:pt x="33738" y="177701"/>
                    </a:cubicBezTo>
                    <a:cubicBezTo>
                      <a:pt x="17618" y="158358"/>
                      <a:pt x="-11396" y="187373"/>
                      <a:pt x="4723" y="206716"/>
                    </a:cubicBezTo>
                    <a:cubicBezTo>
                      <a:pt x="149798" y="361462"/>
                      <a:pt x="336782" y="451731"/>
                      <a:pt x="546335" y="477522"/>
                    </a:cubicBezTo>
                    <a:cubicBezTo>
                      <a:pt x="546335" y="477522"/>
                      <a:pt x="549559" y="477522"/>
                      <a:pt x="549559" y="477522"/>
                    </a:cubicBezTo>
                    <a:cubicBezTo>
                      <a:pt x="578574" y="606477"/>
                      <a:pt x="610812" y="735433"/>
                      <a:pt x="639827" y="861164"/>
                    </a:cubicBezTo>
                    <a:cubicBezTo>
                      <a:pt x="649499" y="906298"/>
                      <a:pt x="659171" y="948209"/>
                      <a:pt x="672066" y="993343"/>
                    </a:cubicBezTo>
                    <a:cubicBezTo>
                      <a:pt x="488305" y="964328"/>
                      <a:pt x="323887" y="890179"/>
                      <a:pt x="175588" y="777343"/>
                    </a:cubicBezTo>
                    <a:cubicBezTo>
                      <a:pt x="156245" y="761224"/>
                      <a:pt x="136901" y="796686"/>
                      <a:pt x="156245" y="809582"/>
                    </a:cubicBezTo>
                    <a:cubicBezTo>
                      <a:pt x="307768" y="925642"/>
                      <a:pt x="478633" y="999791"/>
                      <a:pt x="668842" y="1028806"/>
                    </a:cubicBezTo>
                    <a:cubicBezTo>
                      <a:pt x="672066" y="1028806"/>
                      <a:pt x="678514" y="1028806"/>
                      <a:pt x="681738" y="1025582"/>
                    </a:cubicBezTo>
                    <a:cubicBezTo>
                      <a:pt x="723648" y="1209343"/>
                      <a:pt x="752663" y="1393104"/>
                      <a:pt x="746216" y="1583313"/>
                    </a:cubicBezTo>
                    <a:cubicBezTo>
                      <a:pt x="746216" y="1609104"/>
                      <a:pt x="784902" y="1609104"/>
                      <a:pt x="784902" y="1583313"/>
                    </a:cubicBezTo>
                    <a:cubicBezTo>
                      <a:pt x="788126" y="1464030"/>
                      <a:pt x="778455" y="1351194"/>
                      <a:pt x="762335" y="1235134"/>
                    </a:cubicBezTo>
                    <a:cubicBezTo>
                      <a:pt x="765558" y="1235134"/>
                      <a:pt x="772006" y="1235134"/>
                      <a:pt x="775230" y="1235134"/>
                    </a:cubicBezTo>
                    <a:cubicBezTo>
                      <a:pt x="917081" y="1177104"/>
                      <a:pt x="1036365" y="1086836"/>
                      <a:pt x="1136304" y="970776"/>
                    </a:cubicBezTo>
                    <a:cubicBezTo>
                      <a:pt x="1155648" y="961104"/>
                      <a:pt x="1126633" y="932089"/>
                      <a:pt x="1110514" y="95143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8193013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72EE21A3-4934-4553-8826-D5B4245956FE}"/>
              </a:ext>
            </a:extLst>
          </p:cNvPr>
          <p:cNvGrpSpPr/>
          <p:nvPr/>
        </p:nvGrpSpPr>
        <p:grpSpPr>
          <a:xfrm>
            <a:off x="7669602" y="2858296"/>
            <a:ext cx="2148311" cy="3977581"/>
            <a:chOff x="24895718" y="1831024"/>
            <a:chExt cx="2148311" cy="3977581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3B120DC0-9028-49B1-97B0-91A494113F69}"/>
                </a:ext>
              </a:extLst>
            </p:cNvPr>
            <p:cNvSpPr/>
            <p:nvPr/>
          </p:nvSpPr>
          <p:spPr>
            <a:xfrm>
              <a:off x="25174263" y="2137656"/>
              <a:ext cx="517032" cy="925097"/>
            </a:xfrm>
            <a:custGeom>
              <a:avLst/>
              <a:gdLst>
                <a:gd name="connsiteX0" fmla="*/ 517032 w 517032"/>
                <a:gd name="connsiteY0" fmla="*/ 82770 h 925097"/>
                <a:gd name="connsiteX1" fmla="*/ 117272 w 517032"/>
                <a:gd name="connsiteY1" fmla="*/ 69875 h 925097"/>
                <a:gd name="connsiteX2" fmla="*/ 78585 w 517032"/>
                <a:gd name="connsiteY2" fmla="*/ 585696 h 925097"/>
                <a:gd name="connsiteX3" fmla="*/ 117272 w 517032"/>
                <a:gd name="connsiteY3" fmla="*/ 914532 h 925097"/>
                <a:gd name="connsiteX4" fmla="*/ 429989 w 517032"/>
                <a:gd name="connsiteY4" fmla="*/ 759785 h 925097"/>
                <a:gd name="connsiteX5" fmla="*/ 400973 w 517032"/>
                <a:gd name="connsiteY5" fmla="*/ 205278 h 925097"/>
                <a:gd name="connsiteX6" fmla="*/ 517032 w 517032"/>
                <a:gd name="connsiteY6" fmla="*/ 82770 h 925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7032" h="925097">
                  <a:moveTo>
                    <a:pt x="517032" y="82770"/>
                  </a:moveTo>
                  <a:cubicBezTo>
                    <a:pt x="517032" y="82770"/>
                    <a:pt x="391302" y="-94543"/>
                    <a:pt x="117272" y="69875"/>
                  </a:cubicBezTo>
                  <a:cubicBezTo>
                    <a:pt x="-53593" y="169815"/>
                    <a:pt x="-11683" y="476084"/>
                    <a:pt x="78585" y="585696"/>
                  </a:cubicBezTo>
                  <a:cubicBezTo>
                    <a:pt x="168854" y="695308"/>
                    <a:pt x="197869" y="814591"/>
                    <a:pt x="117272" y="914532"/>
                  </a:cubicBezTo>
                  <a:cubicBezTo>
                    <a:pt x="117272" y="914532"/>
                    <a:pt x="407422" y="985457"/>
                    <a:pt x="429989" y="759785"/>
                  </a:cubicBezTo>
                  <a:cubicBezTo>
                    <a:pt x="439660" y="666293"/>
                    <a:pt x="281689" y="308442"/>
                    <a:pt x="400973" y="205278"/>
                  </a:cubicBezTo>
                  <a:cubicBezTo>
                    <a:pt x="449332" y="160144"/>
                    <a:pt x="517032" y="82770"/>
                    <a:pt x="517032" y="82770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6608852E-8B10-4C15-B287-1DF28A244D66}"/>
                </a:ext>
              </a:extLst>
            </p:cNvPr>
            <p:cNvSpPr/>
            <p:nvPr/>
          </p:nvSpPr>
          <p:spPr>
            <a:xfrm>
              <a:off x="25285088" y="2810396"/>
              <a:ext cx="126417" cy="248238"/>
            </a:xfrm>
            <a:custGeom>
              <a:avLst/>
              <a:gdLst>
                <a:gd name="connsiteX0" fmla="*/ 6448 w 126417"/>
                <a:gd name="connsiteY0" fmla="*/ 248239 h 248238"/>
                <a:gd name="connsiteX1" fmla="*/ 0 w 126417"/>
                <a:gd name="connsiteY1" fmla="*/ 245015 h 248238"/>
                <a:gd name="connsiteX2" fmla="*/ 3223 w 126417"/>
                <a:gd name="connsiteY2" fmla="*/ 238567 h 248238"/>
                <a:gd name="connsiteX3" fmla="*/ 109613 w 126417"/>
                <a:gd name="connsiteY3" fmla="*/ 6448 h 248238"/>
                <a:gd name="connsiteX4" fmla="*/ 116059 w 126417"/>
                <a:gd name="connsiteY4" fmla="*/ 0 h 248238"/>
                <a:gd name="connsiteX5" fmla="*/ 122507 w 126417"/>
                <a:gd name="connsiteY5" fmla="*/ 6448 h 248238"/>
                <a:gd name="connsiteX6" fmla="*/ 6448 w 126417"/>
                <a:gd name="connsiteY6" fmla="*/ 248239 h 248238"/>
                <a:gd name="connsiteX7" fmla="*/ 6448 w 126417"/>
                <a:gd name="connsiteY7" fmla="*/ 248239 h 24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417" h="248238">
                  <a:moveTo>
                    <a:pt x="6448" y="248239"/>
                  </a:moveTo>
                  <a:cubicBezTo>
                    <a:pt x="3223" y="248239"/>
                    <a:pt x="0" y="248239"/>
                    <a:pt x="0" y="245015"/>
                  </a:cubicBezTo>
                  <a:cubicBezTo>
                    <a:pt x="0" y="241791"/>
                    <a:pt x="0" y="238567"/>
                    <a:pt x="3223" y="238567"/>
                  </a:cubicBezTo>
                  <a:cubicBezTo>
                    <a:pt x="9671" y="235343"/>
                    <a:pt x="138626" y="186985"/>
                    <a:pt x="109613" y="6448"/>
                  </a:cubicBezTo>
                  <a:cubicBezTo>
                    <a:pt x="109613" y="3224"/>
                    <a:pt x="112836" y="0"/>
                    <a:pt x="116059" y="0"/>
                  </a:cubicBezTo>
                  <a:cubicBezTo>
                    <a:pt x="119284" y="0"/>
                    <a:pt x="122507" y="3224"/>
                    <a:pt x="122507" y="6448"/>
                  </a:cubicBezTo>
                  <a:cubicBezTo>
                    <a:pt x="151523" y="193433"/>
                    <a:pt x="9671" y="245015"/>
                    <a:pt x="6448" y="248239"/>
                  </a:cubicBezTo>
                  <a:cubicBezTo>
                    <a:pt x="6448" y="248239"/>
                    <a:pt x="6448" y="248239"/>
                    <a:pt x="6448" y="248239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814B783D-36C8-42D6-8AF9-C0086EB16810}"/>
                </a:ext>
              </a:extLst>
            </p:cNvPr>
            <p:cNvSpPr/>
            <p:nvPr/>
          </p:nvSpPr>
          <p:spPr>
            <a:xfrm>
              <a:off x="25143236" y="3345561"/>
              <a:ext cx="1200356" cy="2134208"/>
            </a:xfrm>
            <a:custGeom>
              <a:avLst/>
              <a:gdLst>
                <a:gd name="connsiteX0" fmla="*/ 522269 w 1200356"/>
                <a:gd name="connsiteY0" fmla="*/ 0 h 2134208"/>
                <a:gd name="connsiteX1" fmla="*/ 1096119 w 1200356"/>
                <a:gd name="connsiteY1" fmla="*/ 0 h 2134208"/>
                <a:gd name="connsiteX2" fmla="*/ 1199284 w 1200356"/>
                <a:gd name="connsiteY2" fmla="*/ 393313 h 2134208"/>
                <a:gd name="connsiteX3" fmla="*/ 1044538 w 1200356"/>
                <a:gd name="connsiteY3" fmla="*/ 2134209 h 2134208"/>
                <a:gd name="connsiteX4" fmla="*/ 841434 w 1200356"/>
                <a:gd name="connsiteY4" fmla="*/ 2130985 h 2134208"/>
                <a:gd name="connsiteX5" fmla="*/ 802747 w 1200356"/>
                <a:gd name="connsiteY5" fmla="*/ 696358 h 2134208"/>
                <a:gd name="connsiteX6" fmla="*/ 728598 w 1200356"/>
                <a:gd name="connsiteY6" fmla="*/ 1470090 h 2134208"/>
                <a:gd name="connsiteX7" fmla="*/ 693134 w 1200356"/>
                <a:gd name="connsiteY7" fmla="*/ 1531343 h 2134208"/>
                <a:gd name="connsiteX8" fmla="*/ 103165 w 1200356"/>
                <a:gd name="connsiteY8" fmla="*/ 1953672 h 2134208"/>
                <a:gd name="connsiteX9" fmla="*/ 0 w 1200356"/>
                <a:gd name="connsiteY9" fmla="*/ 1769911 h 2134208"/>
                <a:gd name="connsiteX10" fmla="*/ 435224 w 1200356"/>
                <a:gd name="connsiteY10" fmla="*/ 1395940 h 2134208"/>
                <a:gd name="connsiteX11" fmla="*/ 406210 w 1200356"/>
                <a:gd name="connsiteY11" fmla="*/ 354627 h 2134208"/>
                <a:gd name="connsiteX12" fmla="*/ 522269 w 1200356"/>
                <a:gd name="connsiteY12" fmla="*/ 0 h 2134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00356" h="2134208">
                  <a:moveTo>
                    <a:pt x="522269" y="0"/>
                  </a:moveTo>
                  <a:lnTo>
                    <a:pt x="1096119" y="0"/>
                  </a:lnTo>
                  <a:cubicBezTo>
                    <a:pt x="1096119" y="0"/>
                    <a:pt x="1179942" y="264358"/>
                    <a:pt x="1199284" y="393313"/>
                  </a:cubicBezTo>
                  <a:cubicBezTo>
                    <a:pt x="1215403" y="525493"/>
                    <a:pt x="1044538" y="2134209"/>
                    <a:pt x="1044538" y="2134209"/>
                  </a:cubicBezTo>
                  <a:lnTo>
                    <a:pt x="841434" y="2130985"/>
                  </a:lnTo>
                  <a:lnTo>
                    <a:pt x="802747" y="696358"/>
                  </a:lnTo>
                  <a:cubicBezTo>
                    <a:pt x="802747" y="696358"/>
                    <a:pt x="747941" y="1308896"/>
                    <a:pt x="728598" y="1470090"/>
                  </a:cubicBezTo>
                  <a:cubicBezTo>
                    <a:pt x="725373" y="1495881"/>
                    <a:pt x="712479" y="1518448"/>
                    <a:pt x="693134" y="1531343"/>
                  </a:cubicBezTo>
                  <a:lnTo>
                    <a:pt x="103165" y="1953672"/>
                  </a:lnTo>
                  <a:lnTo>
                    <a:pt x="0" y="1769911"/>
                  </a:lnTo>
                  <a:lnTo>
                    <a:pt x="435224" y="1395940"/>
                  </a:lnTo>
                  <a:cubicBezTo>
                    <a:pt x="435224" y="1395940"/>
                    <a:pt x="409433" y="412657"/>
                    <a:pt x="406210" y="354627"/>
                  </a:cubicBezTo>
                  <a:cubicBezTo>
                    <a:pt x="396539" y="254687"/>
                    <a:pt x="522269" y="0"/>
                    <a:pt x="522269" y="0"/>
                  </a:cubicBezTo>
                  <a:close/>
                </a:path>
              </a:pathLst>
            </a:custGeom>
            <a:solidFill>
              <a:srgbClr val="F6EBE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A254E35A-BC9B-4338-BFAD-259B19CB75C4}"/>
                </a:ext>
              </a:extLst>
            </p:cNvPr>
            <p:cNvSpPr/>
            <p:nvPr/>
          </p:nvSpPr>
          <p:spPr>
            <a:xfrm>
              <a:off x="25241744" y="3674396"/>
              <a:ext cx="749374" cy="1634507"/>
            </a:xfrm>
            <a:custGeom>
              <a:avLst/>
              <a:gdLst>
                <a:gd name="connsiteX0" fmla="*/ 4656 w 749374"/>
                <a:gd name="connsiteY0" fmla="*/ 1634508 h 1634507"/>
                <a:gd name="connsiteX1" fmla="*/ 1433 w 749374"/>
                <a:gd name="connsiteY1" fmla="*/ 1631284 h 1634507"/>
                <a:gd name="connsiteX2" fmla="*/ 1433 w 749374"/>
                <a:gd name="connsiteY2" fmla="*/ 1621612 h 1634507"/>
                <a:gd name="connsiteX3" fmla="*/ 591403 w 749374"/>
                <a:gd name="connsiteY3" fmla="*/ 1199284 h 1634507"/>
                <a:gd name="connsiteX4" fmla="*/ 623642 w 749374"/>
                <a:gd name="connsiteY4" fmla="*/ 1141254 h 1634507"/>
                <a:gd name="connsiteX5" fmla="*/ 697791 w 749374"/>
                <a:gd name="connsiteY5" fmla="*/ 367522 h 1634507"/>
                <a:gd name="connsiteX6" fmla="*/ 736478 w 749374"/>
                <a:gd name="connsiteY6" fmla="*/ 6448 h 1634507"/>
                <a:gd name="connsiteX7" fmla="*/ 742926 w 749374"/>
                <a:gd name="connsiteY7" fmla="*/ 0 h 1634507"/>
                <a:gd name="connsiteX8" fmla="*/ 749374 w 749374"/>
                <a:gd name="connsiteY8" fmla="*/ 6448 h 1634507"/>
                <a:gd name="connsiteX9" fmla="*/ 710687 w 749374"/>
                <a:gd name="connsiteY9" fmla="*/ 367522 h 1634507"/>
                <a:gd name="connsiteX10" fmla="*/ 636538 w 749374"/>
                <a:gd name="connsiteY10" fmla="*/ 1141254 h 1634507"/>
                <a:gd name="connsiteX11" fmla="*/ 597851 w 749374"/>
                <a:gd name="connsiteY11" fmla="*/ 1205731 h 1634507"/>
                <a:gd name="connsiteX12" fmla="*/ 7882 w 749374"/>
                <a:gd name="connsiteY12" fmla="*/ 1628060 h 1634507"/>
                <a:gd name="connsiteX13" fmla="*/ 4656 w 749374"/>
                <a:gd name="connsiteY13" fmla="*/ 1634508 h 1634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9374" h="1634507">
                  <a:moveTo>
                    <a:pt x="4656" y="1634508"/>
                  </a:moveTo>
                  <a:cubicBezTo>
                    <a:pt x="1433" y="1634508"/>
                    <a:pt x="1433" y="1634508"/>
                    <a:pt x="1433" y="1631284"/>
                  </a:cubicBezTo>
                  <a:cubicBezTo>
                    <a:pt x="-1792" y="1628060"/>
                    <a:pt x="1433" y="1624836"/>
                    <a:pt x="1433" y="1621612"/>
                  </a:cubicBezTo>
                  <a:lnTo>
                    <a:pt x="591403" y="1199284"/>
                  </a:lnTo>
                  <a:cubicBezTo>
                    <a:pt x="610746" y="1186388"/>
                    <a:pt x="623642" y="1163821"/>
                    <a:pt x="623642" y="1141254"/>
                  </a:cubicBezTo>
                  <a:cubicBezTo>
                    <a:pt x="639761" y="980060"/>
                    <a:pt x="694568" y="373970"/>
                    <a:pt x="697791" y="367522"/>
                  </a:cubicBezTo>
                  <a:lnTo>
                    <a:pt x="736478" y="6448"/>
                  </a:lnTo>
                  <a:cubicBezTo>
                    <a:pt x="736478" y="3224"/>
                    <a:pt x="739701" y="0"/>
                    <a:pt x="742926" y="0"/>
                  </a:cubicBezTo>
                  <a:cubicBezTo>
                    <a:pt x="746149" y="0"/>
                    <a:pt x="749374" y="3224"/>
                    <a:pt x="749374" y="6448"/>
                  </a:cubicBezTo>
                  <a:lnTo>
                    <a:pt x="710687" y="367522"/>
                  </a:lnTo>
                  <a:cubicBezTo>
                    <a:pt x="710687" y="373970"/>
                    <a:pt x="655881" y="980060"/>
                    <a:pt x="636538" y="1141254"/>
                  </a:cubicBezTo>
                  <a:cubicBezTo>
                    <a:pt x="633313" y="1167045"/>
                    <a:pt x="620419" y="1192836"/>
                    <a:pt x="597851" y="1205731"/>
                  </a:cubicBezTo>
                  <a:lnTo>
                    <a:pt x="7882" y="1628060"/>
                  </a:lnTo>
                  <a:cubicBezTo>
                    <a:pt x="4656" y="1634508"/>
                    <a:pt x="4656" y="1634508"/>
                    <a:pt x="4656" y="1634508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C0337EF0-7E74-4664-BB9F-61BFBEF23545}"/>
                </a:ext>
              </a:extLst>
            </p:cNvPr>
            <p:cNvSpPr/>
            <p:nvPr/>
          </p:nvSpPr>
          <p:spPr>
            <a:xfrm>
              <a:off x="25549446" y="3477740"/>
              <a:ext cx="154896" cy="164417"/>
            </a:xfrm>
            <a:custGeom>
              <a:avLst/>
              <a:gdLst>
                <a:gd name="connsiteX0" fmla="*/ 6448 w 154896"/>
                <a:gd name="connsiteY0" fmla="*/ 164418 h 164417"/>
                <a:gd name="connsiteX1" fmla="*/ 0 w 154896"/>
                <a:gd name="connsiteY1" fmla="*/ 161194 h 164417"/>
                <a:gd name="connsiteX2" fmla="*/ 3223 w 154896"/>
                <a:gd name="connsiteY2" fmla="*/ 154746 h 164417"/>
                <a:gd name="connsiteX3" fmla="*/ 145075 w 154896"/>
                <a:gd name="connsiteY3" fmla="*/ 3224 h 164417"/>
                <a:gd name="connsiteX4" fmla="*/ 151523 w 154896"/>
                <a:gd name="connsiteY4" fmla="*/ 0 h 164417"/>
                <a:gd name="connsiteX5" fmla="*/ 154746 w 154896"/>
                <a:gd name="connsiteY5" fmla="*/ 6448 h 164417"/>
                <a:gd name="connsiteX6" fmla="*/ 6448 w 154896"/>
                <a:gd name="connsiteY6" fmla="*/ 164418 h 164417"/>
                <a:gd name="connsiteX7" fmla="*/ 6448 w 154896"/>
                <a:gd name="connsiteY7" fmla="*/ 164418 h 164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4896" h="164417">
                  <a:moveTo>
                    <a:pt x="6448" y="164418"/>
                  </a:moveTo>
                  <a:cubicBezTo>
                    <a:pt x="3223" y="164418"/>
                    <a:pt x="0" y="161194"/>
                    <a:pt x="0" y="161194"/>
                  </a:cubicBezTo>
                  <a:cubicBezTo>
                    <a:pt x="0" y="157970"/>
                    <a:pt x="0" y="154746"/>
                    <a:pt x="3223" y="154746"/>
                  </a:cubicBezTo>
                  <a:cubicBezTo>
                    <a:pt x="99940" y="128955"/>
                    <a:pt x="145075" y="6448"/>
                    <a:pt x="145075" y="3224"/>
                  </a:cubicBezTo>
                  <a:cubicBezTo>
                    <a:pt x="145075" y="0"/>
                    <a:pt x="148298" y="0"/>
                    <a:pt x="151523" y="0"/>
                  </a:cubicBezTo>
                  <a:cubicBezTo>
                    <a:pt x="154746" y="0"/>
                    <a:pt x="154746" y="3224"/>
                    <a:pt x="154746" y="6448"/>
                  </a:cubicBezTo>
                  <a:cubicBezTo>
                    <a:pt x="157969" y="12896"/>
                    <a:pt x="109611" y="138627"/>
                    <a:pt x="6448" y="164418"/>
                  </a:cubicBezTo>
                  <a:cubicBezTo>
                    <a:pt x="6448" y="164418"/>
                    <a:pt x="6448" y="164418"/>
                    <a:pt x="6448" y="164418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6FAE9EA2-A27C-4076-9808-B93E866D75F9}"/>
                </a:ext>
              </a:extLst>
            </p:cNvPr>
            <p:cNvSpPr/>
            <p:nvPr/>
          </p:nvSpPr>
          <p:spPr>
            <a:xfrm>
              <a:off x="26174878" y="3474516"/>
              <a:ext cx="151522" cy="170865"/>
            </a:xfrm>
            <a:custGeom>
              <a:avLst/>
              <a:gdLst>
                <a:gd name="connsiteX0" fmla="*/ 145075 w 151522"/>
                <a:gd name="connsiteY0" fmla="*/ 170866 h 170865"/>
                <a:gd name="connsiteX1" fmla="*/ 145075 w 151522"/>
                <a:gd name="connsiteY1" fmla="*/ 170866 h 170865"/>
                <a:gd name="connsiteX2" fmla="*/ 0 w 151522"/>
                <a:gd name="connsiteY2" fmla="*/ 9672 h 170865"/>
                <a:gd name="connsiteX3" fmla="*/ 3225 w 151522"/>
                <a:gd name="connsiteY3" fmla="*/ 0 h 170865"/>
                <a:gd name="connsiteX4" fmla="*/ 12896 w 151522"/>
                <a:gd name="connsiteY4" fmla="*/ 3224 h 170865"/>
                <a:gd name="connsiteX5" fmla="*/ 148300 w 151522"/>
                <a:gd name="connsiteY5" fmla="*/ 157970 h 170865"/>
                <a:gd name="connsiteX6" fmla="*/ 151523 w 151522"/>
                <a:gd name="connsiteY6" fmla="*/ 164418 h 170865"/>
                <a:gd name="connsiteX7" fmla="*/ 145075 w 151522"/>
                <a:gd name="connsiteY7" fmla="*/ 170866 h 1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522" h="170865">
                  <a:moveTo>
                    <a:pt x="145075" y="170866"/>
                  </a:moveTo>
                  <a:cubicBezTo>
                    <a:pt x="145075" y="170866"/>
                    <a:pt x="145075" y="170866"/>
                    <a:pt x="145075" y="170866"/>
                  </a:cubicBezTo>
                  <a:cubicBezTo>
                    <a:pt x="70926" y="141851"/>
                    <a:pt x="3225" y="16119"/>
                    <a:pt x="0" y="9672"/>
                  </a:cubicBezTo>
                  <a:cubicBezTo>
                    <a:pt x="0" y="6448"/>
                    <a:pt x="0" y="3224"/>
                    <a:pt x="3225" y="0"/>
                  </a:cubicBezTo>
                  <a:cubicBezTo>
                    <a:pt x="6448" y="0"/>
                    <a:pt x="9673" y="0"/>
                    <a:pt x="12896" y="3224"/>
                  </a:cubicBezTo>
                  <a:cubicBezTo>
                    <a:pt x="12896" y="3224"/>
                    <a:pt x="83822" y="132179"/>
                    <a:pt x="148300" y="157970"/>
                  </a:cubicBezTo>
                  <a:cubicBezTo>
                    <a:pt x="151523" y="157970"/>
                    <a:pt x="151523" y="161194"/>
                    <a:pt x="151523" y="164418"/>
                  </a:cubicBezTo>
                  <a:cubicBezTo>
                    <a:pt x="151523" y="170866"/>
                    <a:pt x="148300" y="170866"/>
                    <a:pt x="145075" y="170866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7965B7A6-FE1F-4982-A1B4-7FF6D0B36F6B}"/>
                </a:ext>
              </a:extLst>
            </p:cNvPr>
            <p:cNvSpPr/>
            <p:nvPr/>
          </p:nvSpPr>
          <p:spPr>
            <a:xfrm>
              <a:off x="26197801" y="2738577"/>
              <a:ext cx="676152" cy="657911"/>
            </a:xfrm>
            <a:custGeom>
              <a:avLst/>
              <a:gdLst>
                <a:gd name="connsiteX0" fmla="*/ 157616 w 676152"/>
                <a:gd name="connsiteY0" fmla="*/ 39581 h 657911"/>
                <a:gd name="connsiteX1" fmla="*/ 309138 w 676152"/>
                <a:gd name="connsiteY1" fmla="*/ 494148 h 657911"/>
                <a:gd name="connsiteX2" fmla="*/ 673437 w 676152"/>
                <a:gd name="connsiteY2" fmla="*/ 552178 h 657911"/>
                <a:gd name="connsiteX3" fmla="*/ 618630 w 676152"/>
                <a:gd name="connsiteY3" fmla="*/ 616655 h 657911"/>
                <a:gd name="connsiteX4" fmla="*/ 234988 w 676152"/>
                <a:gd name="connsiteY4" fmla="*/ 642446 h 657911"/>
                <a:gd name="connsiteX5" fmla="*/ 2870 w 676152"/>
                <a:gd name="connsiteY5" fmla="*/ 213670 h 657911"/>
                <a:gd name="connsiteX6" fmla="*/ 157616 w 676152"/>
                <a:gd name="connsiteY6" fmla="*/ 39581 h 657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6152" h="657911">
                  <a:moveTo>
                    <a:pt x="157616" y="39581"/>
                  </a:moveTo>
                  <a:cubicBezTo>
                    <a:pt x="199526" y="126626"/>
                    <a:pt x="309138" y="494148"/>
                    <a:pt x="309138" y="494148"/>
                  </a:cubicBezTo>
                  <a:cubicBezTo>
                    <a:pt x="309138" y="494148"/>
                    <a:pt x="670211" y="545730"/>
                    <a:pt x="673437" y="552178"/>
                  </a:cubicBezTo>
                  <a:cubicBezTo>
                    <a:pt x="686331" y="606984"/>
                    <a:pt x="650869" y="610208"/>
                    <a:pt x="618630" y="616655"/>
                  </a:cubicBezTo>
                  <a:cubicBezTo>
                    <a:pt x="608959" y="619879"/>
                    <a:pt x="441317" y="687581"/>
                    <a:pt x="234988" y="642446"/>
                  </a:cubicBezTo>
                  <a:cubicBezTo>
                    <a:pt x="180183" y="629551"/>
                    <a:pt x="48003" y="332954"/>
                    <a:pt x="2870" y="213670"/>
                  </a:cubicBezTo>
                  <a:cubicBezTo>
                    <a:pt x="-19698" y="142745"/>
                    <a:pt x="96361" y="-92598"/>
                    <a:pt x="157616" y="39581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7EA1DFFE-FEEE-4C7F-822B-8A0A98AC7171}"/>
                </a:ext>
              </a:extLst>
            </p:cNvPr>
            <p:cNvSpPr/>
            <p:nvPr/>
          </p:nvSpPr>
          <p:spPr>
            <a:xfrm>
              <a:off x="26074693" y="2571686"/>
              <a:ext cx="335529" cy="348322"/>
            </a:xfrm>
            <a:custGeom>
              <a:avLst/>
              <a:gdLst>
                <a:gd name="connsiteX0" fmla="*/ 42155 w 335529"/>
                <a:gd name="connsiteY0" fmla="*/ 348322 h 348322"/>
                <a:gd name="connsiteX1" fmla="*/ 48603 w 335529"/>
                <a:gd name="connsiteY1" fmla="*/ 13038 h 348322"/>
                <a:gd name="connsiteX2" fmla="*/ 335530 w 335529"/>
                <a:gd name="connsiteY2" fmla="*/ 245158 h 348322"/>
                <a:gd name="connsiteX3" fmla="*/ 42155 w 335529"/>
                <a:gd name="connsiteY3" fmla="*/ 348322 h 34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529" h="348322">
                  <a:moveTo>
                    <a:pt x="42155" y="348322"/>
                  </a:moveTo>
                  <a:cubicBezTo>
                    <a:pt x="-25545" y="209695"/>
                    <a:pt x="-2978" y="51725"/>
                    <a:pt x="48603" y="13038"/>
                  </a:cubicBezTo>
                  <a:cubicBezTo>
                    <a:pt x="116304" y="-41767"/>
                    <a:pt x="277498" y="83964"/>
                    <a:pt x="335530" y="245158"/>
                  </a:cubicBezTo>
                  <a:cubicBezTo>
                    <a:pt x="296843" y="293516"/>
                    <a:pt x="125977" y="338651"/>
                    <a:pt x="42155" y="348322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13F5CA9B-FD99-4C38-8EDF-BB7892BDF58D}"/>
                </a:ext>
              </a:extLst>
            </p:cNvPr>
            <p:cNvSpPr/>
            <p:nvPr/>
          </p:nvSpPr>
          <p:spPr>
            <a:xfrm>
              <a:off x="25549446" y="2526320"/>
              <a:ext cx="742523" cy="1005538"/>
            </a:xfrm>
            <a:custGeom>
              <a:avLst/>
              <a:gdLst>
                <a:gd name="connsiteX0" fmla="*/ 718925 w 742523"/>
                <a:gd name="connsiteY0" fmla="*/ 554882 h 1005538"/>
                <a:gd name="connsiteX1" fmla="*/ 664119 w 742523"/>
                <a:gd name="connsiteY1" fmla="*/ 87419 h 1005538"/>
                <a:gd name="connsiteX2" fmla="*/ 412656 w 742523"/>
                <a:gd name="connsiteY2" fmla="*/ 3599 h 1005538"/>
                <a:gd name="connsiteX3" fmla="*/ 106388 w 742523"/>
                <a:gd name="connsiteY3" fmla="*/ 58405 h 1005538"/>
                <a:gd name="connsiteX4" fmla="*/ 93491 w 742523"/>
                <a:gd name="connsiteY4" fmla="*/ 329211 h 1005538"/>
                <a:gd name="connsiteX5" fmla="*/ 0 w 742523"/>
                <a:gd name="connsiteY5" fmla="*/ 932076 h 1005538"/>
                <a:gd name="connsiteX6" fmla="*/ 741493 w 742523"/>
                <a:gd name="connsiteY6" fmla="*/ 951420 h 1005538"/>
                <a:gd name="connsiteX7" fmla="*/ 718925 w 742523"/>
                <a:gd name="connsiteY7" fmla="*/ 554882 h 1005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2523" h="1005538">
                  <a:moveTo>
                    <a:pt x="718925" y="554882"/>
                  </a:moveTo>
                  <a:cubicBezTo>
                    <a:pt x="712477" y="377569"/>
                    <a:pt x="757612" y="242166"/>
                    <a:pt x="664119" y="87419"/>
                  </a:cubicBezTo>
                  <a:cubicBezTo>
                    <a:pt x="631880" y="32614"/>
                    <a:pt x="522269" y="16494"/>
                    <a:pt x="412656" y="3599"/>
                  </a:cubicBezTo>
                  <a:cubicBezTo>
                    <a:pt x="315940" y="-9297"/>
                    <a:pt x="193433" y="13270"/>
                    <a:pt x="106388" y="58405"/>
                  </a:cubicBezTo>
                  <a:cubicBezTo>
                    <a:pt x="6448" y="109987"/>
                    <a:pt x="93491" y="300196"/>
                    <a:pt x="93491" y="329211"/>
                  </a:cubicBezTo>
                  <a:cubicBezTo>
                    <a:pt x="99940" y="458166"/>
                    <a:pt x="0" y="932076"/>
                    <a:pt x="0" y="932076"/>
                  </a:cubicBezTo>
                  <a:cubicBezTo>
                    <a:pt x="0" y="932076"/>
                    <a:pt x="409433" y="1083599"/>
                    <a:pt x="741493" y="951420"/>
                  </a:cubicBezTo>
                  <a:cubicBezTo>
                    <a:pt x="747941" y="948196"/>
                    <a:pt x="722148" y="645151"/>
                    <a:pt x="718925" y="554882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3BE1FD3E-0795-4F67-A1F9-99410620EE77}"/>
                </a:ext>
              </a:extLst>
            </p:cNvPr>
            <p:cNvSpPr/>
            <p:nvPr/>
          </p:nvSpPr>
          <p:spPr>
            <a:xfrm>
              <a:off x="25800908" y="2378396"/>
              <a:ext cx="257910" cy="270805"/>
            </a:xfrm>
            <a:custGeom>
              <a:avLst/>
              <a:gdLst>
                <a:gd name="connsiteX0" fmla="*/ 212775 w 257910"/>
                <a:gd name="connsiteY0" fmla="*/ 51582 h 270805"/>
                <a:gd name="connsiteX1" fmla="*/ 257910 w 257910"/>
                <a:gd name="connsiteY1" fmla="*/ 167642 h 270805"/>
                <a:gd name="connsiteX2" fmla="*/ 161194 w 257910"/>
                <a:gd name="connsiteY2" fmla="*/ 270806 h 270805"/>
                <a:gd name="connsiteX3" fmla="*/ 0 w 257910"/>
                <a:gd name="connsiteY3" fmla="*/ 154746 h 270805"/>
                <a:gd name="connsiteX4" fmla="*/ 41910 w 257910"/>
                <a:gd name="connsiteY4" fmla="*/ 0 h 270805"/>
                <a:gd name="connsiteX5" fmla="*/ 212775 w 257910"/>
                <a:gd name="connsiteY5" fmla="*/ 51582 h 270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7910" h="270805">
                  <a:moveTo>
                    <a:pt x="212775" y="51582"/>
                  </a:moveTo>
                  <a:cubicBezTo>
                    <a:pt x="212775" y="51582"/>
                    <a:pt x="209552" y="145075"/>
                    <a:pt x="257910" y="167642"/>
                  </a:cubicBezTo>
                  <a:lnTo>
                    <a:pt x="161194" y="270806"/>
                  </a:lnTo>
                  <a:cubicBezTo>
                    <a:pt x="161194" y="270806"/>
                    <a:pt x="45135" y="180537"/>
                    <a:pt x="0" y="154746"/>
                  </a:cubicBezTo>
                  <a:cubicBezTo>
                    <a:pt x="45135" y="119284"/>
                    <a:pt x="41910" y="51582"/>
                    <a:pt x="41910" y="0"/>
                  </a:cubicBezTo>
                  <a:cubicBezTo>
                    <a:pt x="45135" y="0"/>
                    <a:pt x="167642" y="58030"/>
                    <a:pt x="212775" y="51582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8251802B-4EE4-4185-A852-F750C1CFCEF2}"/>
                </a:ext>
              </a:extLst>
            </p:cNvPr>
            <p:cNvSpPr/>
            <p:nvPr/>
          </p:nvSpPr>
          <p:spPr>
            <a:xfrm>
              <a:off x="26208908" y="2605859"/>
              <a:ext cx="69134" cy="526925"/>
            </a:xfrm>
            <a:custGeom>
              <a:avLst/>
              <a:gdLst>
                <a:gd name="connsiteX0" fmla="*/ 62686 w 69134"/>
                <a:gd name="connsiteY0" fmla="*/ 526925 h 526925"/>
                <a:gd name="connsiteX1" fmla="*/ 56240 w 69134"/>
                <a:gd name="connsiteY1" fmla="*/ 520478 h 526925"/>
                <a:gd name="connsiteX2" fmla="*/ 53015 w 69134"/>
                <a:gd name="connsiteY2" fmla="*/ 456000 h 526925"/>
                <a:gd name="connsiteX3" fmla="*/ 1433 w 69134"/>
                <a:gd name="connsiteY3" fmla="*/ 11104 h 526925"/>
                <a:gd name="connsiteX4" fmla="*/ 1433 w 69134"/>
                <a:gd name="connsiteY4" fmla="*/ 1433 h 526925"/>
                <a:gd name="connsiteX5" fmla="*/ 11105 w 69134"/>
                <a:gd name="connsiteY5" fmla="*/ 1433 h 526925"/>
                <a:gd name="connsiteX6" fmla="*/ 65911 w 69134"/>
                <a:gd name="connsiteY6" fmla="*/ 452776 h 526925"/>
                <a:gd name="connsiteX7" fmla="*/ 69134 w 69134"/>
                <a:gd name="connsiteY7" fmla="*/ 517254 h 526925"/>
                <a:gd name="connsiteX8" fmla="*/ 62686 w 69134"/>
                <a:gd name="connsiteY8" fmla="*/ 526925 h 526925"/>
                <a:gd name="connsiteX9" fmla="*/ 62686 w 69134"/>
                <a:gd name="connsiteY9" fmla="*/ 526925 h 52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134" h="526925">
                  <a:moveTo>
                    <a:pt x="62686" y="526925"/>
                  </a:moveTo>
                  <a:cubicBezTo>
                    <a:pt x="59463" y="526925"/>
                    <a:pt x="56240" y="523702"/>
                    <a:pt x="56240" y="520478"/>
                  </a:cubicBezTo>
                  <a:cubicBezTo>
                    <a:pt x="56240" y="504358"/>
                    <a:pt x="56240" y="481791"/>
                    <a:pt x="53015" y="456000"/>
                  </a:cubicBezTo>
                  <a:cubicBezTo>
                    <a:pt x="49792" y="320597"/>
                    <a:pt x="40120" y="69134"/>
                    <a:pt x="1433" y="11104"/>
                  </a:cubicBezTo>
                  <a:cubicBezTo>
                    <a:pt x="-1792" y="7881"/>
                    <a:pt x="1433" y="4657"/>
                    <a:pt x="1433" y="1433"/>
                  </a:cubicBezTo>
                  <a:cubicBezTo>
                    <a:pt x="4656" y="-1791"/>
                    <a:pt x="7882" y="1433"/>
                    <a:pt x="11105" y="1433"/>
                  </a:cubicBezTo>
                  <a:cubicBezTo>
                    <a:pt x="53015" y="62687"/>
                    <a:pt x="62686" y="307702"/>
                    <a:pt x="65911" y="452776"/>
                  </a:cubicBezTo>
                  <a:cubicBezTo>
                    <a:pt x="65911" y="478567"/>
                    <a:pt x="65911" y="501134"/>
                    <a:pt x="69134" y="517254"/>
                  </a:cubicBezTo>
                  <a:cubicBezTo>
                    <a:pt x="69134" y="526925"/>
                    <a:pt x="65911" y="526925"/>
                    <a:pt x="62686" y="526925"/>
                  </a:cubicBezTo>
                  <a:lnTo>
                    <a:pt x="62686" y="526925"/>
                  </a:ln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56B9916-74E2-42C3-B5B8-283699FC38C2}"/>
                </a:ext>
              </a:extLst>
            </p:cNvPr>
            <p:cNvSpPr/>
            <p:nvPr/>
          </p:nvSpPr>
          <p:spPr>
            <a:xfrm>
              <a:off x="25781566" y="2536366"/>
              <a:ext cx="299820" cy="128955"/>
            </a:xfrm>
            <a:custGeom>
              <a:avLst/>
              <a:gdLst>
                <a:gd name="connsiteX0" fmla="*/ 267582 w 299820"/>
                <a:gd name="connsiteY0" fmla="*/ 6448 h 128955"/>
                <a:gd name="connsiteX1" fmla="*/ 180537 w 299820"/>
                <a:gd name="connsiteY1" fmla="*/ 103164 h 128955"/>
                <a:gd name="connsiteX2" fmla="*/ 19342 w 299820"/>
                <a:gd name="connsiteY2" fmla="*/ 0 h 128955"/>
                <a:gd name="connsiteX3" fmla="*/ 0 w 299820"/>
                <a:gd name="connsiteY3" fmla="*/ 6448 h 128955"/>
                <a:gd name="connsiteX4" fmla="*/ 183760 w 299820"/>
                <a:gd name="connsiteY4" fmla="*/ 128955 h 128955"/>
                <a:gd name="connsiteX5" fmla="*/ 299821 w 299820"/>
                <a:gd name="connsiteY5" fmla="*/ 12896 h 128955"/>
                <a:gd name="connsiteX6" fmla="*/ 267582 w 299820"/>
                <a:gd name="connsiteY6" fmla="*/ 6448 h 12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9820" h="128955">
                  <a:moveTo>
                    <a:pt x="267582" y="6448"/>
                  </a:moveTo>
                  <a:lnTo>
                    <a:pt x="180537" y="103164"/>
                  </a:lnTo>
                  <a:cubicBezTo>
                    <a:pt x="180537" y="103164"/>
                    <a:pt x="70924" y="19343"/>
                    <a:pt x="19342" y="0"/>
                  </a:cubicBezTo>
                  <a:lnTo>
                    <a:pt x="0" y="6448"/>
                  </a:lnTo>
                  <a:lnTo>
                    <a:pt x="183760" y="128955"/>
                  </a:lnTo>
                  <a:lnTo>
                    <a:pt x="299821" y="12896"/>
                  </a:lnTo>
                  <a:cubicBezTo>
                    <a:pt x="299821" y="9672"/>
                    <a:pt x="286924" y="6448"/>
                    <a:pt x="267582" y="6448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83EB0742-9114-42A1-8C19-5623D93BBB60}"/>
                </a:ext>
              </a:extLst>
            </p:cNvPr>
            <p:cNvSpPr/>
            <p:nvPr/>
          </p:nvSpPr>
          <p:spPr>
            <a:xfrm>
              <a:off x="25951095" y="3318434"/>
              <a:ext cx="265694" cy="27126"/>
            </a:xfrm>
            <a:custGeom>
              <a:avLst/>
              <a:gdLst>
                <a:gd name="connsiteX0" fmla="*/ 259246 w 265694"/>
                <a:gd name="connsiteY0" fmla="*/ 27126 h 27126"/>
                <a:gd name="connsiteX1" fmla="*/ 259246 w 265694"/>
                <a:gd name="connsiteY1" fmla="*/ 27126 h 27126"/>
                <a:gd name="connsiteX2" fmla="*/ 4559 w 265694"/>
                <a:gd name="connsiteY2" fmla="*/ 11007 h 27126"/>
                <a:gd name="connsiteX3" fmla="*/ 1336 w 265694"/>
                <a:gd name="connsiteY3" fmla="*/ 4559 h 27126"/>
                <a:gd name="connsiteX4" fmla="*/ 7784 w 265694"/>
                <a:gd name="connsiteY4" fmla="*/ 1335 h 27126"/>
                <a:gd name="connsiteX5" fmla="*/ 259246 w 265694"/>
                <a:gd name="connsiteY5" fmla="*/ 17455 h 27126"/>
                <a:gd name="connsiteX6" fmla="*/ 265695 w 265694"/>
                <a:gd name="connsiteY6" fmla="*/ 23903 h 27126"/>
                <a:gd name="connsiteX7" fmla="*/ 259246 w 265694"/>
                <a:gd name="connsiteY7" fmla="*/ 27126 h 2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5694" h="27126">
                  <a:moveTo>
                    <a:pt x="259246" y="27126"/>
                  </a:moveTo>
                  <a:lnTo>
                    <a:pt x="259246" y="27126"/>
                  </a:lnTo>
                  <a:cubicBezTo>
                    <a:pt x="256021" y="27126"/>
                    <a:pt x="85156" y="23903"/>
                    <a:pt x="4559" y="11007"/>
                  </a:cubicBezTo>
                  <a:cubicBezTo>
                    <a:pt x="1336" y="11007"/>
                    <a:pt x="-1889" y="7783"/>
                    <a:pt x="1336" y="4559"/>
                  </a:cubicBezTo>
                  <a:cubicBezTo>
                    <a:pt x="1336" y="1335"/>
                    <a:pt x="4559" y="-1888"/>
                    <a:pt x="7784" y="1335"/>
                  </a:cubicBezTo>
                  <a:cubicBezTo>
                    <a:pt x="85156" y="14231"/>
                    <a:pt x="256021" y="17455"/>
                    <a:pt x="259246" y="17455"/>
                  </a:cubicBezTo>
                  <a:cubicBezTo>
                    <a:pt x="262469" y="17455"/>
                    <a:pt x="265695" y="20679"/>
                    <a:pt x="265695" y="23903"/>
                  </a:cubicBezTo>
                  <a:cubicBezTo>
                    <a:pt x="265695" y="23903"/>
                    <a:pt x="262469" y="27126"/>
                    <a:pt x="259246" y="27126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C721BFA1-FDC2-4B91-86C9-750B8111D075}"/>
                </a:ext>
              </a:extLst>
            </p:cNvPr>
            <p:cNvSpPr/>
            <p:nvPr/>
          </p:nvSpPr>
          <p:spPr>
            <a:xfrm>
              <a:off x="25554830" y="2710073"/>
              <a:ext cx="607153" cy="690292"/>
            </a:xfrm>
            <a:custGeom>
              <a:avLst/>
              <a:gdLst>
                <a:gd name="connsiteX0" fmla="*/ 42974 w 607153"/>
                <a:gd name="connsiteY0" fmla="*/ 51965 h 690292"/>
                <a:gd name="connsiteX1" fmla="*/ 236407 w 607153"/>
                <a:gd name="connsiteY1" fmla="*/ 139009 h 690292"/>
                <a:gd name="connsiteX2" fmla="*/ 242855 w 607153"/>
                <a:gd name="connsiteY2" fmla="*/ 493636 h 690292"/>
                <a:gd name="connsiteX3" fmla="*/ 607154 w 607153"/>
                <a:gd name="connsiteY3" fmla="*/ 587129 h 690292"/>
                <a:gd name="connsiteX4" fmla="*/ 597482 w 607153"/>
                <a:gd name="connsiteY4" fmla="*/ 690293 h 690292"/>
                <a:gd name="connsiteX5" fmla="*/ 91333 w 607153"/>
                <a:gd name="connsiteY5" fmla="*/ 593577 h 690292"/>
                <a:gd name="connsiteX6" fmla="*/ 42974 w 607153"/>
                <a:gd name="connsiteY6" fmla="*/ 51965 h 690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7153" h="690292">
                  <a:moveTo>
                    <a:pt x="42974" y="51965"/>
                  </a:moveTo>
                  <a:cubicBezTo>
                    <a:pt x="146139" y="-60871"/>
                    <a:pt x="246079" y="29398"/>
                    <a:pt x="236407" y="139009"/>
                  </a:cubicBezTo>
                  <a:cubicBezTo>
                    <a:pt x="226736" y="245397"/>
                    <a:pt x="226736" y="471069"/>
                    <a:pt x="242855" y="493636"/>
                  </a:cubicBezTo>
                  <a:cubicBezTo>
                    <a:pt x="287989" y="512980"/>
                    <a:pt x="607154" y="587129"/>
                    <a:pt x="607154" y="587129"/>
                  </a:cubicBezTo>
                  <a:cubicBezTo>
                    <a:pt x="591034" y="609696"/>
                    <a:pt x="597482" y="690293"/>
                    <a:pt x="597482" y="690293"/>
                  </a:cubicBezTo>
                  <a:cubicBezTo>
                    <a:pt x="597482" y="690293"/>
                    <a:pt x="165481" y="677398"/>
                    <a:pt x="91333" y="593577"/>
                  </a:cubicBezTo>
                  <a:cubicBezTo>
                    <a:pt x="49423" y="548442"/>
                    <a:pt x="-60190" y="164800"/>
                    <a:pt x="42974" y="51965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BE2FA553-BE68-4A54-B80D-571D63C4018F}"/>
                </a:ext>
              </a:extLst>
            </p:cNvPr>
            <p:cNvSpPr/>
            <p:nvPr/>
          </p:nvSpPr>
          <p:spPr>
            <a:xfrm>
              <a:off x="25497776" y="2586520"/>
              <a:ext cx="311409" cy="359317"/>
            </a:xfrm>
            <a:custGeom>
              <a:avLst/>
              <a:gdLst>
                <a:gd name="connsiteX0" fmla="*/ 87 w 311409"/>
                <a:gd name="connsiteY0" fmla="*/ 343160 h 359317"/>
                <a:gd name="connsiteX1" fmla="*/ 148387 w 311409"/>
                <a:gd name="connsiteY1" fmla="*/ 1429 h 359317"/>
                <a:gd name="connsiteX2" fmla="*/ 309581 w 311409"/>
                <a:gd name="connsiteY2" fmla="*/ 333488 h 359317"/>
                <a:gd name="connsiteX3" fmla="*/ 87 w 311409"/>
                <a:gd name="connsiteY3" fmla="*/ 343160 h 35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1409" h="359317">
                  <a:moveTo>
                    <a:pt x="87" y="343160"/>
                  </a:moveTo>
                  <a:cubicBezTo>
                    <a:pt x="-3136" y="188414"/>
                    <a:pt x="83909" y="14324"/>
                    <a:pt x="148387" y="1429"/>
                  </a:cubicBezTo>
                  <a:cubicBezTo>
                    <a:pt x="232207" y="-17915"/>
                    <a:pt x="325700" y="162623"/>
                    <a:pt x="309581" y="333488"/>
                  </a:cubicBezTo>
                  <a:cubicBezTo>
                    <a:pt x="254774" y="362503"/>
                    <a:pt x="80684" y="368951"/>
                    <a:pt x="87" y="343160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A2D3A243-8930-4025-ADA6-131D8896CB1C}"/>
                </a:ext>
              </a:extLst>
            </p:cNvPr>
            <p:cNvSpPr/>
            <p:nvPr/>
          </p:nvSpPr>
          <p:spPr>
            <a:xfrm>
              <a:off x="25652611" y="2575053"/>
              <a:ext cx="158864" cy="373970"/>
            </a:xfrm>
            <a:custGeom>
              <a:avLst/>
              <a:gdLst>
                <a:gd name="connsiteX0" fmla="*/ 32239 w 158864"/>
                <a:gd name="connsiteY0" fmla="*/ 373970 h 373970"/>
                <a:gd name="connsiteX1" fmla="*/ 25791 w 158864"/>
                <a:gd name="connsiteY1" fmla="*/ 367522 h 373970"/>
                <a:gd name="connsiteX2" fmla="*/ 32239 w 158864"/>
                <a:gd name="connsiteY2" fmla="*/ 361075 h 373970"/>
                <a:gd name="connsiteX3" fmla="*/ 148298 w 158864"/>
                <a:gd name="connsiteY3" fmla="*/ 338507 h 373970"/>
                <a:gd name="connsiteX4" fmla="*/ 103163 w 158864"/>
                <a:gd name="connsiteY4" fmla="*/ 99940 h 373970"/>
                <a:gd name="connsiteX5" fmla="*/ 99940 w 158864"/>
                <a:gd name="connsiteY5" fmla="*/ 93493 h 373970"/>
                <a:gd name="connsiteX6" fmla="*/ 6446 w 158864"/>
                <a:gd name="connsiteY6" fmla="*/ 12896 h 373970"/>
                <a:gd name="connsiteX7" fmla="*/ 0 w 158864"/>
                <a:gd name="connsiteY7" fmla="*/ 6448 h 373970"/>
                <a:gd name="connsiteX8" fmla="*/ 6446 w 158864"/>
                <a:gd name="connsiteY8" fmla="*/ 0 h 373970"/>
                <a:gd name="connsiteX9" fmla="*/ 106388 w 158864"/>
                <a:gd name="connsiteY9" fmla="*/ 83821 h 373970"/>
                <a:gd name="connsiteX10" fmla="*/ 109611 w 158864"/>
                <a:gd name="connsiteY10" fmla="*/ 90269 h 373970"/>
                <a:gd name="connsiteX11" fmla="*/ 157969 w 158864"/>
                <a:gd name="connsiteY11" fmla="*/ 338507 h 373970"/>
                <a:gd name="connsiteX12" fmla="*/ 154746 w 158864"/>
                <a:gd name="connsiteY12" fmla="*/ 341731 h 373970"/>
                <a:gd name="connsiteX13" fmla="*/ 32239 w 158864"/>
                <a:gd name="connsiteY13" fmla="*/ 373970 h 373970"/>
                <a:gd name="connsiteX14" fmla="*/ 32239 w 158864"/>
                <a:gd name="connsiteY14" fmla="*/ 373970 h 373970"/>
                <a:gd name="connsiteX15" fmla="*/ 154746 w 158864"/>
                <a:gd name="connsiteY15" fmla="*/ 341731 h 373970"/>
                <a:gd name="connsiteX16" fmla="*/ 154746 w 158864"/>
                <a:gd name="connsiteY16" fmla="*/ 341731 h 373970"/>
                <a:gd name="connsiteX17" fmla="*/ 154746 w 158864"/>
                <a:gd name="connsiteY17" fmla="*/ 341731 h 373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8864" h="373970">
                  <a:moveTo>
                    <a:pt x="32239" y="373970"/>
                  </a:moveTo>
                  <a:cubicBezTo>
                    <a:pt x="29014" y="373970"/>
                    <a:pt x="25791" y="370746"/>
                    <a:pt x="25791" y="367522"/>
                  </a:cubicBezTo>
                  <a:cubicBezTo>
                    <a:pt x="25791" y="364298"/>
                    <a:pt x="29014" y="361075"/>
                    <a:pt x="32239" y="361075"/>
                  </a:cubicBezTo>
                  <a:cubicBezTo>
                    <a:pt x="93491" y="361075"/>
                    <a:pt x="128955" y="348179"/>
                    <a:pt x="148298" y="338507"/>
                  </a:cubicBezTo>
                  <a:cubicBezTo>
                    <a:pt x="151521" y="306269"/>
                    <a:pt x="145075" y="174090"/>
                    <a:pt x="103163" y="99940"/>
                  </a:cubicBezTo>
                  <a:cubicBezTo>
                    <a:pt x="103163" y="96716"/>
                    <a:pt x="99940" y="96716"/>
                    <a:pt x="99940" y="93493"/>
                  </a:cubicBezTo>
                  <a:cubicBezTo>
                    <a:pt x="87043" y="70925"/>
                    <a:pt x="58029" y="19343"/>
                    <a:pt x="6446" y="12896"/>
                  </a:cubicBezTo>
                  <a:cubicBezTo>
                    <a:pt x="3223" y="12896"/>
                    <a:pt x="0" y="9672"/>
                    <a:pt x="0" y="6448"/>
                  </a:cubicBezTo>
                  <a:cubicBezTo>
                    <a:pt x="0" y="3224"/>
                    <a:pt x="3223" y="0"/>
                    <a:pt x="6446" y="0"/>
                  </a:cubicBezTo>
                  <a:cubicBezTo>
                    <a:pt x="61253" y="6448"/>
                    <a:pt x="93491" y="58030"/>
                    <a:pt x="106388" y="83821"/>
                  </a:cubicBezTo>
                  <a:cubicBezTo>
                    <a:pt x="106388" y="87045"/>
                    <a:pt x="109611" y="87045"/>
                    <a:pt x="109611" y="90269"/>
                  </a:cubicBezTo>
                  <a:cubicBezTo>
                    <a:pt x="157969" y="167642"/>
                    <a:pt x="161194" y="312716"/>
                    <a:pt x="157969" y="338507"/>
                  </a:cubicBezTo>
                  <a:cubicBezTo>
                    <a:pt x="157969" y="341731"/>
                    <a:pt x="157969" y="341731"/>
                    <a:pt x="154746" y="341731"/>
                  </a:cubicBezTo>
                  <a:cubicBezTo>
                    <a:pt x="135401" y="361075"/>
                    <a:pt x="96716" y="373970"/>
                    <a:pt x="32239" y="373970"/>
                  </a:cubicBezTo>
                  <a:lnTo>
                    <a:pt x="32239" y="373970"/>
                  </a:lnTo>
                  <a:close/>
                  <a:moveTo>
                    <a:pt x="154746" y="341731"/>
                  </a:moveTo>
                  <a:lnTo>
                    <a:pt x="154746" y="341731"/>
                  </a:lnTo>
                  <a:lnTo>
                    <a:pt x="154746" y="341731"/>
                  </a:ln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AE32CAA9-C59B-4B16-813B-5472FC3C62E7}"/>
                </a:ext>
              </a:extLst>
            </p:cNvPr>
            <p:cNvSpPr/>
            <p:nvPr/>
          </p:nvSpPr>
          <p:spPr>
            <a:xfrm>
              <a:off x="26751953" y="3238428"/>
              <a:ext cx="292076" cy="173668"/>
            </a:xfrm>
            <a:custGeom>
              <a:avLst/>
              <a:gdLst>
                <a:gd name="connsiteX0" fmla="*/ 216000 w 292076"/>
                <a:gd name="connsiteY0" fmla="*/ 165163 h 173668"/>
                <a:gd name="connsiteX1" fmla="*/ 212775 w 292076"/>
                <a:gd name="connsiteY1" fmla="*/ 149043 h 173668"/>
                <a:gd name="connsiteX2" fmla="*/ 206329 w 292076"/>
                <a:gd name="connsiteY2" fmla="*/ 145819 h 173668"/>
                <a:gd name="connsiteX3" fmla="*/ 228895 w 292076"/>
                <a:gd name="connsiteY3" fmla="*/ 149043 h 173668"/>
                <a:gd name="connsiteX4" fmla="*/ 267582 w 292076"/>
                <a:gd name="connsiteY4" fmla="*/ 139372 h 173668"/>
                <a:gd name="connsiteX5" fmla="*/ 267582 w 292076"/>
                <a:gd name="connsiteY5" fmla="*/ 132924 h 173668"/>
                <a:gd name="connsiteX6" fmla="*/ 267582 w 292076"/>
                <a:gd name="connsiteY6" fmla="*/ 129700 h 173668"/>
                <a:gd name="connsiteX7" fmla="*/ 290149 w 292076"/>
                <a:gd name="connsiteY7" fmla="*/ 113581 h 173668"/>
                <a:gd name="connsiteX8" fmla="*/ 283701 w 292076"/>
                <a:gd name="connsiteY8" fmla="*/ 91014 h 173668"/>
                <a:gd name="connsiteX9" fmla="*/ 238568 w 292076"/>
                <a:gd name="connsiteY9" fmla="*/ 78118 h 173668"/>
                <a:gd name="connsiteX10" fmla="*/ 177313 w 292076"/>
                <a:gd name="connsiteY10" fmla="*/ 61999 h 173668"/>
                <a:gd name="connsiteX11" fmla="*/ 228895 w 292076"/>
                <a:gd name="connsiteY11" fmla="*/ 58775 h 173668"/>
                <a:gd name="connsiteX12" fmla="*/ 267582 w 292076"/>
                <a:gd name="connsiteY12" fmla="*/ 52327 h 173668"/>
                <a:gd name="connsiteX13" fmla="*/ 251462 w 292076"/>
                <a:gd name="connsiteY13" fmla="*/ 29760 h 173668"/>
                <a:gd name="connsiteX14" fmla="*/ 0 w 292076"/>
                <a:gd name="connsiteY14" fmla="*/ 29760 h 173668"/>
                <a:gd name="connsiteX15" fmla="*/ 19342 w 292076"/>
                <a:gd name="connsiteY15" fmla="*/ 123252 h 173668"/>
                <a:gd name="connsiteX16" fmla="*/ 119284 w 292076"/>
                <a:gd name="connsiteY16" fmla="*/ 155491 h 173668"/>
                <a:gd name="connsiteX17" fmla="*/ 183762 w 292076"/>
                <a:gd name="connsiteY17" fmla="*/ 165163 h 173668"/>
                <a:gd name="connsiteX18" fmla="*/ 216000 w 292076"/>
                <a:gd name="connsiteY18" fmla="*/ 165163 h 17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92076" h="173668">
                  <a:moveTo>
                    <a:pt x="216000" y="165163"/>
                  </a:moveTo>
                  <a:cubicBezTo>
                    <a:pt x="219223" y="158715"/>
                    <a:pt x="216000" y="152267"/>
                    <a:pt x="212775" y="149043"/>
                  </a:cubicBezTo>
                  <a:cubicBezTo>
                    <a:pt x="212775" y="149043"/>
                    <a:pt x="209552" y="145819"/>
                    <a:pt x="206329" y="145819"/>
                  </a:cubicBezTo>
                  <a:cubicBezTo>
                    <a:pt x="212775" y="145819"/>
                    <a:pt x="222449" y="149043"/>
                    <a:pt x="228895" y="149043"/>
                  </a:cubicBezTo>
                  <a:cubicBezTo>
                    <a:pt x="245014" y="152267"/>
                    <a:pt x="257910" y="149043"/>
                    <a:pt x="267582" y="139372"/>
                  </a:cubicBezTo>
                  <a:cubicBezTo>
                    <a:pt x="267582" y="139372"/>
                    <a:pt x="267582" y="136148"/>
                    <a:pt x="267582" y="132924"/>
                  </a:cubicBezTo>
                  <a:cubicBezTo>
                    <a:pt x="267582" y="132924"/>
                    <a:pt x="267582" y="132924"/>
                    <a:pt x="267582" y="129700"/>
                  </a:cubicBezTo>
                  <a:cubicBezTo>
                    <a:pt x="277253" y="126476"/>
                    <a:pt x="286926" y="123252"/>
                    <a:pt x="290149" y="113581"/>
                  </a:cubicBezTo>
                  <a:cubicBezTo>
                    <a:pt x="293372" y="103909"/>
                    <a:pt x="293372" y="97461"/>
                    <a:pt x="283701" y="91014"/>
                  </a:cubicBezTo>
                  <a:cubicBezTo>
                    <a:pt x="270807" y="81342"/>
                    <a:pt x="254687" y="81342"/>
                    <a:pt x="238568" y="78118"/>
                  </a:cubicBezTo>
                  <a:cubicBezTo>
                    <a:pt x="219223" y="71670"/>
                    <a:pt x="196656" y="68446"/>
                    <a:pt x="177313" y="61999"/>
                  </a:cubicBezTo>
                  <a:cubicBezTo>
                    <a:pt x="193433" y="61999"/>
                    <a:pt x="209552" y="58775"/>
                    <a:pt x="228895" y="58775"/>
                  </a:cubicBezTo>
                  <a:cubicBezTo>
                    <a:pt x="238568" y="58775"/>
                    <a:pt x="257910" y="58775"/>
                    <a:pt x="267582" y="52327"/>
                  </a:cubicBezTo>
                  <a:cubicBezTo>
                    <a:pt x="280478" y="42655"/>
                    <a:pt x="261134" y="32984"/>
                    <a:pt x="251462" y="29760"/>
                  </a:cubicBezTo>
                  <a:cubicBezTo>
                    <a:pt x="199881" y="13640"/>
                    <a:pt x="32239" y="-28270"/>
                    <a:pt x="0" y="29760"/>
                  </a:cubicBezTo>
                  <a:cubicBezTo>
                    <a:pt x="0" y="29760"/>
                    <a:pt x="3223" y="103909"/>
                    <a:pt x="19342" y="123252"/>
                  </a:cubicBezTo>
                  <a:cubicBezTo>
                    <a:pt x="41910" y="152267"/>
                    <a:pt x="83820" y="152267"/>
                    <a:pt x="119284" y="155491"/>
                  </a:cubicBezTo>
                  <a:cubicBezTo>
                    <a:pt x="141852" y="158715"/>
                    <a:pt x="161194" y="161939"/>
                    <a:pt x="183762" y="165163"/>
                  </a:cubicBezTo>
                  <a:cubicBezTo>
                    <a:pt x="193433" y="174834"/>
                    <a:pt x="209552" y="178058"/>
                    <a:pt x="216000" y="165163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28614ACA-BCC2-483D-90A9-5C226636E0A5}"/>
                </a:ext>
              </a:extLst>
            </p:cNvPr>
            <p:cNvSpPr/>
            <p:nvPr/>
          </p:nvSpPr>
          <p:spPr>
            <a:xfrm>
              <a:off x="26786918" y="3249134"/>
              <a:ext cx="121536" cy="90399"/>
            </a:xfrm>
            <a:custGeom>
              <a:avLst/>
              <a:gdLst>
                <a:gd name="connsiteX0" fmla="*/ 113333 w 121536"/>
                <a:gd name="connsiteY0" fmla="*/ 22277 h 90399"/>
                <a:gd name="connsiteX1" fmla="*/ 26290 w 121536"/>
                <a:gd name="connsiteY1" fmla="*/ 2934 h 90399"/>
                <a:gd name="connsiteX2" fmla="*/ 497 w 121536"/>
                <a:gd name="connsiteY2" fmla="*/ 64187 h 90399"/>
                <a:gd name="connsiteX3" fmla="*/ 48855 w 121536"/>
                <a:gd name="connsiteY3" fmla="*/ 48068 h 90399"/>
                <a:gd name="connsiteX4" fmla="*/ 93990 w 121536"/>
                <a:gd name="connsiteY4" fmla="*/ 70635 h 90399"/>
                <a:gd name="connsiteX5" fmla="*/ 110110 w 121536"/>
                <a:gd name="connsiteY5" fmla="*/ 89978 h 90399"/>
                <a:gd name="connsiteX6" fmla="*/ 113333 w 121536"/>
                <a:gd name="connsiteY6" fmla="*/ 22277 h 9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536" h="90399">
                  <a:moveTo>
                    <a:pt x="113333" y="22277"/>
                  </a:moveTo>
                  <a:cubicBezTo>
                    <a:pt x="97213" y="-290"/>
                    <a:pt x="48855" y="-3514"/>
                    <a:pt x="26290" y="2934"/>
                  </a:cubicBezTo>
                  <a:cubicBezTo>
                    <a:pt x="10170" y="9381"/>
                    <a:pt x="-2726" y="64187"/>
                    <a:pt x="497" y="64187"/>
                  </a:cubicBezTo>
                  <a:cubicBezTo>
                    <a:pt x="13393" y="60963"/>
                    <a:pt x="35961" y="48068"/>
                    <a:pt x="48855" y="48068"/>
                  </a:cubicBezTo>
                  <a:cubicBezTo>
                    <a:pt x="68200" y="48068"/>
                    <a:pt x="81094" y="57740"/>
                    <a:pt x="93990" y="70635"/>
                  </a:cubicBezTo>
                  <a:cubicBezTo>
                    <a:pt x="97213" y="77083"/>
                    <a:pt x="100439" y="93202"/>
                    <a:pt x="110110" y="89978"/>
                  </a:cubicBezTo>
                  <a:cubicBezTo>
                    <a:pt x="129452" y="83531"/>
                    <a:pt x="119781" y="35172"/>
                    <a:pt x="113333" y="22277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82B6BB81-6A2C-4DB3-8B70-A469470D0825}"/>
                </a:ext>
              </a:extLst>
            </p:cNvPr>
            <p:cNvSpPr/>
            <p:nvPr/>
          </p:nvSpPr>
          <p:spPr>
            <a:xfrm>
              <a:off x="26806760" y="3243334"/>
              <a:ext cx="113639" cy="102226"/>
            </a:xfrm>
            <a:custGeom>
              <a:avLst/>
              <a:gdLst>
                <a:gd name="connsiteX0" fmla="*/ 93491 w 113639"/>
                <a:gd name="connsiteY0" fmla="*/ 102227 h 102226"/>
                <a:gd name="connsiteX1" fmla="*/ 74149 w 113639"/>
                <a:gd name="connsiteY1" fmla="*/ 86107 h 102226"/>
                <a:gd name="connsiteX2" fmla="*/ 35462 w 113639"/>
                <a:gd name="connsiteY2" fmla="*/ 60316 h 102226"/>
                <a:gd name="connsiteX3" fmla="*/ 6448 w 113639"/>
                <a:gd name="connsiteY3" fmla="*/ 89331 h 102226"/>
                <a:gd name="connsiteX4" fmla="*/ 0 w 113639"/>
                <a:gd name="connsiteY4" fmla="*/ 86107 h 102226"/>
                <a:gd name="connsiteX5" fmla="*/ 3223 w 113639"/>
                <a:gd name="connsiteY5" fmla="*/ 79659 h 102226"/>
                <a:gd name="connsiteX6" fmla="*/ 25791 w 113639"/>
                <a:gd name="connsiteY6" fmla="*/ 53868 h 102226"/>
                <a:gd name="connsiteX7" fmla="*/ 32239 w 113639"/>
                <a:gd name="connsiteY7" fmla="*/ 50644 h 102226"/>
                <a:gd name="connsiteX8" fmla="*/ 83820 w 113639"/>
                <a:gd name="connsiteY8" fmla="*/ 79659 h 102226"/>
                <a:gd name="connsiteX9" fmla="*/ 93491 w 113639"/>
                <a:gd name="connsiteY9" fmla="*/ 89331 h 102226"/>
                <a:gd name="connsiteX10" fmla="*/ 96716 w 113639"/>
                <a:gd name="connsiteY10" fmla="*/ 86107 h 102226"/>
                <a:gd name="connsiteX11" fmla="*/ 87045 w 113639"/>
                <a:gd name="connsiteY11" fmla="*/ 31301 h 102226"/>
                <a:gd name="connsiteX12" fmla="*/ 6448 w 113639"/>
                <a:gd name="connsiteY12" fmla="*/ 15182 h 102226"/>
                <a:gd name="connsiteX13" fmla="*/ 0 w 113639"/>
                <a:gd name="connsiteY13" fmla="*/ 8734 h 102226"/>
                <a:gd name="connsiteX14" fmla="*/ 6448 w 113639"/>
                <a:gd name="connsiteY14" fmla="*/ 2286 h 102226"/>
                <a:gd name="connsiteX15" fmla="*/ 99940 w 113639"/>
                <a:gd name="connsiteY15" fmla="*/ 24853 h 102226"/>
                <a:gd name="connsiteX16" fmla="*/ 109611 w 113639"/>
                <a:gd name="connsiteY16" fmla="*/ 92555 h 102226"/>
                <a:gd name="connsiteX17" fmla="*/ 93491 w 113639"/>
                <a:gd name="connsiteY17" fmla="*/ 102227 h 102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3639" h="102226">
                  <a:moveTo>
                    <a:pt x="93491" y="102227"/>
                  </a:moveTo>
                  <a:cubicBezTo>
                    <a:pt x="83820" y="102227"/>
                    <a:pt x="80597" y="95779"/>
                    <a:pt x="74149" y="86107"/>
                  </a:cubicBezTo>
                  <a:cubicBezTo>
                    <a:pt x="64478" y="73212"/>
                    <a:pt x="54806" y="60316"/>
                    <a:pt x="35462" y="60316"/>
                  </a:cubicBezTo>
                  <a:cubicBezTo>
                    <a:pt x="32239" y="66764"/>
                    <a:pt x="22568" y="86107"/>
                    <a:pt x="6448" y="89331"/>
                  </a:cubicBezTo>
                  <a:cubicBezTo>
                    <a:pt x="3223" y="89331"/>
                    <a:pt x="0" y="89331"/>
                    <a:pt x="0" y="86107"/>
                  </a:cubicBezTo>
                  <a:cubicBezTo>
                    <a:pt x="0" y="82883"/>
                    <a:pt x="0" y="79659"/>
                    <a:pt x="3223" y="79659"/>
                  </a:cubicBezTo>
                  <a:cubicBezTo>
                    <a:pt x="16119" y="76435"/>
                    <a:pt x="22568" y="60316"/>
                    <a:pt x="25791" y="53868"/>
                  </a:cubicBezTo>
                  <a:cubicBezTo>
                    <a:pt x="25791" y="50644"/>
                    <a:pt x="29014" y="50644"/>
                    <a:pt x="32239" y="50644"/>
                  </a:cubicBezTo>
                  <a:cubicBezTo>
                    <a:pt x="61253" y="50644"/>
                    <a:pt x="74149" y="66764"/>
                    <a:pt x="83820" y="79659"/>
                  </a:cubicBezTo>
                  <a:cubicBezTo>
                    <a:pt x="87045" y="82883"/>
                    <a:pt x="93491" y="89331"/>
                    <a:pt x="93491" y="89331"/>
                  </a:cubicBezTo>
                  <a:cubicBezTo>
                    <a:pt x="93491" y="89331"/>
                    <a:pt x="96716" y="89331"/>
                    <a:pt x="96716" y="86107"/>
                  </a:cubicBezTo>
                  <a:cubicBezTo>
                    <a:pt x="103165" y="76435"/>
                    <a:pt x="99940" y="53868"/>
                    <a:pt x="87045" y="31301"/>
                  </a:cubicBezTo>
                  <a:cubicBezTo>
                    <a:pt x="74149" y="8734"/>
                    <a:pt x="25791" y="11958"/>
                    <a:pt x="6448" y="15182"/>
                  </a:cubicBezTo>
                  <a:cubicBezTo>
                    <a:pt x="3223" y="15182"/>
                    <a:pt x="0" y="11958"/>
                    <a:pt x="0" y="8734"/>
                  </a:cubicBezTo>
                  <a:cubicBezTo>
                    <a:pt x="0" y="5510"/>
                    <a:pt x="3223" y="2286"/>
                    <a:pt x="6448" y="2286"/>
                  </a:cubicBezTo>
                  <a:cubicBezTo>
                    <a:pt x="9671" y="2286"/>
                    <a:pt x="80597" y="-10609"/>
                    <a:pt x="99940" y="24853"/>
                  </a:cubicBezTo>
                  <a:cubicBezTo>
                    <a:pt x="116059" y="50644"/>
                    <a:pt x="116059" y="79659"/>
                    <a:pt x="109611" y="92555"/>
                  </a:cubicBezTo>
                  <a:cubicBezTo>
                    <a:pt x="103165" y="99003"/>
                    <a:pt x="96716" y="102227"/>
                    <a:pt x="93491" y="102227"/>
                  </a:cubicBezTo>
                  <a:close/>
                </a:path>
              </a:pathLst>
            </a:custGeom>
            <a:solidFill>
              <a:srgbClr val="E58777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2" name="图形 1">
              <a:extLst>
                <a:ext uri="{FF2B5EF4-FFF2-40B4-BE49-F238E27FC236}">
                  <a16:creationId xmlns:a16="http://schemas.microsoft.com/office/drawing/2014/main" id="{72DC0C50-3950-4F7F-ACB7-24C51E90A07B}"/>
                </a:ext>
              </a:extLst>
            </p:cNvPr>
            <p:cNvGrpSpPr/>
            <p:nvPr/>
          </p:nvGrpSpPr>
          <p:grpSpPr>
            <a:xfrm>
              <a:off x="26101480" y="3271411"/>
              <a:ext cx="265343" cy="183761"/>
              <a:chOff x="26101480" y="3271411"/>
              <a:chExt cx="265343" cy="183761"/>
            </a:xfrm>
          </p:grpSpPr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7E19CA4E-A956-4848-977E-03CCE499C95F}"/>
                  </a:ext>
                </a:extLst>
              </p:cNvPr>
              <p:cNvSpPr/>
              <p:nvPr/>
            </p:nvSpPr>
            <p:spPr>
              <a:xfrm>
                <a:off x="26101480" y="3280075"/>
                <a:ext cx="262509" cy="171873"/>
              </a:xfrm>
              <a:custGeom>
                <a:avLst/>
                <a:gdLst>
                  <a:gd name="connsiteX0" fmla="*/ 28265 w 262509"/>
                  <a:gd name="connsiteY0" fmla="*/ 117068 h 171873"/>
                  <a:gd name="connsiteX1" fmla="*/ 89517 w 262509"/>
                  <a:gd name="connsiteY1" fmla="*/ 126739 h 171873"/>
                  <a:gd name="connsiteX2" fmla="*/ 166891 w 262509"/>
                  <a:gd name="connsiteY2" fmla="*/ 171873 h 171873"/>
                  <a:gd name="connsiteX3" fmla="*/ 176562 w 262509"/>
                  <a:gd name="connsiteY3" fmla="*/ 168650 h 171873"/>
                  <a:gd name="connsiteX4" fmla="*/ 179787 w 262509"/>
                  <a:gd name="connsiteY4" fmla="*/ 149306 h 171873"/>
                  <a:gd name="connsiteX5" fmla="*/ 237817 w 262509"/>
                  <a:gd name="connsiteY5" fmla="*/ 165426 h 171873"/>
                  <a:gd name="connsiteX6" fmla="*/ 241040 w 262509"/>
                  <a:gd name="connsiteY6" fmla="*/ 155754 h 171873"/>
                  <a:gd name="connsiteX7" fmla="*/ 241040 w 262509"/>
                  <a:gd name="connsiteY7" fmla="*/ 155754 h 171873"/>
                  <a:gd name="connsiteX8" fmla="*/ 260384 w 262509"/>
                  <a:gd name="connsiteY8" fmla="*/ 146082 h 171873"/>
                  <a:gd name="connsiteX9" fmla="*/ 250711 w 262509"/>
                  <a:gd name="connsiteY9" fmla="*/ 117068 h 171873"/>
                  <a:gd name="connsiteX10" fmla="*/ 228146 w 262509"/>
                  <a:gd name="connsiteY10" fmla="*/ 88053 h 171873"/>
                  <a:gd name="connsiteX11" fmla="*/ 244265 w 262509"/>
                  <a:gd name="connsiteY11" fmla="*/ 91276 h 171873"/>
                  <a:gd name="connsiteX12" fmla="*/ 250711 w 262509"/>
                  <a:gd name="connsiteY12" fmla="*/ 84829 h 171873"/>
                  <a:gd name="connsiteX13" fmla="*/ 234592 w 262509"/>
                  <a:gd name="connsiteY13" fmla="*/ 55814 h 171873"/>
                  <a:gd name="connsiteX14" fmla="*/ 166891 w 262509"/>
                  <a:gd name="connsiteY14" fmla="*/ 7456 h 171873"/>
                  <a:gd name="connsiteX15" fmla="*/ 31488 w 262509"/>
                  <a:gd name="connsiteY15" fmla="*/ 26799 h 171873"/>
                  <a:gd name="connsiteX16" fmla="*/ 25040 w 262509"/>
                  <a:gd name="connsiteY16" fmla="*/ 36470 h 171873"/>
                  <a:gd name="connsiteX17" fmla="*/ 28265 w 262509"/>
                  <a:gd name="connsiteY17" fmla="*/ 117068 h 171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62509" h="171873">
                    <a:moveTo>
                      <a:pt x="28265" y="117068"/>
                    </a:moveTo>
                    <a:cubicBezTo>
                      <a:pt x="47607" y="129963"/>
                      <a:pt x="70175" y="120291"/>
                      <a:pt x="89517" y="126739"/>
                    </a:cubicBezTo>
                    <a:cubicBezTo>
                      <a:pt x="118533" y="133187"/>
                      <a:pt x="137875" y="162202"/>
                      <a:pt x="166891" y="171873"/>
                    </a:cubicBezTo>
                    <a:cubicBezTo>
                      <a:pt x="170114" y="171873"/>
                      <a:pt x="176562" y="171873"/>
                      <a:pt x="176562" y="168650"/>
                    </a:cubicBezTo>
                    <a:cubicBezTo>
                      <a:pt x="179787" y="162202"/>
                      <a:pt x="179787" y="155754"/>
                      <a:pt x="179787" y="149306"/>
                    </a:cubicBezTo>
                    <a:cubicBezTo>
                      <a:pt x="202353" y="165426"/>
                      <a:pt x="224921" y="178321"/>
                      <a:pt x="237817" y="165426"/>
                    </a:cubicBezTo>
                    <a:cubicBezTo>
                      <a:pt x="241040" y="162202"/>
                      <a:pt x="241040" y="158978"/>
                      <a:pt x="241040" y="155754"/>
                    </a:cubicBezTo>
                    <a:cubicBezTo>
                      <a:pt x="241040" y="155754"/>
                      <a:pt x="241040" y="155754"/>
                      <a:pt x="241040" y="155754"/>
                    </a:cubicBezTo>
                    <a:cubicBezTo>
                      <a:pt x="247488" y="155754"/>
                      <a:pt x="253936" y="155754"/>
                      <a:pt x="260384" y="146082"/>
                    </a:cubicBezTo>
                    <a:cubicBezTo>
                      <a:pt x="266831" y="136411"/>
                      <a:pt x="257159" y="123515"/>
                      <a:pt x="250711" y="117068"/>
                    </a:cubicBezTo>
                    <a:cubicBezTo>
                      <a:pt x="244265" y="107396"/>
                      <a:pt x="234592" y="97724"/>
                      <a:pt x="228146" y="88053"/>
                    </a:cubicBezTo>
                    <a:cubicBezTo>
                      <a:pt x="234592" y="91276"/>
                      <a:pt x="237817" y="91276"/>
                      <a:pt x="244265" y="91276"/>
                    </a:cubicBezTo>
                    <a:cubicBezTo>
                      <a:pt x="247488" y="91276"/>
                      <a:pt x="250711" y="88053"/>
                      <a:pt x="250711" y="84829"/>
                    </a:cubicBezTo>
                    <a:cubicBezTo>
                      <a:pt x="253936" y="71933"/>
                      <a:pt x="244265" y="65485"/>
                      <a:pt x="234592" y="55814"/>
                    </a:cubicBezTo>
                    <a:cubicBezTo>
                      <a:pt x="212026" y="39694"/>
                      <a:pt x="189459" y="20351"/>
                      <a:pt x="166891" y="7456"/>
                    </a:cubicBezTo>
                    <a:cubicBezTo>
                      <a:pt x="131429" y="-11888"/>
                      <a:pt x="63726" y="10679"/>
                      <a:pt x="31488" y="26799"/>
                    </a:cubicBezTo>
                    <a:cubicBezTo>
                      <a:pt x="28265" y="30023"/>
                      <a:pt x="25040" y="33247"/>
                      <a:pt x="25040" y="36470"/>
                    </a:cubicBezTo>
                    <a:cubicBezTo>
                      <a:pt x="-10422" y="59038"/>
                      <a:pt x="-7199" y="94500"/>
                      <a:pt x="28265" y="117068"/>
                    </a:cubicBez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B2B8D7F4-C0AC-465F-9D9B-B700356D91A6}"/>
                  </a:ext>
                </a:extLst>
              </p:cNvPr>
              <p:cNvSpPr/>
              <p:nvPr/>
            </p:nvSpPr>
            <p:spPr>
              <a:xfrm>
                <a:off x="26245804" y="3271411"/>
                <a:ext cx="106387" cy="99940"/>
              </a:xfrm>
              <a:custGeom>
                <a:avLst/>
                <a:gdLst>
                  <a:gd name="connsiteX0" fmla="*/ 83822 w 106387"/>
                  <a:gd name="connsiteY0" fmla="*/ 99940 h 99940"/>
                  <a:gd name="connsiteX1" fmla="*/ 77374 w 106387"/>
                  <a:gd name="connsiteY1" fmla="*/ 99940 h 99940"/>
                  <a:gd name="connsiteX2" fmla="*/ 70926 w 106387"/>
                  <a:gd name="connsiteY2" fmla="*/ 93493 h 99940"/>
                  <a:gd name="connsiteX3" fmla="*/ 77374 w 106387"/>
                  <a:gd name="connsiteY3" fmla="*/ 87045 h 99940"/>
                  <a:gd name="connsiteX4" fmla="*/ 93493 w 106387"/>
                  <a:gd name="connsiteY4" fmla="*/ 83821 h 99940"/>
                  <a:gd name="connsiteX5" fmla="*/ 93493 w 106387"/>
                  <a:gd name="connsiteY5" fmla="*/ 80597 h 99940"/>
                  <a:gd name="connsiteX6" fmla="*/ 3225 w 106387"/>
                  <a:gd name="connsiteY6" fmla="*/ 12896 h 99940"/>
                  <a:gd name="connsiteX7" fmla="*/ 0 w 106387"/>
                  <a:gd name="connsiteY7" fmla="*/ 3224 h 99940"/>
                  <a:gd name="connsiteX8" fmla="*/ 9671 w 106387"/>
                  <a:gd name="connsiteY8" fmla="*/ 0 h 99940"/>
                  <a:gd name="connsiteX9" fmla="*/ 106388 w 106387"/>
                  <a:gd name="connsiteY9" fmla="*/ 77373 h 99940"/>
                  <a:gd name="connsiteX10" fmla="*/ 103165 w 106387"/>
                  <a:gd name="connsiteY10" fmla="*/ 90269 h 99940"/>
                  <a:gd name="connsiteX11" fmla="*/ 83822 w 106387"/>
                  <a:gd name="connsiteY11" fmla="*/ 99940 h 99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6387" h="99940">
                    <a:moveTo>
                      <a:pt x="83822" y="99940"/>
                    </a:moveTo>
                    <a:cubicBezTo>
                      <a:pt x="80597" y="99940"/>
                      <a:pt x="77374" y="99940"/>
                      <a:pt x="77374" y="99940"/>
                    </a:cubicBezTo>
                    <a:cubicBezTo>
                      <a:pt x="74149" y="99940"/>
                      <a:pt x="70926" y="96716"/>
                      <a:pt x="70926" y="93493"/>
                    </a:cubicBezTo>
                    <a:cubicBezTo>
                      <a:pt x="70926" y="90269"/>
                      <a:pt x="74149" y="87045"/>
                      <a:pt x="77374" y="87045"/>
                    </a:cubicBezTo>
                    <a:cubicBezTo>
                      <a:pt x="80597" y="87045"/>
                      <a:pt x="90268" y="87045"/>
                      <a:pt x="93493" y="83821"/>
                    </a:cubicBezTo>
                    <a:cubicBezTo>
                      <a:pt x="93493" y="83821"/>
                      <a:pt x="93493" y="83821"/>
                      <a:pt x="93493" y="80597"/>
                    </a:cubicBezTo>
                    <a:cubicBezTo>
                      <a:pt x="90268" y="64478"/>
                      <a:pt x="38687" y="32239"/>
                      <a:pt x="3225" y="12896"/>
                    </a:cubicBezTo>
                    <a:cubicBezTo>
                      <a:pt x="0" y="9672"/>
                      <a:pt x="0" y="6448"/>
                      <a:pt x="0" y="3224"/>
                    </a:cubicBezTo>
                    <a:cubicBezTo>
                      <a:pt x="3225" y="0"/>
                      <a:pt x="6448" y="0"/>
                      <a:pt x="9671" y="0"/>
                    </a:cubicBezTo>
                    <a:cubicBezTo>
                      <a:pt x="25791" y="9672"/>
                      <a:pt x="103165" y="51582"/>
                      <a:pt x="106388" y="77373"/>
                    </a:cubicBezTo>
                    <a:cubicBezTo>
                      <a:pt x="106388" y="80597"/>
                      <a:pt x="106388" y="87045"/>
                      <a:pt x="103165" y="90269"/>
                    </a:cubicBezTo>
                    <a:cubicBezTo>
                      <a:pt x="99941" y="99940"/>
                      <a:pt x="90268" y="99940"/>
                      <a:pt x="83822" y="9994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7B1C7F20-7AAA-4983-94CA-BC9348A3E27B}"/>
                  </a:ext>
                </a:extLst>
              </p:cNvPr>
              <p:cNvSpPr/>
              <p:nvPr/>
            </p:nvSpPr>
            <p:spPr>
              <a:xfrm>
                <a:off x="26252252" y="3310904"/>
                <a:ext cx="114571" cy="131373"/>
              </a:xfrm>
              <a:custGeom>
                <a:avLst/>
                <a:gdLst>
                  <a:gd name="connsiteX0" fmla="*/ 87045 w 114571"/>
                  <a:gd name="connsiteY0" fmla="*/ 131373 h 131373"/>
                  <a:gd name="connsiteX1" fmla="*/ 80597 w 114571"/>
                  <a:gd name="connsiteY1" fmla="*/ 128149 h 131373"/>
                  <a:gd name="connsiteX2" fmla="*/ 3223 w 114571"/>
                  <a:gd name="connsiteY2" fmla="*/ 47552 h 131373"/>
                  <a:gd name="connsiteX3" fmla="*/ 0 w 114571"/>
                  <a:gd name="connsiteY3" fmla="*/ 37881 h 131373"/>
                  <a:gd name="connsiteX4" fmla="*/ 9671 w 114571"/>
                  <a:gd name="connsiteY4" fmla="*/ 34657 h 131373"/>
                  <a:gd name="connsiteX5" fmla="*/ 90268 w 114571"/>
                  <a:gd name="connsiteY5" fmla="*/ 115254 h 131373"/>
                  <a:gd name="connsiteX6" fmla="*/ 99940 w 114571"/>
                  <a:gd name="connsiteY6" fmla="*/ 108806 h 131373"/>
                  <a:gd name="connsiteX7" fmla="*/ 83820 w 114571"/>
                  <a:gd name="connsiteY7" fmla="*/ 76567 h 131373"/>
                  <a:gd name="connsiteX8" fmla="*/ 80597 w 114571"/>
                  <a:gd name="connsiteY8" fmla="*/ 73343 h 131373"/>
                  <a:gd name="connsiteX9" fmla="*/ 9671 w 114571"/>
                  <a:gd name="connsiteY9" fmla="*/ 12090 h 131373"/>
                  <a:gd name="connsiteX10" fmla="*/ 9671 w 114571"/>
                  <a:gd name="connsiteY10" fmla="*/ 2418 h 131373"/>
                  <a:gd name="connsiteX11" fmla="*/ 19342 w 114571"/>
                  <a:gd name="connsiteY11" fmla="*/ 2418 h 131373"/>
                  <a:gd name="connsiteX12" fmla="*/ 93493 w 114571"/>
                  <a:gd name="connsiteY12" fmla="*/ 66896 h 131373"/>
                  <a:gd name="connsiteX13" fmla="*/ 96716 w 114571"/>
                  <a:gd name="connsiteY13" fmla="*/ 70119 h 131373"/>
                  <a:gd name="connsiteX14" fmla="*/ 112836 w 114571"/>
                  <a:gd name="connsiteY14" fmla="*/ 115254 h 131373"/>
                  <a:gd name="connsiteX15" fmla="*/ 87045 w 114571"/>
                  <a:gd name="connsiteY15" fmla="*/ 131373 h 131373"/>
                  <a:gd name="connsiteX16" fmla="*/ 87045 w 114571"/>
                  <a:gd name="connsiteY16" fmla="*/ 131373 h 131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4571" h="131373">
                    <a:moveTo>
                      <a:pt x="87045" y="131373"/>
                    </a:moveTo>
                    <a:cubicBezTo>
                      <a:pt x="83820" y="131373"/>
                      <a:pt x="83820" y="131373"/>
                      <a:pt x="80597" y="128149"/>
                    </a:cubicBezTo>
                    <a:cubicBezTo>
                      <a:pt x="80597" y="128149"/>
                      <a:pt x="32239" y="60448"/>
                      <a:pt x="3223" y="47552"/>
                    </a:cubicBezTo>
                    <a:cubicBezTo>
                      <a:pt x="0" y="47552"/>
                      <a:pt x="0" y="41104"/>
                      <a:pt x="0" y="37881"/>
                    </a:cubicBezTo>
                    <a:cubicBezTo>
                      <a:pt x="0" y="34657"/>
                      <a:pt x="6448" y="34657"/>
                      <a:pt x="9671" y="34657"/>
                    </a:cubicBezTo>
                    <a:cubicBezTo>
                      <a:pt x="38687" y="47552"/>
                      <a:pt x="77374" y="99134"/>
                      <a:pt x="90268" y="115254"/>
                    </a:cubicBezTo>
                    <a:cubicBezTo>
                      <a:pt x="96716" y="112030"/>
                      <a:pt x="99940" y="112030"/>
                      <a:pt x="99940" y="108806"/>
                    </a:cubicBezTo>
                    <a:cubicBezTo>
                      <a:pt x="103165" y="99134"/>
                      <a:pt x="93493" y="86239"/>
                      <a:pt x="83820" y="76567"/>
                    </a:cubicBezTo>
                    <a:lnTo>
                      <a:pt x="80597" y="73343"/>
                    </a:lnTo>
                    <a:cubicBezTo>
                      <a:pt x="70926" y="60448"/>
                      <a:pt x="25791" y="24985"/>
                      <a:pt x="9671" y="12090"/>
                    </a:cubicBezTo>
                    <a:cubicBezTo>
                      <a:pt x="6448" y="8866"/>
                      <a:pt x="6448" y="5642"/>
                      <a:pt x="9671" y="2418"/>
                    </a:cubicBezTo>
                    <a:cubicBezTo>
                      <a:pt x="12896" y="-806"/>
                      <a:pt x="16119" y="-806"/>
                      <a:pt x="19342" y="2418"/>
                    </a:cubicBezTo>
                    <a:cubicBezTo>
                      <a:pt x="22568" y="5642"/>
                      <a:pt x="80597" y="47552"/>
                      <a:pt x="93493" y="66896"/>
                    </a:cubicBezTo>
                    <a:lnTo>
                      <a:pt x="96716" y="70119"/>
                    </a:lnTo>
                    <a:cubicBezTo>
                      <a:pt x="106388" y="83015"/>
                      <a:pt x="119284" y="99134"/>
                      <a:pt x="112836" y="115254"/>
                    </a:cubicBezTo>
                    <a:cubicBezTo>
                      <a:pt x="109613" y="121701"/>
                      <a:pt x="99940" y="128149"/>
                      <a:pt x="87045" y="131373"/>
                    </a:cubicBezTo>
                    <a:cubicBezTo>
                      <a:pt x="87045" y="131373"/>
                      <a:pt x="87045" y="131373"/>
                      <a:pt x="87045" y="13137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FBE7891E-0353-435E-B4FD-8BD183E96FF5}"/>
                  </a:ext>
                </a:extLst>
              </p:cNvPr>
              <p:cNvSpPr/>
              <p:nvPr/>
            </p:nvSpPr>
            <p:spPr>
              <a:xfrm>
                <a:off x="26190997" y="3364904"/>
                <a:ext cx="152140" cy="90268"/>
              </a:xfrm>
              <a:custGeom>
                <a:avLst/>
                <a:gdLst>
                  <a:gd name="connsiteX0" fmla="*/ 128955 w 152140"/>
                  <a:gd name="connsiteY0" fmla="*/ 90269 h 90268"/>
                  <a:gd name="connsiteX1" fmla="*/ 122509 w 152140"/>
                  <a:gd name="connsiteY1" fmla="*/ 90269 h 90268"/>
                  <a:gd name="connsiteX2" fmla="*/ 80597 w 152140"/>
                  <a:gd name="connsiteY2" fmla="*/ 67701 h 90268"/>
                  <a:gd name="connsiteX3" fmla="*/ 41912 w 152140"/>
                  <a:gd name="connsiteY3" fmla="*/ 19343 h 90268"/>
                  <a:gd name="connsiteX4" fmla="*/ 6448 w 152140"/>
                  <a:gd name="connsiteY4" fmla="*/ 12896 h 90268"/>
                  <a:gd name="connsiteX5" fmla="*/ 0 w 152140"/>
                  <a:gd name="connsiteY5" fmla="*/ 6448 h 90268"/>
                  <a:gd name="connsiteX6" fmla="*/ 6448 w 152140"/>
                  <a:gd name="connsiteY6" fmla="*/ 0 h 90268"/>
                  <a:gd name="connsiteX7" fmla="*/ 48358 w 152140"/>
                  <a:gd name="connsiteY7" fmla="*/ 9672 h 90268"/>
                  <a:gd name="connsiteX8" fmla="*/ 90270 w 152140"/>
                  <a:gd name="connsiteY8" fmla="*/ 61254 h 90268"/>
                  <a:gd name="connsiteX9" fmla="*/ 90270 w 152140"/>
                  <a:gd name="connsiteY9" fmla="*/ 61254 h 90268"/>
                  <a:gd name="connsiteX10" fmla="*/ 122509 w 152140"/>
                  <a:gd name="connsiteY10" fmla="*/ 80597 h 90268"/>
                  <a:gd name="connsiteX11" fmla="*/ 138628 w 152140"/>
                  <a:gd name="connsiteY11" fmla="*/ 70925 h 90268"/>
                  <a:gd name="connsiteX12" fmla="*/ 145075 w 152140"/>
                  <a:gd name="connsiteY12" fmla="*/ 64478 h 90268"/>
                  <a:gd name="connsiteX13" fmla="*/ 151523 w 152140"/>
                  <a:gd name="connsiteY13" fmla="*/ 70925 h 90268"/>
                  <a:gd name="connsiteX14" fmla="*/ 128955 w 152140"/>
                  <a:gd name="connsiteY14" fmla="*/ 90269 h 90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2140" h="90268">
                    <a:moveTo>
                      <a:pt x="128955" y="90269"/>
                    </a:moveTo>
                    <a:cubicBezTo>
                      <a:pt x="125732" y="90269"/>
                      <a:pt x="125732" y="90269"/>
                      <a:pt x="122509" y="90269"/>
                    </a:cubicBezTo>
                    <a:cubicBezTo>
                      <a:pt x="99941" y="87045"/>
                      <a:pt x="80597" y="67701"/>
                      <a:pt x="80597" y="67701"/>
                    </a:cubicBezTo>
                    <a:cubicBezTo>
                      <a:pt x="64478" y="45134"/>
                      <a:pt x="45135" y="22567"/>
                      <a:pt x="41912" y="19343"/>
                    </a:cubicBezTo>
                    <a:cubicBezTo>
                      <a:pt x="35464" y="16119"/>
                      <a:pt x="16119" y="12896"/>
                      <a:pt x="6448" y="12896"/>
                    </a:cubicBezTo>
                    <a:cubicBezTo>
                      <a:pt x="3225" y="12896"/>
                      <a:pt x="0" y="9672"/>
                      <a:pt x="0" y="6448"/>
                    </a:cubicBezTo>
                    <a:cubicBezTo>
                      <a:pt x="0" y="3224"/>
                      <a:pt x="3225" y="0"/>
                      <a:pt x="6448" y="0"/>
                    </a:cubicBezTo>
                    <a:cubicBezTo>
                      <a:pt x="9673" y="0"/>
                      <a:pt x="35464" y="3224"/>
                      <a:pt x="48358" y="9672"/>
                    </a:cubicBezTo>
                    <a:cubicBezTo>
                      <a:pt x="58031" y="16119"/>
                      <a:pt x="87045" y="54806"/>
                      <a:pt x="90270" y="61254"/>
                    </a:cubicBezTo>
                    <a:lnTo>
                      <a:pt x="90270" y="61254"/>
                    </a:lnTo>
                    <a:cubicBezTo>
                      <a:pt x="90270" y="61254"/>
                      <a:pt x="106390" y="77373"/>
                      <a:pt x="122509" y="80597"/>
                    </a:cubicBezTo>
                    <a:cubicBezTo>
                      <a:pt x="135403" y="83821"/>
                      <a:pt x="138628" y="74149"/>
                      <a:pt x="138628" y="70925"/>
                    </a:cubicBezTo>
                    <a:cubicBezTo>
                      <a:pt x="138628" y="67701"/>
                      <a:pt x="141852" y="64478"/>
                      <a:pt x="145075" y="64478"/>
                    </a:cubicBezTo>
                    <a:cubicBezTo>
                      <a:pt x="148300" y="64478"/>
                      <a:pt x="151523" y="67701"/>
                      <a:pt x="151523" y="70925"/>
                    </a:cubicBezTo>
                    <a:cubicBezTo>
                      <a:pt x="154748" y="80597"/>
                      <a:pt x="145075" y="90269"/>
                      <a:pt x="128955" y="9026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1411984F-284B-43DD-953F-D2AD0CD95805}"/>
                </a:ext>
              </a:extLst>
            </p:cNvPr>
            <p:cNvSpPr/>
            <p:nvPr/>
          </p:nvSpPr>
          <p:spPr>
            <a:xfrm>
              <a:off x="25874706" y="1870337"/>
              <a:ext cx="307377" cy="630459"/>
            </a:xfrm>
            <a:custGeom>
              <a:avLst/>
              <a:gdLst>
                <a:gd name="connsiteX0" fmla="*/ 42261 w 307377"/>
                <a:gd name="connsiteY0" fmla="*/ 601551 h 630459"/>
                <a:gd name="connsiteX1" fmla="*/ 145426 w 307377"/>
                <a:gd name="connsiteY1" fmla="*/ 546745 h 630459"/>
                <a:gd name="connsiteX2" fmla="*/ 303397 w 307377"/>
                <a:gd name="connsiteY2" fmla="*/ 224357 h 630459"/>
                <a:gd name="connsiteX3" fmla="*/ 351 w 307377"/>
                <a:gd name="connsiteY3" fmla="*/ 8357 h 630459"/>
                <a:gd name="connsiteX4" fmla="*/ 42261 w 307377"/>
                <a:gd name="connsiteY4" fmla="*/ 166328 h 630459"/>
                <a:gd name="connsiteX5" fmla="*/ 93845 w 307377"/>
                <a:gd name="connsiteY5" fmla="*/ 317850 h 630459"/>
                <a:gd name="connsiteX6" fmla="*/ 42261 w 307377"/>
                <a:gd name="connsiteY6" fmla="*/ 601551 h 630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7377" h="630459">
                  <a:moveTo>
                    <a:pt x="42261" y="601551"/>
                  </a:moveTo>
                  <a:cubicBezTo>
                    <a:pt x="51935" y="656357"/>
                    <a:pt x="39038" y="630566"/>
                    <a:pt x="145426" y="546745"/>
                  </a:cubicBezTo>
                  <a:cubicBezTo>
                    <a:pt x="290501" y="421014"/>
                    <a:pt x="319516" y="292059"/>
                    <a:pt x="303397" y="224357"/>
                  </a:cubicBezTo>
                  <a:cubicBezTo>
                    <a:pt x="271158" y="88954"/>
                    <a:pt x="119635" y="-33553"/>
                    <a:pt x="351" y="8357"/>
                  </a:cubicBezTo>
                  <a:cubicBezTo>
                    <a:pt x="-2872" y="8357"/>
                    <a:pt x="16471" y="114745"/>
                    <a:pt x="42261" y="166328"/>
                  </a:cubicBezTo>
                  <a:cubicBezTo>
                    <a:pt x="64829" y="214686"/>
                    <a:pt x="84173" y="266268"/>
                    <a:pt x="93845" y="317850"/>
                  </a:cubicBezTo>
                  <a:cubicBezTo>
                    <a:pt x="100293" y="379104"/>
                    <a:pt x="32590" y="556417"/>
                    <a:pt x="42261" y="601551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D1359315-486C-4A31-91D1-33B2E7BBE77F}"/>
                </a:ext>
              </a:extLst>
            </p:cNvPr>
            <p:cNvSpPr/>
            <p:nvPr/>
          </p:nvSpPr>
          <p:spPr>
            <a:xfrm>
              <a:off x="25697744" y="1913217"/>
              <a:ext cx="446870" cy="600920"/>
            </a:xfrm>
            <a:custGeom>
              <a:avLst/>
              <a:gdLst>
                <a:gd name="connsiteX0" fmla="*/ 438449 w 446870"/>
                <a:gd name="connsiteY0" fmla="*/ 194374 h 600920"/>
                <a:gd name="connsiteX1" fmla="*/ 425553 w 446870"/>
                <a:gd name="connsiteY1" fmla="*/ 465180 h 600920"/>
                <a:gd name="connsiteX2" fmla="*/ 267582 w 446870"/>
                <a:gd name="connsiteY2" fmla="*/ 600583 h 600920"/>
                <a:gd name="connsiteX3" fmla="*/ 38687 w 446870"/>
                <a:gd name="connsiteY3" fmla="*/ 449060 h 600920"/>
                <a:gd name="connsiteX4" fmla="*/ 0 w 446870"/>
                <a:gd name="connsiteY4" fmla="*/ 210493 h 600920"/>
                <a:gd name="connsiteX5" fmla="*/ 225672 w 446870"/>
                <a:gd name="connsiteY5" fmla="*/ 941 h 600920"/>
                <a:gd name="connsiteX6" fmla="*/ 438449 w 446870"/>
                <a:gd name="connsiteY6" fmla="*/ 194374 h 60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6870" h="600920">
                  <a:moveTo>
                    <a:pt x="438449" y="194374"/>
                  </a:moveTo>
                  <a:cubicBezTo>
                    <a:pt x="438449" y="194374"/>
                    <a:pt x="464240" y="394254"/>
                    <a:pt x="425553" y="465180"/>
                  </a:cubicBezTo>
                  <a:cubicBezTo>
                    <a:pt x="386866" y="536105"/>
                    <a:pt x="322388" y="597359"/>
                    <a:pt x="267582" y="600583"/>
                  </a:cubicBezTo>
                  <a:cubicBezTo>
                    <a:pt x="196658" y="607030"/>
                    <a:pt x="77374" y="519986"/>
                    <a:pt x="38687" y="449060"/>
                  </a:cubicBezTo>
                  <a:cubicBezTo>
                    <a:pt x="0" y="378135"/>
                    <a:pt x="0" y="265299"/>
                    <a:pt x="0" y="210493"/>
                  </a:cubicBezTo>
                  <a:cubicBezTo>
                    <a:pt x="3225" y="110553"/>
                    <a:pt x="32239" y="26732"/>
                    <a:pt x="225672" y="941"/>
                  </a:cubicBezTo>
                  <a:cubicBezTo>
                    <a:pt x="319165" y="-11955"/>
                    <a:pt x="419104" y="110553"/>
                    <a:pt x="438449" y="194374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9EBF26D5-450F-4ED2-BB36-8A195A08F4F1}"/>
                </a:ext>
              </a:extLst>
            </p:cNvPr>
            <p:cNvSpPr/>
            <p:nvPr/>
          </p:nvSpPr>
          <p:spPr>
            <a:xfrm>
              <a:off x="25936312" y="2197859"/>
              <a:ext cx="58029" cy="138626"/>
            </a:xfrm>
            <a:custGeom>
              <a:avLst/>
              <a:gdLst>
                <a:gd name="connsiteX0" fmla="*/ 32239 w 58029"/>
                <a:gd name="connsiteY0" fmla="*/ 138627 h 138626"/>
                <a:gd name="connsiteX1" fmla="*/ 6448 w 58029"/>
                <a:gd name="connsiteY1" fmla="*/ 135403 h 138626"/>
                <a:gd name="connsiteX2" fmla="*/ 0 w 58029"/>
                <a:gd name="connsiteY2" fmla="*/ 128955 h 138626"/>
                <a:gd name="connsiteX3" fmla="*/ 6448 w 58029"/>
                <a:gd name="connsiteY3" fmla="*/ 122507 h 138626"/>
                <a:gd name="connsiteX4" fmla="*/ 48358 w 58029"/>
                <a:gd name="connsiteY4" fmla="*/ 122507 h 138626"/>
                <a:gd name="connsiteX5" fmla="*/ 48358 w 58029"/>
                <a:gd name="connsiteY5" fmla="*/ 119284 h 138626"/>
                <a:gd name="connsiteX6" fmla="*/ 19342 w 58029"/>
                <a:gd name="connsiteY6" fmla="*/ 6448 h 138626"/>
                <a:gd name="connsiteX7" fmla="*/ 22568 w 58029"/>
                <a:gd name="connsiteY7" fmla="*/ 0 h 138626"/>
                <a:gd name="connsiteX8" fmla="*/ 29014 w 58029"/>
                <a:gd name="connsiteY8" fmla="*/ 3224 h 138626"/>
                <a:gd name="connsiteX9" fmla="*/ 58029 w 58029"/>
                <a:gd name="connsiteY9" fmla="*/ 119284 h 138626"/>
                <a:gd name="connsiteX10" fmla="*/ 51581 w 58029"/>
                <a:gd name="connsiteY10" fmla="*/ 132179 h 138626"/>
                <a:gd name="connsiteX11" fmla="*/ 32239 w 58029"/>
                <a:gd name="connsiteY11" fmla="*/ 138627 h 13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029" h="138626">
                  <a:moveTo>
                    <a:pt x="32239" y="138627"/>
                  </a:moveTo>
                  <a:cubicBezTo>
                    <a:pt x="19342" y="138627"/>
                    <a:pt x="9671" y="135403"/>
                    <a:pt x="6448" y="135403"/>
                  </a:cubicBezTo>
                  <a:cubicBezTo>
                    <a:pt x="3223" y="135403"/>
                    <a:pt x="0" y="132179"/>
                    <a:pt x="0" y="128955"/>
                  </a:cubicBezTo>
                  <a:cubicBezTo>
                    <a:pt x="0" y="125731"/>
                    <a:pt x="3223" y="122507"/>
                    <a:pt x="6448" y="122507"/>
                  </a:cubicBezTo>
                  <a:cubicBezTo>
                    <a:pt x="19342" y="125731"/>
                    <a:pt x="41910" y="125731"/>
                    <a:pt x="48358" y="122507"/>
                  </a:cubicBezTo>
                  <a:cubicBezTo>
                    <a:pt x="48358" y="122507"/>
                    <a:pt x="48358" y="119284"/>
                    <a:pt x="48358" y="119284"/>
                  </a:cubicBezTo>
                  <a:cubicBezTo>
                    <a:pt x="48358" y="103164"/>
                    <a:pt x="25791" y="32239"/>
                    <a:pt x="19342" y="6448"/>
                  </a:cubicBezTo>
                  <a:cubicBezTo>
                    <a:pt x="19342" y="3224"/>
                    <a:pt x="19342" y="0"/>
                    <a:pt x="22568" y="0"/>
                  </a:cubicBezTo>
                  <a:cubicBezTo>
                    <a:pt x="25791" y="0"/>
                    <a:pt x="29014" y="0"/>
                    <a:pt x="29014" y="3224"/>
                  </a:cubicBezTo>
                  <a:cubicBezTo>
                    <a:pt x="29014" y="6448"/>
                    <a:pt x="58029" y="96716"/>
                    <a:pt x="58029" y="119284"/>
                  </a:cubicBezTo>
                  <a:cubicBezTo>
                    <a:pt x="58029" y="125731"/>
                    <a:pt x="54806" y="128955"/>
                    <a:pt x="51581" y="132179"/>
                  </a:cubicBezTo>
                  <a:cubicBezTo>
                    <a:pt x="51581" y="138627"/>
                    <a:pt x="41910" y="138627"/>
                    <a:pt x="32239" y="138627"/>
                  </a:cubicBezTo>
                  <a:close/>
                </a:path>
              </a:pathLst>
            </a:custGeom>
            <a:solidFill>
              <a:srgbClr val="E58777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5A90B022-3F61-4A5D-8DAA-40F9AE419061}"/>
                </a:ext>
              </a:extLst>
            </p:cNvPr>
            <p:cNvSpPr/>
            <p:nvPr/>
          </p:nvSpPr>
          <p:spPr>
            <a:xfrm>
              <a:off x="25907296" y="2388068"/>
              <a:ext cx="112835" cy="58029"/>
            </a:xfrm>
            <a:custGeom>
              <a:avLst/>
              <a:gdLst>
                <a:gd name="connsiteX0" fmla="*/ 0 w 112835"/>
                <a:gd name="connsiteY0" fmla="*/ 0 h 58029"/>
                <a:gd name="connsiteX1" fmla="*/ 112836 w 112835"/>
                <a:gd name="connsiteY1" fmla="*/ 0 h 58029"/>
                <a:gd name="connsiteX2" fmla="*/ 58029 w 112835"/>
                <a:gd name="connsiteY2" fmla="*/ 58030 h 58029"/>
                <a:gd name="connsiteX3" fmla="*/ 0 w 112835"/>
                <a:gd name="connsiteY3" fmla="*/ 0 h 58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835" h="58029">
                  <a:moveTo>
                    <a:pt x="0" y="0"/>
                  </a:moveTo>
                  <a:cubicBezTo>
                    <a:pt x="58029" y="25791"/>
                    <a:pt x="112836" y="0"/>
                    <a:pt x="112836" y="0"/>
                  </a:cubicBezTo>
                  <a:cubicBezTo>
                    <a:pt x="112836" y="0"/>
                    <a:pt x="96716" y="58030"/>
                    <a:pt x="58029" y="58030"/>
                  </a:cubicBezTo>
                  <a:cubicBezTo>
                    <a:pt x="12896" y="5803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45B09921-C8E3-49F2-976F-51E45E2B1169}"/>
                </a:ext>
              </a:extLst>
            </p:cNvPr>
            <p:cNvSpPr/>
            <p:nvPr/>
          </p:nvSpPr>
          <p:spPr>
            <a:xfrm>
              <a:off x="26033028" y="2168212"/>
              <a:ext cx="42731" cy="43364"/>
            </a:xfrm>
            <a:custGeom>
              <a:avLst/>
              <a:gdLst>
                <a:gd name="connsiteX0" fmla="*/ 0 w 42731"/>
                <a:gd name="connsiteY0" fmla="*/ 26423 h 43364"/>
                <a:gd name="connsiteX1" fmla="*/ 25791 w 42731"/>
                <a:gd name="connsiteY1" fmla="*/ 42543 h 43364"/>
                <a:gd name="connsiteX2" fmla="*/ 41910 w 42731"/>
                <a:gd name="connsiteY2" fmla="*/ 16752 h 43364"/>
                <a:gd name="connsiteX3" fmla="*/ 16119 w 42731"/>
                <a:gd name="connsiteY3" fmla="*/ 632 h 43364"/>
                <a:gd name="connsiteX4" fmla="*/ 0 w 42731"/>
                <a:gd name="connsiteY4" fmla="*/ 26423 h 43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31" h="43364">
                  <a:moveTo>
                    <a:pt x="0" y="26423"/>
                  </a:moveTo>
                  <a:cubicBezTo>
                    <a:pt x="3223" y="39319"/>
                    <a:pt x="12894" y="45767"/>
                    <a:pt x="25791" y="42543"/>
                  </a:cubicBezTo>
                  <a:cubicBezTo>
                    <a:pt x="38687" y="39319"/>
                    <a:pt x="45133" y="29647"/>
                    <a:pt x="41910" y="16752"/>
                  </a:cubicBezTo>
                  <a:cubicBezTo>
                    <a:pt x="38687" y="7080"/>
                    <a:pt x="29014" y="-2591"/>
                    <a:pt x="16119" y="632"/>
                  </a:cubicBezTo>
                  <a:cubicBezTo>
                    <a:pt x="6448" y="3856"/>
                    <a:pt x="0" y="13528"/>
                    <a:pt x="0" y="2642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77C4246-7B18-405D-89D5-22A5696DAE9C}"/>
                </a:ext>
              </a:extLst>
            </p:cNvPr>
            <p:cNvSpPr/>
            <p:nvPr/>
          </p:nvSpPr>
          <p:spPr>
            <a:xfrm>
              <a:off x="25832326" y="2174470"/>
              <a:ext cx="43364" cy="43553"/>
            </a:xfrm>
            <a:custGeom>
              <a:avLst/>
              <a:gdLst>
                <a:gd name="connsiteX0" fmla="*/ 821 w 43364"/>
                <a:gd name="connsiteY0" fmla="*/ 26613 h 43553"/>
                <a:gd name="connsiteX1" fmla="*/ 26612 w 43364"/>
                <a:gd name="connsiteY1" fmla="*/ 42732 h 43553"/>
                <a:gd name="connsiteX2" fmla="*/ 42731 w 43364"/>
                <a:gd name="connsiteY2" fmla="*/ 16941 h 43553"/>
                <a:gd name="connsiteX3" fmla="*/ 16941 w 43364"/>
                <a:gd name="connsiteY3" fmla="*/ 822 h 43553"/>
                <a:gd name="connsiteX4" fmla="*/ 821 w 43364"/>
                <a:gd name="connsiteY4" fmla="*/ 26613 h 4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64" h="43553">
                  <a:moveTo>
                    <a:pt x="821" y="26613"/>
                  </a:moveTo>
                  <a:cubicBezTo>
                    <a:pt x="4044" y="39508"/>
                    <a:pt x="13718" y="45956"/>
                    <a:pt x="26612" y="42732"/>
                  </a:cubicBezTo>
                  <a:cubicBezTo>
                    <a:pt x="36283" y="39508"/>
                    <a:pt x="45956" y="29836"/>
                    <a:pt x="42731" y="16941"/>
                  </a:cubicBezTo>
                  <a:cubicBezTo>
                    <a:pt x="39508" y="4045"/>
                    <a:pt x="29837" y="-2402"/>
                    <a:pt x="16941" y="822"/>
                  </a:cubicBezTo>
                  <a:cubicBezTo>
                    <a:pt x="4044" y="4045"/>
                    <a:pt x="-2402" y="13717"/>
                    <a:pt x="821" y="2661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B00D590F-5F0F-4E57-8FB4-FDC831EC2A27}"/>
                </a:ext>
              </a:extLst>
            </p:cNvPr>
            <p:cNvSpPr/>
            <p:nvPr/>
          </p:nvSpPr>
          <p:spPr>
            <a:xfrm>
              <a:off x="26005902" y="2120486"/>
              <a:ext cx="97246" cy="32238"/>
            </a:xfrm>
            <a:custGeom>
              <a:avLst/>
              <a:gdLst>
                <a:gd name="connsiteX0" fmla="*/ 88379 w 97246"/>
                <a:gd name="connsiteY0" fmla="*/ 32239 h 32238"/>
                <a:gd name="connsiteX1" fmla="*/ 81933 w 97246"/>
                <a:gd name="connsiteY1" fmla="*/ 29015 h 32238"/>
                <a:gd name="connsiteX2" fmla="*/ 11007 w 97246"/>
                <a:gd name="connsiteY2" fmla="*/ 22567 h 32238"/>
                <a:gd name="connsiteX3" fmla="*/ 1336 w 97246"/>
                <a:gd name="connsiteY3" fmla="*/ 19343 h 32238"/>
                <a:gd name="connsiteX4" fmla="*/ 4559 w 97246"/>
                <a:gd name="connsiteY4" fmla="*/ 9672 h 32238"/>
                <a:gd name="connsiteX5" fmla="*/ 94827 w 97246"/>
                <a:gd name="connsiteY5" fmla="*/ 19343 h 32238"/>
                <a:gd name="connsiteX6" fmla="*/ 94827 w 97246"/>
                <a:gd name="connsiteY6" fmla="*/ 32239 h 32238"/>
                <a:gd name="connsiteX7" fmla="*/ 88379 w 97246"/>
                <a:gd name="connsiteY7" fmla="*/ 32239 h 32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6" h="32238">
                  <a:moveTo>
                    <a:pt x="88379" y="32239"/>
                  </a:moveTo>
                  <a:cubicBezTo>
                    <a:pt x="85156" y="32239"/>
                    <a:pt x="85156" y="32239"/>
                    <a:pt x="81933" y="29015"/>
                  </a:cubicBezTo>
                  <a:cubicBezTo>
                    <a:pt x="56140" y="0"/>
                    <a:pt x="11007" y="22567"/>
                    <a:pt x="11007" y="22567"/>
                  </a:cubicBezTo>
                  <a:cubicBezTo>
                    <a:pt x="7782" y="25791"/>
                    <a:pt x="1336" y="22567"/>
                    <a:pt x="1336" y="19343"/>
                  </a:cubicBezTo>
                  <a:cubicBezTo>
                    <a:pt x="-1889" y="16119"/>
                    <a:pt x="1336" y="9672"/>
                    <a:pt x="4559" y="9672"/>
                  </a:cubicBezTo>
                  <a:cubicBezTo>
                    <a:pt x="23902" y="0"/>
                    <a:pt x="65814" y="-9672"/>
                    <a:pt x="94827" y="19343"/>
                  </a:cubicBezTo>
                  <a:cubicBezTo>
                    <a:pt x="98052" y="22567"/>
                    <a:pt x="98052" y="29015"/>
                    <a:pt x="94827" y="32239"/>
                  </a:cubicBezTo>
                  <a:cubicBezTo>
                    <a:pt x="91604" y="29015"/>
                    <a:pt x="91604" y="32239"/>
                    <a:pt x="88379" y="32239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267F4F3A-1447-45BB-9E93-2FF45A17FEE8}"/>
                </a:ext>
              </a:extLst>
            </p:cNvPr>
            <p:cNvSpPr/>
            <p:nvPr/>
          </p:nvSpPr>
          <p:spPr>
            <a:xfrm>
              <a:off x="25804938" y="2115113"/>
              <a:ext cx="97246" cy="37611"/>
            </a:xfrm>
            <a:custGeom>
              <a:avLst/>
              <a:gdLst>
                <a:gd name="connsiteX0" fmla="*/ 8867 w 97246"/>
                <a:gd name="connsiteY0" fmla="*/ 37612 h 37611"/>
                <a:gd name="connsiteX1" fmla="*/ 2419 w 97246"/>
                <a:gd name="connsiteY1" fmla="*/ 34388 h 37611"/>
                <a:gd name="connsiteX2" fmla="*/ 2419 w 97246"/>
                <a:gd name="connsiteY2" fmla="*/ 21493 h 37611"/>
                <a:gd name="connsiteX3" fmla="*/ 92687 w 97246"/>
                <a:gd name="connsiteY3" fmla="*/ 11821 h 37611"/>
                <a:gd name="connsiteX4" fmla="*/ 95910 w 97246"/>
                <a:gd name="connsiteY4" fmla="*/ 24716 h 37611"/>
                <a:gd name="connsiteX5" fmla="*/ 83016 w 97246"/>
                <a:gd name="connsiteY5" fmla="*/ 27940 h 37611"/>
                <a:gd name="connsiteX6" fmla="*/ 12090 w 97246"/>
                <a:gd name="connsiteY6" fmla="*/ 34388 h 37611"/>
                <a:gd name="connsiteX7" fmla="*/ 8867 w 97246"/>
                <a:gd name="connsiteY7" fmla="*/ 37612 h 37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6" h="37611">
                  <a:moveTo>
                    <a:pt x="8867" y="37612"/>
                  </a:moveTo>
                  <a:cubicBezTo>
                    <a:pt x="5642" y="37612"/>
                    <a:pt x="5642" y="37612"/>
                    <a:pt x="2419" y="34388"/>
                  </a:cubicBezTo>
                  <a:cubicBezTo>
                    <a:pt x="-806" y="31164"/>
                    <a:pt x="-806" y="24716"/>
                    <a:pt x="2419" y="21493"/>
                  </a:cubicBezTo>
                  <a:cubicBezTo>
                    <a:pt x="15313" y="8597"/>
                    <a:pt x="54000" y="-13970"/>
                    <a:pt x="92687" y="11821"/>
                  </a:cubicBezTo>
                  <a:cubicBezTo>
                    <a:pt x="95910" y="15045"/>
                    <a:pt x="99135" y="18269"/>
                    <a:pt x="95910" y="24716"/>
                  </a:cubicBezTo>
                  <a:cubicBezTo>
                    <a:pt x="92687" y="27940"/>
                    <a:pt x="89464" y="31164"/>
                    <a:pt x="83016" y="27940"/>
                  </a:cubicBezTo>
                  <a:cubicBezTo>
                    <a:pt x="44329" y="2149"/>
                    <a:pt x="15313" y="34388"/>
                    <a:pt x="12090" y="34388"/>
                  </a:cubicBezTo>
                  <a:cubicBezTo>
                    <a:pt x="12090" y="37612"/>
                    <a:pt x="8867" y="37612"/>
                    <a:pt x="8867" y="37612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BE7906A3-7A1F-4602-BD60-A406D1BFF2E3}"/>
                </a:ext>
              </a:extLst>
            </p:cNvPr>
            <p:cNvSpPr/>
            <p:nvPr/>
          </p:nvSpPr>
          <p:spPr>
            <a:xfrm>
              <a:off x="25872846" y="1879033"/>
              <a:ext cx="292360" cy="273691"/>
            </a:xfrm>
            <a:custGeom>
              <a:avLst/>
              <a:gdLst>
                <a:gd name="connsiteX0" fmla="*/ 2211 w 292360"/>
                <a:gd name="connsiteY0" fmla="*/ 2886 h 273691"/>
                <a:gd name="connsiteX1" fmla="*/ 40898 w 292360"/>
                <a:gd name="connsiteY1" fmla="*/ 138289 h 273691"/>
                <a:gd name="connsiteX2" fmla="*/ 292360 w 292360"/>
                <a:gd name="connsiteY2" fmla="*/ 273692 h 273691"/>
                <a:gd name="connsiteX3" fmla="*/ 2211 w 292360"/>
                <a:gd name="connsiteY3" fmla="*/ 2886 h 273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2360" h="273691">
                  <a:moveTo>
                    <a:pt x="2211" y="2886"/>
                  </a:moveTo>
                  <a:cubicBezTo>
                    <a:pt x="2211" y="2886"/>
                    <a:pt x="-13908" y="96378"/>
                    <a:pt x="40898" y="138289"/>
                  </a:cubicBezTo>
                  <a:cubicBezTo>
                    <a:pt x="40898" y="138289"/>
                    <a:pt x="263347" y="183423"/>
                    <a:pt x="292360" y="273692"/>
                  </a:cubicBezTo>
                  <a:cubicBezTo>
                    <a:pt x="289137" y="270468"/>
                    <a:pt x="308480" y="-32577"/>
                    <a:pt x="2211" y="2886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6AEFE81D-0DBA-4C6F-A097-3429F8206947}"/>
                </a:ext>
              </a:extLst>
            </p:cNvPr>
            <p:cNvSpPr/>
            <p:nvPr/>
          </p:nvSpPr>
          <p:spPr>
            <a:xfrm>
              <a:off x="25635840" y="1881919"/>
              <a:ext cx="274681" cy="349105"/>
            </a:xfrm>
            <a:custGeom>
              <a:avLst/>
              <a:gdLst>
                <a:gd name="connsiteX0" fmla="*/ 274682 w 274681"/>
                <a:gd name="connsiteY0" fmla="*/ 135403 h 349105"/>
                <a:gd name="connsiteX1" fmla="*/ 126382 w 274681"/>
                <a:gd name="connsiteY1" fmla="*/ 193433 h 349105"/>
                <a:gd name="connsiteX2" fmla="*/ 65129 w 274681"/>
                <a:gd name="connsiteY2" fmla="*/ 319164 h 349105"/>
                <a:gd name="connsiteX3" fmla="*/ 652 w 274681"/>
                <a:gd name="connsiteY3" fmla="*/ 335284 h 349105"/>
                <a:gd name="connsiteX4" fmla="*/ 239218 w 274681"/>
                <a:gd name="connsiteY4" fmla="*/ 0 h 349105"/>
                <a:gd name="connsiteX5" fmla="*/ 274682 w 274681"/>
                <a:gd name="connsiteY5" fmla="*/ 135403 h 349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4681" h="349105">
                  <a:moveTo>
                    <a:pt x="274682" y="135403"/>
                  </a:moveTo>
                  <a:cubicBezTo>
                    <a:pt x="274682" y="135403"/>
                    <a:pt x="177965" y="186985"/>
                    <a:pt x="126382" y="193433"/>
                  </a:cubicBezTo>
                  <a:cubicBezTo>
                    <a:pt x="71576" y="199881"/>
                    <a:pt x="65129" y="319164"/>
                    <a:pt x="65129" y="319164"/>
                  </a:cubicBezTo>
                  <a:cubicBezTo>
                    <a:pt x="65129" y="319164"/>
                    <a:pt x="3875" y="373970"/>
                    <a:pt x="652" y="335284"/>
                  </a:cubicBezTo>
                  <a:cubicBezTo>
                    <a:pt x="-5796" y="251463"/>
                    <a:pt x="32891" y="19343"/>
                    <a:pt x="239218" y="0"/>
                  </a:cubicBezTo>
                  <a:cubicBezTo>
                    <a:pt x="239218" y="0"/>
                    <a:pt x="252114" y="128955"/>
                    <a:pt x="274682" y="135403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EEC456FD-8E86-4D68-8443-FCFCDAC707CB}"/>
                </a:ext>
              </a:extLst>
            </p:cNvPr>
            <p:cNvSpPr/>
            <p:nvPr/>
          </p:nvSpPr>
          <p:spPr>
            <a:xfrm>
              <a:off x="25843625" y="2459799"/>
              <a:ext cx="198268" cy="60447"/>
            </a:xfrm>
            <a:custGeom>
              <a:avLst/>
              <a:gdLst>
                <a:gd name="connsiteX0" fmla="*/ 118478 w 198268"/>
                <a:gd name="connsiteY0" fmla="*/ 60448 h 60447"/>
                <a:gd name="connsiteX1" fmla="*/ 108806 w 198268"/>
                <a:gd name="connsiteY1" fmla="*/ 60448 h 60447"/>
                <a:gd name="connsiteX2" fmla="*/ 2419 w 198268"/>
                <a:gd name="connsiteY2" fmla="*/ 12090 h 60447"/>
                <a:gd name="connsiteX3" fmla="*/ 2419 w 198268"/>
                <a:gd name="connsiteY3" fmla="*/ 2418 h 60447"/>
                <a:gd name="connsiteX4" fmla="*/ 12090 w 198268"/>
                <a:gd name="connsiteY4" fmla="*/ 2418 h 60447"/>
                <a:gd name="connsiteX5" fmla="*/ 112030 w 198268"/>
                <a:gd name="connsiteY5" fmla="*/ 47552 h 60447"/>
                <a:gd name="connsiteX6" fmla="*/ 186178 w 198268"/>
                <a:gd name="connsiteY6" fmla="*/ 21761 h 60447"/>
                <a:gd name="connsiteX7" fmla="*/ 195852 w 198268"/>
                <a:gd name="connsiteY7" fmla="*/ 21761 h 60447"/>
                <a:gd name="connsiteX8" fmla="*/ 195852 w 198268"/>
                <a:gd name="connsiteY8" fmla="*/ 31433 h 60447"/>
                <a:gd name="connsiteX9" fmla="*/ 118478 w 198268"/>
                <a:gd name="connsiteY9" fmla="*/ 60448 h 60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268" h="60447">
                  <a:moveTo>
                    <a:pt x="118478" y="60448"/>
                  </a:moveTo>
                  <a:cubicBezTo>
                    <a:pt x="115255" y="60448"/>
                    <a:pt x="112030" y="60448"/>
                    <a:pt x="108806" y="60448"/>
                  </a:cubicBezTo>
                  <a:cubicBezTo>
                    <a:pt x="63671" y="54000"/>
                    <a:pt x="5642" y="15313"/>
                    <a:pt x="2419" y="12090"/>
                  </a:cubicBezTo>
                  <a:cubicBezTo>
                    <a:pt x="-806" y="8866"/>
                    <a:pt x="-806" y="5642"/>
                    <a:pt x="2419" y="2418"/>
                  </a:cubicBezTo>
                  <a:cubicBezTo>
                    <a:pt x="5642" y="-806"/>
                    <a:pt x="8865" y="-806"/>
                    <a:pt x="12090" y="2418"/>
                  </a:cubicBezTo>
                  <a:cubicBezTo>
                    <a:pt x="12090" y="2418"/>
                    <a:pt x="73343" y="44328"/>
                    <a:pt x="112030" y="47552"/>
                  </a:cubicBezTo>
                  <a:cubicBezTo>
                    <a:pt x="150717" y="54000"/>
                    <a:pt x="186178" y="21761"/>
                    <a:pt x="186178" y="21761"/>
                  </a:cubicBezTo>
                  <a:cubicBezTo>
                    <a:pt x="189403" y="18537"/>
                    <a:pt x="192627" y="18537"/>
                    <a:pt x="195852" y="21761"/>
                  </a:cubicBezTo>
                  <a:cubicBezTo>
                    <a:pt x="199075" y="24985"/>
                    <a:pt x="199075" y="28209"/>
                    <a:pt x="195852" y="31433"/>
                  </a:cubicBezTo>
                  <a:cubicBezTo>
                    <a:pt x="189403" y="31433"/>
                    <a:pt x="160388" y="60448"/>
                    <a:pt x="118478" y="60448"/>
                  </a:cubicBezTo>
                  <a:close/>
                </a:path>
              </a:pathLst>
            </a:custGeom>
            <a:solidFill>
              <a:srgbClr val="E58777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D80E2BDB-A888-4585-9975-FCE8FC488FE9}"/>
                </a:ext>
              </a:extLst>
            </p:cNvPr>
            <p:cNvGrpSpPr/>
            <p:nvPr/>
          </p:nvGrpSpPr>
          <p:grpSpPr>
            <a:xfrm>
              <a:off x="25603364" y="1831024"/>
              <a:ext cx="582173" cy="640864"/>
              <a:chOff x="25603364" y="1831024"/>
              <a:chExt cx="582173" cy="640864"/>
            </a:xfrm>
          </p:grpSpPr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3D52A918-2444-4223-A44F-31422E831B20}"/>
                  </a:ext>
                </a:extLst>
              </p:cNvPr>
              <p:cNvSpPr/>
              <p:nvPr/>
            </p:nvSpPr>
            <p:spPr>
              <a:xfrm>
                <a:off x="25717088" y="2131113"/>
                <a:ext cx="132536" cy="340776"/>
              </a:xfrm>
              <a:custGeom>
                <a:avLst/>
                <a:gdLst>
                  <a:gd name="connsiteX0" fmla="*/ 58029 w 132536"/>
                  <a:gd name="connsiteY0" fmla="*/ 11940 h 340776"/>
                  <a:gd name="connsiteX1" fmla="*/ 122507 w 132536"/>
                  <a:gd name="connsiteY1" fmla="*/ 314985 h 340776"/>
                  <a:gd name="connsiteX2" fmla="*/ 132178 w 132536"/>
                  <a:gd name="connsiteY2" fmla="*/ 340776 h 340776"/>
                  <a:gd name="connsiteX3" fmla="*/ 0 w 132536"/>
                  <a:gd name="connsiteY3" fmla="*/ 40955 h 340776"/>
                  <a:gd name="connsiteX4" fmla="*/ 58029 w 132536"/>
                  <a:gd name="connsiteY4" fmla="*/ 11940 h 340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536" h="340776">
                    <a:moveTo>
                      <a:pt x="58029" y="11940"/>
                    </a:moveTo>
                    <a:cubicBezTo>
                      <a:pt x="58029" y="11940"/>
                      <a:pt x="48358" y="205373"/>
                      <a:pt x="122507" y="314985"/>
                    </a:cubicBezTo>
                    <a:cubicBezTo>
                      <a:pt x="135401" y="337552"/>
                      <a:pt x="132178" y="340776"/>
                      <a:pt x="132178" y="340776"/>
                    </a:cubicBezTo>
                    <a:cubicBezTo>
                      <a:pt x="9671" y="266627"/>
                      <a:pt x="0" y="40955"/>
                      <a:pt x="0" y="40955"/>
                    </a:cubicBezTo>
                    <a:cubicBezTo>
                      <a:pt x="0" y="40955"/>
                      <a:pt x="25791" y="-26746"/>
                      <a:pt x="58029" y="1194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B0245B7A-B842-4991-BDF2-954F32F8B57E}"/>
                  </a:ext>
                </a:extLst>
              </p:cNvPr>
              <p:cNvSpPr/>
              <p:nvPr/>
            </p:nvSpPr>
            <p:spPr>
              <a:xfrm>
                <a:off x="25610699" y="2178516"/>
                <a:ext cx="122509" cy="151522"/>
              </a:xfrm>
              <a:custGeom>
                <a:avLst/>
                <a:gdLst>
                  <a:gd name="connsiteX0" fmla="*/ 103165 w 122509"/>
                  <a:gd name="connsiteY0" fmla="*/ 106388 h 151522"/>
                  <a:gd name="connsiteX1" fmla="*/ 22568 w 122509"/>
                  <a:gd name="connsiteY1" fmla="*/ 0 h 151522"/>
                  <a:gd name="connsiteX2" fmla="*/ 0 w 122509"/>
                  <a:gd name="connsiteY2" fmla="*/ 25791 h 151522"/>
                  <a:gd name="connsiteX3" fmla="*/ 122509 w 122509"/>
                  <a:gd name="connsiteY3" fmla="*/ 151522 h 151522"/>
                  <a:gd name="connsiteX4" fmla="*/ 103165 w 122509"/>
                  <a:gd name="connsiteY4" fmla="*/ 106388 h 151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509" h="151522">
                    <a:moveTo>
                      <a:pt x="103165" y="106388"/>
                    </a:moveTo>
                    <a:cubicBezTo>
                      <a:pt x="103165" y="106388"/>
                      <a:pt x="29016" y="35463"/>
                      <a:pt x="22568" y="0"/>
                    </a:cubicBezTo>
                    <a:lnTo>
                      <a:pt x="0" y="25791"/>
                    </a:lnTo>
                    <a:cubicBezTo>
                      <a:pt x="0" y="25791"/>
                      <a:pt x="25793" y="128955"/>
                      <a:pt x="122509" y="151522"/>
                    </a:cubicBezTo>
                    <a:lnTo>
                      <a:pt x="103165" y="106388"/>
                    </a:ln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01D5734A-881F-4F7D-AEFD-B3C33D093E9D}"/>
                  </a:ext>
                </a:extLst>
              </p:cNvPr>
              <p:cNvSpPr/>
              <p:nvPr/>
            </p:nvSpPr>
            <p:spPr>
              <a:xfrm>
                <a:off x="25603364" y="1831024"/>
                <a:ext cx="582173" cy="405521"/>
              </a:xfrm>
              <a:custGeom>
                <a:avLst/>
                <a:gdLst>
                  <a:gd name="connsiteX0" fmla="*/ 23454 w 582173"/>
                  <a:gd name="connsiteY0" fmla="*/ 405522 h 405521"/>
                  <a:gd name="connsiteX1" fmla="*/ 23454 w 582173"/>
                  <a:gd name="connsiteY1" fmla="*/ 405522 h 405521"/>
                  <a:gd name="connsiteX2" fmla="*/ 23454 w 582173"/>
                  <a:gd name="connsiteY2" fmla="*/ 405522 h 405521"/>
                  <a:gd name="connsiteX3" fmla="*/ 71812 w 582173"/>
                  <a:gd name="connsiteY3" fmla="*/ 337820 h 405521"/>
                  <a:gd name="connsiteX4" fmla="*/ 81486 w 582173"/>
                  <a:gd name="connsiteY4" fmla="*/ 337820 h 405521"/>
                  <a:gd name="connsiteX5" fmla="*/ 171754 w 582173"/>
                  <a:gd name="connsiteY5" fmla="*/ 318477 h 405521"/>
                  <a:gd name="connsiteX6" fmla="*/ 574739 w 582173"/>
                  <a:gd name="connsiteY6" fmla="*/ 302357 h 405521"/>
                  <a:gd name="connsiteX7" fmla="*/ 397426 w 582173"/>
                  <a:gd name="connsiteY7" fmla="*/ 12208 h 405521"/>
                  <a:gd name="connsiteX8" fmla="*/ 197545 w 582173"/>
                  <a:gd name="connsiteY8" fmla="*/ 12208 h 405521"/>
                  <a:gd name="connsiteX9" fmla="*/ 39574 w 582173"/>
                  <a:gd name="connsiteY9" fmla="*/ 137939 h 405521"/>
                  <a:gd name="connsiteX10" fmla="*/ 23454 w 582173"/>
                  <a:gd name="connsiteY10" fmla="*/ 405522 h 405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2173" h="405521">
                    <a:moveTo>
                      <a:pt x="23454" y="405522"/>
                    </a:moveTo>
                    <a:cubicBezTo>
                      <a:pt x="23454" y="405522"/>
                      <a:pt x="23454" y="405522"/>
                      <a:pt x="23454" y="405522"/>
                    </a:cubicBezTo>
                    <a:cubicBezTo>
                      <a:pt x="23454" y="405522"/>
                      <a:pt x="23454" y="405522"/>
                      <a:pt x="23454" y="405522"/>
                    </a:cubicBezTo>
                    <a:cubicBezTo>
                      <a:pt x="26679" y="395850"/>
                      <a:pt x="39574" y="341044"/>
                      <a:pt x="71812" y="337820"/>
                    </a:cubicBezTo>
                    <a:cubicBezTo>
                      <a:pt x="75037" y="337820"/>
                      <a:pt x="78261" y="337820"/>
                      <a:pt x="81486" y="337820"/>
                    </a:cubicBezTo>
                    <a:cubicBezTo>
                      <a:pt x="123396" y="347492"/>
                      <a:pt x="91157" y="389402"/>
                      <a:pt x="171754" y="318477"/>
                    </a:cubicBezTo>
                    <a:cubicBezTo>
                      <a:pt x="291038" y="208865"/>
                      <a:pt x="574739" y="302357"/>
                      <a:pt x="574739" y="302357"/>
                    </a:cubicBezTo>
                    <a:cubicBezTo>
                      <a:pt x="610201" y="137939"/>
                      <a:pt x="513484" y="37999"/>
                      <a:pt x="397426" y="12208"/>
                    </a:cubicBezTo>
                    <a:cubicBezTo>
                      <a:pt x="336171" y="-687"/>
                      <a:pt x="265245" y="-7135"/>
                      <a:pt x="197545" y="12208"/>
                    </a:cubicBezTo>
                    <a:cubicBezTo>
                      <a:pt x="136290" y="28328"/>
                      <a:pt x="78261" y="67014"/>
                      <a:pt x="39574" y="137939"/>
                    </a:cubicBezTo>
                    <a:cubicBezTo>
                      <a:pt x="-34575" y="283014"/>
                      <a:pt x="17008" y="395850"/>
                      <a:pt x="23454" y="405522"/>
                    </a:cubicBez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3B50AF20-BDF3-491C-A0BD-4C56DB806C09}"/>
                  </a:ext>
                </a:extLst>
              </p:cNvPr>
              <p:cNvSpPr/>
              <p:nvPr/>
            </p:nvSpPr>
            <p:spPr>
              <a:xfrm>
                <a:off x="25712599" y="2293697"/>
                <a:ext cx="62518" cy="58908"/>
              </a:xfrm>
              <a:custGeom>
                <a:avLst/>
                <a:gdLst>
                  <a:gd name="connsiteX0" fmla="*/ 56071 w 62518"/>
                  <a:gd name="connsiteY0" fmla="*/ 10550 h 58908"/>
                  <a:gd name="connsiteX1" fmla="*/ 62519 w 62518"/>
                  <a:gd name="connsiteY1" fmla="*/ 29894 h 58908"/>
                  <a:gd name="connsiteX2" fmla="*/ 56071 w 62518"/>
                  <a:gd name="connsiteY2" fmla="*/ 46013 h 58908"/>
                  <a:gd name="connsiteX3" fmla="*/ 23832 w 62518"/>
                  <a:gd name="connsiteY3" fmla="*/ 58909 h 58908"/>
                  <a:gd name="connsiteX4" fmla="*/ 10936 w 62518"/>
                  <a:gd name="connsiteY4" fmla="*/ 49237 h 58908"/>
                  <a:gd name="connsiteX5" fmla="*/ 1264 w 62518"/>
                  <a:gd name="connsiteY5" fmla="*/ 23446 h 58908"/>
                  <a:gd name="connsiteX6" fmla="*/ 7713 w 62518"/>
                  <a:gd name="connsiteY6" fmla="*/ 7326 h 58908"/>
                  <a:gd name="connsiteX7" fmla="*/ 43174 w 62518"/>
                  <a:gd name="connsiteY7" fmla="*/ 879 h 58908"/>
                  <a:gd name="connsiteX8" fmla="*/ 56071 w 62518"/>
                  <a:gd name="connsiteY8" fmla="*/ 10550 h 5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2518" h="58908">
                    <a:moveTo>
                      <a:pt x="56071" y="10550"/>
                    </a:moveTo>
                    <a:cubicBezTo>
                      <a:pt x="56071" y="16998"/>
                      <a:pt x="59294" y="23446"/>
                      <a:pt x="62519" y="29894"/>
                    </a:cubicBezTo>
                    <a:cubicBezTo>
                      <a:pt x="62519" y="36341"/>
                      <a:pt x="62519" y="42789"/>
                      <a:pt x="56071" y="46013"/>
                    </a:cubicBezTo>
                    <a:cubicBezTo>
                      <a:pt x="46400" y="52461"/>
                      <a:pt x="33503" y="58909"/>
                      <a:pt x="23832" y="58909"/>
                    </a:cubicBezTo>
                    <a:cubicBezTo>
                      <a:pt x="17384" y="58909"/>
                      <a:pt x="14161" y="55685"/>
                      <a:pt x="10936" y="49237"/>
                    </a:cubicBezTo>
                    <a:cubicBezTo>
                      <a:pt x="7713" y="42789"/>
                      <a:pt x="4489" y="33117"/>
                      <a:pt x="1264" y="23446"/>
                    </a:cubicBezTo>
                    <a:cubicBezTo>
                      <a:pt x="-1959" y="16998"/>
                      <a:pt x="1264" y="10550"/>
                      <a:pt x="7713" y="7326"/>
                    </a:cubicBezTo>
                    <a:cubicBezTo>
                      <a:pt x="17384" y="4103"/>
                      <a:pt x="30280" y="-2345"/>
                      <a:pt x="43174" y="879"/>
                    </a:cubicBezTo>
                    <a:cubicBezTo>
                      <a:pt x="52848" y="879"/>
                      <a:pt x="56071" y="4103"/>
                      <a:pt x="56071" y="10550"/>
                    </a:cubicBezTo>
                    <a:close/>
                  </a:path>
                </a:pathLst>
              </a:custGeom>
              <a:solidFill>
                <a:srgbClr val="718AAF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E650C1F1-93BE-4153-B12D-6AEECFFA3D90}"/>
                  </a:ext>
                </a:extLst>
              </p:cNvPr>
              <p:cNvSpPr/>
              <p:nvPr/>
            </p:nvSpPr>
            <p:spPr>
              <a:xfrm>
                <a:off x="25603364" y="1843232"/>
                <a:ext cx="197544" cy="393313"/>
              </a:xfrm>
              <a:custGeom>
                <a:avLst/>
                <a:gdLst>
                  <a:gd name="connsiteX0" fmla="*/ 23454 w 197544"/>
                  <a:gd name="connsiteY0" fmla="*/ 393313 h 393313"/>
                  <a:gd name="connsiteX1" fmla="*/ 23454 w 197544"/>
                  <a:gd name="connsiteY1" fmla="*/ 393313 h 393313"/>
                  <a:gd name="connsiteX2" fmla="*/ 71812 w 197544"/>
                  <a:gd name="connsiteY2" fmla="*/ 325612 h 393313"/>
                  <a:gd name="connsiteX3" fmla="*/ 197545 w 197544"/>
                  <a:gd name="connsiteY3" fmla="*/ 0 h 393313"/>
                  <a:gd name="connsiteX4" fmla="*/ 39574 w 197544"/>
                  <a:gd name="connsiteY4" fmla="*/ 125731 h 393313"/>
                  <a:gd name="connsiteX5" fmla="*/ 23454 w 197544"/>
                  <a:gd name="connsiteY5" fmla="*/ 393313 h 393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7544" h="393313">
                    <a:moveTo>
                      <a:pt x="23454" y="393313"/>
                    </a:moveTo>
                    <a:lnTo>
                      <a:pt x="23454" y="393313"/>
                    </a:lnTo>
                    <a:cubicBezTo>
                      <a:pt x="26679" y="383642"/>
                      <a:pt x="39574" y="328836"/>
                      <a:pt x="71812" y="325612"/>
                    </a:cubicBezTo>
                    <a:cubicBezTo>
                      <a:pt x="55693" y="199881"/>
                      <a:pt x="152409" y="61254"/>
                      <a:pt x="197545" y="0"/>
                    </a:cubicBezTo>
                    <a:cubicBezTo>
                      <a:pt x="136290" y="16119"/>
                      <a:pt x="78261" y="54806"/>
                      <a:pt x="39574" y="125731"/>
                    </a:cubicBezTo>
                    <a:cubicBezTo>
                      <a:pt x="-34575" y="270806"/>
                      <a:pt x="17008" y="383642"/>
                      <a:pt x="23454" y="393313"/>
                    </a:cubicBezTo>
                    <a:close/>
                  </a:path>
                </a:pathLst>
              </a:custGeom>
              <a:solidFill>
                <a:srgbClr val="718AAF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01F82497-7983-41BF-88DB-6AE3B03D1445}"/>
                  </a:ext>
                </a:extLst>
              </p:cNvPr>
              <p:cNvSpPr/>
              <p:nvPr/>
            </p:nvSpPr>
            <p:spPr>
              <a:xfrm>
                <a:off x="25736431" y="2007239"/>
                <a:ext cx="45135" cy="71336"/>
              </a:xfrm>
              <a:custGeom>
                <a:avLst/>
                <a:gdLst>
                  <a:gd name="connsiteX0" fmla="*/ 0 w 45135"/>
                  <a:gd name="connsiteY0" fmla="*/ 35873 h 71336"/>
                  <a:gd name="connsiteX1" fmla="*/ 22568 w 45135"/>
                  <a:gd name="connsiteY1" fmla="*/ 71336 h 71336"/>
                  <a:gd name="connsiteX2" fmla="*/ 45135 w 45135"/>
                  <a:gd name="connsiteY2" fmla="*/ 35873 h 71336"/>
                  <a:gd name="connsiteX3" fmla="*/ 22568 w 45135"/>
                  <a:gd name="connsiteY3" fmla="*/ 411 h 71336"/>
                  <a:gd name="connsiteX4" fmla="*/ 0 w 45135"/>
                  <a:gd name="connsiteY4" fmla="*/ 35873 h 7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135" h="71336">
                    <a:moveTo>
                      <a:pt x="0" y="35873"/>
                    </a:moveTo>
                    <a:cubicBezTo>
                      <a:pt x="0" y="55217"/>
                      <a:pt x="9671" y="71336"/>
                      <a:pt x="22568" y="71336"/>
                    </a:cubicBezTo>
                    <a:cubicBezTo>
                      <a:pt x="35462" y="71336"/>
                      <a:pt x="45135" y="55217"/>
                      <a:pt x="45135" y="35873"/>
                    </a:cubicBezTo>
                    <a:cubicBezTo>
                      <a:pt x="45135" y="16530"/>
                      <a:pt x="35462" y="411"/>
                      <a:pt x="22568" y="411"/>
                    </a:cubicBezTo>
                    <a:cubicBezTo>
                      <a:pt x="9671" y="-2813"/>
                      <a:pt x="0" y="13306"/>
                      <a:pt x="0" y="35873"/>
                    </a:cubicBezTo>
                    <a:close/>
                  </a:path>
                </a:pathLst>
              </a:custGeom>
              <a:solidFill>
                <a:srgbClr val="718AAF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C718A4C9-8C14-4C8D-9379-73EC876A70F9}"/>
                  </a:ext>
                </a:extLst>
              </p:cNvPr>
              <p:cNvSpPr/>
              <p:nvPr/>
            </p:nvSpPr>
            <p:spPr>
              <a:xfrm>
                <a:off x="26094151" y="1972940"/>
                <a:ext cx="57336" cy="62971"/>
              </a:xfrm>
              <a:custGeom>
                <a:avLst/>
                <a:gdLst>
                  <a:gd name="connsiteX0" fmla="*/ 9803 w 57336"/>
                  <a:gd name="connsiteY0" fmla="*/ 44381 h 62971"/>
                  <a:gd name="connsiteX1" fmla="*/ 51713 w 57336"/>
                  <a:gd name="connsiteY1" fmla="*/ 60501 h 62971"/>
                  <a:gd name="connsiteX2" fmla="*/ 45265 w 57336"/>
                  <a:gd name="connsiteY2" fmla="*/ 18590 h 62971"/>
                  <a:gd name="connsiteX3" fmla="*/ 3355 w 57336"/>
                  <a:gd name="connsiteY3" fmla="*/ 2471 h 62971"/>
                  <a:gd name="connsiteX4" fmla="*/ 9803 w 57336"/>
                  <a:gd name="connsiteY4" fmla="*/ 44381 h 62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336" h="62971">
                    <a:moveTo>
                      <a:pt x="9803" y="44381"/>
                    </a:moveTo>
                    <a:cubicBezTo>
                      <a:pt x="22697" y="60501"/>
                      <a:pt x="42042" y="66948"/>
                      <a:pt x="51713" y="60501"/>
                    </a:cubicBezTo>
                    <a:cubicBezTo>
                      <a:pt x="61384" y="54053"/>
                      <a:pt x="58161" y="34710"/>
                      <a:pt x="45265" y="18590"/>
                    </a:cubicBezTo>
                    <a:cubicBezTo>
                      <a:pt x="32369" y="2471"/>
                      <a:pt x="13026" y="-3977"/>
                      <a:pt x="3355" y="2471"/>
                    </a:cubicBezTo>
                    <a:cubicBezTo>
                      <a:pt x="-3093" y="8919"/>
                      <a:pt x="130" y="28262"/>
                      <a:pt x="9803" y="44381"/>
                    </a:cubicBezTo>
                    <a:close/>
                  </a:path>
                </a:pathLst>
              </a:custGeom>
              <a:solidFill>
                <a:srgbClr val="718AAF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5" name="图形 1">
              <a:extLst>
                <a:ext uri="{FF2B5EF4-FFF2-40B4-BE49-F238E27FC236}">
                  <a16:creationId xmlns:a16="http://schemas.microsoft.com/office/drawing/2014/main" id="{D084552B-6F4E-4ED9-BA4B-27917A9468F1}"/>
                </a:ext>
              </a:extLst>
            </p:cNvPr>
            <p:cNvGrpSpPr/>
            <p:nvPr/>
          </p:nvGrpSpPr>
          <p:grpSpPr>
            <a:xfrm>
              <a:off x="25868609" y="5325313"/>
              <a:ext cx="458659" cy="483292"/>
              <a:chOff x="25868609" y="5325313"/>
              <a:chExt cx="458659" cy="483292"/>
            </a:xfrm>
          </p:grpSpPr>
          <p:grpSp>
            <p:nvGrpSpPr>
              <p:cNvPr id="54" name="图形 1">
                <a:extLst>
                  <a:ext uri="{FF2B5EF4-FFF2-40B4-BE49-F238E27FC236}">
                    <a16:creationId xmlns:a16="http://schemas.microsoft.com/office/drawing/2014/main" id="{24FDA35A-2F55-4E4C-9DF2-707D7F926D28}"/>
                  </a:ext>
                </a:extLst>
              </p:cNvPr>
              <p:cNvGrpSpPr/>
              <p:nvPr/>
            </p:nvGrpSpPr>
            <p:grpSpPr>
              <a:xfrm>
                <a:off x="26181326" y="5692545"/>
                <a:ext cx="116060" cy="116059"/>
                <a:chOff x="26181326" y="5692545"/>
                <a:chExt cx="116060" cy="116059"/>
              </a:xfrm>
            </p:grpSpPr>
            <p:sp>
              <p:nvSpPr>
                <p:cNvPr id="68" name="任意多边形: 形状 67">
                  <a:extLst>
                    <a:ext uri="{FF2B5EF4-FFF2-40B4-BE49-F238E27FC236}">
                      <a16:creationId xmlns:a16="http://schemas.microsoft.com/office/drawing/2014/main" id="{718FA856-42D5-4A6D-91B8-8CBCB4540CCA}"/>
                    </a:ext>
                  </a:extLst>
                </p:cNvPr>
                <p:cNvSpPr/>
                <p:nvPr/>
              </p:nvSpPr>
              <p:spPr>
                <a:xfrm>
                  <a:off x="26181326" y="5692545"/>
                  <a:ext cx="116060" cy="116059"/>
                </a:xfrm>
                <a:custGeom>
                  <a:avLst/>
                  <a:gdLst>
                    <a:gd name="connsiteX0" fmla="*/ 0 w 116060"/>
                    <a:gd name="connsiteY0" fmla="*/ 58030 h 116059"/>
                    <a:gd name="connsiteX1" fmla="*/ 58029 w 116060"/>
                    <a:gd name="connsiteY1" fmla="*/ 116060 h 116059"/>
                    <a:gd name="connsiteX2" fmla="*/ 116061 w 116060"/>
                    <a:gd name="connsiteY2" fmla="*/ 58030 h 116059"/>
                    <a:gd name="connsiteX3" fmla="*/ 58029 w 116060"/>
                    <a:gd name="connsiteY3" fmla="*/ 0 h 116059"/>
                    <a:gd name="connsiteX4" fmla="*/ 0 w 116060"/>
                    <a:gd name="connsiteY4" fmla="*/ 58030 h 1160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6060" h="116059">
                      <a:moveTo>
                        <a:pt x="0" y="58030"/>
                      </a:moveTo>
                      <a:cubicBezTo>
                        <a:pt x="0" y="90269"/>
                        <a:pt x="25791" y="116060"/>
                        <a:pt x="58029" y="116060"/>
                      </a:cubicBezTo>
                      <a:cubicBezTo>
                        <a:pt x="90268" y="116060"/>
                        <a:pt x="116061" y="90269"/>
                        <a:pt x="116061" y="58030"/>
                      </a:cubicBezTo>
                      <a:cubicBezTo>
                        <a:pt x="116061" y="25791"/>
                        <a:pt x="90268" y="0"/>
                        <a:pt x="58029" y="0"/>
                      </a:cubicBezTo>
                      <a:cubicBezTo>
                        <a:pt x="25791" y="0"/>
                        <a:pt x="0" y="25791"/>
                        <a:pt x="0" y="58030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9" name="任意多边形: 形状 68">
                  <a:extLst>
                    <a:ext uri="{FF2B5EF4-FFF2-40B4-BE49-F238E27FC236}">
                      <a16:creationId xmlns:a16="http://schemas.microsoft.com/office/drawing/2014/main" id="{8B2031A5-30CE-4C4E-B031-C5CD87A497B1}"/>
                    </a:ext>
                  </a:extLst>
                </p:cNvPr>
                <p:cNvSpPr/>
                <p:nvPr/>
              </p:nvSpPr>
              <p:spPr>
                <a:xfrm>
                  <a:off x="26213565" y="5724784"/>
                  <a:ext cx="51583" cy="51582"/>
                </a:xfrm>
                <a:custGeom>
                  <a:avLst/>
                  <a:gdLst>
                    <a:gd name="connsiteX0" fmla="*/ 0 w 51583"/>
                    <a:gd name="connsiteY0" fmla="*/ 25791 h 51582"/>
                    <a:gd name="connsiteX1" fmla="*/ 25791 w 51583"/>
                    <a:gd name="connsiteY1" fmla="*/ 51582 h 51582"/>
                    <a:gd name="connsiteX2" fmla="*/ 51583 w 51583"/>
                    <a:gd name="connsiteY2" fmla="*/ 25791 h 51582"/>
                    <a:gd name="connsiteX3" fmla="*/ 25791 w 51583"/>
                    <a:gd name="connsiteY3" fmla="*/ 0 h 51582"/>
                    <a:gd name="connsiteX4" fmla="*/ 0 w 51583"/>
                    <a:gd name="connsiteY4" fmla="*/ 25791 h 51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583" h="51582">
                      <a:moveTo>
                        <a:pt x="0" y="25791"/>
                      </a:moveTo>
                      <a:cubicBezTo>
                        <a:pt x="0" y="38687"/>
                        <a:pt x="12896" y="51582"/>
                        <a:pt x="25791" y="51582"/>
                      </a:cubicBezTo>
                      <a:cubicBezTo>
                        <a:pt x="38687" y="51582"/>
                        <a:pt x="51583" y="38687"/>
                        <a:pt x="51583" y="25791"/>
                      </a:cubicBezTo>
                      <a:cubicBezTo>
                        <a:pt x="51583" y="12896"/>
                        <a:pt x="38687" y="0"/>
                        <a:pt x="25791" y="0"/>
                      </a:cubicBezTo>
                      <a:cubicBezTo>
                        <a:pt x="9671" y="0"/>
                        <a:pt x="0" y="9672"/>
                        <a:pt x="0" y="25791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55" name="图形 1">
                <a:extLst>
                  <a:ext uri="{FF2B5EF4-FFF2-40B4-BE49-F238E27FC236}">
                    <a16:creationId xmlns:a16="http://schemas.microsoft.com/office/drawing/2014/main" id="{AC0E607E-DD49-4FAD-93FC-E00FF7FAA24D}"/>
                  </a:ext>
                </a:extLst>
              </p:cNvPr>
              <p:cNvGrpSpPr/>
              <p:nvPr/>
            </p:nvGrpSpPr>
            <p:grpSpPr>
              <a:xfrm>
                <a:off x="26033028" y="5692545"/>
                <a:ext cx="116058" cy="116059"/>
                <a:chOff x="26033028" y="5692545"/>
                <a:chExt cx="116058" cy="116059"/>
              </a:xfrm>
            </p:grpSpPr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EE5927A7-68FB-402B-B3EF-1F3C7AA1B870}"/>
                    </a:ext>
                  </a:extLst>
                </p:cNvPr>
                <p:cNvSpPr/>
                <p:nvPr/>
              </p:nvSpPr>
              <p:spPr>
                <a:xfrm>
                  <a:off x="26033028" y="5692545"/>
                  <a:ext cx="116058" cy="116059"/>
                </a:xfrm>
                <a:custGeom>
                  <a:avLst/>
                  <a:gdLst>
                    <a:gd name="connsiteX0" fmla="*/ 0 w 116058"/>
                    <a:gd name="connsiteY0" fmla="*/ 58030 h 116059"/>
                    <a:gd name="connsiteX1" fmla="*/ 58029 w 116058"/>
                    <a:gd name="connsiteY1" fmla="*/ 116060 h 116059"/>
                    <a:gd name="connsiteX2" fmla="*/ 116059 w 116058"/>
                    <a:gd name="connsiteY2" fmla="*/ 58030 h 116059"/>
                    <a:gd name="connsiteX3" fmla="*/ 58029 w 116058"/>
                    <a:gd name="connsiteY3" fmla="*/ 0 h 116059"/>
                    <a:gd name="connsiteX4" fmla="*/ 0 w 116058"/>
                    <a:gd name="connsiteY4" fmla="*/ 58030 h 1160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6058" h="116059">
                      <a:moveTo>
                        <a:pt x="0" y="58030"/>
                      </a:moveTo>
                      <a:cubicBezTo>
                        <a:pt x="0" y="90269"/>
                        <a:pt x="25791" y="116060"/>
                        <a:pt x="58029" y="116060"/>
                      </a:cubicBezTo>
                      <a:cubicBezTo>
                        <a:pt x="90268" y="116060"/>
                        <a:pt x="116059" y="90269"/>
                        <a:pt x="116059" y="58030"/>
                      </a:cubicBezTo>
                      <a:cubicBezTo>
                        <a:pt x="116059" y="25791"/>
                        <a:pt x="90268" y="0"/>
                        <a:pt x="58029" y="0"/>
                      </a:cubicBezTo>
                      <a:cubicBezTo>
                        <a:pt x="25791" y="0"/>
                        <a:pt x="0" y="25791"/>
                        <a:pt x="0" y="58030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7" name="任意多边形: 形状 66">
                  <a:extLst>
                    <a:ext uri="{FF2B5EF4-FFF2-40B4-BE49-F238E27FC236}">
                      <a16:creationId xmlns:a16="http://schemas.microsoft.com/office/drawing/2014/main" id="{6929A306-7FF2-4293-8344-98AC5EB0CDEE}"/>
                    </a:ext>
                  </a:extLst>
                </p:cNvPr>
                <p:cNvSpPr/>
                <p:nvPr/>
              </p:nvSpPr>
              <p:spPr>
                <a:xfrm>
                  <a:off x="26065267" y="5724784"/>
                  <a:ext cx="51581" cy="51582"/>
                </a:xfrm>
                <a:custGeom>
                  <a:avLst/>
                  <a:gdLst>
                    <a:gd name="connsiteX0" fmla="*/ 0 w 51581"/>
                    <a:gd name="connsiteY0" fmla="*/ 25791 h 51582"/>
                    <a:gd name="connsiteX1" fmla="*/ 25791 w 51581"/>
                    <a:gd name="connsiteY1" fmla="*/ 51582 h 51582"/>
                    <a:gd name="connsiteX2" fmla="*/ 51581 w 51581"/>
                    <a:gd name="connsiteY2" fmla="*/ 25791 h 51582"/>
                    <a:gd name="connsiteX3" fmla="*/ 25791 w 51581"/>
                    <a:gd name="connsiteY3" fmla="*/ 0 h 51582"/>
                    <a:gd name="connsiteX4" fmla="*/ 0 w 51581"/>
                    <a:gd name="connsiteY4" fmla="*/ 25791 h 51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581" h="51582">
                      <a:moveTo>
                        <a:pt x="0" y="25791"/>
                      </a:moveTo>
                      <a:cubicBezTo>
                        <a:pt x="0" y="38687"/>
                        <a:pt x="12894" y="51582"/>
                        <a:pt x="25791" y="51582"/>
                      </a:cubicBezTo>
                      <a:cubicBezTo>
                        <a:pt x="38687" y="51582"/>
                        <a:pt x="51581" y="38687"/>
                        <a:pt x="51581" y="25791"/>
                      </a:cubicBezTo>
                      <a:cubicBezTo>
                        <a:pt x="51581" y="12896"/>
                        <a:pt x="38687" y="0"/>
                        <a:pt x="25791" y="0"/>
                      </a:cubicBezTo>
                      <a:cubicBezTo>
                        <a:pt x="9671" y="0"/>
                        <a:pt x="0" y="9672"/>
                        <a:pt x="0" y="25791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56" name="图形 1">
                <a:extLst>
                  <a:ext uri="{FF2B5EF4-FFF2-40B4-BE49-F238E27FC236}">
                    <a16:creationId xmlns:a16="http://schemas.microsoft.com/office/drawing/2014/main" id="{2938BC81-0659-4EA3-A244-487704779AE1}"/>
                  </a:ext>
                </a:extLst>
              </p:cNvPr>
              <p:cNvGrpSpPr/>
              <p:nvPr/>
            </p:nvGrpSpPr>
            <p:grpSpPr>
              <a:xfrm>
                <a:off x="25894402" y="5673202"/>
                <a:ext cx="116058" cy="116059"/>
                <a:chOff x="25894402" y="5673202"/>
                <a:chExt cx="116058" cy="116059"/>
              </a:xfrm>
            </p:grpSpPr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6AE27A01-C779-483E-992F-A8E6F851408F}"/>
                    </a:ext>
                  </a:extLst>
                </p:cNvPr>
                <p:cNvSpPr/>
                <p:nvPr/>
              </p:nvSpPr>
              <p:spPr>
                <a:xfrm>
                  <a:off x="25894402" y="5673202"/>
                  <a:ext cx="116058" cy="116059"/>
                </a:xfrm>
                <a:custGeom>
                  <a:avLst/>
                  <a:gdLst>
                    <a:gd name="connsiteX0" fmla="*/ 0 w 116058"/>
                    <a:gd name="connsiteY0" fmla="*/ 58030 h 116059"/>
                    <a:gd name="connsiteX1" fmla="*/ 58029 w 116058"/>
                    <a:gd name="connsiteY1" fmla="*/ 116060 h 116059"/>
                    <a:gd name="connsiteX2" fmla="*/ 116059 w 116058"/>
                    <a:gd name="connsiteY2" fmla="*/ 58030 h 116059"/>
                    <a:gd name="connsiteX3" fmla="*/ 58029 w 116058"/>
                    <a:gd name="connsiteY3" fmla="*/ 0 h 116059"/>
                    <a:gd name="connsiteX4" fmla="*/ 0 w 116058"/>
                    <a:gd name="connsiteY4" fmla="*/ 58030 h 1160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6058" h="116059">
                      <a:moveTo>
                        <a:pt x="0" y="58030"/>
                      </a:moveTo>
                      <a:cubicBezTo>
                        <a:pt x="0" y="90269"/>
                        <a:pt x="25791" y="116060"/>
                        <a:pt x="58029" y="116060"/>
                      </a:cubicBezTo>
                      <a:cubicBezTo>
                        <a:pt x="90268" y="116060"/>
                        <a:pt x="116059" y="90269"/>
                        <a:pt x="116059" y="58030"/>
                      </a:cubicBezTo>
                      <a:cubicBezTo>
                        <a:pt x="116059" y="25791"/>
                        <a:pt x="90268" y="0"/>
                        <a:pt x="58029" y="0"/>
                      </a:cubicBezTo>
                      <a:cubicBezTo>
                        <a:pt x="25791" y="0"/>
                        <a:pt x="0" y="25791"/>
                        <a:pt x="0" y="58030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141A3483-FD2D-4999-B614-A34831D4F4E6}"/>
                    </a:ext>
                  </a:extLst>
                </p:cNvPr>
                <p:cNvSpPr/>
                <p:nvPr/>
              </p:nvSpPr>
              <p:spPr>
                <a:xfrm>
                  <a:off x="25926641" y="5705441"/>
                  <a:ext cx="51581" cy="51582"/>
                </a:xfrm>
                <a:custGeom>
                  <a:avLst/>
                  <a:gdLst>
                    <a:gd name="connsiteX0" fmla="*/ 0 w 51581"/>
                    <a:gd name="connsiteY0" fmla="*/ 25791 h 51582"/>
                    <a:gd name="connsiteX1" fmla="*/ 25791 w 51581"/>
                    <a:gd name="connsiteY1" fmla="*/ 51582 h 51582"/>
                    <a:gd name="connsiteX2" fmla="*/ 51581 w 51581"/>
                    <a:gd name="connsiteY2" fmla="*/ 25791 h 51582"/>
                    <a:gd name="connsiteX3" fmla="*/ 25791 w 51581"/>
                    <a:gd name="connsiteY3" fmla="*/ 0 h 51582"/>
                    <a:gd name="connsiteX4" fmla="*/ 0 w 51581"/>
                    <a:gd name="connsiteY4" fmla="*/ 25791 h 51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581" h="51582">
                      <a:moveTo>
                        <a:pt x="0" y="25791"/>
                      </a:moveTo>
                      <a:cubicBezTo>
                        <a:pt x="0" y="38687"/>
                        <a:pt x="12894" y="51582"/>
                        <a:pt x="25791" y="51582"/>
                      </a:cubicBezTo>
                      <a:cubicBezTo>
                        <a:pt x="38685" y="51582"/>
                        <a:pt x="51581" y="38687"/>
                        <a:pt x="51581" y="25791"/>
                      </a:cubicBezTo>
                      <a:cubicBezTo>
                        <a:pt x="51581" y="12896"/>
                        <a:pt x="38685" y="0"/>
                        <a:pt x="25791" y="0"/>
                      </a:cubicBezTo>
                      <a:cubicBezTo>
                        <a:pt x="9671" y="0"/>
                        <a:pt x="0" y="12896"/>
                        <a:pt x="0" y="25791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04F8C73F-8511-4BE0-9502-8DF205635782}"/>
                  </a:ext>
                </a:extLst>
              </p:cNvPr>
              <p:cNvSpPr/>
              <p:nvPr/>
            </p:nvSpPr>
            <p:spPr>
              <a:xfrm>
                <a:off x="25868609" y="5621554"/>
                <a:ext cx="457791" cy="111080"/>
              </a:xfrm>
              <a:custGeom>
                <a:avLst/>
                <a:gdLst>
                  <a:gd name="connsiteX0" fmla="*/ 419104 w 457791"/>
                  <a:gd name="connsiteY0" fmla="*/ 35528 h 111080"/>
                  <a:gd name="connsiteX1" fmla="*/ 457791 w 457791"/>
                  <a:gd name="connsiteY1" fmla="*/ 103230 h 111080"/>
                  <a:gd name="connsiteX2" fmla="*/ 0 w 457791"/>
                  <a:gd name="connsiteY2" fmla="*/ 87111 h 111080"/>
                  <a:gd name="connsiteX3" fmla="*/ 74151 w 457791"/>
                  <a:gd name="connsiteY3" fmla="*/ 3290 h 111080"/>
                  <a:gd name="connsiteX4" fmla="*/ 419104 w 457791"/>
                  <a:gd name="connsiteY4" fmla="*/ 35528 h 111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791" h="111080">
                    <a:moveTo>
                      <a:pt x="419104" y="35528"/>
                    </a:moveTo>
                    <a:cubicBezTo>
                      <a:pt x="419104" y="35528"/>
                      <a:pt x="454568" y="58096"/>
                      <a:pt x="457791" y="103230"/>
                    </a:cubicBezTo>
                    <a:cubicBezTo>
                      <a:pt x="457791" y="103230"/>
                      <a:pt x="141852" y="129021"/>
                      <a:pt x="0" y="87111"/>
                    </a:cubicBezTo>
                    <a:cubicBezTo>
                      <a:pt x="0" y="87111"/>
                      <a:pt x="12896" y="19409"/>
                      <a:pt x="74151" y="3290"/>
                    </a:cubicBezTo>
                    <a:cubicBezTo>
                      <a:pt x="141852" y="-12830"/>
                      <a:pt x="419104" y="35528"/>
                      <a:pt x="419104" y="35528"/>
                    </a:cubicBezTo>
                    <a:close/>
                  </a:path>
                </a:pathLst>
              </a:custGeom>
              <a:solidFill>
                <a:srgbClr val="6C5D6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D51E6A3B-F171-4D8C-B745-74C93215722F}"/>
                  </a:ext>
                </a:extLst>
              </p:cNvPr>
              <p:cNvSpPr/>
              <p:nvPr/>
            </p:nvSpPr>
            <p:spPr>
              <a:xfrm>
                <a:off x="25917499" y="5355236"/>
                <a:ext cx="345269" cy="343757"/>
              </a:xfrm>
              <a:custGeom>
                <a:avLst/>
                <a:gdLst>
                  <a:gd name="connsiteX0" fmla="*/ 263827 w 345269"/>
                  <a:gd name="connsiteY0" fmla="*/ 47160 h 343757"/>
                  <a:gd name="connsiteX1" fmla="*/ 218694 w 345269"/>
                  <a:gd name="connsiteY1" fmla="*/ 166444 h 343757"/>
                  <a:gd name="connsiteX2" fmla="*/ 325081 w 345269"/>
                  <a:gd name="connsiteY2" fmla="*/ 211578 h 343757"/>
                  <a:gd name="connsiteX3" fmla="*/ 305737 w 345269"/>
                  <a:gd name="connsiteY3" fmla="*/ 343757 h 343757"/>
                  <a:gd name="connsiteX4" fmla="*/ 5916 w 345269"/>
                  <a:gd name="connsiteY4" fmla="*/ 298623 h 343757"/>
                  <a:gd name="connsiteX5" fmla="*/ 44603 w 345269"/>
                  <a:gd name="connsiteY5" fmla="*/ 37489 h 343757"/>
                  <a:gd name="connsiteX6" fmla="*/ 60723 w 345269"/>
                  <a:gd name="connsiteY6" fmla="*/ 18145 h 343757"/>
                  <a:gd name="connsiteX7" fmla="*/ 263827 w 345269"/>
                  <a:gd name="connsiteY7" fmla="*/ 47160 h 343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5269" h="343757">
                    <a:moveTo>
                      <a:pt x="263827" y="47160"/>
                    </a:moveTo>
                    <a:cubicBezTo>
                      <a:pt x="263827" y="47160"/>
                      <a:pt x="238036" y="121310"/>
                      <a:pt x="218694" y="166444"/>
                    </a:cubicBezTo>
                    <a:cubicBezTo>
                      <a:pt x="218694" y="166444"/>
                      <a:pt x="270275" y="201907"/>
                      <a:pt x="325081" y="211578"/>
                    </a:cubicBezTo>
                    <a:cubicBezTo>
                      <a:pt x="379888" y="224474"/>
                      <a:pt x="305737" y="343757"/>
                      <a:pt x="305737" y="343757"/>
                    </a:cubicBezTo>
                    <a:cubicBezTo>
                      <a:pt x="305737" y="343757"/>
                      <a:pt x="31707" y="334086"/>
                      <a:pt x="5916" y="298623"/>
                    </a:cubicBezTo>
                    <a:cubicBezTo>
                      <a:pt x="-16651" y="266384"/>
                      <a:pt x="31707" y="89071"/>
                      <a:pt x="44603" y="37489"/>
                    </a:cubicBezTo>
                    <a:cubicBezTo>
                      <a:pt x="47826" y="27817"/>
                      <a:pt x="54275" y="21369"/>
                      <a:pt x="60723" y="18145"/>
                    </a:cubicBezTo>
                    <a:cubicBezTo>
                      <a:pt x="96185" y="5250"/>
                      <a:pt x="196126" y="-26989"/>
                      <a:pt x="263827" y="4716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BCB70EC6-09BE-4997-8676-E7F0B845672A}"/>
                  </a:ext>
                </a:extLst>
              </p:cNvPr>
              <p:cNvSpPr/>
              <p:nvPr/>
            </p:nvSpPr>
            <p:spPr>
              <a:xfrm>
                <a:off x="26142639" y="5569191"/>
                <a:ext cx="184629" cy="132682"/>
              </a:xfrm>
              <a:custGeom>
                <a:avLst/>
                <a:gdLst>
                  <a:gd name="connsiteX0" fmla="*/ 0 w 184629"/>
                  <a:gd name="connsiteY0" fmla="*/ 126578 h 132682"/>
                  <a:gd name="connsiteX1" fmla="*/ 128955 w 184629"/>
                  <a:gd name="connsiteY1" fmla="*/ 847 h 132682"/>
                  <a:gd name="connsiteX2" fmla="*/ 183762 w 184629"/>
                  <a:gd name="connsiteY2" fmla="*/ 100787 h 132682"/>
                  <a:gd name="connsiteX3" fmla="*/ 164419 w 184629"/>
                  <a:gd name="connsiteY3" fmla="*/ 126578 h 132682"/>
                  <a:gd name="connsiteX4" fmla="*/ 0 w 184629"/>
                  <a:gd name="connsiteY4" fmla="*/ 126578 h 132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629" h="132682">
                    <a:moveTo>
                      <a:pt x="0" y="126578"/>
                    </a:moveTo>
                    <a:cubicBezTo>
                      <a:pt x="0" y="126578"/>
                      <a:pt x="54806" y="-12049"/>
                      <a:pt x="128955" y="847"/>
                    </a:cubicBezTo>
                    <a:cubicBezTo>
                      <a:pt x="183762" y="10518"/>
                      <a:pt x="186987" y="68548"/>
                      <a:pt x="183762" y="100787"/>
                    </a:cubicBezTo>
                    <a:cubicBezTo>
                      <a:pt x="183762" y="113683"/>
                      <a:pt x="174090" y="123354"/>
                      <a:pt x="164419" y="126578"/>
                    </a:cubicBezTo>
                    <a:cubicBezTo>
                      <a:pt x="135403" y="133026"/>
                      <a:pt x="74151" y="136250"/>
                      <a:pt x="0" y="126578"/>
                    </a:cubicBezTo>
                    <a:close/>
                  </a:path>
                </a:pathLst>
              </a:custGeom>
              <a:solidFill>
                <a:srgbClr val="718AAF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8226C01D-7F69-4D08-9963-2E50F2436B4E}"/>
                  </a:ext>
                </a:extLst>
              </p:cNvPr>
              <p:cNvSpPr/>
              <p:nvPr/>
            </p:nvSpPr>
            <p:spPr>
              <a:xfrm>
                <a:off x="26070403" y="5325313"/>
                <a:ext cx="141505" cy="196367"/>
              </a:xfrm>
              <a:custGeom>
                <a:avLst/>
                <a:gdLst>
                  <a:gd name="connsiteX0" fmla="*/ 65790 w 141505"/>
                  <a:gd name="connsiteY0" fmla="*/ 196367 h 196367"/>
                  <a:gd name="connsiteX1" fmla="*/ 139939 w 141505"/>
                  <a:gd name="connsiteY1" fmla="*/ 57740 h 196367"/>
                  <a:gd name="connsiteX2" fmla="*/ 10984 w 141505"/>
                  <a:gd name="connsiteY2" fmla="*/ 2934 h 196367"/>
                  <a:gd name="connsiteX3" fmla="*/ 33551 w 141505"/>
                  <a:gd name="connsiteY3" fmla="*/ 196367 h 196367"/>
                  <a:gd name="connsiteX4" fmla="*/ 65790 w 141505"/>
                  <a:gd name="connsiteY4" fmla="*/ 196367 h 196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505" h="196367">
                    <a:moveTo>
                      <a:pt x="65790" y="196367"/>
                    </a:moveTo>
                    <a:cubicBezTo>
                      <a:pt x="65790" y="196367"/>
                      <a:pt x="123820" y="73860"/>
                      <a:pt x="139939" y="57740"/>
                    </a:cubicBezTo>
                    <a:cubicBezTo>
                      <a:pt x="156058" y="41621"/>
                      <a:pt x="43223" y="-13185"/>
                      <a:pt x="10984" y="2934"/>
                    </a:cubicBezTo>
                    <a:cubicBezTo>
                      <a:pt x="-21255" y="19054"/>
                      <a:pt x="27103" y="180248"/>
                      <a:pt x="33551" y="196367"/>
                    </a:cubicBezTo>
                    <a:lnTo>
                      <a:pt x="65790" y="196367"/>
                    </a:lnTo>
                    <a:close/>
                  </a:path>
                </a:pathLst>
              </a:custGeom>
              <a:solidFill>
                <a:srgbClr val="718AAF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59FFF842-732D-4D58-A5CB-EFE5B0847F6D}"/>
                  </a:ext>
                </a:extLst>
              </p:cNvPr>
              <p:cNvSpPr/>
              <p:nvPr/>
            </p:nvSpPr>
            <p:spPr>
              <a:xfrm>
                <a:off x="26005972" y="5485411"/>
                <a:ext cx="153625" cy="52388"/>
              </a:xfrm>
              <a:custGeom>
                <a:avLst/>
                <a:gdLst>
                  <a:gd name="connsiteX0" fmla="*/ 14160 w 153625"/>
                  <a:gd name="connsiteY0" fmla="*/ 52388 h 52388"/>
                  <a:gd name="connsiteX1" fmla="*/ 23831 w 153625"/>
                  <a:gd name="connsiteY1" fmla="*/ 49164 h 52388"/>
                  <a:gd name="connsiteX2" fmla="*/ 133444 w 153625"/>
                  <a:gd name="connsiteY2" fmla="*/ 36269 h 52388"/>
                  <a:gd name="connsiteX3" fmla="*/ 152786 w 153625"/>
                  <a:gd name="connsiteY3" fmla="*/ 23373 h 52388"/>
                  <a:gd name="connsiteX4" fmla="*/ 139892 w 153625"/>
                  <a:gd name="connsiteY4" fmla="*/ 4030 h 52388"/>
                  <a:gd name="connsiteX5" fmla="*/ 7711 w 153625"/>
                  <a:gd name="connsiteY5" fmla="*/ 20149 h 52388"/>
                  <a:gd name="connsiteX6" fmla="*/ 1265 w 153625"/>
                  <a:gd name="connsiteY6" fmla="*/ 42716 h 52388"/>
                  <a:gd name="connsiteX7" fmla="*/ 14160 w 153625"/>
                  <a:gd name="connsiteY7" fmla="*/ 52388 h 52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625" h="52388">
                    <a:moveTo>
                      <a:pt x="14160" y="52388"/>
                    </a:moveTo>
                    <a:cubicBezTo>
                      <a:pt x="17385" y="52388"/>
                      <a:pt x="20608" y="52388"/>
                      <a:pt x="23831" y="49164"/>
                    </a:cubicBezTo>
                    <a:cubicBezTo>
                      <a:pt x="59295" y="26597"/>
                      <a:pt x="114101" y="33045"/>
                      <a:pt x="133444" y="36269"/>
                    </a:cubicBezTo>
                    <a:cubicBezTo>
                      <a:pt x="143115" y="39492"/>
                      <a:pt x="152786" y="33045"/>
                      <a:pt x="152786" y="23373"/>
                    </a:cubicBezTo>
                    <a:cubicBezTo>
                      <a:pt x="156011" y="13701"/>
                      <a:pt x="149563" y="4030"/>
                      <a:pt x="139892" y="4030"/>
                    </a:cubicBezTo>
                    <a:cubicBezTo>
                      <a:pt x="136667" y="4030"/>
                      <a:pt x="59295" y="-12090"/>
                      <a:pt x="7711" y="20149"/>
                    </a:cubicBezTo>
                    <a:cubicBezTo>
                      <a:pt x="1265" y="26597"/>
                      <a:pt x="-1960" y="36269"/>
                      <a:pt x="1265" y="42716"/>
                    </a:cubicBezTo>
                    <a:cubicBezTo>
                      <a:pt x="4488" y="49164"/>
                      <a:pt x="10937" y="52388"/>
                      <a:pt x="14160" y="52388"/>
                    </a:cubicBezTo>
                    <a:close/>
                  </a:path>
                </a:pathLst>
              </a:custGeom>
              <a:solidFill>
                <a:srgbClr val="F6EBE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51428953-784B-4992-B8D0-69C682F3421F}"/>
                  </a:ext>
                </a:extLst>
              </p:cNvPr>
              <p:cNvSpPr/>
              <p:nvPr/>
            </p:nvSpPr>
            <p:spPr>
              <a:xfrm>
                <a:off x="26138577" y="5533311"/>
                <a:ext cx="73028" cy="78637"/>
              </a:xfrm>
              <a:custGeom>
                <a:avLst/>
                <a:gdLst>
                  <a:gd name="connsiteX0" fmla="*/ 16958 w 73028"/>
                  <a:gd name="connsiteY0" fmla="*/ 78638 h 78637"/>
                  <a:gd name="connsiteX1" fmla="*/ 33077 w 73028"/>
                  <a:gd name="connsiteY1" fmla="*/ 65742 h 78637"/>
                  <a:gd name="connsiteX2" fmla="*/ 65316 w 73028"/>
                  <a:gd name="connsiteY2" fmla="*/ 30280 h 78637"/>
                  <a:gd name="connsiteX3" fmla="*/ 71764 w 73028"/>
                  <a:gd name="connsiteY3" fmla="*/ 7712 h 78637"/>
                  <a:gd name="connsiteX4" fmla="*/ 49197 w 73028"/>
                  <a:gd name="connsiteY4" fmla="*/ 1265 h 78637"/>
                  <a:gd name="connsiteX5" fmla="*/ 838 w 73028"/>
                  <a:gd name="connsiteY5" fmla="*/ 56071 h 78637"/>
                  <a:gd name="connsiteX6" fmla="*/ 13735 w 73028"/>
                  <a:gd name="connsiteY6" fmla="*/ 75414 h 78637"/>
                  <a:gd name="connsiteX7" fmla="*/ 16958 w 73028"/>
                  <a:gd name="connsiteY7" fmla="*/ 78638 h 78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028" h="78637">
                    <a:moveTo>
                      <a:pt x="16958" y="78638"/>
                    </a:moveTo>
                    <a:cubicBezTo>
                      <a:pt x="23406" y="78638"/>
                      <a:pt x="33077" y="72190"/>
                      <a:pt x="33077" y="65742"/>
                    </a:cubicBezTo>
                    <a:cubicBezTo>
                      <a:pt x="36300" y="56071"/>
                      <a:pt x="52420" y="39951"/>
                      <a:pt x="65316" y="30280"/>
                    </a:cubicBezTo>
                    <a:cubicBezTo>
                      <a:pt x="71764" y="23832"/>
                      <a:pt x="74987" y="14160"/>
                      <a:pt x="71764" y="7712"/>
                    </a:cubicBezTo>
                    <a:cubicBezTo>
                      <a:pt x="65316" y="1265"/>
                      <a:pt x="55645" y="-1959"/>
                      <a:pt x="49197" y="1265"/>
                    </a:cubicBezTo>
                    <a:cubicBezTo>
                      <a:pt x="42748" y="4489"/>
                      <a:pt x="10510" y="30280"/>
                      <a:pt x="838" y="56071"/>
                    </a:cubicBezTo>
                    <a:cubicBezTo>
                      <a:pt x="-2385" y="65742"/>
                      <a:pt x="4061" y="75414"/>
                      <a:pt x="13735" y="75414"/>
                    </a:cubicBezTo>
                    <a:cubicBezTo>
                      <a:pt x="13735" y="78638"/>
                      <a:pt x="13735" y="78638"/>
                      <a:pt x="16958" y="78638"/>
                    </a:cubicBezTo>
                    <a:close/>
                  </a:path>
                </a:pathLst>
              </a:custGeom>
              <a:solidFill>
                <a:srgbClr val="F6EBE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042756D2-2F1C-4BC3-A3EE-94A735D77F5F}"/>
                  </a:ext>
                </a:extLst>
              </p:cNvPr>
              <p:cNvSpPr/>
              <p:nvPr/>
            </p:nvSpPr>
            <p:spPr>
              <a:xfrm>
                <a:off x="26057980" y="5400422"/>
                <a:ext cx="134281" cy="53556"/>
              </a:xfrm>
              <a:custGeom>
                <a:avLst/>
                <a:gdLst>
                  <a:gd name="connsiteX0" fmla="*/ 116897 w 134281"/>
                  <a:gd name="connsiteY0" fmla="*/ 53556 h 53556"/>
                  <a:gd name="connsiteX1" fmla="*/ 133017 w 134281"/>
                  <a:gd name="connsiteY1" fmla="*/ 43884 h 53556"/>
                  <a:gd name="connsiteX2" fmla="*/ 126571 w 134281"/>
                  <a:gd name="connsiteY2" fmla="*/ 21317 h 53556"/>
                  <a:gd name="connsiteX3" fmla="*/ 13735 w 134281"/>
                  <a:gd name="connsiteY3" fmla="*/ 1974 h 53556"/>
                  <a:gd name="connsiteX4" fmla="*/ 838 w 134281"/>
                  <a:gd name="connsiteY4" fmla="*/ 21317 h 53556"/>
                  <a:gd name="connsiteX5" fmla="*/ 20181 w 134281"/>
                  <a:gd name="connsiteY5" fmla="*/ 34213 h 53556"/>
                  <a:gd name="connsiteX6" fmla="*/ 113674 w 134281"/>
                  <a:gd name="connsiteY6" fmla="*/ 50332 h 53556"/>
                  <a:gd name="connsiteX7" fmla="*/ 116897 w 134281"/>
                  <a:gd name="connsiteY7" fmla="*/ 53556 h 53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4281" h="53556">
                    <a:moveTo>
                      <a:pt x="116897" y="53556"/>
                    </a:moveTo>
                    <a:cubicBezTo>
                      <a:pt x="123345" y="53556"/>
                      <a:pt x="129794" y="50332"/>
                      <a:pt x="133017" y="43884"/>
                    </a:cubicBezTo>
                    <a:cubicBezTo>
                      <a:pt x="136242" y="34213"/>
                      <a:pt x="133017" y="24541"/>
                      <a:pt x="126571" y="21317"/>
                    </a:cubicBezTo>
                    <a:cubicBezTo>
                      <a:pt x="123345" y="21317"/>
                      <a:pt x="68539" y="-7698"/>
                      <a:pt x="13735" y="1974"/>
                    </a:cubicBezTo>
                    <a:cubicBezTo>
                      <a:pt x="4061" y="5198"/>
                      <a:pt x="-2385" y="11645"/>
                      <a:pt x="838" y="21317"/>
                    </a:cubicBezTo>
                    <a:cubicBezTo>
                      <a:pt x="4061" y="30989"/>
                      <a:pt x="10510" y="37437"/>
                      <a:pt x="20181" y="34213"/>
                    </a:cubicBezTo>
                    <a:cubicBezTo>
                      <a:pt x="62093" y="24541"/>
                      <a:pt x="110451" y="50332"/>
                      <a:pt x="113674" y="50332"/>
                    </a:cubicBezTo>
                    <a:cubicBezTo>
                      <a:pt x="110451" y="53556"/>
                      <a:pt x="113674" y="53556"/>
                      <a:pt x="116897" y="53556"/>
                    </a:cubicBezTo>
                    <a:close/>
                  </a:path>
                </a:pathLst>
              </a:custGeom>
              <a:solidFill>
                <a:srgbClr val="F6EBE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6" name="图形 1">
              <a:extLst>
                <a:ext uri="{FF2B5EF4-FFF2-40B4-BE49-F238E27FC236}">
                  <a16:creationId xmlns:a16="http://schemas.microsoft.com/office/drawing/2014/main" id="{2ED0C3AF-8713-4284-A019-CB13DEE1D693}"/>
                </a:ext>
              </a:extLst>
            </p:cNvPr>
            <p:cNvGrpSpPr/>
            <p:nvPr/>
          </p:nvGrpSpPr>
          <p:grpSpPr>
            <a:xfrm>
              <a:off x="24895718" y="5069001"/>
              <a:ext cx="488926" cy="509988"/>
              <a:chOff x="24895718" y="5069001"/>
              <a:chExt cx="488926" cy="509988"/>
            </a:xfrm>
          </p:grpSpPr>
          <p:grpSp>
            <p:nvGrpSpPr>
              <p:cNvPr id="38" name="图形 1">
                <a:extLst>
                  <a:ext uri="{FF2B5EF4-FFF2-40B4-BE49-F238E27FC236}">
                    <a16:creationId xmlns:a16="http://schemas.microsoft.com/office/drawing/2014/main" id="{CB3F61CE-0D5B-4FA4-87BD-E44975DDC66E}"/>
                  </a:ext>
                </a:extLst>
              </p:cNvPr>
              <p:cNvGrpSpPr/>
              <p:nvPr/>
            </p:nvGrpSpPr>
            <p:grpSpPr>
              <a:xfrm>
                <a:off x="25095599" y="5464370"/>
                <a:ext cx="114619" cy="114619"/>
                <a:chOff x="25095599" y="5464370"/>
                <a:chExt cx="114619" cy="114619"/>
              </a:xfrm>
            </p:grpSpPr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1F2C244A-0E93-4DCB-B148-D35454B87780}"/>
                    </a:ext>
                  </a:extLst>
                </p:cNvPr>
                <p:cNvSpPr/>
                <p:nvPr/>
              </p:nvSpPr>
              <p:spPr>
                <a:xfrm>
                  <a:off x="25095599" y="5464370"/>
                  <a:ext cx="114619" cy="114619"/>
                </a:xfrm>
                <a:custGeom>
                  <a:avLst/>
                  <a:gdLst>
                    <a:gd name="connsiteX0" fmla="*/ 15398 w 114619"/>
                    <a:gd name="connsiteY0" fmla="*/ 18623 h 114619"/>
                    <a:gd name="connsiteX1" fmla="*/ 18624 w 114619"/>
                    <a:gd name="connsiteY1" fmla="*/ 99220 h 114619"/>
                    <a:gd name="connsiteX2" fmla="*/ 99221 w 114619"/>
                    <a:gd name="connsiteY2" fmla="*/ 95996 h 114619"/>
                    <a:gd name="connsiteX3" fmla="*/ 95995 w 114619"/>
                    <a:gd name="connsiteY3" fmla="*/ 15399 h 114619"/>
                    <a:gd name="connsiteX4" fmla="*/ 15398 w 114619"/>
                    <a:gd name="connsiteY4" fmla="*/ 18623 h 1146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4619" h="114619">
                      <a:moveTo>
                        <a:pt x="15398" y="18623"/>
                      </a:moveTo>
                      <a:cubicBezTo>
                        <a:pt x="-7167" y="41191"/>
                        <a:pt x="-3944" y="76653"/>
                        <a:pt x="18624" y="99220"/>
                      </a:cubicBezTo>
                      <a:cubicBezTo>
                        <a:pt x="41191" y="121788"/>
                        <a:pt x="76653" y="118564"/>
                        <a:pt x="99221" y="95996"/>
                      </a:cubicBezTo>
                      <a:cubicBezTo>
                        <a:pt x="121788" y="73429"/>
                        <a:pt x="118563" y="37967"/>
                        <a:pt x="95995" y="15399"/>
                      </a:cubicBezTo>
                      <a:cubicBezTo>
                        <a:pt x="70205" y="-7168"/>
                        <a:pt x="34743" y="-3944"/>
                        <a:pt x="15398" y="18623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1BD52642-13E2-4A59-BA44-405608537FB8}"/>
                    </a:ext>
                  </a:extLst>
                </p:cNvPr>
                <p:cNvSpPr/>
                <p:nvPr/>
              </p:nvSpPr>
              <p:spPr>
                <a:xfrm>
                  <a:off x="25126311" y="5496497"/>
                  <a:ext cx="49610" cy="51420"/>
                </a:xfrm>
                <a:custGeom>
                  <a:avLst/>
                  <a:gdLst>
                    <a:gd name="connsiteX0" fmla="*/ 7253 w 49610"/>
                    <a:gd name="connsiteY0" fmla="*/ 9064 h 51420"/>
                    <a:gd name="connsiteX1" fmla="*/ 7253 w 49610"/>
                    <a:gd name="connsiteY1" fmla="*/ 44526 h 51420"/>
                    <a:gd name="connsiteX2" fmla="*/ 42717 w 49610"/>
                    <a:gd name="connsiteY2" fmla="*/ 41302 h 51420"/>
                    <a:gd name="connsiteX3" fmla="*/ 39492 w 49610"/>
                    <a:gd name="connsiteY3" fmla="*/ 5840 h 51420"/>
                    <a:gd name="connsiteX4" fmla="*/ 7253 w 49610"/>
                    <a:gd name="connsiteY4" fmla="*/ 9064 h 51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610" h="51420">
                      <a:moveTo>
                        <a:pt x="7253" y="9064"/>
                      </a:moveTo>
                      <a:cubicBezTo>
                        <a:pt x="-2418" y="18735"/>
                        <a:pt x="-2418" y="34855"/>
                        <a:pt x="7253" y="44526"/>
                      </a:cubicBezTo>
                      <a:cubicBezTo>
                        <a:pt x="16925" y="54198"/>
                        <a:pt x="33044" y="54198"/>
                        <a:pt x="42717" y="41302"/>
                      </a:cubicBezTo>
                      <a:cubicBezTo>
                        <a:pt x="52389" y="31631"/>
                        <a:pt x="52389" y="15511"/>
                        <a:pt x="39492" y="5840"/>
                      </a:cubicBezTo>
                      <a:cubicBezTo>
                        <a:pt x="33044" y="-3832"/>
                        <a:pt x="16925" y="-608"/>
                        <a:pt x="7253" y="9064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39" name="图形 1">
                <a:extLst>
                  <a:ext uri="{FF2B5EF4-FFF2-40B4-BE49-F238E27FC236}">
                    <a16:creationId xmlns:a16="http://schemas.microsoft.com/office/drawing/2014/main" id="{4FEEBC42-80A2-42CF-AD8C-2401653FDD0D}"/>
                  </a:ext>
                </a:extLst>
              </p:cNvPr>
              <p:cNvGrpSpPr/>
              <p:nvPr/>
            </p:nvGrpSpPr>
            <p:grpSpPr>
              <a:xfrm>
                <a:off x="24985986" y="5365701"/>
                <a:ext cx="114620" cy="113348"/>
                <a:chOff x="24985986" y="5365701"/>
                <a:chExt cx="114620" cy="113348"/>
              </a:xfrm>
            </p:grpSpPr>
            <p:sp>
              <p:nvSpPr>
                <p:cNvPr id="50" name="任意多边形: 形状 49">
                  <a:extLst>
                    <a:ext uri="{FF2B5EF4-FFF2-40B4-BE49-F238E27FC236}">
                      <a16:creationId xmlns:a16="http://schemas.microsoft.com/office/drawing/2014/main" id="{CDD3D5C4-63B1-438F-99A9-A927FF0B68E7}"/>
                    </a:ext>
                  </a:extLst>
                </p:cNvPr>
                <p:cNvSpPr/>
                <p:nvPr/>
              </p:nvSpPr>
              <p:spPr>
                <a:xfrm>
                  <a:off x="24985986" y="5365701"/>
                  <a:ext cx="114620" cy="113348"/>
                </a:xfrm>
                <a:custGeom>
                  <a:avLst/>
                  <a:gdLst>
                    <a:gd name="connsiteX0" fmla="*/ 15400 w 114620"/>
                    <a:gd name="connsiteY0" fmla="*/ 17352 h 113348"/>
                    <a:gd name="connsiteX1" fmla="*/ 18623 w 114620"/>
                    <a:gd name="connsiteY1" fmla="*/ 97949 h 113348"/>
                    <a:gd name="connsiteX2" fmla="*/ 99220 w 114620"/>
                    <a:gd name="connsiteY2" fmla="*/ 94725 h 113348"/>
                    <a:gd name="connsiteX3" fmla="*/ 95997 w 114620"/>
                    <a:gd name="connsiteY3" fmla="*/ 14128 h 113348"/>
                    <a:gd name="connsiteX4" fmla="*/ 15400 w 114620"/>
                    <a:gd name="connsiteY4" fmla="*/ 17352 h 113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4620" h="113348">
                      <a:moveTo>
                        <a:pt x="15400" y="17352"/>
                      </a:moveTo>
                      <a:cubicBezTo>
                        <a:pt x="-7167" y="39919"/>
                        <a:pt x="-3944" y="75382"/>
                        <a:pt x="18623" y="97949"/>
                      </a:cubicBezTo>
                      <a:cubicBezTo>
                        <a:pt x="41191" y="120516"/>
                        <a:pt x="76653" y="117292"/>
                        <a:pt x="99220" y="94725"/>
                      </a:cubicBezTo>
                      <a:cubicBezTo>
                        <a:pt x="121788" y="72158"/>
                        <a:pt x="118565" y="36695"/>
                        <a:pt x="95997" y="14128"/>
                      </a:cubicBezTo>
                      <a:cubicBezTo>
                        <a:pt x="73430" y="-5216"/>
                        <a:pt x="34743" y="-5216"/>
                        <a:pt x="15400" y="17352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1" name="任意多边形: 形状 50">
                  <a:extLst>
                    <a:ext uri="{FF2B5EF4-FFF2-40B4-BE49-F238E27FC236}">
                      <a16:creationId xmlns:a16="http://schemas.microsoft.com/office/drawing/2014/main" id="{1E0C897E-1E12-46C7-B8EF-956146F921C1}"/>
                    </a:ext>
                  </a:extLst>
                </p:cNvPr>
                <p:cNvSpPr/>
                <p:nvPr/>
              </p:nvSpPr>
              <p:spPr>
                <a:xfrm>
                  <a:off x="25016699" y="5396557"/>
                  <a:ext cx="49970" cy="51420"/>
                </a:xfrm>
                <a:custGeom>
                  <a:avLst/>
                  <a:gdLst>
                    <a:gd name="connsiteX0" fmla="*/ 7255 w 49970"/>
                    <a:gd name="connsiteY0" fmla="*/ 9064 h 51420"/>
                    <a:gd name="connsiteX1" fmla="*/ 7255 w 49970"/>
                    <a:gd name="connsiteY1" fmla="*/ 44526 h 51420"/>
                    <a:gd name="connsiteX2" fmla="*/ 42717 w 49970"/>
                    <a:gd name="connsiteY2" fmla="*/ 41302 h 51420"/>
                    <a:gd name="connsiteX3" fmla="*/ 42717 w 49970"/>
                    <a:gd name="connsiteY3" fmla="*/ 5840 h 51420"/>
                    <a:gd name="connsiteX4" fmla="*/ 7255 w 49970"/>
                    <a:gd name="connsiteY4" fmla="*/ 9064 h 51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70" h="51420">
                      <a:moveTo>
                        <a:pt x="7255" y="9064"/>
                      </a:moveTo>
                      <a:cubicBezTo>
                        <a:pt x="-2418" y="18735"/>
                        <a:pt x="-2418" y="34855"/>
                        <a:pt x="7255" y="44526"/>
                      </a:cubicBezTo>
                      <a:cubicBezTo>
                        <a:pt x="16926" y="54198"/>
                        <a:pt x="33046" y="54198"/>
                        <a:pt x="42717" y="41302"/>
                      </a:cubicBezTo>
                      <a:cubicBezTo>
                        <a:pt x="52388" y="31631"/>
                        <a:pt x="52388" y="15511"/>
                        <a:pt x="42717" y="5840"/>
                      </a:cubicBezTo>
                      <a:cubicBezTo>
                        <a:pt x="33046" y="-3832"/>
                        <a:pt x="16926" y="-608"/>
                        <a:pt x="7255" y="9064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40" name="图形 1">
                <a:extLst>
                  <a:ext uri="{FF2B5EF4-FFF2-40B4-BE49-F238E27FC236}">
                    <a16:creationId xmlns:a16="http://schemas.microsoft.com/office/drawing/2014/main" id="{BBB22F2F-5944-4C67-B893-98BCDDB41767}"/>
                  </a:ext>
                </a:extLst>
              </p:cNvPr>
              <p:cNvGrpSpPr/>
              <p:nvPr/>
            </p:nvGrpSpPr>
            <p:grpSpPr>
              <a:xfrm>
                <a:off x="24895718" y="5258042"/>
                <a:ext cx="114619" cy="114619"/>
                <a:chOff x="24895718" y="5258042"/>
                <a:chExt cx="114619" cy="114619"/>
              </a:xfrm>
            </p:grpSpPr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F26202E1-F0BA-4A76-A58B-9726A612763D}"/>
                    </a:ext>
                  </a:extLst>
                </p:cNvPr>
                <p:cNvSpPr/>
                <p:nvPr/>
              </p:nvSpPr>
              <p:spPr>
                <a:xfrm>
                  <a:off x="24895718" y="5258042"/>
                  <a:ext cx="114619" cy="114619"/>
                </a:xfrm>
                <a:custGeom>
                  <a:avLst/>
                  <a:gdLst>
                    <a:gd name="connsiteX0" fmla="*/ 15400 w 114619"/>
                    <a:gd name="connsiteY0" fmla="*/ 18623 h 114619"/>
                    <a:gd name="connsiteX1" fmla="*/ 18623 w 114619"/>
                    <a:gd name="connsiteY1" fmla="*/ 99221 h 114619"/>
                    <a:gd name="connsiteX2" fmla="*/ 99220 w 114619"/>
                    <a:gd name="connsiteY2" fmla="*/ 95996 h 114619"/>
                    <a:gd name="connsiteX3" fmla="*/ 95997 w 114619"/>
                    <a:gd name="connsiteY3" fmla="*/ 15399 h 114619"/>
                    <a:gd name="connsiteX4" fmla="*/ 15400 w 114619"/>
                    <a:gd name="connsiteY4" fmla="*/ 18623 h 1146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4619" h="114619">
                      <a:moveTo>
                        <a:pt x="15400" y="18623"/>
                      </a:moveTo>
                      <a:cubicBezTo>
                        <a:pt x="-7167" y="41191"/>
                        <a:pt x="-3944" y="76653"/>
                        <a:pt x="18623" y="99221"/>
                      </a:cubicBezTo>
                      <a:cubicBezTo>
                        <a:pt x="41191" y="121788"/>
                        <a:pt x="76653" y="118564"/>
                        <a:pt x="99220" y="95996"/>
                      </a:cubicBezTo>
                      <a:cubicBezTo>
                        <a:pt x="121788" y="73429"/>
                        <a:pt x="118563" y="37967"/>
                        <a:pt x="95997" y="15399"/>
                      </a:cubicBezTo>
                      <a:cubicBezTo>
                        <a:pt x="73430" y="-7168"/>
                        <a:pt x="34743" y="-3944"/>
                        <a:pt x="15400" y="18623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9" name="任意多边形: 形状 48">
                  <a:extLst>
                    <a:ext uri="{FF2B5EF4-FFF2-40B4-BE49-F238E27FC236}">
                      <a16:creationId xmlns:a16="http://schemas.microsoft.com/office/drawing/2014/main" id="{086EB026-51E8-46DA-BC4C-4E0F6E157DFB}"/>
                    </a:ext>
                  </a:extLst>
                </p:cNvPr>
                <p:cNvSpPr/>
                <p:nvPr/>
              </p:nvSpPr>
              <p:spPr>
                <a:xfrm>
                  <a:off x="24926430" y="5290727"/>
                  <a:ext cx="49970" cy="51221"/>
                </a:xfrm>
                <a:custGeom>
                  <a:avLst/>
                  <a:gdLst>
                    <a:gd name="connsiteX0" fmla="*/ 7253 w 49970"/>
                    <a:gd name="connsiteY0" fmla="*/ 8505 h 51221"/>
                    <a:gd name="connsiteX1" fmla="*/ 7253 w 49970"/>
                    <a:gd name="connsiteY1" fmla="*/ 43968 h 51221"/>
                    <a:gd name="connsiteX2" fmla="*/ 42717 w 49970"/>
                    <a:gd name="connsiteY2" fmla="*/ 43968 h 51221"/>
                    <a:gd name="connsiteX3" fmla="*/ 42717 w 49970"/>
                    <a:gd name="connsiteY3" fmla="*/ 8505 h 51221"/>
                    <a:gd name="connsiteX4" fmla="*/ 7253 w 49970"/>
                    <a:gd name="connsiteY4" fmla="*/ 8505 h 512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70" h="51221">
                      <a:moveTo>
                        <a:pt x="7253" y="8505"/>
                      </a:moveTo>
                      <a:cubicBezTo>
                        <a:pt x="-2418" y="18177"/>
                        <a:pt x="-2418" y="34297"/>
                        <a:pt x="7253" y="43968"/>
                      </a:cubicBezTo>
                      <a:cubicBezTo>
                        <a:pt x="16927" y="53640"/>
                        <a:pt x="33046" y="53640"/>
                        <a:pt x="42717" y="43968"/>
                      </a:cubicBezTo>
                      <a:cubicBezTo>
                        <a:pt x="52389" y="34297"/>
                        <a:pt x="52389" y="18177"/>
                        <a:pt x="42717" y="8505"/>
                      </a:cubicBezTo>
                      <a:cubicBezTo>
                        <a:pt x="33046" y="-4390"/>
                        <a:pt x="16927" y="-1166"/>
                        <a:pt x="7253" y="8505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33548B8F-450E-4438-81E4-556255841C78}"/>
                  </a:ext>
                </a:extLst>
              </p:cNvPr>
              <p:cNvSpPr/>
              <p:nvPr/>
            </p:nvSpPr>
            <p:spPr>
              <a:xfrm>
                <a:off x="24911118" y="5222565"/>
                <a:ext cx="343506" cy="344248"/>
              </a:xfrm>
              <a:custGeom>
                <a:avLst/>
                <a:gdLst>
                  <a:gd name="connsiteX0" fmla="*/ 341731 w 343506"/>
                  <a:gd name="connsiteY0" fmla="*/ 266876 h 344248"/>
                  <a:gd name="connsiteX1" fmla="*/ 325611 w 343506"/>
                  <a:gd name="connsiteY1" fmla="*/ 344249 h 344248"/>
                  <a:gd name="connsiteX2" fmla="*/ 0 w 343506"/>
                  <a:gd name="connsiteY2" fmla="*/ 21861 h 344248"/>
                  <a:gd name="connsiteX3" fmla="*/ 109611 w 343506"/>
                  <a:gd name="connsiteY3" fmla="*/ 12189 h 344248"/>
                  <a:gd name="connsiteX4" fmla="*/ 341731 w 343506"/>
                  <a:gd name="connsiteY4" fmla="*/ 266876 h 34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3506" h="344248">
                    <a:moveTo>
                      <a:pt x="341731" y="266876"/>
                    </a:moveTo>
                    <a:cubicBezTo>
                      <a:pt x="341731" y="266876"/>
                      <a:pt x="351402" y="308786"/>
                      <a:pt x="325611" y="344249"/>
                    </a:cubicBezTo>
                    <a:cubicBezTo>
                      <a:pt x="325611" y="344249"/>
                      <a:pt x="74149" y="147592"/>
                      <a:pt x="0" y="21861"/>
                    </a:cubicBezTo>
                    <a:cubicBezTo>
                      <a:pt x="0" y="21861"/>
                      <a:pt x="54804" y="-20050"/>
                      <a:pt x="109611" y="12189"/>
                    </a:cubicBezTo>
                    <a:cubicBezTo>
                      <a:pt x="167640" y="41204"/>
                      <a:pt x="341731" y="266876"/>
                      <a:pt x="341731" y="26687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BFD0BD47-B5AB-4620-A653-5563AB28016C}"/>
                  </a:ext>
                </a:extLst>
              </p:cNvPr>
              <p:cNvSpPr/>
              <p:nvPr/>
            </p:nvSpPr>
            <p:spPr>
              <a:xfrm>
                <a:off x="24981887" y="5069001"/>
                <a:ext cx="361306" cy="404320"/>
              </a:xfrm>
              <a:custGeom>
                <a:avLst/>
                <a:gdLst>
                  <a:gd name="connsiteX0" fmla="*/ 361230 w 361306"/>
                  <a:gd name="connsiteY0" fmla="*/ 156081 h 404320"/>
                  <a:gd name="connsiteX1" fmla="*/ 248394 w 361306"/>
                  <a:gd name="connsiteY1" fmla="*/ 214111 h 404320"/>
                  <a:gd name="connsiteX2" fmla="*/ 296753 w 361306"/>
                  <a:gd name="connsiteY2" fmla="*/ 320500 h 404320"/>
                  <a:gd name="connsiteX3" fmla="*/ 190365 w 361306"/>
                  <a:gd name="connsiteY3" fmla="*/ 404320 h 404320"/>
                  <a:gd name="connsiteX4" fmla="*/ 155 w 361306"/>
                  <a:gd name="connsiteY4" fmla="*/ 168977 h 404320"/>
                  <a:gd name="connsiteX5" fmla="*/ 203261 w 361306"/>
                  <a:gd name="connsiteY5" fmla="*/ 4559 h 404320"/>
                  <a:gd name="connsiteX6" fmla="*/ 229052 w 361306"/>
                  <a:gd name="connsiteY6" fmla="*/ 1335 h 404320"/>
                  <a:gd name="connsiteX7" fmla="*/ 361230 w 361306"/>
                  <a:gd name="connsiteY7" fmla="*/ 156081 h 40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1306" h="404320">
                    <a:moveTo>
                      <a:pt x="361230" y="156081"/>
                    </a:moveTo>
                    <a:cubicBezTo>
                      <a:pt x="361230" y="156081"/>
                      <a:pt x="293529" y="194768"/>
                      <a:pt x="248394" y="214111"/>
                    </a:cubicBezTo>
                    <a:cubicBezTo>
                      <a:pt x="248394" y="214111"/>
                      <a:pt x="264514" y="275365"/>
                      <a:pt x="296753" y="320500"/>
                    </a:cubicBezTo>
                    <a:cubicBezTo>
                      <a:pt x="328991" y="365634"/>
                      <a:pt x="190365" y="404320"/>
                      <a:pt x="190365" y="404320"/>
                    </a:cubicBezTo>
                    <a:cubicBezTo>
                      <a:pt x="190365" y="404320"/>
                      <a:pt x="-6291" y="210888"/>
                      <a:pt x="155" y="168977"/>
                    </a:cubicBezTo>
                    <a:cubicBezTo>
                      <a:pt x="3380" y="130291"/>
                      <a:pt x="161349" y="30350"/>
                      <a:pt x="203261" y="4559"/>
                    </a:cubicBezTo>
                    <a:cubicBezTo>
                      <a:pt x="209707" y="1335"/>
                      <a:pt x="219381" y="-1888"/>
                      <a:pt x="229052" y="1335"/>
                    </a:cubicBezTo>
                    <a:cubicBezTo>
                      <a:pt x="264514" y="14231"/>
                      <a:pt x="364455" y="59365"/>
                      <a:pt x="361230" y="156081"/>
                    </a:cubicBez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61F2B48C-4C20-4A89-843C-88D2E8233398}"/>
                  </a:ext>
                </a:extLst>
              </p:cNvPr>
              <p:cNvSpPr/>
              <p:nvPr/>
            </p:nvSpPr>
            <p:spPr>
              <a:xfrm>
                <a:off x="25117445" y="5386421"/>
                <a:ext cx="194884" cy="142971"/>
              </a:xfrm>
              <a:custGeom>
                <a:avLst/>
                <a:gdLst>
                  <a:gd name="connsiteX0" fmla="*/ 0 w 194884"/>
                  <a:gd name="connsiteY0" fmla="*/ 32095 h 142971"/>
                  <a:gd name="connsiteX1" fmla="*/ 180539 w 194884"/>
                  <a:gd name="connsiteY1" fmla="*/ 25647 h 142971"/>
                  <a:gd name="connsiteX2" fmla="*/ 154746 w 194884"/>
                  <a:gd name="connsiteY2" fmla="*/ 135259 h 142971"/>
                  <a:gd name="connsiteX3" fmla="*/ 122507 w 194884"/>
                  <a:gd name="connsiteY3" fmla="*/ 141707 h 142971"/>
                  <a:gd name="connsiteX4" fmla="*/ 0 w 194884"/>
                  <a:gd name="connsiteY4" fmla="*/ 32095 h 142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4884" h="142971">
                    <a:moveTo>
                      <a:pt x="0" y="32095"/>
                    </a:moveTo>
                    <a:cubicBezTo>
                      <a:pt x="0" y="32095"/>
                      <a:pt x="135403" y="-35607"/>
                      <a:pt x="180539" y="25647"/>
                    </a:cubicBezTo>
                    <a:cubicBezTo>
                      <a:pt x="216000" y="70782"/>
                      <a:pt x="177313" y="115916"/>
                      <a:pt x="154746" y="135259"/>
                    </a:cubicBezTo>
                    <a:cubicBezTo>
                      <a:pt x="145075" y="141707"/>
                      <a:pt x="135403" y="144931"/>
                      <a:pt x="122507" y="141707"/>
                    </a:cubicBezTo>
                    <a:cubicBezTo>
                      <a:pt x="96716" y="128811"/>
                      <a:pt x="48358" y="86901"/>
                      <a:pt x="0" y="32095"/>
                    </a:cubicBezTo>
                    <a:close/>
                  </a:path>
                </a:pathLst>
              </a:custGeom>
              <a:solidFill>
                <a:srgbClr val="718AAF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0C5E27DA-3EA9-444A-B68A-D04F6FE1B4AB}"/>
                  </a:ext>
                </a:extLst>
              </p:cNvPr>
              <p:cNvSpPr/>
              <p:nvPr/>
            </p:nvSpPr>
            <p:spPr>
              <a:xfrm>
                <a:off x="25204491" y="5105347"/>
                <a:ext cx="180153" cy="180989"/>
              </a:xfrm>
              <a:custGeom>
                <a:avLst/>
                <a:gdLst>
                  <a:gd name="connsiteX0" fmla="*/ 25791 w 180153"/>
                  <a:gd name="connsiteY0" fmla="*/ 180990 h 180989"/>
                  <a:gd name="connsiteX1" fmla="*/ 174090 w 180153"/>
                  <a:gd name="connsiteY1" fmla="*/ 129408 h 180989"/>
                  <a:gd name="connsiteX2" fmla="*/ 116059 w 180153"/>
                  <a:gd name="connsiteY2" fmla="*/ 453 h 180989"/>
                  <a:gd name="connsiteX3" fmla="*/ 0 w 180153"/>
                  <a:gd name="connsiteY3" fmla="*/ 158423 h 180989"/>
                  <a:gd name="connsiteX4" fmla="*/ 25791 w 180153"/>
                  <a:gd name="connsiteY4" fmla="*/ 180990 h 180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153" h="180989">
                    <a:moveTo>
                      <a:pt x="25791" y="180990"/>
                    </a:moveTo>
                    <a:cubicBezTo>
                      <a:pt x="25791" y="180990"/>
                      <a:pt x="151523" y="129408"/>
                      <a:pt x="174090" y="129408"/>
                    </a:cubicBezTo>
                    <a:cubicBezTo>
                      <a:pt x="196656" y="129408"/>
                      <a:pt x="151523" y="10124"/>
                      <a:pt x="116059" y="453"/>
                    </a:cubicBezTo>
                    <a:cubicBezTo>
                      <a:pt x="80597" y="-9219"/>
                      <a:pt x="6448" y="139080"/>
                      <a:pt x="0" y="158423"/>
                    </a:cubicBezTo>
                    <a:lnTo>
                      <a:pt x="25791" y="180990"/>
                    </a:lnTo>
                    <a:close/>
                  </a:path>
                </a:pathLst>
              </a:custGeom>
              <a:solidFill>
                <a:srgbClr val="718AAF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FA452299-7072-4534-AE01-CBC593B5358A}"/>
                  </a:ext>
                </a:extLst>
              </p:cNvPr>
              <p:cNvSpPr/>
              <p:nvPr/>
            </p:nvSpPr>
            <p:spPr>
              <a:xfrm>
                <a:off x="25129503" y="5192005"/>
                <a:ext cx="133308" cy="104002"/>
              </a:xfrm>
              <a:custGeom>
                <a:avLst/>
                <a:gdLst>
                  <a:gd name="connsiteX0" fmla="*/ 120123 w 133308"/>
                  <a:gd name="connsiteY0" fmla="*/ 104003 h 104002"/>
                  <a:gd name="connsiteX1" fmla="*/ 126569 w 133308"/>
                  <a:gd name="connsiteY1" fmla="*/ 100779 h 104002"/>
                  <a:gd name="connsiteX2" fmla="*/ 129794 w 133308"/>
                  <a:gd name="connsiteY2" fmla="*/ 78212 h 104002"/>
                  <a:gd name="connsiteX3" fmla="*/ 20182 w 133308"/>
                  <a:gd name="connsiteY3" fmla="*/ 839 h 104002"/>
                  <a:gd name="connsiteX4" fmla="*/ 839 w 133308"/>
                  <a:gd name="connsiteY4" fmla="*/ 13734 h 104002"/>
                  <a:gd name="connsiteX5" fmla="*/ 13733 w 133308"/>
                  <a:gd name="connsiteY5" fmla="*/ 33077 h 104002"/>
                  <a:gd name="connsiteX6" fmla="*/ 100779 w 133308"/>
                  <a:gd name="connsiteY6" fmla="*/ 97555 h 104002"/>
                  <a:gd name="connsiteX7" fmla="*/ 120123 w 133308"/>
                  <a:gd name="connsiteY7" fmla="*/ 104003 h 104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3308" h="104002">
                    <a:moveTo>
                      <a:pt x="120123" y="104003"/>
                    </a:moveTo>
                    <a:cubicBezTo>
                      <a:pt x="123346" y="104003"/>
                      <a:pt x="123346" y="104003"/>
                      <a:pt x="126569" y="100779"/>
                    </a:cubicBezTo>
                    <a:cubicBezTo>
                      <a:pt x="133017" y="94331"/>
                      <a:pt x="136243" y="84660"/>
                      <a:pt x="129794" y="78212"/>
                    </a:cubicBezTo>
                    <a:cubicBezTo>
                      <a:pt x="126569" y="74988"/>
                      <a:pt x="81436" y="10510"/>
                      <a:pt x="20182" y="839"/>
                    </a:cubicBezTo>
                    <a:cubicBezTo>
                      <a:pt x="10510" y="-2385"/>
                      <a:pt x="839" y="4063"/>
                      <a:pt x="839" y="13734"/>
                    </a:cubicBezTo>
                    <a:cubicBezTo>
                      <a:pt x="-2386" y="23406"/>
                      <a:pt x="4062" y="33077"/>
                      <a:pt x="13733" y="33077"/>
                    </a:cubicBezTo>
                    <a:cubicBezTo>
                      <a:pt x="52420" y="39525"/>
                      <a:pt x="91107" y="81436"/>
                      <a:pt x="100779" y="97555"/>
                    </a:cubicBezTo>
                    <a:cubicBezTo>
                      <a:pt x="107227" y="104003"/>
                      <a:pt x="113675" y="104003"/>
                      <a:pt x="120123" y="104003"/>
                    </a:cubicBezTo>
                    <a:close/>
                  </a:path>
                </a:pathLst>
              </a:custGeom>
              <a:solidFill>
                <a:srgbClr val="F6EBE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63095BB2-B5DE-468F-A91E-80A038FA97FC}"/>
                  </a:ext>
                </a:extLst>
              </p:cNvPr>
              <p:cNvSpPr/>
              <p:nvPr/>
            </p:nvSpPr>
            <p:spPr>
              <a:xfrm>
                <a:off x="25178408" y="5330197"/>
                <a:ext cx="90559" cy="40250"/>
              </a:xfrm>
              <a:custGeom>
                <a:avLst/>
                <a:gdLst>
                  <a:gd name="connsiteX0" fmla="*/ 77663 w 90559"/>
                  <a:gd name="connsiteY0" fmla="*/ 33512 h 40250"/>
                  <a:gd name="connsiteX1" fmla="*/ 90560 w 90559"/>
                  <a:gd name="connsiteY1" fmla="*/ 20617 h 40250"/>
                  <a:gd name="connsiteX2" fmla="*/ 77663 w 90559"/>
                  <a:gd name="connsiteY2" fmla="*/ 1274 h 40250"/>
                  <a:gd name="connsiteX3" fmla="*/ 6740 w 90559"/>
                  <a:gd name="connsiteY3" fmla="*/ 10945 h 40250"/>
                  <a:gd name="connsiteX4" fmla="*/ 3514 w 90559"/>
                  <a:gd name="connsiteY4" fmla="*/ 33512 h 40250"/>
                  <a:gd name="connsiteX5" fmla="*/ 26082 w 90559"/>
                  <a:gd name="connsiteY5" fmla="*/ 36736 h 40250"/>
                  <a:gd name="connsiteX6" fmla="*/ 74440 w 90559"/>
                  <a:gd name="connsiteY6" fmla="*/ 33512 h 40250"/>
                  <a:gd name="connsiteX7" fmla="*/ 77663 w 90559"/>
                  <a:gd name="connsiteY7" fmla="*/ 33512 h 40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559" h="40250">
                    <a:moveTo>
                      <a:pt x="77663" y="33512"/>
                    </a:moveTo>
                    <a:cubicBezTo>
                      <a:pt x="84111" y="30289"/>
                      <a:pt x="87337" y="27065"/>
                      <a:pt x="90560" y="20617"/>
                    </a:cubicBezTo>
                    <a:cubicBezTo>
                      <a:pt x="90560" y="10945"/>
                      <a:pt x="87337" y="1274"/>
                      <a:pt x="77663" y="1274"/>
                    </a:cubicBezTo>
                    <a:cubicBezTo>
                      <a:pt x="71217" y="1274"/>
                      <a:pt x="29305" y="-5174"/>
                      <a:pt x="6740" y="10945"/>
                    </a:cubicBezTo>
                    <a:cubicBezTo>
                      <a:pt x="291" y="17393"/>
                      <a:pt x="-2934" y="27065"/>
                      <a:pt x="3514" y="33512"/>
                    </a:cubicBezTo>
                    <a:cubicBezTo>
                      <a:pt x="9963" y="39960"/>
                      <a:pt x="19634" y="43184"/>
                      <a:pt x="26082" y="36736"/>
                    </a:cubicBezTo>
                    <a:cubicBezTo>
                      <a:pt x="35753" y="30289"/>
                      <a:pt x="58321" y="30289"/>
                      <a:pt x="74440" y="33512"/>
                    </a:cubicBezTo>
                    <a:cubicBezTo>
                      <a:pt x="74440" y="33512"/>
                      <a:pt x="77663" y="33512"/>
                      <a:pt x="77663" y="33512"/>
                    </a:cubicBezTo>
                    <a:close/>
                  </a:path>
                </a:pathLst>
              </a:custGeom>
              <a:solidFill>
                <a:srgbClr val="F6EBE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DAA12512-BEC1-4D47-96E0-F4AA9AD96FB6}"/>
                  </a:ext>
                </a:extLst>
              </p:cNvPr>
              <p:cNvSpPr/>
              <p:nvPr/>
            </p:nvSpPr>
            <p:spPr>
              <a:xfrm>
                <a:off x="25254461" y="5155769"/>
                <a:ext cx="75761" cy="115269"/>
              </a:xfrm>
              <a:custGeom>
                <a:avLst/>
                <a:gdLst>
                  <a:gd name="connsiteX0" fmla="*/ 62866 w 75761"/>
                  <a:gd name="connsiteY0" fmla="*/ 114448 h 115269"/>
                  <a:gd name="connsiteX1" fmla="*/ 75762 w 75761"/>
                  <a:gd name="connsiteY1" fmla="*/ 95105 h 115269"/>
                  <a:gd name="connsiteX2" fmla="*/ 27404 w 75761"/>
                  <a:gd name="connsiteY2" fmla="*/ 4836 h 115269"/>
                  <a:gd name="connsiteX3" fmla="*/ 4836 w 75761"/>
                  <a:gd name="connsiteY3" fmla="*/ 4836 h 115269"/>
                  <a:gd name="connsiteX4" fmla="*/ 4836 w 75761"/>
                  <a:gd name="connsiteY4" fmla="*/ 27403 h 115269"/>
                  <a:gd name="connsiteX5" fmla="*/ 43523 w 75761"/>
                  <a:gd name="connsiteY5" fmla="*/ 98328 h 115269"/>
                  <a:gd name="connsiteX6" fmla="*/ 62866 w 75761"/>
                  <a:gd name="connsiteY6" fmla="*/ 114448 h 115269"/>
                  <a:gd name="connsiteX7" fmla="*/ 62866 w 75761"/>
                  <a:gd name="connsiteY7" fmla="*/ 114448 h 115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5761" h="115269">
                    <a:moveTo>
                      <a:pt x="62866" y="114448"/>
                    </a:moveTo>
                    <a:cubicBezTo>
                      <a:pt x="72537" y="111224"/>
                      <a:pt x="75762" y="101552"/>
                      <a:pt x="75762" y="95105"/>
                    </a:cubicBezTo>
                    <a:cubicBezTo>
                      <a:pt x="75762" y="91881"/>
                      <a:pt x="59642" y="37075"/>
                      <a:pt x="27404" y="4836"/>
                    </a:cubicBezTo>
                    <a:cubicBezTo>
                      <a:pt x="20956" y="-1612"/>
                      <a:pt x="11284" y="-1612"/>
                      <a:pt x="4836" y="4836"/>
                    </a:cubicBezTo>
                    <a:cubicBezTo>
                      <a:pt x="-1612" y="11284"/>
                      <a:pt x="-1612" y="20955"/>
                      <a:pt x="4836" y="27403"/>
                    </a:cubicBezTo>
                    <a:cubicBezTo>
                      <a:pt x="30627" y="49970"/>
                      <a:pt x="43523" y="98328"/>
                      <a:pt x="43523" y="98328"/>
                    </a:cubicBezTo>
                    <a:cubicBezTo>
                      <a:pt x="43523" y="111224"/>
                      <a:pt x="53194" y="117672"/>
                      <a:pt x="62866" y="114448"/>
                    </a:cubicBezTo>
                    <a:cubicBezTo>
                      <a:pt x="62866" y="114448"/>
                      <a:pt x="62866" y="114448"/>
                      <a:pt x="62866" y="114448"/>
                    </a:cubicBezTo>
                    <a:close/>
                  </a:path>
                </a:pathLst>
              </a:custGeom>
              <a:solidFill>
                <a:srgbClr val="F6EBE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E4D6D8BB-F95A-47BB-BD83-1AFB38F95921}"/>
                </a:ext>
              </a:extLst>
            </p:cNvPr>
            <p:cNvSpPr/>
            <p:nvPr/>
          </p:nvSpPr>
          <p:spPr>
            <a:xfrm>
              <a:off x="25641497" y="2180170"/>
              <a:ext cx="83471" cy="120599"/>
            </a:xfrm>
            <a:custGeom>
              <a:avLst/>
              <a:gdLst>
                <a:gd name="connsiteX0" fmla="*/ 69143 w 83471"/>
                <a:gd name="connsiteY0" fmla="*/ 17689 h 120599"/>
                <a:gd name="connsiteX1" fmla="*/ 7889 w 83471"/>
                <a:gd name="connsiteY1" fmla="*/ 8018 h 120599"/>
                <a:gd name="connsiteX2" fmla="*/ 69143 w 83471"/>
                <a:gd name="connsiteY2" fmla="*/ 117630 h 120599"/>
                <a:gd name="connsiteX3" fmla="*/ 69143 w 83471"/>
                <a:gd name="connsiteY3" fmla="*/ 17689 h 12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471" h="120599">
                  <a:moveTo>
                    <a:pt x="69143" y="17689"/>
                  </a:moveTo>
                  <a:cubicBezTo>
                    <a:pt x="69143" y="17689"/>
                    <a:pt x="33680" y="-14549"/>
                    <a:pt x="7889" y="8018"/>
                  </a:cubicBezTo>
                  <a:cubicBezTo>
                    <a:pt x="-17902" y="27361"/>
                    <a:pt x="24008" y="140197"/>
                    <a:pt x="69143" y="117630"/>
                  </a:cubicBezTo>
                  <a:cubicBezTo>
                    <a:pt x="101382" y="98286"/>
                    <a:pt x="69143" y="17689"/>
                    <a:pt x="69143" y="17689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81" name="图形 1">
            <a:extLst>
              <a:ext uri="{FF2B5EF4-FFF2-40B4-BE49-F238E27FC236}">
                <a16:creationId xmlns:a16="http://schemas.microsoft.com/office/drawing/2014/main" id="{2646B430-5979-496F-B6A0-FDB82186D10C}"/>
              </a:ext>
            </a:extLst>
          </p:cNvPr>
          <p:cNvGrpSpPr/>
          <p:nvPr/>
        </p:nvGrpSpPr>
        <p:grpSpPr>
          <a:xfrm>
            <a:off x="1894561" y="2966139"/>
            <a:ext cx="4945783" cy="3798812"/>
            <a:chOff x="19120677" y="1938867"/>
            <a:chExt cx="4945783" cy="3798812"/>
          </a:xfrm>
        </p:grpSpPr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CCFDA23F-25B6-441F-9DE3-457030471256}"/>
                </a:ext>
              </a:extLst>
            </p:cNvPr>
            <p:cNvSpPr/>
            <p:nvPr/>
          </p:nvSpPr>
          <p:spPr>
            <a:xfrm>
              <a:off x="22491603" y="3761216"/>
              <a:ext cx="1494261" cy="1841060"/>
            </a:xfrm>
            <a:custGeom>
              <a:avLst/>
              <a:gdLst>
                <a:gd name="connsiteX0" fmla="*/ 346559 w 1494261"/>
                <a:gd name="connsiteY0" fmla="*/ 29240 h 1841060"/>
                <a:gd name="connsiteX1" fmla="*/ 1605 w 1494261"/>
                <a:gd name="connsiteY1" fmla="*/ 944822 h 1841060"/>
                <a:gd name="connsiteX2" fmla="*/ 214381 w 1494261"/>
                <a:gd name="connsiteY2" fmla="*/ 1831389 h 1841060"/>
                <a:gd name="connsiteX3" fmla="*/ 343336 w 1494261"/>
                <a:gd name="connsiteY3" fmla="*/ 1841061 h 1841060"/>
                <a:gd name="connsiteX4" fmla="*/ 311097 w 1494261"/>
                <a:gd name="connsiteY4" fmla="*/ 964165 h 1841060"/>
                <a:gd name="connsiteX5" fmla="*/ 726978 w 1494261"/>
                <a:gd name="connsiteY5" fmla="*/ 403210 h 1841060"/>
                <a:gd name="connsiteX6" fmla="*/ 630262 w 1494261"/>
                <a:gd name="connsiteY6" fmla="*/ 1115688 h 1841060"/>
                <a:gd name="connsiteX7" fmla="*/ 1400768 w 1494261"/>
                <a:gd name="connsiteY7" fmla="*/ 1783031 h 1841060"/>
                <a:gd name="connsiteX8" fmla="*/ 1494262 w 1494261"/>
                <a:gd name="connsiteY8" fmla="*/ 1699210 h 1841060"/>
                <a:gd name="connsiteX9" fmla="*/ 978441 w 1494261"/>
                <a:gd name="connsiteY9" fmla="*/ 1054434 h 1841060"/>
                <a:gd name="connsiteX10" fmla="*/ 1175097 w 1494261"/>
                <a:gd name="connsiteY10" fmla="*/ 22792 h 1841060"/>
                <a:gd name="connsiteX11" fmla="*/ 346559 w 1494261"/>
                <a:gd name="connsiteY11" fmla="*/ 29240 h 184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94261" h="1841060">
                  <a:moveTo>
                    <a:pt x="346559" y="29240"/>
                  </a:moveTo>
                  <a:cubicBezTo>
                    <a:pt x="346559" y="29240"/>
                    <a:pt x="-27411" y="703031"/>
                    <a:pt x="1605" y="944822"/>
                  </a:cubicBezTo>
                  <a:cubicBezTo>
                    <a:pt x="27396" y="1154374"/>
                    <a:pt x="214381" y="1831389"/>
                    <a:pt x="214381" y="1831389"/>
                  </a:cubicBezTo>
                  <a:lnTo>
                    <a:pt x="343336" y="1841061"/>
                  </a:lnTo>
                  <a:cubicBezTo>
                    <a:pt x="343336" y="1841061"/>
                    <a:pt x="307874" y="1041538"/>
                    <a:pt x="311097" y="964165"/>
                  </a:cubicBezTo>
                  <a:cubicBezTo>
                    <a:pt x="317545" y="854553"/>
                    <a:pt x="714082" y="429001"/>
                    <a:pt x="726978" y="403210"/>
                  </a:cubicBezTo>
                  <a:cubicBezTo>
                    <a:pt x="739873" y="380643"/>
                    <a:pt x="581904" y="989956"/>
                    <a:pt x="630262" y="1115688"/>
                  </a:cubicBezTo>
                  <a:cubicBezTo>
                    <a:pt x="672172" y="1225300"/>
                    <a:pt x="1400768" y="1783031"/>
                    <a:pt x="1400768" y="1783031"/>
                  </a:cubicBezTo>
                  <a:lnTo>
                    <a:pt x="1494262" y="1699210"/>
                  </a:lnTo>
                  <a:cubicBezTo>
                    <a:pt x="1494262" y="1699210"/>
                    <a:pt x="975216" y="1131807"/>
                    <a:pt x="978441" y="1054434"/>
                  </a:cubicBezTo>
                  <a:cubicBezTo>
                    <a:pt x="984889" y="935150"/>
                    <a:pt x="1242799" y="129180"/>
                    <a:pt x="1175097" y="22792"/>
                  </a:cubicBezTo>
                  <a:cubicBezTo>
                    <a:pt x="652828" y="-32014"/>
                    <a:pt x="346559" y="29240"/>
                    <a:pt x="346559" y="29240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00D307BE-C766-4BAD-8CE2-A9FDDDACA7DD}"/>
                </a:ext>
              </a:extLst>
            </p:cNvPr>
            <p:cNvSpPr/>
            <p:nvPr/>
          </p:nvSpPr>
          <p:spPr>
            <a:xfrm>
              <a:off x="22434058" y="3760123"/>
              <a:ext cx="1251703" cy="1062758"/>
            </a:xfrm>
            <a:custGeom>
              <a:avLst/>
              <a:gdLst>
                <a:gd name="connsiteX0" fmla="*/ 404104 w 1251703"/>
                <a:gd name="connsiteY0" fmla="*/ 30333 h 1062758"/>
                <a:gd name="connsiteX1" fmla="*/ 1119 w 1251703"/>
                <a:gd name="connsiteY1" fmla="*/ 920124 h 1062758"/>
                <a:gd name="connsiteX2" fmla="*/ 426671 w 1251703"/>
                <a:gd name="connsiteY2" fmla="*/ 981377 h 1062758"/>
                <a:gd name="connsiteX3" fmla="*/ 787746 w 1251703"/>
                <a:gd name="connsiteY3" fmla="*/ 401079 h 1062758"/>
                <a:gd name="connsiteX4" fmla="*/ 626552 w 1251703"/>
                <a:gd name="connsiteY4" fmla="*/ 1042631 h 1062758"/>
                <a:gd name="connsiteX5" fmla="*/ 1126254 w 1251703"/>
                <a:gd name="connsiteY5" fmla="*/ 1003945 h 1062758"/>
                <a:gd name="connsiteX6" fmla="*/ 1235866 w 1251703"/>
                <a:gd name="connsiteY6" fmla="*/ 20661 h 1062758"/>
                <a:gd name="connsiteX7" fmla="*/ 404104 w 1251703"/>
                <a:gd name="connsiteY7" fmla="*/ 30333 h 106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1703" h="1062758">
                  <a:moveTo>
                    <a:pt x="404104" y="30333"/>
                  </a:moveTo>
                  <a:cubicBezTo>
                    <a:pt x="404104" y="30333"/>
                    <a:pt x="-24672" y="678333"/>
                    <a:pt x="1119" y="920124"/>
                  </a:cubicBezTo>
                  <a:cubicBezTo>
                    <a:pt x="142970" y="974930"/>
                    <a:pt x="294493" y="981377"/>
                    <a:pt x="426671" y="981377"/>
                  </a:cubicBezTo>
                  <a:cubicBezTo>
                    <a:pt x="433119" y="871766"/>
                    <a:pt x="774850" y="426870"/>
                    <a:pt x="787746" y="401079"/>
                  </a:cubicBezTo>
                  <a:cubicBezTo>
                    <a:pt x="800642" y="378512"/>
                    <a:pt x="578194" y="916900"/>
                    <a:pt x="626552" y="1042631"/>
                  </a:cubicBezTo>
                  <a:cubicBezTo>
                    <a:pt x="742611" y="1081318"/>
                    <a:pt x="974731" y="1061975"/>
                    <a:pt x="1126254" y="1003945"/>
                  </a:cubicBezTo>
                  <a:cubicBezTo>
                    <a:pt x="1132702" y="884661"/>
                    <a:pt x="1303567" y="127049"/>
                    <a:pt x="1235866" y="20661"/>
                  </a:cubicBezTo>
                  <a:cubicBezTo>
                    <a:pt x="710372" y="-30921"/>
                    <a:pt x="404104" y="30333"/>
                    <a:pt x="404104" y="30333"/>
                  </a:cubicBezTo>
                  <a:close/>
                </a:path>
              </a:pathLst>
            </a:custGeom>
            <a:solidFill>
              <a:srgbClr val="F6EBE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8BBAEF88-4567-44FC-8B1C-DB0FF1172161}"/>
                </a:ext>
              </a:extLst>
            </p:cNvPr>
            <p:cNvSpPr/>
            <p:nvPr/>
          </p:nvSpPr>
          <p:spPr>
            <a:xfrm>
              <a:off x="21909684" y="3034663"/>
              <a:ext cx="819724" cy="642270"/>
            </a:xfrm>
            <a:custGeom>
              <a:avLst/>
              <a:gdLst>
                <a:gd name="connsiteX0" fmla="*/ 802747 w 819724"/>
                <a:gd name="connsiteY0" fmla="*/ 217405 h 642270"/>
                <a:gd name="connsiteX1" fmla="*/ 744718 w 819724"/>
                <a:gd name="connsiteY1" fmla="*/ 1405 h 642270"/>
                <a:gd name="connsiteX2" fmla="*/ 551285 w 819724"/>
                <a:gd name="connsiteY2" fmla="*/ 220629 h 642270"/>
                <a:gd name="connsiteX3" fmla="*/ 435224 w 819724"/>
                <a:gd name="connsiteY3" fmla="*/ 449524 h 642270"/>
                <a:gd name="connsiteX4" fmla="*/ 3225 w 819724"/>
                <a:gd name="connsiteY4" fmla="*/ 420509 h 642270"/>
                <a:gd name="connsiteX5" fmla="*/ 0 w 819724"/>
                <a:gd name="connsiteY5" fmla="*/ 526897 h 642270"/>
                <a:gd name="connsiteX6" fmla="*/ 535165 w 819724"/>
                <a:gd name="connsiteY6" fmla="*/ 639733 h 642270"/>
                <a:gd name="connsiteX7" fmla="*/ 802747 w 819724"/>
                <a:gd name="connsiteY7" fmla="*/ 217405 h 642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9724" h="642270">
                  <a:moveTo>
                    <a:pt x="802747" y="217405"/>
                  </a:moveTo>
                  <a:cubicBezTo>
                    <a:pt x="844657" y="111017"/>
                    <a:pt x="802747" y="-14714"/>
                    <a:pt x="744718" y="1405"/>
                  </a:cubicBezTo>
                  <a:cubicBezTo>
                    <a:pt x="677015" y="20748"/>
                    <a:pt x="596418" y="94898"/>
                    <a:pt x="551285" y="220629"/>
                  </a:cubicBezTo>
                  <a:cubicBezTo>
                    <a:pt x="525492" y="294778"/>
                    <a:pt x="448120" y="455972"/>
                    <a:pt x="435224" y="449524"/>
                  </a:cubicBezTo>
                  <a:cubicBezTo>
                    <a:pt x="428776" y="449524"/>
                    <a:pt x="3225" y="420509"/>
                    <a:pt x="3225" y="420509"/>
                  </a:cubicBezTo>
                  <a:cubicBezTo>
                    <a:pt x="3225" y="468868"/>
                    <a:pt x="0" y="526897"/>
                    <a:pt x="0" y="526897"/>
                  </a:cubicBezTo>
                  <a:cubicBezTo>
                    <a:pt x="0" y="526897"/>
                    <a:pt x="473911" y="662300"/>
                    <a:pt x="535165" y="639733"/>
                  </a:cubicBezTo>
                  <a:cubicBezTo>
                    <a:pt x="609314" y="613942"/>
                    <a:pt x="747941" y="349584"/>
                    <a:pt x="802747" y="217405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5" name="图形 1">
              <a:extLst>
                <a:ext uri="{FF2B5EF4-FFF2-40B4-BE49-F238E27FC236}">
                  <a16:creationId xmlns:a16="http://schemas.microsoft.com/office/drawing/2014/main" id="{F634BDEA-6CF2-4289-AF16-ED7C075FF343}"/>
                </a:ext>
              </a:extLst>
            </p:cNvPr>
            <p:cNvGrpSpPr/>
            <p:nvPr/>
          </p:nvGrpSpPr>
          <p:grpSpPr>
            <a:xfrm>
              <a:off x="22460968" y="5545053"/>
              <a:ext cx="383641" cy="166835"/>
              <a:chOff x="22460968" y="5545053"/>
              <a:chExt cx="383641" cy="166835"/>
            </a:xfrm>
          </p:grpSpPr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7A941CA7-F8A4-4A22-AF5C-3F5BA306A14A}"/>
                  </a:ext>
                </a:extLst>
              </p:cNvPr>
              <p:cNvSpPr/>
              <p:nvPr/>
            </p:nvSpPr>
            <p:spPr>
              <a:xfrm>
                <a:off x="22460969" y="5553919"/>
                <a:ext cx="382924" cy="122507"/>
              </a:xfrm>
              <a:custGeom>
                <a:avLst/>
                <a:gdLst>
                  <a:gd name="connsiteX0" fmla="*/ 377192 w 382924"/>
                  <a:gd name="connsiteY0" fmla="*/ 35463 h 122507"/>
                  <a:gd name="connsiteX1" fmla="*/ 232118 w 382924"/>
                  <a:gd name="connsiteY1" fmla="*/ 0 h 122507"/>
                  <a:gd name="connsiteX2" fmla="*/ 128955 w 382924"/>
                  <a:gd name="connsiteY2" fmla="*/ 61254 h 122507"/>
                  <a:gd name="connsiteX3" fmla="*/ 0 w 382924"/>
                  <a:gd name="connsiteY3" fmla="*/ 122507 h 122507"/>
                  <a:gd name="connsiteX4" fmla="*/ 377192 w 382924"/>
                  <a:gd name="connsiteY4" fmla="*/ 122507 h 122507"/>
                  <a:gd name="connsiteX5" fmla="*/ 377192 w 382924"/>
                  <a:gd name="connsiteY5" fmla="*/ 35463 h 122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2924" h="122507">
                    <a:moveTo>
                      <a:pt x="377192" y="35463"/>
                    </a:moveTo>
                    <a:cubicBezTo>
                      <a:pt x="377192" y="35463"/>
                      <a:pt x="280476" y="48358"/>
                      <a:pt x="232118" y="0"/>
                    </a:cubicBezTo>
                    <a:cubicBezTo>
                      <a:pt x="232118" y="0"/>
                      <a:pt x="164417" y="54806"/>
                      <a:pt x="128955" y="61254"/>
                    </a:cubicBezTo>
                    <a:cubicBezTo>
                      <a:pt x="93491" y="67701"/>
                      <a:pt x="9671" y="67701"/>
                      <a:pt x="0" y="122507"/>
                    </a:cubicBezTo>
                    <a:lnTo>
                      <a:pt x="377192" y="122507"/>
                    </a:lnTo>
                    <a:cubicBezTo>
                      <a:pt x="377192" y="122507"/>
                      <a:pt x="390089" y="74149"/>
                      <a:pt x="377192" y="3546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01005E4D-3C92-431F-A5D0-2CF93221CABC}"/>
                  </a:ext>
                </a:extLst>
              </p:cNvPr>
              <p:cNvSpPr/>
              <p:nvPr/>
            </p:nvSpPr>
            <p:spPr>
              <a:xfrm>
                <a:off x="22460968" y="5676426"/>
                <a:ext cx="377194" cy="35462"/>
              </a:xfrm>
              <a:custGeom>
                <a:avLst/>
                <a:gdLst>
                  <a:gd name="connsiteX0" fmla="*/ 1 w 377194"/>
                  <a:gd name="connsiteY0" fmla="*/ 0 h 35462"/>
                  <a:gd name="connsiteX1" fmla="*/ 377195 w 377194"/>
                  <a:gd name="connsiteY1" fmla="*/ 0 h 35462"/>
                  <a:gd name="connsiteX2" fmla="*/ 377195 w 377194"/>
                  <a:gd name="connsiteY2" fmla="*/ 35463 h 35462"/>
                  <a:gd name="connsiteX3" fmla="*/ 1 w 377194"/>
                  <a:gd name="connsiteY3" fmla="*/ 35463 h 35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7194" h="35462">
                    <a:moveTo>
                      <a:pt x="1" y="0"/>
                    </a:moveTo>
                    <a:lnTo>
                      <a:pt x="377195" y="0"/>
                    </a:lnTo>
                    <a:lnTo>
                      <a:pt x="377195" y="35463"/>
                    </a:lnTo>
                    <a:lnTo>
                      <a:pt x="1" y="35463"/>
                    </a:ln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BBB3FC54-02F9-45E6-AEF0-312A5A91E7A0}"/>
                  </a:ext>
                </a:extLst>
              </p:cNvPr>
              <p:cNvSpPr/>
              <p:nvPr/>
            </p:nvSpPr>
            <p:spPr>
              <a:xfrm>
                <a:off x="22687446" y="5545053"/>
                <a:ext cx="157163" cy="50776"/>
              </a:xfrm>
              <a:custGeom>
                <a:avLst/>
                <a:gdLst>
                  <a:gd name="connsiteX0" fmla="*/ 121701 w 157163"/>
                  <a:gd name="connsiteY0" fmla="*/ 50776 h 50776"/>
                  <a:gd name="connsiteX1" fmla="*/ 2417 w 157163"/>
                  <a:gd name="connsiteY1" fmla="*/ 12090 h 50776"/>
                  <a:gd name="connsiteX2" fmla="*/ 2417 w 157163"/>
                  <a:gd name="connsiteY2" fmla="*/ 2418 h 50776"/>
                  <a:gd name="connsiteX3" fmla="*/ 12089 w 157163"/>
                  <a:gd name="connsiteY3" fmla="*/ 2418 h 50776"/>
                  <a:gd name="connsiteX4" fmla="*/ 150715 w 157163"/>
                  <a:gd name="connsiteY4" fmla="*/ 37881 h 50776"/>
                  <a:gd name="connsiteX5" fmla="*/ 157163 w 157163"/>
                  <a:gd name="connsiteY5" fmla="*/ 44328 h 50776"/>
                  <a:gd name="connsiteX6" fmla="*/ 150715 w 157163"/>
                  <a:gd name="connsiteY6" fmla="*/ 50776 h 50776"/>
                  <a:gd name="connsiteX7" fmla="*/ 121701 w 157163"/>
                  <a:gd name="connsiteY7" fmla="*/ 50776 h 50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63" h="50776">
                    <a:moveTo>
                      <a:pt x="121701" y="50776"/>
                    </a:moveTo>
                    <a:cubicBezTo>
                      <a:pt x="89462" y="50776"/>
                      <a:pt x="37879" y="44328"/>
                      <a:pt x="2417" y="12090"/>
                    </a:cubicBezTo>
                    <a:cubicBezTo>
                      <a:pt x="-806" y="8866"/>
                      <a:pt x="-806" y="5642"/>
                      <a:pt x="2417" y="2418"/>
                    </a:cubicBezTo>
                    <a:cubicBezTo>
                      <a:pt x="5640" y="-806"/>
                      <a:pt x="8865" y="-806"/>
                      <a:pt x="12089" y="2418"/>
                    </a:cubicBezTo>
                    <a:cubicBezTo>
                      <a:pt x="63672" y="50776"/>
                      <a:pt x="150715" y="37881"/>
                      <a:pt x="150715" y="37881"/>
                    </a:cubicBezTo>
                    <a:cubicBezTo>
                      <a:pt x="153940" y="37881"/>
                      <a:pt x="157163" y="41105"/>
                      <a:pt x="157163" y="44328"/>
                    </a:cubicBezTo>
                    <a:cubicBezTo>
                      <a:pt x="157163" y="47552"/>
                      <a:pt x="153940" y="50776"/>
                      <a:pt x="150715" y="50776"/>
                    </a:cubicBezTo>
                    <a:cubicBezTo>
                      <a:pt x="150715" y="50776"/>
                      <a:pt x="137821" y="50776"/>
                      <a:pt x="121701" y="5077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EF78150D-6637-4EB5-82C5-968A004156AC}"/>
                  </a:ext>
                </a:extLst>
              </p:cNvPr>
              <p:cNvSpPr/>
              <p:nvPr/>
            </p:nvSpPr>
            <p:spPr>
              <a:xfrm>
                <a:off x="22661654" y="5567620"/>
                <a:ext cx="33851" cy="34656"/>
              </a:xfrm>
              <a:custGeom>
                <a:avLst/>
                <a:gdLst>
                  <a:gd name="connsiteX0" fmla="*/ 24986 w 33851"/>
                  <a:gd name="connsiteY0" fmla="*/ 34657 h 34656"/>
                  <a:gd name="connsiteX1" fmla="*/ 21761 w 33851"/>
                  <a:gd name="connsiteY1" fmla="*/ 31433 h 34656"/>
                  <a:gd name="connsiteX2" fmla="*/ 2419 w 33851"/>
                  <a:gd name="connsiteY2" fmla="*/ 12089 h 34656"/>
                  <a:gd name="connsiteX3" fmla="*/ 2419 w 33851"/>
                  <a:gd name="connsiteY3" fmla="*/ 2418 h 34656"/>
                  <a:gd name="connsiteX4" fmla="*/ 12090 w 33851"/>
                  <a:gd name="connsiteY4" fmla="*/ 2418 h 34656"/>
                  <a:gd name="connsiteX5" fmla="*/ 31433 w 33851"/>
                  <a:gd name="connsiteY5" fmla="*/ 21761 h 34656"/>
                  <a:gd name="connsiteX6" fmla="*/ 31433 w 33851"/>
                  <a:gd name="connsiteY6" fmla="*/ 31433 h 34656"/>
                  <a:gd name="connsiteX7" fmla="*/ 24986 w 33851"/>
                  <a:gd name="connsiteY7" fmla="*/ 34657 h 34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51" h="34656">
                    <a:moveTo>
                      <a:pt x="24986" y="34657"/>
                    </a:moveTo>
                    <a:cubicBezTo>
                      <a:pt x="24986" y="34657"/>
                      <a:pt x="21761" y="34657"/>
                      <a:pt x="21761" y="31433"/>
                    </a:cubicBezTo>
                    <a:lnTo>
                      <a:pt x="2419" y="12089"/>
                    </a:lnTo>
                    <a:cubicBezTo>
                      <a:pt x="-806" y="8866"/>
                      <a:pt x="-806" y="5642"/>
                      <a:pt x="2419" y="2418"/>
                    </a:cubicBezTo>
                    <a:cubicBezTo>
                      <a:pt x="5642" y="-806"/>
                      <a:pt x="8867" y="-806"/>
                      <a:pt x="12090" y="2418"/>
                    </a:cubicBezTo>
                    <a:lnTo>
                      <a:pt x="31433" y="21761"/>
                    </a:lnTo>
                    <a:cubicBezTo>
                      <a:pt x="34658" y="24985"/>
                      <a:pt x="34658" y="28209"/>
                      <a:pt x="31433" y="31433"/>
                    </a:cubicBezTo>
                    <a:cubicBezTo>
                      <a:pt x="28209" y="31433"/>
                      <a:pt x="24986" y="34657"/>
                      <a:pt x="24986" y="3465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025A5423-AC1A-4700-A2AE-0C337AEF24C2}"/>
                  </a:ext>
                </a:extLst>
              </p:cNvPr>
              <p:cNvSpPr/>
              <p:nvPr/>
            </p:nvSpPr>
            <p:spPr>
              <a:xfrm>
                <a:off x="22632640" y="5586964"/>
                <a:ext cx="33850" cy="34656"/>
              </a:xfrm>
              <a:custGeom>
                <a:avLst/>
                <a:gdLst>
                  <a:gd name="connsiteX0" fmla="*/ 24985 w 33850"/>
                  <a:gd name="connsiteY0" fmla="*/ 34657 h 34656"/>
                  <a:gd name="connsiteX1" fmla="*/ 21762 w 33850"/>
                  <a:gd name="connsiteY1" fmla="*/ 31433 h 34656"/>
                  <a:gd name="connsiteX2" fmla="*/ 2417 w 33850"/>
                  <a:gd name="connsiteY2" fmla="*/ 12090 h 34656"/>
                  <a:gd name="connsiteX3" fmla="*/ 2417 w 33850"/>
                  <a:gd name="connsiteY3" fmla="*/ 2418 h 34656"/>
                  <a:gd name="connsiteX4" fmla="*/ 12089 w 33850"/>
                  <a:gd name="connsiteY4" fmla="*/ 2418 h 34656"/>
                  <a:gd name="connsiteX5" fmla="*/ 31433 w 33850"/>
                  <a:gd name="connsiteY5" fmla="*/ 21761 h 34656"/>
                  <a:gd name="connsiteX6" fmla="*/ 31433 w 33850"/>
                  <a:gd name="connsiteY6" fmla="*/ 31433 h 34656"/>
                  <a:gd name="connsiteX7" fmla="*/ 24985 w 33850"/>
                  <a:gd name="connsiteY7" fmla="*/ 34657 h 34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50" h="34656">
                    <a:moveTo>
                      <a:pt x="24985" y="34657"/>
                    </a:moveTo>
                    <a:cubicBezTo>
                      <a:pt x="24985" y="34657"/>
                      <a:pt x="21762" y="34657"/>
                      <a:pt x="21762" y="31433"/>
                    </a:cubicBezTo>
                    <a:lnTo>
                      <a:pt x="2417" y="12090"/>
                    </a:lnTo>
                    <a:cubicBezTo>
                      <a:pt x="-806" y="8866"/>
                      <a:pt x="-806" y="5642"/>
                      <a:pt x="2417" y="2418"/>
                    </a:cubicBezTo>
                    <a:cubicBezTo>
                      <a:pt x="5642" y="-806"/>
                      <a:pt x="8865" y="-806"/>
                      <a:pt x="12089" y="2418"/>
                    </a:cubicBezTo>
                    <a:lnTo>
                      <a:pt x="31433" y="21761"/>
                    </a:lnTo>
                    <a:cubicBezTo>
                      <a:pt x="34656" y="24985"/>
                      <a:pt x="34656" y="28209"/>
                      <a:pt x="31433" y="31433"/>
                    </a:cubicBezTo>
                    <a:cubicBezTo>
                      <a:pt x="28208" y="34657"/>
                      <a:pt x="24985" y="34657"/>
                      <a:pt x="24985" y="3465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6" name="图形 1">
              <a:extLst>
                <a:ext uri="{FF2B5EF4-FFF2-40B4-BE49-F238E27FC236}">
                  <a16:creationId xmlns:a16="http://schemas.microsoft.com/office/drawing/2014/main" id="{8B277A09-57CF-4360-9830-E1823EF01437}"/>
                </a:ext>
              </a:extLst>
            </p:cNvPr>
            <p:cNvGrpSpPr/>
            <p:nvPr/>
          </p:nvGrpSpPr>
          <p:grpSpPr>
            <a:xfrm>
              <a:off x="23844013" y="5424964"/>
              <a:ext cx="222448" cy="286925"/>
              <a:chOff x="23844013" y="5424964"/>
              <a:chExt cx="222448" cy="286925"/>
            </a:xfrm>
          </p:grpSpPr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27852D9A-36B2-43AC-8E85-F8DE98A76D2D}"/>
                  </a:ext>
                </a:extLst>
              </p:cNvPr>
              <p:cNvSpPr/>
              <p:nvPr/>
            </p:nvSpPr>
            <p:spPr>
              <a:xfrm>
                <a:off x="23844013" y="5428187"/>
                <a:ext cx="190413" cy="272238"/>
              </a:xfrm>
              <a:custGeom>
                <a:avLst/>
                <a:gdLst>
                  <a:gd name="connsiteX0" fmla="*/ 116061 w 190413"/>
                  <a:gd name="connsiteY0" fmla="*/ 0 h 272238"/>
                  <a:gd name="connsiteX1" fmla="*/ 12896 w 190413"/>
                  <a:gd name="connsiteY1" fmla="*/ 106388 h 272238"/>
                  <a:gd name="connsiteX2" fmla="*/ 16119 w 190413"/>
                  <a:gd name="connsiteY2" fmla="*/ 225672 h 272238"/>
                  <a:gd name="connsiteX3" fmla="*/ 0 w 190413"/>
                  <a:gd name="connsiteY3" fmla="*/ 270806 h 272238"/>
                  <a:gd name="connsiteX4" fmla="*/ 61255 w 190413"/>
                  <a:gd name="connsiteY4" fmla="*/ 270806 h 272238"/>
                  <a:gd name="connsiteX5" fmla="*/ 190210 w 190413"/>
                  <a:gd name="connsiteY5" fmla="*/ 38686 h 272238"/>
                  <a:gd name="connsiteX6" fmla="*/ 116061 w 190413"/>
                  <a:gd name="connsiteY6" fmla="*/ 0 h 272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0413" h="272238">
                    <a:moveTo>
                      <a:pt x="116061" y="0"/>
                    </a:moveTo>
                    <a:cubicBezTo>
                      <a:pt x="116061" y="0"/>
                      <a:pt x="80597" y="90269"/>
                      <a:pt x="12896" y="106388"/>
                    </a:cubicBezTo>
                    <a:cubicBezTo>
                      <a:pt x="12896" y="106388"/>
                      <a:pt x="29016" y="193433"/>
                      <a:pt x="16119" y="225672"/>
                    </a:cubicBezTo>
                    <a:cubicBezTo>
                      <a:pt x="12896" y="238567"/>
                      <a:pt x="6448" y="251463"/>
                      <a:pt x="0" y="270806"/>
                    </a:cubicBezTo>
                    <a:cubicBezTo>
                      <a:pt x="32239" y="274030"/>
                      <a:pt x="61255" y="270806"/>
                      <a:pt x="61255" y="270806"/>
                    </a:cubicBezTo>
                    <a:lnTo>
                      <a:pt x="190210" y="38686"/>
                    </a:lnTo>
                    <a:cubicBezTo>
                      <a:pt x="193433" y="41911"/>
                      <a:pt x="157971" y="6448"/>
                      <a:pt x="116061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491E8285-D768-47AF-BDF8-5C94214904FE}"/>
                  </a:ext>
                </a:extLst>
              </p:cNvPr>
              <p:cNvSpPr/>
              <p:nvPr/>
            </p:nvSpPr>
            <p:spPr>
              <a:xfrm>
                <a:off x="23898819" y="5470098"/>
                <a:ext cx="167642" cy="241791"/>
              </a:xfrm>
              <a:custGeom>
                <a:avLst/>
                <a:gdLst>
                  <a:gd name="connsiteX0" fmla="*/ 0 w 167642"/>
                  <a:gd name="connsiteY0" fmla="*/ 241791 h 241791"/>
                  <a:gd name="connsiteX1" fmla="*/ 138626 w 167642"/>
                  <a:gd name="connsiteY1" fmla="*/ 0 h 241791"/>
                  <a:gd name="connsiteX2" fmla="*/ 167642 w 167642"/>
                  <a:gd name="connsiteY2" fmla="*/ 16119 h 241791"/>
                  <a:gd name="connsiteX3" fmla="*/ 41910 w 167642"/>
                  <a:gd name="connsiteY3" fmla="*/ 241791 h 241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7642" h="241791">
                    <a:moveTo>
                      <a:pt x="0" y="241791"/>
                    </a:moveTo>
                    <a:lnTo>
                      <a:pt x="138626" y="0"/>
                    </a:lnTo>
                    <a:lnTo>
                      <a:pt x="167642" y="16119"/>
                    </a:lnTo>
                    <a:lnTo>
                      <a:pt x="41910" y="241791"/>
                    </a:ln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17C19E77-BE9E-4915-BB48-315AC9DA7D18}"/>
                  </a:ext>
                </a:extLst>
              </p:cNvPr>
              <p:cNvSpPr/>
              <p:nvPr/>
            </p:nvSpPr>
            <p:spPr>
              <a:xfrm>
                <a:off x="23850461" y="5424964"/>
                <a:ext cx="109831" cy="116059"/>
              </a:xfrm>
              <a:custGeom>
                <a:avLst/>
                <a:gdLst>
                  <a:gd name="connsiteX0" fmla="*/ 6448 w 109831"/>
                  <a:gd name="connsiteY0" fmla="*/ 116060 h 116059"/>
                  <a:gd name="connsiteX1" fmla="*/ 0 w 109831"/>
                  <a:gd name="connsiteY1" fmla="*/ 112836 h 116059"/>
                  <a:gd name="connsiteX2" fmla="*/ 3223 w 109831"/>
                  <a:gd name="connsiteY2" fmla="*/ 106388 h 116059"/>
                  <a:gd name="connsiteX3" fmla="*/ 99940 w 109831"/>
                  <a:gd name="connsiteY3" fmla="*/ 3224 h 116059"/>
                  <a:gd name="connsiteX4" fmla="*/ 106388 w 109831"/>
                  <a:gd name="connsiteY4" fmla="*/ 0 h 116059"/>
                  <a:gd name="connsiteX5" fmla="*/ 109613 w 109831"/>
                  <a:gd name="connsiteY5" fmla="*/ 6448 h 116059"/>
                  <a:gd name="connsiteX6" fmla="*/ 6448 w 109831"/>
                  <a:gd name="connsiteY6" fmla="*/ 116060 h 116059"/>
                  <a:gd name="connsiteX7" fmla="*/ 6448 w 109831"/>
                  <a:gd name="connsiteY7" fmla="*/ 116060 h 116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9831" h="116059">
                    <a:moveTo>
                      <a:pt x="6448" y="116060"/>
                    </a:moveTo>
                    <a:cubicBezTo>
                      <a:pt x="3223" y="116060"/>
                      <a:pt x="3223" y="116060"/>
                      <a:pt x="0" y="112836"/>
                    </a:cubicBezTo>
                    <a:cubicBezTo>
                      <a:pt x="0" y="109612"/>
                      <a:pt x="0" y="106388"/>
                      <a:pt x="3223" y="106388"/>
                    </a:cubicBezTo>
                    <a:cubicBezTo>
                      <a:pt x="70926" y="83821"/>
                      <a:pt x="99940" y="3224"/>
                      <a:pt x="99940" y="3224"/>
                    </a:cubicBezTo>
                    <a:cubicBezTo>
                      <a:pt x="99940" y="0"/>
                      <a:pt x="103165" y="0"/>
                      <a:pt x="106388" y="0"/>
                    </a:cubicBezTo>
                    <a:cubicBezTo>
                      <a:pt x="109613" y="0"/>
                      <a:pt x="109613" y="3224"/>
                      <a:pt x="109613" y="6448"/>
                    </a:cubicBezTo>
                    <a:cubicBezTo>
                      <a:pt x="112836" y="6448"/>
                      <a:pt x="80597" y="90269"/>
                      <a:pt x="6448" y="116060"/>
                    </a:cubicBezTo>
                    <a:cubicBezTo>
                      <a:pt x="9671" y="116060"/>
                      <a:pt x="9671" y="116060"/>
                      <a:pt x="6448" y="11606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93C9E79A-68E3-40D2-AD17-D58DC6E23558}"/>
                  </a:ext>
                </a:extLst>
              </p:cNvPr>
              <p:cNvSpPr/>
              <p:nvPr/>
            </p:nvSpPr>
            <p:spPr>
              <a:xfrm>
                <a:off x="23856909" y="5557143"/>
                <a:ext cx="38686" cy="16119"/>
              </a:xfrm>
              <a:custGeom>
                <a:avLst/>
                <a:gdLst>
                  <a:gd name="connsiteX0" fmla="*/ 6448 w 38686"/>
                  <a:gd name="connsiteY0" fmla="*/ 16119 h 16119"/>
                  <a:gd name="connsiteX1" fmla="*/ 0 w 38686"/>
                  <a:gd name="connsiteY1" fmla="*/ 12896 h 16119"/>
                  <a:gd name="connsiteX2" fmla="*/ 3223 w 38686"/>
                  <a:gd name="connsiteY2" fmla="*/ 6448 h 16119"/>
                  <a:gd name="connsiteX3" fmla="*/ 32239 w 38686"/>
                  <a:gd name="connsiteY3" fmla="*/ 0 h 16119"/>
                  <a:gd name="connsiteX4" fmla="*/ 38687 w 38686"/>
                  <a:gd name="connsiteY4" fmla="*/ 3224 h 16119"/>
                  <a:gd name="connsiteX5" fmla="*/ 35462 w 38686"/>
                  <a:gd name="connsiteY5" fmla="*/ 9672 h 16119"/>
                  <a:gd name="connsiteX6" fmla="*/ 6448 w 38686"/>
                  <a:gd name="connsiteY6" fmla="*/ 16119 h 16119"/>
                  <a:gd name="connsiteX7" fmla="*/ 6448 w 38686"/>
                  <a:gd name="connsiteY7" fmla="*/ 16119 h 16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686" h="16119">
                    <a:moveTo>
                      <a:pt x="6448" y="16119"/>
                    </a:moveTo>
                    <a:cubicBezTo>
                      <a:pt x="3223" y="16119"/>
                      <a:pt x="0" y="12896"/>
                      <a:pt x="0" y="12896"/>
                    </a:cubicBezTo>
                    <a:cubicBezTo>
                      <a:pt x="0" y="9672"/>
                      <a:pt x="0" y="6448"/>
                      <a:pt x="3223" y="6448"/>
                    </a:cubicBezTo>
                    <a:lnTo>
                      <a:pt x="32239" y="0"/>
                    </a:lnTo>
                    <a:cubicBezTo>
                      <a:pt x="35462" y="0"/>
                      <a:pt x="38687" y="0"/>
                      <a:pt x="38687" y="3224"/>
                    </a:cubicBezTo>
                    <a:cubicBezTo>
                      <a:pt x="38687" y="6448"/>
                      <a:pt x="38687" y="9672"/>
                      <a:pt x="35462" y="9672"/>
                    </a:cubicBezTo>
                    <a:lnTo>
                      <a:pt x="6448" y="16119"/>
                    </a:lnTo>
                    <a:cubicBezTo>
                      <a:pt x="6448" y="16119"/>
                      <a:pt x="6448" y="16119"/>
                      <a:pt x="6448" y="1611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B594EA8F-FC97-4FE9-85F9-472AD2DA062C}"/>
                  </a:ext>
                </a:extLst>
              </p:cNvPr>
              <p:cNvSpPr/>
              <p:nvPr/>
            </p:nvSpPr>
            <p:spPr>
              <a:xfrm>
                <a:off x="23860132" y="5595829"/>
                <a:ext cx="38686" cy="16119"/>
              </a:xfrm>
              <a:custGeom>
                <a:avLst/>
                <a:gdLst>
                  <a:gd name="connsiteX0" fmla="*/ 6448 w 38686"/>
                  <a:gd name="connsiteY0" fmla="*/ 16119 h 16119"/>
                  <a:gd name="connsiteX1" fmla="*/ 0 w 38686"/>
                  <a:gd name="connsiteY1" fmla="*/ 12896 h 16119"/>
                  <a:gd name="connsiteX2" fmla="*/ 3225 w 38686"/>
                  <a:gd name="connsiteY2" fmla="*/ 6448 h 16119"/>
                  <a:gd name="connsiteX3" fmla="*/ 32239 w 38686"/>
                  <a:gd name="connsiteY3" fmla="*/ 0 h 16119"/>
                  <a:gd name="connsiteX4" fmla="*/ 38687 w 38686"/>
                  <a:gd name="connsiteY4" fmla="*/ 3224 h 16119"/>
                  <a:gd name="connsiteX5" fmla="*/ 35464 w 38686"/>
                  <a:gd name="connsiteY5" fmla="*/ 9672 h 16119"/>
                  <a:gd name="connsiteX6" fmla="*/ 6448 w 38686"/>
                  <a:gd name="connsiteY6" fmla="*/ 16119 h 16119"/>
                  <a:gd name="connsiteX7" fmla="*/ 6448 w 38686"/>
                  <a:gd name="connsiteY7" fmla="*/ 16119 h 16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686" h="16119">
                    <a:moveTo>
                      <a:pt x="6448" y="16119"/>
                    </a:moveTo>
                    <a:cubicBezTo>
                      <a:pt x="3225" y="16119"/>
                      <a:pt x="0" y="12896"/>
                      <a:pt x="0" y="12896"/>
                    </a:cubicBezTo>
                    <a:cubicBezTo>
                      <a:pt x="0" y="9672"/>
                      <a:pt x="0" y="6448"/>
                      <a:pt x="3225" y="6448"/>
                    </a:cubicBezTo>
                    <a:lnTo>
                      <a:pt x="32239" y="0"/>
                    </a:lnTo>
                    <a:cubicBezTo>
                      <a:pt x="35464" y="0"/>
                      <a:pt x="38687" y="0"/>
                      <a:pt x="38687" y="3224"/>
                    </a:cubicBezTo>
                    <a:cubicBezTo>
                      <a:pt x="38687" y="6448"/>
                      <a:pt x="38687" y="9672"/>
                      <a:pt x="35464" y="9672"/>
                    </a:cubicBezTo>
                    <a:lnTo>
                      <a:pt x="6448" y="16119"/>
                    </a:lnTo>
                    <a:cubicBezTo>
                      <a:pt x="6448" y="16119"/>
                      <a:pt x="6448" y="16119"/>
                      <a:pt x="6448" y="1611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A75F6AAE-4329-44A7-B1D7-972F8EA609AA}"/>
                </a:ext>
              </a:extLst>
            </p:cNvPr>
            <p:cNvSpPr/>
            <p:nvPr/>
          </p:nvSpPr>
          <p:spPr>
            <a:xfrm>
              <a:off x="23170223" y="3887172"/>
              <a:ext cx="58029" cy="283701"/>
            </a:xfrm>
            <a:custGeom>
              <a:avLst/>
              <a:gdLst>
                <a:gd name="connsiteX0" fmla="*/ 51581 w 58029"/>
                <a:gd name="connsiteY0" fmla="*/ 283701 h 283701"/>
                <a:gd name="connsiteX1" fmla="*/ 45133 w 58029"/>
                <a:gd name="connsiteY1" fmla="*/ 280478 h 283701"/>
                <a:gd name="connsiteX2" fmla="*/ 0 w 58029"/>
                <a:gd name="connsiteY2" fmla="*/ 6448 h 283701"/>
                <a:gd name="connsiteX3" fmla="*/ 6446 w 58029"/>
                <a:gd name="connsiteY3" fmla="*/ 0 h 283701"/>
                <a:gd name="connsiteX4" fmla="*/ 12894 w 58029"/>
                <a:gd name="connsiteY4" fmla="*/ 6448 h 283701"/>
                <a:gd name="connsiteX5" fmla="*/ 58029 w 58029"/>
                <a:gd name="connsiteY5" fmla="*/ 277254 h 283701"/>
                <a:gd name="connsiteX6" fmla="*/ 51581 w 58029"/>
                <a:gd name="connsiteY6" fmla="*/ 283701 h 283701"/>
                <a:gd name="connsiteX7" fmla="*/ 51581 w 58029"/>
                <a:gd name="connsiteY7" fmla="*/ 283701 h 283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029" h="283701">
                  <a:moveTo>
                    <a:pt x="51581" y="283701"/>
                  </a:moveTo>
                  <a:cubicBezTo>
                    <a:pt x="48358" y="283701"/>
                    <a:pt x="48358" y="283701"/>
                    <a:pt x="45133" y="280478"/>
                  </a:cubicBezTo>
                  <a:cubicBezTo>
                    <a:pt x="6446" y="190209"/>
                    <a:pt x="0" y="12895"/>
                    <a:pt x="0" y="6448"/>
                  </a:cubicBezTo>
                  <a:cubicBezTo>
                    <a:pt x="0" y="3224"/>
                    <a:pt x="3223" y="0"/>
                    <a:pt x="6446" y="0"/>
                  </a:cubicBezTo>
                  <a:cubicBezTo>
                    <a:pt x="9671" y="0"/>
                    <a:pt x="12894" y="3224"/>
                    <a:pt x="12894" y="6448"/>
                  </a:cubicBezTo>
                  <a:cubicBezTo>
                    <a:pt x="12894" y="9672"/>
                    <a:pt x="19342" y="190209"/>
                    <a:pt x="58029" y="277254"/>
                  </a:cubicBezTo>
                  <a:cubicBezTo>
                    <a:pt x="58029" y="277254"/>
                    <a:pt x="58029" y="280478"/>
                    <a:pt x="51581" y="283701"/>
                  </a:cubicBezTo>
                  <a:cubicBezTo>
                    <a:pt x="51581" y="283701"/>
                    <a:pt x="51581" y="283701"/>
                    <a:pt x="51581" y="283701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9A69B995-35E1-4CD6-B439-5FF3200F5174}"/>
                </a:ext>
              </a:extLst>
            </p:cNvPr>
            <p:cNvSpPr/>
            <p:nvPr/>
          </p:nvSpPr>
          <p:spPr>
            <a:xfrm>
              <a:off x="23086401" y="3832366"/>
              <a:ext cx="122507" cy="277253"/>
            </a:xfrm>
            <a:custGeom>
              <a:avLst/>
              <a:gdLst>
                <a:gd name="connsiteX0" fmla="*/ 112836 w 122507"/>
                <a:gd name="connsiteY0" fmla="*/ 277254 h 277253"/>
                <a:gd name="connsiteX1" fmla="*/ 109613 w 122507"/>
                <a:gd name="connsiteY1" fmla="*/ 277254 h 277253"/>
                <a:gd name="connsiteX2" fmla="*/ 25791 w 122507"/>
                <a:gd name="connsiteY2" fmla="*/ 216000 h 277253"/>
                <a:gd name="connsiteX3" fmla="*/ 0 w 122507"/>
                <a:gd name="connsiteY3" fmla="*/ 6448 h 277253"/>
                <a:gd name="connsiteX4" fmla="*/ 6448 w 122507"/>
                <a:gd name="connsiteY4" fmla="*/ 0 h 277253"/>
                <a:gd name="connsiteX5" fmla="*/ 6448 w 122507"/>
                <a:gd name="connsiteY5" fmla="*/ 0 h 277253"/>
                <a:gd name="connsiteX6" fmla="*/ 12896 w 122507"/>
                <a:gd name="connsiteY6" fmla="*/ 6448 h 277253"/>
                <a:gd name="connsiteX7" fmla="*/ 38687 w 122507"/>
                <a:gd name="connsiteY7" fmla="*/ 209552 h 277253"/>
                <a:gd name="connsiteX8" fmla="*/ 119284 w 122507"/>
                <a:gd name="connsiteY8" fmla="*/ 267582 h 277253"/>
                <a:gd name="connsiteX9" fmla="*/ 122507 w 122507"/>
                <a:gd name="connsiteY9" fmla="*/ 277254 h 277253"/>
                <a:gd name="connsiteX10" fmla="*/ 112836 w 122507"/>
                <a:gd name="connsiteY10" fmla="*/ 277254 h 27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507" h="277253">
                  <a:moveTo>
                    <a:pt x="112836" y="277254"/>
                  </a:moveTo>
                  <a:cubicBezTo>
                    <a:pt x="112836" y="277254"/>
                    <a:pt x="109613" y="277254"/>
                    <a:pt x="109613" y="277254"/>
                  </a:cubicBezTo>
                  <a:cubicBezTo>
                    <a:pt x="103165" y="270806"/>
                    <a:pt x="32239" y="225672"/>
                    <a:pt x="25791" y="216000"/>
                  </a:cubicBezTo>
                  <a:cubicBezTo>
                    <a:pt x="16119" y="203105"/>
                    <a:pt x="3225" y="51582"/>
                    <a:pt x="0" y="6448"/>
                  </a:cubicBezTo>
                  <a:cubicBezTo>
                    <a:pt x="0" y="3224"/>
                    <a:pt x="3225" y="0"/>
                    <a:pt x="6448" y="0"/>
                  </a:cubicBezTo>
                  <a:cubicBezTo>
                    <a:pt x="6448" y="0"/>
                    <a:pt x="6448" y="0"/>
                    <a:pt x="6448" y="0"/>
                  </a:cubicBezTo>
                  <a:cubicBezTo>
                    <a:pt x="9671" y="0"/>
                    <a:pt x="12896" y="3224"/>
                    <a:pt x="12896" y="6448"/>
                  </a:cubicBezTo>
                  <a:cubicBezTo>
                    <a:pt x="19344" y="80597"/>
                    <a:pt x="32239" y="199881"/>
                    <a:pt x="38687" y="209552"/>
                  </a:cubicBezTo>
                  <a:cubicBezTo>
                    <a:pt x="45135" y="216000"/>
                    <a:pt x="93493" y="251463"/>
                    <a:pt x="119284" y="267582"/>
                  </a:cubicBezTo>
                  <a:cubicBezTo>
                    <a:pt x="122507" y="270806"/>
                    <a:pt x="122507" y="274030"/>
                    <a:pt x="122507" y="277254"/>
                  </a:cubicBezTo>
                  <a:cubicBezTo>
                    <a:pt x="116061" y="277254"/>
                    <a:pt x="116061" y="277254"/>
                    <a:pt x="112836" y="277254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EF8CA3B3-309C-4B40-BFBF-F656E406D0DF}"/>
                </a:ext>
              </a:extLst>
            </p:cNvPr>
            <p:cNvSpPr/>
            <p:nvPr/>
          </p:nvSpPr>
          <p:spPr>
            <a:xfrm>
              <a:off x="22444850" y="2797000"/>
              <a:ext cx="321165" cy="464320"/>
            </a:xfrm>
            <a:custGeom>
              <a:avLst/>
              <a:gdLst>
                <a:gd name="connsiteX0" fmla="*/ 319163 w 321165"/>
                <a:gd name="connsiteY0" fmla="*/ 461516 h 464320"/>
                <a:gd name="connsiteX1" fmla="*/ 235343 w 321165"/>
                <a:gd name="connsiteY1" fmla="*/ 3725 h 464320"/>
                <a:gd name="connsiteX2" fmla="*/ 0 w 321165"/>
                <a:gd name="connsiteY2" fmla="*/ 393815 h 464320"/>
                <a:gd name="connsiteX3" fmla="*/ 319163 w 321165"/>
                <a:gd name="connsiteY3" fmla="*/ 461516 h 46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165" h="464320">
                  <a:moveTo>
                    <a:pt x="319163" y="461516"/>
                  </a:moveTo>
                  <a:cubicBezTo>
                    <a:pt x="319163" y="461516"/>
                    <a:pt x="341731" y="45636"/>
                    <a:pt x="235343" y="3725"/>
                  </a:cubicBezTo>
                  <a:cubicBezTo>
                    <a:pt x="112836" y="-44633"/>
                    <a:pt x="0" y="393815"/>
                    <a:pt x="0" y="393815"/>
                  </a:cubicBezTo>
                  <a:cubicBezTo>
                    <a:pt x="0" y="393815"/>
                    <a:pt x="154746" y="480859"/>
                    <a:pt x="319163" y="461516"/>
                  </a:cubicBezTo>
                  <a:close/>
                </a:path>
              </a:pathLst>
            </a:custGeom>
            <a:solidFill>
              <a:srgbClr val="7F95BC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B469738E-BB40-455C-AE46-8E6BD2DCC6F3}"/>
                </a:ext>
              </a:extLst>
            </p:cNvPr>
            <p:cNvSpPr/>
            <p:nvPr/>
          </p:nvSpPr>
          <p:spPr>
            <a:xfrm>
              <a:off x="22770461" y="2497680"/>
              <a:ext cx="293372" cy="297489"/>
            </a:xfrm>
            <a:custGeom>
              <a:avLst/>
              <a:gdLst>
                <a:gd name="connsiteX0" fmla="*/ 0 w 293372"/>
                <a:gd name="connsiteY0" fmla="*/ 90269 h 297489"/>
                <a:gd name="connsiteX1" fmla="*/ 41910 w 293372"/>
                <a:gd name="connsiteY1" fmla="*/ 270806 h 297489"/>
                <a:gd name="connsiteX2" fmla="*/ 293372 w 293372"/>
                <a:gd name="connsiteY2" fmla="*/ 209552 h 297489"/>
                <a:gd name="connsiteX3" fmla="*/ 235343 w 293372"/>
                <a:gd name="connsiteY3" fmla="*/ 0 h 297489"/>
                <a:gd name="connsiteX4" fmla="*/ 0 w 293372"/>
                <a:gd name="connsiteY4" fmla="*/ 90269 h 297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372" h="297489">
                  <a:moveTo>
                    <a:pt x="0" y="90269"/>
                  </a:moveTo>
                  <a:cubicBezTo>
                    <a:pt x="0" y="90269"/>
                    <a:pt x="29016" y="193433"/>
                    <a:pt x="41910" y="270806"/>
                  </a:cubicBezTo>
                  <a:cubicBezTo>
                    <a:pt x="41910" y="270806"/>
                    <a:pt x="161194" y="361075"/>
                    <a:pt x="293372" y="209552"/>
                  </a:cubicBezTo>
                  <a:cubicBezTo>
                    <a:pt x="280478" y="145075"/>
                    <a:pt x="251462" y="67702"/>
                    <a:pt x="235343" y="0"/>
                  </a:cubicBezTo>
                  <a:cubicBezTo>
                    <a:pt x="235343" y="0"/>
                    <a:pt x="58029" y="90269"/>
                    <a:pt x="0" y="90269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9B9D6C40-37FB-4F80-9E83-F99E1AB91D7D}"/>
                </a:ext>
              </a:extLst>
            </p:cNvPr>
            <p:cNvSpPr/>
            <p:nvPr/>
          </p:nvSpPr>
          <p:spPr>
            <a:xfrm>
              <a:off x="23031594" y="2352605"/>
              <a:ext cx="61973" cy="157970"/>
            </a:xfrm>
            <a:custGeom>
              <a:avLst/>
              <a:gdLst>
                <a:gd name="connsiteX0" fmla="*/ 61255 w 61973"/>
                <a:gd name="connsiteY0" fmla="*/ 0 h 157970"/>
                <a:gd name="connsiteX1" fmla="*/ 19344 w 61973"/>
                <a:gd name="connsiteY1" fmla="*/ 157970 h 157970"/>
                <a:gd name="connsiteX2" fmla="*/ 0 w 61973"/>
                <a:gd name="connsiteY2" fmla="*/ 70925 h 157970"/>
                <a:gd name="connsiteX3" fmla="*/ 61255 w 61973"/>
                <a:gd name="connsiteY3" fmla="*/ 0 h 157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973" h="157970">
                  <a:moveTo>
                    <a:pt x="61255" y="0"/>
                  </a:moveTo>
                  <a:cubicBezTo>
                    <a:pt x="61255" y="0"/>
                    <a:pt x="70926" y="125731"/>
                    <a:pt x="19344" y="157970"/>
                  </a:cubicBezTo>
                  <a:lnTo>
                    <a:pt x="0" y="70925"/>
                  </a:lnTo>
                  <a:lnTo>
                    <a:pt x="61255" y="0"/>
                  </a:ln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71682DFC-F6DD-477E-8673-4B7041EB2805}"/>
                </a:ext>
              </a:extLst>
            </p:cNvPr>
            <p:cNvSpPr/>
            <p:nvPr/>
          </p:nvSpPr>
          <p:spPr>
            <a:xfrm>
              <a:off x="22580251" y="2226874"/>
              <a:ext cx="126935" cy="239949"/>
            </a:xfrm>
            <a:custGeom>
              <a:avLst/>
              <a:gdLst>
                <a:gd name="connsiteX0" fmla="*/ 0 w 126935"/>
                <a:gd name="connsiteY0" fmla="*/ 3224 h 239949"/>
                <a:gd name="connsiteX1" fmla="*/ 90270 w 126935"/>
                <a:gd name="connsiteY1" fmla="*/ 238567 h 239949"/>
                <a:gd name="connsiteX2" fmla="*/ 103165 w 126935"/>
                <a:gd name="connsiteY2" fmla="*/ 0 h 239949"/>
                <a:gd name="connsiteX3" fmla="*/ 0 w 126935"/>
                <a:gd name="connsiteY3" fmla="*/ 3224 h 239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35" h="239949">
                  <a:moveTo>
                    <a:pt x="0" y="3224"/>
                  </a:moveTo>
                  <a:cubicBezTo>
                    <a:pt x="0" y="3224"/>
                    <a:pt x="6448" y="212776"/>
                    <a:pt x="90270" y="238567"/>
                  </a:cubicBezTo>
                  <a:cubicBezTo>
                    <a:pt x="164419" y="261134"/>
                    <a:pt x="103165" y="0"/>
                    <a:pt x="103165" y="0"/>
                  </a:cubicBezTo>
                  <a:lnTo>
                    <a:pt x="0" y="3224"/>
                  </a:ln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7568E23A-179F-47AC-92D4-47CB4AD5F4AA}"/>
                </a:ext>
              </a:extLst>
            </p:cNvPr>
            <p:cNvSpPr/>
            <p:nvPr/>
          </p:nvSpPr>
          <p:spPr>
            <a:xfrm>
              <a:off x="22628609" y="2039071"/>
              <a:ext cx="442881" cy="597929"/>
            </a:xfrm>
            <a:custGeom>
              <a:avLst/>
              <a:gdLst>
                <a:gd name="connsiteX0" fmla="*/ 0 w 442881"/>
                <a:gd name="connsiteY0" fmla="*/ 226490 h 597929"/>
                <a:gd name="connsiteX1" fmla="*/ 48358 w 442881"/>
                <a:gd name="connsiteY1" fmla="*/ 487624 h 597929"/>
                <a:gd name="connsiteX2" fmla="*/ 241791 w 442881"/>
                <a:gd name="connsiteY2" fmla="*/ 597236 h 597929"/>
                <a:gd name="connsiteX3" fmla="*/ 441672 w 442881"/>
                <a:gd name="connsiteY3" fmla="*/ 384460 h 597929"/>
                <a:gd name="connsiteX4" fmla="*/ 432001 w 442881"/>
                <a:gd name="connsiteY4" fmla="*/ 165236 h 597929"/>
                <a:gd name="connsiteX5" fmla="*/ 170867 w 442881"/>
                <a:gd name="connsiteY5" fmla="*/ 818 h 597929"/>
                <a:gd name="connsiteX6" fmla="*/ 0 w 442881"/>
                <a:gd name="connsiteY6" fmla="*/ 226490 h 597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2881" h="597929">
                  <a:moveTo>
                    <a:pt x="0" y="226490"/>
                  </a:moveTo>
                  <a:cubicBezTo>
                    <a:pt x="0" y="226490"/>
                    <a:pt x="22568" y="410251"/>
                    <a:pt x="48358" y="487624"/>
                  </a:cubicBezTo>
                  <a:cubicBezTo>
                    <a:pt x="77374" y="564997"/>
                    <a:pt x="186987" y="603684"/>
                    <a:pt x="241791" y="597236"/>
                  </a:cubicBezTo>
                  <a:cubicBezTo>
                    <a:pt x="312717" y="590788"/>
                    <a:pt x="435224" y="519863"/>
                    <a:pt x="441672" y="384460"/>
                  </a:cubicBezTo>
                  <a:cubicBezTo>
                    <a:pt x="444897" y="303863"/>
                    <a:pt x="441672" y="216818"/>
                    <a:pt x="432001" y="165236"/>
                  </a:cubicBezTo>
                  <a:cubicBezTo>
                    <a:pt x="412658" y="68519"/>
                    <a:pt x="367523" y="-8854"/>
                    <a:pt x="170867" y="818"/>
                  </a:cubicBezTo>
                  <a:cubicBezTo>
                    <a:pt x="80597" y="4042"/>
                    <a:pt x="6448" y="142669"/>
                    <a:pt x="0" y="226490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B740B6E1-2C29-4302-B67D-D27F08FAE041}"/>
                </a:ext>
              </a:extLst>
            </p:cNvPr>
            <p:cNvSpPr/>
            <p:nvPr/>
          </p:nvSpPr>
          <p:spPr>
            <a:xfrm>
              <a:off x="22793028" y="2317143"/>
              <a:ext cx="74148" cy="145074"/>
            </a:xfrm>
            <a:custGeom>
              <a:avLst/>
              <a:gdLst>
                <a:gd name="connsiteX0" fmla="*/ 29014 w 74148"/>
                <a:gd name="connsiteY0" fmla="*/ 145075 h 145074"/>
                <a:gd name="connsiteX1" fmla="*/ 16119 w 74148"/>
                <a:gd name="connsiteY1" fmla="*/ 141851 h 145074"/>
                <a:gd name="connsiteX2" fmla="*/ 6448 w 74148"/>
                <a:gd name="connsiteY2" fmla="*/ 128955 h 145074"/>
                <a:gd name="connsiteX3" fmla="*/ 0 w 74148"/>
                <a:gd name="connsiteY3" fmla="*/ 6448 h 145074"/>
                <a:gd name="connsiteX4" fmla="*/ 6448 w 74148"/>
                <a:gd name="connsiteY4" fmla="*/ 0 h 145074"/>
                <a:gd name="connsiteX5" fmla="*/ 6448 w 74148"/>
                <a:gd name="connsiteY5" fmla="*/ 0 h 145074"/>
                <a:gd name="connsiteX6" fmla="*/ 12894 w 74148"/>
                <a:gd name="connsiteY6" fmla="*/ 6448 h 145074"/>
                <a:gd name="connsiteX7" fmla="*/ 19342 w 74148"/>
                <a:gd name="connsiteY7" fmla="*/ 125731 h 145074"/>
                <a:gd name="connsiteX8" fmla="*/ 22568 w 74148"/>
                <a:gd name="connsiteY8" fmla="*/ 128955 h 145074"/>
                <a:gd name="connsiteX9" fmla="*/ 64478 w 74148"/>
                <a:gd name="connsiteY9" fmla="*/ 122507 h 145074"/>
                <a:gd name="connsiteX10" fmla="*/ 74149 w 74148"/>
                <a:gd name="connsiteY10" fmla="*/ 125731 h 145074"/>
                <a:gd name="connsiteX11" fmla="*/ 70926 w 74148"/>
                <a:gd name="connsiteY11" fmla="*/ 135403 h 145074"/>
                <a:gd name="connsiteX12" fmla="*/ 29014 w 74148"/>
                <a:gd name="connsiteY12" fmla="*/ 145075 h 14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148" h="145074">
                  <a:moveTo>
                    <a:pt x="29014" y="145075"/>
                  </a:moveTo>
                  <a:cubicBezTo>
                    <a:pt x="22568" y="145075"/>
                    <a:pt x="19342" y="145075"/>
                    <a:pt x="16119" y="141851"/>
                  </a:cubicBezTo>
                  <a:cubicBezTo>
                    <a:pt x="12894" y="138627"/>
                    <a:pt x="9671" y="135403"/>
                    <a:pt x="6448" y="128955"/>
                  </a:cubicBezTo>
                  <a:cubicBezTo>
                    <a:pt x="3223" y="106388"/>
                    <a:pt x="0" y="12896"/>
                    <a:pt x="0" y="6448"/>
                  </a:cubicBezTo>
                  <a:cubicBezTo>
                    <a:pt x="0" y="3224"/>
                    <a:pt x="3223" y="0"/>
                    <a:pt x="6448" y="0"/>
                  </a:cubicBezTo>
                  <a:lnTo>
                    <a:pt x="6448" y="0"/>
                  </a:lnTo>
                  <a:cubicBezTo>
                    <a:pt x="9671" y="0"/>
                    <a:pt x="12894" y="3224"/>
                    <a:pt x="12894" y="6448"/>
                  </a:cubicBezTo>
                  <a:cubicBezTo>
                    <a:pt x="12894" y="6448"/>
                    <a:pt x="12894" y="106388"/>
                    <a:pt x="19342" y="125731"/>
                  </a:cubicBezTo>
                  <a:cubicBezTo>
                    <a:pt x="19342" y="125731"/>
                    <a:pt x="19342" y="128955"/>
                    <a:pt x="22568" y="128955"/>
                  </a:cubicBezTo>
                  <a:cubicBezTo>
                    <a:pt x="29014" y="132179"/>
                    <a:pt x="51581" y="128955"/>
                    <a:pt x="64478" y="122507"/>
                  </a:cubicBezTo>
                  <a:cubicBezTo>
                    <a:pt x="67701" y="122507"/>
                    <a:pt x="70926" y="122507"/>
                    <a:pt x="74149" y="125731"/>
                  </a:cubicBezTo>
                  <a:cubicBezTo>
                    <a:pt x="74149" y="128955"/>
                    <a:pt x="74149" y="132179"/>
                    <a:pt x="70926" y="135403"/>
                  </a:cubicBezTo>
                  <a:cubicBezTo>
                    <a:pt x="64478" y="138627"/>
                    <a:pt x="45133" y="145075"/>
                    <a:pt x="29014" y="145075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D7040243-C705-468A-9D51-E6C17A2C33FB}"/>
                </a:ext>
              </a:extLst>
            </p:cNvPr>
            <p:cNvSpPr/>
            <p:nvPr/>
          </p:nvSpPr>
          <p:spPr>
            <a:xfrm>
              <a:off x="22702760" y="2310695"/>
              <a:ext cx="41910" cy="41910"/>
            </a:xfrm>
            <a:custGeom>
              <a:avLst/>
              <a:gdLst>
                <a:gd name="connsiteX0" fmla="*/ 41910 w 41910"/>
                <a:gd name="connsiteY0" fmla="*/ 22567 h 41910"/>
                <a:gd name="connsiteX1" fmla="*/ 19342 w 41910"/>
                <a:gd name="connsiteY1" fmla="*/ 41910 h 41910"/>
                <a:gd name="connsiteX2" fmla="*/ 0 w 41910"/>
                <a:gd name="connsiteY2" fmla="*/ 19343 h 41910"/>
                <a:gd name="connsiteX3" fmla="*/ 22566 w 41910"/>
                <a:gd name="connsiteY3" fmla="*/ 0 h 41910"/>
                <a:gd name="connsiteX4" fmla="*/ 41910 w 41910"/>
                <a:gd name="connsiteY4" fmla="*/ 22567 h 41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0" h="41910">
                  <a:moveTo>
                    <a:pt x="41910" y="22567"/>
                  </a:moveTo>
                  <a:cubicBezTo>
                    <a:pt x="41910" y="35463"/>
                    <a:pt x="32239" y="41910"/>
                    <a:pt x="19342" y="41910"/>
                  </a:cubicBezTo>
                  <a:cubicBezTo>
                    <a:pt x="6446" y="41910"/>
                    <a:pt x="0" y="32239"/>
                    <a:pt x="0" y="19343"/>
                  </a:cubicBezTo>
                  <a:cubicBezTo>
                    <a:pt x="0" y="6448"/>
                    <a:pt x="9671" y="0"/>
                    <a:pt x="22566" y="0"/>
                  </a:cubicBezTo>
                  <a:cubicBezTo>
                    <a:pt x="35462" y="3224"/>
                    <a:pt x="41910" y="12896"/>
                    <a:pt x="41910" y="22567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8EE200C5-F33E-4309-82FA-7A21EB037DAE}"/>
                </a:ext>
              </a:extLst>
            </p:cNvPr>
            <p:cNvSpPr/>
            <p:nvPr/>
          </p:nvSpPr>
          <p:spPr>
            <a:xfrm>
              <a:off x="22896193" y="2294575"/>
              <a:ext cx="41910" cy="41910"/>
            </a:xfrm>
            <a:custGeom>
              <a:avLst/>
              <a:gdLst>
                <a:gd name="connsiteX0" fmla="*/ 41910 w 41910"/>
                <a:gd name="connsiteY0" fmla="*/ 22567 h 41910"/>
                <a:gd name="connsiteX1" fmla="*/ 19342 w 41910"/>
                <a:gd name="connsiteY1" fmla="*/ 41910 h 41910"/>
                <a:gd name="connsiteX2" fmla="*/ 0 w 41910"/>
                <a:gd name="connsiteY2" fmla="*/ 19343 h 41910"/>
                <a:gd name="connsiteX3" fmla="*/ 22566 w 41910"/>
                <a:gd name="connsiteY3" fmla="*/ 0 h 41910"/>
                <a:gd name="connsiteX4" fmla="*/ 41910 w 41910"/>
                <a:gd name="connsiteY4" fmla="*/ 22567 h 41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0" h="41910">
                  <a:moveTo>
                    <a:pt x="41910" y="22567"/>
                  </a:moveTo>
                  <a:cubicBezTo>
                    <a:pt x="41910" y="35463"/>
                    <a:pt x="32239" y="41910"/>
                    <a:pt x="19342" y="41910"/>
                  </a:cubicBezTo>
                  <a:cubicBezTo>
                    <a:pt x="6446" y="41910"/>
                    <a:pt x="0" y="32239"/>
                    <a:pt x="0" y="19343"/>
                  </a:cubicBezTo>
                  <a:cubicBezTo>
                    <a:pt x="0" y="6448"/>
                    <a:pt x="9671" y="0"/>
                    <a:pt x="22566" y="0"/>
                  </a:cubicBezTo>
                  <a:cubicBezTo>
                    <a:pt x="35462" y="0"/>
                    <a:pt x="41910" y="9672"/>
                    <a:pt x="41910" y="22567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E09C2CE7-B7F8-47B8-85FD-E8E734497974}"/>
                </a:ext>
              </a:extLst>
            </p:cNvPr>
            <p:cNvSpPr/>
            <p:nvPr/>
          </p:nvSpPr>
          <p:spPr>
            <a:xfrm>
              <a:off x="22669185" y="2260475"/>
              <a:ext cx="94827" cy="43771"/>
            </a:xfrm>
            <a:custGeom>
              <a:avLst/>
              <a:gdLst>
                <a:gd name="connsiteX0" fmla="*/ 7782 w 94827"/>
                <a:gd name="connsiteY0" fmla="*/ 43772 h 43771"/>
                <a:gd name="connsiteX1" fmla="*/ 4559 w 94827"/>
                <a:gd name="connsiteY1" fmla="*/ 43772 h 43771"/>
                <a:gd name="connsiteX2" fmla="*/ 1336 w 94827"/>
                <a:gd name="connsiteY2" fmla="*/ 30876 h 43771"/>
                <a:gd name="connsiteX3" fmla="*/ 88379 w 94827"/>
                <a:gd name="connsiteY3" fmla="*/ 1861 h 43771"/>
                <a:gd name="connsiteX4" fmla="*/ 94827 w 94827"/>
                <a:gd name="connsiteY4" fmla="*/ 11533 h 43771"/>
                <a:gd name="connsiteX5" fmla="*/ 85156 w 94827"/>
                <a:gd name="connsiteY5" fmla="*/ 17981 h 43771"/>
                <a:gd name="connsiteX6" fmla="*/ 17455 w 94827"/>
                <a:gd name="connsiteY6" fmla="*/ 37324 h 43771"/>
                <a:gd name="connsiteX7" fmla="*/ 7782 w 94827"/>
                <a:gd name="connsiteY7" fmla="*/ 43772 h 4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4827" h="43771">
                  <a:moveTo>
                    <a:pt x="7782" y="43772"/>
                  </a:moveTo>
                  <a:cubicBezTo>
                    <a:pt x="7782" y="43772"/>
                    <a:pt x="4559" y="43772"/>
                    <a:pt x="4559" y="43772"/>
                  </a:cubicBezTo>
                  <a:cubicBezTo>
                    <a:pt x="1336" y="40548"/>
                    <a:pt x="-1889" y="37324"/>
                    <a:pt x="1336" y="30876"/>
                  </a:cubicBezTo>
                  <a:cubicBezTo>
                    <a:pt x="23902" y="-4586"/>
                    <a:pt x="69037" y="-1363"/>
                    <a:pt x="88379" y="1861"/>
                  </a:cubicBezTo>
                  <a:cubicBezTo>
                    <a:pt x="91604" y="1861"/>
                    <a:pt x="94827" y="8309"/>
                    <a:pt x="94827" y="11533"/>
                  </a:cubicBezTo>
                  <a:cubicBezTo>
                    <a:pt x="94827" y="14757"/>
                    <a:pt x="88379" y="17981"/>
                    <a:pt x="85156" y="17981"/>
                  </a:cubicBezTo>
                  <a:cubicBezTo>
                    <a:pt x="81933" y="17981"/>
                    <a:pt x="36798" y="5085"/>
                    <a:pt x="17455" y="37324"/>
                  </a:cubicBezTo>
                  <a:cubicBezTo>
                    <a:pt x="14230" y="40548"/>
                    <a:pt x="11007" y="43772"/>
                    <a:pt x="7782" y="43772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245E54AA-2A98-4A9B-A2B1-DEE266CF977D}"/>
                </a:ext>
              </a:extLst>
            </p:cNvPr>
            <p:cNvSpPr/>
            <p:nvPr/>
          </p:nvSpPr>
          <p:spPr>
            <a:xfrm>
              <a:off x="22864760" y="2222760"/>
              <a:ext cx="95910" cy="36353"/>
            </a:xfrm>
            <a:custGeom>
              <a:avLst/>
              <a:gdLst>
                <a:gd name="connsiteX0" fmla="*/ 8865 w 95910"/>
                <a:gd name="connsiteY0" fmla="*/ 36353 h 36353"/>
                <a:gd name="connsiteX1" fmla="*/ 2417 w 95910"/>
                <a:gd name="connsiteY1" fmla="*/ 33129 h 36353"/>
                <a:gd name="connsiteX2" fmla="*/ 2417 w 95910"/>
                <a:gd name="connsiteY2" fmla="*/ 20234 h 36353"/>
                <a:gd name="connsiteX3" fmla="*/ 92686 w 95910"/>
                <a:gd name="connsiteY3" fmla="*/ 13786 h 36353"/>
                <a:gd name="connsiteX4" fmla="*/ 95911 w 95910"/>
                <a:gd name="connsiteY4" fmla="*/ 26681 h 36353"/>
                <a:gd name="connsiteX5" fmla="*/ 83014 w 95910"/>
                <a:gd name="connsiteY5" fmla="*/ 29905 h 36353"/>
                <a:gd name="connsiteX6" fmla="*/ 12089 w 95910"/>
                <a:gd name="connsiteY6" fmla="*/ 36353 h 36353"/>
                <a:gd name="connsiteX7" fmla="*/ 8865 w 95910"/>
                <a:gd name="connsiteY7" fmla="*/ 36353 h 36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910" h="36353">
                  <a:moveTo>
                    <a:pt x="8865" y="36353"/>
                  </a:moveTo>
                  <a:cubicBezTo>
                    <a:pt x="5640" y="36353"/>
                    <a:pt x="5640" y="36353"/>
                    <a:pt x="2417" y="33129"/>
                  </a:cubicBezTo>
                  <a:cubicBezTo>
                    <a:pt x="-806" y="29905"/>
                    <a:pt x="-806" y="23458"/>
                    <a:pt x="2417" y="20234"/>
                  </a:cubicBezTo>
                  <a:cubicBezTo>
                    <a:pt x="37879" y="-12005"/>
                    <a:pt x="76566" y="890"/>
                    <a:pt x="92686" y="13786"/>
                  </a:cubicBezTo>
                  <a:cubicBezTo>
                    <a:pt x="95911" y="17010"/>
                    <a:pt x="95911" y="20234"/>
                    <a:pt x="95911" y="26681"/>
                  </a:cubicBezTo>
                  <a:cubicBezTo>
                    <a:pt x="92686" y="29905"/>
                    <a:pt x="89462" y="29905"/>
                    <a:pt x="83014" y="29905"/>
                  </a:cubicBezTo>
                  <a:cubicBezTo>
                    <a:pt x="83014" y="29905"/>
                    <a:pt x="44327" y="4114"/>
                    <a:pt x="12089" y="36353"/>
                  </a:cubicBezTo>
                  <a:cubicBezTo>
                    <a:pt x="12089" y="36353"/>
                    <a:pt x="8865" y="36353"/>
                    <a:pt x="8865" y="36353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F4A536BD-2577-413A-853F-3B896AA0272F}"/>
                </a:ext>
              </a:extLst>
            </p:cNvPr>
            <p:cNvSpPr/>
            <p:nvPr/>
          </p:nvSpPr>
          <p:spPr>
            <a:xfrm>
              <a:off x="22783357" y="2540396"/>
              <a:ext cx="250656" cy="102358"/>
            </a:xfrm>
            <a:custGeom>
              <a:avLst/>
              <a:gdLst>
                <a:gd name="connsiteX0" fmla="*/ 74149 w 250656"/>
                <a:gd name="connsiteY0" fmla="*/ 102358 h 102358"/>
                <a:gd name="connsiteX1" fmla="*/ 3223 w 250656"/>
                <a:gd name="connsiteY1" fmla="*/ 86239 h 102358"/>
                <a:gd name="connsiteX2" fmla="*/ 0 w 250656"/>
                <a:gd name="connsiteY2" fmla="*/ 76567 h 102358"/>
                <a:gd name="connsiteX3" fmla="*/ 9671 w 250656"/>
                <a:gd name="connsiteY3" fmla="*/ 73343 h 102358"/>
                <a:gd name="connsiteX4" fmla="*/ 103163 w 250656"/>
                <a:gd name="connsiteY4" fmla="*/ 83015 h 102358"/>
                <a:gd name="connsiteX5" fmla="*/ 238566 w 250656"/>
                <a:gd name="connsiteY5" fmla="*/ 2418 h 102358"/>
                <a:gd name="connsiteX6" fmla="*/ 248237 w 250656"/>
                <a:gd name="connsiteY6" fmla="*/ 2418 h 102358"/>
                <a:gd name="connsiteX7" fmla="*/ 248237 w 250656"/>
                <a:gd name="connsiteY7" fmla="*/ 12090 h 102358"/>
                <a:gd name="connsiteX8" fmla="*/ 106388 w 250656"/>
                <a:gd name="connsiteY8" fmla="*/ 95910 h 102358"/>
                <a:gd name="connsiteX9" fmla="*/ 74149 w 250656"/>
                <a:gd name="connsiteY9" fmla="*/ 102358 h 102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0656" h="102358">
                  <a:moveTo>
                    <a:pt x="74149" y="102358"/>
                  </a:moveTo>
                  <a:cubicBezTo>
                    <a:pt x="35462" y="102358"/>
                    <a:pt x="3223" y="89463"/>
                    <a:pt x="3223" y="86239"/>
                  </a:cubicBezTo>
                  <a:cubicBezTo>
                    <a:pt x="0" y="86239"/>
                    <a:pt x="0" y="79791"/>
                    <a:pt x="0" y="76567"/>
                  </a:cubicBezTo>
                  <a:cubicBezTo>
                    <a:pt x="0" y="73343"/>
                    <a:pt x="6446" y="73343"/>
                    <a:pt x="9671" y="73343"/>
                  </a:cubicBezTo>
                  <a:cubicBezTo>
                    <a:pt x="9671" y="73343"/>
                    <a:pt x="54804" y="92687"/>
                    <a:pt x="103163" y="83015"/>
                  </a:cubicBezTo>
                  <a:cubicBezTo>
                    <a:pt x="161194" y="73343"/>
                    <a:pt x="235343" y="2418"/>
                    <a:pt x="238566" y="2418"/>
                  </a:cubicBezTo>
                  <a:cubicBezTo>
                    <a:pt x="241791" y="-806"/>
                    <a:pt x="245014" y="-806"/>
                    <a:pt x="248237" y="2418"/>
                  </a:cubicBezTo>
                  <a:cubicBezTo>
                    <a:pt x="251462" y="5642"/>
                    <a:pt x="251462" y="8866"/>
                    <a:pt x="248237" y="12090"/>
                  </a:cubicBezTo>
                  <a:cubicBezTo>
                    <a:pt x="245014" y="15313"/>
                    <a:pt x="167640" y="83015"/>
                    <a:pt x="106388" y="95910"/>
                  </a:cubicBezTo>
                  <a:cubicBezTo>
                    <a:pt x="93491" y="102358"/>
                    <a:pt x="83820" y="102358"/>
                    <a:pt x="74149" y="102358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ED89618D-FF2C-4C57-A170-E8323C4C47DA}"/>
                </a:ext>
              </a:extLst>
            </p:cNvPr>
            <p:cNvSpPr/>
            <p:nvPr/>
          </p:nvSpPr>
          <p:spPr>
            <a:xfrm>
              <a:off x="22973565" y="2023769"/>
              <a:ext cx="106637" cy="277253"/>
            </a:xfrm>
            <a:custGeom>
              <a:avLst/>
              <a:gdLst>
                <a:gd name="connsiteX0" fmla="*/ 0 w 106637"/>
                <a:gd name="connsiteY0" fmla="*/ 141851 h 277253"/>
                <a:gd name="connsiteX1" fmla="*/ 80597 w 106637"/>
                <a:gd name="connsiteY1" fmla="*/ 277254 h 277253"/>
                <a:gd name="connsiteX2" fmla="*/ 106388 w 106637"/>
                <a:gd name="connsiteY2" fmla="*/ 157970 h 277253"/>
                <a:gd name="connsiteX3" fmla="*/ 25791 w 106637"/>
                <a:gd name="connsiteY3" fmla="*/ 0 h 277253"/>
                <a:gd name="connsiteX4" fmla="*/ 0 w 106637"/>
                <a:gd name="connsiteY4" fmla="*/ 141851 h 27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637" h="277253">
                  <a:moveTo>
                    <a:pt x="0" y="141851"/>
                  </a:moveTo>
                  <a:cubicBezTo>
                    <a:pt x="0" y="141851"/>
                    <a:pt x="80597" y="245015"/>
                    <a:pt x="80597" y="277254"/>
                  </a:cubicBezTo>
                  <a:cubicBezTo>
                    <a:pt x="80597" y="277254"/>
                    <a:pt x="109613" y="251463"/>
                    <a:pt x="106388" y="157970"/>
                  </a:cubicBezTo>
                  <a:cubicBezTo>
                    <a:pt x="103165" y="93493"/>
                    <a:pt x="96716" y="3224"/>
                    <a:pt x="25791" y="0"/>
                  </a:cubicBezTo>
                  <a:cubicBezTo>
                    <a:pt x="22568" y="0"/>
                    <a:pt x="38687" y="112836"/>
                    <a:pt x="0" y="141851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22455DAE-8603-4E8E-B865-D662A953D632}"/>
                </a:ext>
              </a:extLst>
            </p:cNvPr>
            <p:cNvSpPr/>
            <p:nvPr/>
          </p:nvSpPr>
          <p:spPr>
            <a:xfrm>
              <a:off x="22502879" y="1938867"/>
              <a:ext cx="519020" cy="311684"/>
            </a:xfrm>
            <a:custGeom>
              <a:avLst/>
              <a:gdLst>
                <a:gd name="connsiteX0" fmla="*/ 470686 w 519020"/>
                <a:gd name="connsiteY0" fmla="*/ 226753 h 311684"/>
                <a:gd name="connsiteX1" fmla="*/ 335282 w 519020"/>
                <a:gd name="connsiteY1" fmla="*/ 213857 h 311684"/>
                <a:gd name="connsiteX2" fmla="*/ 0 w 519020"/>
                <a:gd name="connsiteY2" fmla="*/ 268663 h 311684"/>
                <a:gd name="connsiteX3" fmla="*/ 348179 w 519020"/>
                <a:gd name="connsiteY3" fmla="*/ 1081 h 311684"/>
                <a:gd name="connsiteX4" fmla="*/ 493253 w 519020"/>
                <a:gd name="connsiteY4" fmla="*/ 88126 h 311684"/>
                <a:gd name="connsiteX5" fmla="*/ 470686 w 519020"/>
                <a:gd name="connsiteY5" fmla="*/ 226753 h 311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9020" h="311684">
                  <a:moveTo>
                    <a:pt x="470686" y="226753"/>
                  </a:moveTo>
                  <a:cubicBezTo>
                    <a:pt x="470686" y="226753"/>
                    <a:pt x="364298" y="207410"/>
                    <a:pt x="335282" y="213857"/>
                  </a:cubicBezTo>
                  <a:cubicBezTo>
                    <a:pt x="232120" y="239648"/>
                    <a:pt x="122507" y="381499"/>
                    <a:pt x="0" y="268663"/>
                  </a:cubicBezTo>
                  <a:cubicBezTo>
                    <a:pt x="25791" y="152604"/>
                    <a:pt x="167642" y="-15038"/>
                    <a:pt x="348179" y="1081"/>
                  </a:cubicBezTo>
                  <a:cubicBezTo>
                    <a:pt x="431999" y="7529"/>
                    <a:pt x="480357" y="52663"/>
                    <a:pt x="493253" y="88126"/>
                  </a:cubicBezTo>
                  <a:cubicBezTo>
                    <a:pt x="493253" y="84902"/>
                    <a:pt x="564179" y="194514"/>
                    <a:pt x="470686" y="22675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E74A11B4-05EF-4161-A360-0D31D4FA55EF}"/>
                </a:ext>
              </a:extLst>
            </p:cNvPr>
            <p:cNvSpPr/>
            <p:nvPr/>
          </p:nvSpPr>
          <p:spPr>
            <a:xfrm>
              <a:off x="23045167" y="2259513"/>
              <a:ext cx="73555" cy="120997"/>
            </a:xfrm>
            <a:custGeom>
              <a:avLst/>
              <a:gdLst>
                <a:gd name="connsiteX0" fmla="*/ 2547 w 73555"/>
                <a:gd name="connsiteY0" fmla="*/ 25390 h 120997"/>
                <a:gd name="connsiteX1" fmla="*/ 60578 w 73555"/>
                <a:gd name="connsiteY1" fmla="*/ 2823 h 120997"/>
                <a:gd name="connsiteX2" fmla="*/ 21891 w 73555"/>
                <a:gd name="connsiteY2" fmla="*/ 118883 h 120997"/>
                <a:gd name="connsiteX3" fmla="*/ 2547 w 73555"/>
                <a:gd name="connsiteY3" fmla="*/ 25390 h 120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55" h="120997">
                  <a:moveTo>
                    <a:pt x="2547" y="25390"/>
                  </a:moveTo>
                  <a:cubicBezTo>
                    <a:pt x="2547" y="25390"/>
                    <a:pt x="31562" y="-10072"/>
                    <a:pt x="60578" y="2823"/>
                  </a:cubicBezTo>
                  <a:cubicBezTo>
                    <a:pt x="89592" y="18943"/>
                    <a:pt x="67024" y="138226"/>
                    <a:pt x="21891" y="118883"/>
                  </a:cubicBezTo>
                  <a:cubicBezTo>
                    <a:pt x="-10348" y="109211"/>
                    <a:pt x="2547" y="25390"/>
                    <a:pt x="2547" y="25390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90E6BB6B-508F-4907-815C-9C2BF9523EC3}"/>
                </a:ext>
              </a:extLst>
            </p:cNvPr>
            <p:cNvSpPr/>
            <p:nvPr/>
          </p:nvSpPr>
          <p:spPr>
            <a:xfrm>
              <a:off x="22611680" y="2645978"/>
              <a:ext cx="1067915" cy="1295999"/>
            </a:xfrm>
            <a:custGeom>
              <a:avLst/>
              <a:gdLst>
                <a:gd name="connsiteX0" fmla="*/ 426362 w 1067915"/>
                <a:gd name="connsiteY0" fmla="*/ 0 h 1295999"/>
                <a:gd name="connsiteX1" fmla="*/ 207139 w 1067915"/>
                <a:gd name="connsiteY1" fmla="*/ 45134 h 1295999"/>
                <a:gd name="connsiteX2" fmla="*/ 810 w 1067915"/>
                <a:gd name="connsiteY2" fmla="*/ 190209 h 1295999"/>
                <a:gd name="connsiteX3" fmla="*/ 152333 w 1067915"/>
                <a:gd name="connsiteY3" fmla="*/ 1270209 h 1295999"/>
                <a:gd name="connsiteX4" fmla="*/ 1067916 w 1067915"/>
                <a:gd name="connsiteY4" fmla="*/ 1270209 h 1295999"/>
                <a:gd name="connsiteX5" fmla="*/ 655259 w 1067915"/>
                <a:gd name="connsiteY5" fmla="*/ 38687 h 1295999"/>
                <a:gd name="connsiteX6" fmla="*/ 426362 w 1067915"/>
                <a:gd name="connsiteY6" fmla="*/ 0 h 1295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7915" h="1295999">
                  <a:moveTo>
                    <a:pt x="426362" y="0"/>
                  </a:moveTo>
                  <a:cubicBezTo>
                    <a:pt x="426362" y="0"/>
                    <a:pt x="303855" y="67701"/>
                    <a:pt x="207139" y="45134"/>
                  </a:cubicBezTo>
                  <a:cubicBezTo>
                    <a:pt x="207139" y="45134"/>
                    <a:pt x="13706" y="161194"/>
                    <a:pt x="810" y="190209"/>
                  </a:cubicBezTo>
                  <a:cubicBezTo>
                    <a:pt x="-12085" y="219224"/>
                    <a:pt x="132990" y="1218627"/>
                    <a:pt x="152333" y="1270209"/>
                  </a:cubicBezTo>
                  <a:cubicBezTo>
                    <a:pt x="152333" y="1270209"/>
                    <a:pt x="568214" y="1328239"/>
                    <a:pt x="1067916" y="1270209"/>
                  </a:cubicBezTo>
                  <a:cubicBezTo>
                    <a:pt x="961528" y="509373"/>
                    <a:pt x="690721" y="54806"/>
                    <a:pt x="655259" y="38687"/>
                  </a:cubicBezTo>
                  <a:cubicBezTo>
                    <a:pt x="619795" y="16119"/>
                    <a:pt x="426362" y="0"/>
                    <a:pt x="426362" y="0"/>
                  </a:cubicBezTo>
                  <a:close/>
                </a:path>
              </a:pathLst>
            </a:custGeom>
            <a:solidFill>
              <a:srgbClr val="7F95BC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28ED3A67-7595-47C3-8229-1D2877951580}"/>
                </a:ext>
              </a:extLst>
            </p:cNvPr>
            <p:cNvSpPr/>
            <p:nvPr/>
          </p:nvSpPr>
          <p:spPr>
            <a:xfrm>
              <a:off x="22606044" y="2826516"/>
              <a:ext cx="93491" cy="573850"/>
            </a:xfrm>
            <a:custGeom>
              <a:avLst/>
              <a:gdLst>
                <a:gd name="connsiteX0" fmla="*/ 87043 w 93491"/>
                <a:gd name="connsiteY0" fmla="*/ 573851 h 573850"/>
                <a:gd name="connsiteX1" fmla="*/ 80597 w 93491"/>
                <a:gd name="connsiteY1" fmla="*/ 567403 h 573850"/>
                <a:gd name="connsiteX2" fmla="*/ 0 w 93491"/>
                <a:gd name="connsiteY2" fmla="*/ 6448 h 573850"/>
                <a:gd name="connsiteX3" fmla="*/ 6446 w 93491"/>
                <a:gd name="connsiteY3" fmla="*/ 0 h 573850"/>
                <a:gd name="connsiteX4" fmla="*/ 6446 w 93491"/>
                <a:gd name="connsiteY4" fmla="*/ 0 h 573850"/>
                <a:gd name="connsiteX5" fmla="*/ 12894 w 93491"/>
                <a:gd name="connsiteY5" fmla="*/ 6448 h 573850"/>
                <a:gd name="connsiteX6" fmla="*/ 93491 w 93491"/>
                <a:gd name="connsiteY6" fmla="*/ 564179 h 573850"/>
                <a:gd name="connsiteX7" fmla="*/ 87043 w 93491"/>
                <a:gd name="connsiteY7" fmla="*/ 573851 h 573850"/>
                <a:gd name="connsiteX8" fmla="*/ 87043 w 93491"/>
                <a:gd name="connsiteY8" fmla="*/ 573851 h 57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491" h="573850">
                  <a:moveTo>
                    <a:pt x="87043" y="573851"/>
                  </a:moveTo>
                  <a:cubicBezTo>
                    <a:pt x="83820" y="573851"/>
                    <a:pt x="80597" y="570627"/>
                    <a:pt x="80597" y="567403"/>
                  </a:cubicBezTo>
                  <a:cubicBezTo>
                    <a:pt x="77372" y="544836"/>
                    <a:pt x="0" y="38687"/>
                    <a:pt x="0" y="6448"/>
                  </a:cubicBezTo>
                  <a:cubicBezTo>
                    <a:pt x="0" y="3224"/>
                    <a:pt x="3223" y="0"/>
                    <a:pt x="6446" y="0"/>
                  </a:cubicBezTo>
                  <a:lnTo>
                    <a:pt x="6446" y="0"/>
                  </a:lnTo>
                  <a:cubicBezTo>
                    <a:pt x="9671" y="0"/>
                    <a:pt x="12894" y="3224"/>
                    <a:pt x="12894" y="6448"/>
                  </a:cubicBezTo>
                  <a:cubicBezTo>
                    <a:pt x="12894" y="38687"/>
                    <a:pt x="90268" y="560955"/>
                    <a:pt x="93491" y="564179"/>
                  </a:cubicBezTo>
                  <a:cubicBezTo>
                    <a:pt x="93491" y="570627"/>
                    <a:pt x="90268" y="570627"/>
                    <a:pt x="87043" y="573851"/>
                  </a:cubicBezTo>
                  <a:cubicBezTo>
                    <a:pt x="87043" y="573851"/>
                    <a:pt x="87043" y="573851"/>
                    <a:pt x="87043" y="573851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5167B6B7-9EF4-4457-8B81-96ECE666AF54}"/>
                </a:ext>
              </a:extLst>
            </p:cNvPr>
            <p:cNvSpPr/>
            <p:nvPr/>
          </p:nvSpPr>
          <p:spPr>
            <a:xfrm>
              <a:off x="22780132" y="2511381"/>
              <a:ext cx="123940" cy="44328"/>
            </a:xfrm>
            <a:custGeom>
              <a:avLst/>
              <a:gdLst>
                <a:gd name="connsiteX0" fmla="*/ 38687 w 123940"/>
                <a:gd name="connsiteY0" fmla="*/ 44328 h 44328"/>
                <a:gd name="connsiteX1" fmla="*/ 3225 w 123940"/>
                <a:gd name="connsiteY1" fmla="*/ 37881 h 44328"/>
                <a:gd name="connsiteX2" fmla="*/ 0 w 123940"/>
                <a:gd name="connsiteY2" fmla="*/ 28209 h 44328"/>
                <a:gd name="connsiteX3" fmla="*/ 9671 w 123940"/>
                <a:gd name="connsiteY3" fmla="*/ 24985 h 44328"/>
                <a:gd name="connsiteX4" fmla="*/ 112836 w 123940"/>
                <a:gd name="connsiteY4" fmla="*/ 2418 h 44328"/>
                <a:gd name="connsiteX5" fmla="*/ 122507 w 123940"/>
                <a:gd name="connsiteY5" fmla="*/ 2418 h 44328"/>
                <a:gd name="connsiteX6" fmla="*/ 122507 w 123940"/>
                <a:gd name="connsiteY6" fmla="*/ 12090 h 44328"/>
                <a:gd name="connsiteX7" fmla="*/ 38687 w 123940"/>
                <a:gd name="connsiteY7" fmla="*/ 44328 h 44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940" h="44328">
                  <a:moveTo>
                    <a:pt x="38687" y="44328"/>
                  </a:moveTo>
                  <a:cubicBezTo>
                    <a:pt x="25791" y="44328"/>
                    <a:pt x="16119" y="41104"/>
                    <a:pt x="3225" y="37881"/>
                  </a:cubicBezTo>
                  <a:cubicBezTo>
                    <a:pt x="0" y="37881"/>
                    <a:pt x="0" y="31433"/>
                    <a:pt x="0" y="28209"/>
                  </a:cubicBezTo>
                  <a:cubicBezTo>
                    <a:pt x="0" y="24985"/>
                    <a:pt x="6448" y="24985"/>
                    <a:pt x="9671" y="24985"/>
                  </a:cubicBezTo>
                  <a:cubicBezTo>
                    <a:pt x="54806" y="47552"/>
                    <a:pt x="112836" y="2418"/>
                    <a:pt x="112836" y="2418"/>
                  </a:cubicBezTo>
                  <a:cubicBezTo>
                    <a:pt x="116061" y="-806"/>
                    <a:pt x="119284" y="-806"/>
                    <a:pt x="122507" y="2418"/>
                  </a:cubicBezTo>
                  <a:cubicBezTo>
                    <a:pt x="125732" y="5642"/>
                    <a:pt x="122507" y="8866"/>
                    <a:pt x="122507" y="12090"/>
                  </a:cubicBezTo>
                  <a:cubicBezTo>
                    <a:pt x="119284" y="15313"/>
                    <a:pt x="80597" y="44328"/>
                    <a:pt x="38687" y="44328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A676F66D-A02B-4969-8EC0-4A79B7DCD0DC}"/>
                </a:ext>
              </a:extLst>
            </p:cNvPr>
            <p:cNvSpPr/>
            <p:nvPr/>
          </p:nvSpPr>
          <p:spPr>
            <a:xfrm rot="-10800000">
              <a:off x="23772443" y="5683390"/>
              <a:ext cx="151522" cy="29014"/>
            </a:xfrm>
            <a:custGeom>
              <a:avLst/>
              <a:gdLst>
                <a:gd name="connsiteX0" fmla="*/ -1 w 151522"/>
                <a:gd name="connsiteY0" fmla="*/ 0 h 29014"/>
                <a:gd name="connsiteX1" fmla="*/ 151522 w 151522"/>
                <a:gd name="connsiteY1" fmla="*/ 0 h 29014"/>
                <a:gd name="connsiteX2" fmla="*/ 151522 w 151522"/>
                <a:gd name="connsiteY2" fmla="*/ 29015 h 29014"/>
                <a:gd name="connsiteX3" fmla="*/ -1 w 151522"/>
                <a:gd name="connsiteY3" fmla="*/ 29015 h 29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522" h="29014">
                  <a:moveTo>
                    <a:pt x="-1" y="0"/>
                  </a:moveTo>
                  <a:lnTo>
                    <a:pt x="151522" y="0"/>
                  </a:lnTo>
                  <a:lnTo>
                    <a:pt x="151522" y="29015"/>
                  </a:lnTo>
                  <a:lnTo>
                    <a:pt x="-1" y="29015"/>
                  </a:ln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B53065D2-5135-49A9-837E-A3A946DF6794}"/>
                </a:ext>
              </a:extLst>
            </p:cNvPr>
            <p:cNvSpPr/>
            <p:nvPr/>
          </p:nvSpPr>
          <p:spPr>
            <a:xfrm>
              <a:off x="23773087" y="5628068"/>
              <a:ext cx="141851" cy="54806"/>
            </a:xfrm>
            <a:custGeom>
              <a:avLst/>
              <a:gdLst>
                <a:gd name="connsiteX0" fmla="*/ 0 w 141851"/>
                <a:gd name="connsiteY0" fmla="*/ 54806 h 54806"/>
                <a:gd name="connsiteX1" fmla="*/ 22568 w 141851"/>
                <a:gd name="connsiteY1" fmla="*/ 9672 h 54806"/>
                <a:gd name="connsiteX2" fmla="*/ 141852 w 141851"/>
                <a:gd name="connsiteY2" fmla="*/ 0 h 54806"/>
                <a:gd name="connsiteX3" fmla="*/ 141852 w 141851"/>
                <a:gd name="connsiteY3" fmla="*/ 54806 h 54806"/>
                <a:gd name="connsiteX4" fmla="*/ 0 w 141851"/>
                <a:gd name="connsiteY4" fmla="*/ 54806 h 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851" h="54806">
                  <a:moveTo>
                    <a:pt x="0" y="54806"/>
                  </a:moveTo>
                  <a:cubicBezTo>
                    <a:pt x="0" y="54806"/>
                    <a:pt x="9673" y="16119"/>
                    <a:pt x="22568" y="9672"/>
                  </a:cubicBezTo>
                  <a:cubicBezTo>
                    <a:pt x="35464" y="3224"/>
                    <a:pt x="141852" y="0"/>
                    <a:pt x="141852" y="0"/>
                  </a:cubicBezTo>
                  <a:lnTo>
                    <a:pt x="141852" y="54806"/>
                  </a:lnTo>
                  <a:lnTo>
                    <a:pt x="0" y="54806"/>
                  </a:ln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F17B3F8B-ABAA-41FB-BA80-529B4334D50A}"/>
                </a:ext>
              </a:extLst>
            </p:cNvPr>
            <p:cNvSpPr/>
            <p:nvPr/>
          </p:nvSpPr>
          <p:spPr>
            <a:xfrm>
              <a:off x="22967923" y="2075352"/>
              <a:ext cx="34786" cy="96716"/>
            </a:xfrm>
            <a:custGeom>
              <a:avLst/>
              <a:gdLst>
                <a:gd name="connsiteX0" fmla="*/ 5642 w 34786"/>
                <a:gd name="connsiteY0" fmla="*/ 96716 h 96716"/>
                <a:gd name="connsiteX1" fmla="*/ 2419 w 34786"/>
                <a:gd name="connsiteY1" fmla="*/ 96716 h 96716"/>
                <a:gd name="connsiteX2" fmla="*/ 2419 w 34786"/>
                <a:gd name="connsiteY2" fmla="*/ 87045 h 96716"/>
                <a:gd name="connsiteX3" fmla="*/ 21761 w 34786"/>
                <a:gd name="connsiteY3" fmla="*/ 6448 h 96716"/>
                <a:gd name="connsiteX4" fmla="*/ 28209 w 34786"/>
                <a:gd name="connsiteY4" fmla="*/ 0 h 96716"/>
                <a:gd name="connsiteX5" fmla="*/ 28209 w 34786"/>
                <a:gd name="connsiteY5" fmla="*/ 0 h 96716"/>
                <a:gd name="connsiteX6" fmla="*/ 34658 w 34786"/>
                <a:gd name="connsiteY6" fmla="*/ 6448 h 96716"/>
                <a:gd name="connsiteX7" fmla="*/ 12090 w 34786"/>
                <a:gd name="connsiteY7" fmla="*/ 96716 h 96716"/>
                <a:gd name="connsiteX8" fmla="*/ 5642 w 34786"/>
                <a:gd name="connsiteY8" fmla="*/ 96716 h 96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786" h="96716">
                  <a:moveTo>
                    <a:pt x="5642" y="96716"/>
                  </a:moveTo>
                  <a:cubicBezTo>
                    <a:pt x="5642" y="96716"/>
                    <a:pt x="2419" y="96716"/>
                    <a:pt x="2419" y="96716"/>
                  </a:cubicBezTo>
                  <a:cubicBezTo>
                    <a:pt x="-806" y="93493"/>
                    <a:pt x="-806" y="90269"/>
                    <a:pt x="2419" y="87045"/>
                  </a:cubicBezTo>
                  <a:cubicBezTo>
                    <a:pt x="24986" y="61254"/>
                    <a:pt x="21761" y="6448"/>
                    <a:pt x="21761" y="6448"/>
                  </a:cubicBezTo>
                  <a:cubicBezTo>
                    <a:pt x="21761" y="3224"/>
                    <a:pt x="24986" y="0"/>
                    <a:pt x="28209" y="0"/>
                  </a:cubicBezTo>
                  <a:lnTo>
                    <a:pt x="28209" y="0"/>
                  </a:lnTo>
                  <a:cubicBezTo>
                    <a:pt x="31433" y="0"/>
                    <a:pt x="34658" y="3224"/>
                    <a:pt x="34658" y="6448"/>
                  </a:cubicBezTo>
                  <a:cubicBezTo>
                    <a:pt x="34658" y="9672"/>
                    <a:pt x="37881" y="67702"/>
                    <a:pt x="12090" y="96716"/>
                  </a:cubicBezTo>
                  <a:cubicBezTo>
                    <a:pt x="8867" y="96716"/>
                    <a:pt x="8867" y="96716"/>
                    <a:pt x="5642" y="96716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DE380B4E-87C0-4057-A599-1AFA0A4C8BA3}"/>
                </a:ext>
              </a:extLst>
            </p:cNvPr>
            <p:cNvSpPr/>
            <p:nvPr/>
          </p:nvSpPr>
          <p:spPr>
            <a:xfrm>
              <a:off x="22496431" y="2059232"/>
              <a:ext cx="174090" cy="151522"/>
            </a:xfrm>
            <a:custGeom>
              <a:avLst/>
              <a:gdLst>
                <a:gd name="connsiteX0" fmla="*/ 6448 w 174090"/>
                <a:gd name="connsiteY0" fmla="*/ 151522 h 151522"/>
                <a:gd name="connsiteX1" fmla="*/ 6448 w 174090"/>
                <a:gd name="connsiteY1" fmla="*/ 151522 h 151522"/>
                <a:gd name="connsiteX2" fmla="*/ 0 w 174090"/>
                <a:gd name="connsiteY2" fmla="*/ 141851 h 151522"/>
                <a:gd name="connsiteX3" fmla="*/ 167642 w 174090"/>
                <a:gd name="connsiteY3" fmla="*/ 0 h 151522"/>
                <a:gd name="connsiteX4" fmla="*/ 174090 w 174090"/>
                <a:gd name="connsiteY4" fmla="*/ 3224 h 151522"/>
                <a:gd name="connsiteX5" fmla="*/ 170865 w 174090"/>
                <a:gd name="connsiteY5" fmla="*/ 9672 h 151522"/>
                <a:gd name="connsiteX6" fmla="*/ 9671 w 174090"/>
                <a:gd name="connsiteY6" fmla="*/ 148299 h 151522"/>
                <a:gd name="connsiteX7" fmla="*/ 6448 w 174090"/>
                <a:gd name="connsiteY7" fmla="*/ 151522 h 151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090" h="151522">
                  <a:moveTo>
                    <a:pt x="6448" y="151522"/>
                  </a:moveTo>
                  <a:cubicBezTo>
                    <a:pt x="6448" y="151522"/>
                    <a:pt x="6448" y="151522"/>
                    <a:pt x="6448" y="151522"/>
                  </a:cubicBezTo>
                  <a:cubicBezTo>
                    <a:pt x="0" y="148299"/>
                    <a:pt x="0" y="145075"/>
                    <a:pt x="0" y="141851"/>
                  </a:cubicBezTo>
                  <a:cubicBezTo>
                    <a:pt x="51581" y="38687"/>
                    <a:pt x="164417" y="0"/>
                    <a:pt x="167642" y="0"/>
                  </a:cubicBezTo>
                  <a:cubicBezTo>
                    <a:pt x="170865" y="0"/>
                    <a:pt x="174090" y="0"/>
                    <a:pt x="174090" y="3224"/>
                  </a:cubicBezTo>
                  <a:cubicBezTo>
                    <a:pt x="174090" y="6448"/>
                    <a:pt x="174090" y="9672"/>
                    <a:pt x="170865" y="9672"/>
                  </a:cubicBezTo>
                  <a:cubicBezTo>
                    <a:pt x="170865" y="9672"/>
                    <a:pt x="58029" y="48358"/>
                    <a:pt x="9671" y="148299"/>
                  </a:cubicBezTo>
                  <a:cubicBezTo>
                    <a:pt x="12896" y="151522"/>
                    <a:pt x="9671" y="151522"/>
                    <a:pt x="6448" y="151522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0" name="图形 1">
              <a:extLst>
                <a:ext uri="{FF2B5EF4-FFF2-40B4-BE49-F238E27FC236}">
                  <a16:creationId xmlns:a16="http://schemas.microsoft.com/office/drawing/2014/main" id="{0502ABC1-C96A-45E6-97B0-FD3A2E5A9D84}"/>
                </a:ext>
              </a:extLst>
            </p:cNvPr>
            <p:cNvGrpSpPr/>
            <p:nvPr/>
          </p:nvGrpSpPr>
          <p:grpSpPr>
            <a:xfrm>
              <a:off x="19120677" y="3813847"/>
              <a:ext cx="1647446" cy="1923832"/>
              <a:chOff x="19120677" y="3813847"/>
              <a:chExt cx="1647446" cy="1923832"/>
            </a:xfrm>
          </p:grpSpPr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9DCC5C21-E6B0-4C3A-BADE-57FFD509F89D}"/>
                  </a:ext>
                </a:extLst>
              </p:cNvPr>
              <p:cNvSpPr/>
              <p:nvPr/>
            </p:nvSpPr>
            <p:spPr>
              <a:xfrm>
                <a:off x="19120677" y="3958187"/>
                <a:ext cx="620582" cy="609370"/>
              </a:xfrm>
              <a:custGeom>
                <a:avLst/>
                <a:gdLst>
                  <a:gd name="connsiteX0" fmla="*/ 535516 w 620582"/>
                  <a:gd name="connsiteY0" fmla="*/ 348090 h 609370"/>
                  <a:gd name="connsiteX1" fmla="*/ 567754 w 620582"/>
                  <a:gd name="connsiteY1" fmla="*/ 144986 h 609370"/>
                  <a:gd name="connsiteX2" fmla="*/ 400112 w 620582"/>
                  <a:gd name="connsiteY2" fmla="*/ 80508 h 609370"/>
                  <a:gd name="connsiteX3" fmla="*/ 213127 w 620582"/>
                  <a:gd name="connsiteY3" fmla="*/ 12807 h 609370"/>
                  <a:gd name="connsiteX4" fmla="*/ 116411 w 620582"/>
                  <a:gd name="connsiteY4" fmla="*/ 209463 h 609370"/>
                  <a:gd name="connsiteX5" fmla="*/ 350 w 620582"/>
                  <a:gd name="connsiteY5" fmla="*/ 315851 h 609370"/>
                  <a:gd name="connsiteX6" fmla="*/ 45485 w 620582"/>
                  <a:gd name="connsiteY6" fmla="*/ 428687 h 609370"/>
                  <a:gd name="connsiteX7" fmla="*/ 251812 w 620582"/>
                  <a:gd name="connsiteY7" fmla="*/ 570538 h 609370"/>
                  <a:gd name="connsiteX8" fmla="*/ 529067 w 620582"/>
                  <a:gd name="connsiteY8" fmla="*/ 573762 h 609370"/>
                  <a:gd name="connsiteX9" fmla="*/ 535516 w 620582"/>
                  <a:gd name="connsiteY9" fmla="*/ 348090 h 609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0582" h="609370">
                    <a:moveTo>
                      <a:pt x="535516" y="348090"/>
                    </a:moveTo>
                    <a:cubicBezTo>
                      <a:pt x="580649" y="290060"/>
                      <a:pt x="606439" y="215911"/>
                      <a:pt x="567754" y="144986"/>
                    </a:cubicBezTo>
                    <a:cubicBezTo>
                      <a:pt x="532290" y="77284"/>
                      <a:pt x="464590" y="61165"/>
                      <a:pt x="400112" y="80508"/>
                    </a:cubicBezTo>
                    <a:cubicBezTo>
                      <a:pt x="377545" y="3135"/>
                      <a:pt x="287276" y="-16208"/>
                      <a:pt x="213127" y="12807"/>
                    </a:cubicBezTo>
                    <a:cubicBezTo>
                      <a:pt x="119634" y="45046"/>
                      <a:pt x="100292" y="122418"/>
                      <a:pt x="116411" y="209463"/>
                    </a:cubicBezTo>
                    <a:cubicBezTo>
                      <a:pt x="55156" y="206240"/>
                      <a:pt x="3575" y="251374"/>
                      <a:pt x="350" y="315851"/>
                    </a:cubicBezTo>
                    <a:cubicBezTo>
                      <a:pt x="-2873" y="360986"/>
                      <a:pt x="16470" y="399672"/>
                      <a:pt x="45485" y="428687"/>
                    </a:cubicBezTo>
                    <a:cubicBezTo>
                      <a:pt x="42260" y="538299"/>
                      <a:pt x="184112" y="625344"/>
                      <a:pt x="251812" y="570538"/>
                    </a:cubicBezTo>
                    <a:cubicBezTo>
                      <a:pt x="296948" y="638239"/>
                      <a:pt x="471038" y="602777"/>
                      <a:pt x="529067" y="573762"/>
                    </a:cubicBezTo>
                    <a:cubicBezTo>
                      <a:pt x="648351" y="522180"/>
                      <a:pt x="651574" y="373881"/>
                      <a:pt x="535516" y="348090"/>
                    </a:cubicBezTo>
                    <a:close/>
                  </a:path>
                </a:pathLst>
              </a:custGeom>
              <a:solidFill>
                <a:srgbClr val="70868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FE3F8ADA-06D1-4124-9949-AF4E0281F81F}"/>
                  </a:ext>
                </a:extLst>
              </p:cNvPr>
              <p:cNvSpPr/>
              <p:nvPr/>
            </p:nvSpPr>
            <p:spPr>
              <a:xfrm>
                <a:off x="19430171" y="3835679"/>
                <a:ext cx="620580" cy="609370"/>
              </a:xfrm>
              <a:custGeom>
                <a:avLst/>
                <a:gdLst>
                  <a:gd name="connsiteX0" fmla="*/ 535514 w 620580"/>
                  <a:gd name="connsiteY0" fmla="*/ 348090 h 609370"/>
                  <a:gd name="connsiteX1" fmla="*/ 567753 w 620580"/>
                  <a:gd name="connsiteY1" fmla="*/ 144986 h 609370"/>
                  <a:gd name="connsiteX2" fmla="*/ 400111 w 620580"/>
                  <a:gd name="connsiteY2" fmla="*/ 80508 h 609370"/>
                  <a:gd name="connsiteX3" fmla="*/ 213126 w 620580"/>
                  <a:gd name="connsiteY3" fmla="*/ 12807 h 609370"/>
                  <a:gd name="connsiteX4" fmla="*/ 116409 w 620580"/>
                  <a:gd name="connsiteY4" fmla="*/ 209463 h 609370"/>
                  <a:gd name="connsiteX5" fmla="*/ 350 w 620580"/>
                  <a:gd name="connsiteY5" fmla="*/ 315852 h 609370"/>
                  <a:gd name="connsiteX6" fmla="*/ 45484 w 620580"/>
                  <a:gd name="connsiteY6" fmla="*/ 428687 h 609370"/>
                  <a:gd name="connsiteX7" fmla="*/ 251813 w 620580"/>
                  <a:gd name="connsiteY7" fmla="*/ 570538 h 609370"/>
                  <a:gd name="connsiteX8" fmla="*/ 529066 w 620580"/>
                  <a:gd name="connsiteY8" fmla="*/ 573762 h 609370"/>
                  <a:gd name="connsiteX9" fmla="*/ 535514 w 620580"/>
                  <a:gd name="connsiteY9" fmla="*/ 348090 h 609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0580" h="609370">
                    <a:moveTo>
                      <a:pt x="535514" y="348090"/>
                    </a:moveTo>
                    <a:cubicBezTo>
                      <a:pt x="580649" y="290060"/>
                      <a:pt x="606440" y="215911"/>
                      <a:pt x="567753" y="144986"/>
                    </a:cubicBezTo>
                    <a:cubicBezTo>
                      <a:pt x="532291" y="77284"/>
                      <a:pt x="464588" y="61165"/>
                      <a:pt x="400111" y="80508"/>
                    </a:cubicBezTo>
                    <a:cubicBezTo>
                      <a:pt x="377543" y="3135"/>
                      <a:pt x="287275" y="-16208"/>
                      <a:pt x="213126" y="12807"/>
                    </a:cubicBezTo>
                    <a:cubicBezTo>
                      <a:pt x="119632" y="45046"/>
                      <a:pt x="100290" y="122419"/>
                      <a:pt x="116409" y="209463"/>
                    </a:cubicBezTo>
                    <a:cubicBezTo>
                      <a:pt x="55155" y="206240"/>
                      <a:pt x="3574" y="251374"/>
                      <a:pt x="350" y="315852"/>
                    </a:cubicBezTo>
                    <a:cubicBezTo>
                      <a:pt x="-2875" y="360986"/>
                      <a:pt x="16470" y="399672"/>
                      <a:pt x="45484" y="428687"/>
                    </a:cubicBezTo>
                    <a:cubicBezTo>
                      <a:pt x="42261" y="538299"/>
                      <a:pt x="184110" y="625344"/>
                      <a:pt x="251813" y="570538"/>
                    </a:cubicBezTo>
                    <a:cubicBezTo>
                      <a:pt x="296946" y="638240"/>
                      <a:pt x="471036" y="602777"/>
                      <a:pt x="529066" y="573762"/>
                    </a:cubicBezTo>
                    <a:cubicBezTo>
                      <a:pt x="648350" y="522180"/>
                      <a:pt x="651573" y="373881"/>
                      <a:pt x="535514" y="348090"/>
                    </a:cubicBezTo>
                    <a:close/>
                  </a:path>
                </a:pathLst>
              </a:custGeom>
              <a:solidFill>
                <a:srgbClr val="70868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EBD7EA07-A238-4635-A299-29D8AD1FD56F}"/>
                  </a:ext>
                </a:extLst>
              </p:cNvPr>
              <p:cNvSpPr/>
              <p:nvPr/>
            </p:nvSpPr>
            <p:spPr>
              <a:xfrm>
                <a:off x="20109124" y="3813847"/>
                <a:ext cx="635210" cy="643377"/>
              </a:xfrm>
              <a:custGeom>
                <a:avLst/>
                <a:gdLst>
                  <a:gd name="connsiteX0" fmla="*/ 633515 w 635210"/>
                  <a:gd name="connsiteY0" fmla="*/ 240967 h 643377"/>
                  <a:gd name="connsiteX1" fmla="*/ 511008 w 635210"/>
                  <a:gd name="connsiteY1" fmla="*/ 124907 h 643377"/>
                  <a:gd name="connsiteX2" fmla="*/ 436859 w 635210"/>
                  <a:gd name="connsiteY2" fmla="*/ 5623 h 643377"/>
                  <a:gd name="connsiteX3" fmla="*/ 349814 w 635210"/>
                  <a:gd name="connsiteY3" fmla="*/ 12071 h 643377"/>
                  <a:gd name="connsiteX4" fmla="*/ 246650 w 635210"/>
                  <a:gd name="connsiteY4" fmla="*/ 44310 h 643377"/>
                  <a:gd name="connsiteX5" fmla="*/ 24203 w 635210"/>
                  <a:gd name="connsiteY5" fmla="*/ 82997 h 643377"/>
                  <a:gd name="connsiteX6" fmla="*/ 49994 w 635210"/>
                  <a:gd name="connsiteY6" fmla="*/ 250638 h 643377"/>
                  <a:gd name="connsiteX7" fmla="*/ 46771 w 635210"/>
                  <a:gd name="connsiteY7" fmla="*/ 253862 h 643377"/>
                  <a:gd name="connsiteX8" fmla="*/ 127368 w 635210"/>
                  <a:gd name="connsiteY8" fmla="*/ 453743 h 643377"/>
                  <a:gd name="connsiteX9" fmla="*/ 372382 w 635210"/>
                  <a:gd name="connsiteY9" fmla="*/ 589146 h 643377"/>
                  <a:gd name="connsiteX10" fmla="*/ 549695 w 635210"/>
                  <a:gd name="connsiteY10" fmla="*/ 389265 h 643377"/>
                  <a:gd name="connsiteX11" fmla="*/ 633515 w 635210"/>
                  <a:gd name="connsiteY11" fmla="*/ 240967 h 643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35210" h="643377">
                    <a:moveTo>
                      <a:pt x="633515" y="240967"/>
                    </a:moveTo>
                    <a:cubicBezTo>
                      <a:pt x="623844" y="173265"/>
                      <a:pt x="575486" y="124907"/>
                      <a:pt x="511008" y="124907"/>
                    </a:cubicBezTo>
                    <a:cubicBezTo>
                      <a:pt x="511008" y="73325"/>
                      <a:pt x="488441" y="24967"/>
                      <a:pt x="436859" y="5623"/>
                    </a:cubicBezTo>
                    <a:cubicBezTo>
                      <a:pt x="407844" y="-4048"/>
                      <a:pt x="375605" y="-824"/>
                      <a:pt x="349814" y="12071"/>
                    </a:cubicBezTo>
                    <a:cubicBezTo>
                      <a:pt x="301456" y="34638"/>
                      <a:pt x="307904" y="53982"/>
                      <a:pt x="246650" y="44310"/>
                    </a:cubicBezTo>
                    <a:cubicBezTo>
                      <a:pt x="178949" y="37862"/>
                      <a:pt x="79009" y="24967"/>
                      <a:pt x="24203" y="82997"/>
                    </a:cubicBezTo>
                    <a:cubicBezTo>
                      <a:pt x="-24155" y="137803"/>
                      <a:pt x="8084" y="202280"/>
                      <a:pt x="49994" y="250638"/>
                    </a:cubicBezTo>
                    <a:cubicBezTo>
                      <a:pt x="49994" y="250638"/>
                      <a:pt x="49994" y="253862"/>
                      <a:pt x="46771" y="253862"/>
                    </a:cubicBezTo>
                    <a:cubicBezTo>
                      <a:pt x="11307" y="337683"/>
                      <a:pt x="30651" y="450519"/>
                      <a:pt x="127368" y="453743"/>
                    </a:cubicBezTo>
                    <a:cubicBezTo>
                      <a:pt x="75784" y="602041"/>
                      <a:pt x="269217" y="714877"/>
                      <a:pt x="372382" y="589146"/>
                    </a:cubicBezTo>
                    <a:cubicBezTo>
                      <a:pt x="501337" y="679415"/>
                      <a:pt x="623844" y="514997"/>
                      <a:pt x="549695" y="389265"/>
                    </a:cubicBezTo>
                    <a:cubicBezTo>
                      <a:pt x="610950" y="357027"/>
                      <a:pt x="643188" y="308668"/>
                      <a:pt x="633515" y="240967"/>
                    </a:cubicBezTo>
                    <a:close/>
                  </a:path>
                </a:pathLst>
              </a:custGeom>
              <a:solidFill>
                <a:srgbClr val="70868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42CA1C7F-1BE7-41AC-98BF-31E13D6A29CA}"/>
                  </a:ext>
                </a:extLst>
              </p:cNvPr>
              <p:cNvSpPr/>
              <p:nvPr/>
            </p:nvSpPr>
            <p:spPr>
              <a:xfrm>
                <a:off x="19123639" y="4591815"/>
                <a:ext cx="619123" cy="618361"/>
              </a:xfrm>
              <a:custGeom>
                <a:avLst/>
                <a:gdLst>
                  <a:gd name="connsiteX0" fmla="*/ 516434 w 619123"/>
                  <a:gd name="connsiteY0" fmla="*/ 136790 h 618361"/>
                  <a:gd name="connsiteX1" fmla="*/ 206940 w 619123"/>
                  <a:gd name="connsiteY1" fmla="*/ 117447 h 618361"/>
                  <a:gd name="connsiteX2" fmla="*/ 613 w 619123"/>
                  <a:gd name="connsiteY2" fmla="*/ 339895 h 618361"/>
                  <a:gd name="connsiteX3" fmla="*/ 145688 w 619123"/>
                  <a:gd name="connsiteY3" fmla="*/ 475298 h 618361"/>
                  <a:gd name="connsiteX4" fmla="*/ 181150 w 619123"/>
                  <a:gd name="connsiteY4" fmla="*/ 610701 h 618361"/>
                  <a:gd name="connsiteX5" fmla="*/ 458403 w 619123"/>
                  <a:gd name="connsiteY5" fmla="*/ 523656 h 618361"/>
                  <a:gd name="connsiteX6" fmla="*/ 522880 w 619123"/>
                  <a:gd name="connsiteY6" fmla="*/ 533327 h 618361"/>
                  <a:gd name="connsiteX7" fmla="*/ 587358 w 619123"/>
                  <a:gd name="connsiteY7" fmla="*/ 330223 h 618361"/>
                  <a:gd name="connsiteX8" fmla="*/ 587358 w 619123"/>
                  <a:gd name="connsiteY8" fmla="*/ 326999 h 618361"/>
                  <a:gd name="connsiteX9" fmla="*/ 516434 w 619123"/>
                  <a:gd name="connsiteY9" fmla="*/ 136790 h 618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9123" h="618361">
                    <a:moveTo>
                      <a:pt x="516434" y="136790"/>
                    </a:moveTo>
                    <a:cubicBezTo>
                      <a:pt x="519657" y="-14732"/>
                      <a:pt x="203717" y="-66314"/>
                      <a:pt x="206940" y="117447"/>
                    </a:cubicBezTo>
                    <a:cubicBezTo>
                      <a:pt x="97330" y="140014"/>
                      <a:pt x="-9060" y="214163"/>
                      <a:pt x="613" y="339895"/>
                    </a:cubicBezTo>
                    <a:cubicBezTo>
                      <a:pt x="7059" y="420492"/>
                      <a:pt x="71537" y="475298"/>
                      <a:pt x="145688" y="475298"/>
                    </a:cubicBezTo>
                    <a:cubicBezTo>
                      <a:pt x="100553" y="530104"/>
                      <a:pt x="77985" y="584910"/>
                      <a:pt x="181150" y="610701"/>
                    </a:cubicBezTo>
                    <a:cubicBezTo>
                      <a:pt x="284314" y="636492"/>
                      <a:pt x="387479" y="594581"/>
                      <a:pt x="458403" y="523656"/>
                    </a:cubicBezTo>
                    <a:cubicBezTo>
                      <a:pt x="474522" y="539775"/>
                      <a:pt x="500315" y="546223"/>
                      <a:pt x="522880" y="533327"/>
                    </a:cubicBezTo>
                    <a:cubicBezTo>
                      <a:pt x="580912" y="507537"/>
                      <a:pt x="580912" y="381805"/>
                      <a:pt x="587358" y="330223"/>
                    </a:cubicBezTo>
                    <a:cubicBezTo>
                      <a:pt x="587358" y="330223"/>
                      <a:pt x="587358" y="326999"/>
                      <a:pt x="587358" y="326999"/>
                    </a:cubicBezTo>
                    <a:cubicBezTo>
                      <a:pt x="651835" y="256074"/>
                      <a:pt x="613150" y="152910"/>
                      <a:pt x="516434" y="136790"/>
                    </a:cubicBezTo>
                    <a:close/>
                  </a:path>
                </a:pathLst>
              </a:custGeom>
              <a:solidFill>
                <a:srgbClr val="70868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16DB5650-EC21-4528-8D47-21F48F56625D}"/>
                  </a:ext>
                </a:extLst>
              </p:cNvPr>
              <p:cNvSpPr/>
              <p:nvPr/>
            </p:nvSpPr>
            <p:spPr>
              <a:xfrm>
                <a:off x="20179095" y="4780286"/>
                <a:ext cx="589029" cy="573819"/>
              </a:xfrm>
              <a:custGeom>
                <a:avLst/>
                <a:gdLst>
                  <a:gd name="connsiteX0" fmla="*/ 44500 w 589029"/>
                  <a:gd name="connsiteY0" fmla="*/ 219125 h 573819"/>
                  <a:gd name="connsiteX1" fmla="*/ 292740 w 589029"/>
                  <a:gd name="connsiteY1" fmla="*/ 64379 h 573819"/>
                  <a:gd name="connsiteX2" fmla="*/ 569993 w 589029"/>
                  <a:gd name="connsiteY2" fmla="*/ 167543 h 573819"/>
                  <a:gd name="connsiteX3" fmla="*/ 515186 w 589029"/>
                  <a:gd name="connsiteY3" fmla="*/ 351304 h 573819"/>
                  <a:gd name="connsiteX4" fmla="*/ 550650 w 589029"/>
                  <a:gd name="connsiteY4" fmla="*/ 486707 h 573819"/>
                  <a:gd name="connsiteX5" fmla="*/ 276620 w 589029"/>
                  <a:gd name="connsiteY5" fmla="*/ 535066 h 573819"/>
                  <a:gd name="connsiteX6" fmla="*/ 228262 w 589029"/>
                  <a:gd name="connsiteY6" fmla="*/ 573752 h 573819"/>
                  <a:gd name="connsiteX7" fmla="*/ 79962 w 589029"/>
                  <a:gd name="connsiteY7" fmla="*/ 422230 h 573819"/>
                  <a:gd name="connsiteX8" fmla="*/ 76739 w 589029"/>
                  <a:gd name="connsiteY8" fmla="*/ 419006 h 573819"/>
                  <a:gd name="connsiteX9" fmla="*/ 44500 w 589029"/>
                  <a:gd name="connsiteY9" fmla="*/ 219125 h 57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89029" h="573819">
                    <a:moveTo>
                      <a:pt x="44500" y="219125"/>
                    </a:moveTo>
                    <a:cubicBezTo>
                      <a:pt x="-29648" y="86946"/>
                      <a:pt x="208918" y="-100039"/>
                      <a:pt x="292740" y="64379"/>
                    </a:cubicBezTo>
                    <a:cubicBezTo>
                      <a:pt x="392679" y="35364"/>
                      <a:pt x="518411" y="54707"/>
                      <a:pt x="569993" y="167543"/>
                    </a:cubicBezTo>
                    <a:cubicBezTo>
                      <a:pt x="602231" y="241692"/>
                      <a:pt x="576441" y="319066"/>
                      <a:pt x="515186" y="351304"/>
                    </a:cubicBezTo>
                    <a:cubicBezTo>
                      <a:pt x="579664" y="380319"/>
                      <a:pt x="624799" y="419006"/>
                      <a:pt x="550650" y="486707"/>
                    </a:cubicBezTo>
                    <a:cubicBezTo>
                      <a:pt x="476501" y="554409"/>
                      <a:pt x="370112" y="567304"/>
                      <a:pt x="276620" y="535066"/>
                    </a:cubicBezTo>
                    <a:cubicBezTo>
                      <a:pt x="273395" y="557633"/>
                      <a:pt x="254053" y="573752"/>
                      <a:pt x="228262" y="573752"/>
                    </a:cubicBezTo>
                    <a:cubicBezTo>
                      <a:pt x="167007" y="576976"/>
                      <a:pt x="108978" y="464140"/>
                      <a:pt x="79962" y="422230"/>
                    </a:cubicBezTo>
                    <a:cubicBezTo>
                      <a:pt x="79962" y="422230"/>
                      <a:pt x="79962" y="419006"/>
                      <a:pt x="76739" y="419006"/>
                    </a:cubicBezTo>
                    <a:cubicBezTo>
                      <a:pt x="-10306" y="380319"/>
                      <a:pt x="-26425" y="273931"/>
                      <a:pt x="44500" y="219125"/>
                    </a:cubicBezTo>
                    <a:close/>
                  </a:path>
                </a:pathLst>
              </a:custGeom>
              <a:solidFill>
                <a:srgbClr val="70868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0E59A254-666F-4C22-BEBA-AECFD6725AC6}"/>
                  </a:ext>
                </a:extLst>
              </p:cNvPr>
              <p:cNvSpPr/>
              <p:nvPr/>
            </p:nvSpPr>
            <p:spPr>
              <a:xfrm>
                <a:off x="19329082" y="4138247"/>
                <a:ext cx="1142724" cy="1599432"/>
              </a:xfrm>
              <a:custGeom>
                <a:avLst/>
                <a:gdLst>
                  <a:gd name="connsiteX0" fmla="*/ 1110514 w 1142724"/>
                  <a:gd name="connsiteY0" fmla="*/ 951433 h 1599432"/>
                  <a:gd name="connsiteX1" fmla="*/ 755887 w 1142724"/>
                  <a:gd name="connsiteY1" fmla="*/ 1209343 h 1599432"/>
                  <a:gd name="connsiteX2" fmla="*/ 707529 w 1142724"/>
                  <a:gd name="connsiteY2" fmla="*/ 970776 h 1599432"/>
                  <a:gd name="connsiteX3" fmla="*/ 713977 w 1142724"/>
                  <a:gd name="connsiteY3" fmla="*/ 961104 h 1599432"/>
                  <a:gd name="connsiteX4" fmla="*/ 804245 w 1142724"/>
                  <a:gd name="connsiteY4" fmla="*/ 490418 h 1599432"/>
                  <a:gd name="connsiteX5" fmla="*/ 1023469 w 1142724"/>
                  <a:gd name="connsiteY5" fmla="*/ 29403 h 1599432"/>
                  <a:gd name="connsiteX6" fmla="*/ 991230 w 1142724"/>
                  <a:gd name="connsiteY6" fmla="*/ 10060 h 1599432"/>
                  <a:gd name="connsiteX7" fmla="*/ 846155 w 1142724"/>
                  <a:gd name="connsiteY7" fmla="*/ 267970 h 1599432"/>
                  <a:gd name="connsiteX8" fmla="*/ 749439 w 1142724"/>
                  <a:gd name="connsiteY8" fmla="*/ 103552 h 1599432"/>
                  <a:gd name="connsiteX9" fmla="*/ 717200 w 1142724"/>
                  <a:gd name="connsiteY9" fmla="*/ 122895 h 1599432"/>
                  <a:gd name="connsiteX10" fmla="*/ 820365 w 1142724"/>
                  <a:gd name="connsiteY10" fmla="*/ 300209 h 1599432"/>
                  <a:gd name="connsiteX11" fmla="*/ 826813 w 1142724"/>
                  <a:gd name="connsiteY11" fmla="*/ 306656 h 1599432"/>
                  <a:gd name="connsiteX12" fmla="*/ 775230 w 1142724"/>
                  <a:gd name="connsiteY12" fmla="*/ 445283 h 1599432"/>
                  <a:gd name="connsiteX13" fmla="*/ 691409 w 1142724"/>
                  <a:gd name="connsiteY13" fmla="*/ 899851 h 1599432"/>
                  <a:gd name="connsiteX14" fmla="*/ 688184 w 1142724"/>
                  <a:gd name="connsiteY14" fmla="*/ 886955 h 1599432"/>
                  <a:gd name="connsiteX15" fmla="*/ 507648 w 1142724"/>
                  <a:gd name="connsiteY15" fmla="*/ 126119 h 1599432"/>
                  <a:gd name="connsiteX16" fmla="*/ 468961 w 1142724"/>
                  <a:gd name="connsiteY16" fmla="*/ 135791 h 1599432"/>
                  <a:gd name="connsiteX17" fmla="*/ 539887 w 1142724"/>
                  <a:gd name="connsiteY17" fmla="*/ 432388 h 1599432"/>
                  <a:gd name="connsiteX18" fmla="*/ 33737 w 1142724"/>
                  <a:gd name="connsiteY18" fmla="*/ 174477 h 1599432"/>
                  <a:gd name="connsiteX19" fmla="*/ 4723 w 1142724"/>
                  <a:gd name="connsiteY19" fmla="*/ 203492 h 1599432"/>
                  <a:gd name="connsiteX20" fmla="*/ 546335 w 1142724"/>
                  <a:gd name="connsiteY20" fmla="*/ 474298 h 1599432"/>
                  <a:gd name="connsiteX21" fmla="*/ 549558 w 1142724"/>
                  <a:gd name="connsiteY21" fmla="*/ 474298 h 1599432"/>
                  <a:gd name="connsiteX22" fmla="*/ 639826 w 1142724"/>
                  <a:gd name="connsiteY22" fmla="*/ 857940 h 1599432"/>
                  <a:gd name="connsiteX23" fmla="*/ 672065 w 1142724"/>
                  <a:gd name="connsiteY23" fmla="*/ 990119 h 1599432"/>
                  <a:gd name="connsiteX24" fmla="*/ 175589 w 1142724"/>
                  <a:gd name="connsiteY24" fmla="*/ 774119 h 1599432"/>
                  <a:gd name="connsiteX25" fmla="*/ 156244 w 1142724"/>
                  <a:gd name="connsiteY25" fmla="*/ 806358 h 1599432"/>
                  <a:gd name="connsiteX26" fmla="*/ 668842 w 1142724"/>
                  <a:gd name="connsiteY26" fmla="*/ 1025582 h 1599432"/>
                  <a:gd name="connsiteX27" fmla="*/ 681738 w 1142724"/>
                  <a:gd name="connsiteY27" fmla="*/ 1022358 h 1599432"/>
                  <a:gd name="connsiteX28" fmla="*/ 746216 w 1142724"/>
                  <a:gd name="connsiteY28" fmla="*/ 1580089 h 1599432"/>
                  <a:gd name="connsiteX29" fmla="*/ 784901 w 1142724"/>
                  <a:gd name="connsiteY29" fmla="*/ 1580089 h 1599432"/>
                  <a:gd name="connsiteX30" fmla="*/ 762335 w 1142724"/>
                  <a:gd name="connsiteY30" fmla="*/ 1231910 h 1599432"/>
                  <a:gd name="connsiteX31" fmla="*/ 775230 w 1142724"/>
                  <a:gd name="connsiteY31" fmla="*/ 1231910 h 1599432"/>
                  <a:gd name="connsiteX32" fmla="*/ 1136305 w 1142724"/>
                  <a:gd name="connsiteY32" fmla="*/ 967552 h 1599432"/>
                  <a:gd name="connsiteX33" fmla="*/ 1110514 w 1142724"/>
                  <a:gd name="connsiteY33" fmla="*/ 951433 h 1599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142724" h="1599432">
                    <a:moveTo>
                      <a:pt x="1110514" y="951433"/>
                    </a:moveTo>
                    <a:cubicBezTo>
                      <a:pt x="1013798" y="1064268"/>
                      <a:pt x="894514" y="1151313"/>
                      <a:pt x="755887" y="1209343"/>
                    </a:cubicBezTo>
                    <a:cubicBezTo>
                      <a:pt x="742991" y="1128746"/>
                      <a:pt x="726871" y="1051373"/>
                      <a:pt x="707529" y="970776"/>
                    </a:cubicBezTo>
                    <a:cubicBezTo>
                      <a:pt x="710752" y="967552"/>
                      <a:pt x="713977" y="967552"/>
                      <a:pt x="713977" y="961104"/>
                    </a:cubicBezTo>
                    <a:cubicBezTo>
                      <a:pt x="772006" y="809582"/>
                      <a:pt x="762335" y="645164"/>
                      <a:pt x="804245" y="490418"/>
                    </a:cubicBezTo>
                    <a:cubicBezTo>
                      <a:pt x="849378" y="326000"/>
                      <a:pt x="936424" y="177701"/>
                      <a:pt x="1023469" y="29403"/>
                    </a:cubicBezTo>
                    <a:cubicBezTo>
                      <a:pt x="1036365" y="6835"/>
                      <a:pt x="1004126" y="-12508"/>
                      <a:pt x="991230" y="10060"/>
                    </a:cubicBezTo>
                    <a:cubicBezTo>
                      <a:pt x="939649" y="93880"/>
                      <a:pt x="891290" y="177701"/>
                      <a:pt x="846155" y="267970"/>
                    </a:cubicBezTo>
                    <a:cubicBezTo>
                      <a:pt x="817140" y="209940"/>
                      <a:pt x="788126" y="155134"/>
                      <a:pt x="749439" y="103552"/>
                    </a:cubicBezTo>
                    <a:cubicBezTo>
                      <a:pt x="733320" y="84209"/>
                      <a:pt x="701081" y="103552"/>
                      <a:pt x="717200" y="122895"/>
                    </a:cubicBezTo>
                    <a:cubicBezTo>
                      <a:pt x="759110" y="177701"/>
                      <a:pt x="791349" y="238955"/>
                      <a:pt x="820365" y="300209"/>
                    </a:cubicBezTo>
                    <a:cubicBezTo>
                      <a:pt x="823588" y="303433"/>
                      <a:pt x="823588" y="306656"/>
                      <a:pt x="826813" y="306656"/>
                    </a:cubicBezTo>
                    <a:cubicBezTo>
                      <a:pt x="807468" y="351791"/>
                      <a:pt x="788126" y="396925"/>
                      <a:pt x="775230" y="445283"/>
                    </a:cubicBezTo>
                    <a:cubicBezTo>
                      <a:pt x="730096" y="593582"/>
                      <a:pt x="733320" y="751552"/>
                      <a:pt x="691409" y="899851"/>
                    </a:cubicBezTo>
                    <a:cubicBezTo>
                      <a:pt x="691409" y="896627"/>
                      <a:pt x="688184" y="890179"/>
                      <a:pt x="688184" y="886955"/>
                    </a:cubicBezTo>
                    <a:cubicBezTo>
                      <a:pt x="626932" y="632268"/>
                      <a:pt x="568902" y="380806"/>
                      <a:pt x="507648" y="126119"/>
                    </a:cubicBezTo>
                    <a:cubicBezTo>
                      <a:pt x="501200" y="100328"/>
                      <a:pt x="465738" y="113224"/>
                      <a:pt x="468961" y="135791"/>
                    </a:cubicBezTo>
                    <a:cubicBezTo>
                      <a:pt x="491528" y="235731"/>
                      <a:pt x="517319" y="335671"/>
                      <a:pt x="539887" y="432388"/>
                    </a:cubicBezTo>
                    <a:cubicBezTo>
                      <a:pt x="343231" y="406597"/>
                      <a:pt x="169140" y="316328"/>
                      <a:pt x="33737" y="174477"/>
                    </a:cubicBezTo>
                    <a:cubicBezTo>
                      <a:pt x="17618" y="155134"/>
                      <a:pt x="-11396" y="184149"/>
                      <a:pt x="4723" y="203492"/>
                    </a:cubicBezTo>
                    <a:cubicBezTo>
                      <a:pt x="149798" y="358239"/>
                      <a:pt x="336783" y="448507"/>
                      <a:pt x="546335" y="474298"/>
                    </a:cubicBezTo>
                    <a:cubicBezTo>
                      <a:pt x="546335" y="474298"/>
                      <a:pt x="549558" y="474298"/>
                      <a:pt x="549558" y="474298"/>
                    </a:cubicBezTo>
                    <a:cubicBezTo>
                      <a:pt x="578574" y="603253"/>
                      <a:pt x="610812" y="732209"/>
                      <a:pt x="639826" y="857940"/>
                    </a:cubicBezTo>
                    <a:cubicBezTo>
                      <a:pt x="649499" y="903074"/>
                      <a:pt x="659171" y="944985"/>
                      <a:pt x="672065" y="990119"/>
                    </a:cubicBezTo>
                    <a:cubicBezTo>
                      <a:pt x="488305" y="961104"/>
                      <a:pt x="323886" y="886955"/>
                      <a:pt x="175589" y="774119"/>
                    </a:cubicBezTo>
                    <a:cubicBezTo>
                      <a:pt x="156244" y="758000"/>
                      <a:pt x="136902" y="793462"/>
                      <a:pt x="156244" y="806358"/>
                    </a:cubicBezTo>
                    <a:cubicBezTo>
                      <a:pt x="307767" y="922418"/>
                      <a:pt x="478632" y="996567"/>
                      <a:pt x="668842" y="1025582"/>
                    </a:cubicBezTo>
                    <a:cubicBezTo>
                      <a:pt x="672065" y="1025582"/>
                      <a:pt x="678513" y="1025582"/>
                      <a:pt x="681738" y="1022358"/>
                    </a:cubicBezTo>
                    <a:cubicBezTo>
                      <a:pt x="723648" y="1206119"/>
                      <a:pt x="752662" y="1389880"/>
                      <a:pt x="746216" y="1580089"/>
                    </a:cubicBezTo>
                    <a:cubicBezTo>
                      <a:pt x="746216" y="1605881"/>
                      <a:pt x="784901" y="1605881"/>
                      <a:pt x="784901" y="1580089"/>
                    </a:cubicBezTo>
                    <a:cubicBezTo>
                      <a:pt x="788126" y="1460806"/>
                      <a:pt x="778455" y="1347970"/>
                      <a:pt x="762335" y="1231910"/>
                    </a:cubicBezTo>
                    <a:cubicBezTo>
                      <a:pt x="765558" y="1231910"/>
                      <a:pt x="772006" y="1231910"/>
                      <a:pt x="775230" y="1231910"/>
                    </a:cubicBezTo>
                    <a:cubicBezTo>
                      <a:pt x="917081" y="1173880"/>
                      <a:pt x="1036365" y="1083612"/>
                      <a:pt x="1136305" y="967552"/>
                    </a:cubicBezTo>
                    <a:cubicBezTo>
                      <a:pt x="1155647" y="961104"/>
                      <a:pt x="1126633" y="932089"/>
                      <a:pt x="1110514" y="951433"/>
                    </a:cubicBezTo>
                    <a:close/>
                  </a:path>
                </a:pathLst>
              </a:custGeom>
              <a:solidFill>
                <a:srgbClr val="6C5D6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1" name="图形 1">
              <a:extLst>
                <a:ext uri="{FF2B5EF4-FFF2-40B4-BE49-F238E27FC236}">
                  <a16:creationId xmlns:a16="http://schemas.microsoft.com/office/drawing/2014/main" id="{D58FA156-418E-48EA-B323-74987B4C4E28}"/>
                </a:ext>
              </a:extLst>
            </p:cNvPr>
            <p:cNvGrpSpPr/>
            <p:nvPr/>
          </p:nvGrpSpPr>
          <p:grpSpPr>
            <a:xfrm>
              <a:off x="22767238" y="2937026"/>
              <a:ext cx="302190" cy="407781"/>
              <a:chOff x="22767238" y="2937026"/>
              <a:chExt cx="302190" cy="407781"/>
            </a:xfrm>
          </p:grpSpPr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8BC333D1-0170-453A-9694-35DAF8BAC7F4}"/>
                  </a:ext>
                </a:extLst>
              </p:cNvPr>
              <p:cNvSpPr/>
              <p:nvPr/>
            </p:nvSpPr>
            <p:spPr>
              <a:xfrm>
                <a:off x="22780132" y="2953000"/>
                <a:ext cx="266776" cy="366658"/>
              </a:xfrm>
              <a:custGeom>
                <a:avLst/>
                <a:gdLst>
                  <a:gd name="connsiteX0" fmla="*/ 29016 w 266776"/>
                  <a:gd name="connsiteY0" fmla="*/ 286172 h 366658"/>
                  <a:gd name="connsiteX1" fmla="*/ 93493 w 266776"/>
                  <a:gd name="connsiteY1" fmla="*/ 266829 h 366658"/>
                  <a:gd name="connsiteX2" fmla="*/ 116061 w 266776"/>
                  <a:gd name="connsiteY2" fmla="*/ 302292 h 366658"/>
                  <a:gd name="connsiteX3" fmla="*/ 151523 w 266776"/>
                  <a:gd name="connsiteY3" fmla="*/ 308739 h 366658"/>
                  <a:gd name="connsiteX4" fmla="*/ 183762 w 266776"/>
                  <a:gd name="connsiteY4" fmla="*/ 286172 h 366658"/>
                  <a:gd name="connsiteX5" fmla="*/ 190210 w 266776"/>
                  <a:gd name="connsiteY5" fmla="*/ 241038 h 366658"/>
                  <a:gd name="connsiteX6" fmla="*/ 167642 w 266776"/>
                  <a:gd name="connsiteY6" fmla="*/ 202351 h 366658"/>
                  <a:gd name="connsiteX7" fmla="*/ 132180 w 266776"/>
                  <a:gd name="connsiteY7" fmla="*/ 192680 h 366658"/>
                  <a:gd name="connsiteX8" fmla="*/ 103165 w 266776"/>
                  <a:gd name="connsiteY8" fmla="*/ 202351 h 366658"/>
                  <a:gd name="connsiteX9" fmla="*/ 99941 w 266776"/>
                  <a:gd name="connsiteY9" fmla="*/ 144322 h 366658"/>
                  <a:gd name="connsiteX10" fmla="*/ 138626 w 266776"/>
                  <a:gd name="connsiteY10" fmla="*/ 124978 h 366658"/>
                  <a:gd name="connsiteX11" fmla="*/ 148300 w 266776"/>
                  <a:gd name="connsiteY11" fmla="*/ 89516 h 366658"/>
                  <a:gd name="connsiteX12" fmla="*/ 132180 w 266776"/>
                  <a:gd name="connsiteY12" fmla="*/ 63725 h 366658"/>
                  <a:gd name="connsiteX13" fmla="*/ 103165 w 266776"/>
                  <a:gd name="connsiteY13" fmla="*/ 57277 h 366658"/>
                  <a:gd name="connsiteX14" fmla="*/ 74149 w 266776"/>
                  <a:gd name="connsiteY14" fmla="*/ 73396 h 366658"/>
                  <a:gd name="connsiteX15" fmla="*/ 64478 w 266776"/>
                  <a:gd name="connsiteY15" fmla="*/ 112083 h 366658"/>
                  <a:gd name="connsiteX16" fmla="*/ 0 w 266776"/>
                  <a:gd name="connsiteY16" fmla="*/ 112083 h 366658"/>
                  <a:gd name="connsiteX17" fmla="*/ 9671 w 266776"/>
                  <a:gd name="connsiteY17" fmla="*/ 57277 h 366658"/>
                  <a:gd name="connsiteX18" fmla="*/ 41910 w 266776"/>
                  <a:gd name="connsiteY18" fmla="*/ 21814 h 366658"/>
                  <a:gd name="connsiteX19" fmla="*/ 93493 w 266776"/>
                  <a:gd name="connsiteY19" fmla="*/ 2471 h 366658"/>
                  <a:gd name="connsiteX20" fmla="*/ 180539 w 266776"/>
                  <a:gd name="connsiteY20" fmla="*/ 18590 h 366658"/>
                  <a:gd name="connsiteX21" fmla="*/ 216000 w 266776"/>
                  <a:gd name="connsiteY21" fmla="*/ 73396 h 366658"/>
                  <a:gd name="connsiteX22" fmla="*/ 180539 w 266776"/>
                  <a:gd name="connsiteY22" fmla="*/ 157217 h 366658"/>
                  <a:gd name="connsiteX23" fmla="*/ 235343 w 266776"/>
                  <a:gd name="connsiteY23" fmla="*/ 176560 h 366658"/>
                  <a:gd name="connsiteX24" fmla="*/ 264359 w 266776"/>
                  <a:gd name="connsiteY24" fmla="*/ 228142 h 366658"/>
                  <a:gd name="connsiteX25" fmla="*/ 245016 w 266776"/>
                  <a:gd name="connsiteY25" fmla="*/ 315187 h 366658"/>
                  <a:gd name="connsiteX26" fmla="*/ 167642 w 266776"/>
                  <a:gd name="connsiteY26" fmla="*/ 363545 h 366658"/>
                  <a:gd name="connsiteX27" fmla="*/ 83822 w 266776"/>
                  <a:gd name="connsiteY27" fmla="*/ 350650 h 366658"/>
                  <a:gd name="connsiteX28" fmla="*/ 29016 w 266776"/>
                  <a:gd name="connsiteY28" fmla="*/ 286172 h 366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66776" h="366658">
                    <a:moveTo>
                      <a:pt x="29016" y="286172"/>
                    </a:moveTo>
                    <a:lnTo>
                      <a:pt x="93493" y="266829"/>
                    </a:lnTo>
                    <a:cubicBezTo>
                      <a:pt x="99941" y="282948"/>
                      <a:pt x="106388" y="295844"/>
                      <a:pt x="116061" y="302292"/>
                    </a:cubicBezTo>
                    <a:cubicBezTo>
                      <a:pt x="125732" y="308739"/>
                      <a:pt x="138626" y="311963"/>
                      <a:pt x="151523" y="308739"/>
                    </a:cubicBezTo>
                    <a:cubicBezTo>
                      <a:pt x="164419" y="305516"/>
                      <a:pt x="177313" y="299068"/>
                      <a:pt x="183762" y="286172"/>
                    </a:cubicBezTo>
                    <a:cubicBezTo>
                      <a:pt x="190210" y="273277"/>
                      <a:pt x="193433" y="257157"/>
                      <a:pt x="190210" y="241038"/>
                    </a:cubicBezTo>
                    <a:cubicBezTo>
                      <a:pt x="186985" y="224919"/>
                      <a:pt x="180539" y="212023"/>
                      <a:pt x="167642" y="202351"/>
                    </a:cubicBezTo>
                    <a:cubicBezTo>
                      <a:pt x="157971" y="192680"/>
                      <a:pt x="145075" y="192680"/>
                      <a:pt x="132180" y="192680"/>
                    </a:cubicBezTo>
                    <a:cubicBezTo>
                      <a:pt x="122507" y="192680"/>
                      <a:pt x="112836" y="199128"/>
                      <a:pt x="103165" y="202351"/>
                    </a:cubicBezTo>
                    <a:lnTo>
                      <a:pt x="99941" y="144322"/>
                    </a:lnTo>
                    <a:cubicBezTo>
                      <a:pt x="119284" y="141098"/>
                      <a:pt x="132180" y="134650"/>
                      <a:pt x="138626" y="124978"/>
                    </a:cubicBezTo>
                    <a:cubicBezTo>
                      <a:pt x="148300" y="115307"/>
                      <a:pt x="148300" y="102411"/>
                      <a:pt x="148300" y="89516"/>
                    </a:cubicBezTo>
                    <a:cubicBezTo>
                      <a:pt x="145075" y="76620"/>
                      <a:pt x="141852" y="70172"/>
                      <a:pt x="132180" y="63725"/>
                    </a:cubicBezTo>
                    <a:cubicBezTo>
                      <a:pt x="122507" y="57277"/>
                      <a:pt x="112836" y="57277"/>
                      <a:pt x="103165" y="57277"/>
                    </a:cubicBezTo>
                    <a:cubicBezTo>
                      <a:pt x="90268" y="60501"/>
                      <a:pt x="83822" y="63725"/>
                      <a:pt x="74149" y="73396"/>
                    </a:cubicBezTo>
                    <a:cubicBezTo>
                      <a:pt x="67703" y="83068"/>
                      <a:pt x="64478" y="95963"/>
                      <a:pt x="64478" y="112083"/>
                    </a:cubicBezTo>
                    <a:lnTo>
                      <a:pt x="0" y="112083"/>
                    </a:lnTo>
                    <a:cubicBezTo>
                      <a:pt x="0" y="89516"/>
                      <a:pt x="3225" y="70172"/>
                      <a:pt x="9671" y="57277"/>
                    </a:cubicBezTo>
                    <a:cubicBezTo>
                      <a:pt x="16119" y="44381"/>
                      <a:pt x="25791" y="31486"/>
                      <a:pt x="41910" y="21814"/>
                    </a:cubicBezTo>
                    <a:cubicBezTo>
                      <a:pt x="54806" y="12142"/>
                      <a:pt x="74149" y="5695"/>
                      <a:pt x="93493" y="2471"/>
                    </a:cubicBezTo>
                    <a:cubicBezTo>
                      <a:pt x="125732" y="-3977"/>
                      <a:pt x="154746" y="2471"/>
                      <a:pt x="180539" y="18590"/>
                    </a:cubicBezTo>
                    <a:cubicBezTo>
                      <a:pt x="199881" y="31486"/>
                      <a:pt x="212777" y="50829"/>
                      <a:pt x="216000" y="73396"/>
                    </a:cubicBezTo>
                    <a:cubicBezTo>
                      <a:pt x="222449" y="105635"/>
                      <a:pt x="209552" y="131426"/>
                      <a:pt x="180539" y="157217"/>
                    </a:cubicBezTo>
                    <a:cubicBezTo>
                      <a:pt x="203104" y="157217"/>
                      <a:pt x="219223" y="163665"/>
                      <a:pt x="235343" y="176560"/>
                    </a:cubicBezTo>
                    <a:cubicBezTo>
                      <a:pt x="251462" y="189456"/>
                      <a:pt x="261136" y="205575"/>
                      <a:pt x="264359" y="228142"/>
                    </a:cubicBezTo>
                    <a:cubicBezTo>
                      <a:pt x="270807" y="260381"/>
                      <a:pt x="264359" y="286172"/>
                      <a:pt x="245016" y="315187"/>
                    </a:cubicBezTo>
                    <a:cubicBezTo>
                      <a:pt x="225672" y="340978"/>
                      <a:pt x="199881" y="357098"/>
                      <a:pt x="167642" y="363545"/>
                    </a:cubicBezTo>
                    <a:cubicBezTo>
                      <a:pt x="135403" y="369993"/>
                      <a:pt x="106388" y="366769"/>
                      <a:pt x="83822" y="350650"/>
                    </a:cubicBezTo>
                    <a:cubicBezTo>
                      <a:pt x="54806" y="337754"/>
                      <a:pt x="38687" y="315187"/>
                      <a:pt x="29016" y="286172"/>
                    </a:cubicBezTo>
                    <a:close/>
                  </a:path>
                </a:pathLst>
              </a:custGeom>
              <a:solidFill>
                <a:srgbClr val="FFFFFF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7439AC61-2A82-4C29-B14B-2935E48BEA84}"/>
                  </a:ext>
                </a:extLst>
              </p:cNvPr>
              <p:cNvSpPr/>
              <p:nvPr/>
            </p:nvSpPr>
            <p:spPr>
              <a:xfrm>
                <a:off x="22767238" y="2937026"/>
                <a:ext cx="302190" cy="407781"/>
              </a:xfrm>
              <a:custGeom>
                <a:avLst/>
                <a:gdLst>
                  <a:gd name="connsiteX0" fmla="*/ 109611 w 302190"/>
                  <a:gd name="connsiteY0" fmla="*/ 18445 h 407781"/>
                  <a:gd name="connsiteX1" fmla="*/ 196656 w 302190"/>
                  <a:gd name="connsiteY1" fmla="*/ 34564 h 407781"/>
                  <a:gd name="connsiteX2" fmla="*/ 232118 w 302190"/>
                  <a:gd name="connsiteY2" fmla="*/ 89370 h 407781"/>
                  <a:gd name="connsiteX3" fmla="*/ 196656 w 302190"/>
                  <a:gd name="connsiteY3" fmla="*/ 173191 h 407781"/>
                  <a:gd name="connsiteX4" fmla="*/ 251462 w 302190"/>
                  <a:gd name="connsiteY4" fmla="*/ 192535 h 407781"/>
                  <a:gd name="connsiteX5" fmla="*/ 280476 w 302190"/>
                  <a:gd name="connsiteY5" fmla="*/ 244117 h 407781"/>
                  <a:gd name="connsiteX6" fmla="*/ 261134 w 302190"/>
                  <a:gd name="connsiteY6" fmla="*/ 331161 h 407781"/>
                  <a:gd name="connsiteX7" fmla="*/ 183760 w 302190"/>
                  <a:gd name="connsiteY7" fmla="*/ 379520 h 407781"/>
                  <a:gd name="connsiteX8" fmla="*/ 99940 w 302190"/>
                  <a:gd name="connsiteY8" fmla="*/ 366624 h 407781"/>
                  <a:gd name="connsiteX9" fmla="*/ 48358 w 302190"/>
                  <a:gd name="connsiteY9" fmla="*/ 302146 h 407781"/>
                  <a:gd name="connsiteX10" fmla="*/ 112836 w 302190"/>
                  <a:gd name="connsiteY10" fmla="*/ 282803 h 407781"/>
                  <a:gd name="connsiteX11" fmla="*/ 135401 w 302190"/>
                  <a:gd name="connsiteY11" fmla="*/ 318266 h 407781"/>
                  <a:gd name="connsiteX12" fmla="*/ 170865 w 302190"/>
                  <a:gd name="connsiteY12" fmla="*/ 324714 h 407781"/>
                  <a:gd name="connsiteX13" fmla="*/ 203104 w 302190"/>
                  <a:gd name="connsiteY13" fmla="*/ 302146 h 407781"/>
                  <a:gd name="connsiteX14" fmla="*/ 209552 w 302190"/>
                  <a:gd name="connsiteY14" fmla="*/ 257012 h 407781"/>
                  <a:gd name="connsiteX15" fmla="*/ 186985 w 302190"/>
                  <a:gd name="connsiteY15" fmla="*/ 218326 h 407781"/>
                  <a:gd name="connsiteX16" fmla="*/ 151521 w 302190"/>
                  <a:gd name="connsiteY16" fmla="*/ 208654 h 407781"/>
                  <a:gd name="connsiteX17" fmla="*/ 122507 w 302190"/>
                  <a:gd name="connsiteY17" fmla="*/ 218326 h 407781"/>
                  <a:gd name="connsiteX18" fmla="*/ 119282 w 302190"/>
                  <a:gd name="connsiteY18" fmla="*/ 160296 h 407781"/>
                  <a:gd name="connsiteX19" fmla="*/ 122507 w 302190"/>
                  <a:gd name="connsiteY19" fmla="*/ 160296 h 407781"/>
                  <a:gd name="connsiteX20" fmla="*/ 157969 w 302190"/>
                  <a:gd name="connsiteY20" fmla="*/ 140952 h 407781"/>
                  <a:gd name="connsiteX21" fmla="*/ 167640 w 302190"/>
                  <a:gd name="connsiteY21" fmla="*/ 105490 h 407781"/>
                  <a:gd name="connsiteX22" fmla="*/ 151521 w 302190"/>
                  <a:gd name="connsiteY22" fmla="*/ 79699 h 407781"/>
                  <a:gd name="connsiteX23" fmla="*/ 122507 w 302190"/>
                  <a:gd name="connsiteY23" fmla="*/ 73251 h 407781"/>
                  <a:gd name="connsiteX24" fmla="*/ 93491 w 302190"/>
                  <a:gd name="connsiteY24" fmla="*/ 89370 h 407781"/>
                  <a:gd name="connsiteX25" fmla="*/ 83820 w 302190"/>
                  <a:gd name="connsiteY25" fmla="*/ 128057 h 407781"/>
                  <a:gd name="connsiteX26" fmla="*/ 19342 w 302190"/>
                  <a:gd name="connsiteY26" fmla="*/ 128057 h 407781"/>
                  <a:gd name="connsiteX27" fmla="*/ 29014 w 302190"/>
                  <a:gd name="connsiteY27" fmla="*/ 73251 h 407781"/>
                  <a:gd name="connsiteX28" fmla="*/ 61253 w 302190"/>
                  <a:gd name="connsiteY28" fmla="*/ 37788 h 407781"/>
                  <a:gd name="connsiteX29" fmla="*/ 109611 w 302190"/>
                  <a:gd name="connsiteY29" fmla="*/ 18445 h 407781"/>
                  <a:gd name="connsiteX30" fmla="*/ 109611 w 302190"/>
                  <a:gd name="connsiteY30" fmla="*/ 18445 h 407781"/>
                  <a:gd name="connsiteX31" fmla="*/ 106388 w 302190"/>
                  <a:gd name="connsiteY31" fmla="*/ 2326 h 407781"/>
                  <a:gd name="connsiteX32" fmla="*/ 48358 w 302190"/>
                  <a:gd name="connsiteY32" fmla="*/ 24893 h 407781"/>
                  <a:gd name="connsiteX33" fmla="*/ 12894 w 302190"/>
                  <a:gd name="connsiteY33" fmla="*/ 70027 h 407781"/>
                  <a:gd name="connsiteX34" fmla="*/ 0 w 302190"/>
                  <a:gd name="connsiteY34" fmla="*/ 131281 h 407781"/>
                  <a:gd name="connsiteX35" fmla="*/ 6446 w 302190"/>
                  <a:gd name="connsiteY35" fmla="*/ 144176 h 407781"/>
                  <a:gd name="connsiteX36" fmla="*/ 19342 w 302190"/>
                  <a:gd name="connsiteY36" fmla="*/ 150624 h 407781"/>
                  <a:gd name="connsiteX37" fmla="*/ 83820 w 302190"/>
                  <a:gd name="connsiteY37" fmla="*/ 150624 h 407781"/>
                  <a:gd name="connsiteX38" fmla="*/ 87043 w 302190"/>
                  <a:gd name="connsiteY38" fmla="*/ 150624 h 407781"/>
                  <a:gd name="connsiteX39" fmla="*/ 96716 w 302190"/>
                  <a:gd name="connsiteY39" fmla="*/ 144176 h 407781"/>
                  <a:gd name="connsiteX40" fmla="*/ 99940 w 302190"/>
                  <a:gd name="connsiteY40" fmla="*/ 131281 h 407781"/>
                  <a:gd name="connsiteX41" fmla="*/ 106388 w 302190"/>
                  <a:gd name="connsiteY41" fmla="*/ 105490 h 407781"/>
                  <a:gd name="connsiteX42" fmla="*/ 122507 w 302190"/>
                  <a:gd name="connsiteY42" fmla="*/ 95818 h 407781"/>
                  <a:gd name="connsiteX43" fmla="*/ 138626 w 302190"/>
                  <a:gd name="connsiteY43" fmla="*/ 99042 h 407781"/>
                  <a:gd name="connsiteX44" fmla="*/ 148298 w 302190"/>
                  <a:gd name="connsiteY44" fmla="*/ 115161 h 407781"/>
                  <a:gd name="connsiteX45" fmla="*/ 141850 w 302190"/>
                  <a:gd name="connsiteY45" fmla="*/ 137729 h 407781"/>
                  <a:gd name="connsiteX46" fmla="*/ 116059 w 302190"/>
                  <a:gd name="connsiteY46" fmla="*/ 150624 h 407781"/>
                  <a:gd name="connsiteX47" fmla="*/ 112836 w 302190"/>
                  <a:gd name="connsiteY47" fmla="*/ 150624 h 407781"/>
                  <a:gd name="connsiteX48" fmla="*/ 112836 w 302190"/>
                  <a:gd name="connsiteY48" fmla="*/ 150624 h 407781"/>
                  <a:gd name="connsiteX49" fmla="*/ 99940 w 302190"/>
                  <a:gd name="connsiteY49" fmla="*/ 166744 h 407781"/>
                  <a:gd name="connsiteX50" fmla="*/ 103163 w 302190"/>
                  <a:gd name="connsiteY50" fmla="*/ 224773 h 407781"/>
                  <a:gd name="connsiteX51" fmla="*/ 112836 w 302190"/>
                  <a:gd name="connsiteY51" fmla="*/ 237669 h 407781"/>
                  <a:gd name="connsiteX52" fmla="*/ 125730 w 302190"/>
                  <a:gd name="connsiteY52" fmla="*/ 240893 h 407781"/>
                  <a:gd name="connsiteX53" fmla="*/ 128955 w 302190"/>
                  <a:gd name="connsiteY53" fmla="*/ 240893 h 407781"/>
                  <a:gd name="connsiteX54" fmla="*/ 154746 w 302190"/>
                  <a:gd name="connsiteY54" fmla="*/ 231221 h 407781"/>
                  <a:gd name="connsiteX55" fmla="*/ 177313 w 302190"/>
                  <a:gd name="connsiteY55" fmla="*/ 237669 h 407781"/>
                  <a:gd name="connsiteX56" fmla="*/ 193433 w 302190"/>
                  <a:gd name="connsiteY56" fmla="*/ 266684 h 407781"/>
                  <a:gd name="connsiteX57" fmla="*/ 190208 w 302190"/>
                  <a:gd name="connsiteY57" fmla="*/ 298923 h 407781"/>
                  <a:gd name="connsiteX58" fmla="*/ 167640 w 302190"/>
                  <a:gd name="connsiteY58" fmla="*/ 315042 h 407781"/>
                  <a:gd name="connsiteX59" fmla="*/ 145075 w 302190"/>
                  <a:gd name="connsiteY59" fmla="*/ 311818 h 407781"/>
                  <a:gd name="connsiteX60" fmla="*/ 128955 w 302190"/>
                  <a:gd name="connsiteY60" fmla="*/ 286027 h 407781"/>
                  <a:gd name="connsiteX61" fmla="*/ 109611 w 302190"/>
                  <a:gd name="connsiteY61" fmla="*/ 273132 h 407781"/>
                  <a:gd name="connsiteX62" fmla="*/ 106388 w 302190"/>
                  <a:gd name="connsiteY62" fmla="*/ 273132 h 407781"/>
                  <a:gd name="connsiteX63" fmla="*/ 41910 w 302190"/>
                  <a:gd name="connsiteY63" fmla="*/ 292475 h 407781"/>
                  <a:gd name="connsiteX64" fmla="*/ 32239 w 302190"/>
                  <a:gd name="connsiteY64" fmla="*/ 315042 h 407781"/>
                  <a:gd name="connsiteX65" fmla="*/ 90268 w 302190"/>
                  <a:gd name="connsiteY65" fmla="*/ 389191 h 407781"/>
                  <a:gd name="connsiteX66" fmla="*/ 186985 w 302190"/>
                  <a:gd name="connsiteY66" fmla="*/ 405311 h 407781"/>
                  <a:gd name="connsiteX67" fmla="*/ 277253 w 302190"/>
                  <a:gd name="connsiteY67" fmla="*/ 350505 h 407781"/>
                  <a:gd name="connsiteX68" fmla="*/ 299821 w 302190"/>
                  <a:gd name="connsiteY68" fmla="*/ 250564 h 407781"/>
                  <a:gd name="connsiteX69" fmla="*/ 264357 w 302190"/>
                  <a:gd name="connsiteY69" fmla="*/ 189311 h 407781"/>
                  <a:gd name="connsiteX70" fmla="*/ 232118 w 302190"/>
                  <a:gd name="connsiteY70" fmla="*/ 169967 h 407781"/>
                  <a:gd name="connsiteX71" fmla="*/ 251462 w 302190"/>
                  <a:gd name="connsiteY71" fmla="*/ 92594 h 407781"/>
                  <a:gd name="connsiteX72" fmla="*/ 209552 w 302190"/>
                  <a:gd name="connsiteY72" fmla="*/ 28117 h 407781"/>
                  <a:gd name="connsiteX73" fmla="*/ 106388 w 302190"/>
                  <a:gd name="connsiteY73" fmla="*/ 2326 h 407781"/>
                  <a:gd name="connsiteX74" fmla="*/ 106388 w 302190"/>
                  <a:gd name="connsiteY74" fmla="*/ 2326 h 407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302190" h="407781">
                    <a:moveTo>
                      <a:pt x="109611" y="18445"/>
                    </a:moveTo>
                    <a:cubicBezTo>
                      <a:pt x="141850" y="11997"/>
                      <a:pt x="170865" y="18445"/>
                      <a:pt x="196656" y="34564"/>
                    </a:cubicBezTo>
                    <a:cubicBezTo>
                      <a:pt x="215998" y="47460"/>
                      <a:pt x="228895" y="66803"/>
                      <a:pt x="232118" y="89370"/>
                    </a:cubicBezTo>
                    <a:cubicBezTo>
                      <a:pt x="238566" y="121609"/>
                      <a:pt x="225672" y="147400"/>
                      <a:pt x="196656" y="173191"/>
                    </a:cubicBezTo>
                    <a:cubicBezTo>
                      <a:pt x="219223" y="173191"/>
                      <a:pt x="235343" y="179639"/>
                      <a:pt x="251462" y="192535"/>
                    </a:cubicBezTo>
                    <a:cubicBezTo>
                      <a:pt x="267582" y="205430"/>
                      <a:pt x="277253" y="221549"/>
                      <a:pt x="280476" y="244117"/>
                    </a:cubicBezTo>
                    <a:cubicBezTo>
                      <a:pt x="286924" y="276355"/>
                      <a:pt x="280476" y="302146"/>
                      <a:pt x="261134" y="331161"/>
                    </a:cubicBezTo>
                    <a:cubicBezTo>
                      <a:pt x="241791" y="356952"/>
                      <a:pt x="215998" y="373072"/>
                      <a:pt x="183760" y="379520"/>
                    </a:cubicBezTo>
                    <a:cubicBezTo>
                      <a:pt x="151521" y="385967"/>
                      <a:pt x="122507" y="382743"/>
                      <a:pt x="99940" y="366624"/>
                    </a:cubicBezTo>
                    <a:cubicBezTo>
                      <a:pt x="74149" y="353729"/>
                      <a:pt x="58029" y="331161"/>
                      <a:pt x="48358" y="302146"/>
                    </a:cubicBezTo>
                    <a:lnTo>
                      <a:pt x="112836" y="282803"/>
                    </a:lnTo>
                    <a:cubicBezTo>
                      <a:pt x="119282" y="298923"/>
                      <a:pt x="125730" y="311818"/>
                      <a:pt x="135401" y="318266"/>
                    </a:cubicBezTo>
                    <a:cubicBezTo>
                      <a:pt x="145075" y="324714"/>
                      <a:pt x="157969" y="327938"/>
                      <a:pt x="170865" y="324714"/>
                    </a:cubicBezTo>
                    <a:cubicBezTo>
                      <a:pt x="183760" y="321490"/>
                      <a:pt x="196656" y="315042"/>
                      <a:pt x="203104" y="302146"/>
                    </a:cubicBezTo>
                    <a:cubicBezTo>
                      <a:pt x="209552" y="289251"/>
                      <a:pt x="212775" y="273132"/>
                      <a:pt x="209552" y="257012"/>
                    </a:cubicBezTo>
                    <a:cubicBezTo>
                      <a:pt x="206327" y="240893"/>
                      <a:pt x="199879" y="227997"/>
                      <a:pt x="186985" y="218326"/>
                    </a:cubicBezTo>
                    <a:cubicBezTo>
                      <a:pt x="177313" y="208654"/>
                      <a:pt x="164417" y="208654"/>
                      <a:pt x="151521" y="208654"/>
                    </a:cubicBezTo>
                    <a:cubicBezTo>
                      <a:pt x="141850" y="208654"/>
                      <a:pt x="132178" y="215102"/>
                      <a:pt x="122507" y="218326"/>
                    </a:cubicBezTo>
                    <a:lnTo>
                      <a:pt x="119282" y="160296"/>
                    </a:lnTo>
                    <a:cubicBezTo>
                      <a:pt x="119282" y="160296"/>
                      <a:pt x="122507" y="160296"/>
                      <a:pt x="122507" y="160296"/>
                    </a:cubicBezTo>
                    <a:cubicBezTo>
                      <a:pt x="138626" y="157072"/>
                      <a:pt x="151521" y="150624"/>
                      <a:pt x="157969" y="140952"/>
                    </a:cubicBezTo>
                    <a:cubicBezTo>
                      <a:pt x="167640" y="131281"/>
                      <a:pt x="167640" y="118385"/>
                      <a:pt x="167640" y="105490"/>
                    </a:cubicBezTo>
                    <a:cubicBezTo>
                      <a:pt x="164417" y="92594"/>
                      <a:pt x="161194" y="86147"/>
                      <a:pt x="151521" y="79699"/>
                    </a:cubicBezTo>
                    <a:cubicBezTo>
                      <a:pt x="141850" y="73251"/>
                      <a:pt x="132178" y="73251"/>
                      <a:pt x="122507" y="73251"/>
                    </a:cubicBezTo>
                    <a:cubicBezTo>
                      <a:pt x="109611" y="76475"/>
                      <a:pt x="103163" y="79699"/>
                      <a:pt x="93491" y="89370"/>
                    </a:cubicBezTo>
                    <a:cubicBezTo>
                      <a:pt x="87043" y="99042"/>
                      <a:pt x="83820" y="111938"/>
                      <a:pt x="83820" y="128057"/>
                    </a:cubicBezTo>
                    <a:lnTo>
                      <a:pt x="19342" y="128057"/>
                    </a:lnTo>
                    <a:cubicBezTo>
                      <a:pt x="19342" y="105490"/>
                      <a:pt x="22566" y="86147"/>
                      <a:pt x="29014" y="73251"/>
                    </a:cubicBezTo>
                    <a:cubicBezTo>
                      <a:pt x="35462" y="60355"/>
                      <a:pt x="45133" y="47460"/>
                      <a:pt x="61253" y="37788"/>
                    </a:cubicBezTo>
                    <a:cubicBezTo>
                      <a:pt x="70924" y="31341"/>
                      <a:pt x="90268" y="21669"/>
                      <a:pt x="109611" y="18445"/>
                    </a:cubicBezTo>
                    <a:lnTo>
                      <a:pt x="109611" y="18445"/>
                    </a:lnTo>
                    <a:close/>
                    <a:moveTo>
                      <a:pt x="106388" y="2326"/>
                    </a:moveTo>
                    <a:cubicBezTo>
                      <a:pt x="83820" y="5550"/>
                      <a:pt x="64478" y="15221"/>
                      <a:pt x="48358" y="24893"/>
                    </a:cubicBezTo>
                    <a:cubicBezTo>
                      <a:pt x="32239" y="37788"/>
                      <a:pt x="19342" y="50684"/>
                      <a:pt x="12894" y="70027"/>
                    </a:cubicBezTo>
                    <a:cubicBezTo>
                      <a:pt x="6446" y="86147"/>
                      <a:pt x="3223" y="108714"/>
                      <a:pt x="0" y="131281"/>
                    </a:cubicBezTo>
                    <a:cubicBezTo>
                      <a:pt x="0" y="134505"/>
                      <a:pt x="3223" y="140952"/>
                      <a:pt x="6446" y="144176"/>
                    </a:cubicBezTo>
                    <a:cubicBezTo>
                      <a:pt x="9671" y="147400"/>
                      <a:pt x="12894" y="150624"/>
                      <a:pt x="19342" y="150624"/>
                    </a:cubicBezTo>
                    <a:lnTo>
                      <a:pt x="83820" y="150624"/>
                    </a:lnTo>
                    <a:cubicBezTo>
                      <a:pt x="83820" y="150624"/>
                      <a:pt x="87043" y="150624"/>
                      <a:pt x="87043" y="150624"/>
                    </a:cubicBezTo>
                    <a:cubicBezTo>
                      <a:pt x="90268" y="150624"/>
                      <a:pt x="93491" y="147400"/>
                      <a:pt x="96716" y="144176"/>
                    </a:cubicBezTo>
                    <a:cubicBezTo>
                      <a:pt x="99940" y="140952"/>
                      <a:pt x="99940" y="137729"/>
                      <a:pt x="99940" y="131281"/>
                    </a:cubicBezTo>
                    <a:cubicBezTo>
                      <a:pt x="99940" y="118385"/>
                      <a:pt x="99940" y="111938"/>
                      <a:pt x="106388" y="105490"/>
                    </a:cubicBezTo>
                    <a:cubicBezTo>
                      <a:pt x="109611" y="99042"/>
                      <a:pt x="116059" y="95818"/>
                      <a:pt x="122507" y="95818"/>
                    </a:cubicBezTo>
                    <a:cubicBezTo>
                      <a:pt x="132178" y="92594"/>
                      <a:pt x="138626" y="95818"/>
                      <a:pt x="138626" y="99042"/>
                    </a:cubicBezTo>
                    <a:cubicBezTo>
                      <a:pt x="141850" y="102266"/>
                      <a:pt x="145075" y="105490"/>
                      <a:pt x="148298" y="115161"/>
                    </a:cubicBezTo>
                    <a:cubicBezTo>
                      <a:pt x="151521" y="124833"/>
                      <a:pt x="148298" y="131281"/>
                      <a:pt x="141850" y="137729"/>
                    </a:cubicBezTo>
                    <a:cubicBezTo>
                      <a:pt x="135401" y="144176"/>
                      <a:pt x="128955" y="147400"/>
                      <a:pt x="116059" y="150624"/>
                    </a:cubicBezTo>
                    <a:lnTo>
                      <a:pt x="112836" y="150624"/>
                    </a:lnTo>
                    <a:lnTo>
                      <a:pt x="112836" y="150624"/>
                    </a:lnTo>
                    <a:cubicBezTo>
                      <a:pt x="103163" y="150624"/>
                      <a:pt x="99940" y="160296"/>
                      <a:pt x="99940" y="166744"/>
                    </a:cubicBezTo>
                    <a:lnTo>
                      <a:pt x="103163" y="224773"/>
                    </a:lnTo>
                    <a:cubicBezTo>
                      <a:pt x="103163" y="231221"/>
                      <a:pt x="106388" y="234445"/>
                      <a:pt x="112836" y="237669"/>
                    </a:cubicBezTo>
                    <a:cubicBezTo>
                      <a:pt x="116059" y="240893"/>
                      <a:pt x="119282" y="240893"/>
                      <a:pt x="125730" y="240893"/>
                    </a:cubicBezTo>
                    <a:cubicBezTo>
                      <a:pt x="125730" y="240893"/>
                      <a:pt x="128955" y="240893"/>
                      <a:pt x="128955" y="240893"/>
                    </a:cubicBezTo>
                    <a:cubicBezTo>
                      <a:pt x="138626" y="234445"/>
                      <a:pt x="148298" y="231221"/>
                      <a:pt x="154746" y="231221"/>
                    </a:cubicBezTo>
                    <a:cubicBezTo>
                      <a:pt x="164417" y="231221"/>
                      <a:pt x="170865" y="231221"/>
                      <a:pt x="177313" y="237669"/>
                    </a:cubicBezTo>
                    <a:cubicBezTo>
                      <a:pt x="183760" y="244117"/>
                      <a:pt x="190208" y="253788"/>
                      <a:pt x="193433" y="266684"/>
                    </a:cubicBezTo>
                    <a:cubicBezTo>
                      <a:pt x="196656" y="279579"/>
                      <a:pt x="193433" y="292475"/>
                      <a:pt x="190208" y="298923"/>
                    </a:cubicBezTo>
                    <a:cubicBezTo>
                      <a:pt x="183760" y="308594"/>
                      <a:pt x="177313" y="311818"/>
                      <a:pt x="167640" y="315042"/>
                    </a:cubicBezTo>
                    <a:cubicBezTo>
                      <a:pt x="157969" y="315042"/>
                      <a:pt x="151521" y="315042"/>
                      <a:pt x="145075" y="311818"/>
                    </a:cubicBezTo>
                    <a:cubicBezTo>
                      <a:pt x="138626" y="305370"/>
                      <a:pt x="132178" y="298923"/>
                      <a:pt x="128955" y="286027"/>
                    </a:cubicBezTo>
                    <a:cubicBezTo>
                      <a:pt x="125730" y="276355"/>
                      <a:pt x="119282" y="273132"/>
                      <a:pt x="109611" y="273132"/>
                    </a:cubicBezTo>
                    <a:cubicBezTo>
                      <a:pt x="109611" y="273132"/>
                      <a:pt x="109611" y="273132"/>
                      <a:pt x="106388" y="273132"/>
                    </a:cubicBezTo>
                    <a:lnTo>
                      <a:pt x="41910" y="292475"/>
                    </a:lnTo>
                    <a:cubicBezTo>
                      <a:pt x="32239" y="295699"/>
                      <a:pt x="29014" y="305370"/>
                      <a:pt x="32239" y="315042"/>
                    </a:cubicBezTo>
                    <a:cubicBezTo>
                      <a:pt x="41910" y="347281"/>
                      <a:pt x="61253" y="373072"/>
                      <a:pt x="90268" y="389191"/>
                    </a:cubicBezTo>
                    <a:cubicBezTo>
                      <a:pt x="119282" y="405311"/>
                      <a:pt x="151521" y="411758"/>
                      <a:pt x="186985" y="405311"/>
                    </a:cubicBezTo>
                    <a:cubicBezTo>
                      <a:pt x="225672" y="398863"/>
                      <a:pt x="254685" y="379520"/>
                      <a:pt x="277253" y="350505"/>
                    </a:cubicBezTo>
                    <a:cubicBezTo>
                      <a:pt x="299821" y="321490"/>
                      <a:pt x="306269" y="286027"/>
                      <a:pt x="299821" y="250564"/>
                    </a:cubicBezTo>
                    <a:cubicBezTo>
                      <a:pt x="296595" y="224773"/>
                      <a:pt x="283701" y="205430"/>
                      <a:pt x="264357" y="189311"/>
                    </a:cubicBezTo>
                    <a:cubicBezTo>
                      <a:pt x="254685" y="182863"/>
                      <a:pt x="245014" y="176415"/>
                      <a:pt x="232118" y="169967"/>
                    </a:cubicBezTo>
                    <a:cubicBezTo>
                      <a:pt x="251462" y="147400"/>
                      <a:pt x="257910" y="121609"/>
                      <a:pt x="251462" y="92594"/>
                    </a:cubicBezTo>
                    <a:cubicBezTo>
                      <a:pt x="245014" y="66803"/>
                      <a:pt x="232118" y="44236"/>
                      <a:pt x="209552" y="28117"/>
                    </a:cubicBezTo>
                    <a:cubicBezTo>
                      <a:pt x="177313" y="2326"/>
                      <a:pt x="141850" y="-4122"/>
                      <a:pt x="106388" y="2326"/>
                    </a:cubicBezTo>
                    <a:lnTo>
                      <a:pt x="106388" y="2326"/>
                    </a:ln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2" name="图形 1">
              <a:extLst>
                <a:ext uri="{FF2B5EF4-FFF2-40B4-BE49-F238E27FC236}">
                  <a16:creationId xmlns:a16="http://schemas.microsoft.com/office/drawing/2014/main" id="{D715CC9F-999D-439B-8FBF-DAEA388D5E0C}"/>
                </a:ext>
              </a:extLst>
            </p:cNvPr>
            <p:cNvGrpSpPr/>
            <p:nvPr/>
          </p:nvGrpSpPr>
          <p:grpSpPr>
            <a:xfrm>
              <a:off x="21326163" y="3842038"/>
              <a:ext cx="644776" cy="644776"/>
              <a:chOff x="21326163" y="3842038"/>
              <a:chExt cx="644776" cy="644776"/>
            </a:xfrm>
          </p:grpSpPr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39312DA5-BD2B-48D2-A826-2DC7FD6BB7CE}"/>
                  </a:ext>
                </a:extLst>
              </p:cNvPr>
              <p:cNvSpPr/>
              <p:nvPr/>
            </p:nvSpPr>
            <p:spPr>
              <a:xfrm>
                <a:off x="21326163" y="3848486"/>
                <a:ext cx="644776" cy="638328"/>
              </a:xfrm>
              <a:custGeom>
                <a:avLst/>
                <a:gdLst>
                  <a:gd name="connsiteX0" fmla="*/ 0 w 644776"/>
                  <a:gd name="connsiteY0" fmla="*/ 315940 h 638328"/>
                  <a:gd name="connsiteX1" fmla="*/ 48358 w 644776"/>
                  <a:gd name="connsiteY1" fmla="*/ 483582 h 638328"/>
                  <a:gd name="connsiteX2" fmla="*/ 61253 w 644776"/>
                  <a:gd name="connsiteY2" fmla="*/ 502925 h 638328"/>
                  <a:gd name="connsiteX3" fmla="*/ 286924 w 644776"/>
                  <a:gd name="connsiteY3" fmla="*/ 635104 h 638328"/>
                  <a:gd name="connsiteX4" fmla="*/ 319163 w 644776"/>
                  <a:gd name="connsiteY4" fmla="*/ 638328 h 638328"/>
                  <a:gd name="connsiteX5" fmla="*/ 322388 w 644776"/>
                  <a:gd name="connsiteY5" fmla="*/ 638328 h 638328"/>
                  <a:gd name="connsiteX6" fmla="*/ 554508 w 644776"/>
                  <a:gd name="connsiteY6" fmla="*/ 538388 h 638328"/>
                  <a:gd name="connsiteX7" fmla="*/ 573850 w 644776"/>
                  <a:gd name="connsiteY7" fmla="*/ 519045 h 638328"/>
                  <a:gd name="connsiteX8" fmla="*/ 644776 w 644776"/>
                  <a:gd name="connsiteY8" fmla="*/ 319164 h 638328"/>
                  <a:gd name="connsiteX9" fmla="*/ 644776 w 644776"/>
                  <a:gd name="connsiteY9" fmla="*/ 306269 h 638328"/>
                  <a:gd name="connsiteX10" fmla="*/ 641551 w 644776"/>
                  <a:gd name="connsiteY10" fmla="*/ 277254 h 638328"/>
                  <a:gd name="connsiteX11" fmla="*/ 577073 w 644776"/>
                  <a:gd name="connsiteY11" fmla="*/ 125731 h 638328"/>
                  <a:gd name="connsiteX12" fmla="*/ 560954 w 644776"/>
                  <a:gd name="connsiteY12" fmla="*/ 103164 h 638328"/>
                  <a:gd name="connsiteX13" fmla="*/ 425553 w 644776"/>
                  <a:gd name="connsiteY13" fmla="*/ 16119 h 638328"/>
                  <a:gd name="connsiteX14" fmla="*/ 390089 w 644776"/>
                  <a:gd name="connsiteY14" fmla="*/ 6448 h 638328"/>
                  <a:gd name="connsiteX15" fmla="*/ 322388 w 644776"/>
                  <a:gd name="connsiteY15" fmla="*/ 0 h 638328"/>
                  <a:gd name="connsiteX16" fmla="*/ 254685 w 644776"/>
                  <a:gd name="connsiteY16" fmla="*/ 6448 h 638328"/>
                  <a:gd name="connsiteX17" fmla="*/ 219223 w 644776"/>
                  <a:gd name="connsiteY17" fmla="*/ 16119 h 638328"/>
                  <a:gd name="connsiteX18" fmla="*/ 19342 w 644776"/>
                  <a:gd name="connsiteY18" fmla="*/ 216000 h 638328"/>
                  <a:gd name="connsiteX19" fmla="*/ 9671 w 644776"/>
                  <a:gd name="connsiteY19" fmla="*/ 245015 h 638328"/>
                  <a:gd name="connsiteX20" fmla="*/ 0 w 644776"/>
                  <a:gd name="connsiteY20" fmla="*/ 315940 h 638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44776" h="638328">
                    <a:moveTo>
                      <a:pt x="0" y="315940"/>
                    </a:moveTo>
                    <a:cubicBezTo>
                      <a:pt x="0" y="377194"/>
                      <a:pt x="16119" y="435224"/>
                      <a:pt x="48358" y="483582"/>
                    </a:cubicBezTo>
                    <a:cubicBezTo>
                      <a:pt x="51581" y="490030"/>
                      <a:pt x="58029" y="496478"/>
                      <a:pt x="61253" y="502925"/>
                    </a:cubicBezTo>
                    <a:cubicBezTo>
                      <a:pt x="112836" y="573851"/>
                      <a:pt x="193433" y="622209"/>
                      <a:pt x="286924" y="635104"/>
                    </a:cubicBezTo>
                    <a:cubicBezTo>
                      <a:pt x="296597" y="635104"/>
                      <a:pt x="306269" y="638328"/>
                      <a:pt x="319163" y="638328"/>
                    </a:cubicBezTo>
                    <a:cubicBezTo>
                      <a:pt x="322388" y="638328"/>
                      <a:pt x="322388" y="638328"/>
                      <a:pt x="322388" y="638328"/>
                    </a:cubicBezTo>
                    <a:cubicBezTo>
                      <a:pt x="412656" y="638328"/>
                      <a:pt x="496476" y="599642"/>
                      <a:pt x="554508" y="538388"/>
                    </a:cubicBezTo>
                    <a:cubicBezTo>
                      <a:pt x="560954" y="531940"/>
                      <a:pt x="567402" y="525493"/>
                      <a:pt x="573850" y="519045"/>
                    </a:cubicBezTo>
                    <a:cubicBezTo>
                      <a:pt x="618985" y="464239"/>
                      <a:pt x="644776" y="393313"/>
                      <a:pt x="644776" y="319164"/>
                    </a:cubicBezTo>
                    <a:cubicBezTo>
                      <a:pt x="644776" y="315940"/>
                      <a:pt x="644776" y="309493"/>
                      <a:pt x="644776" y="306269"/>
                    </a:cubicBezTo>
                    <a:cubicBezTo>
                      <a:pt x="644776" y="296597"/>
                      <a:pt x="644776" y="286925"/>
                      <a:pt x="641551" y="277254"/>
                    </a:cubicBezTo>
                    <a:cubicBezTo>
                      <a:pt x="635105" y="219224"/>
                      <a:pt x="612537" y="167642"/>
                      <a:pt x="577073" y="125731"/>
                    </a:cubicBezTo>
                    <a:cubicBezTo>
                      <a:pt x="570627" y="119283"/>
                      <a:pt x="564179" y="112836"/>
                      <a:pt x="560954" y="103164"/>
                    </a:cubicBezTo>
                    <a:cubicBezTo>
                      <a:pt x="525492" y="64478"/>
                      <a:pt x="477134" y="32239"/>
                      <a:pt x="425553" y="16119"/>
                    </a:cubicBezTo>
                    <a:cubicBezTo>
                      <a:pt x="415879" y="12896"/>
                      <a:pt x="402985" y="9672"/>
                      <a:pt x="390089" y="6448"/>
                    </a:cubicBezTo>
                    <a:cubicBezTo>
                      <a:pt x="367521" y="3224"/>
                      <a:pt x="344956" y="0"/>
                      <a:pt x="322388" y="0"/>
                    </a:cubicBezTo>
                    <a:cubicBezTo>
                      <a:pt x="299821" y="0"/>
                      <a:pt x="277253" y="3224"/>
                      <a:pt x="254685" y="6448"/>
                    </a:cubicBezTo>
                    <a:cubicBezTo>
                      <a:pt x="241791" y="9672"/>
                      <a:pt x="232120" y="12896"/>
                      <a:pt x="219223" y="16119"/>
                    </a:cubicBezTo>
                    <a:cubicBezTo>
                      <a:pt x="125730" y="48358"/>
                      <a:pt x="51581" y="122508"/>
                      <a:pt x="19342" y="216000"/>
                    </a:cubicBezTo>
                    <a:cubicBezTo>
                      <a:pt x="16119" y="225672"/>
                      <a:pt x="12894" y="235343"/>
                      <a:pt x="9671" y="245015"/>
                    </a:cubicBezTo>
                    <a:cubicBezTo>
                      <a:pt x="3223" y="264358"/>
                      <a:pt x="0" y="290149"/>
                      <a:pt x="0" y="315940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5AFE421A-8463-40C2-B966-7B632B1BD43F}"/>
                  </a:ext>
                </a:extLst>
              </p:cNvPr>
              <p:cNvSpPr/>
              <p:nvPr/>
            </p:nvSpPr>
            <p:spPr>
              <a:xfrm>
                <a:off x="21332611" y="3842038"/>
                <a:ext cx="638327" cy="641552"/>
              </a:xfrm>
              <a:custGeom>
                <a:avLst/>
                <a:gdLst>
                  <a:gd name="connsiteX0" fmla="*/ 41910 w 638327"/>
                  <a:gd name="connsiteY0" fmla="*/ 490030 h 641552"/>
                  <a:gd name="connsiteX1" fmla="*/ 54804 w 638327"/>
                  <a:gd name="connsiteY1" fmla="*/ 509373 h 641552"/>
                  <a:gd name="connsiteX2" fmla="*/ 248237 w 638327"/>
                  <a:gd name="connsiteY2" fmla="*/ 354627 h 641552"/>
                  <a:gd name="connsiteX3" fmla="*/ 280476 w 638327"/>
                  <a:gd name="connsiteY3" fmla="*/ 332060 h 641552"/>
                  <a:gd name="connsiteX4" fmla="*/ 386866 w 638327"/>
                  <a:gd name="connsiteY4" fmla="*/ 196657 h 641552"/>
                  <a:gd name="connsiteX5" fmla="*/ 464238 w 638327"/>
                  <a:gd name="connsiteY5" fmla="*/ 216000 h 641552"/>
                  <a:gd name="connsiteX6" fmla="*/ 464238 w 638327"/>
                  <a:gd name="connsiteY6" fmla="*/ 306269 h 641552"/>
                  <a:gd name="connsiteX7" fmla="*/ 280476 w 638327"/>
                  <a:gd name="connsiteY7" fmla="*/ 638328 h 641552"/>
                  <a:gd name="connsiteX8" fmla="*/ 312715 w 638327"/>
                  <a:gd name="connsiteY8" fmla="*/ 641552 h 641552"/>
                  <a:gd name="connsiteX9" fmla="*/ 490028 w 638327"/>
                  <a:gd name="connsiteY9" fmla="*/ 309493 h 641552"/>
                  <a:gd name="connsiteX10" fmla="*/ 490028 w 638327"/>
                  <a:gd name="connsiteY10" fmla="*/ 225672 h 641552"/>
                  <a:gd name="connsiteX11" fmla="*/ 522267 w 638327"/>
                  <a:gd name="connsiteY11" fmla="*/ 238567 h 641552"/>
                  <a:gd name="connsiteX12" fmla="*/ 548060 w 638327"/>
                  <a:gd name="connsiteY12" fmla="*/ 541612 h 641552"/>
                  <a:gd name="connsiteX13" fmla="*/ 567402 w 638327"/>
                  <a:gd name="connsiteY13" fmla="*/ 522269 h 641552"/>
                  <a:gd name="connsiteX14" fmla="*/ 544835 w 638327"/>
                  <a:gd name="connsiteY14" fmla="*/ 248239 h 641552"/>
                  <a:gd name="connsiteX15" fmla="*/ 638328 w 638327"/>
                  <a:gd name="connsiteY15" fmla="*/ 306269 h 641552"/>
                  <a:gd name="connsiteX16" fmla="*/ 635103 w 638327"/>
                  <a:gd name="connsiteY16" fmla="*/ 277254 h 641552"/>
                  <a:gd name="connsiteX17" fmla="*/ 548060 w 638327"/>
                  <a:gd name="connsiteY17" fmla="*/ 225672 h 641552"/>
                  <a:gd name="connsiteX18" fmla="*/ 573850 w 638327"/>
                  <a:gd name="connsiteY18" fmla="*/ 125731 h 641552"/>
                  <a:gd name="connsiteX19" fmla="*/ 557731 w 638327"/>
                  <a:gd name="connsiteY19" fmla="*/ 103164 h 641552"/>
                  <a:gd name="connsiteX20" fmla="*/ 528715 w 638327"/>
                  <a:gd name="connsiteY20" fmla="*/ 212776 h 641552"/>
                  <a:gd name="connsiteX21" fmla="*/ 490028 w 638327"/>
                  <a:gd name="connsiteY21" fmla="*/ 196657 h 641552"/>
                  <a:gd name="connsiteX22" fmla="*/ 422328 w 638327"/>
                  <a:gd name="connsiteY22" fmla="*/ 12896 h 641552"/>
                  <a:gd name="connsiteX23" fmla="*/ 386866 w 638327"/>
                  <a:gd name="connsiteY23" fmla="*/ 3224 h 641552"/>
                  <a:gd name="connsiteX24" fmla="*/ 386866 w 638327"/>
                  <a:gd name="connsiteY24" fmla="*/ 3224 h 641552"/>
                  <a:gd name="connsiteX25" fmla="*/ 464238 w 638327"/>
                  <a:gd name="connsiteY25" fmla="*/ 186985 h 641552"/>
                  <a:gd name="connsiteX26" fmla="*/ 393312 w 638327"/>
                  <a:gd name="connsiteY26" fmla="*/ 167642 h 641552"/>
                  <a:gd name="connsiteX27" fmla="*/ 390089 w 638327"/>
                  <a:gd name="connsiteY27" fmla="*/ 148299 h 641552"/>
                  <a:gd name="connsiteX28" fmla="*/ 248237 w 638327"/>
                  <a:gd name="connsiteY28" fmla="*/ 0 h 641552"/>
                  <a:gd name="connsiteX29" fmla="*/ 212775 w 638327"/>
                  <a:gd name="connsiteY29" fmla="*/ 9672 h 641552"/>
                  <a:gd name="connsiteX30" fmla="*/ 364298 w 638327"/>
                  <a:gd name="connsiteY30" fmla="*/ 151522 h 641552"/>
                  <a:gd name="connsiteX31" fmla="*/ 364298 w 638327"/>
                  <a:gd name="connsiteY31" fmla="*/ 161194 h 641552"/>
                  <a:gd name="connsiteX32" fmla="*/ 9671 w 638327"/>
                  <a:gd name="connsiteY32" fmla="*/ 209552 h 641552"/>
                  <a:gd name="connsiteX33" fmla="*/ 0 w 638327"/>
                  <a:gd name="connsiteY33" fmla="*/ 238567 h 641552"/>
                  <a:gd name="connsiteX34" fmla="*/ 186985 w 638327"/>
                  <a:gd name="connsiteY34" fmla="*/ 183761 h 641552"/>
                  <a:gd name="connsiteX35" fmla="*/ 361073 w 638327"/>
                  <a:gd name="connsiteY35" fmla="*/ 183761 h 641552"/>
                  <a:gd name="connsiteX36" fmla="*/ 267582 w 638327"/>
                  <a:gd name="connsiteY36" fmla="*/ 306269 h 641552"/>
                  <a:gd name="connsiteX37" fmla="*/ 235343 w 638327"/>
                  <a:gd name="connsiteY37" fmla="*/ 328836 h 641552"/>
                  <a:gd name="connsiteX38" fmla="*/ 41910 w 638327"/>
                  <a:gd name="connsiteY38" fmla="*/ 490030 h 641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638327" h="641552">
                    <a:moveTo>
                      <a:pt x="41910" y="490030"/>
                    </a:moveTo>
                    <a:cubicBezTo>
                      <a:pt x="45133" y="496478"/>
                      <a:pt x="51581" y="502925"/>
                      <a:pt x="54804" y="509373"/>
                    </a:cubicBezTo>
                    <a:cubicBezTo>
                      <a:pt x="106388" y="448119"/>
                      <a:pt x="177313" y="402985"/>
                      <a:pt x="248237" y="354627"/>
                    </a:cubicBezTo>
                    <a:lnTo>
                      <a:pt x="280476" y="332060"/>
                    </a:lnTo>
                    <a:cubicBezTo>
                      <a:pt x="354627" y="283701"/>
                      <a:pt x="380418" y="235343"/>
                      <a:pt x="386866" y="196657"/>
                    </a:cubicBezTo>
                    <a:cubicBezTo>
                      <a:pt x="412656" y="203104"/>
                      <a:pt x="438447" y="209552"/>
                      <a:pt x="464238" y="216000"/>
                    </a:cubicBezTo>
                    <a:cubicBezTo>
                      <a:pt x="467463" y="245015"/>
                      <a:pt x="467463" y="274030"/>
                      <a:pt x="464238" y="306269"/>
                    </a:cubicBezTo>
                    <a:cubicBezTo>
                      <a:pt x="451343" y="422328"/>
                      <a:pt x="390089" y="535164"/>
                      <a:pt x="280476" y="638328"/>
                    </a:cubicBezTo>
                    <a:cubicBezTo>
                      <a:pt x="290149" y="638328"/>
                      <a:pt x="299821" y="641552"/>
                      <a:pt x="312715" y="641552"/>
                    </a:cubicBezTo>
                    <a:cubicBezTo>
                      <a:pt x="419104" y="538388"/>
                      <a:pt x="477134" y="425552"/>
                      <a:pt x="490028" y="309493"/>
                    </a:cubicBezTo>
                    <a:cubicBezTo>
                      <a:pt x="493253" y="280478"/>
                      <a:pt x="493253" y="251463"/>
                      <a:pt x="490028" y="225672"/>
                    </a:cubicBezTo>
                    <a:cubicBezTo>
                      <a:pt x="499702" y="228896"/>
                      <a:pt x="512596" y="235343"/>
                      <a:pt x="522267" y="238567"/>
                    </a:cubicBezTo>
                    <a:cubicBezTo>
                      <a:pt x="509373" y="322388"/>
                      <a:pt x="512596" y="425552"/>
                      <a:pt x="548060" y="541612"/>
                    </a:cubicBezTo>
                    <a:cubicBezTo>
                      <a:pt x="554506" y="535164"/>
                      <a:pt x="560954" y="528716"/>
                      <a:pt x="567402" y="522269"/>
                    </a:cubicBezTo>
                    <a:cubicBezTo>
                      <a:pt x="535163" y="419105"/>
                      <a:pt x="535163" y="325612"/>
                      <a:pt x="544835" y="248239"/>
                    </a:cubicBezTo>
                    <a:cubicBezTo>
                      <a:pt x="577073" y="264358"/>
                      <a:pt x="609312" y="283701"/>
                      <a:pt x="638328" y="306269"/>
                    </a:cubicBezTo>
                    <a:cubicBezTo>
                      <a:pt x="638328" y="296597"/>
                      <a:pt x="638328" y="286925"/>
                      <a:pt x="635103" y="277254"/>
                    </a:cubicBezTo>
                    <a:cubicBezTo>
                      <a:pt x="606089" y="257911"/>
                      <a:pt x="577073" y="238567"/>
                      <a:pt x="548060" y="225672"/>
                    </a:cubicBezTo>
                    <a:cubicBezTo>
                      <a:pt x="554506" y="183761"/>
                      <a:pt x="564179" y="151522"/>
                      <a:pt x="573850" y="125731"/>
                    </a:cubicBezTo>
                    <a:cubicBezTo>
                      <a:pt x="567402" y="119284"/>
                      <a:pt x="560954" y="112836"/>
                      <a:pt x="557731" y="103164"/>
                    </a:cubicBezTo>
                    <a:cubicBezTo>
                      <a:pt x="548060" y="128955"/>
                      <a:pt x="538387" y="167642"/>
                      <a:pt x="528715" y="212776"/>
                    </a:cubicBezTo>
                    <a:cubicBezTo>
                      <a:pt x="515821" y="206328"/>
                      <a:pt x="502925" y="199881"/>
                      <a:pt x="490028" y="196657"/>
                    </a:cubicBezTo>
                    <a:cubicBezTo>
                      <a:pt x="477134" y="112836"/>
                      <a:pt x="444895" y="48358"/>
                      <a:pt x="422328" y="12896"/>
                    </a:cubicBezTo>
                    <a:cubicBezTo>
                      <a:pt x="412656" y="9672"/>
                      <a:pt x="399760" y="6448"/>
                      <a:pt x="386866" y="3224"/>
                    </a:cubicBezTo>
                    <a:lnTo>
                      <a:pt x="386866" y="3224"/>
                    </a:lnTo>
                    <a:cubicBezTo>
                      <a:pt x="386866" y="3224"/>
                      <a:pt x="444895" y="77373"/>
                      <a:pt x="464238" y="186985"/>
                    </a:cubicBezTo>
                    <a:cubicBezTo>
                      <a:pt x="441670" y="180537"/>
                      <a:pt x="415879" y="174089"/>
                      <a:pt x="393312" y="167642"/>
                    </a:cubicBezTo>
                    <a:cubicBezTo>
                      <a:pt x="393312" y="161194"/>
                      <a:pt x="393312" y="154746"/>
                      <a:pt x="390089" y="148299"/>
                    </a:cubicBezTo>
                    <a:cubicBezTo>
                      <a:pt x="377192" y="83821"/>
                      <a:pt x="319163" y="32239"/>
                      <a:pt x="248237" y="0"/>
                    </a:cubicBezTo>
                    <a:cubicBezTo>
                      <a:pt x="235343" y="3224"/>
                      <a:pt x="225672" y="6448"/>
                      <a:pt x="212775" y="9672"/>
                    </a:cubicBezTo>
                    <a:cubicBezTo>
                      <a:pt x="296595" y="41910"/>
                      <a:pt x="354627" y="93492"/>
                      <a:pt x="364298" y="151522"/>
                    </a:cubicBezTo>
                    <a:cubicBezTo>
                      <a:pt x="364298" y="154746"/>
                      <a:pt x="364298" y="157970"/>
                      <a:pt x="364298" y="161194"/>
                    </a:cubicBezTo>
                    <a:cubicBezTo>
                      <a:pt x="219223" y="138627"/>
                      <a:pt x="90268" y="177314"/>
                      <a:pt x="9671" y="209552"/>
                    </a:cubicBezTo>
                    <a:cubicBezTo>
                      <a:pt x="6446" y="219224"/>
                      <a:pt x="3223" y="228896"/>
                      <a:pt x="0" y="238567"/>
                    </a:cubicBezTo>
                    <a:cubicBezTo>
                      <a:pt x="45133" y="219224"/>
                      <a:pt x="109611" y="193433"/>
                      <a:pt x="186985" y="183761"/>
                    </a:cubicBezTo>
                    <a:cubicBezTo>
                      <a:pt x="245014" y="174089"/>
                      <a:pt x="303044" y="177314"/>
                      <a:pt x="361073" y="183761"/>
                    </a:cubicBezTo>
                    <a:cubicBezTo>
                      <a:pt x="354627" y="225672"/>
                      <a:pt x="322388" y="267582"/>
                      <a:pt x="267582" y="306269"/>
                    </a:cubicBezTo>
                    <a:lnTo>
                      <a:pt x="235343" y="328836"/>
                    </a:lnTo>
                    <a:cubicBezTo>
                      <a:pt x="167640" y="380418"/>
                      <a:pt x="93491" y="428776"/>
                      <a:pt x="41910" y="49003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67DB8265-9B58-4DE9-ACEF-1BD52DB4F525}"/>
                </a:ext>
              </a:extLst>
            </p:cNvPr>
            <p:cNvSpPr/>
            <p:nvPr/>
          </p:nvSpPr>
          <p:spPr>
            <a:xfrm>
              <a:off x="22660848" y="2952247"/>
              <a:ext cx="657672" cy="702805"/>
            </a:xfrm>
            <a:custGeom>
              <a:avLst/>
              <a:gdLst>
                <a:gd name="connsiteX0" fmla="*/ 432001 w 657672"/>
                <a:gd name="connsiteY0" fmla="*/ 0 h 702805"/>
                <a:gd name="connsiteX1" fmla="*/ 373971 w 657672"/>
                <a:gd name="connsiteY1" fmla="*/ 428776 h 702805"/>
                <a:gd name="connsiteX2" fmla="*/ 0 w 657672"/>
                <a:gd name="connsiteY2" fmla="*/ 602866 h 702805"/>
                <a:gd name="connsiteX3" fmla="*/ 74151 w 657672"/>
                <a:gd name="connsiteY3" fmla="*/ 702806 h 702805"/>
                <a:gd name="connsiteX4" fmla="*/ 564179 w 657672"/>
                <a:gd name="connsiteY4" fmla="*/ 519045 h 702805"/>
                <a:gd name="connsiteX5" fmla="*/ 657672 w 657672"/>
                <a:gd name="connsiteY5" fmla="*/ 41910 h 702805"/>
                <a:gd name="connsiteX6" fmla="*/ 432001 w 657672"/>
                <a:gd name="connsiteY6" fmla="*/ 0 h 702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7672" h="702805">
                  <a:moveTo>
                    <a:pt x="432001" y="0"/>
                  </a:moveTo>
                  <a:lnTo>
                    <a:pt x="373971" y="428776"/>
                  </a:lnTo>
                  <a:lnTo>
                    <a:pt x="0" y="602866"/>
                  </a:lnTo>
                  <a:lnTo>
                    <a:pt x="74151" y="702806"/>
                  </a:lnTo>
                  <a:cubicBezTo>
                    <a:pt x="74151" y="702806"/>
                    <a:pt x="493255" y="589970"/>
                    <a:pt x="564179" y="519045"/>
                  </a:cubicBezTo>
                  <a:cubicBezTo>
                    <a:pt x="635105" y="448119"/>
                    <a:pt x="657672" y="41910"/>
                    <a:pt x="657672" y="41910"/>
                  </a:cubicBezTo>
                  <a:lnTo>
                    <a:pt x="432001" y="0"/>
                  </a:ln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4" name="图形 1">
              <a:extLst>
                <a:ext uri="{FF2B5EF4-FFF2-40B4-BE49-F238E27FC236}">
                  <a16:creationId xmlns:a16="http://schemas.microsoft.com/office/drawing/2014/main" id="{42F5C98C-D006-48C2-AB99-E52AE7BB2FE0}"/>
                </a:ext>
              </a:extLst>
            </p:cNvPr>
            <p:cNvGrpSpPr/>
            <p:nvPr/>
          </p:nvGrpSpPr>
          <p:grpSpPr>
            <a:xfrm>
              <a:off x="22464192" y="3538993"/>
              <a:ext cx="288014" cy="226093"/>
              <a:chOff x="22464192" y="3538993"/>
              <a:chExt cx="288014" cy="226093"/>
            </a:xfrm>
          </p:grpSpPr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D2BAA7C0-1E0C-4D0A-954D-952EB77F472C}"/>
                  </a:ext>
                </a:extLst>
              </p:cNvPr>
              <p:cNvSpPr/>
              <p:nvPr/>
            </p:nvSpPr>
            <p:spPr>
              <a:xfrm>
                <a:off x="22466118" y="3538993"/>
                <a:ext cx="286089" cy="226093"/>
              </a:xfrm>
              <a:custGeom>
                <a:avLst/>
                <a:gdLst>
                  <a:gd name="connsiteX0" fmla="*/ 285000 w 286089"/>
                  <a:gd name="connsiteY0" fmla="*/ 80597 h 226093"/>
                  <a:gd name="connsiteX1" fmla="*/ 223746 w 286089"/>
                  <a:gd name="connsiteY1" fmla="*/ 0 h 226093"/>
                  <a:gd name="connsiteX2" fmla="*/ 39984 w 286089"/>
                  <a:gd name="connsiteY2" fmla="*/ 87045 h 226093"/>
                  <a:gd name="connsiteX3" fmla="*/ 4522 w 286089"/>
                  <a:gd name="connsiteY3" fmla="*/ 135403 h 226093"/>
                  <a:gd name="connsiteX4" fmla="*/ 20642 w 286089"/>
                  <a:gd name="connsiteY4" fmla="*/ 135403 h 226093"/>
                  <a:gd name="connsiteX5" fmla="*/ 52880 w 286089"/>
                  <a:gd name="connsiteY5" fmla="*/ 122507 h 226093"/>
                  <a:gd name="connsiteX6" fmla="*/ 20642 w 286089"/>
                  <a:gd name="connsiteY6" fmla="*/ 157970 h 226093"/>
                  <a:gd name="connsiteX7" fmla="*/ 1297 w 286089"/>
                  <a:gd name="connsiteY7" fmla="*/ 206328 h 226093"/>
                  <a:gd name="connsiteX8" fmla="*/ 27090 w 286089"/>
                  <a:gd name="connsiteY8" fmla="*/ 206328 h 226093"/>
                  <a:gd name="connsiteX9" fmla="*/ 33536 w 286089"/>
                  <a:gd name="connsiteY9" fmla="*/ 219224 h 226093"/>
                  <a:gd name="connsiteX10" fmla="*/ 91567 w 286089"/>
                  <a:gd name="connsiteY10" fmla="*/ 199881 h 226093"/>
                  <a:gd name="connsiteX11" fmla="*/ 127029 w 286089"/>
                  <a:gd name="connsiteY11" fmla="*/ 177313 h 226093"/>
                  <a:gd name="connsiteX12" fmla="*/ 107687 w 286089"/>
                  <a:gd name="connsiteY12" fmla="*/ 225672 h 226093"/>
                  <a:gd name="connsiteX13" fmla="*/ 146372 w 286089"/>
                  <a:gd name="connsiteY13" fmla="*/ 206328 h 226093"/>
                  <a:gd name="connsiteX14" fmla="*/ 204403 w 286089"/>
                  <a:gd name="connsiteY14" fmla="*/ 154746 h 226093"/>
                  <a:gd name="connsiteX15" fmla="*/ 265656 w 286089"/>
                  <a:gd name="connsiteY15" fmla="*/ 112836 h 226093"/>
                  <a:gd name="connsiteX16" fmla="*/ 285000 w 286089"/>
                  <a:gd name="connsiteY16" fmla="*/ 80597 h 226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6089" h="226093">
                    <a:moveTo>
                      <a:pt x="285000" y="80597"/>
                    </a:moveTo>
                    <a:cubicBezTo>
                      <a:pt x="278552" y="48358"/>
                      <a:pt x="223746" y="0"/>
                      <a:pt x="223746" y="0"/>
                    </a:cubicBezTo>
                    <a:cubicBezTo>
                      <a:pt x="162491" y="29015"/>
                      <a:pt x="94791" y="51582"/>
                      <a:pt x="39984" y="87045"/>
                    </a:cubicBezTo>
                    <a:cubicBezTo>
                      <a:pt x="30313" y="93492"/>
                      <a:pt x="-11597" y="119283"/>
                      <a:pt x="4522" y="135403"/>
                    </a:cubicBezTo>
                    <a:cubicBezTo>
                      <a:pt x="10970" y="141851"/>
                      <a:pt x="14193" y="138627"/>
                      <a:pt x="20642" y="135403"/>
                    </a:cubicBezTo>
                    <a:cubicBezTo>
                      <a:pt x="30313" y="132179"/>
                      <a:pt x="43209" y="128955"/>
                      <a:pt x="52880" y="122507"/>
                    </a:cubicBezTo>
                    <a:cubicBezTo>
                      <a:pt x="39984" y="132179"/>
                      <a:pt x="30313" y="145075"/>
                      <a:pt x="20642" y="157970"/>
                    </a:cubicBezTo>
                    <a:cubicBezTo>
                      <a:pt x="14193" y="167642"/>
                      <a:pt x="-5149" y="193433"/>
                      <a:pt x="1297" y="206328"/>
                    </a:cubicBezTo>
                    <a:cubicBezTo>
                      <a:pt x="4522" y="212776"/>
                      <a:pt x="14193" y="212776"/>
                      <a:pt x="27090" y="206328"/>
                    </a:cubicBezTo>
                    <a:cubicBezTo>
                      <a:pt x="27090" y="212776"/>
                      <a:pt x="27090" y="216000"/>
                      <a:pt x="33536" y="219224"/>
                    </a:cubicBezTo>
                    <a:cubicBezTo>
                      <a:pt x="49655" y="225672"/>
                      <a:pt x="78671" y="206328"/>
                      <a:pt x="91567" y="199881"/>
                    </a:cubicBezTo>
                    <a:cubicBezTo>
                      <a:pt x="104462" y="193433"/>
                      <a:pt x="117358" y="183761"/>
                      <a:pt x="127029" y="177313"/>
                    </a:cubicBezTo>
                    <a:cubicBezTo>
                      <a:pt x="107687" y="196657"/>
                      <a:pt x="91567" y="219224"/>
                      <a:pt x="107687" y="225672"/>
                    </a:cubicBezTo>
                    <a:cubicBezTo>
                      <a:pt x="117358" y="228895"/>
                      <a:pt x="139926" y="212776"/>
                      <a:pt x="146372" y="206328"/>
                    </a:cubicBezTo>
                    <a:cubicBezTo>
                      <a:pt x="165716" y="190209"/>
                      <a:pt x="185059" y="170866"/>
                      <a:pt x="204403" y="154746"/>
                    </a:cubicBezTo>
                    <a:cubicBezTo>
                      <a:pt x="223746" y="138627"/>
                      <a:pt x="246313" y="125731"/>
                      <a:pt x="265656" y="112836"/>
                    </a:cubicBezTo>
                    <a:cubicBezTo>
                      <a:pt x="285000" y="103164"/>
                      <a:pt x="288223" y="99940"/>
                      <a:pt x="285000" y="80597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A60D48C8-F742-4918-95AE-C90A9F743501}"/>
                  </a:ext>
                </a:extLst>
              </p:cNvPr>
              <p:cNvSpPr/>
              <p:nvPr/>
            </p:nvSpPr>
            <p:spPr>
              <a:xfrm>
                <a:off x="22464192" y="3587352"/>
                <a:ext cx="119283" cy="99940"/>
              </a:xfrm>
              <a:custGeom>
                <a:avLst/>
                <a:gdLst>
                  <a:gd name="connsiteX0" fmla="*/ 19342 w 119283"/>
                  <a:gd name="connsiteY0" fmla="*/ 99940 h 99940"/>
                  <a:gd name="connsiteX1" fmla="*/ 6448 w 119283"/>
                  <a:gd name="connsiteY1" fmla="*/ 96716 h 99940"/>
                  <a:gd name="connsiteX2" fmla="*/ 0 w 119283"/>
                  <a:gd name="connsiteY2" fmla="*/ 83821 h 99940"/>
                  <a:gd name="connsiteX3" fmla="*/ 112836 w 119283"/>
                  <a:gd name="connsiteY3" fmla="*/ 0 h 99940"/>
                  <a:gd name="connsiteX4" fmla="*/ 119284 w 119283"/>
                  <a:gd name="connsiteY4" fmla="*/ 3224 h 99940"/>
                  <a:gd name="connsiteX5" fmla="*/ 116059 w 119283"/>
                  <a:gd name="connsiteY5" fmla="*/ 9672 h 99940"/>
                  <a:gd name="connsiteX6" fmla="*/ 9671 w 119283"/>
                  <a:gd name="connsiteY6" fmla="*/ 83821 h 99940"/>
                  <a:gd name="connsiteX7" fmla="*/ 9671 w 119283"/>
                  <a:gd name="connsiteY7" fmla="*/ 87045 h 99940"/>
                  <a:gd name="connsiteX8" fmla="*/ 51581 w 119283"/>
                  <a:gd name="connsiteY8" fmla="*/ 74149 h 99940"/>
                  <a:gd name="connsiteX9" fmla="*/ 109613 w 119283"/>
                  <a:gd name="connsiteY9" fmla="*/ 38686 h 99940"/>
                  <a:gd name="connsiteX10" fmla="*/ 116059 w 119283"/>
                  <a:gd name="connsiteY10" fmla="*/ 45134 h 99940"/>
                  <a:gd name="connsiteX11" fmla="*/ 109613 w 119283"/>
                  <a:gd name="connsiteY11" fmla="*/ 51582 h 99940"/>
                  <a:gd name="connsiteX12" fmla="*/ 58029 w 119283"/>
                  <a:gd name="connsiteY12" fmla="*/ 83821 h 99940"/>
                  <a:gd name="connsiteX13" fmla="*/ 19342 w 119283"/>
                  <a:gd name="connsiteY13" fmla="*/ 99940 h 99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9283" h="99940">
                    <a:moveTo>
                      <a:pt x="19342" y="99940"/>
                    </a:moveTo>
                    <a:cubicBezTo>
                      <a:pt x="12896" y="99940"/>
                      <a:pt x="9671" y="99940"/>
                      <a:pt x="6448" y="96716"/>
                    </a:cubicBezTo>
                    <a:cubicBezTo>
                      <a:pt x="3223" y="93492"/>
                      <a:pt x="0" y="90269"/>
                      <a:pt x="0" y="83821"/>
                    </a:cubicBezTo>
                    <a:cubicBezTo>
                      <a:pt x="3223" y="61254"/>
                      <a:pt x="48358" y="29015"/>
                      <a:pt x="112836" y="0"/>
                    </a:cubicBezTo>
                    <a:cubicBezTo>
                      <a:pt x="116059" y="0"/>
                      <a:pt x="119284" y="0"/>
                      <a:pt x="119284" y="3224"/>
                    </a:cubicBezTo>
                    <a:cubicBezTo>
                      <a:pt x="119284" y="6448"/>
                      <a:pt x="119284" y="9672"/>
                      <a:pt x="116059" y="9672"/>
                    </a:cubicBezTo>
                    <a:cubicBezTo>
                      <a:pt x="45135" y="38686"/>
                      <a:pt x="12896" y="70925"/>
                      <a:pt x="9671" y="83821"/>
                    </a:cubicBezTo>
                    <a:cubicBezTo>
                      <a:pt x="9671" y="83821"/>
                      <a:pt x="9671" y="83821"/>
                      <a:pt x="9671" y="87045"/>
                    </a:cubicBezTo>
                    <a:cubicBezTo>
                      <a:pt x="19342" y="93492"/>
                      <a:pt x="41910" y="80597"/>
                      <a:pt x="51581" y="74149"/>
                    </a:cubicBezTo>
                    <a:cubicBezTo>
                      <a:pt x="64478" y="64478"/>
                      <a:pt x="99940" y="38686"/>
                      <a:pt x="109613" y="38686"/>
                    </a:cubicBezTo>
                    <a:cubicBezTo>
                      <a:pt x="112836" y="38686"/>
                      <a:pt x="116059" y="41910"/>
                      <a:pt x="116059" y="45134"/>
                    </a:cubicBezTo>
                    <a:cubicBezTo>
                      <a:pt x="116059" y="48358"/>
                      <a:pt x="112836" y="51582"/>
                      <a:pt x="109613" y="51582"/>
                    </a:cubicBezTo>
                    <a:cubicBezTo>
                      <a:pt x="103165" y="51582"/>
                      <a:pt x="77374" y="67701"/>
                      <a:pt x="58029" y="83821"/>
                    </a:cubicBezTo>
                    <a:cubicBezTo>
                      <a:pt x="58029" y="83821"/>
                      <a:pt x="35462" y="99940"/>
                      <a:pt x="19342" y="9994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9F60468D-1A62-435C-8F15-8772ADF56F35}"/>
                  </a:ext>
                </a:extLst>
              </p:cNvPr>
              <p:cNvSpPr/>
              <p:nvPr/>
            </p:nvSpPr>
            <p:spPr>
              <a:xfrm>
                <a:off x="22490789" y="3658277"/>
                <a:ext cx="105581" cy="96716"/>
              </a:xfrm>
              <a:custGeom>
                <a:avLst/>
                <a:gdLst>
                  <a:gd name="connsiteX0" fmla="*/ 5642 w 105581"/>
                  <a:gd name="connsiteY0" fmla="*/ 96716 h 96716"/>
                  <a:gd name="connsiteX1" fmla="*/ 2419 w 105581"/>
                  <a:gd name="connsiteY1" fmla="*/ 96716 h 96716"/>
                  <a:gd name="connsiteX2" fmla="*/ 2419 w 105581"/>
                  <a:gd name="connsiteY2" fmla="*/ 87045 h 96716"/>
                  <a:gd name="connsiteX3" fmla="*/ 99135 w 105581"/>
                  <a:gd name="connsiteY3" fmla="*/ 0 h 96716"/>
                  <a:gd name="connsiteX4" fmla="*/ 105581 w 105581"/>
                  <a:gd name="connsiteY4" fmla="*/ 3224 h 96716"/>
                  <a:gd name="connsiteX5" fmla="*/ 102358 w 105581"/>
                  <a:gd name="connsiteY5" fmla="*/ 9672 h 96716"/>
                  <a:gd name="connsiteX6" fmla="*/ 8865 w 105581"/>
                  <a:gd name="connsiteY6" fmla="*/ 93493 h 96716"/>
                  <a:gd name="connsiteX7" fmla="*/ 5642 w 105581"/>
                  <a:gd name="connsiteY7" fmla="*/ 96716 h 96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5581" h="96716">
                    <a:moveTo>
                      <a:pt x="5642" y="96716"/>
                    </a:moveTo>
                    <a:cubicBezTo>
                      <a:pt x="5642" y="96716"/>
                      <a:pt x="2419" y="96716"/>
                      <a:pt x="2419" y="96716"/>
                    </a:cubicBezTo>
                    <a:cubicBezTo>
                      <a:pt x="-806" y="93493"/>
                      <a:pt x="-806" y="90269"/>
                      <a:pt x="2419" y="87045"/>
                    </a:cubicBezTo>
                    <a:cubicBezTo>
                      <a:pt x="5642" y="83821"/>
                      <a:pt x="73343" y="12896"/>
                      <a:pt x="99135" y="0"/>
                    </a:cubicBezTo>
                    <a:cubicBezTo>
                      <a:pt x="102358" y="0"/>
                      <a:pt x="105581" y="0"/>
                      <a:pt x="105581" y="3224"/>
                    </a:cubicBezTo>
                    <a:cubicBezTo>
                      <a:pt x="105581" y="6448"/>
                      <a:pt x="105581" y="9672"/>
                      <a:pt x="102358" y="9672"/>
                    </a:cubicBezTo>
                    <a:cubicBezTo>
                      <a:pt x="83016" y="16119"/>
                      <a:pt x="28209" y="70925"/>
                      <a:pt x="8865" y="93493"/>
                    </a:cubicBezTo>
                    <a:cubicBezTo>
                      <a:pt x="8865" y="96716"/>
                      <a:pt x="5642" y="96716"/>
                      <a:pt x="5642" y="9671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4D6DDA37-3545-4DC3-B403-00CF2D0AB9CB}"/>
                  </a:ext>
                </a:extLst>
              </p:cNvPr>
              <p:cNvSpPr/>
              <p:nvPr/>
            </p:nvSpPr>
            <p:spPr>
              <a:xfrm>
                <a:off x="22585267" y="3689083"/>
                <a:ext cx="48000" cy="36895"/>
              </a:xfrm>
              <a:custGeom>
                <a:avLst/>
                <a:gdLst>
                  <a:gd name="connsiteX0" fmla="*/ 7881 w 48000"/>
                  <a:gd name="connsiteY0" fmla="*/ 36896 h 36895"/>
                  <a:gd name="connsiteX1" fmla="*/ 1432 w 48000"/>
                  <a:gd name="connsiteY1" fmla="*/ 33672 h 36895"/>
                  <a:gd name="connsiteX2" fmla="*/ 1432 w 48000"/>
                  <a:gd name="connsiteY2" fmla="*/ 24000 h 36895"/>
                  <a:gd name="connsiteX3" fmla="*/ 36896 w 48000"/>
                  <a:gd name="connsiteY3" fmla="*/ 1433 h 36895"/>
                  <a:gd name="connsiteX4" fmla="*/ 46568 w 48000"/>
                  <a:gd name="connsiteY4" fmla="*/ 1433 h 36895"/>
                  <a:gd name="connsiteX5" fmla="*/ 46568 w 48000"/>
                  <a:gd name="connsiteY5" fmla="*/ 11105 h 36895"/>
                  <a:gd name="connsiteX6" fmla="*/ 11104 w 48000"/>
                  <a:gd name="connsiteY6" fmla="*/ 33672 h 36895"/>
                  <a:gd name="connsiteX7" fmla="*/ 7881 w 48000"/>
                  <a:gd name="connsiteY7" fmla="*/ 36896 h 36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000" h="36895">
                    <a:moveTo>
                      <a:pt x="7881" y="36896"/>
                    </a:moveTo>
                    <a:cubicBezTo>
                      <a:pt x="4658" y="36896"/>
                      <a:pt x="4658" y="36896"/>
                      <a:pt x="1432" y="33672"/>
                    </a:cubicBezTo>
                    <a:cubicBezTo>
                      <a:pt x="-1791" y="30448"/>
                      <a:pt x="1432" y="27224"/>
                      <a:pt x="1432" y="24000"/>
                    </a:cubicBezTo>
                    <a:lnTo>
                      <a:pt x="36896" y="1433"/>
                    </a:lnTo>
                    <a:cubicBezTo>
                      <a:pt x="40119" y="-1791"/>
                      <a:pt x="43343" y="1433"/>
                      <a:pt x="46568" y="1433"/>
                    </a:cubicBezTo>
                    <a:cubicBezTo>
                      <a:pt x="49791" y="4657"/>
                      <a:pt x="46568" y="7881"/>
                      <a:pt x="46568" y="11105"/>
                    </a:cubicBezTo>
                    <a:lnTo>
                      <a:pt x="11104" y="33672"/>
                    </a:lnTo>
                    <a:cubicBezTo>
                      <a:pt x="11104" y="33672"/>
                      <a:pt x="11104" y="36896"/>
                      <a:pt x="7881" y="3689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0080906B-1AAB-4675-ABE4-A16E9225A8D4}"/>
                  </a:ext>
                </a:extLst>
              </p:cNvPr>
              <p:cNvSpPr/>
              <p:nvPr/>
            </p:nvSpPr>
            <p:spPr>
              <a:xfrm>
                <a:off x="22615715" y="3603471"/>
                <a:ext cx="54000" cy="77373"/>
              </a:xfrm>
              <a:custGeom>
                <a:avLst/>
                <a:gdLst>
                  <a:gd name="connsiteX0" fmla="*/ 45133 w 54000"/>
                  <a:gd name="connsiteY0" fmla="*/ 77373 h 77373"/>
                  <a:gd name="connsiteX1" fmla="*/ 41910 w 54000"/>
                  <a:gd name="connsiteY1" fmla="*/ 77373 h 77373"/>
                  <a:gd name="connsiteX2" fmla="*/ 0 w 54000"/>
                  <a:gd name="connsiteY2" fmla="*/ 6448 h 77373"/>
                  <a:gd name="connsiteX3" fmla="*/ 6448 w 54000"/>
                  <a:gd name="connsiteY3" fmla="*/ 0 h 77373"/>
                  <a:gd name="connsiteX4" fmla="*/ 12894 w 54000"/>
                  <a:gd name="connsiteY4" fmla="*/ 6448 h 77373"/>
                  <a:gd name="connsiteX5" fmla="*/ 51581 w 54000"/>
                  <a:gd name="connsiteY5" fmla="*/ 67701 h 77373"/>
                  <a:gd name="connsiteX6" fmla="*/ 51581 w 54000"/>
                  <a:gd name="connsiteY6" fmla="*/ 77373 h 77373"/>
                  <a:gd name="connsiteX7" fmla="*/ 45133 w 54000"/>
                  <a:gd name="connsiteY7" fmla="*/ 77373 h 77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000" h="77373">
                    <a:moveTo>
                      <a:pt x="45133" y="77373"/>
                    </a:moveTo>
                    <a:cubicBezTo>
                      <a:pt x="45133" y="77373"/>
                      <a:pt x="41910" y="77373"/>
                      <a:pt x="41910" y="77373"/>
                    </a:cubicBezTo>
                    <a:cubicBezTo>
                      <a:pt x="3223" y="51582"/>
                      <a:pt x="0" y="9672"/>
                      <a:pt x="0" y="6448"/>
                    </a:cubicBezTo>
                    <a:cubicBezTo>
                      <a:pt x="0" y="3224"/>
                      <a:pt x="3223" y="0"/>
                      <a:pt x="6448" y="0"/>
                    </a:cubicBezTo>
                    <a:cubicBezTo>
                      <a:pt x="9671" y="0"/>
                      <a:pt x="12894" y="3224"/>
                      <a:pt x="12894" y="6448"/>
                    </a:cubicBezTo>
                    <a:cubicBezTo>
                      <a:pt x="12894" y="6448"/>
                      <a:pt x="19342" y="45134"/>
                      <a:pt x="51581" y="67701"/>
                    </a:cubicBezTo>
                    <a:cubicBezTo>
                      <a:pt x="54806" y="70925"/>
                      <a:pt x="54806" y="74149"/>
                      <a:pt x="51581" y="77373"/>
                    </a:cubicBezTo>
                    <a:cubicBezTo>
                      <a:pt x="48358" y="74149"/>
                      <a:pt x="45133" y="77373"/>
                      <a:pt x="45133" y="7737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3F30582C-9BD8-41BB-82D7-195DC5D8EF25}"/>
                </a:ext>
              </a:extLst>
            </p:cNvPr>
            <p:cNvSpPr/>
            <p:nvPr/>
          </p:nvSpPr>
          <p:spPr>
            <a:xfrm>
              <a:off x="23028371" y="2952247"/>
              <a:ext cx="70925" cy="454567"/>
            </a:xfrm>
            <a:custGeom>
              <a:avLst/>
              <a:gdLst>
                <a:gd name="connsiteX0" fmla="*/ 54806 w 70925"/>
                <a:gd name="connsiteY0" fmla="*/ 454567 h 454567"/>
                <a:gd name="connsiteX1" fmla="*/ 54806 w 70925"/>
                <a:gd name="connsiteY1" fmla="*/ 454567 h 454567"/>
                <a:gd name="connsiteX2" fmla="*/ 3223 w 70925"/>
                <a:gd name="connsiteY2" fmla="*/ 435224 h 454567"/>
                <a:gd name="connsiteX3" fmla="*/ 0 w 70925"/>
                <a:gd name="connsiteY3" fmla="*/ 428776 h 454567"/>
                <a:gd name="connsiteX4" fmla="*/ 58029 w 70925"/>
                <a:gd name="connsiteY4" fmla="*/ 0 h 454567"/>
                <a:gd name="connsiteX5" fmla="*/ 70926 w 70925"/>
                <a:gd name="connsiteY5" fmla="*/ 0 h 454567"/>
                <a:gd name="connsiteX6" fmla="*/ 12896 w 70925"/>
                <a:gd name="connsiteY6" fmla="*/ 425552 h 454567"/>
                <a:gd name="connsiteX7" fmla="*/ 54806 w 70925"/>
                <a:gd name="connsiteY7" fmla="*/ 444896 h 454567"/>
                <a:gd name="connsiteX8" fmla="*/ 58029 w 70925"/>
                <a:gd name="connsiteY8" fmla="*/ 451343 h 454567"/>
                <a:gd name="connsiteX9" fmla="*/ 54806 w 70925"/>
                <a:gd name="connsiteY9" fmla="*/ 454567 h 4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925" h="454567">
                  <a:moveTo>
                    <a:pt x="54806" y="454567"/>
                  </a:moveTo>
                  <a:cubicBezTo>
                    <a:pt x="51581" y="454567"/>
                    <a:pt x="51581" y="454567"/>
                    <a:pt x="54806" y="454567"/>
                  </a:cubicBezTo>
                  <a:cubicBezTo>
                    <a:pt x="38687" y="451343"/>
                    <a:pt x="6448" y="435224"/>
                    <a:pt x="3223" y="435224"/>
                  </a:cubicBezTo>
                  <a:cubicBezTo>
                    <a:pt x="0" y="435224"/>
                    <a:pt x="0" y="432000"/>
                    <a:pt x="0" y="428776"/>
                  </a:cubicBezTo>
                  <a:lnTo>
                    <a:pt x="58029" y="0"/>
                  </a:lnTo>
                  <a:lnTo>
                    <a:pt x="70926" y="0"/>
                  </a:lnTo>
                  <a:lnTo>
                    <a:pt x="12896" y="425552"/>
                  </a:lnTo>
                  <a:cubicBezTo>
                    <a:pt x="22568" y="428776"/>
                    <a:pt x="45135" y="441672"/>
                    <a:pt x="54806" y="444896"/>
                  </a:cubicBezTo>
                  <a:cubicBezTo>
                    <a:pt x="58029" y="444896"/>
                    <a:pt x="61255" y="448119"/>
                    <a:pt x="58029" y="451343"/>
                  </a:cubicBezTo>
                  <a:cubicBezTo>
                    <a:pt x="58029" y="454567"/>
                    <a:pt x="54806" y="454567"/>
                    <a:pt x="54806" y="454567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D0F800CF-38E4-4A1B-82A2-453EEBF9F3DA}"/>
                </a:ext>
              </a:extLst>
            </p:cNvPr>
            <p:cNvSpPr/>
            <p:nvPr/>
          </p:nvSpPr>
          <p:spPr>
            <a:xfrm>
              <a:off x="23031594" y="2671733"/>
              <a:ext cx="320036" cy="460824"/>
            </a:xfrm>
            <a:custGeom>
              <a:avLst/>
              <a:gdLst>
                <a:gd name="connsiteX0" fmla="*/ 319165 w 320036"/>
                <a:gd name="connsiteY0" fmla="*/ 457827 h 460824"/>
                <a:gd name="connsiteX1" fmla="*/ 228897 w 320036"/>
                <a:gd name="connsiteY1" fmla="*/ 3260 h 460824"/>
                <a:gd name="connsiteX2" fmla="*/ 0 w 320036"/>
                <a:gd name="connsiteY2" fmla="*/ 396573 h 460824"/>
                <a:gd name="connsiteX3" fmla="*/ 319165 w 320036"/>
                <a:gd name="connsiteY3" fmla="*/ 457827 h 460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036" h="460824">
                  <a:moveTo>
                    <a:pt x="319165" y="457827"/>
                  </a:moveTo>
                  <a:cubicBezTo>
                    <a:pt x="319165" y="457827"/>
                    <a:pt x="335284" y="41947"/>
                    <a:pt x="228897" y="3260"/>
                  </a:cubicBezTo>
                  <a:cubicBezTo>
                    <a:pt x="103165" y="-41874"/>
                    <a:pt x="0" y="396573"/>
                    <a:pt x="0" y="396573"/>
                  </a:cubicBezTo>
                  <a:cubicBezTo>
                    <a:pt x="0" y="396573"/>
                    <a:pt x="154748" y="477170"/>
                    <a:pt x="319165" y="457827"/>
                  </a:cubicBezTo>
                  <a:close/>
                </a:path>
              </a:pathLst>
            </a:custGeom>
            <a:solidFill>
              <a:srgbClr val="7F95BC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7A696010-6248-4974-97F4-734AA30B0EE0}"/>
                </a:ext>
              </a:extLst>
            </p:cNvPr>
            <p:cNvSpPr/>
            <p:nvPr/>
          </p:nvSpPr>
          <p:spPr>
            <a:xfrm>
              <a:off x="23021923" y="2667741"/>
              <a:ext cx="333671" cy="474714"/>
            </a:xfrm>
            <a:custGeom>
              <a:avLst/>
              <a:gdLst>
                <a:gd name="connsiteX0" fmla="*/ 257910 w 333671"/>
                <a:gd name="connsiteY0" fmla="*/ 474715 h 474714"/>
                <a:gd name="connsiteX1" fmla="*/ 3225 w 333671"/>
                <a:gd name="connsiteY1" fmla="*/ 403789 h 474714"/>
                <a:gd name="connsiteX2" fmla="*/ 0 w 333671"/>
                <a:gd name="connsiteY2" fmla="*/ 400566 h 474714"/>
                <a:gd name="connsiteX3" fmla="*/ 0 w 333671"/>
                <a:gd name="connsiteY3" fmla="*/ 397342 h 474714"/>
                <a:gd name="connsiteX4" fmla="*/ 90268 w 333671"/>
                <a:gd name="connsiteY4" fmla="*/ 132983 h 474714"/>
                <a:gd name="connsiteX5" fmla="*/ 235343 w 333671"/>
                <a:gd name="connsiteY5" fmla="*/ 804 h 474714"/>
                <a:gd name="connsiteX6" fmla="*/ 241791 w 333671"/>
                <a:gd name="connsiteY6" fmla="*/ 7252 h 474714"/>
                <a:gd name="connsiteX7" fmla="*/ 235343 w 333671"/>
                <a:gd name="connsiteY7" fmla="*/ 13700 h 474714"/>
                <a:gd name="connsiteX8" fmla="*/ 235343 w 333671"/>
                <a:gd name="connsiteY8" fmla="*/ 13700 h 474714"/>
                <a:gd name="connsiteX9" fmla="*/ 99941 w 333671"/>
                <a:gd name="connsiteY9" fmla="*/ 139431 h 474714"/>
                <a:gd name="connsiteX10" fmla="*/ 9671 w 333671"/>
                <a:gd name="connsiteY10" fmla="*/ 397342 h 474714"/>
                <a:gd name="connsiteX11" fmla="*/ 319165 w 333671"/>
                <a:gd name="connsiteY11" fmla="*/ 458595 h 474714"/>
                <a:gd name="connsiteX12" fmla="*/ 312717 w 333671"/>
                <a:gd name="connsiteY12" fmla="*/ 229700 h 474714"/>
                <a:gd name="connsiteX13" fmla="*/ 319165 w 333671"/>
                <a:gd name="connsiteY13" fmla="*/ 223252 h 474714"/>
                <a:gd name="connsiteX14" fmla="*/ 325613 w 333671"/>
                <a:gd name="connsiteY14" fmla="*/ 229700 h 474714"/>
                <a:gd name="connsiteX15" fmla="*/ 332059 w 333671"/>
                <a:gd name="connsiteY15" fmla="*/ 465043 h 474714"/>
                <a:gd name="connsiteX16" fmla="*/ 332059 w 333671"/>
                <a:gd name="connsiteY16" fmla="*/ 468267 h 474714"/>
                <a:gd name="connsiteX17" fmla="*/ 328836 w 333671"/>
                <a:gd name="connsiteY17" fmla="*/ 468267 h 474714"/>
                <a:gd name="connsiteX18" fmla="*/ 257910 w 333671"/>
                <a:gd name="connsiteY18" fmla="*/ 474715 h 47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3671" h="474714">
                  <a:moveTo>
                    <a:pt x="257910" y="474715"/>
                  </a:moveTo>
                  <a:cubicBezTo>
                    <a:pt x="132180" y="474715"/>
                    <a:pt x="9671" y="407013"/>
                    <a:pt x="3225" y="403789"/>
                  </a:cubicBezTo>
                  <a:lnTo>
                    <a:pt x="0" y="400566"/>
                  </a:lnTo>
                  <a:lnTo>
                    <a:pt x="0" y="397342"/>
                  </a:lnTo>
                  <a:cubicBezTo>
                    <a:pt x="0" y="397342"/>
                    <a:pt x="38687" y="265162"/>
                    <a:pt x="90268" y="132983"/>
                  </a:cubicBezTo>
                  <a:cubicBezTo>
                    <a:pt x="141852" y="-2420"/>
                    <a:pt x="232120" y="-2420"/>
                    <a:pt x="235343" y="804"/>
                  </a:cubicBezTo>
                  <a:cubicBezTo>
                    <a:pt x="238568" y="804"/>
                    <a:pt x="241791" y="4028"/>
                    <a:pt x="241791" y="7252"/>
                  </a:cubicBezTo>
                  <a:cubicBezTo>
                    <a:pt x="241791" y="10476"/>
                    <a:pt x="238568" y="13700"/>
                    <a:pt x="235343" y="13700"/>
                  </a:cubicBezTo>
                  <a:cubicBezTo>
                    <a:pt x="235343" y="13700"/>
                    <a:pt x="235343" y="13700"/>
                    <a:pt x="235343" y="13700"/>
                  </a:cubicBezTo>
                  <a:cubicBezTo>
                    <a:pt x="228897" y="13700"/>
                    <a:pt x="148300" y="16924"/>
                    <a:pt x="99941" y="139431"/>
                  </a:cubicBezTo>
                  <a:cubicBezTo>
                    <a:pt x="54806" y="255491"/>
                    <a:pt x="19344" y="374774"/>
                    <a:pt x="9671" y="397342"/>
                  </a:cubicBezTo>
                  <a:cubicBezTo>
                    <a:pt x="35464" y="410237"/>
                    <a:pt x="190210" y="487610"/>
                    <a:pt x="319165" y="458595"/>
                  </a:cubicBezTo>
                  <a:cubicBezTo>
                    <a:pt x="319165" y="432804"/>
                    <a:pt x="325613" y="313521"/>
                    <a:pt x="312717" y="229700"/>
                  </a:cubicBezTo>
                  <a:cubicBezTo>
                    <a:pt x="312717" y="226476"/>
                    <a:pt x="315940" y="223252"/>
                    <a:pt x="319165" y="223252"/>
                  </a:cubicBezTo>
                  <a:cubicBezTo>
                    <a:pt x="322388" y="223252"/>
                    <a:pt x="325613" y="226476"/>
                    <a:pt x="325613" y="229700"/>
                  </a:cubicBezTo>
                  <a:cubicBezTo>
                    <a:pt x="338507" y="323192"/>
                    <a:pt x="332059" y="465043"/>
                    <a:pt x="332059" y="465043"/>
                  </a:cubicBezTo>
                  <a:lnTo>
                    <a:pt x="332059" y="468267"/>
                  </a:lnTo>
                  <a:lnTo>
                    <a:pt x="328836" y="468267"/>
                  </a:lnTo>
                  <a:cubicBezTo>
                    <a:pt x="306269" y="471491"/>
                    <a:pt x="283701" y="474715"/>
                    <a:pt x="257910" y="474715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8" name="图形 1">
              <a:extLst>
                <a:ext uri="{FF2B5EF4-FFF2-40B4-BE49-F238E27FC236}">
                  <a16:creationId xmlns:a16="http://schemas.microsoft.com/office/drawing/2014/main" id="{1E49219B-7F2F-48F3-9613-4E43AC164990}"/>
                </a:ext>
              </a:extLst>
            </p:cNvPr>
            <p:cNvGrpSpPr/>
            <p:nvPr/>
          </p:nvGrpSpPr>
          <p:grpSpPr>
            <a:xfrm>
              <a:off x="21661445" y="3369560"/>
              <a:ext cx="309493" cy="201435"/>
              <a:chOff x="21661445" y="3369560"/>
              <a:chExt cx="309493" cy="201435"/>
            </a:xfrm>
          </p:grpSpPr>
          <p:grpSp>
            <p:nvGrpSpPr>
              <p:cNvPr id="121" name="图形 1">
                <a:extLst>
                  <a:ext uri="{FF2B5EF4-FFF2-40B4-BE49-F238E27FC236}">
                    <a16:creationId xmlns:a16="http://schemas.microsoft.com/office/drawing/2014/main" id="{5CBCD6A3-4200-4DE8-8543-3081513FB5BB}"/>
                  </a:ext>
                </a:extLst>
              </p:cNvPr>
              <p:cNvGrpSpPr/>
              <p:nvPr/>
            </p:nvGrpSpPr>
            <p:grpSpPr>
              <a:xfrm>
                <a:off x="21661445" y="3369560"/>
                <a:ext cx="309493" cy="201435"/>
                <a:chOff x="21661445" y="3369560"/>
                <a:chExt cx="309493" cy="201435"/>
              </a:xfrm>
            </p:grpSpPr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28B7B169-B31C-4823-B071-5BA7023BCC1A}"/>
                    </a:ext>
                  </a:extLst>
                </p:cNvPr>
                <p:cNvSpPr/>
                <p:nvPr/>
              </p:nvSpPr>
              <p:spPr>
                <a:xfrm>
                  <a:off x="21671118" y="3369560"/>
                  <a:ext cx="299820" cy="201435"/>
                </a:xfrm>
                <a:custGeom>
                  <a:avLst/>
                  <a:gdLst>
                    <a:gd name="connsiteX0" fmla="*/ 122507 w 299820"/>
                    <a:gd name="connsiteY0" fmla="*/ 166209 h 201435"/>
                    <a:gd name="connsiteX1" fmla="*/ 235343 w 299820"/>
                    <a:gd name="connsiteY1" fmla="*/ 198448 h 201435"/>
                    <a:gd name="connsiteX2" fmla="*/ 299821 w 299820"/>
                    <a:gd name="connsiteY2" fmla="*/ 133970 h 201435"/>
                    <a:gd name="connsiteX3" fmla="*/ 296595 w 299820"/>
                    <a:gd name="connsiteY3" fmla="*/ 130746 h 201435"/>
                    <a:gd name="connsiteX4" fmla="*/ 296595 w 299820"/>
                    <a:gd name="connsiteY4" fmla="*/ 130746 h 201435"/>
                    <a:gd name="connsiteX5" fmla="*/ 196656 w 299820"/>
                    <a:gd name="connsiteY5" fmla="*/ 8239 h 201435"/>
                    <a:gd name="connsiteX6" fmla="*/ 186985 w 299820"/>
                    <a:gd name="connsiteY6" fmla="*/ 30806 h 201435"/>
                    <a:gd name="connsiteX7" fmla="*/ 225672 w 299820"/>
                    <a:gd name="connsiteY7" fmla="*/ 72716 h 201435"/>
                    <a:gd name="connsiteX8" fmla="*/ 80597 w 299820"/>
                    <a:gd name="connsiteY8" fmla="*/ 1791 h 201435"/>
                    <a:gd name="connsiteX9" fmla="*/ 54804 w 299820"/>
                    <a:gd name="connsiteY9" fmla="*/ 11463 h 201435"/>
                    <a:gd name="connsiteX10" fmla="*/ 87043 w 299820"/>
                    <a:gd name="connsiteY10" fmla="*/ 34030 h 201435"/>
                    <a:gd name="connsiteX11" fmla="*/ 132178 w 299820"/>
                    <a:gd name="connsiteY11" fmla="*/ 59821 h 201435"/>
                    <a:gd name="connsiteX12" fmla="*/ 67701 w 299820"/>
                    <a:gd name="connsiteY12" fmla="*/ 40478 h 201435"/>
                    <a:gd name="connsiteX13" fmla="*/ 19342 w 299820"/>
                    <a:gd name="connsiteY13" fmla="*/ 30806 h 201435"/>
                    <a:gd name="connsiteX14" fmla="*/ 0 w 299820"/>
                    <a:gd name="connsiteY14" fmla="*/ 43702 h 201435"/>
                    <a:gd name="connsiteX15" fmla="*/ 12894 w 299820"/>
                    <a:gd name="connsiteY15" fmla="*/ 66269 h 201435"/>
                    <a:gd name="connsiteX16" fmla="*/ 9671 w 299820"/>
                    <a:gd name="connsiteY16" fmla="*/ 66269 h 201435"/>
                    <a:gd name="connsiteX17" fmla="*/ 3223 w 299820"/>
                    <a:gd name="connsiteY17" fmla="*/ 72716 h 201435"/>
                    <a:gd name="connsiteX18" fmla="*/ 38685 w 299820"/>
                    <a:gd name="connsiteY18" fmla="*/ 95284 h 201435"/>
                    <a:gd name="connsiteX19" fmla="*/ 61253 w 299820"/>
                    <a:gd name="connsiteY19" fmla="*/ 101731 h 201435"/>
                    <a:gd name="connsiteX20" fmla="*/ 54804 w 299820"/>
                    <a:gd name="connsiteY20" fmla="*/ 101731 h 201435"/>
                    <a:gd name="connsiteX21" fmla="*/ 41910 w 299820"/>
                    <a:gd name="connsiteY21" fmla="*/ 111403 h 201435"/>
                    <a:gd name="connsiteX22" fmla="*/ 122507 w 299820"/>
                    <a:gd name="connsiteY22" fmla="*/ 166209 h 2014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99820" h="201435">
                      <a:moveTo>
                        <a:pt x="122507" y="166209"/>
                      </a:moveTo>
                      <a:cubicBezTo>
                        <a:pt x="157969" y="179105"/>
                        <a:pt x="196656" y="211343"/>
                        <a:pt x="235343" y="198448"/>
                      </a:cubicBezTo>
                      <a:cubicBezTo>
                        <a:pt x="261134" y="192000"/>
                        <a:pt x="299821" y="159761"/>
                        <a:pt x="299821" y="133970"/>
                      </a:cubicBezTo>
                      <a:cubicBezTo>
                        <a:pt x="299821" y="133970"/>
                        <a:pt x="299821" y="130746"/>
                        <a:pt x="296595" y="130746"/>
                      </a:cubicBezTo>
                      <a:cubicBezTo>
                        <a:pt x="296595" y="130746"/>
                        <a:pt x="296595" y="130746"/>
                        <a:pt x="296595" y="130746"/>
                      </a:cubicBezTo>
                      <a:cubicBezTo>
                        <a:pt x="299821" y="72716"/>
                        <a:pt x="248237" y="21134"/>
                        <a:pt x="196656" y="8239"/>
                      </a:cubicBezTo>
                      <a:cubicBezTo>
                        <a:pt x="193433" y="8239"/>
                        <a:pt x="177313" y="24358"/>
                        <a:pt x="186985" y="30806"/>
                      </a:cubicBezTo>
                      <a:cubicBezTo>
                        <a:pt x="206327" y="43702"/>
                        <a:pt x="219223" y="56597"/>
                        <a:pt x="225672" y="72716"/>
                      </a:cubicBezTo>
                      <a:cubicBezTo>
                        <a:pt x="174088" y="53373"/>
                        <a:pt x="138626" y="14687"/>
                        <a:pt x="80597" y="1791"/>
                      </a:cubicBezTo>
                      <a:cubicBezTo>
                        <a:pt x="70924" y="-1433"/>
                        <a:pt x="45133" y="-1433"/>
                        <a:pt x="54804" y="11463"/>
                      </a:cubicBezTo>
                      <a:cubicBezTo>
                        <a:pt x="58029" y="21134"/>
                        <a:pt x="77372" y="27582"/>
                        <a:pt x="87043" y="34030"/>
                      </a:cubicBezTo>
                      <a:cubicBezTo>
                        <a:pt x="103163" y="43702"/>
                        <a:pt x="116059" y="50149"/>
                        <a:pt x="132178" y="59821"/>
                      </a:cubicBezTo>
                      <a:cubicBezTo>
                        <a:pt x="109611" y="53373"/>
                        <a:pt x="87043" y="46925"/>
                        <a:pt x="67701" y="40478"/>
                      </a:cubicBezTo>
                      <a:cubicBezTo>
                        <a:pt x="54804" y="37254"/>
                        <a:pt x="35462" y="27582"/>
                        <a:pt x="19342" y="30806"/>
                      </a:cubicBezTo>
                      <a:cubicBezTo>
                        <a:pt x="9671" y="30806"/>
                        <a:pt x="3223" y="37254"/>
                        <a:pt x="0" y="43702"/>
                      </a:cubicBezTo>
                      <a:cubicBezTo>
                        <a:pt x="0" y="53373"/>
                        <a:pt x="6446" y="59821"/>
                        <a:pt x="12894" y="66269"/>
                      </a:cubicBezTo>
                      <a:cubicBezTo>
                        <a:pt x="12894" y="66269"/>
                        <a:pt x="12894" y="66269"/>
                        <a:pt x="9671" y="66269"/>
                      </a:cubicBezTo>
                      <a:cubicBezTo>
                        <a:pt x="6446" y="66269"/>
                        <a:pt x="3223" y="72716"/>
                        <a:pt x="3223" y="72716"/>
                      </a:cubicBezTo>
                      <a:cubicBezTo>
                        <a:pt x="6446" y="85612"/>
                        <a:pt x="22566" y="88836"/>
                        <a:pt x="38685" y="95284"/>
                      </a:cubicBezTo>
                      <a:cubicBezTo>
                        <a:pt x="45133" y="98508"/>
                        <a:pt x="54804" y="101731"/>
                        <a:pt x="61253" y="101731"/>
                      </a:cubicBezTo>
                      <a:cubicBezTo>
                        <a:pt x="58029" y="101731"/>
                        <a:pt x="58029" y="101731"/>
                        <a:pt x="54804" y="101731"/>
                      </a:cubicBezTo>
                      <a:cubicBezTo>
                        <a:pt x="48358" y="101731"/>
                        <a:pt x="41910" y="104955"/>
                        <a:pt x="41910" y="111403"/>
                      </a:cubicBezTo>
                      <a:cubicBezTo>
                        <a:pt x="35462" y="130746"/>
                        <a:pt x="99940" y="156537"/>
                        <a:pt x="122507" y="166209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4B98EDBC-ED02-4865-BBD1-2893492D5C80}"/>
                    </a:ext>
                  </a:extLst>
                </p:cNvPr>
                <p:cNvSpPr/>
                <p:nvPr/>
              </p:nvSpPr>
              <p:spPr>
                <a:xfrm>
                  <a:off x="21878521" y="3458396"/>
                  <a:ext cx="27940" cy="51582"/>
                </a:xfrm>
                <a:custGeom>
                  <a:avLst/>
                  <a:gdLst>
                    <a:gd name="connsiteX0" fmla="*/ 21492 w 27940"/>
                    <a:gd name="connsiteY0" fmla="*/ 51582 h 51582"/>
                    <a:gd name="connsiteX1" fmla="*/ 21492 w 27940"/>
                    <a:gd name="connsiteY1" fmla="*/ 51582 h 51582"/>
                    <a:gd name="connsiteX2" fmla="*/ 2150 w 27940"/>
                    <a:gd name="connsiteY2" fmla="*/ 3224 h 51582"/>
                    <a:gd name="connsiteX3" fmla="*/ 8596 w 27940"/>
                    <a:gd name="connsiteY3" fmla="*/ 0 h 51582"/>
                    <a:gd name="connsiteX4" fmla="*/ 11821 w 27940"/>
                    <a:gd name="connsiteY4" fmla="*/ 6448 h 51582"/>
                    <a:gd name="connsiteX5" fmla="*/ 24715 w 27940"/>
                    <a:gd name="connsiteY5" fmla="*/ 41910 h 51582"/>
                    <a:gd name="connsiteX6" fmla="*/ 27941 w 27940"/>
                    <a:gd name="connsiteY6" fmla="*/ 51582 h 51582"/>
                    <a:gd name="connsiteX7" fmla="*/ 21492 w 27940"/>
                    <a:gd name="connsiteY7" fmla="*/ 51582 h 51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7940" h="51582">
                      <a:moveTo>
                        <a:pt x="21492" y="51582"/>
                      </a:moveTo>
                      <a:cubicBezTo>
                        <a:pt x="21492" y="51582"/>
                        <a:pt x="18269" y="51582"/>
                        <a:pt x="21492" y="51582"/>
                      </a:cubicBezTo>
                      <a:cubicBezTo>
                        <a:pt x="-4298" y="35463"/>
                        <a:pt x="-1075" y="12895"/>
                        <a:pt x="2150" y="3224"/>
                      </a:cubicBezTo>
                      <a:cubicBezTo>
                        <a:pt x="2150" y="0"/>
                        <a:pt x="5373" y="0"/>
                        <a:pt x="8596" y="0"/>
                      </a:cubicBezTo>
                      <a:cubicBezTo>
                        <a:pt x="11821" y="0"/>
                        <a:pt x="11821" y="3224"/>
                        <a:pt x="11821" y="6448"/>
                      </a:cubicBezTo>
                      <a:cubicBezTo>
                        <a:pt x="11821" y="6448"/>
                        <a:pt x="5373" y="29015"/>
                        <a:pt x="24715" y="41910"/>
                      </a:cubicBezTo>
                      <a:cubicBezTo>
                        <a:pt x="27941" y="45134"/>
                        <a:pt x="27941" y="48358"/>
                        <a:pt x="27941" y="51582"/>
                      </a:cubicBezTo>
                      <a:cubicBezTo>
                        <a:pt x="24715" y="51582"/>
                        <a:pt x="24715" y="51582"/>
                        <a:pt x="21492" y="51582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DD77B7BE-7217-4C67-A1B2-B56CBE448273}"/>
                    </a:ext>
                  </a:extLst>
                </p:cNvPr>
                <p:cNvSpPr/>
                <p:nvPr/>
              </p:nvSpPr>
              <p:spPr>
                <a:xfrm>
                  <a:off x="21661445" y="3375381"/>
                  <a:ext cx="145074" cy="63671"/>
                </a:xfrm>
                <a:custGeom>
                  <a:avLst/>
                  <a:gdLst>
                    <a:gd name="connsiteX0" fmla="*/ 19344 w 145074"/>
                    <a:gd name="connsiteY0" fmla="*/ 63672 h 63671"/>
                    <a:gd name="connsiteX1" fmla="*/ 19344 w 145074"/>
                    <a:gd name="connsiteY1" fmla="*/ 63672 h 63671"/>
                    <a:gd name="connsiteX2" fmla="*/ 0 w 145074"/>
                    <a:gd name="connsiteY2" fmla="*/ 41104 h 63671"/>
                    <a:gd name="connsiteX3" fmla="*/ 12896 w 145074"/>
                    <a:gd name="connsiteY3" fmla="*/ 21761 h 63671"/>
                    <a:gd name="connsiteX4" fmla="*/ 93493 w 145074"/>
                    <a:gd name="connsiteY4" fmla="*/ 34657 h 63671"/>
                    <a:gd name="connsiteX5" fmla="*/ 58031 w 145074"/>
                    <a:gd name="connsiteY5" fmla="*/ 12090 h 63671"/>
                    <a:gd name="connsiteX6" fmla="*/ 58031 w 145074"/>
                    <a:gd name="connsiteY6" fmla="*/ 2418 h 63671"/>
                    <a:gd name="connsiteX7" fmla="*/ 67703 w 145074"/>
                    <a:gd name="connsiteY7" fmla="*/ 2418 h 63671"/>
                    <a:gd name="connsiteX8" fmla="*/ 141852 w 145074"/>
                    <a:gd name="connsiteY8" fmla="*/ 50776 h 63671"/>
                    <a:gd name="connsiteX9" fmla="*/ 145075 w 145074"/>
                    <a:gd name="connsiteY9" fmla="*/ 57224 h 63671"/>
                    <a:gd name="connsiteX10" fmla="*/ 138628 w 145074"/>
                    <a:gd name="connsiteY10" fmla="*/ 60448 h 63671"/>
                    <a:gd name="connsiteX11" fmla="*/ 22568 w 145074"/>
                    <a:gd name="connsiteY11" fmla="*/ 31433 h 63671"/>
                    <a:gd name="connsiteX12" fmla="*/ 16119 w 145074"/>
                    <a:gd name="connsiteY12" fmla="*/ 41104 h 63671"/>
                    <a:gd name="connsiteX13" fmla="*/ 25793 w 145074"/>
                    <a:gd name="connsiteY13" fmla="*/ 50776 h 63671"/>
                    <a:gd name="connsiteX14" fmla="*/ 29016 w 145074"/>
                    <a:gd name="connsiteY14" fmla="*/ 57224 h 63671"/>
                    <a:gd name="connsiteX15" fmla="*/ 19344 w 145074"/>
                    <a:gd name="connsiteY15" fmla="*/ 63672 h 63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45074" h="63671">
                      <a:moveTo>
                        <a:pt x="19344" y="63672"/>
                      </a:moveTo>
                      <a:cubicBezTo>
                        <a:pt x="19344" y="63672"/>
                        <a:pt x="19344" y="63672"/>
                        <a:pt x="19344" y="63672"/>
                      </a:cubicBezTo>
                      <a:cubicBezTo>
                        <a:pt x="6448" y="57224"/>
                        <a:pt x="3225" y="50776"/>
                        <a:pt x="0" y="41104"/>
                      </a:cubicBezTo>
                      <a:cubicBezTo>
                        <a:pt x="0" y="34657"/>
                        <a:pt x="3225" y="24985"/>
                        <a:pt x="12896" y="21761"/>
                      </a:cubicBezTo>
                      <a:cubicBezTo>
                        <a:pt x="22568" y="15313"/>
                        <a:pt x="58031" y="24985"/>
                        <a:pt x="93493" y="34657"/>
                      </a:cubicBezTo>
                      <a:cubicBezTo>
                        <a:pt x="74151" y="21761"/>
                        <a:pt x="61255" y="12090"/>
                        <a:pt x="58031" y="12090"/>
                      </a:cubicBezTo>
                      <a:cubicBezTo>
                        <a:pt x="54806" y="8866"/>
                        <a:pt x="54806" y="5642"/>
                        <a:pt x="58031" y="2418"/>
                      </a:cubicBezTo>
                      <a:cubicBezTo>
                        <a:pt x="61255" y="-806"/>
                        <a:pt x="64478" y="-806"/>
                        <a:pt x="67703" y="2418"/>
                      </a:cubicBezTo>
                      <a:cubicBezTo>
                        <a:pt x="67703" y="2418"/>
                        <a:pt x="112836" y="34657"/>
                        <a:pt x="141852" y="50776"/>
                      </a:cubicBezTo>
                      <a:cubicBezTo>
                        <a:pt x="145075" y="50776"/>
                        <a:pt x="145075" y="54000"/>
                        <a:pt x="145075" y="57224"/>
                      </a:cubicBezTo>
                      <a:cubicBezTo>
                        <a:pt x="145075" y="60448"/>
                        <a:pt x="141852" y="60448"/>
                        <a:pt x="138628" y="60448"/>
                      </a:cubicBezTo>
                      <a:cubicBezTo>
                        <a:pt x="90270" y="44328"/>
                        <a:pt x="29016" y="28209"/>
                        <a:pt x="22568" y="31433"/>
                      </a:cubicBezTo>
                      <a:cubicBezTo>
                        <a:pt x="19344" y="31433"/>
                        <a:pt x="16119" y="34657"/>
                        <a:pt x="16119" y="41104"/>
                      </a:cubicBezTo>
                      <a:cubicBezTo>
                        <a:pt x="16119" y="44328"/>
                        <a:pt x="19344" y="47552"/>
                        <a:pt x="25793" y="50776"/>
                      </a:cubicBezTo>
                      <a:cubicBezTo>
                        <a:pt x="29016" y="50776"/>
                        <a:pt x="29016" y="57224"/>
                        <a:pt x="29016" y="57224"/>
                      </a:cubicBezTo>
                      <a:cubicBezTo>
                        <a:pt x="22568" y="63672"/>
                        <a:pt x="22568" y="63672"/>
                        <a:pt x="19344" y="63672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6CE8E728-80F8-4EEE-B608-6806952B64B4}"/>
                  </a:ext>
                </a:extLst>
              </p:cNvPr>
              <p:cNvSpPr/>
              <p:nvPr/>
            </p:nvSpPr>
            <p:spPr>
              <a:xfrm>
                <a:off x="21700132" y="3468068"/>
                <a:ext cx="109612" cy="67701"/>
              </a:xfrm>
              <a:custGeom>
                <a:avLst/>
                <a:gdLst>
                  <a:gd name="connsiteX0" fmla="*/ 80597 w 109612"/>
                  <a:gd name="connsiteY0" fmla="*/ 67701 h 67701"/>
                  <a:gd name="connsiteX1" fmla="*/ 80597 w 109612"/>
                  <a:gd name="connsiteY1" fmla="*/ 67701 h 67701"/>
                  <a:gd name="connsiteX2" fmla="*/ 0 w 109612"/>
                  <a:gd name="connsiteY2" fmla="*/ 16119 h 67701"/>
                  <a:gd name="connsiteX3" fmla="*/ 6448 w 109612"/>
                  <a:gd name="connsiteY3" fmla="*/ 3224 h 67701"/>
                  <a:gd name="connsiteX4" fmla="*/ 32239 w 109612"/>
                  <a:gd name="connsiteY4" fmla="*/ 0 h 67701"/>
                  <a:gd name="connsiteX5" fmla="*/ 64478 w 109612"/>
                  <a:gd name="connsiteY5" fmla="*/ 12895 h 67701"/>
                  <a:gd name="connsiteX6" fmla="*/ 103165 w 109612"/>
                  <a:gd name="connsiteY6" fmla="*/ 25791 h 67701"/>
                  <a:gd name="connsiteX7" fmla="*/ 109613 w 109612"/>
                  <a:gd name="connsiteY7" fmla="*/ 32239 h 67701"/>
                  <a:gd name="connsiteX8" fmla="*/ 103165 w 109612"/>
                  <a:gd name="connsiteY8" fmla="*/ 38687 h 67701"/>
                  <a:gd name="connsiteX9" fmla="*/ 61255 w 109612"/>
                  <a:gd name="connsiteY9" fmla="*/ 22567 h 67701"/>
                  <a:gd name="connsiteX10" fmla="*/ 32239 w 109612"/>
                  <a:gd name="connsiteY10" fmla="*/ 12895 h 67701"/>
                  <a:gd name="connsiteX11" fmla="*/ 16119 w 109612"/>
                  <a:gd name="connsiteY11" fmla="*/ 12895 h 67701"/>
                  <a:gd name="connsiteX12" fmla="*/ 12896 w 109612"/>
                  <a:gd name="connsiteY12" fmla="*/ 19343 h 67701"/>
                  <a:gd name="connsiteX13" fmla="*/ 83822 w 109612"/>
                  <a:gd name="connsiteY13" fmla="*/ 58030 h 67701"/>
                  <a:gd name="connsiteX14" fmla="*/ 87045 w 109612"/>
                  <a:gd name="connsiteY14" fmla="*/ 64478 h 67701"/>
                  <a:gd name="connsiteX15" fmla="*/ 80597 w 109612"/>
                  <a:gd name="connsiteY15" fmla="*/ 67701 h 67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9612" h="67701">
                    <a:moveTo>
                      <a:pt x="80597" y="67701"/>
                    </a:moveTo>
                    <a:cubicBezTo>
                      <a:pt x="80597" y="67701"/>
                      <a:pt x="80597" y="67701"/>
                      <a:pt x="80597" y="67701"/>
                    </a:cubicBezTo>
                    <a:cubicBezTo>
                      <a:pt x="48358" y="54806"/>
                      <a:pt x="0" y="35463"/>
                      <a:pt x="0" y="16119"/>
                    </a:cubicBezTo>
                    <a:cubicBezTo>
                      <a:pt x="0" y="9672"/>
                      <a:pt x="3225" y="3224"/>
                      <a:pt x="6448" y="3224"/>
                    </a:cubicBezTo>
                    <a:cubicBezTo>
                      <a:pt x="12896" y="0"/>
                      <a:pt x="19344" y="0"/>
                      <a:pt x="32239" y="0"/>
                    </a:cubicBezTo>
                    <a:cubicBezTo>
                      <a:pt x="38687" y="3224"/>
                      <a:pt x="51583" y="6448"/>
                      <a:pt x="64478" y="12895"/>
                    </a:cubicBezTo>
                    <a:cubicBezTo>
                      <a:pt x="80597" y="19343"/>
                      <a:pt x="96716" y="25791"/>
                      <a:pt x="103165" y="25791"/>
                    </a:cubicBezTo>
                    <a:cubicBezTo>
                      <a:pt x="106388" y="25791"/>
                      <a:pt x="109613" y="29015"/>
                      <a:pt x="109613" y="32239"/>
                    </a:cubicBezTo>
                    <a:cubicBezTo>
                      <a:pt x="109613" y="35463"/>
                      <a:pt x="106388" y="38687"/>
                      <a:pt x="103165" y="38687"/>
                    </a:cubicBezTo>
                    <a:cubicBezTo>
                      <a:pt x="96716" y="38687"/>
                      <a:pt x="77374" y="32239"/>
                      <a:pt x="61255" y="22567"/>
                    </a:cubicBezTo>
                    <a:cubicBezTo>
                      <a:pt x="48358" y="19343"/>
                      <a:pt x="35464" y="12895"/>
                      <a:pt x="32239" y="12895"/>
                    </a:cubicBezTo>
                    <a:cubicBezTo>
                      <a:pt x="25791" y="9672"/>
                      <a:pt x="19344" y="9672"/>
                      <a:pt x="16119" y="12895"/>
                    </a:cubicBezTo>
                    <a:cubicBezTo>
                      <a:pt x="16119" y="12895"/>
                      <a:pt x="12896" y="12895"/>
                      <a:pt x="12896" y="19343"/>
                    </a:cubicBezTo>
                    <a:cubicBezTo>
                      <a:pt x="12896" y="25791"/>
                      <a:pt x="45135" y="45134"/>
                      <a:pt x="83822" y="58030"/>
                    </a:cubicBezTo>
                    <a:cubicBezTo>
                      <a:pt x="87045" y="58030"/>
                      <a:pt x="87045" y="61254"/>
                      <a:pt x="87045" y="64478"/>
                    </a:cubicBezTo>
                    <a:cubicBezTo>
                      <a:pt x="87045" y="67701"/>
                      <a:pt x="83822" y="67701"/>
                      <a:pt x="80597" y="6770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FDBFDC30-F06A-4CF7-A6CF-8E66CB221FA4}"/>
                  </a:ext>
                </a:extLst>
              </p:cNvPr>
              <p:cNvSpPr/>
              <p:nvPr/>
            </p:nvSpPr>
            <p:spPr>
              <a:xfrm>
                <a:off x="21664670" y="3426158"/>
                <a:ext cx="149633" cy="51582"/>
              </a:xfrm>
              <a:custGeom>
                <a:avLst/>
                <a:gdLst>
                  <a:gd name="connsiteX0" fmla="*/ 54806 w 149633"/>
                  <a:gd name="connsiteY0" fmla="*/ 51582 h 51582"/>
                  <a:gd name="connsiteX1" fmla="*/ 54806 w 149633"/>
                  <a:gd name="connsiteY1" fmla="*/ 51582 h 51582"/>
                  <a:gd name="connsiteX2" fmla="*/ 0 w 149633"/>
                  <a:gd name="connsiteY2" fmla="*/ 22567 h 51582"/>
                  <a:gd name="connsiteX3" fmla="*/ 3223 w 149633"/>
                  <a:gd name="connsiteY3" fmla="*/ 9672 h 51582"/>
                  <a:gd name="connsiteX4" fmla="*/ 32239 w 149633"/>
                  <a:gd name="connsiteY4" fmla="*/ 0 h 51582"/>
                  <a:gd name="connsiteX5" fmla="*/ 87045 w 149633"/>
                  <a:gd name="connsiteY5" fmla="*/ 19343 h 51582"/>
                  <a:gd name="connsiteX6" fmla="*/ 96716 w 149633"/>
                  <a:gd name="connsiteY6" fmla="*/ 22567 h 51582"/>
                  <a:gd name="connsiteX7" fmla="*/ 145075 w 149633"/>
                  <a:gd name="connsiteY7" fmla="*/ 35463 h 51582"/>
                  <a:gd name="connsiteX8" fmla="*/ 148298 w 149633"/>
                  <a:gd name="connsiteY8" fmla="*/ 41910 h 51582"/>
                  <a:gd name="connsiteX9" fmla="*/ 141850 w 149633"/>
                  <a:gd name="connsiteY9" fmla="*/ 45134 h 51582"/>
                  <a:gd name="connsiteX10" fmla="*/ 93491 w 149633"/>
                  <a:gd name="connsiteY10" fmla="*/ 32239 h 51582"/>
                  <a:gd name="connsiteX11" fmla="*/ 83820 w 149633"/>
                  <a:gd name="connsiteY11" fmla="*/ 29015 h 51582"/>
                  <a:gd name="connsiteX12" fmla="*/ 35462 w 149633"/>
                  <a:gd name="connsiteY12" fmla="*/ 9672 h 51582"/>
                  <a:gd name="connsiteX13" fmla="*/ 16119 w 149633"/>
                  <a:gd name="connsiteY13" fmla="*/ 16119 h 51582"/>
                  <a:gd name="connsiteX14" fmla="*/ 16119 w 149633"/>
                  <a:gd name="connsiteY14" fmla="*/ 19343 h 51582"/>
                  <a:gd name="connsiteX15" fmla="*/ 61253 w 149633"/>
                  <a:gd name="connsiteY15" fmla="*/ 41910 h 51582"/>
                  <a:gd name="connsiteX16" fmla="*/ 64478 w 149633"/>
                  <a:gd name="connsiteY16" fmla="*/ 48358 h 51582"/>
                  <a:gd name="connsiteX17" fmla="*/ 54806 w 149633"/>
                  <a:gd name="connsiteY17" fmla="*/ 51582 h 51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9633" h="51582">
                    <a:moveTo>
                      <a:pt x="54806" y="51582"/>
                    </a:moveTo>
                    <a:cubicBezTo>
                      <a:pt x="54806" y="51582"/>
                      <a:pt x="51581" y="51582"/>
                      <a:pt x="54806" y="51582"/>
                    </a:cubicBezTo>
                    <a:cubicBezTo>
                      <a:pt x="35462" y="45134"/>
                      <a:pt x="3223" y="32239"/>
                      <a:pt x="0" y="22567"/>
                    </a:cubicBezTo>
                    <a:cubicBezTo>
                      <a:pt x="0" y="19343"/>
                      <a:pt x="0" y="12895"/>
                      <a:pt x="3223" y="9672"/>
                    </a:cubicBezTo>
                    <a:cubicBezTo>
                      <a:pt x="9671" y="3224"/>
                      <a:pt x="22568" y="0"/>
                      <a:pt x="32239" y="0"/>
                    </a:cubicBezTo>
                    <a:cubicBezTo>
                      <a:pt x="41910" y="0"/>
                      <a:pt x="64478" y="9672"/>
                      <a:pt x="87045" y="19343"/>
                    </a:cubicBezTo>
                    <a:cubicBezTo>
                      <a:pt x="90268" y="22567"/>
                      <a:pt x="93491" y="22567"/>
                      <a:pt x="96716" y="22567"/>
                    </a:cubicBezTo>
                    <a:cubicBezTo>
                      <a:pt x="103165" y="25791"/>
                      <a:pt x="132178" y="32239"/>
                      <a:pt x="145075" y="35463"/>
                    </a:cubicBezTo>
                    <a:cubicBezTo>
                      <a:pt x="148298" y="35463"/>
                      <a:pt x="151523" y="38686"/>
                      <a:pt x="148298" y="41910"/>
                    </a:cubicBezTo>
                    <a:cubicBezTo>
                      <a:pt x="148298" y="45134"/>
                      <a:pt x="145075" y="48358"/>
                      <a:pt x="141850" y="45134"/>
                    </a:cubicBezTo>
                    <a:cubicBezTo>
                      <a:pt x="138626" y="45134"/>
                      <a:pt x="99940" y="35463"/>
                      <a:pt x="93491" y="32239"/>
                    </a:cubicBezTo>
                    <a:cubicBezTo>
                      <a:pt x="93491" y="32239"/>
                      <a:pt x="90268" y="29015"/>
                      <a:pt x="83820" y="29015"/>
                    </a:cubicBezTo>
                    <a:cubicBezTo>
                      <a:pt x="70926" y="22567"/>
                      <a:pt x="41910" y="9672"/>
                      <a:pt x="35462" y="9672"/>
                    </a:cubicBezTo>
                    <a:cubicBezTo>
                      <a:pt x="29014" y="9672"/>
                      <a:pt x="19342" y="12895"/>
                      <a:pt x="16119" y="16119"/>
                    </a:cubicBezTo>
                    <a:cubicBezTo>
                      <a:pt x="16119" y="16119"/>
                      <a:pt x="16119" y="19343"/>
                      <a:pt x="16119" y="19343"/>
                    </a:cubicBezTo>
                    <a:cubicBezTo>
                      <a:pt x="19342" y="22567"/>
                      <a:pt x="38687" y="32239"/>
                      <a:pt x="61253" y="41910"/>
                    </a:cubicBezTo>
                    <a:cubicBezTo>
                      <a:pt x="64478" y="41910"/>
                      <a:pt x="64478" y="45134"/>
                      <a:pt x="64478" y="48358"/>
                    </a:cubicBezTo>
                    <a:cubicBezTo>
                      <a:pt x="58029" y="48358"/>
                      <a:pt x="58029" y="51582"/>
                      <a:pt x="54806" y="5158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56F0511B-80BA-452C-AB19-33097F900A1C}"/>
                </a:ext>
              </a:extLst>
            </p:cNvPr>
            <p:cNvSpPr/>
            <p:nvPr/>
          </p:nvSpPr>
          <p:spPr>
            <a:xfrm>
              <a:off x="22408378" y="4637305"/>
              <a:ext cx="483783" cy="110161"/>
            </a:xfrm>
            <a:custGeom>
              <a:avLst/>
              <a:gdLst>
                <a:gd name="connsiteX0" fmla="*/ 452351 w 483783"/>
                <a:gd name="connsiteY0" fmla="*/ 42942 h 110161"/>
                <a:gd name="connsiteX1" fmla="*/ 39695 w 483783"/>
                <a:gd name="connsiteY1" fmla="*/ 1032 h 110161"/>
                <a:gd name="connsiteX2" fmla="*/ 23575 w 483783"/>
                <a:gd name="connsiteY2" fmla="*/ 62286 h 110161"/>
                <a:gd name="connsiteX3" fmla="*/ 452351 w 483783"/>
                <a:gd name="connsiteY3" fmla="*/ 107420 h 110161"/>
                <a:gd name="connsiteX4" fmla="*/ 452351 w 483783"/>
                <a:gd name="connsiteY4" fmla="*/ 42942 h 110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3783" h="110161">
                  <a:moveTo>
                    <a:pt x="452351" y="42942"/>
                  </a:moveTo>
                  <a:cubicBezTo>
                    <a:pt x="313725" y="52614"/>
                    <a:pt x="175098" y="39718"/>
                    <a:pt x="39695" y="1032"/>
                  </a:cubicBezTo>
                  <a:cubicBezTo>
                    <a:pt x="1008" y="-8640"/>
                    <a:pt x="-18335" y="52614"/>
                    <a:pt x="23575" y="62286"/>
                  </a:cubicBezTo>
                  <a:cubicBezTo>
                    <a:pt x="165427" y="100972"/>
                    <a:pt x="307277" y="117092"/>
                    <a:pt x="452351" y="107420"/>
                  </a:cubicBezTo>
                  <a:cubicBezTo>
                    <a:pt x="494261" y="107420"/>
                    <a:pt x="494261" y="42942"/>
                    <a:pt x="452351" y="42942"/>
                  </a:cubicBezTo>
                  <a:close/>
                </a:path>
              </a:pathLst>
            </a:custGeom>
            <a:solidFill>
              <a:srgbClr val="7F95BC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F4EF5C68-F376-45F0-8295-F34FB709EFC1}"/>
                </a:ext>
              </a:extLst>
            </p:cNvPr>
            <p:cNvSpPr/>
            <p:nvPr/>
          </p:nvSpPr>
          <p:spPr>
            <a:xfrm>
              <a:off x="23029654" y="4720385"/>
              <a:ext cx="551745" cy="118732"/>
            </a:xfrm>
            <a:custGeom>
              <a:avLst/>
              <a:gdLst>
                <a:gd name="connsiteX0" fmla="*/ 511315 w 551745"/>
                <a:gd name="connsiteY0" fmla="*/ 1773 h 118732"/>
                <a:gd name="connsiteX1" fmla="*/ 40628 w 551745"/>
                <a:gd name="connsiteY1" fmla="*/ 46907 h 118732"/>
                <a:gd name="connsiteX2" fmla="*/ 24508 w 551745"/>
                <a:gd name="connsiteY2" fmla="*/ 108161 h 118732"/>
                <a:gd name="connsiteX3" fmla="*/ 530658 w 551745"/>
                <a:gd name="connsiteY3" fmla="*/ 63027 h 118732"/>
                <a:gd name="connsiteX4" fmla="*/ 511315 w 551745"/>
                <a:gd name="connsiteY4" fmla="*/ 1773 h 118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1745" h="118732">
                  <a:moveTo>
                    <a:pt x="511315" y="1773"/>
                  </a:moveTo>
                  <a:cubicBezTo>
                    <a:pt x="356567" y="53355"/>
                    <a:pt x="201822" y="69474"/>
                    <a:pt x="40628" y="46907"/>
                  </a:cubicBezTo>
                  <a:cubicBezTo>
                    <a:pt x="-1283" y="40459"/>
                    <a:pt x="-17402" y="104937"/>
                    <a:pt x="24508" y="108161"/>
                  </a:cubicBezTo>
                  <a:cubicBezTo>
                    <a:pt x="198598" y="130728"/>
                    <a:pt x="366241" y="117832"/>
                    <a:pt x="530658" y="63027"/>
                  </a:cubicBezTo>
                  <a:cubicBezTo>
                    <a:pt x="569345" y="50131"/>
                    <a:pt x="550000" y="-11123"/>
                    <a:pt x="511315" y="1773"/>
                  </a:cubicBezTo>
                  <a:close/>
                </a:path>
              </a:pathLst>
            </a:custGeom>
            <a:solidFill>
              <a:srgbClr val="7F95BC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80394705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50FFFAC8-C3A1-40B9-8E9F-6FEC84A1D7EA}"/>
              </a:ext>
            </a:extLst>
          </p:cNvPr>
          <p:cNvGrpSpPr/>
          <p:nvPr/>
        </p:nvGrpSpPr>
        <p:grpSpPr>
          <a:xfrm>
            <a:off x="6024563" y="2084398"/>
            <a:ext cx="4432757" cy="4773602"/>
            <a:chOff x="6095351" y="7564421"/>
            <a:chExt cx="4432757" cy="4773602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810C2E91-636F-402E-BF03-FD2F21D39FFA}"/>
                </a:ext>
              </a:extLst>
            </p:cNvPr>
            <p:cNvGrpSpPr/>
            <p:nvPr/>
          </p:nvGrpSpPr>
          <p:grpSpPr>
            <a:xfrm>
              <a:off x="7078905" y="11563232"/>
              <a:ext cx="274958" cy="380418"/>
              <a:chOff x="7078905" y="11563232"/>
              <a:chExt cx="274958" cy="380418"/>
            </a:xfrm>
          </p:grpSpPr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3C6342AF-C491-4975-865F-0BD97EBC507B}"/>
                  </a:ext>
                </a:extLst>
              </p:cNvPr>
              <p:cNvSpPr/>
              <p:nvPr/>
            </p:nvSpPr>
            <p:spPr>
              <a:xfrm>
                <a:off x="7078905" y="11663172"/>
                <a:ext cx="274958" cy="280478"/>
              </a:xfrm>
              <a:custGeom>
                <a:avLst/>
                <a:gdLst>
                  <a:gd name="connsiteX0" fmla="*/ 136331 w 274958"/>
                  <a:gd name="connsiteY0" fmla="*/ 3224 h 280478"/>
                  <a:gd name="connsiteX1" fmla="*/ 68630 w 274958"/>
                  <a:gd name="connsiteY1" fmla="*/ 161194 h 280478"/>
                  <a:gd name="connsiteX2" fmla="*/ 194361 w 274958"/>
                  <a:gd name="connsiteY2" fmla="*/ 48358 h 280478"/>
                  <a:gd name="connsiteX3" fmla="*/ 236272 w 274958"/>
                  <a:gd name="connsiteY3" fmla="*/ 0 h 280478"/>
                  <a:gd name="connsiteX4" fmla="*/ 274958 w 274958"/>
                  <a:gd name="connsiteY4" fmla="*/ 80597 h 280478"/>
                  <a:gd name="connsiteX5" fmla="*/ 133107 w 274958"/>
                  <a:gd name="connsiteY5" fmla="*/ 225672 h 280478"/>
                  <a:gd name="connsiteX6" fmla="*/ 29943 w 274958"/>
                  <a:gd name="connsiteY6" fmla="*/ 280478 h 280478"/>
                  <a:gd name="connsiteX7" fmla="*/ 929 w 274958"/>
                  <a:gd name="connsiteY7" fmla="*/ 241791 h 280478"/>
                  <a:gd name="connsiteX8" fmla="*/ 136331 w 274958"/>
                  <a:gd name="connsiteY8" fmla="*/ 3224 h 280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4958" h="280478">
                    <a:moveTo>
                      <a:pt x="136331" y="3224"/>
                    </a:moveTo>
                    <a:cubicBezTo>
                      <a:pt x="136331" y="3224"/>
                      <a:pt x="52510" y="154747"/>
                      <a:pt x="68630" y="161194"/>
                    </a:cubicBezTo>
                    <a:cubicBezTo>
                      <a:pt x="84749" y="167642"/>
                      <a:pt x="194361" y="48358"/>
                      <a:pt x="194361" y="48358"/>
                    </a:cubicBezTo>
                    <a:lnTo>
                      <a:pt x="236272" y="0"/>
                    </a:lnTo>
                    <a:cubicBezTo>
                      <a:pt x="236272" y="0"/>
                      <a:pt x="274958" y="58030"/>
                      <a:pt x="274958" y="80597"/>
                    </a:cubicBezTo>
                    <a:cubicBezTo>
                      <a:pt x="236272" y="135403"/>
                      <a:pt x="181466" y="186986"/>
                      <a:pt x="133107" y="225672"/>
                    </a:cubicBezTo>
                    <a:cubicBezTo>
                      <a:pt x="100869" y="251463"/>
                      <a:pt x="39615" y="280478"/>
                      <a:pt x="29943" y="280478"/>
                    </a:cubicBezTo>
                    <a:cubicBezTo>
                      <a:pt x="23496" y="280478"/>
                      <a:pt x="-5519" y="274030"/>
                      <a:pt x="929" y="241791"/>
                    </a:cubicBezTo>
                    <a:cubicBezTo>
                      <a:pt x="23496" y="170866"/>
                      <a:pt x="136331" y="3224"/>
                      <a:pt x="136331" y="3224"/>
                    </a:cubicBez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65042830-33CA-4A6E-8477-6FC18DD8F787}"/>
                  </a:ext>
                </a:extLst>
              </p:cNvPr>
              <p:cNvSpPr/>
              <p:nvPr/>
            </p:nvSpPr>
            <p:spPr>
              <a:xfrm>
                <a:off x="7143913" y="11563232"/>
                <a:ext cx="172875" cy="261485"/>
              </a:xfrm>
              <a:custGeom>
                <a:avLst/>
                <a:gdLst>
                  <a:gd name="connsiteX0" fmla="*/ 10070 w 172875"/>
                  <a:gd name="connsiteY0" fmla="*/ 16119 h 261485"/>
                  <a:gd name="connsiteX1" fmla="*/ 71324 w 172875"/>
                  <a:gd name="connsiteY1" fmla="*/ 103165 h 261485"/>
                  <a:gd name="connsiteX2" fmla="*/ 3622 w 172875"/>
                  <a:gd name="connsiteY2" fmla="*/ 261135 h 261485"/>
                  <a:gd name="connsiteX3" fmla="*/ 164816 w 172875"/>
                  <a:gd name="connsiteY3" fmla="*/ 135403 h 261485"/>
                  <a:gd name="connsiteX4" fmla="*/ 171264 w 172875"/>
                  <a:gd name="connsiteY4" fmla="*/ 99940 h 261485"/>
                  <a:gd name="connsiteX5" fmla="*/ 119682 w 172875"/>
                  <a:gd name="connsiteY5" fmla="*/ 0 h 261485"/>
                  <a:gd name="connsiteX6" fmla="*/ 10070 w 172875"/>
                  <a:gd name="connsiteY6" fmla="*/ 16119 h 261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2875" h="261485">
                    <a:moveTo>
                      <a:pt x="10070" y="16119"/>
                    </a:moveTo>
                    <a:lnTo>
                      <a:pt x="71324" y="103165"/>
                    </a:lnTo>
                    <a:cubicBezTo>
                      <a:pt x="71324" y="103165"/>
                      <a:pt x="-18945" y="251463"/>
                      <a:pt x="3622" y="261135"/>
                    </a:cubicBezTo>
                    <a:cubicBezTo>
                      <a:pt x="19741" y="267583"/>
                      <a:pt x="122906" y="183762"/>
                      <a:pt x="164816" y="135403"/>
                    </a:cubicBezTo>
                    <a:cubicBezTo>
                      <a:pt x="177712" y="119284"/>
                      <a:pt x="171264" y="99940"/>
                      <a:pt x="171264" y="99940"/>
                    </a:cubicBezTo>
                    <a:lnTo>
                      <a:pt x="119682" y="0"/>
                    </a:lnTo>
                    <a:lnTo>
                      <a:pt x="10070" y="16119"/>
                    </a:ln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77F7A91C-C2FB-4BF9-9BB7-0DF28633E98C}"/>
                </a:ext>
              </a:extLst>
            </p:cNvPr>
            <p:cNvGrpSpPr/>
            <p:nvPr/>
          </p:nvGrpSpPr>
          <p:grpSpPr>
            <a:xfrm>
              <a:off x="7495580" y="11988784"/>
              <a:ext cx="333806" cy="303543"/>
              <a:chOff x="7495580" y="11988784"/>
              <a:chExt cx="333806" cy="303543"/>
            </a:xfrm>
          </p:grpSpPr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4D54B8B1-D61B-49D2-8D8F-D9961BE23ED9}"/>
                  </a:ext>
                </a:extLst>
              </p:cNvPr>
              <p:cNvSpPr/>
              <p:nvPr/>
            </p:nvSpPr>
            <p:spPr>
              <a:xfrm>
                <a:off x="7495580" y="12091949"/>
                <a:ext cx="333806" cy="200378"/>
              </a:xfrm>
              <a:custGeom>
                <a:avLst/>
                <a:gdLst>
                  <a:gd name="connsiteX0" fmla="*/ 241926 w 333806"/>
                  <a:gd name="connsiteY0" fmla="*/ 0 h 200378"/>
                  <a:gd name="connsiteX1" fmla="*/ 106523 w 333806"/>
                  <a:gd name="connsiteY1" fmla="*/ 106388 h 200378"/>
                  <a:gd name="connsiteX2" fmla="*/ 270941 w 333806"/>
                  <a:gd name="connsiteY2" fmla="*/ 67701 h 200378"/>
                  <a:gd name="connsiteX3" fmla="*/ 332194 w 333806"/>
                  <a:gd name="connsiteY3" fmla="*/ 45134 h 200378"/>
                  <a:gd name="connsiteX4" fmla="*/ 325747 w 333806"/>
                  <a:gd name="connsiteY4" fmla="*/ 135402 h 200378"/>
                  <a:gd name="connsiteX5" fmla="*/ 132314 w 333806"/>
                  <a:gd name="connsiteY5" fmla="*/ 196656 h 200378"/>
                  <a:gd name="connsiteX6" fmla="*/ 16254 w 333806"/>
                  <a:gd name="connsiteY6" fmla="*/ 196656 h 200378"/>
                  <a:gd name="connsiteX7" fmla="*/ 9806 w 333806"/>
                  <a:gd name="connsiteY7" fmla="*/ 148298 h 200378"/>
                  <a:gd name="connsiteX8" fmla="*/ 241926 w 333806"/>
                  <a:gd name="connsiteY8" fmla="*/ 0 h 200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806" h="200378">
                    <a:moveTo>
                      <a:pt x="241926" y="0"/>
                    </a:moveTo>
                    <a:cubicBezTo>
                      <a:pt x="241926" y="0"/>
                      <a:pt x="96851" y="93492"/>
                      <a:pt x="106523" y="106388"/>
                    </a:cubicBezTo>
                    <a:cubicBezTo>
                      <a:pt x="119418" y="119283"/>
                      <a:pt x="270941" y="67701"/>
                      <a:pt x="270941" y="67701"/>
                    </a:cubicBezTo>
                    <a:lnTo>
                      <a:pt x="332194" y="45134"/>
                    </a:lnTo>
                    <a:cubicBezTo>
                      <a:pt x="332194" y="45134"/>
                      <a:pt x="338642" y="112836"/>
                      <a:pt x="325747" y="135402"/>
                    </a:cubicBezTo>
                    <a:cubicBezTo>
                      <a:pt x="264493" y="167641"/>
                      <a:pt x="193567" y="186985"/>
                      <a:pt x="132314" y="196656"/>
                    </a:cubicBezTo>
                    <a:cubicBezTo>
                      <a:pt x="93627" y="203104"/>
                      <a:pt x="22702" y="199880"/>
                      <a:pt x="16254" y="196656"/>
                    </a:cubicBezTo>
                    <a:cubicBezTo>
                      <a:pt x="9806" y="193433"/>
                      <a:pt x="-12761" y="174089"/>
                      <a:pt x="9806" y="148298"/>
                    </a:cubicBezTo>
                    <a:cubicBezTo>
                      <a:pt x="61389" y="93492"/>
                      <a:pt x="241926" y="0"/>
                      <a:pt x="241926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BEA0CAF2-BBF6-43C9-B9DE-9C02B9F00808}"/>
                  </a:ext>
                </a:extLst>
              </p:cNvPr>
              <p:cNvSpPr/>
              <p:nvPr/>
            </p:nvSpPr>
            <p:spPr>
              <a:xfrm>
                <a:off x="7601308" y="11988784"/>
                <a:ext cx="226466" cy="213002"/>
              </a:xfrm>
              <a:custGeom>
                <a:avLst/>
                <a:gdLst>
                  <a:gd name="connsiteX0" fmla="*/ 123302 w 226466"/>
                  <a:gd name="connsiteY0" fmla="*/ 0 h 213002"/>
                  <a:gd name="connsiteX1" fmla="*/ 136198 w 226466"/>
                  <a:gd name="connsiteY1" fmla="*/ 103165 h 213002"/>
                  <a:gd name="connsiteX2" fmla="*/ 795 w 226466"/>
                  <a:gd name="connsiteY2" fmla="*/ 209552 h 213002"/>
                  <a:gd name="connsiteX3" fmla="*/ 203899 w 226466"/>
                  <a:gd name="connsiteY3" fmla="*/ 174089 h 213002"/>
                  <a:gd name="connsiteX4" fmla="*/ 226466 w 226466"/>
                  <a:gd name="connsiteY4" fmla="*/ 148299 h 213002"/>
                  <a:gd name="connsiteX5" fmla="*/ 226466 w 226466"/>
                  <a:gd name="connsiteY5" fmla="*/ 35463 h 213002"/>
                  <a:gd name="connsiteX6" fmla="*/ 123302 w 226466"/>
                  <a:gd name="connsiteY6" fmla="*/ 0 h 213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6466" h="213002">
                    <a:moveTo>
                      <a:pt x="123302" y="0"/>
                    </a:moveTo>
                    <a:lnTo>
                      <a:pt x="136198" y="103165"/>
                    </a:lnTo>
                    <a:cubicBezTo>
                      <a:pt x="136198" y="103165"/>
                      <a:pt x="-12101" y="190209"/>
                      <a:pt x="795" y="209552"/>
                    </a:cubicBezTo>
                    <a:cubicBezTo>
                      <a:pt x="10466" y="222448"/>
                      <a:pt x="142645" y="196657"/>
                      <a:pt x="203899" y="174089"/>
                    </a:cubicBezTo>
                    <a:cubicBezTo>
                      <a:pt x="223242" y="167642"/>
                      <a:pt x="226466" y="148299"/>
                      <a:pt x="226466" y="148299"/>
                    </a:cubicBezTo>
                    <a:lnTo>
                      <a:pt x="226466" y="35463"/>
                    </a:lnTo>
                    <a:lnTo>
                      <a:pt x="123302" y="0"/>
                    </a:ln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8F7BC6B0-9552-40BD-AAC9-EB4575C6319B}"/>
                </a:ext>
              </a:extLst>
            </p:cNvPr>
            <p:cNvSpPr/>
            <p:nvPr/>
          </p:nvSpPr>
          <p:spPr>
            <a:xfrm>
              <a:off x="6525283" y="9327730"/>
              <a:ext cx="794073" cy="351522"/>
            </a:xfrm>
            <a:custGeom>
              <a:avLst/>
              <a:gdLst>
                <a:gd name="connsiteX0" fmla="*/ 657715 w 794073"/>
                <a:gd name="connsiteY0" fmla="*/ 1353 h 351522"/>
                <a:gd name="connsiteX1" fmla="*/ 341774 w 794073"/>
                <a:gd name="connsiteY1" fmla="*/ 181890 h 351522"/>
                <a:gd name="connsiteX2" fmla="*/ 38730 w 794073"/>
                <a:gd name="connsiteY2" fmla="*/ 1353 h 351522"/>
                <a:gd name="connsiteX3" fmla="*/ 43 w 794073"/>
                <a:gd name="connsiteY3" fmla="*/ 78726 h 351522"/>
                <a:gd name="connsiteX4" fmla="*/ 354670 w 794073"/>
                <a:gd name="connsiteY4" fmla="*/ 349532 h 351522"/>
                <a:gd name="connsiteX5" fmla="*/ 767327 w 794073"/>
                <a:gd name="connsiteY5" fmla="*/ 172219 h 351522"/>
                <a:gd name="connsiteX6" fmla="*/ 657715 w 794073"/>
                <a:gd name="connsiteY6" fmla="*/ 1353 h 351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4073" h="351522">
                  <a:moveTo>
                    <a:pt x="657715" y="1353"/>
                  </a:moveTo>
                  <a:cubicBezTo>
                    <a:pt x="583565" y="11024"/>
                    <a:pt x="341774" y="181890"/>
                    <a:pt x="341774" y="181890"/>
                  </a:cubicBezTo>
                  <a:cubicBezTo>
                    <a:pt x="341774" y="181890"/>
                    <a:pt x="41953" y="-1871"/>
                    <a:pt x="38730" y="1353"/>
                  </a:cubicBezTo>
                  <a:cubicBezTo>
                    <a:pt x="-12853" y="30367"/>
                    <a:pt x="16163" y="23920"/>
                    <a:pt x="43" y="78726"/>
                  </a:cubicBezTo>
                  <a:cubicBezTo>
                    <a:pt x="-3181" y="88397"/>
                    <a:pt x="174133" y="294726"/>
                    <a:pt x="354670" y="349532"/>
                  </a:cubicBezTo>
                  <a:cubicBezTo>
                    <a:pt x="409476" y="365651"/>
                    <a:pt x="677058" y="281830"/>
                    <a:pt x="767327" y="172219"/>
                  </a:cubicBezTo>
                  <a:cubicBezTo>
                    <a:pt x="818909" y="117413"/>
                    <a:pt x="802789" y="-14767"/>
                    <a:pt x="657715" y="1353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B84FF2B9-34CA-4283-8207-CABA1A9D7426}"/>
                </a:ext>
              </a:extLst>
            </p:cNvPr>
            <p:cNvSpPr/>
            <p:nvPr/>
          </p:nvSpPr>
          <p:spPr>
            <a:xfrm>
              <a:off x="6401386" y="9199850"/>
              <a:ext cx="186757" cy="207322"/>
            </a:xfrm>
            <a:custGeom>
              <a:avLst/>
              <a:gdLst>
                <a:gd name="connsiteX0" fmla="*/ 27224 w 186757"/>
                <a:gd name="connsiteY0" fmla="*/ 155024 h 207322"/>
                <a:gd name="connsiteX1" fmla="*/ 127164 w 186757"/>
                <a:gd name="connsiteY1" fmla="*/ 206606 h 207322"/>
                <a:gd name="connsiteX2" fmla="*/ 185194 w 186757"/>
                <a:gd name="connsiteY2" fmla="*/ 142128 h 207322"/>
                <a:gd name="connsiteX3" fmla="*/ 46567 w 186757"/>
                <a:gd name="connsiteY3" fmla="*/ 278 h 207322"/>
                <a:gd name="connsiteX4" fmla="*/ 27224 w 186757"/>
                <a:gd name="connsiteY4" fmla="*/ 29292 h 207322"/>
                <a:gd name="connsiteX5" fmla="*/ 1433 w 186757"/>
                <a:gd name="connsiteY5" fmla="*/ 61531 h 207322"/>
                <a:gd name="connsiteX6" fmla="*/ 1433 w 186757"/>
                <a:gd name="connsiteY6" fmla="*/ 90546 h 207322"/>
                <a:gd name="connsiteX7" fmla="*/ 11104 w 186757"/>
                <a:gd name="connsiteY7" fmla="*/ 129233 h 207322"/>
                <a:gd name="connsiteX8" fmla="*/ 27224 w 186757"/>
                <a:gd name="connsiteY8" fmla="*/ 155024 h 207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757" h="207322">
                  <a:moveTo>
                    <a:pt x="27224" y="155024"/>
                  </a:moveTo>
                  <a:cubicBezTo>
                    <a:pt x="53015" y="174367"/>
                    <a:pt x="91701" y="213054"/>
                    <a:pt x="127164" y="206606"/>
                  </a:cubicBezTo>
                  <a:cubicBezTo>
                    <a:pt x="149731" y="203382"/>
                    <a:pt x="185194" y="142128"/>
                    <a:pt x="185194" y="142128"/>
                  </a:cubicBezTo>
                  <a:cubicBezTo>
                    <a:pt x="201313" y="80875"/>
                    <a:pt x="88478" y="22845"/>
                    <a:pt x="46567" y="278"/>
                  </a:cubicBezTo>
                  <a:cubicBezTo>
                    <a:pt x="40119" y="-2946"/>
                    <a:pt x="20776" y="22845"/>
                    <a:pt x="27224" y="29292"/>
                  </a:cubicBezTo>
                  <a:cubicBezTo>
                    <a:pt x="36896" y="42188"/>
                    <a:pt x="4657" y="51860"/>
                    <a:pt x="1433" y="61531"/>
                  </a:cubicBezTo>
                  <a:cubicBezTo>
                    <a:pt x="-1791" y="71203"/>
                    <a:pt x="1433" y="87322"/>
                    <a:pt x="1433" y="90546"/>
                  </a:cubicBezTo>
                  <a:cubicBezTo>
                    <a:pt x="1433" y="103442"/>
                    <a:pt x="11104" y="122785"/>
                    <a:pt x="11104" y="129233"/>
                  </a:cubicBezTo>
                  <a:cubicBezTo>
                    <a:pt x="4657" y="142128"/>
                    <a:pt x="11104" y="145352"/>
                    <a:pt x="27224" y="155024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C78458C-4A36-421D-810B-22D831BCA9CF}"/>
                </a:ext>
              </a:extLst>
            </p:cNvPr>
            <p:cNvSpPr/>
            <p:nvPr/>
          </p:nvSpPr>
          <p:spPr>
            <a:xfrm>
              <a:off x="7099177" y="9175932"/>
              <a:ext cx="371458" cy="398166"/>
            </a:xfrm>
            <a:custGeom>
              <a:avLst/>
              <a:gdLst>
                <a:gd name="connsiteX0" fmla="*/ 170866 w 371458"/>
                <a:gd name="connsiteY0" fmla="*/ 398167 h 398166"/>
                <a:gd name="connsiteX1" fmla="*/ 364299 w 371458"/>
                <a:gd name="connsiteY1" fmla="*/ 24196 h 398166"/>
                <a:gd name="connsiteX2" fmla="*/ 0 w 371458"/>
                <a:gd name="connsiteY2" fmla="*/ 162823 h 398166"/>
                <a:gd name="connsiteX3" fmla="*/ 170866 w 371458"/>
                <a:gd name="connsiteY3" fmla="*/ 398167 h 398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458" h="398166">
                  <a:moveTo>
                    <a:pt x="170866" y="398167"/>
                  </a:moveTo>
                  <a:cubicBezTo>
                    <a:pt x="277254" y="285331"/>
                    <a:pt x="402985" y="82226"/>
                    <a:pt x="364299" y="24196"/>
                  </a:cubicBezTo>
                  <a:cubicBezTo>
                    <a:pt x="312717" y="-46729"/>
                    <a:pt x="96716" y="49987"/>
                    <a:pt x="0" y="162823"/>
                  </a:cubicBezTo>
                  <a:cubicBezTo>
                    <a:pt x="19343" y="224077"/>
                    <a:pt x="90269" y="359480"/>
                    <a:pt x="170866" y="398167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14D4AEE1-EAB5-494F-BFB5-9F7F4E835B80}"/>
                </a:ext>
              </a:extLst>
            </p:cNvPr>
            <p:cNvSpPr/>
            <p:nvPr/>
          </p:nvSpPr>
          <p:spPr>
            <a:xfrm>
              <a:off x="6848722" y="9935173"/>
              <a:ext cx="1143722" cy="2118089"/>
            </a:xfrm>
            <a:custGeom>
              <a:avLst/>
              <a:gdLst>
                <a:gd name="connsiteX0" fmla="*/ 1030634 w 1143722"/>
                <a:gd name="connsiteY0" fmla="*/ 0 h 2118089"/>
                <a:gd name="connsiteX1" fmla="*/ 476127 w 1143722"/>
                <a:gd name="connsiteY1" fmla="*/ 9672 h 2118089"/>
                <a:gd name="connsiteX2" fmla="*/ 15112 w 1143722"/>
                <a:gd name="connsiteY2" fmla="*/ 783403 h 2118089"/>
                <a:gd name="connsiteX3" fmla="*/ 5440 w 1143722"/>
                <a:gd name="connsiteY3" fmla="*/ 876895 h 2118089"/>
                <a:gd name="connsiteX4" fmla="*/ 311709 w 1143722"/>
                <a:gd name="connsiteY4" fmla="*/ 1731224 h 2118089"/>
                <a:gd name="connsiteX5" fmla="*/ 466455 w 1143722"/>
                <a:gd name="connsiteY5" fmla="*/ 1650627 h 2118089"/>
                <a:gd name="connsiteX6" fmla="*/ 314933 w 1143722"/>
                <a:gd name="connsiteY6" fmla="*/ 902686 h 2118089"/>
                <a:gd name="connsiteX7" fmla="*/ 659888 w 1143722"/>
                <a:gd name="connsiteY7" fmla="*/ 583522 h 2118089"/>
                <a:gd name="connsiteX8" fmla="*/ 846873 w 1143722"/>
                <a:gd name="connsiteY8" fmla="*/ 2118090 h 2118089"/>
                <a:gd name="connsiteX9" fmla="*/ 1011291 w 1143722"/>
                <a:gd name="connsiteY9" fmla="*/ 2118090 h 2118089"/>
                <a:gd name="connsiteX10" fmla="*/ 1143470 w 1143722"/>
                <a:gd name="connsiteY10" fmla="*/ 351403 h 2118089"/>
                <a:gd name="connsiteX11" fmla="*/ 1030634 w 1143722"/>
                <a:gd name="connsiteY11" fmla="*/ 0 h 2118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3722" h="2118089">
                  <a:moveTo>
                    <a:pt x="1030634" y="0"/>
                  </a:moveTo>
                  <a:lnTo>
                    <a:pt x="476127" y="9672"/>
                  </a:lnTo>
                  <a:lnTo>
                    <a:pt x="15112" y="783403"/>
                  </a:lnTo>
                  <a:cubicBezTo>
                    <a:pt x="-1007" y="812418"/>
                    <a:pt x="-4231" y="844657"/>
                    <a:pt x="5440" y="876895"/>
                  </a:cubicBezTo>
                  <a:lnTo>
                    <a:pt x="311709" y="1731224"/>
                  </a:lnTo>
                  <a:lnTo>
                    <a:pt x="466455" y="1650627"/>
                  </a:lnTo>
                  <a:lnTo>
                    <a:pt x="314933" y="902686"/>
                  </a:lnTo>
                  <a:lnTo>
                    <a:pt x="659888" y="583522"/>
                  </a:lnTo>
                  <a:lnTo>
                    <a:pt x="846873" y="2118090"/>
                  </a:lnTo>
                  <a:lnTo>
                    <a:pt x="1011291" y="2118090"/>
                  </a:lnTo>
                  <a:cubicBezTo>
                    <a:pt x="1011291" y="2118090"/>
                    <a:pt x="1133799" y="451343"/>
                    <a:pt x="1143470" y="351403"/>
                  </a:cubicBezTo>
                  <a:cubicBezTo>
                    <a:pt x="1149918" y="248239"/>
                    <a:pt x="1030634" y="0"/>
                    <a:pt x="1030634" y="0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DBD182DC-82E3-4C5C-B652-BC3A6CBC05C5}"/>
                </a:ext>
              </a:extLst>
            </p:cNvPr>
            <p:cNvSpPr/>
            <p:nvPr/>
          </p:nvSpPr>
          <p:spPr>
            <a:xfrm>
              <a:off x="7502162" y="10341381"/>
              <a:ext cx="199880" cy="1718328"/>
            </a:xfrm>
            <a:custGeom>
              <a:avLst/>
              <a:gdLst>
                <a:gd name="connsiteX0" fmla="*/ 193433 w 199880"/>
                <a:gd name="connsiteY0" fmla="*/ 1718329 h 1718328"/>
                <a:gd name="connsiteX1" fmla="*/ 186985 w 199880"/>
                <a:gd name="connsiteY1" fmla="*/ 1711881 h 1718328"/>
                <a:gd name="connsiteX2" fmla="*/ 0 w 199880"/>
                <a:gd name="connsiteY2" fmla="*/ 177313 h 1718328"/>
                <a:gd name="connsiteX3" fmla="*/ 9672 w 199880"/>
                <a:gd name="connsiteY3" fmla="*/ 6448 h 1718328"/>
                <a:gd name="connsiteX4" fmla="*/ 16119 w 199880"/>
                <a:gd name="connsiteY4" fmla="*/ 0 h 1718328"/>
                <a:gd name="connsiteX5" fmla="*/ 22568 w 199880"/>
                <a:gd name="connsiteY5" fmla="*/ 6448 h 1718328"/>
                <a:gd name="connsiteX6" fmla="*/ 12896 w 199880"/>
                <a:gd name="connsiteY6" fmla="*/ 177313 h 1718328"/>
                <a:gd name="connsiteX7" fmla="*/ 199881 w 199880"/>
                <a:gd name="connsiteY7" fmla="*/ 1708657 h 1718328"/>
                <a:gd name="connsiteX8" fmla="*/ 193433 w 199880"/>
                <a:gd name="connsiteY8" fmla="*/ 1718329 h 1718328"/>
                <a:gd name="connsiteX9" fmla="*/ 193433 w 199880"/>
                <a:gd name="connsiteY9" fmla="*/ 1718329 h 1718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9880" h="1718328">
                  <a:moveTo>
                    <a:pt x="193433" y="1718329"/>
                  </a:moveTo>
                  <a:cubicBezTo>
                    <a:pt x="190209" y="1718329"/>
                    <a:pt x="186985" y="1715105"/>
                    <a:pt x="186985" y="1711881"/>
                  </a:cubicBezTo>
                  <a:lnTo>
                    <a:pt x="0" y="177313"/>
                  </a:lnTo>
                  <a:lnTo>
                    <a:pt x="9672" y="6448"/>
                  </a:lnTo>
                  <a:cubicBezTo>
                    <a:pt x="9672" y="3224"/>
                    <a:pt x="12896" y="0"/>
                    <a:pt x="16119" y="0"/>
                  </a:cubicBezTo>
                  <a:cubicBezTo>
                    <a:pt x="19343" y="0"/>
                    <a:pt x="22568" y="3224"/>
                    <a:pt x="22568" y="6448"/>
                  </a:cubicBezTo>
                  <a:lnTo>
                    <a:pt x="12896" y="177313"/>
                  </a:lnTo>
                  <a:lnTo>
                    <a:pt x="199881" y="1708657"/>
                  </a:lnTo>
                  <a:cubicBezTo>
                    <a:pt x="196657" y="1715105"/>
                    <a:pt x="196657" y="1718329"/>
                    <a:pt x="193433" y="1718329"/>
                  </a:cubicBezTo>
                  <a:cubicBezTo>
                    <a:pt x="193433" y="1718329"/>
                    <a:pt x="193433" y="1718329"/>
                    <a:pt x="193433" y="1718329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D6F2D459-B93A-4D4F-9CEE-78150DB10F9A}"/>
                </a:ext>
              </a:extLst>
            </p:cNvPr>
            <p:cNvSpPr/>
            <p:nvPr/>
          </p:nvSpPr>
          <p:spPr>
            <a:xfrm>
              <a:off x="7260081" y="9128531"/>
              <a:ext cx="669842" cy="831739"/>
            </a:xfrm>
            <a:custGeom>
              <a:avLst/>
              <a:gdLst>
                <a:gd name="connsiteX0" fmla="*/ 632171 w 669842"/>
                <a:gd name="connsiteY0" fmla="*/ 332731 h 831739"/>
                <a:gd name="connsiteX1" fmla="*/ 619276 w 669842"/>
                <a:gd name="connsiteY1" fmla="*/ 58701 h 831739"/>
                <a:gd name="connsiteX2" fmla="*/ 309783 w 669842"/>
                <a:gd name="connsiteY2" fmla="*/ 3895 h 831739"/>
                <a:gd name="connsiteX3" fmla="*/ 55097 w 669842"/>
                <a:gd name="connsiteY3" fmla="*/ 90940 h 831739"/>
                <a:gd name="connsiteX4" fmla="*/ 58320 w 669842"/>
                <a:gd name="connsiteY4" fmla="*/ 825984 h 831739"/>
                <a:gd name="connsiteX5" fmla="*/ 628947 w 669842"/>
                <a:gd name="connsiteY5" fmla="*/ 813089 h 831739"/>
                <a:gd name="connsiteX6" fmla="*/ 632171 w 669842"/>
                <a:gd name="connsiteY6" fmla="*/ 332731 h 831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9842" h="831739">
                  <a:moveTo>
                    <a:pt x="632171" y="332731"/>
                  </a:moveTo>
                  <a:cubicBezTo>
                    <a:pt x="641843" y="306940"/>
                    <a:pt x="719216" y="113507"/>
                    <a:pt x="619276" y="58701"/>
                  </a:cubicBezTo>
                  <a:cubicBezTo>
                    <a:pt x="532231" y="10343"/>
                    <a:pt x="406500" y="-9001"/>
                    <a:pt x="309783" y="3895"/>
                  </a:cubicBezTo>
                  <a:cubicBezTo>
                    <a:pt x="200171" y="16791"/>
                    <a:pt x="90559" y="36134"/>
                    <a:pt x="55097" y="90940"/>
                  </a:cubicBezTo>
                  <a:cubicBezTo>
                    <a:pt x="-64187" y="268253"/>
                    <a:pt x="45425" y="716373"/>
                    <a:pt x="58320" y="825984"/>
                  </a:cubicBezTo>
                  <a:cubicBezTo>
                    <a:pt x="58320" y="825984"/>
                    <a:pt x="300111" y="845328"/>
                    <a:pt x="628947" y="813089"/>
                  </a:cubicBezTo>
                  <a:cubicBezTo>
                    <a:pt x="645067" y="616432"/>
                    <a:pt x="625724" y="352074"/>
                    <a:pt x="632171" y="332731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BC151AF3-83DF-4678-A07F-579B537F8F19}"/>
                </a:ext>
              </a:extLst>
            </p:cNvPr>
            <p:cNvSpPr/>
            <p:nvPr/>
          </p:nvSpPr>
          <p:spPr>
            <a:xfrm>
              <a:off x="7476371" y="8980774"/>
              <a:ext cx="261134" cy="190529"/>
            </a:xfrm>
            <a:custGeom>
              <a:avLst/>
              <a:gdLst>
                <a:gd name="connsiteX0" fmla="*/ 45134 w 261134"/>
                <a:gd name="connsiteY0" fmla="*/ 51712 h 190529"/>
                <a:gd name="connsiteX1" fmla="*/ 0 w 261134"/>
                <a:gd name="connsiteY1" fmla="*/ 170995 h 190529"/>
                <a:gd name="connsiteX2" fmla="*/ 261134 w 261134"/>
                <a:gd name="connsiteY2" fmla="*/ 158100 h 190529"/>
                <a:gd name="connsiteX3" fmla="*/ 216000 w 261134"/>
                <a:gd name="connsiteY3" fmla="*/ 130 h 190529"/>
                <a:gd name="connsiteX4" fmla="*/ 45134 w 261134"/>
                <a:gd name="connsiteY4" fmla="*/ 51712 h 190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134" h="190529">
                  <a:moveTo>
                    <a:pt x="45134" y="51712"/>
                  </a:moveTo>
                  <a:cubicBezTo>
                    <a:pt x="45134" y="51712"/>
                    <a:pt x="48358" y="145204"/>
                    <a:pt x="0" y="170995"/>
                  </a:cubicBezTo>
                  <a:cubicBezTo>
                    <a:pt x="0" y="170995"/>
                    <a:pt x="151522" y="222578"/>
                    <a:pt x="261134" y="158100"/>
                  </a:cubicBezTo>
                  <a:cubicBezTo>
                    <a:pt x="216000" y="122637"/>
                    <a:pt x="216000" y="51712"/>
                    <a:pt x="216000" y="130"/>
                  </a:cubicBezTo>
                  <a:cubicBezTo>
                    <a:pt x="216000" y="-3094"/>
                    <a:pt x="90268" y="54935"/>
                    <a:pt x="45134" y="51712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2847CE90-BAF3-4708-B4EC-F06864DC7D8F}"/>
                </a:ext>
              </a:extLst>
            </p:cNvPr>
            <p:cNvSpPr/>
            <p:nvPr/>
          </p:nvSpPr>
          <p:spPr>
            <a:xfrm>
              <a:off x="7257648" y="9193680"/>
              <a:ext cx="73649" cy="493253"/>
            </a:xfrm>
            <a:custGeom>
              <a:avLst/>
              <a:gdLst>
                <a:gd name="connsiteX0" fmla="*/ 12395 w 73649"/>
                <a:gd name="connsiteY0" fmla="*/ 493254 h 493253"/>
                <a:gd name="connsiteX1" fmla="*/ 5948 w 73649"/>
                <a:gd name="connsiteY1" fmla="*/ 490030 h 493253"/>
                <a:gd name="connsiteX2" fmla="*/ 60754 w 73649"/>
                <a:gd name="connsiteY2" fmla="*/ 3224 h 493253"/>
                <a:gd name="connsiteX3" fmla="*/ 70425 w 73649"/>
                <a:gd name="connsiteY3" fmla="*/ 0 h 493253"/>
                <a:gd name="connsiteX4" fmla="*/ 73649 w 73649"/>
                <a:gd name="connsiteY4" fmla="*/ 9672 h 493253"/>
                <a:gd name="connsiteX5" fmla="*/ 18843 w 73649"/>
                <a:gd name="connsiteY5" fmla="*/ 486806 h 493253"/>
                <a:gd name="connsiteX6" fmla="*/ 12395 w 73649"/>
                <a:gd name="connsiteY6" fmla="*/ 493254 h 493253"/>
                <a:gd name="connsiteX7" fmla="*/ 12395 w 73649"/>
                <a:gd name="connsiteY7" fmla="*/ 493254 h 493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649" h="493253">
                  <a:moveTo>
                    <a:pt x="12395" y="493254"/>
                  </a:moveTo>
                  <a:cubicBezTo>
                    <a:pt x="9172" y="493254"/>
                    <a:pt x="5948" y="490030"/>
                    <a:pt x="5948" y="490030"/>
                  </a:cubicBezTo>
                  <a:cubicBezTo>
                    <a:pt x="-10172" y="432000"/>
                    <a:pt x="5948" y="87045"/>
                    <a:pt x="60754" y="3224"/>
                  </a:cubicBezTo>
                  <a:cubicBezTo>
                    <a:pt x="63978" y="0"/>
                    <a:pt x="67201" y="0"/>
                    <a:pt x="70425" y="0"/>
                  </a:cubicBezTo>
                  <a:cubicBezTo>
                    <a:pt x="73649" y="3224"/>
                    <a:pt x="73649" y="6448"/>
                    <a:pt x="73649" y="9672"/>
                  </a:cubicBezTo>
                  <a:cubicBezTo>
                    <a:pt x="22067" y="90269"/>
                    <a:pt x="5948" y="432000"/>
                    <a:pt x="18843" y="486806"/>
                  </a:cubicBezTo>
                  <a:cubicBezTo>
                    <a:pt x="18843" y="486806"/>
                    <a:pt x="15619" y="490030"/>
                    <a:pt x="12395" y="493254"/>
                  </a:cubicBezTo>
                  <a:cubicBezTo>
                    <a:pt x="12395" y="493254"/>
                    <a:pt x="12395" y="493254"/>
                    <a:pt x="12395" y="493254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2D529B2F-E38D-4DF4-85AA-69B4FCEC679A}"/>
                </a:ext>
              </a:extLst>
            </p:cNvPr>
            <p:cNvSpPr/>
            <p:nvPr/>
          </p:nvSpPr>
          <p:spPr>
            <a:xfrm>
              <a:off x="7450580" y="9138874"/>
              <a:ext cx="306268" cy="51736"/>
            </a:xfrm>
            <a:custGeom>
              <a:avLst/>
              <a:gdLst>
                <a:gd name="connsiteX0" fmla="*/ 32239 w 306268"/>
                <a:gd name="connsiteY0" fmla="*/ 6448 h 51736"/>
                <a:gd name="connsiteX1" fmla="*/ 283702 w 306268"/>
                <a:gd name="connsiteY1" fmla="*/ 0 h 51736"/>
                <a:gd name="connsiteX2" fmla="*/ 306269 w 306268"/>
                <a:gd name="connsiteY2" fmla="*/ 6448 h 51736"/>
                <a:gd name="connsiteX3" fmla="*/ 145075 w 306268"/>
                <a:gd name="connsiteY3" fmla="*/ 51582 h 51736"/>
                <a:gd name="connsiteX4" fmla="*/ 0 w 306268"/>
                <a:gd name="connsiteY4" fmla="*/ 12895 h 51736"/>
                <a:gd name="connsiteX5" fmla="*/ 32239 w 306268"/>
                <a:gd name="connsiteY5" fmla="*/ 6448 h 51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268" h="51736">
                  <a:moveTo>
                    <a:pt x="32239" y="6448"/>
                  </a:moveTo>
                  <a:cubicBezTo>
                    <a:pt x="32239" y="6448"/>
                    <a:pt x="128955" y="54806"/>
                    <a:pt x="283702" y="0"/>
                  </a:cubicBezTo>
                  <a:lnTo>
                    <a:pt x="306269" y="6448"/>
                  </a:lnTo>
                  <a:cubicBezTo>
                    <a:pt x="306269" y="6448"/>
                    <a:pt x="238567" y="54806"/>
                    <a:pt x="145075" y="51582"/>
                  </a:cubicBezTo>
                  <a:cubicBezTo>
                    <a:pt x="58030" y="51582"/>
                    <a:pt x="0" y="12895"/>
                    <a:pt x="0" y="12895"/>
                  </a:cubicBezTo>
                  <a:cubicBezTo>
                    <a:pt x="0" y="12895"/>
                    <a:pt x="16119" y="6448"/>
                    <a:pt x="32239" y="6448"/>
                  </a:cubicBezTo>
                  <a:close/>
                </a:path>
              </a:pathLst>
            </a:custGeom>
            <a:solidFill>
              <a:srgbClr val="F6EBE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220AEFF-868A-4C30-9AA3-D8809DD37617}"/>
                </a:ext>
              </a:extLst>
            </p:cNvPr>
            <p:cNvSpPr/>
            <p:nvPr/>
          </p:nvSpPr>
          <p:spPr>
            <a:xfrm>
              <a:off x="7830019" y="9246131"/>
              <a:ext cx="810172" cy="535922"/>
            </a:xfrm>
            <a:custGeom>
              <a:avLst/>
              <a:gdLst>
                <a:gd name="connsiteX0" fmla="*/ 4203 w 810172"/>
                <a:gd name="connsiteY0" fmla="*/ 95847 h 535922"/>
                <a:gd name="connsiteX1" fmla="*/ 171845 w 810172"/>
                <a:gd name="connsiteY1" fmla="*/ 76504 h 535922"/>
                <a:gd name="connsiteX2" fmla="*/ 442651 w 810172"/>
                <a:gd name="connsiteY2" fmla="*/ 369877 h 535922"/>
                <a:gd name="connsiteX3" fmla="*/ 774711 w 810172"/>
                <a:gd name="connsiteY3" fmla="*/ 350534 h 535922"/>
                <a:gd name="connsiteX4" fmla="*/ 810173 w 810172"/>
                <a:gd name="connsiteY4" fmla="*/ 450474 h 535922"/>
                <a:gd name="connsiteX5" fmla="*/ 345934 w 810172"/>
                <a:gd name="connsiteY5" fmla="*/ 524623 h 535922"/>
                <a:gd name="connsiteX6" fmla="*/ 4203 w 810172"/>
                <a:gd name="connsiteY6" fmla="*/ 95847 h 535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0172" h="535922">
                  <a:moveTo>
                    <a:pt x="4203" y="95847"/>
                  </a:moveTo>
                  <a:cubicBezTo>
                    <a:pt x="49337" y="-52451"/>
                    <a:pt x="97696" y="-4093"/>
                    <a:pt x="171845" y="76504"/>
                  </a:cubicBezTo>
                  <a:cubicBezTo>
                    <a:pt x="249218" y="163549"/>
                    <a:pt x="416860" y="356981"/>
                    <a:pt x="442651" y="369877"/>
                  </a:cubicBezTo>
                  <a:cubicBezTo>
                    <a:pt x="494233" y="366653"/>
                    <a:pt x="774711" y="350534"/>
                    <a:pt x="774711" y="350534"/>
                  </a:cubicBezTo>
                  <a:cubicBezTo>
                    <a:pt x="768262" y="376325"/>
                    <a:pt x="810173" y="450474"/>
                    <a:pt x="810173" y="450474"/>
                  </a:cubicBezTo>
                  <a:cubicBezTo>
                    <a:pt x="810173" y="450474"/>
                    <a:pt x="449098" y="572981"/>
                    <a:pt x="345934" y="524623"/>
                  </a:cubicBezTo>
                  <a:cubicBezTo>
                    <a:pt x="291129" y="502056"/>
                    <a:pt x="-40931" y="244146"/>
                    <a:pt x="4203" y="95847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7788D98D-36C6-4A0B-9C54-45C9D7DC822C}"/>
                </a:ext>
              </a:extLst>
            </p:cNvPr>
            <p:cNvSpPr/>
            <p:nvPr/>
          </p:nvSpPr>
          <p:spPr>
            <a:xfrm>
              <a:off x="7751474" y="9171298"/>
              <a:ext cx="340658" cy="377008"/>
            </a:xfrm>
            <a:custGeom>
              <a:avLst/>
              <a:gdLst>
                <a:gd name="connsiteX0" fmla="*/ 340658 w 340658"/>
                <a:gd name="connsiteY0" fmla="*/ 193247 h 377008"/>
                <a:gd name="connsiteX1" fmla="*/ 56957 w 340658"/>
                <a:gd name="connsiteY1" fmla="*/ 3038 h 377008"/>
                <a:gd name="connsiteX2" fmla="*/ 79524 w 340658"/>
                <a:gd name="connsiteY2" fmla="*/ 377009 h 377008"/>
                <a:gd name="connsiteX3" fmla="*/ 340658 w 340658"/>
                <a:gd name="connsiteY3" fmla="*/ 193247 h 377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658" h="377008">
                  <a:moveTo>
                    <a:pt x="340658" y="193247"/>
                  </a:moveTo>
                  <a:cubicBezTo>
                    <a:pt x="266509" y="57844"/>
                    <a:pt x="121434" y="-16305"/>
                    <a:pt x="56957" y="3038"/>
                  </a:cubicBezTo>
                  <a:cubicBezTo>
                    <a:pt x="-26864" y="28829"/>
                    <a:pt x="-17192" y="231934"/>
                    <a:pt x="79524" y="377009"/>
                  </a:cubicBezTo>
                  <a:cubicBezTo>
                    <a:pt x="144002" y="373784"/>
                    <a:pt x="282628" y="254501"/>
                    <a:pt x="340658" y="193247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79E9C03A-0B07-4604-B2BA-35065ACA7FC2}"/>
                </a:ext>
              </a:extLst>
            </p:cNvPr>
            <p:cNvSpPr/>
            <p:nvPr/>
          </p:nvSpPr>
          <p:spPr>
            <a:xfrm>
              <a:off x="7749054" y="9182673"/>
              <a:ext cx="205884" cy="368857"/>
            </a:xfrm>
            <a:custGeom>
              <a:avLst/>
              <a:gdLst>
                <a:gd name="connsiteX0" fmla="*/ 88392 w 205884"/>
                <a:gd name="connsiteY0" fmla="*/ 368858 h 368857"/>
                <a:gd name="connsiteX1" fmla="*/ 81944 w 205884"/>
                <a:gd name="connsiteY1" fmla="*/ 368858 h 368857"/>
                <a:gd name="connsiteX2" fmla="*/ 81944 w 205884"/>
                <a:gd name="connsiteY2" fmla="*/ 368858 h 368857"/>
                <a:gd name="connsiteX3" fmla="*/ 81944 w 205884"/>
                <a:gd name="connsiteY3" fmla="*/ 368858 h 368857"/>
                <a:gd name="connsiteX4" fmla="*/ 4571 w 205884"/>
                <a:gd name="connsiteY4" fmla="*/ 52918 h 368857"/>
                <a:gd name="connsiteX5" fmla="*/ 36810 w 205884"/>
                <a:gd name="connsiteY5" fmla="*/ 1335 h 368857"/>
                <a:gd name="connsiteX6" fmla="*/ 46482 w 205884"/>
                <a:gd name="connsiteY6" fmla="*/ 4560 h 368857"/>
                <a:gd name="connsiteX7" fmla="*/ 43257 w 205884"/>
                <a:gd name="connsiteY7" fmla="*/ 14231 h 368857"/>
                <a:gd name="connsiteX8" fmla="*/ 17467 w 205884"/>
                <a:gd name="connsiteY8" fmla="*/ 59365 h 368857"/>
                <a:gd name="connsiteX9" fmla="*/ 91616 w 205884"/>
                <a:gd name="connsiteY9" fmla="*/ 365634 h 368857"/>
                <a:gd name="connsiteX10" fmla="*/ 194780 w 205884"/>
                <a:gd name="connsiteY10" fmla="*/ 307604 h 368857"/>
                <a:gd name="connsiteX11" fmla="*/ 204452 w 205884"/>
                <a:gd name="connsiteY11" fmla="*/ 307604 h 368857"/>
                <a:gd name="connsiteX12" fmla="*/ 204452 w 205884"/>
                <a:gd name="connsiteY12" fmla="*/ 317276 h 368857"/>
                <a:gd name="connsiteX13" fmla="*/ 88392 w 205884"/>
                <a:gd name="connsiteY13" fmla="*/ 368858 h 36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5884" h="368857">
                  <a:moveTo>
                    <a:pt x="88392" y="368858"/>
                  </a:moveTo>
                  <a:cubicBezTo>
                    <a:pt x="85168" y="368858"/>
                    <a:pt x="81944" y="368858"/>
                    <a:pt x="81944" y="368858"/>
                  </a:cubicBezTo>
                  <a:lnTo>
                    <a:pt x="81944" y="368858"/>
                  </a:lnTo>
                  <a:lnTo>
                    <a:pt x="81944" y="368858"/>
                  </a:lnTo>
                  <a:cubicBezTo>
                    <a:pt x="30362" y="297932"/>
                    <a:pt x="-14772" y="139962"/>
                    <a:pt x="4571" y="52918"/>
                  </a:cubicBezTo>
                  <a:cubicBezTo>
                    <a:pt x="11019" y="27127"/>
                    <a:pt x="20690" y="7783"/>
                    <a:pt x="36810" y="1335"/>
                  </a:cubicBezTo>
                  <a:cubicBezTo>
                    <a:pt x="40034" y="-1889"/>
                    <a:pt x="43257" y="1335"/>
                    <a:pt x="46482" y="4560"/>
                  </a:cubicBezTo>
                  <a:cubicBezTo>
                    <a:pt x="49706" y="7783"/>
                    <a:pt x="46482" y="11007"/>
                    <a:pt x="43257" y="14231"/>
                  </a:cubicBezTo>
                  <a:cubicBezTo>
                    <a:pt x="30362" y="20679"/>
                    <a:pt x="20690" y="36798"/>
                    <a:pt x="17467" y="59365"/>
                  </a:cubicBezTo>
                  <a:cubicBezTo>
                    <a:pt x="1347" y="143186"/>
                    <a:pt x="43257" y="294709"/>
                    <a:pt x="91616" y="365634"/>
                  </a:cubicBezTo>
                  <a:cubicBezTo>
                    <a:pt x="98064" y="365634"/>
                    <a:pt x="123854" y="362410"/>
                    <a:pt x="194780" y="307604"/>
                  </a:cubicBezTo>
                  <a:cubicBezTo>
                    <a:pt x="198004" y="304380"/>
                    <a:pt x="201228" y="307604"/>
                    <a:pt x="204452" y="307604"/>
                  </a:cubicBezTo>
                  <a:cubicBezTo>
                    <a:pt x="207676" y="310828"/>
                    <a:pt x="204452" y="314052"/>
                    <a:pt x="204452" y="317276"/>
                  </a:cubicBezTo>
                  <a:cubicBezTo>
                    <a:pt x="130303" y="362410"/>
                    <a:pt x="101287" y="368858"/>
                    <a:pt x="88392" y="368858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FD9869CB-E711-4F6F-BCD4-7B43FB52606A}"/>
                </a:ext>
              </a:extLst>
            </p:cNvPr>
            <p:cNvSpPr/>
            <p:nvPr/>
          </p:nvSpPr>
          <p:spPr>
            <a:xfrm>
              <a:off x="7837446" y="10064128"/>
              <a:ext cx="152857" cy="161193"/>
            </a:xfrm>
            <a:custGeom>
              <a:avLst/>
              <a:gdLst>
                <a:gd name="connsiteX0" fmla="*/ 148298 w 152857"/>
                <a:gd name="connsiteY0" fmla="*/ 161194 h 161193"/>
                <a:gd name="connsiteX1" fmla="*/ 148298 w 152857"/>
                <a:gd name="connsiteY1" fmla="*/ 161194 h 161193"/>
                <a:gd name="connsiteX2" fmla="*/ 0 w 152857"/>
                <a:gd name="connsiteY2" fmla="*/ 6448 h 161193"/>
                <a:gd name="connsiteX3" fmla="*/ 3224 w 152857"/>
                <a:gd name="connsiteY3" fmla="*/ 0 h 161193"/>
                <a:gd name="connsiteX4" fmla="*/ 9672 w 152857"/>
                <a:gd name="connsiteY4" fmla="*/ 3224 h 161193"/>
                <a:gd name="connsiteX5" fmla="*/ 148298 w 152857"/>
                <a:gd name="connsiteY5" fmla="*/ 151522 h 161193"/>
                <a:gd name="connsiteX6" fmla="*/ 151522 w 152857"/>
                <a:gd name="connsiteY6" fmla="*/ 157970 h 161193"/>
                <a:gd name="connsiteX7" fmla="*/ 148298 w 152857"/>
                <a:gd name="connsiteY7" fmla="*/ 161194 h 16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857" h="161193">
                  <a:moveTo>
                    <a:pt x="148298" y="161194"/>
                  </a:moveTo>
                  <a:cubicBezTo>
                    <a:pt x="145075" y="161194"/>
                    <a:pt x="145075" y="161194"/>
                    <a:pt x="148298" y="161194"/>
                  </a:cubicBezTo>
                  <a:cubicBezTo>
                    <a:pt x="48358" y="135403"/>
                    <a:pt x="0" y="9672"/>
                    <a:pt x="0" y="6448"/>
                  </a:cubicBezTo>
                  <a:cubicBezTo>
                    <a:pt x="0" y="3224"/>
                    <a:pt x="0" y="0"/>
                    <a:pt x="3224" y="0"/>
                  </a:cubicBezTo>
                  <a:cubicBezTo>
                    <a:pt x="6448" y="0"/>
                    <a:pt x="9672" y="0"/>
                    <a:pt x="9672" y="3224"/>
                  </a:cubicBezTo>
                  <a:cubicBezTo>
                    <a:pt x="9672" y="3224"/>
                    <a:pt x="54806" y="125732"/>
                    <a:pt x="148298" y="151522"/>
                  </a:cubicBezTo>
                  <a:cubicBezTo>
                    <a:pt x="151522" y="151522"/>
                    <a:pt x="154746" y="154746"/>
                    <a:pt x="151522" y="157970"/>
                  </a:cubicBezTo>
                  <a:cubicBezTo>
                    <a:pt x="151522" y="161194"/>
                    <a:pt x="148298" y="161194"/>
                    <a:pt x="148298" y="161194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6EC58292-DC47-4A35-943E-47ECD0FCD11F}"/>
                </a:ext>
              </a:extLst>
            </p:cNvPr>
            <p:cNvSpPr/>
            <p:nvPr/>
          </p:nvSpPr>
          <p:spPr>
            <a:xfrm>
              <a:off x="7188111" y="10048008"/>
              <a:ext cx="159305" cy="109612"/>
            </a:xfrm>
            <a:custGeom>
              <a:avLst/>
              <a:gdLst>
                <a:gd name="connsiteX0" fmla="*/ 33574 w 159305"/>
                <a:gd name="connsiteY0" fmla="*/ 109612 h 109612"/>
                <a:gd name="connsiteX1" fmla="*/ 4559 w 159305"/>
                <a:gd name="connsiteY1" fmla="*/ 106388 h 109612"/>
                <a:gd name="connsiteX2" fmla="*/ 1335 w 159305"/>
                <a:gd name="connsiteY2" fmla="*/ 99940 h 109612"/>
                <a:gd name="connsiteX3" fmla="*/ 7783 w 159305"/>
                <a:gd name="connsiteY3" fmla="*/ 96716 h 109612"/>
                <a:gd name="connsiteX4" fmla="*/ 149634 w 159305"/>
                <a:gd name="connsiteY4" fmla="*/ 3224 h 109612"/>
                <a:gd name="connsiteX5" fmla="*/ 156082 w 159305"/>
                <a:gd name="connsiteY5" fmla="*/ 0 h 109612"/>
                <a:gd name="connsiteX6" fmla="*/ 159306 w 159305"/>
                <a:gd name="connsiteY6" fmla="*/ 6448 h 109612"/>
                <a:gd name="connsiteX7" fmla="*/ 33574 w 159305"/>
                <a:gd name="connsiteY7" fmla="*/ 109612 h 109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9305" h="109612">
                  <a:moveTo>
                    <a:pt x="33574" y="109612"/>
                  </a:moveTo>
                  <a:cubicBezTo>
                    <a:pt x="23902" y="109612"/>
                    <a:pt x="14231" y="109612"/>
                    <a:pt x="4559" y="106388"/>
                  </a:cubicBezTo>
                  <a:cubicBezTo>
                    <a:pt x="1335" y="106388"/>
                    <a:pt x="-1888" y="103164"/>
                    <a:pt x="1335" y="99940"/>
                  </a:cubicBezTo>
                  <a:cubicBezTo>
                    <a:pt x="1335" y="96716"/>
                    <a:pt x="4559" y="96716"/>
                    <a:pt x="7783" y="96716"/>
                  </a:cubicBezTo>
                  <a:cubicBezTo>
                    <a:pt x="101276" y="122508"/>
                    <a:pt x="149634" y="6448"/>
                    <a:pt x="149634" y="3224"/>
                  </a:cubicBezTo>
                  <a:cubicBezTo>
                    <a:pt x="149634" y="0"/>
                    <a:pt x="152858" y="0"/>
                    <a:pt x="156082" y="0"/>
                  </a:cubicBezTo>
                  <a:cubicBezTo>
                    <a:pt x="159306" y="0"/>
                    <a:pt x="159306" y="3224"/>
                    <a:pt x="159306" y="6448"/>
                  </a:cubicBezTo>
                  <a:cubicBezTo>
                    <a:pt x="159306" y="6448"/>
                    <a:pt x="117395" y="109612"/>
                    <a:pt x="33574" y="109612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9" name="图形 1">
              <a:extLst>
                <a:ext uri="{FF2B5EF4-FFF2-40B4-BE49-F238E27FC236}">
                  <a16:creationId xmlns:a16="http://schemas.microsoft.com/office/drawing/2014/main" id="{64257D65-ED25-4225-80E3-E6F5B1943303}"/>
                </a:ext>
              </a:extLst>
            </p:cNvPr>
            <p:cNvGrpSpPr/>
            <p:nvPr/>
          </p:nvGrpSpPr>
          <p:grpSpPr>
            <a:xfrm>
              <a:off x="8581751" y="9504986"/>
              <a:ext cx="303455" cy="202559"/>
              <a:chOff x="8581751" y="9504986"/>
              <a:chExt cx="303455" cy="202559"/>
            </a:xfrm>
          </p:grpSpPr>
          <p:grpSp>
            <p:nvGrpSpPr>
              <p:cNvPr id="61" name="图形 1">
                <a:extLst>
                  <a:ext uri="{FF2B5EF4-FFF2-40B4-BE49-F238E27FC236}">
                    <a16:creationId xmlns:a16="http://schemas.microsoft.com/office/drawing/2014/main" id="{FF47D435-DD37-4CA3-977A-8DC2A85FDA8D}"/>
                  </a:ext>
                </a:extLst>
              </p:cNvPr>
              <p:cNvGrpSpPr/>
              <p:nvPr/>
            </p:nvGrpSpPr>
            <p:grpSpPr>
              <a:xfrm>
                <a:off x="8581751" y="9504986"/>
                <a:ext cx="303455" cy="202559"/>
                <a:chOff x="8581751" y="9504986"/>
                <a:chExt cx="303455" cy="202559"/>
              </a:xfrm>
            </p:grpSpPr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0B9241DD-733D-4567-B8DA-C826A23A46E7}"/>
                    </a:ext>
                  </a:extLst>
                </p:cNvPr>
                <p:cNvSpPr/>
                <p:nvPr/>
              </p:nvSpPr>
              <p:spPr>
                <a:xfrm>
                  <a:off x="8581751" y="9504986"/>
                  <a:ext cx="297846" cy="202559"/>
                </a:xfrm>
                <a:custGeom>
                  <a:avLst/>
                  <a:gdLst>
                    <a:gd name="connsiteX0" fmla="*/ 238978 w 297846"/>
                    <a:gd name="connsiteY0" fmla="*/ 172276 h 202559"/>
                    <a:gd name="connsiteX1" fmla="*/ 229306 w 297846"/>
                    <a:gd name="connsiteY1" fmla="*/ 159380 h 202559"/>
                    <a:gd name="connsiteX2" fmla="*/ 222859 w 297846"/>
                    <a:gd name="connsiteY2" fmla="*/ 156157 h 202559"/>
                    <a:gd name="connsiteX3" fmla="*/ 245426 w 297846"/>
                    <a:gd name="connsiteY3" fmla="*/ 156157 h 202559"/>
                    <a:gd name="connsiteX4" fmla="*/ 284112 w 297846"/>
                    <a:gd name="connsiteY4" fmla="*/ 146485 h 202559"/>
                    <a:gd name="connsiteX5" fmla="*/ 280889 w 297846"/>
                    <a:gd name="connsiteY5" fmla="*/ 136813 h 202559"/>
                    <a:gd name="connsiteX6" fmla="*/ 277665 w 297846"/>
                    <a:gd name="connsiteY6" fmla="*/ 136813 h 202559"/>
                    <a:gd name="connsiteX7" fmla="*/ 297008 w 297846"/>
                    <a:gd name="connsiteY7" fmla="*/ 120694 h 202559"/>
                    <a:gd name="connsiteX8" fmla="*/ 284112 w 297846"/>
                    <a:gd name="connsiteY8" fmla="*/ 101351 h 202559"/>
                    <a:gd name="connsiteX9" fmla="*/ 238978 w 297846"/>
                    <a:gd name="connsiteY9" fmla="*/ 98127 h 202559"/>
                    <a:gd name="connsiteX10" fmla="*/ 174501 w 297846"/>
                    <a:gd name="connsiteY10" fmla="*/ 94903 h 202559"/>
                    <a:gd name="connsiteX11" fmla="*/ 222859 w 297846"/>
                    <a:gd name="connsiteY11" fmla="*/ 82007 h 202559"/>
                    <a:gd name="connsiteX12" fmla="*/ 258321 w 297846"/>
                    <a:gd name="connsiteY12" fmla="*/ 72336 h 202559"/>
                    <a:gd name="connsiteX13" fmla="*/ 235754 w 297846"/>
                    <a:gd name="connsiteY13" fmla="*/ 56216 h 202559"/>
                    <a:gd name="connsiteX14" fmla="*/ 84232 w 297846"/>
                    <a:gd name="connsiteY14" fmla="*/ 82007 h 202559"/>
                    <a:gd name="connsiteX15" fmla="*/ 113247 w 297846"/>
                    <a:gd name="connsiteY15" fmla="*/ 27202 h 202559"/>
                    <a:gd name="connsiteX16" fmla="*/ 93904 w 297846"/>
                    <a:gd name="connsiteY16" fmla="*/ 4634 h 202559"/>
                    <a:gd name="connsiteX17" fmla="*/ 411 w 297846"/>
                    <a:gd name="connsiteY17" fmla="*/ 117470 h 202559"/>
                    <a:gd name="connsiteX18" fmla="*/ 35874 w 297846"/>
                    <a:gd name="connsiteY18" fmla="*/ 191619 h 202559"/>
                    <a:gd name="connsiteX19" fmla="*/ 145485 w 297846"/>
                    <a:gd name="connsiteY19" fmla="*/ 194843 h 202559"/>
                    <a:gd name="connsiteX20" fmla="*/ 238978 w 297846"/>
                    <a:gd name="connsiteY20" fmla="*/ 172276 h 2025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97846" h="202559">
                      <a:moveTo>
                        <a:pt x="238978" y="172276"/>
                      </a:moveTo>
                      <a:cubicBezTo>
                        <a:pt x="238978" y="165829"/>
                        <a:pt x="235754" y="162604"/>
                        <a:pt x="229306" y="159380"/>
                      </a:cubicBezTo>
                      <a:cubicBezTo>
                        <a:pt x="226082" y="159380"/>
                        <a:pt x="226082" y="159380"/>
                        <a:pt x="222859" y="156157"/>
                      </a:cubicBezTo>
                      <a:cubicBezTo>
                        <a:pt x="229306" y="156157"/>
                        <a:pt x="238978" y="156157"/>
                        <a:pt x="245426" y="156157"/>
                      </a:cubicBezTo>
                      <a:cubicBezTo>
                        <a:pt x="261545" y="156157"/>
                        <a:pt x="274441" y="156157"/>
                        <a:pt x="284112" y="146485"/>
                      </a:cubicBezTo>
                      <a:cubicBezTo>
                        <a:pt x="284112" y="146485"/>
                        <a:pt x="280889" y="136813"/>
                        <a:pt x="280889" y="136813"/>
                      </a:cubicBezTo>
                      <a:cubicBezTo>
                        <a:pt x="280889" y="136813"/>
                        <a:pt x="280889" y="136813"/>
                        <a:pt x="277665" y="136813"/>
                      </a:cubicBezTo>
                      <a:cubicBezTo>
                        <a:pt x="287336" y="133590"/>
                        <a:pt x="293784" y="130366"/>
                        <a:pt x="297008" y="120694"/>
                      </a:cubicBezTo>
                      <a:cubicBezTo>
                        <a:pt x="300232" y="114246"/>
                        <a:pt x="293784" y="104575"/>
                        <a:pt x="284112" y="101351"/>
                      </a:cubicBezTo>
                      <a:cubicBezTo>
                        <a:pt x="271217" y="94903"/>
                        <a:pt x="251873" y="98127"/>
                        <a:pt x="238978" y="98127"/>
                      </a:cubicBezTo>
                      <a:cubicBezTo>
                        <a:pt x="216411" y="98127"/>
                        <a:pt x="197068" y="98127"/>
                        <a:pt x="174501" y="94903"/>
                      </a:cubicBezTo>
                      <a:cubicBezTo>
                        <a:pt x="190620" y="91679"/>
                        <a:pt x="206739" y="88455"/>
                        <a:pt x="222859" y="82007"/>
                      </a:cubicBezTo>
                      <a:cubicBezTo>
                        <a:pt x="232531" y="78783"/>
                        <a:pt x="251873" y="78783"/>
                        <a:pt x="258321" y="72336"/>
                      </a:cubicBezTo>
                      <a:cubicBezTo>
                        <a:pt x="267993" y="62664"/>
                        <a:pt x="245426" y="56216"/>
                        <a:pt x="235754" y="56216"/>
                      </a:cubicBezTo>
                      <a:cubicBezTo>
                        <a:pt x="180948" y="49769"/>
                        <a:pt x="135814" y="75560"/>
                        <a:pt x="84232" y="82007"/>
                      </a:cubicBezTo>
                      <a:cubicBezTo>
                        <a:pt x="93904" y="69112"/>
                        <a:pt x="106799" y="46545"/>
                        <a:pt x="113247" y="27202"/>
                      </a:cubicBezTo>
                      <a:cubicBezTo>
                        <a:pt x="119695" y="7858"/>
                        <a:pt x="100351" y="-8261"/>
                        <a:pt x="93904" y="4634"/>
                      </a:cubicBezTo>
                      <a:cubicBezTo>
                        <a:pt x="68112" y="56216"/>
                        <a:pt x="6859" y="78783"/>
                        <a:pt x="411" y="117470"/>
                      </a:cubicBezTo>
                      <a:cubicBezTo>
                        <a:pt x="-2813" y="143261"/>
                        <a:pt x="13307" y="178724"/>
                        <a:pt x="35874" y="191619"/>
                      </a:cubicBezTo>
                      <a:cubicBezTo>
                        <a:pt x="68112" y="214187"/>
                        <a:pt x="110023" y="194843"/>
                        <a:pt x="145485" y="194843"/>
                      </a:cubicBezTo>
                      <a:cubicBezTo>
                        <a:pt x="168053" y="194843"/>
                        <a:pt x="235754" y="188396"/>
                        <a:pt x="238978" y="172276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7843C6E3-C5B4-4492-A3CA-36CBC3C4AE45}"/>
                    </a:ext>
                  </a:extLst>
                </p:cNvPr>
                <p:cNvSpPr/>
                <p:nvPr/>
              </p:nvSpPr>
              <p:spPr>
                <a:xfrm>
                  <a:off x="8636968" y="9606337"/>
                  <a:ext cx="38686" cy="41910"/>
                </a:xfrm>
                <a:custGeom>
                  <a:avLst/>
                  <a:gdLst>
                    <a:gd name="connsiteX0" fmla="*/ 6448 w 38686"/>
                    <a:gd name="connsiteY0" fmla="*/ 41910 h 41910"/>
                    <a:gd name="connsiteX1" fmla="*/ 0 w 38686"/>
                    <a:gd name="connsiteY1" fmla="*/ 38686 h 41910"/>
                    <a:gd name="connsiteX2" fmla="*/ 3224 w 38686"/>
                    <a:gd name="connsiteY2" fmla="*/ 32239 h 41910"/>
                    <a:gd name="connsiteX3" fmla="*/ 25791 w 38686"/>
                    <a:gd name="connsiteY3" fmla="*/ 6448 h 41910"/>
                    <a:gd name="connsiteX4" fmla="*/ 32239 w 38686"/>
                    <a:gd name="connsiteY4" fmla="*/ 0 h 41910"/>
                    <a:gd name="connsiteX5" fmla="*/ 32239 w 38686"/>
                    <a:gd name="connsiteY5" fmla="*/ 0 h 41910"/>
                    <a:gd name="connsiteX6" fmla="*/ 38686 w 38686"/>
                    <a:gd name="connsiteY6" fmla="*/ 6448 h 41910"/>
                    <a:gd name="connsiteX7" fmla="*/ 6448 w 38686"/>
                    <a:gd name="connsiteY7" fmla="*/ 41910 h 41910"/>
                    <a:gd name="connsiteX8" fmla="*/ 6448 w 38686"/>
                    <a:gd name="connsiteY8" fmla="*/ 41910 h 419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8686" h="41910">
                      <a:moveTo>
                        <a:pt x="6448" y="41910"/>
                      </a:moveTo>
                      <a:cubicBezTo>
                        <a:pt x="3224" y="41910"/>
                        <a:pt x="0" y="38686"/>
                        <a:pt x="0" y="38686"/>
                      </a:cubicBezTo>
                      <a:cubicBezTo>
                        <a:pt x="0" y="35462"/>
                        <a:pt x="0" y="32239"/>
                        <a:pt x="3224" y="32239"/>
                      </a:cubicBezTo>
                      <a:cubicBezTo>
                        <a:pt x="25791" y="25791"/>
                        <a:pt x="25791" y="6448"/>
                        <a:pt x="25791" y="6448"/>
                      </a:cubicBezTo>
                      <a:cubicBezTo>
                        <a:pt x="25791" y="3224"/>
                        <a:pt x="29015" y="0"/>
                        <a:pt x="32239" y="0"/>
                      </a:cubicBezTo>
                      <a:lnTo>
                        <a:pt x="32239" y="0"/>
                      </a:lnTo>
                      <a:cubicBezTo>
                        <a:pt x="35462" y="0"/>
                        <a:pt x="38686" y="3224"/>
                        <a:pt x="38686" y="6448"/>
                      </a:cubicBezTo>
                      <a:cubicBezTo>
                        <a:pt x="38686" y="12895"/>
                        <a:pt x="32239" y="35462"/>
                        <a:pt x="6448" y="41910"/>
                      </a:cubicBezTo>
                      <a:cubicBezTo>
                        <a:pt x="9671" y="41910"/>
                        <a:pt x="6448" y="41910"/>
                        <a:pt x="6448" y="41910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A1EE2DB2-B435-43D5-BCED-967203A277BA}"/>
                    </a:ext>
                  </a:extLst>
                </p:cNvPr>
                <p:cNvSpPr/>
                <p:nvPr/>
              </p:nvSpPr>
              <p:spPr>
                <a:xfrm>
                  <a:off x="8749804" y="9574098"/>
                  <a:ext cx="135402" cy="70925"/>
                </a:xfrm>
                <a:custGeom>
                  <a:avLst/>
                  <a:gdLst>
                    <a:gd name="connsiteX0" fmla="*/ 112836 w 135402"/>
                    <a:gd name="connsiteY0" fmla="*/ 70925 h 70925"/>
                    <a:gd name="connsiteX1" fmla="*/ 106388 w 135402"/>
                    <a:gd name="connsiteY1" fmla="*/ 64478 h 70925"/>
                    <a:gd name="connsiteX2" fmla="*/ 112836 w 135402"/>
                    <a:gd name="connsiteY2" fmla="*/ 58029 h 70925"/>
                    <a:gd name="connsiteX3" fmla="*/ 122507 w 135402"/>
                    <a:gd name="connsiteY3" fmla="*/ 51582 h 70925"/>
                    <a:gd name="connsiteX4" fmla="*/ 119283 w 135402"/>
                    <a:gd name="connsiteY4" fmla="*/ 41910 h 70925"/>
                    <a:gd name="connsiteX5" fmla="*/ 6448 w 135402"/>
                    <a:gd name="connsiteY5" fmla="*/ 35462 h 70925"/>
                    <a:gd name="connsiteX6" fmla="*/ 6448 w 135402"/>
                    <a:gd name="connsiteY6" fmla="*/ 35462 h 70925"/>
                    <a:gd name="connsiteX7" fmla="*/ 0 w 135402"/>
                    <a:gd name="connsiteY7" fmla="*/ 29015 h 70925"/>
                    <a:gd name="connsiteX8" fmla="*/ 6448 w 135402"/>
                    <a:gd name="connsiteY8" fmla="*/ 22567 h 70925"/>
                    <a:gd name="connsiteX9" fmla="*/ 87045 w 135402"/>
                    <a:gd name="connsiteY9" fmla="*/ 0 h 70925"/>
                    <a:gd name="connsiteX10" fmla="*/ 93492 w 135402"/>
                    <a:gd name="connsiteY10" fmla="*/ 3224 h 70925"/>
                    <a:gd name="connsiteX11" fmla="*/ 90268 w 135402"/>
                    <a:gd name="connsiteY11" fmla="*/ 9671 h 70925"/>
                    <a:gd name="connsiteX12" fmla="*/ 58029 w 135402"/>
                    <a:gd name="connsiteY12" fmla="*/ 19343 h 70925"/>
                    <a:gd name="connsiteX13" fmla="*/ 128955 w 135402"/>
                    <a:gd name="connsiteY13" fmla="*/ 29015 h 70925"/>
                    <a:gd name="connsiteX14" fmla="*/ 135403 w 135402"/>
                    <a:gd name="connsiteY14" fmla="*/ 51582 h 70925"/>
                    <a:gd name="connsiteX15" fmla="*/ 112836 w 135402"/>
                    <a:gd name="connsiteY15" fmla="*/ 70925 h 70925"/>
                    <a:gd name="connsiteX16" fmla="*/ 112836 w 135402"/>
                    <a:gd name="connsiteY16" fmla="*/ 70925 h 70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35402" h="70925">
                      <a:moveTo>
                        <a:pt x="112836" y="70925"/>
                      </a:moveTo>
                      <a:cubicBezTo>
                        <a:pt x="109612" y="70925"/>
                        <a:pt x="106388" y="67701"/>
                        <a:pt x="106388" y="64478"/>
                      </a:cubicBezTo>
                      <a:cubicBezTo>
                        <a:pt x="106388" y="61254"/>
                        <a:pt x="109612" y="58029"/>
                        <a:pt x="112836" y="58029"/>
                      </a:cubicBezTo>
                      <a:cubicBezTo>
                        <a:pt x="119283" y="58029"/>
                        <a:pt x="122507" y="54806"/>
                        <a:pt x="122507" y="51582"/>
                      </a:cubicBezTo>
                      <a:cubicBezTo>
                        <a:pt x="122507" y="48358"/>
                        <a:pt x="122507" y="45134"/>
                        <a:pt x="119283" y="41910"/>
                      </a:cubicBezTo>
                      <a:cubicBezTo>
                        <a:pt x="112836" y="35462"/>
                        <a:pt x="54806" y="35462"/>
                        <a:pt x="6448" y="35462"/>
                      </a:cubicBezTo>
                      <a:lnTo>
                        <a:pt x="6448" y="35462"/>
                      </a:lnTo>
                      <a:cubicBezTo>
                        <a:pt x="3224" y="35462"/>
                        <a:pt x="0" y="32239"/>
                        <a:pt x="0" y="29015"/>
                      </a:cubicBezTo>
                      <a:cubicBezTo>
                        <a:pt x="0" y="25791"/>
                        <a:pt x="3224" y="22567"/>
                        <a:pt x="6448" y="22567"/>
                      </a:cubicBezTo>
                      <a:cubicBezTo>
                        <a:pt x="35462" y="16119"/>
                        <a:pt x="87045" y="0"/>
                        <a:pt x="87045" y="0"/>
                      </a:cubicBezTo>
                      <a:cubicBezTo>
                        <a:pt x="90268" y="0"/>
                        <a:pt x="93492" y="0"/>
                        <a:pt x="93492" y="3224"/>
                      </a:cubicBezTo>
                      <a:cubicBezTo>
                        <a:pt x="93492" y="6448"/>
                        <a:pt x="93492" y="9671"/>
                        <a:pt x="90268" y="9671"/>
                      </a:cubicBezTo>
                      <a:cubicBezTo>
                        <a:pt x="90268" y="9671"/>
                        <a:pt x="74149" y="16119"/>
                        <a:pt x="58029" y="19343"/>
                      </a:cubicBezTo>
                      <a:cubicBezTo>
                        <a:pt x="90268" y="19343"/>
                        <a:pt x="122507" y="22567"/>
                        <a:pt x="128955" y="29015"/>
                      </a:cubicBezTo>
                      <a:cubicBezTo>
                        <a:pt x="135403" y="35462"/>
                        <a:pt x="135403" y="41910"/>
                        <a:pt x="135403" y="51582"/>
                      </a:cubicBezTo>
                      <a:cubicBezTo>
                        <a:pt x="132179" y="64478"/>
                        <a:pt x="122507" y="67701"/>
                        <a:pt x="112836" y="70925"/>
                      </a:cubicBezTo>
                      <a:cubicBezTo>
                        <a:pt x="112836" y="70925"/>
                        <a:pt x="112836" y="70925"/>
                        <a:pt x="112836" y="70925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73CEB413-26A5-4BEA-9884-59E19CBF60BC}"/>
                  </a:ext>
                </a:extLst>
              </p:cNvPr>
              <p:cNvSpPr/>
              <p:nvPr/>
            </p:nvSpPr>
            <p:spPr>
              <a:xfrm>
                <a:off x="8724013" y="9657919"/>
                <a:ext cx="103164" cy="48358"/>
              </a:xfrm>
              <a:custGeom>
                <a:avLst/>
                <a:gdLst>
                  <a:gd name="connsiteX0" fmla="*/ 16119 w 103164"/>
                  <a:gd name="connsiteY0" fmla="*/ 48358 h 48358"/>
                  <a:gd name="connsiteX1" fmla="*/ 9672 w 103164"/>
                  <a:gd name="connsiteY1" fmla="*/ 41911 h 48358"/>
                  <a:gd name="connsiteX2" fmla="*/ 16119 w 103164"/>
                  <a:gd name="connsiteY2" fmla="*/ 35463 h 48358"/>
                  <a:gd name="connsiteX3" fmla="*/ 90269 w 103164"/>
                  <a:gd name="connsiteY3" fmla="*/ 19343 h 48358"/>
                  <a:gd name="connsiteX4" fmla="*/ 90269 w 103164"/>
                  <a:gd name="connsiteY4" fmla="*/ 16119 h 48358"/>
                  <a:gd name="connsiteX5" fmla="*/ 77373 w 103164"/>
                  <a:gd name="connsiteY5" fmla="*/ 12896 h 48358"/>
                  <a:gd name="connsiteX6" fmla="*/ 48358 w 103164"/>
                  <a:gd name="connsiteY6" fmla="*/ 16119 h 48358"/>
                  <a:gd name="connsiteX7" fmla="*/ 6448 w 103164"/>
                  <a:gd name="connsiteY7" fmla="*/ 19343 h 48358"/>
                  <a:gd name="connsiteX8" fmla="*/ 0 w 103164"/>
                  <a:gd name="connsiteY8" fmla="*/ 12896 h 48358"/>
                  <a:gd name="connsiteX9" fmla="*/ 6448 w 103164"/>
                  <a:gd name="connsiteY9" fmla="*/ 6448 h 48358"/>
                  <a:gd name="connsiteX10" fmla="*/ 45134 w 103164"/>
                  <a:gd name="connsiteY10" fmla="*/ 3224 h 48358"/>
                  <a:gd name="connsiteX11" fmla="*/ 77373 w 103164"/>
                  <a:gd name="connsiteY11" fmla="*/ 0 h 48358"/>
                  <a:gd name="connsiteX12" fmla="*/ 99940 w 103164"/>
                  <a:gd name="connsiteY12" fmla="*/ 9672 h 48358"/>
                  <a:gd name="connsiteX13" fmla="*/ 103164 w 103164"/>
                  <a:gd name="connsiteY13" fmla="*/ 25791 h 48358"/>
                  <a:gd name="connsiteX14" fmla="*/ 16119 w 103164"/>
                  <a:gd name="connsiteY14" fmla="*/ 48358 h 48358"/>
                  <a:gd name="connsiteX15" fmla="*/ 16119 w 103164"/>
                  <a:gd name="connsiteY15" fmla="*/ 48358 h 48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3164" h="48358">
                    <a:moveTo>
                      <a:pt x="16119" y="48358"/>
                    </a:moveTo>
                    <a:cubicBezTo>
                      <a:pt x="12895" y="48358"/>
                      <a:pt x="9672" y="45135"/>
                      <a:pt x="9672" y="41911"/>
                    </a:cubicBezTo>
                    <a:cubicBezTo>
                      <a:pt x="9672" y="38686"/>
                      <a:pt x="12895" y="35463"/>
                      <a:pt x="16119" y="35463"/>
                    </a:cubicBezTo>
                    <a:cubicBezTo>
                      <a:pt x="51582" y="32239"/>
                      <a:pt x="87045" y="25791"/>
                      <a:pt x="90269" y="19343"/>
                    </a:cubicBezTo>
                    <a:cubicBezTo>
                      <a:pt x="90269" y="16119"/>
                      <a:pt x="90269" y="16119"/>
                      <a:pt x="90269" y="16119"/>
                    </a:cubicBezTo>
                    <a:cubicBezTo>
                      <a:pt x="90269" y="16119"/>
                      <a:pt x="87045" y="12896"/>
                      <a:pt x="77373" y="12896"/>
                    </a:cubicBezTo>
                    <a:cubicBezTo>
                      <a:pt x="70925" y="12896"/>
                      <a:pt x="58030" y="12896"/>
                      <a:pt x="48358" y="16119"/>
                    </a:cubicBezTo>
                    <a:cubicBezTo>
                      <a:pt x="29015" y="16119"/>
                      <a:pt x="12895" y="19343"/>
                      <a:pt x="6448" y="19343"/>
                    </a:cubicBezTo>
                    <a:cubicBezTo>
                      <a:pt x="3224" y="19343"/>
                      <a:pt x="0" y="16119"/>
                      <a:pt x="0" y="12896"/>
                    </a:cubicBezTo>
                    <a:cubicBezTo>
                      <a:pt x="0" y="9672"/>
                      <a:pt x="3224" y="6448"/>
                      <a:pt x="6448" y="6448"/>
                    </a:cubicBezTo>
                    <a:cubicBezTo>
                      <a:pt x="12895" y="6448"/>
                      <a:pt x="32239" y="6448"/>
                      <a:pt x="45134" y="3224"/>
                    </a:cubicBezTo>
                    <a:cubicBezTo>
                      <a:pt x="58030" y="3224"/>
                      <a:pt x="70925" y="0"/>
                      <a:pt x="77373" y="0"/>
                    </a:cubicBezTo>
                    <a:cubicBezTo>
                      <a:pt x="87045" y="0"/>
                      <a:pt x="96716" y="3224"/>
                      <a:pt x="99940" y="9672"/>
                    </a:cubicBezTo>
                    <a:cubicBezTo>
                      <a:pt x="103164" y="12896"/>
                      <a:pt x="103164" y="16119"/>
                      <a:pt x="103164" y="25791"/>
                    </a:cubicBezTo>
                    <a:cubicBezTo>
                      <a:pt x="96716" y="38686"/>
                      <a:pt x="45134" y="45135"/>
                      <a:pt x="16119" y="48358"/>
                    </a:cubicBezTo>
                    <a:lnTo>
                      <a:pt x="16119" y="48358"/>
                    </a:ln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1A824162-F437-413E-AECD-FA6000E255BD}"/>
                  </a:ext>
                </a:extLst>
              </p:cNvPr>
              <p:cNvSpPr/>
              <p:nvPr/>
            </p:nvSpPr>
            <p:spPr>
              <a:xfrm>
                <a:off x="8730461" y="9621121"/>
                <a:ext cx="140059" cy="46469"/>
              </a:xfrm>
              <a:custGeom>
                <a:avLst/>
                <a:gdLst>
                  <a:gd name="connsiteX0" fmla="*/ 83821 w 140059"/>
                  <a:gd name="connsiteY0" fmla="*/ 46470 h 46469"/>
                  <a:gd name="connsiteX1" fmla="*/ 77373 w 140059"/>
                  <a:gd name="connsiteY1" fmla="*/ 40022 h 46469"/>
                  <a:gd name="connsiteX2" fmla="*/ 83821 w 140059"/>
                  <a:gd name="connsiteY2" fmla="*/ 33574 h 46469"/>
                  <a:gd name="connsiteX3" fmla="*/ 128955 w 140059"/>
                  <a:gd name="connsiteY3" fmla="*/ 27126 h 46469"/>
                  <a:gd name="connsiteX4" fmla="*/ 128955 w 140059"/>
                  <a:gd name="connsiteY4" fmla="*/ 23903 h 46469"/>
                  <a:gd name="connsiteX5" fmla="*/ 116060 w 140059"/>
                  <a:gd name="connsiteY5" fmla="*/ 14231 h 46469"/>
                  <a:gd name="connsiteX6" fmla="*/ 64478 w 140059"/>
                  <a:gd name="connsiteY6" fmla="*/ 17455 h 46469"/>
                  <a:gd name="connsiteX7" fmla="*/ 54806 w 140059"/>
                  <a:gd name="connsiteY7" fmla="*/ 17455 h 46469"/>
                  <a:gd name="connsiteX8" fmla="*/ 6448 w 140059"/>
                  <a:gd name="connsiteY8" fmla="*/ 17455 h 46469"/>
                  <a:gd name="connsiteX9" fmla="*/ 0 w 140059"/>
                  <a:gd name="connsiteY9" fmla="*/ 11007 h 46469"/>
                  <a:gd name="connsiteX10" fmla="*/ 6448 w 140059"/>
                  <a:gd name="connsiteY10" fmla="*/ 4559 h 46469"/>
                  <a:gd name="connsiteX11" fmla="*/ 51582 w 140059"/>
                  <a:gd name="connsiteY11" fmla="*/ 4559 h 46469"/>
                  <a:gd name="connsiteX12" fmla="*/ 61254 w 140059"/>
                  <a:gd name="connsiteY12" fmla="*/ 4559 h 46469"/>
                  <a:gd name="connsiteX13" fmla="*/ 116060 w 140059"/>
                  <a:gd name="connsiteY13" fmla="*/ 1335 h 46469"/>
                  <a:gd name="connsiteX14" fmla="*/ 138627 w 140059"/>
                  <a:gd name="connsiteY14" fmla="*/ 17455 h 46469"/>
                  <a:gd name="connsiteX15" fmla="*/ 138627 w 140059"/>
                  <a:gd name="connsiteY15" fmla="*/ 30350 h 46469"/>
                  <a:gd name="connsiteX16" fmla="*/ 83821 w 140059"/>
                  <a:gd name="connsiteY16" fmla="*/ 46470 h 46469"/>
                  <a:gd name="connsiteX17" fmla="*/ 83821 w 140059"/>
                  <a:gd name="connsiteY17" fmla="*/ 46470 h 46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0059" h="46469">
                    <a:moveTo>
                      <a:pt x="83821" y="46470"/>
                    </a:moveTo>
                    <a:cubicBezTo>
                      <a:pt x="80597" y="46470"/>
                      <a:pt x="77373" y="43246"/>
                      <a:pt x="77373" y="40022"/>
                    </a:cubicBezTo>
                    <a:cubicBezTo>
                      <a:pt x="77373" y="36798"/>
                      <a:pt x="80597" y="33574"/>
                      <a:pt x="83821" y="33574"/>
                    </a:cubicBezTo>
                    <a:cubicBezTo>
                      <a:pt x="106388" y="33574"/>
                      <a:pt x="125731" y="30350"/>
                      <a:pt x="128955" y="27126"/>
                    </a:cubicBezTo>
                    <a:cubicBezTo>
                      <a:pt x="128955" y="27126"/>
                      <a:pt x="128955" y="27126"/>
                      <a:pt x="128955" y="23903"/>
                    </a:cubicBezTo>
                    <a:cubicBezTo>
                      <a:pt x="128955" y="20678"/>
                      <a:pt x="122508" y="17455"/>
                      <a:pt x="116060" y="14231"/>
                    </a:cubicBezTo>
                    <a:cubicBezTo>
                      <a:pt x="109612" y="14231"/>
                      <a:pt x="77373" y="17455"/>
                      <a:pt x="64478" y="17455"/>
                    </a:cubicBezTo>
                    <a:cubicBezTo>
                      <a:pt x="61254" y="17455"/>
                      <a:pt x="58030" y="17455"/>
                      <a:pt x="54806" y="17455"/>
                    </a:cubicBezTo>
                    <a:cubicBezTo>
                      <a:pt x="48358" y="17455"/>
                      <a:pt x="12895" y="17455"/>
                      <a:pt x="6448" y="17455"/>
                    </a:cubicBezTo>
                    <a:cubicBezTo>
                      <a:pt x="3224" y="17455"/>
                      <a:pt x="0" y="14231"/>
                      <a:pt x="0" y="11007"/>
                    </a:cubicBezTo>
                    <a:cubicBezTo>
                      <a:pt x="0" y="7783"/>
                      <a:pt x="3224" y="4559"/>
                      <a:pt x="6448" y="4559"/>
                    </a:cubicBezTo>
                    <a:cubicBezTo>
                      <a:pt x="16119" y="4559"/>
                      <a:pt x="45134" y="4559"/>
                      <a:pt x="51582" y="4559"/>
                    </a:cubicBezTo>
                    <a:cubicBezTo>
                      <a:pt x="51582" y="4559"/>
                      <a:pt x="54806" y="4559"/>
                      <a:pt x="61254" y="4559"/>
                    </a:cubicBezTo>
                    <a:cubicBezTo>
                      <a:pt x="83821" y="1335"/>
                      <a:pt x="106388" y="-1889"/>
                      <a:pt x="116060" y="1335"/>
                    </a:cubicBezTo>
                    <a:cubicBezTo>
                      <a:pt x="125731" y="4559"/>
                      <a:pt x="135403" y="7783"/>
                      <a:pt x="138627" y="17455"/>
                    </a:cubicBezTo>
                    <a:cubicBezTo>
                      <a:pt x="141851" y="20678"/>
                      <a:pt x="138627" y="27126"/>
                      <a:pt x="138627" y="30350"/>
                    </a:cubicBezTo>
                    <a:cubicBezTo>
                      <a:pt x="135403" y="46470"/>
                      <a:pt x="103164" y="46470"/>
                      <a:pt x="83821" y="46470"/>
                    </a:cubicBezTo>
                    <a:lnTo>
                      <a:pt x="83821" y="46470"/>
                    </a:ln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1413A21A-61F9-4CF9-B04B-F514A0F29246}"/>
                </a:ext>
              </a:extLst>
            </p:cNvPr>
            <p:cNvSpPr/>
            <p:nvPr/>
          </p:nvSpPr>
          <p:spPr>
            <a:xfrm>
              <a:off x="7315177" y="9931948"/>
              <a:ext cx="583522" cy="32238"/>
            </a:xfrm>
            <a:custGeom>
              <a:avLst/>
              <a:gdLst>
                <a:gd name="connsiteX0" fmla="*/ 206328 w 583522"/>
                <a:gd name="connsiteY0" fmla="*/ 32239 h 32238"/>
                <a:gd name="connsiteX1" fmla="*/ 6448 w 583522"/>
                <a:gd name="connsiteY1" fmla="*/ 25791 h 32238"/>
                <a:gd name="connsiteX2" fmla="*/ 0 w 583522"/>
                <a:gd name="connsiteY2" fmla="*/ 19343 h 32238"/>
                <a:gd name="connsiteX3" fmla="*/ 6448 w 583522"/>
                <a:gd name="connsiteY3" fmla="*/ 12896 h 32238"/>
                <a:gd name="connsiteX4" fmla="*/ 577074 w 583522"/>
                <a:gd name="connsiteY4" fmla="*/ 0 h 32238"/>
                <a:gd name="connsiteX5" fmla="*/ 583522 w 583522"/>
                <a:gd name="connsiteY5" fmla="*/ 6448 h 32238"/>
                <a:gd name="connsiteX6" fmla="*/ 577074 w 583522"/>
                <a:gd name="connsiteY6" fmla="*/ 12896 h 32238"/>
                <a:gd name="connsiteX7" fmla="*/ 206328 w 583522"/>
                <a:gd name="connsiteY7" fmla="*/ 32239 h 32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3522" h="32238">
                  <a:moveTo>
                    <a:pt x="206328" y="32239"/>
                  </a:moveTo>
                  <a:cubicBezTo>
                    <a:pt x="83821" y="32239"/>
                    <a:pt x="6448" y="25791"/>
                    <a:pt x="6448" y="25791"/>
                  </a:cubicBezTo>
                  <a:cubicBezTo>
                    <a:pt x="3224" y="25791"/>
                    <a:pt x="0" y="22567"/>
                    <a:pt x="0" y="19343"/>
                  </a:cubicBezTo>
                  <a:cubicBezTo>
                    <a:pt x="0" y="16119"/>
                    <a:pt x="3224" y="12896"/>
                    <a:pt x="6448" y="12896"/>
                  </a:cubicBezTo>
                  <a:cubicBezTo>
                    <a:pt x="9671" y="12896"/>
                    <a:pt x="267582" y="32239"/>
                    <a:pt x="577074" y="0"/>
                  </a:cubicBezTo>
                  <a:cubicBezTo>
                    <a:pt x="580299" y="0"/>
                    <a:pt x="583522" y="3224"/>
                    <a:pt x="583522" y="6448"/>
                  </a:cubicBezTo>
                  <a:cubicBezTo>
                    <a:pt x="583522" y="9672"/>
                    <a:pt x="580299" y="12896"/>
                    <a:pt x="577074" y="12896"/>
                  </a:cubicBezTo>
                  <a:cubicBezTo>
                    <a:pt x="435224" y="29015"/>
                    <a:pt x="306269" y="32239"/>
                    <a:pt x="206328" y="32239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D706DA3C-B696-4D39-9467-FF819C406677}"/>
                </a:ext>
              </a:extLst>
            </p:cNvPr>
            <p:cNvSpPr/>
            <p:nvPr/>
          </p:nvSpPr>
          <p:spPr>
            <a:xfrm>
              <a:off x="7099177" y="10812068"/>
              <a:ext cx="65813" cy="32238"/>
            </a:xfrm>
            <a:custGeom>
              <a:avLst/>
              <a:gdLst>
                <a:gd name="connsiteX0" fmla="*/ 61254 w 65813"/>
                <a:gd name="connsiteY0" fmla="*/ 32239 h 32238"/>
                <a:gd name="connsiteX1" fmla="*/ 61254 w 65813"/>
                <a:gd name="connsiteY1" fmla="*/ 32239 h 32238"/>
                <a:gd name="connsiteX2" fmla="*/ 3224 w 65813"/>
                <a:gd name="connsiteY2" fmla="*/ 9671 h 32238"/>
                <a:gd name="connsiteX3" fmla="*/ 0 w 65813"/>
                <a:gd name="connsiteY3" fmla="*/ 3224 h 32238"/>
                <a:gd name="connsiteX4" fmla="*/ 6448 w 65813"/>
                <a:gd name="connsiteY4" fmla="*/ 0 h 32238"/>
                <a:gd name="connsiteX5" fmla="*/ 61254 w 65813"/>
                <a:gd name="connsiteY5" fmla="*/ 22568 h 32238"/>
                <a:gd name="connsiteX6" fmla="*/ 64478 w 65813"/>
                <a:gd name="connsiteY6" fmla="*/ 29015 h 32238"/>
                <a:gd name="connsiteX7" fmla="*/ 61254 w 65813"/>
                <a:gd name="connsiteY7" fmla="*/ 32239 h 32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5813" h="32238">
                  <a:moveTo>
                    <a:pt x="61254" y="32239"/>
                  </a:moveTo>
                  <a:cubicBezTo>
                    <a:pt x="61254" y="32239"/>
                    <a:pt x="61254" y="32239"/>
                    <a:pt x="61254" y="32239"/>
                  </a:cubicBezTo>
                  <a:lnTo>
                    <a:pt x="3224" y="9671"/>
                  </a:lnTo>
                  <a:cubicBezTo>
                    <a:pt x="0" y="9671"/>
                    <a:pt x="0" y="6448"/>
                    <a:pt x="0" y="3224"/>
                  </a:cubicBezTo>
                  <a:cubicBezTo>
                    <a:pt x="0" y="0"/>
                    <a:pt x="3224" y="0"/>
                    <a:pt x="6448" y="0"/>
                  </a:cubicBezTo>
                  <a:lnTo>
                    <a:pt x="61254" y="22568"/>
                  </a:lnTo>
                  <a:cubicBezTo>
                    <a:pt x="64478" y="22568"/>
                    <a:pt x="64478" y="25791"/>
                    <a:pt x="64478" y="29015"/>
                  </a:cubicBezTo>
                  <a:cubicBezTo>
                    <a:pt x="67702" y="32239"/>
                    <a:pt x="64478" y="32239"/>
                    <a:pt x="61254" y="32239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2" name="图形 1">
              <a:extLst>
                <a:ext uri="{FF2B5EF4-FFF2-40B4-BE49-F238E27FC236}">
                  <a16:creationId xmlns:a16="http://schemas.microsoft.com/office/drawing/2014/main" id="{8FE50DBA-859F-4E29-A716-8E125C3C58EC}"/>
                </a:ext>
              </a:extLst>
            </p:cNvPr>
            <p:cNvGrpSpPr/>
            <p:nvPr/>
          </p:nvGrpSpPr>
          <p:grpSpPr>
            <a:xfrm>
              <a:off x="6095351" y="7564421"/>
              <a:ext cx="704610" cy="2103169"/>
              <a:chOff x="6095351" y="7564421"/>
              <a:chExt cx="704610" cy="2103169"/>
            </a:xfrm>
          </p:grpSpPr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E8C0265C-B099-452D-9B59-375FFE50DB32}"/>
                  </a:ext>
                </a:extLst>
              </p:cNvPr>
              <p:cNvSpPr/>
              <p:nvPr/>
            </p:nvSpPr>
            <p:spPr>
              <a:xfrm>
                <a:off x="6453424" y="8438486"/>
                <a:ext cx="233096" cy="1229104"/>
              </a:xfrm>
              <a:custGeom>
                <a:avLst/>
                <a:gdLst>
                  <a:gd name="connsiteX0" fmla="*/ 977 w 233096"/>
                  <a:gd name="connsiteY0" fmla="*/ 693940 h 1229104"/>
                  <a:gd name="connsiteX1" fmla="*/ 59007 w 233096"/>
                  <a:gd name="connsiteY1" fmla="*/ 355433 h 1229104"/>
                  <a:gd name="connsiteX2" fmla="*/ 49335 w 233096"/>
                  <a:gd name="connsiteY2" fmla="*/ 7254 h 1229104"/>
                  <a:gd name="connsiteX3" fmla="*/ 62231 w 233096"/>
                  <a:gd name="connsiteY3" fmla="*/ 7254 h 1229104"/>
                  <a:gd name="connsiteX4" fmla="*/ 65455 w 233096"/>
                  <a:gd name="connsiteY4" fmla="*/ 394119 h 1229104"/>
                  <a:gd name="connsiteX5" fmla="*/ 10649 w 233096"/>
                  <a:gd name="connsiteY5" fmla="*/ 748746 h 1229104"/>
                  <a:gd name="connsiteX6" fmla="*/ 133156 w 233096"/>
                  <a:gd name="connsiteY6" fmla="*/ 1077582 h 1229104"/>
                  <a:gd name="connsiteX7" fmla="*/ 226648 w 233096"/>
                  <a:gd name="connsiteY7" fmla="*/ 1216209 h 1229104"/>
                  <a:gd name="connsiteX8" fmla="*/ 233097 w 233096"/>
                  <a:gd name="connsiteY8" fmla="*/ 1222657 h 1229104"/>
                  <a:gd name="connsiteX9" fmla="*/ 223425 w 233096"/>
                  <a:gd name="connsiteY9" fmla="*/ 1229104 h 1229104"/>
                  <a:gd name="connsiteX10" fmla="*/ 68679 w 233096"/>
                  <a:gd name="connsiteY10" fmla="*/ 993761 h 1229104"/>
                  <a:gd name="connsiteX11" fmla="*/ 977 w 233096"/>
                  <a:gd name="connsiteY11" fmla="*/ 693940 h 1229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3096" h="1229104">
                    <a:moveTo>
                      <a:pt x="977" y="693940"/>
                    </a:moveTo>
                    <a:cubicBezTo>
                      <a:pt x="10649" y="581104"/>
                      <a:pt x="46111" y="468268"/>
                      <a:pt x="59007" y="355433"/>
                    </a:cubicBezTo>
                    <a:cubicBezTo>
                      <a:pt x="71903" y="239373"/>
                      <a:pt x="65455" y="123313"/>
                      <a:pt x="49335" y="7254"/>
                    </a:cubicBezTo>
                    <a:cubicBezTo>
                      <a:pt x="49335" y="-2418"/>
                      <a:pt x="62231" y="-2418"/>
                      <a:pt x="62231" y="7254"/>
                    </a:cubicBezTo>
                    <a:cubicBezTo>
                      <a:pt x="78350" y="136209"/>
                      <a:pt x="84798" y="265164"/>
                      <a:pt x="65455" y="394119"/>
                    </a:cubicBezTo>
                    <a:cubicBezTo>
                      <a:pt x="49335" y="513403"/>
                      <a:pt x="10649" y="629462"/>
                      <a:pt x="10649" y="748746"/>
                    </a:cubicBezTo>
                    <a:cubicBezTo>
                      <a:pt x="13873" y="871253"/>
                      <a:pt x="68679" y="974418"/>
                      <a:pt x="133156" y="1077582"/>
                    </a:cubicBezTo>
                    <a:cubicBezTo>
                      <a:pt x="162171" y="1125940"/>
                      <a:pt x="191186" y="1171074"/>
                      <a:pt x="226648" y="1216209"/>
                    </a:cubicBezTo>
                    <a:cubicBezTo>
                      <a:pt x="229873" y="1219433"/>
                      <a:pt x="229873" y="1219433"/>
                      <a:pt x="233097" y="1222657"/>
                    </a:cubicBezTo>
                    <a:cubicBezTo>
                      <a:pt x="229873" y="1225880"/>
                      <a:pt x="226648" y="1229104"/>
                      <a:pt x="223425" y="1229104"/>
                    </a:cubicBezTo>
                    <a:cubicBezTo>
                      <a:pt x="162171" y="1158179"/>
                      <a:pt x="113813" y="1074358"/>
                      <a:pt x="68679" y="993761"/>
                    </a:cubicBezTo>
                    <a:cubicBezTo>
                      <a:pt x="20320" y="897045"/>
                      <a:pt x="-5471" y="800328"/>
                      <a:pt x="977" y="69394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51CDF028-313A-4FD2-8F17-052180475320}"/>
                  </a:ext>
                </a:extLst>
              </p:cNvPr>
              <p:cNvSpPr/>
              <p:nvPr/>
            </p:nvSpPr>
            <p:spPr>
              <a:xfrm>
                <a:off x="6095351" y="7564421"/>
                <a:ext cx="704610" cy="983895"/>
              </a:xfrm>
              <a:custGeom>
                <a:avLst/>
                <a:gdLst>
                  <a:gd name="connsiteX0" fmla="*/ 433200 w 704610"/>
                  <a:gd name="connsiteY0" fmla="*/ 884543 h 983895"/>
                  <a:gd name="connsiteX1" fmla="*/ 465438 w 704610"/>
                  <a:gd name="connsiteY1" fmla="*/ 894215 h 983895"/>
                  <a:gd name="connsiteX2" fmla="*/ 471886 w 704610"/>
                  <a:gd name="connsiteY2" fmla="*/ 884543 h 983895"/>
                  <a:gd name="connsiteX3" fmla="*/ 433200 w 704610"/>
                  <a:gd name="connsiteY3" fmla="*/ 852304 h 983895"/>
                  <a:gd name="connsiteX4" fmla="*/ 704006 w 704610"/>
                  <a:gd name="connsiteY4" fmla="*/ 326811 h 983895"/>
                  <a:gd name="connsiteX5" fmla="*/ 326812 w 704610"/>
                  <a:gd name="connsiteY5" fmla="*/ 1200 h 983895"/>
                  <a:gd name="connsiteX6" fmla="*/ 1200 w 704610"/>
                  <a:gd name="connsiteY6" fmla="*/ 378394 h 983895"/>
                  <a:gd name="connsiteX7" fmla="*/ 355827 w 704610"/>
                  <a:gd name="connsiteY7" fmla="*/ 871647 h 983895"/>
                  <a:gd name="connsiteX8" fmla="*/ 355827 w 704610"/>
                  <a:gd name="connsiteY8" fmla="*/ 878095 h 983895"/>
                  <a:gd name="connsiteX9" fmla="*/ 304244 w 704610"/>
                  <a:gd name="connsiteY9" fmla="*/ 974812 h 983895"/>
                  <a:gd name="connsiteX10" fmla="*/ 307468 w 704610"/>
                  <a:gd name="connsiteY10" fmla="*/ 981259 h 983895"/>
                  <a:gd name="connsiteX11" fmla="*/ 359050 w 704610"/>
                  <a:gd name="connsiteY11" fmla="*/ 961916 h 983895"/>
                  <a:gd name="connsiteX12" fmla="*/ 381617 w 704610"/>
                  <a:gd name="connsiteY12" fmla="*/ 932901 h 983895"/>
                  <a:gd name="connsiteX13" fmla="*/ 423528 w 704610"/>
                  <a:gd name="connsiteY13" fmla="*/ 974812 h 983895"/>
                  <a:gd name="connsiteX14" fmla="*/ 433200 w 704610"/>
                  <a:gd name="connsiteY14" fmla="*/ 961916 h 983895"/>
                  <a:gd name="connsiteX15" fmla="*/ 423528 w 704610"/>
                  <a:gd name="connsiteY15" fmla="*/ 932901 h 983895"/>
                  <a:gd name="connsiteX16" fmla="*/ 417080 w 704610"/>
                  <a:gd name="connsiteY16" fmla="*/ 910334 h 983895"/>
                  <a:gd name="connsiteX17" fmla="*/ 488005 w 704610"/>
                  <a:gd name="connsiteY17" fmla="*/ 965140 h 983895"/>
                  <a:gd name="connsiteX18" fmla="*/ 433200 w 704610"/>
                  <a:gd name="connsiteY18" fmla="*/ 884543 h 983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04610" h="983895">
                    <a:moveTo>
                      <a:pt x="433200" y="884543"/>
                    </a:moveTo>
                    <a:cubicBezTo>
                      <a:pt x="442871" y="887767"/>
                      <a:pt x="455767" y="890990"/>
                      <a:pt x="465438" y="894215"/>
                    </a:cubicBezTo>
                    <a:cubicBezTo>
                      <a:pt x="471886" y="897439"/>
                      <a:pt x="478334" y="887767"/>
                      <a:pt x="471886" y="884543"/>
                    </a:cubicBezTo>
                    <a:cubicBezTo>
                      <a:pt x="458991" y="871647"/>
                      <a:pt x="446095" y="861976"/>
                      <a:pt x="433200" y="852304"/>
                    </a:cubicBezTo>
                    <a:cubicBezTo>
                      <a:pt x="520244" y="742692"/>
                      <a:pt x="716901" y="478334"/>
                      <a:pt x="704006" y="326811"/>
                    </a:cubicBezTo>
                    <a:cubicBezTo>
                      <a:pt x="691110" y="133379"/>
                      <a:pt x="523468" y="-14920"/>
                      <a:pt x="326812" y="1200"/>
                    </a:cubicBezTo>
                    <a:cubicBezTo>
                      <a:pt x="133379" y="14095"/>
                      <a:pt x="-14920" y="181737"/>
                      <a:pt x="1200" y="378394"/>
                    </a:cubicBezTo>
                    <a:cubicBezTo>
                      <a:pt x="10871" y="536364"/>
                      <a:pt x="259110" y="781379"/>
                      <a:pt x="355827" y="871647"/>
                    </a:cubicBezTo>
                    <a:cubicBezTo>
                      <a:pt x="355827" y="874871"/>
                      <a:pt x="355827" y="874871"/>
                      <a:pt x="355827" y="878095"/>
                    </a:cubicBezTo>
                    <a:cubicBezTo>
                      <a:pt x="336483" y="907110"/>
                      <a:pt x="307468" y="939349"/>
                      <a:pt x="304244" y="974812"/>
                    </a:cubicBezTo>
                    <a:cubicBezTo>
                      <a:pt x="304244" y="978036"/>
                      <a:pt x="307468" y="978036"/>
                      <a:pt x="307468" y="981259"/>
                    </a:cubicBezTo>
                    <a:cubicBezTo>
                      <a:pt x="323588" y="990931"/>
                      <a:pt x="346155" y="971587"/>
                      <a:pt x="359050" y="961916"/>
                    </a:cubicBezTo>
                    <a:cubicBezTo>
                      <a:pt x="368722" y="955468"/>
                      <a:pt x="378394" y="945797"/>
                      <a:pt x="381617" y="932901"/>
                    </a:cubicBezTo>
                    <a:cubicBezTo>
                      <a:pt x="388065" y="955468"/>
                      <a:pt x="400961" y="981259"/>
                      <a:pt x="423528" y="974812"/>
                    </a:cubicBezTo>
                    <a:cubicBezTo>
                      <a:pt x="429976" y="971587"/>
                      <a:pt x="433200" y="971587"/>
                      <a:pt x="433200" y="961916"/>
                    </a:cubicBezTo>
                    <a:cubicBezTo>
                      <a:pt x="433200" y="955468"/>
                      <a:pt x="426752" y="939349"/>
                      <a:pt x="423528" y="932901"/>
                    </a:cubicBezTo>
                    <a:cubicBezTo>
                      <a:pt x="420304" y="926453"/>
                      <a:pt x="420304" y="916782"/>
                      <a:pt x="417080" y="910334"/>
                    </a:cubicBezTo>
                    <a:cubicBezTo>
                      <a:pt x="436424" y="942573"/>
                      <a:pt x="468662" y="984483"/>
                      <a:pt x="488005" y="965140"/>
                    </a:cubicBezTo>
                    <a:cubicBezTo>
                      <a:pt x="507349" y="945797"/>
                      <a:pt x="458991" y="907110"/>
                      <a:pt x="433200" y="884543"/>
                    </a:cubicBez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C4F7D75D-0B25-40CB-B6AB-28B796EDF915}"/>
                  </a:ext>
                </a:extLst>
              </p:cNvPr>
              <p:cNvSpPr/>
              <p:nvPr/>
            </p:nvSpPr>
            <p:spPr>
              <a:xfrm>
                <a:off x="6443924" y="8408151"/>
                <a:ext cx="102872" cy="41417"/>
              </a:xfrm>
              <a:custGeom>
                <a:avLst/>
                <a:gdLst>
                  <a:gd name="connsiteX0" fmla="*/ 91074 w 102872"/>
                  <a:gd name="connsiteY0" fmla="*/ 2126 h 41417"/>
                  <a:gd name="connsiteX1" fmla="*/ 7254 w 102872"/>
                  <a:gd name="connsiteY1" fmla="*/ 27917 h 41417"/>
                  <a:gd name="connsiteX2" fmla="*/ 7254 w 102872"/>
                  <a:gd name="connsiteY2" fmla="*/ 40813 h 41417"/>
                  <a:gd name="connsiteX3" fmla="*/ 100746 w 102872"/>
                  <a:gd name="connsiteY3" fmla="*/ 11798 h 41417"/>
                  <a:gd name="connsiteX4" fmla="*/ 91074 w 102872"/>
                  <a:gd name="connsiteY4" fmla="*/ 2126 h 41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872" h="41417">
                    <a:moveTo>
                      <a:pt x="91074" y="2126"/>
                    </a:moveTo>
                    <a:cubicBezTo>
                      <a:pt x="68507" y="21470"/>
                      <a:pt x="39493" y="31141"/>
                      <a:pt x="7254" y="27917"/>
                    </a:cubicBezTo>
                    <a:cubicBezTo>
                      <a:pt x="-2418" y="27917"/>
                      <a:pt x="-2418" y="40813"/>
                      <a:pt x="7254" y="40813"/>
                    </a:cubicBezTo>
                    <a:cubicBezTo>
                      <a:pt x="42716" y="44037"/>
                      <a:pt x="74955" y="34365"/>
                      <a:pt x="100746" y="11798"/>
                    </a:cubicBezTo>
                    <a:cubicBezTo>
                      <a:pt x="107194" y="5350"/>
                      <a:pt x="97523" y="-4321"/>
                      <a:pt x="91074" y="2126"/>
                    </a:cubicBez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2DD6CECC-E3BA-494C-9AAE-0FCF08D5E666}"/>
                  </a:ext>
                </a:extLst>
              </p:cNvPr>
              <p:cNvSpPr/>
              <p:nvPr/>
            </p:nvSpPr>
            <p:spPr>
              <a:xfrm>
                <a:off x="6469798" y="7648884"/>
                <a:ext cx="220073" cy="330198"/>
              </a:xfrm>
              <a:custGeom>
                <a:avLst/>
                <a:gdLst>
                  <a:gd name="connsiteX0" fmla="*/ 32961 w 220073"/>
                  <a:gd name="connsiteY0" fmla="*/ 556 h 330198"/>
                  <a:gd name="connsiteX1" fmla="*/ 20066 w 220073"/>
                  <a:gd name="connsiteY1" fmla="*/ 52139 h 330198"/>
                  <a:gd name="connsiteX2" fmla="*/ 168364 w 220073"/>
                  <a:gd name="connsiteY2" fmla="*/ 303602 h 330198"/>
                  <a:gd name="connsiteX3" fmla="*/ 219946 w 220073"/>
                  <a:gd name="connsiteY3" fmla="*/ 303602 h 330198"/>
                  <a:gd name="connsiteX4" fmla="*/ 32961 w 220073"/>
                  <a:gd name="connsiteY4" fmla="*/ 556 h 330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0073" h="330198">
                    <a:moveTo>
                      <a:pt x="32961" y="556"/>
                    </a:moveTo>
                    <a:cubicBezTo>
                      <a:pt x="722" y="-5891"/>
                      <a:pt x="-15397" y="45691"/>
                      <a:pt x="20066" y="52139"/>
                    </a:cubicBezTo>
                    <a:cubicBezTo>
                      <a:pt x="129677" y="71482"/>
                      <a:pt x="171588" y="206885"/>
                      <a:pt x="168364" y="303602"/>
                    </a:cubicBezTo>
                    <a:cubicBezTo>
                      <a:pt x="168364" y="339064"/>
                      <a:pt x="219946" y="339064"/>
                      <a:pt x="219946" y="303602"/>
                    </a:cubicBezTo>
                    <a:cubicBezTo>
                      <a:pt x="223170" y="184318"/>
                      <a:pt x="165140" y="26348"/>
                      <a:pt x="32961" y="556"/>
                    </a:cubicBezTo>
                    <a:close/>
                  </a:path>
                </a:pathLst>
              </a:custGeom>
              <a:solidFill>
                <a:srgbClr val="FFFFFF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DD707E91-CAF9-4425-97D5-7E605AB5AB3E}"/>
                  </a:ext>
                </a:extLst>
              </p:cNvPr>
              <p:cNvSpPr/>
              <p:nvPr/>
            </p:nvSpPr>
            <p:spPr>
              <a:xfrm>
                <a:off x="6601267" y="8032277"/>
                <a:ext cx="72982" cy="94298"/>
              </a:xfrm>
              <a:custGeom>
                <a:avLst/>
                <a:gdLst>
                  <a:gd name="connsiteX0" fmla="*/ 53015 w 72982"/>
                  <a:gd name="connsiteY0" fmla="*/ 806 h 94298"/>
                  <a:gd name="connsiteX1" fmla="*/ 20776 w 72982"/>
                  <a:gd name="connsiteY1" fmla="*/ 20149 h 94298"/>
                  <a:gd name="connsiteX2" fmla="*/ 4657 w 72982"/>
                  <a:gd name="connsiteY2" fmla="*/ 55612 h 94298"/>
                  <a:gd name="connsiteX3" fmla="*/ 14328 w 72982"/>
                  <a:gd name="connsiteY3" fmla="*/ 91075 h 94298"/>
                  <a:gd name="connsiteX4" fmla="*/ 49791 w 72982"/>
                  <a:gd name="connsiteY4" fmla="*/ 81403 h 94298"/>
                  <a:gd name="connsiteX5" fmla="*/ 72358 w 72982"/>
                  <a:gd name="connsiteY5" fmla="*/ 33045 h 94298"/>
                  <a:gd name="connsiteX6" fmla="*/ 53015 w 72982"/>
                  <a:gd name="connsiteY6" fmla="*/ 806 h 9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982" h="94298">
                    <a:moveTo>
                      <a:pt x="53015" y="806"/>
                    </a:moveTo>
                    <a:cubicBezTo>
                      <a:pt x="40119" y="-2418"/>
                      <a:pt x="24000" y="4030"/>
                      <a:pt x="20776" y="20149"/>
                    </a:cubicBezTo>
                    <a:cubicBezTo>
                      <a:pt x="17552" y="36268"/>
                      <a:pt x="14328" y="42717"/>
                      <a:pt x="4657" y="55612"/>
                    </a:cubicBezTo>
                    <a:cubicBezTo>
                      <a:pt x="-5015" y="65284"/>
                      <a:pt x="1433" y="84627"/>
                      <a:pt x="14328" y="91075"/>
                    </a:cubicBezTo>
                    <a:cubicBezTo>
                      <a:pt x="27224" y="97522"/>
                      <a:pt x="43343" y="94298"/>
                      <a:pt x="49791" y="81403"/>
                    </a:cubicBezTo>
                    <a:cubicBezTo>
                      <a:pt x="59463" y="65284"/>
                      <a:pt x="69134" y="49164"/>
                      <a:pt x="72358" y="33045"/>
                    </a:cubicBezTo>
                    <a:cubicBezTo>
                      <a:pt x="75582" y="20149"/>
                      <a:pt x="65910" y="4030"/>
                      <a:pt x="53015" y="806"/>
                    </a:cubicBezTo>
                    <a:close/>
                  </a:path>
                </a:pathLst>
              </a:custGeom>
              <a:solidFill>
                <a:srgbClr val="FFFFFF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3" name="图形 1">
              <a:extLst>
                <a:ext uri="{FF2B5EF4-FFF2-40B4-BE49-F238E27FC236}">
                  <a16:creationId xmlns:a16="http://schemas.microsoft.com/office/drawing/2014/main" id="{C29AEDF4-FAE1-418E-B9C8-409690AAC1AD}"/>
                </a:ext>
              </a:extLst>
            </p:cNvPr>
            <p:cNvGrpSpPr/>
            <p:nvPr/>
          </p:nvGrpSpPr>
          <p:grpSpPr>
            <a:xfrm>
              <a:off x="6381358" y="9196484"/>
              <a:ext cx="130017" cy="165336"/>
              <a:chOff x="6381358" y="9196484"/>
              <a:chExt cx="130017" cy="165336"/>
            </a:xfrm>
          </p:grpSpPr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8A645C59-085D-4681-A3A6-3FE06290A457}"/>
                  </a:ext>
                </a:extLst>
              </p:cNvPr>
              <p:cNvSpPr/>
              <p:nvPr/>
            </p:nvSpPr>
            <p:spPr>
              <a:xfrm>
                <a:off x="6383476" y="9196484"/>
                <a:ext cx="109902" cy="76452"/>
              </a:xfrm>
              <a:custGeom>
                <a:avLst/>
                <a:gdLst>
                  <a:gd name="connsiteX0" fmla="*/ 12896 w 109902"/>
                  <a:gd name="connsiteY0" fmla="*/ 419 h 76452"/>
                  <a:gd name="connsiteX1" fmla="*/ 83821 w 109902"/>
                  <a:gd name="connsiteY1" fmla="*/ 22987 h 76452"/>
                  <a:gd name="connsiteX2" fmla="*/ 93493 w 109902"/>
                  <a:gd name="connsiteY2" fmla="*/ 26210 h 76452"/>
                  <a:gd name="connsiteX3" fmla="*/ 103164 w 109902"/>
                  <a:gd name="connsiteY3" fmla="*/ 35882 h 76452"/>
                  <a:gd name="connsiteX4" fmla="*/ 106388 w 109902"/>
                  <a:gd name="connsiteY4" fmla="*/ 71345 h 76452"/>
                  <a:gd name="connsiteX5" fmla="*/ 70926 w 109902"/>
                  <a:gd name="connsiteY5" fmla="*/ 71345 h 76452"/>
                  <a:gd name="connsiteX6" fmla="*/ 25791 w 109902"/>
                  <a:gd name="connsiteY6" fmla="*/ 52002 h 76452"/>
                  <a:gd name="connsiteX7" fmla="*/ 0 w 109902"/>
                  <a:gd name="connsiteY7" fmla="*/ 29434 h 76452"/>
                  <a:gd name="connsiteX8" fmla="*/ 12896 w 109902"/>
                  <a:gd name="connsiteY8" fmla="*/ 419 h 76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902" h="76452">
                    <a:moveTo>
                      <a:pt x="12896" y="419"/>
                    </a:moveTo>
                    <a:cubicBezTo>
                      <a:pt x="35463" y="-2804"/>
                      <a:pt x="58030" y="13315"/>
                      <a:pt x="83821" y="22987"/>
                    </a:cubicBezTo>
                    <a:cubicBezTo>
                      <a:pt x="87045" y="22987"/>
                      <a:pt x="93493" y="22987"/>
                      <a:pt x="93493" y="26210"/>
                    </a:cubicBezTo>
                    <a:cubicBezTo>
                      <a:pt x="96716" y="29434"/>
                      <a:pt x="99940" y="29434"/>
                      <a:pt x="103164" y="35882"/>
                    </a:cubicBezTo>
                    <a:cubicBezTo>
                      <a:pt x="109612" y="45554"/>
                      <a:pt x="112836" y="61673"/>
                      <a:pt x="106388" y="71345"/>
                    </a:cubicBezTo>
                    <a:cubicBezTo>
                      <a:pt x="96716" y="81016"/>
                      <a:pt x="83821" y="74569"/>
                      <a:pt x="70926" y="71345"/>
                    </a:cubicBezTo>
                    <a:cubicBezTo>
                      <a:pt x="54806" y="64897"/>
                      <a:pt x="41911" y="61673"/>
                      <a:pt x="25791" y="52002"/>
                    </a:cubicBezTo>
                    <a:cubicBezTo>
                      <a:pt x="16119" y="48777"/>
                      <a:pt x="3224" y="42330"/>
                      <a:pt x="0" y="29434"/>
                    </a:cubicBezTo>
                    <a:cubicBezTo>
                      <a:pt x="0" y="13315"/>
                      <a:pt x="6448" y="3643"/>
                      <a:pt x="12896" y="41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6B1F2D5D-B535-4594-8A1B-D542AC7C6FE7}"/>
                  </a:ext>
                </a:extLst>
              </p:cNvPr>
              <p:cNvSpPr/>
              <p:nvPr/>
            </p:nvSpPr>
            <p:spPr>
              <a:xfrm>
                <a:off x="6389066" y="9236200"/>
                <a:ext cx="110760" cy="78647"/>
              </a:xfrm>
              <a:custGeom>
                <a:avLst/>
                <a:gdLst>
                  <a:gd name="connsiteX0" fmla="*/ 10529 w 110760"/>
                  <a:gd name="connsiteY0" fmla="*/ 2614 h 78647"/>
                  <a:gd name="connsiteX1" fmla="*/ 87902 w 110760"/>
                  <a:gd name="connsiteY1" fmla="*/ 25181 h 78647"/>
                  <a:gd name="connsiteX2" fmla="*/ 94350 w 110760"/>
                  <a:gd name="connsiteY2" fmla="*/ 28405 h 78647"/>
                  <a:gd name="connsiteX3" fmla="*/ 104022 w 110760"/>
                  <a:gd name="connsiteY3" fmla="*/ 38077 h 78647"/>
                  <a:gd name="connsiteX4" fmla="*/ 107245 w 110760"/>
                  <a:gd name="connsiteY4" fmla="*/ 73539 h 78647"/>
                  <a:gd name="connsiteX5" fmla="*/ 71783 w 110760"/>
                  <a:gd name="connsiteY5" fmla="*/ 73539 h 78647"/>
                  <a:gd name="connsiteX6" fmla="*/ 26648 w 110760"/>
                  <a:gd name="connsiteY6" fmla="*/ 54196 h 78647"/>
                  <a:gd name="connsiteX7" fmla="*/ 857 w 110760"/>
                  <a:gd name="connsiteY7" fmla="*/ 31629 h 78647"/>
                  <a:gd name="connsiteX8" fmla="*/ 10529 w 110760"/>
                  <a:gd name="connsiteY8" fmla="*/ 2614 h 78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760" h="78647">
                    <a:moveTo>
                      <a:pt x="10529" y="2614"/>
                    </a:moveTo>
                    <a:cubicBezTo>
                      <a:pt x="36320" y="-7058"/>
                      <a:pt x="62111" y="12286"/>
                      <a:pt x="87902" y="25181"/>
                    </a:cubicBezTo>
                    <a:cubicBezTo>
                      <a:pt x="91126" y="25181"/>
                      <a:pt x="91126" y="28405"/>
                      <a:pt x="94350" y="28405"/>
                    </a:cubicBezTo>
                    <a:cubicBezTo>
                      <a:pt x="97574" y="31629"/>
                      <a:pt x="100798" y="31629"/>
                      <a:pt x="104022" y="38077"/>
                    </a:cubicBezTo>
                    <a:cubicBezTo>
                      <a:pt x="110469" y="47749"/>
                      <a:pt x="113693" y="63868"/>
                      <a:pt x="107245" y="73539"/>
                    </a:cubicBezTo>
                    <a:cubicBezTo>
                      <a:pt x="97574" y="83211"/>
                      <a:pt x="84678" y="76763"/>
                      <a:pt x="71783" y="73539"/>
                    </a:cubicBezTo>
                    <a:cubicBezTo>
                      <a:pt x="55663" y="67092"/>
                      <a:pt x="42768" y="63868"/>
                      <a:pt x="26648" y="54196"/>
                    </a:cubicBezTo>
                    <a:cubicBezTo>
                      <a:pt x="16977" y="50972"/>
                      <a:pt x="4081" y="44525"/>
                      <a:pt x="857" y="31629"/>
                    </a:cubicBezTo>
                    <a:cubicBezTo>
                      <a:pt x="-2366" y="15510"/>
                      <a:pt x="4081" y="5838"/>
                      <a:pt x="10529" y="2614"/>
                    </a:cubicBez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A4EB04F8-8611-4BCF-8AFB-8DB16DA91714}"/>
                  </a:ext>
                </a:extLst>
              </p:cNvPr>
              <p:cNvSpPr/>
              <p:nvPr/>
            </p:nvSpPr>
            <p:spPr>
              <a:xfrm>
                <a:off x="6388363" y="9271618"/>
                <a:ext cx="98567" cy="62572"/>
              </a:xfrm>
              <a:custGeom>
                <a:avLst/>
                <a:gdLst>
                  <a:gd name="connsiteX0" fmla="*/ 11232 w 98567"/>
                  <a:gd name="connsiteY0" fmla="*/ 2659 h 62572"/>
                  <a:gd name="connsiteX1" fmla="*/ 78934 w 98567"/>
                  <a:gd name="connsiteY1" fmla="*/ 18778 h 62572"/>
                  <a:gd name="connsiteX2" fmla="*/ 82158 w 98567"/>
                  <a:gd name="connsiteY2" fmla="*/ 22002 h 62572"/>
                  <a:gd name="connsiteX3" fmla="*/ 91829 w 98567"/>
                  <a:gd name="connsiteY3" fmla="*/ 28450 h 62572"/>
                  <a:gd name="connsiteX4" fmla="*/ 95053 w 98567"/>
                  <a:gd name="connsiteY4" fmla="*/ 57465 h 62572"/>
                  <a:gd name="connsiteX5" fmla="*/ 66038 w 98567"/>
                  <a:gd name="connsiteY5" fmla="*/ 57465 h 62572"/>
                  <a:gd name="connsiteX6" fmla="*/ 27351 w 98567"/>
                  <a:gd name="connsiteY6" fmla="*/ 41345 h 62572"/>
                  <a:gd name="connsiteX7" fmla="*/ 4784 w 98567"/>
                  <a:gd name="connsiteY7" fmla="*/ 22002 h 62572"/>
                  <a:gd name="connsiteX8" fmla="*/ 11232 w 98567"/>
                  <a:gd name="connsiteY8" fmla="*/ 2659 h 6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567" h="62572">
                    <a:moveTo>
                      <a:pt x="11232" y="2659"/>
                    </a:moveTo>
                    <a:cubicBezTo>
                      <a:pt x="33799" y="-7013"/>
                      <a:pt x="56366" y="12331"/>
                      <a:pt x="78934" y="18778"/>
                    </a:cubicBezTo>
                    <a:cubicBezTo>
                      <a:pt x="82158" y="18778"/>
                      <a:pt x="82158" y="22002"/>
                      <a:pt x="82158" y="22002"/>
                    </a:cubicBezTo>
                    <a:cubicBezTo>
                      <a:pt x="85381" y="25226"/>
                      <a:pt x="88605" y="25226"/>
                      <a:pt x="91829" y="28450"/>
                    </a:cubicBezTo>
                    <a:cubicBezTo>
                      <a:pt x="98277" y="38121"/>
                      <a:pt x="101501" y="51017"/>
                      <a:pt x="95053" y="57465"/>
                    </a:cubicBezTo>
                    <a:cubicBezTo>
                      <a:pt x="88605" y="67137"/>
                      <a:pt x="72486" y="60689"/>
                      <a:pt x="66038" y="57465"/>
                    </a:cubicBezTo>
                    <a:cubicBezTo>
                      <a:pt x="53143" y="54241"/>
                      <a:pt x="40247" y="47793"/>
                      <a:pt x="27351" y="41345"/>
                    </a:cubicBezTo>
                    <a:cubicBezTo>
                      <a:pt x="17680" y="38121"/>
                      <a:pt x="8008" y="34898"/>
                      <a:pt x="4784" y="22002"/>
                    </a:cubicBezTo>
                    <a:cubicBezTo>
                      <a:pt x="-4887" y="15554"/>
                      <a:pt x="1561" y="5882"/>
                      <a:pt x="11232" y="265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C214C037-D694-4FEF-9ACE-AED006711564}"/>
                  </a:ext>
                </a:extLst>
              </p:cNvPr>
              <p:cNvSpPr/>
              <p:nvPr/>
            </p:nvSpPr>
            <p:spPr>
              <a:xfrm>
                <a:off x="6389924" y="9311206"/>
                <a:ext cx="72537" cy="50614"/>
              </a:xfrm>
              <a:custGeom>
                <a:avLst/>
                <a:gdLst>
                  <a:gd name="connsiteX0" fmla="*/ 9671 w 72537"/>
                  <a:gd name="connsiteY0" fmla="*/ 1757 h 50614"/>
                  <a:gd name="connsiteX1" fmla="*/ 58030 w 72537"/>
                  <a:gd name="connsiteY1" fmla="*/ 14653 h 50614"/>
                  <a:gd name="connsiteX2" fmla="*/ 61254 w 72537"/>
                  <a:gd name="connsiteY2" fmla="*/ 17877 h 50614"/>
                  <a:gd name="connsiteX3" fmla="*/ 67701 w 72537"/>
                  <a:gd name="connsiteY3" fmla="*/ 24324 h 50614"/>
                  <a:gd name="connsiteX4" fmla="*/ 67701 w 72537"/>
                  <a:gd name="connsiteY4" fmla="*/ 46891 h 50614"/>
                  <a:gd name="connsiteX5" fmla="*/ 45134 w 72537"/>
                  <a:gd name="connsiteY5" fmla="*/ 46891 h 50614"/>
                  <a:gd name="connsiteX6" fmla="*/ 16119 w 72537"/>
                  <a:gd name="connsiteY6" fmla="*/ 37220 h 50614"/>
                  <a:gd name="connsiteX7" fmla="*/ 0 w 72537"/>
                  <a:gd name="connsiteY7" fmla="*/ 24324 h 50614"/>
                  <a:gd name="connsiteX8" fmla="*/ 9671 w 72537"/>
                  <a:gd name="connsiteY8" fmla="*/ 1757 h 50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2537" h="50614">
                    <a:moveTo>
                      <a:pt x="9671" y="1757"/>
                    </a:moveTo>
                    <a:cubicBezTo>
                      <a:pt x="25791" y="-4690"/>
                      <a:pt x="41910" y="8205"/>
                      <a:pt x="58030" y="14653"/>
                    </a:cubicBezTo>
                    <a:cubicBezTo>
                      <a:pt x="58030" y="14653"/>
                      <a:pt x="61254" y="14653"/>
                      <a:pt x="61254" y="17877"/>
                    </a:cubicBezTo>
                    <a:cubicBezTo>
                      <a:pt x="64478" y="17877"/>
                      <a:pt x="64478" y="21101"/>
                      <a:pt x="67701" y="24324"/>
                    </a:cubicBezTo>
                    <a:cubicBezTo>
                      <a:pt x="74149" y="30772"/>
                      <a:pt x="74149" y="40444"/>
                      <a:pt x="67701" y="46891"/>
                    </a:cubicBezTo>
                    <a:cubicBezTo>
                      <a:pt x="61254" y="53340"/>
                      <a:pt x="51582" y="50115"/>
                      <a:pt x="45134" y="46891"/>
                    </a:cubicBezTo>
                    <a:cubicBezTo>
                      <a:pt x="35463" y="43668"/>
                      <a:pt x="25791" y="40444"/>
                      <a:pt x="16119" y="37220"/>
                    </a:cubicBezTo>
                    <a:cubicBezTo>
                      <a:pt x="9671" y="33996"/>
                      <a:pt x="0" y="30772"/>
                      <a:pt x="0" y="24324"/>
                    </a:cubicBezTo>
                    <a:cubicBezTo>
                      <a:pt x="0" y="8205"/>
                      <a:pt x="3224" y="4981"/>
                      <a:pt x="9671" y="175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43FE607C-6F54-49AF-9570-4D84F19B9423}"/>
                  </a:ext>
                </a:extLst>
              </p:cNvPr>
              <p:cNvSpPr/>
              <p:nvPr/>
            </p:nvSpPr>
            <p:spPr>
              <a:xfrm>
                <a:off x="6383173" y="9202016"/>
                <a:ext cx="128203" cy="114171"/>
              </a:xfrm>
              <a:custGeom>
                <a:avLst/>
                <a:gdLst>
                  <a:gd name="connsiteX0" fmla="*/ 100244 w 128203"/>
                  <a:gd name="connsiteY0" fmla="*/ 114171 h 114171"/>
                  <a:gd name="connsiteX1" fmla="*/ 64781 w 128203"/>
                  <a:gd name="connsiteY1" fmla="*/ 104500 h 114171"/>
                  <a:gd name="connsiteX2" fmla="*/ 303 w 128203"/>
                  <a:gd name="connsiteY2" fmla="*/ 49694 h 114171"/>
                  <a:gd name="connsiteX3" fmla="*/ 9975 w 128203"/>
                  <a:gd name="connsiteY3" fmla="*/ 33574 h 114171"/>
                  <a:gd name="connsiteX4" fmla="*/ 22870 w 128203"/>
                  <a:gd name="connsiteY4" fmla="*/ 33574 h 114171"/>
                  <a:gd name="connsiteX5" fmla="*/ 103467 w 128203"/>
                  <a:gd name="connsiteY5" fmla="*/ 62589 h 114171"/>
                  <a:gd name="connsiteX6" fmla="*/ 109915 w 128203"/>
                  <a:gd name="connsiteY6" fmla="*/ 52917 h 114171"/>
                  <a:gd name="connsiteX7" fmla="*/ 109915 w 128203"/>
                  <a:gd name="connsiteY7" fmla="*/ 46470 h 114171"/>
                  <a:gd name="connsiteX8" fmla="*/ 45437 w 128203"/>
                  <a:gd name="connsiteY8" fmla="*/ 11007 h 114171"/>
                  <a:gd name="connsiteX9" fmla="*/ 42214 w 128203"/>
                  <a:gd name="connsiteY9" fmla="*/ 4559 h 114171"/>
                  <a:gd name="connsiteX10" fmla="*/ 48661 w 128203"/>
                  <a:gd name="connsiteY10" fmla="*/ 1335 h 114171"/>
                  <a:gd name="connsiteX11" fmla="*/ 122811 w 128203"/>
                  <a:gd name="connsiteY11" fmla="*/ 43246 h 114171"/>
                  <a:gd name="connsiteX12" fmla="*/ 122811 w 128203"/>
                  <a:gd name="connsiteY12" fmla="*/ 59365 h 114171"/>
                  <a:gd name="connsiteX13" fmla="*/ 119587 w 128203"/>
                  <a:gd name="connsiteY13" fmla="*/ 69037 h 114171"/>
                  <a:gd name="connsiteX14" fmla="*/ 126034 w 128203"/>
                  <a:gd name="connsiteY14" fmla="*/ 107723 h 114171"/>
                  <a:gd name="connsiteX15" fmla="*/ 100244 w 128203"/>
                  <a:gd name="connsiteY15" fmla="*/ 114171 h 114171"/>
                  <a:gd name="connsiteX16" fmla="*/ 13199 w 128203"/>
                  <a:gd name="connsiteY16" fmla="*/ 43246 h 114171"/>
                  <a:gd name="connsiteX17" fmla="*/ 9975 w 128203"/>
                  <a:gd name="connsiteY17" fmla="*/ 49694 h 114171"/>
                  <a:gd name="connsiteX18" fmla="*/ 68005 w 128203"/>
                  <a:gd name="connsiteY18" fmla="*/ 91604 h 114171"/>
                  <a:gd name="connsiteX19" fmla="*/ 106691 w 128203"/>
                  <a:gd name="connsiteY19" fmla="*/ 94828 h 114171"/>
                  <a:gd name="connsiteX20" fmla="*/ 100244 w 128203"/>
                  <a:gd name="connsiteY20" fmla="*/ 69037 h 114171"/>
                  <a:gd name="connsiteX21" fmla="*/ 13199 w 128203"/>
                  <a:gd name="connsiteY21" fmla="*/ 43246 h 114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8203" h="114171">
                    <a:moveTo>
                      <a:pt x="100244" y="114171"/>
                    </a:moveTo>
                    <a:cubicBezTo>
                      <a:pt x="90572" y="114171"/>
                      <a:pt x="77676" y="110947"/>
                      <a:pt x="64781" y="104500"/>
                    </a:cubicBezTo>
                    <a:cubicBezTo>
                      <a:pt x="19647" y="88380"/>
                      <a:pt x="-2921" y="69037"/>
                      <a:pt x="303" y="49694"/>
                    </a:cubicBezTo>
                    <a:cubicBezTo>
                      <a:pt x="303" y="40022"/>
                      <a:pt x="3527" y="36798"/>
                      <a:pt x="9975" y="33574"/>
                    </a:cubicBezTo>
                    <a:cubicBezTo>
                      <a:pt x="13199" y="30350"/>
                      <a:pt x="19647" y="30350"/>
                      <a:pt x="22870" y="33574"/>
                    </a:cubicBezTo>
                    <a:cubicBezTo>
                      <a:pt x="74452" y="62589"/>
                      <a:pt x="97019" y="62589"/>
                      <a:pt x="103467" y="62589"/>
                    </a:cubicBezTo>
                    <a:cubicBezTo>
                      <a:pt x="106691" y="62589"/>
                      <a:pt x="109915" y="59365"/>
                      <a:pt x="109915" y="52917"/>
                    </a:cubicBezTo>
                    <a:cubicBezTo>
                      <a:pt x="109915" y="49694"/>
                      <a:pt x="109915" y="49694"/>
                      <a:pt x="109915" y="46470"/>
                    </a:cubicBezTo>
                    <a:cubicBezTo>
                      <a:pt x="100244" y="30350"/>
                      <a:pt x="58333" y="14231"/>
                      <a:pt x="45437" y="11007"/>
                    </a:cubicBezTo>
                    <a:cubicBezTo>
                      <a:pt x="42214" y="11007"/>
                      <a:pt x="38990" y="7783"/>
                      <a:pt x="42214" y="4559"/>
                    </a:cubicBezTo>
                    <a:cubicBezTo>
                      <a:pt x="42214" y="1335"/>
                      <a:pt x="45437" y="-1889"/>
                      <a:pt x="48661" y="1335"/>
                    </a:cubicBezTo>
                    <a:cubicBezTo>
                      <a:pt x="55109" y="4559"/>
                      <a:pt x="109915" y="20678"/>
                      <a:pt x="122811" y="43246"/>
                    </a:cubicBezTo>
                    <a:cubicBezTo>
                      <a:pt x="126034" y="49694"/>
                      <a:pt x="126034" y="56141"/>
                      <a:pt x="122811" y="59365"/>
                    </a:cubicBezTo>
                    <a:cubicBezTo>
                      <a:pt x="122811" y="62589"/>
                      <a:pt x="119587" y="65813"/>
                      <a:pt x="119587" y="69037"/>
                    </a:cubicBezTo>
                    <a:cubicBezTo>
                      <a:pt x="122811" y="75484"/>
                      <a:pt x="132482" y="91604"/>
                      <a:pt x="126034" y="107723"/>
                    </a:cubicBezTo>
                    <a:cubicBezTo>
                      <a:pt x="116363" y="110947"/>
                      <a:pt x="109915" y="114171"/>
                      <a:pt x="100244" y="114171"/>
                    </a:cubicBezTo>
                    <a:close/>
                    <a:moveTo>
                      <a:pt x="13199" y="43246"/>
                    </a:moveTo>
                    <a:cubicBezTo>
                      <a:pt x="13199" y="43246"/>
                      <a:pt x="9975" y="43246"/>
                      <a:pt x="9975" y="49694"/>
                    </a:cubicBezTo>
                    <a:cubicBezTo>
                      <a:pt x="9975" y="62589"/>
                      <a:pt x="29318" y="78708"/>
                      <a:pt x="68005" y="91604"/>
                    </a:cubicBezTo>
                    <a:cubicBezTo>
                      <a:pt x="100244" y="101275"/>
                      <a:pt x="106691" y="101275"/>
                      <a:pt x="106691" y="94828"/>
                    </a:cubicBezTo>
                    <a:cubicBezTo>
                      <a:pt x="109915" y="88380"/>
                      <a:pt x="103467" y="75484"/>
                      <a:pt x="100244" y="69037"/>
                    </a:cubicBezTo>
                    <a:cubicBezTo>
                      <a:pt x="93796" y="72261"/>
                      <a:pt x="74452" y="72261"/>
                      <a:pt x="13199" y="4324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1161B1AA-7F0D-4747-856A-1B88D0F3AA66}"/>
                  </a:ext>
                </a:extLst>
              </p:cNvPr>
              <p:cNvSpPr/>
              <p:nvPr/>
            </p:nvSpPr>
            <p:spPr>
              <a:xfrm>
                <a:off x="6381358" y="9271053"/>
                <a:ext cx="112245" cy="70925"/>
              </a:xfrm>
              <a:custGeom>
                <a:avLst/>
                <a:gdLst>
                  <a:gd name="connsiteX0" fmla="*/ 85939 w 112245"/>
                  <a:gd name="connsiteY0" fmla="*/ 70925 h 70925"/>
                  <a:gd name="connsiteX1" fmla="*/ 79491 w 112245"/>
                  <a:gd name="connsiteY1" fmla="*/ 70925 h 70925"/>
                  <a:gd name="connsiteX2" fmla="*/ 5342 w 112245"/>
                  <a:gd name="connsiteY2" fmla="*/ 38686 h 70925"/>
                  <a:gd name="connsiteX3" fmla="*/ 2118 w 112245"/>
                  <a:gd name="connsiteY3" fmla="*/ 19343 h 70925"/>
                  <a:gd name="connsiteX4" fmla="*/ 18237 w 112245"/>
                  <a:gd name="connsiteY4" fmla="*/ 0 h 70925"/>
                  <a:gd name="connsiteX5" fmla="*/ 24685 w 112245"/>
                  <a:gd name="connsiteY5" fmla="*/ 3224 h 70925"/>
                  <a:gd name="connsiteX6" fmla="*/ 21461 w 112245"/>
                  <a:gd name="connsiteY6" fmla="*/ 9672 h 70925"/>
                  <a:gd name="connsiteX7" fmla="*/ 15013 w 112245"/>
                  <a:gd name="connsiteY7" fmla="*/ 19343 h 70925"/>
                  <a:gd name="connsiteX8" fmla="*/ 15013 w 112245"/>
                  <a:gd name="connsiteY8" fmla="*/ 25791 h 70925"/>
                  <a:gd name="connsiteX9" fmla="*/ 82715 w 112245"/>
                  <a:gd name="connsiteY9" fmla="*/ 54806 h 70925"/>
                  <a:gd name="connsiteX10" fmla="*/ 95610 w 112245"/>
                  <a:gd name="connsiteY10" fmla="*/ 51582 h 70925"/>
                  <a:gd name="connsiteX11" fmla="*/ 98834 w 112245"/>
                  <a:gd name="connsiteY11" fmla="*/ 35463 h 70925"/>
                  <a:gd name="connsiteX12" fmla="*/ 105282 w 112245"/>
                  <a:gd name="connsiteY12" fmla="*/ 29015 h 70925"/>
                  <a:gd name="connsiteX13" fmla="*/ 111730 w 112245"/>
                  <a:gd name="connsiteY13" fmla="*/ 35463 h 70925"/>
                  <a:gd name="connsiteX14" fmla="*/ 105282 w 112245"/>
                  <a:gd name="connsiteY14" fmla="*/ 64478 h 70925"/>
                  <a:gd name="connsiteX15" fmla="*/ 85939 w 112245"/>
                  <a:gd name="connsiteY15" fmla="*/ 70925 h 70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245" h="70925">
                    <a:moveTo>
                      <a:pt x="85939" y="70925"/>
                    </a:moveTo>
                    <a:cubicBezTo>
                      <a:pt x="82715" y="70925"/>
                      <a:pt x="82715" y="70925"/>
                      <a:pt x="79491" y="70925"/>
                    </a:cubicBezTo>
                    <a:cubicBezTo>
                      <a:pt x="50476" y="64478"/>
                      <a:pt x="15013" y="48358"/>
                      <a:pt x="5342" y="38686"/>
                    </a:cubicBezTo>
                    <a:cubicBezTo>
                      <a:pt x="-1106" y="35463"/>
                      <a:pt x="-1106" y="25791"/>
                      <a:pt x="2118" y="19343"/>
                    </a:cubicBezTo>
                    <a:cubicBezTo>
                      <a:pt x="5342" y="12896"/>
                      <a:pt x="8565" y="3224"/>
                      <a:pt x="18237" y="0"/>
                    </a:cubicBezTo>
                    <a:cubicBezTo>
                      <a:pt x="21461" y="0"/>
                      <a:pt x="24685" y="0"/>
                      <a:pt x="24685" y="3224"/>
                    </a:cubicBezTo>
                    <a:cubicBezTo>
                      <a:pt x="24685" y="6448"/>
                      <a:pt x="24685" y="9672"/>
                      <a:pt x="21461" y="9672"/>
                    </a:cubicBezTo>
                    <a:cubicBezTo>
                      <a:pt x="21461" y="9672"/>
                      <a:pt x="15013" y="16119"/>
                      <a:pt x="15013" y="19343"/>
                    </a:cubicBezTo>
                    <a:cubicBezTo>
                      <a:pt x="15013" y="22567"/>
                      <a:pt x="15013" y="25791"/>
                      <a:pt x="15013" y="25791"/>
                    </a:cubicBezTo>
                    <a:cubicBezTo>
                      <a:pt x="21461" y="32239"/>
                      <a:pt x="53700" y="51582"/>
                      <a:pt x="82715" y="54806"/>
                    </a:cubicBezTo>
                    <a:cubicBezTo>
                      <a:pt x="89162" y="54806"/>
                      <a:pt x="92386" y="54806"/>
                      <a:pt x="95610" y="51582"/>
                    </a:cubicBezTo>
                    <a:cubicBezTo>
                      <a:pt x="98834" y="48358"/>
                      <a:pt x="98834" y="38686"/>
                      <a:pt x="98834" y="35463"/>
                    </a:cubicBezTo>
                    <a:cubicBezTo>
                      <a:pt x="98834" y="32239"/>
                      <a:pt x="98834" y="29015"/>
                      <a:pt x="105282" y="29015"/>
                    </a:cubicBezTo>
                    <a:cubicBezTo>
                      <a:pt x="108506" y="29015"/>
                      <a:pt x="111730" y="29015"/>
                      <a:pt x="111730" y="35463"/>
                    </a:cubicBezTo>
                    <a:cubicBezTo>
                      <a:pt x="111730" y="38686"/>
                      <a:pt x="114953" y="54806"/>
                      <a:pt x="105282" y="64478"/>
                    </a:cubicBezTo>
                    <a:cubicBezTo>
                      <a:pt x="102058" y="70925"/>
                      <a:pt x="95610" y="70925"/>
                      <a:pt x="85939" y="70925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9F73CBD6-0538-4223-801C-43BDB3E53200}"/>
                </a:ext>
              </a:extLst>
            </p:cNvPr>
            <p:cNvSpPr/>
            <p:nvPr/>
          </p:nvSpPr>
          <p:spPr>
            <a:xfrm>
              <a:off x="6443951" y="9250700"/>
              <a:ext cx="112547" cy="94666"/>
            </a:xfrm>
            <a:custGeom>
              <a:avLst/>
              <a:gdLst>
                <a:gd name="connsiteX0" fmla="*/ 778 w 112547"/>
                <a:gd name="connsiteY0" fmla="*/ 46144 h 94666"/>
                <a:gd name="connsiteX1" fmla="*/ 23345 w 112547"/>
                <a:gd name="connsiteY1" fmla="*/ 42920 h 94666"/>
                <a:gd name="connsiteX2" fmla="*/ 68480 w 112547"/>
                <a:gd name="connsiteY2" fmla="*/ 55816 h 94666"/>
                <a:gd name="connsiteX3" fmla="*/ 91047 w 112547"/>
                <a:gd name="connsiteY3" fmla="*/ 94502 h 94666"/>
                <a:gd name="connsiteX4" fmla="*/ 110390 w 112547"/>
                <a:gd name="connsiteY4" fmla="*/ 39696 h 94666"/>
                <a:gd name="connsiteX5" fmla="*/ 39465 w 112547"/>
                <a:gd name="connsiteY5" fmla="*/ 1010 h 94666"/>
                <a:gd name="connsiteX6" fmla="*/ 778 w 112547"/>
                <a:gd name="connsiteY6" fmla="*/ 46144 h 94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547" h="94666">
                  <a:moveTo>
                    <a:pt x="778" y="46144"/>
                  </a:moveTo>
                  <a:cubicBezTo>
                    <a:pt x="4002" y="52592"/>
                    <a:pt x="16897" y="46144"/>
                    <a:pt x="23345" y="42920"/>
                  </a:cubicBezTo>
                  <a:cubicBezTo>
                    <a:pt x="42689" y="42920"/>
                    <a:pt x="55584" y="42920"/>
                    <a:pt x="68480" y="55816"/>
                  </a:cubicBezTo>
                  <a:cubicBezTo>
                    <a:pt x="74927" y="62263"/>
                    <a:pt x="84599" y="88055"/>
                    <a:pt x="91047" y="94502"/>
                  </a:cubicBezTo>
                  <a:cubicBezTo>
                    <a:pt x="94271" y="97726"/>
                    <a:pt x="120062" y="52592"/>
                    <a:pt x="110390" y="39696"/>
                  </a:cubicBezTo>
                  <a:cubicBezTo>
                    <a:pt x="97495" y="20353"/>
                    <a:pt x="65256" y="-5438"/>
                    <a:pt x="39465" y="1010"/>
                  </a:cubicBezTo>
                  <a:cubicBezTo>
                    <a:pt x="29793" y="4234"/>
                    <a:pt x="-5670" y="30025"/>
                    <a:pt x="778" y="46144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2E814762-8C25-4097-A804-B612996F902D}"/>
                </a:ext>
              </a:extLst>
            </p:cNvPr>
            <p:cNvSpPr/>
            <p:nvPr/>
          </p:nvSpPr>
          <p:spPr>
            <a:xfrm>
              <a:off x="6440170" y="9240762"/>
              <a:ext cx="128499" cy="107664"/>
            </a:xfrm>
            <a:custGeom>
              <a:avLst/>
              <a:gdLst>
                <a:gd name="connsiteX0" fmla="*/ 72261 w 128499"/>
                <a:gd name="connsiteY0" fmla="*/ 107665 h 107664"/>
                <a:gd name="connsiteX1" fmla="*/ 65813 w 128499"/>
                <a:gd name="connsiteY1" fmla="*/ 104441 h 107664"/>
                <a:gd name="connsiteX2" fmla="*/ 65813 w 128499"/>
                <a:gd name="connsiteY2" fmla="*/ 65754 h 107664"/>
                <a:gd name="connsiteX3" fmla="*/ 27126 w 128499"/>
                <a:gd name="connsiteY3" fmla="*/ 59306 h 107664"/>
                <a:gd name="connsiteX4" fmla="*/ 4559 w 128499"/>
                <a:gd name="connsiteY4" fmla="*/ 56082 h 107664"/>
                <a:gd name="connsiteX5" fmla="*/ 1335 w 128499"/>
                <a:gd name="connsiteY5" fmla="*/ 39963 h 107664"/>
                <a:gd name="connsiteX6" fmla="*/ 49694 w 128499"/>
                <a:gd name="connsiteY6" fmla="*/ 1277 h 107664"/>
                <a:gd name="connsiteX7" fmla="*/ 127067 w 128499"/>
                <a:gd name="connsiteY7" fmla="*/ 43187 h 107664"/>
                <a:gd name="connsiteX8" fmla="*/ 127067 w 128499"/>
                <a:gd name="connsiteY8" fmla="*/ 52858 h 107664"/>
                <a:gd name="connsiteX9" fmla="*/ 117395 w 128499"/>
                <a:gd name="connsiteY9" fmla="*/ 52858 h 107664"/>
                <a:gd name="connsiteX10" fmla="*/ 56141 w 128499"/>
                <a:gd name="connsiteY10" fmla="*/ 14172 h 107664"/>
                <a:gd name="connsiteX11" fmla="*/ 17455 w 128499"/>
                <a:gd name="connsiteY11" fmla="*/ 46411 h 107664"/>
                <a:gd name="connsiteX12" fmla="*/ 17455 w 128499"/>
                <a:gd name="connsiteY12" fmla="*/ 49635 h 107664"/>
                <a:gd name="connsiteX13" fmla="*/ 30350 w 128499"/>
                <a:gd name="connsiteY13" fmla="*/ 49635 h 107664"/>
                <a:gd name="connsiteX14" fmla="*/ 85156 w 128499"/>
                <a:gd name="connsiteY14" fmla="*/ 62530 h 107664"/>
                <a:gd name="connsiteX15" fmla="*/ 85156 w 128499"/>
                <a:gd name="connsiteY15" fmla="*/ 68978 h 107664"/>
                <a:gd name="connsiteX16" fmla="*/ 85156 w 128499"/>
                <a:gd name="connsiteY16" fmla="*/ 97993 h 107664"/>
                <a:gd name="connsiteX17" fmla="*/ 72261 w 128499"/>
                <a:gd name="connsiteY17" fmla="*/ 107665 h 107664"/>
                <a:gd name="connsiteX18" fmla="*/ 72261 w 128499"/>
                <a:gd name="connsiteY18" fmla="*/ 107665 h 107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8499" h="107664">
                  <a:moveTo>
                    <a:pt x="72261" y="107665"/>
                  </a:moveTo>
                  <a:cubicBezTo>
                    <a:pt x="69037" y="107665"/>
                    <a:pt x="69037" y="107665"/>
                    <a:pt x="65813" y="104441"/>
                  </a:cubicBezTo>
                  <a:cubicBezTo>
                    <a:pt x="59365" y="91545"/>
                    <a:pt x="62589" y="75426"/>
                    <a:pt x="65813" y="65754"/>
                  </a:cubicBezTo>
                  <a:cubicBezTo>
                    <a:pt x="52917" y="56082"/>
                    <a:pt x="40022" y="56082"/>
                    <a:pt x="27126" y="59306"/>
                  </a:cubicBezTo>
                  <a:cubicBezTo>
                    <a:pt x="17455" y="62530"/>
                    <a:pt x="7783" y="62530"/>
                    <a:pt x="4559" y="56082"/>
                  </a:cubicBezTo>
                  <a:cubicBezTo>
                    <a:pt x="1335" y="52858"/>
                    <a:pt x="-1888" y="46411"/>
                    <a:pt x="1335" y="39963"/>
                  </a:cubicBezTo>
                  <a:cubicBezTo>
                    <a:pt x="4559" y="27068"/>
                    <a:pt x="20679" y="7724"/>
                    <a:pt x="49694" y="1277"/>
                  </a:cubicBezTo>
                  <a:cubicBezTo>
                    <a:pt x="85156" y="-8395"/>
                    <a:pt x="123843" y="39963"/>
                    <a:pt x="127067" y="43187"/>
                  </a:cubicBezTo>
                  <a:cubicBezTo>
                    <a:pt x="130291" y="46411"/>
                    <a:pt x="127067" y="49635"/>
                    <a:pt x="127067" y="52858"/>
                  </a:cubicBezTo>
                  <a:cubicBezTo>
                    <a:pt x="123843" y="56082"/>
                    <a:pt x="120619" y="56082"/>
                    <a:pt x="117395" y="52858"/>
                  </a:cubicBezTo>
                  <a:cubicBezTo>
                    <a:pt x="107724" y="39963"/>
                    <a:pt x="75485" y="7724"/>
                    <a:pt x="56141" y="14172"/>
                  </a:cubicBezTo>
                  <a:cubicBezTo>
                    <a:pt x="33574" y="20619"/>
                    <a:pt x="20679" y="36739"/>
                    <a:pt x="17455" y="46411"/>
                  </a:cubicBezTo>
                  <a:cubicBezTo>
                    <a:pt x="17455" y="46411"/>
                    <a:pt x="17455" y="49635"/>
                    <a:pt x="17455" y="49635"/>
                  </a:cubicBezTo>
                  <a:cubicBezTo>
                    <a:pt x="17455" y="49635"/>
                    <a:pt x="27126" y="49635"/>
                    <a:pt x="30350" y="49635"/>
                  </a:cubicBezTo>
                  <a:cubicBezTo>
                    <a:pt x="43246" y="46411"/>
                    <a:pt x="65813" y="43187"/>
                    <a:pt x="85156" y="62530"/>
                  </a:cubicBezTo>
                  <a:cubicBezTo>
                    <a:pt x="88380" y="65754"/>
                    <a:pt x="88380" y="65754"/>
                    <a:pt x="85156" y="68978"/>
                  </a:cubicBezTo>
                  <a:cubicBezTo>
                    <a:pt x="81932" y="75426"/>
                    <a:pt x="78709" y="91545"/>
                    <a:pt x="85156" y="97993"/>
                  </a:cubicBezTo>
                  <a:cubicBezTo>
                    <a:pt x="78709" y="101217"/>
                    <a:pt x="78709" y="104441"/>
                    <a:pt x="72261" y="107665"/>
                  </a:cubicBezTo>
                  <a:cubicBezTo>
                    <a:pt x="75485" y="107665"/>
                    <a:pt x="72261" y="107665"/>
                    <a:pt x="72261" y="107665"/>
                  </a:cubicBezTo>
                  <a:close/>
                </a:path>
              </a:pathLst>
            </a:custGeom>
            <a:solidFill>
              <a:srgbClr val="E58777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B4503672-B65D-4DCC-80DC-6C241453CD6F}"/>
                </a:ext>
              </a:extLst>
            </p:cNvPr>
            <p:cNvSpPr/>
            <p:nvPr/>
          </p:nvSpPr>
          <p:spPr>
            <a:xfrm>
              <a:off x="7192153" y="8380202"/>
              <a:ext cx="278523" cy="317632"/>
            </a:xfrm>
            <a:custGeom>
              <a:avLst/>
              <a:gdLst>
                <a:gd name="connsiteX0" fmla="*/ 274547 w 278523"/>
                <a:gd name="connsiteY0" fmla="*/ 94552 h 317632"/>
                <a:gd name="connsiteX1" fmla="*/ 213293 w 278523"/>
                <a:gd name="connsiteY1" fmla="*/ 10731 h 317632"/>
                <a:gd name="connsiteX2" fmla="*/ 110129 w 278523"/>
                <a:gd name="connsiteY2" fmla="*/ 17179 h 317632"/>
                <a:gd name="connsiteX3" fmla="*/ 517 w 278523"/>
                <a:gd name="connsiteY3" fmla="*/ 191269 h 317632"/>
                <a:gd name="connsiteX4" fmla="*/ 148816 w 278523"/>
                <a:gd name="connsiteY4" fmla="*/ 317000 h 317632"/>
                <a:gd name="connsiteX5" fmla="*/ 184278 w 278523"/>
                <a:gd name="connsiteY5" fmla="*/ 300881 h 317632"/>
                <a:gd name="connsiteX6" fmla="*/ 187502 w 278523"/>
                <a:gd name="connsiteY6" fmla="*/ 300881 h 317632"/>
                <a:gd name="connsiteX7" fmla="*/ 274547 w 278523"/>
                <a:gd name="connsiteY7" fmla="*/ 94552 h 317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8523" h="317632">
                  <a:moveTo>
                    <a:pt x="274547" y="94552"/>
                  </a:moveTo>
                  <a:cubicBezTo>
                    <a:pt x="264875" y="62314"/>
                    <a:pt x="242308" y="30075"/>
                    <a:pt x="213293" y="10731"/>
                  </a:cubicBezTo>
                  <a:cubicBezTo>
                    <a:pt x="184278" y="-8612"/>
                    <a:pt x="142368" y="1060"/>
                    <a:pt x="110129" y="17179"/>
                  </a:cubicBezTo>
                  <a:cubicBezTo>
                    <a:pt x="48876" y="42970"/>
                    <a:pt x="-5930" y="126791"/>
                    <a:pt x="517" y="191269"/>
                  </a:cubicBezTo>
                  <a:cubicBezTo>
                    <a:pt x="6965" y="268642"/>
                    <a:pt x="84338" y="300881"/>
                    <a:pt x="148816" y="317000"/>
                  </a:cubicBezTo>
                  <a:cubicBezTo>
                    <a:pt x="164935" y="320224"/>
                    <a:pt x="177831" y="310552"/>
                    <a:pt x="184278" y="300881"/>
                  </a:cubicBezTo>
                  <a:cubicBezTo>
                    <a:pt x="184278" y="300881"/>
                    <a:pt x="184278" y="300881"/>
                    <a:pt x="187502" y="300881"/>
                  </a:cubicBezTo>
                  <a:cubicBezTo>
                    <a:pt x="239084" y="249299"/>
                    <a:pt x="293890" y="168702"/>
                    <a:pt x="274547" y="94552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53AF792-5FB7-4D14-8B16-2A4290BECE3C}"/>
                </a:ext>
              </a:extLst>
            </p:cNvPr>
            <p:cNvSpPr/>
            <p:nvPr/>
          </p:nvSpPr>
          <p:spPr>
            <a:xfrm>
              <a:off x="7269011" y="8454553"/>
              <a:ext cx="225968" cy="253329"/>
            </a:xfrm>
            <a:custGeom>
              <a:avLst/>
              <a:gdLst>
                <a:gd name="connsiteX0" fmla="*/ 178345 w 225968"/>
                <a:gd name="connsiteY0" fmla="*/ 4082 h 253329"/>
                <a:gd name="connsiteX1" fmla="*/ 62286 w 225968"/>
                <a:gd name="connsiteY1" fmla="*/ 84679 h 253329"/>
                <a:gd name="connsiteX2" fmla="*/ 1032 w 225968"/>
                <a:gd name="connsiteY2" fmla="*/ 213634 h 253329"/>
                <a:gd name="connsiteX3" fmla="*/ 62286 w 225968"/>
                <a:gd name="connsiteY3" fmla="*/ 229754 h 253329"/>
                <a:gd name="connsiteX4" fmla="*/ 117092 w 225968"/>
                <a:gd name="connsiteY4" fmla="*/ 120142 h 253329"/>
                <a:gd name="connsiteX5" fmla="*/ 210584 w 225968"/>
                <a:gd name="connsiteY5" fmla="*/ 55664 h 253329"/>
                <a:gd name="connsiteX6" fmla="*/ 178345 w 225968"/>
                <a:gd name="connsiteY6" fmla="*/ 4082 h 253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5968" h="253329">
                  <a:moveTo>
                    <a:pt x="178345" y="4082"/>
                  </a:moveTo>
                  <a:cubicBezTo>
                    <a:pt x="136435" y="26649"/>
                    <a:pt x="94525" y="52440"/>
                    <a:pt x="62286" y="84679"/>
                  </a:cubicBezTo>
                  <a:cubicBezTo>
                    <a:pt x="30047" y="120142"/>
                    <a:pt x="13928" y="165276"/>
                    <a:pt x="1032" y="213634"/>
                  </a:cubicBezTo>
                  <a:cubicBezTo>
                    <a:pt x="-8640" y="252321"/>
                    <a:pt x="52614" y="271664"/>
                    <a:pt x="62286" y="229754"/>
                  </a:cubicBezTo>
                  <a:cubicBezTo>
                    <a:pt x="71957" y="187843"/>
                    <a:pt x="84853" y="152381"/>
                    <a:pt x="117092" y="120142"/>
                  </a:cubicBezTo>
                  <a:cubicBezTo>
                    <a:pt x="142883" y="94351"/>
                    <a:pt x="178345" y="75007"/>
                    <a:pt x="210584" y="55664"/>
                  </a:cubicBezTo>
                  <a:cubicBezTo>
                    <a:pt x="246047" y="39545"/>
                    <a:pt x="213808" y="-15261"/>
                    <a:pt x="178345" y="4082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74E1B597-8DDC-4021-8A19-A4B8A29BAA49}"/>
                </a:ext>
              </a:extLst>
            </p:cNvPr>
            <p:cNvSpPr/>
            <p:nvPr/>
          </p:nvSpPr>
          <p:spPr>
            <a:xfrm>
              <a:off x="7752494" y="8373754"/>
              <a:ext cx="259194" cy="317632"/>
            </a:xfrm>
            <a:custGeom>
              <a:avLst/>
              <a:gdLst>
                <a:gd name="connsiteX0" fmla="*/ 4355 w 259194"/>
                <a:gd name="connsiteY0" fmla="*/ 94553 h 317632"/>
                <a:gd name="connsiteX1" fmla="*/ 59161 w 259194"/>
                <a:gd name="connsiteY1" fmla="*/ 10731 h 317632"/>
                <a:gd name="connsiteX2" fmla="*/ 155878 w 259194"/>
                <a:gd name="connsiteY2" fmla="*/ 17179 h 317632"/>
                <a:gd name="connsiteX3" fmla="*/ 259042 w 259194"/>
                <a:gd name="connsiteY3" fmla="*/ 191269 h 317632"/>
                <a:gd name="connsiteX4" fmla="*/ 120415 w 259194"/>
                <a:gd name="connsiteY4" fmla="*/ 317000 h 317632"/>
                <a:gd name="connsiteX5" fmla="*/ 88176 w 259194"/>
                <a:gd name="connsiteY5" fmla="*/ 300881 h 317632"/>
                <a:gd name="connsiteX6" fmla="*/ 84952 w 259194"/>
                <a:gd name="connsiteY6" fmla="*/ 300881 h 317632"/>
                <a:gd name="connsiteX7" fmla="*/ 4355 w 259194"/>
                <a:gd name="connsiteY7" fmla="*/ 94553 h 317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194" h="317632">
                  <a:moveTo>
                    <a:pt x="4355" y="94553"/>
                  </a:moveTo>
                  <a:cubicBezTo>
                    <a:pt x="10803" y="62314"/>
                    <a:pt x="36594" y="30075"/>
                    <a:pt x="59161" y="10731"/>
                  </a:cubicBezTo>
                  <a:cubicBezTo>
                    <a:pt x="88176" y="-8612"/>
                    <a:pt x="126863" y="1060"/>
                    <a:pt x="155878" y="17179"/>
                  </a:cubicBezTo>
                  <a:cubicBezTo>
                    <a:pt x="213908" y="42970"/>
                    <a:pt x="262266" y="126791"/>
                    <a:pt x="259042" y="191269"/>
                  </a:cubicBezTo>
                  <a:cubicBezTo>
                    <a:pt x="252594" y="268642"/>
                    <a:pt x="181669" y="300881"/>
                    <a:pt x="120415" y="317000"/>
                  </a:cubicBezTo>
                  <a:cubicBezTo>
                    <a:pt x="104295" y="320224"/>
                    <a:pt x="91400" y="310552"/>
                    <a:pt x="88176" y="300881"/>
                  </a:cubicBezTo>
                  <a:cubicBezTo>
                    <a:pt x="88176" y="300881"/>
                    <a:pt x="88176" y="300881"/>
                    <a:pt x="84952" y="300881"/>
                  </a:cubicBezTo>
                  <a:cubicBezTo>
                    <a:pt x="33370" y="249299"/>
                    <a:pt x="-14988" y="171926"/>
                    <a:pt x="4355" y="94553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A061F0C2-895D-4AB7-B225-2E604F7384CE}"/>
                </a:ext>
              </a:extLst>
            </p:cNvPr>
            <p:cNvSpPr/>
            <p:nvPr/>
          </p:nvSpPr>
          <p:spPr>
            <a:xfrm>
              <a:off x="7728475" y="8448105"/>
              <a:ext cx="209994" cy="253329"/>
            </a:xfrm>
            <a:custGeom>
              <a:avLst/>
              <a:gdLst>
                <a:gd name="connsiteX0" fmla="*/ 44494 w 209994"/>
                <a:gd name="connsiteY0" fmla="*/ 4082 h 253329"/>
                <a:gd name="connsiteX1" fmla="*/ 150882 w 209994"/>
                <a:gd name="connsiteY1" fmla="*/ 84679 h 253329"/>
                <a:gd name="connsiteX2" fmla="*/ 208911 w 209994"/>
                <a:gd name="connsiteY2" fmla="*/ 213634 h 253329"/>
                <a:gd name="connsiteX3" fmla="*/ 150882 w 209994"/>
                <a:gd name="connsiteY3" fmla="*/ 229754 h 253329"/>
                <a:gd name="connsiteX4" fmla="*/ 102524 w 209994"/>
                <a:gd name="connsiteY4" fmla="*/ 120141 h 253329"/>
                <a:gd name="connsiteX5" fmla="*/ 15479 w 209994"/>
                <a:gd name="connsiteY5" fmla="*/ 55664 h 253329"/>
                <a:gd name="connsiteX6" fmla="*/ 44494 w 209994"/>
                <a:gd name="connsiteY6" fmla="*/ 4082 h 253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994" h="253329">
                  <a:moveTo>
                    <a:pt x="44494" y="4082"/>
                  </a:moveTo>
                  <a:cubicBezTo>
                    <a:pt x="83180" y="26649"/>
                    <a:pt x="121867" y="52440"/>
                    <a:pt x="150882" y="84679"/>
                  </a:cubicBezTo>
                  <a:cubicBezTo>
                    <a:pt x="183121" y="120141"/>
                    <a:pt x="196016" y="165276"/>
                    <a:pt x="208911" y="213634"/>
                  </a:cubicBezTo>
                  <a:cubicBezTo>
                    <a:pt x="218583" y="252321"/>
                    <a:pt x="160553" y="271664"/>
                    <a:pt x="150882" y="229754"/>
                  </a:cubicBezTo>
                  <a:cubicBezTo>
                    <a:pt x="141210" y="187843"/>
                    <a:pt x="128314" y="152380"/>
                    <a:pt x="102524" y="120141"/>
                  </a:cubicBezTo>
                  <a:cubicBezTo>
                    <a:pt x="76733" y="94351"/>
                    <a:pt x="44494" y="75007"/>
                    <a:pt x="15479" y="55664"/>
                  </a:cubicBezTo>
                  <a:cubicBezTo>
                    <a:pt x="-19984" y="39544"/>
                    <a:pt x="12255" y="-15261"/>
                    <a:pt x="44494" y="4082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A13F6817-9F98-4F82-83C4-535EC0333537}"/>
                </a:ext>
              </a:extLst>
            </p:cNvPr>
            <p:cNvSpPr/>
            <p:nvPr/>
          </p:nvSpPr>
          <p:spPr>
            <a:xfrm>
              <a:off x="7302013" y="8454316"/>
              <a:ext cx="602417" cy="572275"/>
            </a:xfrm>
            <a:custGeom>
              <a:avLst/>
              <a:gdLst>
                <a:gd name="connsiteX0" fmla="*/ 596686 w 602417"/>
                <a:gd name="connsiteY0" fmla="*/ 317036 h 572275"/>
                <a:gd name="connsiteX1" fmla="*/ 348447 w 602417"/>
                <a:gd name="connsiteY1" fmla="*/ 4319 h 572275"/>
                <a:gd name="connsiteX2" fmla="*/ 268 w 602417"/>
                <a:gd name="connsiteY2" fmla="*/ 307364 h 572275"/>
                <a:gd name="connsiteX3" fmla="*/ 329104 w 602417"/>
                <a:gd name="connsiteY3" fmla="*/ 571723 h 572275"/>
                <a:gd name="connsiteX4" fmla="*/ 558000 w 602417"/>
                <a:gd name="connsiteY4" fmla="*/ 510469 h 572275"/>
                <a:gd name="connsiteX5" fmla="*/ 596686 w 602417"/>
                <a:gd name="connsiteY5" fmla="*/ 317036 h 572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2417" h="572275">
                  <a:moveTo>
                    <a:pt x="596686" y="317036"/>
                  </a:moveTo>
                  <a:cubicBezTo>
                    <a:pt x="574119" y="136499"/>
                    <a:pt x="535433" y="30111"/>
                    <a:pt x="348447" y="4319"/>
                  </a:cubicBezTo>
                  <a:cubicBezTo>
                    <a:pt x="103432" y="-31144"/>
                    <a:pt x="-6179" y="159066"/>
                    <a:pt x="268" y="307364"/>
                  </a:cubicBezTo>
                  <a:cubicBezTo>
                    <a:pt x="6716" y="494349"/>
                    <a:pt x="158239" y="565274"/>
                    <a:pt x="329104" y="571723"/>
                  </a:cubicBezTo>
                  <a:cubicBezTo>
                    <a:pt x="403253" y="574946"/>
                    <a:pt x="503194" y="565274"/>
                    <a:pt x="558000" y="510469"/>
                  </a:cubicBezTo>
                  <a:cubicBezTo>
                    <a:pt x="609582" y="465334"/>
                    <a:pt x="606358" y="381513"/>
                    <a:pt x="596686" y="317036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F4B45B80-D9BE-43CD-BAE1-71167F47626B}"/>
                </a:ext>
              </a:extLst>
            </p:cNvPr>
            <p:cNvSpPr/>
            <p:nvPr/>
          </p:nvSpPr>
          <p:spPr>
            <a:xfrm>
              <a:off x="7383571" y="8493157"/>
              <a:ext cx="442443" cy="600990"/>
            </a:xfrm>
            <a:custGeom>
              <a:avLst/>
              <a:gdLst>
                <a:gd name="connsiteX0" fmla="*/ 5755 w 442443"/>
                <a:gd name="connsiteY0" fmla="*/ 191150 h 600990"/>
                <a:gd name="connsiteX1" fmla="*/ 18651 w 442443"/>
                <a:gd name="connsiteY1" fmla="*/ 461956 h 600990"/>
                <a:gd name="connsiteX2" fmla="*/ 176621 w 442443"/>
                <a:gd name="connsiteY2" fmla="*/ 600583 h 600990"/>
                <a:gd name="connsiteX3" fmla="*/ 418412 w 442443"/>
                <a:gd name="connsiteY3" fmla="*/ 445836 h 600990"/>
                <a:gd name="connsiteX4" fmla="*/ 440979 w 442443"/>
                <a:gd name="connsiteY4" fmla="*/ 210493 h 600990"/>
                <a:gd name="connsiteX5" fmla="*/ 215307 w 442443"/>
                <a:gd name="connsiteY5" fmla="*/ 941 h 600990"/>
                <a:gd name="connsiteX6" fmla="*/ 5755 w 442443"/>
                <a:gd name="connsiteY6" fmla="*/ 191150 h 600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2443" h="600990">
                  <a:moveTo>
                    <a:pt x="5755" y="191150"/>
                  </a:moveTo>
                  <a:cubicBezTo>
                    <a:pt x="5755" y="191150"/>
                    <a:pt x="-13588" y="387807"/>
                    <a:pt x="18651" y="461956"/>
                  </a:cubicBezTo>
                  <a:cubicBezTo>
                    <a:pt x="54113" y="552225"/>
                    <a:pt x="121815" y="594135"/>
                    <a:pt x="176621" y="600583"/>
                  </a:cubicBezTo>
                  <a:cubicBezTo>
                    <a:pt x="247546" y="607030"/>
                    <a:pt x="389397" y="536105"/>
                    <a:pt x="418412" y="445836"/>
                  </a:cubicBezTo>
                  <a:cubicBezTo>
                    <a:pt x="444203" y="368463"/>
                    <a:pt x="444203" y="262075"/>
                    <a:pt x="440979" y="210493"/>
                  </a:cubicBezTo>
                  <a:cubicBezTo>
                    <a:pt x="437755" y="110553"/>
                    <a:pt x="411964" y="26732"/>
                    <a:pt x="215307" y="941"/>
                  </a:cubicBezTo>
                  <a:cubicBezTo>
                    <a:pt x="128262" y="-11955"/>
                    <a:pt x="28322" y="110553"/>
                    <a:pt x="5755" y="191150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9BCB2AF3-BC68-4214-BEE1-8D256F9823E8}"/>
                </a:ext>
              </a:extLst>
            </p:cNvPr>
            <p:cNvSpPr/>
            <p:nvPr/>
          </p:nvSpPr>
          <p:spPr>
            <a:xfrm>
              <a:off x="7524730" y="8776464"/>
              <a:ext cx="58029" cy="139962"/>
            </a:xfrm>
            <a:custGeom>
              <a:avLst/>
              <a:gdLst>
                <a:gd name="connsiteX0" fmla="*/ 32239 w 58029"/>
                <a:gd name="connsiteY0" fmla="*/ 139962 h 139962"/>
                <a:gd name="connsiteX1" fmla="*/ 6448 w 58029"/>
                <a:gd name="connsiteY1" fmla="*/ 133515 h 139962"/>
                <a:gd name="connsiteX2" fmla="*/ 0 w 58029"/>
                <a:gd name="connsiteY2" fmla="*/ 120619 h 139962"/>
                <a:gd name="connsiteX3" fmla="*/ 29015 w 58029"/>
                <a:gd name="connsiteY3" fmla="*/ 4559 h 139962"/>
                <a:gd name="connsiteX4" fmla="*/ 35462 w 58029"/>
                <a:gd name="connsiteY4" fmla="*/ 1335 h 139962"/>
                <a:gd name="connsiteX5" fmla="*/ 38686 w 58029"/>
                <a:gd name="connsiteY5" fmla="*/ 7783 h 139962"/>
                <a:gd name="connsiteX6" fmla="*/ 9671 w 58029"/>
                <a:gd name="connsiteY6" fmla="*/ 120619 h 139962"/>
                <a:gd name="connsiteX7" fmla="*/ 9671 w 58029"/>
                <a:gd name="connsiteY7" fmla="*/ 123843 h 139962"/>
                <a:gd name="connsiteX8" fmla="*/ 51582 w 58029"/>
                <a:gd name="connsiteY8" fmla="*/ 127067 h 139962"/>
                <a:gd name="connsiteX9" fmla="*/ 58029 w 58029"/>
                <a:gd name="connsiteY9" fmla="*/ 133515 h 139962"/>
                <a:gd name="connsiteX10" fmla="*/ 51582 w 58029"/>
                <a:gd name="connsiteY10" fmla="*/ 139962 h 139962"/>
                <a:gd name="connsiteX11" fmla="*/ 32239 w 58029"/>
                <a:gd name="connsiteY11" fmla="*/ 139962 h 139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029" h="139962">
                  <a:moveTo>
                    <a:pt x="32239" y="139962"/>
                  </a:moveTo>
                  <a:cubicBezTo>
                    <a:pt x="22567" y="139962"/>
                    <a:pt x="12895" y="139962"/>
                    <a:pt x="6448" y="133515"/>
                  </a:cubicBezTo>
                  <a:cubicBezTo>
                    <a:pt x="3224" y="130290"/>
                    <a:pt x="0" y="127067"/>
                    <a:pt x="0" y="120619"/>
                  </a:cubicBezTo>
                  <a:cubicBezTo>
                    <a:pt x="0" y="98052"/>
                    <a:pt x="29015" y="7783"/>
                    <a:pt x="29015" y="4559"/>
                  </a:cubicBezTo>
                  <a:cubicBezTo>
                    <a:pt x="29015" y="1335"/>
                    <a:pt x="32239" y="-1888"/>
                    <a:pt x="35462" y="1335"/>
                  </a:cubicBezTo>
                  <a:cubicBezTo>
                    <a:pt x="38686" y="1335"/>
                    <a:pt x="41910" y="4559"/>
                    <a:pt x="38686" y="7783"/>
                  </a:cubicBezTo>
                  <a:cubicBezTo>
                    <a:pt x="32239" y="33574"/>
                    <a:pt x="9671" y="101276"/>
                    <a:pt x="9671" y="120619"/>
                  </a:cubicBezTo>
                  <a:cubicBezTo>
                    <a:pt x="9671" y="120619"/>
                    <a:pt x="9671" y="123843"/>
                    <a:pt x="9671" y="123843"/>
                  </a:cubicBezTo>
                  <a:cubicBezTo>
                    <a:pt x="16119" y="130290"/>
                    <a:pt x="38686" y="127067"/>
                    <a:pt x="51582" y="127067"/>
                  </a:cubicBezTo>
                  <a:cubicBezTo>
                    <a:pt x="54806" y="127067"/>
                    <a:pt x="58029" y="127067"/>
                    <a:pt x="58029" y="133515"/>
                  </a:cubicBezTo>
                  <a:cubicBezTo>
                    <a:pt x="58029" y="136739"/>
                    <a:pt x="58029" y="139962"/>
                    <a:pt x="51582" y="139962"/>
                  </a:cubicBezTo>
                  <a:cubicBezTo>
                    <a:pt x="54806" y="136739"/>
                    <a:pt x="41910" y="139962"/>
                    <a:pt x="32239" y="139962"/>
                  </a:cubicBezTo>
                  <a:close/>
                </a:path>
              </a:pathLst>
            </a:custGeom>
            <a:solidFill>
              <a:srgbClr val="E58777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21C7A91C-F227-4AF6-BFE9-81F3B227762A}"/>
                </a:ext>
              </a:extLst>
            </p:cNvPr>
            <p:cNvSpPr/>
            <p:nvPr/>
          </p:nvSpPr>
          <p:spPr>
            <a:xfrm>
              <a:off x="7498939" y="8961561"/>
              <a:ext cx="127066" cy="29014"/>
            </a:xfrm>
            <a:custGeom>
              <a:avLst/>
              <a:gdLst>
                <a:gd name="connsiteX0" fmla="*/ 64478 w 127066"/>
                <a:gd name="connsiteY0" fmla="*/ 29015 h 29014"/>
                <a:gd name="connsiteX1" fmla="*/ 3224 w 127066"/>
                <a:gd name="connsiteY1" fmla="*/ 12895 h 29014"/>
                <a:gd name="connsiteX2" fmla="*/ 0 w 127066"/>
                <a:gd name="connsiteY2" fmla="*/ 3224 h 29014"/>
                <a:gd name="connsiteX3" fmla="*/ 9672 w 127066"/>
                <a:gd name="connsiteY3" fmla="*/ 0 h 29014"/>
                <a:gd name="connsiteX4" fmla="*/ 116059 w 127066"/>
                <a:gd name="connsiteY4" fmla="*/ 0 h 29014"/>
                <a:gd name="connsiteX5" fmla="*/ 125731 w 127066"/>
                <a:gd name="connsiteY5" fmla="*/ 3224 h 29014"/>
                <a:gd name="connsiteX6" fmla="*/ 122508 w 127066"/>
                <a:gd name="connsiteY6" fmla="*/ 12895 h 29014"/>
                <a:gd name="connsiteX7" fmla="*/ 64478 w 127066"/>
                <a:gd name="connsiteY7" fmla="*/ 29015 h 29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7066" h="29014">
                  <a:moveTo>
                    <a:pt x="64478" y="29015"/>
                  </a:moveTo>
                  <a:cubicBezTo>
                    <a:pt x="29015" y="29015"/>
                    <a:pt x="6448" y="16119"/>
                    <a:pt x="3224" y="12895"/>
                  </a:cubicBezTo>
                  <a:cubicBezTo>
                    <a:pt x="0" y="9671"/>
                    <a:pt x="0" y="6448"/>
                    <a:pt x="0" y="3224"/>
                  </a:cubicBezTo>
                  <a:cubicBezTo>
                    <a:pt x="3224" y="0"/>
                    <a:pt x="6448" y="0"/>
                    <a:pt x="9672" y="0"/>
                  </a:cubicBezTo>
                  <a:cubicBezTo>
                    <a:pt x="9672" y="0"/>
                    <a:pt x="64478" y="29015"/>
                    <a:pt x="116059" y="0"/>
                  </a:cubicBezTo>
                  <a:cubicBezTo>
                    <a:pt x="119283" y="0"/>
                    <a:pt x="122508" y="0"/>
                    <a:pt x="125731" y="3224"/>
                  </a:cubicBezTo>
                  <a:cubicBezTo>
                    <a:pt x="128955" y="6448"/>
                    <a:pt x="125731" y="9671"/>
                    <a:pt x="122508" y="12895"/>
                  </a:cubicBezTo>
                  <a:cubicBezTo>
                    <a:pt x="103164" y="22567"/>
                    <a:pt x="83821" y="29015"/>
                    <a:pt x="64478" y="29015"/>
                  </a:cubicBezTo>
                  <a:close/>
                </a:path>
              </a:pathLst>
            </a:custGeom>
            <a:solidFill>
              <a:srgbClr val="E58777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1A6FF4EA-93F5-4B9F-8CD0-C93D8561158F}"/>
                </a:ext>
              </a:extLst>
            </p:cNvPr>
            <p:cNvSpPr/>
            <p:nvPr/>
          </p:nvSpPr>
          <p:spPr>
            <a:xfrm>
              <a:off x="7449948" y="8748152"/>
              <a:ext cx="42542" cy="43175"/>
            </a:xfrm>
            <a:custGeom>
              <a:avLst/>
              <a:gdLst>
                <a:gd name="connsiteX0" fmla="*/ 42543 w 42542"/>
                <a:gd name="connsiteY0" fmla="*/ 26424 h 43175"/>
                <a:gd name="connsiteX1" fmla="*/ 16752 w 42542"/>
                <a:gd name="connsiteY1" fmla="*/ 42543 h 43175"/>
                <a:gd name="connsiteX2" fmla="*/ 632 w 42542"/>
                <a:gd name="connsiteY2" fmla="*/ 16752 h 43175"/>
                <a:gd name="connsiteX3" fmla="*/ 26424 w 42542"/>
                <a:gd name="connsiteY3" fmla="*/ 632 h 43175"/>
                <a:gd name="connsiteX4" fmla="*/ 42543 w 42542"/>
                <a:gd name="connsiteY4" fmla="*/ 26424 h 4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42" h="43175">
                  <a:moveTo>
                    <a:pt x="42543" y="26424"/>
                  </a:moveTo>
                  <a:cubicBezTo>
                    <a:pt x="39319" y="36095"/>
                    <a:pt x="29647" y="45767"/>
                    <a:pt x="16752" y="42543"/>
                  </a:cubicBezTo>
                  <a:cubicBezTo>
                    <a:pt x="7080" y="39319"/>
                    <a:pt x="-2592" y="29647"/>
                    <a:pt x="632" y="16752"/>
                  </a:cubicBezTo>
                  <a:cubicBezTo>
                    <a:pt x="3856" y="7080"/>
                    <a:pt x="13528" y="-2592"/>
                    <a:pt x="26424" y="632"/>
                  </a:cubicBezTo>
                  <a:cubicBezTo>
                    <a:pt x="36095" y="3857"/>
                    <a:pt x="42543" y="13528"/>
                    <a:pt x="42543" y="26424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26B47099-5CAC-401D-BCEE-73164D1B5030}"/>
                </a:ext>
              </a:extLst>
            </p:cNvPr>
            <p:cNvSpPr/>
            <p:nvPr/>
          </p:nvSpPr>
          <p:spPr>
            <a:xfrm>
              <a:off x="7649828" y="8754600"/>
              <a:ext cx="43364" cy="43175"/>
            </a:xfrm>
            <a:custGeom>
              <a:avLst/>
              <a:gdLst>
                <a:gd name="connsiteX0" fmla="*/ 42543 w 43364"/>
                <a:gd name="connsiteY0" fmla="*/ 26423 h 43175"/>
                <a:gd name="connsiteX1" fmla="*/ 16752 w 43364"/>
                <a:gd name="connsiteY1" fmla="*/ 42543 h 43175"/>
                <a:gd name="connsiteX2" fmla="*/ 632 w 43364"/>
                <a:gd name="connsiteY2" fmla="*/ 16752 h 43175"/>
                <a:gd name="connsiteX3" fmla="*/ 26424 w 43364"/>
                <a:gd name="connsiteY3" fmla="*/ 632 h 43175"/>
                <a:gd name="connsiteX4" fmla="*/ 42543 w 43364"/>
                <a:gd name="connsiteY4" fmla="*/ 26423 h 4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64" h="43175">
                  <a:moveTo>
                    <a:pt x="42543" y="26423"/>
                  </a:moveTo>
                  <a:cubicBezTo>
                    <a:pt x="39319" y="36095"/>
                    <a:pt x="29647" y="45767"/>
                    <a:pt x="16752" y="42543"/>
                  </a:cubicBezTo>
                  <a:cubicBezTo>
                    <a:pt x="7080" y="39319"/>
                    <a:pt x="-2592" y="29648"/>
                    <a:pt x="632" y="16752"/>
                  </a:cubicBezTo>
                  <a:cubicBezTo>
                    <a:pt x="3857" y="7080"/>
                    <a:pt x="13528" y="-2591"/>
                    <a:pt x="26424" y="632"/>
                  </a:cubicBezTo>
                  <a:cubicBezTo>
                    <a:pt x="39319" y="3856"/>
                    <a:pt x="45767" y="13528"/>
                    <a:pt x="42543" y="2642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242CC89D-FAA9-4631-B691-A01312F71FC8}"/>
                </a:ext>
              </a:extLst>
            </p:cNvPr>
            <p:cNvSpPr/>
            <p:nvPr/>
          </p:nvSpPr>
          <p:spPr>
            <a:xfrm>
              <a:off x="7422371" y="8695970"/>
              <a:ext cx="97245" cy="36694"/>
            </a:xfrm>
            <a:custGeom>
              <a:avLst/>
              <a:gdLst>
                <a:gd name="connsiteX0" fmla="*/ 8866 w 97245"/>
                <a:gd name="connsiteY0" fmla="*/ 36695 h 36694"/>
                <a:gd name="connsiteX1" fmla="*/ 2418 w 97245"/>
                <a:gd name="connsiteY1" fmla="*/ 33471 h 36694"/>
                <a:gd name="connsiteX2" fmla="*/ 2418 w 97245"/>
                <a:gd name="connsiteY2" fmla="*/ 20575 h 36694"/>
                <a:gd name="connsiteX3" fmla="*/ 92687 w 97245"/>
                <a:gd name="connsiteY3" fmla="*/ 10903 h 36694"/>
                <a:gd name="connsiteX4" fmla="*/ 95910 w 97245"/>
                <a:gd name="connsiteY4" fmla="*/ 20575 h 36694"/>
                <a:gd name="connsiteX5" fmla="*/ 86239 w 97245"/>
                <a:gd name="connsiteY5" fmla="*/ 23799 h 36694"/>
                <a:gd name="connsiteX6" fmla="*/ 15313 w 97245"/>
                <a:gd name="connsiteY6" fmla="*/ 30247 h 36694"/>
                <a:gd name="connsiteX7" fmla="*/ 8866 w 97245"/>
                <a:gd name="connsiteY7" fmla="*/ 36695 h 36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5" h="36694">
                  <a:moveTo>
                    <a:pt x="8866" y="36695"/>
                  </a:moveTo>
                  <a:cubicBezTo>
                    <a:pt x="5642" y="36695"/>
                    <a:pt x="5642" y="36695"/>
                    <a:pt x="2418" y="33471"/>
                  </a:cubicBezTo>
                  <a:cubicBezTo>
                    <a:pt x="-806" y="30247"/>
                    <a:pt x="-806" y="23799"/>
                    <a:pt x="2418" y="20575"/>
                  </a:cubicBezTo>
                  <a:cubicBezTo>
                    <a:pt x="31433" y="-11664"/>
                    <a:pt x="73343" y="1232"/>
                    <a:pt x="92687" y="10903"/>
                  </a:cubicBezTo>
                  <a:cubicBezTo>
                    <a:pt x="95910" y="14128"/>
                    <a:pt x="99134" y="17351"/>
                    <a:pt x="95910" y="20575"/>
                  </a:cubicBezTo>
                  <a:cubicBezTo>
                    <a:pt x="92687" y="23799"/>
                    <a:pt x="89463" y="27023"/>
                    <a:pt x="86239" y="23799"/>
                  </a:cubicBezTo>
                  <a:cubicBezTo>
                    <a:pt x="83015" y="23799"/>
                    <a:pt x="41105" y="1232"/>
                    <a:pt x="15313" y="30247"/>
                  </a:cubicBezTo>
                  <a:cubicBezTo>
                    <a:pt x="12090" y="33471"/>
                    <a:pt x="12090" y="36695"/>
                    <a:pt x="8866" y="36695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FABD161A-25C8-421F-96C9-1D429BAFE855}"/>
                </a:ext>
              </a:extLst>
            </p:cNvPr>
            <p:cNvSpPr/>
            <p:nvPr/>
          </p:nvSpPr>
          <p:spPr>
            <a:xfrm>
              <a:off x="7620111" y="8694306"/>
              <a:ext cx="97245" cy="38358"/>
            </a:xfrm>
            <a:custGeom>
              <a:avLst/>
              <a:gdLst>
                <a:gd name="connsiteX0" fmla="*/ 91604 w 97245"/>
                <a:gd name="connsiteY0" fmla="*/ 38359 h 38358"/>
                <a:gd name="connsiteX1" fmla="*/ 85156 w 97245"/>
                <a:gd name="connsiteY1" fmla="*/ 35135 h 38358"/>
                <a:gd name="connsiteX2" fmla="*/ 14231 w 97245"/>
                <a:gd name="connsiteY2" fmla="*/ 28687 h 38358"/>
                <a:gd name="connsiteX3" fmla="*/ 1335 w 97245"/>
                <a:gd name="connsiteY3" fmla="*/ 25463 h 38358"/>
                <a:gd name="connsiteX4" fmla="*/ 4559 w 97245"/>
                <a:gd name="connsiteY4" fmla="*/ 12567 h 38358"/>
                <a:gd name="connsiteX5" fmla="*/ 94828 w 97245"/>
                <a:gd name="connsiteY5" fmla="*/ 22239 h 38358"/>
                <a:gd name="connsiteX6" fmla="*/ 94828 w 97245"/>
                <a:gd name="connsiteY6" fmla="*/ 35135 h 38358"/>
                <a:gd name="connsiteX7" fmla="*/ 91604 w 97245"/>
                <a:gd name="connsiteY7" fmla="*/ 38359 h 3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5" h="38358">
                  <a:moveTo>
                    <a:pt x="91604" y="38359"/>
                  </a:moveTo>
                  <a:cubicBezTo>
                    <a:pt x="88380" y="38359"/>
                    <a:pt x="88380" y="38359"/>
                    <a:pt x="85156" y="35135"/>
                  </a:cubicBezTo>
                  <a:cubicBezTo>
                    <a:pt x="85156" y="35135"/>
                    <a:pt x="52917" y="2896"/>
                    <a:pt x="14231" y="28687"/>
                  </a:cubicBezTo>
                  <a:cubicBezTo>
                    <a:pt x="11007" y="31911"/>
                    <a:pt x="4559" y="28687"/>
                    <a:pt x="1335" y="25463"/>
                  </a:cubicBezTo>
                  <a:cubicBezTo>
                    <a:pt x="-1889" y="22239"/>
                    <a:pt x="1335" y="15792"/>
                    <a:pt x="4559" y="12567"/>
                  </a:cubicBezTo>
                  <a:cubicBezTo>
                    <a:pt x="43246" y="-13224"/>
                    <a:pt x="81932" y="6120"/>
                    <a:pt x="94828" y="22239"/>
                  </a:cubicBezTo>
                  <a:cubicBezTo>
                    <a:pt x="98052" y="25463"/>
                    <a:pt x="98052" y="31911"/>
                    <a:pt x="94828" y="35135"/>
                  </a:cubicBezTo>
                  <a:cubicBezTo>
                    <a:pt x="98052" y="38359"/>
                    <a:pt x="94828" y="38359"/>
                    <a:pt x="91604" y="38359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2787D36B-04BF-47EC-85D2-213AEB43654A}"/>
                </a:ext>
              </a:extLst>
            </p:cNvPr>
            <p:cNvSpPr/>
            <p:nvPr/>
          </p:nvSpPr>
          <p:spPr>
            <a:xfrm>
              <a:off x="7363297" y="8458973"/>
              <a:ext cx="292599" cy="270467"/>
            </a:xfrm>
            <a:custGeom>
              <a:avLst/>
              <a:gdLst>
                <a:gd name="connsiteX0" fmla="*/ 290388 w 292599"/>
                <a:gd name="connsiteY0" fmla="*/ 2886 h 270467"/>
                <a:gd name="connsiteX1" fmla="*/ 251701 w 292599"/>
                <a:gd name="connsiteY1" fmla="*/ 138289 h 270467"/>
                <a:gd name="connsiteX2" fmla="*/ 239 w 292599"/>
                <a:gd name="connsiteY2" fmla="*/ 270468 h 270467"/>
                <a:gd name="connsiteX3" fmla="*/ 290388 w 292599"/>
                <a:gd name="connsiteY3" fmla="*/ 2886 h 270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2599" h="270467">
                  <a:moveTo>
                    <a:pt x="290388" y="2886"/>
                  </a:moveTo>
                  <a:cubicBezTo>
                    <a:pt x="290388" y="2886"/>
                    <a:pt x="306507" y="96379"/>
                    <a:pt x="251701" y="138289"/>
                  </a:cubicBezTo>
                  <a:cubicBezTo>
                    <a:pt x="251701" y="138289"/>
                    <a:pt x="29254" y="183423"/>
                    <a:pt x="239" y="270468"/>
                  </a:cubicBezTo>
                  <a:cubicBezTo>
                    <a:pt x="239" y="270468"/>
                    <a:pt x="-19105" y="-32577"/>
                    <a:pt x="290388" y="2886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60F50669-13FA-412B-8E84-5CBE885FB92F}"/>
                </a:ext>
              </a:extLst>
            </p:cNvPr>
            <p:cNvSpPr/>
            <p:nvPr/>
          </p:nvSpPr>
          <p:spPr>
            <a:xfrm>
              <a:off x="7614998" y="8465023"/>
              <a:ext cx="238224" cy="332642"/>
            </a:xfrm>
            <a:custGeom>
              <a:avLst/>
              <a:gdLst>
                <a:gd name="connsiteX0" fmla="*/ 0 w 238224"/>
                <a:gd name="connsiteY0" fmla="*/ 132239 h 332642"/>
                <a:gd name="connsiteX1" fmla="*/ 148299 w 238224"/>
                <a:gd name="connsiteY1" fmla="*/ 190269 h 332642"/>
                <a:gd name="connsiteX2" fmla="*/ 209552 w 238224"/>
                <a:gd name="connsiteY2" fmla="*/ 319224 h 332642"/>
                <a:gd name="connsiteX3" fmla="*/ 235343 w 238224"/>
                <a:gd name="connsiteY3" fmla="*/ 316000 h 332642"/>
                <a:gd name="connsiteX4" fmla="*/ 35463 w 238224"/>
                <a:gd name="connsiteY4" fmla="*/ 59 h 332642"/>
                <a:gd name="connsiteX5" fmla="*/ 0 w 238224"/>
                <a:gd name="connsiteY5" fmla="*/ 132239 h 33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8224" h="332642">
                  <a:moveTo>
                    <a:pt x="0" y="132239"/>
                  </a:moveTo>
                  <a:cubicBezTo>
                    <a:pt x="0" y="132239"/>
                    <a:pt x="93493" y="183821"/>
                    <a:pt x="148299" y="190269"/>
                  </a:cubicBezTo>
                  <a:cubicBezTo>
                    <a:pt x="203105" y="196716"/>
                    <a:pt x="209552" y="319224"/>
                    <a:pt x="209552" y="319224"/>
                  </a:cubicBezTo>
                  <a:cubicBezTo>
                    <a:pt x="209552" y="319224"/>
                    <a:pt x="232120" y="351463"/>
                    <a:pt x="235343" y="316000"/>
                  </a:cubicBezTo>
                  <a:cubicBezTo>
                    <a:pt x="245015" y="232179"/>
                    <a:pt x="241791" y="22626"/>
                    <a:pt x="35463" y="59"/>
                  </a:cubicBezTo>
                  <a:cubicBezTo>
                    <a:pt x="38687" y="-3164"/>
                    <a:pt x="25791" y="125791"/>
                    <a:pt x="0" y="132239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959DDA42-A033-450E-A54D-8AE96F42F27D}"/>
                </a:ext>
              </a:extLst>
            </p:cNvPr>
            <p:cNvSpPr/>
            <p:nvPr/>
          </p:nvSpPr>
          <p:spPr>
            <a:xfrm>
              <a:off x="7785864" y="8763334"/>
              <a:ext cx="82038" cy="120599"/>
            </a:xfrm>
            <a:custGeom>
              <a:avLst/>
              <a:gdLst>
                <a:gd name="connsiteX0" fmla="*/ 12896 w 82038"/>
                <a:gd name="connsiteY0" fmla="*/ 17689 h 120599"/>
                <a:gd name="connsiteX1" fmla="*/ 74149 w 82038"/>
                <a:gd name="connsiteY1" fmla="*/ 8018 h 120599"/>
                <a:gd name="connsiteX2" fmla="*/ 12896 w 82038"/>
                <a:gd name="connsiteY2" fmla="*/ 117630 h 120599"/>
                <a:gd name="connsiteX3" fmla="*/ 12896 w 82038"/>
                <a:gd name="connsiteY3" fmla="*/ 17689 h 12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038" h="120599">
                  <a:moveTo>
                    <a:pt x="12896" y="17689"/>
                  </a:moveTo>
                  <a:cubicBezTo>
                    <a:pt x="12896" y="17689"/>
                    <a:pt x="48358" y="-14549"/>
                    <a:pt x="74149" y="8018"/>
                  </a:cubicBezTo>
                  <a:cubicBezTo>
                    <a:pt x="99940" y="27361"/>
                    <a:pt x="58030" y="140197"/>
                    <a:pt x="12896" y="117630"/>
                  </a:cubicBezTo>
                  <a:cubicBezTo>
                    <a:pt x="-16120" y="98286"/>
                    <a:pt x="12896" y="17689"/>
                    <a:pt x="12896" y="17689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2B4D3655-1143-499F-B323-B171BA910947}"/>
                </a:ext>
              </a:extLst>
            </p:cNvPr>
            <p:cNvSpPr/>
            <p:nvPr/>
          </p:nvSpPr>
          <p:spPr>
            <a:xfrm>
              <a:off x="7608550" y="8455411"/>
              <a:ext cx="219223" cy="319164"/>
            </a:xfrm>
            <a:custGeom>
              <a:avLst/>
              <a:gdLst>
                <a:gd name="connsiteX0" fmla="*/ 216000 w 219223"/>
                <a:gd name="connsiteY0" fmla="*/ 319164 h 319164"/>
                <a:gd name="connsiteX1" fmla="*/ 209552 w 219223"/>
                <a:gd name="connsiteY1" fmla="*/ 312717 h 319164"/>
                <a:gd name="connsiteX2" fmla="*/ 154746 w 219223"/>
                <a:gd name="connsiteY2" fmla="*/ 203105 h 319164"/>
                <a:gd name="connsiteX3" fmla="*/ 3224 w 219223"/>
                <a:gd name="connsiteY3" fmla="*/ 141851 h 319164"/>
                <a:gd name="connsiteX4" fmla="*/ 0 w 219223"/>
                <a:gd name="connsiteY4" fmla="*/ 138627 h 319164"/>
                <a:gd name="connsiteX5" fmla="*/ 0 w 219223"/>
                <a:gd name="connsiteY5" fmla="*/ 132179 h 319164"/>
                <a:gd name="connsiteX6" fmla="*/ 19343 w 219223"/>
                <a:gd name="connsiteY6" fmla="*/ 106388 h 319164"/>
                <a:gd name="connsiteX7" fmla="*/ 29015 w 219223"/>
                <a:gd name="connsiteY7" fmla="*/ 64478 h 319164"/>
                <a:gd name="connsiteX8" fmla="*/ 32239 w 219223"/>
                <a:gd name="connsiteY8" fmla="*/ 35463 h 319164"/>
                <a:gd name="connsiteX9" fmla="*/ 35463 w 219223"/>
                <a:gd name="connsiteY9" fmla="*/ 6448 h 319164"/>
                <a:gd name="connsiteX10" fmla="*/ 41911 w 219223"/>
                <a:gd name="connsiteY10" fmla="*/ 0 h 319164"/>
                <a:gd name="connsiteX11" fmla="*/ 48358 w 219223"/>
                <a:gd name="connsiteY11" fmla="*/ 6448 h 319164"/>
                <a:gd name="connsiteX12" fmla="*/ 45135 w 219223"/>
                <a:gd name="connsiteY12" fmla="*/ 35463 h 319164"/>
                <a:gd name="connsiteX13" fmla="*/ 41911 w 219223"/>
                <a:gd name="connsiteY13" fmla="*/ 64478 h 319164"/>
                <a:gd name="connsiteX14" fmla="*/ 29015 w 219223"/>
                <a:gd name="connsiteY14" fmla="*/ 109612 h 319164"/>
                <a:gd name="connsiteX15" fmla="*/ 12896 w 219223"/>
                <a:gd name="connsiteY15" fmla="*/ 132179 h 319164"/>
                <a:gd name="connsiteX16" fmla="*/ 154746 w 219223"/>
                <a:gd name="connsiteY16" fmla="*/ 186985 h 319164"/>
                <a:gd name="connsiteX17" fmla="*/ 219224 w 219223"/>
                <a:gd name="connsiteY17" fmla="*/ 309493 h 319164"/>
                <a:gd name="connsiteX18" fmla="*/ 216000 w 219223"/>
                <a:gd name="connsiteY18" fmla="*/ 319164 h 319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9223" h="319164">
                  <a:moveTo>
                    <a:pt x="216000" y="319164"/>
                  </a:moveTo>
                  <a:cubicBezTo>
                    <a:pt x="212776" y="319164"/>
                    <a:pt x="209552" y="315940"/>
                    <a:pt x="209552" y="312717"/>
                  </a:cubicBezTo>
                  <a:cubicBezTo>
                    <a:pt x="209552" y="312717"/>
                    <a:pt x="209552" y="212776"/>
                    <a:pt x="154746" y="203105"/>
                  </a:cubicBezTo>
                  <a:cubicBezTo>
                    <a:pt x="80597" y="193433"/>
                    <a:pt x="6448" y="145075"/>
                    <a:pt x="3224" y="141851"/>
                  </a:cubicBezTo>
                  <a:cubicBezTo>
                    <a:pt x="3224" y="141851"/>
                    <a:pt x="0" y="138627"/>
                    <a:pt x="0" y="138627"/>
                  </a:cubicBezTo>
                  <a:cubicBezTo>
                    <a:pt x="0" y="135403"/>
                    <a:pt x="0" y="135403"/>
                    <a:pt x="0" y="132179"/>
                  </a:cubicBezTo>
                  <a:cubicBezTo>
                    <a:pt x="6448" y="125732"/>
                    <a:pt x="12896" y="116060"/>
                    <a:pt x="19343" y="106388"/>
                  </a:cubicBezTo>
                  <a:cubicBezTo>
                    <a:pt x="25791" y="93493"/>
                    <a:pt x="29015" y="77373"/>
                    <a:pt x="29015" y="64478"/>
                  </a:cubicBezTo>
                  <a:cubicBezTo>
                    <a:pt x="29015" y="58030"/>
                    <a:pt x="32239" y="45135"/>
                    <a:pt x="32239" y="35463"/>
                  </a:cubicBezTo>
                  <a:cubicBezTo>
                    <a:pt x="32239" y="22568"/>
                    <a:pt x="35463" y="12896"/>
                    <a:pt x="35463" y="6448"/>
                  </a:cubicBezTo>
                  <a:cubicBezTo>
                    <a:pt x="35463" y="3224"/>
                    <a:pt x="38686" y="0"/>
                    <a:pt x="41911" y="0"/>
                  </a:cubicBezTo>
                  <a:cubicBezTo>
                    <a:pt x="45135" y="0"/>
                    <a:pt x="48358" y="3224"/>
                    <a:pt x="48358" y="6448"/>
                  </a:cubicBezTo>
                  <a:cubicBezTo>
                    <a:pt x="48358" y="12896"/>
                    <a:pt x="45135" y="25791"/>
                    <a:pt x="45135" y="35463"/>
                  </a:cubicBezTo>
                  <a:cubicBezTo>
                    <a:pt x="45135" y="48358"/>
                    <a:pt x="41911" y="58030"/>
                    <a:pt x="41911" y="64478"/>
                  </a:cubicBezTo>
                  <a:cubicBezTo>
                    <a:pt x="38686" y="80597"/>
                    <a:pt x="38686" y="96716"/>
                    <a:pt x="29015" y="109612"/>
                  </a:cubicBezTo>
                  <a:cubicBezTo>
                    <a:pt x="25791" y="116060"/>
                    <a:pt x="19343" y="125732"/>
                    <a:pt x="12896" y="132179"/>
                  </a:cubicBezTo>
                  <a:cubicBezTo>
                    <a:pt x="32239" y="145075"/>
                    <a:pt x="93493" y="177313"/>
                    <a:pt x="154746" y="186985"/>
                  </a:cubicBezTo>
                  <a:cubicBezTo>
                    <a:pt x="216000" y="196657"/>
                    <a:pt x="219224" y="303045"/>
                    <a:pt x="219224" y="309493"/>
                  </a:cubicBezTo>
                  <a:cubicBezTo>
                    <a:pt x="219224" y="315940"/>
                    <a:pt x="219224" y="319164"/>
                    <a:pt x="216000" y="319164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46CD4852-F075-4198-B59E-D16E060472C8}"/>
                </a:ext>
              </a:extLst>
            </p:cNvPr>
            <p:cNvSpPr/>
            <p:nvPr/>
          </p:nvSpPr>
          <p:spPr>
            <a:xfrm>
              <a:off x="7486043" y="9021479"/>
              <a:ext cx="256022" cy="78708"/>
            </a:xfrm>
            <a:custGeom>
              <a:avLst/>
              <a:gdLst>
                <a:gd name="connsiteX0" fmla="*/ 87045 w 256022"/>
                <a:gd name="connsiteY0" fmla="*/ 78708 h 78708"/>
                <a:gd name="connsiteX1" fmla="*/ 87045 w 256022"/>
                <a:gd name="connsiteY1" fmla="*/ 78708 h 78708"/>
                <a:gd name="connsiteX2" fmla="*/ 3224 w 256022"/>
                <a:gd name="connsiteY2" fmla="*/ 52918 h 78708"/>
                <a:gd name="connsiteX3" fmla="*/ 0 w 256022"/>
                <a:gd name="connsiteY3" fmla="*/ 43246 h 78708"/>
                <a:gd name="connsiteX4" fmla="*/ 9672 w 256022"/>
                <a:gd name="connsiteY4" fmla="*/ 40022 h 78708"/>
                <a:gd name="connsiteX5" fmla="*/ 87045 w 256022"/>
                <a:gd name="connsiteY5" fmla="*/ 62589 h 78708"/>
                <a:gd name="connsiteX6" fmla="*/ 87045 w 256022"/>
                <a:gd name="connsiteY6" fmla="*/ 62589 h 78708"/>
                <a:gd name="connsiteX7" fmla="*/ 245015 w 256022"/>
                <a:gd name="connsiteY7" fmla="*/ 1335 h 78708"/>
                <a:gd name="connsiteX8" fmla="*/ 254687 w 256022"/>
                <a:gd name="connsiteY8" fmla="*/ 4560 h 78708"/>
                <a:gd name="connsiteX9" fmla="*/ 251463 w 256022"/>
                <a:gd name="connsiteY9" fmla="*/ 14231 h 78708"/>
                <a:gd name="connsiteX10" fmla="*/ 87045 w 256022"/>
                <a:gd name="connsiteY10" fmla="*/ 78708 h 78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6022" h="78708">
                  <a:moveTo>
                    <a:pt x="87045" y="78708"/>
                  </a:moveTo>
                  <a:cubicBezTo>
                    <a:pt x="87045" y="78708"/>
                    <a:pt x="87045" y="78708"/>
                    <a:pt x="87045" y="78708"/>
                  </a:cubicBezTo>
                  <a:cubicBezTo>
                    <a:pt x="41911" y="78708"/>
                    <a:pt x="3224" y="56141"/>
                    <a:pt x="3224" y="52918"/>
                  </a:cubicBezTo>
                  <a:cubicBezTo>
                    <a:pt x="0" y="49694"/>
                    <a:pt x="0" y="46470"/>
                    <a:pt x="0" y="43246"/>
                  </a:cubicBezTo>
                  <a:cubicBezTo>
                    <a:pt x="3224" y="40022"/>
                    <a:pt x="6448" y="40022"/>
                    <a:pt x="9672" y="40022"/>
                  </a:cubicBezTo>
                  <a:cubicBezTo>
                    <a:pt x="9672" y="40022"/>
                    <a:pt x="45135" y="62589"/>
                    <a:pt x="87045" y="62589"/>
                  </a:cubicBezTo>
                  <a:cubicBezTo>
                    <a:pt x="87045" y="62589"/>
                    <a:pt x="87045" y="62589"/>
                    <a:pt x="87045" y="62589"/>
                  </a:cubicBezTo>
                  <a:cubicBezTo>
                    <a:pt x="135403" y="62589"/>
                    <a:pt x="245015" y="1335"/>
                    <a:pt x="245015" y="1335"/>
                  </a:cubicBezTo>
                  <a:cubicBezTo>
                    <a:pt x="248239" y="-1889"/>
                    <a:pt x="251463" y="1335"/>
                    <a:pt x="254687" y="4560"/>
                  </a:cubicBezTo>
                  <a:cubicBezTo>
                    <a:pt x="257910" y="7783"/>
                    <a:pt x="254687" y="11007"/>
                    <a:pt x="251463" y="14231"/>
                  </a:cubicBezTo>
                  <a:cubicBezTo>
                    <a:pt x="248239" y="17455"/>
                    <a:pt x="141851" y="78708"/>
                    <a:pt x="87045" y="78708"/>
                  </a:cubicBezTo>
                  <a:close/>
                </a:path>
              </a:pathLst>
            </a:custGeom>
            <a:solidFill>
              <a:srgbClr val="E58777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A936C820-3A57-4001-B7F5-B2423E1448F7}"/>
                </a:ext>
              </a:extLst>
            </p:cNvPr>
            <p:cNvGrpSpPr/>
            <p:nvPr/>
          </p:nvGrpSpPr>
          <p:grpSpPr>
            <a:xfrm>
              <a:off x="8803458" y="10525248"/>
              <a:ext cx="1724650" cy="1812775"/>
              <a:chOff x="8803458" y="10525248"/>
              <a:chExt cx="1724650" cy="1812775"/>
            </a:xfrm>
          </p:grpSpPr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631E1B99-721B-4273-AE6F-532E6A3AD9B2}"/>
                  </a:ext>
                </a:extLst>
              </p:cNvPr>
              <p:cNvSpPr/>
              <p:nvPr/>
            </p:nvSpPr>
            <p:spPr>
              <a:xfrm>
                <a:off x="8803458" y="11006481"/>
                <a:ext cx="416208" cy="915937"/>
              </a:xfrm>
              <a:custGeom>
                <a:avLst/>
                <a:gdLst>
                  <a:gd name="connsiteX0" fmla="*/ 404138 w 416208"/>
                  <a:gd name="connsiteY0" fmla="*/ 385886 h 915937"/>
                  <a:gd name="connsiteX1" fmla="*/ 336436 w 416208"/>
                  <a:gd name="connsiteY1" fmla="*/ 115080 h 915937"/>
                  <a:gd name="connsiteX2" fmla="*/ 178466 w 416208"/>
                  <a:gd name="connsiteY2" fmla="*/ 2244 h 915937"/>
                  <a:gd name="connsiteX3" fmla="*/ 20495 w 416208"/>
                  <a:gd name="connsiteY3" fmla="*/ 160214 h 915937"/>
                  <a:gd name="connsiteX4" fmla="*/ 26944 w 416208"/>
                  <a:gd name="connsiteY4" fmla="*/ 434244 h 915937"/>
                  <a:gd name="connsiteX5" fmla="*/ 300974 w 416208"/>
                  <a:gd name="connsiteY5" fmla="*/ 911378 h 915937"/>
                  <a:gd name="connsiteX6" fmla="*/ 307421 w 416208"/>
                  <a:gd name="connsiteY6" fmla="*/ 911378 h 915937"/>
                  <a:gd name="connsiteX7" fmla="*/ 323541 w 416208"/>
                  <a:gd name="connsiteY7" fmla="*/ 914602 h 915937"/>
                  <a:gd name="connsiteX8" fmla="*/ 410585 w 416208"/>
                  <a:gd name="connsiteY8" fmla="*/ 737288 h 915937"/>
                  <a:gd name="connsiteX9" fmla="*/ 404138 w 416208"/>
                  <a:gd name="connsiteY9" fmla="*/ 385886 h 915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6208" h="915937">
                    <a:moveTo>
                      <a:pt x="404138" y="385886"/>
                    </a:moveTo>
                    <a:cubicBezTo>
                      <a:pt x="394466" y="295617"/>
                      <a:pt x="381571" y="198901"/>
                      <a:pt x="336436" y="115080"/>
                    </a:cubicBezTo>
                    <a:cubicBezTo>
                      <a:pt x="307421" y="60273"/>
                      <a:pt x="249391" y="-13875"/>
                      <a:pt x="178466" y="2244"/>
                    </a:cubicBezTo>
                    <a:cubicBezTo>
                      <a:pt x="107541" y="15139"/>
                      <a:pt x="46287" y="98960"/>
                      <a:pt x="20495" y="160214"/>
                    </a:cubicBezTo>
                    <a:cubicBezTo>
                      <a:pt x="-14967" y="250482"/>
                      <a:pt x="1153" y="343976"/>
                      <a:pt x="26944" y="434244"/>
                    </a:cubicBezTo>
                    <a:cubicBezTo>
                      <a:pt x="72078" y="598662"/>
                      <a:pt x="130108" y="830781"/>
                      <a:pt x="300974" y="911378"/>
                    </a:cubicBezTo>
                    <a:cubicBezTo>
                      <a:pt x="304197" y="911378"/>
                      <a:pt x="304197" y="911378"/>
                      <a:pt x="307421" y="911378"/>
                    </a:cubicBezTo>
                    <a:cubicBezTo>
                      <a:pt x="310645" y="914602"/>
                      <a:pt x="317093" y="917826"/>
                      <a:pt x="323541" y="914602"/>
                    </a:cubicBezTo>
                    <a:cubicBezTo>
                      <a:pt x="388018" y="879139"/>
                      <a:pt x="404138" y="808214"/>
                      <a:pt x="410585" y="737288"/>
                    </a:cubicBezTo>
                    <a:cubicBezTo>
                      <a:pt x="420257" y="624453"/>
                      <a:pt x="417033" y="501946"/>
                      <a:pt x="404138" y="385886"/>
                    </a:cubicBezTo>
                    <a:close/>
                  </a:path>
                </a:pathLst>
              </a:custGeom>
              <a:solidFill>
                <a:srgbClr val="70868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59B8F52B-838F-45C0-B959-C6BA4D6EEC2A}"/>
                  </a:ext>
                </a:extLst>
              </p:cNvPr>
              <p:cNvSpPr/>
              <p:nvPr/>
            </p:nvSpPr>
            <p:spPr>
              <a:xfrm>
                <a:off x="9203025" y="10525248"/>
                <a:ext cx="460782" cy="1103701"/>
              </a:xfrm>
              <a:custGeom>
                <a:avLst/>
                <a:gdLst>
                  <a:gd name="connsiteX0" fmla="*/ 407555 w 460782"/>
                  <a:gd name="connsiteY0" fmla="*/ 183655 h 1103701"/>
                  <a:gd name="connsiteX1" fmla="*/ 62600 w 460782"/>
                  <a:gd name="connsiteY1" fmla="*/ 28909 h 1103701"/>
                  <a:gd name="connsiteX2" fmla="*/ 1346 w 460782"/>
                  <a:gd name="connsiteY2" fmla="*/ 170760 h 1103701"/>
                  <a:gd name="connsiteX3" fmla="*/ 56152 w 460782"/>
                  <a:gd name="connsiteY3" fmla="*/ 512491 h 1103701"/>
                  <a:gd name="connsiteX4" fmla="*/ 185107 w 460782"/>
                  <a:gd name="connsiteY4" fmla="*/ 1089566 h 1103701"/>
                  <a:gd name="connsiteX5" fmla="*/ 191555 w 460782"/>
                  <a:gd name="connsiteY5" fmla="*/ 1096014 h 1103701"/>
                  <a:gd name="connsiteX6" fmla="*/ 194779 w 460782"/>
                  <a:gd name="connsiteY6" fmla="*/ 1099238 h 1103701"/>
                  <a:gd name="connsiteX7" fmla="*/ 210898 w 460782"/>
                  <a:gd name="connsiteY7" fmla="*/ 1102461 h 1103701"/>
                  <a:gd name="connsiteX8" fmla="*/ 330182 w 460782"/>
                  <a:gd name="connsiteY8" fmla="*/ 1008969 h 1103701"/>
                  <a:gd name="connsiteX9" fmla="*/ 426898 w 460782"/>
                  <a:gd name="connsiteY9" fmla="*/ 731715 h 1103701"/>
                  <a:gd name="connsiteX10" fmla="*/ 407555 w 460782"/>
                  <a:gd name="connsiteY10" fmla="*/ 183655 h 110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60782" h="1103701">
                    <a:moveTo>
                      <a:pt x="407555" y="183655"/>
                    </a:moveTo>
                    <a:cubicBezTo>
                      <a:pt x="352749" y="57924"/>
                      <a:pt x="198003" y="-54912"/>
                      <a:pt x="62600" y="28909"/>
                    </a:cubicBezTo>
                    <a:cubicBezTo>
                      <a:pt x="11018" y="61148"/>
                      <a:pt x="-5102" y="112730"/>
                      <a:pt x="1346" y="170760"/>
                    </a:cubicBezTo>
                    <a:cubicBezTo>
                      <a:pt x="14242" y="286820"/>
                      <a:pt x="52928" y="396431"/>
                      <a:pt x="56152" y="512491"/>
                    </a:cubicBezTo>
                    <a:cubicBezTo>
                      <a:pt x="65824" y="709148"/>
                      <a:pt x="33585" y="934820"/>
                      <a:pt x="185107" y="1089566"/>
                    </a:cubicBezTo>
                    <a:cubicBezTo>
                      <a:pt x="185107" y="1092790"/>
                      <a:pt x="188331" y="1092790"/>
                      <a:pt x="191555" y="1096014"/>
                    </a:cubicBezTo>
                    <a:cubicBezTo>
                      <a:pt x="191555" y="1096014"/>
                      <a:pt x="191555" y="1099238"/>
                      <a:pt x="194779" y="1099238"/>
                    </a:cubicBezTo>
                    <a:cubicBezTo>
                      <a:pt x="201227" y="1102461"/>
                      <a:pt x="204451" y="1102461"/>
                      <a:pt x="210898" y="1102461"/>
                    </a:cubicBezTo>
                    <a:cubicBezTo>
                      <a:pt x="272152" y="1112133"/>
                      <a:pt x="307615" y="1063775"/>
                      <a:pt x="330182" y="1008969"/>
                    </a:cubicBezTo>
                    <a:cubicBezTo>
                      <a:pt x="372092" y="918700"/>
                      <a:pt x="404331" y="825208"/>
                      <a:pt x="426898" y="731715"/>
                    </a:cubicBezTo>
                    <a:cubicBezTo>
                      <a:pt x="468809" y="557625"/>
                      <a:pt x="481705" y="351297"/>
                      <a:pt x="407555" y="183655"/>
                    </a:cubicBezTo>
                    <a:close/>
                  </a:path>
                </a:pathLst>
              </a:custGeom>
              <a:solidFill>
                <a:srgbClr val="70868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7A0E0908-A502-41D6-AC8D-7E9F847E6C3D}"/>
                  </a:ext>
                </a:extLst>
              </p:cNvPr>
              <p:cNvSpPr/>
              <p:nvPr/>
            </p:nvSpPr>
            <p:spPr>
              <a:xfrm>
                <a:off x="9783020" y="10658791"/>
                <a:ext cx="745088" cy="1170356"/>
              </a:xfrm>
              <a:custGeom>
                <a:avLst/>
                <a:gdLst>
                  <a:gd name="connsiteX0" fmla="*/ 739919 w 745088"/>
                  <a:gd name="connsiteY0" fmla="*/ 275784 h 1170356"/>
                  <a:gd name="connsiteX1" fmla="*/ 627083 w 745088"/>
                  <a:gd name="connsiteY1" fmla="*/ 46889 h 1170356"/>
                  <a:gd name="connsiteX2" fmla="*/ 388516 w 745088"/>
                  <a:gd name="connsiteY2" fmla="*/ 21097 h 1170356"/>
                  <a:gd name="connsiteX3" fmla="*/ 185411 w 745088"/>
                  <a:gd name="connsiteY3" fmla="*/ 543366 h 1170356"/>
                  <a:gd name="connsiteX4" fmla="*/ 24217 w 745088"/>
                  <a:gd name="connsiteY4" fmla="*/ 897993 h 1170356"/>
                  <a:gd name="connsiteX5" fmla="*/ 53232 w 745088"/>
                  <a:gd name="connsiteY5" fmla="*/ 1152680 h 1170356"/>
                  <a:gd name="connsiteX6" fmla="*/ 62904 w 745088"/>
                  <a:gd name="connsiteY6" fmla="*/ 1155904 h 1170356"/>
                  <a:gd name="connsiteX7" fmla="*/ 540038 w 745088"/>
                  <a:gd name="connsiteY7" fmla="*/ 872202 h 1170356"/>
                  <a:gd name="connsiteX8" fmla="*/ 739919 w 745088"/>
                  <a:gd name="connsiteY8" fmla="*/ 275784 h 1170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5088" h="1170356">
                    <a:moveTo>
                      <a:pt x="739919" y="275784"/>
                    </a:moveTo>
                    <a:cubicBezTo>
                      <a:pt x="727023" y="191964"/>
                      <a:pt x="698008" y="101694"/>
                      <a:pt x="627083" y="46889"/>
                    </a:cubicBezTo>
                    <a:cubicBezTo>
                      <a:pt x="559381" y="-4693"/>
                      <a:pt x="465889" y="-14366"/>
                      <a:pt x="388516" y="21097"/>
                    </a:cubicBezTo>
                    <a:cubicBezTo>
                      <a:pt x="198307" y="108142"/>
                      <a:pt x="224098" y="372500"/>
                      <a:pt x="185411" y="543366"/>
                    </a:cubicBezTo>
                    <a:cubicBezTo>
                      <a:pt x="156396" y="675546"/>
                      <a:pt x="66128" y="772262"/>
                      <a:pt x="24217" y="897993"/>
                    </a:cubicBezTo>
                    <a:cubicBezTo>
                      <a:pt x="-1574" y="978590"/>
                      <a:pt x="-24141" y="1091426"/>
                      <a:pt x="53232" y="1152680"/>
                    </a:cubicBezTo>
                    <a:cubicBezTo>
                      <a:pt x="56456" y="1155904"/>
                      <a:pt x="59680" y="1155904"/>
                      <a:pt x="62904" y="1155904"/>
                    </a:cubicBezTo>
                    <a:cubicBezTo>
                      <a:pt x="253113" y="1230053"/>
                      <a:pt x="436874" y="1001157"/>
                      <a:pt x="540038" y="872202"/>
                    </a:cubicBezTo>
                    <a:cubicBezTo>
                      <a:pt x="672217" y="701336"/>
                      <a:pt x="768934" y="491784"/>
                      <a:pt x="739919" y="275784"/>
                    </a:cubicBezTo>
                    <a:close/>
                  </a:path>
                </a:pathLst>
              </a:custGeom>
              <a:solidFill>
                <a:srgbClr val="70868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408F4251-0DF8-4422-9E82-7691B3434393}"/>
                  </a:ext>
                </a:extLst>
              </p:cNvPr>
              <p:cNvSpPr/>
              <p:nvPr/>
            </p:nvSpPr>
            <p:spPr>
              <a:xfrm>
                <a:off x="9389317" y="10880104"/>
                <a:ext cx="79690" cy="1423233"/>
              </a:xfrm>
              <a:custGeom>
                <a:avLst/>
                <a:gdLst>
                  <a:gd name="connsiteX0" fmla="*/ 79412 w 79690"/>
                  <a:gd name="connsiteY0" fmla="*/ 1405278 h 1423233"/>
                  <a:gd name="connsiteX1" fmla="*/ 50397 w 79690"/>
                  <a:gd name="connsiteY1" fmla="*/ 660561 h 1423233"/>
                  <a:gd name="connsiteX2" fmla="*/ 47173 w 79690"/>
                  <a:gd name="connsiteY2" fmla="*/ 9337 h 1423233"/>
                  <a:gd name="connsiteX3" fmla="*/ 21382 w 79690"/>
                  <a:gd name="connsiteY3" fmla="*/ 15785 h 1423233"/>
                  <a:gd name="connsiteX4" fmla="*/ 14934 w 79690"/>
                  <a:gd name="connsiteY4" fmla="*/ 734710 h 1423233"/>
                  <a:gd name="connsiteX5" fmla="*/ 56845 w 79690"/>
                  <a:gd name="connsiteY5" fmla="*/ 1414949 h 1423233"/>
                  <a:gd name="connsiteX6" fmla="*/ 79412 w 79690"/>
                  <a:gd name="connsiteY6" fmla="*/ 1405278 h 1423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690" h="1423233">
                    <a:moveTo>
                      <a:pt x="79412" y="1405278"/>
                    </a:moveTo>
                    <a:cubicBezTo>
                      <a:pt x="18158" y="1157039"/>
                      <a:pt x="11711" y="912024"/>
                      <a:pt x="50397" y="660561"/>
                    </a:cubicBezTo>
                    <a:cubicBezTo>
                      <a:pt x="82636" y="441337"/>
                      <a:pt x="89084" y="228561"/>
                      <a:pt x="47173" y="9337"/>
                    </a:cubicBezTo>
                    <a:cubicBezTo>
                      <a:pt x="43949" y="-6782"/>
                      <a:pt x="18158" y="-334"/>
                      <a:pt x="21382" y="15785"/>
                    </a:cubicBezTo>
                    <a:cubicBezTo>
                      <a:pt x="69741" y="260800"/>
                      <a:pt x="47173" y="489695"/>
                      <a:pt x="14934" y="734710"/>
                    </a:cubicBezTo>
                    <a:cubicBezTo>
                      <a:pt x="-14080" y="963606"/>
                      <a:pt x="-1185" y="1192502"/>
                      <a:pt x="56845" y="1414949"/>
                    </a:cubicBezTo>
                    <a:cubicBezTo>
                      <a:pt x="56845" y="1431069"/>
                      <a:pt x="82636" y="1421397"/>
                      <a:pt x="79412" y="1405278"/>
                    </a:cubicBezTo>
                    <a:close/>
                  </a:path>
                </a:pathLst>
              </a:custGeom>
              <a:solidFill>
                <a:srgbClr val="6C5D6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B484C27B-3CED-486B-BE62-87E3C7B956D5}"/>
                  </a:ext>
                </a:extLst>
              </p:cNvPr>
              <p:cNvSpPr/>
              <p:nvPr/>
            </p:nvSpPr>
            <p:spPr>
              <a:xfrm>
                <a:off x="9525828" y="11002813"/>
                <a:ext cx="736226" cy="1335210"/>
              </a:xfrm>
              <a:custGeom>
                <a:avLst/>
                <a:gdLst>
                  <a:gd name="connsiteX0" fmla="*/ 706962 w 736226"/>
                  <a:gd name="connsiteY0" fmla="*/ 9136 h 1335210"/>
                  <a:gd name="connsiteX1" fmla="*/ 561887 w 736226"/>
                  <a:gd name="connsiteY1" fmla="*/ 437912 h 1335210"/>
                  <a:gd name="connsiteX2" fmla="*/ 349111 w 736226"/>
                  <a:gd name="connsiteY2" fmla="*/ 747405 h 1335210"/>
                  <a:gd name="connsiteX3" fmla="*/ 932 w 736226"/>
                  <a:gd name="connsiteY3" fmla="*/ 1318031 h 1335210"/>
                  <a:gd name="connsiteX4" fmla="*/ 26723 w 736226"/>
                  <a:gd name="connsiteY4" fmla="*/ 1324479 h 1335210"/>
                  <a:gd name="connsiteX5" fmla="*/ 420036 w 736226"/>
                  <a:gd name="connsiteY5" fmla="*/ 699046 h 1335210"/>
                  <a:gd name="connsiteX6" fmla="*/ 600574 w 736226"/>
                  <a:gd name="connsiteY6" fmla="*/ 425017 h 1335210"/>
                  <a:gd name="connsiteX7" fmla="*/ 735977 w 736226"/>
                  <a:gd name="connsiteY7" fmla="*/ 18807 h 1335210"/>
                  <a:gd name="connsiteX8" fmla="*/ 706962 w 736226"/>
                  <a:gd name="connsiteY8" fmla="*/ 9136 h 1335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36226" h="1335210">
                    <a:moveTo>
                      <a:pt x="706962" y="9136"/>
                    </a:moveTo>
                    <a:cubicBezTo>
                      <a:pt x="671499" y="154211"/>
                      <a:pt x="632813" y="302509"/>
                      <a:pt x="561887" y="437912"/>
                    </a:cubicBezTo>
                    <a:cubicBezTo>
                      <a:pt x="503857" y="547524"/>
                      <a:pt x="426484" y="647464"/>
                      <a:pt x="349111" y="747405"/>
                    </a:cubicBezTo>
                    <a:cubicBezTo>
                      <a:pt x="210484" y="924718"/>
                      <a:pt x="62186" y="1098808"/>
                      <a:pt x="932" y="1318031"/>
                    </a:cubicBezTo>
                    <a:cubicBezTo>
                      <a:pt x="-5516" y="1334150"/>
                      <a:pt x="23499" y="1343823"/>
                      <a:pt x="26723" y="1324479"/>
                    </a:cubicBezTo>
                    <a:cubicBezTo>
                      <a:pt x="94425" y="1079464"/>
                      <a:pt x="268514" y="892479"/>
                      <a:pt x="420036" y="699046"/>
                    </a:cubicBezTo>
                    <a:cubicBezTo>
                      <a:pt x="487738" y="612001"/>
                      <a:pt x="552216" y="521733"/>
                      <a:pt x="600574" y="425017"/>
                    </a:cubicBezTo>
                    <a:cubicBezTo>
                      <a:pt x="665051" y="296061"/>
                      <a:pt x="700514" y="157434"/>
                      <a:pt x="735977" y="18807"/>
                    </a:cubicBezTo>
                    <a:cubicBezTo>
                      <a:pt x="739201" y="-536"/>
                      <a:pt x="710185" y="-6983"/>
                      <a:pt x="706962" y="913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61167EE2-EF28-4317-90AE-4B14252366A6}"/>
                  </a:ext>
                </a:extLst>
              </p:cNvPr>
              <p:cNvSpPr/>
              <p:nvPr/>
            </p:nvSpPr>
            <p:spPr>
              <a:xfrm>
                <a:off x="9036729" y="11375816"/>
                <a:ext cx="216278" cy="906006"/>
              </a:xfrm>
              <a:custGeom>
                <a:avLst/>
                <a:gdLst>
                  <a:gd name="connsiteX0" fmla="*/ 157970 w 216278"/>
                  <a:gd name="connsiteY0" fmla="*/ 735475 h 906006"/>
                  <a:gd name="connsiteX1" fmla="*/ 103164 w 216278"/>
                  <a:gd name="connsiteY1" fmla="*/ 490461 h 906006"/>
                  <a:gd name="connsiteX2" fmla="*/ 29015 w 216278"/>
                  <a:gd name="connsiteY2" fmla="*/ 13326 h 906006"/>
                  <a:gd name="connsiteX3" fmla="*/ 0 w 216278"/>
                  <a:gd name="connsiteY3" fmla="*/ 13326 h 906006"/>
                  <a:gd name="connsiteX4" fmla="*/ 51582 w 216278"/>
                  <a:gd name="connsiteY4" fmla="*/ 242222 h 906006"/>
                  <a:gd name="connsiteX5" fmla="*/ 74149 w 216278"/>
                  <a:gd name="connsiteY5" fmla="*/ 516252 h 906006"/>
                  <a:gd name="connsiteX6" fmla="*/ 106388 w 216278"/>
                  <a:gd name="connsiteY6" fmla="*/ 693565 h 906006"/>
                  <a:gd name="connsiteX7" fmla="*/ 190209 w 216278"/>
                  <a:gd name="connsiteY7" fmla="*/ 896669 h 906006"/>
                  <a:gd name="connsiteX8" fmla="*/ 216000 w 216278"/>
                  <a:gd name="connsiteY8" fmla="*/ 890222 h 906006"/>
                  <a:gd name="connsiteX9" fmla="*/ 157970 w 216278"/>
                  <a:gd name="connsiteY9" fmla="*/ 735475 h 906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6278" h="906006">
                    <a:moveTo>
                      <a:pt x="157970" y="735475"/>
                    </a:moveTo>
                    <a:cubicBezTo>
                      <a:pt x="116060" y="654878"/>
                      <a:pt x="99940" y="583953"/>
                      <a:pt x="103164" y="490461"/>
                    </a:cubicBezTo>
                    <a:cubicBezTo>
                      <a:pt x="109612" y="322819"/>
                      <a:pt x="45134" y="177744"/>
                      <a:pt x="29015" y="13326"/>
                    </a:cubicBezTo>
                    <a:cubicBezTo>
                      <a:pt x="25791" y="-2793"/>
                      <a:pt x="0" y="-6018"/>
                      <a:pt x="0" y="13326"/>
                    </a:cubicBezTo>
                    <a:cubicBezTo>
                      <a:pt x="9672" y="90699"/>
                      <a:pt x="35463" y="168073"/>
                      <a:pt x="51582" y="242222"/>
                    </a:cubicBezTo>
                    <a:cubicBezTo>
                      <a:pt x="74149" y="332490"/>
                      <a:pt x="77373" y="422759"/>
                      <a:pt x="74149" y="516252"/>
                    </a:cubicBezTo>
                    <a:cubicBezTo>
                      <a:pt x="70925" y="580729"/>
                      <a:pt x="80597" y="635536"/>
                      <a:pt x="106388" y="693565"/>
                    </a:cubicBezTo>
                    <a:cubicBezTo>
                      <a:pt x="138627" y="761267"/>
                      <a:pt x="180538" y="822520"/>
                      <a:pt x="190209" y="896669"/>
                    </a:cubicBezTo>
                    <a:cubicBezTo>
                      <a:pt x="193433" y="912788"/>
                      <a:pt x="219224" y="906341"/>
                      <a:pt x="216000" y="890222"/>
                    </a:cubicBezTo>
                    <a:cubicBezTo>
                      <a:pt x="206328" y="835416"/>
                      <a:pt x="183761" y="787057"/>
                      <a:pt x="157970" y="735475"/>
                    </a:cubicBezTo>
                    <a:close/>
                  </a:path>
                </a:pathLst>
              </a:custGeom>
              <a:solidFill>
                <a:srgbClr val="6C5D6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71" name="图形 1">
            <a:extLst>
              <a:ext uri="{FF2B5EF4-FFF2-40B4-BE49-F238E27FC236}">
                <a16:creationId xmlns:a16="http://schemas.microsoft.com/office/drawing/2014/main" id="{104DB3B6-D26B-4337-8140-30AC410B6D0D}"/>
              </a:ext>
            </a:extLst>
          </p:cNvPr>
          <p:cNvGrpSpPr/>
          <p:nvPr/>
        </p:nvGrpSpPr>
        <p:grpSpPr>
          <a:xfrm>
            <a:off x="2324748" y="2809039"/>
            <a:ext cx="3017971" cy="3989871"/>
            <a:chOff x="2395536" y="8289062"/>
            <a:chExt cx="3017971" cy="3989871"/>
          </a:xfrm>
        </p:grpSpPr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E6ACF674-2ECD-46FB-9495-B3045D5B39D9}"/>
                </a:ext>
              </a:extLst>
            </p:cNvPr>
            <p:cNvSpPr/>
            <p:nvPr/>
          </p:nvSpPr>
          <p:spPr>
            <a:xfrm>
              <a:off x="2395536" y="9057086"/>
              <a:ext cx="2234256" cy="1592013"/>
            </a:xfrm>
            <a:custGeom>
              <a:avLst/>
              <a:gdLst>
                <a:gd name="connsiteX0" fmla="*/ 0 w 2234256"/>
                <a:gd name="connsiteY0" fmla="*/ 1377788 h 1592013"/>
                <a:gd name="connsiteX1" fmla="*/ 602866 w 2234256"/>
                <a:gd name="connsiteY1" fmla="*/ 1474504 h 1592013"/>
                <a:gd name="connsiteX2" fmla="*/ 602866 w 2234256"/>
                <a:gd name="connsiteY2" fmla="*/ 1474504 h 1592013"/>
                <a:gd name="connsiteX3" fmla="*/ 822090 w 2234256"/>
                <a:gd name="connsiteY3" fmla="*/ 1439042 h 1592013"/>
                <a:gd name="connsiteX4" fmla="*/ 822090 w 2234256"/>
                <a:gd name="connsiteY4" fmla="*/ 1558325 h 1592013"/>
                <a:gd name="connsiteX5" fmla="*/ 822090 w 2234256"/>
                <a:gd name="connsiteY5" fmla="*/ 1558325 h 1592013"/>
                <a:gd name="connsiteX6" fmla="*/ 1463642 w 2234256"/>
                <a:gd name="connsiteY6" fmla="*/ 1590564 h 1592013"/>
                <a:gd name="connsiteX7" fmla="*/ 2224478 w 2234256"/>
                <a:gd name="connsiteY7" fmla="*/ 1590564 h 1592013"/>
                <a:gd name="connsiteX8" fmla="*/ 1724776 w 2234256"/>
                <a:gd name="connsiteY8" fmla="*/ 1191 h 1592013"/>
                <a:gd name="connsiteX9" fmla="*/ 706030 w 2234256"/>
                <a:gd name="connsiteY9" fmla="*/ 674982 h 1592013"/>
                <a:gd name="connsiteX10" fmla="*/ 0 w 2234256"/>
                <a:gd name="connsiteY10" fmla="*/ 1377788 h 1592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34256" h="1592013">
                  <a:moveTo>
                    <a:pt x="0" y="1377788"/>
                  </a:moveTo>
                  <a:cubicBezTo>
                    <a:pt x="25791" y="1377788"/>
                    <a:pt x="519045" y="1377788"/>
                    <a:pt x="602866" y="1474504"/>
                  </a:cubicBezTo>
                  <a:cubicBezTo>
                    <a:pt x="602866" y="1474504"/>
                    <a:pt x="602866" y="1474504"/>
                    <a:pt x="602866" y="1474504"/>
                  </a:cubicBezTo>
                  <a:cubicBezTo>
                    <a:pt x="612537" y="1468057"/>
                    <a:pt x="709254" y="1384236"/>
                    <a:pt x="822090" y="1439042"/>
                  </a:cubicBezTo>
                  <a:cubicBezTo>
                    <a:pt x="934925" y="1497072"/>
                    <a:pt x="831761" y="1551878"/>
                    <a:pt x="822090" y="1558325"/>
                  </a:cubicBezTo>
                  <a:cubicBezTo>
                    <a:pt x="822090" y="1558325"/>
                    <a:pt x="822090" y="1558325"/>
                    <a:pt x="822090" y="1558325"/>
                  </a:cubicBezTo>
                  <a:cubicBezTo>
                    <a:pt x="822090" y="1558325"/>
                    <a:pt x="1257313" y="1600236"/>
                    <a:pt x="1463642" y="1590564"/>
                  </a:cubicBezTo>
                  <a:cubicBezTo>
                    <a:pt x="1673194" y="1580893"/>
                    <a:pt x="2224478" y="1590564"/>
                    <a:pt x="2224478" y="1590564"/>
                  </a:cubicBezTo>
                  <a:cubicBezTo>
                    <a:pt x="2224478" y="1590564"/>
                    <a:pt x="2346985" y="-50391"/>
                    <a:pt x="1724776" y="1191"/>
                  </a:cubicBezTo>
                  <a:cubicBezTo>
                    <a:pt x="1724776" y="1191"/>
                    <a:pt x="1221851" y="72116"/>
                    <a:pt x="706030" y="674982"/>
                  </a:cubicBezTo>
                  <a:cubicBezTo>
                    <a:pt x="338507" y="1103758"/>
                    <a:pt x="22567" y="1374564"/>
                    <a:pt x="0" y="1377788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43E31B33-40C1-4F80-9EAF-F8AC07B51134}"/>
                </a:ext>
              </a:extLst>
            </p:cNvPr>
            <p:cNvSpPr/>
            <p:nvPr/>
          </p:nvSpPr>
          <p:spPr>
            <a:xfrm>
              <a:off x="2998401" y="9245262"/>
              <a:ext cx="973611" cy="1370149"/>
            </a:xfrm>
            <a:custGeom>
              <a:avLst/>
              <a:gdLst>
                <a:gd name="connsiteX0" fmla="*/ 0 w 973611"/>
                <a:gd name="connsiteY0" fmla="*/ 1286328 h 1370149"/>
                <a:gd name="connsiteX1" fmla="*/ 219224 w 973611"/>
                <a:gd name="connsiteY1" fmla="*/ 1250866 h 1370149"/>
                <a:gd name="connsiteX2" fmla="*/ 219224 w 973611"/>
                <a:gd name="connsiteY2" fmla="*/ 1370149 h 1370149"/>
                <a:gd name="connsiteX3" fmla="*/ 973612 w 973611"/>
                <a:gd name="connsiteY3" fmla="*/ 61254 h 1370149"/>
                <a:gd name="connsiteX4" fmla="*/ 831761 w 973611"/>
                <a:gd name="connsiteY4" fmla="*/ 0 h 1370149"/>
                <a:gd name="connsiteX5" fmla="*/ 0 w 973611"/>
                <a:gd name="connsiteY5" fmla="*/ 1286328 h 1370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3611" h="1370149">
                  <a:moveTo>
                    <a:pt x="0" y="1286328"/>
                  </a:moveTo>
                  <a:cubicBezTo>
                    <a:pt x="9672" y="1279881"/>
                    <a:pt x="106388" y="1196060"/>
                    <a:pt x="219224" y="1250866"/>
                  </a:cubicBezTo>
                  <a:cubicBezTo>
                    <a:pt x="332060" y="1308896"/>
                    <a:pt x="228895" y="1363702"/>
                    <a:pt x="219224" y="1370149"/>
                  </a:cubicBezTo>
                  <a:cubicBezTo>
                    <a:pt x="512597" y="1276657"/>
                    <a:pt x="973612" y="61254"/>
                    <a:pt x="973612" y="61254"/>
                  </a:cubicBezTo>
                  <a:lnTo>
                    <a:pt x="831761" y="0"/>
                  </a:lnTo>
                  <a:cubicBezTo>
                    <a:pt x="693134" y="454567"/>
                    <a:pt x="22567" y="1260538"/>
                    <a:pt x="0" y="1286328"/>
                  </a:cubicBezTo>
                  <a:close/>
                </a:path>
              </a:pathLst>
            </a:custGeom>
            <a:solidFill>
              <a:srgbClr val="C6554F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097662EA-7D28-4F05-92B6-A8B57FCD23EB}"/>
                </a:ext>
              </a:extLst>
            </p:cNvPr>
            <p:cNvSpPr/>
            <p:nvPr/>
          </p:nvSpPr>
          <p:spPr>
            <a:xfrm>
              <a:off x="4088073" y="8909978"/>
              <a:ext cx="225671" cy="216510"/>
            </a:xfrm>
            <a:custGeom>
              <a:avLst/>
              <a:gdLst>
                <a:gd name="connsiteX0" fmla="*/ 225672 w 225671"/>
                <a:gd name="connsiteY0" fmla="*/ 29015 h 216510"/>
                <a:gd name="connsiteX1" fmla="*/ 219224 w 225671"/>
                <a:gd name="connsiteY1" fmla="*/ 180538 h 216510"/>
                <a:gd name="connsiteX2" fmla="*/ 0 w 225671"/>
                <a:gd name="connsiteY2" fmla="*/ 170866 h 216510"/>
                <a:gd name="connsiteX3" fmla="*/ 12896 w 225671"/>
                <a:gd name="connsiteY3" fmla="*/ 0 h 216510"/>
                <a:gd name="connsiteX4" fmla="*/ 225672 w 225671"/>
                <a:gd name="connsiteY4" fmla="*/ 29015 h 216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671" h="216510">
                  <a:moveTo>
                    <a:pt x="225672" y="29015"/>
                  </a:moveTo>
                  <a:cubicBezTo>
                    <a:pt x="225672" y="29015"/>
                    <a:pt x="219224" y="119283"/>
                    <a:pt x="219224" y="180538"/>
                  </a:cubicBezTo>
                  <a:cubicBezTo>
                    <a:pt x="219224" y="180538"/>
                    <a:pt x="125731" y="267582"/>
                    <a:pt x="0" y="170866"/>
                  </a:cubicBezTo>
                  <a:cubicBezTo>
                    <a:pt x="0" y="119283"/>
                    <a:pt x="9672" y="54806"/>
                    <a:pt x="12896" y="0"/>
                  </a:cubicBezTo>
                  <a:cubicBezTo>
                    <a:pt x="12896" y="0"/>
                    <a:pt x="180537" y="38686"/>
                    <a:pt x="225672" y="29015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0B7C798E-DFF6-41EB-8CCF-DCB73B27B201}"/>
                </a:ext>
              </a:extLst>
            </p:cNvPr>
            <p:cNvSpPr/>
            <p:nvPr/>
          </p:nvSpPr>
          <p:spPr>
            <a:xfrm>
              <a:off x="3978461" y="8764904"/>
              <a:ext cx="77373" cy="145074"/>
            </a:xfrm>
            <a:custGeom>
              <a:avLst/>
              <a:gdLst>
                <a:gd name="connsiteX0" fmla="*/ 0 w 77373"/>
                <a:gd name="connsiteY0" fmla="*/ 0 h 145074"/>
                <a:gd name="connsiteX1" fmla="*/ 77373 w 77373"/>
                <a:gd name="connsiteY1" fmla="*/ 145075 h 145074"/>
                <a:gd name="connsiteX2" fmla="*/ 77373 w 77373"/>
                <a:gd name="connsiteY2" fmla="*/ 54806 h 145074"/>
                <a:gd name="connsiteX3" fmla="*/ 0 w 77373"/>
                <a:gd name="connsiteY3" fmla="*/ 0 h 14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373" h="145074">
                  <a:moveTo>
                    <a:pt x="0" y="0"/>
                  </a:moveTo>
                  <a:cubicBezTo>
                    <a:pt x="0" y="0"/>
                    <a:pt x="19343" y="125731"/>
                    <a:pt x="77373" y="145075"/>
                  </a:cubicBezTo>
                  <a:lnTo>
                    <a:pt x="77373" y="548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32699DD5-A3A6-4F19-95AE-AFB35666D0D8}"/>
                </a:ext>
              </a:extLst>
            </p:cNvPr>
            <p:cNvSpPr/>
            <p:nvPr/>
          </p:nvSpPr>
          <p:spPr>
            <a:xfrm>
              <a:off x="4345983" y="8526337"/>
              <a:ext cx="114496" cy="255245"/>
            </a:xfrm>
            <a:custGeom>
              <a:avLst/>
              <a:gdLst>
                <a:gd name="connsiteX0" fmla="*/ 103164 w 114496"/>
                <a:gd name="connsiteY0" fmla="*/ 0 h 255245"/>
                <a:gd name="connsiteX1" fmla="*/ 67701 w 114496"/>
                <a:gd name="connsiteY1" fmla="*/ 251462 h 255245"/>
                <a:gd name="connsiteX2" fmla="*/ 0 w 114496"/>
                <a:gd name="connsiteY2" fmla="*/ 19343 h 255245"/>
                <a:gd name="connsiteX3" fmla="*/ 103164 w 114496"/>
                <a:gd name="connsiteY3" fmla="*/ 0 h 25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496" h="255245">
                  <a:moveTo>
                    <a:pt x="103164" y="0"/>
                  </a:moveTo>
                  <a:cubicBezTo>
                    <a:pt x="103164" y="0"/>
                    <a:pt x="145075" y="206328"/>
                    <a:pt x="67701" y="251462"/>
                  </a:cubicBezTo>
                  <a:cubicBezTo>
                    <a:pt x="3224" y="290149"/>
                    <a:pt x="0" y="19343"/>
                    <a:pt x="0" y="19343"/>
                  </a:cubicBezTo>
                  <a:lnTo>
                    <a:pt x="103164" y="0"/>
                  </a:ln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947C74A9-C94A-4FD5-918F-E68EFC01FF3B}"/>
                </a:ext>
              </a:extLst>
            </p:cNvPr>
            <p:cNvSpPr/>
            <p:nvPr/>
          </p:nvSpPr>
          <p:spPr>
            <a:xfrm>
              <a:off x="3978212" y="8392019"/>
              <a:ext cx="448754" cy="600682"/>
            </a:xfrm>
            <a:custGeom>
              <a:avLst/>
              <a:gdLst>
                <a:gd name="connsiteX0" fmla="*/ 432249 w 448754"/>
                <a:gd name="connsiteY0" fmla="*/ 182676 h 600682"/>
                <a:gd name="connsiteX1" fmla="*/ 445144 w 448754"/>
                <a:gd name="connsiteY1" fmla="*/ 447034 h 600682"/>
                <a:gd name="connsiteX2" fmla="*/ 283950 w 448754"/>
                <a:gd name="connsiteY2" fmla="*/ 598556 h 600682"/>
                <a:gd name="connsiteX3" fmla="*/ 48607 w 448754"/>
                <a:gd name="connsiteY3" fmla="*/ 456705 h 600682"/>
                <a:gd name="connsiteX4" fmla="*/ 249 w 448754"/>
                <a:gd name="connsiteY4" fmla="*/ 221362 h 600682"/>
                <a:gd name="connsiteX5" fmla="*/ 216249 w 448754"/>
                <a:gd name="connsiteY5" fmla="*/ 2138 h 600682"/>
                <a:gd name="connsiteX6" fmla="*/ 432249 w 448754"/>
                <a:gd name="connsiteY6" fmla="*/ 182676 h 60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754" h="600682">
                  <a:moveTo>
                    <a:pt x="432249" y="182676"/>
                  </a:moveTo>
                  <a:cubicBezTo>
                    <a:pt x="432249" y="182676"/>
                    <a:pt x="458040" y="366437"/>
                    <a:pt x="445144" y="447034"/>
                  </a:cubicBezTo>
                  <a:cubicBezTo>
                    <a:pt x="432249" y="530854"/>
                    <a:pt x="335532" y="592108"/>
                    <a:pt x="283950" y="598556"/>
                  </a:cubicBezTo>
                  <a:cubicBezTo>
                    <a:pt x="213025" y="608228"/>
                    <a:pt x="96965" y="588884"/>
                    <a:pt x="48607" y="456705"/>
                  </a:cubicBezTo>
                  <a:cubicBezTo>
                    <a:pt x="22816" y="379332"/>
                    <a:pt x="249" y="276168"/>
                    <a:pt x="249" y="221362"/>
                  </a:cubicBezTo>
                  <a:cubicBezTo>
                    <a:pt x="-2975" y="121422"/>
                    <a:pt x="22816" y="37601"/>
                    <a:pt x="216249" y="2138"/>
                  </a:cubicBezTo>
                  <a:cubicBezTo>
                    <a:pt x="300070" y="-17205"/>
                    <a:pt x="406458" y="98855"/>
                    <a:pt x="432249" y="182676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1B38A474-A8CD-4C37-8EF6-92C90BD45827}"/>
                </a:ext>
              </a:extLst>
            </p:cNvPr>
            <p:cNvSpPr/>
            <p:nvPr/>
          </p:nvSpPr>
          <p:spPr>
            <a:xfrm>
              <a:off x="4223476" y="8671411"/>
              <a:ext cx="58029" cy="141850"/>
            </a:xfrm>
            <a:custGeom>
              <a:avLst/>
              <a:gdLst>
                <a:gd name="connsiteX0" fmla="*/ 25791 w 58029"/>
                <a:gd name="connsiteY0" fmla="*/ 141851 h 141850"/>
                <a:gd name="connsiteX1" fmla="*/ 6448 w 58029"/>
                <a:gd name="connsiteY1" fmla="*/ 141851 h 141850"/>
                <a:gd name="connsiteX2" fmla="*/ 0 w 58029"/>
                <a:gd name="connsiteY2" fmla="*/ 135403 h 141850"/>
                <a:gd name="connsiteX3" fmla="*/ 6448 w 58029"/>
                <a:gd name="connsiteY3" fmla="*/ 128955 h 141850"/>
                <a:gd name="connsiteX4" fmla="*/ 48358 w 58029"/>
                <a:gd name="connsiteY4" fmla="*/ 125731 h 141850"/>
                <a:gd name="connsiteX5" fmla="*/ 48358 w 58029"/>
                <a:gd name="connsiteY5" fmla="*/ 122507 h 141850"/>
                <a:gd name="connsiteX6" fmla="*/ 25791 w 58029"/>
                <a:gd name="connsiteY6" fmla="*/ 6448 h 141850"/>
                <a:gd name="connsiteX7" fmla="*/ 29015 w 58029"/>
                <a:gd name="connsiteY7" fmla="*/ 0 h 141850"/>
                <a:gd name="connsiteX8" fmla="*/ 35463 w 58029"/>
                <a:gd name="connsiteY8" fmla="*/ 3224 h 141850"/>
                <a:gd name="connsiteX9" fmla="*/ 58030 w 58029"/>
                <a:gd name="connsiteY9" fmla="*/ 122507 h 141850"/>
                <a:gd name="connsiteX10" fmla="*/ 51582 w 58029"/>
                <a:gd name="connsiteY10" fmla="*/ 135403 h 141850"/>
                <a:gd name="connsiteX11" fmla="*/ 25791 w 58029"/>
                <a:gd name="connsiteY11" fmla="*/ 141851 h 14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029" h="141850">
                  <a:moveTo>
                    <a:pt x="25791" y="141851"/>
                  </a:moveTo>
                  <a:cubicBezTo>
                    <a:pt x="16119" y="141851"/>
                    <a:pt x="9672" y="141851"/>
                    <a:pt x="6448" y="141851"/>
                  </a:cubicBezTo>
                  <a:cubicBezTo>
                    <a:pt x="3224" y="141851"/>
                    <a:pt x="0" y="138626"/>
                    <a:pt x="0" y="135403"/>
                  </a:cubicBezTo>
                  <a:cubicBezTo>
                    <a:pt x="0" y="132179"/>
                    <a:pt x="3224" y="128955"/>
                    <a:pt x="6448" y="128955"/>
                  </a:cubicBezTo>
                  <a:cubicBezTo>
                    <a:pt x="19343" y="132179"/>
                    <a:pt x="41910" y="132179"/>
                    <a:pt x="48358" y="125731"/>
                  </a:cubicBezTo>
                  <a:cubicBezTo>
                    <a:pt x="48358" y="125731"/>
                    <a:pt x="48358" y="122507"/>
                    <a:pt x="48358" y="122507"/>
                  </a:cubicBezTo>
                  <a:cubicBezTo>
                    <a:pt x="48358" y="103164"/>
                    <a:pt x="25791" y="6448"/>
                    <a:pt x="25791" y="6448"/>
                  </a:cubicBezTo>
                  <a:cubicBezTo>
                    <a:pt x="25791" y="3224"/>
                    <a:pt x="25791" y="0"/>
                    <a:pt x="29015" y="0"/>
                  </a:cubicBezTo>
                  <a:cubicBezTo>
                    <a:pt x="32239" y="0"/>
                    <a:pt x="35463" y="0"/>
                    <a:pt x="35463" y="3224"/>
                  </a:cubicBezTo>
                  <a:cubicBezTo>
                    <a:pt x="35463" y="6448"/>
                    <a:pt x="58030" y="99940"/>
                    <a:pt x="58030" y="122507"/>
                  </a:cubicBezTo>
                  <a:cubicBezTo>
                    <a:pt x="58030" y="128955"/>
                    <a:pt x="58030" y="132179"/>
                    <a:pt x="51582" y="135403"/>
                  </a:cubicBezTo>
                  <a:cubicBezTo>
                    <a:pt x="48358" y="138626"/>
                    <a:pt x="35463" y="141851"/>
                    <a:pt x="25791" y="141851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021C8169-1879-4B88-B83F-533C514EDD0E}"/>
                </a:ext>
              </a:extLst>
            </p:cNvPr>
            <p:cNvSpPr/>
            <p:nvPr/>
          </p:nvSpPr>
          <p:spPr>
            <a:xfrm>
              <a:off x="4085655" y="8933351"/>
              <a:ext cx="264887" cy="63671"/>
            </a:xfrm>
            <a:custGeom>
              <a:avLst/>
              <a:gdLst>
                <a:gd name="connsiteX0" fmla="*/ 141045 w 264887"/>
                <a:gd name="connsiteY0" fmla="*/ 63672 h 63671"/>
                <a:gd name="connsiteX1" fmla="*/ 2418 w 264887"/>
                <a:gd name="connsiteY1" fmla="*/ 12090 h 63671"/>
                <a:gd name="connsiteX2" fmla="*/ 2418 w 264887"/>
                <a:gd name="connsiteY2" fmla="*/ 2418 h 63671"/>
                <a:gd name="connsiteX3" fmla="*/ 12089 w 264887"/>
                <a:gd name="connsiteY3" fmla="*/ 2418 h 63671"/>
                <a:gd name="connsiteX4" fmla="*/ 160388 w 264887"/>
                <a:gd name="connsiteY4" fmla="*/ 47552 h 63671"/>
                <a:gd name="connsiteX5" fmla="*/ 253881 w 264887"/>
                <a:gd name="connsiteY5" fmla="*/ 12090 h 63671"/>
                <a:gd name="connsiteX6" fmla="*/ 263552 w 264887"/>
                <a:gd name="connsiteY6" fmla="*/ 15313 h 63671"/>
                <a:gd name="connsiteX7" fmla="*/ 260328 w 264887"/>
                <a:gd name="connsiteY7" fmla="*/ 24985 h 63671"/>
                <a:gd name="connsiteX8" fmla="*/ 160388 w 264887"/>
                <a:gd name="connsiteY8" fmla="*/ 63672 h 63671"/>
                <a:gd name="connsiteX9" fmla="*/ 141045 w 264887"/>
                <a:gd name="connsiteY9" fmla="*/ 63672 h 63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4887" h="63671">
                  <a:moveTo>
                    <a:pt x="141045" y="63672"/>
                  </a:moveTo>
                  <a:cubicBezTo>
                    <a:pt x="60448" y="63672"/>
                    <a:pt x="5642" y="15313"/>
                    <a:pt x="2418" y="12090"/>
                  </a:cubicBezTo>
                  <a:cubicBezTo>
                    <a:pt x="-806" y="8866"/>
                    <a:pt x="-806" y="5642"/>
                    <a:pt x="2418" y="2418"/>
                  </a:cubicBezTo>
                  <a:cubicBezTo>
                    <a:pt x="5642" y="-806"/>
                    <a:pt x="8866" y="-806"/>
                    <a:pt x="12089" y="2418"/>
                  </a:cubicBezTo>
                  <a:cubicBezTo>
                    <a:pt x="12089" y="2418"/>
                    <a:pt x="76567" y="57224"/>
                    <a:pt x="160388" y="47552"/>
                  </a:cubicBezTo>
                  <a:cubicBezTo>
                    <a:pt x="202299" y="44329"/>
                    <a:pt x="253881" y="12090"/>
                    <a:pt x="253881" y="12090"/>
                  </a:cubicBezTo>
                  <a:cubicBezTo>
                    <a:pt x="257104" y="8866"/>
                    <a:pt x="260328" y="12090"/>
                    <a:pt x="263552" y="15313"/>
                  </a:cubicBezTo>
                  <a:cubicBezTo>
                    <a:pt x="266776" y="18537"/>
                    <a:pt x="263552" y="21761"/>
                    <a:pt x="260328" y="24985"/>
                  </a:cubicBezTo>
                  <a:cubicBezTo>
                    <a:pt x="257104" y="24985"/>
                    <a:pt x="205522" y="57224"/>
                    <a:pt x="160388" y="63672"/>
                  </a:cubicBezTo>
                  <a:cubicBezTo>
                    <a:pt x="153940" y="63672"/>
                    <a:pt x="147493" y="63672"/>
                    <a:pt x="141045" y="63672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674EF95D-65EC-41B8-AA7A-C96A8EC4098C}"/>
                </a:ext>
              </a:extLst>
            </p:cNvPr>
            <p:cNvSpPr/>
            <p:nvPr/>
          </p:nvSpPr>
          <p:spPr>
            <a:xfrm>
              <a:off x="3930277" y="8423172"/>
              <a:ext cx="119109" cy="283701"/>
            </a:xfrm>
            <a:custGeom>
              <a:avLst/>
              <a:gdLst>
                <a:gd name="connsiteX0" fmla="*/ 119109 w 119109"/>
                <a:gd name="connsiteY0" fmla="*/ 132179 h 283701"/>
                <a:gd name="connsiteX1" fmla="*/ 73975 w 119109"/>
                <a:gd name="connsiteY1" fmla="*/ 283702 h 283701"/>
                <a:gd name="connsiteX2" fmla="*/ 9497 w 119109"/>
                <a:gd name="connsiteY2" fmla="*/ 180538 h 283701"/>
                <a:gd name="connsiteX3" fmla="*/ 64303 w 119109"/>
                <a:gd name="connsiteY3" fmla="*/ 0 h 283701"/>
                <a:gd name="connsiteX4" fmla="*/ 119109 w 119109"/>
                <a:gd name="connsiteY4" fmla="*/ 132179 h 283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109" h="283701">
                  <a:moveTo>
                    <a:pt x="119109" y="132179"/>
                  </a:moveTo>
                  <a:cubicBezTo>
                    <a:pt x="119109" y="132179"/>
                    <a:pt x="64303" y="251463"/>
                    <a:pt x="73975" y="283702"/>
                  </a:cubicBezTo>
                  <a:cubicBezTo>
                    <a:pt x="73975" y="283702"/>
                    <a:pt x="25617" y="238567"/>
                    <a:pt x="9497" y="180538"/>
                  </a:cubicBezTo>
                  <a:cubicBezTo>
                    <a:pt x="-9846" y="119284"/>
                    <a:pt x="-3398" y="19343"/>
                    <a:pt x="64303" y="0"/>
                  </a:cubicBezTo>
                  <a:cubicBezTo>
                    <a:pt x="64303" y="0"/>
                    <a:pt x="77199" y="112836"/>
                    <a:pt x="119109" y="132179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A9B5F9A2-E301-4F2B-868D-45DF1C1EEC85}"/>
                </a:ext>
              </a:extLst>
            </p:cNvPr>
            <p:cNvSpPr/>
            <p:nvPr/>
          </p:nvSpPr>
          <p:spPr>
            <a:xfrm>
              <a:off x="3985546" y="8289062"/>
              <a:ext cx="522152" cy="266289"/>
            </a:xfrm>
            <a:custGeom>
              <a:avLst/>
              <a:gdLst>
                <a:gd name="connsiteX0" fmla="*/ 63840 w 522152"/>
                <a:gd name="connsiteY0" fmla="*/ 266290 h 266289"/>
                <a:gd name="connsiteX1" fmla="*/ 192795 w 522152"/>
                <a:gd name="connsiteY1" fmla="*/ 221155 h 266289"/>
                <a:gd name="connsiteX2" fmla="*/ 521631 w 522152"/>
                <a:gd name="connsiteY2" fmla="*/ 182468 h 266289"/>
                <a:gd name="connsiteX3" fmla="*/ 131542 w 522152"/>
                <a:gd name="connsiteY3" fmla="*/ 14827 h 266289"/>
                <a:gd name="connsiteX4" fmla="*/ 9034 w 522152"/>
                <a:gd name="connsiteY4" fmla="*/ 134110 h 266289"/>
                <a:gd name="connsiteX5" fmla="*/ 63840 w 522152"/>
                <a:gd name="connsiteY5" fmla="*/ 266290 h 266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2152" h="266289">
                  <a:moveTo>
                    <a:pt x="63840" y="266290"/>
                  </a:moveTo>
                  <a:cubicBezTo>
                    <a:pt x="63840" y="266290"/>
                    <a:pt x="163781" y="221155"/>
                    <a:pt x="192795" y="221155"/>
                  </a:cubicBezTo>
                  <a:cubicBezTo>
                    <a:pt x="299184" y="221155"/>
                    <a:pt x="505512" y="324319"/>
                    <a:pt x="521631" y="182468"/>
                  </a:cubicBezTo>
                  <a:cubicBezTo>
                    <a:pt x="534527" y="66409"/>
                    <a:pt x="305631" y="-39979"/>
                    <a:pt x="131542" y="14827"/>
                  </a:cubicBezTo>
                  <a:cubicBezTo>
                    <a:pt x="50945" y="40618"/>
                    <a:pt x="15482" y="95424"/>
                    <a:pt x="9034" y="134110"/>
                  </a:cubicBezTo>
                  <a:cubicBezTo>
                    <a:pt x="9034" y="134110"/>
                    <a:pt x="-32876" y="256618"/>
                    <a:pt x="63840" y="266290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3269E75C-8FE6-42CA-9087-0B532BF5D8C8}"/>
                </a:ext>
              </a:extLst>
            </p:cNvPr>
            <p:cNvSpPr/>
            <p:nvPr/>
          </p:nvSpPr>
          <p:spPr>
            <a:xfrm>
              <a:off x="3932547" y="8672489"/>
              <a:ext cx="87465" cy="118885"/>
            </a:xfrm>
            <a:custGeom>
              <a:avLst/>
              <a:gdLst>
                <a:gd name="connsiteX0" fmla="*/ 71705 w 87465"/>
                <a:gd name="connsiteY0" fmla="*/ 15042 h 118885"/>
                <a:gd name="connsiteX1" fmla="*/ 7227 w 87465"/>
                <a:gd name="connsiteY1" fmla="*/ 8593 h 118885"/>
                <a:gd name="connsiteX2" fmla="*/ 71705 w 87465"/>
                <a:gd name="connsiteY2" fmla="*/ 114982 h 118885"/>
                <a:gd name="connsiteX3" fmla="*/ 71705 w 87465"/>
                <a:gd name="connsiteY3" fmla="*/ 15042 h 118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465" h="118885">
                  <a:moveTo>
                    <a:pt x="71705" y="15042"/>
                  </a:moveTo>
                  <a:cubicBezTo>
                    <a:pt x="71705" y="15042"/>
                    <a:pt x="36242" y="-13974"/>
                    <a:pt x="7227" y="8593"/>
                  </a:cubicBezTo>
                  <a:cubicBezTo>
                    <a:pt x="-18564" y="31161"/>
                    <a:pt x="29794" y="140773"/>
                    <a:pt x="71705" y="114982"/>
                  </a:cubicBezTo>
                  <a:cubicBezTo>
                    <a:pt x="107167" y="92415"/>
                    <a:pt x="71705" y="15042"/>
                    <a:pt x="71705" y="15042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E15A1436-57B7-4013-B4DB-783248AA6678}"/>
                </a:ext>
              </a:extLst>
            </p:cNvPr>
            <p:cNvSpPr/>
            <p:nvPr/>
          </p:nvSpPr>
          <p:spPr>
            <a:xfrm>
              <a:off x="3979069" y="8441180"/>
              <a:ext cx="74876" cy="120618"/>
            </a:xfrm>
            <a:custGeom>
              <a:avLst/>
              <a:gdLst>
                <a:gd name="connsiteX0" fmla="*/ 70317 w 74876"/>
                <a:gd name="connsiteY0" fmla="*/ 120619 h 120618"/>
                <a:gd name="connsiteX1" fmla="*/ 70317 w 74876"/>
                <a:gd name="connsiteY1" fmla="*/ 120619 h 120618"/>
                <a:gd name="connsiteX2" fmla="*/ 9064 w 74876"/>
                <a:gd name="connsiteY2" fmla="*/ 75485 h 120618"/>
                <a:gd name="connsiteX3" fmla="*/ 5840 w 74876"/>
                <a:gd name="connsiteY3" fmla="*/ 4560 h 120618"/>
                <a:gd name="connsiteX4" fmla="*/ 12287 w 74876"/>
                <a:gd name="connsiteY4" fmla="*/ 1335 h 120618"/>
                <a:gd name="connsiteX5" fmla="*/ 15511 w 74876"/>
                <a:gd name="connsiteY5" fmla="*/ 7783 h 120618"/>
                <a:gd name="connsiteX6" fmla="*/ 18735 w 74876"/>
                <a:gd name="connsiteY6" fmla="*/ 69037 h 120618"/>
                <a:gd name="connsiteX7" fmla="*/ 70317 w 74876"/>
                <a:gd name="connsiteY7" fmla="*/ 107724 h 120618"/>
                <a:gd name="connsiteX8" fmla="*/ 73541 w 74876"/>
                <a:gd name="connsiteY8" fmla="*/ 114171 h 120618"/>
                <a:gd name="connsiteX9" fmla="*/ 70317 w 74876"/>
                <a:gd name="connsiteY9" fmla="*/ 120619 h 120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876" h="120618">
                  <a:moveTo>
                    <a:pt x="70317" y="120619"/>
                  </a:moveTo>
                  <a:cubicBezTo>
                    <a:pt x="70317" y="120619"/>
                    <a:pt x="70317" y="120619"/>
                    <a:pt x="70317" y="120619"/>
                  </a:cubicBezTo>
                  <a:cubicBezTo>
                    <a:pt x="67093" y="120619"/>
                    <a:pt x="28407" y="107724"/>
                    <a:pt x="9064" y="75485"/>
                  </a:cubicBezTo>
                  <a:cubicBezTo>
                    <a:pt x="-608" y="56141"/>
                    <a:pt x="-3832" y="30350"/>
                    <a:pt x="5840" y="4560"/>
                  </a:cubicBezTo>
                  <a:cubicBezTo>
                    <a:pt x="5840" y="1335"/>
                    <a:pt x="9064" y="-1889"/>
                    <a:pt x="12287" y="1335"/>
                  </a:cubicBezTo>
                  <a:cubicBezTo>
                    <a:pt x="15511" y="1335"/>
                    <a:pt x="18735" y="4560"/>
                    <a:pt x="15511" y="7783"/>
                  </a:cubicBezTo>
                  <a:cubicBezTo>
                    <a:pt x="9064" y="30350"/>
                    <a:pt x="9064" y="52918"/>
                    <a:pt x="18735" y="69037"/>
                  </a:cubicBezTo>
                  <a:cubicBezTo>
                    <a:pt x="34855" y="98052"/>
                    <a:pt x="70317" y="107724"/>
                    <a:pt x="70317" y="107724"/>
                  </a:cubicBezTo>
                  <a:cubicBezTo>
                    <a:pt x="73541" y="107724"/>
                    <a:pt x="76765" y="110947"/>
                    <a:pt x="73541" y="114171"/>
                  </a:cubicBezTo>
                  <a:cubicBezTo>
                    <a:pt x="76765" y="120619"/>
                    <a:pt x="73541" y="120619"/>
                    <a:pt x="70317" y="120619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FC2C4751-37EF-4088-B3DD-E29AD61F61FD}"/>
                </a:ext>
              </a:extLst>
            </p:cNvPr>
            <p:cNvSpPr/>
            <p:nvPr/>
          </p:nvSpPr>
          <p:spPr>
            <a:xfrm>
              <a:off x="4171894" y="8471712"/>
              <a:ext cx="206328" cy="44952"/>
            </a:xfrm>
            <a:custGeom>
              <a:avLst/>
              <a:gdLst>
                <a:gd name="connsiteX0" fmla="*/ 6448 w 206328"/>
                <a:gd name="connsiteY0" fmla="*/ 44953 h 44952"/>
                <a:gd name="connsiteX1" fmla="*/ 0 w 206328"/>
                <a:gd name="connsiteY1" fmla="*/ 41729 h 44952"/>
                <a:gd name="connsiteX2" fmla="*/ 3224 w 206328"/>
                <a:gd name="connsiteY2" fmla="*/ 32057 h 44952"/>
                <a:gd name="connsiteX3" fmla="*/ 203105 w 206328"/>
                <a:gd name="connsiteY3" fmla="*/ 19162 h 44952"/>
                <a:gd name="connsiteX4" fmla="*/ 206328 w 206328"/>
                <a:gd name="connsiteY4" fmla="*/ 28834 h 44952"/>
                <a:gd name="connsiteX5" fmla="*/ 196657 w 206328"/>
                <a:gd name="connsiteY5" fmla="*/ 32057 h 44952"/>
                <a:gd name="connsiteX6" fmla="*/ 6448 w 206328"/>
                <a:gd name="connsiteY6" fmla="*/ 44953 h 44952"/>
                <a:gd name="connsiteX7" fmla="*/ 6448 w 206328"/>
                <a:gd name="connsiteY7" fmla="*/ 44953 h 4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28" h="44952">
                  <a:moveTo>
                    <a:pt x="6448" y="44953"/>
                  </a:moveTo>
                  <a:cubicBezTo>
                    <a:pt x="3224" y="44953"/>
                    <a:pt x="3224" y="44953"/>
                    <a:pt x="0" y="41729"/>
                  </a:cubicBezTo>
                  <a:cubicBezTo>
                    <a:pt x="0" y="38505"/>
                    <a:pt x="0" y="35281"/>
                    <a:pt x="3224" y="32057"/>
                  </a:cubicBezTo>
                  <a:cubicBezTo>
                    <a:pt x="9672" y="28834"/>
                    <a:pt x="125731" y="-29196"/>
                    <a:pt x="203105" y="19162"/>
                  </a:cubicBezTo>
                  <a:cubicBezTo>
                    <a:pt x="206328" y="22386"/>
                    <a:pt x="206328" y="25609"/>
                    <a:pt x="206328" y="28834"/>
                  </a:cubicBezTo>
                  <a:cubicBezTo>
                    <a:pt x="203105" y="32057"/>
                    <a:pt x="199881" y="32057"/>
                    <a:pt x="196657" y="32057"/>
                  </a:cubicBezTo>
                  <a:cubicBezTo>
                    <a:pt x="125731" y="-13077"/>
                    <a:pt x="9672" y="44953"/>
                    <a:pt x="6448" y="44953"/>
                  </a:cubicBezTo>
                  <a:cubicBezTo>
                    <a:pt x="9672" y="44953"/>
                    <a:pt x="6448" y="44953"/>
                    <a:pt x="6448" y="44953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86AE3D3A-2A0F-4BB8-BE00-AC13BD74CCC8}"/>
                </a:ext>
              </a:extLst>
            </p:cNvPr>
            <p:cNvSpPr/>
            <p:nvPr/>
          </p:nvSpPr>
          <p:spPr>
            <a:xfrm>
              <a:off x="4197685" y="8868874"/>
              <a:ext cx="128149" cy="31432"/>
            </a:xfrm>
            <a:custGeom>
              <a:avLst/>
              <a:gdLst>
                <a:gd name="connsiteX0" fmla="*/ 67701 w 128149"/>
                <a:gd name="connsiteY0" fmla="*/ 31433 h 31432"/>
                <a:gd name="connsiteX1" fmla="*/ 3224 w 128149"/>
                <a:gd name="connsiteY1" fmla="*/ 18537 h 31432"/>
                <a:gd name="connsiteX2" fmla="*/ 0 w 128149"/>
                <a:gd name="connsiteY2" fmla="*/ 8866 h 31432"/>
                <a:gd name="connsiteX3" fmla="*/ 9672 w 128149"/>
                <a:gd name="connsiteY3" fmla="*/ 5642 h 31432"/>
                <a:gd name="connsiteX4" fmla="*/ 116060 w 128149"/>
                <a:gd name="connsiteY4" fmla="*/ 2418 h 31432"/>
                <a:gd name="connsiteX5" fmla="*/ 125731 w 128149"/>
                <a:gd name="connsiteY5" fmla="*/ 2418 h 31432"/>
                <a:gd name="connsiteX6" fmla="*/ 125731 w 128149"/>
                <a:gd name="connsiteY6" fmla="*/ 12090 h 31432"/>
                <a:gd name="connsiteX7" fmla="*/ 67701 w 128149"/>
                <a:gd name="connsiteY7" fmla="*/ 31433 h 3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8149" h="31432">
                  <a:moveTo>
                    <a:pt x="67701" y="31433"/>
                  </a:moveTo>
                  <a:cubicBezTo>
                    <a:pt x="35463" y="31433"/>
                    <a:pt x="6448" y="18537"/>
                    <a:pt x="3224" y="18537"/>
                  </a:cubicBezTo>
                  <a:cubicBezTo>
                    <a:pt x="0" y="18537"/>
                    <a:pt x="0" y="12090"/>
                    <a:pt x="0" y="8866"/>
                  </a:cubicBezTo>
                  <a:cubicBezTo>
                    <a:pt x="0" y="5642"/>
                    <a:pt x="6448" y="5642"/>
                    <a:pt x="9672" y="5642"/>
                  </a:cubicBezTo>
                  <a:cubicBezTo>
                    <a:pt x="9672" y="5642"/>
                    <a:pt x="77373" y="34657"/>
                    <a:pt x="116060" y="2418"/>
                  </a:cubicBezTo>
                  <a:cubicBezTo>
                    <a:pt x="119283" y="-806"/>
                    <a:pt x="122507" y="-806"/>
                    <a:pt x="125731" y="2418"/>
                  </a:cubicBezTo>
                  <a:cubicBezTo>
                    <a:pt x="128955" y="5642"/>
                    <a:pt x="128955" y="8866"/>
                    <a:pt x="125731" y="12090"/>
                  </a:cubicBezTo>
                  <a:cubicBezTo>
                    <a:pt x="106388" y="28209"/>
                    <a:pt x="87045" y="31433"/>
                    <a:pt x="67701" y="31433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C21ADD52-34E5-4AB8-AA1D-605413690428}"/>
                </a:ext>
              </a:extLst>
            </p:cNvPr>
            <p:cNvSpPr/>
            <p:nvPr/>
          </p:nvSpPr>
          <p:spPr>
            <a:xfrm>
              <a:off x="4465586" y="9132426"/>
              <a:ext cx="812240" cy="576337"/>
            </a:xfrm>
            <a:custGeom>
              <a:avLst/>
              <a:gdLst>
                <a:gd name="connsiteX0" fmla="*/ 12577 w 812240"/>
                <a:gd name="connsiteY0" fmla="*/ 99940 h 576337"/>
                <a:gd name="connsiteX1" fmla="*/ 351084 w 812240"/>
                <a:gd name="connsiteY1" fmla="*/ 174090 h 576337"/>
                <a:gd name="connsiteX2" fmla="*/ 634786 w 812240"/>
                <a:gd name="connsiteY2" fmla="*/ 367523 h 576337"/>
                <a:gd name="connsiteX3" fmla="*/ 728278 w 812240"/>
                <a:gd name="connsiteY3" fmla="*/ 0 h 576337"/>
                <a:gd name="connsiteX4" fmla="*/ 812099 w 812240"/>
                <a:gd name="connsiteY4" fmla="*/ 67702 h 576337"/>
                <a:gd name="connsiteX5" fmla="*/ 744398 w 812240"/>
                <a:gd name="connsiteY5" fmla="*/ 564179 h 576337"/>
                <a:gd name="connsiteX6" fmla="*/ 12577 w 812240"/>
                <a:gd name="connsiteY6" fmla="*/ 99940 h 576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2240" h="576337">
                  <a:moveTo>
                    <a:pt x="12577" y="99940"/>
                  </a:moveTo>
                  <a:cubicBezTo>
                    <a:pt x="64159" y="22568"/>
                    <a:pt x="273711" y="132179"/>
                    <a:pt x="351084" y="174090"/>
                  </a:cubicBezTo>
                  <a:cubicBezTo>
                    <a:pt x="422010" y="212776"/>
                    <a:pt x="634786" y="367523"/>
                    <a:pt x="634786" y="367523"/>
                  </a:cubicBezTo>
                  <a:lnTo>
                    <a:pt x="728278" y="0"/>
                  </a:lnTo>
                  <a:lnTo>
                    <a:pt x="812099" y="67702"/>
                  </a:lnTo>
                  <a:cubicBezTo>
                    <a:pt x="812099" y="67702"/>
                    <a:pt x="818547" y="515821"/>
                    <a:pt x="744398" y="564179"/>
                  </a:cubicBezTo>
                  <a:cubicBezTo>
                    <a:pt x="618666" y="648000"/>
                    <a:pt x="-103483" y="277254"/>
                    <a:pt x="12577" y="99940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7" name="图形 1">
              <a:extLst>
                <a:ext uri="{FF2B5EF4-FFF2-40B4-BE49-F238E27FC236}">
                  <a16:creationId xmlns:a16="http://schemas.microsoft.com/office/drawing/2014/main" id="{EDC06D4A-5657-4266-919D-69B69B6BE520}"/>
                </a:ext>
              </a:extLst>
            </p:cNvPr>
            <p:cNvGrpSpPr/>
            <p:nvPr/>
          </p:nvGrpSpPr>
          <p:grpSpPr>
            <a:xfrm>
              <a:off x="4261899" y="12004904"/>
              <a:ext cx="393576" cy="274029"/>
              <a:chOff x="4261899" y="12004904"/>
              <a:chExt cx="393576" cy="274029"/>
            </a:xfrm>
          </p:grpSpPr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773D9C76-612A-4479-86FB-FA0D1C917871}"/>
                  </a:ext>
                </a:extLst>
              </p:cNvPr>
              <p:cNvSpPr/>
              <p:nvPr/>
            </p:nvSpPr>
            <p:spPr>
              <a:xfrm>
                <a:off x="4275058" y="12004904"/>
                <a:ext cx="151522" cy="177313"/>
              </a:xfrm>
              <a:custGeom>
                <a:avLst/>
                <a:gdLst>
                  <a:gd name="connsiteX0" fmla="*/ 0 w 151522"/>
                  <a:gd name="connsiteY0" fmla="*/ 148299 h 177313"/>
                  <a:gd name="connsiteX1" fmla="*/ 22567 w 151522"/>
                  <a:gd name="connsiteY1" fmla="*/ 0 h 177313"/>
                  <a:gd name="connsiteX2" fmla="*/ 151522 w 151522"/>
                  <a:gd name="connsiteY2" fmla="*/ 0 h 177313"/>
                  <a:gd name="connsiteX3" fmla="*/ 116060 w 151522"/>
                  <a:gd name="connsiteY3" fmla="*/ 154746 h 177313"/>
                  <a:gd name="connsiteX4" fmla="*/ 9672 w 151522"/>
                  <a:gd name="connsiteY4" fmla="*/ 177313 h 177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522" h="177313">
                    <a:moveTo>
                      <a:pt x="0" y="148299"/>
                    </a:moveTo>
                    <a:lnTo>
                      <a:pt x="22567" y="0"/>
                    </a:lnTo>
                    <a:lnTo>
                      <a:pt x="151522" y="0"/>
                    </a:lnTo>
                    <a:lnTo>
                      <a:pt x="116060" y="154746"/>
                    </a:lnTo>
                    <a:lnTo>
                      <a:pt x="9672" y="177313"/>
                    </a:ln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23CFFC9E-28F6-4D17-BFD2-3809FFF0CA42}"/>
                  </a:ext>
                </a:extLst>
              </p:cNvPr>
              <p:cNvSpPr/>
              <p:nvPr/>
            </p:nvSpPr>
            <p:spPr>
              <a:xfrm>
                <a:off x="4261899" y="12114516"/>
                <a:ext cx="393576" cy="128955"/>
              </a:xfrm>
              <a:custGeom>
                <a:avLst/>
                <a:gdLst>
                  <a:gd name="connsiteX0" fmla="*/ 13159 w 393576"/>
                  <a:gd name="connsiteY0" fmla="*/ 38687 h 128955"/>
                  <a:gd name="connsiteX1" fmla="*/ 151785 w 393576"/>
                  <a:gd name="connsiteY1" fmla="*/ 0 h 128955"/>
                  <a:gd name="connsiteX2" fmla="*/ 258174 w 393576"/>
                  <a:gd name="connsiteY2" fmla="*/ 64478 h 128955"/>
                  <a:gd name="connsiteX3" fmla="*/ 393577 w 393576"/>
                  <a:gd name="connsiteY3" fmla="*/ 128955 h 128955"/>
                  <a:gd name="connsiteX4" fmla="*/ 263 w 393576"/>
                  <a:gd name="connsiteY4" fmla="*/ 128955 h 128955"/>
                  <a:gd name="connsiteX5" fmla="*/ 13159 w 393576"/>
                  <a:gd name="connsiteY5" fmla="*/ 38687 h 128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3576" h="128955">
                    <a:moveTo>
                      <a:pt x="13159" y="38687"/>
                    </a:moveTo>
                    <a:cubicBezTo>
                      <a:pt x="13159" y="38687"/>
                      <a:pt x="103427" y="54806"/>
                      <a:pt x="151785" y="0"/>
                    </a:cubicBezTo>
                    <a:cubicBezTo>
                      <a:pt x="151785" y="0"/>
                      <a:pt x="222711" y="58030"/>
                      <a:pt x="258174" y="64478"/>
                    </a:cubicBezTo>
                    <a:cubicBezTo>
                      <a:pt x="293636" y="70926"/>
                      <a:pt x="383905" y="70926"/>
                      <a:pt x="393577" y="128955"/>
                    </a:cubicBezTo>
                    <a:lnTo>
                      <a:pt x="263" y="128955"/>
                    </a:lnTo>
                    <a:cubicBezTo>
                      <a:pt x="263" y="128955"/>
                      <a:pt x="-2961" y="77373"/>
                      <a:pt x="13159" y="3868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004CAF0F-501D-4876-8F5E-F0118D241DE3}"/>
                  </a:ext>
                </a:extLst>
              </p:cNvPr>
              <p:cNvSpPr/>
              <p:nvPr/>
            </p:nvSpPr>
            <p:spPr>
              <a:xfrm>
                <a:off x="4262162" y="12243471"/>
                <a:ext cx="393313" cy="35462"/>
              </a:xfrm>
              <a:custGeom>
                <a:avLst/>
                <a:gdLst>
                  <a:gd name="connsiteX0" fmla="*/ 0 w 393313"/>
                  <a:gd name="connsiteY0" fmla="*/ 0 h 35462"/>
                  <a:gd name="connsiteX1" fmla="*/ 393313 w 393313"/>
                  <a:gd name="connsiteY1" fmla="*/ 0 h 35462"/>
                  <a:gd name="connsiteX2" fmla="*/ 393313 w 393313"/>
                  <a:gd name="connsiteY2" fmla="*/ 35463 h 35462"/>
                  <a:gd name="connsiteX3" fmla="*/ 0 w 393313"/>
                  <a:gd name="connsiteY3" fmla="*/ 35463 h 35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3313" h="35462">
                    <a:moveTo>
                      <a:pt x="0" y="0"/>
                    </a:moveTo>
                    <a:lnTo>
                      <a:pt x="393313" y="0"/>
                    </a:lnTo>
                    <a:lnTo>
                      <a:pt x="393313" y="35463"/>
                    </a:lnTo>
                    <a:lnTo>
                      <a:pt x="0" y="35463"/>
                    </a:ln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3664479C-7813-49D9-99A8-405ED27C3139}"/>
                  </a:ext>
                </a:extLst>
              </p:cNvPr>
              <p:cNvSpPr/>
              <p:nvPr/>
            </p:nvSpPr>
            <p:spPr>
              <a:xfrm>
                <a:off x="4268610" y="12105650"/>
                <a:ext cx="150716" cy="53999"/>
              </a:xfrm>
              <a:custGeom>
                <a:avLst/>
                <a:gdLst>
                  <a:gd name="connsiteX0" fmla="*/ 32239 w 150716"/>
                  <a:gd name="connsiteY0" fmla="*/ 53999 h 53999"/>
                  <a:gd name="connsiteX1" fmla="*/ 6448 w 150716"/>
                  <a:gd name="connsiteY1" fmla="*/ 50776 h 53999"/>
                  <a:gd name="connsiteX2" fmla="*/ 0 w 150716"/>
                  <a:gd name="connsiteY2" fmla="*/ 44328 h 53999"/>
                  <a:gd name="connsiteX3" fmla="*/ 6448 w 150716"/>
                  <a:gd name="connsiteY3" fmla="*/ 37880 h 53999"/>
                  <a:gd name="connsiteX4" fmla="*/ 138627 w 150716"/>
                  <a:gd name="connsiteY4" fmla="*/ 2418 h 53999"/>
                  <a:gd name="connsiteX5" fmla="*/ 148299 w 150716"/>
                  <a:gd name="connsiteY5" fmla="*/ 2418 h 53999"/>
                  <a:gd name="connsiteX6" fmla="*/ 148299 w 150716"/>
                  <a:gd name="connsiteY6" fmla="*/ 12089 h 53999"/>
                  <a:gd name="connsiteX7" fmla="*/ 32239 w 150716"/>
                  <a:gd name="connsiteY7" fmla="*/ 53999 h 5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0716" h="53999">
                    <a:moveTo>
                      <a:pt x="32239" y="53999"/>
                    </a:moveTo>
                    <a:cubicBezTo>
                      <a:pt x="16119" y="53999"/>
                      <a:pt x="6448" y="53999"/>
                      <a:pt x="6448" y="50776"/>
                    </a:cubicBezTo>
                    <a:cubicBezTo>
                      <a:pt x="3224" y="50776"/>
                      <a:pt x="0" y="47552"/>
                      <a:pt x="0" y="44328"/>
                    </a:cubicBezTo>
                    <a:cubicBezTo>
                      <a:pt x="0" y="41104"/>
                      <a:pt x="3224" y="37880"/>
                      <a:pt x="6448" y="37880"/>
                    </a:cubicBezTo>
                    <a:cubicBezTo>
                      <a:pt x="6448" y="37880"/>
                      <a:pt x="87045" y="50776"/>
                      <a:pt x="138627" y="2418"/>
                    </a:cubicBezTo>
                    <a:cubicBezTo>
                      <a:pt x="141851" y="-806"/>
                      <a:pt x="145075" y="-806"/>
                      <a:pt x="148299" y="2418"/>
                    </a:cubicBezTo>
                    <a:cubicBezTo>
                      <a:pt x="151522" y="5641"/>
                      <a:pt x="151522" y="8865"/>
                      <a:pt x="148299" y="12089"/>
                    </a:cubicBezTo>
                    <a:cubicBezTo>
                      <a:pt x="109612" y="47552"/>
                      <a:pt x="61254" y="53999"/>
                      <a:pt x="32239" y="5399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98B3B776-7B09-49CE-9F78-2BAB41DD97BD}"/>
                  </a:ext>
                </a:extLst>
              </p:cNvPr>
              <p:cNvSpPr/>
              <p:nvPr/>
            </p:nvSpPr>
            <p:spPr>
              <a:xfrm>
                <a:off x="4414491" y="12124994"/>
                <a:ext cx="33850" cy="37880"/>
              </a:xfrm>
              <a:custGeom>
                <a:avLst/>
                <a:gdLst>
                  <a:gd name="connsiteX0" fmla="*/ 5642 w 33850"/>
                  <a:gd name="connsiteY0" fmla="*/ 37880 h 37880"/>
                  <a:gd name="connsiteX1" fmla="*/ 2418 w 33850"/>
                  <a:gd name="connsiteY1" fmla="*/ 34656 h 37880"/>
                  <a:gd name="connsiteX2" fmla="*/ 2418 w 33850"/>
                  <a:gd name="connsiteY2" fmla="*/ 24985 h 37880"/>
                  <a:gd name="connsiteX3" fmla="*/ 21761 w 33850"/>
                  <a:gd name="connsiteY3" fmla="*/ 2417 h 37880"/>
                  <a:gd name="connsiteX4" fmla="*/ 31433 w 33850"/>
                  <a:gd name="connsiteY4" fmla="*/ 2417 h 37880"/>
                  <a:gd name="connsiteX5" fmla="*/ 31433 w 33850"/>
                  <a:gd name="connsiteY5" fmla="*/ 12090 h 37880"/>
                  <a:gd name="connsiteX6" fmla="*/ 12090 w 33850"/>
                  <a:gd name="connsiteY6" fmla="*/ 34656 h 37880"/>
                  <a:gd name="connsiteX7" fmla="*/ 5642 w 33850"/>
                  <a:gd name="connsiteY7" fmla="*/ 37880 h 3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50" h="37880">
                    <a:moveTo>
                      <a:pt x="5642" y="37880"/>
                    </a:moveTo>
                    <a:cubicBezTo>
                      <a:pt x="5642" y="37880"/>
                      <a:pt x="2418" y="37880"/>
                      <a:pt x="2418" y="34656"/>
                    </a:cubicBezTo>
                    <a:cubicBezTo>
                      <a:pt x="-806" y="31433"/>
                      <a:pt x="-806" y="28209"/>
                      <a:pt x="2418" y="24985"/>
                    </a:cubicBezTo>
                    <a:lnTo>
                      <a:pt x="21761" y="2417"/>
                    </a:lnTo>
                    <a:cubicBezTo>
                      <a:pt x="24985" y="-806"/>
                      <a:pt x="28209" y="-806"/>
                      <a:pt x="31433" y="2417"/>
                    </a:cubicBezTo>
                    <a:cubicBezTo>
                      <a:pt x="34657" y="5641"/>
                      <a:pt x="34657" y="8865"/>
                      <a:pt x="31433" y="12090"/>
                    </a:cubicBezTo>
                    <a:lnTo>
                      <a:pt x="12090" y="34656"/>
                    </a:lnTo>
                    <a:cubicBezTo>
                      <a:pt x="8866" y="37880"/>
                      <a:pt x="8866" y="37880"/>
                      <a:pt x="5642" y="3788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15B7EF36-5C77-4C9D-8FD2-19F2EC425E4D}"/>
                  </a:ext>
                </a:extLst>
              </p:cNvPr>
              <p:cNvSpPr/>
              <p:nvPr/>
            </p:nvSpPr>
            <p:spPr>
              <a:xfrm>
                <a:off x="4446729" y="12147560"/>
                <a:ext cx="33850" cy="37880"/>
              </a:xfrm>
              <a:custGeom>
                <a:avLst/>
                <a:gdLst>
                  <a:gd name="connsiteX0" fmla="*/ 5642 w 33850"/>
                  <a:gd name="connsiteY0" fmla="*/ 37881 h 37880"/>
                  <a:gd name="connsiteX1" fmla="*/ 2418 w 33850"/>
                  <a:gd name="connsiteY1" fmla="*/ 34657 h 37880"/>
                  <a:gd name="connsiteX2" fmla="*/ 2418 w 33850"/>
                  <a:gd name="connsiteY2" fmla="*/ 24986 h 37880"/>
                  <a:gd name="connsiteX3" fmla="*/ 21761 w 33850"/>
                  <a:gd name="connsiteY3" fmla="*/ 2418 h 37880"/>
                  <a:gd name="connsiteX4" fmla="*/ 31433 w 33850"/>
                  <a:gd name="connsiteY4" fmla="*/ 2418 h 37880"/>
                  <a:gd name="connsiteX5" fmla="*/ 31433 w 33850"/>
                  <a:gd name="connsiteY5" fmla="*/ 12089 h 37880"/>
                  <a:gd name="connsiteX6" fmla="*/ 12090 w 33850"/>
                  <a:gd name="connsiteY6" fmla="*/ 34657 h 37880"/>
                  <a:gd name="connsiteX7" fmla="*/ 5642 w 33850"/>
                  <a:gd name="connsiteY7" fmla="*/ 37881 h 3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50" h="37880">
                    <a:moveTo>
                      <a:pt x="5642" y="37881"/>
                    </a:moveTo>
                    <a:cubicBezTo>
                      <a:pt x="5642" y="37881"/>
                      <a:pt x="2418" y="37881"/>
                      <a:pt x="2418" y="34657"/>
                    </a:cubicBezTo>
                    <a:cubicBezTo>
                      <a:pt x="-806" y="31433"/>
                      <a:pt x="-806" y="28209"/>
                      <a:pt x="2418" y="24986"/>
                    </a:cubicBezTo>
                    <a:lnTo>
                      <a:pt x="21761" y="2418"/>
                    </a:lnTo>
                    <a:cubicBezTo>
                      <a:pt x="24985" y="-806"/>
                      <a:pt x="28209" y="-806"/>
                      <a:pt x="31433" y="2418"/>
                    </a:cubicBezTo>
                    <a:cubicBezTo>
                      <a:pt x="34657" y="5642"/>
                      <a:pt x="34657" y="8866"/>
                      <a:pt x="31433" y="12089"/>
                    </a:cubicBezTo>
                    <a:lnTo>
                      <a:pt x="12090" y="34657"/>
                    </a:lnTo>
                    <a:cubicBezTo>
                      <a:pt x="8866" y="37881"/>
                      <a:pt x="5642" y="37881"/>
                      <a:pt x="5642" y="3788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8" name="图形 1">
              <a:extLst>
                <a:ext uri="{FF2B5EF4-FFF2-40B4-BE49-F238E27FC236}">
                  <a16:creationId xmlns:a16="http://schemas.microsoft.com/office/drawing/2014/main" id="{62E1C441-F743-4058-9C06-0C5B81C7FF88}"/>
                </a:ext>
              </a:extLst>
            </p:cNvPr>
            <p:cNvGrpSpPr/>
            <p:nvPr/>
          </p:nvGrpSpPr>
          <p:grpSpPr>
            <a:xfrm>
              <a:off x="3075774" y="12008128"/>
              <a:ext cx="457791" cy="270805"/>
              <a:chOff x="3075774" y="12008128"/>
              <a:chExt cx="457791" cy="270805"/>
            </a:xfrm>
          </p:grpSpPr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30C14B3F-533F-4223-A98C-327CCBF8C104}"/>
                  </a:ext>
                </a:extLst>
              </p:cNvPr>
              <p:cNvSpPr/>
              <p:nvPr/>
            </p:nvSpPr>
            <p:spPr>
              <a:xfrm>
                <a:off x="3314341" y="12008128"/>
                <a:ext cx="219223" cy="180537"/>
              </a:xfrm>
              <a:custGeom>
                <a:avLst/>
                <a:gdLst>
                  <a:gd name="connsiteX0" fmla="*/ 132179 w 219223"/>
                  <a:gd name="connsiteY0" fmla="*/ 151522 h 180537"/>
                  <a:gd name="connsiteX1" fmla="*/ 219224 w 219223"/>
                  <a:gd name="connsiteY1" fmla="*/ 0 h 180537"/>
                  <a:gd name="connsiteX2" fmla="*/ 58030 w 219223"/>
                  <a:gd name="connsiteY2" fmla="*/ 0 h 180537"/>
                  <a:gd name="connsiteX3" fmla="*/ 0 w 219223"/>
                  <a:gd name="connsiteY3" fmla="*/ 157970 h 180537"/>
                  <a:gd name="connsiteX4" fmla="*/ 122507 w 219223"/>
                  <a:gd name="connsiteY4" fmla="*/ 180538 h 180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9223" h="180537">
                    <a:moveTo>
                      <a:pt x="132179" y="151522"/>
                    </a:moveTo>
                    <a:lnTo>
                      <a:pt x="219224" y="0"/>
                    </a:lnTo>
                    <a:lnTo>
                      <a:pt x="58030" y="0"/>
                    </a:lnTo>
                    <a:lnTo>
                      <a:pt x="0" y="157970"/>
                    </a:lnTo>
                    <a:lnTo>
                      <a:pt x="122507" y="180538"/>
                    </a:ln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85E93100-F8C7-4895-A98C-082F87E5D3C5}"/>
                  </a:ext>
                </a:extLst>
              </p:cNvPr>
              <p:cNvSpPr/>
              <p:nvPr/>
            </p:nvSpPr>
            <p:spPr>
              <a:xfrm>
                <a:off x="3075774" y="12114516"/>
                <a:ext cx="387582" cy="128955"/>
              </a:xfrm>
              <a:custGeom>
                <a:avLst/>
                <a:gdLst>
                  <a:gd name="connsiteX0" fmla="*/ 380418 w 387582"/>
                  <a:gd name="connsiteY0" fmla="*/ 38687 h 128955"/>
                  <a:gd name="connsiteX1" fmla="*/ 241791 w 387582"/>
                  <a:gd name="connsiteY1" fmla="*/ 0 h 128955"/>
                  <a:gd name="connsiteX2" fmla="*/ 135403 w 387582"/>
                  <a:gd name="connsiteY2" fmla="*/ 64478 h 128955"/>
                  <a:gd name="connsiteX3" fmla="*/ 0 w 387582"/>
                  <a:gd name="connsiteY3" fmla="*/ 128955 h 128955"/>
                  <a:gd name="connsiteX4" fmla="*/ 380418 w 387582"/>
                  <a:gd name="connsiteY4" fmla="*/ 128955 h 128955"/>
                  <a:gd name="connsiteX5" fmla="*/ 380418 w 387582"/>
                  <a:gd name="connsiteY5" fmla="*/ 38687 h 128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7582" h="128955">
                    <a:moveTo>
                      <a:pt x="380418" y="38687"/>
                    </a:moveTo>
                    <a:cubicBezTo>
                      <a:pt x="380418" y="38687"/>
                      <a:pt x="290149" y="54806"/>
                      <a:pt x="241791" y="0"/>
                    </a:cubicBezTo>
                    <a:cubicBezTo>
                      <a:pt x="241791" y="0"/>
                      <a:pt x="170866" y="58030"/>
                      <a:pt x="135403" y="64478"/>
                    </a:cubicBezTo>
                    <a:cubicBezTo>
                      <a:pt x="99940" y="70926"/>
                      <a:pt x="9672" y="70926"/>
                      <a:pt x="0" y="128955"/>
                    </a:cubicBezTo>
                    <a:lnTo>
                      <a:pt x="380418" y="128955"/>
                    </a:lnTo>
                    <a:cubicBezTo>
                      <a:pt x="380418" y="128955"/>
                      <a:pt x="396537" y="77373"/>
                      <a:pt x="380418" y="3868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A0DD5699-5BAF-4971-8352-56B8E78CE463}"/>
                  </a:ext>
                </a:extLst>
              </p:cNvPr>
              <p:cNvSpPr/>
              <p:nvPr/>
            </p:nvSpPr>
            <p:spPr>
              <a:xfrm>
                <a:off x="3075774" y="12243471"/>
                <a:ext cx="380417" cy="35462"/>
              </a:xfrm>
              <a:custGeom>
                <a:avLst/>
                <a:gdLst>
                  <a:gd name="connsiteX0" fmla="*/ 0 w 380417"/>
                  <a:gd name="connsiteY0" fmla="*/ 0 h 35462"/>
                  <a:gd name="connsiteX1" fmla="*/ 380418 w 380417"/>
                  <a:gd name="connsiteY1" fmla="*/ 0 h 35462"/>
                  <a:gd name="connsiteX2" fmla="*/ 380418 w 380417"/>
                  <a:gd name="connsiteY2" fmla="*/ 35463 h 35462"/>
                  <a:gd name="connsiteX3" fmla="*/ 0 w 380417"/>
                  <a:gd name="connsiteY3" fmla="*/ 35463 h 35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0417" h="35462">
                    <a:moveTo>
                      <a:pt x="0" y="0"/>
                    </a:moveTo>
                    <a:lnTo>
                      <a:pt x="380418" y="0"/>
                    </a:lnTo>
                    <a:lnTo>
                      <a:pt x="380418" y="35463"/>
                    </a:lnTo>
                    <a:lnTo>
                      <a:pt x="0" y="35463"/>
                    </a:ln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6248DEB4-73AB-4B3D-9421-E4B609ED2201}"/>
                  </a:ext>
                </a:extLst>
              </p:cNvPr>
              <p:cNvSpPr/>
              <p:nvPr/>
            </p:nvSpPr>
            <p:spPr>
              <a:xfrm>
                <a:off x="3311924" y="12105650"/>
                <a:ext cx="150716" cy="53999"/>
              </a:xfrm>
              <a:custGeom>
                <a:avLst/>
                <a:gdLst>
                  <a:gd name="connsiteX0" fmla="*/ 118478 w 150716"/>
                  <a:gd name="connsiteY0" fmla="*/ 53999 h 53999"/>
                  <a:gd name="connsiteX1" fmla="*/ 2418 w 150716"/>
                  <a:gd name="connsiteY1" fmla="*/ 12089 h 53999"/>
                  <a:gd name="connsiteX2" fmla="*/ 2418 w 150716"/>
                  <a:gd name="connsiteY2" fmla="*/ 2418 h 53999"/>
                  <a:gd name="connsiteX3" fmla="*/ 12090 w 150716"/>
                  <a:gd name="connsiteY3" fmla="*/ 2418 h 53999"/>
                  <a:gd name="connsiteX4" fmla="*/ 144269 w 150716"/>
                  <a:gd name="connsiteY4" fmla="*/ 37880 h 53999"/>
                  <a:gd name="connsiteX5" fmla="*/ 150716 w 150716"/>
                  <a:gd name="connsiteY5" fmla="*/ 44328 h 53999"/>
                  <a:gd name="connsiteX6" fmla="*/ 144269 w 150716"/>
                  <a:gd name="connsiteY6" fmla="*/ 50776 h 53999"/>
                  <a:gd name="connsiteX7" fmla="*/ 118478 w 150716"/>
                  <a:gd name="connsiteY7" fmla="*/ 53999 h 5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0716" h="53999">
                    <a:moveTo>
                      <a:pt x="118478" y="53999"/>
                    </a:moveTo>
                    <a:cubicBezTo>
                      <a:pt x="89463" y="53999"/>
                      <a:pt x="41105" y="47552"/>
                      <a:pt x="2418" y="12089"/>
                    </a:cubicBezTo>
                    <a:cubicBezTo>
                      <a:pt x="-806" y="8865"/>
                      <a:pt x="-806" y="5641"/>
                      <a:pt x="2418" y="2418"/>
                    </a:cubicBezTo>
                    <a:cubicBezTo>
                      <a:pt x="5642" y="-806"/>
                      <a:pt x="8866" y="-806"/>
                      <a:pt x="12090" y="2418"/>
                    </a:cubicBezTo>
                    <a:cubicBezTo>
                      <a:pt x="66896" y="50776"/>
                      <a:pt x="144269" y="37880"/>
                      <a:pt x="144269" y="37880"/>
                    </a:cubicBezTo>
                    <a:cubicBezTo>
                      <a:pt x="147493" y="37880"/>
                      <a:pt x="150716" y="41104"/>
                      <a:pt x="150716" y="44328"/>
                    </a:cubicBezTo>
                    <a:cubicBezTo>
                      <a:pt x="150716" y="47552"/>
                      <a:pt x="147493" y="50776"/>
                      <a:pt x="144269" y="50776"/>
                    </a:cubicBezTo>
                    <a:cubicBezTo>
                      <a:pt x="144269" y="53999"/>
                      <a:pt x="134597" y="53999"/>
                      <a:pt x="118478" y="5399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E6F7780C-1349-4785-BFED-F09DF02B2D10}"/>
                  </a:ext>
                </a:extLst>
              </p:cNvPr>
              <p:cNvSpPr/>
              <p:nvPr/>
            </p:nvSpPr>
            <p:spPr>
              <a:xfrm>
                <a:off x="3286133" y="12124994"/>
                <a:ext cx="33850" cy="37880"/>
              </a:xfrm>
              <a:custGeom>
                <a:avLst/>
                <a:gdLst>
                  <a:gd name="connsiteX0" fmla="*/ 24985 w 33850"/>
                  <a:gd name="connsiteY0" fmla="*/ 37880 h 37880"/>
                  <a:gd name="connsiteX1" fmla="*/ 21761 w 33850"/>
                  <a:gd name="connsiteY1" fmla="*/ 34656 h 37880"/>
                  <a:gd name="connsiteX2" fmla="*/ 2418 w 33850"/>
                  <a:gd name="connsiteY2" fmla="*/ 12090 h 37880"/>
                  <a:gd name="connsiteX3" fmla="*/ 2418 w 33850"/>
                  <a:gd name="connsiteY3" fmla="*/ 2417 h 37880"/>
                  <a:gd name="connsiteX4" fmla="*/ 12090 w 33850"/>
                  <a:gd name="connsiteY4" fmla="*/ 2417 h 37880"/>
                  <a:gd name="connsiteX5" fmla="*/ 31433 w 33850"/>
                  <a:gd name="connsiteY5" fmla="*/ 24985 h 37880"/>
                  <a:gd name="connsiteX6" fmla="*/ 31433 w 33850"/>
                  <a:gd name="connsiteY6" fmla="*/ 34656 h 37880"/>
                  <a:gd name="connsiteX7" fmla="*/ 24985 w 33850"/>
                  <a:gd name="connsiteY7" fmla="*/ 37880 h 3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50" h="37880">
                    <a:moveTo>
                      <a:pt x="24985" y="37880"/>
                    </a:moveTo>
                    <a:cubicBezTo>
                      <a:pt x="24985" y="37880"/>
                      <a:pt x="21761" y="37880"/>
                      <a:pt x="21761" y="34656"/>
                    </a:cubicBezTo>
                    <a:lnTo>
                      <a:pt x="2418" y="12090"/>
                    </a:lnTo>
                    <a:cubicBezTo>
                      <a:pt x="-806" y="8865"/>
                      <a:pt x="-806" y="5641"/>
                      <a:pt x="2418" y="2417"/>
                    </a:cubicBezTo>
                    <a:cubicBezTo>
                      <a:pt x="5642" y="-806"/>
                      <a:pt x="8866" y="-806"/>
                      <a:pt x="12090" y="2417"/>
                    </a:cubicBezTo>
                    <a:lnTo>
                      <a:pt x="31433" y="24985"/>
                    </a:lnTo>
                    <a:cubicBezTo>
                      <a:pt x="34657" y="28209"/>
                      <a:pt x="34657" y="31433"/>
                      <a:pt x="31433" y="34656"/>
                    </a:cubicBezTo>
                    <a:cubicBezTo>
                      <a:pt x="28209" y="37880"/>
                      <a:pt x="24985" y="37880"/>
                      <a:pt x="24985" y="3788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7AB00241-F05B-4773-AFA0-097E20B5B022}"/>
                  </a:ext>
                </a:extLst>
              </p:cNvPr>
              <p:cNvSpPr/>
              <p:nvPr/>
            </p:nvSpPr>
            <p:spPr>
              <a:xfrm>
                <a:off x="3253894" y="12147560"/>
                <a:ext cx="33850" cy="37880"/>
              </a:xfrm>
              <a:custGeom>
                <a:avLst/>
                <a:gdLst>
                  <a:gd name="connsiteX0" fmla="*/ 24985 w 33850"/>
                  <a:gd name="connsiteY0" fmla="*/ 37881 h 37880"/>
                  <a:gd name="connsiteX1" fmla="*/ 21761 w 33850"/>
                  <a:gd name="connsiteY1" fmla="*/ 34657 h 37880"/>
                  <a:gd name="connsiteX2" fmla="*/ 2418 w 33850"/>
                  <a:gd name="connsiteY2" fmla="*/ 12089 h 37880"/>
                  <a:gd name="connsiteX3" fmla="*/ 2418 w 33850"/>
                  <a:gd name="connsiteY3" fmla="*/ 2418 h 37880"/>
                  <a:gd name="connsiteX4" fmla="*/ 12090 w 33850"/>
                  <a:gd name="connsiteY4" fmla="*/ 2418 h 37880"/>
                  <a:gd name="connsiteX5" fmla="*/ 31433 w 33850"/>
                  <a:gd name="connsiteY5" fmla="*/ 24986 h 37880"/>
                  <a:gd name="connsiteX6" fmla="*/ 31433 w 33850"/>
                  <a:gd name="connsiteY6" fmla="*/ 34657 h 37880"/>
                  <a:gd name="connsiteX7" fmla="*/ 24985 w 33850"/>
                  <a:gd name="connsiteY7" fmla="*/ 37881 h 3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50" h="37880">
                    <a:moveTo>
                      <a:pt x="24985" y="37881"/>
                    </a:moveTo>
                    <a:cubicBezTo>
                      <a:pt x="24985" y="37881"/>
                      <a:pt x="21761" y="37881"/>
                      <a:pt x="21761" y="34657"/>
                    </a:cubicBezTo>
                    <a:lnTo>
                      <a:pt x="2418" y="12089"/>
                    </a:lnTo>
                    <a:cubicBezTo>
                      <a:pt x="-806" y="8866"/>
                      <a:pt x="-806" y="5642"/>
                      <a:pt x="2418" y="2418"/>
                    </a:cubicBezTo>
                    <a:cubicBezTo>
                      <a:pt x="5642" y="-806"/>
                      <a:pt x="8866" y="-806"/>
                      <a:pt x="12090" y="2418"/>
                    </a:cubicBezTo>
                    <a:lnTo>
                      <a:pt x="31433" y="24986"/>
                    </a:lnTo>
                    <a:cubicBezTo>
                      <a:pt x="34657" y="28209"/>
                      <a:pt x="34657" y="31433"/>
                      <a:pt x="31433" y="34657"/>
                    </a:cubicBezTo>
                    <a:cubicBezTo>
                      <a:pt x="28209" y="37881"/>
                      <a:pt x="28209" y="37881"/>
                      <a:pt x="24985" y="3788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F03F07AC-D9C8-48D5-AA22-F0A6E45995D5}"/>
                </a:ext>
              </a:extLst>
            </p:cNvPr>
            <p:cNvSpPr/>
            <p:nvPr/>
          </p:nvSpPr>
          <p:spPr>
            <a:xfrm>
              <a:off x="3301446" y="10251113"/>
              <a:ext cx="1397605" cy="1853731"/>
            </a:xfrm>
            <a:custGeom>
              <a:avLst/>
              <a:gdLst>
                <a:gd name="connsiteX0" fmla="*/ 1312120 w 1397605"/>
                <a:gd name="connsiteY0" fmla="*/ 9671 h 1853731"/>
                <a:gd name="connsiteX1" fmla="*/ 1392717 w 1397605"/>
                <a:gd name="connsiteY1" fmla="*/ 1112239 h 1853731"/>
                <a:gd name="connsiteX2" fmla="*/ 1167045 w 1397605"/>
                <a:gd name="connsiteY2" fmla="*/ 1808597 h 1853731"/>
                <a:gd name="connsiteX3" fmla="*/ 934925 w 1397605"/>
                <a:gd name="connsiteY3" fmla="*/ 1808597 h 1853731"/>
                <a:gd name="connsiteX4" fmla="*/ 1057433 w 1397605"/>
                <a:gd name="connsiteY4" fmla="*/ 1005850 h 1853731"/>
                <a:gd name="connsiteX5" fmla="*/ 912358 w 1397605"/>
                <a:gd name="connsiteY5" fmla="*/ 399761 h 1853731"/>
                <a:gd name="connsiteX6" fmla="*/ 541612 w 1397605"/>
                <a:gd name="connsiteY6" fmla="*/ 1099344 h 1853731"/>
                <a:gd name="connsiteX7" fmla="*/ 235343 w 1397605"/>
                <a:gd name="connsiteY7" fmla="*/ 1853731 h 1853731"/>
                <a:gd name="connsiteX8" fmla="*/ 0 w 1397605"/>
                <a:gd name="connsiteY8" fmla="*/ 1815044 h 1853731"/>
                <a:gd name="connsiteX9" fmla="*/ 199881 w 1397605"/>
                <a:gd name="connsiteY9" fmla="*/ 1015522 h 1853731"/>
                <a:gd name="connsiteX10" fmla="*/ 493254 w 1397605"/>
                <a:gd name="connsiteY10" fmla="*/ 0 h 1853731"/>
                <a:gd name="connsiteX11" fmla="*/ 1312120 w 1397605"/>
                <a:gd name="connsiteY11" fmla="*/ 9671 h 1853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97605" h="1853731">
                  <a:moveTo>
                    <a:pt x="1312120" y="9671"/>
                  </a:moveTo>
                  <a:cubicBezTo>
                    <a:pt x="1312120" y="9671"/>
                    <a:pt x="1421731" y="1028418"/>
                    <a:pt x="1392717" y="1112239"/>
                  </a:cubicBezTo>
                  <a:cubicBezTo>
                    <a:pt x="1363702" y="1196060"/>
                    <a:pt x="1167045" y="1808597"/>
                    <a:pt x="1167045" y="1808597"/>
                  </a:cubicBezTo>
                  <a:lnTo>
                    <a:pt x="934925" y="1808597"/>
                  </a:lnTo>
                  <a:cubicBezTo>
                    <a:pt x="934925" y="1808597"/>
                    <a:pt x="1050985" y="1083224"/>
                    <a:pt x="1057433" y="1005850"/>
                  </a:cubicBezTo>
                  <a:cubicBezTo>
                    <a:pt x="1063881" y="928477"/>
                    <a:pt x="925254" y="422329"/>
                    <a:pt x="912358" y="399761"/>
                  </a:cubicBezTo>
                  <a:cubicBezTo>
                    <a:pt x="899463" y="373970"/>
                    <a:pt x="541612" y="1099344"/>
                    <a:pt x="541612" y="1099344"/>
                  </a:cubicBezTo>
                  <a:lnTo>
                    <a:pt x="235343" y="1853731"/>
                  </a:lnTo>
                  <a:lnTo>
                    <a:pt x="0" y="1815044"/>
                  </a:lnTo>
                  <a:cubicBezTo>
                    <a:pt x="0" y="1815044"/>
                    <a:pt x="157970" y="1176716"/>
                    <a:pt x="199881" y="1015522"/>
                  </a:cubicBezTo>
                  <a:cubicBezTo>
                    <a:pt x="219224" y="938149"/>
                    <a:pt x="457791" y="77373"/>
                    <a:pt x="493254" y="0"/>
                  </a:cubicBezTo>
                  <a:cubicBezTo>
                    <a:pt x="1050985" y="19343"/>
                    <a:pt x="1312120" y="9671"/>
                    <a:pt x="1312120" y="9671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4ABFA307-94C7-45FA-B11E-6ABF889B733F}"/>
                </a:ext>
              </a:extLst>
            </p:cNvPr>
            <p:cNvSpPr/>
            <p:nvPr/>
          </p:nvSpPr>
          <p:spPr>
            <a:xfrm>
              <a:off x="3772133" y="9035710"/>
              <a:ext cx="858630" cy="1255205"/>
            </a:xfrm>
            <a:custGeom>
              <a:avLst/>
              <a:gdLst>
                <a:gd name="connsiteX0" fmla="*/ 319164 w 858630"/>
                <a:gd name="connsiteY0" fmla="*/ 0 h 1255205"/>
                <a:gd name="connsiteX1" fmla="*/ 551284 w 858630"/>
                <a:gd name="connsiteY1" fmla="*/ 0 h 1255205"/>
                <a:gd name="connsiteX2" fmla="*/ 789851 w 858630"/>
                <a:gd name="connsiteY2" fmla="*/ 103165 h 1255205"/>
                <a:gd name="connsiteX3" fmla="*/ 857552 w 858630"/>
                <a:gd name="connsiteY3" fmla="*/ 1231523 h 1255205"/>
                <a:gd name="connsiteX4" fmla="*/ 0 w 858630"/>
                <a:gd name="connsiteY4" fmla="*/ 1212179 h 1255205"/>
                <a:gd name="connsiteX5" fmla="*/ 93492 w 858630"/>
                <a:gd name="connsiteY5" fmla="*/ 80597 h 1255205"/>
                <a:gd name="connsiteX6" fmla="*/ 319164 w 858630"/>
                <a:gd name="connsiteY6" fmla="*/ 0 h 1255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8630" h="1255205">
                  <a:moveTo>
                    <a:pt x="319164" y="0"/>
                  </a:moveTo>
                  <a:cubicBezTo>
                    <a:pt x="319164" y="0"/>
                    <a:pt x="457791" y="45135"/>
                    <a:pt x="551284" y="0"/>
                  </a:cubicBezTo>
                  <a:cubicBezTo>
                    <a:pt x="551284" y="0"/>
                    <a:pt x="770507" y="80597"/>
                    <a:pt x="789851" y="103165"/>
                  </a:cubicBezTo>
                  <a:cubicBezTo>
                    <a:pt x="809194" y="128955"/>
                    <a:pt x="867224" y="1179941"/>
                    <a:pt x="857552" y="1231523"/>
                  </a:cubicBezTo>
                  <a:cubicBezTo>
                    <a:pt x="857552" y="1231523"/>
                    <a:pt x="461015" y="1296000"/>
                    <a:pt x="0" y="1212179"/>
                  </a:cubicBezTo>
                  <a:cubicBezTo>
                    <a:pt x="0" y="925254"/>
                    <a:pt x="61254" y="106388"/>
                    <a:pt x="93492" y="80597"/>
                  </a:cubicBezTo>
                  <a:cubicBezTo>
                    <a:pt x="125731" y="54806"/>
                    <a:pt x="319164" y="0"/>
                    <a:pt x="319164" y="0"/>
                  </a:cubicBezTo>
                  <a:close/>
                </a:path>
              </a:pathLst>
            </a:custGeom>
            <a:solidFill>
              <a:srgbClr val="F6EBE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B165EECA-6379-4786-A399-53561C597ADD}"/>
                </a:ext>
              </a:extLst>
            </p:cNvPr>
            <p:cNvSpPr/>
            <p:nvPr/>
          </p:nvSpPr>
          <p:spPr>
            <a:xfrm>
              <a:off x="4366082" y="9109778"/>
              <a:ext cx="463483" cy="438528"/>
            </a:xfrm>
            <a:custGeom>
              <a:avLst/>
              <a:gdLst>
                <a:gd name="connsiteX0" fmla="*/ 270051 w 463483"/>
                <a:gd name="connsiteY0" fmla="*/ 438528 h 438528"/>
                <a:gd name="connsiteX1" fmla="*/ 5693 w 463483"/>
                <a:gd name="connsiteY1" fmla="*/ 35543 h 438528"/>
                <a:gd name="connsiteX2" fmla="*/ 463484 w 463483"/>
                <a:gd name="connsiteY2" fmla="*/ 158051 h 438528"/>
                <a:gd name="connsiteX3" fmla="*/ 270051 w 463483"/>
                <a:gd name="connsiteY3" fmla="*/ 438528 h 43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3483" h="438528">
                  <a:moveTo>
                    <a:pt x="270051" y="438528"/>
                  </a:moveTo>
                  <a:cubicBezTo>
                    <a:pt x="270051" y="438528"/>
                    <a:pt x="-45889" y="141932"/>
                    <a:pt x="5693" y="35543"/>
                  </a:cubicBezTo>
                  <a:cubicBezTo>
                    <a:pt x="63722" y="-90188"/>
                    <a:pt x="463484" y="158051"/>
                    <a:pt x="463484" y="158051"/>
                  </a:cubicBezTo>
                  <a:cubicBezTo>
                    <a:pt x="463484" y="158051"/>
                    <a:pt x="408678" y="335364"/>
                    <a:pt x="270051" y="438528"/>
                  </a:cubicBezTo>
                  <a:close/>
                </a:path>
              </a:pathLst>
            </a:custGeom>
            <a:solidFill>
              <a:srgbClr val="F6EBE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B3FBA35A-27C6-42A5-847F-C4F1AE05F9E4}"/>
                </a:ext>
              </a:extLst>
            </p:cNvPr>
            <p:cNvSpPr/>
            <p:nvPr/>
          </p:nvSpPr>
          <p:spPr>
            <a:xfrm>
              <a:off x="4552312" y="9132426"/>
              <a:ext cx="47251" cy="444895"/>
            </a:xfrm>
            <a:custGeom>
              <a:avLst/>
              <a:gdLst>
                <a:gd name="connsiteX0" fmla="*/ 41910 w 47251"/>
                <a:gd name="connsiteY0" fmla="*/ 444896 h 444895"/>
                <a:gd name="connsiteX1" fmla="*/ 35463 w 47251"/>
                <a:gd name="connsiteY1" fmla="*/ 438448 h 444895"/>
                <a:gd name="connsiteX2" fmla="*/ 0 w 47251"/>
                <a:gd name="connsiteY2" fmla="*/ 6448 h 444895"/>
                <a:gd name="connsiteX3" fmla="*/ 3224 w 47251"/>
                <a:gd name="connsiteY3" fmla="*/ 0 h 444895"/>
                <a:gd name="connsiteX4" fmla="*/ 9671 w 47251"/>
                <a:gd name="connsiteY4" fmla="*/ 3224 h 444895"/>
                <a:gd name="connsiteX5" fmla="*/ 45134 w 47251"/>
                <a:gd name="connsiteY5" fmla="*/ 438448 h 444895"/>
                <a:gd name="connsiteX6" fmla="*/ 41910 w 47251"/>
                <a:gd name="connsiteY6" fmla="*/ 444896 h 444895"/>
                <a:gd name="connsiteX7" fmla="*/ 41910 w 47251"/>
                <a:gd name="connsiteY7" fmla="*/ 444896 h 44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251" h="444895">
                  <a:moveTo>
                    <a:pt x="41910" y="444896"/>
                  </a:moveTo>
                  <a:cubicBezTo>
                    <a:pt x="38686" y="444896"/>
                    <a:pt x="35463" y="441672"/>
                    <a:pt x="35463" y="438448"/>
                  </a:cubicBezTo>
                  <a:cubicBezTo>
                    <a:pt x="35463" y="435224"/>
                    <a:pt x="6448" y="35463"/>
                    <a:pt x="0" y="6448"/>
                  </a:cubicBezTo>
                  <a:cubicBezTo>
                    <a:pt x="0" y="3224"/>
                    <a:pt x="0" y="0"/>
                    <a:pt x="3224" y="0"/>
                  </a:cubicBezTo>
                  <a:cubicBezTo>
                    <a:pt x="6448" y="0"/>
                    <a:pt x="9671" y="0"/>
                    <a:pt x="9671" y="3224"/>
                  </a:cubicBezTo>
                  <a:cubicBezTo>
                    <a:pt x="16119" y="35463"/>
                    <a:pt x="41910" y="422329"/>
                    <a:pt x="45134" y="438448"/>
                  </a:cubicBezTo>
                  <a:cubicBezTo>
                    <a:pt x="48358" y="444896"/>
                    <a:pt x="48358" y="444896"/>
                    <a:pt x="41910" y="444896"/>
                  </a:cubicBezTo>
                  <a:cubicBezTo>
                    <a:pt x="45134" y="444896"/>
                    <a:pt x="45134" y="444896"/>
                    <a:pt x="41910" y="444896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76588836-361B-4A3C-A987-4F1EEDEFAB20}"/>
                </a:ext>
              </a:extLst>
            </p:cNvPr>
            <p:cNvSpPr/>
            <p:nvPr/>
          </p:nvSpPr>
          <p:spPr>
            <a:xfrm>
              <a:off x="4207356" y="10357501"/>
              <a:ext cx="58029" cy="296597"/>
            </a:xfrm>
            <a:custGeom>
              <a:avLst/>
              <a:gdLst>
                <a:gd name="connsiteX0" fmla="*/ 6448 w 58029"/>
                <a:gd name="connsiteY0" fmla="*/ 296597 h 296597"/>
                <a:gd name="connsiteX1" fmla="*/ 6448 w 58029"/>
                <a:gd name="connsiteY1" fmla="*/ 296597 h 296597"/>
                <a:gd name="connsiteX2" fmla="*/ 0 w 58029"/>
                <a:gd name="connsiteY2" fmla="*/ 286925 h 296597"/>
                <a:gd name="connsiteX3" fmla="*/ 45134 w 58029"/>
                <a:gd name="connsiteY3" fmla="*/ 6448 h 296597"/>
                <a:gd name="connsiteX4" fmla="*/ 51582 w 58029"/>
                <a:gd name="connsiteY4" fmla="*/ 0 h 296597"/>
                <a:gd name="connsiteX5" fmla="*/ 58030 w 58029"/>
                <a:gd name="connsiteY5" fmla="*/ 6448 h 296597"/>
                <a:gd name="connsiteX6" fmla="*/ 9672 w 58029"/>
                <a:gd name="connsiteY6" fmla="*/ 290149 h 296597"/>
                <a:gd name="connsiteX7" fmla="*/ 6448 w 58029"/>
                <a:gd name="connsiteY7" fmla="*/ 296597 h 296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029" h="296597">
                  <a:moveTo>
                    <a:pt x="6448" y="296597"/>
                  </a:moveTo>
                  <a:cubicBezTo>
                    <a:pt x="6448" y="296597"/>
                    <a:pt x="6448" y="296597"/>
                    <a:pt x="6448" y="296597"/>
                  </a:cubicBezTo>
                  <a:cubicBezTo>
                    <a:pt x="0" y="293373"/>
                    <a:pt x="0" y="290149"/>
                    <a:pt x="0" y="286925"/>
                  </a:cubicBezTo>
                  <a:cubicBezTo>
                    <a:pt x="38687" y="196657"/>
                    <a:pt x="45134" y="6448"/>
                    <a:pt x="45134" y="6448"/>
                  </a:cubicBezTo>
                  <a:cubicBezTo>
                    <a:pt x="45134" y="3224"/>
                    <a:pt x="48358" y="0"/>
                    <a:pt x="51582" y="0"/>
                  </a:cubicBezTo>
                  <a:cubicBezTo>
                    <a:pt x="54806" y="0"/>
                    <a:pt x="58030" y="3224"/>
                    <a:pt x="58030" y="6448"/>
                  </a:cubicBezTo>
                  <a:cubicBezTo>
                    <a:pt x="58030" y="12895"/>
                    <a:pt x="51582" y="196657"/>
                    <a:pt x="9672" y="290149"/>
                  </a:cubicBezTo>
                  <a:cubicBezTo>
                    <a:pt x="12895" y="296597"/>
                    <a:pt x="9672" y="296597"/>
                    <a:pt x="6448" y="296597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B38107B5-89E1-4756-8151-BFEF66F2A376}"/>
                </a:ext>
              </a:extLst>
            </p:cNvPr>
            <p:cNvSpPr/>
            <p:nvPr/>
          </p:nvSpPr>
          <p:spPr>
            <a:xfrm>
              <a:off x="4231812" y="10302695"/>
              <a:ext cx="127066" cy="290149"/>
            </a:xfrm>
            <a:custGeom>
              <a:avLst/>
              <a:gdLst>
                <a:gd name="connsiteX0" fmla="*/ 7783 w 127066"/>
                <a:gd name="connsiteY0" fmla="*/ 290149 h 290149"/>
                <a:gd name="connsiteX1" fmla="*/ 1335 w 127066"/>
                <a:gd name="connsiteY1" fmla="*/ 286925 h 290149"/>
                <a:gd name="connsiteX2" fmla="*/ 4559 w 127066"/>
                <a:gd name="connsiteY2" fmla="*/ 277253 h 290149"/>
                <a:gd name="connsiteX3" fmla="*/ 88380 w 127066"/>
                <a:gd name="connsiteY3" fmla="*/ 215999 h 290149"/>
                <a:gd name="connsiteX4" fmla="*/ 114171 w 127066"/>
                <a:gd name="connsiteY4" fmla="*/ 6447 h 290149"/>
                <a:gd name="connsiteX5" fmla="*/ 120619 w 127066"/>
                <a:gd name="connsiteY5" fmla="*/ 0 h 290149"/>
                <a:gd name="connsiteX6" fmla="*/ 127067 w 127066"/>
                <a:gd name="connsiteY6" fmla="*/ 6447 h 290149"/>
                <a:gd name="connsiteX7" fmla="*/ 98052 w 127066"/>
                <a:gd name="connsiteY7" fmla="*/ 222448 h 290149"/>
                <a:gd name="connsiteX8" fmla="*/ 11007 w 127066"/>
                <a:gd name="connsiteY8" fmla="*/ 286925 h 290149"/>
                <a:gd name="connsiteX9" fmla="*/ 7783 w 127066"/>
                <a:gd name="connsiteY9" fmla="*/ 290149 h 290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066" h="290149">
                  <a:moveTo>
                    <a:pt x="7783" y="290149"/>
                  </a:moveTo>
                  <a:cubicBezTo>
                    <a:pt x="4559" y="290149"/>
                    <a:pt x="4559" y="290149"/>
                    <a:pt x="1335" y="286925"/>
                  </a:cubicBezTo>
                  <a:cubicBezTo>
                    <a:pt x="-1888" y="283701"/>
                    <a:pt x="1335" y="280477"/>
                    <a:pt x="4559" y="277253"/>
                  </a:cubicBezTo>
                  <a:cubicBezTo>
                    <a:pt x="33574" y="257910"/>
                    <a:pt x="85156" y="222448"/>
                    <a:pt x="88380" y="215999"/>
                  </a:cubicBezTo>
                  <a:cubicBezTo>
                    <a:pt x="94828" y="206328"/>
                    <a:pt x="107723" y="80597"/>
                    <a:pt x="114171" y="6447"/>
                  </a:cubicBezTo>
                  <a:cubicBezTo>
                    <a:pt x="114171" y="3223"/>
                    <a:pt x="117395" y="0"/>
                    <a:pt x="120619" y="0"/>
                  </a:cubicBezTo>
                  <a:cubicBezTo>
                    <a:pt x="123843" y="0"/>
                    <a:pt x="127067" y="3223"/>
                    <a:pt x="127067" y="6447"/>
                  </a:cubicBezTo>
                  <a:cubicBezTo>
                    <a:pt x="123843" y="54805"/>
                    <a:pt x="107723" y="209552"/>
                    <a:pt x="98052" y="222448"/>
                  </a:cubicBezTo>
                  <a:cubicBezTo>
                    <a:pt x="88380" y="235343"/>
                    <a:pt x="17455" y="280477"/>
                    <a:pt x="11007" y="286925"/>
                  </a:cubicBezTo>
                  <a:cubicBezTo>
                    <a:pt x="7783" y="290149"/>
                    <a:pt x="7783" y="290149"/>
                    <a:pt x="7783" y="290149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613409DB-8103-4316-989B-1DBE34BB9146}"/>
                </a:ext>
              </a:extLst>
            </p:cNvPr>
            <p:cNvSpPr/>
            <p:nvPr/>
          </p:nvSpPr>
          <p:spPr>
            <a:xfrm>
              <a:off x="2979058" y="9258158"/>
              <a:ext cx="889791" cy="531087"/>
            </a:xfrm>
            <a:custGeom>
              <a:avLst/>
              <a:gdLst>
                <a:gd name="connsiteX0" fmla="*/ 747940 w 889791"/>
                <a:gd name="connsiteY0" fmla="*/ 0 h 531087"/>
                <a:gd name="connsiteX1" fmla="*/ 386866 w 889791"/>
                <a:gd name="connsiteY1" fmla="*/ 306269 h 531087"/>
                <a:gd name="connsiteX2" fmla="*/ 38687 w 889791"/>
                <a:gd name="connsiteY2" fmla="*/ 41911 h 531087"/>
                <a:gd name="connsiteX3" fmla="*/ 0 w 889791"/>
                <a:gd name="connsiteY3" fmla="*/ 148298 h 531087"/>
                <a:gd name="connsiteX4" fmla="*/ 390090 w 889791"/>
                <a:gd name="connsiteY4" fmla="*/ 528716 h 531087"/>
                <a:gd name="connsiteX5" fmla="*/ 889791 w 889791"/>
                <a:gd name="connsiteY5" fmla="*/ 190209 h 531087"/>
                <a:gd name="connsiteX6" fmla="*/ 747940 w 889791"/>
                <a:gd name="connsiteY6" fmla="*/ 0 h 531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9791" h="531087">
                  <a:moveTo>
                    <a:pt x="747940" y="0"/>
                  </a:moveTo>
                  <a:lnTo>
                    <a:pt x="386866" y="306269"/>
                  </a:lnTo>
                  <a:lnTo>
                    <a:pt x="38687" y="41911"/>
                  </a:lnTo>
                  <a:lnTo>
                    <a:pt x="0" y="148298"/>
                  </a:lnTo>
                  <a:cubicBezTo>
                    <a:pt x="0" y="148298"/>
                    <a:pt x="293373" y="493254"/>
                    <a:pt x="390090" y="528716"/>
                  </a:cubicBezTo>
                  <a:cubicBezTo>
                    <a:pt x="486806" y="564179"/>
                    <a:pt x="889791" y="190209"/>
                    <a:pt x="889791" y="190209"/>
                  </a:cubicBezTo>
                  <a:lnTo>
                    <a:pt x="747940" y="0"/>
                  </a:ln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F569C6EE-C96F-4007-A176-6C84781D4DA2}"/>
                </a:ext>
              </a:extLst>
            </p:cNvPr>
            <p:cNvSpPr/>
            <p:nvPr/>
          </p:nvSpPr>
          <p:spPr>
            <a:xfrm>
              <a:off x="3359476" y="9250277"/>
              <a:ext cx="397970" cy="362507"/>
            </a:xfrm>
            <a:custGeom>
              <a:avLst/>
              <a:gdLst>
                <a:gd name="connsiteX0" fmla="*/ 16119 w 397970"/>
                <a:gd name="connsiteY0" fmla="*/ 362507 h 362507"/>
                <a:gd name="connsiteX1" fmla="*/ 9672 w 397970"/>
                <a:gd name="connsiteY1" fmla="*/ 359283 h 362507"/>
                <a:gd name="connsiteX2" fmla="*/ 0 w 397970"/>
                <a:gd name="connsiteY2" fmla="*/ 317373 h 362507"/>
                <a:gd name="connsiteX3" fmla="*/ 3224 w 397970"/>
                <a:gd name="connsiteY3" fmla="*/ 310925 h 362507"/>
                <a:gd name="connsiteX4" fmla="*/ 386866 w 397970"/>
                <a:gd name="connsiteY4" fmla="*/ 1433 h 362507"/>
                <a:gd name="connsiteX5" fmla="*/ 396537 w 397970"/>
                <a:gd name="connsiteY5" fmla="*/ 1433 h 362507"/>
                <a:gd name="connsiteX6" fmla="*/ 396537 w 397970"/>
                <a:gd name="connsiteY6" fmla="*/ 11104 h 362507"/>
                <a:gd name="connsiteX7" fmla="*/ 16119 w 397970"/>
                <a:gd name="connsiteY7" fmla="*/ 317373 h 362507"/>
                <a:gd name="connsiteX8" fmla="*/ 25791 w 397970"/>
                <a:gd name="connsiteY8" fmla="*/ 352836 h 362507"/>
                <a:gd name="connsiteX9" fmla="*/ 16119 w 397970"/>
                <a:gd name="connsiteY9" fmla="*/ 362507 h 362507"/>
                <a:gd name="connsiteX10" fmla="*/ 16119 w 397970"/>
                <a:gd name="connsiteY10" fmla="*/ 362507 h 362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7970" h="362507">
                  <a:moveTo>
                    <a:pt x="16119" y="362507"/>
                  </a:moveTo>
                  <a:cubicBezTo>
                    <a:pt x="12896" y="362507"/>
                    <a:pt x="12896" y="362507"/>
                    <a:pt x="9672" y="359283"/>
                  </a:cubicBezTo>
                  <a:cubicBezTo>
                    <a:pt x="3224" y="343164"/>
                    <a:pt x="0" y="317373"/>
                    <a:pt x="0" y="317373"/>
                  </a:cubicBezTo>
                  <a:cubicBezTo>
                    <a:pt x="0" y="314149"/>
                    <a:pt x="0" y="314149"/>
                    <a:pt x="3224" y="310925"/>
                  </a:cubicBezTo>
                  <a:cubicBezTo>
                    <a:pt x="67702" y="252895"/>
                    <a:pt x="383642" y="4657"/>
                    <a:pt x="386866" y="1433"/>
                  </a:cubicBezTo>
                  <a:cubicBezTo>
                    <a:pt x="390090" y="-1791"/>
                    <a:pt x="393313" y="1433"/>
                    <a:pt x="396537" y="1433"/>
                  </a:cubicBezTo>
                  <a:cubicBezTo>
                    <a:pt x="399761" y="4657"/>
                    <a:pt x="396537" y="7881"/>
                    <a:pt x="396537" y="11104"/>
                  </a:cubicBezTo>
                  <a:cubicBezTo>
                    <a:pt x="393313" y="14328"/>
                    <a:pt x="83821" y="259343"/>
                    <a:pt x="16119" y="317373"/>
                  </a:cubicBezTo>
                  <a:cubicBezTo>
                    <a:pt x="16119" y="323821"/>
                    <a:pt x="19343" y="343164"/>
                    <a:pt x="25791" y="352836"/>
                  </a:cubicBezTo>
                  <a:cubicBezTo>
                    <a:pt x="22567" y="356060"/>
                    <a:pt x="19343" y="362507"/>
                    <a:pt x="16119" y="362507"/>
                  </a:cubicBezTo>
                  <a:cubicBezTo>
                    <a:pt x="16119" y="362507"/>
                    <a:pt x="16119" y="362507"/>
                    <a:pt x="16119" y="362507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D4B7D2C6-C1A8-40B7-99B4-62554884E354}"/>
                </a:ext>
              </a:extLst>
            </p:cNvPr>
            <p:cNvSpPr/>
            <p:nvPr/>
          </p:nvSpPr>
          <p:spPr>
            <a:xfrm>
              <a:off x="3627058" y="9078046"/>
              <a:ext cx="459391" cy="447694"/>
            </a:xfrm>
            <a:custGeom>
              <a:avLst/>
              <a:gdLst>
                <a:gd name="connsiteX0" fmla="*/ 206328 w 459391"/>
                <a:gd name="connsiteY0" fmla="*/ 447694 h 447694"/>
                <a:gd name="connsiteX1" fmla="*/ 448119 w 459391"/>
                <a:gd name="connsiteY1" fmla="*/ 31813 h 447694"/>
                <a:gd name="connsiteX2" fmla="*/ 0 w 459391"/>
                <a:gd name="connsiteY2" fmla="*/ 180112 h 447694"/>
                <a:gd name="connsiteX3" fmla="*/ 206328 w 459391"/>
                <a:gd name="connsiteY3" fmla="*/ 447694 h 44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9391" h="447694">
                  <a:moveTo>
                    <a:pt x="206328" y="447694"/>
                  </a:moveTo>
                  <a:cubicBezTo>
                    <a:pt x="206328" y="447694"/>
                    <a:pt x="522269" y="173664"/>
                    <a:pt x="448119" y="31813"/>
                  </a:cubicBezTo>
                  <a:cubicBezTo>
                    <a:pt x="383642" y="-90694"/>
                    <a:pt x="0" y="180112"/>
                    <a:pt x="0" y="180112"/>
                  </a:cubicBezTo>
                  <a:cubicBezTo>
                    <a:pt x="0" y="180112"/>
                    <a:pt x="64478" y="350978"/>
                    <a:pt x="206328" y="447694"/>
                  </a:cubicBezTo>
                  <a:close/>
                </a:path>
              </a:pathLst>
            </a:custGeom>
            <a:solidFill>
              <a:srgbClr val="F6EBE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013F5E55-4D2C-4EEC-8507-AA1E9BD9390C}"/>
                </a:ext>
              </a:extLst>
            </p:cNvPr>
            <p:cNvSpPr/>
            <p:nvPr/>
          </p:nvSpPr>
          <p:spPr>
            <a:xfrm>
              <a:off x="3620610" y="9106635"/>
              <a:ext cx="261134" cy="254686"/>
            </a:xfrm>
            <a:custGeom>
              <a:avLst/>
              <a:gdLst>
                <a:gd name="connsiteX0" fmla="*/ 54806 w 261134"/>
                <a:gd name="connsiteY0" fmla="*/ 254686 h 254686"/>
                <a:gd name="connsiteX1" fmla="*/ 48358 w 261134"/>
                <a:gd name="connsiteY1" fmla="*/ 251462 h 254686"/>
                <a:gd name="connsiteX2" fmla="*/ 0 w 261134"/>
                <a:gd name="connsiteY2" fmla="*/ 151522 h 254686"/>
                <a:gd name="connsiteX3" fmla="*/ 0 w 261134"/>
                <a:gd name="connsiteY3" fmla="*/ 148298 h 254686"/>
                <a:gd name="connsiteX4" fmla="*/ 3224 w 261134"/>
                <a:gd name="connsiteY4" fmla="*/ 145075 h 254686"/>
                <a:gd name="connsiteX5" fmla="*/ 254687 w 261134"/>
                <a:gd name="connsiteY5" fmla="*/ 0 h 254686"/>
                <a:gd name="connsiteX6" fmla="*/ 261134 w 261134"/>
                <a:gd name="connsiteY6" fmla="*/ 3224 h 254686"/>
                <a:gd name="connsiteX7" fmla="*/ 257910 w 261134"/>
                <a:gd name="connsiteY7" fmla="*/ 9671 h 254686"/>
                <a:gd name="connsiteX8" fmla="*/ 9672 w 261134"/>
                <a:gd name="connsiteY8" fmla="*/ 151522 h 254686"/>
                <a:gd name="connsiteX9" fmla="*/ 54806 w 261134"/>
                <a:gd name="connsiteY9" fmla="*/ 245015 h 254686"/>
                <a:gd name="connsiteX10" fmla="*/ 54806 w 261134"/>
                <a:gd name="connsiteY10" fmla="*/ 254686 h 254686"/>
                <a:gd name="connsiteX11" fmla="*/ 54806 w 261134"/>
                <a:gd name="connsiteY11" fmla="*/ 254686 h 254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1134" h="254686">
                  <a:moveTo>
                    <a:pt x="54806" y="254686"/>
                  </a:moveTo>
                  <a:cubicBezTo>
                    <a:pt x="51582" y="254686"/>
                    <a:pt x="51582" y="254686"/>
                    <a:pt x="48358" y="251462"/>
                  </a:cubicBezTo>
                  <a:cubicBezTo>
                    <a:pt x="16119" y="206328"/>
                    <a:pt x="0" y="154746"/>
                    <a:pt x="0" y="151522"/>
                  </a:cubicBezTo>
                  <a:lnTo>
                    <a:pt x="0" y="148298"/>
                  </a:lnTo>
                  <a:lnTo>
                    <a:pt x="3224" y="145075"/>
                  </a:lnTo>
                  <a:cubicBezTo>
                    <a:pt x="3224" y="145075"/>
                    <a:pt x="125731" y="67701"/>
                    <a:pt x="254687" y="0"/>
                  </a:cubicBezTo>
                  <a:cubicBezTo>
                    <a:pt x="257910" y="0"/>
                    <a:pt x="261134" y="0"/>
                    <a:pt x="261134" y="3224"/>
                  </a:cubicBezTo>
                  <a:cubicBezTo>
                    <a:pt x="261134" y="6448"/>
                    <a:pt x="261134" y="9671"/>
                    <a:pt x="257910" y="9671"/>
                  </a:cubicBezTo>
                  <a:cubicBezTo>
                    <a:pt x="141851" y="70925"/>
                    <a:pt x="32239" y="135403"/>
                    <a:pt x="9672" y="151522"/>
                  </a:cubicBezTo>
                  <a:cubicBezTo>
                    <a:pt x="16119" y="164418"/>
                    <a:pt x="32239" y="209552"/>
                    <a:pt x="54806" y="245015"/>
                  </a:cubicBezTo>
                  <a:cubicBezTo>
                    <a:pt x="58030" y="248239"/>
                    <a:pt x="54806" y="251462"/>
                    <a:pt x="54806" y="254686"/>
                  </a:cubicBezTo>
                  <a:cubicBezTo>
                    <a:pt x="54806" y="254686"/>
                    <a:pt x="54806" y="254686"/>
                    <a:pt x="54806" y="254686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9" name="图形 1">
              <a:extLst>
                <a:ext uri="{FF2B5EF4-FFF2-40B4-BE49-F238E27FC236}">
                  <a16:creationId xmlns:a16="http://schemas.microsoft.com/office/drawing/2014/main" id="{C25836E2-E6BB-42DC-AAE0-FB17C62B9D52}"/>
                </a:ext>
              </a:extLst>
            </p:cNvPr>
            <p:cNvGrpSpPr/>
            <p:nvPr/>
          </p:nvGrpSpPr>
          <p:grpSpPr>
            <a:xfrm>
              <a:off x="5176710" y="8926098"/>
              <a:ext cx="236797" cy="274515"/>
              <a:chOff x="5176710" y="8926098"/>
              <a:chExt cx="236797" cy="274515"/>
            </a:xfrm>
          </p:grpSpPr>
          <p:grpSp>
            <p:nvGrpSpPr>
              <p:cNvPr id="113" name="图形 1">
                <a:extLst>
                  <a:ext uri="{FF2B5EF4-FFF2-40B4-BE49-F238E27FC236}">
                    <a16:creationId xmlns:a16="http://schemas.microsoft.com/office/drawing/2014/main" id="{4AE2C0F9-C217-4FF0-9266-9F274CBCF235}"/>
                  </a:ext>
                </a:extLst>
              </p:cNvPr>
              <p:cNvGrpSpPr/>
              <p:nvPr/>
            </p:nvGrpSpPr>
            <p:grpSpPr>
              <a:xfrm>
                <a:off x="5176710" y="8926098"/>
                <a:ext cx="233786" cy="274515"/>
                <a:chOff x="5176710" y="8926098"/>
                <a:chExt cx="233786" cy="274515"/>
              </a:xfrm>
            </p:grpSpPr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0961E4E4-D54E-4E59-BE1C-A098B188BA96}"/>
                    </a:ext>
                  </a:extLst>
                </p:cNvPr>
                <p:cNvSpPr/>
                <p:nvPr/>
              </p:nvSpPr>
              <p:spPr>
                <a:xfrm>
                  <a:off x="5176710" y="8930934"/>
                  <a:ext cx="233786" cy="269679"/>
                </a:xfrm>
                <a:custGeom>
                  <a:avLst/>
                  <a:gdLst>
                    <a:gd name="connsiteX0" fmla="*/ 226706 w 233786"/>
                    <a:gd name="connsiteY0" fmla="*/ 88656 h 269679"/>
                    <a:gd name="connsiteX1" fmla="*/ 210587 w 233786"/>
                    <a:gd name="connsiteY1" fmla="*/ 88656 h 269679"/>
                    <a:gd name="connsiteX2" fmla="*/ 204139 w 233786"/>
                    <a:gd name="connsiteY2" fmla="*/ 91880 h 269679"/>
                    <a:gd name="connsiteX3" fmla="*/ 217035 w 233786"/>
                    <a:gd name="connsiteY3" fmla="*/ 72537 h 269679"/>
                    <a:gd name="connsiteX4" fmla="*/ 233154 w 233786"/>
                    <a:gd name="connsiteY4" fmla="*/ 33850 h 269679"/>
                    <a:gd name="connsiteX5" fmla="*/ 223482 w 233786"/>
                    <a:gd name="connsiteY5" fmla="*/ 30627 h 269679"/>
                    <a:gd name="connsiteX6" fmla="*/ 220258 w 233786"/>
                    <a:gd name="connsiteY6" fmla="*/ 30627 h 269679"/>
                    <a:gd name="connsiteX7" fmla="*/ 217035 w 233786"/>
                    <a:gd name="connsiteY7" fmla="*/ 4836 h 269679"/>
                    <a:gd name="connsiteX8" fmla="*/ 194468 w 233786"/>
                    <a:gd name="connsiteY8" fmla="*/ 4836 h 269679"/>
                    <a:gd name="connsiteX9" fmla="*/ 162229 w 233786"/>
                    <a:gd name="connsiteY9" fmla="*/ 40298 h 269679"/>
                    <a:gd name="connsiteX10" fmla="*/ 120318 w 233786"/>
                    <a:gd name="connsiteY10" fmla="*/ 91880 h 269679"/>
                    <a:gd name="connsiteX11" fmla="*/ 139661 w 233786"/>
                    <a:gd name="connsiteY11" fmla="*/ 43522 h 269679"/>
                    <a:gd name="connsiteX12" fmla="*/ 152557 w 233786"/>
                    <a:gd name="connsiteY12" fmla="*/ 8059 h 269679"/>
                    <a:gd name="connsiteX13" fmla="*/ 123542 w 233786"/>
                    <a:gd name="connsiteY13" fmla="*/ 17731 h 269679"/>
                    <a:gd name="connsiteX14" fmla="*/ 49393 w 233786"/>
                    <a:gd name="connsiteY14" fmla="*/ 159582 h 269679"/>
                    <a:gd name="connsiteX15" fmla="*/ 55841 w 233786"/>
                    <a:gd name="connsiteY15" fmla="*/ 101552 h 269679"/>
                    <a:gd name="connsiteX16" fmla="*/ 33274 w 233786"/>
                    <a:gd name="connsiteY16" fmla="*/ 88656 h 269679"/>
                    <a:gd name="connsiteX17" fmla="*/ 23602 w 233786"/>
                    <a:gd name="connsiteY17" fmla="*/ 246627 h 269679"/>
                    <a:gd name="connsiteX18" fmla="*/ 23602 w 233786"/>
                    <a:gd name="connsiteY18" fmla="*/ 246627 h 269679"/>
                    <a:gd name="connsiteX19" fmla="*/ 23602 w 233786"/>
                    <a:gd name="connsiteY19" fmla="*/ 249850 h 269679"/>
                    <a:gd name="connsiteX20" fmla="*/ 113871 w 233786"/>
                    <a:gd name="connsiteY20" fmla="*/ 265970 h 269679"/>
                    <a:gd name="connsiteX21" fmla="*/ 184796 w 233786"/>
                    <a:gd name="connsiteY21" fmla="*/ 172477 h 269679"/>
                    <a:gd name="connsiteX22" fmla="*/ 226706 w 233786"/>
                    <a:gd name="connsiteY22" fmla="*/ 88656 h 269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33786" h="269679">
                      <a:moveTo>
                        <a:pt x="226706" y="88656"/>
                      </a:moveTo>
                      <a:cubicBezTo>
                        <a:pt x="220258" y="85433"/>
                        <a:pt x="217035" y="85433"/>
                        <a:pt x="210587" y="88656"/>
                      </a:cubicBezTo>
                      <a:cubicBezTo>
                        <a:pt x="207363" y="88656"/>
                        <a:pt x="207363" y="91880"/>
                        <a:pt x="204139" y="91880"/>
                      </a:cubicBezTo>
                      <a:cubicBezTo>
                        <a:pt x="207363" y="85433"/>
                        <a:pt x="213811" y="78985"/>
                        <a:pt x="217035" y="72537"/>
                      </a:cubicBezTo>
                      <a:cubicBezTo>
                        <a:pt x="226706" y="59642"/>
                        <a:pt x="236378" y="46746"/>
                        <a:pt x="233154" y="33850"/>
                      </a:cubicBezTo>
                      <a:cubicBezTo>
                        <a:pt x="233154" y="33850"/>
                        <a:pt x="223482" y="30627"/>
                        <a:pt x="223482" y="30627"/>
                      </a:cubicBezTo>
                      <a:cubicBezTo>
                        <a:pt x="223482" y="30627"/>
                        <a:pt x="223482" y="30627"/>
                        <a:pt x="220258" y="30627"/>
                      </a:cubicBezTo>
                      <a:cubicBezTo>
                        <a:pt x="223482" y="20955"/>
                        <a:pt x="223482" y="11283"/>
                        <a:pt x="217035" y="4836"/>
                      </a:cubicBezTo>
                      <a:cubicBezTo>
                        <a:pt x="210587" y="-1612"/>
                        <a:pt x="204139" y="-1612"/>
                        <a:pt x="194468" y="4836"/>
                      </a:cubicBezTo>
                      <a:cubicBezTo>
                        <a:pt x="181572" y="14507"/>
                        <a:pt x="171900" y="30627"/>
                        <a:pt x="162229" y="40298"/>
                      </a:cubicBezTo>
                      <a:cubicBezTo>
                        <a:pt x="149333" y="56418"/>
                        <a:pt x="133214" y="75761"/>
                        <a:pt x="120318" y="91880"/>
                      </a:cubicBezTo>
                      <a:cubicBezTo>
                        <a:pt x="126766" y="75761"/>
                        <a:pt x="133214" y="59642"/>
                        <a:pt x="139661" y="43522"/>
                      </a:cubicBezTo>
                      <a:cubicBezTo>
                        <a:pt x="142885" y="33850"/>
                        <a:pt x="155781" y="17731"/>
                        <a:pt x="152557" y="8059"/>
                      </a:cubicBezTo>
                      <a:cubicBezTo>
                        <a:pt x="149333" y="-8060"/>
                        <a:pt x="129990" y="8059"/>
                        <a:pt x="123542" y="17731"/>
                      </a:cubicBezTo>
                      <a:cubicBezTo>
                        <a:pt x="84856" y="59642"/>
                        <a:pt x="78408" y="114447"/>
                        <a:pt x="49393" y="159582"/>
                      </a:cubicBezTo>
                      <a:cubicBezTo>
                        <a:pt x="46169" y="143463"/>
                        <a:pt x="49393" y="124119"/>
                        <a:pt x="55841" y="101552"/>
                      </a:cubicBezTo>
                      <a:cubicBezTo>
                        <a:pt x="59064" y="88656"/>
                        <a:pt x="36497" y="85433"/>
                        <a:pt x="33274" y="88656"/>
                      </a:cubicBezTo>
                      <a:cubicBezTo>
                        <a:pt x="-2189" y="127343"/>
                        <a:pt x="-15085" y="201492"/>
                        <a:pt x="23602" y="246627"/>
                      </a:cubicBezTo>
                      <a:cubicBezTo>
                        <a:pt x="23602" y="246627"/>
                        <a:pt x="23602" y="246627"/>
                        <a:pt x="23602" y="246627"/>
                      </a:cubicBezTo>
                      <a:cubicBezTo>
                        <a:pt x="23602" y="246627"/>
                        <a:pt x="23602" y="249850"/>
                        <a:pt x="23602" y="249850"/>
                      </a:cubicBezTo>
                      <a:cubicBezTo>
                        <a:pt x="36497" y="272418"/>
                        <a:pt x="88079" y="272418"/>
                        <a:pt x="113871" y="265970"/>
                      </a:cubicBezTo>
                      <a:cubicBezTo>
                        <a:pt x="152557" y="253074"/>
                        <a:pt x="165453" y="204716"/>
                        <a:pt x="184796" y="172477"/>
                      </a:cubicBezTo>
                      <a:cubicBezTo>
                        <a:pt x="197691" y="159582"/>
                        <a:pt x="236378" y="98328"/>
                        <a:pt x="226706" y="88656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E5A6E4AE-68AC-488F-9EC5-3634CEB0E625}"/>
                    </a:ext>
                  </a:extLst>
                </p:cNvPr>
                <p:cNvSpPr/>
                <p:nvPr/>
              </p:nvSpPr>
              <p:spPr>
                <a:xfrm>
                  <a:off x="5238998" y="9093740"/>
                  <a:ext cx="28773" cy="58029"/>
                </a:xfrm>
                <a:custGeom>
                  <a:avLst/>
                  <a:gdLst>
                    <a:gd name="connsiteX0" fmla="*/ 19343 w 28773"/>
                    <a:gd name="connsiteY0" fmla="*/ 58030 h 58029"/>
                    <a:gd name="connsiteX1" fmla="*/ 19343 w 28773"/>
                    <a:gd name="connsiteY1" fmla="*/ 58030 h 58029"/>
                    <a:gd name="connsiteX2" fmla="*/ 12896 w 28773"/>
                    <a:gd name="connsiteY2" fmla="*/ 48358 h 58029"/>
                    <a:gd name="connsiteX3" fmla="*/ 3224 w 28773"/>
                    <a:gd name="connsiteY3" fmla="*/ 12896 h 58029"/>
                    <a:gd name="connsiteX4" fmla="*/ 0 w 28773"/>
                    <a:gd name="connsiteY4" fmla="*/ 3224 h 58029"/>
                    <a:gd name="connsiteX5" fmla="*/ 9672 w 28773"/>
                    <a:gd name="connsiteY5" fmla="*/ 0 h 58029"/>
                    <a:gd name="connsiteX6" fmla="*/ 25791 w 28773"/>
                    <a:gd name="connsiteY6" fmla="*/ 48358 h 58029"/>
                    <a:gd name="connsiteX7" fmla="*/ 19343 w 28773"/>
                    <a:gd name="connsiteY7" fmla="*/ 58030 h 580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8773" h="58029">
                      <a:moveTo>
                        <a:pt x="19343" y="58030"/>
                      </a:moveTo>
                      <a:cubicBezTo>
                        <a:pt x="19343" y="58030"/>
                        <a:pt x="19343" y="58030"/>
                        <a:pt x="19343" y="58030"/>
                      </a:cubicBezTo>
                      <a:cubicBezTo>
                        <a:pt x="12896" y="54806"/>
                        <a:pt x="12896" y="51582"/>
                        <a:pt x="12896" y="48358"/>
                      </a:cubicBezTo>
                      <a:cubicBezTo>
                        <a:pt x="22567" y="25791"/>
                        <a:pt x="3224" y="16119"/>
                        <a:pt x="3224" y="12896"/>
                      </a:cubicBezTo>
                      <a:cubicBezTo>
                        <a:pt x="0" y="9672"/>
                        <a:pt x="0" y="6448"/>
                        <a:pt x="0" y="3224"/>
                      </a:cubicBezTo>
                      <a:cubicBezTo>
                        <a:pt x="3224" y="0"/>
                        <a:pt x="6448" y="0"/>
                        <a:pt x="9672" y="0"/>
                      </a:cubicBezTo>
                      <a:cubicBezTo>
                        <a:pt x="19343" y="6448"/>
                        <a:pt x="35463" y="22567"/>
                        <a:pt x="25791" y="48358"/>
                      </a:cubicBezTo>
                      <a:cubicBezTo>
                        <a:pt x="25791" y="58030"/>
                        <a:pt x="22567" y="58030"/>
                        <a:pt x="19343" y="58030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C728B037-15A6-4FCE-BC62-F75F551895B7}"/>
                    </a:ext>
                  </a:extLst>
                </p:cNvPr>
                <p:cNvSpPr/>
                <p:nvPr/>
              </p:nvSpPr>
              <p:spPr>
                <a:xfrm>
                  <a:off x="5290580" y="8926098"/>
                  <a:ext cx="112029" cy="106388"/>
                </a:xfrm>
                <a:custGeom>
                  <a:avLst/>
                  <a:gdLst>
                    <a:gd name="connsiteX0" fmla="*/ 6448 w 112029"/>
                    <a:gd name="connsiteY0" fmla="*/ 106388 h 106388"/>
                    <a:gd name="connsiteX1" fmla="*/ 6448 w 112029"/>
                    <a:gd name="connsiteY1" fmla="*/ 106388 h 106388"/>
                    <a:gd name="connsiteX2" fmla="*/ 0 w 112029"/>
                    <a:gd name="connsiteY2" fmla="*/ 96716 h 106388"/>
                    <a:gd name="connsiteX3" fmla="*/ 32239 w 112029"/>
                    <a:gd name="connsiteY3" fmla="*/ 16119 h 106388"/>
                    <a:gd name="connsiteX4" fmla="*/ 38686 w 112029"/>
                    <a:gd name="connsiteY4" fmla="*/ 12895 h 106388"/>
                    <a:gd name="connsiteX5" fmla="*/ 41910 w 112029"/>
                    <a:gd name="connsiteY5" fmla="*/ 19343 h 106388"/>
                    <a:gd name="connsiteX6" fmla="*/ 29015 w 112029"/>
                    <a:gd name="connsiteY6" fmla="*/ 58030 h 106388"/>
                    <a:gd name="connsiteX7" fmla="*/ 87045 w 112029"/>
                    <a:gd name="connsiteY7" fmla="*/ 0 h 106388"/>
                    <a:gd name="connsiteX8" fmla="*/ 109612 w 112029"/>
                    <a:gd name="connsiteY8" fmla="*/ 9672 h 106388"/>
                    <a:gd name="connsiteX9" fmla="*/ 109612 w 112029"/>
                    <a:gd name="connsiteY9" fmla="*/ 35463 h 106388"/>
                    <a:gd name="connsiteX10" fmla="*/ 103164 w 112029"/>
                    <a:gd name="connsiteY10" fmla="*/ 38686 h 106388"/>
                    <a:gd name="connsiteX11" fmla="*/ 99940 w 112029"/>
                    <a:gd name="connsiteY11" fmla="*/ 32239 h 106388"/>
                    <a:gd name="connsiteX12" fmla="*/ 99940 w 112029"/>
                    <a:gd name="connsiteY12" fmla="*/ 19343 h 106388"/>
                    <a:gd name="connsiteX13" fmla="*/ 90269 w 112029"/>
                    <a:gd name="connsiteY13" fmla="*/ 16119 h 106388"/>
                    <a:gd name="connsiteX14" fmla="*/ 12895 w 112029"/>
                    <a:gd name="connsiteY14" fmla="*/ 106388 h 106388"/>
                    <a:gd name="connsiteX15" fmla="*/ 6448 w 112029"/>
                    <a:gd name="connsiteY15" fmla="*/ 106388 h 1063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2029" h="106388">
                      <a:moveTo>
                        <a:pt x="6448" y="106388"/>
                      </a:moveTo>
                      <a:cubicBezTo>
                        <a:pt x="6448" y="106388"/>
                        <a:pt x="3224" y="106388"/>
                        <a:pt x="6448" y="106388"/>
                      </a:cubicBezTo>
                      <a:cubicBezTo>
                        <a:pt x="0" y="103164"/>
                        <a:pt x="0" y="99940"/>
                        <a:pt x="0" y="96716"/>
                      </a:cubicBezTo>
                      <a:cubicBezTo>
                        <a:pt x="16119" y="67702"/>
                        <a:pt x="32239" y="16119"/>
                        <a:pt x="32239" y="16119"/>
                      </a:cubicBezTo>
                      <a:cubicBezTo>
                        <a:pt x="32239" y="12895"/>
                        <a:pt x="35463" y="12895"/>
                        <a:pt x="38686" y="12895"/>
                      </a:cubicBezTo>
                      <a:cubicBezTo>
                        <a:pt x="41910" y="12895"/>
                        <a:pt x="41910" y="16119"/>
                        <a:pt x="41910" y="19343"/>
                      </a:cubicBezTo>
                      <a:cubicBezTo>
                        <a:pt x="41910" y="19343"/>
                        <a:pt x="35463" y="38686"/>
                        <a:pt x="29015" y="58030"/>
                      </a:cubicBezTo>
                      <a:cubicBezTo>
                        <a:pt x="51582" y="29015"/>
                        <a:pt x="74149" y="3224"/>
                        <a:pt x="87045" y="0"/>
                      </a:cubicBezTo>
                      <a:cubicBezTo>
                        <a:pt x="96716" y="0"/>
                        <a:pt x="103164" y="3224"/>
                        <a:pt x="109612" y="9672"/>
                      </a:cubicBezTo>
                      <a:cubicBezTo>
                        <a:pt x="112836" y="16119"/>
                        <a:pt x="112836" y="25791"/>
                        <a:pt x="109612" y="35463"/>
                      </a:cubicBezTo>
                      <a:cubicBezTo>
                        <a:pt x="109612" y="38686"/>
                        <a:pt x="103164" y="38686"/>
                        <a:pt x="103164" y="38686"/>
                      </a:cubicBezTo>
                      <a:cubicBezTo>
                        <a:pt x="99940" y="38686"/>
                        <a:pt x="99940" y="32239"/>
                        <a:pt x="99940" y="32239"/>
                      </a:cubicBezTo>
                      <a:cubicBezTo>
                        <a:pt x="103164" y="25791"/>
                        <a:pt x="103164" y="22567"/>
                        <a:pt x="99940" y="19343"/>
                      </a:cubicBezTo>
                      <a:cubicBezTo>
                        <a:pt x="96716" y="16119"/>
                        <a:pt x="93492" y="16119"/>
                        <a:pt x="90269" y="16119"/>
                      </a:cubicBezTo>
                      <a:cubicBezTo>
                        <a:pt x="80597" y="19343"/>
                        <a:pt x="41910" y="64478"/>
                        <a:pt x="12895" y="106388"/>
                      </a:cubicBezTo>
                      <a:cubicBezTo>
                        <a:pt x="9671" y="106388"/>
                        <a:pt x="6448" y="106388"/>
                        <a:pt x="6448" y="106388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4D2D871D-375B-4A67-B535-9ECC253A45B0}"/>
                  </a:ext>
                </a:extLst>
              </p:cNvPr>
              <p:cNvSpPr/>
              <p:nvPr/>
            </p:nvSpPr>
            <p:spPr>
              <a:xfrm>
                <a:off x="5320401" y="9000247"/>
                <a:ext cx="83004" cy="103164"/>
              </a:xfrm>
              <a:custGeom>
                <a:avLst/>
                <a:gdLst>
                  <a:gd name="connsiteX0" fmla="*/ 47552 w 83004"/>
                  <a:gd name="connsiteY0" fmla="*/ 103164 h 103164"/>
                  <a:gd name="connsiteX1" fmla="*/ 47552 w 83004"/>
                  <a:gd name="connsiteY1" fmla="*/ 103164 h 103164"/>
                  <a:gd name="connsiteX2" fmla="*/ 41105 w 83004"/>
                  <a:gd name="connsiteY2" fmla="*/ 93492 h 103164"/>
                  <a:gd name="connsiteX3" fmla="*/ 73343 w 83004"/>
                  <a:gd name="connsiteY3" fmla="*/ 19343 h 103164"/>
                  <a:gd name="connsiteX4" fmla="*/ 66896 w 83004"/>
                  <a:gd name="connsiteY4" fmla="*/ 16119 h 103164"/>
                  <a:gd name="connsiteX5" fmla="*/ 54000 w 83004"/>
                  <a:gd name="connsiteY5" fmla="*/ 25791 h 103164"/>
                  <a:gd name="connsiteX6" fmla="*/ 37881 w 83004"/>
                  <a:gd name="connsiteY6" fmla="*/ 51582 h 103164"/>
                  <a:gd name="connsiteX7" fmla="*/ 12090 w 83004"/>
                  <a:gd name="connsiteY7" fmla="*/ 87045 h 103164"/>
                  <a:gd name="connsiteX8" fmla="*/ 2418 w 83004"/>
                  <a:gd name="connsiteY8" fmla="*/ 87045 h 103164"/>
                  <a:gd name="connsiteX9" fmla="*/ 2418 w 83004"/>
                  <a:gd name="connsiteY9" fmla="*/ 77373 h 103164"/>
                  <a:gd name="connsiteX10" fmla="*/ 24985 w 83004"/>
                  <a:gd name="connsiteY10" fmla="*/ 41911 h 103164"/>
                  <a:gd name="connsiteX11" fmla="*/ 44328 w 83004"/>
                  <a:gd name="connsiteY11" fmla="*/ 12895 h 103164"/>
                  <a:gd name="connsiteX12" fmla="*/ 66896 w 83004"/>
                  <a:gd name="connsiteY12" fmla="*/ 0 h 103164"/>
                  <a:gd name="connsiteX13" fmla="*/ 79791 w 83004"/>
                  <a:gd name="connsiteY13" fmla="*/ 6448 h 103164"/>
                  <a:gd name="connsiteX14" fmla="*/ 47552 w 83004"/>
                  <a:gd name="connsiteY14" fmla="*/ 93492 h 103164"/>
                  <a:gd name="connsiteX15" fmla="*/ 47552 w 83004"/>
                  <a:gd name="connsiteY15" fmla="*/ 103164 h 103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3004" h="103164">
                    <a:moveTo>
                      <a:pt x="47552" y="103164"/>
                    </a:moveTo>
                    <a:cubicBezTo>
                      <a:pt x="47552" y="103164"/>
                      <a:pt x="47552" y="103164"/>
                      <a:pt x="47552" y="103164"/>
                    </a:cubicBezTo>
                    <a:cubicBezTo>
                      <a:pt x="41105" y="99940"/>
                      <a:pt x="41105" y="96716"/>
                      <a:pt x="41105" y="93492"/>
                    </a:cubicBezTo>
                    <a:cubicBezTo>
                      <a:pt x="63672" y="61254"/>
                      <a:pt x="76567" y="25791"/>
                      <a:pt x="73343" y="19343"/>
                    </a:cubicBezTo>
                    <a:cubicBezTo>
                      <a:pt x="70120" y="16119"/>
                      <a:pt x="70120" y="16119"/>
                      <a:pt x="66896" y="16119"/>
                    </a:cubicBezTo>
                    <a:cubicBezTo>
                      <a:pt x="63672" y="16119"/>
                      <a:pt x="60448" y="19343"/>
                      <a:pt x="54000" y="25791"/>
                    </a:cubicBezTo>
                    <a:cubicBezTo>
                      <a:pt x="50776" y="29015"/>
                      <a:pt x="44328" y="41911"/>
                      <a:pt x="37881" y="51582"/>
                    </a:cubicBezTo>
                    <a:cubicBezTo>
                      <a:pt x="28209" y="67701"/>
                      <a:pt x="18537" y="83821"/>
                      <a:pt x="12090" y="87045"/>
                    </a:cubicBezTo>
                    <a:cubicBezTo>
                      <a:pt x="8866" y="90269"/>
                      <a:pt x="5642" y="90269"/>
                      <a:pt x="2418" y="87045"/>
                    </a:cubicBezTo>
                    <a:cubicBezTo>
                      <a:pt x="-806" y="83821"/>
                      <a:pt x="-806" y="80597"/>
                      <a:pt x="2418" y="77373"/>
                    </a:cubicBezTo>
                    <a:cubicBezTo>
                      <a:pt x="5642" y="74149"/>
                      <a:pt x="18537" y="58030"/>
                      <a:pt x="24985" y="41911"/>
                    </a:cubicBezTo>
                    <a:cubicBezTo>
                      <a:pt x="31433" y="29015"/>
                      <a:pt x="37881" y="19343"/>
                      <a:pt x="44328" y="12895"/>
                    </a:cubicBezTo>
                    <a:cubicBezTo>
                      <a:pt x="50776" y="3224"/>
                      <a:pt x="60448" y="0"/>
                      <a:pt x="66896" y="0"/>
                    </a:cubicBezTo>
                    <a:cubicBezTo>
                      <a:pt x="70120" y="0"/>
                      <a:pt x="76567" y="0"/>
                      <a:pt x="79791" y="6448"/>
                    </a:cubicBezTo>
                    <a:cubicBezTo>
                      <a:pt x="92687" y="19343"/>
                      <a:pt x="63672" y="67701"/>
                      <a:pt x="47552" y="93492"/>
                    </a:cubicBezTo>
                    <a:cubicBezTo>
                      <a:pt x="54000" y="103164"/>
                      <a:pt x="50776" y="103164"/>
                      <a:pt x="47552" y="10316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BFA5595F-374A-450C-A94D-CAE055C25B56}"/>
                  </a:ext>
                </a:extLst>
              </p:cNvPr>
              <p:cNvSpPr/>
              <p:nvPr/>
            </p:nvSpPr>
            <p:spPr>
              <a:xfrm>
                <a:off x="5307506" y="8954255"/>
                <a:ext cx="106001" cy="113693"/>
              </a:xfrm>
              <a:custGeom>
                <a:avLst/>
                <a:gdLst>
                  <a:gd name="connsiteX0" fmla="*/ 5642 w 106001"/>
                  <a:gd name="connsiteY0" fmla="*/ 113693 h 113693"/>
                  <a:gd name="connsiteX1" fmla="*/ 2418 w 106001"/>
                  <a:gd name="connsiteY1" fmla="*/ 113693 h 113693"/>
                  <a:gd name="connsiteX2" fmla="*/ 2418 w 106001"/>
                  <a:gd name="connsiteY2" fmla="*/ 104022 h 113693"/>
                  <a:gd name="connsiteX3" fmla="*/ 31433 w 106001"/>
                  <a:gd name="connsiteY3" fmla="*/ 65335 h 113693"/>
                  <a:gd name="connsiteX4" fmla="*/ 34657 w 106001"/>
                  <a:gd name="connsiteY4" fmla="*/ 58887 h 113693"/>
                  <a:gd name="connsiteX5" fmla="*/ 66895 w 106001"/>
                  <a:gd name="connsiteY5" fmla="*/ 10529 h 113693"/>
                  <a:gd name="connsiteX6" fmla="*/ 95910 w 106001"/>
                  <a:gd name="connsiteY6" fmla="*/ 857 h 113693"/>
                  <a:gd name="connsiteX7" fmla="*/ 105582 w 106001"/>
                  <a:gd name="connsiteY7" fmla="*/ 10529 h 113693"/>
                  <a:gd name="connsiteX8" fmla="*/ 83015 w 106001"/>
                  <a:gd name="connsiteY8" fmla="*/ 65335 h 113693"/>
                  <a:gd name="connsiteX9" fmla="*/ 73343 w 106001"/>
                  <a:gd name="connsiteY9" fmla="*/ 65335 h 113693"/>
                  <a:gd name="connsiteX10" fmla="*/ 73343 w 106001"/>
                  <a:gd name="connsiteY10" fmla="*/ 55664 h 113693"/>
                  <a:gd name="connsiteX11" fmla="*/ 95910 w 106001"/>
                  <a:gd name="connsiteY11" fmla="*/ 13753 h 113693"/>
                  <a:gd name="connsiteX12" fmla="*/ 92686 w 106001"/>
                  <a:gd name="connsiteY12" fmla="*/ 13753 h 113693"/>
                  <a:gd name="connsiteX13" fmla="*/ 73343 w 106001"/>
                  <a:gd name="connsiteY13" fmla="*/ 20201 h 113693"/>
                  <a:gd name="connsiteX14" fmla="*/ 44328 w 106001"/>
                  <a:gd name="connsiteY14" fmla="*/ 65335 h 113693"/>
                  <a:gd name="connsiteX15" fmla="*/ 37881 w 106001"/>
                  <a:gd name="connsiteY15" fmla="*/ 75007 h 113693"/>
                  <a:gd name="connsiteX16" fmla="*/ 5642 w 106001"/>
                  <a:gd name="connsiteY16" fmla="*/ 113693 h 113693"/>
                  <a:gd name="connsiteX17" fmla="*/ 5642 w 106001"/>
                  <a:gd name="connsiteY17" fmla="*/ 113693 h 113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6001" h="113693">
                    <a:moveTo>
                      <a:pt x="5642" y="113693"/>
                    </a:moveTo>
                    <a:cubicBezTo>
                      <a:pt x="5642" y="113693"/>
                      <a:pt x="2418" y="113693"/>
                      <a:pt x="2418" y="113693"/>
                    </a:cubicBezTo>
                    <a:cubicBezTo>
                      <a:pt x="-806" y="110470"/>
                      <a:pt x="-806" y="107246"/>
                      <a:pt x="2418" y="104022"/>
                    </a:cubicBezTo>
                    <a:cubicBezTo>
                      <a:pt x="8866" y="94350"/>
                      <a:pt x="28209" y="71783"/>
                      <a:pt x="31433" y="65335"/>
                    </a:cubicBezTo>
                    <a:cubicBezTo>
                      <a:pt x="31433" y="65335"/>
                      <a:pt x="34657" y="62111"/>
                      <a:pt x="34657" y="58887"/>
                    </a:cubicBezTo>
                    <a:cubicBezTo>
                      <a:pt x="47552" y="39544"/>
                      <a:pt x="60448" y="16977"/>
                      <a:pt x="66895" y="10529"/>
                    </a:cubicBezTo>
                    <a:cubicBezTo>
                      <a:pt x="73343" y="4081"/>
                      <a:pt x="86239" y="-2366"/>
                      <a:pt x="95910" y="857"/>
                    </a:cubicBezTo>
                    <a:cubicBezTo>
                      <a:pt x="102358" y="857"/>
                      <a:pt x="105582" y="4081"/>
                      <a:pt x="105582" y="10529"/>
                    </a:cubicBezTo>
                    <a:cubicBezTo>
                      <a:pt x="108806" y="23425"/>
                      <a:pt x="92686" y="49216"/>
                      <a:pt x="83015" y="65335"/>
                    </a:cubicBezTo>
                    <a:cubicBezTo>
                      <a:pt x="79791" y="68559"/>
                      <a:pt x="76567" y="68559"/>
                      <a:pt x="73343" y="65335"/>
                    </a:cubicBezTo>
                    <a:cubicBezTo>
                      <a:pt x="70119" y="62111"/>
                      <a:pt x="70119" y="58887"/>
                      <a:pt x="73343" y="55664"/>
                    </a:cubicBezTo>
                    <a:cubicBezTo>
                      <a:pt x="86239" y="36320"/>
                      <a:pt x="95910" y="16977"/>
                      <a:pt x="95910" y="13753"/>
                    </a:cubicBezTo>
                    <a:cubicBezTo>
                      <a:pt x="95910" y="13753"/>
                      <a:pt x="95910" y="13753"/>
                      <a:pt x="92686" y="13753"/>
                    </a:cubicBezTo>
                    <a:cubicBezTo>
                      <a:pt x="89463" y="13753"/>
                      <a:pt x="79791" y="16977"/>
                      <a:pt x="73343" y="20201"/>
                    </a:cubicBezTo>
                    <a:cubicBezTo>
                      <a:pt x="66895" y="26649"/>
                      <a:pt x="50776" y="52440"/>
                      <a:pt x="44328" y="65335"/>
                    </a:cubicBezTo>
                    <a:cubicBezTo>
                      <a:pt x="41104" y="68559"/>
                      <a:pt x="41104" y="71783"/>
                      <a:pt x="37881" y="75007"/>
                    </a:cubicBezTo>
                    <a:cubicBezTo>
                      <a:pt x="34657" y="81454"/>
                      <a:pt x="8866" y="110470"/>
                      <a:pt x="5642" y="113693"/>
                    </a:cubicBezTo>
                    <a:cubicBezTo>
                      <a:pt x="8866" y="110470"/>
                      <a:pt x="8866" y="113693"/>
                      <a:pt x="5642" y="11369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0" name="图形 1">
              <a:extLst>
                <a:ext uri="{FF2B5EF4-FFF2-40B4-BE49-F238E27FC236}">
                  <a16:creationId xmlns:a16="http://schemas.microsoft.com/office/drawing/2014/main" id="{70B67333-02BD-4595-86F3-C5899FC363F8}"/>
                </a:ext>
              </a:extLst>
            </p:cNvPr>
            <p:cNvGrpSpPr/>
            <p:nvPr/>
          </p:nvGrpSpPr>
          <p:grpSpPr>
            <a:xfrm>
              <a:off x="2769506" y="9177491"/>
              <a:ext cx="279407" cy="238636"/>
              <a:chOff x="2769506" y="9177491"/>
              <a:chExt cx="279407" cy="238636"/>
            </a:xfrm>
          </p:grpSpPr>
          <p:grpSp>
            <p:nvGrpSpPr>
              <p:cNvPr id="107" name="图形 1">
                <a:extLst>
                  <a:ext uri="{FF2B5EF4-FFF2-40B4-BE49-F238E27FC236}">
                    <a16:creationId xmlns:a16="http://schemas.microsoft.com/office/drawing/2014/main" id="{11E7ECA8-3648-4854-84CC-15148F6E938D}"/>
                  </a:ext>
                </a:extLst>
              </p:cNvPr>
              <p:cNvGrpSpPr/>
              <p:nvPr/>
            </p:nvGrpSpPr>
            <p:grpSpPr>
              <a:xfrm>
                <a:off x="2772730" y="9177491"/>
                <a:ext cx="276183" cy="238636"/>
                <a:chOff x="2772730" y="9177491"/>
                <a:chExt cx="276183" cy="238636"/>
              </a:xfrm>
            </p:grpSpPr>
            <p:sp>
              <p:nvSpPr>
                <p:cNvPr id="110" name="任意多边形: 形状 109">
                  <a:extLst>
                    <a:ext uri="{FF2B5EF4-FFF2-40B4-BE49-F238E27FC236}">
                      <a16:creationId xmlns:a16="http://schemas.microsoft.com/office/drawing/2014/main" id="{52DC3C60-92C0-4137-B43F-559023F8F754}"/>
                    </a:ext>
                  </a:extLst>
                </p:cNvPr>
                <p:cNvSpPr/>
                <p:nvPr/>
              </p:nvSpPr>
              <p:spPr>
                <a:xfrm>
                  <a:off x="2772730" y="9177491"/>
                  <a:ext cx="276183" cy="238636"/>
                </a:xfrm>
                <a:custGeom>
                  <a:avLst/>
                  <a:gdLst>
                    <a:gd name="connsiteX0" fmla="*/ 96716 w 276183"/>
                    <a:gd name="connsiteY0" fmla="*/ 177383 h 238636"/>
                    <a:gd name="connsiteX1" fmla="*/ 196657 w 276183"/>
                    <a:gd name="connsiteY1" fmla="*/ 238636 h 238636"/>
                    <a:gd name="connsiteX2" fmla="*/ 274030 w 276183"/>
                    <a:gd name="connsiteY2" fmla="*/ 193502 h 238636"/>
                    <a:gd name="connsiteX3" fmla="*/ 270806 w 276183"/>
                    <a:gd name="connsiteY3" fmla="*/ 190278 h 238636"/>
                    <a:gd name="connsiteX4" fmla="*/ 270806 w 276183"/>
                    <a:gd name="connsiteY4" fmla="*/ 190278 h 238636"/>
                    <a:gd name="connsiteX5" fmla="*/ 206328 w 276183"/>
                    <a:gd name="connsiteY5" fmla="*/ 45204 h 238636"/>
                    <a:gd name="connsiteX6" fmla="*/ 190209 w 276183"/>
                    <a:gd name="connsiteY6" fmla="*/ 64547 h 238636"/>
                    <a:gd name="connsiteX7" fmla="*/ 216000 w 276183"/>
                    <a:gd name="connsiteY7" fmla="*/ 116129 h 238636"/>
                    <a:gd name="connsiteX8" fmla="*/ 96716 w 276183"/>
                    <a:gd name="connsiteY8" fmla="*/ 6517 h 238636"/>
                    <a:gd name="connsiteX9" fmla="*/ 67702 w 276183"/>
                    <a:gd name="connsiteY9" fmla="*/ 6517 h 238636"/>
                    <a:gd name="connsiteX10" fmla="*/ 93493 w 276183"/>
                    <a:gd name="connsiteY10" fmla="*/ 35532 h 238636"/>
                    <a:gd name="connsiteX11" fmla="*/ 128955 w 276183"/>
                    <a:gd name="connsiteY11" fmla="*/ 74219 h 238636"/>
                    <a:gd name="connsiteX12" fmla="*/ 70925 w 276183"/>
                    <a:gd name="connsiteY12" fmla="*/ 38756 h 238636"/>
                    <a:gd name="connsiteX13" fmla="*/ 29015 w 276183"/>
                    <a:gd name="connsiteY13" fmla="*/ 16189 h 238636"/>
                    <a:gd name="connsiteX14" fmla="*/ 6448 w 276183"/>
                    <a:gd name="connsiteY14" fmla="*/ 25861 h 238636"/>
                    <a:gd name="connsiteX15" fmla="*/ 12896 w 276183"/>
                    <a:gd name="connsiteY15" fmla="*/ 48428 h 238636"/>
                    <a:gd name="connsiteX16" fmla="*/ 9672 w 276183"/>
                    <a:gd name="connsiteY16" fmla="*/ 48428 h 238636"/>
                    <a:gd name="connsiteX17" fmla="*/ 0 w 276183"/>
                    <a:gd name="connsiteY17" fmla="*/ 54875 h 238636"/>
                    <a:gd name="connsiteX18" fmla="*/ 29015 w 276183"/>
                    <a:gd name="connsiteY18" fmla="*/ 83890 h 238636"/>
                    <a:gd name="connsiteX19" fmla="*/ 48358 w 276183"/>
                    <a:gd name="connsiteY19" fmla="*/ 96786 h 238636"/>
                    <a:gd name="connsiteX20" fmla="*/ 41910 w 276183"/>
                    <a:gd name="connsiteY20" fmla="*/ 96786 h 238636"/>
                    <a:gd name="connsiteX21" fmla="*/ 25791 w 276183"/>
                    <a:gd name="connsiteY21" fmla="*/ 103234 h 238636"/>
                    <a:gd name="connsiteX22" fmla="*/ 96716 w 276183"/>
                    <a:gd name="connsiteY22" fmla="*/ 177383 h 23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76183" h="238636">
                      <a:moveTo>
                        <a:pt x="96716" y="177383"/>
                      </a:moveTo>
                      <a:cubicBezTo>
                        <a:pt x="125731" y="199950"/>
                        <a:pt x="154746" y="238636"/>
                        <a:pt x="196657" y="238636"/>
                      </a:cubicBezTo>
                      <a:cubicBezTo>
                        <a:pt x="222448" y="238636"/>
                        <a:pt x="270806" y="219293"/>
                        <a:pt x="274030" y="193502"/>
                      </a:cubicBezTo>
                      <a:cubicBezTo>
                        <a:pt x="274030" y="193502"/>
                        <a:pt x="274030" y="190278"/>
                        <a:pt x="270806" y="190278"/>
                      </a:cubicBezTo>
                      <a:cubicBezTo>
                        <a:pt x="270806" y="190278"/>
                        <a:pt x="270806" y="190278"/>
                        <a:pt x="270806" y="190278"/>
                      </a:cubicBezTo>
                      <a:cubicBezTo>
                        <a:pt x="290149" y="135472"/>
                        <a:pt x="254687" y="70995"/>
                        <a:pt x="206328" y="45204"/>
                      </a:cubicBezTo>
                      <a:cubicBezTo>
                        <a:pt x="203104" y="41980"/>
                        <a:pt x="183761" y="54875"/>
                        <a:pt x="190209" y="64547"/>
                      </a:cubicBezTo>
                      <a:cubicBezTo>
                        <a:pt x="203104" y="83890"/>
                        <a:pt x="216000" y="100009"/>
                        <a:pt x="216000" y="116129"/>
                      </a:cubicBezTo>
                      <a:cubicBezTo>
                        <a:pt x="174090" y="83890"/>
                        <a:pt x="148298" y="35532"/>
                        <a:pt x="96716" y="6517"/>
                      </a:cubicBezTo>
                      <a:cubicBezTo>
                        <a:pt x="87045" y="3293"/>
                        <a:pt x="64478" y="-6378"/>
                        <a:pt x="67702" y="6517"/>
                      </a:cubicBezTo>
                      <a:cubicBezTo>
                        <a:pt x="70925" y="16189"/>
                        <a:pt x="83821" y="29084"/>
                        <a:pt x="93493" y="35532"/>
                      </a:cubicBezTo>
                      <a:cubicBezTo>
                        <a:pt x="106388" y="48428"/>
                        <a:pt x="116060" y="61323"/>
                        <a:pt x="128955" y="74219"/>
                      </a:cubicBezTo>
                      <a:cubicBezTo>
                        <a:pt x="109612" y="61323"/>
                        <a:pt x="90269" y="51651"/>
                        <a:pt x="70925" y="38756"/>
                      </a:cubicBezTo>
                      <a:cubicBezTo>
                        <a:pt x="58030" y="32308"/>
                        <a:pt x="45134" y="19412"/>
                        <a:pt x="29015" y="16189"/>
                      </a:cubicBezTo>
                      <a:cubicBezTo>
                        <a:pt x="19343" y="12965"/>
                        <a:pt x="9672" y="16189"/>
                        <a:pt x="6448" y="25861"/>
                      </a:cubicBezTo>
                      <a:cubicBezTo>
                        <a:pt x="3224" y="35532"/>
                        <a:pt x="6448" y="41980"/>
                        <a:pt x="12896" y="48428"/>
                      </a:cubicBezTo>
                      <a:cubicBezTo>
                        <a:pt x="12896" y="48428"/>
                        <a:pt x="12896" y="48428"/>
                        <a:pt x="9672" y="48428"/>
                      </a:cubicBezTo>
                      <a:cubicBezTo>
                        <a:pt x="6448" y="48428"/>
                        <a:pt x="0" y="51651"/>
                        <a:pt x="0" y="54875"/>
                      </a:cubicBezTo>
                      <a:cubicBezTo>
                        <a:pt x="0" y="67771"/>
                        <a:pt x="16119" y="77442"/>
                        <a:pt x="29015" y="83890"/>
                      </a:cubicBezTo>
                      <a:cubicBezTo>
                        <a:pt x="35463" y="87114"/>
                        <a:pt x="41910" y="93562"/>
                        <a:pt x="48358" y="96786"/>
                      </a:cubicBezTo>
                      <a:cubicBezTo>
                        <a:pt x="45134" y="96786"/>
                        <a:pt x="45134" y="96786"/>
                        <a:pt x="41910" y="96786"/>
                      </a:cubicBezTo>
                      <a:cubicBezTo>
                        <a:pt x="35463" y="96786"/>
                        <a:pt x="29015" y="96786"/>
                        <a:pt x="25791" y="103234"/>
                      </a:cubicBezTo>
                      <a:cubicBezTo>
                        <a:pt x="19343" y="119353"/>
                        <a:pt x="77373" y="164487"/>
                        <a:pt x="96716" y="177383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" name="任意多边形: 形状 110">
                  <a:extLst>
                    <a:ext uri="{FF2B5EF4-FFF2-40B4-BE49-F238E27FC236}">
                      <a16:creationId xmlns:a16="http://schemas.microsoft.com/office/drawing/2014/main" id="{36E4F9D6-BEB1-428E-96A9-063E1ECD2E0A}"/>
                    </a:ext>
                  </a:extLst>
                </p:cNvPr>
                <p:cNvSpPr/>
                <p:nvPr/>
              </p:nvSpPr>
              <p:spPr>
                <a:xfrm>
                  <a:off x="2965717" y="9304098"/>
                  <a:ext cx="22206" cy="57223"/>
                </a:xfrm>
                <a:custGeom>
                  <a:avLst/>
                  <a:gdLst>
                    <a:gd name="connsiteX0" fmla="*/ 13341 w 22206"/>
                    <a:gd name="connsiteY0" fmla="*/ 57224 h 57223"/>
                    <a:gd name="connsiteX1" fmla="*/ 10117 w 22206"/>
                    <a:gd name="connsiteY1" fmla="*/ 54000 h 57223"/>
                    <a:gd name="connsiteX2" fmla="*/ 6893 w 22206"/>
                    <a:gd name="connsiteY2" fmla="*/ 2418 h 57223"/>
                    <a:gd name="connsiteX3" fmla="*/ 16565 w 22206"/>
                    <a:gd name="connsiteY3" fmla="*/ 2418 h 57223"/>
                    <a:gd name="connsiteX4" fmla="*/ 16565 w 22206"/>
                    <a:gd name="connsiteY4" fmla="*/ 12090 h 57223"/>
                    <a:gd name="connsiteX5" fmla="*/ 16565 w 22206"/>
                    <a:gd name="connsiteY5" fmla="*/ 12090 h 57223"/>
                    <a:gd name="connsiteX6" fmla="*/ 19788 w 22206"/>
                    <a:gd name="connsiteY6" fmla="*/ 47552 h 57223"/>
                    <a:gd name="connsiteX7" fmla="*/ 19788 w 22206"/>
                    <a:gd name="connsiteY7" fmla="*/ 57224 h 57223"/>
                    <a:gd name="connsiteX8" fmla="*/ 13341 w 22206"/>
                    <a:gd name="connsiteY8" fmla="*/ 57224 h 57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2206" h="57223">
                      <a:moveTo>
                        <a:pt x="13341" y="57224"/>
                      </a:moveTo>
                      <a:cubicBezTo>
                        <a:pt x="10117" y="57224"/>
                        <a:pt x="10117" y="57224"/>
                        <a:pt x="10117" y="54000"/>
                      </a:cubicBezTo>
                      <a:cubicBezTo>
                        <a:pt x="-6003" y="34657"/>
                        <a:pt x="445" y="12090"/>
                        <a:pt x="6893" y="2418"/>
                      </a:cubicBezTo>
                      <a:cubicBezTo>
                        <a:pt x="10117" y="-806"/>
                        <a:pt x="13341" y="-806"/>
                        <a:pt x="16565" y="2418"/>
                      </a:cubicBezTo>
                      <a:cubicBezTo>
                        <a:pt x="19788" y="5642"/>
                        <a:pt x="19788" y="8866"/>
                        <a:pt x="16565" y="12090"/>
                      </a:cubicBezTo>
                      <a:lnTo>
                        <a:pt x="16565" y="12090"/>
                      </a:lnTo>
                      <a:cubicBezTo>
                        <a:pt x="16565" y="12090"/>
                        <a:pt x="3669" y="31433"/>
                        <a:pt x="19788" y="47552"/>
                      </a:cubicBezTo>
                      <a:cubicBezTo>
                        <a:pt x="23012" y="50776"/>
                        <a:pt x="23012" y="54000"/>
                        <a:pt x="19788" y="57224"/>
                      </a:cubicBezTo>
                      <a:cubicBezTo>
                        <a:pt x="16565" y="57224"/>
                        <a:pt x="13341" y="57224"/>
                        <a:pt x="13341" y="57224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087D96BB-E0D2-46AA-BF40-00362B7F9DBC}"/>
                    </a:ext>
                  </a:extLst>
                </p:cNvPr>
                <p:cNvSpPr/>
                <p:nvPr/>
              </p:nvSpPr>
              <p:spPr>
                <a:xfrm>
                  <a:off x="2772730" y="9184814"/>
                  <a:ext cx="134597" cy="79790"/>
                </a:xfrm>
                <a:custGeom>
                  <a:avLst/>
                  <a:gdLst>
                    <a:gd name="connsiteX0" fmla="*/ 128955 w 134597"/>
                    <a:gd name="connsiteY0" fmla="*/ 76567 h 79790"/>
                    <a:gd name="connsiteX1" fmla="*/ 125731 w 134597"/>
                    <a:gd name="connsiteY1" fmla="*/ 76567 h 79790"/>
                    <a:gd name="connsiteX2" fmla="*/ 22567 w 134597"/>
                    <a:gd name="connsiteY2" fmla="*/ 18537 h 79790"/>
                    <a:gd name="connsiteX3" fmla="*/ 22567 w 134597"/>
                    <a:gd name="connsiteY3" fmla="*/ 18537 h 79790"/>
                    <a:gd name="connsiteX4" fmla="*/ 12896 w 134597"/>
                    <a:gd name="connsiteY4" fmla="*/ 24985 h 79790"/>
                    <a:gd name="connsiteX5" fmla="*/ 19343 w 134597"/>
                    <a:gd name="connsiteY5" fmla="*/ 37880 h 79790"/>
                    <a:gd name="connsiteX6" fmla="*/ 19343 w 134597"/>
                    <a:gd name="connsiteY6" fmla="*/ 47552 h 79790"/>
                    <a:gd name="connsiteX7" fmla="*/ 9672 w 134597"/>
                    <a:gd name="connsiteY7" fmla="*/ 47552 h 79790"/>
                    <a:gd name="connsiteX8" fmla="*/ 0 w 134597"/>
                    <a:gd name="connsiteY8" fmla="*/ 24985 h 79790"/>
                    <a:gd name="connsiteX9" fmla="*/ 16119 w 134597"/>
                    <a:gd name="connsiteY9" fmla="*/ 8866 h 79790"/>
                    <a:gd name="connsiteX10" fmla="*/ 90269 w 134597"/>
                    <a:gd name="connsiteY10" fmla="*/ 44328 h 79790"/>
                    <a:gd name="connsiteX11" fmla="*/ 64478 w 134597"/>
                    <a:gd name="connsiteY11" fmla="*/ 12089 h 79790"/>
                    <a:gd name="connsiteX12" fmla="*/ 64478 w 134597"/>
                    <a:gd name="connsiteY12" fmla="*/ 2418 h 79790"/>
                    <a:gd name="connsiteX13" fmla="*/ 74149 w 134597"/>
                    <a:gd name="connsiteY13" fmla="*/ 2418 h 79790"/>
                    <a:gd name="connsiteX14" fmla="*/ 132179 w 134597"/>
                    <a:gd name="connsiteY14" fmla="*/ 70119 h 79790"/>
                    <a:gd name="connsiteX15" fmla="*/ 132179 w 134597"/>
                    <a:gd name="connsiteY15" fmla="*/ 79791 h 79790"/>
                    <a:gd name="connsiteX16" fmla="*/ 128955 w 134597"/>
                    <a:gd name="connsiteY16" fmla="*/ 76567 h 79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34597" h="79790">
                      <a:moveTo>
                        <a:pt x="128955" y="76567"/>
                      </a:moveTo>
                      <a:cubicBezTo>
                        <a:pt x="128955" y="76567"/>
                        <a:pt x="125731" y="76567"/>
                        <a:pt x="125731" y="76567"/>
                      </a:cubicBezTo>
                      <a:cubicBezTo>
                        <a:pt x="83821" y="47552"/>
                        <a:pt x="32239" y="18537"/>
                        <a:pt x="22567" y="18537"/>
                      </a:cubicBezTo>
                      <a:cubicBezTo>
                        <a:pt x="22567" y="18537"/>
                        <a:pt x="22567" y="18537"/>
                        <a:pt x="22567" y="18537"/>
                      </a:cubicBezTo>
                      <a:cubicBezTo>
                        <a:pt x="19343" y="18537"/>
                        <a:pt x="16119" y="21761"/>
                        <a:pt x="12896" y="24985"/>
                      </a:cubicBezTo>
                      <a:cubicBezTo>
                        <a:pt x="12896" y="28209"/>
                        <a:pt x="12896" y="34657"/>
                        <a:pt x="19343" y="37880"/>
                      </a:cubicBezTo>
                      <a:cubicBezTo>
                        <a:pt x="22567" y="41105"/>
                        <a:pt x="22567" y="44328"/>
                        <a:pt x="19343" y="47552"/>
                      </a:cubicBezTo>
                      <a:cubicBezTo>
                        <a:pt x="16119" y="50776"/>
                        <a:pt x="12896" y="50776"/>
                        <a:pt x="9672" y="47552"/>
                      </a:cubicBezTo>
                      <a:cubicBezTo>
                        <a:pt x="3224" y="41105"/>
                        <a:pt x="0" y="31433"/>
                        <a:pt x="0" y="24985"/>
                      </a:cubicBezTo>
                      <a:cubicBezTo>
                        <a:pt x="3224" y="18537"/>
                        <a:pt x="6448" y="12089"/>
                        <a:pt x="16119" y="8866"/>
                      </a:cubicBezTo>
                      <a:cubicBezTo>
                        <a:pt x="25791" y="5642"/>
                        <a:pt x="58030" y="24985"/>
                        <a:pt x="90269" y="44328"/>
                      </a:cubicBezTo>
                      <a:cubicBezTo>
                        <a:pt x="77373" y="28209"/>
                        <a:pt x="64478" y="15313"/>
                        <a:pt x="64478" y="12089"/>
                      </a:cubicBezTo>
                      <a:cubicBezTo>
                        <a:pt x="61254" y="8866"/>
                        <a:pt x="64478" y="5642"/>
                        <a:pt x="64478" y="2418"/>
                      </a:cubicBezTo>
                      <a:cubicBezTo>
                        <a:pt x="67702" y="-806"/>
                        <a:pt x="70925" y="-806"/>
                        <a:pt x="74149" y="2418"/>
                      </a:cubicBezTo>
                      <a:cubicBezTo>
                        <a:pt x="74149" y="2418"/>
                        <a:pt x="109612" y="47552"/>
                        <a:pt x="132179" y="70119"/>
                      </a:cubicBezTo>
                      <a:cubicBezTo>
                        <a:pt x="135403" y="73343"/>
                        <a:pt x="135403" y="76567"/>
                        <a:pt x="132179" y="79791"/>
                      </a:cubicBezTo>
                      <a:cubicBezTo>
                        <a:pt x="132179" y="76567"/>
                        <a:pt x="132179" y="76567"/>
                        <a:pt x="128955" y="76567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FD6E3D03-7782-4764-AE79-1CE58C86D569}"/>
                  </a:ext>
                </a:extLst>
              </p:cNvPr>
              <p:cNvSpPr/>
              <p:nvPr/>
            </p:nvSpPr>
            <p:spPr>
              <a:xfrm>
                <a:off x="2794631" y="9266565"/>
                <a:ext cx="97381" cy="85085"/>
              </a:xfrm>
              <a:custGeom>
                <a:avLst/>
                <a:gdLst>
                  <a:gd name="connsiteX0" fmla="*/ 65143 w 97381"/>
                  <a:gd name="connsiteY0" fmla="*/ 85085 h 85085"/>
                  <a:gd name="connsiteX1" fmla="*/ 61919 w 97381"/>
                  <a:gd name="connsiteY1" fmla="*/ 85085 h 85085"/>
                  <a:gd name="connsiteX2" fmla="*/ 665 w 97381"/>
                  <a:gd name="connsiteY2" fmla="*/ 14160 h 85085"/>
                  <a:gd name="connsiteX3" fmla="*/ 10337 w 97381"/>
                  <a:gd name="connsiteY3" fmla="*/ 1265 h 85085"/>
                  <a:gd name="connsiteX4" fmla="*/ 36128 w 97381"/>
                  <a:gd name="connsiteY4" fmla="*/ 7712 h 85085"/>
                  <a:gd name="connsiteX5" fmla="*/ 61919 w 97381"/>
                  <a:gd name="connsiteY5" fmla="*/ 27055 h 85085"/>
                  <a:gd name="connsiteX6" fmla="*/ 94158 w 97381"/>
                  <a:gd name="connsiteY6" fmla="*/ 52847 h 85085"/>
                  <a:gd name="connsiteX7" fmla="*/ 97382 w 97381"/>
                  <a:gd name="connsiteY7" fmla="*/ 59294 h 85085"/>
                  <a:gd name="connsiteX8" fmla="*/ 90934 w 97381"/>
                  <a:gd name="connsiteY8" fmla="*/ 62518 h 85085"/>
                  <a:gd name="connsiteX9" fmla="*/ 55471 w 97381"/>
                  <a:gd name="connsiteY9" fmla="*/ 36727 h 85085"/>
                  <a:gd name="connsiteX10" fmla="*/ 29680 w 97381"/>
                  <a:gd name="connsiteY10" fmla="*/ 17384 h 85085"/>
                  <a:gd name="connsiteX11" fmla="*/ 13561 w 97381"/>
                  <a:gd name="connsiteY11" fmla="*/ 14160 h 85085"/>
                  <a:gd name="connsiteX12" fmla="*/ 10337 w 97381"/>
                  <a:gd name="connsiteY12" fmla="*/ 17384 h 85085"/>
                  <a:gd name="connsiteX13" fmla="*/ 65143 w 97381"/>
                  <a:gd name="connsiteY13" fmla="*/ 75414 h 85085"/>
                  <a:gd name="connsiteX14" fmla="*/ 65143 w 97381"/>
                  <a:gd name="connsiteY14" fmla="*/ 85085 h 85085"/>
                  <a:gd name="connsiteX15" fmla="*/ 65143 w 97381"/>
                  <a:gd name="connsiteY15" fmla="*/ 85085 h 85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7381" h="85085">
                    <a:moveTo>
                      <a:pt x="65143" y="85085"/>
                    </a:moveTo>
                    <a:cubicBezTo>
                      <a:pt x="65143" y="85085"/>
                      <a:pt x="61919" y="85085"/>
                      <a:pt x="61919" y="85085"/>
                    </a:cubicBezTo>
                    <a:cubicBezTo>
                      <a:pt x="36128" y="65742"/>
                      <a:pt x="-5782" y="30280"/>
                      <a:pt x="665" y="14160"/>
                    </a:cubicBezTo>
                    <a:cubicBezTo>
                      <a:pt x="3889" y="7712"/>
                      <a:pt x="7113" y="4488"/>
                      <a:pt x="10337" y="1265"/>
                    </a:cubicBezTo>
                    <a:cubicBezTo>
                      <a:pt x="16785" y="-1959"/>
                      <a:pt x="26456" y="1265"/>
                      <a:pt x="36128" y="7712"/>
                    </a:cubicBezTo>
                    <a:cubicBezTo>
                      <a:pt x="42576" y="10936"/>
                      <a:pt x="52247" y="20608"/>
                      <a:pt x="61919" y="27055"/>
                    </a:cubicBezTo>
                    <a:cubicBezTo>
                      <a:pt x="74815" y="36727"/>
                      <a:pt x="90934" y="49623"/>
                      <a:pt x="94158" y="52847"/>
                    </a:cubicBezTo>
                    <a:cubicBezTo>
                      <a:pt x="97382" y="52847"/>
                      <a:pt x="97382" y="59294"/>
                      <a:pt x="97382" y="59294"/>
                    </a:cubicBezTo>
                    <a:cubicBezTo>
                      <a:pt x="97382" y="62518"/>
                      <a:pt x="90934" y="62518"/>
                      <a:pt x="90934" y="62518"/>
                    </a:cubicBezTo>
                    <a:cubicBezTo>
                      <a:pt x="84486" y="59294"/>
                      <a:pt x="68367" y="49623"/>
                      <a:pt x="55471" y="36727"/>
                    </a:cubicBezTo>
                    <a:cubicBezTo>
                      <a:pt x="45800" y="30280"/>
                      <a:pt x="36128" y="20608"/>
                      <a:pt x="29680" y="17384"/>
                    </a:cubicBezTo>
                    <a:cubicBezTo>
                      <a:pt x="23232" y="14160"/>
                      <a:pt x="16785" y="10936"/>
                      <a:pt x="13561" y="14160"/>
                    </a:cubicBezTo>
                    <a:cubicBezTo>
                      <a:pt x="13561" y="14160"/>
                      <a:pt x="10337" y="14160"/>
                      <a:pt x="10337" y="17384"/>
                    </a:cubicBezTo>
                    <a:cubicBezTo>
                      <a:pt x="10337" y="23832"/>
                      <a:pt x="36128" y="49623"/>
                      <a:pt x="65143" y="75414"/>
                    </a:cubicBezTo>
                    <a:cubicBezTo>
                      <a:pt x="68367" y="78638"/>
                      <a:pt x="68367" y="81862"/>
                      <a:pt x="65143" y="85085"/>
                    </a:cubicBezTo>
                    <a:cubicBezTo>
                      <a:pt x="68367" y="85085"/>
                      <a:pt x="65143" y="85085"/>
                      <a:pt x="65143" y="8508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E86D9623-AAE8-458E-ABBA-16EE984F5FF0}"/>
                  </a:ext>
                </a:extLst>
              </p:cNvPr>
              <p:cNvSpPr/>
              <p:nvPr/>
            </p:nvSpPr>
            <p:spPr>
              <a:xfrm>
                <a:off x="2769506" y="9215748"/>
                <a:ext cx="132179" cy="81095"/>
              </a:xfrm>
              <a:custGeom>
                <a:avLst/>
                <a:gdLst>
                  <a:gd name="connsiteX0" fmla="*/ 128955 w 132179"/>
                  <a:gd name="connsiteY0" fmla="*/ 81096 h 81095"/>
                  <a:gd name="connsiteX1" fmla="*/ 128955 w 132179"/>
                  <a:gd name="connsiteY1" fmla="*/ 81096 h 81095"/>
                  <a:gd name="connsiteX2" fmla="*/ 83821 w 132179"/>
                  <a:gd name="connsiteY2" fmla="*/ 52081 h 81095"/>
                  <a:gd name="connsiteX3" fmla="*/ 77373 w 132179"/>
                  <a:gd name="connsiteY3" fmla="*/ 45633 h 81095"/>
                  <a:gd name="connsiteX4" fmla="*/ 35463 w 132179"/>
                  <a:gd name="connsiteY4" fmla="*/ 13394 h 81095"/>
                  <a:gd name="connsiteX5" fmla="*/ 16119 w 132179"/>
                  <a:gd name="connsiteY5" fmla="*/ 13394 h 81095"/>
                  <a:gd name="connsiteX6" fmla="*/ 16119 w 132179"/>
                  <a:gd name="connsiteY6" fmla="*/ 16618 h 81095"/>
                  <a:gd name="connsiteX7" fmla="*/ 51582 w 132179"/>
                  <a:gd name="connsiteY7" fmla="*/ 48857 h 81095"/>
                  <a:gd name="connsiteX8" fmla="*/ 51582 w 132179"/>
                  <a:gd name="connsiteY8" fmla="*/ 58529 h 81095"/>
                  <a:gd name="connsiteX9" fmla="*/ 41910 w 132179"/>
                  <a:gd name="connsiteY9" fmla="*/ 58529 h 81095"/>
                  <a:gd name="connsiteX10" fmla="*/ 0 w 132179"/>
                  <a:gd name="connsiteY10" fmla="*/ 16618 h 81095"/>
                  <a:gd name="connsiteX11" fmla="*/ 6448 w 132179"/>
                  <a:gd name="connsiteY11" fmla="*/ 3723 h 81095"/>
                  <a:gd name="connsiteX12" fmla="*/ 35463 w 132179"/>
                  <a:gd name="connsiteY12" fmla="*/ 3723 h 81095"/>
                  <a:gd name="connsiteX13" fmla="*/ 80597 w 132179"/>
                  <a:gd name="connsiteY13" fmla="*/ 39185 h 81095"/>
                  <a:gd name="connsiteX14" fmla="*/ 87045 w 132179"/>
                  <a:gd name="connsiteY14" fmla="*/ 45633 h 81095"/>
                  <a:gd name="connsiteX15" fmla="*/ 128955 w 132179"/>
                  <a:gd name="connsiteY15" fmla="*/ 71424 h 81095"/>
                  <a:gd name="connsiteX16" fmla="*/ 132179 w 132179"/>
                  <a:gd name="connsiteY16" fmla="*/ 81096 h 81095"/>
                  <a:gd name="connsiteX17" fmla="*/ 128955 w 132179"/>
                  <a:gd name="connsiteY17" fmla="*/ 81096 h 81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32179" h="81095">
                    <a:moveTo>
                      <a:pt x="128955" y="81096"/>
                    </a:moveTo>
                    <a:cubicBezTo>
                      <a:pt x="125731" y="81096"/>
                      <a:pt x="125731" y="81096"/>
                      <a:pt x="128955" y="81096"/>
                    </a:cubicBezTo>
                    <a:cubicBezTo>
                      <a:pt x="122507" y="77872"/>
                      <a:pt x="90269" y="58529"/>
                      <a:pt x="83821" y="52081"/>
                    </a:cubicBezTo>
                    <a:cubicBezTo>
                      <a:pt x="83821" y="52081"/>
                      <a:pt x="80597" y="48857"/>
                      <a:pt x="77373" y="45633"/>
                    </a:cubicBezTo>
                    <a:cubicBezTo>
                      <a:pt x="67701" y="35962"/>
                      <a:pt x="41910" y="16618"/>
                      <a:pt x="35463" y="13394"/>
                    </a:cubicBezTo>
                    <a:cubicBezTo>
                      <a:pt x="29015" y="10171"/>
                      <a:pt x="19343" y="10171"/>
                      <a:pt x="16119" y="13394"/>
                    </a:cubicBezTo>
                    <a:cubicBezTo>
                      <a:pt x="16119" y="13394"/>
                      <a:pt x="16119" y="13394"/>
                      <a:pt x="16119" y="16618"/>
                    </a:cubicBezTo>
                    <a:cubicBezTo>
                      <a:pt x="16119" y="19842"/>
                      <a:pt x="32239" y="35962"/>
                      <a:pt x="51582" y="48857"/>
                    </a:cubicBezTo>
                    <a:cubicBezTo>
                      <a:pt x="54806" y="52081"/>
                      <a:pt x="54806" y="55305"/>
                      <a:pt x="51582" y="58529"/>
                    </a:cubicBezTo>
                    <a:cubicBezTo>
                      <a:pt x="48358" y="61752"/>
                      <a:pt x="45134" y="61752"/>
                      <a:pt x="41910" y="58529"/>
                    </a:cubicBezTo>
                    <a:cubicBezTo>
                      <a:pt x="25791" y="48857"/>
                      <a:pt x="0" y="26290"/>
                      <a:pt x="0" y="16618"/>
                    </a:cubicBezTo>
                    <a:cubicBezTo>
                      <a:pt x="0" y="10171"/>
                      <a:pt x="3224" y="6946"/>
                      <a:pt x="6448" y="3723"/>
                    </a:cubicBezTo>
                    <a:cubicBezTo>
                      <a:pt x="12896" y="-2725"/>
                      <a:pt x="29015" y="499"/>
                      <a:pt x="35463" y="3723"/>
                    </a:cubicBezTo>
                    <a:cubicBezTo>
                      <a:pt x="45134" y="6946"/>
                      <a:pt x="64478" y="23066"/>
                      <a:pt x="80597" y="39185"/>
                    </a:cubicBezTo>
                    <a:cubicBezTo>
                      <a:pt x="83821" y="42409"/>
                      <a:pt x="87045" y="42409"/>
                      <a:pt x="87045" y="45633"/>
                    </a:cubicBezTo>
                    <a:cubicBezTo>
                      <a:pt x="93493" y="48857"/>
                      <a:pt x="119284" y="64976"/>
                      <a:pt x="128955" y="71424"/>
                    </a:cubicBezTo>
                    <a:cubicBezTo>
                      <a:pt x="132179" y="74648"/>
                      <a:pt x="132179" y="77872"/>
                      <a:pt x="132179" y="81096"/>
                    </a:cubicBezTo>
                    <a:cubicBezTo>
                      <a:pt x="132179" y="81096"/>
                      <a:pt x="128955" y="81096"/>
                      <a:pt x="128955" y="8109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0CDB258D-B83A-4686-B1B4-ABD407575748}"/>
                </a:ext>
              </a:extLst>
            </p:cNvPr>
            <p:cNvSpPr/>
            <p:nvPr/>
          </p:nvSpPr>
          <p:spPr>
            <a:xfrm>
              <a:off x="3929587" y="8539232"/>
              <a:ext cx="502766" cy="202453"/>
            </a:xfrm>
            <a:custGeom>
              <a:avLst/>
              <a:gdLst>
                <a:gd name="connsiteX0" fmla="*/ 480874 w 502766"/>
                <a:gd name="connsiteY0" fmla="*/ 35463 h 202453"/>
                <a:gd name="connsiteX1" fmla="*/ 496993 w 502766"/>
                <a:gd name="connsiteY1" fmla="*/ 177313 h 202453"/>
                <a:gd name="connsiteX2" fmla="*/ 81113 w 502766"/>
                <a:gd name="connsiteY2" fmla="*/ 145075 h 202453"/>
                <a:gd name="connsiteX3" fmla="*/ 516 w 502766"/>
                <a:gd name="connsiteY3" fmla="*/ 80597 h 202453"/>
                <a:gd name="connsiteX4" fmla="*/ 6964 w 502766"/>
                <a:gd name="connsiteY4" fmla="*/ 0 h 202453"/>
                <a:gd name="connsiteX5" fmla="*/ 100456 w 502766"/>
                <a:gd name="connsiteY5" fmla="*/ 48358 h 202453"/>
                <a:gd name="connsiteX6" fmla="*/ 480874 w 502766"/>
                <a:gd name="connsiteY6" fmla="*/ 35463 h 202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2766" h="202453">
                  <a:moveTo>
                    <a:pt x="480874" y="35463"/>
                  </a:moveTo>
                  <a:cubicBezTo>
                    <a:pt x="480874" y="35463"/>
                    <a:pt x="516337" y="109612"/>
                    <a:pt x="496993" y="177313"/>
                  </a:cubicBezTo>
                  <a:cubicBezTo>
                    <a:pt x="496993" y="177313"/>
                    <a:pt x="274546" y="251463"/>
                    <a:pt x="81113" y="145075"/>
                  </a:cubicBezTo>
                  <a:cubicBezTo>
                    <a:pt x="81113" y="145075"/>
                    <a:pt x="16635" y="119283"/>
                    <a:pt x="516" y="80597"/>
                  </a:cubicBezTo>
                  <a:cubicBezTo>
                    <a:pt x="516" y="80597"/>
                    <a:pt x="-2708" y="35463"/>
                    <a:pt x="6964" y="0"/>
                  </a:cubicBezTo>
                  <a:cubicBezTo>
                    <a:pt x="6964" y="0"/>
                    <a:pt x="42426" y="35463"/>
                    <a:pt x="100456" y="48358"/>
                  </a:cubicBezTo>
                  <a:cubicBezTo>
                    <a:pt x="116576" y="54806"/>
                    <a:pt x="409949" y="51582"/>
                    <a:pt x="480874" y="35463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AF2BA9AD-92A7-4131-B3AC-E8782922A73F}"/>
                </a:ext>
              </a:extLst>
            </p:cNvPr>
            <p:cNvSpPr/>
            <p:nvPr/>
          </p:nvSpPr>
          <p:spPr>
            <a:xfrm>
              <a:off x="3771298" y="8468191"/>
              <a:ext cx="187190" cy="151996"/>
            </a:xfrm>
            <a:custGeom>
              <a:avLst/>
              <a:gdLst>
                <a:gd name="connsiteX0" fmla="*/ 834 w 187190"/>
                <a:gd name="connsiteY0" fmla="*/ 74266 h 151996"/>
                <a:gd name="connsiteX1" fmla="*/ 71760 w 187190"/>
                <a:gd name="connsiteY1" fmla="*/ 61370 h 151996"/>
                <a:gd name="connsiteX2" fmla="*/ 97551 w 187190"/>
                <a:gd name="connsiteY2" fmla="*/ 67818 h 151996"/>
                <a:gd name="connsiteX3" fmla="*/ 87879 w 187190"/>
                <a:gd name="connsiteY3" fmla="*/ 54922 h 151996"/>
                <a:gd name="connsiteX4" fmla="*/ 87879 w 187190"/>
                <a:gd name="connsiteY4" fmla="*/ 116 h 151996"/>
                <a:gd name="connsiteX5" fmla="*/ 171700 w 187190"/>
                <a:gd name="connsiteY5" fmla="*/ 106505 h 151996"/>
                <a:gd name="connsiteX6" fmla="*/ 184595 w 187190"/>
                <a:gd name="connsiteY6" fmla="*/ 132295 h 151996"/>
                <a:gd name="connsiteX7" fmla="*/ 174924 w 187190"/>
                <a:gd name="connsiteY7" fmla="*/ 151639 h 151996"/>
                <a:gd name="connsiteX8" fmla="*/ 174924 w 187190"/>
                <a:gd name="connsiteY8" fmla="*/ 151639 h 151996"/>
                <a:gd name="connsiteX9" fmla="*/ 52416 w 187190"/>
                <a:gd name="connsiteY9" fmla="*/ 141967 h 151996"/>
                <a:gd name="connsiteX10" fmla="*/ 834 w 187190"/>
                <a:gd name="connsiteY10" fmla="*/ 74266 h 151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7190" h="151996">
                  <a:moveTo>
                    <a:pt x="834" y="74266"/>
                  </a:moveTo>
                  <a:cubicBezTo>
                    <a:pt x="7282" y="45250"/>
                    <a:pt x="52416" y="54922"/>
                    <a:pt x="71760" y="61370"/>
                  </a:cubicBezTo>
                  <a:cubicBezTo>
                    <a:pt x="81431" y="64594"/>
                    <a:pt x="91103" y="64594"/>
                    <a:pt x="97551" y="67818"/>
                  </a:cubicBezTo>
                  <a:cubicBezTo>
                    <a:pt x="94327" y="64594"/>
                    <a:pt x="91103" y="58146"/>
                    <a:pt x="87879" y="54922"/>
                  </a:cubicBezTo>
                  <a:cubicBezTo>
                    <a:pt x="78207" y="42027"/>
                    <a:pt x="58864" y="116"/>
                    <a:pt x="87879" y="116"/>
                  </a:cubicBezTo>
                  <a:cubicBezTo>
                    <a:pt x="142685" y="-3108"/>
                    <a:pt x="162028" y="61370"/>
                    <a:pt x="171700" y="106505"/>
                  </a:cubicBezTo>
                  <a:cubicBezTo>
                    <a:pt x="174924" y="116176"/>
                    <a:pt x="181371" y="125848"/>
                    <a:pt x="184595" y="132295"/>
                  </a:cubicBezTo>
                  <a:cubicBezTo>
                    <a:pt x="191043" y="148415"/>
                    <a:pt x="184595" y="151639"/>
                    <a:pt x="174924" y="151639"/>
                  </a:cubicBezTo>
                  <a:cubicBezTo>
                    <a:pt x="174924" y="151639"/>
                    <a:pt x="174924" y="151639"/>
                    <a:pt x="174924" y="151639"/>
                  </a:cubicBezTo>
                  <a:cubicBezTo>
                    <a:pt x="136237" y="151639"/>
                    <a:pt x="87879" y="154863"/>
                    <a:pt x="52416" y="141967"/>
                  </a:cubicBezTo>
                  <a:cubicBezTo>
                    <a:pt x="26625" y="132295"/>
                    <a:pt x="-5614" y="103280"/>
                    <a:pt x="834" y="74266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879C9D98-807D-439D-B043-36BC244113E1}"/>
                </a:ext>
              </a:extLst>
            </p:cNvPr>
            <p:cNvSpPr/>
            <p:nvPr/>
          </p:nvSpPr>
          <p:spPr>
            <a:xfrm>
              <a:off x="4322595" y="8661107"/>
              <a:ext cx="43364" cy="43175"/>
            </a:xfrm>
            <a:custGeom>
              <a:avLst/>
              <a:gdLst>
                <a:gd name="connsiteX0" fmla="*/ 822 w 43364"/>
                <a:gd name="connsiteY0" fmla="*/ 26424 h 43175"/>
                <a:gd name="connsiteX1" fmla="*/ 26613 w 43364"/>
                <a:gd name="connsiteY1" fmla="*/ 42543 h 43175"/>
                <a:gd name="connsiteX2" fmla="*/ 42732 w 43364"/>
                <a:gd name="connsiteY2" fmla="*/ 16752 h 43175"/>
                <a:gd name="connsiteX3" fmla="*/ 16941 w 43364"/>
                <a:gd name="connsiteY3" fmla="*/ 632 h 43175"/>
                <a:gd name="connsiteX4" fmla="*/ 822 w 43364"/>
                <a:gd name="connsiteY4" fmla="*/ 26424 h 4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64" h="43175">
                  <a:moveTo>
                    <a:pt x="822" y="26424"/>
                  </a:moveTo>
                  <a:cubicBezTo>
                    <a:pt x="4045" y="36095"/>
                    <a:pt x="16941" y="45767"/>
                    <a:pt x="26613" y="42543"/>
                  </a:cubicBezTo>
                  <a:cubicBezTo>
                    <a:pt x="36284" y="39319"/>
                    <a:pt x="45956" y="29647"/>
                    <a:pt x="42732" y="16752"/>
                  </a:cubicBezTo>
                  <a:cubicBezTo>
                    <a:pt x="39508" y="7080"/>
                    <a:pt x="29837" y="-2592"/>
                    <a:pt x="16941" y="632"/>
                  </a:cubicBezTo>
                  <a:cubicBezTo>
                    <a:pt x="4045" y="3856"/>
                    <a:pt x="-2402" y="16752"/>
                    <a:pt x="822" y="26424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B3CC722D-BED6-43BA-ADAF-3A4B63C44AB5}"/>
                </a:ext>
              </a:extLst>
            </p:cNvPr>
            <p:cNvSpPr/>
            <p:nvPr/>
          </p:nvSpPr>
          <p:spPr>
            <a:xfrm>
              <a:off x="4145281" y="8670779"/>
              <a:ext cx="43364" cy="43174"/>
            </a:xfrm>
            <a:custGeom>
              <a:avLst/>
              <a:gdLst>
                <a:gd name="connsiteX0" fmla="*/ 822 w 43364"/>
                <a:gd name="connsiteY0" fmla="*/ 26423 h 43174"/>
                <a:gd name="connsiteX1" fmla="*/ 26613 w 43364"/>
                <a:gd name="connsiteY1" fmla="*/ 42542 h 43174"/>
                <a:gd name="connsiteX2" fmla="*/ 42732 w 43364"/>
                <a:gd name="connsiteY2" fmla="*/ 16752 h 43174"/>
                <a:gd name="connsiteX3" fmla="*/ 16941 w 43364"/>
                <a:gd name="connsiteY3" fmla="*/ 632 h 43174"/>
                <a:gd name="connsiteX4" fmla="*/ 822 w 43364"/>
                <a:gd name="connsiteY4" fmla="*/ 26423 h 43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64" h="43174">
                  <a:moveTo>
                    <a:pt x="822" y="26423"/>
                  </a:moveTo>
                  <a:cubicBezTo>
                    <a:pt x="4045" y="36095"/>
                    <a:pt x="13717" y="45767"/>
                    <a:pt x="26613" y="42542"/>
                  </a:cubicBezTo>
                  <a:cubicBezTo>
                    <a:pt x="36284" y="39319"/>
                    <a:pt x="45956" y="29647"/>
                    <a:pt x="42732" y="16752"/>
                  </a:cubicBezTo>
                  <a:cubicBezTo>
                    <a:pt x="39508" y="7080"/>
                    <a:pt x="29837" y="-2592"/>
                    <a:pt x="16941" y="632"/>
                  </a:cubicBezTo>
                  <a:cubicBezTo>
                    <a:pt x="4045" y="3856"/>
                    <a:pt x="-2402" y="16752"/>
                    <a:pt x="822" y="2642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CC81CAEC-2B92-4FF9-B87D-0F9BD7CB9D6D}"/>
                </a:ext>
              </a:extLst>
            </p:cNvPr>
            <p:cNvSpPr/>
            <p:nvPr/>
          </p:nvSpPr>
          <p:spPr>
            <a:xfrm>
              <a:off x="4289842" y="8608448"/>
              <a:ext cx="97245" cy="33948"/>
            </a:xfrm>
            <a:custGeom>
              <a:avLst/>
              <a:gdLst>
                <a:gd name="connsiteX0" fmla="*/ 91604 w 97245"/>
                <a:gd name="connsiteY0" fmla="*/ 33948 h 33948"/>
                <a:gd name="connsiteX1" fmla="*/ 85156 w 97245"/>
                <a:gd name="connsiteY1" fmla="*/ 30725 h 33948"/>
                <a:gd name="connsiteX2" fmla="*/ 14231 w 97245"/>
                <a:gd name="connsiteY2" fmla="*/ 27501 h 33948"/>
                <a:gd name="connsiteX3" fmla="*/ 1335 w 97245"/>
                <a:gd name="connsiteY3" fmla="*/ 24277 h 33948"/>
                <a:gd name="connsiteX4" fmla="*/ 4559 w 97245"/>
                <a:gd name="connsiteY4" fmla="*/ 11381 h 33948"/>
                <a:gd name="connsiteX5" fmla="*/ 94828 w 97245"/>
                <a:gd name="connsiteY5" fmla="*/ 17829 h 33948"/>
                <a:gd name="connsiteX6" fmla="*/ 94828 w 97245"/>
                <a:gd name="connsiteY6" fmla="*/ 30725 h 33948"/>
                <a:gd name="connsiteX7" fmla="*/ 91604 w 97245"/>
                <a:gd name="connsiteY7" fmla="*/ 33948 h 3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5" h="33948">
                  <a:moveTo>
                    <a:pt x="91604" y="33948"/>
                  </a:moveTo>
                  <a:cubicBezTo>
                    <a:pt x="88380" y="33948"/>
                    <a:pt x="88380" y="33948"/>
                    <a:pt x="85156" y="30725"/>
                  </a:cubicBezTo>
                  <a:cubicBezTo>
                    <a:pt x="56141" y="1710"/>
                    <a:pt x="17455" y="24277"/>
                    <a:pt x="14231" y="27501"/>
                  </a:cubicBezTo>
                  <a:cubicBezTo>
                    <a:pt x="11007" y="30725"/>
                    <a:pt x="4559" y="27501"/>
                    <a:pt x="1335" y="24277"/>
                  </a:cubicBezTo>
                  <a:cubicBezTo>
                    <a:pt x="-1888" y="21053"/>
                    <a:pt x="1335" y="14605"/>
                    <a:pt x="4559" y="11381"/>
                  </a:cubicBezTo>
                  <a:cubicBezTo>
                    <a:pt x="23903" y="1710"/>
                    <a:pt x="65813" y="-11186"/>
                    <a:pt x="94828" y="17829"/>
                  </a:cubicBezTo>
                  <a:cubicBezTo>
                    <a:pt x="98052" y="21053"/>
                    <a:pt x="98052" y="27501"/>
                    <a:pt x="94828" y="30725"/>
                  </a:cubicBezTo>
                  <a:cubicBezTo>
                    <a:pt x="98052" y="33948"/>
                    <a:pt x="94828" y="33948"/>
                    <a:pt x="91604" y="33948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FB63824B-2784-4823-A88B-FB96E1C5A042}"/>
                </a:ext>
              </a:extLst>
            </p:cNvPr>
            <p:cNvSpPr/>
            <p:nvPr/>
          </p:nvSpPr>
          <p:spPr>
            <a:xfrm>
              <a:off x="4108222" y="8611348"/>
              <a:ext cx="97245" cy="40719"/>
            </a:xfrm>
            <a:custGeom>
              <a:avLst/>
              <a:gdLst>
                <a:gd name="connsiteX0" fmla="*/ 8866 w 97245"/>
                <a:gd name="connsiteY0" fmla="*/ 40720 h 40719"/>
                <a:gd name="connsiteX1" fmla="*/ 2418 w 97245"/>
                <a:gd name="connsiteY1" fmla="*/ 37495 h 40719"/>
                <a:gd name="connsiteX2" fmla="*/ 2418 w 97245"/>
                <a:gd name="connsiteY2" fmla="*/ 24600 h 40719"/>
                <a:gd name="connsiteX3" fmla="*/ 92687 w 97245"/>
                <a:gd name="connsiteY3" fmla="*/ 11705 h 40719"/>
                <a:gd name="connsiteX4" fmla="*/ 95910 w 97245"/>
                <a:gd name="connsiteY4" fmla="*/ 24600 h 40719"/>
                <a:gd name="connsiteX5" fmla="*/ 83015 w 97245"/>
                <a:gd name="connsiteY5" fmla="*/ 27824 h 40719"/>
                <a:gd name="connsiteX6" fmla="*/ 12090 w 97245"/>
                <a:gd name="connsiteY6" fmla="*/ 37495 h 40719"/>
                <a:gd name="connsiteX7" fmla="*/ 8866 w 97245"/>
                <a:gd name="connsiteY7" fmla="*/ 40720 h 40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5" h="40719">
                  <a:moveTo>
                    <a:pt x="8866" y="40720"/>
                  </a:moveTo>
                  <a:cubicBezTo>
                    <a:pt x="5642" y="40720"/>
                    <a:pt x="5642" y="40720"/>
                    <a:pt x="2418" y="37495"/>
                  </a:cubicBezTo>
                  <a:cubicBezTo>
                    <a:pt x="-806" y="34272"/>
                    <a:pt x="-806" y="27824"/>
                    <a:pt x="2418" y="24600"/>
                  </a:cubicBezTo>
                  <a:cubicBezTo>
                    <a:pt x="15313" y="8481"/>
                    <a:pt x="50776" y="-14086"/>
                    <a:pt x="92687" y="11705"/>
                  </a:cubicBezTo>
                  <a:cubicBezTo>
                    <a:pt x="95910" y="14928"/>
                    <a:pt x="99134" y="18152"/>
                    <a:pt x="95910" y="24600"/>
                  </a:cubicBezTo>
                  <a:cubicBezTo>
                    <a:pt x="92687" y="27824"/>
                    <a:pt x="89463" y="31048"/>
                    <a:pt x="83015" y="27824"/>
                  </a:cubicBezTo>
                  <a:cubicBezTo>
                    <a:pt x="44328" y="5257"/>
                    <a:pt x="15313" y="37495"/>
                    <a:pt x="12090" y="37495"/>
                  </a:cubicBezTo>
                  <a:cubicBezTo>
                    <a:pt x="12090" y="37495"/>
                    <a:pt x="12090" y="40720"/>
                    <a:pt x="8866" y="40720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816529922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31D86EBF-F13E-41B0-B79D-1DE33CBE2180}"/>
              </a:ext>
            </a:extLst>
          </p:cNvPr>
          <p:cNvGrpSpPr/>
          <p:nvPr/>
        </p:nvGrpSpPr>
        <p:grpSpPr>
          <a:xfrm>
            <a:off x="5207910" y="2811663"/>
            <a:ext cx="4986738" cy="4046337"/>
            <a:chOff x="13820968" y="8230245"/>
            <a:chExt cx="4986738" cy="4046337"/>
          </a:xfrm>
        </p:grpSpPr>
        <p:grpSp>
          <p:nvGrpSpPr>
            <p:cNvPr id="3" name="图形 1">
              <a:extLst>
                <a:ext uri="{FF2B5EF4-FFF2-40B4-BE49-F238E27FC236}">
                  <a16:creationId xmlns:a16="http://schemas.microsoft.com/office/drawing/2014/main" id="{C66FA84C-A05D-44B1-A2B1-18F91CFE3FD1}"/>
                </a:ext>
              </a:extLst>
            </p:cNvPr>
            <p:cNvGrpSpPr/>
            <p:nvPr/>
          </p:nvGrpSpPr>
          <p:grpSpPr>
            <a:xfrm>
              <a:off x="15173308" y="9191689"/>
              <a:ext cx="751672" cy="879051"/>
              <a:chOff x="15173308" y="9191689"/>
              <a:chExt cx="751672" cy="879051"/>
            </a:xfrm>
          </p:grpSpPr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F428D280-3129-4FC3-ADAA-C4A587643B30}"/>
                  </a:ext>
                </a:extLst>
              </p:cNvPr>
              <p:cNvSpPr/>
              <p:nvPr/>
            </p:nvSpPr>
            <p:spPr>
              <a:xfrm>
                <a:off x="15173308" y="9191689"/>
                <a:ext cx="693969" cy="879051"/>
              </a:xfrm>
              <a:custGeom>
                <a:avLst/>
                <a:gdLst>
                  <a:gd name="connsiteX0" fmla="*/ 8138 w 693969"/>
                  <a:gd name="connsiteY0" fmla="*/ 517812 h 879051"/>
                  <a:gd name="connsiteX1" fmla="*/ 430467 w 693969"/>
                  <a:gd name="connsiteY1" fmla="*/ 878887 h 879051"/>
                  <a:gd name="connsiteX2" fmla="*/ 672258 w 693969"/>
                  <a:gd name="connsiteY2" fmla="*/ 753155 h 879051"/>
                  <a:gd name="connsiteX3" fmla="*/ 581989 w 693969"/>
                  <a:gd name="connsiteY3" fmla="*/ 156738 h 879051"/>
                  <a:gd name="connsiteX4" fmla="*/ 382109 w 693969"/>
                  <a:gd name="connsiteY4" fmla="*/ 1991 h 879051"/>
                  <a:gd name="connsiteX5" fmla="*/ 124198 w 693969"/>
                  <a:gd name="connsiteY5" fmla="*/ 63245 h 879051"/>
                  <a:gd name="connsiteX6" fmla="*/ 21034 w 693969"/>
                  <a:gd name="connsiteY6" fmla="*/ 263125 h 879051"/>
                  <a:gd name="connsiteX7" fmla="*/ 8138 w 693969"/>
                  <a:gd name="connsiteY7" fmla="*/ 517812 h 879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93969" h="879051">
                    <a:moveTo>
                      <a:pt x="8138" y="517812"/>
                    </a:moveTo>
                    <a:cubicBezTo>
                      <a:pt x="40377" y="701573"/>
                      <a:pt x="333751" y="885334"/>
                      <a:pt x="430467" y="878887"/>
                    </a:cubicBezTo>
                    <a:cubicBezTo>
                      <a:pt x="498168" y="872439"/>
                      <a:pt x="649691" y="827304"/>
                      <a:pt x="672258" y="753155"/>
                    </a:cubicBezTo>
                    <a:cubicBezTo>
                      <a:pt x="733512" y="559723"/>
                      <a:pt x="652915" y="295364"/>
                      <a:pt x="581989" y="156738"/>
                    </a:cubicBezTo>
                    <a:cubicBezTo>
                      <a:pt x="549750" y="98708"/>
                      <a:pt x="465929" y="8439"/>
                      <a:pt x="382109" y="1991"/>
                    </a:cubicBezTo>
                    <a:cubicBezTo>
                      <a:pt x="295064" y="-4456"/>
                      <a:pt x="198347" y="1991"/>
                      <a:pt x="124198" y="63245"/>
                    </a:cubicBezTo>
                    <a:cubicBezTo>
                      <a:pt x="69392" y="111603"/>
                      <a:pt x="37153" y="185752"/>
                      <a:pt x="21034" y="263125"/>
                    </a:cubicBezTo>
                    <a:cubicBezTo>
                      <a:pt x="1690" y="343722"/>
                      <a:pt x="-7981" y="433991"/>
                      <a:pt x="8138" y="517812"/>
                    </a:cubicBez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597E7F5A-FA37-46BD-95BD-4C020587F605}"/>
                  </a:ext>
                </a:extLst>
              </p:cNvPr>
              <p:cNvSpPr/>
              <p:nvPr/>
            </p:nvSpPr>
            <p:spPr>
              <a:xfrm>
                <a:off x="15793983" y="9678293"/>
                <a:ext cx="124598" cy="272282"/>
              </a:xfrm>
              <a:custGeom>
                <a:avLst/>
                <a:gdLst>
                  <a:gd name="connsiteX0" fmla="*/ 0 w 124598"/>
                  <a:gd name="connsiteY0" fmla="*/ 18312 h 272282"/>
                  <a:gd name="connsiteX1" fmla="*/ 0 w 124598"/>
                  <a:gd name="connsiteY1" fmla="*/ 266551 h 272282"/>
                  <a:gd name="connsiteX2" fmla="*/ 93492 w 124598"/>
                  <a:gd name="connsiteY2" fmla="*/ 266551 h 272282"/>
                  <a:gd name="connsiteX3" fmla="*/ 112836 w 124598"/>
                  <a:gd name="connsiteY3" fmla="*/ 18312 h 272282"/>
                  <a:gd name="connsiteX4" fmla="*/ 0 w 124598"/>
                  <a:gd name="connsiteY4" fmla="*/ 18312 h 272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598" h="272282">
                    <a:moveTo>
                      <a:pt x="0" y="18312"/>
                    </a:moveTo>
                    <a:cubicBezTo>
                      <a:pt x="0" y="18312"/>
                      <a:pt x="29015" y="156939"/>
                      <a:pt x="0" y="266551"/>
                    </a:cubicBezTo>
                    <a:cubicBezTo>
                      <a:pt x="0" y="266551"/>
                      <a:pt x="61254" y="279447"/>
                      <a:pt x="93492" y="266551"/>
                    </a:cubicBezTo>
                    <a:cubicBezTo>
                      <a:pt x="128955" y="253655"/>
                      <a:pt x="132179" y="37656"/>
                      <a:pt x="112836" y="18312"/>
                    </a:cubicBezTo>
                    <a:cubicBezTo>
                      <a:pt x="93492" y="-1031"/>
                      <a:pt x="19343" y="-10703"/>
                      <a:pt x="0" y="18312"/>
                    </a:cubicBez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CC1F5DFF-951D-432D-BD03-4CAEEF18A804}"/>
                  </a:ext>
                </a:extLst>
              </p:cNvPr>
              <p:cNvSpPr/>
              <p:nvPr/>
            </p:nvSpPr>
            <p:spPr>
              <a:xfrm>
                <a:off x="15787535" y="9666965"/>
                <a:ext cx="137445" cy="290774"/>
              </a:xfrm>
              <a:custGeom>
                <a:avLst/>
                <a:gdLst>
                  <a:gd name="connsiteX0" fmla="*/ 61254 w 137445"/>
                  <a:gd name="connsiteY0" fmla="*/ 290774 h 290774"/>
                  <a:gd name="connsiteX1" fmla="*/ 32239 w 137445"/>
                  <a:gd name="connsiteY1" fmla="*/ 287550 h 290774"/>
                  <a:gd name="connsiteX2" fmla="*/ 12895 w 137445"/>
                  <a:gd name="connsiteY2" fmla="*/ 274655 h 290774"/>
                  <a:gd name="connsiteX3" fmla="*/ 6448 w 137445"/>
                  <a:gd name="connsiteY3" fmla="*/ 252088 h 290774"/>
                  <a:gd name="connsiteX4" fmla="*/ 0 w 137445"/>
                  <a:gd name="connsiteY4" fmla="*/ 29640 h 290774"/>
                  <a:gd name="connsiteX5" fmla="*/ 0 w 137445"/>
                  <a:gd name="connsiteY5" fmla="*/ 26416 h 290774"/>
                  <a:gd name="connsiteX6" fmla="*/ 0 w 137445"/>
                  <a:gd name="connsiteY6" fmla="*/ 23192 h 290774"/>
                  <a:gd name="connsiteX7" fmla="*/ 41911 w 137445"/>
                  <a:gd name="connsiteY7" fmla="*/ 625 h 290774"/>
                  <a:gd name="connsiteX8" fmla="*/ 122508 w 137445"/>
                  <a:gd name="connsiteY8" fmla="*/ 19968 h 290774"/>
                  <a:gd name="connsiteX9" fmla="*/ 125731 w 137445"/>
                  <a:gd name="connsiteY9" fmla="*/ 226297 h 290774"/>
                  <a:gd name="connsiteX10" fmla="*/ 99940 w 137445"/>
                  <a:gd name="connsiteY10" fmla="*/ 277879 h 290774"/>
                  <a:gd name="connsiteX11" fmla="*/ 61254 w 137445"/>
                  <a:gd name="connsiteY11" fmla="*/ 290774 h 290774"/>
                  <a:gd name="connsiteX12" fmla="*/ 12895 w 137445"/>
                  <a:gd name="connsiteY12" fmla="*/ 32864 h 290774"/>
                  <a:gd name="connsiteX13" fmla="*/ 16119 w 137445"/>
                  <a:gd name="connsiteY13" fmla="*/ 258535 h 290774"/>
                  <a:gd name="connsiteX14" fmla="*/ 19343 w 137445"/>
                  <a:gd name="connsiteY14" fmla="*/ 271431 h 290774"/>
                  <a:gd name="connsiteX15" fmla="*/ 32239 w 137445"/>
                  <a:gd name="connsiteY15" fmla="*/ 277879 h 290774"/>
                  <a:gd name="connsiteX16" fmla="*/ 99940 w 137445"/>
                  <a:gd name="connsiteY16" fmla="*/ 274655 h 290774"/>
                  <a:gd name="connsiteX17" fmla="*/ 119284 w 137445"/>
                  <a:gd name="connsiteY17" fmla="*/ 232744 h 290774"/>
                  <a:gd name="connsiteX18" fmla="*/ 119284 w 137445"/>
                  <a:gd name="connsiteY18" fmla="*/ 36088 h 290774"/>
                  <a:gd name="connsiteX19" fmla="*/ 48358 w 137445"/>
                  <a:gd name="connsiteY19" fmla="*/ 19968 h 290774"/>
                  <a:gd name="connsiteX20" fmla="*/ 12895 w 137445"/>
                  <a:gd name="connsiteY20" fmla="*/ 32864 h 290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7445" h="290774">
                    <a:moveTo>
                      <a:pt x="61254" y="290774"/>
                    </a:moveTo>
                    <a:cubicBezTo>
                      <a:pt x="51582" y="290774"/>
                      <a:pt x="38687" y="290774"/>
                      <a:pt x="32239" y="287550"/>
                    </a:cubicBezTo>
                    <a:cubicBezTo>
                      <a:pt x="25792" y="287550"/>
                      <a:pt x="16119" y="281102"/>
                      <a:pt x="12895" y="274655"/>
                    </a:cubicBezTo>
                    <a:cubicBezTo>
                      <a:pt x="9672" y="268207"/>
                      <a:pt x="6448" y="261759"/>
                      <a:pt x="6448" y="252088"/>
                    </a:cubicBezTo>
                    <a:cubicBezTo>
                      <a:pt x="25792" y="148924"/>
                      <a:pt x="3224" y="29640"/>
                      <a:pt x="0" y="29640"/>
                    </a:cubicBezTo>
                    <a:lnTo>
                      <a:pt x="0" y="26416"/>
                    </a:lnTo>
                    <a:lnTo>
                      <a:pt x="0" y="23192"/>
                    </a:lnTo>
                    <a:cubicBezTo>
                      <a:pt x="6448" y="10297"/>
                      <a:pt x="22568" y="3849"/>
                      <a:pt x="41911" y="625"/>
                    </a:cubicBezTo>
                    <a:cubicBezTo>
                      <a:pt x="70926" y="-2599"/>
                      <a:pt x="106389" y="7073"/>
                      <a:pt x="122508" y="19968"/>
                    </a:cubicBezTo>
                    <a:cubicBezTo>
                      <a:pt x="141851" y="36088"/>
                      <a:pt x="141851" y="158595"/>
                      <a:pt x="125731" y="226297"/>
                    </a:cubicBezTo>
                    <a:cubicBezTo>
                      <a:pt x="119284" y="255311"/>
                      <a:pt x="112836" y="274655"/>
                      <a:pt x="99940" y="277879"/>
                    </a:cubicBezTo>
                    <a:cubicBezTo>
                      <a:pt x="90269" y="287550"/>
                      <a:pt x="77373" y="290774"/>
                      <a:pt x="61254" y="290774"/>
                    </a:cubicBezTo>
                    <a:close/>
                    <a:moveTo>
                      <a:pt x="12895" y="32864"/>
                    </a:moveTo>
                    <a:cubicBezTo>
                      <a:pt x="16119" y="52207"/>
                      <a:pt x="35463" y="161819"/>
                      <a:pt x="16119" y="258535"/>
                    </a:cubicBezTo>
                    <a:cubicBezTo>
                      <a:pt x="16119" y="261759"/>
                      <a:pt x="16119" y="268207"/>
                      <a:pt x="19343" y="271431"/>
                    </a:cubicBezTo>
                    <a:cubicBezTo>
                      <a:pt x="22568" y="274655"/>
                      <a:pt x="25792" y="277879"/>
                      <a:pt x="32239" y="277879"/>
                    </a:cubicBezTo>
                    <a:cubicBezTo>
                      <a:pt x="51582" y="281102"/>
                      <a:pt x="80597" y="281102"/>
                      <a:pt x="99940" y="274655"/>
                    </a:cubicBezTo>
                    <a:cubicBezTo>
                      <a:pt x="103165" y="274655"/>
                      <a:pt x="109612" y="268207"/>
                      <a:pt x="119284" y="232744"/>
                    </a:cubicBezTo>
                    <a:cubicBezTo>
                      <a:pt x="132179" y="161819"/>
                      <a:pt x="132179" y="48983"/>
                      <a:pt x="119284" y="36088"/>
                    </a:cubicBezTo>
                    <a:cubicBezTo>
                      <a:pt x="106389" y="23192"/>
                      <a:pt x="74150" y="16744"/>
                      <a:pt x="48358" y="19968"/>
                    </a:cubicBezTo>
                    <a:cubicBezTo>
                      <a:pt x="32239" y="19968"/>
                      <a:pt x="19343" y="23192"/>
                      <a:pt x="12895" y="32864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BB1F6569-2359-466A-9D69-4424C564D98D}"/>
                  </a:ext>
                </a:extLst>
              </p:cNvPr>
              <p:cNvSpPr/>
              <p:nvPr/>
            </p:nvSpPr>
            <p:spPr>
              <a:xfrm>
                <a:off x="15706938" y="9334343"/>
                <a:ext cx="177717" cy="275216"/>
              </a:xfrm>
              <a:custGeom>
                <a:avLst/>
                <a:gdLst>
                  <a:gd name="connsiteX0" fmla="*/ 0 w 177717"/>
                  <a:gd name="connsiteY0" fmla="*/ 43098 h 275216"/>
                  <a:gd name="connsiteX1" fmla="*/ 83821 w 177717"/>
                  <a:gd name="connsiteY1" fmla="*/ 275217 h 275216"/>
                  <a:gd name="connsiteX2" fmla="*/ 170866 w 177717"/>
                  <a:gd name="connsiteY2" fmla="*/ 242978 h 275216"/>
                  <a:gd name="connsiteX3" fmla="*/ 103165 w 177717"/>
                  <a:gd name="connsiteY3" fmla="*/ 4411 h 275216"/>
                  <a:gd name="connsiteX4" fmla="*/ 0 w 177717"/>
                  <a:gd name="connsiteY4" fmla="*/ 43098 h 275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717" h="275216">
                    <a:moveTo>
                      <a:pt x="0" y="43098"/>
                    </a:moveTo>
                    <a:cubicBezTo>
                      <a:pt x="0" y="43098"/>
                      <a:pt x="74150" y="165605"/>
                      <a:pt x="83821" y="275217"/>
                    </a:cubicBezTo>
                    <a:cubicBezTo>
                      <a:pt x="83821" y="275217"/>
                      <a:pt x="145075" y="265545"/>
                      <a:pt x="170866" y="242978"/>
                    </a:cubicBezTo>
                    <a:cubicBezTo>
                      <a:pt x="199881" y="217187"/>
                      <a:pt x="128955" y="14083"/>
                      <a:pt x="103165" y="4411"/>
                    </a:cubicBezTo>
                    <a:cubicBezTo>
                      <a:pt x="77373" y="-8485"/>
                      <a:pt x="6448" y="7635"/>
                      <a:pt x="0" y="43098"/>
                    </a:cubicBez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8B41E5C8-8C99-407F-8215-7ADD54391867}"/>
                  </a:ext>
                </a:extLst>
              </p:cNvPr>
              <p:cNvSpPr/>
              <p:nvPr/>
            </p:nvSpPr>
            <p:spPr>
              <a:xfrm>
                <a:off x="15700491" y="9329083"/>
                <a:ext cx="188912" cy="283701"/>
              </a:xfrm>
              <a:custGeom>
                <a:avLst/>
                <a:gdLst>
                  <a:gd name="connsiteX0" fmla="*/ 109612 w 188912"/>
                  <a:gd name="connsiteY0" fmla="*/ 283702 h 283701"/>
                  <a:gd name="connsiteX1" fmla="*/ 93492 w 188912"/>
                  <a:gd name="connsiteY1" fmla="*/ 280478 h 283701"/>
                  <a:gd name="connsiteX2" fmla="*/ 80597 w 188912"/>
                  <a:gd name="connsiteY2" fmla="*/ 261135 h 283701"/>
                  <a:gd name="connsiteX3" fmla="*/ 0 w 188912"/>
                  <a:gd name="connsiteY3" fmla="*/ 54806 h 283701"/>
                  <a:gd name="connsiteX4" fmla="*/ 0 w 188912"/>
                  <a:gd name="connsiteY4" fmla="*/ 51582 h 283701"/>
                  <a:gd name="connsiteX5" fmla="*/ 0 w 188912"/>
                  <a:gd name="connsiteY5" fmla="*/ 48358 h 283701"/>
                  <a:gd name="connsiteX6" fmla="*/ 32239 w 188912"/>
                  <a:gd name="connsiteY6" fmla="*/ 12895 h 283701"/>
                  <a:gd name="connsiteX7" fmla="*/ 112836 w 188912"/>
                  <a:gd name="connsiteY7" fmla="*/ 3224 h 283701"/>
                  <a:gd name="connsiteX8" fmla="*/ 186985 w 188912"/>
                  <a:gd name="connsiteY8" fmla="*/ 196657 h 283701"/>
                  <a:gd name="connsiteX9" fmla="*/ 180537 w 188912"/>
                  <a:gd name="connsiteY9" fmla="*/ 254686 h 283701"/>
                  <a:gd name="connsiteX10" fmla="*/ 112836 w 188912"/>
                  <a:gd name="connsiteY10" fmla="*/ 283702 h 283701"/>
                  <a:gd name="connsiteX11" fmla="*/ 109612 w 188912"/>
                  <a:gd name="connsiteY11" fmla="*/ 283702 h 283701"/>
                  <a:gd name="connsiteX12" fmla="*/ 12895 w 188912"/>
                  <a:gd name="connsiteY12" fmla="*/ 48358 h 283701"/>
                  <a:gd name="connsiteX13" fmla="*/ 93492 w 188912"/>
                  <a:gd name="connsiteY13" fmla="*/ 257910 h 283701"/>
                  <a:gd name="connsiteX14" fmla="*/ 99940 w 188912"/>
                  <a:gd name="connsiteY14" fmla="*/ 270806 h 283701"/>
                  <a:gd name="connsiteX15" fmla="*/ 112836 w 188912"/>
                  <a:gd name="connsiteY15" fmla="*/ 274030 h 283701"/>
                  <a:gd name="connsiteX16" fmla="*/ 174089 w 188912"/>
                  <a:gd name="connsiteY16" fmla="*/ 248239 h 283701"/>
                  <a:gd name="connsiteX17" fmla="*/ 177313 w 188912"/>
                  <a:gd name="connsiteY17" fmla="*/ 203105 h 283701"/>
                  <a:gd name="connsiteX18" fmla="*/ 109612 w 188912"/>
                  <a:gd name="connsiteY18" fmla="*/ 19344 h 283701"/>
                  <a:gd name="connsiteX19" fmla="*/ 38686 w 188912"/>
                  <a:gd name="connsiteY19" fmla="*/ 29015 h 283701"/>
                  <a:gd name="connsiteX20" fmla="*/ 12895 w 188912"/>
                  <a:gd name="connsiteY20" fmla="*/ 48358 h 28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88912" h="283701">
                    <a:moveTo>
                      <a:pt x="109612" y="283702"/>
                    </a:moveTo>
                    <a:cubicBezTo>
                      <a:pt x="103164" y="283702"/>
                      <a:pt x="99940" y="280478"/>
                      <a:pt x="93492" y="280478"/>
                    </a:cubicBezTo>
                    <a:cubicBezTo>
                      <a:pt x="87044" y="277254"/>
                      <a:pt x="83820" y="267582"/>
                      <a:pt x="80597" y="261135"/>
                    </a:cubicBezTo>
                    <a:cubicBezTo>
                      <a:pt x="64478" y="157970"/>
                      <a:pt x="0" y="54806"/>
                      <a:pt x="0" y="54806"/>
                    </a:cubicBezTo>
                    <a:lnTo>
                      <a:pt x="0" y="51582"/>
                    </a:lnTo>
                    <a:lnTo>
                      <a:pt x="0" y="48358"/>
                    </a:lnTo>
                    <a:cubicBezTo>
                      <a:pt x="3223" y="35463"/>
                      <a:pt x="16119" y="22567"/>
                      <a:pt x="32239" y="12895"/>
                    </a:cubicBezTo>
                    <a:cubicBezTo>
                      <a:pt x="58029" y="0"/>
                      <a:pt x="93492" y="-3224"/>
                      <a:pt x="112836" y="3224"/>
                    </a:cubicBezTo>
                    <a:cubicBezTo>
                      <a:pt x="135402" y="12895"/>
                      <a:pt x="177313" y="128955"/>
                      <a:pt x="186985" y="196657"/>
                    </a:cubicBezTo>
                    <a:cubicBezTo>
                      <a:pt x="190209" y="228896"/>
                      <a:pt x="190209" y="245015"/>
                      <a:pt x="180537" y="254686"/>
                    </a:cubicBezTo>
                    <a:cubicBezTo>
                      <a:pt x="164417" y="270806"/>
                      <a:pt x="135402" y="277254"/>
                      <a:pt x="112836" y="283702"/>
                    </a:cubicBezTo>
                    <a:cubicBezTo>
                      <a:pt x="116059" y="283702"/>
                      <a:pt x="112836" y="283702"/>
                      <a:pt x="109612" y="283702"/>
                    </a:cubicBezTo>
                    <a:close/>
                    <a:moveTo>
                      <a:pt x="12895" y="48358"/>
                    </a:moveTo>
                    <a:cubicBezTo>
                      <a:pt x="22567" y="64478"/>
                      <a:pt x="77373" y="161194"/>
                      <a:pt x="93492" y="257910"/>
                    </a:cubicBezTo>
                    <a:cubicBezTo>
                      <a:pt x="93492" y="261135"/>
                      <a:pt x="96716" y="267582"/>
                      <a:pt x="99940" y="270806"/>
                    </a:cubicBezTo>
                    <a:cubicBezTo>
                      <a:pt x="103164" y="274030"/>
                      <a:pt x="109612" y="274030"/>
                      <a:pt x="112836" y="274030"/>
                    </a:cubicBezTo>
                    <a:cubicBezTo>
                      <a:pt x="132178" y="270806"/>
                      <a:pt x="157970" y="261135"/>
                      <a:pt x="174089" y="248239"/>
                    </a:cubicBezTo>
                    <a:cubicBezTo>
                      <a:pt x="177313" y="245015"/>
                      <a:pt x="180537" y="238567"/>
                      <a:pt x="177313" y="203105"/>
                    </a:cubicBezTo>
                    <a:cubicBezTo>
                      <a:pt x="167641" y="132179"/>
                      <a:pt x="125731" y="25791"/>
                      <a:pt x="109612" y="19344"/>
                    </a:cubicBezTo>
                    <a:cubicBezTo>
                      <a:pt x="93492" y="12895"/>
                      <a:pt x="61254" y="16119"/>
                      <a:pt x="38686" y="29015"/>
                    </a:cubicBezTo>
                    <a:cubicBezTo>
                      <a:pt x="25791" y="29015"/>
                      <a:pt x="16119" y="38687"/>
                      <a:pt x="12895" y="4835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9FEFF610-F5CA-4B12-8CB7-0388DF794A7C}"/>
                </a:ext>
              </a:extLst>
            </p:cNvPr>
            <p:cNvGrpSpPr/>
            <p:nvPr/>
          </p:nvGrpSpPr>
          <p:grpSpPr>
            <a:xfrm>
              <a:off x="14791221" y="11927531"/>
              <a:ext cx="333806" cy="303543"/>
              <a:chOff x="14791221" y="11927531"/>
              <a:chExt cx="333806" cy="303543"/>
            </a:xfrm>
          </p:grpSpPr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59903B0B-D5EB-4A6C-99AC-25F1C34B872E}"/>
                  </a:ext>
                </a:extLst>
              </p:cNvPr>
              <p:cNvSpPr/>
              <p:nvPr/>
            </p:nvSpPr>
            <p:spPr>
              <a:xfrm>
                <a:off x="14791221" y="12030694"/>
                <a:ext cx="333806" cy="200379"/>
              </a:xfrm>
              <a:custGeom>
                <a:avLst/>
                <a:gdLst>
                  <a:gd name="connsiteX0" fmla="*/ 241926 w 333806"/>
                  <a:gd name="connsiteY0" fmla="*/ 0 h 200379"/>
                  <a:gd name="connsiteX1" fmla="*/ 106523 w 333806"/>
                  <a:gd name="connsiteY1" fmla="*/ 106389 h 200379"/>
                  <a:gd name="connsiteX2" fmla="*/ 270941 w 333806"/>
                  <a:gd name="connsiteY2" fmla="*/ 67702 h 200379"/>
                  <a:gd name="connsiteX3" fmla="*/ 332194 w 333806"/>
                  <a:gd name="connsiteY3" fmla="*/ 45135 h 200379"/>
                  <a:gd name="connsiteX4" fmla="*/ 325747 w 333806"/>
                  <a:gd name="connsiteY4" fmla="*/ 135403 h 200379"/>
                  <a:gd name="connsiteX5" fmla="*/ 132314 w 333806"/>
                  <a:gd name="connsiteY5" fmla="*/ 196657 h 200379"/>
                  <a:gd name="connsiteX6" fmla="*/ 16254 w 333806"/>
                  <a:gd name="connsiteY6" fmla="*/ 196657 h 200379"/>
                  <a:gd name="connsiteX7" fmla="*/ 9806 w 333806"/>
                  <a:gd name="connsiteY7" fmla="*/ 148299 h 200379"/>
                  <a:gd name="connsiteX8" fmla="*/ 241926 w 333806"/>
                  <a:gd name="connsiteY8" fmla="*/ 0 h 200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806" h="200379">
                    <a:moveTo>
                      <a:pt x="241926" y="0"/>
                    </a:moveTo>
                    <a:cubicBezTo>
                      <a:pt x="241926" y="0"/>
                      <a:pt x="96851" y="93493"/>
                      <a:pt x="106523" y="106389"/>
                    </a:cubicBezTo>
                    <a:cubicBezTo>
                      <a:pt x="119419" y="119284"/>
                      <a:pt x="270941" y="67702"/>
                      <a:pt x="270941" y="67702"/>
                    </a:cubicBezTo>
                    <a:lnTo>
                      <a:pt x="332194" y="45135"/>
                    </a:lnTo>
                    <a:cubicBezTo>
                      <a:pt x="332194" y="45135"/>
                      <a:pt x="338642" y="112836"/>
                      <a:pt x="325747" y="135403"/>
                    </a:cubicBezTo>
                    <a:cubicBezTo>
                      <a:pt x="264494" y="167642"/>
                      <a:pt x="193568" y="186986"/>
                      <a:pt x="132314" y="196657"/>
                    </a:cubicBezTo>
                    <a:cubicBezTo>
                      <a:pt x="93627" y="203105"/>
                      <a:pt x="22702" y="199881"/>
                      <a:pt x="16254" y="196657"/>
                    </a:cubicBezTo>
                    <a:cubicBezTo>
                      <a:pt x="9806" y="193433"/>
                      <a:pt x="-12760" y="174090"/>
                      <a:pt x="9806" y="148299"/>
                    </a:cubicBezTo>
                    <a:cubicBezTo>
                      <a:pt x="61388" y="93493"/>
                      <a:pt x="241926" y="0"/>
                      <a:pt x="241926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0A86084D-EB36-4F55-B7F3-F01D5D56104F}"/>
                  </a:ext>
                </a:extLst>
              </p:cNvPr>
              <p:cNvSpPr/>
              <p:nvPr/>
            </p:nvSpPr>
            <p:spPr>
              <a:xfrm>
                <a:off x="14896949" y="11927531"/>
                <a:ext cx="226466" cy="213002"/>
              </a:xfrm>
              <a:custGeom>
                <a:avLst/>
                <a:gdLst>
                  <a:gd name="connsiteX0" fmla="*/ 123303 w 226466"/>
                  <a:gd name="connsiteY0" fmla="*/ 0 h 213002"/>
                  <a:gd name="connsiteX1" fmla="*/ 136198 w 226466"/>
                  <a:gd name="connsiteY1" fmla="*/ 103164 h 213002"/>
                  <a:gd name="connsiteX2" fmla="*/ 795 w 226466"/>
                  <a:gd name="connsiteY2" fmla="*/ 209552 h 213002"/>
                  <a:gd name="connsiteX3" fmla="*/ 203900 w 226466"/>
                  <a:gd name="connsiteY3" fmla="*/ 174089 h 213002"/>
                  <a:gd name="connsiteX4" fmla="*/ 226466 w 226466"/>
                  <a:gd name="connsiteY4" fmla="*/ 148299 h 213002"/>
                  <a:gd name="connsiteX5" fmla="*/ 226466 w 226466"/>
                  <a:gd name="connsiteY5" fmla="*/ 35463 h 213002"/>
                  <a:gd name="connsiteX6" fmla="*/ 123303 w 226466"/>
                  <a:gd name="connsiteY6" fmla="*/ 0 h 213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6466" h="213002">
                    <a:moveTo>
                      <a:pt x="123303" y="0"/>
                    </a:moveTo>
                    <a:lnTo>
                      <a:pt x="136198" y="103164"/>
                    </a:lnTo>
                    <a:cubicBezTo>
                      <a:pt x="136198" y="103164"/>
                      <a:pt x="-12101" y="190209"/>
                      <a:pt x="795" y="209552"/>
                    </a:cubicBezTo>
                    <a:cubicBezTo>
                      <a:pt x="10467" y="222448"/>
                      <a:pt x="142646" y="196657"/>
                      <a:pt x="203900" y="174089"/>
                    </a:cubicBezTo>
                    <a:cubicBezTo>
                      <a:pt x="223243" y="167641"/>
                      <a:pt x="226466" y="148299"/>
                      <a:pt x="226466" y="148299"/>
                    </a:cubicBezTo>
                    <a:lnTo>
                      <a:pt x="226466" y="35463"/>
                    </a:lnTo>
                    <a:lnTo>
                      <a:pt x="123303" y="0"/>
                    </a:ln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E3C783BB-2A7D-4334-829E-91174696DBA0}"/>
                </a:ext>
              </a:extLst>
            </p:cNvPr>
            <p:cNvGrpSpPr/>
            <p:nvPr/>
          </p:nvGrpSpPr>
          <p:grpSpPr>
            <a:xfrm>
              <a:off x="15916490" y="11672844"/>
              <a:ext cx="264855" cy="403089"/>
              <a:chOff x="15916490" y="11672844"/>
              <a:chExt cx="264855" cy="403089"/>
            </a:xfrm>
          </p:grpSpPr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61B3D91D-1F6E-4052-8BB2-F8D8D134EF98}"/>
                  </a:ext>
                </a:extLst>
              </p:cNvPr>
              <p:cNvSpPr/>
              <p:nvPr/>
            </p:nvSpPr>
            <p:spPr>
              <a:xfrm>
                <a:off x="16019655" y="11717979"/>
                <a:ext cx="161691" cy="357954"/>
              </a:xfrm>
              <a:custGeom>
                <a:avLst/>
                <a:gdLst>
                  <a:gd name="connsiteX0" fmla="*/ 0 w 161691"/>
                  <a:gd name="connsiteY0" fmla="*/ 64478 h 357954"/>
                  <a:gd name="connsiteX1" fmla="*/ 41910 w 161691"/>
                  <a:gd name="connsiteY1" fmla="*/ 232119 h 357954"/>
                  <a:gd name="connsiteX2" fmla="*/ 74149 w 161691"/>
                  <a:gd name="connsiteY2" fmla="*/ 64478 h 357954"/>
                  <a:gd name="connsiteX3" fmla="*/ 80597 w 161691"/>
                  <a:gd name="connsiteY3" fmla="*/ 0 h 357954"/>
                  <a:gd name="connsiteX4" fmla="*/ 161194 w 161691"/>
                  <a:gd name="connsiteY4" fmla="*/ 41910 h 357954"/>
                  <a:gd name="connsiteX5" fmla="*/ 135402 w 161691"/>
                  <a:gd name="connsiteY5" fmla="*/ 245015 h 357954"/>
                  <a:gd name="connsiteX6" fmla="*/ 87044 w 161691"/>
                  <a:gd name="connsiteY6" fmla="*/ 351403 h 357954"/>
                  <a:gd name="connsiteX7" fmla="*/ 41910 w 161691"/>
                  <a:gd name="connsiteY7" fmla="*/ 335283 h 357954"/>
                  <a:gd name="connsiteX8" fmla="*/ 0 w 161691"/>
                  <a:gd name="connsiteY8" fmla="*/ 64478 h 357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1691" h="357954">
                    <a:moveTo>
                      <a:pt x="0" y="64478"/>
                    </a:moveTo>
                    <a:cubicBezTo>
                      <a:pt x="0" y="64478"/>
                      <a:pt x="25791" y="235343"/>
                      <a:pt x="41910" y="232119"/>
                    </a:cubicBezTo>
                    <a:cubicBezTo>
                      <a:pt x="58029" y="225672"/>
                      <a:pt x="74149" y="64478"/>
                      <a:pt x="74149" y="64478"/>
                    </a:cubicBezTo>
                    <a:lnTo>
                      <a:pt x="80597" y="0"/>
                    </a:lnTo>
                    <a:cubicBezTo>
                      <a:pt x="80597" y="0"/>
                      <a:pt x="145075" y="25791"/>
                      <a:pt x="161194" y="41910"/>
                    </a:cubicBezTo>
                    <a:cubicBezTo>
                      <a:pt x="164418" y="109612"/>
                      <a:pt x="151522" y="183761"/>
                      <a:pt x="135402" y="245015"/>
                    </a:cubicBezTo>
                    <a:cubicBezTo>
                      <a:pt x="125731" y="283701"/>
                      <a:pt x="93492" y="344955"/>
                      <a:pt x="87044" y="351403"/>
                    </a:cubicBezTo>
                    <a:cubicBezTo>
                      <a:pt x="80597" y="357851"/>
                      <a:pt x="54805" y="367522"/>
                      <a:pt x="41910" y="335283"/>
                    </a:cubicBezTo>
                    <a:cubicBezTo>
                      <a:pt x="9671" y="264358"/>
                      <a:pt x="0" y="64478"/>
                      <a:pt x="0" y="64478"/>
                    </a:cubicBez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431BA765-83E9-4F88-A3C7-6DBCACB3DB9F}"/>
                  </a:ext>
                </a:extLst>
              </p:cNvPr>
              <p:cNvSpPr/>
              <p:nvPr/>
            </p:nvSpPr>
            <p:spPr>
              <a:xfrm>
                <a:off x="15916490" y="11672844"/>
                <a:ext cx="193795" cy="277298"/>
              </a:xfrm>
              <a:custGeom>
                <a:avLst/>
                <a:gdLst>
                  <a:gd name="connsiteX0" fmla="*/ 0 w 193795"/>
                  <a:gd name="connsiteY0" fmla="*/ 77373 h 277298"/>
                  <a:gd name="connsiteX1" fmla="*/ 99940 w 193795"/>
                  <a:gd name="connsiteY1" fmla="*/ 109612 h 277298"/>
                  <a:gd name="connsiteX2" fmla="*/ 141851 w 193795"/>
                  <a:gd name="connsiteY2" fmla="*/ 277253 h 277298"/>
                  <a:gd name="connsiteX3" fmla="*/ 193433 w 193795"/>
                  <a:gd name="connsiteY3" fmla="*/ 80597 h 277298"/>
                  <a:gd name="connsiteX4" fmla="*/ 177313 w 193795"/>
                  <a:gd name="connsiteY4" fmla="*/ 48358 h 277298"/>
                  <a:gd name="connsiteX5" fmla="*/ 74150 w 193795"/>
                  <a:gd name="connsiteY5" fmla="*/ 0 h 277298"/>
                  <a:gd name="connsiteX6" fmla="*/ 0 w 193795"/>
                  <a:gd name="connsiteY6" fmla="*/ 77373 h 277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3795" h="277298">
                    <a:moveTo>
                      <a:pt x="0" y="77373"/>
                    </a:moveTo>
                    <a:lnTo>
                      <a:pt x="99940" y="109612"/>
                    </a:lnTo>
                    <a:cubicBezTo>
                      <a:pt x="99940" y="109612"/>
                      <a:pt x="116060" y="280477"/>
                      <a:pt x="141851" y="277253"/>
                    </a:cubicBezTo>
                    <a:cubicBezTo>
                      <a:pt x="157970" y="274030"/>
                      <a:pt x="190209" y="141851"/>
                      <a:pt x="193433" y="80597"/>
                    </a:cubicBezTo>
                    <a:cubicBezTo>
                      <a:pt x="196657" y="58029"/>
                      <a:pt x="177313" y="48358"/>
                      <a:pt x="177313" y="48358"/>
                    </a:cubicBezTo>
                    <a:lnTo>
                      <a:pt x="74150" y="0"/>
                    </a:lnTo>
                    <a:lnTo>
                      <a:pt x="0" y="77373"/>
                    </a:ln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79D83E24-0F2C-4081-9169-06E8FB424086}"/>
                </a:ext>
              </a:extLst>
            </p:cNvPr>
            <p:cNvSpPr/>
            <p:nvPr/>
          </p:nvSpPr>
          <p:spPr>
            <a:xfrm>
              <a:off x="14346968" y="9328500"/>
              <a:ext cx="676088" cy="654376"/>
            </a:xfrm>
            <a:custGeom>
              <a:avLst/>
              <a:gdLst>
                <a:gd name="connsiteX0" fmla="*/ 518537 w 676088"/>
                <a:gd name="connsiteY0" fmla="*/ 39269 h 654376"/>
                <a:gd name="connsiteX1" fmla="*/ 367016 w 676088"/>
                <a:gd name="connsiteY1" fmla="*/ 493837 h 654376"/>
                <a:gd name="connsiteX2" fmla="*/ 2717 w 676088"/>
                <a:gd name="connsiteY2" fmla="*/ 548643 h 654376"/>
                <a:gd name="connsiteX3" fmla="*/ 57523 w 676088"/>
                <a:gd name="connsiteY3" fmla="*/ 613120 h 654376"/>
                <a:gd name="connsiteX4" fmla="*/ 441165 w 676088"/>
                <a:gd name="connsiteY4" fmla="*/ 638911 h 654376"/>
                <a:gd name="connsiteX5" fmla="*/ 673284 w 676088"/>
                <a:gd name="connsiteY5" fmla="*/ 210135 h 654376"/>
                <a:gd name="connsiteX6" fmla="*/ 518537 w 676088"/>
                <a:gd name="connsiteY6" fmla="*/ 39269 h 654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6088" h="654376">
                  <a:moveTo>
                    <a:pt x="518537" y="39269"/>
                  </a:moveTo>
                  <a:cubicBezTo>
                    <a:pt x="476627" y="126314"/>
                    <a:pt x="367016" y="493837"/>
                    <a:pt x="367016" y="493837"/>
                  </a:cubicBezTo>
                  <a:cubicBezTo>
                    <a:pt x="367016" y="493837"/>
                    <a:pt x="5941" y="545419"/>
                    <a:pt x="2717" y="548643"/>
                  </a:cubicBezTo>
                  <a:cubicBezTo>
                    <a:pt x="-10179" y="603449"/>
                    <a:pt x="25284" y="606673"/>
                    <a:pt x="57523" y="613120"/>
                  </a:cubicBezTo>
                  <a:cubicBezTo>
                    <a:pt x="67194" y="616344"/>
                    <a:pt x="234836" y="684046"/>
                    <a:pt x="441165" y="638911"/>
                  </a:cubicBezTo>
                  <a:cubicBezTo>
                    <a:pt x="495971" y="626016"/>
                    <a:pt x="628150" y="329419"/>
                    <a:pt x="673284" y="210135"/>
                  </a:cubicBezTo>
                  <a:cubicBezTo>
                    <a:pt x="695851" y="145658"/>
                    <a:pt x="576568" y="-92909"/>
                    <a:pt x="518537" y="39269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01A0E83C-D0D5-44E7-B96E-7A854CDF1CD8}"/>
                </a:ext>
              </a:extLst>
            </p:cNvPr>
            <p:cNvSpPr/>
            <p:nvPr/>
          </p:nvSpPr>
          <p:spPr>
            <a:xfrm>
              <a:off x="14813633" y="9915829"/>
              <a:ext cx="1228588" cy="2093540"/>
            </a:xfrm>
            <a:custGeom>
              <a:avLst/>
              <a:gdLst>
                <a:gd name="connsiteX0" fmla="*/ 748231 w 1228588"/>
                <a:gd name="connsiteY0" fmla="*/ 0 h 2093540"/>
                <a:gd name="connsiteX1" fmla="*/ 193724 w 1228588"/>
                <a:gd name="connsiteY1" fmla="*/ 0 h 2093540"/>
                <a:gd name="connsiteX2" fmla="*/ 93783 w 1228588"/>
                <a:gd name="connsiteY2" fmla="*/ 383642 h 2093540"/>
                <a:gd name="connsiteX3" fmla="*/ 3514 w 1228588"/>
                <a:gd name="connsiteY3" fmla="*/ 1125135 h 2093540"/>
                <a:gd name="connsiteX4" fmla="*/ 6738 w 1228588"/>
                <a:gd name="connsiteY4" fmla="*/ 1273433 h 2093540"/>
                <a:gd name="connsiteX5" fmla="*/ 196947 w 1228588"/>
                <a:gd name="connsiteY5" fmla="*/ 2082627 h 2093540"/>
                <a:gd name="connsiteX6" fmla="*/ 322679 w 1228588"/>
                <a:gd name="connsiteY6" fmla="*/ 2082627 h 2093540"/>
                <a:gd name="connsiteX7" fmla="*/ 348470 w 1228588"/>
                <a:gd name="connsiteY7" fmla="*/ 1292776 h 2093540"/>
                <a:gd name="connsiteX8" fmla="*/ 361365 w 1228588"/>
                <a:gd name="connsiteY8" fmla="*/ 1160598 h 2093540"/>
                <a:gd name="connsiteX9" fmla="*/ 474201 w 1228588"/>
                <a:gd name="connsiteY9" fmla="*/ 677015 h 2093540"/>
                <a:gd name="connsiteX10" fmla="*/ 516112 w 1228588"/>
                <a:gd name="connsiteY10" fmla="*/ 1370150 h 2093540"/>
                <a:gd name="connsiteX11" fmla="*/ 551574 w 1228588"/>
                <a:gd name="connsiteY11" fmla="*/ 1457194 h 2093540"/>
                <a:gd name="connsiteX12" fmla="*/ 1164111 w 1228588"/>
                <a:gd name="connsiteY12" fmla="*/ 1869851 h 2093540"/>
                <a:gd name="connsiteX13" fmla="*/ 1228589 w 1228588"/>
                <a:gd name="connsiteY13" fmla="*/ 1760239 h 2093540"/>
                <a:gd name="connsiteX14" fmla="*/ 822381 w 1228588"/>
                <a:gd name="connsiteY14" fmla="*/ 1308895 h 2093540"/>
                <a:gd name="connsiteX15" fmla="*/ 851395 w 1228588"/>
                <a:gd name="connsiteY15" fmla="*/ 393313 h 2093540"/>
                <a:gd name="connsiteX16" fmla="*/ 748231 w 1228588"/>
                <a:gd name="connsiteY16" fmla="*/ 0 h 2093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28588" h="2093540">
                  <a:moveTo>
                    <a:pt x="748231" y="0"/>
                  </a:moveTo>
                  <a:lnTo>
                    <a:pt x="193724" y="0"/>
                  </a:lnTo>
                  <a:cubicBezTo>
                    <a:pt x="193724" y="0"/>
                    <a:pt x="109903" y="254687"/>
                    <a:pt x="93783" y="383642"/>
                  </a:cubicBezTo>
                  <a:cubicBezTo>
                    <a:pt x="87335" y="432000"/>
                    <a:pt x="29306" y="934926"/>
                    <a:pt x="3514" y="1125135"/>
                  </a:cubicBezTo>
                  <a:cubicBezTo>
                    <a:pt x="-2933" y="1173493"/>
                    <a:pt x="291" y="1225075"/>
                    <a:pt x="6738" y="1273433"/>
                  </a:cubicBezTo>
                  <a:cubicBezTo>
                    <a:pt x="42201" y="1486209"/>
                    <a:pt x="142142" y="2079404"/>
                    <a:pt x="196947" y="2082627"/>
                  </a:cubicBezTo>
                  <a:cubicBezTo>
                    <a:pt x="264649" y="2095523"/>
                    <a:pt x="296887" y="2098746"/>
                    <a:pt x="322679" y="2082627"/>
                  </a:cubicBezTo>
                  <a:cubicBezTo>
                    <a:pt x="361365" y="2066507"/>
                    <a:pt x="351694" y="1489433"/>
                    <a:pt x="348470" y="1292776"/>
                  </a:cubicBezTo>
                  <a:cubicBezTo>
                    <a:pt x="348470" y="1247642"/>
                    <a:pt x="351694" y="1202508"/>
                    <a:pt x="361365" y="1160598"/>
                  </a:cubicBezTo>
                  <a:lnTo>
                    <a:pt x="474201" y="677015"/>
                  </a:lnTo>
                  <a:cubicBezTo>
                    <a:pt x="474201" y="677015"/>
                    <a:pt x="496768" y="1241195"/>
                    <a:pt x="516112" y="1370150"/>
                  </a:cubicBezTo>
                  <a:cubicBezTo>
                    <a:pt x="522559" y="1405612"/>
                    <a:pt x="541903" y="1447523"/>
                    <a:pt x="551574" y="1457194"/>
                  </a:cubicBezTo>
                  <a:cubicBezTo>
                    <a:pt x="680529" y="1579702"/>
                    <a:pt x="1054499" y="1918210"/>
                    <a:pt x="1164111" y="1869851"/>
                  </a:cubicBezTo>
                  <a:cubicBezTo>
                    <a:pt x="1196350" y="1840836"/>
                    <a:pt x="1222142" y="1802150"/>
                    <a:pt x="1228589" y="1760239"/>
                  </a:cubicBezTo>
                  <a:cubicBezTo>
                    <a:pt x="1228589" y="1618388"/>
                    <a:pt x="822381" y="1308895"/>
                    <a:pt x="822381" y="1308895"/>
                  </a:cubicBezTo>
                  <a:cubicBezTo>
                    <a:pt x="822381" y="1308895"/>
                    <a:pt x="864291" y="544836"/>
                    <a:pt x="851395" y="393313"/>
                  </a:cubicBezTo>
                  <a:cubicBezTo>
                    <a:pt x="835276" y="183761"/>
                    <a:pt x="748231" y="0"/>
                    <a:pt x="748231" y="0"/>
                  </a:cubicBezTo>
                  <a:close/>
                </a:path>
              </a:pathLst>
            </a:custGeom>
            <a:solidFill>
              <a:srgbClr val="F6EBE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CE6F2C87-A45D-4AC8-84B5-7C85187E9335}"/>
                </a:ext>
              </a:extLst>
            </p:cNvPr>
            <p:cNvSpPr/>
            <p:nvPr/>
          </p:nvSpPr>
          <p:spPr>
            <a:xfrm>
              <a:off x="15249148" y="10238218"/>
              <a:ext cx="90268" cy="893014"/>
            </a:xfrm>
            <a:custGeom>
              <a:avLst/>
              <a:gdLst>
                <a:gd name="connsiteX0" fmla="*/ 83820 w 90268"/>
                <a:gd name="connsiteY0" fmla="*/ 893014 h 893014"/>
                <a:gd name="connsiteX1" fmla="*/ 77373 w 90268"/>
                <a:gd name="connsiteY1" fmla="*/ 889790 h 893014"/>
                <a:gd name="connsiteX2" fmla="*/ 35462 w 90268"/>
                <a:gd name="connsiteY2" fmla="*/ 354627 h 893014"/>
                <a:gd name="connsiteX3" fmla="*/ 0 w 90268"/>
                <a:gd name="connsiteY3" fmla="*/ 6447 h 893014"/>
                <a:gd name="connsiteX4" fmla="*/ 6447 w 90268"/>
                <a:gd name="connsiteY4" fmla="*/ 0 h 893014"/>
                <a:gd name="connsiteX5" fmla="*/ 12895 w 90268"/>
                <a:gd name="connsiteY5" fmla="*/ 6447 h 893014"/>
                <a:gd name="connsiteX6" fmla="*/ 48358 w 90268"/>
                <a:gd name="connsiteY6" fmla="*/ 354627 h 893014"/>
                <a:gd name="connsiteX7" fmla="*/ 90268 w 90268"/>
                <a:gd name="connsiteY7" fmla="*/ 886567 h 893014"/>
                <a:gd name="connsiteX8" fmla="*/ 83820 w 90268"/>
                <a:gd name="connsiteY8" fmla="*/ 893014 h 893014"/>
                <a:gd name="connsiteX9" fmla="*/ 83820 w 90268"/>
                <a:gd name="connsiteY9" fmla="*/ 893014 h 8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268" h="893014">
                  <a:moveTo>
                    <a:pt x="83820" y="893014"/>
                  </a:moveTo>
                  <a:cubicBezTo>
                    <a:pt x="80597" y="893014"/>
                    <a:pt x="80597" y="893014"/>
                    <a:pt x="77373" y="889790"/>
                  </a:cubicBezTo>
                  <a:cubicBezTo>
                    <a:pt x="70925" y="876895"/>
                    <a:pt x="41910" y="441671"/>
                    <a:pt x="35462" y="354627"/>
                  </a:cubicBezTo>
                  <a:lnTo>
                    <a:pt x="0" y="6447"/>
                  </a:lnTo>
                  <a:cubicBezTo>
                    <a:pt x="0" y="3223"/>
                    <a:pt x="3223" y="0"/>
                    <a:pt x="6447" y="0"/>
                  </a:cubicBezTo>
                  <a:cubicBezTo>
                    <a:pt x="9671" y="0"/>
                    <a:pt x="12895" y="3223"/>
                    <a:pt x="12895" y="6447"/>
                  </a:cubicBezTo>
                  <a:lnTo>
                    <a:pt x="48358" y="354627"/>
                  </a:lnTo>
                  <a:cubicBezTo>
                    <a:pt x="64478" y="560955"/>
                    <a:pt x="87044" y="873671"/>
                    <a:pt x="90268" y="886567"/>
                  </a:cubicBezTo>
                  <a:cubicBezTo>
                    <a:pt x="90268" y="889790"/>
                    <a:pt x="90268" y="893014"/>
                    <a:pt x="83820" y="893014"/>
                  </a:cubicBezTo>
                  <a:cubicBezTo>
                    <a:pt x="87044" y="893014"/>
                    <a:pt x="83820" y="893014"/>
                    <a:pt x="83820" y="893014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F35374EB-0B04-416A-A97B-BC735E1D493F}"/>
                </a:ext>
              </a:extLst>
            </p:cNvPr>
            <p:cNvSpPr/>
            <p:nvPr/>
          </p:nvSpPr>
          <p:spPr>
            <a:xfrm>
              <a:off x="14920312" y="9112708"/>
              <a:ext cx="741492" cy="971173"/>
            </a:xfrm>
            <a:custGeom>
              <a:avLst/>
              <a:gdLst>
                <a:gd name="connsiteX0" fmla="*/ 648000 w 741492"/>
                <a:gd name="connsiteY0" fmla="*/ 783778 h 971173"/>
                <a:gd name="connsiteX1" fmla="*/ 651224 w 741492"/>
                <a:gd name="connsiteY1" fmla="*/ 329211 h 971173"/>
                <a:gd name="connsiteX2" fmla="*/ 638328 w 741492"/>
                <a:gd name="connsiteY2" fmla="*/ 58405 h 971173"/>
                <a:gd name="connsiteX3" fmla="*/ 332059 w 741492"/>
                <a:gd name="connsiteY3" fmla="*/ 3599 h 971173"/>
                <a:gd name="connsiteX4" fmla="*/ 80597 w 741492"/>
                <a:gd name="connsiteY4" fmla="*/ 87420 h 971173"/>
                <a:gd name="connsiteX5" fmla="*/ 0 w 741492"/>
                <a:gd name="connsiteY5" fmla="*/ 948196 h 971173"/>
                <a:gd name="connsiteX6" fmla="*/ 741493 w 741492"/>
                <a:gd name="connsiteY6" fmla="*/ 928853 h 971173"/>
                <a:gd name="connsiteX7" fmla="*/ 648000 w 741492"/>
                <a:gd name="connsiteY7" fmla="*/ 783778 h 971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1492" h="971173">
                  <a:moveTo>
                    <a:pt x="648000" y="783778"/>
                  </a:moveTo>
                  <a:cubicBezTo>
                    <a:pt x="622209" y="603241"/>
                    <a:pt x="644776" y="348554"/>
                    <a:pt x="651224" y="329211"/>
                  </a:cubicBezTo>
                  <a:cubicBezTo>
                    <a:pt x="660896" y="303420"/>
                    <a:pt x="738268" y="113211"/>
                    <a:pt x="638328" y="58405"/>
                  </a:cubicBezTo>
                  <a:cubicBezTo>
                    <a:pt x="551284" y="13270"/>
                    <a:pt x="428776" y="-9297"/>
                    <a:pt x="332059" y="3599"/>
                  </a:cubicBezTo>
                  <a:cubicBezTo>
                    <a:pt x="222448" y="16494"/>
                    <a:pt x="112836" y="35837"/>
                    <a:pt x="80597" y="87420"/>
                  </a:cubicBezTo>
                  <a:cubicBezTo>
                    <a:pt x="-12895" y="242166"/>
                    <a:pt x="54806" y="667718"/>
                    <a:pt x="0" y="948196"/>
                  </a:cubicBezTo>
                  <a:cubicBezTo>
                    <a:pt x="251462" y="1009450"/>
                    <a:pt x="741493" y="928853"/>
                    <a:pt x="741493" y="928853"/>
                  </a:cubicBezTo>
                  <a:lnTo>
                    <a:pt x="648000" y="783778"/>
                  </a:ln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AAC69C99-D9C9-462C-8602-F936A8BB1325}"/>
                </a:ext>
              </a:extLst>
            </p:cNvPr>
            <p:cNvSpPr/>
            <p:nvPr/>
          </p:nvSpPr>
          <p:spPr>
            <a:xfrm>
              <a:off x="14810700" y="9164522"/>
              <a:ext cx="335528" cy="348321"/>
            </a:xfrm>
            <a:custGeom>
              <a:avLst/>
              <a:gdLst>
                <a:gd name="connsiteX0" fmla="*/ 293373 w 335528"/>
                <a:gd name="connsiteY0" fmla="*/ 348322 h 348321"/>
                <a:gd name="connsiteX1" fmla="*/ 286925 w 335528"/>
                <a:gd name="connsiteY1" fmla="*/ 13038 h 348321"/>
                <a:gd name="connsiteX2" fmla="*/ 0 w 335528"/>
                <a:gd name="connsiteY2" fmla="*/ 245158 h 348321"/>
                <a:gd name="connsiteX3" fmla="*/ 293373 w 335528"/>
                <a:gd name="connsiteY3" fmla="*/ 348322 h 348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528" h="348321">
                  <a:moveTo>
                    <a:pt x="293373" y="348322"/>
                  </a:moveTo>
                  <a:cubicBezTo>
                    <a:pt x="361074" y="209695"/>
                    <a:pt x="338507" y="51725"/>
                    <a:pt x="286925" y="13038"/>
                  </a:cubicBezTo>
                  <a:cubicBezTo>
                    <a:pt x="219223" y="-41767"/>
                    <a:pt x="58029" y="83964"/>
                    <a:pt x="0" y="245158"/>
                  </a:cubicBezTo>
                  <a:cubicBezTo>
                    <a:pt x="35463" y="293516"/>
                    <a:pt x="206328" y="335427"/>
                    <a:pt x="293373" y="348322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AEF24F26-2641-48A1-B683-5AC514C7D14E}"/>
                </a:ext>
              </a:extLst>
            </p:cNvPr>
            <p:cNvSpPr/>
            <p:nvPr/>
          </p:nvSpPr>
          <p:spPr>
            <a:xfrm>
              <a:off x="15158878" y="8968008"/>
              <a:ext cx="257910" cy="270805"/>
            </a:xfrm>
            <a:custGeom>
              <a:avLst/>
              <a:gdLst>
                <a:gd name="connsiteX0" fmla="*/ 45134 w 257910"/>
                <a:gd name="connsiteY0" fmla="*/ 51582 h 270805"/>
                <a:gd name="connsiteX1" fmla="*/ 0 w 257910"/>
                <a:gd name="connsiteY1" fmla="*/ 167642 h 270805"/>
                <a:gd name="connsiteX2" fmla="*/ 96716 w 257910"/>
                <a:gd name="connsiteY2" fmla="*/ 270806 h 270805"/>
                <a:gd name="connsiteX3" fmla="*/ 257910 w 257910"/>
                <a:gd name="connsiteY3" fmla="*/ 154746 h 270805"/>
                <a:gd name="connsiteX4" fmla="*/ 216000 w 257910"/>
                <a:gd name="connsiteY4" fmla="*/ 0 h 270805"/>
                <a:gd name="connsiteX5" fmla="*/ 45134 w 257910"/>
                <a:gd name="connsiteY5" fmla="*/ 51582 h 270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7910" h="270805">
                  <a:moveTo>
                    <a:pt x="45134" y="51582"/>
                  </a:moveTo>
                  <a:cubicBezTo>
                    <a:pt x="45134" y="51582"/>
                    <a:pt x="48358" y="145075"/>
                    <a:pt x="0" y="167642"/>
                  </a:cubicBezTo>
                  <a:lnTo>
                    <a:pt x="96716" y="270806"/>
                  </a:lnTo>
                  <a:cubicBezTo>
                    <a:pt x="96716" y="270806"/>
                    <a:pt x="212776" y="180537"/>
                    <a:pt x="257910" y="154746"/>
                  </a:cubicBezTo>
                  <a:cubicBezTo>
                    <a:pt x="212776" y="119283"/>
                    <a:pt x="216000" y="51582"/>
                    <a:pt x="216000" y="0"/>
                  </a:cubicBezTo>
                  <a:cubicBezTo>
                    <a:pt x="216000" y="0"/>
                    <a:pt x="90269" y="58030"/>
                    <a:pt x="45134" y="51582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82195AE1-8180-480E-9FEA-1DB4710A9458}"/>
                </a:ext>
              </a:extLst>
            </p:cNvPr>
            <p:cNvSpPr/>
            <p:nvPr/>
          </p:nvSpPr>
          <p:spPr>
            <a:xfrm>
              <a:off x="14934121" y="9200128"/>
              <a:ext cx="73235" cy="451343"/>
            </a:xfrm>
            <a:custGeom>
              <a:avLst/>
              <a:gdLst>
                <a:gd name="connsiteX0" fmla="*/ 11981 w 73235"/>
                <a:gd name="connsiteY0" fmla="*/ 451343 h 451343"/>
                <a:gd name="connsiteX1" fmla="*/ 5534 w 73235"/>
                <a:gd name="connsiteY1" fmla="*/ 448119 h 451343"/>
                <a:gd name="connsiteX2" fmla="*/ 60339 w 73235"/>
                <a:gd name="connsiteY2" fmla="*/ 3224 h 451343"/>
                <a:gd name="connsiteX3" fmla="*/ 70011 w 73235"/>
                <a:gd name="connsiteY3" fmla="*/ 0 h 451343"/>
                <a:gd name="connsiteX4" fmla="*/ 73235 w 73235"/>
                <a:gd name="connsiteY4" fmla="*/ 9672 h 451343"/>
                <a:gd name="connsiteX5" fmla="*/ 18429 w 73235"/>
                <a:gd name="connsiteY5" fmla="*/ 444896 h 451343"/>
                <a:gd name="connsiteX6" fmla="*/ 11981 w 73235"/>
                <a:gd name="connsiteY6" fmla="*/ 451343 h 451343"/>
                <a:gd name="connsiteX7" fmla="*/ 11981 w 73235"/>
                <a:gd name="connsiteY7" fmla="*/ 451343 h 451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235" h="451343">
                  <a:moveTo>
                    <a:pt x="11981" y="451343"/>
                  </a:moveTo>
                  <a:cubicBezTo>
                    <a:pt x="8758" y="451343"/>
                    <a:pt x="5534" y="448119"/>
                    <a:pt x="5534" y="448119"/>
                  </a:cubicBezTo>
                  <a:cubicBezTo>
                    <a:pt x="-10586" y="390090"/>
                    <a:pt x="8758" y="87045"/>
                    <a:pt x="60339" y="3224"/>
                  </a:cubicBezTo>
                  <a:cubicBezTo>
                    <a:pt x="63563" y="0"/>
                    <a:pt x="66787" y="0"/>
                    <a:pt x="70011" y="0"/>
                  </a:cubicBezTo>
                  <a:cubicBezTo>
                    <a:pt x="73235" y="3224"/>
                    <a:pt x="73235" y="6448"/>
                    <a:pt x="73235" y="9672"/>
                  </a:cubicBezTo>
                  <a:cubicBezTo>
                    <a:pt x="21653" y="90269"/>
                    <a:pt x="5534" y="393313"/>
                    <a:pt x="18429" y="444896"/>
                  </a:cubicBezTo>
                  <a:cubicBezTo>
                    <a:pt x="18429" y="448119"/>
                    <a:pt x="18429" y="451343"/>
                    <a:pt x="11981" y="451343"/>
                  </a:cubicBezTo>
                  <a:cubicBezTo>
                    <a:pt x="15205" y="451343"/>
                    <a:pt x="15205" y="451343"/>
                    <a:pt x="11981" y="451343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23C7259F-CD1E-43A9-92D5-5CD6250D6F87}"/>
                </a:ext>
              </a:extLst>
            </p:cNvPr>
            <p:cNvSpPr/>
            <p:nvPr/>
          </p:nvSpPr>
          <p:spPr>
            <a:xfrm>
              <a:off x="15139535" y="9125978"/>
              <a:ext cx="299821" cy="128955"/>
            </a:xfrm>
            <a:custGeom>
              <a:avLst/>
              <a:gdLst>
                <a:gd name="connsiteX0" fmla="*/ 29016 w 299821"/>
                <a:gd name="connsiteY0" fmla="*/ 6448 h 128955"/>
                <a:gd name="connsiteX1" fmla="*/ 116060 w 299821"/>
                <a:gd name="connsiteY1" fmla="*/ 103164 h 128955"/>
                <a:gd name="connsiteX2" fmla="*/ 277254 w 299821"/>
                <a:gd name="connsiteY2" fmla="*/ 0 h 128955"/>
                <a:gd name="connsiteX3" fmla="*/ 299821 w 299821"/>
                <a:gd name="connsiteY3" fmla="*/ 6448 h 128955"/>
                <a:gd name="connsiteX4" fmla="*/ 116060 w 299821"/>
                <a:gd name="connsiteY4" fmla="*/ 128955 h 128955"/>
                <a:gd name="connsiteX5" fmla="*/ 0 w 299821"/>
                <a:gd name="connsiteY5" fmla="*/ 12896 h 128955"/>
                <a:gd name="connsiteX6" fmla="*/ 29016 w 299821"/>
                <a:gd name="connsiteY6" fmla="*/ 6448 h 12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9821" h="128955">
                  <a:moveTo>
                    <a:pt x="29016" y="6448"/>
                  </a:moveTo>
                  <a:lnTo>
                    <a:pt x="116060" y="103164"/>
                  </a:lnTo>
                  <a:cubicBezTo>
                    <a:pt x="116060" y="103164"/>
                    <a:pt x="225672" y="19343"/>
                    <a:pt x="277254" y="0"/>
                  </a:cubicBezTo>
                  <a:lnTo>
                    <a:pt x="299821" y="6448"/>
                  </a:lnTo>
                  <a:lnTo>
                    <a:pt x="116060" y="128955"/>
                  </a:lnTo>
                  <a:lnTo>
                    <a:pt x="0" y="12896"/>
                  </a:lnTo>
                  <a:cubicBezTo>
                    <a:pt x="0" y="12896"/>
                    <a:pt x="12896" y="6448"/>
                    <a:pt x="29016" y="6448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FA24C8E1-DA7D-4EE7-922B-D2EB128831D8}"/>
                </a:ext>
              </a:extLst>
            </p:cNvPr>
            <p:cNvSpPr/>
            <p:nvPr/>
          </p:nvSpPr>
          <p:spPr>
            <a:xfrm>
              <a:off x="15000909" y="9909381"/>
              <a:ext cx="264358" cy="29014"/>
            </a:xfrm>
            <a:custGeom>
              <a:avLst/>
              <a:gdLst>
                <a:gd name="connsiteX0" fmla="*/ 6448 w 264358"/>
                <a:gd name="connsiteY0" fmla="*/ 29015 h 29014"/>
                <a:gd name="connsiteX1" fmla="*/ 0 w 264358"/>
                <a:gd name="connsiteY1" fmla="*/ 22567 h 29014"/>
                <a:gd name="connsiteX2" fmla="*/ 6448 w 264358"/>
                <a:gd name="connsiteY2" fmla="*/ 16119 h 29014"/>
                <a:gd name="connsiteX3" fmla="*/ 257910 w 264358"/>
                <a:gd name="connsiteY3" fmla="*/ 0 h 29014"/>
                <a:gd name="connsiteX4" fmla="*/ 264359 w 264358"/>
                <a:gd name="connsiteY4" fmla="*/ 3224 h 29014"/>
                <a:gd name="connsiteX5" fmla="*/ 261135 w 264358"/>
                <a:gd name="connsiteY5" fmla="*/ 9672 h 29014"/>
                <a:gd name="connsiteX6" fmla="*/ 6448 w 264358"/>
                <a:gd name="connsiteY6" fmla="*/ 29015 h 29014"/>
                <a:gd name="connsiteX7" fmla="*/ 6448 w 264358"/>
                <a:gd name="connsiteY7" fmla="*/ 29015 h 29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358" h="29014">
                  <a:moveTo>
                    <a:pt x="6448" y="29015"/>
                  </a:moveTo>
                  <a:cubicBezTo>
                    <a:pt x="3224" y="29015"/>
                    <a:pt x="0" y="25791"/>
                    <a:pt x="0" y="22567"/>
                  </a:cubicBezTo>
                  <a:cubicBezTo>
                    <a:pt x="0" y="19343"/>
                    <a:pt x="3224" y="16119"/>
                    <a:pt x="6448" y="16119"/>
                  </a:cubicBezTo>
                  <a:cubicBezTo>
                    <a:pt x="9671" y="16119"/>
                    <a:pt x="180538" y="12895"/>
                    <a:pt x="257910" y="0"/>
                  </a:cubicBezTo>
                  <a:cubicBezTo>
                    <a:pt x="261135" y="0"/>
                    <a:pt x="264359" y="0"/>
                    <a:pt x="264359" y="3224"/>
                  </a:cubicBezTo>
                  <a:cubicBezTo>
                    <a:pt x="264359" y="6448"/>
                    <a:pt x="264359" y="9672"/>
                    <a:pt x="261135" y="9672"/>
                  </a:cubicBezTo>
                  <a:cubicBezTo>
                    <a:pt x="180538" y="25791"/>
                    <a:pt x="6448" y="29015"/>
                    <a:pt x="6448" y="29015"/>
                  </a:cubicBezTo>
                  <a:lnTo>
                    <a:pt x="6448" y="29015"/>
                  </a:ln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6436E469-53D3-4BA0-BAFC-3770E7A02C64}"/>
                </a:ext>
              </a:extLst>
            </p:cNvPr>
            <p:cNvSpPr/>
            <p:nvPr/>
          </p:nvSpPr>
          <p:spPr>
            <a:xfrm>
              <a:off x="15550759" y="11215053"/>
              <a:ext cx="98149" cy="35462"/>
            </a:xfrm>
            <a:custGeom>
              <a:avLst/>
              <a:gdLst>
                <a:gd name="connsiteX0" fmla="*/ 4657 w 98149"/>
                <a:gd name="connsiteY0" fmla="*/ 35463 h 35462"/>
                <a:gd name="connsiteX1" fmla="*/ 1433 w 98149"/>
                <a:gd name="connsiteY1" fmla="*/ 32239 h 35462"/>
                <a:gd name="connsiteX2" fmla="*/ 1433 w 98149"/>
                <a:gd name="connsiteY2" fmla="*/ 22568 h 35462"/>
                <a:gd name="connsiteX3" fmla="*/ 91701 w 98149"/>
                <a:gd name="connsiteY3" fmla="*/ 0 h 35462"/>
                <a:gd name="connsiteX4" fmla="*/ 91701 w 98149"/>
                <a:gd name="connsiteY4" fmla="*/ 0 h 35462"/>
                <a:gd name="connsiteX5" fmla="*/ 98149 w 98149"/>
                <a:gd name="connsiteY5" fmla="*/ 6448 h 35462"/>
                <a:gd name="connsiteX6" fmla="*/ 91701 w 98149"/>
                <a:gd name="connsiteY6" fmla="*/ 12895 h 35462"/>
                <a:gd name="connsiteX7" fmla="*/ 7880 w 98149"/>
                <a:gd name="connsiteY7" fmla="*/ 35463 h 35462"/>
                <a:gd name="connsiteX8" fmla="*/ 4657 w 98149"/>
                <a:gd name="connsiteY8" fmla="*/ 35463 h 35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149" h="35462">
                  <a:moveTo>
                    <a:pt x="4657" y="35463"/>
                  </a:moveTo>
                  <a:cubicBezTo>
                    <a:pt x="1433" y="35463"/>
                    <a:pt x="1433" y="35463"/>
                    <a:pt x="1433" y="32239"/>
                  </a:cubicBezTo>
                  <a:cubicBezTo>
                    <a:pt x="-1791" y="29015"/>
                    <a:pt x="1433" y="25791"/>
                    <a:pt x="1433" y="22568"/>
                  </a:cubicBezTo>
                  <a:cubicBezTo>
                    <a:pt x="27224" y="3224"/>
                    <a:pt x="88477" y="0"/>
                    <a:pt x="91701" y="0"/>
                  </a:cubicBezTo>
                  <a:lnTo>
                    <a:pt x="91701" y="0"/>
                  </a:lnTo>
                  <a:cubicBezTo>
                    <a:pt x="94925" y="0"/>
                    <a:pt x="98149" y="3224"/>
                    <a:pt x="98149" y="6448"/>
                  </a:cubicBezTo>
                  <a:cubicBezTo>
                    <a:pt x="98149" y="9671"/>
                    <a:pt x="94925" y="12895"/>
                    <a:pt x="91701" y="12895"/>
                  </a:cubicBezTo>
                  <a:cubicBezTo>
                    <a:pt x="91701" y="12895"/>
                    <a:pt x="30448" y="19343"/>
                    <a:pt x="7880" y="35463"/>
                  </a:cubicBezTo>
                  <a:cubicBezTo>
                    <a:pt x="7880" y="35463"/>
                    <a:pt x="7880" y="35463"/>
                    <a:pt x="4657" y="35463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B72A9890-904C-465F-8E8F-3C53C623D82C}"/>
                </a:ext>
              </a:extLst>
            </p:cNvPr>
            <p:cNvSpPr/>
            <p:nvPr/>
          </p:nvSpPr>
          <p:spPr>
            <a:xfrm>
              <a:off x="15973185" y="11665061"/>
              <a:ext cx="80043" cy="123842"/>
            </a:xfrm>
            <a:custGeom>
              <a:avLst/>
              <a:gdLst>
                <a:gd name="connsiteX0" fmla="*/ 7783 w 80043"/>
                <a:gd name="connsiteY0" fmla="*/ 123843 h 123842"/>
                <a:gd name="connsiteX1" fmla="*/ 1335 w 80043"/>
                <a:gd name="connsiteY1" fmla="*/ 120619 h 123842"/>
                <a:gd name="connsiteX2" fmla="*/ 4559 w 80043"/>
                <a:gd name="connsiteY2" fmla="*/ 110947 h 123842"/>
                <a:gd name="connsiteX3" fmla="*/ 69036 w 80043"/>
                <a:gd name="connsiteY3" fmla="*/ 4560 h 123842"/>
                <a:gd name="connsiteX4" fmla="*/ 75484 w 80043"/>
                <a:gd name="connsiteY4" fmla="*/ 1335 h 123842"/>
                <a:gd name="connsiteX5" fmla="*/ 78708 w 80043"/>
                <a:gd name="connsiteY5" fmla="*/ 7784 h 123842"/>
                <a:gd name="connsiteX6" fmla="*/ 7783 w 80043"/>
                <a:gd name="connsiteY6" fmla="*/ 123843 h 123842"/>
                <a:gd name="connsiteX7" fmla="*/ 7783 w 80043"/>
                <a:gd name="connsiteY7" fmla="*/ 123843 h 12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043" h="123842">
                  <a:moveTo>
                    <a:pt x="7783" y="123843"/>
                  </a:moveTo>
                  <a:cubicBezTo>
                    <a:pt x="4559" y="123843"/>
                    <a:pt x="4559" y="123843"/>
                    <a:pt x="1335" y="120619"/>
                  </a:cubicBezTo>
                  <a:cubicBezTo>
                    <a:pt x="-1889" y="117395"/>
                    <a:pt x="1335" y="114171"/>
                    <a:pt x="4559" y="110947"/>
                  </a:cubicBezTo>
                  <a:cubicBezTo>
                    <a:pt x="46470" y="85157"/>
                    <a:pt x="69036" y="7784"/>
                    <a:pt x="69036" y="4560"/>
                  </a:cubicBezTo>
                  <a:cubicBezTo>
                    <a:pt x="69036" y="1335"/>
                    <a:pt x="72260" y="-1889"/>
                    <a:pt x="75484" y="1335"/>
                  </a:cubicBezTo>
                  <a:cubicBezTo>
                    <a:pt x="78708" y="1335"/>
                    <a:pt x="81932" y="4560"/>
                    <a:pt x="78708" y="7784"/>
                  </a:cubicBezTo>
                  <a:cubicBezTo>
                    <a:pt x="78708" y="14231"/>
                    <a:pt x="59365" y="94828"/>
                    <a:pt x="7783" y="123843"/>
                  </a:cubicBezTo>
                  <a:cubicBezTo>
                    <a:pt x="11007" y="123843"/>
                    <a:pt x="11007" y="123843"/>
                    <a:pt x="7783" y="123843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7F1E64A7-B6AD-47BB-A477-C34D339B4D0D}"/>
                </a:ext>
              </a:extLst>
            </p:cNvPr>
            <p:cNvSpPr/>
            <p:nvPr/>
          </p:nvSpPr>
          <p:spPr>
            <a:xfrm>
              <a:off x="15007357" y="11992008"/>
              <a:ext cx="135402" cy="19343"/>
            </a:xfrm>
            <a:custGeom>
              <a:avLst/>
              <a:gdLst>
                <a:gd name="connsiteX0" fmla="*/ 74149 w 135402"/>
                <a:gd name="connsiteY0" fmla="*/ 19343 h 19343"/>
                <a:gd name="connsiteX1" fmla="*/ 3223 w 135402"/>
                <a:gd name="connsiteY1" fmla="*/ 9671 h 19343"/>
                <a:gd name="connsiteX2" fmla="*/ 0 w 135402"/>
                <a:gd name="connsiteY2" fmla="*/ 3224 h 19343"/>
                <a:gd name="connsiteX3" fmla="*/ 6447 w 135402"/>
                <a:gd name="connsiteY3" fmla="*/ 0 h 19343"/>
                <a:gd name="connsiteX4" fmla="*/ 128955 w 135402"/>
                <a:gd name="connsiteY4" fmla="*/ 0 h 19343"/>
                <a:gd name="connsiteX5" fmla="*/ 135402 w 135402"/>
                <a:gd name="connsiteY5" fmla="*/ 3224 h 19343"/>
                <a:gd name="connsiteX6" fmla="*/ 132178 w 135402"/>
                <a:gd name="connsiteY6" fmla="*/ 9671 h 19343"/>
                <a:gd name="connsiteX7" fmla="*/ 74149 w 135402"/>
                <a:gd name="connsiteY7" fmla="*/ 19343 h 1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5402" h="19343">
                  <a:moveTo>
                    <a:pt x="74149" y="19343"/>
                  </a:moveTo>
                  <a:cubicBezTo>
                    <a:pt x="35462" y="19343"/>
                    <a:pt x="3223" y="9671"/>
                    <a:pt x="3223" y="9671"/>
                  </a:cubicBezTo>
                  <a:cubicBezTo>
                    <a:pt x="0" y="9671"/>
                    <a:pt x="0" y="6447"/>
                    <a:pt x="0" y="3224"/>
                  </a:cubicBezTo>
                  <a:cubicBezTo>
                    <a:pt x="0" y="0"/>
                    <a:pt x="3223" y="0"/>
                    <a:pt x="6447" y="0"/>
                  </a:cubicBezTo>
                  <a:cubicBezTo>
                    <a:pt x="6447" y="0"/>
                    <a:pt x="74149" y="22567"/>
                    <a:pt x="128955" y="0"/>
                  </a:cubicBezTo>
                  <a:cubicBezTo>
                    <a:pt x="132178" y="0"/>
                    <a:pt x="135402" y="0"/>
                    <a:pt x="135402" y="3224"/>
                  </a:cubicBezTo>
                  <a:cubicBezTo>
                    <a:pt x="135402" y="6447"/>
                    <a:pt x="135402" y="9671"/>
                    <a:pt x="132178" y="9671"/>
                  </a:cubicBezTo>
                  <a:cubicBezTo>
                    <a:pt x="116059" y="16119"/>
                    <a:pt x="93492" y="19343"/>
                    <a:pt x="74149" y="19343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61B4E64B-9BAD-4DD6-B353-E5431B008B90}"/>
                </a:ext>
              </a:extLst>
            </p:cNvPr>
            <p:cNvSpPr/>
            <p:nvPr/>
          </p:nvSpPr>
          <p:spPr>
            <a:xfrm>
              <a:off x="15319639" y="9118599"/>
              <a:ext cx="317645" cy="855917"/>
            </a:xfrm>
            <a:custGeom>
              <a:avLst/>
              <a:gdLst>
                <a:gd name="connsiteX0" fmla="*/ 268016 w 317645"/>
                <a:gd name="connsiteY0" fmla="*/ 758544 h 855917"/>
                <a:gd name="connsiteX1" fmla="*/ 203538 w 317645"/>
                <a:gd name="connsiteY1" fmla="*/ 684394 h 855917"/>
                <a:gd name="connsiteX2" fmla="*/ 71359 w 317645"/>
                <a:gd name="connsiteY2" fmla="*/ 381350 h 855917"/>
                <a:gd name="connsiteX3" fmla="*/ 180971 w 317645"/>
                <a:gd name="connsiteY3" fmla="*/ 26723 h 855917"/>
                <a:gd name="connsiteX4" fmla="*/ 103598 w 317645"/>
                <a:gd name="connsiteY4" fmla="*/ 932 h 855917"/>
                <a:gd name="connsiteX5" fmla="*/ 433 w 317645"/>
                <a:gd name="connsiteY5" fmla="*/ 403917 h 855917"/>
                <a:gd name="connsiteX6" fmla="*/ 203538 w 317645"/>
                <a:gd name="connsiteY6" fmla="*/ 771439 h 855917"/>
                <a:gd name="connsiteX7" fmla="*/ 316374 w 317645"/>
                <a:gd name="connsiteY7" fmla="*/ 855260 h 855917"/>
                <a:gd name="connsiteX8" fmla="*/ 268016 w 317645"/>
                <a:gd name="connsiteY8" fmla="*/ 758544 h 855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7645" h="855917">
                  <a:moveTo>
                    <a:pt x="268016" y="758544"/>
                  </a:moveTo>
                  <a:cubicBezTo>
                    <a:pt x="242224" y="739200"/>
                    <a:pt x="222881" y="713410"/>
                    <a:pt x="203538" y="684394"/>
                  </a:cubicBezTo>
                  <a:cubicBezTo>
                    <a:pt x="142284" y="587678"/>
                    <a:pt x="77806" y="500633"/>
                    <a:pt x="71359" y="381350"/>
                  </a:cubicBezTo>
                  <a:cubicBezTo>
                    <a:pt x="68135" y="329767"/>
                    <a:pt x="100374" y="55738"/>
                    <a:pt x="180971" y="26723"/>
                  </a:cubicBezTo>
                  <a:cubicBezTo>
                    <a:pt x="190642" y="23499"/>
                    <a:pt x="129388" y="-5516"/>
                    <a:pt x="103598" y="932"/>
                  </a:cubicBezTo>
                  <a:cubicBezTo>
                    <a:pt x="10105" y="110543"/>
                    <a:pt x="-2791" y="255618"/>
                    <a:pt x="433" y="403917"/>
                  </a:cubicBezTo>
                  <a:cubicBezTo>
                    <a:pt x="3657" y="542544"/>
                    <a:pt x="113269" y="665051"/>
                    <a:pt x="203538" y="771439"/>
                  </a:cubicBezTo>
                  <a:cubicBezTo>
                    <a:pt x="239000" y="819797"/>
                    <a:pt x="313150" y="861708"/>
                    <a:pt x="316374" y="855260"/>
                  </a:cubicBezTo>
                  <a:cubicBezTo>
                    <a:pt x="326045" y="858484"/>
                    <a:pt x="277687" y="764991"/>
                    <a:pt x="268016" y="758544"/>
                  </a:cubicBezTo>
                  <a:close/>
                </a:path>
              </a:pathLst>
            </a:custGeom>
            <a:solidFill>
              <a:srgbClr val="7F95BC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9" name="图形 1">
              <a:extLst>
                <a:ext uri="{FF2B5EF4-FFF2-40B4-BE49-F238E27FC236}">
                  <a16:creationId xmlns:a16="http://schemas.microsoft.com/office/drawing/2014/main" id="{3F748C4D-D572-412A-97BA-0ACD6C56C391}"/>
                </a:ext>
              </a:extLst>
            </p:cNvPr>
            <p:cNvGrpSpPr/>
            <p:nvPr/>
          </p:nvGrpSpPr>
          <p:grpSpPr>
            <a:xfrm>
              <a:off x="16394328" y="10137052"/>
              <a:ext cx="2413379" cy="2139530"/>
              <a:chOff x="16394328" y="10137052"/>
              <a:chExt cx="2413379" cy="2139530"/>
            </a:xfrm>
          </p:grpSpPr>
          <p:grpSp>
            <p:nvGrpSpPr>
              <p:cNvPr id="58" name="图形 1">
                <a:extLst>
                  <a:ext uri="{FF2B5EF4-FFF2-40B4-BE49-F238E27FC236}">
                    <a16:creationId xmlns:a16="http://schemas.microsoft.com/office/drawing/2014/main" id="{BE1BD0B6-7E40-4AA3-9E47-DE20CE517791}"/>
                  </a:ext>
                </a:extLst>
              </p:cNvPr>
              <p:cNvGrpSpPr/>
              <p:nvPr/>
            </p:nvGrpSpPr>
            <p:grpSpPr>
              <a:xfrm>
                <a:off x="17512017" y="10210391"/>
                <a:ext cx="1295690" cy="2066190"/>
                <a:chOff x="17512017" y="10210391"/>
                <a:chExt cx="1295690" cy="2066190"/>
              </a:xfrm>
            </p:grpSpPr>
            <p:sp>
              <p:nvSpPr>
                <p:cNvPr id="67" name="任意多边形: 形状 66">
                  <a:extLst>
                    <a:ext uri="{FF2B5EF4-FFF2-40B4-BE49-F238E27FC236}">
                      <a16:creationId xmlns:a16="http://schemas.microsoft.com/office/drawing/2014/main" id="{0F86C159-EA3A-4C89-BB85-25B69C010800}"/>
                    </a:ext>
                  </a:extLst>
                </p:cNvPr>
                <p:cNvSpPr/>
                <p:nvPr/>
              </p:nvSpPr>
              <p:spPr>
                <a:xfrm>
                  <a:off x="17840300" y="10612037"/>
                  <a:ext cx="623347" cy="1664545"/>
                </a:xfrm>
                <a:custGeom>
                  <a:avLst/>
                  <a:gdLst>
                    <a:gd name="connsiteX0" fmla="*/ 594042 w 623347"/>
                    <a:gd name="connsiteY0" fmla="*/ 6598 h 1664545"/>
                    <a:gd name="connsiteX1" fmla="*/ 200728 w 623347"/>
                    <a:gd name="connsiteY1" fmla="*/ 757762 h 1664545"/>
                    <a:gd name="connsiteX2" fmla="*/ 848 w 623347"/>
                    <a:gd name="connsiteY2" fmla="*/ 1644329 h 1664545"/>
                    <a:gd name="connsiteX3" fmla="*/ 33087 w 623347"/>
                    <a:gd name="connsiteY3" fmla="*/ 1654002 h 1664545"/>
                    <a:gd name="connsiteX4" fmla="*/ 223295 w 623347"/>
                    <a:gd name="connsiteY4" fmla="*/ 793225 h 1664545"/>
                    <a:gd name="connsiteX5" fmla="*/ 619832 w 623347"/>
                    <a:gd name="connsiteY5" fmla="*/ 25942 h 1664545"/>
                    <a:gd name="connsiteX6" fmla="*/ 594042 w 623347"/>
                    <a:gd name="connsiteY6" fmla="*/ 6598 h 1664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3347" h="1664545">
                      <a:moveTo>
                        <a:pt x="594042" y="6598"/>
                      </a:moveTo>
                      <a:cubicBezTo>
                        <a:pt x="426400" y="235494"/>
                        <a:pt x="294221" y="486956"/>
                        <a:pt x="200728" y="757762"/>
                      </a:cubicBezTo>
                      <a:cubicBezTo>
                        <a:pt x="104012" y="1047911"/>
                        <a:pt x="94340" y="1354180"/>
                        <a:pt x="848" y="1644329"/>
                      </a:cubicBezTo>
                      <a:cubicBezTo>
                        <a:pt x="-5600" y="1663673"/>
                        <a:pt x="26639" y="1673345"/>
                        <a:pt x="33087" y="1654002"/>
                      </a:cubicBezTo>
                      <a:cubicBezTo>
                        <a:pt x="123355" y="1373524"/>
                        <a:pt x="133027" y="1073703"/>
                        <a:pt x="223295" y="793225"/>
                      </a:cubicBezTo>
                      <a:cubicBezTo>
                        <a:pt x="313564" y="515971"/>
                        <a:pt x="448967" y="258061"/>
                        <a:pt x="619832" y="25942"/>
                      </a:cubicBezTo>
                      <a:cubicBezTo>
                        <a:pt x="632729" y="6598"/>
                        <a:pt x="606937" y="-9521"/>
                        <a:pt x="594042" y="659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8" name="任意多边形: 形状 67">
                  <a:extLst>
                    <a:ext uri="{FF2B5EF4-FFF2-40B4-BE49-F238E27FC236}">
                      <a16:creationId xmlns:a16="http://schemas.microsoft.com/office/drawing/2014/main" id="{C9129A33-334E-499C-B105-1E295260529D}"/>
                    </a:ext>
                  </a:extLst>
                </p:cNvPr>
                <p:cNvSpPr/>
                <p:nvPr/>
              </p:nvSpPr>
              <p:spPr>
                <a:xfrm>
                  <a:off x="18418222" y="10231152"/>
                  <a:ext cx="361951" cy="418615"/>
                </a:xfrm>
                <a:custGeom>
                  <a:avLst/>
                  <a:gdLst>
                    <a:gd name="connsiteX0" fmla="*/ 348179 w 361951"/>
                    <a:gd name="connsiteY0" fmla="*/ 23185 h 418615"/>
                    <a:gd name="connsiteX1" fmla="*/ 309493 w 361951"/>
                    <a:gd name="connsiteY1" fmla="*/ 618 h 418615"/>
                    <a:gd name="connsiteX2" fmla="*/ 0 w 361951"/>
                    <a:gd name="connsiteY2" fmla="*/ 387483 h 418615"/>
                    <a:gd name="connsiteX3" fmla="*/ 45134 w 361951"/>
                    <a:gd name="connsiteY3" fmla="*/ 416498 h 418615"/>
                    <a:gd name="connsiteX4" fmla="*/ 70926 w 361951"/>
                    <a:gd name="connsiteY4" fmla="*/ 413274 h 418615"/>
                    <a:gd name="connsiteX5" fmla="*/ 312717 w 361951"/>
                    <a:gd name="connsiteY5" fmla="*/ 271424 h 418615"/>
                    <a:gd name="connsiteX6" fmla="*/ 348179 w 361951"/>
                    <a:gd name="connsiteY6" fmla="*/ 23185 h 418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1951" h="418615">
                      <a:moveTo>
                        <a:pt x="348179" y="23185"/>
                      </a:moveTo>
                      <a:cubicBezTo>
                        <a:pt x="341732" y="7066"/>
                        <a:pt x="325612" y="-2606"/>
                        <a:pt x="309493" y="618"/>
                      </a:cubicBezTo>
                      <a:cubicBezTo>
                        <a:pt x="125731" y="45752"/>
                        <a:pt x="3224" y="200499"/>
                        <a:pt x="0" y="387483"/>
                      </a:cubicBezTo>
                      <a:cubicBezTo>
                        <a:pt x="0" y="413274"/>
                        <a:pt x="25791" y="422946"/>
                        <a:pt x="45134" y="416498"/>
                      </a:cubicBezTo>
                      <a:cubicBezTo>
                        <a:pt x="51582" y="419722"/>
                        <a:pt x="61254" y="419722"/>
                        <a:pt x="70926" y="413274"/>
                      </a:cubicBezTo>
                      <a:cubicBezTo>
                        <a:pt x="154746" y="361693"/>
                        <a:pt x="248239" y="355245"/>
                        <a:pt x="312717" y="271424"/>
                      </a:cubicBezTo>
                      <a:cubicBezTo>
                        <a:pt x="364298" y="197275"/>
                        <a:pt x="373970" y="107005"/>
                        <a:pt x="348179" y="23185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9" name="任意多边形: 形状 68">
                  <a:extLst>
                    <a:ext uri="{FF2B5EF4-FFF2-40B4-BE49-F238E27FC236}">
                      <a16:creationId xmlns:a16="http://schemas.microsoft.com/office/drawing/2014/main" id="{AD97C496-9B33-4E6B-B522-4ED05A17FDAE}"/>
                    </a:ext>
                  </a:extLst>
                </p:cNvPr>
                <p:cNvSpPr/>
                <p:nvPr/>
              </p:nvSpPr>
              <p:spPr>
                <a:xfrm>
                  <a:off x="18140273" y="10210391"/>
                  <a:ext cx="667434" cy="640864"/>
                </a:xfrm>
                <a:custGeom>
                  <a:avLst/>
                  <a:gdLst>
                    <a:gd name="connsiteX0" fmla="*/ 664815 w 667434"/>
                    <a:gd name="connsiteY0" fmla="*/ 524304 h 640864"/>
                    <a:gd name="connsiteX1" fmla="*/ 471382 w 667434"/>
                    <a:gd name="connsiteY1" fmla="*/ 482393 h 640864"/>
                    <a:gd name="connsiteX2" fmla="*/ 236039 w 667434"/>
                    <a:gd name="connsiteY2" fmla="*/ 530751 h 640864"/>
                    <a:gd name="connsiteX3" fmla="*/ 78068 w 667434"/>
                    <a:gd name="connsiteY3" fmla="*/ 14930 h 640864"/>
                    <a:gd name="connsiteX4" fmla="*/ 20039 w 667434"/>
                    <a:gd name="connsiteY4" fmla="*/ 21378 h 640864"/>
                    <a:gd name="connsiteX5" fmla="*/ 152218 w 667434"/>
                    <a:gd name="connsiteY5" fmla="*/ 569438 h 640864"/>
                    <a:gd name="connsiteX6" fmla="*/ 165114 w 667434"/>
                    <a:gd name="connsiteY6" fmla="*/ 621020 h 640864"/>
                    <a:gd name="connsiteX7" fmla="*/ 664815 w 667434"/>
                    <a:gd name="connsiteY7" fmla="*/ 524304 h 640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67434" h="640864">
                      <a:moveTo>
                        <a:pt x="664815" y="524304"/>
                      </a:moveTo>
                      <a:cubicBezTo>
                        <a:pt x="648696" y="456602"/>
                        <a:pt x="516516" y="479170"/>
                        <a:pt x="471382" y="482393"/>
                      </a:cubicBezTo>
                      <a:cubicBezTo>
                        <a:pt x="387561" y="485617"/>
                        <a:pt x="310188" y="501736"/>
                        <a:pt x="236039" y="530751"/>
                      </a:cubicBezTo>
                      <a:cubicBezTo>
                        <a:pt x="219920" y="346990"/>
                        <a:pt x="194128" y="166453"/>
                        <a:pt x="78068" y="14930"/>
                      </a:cubicBezTo>
                      <a:cubicBezTo>
                        <a:pt x="61949" y="-4412"/>
                        <a:pt x="26487" y="-7636"/>
                        <a:pt x="20039" y="21378"/>
                      </a:cubicBezTo>
                      <a:cubicBezTo>
                        <a:pt x="-25095" y="237379"/>
                        <a:pt x="695" y="408244"/>
                        <a:pt x="152218" y="569438"/>
                      </a:cubicBezTo>
                      <a:cubicBezTo>
                        <a:pt x="139323" y="585557"/>
                        <a:pt x="139323" y="614572"/>
                        <a:pt x="165114" y="621020"/>
                      </a:cubicBezTo>
                      <a:cubicBezTo>
                        <a:pt x="232815" y="640364"/>
                        <a:pt x="706725" y="682274"/>
                        <a:pt x="664815" y="524304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: 形状 69">
                  <a:extLst>
                    <a:ext uri="{FF2B5EF4-FFF2-40B4-BE49-F238E27FC236}">
                      <a16:creationId xmlns:a16="http://schemas.microsoft.com/office/drawing/2014/main" id="{461EFA57-035C-4881-822A-290F17A3F0FA}"/>
                    </a:ext>
                  </a:extLst>
                </p:cNvPr>
                <p:cNvSpPr/>
                <p:nvPr/>
              </p:nvSpPr>
              <p:spPr>
                <a:xfrm>
                  <a:off x="17966072" y="10547143"/>
                  <a:ext cx="649185" cy="535871"/>
                </a:xfrm>
                <a:custGeom>
                  <a:avLst/>
                  <a:gdLst>
                    <a:gd name="connsiteX0" fmla="*/ 510179 w 649185"/>
                    <a:gd name="connsiteY0" fmla="*/ 371313 h 535871"/>
                    <a:gd name="connsiteX1" fmla="*/ 294179 w 649185"/>
                    <a:gd name="connsiteY1" fmla="*/ 393880 h 535871"/>
                    <a:gd name="connsiteX2" fmla="*/ 200687 w 649185"/>
                    <a:gd name="connsiteY2" fmla="*/ 139194 h 535871"/>
                    <a:gd name="connsiteX3" fmla="*/ 42716 w 649185"/>
                    <a:gd name="connsiteY3" fmla="*/ 7015 h 535871"/>
                    <a:gd name="connsiteX4" fmla="*/ 20150 w 649185"/>
                    <a:gd name="connsiteY4" fmla="*/ 229462 h 535871"/>
                    <a:gd name="connsiteX5" fmla="*/ 207134 w 649185"/>
                    <a:gd name="connsiteY5" fmla="*/ 471253 h 535871"/>
                    <a:gd name="connsiteX6" fmla="*/ 223254 w 649185"/>
                    <a:gd name="connsiteY6" fmla="*/ 519611 h 535871"/>
                    <a:gd name="connsiteX7" fmla="*/ 535971 w 649185"/>
                    <a:gd name="connsiteY7" fmla="*/ 519611 h 535871"/>
                    <a:gd name="connsiteX8" fmla="*/ 648806 w 649185"/>
                    <a:gd name="connsiteY8" fmla="*/ 445463 h 535871"/>
                    <a:gd name="connsiteX9" fmla="*/ 510179 w 649185"/>
                    <a:gd name="connsiteY9" fmla="*/ 371313 h 535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49185" h="535871">
                      <a:moveTo>
                        <a:pt x="510179" y="371313"/>
                      </a:moveTo>
                      <a:cubicBezTo>
                        <a:pt x="436030" y="361642"/>
                        <a:pt x="361881" y="361642"/>
                        <a:pt x="294179" y="393880"/>
                      </a:cubicBezTo>
                      <a:cubicBezTo>
                        <a:pt x="284507" y="303612"/>
                        <a:pt x="252268" y="216567"/>
                        <a:pt x="200687" y="139194"/>
                      </a:cubicBezTo>
                      <a:cubicBezTo>
                        <a:pt x="174896" y="100507"/>
                        <a:pt x="103971" y="-31672"/>
                        <a:pt x="42716" y="7015"/>
                      </a:cubicBezTo>
                      <a:cubicBezTo>
                        <a:pt x="-21761" y="42478"/>
                        <a:pt x="806" y="177880"/>
                        <a:pt x="20150" y="229462"/>
                      </a:cubicBezTo>
                      <a:cubicBezTo>
                        <a:pt x="52388" y="329403"/>
                        <a:pt x="126537" y="406776"/>
                        <a:pt x="207134" y="471253"/>
                      </a:cubicBezTo>
                      <a:cubicBezTo>
                        <a:pt x="197463" y="487373"/>
                        <a:pt x="200687" y="513164"/>
                        <a:pt x="223254" y="519611"/>
                      </a:cubicBezTo>
                      <a:cubicBezTo>
                        <a:pt x="323194" y="548626"/>
                        <a:pt x="436030" y="532507"/>
                        <a:pt x="535971" y="519611"/>
                      </a:cubicBezTo>
                      <a:cubicBezTo>
                        <a:pt x="577881" y="513164"/>
                        <a:pt x="655254" y="506716"/>
                        <a:pt x="648806" y="445463"/>
                      </a:cubicBezTo>
                      <a:cubicBezTo>
                        <a:pt x="642358" y="384209"/>
                        <a:pt x="558537" y="374537"/>
                        <a:pt x="510179" y="371313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任意多边形: 形状 70">
                  <a:extLst>
                    <a:ext uri="{FF2B5EF4-FFF2-40B4-BE49-F238E27FC236}">
                      <a16:creationId xmlns:a16="http://schemas.microsoft.com/office/drawing/2014/main" id="{86E499C6-86F3-443B-A03A-009E853E1E90}"/>
                    </a:ext>
                  </a:extLst>
                </p:cNvPr>
                <p:cNvSpPr/>
                <p:nvPr/>
              </p:nvSpPr>
              <p:spPr>
                <a:xfrm>
                  <a:off x="17852790" y="10849933"/>
                  <a:ext cx="730200" cy="487548"/>
                </a:xfrm>
                <a:custGeom>
                  <a:avLst/>
                  <a:gdLst>
                    <a:gd name="connsiteX0" fmla="*/ 729850 w 730200"/>
                    <a:gd name="connsiteY0" fmla="*/ 326433 h 487548"/>
                    <a:gd name="connsiteX1" fmla="*/ 542864 w 730200"/>
                    <a:gd name="connsiteY1" fmla="*/ 281299 h 487548"/>
                    <a:gd name="connsiteX2" fmla="*/ 297850 w 730200"/>
                    <a:gd name="connsiteY2" fmla="*/ 361896 h 487548"/>
                    <a:gd name="connsiteX3" fmla="*/ 233372 w 730200"/>
                    <a:gd name="connsiteY3" fmla="*/ 165239 h 487548"/>
                    <a:gd name="connsiteX4" fmla="*/ 49611 w 730200"/>
                    <a:gd name="connsiteY4" fmla="*/ 822 h 487548"/>
                    <a:gd name="connsiteX5" fmla="*/ 14148 w 730200"/>
                    <a:gd name="connsiteY5" fmla="*/ 16941 h 487548"/>
                    <a:gd name="connsiteX6" fmla="*/ 39939 w 730200"/>
                    <a:gd name="connsiteY6" fmla="*/ 249060 h 487548"/>
                    <a:gd name="connsiteX7" fmla="*/ 207581 w 730200"/>
                    <a:gd name="connsiteY7" fmla="*/ 442493 h 487548"/>
                    <a:gd name="connsiteX8" fmla="*/ 236595 w 730200"/>
                    <a:gd name="connsiteY8" fmla="*/ 477956 h 487548"/>
                    <a:gd name="connsiteX9" fmla="*/ 591222 w 730200"/>
                    <a:gd name="connsiteY9" fmla="*/ 471507 h 487548"/>
                    <a:gd name="connsiteX10" fmla="*/ 729850 w 730200"/>
                    <a:gd name="connsiteY10" fmla="*/ 326433 h 487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30200" h="487548">
                      <a:moveTo>
                        <a:pt x="729850" y="326433"/>
                      </a:moveTo>
                      <a:cubicBezTo>
                        <a:pt x="720178" y="236165"/>
                        <a:pt x="604119" y="271627"/>
                        <a:pt x="542864" y="281299"/>
                      </a:cubicBezTo>
                      <a:cubicBezTo>
                        <a:pt x="459044" y="297418"/>
                        <a:pt x="368775" y="316762"/>
                        <a:pt x="297850" y="361896"/>
                      </a:cubicBezTo>
                      <a:cubicBezTo>
                        <a:pt x="301073" y="290971"/>
                        <a:pt x="278506" y="226493"/>
                        <a:pt x="233372" y="165239"/>
                      </a:cubicBezTo>
                      <a:cubicBezTo>
                        <a:pt x="191461" y="107209"/>
                        <a:pt x="117312" y="26612"/>
                        <a:pt x="49611" y="822"/>
                      </a:cubicBezTo>
                      <a:cubicBezTo>
                        <a:pt x="36715" y="-2402"/>
                        <a:pt x="20596" y="4045"/>
                        <a:pt x="14148" y="16941"/>
                      </a:cubicBezTo>
                      <a:cubicBezTo>
                        <a:pt x="-18091" y="81419"/>
                        <a:pt x="10924" y="187806"/>
                        <a:pt x="39939" y="249060"/>
                      </a:cubicBezTo>
                      <a:cubicBezTo>
                        <a:pt x="75401" y="329657"/>
                        <a:pt x="133432" y="394135"/>
                        <a:pt x="207581" y="442493"/>
                      </a:cubicBezTo>
                      <a:cubicBezTo>
                        <a:pt x="204357" y="461836"/>
                        <a:pt x="214029" y="481180"/>
                        <a:pt x="236595" y="477956"/>
                      </a:cubicBezTo>
                      <a:cubicBezTo>
                        <a:pt x="355879" y="465060"/>
                        <a:pt x="471939" y="510194"/>
                        <a:pt x="591222" y="471507"/>
                      </a:cubicBezTo>
                      <a:cubicBezTo>
                        <a:pt x="652477" y="452165"/>
                        <a:pt x="736297" y="403807"/>
                        <a:pt x="729850" y="326433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: 形状 71">
                  <a:extLst>
                    <a:ext uri="{FF2B5EF4-FFF2-40B4-BE49-F238E27FC236}">
                      <a16:creationId xmlns:a16="http://schemas.microsoft.com/office/drawing/2014/main" id="{46B2A4F0-74C4-4ADD-8335-1611E83C46E9}"/>
                    </a:ext>
                  </a:extLst>
                </p:cNvPr>
                <p:cNvSpPr/>
                <p:nvPr/>
              </p:nvSpPr>
              <p:spPr>
                <a:xfrm>
                  <a:off x="17671664" y="11317380"/>
                  <a:ext cx="684489" cy="398752"/>
                </a:xfrm>
                <a:custGeom>
                  <a:avLst/>
                  <a:gdLst>
                    <a:gd name="connsiteX0" fmla="*/ 566020 w 684489"/>
                    <a:gd name="connsiteY0" fmla="*/ 178151 h 398752"/>
                    <a:gd name="connsiteX1" fmla="*/ 330678 w 684489"/>
                    <a:gd name="connsiteY1" fmla="*/ 249076 h 398752"/>
                    <a:gd name="connsiteX2" fmla="*/ 188827 w 684489"/>
                    <a:gd name="connsiteY2" fmla="*/ 55643 h 398752"/>
                    <a:gd name="connsiteX3" fmla="*/ 17961 w 684489"/>
                    <a:gd name="connsiteY3" fmla="*/ 29852 h 398752"/>
                    <a:gd name="connsiteX4" fmla="*/ 59872 w 684489"/>
                    <a:gd name="connsiteY4" fmla="*/ 203942 h 398752"/>
                    <a:gd name="connsiteX5" fmla="*/ 285543 w 684489"/>
                    <a:gd name="connsiteY5" fmla="*/ 313553 h 398752"/>
                    <a:gd name="connsiteX6" fmla="*/ 285543 w 684489"/>
                    <a:gd name="connsiteY6" fmla="*/ 313553 h 398752"/>
                    <a:gd name="connsiteX7" fmla="*/ 301663 w 684489"/>
                    <a:gd name="connsiteY7" fmla="*/ 329673 h 398752"/>
                    <a:gd name="connsiteX8" fmla="*/ 311334 w 684489"/>
                    <a:gd name="connsiteY8" fmla="*/ 339345 h 398752"/>
                    <a:gd name="connsiteX9" fmla="*/ 546677 w 684489"/>
                    <a:gd name="connsiteY9" fmla="*/ 390926 h 398752"/>
                    <a:gd name="connsiteX10" fmla="*/ 682080 w 684489"/>
                    <a:gd name="connsiteY10" fmla="*/ 249076 h 398752"/>
                    <a:gd name="connsiteX11" fmla="*/ 566020 w 684489"/>
                    <a:gd name="connsiteY11" fmla="*/ 178151 h 3987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684489" h="398752">
                      <a:moveTo>
                        <a:pt x="566020" y="178151"/>
                      </a:moveTo>
                      <a:cubicBezTo>
                        <a:pt x="488648" y="187822"/>
                        <a:pt x="391931" y="194270"/>
                        <a:pt x="330678" y="249076"/>
                      </a:cubicBezTo>
                      <a:cubicBezTo>
                        <a:pt x="295215" y="174927"/>
                        <a:pt x="253305" y="107225"/>
                        <a:pt x="188827" y="55643"/>
                      </a:cubicBezTo>
                      <a:cubicBezTo>
                        <a:pt x="143692" y="20180"/>
                        <a:pt x="63095" y="-34625"/>
                        <a:pt x="17961" y="29852"/>
                      </a:cubicBezTo>
                      <a:cubicBezTo>
                        <a:pt x="-23949" y="87882"/>
                        <a:pt x="14737" y="165255"/>
                        <a:pt x="59872" y="203942"/>
                      </a:cubicBezTo>
                      <a:cubicBezTo>
                        <a:pt x="121125" y="255524"/>
                        <a:pt x="204946" y="287763"/>
                        <a:pt x="285543" y="313553"/>
                      </a:cubicBezTo>
                      <a:lnTo>
                        <a:pt x="285543" y="313553"/>
                      </a:lnTo>
                      <a:cubicBezTo>
                        <a:pt x="288767" y="323226"/>
                        <a:pt x="295215" y="326449"/>
                        <a:pt x="301663" y="329673"/>
                      </a:cubicBezTo>
                      <a:cubicBezTo>
                        <a:pt x="304886" y="332897"/>
                        <a:pt x="308110" y="336121"/>
                        <a:pt x="311334" y="339345"/>
                      </a:cubicBezTo>
                      <a:cubicBezTo>
                        <a:pt x="379036" y="384479"/>
                        <a:pt x="462857" y="413494"/>
                        <a:pt x="546677" y="390926"/>
                      </a:cubicBezTo>
                      <a:cubicBezTo>
                        <a:pt x="611155" y="371584"/>
                        <a:pt x="672409" y="316777"/>
                        <a:pt x="682080" y="249076"/>
                      </a:cubicBezTo>
                      <a:cubicBezTo>
                        <a:pt x="698200" y="158807"/>
                        <a:pt x="630498" y="168479"/>
                        <a:pt x="566020" y="178151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3" name="任意多边形: 形状 72">
                  <a:extLst>
                    <a:ext uri="{FF2B5EF4-FFF2-40B4-BE49-F238E27FC236}">
                      <a16:creationId xmlns:a16="http://schemas.microsoft.com/office/drawing/2014/main" id="{A0C5C388-2892-43E2-AD20-A289B18B65F8}"/>
                    </a:ext>
                  </a:extLst>
                </p:cNvPr>
                <p:cNvSpPr/>
                <p:nvPr/>
              </p:nvSpPr>
              <p:spPr>
                <a:xfrm>
                  <a:off x="17512017" y="11723678"/>
                  <a:ext cx="868687" cy="322931"/>
                </a:xfrm>
                <a:custGeom>
                  <a:avLst/>
                  <a:gdLst>
                    <a:gd name="connsiteX0" fmla="*/ 867518 w 868687"/>
                    <a:gd name="connsiteY0" fmla="*/ 155495 h 322931"/>
                    <a:gd name="connsiteX1" fmla="*/ 686982 w 868687"/>
                    <a:gd name="connsiteY1" fmla="*/ 120032 h 322931"/>
                    <a:gd name="connsiteX2" fmla="*/ 432295 w 868687"/>
                    <a:gd name="connsiteY2" fmla="*/ 203853 h 322931"/>
                    <a:gd name="connsiteX3" fmla="*/ 16414 w 868687"/>
                    <a:gd name="connsiteY3" fmla="*/ 62003 h 322931"/>
                    <a:gd name="connsiteX4" fmla="*/ 432295 w 868687"/>
                    <a:gd name="connsiteY4" fmla="*/ 297346 h 322931"/>
                    <a:gd name="connsiteX5" fmla="*/ 441967 w 868687"/>
                    <a:gd name="connsiteY5" fmla="*/ 294121 h 322931"/>
                    <a:gd name="connsiteX6" fmla="*/ 722444 w 868687"/>
                    <a:gd name="connsiteY6" fmla="*/ 307017 h 322931"/>
                    <a:gd name="connsiteX7" fmla="*/ 867518 w 868687"/>
                    <a:gd name="connsiteY7" fmla="*/ 155495 h 322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68687" h="322931">
                      <a:moveTo>
                        <a:pt x="867518" y="155495"/>
                      </a:moveTo>
                      <a:cubicBezTo>
                        <a:pt x="854623" y="81345"/>
                        <a:pt x="735340" y="116808"/>
                        <a:pt x="686982" y="120032"/>
                      </a:cubicBezTo>
                      <a:cubicBezTo>
                        <a:pt x="593489" y="126480"/>
                        <a:pt x="506444" y="142600"/>
                        <a:pt x="432295" y="203853"/>
                      </a:cubicBezTo>
                      <a:cubicBezTo>
                        <a:pt x="361370" y="100689"/>
                        <a:pt x="97011" y="-102415"/>
                        <a:pt x="16414" y="62003"/>
                      </a:cubicBezTo>
                      <a:cubicBezTo>
                        <a:pt x="-86749" y="274778"/>
                        <a:pt x="325907" y="294121"/>
                        <a:pt x="432295" y="297346"/>
                      </a:cubicBezTo>
                      <a:cubicBezTo>
                        <a:pt x="435519" y="297346"/>
                        <a:pt x="438743" y="297346"/>
                        <a:pt x="441967" y="294121"/>
                      </a:cubicBezTo>
                      <a:cubicBezTo>
                        <a:pt x="532235" y="326360"/>
                        <a:pt x="628952" y="332808"/>
                        <a:pt x="722444" y="307017"/>
                      </a:cubicBezTo>
                      <a:cubicBezTo>
                        <a:pt x="783698" y="287674"/>
                        <a:pt x="880415" y="236092"/>
                        <a:pt x="867518" y="155495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59" name="图形 1">
                <a:extLst>
                  <a:ext uri="{FF2B5EF4-FFF2-40B4-BE49-F238E27FC236}">
                    <a16:creationId xmlns:a16="http://schemas.microsoft.com/office/drawing/2014/main" id="{060A35AE-2CB5-49AC-9D5B-13917CAD1FD3}"/>
                  </a:ext>
                </a:extLst>
              </p:cNvPr>
              <p:cNvGrpSpPr/>
              <p:nvPr/>
            </p:nvGrpSpPr>
            <p:grpSpPr>
              <a:xfrm>
                <a:off x="16394328" y="10137052"/>
                <a:ext cx="1374320" cy="2116962"/>
                <a:chOff x="16394328" y="10137052"/>
                <a:chExt cx="1374320" cy="2116962"/>
              </a:xfrm>
            </p:grpSpPr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8EB73BB0-E28B-40FE-BD74-CFEDAA4C6B46}"/>
                    </a:ext>
                  </a:extLst>
                </p:cNvPr>
                <p:cNvSpPr/>
                <p:nvPr/>
              </p:nvSpPr>
              <p:spPr>
                <a:xfrm>
                  <a:off x="16784816" y="10611958"/>
                  <a:ext cx="860522" cy="1642056"/>
                </a:xfrm>
                <a:custGeom>
                  <a:avLst/>
                  <a:gdLst>
                    <a:gd name="connsiteX0" fmla="*/ 859674 w 860522"/>
                    <a:gd name="connsiteY0" fmla="*/ 1621841 h 1642056"/>
                    <a:gd name="connsiteX1" fmla="*/ 598540 w 860522"/>
                    <a:gd name="connsiteY1" fmla="*/ 715931 h 1642056"/>
                    <a:gd name="connsiteX2" fmla="*/ 31137 w 860522"/>
                    <a:gd name="connsiteY2" fmla="*/ 6677 h 1642056"/>
                    <a:gd name="connsiteX3" fmla="*/ 2122 w 860522"/>
                    <a:gd name="connsiteY3" fmla="*/ 22796 h 1642056"/>
                    <a:gd name="connsiteX4" fmla="*/ 556630 w 860522"/>
                    <a:gd name="connsiteY4" fmla="*/ 706259 h 1642056"/>
                    <a:gd name="connsiteX5" fmla="*/ 827436 w 860522"/>
                    <a:gd name="connsiteY5" fmla="*/ 1631513 h 1642056"/>
                    <a:gd name="connsiteX6" fmla="*/ 859674 w 860522"/>
                    <a:gd name="connsiteY6" fmla="*/ 1621841 h 164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60522" h="1642056">
                      <a:moveTo>
                        <a:pt x="859674" y="1621841"/>
                      </a:moveTo>
                      <a:cubicBezTo>
                        <a:pt x="785526" y="1318797"/>
                        <a:pt x="733943" y="996409"/>
                        <a:pt x="598540" y="715931"/>
                      </a:cubicBezTo>
                      <a:cubicBezTo>
                        <a:pt x="463138" y="438677"/>
                        <a:pt x="208450" y="254916"/>
                        <a:pt x="31137" y="6677"/>
                      </a:cubicBezTo>
                      <a:cubicBezTo>
                        <a:pt x="18241" y="-9443"/>
                        <a:pt x="-7549" y="6677"/>
                        <a:pt x="2122" y="22796"/>
                      </a:cubicBezTo>
                      <a:cubicBezTo>
                        <a:pt x="176211" y="261363"/>
                        <a:pt x="421226" y="441901"/>
                        <a:pt x="556630" y="706259"/>
                      </a:cubicBezTo>
                      <a:cubicBezTo>
                        <a:pt x="701704" y="989960"/>
                        <a:pt x="753287" y="1325244"/>
                        <a:pt x="827436" y="1631513"/>
                      </a:cubicBezTo>
                      <a:cubicBezTo>
                        <a:pt x="833884" y="1650856"/>
                        <a:pt x="866123" y="1641185"/>
                        <a:pt x="859674" y="1621841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3EFB3B3F-DCB7-4D09-B6BD-270B985073C2}"/>
                    </a:ext>
                  </a:extLst>
                </p:cNvPr>
                <p:cNvSpPr/>
                <p:nvPr/>
              </p:nvSpPr>
              <p:spPr>
                <a:xfrm>
                  <a:off x="16394328" y="10137052"/>
                  <a:ext cx="457589" cy="562885"/>
                </a:xfrm>
                <a:custGeom>
                  <a:avLst/>
                  <a:gdLst>
                    <a:gd name="connsiteX0" fmla="*/ 457088 w 457589"/>
                    <a:gd name="connsiteY0" fmla="*/ 517046 h 562885"/>
                    <a:gd name="connsiteX1" fmla="*/ 286223 w 457589"/>
                    <a:gd name="connsiteY1" fmla="*/ 159195 h 562885"/>
                    <a:gd name="connsiteX2" fmla="*/ 34759 w 457589"/>
                    <a:gd name="connsiteY2" fmla="*/ 14121 h 562885"/>
                    <a:gd name="connsiteX3" fmla="*/ 92790 w 457589"/>
                    <a:gd name="connsiteY3" fmla="*/ 288151 h 562885"/>
                    <a:gd name="connsiteX4" fmla="*/ 392610 w 457589"/>
                    <a:gd name="connsiteY4" fmla="*/ 558956 h 562885"/>
                    <a:gd name="connsiteX5" fmla="*/ 434521 w 457589"/>
                    <a:gd name="connsiteY5" fmla="*/ 546061 h 562885"/>
                    <a:gd name="connsiteX6" fmla="*/ 457088 w 457589"/>
                    <a:gd name="connsiteY6" fmla="*/ 517046 h 5628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7589" h="562885">
                      <a:moveTo>
                        <a:pt x="457088" y="517046"/>
                      </a:moveTo>
                      <a:cubicBezTo>
                        <a:pt x="440969" y="378419"/>
                        <a:pt x="376491" y="262360"/>
                        <a:pt x="286223" y="159195"/>
                      </a:cubicBezTo>
                      <a:cubicBezTo>
                        <a:pt x="241089" y="107613"/>
                        <a:pt x="121805" y="-47133"/>
                        <a:pt x="34759" y="14121"/>
                      </a:cubicBezTo>
                      <a:cubicBezTo>
                        <a:pt x="-55509" y="75374"/>
                        <a:pt x="54103" y="233344"/>
                        <a:pt x="92790" y="288151"/>
                      </a:cubicBezTo>
                      <a:cubicBezTo>
                        <a:pt x="176611" y="407434"/>
                        <a:pt x="260431" y="494479"/>
                        <a:pt x="392610" y="558956"/>
                      </a:cubicBezTo>
                      <a:cubicBezTo>
                        <a:pt x="408730" y="568629"/>
                        <a:pt x="428073" y="558956"/>
                        <a:pt x="434521" y="546061"/>
                      </a:cubicBezTo>
                      <a:cubicBezTo>
                        <a:pt x="447417" y="542837"/>
                        <a:pt x="460312" y="533166"/>
                        <a:pt x="457088" y="517046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F5C37058-FA5A-41A0-94A6-A0D71CCD80D3}"/>
                    </a:ext>
                  </a:extLst>
                </p:cNvPr>
                <p:cNvSpPr/>
                <p:nvPr/>
              </p:nvSpPr>
              <p:spPr>
                <a:xfrm>
                  <a:off x="16460202" y="10261601"/>
                  <a:ext cx="737030" cy="731151"/>
                </a:xfrm>
                <a:custGeom>
                  <a:avLst/>
                  <a:gdLst>
                    <a:gd name="connsiteX0" fmla="*/ 694258 w 737030"/>
                    <a:gd name="connsiteY0" fmla="*/ 5631 h 731151"/>
                    <a:gd name="connsiteX1" fmla="*/ 497602 w 737030"/>
                    <a:gd name="connsiteY1" fmla="*/ 157153 h 731151"/>
                    <a:gd name="connsiteX2" fmla="*/ 478259 w 737030"/>
                    <a:gd name="connsiteY2" fmla="*/ 547243 h 731151"/>
                    <a:gd name="connsiteX3" fmla="*/ 481483 w 737030"/>
                    <a:gd name="connsiteY3" fmla="*/ 550467 h 731151"/>
                    <a:gd name="connsiteX4" fmla="*/ 4348 w 737030"/>
                    <a:gd name="connsiteY4" fmla="*/ 585930 h 731151"/>
                    <a:gd name="connsiteX5" fmla="*/ 252587 w 737030"/>
                    <a:gd name="connsiteY5" fmla="*/ 727780 h 731151"/>
                    <a:gd name="connsiteX6" fmla="*/ 513721 w 737030"/>
                    <a:gd name="connsiteY6" fmla="*/ 621393 h 731151"/>
                    <a:gd name="connsiteX7" fmla="*/ 526617 w 737030"/>
                    <a:gd name="connsiteY7" fmla="*/ 608496 h 731151"/>
                    <a:gd name="connsiteX8" fmla="*/ 526617 w 737030"/>
                    <a:gd name="connsiteY8" fmla="*/ 608496 h 731151"/>
                    <a:gd name="connsiteX9" fmla="*/ 726497 w 737030"/>
                    <a:gd name="connsiteY9" fmla="*/ 257094 h 731151"/>
                    <a:gd name="connsiteX10" fmla="*/ 694258 w 737030"/>
                    <a:gd name="connsiteY10" fmla="*/ 5631 h 731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37030" h="731151">
                      <a:moveTo>
                        <a:pt x="694258" y="5631"/>
                      </a:moveTo>
                      <a:cubicBezTo>
                        <a:pt x="623333" y="-29832"/>
                        <a:pt x="526617" y="112019"/>
                        <a:pt x="497602" y="157153"/>
                      </a:cubicBezTo>
                      <a:cubicBezTo>
                        <a:pt x="426676" y="276437"/>
                        <a:pt x="426676" y="421512"/>
                        <a:pt x="478259" y="547243"/>
                      </a:cubicBezTo>
                      <a:cubicBezTo>
                        <a:pt x="478259" y="547243"/>
                        <a:pt x="478259" y="547243"/>
                        <a:pt x="481483" y="550467"/>
                      </a:cubicBezTo>
                      <a:cubicBezTo>
                        <a:pt x="375094" y="508557"/>
                        <a:pt x="-47235" y="418288"/>
                        <a:pt x="4348" y="585930"/>
                      </a:cubicBezTo>
                      <a:cubicBezTo>
                        <a:pt x="30139" y="669751"/>
                        <a:pt x="178437" y="714885"/>
                        <a:pt x="252587" y="727780"/>
                      </a:cubicBezTo>
                      <a:cubicBezTo>
                        <a:pt x="368647" y="747124"/>
                        <a:pt x="426676" y="679422"/>
                        <a:pt x="513721" y="621393"/>
                      </a:cubicBezTo>
                      <a:cubicBezTo>
                        <a:pt x="520169" y="618169"/>
                        <a:pt x="523393" y="611720"/>
                        <a:pt x="526617" y="608496"/>
                      </a:cubicBezTo>
                      <a:cubicBezTo>
                        <a:pt x="526617" y="608496"/>
                        <a:pt x="526617" y="608496"/>
                        <a:pt x="526617" y="608496"/>
                      </a:cubicBezTo>
                      <a:cubicBezTo>
                        <a:pt x="633004" y="518228"/>
                        <a:pt x="703930" y="395721"/>
                        <a:pt x="726497" y="257094"/>
                      </a:cubicBezTo>
                      <a:cubicBezTo>
                        <a:pt x="732945" y="208735"/>
                        <a:pt x="758736" y="34646"/>
                        <a:pt x="694258" y="5631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6DD12E99-B6F1-4620-AAE5-2B83F4A44965}"/>
                    </a:ext>
                  </a:extLst>
                </p:cNvPr>
                <p:cNvSpPr/>
                <p:nvPr/>
              </p:nvSpPr>
              <p:spPr>
                <a:xfrm>
                  <a:off x="16724776" y="10521026"/>
                  <a:ext cx="703685" cy="763160"/>
                </a:xfrm>
                <a:custGeom>
                  <a:avLst/>
                  <a:gdLst>
                    <a:gd name="connsiteX0" fmla="*/ 671475 w 703685"/>
                    <a:gd name="connsiteY0" fmla="*/ 4117 h 763160"/>
                    <a:gd name="connsiteX1" fmla="*/ 494161 w 703685"/>
                    <a:gd name="connsiteY1" fmla="*/ 155639 h 763160"/>
                    <a:gd name="connsiteX2" fmla="*/ 420013 w 703685"/>
                    <a:gd name="connsiteY2" fmla="*/ 471580 h 763160"/>
                    <a:gd name="connsiteX3" fmla="*/ 403893 w 703685"/>
                    <a:gd name="connsiteY3" fmla="*/ 481251 h 763160"/>
                    <a:gd name="connsiteX4" fmla="*/ 87953 w 703685"/>
                    <a:gd name="connsiteY4" fmla="*/ 584415 h 763160"/>
                    <a:gd name="connsiteX5" fmla="*/ 20252 w 703685"/>
                    <a:gd name="connsiteY5" fmla="*/ 739161 h 763160"/>
                    <a:gd name="connsiteX6" fmla="*/ 249147 w 703685"/>
                    <a:gd name="connsiteY6" fmla="*/ 726266 h 763160"/>
                    <a:gd name="connsiteX7" fmla="*/ 452251 w 703685"/>
                    <a:gd name="connsiteY7" fmla="*/ 529609 h 763160"/>
                    <a:gd name="connsiteX8" fmla="*/ 455475 w 703685"/>
                    <a:gd name="connsiteY8" fmla="*/ 526385 h 763160"/>
                    <a:gd name="connsiteX9" fmla="*/ 487714 w 703685"/>
                    <a:gd name="connsiteY9" fmla="*/ 503818 h 763160"/>
                    <a:gd name="connsiteX10" fmla="*/ 668252 w 703685"/>
                    <a:gd name="connsiteY10" fmla="*/ 226564 h 763160"/>
                    <a:gd name="connsiteX11" fmla="*/ 671475 w 703685"/>
                    <a:gd name="connsiteY11" fmla="*/ 4117 h 763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703685" h="763160">
                      <a:moveTo>
                        <a:pt x="671475" y="4117"/>
                      </a:moveTo>
                      <a:cubicBezTo>
                        <a:pt x="597326" y="-24898"/>
                        <a:pt x="519953" y="107281"/>
                        <a:pt x="494161" y="155639"/>
                      </a:cubicBezTo>
                      <a:cubicBezTo>
                        <a:pt x="439356" y="252355"/>
                        <a:pt x="416789" y="358744"/>
                        <a:pt x="420013" y="471580"/>
                      </a:cubicBezTo>
                      <a:cubicBezTo>
                        <a:pt x="413564" y="471580"/>
                        <a:pt x="410341" y="478027"/>
                        <a:pt x="403893" y="481251"/>
                      </a:cubicBezTo>
                      <a:cubicBezTo>
                        <a:pt x="294281" y="494146"/>
                        <a:pt x="181446" y="526385"/>
                        <a:pt x="87953" y="584415"/>
                      </a:cubicBezTo>
                      <a:cubicBezTo>
                        <a:pt x="42818" y="613430"/>
                        <a:pt x="-37779" y="684356"/>
                        <a:pt x="20252" y="739161"/>
                      </a:cubicBezTo>
                      <a:cubicBezTo>
                        <a:pt x="75057" y="787520"/>
                        <a:pt x="191117" y="752057"/>
                        <a:pt x="249147" y="726266"/>
                      </a:cubicBezTo>
                      <a:cubicBezTo>
                        <a:pt x="339416" y="687579"/>
                        <a:pt x="410341" y="616654"/>
                        <a:pt x="452251" y="529609"/>
                      </a:cubicBezTo>
                      <a:cubicBezTo>
                        <a:pt x="452251" y="529609"/>
                        <a:pt x="455475" y="526385"/>
                        <a:pt x="455475" y="526385"/>
                      </a:cubicBezTo>
                      <a:cubicBezTo>
                        <a:pt x="468371" y="526385"/>
                        <a:pt x="484490" y="519938"/>
                        <a:pt x="487714" y="503818"/>
                      </a:cubicBezTo>
                      <a:cubicBezTo>
                        <a:pt x="568311" y="426445"/>
                        <a:pt x="632789" y="332952"/>
                        <a:pt x="668252" y="226564"/>
                      </a:cubicBezTo>
                      <a:cubicBezTo>
                        <a:pt x="681147" y="184654"/>
                        <a:pt x="739177" y="33132"/>
                        <a:pt x="671475" y="4117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F17B03A8-30DC-4C1E-9B60-6B6BC78C8076}"/>
                    </a:ext>
                  </a:extLst>
                </p:cNvPr>
                <p:cNvSpPr/>
                <p:nvPr/>
              </p:nvSpPr>
              <p:spPr>
                <a:xfrm>
                  <a:off x="16839884" y="10724522"/>
                  <a:ext cx="861070" cy="842055"/>
                </a:xfrm>
                <a:custGeom>
                  <a:avLst/>
                  <a:gdLst>
                    <a:gd name="connsiteX0" fmla="*/ 852965 w 861070"/>
                    <a:gd name="connsiteY0" fmla="*/ 23068 h 842055"/>
                    <a:gd name="connsiteX1" fmla="*/ 820726 w 861070"/>
                    <a:gd name="connsiteY1" fmla="*/ 501 h 842055"/>
                    <a:gd name="connsiteX2" fmla="*/ 598279 w 861070"/>
                    <a:gd name="connsiteY2" fmla="*/ 161695 h 842055"/>
                    <a:gd name="connsiteX3" fmla="*/ 466099 w 861070"/>
                    <a:gd name="connsiteY3" fmla="*/ 513099 h 842055"/>
                    <a:gd name="connsiteX4" fmla="*/ 466099 w 861070"/>
                    <a:gd name="connsiteY4" fmla="*/ 525994 h 842055"/>
                    <a:gd name="connsiteX5" fmla="*/ 462875 w 861070"/>
                    <a:gd name="connsiteY5" fmla="*/ 529218 h 842055"/>
                    <a:gd name="connsiteX6" fmla="*/ 453204 w 861070"/>
                    <a:gd name="connsiteY6" fmla="*/ 529218 h 842055"/>
                    <a:gd name="connsiteX7" fmla="*/ 50219 w 861070"/>
                    <a:gd name="connsiteY7" fmla="*/ 645277 h 842055"/>
                    <a:gd name="connsiteX8" fmla="*/ 40547 w 861070"/>
                    <a:gd name="connsiteY8" fmla="*/ 819367 h 842055"/>
                    <a:gd name="connsiteX9" fmla="*/ 301681 w 861070"/>
                    <a:gd name="connsiteY9" fmla="*/ 793576 h 842055"/>
                    <a:gd name="connsiteX10" fmla="*/ 508009 w 861070"/>
                    <a:gd name="connsiteY10" fmla="*/ 574352 h 842055"/>
                    <a:gd name="connsiteX11" fmla="*/ 524129 w 861070"/>
                    <a:gd name="connsiteY11" fmla="*/ 567904 h 842055"/>
                    <a:gd name="connsiteX12" fmla="*/ 782039 w 861070"/>
                    <a:gd name="connsiteY12" fmla="*/ 297098 h 842055"/>
                    <a:gd name="connsiteX13" fmla="*/ 852965 w 861070"/>
                    <a:gd name="connsiteY13" fmla="*/ 23068 h 842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61070" h="842055">
                      <a:moveTo>
                        <a:pt x="852965" y="23068"/>
                      </a:moveTo>
                      <a:cubicBezTo>
                        <a:pt x="849741" y="10173"/>
                        <a:pt x="836845" y="-2722"/>
                        <a:pt x="820726" y="501"/>
                      </a:cubicBezTo>
                      <a:cubicBezTo>
                        <a:pt x="733681" y="10173"/>
                        <a:pt x="646637" y="97217"/>
                        <a:pt x="598279" y="161695"/>
                      </a:cubicBezTo>
                      <a:cubicBezTo>
                        <a:pt x="520906" y="264859"/>
                        <a:pt x="498338" y="390591"/>
                        <a:pt x="466099" y="513099"/>
                      </a:cubicBezTo>
                      <a:cubicBezTo>
                        <a:pt x="466099" y="519546"/>
                        <a:pt x="466099" y="522770"/>
                        <a:pt x="466099" y="525994"/>
                      </a:cubicBezTo>
                      <a:cubicBezTo>
                        <a:pt x="466099" y="525994"/>
                        <a:pt x="462875" y="529218"/>
                        <a:pt x="462875" y="529218"/>
                      </a:cubicBezTo>
                      <a:cubicBezTo>
                        <a:pt x="459651" y="529218"/>
                        <a:pt x="456428" y="529218"/>
                        <a:pt x="453204" y="529218"/>
                      </a:cubicBezTo>
                      <a:cubicBezTo>
                        <a:pt x="327473" y="555009"/>
                        <a:pt x="153382" y="564680"/>
                        <a:pt x="50219" y="645277"/>
                      </a:cubicBezTo>
                      <a:cubicBezTo>
                        <a:pt x="-4588" y="690412"/>
                        <a:pt x="-23931" y="774232"/>
                        <a:pt x="40547" y="819367"/>
                      </a:cubicBezTo>
                      <a:cubicBezTo>
                        <a:pt x="108248" y="867726"/>
                        <a:pt x="233979" y="829039"/>
                        <a:pt x="301681" y="793576"/>
                      </a:cubicBezTo>
                      <a:cubicBezTo>
                        <a:pt x="391950" y="745217"/>
                        <a:pt x="453204" y="661396"/>
                        <a:pt x="508009" y="574352"/>
                      </a:cubicBezTo>
                      <a:cubicBezTo>
                        <a:pt x="514457" y="574352"/>
                        <a:pt x="517682" y="571128"/>
                        <a:pt x="524129" y="567904"/>
                      </a:cubicBezTo>
                      <a:cubicBezTo>
                        <a:pt x="611174" y="484083"/>
                        <a:pt x="717562" y="400263"/>
                        <a:pt x="782039" y="297098"/>
                      </a:cubicBezTo>
                      <a:cubicBezTo>
                        <a:pt x="827174" y="232621"/>
                        <a:pt x="881980" y="106889"/>
                        <a:pt x="852965" y="23068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9697DD18-EA3C-439B-9370-5B2C99B2F51D}"/>
                    </a:ext>
                  </a:extLst>
                </p:cNvPr>
                <p:cNvSpPr/>
                <p:nvPr/>
              </p:nvSpPr>
              <p:spPr>
                <a:xfrm>
                  <a:off x="17118979" y="11151832"/>
                  <a:ext cx="649669" cy="596672"/>
                </a:xfrm>
                <a:custGeom>
                  <a:avLst/>
                  <a:gdLst>
                    <a:gd name="connsiteX0" fmla="*/ 635124 w 649669"/>
                    <a:gd name="connsiteY0" fmla="*/ 24534 h 596672"/>
                    <a:gd name="connsiteX1" fmla="*/ 586765 w 649669"/>
                    <a:gd name="connsiteY1" fmla="*/ 5191 h 596672"/>
                    <a:gd name="connsiteX2" fmla="*/ 328855 w 649669"/>
                    <a:gd name="connsiteY2" fmla="*/ 417848 h 596672"/>
                    <a:gd name="connsiteX3" fmla="*/ 6467 w 649669"/>
                    <a:gd name="connsiteY3" fmla="*/ 537132 h 596672"/>
                    <a:gd name="connsiteX4" fmla="*/ 367542 w 649669"/>
                    <a:gd name="connsiteY4" fmla="*/ 491996 h 596672"/>
                    <a:gd name="connsiteX5" fmla="*/ 390109 w 649669"/>
                    <a:gd name="connsiteY5" fmla="*/ 488773 h 596672"/>
                    <a:gd name="connsiteX6" fmla="*/ 635124 w 649669"/>
                    <a:gd name="connsiteY6" fmla="*/ 24534 h 59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49669" h="596672">
                      <a:moveTo>
                        <a:pt x="635124" y="24534"/>
                      </a:moveTo>
                      <a:cubicBezTo>
                        <a:pt x="628676" y="5191"/>
                        <a:pt x="606109" y="-7705"/>
                        <a:pt x="586765" y="5191"/>
                      </a:cubicBezTo>
                      <a:cubicBezTo>
                        <a:pt x="438467" y="98684"/>
                        <a:pt x="380437" y="256654"/>
                        <a:pt x="328855" y="417848"/>
                      </a:cubicBezTo>
                      <a:cubicBezTo>
                        <a:pt x="225691" y="404952"/>
                        <a:pt x="-45115" y="382385"/>
                        <a:pt x="6467" y="537132"/>
                      </a:cubicBezTo>
                      <a:cubicBezTo>
                        <a:pt x="54825" y="678982"/>
                        <a:pt x="277273" y="527459"/>
                        <a:pt x="367542" y="491996"/>
                      </a:cubicBezTo>
                      <a:cubicBezTo>
                        <a:pt x="373989" y="495220"/>
                        <a:pt x="383661" y="491996"/>
                        <a:pt x="390109" y="488773"/>
                      </a:cubicBezTo>
                      <a:cubicBezTo>
                        <a:pt x="554527" y="395280"/>
                        <a:pt x="696377" y="227639"/>
                        <a:pt x="635124" y="24534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DB177AC3-1D44-491C-8AF3-42E69F97553A}"/>
                    </a:ext>
                  </a:extLst>
                </p:cNvPr>
                <p:cNvSpPr/>
                <p:nvPr/>
              </p:nvSpPr>
              <p:spPr>
                <a:xfrm>
                  <a:off x="17247221" y="11638760"/>
                  <a:ext cx="463924" cy="363909"/>
                </a:xfrm>
                <a:custGeom>
                  <a:avLst/>
                  <a:gdLst>
                    <a:gd name="connsiteX0" fmla="*/ 426284 w 463924"/>
                    <a:gd name="connsiteY0" fmla="*/ 5069 h 363909"/>
                    <a:gd name="connsiteX1" fmla="*/ 326344 w 463924"/>
                    <a:gd name="connsiteY1" fmla="*/ 75994 h 363909"/>
                    <a:gd name="connsiteX2" fmla="*/ 287658 w 463924"/>
                    <a:gd name="connsiteY2" fmla="*/ 250084 h 363909"/>
                    <a:gd name="connsiteX3" fmla="*/ 152255 w 463924"/>
                    <a:gd name="connsiteY3" fmla="*/ 214621 h 363909"/>
                    <a:gd name="connsiteX4" fmla="*/ 7180 w 463924"/>
                    <a:gd name="connsiteY4" fmla="*/ 259756 h 363909"/>
                    <a:gd name="connsiteX5" fmla="*/ 78106 w 463924"/>
                    <a:gd name="connsiteY5" fmla="*/ 359696 h 363909"/>
                    <a:gd name="connsiteX6" fmla="*/ 316673 w 463924"/>
                    <a:gd name="connsiteY6" fmla="*/ 337129 h 363909"/>
                    <a:gd name="connsiteX7" fmla="*/ 339240 w 463924"/>
                    <a:gd name="connsiteY7" fmla="*/ 308114 h 363909"/>
                    <a:gd name="connsiteX8" fmla="*/ 348912 w 463924"/>
                    <a:gd name="connsiteY8" fmla="*/ 298442 h 363909"/>
                    <a:gd name="connsiteX9" fmla="*/ 452076 w 463924"/>
                    <a:gd name="connsiteY9" fmla="*/ 137248 h 363909"/>
                    <a:gd name="connsiteX10" fmla="*/ 426284 w 463924"/>
                    <a:gd name="connsiteY10" fmla="*/ 5069 h 363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63924" h="363909">
                      <a:moveTo>
                        <a:pt x="426284" y="5069"/>
                      </a:moveTo>
                      <a:cubicBezTo>
                        <a:pt x="381150" y="-17498"/>
                        <a:pt x="342463" y="40532"/>
                        <a:pt x="326344" y="75994"/>
                      </a:cubicBezTo>
                      <a:cubicBezTo>
                        <a:pt x="300553" y="130801"/>
                        <a:pt x="290882" y="192054"/>
                        <a:pt x="287658" y="250084"/>
                      </a:cubicBezTo>
                      <a:cubicBezTo>
                        <a:pt x="245747" y="227517"/>
                        <a:pt x="200613" y="217845"/>
                        <a:pt x="152255" y="214621"/>
                      </a:cubicBezTo>
                      <a:cubicBezTo>
                        <a:pt x="103896" y="211398"/>
                        <a:pt x="32972" y="204950"/>
                        <a:pt x="7180" y="259756"/>
                      </a:cubicBezTo>
                      <a:cubicBezTo>
                        <a:pt x="-18611" y="311337"/>
                        <a:pt x="29748" y="353248"/>
                        <a:pt x="78106" y="359696"/>
                      </a:cubicBezTo>
                      <a:cubicBezTo>
                        <a:pt x="155479" y="372592"/>
                        <a:pt x="242524" y="353248"/>
                        <a:pt x="316673" y="337129"/>
                      </a:cubicBezTo>
                      <a:cubicBezTo>
                        <a:pt x="332792" y="333905"/>
                        <a:pt x="339240" y="321010"/>
                        <a:pt x="339240" y="308114"/>
                      </a:cubicBezTo>
                      <a:cubicBezTo>
                        <a:pt x="342463" y="304890"/>
                        <a:pt x="345687" y="301666"/>
                        <a:pt x="348912" y="298442"/>
                      </a:cubicBezTo>
                      <a:cubicBezTo>
                        <a:pt x="384374" y="246860"/>
                        <a:pt x="429509" y="195278"/>
                        <a:pt x="452076" y="137248"/>
                      </a:cubicBezTo>
                      <a:cubicBezTo>
                        <a:pt x="468196" y="98562"/>
                        <a:pt x="474643" y="30860"/>
                        <a:pt x="426284" y="5069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0C6AFD48-8A35-4A46-A2E5-F3F471C677A7}"/>
                </a:ext>
              </a:extLst>
            </p:cNvPr>
            <p:cNvSpPr/>
            <p:nvPr/>
          </p:nvSpPr>
          <p:spPr>
            <a:xfrm>
              <a:off x="15294282" y="8230245"/>
              <a:ext cx="722149" cy="847144"/>
            </a:xfrm>
            <a:custGeom>
              <a:avLst/>
              <a:gdLst>
                <a:gd name="connsiteX0" fmla="*/ 0 w 722149"/>
                <a:gd name="connsiteY0" fmla="*/ 186480 h 847144"/>
                <a:gd name="connsiteX1" fmla="*/ 354627 w 722149"/>
                <a:gd name="connsiteY1" fmla="*/ 2719 h 847144"/>
                <a:gd name="connsiteX2" fmla="*/ 615761 w 722149"/>
                <a:gd name="connsiteY2" fmla="*/ 450838 h 847144"/>
                <a:gd name="connsiteX3" fmla="*/ 722149 w 722149"/>
                <a:gd name="connsiteY3" fmla="*/ 763555 h 847144"/>
                <a:gd name="connsiteX4" fmla="*/ 373970 w 722149"/>
                <a:gd name="connsiteY4" fmla="*/ 760331 h 847144"/>
                <a:gd name="connsiteX5" fmla="*/ 161194 w 722149"/>
                <a:gd name="connsiteY5" fmla="*/ 247734 h 847144"/>
                <a:gd name="connsiteX6" fmla="*/ 0 w 722149"/>
                <a:gd name="connsiteY6" fmla="*/ 186480 h 847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2149" h="847144">
                  <a:moveTo>
                    <a:pt x="0" y="186480"/>
                  </a:moveTo>
                  <a:cubicBezTo>
                    <a:pt x="0" y="186480"/>
                    <a:pt x="35463" y="-26296"/>
                    <a:pt x="354627" y="2719"/>
                  </a:cubicBezTo>
                  <a:cubicBezTo>
                    <a:pt x="551284" y="18838"/>
                    <a:pt x="648000" y="312212"/>
                    <a:pt x="615761" y="450838"/>
                  </a:cubicBezTo>
                  <a:cubicBezTo>
                    <a:pt x="583523" y="589465"/>
                    <a:pt x="606089" y="708749"/>
                    <a:pt x="722149" y="763555"/>
                  </a:cubicBezTo>
                  <a:cubicBezTo>
                    <a:pt x="722149" y="763555"/>
                    <a:pt x="493253" y="953764"/>
                    <a:pt x="373970" y="760331"/>
                  </a:cubicBezTo>
                  <a:cubicBezTo>
                    <a:pt x="325612" y="679734"/>
                    <a:pt x="309493" y="289644"/>
                    <a:pt x="161194" y="247734"/>
                  </a:cubicBezTo>
                  <a:cubicBezTo>
                    <a:pt x="96716" y="231615"/>
                    <a:pt x="0" y="186480"/>
                    <a:pt x="0" y="186480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737D3BCB-E5AA-454B-9E8D-487759986744}"/>
                </a:ext>
              </a:extLst>
            </p:cNvPr>
            <p:cNvSpPr/>
            <p:nvPr/>
          </p:nvSpPr>
          <p:spPr>
            <a:xfrm>
              <a:off x="15810103" y="8822934"/>
              <a:ext cx="209552" cy="177313"/>
            </a:xfrm>
            <a:custGeom>
              <a:avLst/>
              <a:gdLst>
                <a:gd name="connsiteX0" fmla="*/ 199880 w 209552"/>
                <a:gd name="connsiteY0" fmla="*/ 177313 h 177313"/>
                <a:gd name="connsiteX1" fmla="*/ 0 w 209552"/>
                <a:gd name="connsiteY1" fmla="*/ 6448 h 177313"/>
                <a:gd name="connsiteX2" fmla="*/ 3224 w 209552"/>
                <a:gd name="connsiteY2" fmla="*/ 0 h 177313"/>
                <a:gd name="connsiteX3" fmla="*/ 9671 w 209552"/>
                <a:gd name="connsiteY3" fmla="*/ 3224 h 177313"/>
                <a:gd name="connsiteX4" fmla="*/ 203104 w 209552"/>
                <a:gd name="connsiteY4" fmla="*/ 164418 h 177313"/>
                <a:gd name="connsiteX5" fmla="*/ 209552 w 209552"/>
                <a:gd name="connsiteY5" fmla="*/ 170866 h 177313"/>
                <a:gd name="connsiteX6" fmla="*/ 203104 w 209552"/>
                <a:gd name="connsiteY6" fmla="*/ 177313 h 177313"/>
                <a:gd name="connsiteX7" fmla="*/ 199880 w 209552"/>
                <a:gd name="connsiteY7" fmla="*/ 177313 h 177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2" h="177313">
                  <a:moveTo>
                    <a:pt x="199880" y="177313"/>
                  </a:moveTo>
                  <a:cubicBezTo>
                    <a:pt x="167641" y="177313"/>
                    <a:pt x="48358" y="164418"/>
                    <a:pt x="0" y="6448"/>
                  </a:cubicBezTo>
                  <a:cubicBezTo>
                    <a:pt x="0" y="3224"/>
                    <a:pt x="0" y="0"/>
                    <a:pt x="3224" y="0"/>
                  </a:cubicBezTo>
                  <a:cubicBezTo>
                    <a:pt x="6447" y="0"/>
                    <a:pt x="9671" y="0"/>
                    <a:pt x="9671" y="3224"/>
                  </a:cubicBezTo>
                  <a:cubicBezTo>
                    <a:pt x="61254" y="180537"/>
                    <a:pt x="203104" y="164418"/>
                    <a:pt x="203104" y="164418"/>
                  </a:cubicBezTo>
                  <a:cubicBezTo>
                    <a:pt x="206328" y="164418"/>
                    <a:pt x="209552" y="167642"/>
                    <a:pt x="209552" y="170866"/>
                  </a:cubicBezTo>
                  <a:cubicBezTo>
                    <a:pt x="209552" y="174089"/>
                    <a:pt x="206328" y="177313"/>
                    <a:pt x="203104" y="177313"/>
                  </a:cubicBezTo>
                  <a:cubicBezTo>
                    <a:pt x="206328" y="177313"/>
                    <a:pt x="203104" y="177313"/>
                    <a:pt x="199880" y="177313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C1A59C5B-9374-4DC5-812E-AFEB79CFFBF1}"/>
                </a:ext>
              </a:extLst>
            </p:cNvPr>
            <p:cNvSpPr/>
            <p:nvPr/>
          </p:nvSpPr>
          <p:spPr>
            <a:xfrm>
              <a:off x="15216873" y="8399256"/>
              <a:ext cx="244881" cy="159135"/>
            </a:xfrm>
            <a:custGeom>
              <a:avLst/>
              <a:gdLst>
                <a:gd name="connsiteX0" fmla="*/ 36 w 244881"/>
                <a:gd name="connsiteY0" fmla="*/ 72274 h 159135"/>
                <a:gd name="connsiteX1" fmla="*/ 125767 w 244881"/>
                <a:gd name="connsiteY1" fmla="*/ 1349 h 159135"/>
                <a:gd name="connsiteX2" fmla="*/ 238603 w 244881"/>
                <a:gd name="connsiteY2" fmla="*/ 130304 h 159135"/>
                <a:gd name="connsiteX3" fmla="*/ 36 w 244881"/>
                <a:gd name="connsiteY3" fmla="*/ 72274 h 15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881" h="159135">
                  <a:moveTo>
                    <a:pt x="36" y="72274"/>
                  </a:moveTo>
                  <a:cubicBezTo>
                    <a:pt x="36" y="72274"/>
                    <a:pt x="25827" y="-11547"/>
                    <a:pt x="125767" y="1349"/>
                  </a:cubicBezTo>
                  <a:cubicBezTo>
                    <a:pt x="190245" y="11020"/>
                    <a:pt x="267618" y="59379"/>
                    <a:pt x="238603" y="130304"/>
                  </a:cubicBezTo>
                  <a:cubicBezTo>
                    <a:pt x="209589" y="204453"/>
                    <a:pt x="-3188" y="117409"/>
                    <a:pt x="36" y="72274"/>
                  </a:cubicBez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4CEB3189-3865-4A88-9867-B82B6BBA9159}"/>
                </a:ext>
              </a:extLst>
            </p:cNvPr>
            <p:cNvSpPr/>
            <p:nvPr/>
          </p:nvSpPr>
          <p:spPr>
            <a:xfrm>
              <a:off x="15002603" y="8454739"/>
              <a:ext cx="343612" cy="633253"/>
            </a:xfrm>
            <a:custGeom>
              <a:avLst/>
              <a:gdLst>
                <a:gd name="connsiteX0" fmla="*/ 249767 w 343612"/>
                <a:gd name="connsiteY0" fmla="*/ 319837 h 633253"/>
                <a:gd name="connsiteX1" fmla="*/ 301350 w 343612"/>
                <a:gd name="connsiteY1" fmla="*/ 168314 h 633253"/>
                <a:gd name="connsiteX2" fmla="*/ 343261 w 343612"/>
                <a:gd name="connsiteY2" fmla="*/ 10344 h 633253"/>
                <a:gd name="connsiteX3" fmla="*/ 11200 w 343612"/>
                <a:gd name="connsiteY3" fmla="*/ 194105 h 633253"/>
                <a:gd name="connsiteX4" fmla="*/ 198186 w 343612"/>
                <a:gd name="connsiteY4" fmla="*/ 548732 h 633253"/>
                <a:gd name="connsiteX5" fmla="*/ 301350 w 343612"/>
                <a:gd name="connsiteY5" fmla="*/ 603538 h 633253"/>
                <a:gd name="connsiteX6" fmla="*/ 249767 w 343612"/>
                <a:gd name="connsiteY6" fmla="*/ 319837 h 633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612" h="633253">
                  <a:moveTo>
                    <a:pt x="249767" y="319837"/>
                  </a:moveTo>
                  <a:cubicBezTo>
                    <a:pt x="259440" y="265031"/>
                    <a:pt x="275559" y="216672"/>
                    <a:pt x="301350" y="168314"/>
                  </a:cubicBezTo>
                  <a:cubicBezTo>
                    <a:pt x="327141" y="116732"/>
                    <a:pt x="346484" y="10344"/>
                    <a:pt x="343261" y="10344"/>
                  </a:cubicBezTo>
                  <a:cubicBezTo>
                    <a:pt x="223977" y="-31567"/>
                    <a:pt x="46663" y="58702"/>
                    <a:pt x="11200" y="194105"/>
                  </a:cubicBezTo>
                  <a:cubicBezTo>
                    <a:pt x="-4919" y="261807"/>
                    <a:pt x="-37158" y="461687"/>
                    <a:pt x="198186" y="548732"/>
                  </a:cubicBezTo>
                  <a:cubicBezTo>
                    <a:pt x="301350" y="635777"/>
                    <a:pt x="288454" y="658344"/>
                    <a:pt x="301350" y="603538"/>
                  </a:cubicBezTo>
                  <a:cubicBezTo>
                    <a:pt x="307798" y="555180"/>
                    <a:pt x="240096" y="374642"/>
                    <a:pt x="249767" y="319837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438B3C4C-5E55-4F28-B2D6-FEFB84D99716}"/>
                </a:ext>
              </a:extLst>
            </p:cNvPr>
            <p:cNvSpPr/>
            <p:nvPr/>
          </p:nvSpPr>
          <p:spPr>
            <a:xfrm>
              <a:off x="15078282" y="8496381"/>
              <a:ext cx="441761" cy="600945"/>
            </a:xfrm>
            <a:custGeom>
              <a:avLst/>
              <a:gdLst>
                <a:gd name="connsiteX0" fmla="*/ 3224 w 441761"/>
                <a:gd name="connsiteY0" fmla="*/ 194374 h 600945"/>
                <a:gd name="connsiteX1" fmla="*/ 16119 w 441761"/>
                <a:gd name="connsiteY1" fmla="*/ 465180 h 600945"/>
                <a:gd name="connsiteX2" fmla="*/ 174089 w 441761"/>
                <a:gd name="connsiteY2" fmla="*/ 600583 h 600945"/>
                <a:gd name="connsiteX3" fmla="*/ 412657 w 441761"/>
                <a:gd name="connsiteY3" fmla="*/ 445836 h 600945"/>
                <a:gd name="connsiteX4" fmla="*/ 441672 w 441761"/>
                <a:gd name="connsiteY4" fmla="*/ 210493 h 600945"/>
                <a:gd name="connsiteX5" fmla="*/ 216000 w 441761"/>
                <a:gd name="connsiteY5" fmla="*/ 941 h 600945"/>
                <a:gd name="connsiteX6" fmla="*/ 3224 w 441761"/>
                <a:gd name="connsiteY6" fmla="*/ 194374 h 600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1761" h="600945">
                  <a:moveTo>
                    <a:pt x="3224" y="194374"/>
                  </a:moveTo>
                  <a:cubicBezTo>
                    <a:pt x="3224" y="194374"/>
                    <a:pt x="-9671" y="387806"/>
                    <a:pt x="16119" y="465180"/>
                  </a:cubicBezTo>
                  <a:cubicBezTo>
                    <a:pt x="45134" y="545777"/>
                    <a:pt x="119284" y="597359"/>
                    <a:pt x="174089" y="600583"/>
                  </a:cubicBezTo>
                  <a:cubicBezTo>
                    <a:pt x="245015" y="607030"/>
                    <a:pt x="377194" y="526433"/>
                    <a:pt x="412657" y="445836"/>
                  </a:cubicBezTo>
                  <a:cubicBezTo>
                    <a:pt x="444896" y="371687"/>
                    <a:pt x="441672" y="262075"/>
                    <a:pt x="441672" y="210493"/>
                  </a:cubicBezTo>
                  <a:cubicBezTo>
                    <a:pt x="438448" y="110553"/>
                    <a:pt x="409433" y="26732"/>
                    <a:pt x="216000" y="941"/>
                  </a:cubicBezTo>
                  <a:cubicBezTo>
                    <a:pt x="125731" y="-11955"/>
                    <a:pt x="25791" y="110553"/>
                    <a:pt x="3224" y="194374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91CD5178-625B-46B0-B8F4-1D64A099FC1C}"/>
                </a:ext>
              </a:extLst>
            </p:cNvPr>
            <p:cNvSpPr/>
            <p:nvPr/>
          </p:nvSpPr>
          <p:spPr>
            <a:xfrm>
              <a:off x="15216909" y="8779688"/>
              <a:ext cx="58029" cy="139962"/>
            </a:xfrm>
            <a:custGeom>
              <a:avLst/>
              <a:gdLst>
                <a:gd name="connsiteX0" fmla="*/ 32239 w 58029"/>
                <a:gd name="connsiteY0" fmla="*/ 139962 h 139962"/>
                <a:gd name="connsiteX1" fmla="*/ 6447 w 58029"/>
                <a:gd name="connsiteY1" fmla="*/ 133515 h 139962"/>
                <a:gd name="connsiteX2" fmla="*/ 0 w 58029"/>
                <a:gd name="connsiteY2" fmla="*/ 120619 h 139962"/>
                <a:gd name="connsiteX3" fmla="*/ 29015 w 58029"/>
                <a:gd name="connsiteY3" fmla="*/ 4560 h 139962"/>
                <a:gd name="connsiteX4" fmla="*/ 35462 w 58029"/>
                <a:gd name="connsiteY4" fmla="*/ 1335 h 139962"/>
                <a:gd name="connsiteX5" fmla="*/ 38686 w 58029"/>
                <a:gd name="connsiteY5" fmla="*/ 7783 h 139962"/>
                <a:gd name="connsiteX6" fmla="*/ 9671 w 58029"/>
                <a:gd name="connsiteY6" fmla="*/ 120619 h 139962"/>
                <a:gd name="connsiteX7" fmla="*/ 9671 w 58029"/>
                <a:gd name="connsiteY7" fmla="*/ 123843 h 139962"/>
                <a:gd name="connsiteX8" fmla="*/ 51581 w 58029"/>
                <a:gd name="connsiteY8" fmla="*/ 123843 h 139962"/>
                <a:gd name="connsiteX9" fmla="*/ 58029 w 58029"/>
                <a:gd name="connsiteY9" fmla="*/ 130291 h 139962"/>
                <a:gd name="connsiteX10" fmla="*/ 51581 w 58029"/>
                <a:gd name="connsiteY10" fmla="*/ 136738 h 139962"/>
                <a:gd name="connsiteX11" fmla="*/ 32239 w 58029"/>
                <a:gd name="connsiteY11" fmla="*/ 139962 h 139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029" h="139962">
                  <a:moveTo>
                    <a:pt x="32239" y="139962"/>
                  </a:moveTo>
                  <a:cubicBezTo>
                    <a:pt x="22567" y="139962"/>
                    <a:pt x="12895" y="139962"/>
                    <a:pt x="6447" y="133515"/>
                  </a:cubicBezTo>
                  <a:cubicBezTo>
                    <a:pt x="3223" y="130291"/>
                    <a:pt x="0" y="127067"/>
                    <a:pt x="0" y="120619"/>
                  </a:cubicBezTo>
                  <a:cubicBezTo>
                    <a:pt x="0" y="98052"/>
                    <a:pt x="29015" y="7783"/>
                    <a:pt x="29015" y="4560"/>
                  </a:cubicBezTo>
                  <a:cubicBezTo>
                    <a:pt x="29015" y="1335"/>
                    <a:pt x="32239" y="-1889"/>
                    <a:pt x="35462" y="1335"/>
                  </a:cubicBezTo>
                  <a:cubicBezTo>
                    <a:pt x="38686" y="1335"/>
                    <a:pt x="41910" y="4560"/>
                    <a:pt x="38686" y="7783"/>
                  </a:cubicBezTo>
                  <a:cubicBezTo>
                    <a:pt x="32239" y="33574"/>
                    <a:pt x="9671" y="101276"/>
                    <a:pt x="9671" y="120619"/>
                  </a:cubicBezTo>
                  <a:cubicBezTo>
                    <a:pt x="9671" y="120619"/>
                    <a:pt x="9671" y="123843"/>
                    <a:pt x="9671" y="123843"/>
                  </a:cubicBezTo>
                  <a:cubicBezTo>
                    <a:pt x="16119" y="130291"/>
                    <a:pt x="38686" y="127067"/>
                    <a:pt x="51581" y="123843"/>
                  </a:cubicBezTo>
                  <a:cubicBezTo>
                    <a:pt x="54805" y="123843"/>
                    <a:pt x="58029" y="123843"/>
                    <a:pt x="58029" y="130291"/>
                  </a:cubicBezTo>
                  <a:cubicBezTo>
                    <a:pt x="58029" y="133515"/>
                    <a:pt x="58029" y="136738"/>
                    <a:pt x="51581" y="136738"/>
                  </a:cubicBezTo>
                  <a:cubicBezTo>
                    <a:pt x="54805" y="136738"/>
                    <a:pt x="45134" y="139962"/>
                    <a:pt x="32239" y="139962"/>
                  </a:cubicBezTo>
                  <a:close/>
                </a:path>
              </a:pathLst>
            </a:custGeom>
            <a:solidFill>
              <a:srgbClr val="E58777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8D7AF65C-407D-41CF-B116-286B5773D474}"/>
                </a:ext>
              </a:extLst>
            </p:cNvPr>
            <p:cNvSpPr/>
            <p:nvPr/>
          </p:nvSpPr>
          <p:spPr>
            <a:xfrm>
              <a:off x="15197565" y="8971232"/>
              <a:ext cx="112835" cy="58029"/>
            </a:xfrm>
            <a:custGeom>
              <a:avLst/>
              <a:gdLst>
                <a:gd name="connsiteX0" fmla="*/ 112836 w 112835"/>
                <a:gd name="connsiteY0" fmla="*/ 0 h 58029"/>
                <a:gd name="connsiteX1" fmla="*/ 0 w 112835"/>
                <a:gd name="connsiteY1" fmla="*/ 0 h 58029"/>
                <a:gd name="connsiteX2" fmla="*/ 54805 w 112835"/>
                <a:gd name="connsiteY2" fmla="*/ 58030 h 58029"/>
                <a:gd name="connsiteX3" fmla="*/ 112836 w 112835"/>
                <a:gd name="connsiteY3" fmla="*/ 0 h 58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835" h="58029">
                  <a:moveTo>
                    <a:pt x="112836" y="0"/>
                  </a:moveTo>
                  <a:cubicBezTo>
                    <a:pt x="54805" y="25791"/>
                    <a:pt x="0" y="0"/>
                    <a:pt x="0" y="0"/>
                  </a:cubicBezTo>
                  <a:cubicBezTo>
                    <a:pt x="0" y="0"/>
                    <a:pt x="16119" y="58030"/>
                    <a:pt x="54805" y="58030"/>
                  </a:cubicBezTo>
                  <a:cubicBezTo>
                    <a:pt x="99940" y="58030"/>
                    <a:pt x="112836" y="0"/>
                    <a:pt x="112836" y="0"/>
                  </a:cubicBezTo>
                  <a:close/>
                </a:path>
              </a:pathLst>
            </a:custGeom>
            <a:solidFill>
              <a:srgbClr val="FFFFFF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0349FA56-11EF-4F8D-B7B7-A3435509C0B7}"/>
                </a:ext>
              </a:extLst>
            </p:cNvPr>
            <p:cNvSpPr/>
            <p:nvPr/>
          </p:nvSpPr>
          <p:spPr>
            <a:xfrm>
              <a:off x="15129231" y="8760858"/>
              <a:ext cx="43364" cy="43553"/>
            </a:xfrm>
            <a:custGeom>
              <a:avLst/>
              <a:gdLst>
                <a:gd name="connsiteX0" fmla="*/ 42542 w 43364"/>
                <a:gd name="connsiteY0" fmla="*/ 26613 h 43553"/>
                <a:gd name="connsiteX1" fmla="*/ 16752 w 43364"/>
                <a:gd name="connsiteY1" fmla="*/ 42732 h 43553"/>
                <a:gd name="connsiteX2" fmla="*/ 632 w 43364"/>
                <a:gd name="connsiteY2" fmla="*/ 16941 h 43553"/>
                <a:gd name="connsiteX3" fmla="*/ 26423 w 43364"/>
                <a:gd name="connsiteY3" fmla="*/ 821 h 43553"/>
                <a:gd name="connsiteX4" fmla="*/ 42542 w 43364"/>
                <a:gd name="connsiteY4" fmla="*/ 26613 h 4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64" h="43553">
                  <a:moveTo>
                    <a:pt x="42542" y="26613"/>
                  </a:moveTo>
                  <a:cubicBezTo>
                    <a:pt x="39319" y="39508"/>
                    <a:pt x="29647" y="45956"/>
                    <a:pt x="16752" y="42732"/>
                  </a:cubicBezTo>
                  <a:cubicBezTo>
                    <a:pt x="7081" y="39508"/>
                    <a:pt x="-2592" y="29837"/>
                    <a:pt x="632" y="16941"/>
                  </a:cubicBezTo>
                  <a:cubicBezTo>
                    <a:pt x="3856" y="4046"/>
                    <a:pt x="13528" y="-2402"/>
                    <a:pt x="26423" y="821"/>
                  </a:cubicBezTo>
                  <a:cubicBezTo>
                    <a:pt x="39319" y="4046"/>
                    <a:pt x="45767" y="13717"/>
                    <a:pt x="42542" y="2661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9731A025-E640-4A98-AD87-36686EEE6EEC}"/>
                </a:ext>
              </a:extLst>
            </p:cNvPr>
            <p:cNvSpPr/>
            <p:nvPr/>
          </p:nvSpPr>
          <p:spPr>
            <a:xfrm>
              <a:off x="15332147" y="8767306"/>
              <a:ext cx="42732" cy="43364"/>
            </a:xfrm>
            <a:custGeom>
              <a:avLst/>
              <a:gdLst>
                <a:gd name="connsiteX0" fmla="*/ 42732 w 42732"/>
                <a:gd name="connsiteY0" fmla="*/ 26612 h 43364"/>
                <a:gd name="connsiteX1" fmla="*/ 16941 w 42732"/>
                <a:gd name="connsiteY1" fmla="*/ 42732 h 43364"/>
                <a:gd name="connsiteX2" fmla="*/ 821 w 42732"/>
                <a:gd name="connsiteY2" fmla="*/ 16941 h 43364"/>
                <a:gd name="connsiteX3" fmla="*/ 26613 w 42732"/>
                <a:gd name="connsiteY3" fmla="*/ 822 h 43364"/>
                <a:gd name="connsiteX4" fmla="*/ 42732 w 42732"/>
                <a:gd name="connsiteY4" fmla="*/ 26612 h 43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32" h="43364">
                  <a:moveTo>
                    <a:pt x="42732" y="26612"/>
                  </a:moveTo>
                  <a:cubicBezTo>
                    <a:pt x="39508" y="36284"/>
                    <a:pt x="29837" y="45956"/>
                    <a:pt x="16941" y="42732"/>
                  </a:cubicBezTo>
                  <a:cubicBezTo>
                    <a:pt x="4045" y="39508"/>
                    <a:pt x="-2402" y="29836"/>
                    <a:pt x="821" y="16941"/>
                  </a:cubicBezTo>
                  <a:cubicBezTo>
                    <a:pt x="4045" y="4045"/>
                    <a:pt x="13718" y="-2402"/>
                    <a:pt x="26613" y="822"/>
                  </a:cubicBezTo>
                  <a:cubicBezTo>
                    <a:pt x="36284" y="4045"/>
                    <a:pt x="42732" y="16941"/>
                    <a:pt x="42732" y="26612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32BFA046-DBC8-4942-9AA9-0E77955F5209}"/>
                </a:ext>
              </a:extLst>
            </p:cNvPr>
            <p:cNvSpPr/>
            <p:nvPr/>
          </p:nvSpPr>
          <p:spPr>
            <a:xfrm>
              <a:off x="15114550" y="8699194"/>
              <a:ext cx="97245" cy="36694"/>
            </a:xfrm>
            <a:custGeom>
              <a:avLst/>
              <a:gdLst>
                <a:gd name="connsiteX0" fmla="*/ 8865 w 97245"/>
                <a:gd name="connsiteY0" fmla="*/ 36695 h 36694"/>
                <a:gd name="connsiteX1" fmla="*/ 2418 w 97245"/>
                <a:gd name="connsiteY1" fmla="*/ 33471 h 36694"/>
                <a:gd name="connsiteX2" fmla="*/ 2418 w 97245"/>
                <a:gd name="connsiteY2" fmla="*/ 20575 h 36694"/>
                <a:gd name="connsiteX3" fmla="*/ 92686 w 97245"/>
                <a:gd name="connsiteY3" fmla="*/ 10903 h 36694"/>
                <a:gd name="connsiteX4" fmla="*/ 95910 w 97245"/>
                <a:gd name="connsiteY4" fmla="*/ 20575 h 36694"/>
                <a:gd name="connsiteX5" fmla="*/ 86239 w 97245"/>
                <a:gd name="connsiteY5" fmla="*/ 23799 h 36694"/>
                <a:gd name="connsiteX6" fmla="*/ 15313 w 97245"/>
                <a:gd name="connsiteY6" fmla="*/ 30246 h 36694"/>
                <a:gd name="connsiteX7" fmla="*/ 8865 w 97245"/>
                <a:gd name="connsiteY7" fmla="*/ 36695 h 36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5" h="36694">
                  <a:moveTo>
                    <a:pt x="8865" y="36695"/>
                  </a:moveTo>
                  <a:cubicBezTo>
                    <a:pt x="5642" y="36695"/>
                    <a:pt x="5642" y="36695"/>
                    <a:pt x="2418" y="33471"/>
                  </a:cubicBezTo>
                  <a:cubicBezTo>
                    <a:pt x="-806" y="30246"/>
                    <a:pt x="-806" y="23799"/>
                    <a:pt x="2418" y="20575"/>
                  </a:cubicBezTo>
                  <a:cubicBezTo>
                    <a:pt x="31433" y="-11664"/>
                    <a:pt x="73343" y="1232"/>
                    <a:pt x="92686" y="10903"/>
                  </a:cubicBezTo>
                  <a:cubicBezTo>
                    <a:pt x="95910" y="14127"/>
                    <a:pt x="99134" y="17351"/>
                    <a:pt x="95910" y="20575"/>
                  </a:cubicBezTo>
                  <a:cubicBezTo>
                    <a:pt x="92686" y="23799"/>
                    <a:pt x="89462" y="27023"/>
                    <a:pt x="86239" y="23799"/>
                  </a:cubicBezTo>
                  <a:cubicBezTo>
                    <a:pt x="83015" y="23799"/>
                    <a:pt x="41104" y="1232"/>
                    <a:pt x="15313" y="30246"/>
                  </a:cubicBezTo>
                  <a:cubicBezTo>
                    <a:pt x="15313" y="33471"/>
                    <a:pt x="12089" y="36695"/>
                    <a:pt x="8865" y="36695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8BA10911-23DB-422C-A80F-E7FECD3D3064}"/>
                </a:ext>
              </a:extLst>
            </p:cNvPr>
            <p:cNvSpPr/>
            <p:nvPr/>
          </p:nvSpPr>
          <p:spPr>
            <a:xfrm>
              <a:off x="15315513" y="8697530"/>
              <a:ext cx="97245" cy="38358"/>
            </a:xfrm>
            <a:custGeom>
              <a:avLst/>
              <a:gdLst>
                <a:gd name="connsiteX0" fmla="*/ 91604 w 97245"/>
                <a:gd name="connsiteY0" fmla="*/ 38359 h 38358"/>
                <a:gd name="connsiteX1" fmla="*/ 85156 w 97245"/>
                <a:gd name="connsiteY1" fmla="*/ 35135 h 38358"/>
                <a:gd name="connsiteX2" fmla="*/ 14231 w 97245"/>
                <a:gd name="connsiteY2" fmla="*/ 28687 h 38358"/>
                <a:gd name="connsiteX3" fmla="*/ 1335 w 97245"/>
                <a:gd name="connsiteY3" fmla="*/ 25463 h 38358"/>
                <a:gd name="connsiteX4" fmla="*/ 4559 w 97245"/>
                <a:gd name="connsiteY4" fmla="*/ 12567 h 38358"/>
                <a:gd name="connsiteX5" fmla="*/ 94828 w 97245"/>
                <a:gd name="connsiteY5" fmla="*/ 22239 h 38358"/>
                <a:gd name="connsiteX6" fmla="*/ 94828 w 97245"/>
                <a:gd name="connsiteY6" fmla="*/ 35135 h 38358"/>
                <a:gd name="connsiteX7" fmla="*/ 91604 w 97245"/>
                <a:gd name="connsiteY7" fmla="*/ 38359 h 3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5" h="38358">
                  <a:moveTo>
                    <a:pt x="91604" y="38359"/>
                  </a:moveTo>
                  <a:cubicBezTo>
                    <a:pt x="88380" y="38359"/>
                    <a:pt x="88380" y="38359"/>
                    <a:pt x="85156" y="35135"/>
                  </a:cubicBezTo>
                  <a:cubicBezTo>
                    <a:pt x="85156" y="35135"/>
                    <a:pt x="52917" y="2896"/>
                    <a:pt x="14231" y="28687"/>
                  </a:cubicBezTo>
                  <a:cubicBezTo>
                    <a:pt x="11007" y="31910"/>
                    <a:pt x="4559" y="28687"/>
                    <a:pt x="1335" y="25463"/>
                  </a:cubicBezTo>
                  <a:cubicBezTo>
                    <a:pt x="-1888" y="22239"/>
                    <a:pt x="1335" y="15791"/>
                    <a:pt x="4559" y="12567"/>
                  </a:cubicBezTo>
                  <a:cubicBezTo>
                    <a:pt x="43246" y="-13224"/>
                    <a:pt x="81932" y="6120"/>
                    <a:pt x="94828" y="22239"/>
                  </a:cubicBezTo>
                  <a:cubicBezTo>
                    <a:pt x="98051" y="25463"/>
                    <a:pt x="98051" y="31910"/>
                    <a:pt x="94828" y="35135"/>
                  </a:cubicBezTo>
                  <a:cubicBezTo>
                    <a:pt x="94828" y="38359"/>
                    <a:pt x="91604" y="38359"/>
                    <a:pt x="91604" y="38359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7EC8BEA-BBF4-4F34-ADD7-A967C50942B1}"/>
                </a:ext>
              </a:extLst>
            </p:cNvPr>
            <p:cNvSpPr/>
            <p:nvPr/>
          </p:nvSpPr>
          <p:spPr>
            <a:xfrm>
              <a:off x="15055476" y="8462197"/>
              <a:ext cx="292599" cy="273691"/>
            </a:xfrm>
            <a:custGeom>
              <a:avLst/>
              <a:gdLst>
                <a:gd name="connsiteX0" fmla="*/ 290388 w 292599"/>
                <a:gd name="connsiteY0" fmla="*/ 2886 h 273691"/>
                <a:gd name="connsiteX1" fmla="*/ 251701 w 292599"/>
                <a:gd name="connsiteY1" fmla="*/ 138289 h 273691"/>
                <a:gd name="connsiteX2" fmla="*/ 239 w 292599"/>
                <a:gd name="connsiteY2" fmla="*/ 273692 h 273691"/>
                <a:gd name="connsiteX3" fmla="*/ 290388 w 292599"/>
                <a:gd name="connsiteY3" fmla="*/ 2886 h 273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2599" h="273691">
                  <a:moveTo>
                    <a:pt x="290388" y="2886"/>
                  </a:moveTo>
                  <a:cubicBezTo>
                    <a:pt x="290388" y="2886"/>
                    <a:pt x="306507" y="96378"/>
                    <a:pt x="251701" y="138289"/>
                  </a:cubicBezTo>
                  <a:cubicBezTo>
                    <a:pt x="251701" y="138289"/>
                    <a:pt x="29254" y="183423"/>
                    <a:pt x="239" y="273692"/>
                  </a:cubicBezTo>
                  <a:cubicBezTo>
                    <a:pt x="239" y="270468"/>
                    <a:pt x="-19105" y="-32577"/>
                    <a:pt x="290388" y="2886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050338A8-5B44-4E93-AC68-FC3DBFCB2ADB}"/>
                </a:ext>
              </a:extLst>
            </p:cNvPr>
            <p:cNvSpPr/>
            <p:nvPr/>
          </p:nvSpPr>
          <p:spPr>
            <a:xfrm>
              <a:off x="15307177" y="8465083"/>
              <a:ext cx="237134" cy="332583"/>
            </a:xfrm>
            <a:custGeom>
              <a:avLst/>
              <a:gdLst>
                <a:gd name="connsiteX0" fmla="*/ 0 w 237134"/>
                <a:gd name="connsiteY0" fmla="*/ 135403 h 332583"/>
                <a:gd name="connsiteX1" fmla="*/ 148299 w 237134"/>
                <a:gd name="connsiteY1" fmla="*/ 193433 h 332583"/>
                <a:gd name="connsiteX2" fmla="*/ 209552 w 237134"/>
                <a:gd name="connsiteY2" fmla="*/ 319164 h 332583"/>
                <a:gd name="connsiteX3" fmla="*/ 235343 w 237134"/>
                <a:gd name="connsiteY3" fmla="*/ 315940 h 332583"/>
                <a:gd name="connsiteX4" fmla="*/ 35463 w 237134"/>
                <a:gd name="connsiteY4" fmla="*/ 0 h 332583"/>
                <a:gd name="connsiteX5" fmla="*/ 0 w 237134"/>
                <a:gd name="connsiteY5" fmla="*/ 135403 h 332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134" h="332583">
                  <a:moveTo>
                    <a:pt x="0" y="135403"/>
                  </a:moveTo>
                  <a:cubicBezTo>
                    <a:pt x="0" y="135403"/>
                    <a:pt x="96716" y="186985"/>
                    <a:pt x="148299" y="193433"/>
                  </a:cubicBezTo>
                  <a:cubicBezTo>
                    <a:pt x="203104" y="199881"/>
                    <a:pt x="209552" y="319164"/>
                    <a:pt x="209552" y="319164"/>
                  </a:cubicBezTo>
                  <a:cubicBezTo>
                    <a:pt x="209552" y="319164"/>
                    <a:pt x="232120" y="351403"/>
                    <a:pt x="235343" y="315940"/>
                  </a:cubicBezTo>
                  <a:cubicBezTo>
                    <a:pt x="241791" y="232119"/>
                    <a:pt x="241791" y="22567"/>
                    <a:pt x="35463" y="0"/>
                  </a:cubicBezTo>
                  <a:cubicBezTo>
                    <a:pt x="38687" y="0"/>
                    <a:pt x="25791" y="128955"/>
                    <a:pt x="0" y="13540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BCF5CCF7-E19F-4197-B16F-A6DA21A4100D}"/>
                </a:ext>
              </a:extLst>
            </p:cNvPr>
            <p:cNvSpPr/>
            <p:nvPr/>
          </p:nvSpPr>
          <p:spPr>
            <a:xfrm>
              <a:off x="15300729" y="8510217"/>
              <a:ext cx="164418" cy="151522"/>
            </a:xfrm>
            <a:custGeom>
              <a:avLst/>
              <a:gdLst>
                <a:gd name="connsiteX0" fmla="*/ 154747 w 164418"/>
                <a:gd name="connsiteY0" fmla="*/ 151522 h 151522"/>
                <a:gd name="connsiteX1" fmla="*/ 154747 w 164418"/>
                <a:gd name="connsiteY1" fmla="*/ 151522 h 151522"/>
                <a:gd name="connsiteX2" fmla="*/ 51582 w 164418"/>
                <a:gd name="connsiteY2" fmla="*/ 116059 h 151522"/>
                <a:gd name="connsiteX3" fmla="*/ 3224 w 164418"/>
                <a:gd name="connsiteY3" fmla="*/ 90268 h 151522"/>
                <a:gd name="connsiteX4" fmla="*/ 0 w 164418"/>
                <a:gd name="connsiteY4" fmla="*/ 87045 h 151522"/>
                <a:gd name="connsiteX5" fmla="*/ 0 w 164418"/>
                <a:gd name="connsiteY5" fmla="*/ 80597 h 151522"/>
                <a:gd name="connsiteX6" fmla="*/ 29016 w 164418"/>
                <a:gd name="connsiteY6" fmla="*/ 6448 h 151522"/>
                <a:gd name="connsiteX7" fmla="*/ 35463 w 164418"/>
                <a:gd name="connsiteY7" fmla="*/ 0 h 151522"/>
                <a:gd name="connsiteX8" fmla="*/ 35463 w 164418"/>
                <a:gd name="connsiteY8" fmla="*/ 0 h 151522"/>
                <a:gd name="connsiteX9" fmla="*/ 41911 w 164418"/>
                <a:gd name="connsiteY9" fmla="*/ 6448 h 151522"/>
                <a:gd name="connsiteX10" fmla="*/ 16119 w 164418"/>
                <a:gd name="connsiteY10" fmla="*/ 80597 h 151522"/>
                <a:gd name="connsiteX11" fmla="*/ 58030 w 164418"/>
                <a:gd name="connsiteY11" fmla="*/ 103164 h 151522"/>
                <a:gd name="connsiteX12" fmla="*/ 157971 w 164418"/>
                <a:gd name="connsiteY12" fmla="*/ 135403 h 151522"/>
                <a:gd name="connsiteX13" fmla="*/ 164418 w 164418"/>
                <a:gd name="connsiteY13" fmla="*/ 141851 h 151522"/>
                <a:gd name="connsiteX14" fmla="*/ 154747 w 164418"/>
                <a:gd name="connsiteY14" fmla="*/ 151522 h 151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4418" h="151522">
                  <a:moveTo>
                    <a:pt x="154747" y="151522"/>
                  </a:moveTo>
                  <a:cubicBezTo>
                    <a:pt x="154747" y="151522"/>
                    <a:pt x="154747" y="151522"/>
                    <a:pt x="154747" y="151522"/>
                  </a:cubicBezTo>
                  <a:cubicBezTo>
                    <a:pt x="116060" y="145075"/>
                    <a:pt x="77374" y="128955"/>
                    <a:pt x="51582" y="116059"/>
                  </a:cubicBezTo>
                  <a:cubicBezTo>
                    <a:pt x="22568" y="103164"/>
                    <a:pt x="3224" y="90268"/>
                    <a:pt x="3224" y="90268"/>
                  </a:cubicBezTo>
                  <a:cubicBezTo>
                    <a:pt x="3224" y="90268"/>
                    <a:pt x="0" y="87045"/>
                    <a:pt x="0" y="87045"/>
                  </a:cubicBezTo>
                  <a:cubicBezTo>
                    <a:pt x="0" y="83821"/>
                    <a:pt x="0" y="83821"/>
                    <a:pt x="0" y="80597"/>
                  </a:cubicBezTo>
                  <a:cubicBezTo>
                    <a:pt x="6448" y="74149"/>
                    <a:pt x="25792" y="32239"/>
                    <a:pt x="29016" y="6448"/>
                  </a:cubicBezTo>
                  <a:cubicBezTo>
                    <a:pt x="29016" y="3224"/>
                    <a:pt x="32239" y="0"/>
                    <a:pt x="35463" y="0"/>
                  </a:cubicBezTo>
                  <a:lnTo>
                    <a:pt x="35463" y="0"/>
                  </a:lnTo>
                  <a:cubicBezTo>
                    <a:pt x="38687" y="0"/>
                    <a:pt x="41911" y="3224"/>
                    <a:pt x="41911" y="6448"/>
                  </a:cubicBezTo>
                  <a:cubicBezTo>
                    <a:pt x="41911" y="32239"/>
                    <a:pt x="25792" y="67701"/>
                    <a:pt x="16119" y="80597"/>
                  </a:cubicBezTo>
                  <a:cubicBezTo>
                    <a:pt x="22568" y="83821"/>
                    <a:pt x="38687" y="93492"/>
                    <a:pt x="58030" y="103164"/>
                  </a:cubicBezTo>
                  <a:cubicBezTo>
                    <a:pt x="83821" y="116059"/>
                    <a:pt x="122508" y="132179"/>
                    <a:pt x="157971" y="135403"/>
                  </a:cubicBezTo>
                  <a:cubicBezTo>
                    <a:pt x="161194" y="135403"/>
                    <a:pt x="164418" y="138626"/>
                    <a:pt x="164418" y="141851"/>
                  </a:cubicBezTo>
                  <a:cubicBezTo>
                    <a:pt x="161194" y="148298"/>
                    <a:pt x="157971" y="151522"/>
                    <a:pt x="154747" y="151522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69288F9F-6A7C-461E-9C84-8E68938B9C1D}"/>
                </a:ext>
              </a:extLst>
            </p:cNvPr>
            <p:cNvSpPr/>
            <p:nvPr/>
          </p:nvSpPr>
          <p:spPr>
            <a:xfrm>
              <a:off x="15168551" y="9021479"/>
              <a:ext cx="256021" cy="81932"/>
            </a:xfrm>
            <a:custGeom>
              <a:avLst/>
              <a:gdLst>
                <a:gd name="connsiteX0" fmla="*/ 99940 w 256021"/>
                <a:gd name="connsiteY0" fmla="*/ 81932 h 81932"/>
                <a:gd name="connsiteX1" fmla="*/ 99940 w 256021"/>
                <a:gd name="connsiteY1" fmla="*/ 81932 h 81932"/>
                <a:gd name="connsiteX2" fmla="*/ 3223 w 256021"/>
                <a:gd name="connsiteY2" fmla="*/ 49694 h 81932"/>
                <a:gd name="connsiteX3" fmla="*/ 0 w 256021"/>
                <a:gd name="connsiteY3" fmla="*/ 40022 h 81932"/>
                <a:gd name="connsiteX4" fmla="*/ 9671 w 256021"/>
                <a:gd name="connsiteY4" fmla="*/ 36798 h 81932"/>
                <a:gd name="connsiteX5" fmla="*/ 99940 w 256021"/>
                <a:gd name="connsiteY5" fmla="*/ 69037 h 81932"/>
                <a:gd name="connsiteX6" fmla="*/ 99940 w 256021"/>
                <a:gd name="connsiteY6" fmla="*/ 69037 h 81932"/>
                <a:gd name="connsiteX7" fmla="*/ 245014 w 256021"/>
                <a:gd name="connsiteY7" fmla="*/ 1335 h 81932"/>
                <a:gd name="connsiteX8" fmla="*/ 254686 w 256021"/>
                <a:gd name="connsiteY8" fmla="*/ 4560 h 81932"/>
                <a:gd name="connsiteX9" fmla="*/ 251462 w 256021"/>
                <a:gd name="connsiteY9" fmla="*/ 14231 h 81932"/>
                <a:gd name="connsiteX10" fmla="*/ 99940 w 256021"/>
                <a:gd name="connsiteY10" fmla="*/ 81932 h 81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6021" h="81932">
                  <a:moveTo>
                    <a:pt x="99940" y="81932"/>
                  </a:moveTo>
                  <a:cubicBezTo>
                    <a:pt x="96716" y="81932"/>
                    <a:pt x="96716" y="81932"/>
                    <a:pt x="99940" y="81932"/>
                  </a:cubicBezTo>
                  <a:cubicBezTo>
                    <a:pt x="54805" y="81932"/>
                    <a:pt x="6447" y="49694"/>
                    <a:pt x="3223" y="49694"/>
                  </a:cubicBezTo>
                  <a:cubicBezTo>
                    <a:pt x="0" y="46470"/>
                    <a:pt x="0" y="43246"/>
                    <a:pt x="0" y="40022"/>
                  </a:cubicBezTo>
                  <a:cubicBezTo>
                    <a:pt x="3223" y="36798"/>
                    <a:pt x="6447" y="36798"/>
                    <a:pt x="9671" y="36798"/>
                  </a:cubicBezTo>
                  <a:cubicBezTo>
                    <a:pt x="9671" y="36798"/>
                    <a:pt x="58029" y="69037"/>
                    <a:pt x="99940" y="69037"/>
                  </a:cubicBezTo>
                  <a:cubicBezTo>
                    <a:pt x="99940" y="69037"/>
                    <a:pt x="99940" y="69037"/>
                    <a:pt x="99940" y="69037"/>
                  </a:cubicBezTo>
                  <a:cubicBezTo>
                    <a:pt x="148298" y="69037"/>
                    <a:pt x="245014" y="4560"/>
                    <a:pt x="245014" y="1335"/>
                  </a:cubicBezTo>
                  <a:cubicBezTo>
                    <a:pt x="248238" y="-1889"/>
                    <a:pt x="251462" y="1335"/>
                    <a:pt x="254686" y="4560"/>
                  </a:cubicBezTo>
                  <a:cubicBezTo>
                    <a:pt x="257910" y="7783"/>
                    <a:pt x="254686" y="11007"/>
                    <a:pt x="251462" y="14231"/>
                  </a:cubicBezTo>
                  <a:cubicBezTo>
                    <a:pt x="248238" y="14231"/>
                    <a:pt x="151522" y="81932"/>
                    <a:pt x="99940" y="81932"/>
                  </a:cubicBezTo>
                  <a:close/>
                </a:path>
              </a:pathLst>
            </a:custGeom>
            <a:solidFill>
              <a:srgbClr val="E58777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4DBF06BE-C87A-4913-A6CD-B07BDB1828A2}"/>
                </a:ext>
              </a:extLst>
            </p:cNvPr>
            <p:cNvSpPr/>
            <p:nvPr/>
          </p:nvSpPr>
          <p:spPr>
            <a:xfrm>
              <a:off x="15478043" y="8766558"/>
              <a:ext cx="82038" cy="120599"/>
            </a:xfrm>
            <a:custGeom>
              <a:avLst/>
              <a:gdLst>
                <a:gd name="connsiteX0" fmla="*/ 12896 w 82038"/>
                <a:gd name="connsiteY0" fmla="*/ 17689 h 120599"/>
                <a:gd name="connsiteX1" fmla="*/ 74149 w 82038"/>
                <a:gd name="connsiteY1" fmla="*/ 8018 h 120599"/>
                <a:gd name="connsiteX2" fmla="*/ 12896 w 82038"/>
                <a:gd name="connsiteY2" fmla="*/ 117629 h 120599"/>
                <a:gd name="connsiteX3" fmla="*/ 12896 w 82038"/>
                <a:gd name="connsiteY3" fmla="*/ 17689 h 12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038" h="120599">
                  <a:moveTo>
                    <a:pt x="12896" y="17689"/>
                  </a:moveTo>
                  <a:cubicBezTo>
                    <a:pt x="12896" y="17689"/>
                    <a:pt x="48358" y="-14549"/>
                    <a:pt x="74149" y="8018"/>
                  </a:cubicBezTo>
                  <a:cubicBezTo>
                    <a:pt x="99940" y="27361"/>
                    <a:pt x="58030" y="140196"/>
                    <a:pt x="12896" y="117629"/>
                  </a:cubicBezTo>
                  <a:cubicBezTo>
                    <a:pt x="-16120" y="95062"/>
                    <a:pt x="12896" y="17689"/>
                    <a:pt x="12896" y="17689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F83E45E4-FE51-4A25-B849-66564BDFC13A}"/>
                </a:ext>
              </a:extLst>
            </p:cNvPr>
            <p:cNvSpPr/>
            <p:nvPr/>
          </p:nvSpPr>
          <p:spPr>
            <a:xfrm>
              <a:off x="15049267" y="8590814"/>
              <a:ext cx="267581" cy="167641"/>
            </a:xfrm>
            <a:custGeom>
              <a:avLst/>
              <a:gdLst>
                <a:gd name="connsiteX0" fmla="*/ 6448 w 267581"/>
                <a:gd name="connsiteY0" fmla="*/ 167642 h 167641"/>
                <a:gd name="connsiteX1" fmla="*/ 6448 w 267581"/>
                <a:gd name="connsiteY1" fmla="*/ 167642 h 167641"/>
                <a:gd name="connsiteX2" fmla="*/ 0 w 267581"/>
                <a:gd name="connsiteY2" fmla="*/ 161194 h 167641"/>
                <a:gd name="connsiteX3" fmla="*/ 116060 w 267581"/>
                <a:gd name="connsiteY3" fmla="*/ 48358 h 167641"/>
                <a:gd name="connsiteX4" fmla="*/ 257910 w 267581"/>
                <a:gd name="connsiteY4" fmla="*/ 0 h 167641"/>
                <a:gd name="connsiteX5" fmla="*/ 267582 w 267581"/>
                <a:gd name="connsiteY5" fmla="*/ 3224 h 167641"/>
                <a:gd name="connsiteX6" fmla="*/ 264359 w 267581"/>
                <a:gd name="connsiteY6" fmla="*/ 12895 h 167641"/>
                <a:gd name="connsiteX7" fmla="*/ 122507 w 267581"/>
                <a:gd name="connsiteY7" fmla="*/ 61254 h 167641"/>
                <a:gd name="connsiteX8" fmla="*/ 16119 w 267581"/>
                <a:gd name="connsiteY8" fmla="*/ 164418 h 167641"/>
                <a:gd name="connsiteX9" fmla="*/ 6448 w 267581"/>
                <a:gd name="connsiteY9" fmla="*/ 167642 h 16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7581" h="167641">
                  <a:moveTo>
                    <a:pt x="6448" y="167642"/>
                  </a:moveTo>
                  <a:cubicBezTo>
                    <a:pt x="6448" y="167642"/>
                    <a:pt x="3224" y="167642"/>
                    <a:pt x="6448" y="167642"/>
                  </a:cubicBezTo>
                  <a:cubicBezTo>
                    <a:pt x="3224" y="167642"/>
                    <a:pt x="0" y="164418"/>
                    <a:pt x="0" y="161194"/>
                  </a:cubicBezTo>
                  <a:cubicBezTo>
                    <a:pt x="12895" y="87045"/>
                    <a:pt x="64478" y="64478"/>
                    <a:pt x="116060" y="48358"/>
                  </a:cubicBezTo>
                  <a:cubicBezTo>
                    <a:pt x="186985" y="29015"/>
                    <a:pt x="254686" y="0"/>
                    <a:pt x="257910" y="0"/>
                  </a:cubicBezTo>
                  <a:cubicBezTo>
                    <a:pt x="261135" y="0"/>
                    <a:pt x="264359" y="0"/>
                    <a:pt x="267582" y="3224"/>
                  </a:cubicBezTo>
                  <a:cubicBezTo>
                    <a:pt x="267582" y="6448"/>
                    <a:pt x="267582" y="9671"/>
                    <a:pt x="264359" y="12895"/>
                  </a:cubicBezTo>
                  <a:cubicBezTo>
                    <a:pt x="264359" y="12895"/>
                    <a:pt x="193433" y="38686"/>
                    <a:pt x="122507" y="61254"/>
                  </a:cubicBezTo>
                  <a:cubicBezTo>
                    <a:pt x="64478" y="77373"/>
                    <a:pt x="25791" y="103164"/>
                    <a:pt x="16119" y="164418"/>
                  </a:cubicBezTo>
                  <a:cubicBezTo>
                    <a:pt x="9671" y="164418"/>
                    <a:pt x="9671" y="167642"/>
                    <a:pt x="6448" y="167642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0FF1862A-A8B4-4C43-9BB3-AC500E9F731B}"/>
                </a:ext>
              </a:extLst>
            </p:cNvPr>
            <p:cNvSpPr/>
            <p:nvPr/>
          </p:nvSpPr>
          <p:spPr>
            <a:xfrm>
              <a:off x="15058938" y="9299685"/>
              <a:ext cx="605121" cy="690293"/>
            </a:xfrm>
            <a:custGeom>
              <a:avLst/>
              <a:gdLst>
                <a:gd name="connsiteX0" fmla="*/ 564179 w 605121"/>
                <a:gd name="connsiteY0" fmla="*/ 51965 h 690293"/>
                <a:gd name="connsiteX1" fmla="*/ 370746 w 605121"/>
                <a:gd name="connsiteY1" fmla="*/ 139009 h 690293"/>
                <a:gd name="connsiteX2" fmla="*/ 364299 w 605121"/>
                <a:gd name="connsiteY2" fmla="*/ 493636 h 690293"/>
                <a:gd name="connsiteX3" fmla="*/ 0 w 605121"/>
                <a:gd name="connsiteY3" fmla="*/ 587129 h 690293"/>
                <a:gd name="connsiteX4" fmla="*/ 9672 w 605121"/>
                <a:gd name="connsiteY4" fmla="*/ 690293 h 690293"/>
                <a:gd name="connsiteX5" fmla="*/ 515821 w 605121"/>
                <a:gd name="connsiteY5" fmla="*/ 593577 h 690293"/>
                <a:gd name="connsiteX6" fmla="*/ 564179 w 605121"/>
                <a:gd name="connsiteY6" fmla="*/ 51965 h 690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5121" h="690293">
                  <a:moveTo>
                    <a:pt x="564179" y="51965"/>
                  </a:moveTo>
                  <a:cubicBezTo>
                    <a:pt x="461016" y="-60871"/>
                    <a:pt x="361075" y="29398"/>
                    <a:pt x="370746" y="139009"/>
                  </a:cubicBezTo>
                  <a:cubicBezTo>
                    <a:pt x="380419" y="245397"/>
                    <a:pt x="380419" y="471069"/>
                    <a:pt x="364299" y="493636"/>
                  </a:cubicBezTo>
                  <a:cubicBezTo>
                    <a:pt x="319165" y="512980"/>
                    <a:pt x="0" y="587129"/>
                    <a:pt x="0" y="587129"/>
                  </a:cubicBezTo>
                  <a:cubicBezTo>
                    <a:pt x="16119" y="609696"/>
                    <a:pt x="9672" y="690293"/>
                    <a:pt x="9672" y="690293"/>
                  </a:cubicBezTo>
                  <a:cubicBezTo>
                    <a:pt x="9672" y="690293"/>
                    <a:pt x="441672" y="677398"/>
                    <a:pt x="515821" y="593577"/>
                  </a:cubicBezTo>
                  <a:cubicBezTo>
                    <a:pt x="554508" y="548443"/>
                    <a:pt x="664120" y="168025"/>
                    <a:pt x="564179" y="51965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7D7F18F0-7EF9-412F-8036-F11F285EF74D}"/>
                </a:ext>
              </a:extLst>
            </p:cNvPr>
            <p:cNvSpPr/>
            <p:nvPr/>
          </p:nvSpPr>
          <p:spPr>
            <a:xfrm>
              <a:off x="15411736" y="9176132"/>
              <a:ext cx="311408" cy="359316"/>
            </a:xfrm>
            <a:custGeom>
              <a:avLst/>
              <a:gdLst>
                <a:gd name="connsiteX0" fmla="*/ 311321 w 311408"/>
                <a:gd name="connsiteY0" fmla="*/ 343160 h 359316"/>
                <a:gd name="connsiteX1" fmla="*/ 163022 w 311408"/>
                <a:gd name="connsiteY1" fmla="*/ 1429 h 359316"/>
                <a:gd name="connsiteX2" fmla="*/ 1828 w 311408"/>
                <a:gd name="connsiteY2" fmla="*/ 333488 h 359316"/>
                <a:gd name="connsiteX3" fmla="*/ 311321 w 311408"/>
                <a:gd name="connsiteY3" fmla="*/ 343160 h 359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1408" h="359316">
                  <a:moveTo>
                    <a:pt x="311321" y="343160"/>
                  </a:moveTo>
                  <a:cubicBezTo>
                    <a:pt x="314545" y="188414"/>
                    <a:pt x="227500" y="14324"/>
                    <a:pt x="163022" y="1429"/>
                  </a:cubicBezTo>
                  <a:cubicBezTo>
                    <a:pt x="79202" y="-17915"/>
                    <a:pt x="-14291" y="162623"/>
                    <a:pt x="1828" y="333488"/>
                  </a:cubicBezTo>
                  <a:cubicBezTo>
                    <a:pt x="56635" y="362503"/>
                    <a:pt x="227500" y="368951"/>
                    <a:pt x="311321" y="343160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C2BFAF8F-A93B-4B9A-B265-B36A7FF4C320}"/>
                </a:ext>
              </a:extLst>
            </p:cNvPr>
            <p:cNvSpPr/>
            <p:nvPr/>
          </p:nvSpPr>
          <p:spPr>
            <a:xfrm>
              <a:off x="15401804" y="9171113"/>
              <a:ext cx="160059" cy="367522"/>
            </a:xfrm>
            <a:custGeom>
              <a:avLst/>
              <a:gdLst>
                <a:gd name="connsiteX0" fmla="*/ 131045 w 160059"/>
                <a:gd name="connsiteY0" fmla="*/ 367522 h 367522"/>
                <a:gd name="connsiteX1" fmla="*/ 131045 w 160059"/>
                <a:gd name="connsiteY1" fmla="*/ 367522 h 367522"/>
                <a:gd name="connsiteX2" fmla="*/ 5314 w 160059"/>
                <a:gd name="connsiteY2" fmla="*/ 341731 h 367522"/>
                <a:gd name="connsiteX3" fmla="*/ 2090 w 160059"/>
                <a:gd name="connsiteY3" fmla="*/ 338507 h 367522"/>
                <a:gd name="connsiteX4" fmla="*/ 50448 w 160059"/>
                <a:gd name="connsiteY4" fmla="*/ 90268 h 367522"/>
                <a:gd name="connsiteX5" fmla="*/ 53672 w 160059"/>
                <a:gd name="connsiteY5" fmla="*/ 83821 h 367522"/>
                <a:gd name="connsiteX6" fmla="*/ 153613 w 160059"/>
                <a:gd name="connsiteY6" fmla="*/ 0 h 367522"/>
                <a:gd name="connsiteX7" fmla="*/ 160060 w 160059"/>
                <a:gd name="connsiteY7" fmla="*/ 6448 h 367522"/>
                <a:gd name="connsiteX8" fmla="*/ 153613 w 160059"/>
                <a:gd name="connsiteY8" fmla="*/ 12895 h 367522"/>
                <a:gd name="connsiteX9" fmla="*/ 60119 w 160059"/>
                <a:gd name="connsiteY9" fmla="*/ 93492 h 367522"/>
                <a:gd name="connsiteX10" fmla="*/ 56896 w 160059"/>
                <a:gd name="connsiteY10" fmla="*/ 99940 h 367522"/>
                <a:gd name="connsiteX11" fmla="*/ 11761 w 160059"/>
                <a:gd name="connsiteY11" fmla="*/ 338507 h 367522"/>
                <a:gd name="connsiteX12" fmla="*/ 127821 w 160059"/>
                <a:gd name="connsiteY12" fmla="*/ 361075 h 367522"/>
                <a:gd name="connsiteX13" fmla="*/ 134269 w 160059"/>
                <a:gd name="connsiteY13" fmla="*/ 367522 h 367522"/>
                <a:gd name="connsiteX14" fmla="*/ 131045 w 160059"/>
                <a:gd name="connsiteY14" fmla="*/ 367522 h 367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0059" h="367522">
                  <a:moveTo>
                    <a:pt x="131045" y="367522"/>
                  </a:moveTo>
                  <a:lnTo>
                    <a:pt x="131045" y="367522"/>
                  </a:lnTo>
                  <a:cubicBezTo>
                    <a:pt x="66568" y="367522"/>
                    <a:pt x="27881" y="354627"/>
                    <a:pt x="5314" y="341731"/>
                  </a:cubicBezTo>
                  <a:cubicBezTo>
                    <a:pt x="5314" y="341731"/>
                    <a:pt x="2090" y="338507"/>
                    <a:pt x="2090" y="338507"/>
                  </a:cubicBezTo>
                  <a:cubicBezTo>
                    <a:pt x="-4358" y="312716"/>
                    <a:pt x="2090" y="167642"/>
                    <a:pt x="50448" y="90268"/>
                  </a:cubicBezTo>
                  <a:cubicBezTo>
                    <a:pt x="50448" y="87045"/>
                    <a:pt x="53672" y="87045"/>
                    <a:pt x="53672" y="83821"/>
                  </a:cubicBezTo>
                  <a:cubicBezTo>
                    <a:pt x="69792" y="58029"/>
                    <a:pt x="98806" y="6448"/>
                    <a:pt x="153613" y="0"/>
                  </a:cubicBezTo>
                  <a:cubicBezTo>
                    <a:pt x="156836" y="0"/>
                    <a:pt x="160060" y="3224"/>
                    <a:pt x="160060" y="6448"/>
                  </a:cubicBezTo>
                  <a:cubicBezTo>
                    <a:pt x="160060" y="9671"/>
                    <a:pt x="156836" y="12895"/>
                    <a:pt x="153613" y="12895"/>
                  </a:cubicBezTo>
                  <a:cubicBezTo>
                    <a:pt x="105254" y="19343"/>
                    <a:pt x="76239" y="67701"/>
                    <a:pt x="60119" y="93492"/>
                  </a:cubicBezTo>
                  <a:cubicBezTo>
                    <a:pt x="60119" y="96716"/>
                    <a:pt x="56896" y="99940"/>
                    <a:pt x="56896" y="99940"/>
                  </a:cubicBezTo>
                  <a:cubicBezTo>
                    <a:pt x="14985" y="170865"/>
                    <a:pt x="5314" y="306269"/>
                    <a:pt x="11761" y="338507"/>
                  </a:cubicBezTo>
                  <a:cubicBezTo>
                    <a:pt x="31105" y="348179"/>
                    <a:pt x="69792" y="361075"/>
                    <a:pt x="127821" y="361075"/>
                  </a:cubicBezTo>
                  <a:cubicBezTo>
                    <a:pt x="131045" y="361075"/>
                    <a:pt x="134269" y="364298"/>
                    <a:pt x="134269" y="367522"/>
                  </a:cubicBezTo>
                  <a:cubicBezTo>
                    <a:pt x="137493" y="367522"/>
                    <a:pt x="134269" y="367522"/>
                    <a:pt x="131045" y="367522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A9F92088-446B-401F-A756-1CAFB29E88E5}"/>
                </a:ext>
              </a:extLst>
            </p:cNvPr>
            <p:cNvSpPr/>
            <p:nvPr/>
          </p:nvSpPr>
          <p:spPr>
            <a:xfrm>
              <a:off x="14176891" y="9833075"/>
              <a:ext cx="292077" cy="169798"/>
            </a:xfrm>
            <a:custGeom>
              <a:avLst/>
              <a:gdLst>
                <a:gd name="connsiteX0" fmla="*/ 108316 w 292077"/>
                <a:gd name="connsiteY0" fmla="*/ 166575 h 169798"/>
                <a:gd name="connsiteX1" fmla="*/ 172794 w 292077"/>
                <a:gd name="connsiteY1" fmla="*/ 156903 h 169798"/>
                <a:gd name="connsiteX2" fmla="*/ 272734 w 292077"/>
                <a:gd name="connsiteY2" fmla="*/ 124664 h 169798"/>
                <a:gd name="connsiteX3" fmla="*/ 292078 w 292077"/>
                <a:gd name="connsiteY3" fmla="*/ 31172 h 169798"/>
                <a:gd name="connsiteX4" fmla="*/ 40615 w 292077"/>
                <a:gd name="connsiteY4" fmla="*/ 31172 h 169798"/>
                <a:gd name="connsiteX5" fmla="*/ 24496 w 292077"/>
                <a:gd name="connsiteY5" fmla="*/ 53739 h 169798"/>
                <a:gd name="connsiteX6" fmla="*/ 63182 w 292077"/>
                <a:gd name="connsiteY6" fmla="*/ 60187 h 169798"/>
                <a:gd name="connsiteX7" fmla="*/ 114764 w 292077"/>
                <a:gd name="connsiteY7" fmla="*/ 63411 h 169798"/>
                <a:gd name="connsiteX8" fmla="*/ 53511 w 292077"/>
                <a:gd name="connsiteY8" fmla="*/ 79530 h 169798"/>
                <a:gd name="connsiteX9" fmla="*/ 8376 w 292077"/>
                <a:gd name="connsiteY9" fmla="*/ 92425 h 169798"/>
                <a:gd name="connsiteX10" fmla="*/ 1928 w 292077"/>
                <a:gd name="connsiteY10" fmla="*/ 114993 h 169798"/>
                <a:gd name="connsiteX11" fmla="*/ 24496 w 292077"/>
                <a:gd name="connsiteY11" fmla="*/ 131112 h 169798"/>
                <a:gd name="connsiteX12" fmla="*/ 24496 w 292077"/>
                <a:gd name="connsiteY12" fmla="*/ 131112 h 169798"/>
                <a:gd name="connsiteX13" fmla="*/ 24496 w 292077"/>
                <a:gd name="connsiteY13" fmla="*/ 137560 h 169798"/>
                <a:gd name="connsiteX14" fmla="*/ 63182 w 292077"/>
                <a:gd name="connsiteY14" fmla="*/ 147231 h 169798"/>
                <a:gd name="connsiteX15" fmla="*/ 85749 w 292077"/>
                <a:gd name="connsiteY15" fmla="*/ 144008 h 169798"/>
                <a:gd name="connsiteX16" fmla="*/ 79301 w 292077"/>
                <a:gd name="connsiteY16" fmla="*/ 147231 h 169798"/>
                <a:gd name="connsiteX17" fmla="*/ 76077 w 292077"/>
                <a:gd name="connsiteY17" fmla="*/ 163351 h 169798"/>
                <a:gd name="connsiteX18" fmla="*/ 108316 w 292077"/>
                <a:gd name="connsiteY18" fmla="*/ 166575 h 169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92077" h="169798">
                  <a:moveTo>
                    <a:pt x="108316" y="166575"/>
                  </a:moveTo>
                  <a:cubicBezTo>
                    <a:pt x="130883" y="163351"/>
                    <a:pt x="150227" y="160127"/>
                    <a:pt x="172794" y="156903"/>
                  </a:cubicBezTo>
                  <a:cubicBezTo>
                    <a:pt x="208256" y="153679"/>
                    <a:pt x="246943" y="153679"/>
                    <a:pt x="272734" y="124664"/>
                  </a:cubicBezTo>
                  <a:cubicBezTo>
                    <a:pt x="288853" y="105321"/>
                    <a:pt x="292078" y="31172"/>
                    <a:pt x="292078" y="31172"/>
                  </a:cubicBezTo>
                  <a:cubicBezTo>
                    <a:pt x="259839" y="-30082"/>
                    <a:pt x="92197" y="15053"/>
                    <a:pt x="40615" y="31172"/>
                  </a:cubicBezTo>
                  <a:cubicBezTo>
                    <a:pt x="30943" y="34396"/>
                    <a:pt x="11599" y="44067"/>
                    <a:pt x="24496" y="53739"/>
                  </a:cubicBezTo>
                  <a:cubicBezTo>
                    <a:pt x="34167" y="60187"/>
                    <a:pt x="53511" y="56963"/>
                    <a:pt x="63182" y="60187"/>
                  </a:cubicBezTo>
                  <a:cubicBezTo>
                    <a:pt x="79301" y="60187"/>
                    <a:pt x="95421" y="63411"/>
                    <a:pt x="114764" y="63411"/>
                  </a:cubicBezTo>
                  <a:cubicBezTo>
                    <a:pt x="95421" y="69858"/>
                    <a:pt x="72854" y="73082"/>
                    <a:pt x="53511" y="79530"/>
                  </a:cubicBezTo>
                  <a:cubicBezTo>
                    <a:pt x="40615" y="82754"/>
                    <a:pt x="21272" y="82754"/>
                    <a:pt x="8376" y="92425"/>
                  </a:cubicBezTo>
                  <a:cubicBezTo>
                    <a:pt x="-1296" y="98873"/>
                    <a:pt x="-1296" y="105321"/>
                    <a:pt x="1928" y="114993"/>
                  </a:cubicBezTo>
                  <a:cubicBezTo>
                    <a:pt x="5152" y="124664"/>
                    <a:pt x="14824" y="127888"/>
                    <a:pt x="24496" y="131112"/>
                  </a:cubicBezTo>
                  <a:cubicBezTo>
                    <a:pt x="24496" y="131112"/>
                    <a:pt x="24496" y="131112"/>
                    <a:pt x="24496" y="131112"/>
                  </a:cubicBezTo>
                  <a:cubicBezTo>
                    <a:pt x="24496" y="131112"/>
                    <a:pt x="24496" y="134336"/>
                    <a:pt x="24496" y="137560"/>
                  </a:cubicBezTo>
                  <a:cubicBezTo>
                    <a:pt x="34167" y="147231"/>
                    <a:pt x="50286" y="150455"/>
                    <a:pt x="63182" y="147231"/>
                  </a:cubicBezTo>
                  <a:cubicBezTo>
                    <a:pt x="69630" y="147231"/>
                    <a:pt x="79301" y="144008"/>
                    <a:pt x="85749" y="144008"/>
                  </a:cubicBezTo>
                  <a:cubicBezTo>
                    <a:pt x="82525" y="144008"/>
                    <a:pt x="82525" y="147231"/>
                    <a:pt x="79301" y="147231"/>
                  </a:cubicBezTo>
                  <a:cubicBezTo>
                    <a:pt x="72854" y="150455"/>
                    <a:pt x="72854" y="156903"/>
                    <a:pt x="76077" y="163351"/>
                  </a:cubicBezTo>
                  <a:cubicBezTo>
                    <a:pt x="79301" y="173022"/>
                    <a:pt x="95421" y="169798"/>
                    <a:pt x="108316" y="166575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1" name="图形 1">
              <a:extLst>
                <a:ext uri="{FF2B5EF4-FFF2-40B4-BE49-F238E27FC236}">
                  <a16:creationId xmlns:a16="http://schemas.microsoft.com/office/drawing/2014/main" id="{4BAA8959-5EDE-4DDA-824D-848BE1C93D2A}"/>
                </a:ext>
              </a:extLst>
            </p:cNvPr>
            <p:cNvGrpSpPr/>
            <p:nvPr/>
          </p:nvGrpSpPr>
          <p:grpSpPr>
            <a:xfrm>
              <a:off x="13820968" y="9641799"/>
              <a:ext cx="631880" cy="628657"/>
              <a:chOff x="13820968" y="9641799"/>
              <a:chExt cx="631880" cy="628657"/>
            </a:xfrm>
          </p:grpSpPr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98CE49F8-D34B-429C-B495-B9DC8FB353C2}"/>
                  </a:ext>
                </a:extLst>
              </p:cNvPr>
              <p:cNvSpPr/>
              <p:nvPr/>
            </p:nvSpPr>
            <p:spPr>
              <a:xfrm>
                <a:off x="13849983" y="9641799"/>
                <a:ext cx="602866" cy="557731"/>
              </a:xfrm>
              <a:custGeom>
                <a:avLst/>
                <a:gdLst>
                  <a:gd name="connsiteX0" fmla="*/ 602866 w 602866"/>
                  <a:gd name="connsiteY0" fmla="*/ 483583 h 557731"/>
                  <a:gd name="connsiteX1" fmla="*/ 203105 w 602866"/>
                  <a:gd name="connsiteY1" fmla="*/ 557731 h 557731"/>
                  <a:gd name="connsiteX2" fmla="*/ 0 w 602866"/>
                  <a:gd name="connsiteY2" fmla="*/ 90269 h 557731"/>
                  <a:gd name="connsiteX3" fmla="*/ 425553 w 602866"/>
                  <a:gd name="connsiteY3" fmla="*/ 0 h 55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2866" h="557731">
                    <a:moveTo>
                      <a:pt x="602866" y="483583"/>
                    </a:moveTo>
                    <a:lnTo>
                      <a:pt x="203105" y="557731"/>
                    </a:lnTo>
                    <a:lnTo>
                      <a:pt x="0" y="90269"/>
                    </a:lnTo>
                    <a:lnTo>
                      <a:pt x="425553" y="0"/>
                    </a:ln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AE503523-F448-4B21-8EEE-7BD101A0C4A2}"/>
                  </a:ext>
                </a:extLst>
              </p:cNvPr>
              <p:cNvSpPr/>
              <p:nvPr/>
            </p:nvSpPr>
            <p:spPr>
              <a:xfrm>
                <a:off x="13820968" y="9732068"/>
                <a:ext cx="141850" cy="138626"/>
              </a:xfrm>
              <a:custGeom>
                <a:avLst/>
                <a:gdLst>
                  <a:gd name="connsiteX0" fmla="*/ 0 w 141850"/>
                  <a:gd name="connsiteY0" fmla="*/ 70925 h 138626"/>
                  <a:gd name="connsiteX1" fmla="*/ 29015 w 141850"/>
                  <a:gd name="connsiteY1" fmla="*/ 0 h 138626"/>
                  <a:gd name="connsiteX2" fmla="*/ 141851 w 141850"/>
                  <a:gd name="connsiteY2" fmla="*/ 70925 h 138626"/>
                  <a:gd name="connsiteX3" fmla="*/ 125731 w 141850"/>
                  <a:gd name="connsiteY3" fmla="*/ 138627 h 138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1850" h="138626">
                    <a:moveTo>
                      <a:pt x="0" y="70925"/>
                    </a:moveTo>
                    <a:lnTo>
                      <a:pt x="29015" y="0"/>
                    </a:lnTo>
                    <a:lnTo>
                      <a:pt x="141851" y="70925"/>
                    </a:lnTo>
                    <a:lnTo>
                      <a:pt x="125731" y="138627"/>
                    </a:ln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2F9BA87A-BF60-4336-9A16-0E8B0A568B95}"/>
                  </a:ext>
                </a:extLst>
              </p:cNvPr>
              <p:cNvSpPr/>
              <p:nvPr/>
            </p:nvSpPr>
            <p:spPr>
              <a:xfrm>
                <a:off x="13846760" y="9667590"/>
                <a:ext cx="570626" cy="512596"/>
              </a:xfrm>
              <a:custGeom>
                <a:avLst/>
                <a:gdLst>
                  <a:gd name="connsiteX0" fmla="*/ 0 w 570626"/>
                  <a:gd name="connsiteY0" fmla="*/ 138627 h 512596"/>
                  <a:gd name="connsiteX1" fmla="*/ 22567 w 570626"/>
                  <a:gd name="connsiteY1" fmla="*/ 83821 h 512596"/>
                  <a:gd name="connsiteX2" fmla="*/ 412656 w 570626"/>
                  <a:gd name="connsiteY2" fmla="*/ 0 h 512596"/>
                  <a:gd name="connsiteX3" fmla="*/ 570626 w 570626"/>
                  <a:gd name="connsiteY3" fmla="*/ 438448 h 512596"/>
                  <a:gd name="connsiteX4" fmla="*/ 538387 w 570626"/>
                  <a:gd name="connsiteY4" fmla="*/ 512597 h 512596"/>
                  <a:gd name="connsiteX5" fmla="*/ 393313 w 570626"/>
                  <a:gd name="connsiteY5" fmla="*/ 451343 h 512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0626" h="512596">
                    <a:moveTo>
                      <a:pt x="0" y="138627"/>
                    </a:moveTo>
                    <a:lnTo>
                      <a:pt x="22567" y="83821"/>
                    </a:lnTo>
                    <a:lnTo>
                      <a:pt x="412656" y="0"/>
                    </a:lnTo>
                    <a:lnTo>
                      <a:pt x="570626" y="438448"/>
                    </a:lnTo>
                    <a:lnTo>
                      <a:pt x="538387" y="512597"/>
                    </a:lnTo>
                    <a:lnTo>
                      <a:pt x="393313" y="451343"/>
                    </a:lnTo>
                    <a:close/>
                  </a:path>
                </a:pathLst>
              </a:custGeom>
              <a:solidFill>
                <a:srgbClr val="FFFFFF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467B1B0D-3ED6-48D7-A116-7044C632BF1E}"/>
                  </a:ext>
                </a:extLst>
              </p:cNvPr>
              <p:cNvSpPr/>
              <p:nvPr/>
            </p:nvSpPr>
            <p:spPr>
              <a:xfrm>
                <a:off x="13820968" y="9712724"/>
                <a:ext cx="599641" cy="557731"/>
              </a:xfrm>
              <a:custGeom>
                <a:avLst/>
                <a:gdLst>
                  <a:gd name="connsiteX0" fmla="*/ 599642 w 599641"/>
                  <a:gd name="connsiteY0" fmla="*/ 483582 h 557731"/>
                  <a:gd name="connsiteX1" fmla="*/ 199881 w 599641"/>
                  <a:gd name="connsiteY1" fmla="*/ 557732 h 557731"/>
                  <a:gd name="connsiteX2" fmla="*/ 0 w 599641"/>
                  <a:gd name="connsiteY2" fmla="*/ 90269 h 557731"/>
                  <a:gd name="connsiteX3" fmla="*/ 425553 w 599641"/>
                  <a:gd name="connsiteY3" fmla="*/ 0 h 55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9641" h="557731">
                    <a:moveTo>
                      <a:pt x="599642" y="483582"/>
                    </a:moveTo>
                    <a:lnTo>
                      <a:pt x="199881" y="557732"/>
                    </a:lnTo>
                    <a:lnTo>
                      <a:pt x="0" y="90269"/>
                    </a:lnTo>
                    <a:lnTo>
                      <a:pt x="425553" y="0"/>
                    </a:ln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1892A415-1505-44FF-B794-287F98F90521}"/>
                </a:ext>
              </a:extLst>
            </p:cNvPr>
            <p:cNvSpPr/>
            <p:nvPr/>
          </p:nvSpPr>
          <p:spPr>
            <a:xfrm>
              <a:off x="14309242" y="9838746"/>
              <a:ext cx="121650" cy="90400"/>
            </a:xfrm>
            <a:custGeom>
              <a:avLst/>
              <a:gdLst>
                <a:gd name="connsiteX0" fmla="*/ 11428 w 121650"/>
                <a:gd name="connsiteY0" fmla="*/ 89979 h 90400"/>
                <a:gd name="connsiteX1" fmla="*/ 27547 w 121650"/>
                <a:gd name="connsiteY1" fmla="*/ 70635 h 90400"/>
                <a:gd name="connsiteX2" fmla="*/ 72681 w 121650"/>
                <a:gd name="connsiteY2" fmla="*/ 48068 h 90400"/>
                <a:gd name="connsiteX3" fmla="*/ 121039 w 121650"/>
                <a:gd name="connsiteY3" fmla="*/ 64187 h 90400"/>
                <a:gd name="connsiteX4" fmla="*/ 95249 w 121650"/>
                <a:gd name="connsiteY4" fmla="*/ 2933 h 90400"/>
                <a:gd name="connsiteX5" fmla="*/ 8204 w 121650"/>
                <a:gd name="connsiteY5" fmla="*/ 22277 h 90400"/>
                <a:gd name="connsiteX6" fmla="*/ 11428 w 121650"/>
                <a:gd name="connsiteY6" fmla="*/ 89979 h 9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650" h="90400">
                  <a:moveTo>
                    <a:pt x="11428" y="89979"/>
                  </a:moveTo>
                  <a:cubicBezTo>
                    <a:pt x="21100" y="93202"/>
                    <a:pt x="21100" y="77083"/>
                    <a:pt x="27547" y="70635"/>
                  </a:cubicBezTo>
                  <a:cubicBezTo>
                    <a:pt x="40442" y="57740"/>
                    <a:pt x="53339" y="48068"/>
                    <a:pt x="72681" y="48068"/>
                  </a:cubicBezTo>
                  <a:cubicBezTo>
                    <a:pt x="85577" y="48068"/>
                    <a:pt x="111368" y="60963"/>
                    <a:pt x="121039" y="64187"/>
                  </a:cubicBezTo>
                  <a:cubicBezTo>
                    <a:pt x="124263" y="64187"/>
                    <a:pt x="114592" y="9382"/>
                    <a:pt x="95249" y="2933"/>
                  </a:cubicBezTo>
                  <a:cubicBezTo>
                    <a:pt x="72681" y="-3514"/>
                    <a:pt x="24323" y="-290"/>
                    <a:pt x="8204" y="22277"/>
                  </a:cubicBezTo>
                  <a:cubicBezTo>
                    <a:pt x="1756" y="35172"/>
                    <a:pt x="-7916" y="83530"/>
                    <a:pt x="11428" y="89979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AA8C5B2B-F626-4131-8426-676071B19CEC}"/>
                </a:ext>
              </a:extLst>
            </p:cNvPr>
            <p:cNvSpPr/>
            <p:nvPr/>
          </p:nvSpPr>
          <p:spPr>
            <a:xfrm>
              <a:off x="14303746" y="9832946"/>
              <a:ext cx="114975" cy="102226"/>
            </a:xfrm>
            <a:custGeom>
              <a:avLst/>
              <a:gdLst>
                <a:gd name="connsiteX0" fmla="*/ 16924 w 114975"/>
                <a:gd name="connsiteY0" fmla="*/ 102227 h 102226"/>
                <a:gd name="connsiteX1" fmla="*/ 4029 w 114975"/>
                <a:gd name="connsiteY1" fmla="*/ 92555 h 102226"/>
                <a:gd name="connsiteX2" fmla="*/ 13700 w 114975"/>
                <a:gd name="connsiteY2" fmla="*/ 24853 h 102226"/>
                <a:gd name="connsiteX3" fmla="*/ 107193 w 114975"/>
                <a:gd name="connsiteY3" fmla="*/ 2286 h 102226"/>
                <a:gd name="connsiteX4" fmla="*/ 113640 w 114975"/>
                <a:gd name="connsiteY4" fmla="*/ 8734 h 102226"/>
                <a:gd name="connsiteX5" fmla="*/ 107193 w 114975"/>
                <a:gd name="connsiteY5" fmla="*/ 15182 h 102226"/>
                <a:gd name="connsiteX6" fmla="*/ 26596 w 114975"/>
                <a:gd name="connsiteY6" fmla="*/ 31301 h 102226"/>
                <a:gd name="connsiteX7" fmla="*/ 16924 w 114975"/>
                <a:gd name="connsiteY7" fmla="*/ 86107 h 102226"/>
                <a:gd name="connsiteX8" fmla="*/ 20148 w 114975"/>
                <a:gd name="connsiteY8" fmla="*/ 89331 h 102226"/>
                <a:gd name="connsiteX9" fmla="*/ 29819 w 114975"/>
                <a:gd name="connsiteY9" fmla="*/ 79660 h 102226"/>
                <a:gd name="connsiteX10" fmla="*/ 81402 w 114975"/>
                <a:gd name="connsiteY10" fmla="*/ 50644 h 102226"/>
                <a:gd name="connsiteX11" fmla="*/ 87850 w 114975"/>
                <a:gd name="connsiteY11" fmla="*/ 53868 h 102226"/>
                <a:gd name="connsiteX12" fmla="*/ 110416 w 114975"/>
                <a:gd name="connsiteY12" fmla="*/ 79660 h 102226"/>
                <a:gd name="connsiteX13" fmla="*/ 113640 w 114975"/>
                <a:gd name="connsiteY13" fmla="*/ 86107 h 102226"/>
                <a:gd name="connsiteX14" fmla="*/ 107193 w 114975"/>
                <a:gd name="connsiteY14" fmla="*/ 89331 h 102226"/>
                <a:gd name="connsiteX15" fmla="*/ 78177 w 114975"/>
                <a:gd name="connsiteY15" fmla="*/ 60316 h 102226"/>
                <a:gd name="connsiteX16" fmla="*/ 39491 w 114975"/>
                <a:gd name="connsiteY16" fmla="*/ 86107 h 102226"/>
                <a:gd name="connsiteX17" fmla="*/ 16924 w 114975"/>
                <a:gd name="connsiteY17" fmla="*/ 102227 h 102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4975" h="102226">
                  <a:moveTo>
                    <a:pt x="16924" y="102227"/>
                  </a:moveTo>
                  <a:cubicBezTo>
                    <a:pt x="10477" y="102227"/>
                    <a:pt x="7253" y="99003"/>
                    <a:pt x="4029" y="92555"/>
                  </a:cubicBezTo>
                  <a:cubicBezTo>
                    <a:pt x="-2420" y="79660"/>
                    <a:pt x="-2420" y="50644"/>
                    <a:pt x="13700" y="24853"/>
                  </a:cubicBezTo>
                  <a:cubicBezTo>
                    <a:pt x="33043" y="-10609"/>
                    <a:pt x="103969" y="2286"/>
                    <a:pt x="107193" y="2286"/>
                  </a:cubicBezTo>
                  <a:cubicBezTo>
                    <a:pt x="110416" y="2286"/>
                    <a:pt x="113640" y="5510"/>
                    <a:pt x="113640" y="8734"/>
                  </a:cubicBezTo>
                  <a:cubicBezTo>
                    <a:pt x="113640" y="11958"/>
                    <a:pt x="110416" y="15182"/>
                    <a:pt x="107193" y="15182"/>
                  </a:cubicBezTo>
                  <a:cubicBezTo>
                    <a:pt x="87850" y="11958"/>
                    <a:pt x="39491" y="8734"/>
                    <a:pt x="26596" y="31301"/>
                  </a:cubicBezTo>
                  <a:cubicBezTo>
                    <a:pt x="13700" y="53868"/>
                    <a:pt x="13700" y="76435"/>
                    <a:pt x="16924" y="86107"/>
                  </a:cubicBezTo>
                  <a:cubicBezTo>
                    <a:pt x="16924" y="89331"/>
                    <a:pt x="20148" y="89331"/>
                    <a:pt x="20148" y="89331"/>
                  </a:cubicBezTo>
                  <a:cubicBezTo>
                    <a:pt x="23372" y="89331"/>
                    <a:pt x="26596" y="82883"/>
                    <a:pt x="29819" y="79660"/>
                  </a:cubicBezTo>
                  <a:cubicBezTo>
                    <a:pt x="39491" y="66764"/>
                    <a:pt x="55611" y="47421"/>
                    <a:pt x="81402" y="50644"/>
                  </a:cubicBezTo>
                  <a:cubicBezTo>
                    <a:pt x="84626" y="50644"/>
                    <a:pt x="84626" y="53868"/>
                    <a:pt x="87850" y="53868"/>
                  </a:cubicBezTo>
                  <a:cubicBezTo>
                    <a:pt x="91074" y="60316"/>
                    <a:pt x="97521" y="76435"/>
                    <a:pt x="110416" y="79660"/>
                  </a:cubicBezTo>
                  <a:cubicBezTo>
                    <a:pt x="113640" y="79660"/>
                    <a:pt x="116864" y="82883"/>
                    <a:pt x="113640" y="86107"/>
                  </a:cubicBezTo>
                  <a:cubicBezTo>
                    <a:pt x="113640" y="89331"/>
                    <a:pt x="110416" y="92555"/>
                    <a:pt x="107193" y="89331"/>
                  </a:cubicBezTo>
                  <a:cubicBezTo>
                    <a:pt x="91074" y="86107"/>
                    <a:pt x="81402" y="66764"/>
                    <a:pt x="78177" y="60316"/>
                  </a:cubicBezTo>
                  <a:cubicBezTo>
                    <a:pt x="58835" y="60316"/>
                    <a:pt x="49163" y="73211"/>
                    <a:pt x="39491" y="86107"/>
                  </a:cubicBezTo>
                  <a:cubicBezTo>
                    <a:pt x="29819" y="95779"/>
                    <a:pt x="23372" y="102227"/>
                    <a:pt x="16924" y="102227"/>
                  </a:cubicBezTo>
                  <a:close/>
                </a:path>
              </a:pathLst>
            </a:custGeom>
            <a:solidFill>
              <a:srgbClr val="E58777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4" name="图形 1">
              <a:extLst>
                <a:ext uri="{FF2B5EF4-FFF2-40B4-BE49-F238E27FC236}">
                  <a16:creationId xmlns:a16="http://schemas.microsoft.com/office/drawing/2014/main" id="{64B9ED93-2E87-497A-A333-379A4A2EE8BF}"/>
                </a:ext>
              </a:extLst>
            </p:cNvPr>
            <p:cNvGrpSpPr/>
            <p:nvPr/>
          </p:nvGrpSpPr>
          <p:grpSpPr>
            <a:xfrm>
              <a:off x="14854098" y="9862912"/>
              <a:ext cx="265708" cy="185096"/>
              <a:chOff x="14854098" y="9862912"/>
              <a:chExt cx="265708" cy="185096"/>
            </a:xfrm>
          </p:grpSpPr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A10DAADD-D70A-4FB9-A380-6256AE7DBA11}"/>
                  </a:ext>
                </a:extLst>
              </p:cNvPr>
              <p:cNvSpPr/>
              <p:nvPr/>
            </p:nvSpPr>
            <p:spPr>
              <a:xfrm>
                <a:off x="14864648" y="9865906"/>
                <a:ext cx="255158" cy="173765"/>
              </a:xfrm>
              <a:custGeom>
                <a:avLst/>
                <a:gdLst>
                  <a:gd name="connsiteX0" fmla="*/ 236201 w 255158"/>
                  <a:gd name="connsiteY0" fmla="*/ 37027 h 173765"/>
                  <a:gd name="connsiteX1" fmla="*/ 229753 w 255158"/>
                  <a:gd name="connsiteY1" fmla="*/ 27356 h 173765"/>
                  <a:gd name="connsiteX2" fmla="*/ 94351 w 255158"/>
                  <a:gd name="connsiteY2" fmla="*/ 8012 h 173765"/>
                  <a:gd name="connsiteX3" fmla="*/ 26649 w 255158"/>
                  <a:gd name="connsiteY3" fmla="*/ 56370 h 173765"/>
                  <a:gd name="connsiteX4" fmla="*/ 10529 w 255158"/>
                  <a:gd name="connsiteY4" fmla="*/ 85386 h 173765"/>
                  <a:gd name="connsiteX5" fmla="*/ 16977 w 255158"/>
                  <a:gd name="connsiteY5" fmla="*/ 91833 h 173765"/>
                  <a:gd name="connsiteX6" fmla="*/ 33096 w 255158"/>
                  <a:gd name="connsiteY6" fmla="*/ 88609 h 173765"/>
                  <a:gd name="connsiteX7" fmla="*/ 10529 w 255158"/>
                  <a:gd name="connsiteY7" fmla="*/ 117624 h 173765"/>
                  <a:gd name="connsiteX8" fmla="*/ 857 w 255158"/>
                  <a:gd name="connsiteY8" fmla="*/ 146639 h 173765"/>
                  <a:gd name="connsiteX9" fmla="*/ 20201 w 255158"/>
                  <a:gd name="connsiteY9" fmla="*/ 156311 h 173765"/>
                  <a:gd name="connsiteX10" fmla="*/ 20201 w 255158"/>
                  <a:gd name="connsiteY10" fmla="*/ 156311 h 173765"/>
                  <a:gd name="connsiteX11" fmla="*/ 23425 w 255158"/>
                  <a:gd name="connsiteY11" fmla="*/ 165983 h 173765"/>
                  <a:gd name="connsiteX12" fmla="*/ 81454 w 255158"/>
                  <a:gd name="connsiteY12" fmla="*/ 149863 h 173765"/>
                  <a:gd name="connsiteX13" fmla="*/ 84678 w 255158"/>
                  <a:gd name="connsiteY13" fmla="*/ 169206 h 173765"/>
                  <a:gd name="connsiteX14" fmla="*/ 94351 w 255158"/>
                  <a:gd name="connsiteY14" fmla="*/ 172430 h 173765"/>
                  <a:gd name="connsiteX15" fmla="*/ 171723 w 255158"/>
                  <a:gd name="connsiteY15" fmla="*/ 127296 h 173765"/>
                  <a:gd name="connsiteX16" fmla="*/ 232977 w 255158"/>
                  <a:gd name="connsiteY16" fmla="*/ 117624 h 173765"/>
                  <a:gd name="connsiteX17" fmla="*/ 236201 w 255158"/>
                  <a:gd name="connsiteY17" fmla="*/ 37027 h 173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55158" h="173765">
                    <a:moveTo>
                      <a:pt x="236201" y="37027"/>
                    </a:moveTo>
                    <a:cubicBezTo>
                      <a:pt x="236201" y="33803"/>
                      <a:pt x="232977" y="30580"/>
                      <a:pt x="229753" y="27356"/>
                    </a:cubicBezTo>
                    <a:cubicBezTo>
                      <a:pt x="194290" y="8012"/>
                      <a:pt x="129812" y="-11331"/>
                      <a:pt x="94351" y="8012"/>
                    </a:cubicBezTo>
                    <a:cubicBezTo>
                      <a:pt x="68559" y="20908"/>
                      <a:pt x="45992" y="40251"/>
                      <a:pt x="26649" y="56370"/>
                    </a:cubicBezTo>
                    <a:cubicBezTo>
                      <a:pt x="16977" y="66042"/>
                      <a:pt x="7305" y="69266"/>
                      <a:pt x="10529" y="85386"/>
                    </a:cubicBezTo>
                    <a:cubicBezTo>
                      <a:pt x="10529" y="88609"/>
                      <a:pt x="13754" y="91833"/>
                      <a:pt x="16977" y="91833"/>
                    </a:cubicBezTo>
                    <a:cubicBezTo>
                      <a:pt x="20201" y="91833"/>
                      <a:pt x="26649" y="91833"/>
                      <a:pt x="33096" y="88609"/>
                    </a:cubicBezTo>
                    <a:cubicBezTo>
                      <a:pt x="23425" y="98281"/>
                      <a:pt x="16977" y="107953"/>
                      <a:pt x="10529" y="117624"/>
                    </a:cubicBezTo>
                    <a:cubicBezTo>
                      <a:pt x="4081" y="127296"/>
                      <a:pt x="-2366" y="136967"/>
                      <a:pt x="857" y="146639"/>
                    </a:cubicBezTo>
                    <a:cubicBezTo>
                      <a:pt x="4081" y="156311"/>
                      <a:pt x="10529" y="159535"/>
                      <a:pt x="20201" y="156311"/>
                    </a:cubicBezTo>
                    <a:cubicBezTo>
                      <a:pt x="20201" y="156311"/>
                      <a:pt x="20201" y="156311"/>
                      <a:pt x="20201" y="156311"/>
                    </a:cubicBezTo>
                    <a:cubicBezTo>
                      <a:pt x="20201" y="159535"/>
                      <a:pt x="20201" y="162758"/>
                      <a:pt x="23425" y="165983"/>
                    </a:cubicBezTo>
                    <a:cubicBezTo>
                      <a:pt x="39544" y="178878"/>
                      <a:pt x="62112" y="165983"/>
                      <a:pt x="81454" y="149863"/>
                    </a:cubicBezTo>
                    <a:cubicBezTo>
                      <a:pt x="81454" y="156311"/>
                      <a:pt x="81454" y="162758"/>
                      <a:pt x="84678" y="169206"/>
                    </a:cubicBezTo>
                    <a:cubicBezTo>
                      <a:pt x="84678" y="172430"/>
                      <a:pt x="91126" y="175654"/>
                      <a:pt x="94351" y="172430"/>
                    </a:cubicBezTo>
                    <a:cubicBezTo>
                      <a:pt x="123365" y="162758"/>
                      <a:pt x="139485" y="133744"/>
                      <a:pt x="171723" y="127296"/>
                    </a:cubicBezTo>
                    <a:cubicBezTo>
                      <a:pt x="194290" y="124072"/>
                      <a:pt x="213634" y="130520"/>
                      <a:pt x="232977" y="117624"/>
                    </a:cubicBezTo>
                    <a:cubicBezTo>
                      <a:pt x="261992" y="98281"/>
                      <a:pt x="261992" y="62818"/>
                      <a:pt x="236201" y="3702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F45E5542-A26C-45B1-A918-3F5264D2DD62}"/>
                  </a:ext>
                </a:extLst>
              </p:cNvPr>
              <p:cNvSpPr/>
              <p:nvPr/>
            </p:nvSpPr>
            <p:spPr>
              <a:xfrm>
                <a:off x="14865505" y="9862912"/>
                <a:ext cx="107724" cy="101275"/>
              </a:xfrm>
              <a:custGeom>
                <a:avLst/>
                <a:gdLst>
                  <a:gd name="connsiteX0" fmla="*/ 22568 w 107724"/>
                  <a:gd name="connsiteY0" fmla="*/ 98052 h 101275"/>
                  <a:gd name="connsiteX1" fmla="*/ 3224 w 107724"/>
                  <a:gd name="connsiteY1" fmla="*/ 91604 h 101275"/>
                  <a:gd name="connsiteX2" fmla="*/ 0 w 107724"/>
                  <a:gd name="connsiteY2" fmla="*/ 78708 h 101275"/>
                  <a:gd name="connsiteX3" fmla="*/ 96716 w 107724"/>
                  <a:gd name="connsiteY3" fmla="*/ 1335 h 101275"/>
                  <a:gd name="connsiteX4" fmla="*/ 106389 w 107724"/>
                  <a:gd name="connsiteY4" fmla="*/ 4559 h 101275"/>
                  <a:gd name="connsiteX5" fmla="*/ 103165 w 107724"/>
                  <a:gd name="connsiteY5" fmla="*/ 14231 h 101275"/>
                  <a:gd name="connsiteX6" fmla="*/ 12896 w 107724"/>
                  <a:gd name="connsiteY6" fmla="*/ 81932 h 101275"/>
                  <a:gd name="connsiteX7" fmla="*/ 12896 w 107724"/>
                  <a:gd name="connsiteY7" fmla="*/ 85156 h 101275"/>
                  <a:gd name="connsiteX8" fmla="*/ 29016 w 107724"/>
                  <a:gd name="connsiteY8" fmla="*/ 88380 h 101275"/>
                  <a:gd name="connsiteX9" fmla="*/ 35463 w 107724"/>
                  <a:gd name="connsiteY9" fmla="*/ 94828 h 101275"/>
                  <a:gd name="connsiteX10" fmla="*/ 29016 w 107724"/>
                  <a:gd name="connsiteY10" fmla="*/ 101275 h 101275"/>
                  <a:gd name="connsiteX11" fmla="*/ 22568 w 107724"/>
                  <a:gd name="connsiteY11" fmla="*/ 98052 h 101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7724" h="101275">
                    <a:moveTo>
                      <a:pt x="22568" y="98052"/>
                    </a:moveTo>
                    <a:cubicBezTo>
                      <a:pt x="16119" y="98052"/>
                      <a:pt x="6448" y="98052"/>
                      <a:pt x="3224" y="91604"/>
                    </a:cubicBezTo>
                    <a:cubicBezTo>
                      <a:pt x="0" y="88380"/>
                      <a:pt x="0" y="85156"/>
                      <a:pt x="0" y="78708"/>
                    </a:cubicBezTo>
                    <a:cubicBezTo>
                      <a:pt x="3224" y="52917"/>
                      <a:pt x="80597" y="7783"/>
                      <a:pt x="96716" y="1335"/>
                    </a:cubicBezTo>
                    <a:cubicBezTo>
                      <a:pt x="99940" y="-1889"/>
                      <a:pt x="103165" y="1335"/>
                      <a:pt x="106389" y="4559"/>
                    </a:cubicBezTo>
                    <a:cubicBezTo>
                      <a:pt x="109613" y="7783"/>
                      <a:pt x="106389" y="11007"/>
                      <a:pt x="103165" y="14231"/>
                    </a:cubicBezTo>
                    <a:cubicBezTo>
                      <a:pt x="67702" y="33574"/>
                      <a:pt x="12896" y="69037"/>
                      <a:pt x="12896" y="81932"/>
                    </a:cubicBezTo>
                    <a:cubicBezTo>
                      <a:pt x="12896" y="81932"/>
                      <a:pt x="12896" y="81932"/>
                      <a:pt x="12896" y="85156"/>
                    </a:cubicBezTo>
                    <a:cubicBezTo>
                      <a:pt x="16119" y="88380"/>
                      <a:pt x="22568" y="88380"/>
                      <a:pt x="29016" y="88380"/>
                    </a:cubicBezTo>
                    <a:cubicBezTo>
                      <a:pt x="32239" y="88380"/>
                      <a:pt x="35463" y="91604"/>
                      <a:pt x="35463" y="94828"/>
                    </a:cubicBezTo>
                    <a:cubicBezTo>
                      <a:pt x="35463" y="98052"/>
                      <a:pt x="32239" y="101275"/>
                      <a:pt x="29016" y="101275"/>
                    </a:cubicBezTo>
                    <a:cubicBezTo>
                      <a:pt x="29016" y="98052"/>
                      <a:pt x="25792" y="98052"/>
                      <a:pt x="22568" y="9805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2D143DD6-AE71-4370-9963-92A1B0859CF2}"/>
                  </a:ext>
                </a:extLst>
              </p:cNvPr>
              <p:cNvSpPr/>
              <p:nvPr/>
            </p:nvSpPr>
            <p:spPr>
              <a:xfrm>
                <a:off x="14854098" y="9901501"/>
                <a:ext cx="114571" cy="130388"/>
              </a:xfrm>
              <a:custGeom>
                <a:avLst/>
                <a:gdLst>
                  <a:gd name="connsiteX0" fmla="*/ 24303 w 114571"/>
                  <a:gd name="connsiteY0" fmla="*/ 130388 h 130388"/>
                  <a:gd name="connsiteX1" fmla="*/ 24303 w 114571"/>
                  <a:gd name="connsiteY1" fmla="*/ 130388 h 130388"/>
                  <a:gd name="connsiteX2" fmla="*/ 1736 w 114571"/>
                  <a:gd name="connsiteY2" fmla="*/ 114269 h 130388"/>
                  <a:gd name="connsiteX3" fmla="*/ 17855 w 114571"/>
                  <a:gd name="connsiteY3" fmla="*/ 69134 h 130388"/>
                  <a:gd name="connsiteX4" fmla="*/ 21079 w 114571"/>
                  <a:gd name="connsiteY4" fmla="*/ 65911 h 130388"/>
                  <a:gd name="connsiteX5" fmla="*/ 95228 w 114571"/>
                  <a:gd name="connsiteY5" fmla="*/ 1433 h 130388"/>
                  <a:gd name="connsiteX6" fmla="*/ 104900 w 114571"/>
                  <a:gd name="connsiteY6" fmla="*/ 1433 h 130388"/>
                  <a:gd name="connsiteX7" fmla="*/ 104900 w 114571"/>
                  <a:gd name="connsiteY7" fmla="*/ 11105 h 130388"/>
                  <a:gd name="connsiteX8" fmla="*/ 33974 w 114571"/>
                  <a:gd name="connsiteY8" fmla="*/ 72358 h 130388"/>
                  <a:gd name="connsiteX9" fmla="*/ 30750 w 114571"/>
                  <a:gd name="connsiteY9" fmla="*/ 75582 h 130388"/>
                  <a:gd name="connsiteX10" fmla="*/ 14631 w 114571"/>
                  <a:gd name="connsiteY10" fmla="*/ 107821 h 130388"/>
                  <a:gd name="connsiteX11" fmla="*/ 24303 w 114571"/>
                  <a:gd name="connsiteY11" fmla="*/ 114269 h 130388"/>
                  <a:gd name="connsiteX12" fmla="*/ 104900 w 114571"/>
                  <a:gd name="connsiteY12" fmla="*/ 33672 h 130388"/>
                  <a:gd name="connsiteX13" fmla="*/ 114571 w 114571"/>
                  <a:gd name="connsiteY13" fmla="*/ 36895 h 130388"/>
                  <a:gd name="connsiteX14" fmla="*/ 111347 w 114571"/>
                  <a:gd name="connsiteY14" fmla="*/ 46567 h 130388"/>
                  <a:gd name="connsiteX15" fmla="*/ 33974 w 114571"/>
                  <a:gd name="connsiteY15" fmla="*/ 127164 h 130388"/>
                  <a:gd name="connsiteX16" fmla="*/ 24303 w 114571"/>
                  <a:gd name="connsiteY16" fmla="*/ 130388 h 130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4571" h="130388">
                    <a:moveTo>
                      <a:pt x="24303" y="130388"/>
                    </a:moveTo>
                    <a:cubicBezTo>
                      <a:pt x="24303" y="130388"/>
                      <a:pt x="24303" y="130388"/>
                      <a:pt x="24303" y="130388"/>
                    </a:cubicBezTo>
                    <a:cubicBezTo>
                      <a:pt x="11407" y="127164"/>
                      <a:pt x="4960" y="120716"/>
                      <a:pt x="1736" y="114269"/>
                    </a:cubicBezTo>
                    <a:cubicBezTo>
                      <a:pt x="-4713" y="98149"/>
                      <a:pt x="8184" y="82030"/>
                      <a:pt x="17855" y="69134"/>
                    </a:cubicBezTo>
                    <a:lnTo>
                      <a:pt x="21079" y="65911"/>
                    </a:lnTo>
                    <a:cubicBezTo>
                      <a:pt x="33974" y="49791"/>
                      <a:pt x="92004" y="4657"/>
                      <a:pt x="95228" y="1433"/>
                    </a:cubicBezTo>
                    <a:cubicBezTo>
                      <a:pt x="98452" y="-1791"/>
                      <a:pt x="101676" y="1433"/>
                      <a:pt x="104900" y="1433"/>
                    </a:cubicBezTo>
                    <a:cubicBezTo>
                      <a:pt x="108123" y="4657"/>
                      <a:pt x="104900" y="7881"/>
                      <a:pt x="104900" y="11105"/>
                    </a:cubicBezTo>
                    <a:cubicBezTo>
                      <a:pt x="88781" y="24000"/>
                      <a:pt x="43646" y="59463"/>
                      <a:pt x="33974" y="72358"/>
                    </a:cubicBezTo>
                    <a:lnTo>
                      <a:pt x="30750" y="75582"/>
                    </a:lnTo>
                    <a:cubicBezTo>
                      <a:pt x="24303" y="85254"/>
                      <a:pt x="14631" y="98149"/>
                      <a:pt x="14631" y="107821"/>
                    </a:cubicBezTo>
                    <a:cubicBezTo>
                      <a:pt x="14631" y="111045"/>
                      <a:pt x="17855" y="114269"/>
                      <a:pt x="24303" y="114269"/>
                    </a:cubicBezTo>
                    <a:cubicBezTo>
                      <a:pt x="33974" y="98149"/>
                      <a:pt x="75884" y="46567"/>
                      <a:pt x="104900" y="33672"/>
                    </a:cubicBezTo>
                    <a:cubicBezTo>
                      <a:pt x="108123" y="33672"/>
                      <a:pt x="111347" y="33672"/>
                      <a:pt x="114571" y="36895"/>
                    </a:cubicBezTo>
                    <a:cubicBezTo>
                      <a:pt x="114571" y="40119"/>
                      <a:pt x="114571" y="43343"/>
                      <a:pt x="111347" y="46567"/>
                    </a:cubicBezTo>
                    <a:cubicBezTo>
                      <a:pt x="82333" y="59463"/>
                      <a:pt x="33974" y="123940"/>
                      <a:pt x="33974" y="127164"/>
                    </a:cubicBezTo>
                    <a:cubicBezTo>
                      <a:pt x="27526" y="130388"/>
                      <a:pt x="27526" y="130388"/>
                      <a:pt x="24303" y="13038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51049150-6581-435A-9A5A-04F1BC1129F6}"/>
                  </a:ext>
                </a:extLst>
              </p:cNvPr>
              <p:cNvSpPr/>
              <p:nvPr/>
            </p:nvSpPr>
            <p:spPr>
              <a:xfrm>
                <a:off x="14871953" y="9957740"/>
                <a:ext cx="154745" cy="90268"/>
              </a:xfrm>
              <a:custGeom>
                <a:avLst/>
                <a:gdLst>
                  <a:gd name="connsiteX0" fmla="*/ 25791 w 154745"/>
                  <a:gd name="connsiteY0" fmla="*/ 90269 h 90268"/>
                  <a:gd name="connsiteX1" fmla="*/ 0 w 154745"/>
                  <a:gd name="connsiteY1" fmla="*/ 70925 h 90268"/>
                  <a:gd name="connsiteX2" fmla="*/ 6448 w 154745"/>
                  <a:gd name="connsiteY2" fmla="*/ 64478 h 90268"/>
                  <a:gd name="connsiteX3" fmla="*/ 12895 w 154745"/>
                  <a:gd name="connsiteY3" fmla="*/ 70925 h 90268"/>
                  <a:gd name="connsiteX4" fmla="*/ 29015 w 154745"/>
                  <a:gd name="connsiteY4" fmla="*/ 80597 h 90268"/>
                  <a:gd name="connsiteX5" fmla="*/ 64478 w 154745"/>
                  <a:gd name="connsiteY5" fmla="*/ 61254 h 90268"/>
                  <a:gd name="connsiteX6" fmla="*/ 106388 w 154745"/>
                  <a:gd name="connsiteY6" fmla="*/ 9672 h 90268"/>
                  <a:gd name="connsiteX7" fmla="*/ 148299 w 154745"/>
                  <a:gd name="connsiteY7" fmla="*/ 0 h 90268"/>
                  <a:gd name="connsiteX8" fmla="*/ 154746 w 154745"/>
                  <a:gd name="connsiteY8" fmla="*/ 6448 h 90268"/>
                  <a:gd name="connsiteX9" fmla="*/ 148299 w 154745"/>
                  <a:gd name="connsiteY9" fmla="*/ 12895 h 90268"/>
                  <a:gd name="connsiteX10" fmla="*/ 112836 w 154745"/>
                  <a:gd name="connsiteY10" fmla="*/ 19343 h 90268"/>
                  <a:gd name="connsiteX11" fmla="*/ 74149 w 154745"/>
                  <a:gd name="connsiteY11" fmla="*/ 67702 h 90268"/>
                  <a:gd name="connsiteX12" fmla="*/ 32239 w 154745"/>
                  <a:gd name="connsiteY12" fmla="*/ 90269 h 90268"/>
                  <a:gd name="connsiteX13" fmla="*/ 25791 w 154745"/>
                  <a:gd name="connsiteY13" fmla="*/ 90269 h 90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4745" h="90268">
                    <a:moveTo>
                      <a:pt x="25791" y="90269"/>
                    </a:moveTo>
                    <a:cubicBezTo>
                      <a:pt x="9671" y="90269"/>
                      <a:pt x="3224" y="77373"/>
                      <a:pt x="0" y="70925"/>
                    </a:cubicBezTo>
                    <a:cubicBezTo>
                      <a:pt x="0" y="67702"/>
                      <a:pt x="0" y="64478"/>
                      <a:pt x="6448" y="64478"/>
                    </a:cubicBezTo>
                    <a:cubicBezTo>
                      <a:pt x="9671" y="64478"/>
                      <a:pt x="12895" y="64478"/>
                      <a:pt x="12895" y="70925"/>
                    </a:cubicBezTo>
                    <a:cubicBezTo>
                      <a:pt x="12895" y="74149"/>
                      <a:pt x="16119" y="80597"/>
                      <a:pt x="29015" y="80597"/>
                    </a:cubicBezTo>
                    <a:cubicBezTo>
                      <a:pt x="45134" y="77373"/>
                      <a:pt x="64478" y="61254"/>
                      <a:pt x="64478" y="61254"/>
                    </a:cubicBezTo>
                    <a:cubicBezTo>
                      <a:pt x="67702" y="54806"/>
                      <a:pt x="96716" y="16119"/>
                      <a:pt x="106388" y="9672"/>
                    </a:cubicBezTo>
                    <a:cubicBezTo>
                      <a:pt x="116060" y="3224"/>
                      <a:pt x="145075" y="0"/>
                      <a:pt x="148299" y="0"/>
                    </a:cubicBezTo>
                    <a:cubicBezTo>
                      <a:pt x="151523" y="0"/>
                      <a:pt x="154746" y="3224"/>
                      <a:pt x="154746" y="6448"/>
                    </a:cubicBezTo>
                    <a:cubicBezTo>
                      <a:pt x="154746" y="9672"/>
                      <a:pt x="151523" y="12895"/>
                      <a:pt x="148299" y="12895"/>
                    </a:cubicBezTo>
                    <a:cubicBezTo>
                      <a:pt x="138626" y="12895"/>
                      <a:pt x="119284" y="16119"/>
                      <a:pt x="112836" y="19343"/>
                    </a:cubicBezTo>
                    <a:cubicBezTo>
                      <a:pt x="106388" y="22567"/>
                      <a:pt x="90268" y="45134"/>
                      <a:pt x="74149" y="67702"/>
                    </a:cubicBezTo>
                    <a:cubicBezTo>
                      <a:pt x="74149" y="67702"/>
                      <a:pt x="54806" y="87045"/>
                      <a:pt x="32239" y="90269"/>
                    </a:cubicBezTo>
                    <a:cubicBezTo>
                      <a:pt x="29015" y="90269"/>
                      <a:pt x="25791" y="90269"/>
                      <a:pt x="25791" y="9026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5" name="图形 1">
              <a:extLst>
                <a:ext uri="{FF2B5EF4-FFF2-40B4-BE49-F238E27FC236}">
                  <a16:creationId xmlns:a16="http://schemas.microsoft.com/office/drawing/2014/main" id="{256974AE-8999-4B5C-B547-4C0A42207DC2}"/>
                </a:ext>
              </a:extLst>
            </p:cNvPr>
            <p:cNvGrpSpPr/>
            <p:nvPr/>
          </p:nvGrpSpPr>
          <p:grpSpPr>
            <a:xfrm>
              <a:off x="15065386" y="8739113"/>
              <a:ext cx="444895" cy="109612"/>
              <a:chOff x="15065386" y="8739113"/>
              <a:chExt cx="444895" cy="109612"/>
            </a:xfrm>
            <a:solidFill>
              <a:srgbClr val="38343B"/>
            </a:solidFill>
          </p:grpSpPr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0E66E1B4-7E2F-421E-806E-EEAA9969436D}"/>
                  </a:ext>
                </a:extLst>
              </p:cNvPr>
              <p:cNvSpPr/>
              <p:nvPr/>
            </p:nvSpPr>
            <p:spPr>
              <a:xfrm>
                <a:off x="15065386" y="8739113"/>
                <a:ext cx="174089" cy="109612"/>
              </a:xfrm>
              <a:custGeom>
                <a:avLst/>
                <a:gdLst>
                  <a:gd name="connsiteX0" fmla="*/ 87045 w 174089"/>
                  <a:gd name="connsiteY0" fmla="*/ 109612 h 109612"/>
                  <a:gd name="connsiteX1" fmla="*/ 0 w 174089"/>
                  <a:gd name="connsiteY1" fmla="*/ 54806 h 109612"/>
                  <a:gd name="connsiteX2" fmla="*/ 87045 w 174089"/>
                  <a:gd name="connsiteY2" fmla="*/ 0 h 109612"/>
                  <a:gd name="connsiteX3" fmla="*/ 174089 w 174089"/>
                  <a:gd name="connsiteY3" fmla="*/ 54806 h 109612"/>
                  <a:gd name="connsiteX4" fmla="*/ 87045 w 174089"/>
                  <a:gd name="connsiteY4" fmla="*/ 109612 h 109612"/>
                  <a:gd name="connsiteX5" fmla="*/ 87045 w 174089"/>
                  <a:gd name="connsiteY5" fmla="*/ 9672 h 109612"/>
                  <a:gd name="connsiteX6" fmla="*/ 12895 w 174089"/>
                  <a:gd name="connsiteY6" fmla="*/ 54806 h 109612"/>
                  <a:gd name="connsiteX7" fmla="*/ 87045 w 174089"/>
                  <a:gd name="connsiteY7" fmla="*/ 99940 h 109612"/>
                  <a:gd name="connsiteX8" fmla="*/ 161194 w 174089"/>
                  <a:gd name="connsiteY8" fmla="*/ 54806 h 109612"/>
                  <a:gd name="connsiteX9" fmla="*/ 87045 w 174089"/>
                  <a:gd name="connsiteY9" fmla="*/ 9672 h 109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4089" h="109612">
                    <a:moveTo>
                      <a:pt x="87045" y="109612"/>
                    </a:moveTo>
                    <a:cubicBezTo>
                      <a:pt x="38687" y="109612"/>
                      <a:pt x="0" y="83821"/>
                      <a:pt x="0" y="54806"/>
                    </a:cubicBezTo>
                    <a:cubicBezTo>
                      <a:pt x="0" y="25791"/>
                      <a:pt x="38687" y="0"/>
                      <a:pt x="87045" y="0"/>
                    </a:cubicBezTo>
                    <a:cubicBezTo>
                      <a:pt x="135403" y="0"/>
                      <a:pt x="174089" y="25791"/>
                      <a:pt x="174089" y="54806"/>
                    </a:cubicBezTo>
                    <a:cubicBezTo>
                      <a:pt x="174089" y="83821"/>
                      <a:pt x="135403" y="109612"/>
                      <a:pt x="87045" y="109612"/>
                    </a:cubicBezTo>
                    <a:close/>
                    <a:moveTo>
                      <a:pt x="87045" y="9672"/>
                    </a:moveTo>
                    <a:cubicBezTo>
                      <a:pt x="48358" y="9672"/>
                      <a:pt x="12895" y="29015"/>
                      <a:pt x="12895" y="54806"/>
                    </a:cubicBezTo>
                    <a:cubicBezTo>
                      <a:pt x="12895" y="80597"/>
                      <a:pt x="48358" y="99940"/>
                      <a:pt x="87045" y="99940"/>
                    </a:cubicBezTo>
                    <a:cubicBezTo>
                      <a:pt x="125731" y="99940"/>
                      <a:pt x="161194" y="80597"/>
                      <a:pt x="161194" y="54806"/>
                    </a:cubicBezTo>
                    <a:cubicBezTo>
                      <a:pt x="161194" y="29015"/>
                      <a:pt x="128955" y="9672"/>
                      <a:pt x="87045" y="967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DC0A8015-A823-4E60-9638-24476857EB58}"/>
                  </a:ext>
                </a:extLst>
              </p:cNvPr>
              <p:cNvSpPr/>
              <p:nvPr/>
            </p:nvSpPr>
            <p:spPr>
              <a:xfrm>
                <a:off x="15265267" y="8739113"/>
                <a:ext cx="174089" cy="109612"/>
              </a:xfrm>
              <a:custGeom>
                <a:avLst/>
                <a:gdLst>
                  <a:gd name="connsiteX0" fmla="*/ 87044 w 174089"/>
                  <a:gd name="connsiteY0" fmla="*/ 109612 h 109612"/>
                  <a:gd name="connsiteX1" fmla="*/ 0 w 174089"/>
                  <a:gd name="connsiteY1" fmla="*/ 54806 h 109612"/>
                  <a:gd name="connsiteX2" fmla="*/ 87044 w 174089"/>
                  <a:gd name="connsiteY2" fmla="*/ 0 h 109612"/>
                  <a:gd name="connsiteX3" fmla="*/ 174089 w 174089"/>
                  <a:gd name="connsiteY3" fmla="*/ 54806 h 109612"/>
                  <a:gd name="connsiteX4" fmla="*/ 87044 w 174089"/>
                  <a:gd name="connsiteY4" fmla="*/ 109612 h 109612"/>
                  <a:gd name="connsiteX5" fmla="*/ 87044 w 174089"/>
                  <a:gd name="connsiteY5" fmla="*/ 9672 h 109612"/>
                  <a:gd name="connsiteX6" fmla="*/ 12895 w 174089"/>
                  <a:gd name="connsiteY6" fmla="*/ 54806 h 109612"/>
                  <a:gd name="connsiteX7" fmla="*/ 87044 w 174089"/>
                  <a:gd name="connsiteY7" fmla="*/ 99940 h 109612"/>
                  <a:gd name="connsiteX8" fmla="*/ 161194 w 174089"/>
                  <a:gd name="connsiteY8" fmla="*/ 54806 h 109612"/>
                  <a:gd name="connsiteX9" fmla="*/ 87044 w 174089"/>
                  <a:gd name="connsiteY9" fmla="*/ 9672 h 109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4089" h="109612">
                    <a:moveTo>
                      <a:pt x="87044" y="109612"/>
                    </a:moveTo>
                    <a:cubicBezTo>
                      <a:pt x="38686" y="109612"/>
                      <a:pt x="0" y="83821"/>
                      <a:pt x="0" y="54806"/>
                    </a:cubicBezTo>
                    <a:cubicBezTo>
                      <a:pt x="0" y="25791"/>
                      <a:pt x="38686" y="0"/>
                      <a:pt x="87044" y="0"/>
                    </a:cubicBezTo>
                    <a:cubicBezTo>
                      <a:pt x="135402" y="0"/>
                      <a:pt x="174089" y="25791"/>
                      <a:pt x="174089" y="54806"/>
                    </a:cubicBezTo>
                    <a:cubicBezTo>
                      <a:pt x="174089" y="83821"/>
                      <a:pt x="135402" y="109612"/>
                      <a:pt x="87044" y="109612"/>
                    </a:cubicBezTo>
                    <a:close/>
                    <a:moveTo>
                      <a:pt x="87044" y="9672"/>
                    </a:moveTo>
                    <a:cubicBezTo>
                      <a:pt x="48358" y="9672"/>
                      <a:pt x="12895" y="29015"/>
                      <a:pt x="12895" y="54806"/>
                    </a:cubicBezTo>
                    <a:cubicBezTo>
                      <a:pt x="12895" y="80597"/>
                      <a:pt x="48358" y="99940"/>
                      <a:pt x="87044" y="99940"/>
                    </a:cubicBezTo>
                    <a:cubicBezTo>
                      <a:pt x="125731" y="99940"/>
                      <a:pt x="161194" y="80597"/>
                      <a:pt x="161194" y="54806"/>
                    </a:cubicBezTo>
                    <a:cubicBezTo>
                      <a:pt x="161194" y="29015"/>
                      <a:pt x="125731" y="9672"/>
                      <a:pt x="87044" y="967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AD3C896F-8898-4835-9C0F-F50A6EE7AAA4}"/>
                  </a:ext>
                </a:extLst>
              </p:cNvPr>
              <p:cNvSpPr/>
              <p:nvPr/>
            </p:nvSpPr>
            <p:spPr>
              <a:xfrm>
                <a:off x="15226580" y="8763829"/>
                <a:ext cx="51582" cy="13969"/>
              </a:xfrm>
              <a:custGeom>
                <a:avLst/>
                <a:gdLst>
                  <a:gd name="connsiteX0" fmla="*/ 45134 w 51582"/>
                  <a:gd name="connsiteY0" fmla="*/ 13970 h 13969"/>
                  <a:gd name="connsiteX1" fmla="*/ 45134 w 51582"/>
                  <a:gd name="connsiteY1" fmla="*/ 13970 h 13969"/>
                  <a:gd name="connsiteX2" fmla="*/ 6448 w 51582"/>
                  <a:gd name="connsiteY2" fmla="*/ 13970 h 13969"/>
                  <a:gd name="connsiteX3" fmla="*/ 0 w 51582"/>
                  <a:gd name="connsiteY3" fmla="*/ 10746 h 13969"/>
                  <a:gd name="connsiteX4" fmla="*/ 3224 w 51582"/>
                  <a:gd name="connsiteY4" fmla="*/ 4299 h 13969"/>
                  <a:gd name="connsiteX5" fmla="*/ 48358 w 51582"/>
                  <a:gd name="connsiteY5" fmla="*/ 4299 h 13969"/>
                  <a:gd name="connsiteX6" fmla="*/ 51582 w 51582"/>
                  <a:gd name="connsiteY6" fmla="*/ 10746 h 13969"/>
                  <a:gd name="connsiteX7" fmla="*/ 45134 w 51582"/>
                  <a:gd name="connsiteY7" fmla="*/ 13970 h 13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582" h="13969">
                    <a:moveTo>
                      <a:pt x="45134" y="13970"/>
                    </a:moveTo>
                    <a:cubicBezTo>
                      <a:pt x="45134" y="13970"/>
                      <a:pt x="45134" y="13970"/>
                      <a:pt x="45134" y="13970"/>
                    </a:cubicBezTo>
                    <a:cubicBezTo>
                      <a:pt x="29015" y="7522"/>
                      <a:pt x="6448" y="13970"/>
                      <a:pt x="6448" y="13970"/>
                    </a:cubicBezTo>
                    <a:cubicBezTo>
                      <a:pt x="3224" y="13970"/>
                      <a:pt x="0" y="13970"/>
                      <a:pt x="0" y="10746"/>
                    </a:cubicBezTo>
                    <a:cubicBezTo>
                      <a:pt x="0" y="7522"/>
                      <a:pt x="0" y="4299"/>
                      <a:pt x="3224" y="4299"/>
                    </a:cubicBezTo>
                    <a:cubicBezTo>
                      <a:pt x="3224" y="4299"/>
                      <a:pt x="29015" y="-5373"/>
                      <a:pt x="48358" y="4299"/>
                    </a:cubicBezTo>
                    <a:cubicBezTo>
                      <a:pt x="51582" y="4299"/>
                      <a:pt x="51582" y="7522"/>
                      <a:pt x="51582" y="10746"/>
                    </a:cubicBezTo>
                    <a:cubicBezTo>
                      <a:pt x="51582" y="10746"/>
                      <a:pt x="48358" y="13970"/>
                      <a:pt x="45134" y="1397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E8A2FDFF-6BFA-4C65-BE09-8E21478DEA60}"/>
                  </a:ext>
                </a:extLst>
              </p:cNvPr>
              <p:cNvSpPr/>
              <p:nvPr/>
            </p:nvSpPr>
            <p:spPr>
              <a:xfrm>
                <a:off x="15423237" y="8758456"/>
                <a:ext cx="87044" cy="22567"/>
              </a:xfrm>
              <a:custGeom>
                <a:avLst/>
                <a:gdLst>
                  <a:gd name="connsiteX0" fmla="*/ 6447 w 87044"/>
                  <a:gd name="connsiteY0" fmla="*/ 22567 h 22567"/>
                  <a:gd name="connsiteX1" fmla="*/ 0 w 87044"/>
                  <a:gd name="connsiteY1" fmla="*/ 16119 h 22567"/>
                  <a:gd name="connsiteX2" fmla="*/ 6447 w 87044"/>
                  <a:gd name="connsiteY2" fmla="*/ 9672 h 22567"/>
                  <a:gd name="connsiteX3" fmla="*/ 80597 w 87044"/>
                  <a:gd name="connsiteY3" fmla="*/ 0 h 22567"/>
                  <a:gd name="connsiteX4" fmla="*/ 87044 w 87044"/>
                  <a:gd name="connsiteY4" fmla="*/ 6448 h 22567"/>
                  <a:gd name="connsiteX5" fmla="*/ 80597 w 87044"/>
                  <a:gd name="connsiteY5" fmla="*/ 12895 h 22567"/>
                  <a:gd name="connsiteX6" fmla="*/ 6447 w 87044"/>
                  <a:gd name="connsiteY6" fmla="*/ 22567 h 22567"/>
                  <a:gd name="connsiteX7" fmla="*/ 6447 w 87044"/>
                  <a:gd name="connsiteY7" fmla="*/ 22567 h 22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7044" h="22567">
                    <a:moveTo>
                      <a:pt x="6447" y="22567"/>
                    </a:moveTo>
                    <a:cubicBezTo>
                      <a:pt x="3224" y="22567"/>
                      <a:pt x="0" y="19343"/>
                      <a:pt x="0" y="16119"/>
                    </a:cubicBezTo>
                    <a:cubicBezTo>
                      <a:pt x="0" y="12895"/>
                      <a:pt x="3224" y="9672"/>
                      <a:pt x="6447" y="9672"/>
                    </a:cubicBezTo>
                    <a:lnTo>
                      <a:pt x="80597" y="0"/>
                    </a:lnTo>
                    <a:cubicBezTo>
                      <a:pt x="83821" y="0"/>
                      <a:pt x="87044" y="3224"/>
                      <a:pt x="87044" y="6448"/>
                    </a:cubicBezTo>
                    <a:cubicBezTo>
                      <a:pt x="87044" y="9672"/>
                      <a:pt x="83821" y="12895"/>
                      <a:pt x="80597" y="12895"/>
                    </a:cubicBezTo>
                    <a:lnTo>
                      <a:pt x="6447" y="22567"/>
                    </a:lnTo>
                    <a:cubicBezTo>
                      <a:pt x="6447" y="22567"/>
                      <a:pt x="6447" y="22567"/>
                      <a:pt x="6447" y="2256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83" name="图形 1">
            <a:extLst>
              <a:ext uri="{FF2B5EF4-FFF2-40B4-BE49-F238E27FC236}">
                <a16:creationId xmlns:a16="http://schemas.microsoft.com/office/drawing/2014/main" id="{D97266C6-7D49-48A4-BA52-E876AA7495E3}"/>
              </a:ext>
            </a:extLst>
          </p:cNvPr>
          <p:cNvGrpSpPr/>
          <p:nvPr/>
        </p:nvGrpSpPr>
        <p:grpSpPr>
          <a:xfrm>
            <a:off x="2083970" y="2788590"/>
            <a:ext cx="2711958" cy="4023403"/>
            <a:chOff x="10697028" y="8207172"/>
            <a:chExt cx="2711958" cy="4023403"/>
          </a:xfrm>
        </p:grpSpPr>
        <p:grpSp>
          <p:nvGrpSpPr>
            <p:cNvPr id="84" name="图形 1">
              <a:extLst>
                <a:ext uri="{FF2B5EF4-FFF2-40B4-BE49-F238E27FC236}">
                  <a16:creationId xmlns:a16="http://schemas.microsoft.com/office/drawing/2014/main" id="{798560FD-D891-44E6-9AF6-83DB181C862A}"/>
                </a:ext>
              </a:extLst>
            </p:cNvPr>
            <p:cNvGrpSpPr/>
            <p:nvPr/>
          </p:nvGrpSpPr>
          <p:grpSpPr>
            <a:xfrm>
              <a:off x="11127911" y="11737322"/>
              <a:ext cx="319180" cy="462635"/>
              <a:chOff x="11127911" y="11737322"/>
              <a:chExt cx="319180" cy="462635"/>
            </a:xfrm>
          </p:grpSpPr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15CCD7AA-6538-4FD8-B3FC-449612E10E42}"/>
                  </a:ext>
                </a:extLst>
              </p:cNvPr>
              <p:cNvSpPr/>
              <p:nvPr/>
            </p:nvSpPr>
            <p:spPr>
              <a:xfrm>
                <a:off x="11209625" y="11737322"/>
                <a:ext cx="219224" cy="206328"/>
              </a:xfrm>
              <a:custGeom>
                <a:avLst/>
                <a:gdLst>
                  <a:gd name="connsiteX0" fmla="*/ 12895 w 219224"/>
                  <a:gd name="connsiteY0" fmla="*/ 109612 h 206328"/>
                  <a:gd name="connsiteX1" fmla="*/ 112836 w 219224"/>
                  <a:gd name="connsiteY1" fmla="*/ 0 h 206328"/>
                  <a:gd name="connsiteX2" fmla="*/ 219224 w 219224"/>
                  <a:gd name="connsiteY2" fmla="*/ 99940 h 206328"/>
                  <a:gd name="connsiteX3" fmla="*/ 103165 w 219224"/>
                  <a:gd name="connsiteY3" fmla="*/ 206328 h 206328"/>
                  <a:gd name="connsiteX4" fmla="*/ 0 w 219224"/>
                  <a:gd name="connsiteY4" fmla="*/ 138626 h 206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9224" h="206328">
                    <a:moveTo>
                      <a:pt x="12895" y="109612"/>
                    </a:moveTo>
                    <a:lnTo>
                      <a:pt x="112836" y="0"/>
                    </a:lnTo>
                    <a:lnTo>
                      <a:pt x="219224" y="99940"/>
                    </a:lnTo>
                    <a:lnTo>
                      <a:pt x="103165" y="206328"/>
                    </a:lnTo>
                    <a:lnTo>
                      <a:pt x="0" y="138626"/>
                    </a:ln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405ED7C7-71F1-4A89-97F1-2CB1089679AF}"/>
                  </a:ext>
                </a:extLst>
              </p:cNvPr>
              <p:cNvSpPr/>
              <p:nvPr/>
            </p:nvSpPr>
            <p:spPr>
              <a:xfrm>
                <a:off x="11154819" y="11840486"/>
                <a:ext cx="292272" cy="335283"/>
              </a:xfrm>
              <a:custGeom>
                <a:avLst/>
                <a:gdLst>
                  <a:gd name="connsiteX0" fmla="*/ 61254 w 292272"/>
                  <a:gd name="connsiteY0" fmla="*/ 0 h 335283"/>
                  <a:gd name="connsiteX1" fmla="*/ 196656 w 292272"/>
                  <a:gd name="connsiteY1" fmla="*/ 77373 h 335283"/>
                  <a:gd name="connsiteX2" fmla="*/ 228895 w 292272"/>
                  <a:gd name="connsiteY2" fmla="*/ 196657 h 335283"/>
                  <a:gd name="connsiteX3" fmla="*/ 283701 w 292272"/>
                  <a:gd name="connsiteY3" fmla="*/ 335283 h 335283"/>
                  <a:gd name="connsiteX4" fmla="*/ 0 w 292272"/>
                  <a:gd name="connsiteY4" fmla="*/ 64478 h 335283"/>
                  <a:gd name="connsiteX5" fmla="*/ 61254 w 292272"/>
                  <a:gd name="connsiteY5" fmla="*/ 0 h 335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2272" h="335283">
                    <a:moveTo>
                      <a:pt x="61254" y="0"/>
                    </a:moveTo>
                    <a:cubicBezTo>
                      <a:pt x="61254" y="0"/>
                      <a:pt x="122507" y="80597"/>
                      <a:pt x="196656" y="77373"/>
                    </a:cubicBezTo>
                    <a:cubicBezTo>
                      <a:pt x="196656" y="77373"/>
                      <a:pt x="209552" y="167642"/>
                      <a:pt x="228895" y="196657"/>
                    </a:cubicBezTo>
                    <a:cubicBezTo>
                      <a:pt x="248238" y="225672"/>
                      <a:pt x="315940" y="286925"/>
                      <a:pt x="283701" y="335283"/>
                    </a:cubicBezTo>
                    <a:lnTo>
                      <a:pt x="0" y="64478"/>
                    </a:lnTo>
                    <a:cubicBezTo>
                      <a:pt x="0" y="64478"/>
                      <a:pt x="22567" y="16119"/>
                      <a:pt x="61254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F2F31798-3B7C-41FE-B540-CB8DFAD82CEA}"/>
                  </a:ext>
                </a:extLst>
              </p:cNvPr>
              <p:cNvSpPr/>
              <p:nvPr/>
            </p:nvSpPr>
            <p:spPr>
              <a:xfrm rot="-2778769">
                <a:off x="11263464" y="11857380"/>
                <a:ext cx="35461" cy="390077"/>
              </a:xfrm>
              <a:custGeom>
                <a:avLst/>
                <a:gdLst>
                  <a:gd name="connsiteX0" fmla="*/ 0 w 35461"/>
                  <a:gd name="connsiteY0" fmla="*/ 0 h 390077"/>
                  <a:gd name="connsiteX1" fmla="*/ 35462 w 35461"/>
                  <a:gd name="connsiteY1" fmla="*/ 0 h 390077"/>
                  <a:gd name="connsiteX2" fmla="*/ 35462 w 35461"/>
                  <a:gd name="connsiteY2" fmla="*/ 390078 h 390077"/>
                  <a:gd name="connsiteX3" fmla="*/ 0 w 35461"/>
                  <a:gd name="connsiteY3" fmla="*/ 390078 h 390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461" h="390077">
                    <a:moveTo>
                      <a:pt x="0" y="0"/>
                    </a:moveTo>
                    <a:lnTo>
                      <a:pt x="35462" y="0"/>
                    </a:lnTo>
                    <a:lnTo>
                      <a:pt x="35462" y="390078"/>
                    </a:lnTo>
                    <a:lnTo>
                      <a:pt x="0" y="390078"/>
                    </a:lnTo>
                    <a:close/>
                  </a:path>
                </a:pathLst>
              </a:custGeom>
              <a:solidFill>
                <a:srgbClr val="38333D"/>
              </a:solidFill>
              <a:ln w="322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C0E62FC8-6754-4682-B2FE-F44630683D79}"/>
                  </a:ext>
                </a:extLst>
              </p:cNvPr>
              <p:cNvSpPr/>
              <p:nvPr/>
            </p:nvSpPr>
            <p:spPr>
              <a:xfrm>
                <a:off x="11211416" y="11832606"/>
                <a:ext cx="146507" cy="88477"/>
              </a:xfrm>
              <a:custGeom>
                <a:avLst/>
                <a:gdLst>
                  <a:gd name="connsiteX0" fmla="*/ 140059 w 146507"/>
                  <a:gd name="connsiteY0" fmla="*/ 88477 h 88477"/>
                  <a:gd name="connsiteX1" fmla="*/ 140059 w 146507"/>
                  <a:gd name="connsiteY1" fmla="*/ 88477 h 88477"/>
                  <a:gd name="connsiteX2" fmla="*/ 1433 w 146507"/>
                  <a:gd name="connsiteY2" fmla="*/ 11104 h 88477"/>
                  <a:gd name="connsiteX3" fmla="*/ 1433 w 146507"/>
                  <a:gd name="connsiteY3" fmla="*/ 1433 h 88477"/>
                  <a:gd name="connsiteX4" fmla="*/ 11104 w 146507"/>
                  <a:gd name="connsiteY4" fmla="*/ 1433 h 88477"/>
                  <a:gd name="connsiteX5" fmla="*/ 140059 w 146507"/>
                  <a:gd name="connsiteY5" fmla="*/ 75582 h 88477"/>
                  <a:gd name="connsiteX6" fmla="*/ 146508 w 146507"/>
                  <a:gd name="connsiteY6" fmla="*/ 82030 h 88477"/>
                  <a:gd name="connsiteX7" fmla="*/ 140059 w 146507"/>
                  <a:gd name="connsiteY7" fmla="*/ 88477 h 88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6507" h="88477">
                    <a:moveTo>
                      <a:pt x="140059" y="88477"/>
                    </a:moveTo>
                    <a:lnTo>
                      <a:pt x="140059" y="88477"/>
                    </a:lnTo>
                    <a:cubicBezTo>
                      <a:pt x="62686" y="85253"/>
                      <a:pt x="4657" y="14328"/>
                      <a:pt x="1433" y="11104"/>
                    </a:cubicBezTo>
                    <a:cubicBezTo>
                      <a:pt x="-1791" y="7880"/>
                      <a:pt x="1433" y="4656"/>
                      <a:pt x="1433" y="1433"/>
                    </a:cubicBezTo>
                    <a:cubicBezTo>
                      <a:pt x="4657" y="-1791"/>
                      <a:pt x="7881" y="1433"/>
                      <a:pt x="11104" y="1433"/>
                    </a:cubicBezTo>
                    <a:cubicBezTo>
                      <a:pt x="11104" y="1433"/>
                      <a:pt x="69135" y="72358"/>
                      <a:pt x="140059" y="75582"/>
                    </a:cubicBezTo>
                    <a:cubicBezTo>
                      <a:pt x="143283" y="75582"/>
                      <a:pt x="146508" y="78806"/>
                      <a:pt x="146508" y="82030"/>
                    </a:cubicBezTo>
                    <a:cubicBezTo>
                      <a:pt x="143283" y="85253"/>
                      <a:pt x="143283" y="88477"/>
                      <a:pt x="140059" y="8847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0C09B213-20A7-46F5-9976-F42FC9FC0D28}"/>
                  </a:ext>
                </a:extLst>
              </p:cNvPr>
              <p:cNvSpPr/>
              <p:nvPr/>
            </p:nvSpPr>
            <p:spPr>
              <a:xfrm>
                <a:off x="11319237" y="11943650"/>
                <a:ext cx="41911" cy="12895"/>
              </a:xfrm>
              <a:custGeom>
                <a:avLst/>
                <a:gdLst>
                  <a:gd name="connsiteX0" fmla="*/ 6448 w 41911"/>
                  <a:gd name="connsiteY0" fmla="*/ 12895 h 12895"/>
                  <a:gd name="connsiteX1" fmla="*/ 0 w 41911"/>
                  <a:gd name="connsiteY1" fmla="*/ 6447 h 12895"/>
                  <a:gd name="connsiteX2" fmla="*/ 6448 w 41911"/>
                  <a:gd name="connsiteY2" fmla="*/ 0 h 12895"/>
                  <a:gd name="connsiteX3" fmla="*/ 35463 w 41911"/>
                  <a:gd name="connsiteY3" fmla="*/ 0 h 12895"/>
                  <a:gd name="connsiteX4" fmla="*/ 41911 w 41911"/>
                  <a:gd name="connsiteY4" fmla="*/ 6447 h 12895"/>
                  <a:gd name="connsiteX5" fmla="*/ 35463 w 41911"/>
                  <a:gd name="connsiteY5" fmla="*/ 12895 h 12895"/>
                  <a:gd name="connsiteX6" fmla="*/ 6448 w 41911"/>
                  <a:gd name="connsiteY6" fmla="*/ 12895 h 12895"/>
                  <a:gd name="connsiteX7" fmla="*/ 6448 w 41911"/>
                  <a:gd name="connsiteY7" fmla="*/ 12895 h 12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911" h="12895">
                    <a:moveTo>
                      <a:pt x="6448" y="12895"/>
                    </a:moveTo>
                    <a:cubicBezTo>
                      <a:pt x="3224" y="12895"/>
                      <a:pt x="0" y="9671"/>
                      <a:pt x="0" y="6447"/>
                    </a:cubicBezTo>
                    <a:cubicBezTo>
                      <a:pt x="0" y="3224"/>
                      <a:pt x="3224" y="0"/>
                      <a:pt x="6448" y="0"/>
                    </a:cubicBezTo>
                    <a:lnTo>
                      <a:pt x="35463" y="0"/>
                    </a:lnTo>
                    <a:cubicBezTo>
                      <a:pt x="38687" y="0"/>
                      <a:pt x="41911" y="3224"/>
                      <a:pt x="41911" y="6447"/>
                    </a:cubicBezTo>
                    <a:cubicBezTo>
                      <a:pt x="41911" y="9671"/>
                      <a:pt x="38687" y="12895"/>
                      <a:pt x="35463" y="12895"/>
                    </a:cubicBezTo>
                    <a:lnTo>
                      <a:pt x="6448" y="12895"/>
                    </a:lnTo>
                    <a:lnTo>
                      <a:pt x="6448" y="12895"/>
                    </a:ln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AF6E25D9-9062-4720-96EC-149C65421671}"/>
                  </a:ext>
                </a:extLst>
              </p:cNvPr>
              <p:cNvSpPr/>
              <p:nvPr/>
            </p:nvSpPr>
            <p:spPr>
              <a:xfrm>
                <a:off x="11325685" y="11982336"/>
                <a:ext cx="41910" cy="12896"/>
              </a:xfrm>
              <a:custGeom>
                <a:avLst/>
                <a:gdLst>
                  <a:gd name="connsiteX0" fmla="*/ 6448 w 41910"/>
                  <a:gd name="connsiteY0" fmla="*/ 12896 h 12896"/>
                  <a:gd name="connsiteX1" fmla="*/ 0 w 41910"/>
                  <a:gd name="connsiteY1" fmla="*/ 6448 h 12896"/>
                  <a:gd name="connsiteX2" fmla="*/ 6448 w 41910"/>
                  <a:gd name="connsiteY2" fmla="*/ 0 h 12896"/>
                  <a:gd name="connsiteX3" fmla="*/ 35463 w 41910"/>
                  <a:gd name="connsiteY3" fmla="*/ 0 h 12896"/>
                  <a:gd name="connsiteX4" fmla="*/ 35463 w 41910"/>
                  <a:gd name="connsiteY4" fmla="*/ 0 h 12896"/>
                  <a:gd name="connsiteX5" fmla="*/ 41910 w 41910"/>
                  <a:gd name="connsiteY5" fmla="*/ 6448 h 12896"/>
                  <a:gd name="connsiteX6" fmla="*/ 35463 w 41910"/>
                  <a:gd name="connsiteY6" fmla="*/ 12896 h 12896"/>
                  <a:gd name="connsiteX7" fmla="*/ 6448 w 41910"/>
                  <a:gd name="connsiteY7" fmla="*/ 12896 h 12896"/>
                  <a:gd name="connsiteX8" fmla="*/ 6448 w 41910"/>
                  <a:gd name="connsiteY8" fmla="*/ 12896 h 12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910" h="12896">
                    <a:moveTo>
                      <a:pt x="6448" y="12896"/>
                    </a:moveTo>
                    <a:cubicBezTo>
                      <a:pt x="3224" y="12896"/>
                      <a:pt x="0" y="9672"/>
                      <a:pt x="0" y="6448"/>
                    </a:cubicBezTo>
                    <a:cubicBezTo>
                      <a:pt x="0" y="3224"/>
                      <a:pt x="3224" y="0"/>
                      <a:pt x="6448" y="0"/>
                    </a:cubicBezTo>
                    <a:lnTo>
                      <a:pt x="35463" y="0"/>
                    </a:lnTo>
                    <a:cubicBezTo>
                      <a:pt x="35463" y="0"/>
                      <a:pt x="35463" y="0"/>
                      <a:pt x="35463" y="0"/>
                    </a:cubicBezTo>
                    <a:cubicBezTo>
                      <a:pt x="38687" y="0"/>
                      <a:pt x="41910" y="3224"/>
                      <a:pt x="41910" y="6448"/>
                    </a:cubicBezTo>
                    <a:cubicBezTo>
                      <a:pt x="41910" y="9672"/>
                      <a:pt x="38687" y="12896"/>
                      <a:pt x="35463" y="12896"/>
                    </a:cubicBezTo>
                    <a:lnTo>
                      <a:pt x="6448" y="12896"/>
                    </a:lnTo>
                    <a:cubicBezTo>
                      <a:pt x="6448" y="12896"/>
                      <a:pt x="6448" y="12896"/>
                      <a:pt x="6448" y="12896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5" name="图形 1">
              <a:extLst>
                <a:ext uri="{FF2B5EF4-FFF2-40B4-BE49-F238E27FC236}">
                  <a16:creationId xmlns:a16="http://schemas.microsoft.com/office/drawing/2014/main" id="{060902DE-9AE9-4199-B650-26883E2B1D8F}"/>
                </a:ext>
              </a:extLst>
            </p:cNvPr>
            <p:cNvGrpSpPr/>
            <p:nvPr/>
          </p:nvGrpSpPr>
          <p:grpSpPr>
            <a:xfrm>
              <a:off x="12047834" y="11956546"/>
              <a:ext cx="399761" cy="274029"/>
              <a:chOff x="12047834" y="11956546"/>
              <a:chExt cx="399761" cy="274029"/>
            </a:xfrm>
          </p:grpSpPr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6420B28F-CAA1-4043-9F1A-7BCF7F39A46D}"/>
                  </a:ext>
                </a:extLst>
              </p:cNvPr>
              <p:cNvSpPr/>
              <p:nvPr/>
            </p:nvSpPr>
            <p:spPr>
              <a:xfrm>
                <a:off x="12063953" y="11956546"/>
                <a:ext cx="145074" cy="180537"/>
              </a:xfrm>
              <a:custGeom>
                <a:avLst/>
                <a:gdLst>
                  <a:gd name="connsiteX0" fmla="*/ 3224 w 145074"/>
                  <a:gd name="connsiteY0" fmla="*/ 148299 h 180537"/>
                  <a:gd name="connsiteX1" fmla="*/ 0 w 145074"/>
                  <a:gd name="connsiteY1" fmla="*/ 0 h 180537"/>
                  <a:gd name="connsiteX2" fmla="*/ 145075 w 145074"/>
                  <a:gd name="connsiteY2" fmla="*/ 0 h 180537"/>
                  <a:gd name="connsiteX3" fmla="*/ 135403 w 145074"/>
                  <a:gd name="connsiteY3" fmla="*/ 157970 h 180537"/>
                  <a:gd name="connsiteX4" fmla="*/ 12895 w 145074"/>
                  <a:gd name="connsiteY4" fmla="*/ 180538 h 180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074" h="180537">
                    <a:moveTo>
                      <a:pt x="3224" y="148299"/>
                    </a:moveTo>
                    <a:lnTo>
                      <a:pt x="0" y="0"/>
                    </a:lnTo>
                    <a:lnTo>
                      <a:pt x="145075" y="0"/>
                    </a:lnTo>
                    <a:lnTo>
                      <a:pt x="135403" y="157970"/>
                    </a:lnTo>
                    <a:lnTo>
                      <a:pt x="12895" y="180538"/>
                    </a:ln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0FB77A5E-393C-4F3E-8514-2A3BB6E938B4}"/>
                  </a:ext>
                </a:extLst>
              </p:cNvPr>
              <p:cNvSpPr/>
              <p:nvPr/>
            </p:nvSpPr>
            <p:spPr>
              <a:xfrm>
                <a:off x="12050342" y="12066157"/>
                <a:ext cx="397252" cy="128955"/>
              </a:xfrm>
              <a:custGeom>
                <a:avLst/>
                <a:gdLst>
                  <a:gd name="connsiteX0" fmla="*/ 7164 w 397252"/>
                  <a:gd name="connsiteY0" fmla="*/ 38687 h 128955"/>
                  <a:gd name="connsiteX1" fmla="*/ 155462 w 397252"/>
                  <a:gd name="connsiteY1" fmla="*/ 0 h 128955"/>
                  <a:gd name="connsiteX2" fmla="*/ 261851 w 397252"/>
                  <a:gd name="connsiteY2" fmla="*/ 64478 h 128955"/>
                  <a:gd name="connsiteX3" fmla="*/ 397253 w 397252"/>
                  <a:gd name="connsiteY3" fmla="*/ 128955 h 128955"/>
                  <a:gd name="connsiteX4" fmla="*/ 7164 w 397252"/>
                  <a:gd name="connsiteY4" fmla="*/ 128955 h 128955"/>
                  <a:gd name="connsiteX5" fmla="*/ 7164 w 397252"/>
                  <a:gd name="connsiteY5" fmla="*/ 38687 h 128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7252" h="128955">
                    <a:moveTo>
                      <a:pt x="7164" y="38687"/>
                    </a:moveTo>
                    <a:cubicBezTo>
                      <a:pt x="7164" y="38687"/>
                      <a:pt x="107104" y="54806"/>
                      <a:pt x="155462" y="0"/>
                    </a:cubicBezTo>
                    <a:cubicBezTo>
                      <a:pt x="155462" y="0"/>
                      <a:pt x="226388" y="58030"/>
                      <a:pt x="261851" y="64478"/>
                    </a:cubicBezTo>
                    <a:cubicBezTo>
                      <a:pt x="297313" y="70926"/>
                      <a:pt x="387582" y="70926"/>
                      <a:pt x="397253" y="128955"/>
                    </a:cubicBezTo>
                    <a:lnTo>
                      <a:pt x="7164" y="128955"/>
                    </a:lnTo>
                    <a:cubicBezTo>
                      <a:pt x="7164" y="128955"/>
                      <a:pt x="-8955" y="80597"/>
                      <a:pt x="7164" y="38687"/>
                    </a:cubicBez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6EF50687-ED2F-4A34-A6D4-40A43A8917D8}"/>
                  </a:ext>
                </a:extLst>
              </p:cNvPr>
              <p:cNvSpPr/>
              <p:nvPr/>
            </p:nvSpPr>
            <p:spPr>
              <a:xfrm>
                <a:off x="12057506" y="12195113"/>
                <a:ext cx="390089" cy="35462"/>
              </a:xfrm>
              <a:custGeom>
                <a:avLst/>
                <a:gdLst>
                  <a:gd name="connsiteX0" fmla="*/ 0 w 390089"/>
                  <a:gd name="connsiteY0" fmla="*/ 0 h 35462"/>
                  <a:gd name="connsiteX1" fmla="*/ 390090 w 390089"/>
                  <a:gd name="connsiteY1" fmla="*/ 0 h 35462"/>
                  <a:gd name="connsiteX2" fmla="*/ 390090 w 390089"/>
                  <a:gd name="connsiteY2" fmla="*/ 35463 h 35462"/>
                  <a:gd name="connsiteX3" fmla="*/ 0 w 390089"/>
                  <a:gd name="connsiteY3" fmla="*/ 35463 h 35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0089" h="35462">
                    <a:moveTo>
                      <a:pt x="0" y="0"/>
                    </a:moveTo>
                    <a:lnTo>
                      <a:pt x="390090" y="0"/>
                    </a:lnTo>
                    <a:lnTo>
                      <a:pt x="390090" y="35463"/>
                    </a:lnTo>
                    <a:lnTo>
                      <a:pt x="0" y="35463"/>
                    </a:ln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8456CD87-EEE6-4BB1-89A4-F0603DC27700}"/>
                  </a:ext>
                </a:extLst>
              </p:cNvPr>
              <p:cNvSpPr/>
              <p:nvPr/>
            </p:nvSpPr>
            <p:spPr>
              <a:xfrm>
                <a:off x="12047834" y="12057292"/>
                <a:ext cx="163612" cy="53999"/>
              </a:xfrm>
              <a:custGeom>
                <a:avLst/>
                <a:gdLst>
                  <a:gd name="connsiteX0" fmla="*/ 35463 w 163612"/>
                  <a:gd name="connsiteY0" fmla="*/ 53999 h 53999"/>
                  <a:gd name="connsiteX1" fmla="*/ 6448 w 163612"/>
                  <a:gd name="connsiteY1" fmla="*/ 50776 h 53999"/>
                  <a:gd name="connsiteX2" fmla="*/ 0 w 163612"/>
                  <a:gd name="connsiteY2" fmla="*/ 44328 h 53999"/>
                  <a:gd name="connsiteX3" fmla="*/ 6448 w 163612"/>
                  <a:gd name="connsiteY3" fmla="*/ 37880 h 53999"/>
                  <a:gd name="connsiteX4" fmla="*/ 151523 w 163612"/>
                  <a:gd name="connsiteY4" fmla="*/ 2418 h 53999"/>
                  <a:gd name="connsiteX5" fmla="*/ 161194 w 163612"/>
                  <a:gd name="connsiteY5" fmla="*/ 2418 h 53999"/>
                  <a:gd name="connsiteX6" fmla="*/ 161194 w 163612"/>
                  <a:gd name="connsiteY6" fmla="*/ 12089 h 53999"/>
                  <a:gd name="connsiteX7" fmla="*/ 35463 w 163612"/>
                  <a:gd name="connsiteY7" fmla="*/ 53999 h 5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612" h="53999">
                    <a:moveTo>
                      <a:pt x="35463" y="53999"/>
                    </a:moveTo>
                    <a:cubicBezTo>
                      <a:pt x="19343" y="53999"/>
                      <a:pt x="6448" y="53999"/>
                      <a:pt x="6448" y="50776"/>
                    </a:cubicBezTo>
                    <a:cubicBezTo>
                      <a:pt x="3224" y="50776"/>
                      <a:pt x="0" y="47552"/>
                      <a:pt x="0" y="44328"/>
                    </a:cubicBezTo>
                    <a:cubicBezTo>
                      <a:pt x="0" y="41104"/>
                      <a:pt x="3224" y="37880"/>
                      <a:pt x="6448" y="37880"/>
                    </a:cubicBezTo>
                    <a:cubicBezTo>
                      <a:pt x="6448" y="37880"/>
                      <a:pt x="96716" y="50776"/>
                      <a:pt x="151523" y="2418"/>
                    </a:cubicBezTo>
                    <a:cubicBezTo>
                      <a:pt x="154747" y="-806"/>
                      <a:pt x="157970" y="-806"/>
                      <a:pt x="161194" y="2418"/>
                    </a:cubicBezTo>
                    <a:cubicBezTo>
                      <a:pt x="164418" y="5641"/>
                      <a:pt x="164418" y="8865"/>
                      <a:pt x="161194" y="12089"/>
                    </a:cubicBezTo>
                    <a:cubicBezTo>
                      <a:pt x="122508" y="47552"/>
                      <a:pt x="67702" y="53999"/>
                      <a:pt x="35463" y="5399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306C9D18-C8C5-490C-BBAC-EFC170719E22}"/>
                  </a:ext>
                </a:extLst>
              </p:cNvPr>
              <p:cNvSpPr/>
              <p:nvPr/>
            </p:nvSpPr>
            <p:spPr>
              <a:xfrm>
                <a:off x="12206610" y="12076635"/>
                <a:ext cx="33850" cy="37880"/>
              </a:xfrm>
              <a:custGeom>
                <a:avLst/>
                <a:gdLst>
                  <a:gd name="connsiteX0" fmla="*/ 5642 w 33850"/>
                  <a:gd name="connsiteY0" fmla="*/ 37880 h 37880"/>
                  <a:gd name="connsiteX1" fmla="*/ 2418 w 33850"/>
                  <a:gd name="connsiteY1" fmla="*/ 34656 h 37880"/>
                  <a:gd name="connsiteX2" fmla="*/ 2418 w 33850"/>
                  <a:gd name="connsiteY2" fmla="*/ 24985 h 37880"/>
                  <a:gd name="connsiteX3" fmla="*/ 21762 w 33850"/>
                  <a:gd name="connsiteY3" fmla="*/ 2417 h 37880"/>
                  <a:gd name="connsiteX4" fmla="*/ 31433 w 33850"/>
                  <a:gd name="connsiteY4" fmla="*/ 2417 h 37880"/>
                  <a:gd name="connsiteX5" fmla="*/ 31433 w 33850"/>
                  <a:gd name="connsiteY5" fmla="*/ 12090 h 37880"/>
                  <a:gd name="connsiteX6" fmla="*/ 12090 w 33850"/>
                  <a:gd name="connsiteY6" fmla="*/ 34656 h 37880"/>
                  <a:gd name="connsiteX7" fmla="*/ 5642 w 33850"/>
                  <a:gd name="connsiteY7" fmla="*/ 37880 h 3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50" h="37880">
                    <a:moveTo>
                      <a:pt x="5642" y="37880"/>
                    </a:moveTo>
                    <a:cubicBezTo>
                      <a:pt x="5642" y="37880"/>
                      <a:pt x="2418" y="37880"/>
                      <a:pt x="2418" y="34656"/>
                    </a:cubicBezTo>
                    <a:cubicBezTo>
                      <a:pt x="-806" y="31433"/>
                      <a:pt x="-806" y="28209"/>
                      <a:pt x="2418" y="24985"/>
                    </a:cubicBezTo>
                    <a:lnTo>
                      <a:pt x="21762" y="2417"/>
                    </a:lnTo>
                    <a:cubicBezTo>
                      <a:pt x="24986" y="-806"/>
                      <a:pt x="28210" y="-806"/>
                      <a:pt x="31433" y="2417"/>
                    </a:cubicBezTo>
                    <a:cubicBezTo>
                      <a:pt x="34657" y="5641"/>
                      <a:pt x="34657" y="8865"/>
                      <a:pt x="31433" y="12090"/>
                    </a:cubicBezTo>
                    <a:lnTo>
                      <a:pt x="12090" y="34656"/>
                    </a:lnTo>
                    <a:cubicBezTo>
                      <a:pt x="8866" y="37880"/>
                      <a:pt x="8866" y="37880"/>
                      <a:pt x="5642" y="3788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E5246B04-AA50-42E3-9095-AB27E02CA00B}"/>
                  </a:ext>
                </a:extLst>
              </p:cNvPr>
              <p:cNvSpPr/>
              <p:nvPr/>
            </p:nvSpPr>
            <p:spPr>
              <a:xfrm>
                <a:off x="12238848" y="12099202"/>
                <a:ext cx="33850" cy="37880"/>
              </a:xfrm>
              <a:custGeom>
                <a:avLst/>
                <a:gdLst>
                  <a:gd name="connsiteX0" fmla="*/ 5642 w 33850"/>
                  <a:gd name="connsiteY0" fmla="*/ 37881 h 37880"/>
                  <a:gd name="connsiteX1" fmla="*/ 2418 w 33850"/>
                  <a:gd name="connsiteY1" fmla="*/ 34657 h 37880"/>
                  <a:gd name="connsiteX2" fmla="*/ 2418 w 33850"/>
                  <a:gd name="connsiteY2" fmla="*/ 24986 h 37880"/>
                  <a:gd name="connsiteX3" fmla="*/ 21762 w 33850"/>
                  <a:gd name="connsiteY3" fmla="*/ 2418 h 37880"/>
                  <a:gd name="connsiteX4" fmla="*/ 31433 w 33850"/>
                  <a:gd name="connsiteY4" fmla="*/ 2418 h 37880"/>
                  <a:gd name="connsiteX5" fmla="*/ 31433 w 33850"/>
                  <a:gd name="connsiteY5" fmla="*/ 12089 h 37880"/>
                  <a:gd name="connsiteX6" fmla="*/ 12090 w 33850"/>
                  <a:gd name="connsiteY6" fmla="*/ 34657 h 37880"/>
                  <a:gd name="connsiteX7" fmla="*/ 5642 w 33850"/>
                  <a:gd name="connsiteY7" fmla="*/ 37881 h 3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50" h="37880">
                    <a:moveTo>
                      <a:pt x="5642" y="37881"/>
                    </a:moveTo>
                    <a:cubicBezTo>
                      <a:pt x="5642" y="37881"/>
                      <a:pt x="2418" y="37881"/>
                      <a:pt x="2418" y="34657"/>
                    </a:cubicBezTo>
                    <a:cubicBezTo>
                      <a:pt x="-806" y="31433"/>
                      <a:pt x="-806" y="28209"/>
                      <a:pt x="2418" y="24986"/>
                    </a:cubicBezTo>
                    <a:lnTo>
                      <a:pt x="21762" y="2418"/>
                    </a:lnTo>
                    <a:cubicBezTo>
                      <a:pt x="24986" y="-806"/>
                      <a:pt x="28210" y="-806"/>
                      <a:pt x="31433" y="2418"/>
                    </a:cubicBezTo>
                    <a:cubicBezTo>
                      <a:pt x="34657" y="5642"/>
                      <a:pt x="34657" y="8866"/>
                      <a:pt x="31433" y="12089"/>
                    </a:cubicBezTo>
                    <a:lnTo>
                      <a:pt x="12090" y="34657"/>
                    </a:lnTo>
                    <a:cubicBezTo>
                      <a:pt x="8866" y="37881"/>
                      <a:pt x="5642" y="37881"/>
                      <a:pt x="5642" y="3788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2D797BCA-F570-4666-A9B4-C3AFC73C4828}"/>
                </a:ext>
              </a:extLst>
            </p:cNvPr>
            <p:cNvSpPr/>
            <p:nvPr/>
          </p:nvSpPr>
          <p:spPr>
            <a:xfrm>
              <a:off x="11216073" y="10180187"/>
              <a:ext cx="1108882" cy="1844060"/>
            </a:xfrm>
            <a:custGeom>
              <a:avLst/>
              <a:gdLst>
                <a:gd name="connsiteX0" fmla="*/ 1102567 w 1108882"/>
                <a:gd name="connsiteY0" fmla="*/ 16119 h 1844060"/>
                <a:gd name="connsiteX1" fmla="*/ 1092895 w 1108882"/>
                <a:gd name="connsiteY1" fmla="*/ 1128358 h 1844060"/>
                <a:gd name="connsiteX2" fmla="*/ 1038089 w 1108882"/>
                <a:gd name="connsiteY2" fmla="*/ 1844060 h 1844060"/>
                <a:gd name="connsiteX3" fmla="*/ 799522 w 1108882"/>
                <a:gd name="connsiteY3" fmla="*/ 1844060 h 1844060"/>
                <a:gd name="connsiteX4" fmla="*/ 770507 w 1108882"/>
                <a:gd name="connsiteY4" fmla="*/ 1147702 h 1844060"/>
                <a:gd name="connsiteX5" fmla="*/ 706030 w 1108882"/>
                <a:gd name="connsiteY5" fmla="*/ 402985 h 1844060"/>
                <a:gd name="connsiteX6" fmla="*/ 673791 w 1108882"/>
                <a:gd name="connsiteY6" fmla="*/ 1131582 h 1844060"/>
                <a:gd name="connsiteX7" fmla="*/ 644776 w 1108882"/>
                <a:gd name="connsiteY7" fmla="*/ 1212179 h 1844060"/>
                <a:gd name="connsiteX8" fmla="*/ 228896 w 1108882"/>
                <a:gd name="connsiteY8" fmla="*/ 1750568 h 1844060"/>
                <a:gd name="connsiteX9" fmla="*/ 0 w 1108882"/>
                <a:gd name="connsiteY9" fmla="*/ 1557135 h 1844060"/>
                <a:gd name="connsiteX10" fmla="*/ 348179 w 1108882"/>
                <a:gd name="connsiteY10" fmla="*/ 1076776 h 1844060"/>
                <a:gd name="connsiteX11" fmla="*/ 286925 w 1108882"/>
                <a:gd name="connsiteY11" fmla="*/ 0 h 1844060"/>
                <a:gd name="connsiteX12" fmla="*/ 1102567 w 1108882"/>
                <a:gd name="connsiteY12" fmla="*/ 16119 h 184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8882" h="1844060">
                  <a:moveTo>
                    <a:pt x="1102567" y="16119"/>
                  </a:moveTo>
                  <a:cubicBezTo>
                    <a:pt x="1102567" y="16119"/>
                    <a:pt x="1121910" y="876896"/>
                    <a:pt x="1092895" y="1128358"/>
                  </a:cubicBezTo>
                  <a:cubicBezTo>
                    <a:pt x="1067105" y="1344359"/>
                    <a:pt x="1038089" y="1844060"/>
                    <a:pt x="1038089" y="1844060"/>
                  </a:cubicBezTo>
                  <a:lnTo>
                    <a:pt x="799522" y="1844060"/>
                  </a:lnTo>
                  <a:cubicBezTo>
                    <a:pt x="799522" y="1844060"/>
                    <a:pt x="773731" y="1228299"/>
                    <a:pt x="770507" y="1147702"/>
                  </a:cubicBezTo>
                  <a:cubicBezTo>
                    <a:pt x="764059" y="1034866"/>
                    <a:pt x="715701" y="428777"/>
                    <a:pt x="706030" y="402985"/>
                  </a:cubicBezTo>
                  <a:cubicBezTo>
                    <a:pt x="696358" y="383642"/>
                    <a:pt x="677015" y="963940"/>
                    <a:pt x="673791" y="1131582"/>
                  </a:cubicBezTo>
                  <a:cubicBezTo>
                    <a:pt x="673791" y="1160597"/>
                    <a:pt x="664120" y="1189612"/>
                    <a:pt x="644776" y="1212179"/>
                  </a:cubicBezTo>
                  <a:lnTo>
                    <a:pt x="228896" y="1750568"/>
                  </a:lnTo>
                  <a:lnTo>
                    <a:pt x="0" y="1557135"/>
                  </a:lnTo>
                  <a:lnTo>
                    <a:pt x="348179" y="1076776"/>
                  </a:lnTo>
                  <a:cubicBezTo>
                    <a:pt x="348179" y="1076776"/>
                    <a:pt x="248238" y="77373"/>
                    <a:pt x="286925" y="0"/>
                  </a:cubicBezTo>
                  <a:cubicBezTo>
                    <a:pt x="844656" y="25792"/>
                    <a:pt x="1102567" y="16119"/>
                    <a:pt x="1102567" y="16119"/>
                  </a:cubicBez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77D579FF-FE28-416C-9289-92A399C3B3EB}"/>
                </a:ext>
              </a:extLst>
            </p:cNvPr>
            <p:cNvSpPr/>
            <p:nvPr/>
          </p:nvSpPr>
          <p:spPr>
            <a:xfrm>
              <a:off x="11915654" y="10293023"/>
              <a:ext cx="58030" cy="296597"/>
            </a:xfrm>
            <a:custGeom>
              <a:avLst/>
              <a:gdLst>
                <a:gd name="connsiteX0" fmla="*/ 6448 w 58030"/>
                <a:gd name="connsiteY0" fmla="*/ 296597 h 296597"/>
                <a:gd name="connsiteX1" fmla="*/ 6448 w 58030"/>
                <a:gd name="connsiteY1" fmla="*/ 296597 h 296597"/>
                <a:gd name="connsiteX2" fmla="*/ 0 w 58030"/>
                <a:gd name="connsiteY2" fmla="*/ 286925 h 296597"/>
                <a:gd name="connsiteX3" fmla="*/ 45135 w 58030"/>
                <a:gd name="connsiteY3" fmla="*/ 6448 h 296597"/>
                <a:gd name="connsiteX4" fmla="*/ 51582 w 58030"/>
                <a:gd name="connsiteY4" fmla="*/ 0 h 296597"/>
                <a:gd name="connsiteX5" fmla="*/ 51582 w 58030"/>
                <a:gd name="connsiteY5" fmla="*/ 0 h 296597"/>
                <a:gd name="connsiteX6" fmla="*/ 58030 w 58030"/>
                <a:gd name="connsiteY6" fmla="*/ 6448 h 296597"/>
                <a:gd name="connsiteX7" fmla="*/ 9672 w 58030"/>
                <a:gd name="connsiteY7" fmla="*/ 290149 h 296597"/>
                <a:gd name="connsiteX8" fmla="*/ 6448 w 58030"/>
                <a:gd name="connsiteY8" fmla="*/ 296597 h 296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8030" h="296597">
                  <a:moveTo>
                    <a:pt x="6448" y="296597"/>
                  </a:moveTo>
                  <a:cubicBezTo>
                    <a:pt x="6448" y="296597"/>
                    <a:pt x="3224" y="296597"/>
                    <a:pt x="6448" y="296597"/>
                  </a:cubicBezTo>
                  <a:cubicBezTo>
                    <a:pt x="0" y="293373"/>
                    <a:pt x="0" y="290149"/>
                    <a:pt x="0" y="286925"/>
                  </a:cubicBezTo>
                  <a:cubicBezTo>
                    <a:pt x="38687" y="196657"/>
                    <a:pt x="45135" y="9672"/>
                    <a:pt x="45135" y="6448"/>
                  </a:cubicBezTo>
                  <a:cubicBezTo>
                    <a:pt x="45135" y="3224"/>
                    <a:pt x="48358" y="0"/>
                    <a:pt x="51582" y="0"/>
                  </a:cubicBezTo>
                  <a:cubicBezTo>
                    <a:pt x="51582" y="0"/>
                    <a:pt x="51582" y="0"/>
                    <a:pt x="51582" y="0"/>
                  </a:cubicBezTo>
                  <a:cubicBezTo>
                    <a:pt x="54806" y="0"/>
                    <a:pt x="58030" y="3224"/>
                    <a:pt x="58030" y="6448"/>
                  </a:cubicBezTo>
                  <a:cubicBezTo>
                    <a:pt x="58030" y="12895"/>
                    <a:pt x="51582" y="196657"/>
                    <a:pt x="9672" y="290149"/>
                  </a:cubicBezTo>
                  <a:cubicBezTo>
                    <a:pt x="9672" y="296597"/>
                    <a:pt x="9672" y="296597"/>
                    <a:pt x="6448" y="296597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8DD57EC5-D65C-4558-9E11-AC9D0057A4AC}"/>
                </a:ext>
              </a:extLst>
            </p:cNvPr>
            <p:cNvSpPr/>
            <p:nvPr/>
          </p:nvSpPr>
          <p:spPr>
            <a:xfrm>
              <a:off x="11936887" y="10234994"/>
              <a:ext cx="127066" cy="290149"/>
            </a:xfrm>
            <a:custGeom>
              <a:avLst/>
              <a:gdLst>
                <a:gd name="connsiteX0" fmla="*/ 7784 w 127066"/>
                <a:gd name="connsiteY0" fmla="*/ 290149 h 290149"/>
                <a:gd name="connsiteX1" fmla="*/ 1335 w 127066"/>
                <a:gd name="connsiteY1" fmla="*/ 286925 h 290149"/>
                <a:gd name="connsiteX2" fmla="*/ 4560 w 127066"/>
                <a:gd name="connsiteY2" fmla="*/ 277254 h 290149"/>
                <a:gd name="connsiteX3" fmla="*/ 88381 w 127066"/>
                <a:gd name="connsiteY3" fmla="*/ 215999 h 290149"/>
                <a:gd name="connsiteX4" fmla="*/ 114171 w 127066"/>
                <a:gd name="connsiteY4" fmla="*/ 6447 h 290149"/>
                <a:gd name="connsiteX5" fmla="*/ 120619 w 127066"/>
                <a:gd name="connsiteY5" fmla="*/ 0 h 290149"/>
                <a:gd name="connsiteX6" fmla="*/ 127067 w 127066"/>
                <a:gd name="connsiteY6" fmla="*/ 6447 h 290149"/>
                <a:gd name="connsiteX7" fmla="*/ 98052 w 127066"/>
                <a:gd name="connsiteY7" fmla="*/ 222448 h 290149"/>
                <a:gd name="connsiteX8" fmla="*/ 11007 w 127066"/>
                <a:gd name="connsiteY8" fmla="*/ 286925 h 290149"/>
                <a:gd name="connsiteX9" fmla="*/ 7784 w 127066"/>
                <a:gd name="connsiteY9" fmla="*/ 290149 h 290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066" h="290149">
                  <a:moveTo>
                    <a:pt x="7784" y="290149"/>
                  </a:moveTo>
                  <a:cubicBezTo>
                    <a:pt x="4560" y="290149"/>
                    <a:pt x="4560" y="290149"/>
                    <a:pt x="1335" y="286925"/>
                  </a:cubicBezTo>
                  <a:cubicBezTo>
                    <a:pt x="-1889" y="283701"/>
                    <a:pt x="1335" y="280477"/>
                    <a:pt x="4560" y="277254"/>
                  </a:cubicBezTo>
                  <a:cubicBezTo>
                    <a:pt x="33574" y="257910"/>
                    <a:pt x="85157" y="222448"/>
                    <a:pt x="88381" y="215999"/>
                  </a:cubicBezTo>
                  <a:cubicBezTo>
                    <a:pt x="94828" y="206328"/>
                    <a:pt x="107723" y="80597"/>
                    <a:pt x="114171" y="6447"/>
                  </a:cubicBezTo>
                  <a:cubicBezTo>
                    <a:pt x="114171" y="3224"/>
                    <a:pt x="117395" y="0"/>
                    <a:pt x="120619" y="0"/>
                  </a:cubicBezTo>
                  <a:cubicBezTo>
                    <a:pt x="123843" y="0"/>
                    <a:pt x="127067" y="3224"/>
                    <a:pt x="127067" y="6447"/>
                  </a:cubicBezTo>
                  <a:cubicBezTo>
                    <a:pt x="123843" y="54805"/>
                    <a:pt x="107723" y="209552"/>
                    <a:pt x="98052" y="222448"/>
                  </a:cubicBezTo>
                  <a:cubicBezTo>
                    <a:pt x="88381" y="235343"/>
                    <a:pt x="17455" y="280477"/>
                    <a:pt x="11007" y="286925"/>
                  </a:cubicBezTo>
                  <a:cubicBezTo>
                    <a:pt x="11007" y="290149"/>
                    <a:pt x="7784" y="290149"/>
                    <a:pt x="7784" y="290149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633D20DA-E649-4CED-A19A-452EAA95B18F}"/>
                </a:ext>
              </a:extLst>
            </p:cNvPr>
            <p:cNvSpPr/>
            <p:nvPr/>
          </p:nvSpPr>
          <p:spPr>
            <a:xfrm>
              <a:off x="11480431" y="10186635"/>
              <a:ext cx="122508" cy="196656"/>
            </a:xfrm>
            <a:custGeom>
              <a:avLst/>
              <a:gdLst>
                <a:gd name="connsiteX0" fmla="*/ 6448 w 122508"/>
                <a:gd name="connsiteY0" fmla="*/ 196657 h 196656"/>
                <a:gd name="connsiteX1" fmla="*/ 0 w 122508"/>
                <a:gd name="connsiteY1" fmla="*/ 190209 h 196656"/>
                <a:gd name="connsiteX2" fmla="*/ 6448 w 122508"/>
                <a:gd name="connsiteY2" fmla="*/ 183761 h 196656"/>
                <a:gd name="connsiteX3" fmla="*/ 99940 w 122508"/>
                <a:gd name="connsiteY3" fmla="*/ 161194 h 196656"/>
                <a:gd name="connsiteX4" fmla="*/ 109613 w 122508"/>
                <a:gd name="connsiteY4" fmla="*/ 6447 h 196656"/>
                <a:gd name="connsiteX5" fmla="*/ 116060 w 122508"/>
                <a:gd name="connsiteY5" fmla="*/ 0 h 196656"/>
                <a:gd name="connsiteX6" fmla="*/ 122508 w 122508"/>
                <a:gd name="connsiteY6" fmla="*/ 6447 h 196656"/>
                <a:gd name="connsiteX7" fmla="*/ 109613 w 122508"/>
                <a:gd name="connsiteY7" fmla="*/ 167641 h 196656"/>
                <a:gd name="connsiteX8" fmla="*/ 6448 w 122508"/>
                <a:gd name="connsiteY8" fmla="*/ 196657 h 196656"/>
                <a:gd name="connsiteX9" fmla="*/ 6448 w 122508"/>
                <a:gd name="connsiteY9" fmla="*/ 196657 h 196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2508" h="196656">
                  <a:moveTo>
                    <a:pt x="6448" y="196657"/>
                  </a:moveTo>
                  <a:cubicBezTo>
                    <a:pt x="3224" y="196657"/>
                    <a:pt x="0" y="193433"/>
                    <a:pt x="0" y="190209"/>
                  </a:cubicBezTo>
                  <a:cubicBezTo>
                    <a:pt x="0" y="186985"/>
                    <a:pt x="3224" y="183761"/>
                    <a:pt x="6448" y="183761"/>
                  </a:cubicBezTo>
                  <a:cubicBezTo>
                    <a:pt x="48358" y="177313"/>
                    <a:pt x="93493" y="167641"/>
                    <a:pt x="99940" y="161194"/>
                  </a:cubicBezTo>
                  <a:cubicBezTo>
                    <a:pt x="103165" y="151522"/>
                    <a:pt x="109613" y="77373"/>
                    <a:pt x="109613" y="6447"/>
                  </a:cubicBezTo>
                  <a:cubicBezTo>
                    <a:pt x="109613" y="3224"/>
                    <a:pt x="112836" y="0"/>
                    <a:pt x="116060" y="0"/>
                  </a:cubicBezTo>
                  <a:cubicBezTo>
                    <a:pt x="119284" y="0"/>
                    <a:pt x="122508" y="3224"/>
                    <a:pt x="122508" y="6447"/>
                  </a:cubicBezTo>
                  <a:cubicBezTo>
                    <a:pt x="122508" y="32239"/>
                    <a:pt x="119284" y="151522"/>
                    <a:pt x="109613" y="167641"/>
                  </a:cubicBezTo>
                  <a:cubicBezTo>
                    <a:pt x="99940" y="180538"/>
                    <a:pt x="35463" y="190209"/>
                    <a:pt x="6448" y="196657"/>
                  </a:cubicBezTo>
                  <a:cubicBezTo>
                    <a:pt x="6448" y="196657"/>
                    <a:pt x="6448" y="196657"/>
                    <a:pt x="6448" y="196657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DE7DA77A-F771-49FA-A54F-68D26D125C2B}"/>
                </a:ext>
              </a:extLst>
            </p:cNvPr>
            <p:cNvSpPr/>
            <p:nvPr/>
          </p:nvSpPr>
          <p:spPr>
            <a:xfrm>
              <a:off x="12244491" y="10196307"/>
              <a:ext cx="77372" cy="167642"/>
            </a:xfrm>
            <a:custGeom>
              <a:avLst/>
              <a:gdLst>
                <a:gd name="connsiteX0" fmla="*/ 64478 w 77372"/>
                <a:gd name="connsiteY0" fmla="*/ 167642 h 167642"/>
                <a:gd name="connsiteX1" fmla="*/ 16119 w 77372"/>
                <a:gd name="connsiteY1" fmla="*/ 148299 h 167642"/>
                <a:gd name="connsiteX2" fmla="*/ 0 w 77372"/>
                <a:gd name="connsiteY2" fmla="*/ 6448 h 167642"/>
                <a:gd name="connsiteX3" fmla="*/ 6448 w 77372"/>
                <a:gd name="connsiteY3" fmla="*/ 0 h 167642"/>
                <a:gd name="connsiteX4" fmla="*/ 6448 w 77372"/>
                <a:gd name="connsiteY4" fmla="*/ 0 h 167642"/>
                <a:gd name="connsiteX5" fmla="*/ 12895 w 77372"/>
                <a:gd name="connsiteY5" fmla="*/ 6448 h 167642"/>
                <a:gd name="connsiteX6" fmla="*/ 29015 w 77372"/>
                <a:gd name="connsiteY6" fmla="*/ 141851 h 167642"/>
                <a:gd name="connsiteX7" fmla="*/ 70926 w 77372"/>
                <a:gd name="connsiteY7" fmla="*/ 154747 h 167642"/>
                <a:gd name="connsiteX8" fmla="*/ 77373 w 77372"/>
                <a:gd name="connsiteY8" fmla="*/ 161194 h 167642"/>
                <a:gd name="connsiteX9" fmla="*/ 70926 w 77372"/>
                <a:gd name="connsiteY9" fmla="*/ 167642 h 167642"/>
                <a:gd name="connsiteX10" fmla="*/ 64478 w 77372"/>
                <a:gd name="connsiteY10" fmla="*/ 167642 h 167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372" h="167642">
                  <a:moveTo>
                    <a:pt x="64478" y="167642"/>
                  </a:moveTo>
                  <a:cubicBezTo>
                    <a:pt x="51582" y="167642"/>
                    <a:pt x="25791" y="164418"/>
                    <a:pt x="16119" y="148299"/>
                  </a:cubicBezTo>
                  <a:cubicBezTo>
                    <a:pt x="3224" y="125731"/>
                    <a:pt x="0" y="19343"/>
                    <a:pt x="0" y="6448"/>
                  </a:cubicBezTo>
                  <a:cubicBezTo>
                    <a:pt x="0" y="3224"/>
                    <a:pt x="3224" y="0"/>
                    <a:pt x="6448" y="0"/>
                  </a:cubicBezTo>
                  <a:cubicBezTo>
                    <a:pt x="6448" y="0"/>
                    <a:pt x="6448" y="0"/>
                    <a:pt x="6448" y="0"/>
                  </a:cubicBezTo>
                  <a:cubicBezTo>
                    <a:pt x="9671" y="0"/>
                    <a:pt x="12895" y="3224"/>
                    <a:pt x="12895" y="6448"/>
                  </a:cubicBezTo>
                  <a:cubicBezTo>
                    <a:pt x="16119" y="51582"/>
                    <a:pt x="19343" y="128955"/>
                    <a:pt x="29015" y="141851"/>
                  </a:cubicBezTo>
                  <a:cubicBezTo>
                    <a:pt x="38687" y="157970"/>
                    <a:pt x="70926" y="154747"/>
                    <a:pt x="70926" y="154747"/>
                  </a:cubicBezTo>
                  <a:cubicBezTo>
                    <a:pt x="74149" y="154747"/>
                    <a:pt x="77373" y="157970"/>
                    <a:pt x="77373" y="161194"/>
                  </a:cubicBezTo>
                  <a:cubicBezTo>
                    <a:pt x="77373" y="164418"/>
                    <a:pt x="74149" y="167642"/>
                    <a:pt x="70926" y="167642"/>
                  </a:cubicBezTo>
                  <a:cubicBezTo>
                    <a:pt x="70926" y="167642"/>
                    <a:pt x="67702" y="167642"/>
                    <a:pt x="64478" y="167642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8847C680-7FAF-44E4-A60F-00262793E426}"/>
                </a:ext>
              </a:extLst>
            </p:cNvPr>
            <p:cNvSpPr/>
            <p:nvPr/>
          </p:nvSpPr>
          <p:spPr>
            <a:xfrm>
              <a:off x="11556469" y="11252405"/>
              <a:ext cx="112282" cy="30350"/>
            </a:xfrm>
            <a:custGeom>
              <a:avLst/>
              <a:gdLst>
                <a:gd name="connsiteX0" fmla="*/ 104499 w 112282"/>
                <a:gd name="connsiteY0" fmla="*/ 30350 h 30350"/>
                <a:gd name="connsiteX1" fmla="*/ 104499 w 112282"/>
                <a:gd name="connsiteY1" fmla="*/ 30350 h 30350"/>
                <a:gd name="connsiteX2" fmla="*/ 4559 w 112282"/>
                <a:gd name="connsiteY2" fmla="*/ 11007 h 30350"/>
                <a:gd name="connsiteX3" fmla="*/ 1335 w 112282"/>
                <a:gd name="connsiteY3" fmla="*/ 4559 h 30350"/>
                <a:gd name="connsiteX4" fmla="*/ 7783 w 112282"/>
                <a:gd name="connsiteY4" fmla="*/ 1335 h 30350"/>
                <a:gd name="connsiteX5" fmla="*/ 107723 w 112282"/>
                <a:gd name="connsiteY5" fmla="*/ 20678 h 30350"/>
                <a:gd name="connsiteX6" fmla="*/ 110947 w 112282"/>
                <a:gd name="connsiteY6" fmla="*/ 27126 h 30350"/>
                <a:gd name="connsiteX7" fmla="*/ 104499 w 112282"/>
                <a:gd name="connsiteY7" fmla="*/ 30350 h 3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282" h="30350">
                  <a:moveTo>
                    <a:pt x="104499" y="30350"/>
                  </a:moveTo>
                  <a:cubicBezTo>
                    <a:pt x="104499" y="30350"/>
                    <a:pt x="104499" y="30350"/>
                    <a:pt x="104499" y="30350"/>
                  </a:cubicBezTo>
                  <a:lnTo>
                    <a:pt x="4559" y="11007"/>
                  </a:lnTo>
                  <a:cubicBezTo>
                    <a:pt x="1335" y="11007"/>
                    <a:pt x="-1889" y="7783"/>
                    <a:pt x="1335" y="4559"/>
                  </a:cubicBezTo>
                  <a:cubicBezTo>
                    <a:pt x="1335" y="1335"/>
                    <a:pt x="4559" y="-1889"/>
                    <a:pt x="7783" y="1335"/>
                  </a:cubicBezTo>
                  <a:lnTo>
                    <a:pt x="107723" y="20678"/>
                  </a:lnTo>
                  <a:cubicBezTo>
                    <a:pt x="110947" y="20678"/>
                    <a:pt x="114171" y="23902"/>
                    <a:pt x="110947" y="27126"/>
                  </a:cubicBezTo>
                  <a:cubicBezTo>
                    <a:pt x="110947" y="27126"/>
                    <a:pt x="107723" y="30350"/>
                    <a:pt x="104499" y="30350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F6A557AB-D165-451A-B5C9-7CD30807C5F7}"/>
                </a:ext>
              </a:extLst>
            </p:cNvPr>
            <p:cNvSpPr/>
            <p:nvPr/>
          </p:nvSpPr>
          <p:spPr>
            <a:xfrm>
              <a:off x="12190004" y="9064725"/>
              <a:ext cx="812240" cy="576337"/>
            </a:xfrm>
            <a:custGeom>
              <a:avLst/>
              <a:gdLst>
                <a:gd name="connsiteX0" fmla="*/ 12577 w 812240"/>
                <a:gd name="connsiteY0" fmla="*/ 99940 h 576337"/>
                <a:gd name="connsiteX1" fmla="*/ 351084 w 812240"/>
                <a:gd name="connsiteY1" fmla="*/ 174089 h 576337"/>
                <a:gd name="connsiteX2" fmla="*/ 634785 w 812240"/>
                <a:gd name="connsiteY2" fmla="*/ 367522 h 576337"/>
                <a:gd name="connsiteX3" fmla="*/ 728277 w 812240"/>
                <a:gd name="connsiteY3" fmla="*/ 0 h 576337"/>
                <a:gd name="connsiteX4" fmla="*/ 812099 w 812240"/>
                <a:gd name="connsiteY4" fmla="*/ 67701 h 576337"/>
                <a:gd name="connsiteX5" fmla="*/ 744397 w 812240"/>
                <a:gd name="connsiteY5" fmla="*/ 564179 h 576337"/>
                <a:gd name="connsiteX6" fmla="*/ 12577 w 812240"/>
                <a:gd name="connsiteY6" fmla="*/ 99940 h 576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2240" h="576337">
                  <a:moveTo>
                    <a:pt x="12577" y="99940"/>
                  </a:moveTo>
                  <a:cubicBezTo>
                    <a:pt x="64158" y="22567"/>
                    <a:pt x="273710" y="132179"/>
                    <a:pt x="351084" y="174089"/>
                  </a:cubicBezTo>
                  <a:cubicBezTo>
                    <a:pt x="422009" y="212776"/>
                    <a:pt x="634785" y="367522"/>
                    <a:pt x="634785" y="367522"/>
                  </a:cubicBezTo>
                  <a:lnTo>
                    <a:pt x="728277" y="0"/>
                  </a:lnTo>
                  <a:lnTo>
                    <a:pt x="812099" y="67701"/>
                  </a:lnTo>
                  <a:cubicBezTo>
                    <a:pt x="812099" y="67701"/>
                    <a:pt x="818547" y="515821"/>
                    <a:pt x="744397" y="564179"/>
                  </a:cubicBezTo>
                  <a:cubicBezTo>
                    <a:pt x="618666" y="648000"/>
                    <a:pt x="-103483" y="277253"/>
                    <a:pt x="12577" y="99940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B58D72C9-40F3-42F3-BBB1-D63BF4BB48FC}"/>
                </a:ext>
              </a:extLst>
            </p:cNvPr>
            <p:cNvSpPr/>
            <p:nvPr/>
          </p:nvSpPr>
          <p:spPr>
            <a:xfrm>
              <a:off x="12090499" y="9042077"/>
              <a:ext cx="463484" cy="438528"/>
            </a:xfrm>
            <a:custGeom>
              <a:avLst/>
              <a:gdLst>
                <a:gd name="connsiteX0" fmla="*/ 270051 w 463484"/>
                <a:gd name="connsiteY0" fmla="*/ 438528 h 438528"/>
                <a:gd name="connsiteX1" fmla="*/ 5693 w 463484"/>
                <a:gd name="connsiteY1" fmla="*/ 35543 h 438528"/>
                <a:gd name="connsiteX2" fmla="*/ 463484 w 463484"/>
                <a:gd name="connsiteY2" fmla="*/ 158051 h 438528"/>
                <a:gd name="connsiteX3" fmla="*/ 270051 w 463484"/>
                <a:gd name="connsiteY3" fmla="*/ 438528 h 43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3484" h="438528">
                  <a:moveTo>
                    <a:pt x="270051" y="438528"/>
                  </a:moveTo>
                  <a:cubicBezTo>
                    <a:pt x="270051" y="438528"/>
                    <a:pt x="-45890" y="141931"/>
                    <a:pt x="5693" y="35543"/>
                  </a:cubicBezTo>
                  <a:cubicBezTo>
                    <a:pt x="63723" y="-90188"/>
                    <a:pt x="463484" y="158051"/>
                    <a:pt x="463484" y="158051"/>
                  </a:cubicBezTo>
                  <a:cubicBezTo>
                    <a:pt x="463484" y="158051"/>
                    <a:pt x="408678" y="335364"/>
                    <a:pt x="270051" y="438528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4" name="图形 1">
              <a:extLst>
                <a:ext uri="{FF2B5EF4-FFF2-40B4-BE49-F238E27FC236}">
                  <a16:creationId xmlns:a16="http://schemas.microsoft.com/office/drawing/2014/main" id="{E36CBC99-EDC9-413B-918F-921E709C3E52}"/>
                </a:ext>
              </a:extLst>
            </p:cNvPr>
            <p:cNvGrpSpPr/>
            <p:nvPr/>
          </p:nvGrpSpPr>
          <p:grpSpPr>
            <a:xfrm>
              <a:off x="12901127" y="8861620"/>
              <a:ext cx="236797" cy="271291"/>
              <a:chOff x="12901127" y="8861620"/>
              <a:chExt cx="236797" cy="271291"/>
            </a:xfrm>
          </p:grpSpPr>
          <p:grpSp>
            <p:nvGrpSpPr>
              <p:cNvPr id="137" name="图形 1">
                <a:extLst>
                  <a:ext uri="{FF2B5EF4-FFF2-40B4-BE49-F238E27FC236}">
                    <a16:creationId xmlns:a16="http://schemas.microsoft.com/office/drawing/2014/main" id="{F562F867-1233-4018-AB10-DBEDA1C56739}"/>
                  </a:ext>
                </a:extLst>
              </p:cNvPr>
              <p:cNvGrpSpPr/>
              <p:nvPr/>
            </p:nvGrpSpPr>
            <p:grpSpPr>
              <a:xfrm>
                <a:off x="12901127" y="8861620"/>
                <a:ext cx="233786" cy="271291"/>
                <a:chOff x="12901127" y="8861620"/>
                <a:chExt cx="233786" cy="271291"/>
              </a:xfrm>
            </p:grpSpPr>
            <p:sp>
              <p:nvSpPr>
                <p:cNvPr id="140" name="任意多边形: 形状 139">
                  <a:extLst>
                    <a:ext uri="{FF2B5EF4-FFF2-40B4-BE49-F238E27FC236}">
                      <a16:creationId xmlns:a16="http://schemas.microsoft.com/office/drawing/2014/main" id="{49214AE8-7B49-4CDC-B5AF-EAB3E6EE8056}"/>
                    </a:ext>
                  </a:extLst>
                </p:cNvPr>
                <p:cNvSpPr/>
                <p:nvPr/>
              </p:nvSpPr>
              <p:spPr>
                <a:xfrm>
                  <a:off x="12901127" y="8863232"/>
                  <a:ext cx="233786" cy="269679"/>
                </a:xfrm>
                <a:custGeom>
                  <a:avLst/>
                  <a:gdLst>
                    <a:gd name="connsiteX0" fmla="*/ 226706 w 233786"/>
                    <a:gd name="connsiteY0" fmla="*/ 88657 h 269679"/>
                    <a:gd name="connsiteX1" fmla="*/ 210587 w 233786"/>
                    <a:gd name="connsiteY1" fmla="*/ 88657 h 269679"/>
                    <a:gd name="connsiteX2" fmla="*/ 204140 w 233786"/>
                    <a:gd name="connsiteY2" fmla="*/ 91880 h 269679"/>
                    <a:gd name="connsiteX3" fmla="*/ 217035 w 233786"/>
                    <a:gd name="connsiteY3" fmla="*/ 72537 h 269679"/>
                    <a:gd name="connsiteX4" fmla="*/ 233154 w 233786"/>
                    <a:gd name="connsiteY4" fmla="*/ 33851 h 269679"/>
                    <a:gd name="connsiteX5" fmla="*/ 223482 w 233786"/>
                    <a:gd name="connsiteY5" fmla="*/ 30627 h 269679"/>
                    <a:gd name="connsiteX6" fmla="*/ 220259 w 233786"/>
                    <a:gd name="connsiteY6" fmla="*/ 30627 h 269679"/>
                    <a:gd name="connsiteX7" fmla="*/ 217035 w 233786"/>
                    <a:gd name="connsiteY7" fmla="*/ 4836 h 269679"/>
                    <a:gd name="connsiteX8" fmla="*/ 194467 w 233786"/>
                    <a:gd name="connsiteY8" fmla="*/ 4836 h 269679"/>
                    <a:gd name="connsiteX9" fmla="*/ 162229 w 233786"/>
                    <a:gd name="connsiteY9" fmla="*/ 40299 h 269679"/>
                    <a:gd name="connsiteX10" fmla="*/ 120319 w 233786"/>
                    <a:gd name="connsiteY10" fmla="*/ 91880 h 269679"/>
                    <a:gd name="connsiteX11" fmla="*/ 139662 w 233786"/>
                    <a:gd name="connsiteY11" fmla="*/ 43522 h 269679"/>
                    <a:gd name="connsiteX12" fmla="*/ 152557 w 233786"/>
                    <a:gd name="connsiteY12" fmla="*/ 8060 h 269679"/>
                    <a:gd name="connsiteX13" fmla="*/ 123543 w 233786"/>
                    <a:gd name="connsiteY13" fmla="*/ 17732 h 269679"/>
                    <a:gd name="connsiteX14" fmla="*/ 49393 w 233786"/>
                    <a:gd name="connsiteY14" fmla="*/ 159582 h 269679"/>
                    <a:gd name="connsiteX15" fmla="*/ 55841 w 233786"/>
                    <a:gd name="connsiteY15" fmla="*/ 101552 h 269679"/>
                    <a:gd name="connsiteX16" fmla="*/ 33273 w 233786"/>
                    <a:gd name="connsiteY16" fmla="*/ 88657 h 269679"/>
                    <a:gd name="connsiteX17" fmla="*/ 23602 w 233786"/>
                    <a:gd name="connsiteY17" fmla="*/ 246627 h 269679"/>
                    <a:gd name="connsiteX18" fmla="*/ 23602 w 233786"/>
                    <a:gd name="connsiteY18" fmla="*/ 246627 h 269679"/>
                    <a:gd name="connsiteX19" fmla="*/ 23602 w 233786"/>
                    <a:gd name="connsiteY19" fmla="*/ 249851 h 269679"/>
                    <a:gd name="connsiteX20" fmla="*/ 113870 w 233786"/>
                    <a:gd name="connsiteY20" fmla="*/ 265970 h 269679"/>
                    <a:gd name="connsiteX21" fmla="*/ 184796 w 233786"/>
                    <a:gd name="connsiteY21" fmla="*/ 172477 h 269679"/>
                    <a:gd name="connsiteX22" fmla="*/ 226706 w 233786"/>
                    <a:gd name="connsiteY22" fmla="*/ 88657 h 269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33786" h="269679">
                      <a:moveTo>
                        <a:pt x="226706" y="88657"/>
                      </a:moveTo>
                      <a:cubicBezTo>
                        <a:pt x="220259" y="85433"/>
                        <a:pt x="217035" y="85433"/>
                        <a:pt x="210587" y="88657"/>
                      </a:cubicBezTo>
                      <a:cubicBezTo>
                        <a:pt x="207363" y="88657"/>
                        <a:pt x="207363" y="91880"/>
                        <a:pt x="204140" y="91880"/>
                      </a:cubicBezTo>
                      <a:cubicBezTo>
                        <a:pt x="207363" y="85433"/>
                        <a:pt x="213811" y="78985"/>
                        <a:pt x="217035" y="72537"/>
                      </a:cubicBezTo>
                      <a:cubicBezTo>
                        <a:pt x="226706" y="59642"/>
                        <a:pt x="236379" y="46746"/>
                        <a:pt x="233154" y="33851"/>
                      </a:cubicBezTo>
                      <a:cubicBezTo>
                        <a:pt x="233154" y="33851"/>
                        <a:pt x="223482" y="30627"/>
                        <a:pt x="223482" y="30627"/>
                      </a:cubicBezTo>
                      <a:cubicBezTo>
                        <a:pt x="223482" y="30627"/>
                        <a:pt x="223482" y="30627"/>
                        <a:pt x="220259" y="30627"/>
                      </a:cubicBezTo>
                      <a:cubicBezTo>
                        <a:pt x="223482" y="20955"/>
                        <a:pt x="223482" y="11283"/>
                        <a:pt x="217035" y="4836"/>
                      </a:cubicBezTo>
                      <a:cubicBezTo>
                        <a:pt x="210587" y="-1612"/>
                        <a:pt x="204140" y="-1612"/>
                        <a:pt x="194467" y="4836"/>
                      </a:cubicBezTo>
                      <a:cubicBezTo>
                        <a:pt x="181572" y="14507"/>
                        <a:pt x="171901" y="30627"/>
                        <a:pt x="162229" y="40299"/>
                      </a:cubicBezTo>
                      <a:cubicBezTo>
                        <a:pt x="149333" y="56418"/>
                        <a:pt x="133214" y="75761"/>
                        <a:pt x="120319" y="91880"/>
                      </a:cubicBezTo>
                      <a:cubicBezTo>
                        <a:pt x="126766" y="75761"/>
                        <a:pt x="133214" y="59642"/>
                        <a:pt x="139662" y="43522"/>
                      </a:cubicBezTo>
                      <a:cubicBezTo>
                        <a:pt x="142885" y="33851"/>
                        <a:pt x="155781" y="17732"/>
                        <a:pt x="152557" y="8060"/>
                      </a:cubicBezTo>
                      <a:cubicBezTo>
                        <a:pt x="149333" y="-8060"/>
                        <a:pt x="129990" y="8060"/>
                        <a:pt x="123543" y="17732"/>
                      </a:cubicBezTo>
                      <a:cubicBezTo>
                        <a:pt x="84856" y="59642"/>
                        <a:pt x="78408" y="114448"/>
                        <a:pt x="49393" y="159582"/>
                      </a:cubicBezTo>
                      <a:cubicBezTo>
                        <a:pt x="46169" y="143463"/>
                        <a:pt x="49393" y="124119"/>
                        <a:pt x="55841" y="101552"/>
                      </a:cubicBezTo>
                      <a:cubicBezTo>
                        <a:pt x="59065" y="88657"/>
                        <a:pt x="36498" y="85433"/>
                        <a:pt x="33273" y="88657"/>
                      </a:cubicBezTo>
                      <a:cubicBezTo>
                        <a:pt x="-2189" y="127343"/>
                        <a:pt x="-15085" y="201493"/>
                        <a:pt x="23602" y="246627"/>
                      </a:cubicBezTo>
                      <a:cubicBezTo>
                        <a:pt x="23602" y="246627"/>
                        <a:pt x="23602" y="246627"/>
                        <a:pt x="23602" y="246627"/>
                      </a:cubicBezTo>
                      <a:cubicBezTo>
                        <a:pt x="23602" y="246627"/>
                        <a:pt x="23602" y="249851"/>
                        <a:pt x="23602" y="249851"/>
                      </a:cubicBezTo>
                      <a:cubicBezTo>
                        <a:pt x="36498" y="272418"/>
                        <a:pt x="88080" y="272418"/>
                        <a:pt x="113870" y="265970"/>
                      </a:cubicBezTo>
                      <a:cubicBezTo>
                        <a:pt x="152557" y="253074"/>
                        <a:pt x="165453" y="204716"/>
                        <a:pt x="184796" y="172477"/>
                      </a:cubicBezTo>
                      <a:cubicBezTo>
                        <a:pt x="197692" y="159582"/>
                        <a:pt x="236379" y="98329"/>
                        <a:pt x="226706" y="88657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1" name="任意多边形: 形状 140">
                  <a:extLst>
                    <a:ext uri="{FF2B5EF4-FFF2-40B4-BE49-F238E27FC236}">
                      <a16:creationId xmlns:a16="http://schemas.microsoft.com/office/drawing/2014/main" id="{E18A097E-4BD7-4933-94D8-2EF1C19F6EBB}"/>
                    </a:ext>
                  </a:extLst>
                </p:cNvPr>
                <p:cNvSpPr/>
                <p:nvPr/>
              </p:nvSpPr>
              <p:spPr>
                <a:xfrm>
                  <a:off x="12963416" y="9029262"/>
                  <a:ext cx="28773" cy="58029"/>
                </a:xfrm>
                <a:custGeom>
                  <a:avLst/>
                  <a:gdLst>
                    <a:gd name="connsiteX0" fmla="*/ 19343 w 28773"/>
                    <a:gd name="connsiteY0" fmla="*/ 58030 h 58029"/>
                    <a:gd name="connsiteX1" fmla="*/ 19343 w 28773"/>
                    <a:gd name="connsiteY1" fmla="*/ 58030 h 58029"/>
                    <a:gd name="connsiteX2" fmla="*/ 12896 w 28773"/>
                    <a:gd name="connsiteY2" fmla="*/ 48358 h 58029"/>
                    <a:gd name="connsiteX3" fmla="*/ 3224 w 28773"/>
                    <a:gd name="connsiteY3" fmla="*/ 12896 h 58029"/>
                    <a:gd name="connsiteX4" fmla="*/ 0 w 28773"/>
                    <a:gd name="connsiteY4" fmla="*/ 3224 h 58029"/>
                    <a:gd name="connsiteX5" fmla="*/ 9672 w 28773"/>
                    <a:gd name="connsiteY5" fmla="*/ 0 h 58029"/>
                    <a:gd name="connsiteX6" fmla="*/ 25792 w 28773"/>
                    <a:gd name="connsiteY6" fmla="*/ 48358 h 58029"/>
                    <a:gd name="connsiteX7" fmla="*/ 19343 w 28773"/>
                    <a:gd name="connsiteY7" fmla="*/ 58030 h 580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8773" h="58029">
                      <a:moveTo>
                        <a:pt x="19343" y="58030"/>
                      </a:moveTo>
                      <a:cubicBezTo>
                        <a:pt x="19343" y="58030"/>
                        <a:pt x="19343" y="54806"/>
                        <a:pt x="19343" y="58030"/>
                      </a:cubicBezTo>
                      <a:cubicBezTo>
                        <a:pt x="12896" y="54806"/>
                        <a:pt x="12896" y="51582"/>
                        <a:pt x="12896" y="48358"/>
                      </a:cubicBezTo>
                      <a:cubicBezTo>
                        <a:pt x="22568" y="25791"/>
                        <a:pt x="3224" y="16119"/>
                        <a:pt x="3224" y="12896"/>
                      </a:cubicBezTo>
                      <a:cubicBezTo>
                        <a:pt x="0" y="9672"/>
                        <a:pt x="0" y="6448"/>
                        <a:pt x="0" y="3224"/>
                      </a:cubicBezTo>
                      <a:cubicBezTo>
                        <a:pt x="3224" y="0"/>
                        <a:pt x="6448" y="0"/>
                        <a:pt x="9672" y="0"/>
                      </a:cubicBezTo>
                      <a:cubicBezTo>
                        <a:pt x="19343" y="6448"/>
                        <a:pt x="35463" y="22567"/>
                        <a:pt x="25792" y="48358"/>
                      </a:cubicBezTo>
                      <a:cubicBezTo>
                        <a:pt x="25792" y="54806"/>
                        <a:pt x="22568" y="58030"/>
                        <a:pt x="19343" y="58030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2" name="任意多边形: 形状 141">
                  <a:extLst>
                    <a:ext uri="{FF2B5EF4-FFF2-40B4-BE49-F238E27FC236}">
                      <a16:creationId xmlns:a16="http://schemas.microsoft.com/office/drawing/2014/main" id="{C8D4689F-A20E-4019-99F6-7422969C85AD}"/>
                    </a:ext>
                  </a:extLst>
                </p:cNvPr>
                <p:cNvSpPr/>
                <p:nvPr/>
              </p:nvSpPr>
              <p:spPr>
                <a:xfrm>
                  <a:off x="13014998" y="8861620"/>
                  <a:ext cx="112029" cy="106388"/>
                </a:xfrm>
                <a:custGeom>
                  <a:avLst/>
                  <a:gdLst>
                    <a:gd name="connsiteX0" fmla="*/ 6448 w 112029"/>
                    <a:gd name="connsiteY0" fmla="*/ 106388 h 106388"/>
                    <a:gd name="connsiteX1" fmla="*/ 6448 w 112029"/>
                    <a:gd name="connsiteY1" fmla="*/ 106388 h 106388"/>
                    <a:gd name="connsiteX2" fmla="*/ 0 w 112029"/>
                    <a:gd name="connsiteY2" fmla="*/ 96716 h 106388"/>
                    <a:gd name="connsiteX3" fmla="*/ 32239 w 112029"/>
                    <a:gd name="connsiteY3" fmla="*/ 16119 h 106388"/>
                    <a:gd name="connsiteX4" fmla="*/ 38687 w 112029"/>
                    <a:gd name="connsiteY4" fmla="*/ 12895 h 106388"/>
                    <a:gd name="connsiteX5" fmla="*/ 41911 w 112029"/>
                    <a:gd name="connsiteY5" fmla="*/ 19343 h 106388"/>
                    <a:gd name="connsiteX6" fmla="*/ 29015 w 112029"/>
                    <a:gd name="connsiteY6" fmla="*/ 58030 h 106388"/>
                    <a:gd name="connsiteX7" fmla="*/ 87045 w 112029"/>
                    <a:gd name="connsiteY7" fmla="*/ 0 h 106388"/>
                    <a:gd name="connsiteX8" fmla="*/ 109612 w 112029"/>
                    <a:gd name="connsiteY8" fmla="*/ 9672 h 106388"/>
                    <a:gd name="connsiteX9" fmla="*/ 109612 w 112029"/>
                    <a:gd name="connsiteY9" fmla="*/ 35463 h 106388"/>
                    <a:gd name="connsiteX10" fmla="*/ 103165 w 112029"/>
                    <a:gd name="connsiteY10" fmla="*/ 38686 h 106388"/>
                    <a:gd name="connsiteX11" fmla="*/ 99940 w 112029"/>
                    <a:gd name="connsiteY11" fmla="*/ 32239 h 106388"/>
                    <a:gd name="connsiteX12" fmla="*/ 99940 w 112029"/>
                    <a:gd name="connsiteY12" fmla="*/ 19343 h 106388"/>
                    <a:gd name="connsiteX13" fmla="*/ 90269 w 112029"/>
                    <a:gd name="connsiteY13" fmla="*/ 16119 h 106388"/>
                    <a:gd name="connsiteX14" fmla="*/ 12895 w 112029"/>
                    <a:gd name="connsiteY14" fmla="*/ 106388 h 106388"/>
                    <a:gd name="connsiteX15" fmla="*/ 6448 w 112029"/>
                    <a:gd name="connsiteY15" fmla="*/ 106388 h 1063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2029" h="106388">
                      <a:moveTo>
                        <a:pt x="6448" y="106388"/>
                      </a:moveTo>
                      <a:cubicBezTo>
                        <a:pt x="6448" y="106388"/>
                        <a:pt x="3224" y="106388"/>
                        <a:pt x="6448" y="106388"/>
                      </a:cubicBezTo>
                      <a:cubicBezTo>
                        <a:pt x="0" y="103164"/>
                        <a:pt x="0" y="99940"/>
                        <a:pt x="0" y="96716"/>
                      </a:cubicBezTo>
                      <a:cubicBezTo>
                        <a:pt x="16119" y="67702"/>
                        <a:pt x="32239" y="16119"/>
                        <a:pt x="32239" y="16119"/>
                      </a:cubicBezTo>
                      <a:cubicBezTo>
                        <a:pt x="32239" y="12895"/>
                        <a:pt x="35463" y="9672"/>
                        <a:pt x="38687" y="12895"/>
                      </a:cubicBezTo>
                      <a:cubicBezTo>
                        <a:pt x="41911" y="12895"/>
                        <a:pt x="41911" y="16119"/>
                        <a:pt x="41911" y="19343"/>
                      </a:cubicBezTo>
                      <a:cubicBezTo>
                        <a:pt x="41911" y="19343"/>
                        <a:pt x="35463" y="38686"/>
                        <a:pt x="29015" y="58030"/>
                      </a:cubicBezTo>
                      <a:cubicBezTo>
                        <a:pt x="51582" y="29015"/>
                        <a:pt x="74150" y="3224"/>
                        <a:pt x="87045" y="0"/>
                      </a:cubicBezTo>
                      <a:cubicBezTo>
                        <a:pt x="96716" y="0"/>
                        <a:pt x="103165" y="3224"/>
                        <a:pt x="109612" y="9672"/>
                      </a:cubicBezTo>
                      <a:cubicBezTo>
                        <a:pt x="112836" y="16119"/>
                        <a:pt x="112836" y="25791"/>
                        <a:pt x="109612" y="35463"/>
                      </a:cubicBezTo>
                      <a:cubicBezTo>
                        <a:pt x="109612" y="38686"/>
                        <a:pt x="103165" y="38686"/>
                        <a:pt x="103165" y="38686"/>
                      </a:cubicBezTo>
                      <a:cubicBezTo>
                        <a:pt x="99940" y="38686"/>
                        <a:pt x="99940" y="32239"/>
                        <a:pt x="99940" y="32239"/>
                      </a:cubicBezTo>
                      <a:cubicBezTo>
                        <a:pt x="103165" y="25791"/>
                        <a:pt x="103165" y="22567"/>
                        <a:pt x="99940" y="19343"/>
                      </a:cubicBezTo>
                      <a:cubicBezTo>
                        <a:pt x="96716" y="16119"/>
                        <a:pt x="93492" y="16119"/>
                        <a:pt x="90269" y="16119"/>
                      </a:cubicBezTo>
                      <a:cubicBezTo>
                        <a:pt x="80597" y="19343"/>
                        <a:pt x="41911" y="64478"/>
                        <a:pt x="12895" y="106388"/>
                      </a:cubicBezTo>
                      <a:cubicBezTo>
                        <a:pt x="9672" y="103164"/>
                        <a:pt x="6448" y="106388"/>
                        <a:pt x="6448" y="106388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AF36339B-1697-4731-AA3D-85993C88D5DE}"/>
                  </a:ext>
                </a:extLst>
              </p:cNvPr>
              <p:cNvSpPr/>
              <p:nvPr/>
            </p:nvSpPr>
            <p:spPr>
              <a:xfrm>
                <a:off x="13048043" y="8932545"/>
                <a:ext cx="83004" cy="103164"/>
              </a:xfrm>
              <a:custGeom>
                <a:avLst/>
                <a:gdLst>
                  <a:gd name="connsiteX0" fmla="*/ 44328 w 83004"/>
                  <a:gd name="connsiteY0" fmla="*/ 103164 h 103164"/>
                  <a:gd name="connsiteX1" fmla="*/ 44328 w 83004"/>
                  <a:gd name="connsiteY1" fmla="*/ 103164 h 103164"/>
                  <a:gd name="connsiteX2" fmla="*/ 37881 w 83004"/>
                  <a:gd name="connsiteY2" fmla="*/ 93493 h 103164"/>
                  <a:gd name="connsiteX3" fmla="*/ 70120 w 83004"/>
                  <a:gd name="connsiteY3" fmla="*/ 19343 h 103164"/>
                  <a:gd name="connsiteX4" fmla="*/ 66896 w 83004"/>
                  <a:gd name="connsiteY4" fmla="*/ 16119 h 103164"/>
                  <a:gd name="connsiteX5" fmla="*/ 66896 w 83004"/>
                  <a:gd name="connsiteY5" fmla="*/ 16119 h 103164"/>
                  <a:gd name="connsiteX6" fmla="*/ 54000 w 83004"/>
                  <a:gd name="connsiteY6" fmla="*/ 25791 h 103164"/>
                  <a:gd name="connsiteX7" fmla="*/ 37881 w 83004"/>
                  <a:gd name="connsiteY7" fmla="*/ 51582 h 103164"/>
                  <a:gd name="connsiteX8" fmla="*/ 12089 w 83004"/>
                  <a:gd name="connsiteY8" fmla="*/ 87045 h 103164"/>
                  <a:gd name="connsiteX9" fmla="*/ 2418 w 83004"/>
                  <a:gd name="connsiteY9" fmla="*/ 87045 h 103164"/>
                  <a:gd name="connsiteX10" fmla="*/ 2418 w 83004"/>
                  <a:gd name="connsiteY10" fmla="*/ 77373 h 103164"/>
                  <a:gd name="connsiteX11" fmla="*/ 24986 w 83004"/>
                  <a:gd name="connsiteY11" fmla="*/ 41911 h 103164"/>
                  <a:gd name="connsiteX12" fmla="*/ 44328 w 83004"/>
                  <a:gd name="connsiteY12" fmla="*/ 12896 h 103164"/>
                  <a:gd name="connsiteX13" fmla="*/ 66896 w 83004"/>
                  <a:gd name="connsiteY13" fmla="*/ 0 h 103164"/>
                  <a:gd name="connsiteX14" fmla="*/ 66896 w 83004"/>
                  <a:gd name="connsiteY14" fmla="*/ 0 h 103164"/>
                  <a:gd name="connsiteX15" fmla="*/ 79791 w 83004"/>
                  <a:gd name="connsiteY15" fmla="*/ 6448 h 103164"/>
                  <a:gd name="connsiteX16" fmla="*/ 47552 w 83004"/>
                  <a:gd name="connsiteY16" fmla="*/ 93493 h 103164"/>
                  <a:gd name="connsiteX17" fmla="*/ 44328 w 83004"/>
                  <a:gd name="connsiteY17" fmla="*/ 103164 h 103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83004" h="103164">
                    <a:moveTo>
                      <a:pt x="44328" y="103164"/>
                    </a:moveTo>
                    <a:cubicBezTo>
                      <a:pt x="44328" y="103164"/>
                      <a:pt x="44328" y="103164"/>
                      <a:pt x="44328" y="103164"/>
                    </a:cubicBezTo>
                    <a:cubicBezTo>
                      <a:pt x="37881" y="99940"/>
                      <a:pt x="37881" y="96716"/>
                      <a:pt x="37881" y="93493"/>
                    </a:cubicBezTo>
                    <a:cubicBezTo>
                      <a:pt x="60448" y="61254"/>
                      <a:pt x="73344" y="25791"/>
                      <a:pt x="70120" y="19343"/>
                    </a:cubicBezTo>
                    <a:cubicBezTo>
                      <a:pt x="66896" y="16119"/>
                      <a:pt x="66896" y="16119"/>
                      <a:pt x="66896" y="16119"/>
                    </a:cubicBezTo>
                    <a:cubicBezTo>
                      <a:pt x="66896" y="16119"/>
                      <a:pt x="66896" y="16119"/>
                      <a:pt x="66896" y="16119"/>
                    </a:cubicBezTo>
                    <a:cubicBezTo>
                      <a:pt x="63672" y="16119"/>
                      <a:pt x="60448" y="19343"/>
                      <a:pt x="54000" y="25791"/>
                    </a:cubicBezTo>
                    <a:cubicBezTo>
                      <a:pt x="50776" y="29015"/>
                      <a:pt x="44328" y="41911"/>
                      <a:pt x="37881" y="51582"/>
                    </a:cubicBezTo>
                    <a:cubicBezTo>
                      <a:pt x="28209" y="67702"/>
                      <a:pt x="18537" y="83821"/>
                      <a:pt x="12089" y="87045"/>
                    </a:cubicBezTo>
                    <a:cubicBezTo>
                      <a:pt x="8866" y="90269"/>
                      <a:pt x="5642" y="90269"/>
                      <a:pt x="2418" y="87045"/>
                    </a:cubicBezTo>
                    <a:cubicBezTo>
                      <a:pt x="-806" y="83821"/>
                      <a:pt x="-806" y="80597"/>
                      <a:pt x="2418" y="77373"/>
                    </a:cubicBezTo>
                    <a:cubicBezTo>
                      <a:pt x="5642" y="74149"/>
                      <a:pt x="18537" y="58030"/>
                      <a:pt x="24986" y="41911"/>
                    </a:cubicBezTo>
                    <a:cubicBezTo>
                      <a:pt x="31433" y="29015"/>
                      <a:pt x="37881" y="19343"/>
                      <a:pt x="44328" y="12896"/>
                    </a:cubicBezTo>
                    <a:cubicBezTo>
                      <a:pt x="50776" y="3224"/>
                      <a:pt x="60448" y="0"/>
                      <a:pt x="66896" y="0"/>
                    </a:cubicBezTo>
                    <a:cubicBezTo>
                      <a:pt x="66896" y="0"/>
                      <a:pt x="66896" y="0"/>
                      <a:pt x="66896" y="0"/>
                    </a:cubicBezTo>
                    <a:cubicBezTo>
                      <a:pt x="70120" y="0"/>
                      <a:pt x="76567" y="0"/>
                      <a:pt x="79791" y="6448"/>
                    </a:cubicBezTo>
                    <a:cubicBezTo>
                      <a:pt x="92686" y="19343"/>
                      <a:pt x="63672" y="67702"/>
                      <a:pt x="47552" y="93493"/>
                    </a:cubicBezTo>
                    <a:cubicBezTo>
                      <a:pt x="50776" y="103164"/>
                      <a:pt x="47552" y="103164"/>
                      <a:pt x="44328" y="10316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FBF9DECC-D160-45FE-B352-499428A46462}"/>
                  </a:ext>
                </a:extLst>
              </p:cNvPr>
              <p:cNvSpPr/>
              <p:nvPr/>
            </p:nvSpPr>
            <p:spPr>
              <a:xfrm>
                <a:off x="13031923" y="8886554"/>
                <a:ext cx="106001" cy="113693"/>
              </a:xfrm>
              <a:custGeom>
                <a:avLst/>
                <a:gdLst>
                  <a:gd name="connsiteX0" fmla="*/ 5642 w 106001"/>
                  <a:gd name="connsiteY0" fmla="*/ 113693 h 113693"/>
                  <a:gd name="connsiteX1" fmla="*/ 2418 w 106001"/>
                  <a:gd name="connsiteY1" fmla="*/ 113693 h 113693"/>
                  <a:gd name="connsiteX2" fmla="*/ 2418 w 106001"/>
                  <a:gd name="connsiteY2" fmla="*/ 104022 h 113693"/>
                  <a:gd name="connsiteX3" fmla="*/ 31433 w 106001"/>
                  <a:gd name="connsiteY3" fmla="*/ 65335 h 113693"/>
                  <a:gd name="connsiteX4" fmla="*/ 34657 w 106001"/>
                  <a:gd name="connsiteY4" fmla="*/ 58888 h 113693"/>
                  <a:gd name="connsiteX5" fmla="*/ 66896 w 106001"/>
                  <a:gd name="connsiteY5" fmla="*/ 10529 h 113693"/>
                  <a:gd name="connsiteX6" fmla="*/ 95910 w 106001"/>
                  <a:gd name="connsiteY6" fmla="*/ 858 h 113693"/>
                  <a:gd name="connsiteX7" fmla="*/ 105583 w 106001"/>
                  <a:gd name="connsiteY7" fmla="*/ 10529 h 113693"/>
                  <a:gd name="connsiteX8" fmla="*/ 83015 w 106001"/>
                  <a:gd name="connsiteY8" fmla="*/ 65335 h 113693"/>
                  <a:gd name="connsiteX9" fmla="*/ 73344 w 106001"/>
                  <a:gd name="connsiteY9" fmla="*/ 65335 h 113693"/>
                  <a:gd name="connsiteX10" fmla="*/ 73344 w 106001"/>
                  <a:gd name="connsiteY10" fmla="*/ 55663 h 113693"/>
                  <a:gd name="connsiteX11" fmla="*/ 95910 w 106001"/>
                  <a:gd name="connsiteY11" fmla="*/ 13753 h 113693"/>
                  <a:gd name="connsiteX12" fmla="*/ 92686 w 106001"/>
                  <a:gd name="connsiteY12" fmla="*/ 13753 h 113693"/>
                  <a:gd name="connsiteX13" fmla="*/ 73344 w 106001"/>
                  <a:gd name="connsiteY13" fmla="*/ 20201 h 113693"/>
                  <a:gd name="connsiteX14" fmla="*/ 44328 w 106001"/>
                  <a:gd name="connsiteY14" fmla="*/ 65335 h 113693"/>
                  <a:gd name="connsiteX15" fmla="*/ 41105 w 106001"/>
                  <a:gd name="connsiteY15" fmla="*/ 71783 h 113693"/>
                  <a:gd name="connsiteX16" fmla="*/ 8866 w 106001"/>
                  <a:gd name="connsiteY16" fmla="*/ 110469 h 113693"/>
                  <a:gd name="connsiteX17" fmla="*/ 5642 w 106001"/>
                  <a:gd name="connsiteY17" fmla="*/ 113693 h 113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6001" h="113693">
                    <a:moveTo>
                      <a:pt x="5642" y="113693"/>
                    </a:moveTo>
                    <a:cubicBezTo>
                      <a:pt x="5642" y="113693"/>
                      <a:pt x="2418" y="113693"/>
                      <a:pt x="2418" y="113693"/>
                    </a:cubicBezTo>
                    <a:cubicBezTo>
                      <a:pt x="-806" y="110469"/>
                      <a:pt x="-806" y="107246"/>
                      <a:pt x="2418" y="104022"/>
                    </a:cubicBezTo>
                    <a:cubicBezTo>
                      <a:pt x="8866" y="94350"/>
                      <a:pt x="28209" y="71783"/>
                      <a:pt x="31433" y="65335"/>
                    </a:cubicBezTo>
                    <a:cubicBezTo>
                      <a:pt x="31433" y="65335"/>
                      <a:pt x="34657" y="62111"/>
                      <a:pt x="34657" y="58888"/>
                    </a:cubicBezTo>
                    <a:cubicBezTo>
                      <a:pt x="47552" y="39544"/>
                      <a:pt x="60448" y="16977"/>
                      <a:pt x="66896" y="10529"/>
                    </a:cubicBezTo>
                    <a:cubicBezTo>
                      <a:pt x="73344" y="4081"/>
                      <a:pt x="86239" y="-2366"/>
                      <a:pt x="95910" y="858"/>
                    </a:cubicBezTo>
                    <a:cubicBezTo>
                      <a:pt x="102359" y="858"/>
                      <a:pt x="105583" y="4081"/>
                      <a:pt x="105583" y="10529"/>
                    </a:cubicBezTo>
                    <a:cubicBezTo>
                      <a:pt x="108806" y="20201"/>
                      <a:pt x="92686" y="49216"/>
                      <a:pt x="83015" y="65335"/>
                    </a:cubicBezTo>
                    <a:cubicBezTo>
                      <a:pt x="79791" y="68559"/>
                      <a:pt x="76567" y="68559"/>
                      <a:pt x="73344" y="65335"/>
                    </a:cubicBezTo>
                    <a:cubicBezTo>
                      <a:pt x="70120" y="62111"/>
                      <a:pt x="70120" y="58888"/>
                      <a:pt x="73344" y="55663"/>
                    </a:cubicBezTo>
                    <a:cubicBezTo>
                      <a:pt x="86239" y="36320"/>
                      <a:pt x="95910" y="16977"/>
                      <a:pt x="95910" y="13753"/>
                    </a:cubicBezTo>
                    <a:cubicBezTo>
                      <a:pt x="95910" y="13753"/>
                      <a:pt x="95910" y="13753"/>
                      <a:pt x="92686" y="13753"/>
                    </a:cubicBezTo>
                    <a:cubicBezTo>
                      <a:pt x="89463" y="13753"/>
                      <a:pt x="79791" y="16977"/>
                      <a:pt x="73344" y="20201"/>
                    </a:cubicBezTo>
                    <a:cubicBezTo>
                      <a:pt x="66896" y="26649"/>
                      <a:pt x="50776" y="52439"/>
                      <a:pt x="44328" y="65335"/>
                    </a:cubicBezTo>
                    <a:cubicBezTo>
                      <a:pt x="41105" y="68559"/>
                      <a:pt x="41105" y="71783"/>
                      <a:pt x="41105" y="71783"/>
                    </a:cubicBezTo>
                    <a:cubicBezTo>
                      <a:pt x="37881" y="78231"/>
                      <a:pt x="12089" y="107246"/>
                      <a:pt x="8866" y="110469"/>
                    </a:cubicBezTo>
                    <a:cubicBezTo>
                      <a:pt x="8866" y="113693"/>
                      <a:pt x="8866" y="113693"/>
                      <a:pt x="5642" y="11369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53F89EFB-723A-4E03-A584-5991CCC1CC46}"/>
                </a:ext>
              </a:extLst>
            </p:cNvPr>
            <p:cNvSpPr/>
            <p:nvPr/>
          </p:nvSpPr>
          <p:spPr>
            <a:xfrm>
              <a:off x="11815715" y="8813262"/>
              <a:ext cx="228894" cy="276389"/>
            </a:xfrm>
            <a:custGeom>
              <a:avLst/>
              <a:gdLst>
                <a:gd name="connsiteX0" fmla="*/ 228895 w 228894"/>
                <a:gd name="connsiteY0" fmla="*/ 48358 h 276389"/>
                <a:gd name="connsiteX1" fmla="*/ 225672 w 228894"/>
                <a:gd name="connsiteY1" fmla="*/ 232119 h 276389"/>
                <a:gd name="connsiteX2" fmla="*/ 0 w 228894"/>
                <a:gd name="connsiteY2" fmla="*/ 216000 h 276389"/>
                <a:gd name="connsiteX3" fmla="*/ 9671 w 228894"/>
                <a:gd name="connsiteY3" fmla="*/ 0 h 276389"/>
                <a:gd name="connsiteX4" fmla="*/ 228895 w 228894"/>
                <a:gd name="connsiteY4" fmla="*/ 48358 h 27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894" h="276389">
                  <a:moveTo>
                    <a:pt x="228895" y="48358"/>
                  </a:moveTo>
                  <a:cubicBezTo>
                    <a:pt x="228895" y="48358"/>
                    <a:pt x="225672" y="154746"/>
                    <a:pt x="225672" y="232119"/>
                  </a:cubicBezTo>
                  <a:cubicBezTo>
                    <a:pt x="225672" y="232119"/>
                    <a:pt x="141851" y="341732"/>
                    <a:pt x="0" y="216000"/>
                  </a:cubicBezTo>
                  <a:cubicBezTo>
                    <a:pt x="0" y="151522"/>
                    <a:pt x="9671" y="67702"/>
                    <a:pt x="9671" y="0"/>
                  </a:cubicBezTo>
                  <a:cubicBezTo>
                    <a:pt x="9671" y="3224"/>
                    <a:pt x="180537" y="61254"/>
                    <a:pt x="228895" y="48358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8FD8202F-36BE-4E46-9D33-C6BA00EEA015}"/>
                </a:ext>
              </a:extLst>
            </p:cNvPr>
            <p:cNvSpPr/>
            <p:nvPr/>
          </p:nvSpPr>
          <p:spPr>
            <a:xfrm>
              <a:off x="11702879" y="8690754"/>
              <a:ext cx="74148" cy="145074"/>
            </a:xfrm>
            <a:custGeom>
              <a:avLst/>
              <a:gdLst>
                <a:gd name="connsiteX0" fmla="*/ 0 w 74148"/>
                <a:gd name="connsiteY0" fmla="*/ 0 h 145074"/>
                <a:gd name="connsiteX1" fmla="*/ 70925 w 74148"/>
                <a:gd name="connsiteY1" fmla="*/ 145075 h 145074"/>
                <a:gd name="connsiteX2" fmla="*/ 74149 w 74148"/>
                <a:gd name="connsiteY2" fmla="*/ 54806 h 145074"/>
                <a:gd name="connsiteX3" fmla="*/ 0 w 74148"/>
                <a:gd name="connsiteY3" fmla="*/ 0 h 14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148" h="145074">
                  <a:moveTo>
                    <a:pt x="0" y="0"/>
                  </a:moveTo>
                  <a:cubicBezTo>
                    <a:pt x="0" y="0"/>
                    <a:pt x="16119" y="125732"/>
                    <a:pt x="70925" y="145075"/>
                  </a:cubicBezTo>
                  <a:lnTo>
                    <a:pt x="74149" y="548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A9F83ED4-68EF-4C1F-9E3D-7683E5DEB9E3}"/>
                </a:ext>
              </a:extLst>
            </p:cNvPr>
            <p:cNvSpPr/>
            <p:nvPr/>
          </p:nvSpPr>
          <p:spPr>
            <a:xfrm>
              <a:off x="12079595" y="8471530"/>
              <a:ext cx="108529" cy="251476"/>
            </a:xfrm>
            <a:custGeom>
              <a:avLst/>
              <a:gdLst>
                <a:gd name="connsiteX0" fmla="*/ 100418 w 108529"/>
                <a:gd name="connsiteY0" fmla="*/ 0 h 251476"/>
                <a:gd name="connsiteX1" fmla="*/ 58508 w 108529"/>
                <a:gd name="connsiteY1" fmla="*/ 248239 h 251476"/>
                <a:gd name="connsiteX2" fmla="*/ 478 w 108529"/>
                <a:gd name="connsiteY2" fmla="*/ 16119 h 251476"/>
                <a:gd name="connsiteX3" fmla="*/ 100418 w 108529"/>
                <a:gd name="connsiteY3" fmla="*/ 0 h 251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529" h="251476">
                  <a:moveTo>
                    <a:pt x="100418" y="0"/>
                  </a:moveTo>
                  <a:cubicBezTo>
                    <a:pt x="100418" y="0"/>
                    <a:pt x="135881" y="206329"/>
                    <a:pt x="58508" y="248239"/>
                  </a:cubicBezTo>
                  <a:cubicBezTo>
                    <a:pt x="-9194" y="283702"/>
                    <a:pt x="478" y="16119"/>
                    <a:pt x="478" y="16119"/>
                  </a:cubicBezTo>
                  <a:lnTo>
                    <a:pt x="100418" y="0"/>
                  </a:ln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26EA0EEF-EF43-49D7-821F-DF56A479578B}"/>
                </a:ext>
              </a:extLst>
            </p:cNvPr>
            <p:cNvSpPr/>
            <p:nvPr/>
          </p:nvSpPr>
          <p:spPr>
            <a:xfrm>
              <a:off x="11702879" y="8325492"/>
              <a:ext cx="449130" cy="601511"/>
            </a:xfrm>
            <a:custGeom>
              <a:avLst/>
              <a:gdLst>
                <a:gd name="connsiteX0" fmla="*/ 435224 w 449130"/>
                <a:gd name="connsiteY0" fmla="*/ 191173 h 601511"/>
                <a:gd name="connsiteX1" fmla="*/ 438447 w 449130"/>
                <a:gd name="connsiteY1" fmla="*/ 455531 h 601511"/>
                <a:gd name="connsiteX2" fmla="*/ 270806 w 449130"/>
                <a:gd name="connsiteY2" fmla="*/ 600606 h 601511"/>
                <a:gd name="connsiteX3" fmla="*/ 41910 w 449130"/>
                <a:gd name="connsiteY3" fmla="*/ 452307 h 601511"/>
                <a:gd name="connsiteX4" fmla="*/ 0 w 449130"/>
                <a:gd name="connsiteY4" fmla="*/ 213740 h 601511"/>
                <a:gd name="connsiteX5" fmla="*/ 222448 w 449130"/>
                <a:gd name="connsiteY5" fmla="*/ 964 h 601511"/>
                <a:gd name="connsiteX6" fmla="*/ 435224 w 449130"/>
                <a:gd name="connsiteY6" fmla="*/ 191173 h 601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9130" h="601511">
                  <a:moveTo>
                    <a:pt x="435224" y="191173"/>
                  </a:moveTo>
                  <a:cubicBezTo>
                    <a:pt x="435224" y="191173"/>
                    <a:pt x="464239" y="352367"/>
                    <a:pt x="438447" y="455531"/>
                  </a:cubicBezTo>
                  <a:cubicBezTo>
                    <a:pt x="419104" y="539352"/>
                    <a:pt x="325611" y="594158"/>
                    <a:pt x="270806" y="600606"/>
                  </a:cubicBezTo>
                  <a:cubicBezTo>
                    <a:pt x="199880" y="607054"/>
                    <a:pt x="70925" y="581263"/>
                    <a:pt x="41910" y="452307"/>
                  </a:cubicBezTo>
                  <a:cubicBezTo>
                    <a:pt x="22567" y="374934"/>
                    <a:pt x="0" y="268546"/>
                    <a:pt x="0" y="213740"/>
                  </a:cubicBezTo>
                  <a:cubicBezTo>
                    <a:pt x="0" y="113800"/>
                    <a:pt x="29015" y="29979"/>
                    <a:pt x="222448" y="964"/>
                  </a:cubicBezTo>
                  <a:cubicBezTo>
                    <a:pt x="312716" y="-11931"/>
                    <a:pt x="412656" y="107352"/>
                    <a:pt x="435224" y="191173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94927640-0715-4BCD-8084-C313427D8F7C}"/>
                </a:ext>
              </a:extLst>
            </p:cNvPr>
            <p:cNvSpPr/>
            <p:nvPr/>
          </p:nvSpPr>
          <p:spPr>
            <a:xfrm>
              <a:off x="11944670" y="8600486"/>
              <a:ext cx="61253" cy="148298"/>
            </a:xfrm>
            <a:custGeom>
              <a:avLst/>
              <a:gdLst>
                <a:gd name="connsiteX0" fmla="*/ 29015 w 61253"/>
                <a:gd name="connsiteY0" fmla="*/ 148299 h 148298"/>
                <a:gd name="connsiteX1" fmla="*/ 6447 w 61253"/>
                <a:gd name="connsiteY1" fmla="*/ 145075 h 148298"/>
                <a:gd name="connsiteX2" fmla="*/ 0 w 61253"/>
                <a:gd name="connsiteY2" fmla="*/ 138627 h 148298"/>
                <a:gd name="connsiteX3" fmla="*/ 6447 w 61253"/>
                <a:gd name="connsiteY3" fmla="*/ 132179 h 148298"/>
                <a:gd name="connsiteX4" fmla="*/ 48358 w 61253"/>
                <a:gd name="connsiteY4" fmla="*/ 128955 h 148298"/>
                <a:gd name="connsiteX5" fmla="*/ 48358 w 61253"/>
                <a:gd name="connsiteY5" fmla="*/ 125732 h 148298"/>
                <a:gd name="connsiteX6" fmla="*/ 29015 w 61253"/>
                <a:gd name="connsiteY6" fmla="*/ 6448 h 148298"/>
                <a:gd name="connsiteX7" fmla="*/ 35462 w 61253"/>
                <a:gd name="connsiteY7" fmla="*/ 0 h 148298"/>
                <a:gd name="connsiteX8" fmla="*/ 41910 w 61253"/>
                <a:gd name="connsiteY8" fmla="*/ 6448 h 148298"/>
                <a:gd name="connsiteX9" fmla="*/ 61254 w 61253"/>
                <a:gd name="connsiteY9" fmla="*/ 125732 h 148298"/>
                <a:gd name="connsiteX10" fmla="*/ 54805 w 61253"/>
                <a:gd name="connsiteY10" fmla="*/ 138627 h 148298"/>
                <a:gd name="connsiteX11" fmla="*/ 29015 w 61253"/>
                <a:gd name="connsiteY11" fmla="*/ 148299 h 14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253" h="148298">
                  <a:moveTo>
                    <a:pt x="29015" y="148299"/>
                  </a:moveTo>
                  <a:cubicBezTo>
                    <a:pt x="19342" y="148299"/>
                    <a:pt x="9671" y="145075"/>
                    <a:pt x="6447" y="145075"/>
                  </a:cubicBezTo>
                  <a:cubicBezTo>
                    <a:pt x="3223" y="145075"/>
                    <a:pt x="0" y="141851"/>
                    <a:pt x="0" y="138627"/>
                  </a:cubicBezTo>
                  <a:cubicBezTo>
                    <a:pt x="0" y="135403"/>
                    <a:pt x="3223" y="132179"/>
                    <a:pt x="6447" y="132179"/>
                  </a:cubicBezTo>
                  <a:cubicBezTo>
                    <a:pt x="19342" y="135403"/>
                    <a:pt x="41910" y="135403"/>
                    <a:pt x="48358" y="128955"/>
                  </a:cubicBezTo>
                  <a:cubicBezTo>
                    <a:pt x="48358" y="128955"/>
                    <a:pt x="48358" y="125732"/>
                    <a:pt x="48358" y="125732"/>
                  </a:cubicBezTo>
                  <a:cubicBezTo>
                    <a:pt x="48358" y="106388"/>
                    <a:pt x="29015" y="9672"/>
                    <a:pt x="29015" y="6448"/>
                  </a:cubicBezTo>
                  <a:cubicBezTo>
                    <a:pt x="29015" y="3224"/>
                    <a:pt x="29015" y="0"/>
                    <a:pt x="35462" y="0"/>
                  </a:cubicBezTo>
                  <a:cubicBezTo>
                    <a:pt x="38686" y="0"/>
                    <a:pt x="41910" y="0"/>
                    <a:pt x="41910" y="6448"/>
                  </a:cubicBezTo>
                  <a:cubicBezTo>
                    <a:pt x="41910" y="9672"/>
                    <a:pt x="61254" y="106388"/>
                    <a:pt x="61254" y="125732"/>
                  </a:cubicBezTo>
                  <a:cubicBezTo>
                    <a:pt x="61254" y="132179"/>
                    <a:pt x="58029" y="135403"/>
                    <a:pt x="54805" y="138627"/>
                  </a:cubicBezTo>
                  <a:cubicBezTo>
                    <a:pt x="48358" y="148299"/>
                    <a:pt x="38686" y="148299"/>
                    <a:pt x="29015" y="148299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BD124B2D-31EB-402B-8391-398A9DC6EDE5}"/>
                </a:ext>
              </a:extLst>
            </p:cNvPr>
            <p:cNvSpPr/>
            <p:nvPr/>
          </p:nvSpPr>
          <p:spPr>
            <a:xfrm>
              <a:off x="11912431" y="8800367"/>
              <a:ext cx="112835" cy="54935"/>
            </a:xfrm>
            <a:custGeom>
              <a:avLst/>
              <a:gdLst>
                <a:gd name="connsiteX0" fmla="*/ 112836 w 112835"/>
                <a:gd name="connsiteY0" fmla="*/ 0 h 54935"/>
                <a:gd name="connsiteX1" fmla="*/ 0 w 112835"/>
                <a:gd name="connsiteY1" fmla="*/ 0 h 54935"/>
                <a:gd name="connsiteX2" fmla="*/ 54805 w 112835"/>
                <a:gd name="connsiteY2" fmla="*/ 54806 h 54935"/>
                <a:gd name="connsiteX3" fmla="*/ 112836 w 112835"/>
                <a:gd name="connsiteY3" fmla="*/ 0 h 54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835" h="54935">
                  <a:moveTo>
                    <a:pt x="112836" y="0"/>
                  </a:moveTo>
                  <a:cubicBezTo>
                    <a:pt x="112836" y="0"/>
                    <a:pt x="54805" y="16119"/>
                    <a:pt x="0" y="0"/>
                  </a:cubicBezTo>
                  <a:cubicBezTo>
                    <a:pt x="0" y="0"/>
                    <a:pt x="3223" y="54806"/>
                    <a:pt x="54805" y="54806"/>
                  </a:cubicBezTo>
                  <a:cubicBezTo>
                    <a:pt x="99940" y="58029"/>
                    <a:pt x="112836" y="0"/>
                    <a:pt x="112836" y="0"/>
                  </a:cubicBezTo>
                  <a:close/>
                </a:path>
              </a:pathLst>
            </a:custGeom>
            <a:solidFill>
              <a:srgbClr val="FFFFFF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871956FF-77B7-4266-BA77-8D4D00FF30B3}"/>
                </a:ext>
              </a:extLst>
            </p:cNvPr>
            <p:cNvSpPr/>
            <p:nvPr/>
          </p:nvSpPr>
          <p:spPr>
            <a:xfrm>
              <a:off x="12037341" y="8580510"/>
              <a:ext cx="43364" cy="43175"/>
            </a:xfrm>
            <a:custGeom>
              <a:avLst/>
              <a:gdLst>
                <a:gd name="connsiteX0" fmla="*/ 822 w 43364"/>
                <a:gd name="connsiteY0" fmla="*/ 26424 h 43175"/>
                <a:gd name="connsiteX1" fmla="*/ 26612 w 43364"/>
                <a:gd name="connsiteY1" fmla="*/ 42543 h 43175"/>
                <a:gd name="connsiteX2" fmla="*/ 42732 w 43364"/>
                <a:gd name="connsiteY2" fmla="*/ 16752 h 43175"/>
                <a:gd name="connsiteX3" fmla="*/ 16941 w 43364"/>
                <a:gd name="connsiteY3" fmla="*/ 632 h 43175"/>
                <a:gd name="connsiteX4" fmla="*/ 822 w 43364"/>
                <a:gd name="connsiteY4" fmla="*/ 26424 h 4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64" h="43175">
                  <a:moveTo>
                    <a:pt x="822" y="26424"/>
                  </a:moveTo>
                  <a:cubicBezTo>
                    <a:pt x="4046" y="36095"/>
                    <a:pt x="13717" y="45767"/>
                    <a:pt x="26612" y="42543"/>
                  </a:cubicBezTo>
                  <a:cubicBezTo>
                    <a:pt x="36284" y="39319"/>
                    <a:pt x="45956" y="29647"/>
                    <a:pt x="42732" y="16752"/>
                  </a:cubicBezTo>
                  <a:cubicBezTo>
                    <a:pt x="39508" y="7080"/>
                    <a:pt x="29836" y="-2592"/>
                    <a:pt x="16941" y="632"/>
                  </a:cubicBezTo>
                  <a:cubicBezTo>
                    <a:pt x="4046" y="3856"/>
                    <a:pt x="-2402" y="13528"/>
                    <a:pt x="822" y="26424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FD9CADC6-BBD5-42A9-AE38-DB89EDB3E490}"/>
                </a:ext>
              </a:extLst>
            </p:cNvPr>
            <p:cNvSpPr/>
            <p:nvPr/>
          </p:nvSpPr>
          <p:spPr>
            <a:xfrm>
              <a:off x="11843908" y="8599853"/>
              <a:ext cx="43364" cy="43175"/>
            </a:xfrm>
            <a:custGeom>
              <a:avLst/>
              <a:gdLst>
                <a:gd name="connsiteX0" fmla="*/ 822 w 43364"/>
                <a:gd name="connsiteY0" fmla="*/ 26423 h 43175"/>
                <a:gd name="connsiteX1" fmla="*/ 26612 w 43364"/>
                <a:gd name="connsiteY1" fmla="*/ 42543 h 43175"/>
                <a:gd name="connsiteX2" fmla="*/ 42732 w 43364"/>
                <a:gd name="connsiteY2" fmla="*/ 16752 h 43175"/>
                <a:gd name="connsiteX3" fmla="*/ 16941 w 43364"/>
                <a:gd name="connsiteY3" fmla="*/ 632 h 43175"/>
                <a:gd name="connsiteX4" fmla="*/ 822 w 43364"/>
                <a:gd name="connsiteY4" fmla="*/ 26423 h 4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64" h="43175">
                  <a:moveTo>
                    <a:pt x="822" y="26423"/>
                  </a:moveTo>
                  <a:cubicBezTo>
                    <a:pt x="4046" y="36095"/>
                    <a:pt x="13717" y="45767"/>
                    <a:pt x="26612" y="42543"/>
                  </a:cubicBezTo>
                  <a:cubicBezTo>
                    <a:pt x="36284" y="39319"/>
                    <a:pt x="45956" y="29647"/>
                    <a:pt x="42732" y="16752"/>
                  </a:cubicBezTo>
                  <a:cubicBezTo>
                    <a:pt x="39508" y="7080"/>
                    <a:pt x="29836" y="-2591"/>
                    <a:pt x="16941" y="632"/>
                  </a:cubicBezTo>
                  <a:cubicBezTo>
                    <a:pt x="4046" y="3856"/>
                    <a:pt x="-2402" y="16752"/>
                    <a:pt x="822" y="2642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B13DC4F6-2AC7-437A-AFCA-FE5AC31C7EF6}"/>
                </a:ext>
              </a:extLst>
            </p:cNvPr>
            <p:cNvSpPr/>
            <p:nvPr/>
          </p:nvSpPr>
          <p:spPr>
            <a:xfrm>
              <a:off x="12004588" y="8526337"/>
              <a:ext cx="97245" cy="35462"/>
            </a:xfrm>
            <a:custGeom>
              <a:avLst/>
              <a:gdLst>
                <a:gd name="connsiteX0" fmla="*/ 91604 w 97245"/>
                <a:gd name="connsiteY0" fmla="*/ 35463 h 35462"/>
                <a:gd name="connsiteX1" fmla="*/ 85157 w 97245"/>
                <a:gd name="connsiteY1" fmla="*/ 32239 h 35462"/>
                <a:gd name="connsiteX2" fmla="*/ 14231 w 97245"/>
                <a:gd name="connsiteY2" fmla="*/ 25791 h 35462"/>
                <a:gd name="connsiteX3" fmla="*/ 1335 w 97245"/>
                <a:gd name="connsiteY3" fmla="*/ 22567 h 35462"/>
                <a:gd name="connsiteX4" fmla="*/ 4560 w 97245"/>
                <a:gd name="connsiteY4" fmla="*/ 9671 h 35462"/>
                <a:gd name="connsiteX5" fmla="*/ 94828 w 97245"/>
                <a:gd name="connsiteY5" fmla="*/ 19343 h 35462"/>
                <a:gd name="connsiteX6" fmla="*/ 94828 w 97245"/>
                <a:gd name="connsiteY6" fmla="*/ 32239 h 35462"/>
                <a:gd name="connsiteX7" fmla="*/ 91604 w 97245"/>
                <a:gd name="connsiteY7" fmla="*/ 35463 h 35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5" h="35462">
                  <a:moveTo>
                    <a:pt x="91604" y="35463"/>
                  </a:moveTo>
                  <a:cubicBezTo>
                    <a:pt x="88380" y="35463"/>
                    <a:pt x="88380" y="35463"/>
                    <a:pt x="85157" y="32239"/>
                  </a:cubicBezTo>
                  <a:cubicBezTo>
                    <a:pt x="56141" y="3224"/>
                    <a:pt x="14231" y="25791"/>
                    <a:pt x="14231" y="25791"/>
                  </a:cubicBezTo>
                  <a:cubicBezTo>
                    <a:pt x="11007" y="29015"/>
                    <a:pt x="4560" y="25791"/>
                    <a:pt x="1335" y="22567"/>
                  </a:cubicBezTo>
                  <a:cubicBezTo>
                    <a:pt x="-1889" y="19343"/>
                    <a:pt x="1335" y="12895"/>
                    <a:pt x="4560" y="9671"/>
                  </a:cubicBezTo>
                  <a:cubicBezTo>
                    <a:pt x="23902" y="0"/>
                    <a:pt x="65813" y="-9672"/>
                    <a:pt x="94828" y="19343"/>
                  </a:cubicBezTo>
                  <a:cubicBezTo>
                    <a:pt x="98052" y="22567"/>
                    <a:pt x="98052" y="29015"/>
                    <a:pt x="94828" y="32239"/>
                  </a:cubicBezTo>
                  <a:cubicBezTo>
                    <a:pt x="98052" y="35463"/>
                    <a:pt x="94828" y="35463"/>
                    <a:pt x="91604" y="35463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4012F90E-27BC-4BD2-B612-3F35FC67A4F5}"/>
                </a:ext>
              </a:extLst>
            </p:cNvPr>
            <p:cNvSpPr/>
            <p:nvPr/>
          </p:nvSpPr>
          <p:spPr>
            <a:xfrm>
              <a:off x="11806849" y="8529889"/>
              <a:ext cx="97245" cy="38358"/>
            </a:xfrm>
            <a:custGeom>
              <a:avLst/>
              <a:gdLst>
                <a:gd name="connsiteX0" fmla="*/ 8866 w 97245"/>
                <a:gd name="connsiteY0" fmla="*/ 38358 h 38358"/>
                <a:gd name="connsiteX1" fmla="*/ 2418 w 97245"/>
                <a:gd name="connsiteY1" fmla="*/ 35135 h 38358"/>
                <a:gd name="connsiteX2" fmla="*/ 2418 w 97245"/>
                <a:gd name="connsiteY2" fmla="*/ 22239 h 38358"/>
                <a:gd name="connsiteX3" fmla="*/ 92686 w 97245"/>
                <a:gd name="connsiteY3" fmla="*/ 12568 h 38358"/>
                <a:gd name="connsiteX4" fmla="*/ 95910 w 97245"/>
                <a:gd name="connsiteY4" fmla="*/ 25463 h 38358"/>
                <a:gd name="connsiteX5" fmla="*/ 83015 w 97245"/>
                <a:gd name="connsiteY5" fmla="*/ 28687 h 38358"/>
                <a:gd name="connsiteX6" fmla="*/ 12089 w 97245"/>
                <a:gd name="connsiteY6" fmla="*/ 35135 h 38358"/>
                <a:gd name="connsiteX7" fmla="*/ 8866 w 97245"/>
                <a:gd name="connsiteY7" fmla="*/ 38358 h 3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5" h="38358">
                  <a:moveTo>
                    <a:pt x="8866" y="38358"/>
                  </a:moveTo>
                  <a:cubicBezTo>
                    <a:pt x="5642" y="38358"/>
                    <a:pt x="5642" y="38358"/>
                    <a:pt x="2418" y="35135"/>
                  </a:cubicBezTo>
                  <a:cubicBezTo>
                    <a:pt x="-806" y="31911"/>
                    <a:pt x="-806" y="25463"/>
                    <a:pt x="2418" y="22239"/>
                  </a:cubicBezTo>
                  <a:cubicBezTo>
                    <a:pt x="15313" y="6119"/>
                    <a:pt x="54000" y="-13224"/>
                    <a:pt x="92686" y="12568"/>
                  </a:cubicBezTo>
                  <a:cubicBezTo>
                    <a:pt x="95910" y="15791"/>
                    <a:pt x="99134" y="19015"/>
                    <a:pt x="95910" y="25463"/>
                  </a:cubicBezTo>
                  <a:cubicBezTo>
                    <a:pt x="92686" y="28687"/>
                    <a:pt x="89463" y="31911"/>
                    <a:pt x="83015" y="28687"/>
                  </a:cubicBezTo>
                  <a:cubicBezTo>
                    <a:pt x="44328" y="2896"/>
                    <a:pt x="15313" y="35135"/>
                    <a:pt x="12089" y="35135"/>
                  </a:cubicBezTo>
                  <a:cubicBezTo>
                    <a:pt x="12089" y="38358"/>
                    <a:pt x="12089" y="38358"/>
                    <a:pt x="8866" y="38358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32268BD3-46F8-42B6-B101-F076912CD0FB}"/>
                </a:ext>
              </a:extLst>
            </p:cNvPr>
            <p:cNvSpPr/>
            <p:nvPr/>
          </p:nvSpPr>
          <p:spPr>
            <a:xfrm>
              <a:off x="11818938" y="8884187"/>
              <a:ext cx="239902" cy="48358"/>
            </a:xfrm>
            <a:custGeom>
              <a:avLst/>
              <a:gdLst>
                <a:gd name="connsiteX0" fmla="*/ 125732 w 239902"/>
                <a:gd name="connsiteY0" fmla="*/ 48358 h 48358"/>
                <a:gd name="connsiteX1" fmla="*/ 3224 w 239902"/>
                <a:gd name="connsiteY1" fmla="*/ 12896 h 48358"/>
                <a:gd name="connsiteX2" fmla="*/ 0 w 239902"/>
                <a:gd name="connsiteY2" fmla="*/ 3224 h 48358"/>
                <a:gd name="connsiteX3" fmla="*/ 9672 w 239902"/>
                <a:gd name="connsiteY3" fmla="*/ 0 h 48358"/>
                <a:gd name="connsiteX4" fmla="*/ 141852 w 239902"/>
                <a:gd name="connsiteY4" fmla="*/ 32239 h 48358"/>
                <a:gd name="connsiteX5" fmla="*/ 228896 w 239902"/>
                <a:gd name="connsiteY5" fmla="*/ 3224 h 48358"/>
                <a:gd name="connsiteX6" fmla="*/ 238568 w 239902"/>
                <a:gd name="connsiteY6" fmla="*/ 6448 h 48358"/>
                <a:gd name="connsiteX7" fmla="*/ 235344 w 239902"/>
                <a:gd name="connsiteY7" fmla="*/ 16119 h 48358"/>
                <a:gd name="connsiteX8" fmla="*/ 141852 w 239902"/>
                <a:gd name="connsiteY8" fmla="*/ 45135 h 48358"/>
                <a:gd name="connsiteX9" fmla="*/ 125732 w 239902"/>
                <a:gd name="connsiteY9" fmla="*/ 48358 h 4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902" h="48358">
                  <a:moveTo>
                    <a:pt x="125732" y="48358"/>
                  </a:moveTo>
                  <a:cubicBezTo>
                    <a:pt x="58030" y="48358"/>
                    <a:pt x="3224" y="12896"/>
                    <a:pt x="3224" y="12896"/>
                  </a:cubicBezTo>
                  <a:cubicBezTo>
                    <a:pt x="0" y="9672"/>
                    <a:pt x="0" y="6448"/>
                    <a:pt x="0" y="3224"/>
                  </a:cubicBezTo>
                  <a:cubicBezTo>
                    <a:pt x="3224" y="0"/>
                    <a:pt x="6448" y="0"/>
                    <a:pt x="9672" y="0"/>
                  </a:cubicBezTo>
                  <a:cubicBezTo>
                    <a:pt x="9672" y="0"/>
                    <a:pt x="70926" y="38686"/>
                    <a:pt x="141852" y="32239"/>
                  </a:cubicBezTo>
                  <a:cubicBezTo>
                    <a:pt x="183762" y="29015"/>
                    <a:pt x="228896" y="3224"/>
                    <a:pt x="228896" y="3224"/>
                  </a:cubicBezTo>
                  <a:cubicBezTo>
                    <a:pt x="232120" y="3224"/>
                    <a:pt x="235344" y="3224"/>
                    <a:pt x="238568" y="6448"/>
                  </a:cubicBezTo>
                  <a:cubicBezTo>
                    <a:pt x="241791" y="9672"/>
                    <a:pt x="238568" y="12896"/>
                    <a:pt x="235344" y="16119"/>
                  </a:cubicBezTo>
                  <a:cubicBezTo>
                    <a:pt x="232120" y="16119"/>
                    <a:pt x="186986" y="41911"/>
                    <a:pt x="141852" y="45135"/>
                  </a:cubicBezTo>
                  <a:cubicBezTo>
                    <a:pt x="135403" y="48358"/>
                    <a:pt x="128955" y="48358"/>
                    <a:pt x="125732" y="48358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1868AD69-01D4-4754-AC7D-FA4FB53AB415}"/>
                </a:ext>
              </a:extLst>
            </p:cNvPr>
            <p:cNvSpPr/>
            <p:nvPr/>
          </p:nvSpPr>
          <p:spPr>
            <a:xfrm>
              <a:off x="11660634" y="8352247"/>
              <a:ext cx="119618" cy="283701"/>
            </a:xfrm>
            <a:custGeom>
              <a:avLst/>
              <a:gdLst>
                <a:gd name="connsiteX0" fmla="*/ 119618 w 119618"/>
                <a:gd name="connsiteY0" fmla="*/ 135403 h 283701"/>
                <a:gd name="connsiteX1" fmla="*/ 68036 w 119618"/>
                <a:gd name="connsiteY1" fmla="*/ 283702 h 283701"/>
                <a:gd name="connsiteX2" fmla="*/ 6782 w 119618"/>
                <a:gd name="connsiteY2" fmla="*/ 177313 h 283701"/>
                <a:gd name="connsiteX3" fmla="*/ 68036 w 119618"/>
                <a:gd name="connsiteY3" fmla="*/ 0 h 283701"/>
                <a:gd name="connsiteX4" fmla="*/ 119618 w 119618"/>
                <a:gd name="connsiteY4" fmla="*/ 135403 h 283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618" h="283701">
                  <a:moveTo>
                    <a:pt x="119618" y="135403"/>
                  </a:moveTo>
                  <a:cubicBezTo>
                    <a:pt x="119618" y="135403"/>
                    <a:pt x="61588" y="251463"/>
                    <a:pt x="68036" y="283702"/>
                  </a:cubicBezTo>
                  <a:cubicBezTo>
                    <a:pt x="68036" y="283702"/>
                    <a:pt x="22902" y="235343"/>
                    <a:pt x="6782" y="177313"/>
                  </a:cubicBezTo>
                  <a:cubicBezTo>
                    <a:pt x="-9337" y="116060"/>
                    <a:pt x="334" y="16119"/>
                    <a:pt x="68036" y="0"/>
                  </a:cubicBezTo>
                  <a:cubicBezTo>
                    <a:pt x="68036" y="0"/>
                    <a:pt x="77707" y="112836"/>
                    <a:pt x="119618" y="135403"/>
                  </a:cubicBez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DCC498F0-431C-4FF3-9226-45D037E4DF1F}"/>
                </a:ext>
              </a:extLst>
            </p:cNvPr>
            <p:cNvSpPr/>
            <p:nvPr/>
          </p:nvSpPr>
          <p:spPr>
            <a:xfrm>
              <a:off x="11718151" y="8230301"/>
              <a:ext cx="462504" cy="370184"/>
            </a:xfrm>
            <a:custGeom>
              <a:avLst/>
              <a:gdLst>
                <a:gd name="connsiteX0" fmla="*/ 62101 w 462504"/>
                <a:gd name="connsiteY0" fmla="*/ 257348 h 370184"/>
                <a:gd name="connsiteX1" fmla="*/ 191056 w 462504"/>
                <a:gd name="connsiteY1" fmla="*/ 215438 h 370184"/>
                <a:gd name="connsiteX2" fmla="*/ 445743 w 462504"/>
                <a:gd name="connsiteY2" fmla="*/ 370184 h 370184"/>
                <a:gd name="connsiteX3" fmla="*/ 448967 w 462504"/>
                <a:gd name="connsiteY3" fmla="*/ 192871 h 370184"/>
                <a:gd name="connsiteX4" fmla="*/ 352250 w 462504"/>
                <a:gd name="connsiteY4" fmla="*/ 34901 h 370184"/>
                <a:gd name="connsiteX5" fmla="*/ 139474 w 462504"/>
                <a:gd name="connsiteY5" fmla="*/ 18782 h 370184"/>
                <a:gd name="connsiteX6" fmla="*/ 10519 w 462504"/>
                <a:gd name="connsiteY6" fmla="*/ 118722 h 370184"/>
                <a:gd name="connsiteX7" fmla="*/ 62101 w 462504"/>
                <a:gd name="connsiteY7" fmla="*/ 257348 h 370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504" h="370184">
                  <a:moveTo>
                    <a:pt x="62101" y="257348"/>
                  </a:moveTo>
                  <a:cubicBezTo>
                    <a:pt x="62101" y="257348"/>
                    <a:pt x="162042" y="215438"/>
                    <a:pt x="191056" y="215438"/>
                  </a:cubicBezTo>
                  <a:cubicBezTo>
                    <a:pt x="297444" y="218662"/>
                    <a:pt x="461862" y="292811"/>
                    <a:pt x="445743" y="370184"/>
                  </a:cubicBezTo>
                  <a:cubicBezTo>
                    <a:pt x="445743" y="370184"/>
                    <a:pt x="481206" y="260573"/>
                    <a:pt x="448967" y="192871"/>
                  </a:cubicBezTo>
                  <a:cubicBezTo>
                    <a:pt x="448967" y="192871"/>
                    <a:pt x="448967" y="60692"/>
                    <a:pt x="352250" y="34901"/>
                  </a:cubicBezTo>
                  <a:cubicBezTo>
                    <a:pt x="255534" y="9110"/>
                    <a:pt x="213623" y="-19905"/>
                    <a:pt x="139474" y="18782"/>
                  </a:cubicBezTo>
                  <a:cubicBezTo>
                    <a:pt x="65325" y="60692"/>
                    <a:pt x="16967" y="80035"/>
                    <a:pt x="10519" y="118722"/>
                  </a:cubicBezTo>
                  <a:cubicBezTo>
                    <a:pt x="10519" y="121946"/>
                    <a:pt x="-34615" y="244453"/>
                    <a:pt x="62101" y="257348"/>
                  </a:cubicBez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50A07D90-E7E8-420D-8CFA-B8434BB67CF4}"/>
                </a:ext>
              </a:extLst>
            </p:cNvPr>
            <p:cNvSpPr/>
            <p:nvPr/>
          </p:nvSpPr>
          <p:spPr>
            <a:xfrm>
              <a:off x="11493327" y="8968008"/>
              <a:ext cx="858630" cy="1255205"/>
            </a:xfrm>
            <a:custGeom>
              <a:avLst/>
              <a:gdLst>
                <a:gd name="connsiteX0" fmla="*/ 319164 w 858630"/>
                <a:gd name="connsiteY0" fmla="*/ 0 h 1255205"/>
                <a:gd name="connsiteX1" fmla="*/ 551283 w 858630"/>
                <a:gd name="connsiteY1" fmla="*/ 0 h 1255205"/>
                <a:gd name="connsiteX2" fmla="*/ 789851 w 858630"/>
                <a:gd name="connsiteY2" fmla="*/ 103164 h 1255205"/>
                <a:gd name="connsiteX3" fmla="*/ 857551 w 858630"/>
                <a:gd name="connsiteY3" fmla="*/ 1231522 h 1255205"/>
                <a:gd name="connsiteX4" fmla="*/ 0 w 858630"/>
                <a:gd name="connsiteY4" fmla="*/ 1212179 h 1255205"/>
                <a:gd name="connsiteX5" fmla="*/ 93492 w 858630"/>
                <a:gd name="connsiteY5" fmla="*/ 80597 h 1255205"/>
                <a:gd name="connsiteX6" fmla="*/ 319164 w 858630"/>
                <a:gd name="connsiteY6" fmla="*/ 0 h 1255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8630" h="1255205">
                  <a:moveTo>
                    <a:pt x="319164" y="0"/>
                  </a:moveTo>
                  <a:cubicBezTo>
                    <a:pt x="319164" y="0"/>
                    <a:pt x="457790" y="45134"/>
                    <a:pt x="551283" y="0"/>
                  </a:cubicBezTo>
                  <a:cubicBezTo>
                    <a:pt x="551283" y="0"/>
                    <a:pt x="770507" y="80597"/>
                    <a:pt x="789851" y="103164"/>
                  </a:cubicBezTo>
                  <a:cubicBezTo>
                    <a:pt x="809193" y="128955"/>
                    <a:pt x="867224" y="1176716"/>
                    <a:pt x="857551" y="1231522"/>
                  </a:cubicBezTo>
                  <a:cubicBezTo>
                    <a:pt x="857551" y="1231522"/>
                    <a:pt x="464239" y="1296000"/>
                    <a:pt x="0" y="1212179"/>
                  </a:cubicBezTo>
                  <a:cubicBezTo>
                    <a:pt x="0" y="925254"/>
                    <a:pt x="61254" y="106388"/>
                    <a:pt x="93492" y="80597"/>
                  </a:cubicBezTo>
                  <a:cubicBezTo>
                    <a:pt x="125731" y="54806"/>
                    <a:pt x="319164" y="0"/>
                    <a:pt x="319164" y="0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D2CCF751-6039-4FC9-8086-9A9F575B51DD}"/>
                </a:ext>
              </a:extLst>
            </p:cNvPr>
            <p:cNvSpPr/>
            <p:nvPr/>
          </p:nvSpPr>
          <p:spPr>
            <a:xfrm>
              <a:off x="12273505" y="9064725"/>
              <a:ext cx="47251" cy="444895"/>
            </a:xfrm>
            <a:custGeom>
              <a:avLst/>
              <a:gdLst>
                <a:gd name="connsiteX0" fmla="*/ 41911 w 47251"/>
                <a:gd name="connsiteY0" fmla="*/ 444896 h 444895"/>
                <a:gd name="connsiteX1" fmla="*/ 35463 w 47251"/>
                <a:gd name="connsiteY1" fmla="*/ 438447 h 444895"/>
                <a:gd name="connsiteX2" fmla="*/ 0 w 47251"/>
                <a:gd name="connsiteY2" fmla="*/ 6448 h 444895"/>
                <a:gd name="connsiteX3" fmla="*/ 3224 w 47251"/>
                <a:gd name="connsiteY3" fmla="*/ 0 h 444895"/>
                <a:gd name="connsiteX4" fmla="*/ 9672 w 47251"/>
                <a:gd name="connsiteY4" fmla="*/ 3224 h 444895"/>
                <a:gd name="connsiteX5" fmla="*/ 45134 w 47251"/>
                <a:gd name="connsiteY5" fmla="*/ 438447 h 444895"/>
                <a:gd name="connsiteX6" fmla="*/ 41911 w 47251"/>
                <a:gd name="connsiteY6" fmla="*/ 444896 h 444895"/>
                <a:gd name="connsiteX7" fmla="*/ 41911 w 47251"/>
                <a:gd name="connsiteY7" fmla="*/ 444896 h 44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251" h="444895">
                  <a:moveTo>
                    <a:pt x="41911" y="444896"/>
                  </a:moveTo>
                  <a:cubicBezTo>
                    <a:pt x="38687" y="444896"/>
                    <a:pt x="35463" y="441672"/>
                    <a:pt x="35463" y="438447"/>
                  </a:cubicBezTo>
                  <a:cubicBezTo>
                    <a:pt x="35463" y="435224"/>
                    <a:pt x="6448" y="35462"/>
                    <a:pt x="0" y="6448"/>
                  </a:cubicBezTo>
                  <a:cubicBezTo>
                    <a:pt x="0" y="3224"/>
                    <a:pt x="0" y="0"/>
                    <a:pt x="3224" y="0"/>
                  </a:cubicBezTo>
                  <a:cubicBezTo>
                    <a:pt x="6448" y="0"/>
                    <a:pt x="9672" y="0"/>
                    <a:pt x="9672" y="3224"/>
                  </a:cubicBezTo>
                  <a:cubicBezTo>
                    <a:pt x="16119" y="35462"/>
                    <a:pt x="41911" y="422328"/>
                    <a:pt x="45134" y="438447"/>
                  </a:cubicBezTo>
                  <a:cubicBezTo>
                    <a:pt x="48358" y="441672"/>
                    <a:pt x="48358" y="444896"/>
                    <a:pt x="41911" y="444896"/>
                  </a:cubicBezTo>
                  <a:cubicBezTo>
                    <a:pt x="41911" y="444896"/>
                    <a:pt x="41911" y="444896"/>
                    <a:pt x="41911" y="444896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0" name="图形 1">
              <a:extLst>
                <a:ext uri="{FF2B5EF4-FFF2-40B4-BE49-F238E27FC236}">
                  <a16:creationId xmlns:a16="http://schemas.microsoft.com/office/drawing/2014/main" id="{95F8A72E-9D73-443B-8BA4-4983C567D2AF}"/>
                </a:ext>
              </a:extLst>
            </p:cNvPr>
            <p:cNvGrpSpPr/>
            <p:nvPr/>
          </p:nvGrpSpPr>
          <p:grpSpPr>
            <a:xfrm>
              <a:off x="10697028" y="8372847"/>
              <a:ext cx="315939" cy="207025"/>
              <a:chOff x="10697028" y="8372847"/>
              <a:chExt cx="315939" cy="207025"/>
            </a:xfrm>
          </p:grpSpPr>
          <p:grpSp>
            <p:nvGrpSpPr>
              <p:cNvPr id="131" name="图形 1">
                <a:extLst>
                  <a:ext uri="{FF2B5EF4-FFF2-40B4-BE49-F238E27FC236}">
                    <a16:creationId xmlns:a16="http://schemas.microsoft.com/office/drawing/2014/main" id="{8CD66BFC-AA7B-4CF8-B759-596FD00EC0AA}"/>
                  </a:ext>
                </a:extLst>
              </p:cNvPr>
              <p:cNvGrpSpPr/>
              <p:nvPr/>
            </p:nvGrpSpPr>
            <p:grpSpPr>
              <a:xfrm>
                <a:off x="10697028" y="8372847"/>
                <a:ext cx="315939" cy="207025"/>
                <a:chOff x="10697028" y="8372847"/>
                <a:chExt cx="315939" cy="207025"/>
              </a:xfrm>
            </p:grpSpPr>
            <p:sp>
              <p:nvSpPr>
                <p:cNvPr id="134" name="任意多边形: 形状 133">
                  <a:extLst>
                    <a:ext uri="{FF2B5EF4-FFF2-40B4-BE49-F238E27FC236}">
                      <a16:creationId xmlns:a16="http://schemas.microsoft.com/office/drawing/2014/main" id="{AC529D49-5F46-47DB-AFAA-4D6A3F85BFE6}"/>
                    </a:ext>
                  </a:extLst>
                </p:cNvPr>
                <p:cNvSpPr/>
                <p:nvPr/>
              </p:nvSpPr>
              <p:spPr>
                <a:xfrm>
                  <a:off x="10703476" y="8372847"/>
                  <a:ext cx="309491" cy="207025"/>
                </a:xfrm>
                <a:custGeom>
                  <a:avLst/>
                  <a:gdLst>
                    <a:gd name="connsiteX0" fmla="*/ 138626 w 309491"/>
                    <a:gd name="connsiteY0" fmla="*/ 182504 h 207025"/>
                    <a:gd name="connsiteX1" fmla="*/ 254686 w 309491"/>
                    <a:gd name="connsiteY1" fmla="*/ 201848 h 207025"/>
                    <a:gd name="connsiteX2" fmla="*/ 309492 w 309491"/>
                    <a:gd name="connsiteY2" fmla="*/ 134146 h 207025"/>
                    <a:gd name="connsiteX3" fmla="*/ 238567 w 309491"/>
                    <a:gd name="connsiteY3" fmla="*/ 5191 h 207025"/>
                    <a:gd name="connsiteX4" fmla="*/ 212775 w 309491"/>
                    <a:gd name="connsiteY4" fmla="*/ 24534 h 207025"/>
                    <a:gd name="connsiteX5" fmla="*/ 228895 w 309491"/>
                    <a:gd name="connsiteY5" fmla="*/ 85788 h 207025"/>
                    <a:gd name="connsiteX6" fmla="*/ 77373 w 309491"/>
                    <a:gd name="connsiteY6" fmla="*/ 30982 h 207025"/>
                    <a:gd name="connsiteX7" fmla="*/ 51581 w 309491"/>
                    <a:gd name="connsiteY7" fmla="*/ 43877 h 207025"/>
                    <a:gd name="connsiteX8" fmla="*/ 87044 w 309491"/>
                    <a:gd name="connsiteY8" fmla="*/ 59997 h 207025"/>
                    <a:gd name="connsiteX9" fmla="*/ 132178 w 309491"/>
                    <a:gd name="connsiteY9" fmla="*/ 82564 h 207025"/>
                    <a:gd name="connsiteX10" fmla="*/ 64478 w 309491"/>
                    <a:gd name="connsiteY10" fmla="*/ 72892 h 207025"/>
                    <a:gd name="connsiteX11" fmla="*/ 16119 w 309491"/>
                    <a:gd name="connsiteY11" fmla="*/ 66444 h 207025"/>
                    <a:gd name="connsiteX12" fmla="*/ 0 w 309491"/>
                    <a:gd name="connsiteY12" fmla="*/ 82564 h 207025"/>
                    <a:gd name="connsiteX13" fmla="*/ 16119 w 309491"/>
                    <a:gd name="connsiteY13" fmla="*/ 101907 h 207025"/>
                    <a:gd name="connsiteX14" fmla="*/ 12895 w 309491"/>
                    <a:gd name="connsiteY14" fmla="*/ 101907 h 207025"/>
                    <a:gd name="connsiteX15" fmla="*/ 6447 w 309491"/>
                    <a:gd name="connsiteY15" fmla="*/ 111579 h 207025"/>
                    <a:gd name="connsiteX16" fmla="*/ 45134 w 309491"/>
                    <a:gd name="connsiteY16" fmla="*/ 127698 h 207025"/>
                    <a:gd name="connsiteX17" fmla="*/ 67701 w 309491"/>
                    <a:gd name="connsiteY17" fmla="*/ 130922 h 207025"/>
                    <a:gd name="connsiteX18" fmla="*/ 61254 w 309491"/>
                    <a:gd name="connsiteY18" fmla="*/ 130922 h 207025"/>
                    <a:gd name="connsiteX19" fmla="*/ 48358 w 309491"/>
                    <a:gd name="connsiteY19" fmla="*/ 143818 h 207025"/>
                    <a:gd name="connsiteX20" fmla="*/ 138626 w 309491"/>
                    <a:gd name="connsiteY20" fmla="*/ 182504 h 207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09491" h="207025">
                      <a:moveTo>
                        <a:pt x="138626" y="182504"/>
                      </a:moveTo>
                      <a:cubicBezTo>
                        <a:pt x="174089" y="192176"/>
                        <a:pt x="215999" y="217967"/>
                        <a:pt x="254686" y="201848"/>
                      </a:cubicBezTo>
                      <a:cubicBezTo>
                        <a:pt x="280477" y="192176"/>
                        <a:pt x="306269" y="159937"/>
                        <a:pt x="309492" y="134146"/>
                      </a:cubicBezTo>
                      <a:cubicBezTo>
                        <a:pt x="309492" y="95460"/>
                        <a:pt x="254686" y="59997"/>
                        <a:pt x="238567" y="5191"/>
                      </a:cubicBezTo>
                      <a:cubicBezTo>
                        <a:pt x="235343" y="-7705"/>
                        <a:pt x="209552" y="5191"/>
                        <a:pt x="212775" y="24534"/>
                      </a:cubicBezTo>
                      <a:cubicBezTo>
                        <a:pt x="215999" y="47101"/>
                        <a:pt x="222448" y="72892"/>
                        <a:pt x="228895" y="85788"/>
                      </a:cubicBezTo>
                      <a:cubicBezTo>
                        <a:pt x="177313" y="72892"/>
                        <a:pt x="135402" y="37430"/>
                        <a:pt x="77373" y="30982"/>
                      </a:cubicBezTo>
                      <a:cubicBezTo>
                        <a:pt x="67701" y="30982"/>
                        <a:pt x="41910" y="30982"/>
                        <a:pt x="51581" y="43877"/>
                      </a:cubicBezTo>
                      <a:cubicBezTo>
                        <a:pt x="58029" y="53549"/>
                        <a:pt x="77373" y="56773"/>
                        <a:pt x="87044" y="59997"/>
                      </a:cubicBezTo>
                      <a:cubicBezTo>
                        <a:pt x="103164" y="66444"/>
                        <a:pt x="119283" y="72892"/>
                        <a:pt x="132178" y="82564"/>
                      </a:cubicBezTo>
                      <a:cubicBezTo>
                        <a:pt x="109612" y="79340"/>
                        <a:pt x="87044" y="76116"/>
                        <a:pt x="64478" y="72892"/>
                      </a:cubicBezTo>
                      <a:cubicBezTo>
                        <a:pt x="48358" y="69668"/>
                        <a:pt x="32239" y="63221"/>
                        <a:pt x="16119" y="66444"/>
                      </a:cubicBezTo>
                      <a:cubicBezTo>
                        <a:pt x="6447" y="66444"/>
                        <a:pt x="0" y="72892"/>
                        <a:pt x="0" y="82564"/>
                      </a:cubicBezTo>
                      <a:cubicBezTo>
                        <a:pt x="0" y="92235"/>
                        <a:pt x="6447" y="95460"/>
                        <a:pt x="16119" y="101907"/>
                      </a:cubicBezTo>
                      <a:cubicBezTo>
                        <a:pt x="16119" y="101907"/>
                        <a:pt x="16119" y="101907"/>
                        <a:pt x="12895" y="101907"/>
                      </a:cubicBezTo>
                      <a:cubicBezTo>
                        <a:pt x="12895" y="101907"/>
                        <a:pt x="6447" y="108355"/>
                        <a:pt x="6447" y="111579"/>
                      </a:cubicBezTo>
                      <a:cubicBezTo>
                        <a:pt x="12895" y="124474"/>
                        <a:pt x="29015" y="124474"/>
                        <a:pt x="45134" y="127698"/>
                      </a:cubicBezTo>
                      <a:cubicBezTo>
                        <a:pt x="51581" y="130922"/>
                        <a:pt x="61254" y="130922"/>
                        <a:pt x="67701" y="130922"/>
                      </a:cubicBezTo>
                      <a:cubicBezTo>
                        <a:pt x="64478" y="130922"/>
                        <a:pt x="64478" y="130922"/>
                        <a:pt x="61254" y="130922"/>
                      </a:cubicBezTo>
                      <a:cubicBezTo>
                        <a:pt x="54805" y="134146"/>
                        <a:pt x="48358" y="137370"/>
                        <a:pt x="48358" y="143818"/>
                      </a:cubicBezTo>
                      <a:cubicBezTo>
                        <a:pt x="48358" y="159937"/>
                        <a:pt x="116059" y="176057"/>
                        <a:pt x="138626" y="182504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B010E53D-11A5-4545-A909-A094DC7DCD22}"/>
                    </a:ext>
                  </a:extLst>
                </p:cNvPr>
                <p:cNvSpPr/>
                <p:nvPr/>
              </p:nvSpPr>
              <p:spPr>
                <a:xfrm>
                  <a:off x="10915220" y="8470195"/>
                  <a:ext cx="31382" cy="49693"/>
                </a:xfrm>
                <a:custGeom>
                  <a:avLst/>
                  <a:gdLst>
                    <a:gd name="connsiteX0" fmla="*/ 26823 w 31382"/>
                    <a:gd name="connsiteY0" fmla="*/ 49693 h 49693"/>
                    <a:gd name="connsiteX1" fmla="*/ 26823 w 31382"/>
                    <a:gd name="connsiteY1" fmla="*/ 49693 h 49693"/>
                    <a:gd name="connsiteX2" fmla="*/ 1031 w 31382"/>
                    <a:gd name="connsiteY2" fmla="*/ 4559 h 49693"/>
                    <a:gd name="connsiteX3" fmla="*/ 7479 w 31382"/>
                    <a:gd name="connsiteY3" fmla="*/ 1335 h 49693"/>
                    <a:gd name="connsiteX4" fmla="*/ 10704 w 31382"/>
                    <a:gd name="connsiteY4" fmla="*/ 7783 h 49693"/>
                    <a:gd name="connsiteX5" fmla="*/ 26823 w 31382"/>
                    <a:gd name="connsiteY5" fmla="*/ 40022 h 49693"/>
                    <a:gd name="connsiteX6" fmla="*/ 30047 w 31382"/>
                    <a:gd name="connsiteY6" fmla="*/ 46470 h 49693"/>
                    <a:gd name="connsiteX7" fmla="*/ 26823 w 31382"/>
                    <a:gd name="connsiteY7" fmla="*/ 49693 h 496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382" h="49693">
                      <a:moveTo>
                        <a:pt x="26823" y="49693"/>
                      </a:moveTo>
                      <a:cubicBezTo>
                        <a:pt x="26823" y="49693"/>
                        <a:pt x="26823" y="49693"/>
                        <a:pt x="26823" y="49693"/>
                      </a:cubicBezTo>
                      <a:cubicBezTo>
                        <a:pt x="1031" y="36798"/>
                        <a:pt x="-2192" y="14231"/>
                        <a:pt x="1031" y="4559"/>
                      </a:cubicBezTo>
                      <a:cubicBezTo>
                        <a:pt x="1031" y="1335"/>
                        <a:pt x="4255" y="-1888"/>
                        <a:pt x="7479" y="1335"/>
                      </a:cubicBezTo>
                      <a:cubicBezTo>
                        <a:pt x="10704" y="1335"/>
                        <a:pt x="13928" y="4559"/>
                        <a:pt x="10704" y="7783"/>
                      </a:cubicBezTo>
                      <a:cubicBezTo>
                        <a:pt x="10704" y="7783"/>
                        <a:pt x="4255" y="30350"/>
                        <a:pt x="26823" y="40022"/>
                      </a:cubicBezTo>
                      <a:cubicBezTo>
                        <a:pt x="30047" y="40022"/>
                        <a:pt x="30047" y="46470"/>
                        <a:pt x="30047" y="46470"/>
                      </a:cubicBezTo>
                      <a:cubicBezTo>
                        <a:pt x="33270" y="49693"/>
                        <a:pt x="30047" y="49693"/>
                        <a:pt x="26823" y="4969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29A8EE89-F651-4CFD-9D20-9A1583495D84}"/>
                    </a:ext>
                  </a:extLst>
                </p:cNvPr>
                <p:cNvSpPr/>
                <p:nvPr/>
              </p:nvSpPr>
              <p:spPr>
                <a:xfrm>
                  <a:off x="10697028" y="8407053"/>
                  <a:ext cx="141850" cy="67701"/>
                </a:xfrm>
                <a:custGeom>
                  <a:avLst/>
                  <a:gdLst>
                    <a:gd name="connsiteX0" fmla="*/ 19343 w 141850"/>
                    <a:gd name="connsiteY0" fmla="*/ 67702 h 67701"/>
                    <a:gd name="connsiteX1" fmla="*/ 19343 w 141850"/>
                    <a:gd name="connsiteY1" fmla="*/ 67702 h 67701"/>
                    <a:gd name="connsiteX2" fmla="*/ 0 w 141850"/>
                    <a:gd name="connsiteY2" fmla="*/ 48358 h 67701"/>
                    <a:gd name="connsiteX3" fmla="*/ 9671 w 141850"/>
                    <a:gd name="connsiteY3" fmla="*/ 29015 h 67701"/>
                    <a:gd name="connsiteX4" fmla="*/ 87045 w 141850"/>
                    <a:gd name="connsiteY4" fmla="*/ 32239 h 67701"/>
                    <a:gd name="connsiteX5" fmla="*/ 51582 w 141850"/>
                    <a:gd name="connsiteY5" fmla="*/ 12896 h 67701"/>
                    <a:gd name="connsiteX6" fmla="*/ 48358 w 141850"/>
                    <a:gd name="connsiteY6" fmla="*/ 3224 h 67701"/>
                    <a:gd name="connsiteX7" fmla="*/ 58029 w 141850"/>
                    <a:gd name="connsiteY7" fmla="*/ 0 h 67701"/>
                    <a:gd name="connsiteX8" fmla="*/ 138626 w 141850"/>
                    <a:gd name="connsiteY8" fmla="*/ 38687 h 67701"/>
                    <a:gd name="connsiteX9" fmla="*/ 141851 w 141850"/>
                    <a:gd name="connsiteY9" fmla="*/ 45135 h 67701"/>
                    <a:gd name="connsiteX10" fmla="*/ 135403 w 141850"/>
                    <a:gd name="connsiteY10" fmla="*/ 48358 h 67701"/>
                    <a:gd name="connsiteX11" fmla="*/ 16119 w 141850"/>
                    <a:gd name="connsiteY11" fmla="*/ 32239 h 67701"/>
                    <a:gd name="connsiteX12" fmla="*/ 9671 w 141850"/>
                    <a:gd name="connsiteY12" fmla="*/ 41911 h 67701"/>
                    <a:gd name="connsiteX13" fmla="*/ 19343 w 141850"/>
                    <a:gd name="connsiteY13" fmla="*/ 51582 h 67701"/>
                    <a:gd name="connsiteX14" fmla="*/ 22568 w 141850"/>
                    <a:gd name="connsiteY14" fmla="*/ 58030 h 67701"/>
                    <a:gd name="connsiteX15" fmla="*/ 19343 w 141850"/>
                    <a:gd name="connsiteY15" fmla="*/ 67702 h 67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41850" h="67701">
                      <a:moveTo>
                        <a:pt x="19343" y="67702"/>
                      </a:moveTo>
                      <a:cubicBezTo>
                        <a:pt x="19343" y="67702"/>
                        <a:pt x="19343" y="67702"/>
                        <a:pt x="19343" y="67702"/>
                      </a:cubicBezTo>
                      <a:cubicBezTo>
                        <a:pt x="6448" y="64478"/>
                        <a:pt x="0" y="58030"/>
                        <a:pt x="0" y="48358"/>
                      </a:cubicBezTo>
                      <a:cubicBezTo>
                        <a:pt x="0" y="45135"/>
                        <a:pt x="0" y="35463"/>
                        <a:pt x="9671" y="29015"/>
                      </a:cubicBezTo>
                      <a:cubicBezTo>
                        <a:pt x="16119" y="22568"/>
                        <a:pt x="54806" y="25791"/>
                        <a:pt x="87045" y="32239"/>
                      </a:cubicBezTo>
                      <a:cubicBezTo>
                        <a:pt x="67702" y="22568"/>
                        <a:pt x="51582" y="16119"/>
                        <a:pt x="51582" y="12896"/>
                      </a:cubicBezTo>
                      <a:cubicBezTo>
                        <a:pt x="48358" y="12896"/>
                        <a:pt x="48358" y="6448"/>
                        <a:pt x="48358" y="3224"/>
                      </a:cubicBezTo>
                      <a:cubicBezTo>
                        <a:pt x="48358" y="0"/>
                        <a:pt x="54806" y="0"/>
                        <a:pt x="58029" y="0"/>
                      </a:cubicBezTo>
                      <a:cubicBezTo>
                        <a:pt x="58029" y="0"/>
                        <a:pt x="106388" y="25791"/>
                        <a:pt x="138626" y="38687"/>
                      </a:cubicBezTo>
                      <a:cubicBezTo>
                        <a:pt x="141851" y="38687"/>
                        <a:pt x="141851" y="41911"/>
                        <a:pt x="141851" y="45135"/>
                      </a:cubicBezTo>
                      <a:cubicBezTo>
                        <a:pt x="141851" y="48358"/>
                        <a:pt x="138626" y="48358"/>
                        <a:pt x="135403" y="48358"/>
                      </a:cubicBezTo>
                      <a:cubicBezTo>
                        <a:pt x="83821" y="38687"/>
                        <a:pt x="25791" y="29015"/>
                        <a:pt x="16119" y="32239"/>
                      </a:cubicBezTo>
                      <a:cubicBezTo>
                        <a:pt x="12895" y="35463"/>
                        <a:pt x="9671" y="38687"/>
                        <a:pt x="9671" y="41911"/>
                      </a:cubicBezTo>
                      <a:cubicBezTo>
                        <a:pt x="9671" y="45135"/>
                        <a:pt x="12895" y="48358"/>
                        <a:pt x="19343" y="51582"/>
                      </a:cubicBezTo>
                      <a:cubicBezTo>
                        <a:pt x="22568" y="51582"/>
                        <a:pt x="22568" y="54806"/>
                        <a:pt x="22568" y="58030"/>
                      </a:cubicBezTo>
                      <a:cubicBezTo>
                        <a:pt x="25791" y="64478"/>
                        <a:pt x="22568" y="67702"/>
                        <a:pt x="19343" y="67702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D504F5B0-309A-4E9A-8B78-3C92581041E3}"/>
                  </a:ext>
                </a:extLst>
              </p:cNvPr>
              <p:cNvSpPr/>
              <p:nvPr/>
            </p:nvSpPr>
            <p:spPr>
              <a:xfrm>
                <a:off x="10745386" y="8495986"/>
                <a:ext cx="112835" cy="62589"/>
              </a:xfrm>
              <a:custGeom>
                <a:avLst/>
                <a:gdLst>
                  <a:gd name="connsiteX0" fmla="*/ 83821 w 112835"/>
                  <a:gd name="connsiteY0" fmla="*/ 62589 h 62589"/>
                  <a:gd name="connsiteX1" fmla="*/ 83821 w 112835"/>
                  <a:gd name="connsiteY1" fmla="*/ 62589 h 62589"/>
                  <a:gd name="connsiteX2" fmla="*/ 0 w 112835"/>
                  <a:gd name="connsiteY2" fmla="*/ 20679 h 62589"/>
                  <a:gd name="connsiteX3" fmla="*/ 6448 w 112835"/>
                  <a:gd name="connsiteY3" fmla="*/ 4559 h 62589"/>
                  <a:gd name="connsiteX4" fmla="*/ 32239 w 112835"/>
                  <a:gd name="connsiteY4" fmla="*/ 1335 h 62589"/>
                  <a:gd name="connsiteX5" fmla="*/ 64478 w 112835"/>
                  <a:gd name="connsiteY5" fmla="*/ 11007 h 62589"/>
                  <a:gd name="connsiteX6" fmla="*/ 106388 w 112835"/>
                  <a:gd name="connsiteY6" fmla="*/ 20679 h 62589"/>
                  <a:gd name="connsiteX7" fmla="*/ 112836 w 112835"/>
                  <a:gd name="connsiteY7" fmla="*/ 27126 h 62589"/>
                  <a:gd name="connsiteX8" fmla="*/ 106388 w 112835"/>
                  <a:gd name="connsiteY8" fmla="*/ 33574 h 62589"/>
                  <a:gd name="connsiteX9" fmla="*/ 64478 w 112835"/>
                  <a:gd name="connsiteY9" fmla="*/ 23902 h 62589"/>
                  <a:gd name="connsiteX10" fmla="*/ 32239 w 112835"/>
                  <a:gd name="connsiteY10" fmla="*/ 17455 h 62589"/>
                  <a:gd name="connsiteX11" fmla="*/ 16119 w 112835"/>
                  <a:gd name="connsiteY11" fmla="*/ 17455 h 62589"/>
                  <a:gd name="connsiteX12" fmla="*/ 16119 w 112835"/>
                  <a:gd name="connsiteY12" fmla="*/ 23902 h 62589"/>
                  <a:gd name="connsiteX13" fmla="*/ 90268 w 112835"/>
                  <a:gd name="connsiteY13" fmla="*/ 56141 h 62589"/>
                  <a:gd name="connsiteX14" fmla="*/ 93492 w 112835"/>
                  <a:gd name="connsiteY14" fmla="*/ 62589 h 62589"/>
                  <a:gd name="connsiteX15" fmla="*/ 83821 w 112835"/>
                  <a:gd name="connsiteY15" fmla="*/ 62589 h 62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835" h="62589">
                    <a:moveTo>
                      <a:pt x="83821" y="62589"/>
                    </a:moveTo>
                    <a:cubicBezTo>
                      <a:pt x="83821" y="62589"/>
                      <a:pt x="83821" y="62589"/>
                      <a:pt x="83821" y="62589"/>
                    </a:cubicBezTo>
                    <a:cubicBezTo>
                      <a:pt x="51582" y="52918"/>
                      <a:pt x="0" y="36798"/>
                      <a:pt x="0" y="20679"/>
                    </a:cubicBezTo>
                    <a:cubicBezTo>
                      <a:pt x="0" y="14231"/>
                      <a:pt x="3224" y="7783"/>
                      <a:pt x="6448" y="4559"/>
                    </a:cubicBezTo>
                    <a:cubicBezTo>
                      <a:pt x="12895" y="1335"/>
                      <a:pt x="19343" y="-1888"/>
                      <a:pt x="32239" y="1335"/>
                    </a:cubicBezTo>
                    <a:cubicBezTo>
                      <a:pt x="38687" y="1335"/>
                      <a:pt x="51582" y="4559"/>
                      <a:pt x="64478" y="11007"/>
                    </a:cubicBezTo>
                    <a:cubicBezTo>
                      <a:pt x="80597" y="14231"/>
                      <a:pt x="99940" y="20679"/>
                      <a:pt x="106388" y="20679"/>
                    </a:cubicBezTo>
                    <a:cubicBezTo>
                      <a:pt x="109612" y="20679"/>
                      <a:pt x="112836" y="23902"/>
                      <a:pt x="112836" y="27126"/>
                    </a:cubicBezTo>
                    <a:cubicBezTo>
                      <a:pt x="112836" y="30350"/>
                      <a:pt x="109612" y="33574"/>
                      <a:pt x="106388" y="33574"/>
                    </a:cubicBezTo>
                    <a:cubicBezTo>
                      <a:pt x="99940" y="33574"/>
                      <a:pt x="80597" y="27126"/>
                      <a:pt x="64478" y="23902"/>
                    </a:cubicBezTo>
                    <a:cubicBezTo>
                      <a:pt x="51582" y="20679"/>
                      <a:pt x="38687" y="17455"/>
                      <a:pt x="32239" y="17455"/>
                    </a:cubicBezTo>
                    <a:cubicBezTo>
                      <a:pt x="22568" y="14231"/>
                      <a:pt x="19343" y="17455"/>
                      <a:pt x="16119" y="17455"/>
                    </a:cubicBezTo>
                    <a:cubicBezTo>
                      <a:pt x="16119" y="17455"/>
                      <a:pt x="12895" y="17455"/>
                      <a:pt x="16119" y="23902"/>
                    </a:cubicBezTo>
                    <a:cubicBezTo>
                      <a:pt x="19343" y="30350"/>
                      <a:pt x="51582" y="46470"/>
                      <a:pt x="90268" y="56141"/>
                    </a:cubicBezTo>
                    <a:cubicBezTo>
                      <a:pt x="93492" y="56141"/>
                      <a:pt x="96716" y="59365"/>
                      <a:pt x="93492" y="62589"/>
                    </a:cubicBezTo>
                    <a:cubicBezTo>
                      <a:pt x="90268" y="59365"/>
                      <a:pt x="87045" y="62589"/>
                      <a:pt x="83821" y="6258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34C827B9-5316-4B5E-B8D2-D52239B6D81F}"/>
                  </a:ext>
                </a:extLst>
              </p:cNvPr>
              <p:cNvSpPr/>
              <p:nvPr/>
            </p:nvSpPr>
            <p:spPr>
              <a:xfrm>
                <a:off x="10705267" y="8458635"/>
                <a:ext cx="146507" cy="48358"/>
              </a:xfrm>
              <a:custGeom>
                <a:avLst/>
                <a:gdLst>
                  <a:gd name="connsiteX0" fmla="*/ 56239 w 146507"/>
                  <a:gd name="connsiteY0" fmla="*/ 48358 h 48358"/>
                  <a:gd name="connsiteX1" fmla="*/ 56239 w 146507"/>
                  <a:gd name="connsiteY1" fmla="*/ 48358 h 48358"/>
                  <a:gd name="connsiteX2" fmla="*/ 1432 w 146507"/>
                  <a:gd name="connsiteY2" fmla="*/ 25791 h 48358"/>
                  <a:gd name="connsiteX3" fmla="*/ 1432 w 146507"/>
                  <a:gd name="connsiteY3" fmla="*/ 12895 h 48358"/>
                  <a:gd name="connsiteX4" fmla="*/ 27224 w 146507"/>
                  <a:gd name="connsiteY4" fmla="*/ 0 h 48358"/>
                  <a:gd name="connsiteX5" fmla="*/ 27224 w 146507"/>
                  <a:gd name="connsiteY5" fmla="*/ 0 h 48358"/>
                  <a:gd name="connsiteX6" fmla="*/ 82030 w 146507"/>
                  <a:gd name="connsiteY6" fmla="*/ 12895 h 48358"/>
                  <a:gd name="connsiteX7" fmla="*/ 91702 w 146507"/>
                  <a:gd name="connsiteY7" fmla="*/ 16119 h 48358"/>
                  <a:gd name="connsiteX8" fmla="*/ 140060 w 146507"/>
                  <a:gd name="connsiteY8" fmla="*/ 22567 h 48358"/>
                  <a:gd name="connsiteX9" fmla="*/ 146507 w 146507"/>
                  <a:gd name="connsiteY9" fmla="*/ 29015 h 48358"/>
                  <a:gd name="connsiteX10" fmla="*/ 140060 w 146507"/>
                  <a:gd name="connsiteY10" fmla="*/ 35463 h 48358"/>
                  <a:gd name="connsiteX11" fmla="*/ 91702 w 146507"/>
                  <a:gd name="connsiteY11" fmla="*/ 25791 h 48358"/>
                  <a:gd name="connsiteX12" fmla="*/ 82030 w 146507"/>
                  <a:gd name="connsiteY12" fmla="*/ 22567 h 48358"/>
                  <a:gd name="connsiteX13" fmla="*/ 30448 w 146507"/>
                  <a:gd name="connsiteY13" fmla="*/ 9672 h 48358"/>
                  <a:gd name="connsiteX14" fmla="*/ 30448 w 146507"/>
                  <a:gd name="connsiteY14" fmla="*/ 9672 h 48358"/>
                  <a:gd name="connsiteX15" fmla="*/ 14329 w 146507"/>
                  <a:gd name="connsiteY15" fmla="*/ 16119 h 48358"/>
                  <a:gd name="connsiteX16" fmla="*/ 14329 w 146507"/>
                  <a:gd name="connsiteY16" fmla="*/ 19343 h 48358"/>
                  <a:gd name="connsiteX17" fmla="*/ 59463 w 146507"/>
                  <a:gd name="connsiteY17" fmla="*/ 35463 h 48358"/>
                  <a:gd name="connsiteX18" fmla="*/ 62687 w 146507"/>
                  <a:gd name="connsiteY18" fmla="*/ 41911 h 48358"/>
                  <a:gd name="connsiteX19" fmla="*/ 56239 w 146507"/>
                  <a:gd name="connsiteY19" fmla="*/ 48358 h 48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46507" h="48358">
                    <a:moveTo>
                      <a:pt x="56239" y="48358"/>
                    </a:moveTo>
                    <a:cubicBezTo>
                      <a:pt x="53015" y="48358"/>
                      <a:pt x="53015" y="48358"/>
                      <a:pt x="56239" y="48358"/>
                    </a:cubicBezTo>
                    <a:cubicBezTo>
                      <a:pt x="36895" y="45134"/>
                      <a:pt x="4657" y="35463"/>
                      <a:pt x="1432" y="25791"/>
                    </a:cubicBezTo>
                    <a:cubicBezTo>
                      <a:pt x="-1791" y="22567"/>
                      <a:pt x="1432" y="16119"/>
                      <a:pt x="1432" y="12895"/>
                    </a:cubicBezTo>
                    <a:cubicBezTo>
                      <a:pt x="7881" y="6448"/>
                      <a:pt x="17552" y="0"/>
                      <a:pt x="27224" y="0"/>
                    </a:cubicBezTo>
                    <a:lnTo>
                      <a:pt x="27224" y="0"/>
                    </a:lnTo>
                    <a:cubicBezTo>
                      <a:pt x="36895" y="0"/>
                      <a:pt x="59463" y="6448"/>
                      <a:pt x="82030" y="12895"/>
                    </a:cubicBezTo>
                    <a:cubicBezTo>
                      <a:pt x="85254" y="12895"/>
                      <a:pt x="88478" y="16119"/>
                      <a:pt x="91702" y="16119"/>
                    </a:cubicBezTo>
                    <a:cubicBezTo>
                      <a:pt x="98149" y="16119"/>
                      <a:pt x="127165" y="22567"/>
                      <a:pt x="140060" y="22567"/>
                    </a:cubicBezTo>
                    <a:cubicBezTo>
                      <a:pt x="143284" y="22567"/>
                      <a:pt x="146507" y="25791"/>
                      <a:pt x="146507" y="29015"/>
                    </a:cubicBezTo>
                    <a:cubicBezTo>
                      <a:pt x="146507" y="32239"/>
                      <a:pt x="143284" y="35463"/>
                      <a:pt x="140060" y="35463"/>
                    </a:cubicBezTo>
                    <a:cubicBezTo>
                      <a:pt x="136836" y="35463"/>
                      <a:pt x="98149" y="29015"/>
                      <a:pt x="91702" y="25791"/>
                    </a:cubicBezTo>
                    <a:cubicBezTo>
                      <a:pt x="88478" y="25791"/>
                      <a:pt x="85254" y="25791"/>
                      <a:pt x="82030" y="22567"/>
                    </a:cubicBezTo>
                    <a:cubicBezTo>
                      <a:pt x="69134" y="19343"/>
                      <a:pt x="40119" y="9672"/>
                      <a:pt x="30448" y="9672"/>
                    </a:cubicBezTo>
                    <a:lnTo>
                      <a:pt x="30448" y="9672"/>
                    </a:lnTo>
                    <a:cubicBezTo>
                      <a:pt x="24000" y="9672"/>
                      <a:pt x="14329" y="12895"/>
                      <a:pt x="14329" y="16119"/>
                    </a:cubicBezTo>
                    <a:cubicBezTo>
                      <a:pt x="14329" y="16119"/>
                      <a:pt x="14329" y="16119"/>
                      <a:pt x="14329" y="19343"/>
                    </a:cubicBezTo>
                    <a:cubicBezTo>
                      <a:pt x="17552" y="22567"/>
                      <a:pt x="36895" y="32239"/>
                      <a:pt x="59463" y="35463"/>
                    </a:cubicBezTo>
                    <a:cubicBezTo>
                      <a:pt x="62687" y="35463"/>
                      <a:pt x="65910" y="38686"/>
                      <a:pt x="62687" y="41911"/>
                    </a:cubicBezTo>
                    <a:cubicBezTo>
                      <a:pt x="59463" y="48358"/>
                      <a:pt x="56239" y="48358"/>
                      <a:pt x="56239" y="4835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068674E3-1402-45A6-967C-94656B8EC915}"/>
                </a:ext>
              </a:extLst>
            </p:cNvPr>
            <p:cNvSpPr/>
            <p:nvPr/>
          </p:nvSpPr>
          <p:spPr>
            <a:xfrm>
              <a:off x="10832651" y="8516665"/>
              <a:ext cx="835026" cy="715382"/>
            </a:xfrm>
            <a:custGeom>
              <a:avLst/>
              <a:gdLst>
                <a:gd name="connsiteX0" fmla="*/ 821870 w 835026"/>
                <a:gd name="connsiteY0" fmla="*/ 635104 h 715382"/>
                <a:gd name="connsiteX1" fmla="*/ 647780 w 835026"/>
                <a:gd name="connsiteY1" fmla="*/ 454567 h 715382"/>
                <a:gd name="connsiteX2" fmla="*/ 199661 w 835026"/>
                <a:gd name="connsiteY2" fmla="*/ 499702 h 715382"/>
                <a:gd name="connsiteX3" fmla="*/ 177094 w 835026"/>
                <a:gd name="connsiteY3" fmla="*/ 0 h 715382"/>
                <a:gd name="connsiteX4" fmla="*/ 44915 w 835026"/>
                <a:gd name="connsiteY4" fmla="*/ 41911 h 715382"/>
                <a:gd name="connsiteX5" fmla="*/ 15900 w 835026"/>
                <a:gd name="connsiteY5" fmla="*/ 654448 h 715382"/>
                <a:gd name="connsiteX6" fmla="*/ 654228 w 835026"/>
                <a:gd name="connsiteY6" fmla="*/ 712477 h 715382"/>
                <a:gd name="connsiteX7" fmla="*/ 821870 w 835026"/>
                <a:gd name="connsiteY7" fmla="*/ 635104 h 715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5026" h="715382">
                  <a:moveTo>
                    <a:pt x="821870" y="635104"/>
                  </a:moveTo>
                  <a:cubicBezTo>
                    <a:pt x="867004" y="593194"/>
                    <a:pt x="792855" y="441672"/>
                    <a:pt x="647780" y="454567"/>
                  </a:cubicBezTo>
                  <a:cubicBezTo>
                    <a:pt x="438228" y="470686"/>
                    <a:pt x="199661" y="499702"/>
                    <a:pt x="199661" y="499702"/>
                  </a:cubicBezTo>
                  <a:lnTo>
                    <a:pt x="177094" y="0"/>
                  </a:lnTo>
                  <a:lnTo>
                    <a:pt x="44915" y="41911"/>
                  </a:lnTo>
                  <a:cubicBezTo>
                    <a:pt x="44915" y="41911"/>
                    <a:pt x="-32458" y="570627"/>
                    <a:pt x="15900" y="654448"/>
                  </a:cubicBezTo>
                  <a:cubicBezTo>
                    <a:pt x="57810" y="728597"/>
                    <a:pt x="360855" y="715701"/>
                    <a:pt x="654228" y="712477"/>
                  </a:cubicBezTo>
                  <a:cubicBezTo>
                    <a:pt x="731601" y="712477"/>
                    <a:pt x="763840" y="686687"/>
                    <a:pt x="821870" y="635104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2F582298-B178-4C5C-8334-EA7AD62B2721}"/>
                </a:ext>
              </a:extLst>
            </p:cNvPr>
            <p:cNvSpPr/>
            <p:nvPr/>
          </p:nvSpPr>
          <p:spPr>
            <a:xfrm>
              <a:off x="11304990" y="8922865"/>
              <a:ext cx="462366" cy="340944"/>
            </a:xfrm>
            <a:custGeom>
              <a:avLst/>
              <a:gdLst>
                <a:gd name="connsiteX0" fmla="*/ 14247 w 462366"/>
                <a:gd name="connsiteY0" fmla="*/ 8 h 340944"/>
                <a:gd name="connsiteX1" fmla="*/ 462367 w 462366"/>
                <a:gd name="connsiteY1" fmla="*/ 116068 h 340944"/>
                <a:gd name="connsiteX2" fmla="*/ 20695 w 462366"/>
                <a:gd name="connsiteY2" fmla="*/ 338516 h 340944"/>
                <a:gd name="connsiteX3" fmla="*/ 14247 w 462366"/>
                <a:gd name="connsiteY3" fmla="*/ 8 h 340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366" h="340944">
                  <a:moveTo>
                    <a:pt x="14247" y="8"/>
                  </a:moveTo>
                  <a:cubicBezTo>
                    <a:pt x="14247" y="8"/>
                    <a:pt x="462367" y="-3215"/>
                    <a:pt x="462367" y="116068"/>
                  </a:cubicBezTo>
                  <a:cubicBezTo>
                    <a:pt x="462367" y="380427"/>
                    <a:pt x="20695" y="338516"/>
                    <a:pt x="20695" y="338516"/>
                  </a:cubicBezTo>
                  <a:cubicBezTo>
                    <a:pt x="20695" y="338516"/>
                    <a:pt x="-21215" y="174098"/>
                    <a:pt x="14247" y="8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2266A8C1-788E-4199-A361-D21CE50F4716}"/>
                </a:ext>
              </a:extLst>
            </p:cNvPr>
            <p:cNvSpPr/>
            <p:nvPr/>
          </p:nvSpPr>
          <p:spPr>
            <a:xfrm>
              <a:off x="11528789" y="9190456"/>
              <a:ext cx="41911" cy="280477"/>
            </a:xfrm>
            <a:custGeom>
              <a:avLst/>
              <a:gdLst>
                <a:gd name="connsiteX0" fmla="*/ 6448 w 41911"/>
                <a:gd name="connsiteY0" fmla="*/ 280478 h 280477"/>
                <a:gd name="connsiteX1" fmla="*/ 6448 w 41911"/>
                <a:gd name="connsiteY1" fmla="*/ 280478 h 280477"/>
                <a:gd name="connsiteX2" fmla="*/ 0 w 41911"/>
                <a:gd name="connsiteY2" fmla="*/ 274030 h 280477"/>
                <a:gd name="connsiteX3" fmla="*/ 29016 w 41911"/>
                <a:gd name="connsiteY3" fmla="*/ 6448 h 280477"/>
                <a:gd name="connsiteX4" fmla="*/ 35463 w 41911"/>
                <a:gd name="connsiteY4" fmla="*/ 0 h 280477"/>
                <a:gd name="connsiteX5" fmla="*/ 41911 w 41911"/>
                <a:gd name="connsiteY5" fmla="*/ 6448 h 280477"/>
                <a:gd name="connsiteX6" fmla="*/ 12896 w 41911"/>
                <a:gd name="connsiteY6" fmla="*/ 270806 h 280477"/>
                <a:gd name="connsiteX7" fmla="*/ 6448 w 41911"/>
                <a:gd name="connsiteY7" fmla="*/ 280478 h 28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911" h="280477">
                  <a:moveTo>
                    <a:pt x="6448" y="280478"/>
                  </a:moveTo>
                  <a:lnTo>
                    <a:pt x="6448" y="280478"/>
                  </a:lnTo>
                  <a:cubicBezTo>
                    <a:pt x="3224" y="280478"/>
                    <a:pt x="0" y="277254"/>
                    <a:pt x="0" y="274030"/>
                  </a:cubicBezTo>
                  <a:cubicBezTo>
                    <a:pt x="6448" y="193433"/>
                    <a:pt x="29016" y="9672"/>
                    <a:pt x="29016" y="6448"/>
                  </a:cubicBezTo>
                  <a:cubicBezTo>
                    <a:pt x="29016" y="3224"/>
                    <a:pt x="32239" y="0"/>
                    <a:pt x="35463" y="0"/>
                  </a:cubicBezTo>
                  <a:cubicBezTo>
                    <a:pt x="38687" y="0"/>
                    <a:pt x="41911" y="3224"/>
                    <a:pt x="41911" y="6448"/>
                  </a:cubicBezTo>
                  <a:cubicBezTo>
                    <a:pt x="41911" y="9672"/>
                    <a:pt x="19343" y="193433"/>
                    <a:pt x="12896" y="270806"/>
                  </a:cubicBezTo>
                  <a:cubicBezTo>
                    <a:pt x="12896" y="280478"/>
                    <a:pt x="9672" y="280478"/>
                    <a:pt x="6448" y="280478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3FF9C2F9-93A3-4DE5-896E-551F36436227}"/>
                </a:ext>
              </a:extLst>
            </p:cNvPr>
            <p:cNvSpPr/>
            <p:nvPr/>
          </p:nvSpPr>
          <p:spPr>
            <a:xfrm>
              <a:off x="11312789" y="8916426"/>
              <a:ext cx="380417" cy="58029"/>
            </a:xfrm>
            <a:custGeom>
              <a:avLst/>
              <a:gdLst>
                <a:gd name="connsiteX0" fmla="*/ 377193 w 380417"/>
                <a:gd name="connsiteY0" fmla="*/ 58030 h 58029"/>
                <a:gd name="connsiteX1" fmla="*/ 377193 w 380417"/>
                <a:gd name="connsiteY1" fmla="*/ 58030 h 58029"/>
                <a:gd name="connsiteX2" fmla="*/ 6447 w 380417"/>
                <a:gd name="connsiteY2" fmla="*/ 12896 h 58029"/>
                <a:gd name="connsiteX3" fmla="*/ 0 w 380417"/>
                <a:gd name="connsiteY3" fmla="*/ 6448 h 58029"/>
                <a:gd name="connsiteX4" fmla="*/ 6447 w 380417"/>
                <a:gd name="connsiteY4" fmla="*/ 0 h 58029"/>
                <a:gd name="connsiteX5" fmla="*/ 6447 w 380417"/>
                <a:gd name="connsiteY5" fmla="*/ 0 h 58029"/>
                <a:gd name="connsiteX6" fmla="*/ 377193 w 380417"/>
                <a:gd name="connsiteY6" fmla="*/ 45135 h 58029"/>
                <a:gd name="connsiteX7" fmla="*/ 380418 w 380417"/>
                <a:gd name="connsiteY7" fmla="*/ 51582 h 58029"/>
                <a:gd name="connsiteX8" fmla="*/ 377193 w 380417"/>
                <a:gd name="connsiteY8" fmla="*/ 58030 h 58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0417" h="58029">
                  <a:moveTo>
                    <a:pt x="377193" y="58030"/>
                  </a:moveTo>
                  <a:cubicBezTo>
                    <a:pt x="373970" y="58030"/>
                    <a:pt x="373970" y="58030"/>
                    <a:pt x="377193" y="58030"/>
                  </a:cubicBezTo>
                  <a:cubicBezTo>
                    <a:pt x="280477" y="16119"/>
                    <a:pt x="9671" y="12896"/>
                    <a:pt x="6447" y="12896"/>
                  </a:cubicBezTo>
                  <a:cubicBezTo>
                    <a:pt x="3224" y="12896"/>
                    <a:pt x="0" y="9672"/>
                    <a:pt x="0" y="6448"/>
                  </a:cubicBezTo>
                  <a:cubicBezTo>
                    <a:pt x="0" y="3224"/>
                    <a:pt x="3224" y="0"/>
                    <a:pt x="6447" y="0"/>
                  </a:cubicBezTo>
                  <a:lnTo>
                    <a:pt x="6447" y="0"/>
                  </a:lnTo>
                  <a:cubicBezTo>
                    <a:pt x="16119" y="0"/>
                    <a:pt x="280477" y="3224"/>
                    <a:pt x="377193" y="45135"/>
                  </a:cubicBezTo>
                  <a:cubicBezTo>
                    <a:pt x="380418" y="45135"/>
                    <a:pt x="380418" y="48358"/>
                    <a:pt x="380418" y="51582"/>
                  </a:cubicBezTo>
                  <a:cubicBezTo>
                    <a:pt x="380418" y="58030"/>
                    <a:pt x="377193" y="58030"/>
                    <a:pt x="377193" y="58030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5" name="图形 1">
              <a:extLst>
                <a:ext uri="{FF2B5EF4-FFF2-40B4-BE49-F238E27FC236}">
                  <a16:creationId xmlns:a16="http://schemas.microsoft.com/office/drawing/2014/main" id="{26166387-19E1-459A-9FCF-B3CB6832445F}"/>
                </a:ext>
              </a:extLst>
            </p:cNvPr>
            <p:cNvGrpSpPr/>
            <p:nvPr/>
          </p:nvGrpSpPr>
          <p:grpSpPr>
            <a:xfrm>
              <a:off x="11646386" y="8207172"/>
              <a:ext cx="646975" cy="402985"/>
              <a:chOff x="11646386" y="8207172"/>
              <a:chExt cx="646975" cy="402985"/>
            </a:xfrm>
          </p:grpSpPr>
          <p:grpSp>
            <p:nvGrpSpPr>
              <p:cNvPr id="126" name="图形 1">
                <a:extLst>
                  <a:ext uri="{FF2B5EF4-FFF2-40B4-BE49-F238E27FC236}">
                    <a16:creationId xmlns:a16="http://schemas.microsoft.com/office/drawing/2014/main" id="{BD37E04C-E226-46FF-969A-3EC17A8EF2C3}"/>
                  </a:ext>
                </a:extLst>
              </p:cNvPr>
              <p:cNvGrpSpPr/>
              <p:nvPr/>
            </p:nvGrpSpPr>
            <p:grpSpPr>
              <a:xfrm>
                <a:off x="11646386" y="8207172"/>
                <a:ext cx="644460" cy="402985"/>
                <a:chOff x="11646386" y="8207172"/>
                <a:chExt cx="644460" cy="402985"/>
              </a:xfrm>
            </p:grpSpPr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CEE9C164-D465-424F-A002-027C2465F1AF}"/>
                    </a:ext>
                  </a:extLst>
                </p:cNvPr>
                <p:cNvSpPr/>
                <p:nvPr/>
              </p:nvSpPr>
              <p:spPr>
                <a:xfrm>
                  <a:off x="11646386" y="8210013"/>
                  <a:ext cx="520761" cy="400144"/>
                </a:xfrm>
                <a:custGeom>
                  <a:avLst/>
                  <a:gdLst>
                    <a:gd name="connsiteX0" fmla="*/ 104851 w 520761"/>
                    <a:gd name="connsiteY0" fmla="*/ 229279 h 400144"/>
                    <a:gd name="connsiteX1" fmla="*/ 66164 w 520761"/>
                    <a:gd name="connsiteY1" fmla="*/ 400144 h 400144"/>
                    <a:gd name="connsiteX2" fmla="*/ 37150 w 520761"/>
                    <a:gd name="connsiteY2" fmla="*/ 390473 h 400144"/>
                    <a:gd name="connsiteX3" fmla="*/ 133866 w 520761"/>
                    <a:gd name="connsiteY3" fmla="*/ 39070 h 400144"/>
                    <a:gd name="connsiteX4" fmla="*/ 520732 w 520761"/>
                    <a:gd name="connsiteY4" fmla="*/ 142234 h 400144"/>
                    <a:gd name="connsiteX5" fmla="*/ 104851 w 520761"/>
                    <a:gd name="connsiteY5" fmla="*/ 229279 h 400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20761" h="400144">
                      <a:moveTo>
                        <a:pt x="104851" y="229279"/>
                      </a:moveTo>
                      <a:cubicBezTo>
                        <a:pt x="88732" y="245398"/>
                        <a:pt x="69388" y="329219"/>
                        <a:pt x="66164" y="400144"/>
                      </a:cubicBezTo>
                      <a:cubicBezTo>
                        <a:pt x="66164" y="400144"/>
                        <a:pt x="50045" y="396921"/>
                        <a:pt x="37150" y="390473"/>
                      </a:cubicBezTo>
                      <a:cubicBezTo>
                        <a:pt x="-1537" y="322771"/>
                        <a:pt x="-53120" y="148682"/>
                        <a:pt x="133866" y="39070"/>
                      </a:cubicBezTo>
                      <a:cubicBezTo>
                        <a:pt x="295060" y="-54423"/>
                        <a:pt x="453030" y="35846"/>
                        <a:pt x="520732" y="142234"/>
                      </a:cubicBezTo>
                      <a:cubicBezTo>
                        <a:pt x="523956" y="142234"/>
                        <a:pt x="262821" y="68085"/>
                        <a:pt x="104851" y="22927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026CA8B8-B02D-49F2-A0B4-94CC17BD820B}"/>
                    </a:ext>
                  </a:extLst>
                </p:cNvPr>
                <p:cNvSpPr/>
                <p:nvPr/>
              </p:nvSpPr>
              <p:spPr>
                <a:xfrm>
                  <a:off x="11738341" y="8247605"/>
                  <a:ext cx="552505" cy="269060"/>
                </a:xfrm>
                <a:custGeom>
                  <a:avLst/>
                  <a:gdLst>
                    <a:gd name="connsiteX0" fmla="*/ 0 w 552505"/>
                    <a:gd name="connsiteY0" fmla="*/ 204583 h 269060"/>
                    <a:gd name="connsiteX1" fmla="*/ 212776 w 552505"/>
                    <a:gd name="connsiteY1" fmla="*/ 46612 h 269060"/>
                    <a:gd name="connsiteX2" fmla="*/ 548060 w 552505"/>
                    <a:gd name="connsiteY2" fmla="*/ 69180 h 269060"/>
                    <a:gd name="connsiteX3" fmla="*/ 454567 w 552505"/>
                    <a:gd name="connsiteY3" fmla="*/ 269060 h 269060"/>
                    <a:gd name="connsiteX4" fmla="*/ 0 w 552505"/>
                    <a:gd name="connsiteY4" fmla="*/ 204583 h 269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505" h="269060">
                      <a:moveTo>
                        <a:pt x="0" y="204583"/>
                      </a:moveTo>
                      <a:cubicBezTo>
                        <a:pt x="0" y="204583"/>
                        <a:pt x="61255" y="117538"/>
                        <a:pt x="212776" y="46612"/>
                      </a:cubicBezTo>
                      <a:cubicBezTo>
                        <a:pt x="370746" y="-27536"/>
                        <a:pt x="519045" y="-8193"/>
                        <a:pt x="548060" y="69180"/>
                      </a:cubicBezTo>
                      <a:cubicBezTo>
                        <a:pt x="577075" y="146553"/>
                        <a:pt x="454567" y="269060"/>
                        <a:pt x="454567" y="269060"/>
                      </a:cubicBezTo>
                      <a:cubicBezTo>
                        <a:pt x="454567" y="269060"/>
                        <a:pt x="280478" y="88523"/>
                        <a:pt x="0" y="204583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4F8F4D24-BC8E-4B31-8E50-35051A846A8B}"/>
                    </a:ext>
                  </a:extLst>
                </p:cNvPr>
                <p:cNvSpPr/>
                <p:nvPr/>
              </p:nvSpPr>
              <p:spPr>
                <a:xfrm>
                  <a:off x="11748013" y="8207172"/>
                  <a:ext cx="61253" cy="58029"/>
                </a:xfrm>
                <a:custGeom>
                  <a:avLst/>
                  <a:gdLst>
                    <a:gd name="connsiteX0" fmla="*/ 0 w 61253"/>
                    <a:gd name="connsiteY0" fmla="*/ 29015 h 58029"/>
                    <a:gd name="connsiteX1" fmla="*/ 32239 w 61253"/>
                    <a:gd name="connsiteY1" fmla="*/ 0 h 58029"/>
                    <a:gd name="connsiteX2" fmla="*/ 61254 w 61253"/>
                    <a:gd name="connsiteY2" fmla="*/ 29015 h 58029"/>
                    <a:gd name="connsiteX3" fmla="*/ 29015 w 61253"/>
                    <a:gd name="connsiteY3" fmla="*/ 58030 h 58029"/>
                    <a:gd name="connsiteX4" fmla="*/ 0 w 61253"/>
                    <a:gd name="connsiteY4" fmla="*/ 29015 h 580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1253" h="58029">
                      <a:moveTo>
                        <a:pt x="0" y="29015"/>
                      </a:moveTo>
                      <a:cubicBezTo>
                        <a:pt x="0" y="12896"/>
                        <a:pt x="12895" y="0"/>
                        <a:pt x="32239" y="0"/>
                      </a:cubicBezTo>
                      <a:cubicBezTo>
                        <a:pt x="48358" y="0"/>
                        <a:pt x="61254" y="12896"/>
                        <a:pt x="61254" y="29015"/>
                      </a:cubicBezTo>
                      <a:cubicBezTo>
                        <a:pt x="61254" y="45135"/>
                        <a:pt x="48358" y="58030"/>
                        <a:pt x="29015" y="58030"/>
                      </a:cubicBezTo>
                      <a:cubicBezTo>
                        <a:pt x="16119" y="58030"/>
                        <a:pt x="0" y="45135"/>
                        <a:pt x="0" y="29015"/>
                      </a:cubicBezTo>
                      <a:close/>
                    </a:path>
                  </a:pathLst>
                </a:custGeom>
                <a:solidFill>
                  <a:srgbClr val="38343B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31D17C8A-D020-41A5-BF2D-E1CECB953AE8}"/>
                  </a:ext>
                </a:extLst>
              </p:cNvPr>
              <p:cNvSpPr/>
              <p:nvPr/>
            </p:nvSpPr>
            <p:spPr>
              <a:xfrm>
                <a:off x="11732700" y="8239638"/>
                <a:ext cx="560661" cy="283475"/>
              </a:xfrm>
              <a:custGeom>
                <a:avLst/>
                <a:gdLst>
                  <a:gd name="connsiteX0" fmla="*/ 456984 w 560661"/>
                  <a:gd name="connsiteY0" fmla="*/ 283475 h 283475"/>
                  <a:gd name="connsiteX1" fmla="*/ 453761 w 560661"/>
                  <a:gd name="connsiteY1" fmla="*/ 283475 h 283475"/>
                  <a:gd name="connsiteX2" fmla="*/ 453761 w 560661"/>
                  <a:gd name="connsiteY2" fmla="*/ 273803 h 283475"/>
                  <a:gd name="connsiteX3" fmla="*/ 547254 w 560661"/>
                  <a:gd name="connsiteY3" fmla="*/ 80371 h 283475"/>
                  <a:gd name="connsiteX4" fmla="*/ 360268 w 560661"/>
                  <a:gd name="connsiteY4" fmla="*/ 22341 h 283475"/>
                  <a:gd name="connsiteX5" fmla="*/ 12089 w 560661"/>
                  <a:gd name="connsiteY5" fmla="*/ 215773 h 283475"/>
                  <a:gd name="connsiteX6" fmla="*/ 2418 w 560661"/>
                  <a:gd name="connsiteY6" fmla="*/ 215773 h 283475"/>
                  <a:gd name="connsiteX7" fmla="*/ 2418 w 560661"/>
                  <a:gd name="connsiteY7" fmla="*/ 206102 h 283475"/>
                  <a:gd name="connsiteX8" fmla="*/ 357045 w 560661"/>
                  <a:gd name="connsiteY8" fmla="*/ 6221 h 283475"/>
                  <a:gd name="connsiteX9" fmla="*/ 556925 w 560661"/>
                  <a:gd name="connsiteY9" fmla="*/ 70699 h 283475"/>
                  <a:gd name="connsiteX10" fmla="*/ 463433 w 560661"/>
                  <a:gd name="connsiteY10" fmla="*/ 277027 h 283475"/>
                  <a:gd name="connsiteX11" fmla="*/ 456984 w 560661"/>
                  <a:gd name="connsiteY11" fmla="*/ 283475 h 283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60661" h="283475">
                    <a:moveTo>
                      <a:pt x="456984" y="283475"/>
                    </a:moveTo>
                    <a:cubicBezTo>
                      <a:pt x="456984" y="283475"/>
                      <a:pt x="453761" y="283475"/>
                      <a:pt x="453761" y="283475"/>
                    </a:cubicBezTo>
                    <a:cubicBezTo>
                      <a:pt x="450537" y="280251"/>
                      <a:pt x="450537" y="277027"/>
                      <a:pt x="453761" y="273803"/>
                    </a:cubicBezTo>
                    <a:cubicBezTo>
                      <a:pt x="453761" y="273803"/>
                      <a:pt x="569820" y="141625"/>
                      <a:pt x="547254" y="80371"/>
                    </a:cubicBezTo>
                    <a:cubicBezTo>
                      <a:pt x="518239" y="6221"/>
                      <a:pt x="408626" y="15893"/>
                      <a:pt x="360268" y="22341"/>
                    </a:cubicBezTo>
                    <a:cubicBezTo>
                      <a:pt x="263552" y="38460"/>
                      <a:pt x="124925" y="73923"/>
                      <a:pt x="12089" y="215773"/>
                    </a:cubicBezTo>
                    <a:cubicBezTo>
                      <a:pt x="8865" y="218998"/>
                      <a:pt x="5641" y="218998"/>
                      <a:pt x="2418" y="215773"/>
                    </a:cubicBezTo>
                    <a:cubicBezTo>
                      <a:pt x="-806" y="212550"/>
                      <a:pt x="-806" y="209326"/>
                      <a:pt x="2418" y="206102"/>
                    </a:cubicBezTo>
                    <a:cubicBezTo>
                      <a:pt x="118477" y="61028"/>
                      <a:pt x="260329" y="22341"/>
                      <a:pt x="357045" y="6221"/>
                    </a:cubicBezTo>
                    <a:cubicBezTo>
                      <a:pt x="405403" y="-3450"/>
                      <a:pt x="524686" y="-13122"/>
                      <a:pt x="556925" y="70699"/>
                    </a:cubicBezTo>
                    <a:cubicBezTo>
                      <a:pt x="582717" y="138401"/>
                      <a:pt x="466657" y="270580"/>
                      <a:pt x="463433" y="277027"/>
                    </a:cubicBezTo>
                    <a:cubicBezTo>
                      <a:pt x="460209" y="283475"/>
                      <a:pt x="460209" y="283475"/>
                      <a:pt x="456984" y="28347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CD13029E-0A96-4C07-AE95-0F16C7FB774E}"/>
                </a:ext>
              </a:extLst>
            </p:cNvPr>
            <p:cNvSpPr/>
            <p:nvPr/>
          </p:nvSpPr>
          <p:spPr>
            <a:xfrm>
              <a:off x="11659857" y="8600284"/>
              <a:ext cx="83140" cy="116940"/>
            </a:xfrm>
            <a:custGeom>
              <a:avLst/>
              <a:gdLst>
                <a:gd name="connsiteX0" fmla="*/ 68813 w 83140"/>
                <a:gd name="connsiteY0" fmla="*/ 16321 h 116940"/>
                <a:gd name="connsiteX1" fmla="*/ 7559 w 83140"/>
                <a:gd name="connsiteY1" fmla="*/ 6649 h 116940"/>
                <a:gd name="connsiteX2" fmla="*/ 68813 w 83140"/>
                <a:gd name="connsiteY2" fmla="*/ 113037 h 116940"/>
                <a:gd name="connsiteX3" fmla="*/ 68813 w 83140"/>
                <a:gd name="connsiteY3" fmla="*/ 16321 h 116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140" h="116940">
                  <a:moveTo>
                    <a:pt x="68813" y="16321"/>
                  </a:moveTo>
                  <a:cubicBezTo>
                    <a:pt x="68813" y="16321"/>
                    <a:pt x="33350" y="-12694"/>
                    <a:pt x="7559" y="6649"/>
                  </a:cubicBezTo>
                  <a:cubicBezTo>
                    <a:pt x="-18233" y="29216"/>
                    <a:pt x="26902" y="138828"/>
                    <a:pt x="68813" y="113037"/>
                  </a:cubicBezTo>
                  <a:cubicBezTo>
                    <a:pt x="101051" y="96918"/>
                    <a:pt x="68813" y="16321"/>
                    <a:pt x="68813" y="16321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7" name="图形 1">
              <a:extLst>
                <a:ext uri="{FF2B5EF4-FFF2-40B4-BE49-F238E27FC236}">
                  <a16:creationId xmlns:a16="http://schemas.microsoft.com/office/drawing/2014/main" id="{9A02263A-70D0-4AE7-A5B2-8341F5376A8D}"/>
                </a:ext>
              </a:extLst>
            </p:cNvPr>
            <p:cNvGrpSpPr/>
            <p:nvPr/>
          </p:nvGrpSpPr>
          <p:grpSpPr>
            <a:xfrm>
              <a:off x="12858340" y="8487650"/>
              <a:ext cx="550646" cy="651224"/>
              <a:chOff x="12858340" y="8487650"/>
              <a:chExt cx="550646" cy="651224"/>
            </a:xfrm>
          </p:grpSpPr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7EEE0CF0-41CB-4CD8-AF04-B2E9FFC73CBB}"/>
                  </a:ext>
                </a:extLst>
              </p:cNvPr>
              <p:cNvSpPr/>
              <p:nvPr/>
            </p:nvSpPr>
            <p:spPr>
              <a:xfrm>
                <a:off x="12858340" y="8487650"/>
                <a:ext cx="546747" cy="651224"/>
              </a:xfrm>
              <a:custGeom>
                <a:avLst/>
                <a:gdLst>
                  <a:gd name="connsiteX0" fmla="*/ 76061 w 546747"/>
                  <a:gd name="connsiteY0" fmla="*/ 6448 h 651224"/>
                  <a:gd name="connsiteX1" fmla="*/ 85733 w 546747"/>
                  <a:gd name="connsiteY1" fmla="*/ 0 h 651224"/>
                  <a:gd name="connsiteX2" fmla="*/ 546748 w 546747"/>
                  <a:gd name="connsiteY2" fmla="*/ 589970 h 651224"/>
                  <a:gd name="connsiteX3" fmla="*/ 498390 w 546747"/>
                  <a:gd name="connsiteY3" fmla="*/ 625433 h 651224"/>
                  <a:gd name="connsiteX4" fmla="*/ 482270 w 546747"/>
                  <a:gd name="connsiteY4" fmla="*/ 635105 h 651224"/>
                  <a:gd name="connsiteX5" fmla="*/ 417793 w 546747"/>
                  <a:gd name="connsiteY5" fmla="*/ 651224 h 651224"/>
                  <a:gd name="connsiteX6" fmla="*/ 317852 w 546747"/>
                  <a:gd name="connsiteY6" fmla="*/ 602866 h 651224"/>
                  <a:gd name="connsiteX7" fmla="*/ 314628 w 546747"/>
                  <a:gd name="connsiteY7" fmla="*/ 596418 h 651224"/>
                  <a:gd name="connsiteX8" fmla="*/ 288838 w 546747"/>
                  <a:gd name="connsiteY8" fmla="*/ 615761 h 651224"/>
                  <a:gd name="connsiteX9" fmla="*/ 166330 w 546747"/>
                  <a:gd name="connsiteY9" fmla="*/ 599642 h 651224"/>
                  <a:gd name="connsiteX10" fmla="*/ 18032 w 546747"/>
                  <a:gd name="connsiteY10" fmla="*/ 409433 h 651224"/>
                  <a:gd name="connsiteX11" fmla="*/ 34151 w 546747"/>
                  <a:gd name="connsiteY11" fmla="*/ 286926 h 651224"/>
                  <a:gd name="connsiteX12" fmla="*/ 59942 w 546747"/>
                  <a:gd name="connsiteY12" fmla="*/ 267582 h 651224"/>
                  <a:gd name="connsiteX13" fmla="*/ 43822 w 546747"/>
                  <a:gd name="connsiteY13" fmla="*/ 248239 h 651224"/>
                  <a:gd name="connsiteX14" fmla="*/ 5136 w 546747"/>
                  <a:gd name="connsiteY14" fmla="*/ 145075 h 651224"/>
                  <a:gd name="connsiteX15" fmla="*/ 27703 w 546747"/>
                  <a:gd name="connsiteY15" fmla="*/ 51582 h 651224"/>
                  <a:gd name="connsiteX16" fmla="*/ 76061 w 546747"/>
                  <a:gd name="connsiteY16" fmla="*/ 6448 h 651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46747" h="651224">
                    <a:moveTo>
                      <a:pt x="76061" y="6448"/>
                    </a:moveTo>
                    <a:lnTo>
                      <a:pt x="85733" y="0"/>
                    </a:lnTo>
                    <a:lnTo>
                      <a:pt x="546748" y="589970"/>
                    </a:lnTo>
                    <a:lnTo>
                      <a:pt x="498390" y="625433"/>
                    </a:lnTo>
                    <a:cubicBezTo>
                      <a:pt x="495166" y="628657"/>
                      <a:pt x="488719" y="631881"/>
                      <a:pt x="482270" y="635105"/>
                    </a:cubicBezTo>
                    <a:cubicBezTo>
                      <a:pt x="462927" y="648000"/>
                      <a:pt x="440360" y="651224"/>
                      <a:pt x="417793" y="651224"/>
                    </a:cubicBezTo>
                    <a:cubicBezTo>
                      <a:pt x="379106" y="651224"/>
                      <a:pt x="343644" y="635105"/>
                      <a:pt x="317852" y="602866"/>
                    </a:cubicBezTo>
                    <a:lnTo>
                      <a:pt x="314628" y="596418"/>
                    </a:lnTo>
                    <a:lnTo>
                      <a:pt x="288838" y="615761"/>
                    </a:lnTo>
                    <a:cubicBezTo>
                      <a:pt x="250151" y="644776"/>
                      <a:pt x="195345" y="638328"/>
                      <a:pt x="166330" y="599642"/>
                    </a:cubicBezTo>
                    <a:lnTo>
                      <a:pt x="18032" y="409433"/>
                    </a:lnTo>
                    <a:cubicBezTo>
                      <a:pt x="-10983" y="370746"/>
                      <a:pt x="-4536" y="315940"/>
                      <a:pt x="34151" y="286926"/>
                    </a:cubicBezTo>
                    <a:lnTo>
                      <a:pt x="59942" y="267582"/>
                    </a:lnTo>
                    <a:lnTo>
                      <a:pt x="43822" y="248239"/>
                    </a:lnTo>
                    <a:cubicBezTo>
                      <a:pt x="18032" y="216000"/>
                      <a:pt x="8360" y="180538"/>
                      <a:pt x="5136" y="145075"/>
                    </a:cubicBezTo>
                    <a:cubicBezTo>
                      <a:pt x="5136" y="112836"/>
                      <a:pt x="11584" y="80597"/>
                      <a:pt x="27703" y="51582"/>
                    </a:cubicBezTo>
                    <a:cubicBezTo>
                      <a:pt x="40598" y="38687"/>
                      <a:pt x="56718" y="22568"/>
                      <a:pt x="76061" y="6448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A0362678-F85A-4CF2-8725-30862AF6F637}"/>
                  </a:ext>
                </a:extLst>
              </p:cNvPr>
              <p:cNvSpPr/>
              <p:nvPr/>
            </p:nvSpPr>
            <p:spPr>
              <a:xfrm>
                <a:off x="12907709" y="8781023"/>
                <a:ext cx="252363" cy="287826"/>
              </a:xfrm>
              <a:custGeom>
                <a:avLst/>
                <a:gdLst>
                  <a:gd name="connsiteX0" fmla="*/ 62155 w 252363"/>
                  <a:gd name="connsiteY0" fmla="*/ 0 h 287826"/>
                  <a:gd name="connsiteX1" fmla="*/ 252364 w 252363"/>
                  <a:gd name="connsiteY1" fmla="*/ 245015 h 287826"/>
                  <a:gd name="connsiteX2" fmla="*/ 213678 w 252363"/>
                  <a:gd name="connsiteY2" fmla="*/ 274030 h 287826"/>
                  <a:gd name="connsiteX3" fmla="*/ 126633 w 252363"/>
                  <a:gd name="connsiteY3" fmla="*/ 264358 h 287826"/>
                  <a:gd name="connsiteX4" fmla="*/ 13797 w 252363"/>
                  <a:gd name="connsiteY4" fmla="*/ 119283 h 287826"/>
                  <a:gd name="connsiteX5" fmla="*/ 23468 w 252363"/>
                  <a:gd name="connsiteY5" fmla="*/ 32239 h 287826"/>
                  <a:gd name="connsiteX6" fmla="*/ 62155 w 252363"/>
                  <a:gd name="connsiteY6" fmla="*/ 0 h 2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2363" h="287826">
                    <a:moveTo>
                      <a:pt x="62155" y="0"/>
                    </a:moveTo>
                    <a:lnTo>
                      <a:pt x="252364" y="245015"/>
                    </a:lnTo>
                    <a:lnTo>
                      <a:pt x="213678" y="274030"/>
                    </a:lnTo>
                    <a:cubicBezTo>
                      <a:pt x="187886" y="296597"/>
                      <a:pt x="145976" y="290149"/>
                      <a:pt x="126633" y="264358"/>
                    </a:cubicBezTo>
                    <a:lnTo>
                      <a:pt x="13797" y="119283"/>
                    </a:lnTo>
                    <a:cubicBezTo>
                      <a:pt x="-8771" y="93492"/>
                      <a:pt x="-2322" y="51582"/>
                      <a:pt x="23468" y="32239"/>
                    </a:cubicBezTo>
                    <a:lnTo>
                      <a:pt x="62155" y="0"/>
                    </a:ln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3203176E-798A-4D11-A1E7-62A462E80FE8}"/>
                  </a:ext>
                </a:extLst>
              </p:cNvPr>
              <p:cNvSpPr/>
              <p:nvPr/>
            </p:nvSpPr>
            <p:spPr>
              <a:xfrm>
                <a:off x="13272234" y="8903736"/>
                <a:ext cx="136752" cy="139096"/>
              </a:xfrm>
              <a:custGeom>
                <a:avLst/>
                <a:gdLst>
                  <a:gd name="connsiteX0" fmla="*/ 26466 w 136752"/>
                  <a:gd name="connsiteY0" fmla="*/ 15914 h 139096"/>
                  <a:gd name="connsiteX1" fmla="*/ 13570 w 136752"/>
                  <a:gd name="connsiteY1" fmla="*/ 112631 h 139096"/>
                  <a:gd name="connsiteX2" fmla="*/ 110286 w 136752"/>
                  <a:gd name="connsiteY2" fmla="*/ 125526 h 139096"/>
                  <a:gd name="connsiteX3" fmla="*/ 123183 w 136752"/>
                  <a:gd name="connsiteY3" fmla="*/ 28810 h 139096"/>
                  <a:gd name="connsiteX4" fmla="*/ 26466 w 136752"/>
                  <a:gd name="connsiteY4" fmla="*/ 15914 h 139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752" h="139096">
                    <a:moveTo>
                      <a:pt x="26466" y="15914"/>
                    </a:moveTo>
                    <a:cubicBezTo>
                      <a:pt x="-2549" y="38481"/>
                      <a:pt x="-8997" y="83616"/>
                      <a:pt x="13570" y="112631"/>
                    </a:cubicBezTo>
                    <a:cubicBezTo>
                      <a:pt x="36138" y="141646"/>
                      <a:pt x="81272" y="148093"/>
                      <a:pt x="110286" y="125526"/>
                    </a:cubicBezTo>
                    <a:cubicBezTo>
                      <a:pt x="139302" y="102959"/>
                      <a:pt x="145749" y="57825"/>
                      <a:pt x="123183" y="28810"/>
                    </a:cubicBezTo>
                    <a:cubicBezTo>
                      <a:pt x="100615" y="-3429"/>
                      <a:pt x="55481" y="-9877"/>
                      <a:pt x="26466" y="15914"/>
                    </a:cubicBez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7713A7A6-3C90-4B81-8350-94F6741CCAFD}"/>
                  </a:ext>
                </a:extLst>
              </p:cNvPr>
              <p:cNvSpPr/>
              <p:nvPr/>
            </p:nvSpPr>
            <p:spPr>
              <a:xfrm>
                <a:off x="13298050" y="8926432"/>
                <a:ext cx="91567" cy="90583"/>
              </a:xfrm>
              <a:custGeom>
                <a:avLst/>
                <a:gdLst>
                  <a:gd name="connsiteX0" fmla="*/ 16769 w 91567"/>
                  <a:gd name="connsiteY0" fmla="*/ 9337 h 90583"/>
                  <a:gd name="connsiteX1" fmla="*/ 10321 w 91567"/>
                  <a:gd name="connsiteY1" fmla="*/ 73815 h 90583"/>
                  <a:gd name="connsiteX2" fmla="*/ 74798 w 91567"/>
                  <a:gd name="connsiteY2" fmla="*/ 80262 h 90583"/>
                  <a:gd name="connsiteX3" fmla="*/ 81247 w 91567"/>
                  <a:gd name="connsiteY3" fmla="*/ 15785 h 90583"/>
                  <a:gd name="connsiteX4" fmla="*/ 16769 w 91567"/>
                  <a:gd name="connsiteY4" fmla="*/ 9337 h 90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567" h="90583">
                    <a:moveTo>
                      <a:pt x="16769" y="9337"/>
                    </a:moveTo>
                    <a:cubicBezTo>
                      <a:pt x="-2575" y="25457"/>
                      <a:pt x="-5799" y="54471"/>
                      <a:pt x="10321" y="73815"/>
                    </a:cubicBezTo>
                    <a:cubicBezTo>
                      <a:pt x="26440" y="93158"/>
                      <a:pt x="55455" y="96382"/>
                      <a:pt x="74798" y="80262"/>
                    </a:cubicBezTo>
                    <a:cubicBezTo>
                      <a:pt x="94142" y="64143"/>
                      <a:pt x="97366" y="35128"/>
                      <a:pt x="81247" y="15785"/>
                    </a:cubicBezTo>
                    <a:cubicBezTo>
                      <a:pt x="65127" y="-335"/>
                      <a:pt x="36111" y="-6782"/>
                      <a:pt x="16769" y="9337"/>
                    </a:cubicBezTo>
                    <a:close/>
                  </a:path>
                </a:pathLst>
              </a:custGeom>
              <a:solidFill>
                <a:srgbClr val="F6EBE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84FCC63E-31B2-4C59-8716-7B68C396EDAE}"/>
                  </a:ext>
                </a:extLst>
              </p:cNvPr>
              <p:cNvSpPr/>
              <p:nvPr/>
            </p:nvSpPr>
            <p:spPr>
              <a:xfrm>
                <a:off x="12998204" y="8550473"/>
                <a:ext cx="136752" cy="137732"/>
              </a:xfrm>
              <a:custGeom>
                <a:avLst/>
                <a:gdLst>
                  <a:gd name="connsiteX0" fmla="*/ 26466 w 136752"/>
                  <a:gd name="connsiteY0" fmla="*/ 14550 h 137732"/>
                  <a:gd name="connsiteX1" fmla="*/ 13570 w 136752"/>
                  <a:gd name="connsiteY1" fmla="*/ 111267 h 137732"/>
                  <a:gd name="connsiteX2" fmla="*/ 110286 w 136752"/>
                  <a:gd name="connsiteY2" fmla="*/ 124162 h 137732"/>
                  <a:gd name="connsiteX3" fmla="*/ 123183 w 136752"/>
                  <a:gd name="connsiteY3" fmla="*/ 27446 h 137732"/>
                  <a:gd name="connsiteX4" fmla="*/ 26466 w 136752"/>
                  <a:gd name="connsiteY4" fmla="*/ 14550 h 137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752" h="137732">
                    <a:moveTo>
                      <a:pt x="26466" y="14550"/>
                    </a:moveTo>
                    <a:cubicBezTo>
                      <a:pt x="-2549" y="37117"/>
                      <a:pt x="-8997" y="82251"/>
                      <a:pt x="13570" y="111267"/>
                    </a:cubicBezTo>
                    <a:cubicBezTo>
                      <a:pt x="36138" y="140281"/>
                      <a:pt x="81272" y="146729"/>
                      <a:pt x="110286" y="124162"/>
                    </a:cubicBezTo>
                    <a:cubicBezTo>
                      <a:pt x="139302" y="101595"/>
                      <a:pt x="145749" y="56461"/>
                      <a:pt x="123183" y="27446"/>
                    </a:cubicBezTo>
                    <a:cubicBezTo>
                      <a:pt x="100615" y="-4793"/>
                      <a:pt x="55481" y="-8017"/>
                      <a:pt x="26466" y="1455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C0991334-D7E6-4313-8B16-46CD77A20F00}"/>
                  </a:ext>
                </a:extLst>
              </p:cNvPr>
              <p:cNvSpPr/>
              <p:nvPr/>
            </p:nvSpPr>
            <p:spPr>
              <a:xfrm>
                <a:off x="13020796" y="8574045"/>
                <a:ext cx="91567" cy="91567"/>
              </a:xfrm>
              <a:custGeom>
                <a:avLst/>
                <a:gdLst>
                  <a:gd name="connsiteX0" fmla="*/ 16769 w 91567"/>
                  <a:gd name="connsiteY0" fmla="*/ 10321 h 91567"/>
                  <a:gd name="connsiteX1" fmla="*/ 10321 w 91567"/>
                  <a:gd name="connsiteY1" fmla="*/ 74798 h 91567"/>
                  <a:gd name="connsiteX2" fmla="*/ 74798 w 91567"/>
                  <a:gd name="connsiteY2" fmla="*/ 81247 h 91567"/>
                  <a:gd name="connsiteX3" fmla="*/ 81247 w 91567"/>
                  <a:gd name="connsiteY3" fmla="*/ 16769 h 91567"/>
                  <a:gd name="connsiteX4" fmla="*/ 16769 w 91567"/>
                  <a:gd name="connsiteY4" fmla="*/ 10321 h 9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567" h="91567">
                    <a:moveTo>
                      <a:pt x="16769" y="10321"/>
                    </a:moveTo>
                    <a:cubicBezTo>
                      <a:pt x="-2575" y="26440"/>
                      <a:pt x="-5799" y="55455"/>
                      <a:pt x="10321" y="74798"/>
                    </a:cubicBezTo>
                    <a:cubicBezTo>
                      <a:pt x="26440" y="94142"/>
                      <a:pt x="55455" y="97366"/>
                      <a:pt x="74798" y="81247"/>
                    </a:cubicBezTo>
                    <a:cubicBezTo>
                      <a:pt x="94142" y="65127"/>
                      <a:pt x="97366" y="36112"/>
                      <a:pt x="81247" y="16769"/>
                    </a:cubicBezTo>
                    <a:cubicBezTo>
                      <a:pt x="65127" y="-2575"/>
                      <a:pt x="39336" y="-5799"/>
                      <a:pt x="16769" y="10321"/>
                    </a:cubicBezTo>
                    <a:close/>
                  </a:path>
                </a:pathLst>
              </a:custGeom>
              <a:solidFill>
                <a:srgbClr val="F6EBE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9ED1A461-4511-4D92-BF95-14C4CB37B46A}"/>
                  </a:ext>
                </a:extLst>
              </p:cNvPr>
              <p:cNvSpPr/>
              <p:nvPr/>
            </p:nvSpPr>
            <p:spPr>
              <a:xfrm rot="-7674489">
                <a:off x="13146261" y="8816844"/>
                <a:ext cx="22567" cy="157970"/>
              </a:xfrm>
              <a:custGeom>
                <a:avLst/>
                <a:gdLst>
                  <a:gd name="connsiteX0" fmla="*/ 0 w 22567"/>
                  <a:gd name="connsiteY0" fmla="*/ 0 h 157970"/>
                  <a:gd name="connsiteX1" fmla="*/ 22568 w 22567"/>
                  <a:gd name="connsiteY1" fmla="*/ 0 h 157970"/>
                  <a:gd name="connsiteX2" fmla="*/ 22568 w 22567"/>
                  <a:gd name="connsiteY2" fmla="*/ 157971 h 157970"/>
                  <a:gd name="connsiteX3" fmla="*/ 0 w 22567"/>
                  <a:gd name="connsiteY3" fmla="*/ 157971 h 157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567" h="157970">
                    <a:moveTo>
                      <a:pt x="0" y="0"/>
                    </a:moveTo>
                    <a:lnTo>
                      <a:pt x="22568" y="0"/>
                    </a:lnTo>
                    <a:lnTo>
                      <a:pt x="22568" y="157971"/>
                    </a:lnTo>
                    <a:lnTo>
                      <a:pt x="0" y="157971"/>
                    </a:ln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65CFCA83-D78A-4598-A898-5D590D79BFDA}"/>
                </a:ext>
              </a:extLst>
            </p:cNvPr>
            <p:cNvSpPr/>
            <p:nvPr/>
          </p:nvSpPr>
          <p:spPr>
            <a:xfrm>
              <a:off x="12906833" y="8954638"/>
              <a:ext cx="45792" cy="142325"/>
            </a:xfrm>
            <a:custGeom>
              <a:avLst/>
              <a:gdLst>
                <a:gd name="connsiteX0" fmla="*/ 8224 w 45792"/>
                <a:gd name="connsiteY0" fmla="*/ 142325 h 142325"/>
                <a:gd name="connsiteX1" fmla="*/ 5001 w 45792"/>
                <a:gd name="connsiteY1" fmla="*/ 48832 h 142325"/>
                <a:gd name="connsiteX2" fmla="*/ 40463 w 45792"/>
                <a:gd name="connsiteY2" fmla="*/ 474 h 142325"/>
                <a:gd name="connsiteX3" fmla="*/ 43687 w 45792"/>
                <a:gd name="connsiteY3" fmla="*/ 74624 h 142325"/>
                <a:gd name="connsiteX4" fmla="*/ 37240 w 45792"/>
                <a:gd name="connsiteY4" fmla="*/ 110086 h 142325"/>
                <a:gd name="connsiteX5" fmla="*/ 8224 w 45792"/>
                <a:gd name="connsiteY5" fmla="*/ 142325 h 14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92" h="142325">
                  <a:moveTo>
                    <a:pt x="8224" y="142325"/>
                  </a:moveTo>
                  <a:cubicBezTo>
                    <a:pt x="8224" y="142325"/>
                    <a:pt x="-7896" y="87519"/>
                    <a:pt x="5001" y="48832"/>
                  </a:cubicBezTo>
                  <a:cubicBezTo>
                    <a:pt x="17896" y="10146"/>
                    <a:pt x="30791" y="-2749"/>
                    <a:pt x="40463" y="474"/>
                  </a:cubicBezTo>
                  <a:cubicBezTo>
                    <a:pt x="50135" y="3698"/>
                    <a:pt x="43687" y="61728"/>
                    <a:pt x="43687" y="74624"/>
                  </a:cubicBezTo>
                  <a:cubicBezTo>
                    <a:pt x="43687" y="87519"/>
                    <a:pt x="37240" y="110086"/>
                    <a:pt x="37240" y="110086"/>
                  </a:cubicBezTo>
                  <a:lnTo>
                    <a:pt x="8224" y="142325"/>
                  </a:ln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105627655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D78090D6-F492-450D-A757-886A187FE5AF}"/>
              </a:ext>
            </a:extLst>
          </p:cNvPr>
          <p:cNvGrpSpPr/>
          <p:nvPr/>
        </p:nvGrpSpPr>
        <p:grpSpPr>
          <a:xfrm>
            <a:off x="1359854" y="2231733"/>
            <a:ext cx="4220676" cy="4546170"/>
            <a:chOff x="19411880" y="7994397"/>
            <a:chExt cx="4220676" cy="4546170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6EE9ADAF-80D9-45D4-B94B-12659C794F43}"/>
                </a:ext>
              </a:extLst>
            </p:cNvPr>
            <p:cNvSpPr/>
            <p:nvPr/>
          </p:nvSpPr>
          <p:spPr>
            <a:xfrm>
              <a:off x="22869820" y="8555130"/>
              <a:ext cx="503952" cy="846532"/>
            </a:xfrm>
            <a:custGeom>
              <a:avLst/>
              <a:gdLst>
                <a:gd name="connsiteX0" fmla="*/ 497059 w 503952"/>
                <a:gd name="connsiteY0" fmla="*/ 754609 h 846532"/>
                <a:gd name="connsiteX1" fmla="*/ 484163 w 503952"/>
                <a:gd name="connsiteY1" fmla="*/ 725595 h 846532"/>
                <a:gd name="connsiteX2" fmla="*/ 477716 w 503952"/>
                <a:gd name="connsiteY2" fmla="*/ 628878 h 846532"/>
                <a:gd name="connsiteX3" fmla="*/ 451924 w 503952"/>
                <a:gd name="connsiteY3" fmla="*/ 499923 h 846532"/>
                <a:gd name="connsiteX4" fmla="*/ 429358 w 503952"/>
                <a:gd name="connsiteY4" fmla="*/ 367744 h 846532"/>
                <a:gd name="connsiteX5" fmla="*/ 410014 w 503952"/>
                <a:gd name="connsiteY5" fmla="*/ 274251 h 846532"/>
                <a:gd name="connsiteX6" fmla="*/ 416462 w 503952"/>
                <a:gd name="connsiteY6" fmla="*/ 258132 h 846532"/>
                <a:gd name="connsiteX7" fmla="*/ 358433 w 503952"/>
                <a:gd name="connsiteY7" fmla="*/ 158191 h 846532"/>
                <a:gd name="connsiteX8" fmla="*/ 255268 w 503952"/>
                <a:gd name="connsiteY8" fmla="*/ 55027 h 846532"/>
                <a:gd name="connsiteX9" fmla="*/ 232700 w 503952"/>
                <a:gd name="connsiteY9" fmla="*/ 26013 h 846532"/>
                <a:gd name="connsiteX10" fmla="*/ 165000 w 503952"/>
                <a:gd name="connsiteY10" fmla="*/ 221 h 846532"/>
                <a:gd name="connsiteX11" fmla="*/ 13477 w 503952"/>
                <a:gd name="connsiteY11" fmla="*/ 80818 h 846532"/>
                <a:gd name="connsiteX12" fmla="*/ 7029 w 503952"/>
                <a:gd name="connsiteY12" fmla="*/ 109833 h 846532"/>
                <a:gd name="connsiteX13" fmla="*/ 45716 w 503952"/>
                <a:gd name="connsiteY13" fmla="*/ 129177 h 846532"/>
                <a:gd name="connsiteX14" fmla="*/ 74731 w 503952"/>
                <a:gd name="connsiteY14" fmla="*/ 212998 h 846532"/>
                <a:gd name="connsiteX15" fmla="*/ 126313 w 503952"/>
                <a:gd name="connsiteY15" fmla="*/ 364520 h 846532"/>
                <a:gd name="connsiteX16" fmla="*/ 74731 w 503952"/>
                <a:gd name="connsiteY16" fmla="*/ 644998 h 846532"/>
                <a:gd name="connsiteX17" fmla="*/ 165000 w 503952"/>
                <a:gd name="connsiteY17" fmla="*/ 599863 h 846532"/>
                <a:gd name="connsiteX18" fmla="*/ 255268 w 503952"/>
                <a:gd name="connsiteY18" fmla="*/ 819087 h 846532"/>
                <a:gd name="connsiteX19" fmla="*/ 493836 w 503952"/>
                <a:gd name="connsiteY19" fmla="*/ 806192 h 846532"/>
                <a:gd name="connsiteX20" fmla="*/ 497059 w 503952"/>
                <a:gd name="connsiteY20" fmla="*/ 754609 h 846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03952" h="846532">
                  <a:moveTo>
                    <a:pt x="497059" y="754609"/>
                  </a:moveTo>
                  <a:cubicBezTo>
                    <a:pt x="497059" y="744938"/>
                    <a:pt x="493836" y="732042"/>
                    <a:pt x="484163" y="725595"/>
                  </a:cubicBezTo>
                  <a:cubicBezTo>
                    <a:pt x="506730" y="693356"/>
                    <a:pt x="513178" y="651445"/>
                    <a:pt x="477716" y="628878"/>
                  </a:cubicBezTo>
                  <a:cubicBezTo>
                    <a:pt x="497059" y="580520"/>
                    <a:pt x="497059" y="528938"/>
                    <a:pt x="451924" y="499923"/>
                  </a:cubicBezTo>
                  <a:cubicBezTo>
                    <a:pt x="477716" y="458012"/>
                    <a:pt x="474491" y="387087"/>
                    <a:pt x="429358" y="367744"/>
                  </a:cubicBezTo>
                  <a:cubicBezTo>
                    <a:pt x="445478" y="332281"/>
                    <a:pt x="435804" y="300042"/>
                    <a:pt x="410014" y="274251"/>
                  </a:cubicBezTo>
                  <a:cubicBezTo>
                    <a:pt x="410014" y="271027"/>
                    <a:pt x="413239" y="267804"/>
                    <a:pt x="416462" y="258132"/>
                  </a:cubicBezTo>
                  <a:cubicBezTo>
                    <a:pt x="429358" y="209774"/>
                    <a:pt x="410014" y="154968"/>
                    <a:pt x="358433" y="158191"/>
                  </a:cubicBezTo>
                  <a:cubicBezTo>
                    <a:pt x="364881" y="93714"/>
                    <a:pt x="319746" y="48580"/>
                    <a:pt x="255268" y="55027"/>
                  </a:cubicBezTo>
                  <a:cubicBezTo>
                    <a:pt x="248820" y="42132"/>
                    <a:pt x="242372" y="35684"/>
                    <a:pt x="232700" y="26013"/>
                  </a:cubicBezTo>
                  <a:cubicBezTo>
                    <a:pt x="210133" y="9893"/>
                    <a:pt x="181119" y="221"/>
                    <a:pt x="165000" y="221"/>
                  </a:cubicBezTo>
                  <a:cubicBezTo>
                    <a:pt x="103745" y="-3003"/>
                    <a:pt x="36044" y="29236"/>
                    <a:pt x="13477" y="80818"/>
                  </a:cubicBezTo>
                  <a:cubicBezTo>
                    <a:pt x="581" y="84042"/>
                    <a:pt x="-5866" y="103385"/>
                    <a:pt x="7029" y="109833"/>
                  </a:cubicBezTo>
                  <a:cubicBezTo>
                    <a:pt x="19925" y="116281"/>
                    <a:pt x="32819" y="122729"/>
                    <a:pt x="45716" y="129177"/>
                  </a:cubicBezTo>
                  <a:cubicBezTo>
                    <a:pt x="52164" y="158191"/>
                    <a:pt x="61835" y="190430"/>
                    <a:pt x="74731" y="212998"/>
                  </a:cubicBezTo>
                  <a:cubicBezTo>
                    <a:pt x="97297" y="261356"/>
                    <a:pt x="116641" y="312938"/>
                    <a:pt x="126313" y="364520"/>
                  </a:cubicBezTo>
                  <a:cubicBezTo>
                    <a:pt x="135984" y="419326"/>
                    <a:pt x="68283" y="599863"/>
                    <a:pt x="74731" y="644998"/>
                  </a:cubicBezTo>
                  <a:cubicBezTo>
                    <a:pt x="84403" y="696580"/>
                    <a:pt x="74731" y="677236"/>
                    <a:pt x="165000" y="599863"/>
                  </a:cubicBezTo>
                  <a:cubicBezTo>
                    <a:pt x="142432" y="683684"/>
                    <a:pt x="158552" y="770729"/>
                    <a:pt x="255268" y="819087"/>
                  </a:cubicBezTo>
                  <a:cubicBezTo>
                    <a:pt x="310074" y="848102"/>
                    <a:pt x="455149" y="867445"/>
                    <a:pt x="493836" y="806192"/>
                  </a:cubicBezTo>
                  <a:cubicBezTo>
                    <a:pt x="506730" y="783624"/>
                    <a:pt x="506730" y="767505"/>
                    <a:pt x="497059" y="754609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FBF6219F-3F65-4078-AF5B-C3C3E291DDC6}"/>
                </a:ext>
              </a:extLst>
            </p:cNvPr>
            <p:cNvSpPr/>
            <p:nvPr/>
          </p:nvSpPr>
          <p:spPr>
            <a:xfrm>
              <a:off x="23068142" y="9347285"/>
              <a:ext cx="564414" cy="703997"/>
            </a:xfrm>
            <a:custGeom>
              <a:avLst/>
              <a:gdLst>
                <a:gd name="connsiteX0" fmla="*/ 34378 w 564414"/>
                <a:gd name="connsiteY0" fmla="*/ 10812 h 703997"/>
                <a:gd name="connsiteX1" fmla="*/ 366437 w 564414"/>
                <a:gd name="connsiteY1" fmla="*/ 197798 h 703997"/>
                <a:gd name="connsiteX2" fmla="*/ 563095 w 564414"/>
                <a:gd name="connsiteY2" fmla="*/ 649141 h 703997"/>
                <a:gd name="connsiteX3" fmla="*/ 498617 w 564414"/>
                <a:gd name="connsiteY3" fmla="*/ 703947 h 703997"/>
                <a:gd name="connsiteX4" fmla="*/ 253601 w 564414"/>
                <a:gd name="connsiteY4" fmla="*/ 436365 h 703997"/>
                <a:gd name="connsiteX5" fmla="*/ 34378 w 564414"/>
                <a:gd name="connsiteY5" fmla="*/ 10812 h 703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4414" h="703997">
                  <a:moveTo>
                    <a:pt x="34378" y="10812"/>
                  </a:moveTo>
                  <a:cubicBezTo>
                    <a:pt x="114975" y="-43993"/>
                    <a:pt x="308408" y="123648"/>
                    <a:pt x="366437" y="197798"/>
                  </a:cubicBezTo>
                  <a:cubicBezTo>
                    <a:pt x="443811" y="297738"/>
                    <a:pt x="579214" y="516962"/>
                    <a:pt x="563095" y="649141"/>
                  </a:cubicBezTo>
                  <a:cubicBezTo>
                    <a:pt x="559870" y="678156"/>
                    <a:pt x="559870" y="700723"/>
                    <a:pt x="498617" y="703947"/>
                  </a:cubicBezTo>
                  <a:cubicBezTo>
                    <a:pt x="459930" y="707171"/>
                    <a:pt x="350318" y="555649"/>
                    <a:pt x="253601" y="436365"/>
                  </a:cubicBezTo>
                  <a:cubicBezTo>
                    <a:pt x="98855" y="259052"/>
                    <a:pt x="-75233" y="84962"/>
                    <a:pt x="34378" y="10812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E07766EF-1B58-4C4F-9E5A-9581FA030FAD}"/>
                </a:ext>
              </a:extLst>
            </p:cNvPr>
            <p:cNvSpPr/>
            <p:nvPr/>
          </p:nvSpPr>
          <p:spPr>
            <a:xfrm>
              <a:off x="22355534" y="8556953"/>
              <a:ext cx="636549" cy="1022736"/>
            </a:xfrm>
            <a:custGeom>
              <a:avLst/>
              <a:gdLst>
                <a:gd name="connsiteX0" fmla="*/ 585792 w 636549"/>
                <a:gd name="connsiteY0" fmla="*/ 278876 h 1022736"/>
                <a:gd name="connsiteX1" fmla="*/ 563225 w 636549"/>
                <a:gd name="connsiteY1" fmla="*/ 95115 h 1022736"/>
                <a:gd name="connsiteX2" fmla="*/ 566450 w 636549"/>
                <a:gd name="connsiteY2" fmla="*/ 78996 h 1022736"/>
                <a:gd name="connsiteX3" fmla="*/ 392360 w 636549"/>
                <a:gd name="connsiteY3" fmla="*/ 56429 h 1022736"/>
                <a:gd name="connsiteX4" fmla="*/ 295643 w 636549"/>
                <a:gd name="connsiteY4" fmla="*/ 104787 h 1022736"/>
                <a:gd name="connsiteX5" fmla="*/ 298868 w 636549"/>
                <a:gd name="connsiteY5" fmla="*/ 172488 h 1022736"/>
                <a:gd name="connsiteX6" fmla="*/ 298868 w 636549"/>
                <a:gd name="connsiteY6" fmla="*/ 172488 h 1022736"/>
                <a:gd name="connsiteX7" fmla="*/ 215046 w 636549"/>
                <a:gd name="connsiteY7" fmla="*/ 269204 h 1022736"/>
                <a:gd name="connsiteX8" fmla="*/ 176359 w 636549"/>
                <a:gd name="connsiteY8" fmla="*/ 304667 h 1022736"/>
                <a:gd name="connsiteX9" fmla="*/ 186032 w 636549"/>
                <a:gd name="connsiteY9" fmla="*/ 359473 h 1022736"/>
                <a:gd name="connsiteX10" fmla="*/ 140897 w 636549"/>
                <a:gd name="connsiteY10" fmla="*/ 430398 h 1022736"/>
                <a:gd name="connsiteX11" fmla="*/ 147345 w 636549"/>
                <a:gd name="connsiteY11" fmla="*/ 475533 h 1022736"/>
                <a:gd name="connsiteX12" fmla="*/ 60300 w 636549"/>
                <a:gd name="connsiteY12" fmla="*/ 556130 h 1022736"/>
                <a:gd name="connsiteX13" fmla="*/ 89316 w 636549"/>
                <a:gd name="connsiteY13" fmla="*/ 630279 h 1022736"/>
                <a:gd name="connsiteX14" fmla="*/ 44181 w 636549"/>
                <a:gd name="connsiteY14" fmla="*/ 810816 h 1022736"/>
                <a:gd name="connsiteX15" fmla="*/ 18390 w 636549"/>
                <a:gd name="connsiteY15" fmla="*/ 942996 h 1022736"/>
                <a:gd name="connsiteX16" fmla="*/ 95762 w 636549"/>
                <a:gd name="connsiteY16" fmla="*/ 946219 h 1022736"/>
                <a:gd name="connsiteX17" fmla="*/ 208598 w 636549"/>
                <a:gd name="connsiteY17" fmla="*/ 1020369 h 1022736"/>
                <a:gd name="connsiteX18" fmla="*/ 279524 w 636549"/>
                <a:gd name="connsiteY18" fmla="*/ 881742 h 1022736"/>
                <a:gd name="connsiteX19" fmla="*/ 318211 w 636549"/>
                <a:gd name="connsiteY19" fmla="*/ 846279 h 1022736"/>
                <a:gd name="connsiteX20" fmla="*/ 356898 w 636549"/>
                <a:gd name="connsiteY20" fmla="*/ 830160 h 1022736"/>
                <a:gd name="connsiteX21" fmla="*/ 530986 w 636549"/>
                <a:gd name="connsiteY21" fmla="*/ 762458 h 1022736"/>
                <a:gd name="connsiteX22" fmla="*/ 605137 w 636549"/>
                <a:gd name="connsiteY22" fmla="*/ 704428 h 1022736"/>
                <a:gd name="connsiteX23" fmla="*/ 585792 w 636549"/>
                <a:gd name="connsiteY23" fmla="*/ 520667 h 1022736"/>
                <a:gd name="connsiteX24" fmla="*/ 585792 w 636549"/>
                <a:gd name="connsiteY24" fmla="*/ 278876 h 1022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36549" h="1022736">
                  <a:moveTo>
                    <a:pt x="585792" y="278876"/>
                  </a:moveTo>
                  <a:cubicBezTo>
                    <a:pt x="647047" y="230518"/>
                    <a:pt x="595464" y="149921"/>
                    <a:pt x="563225" y="95115"/>
                  </a:cubicBezTo>
                  <a:cubicBezTo>
                    <a:pt x="566450" y="91891"/>
                    <a:pt x="569673" y="85443"/>
                    <a:pt x="566450" y="78996"/>
                  </a:cubicBezTo>
                  <a:cubicBezTo>
                    <a:pt x="543882" y="-8049"/>
                    <a:pt x="389136" y="-33840"/>
                    <a:pt x="392360" y="56429"/>
                  </a:cubicBezTo>
                  <a:cubicBezTo>
                    <a:pt x="353673" y="59652"/>
                    <a:pt x="314988" y="69324"/>
                    <a:pt x="295643" y="104787"/>
                  </a:cubicBezTo>
                  <a:cubicBezTo>
                    <a:pt x="282749" y="127354"/>
                    <a:pt x="285972" y="153145"/>
                    <a:pt x="298868" y="172488"/>
                  </a:cubicBezTo>
                  <a:lnTo>
                    <a:pt x="298868" y="172488"/>
                  </a:lnTo>
                  <a:cubicBezTo>
                    <a:pt x="250510" y="185384"/>
                    <a:pt x="208598" y="214399"/>
                    <a:pt x="215046" y="269204"/>
                  </a:cubicBezTo>
                  <a:cubicBezTo>
                    <a:pt x="195704" y="272429"/>
                    <a:pt x="182807" y="282100"/>
                    <a:pt x="176359" y="304667"/>
                  </a:cubicBezTo>
                  <a:cubicBezTo>
                    <a:pt x="169913" y="324011"/>
                    <a:pt x="189255" y="346578"/>
                    <a:pt x="186032" y="359473"/>
                  </a:cubicBezTo>
                  <a:cubicBezTo>
                    <a:pt x="157017" y="369145"/>
                    <a:pt x="144120" y="398160"/>
                    <a:pt x="140897" y="430398"/>
                  </a:cubicBezTo>
                  <a:cubicBezTo>
                    <a:pt x="137674" y="449742"/>
                    <a:pt x="140897" y="462637"/>
                    <a:pt x="147345" y="475533"/>
                  </a:cubicBezTo>
                  <a:cubicBezTo>
                    <a:pt x="108658" y="488428"/>
                    <a:pt x="66748" y="510995"/>
                    <a:pt x="60300" y="556130"/>
                  </a:cubicBezTo>
                  <a:cubicBezTo>
                    <a:pt x="53852" y="588369"/>
                    <a:pt x="66748" y="614160"/>
                    <a:pt x="89316" y="630279"/>
                  </a:cubicBezTo>
                  <a:cubicBezTo>
                    <a:pt x="40958" y="678638"/>
                    <a:pt x="-23520" y="778578"/>
                    <a:pt x="44181" y="810816"/>
                  </a:cubicBezTo>
                  <a:cubicBezTo>
                    <a:pt x="8719" y="846279"/>
                    <a:pt x="-20297" y="901085"/>
                    <a:pt x="18390" y="942996"/>
                  </a:cubicBezTo>
                  <a:cubicBezTo>
                    <a:pt x="44181" y="968787"/>
                    <a:pt x="76420" y="965563"/>
                    <a:pt x="95762" y="946219"/>
                  </a:cubicBezTo>
                  <a:cubicBezTo>
                    <a:pt x="118330" y="991354"/>
                    <a:pt x="153794" y="1033265"/>
                    <a:pt x="208598" y="1020369"/>
                  </a:cubicBezTo>
                  <a:cubicBezTo>
                    <a:pt x="273076" y="1004249"/>
                    <a:pt x="285972" y="939772"/>
                    <a:pt x="279524" y="881742"/>
                  </a:cubicBezTo>
                  <a:cubicBezTo>
                    <a:pt x="295643" y="875294"/>
                    <a:pt x="308539" y="862399"/>
                    <a:pt x="318211" y="846279"/>
                  </a:cubicBezTo>
                  <a:cubicBezTo>
                    <a:pt x="331107" y="843055"/>
                    <a:pt x="344001" y="836608"/>
                    <a:pt x="356898" y="830160"/>
                  </a:cubicBezTo>
                  <a:cubicBezTo>
                    <a:pt x="408479" y="920429"/>
                    <a:pt x="543882" y="868846"/>
                    <a:pt x="530986" y="762458"/>
                  </a:cubicBezTo>
                  <a:cubicBezTo>
                    <a:pt x="572898" y="759235"/>
                    <a:pt x="589017" y="759235"/>
                    <a:pt x="605137" y="704428"/>
                  </a:cubicBezTo>
                  <a:cubicBezTo>
                    <a:pt x="621256" y="643175"/>
                    <a:pt x="611583" y="578697"/>
                    <a:pt x="585792" y="520667"/>
                  </a:cubicBezTo>
                  <a:cubicBezTo>
                    <a:pt x="672838" y="459414"/>
                    <a:pt x="630928" y="365921"/>
                    <a:pt x="585792" y="278876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48149D00-DCF7-4DDF-AE17-FCFF23BAAC12}"/>
                </a:ext>
              </a:extLst>
            </p:cNvPr>
            <p:cNvGrpSpPr/>
            <p:nvPr/>
          </p:nvGrpSpPr>
          <p:grpSpPr>
            <a:xfrm>
              <a:off x="23013864" y="12227351"/>
              <a:ext cx="353150" cy="313215"/>
              <a:chOff x="23013864" y="12227351"/>
              <a:chExt cx="353150" cy="313215"/>
            </a:xfrm>
          </p:grpSpPr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45389E08-7C09-43E2-82F8-3F78B3837DC6}"/>
                  </a:ext>
                </a:extLst>
              </p:cNvPr>
              <p:cNvSpPr/>
              <p:nvPr/>
            </p:nvSpPr>
            <p:spPr>
              <a:xfrm>
                <a:off x="23013864" y="12336963"/>
                <a:ext cx="353150" cy="203603"/>
              </a:xfrm>
              <a:custGeom>
                <a:avLst/>
                <a:gdLst>
                  <a:gd name="connsiteX0" fmla="*/ 120895 w 353150"/>
                  <a:gd name="connsiteY0" fmla="*/ 0 h 203603"/>
                  <a:gd name="connsiteX1" fmla="*/ 240179 w 353150"/>
                  <a:gd name="connsiteY1" fmla="*/ 106389 h 203603"/>
                  <a:gd name="connsiteX2" fmla="*/ 62866 w 353150"/>
                  <a:gd name="connsiteY2" fmla="*/ 70926 h 203603"/>
                  <a:gd name="connsiteX3" fmla="*/ 1611 w 353150"/>
                  <a:gd name="connsiteY3" fmla="*/ 48358 h 203603"/>
                  <a:gd name="connsiteX4" fmla="*/ 8059 w 353150"/>
                  <a:gd name="connsiteY4" fmla="*/ 141852 h 203603"/>
                  <a:gd name="connsiteX5" fmla="*/ 217612 w 353150"/>
                  <a:gd name="connsiteY5" fmla="*/ 199881 h 203603"/>
                  <a:gd name="connsiteX6" fmla="*/ 336896 w 353150"/>
                  <a:gd name="connsiteY6" fmla="*/ 199881 h 203603"/>
                  <a:gd name="connsiteX7" fmla="*/ 343344 w 353150"/>
                  <a:gd name="connsiteY7" fmla="*/ 151523 h 203603"/>
                  <a:gd name="connsiteX8" fmla="*/ 120895 w 353150"/>
                  <a:gd name="connsiteY8" fmla="*/ 0 h 203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3150" h="203603">
                    <a:moveTo>
                      <a:pt x="120895" y="0"/>
                    </a:moveTo>
                    <a:cubicBezTo>
                      <a:pt x="120895" y="0"/>
                      <a:pt x="253076" y="93493"/>
                      <a:pt x="240179" y="106389"/>
                    </a:cubicBezTo>
                    <a:cubicBezTo>
                      <a:pt x="227283" y="119284"/>
                      <a:pt x="62866" y="70926"/>
                      <a:pt x="62866" y="70926"/>
                    </a:cubicBezTo>
                    <a:lnTo>
                      <a:pt x="1611" y="48358"/>
                    </a:lnTo>
                    <a:cubicBezTo>
                      <a:pt x="1611" y="48358"/>
                      <a:pt x="-4835" y="119284"/>
                      <a:pt x="8059" y="141852"/>
                    </a:cubicBezTo>
                    <a:cubicBezTo>
                      <a:pt x="69314" y="174090"/>
                      <a:pt x="156359" y="190210"/>
                      <a:pt x="217612" y="199881"/>
                    </a:cubicBezTo>
                    <a:cubicBezTo>
                      <a:pt x="256299" y="206329"/>
                      <a:pt x="327224" y="203105"/>
                      <a:pt x="336896" y="199881"/>
                    </a:cubicBezTo>
                    <a:cubicBezTo>
                      <a:pt x="343344" y="196657"/>
                      <a:pt x="365911" y="174090"/>
                      <a:pt x="343344" y="151523"/>
                    </a:cubicBezTo>
                    <a:cubicBezTo>
                      <a:pt x="285314" y="90269"/>
                      <a:pt x="120895" y="0"/>
                      <a:pt x="120895" y="0"/>
                    </a:cubicBez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6B185D2D-E123-4F39-8823-87690A7AAF63}"/>
                  </a:ext>
                </a:extLst>
              </p:cNvPr>
              <p:cNvSpPr/>
              <p:nvPr/>
            </p:nvSpPr>
            <p:spPr>
              <a:xfrm>
                <a:off x="23015475" y="12227351"/>
                <a:ext cx="239453" cy="219766"/>
              </a:xfrm>
              <a:custGeom>
                <a:avLst/>
                <a:gdLst>
                  <a:gd name="connsiteX0" fmla="*/ 116061 w 239453"/>
                  <a:gd name="connsiteY0" fmla="*/ 0 h 219766"/>
                  <a:gd name="connsiteX1" fmla="*/ 119284 w 239453"/>
                  <a:gd name="connsiteY1" fmla="*/ 109612 h 219766"/>
                  <a:gd name="connsiteX2" fmla="*/ 238568 w 239453"/>
                  <a:gd name="connsiteY2" fmla="*/ 216000 h 219766"/>
                  <a:gd name="connsiteX3" fmla="*/ 22568 w 239453"/>
                  <a:gd name="connsiteY3" fmla="*/ 183762 h 219766"/>
                  <a:gd name="connsiteX4" fmla="*/ 0 w 239453"/>
                  <a:gd name="connsiteY4" fmla="*/ 157970 h 219766"/>
                  <a:gd name="connsiteX5" fmla="*/ 0 w 239453"/>
                  <a:gd name="connsiteY5" fmla="*/ 22568 h 219766"/>
                  <a:gd name="connsiteX6" fmla="*/ 116061 w 239453"/>
                  <a:gd name="connsiteY6" fmla="*/ 0 h 219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9453" h="219766">
                    <a:moveTo>
                      <a:pt x="116061" y="0"/>
                    </a:moveTo>
                    <a:lnTo>
                      <a:pt x="119284" y="109612"/>
                    </a:lnTo>
                    <a:cubicBezTo>
                      <a:pt x="119284" y="109612"/>
                      <a:pt x="251464" y="196657"/>
                      <a:pt x="238568" y="216000"/>
                    </a:cubicBezTo>
                    <a:cubicBezTo>
                      <a:pt x="228897" y="228896"/>
                      <a:pt x="83822" y="206328"/>
                      <a:pt x="22568" y="183762"/>
                    </a:cubicBezTo>
                    <a:cubicBezTo>
                      <a:pt x="3225" y="177313"/>
                      <a:pt x="0" y="157970"/>
                      <a:pt x="0" y="157970"/>
                    </a:cubicBezTo>
                    <a:lnTo>
                      <a:pt x="0" y="22568"/>
                    </a:lnTo>
                    <a:lnTo>
                      <a:pt x="116061" y="0"/>
                    </a:ln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0CF26E42-04B6-46ED-B7A3-8C5072047030}"/>
                </a:ext>
              </a:extLst>
            </p:cNvPr>
            <p:cNvGrpSpPr/>
            <p:nvPr/>
          </p:nvGrpSpPr>
          <p:grpSpPr>
            <a:xfrm>
              <a:off x="21993506" y="11924307"/>
              <a:ext cx="267581" cy="444452"/>
              <a:chOff x="21993506" y="11924307"/>
              <a:chExt cx="267581" cy="444452"/>
            </a:xfrm>
          </p:grpSpPr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A9B82D16-7921-4AF5-839D-5423477138A9}"/>
                  </a:ext>
                </a:extLst>
              </p:cNvPr>
              <p:cNvSpPr/>
              <p:nvPr/>
            </p:nvSpPr>
            <p:spPr>
              <a:xfrm>
                <a:off x="21993506" y="11998456"/>
                <a:ext cx="185910" cy="370303"/>
              </a:xfrm>
              <a:custGeom>
                <a:avLst/>
                <a:gdLst>
                  <a:gd name="connsiteX0" fmla="*/ 177313 w 185910"/>
                  <a:gd name="connsiteY0" fmla="*/ 80597 h 370303"/>
                  <a:gd name="connsiteX1" fmla="*/ 157969 w 185910"/>
                  <a:gd name="connsiteY1" fmla="*/ 238568 h 370303"/>
                  <a:gd name="connsiteX2" fmla="*/ 96716 w 185910"/>
                  <a:gd name="connsiteY2" fmla="*/ 77374 h 370303"/>
                  <a:gd name="connsiteX3" fmla="*/ 74149 w 185910"/>
                  <a:gd name="connsiteY3" fmla="*/ 0 h 370303"/>
                  <a:gd name="connsiteX4" fmla="*/ 0 w 185910"/>
                  <a:gd name="connsiteY4" fmla="*/ 54806 h 370303"/>
                  <a:gd name="connsiteX5" fmla="*/ 67701 w 185910"/>
                  <a:gd name="connsiteY5" fmla="*/ 270807 h 370303"/>
                  <a:gd name="connsiteX6" fmla="*/ 135401 w 185910"/>
                  <a:gd name="connsiteY6" fmla="*/ 367523 h 370303"/>
                  <a:gd name="connsiteX7" fmla="*/ 177313 w 185910"/>
                  <a:gd name="connsiteY7" fmla="*/ 344956 h 370303"/>
                  <a:gd name="connsiteX8" fmla="*/ 177313 w 185910"/>
                  <a:gd name="connsiteY8" fmla="*/ 80597 h 370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5910" h="370303">
                    <a:moveTo>
                      <a:pt x="177313" y="80597"/>
                    </a:moveTo>
                    <a:cubicBezTo>
                      <a:pt x="177313" y="80597"/>
                      <a:pt x="174088" y="241791"/>
                      <a:pt x="157969" y="238568"/>
                    </a:cubicBezTo>
                    <a:cubicBezTo>
                      <a:pt x="141850" y="235344"/>
                      <a:pt x="96716" y="77374"/>
                      <a:pt x="96716" y="77374"/>
                    </a:cubicBezTo>
                    <a:lnTo>
                      <a:pt x="74149" y="0"/>
                    </a:lnTo>
                    <a:cubicBezTo>
                      <a:pt x="74149" y="0"/>
                      <a:pt x="12894" y="35463"/>
                      <a:pt x="0" y="54806"/>
                    </a:cubicBezTo>
                    <a:cubicBezTo>
                      <a:pt x="9671" y="122508"/>
                      <a:pt x="41910" y="212776"/>
                      <a:pt x="67701" y="270807"/>
                    </a:cubicBezTo>
                    <a:cubicBezTo>
                      <a:pt x="83820" y="306269"/>
                      <a:pt x="128955" y="364299"/>
                      <a:pt x="135401" y="367523"/>
                    </a:cubicBezTo>
                    <a:cubicBezTo>
                      <a:pt x="141850" y="370746"/>
                      <a:pt x="170865" y="377194"/>
                      <a:pt x="177313" y="344956"/>
                    </a:cubicBezTo>
                    <a:cubicBezTo>
                      <a:pt x="196656" y="270807"/>
                      <a:pt x="177313" y="80597"/>
                      <a:pt x="177313" y="80597"/>
                    </a:cubicBez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ADC754B7-305D-4F40-8AEC-49AAFAFEF918}"/>
                  </a:ext>
                </a:extLst>
              </p:cNvPr>
              <p:cNvSpPr/>
              <p:nvPr/>
            </p:nvSpPr>
            <p:spPr>
              <a:xfrm>
                <a:off x="22056461" y="11924307"/>
                <a:ext cx="204626" cy="312716"/>
              </a:xfrm>
              <a:custGeom>
                <a:avLst/>
                <a:gdLst>
                  <a:gd name="connsiteX0" fmla="*/ 204627 w 204626"/>
                  <a:gd name="connsiteY0" fmla="*/ 90268 h 312716"/>
                  <a:gd name="connsiteX1" fmla="*/ 114358 w 204626"/>
                  <a:gd name="connsiteY1" fmla="*/ 154746 h 312716"/>
                  <a:gd name="connsiteX2" fmla="*/ 95014 w 204626"/>
                  <a:gd name="connsiteY2" fmla="*/ 312717 h 312716"/>
                  <a:gd name="connsiteX3" fmla="*/ 1523 w 204626"/>
                  <a:gd name="connsiteY3" fmla="*/ 106388 h 312716"/>
                  <a:gd name="connsiteX4" fmla="*/ 11194 w 204626"/>
                  <a:gd name="connsiteY4" fmla="*/ 70926 h 312716"/>
                  <a:gd name="connsiteX5" fmla="*/ 117581 w 204626"/>
                  <a:gd name="connsiteY5" fmla="*/ 0 h 312716"/>
                  <a:gd name="connsiteX6" fmla="*/ 204627 w 204626"/>
                  <a:gd name="connsiteY6" fmla="*/ 90268 h 312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4626" h="312716">
                    <a:moveTo>
                      <a:pt x="204627" y="90268"/>
                    </a:moveTo>
                    <a:lnTo>
                      <a:pt x="114358" y="154746"/>
                    </a:lnTo>
                    <a:cubicBezTo>
                      <a:pt x="114358" y="154746"/>
                      <a:pt x="120805" y="312717"/>
                      <a:pt x="95014" y="312717"/>
                    </a:cubicBezTo>
                    <a:cubicBezTo>
                      <a:pt x="75671" y="312717"/>
                      <a:pt x="17642" y="170865"/>
                      <a:pt x="1523" y="106388"/>
                    </a:cubicBezTo>
                    <a:cubicBezTo>
                      <a:pt x="-4926" y="83821"/>
                      <a:pt x="11194" y="70926"/>
                      <a:pt x="11194" y="70926"/>
                    </a:cubicBezTo>
                    <a:lnTo>
                      <a:pt x="117581" y="0"/>
                    </a:lnTo>
                    <a:lnTo>
                      <a:pt x="204627" y="90268"/>
                    </a:ln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F0BAD885-43BC-4207-A333-74F22CA58FB4}"/>
                </a:ext>
              </a:extLst>
            </p:cNvPr>
            <p:cNvSpPr/>
            <p:nvPr/>
          </p:nvSpPr>
          <p:spPr>
            <a:xfrm>
              <a:off x="22119236" y="10138277"/>
              <a:ext cx="1200356" cy="2134208"/>
            </a:xfrm>
            <a:custGeom>
              <a:avLst/>
              <a:gdLst>
                <a:gd name="connsiteX0" fmla="*/ 522269 w 1200356"/>
                <a:gd name="connsiteY0" fmla="*/ 0 h 2134208"/>
                <a:gd name="connsiteX1" fmla="*/ 1096119 w 1200356"/>
                <a:gd name="connsiteY1" fmla="*/ 0 h 2134208"/>
                <a:gd name="connsiteX2" fmla="*/ 1199284 w 1200356"/>
                <a:gd name="connsiteY2" fmla="*/ 393313 h 2134208"/>
                <a:gd name="connsiteX3" fmla="*/ 1044538 w 1200356"/>
                <a:gd name="connsiteY3" fmla="*/ 2134208 h 2134208"/>
                <a:gd name="connsiteX4" fmla="*/ 841434 w 1200356"/>
                <a:gd name="connsiteY4" fmla="*/ 2130985 h 2134208"/>
                <a:gd name="connsiteX5" fmla="*/ 802747 w 1200356"/>
                <a:gd name="connsiteY5" fmla="*/ 696358 h 2134208"/>
                <a:gd name="connsiteX6" fmla="*/ 728598 w 1200356"/>
                <a:gd name="connsiteY6" fmla="*/ 1470090 h 2134208"/>
                <a:gd name="connsiteX7" fmla="*/ 693134 w 1200356"/>
                <a:gd name="connsiteY7" fmla="*/ 1531343 h 2134208"/>
                <a:gd name="connsiteX8" fmla="*/ 103165 w 1200356"/>
                <a:gd name="connsiteY8" fmla="*/ 1956895 h 2134208"/>
                <a:gd name="connsiteX9" fmla="*/ 0 w 1200356"/>
                <a:gd name="connsiteY9" fmla="*/ 1773134 h 2134208"/>
                <a:gd name="connsiteX10" fmla="*/ 435224 w 1200356"/>
                <a:gd name="connsiteY10" fmla="*/ 1399164 h 2134208"/>
                <a:gd name="connsiteX11" fmla="*/ 406210 w 1200356"/>
                <a:gd name="connsiteY11" fmla="*/ 357851 h 2134208"/>
                <a:gd name="connsiteX12" fmla="*/ 522269 w 1200356"/>
                <a:gd name="connsiteY12" fmla="*/ 0 h 2134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00356" h="2134208">
                  <a:moveTo>
                    <a:pt x="522269" y="0"/>
                  </a:moveTo>
                  <a:lnTo>
                    <a:pt x="1096119" y="0"/>
                  </a:lnTo>
                  <a:cubicBezTo>
                    <a:pt x="1096119" y="0"/>
                    <a:pt x="1179942" y="264358"/>
                    <a:pt x="1199284" y="393313"/>
                  </a:cubicBezTo>
                  <a:cubicBezTo>
                    <a:pt x="1215403" y="525492"/>
                    <a:pt x="1044538" y="2134208"/>
                    <a:pt x="1044538" y="2134208"/>
                  </a:cubicBezTo>
                  <a:lnTo>
                    <a:pt x="841434" y="2130985"/>
                  </a:lnTo>
                  <a:lnTo>
                    <a:pt x="802747" y="696358"/>
                  </a:lnTo>
                  <a:cubicBezTo>
                    <a:pt x="802747" y="696358"/>
                    <a:pt x="747941" y="1308896"/>
                    <a:pt x="728598" y="1470090"/>
                  </a:cubicBezTo>
                  <a:cubicBezTo>
                    <a:pt x="725373" y="1495880"/>
                    <a:pt x="712479" y="1518448"/>
                    <a:pt x="693134" y="1531343"/>
                  </a:cubicBezTo>
                  <a:lnTo>
                    <a:pt x="103165" y="1956895"/>
                  </a:lnTo>
                  <a:lnTo>
                    <a:pt x="0" y="1773134"/>
                  </a:lnTo>
                  <a:lnTo>
                    <a:pt x="435224" y="1399164"/>
                  </a:lnTo>
                  <a:cubicBezTo>
                    <a:pt x="435224" y="1399164"/>
                    <a:pt x="409433" y="415880"/>
                    <a:pt x="406210" y="357851"/>
                  </a:cubicBezTo>
                  <a:cubicBezTo>
                    <a:pt x="399762" y="254686"/>
                    <a:pt x="522269" y="0"/>
                    <a:pt x="522269" y="0"/>
                  </a:cubicBezTo>
                  <a:close/>
                </a:path>
              </a:pathLst>
            </a:custGeom>
            <a:solidFill>
              <a:srgbClr val="7F95BC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33405A35-2CDA-475B-9C99-7908A51C7780}"/>
                </a:ext>
              </a:extLst>
            </p:cNvPr>
            <p:cNvSpPr/>
            <p:nvPr/>
          </p:nvSpPr>
          <p:spPr>
            <a:xfrm>
              <a:off x="22217745" y="10467112"/>
              <a:ext cx="749372" cy="1634507"/>
            </a:xfrm>
            <a:custGeom>
              <a:avLst/>
              <a:gdLst>
                <a:gd name="connsiteX0" fmla="*/ 4656 w 749372"/>
                <a:gd name="connsiteY0" fmla="*/ 1634508 h 1634507"/>
                <a:gd name="connsiteX1" fmla="*/ 1433 w 749372"/>
                <a:gd name="connsiteY1" fmla="*/ 1631284 h 1634507"/>
                <a:gd name="connsiteX2" fmla="*/ 1433 w 749372"/>
                <a:gd name="connsiteY2" fmla="*/ 1621613 h 1634507"/>
                <a:gd name="connsiteX3" fmla="*/ 591403 w 749372"/>
                <a:gd name="connsiteY3" fmla="*/ 1199284 h 1634507"/>
                <a:gd name="connsiteX4" fmla="*/ 623642 w 749372"/>
                <a:gd name="connsiteY4" fmla="*/ 1141255 h 1634507"/>
                <a:gd name="connsiteX5" fmla="*/ 697791 w 749372"/>
                <a:gd name="connsiteY5" fmla="*/ 367523 h 1634507"/>
                <a:gd name="connsiteX6" fmla="*/ 736478 w 749372"/>
                <a:gd name="connsiteY6" fmla="*/ 6448 h 1634507"/>
                <a:gd name="connsiteX7" fmla="*/ 742926 w 749372"/>
                <a:gd name="connsiteY7" fmla="*/ 0 h 1634507"/>
                <a:gd name="connsiteX8" fmla="*/ 749372 w 749372"/>
                <a:gd name="connsiteY8" fmla="*/ 6448 h 1634507"/>
                <a:gd name="connsiteX9" fmla="*/ 710687 w 749372"/>
                <a:gd name="connsiteY9" fmla="*/ 367523 h 1634507"/>
                <a:gd name="connsiteX10" fmla="*/ 636536 w 749372"/>
                <a:gd name="connsiteY10" fmla="*/ 1141255 h 1634507"/>
                <a:gd name="connsiteX11" fmla="*/ 597851 w 749372"/>
                <a:gd name="connsiteY11" fmla="*/ 1205732 h 1634507"/>
                <a:gd name="connsiteX12" fmla="*/ 7880 w 749372"/>
                <a:gd name="connsiteY12" fmla="*/ 1628060 h 1634507"/>
                <a:gd name="connsiteX13" fmla="*/ 4656 w 749372"/>
                <a:gd name="connsiteY13" fmla="*/ 1634508 h 1634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9372" h="1634507">
                  <a:moveTo>
                    <a:pt x="4656" y="1634508"/>
                  </a:moveTo>
                  <a:cubicBezTo>
                    <a:pt x="1433" y="1634508"/>
                    <a:pt x="1433" y="1634508"/>
                    <a:pt x="1433" y="1631284"/>
                  </a:cubicBezTo>
                  <a:cubicBezTo>
                    <a:pt x="-1792" y="1628060"/>
                    <a:pt x="1433" y="1624837"/>
                    <a:pt x="1433" y="1621613"/>
                  </a:cubicBezTo>
                  <a:lnTo>
                    <a:pt x="591403" y="1199284"/>
                  </a:lnTo>
                  <a:cubicBezTo>
                    <a:pt x="610746" y="1186389"/>
                    <a:pt x="623642" y="1163821"/>
                    <a:pt x="623642" y="1141255"/>
                  </a:cubicBezTo>
                  <a:cubicBezTo>
                    <a:pt x="639761" y="980061"/>
                    <a:pt x="694568" y="373970"/>
                    <a:pt x="697791" y="367523"/>
                  </a:cubicBezTo>
                  <a:lnTo>
                    <a:pt x="736478" y="6448"/>
                  </a:lnTo>
                  <a:cubicBezTo>
                    <a:pt x="736478" y="3224"/>
                    <a:pt x="739701" y="0"/>
                    <a:pt x="742926" y="0"/>
                  </a:cubicBezTo>
                  <a:cubicBezTo>
                    <a:pt x="746149" y="0"/>
                    <a:pt x="749372" y="3224"/>
                    <a:pt x="749372" y="6448"/>
                  </a:cubicBezTo>
                  <a:lnTo>
                    <a:pt x="710687" y="367523"/>
                  </a:lnTo>
                  <a:cubicBezTo>
                    <a:pt x="710687" y="373970"/>
                    <a:pt x="655881" y="980061"/>
                    <a:pt x="636536" y="1141255"/>
                  </a:cubicBezTo>
                  <a:cubicBezTo>
                    <a:pt x="633313" y="1167045"/>
                    <a:pt x="620417" y="1192836"/>
                    <a:pt x="597851" y="1205732"/>
                  </a:cubicBezTo>
                  <a:lnTo>
                    <a:pt x="7880" y="1628060"/>
                  </a:lnTo>
                  <a:cubicBezTo>
                    <a:pt x="7880" y="1634508"/>
                    <a:pt x="4656" y="1634508"/>
                    <a:pt x="4656" y="1634508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C89C3E62-FB60-4568-A830-9B6A6ADE58A4}"/>
                </a:ext>
              </a:extLst>
            </p:cNvPr>
            <p:cNvSpPr/>
            <p:nvPr/>
          </p:nvSpPr>
          <p:spPr>
            <a:xfrm>
              <a:off x="22525447" y="10270456"/>
              <a:ext cx="154896" cy="164417"/>
            </a:xfrm>
            <a:custGeom>
              <a:avLst/>
              <a:gdLst>
                <a:gd name="connsiteX0" fmla="*/ 6446 w 154896"/>
                <a:gd name="connsiteY0" fmla="*/ 164417 h 164417"/>
                <a:gd name="connsiteX1" fmla="*/ 0 w 154896"/>
                <a:gd name="connsiteY1" fmla="*/ 161194 h 164417"/>
                <a:gd name="connsiteX2" fmla="*/ 3223 w 154896"/>
                <a:gd name="connsiteY2" fmla="*/ 154746 h 164417"/>
                <a:gd name="connsiteX3" fmla="*/ 145075 w 154896"/>
                <a:gd name="connsiteY3" fmla="*/ 3223 h 164417"/>
                <a:gd name="connsiteX4" fmla="*/ 151521 w 154896"/>
                <a:gd name="connsiteY4" fmla="*/ 0 h 164417"/>
                <a:gd name="connsiteX5" fmla="*/ 154746 w 154896"/>
                <a:gd name="connsiteY5" fmla="*/ 6447 h 164417"/>
                <a:gd name="connsiteX6" fmla="*/ 6446 w 154896"/>
                <a:gd name="connsiteY6" fmla="*/ 164417 h 164417"/>
                <a:gd name="connsiteX7" fmla="*/ 6446 w 154896"/>
                <a:gd name="connsiteY7" fmla="*/ 164417 h 164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4896" h="164417">
                  <a:moveTo>
                    <a:pt x="6446" y="164417"/>
                  </a:moveTo>
                  <a:cubicBezTo>
                    <a:pt x="3223" y="164417"/>
                    <a:pt x="0" y="161194"/>
                    <a:pt x="0" y="161194"/>
                  </a:cubicBezTo>
                  <a:cubicBezTo>
                    <a:pt x="0" y="157970"/>
                    <a:pt x="0" y="154746"/>
                    <a:pt x="3223" y="154746"/>
                  </a:cubicBezTo>
                  <a:cubicBezTo>
                    <a:pt x="99940" y="128955"/>
                    <a:pt x="145075" y="6447"/>
                    <a:pt x="145075" y="3223"/>
                  </a:cubicBezTo>
                  <a:cubicBezTo>
                    <a:pt x="145075" y="0"/>
                    <a:pt x="148298" y="0"/>
                    <a:pt x="151521" y="0"/>
                  </a:cubicBezTo>
                  <a:cubicBezTo>
                    <a:pt x="154746" y="0"/>
                    <a:pt x="154746" y="3223"/>
                    <a:pt x="154746" y="6447"/>
                  </a:cubicBezTo>
                  <a:cubicBezTo>
                    <a:pt x="157969" y="12895"/>
                    <a:pt x="109611" y="138626"/>
                    <a:pt x="6446" y="164417"/>
                  </a:cubicBezTo>
                  <a:cubicBezTo>
                    <a:pt x="9671" y="164417"/>
                    <a:pt x="9671" y="164417"/>
                    <a:pt x="6446" y="164417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B910B574-4E27-460F-8085-45033702A064}"/>
                </a:ext>
              </a:extLst>
            </p:cNvPr>
            <p:cNvSpPr/>
            <p:nvPr/>
          </p:nvSpPr>
          <p:spPr>
            <a:xfrm>
              <a:off x="23154103" y="10267232"/>
              <a:ext cx="151520" cy="170865"/>
            </a:xfrm>
            <a:custGeom>
              <a:avLst/>
              <a:gdLst>
                <a:gd name="connsiteX0" fmla="*/ 145075 w 151520"/>
                <a:gd name="connsiteY0" fmla="*/ 170865 h 170865"/>
                <a:gd name="connsiteX1" fmla="*/ 145075 w 151520"/>
                <a:gd name="connsiteY1" fmla="*/ 170865 h 170865"/>
                <a:gd name="connsiteX2" fmla="*/ 0 w 151520"/>
                <a:gd name="connsiteY2" fmla="*/ 9671 h 170865"/>
                <a:gd name="connsiteX3" fmla="*/ 3223 w 151520"/>
                <a:gd name="connsiteY3" fmla="*/ 0 h 170865"/>
                <a:gd name="connsiteX4" fmla="*/ 12894 w 151520"/>
                <a:gd name="connsiteY4" fmla="*/ 3224 h 170865"/>
                <a:gd name="connsiteX5" fmla="*/ 148298 w 151520"/>
                <a:gd name="connsiteY5" fmla="*/ 157970 h 170865"/>
                <a:gd name="connsiteX6" fmla="*/ 151521 w 151520"/>
                <a:gd name="connsiteY6" fmla="*/ 164418 h 170865"/>
                <a:gd name="connsiteX7" fmla="*/ 145075 w 151520"/>
                <a:gd name="connsiteY7" fmla="*/ 170865 h 1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520" h="170865">
                  <a:moveTo>
                    <a:pt x="145075" y="170865"/>
                  </a:moveTo>
                  <a:cubicBezTo>
                    <a:pt x="141850" y="170865"/>
                    <a:pt x="141850" y="170865"/>
                    <a:pt x="145075" y="170865"/>
                  </a:cubicBezTo>
                  <a:cubicBezTo>
                    <a:pt x="70924" y="141851"/>
                    <a:pt x="3223" y="16119"/>
                    <a:pt x="0" y="9671"/>
                  </a:cubicBezTo>
                  <a:cubicBezTo>
                    <a:pt x="0" y="6447"/>
                    <a:pt x="0" y="3224"/>
                    <a:pt x="3223" y="0"/>
                  </a:cubicBezTo>
                  <a:cubicBezTo>
                    <a:pt x="6446" y="0"/>
                    <a:pt x="9671" y="0"/>
                    <a:pt x="12894" y="3224"/>
                  </a:cubicBezTo>
                  <a:cubicBezTo>
                    <a:pt x="12894" y="3224"/>
                    <a:pt x="83820" y="132179"/>
                    <a:pt x="148298" y="157970"/>
                  </a:cubicBezTo>
                  <a:cubicBezTo>
                    <a:pt x="151521" y="157970"/>
                    <a:pt x="151521" y="161194"/>
                    <a:pt x="151521" y="164418"/>
                  </a:cubicBezTo>
                  <a:cubicBezTo>
                    <a:pt x="148298" y="170865"/>
                    <a:pt x="145075" y="170865"/>
                    <a:pt x="145075" y="170865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85F4A088-873A-46B2-B425-69D016B425F5}"/>
                </a:ext>
              </a:extLst>
            </p:cNvPr>
            <p:cNvSpPr/>
            <p:nvPr/>
          </p:nvSpPr>
          <p:spPr>
            <a:xfrm>
              <a:off x="22595976" y="9315516"/>
              <a:ext cx="703004" cy="847858"/>
            </a:xfrm>
            <a:custGeom>
              <a:avLst/>
              <a:gdLst>
                <a:gd name="connsiteX0" fmla="*/ 39082 w 703004"/>
                <a:gd name="connsiteY0" fmla="*/ 335955 h 847858"/>
                <a:gd name="connsiteX1" fmla="*/ 51978 w 703004"/>
                <a:gd name="connsiteY1" fmla="*/ 58701 h 847858"/>
                <a:gd name="connsiteX2" fmla="*/ 367918 w 703004"/>
                <a:gd name="connsiteY2" fmla="*/ 3895 h 847858"/>
                <a:gd name="connsiteX3" fmla="*/ 625828 w 703004"/>
                <a:gd name="connsiteY3" fmla="*/ 90939 h 847858"/>
                <a:gd name="connsiteX4" fmla="*/ 658067 w 703004"/>
                <a:gd name="connsiteY4" fmla="*/ 561626 h 847858"/>
                <a:gd name="connsiteX5" fmla="*/ 619380 w 703004"/>
                <a:gd name="connsiteY5" fmla="*/ 842104 h 847858"/>
                <a:gd name="connsiteX6" fmla="*/ 35859 w 703004"/>
                <a:gd name="connsiteY6" fmla="*/ 829208 h 847858"/>
                <a:gd name="connsiteX7" fmla="*/ 39082 w 703004"/>
                <a:gd name="connsiteY7" fmla="*/ 335955 h 847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3004" h="847858">
                  <a:moveTo>
                    <a:pt x="39082" y="335955"/>
                  </a:moveTo>
                  <a:cubicBezTo>
                    <a:pt x="29410" y="310163"/>
                    <a:pt x="-51187" y="113507"/>
                    <a:pt x="51978" y="58701"/>
                  </a:cubicBezTo>
                  <a:cubicBezTo>
                    <a:pt x="142246" y="10342"/>
                    <a:pt x="267978" y="-9001"/>
                    <a:pt x="367918" y="3895"/>
                  </a:cubicBezTo>
                  <a:cubicBezTo>
                    <a:pt x="480754" y="16791"/>
                    <a:pt x="593590" y="36134"/>
                    <a:pt x="625828" y="90939"/>
                  </a:cubicBezTo>
                  <a:cubicBezTo>
                    <a:pt x="722545" y="252133"/>
                    <a:pt x="722545" y="390760"/>
                    <a:pt x="658067" y="561626"/>
                  </a:cubicBezTo>
                  <a:cubicBezTo>
                    <a:pt x="638725" y="613209"/>
                    <a:pt x="635500" y="726044"/>
                    <a:pt x="619380" y="842104"/>
                  </a:cubicBezTo>
                  <a:cubicBezTo>
                    <a:pt x="619380" y="842104"/>
                    <a:pt x="374366" y="861447"/>
                    <a:pt x="35859" y="829208"/>
                  </a:cubicBezTo>
                  <a:cubicBezTo>
                    <a:pt x="71320" y="642223"/>
                    <a:pt x="45530" y="358522"/>
                    <a:pt x="39082" y="335955"/>
                  </a:cubicBezTo>
                  <a:close/>
                </a:path>
              </a:pathLst>
            </a:custGeom>
            <a:solidFill>
              <a:srgbClr val="F6EBE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B5629A5A-1302-4F05-ABB8-84E035C2E67A}"/>
                </a:ext>
              </a:extLst>
            </p:cNvPr>
            <p:cNvSpPr/>
            <p:nvPr/>
          </p:nvSpPr>
          <p:spPr>
            <a:xfrm>
              <a:off x="22783357" y="9122652"/>
              <a:ext cx="325611" cy="345057"/>
            </a:xfrm>
            <a:custGeom>
              <a:avLst/>
              <a:gdLst>
                <a:gd name="connsiteX0" fmla="*/ 267582 w 325611"/>
                <a:gd name="connsiteY0" fmla="*/ 64580 h 345057"/>
                <a:gd name="connsiteX1" fmla="*/ 325611 w 325611"/>
                <a:gd name="connsiteY1" fmla="*/ 212878 h 345057"/>
                <a:gd name="connsiteX2" fmla="*/ 283701 w 325611"/>
                <a:gd name="connsiteY2" fmla="*/ 345057 h 345057"/>
                <a:gd name="connsiteX3" fmla="*/ 0 w 325611"/>
                <a:gd name="connsiteY3" fmla="*/ 196759 h 345057"/>
                <a:gd name="connsiteX4" fmla="*/ 54804 w 325611"/>
                <a:gd name="connsiteY4" fmla="*/ 102 h 345057"/>
                <a:gd name="connsiteX5" fmla="*/ 267582 w 325611"/>
                <a:gd name="connsiteY5" fmla="*/ 64580 h 345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5611" h="345057">
                  <a:moveTo>
                    <a:pt x="267582" y="64580"/>
                  </a:moveTo>
                  <a:cubicBezTo>
                    <a:pt x="267582" y="64580"/>
                    <a:pt x="261134" y="180639"/>
                    <a:pt x="325611" y="212878"/>
                  </a:cubicBezTo>
                  <a:lnTo>
                    <a:pt x="283701" y="345057"/>
                  </a:lnTo>
                  <a:cubicBezTo>
                    <a:pt x="283701" y="345057"/>
                    <a:pt x="54804" y="228997"/>
                    <a:pt x="0" y="196759"/>
                  </a:cubicBezTo>
                  <a:cubicBezTo>
                    <a:pt x="58029" y="151625"/>
                    <a:pt x="54804" y="64580"/>
                    <a:pt x="54804" y="102"/>
                  </a:cubicBezTo>
                  <a:cubicBezTo>
                    <a:pt x="51581" y="-3122"/>
                    <a:pt x="209552" y="71028"/>
                    <a:pt x="267582" y="64580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F8731E9D-440A-4238-86D5-BCD8BFD5A9B8}"/>
                </a:ext>
              </a:extLst>
            </p:cNvPr>
            <p:cNvSpPr/>
            <p:nvPr/>
          </p:nvSpPr>
          <p:spPr>
            <a:xfrm>
              <a:off x="23217245" y="9398673"/>
              <a:ext cx="92571" cy="481693"/>
            </a:xfrm>
            <a:custGeom>
              <a:avLst/>
              <a:gdLst>
                <a:gd name="connsiteX0" fmla="*/ 40021 w 92571"/>
                <a:gd name="connsiteY0" fmla="*/ 481694 h 481693"/>
                <a:gd name="connsiteX1" fmla="*/ 40021 w 92571"/>
                <a:gd name="connsiteY1" fmla="*/ 481694 h 481693"/>
                <a:gd name="connsiteX2" fmla="*/ 33575 w 92571"/>
                <a:gd name="connsiteY2" fmla="*/ 475246 h 481693"/>
                <a:gd name="connsiteX3" fmla="*/ 46469 w 92571"/>
                <a:gd name="connsiteY3" fmla="*/ 426887 h 481693"/>
                <a:gd name="connsiteX4" fmla="*/ 75485 w 92571"/>
                <a:gd name="connsiteY4" fmla="*/ 301156 h 481693"/>
                <a:gd name="connsiteX5" fmla="*/ 1336 w 92571"/>
                <a:gd name="connsiteY5" fmla="*/ 11007 h 481693"/>
                <a:gd name="connsiteX6" fmla="*/ 4559 w 92571"/>
                <a:gd name="connsiteY6" fmla="*/ 1335 h 481693"/>
                <a:gd name="connsiteX7" fmla="*/ 14230 w 92571"/>
                <a:gd name="connsiteY7" fmla="*/ 4559 h 481693"/>
                <a:gd name="connsiteX8" fmla="*/ 91604 w 92571"/>
                <a:gd name="connsiteY8" fmla="*/ 301156 h 481693"/>
                <a:gd name="connsiteX9" fmla="*/ 62588 w 92571"/>
                <a:gd name="connsiteY9" fmla="*/ 430111 h 481693"/>
                <a:gd name="connsiteX10" fmla="*/ 49694 w 92571"/>
                <a:gd name="connsiteY10" fmla="*/ 478470 h 481693"/>
                <a:gd name="connsiteX11" fmla="*/ 40021 w 92571"/>
                <a:gd name="connsiteY11" fmla="*/ 481694 h 481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571" h="481693">
                  <a:moveTo>
                    <a:pt x="40021" y="481694"/>
                  </a:moveTo>
                  <a:cubicBezTo>
                    <a:pt x="36798" y="481694"/>
                    <a:pt x="36798" y="481694"/>
                    <a:pt x="40021" y="481694"/>
                  </a:cubicBezTo>
                  <a:cubicBezTo>
                    <a:pt x="36798" y="481694"/>
                    <a:pt x="33575" y="478470"/>
                    <a:pt x="33575" y="475246"/>
                  </a:cubicBezTo>
                  <a:cubicBezTo>
                    <a:pt x="36798" y="459126"/>
                    <a:pt x="43246" y="443007"/>
                    <a:pt x="46469" y="426887"/>
                  </a:cubicBezTo>
                  <a:cubicBezTo>
                    <a:pt x="59365" y="384977"/>
                    <a:pt x="72260" y="339843"/>
                    <a:pt x="75485" y="301156"/>
                  </a:cubicBezTo>
                  <a:cubicBezTo>
                    <a:pt x="81933" y="197992"/>
                    <a:pt x="56140" y="98052"/>
                    <a:pt x="1336" y="11007"/>
                  </a:cubicBezTo>
                  <a:cubicBezTo>
                    <a:pt x="-1889" y="7783"/>
                    <a:pt x="1336" y="4559"/>
                    <a:pt x="4559" y="1335"/>
                  </a:cubicBezTo>
                  <a:cubicBezTo>
                    <a:pt x="7782" y="-1888"/>
                    <a:pt x="11007" y="1335"/>
                    <a:pt x="14230" y="4559"/>
                  </a:cubicBezTo>
                  <a:cubicBezTo>
                    <a:pt x="72260" y="94828"/>
                    <a:pt x="98052" y="194768"/>
                    <a:pt x="91604" y="301156"/>
                  </a:cubicBezTo>
                  <a:cubicBezTo>
                    <a:pt x="88379" y="343067"/>
                    <a:pt x="75485" y="388201"/>
                    <a:pt x="62588" y="430111"/>
                  </a:cubicBezTo>
                  <a:cubicBezTo>
                    <a:pt x="56140" y="446231"/>
                    <a:pt x="52917" y="462350"/>
                    <a:pt x="49694" y="478470"/>
                  </a:cubicBezTo>
                  <a:cubicBezTo>
                    <a:pt x="43246" y="481694"/>
                    <a:pt x="40021" y="481694"/>
                    <a:pt x="40021" y="481694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41194604-306E-4197-A7B4-B46BC8D7FE85}"/>
                </a:ext>
              </a:extLst>
            </p:cNvPr>
            <p:cNvSpPr/>
            <p:nvPr/>
          </p:nvSpPr>
          <p:spPr>
            <a:xfrm>
              <a:off x="22473863" y="9312963"/>
              <a:ext cx="496973" cy="1302447"/>
            </a:xfrm>
            <a:custGeom>
              <a:avLst/>
              <a:gdLst>
                <a:gd name="connsiteX0" fmla="*/ 315940 w 496973"/>
                <a:gd name="connsiteY0" fmla="*/ 0 h 1302447"/>
                <a:gd name="connsiteX1" fmla="*/ 106388 w 496973"/>
                <a:gd name="connsiteY1" fmla="*/ 103164 h 1302447"/>
                <a:gd name="connsiteX2" fmla="*/ 93493 w 496973"/>
                <a:gd name="connsiteY2" fmla="*/ 319164 h 1302447"/>
                <a:gd name="connsiteX3" fmla="*/ 0 w 496973"/>
                <a:gd name="connsiteY3" fmla="*/ 1163821 h 1302447"/>
                <a:gd name="connsiteX4" fmla="*/ 393314 w 496973"/>
                <a:gd name="connsiteY4" fmla="*/ 1302448 h 1302447"/>
                <a:gd name="connsiteX5" fmla="*/ 432001 w 496973"/>
                <a:gd name="connsiteY5" fmla="*/ 889791 h 1302447"/>
                <a:gd name="connsiteX6" fmla="*/ 477134 w 496973"/>
                <a:gd name="connsiteY6" fmla="*/ 264358 h 1302447"/>
                <a:gd name="connsiteX7" fmla="*/ 315940 w 496973"/>
                <a:gd name="connsiteY7" fmla="*/ 0 h 1302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6973" h="1302447">
                  <a:moveTo>
                    <a:pt x="315940" y="0"/>
                  </a:moveTo>
                  <a:cubicBezTo>
                    <a:pt x="248239" y="9672"/>
                    <a:pt x="151523" y="38686"/>
                    <a:pt x="106388" y="103164"/>
                  </a:cubicBezTo>
                  <a:cubicBezTo>
                    <a:pt x="54806" y="177313"/>
                    <a:pt x="70926" y="241791"/>
                    <a:pt x="93493" y="319164"/>
                  </a:cubicBezTo>
                  <a:cubicBezTo>
                    <a:pt x="135403" y="470687"/>
                    <a:pt x="51583" y="1054209"/>
                    <a:pt x="0" y="1163821"/>
                  </a:cubicBezTo>
                  <a:cubicBezTo>
                    <a:pt x="83822" y="1263762"/>
                    <a:pt x="222449" y="1279881"/>
                    <a:pt x="393314" y="1302448"/>
                  </a:cubicBezTo>
                  <a:cubicBezTo>
                    <a:pt x="393314" y="1115463"/>
                    <a:pt x="402985" y="1057433"/>
                    <a:pt x="432001" y="889791"/>
                  </a:cubicBezTo>
                  <a:cubicBezTo>
                    <a:pt x="467463" y="680239"/>
                    <a:pt x="528717" y="467463"/>
                    <a:pt x="477134" y="264358"/>
                  </a:cubicBezTo>
                  <a:cubicBezTo>
                    <a:pt x="451343" y="177313"/>
                    <a:pt x="322388" y="0"/>
                    <a:pt x="315940" y="0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195EBF23-6CC5-4C06-B65C-2E8139476354}"/>
                </a:ext>
              </a:extLst>
            </p:cNvPr>
            <p:cNvSpPr/>
            <p:nvPr/>
          </p:nvSpPr>
          <p:spPr>
            <a:xfrm>
              <a:off x="23098765" y="9325859"/>
              <a:ext cx="281009" cy="1324741"/>
            </a:xfrm>
            <a:custGeom>
              <a:avLst/>
              <a:gdLst>
                <a:gd name="connsiteX0" fmla="*/ 229427 w 281009"/>
                <a:gd name="connsiteY0" fmla="*/ 415881 h 1324741"/>
                <a:gd name="connsiteX1" fmla="*/ 532 w 281009"/>
                <a:gd name="connsiteY1" fmla="*/ 0 h 1324741"/>
                <a:gd name="connsiteX2" fmla="*/ 532 w 281009"/>
                <a:gd name="connsiteY2" fmla="*/ 41911 h 1324741"/>
                <a:gd name="connsiteX3" fmla="*/ 110143 w 281009"/>
                <a:gd name="connsiteY3" fmla="*/ 625433 h 1324741"/>
                <a:gd name="connsiteX4" fmla="*/ 126262 w 281009"/>
                <a:gd name="connsiteY4" fmla="*/ 922030 h 1324741"/>
                <a:gd name="connsiteX5" fmla="*/ 213307 w 281009"/>
                <a:gd name="connsiteY5" fmla="*/ 1234747 h 1324741"/>
                <a:gd name="connsiteX6" fmla="*/ 213307 w 281009"/>
                <a:gd name="connsiteY6" fmla="*/ 1321791 h 1324741"/>
                <a:gd name="connsiteX7" fmla="*/ 281010 w 281009"/>
                <a:gd name="connsiteY7" fmla="*/ 1302448 h 1324741"/>
                <a:gd name="connsiteX8" fmla="*/ 229427 w 281009"/>
                <a:gd name="connsiteY8" fmla="*/ 415881 h 1324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1009" h="1324741">
                  <a:moveTo>
                    <a:pt x="229427" y="415881"/>
                  </a:moveTo>
                  <a:cubicBezTo>
                    <a:pt x="248771" y="235343"/>
                    <a:pt x="161726" y="0"/>
                    <a:pt x="532" y="0"/>
                  </a:cubicBezTo>
                  <a:cubicBezTo>
                    <a:pt x="10203" y="12896"/>
                    <a:pt x="-2693" y="38687"/>
                    <a:pt x="532" y="41911"/>
                  </a:cubicBezTo>
                  <a:cubicBezTo>
                    <a:pt x="135935" y="222448"/>
                    <a:pt x="132710" y="406209"/>
                    <a:pt x="110143" y="625433"/>
                  </a:cubicBezTo>
                  <a:cubicBezTo>
                    <a:pt x="100471" y="725373"/>
                    <a:pt x="90800" y="825314"/>
                    <a:pt x="126262" y="922030"/>
                  </a:cubicBezTo>
                  <a:cubicBezTo>
                    <a:pt x="164949" y="1028418"/>
                    <a:pt x="197188" y="1121911"/>
                    <a:pt x="213307" y="1234747"/>
                  </a:cubicBezTo>
                  <a:cubicBezTo>
                    <a:pt x="213307" y="1237970"/>
                    <a:pt x="210084" y="1321791"/>
                    <a:pt x="213307" y="1321791"/>
                  </a:cubicBezTo>
                  <a:cubicBezTo>
                    <a:pt x="219755" y="1331463"/>
                    <a:pt x="281010" y="1315344"/>
                    <a:pt x="281010" y="1302448"/>
                  </a:cubicBezTo>
                  <a:cubicBezTo>
                    <a:pt x="258442" y="1163821"/>
                    <a:pt x="219755" y="483582"/>
                    <a:pt x="229427" y="415881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BD86C16F-9898-406D-9050-58BE2D5F0FBC}"/>
                </a:ext>
              </a:extLst>
            </p:cNvPr>
            <p:cNvSpPr/>
            <p:nvPr/>
          </p:nvSpPr>
          <p:spPr>
            <a:xfrm>
              <a:off x="23276610" y="9474158"/>
              <a:ext cx="70925" cy="660895"/>
            </a:xfrm>
            <a:custGeom>
              <a:avLst/>
              <a:gdLst>
                <a:gd name="connsiteX0" fmla="*/ 61253 w 70925"/>
                <a:gd name="connsiteY0" fmla="*/ 660896 h 660895"/>
                <a:gd name="connsiteX1" fmla="*/ 54806 w 70925"/>
                <a:gd name="connsiteY1" fmla="*/ 654447 h 660895"/>
                <a:gd name="connsiteX2" fmla="*/ 0 w 70925"/>
                <a:gd name="connsiteY2" fmla="*/ 6448 h 660895"/>
                <a:gd name="connsiteX3" fmla="*/ 6448 w 70925"/>
                <a:gd name="connsiteY3" fmla="*/ 0 h 660895"/>
                <a:gd name="connsiteX4" fmla="*/ 12894 w 70925"/>
                <a:gd name="connsiteY4" fmla="*/ 6448 h 660895"/>
                <a:gd name="connsiteX5" fmla="*/ 70926 w 70925"/>
                <a:gd name="connsiteY5" fmla="*/ 654447 h 660895"/>
                <a:gd name="connsiteX6" fmla="*/ 61253 w 70925"/>
                <a:gd name="connsiteY6" fmla="*/ 660896 h 660895"/>
                <a:gd name="connsiteX7" fmla="*/ 61253 w 70925"/>
                <a:gd name="connsiteY7" fmla="*/ 660896 h 660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25" h="660895">
                  <a:moveTo>
                    <a:pt x="61253" y="660896"/>
                  </a:moveTo>
                  <a:cubicBezTo>
                    <a:pt x="58029" y="660896"/>
                    <a:pt x="54806" y="657671"/>
                    <a:pt x="54806" y="654447"/>
                  </a:cubicBezTo>
                  <a:cubicBezTo>
                    <a:pt x="41910" y="270806"/>
                    <a:pt x="0" y="9672"/>
                    <a:pt x="0" y="6448"/>
                  </a:cubicBezTo>
                  <a:cubicBezTo>
                    <a:pt x="0" y="3224"/>
                    <a:pt x="3223" y="0"/>
                    <a:pt x="6448" y="0"/>
                  </a:cubicBezTo>
                  <a:cubicBezTo>
                    <a:pt x="9671" y="0"/>
                    <a:pt x="12894" y="3224"/>
                    <a:pt x="12894" y="6448"/>
                  </a:cubicBezTo>
                  <a:cubicBezTo>
                    <a:pt x="12894" y="9672"/>
                    <a:pt x="58029" y="270806"/>
                    <a:pt x="70926" y="654447"/>
                  </a:cubicBezTo>
                  <a:cubicBezTo>
                    <a:pt x="67701" y="660896"/>
                    <a:pt x="64478" y="660896"/>
                    <a:pt x="61253" y="660896"/>
                  </a:cubicBezTo>
                  <a:cubicBezTo>
                    <a:pt x="61253" y="660896"/>
                    <a:pt x="61253" y="660896"/>
                    <a:pt x="61253" y="660896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B37E7A63-2EDC-413B-9A98-C86FC5C9F678}"/>
                </a:ext>
              </a:extLst>
            </p:cNvPr>
            <p:cNvSpPr/>
            <p:nvPr/>
          </p:nvSpPr>
          <p:spPr>
            <a:xfrm>
              <a:off x="22728551" y="8638254"/>
              <a:ext cx="442187" cy="600937"/>
            </a:xfrm>
            <a:custGeom>
              <a:avLst/>
              <a:gdLst>
                <a:gd name="connsiteX0" fmla="*/ 435224 w 442187"/>
                <a:gd name="connsiteY0" fmla="*/ 194352 h 600937"/>
                <a:gd name="connsiteX1" fmla="*/ 428776 w 442187"/>
                <a:gd name="connsiteY1" fmla="*/ 445814 h 600937"/>
                <a:gd name="connsiteX2" fmla="*/ 267582 w 442187"/>
                <a:gd name="connsiteY2" fmla="*/ 600561 h 600937"/>
                <a:gd name="connsiteX3" fmla="*/ 38687 w 442187"/>
                <a:gd name="connsiteY3" fmla="*/ 449038 h 600937"/>
                <a:gd name="connsiteX4" fmla="*/ 0 w 442187"/>
                <a:gd name="connsiteY4" fmla="*/ 210471 h 600937"/>
                <a:gd name="connsiteX5" fmla="*/ 225672 w 442187"/>
                <a:gd name="connsiteY5" fmla="*/ 919 h 600937"/>
                <a:gd name="connsiteX6" fmla="*/ 435224 w 442187"/>
                <a:gd name="connsiteY6" fmla="*/ 194352 h 600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2187" h="600937">
                  <a:moveTo>
                    <a:pt x="435224" y="194352"/>
                  </a:moveTo>
                  <a:cubicBezTo>
                    <a:pt x="435224" y="194352"/>
                    <a:pt x="454566" y="368441"/>
                    <a:pt x="428776" y="445814"/>
                  </a:cubicBezTo>
                  <a:cubicBezTo>
                    <a:pt x="399760" y="529635"/>
                    <a:pt x="319163" y="597337"/>
                    <a:pt x="267582" y="600561"/>
                  </a:cubicBezTo>
                  <a:cubicBezTo>
                    <a:pt x="196656" y="607008"/>
                    <a:pt x="61253" y="529635"/>
                    <a:pt x="38687" y="449038"/>
                  </a:cubicBezTo>
                  <a:cubicBezTo>
                    <a:pt x="16119" y="371665"/>
                    <a:pt x="0" y="265277"/>
                    <a:pt x="0" y="210471"/>
                  </a:cubicBezTo>
                  <a:cubicBezTo>
                    <a:pt x="3223" y="110531"/>
                    <a:pt x="32239" y="26710"/>
                    <a:pt x="225672" y="919"/>
                  </a:cubicBezTo>
                  <a:cubicBezTo>
                    <a:pt x="315940" y="-11977"/>
                    <a:pt x="415879" y="113755"/>
                    <a:pt x="435224" y="194352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EE505F05-096C-4F5E-969A-B46AEDAA5CCE}"/>
                </a:ext>
              </a:extLst>
            </p:cNvPr>
            <p:cNvSpPr/>
            <p:nvPr/>
          </p:nvSpPr>
          <p:spPr>
            <a:xfrm>
              <a:off x="22963894" y="8926098"/>
              <a:ext cx="58029" cy="138626"/>
            </a:xfrm>
            <a:custGeom>
              <a:avLst/>
              <a:gdLst>
                <a:gd name="connsiteX0" fmla="*/ 32239 w 58029"/>
                <a:gd name="connsiteY0" fmla="*/ 138627 h 138626"/>
                <a:gd name="connsiteX1" fmla="*/ 6448 w 58029"/>
                <a:gd name="connsiteY1" fmla="*/ 135403 h 138626"/>
                <a:gd name="connsiteX2" fmla="*/ 0 w 58029"/>
                <a:gd name="connsiteY2" fmla="*/ 128955 h 138626"/>
                <a:gd name="connsiteX3" fmla="*/ 6448 w 58029"/>
                <a:gd name="connsiteY3" fmla="*/ 122508 h 138626"/>
                <a:gd name="connsiteX4" fmla="*/ 48358 w 58029"/>
                <a:gd name="connsiteY4" fmla="*/ 122508 h 138626"/>
                <a:gd name="connsiteX5" fmla="*/ 48358 w 58029"/>
                <a:gd name="connsiteY5" fmla="*/ 119283 h 138626"/>
                <a:gd name="connsiteX6" fmla="*/ 19342 w 58029"/>
                <a:gd name="connsiteY6" fmla="*/ 6448 h 138626"/>
                <a:gd name="connsiteX7" fmla="*/ 22568 w 58029"/>
                <a:gd name="connsiteY7" fmla="*/ 0 h 138626"/>
                <a:gd name="connsiteX8" fmla="*/ 29016 w 58029"/>
                <a:gd name="connsiteY8" fmla="*/ 3224 h 138626"/>
                <a:gd name="connsiteX9" fmla="*/ 58029 w 58029"/>
                <a:gd name="connsiteY9" fmla="*/ 119283 h 138626"/>
                <a:gd name="connsiteX10" fmla="*/ 51581 w 58029"/>
                <a:gd name="connsiteY10" fmla="*/ 132179 h 138626"/>
                <a:gd name="connsiteX11" fmla="*/ 32239 w 58029"/>
                <a:gd name="connsiteY11" fmla="*/ 138627 h 13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029" h="138626">
                  <a:moveTo>
                    <a:pt x="32239" y="138627"/>
                  </a:moveTo>
                  <a:cubicBezTo>
                    <a:pt x="19342" y="138627"/>
                    <a:pt x="9671" y="135403"/>
                    <a:pt x="6448" y="135403"/>
                  </a:cubicBezTo>
                  <a:cubicBezTo>
                    <a:pt x="3223" y="135403"/>
                    <a:pt x="0" y="132179"/>
                    <a:pt x="0" y="128955"/>
                  </a:cubicBezTo>
                  <a:cubicBezTo>
                    <a:pt x="0" y="125731"/>
                    <a:pt x="3223" y="122508"/>
                    <a:pt x="6448" y="122508"/>
                  </a:cubicBezTo>
                  <a:cubicBezTo>
                    <a:pt x="19342" y="125731"/>
                    <a:pt x="41910" y="125731"/>
                    <a:pt x="48358" y="122508"/>
                  </a:cubicBezTo>
                  <a:cubicBezTo>
                    <a:pt x="48358" y="122508"/>
                    <a:pt x="48358" y="119283"/>
                    <a:pt x="48358" y="119283"/>
                  </a:cubicBezTo>
                  <a:cubicBezTo>
                    <a:pt x="48358" y="103164"/>
                    <a:pt x="25791" y="32239"/>
                    <a:pt x="19342" y="6448"/>
                  </a:cubicBezTo>
                  <a:cubicBezTo>
                    <a:pt x="19342" y="3224"/>
                    <a:pt x="19342" y="0"/>
                    <a:pt x="22568" y="0"/>
                  </a:cubicBezTo>
                  <a:cubicBezTo>
                    <a:pt x="25791" y="0"/>
                    <a:pt x="29016" y="0"/>
                    <a:pt x="29016" y="3224"/>
                  </a:cubicBezTo>
                  <a:cubicBezTo>
                    <a:pt x="29016" y="6448"/>
                    <a:pt x="58029" y="96716"/>
                    <a:pt x="58029" y="119283"/>
                  </a:cubicBezTo>
                  <a:cubicBezTo>
                    <a:pt x="58029" y="125731"/>
                    <a:pt x="54806" y="128955"/>
                    <a:pt x="51581" y="132179"/>
                  </a:cubicBezTo>
                  <a:cubicBezTo>
                    <a:pt x="54806" y="135403"/>
                    <a:pt x="41910" y="138627"/>
                    <a:pt x="32239" y="138627"/>
                  </a:cubicBezTo>
                  <a:close/>
                </a:path>
              </a:pathLst>
            </a:custGeom>
            <a:solidFill>
              <a:srgbClr val="E58777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2010264C-A532-4BDD-8FF9-A468AE01EBDA}"/>
                </a:ext>
              </a:extLst>
            </p:cNvPr>
            <p:cNvSpPr/>
            <p:nvPr/>
          </p:nvSpPr>
          <p:spPr>
            <a:xfrm>
              <a:off x="22934878" y="9116307"/>
              <a:ext cx="112835" cy="58029"/>
            </a:xfrm>
            <a:custGeom>
              <a:avLst/>
              <a:gdLst>
                <a:gd name="connsiteX0" fmla="*/ 0 w 112835"/>
                <a:gd name="connsiteY0" fmla="*/ 0 h 58029"/>
                <a:gd name="connsiteX1" fmla="*/ 112836 w 112835"/>
                <a:gd name="connsiteY1" fmla="*/ 0 h 58029"/>
                <a:gd name="connsiteX2" fmla="*/ 58031 w 112835"/>
                <a:gd name="connsiteY2" fmla="*/ 58030 h 58029"/>
                <a:gd name="connsiteX3" fmla="*/ 0 w 112835"/>
                <a:gd name="connsiteY3" fmla="*/ 0 h 58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835" h="58029">
                  <a:moveTo>
                    <a:pt x="0" y="0"/>
                  </a:moveTo>
                  <a:cubicBezTo>
                    <a:pt x="58031" y="25791"/>
                    <a:pt x="112836" y="0"/>
                    <a:pt x="112836" y="0"/>
                  </a:cubicBezTo>
                  <a:cubicBezTo>
                    <a:pt x="112836" y="0"/>
                    <a:pt x="96716" y="58030"/>
                    <a:pt x="58031" y="58030"/>
                  </a:cubicBezTo>
                  <a:cubicBezTo>
                    <a:pt x="12896" y="5803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43CC2AB8-23F9-4D78-B09F-D8EC5788017E}"/>
                </a:ext>
              </a:extLst>
            </p:cNvPr>
            <p:cNvSpPr/>
            <p:nvPr/>
          </p:nvSpPr>
          <p:spPr>
            <a:xfrm>
              <a:off x="23060610" y="8893037"/>
              <a:ext cx="42732" cy="43364"/>
            </a:xfrm>
            <a:custGeom>
              <a:avLst/>
              <a:gdLst>
                <a:gd name="connsiteX0" fmla="*/ 0 w 42732"/>
                <a:gd name="connsiteY0" fmla="*/ 26613 h 43364"/>
                <a:gd name="connsiteX1" fmla="*/ 25791 w 42732"/>
                <a:gd name="connsiteY1" fmla="*/ 42732 h 43364"/>
                <a:gd name="connsiteX2" fmla="*/ 41910 w 42732"/>
                <a:gd name="connsiteY2" fmla="*/ 16941 h 43364"/>
                <a:gd name="connsiteX3" fmla="*/ 16119 w 42732"/>
                <a:gd name="connsiteY3" fmla="*/ 822 h 43364"/>
                <a:gd name="connsiteX4" fmla="*/ 0 w 42732"/>
                <a:gd name="connsiteY4" fmla="*/ 26613 h 43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32" h="43364">
                  <a:moveTo>
                    <a:pt x="0" y="26613"/>
                  </a:moveTo>
                  <a:cubicBezTo>
                    <a:pt x="3223" y="36284"/>
                    <a:pt x="12896" y="45956"/>
                    <a:pt x="25791" y="42732"/>
                  </a:cubicBezTo>
                  <a:cubicBezTo>
                    <a:pt x="38687" y="39508"/>
                    <a:pt x="45135" y="29836"/>
                    <a:pt x="41910" y="16941"/>
                  </a:cubicBezTo>
                  <a:cubicBezTo>
                    <a:pt x="38687" y="4046"/>
                    <a:pt x="29016" y="-2402"/>
                    <a:pt x="16119" y="822"/>
                  </a:cubicBezTo>
                  <a:cubicBezTo>
                    <a:pt x="6448" y="4046"/>
                    <a:pt x="0" y="16941"/>
                    <a:pt x="0" y="2661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B61034C0-6B8E-4D85-9BE9-8955BBD601F5}"/>
                </a:ext>
              </a:extLst>
            </p:cNvPr>
            <p:cNvSpPr/>
            <p:nvPr/>
          </p:nvSpPr>
          <p:spPr>
            <a:xfrm>
              <a:off x="22859908" y="8902709"/>
              <a:ext cx="43364" cy="43364"/>
            </a:xfrm>
            <a:custGeom>
              <a:avLst/>
              <a:gdLst>
                <a:gd name="connsiteX0" fmla="*/ 821 w 43364"/>
                <a:gd name="connsiteY0" fmla="*/ 26613 h 43364"/>
                <a:gd name="connsiteX1" fmla="*/ 26612 w 43364"/>
                <a:gd name="connsiteY1" fmla="*/ 42732 h 43364"/>
                <a:gd name="connsiteX2" fmla="*/ 42731 w 43364"/>
                <a:gd name="connsiteY2" fmla="*/ 16941 h 43364"/>
                <a:gd name="connsiteX3" fmla="*/ 16941 w 43364"/>
                <a:gd name="connsiteY3" fmla="*/ 822 h 43364"/>
                <a:gd name="connsiteX4" fmla="*/ 821 w 43364"/>
                <a:gd name="connsiteY4" fmla="*/ 26613 h 43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64" h="43364">
                  <a:moveTo>
                    <a:pt x="821" y="26613"/>
                  </a:moveTo>
                  <a:cubicBezTo>
                    <a:pt x="4046" y="36284"/>
                    <a:pt x="13717" y="45956"/>
                    <a:pt x="26612" y="42732"/>
                  </a:cubicBezTo>
                  <a:cubicBezTo>
                    <a:pt x="36285" y="39508"/>
                    <a:pt x="45956" y="29836"/>
                    <a:pt x="42731" y="16941"/>
                  </a:cubicBezTo>
                  <a:cubicBezTo>
                    <a:pt x="39508" y="4045"/>
                    <a:pt x="29837" y="-2402"/>
                    <a:pt x="16941" y="822"/>
                  </a:cubicBezTo>
                  <a:cubicBezTo>
                    <a:pt x="4046" y="4045"/>
                    <a:pt x="-2402" y="13717"/>
                    <a:pt x="821" y="2661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46C516FE-70BD-4FF4-8739-30334DBC3011}"/>
                </a:ext>
              </a:extLst>
            </p:cNvPr>
            <p:cNvSpPr/>
            <p:nvPr/>
          </p:nvSpPr>
          <p:spPr>
            <a:xfrm>
              <a:off x="23033483" y="8845880"/>
              <a:ext cx="97246" cy="35083"/>
            </a:xfrm>
            <a:custGeom>
              <a:avLst/>
              <a:gdLst>
                <a:gd name="connsiteX0" fmla="*/ 88381 w 97246"/>
                <a:gd name="connsiteY0" fmla="*/ 31859 h 35083"/>
                <a:gd name="connsiteX1" fmla="*/ 81933 w 97246"/>
                <a:gd name="connsiteY1" fmla="*/ 28635 h 35083"/>
                <a:gd name="connsiteX2" fmla="*/ 11007 w 97246"/>
                <a:gd name="connsiteY2" fmla="*/ 22188 h 35083"/>
                <a:gd name="connsiteX3" fmla="*/ 1336 w 97246"/>
                <a:gd name="connsiteY3" fmla="*/ 18964 h 35083"/>
                <a:gd name="connsiteX4" fmla="*/ 4559 w 97246"/>
                <a:gd name="connsiteY4" fmla="*/ 9292 h 35083"/>
                <a:gd name="connsiteX5" fmla="*/ 94827 w 97246"/>
                <a:gd name="connsiteY5" fmla="*/ 22188 h 35083"/>
                <a:gd name="connsiteX6" fmla="*/ 94827 w 97246"/>
                <a:gd name="connsiteY6" fmla="*/ 35083 h 35083"/>
                <a:gd name="connsiteX7" fmla="*/ 88381 w 97246"/>
                <a:gd name="connsiteY7" fmla="*/ 31859 h 3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6" h="35083">
                  <a:moveTo>
                    <a:pt x="88381" y="31859"/>
                  </a:moveTo>
                  <a:cubicBezTo>
                    <a:pt x="85156" y="31859"/>
                    <a:pt x="85156" y="31859"/>
                    <a:pt x="81933" y="28635"/>
                  </a:cubicBezTo>
                  <a:cubicBezTo>
                    <a:pt x="56142" y="-379"/>
                    <a:pt x="11007" y="22188"/>
                    <a:pt x="11007" y="22188"/>
                  </a:cubicBezTo>
                  <a:cubicBezTo>
                    <a:pt x="7784" y="25412"/>
                    <a:pt x="1336" y="22188"/>
                    <a:pt x="1336" y="18964"/>
                  </a:cubicBezTo>
                  <a:cubicBezTo>
                    <a:pt x="-1889" y="15740"/>
                    <a:pt x="1336" y="9292"/>
                    <a:pt x="4559" y="9292"/>
                  </a:cubicBezTo>
                  <a:cubicBezTo>
                    <a:pt x="23903" y="-379"/>
                    <a:pt x="65814" y="-10051"/>
                    <a:pt x="94827" y="22188"/>
                  </a:cubicBezTo>
                  <a:cubicBezTo>
                    <a:pt x="98052" y="25412"/>
                    <a:pt x="98052" y="31859"/>
                    <a:pt x="94827" y="35083"/>
                  </a:cubicBezTo>
                  <a:cubicBezTo>
                    <a:pt x="91604" y="31859"/>
                    <a:pt x="91604" y="31859"/>
                    <a:pt x="88381" y="31859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33ABE2B1-C60C-4A06-9C9E-43888D346397}"/>
                </a:ext>
              </a:extLst>
            </p:cNvPr>
            <p:cNvSpPr/>
            <p:nvPr/>
          </p:nvSpPr>
          <p:spPr>
            <a:xfrm>
              <a:off x="22832521" y="8843352"/>
              <a:ext cx="97245" cy="37612"/>
            </a:xfrm>
            <a:custGeom>
              <a:avLst/>
              <a:gdLst>
                <a:gd name="connsiteX0" fmla="*/ 8865 w 97245"/>
                <a:gd name="connsiteY0" fmla="*/ 37612 h 37612"/>
                <a:gd name="connsiteX1" fmla="*/ 2417 w 97245"/>
                <a:gd name="connsiteY1" fmla="*/ 34388 h 37612"/>
                <a:gd name="connsiteX2" fmla="*/ 2417 w 97245"/>
                <a:gd name="connsiteY2" fmla="*/ 21493 h 37612"/>
                <a:gd name="connsiteX3" fmla="*/ 92686 w 97245"/>
                <a:gd name="connsiteY3" fmla="*/ 11821 h 37612"/>
                <a:gd name="connsiteX4" fmla="*/ 95911 w 97245"/>
                <a:gd name="connsiteY4" fmla="*/ 24716 h 37612"/>
                <a:gd name="connsiteX5" fmla="*/ 83014 w 97245"/>
                <a:gd name="connsiteY5" fmla="*/ 27940 h 37612"/>
                <a:gd name="connsiteX6" fmla="*/ 12089 w 97245"/>
                <a:gd name="connsiteY6" fmla="*/ 34388 h 37612"/>
                <a:gd name="connsiteX7" fmla="*/ 8865 w 97245"/>
                <a:gd name="connsiteY7" fmla="*/ 37612 h 3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5" h="37612">
                  <a:moveTo>
                    <a:pt x="8865" y="37612"/>
                  </a:moveTo>
                  <a:cubicBezTo>
                    <a:pt x="5640" y="37612"/>
                    <a:pt x="5640" y="37612"/>
                    <a:pt x="2417" y="34388"/>
                  </a:cubicBezTo>
                  <a:cubicBezTo>
                    <a:pt x="-806" y="31164"/>
                    <a:pt x="-806" y="24716"/>
                    <a:pt x="2417" y="21493"/>
                  </a:cubicBezTo>
                  <a:cubicBezTo>
                    <a:pt x="15314" y="8597"/>
                    <a:pt x="53999" y="-13970"/>
                    <a:pt x="92686" y="11821"/>
                  </a:cubicBezTo>
                  <a:cubicBezTo>
                    <a:pt x="95911" y="15045"/>
                    <a:pt x="99134" y="18269"/>
                    <a:pt x="95911" y="24716"/>
                  </a:cubicBezTo>
                  <a:cubicBezTo>
                    <a:pt x="92686" y="31164"/>
                    <a:pt x="89462" y="31164"/>
                    <a:pt x="83014" y="27940"/>
                  </a:cubicBezTo>
                  <a:cubicBezTo>
                    <a:pt x="44327" y="2149"/>
                    <a:pt x="15314" y="34388"/>
                    <a:pt x="12089" y="34388"/>
                  </a:cubicBezTo>
                  <a:cubicBezTo>
                    <a:pt x="12089" y="37612"/>
                    <a:pt x="8865" y="37612"/>
                    <a:pt x="8865" y="37612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14A5AD8E-FBE4-4006-A22C-D648E98CE250}"/>
                </a:ext>
              </a:extLst>
            </p:cNvPr>
            <p:cNvSpPr/>
            <p:nvPr/>
          </p:nvSpPr>
          <p:spPr>
            <a:xfrm>
              <a:off x="22900428" y="8604533"/>
              <a:ext cx="292506" cy="273206"/>
            </a:xfrm>
            <a:custGeom>
              <a:avLst/>
              <a:gdLst>
                <a:gd name="connsiteX0" fmla="*/ 2211 w 292506"/>
                <a:gd name="connsiteY0" fmla="*/ 2401 h 273206"/>
                <a:gd name="connsiteX1" fmla="*/ 40898 w 292506"/>
                <a:gd name="connsiteY1" fmla="*/ 137804 h 273206"/>
                <a:gd name="connsiteX2" fmla="*/ 292360 w 292506"/>
                <a:gd name="connsiteY2" fmla="*/ 273207 h 273206"/>
                <a:gd name="connsiteX3" fmla="*/ 2211 w 292506"/>
                <a:gd name="connsiteY3" fmla="*/ 2401 h 27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2506" h="273206">
                  <a:moveTo>
                    <a:pt x="2211" y="2401"/>
                  </a:moveTo>
                  <a:cubicBezTo>
                    <a:pt x="2211" y="2401"/>
                    <a:pt x="-13908" y="95894"/>
                    <a:pt x="40898" y="137804"/>
                  </a:cubicBezTo>
                  <a:cubicBezTo>
                    <a:pt x="40898" y="137804"/>
                    <a:pt x="263347" y="182938"/>
                    <a:pt x="292360" y="273207"/>
                  </a:cubicBezTo>
                  <a:cubicBezTo>
                    <a:pt x="292360" y="273207"/>
                    <a:pt x="308480" y="-29838"/>
                    <a:pt x="2211" y="2401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86089489-EC51-4FD2-9465-1DA770720D14}"/>
                </a:ext>
              </a:extLst>
            </p:cNvPr>
            <p:cNvSpPr/>
            <p:nvPr/>
          </p:nvSpPr>
          <p:spPr>
            <a:xfrm>
              <a:off x="22700968" y="8606934"/>
              <a:ext cx="237134" cy="332582"/>
            </a:xfrm>
            <a:custGeom>
              <a:avLst/>
              <a:gdLst>
                <a:gd name="connsiteX0" fmla="*/ 237135 w 237134"/>
                <a:gd name="connsiteY0" fmla="*/ 135403 h 332582"/>
                <a:gd name="connsiteX1" fmla="*/ 88835 w 237134"/>
                <a:gd name="connsiteY1" fmla="*/ 193433 h 332582"/>
                <a:gd name="connsiteX2" fmla="*/ 27582 w 237134"/>
                <a:gd name="connsiteY2" fmla="*/ 319164 h 332582"/>
                <a:gd name="connsiteX3" fmla="*/ 1792 w 237134"/>
                <a:gd name="connsiteY3" fmla="*/ 315940 h 332582"/>
                <a:gd name="connsiteX4" fmla="*/ 201671 w 237134"/>
                <a:gd name="connsiteY4" fmla="*/ 0 h 332582"/>
                <a:gd name="connsiteX5" fmla="*/ 237135 w 237134"/>
                <a:gd name="connsiteY5" fmla="*/ 135403 h 332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134" h="332582">
                  <a:moveTo>
                    <a:pt x="237135" y="135403"/>
                  </a:moveTo>
                  <a:cubicBezTo>
                    <a:pt x="237135" y="135403"/>
                    <a:pt x="140418" y="186985"/>
                    <a:pt x="88835" y="193433"/>
                  </a:cubicBezTo>
                  <a:cubicBezTo>
                    <a:pt x="34031" y="199881"/>
                    <a:pt x="27582" y="319164"/>
                    <a:pt x="27582" y="319164"/>
                  </a:cubicBezTo>
                  <a:cubicBezTo>
                    <a:pt x="27582" y="319164"/>
                    <a:pt x="5015" y="351403"/>
                    <a:pt x="1792" y="315940"/>
                  </a:cubicBezTo>
                  <a:cubicBezTo>
                    <a:pt x="-4656" y="232119"/>
                    <a:pt x="-4656" y="22567"/>
                    <a:pt x="201671" y="0"/>
                  </a:cubicBezTo>
                  <a:cubicBezTo>
                    <a:pt x="201671" y="0"/>
                    <a:pt x="214567" y="128955"/>
                    <a:pt x="237135" y="13540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F8058102-341C-4B62-969E-C9FED29BC7AB}"/>
                </a:ext>
              </a:extLst>
            </p:cNvPr>
            <p:cNvSpPr/>
            <p:nvPr/>
          </p:nvSpPr>
          <p:spPr>
            <a:xfrm>
              <a:off x="22783357" y="8658516"/>
              <a:ext cx="165849" cy="148298"/>
            </a:xfrm>
            <a:custGeom>
              <a:avLst/>
              <a:gdLst>
                <a:gd name="connsiteX0" fmla="*/ 6446 w 165849"/>
                <a:gd name="connsiteY0" fmla="*/ 148299 h 148298"/>
                <a:gd name="connsiteX1" fmla="*/ 0 w 165849"/>
                <a:gd name="connsiteY1" fmla="*/ 141851 h 148298"/>
                <a:gd name="connsiteX2" fmla="*/ 6446 w 165849"/>
                <a:gd name="connsiteY2" fmla="*/ 135403 h 148298"/>
                <a:gd name="connsiteX3" fmla="*/ 106388 w 165849"/>
                <a:gd name="connsiteY3" fmla="*/ 103164 h 148298"/>
                <a:gd name="connsiteX4" fmla="*/ 148298 w 165849"/>
                <a:gd name="connsiteY4" fmla="*/ 80597 h 148298"/>
                <a:gd name="connsiteX5" fmla="*/ 122507 w 165849"/>
                <a:gd name="connsiteY5" fmla="*/ 6448 h 148298"/>
                <a:gd name="connsiteX6" fmla="*/ 128955 w 165849"/>
                <a:gd name="connsiteY6" fmla="*/ 0 h 148298"/>
                <a:gd name="connsiteX7" fmla="*/ 128955 w 165849"/>
                <a:gd name="connsiteY7" fmla="*/ 0 h 148298"/>
                <a:gd name="connsiteX8" fmla="*/ 135401 w 165849"/>
                <a:gd name="connsiteY8" fmla="*/ 6448 h 148298"/>
                <a:gd name="connsiteX9" fmla="*/ 164417 w 165849"/>
                <a:gd name="connsiteY9" fmla="*/ 80597 h 148298"/>
                <a:gd name="connsiteX10" fmla="*/ 164417 w 165849"/>
                <a:gd name="connsiteY10" fmla="*/ 87045 h 148298"/>
                <a:gd name="connsiteX11" fmla="*/ 161194 w 165849"/>
                <a:gd name="connsiteY11" fmla="*/ 90269 h 148298"/>
                <a:gd name="connsiteX12" fmla="*/ 112836 w 165849"/>
                <a:gd name="connsiteY12" fmla="*/ 116060 h 148298"/>
                <a:gd name="connsiteX13" fmla="*/ 6446 w 165849"/>
                <a:gd name="connsiteY13" fmla="*/ 148299 h 148298"/>
                <a:gd name="connsiteX14" fmla="*/ 6446 w 165849"/>
                <a:gd name="connsiteY14" fmla="*/ 148299 h 14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5849" h="148298">
                  <a:moveTo>
                    <a:pt x="6446" y="148299"/>
                  </a:moveTo>
                  <a:cubicBezTo>
                    <a:pt x="3223" y="148299"/>
                    <a:pt x="0" y="145075"/>
                    <a:pt x="0" y="141851"/>
                  </a:cubicBezTo>
                  <a:cubicBezTo>
                    <a:pt x="0" y="138627"/>
                    <a:pt x="3223" y="135403"/>
                    <a:pt x="6446" y="135403"/>
                  </a:cubicBezTo>
                  <a:cubicBezTo>
                    <a:pt x="35462" y="132179"/>
                    <a:pt x="70924" y="119283"/>
                    <a:pt x="106388" y="103164"/>
                  </a:cubicBezTo>
                  <a:cubicBezTo>
                    <a:pt x="125730" y="93493"/>
                    <a:pt x="138626" y="87045"/>
                    <a:pt x="148298" y="80597"/>
                  </a:cubicBezTo>
                  <a:cubicBezTo>
                    <a:pt x="138626" y="64478"/>
                    <a:pt x="122507" y="29015"/>
                    <a:pt x="122507" y="6448"/>
                  </a:cubicBezTo>
                  <a:cubicBezTo>
                    <a:pt x="122507" y="3224"/>
                    <a:pt x="125730" y="0"/>
                    <a:pt x="128955" y="0"/>
                  </a:cubicBezTo>
                  <a:lnTo>
                    <a:pt x="128955" y="0"/>
                  </a:lnTo>
                  <a:cubicBezTo>
                    <a:pt x="132178" y="0"/>
                    <a:pt x="135401" y="3224"/>
                    <a:pt x="135401" y="6448"/>
                  </a:cubicBezTo>
                  <a:cubicBezTo>
                    <a:pt x="138626" y="32239"/>
                    <a:pt x="157969" y="74149"/>
                    <a:pt x="164417" y="80597"/>
                  </a:cubicBezTo>
                  <a:cubicBezTo>
                    <a:pt x="164417" y="80597"/>
                    <a:pt x="167640" y="83821"/>
                    <a:pt x="164417" y="87045"/>
                  </a:cubicBezTo>
                  <a:cubicBezTo>
                    <a:pt x="164417" y="90269"/>
                    <a:pt x="164417" y="90269"/>
                    <a:pt x="161194" y="90269"/>
                  </a:cubicBezTo>
                  <a:cubicBezTo>
                    <a:pt x="161194" y="90269"/>
                    <a:pt x="141850" y="103164"/>
                    <a:pt x="112836" y="116060"/>
                  </a:cubicBezTo>
                  <a:cubicBezTo>
                    <a:pt x="74149" y="132179"/>
                    <a:pt x="38685" y="141851"/>
                    <a:pt x="6446" y="148299"/>
                  </a:cubicBezTo>
                  <a:cubicBezTo>
                    <a:pt x="6446" y="148299"/>
                    <a:pt x="6446" y="148299"/>
                    <a:pt x="6446" y="148299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BB671281-F8FD-44BF-90B6-3C98A8235275}"/>
                </a:ext>
              </a:extLst>
            </p:cNvPr>
            <p:cNvSpPr/>
            <p:nvPr/>
          </p:nvSpPr>
          <p:spPr>
            <a:xfrm>
              <a:off x="22819625" y="9165471"/>
              <a:ext cx="248865" cy="83015"/>
            </a:xfrm>
            <a:custGeom>
              <a:avLst/>
              <a:gdLst>
                <a:gd name="connsiteX0" fmla="*/ 160388 w 248865"/>
                <a:gd name="connsiteY0" fmla="*/ 83015 h 83015"/>
                <a:gd name="connsiteX1" fmla="*/ 2417 w 248865"/>
                <a:gd name="connsiteY1" fmla="*/ 12090 h 83015"/>
                <a:gd name="connsiteX2" fmla="*/ 2417 w 248865"/>
                <a:gd name="connsiteY2" fmla="*/ 2418 h 83015"/>
                <a:gd name="connsiteX3" fmla="*/ 12091 w 248865"/>
                <a:gd name="connsiteY3" fmla="*/ 2418 h 83015"/>
                <a:gd name="connsiteX4" fmla="*/ 163611 w 248865"/>
                <a:gd name="connsiteY4" fmla="*/ 73343 h 83015"/>
                <a:gd name="connsiteX5" fmla="*/ 163611 w 248865"/>
                <a:gd name="connsiteY5" fmla="*/ 73343 h 83015"/>
                <a:gd name="connsiteX6" fmla="*/ 237762 w 248865"/>
                <a:gd name="connsiteY6" fmla="*/ 47552 h 83015"/>
                <a:gd name="connsiteX7" fmla="*/ 247433 w 248865"/>
                <a:gd name="connsiteY7" fmla="*/ 47552 h 83015"/>
                <a:gd name="connsiteX8" fmla="*/ 247433 w 248865"/>
                <a:gd name="connsiteY8" fmla="*/ 57224 h 83015"/>
                <a:gd name="connsiteX9" fmla="*/ 160388 w 248865"/>
                <a:gd name="connsiteY9" fmla="*/ 83015 h 83015"/>
                <a:gd name="connsiteX10" fmla="*/ 160388 w 248865"/>
                <a:gd name="connsiteY10" fmla="*/ 83015 h 8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865" h="83015">
                  <a:moveTo>
                    <a:pt x="160388" y="83015"/>
                  </a:moveTo>
                  <a:cubicBezTo>
                    <a:pt x="99134" y="83015"/>
                    <a:pt x="5642" y="15313"/>
                    <a:pt x="2417" y="12090"/>
                  </a:cubicBezTo>
                  <a:cubicBezTo>
                    <a:pt x="-806" y="8866"/>
                    <a:pt x="-806" y="5642"/>
                    <a:pt x="2417" y="2418"/>
                  </a:cubicBezTo>
                  <a:cubicBezTo>
                    <a:pt x="5642" y="-806"/>
                    <a:pt x="8865" y="-806"/>
                    <a:pt x="12091" y="2418"/>
                  </a:cubicBezTo>
                  <a:cubicBezTo>
                    <a:pt x="12091" y="2418"/>
                    <a:pt x="105582" y="73343"/>
                    <a:pt x="163611" y="73343"/>
                  </a:cubicBezTo>
                  <a:cubicBezTo>
                    <a:pt x="163611" y="73343"/>
                    <a:pt x="163611" y="73343"/>
                    <a:pt x="163611" y="73343"/>
                  </a:cubicBezTo>
                  <a:cubicBezTo>
                    <a:pt x="205523" y="73343"/>
                    <a:pt x="237762" y="47552"/>
                    <a:pt x="237762" y="47552"/>
                  </a:cubicBezTo>
                  <a:cubicBezTo>
                    <a:pt x="240985" y="44329"/>
                    <a:pt x="244208" y="47552"/>
                    <a:pt x="247433" y="47552"/>
                  </a:cubicBezTo>
                  <a:cubicBezTo>
                    <a:pt x="250657" y="50776"/>
                    <a:pt x="247433" y="54000"/>
                    <a:pt x="247433" y="57224"/>
                  </a:cubicBezTo>
                  <a:cubicBezTo>
                    <a:pt x="240985" y="54000"/>
                    <a:pt x="205523" y="79791"/>
                    <a:pt x="160388" y="83015"/>
                  </a:cubicBezTo>
                  <a:cubicBezTo>
                    <a:pt x="160388" y="83015"/>
                    <a:pt x="160388" y="83015"/>
                    <a:pt x="160388" y="83015"/>
                  </a:cubicBezTo>
                  <a:close/>
                </a:path>
              </a:pathLst>
            </a:custGeom>
            <a:solidFill>
              <a:srgbClr val="E58777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2AB5033E-AF23-437F-B23A-7675D7178AE0}"/>
                </a:ext>
              </a:extLst>
            </p:cNvPr>
            <p:cNvSpPr/>
            <p:nvPr/>
          </p:nvSpPr>
          <p:spPr>
            <a:xfrm>
              <a:off x="22685198" y="8911633"/>
              <a:ext cx="82039" cy="120599"/>
            </a:xfrm>
            <a:custGeom>
              <a:avLst/>
              <a:gdLst>
                <a:gd name="connsiteX0" fmla="*/ 69143 w 82039"/>
                <a:gd name="connsiteY0" fmla="*/ 17689 h 120599"/>
                <a:gd name="connsiteX1" fmla="*/ 7889 w 82039"/>
                <a:gd name="connsiteY1" fmla="*/ 8018 h 120599"/>
                <a:gd name="connsiteX2" fmla="*/ 69143 w 82039"/>
                <a:gd name="connsiteY2" fmla="*/ 117629 h 120599"/>
                <a:gd name="connsiteX3" fmla="*/ 69143 w 82039"/>
                <a:gd name="connsiteY3" fmla="*/ 17689 h 12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039" h="120599">
                  <a:moveTo>
                    <a:pt x="69143" y="17689"/>
                  </a:moveTo>
                  <a:cubicBezTo>
                    <a:pt x="69143" y="17689"/>
                    <a:pt x="33682" y="-14549"/>
                    <a:pt x="7889" y="8018"/>
                  </a:cubicBezTo>
                  <a:cubicBezTo>
                    <a:pt x="-17902" y="27361"/>
                    <a:pt x="24008" y="140196"/>
                    <a:pt x="69143" y="117629"/>
                  </a:cubicBezTo>
                  <a:cubicBezTo>
                    <a:pt x="98159" y="95062"/>
                    <a:pt x="69143" y="17689"/>
                    <a:pt x="69143" y="17689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EBAF7C02-4487-4137-A987-FC97C58AE2B2}"/>
                </a:ext>
              </a:extLst>
            </p:cNvPr>
            <p:cNvSpPr/>
            <p:nvPr/>
          </p:nvSpPr>
          <p:spPr>
            <a:xfrm>
              <a:off x="22933543" y="8732665"/>
              <a:ext cx="268918" cy="170865"/>
            </a:xfrm>
            <a:custGeom>
              <a:avLst/>
              <a:gdLst>
                <a:gd name="connsiteX0" fmla="*/ 259245 w 268918"/>
                <a:gd name="connsiteY0" fmla="*/ 170866 h 170865"/>
                <a:gd name="connsiteX1" fmla="*/ 252799 w 268918"/>
                <a:gd name="connsiteY1" fmla="*/ 164418 h 170865"/>
                <a:gd name="connsiteX2" fmla="*/ 146410 w 268918"/>
                <a:gd name="connsiteY2" fmla="*/ 61254 h 170865"/>
                <a:gd name="connsiteX3" fmla="*/ 4560 w 268918"/>
                <a:gd name="connsiteY3" fmla="*/ 12895 h 170865"/>
                <a:gd name="connsiteX4" fmla="*/ 1335 w 268918"/>
                <a:gd name="connsiteY4" fmla="*/ 3224 h 170865"/>
                <a:gd name="connsiteX5" fmla="*/ 11008 w 268918"/>
                <a:gd name="connsiteY5" fmla="*/ 0 h 170865"/>
                <a:gd name="connsiteX6" fmla="*/ 152858 w 268918"/>
                <a:gd name="connsiteY6" fmla="*/ 48358 h 170865"/>
                <a:gd name="connsiteX7" fmla="*/ 268919 w 268918"/>
                <a:gd name="connsiteY7" fmla="*/ 161194 h 170865"/>
                <a:gd name="connsiteX8" fmla="*/ 259245 w 268918"/>
                <a:gd name="connsiteY8" fmla="*/ 170866 h 170865"/>
                <a:gd name="connsiteX9" fmla="*/ 259245 w 268918"/>
                <a:gd name="connsiteY9" fmla="*/ 170866 h 1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8918" h="170865">
                  <a:moveTo>
                    <a:pt x="259245" y="170866"/>
                  </a:moveTo>
                  <a:cubicBezTo>
                    <a:pt x="256022" y="170866"/>
                    <a:pt x="252799" y="167642"/>
                    <a:pt x="252799" y="164418"/>
                  </a:cubicBezTo>
                  <a:cubicBezTo>
                    <a:pt x="243126" y="103164"/>
                    <a:pt x="201216" y="77373"/>
                    <a:pt x="146410" y="61254"/>
                  </a:cubicBezTo>
                  <a:cubicBezTo>
                    <a:pt x="75486" y="38686"/>
                    <a:pt x="4560" y="12895"/>
                    <a:pt x="4560" y="12895"/>
                  </a:cubicBezTo>
                  <a:cubicBezTo>
                    <a:pt x="1335" y="12895"/>
                    <a:pt x="-1888" y="6448"/>
                    <a:pt x="1335" y="3224"/>
                  </a:cubicBezTo>
                  <a:cubicBezTo>
                    <a:pt x="1335" y="0"/>
                    <a:pt x="4560" y="0"/>
                    <a:pt x="11008" y="0"/>
                  </a:cubicBezTo>
                  <a:cubicBezTo>
                    <a:pt x="11008" y="0"/>
                    <a:pt x="81932" y="25791"/>
                    <a:pt x="152858" y="48358"/>
                  </a:cubicBezTo>
                  <a:cubicBezTo>
                    <a:pt x="207664" y="64478"/>
                    <a:pt x="256022" y="90269"/>
                    <a:pt x="268919" y="161194"/>
                  </a:cubicBezTo>
                  <a:cubicBezTo>
                    <a:pt x="265694" y="164418"/>
                    <a:pt x="262471" y="167642"/>
                    <a:pt x="259245" y="170866"/>
                  </a:cubicBezTo>
                  <a:cubicBezTo>
                    <a:pt x="259245" y="170866"/>
                    <a:pt x="259245" y="170866"/>
                    <a:pt x="259245" y="170866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97CB5576-7BB2-47D0-B8F1-F054516008D8}"/>
                </a:ext>
              </a:extLst>
            </p:cNvPr>
            <p:cNvGrpSpPr/>
            <p:nvPr/>
          </p:nvGrpSpPr>
          <p:grpSpPr>
            <a:xfrm>
              <a:off x="22110874" y="8274613"/>
              <a:ext cx="250307" cy="184944"/>
              <a:chOff x="22110874" y="8274613"/>
              <a:chExt cx="250307" cy="184944"/>
            </a:xfrm>
          </p:grpSpPr>
          <p:grpSp>
            <p:nvGrpSpPr>
              <p:cNvPr id="71" name="图形 1">
                <a:extLst>
                  <a:ext uri="{FF2B5EF4-FFF2-40B4-BE49-F238E27FC236}">
                    <a16:creationId xmlns:a16="http://schemas.microsoft.com/office/drawing/2014/main" id="{4AB59E31-1105-4C82-A7E9-BC6D41809C9F}"/>
                  </a:ext>
                </a:extLst>
              </p:cNvPr>
              <p:cNvGrpSpPr/>
              <p:nvPr/>
            </p:nvGrpSpPr>
            <p:grpSpPr>
              <a:xfrm>
                <a:off x="22110874" y="8274613"/>
                <a:ext cx="250307" cy="184944"/>
                <a:chOff x="22110874" y="8274613"/>
                <a:chExt cx="250307" cy="184944"/>
              </a:xfrm>
            </p:grpSpPr>
            <p:sp>
              <p:nvSpPr>
                <p:cNvPr id="73" name="任意多边形: 形状 72">
                  <a:extLst>
                    <a:ext uri="{FF2B5EF4-FFF2-40B4-BE49-F238E27FC236}">
                      <a16:creationId xmlns:a16="http://schemas.microsoft.com/office/drawing/2014/main" id="{00B92EB0-BA61-40A5-927D-597EE4681E7C}"/>
                    </a:ext>
                  </a:extLst>
                </p:cNvPr>
                <p:cNvSpPr/>
                <p:nvPr/>
              </p:nvSpPr>
              <p:spPr>
                <a:xfrm>
                  <a:off x="22110874" y="8274613"/>
                  <a:ext cx="250307" cy="184944"/>
                </a:xfrm>
                <a:custGeom>
                  <a:avLst/>
                  <a:gdLst>
                    <a:gd name="connsiteX0" fmla="*/ 88960 w 250307"/>
                    <a:gd name="connsiteY0" fmla="*/ 148559 h 184944"/>
                    <a:gd name="connsiteX1" fmla="*/ 195348 w 250307"/>
                    <a:gd name="connsiteY1" fmla="*/ 184022 h 184944"/>
                    <a:gd name="connsiteX2" fmla="*/ 250154 w 250307"/>
                    <a:gd name="connsiteY2" fmla="*/ 132440 h 184944"/>
                    <a:gd name="connsiteX3" fmla="*/ 192124 w 250307"/>
                    <a:gd name="connsiteY3" fmla="*/ 6709 h 184944"/>
                    <a:gd name="connsiteX4" fmla="*/ 166334 w 250307"/>
                    <a:gd name="connsiteY4" fmla="*/ 19604 h 184944"/>
                    <a:gd name="connsiteX5" fmla="*/ 179228 w 250307"/>
                    <a:gd name="connsiteY5" fmla="*/ 77634 h 184944"/>
                    <a:gd name="connsiteX6" fmla="*/ 40602 w 250307"/>
                    <a:gd name="connsiteY6" fmla="*/ 6709 h 184944"/>
                    <a:gd name="connsiteX7" fmla="*/ 14811 w 250307"/>
                    <a:gd name="connsiteY7" fmla="*/ 13157 h 184944"/>
                    <a:gd name="connsiteX8" fmla="*/ 47050 w 250307"/>
                    <a:gd name="connsiteY8" fmla="*/ 32500 h 184944"/>
                    <a:gd name="connsiteX9" fmla="*/ 88960 w 250307"/>
                    <a:gd name="connsiteY9" fmla="*/ 58291 h 184944"/>
                    <a:gd name="connsiteX10" fmla="*/ 27707 w 250307"/>
                    <a:gd name="connsiteY10" fmla="*/ 38948 h 184944"/>
                    <a:gd name="connsiteX11" fmla="*/ 5140 w 250307"/>
                    <a:gd name="connsiteY11" fmla="*/ 84082 h 184944"/>
                    <a:gd name="connsiteX12" fmla="*/ 27707 w 250307"/>
                    <a:gd name="connsiteY12" fmla="*/ 90530 h 184944"/>
                    <a:gd name="connsiteX13" fmla="*/ 21259 w 250307"/>
                    <a:gd name="connsiteY13" fmla="*/ 90530 h 184944"/>
                    <a:gd name="connsiteX14" fmla="*/ 8363 w 250307"/>
                    <a:gd name="connsiteY14" fmla="*/ 100201 h 184944"/>
                    <a:gd name="connsiteX15" fmla="*/ 88960 w 250307"/>
                    <a:gd name="connsiteY15" fmla="*/ 148559 h 1849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50307" h="184944">
                      <a:moveTo>
                        <a:pt x="88960" y="148559"/>
                      </a:moveTo>
                      <a:cubicBezTo>
                        <a:pt x="121199" y="161455"/>
                        <a:pt x="159886" y="190470"/>
                        <a:pt x="195348" y="184022"/>
                      </a:cubicBezTo>
                      <a:cubicBezTo>
                        <a:pt x="217915" y="180798"/>
                        <a:pt x="246931" y="155008"/>
                        <a:pt x="250154" y="132440"/>
                      </a:cubicBezTo>
                      <a:cubicBezTo>
                        <a:pt x="253379" y="100201"/>
                        <a:pt x="205021" y="61515"/>
                        <a:pt x="192124" y="6709"/>
                      </a:cubicBezTo>
                      <a:cubicBezTo>
                        <a:pt x="188901" y="-6186"/>
                        <a:pt x="166334" y="261"/>
                        <a:pt x="166334" y="19604"/>
                      </a:cubicBezTo>
                      <a:cubicBezTo>
                        <a:pt x="166334" y="38948"/>
                        <a:pt x="172782" y="61515"/>
                        <a:pt x="179228" y="77634"/>
                      </a:cubicBezTo>
                      <a:cubicBezTo>
                        <a:pt x="130870" y="55067"/>
                        <a:pt x="95408" y="19604"/>
                        <a:pt x="40602" y="6709"/>
                      </a:cubicBezTo>
                      <a:cubicBezTo>
                        <a:pt x="30930" y="3485"/>
                        <a:pt x="8363" y="261"/>
                        <a:pt x="14811" y="13157"/>
                      </a:cubicBezTo>
                      <a:cubicBezTo>
                        <a:pt x="18034" y="22828"/>
                        <a:pt x="37379" y="29276"/>
                        <a:pt x="47050" y="32500"/>
                      </a:cubicBezTo>
                      <a:cubicBezTo>
                        <a:pt x="59946" y="42172"/>
                        <a:pt x="76066" y="48619"/>
                        <a:pt x="88960" y="58291"/>
                      </a:cubicBezTo>
                      <a:cubicBezTo>
                        <a:pt x="69617" y="51843"/>
                        <a:pt x="47050" y="45395"/>
                        <a:pt x="27707" y="38948"/>
                      </a:cubicBezTo>
                      <a:cubicBezTo>
                        <a:pt x="14811" y="35724"/>
                        <a:pt x="-10980" y="77634"/>
                        <a:pt x="5140" y="84082"/>
                      </a:cubicBezTo>
                      <a:cubicBezTo>
                        <a:pt x="11588" y="87306"/>
                        <a:pt x="18034" y="90530"/>
                        <a:pt x="27707" y="90530"/>
                      </a:cubicBezTo>
                      <a:cubicBezTo>
                        <a:pt x="24482" y="90530"/>
                        <a:pt x="24482" y="90530"/>
                        <a:pt x="21259" y="90530"/>
                      </a:cubicBezTo>
                      <a:cubicBezTo>
                        <a:pt x="14811" y="90530"/>
                        <a:pt x="8363" y="93754"/>
                        <a:pt x="8363" y="100201"/>
                      </a:cubicBezTo>
                      <a:cubicBezTo>
                        <a:pt x="5140" y="113097"/>
                        <a:pt x="69617" y="142112"/>
                        <a:pt x="88960" y="148559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: 形状 73">
                  <a:extLst>
                    <a:ext uri="{FF2B5EF4-FFF2-40B4-BE49-F238E27FC236}">
                      <a16:creationId xmlns:a16="http://schemas.microsoft.com/office/drawing/2014/main" id="{AB73B5ED-2966-477E-95FD-3C5741EE0455}"/>
                    </a:ext>
                  </a:extLst>
                </p:cNvPr>
                <p:cNvSpPr/>
                <p:nvPr/>
              </p:nvSpPr>
              <p:spPr>
                <a:xfrm>
                  <a:off x="22273497" y="8361919"/>
                  <a:ext cx="32723" cy="48358"/>
                </a:xfrm>
                <a:custGeom>
                  <a:avLst/>
                  <a:gdLst>
                    <a:gd name="connsiteX0" fmla="*/ 23052 w 32723"/>
                    <a:gd name="connsiteY0" fmla="*/ 48358 h 48358"/>
                    <a:gd name="connsiteX1" fmla="*/ 19829 w 32723"/>
                    <a:gd name="connsiteY1" fmla="*/ 48358 h 48358"/>
                    <a:gd name="connsiteX2" fmla="*/ 3710 w 32723"/>
                    <a:gd name="connsiteY2" fmla="*/ 3224 h 48358"/>
                    <a:gd name="connsiteX3" fmla="*/ 13381 w 32723"/>
                    <a:gd name="connsiteY3" fmla="*/ 0 h 48358"/>
                    <a:gd name="connsiteX4" fmla="*/ 16604 w 32723"/>
                    <a:gd name="connsiteY4" fmla="*/ 9672 h 48358"/>
                    <a:gd name="connsiteX5" fmla="*/ 16604 w 32723"/>
                    <a:gd name="connsiteY5" fmla="*/ 9672 h 48358"/>
                    <a:gd name="connsiteX6" fmla="*/ 29500 w 32723"/>
                    <a:gd name="connsiteY6" fmla="*/ 38686 h 48358"/>
                    <a:gd name="connsiteX7" fmla="*/ 32724 w 32723"/>
                    <a:gd name="connsiteY7" fmla="*/ 48358 h 48358"/>
                    <a:gd name="connsiteX8" fmla="*/ 23052 w 32723"/>
                    <a:gd name="connsiteY8" fmla="*/ 48358 h 483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723" h="48358">
                      <a:moveTo>
                        <a:pt x="23052" y="48358"/>
                      </a:moveTo>
                      <a:cubicBezTo>
                        <a:pt x="23052" y="48358"/>
                        <a:pt x="19829" y="48358"/>
                        <a:pt x="19829" y="48358"/>
                      </a:cubicBezTo>
                      <a:cubicBezTo>
                        <a:pt x="-2738" y="35463"/>
                        <a:pt x="-2738" y="12895"/>
                        <a:pt x="3710" y="3224"/>
                      </a:cubicBezTo>
                      <a:cubicBezTo>
                        <a:pt x="3710" y="0"/>
                        <a:pt x="10158" y="0"/>
                        <a:pt x="13381" y="0"/>
                      </a:cubicBezTo>
                      <a:cubicBezTo>
                        <a:pt x="16604" y="0"/>
                        <a:pt x="16604" y="6448"/>
                        <a:pt x="16604" y="9672"/>
                      </a:cubicBezTo>
                      <a:lnTo>
                        <a:pt x="16604" y="9672"/>
                      </a:lnTo>
                      <a:cubicBezTo>
                        <a:pt x="16604" y="12895"/>
                        <a:pt x="10158" y="25791"/>
                        <a:pt x="29500" y="38686"/>
                      </a:cubicBezTo>
                      <a:cubicBezTo>
                        <a:pt x="32724" y="41911"/>
                        <a:pt x="32724" y="45134"/>
                        <a:pt x="32724" y="48358"/>
                      </a:cubicBezTo>
                      <a:cubicBezTo>
                        <a:pt x="29500" y="48358"/>
                        <a:pt x="26277" y="48358"/>
                        <a:pt x="23052" y="48358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DEFD3E0D-D31D-423B-9B94-5D1CBFD832AD}"/>
                  </a:ext>
                </a:extLst>
              </p:cNvPr>
              <p:cNvSpPr/>
              <p:nvPr/>
            </p:nvSpPr>
            <p:spPr>
              <a:xfrm>
                <a:off x="22112788" y="8359501"/>
                <a:ext cx="104500" cy="66895"/>
              </a:xfrm>
              <a:custGeom>
                <a:avLst/>
                <a:gdLst>
                  <a:gd name="connsiteX0" fmla="*/ 77374 w 104500"/>
                  <a:gd name="connsiteY0" fmla="*/ 66896 h 66895"/>
                  <a:gd name="connsiteX1" fmla="*/ 77374 w 104500"/>
                  <a:gd name="connsiteY1" fmla="*/ 66896 h 66895"/>
                  <a:gd name="connsiteX2" fmla="*/ 0 w 104500"/>
                  <a:gd name="connsiteY2" fmla="*/ 15313 h 66895"/>
                  <a:gd name="connsiteX3" fmla="*/ 6448 w 104500"/>
                  <a:gd name="connsiteY3" fmla="*/ 2418 h 66895"/>
                  <a:gd name="connsiteX4" fmla="*/ 32239 w 104500"/>
                  <a:gd name="connsiteY4" fmla="*/ 2418 h 66895"/>
                  <a:gd name="connsiteX5" fmla="*/ 61255 w 104500"/>
                  <a:gd name="connsiteY5" fmla="*/ 15313 h 66895"/>
                  <a:gd name="connsiteX6" fmla="*/ 99941 w 104500"/>
                  <a:gd name="connsiteY6" fmla="*/ 31433 h 66895"/>
                  <a:gd name="connsiteX7" fmla="*/ 103165 w 104500"/>
                  <a:gd name="connsiteY7" fmla="*/ 37881 h 66895"/>
                  <a:gd name="connsiteX8" fmla="*/ 96716 w 104500"/>
                  <a:gd name="connsiteY8" fmla="*/ 41105 h 66895"/>
                  <a:gd name="connsiteX9" fmla="*/ 58031 w 104500"/>
                  <a:gd name="connsiteY9" fmla="*/ 24985 h 66895"/>
                  <a:gd name="connsiteX10" fmla="*/ 29016 w 104500"/>
                  <a:gd name="connsiteY10" fmla="*/ 12090 h 66895"/>
                  <a:gd name="connsiteX11" fmla="*/ 16119 w 104500"/>
                  <a:gd name="connsiteY11" fmla="*/ 12090 h 66895"/>
                  <a:gd name="connsiteX12" fmla="*/ 16119 w 104500"/>
                  <a:gd name="connsiteY12" fmla="*/ 15313 h 66895"/>
                  <a:gd name="connsiteX13" fmla="*/ 83822 w 104500"/>
                  <a:gd name="connsiteY13" fmla="*/ 54000 h 66895"/>
                  <a:gd name="connsiteX14" fmla="*/ 87045 w 104500"/>
                  <a:gd name="connsiteY14" fmla="*/ 63672 h 66895"/>
                  <a:gd name="connsiteX15" fmla="*/ 77374 w 104500"/>
                  <a:gd name="connsiteY15" fmla="*/ 66896 h 66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4500" h="66895">
                    <a:moveTo>
                      <a:pt x="77374" y="66896"/>
                    </a:moveTo>
                    <a:cubicBezTo>
                      <a:pt x="77374" y="66896"/>
                      <a:pt x="74151" y="66896"/>
                      <a:pt x="77374" y="66896"/>
                    </a:cubicBezTo>
                    <a:cubicBezTo>
                      <a:pt x="41912" y="50776"/>
                      <a:pt x="0" y="31433"/>
                      <a:pt x="0" y="15313"/>
                    </a:cubicBezTo>
                    <a:cubicBezTo>
                      <a:pt x="0" y="8866"/>
                      <a:pt x="3225" y="5642"/>
                      <a:pt x="6448" y="2418"/>
                    </a:cubicBezTo>
                    <a:cubicBezTo>
                      <a:pt x="12896" y="-806"/>
                      <a:pt x="19344" y="-806"/>
                      <a:pt x="32239" y="2418"/>
                    </a:cubicBezTo>
                    <a:cubicBezTo>
                      <a:pt x="38687" y="5642"/>
                      <a:pt x="48358" y="8866"/>
                      <a:pt x="61255" y="15313"/>
                    </a:cubicBezTo>
                    <a:cubicBezTo>
                      <a:pt x="77374" y="21762"/>
                      <a:pt x="93493" y="28209"/>
                      <a:pt x="99941" y="31433"/>
                    </a:cubicBezTo>
                    <a:cubicBezTo>
                      <a:pt x="103165" y="31433"/>
                      <a:pt x="106390" y="34657"/>
                      <a:pt x="103165" y="37881"/>
                    </a:cubicBezTo>
                    <a:cubicBezTo>
                      <a:pt x="103165" y="41105"/>
                      <a:pt x="99941" y="44329"/>
                      <a:pt x="96716" y="41105"/>
                    </a:cubicBezTo>
                    <a:cubicBezTo>
                      <a:pt x="90270" y="37881"/>
                      <a:pt x="74151" y="31433"/>
                      <a:pt x="58031" y="24985"/>
                    </a:cubicBezTo>
                    <a:cubicBezTo>
                      <a:pt x="45135" y="18537"/>
                      <a:pt x="35464" y="15313"/>
                      <a:pt x="29016" y="12090"/>
                    </a:cubicBezTo>
                    <a:cubicBezTo>
                      <a:pt x="19344" y="8866"/>
                      <a:pt x="16119" y="12090"/>
                      <a:pt x="16119" y="12090"/>
                    </a:cubicBezTo>
                    <a:cubicBezTo>
                      <a:pt x="16119" y="12090"/>
                      <a:pt x="16119" y="12090"/>
                      <a:pt x="16119" y="15313"/>
                    </a:cubicBezTo>
                    <a:cubicBezTo>
                      <a:pt x="19344" y="21762"/>
                      <a:pt x="48358" y="37881"/>
                      <a:pt x="83822" y="54000"/>
                    </a:cubicBezTo>
                    <a:cubicBezTo>
                      <a:pt x="87045" y="54000"/>
                      <a:pt x="87045" y="60448"/>
                      <a:pt x="87045" y="63672"/>
                    </a:cubicBezTo>
                    <a:cubicBezTo>
                      <a:pt x="80597" y="63672"/>
                      <a:pt x="80597" y="66896"/>
                      <a:pt x="77374" y="6689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D4AD2D45-1EE6-4C7C-9E1D-9D691109D107}"/>
                </a:ext>
              </a:extLst>
            </p:cNvPr>
            <p:cNvSpPr/>
            <p:nvPr/>
          </p:nvSpPr>
          <p:spPr>
            <a:xfrm>
              <a:off x="22235297" y="8416725"/>
              <a:ext cx="112835" cy="125731"/>
            </a:xfrm>
            <a:custGeom>
              <a:avLst/>
              <a:gdLst>
                <a:gd name="connsiteX0" fmla="*/ 3223 w 112835"/>
                <a:gd name="connsiteY0" fmla="*/ 6448 h 125731"/>
                <a:gd name="connsiteX1" fmla="*/ 0 w 112835"/>
                <a:gd name="connsiteY1" fmla="*/ 99940 h 125731"/>
                <a:gd name="connsiteX2" fmla="*/ 96716 w 112835"/>
                <a:gd name="connsiteY2" fmla="*/ 125732 h 125731"/>
                <a:gd name="connsiteX3" fmla="*/ 112836 w 112835"/>
                <a:gd name="connsiteY3" fmla="*/ 0 h 125731"/>
                <a:gd name="connsiteX4" fmla="*/ 45133 w 112835"/>
                <a:gd name="connsiteY4" fmla="*/ 16119 h 125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835" h="125731">
                  <a:moveTo>
                    <a:pt x="3223" y="6448"/>
                  </a:moveTo>
                  <a:lnTo>
                    <a:pt x="0" y="99940"/>
                  </a:lnTo>
                  <a:lnTo>
                    <a:pt x="96716" y="125732"/>
                  </a:lnTo>
                  <a:lnTo>
                    <a:pt x="112836" y="0"/>
                  </a:lnTo>
                  <a:lnTo>
                    <a:pt x="45133" y="16119"/>
                  </a:ln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F05A07AC-211E-417D-9AC4-4C775333F457}"/>
                </a:ext>
              </a:extLst>
            </p:cNvPr>
            <p:cNvSpPr/>
            <p:nvPr/>
          </p:nvSpPr>
          <p:spPr>
            <a:xfrm>
              <a:off x="22091802" y="8471530"/>
              <a:ext cx="651460" cy="1125520"/>
            </a:xfrm>
            <a:custGeom>
              <a:avLst/>
              <a:gdLst>
                <a:gd name="connsiteX0" fmla="*/ 620629 w 651460"/>
                <a:gd name="connsiteY0" fmla="*/ 1021971 h 1125520"/>
                <a:gd name="connsiteX1" fmla="*/ 581942 w 651460"/>
                <a:gd name="connsiteY1" fmla="*/ 834985 h 1125520"/>
                <a:gd name="connsiteX2" fmla="*/ 249882 w 651460"/>
                <a:gd name="connsiteY2" fmla="*/ 564179 h 1125520"/>
                <a:gd name="connsiteX3" fmla="*/ 275673 w 651460"/>
                <a:gd name="connsiteY3" fmla="*/ 22568 h 1125520"/>
                <a:gd name="connsiteX4" fmla="*/ 120927 w 651460"/>
                <a:gd name="connsiteY4" fmla="*/ 0 h 1125520"/>
                <a:gd name="connsiteX5" fmla="*/ 14540 w 651460"/>
                <a:gd name="connsiteY5" fmla="*/ 683463 h 1125520"/>
                <a:gd name="connsiteX6" fmla="*/ 465883 w 651460"/>
                <a:gd name="connsiteY6" fmla="*/ 1109015 h 1125520"/>
                <a:gd name="connsiteX7" fmla="*/ 620629 w 651460"/>
                <a:gd name="connsiteY7" fmla="*/ 1021971 h 1125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51460" h="1125520">
                  <a:moveTo>
                    <a:pt x="620629" y="1021971"/>
                  </a:moveTo>
                  <a:cubicBezTo>
                    <a:pt x="662539" y="976836"/>
                    <a:pt x="672210" y="928478"/>
                    <a:pt x="581942" y="834985"/>
                  </a:cubicBezTo>
                  <a:cubicBezTo>
                    <a:pt x="452987" y="702806"/>
                    <a:pt x="249882" y="564179"/>
                    <a:pt x="249882" y="564179"/>
                  </a:cubicBezTo>
                  <a:lnTo>
                    <a:pt x="275673" y="22568"/>
                  </a:lnTo>
                  <a:lnTo>
                    <a:pt x="120927" y="0"/>
                  </a:lnTo>
                  <a:cubicBezTo>
                    <a:pt x="120927" y="0"/>
                    <a:pt x="-49938" y="589970"/>
                    <a:pt x="14540" y="683463"/>
                  </a:cubicBezTo>
                  <a:cubicBezTo>
                    <a:pt x="59673" y="751164"/>
                    <a:pt x="246657" y="938149"/>
                    <a:pt x="465883" y="1109015"/>
                  </a:cubicBezTo>
                  <a:cubicBezTo>
                    <a:pt x="523912" y="1160597"/>
                    <a:pt x="572271" y="1080000"/>
                    <a:pt x="620629" y="1021971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9526F7E3-6716-4A5E-8B95-47694AA569FA}"/>
                </a:ext>
              </a:extLst>
            </p:cNvPr>
            <p:cNvSpPr/>
            <p:nvPr/>
          </p:nvSpPr>
          <p:spPr>
            <a:xfrm>
              <a:off x="22270759" y="9029262"/>
              <a:ext cx="453760" cy="322388"/>
            </a:xfrm>
            <a:custGeom>
              <a:avLst/>
              <a:gdLst>
                <a:gd name="connsiteX0" fmla="*/ 444895 w 453760"/>
                <a:gd name="connsiteY0" fmla="*/ 322388 h 322388"/>
                <a:gd name="connsiteX1" fmla="*/ 441672 w 453760"/>
                <a:gd name="connsiteY1" fmla="*/ 322388 h 322388"/>
                <a:gd name="connsiteX2" fmla="*/ 364298 w 453760"/>
                <a:gd name="connsiteY2" fmla="*/ 248239 h 322388"/>
                <a:gd name="connsiteX3" fmla="*/ 67701 w 453760"/>
                <a:gd name="connsiteY3" fmla="*/ 12896 h 322388"/>
                <a:gd name="connsiteX4" fmla="*/ 6448 w 453760"/>
                <a:gd name="connsiteY4" fmla="*/ 19343 h 322388"/>
                <a:gd name="connsiteX5" fmla="*/ 0 w 453760"/>
                <a:gd name="connsiteY5" fmla="*/ 12896 h 322388"/>
                <a:gd name="connsiteX6" fmla="*/ 6448 w 453760"/>
                <a:gd name="connsiteY6" fmla="*/ 6448 h 322388"/>
                <a:gd name="connsiteX7" fmla="*/ 74149 w 453760"/>
                <a:gd name="connsiteY7" fmla="*/ 0 h 322388"/>
                <a:gd name="connsiteX8" fmla="*/ 77374 w 453760"/>
                <a:gd name="connsiteY8" fmla="*/ 0 h 322388"/>
                <a:gd name="connsiteX9" fmla="*/ 377194 w 453760"/>
                <a:gd name="connsiteY9" fmla="*/ 235343 h 322388"/>
                <a:gd name="connsiteX10" fmla="*/ 451343 w 453760"/>
                <a:gd name="connsiteY10" fmla="*/ 306269 h 322388"/>
                <a:gd name="connsiteX11" fmla="*/ 451343 w 453760"/>
                <a:gd name="connsiteY11" fmla="*/ 315940 h 322388"/>
                <a:gd name="connsiteX12" fmla="*/ 444895 w 453760"/>
                <a:gd name="connsiteY12" fmla="*/ 322388 h 32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3760" h="322388">
                  <a:moveTo>
                    <a:pt x="444895" y="322388"/>
                  </a:moveTo>
                  <a:cubicBezTo>
                    <a:pt x="444895" y="322388"/>
                    <a:pt x="441672" y="322388"/>
                    <a:pt x="441672" y="322388"/>
                  </a:cubicBezTo>
                  <a:cubicBezTo>
                    <a:pt x="399762" y="290149"/>
                    <a:pt x="367523" y="251463"/>
                    <a:pt x="364298" y="248239"/>
                  </a:cubicBezTo>
                  <a:cubicBezTo>
                    <a:pt x="335284" y="216000"/>
                    <a:pt x="90268" y="32239"/>
                    <a:pt x="67701" y="12896"/>
                  </a:cubicBezTo>
                  <a:lnTo>
                    <a:pt x="6448" y="19343"/>
                  </a:lnTo>
                  <a:cubicBezTo>
                    <a:pt x="3223" y="19343"/>
                    <a:pt x="0" y="16119"/>
                    <a:pt x="0" y="12896"/>
                  </a:cubicBezTo>
                  <a:cubicBezTo>
                    <a:pt x="0" y="9672"/>
                    <a:pt x="3223" y="6448"/>
                    <a:pt x="6448" y="6448"/>
                  </a:cubicBezTo>
                  <a:lnTo>
                    <a:pt x="74149" y="0"/>
                  </a:lnTo>
                  <a:lnTo>
                    <a:pt x="77374" y="0"/>
                  </a:lnTo>
                  <a:cubicBezTo>
                    <a:pt x="87045" y="9672"/>
                    <a:pt x="348179" y="203105"/>
                    <a:pt x="377194" y="235343"/>
                  </a:cubicBezTo>
                  <a:cubicBezTo>
                    <a:pt x="377194" y="235343"/>
                    <a:pt x="412656" y="277254"/>
                    <a:pt x="451343" y="306269"/>
                  </a:cubicBezTo>
                  <a:cubicBezTo>
                    <a:pt x="454566" y="309493"/>
                    <a:pt x="454566" y="312716"/>
                    <a:pt x="451343" y="315940"/>
                  </a:cubicBezTo>
                  <a:cubicBezTo>
                    <a:pt x="451343" y="322388"/>
                    <a:pt x="448120" y="322388"/>
                    <a:pt x="444895" y="322388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3C3A7917-2D26-4F37-9761-8F621D0B1ACD}"/>
                </a:ext>
              </a:extLst>
            </p:cNvPr>
            <p:cNvSpPr/>
            <p:nvPr/>
          </p:nvSpPr>
          <p:spPr>
            <a:xfrm>
              <a:off x="22548012" y="9561202"/>
              <a:ext cx="103164" cy="264358"/>
            </a:xfrm>
            <a:custGeom>
              <a:avLst/>
              <a:gdLst>
                <a:gd name="connsiteX0" fmla="*/ 29016 w 103164"/>
                <a:gd name="connsiteY0" fmla="*/ 264358 h 264358"/>
                <a:gd name="connsiteX1" fmla="*/ 29016 w 103164"/>
                <a:gd name="connsiteY1" fmla="*/ 264358 h 264358"/>
                <a:gd name="connsiteX2" fmla="*/ 22568 w 103164"/>
                <a:gd name="connsiteY2" fmla="*/ 257910 h 264358"/>
                <a:gd name="connsiteX3" fmla="*/ 0 w 103164"/>
                <a:gd name="connsiteY3" fmla="*/ 22567 h 264358"/>
                <a:gd name="connsiteX4" fmla="*/ 0 w 103164"/>
                <a:gd name="connsiteY4" fmla="*/ 16119 h 264358"/>
                <a:gd name="connsiteX5" fmla="*/ 6448 w 103164"/>
                <a:gd name="connsiteY5" fmla="*/ 16119 h 264358"/>
                <a:gd name="connsiteX6" fmla="*/ 6448 w 103164"/>
                <a:gd name="connsiteY6" fmla="*/ 16119 h 264358"/>
                <a:gd name="connsiteX7" fmla="*/ 96716 w 103164"/>
                <a:gd name="connsiteY7" fmla="*/ 0 h 264358"/>
                <a:gd name="connsiteX8" fmla="*/ 103165 w 103164"/>
                <a:gd name="connsiteY8" fmla="*/ 3224 h 264358"/>
                <a:gd name="connsiteX9" fmla="*/ 99941 w 103164"/>
                <a:gd name="connsiteY9" fmla="*/ 9672 h 264358"/>
                <a:gd name="connsiteX10" fmla="*/ 12896 w 103164"/>
                <a:gd name="connsiteY10" fmla="*/ 25791 h 264358"/>
                <a:gd name="connsiteX11" fmla="*/ 32239 w 103164"/>
                <a:gd name="connsiteY11" fmla="*/ 254687 h 264358"/>
                <a:gd name="connsiteX12" fmla="*/ 29016 w 103164"/>
                <a:gd name="connsiteY12" fmla="*/ 264358 h 264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3164" h="264358">
                  <a:moveTo>
                    <a:pt x="29016" y="264358"/>
                  </a:moveTo>
                  <a:lnTo>
                    <a:pt x="29016" y="264358"/>
                  </a:lnTo>
                  <a:cubicBezTo>
                    <a:pt x="25793" y="264358"/>
                    <a:pt x="22568" y="261135"/>
                    <a:pt x="22568" y="257910"/>
                  </a:cubicBezTo>
                  <a:cubicBezTo>
                    <a:pt x="22568" y="148299"/>
                    <a:pt x="3225" y="22567"/>
                    <a:pt x="0" y="22567"/>
                  </a:cubicBezTo>
                  <a:lnTo>
                    <a:pt x="0" y="16119"/>
                  </a:lnTo>
                  <a:lnTo>
                    <a:pt x="6448" y="16119"/>
                  </a:lnTo>
                  <a:cubicBezTo>
                    <a:pt x="6448" y="16119"/>
                    <a:pt x="6448" y="16119"/>
                    <a:pt x="6448" y="16119"/>
                  </a:cubicBezTo>
                  <a:cubicBezTo>
                    <a:pt x="35464" y="16119"/>
                    <a:pt x="96716" y="0"/>
                    <a:pt x="96716" y="0"/>
                  </a:cubicBezTo>
                  <a:cubicBezTo>
                    <a:pt x="99941" y="0"/>
                    <a:pt x="103165" y="0"/>
                    <a:pt x="103165" y="3224"/>
                  </a:cubicBezTo>
                  <a:cubicBezTo>
                    <a:pt x="103165" y="6448"/>
                    <a:pt x="103165" y="9672"/>
                    <a:pt x="99941" y="9672"/>
                  </a:cubicBezTo>
                  <a:cubicBezTo>
                    <a:pt x="96716" y="9672"/>
                    <a:pt x="41912" y="25791"/>
                    <a:pt x="12896" y="25791"/>
                  </a:cubicBezTo>
                  <a:cubicBezTo>
                    <a:pt x="16119" y="54806"/>
                    <a:pt x="35464" y="157970"/>
                    <a:pt x="32239" y="254687"/>
                  </a:cubicBezTo>
                  <a:cubicBezTo>
                    <a:pt x="35464" y="261135"/>
                    <a:pt x="32239" y="264358"/>
                    <a:pt x="29016" y="264358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BFA1B016-D02A-444F-81F6-F1B04EA919D3}"/>
                </a:ext>
              </a:extLst>
            </p:cNvPr>
            <p:cNvSpPr/>
            <p:nvPr/>
          </p:nvSpPr>
          <p:spPr>
            <a:xfrm>
              <a:off x="22872232" y="9806148"/>
              <a:ext cx="159362" cy="83890"/>
            </a:xfrm>
            <a:custGeom>
              <a:avLst/>
              <a:gdLst>
                <a:gd name="connsiteX0" fmla="*/ 159363 w 159362"/>
                <a:gd name="connsiteY0" fmla="*/ 83890 h 83890"/>
                <a:gd name="connsiteX1" fmla="*/ 62646 w 159362"/>
                <a:gd name="connsiteY1" fmla="*/ 6517 h 83890"/>
                <a:gd name="connsiteX2" fmla="*/ 1394 w 159362"/>
                <a:gd name="connsiteY2" fmla="*/ 6517 h 83890"/>
                <a:gd name="connsiteX3" fmla="*/ 78766 w 159362"/>
                <a:gd name="connsiteY3" fmla="*/ 61323 h 83890"/>
                <a:gd name="connsiteX4" fmla="*/ 159363 w 159362"/>
                <a:gd name="connsiteY4" fmla="*/ 83890 h 8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62" h="83890">
                  <a:moveTo>
                    <a:pt x="159363" y="83890"/>
                  </a:moveTo>
                  <a:cubicBezTo>
                    <a:pt x="159363" y="83890"/>
                    <a:pt x="117453" y="16189"/>
                    <a:pt x="62646" y="6517"/>
                  </a:cubicBezTo>
                  <a:cubicBezTo>
                    <a:pt x="40081" y="3293"/>
                    <a:pt x="4617" y="-6378"/>
                    <a:pt x="1394" y="6517"/>
                  </a:cubicBezTo>
                  <a:cubicBezTo>
                    <a:pt x="-11503" y="35532"/>
                    <a:pt x="69094" y="32308"/>
                    <a:pt x="78766" y="61323"/>
                  </a:cubicBezTo>
                  <a:cubicBezTo>
                    <a:pt x="78766" y="70995"/>
                    <a:pt x="159363" y="83890"/>
                    <a:pt x="159363" y="83890"/>
                  </a:cubicBezTo>
                  <a:close/>
                </a:path>
              </a:pathLst>
            </a:custGeom>
            <a:solidFill>
              <a:srgbClr val="F5A39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7" name="图形 1">
              <a:extLst>
                <a:ext uri="{FF2B5EF4-FFF2-40B4-BE49-F238E27FC236}">
                  <a16:creationId xmlns:a16="http://schemas.microsoft.com/office/drawing/2014/main" id="{840C082D-6597-42F4-80BC-99EF7E07FFD2}"/>
                </a:ext>
              </a:extLst>
            </p:cNvPr>
            <p:cNvGrpSpPr/>
            <p:nvPr/>
          </p:nvGrpSpPr>
          <p:grpSpPr>
            <a:xfrm>
              <a:off x="22865372" y="9847741"/>
              <a:ext cx="229253" cy="178217"/>
              <a:chOff x="22865372" y="9847741"/>
              <a:chExt cx="229253" cy="178217"/>
            </a:xfrm>
          </p:grpSpPr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D032B12B-091C-4066-A5CB-DE9147EFB021}"/>
                  </a:ext>
                </a:extLst>
              </p:cNvPr>
              <p:cNvSpPr/>
              <p:nvPr/>
            </p:nvSpPr>
            <p:spPr>
              <a:xfrm>
                <a:off x="22869159" y="9855739"/>
                <a:ext cx="225466" cy="170219"/>
              </a:xfrm>
              <a:custGeom>
                <a:avLst/>
                <a:gdLst>
                  <a:gd name="connsiteX0" fmla="*/ 220466 w 225466"/>
                  <a:gd name="connsiteY0" fmla="*/ 134239 h 170219"/>
                  <a:gd name="connsiteX1" fmla="*/ 217241 w 225466"/>
                  <a:gd name="connsiteY1" fmla="*/ 40747 h 170219"/>
                  <a:gd name="connsiteX2" fmla="*/ 49599 w 225466"/>
                  <a:gd name="connsiteY2" fmla="*/ 2060 h 170219"/>
                  <a:gd name="connsiteX3" fmla="*/ 4466 w 225466"/>
                  <a:gd name="connsiteY3" fmla="*/ 14956 h 170219"/>
                  <a:gd name="connsiteX4" fmla="*/ 10914 w 225466"/>
                  <a:gd name="connsiteY4" fmla="*/ 43971 h 170219"/>
                  <a:gd name="connsiteX5" fmla="*/ 10914 w 225466"/>
                  <a:gd name="connsiteY5" fmla="*/ 85881 h 170219"/>
                  <a:gd name="connsiteX6" fmla="*/ 4466 w 225466"/>
                  <a:gd name="connsiteY6" fmla="*/ 111672 h 170219"/>
                  <a:gd name="connsiteX7" fmla="*/ 30257 w 225466"/>
                  <a:gd name="connsiteY7" fmla="*/ 131015 h 170219"/>
                  <a:gd name="connsiteX8" fmla="*/ 46376 w 225466"/>
                  <a:gd name="connsiteY8" fmla="*/ 169702 h 170219"/>
                  <a:gd name="connsiteX9" fmla="*/ 107631 w 225466"/>
                  <a:gd name="connsiteY9" fmla="*/ 160031 h 170219"/>
                  <a:gd name="connsiteX10" fmla="*/ 204347 w 225466"/>
                  <a:gd name="connsiteY10" fmla="*/ 150359 h 170219"/>
                  <a:gd name="connsiteX11" fmla="*/ 220466 w 225466"/>
                  <a:gd name="connsiteY11" fmla="*/ 134239 h 17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5466" h="170219">
                    <a:moveTo>
                      <a:pt x="220466" y="134239"/>
                    </a:moveTo>
                    <a:cubicBezTo>
                      <a:pt x="233361" y="105225"/>
                      <a:pt x="217241" y="37523"/>
                      <a:pt x="217241" y="40747"/>
                    </a:cubicBezTo>
                    <a:cubicBezTo>
                      <a:pt x="149541" y="31075"/>
                      <a:pt x="120525" y="2060"/>
                      <a:pt x="49599" y="2060"/>
                    </a:cubicBezTo>
                    <a:cubicBezTo>
                      <a:pt x="39928" y="2060"/>
                      <a:pt x="10914" y="-7611"/>
                      <a:pt x="4466" y="14956"/>
                    </a:cubicBezTo>
                    <a:cubicBezTo>
                      <a:pt x="1241" y="21404"/>
                      <a:pt x="-1982" y="37523"/>
                      <a:pt x="10914" y="43971"/>
                    </a:cubicBezTo>
                    <a:cubicBezTo>
                      <a:pt x="-5205" y="53642"/>
                      <a:pt x="-1982" y="85881"/>
                      <a:pt x="10914" y="85881"/>
                    </a:cubicBezTo>
                    <a:cubicBezTo>
                      <a:pt x="7689" y="89105"/>
                      <a:pt x="4466" y="105225"/>
                      <a:pt x="4466" y="111672"/>
                    </a:cubicBezTo>
                    <a:cubicBezTo>
                      <a:pt x="7689" y="124568"/>
                      <a:pt x="14137" y="131015"/>
                      <a:pt x="30257" y="131015"/>
                    </a:cubicBezTo>
                    <a:cubicBezTo>
                      <a:pt x="23809" y="147135"/>
                      <a:pt x="27034" y="166478"/>
                      <a:pt x="46376" y="169702"/>
                    </a:cubicBezTo>
                    <a:cubicBezTo>
                      <a:pt x="72167" y="172926"/>
                      <a:pt x="81838" y="160031"/>
                      <a:pt x="107631" y="160031"/>
                    </a:cubicBezTo>
                    <a:cubicBezTo>
                      <a:pt x="168883" y="160031"/>
                      <a:pt x="178554" y="150359"/>
                      <a:pt x="204347" y="150359"/>
                    </a:cubicBezTo>
                    <a:cubicBezTo>
                      <a:pt x="223690" y="143911"/>
                      <a:pt x="210793" y="153583"/>
                      <a:pt x="220466" y="13423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6C146541-84E9-44AE-BE3F-C787D808B352}"/>
                  </a:ext>
                </a:extLst>
              </p:cNvPr>
              <p:cNvSpPr/>
              <p:nvPr/>
            </p:nvSpPr>
            <p:spPr>
              <a:xfrm>
                <a:off x="22865372" y="9847741"/>
                <a:ext cx="125648" cy="58416"/>
              </a:xfrm>
              <a:custGeom>
                <a:avLst/>
                <a:gdLst>
                  <a:gd name="connsiteX0" fmla="*/ 14702 w 125648"/>
                  <a:gd name="connsiteY0" fmla="*/ 58417 h 58416"/>
                  <a:gd name="connsiteX1" fmla="*/ 8254 w 125648"/>
                  <a:gd name="connsiteY1" fmla="*/ 55193 h 58416"/>
                  <a:gd name="connsiteX2" fmla="*/ 1805 w 125648"/>
                  <a:gd name="connsiteY2" fmla="*/ 19730 h 58416"/>
                  <a:gd name="connsiteX3" fmla="*/ 17925 w 125648"/>
                  <a:gd name="connsiteY3" fmla="*/ 3611 h 58416"/>
                  <a:gd name="connsiteX4" fmla="*/ 121089 w 125648"/>
                  <a:gd name="connsiteY4" fmla="*/ 16506 h 58416"/>
                  <a:gd name="connsiteX5" fmla="*/ 124313 w 125648"/>
                  <a:gd name="connsiteY5" fmla="*/ 26178 h 58416"/>
                  <a:gd name="connsiteX6" fmla="*/ 114641 w 125648"/>
                  <a:gd name="connsiteY6" fmla="*/ 29402 h 58416"/>
                  <a:gd name="connsiteX7" fmla="*/ 21148 w 125648"/>
                  <a:gd name="connsiteY7" fmla="*/ 16506 h 58416"/>
                  <a:gd name="connsiteX8" fmla="*/ 11477 w 125648"/>
                  <a:gd name="connsiteY8" fmla="*/ 22954 h 58416"/>
                  <a:gd name="connsiteX9" fmla="*/ 17925 w 125648"/>
                  <a:gd name="connsiteY9" fmla="*/ 48745 h 58416"/>
                  <a:gd name="connsiteX10" fmla="*/ 14702 w 125648"/>
                  <a:gd name="connsiteY10" fmla="*/ 58417 h 58416"/>
                  <a:gd name="connsiteX11" fmla="*/ 14702 w 125648"/>
                  <a:gd name="connsiteY11" fmla="*/ 58417 h 58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5648" h="58416">
                    <a:moveTo>
                      <a:pt x="14702" y="58417"/>
                    </a:moveTo>
                    <a:cubicBezTo>
                      <a:pt x="11477" y="58417"/>
                      <a:pt x="11477" y="58417"/>
                      <a:pt x="8254" y="55193"/>
                    </a:cubicBezTo>
                    <a:cubicBezTo>
                      <a:pt x="8254" y="51969"/>
                      <a:pt x="-4643" y="35849"/>
                      <a:pt x="1805" y="19730"/>
                    </a:cubicBezTo>
                    <a:cubicBezTo>
                      <a:pt x="1805" y="13282"/>
                      <a:pt x="8254" y="6835"/>
                      <a:pt x="17925" y="3611"/>
                    </a:cubicBezTo>
                    <a:cubicBezTo>
                      <a:pt x="50164" y="-9285"/>
                      <a:pt x="117864" y="16506"/>
                      <a:pt x="121089" y="16506"/>
                    </a:cubicBezTo>
                    <a:cubicBezTo>
                      <a:pt x="124313" y="16506"/>
                      <a:pt x="127538" y="22954"/>
                      <a:pt x="124313" y="26178"/>
                    </a:cubicBezTo>
                    <a:cubicBezTo>
                      <a:pt x="124313" y="29402"/>
                      <a:pt x="121089" y="29402"/>
                      <a:pt x="114641" y="29402"/>
                    </a:cubicBezTo>
                    <a:cubicBezTo>
                      <a:pt x="114641" y="29402"/>
                      <a:pt x="50164" y="3611"/>
                      <a:pt x="21148" y="16506"/>
                    </a:cubicBezTo>
                    <a:cubicBezTo>
                      <a:pt x="17925" y="19730"/>
                      <a:pt x="14702" y="19730"/>
                      <a:pt x="11477" y="22954"/>
                    </a:cubicBezTo>
                    <a:cubicBezTo>
                      <a:pt x="8254" y="32626"/>
                      <a:pt x="14702" y="45521"/>
                      <a:pt x="17925" y="48745"/>
                    </a:cubicBezTo>
                    <a:cubicBezTo>
                      <a:pt x="21148" y="51969"/>
                      <a:pt x="17925" y="55193"/>
                      <a:pt x="14702" y="58417"/>
                    </a:cubicBezTo>
                    <a:cubicBezTo>
                      <a:pt x="17925" y="58417"/>
                      <a:pt x="14702" y="58417"/>
                      <a:pt x="14702" y="5841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0CB52F22-CA92-42FE-B59C-4160FFDFBFE0}"/>
                  </a:ext>
                </a:extLst>
              </p:cNvPr>
              <p:cNvSpPr/>
              <p:nvPr/>
            </p:nvSpPr>
            <p:spPr>
              <a:xfrm>
                <a:off x="22902639" y="9906157"/>
                <a:ext cx="29015" cy="74149"/>
              </a:xfrm>
              <a:custGeom>
                <a:avLst/>
                <a:gdLst>
                  <a:gd name="connsiteX0" fmla="*/ 22568 w 29015"/>
                  <a:gd name="connsiteY0" fmla="*/ 74149 h 74149"/>
                  <a:gd name="connsiteX1" fmla="*/ 16119 w 29015"/>
                  <a:gd name="connsiteY1" fmla="*/ 70926 h 74149"/>
                  <a:gd name="connsiteX2" fmla="*/ 0 w 29015"/>
                  <a:gd name="connsiteY2" fmla="*/ 6448 h 74149"/>
                  <a:gd name="connsiteX3" fmla="*/ 6448 w 29015"/>
                  <a:gd name="connsiteY3" fmla="*/ 0 h 74149"/>
                  <a:gd name="connsiteX4" fmla="*/ 6448 w 29015"/>
                  <a:gd name="connsiteY4" fmla="*/ 0 h 74149"/>
                  <a:gd name="connsiteX5" fmla="*/ 12896 w 29015"/>
                  <a:gd name="connsiteY5" fmla="*/ 6448 h 74149"/>
                  <a:gd name="connsiteX6" fmla="*/ 29016 w 29015"/>
                  <a:gd name="connsiteY6" fmla="*/ 67702 h 74149"/>
                  <a:gd name="connsiteX7" fmla="*/ 22568 w 29015"/>
                  <a:gd name="connsiteY7" fmla="*/ 74149 h 74149"/>
                  <a:gd name="connsiteX8" fmla="*/ 22568 w 29015"/>
                  <a:gd name="connsiteY8" fmla="*/ 74149 h 74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015" h="74149">
                    <a:moveTo>
                      <a:pt x="22568" y="74149"/>
                    </a:moveTo>
                    <a:cubicBezTo>
                      <a:pt x="19344" y="74149"/>
                      <a:pt x="16119" y="74149"/>
                      <a:pt x="16119" y="70926"/>
                    </a:cubicBezTo>
                    <a:cubicBezTo>
                      <a:pt x="12896" y="64478"/>
                      <a:pt x="0" y="22568"/>
                      <a:pt x="0" y="6448"/>
                    </a:cubicBezTo>
                    <a:cubicBezTo>
                      <a:pt x="0" y="3224"/>
                      <a:pt x="3225" y="0"/>
                      <a:pt x="6448" y="0"/>
                    </a:cubicBezTo>
                    <a:cubicBezTo>
                      <a:pt x="6448" y="0"/>
                      <a:pt x="6448" y="0"/>
                      <a:pt x="6448" y="0"/>
                    </a:cubicBezTo>
                    <a:cubicBezTo>
                      <a:pt x="9673" y="0"/>
                      <a:pt x="12896" y="3224"/>
                      <a:pt x="12896" y="6448"/>
                    </a:cubicBezTo>
                    <a:cubicBezTo>
                      <a:pt x="12896" y="19343"/>
                      <a:pt x="22568" y="54806"/>
                      <a:pt x="29016" y="67702"/>
                    </a:cubicBezTo>
                    <a:cubicBezTo>
                      <a:pt x="29016" y="70926"/>
                      <a:pt x="25793" y="74149"/>
                      <a:pt x="22568" y="74149"/>
                    </a:cubicBezTo>
                    <a:cubicBezTo>
                      <a:pt x="22568" y="74149"/>
                      <a:pt x="22568" y="74149"/>
                      <a:pt x="22568" y="7414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8FD4F8E6-2DF4-439E-89F3-2999DDB23E46}"/>
                </a:ext>
              </a:extLst>
            </p:cNvPr>
            <p:cNvSpPr/>
            <p:nvPr/>
          </p:nvSpPr>
          <p:spPr>
            <a:xfrm>
              <a:off x="23060610" y="9880538"/>
              <a:ext cx="567731" cy="194227"/>
            </a:xfrm>
            <a:custGeom>
              <a:avLst/>
              <a:gdLst>
                <a:gd name="connsiteX0" fmla="*/ 567402 w 567731"/>
                <a:gd name="connsiteY0" fmla="*/ 115888 h 194227"/>
                <a:gd name="connsiteX1" fmla="*/ 322388 w 567731"/>
                <a:gd name="connsiteY1" fmla="*/ 186813 h 194227"/>
                <a:gd name="connsiteX2" fmla="*/ 6448 w 567731"/>
                <a:gd name="connsiteY2" fmla="*/ 125560 h 194227"/>
                <a:gd name="connsiteX3" fmla="*/ 0 w 567731"/>
                <a:gd name="connsiteY3" fmla="*/ 3052 h 194227"/>
                <a:gd name="connsiteX4" fmla="*/ 567402 w 567731"/>
                <a:gd name="connsiteY4" fmla="*/ 115888 h 19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731" h="194227">
                  <a:moveTo>
                    <a:pt x="567402" y="115888"/>
                  </a:moveTo>
                  <a:cubicBezTo>
                    <a:pt x="557731" y="212605"/>
                    <a:pt x="415881" y="196485"/>
                    <a:pt x="322388" y="186813"/>
                  </a:cubicBezTo>
                  <a:cubicBezTo>
                    <a:pt x="238568" y="177142"/>
                    <a:pt x="6448" y="125560"/>
                    <a:pt x="6448" y="125560"/>
                  </a:cubicBezTo>
                  <a:lnTo>
                    <a:pt x="0" y="3052"/>
                  </a:lnTo>
                  <a:cubicBezTo>
                    <a:pt x="3223" y="3052"/>
                    <a:pt x="583522" y="-29187"/>
                    <a:pt x="567402" y="115888"/>
                  </a:cubicBezTo>
                  <a:close/>
                </a:path>
              </a:pathLst>
            </a:custGeom>
            <a:solidFill>
              <a:srgbClr val="D16156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49A04DBB-41AD-47D3-A805-ED0F369E7EB2}"/>
                </a:ext>
              </a:extLst>
            </p:cNvPr>
            <p:cNvSpPr/>
            <p:nvPr/>
          </p:nvSpPr>
          <p:spPr>
            <a:xfrm>
              <a:off x="23057387" y="9877036"/>
              <a:ext cx="512595" cy="203210"/>
            </a:xfrm>
            <a:custGeom>
              <a:avLst/>
              <a:gdLst>
                <a:gd name="connsiteX0" fmla="*/ 409431 w 512595"/>
                <a:gd name="connsiteY0" fmla="*/ 203211 h 203210"/>
                <a:gd name="connsiteX1" fmla="*/ 9671 w 512595"/>
                <a:gd name="connsiteY1" fmla="*/ 135509 h 203210"/>
                <a:gd name="connsiteX2" fmla="*/ 6446 w 512595"/>
                <a:gd name="connsiteY2" fmla="*/ 135509 h 203210"/>
                <a:gd name="connsiteX3" fmla="*/ 0 w 512595"/>
                <a:gd name="connsiteY3" fmla="*/ 3330 h 203210"/>
                <a:gd name="connsiteX4" fmla="*/ 6446 w 512595"/>
                <a:gd name="connsiteY4" fmla="*/ 3330 h 203210"/>
                <a:gd name="connsiteX5" fmla="*/ 509373 w 512595"/>
                <a:gd name="connsiteY5" fmla="*/ 25898 h 203210"/>
                <a:gd name="connsiteX6" fmla="*/ 512596 w 512595"/>
                <a:gd name="connsiteY6" fmla="*/ 32345 h 203210"/>
                <a:gd name="connsiteX7" fmla="*/ 506148 w 512595"/>
                <a:gd name="connsiteY7" fmla="*/ 35569 h 203210"/>
                <a:gd name="connsiteX8" fmla="*/ 12894 w 512595"/>
                <a:gd name="connsiteY8" fmla="*/ 13002 h 203210"/>
                <a:gd name="connsiteX9" fmla="*/ 19342 w 512595"/>
                <a:gd name="connsiteY9" fmla="*/ 125838 h 203210"/>
                <a:gd name="connsiteX10" fmla="*/ 451343 w 512595"/>
                <a:gd name="connsiteY10" fmla="*/ 190315 h 203210"/>
                <a:gd name="connsiteX11" fmla="*/ 457789 w 512595"/>
                <a:gd name="connsiteY11" fmla="*/ 196763 h 203210"/>
                <a:gd name="connsiteX12" fmla="*/ 451343 w 512595"/>
                <a:gd name="connsiteY12" fmla="*/ 203211 h 203210"/>
                <a:gd name="connsiteX13" fmla="*/ 409431 w 512595"/>
                <a:gd name="connsiteY13" fmla="*/ 203211 h 203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2595" h="203210">
                  <a:moveTo>
                    <a:pt x="409431" y="203211"/>
                  </a:moveTo>
                  <a:cubicBezTo>
                    <a:pt x="261134" y="203211"/>
                    <a:pt x="22566" y="138733"/>
                    <a:pt x="9671" y="135509"/>
                  </a:cubicBezTo>
                  <a:lnTo>
                    <a:pt x="6446" y="135509"/>
                  </a:lnTo>
                  <a:lnTo>
                    <a:pt x="0" y="3330"/>
                  </a:lnTo>
                  <a:lnTo>
                    <a:pt x="6446" y="3330"/>
                  </a:lnTo>
                  <a:cubicBezTo>
                    <a:pt x="22566" y="3330"/>
                    <a:pt x="402985" y="-12789"/>
                    <a:pt x="509373" y="25898"/>
                  </a:cubicBezTo>
                  <a:cubicBezTo>
                    <a:pt x="512596" y="25898"/>
                    <a:pt x="512596" y="29121"/>
                    <a:pt x="512596" y="32345"/>
                  </a:cubicBezTo>
                  <a:cubicBezTo>
                    <a:pt x="512596" y="35569"/>
                    <a:pt x="509373" y="35569"/>
                    <a:pt x="506148" y="35569"/>
                  </a:cubicBezTo>
                  <a:cubicBezTo>
                    <a:pt x="409431" y="106"/>
                    <a:pt x="64478" y="9778"/>
                    <a:pt x="12894" y="13002"/>
                  </a:cubicBezTo>
                  <a:lnTo>
                    <a:pt x="19342" y="125838"/>
                  </a:lnTo>
                  <a:cubicBezTo>
                    <a:pt x="54804" y="135509"/>
                    <a:pt x="322388" y="203211"/>
                    <a:pt x="451343" y="190315"/>
                  </a:cubicBezTo>
                  <a:cubicBezTo>
                    <a:pt x="454566" y="190315"/>
                    <a:pt x="457789" y="193539"/>
                    <a:pt x="457789" y="196763"/>
                  </a:cubicBezTo>
                  <a:cubicBezTo>
                    <a:pt x="457789" y="199987"/>
                    <a:pt x="454566" y="203211"/>
                    <a:pt x="451343" y="203211"/>
                  </a:cubicBezTo>
                  <a:cubicBezTo>
                    <a:pt x="438447" y="203211"/>
                    <a:pt x="422328" y="203211"/>
                    <a:pt x="409431" y="203211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0" name="图形 1">
              <a:extLst>
                <a:ext uri="{FF2B5EF4-FFF2-40B4-BE49-F238E27FC236}">
                  <a16:creationId xmlns:a16="http://schemas.microsoft.com/office/drawing/2014/main" id="{EFF2AD85-7742-448C-8FDC-8EC9244EC828}"/>
                </a:ext>
              </a:extLst>
            </p:cNvPr>
            <p:cNvGrpSpPr/>
            <p:nvPr/>
          </p:nvGrpSpPr>
          <p:grpSpPr>
            <a:xfrm>
              <a:off x="19411880" y="10285350"/>
              <a:ext cx="2413378" cy="2142753"/>
              <a:chOff x="19411880" y="10285350"/>
              <a:chExt cx="2413378" cy="2142753"/>
            </a:xfrm>
          </p:grpSpPr>
          <p:grpSp>
            <p:nvGrpSpPr>
              <p:cNvPr id="52" name="图形 1">
                <a:extLst>
                  <a:ext uri="{FF2B5EF4-FFF2-40B4-BE49-F238E27FC236}">
                    <a16:creationId xmlns:a16="http://schemas.microsoft.com/office/drawing/2014/main" id="{8D002272-CA69-444D-9997-3A8256BB115D}"/>
                  </a:ext>
                </a:extLst>
              </p:cNvPr>
              <p:cNvGrpSpPr/>
              <p:nvPr/>
            </p:nvGrpSpPr>
            <p:grpSpPr>
              <a:xfrm>
                <a:off x="20529569" y="10358690"/>
                <a:ext cx="1295689" cy="2069414"/>
                <a:chOff x="20529569" y="10358690"/>
                <a:chExt cx="1295689" cy="2069414"/>
              </a:xfrm>
            </p:grpSpPr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62A65766-96B4-440C-9ADC-5F51E9AF5BA0}"/>
                    </a:ext>
                  </a:extLst>
                </p:cNvPr>
                <p:cNvSpPr/>
                <p:nvPr/>
              </p:nvSpPr>
              <p:spPr>
                <a:xfrm>
                  <a:off x="20857852" y="10761527"/>
                  <a:ext cx="623347" cy="1666576"/>
                </a:xfrm>
                <a:custGeom>
                  <a:avLst/>
                  <a:gdLst>
                    <a:gd name="connsiteX0" fmla="*/ 594041 w 623347"/>
                    <a:gd name="connsiteY0" fmla="*/ 8630 h 1666576"/>
                    <a:gd name="connsiteX1" fmla="*/ 200729 w 623347"/>
                    <a:gd name="connsiteY1" fmla="*/ 759794 h 1666576"/>
                    <a:gd name="connsiteX2" fmla="*/ 848 w 623347"/>
                    <a:gd name="connsiteY2" fmla="*/ 1646362 h 1666576"/>
                    <a:gd name="connsiteX3" fmla="*/ 33087 w 623347"/>
                    <a:gd name="connsiteY3" fmla="*/ 1656033 h 1666576"/>
                    <a:gd name="connsiteX4" fmla="*/ 223295 w 623347"/>
                    <a:gd name="connsiteY4" fmla="*/ 795257 h 1666576"/>
                    <a:gd name="connsiteX5" fmla="*/ 619833 w 623347"/>
                    <a:gd name="connsiteY5" fmla="*/ 27973 h 1666576"/>
                    <a:gd name="connsiteX6" fmla="*/ 594041 w 623347"/>
                    <a:gd name="connsiteY6" fmla="*/ 8630 h 1666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3347" h="1666576">
                      <a:moveTo>
                        <a:pt x="594041" y="8630"/>
                      </a:moveTo>
                      <a:cubicBezTo>
                        <a:pt x="426401" y="237525"/>
                        <a:pt x="294220" y="488989"/>
                        <a:pt x="200729" y="759794"/>
                      </a:cubicBezTo>
                      <a:cubicBezTo>
                        <a:pt x="104012" y="1049944"/>
                        <a:pt x="94339" y="1356212"/>
                        <a:pt x="848" y="1646362"/>
                      </a:cubicBezTo>
                      <a:cubicBezTo>
                        <a:pt x="-5600" y="1665705"/>
                        <a:pt x="26639" y="1675376"/>
                        <a:pt x="33087" y="1656033"/>
                      </a:cubicBezTo>
                      <a:cubicBezTo>
                        <a:pt x="123355" y="1375556"/>
                        <a:pt x="133026" y="1075734"/>
                        <a:pt x="223295" y="795257"/>
                      </a:cubicBezTo>
                      <a:cubicBezTo>
                        <a:pt x="313565" y="518003"/>
                        <a:pt x="448966" y="260093"/>
                        <a:pt x="619833" y="27973"/>
                      </a:cubicBezTo>
                      <a:cubicBezTo>
                        <a:pt x="632728" y="5406"/>
                        <a:pt x="606937" y="-10713"/>
                        <a:pt x="594041" y="8630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6B58F2F2-CA39-4F99-BE93-DCCD9A61CFF9}"/>
                    </a:ext>
                  </a:extLst>
                </p:cNvPr>
                <p:cNvSpPr/>
                <p:nvPr/>
              </p:nvSpPr>
              <p:spPr>
                <a:xfrm>
                  <a:off x="21435773" y="10379450"/>
                  <a:ext cx="361952" cy="418615"/>
                </a:xfrm>
                <a:custGeom>
                  <a:avLst/>
                  <a:gdLst>
                    <a:gd name="connsiteX0" fmla="*/ 348181 w 361952"/>
                    <a:gd name="connsiteY0" fmla="*/ 23184 h 418615"/>
                    <a:gd name="connsiteX1" fmla="*/ 309494 w 361952"/>
                    <a:gd name="connsiteY1" fmla="*/ 618 h 418615"/>
                    <a:gd name="connsiteX2" fmla="*/ 0 w 361952"/>
                    <a:gd name="connsiteY2" fmla="*/ 387483 h 418615"/>
                    <a:gd name="connsiteX3" fmla="*/ 45135 w 361952"/>
                    <a:gd name="connsiteY3" fmla="*/ 416498 h 418615"/>
                    <a:gd name="connsiteX4" fmla="*/ 70926 w 361952"/>
                    <a:gd name="connsiteY4" fmla="*/ 413274 h 418615"/>
                    <a:gd name="connsiteX5" fmla="*/ 312717 w 361952"/>
                    <a:gd name="connsiteY5" fmla="*/ 271424 h 418615"/>
                    <a:gd name="connsiteX6" fmla="*/ 348181 w 361952"/>
                    <a:gd name="connsiteY6" fmla="*/ 23184 h 418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1952" h="418615">
                      <a:moveTo>
                        <a:pt x="348181" y="23184"/>
                      </a:moveTo>
                      <a:cubicBezTo>
                        <a:pt x="341733" y="7065"/>
                        <a:pt x="325613" y="-2606"/>
                        <a:pt x="309494" y="618"/>
                      </a:cubicBezTo>
                      <a:cubicBezTo>
                        <a:pt x="125732" y="45752"/>
                        <a:pt x="3225" y="200498"/>
                        <a:pt x="0" y="387483"/>
                      </a:cubicBezTo>
                      <a:cubicBezTo>
                        <a:pt x="0" y="413274"/>
                        <a:pt x="25793" y="422946"/>
                        <a:pt x="45135" y="416498"/>
                      </a:cubicBezTo>
                      <a:cubicBezTo>
                        <a:pt x="51583" y="419722"/>
                        <a:pt x="61255" y="419722"/>
                        <a:pt x="70926" y="413274"/>
                      </a:cubicBezTo>
                      <a:cubicBezTo>
                        <a:pt x="154748" y="361692"/>
                        <a:pt x="248239" y="355245"/>
                        <a:pt x="312717" y="271424"/>
                      </a:cubicBezTo>
                      <a:cubicBezTo>
                        <a:pt x="364300" y="200498"/>
                        <a:pt x="373971" y="110230"/>
                        <a:pt x="348181" y="23184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36916C09-81D0-4526-8807-3F174A0E2AB1}"/>
                    </a:ext>
                  </a:extLst>
                </p:cNvPr>
                <p:cNvSpPr/>
                <p:nvPr/>
              </p:nvSpPr>
              <p:spPr>
                <a:xfrm>
                  <a:off x="21157825" y="10358690"/>
                  <a:ext cx="667433" cy="643212"/>
                </a:xfrm>
                <a:custGeom>
                  <a:avLst/>
                  <a:gdLst>
                    <a:gd name="connsiteX0" fmla="*/ 664814 w 667433"/>
                    <a:gd name="connsiteY0" fmla="*/ 524304 h 643212"/>
                    <a:gd name="connsiteX1" fmla="*/ 471382 w 667433"/>
                    <a:gd name="connsiteY1" fmla="*/ 482393 h 643212"/>
                    <a:gd name="connsiteX2" fmla="*/ 236039 w 667433"/>
                    <a:gd name="connsiteY2" fmla="*/ 530751 h 643212"/>
                    <a:gd name="connsiteX3" fmla="*/ 78070 w 667433"/>
                    <a:gd name="connsiteY3" fmla="*/ 14930 h 643212"/>
                    <a:gd name="connsiteX4" fmla="*/ 20038 w 667433"/>
                    <a:gd name="connsiteY4" fmla="*/ 21379 h 643212"/>
                    <a:gd name="connsiteX5" fmla="*/ 152219 w 667433"/>
                    <a:gd name="connsiteY5" fmla="*/ 569438 h 643212"/>
                    <a:gd name="connsiteX6" fmla="*/ 165113 w 667433"/>
                    <a:gd name="connsiteY6" fmla="*/ 621021 h 643212"/>
                    <a:gd name="connsiteX7" fmla="*/ 664814 w 667433"/>
                    <a:gd name="connsiteY7" fmla="*/ 524304 h 643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67433" h="643212">
                      <a:moveTo>
                        <a:pt x="664814" y="524304"/>
                      </a:moveTo>
                      <a:cubicBezTo>
                        <a:pt x="648695" y="456603"/>
                        <a:pt x="516517" y="479169"/>
                        <a:pt x="471382" y="482393"/>
                      </a:cubicBezTo>
                      <a:cubicBezTo>
                        <a:pt x="387561" y="485617"/>
                        <a:pt x="310188" y="501737"/>
                        <a:pt x="236039" y="530751"/>
                      </a:cubicBezTo>
                      <a:cubicBezTo>
                        <a:pt x="219919" y="346991"/>
                        <a:pt x="194129" y="166453"/>
                        <a:pt x="78070" y="14930"/>
                      </a:cubicBezTo>
                      <a:cubicBezTo>
                        <a:pt x="61950" y="-4413"/>
                        <a:pt x="26486" y="-7636"/>
                        <a:pt x="20038" y="21379"/>
                      </a:cubicBezTo>
                      <a:cubicBezTo>
                        <a:pt x="-25095" y="237378"/>
                        <a:pt x="696" y="408244"/>
                        <a:pt x="152219" y="569438"/>
                      </a:cubicBezTo>
                      <a:cubicBezTo>
                        <a:pt x="139322" y="585558"/>
                        <a:pt x="139322" y="614573"/>
                        <a:pt x="165113" y="621021"/>
                      </a:cubicBezTo>
                      <a:cubicBezTo>
                        <a:pt x="232816" y="643587"/>
                        <a:pt x="706726" y="685498"/>
                        <a:pt x="664814" y="524304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47AF1B83-CA45-4125-8601-FDCE75936A46}"/>
                    </a:ext>
                  </a:extLst>
                </p:cNvPr>
                <p:cNvSpPr/>
                <p:nvPr/>
              </p:nvSpPr>
              <p:spPr>
                <a:xfrm>
                  <a:off x="20983625" y="10695442"/>
                  <a:ext cx="649185" cy="535871"/>
                </a:xfrm>
                <a:custGeom>
                  <a:avLst/>
                  <a:gdLst>
                    <a:gd name="connsiteX0" fmla="*/ 510180 w 649185"/>
                    <a:gd name="connsiteY0" fmla="*/ 371313 h 535871"/>
                    <a:gd name="connsiteX1" fmla="*/ 294179 w 649185"/>
                    <a:gd name="connsiteY1" fmla="*/ 393880 h 535871"/>
                    <a:gd name="connsiteX2" fmla="*/ 200686 w 649185"/>
                    <a:gd name="connsiteY2" fmla="*/ 139194 h 535871"/>
                    <a:gd name="connsiteX3" fmla="*/ 42717 w 649185"/>
                    <a:gd name="connsiteY3" fmla="*/ 7015 h 535871"/>
                    <a:gd name="connsiteX4" fmla="*/ 20150 w 649185"/>
                    <a:gd name="connsiteY4" fmla="*/ 229462 h 535871"/>
                    <a:gd name="connsiteX5" fmla="*/ 207134 w 649185"/>
                    <a:gd name="connsiteY5" fmla="*/ 471253 h 535871"/>
                    <a:gd name="connsiteX6" fmla="*/ 223254 w 649185"/>
                    <a:gd name="connsiteY6" fmla="*/ 519611 h 535871"/>
                    <a:gd name="connsiteX7" fmla="*/ 535970 w 649185"/>
                    <a:gd name="connsiteY7" fmla="*/ 519611 h 535871"/>
                    <a:gd name="connsiteX8" fmla="*/ 648806 w 649185"/>
                    <a:gd name="connsiteY8" fmla="*/ 445463 h 535871"/>
                    <a:gd name="connsiteX9" fmla="*/ 510180 w 649185"/>
                    <a:gd name="connsiteY9" fmla="*/ 371313 h 535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49185" h="535871">
                      <a:moveTo>
                        <a:pt x="510180" y="371313"/>
                      </a:moveTo>
                      <a:cubicBezTo>
                        <a:pt x="436029" y="361642"/>
                        <a:pt x="361880" y="361642"/>
                        <a:pt x="294179" y="393880"/>
                      </a:cubicBezTo>
                      <a:cubicBezTo>
                        <a:pt x="284508" y="303611"/>
                        <a:pt x="252269" y="216567"/>
                        <a:pt x="200686" y="139194"/>
                      </a:cubicBezTo>
                      <a:cubicBezTo>
                        <a:pt x="174895" y="100507"/>
                        <a:pt x="103970" y="-31672"/>
                        <a:pt x="42717" y="7015"/>
                      </a:cubicBezTo>
                      <a:cubicBezTo>
                        <a:pt x="-21761" y="42478"/>
                        <a:pt x="805" y="177880"/>
                        <a:pt x="20150" y="229462"/>
                      </a:cubicBezTo>
                      <a:cubicBezTo>
                        <a:pt x="52388" y="329403"/>
                        <a:pt x="126537" y="406776"/>
                        <a:pt x="207134" y="471253"/>
                      </a:cubicBezTo>
                      <a:cubicBezTo>
                        <a:pt x="197463" y="487373"/>
                        <a:pt x="200686" y="513163"/>
                        <a:pt x="223254" y="519611"/>
                      </a:cubicBezTo>
                      <a:cubicBezTo>
                        <a:pt x="323193" y="548626"/>
                        <a:pt x="436029" y="532507"/>
                        <a:pt x="535970" y="519611"/>
                      </a:cubicBezTo>
                      <a:cubicBezTo>
                        <a:pt x="577880" y="513163"/>
                        <a:pt x="655254" y="506716"/>
                        <a:pt x="648806" y="445463"/>
                      </a:cubicBezTo>
                      <a:cubicBezTo>
                        <a:pt x="642358" y="384208"/>
                        <a:pt x="558538" y="377761"/>
                        <a:pt x="510180" y="371313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04A8F3FD-B831-4237-920B-A28D3B366D66}"/>
                    </a:ext>
                  </a:extLst>
                </p:cNvPr>
                <p:cNvSpPr/>
                <p:nvPr/>
              </p:nvSpPr>
              <p:spPr>
                <a:xfrm>
                  <a:off x="20870343" y="10998231"/>
                  <a:ext cx="730200" cy="487549"/>
                </a:xfrm>
                <a:custGeom>
                  <a:avLst/>
                  <a:gdLst>
                    <a:gd name="connsiteX0" fmla="*/ 729850 w 730200"/>
                    <a:gd name="connsiteY0" fmla="*/ 326433 h 487549"/>
                    <a:gd name="connsiteX1" fmla="*/ 542865 w 730200"/>
                    <a:gd name="connsiteY1" fmla="*/ 281299 h 487549"/>
                    <a:gd name="connsiteX2" fmla="*/ 297849 w 730200"/>
                    <a:gd name="connsiteY2" fmla="*/ 361896 h 487549"/>
                    <a:gd name="connsiteX3" fmla="*/ 233371 w 730200"/>
                    <a:gd name="connsiteY3" fmla="*/ 165239 h 487549"/>
                    <a:gd name="connsiteX4" fmla="*/ 49610 w 730200"/>
                    <a:gd name="connsiteY4" fmla="*/ 821 h 487549"/>
                    <a:gd name="connsiteX5" fmla="*/ 14148 w 730200"/>
                    <a:gd name="connsiteY5" fmla="*/ 16941 h 487549"/>
                    <a:gd name="connsiteX6" fmla="*/ 39938 w 730200"/>
                    <a:gd name="connsiteY6" fmla="*/ 249060 h 487549"/>
                    <a:gd name="connsiteX7" fmla="*/ 207581 w 730200"/>
                    <a:gd name="connsiteY7" fmla="*/ 442493 h 487549"/>
                    <a:gd name="connsiteX8" fmla="*/ 236596 w 730200"/>
                    <a:gd name="connsiteY8" fmla="*/ 477956 h 487549"/>
                    <a:gd name="connsiteX9" fmla="*/ 591223 w 730200"/>
                    <a:gd name="connsiteY9" fmla="*/ 471508 h 487549"/>
                    <a:gd name="connsiteX10" fmla="*/ 729850 w 730200"/>
                    <a:gd name="connsiteY10" fmla="*/ 326433 h 4875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30200" h="487549">
                      <a:moveTo>
                        <a:pt x="729850" y="326433"/>
                      </a:moveTo>
                      <a:cubicBezTo>
                        <a:pt x="720178" y="236165"/>
                        <a:pt x="604117" y="271628"/>
                        <a:pt x="542865" y="281299"/>
                      </a:cubicBezTo>
                      <a:cubicBezTo>
                        <a:pt x="459043" y="297419"/>
                        <a:pt x="368775" y="316762"/>
                        <a:pt x="297849" y="361896"/>
                      </a:cubicBezTo>
                      <a:cubicBezTo>
                        <a:pt x="301074" y="290971"/>
                        <a:pt x="278506" y="226493"/>
                        <a:pt x="233371" y="165239"/>
                      </a:cubicBezTo>
                      <a:cubicBezTo>
                        <a:pt x="191461" y="107210"/>
                        <a:pt x="117312" y="26613"/>
                        <a:pt x="49610" y="821"/>
                      </a:cubicBezTo>
                      <a:cubicBezTo>
                        <a:pt x="36715" y="-2402"/>
                        <a:pt x="20596" y="4045"/>
                        <a:pt x="14148" y="16941"/>
                      </a:cubicBezTo>
                      <a:cubicBezTo>
                        <a:pt x="-18091" y="81418"/>
                        <a:pt x="10925" y="187807"/>
                        <a:pt x="39938" y="249060"/>
                      </a:cubicBezTo>
                      <a:cubicBezTo>
                        <a:pt x="75402" y="329657"/>
                        <a:pt x="133432" y="394135"/>
                        <a:pt x="207581" y="442493"/>
                      </a:cubicBezTo>
                      <a:cubicBezTo>
                        <a:pt x="204357" y="461837"/>
                        <a:pt x="214029" y="481180"/>
                        <a:pt x="236596" y="477956"/>
                      </a:cubicBezTo>
                      <a:cubicBezTo>
                        <a:pt x="355878" y="465061"/>
                        <a:pt x="471939" y="510195"/>
                        <a:pt x="591223" y="471508"/>
                      </a:cubicBezTo>
                      <a:cubicBezTo>
                        <a:pt x="652476" y="455389"/>
                        <a:pt x="736298" y="403806"/>
                        <a:pt x="729850" y="326433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AFC056C7-358B-4F1C-A2BD-3C1E3036818D}"/>
                    </a:ext>
                  </a:extLst>
                </p:cNvPr>
                <p:cNvSpPr/>
                <p:nvPr/>
              </p:nvSpPr>
              <p:spPr>
                <a:xfrm>
                  <a:off x="20688586" y="11465679"/>
                  <a:ext cx="685118" cy="398752"/>
                </a:xfrm>
                <a:custGeom>
                  <a:avLst/>
                  <a:gdLst>
                    <a:gd name="connsiteX0" fmla="*/ 566651 w 685118"/>
                    <a:gd name="connsiteY0" fmla="*/ 178150 h 398752"/>
                    <a:gd name="connsiteX1" fmla="*/ 331308 w 685118"/>
                    <a:gd name="connsiteY1" fmla="*/ 249076 h 398752"/>
                    <a:gd name="connsiteX2" fmla="*/ 189456 w 685118"/>
                    <a:gd name="connsiteY2" fmla="*/ 55643 h 398752"/>
                    <a:gd name="connsiteX3" fmla="*/ 18591 w 685118"/>
                    <a:gd name="connsiteY3" fmla="*/ 29852 h 398752"/>
                    <a:gd name="connsiteX4" fmla="*/ 60501 w 685118"/>
                    <a:gd name="connsiteY4" fmla="*/ 203942 h 398752"/>
                    <a:gd name="connsiteX5" fmla="*/ 286173 w 685118"/>
                    <a:gd name="connsiteY5" fmla="*/ 313553 h 398752"/>
                    <a:gd name="connsiteX6" fmla="*/ 286173 w 685118"/>
                    <a:gd name="connsiteY6" fmla="*/ 313553 h 398752"/>
                    <a:gd name="connsiteX7" fmla="*/ 302292 w 685118"/>
                    <a:gd name="connsiteY7" fmla="*/ 329673 h 398752"/>
                    <a:gd name="connsiteX8" fmla="*/ 311963 w 685118"/>
                    <a:gd name="connsiteY8" fmla="*/ 339344 h 398752"/>
                    <a:gd name="connsiteX9" fmla="*/ 547308 w 685118"/>
                    <a:gd name="connsiteY9" fmla="*/ 390926 h 398752"/>
                    <a:gd name="connsiteX10" fmla="*/ 682710 w 685118"/>
                    <a:gd name="connsiteY10" fmla="*/ 249076 h 398752"/>
                    <a:gd name="connsiteX11" fmla="*/ 566651 w 685118"/>
                    <a:gd name="connsiteY11" fmla="*/ 178150 h 3987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685118" h="398752">
                      <a:moveTo>
                        <a:pt x="566651" y="178150"/>
                      </a:moveTo>
                      <a:cubicBezTo>
                        <a:pt x="489277" y="187822"/>
                        <a:pt x="392560" y="194269"/>
                        <a:pt x="331308" y="249076"/>
                      </a:cubicBezTo>
                      <a:cubicBezTo>
                        <a:pt x="295844" y="174927"/>
                        <a:pt x="253934" y="107225"/>
                        <a:pt x="189456" y="55643"/>
                      </a:cubicBezTo>
                      <a:cubicBezTo>
                        <a:pt x="144323" y="20180"/>
                        <a:pt x="63726" y="-34625"/>
                        <a:pt x="18591" y="29852"/>
                      </a:cubicBezTo>
                      <a:cubicBezTo>
                        <a:pt x="-23319" y="87882"/>
                        <a:pt x="12143" y="165255"/>
                        <a:pt x="60501" y="203942"/>
                      </a:cubicBezTo>
                      <a:cubicBezTo>
                        <a:pt x="121756" y="255524"/>
                        <a:pt x="205576" y="287763"/>
                        <a:pt x="286173" y="313553"/>
                      </a:cubicBezTo>
                      <a:lnTo>
                        <a:pt x="286173" y="313553"/>
                      </a:lnTo>
                      <a:cubicBezTo>
                        <a:pt x="289398" y="323225"/>
                        <a:pt x="295844" y="326449"/>
                        <a:pt x="302292" y="329673"/>
                      </a:cubicBezTo>
                      <a:cubicBezTo>
                        <a:pt x="305517" y="332897"/>
                        <a:pt x="308740" y="336121"/>
                        <a:pt x="311963" y="339344"/>
                      </a:cubicBezTo>
                      <a:cubicBezTo>
                        <a:pt x="379666" y="384479"/>
                        <a:pt x="463486" y="413494"/>
                        <a:pt x="547308" y="390926"/>
                      </a:cubicBezTo>
                      <a:cubicBezTo>
                        <a:pt x="611786" y="371583"/>
                        <a:pt x="673038" y="316777"/>
                        <a:pt x="682710" y="249076"/>
                      </a:cubicBezTo>
                      <a:cubicBezTo>
                        <a:pt x="698829" y="158807"/>
                        <a:pt x="631128" y="168479"/>
                        <a:pt x="566651" y="178150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7" name="任意多边形: 形状 66">
                  <a:extLst>
                    <a:ext uri="{FF2B5EF4-FFF2-40B4-BE49-F238E27FC236}">
                      <a16:creationId xmlns:a16="http://schemas.microsoft.com/office/drawing/2014/main" id="{65A9B267-10F4-4FB4-B261-03A747CC6586}"/>
                    </a:ext>
                  </a:extLst>
                </p:cNvPr>
                <p:cNvSpPr/>
                <p:nvPr/>
              </p:nvSpPr>
              <p:spPr>
                <a:xfrm>
                  <a:off x="20529569" y="11871976"/>
                  <a:ext cx="868688" cy="322931"/>
                </a:xfrm>
                <a:custGeom>
                  <a:avLst/>
                  <a:gdLst>
                    <a:gd name="connsiteX0" fmla="*/ 867520 w 868688"/>
                    <a:gd name="connsiteY0" fmla="*/ 155495 h 322931"/>
                    <a:gd name="connsiteX1" fmla="*/ 686981 w 868688"/>
                    <a:gd name="connsiteY1" fmla="*/ 120032 h 322931"/>
                    <a:gd name="connsiteX2" fmla="*/ 432296 w 868688"/>
                    <a:gd name="connsiteY2" fmla="*/ 203854 h 322931"/>
                    <a:gd name="connsiteX3" fmla="*/ 16414 w 868688"/>
                    <a:gd name="connsiteY3" fmla="*/ 62002 h 322931"/>
                    <a:gd name="connsiteX4" fmla="*/ 432296 w 868688"/>
                    <a:gd name="connsiteY4" fmla="*/ 297346 h 322931"/>
                    <a:gd name="connsiteX5" fmla="*/ 441967 w 868688"/>
                    <a:gd name="connsiteY5" fmla="*/ 294122 h 322931"/>
                    <a:gd name="connsiteX6" fmla="*/ 722445 w 868688"/>
                    <a:gd name="connsiteY6" fmla="*/ 307017 h 322931"/>
                    <a:gd name="connsiteX7" fmla="*/ 867520 w 868688"/>
                    <a:gd name="connsiteY7" fmla="*/ 155495 h 322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68688" h="322931">
                      <a:moveTo>
                        <a:pt x="867520" y="155495"/>
                      </a:moveTo>
                      <a:cubicBezTo>
                        <a:pt x="854623" y="81345"/>
                        <a:pt x="735339" y="116808"/>
                        <a:pt x="686981" y="120032"/>
                      </a:cubicBezTo>
                      <a:cubicBezTo>
                        <a:pt x="593490" y="126480"/>
                        <a:pt x="506445" y="142599"/>
                        <a:pt x="432296" y="203854"/>
                      </a:cubicBezTo>
                      <a:cubicBezTo>
                        <a:pt x="361370" y="100689"/>
                        <a:pt x="97011" y="-102415"/>
                        <a:pt x="16414" y="62002"/>
                      </a:cubicBezTo>
                      <a:cubicBezTo>
                        <a:pt x="-86750" y="274778"/>
                        <a:pt x="325906" y="294122"/>
                        <a:pt x="432296" y="297346"/>
                      </a:cubicBezTo>
                      <a:cubicBezTo>
                        <a:pt x="435519" y="297346"/>
                        <a:pt x="438742" y="297346"/>
                        <a:pt x="441967" y="294122"/>
                      </a:cubicBezTo>
                      <a:cubicBezTo>
                        <a:pt x="532235" y="326361"/>
                        <a:pt x="628952" y="332809"/>
                        <a:pt x="722445" y="307017"/>
                      </a:cubicBezTo>
                      <a:cubicBezTo>
                        <a:pt x="783698" y="287674"/>
                        <a:pt x="880414" y="239315"/>
                        <a:pt x="867520" y="155495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53" name="图形 1">
                <a:extLst>
                  <a:ext uri="{FF2B5EF4-FFF2-40B4-BE49-F238E27FC236}">
                    <a16:creationId xmlns:a16="http://schemas.microsoft.com/office/drawing/2014/main" id="{4841044E-85A3-48B8-B4B7-42EE74C02FC5}"/>
                  </a:ext>
                </a:extLst>
              </p:cNvPr>
              <p:cNvGrpSpPr/>
              <p:nvPr/>
            </p:nvGrpSpPr>
            <p:grpSpPr>
              <a:xfrm>
                <a:off x="19411880" y="10285350"/>
                <a:ext cx="1374321" cy="2116962"/>
                <a:chOff x="19411880" y="10285350"/>
                <a:chExt cx="1374321" cy="2116962"/>
              </a:xfrm>
            </p:grpSpPr>
            <p:sp>
              <p:nvSpPr>
                <p:cNvPr id="54" name="任意多边形: 形状 53">
                  <a:extLst>
                    <a:ext uri="{FF2B5EF4-FFF2-40B4-BE49-F238E27FC236}">
                      <a16:creationId xmlns:a16="http://schemas.microsoft.com/office/drawing/2014/main" id="{8BFAF29C-71F0-4A8A-815F-80B55ECD6583}"/>
                    </a:ext>
                  </a:extLst>
                </p:cNvPr>
                <p:cNvSpPr/>
                <p:nvPr/>
              </p:nvSpPr>
              <p:spPr>
                <a:xfrm>
                  <a:off x="19802369" y="10760257"/>
                  <a:ext cx="860521" cy="1642056"/>
                </a:xfrm>
                <a:custGeom>
                  <a:avLst/>
                  <a:gdLst>
                    <a:gd name="connsiteX0" fmla="*/ 859673 w 860521"/>
                    <a:gd name="connsiteY0" fmla="*/ 1621841 h 1642056"/>
                    <a:gd name="connsiteX1" fmla="*/ 598540 w 860521"/>
                    <a:gd name="connsiteY1" fmla="*/ 715931 h 1642056"/>
                    <a:gd name="connsiteX2" fmla="*/ 31138 w 860521"/>
                    <a:gd name="connsiteY2" fmla="*/ 6677 h 1642056"/>
                    <a:gd name="connsiteX3" fmla="*/ 2122 w 860521"/>
                    <a:gd name="connsiteY3" fmla="*/ 22796 h 1642056"/>
                    <a:gd name="connsiteX4" fmla="*/ 556630 w 860521"/>
                    <a:gd name="connsiteY4" fmla="*/ 706258 h 1642056"/>
                    <a:gd name="connsiteX5" fmla="*/ 827435 w 860521"/>
                    <a:gd name="connsiteY5" fmla="*/ 1631513 h 1642056"/>
                    <a:gd name="connsiteX6" fmla="*/ 859673 w 860521"/>
                    <a:gd name="connsiteY6" fmla="*/ 1621841 h 1642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60521" h="1642056">
                      <a:moveTo>
                        <a:pt x="859673" y="1621841"/>
                      </a:moveTo>
                      <a:cubicBezTo>
                        <a:pt x="785525" y="1318796"/>
                        <a:pt x="733943" y="996408"/>
                        <a:pt x="598540" y="715931"/>
                      </a:cubicBezTo>
                      <a:cubicBezTo>
                        <a:pt x="463137" y="438677"/>
                        <a:pt x="208451" y="254915"/>
                        <a:pt x="31138" y="6677"/>
                      </a:cubicBezTo>
                      <a:cubicBezTo>
                        <a:pt x="18241" y="-9443"/>
                        <a:pt x="-7549" y="6677"/>
                        <a:pt x="2122" y="22796"/>
                      </a:cubicBezTo>
                      <a:cubicBezTo>
                        <a:pt x="176212" y="261363"/>
                        <a:pt x="421226" y="441901"/>
                        <a:pt x="556630" y="706258"/>
                      </a:cubicBezTo>
                      <a:cubicBezTo>
                        <a:pt x="701704" y="989960"/>
                        <a:pt x="753286" y="1325244"/>
                        <a:pt x="827435" y="1631513"/>
                      </a:cubicBezTo>
                      <a:cubicBezTo>
                        <a:pt x="833883" y="1650856"/>
                        <a:pt x="866122" y="1641184"/>
                        <a:pt x="859673" y="1621841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5" name="任意多边形: 形状 54">
                  <a:extLst>
                    <a:ext uri="{FF2B5EF4-FFF2-40B4-BE49-F238E27FC236}">
                      <a16:creationId xmlns:a16="http://schemas.microsoft.com/office/drawing/2014/main" id="{6EF0447A-2212-4FE4-A273-056564228A76}"/>
                    </a:ext>
                  </a:extLst>
                </p:cNvPr>
                <p:cNvSpPr/>
                <p:nvPr/>
              </p:nvSpPr>
              <p:spPr>
                <a:xfrm>
                  <a:off x="19411880" y="10285350"/>
                  <a:ext cx="457088" cy="562885"/>
                </a:xfrm>
                <a:custGeom>
                  <a:avLst/>
                  <a:gdLst>
                    <a:gd name="connsiteX0" fmla="*/ 457088 w 457088"/>
                    <a:gd name="connsiteY0" fmla="*/ 517046 h 562885"/>
                    <a:gd name="connsiteX1" fmla="*/ 286223 w 457088"/>
                    <a:gd name="connsiteY1" fmla="*/ 159195 h 562885"/>
                    <a:gd name="connsiteX2" fmla="*/ 34760 w 457088"/>
                    <a:gd name="connsiteY2" fmla="*/ 14121 h 562885"/>
                    <a:gd name="connsiteX3" fmla="*/ 92790 w 457088"/>
                    <a:gd name="connsiteY3" fmla="*/ 288151 h 562885"/>
                    <a:gd name="connsiteX4" fmla="*/ 392610 w 457088"/>
                    <a:gd name="connsiteY4" fmla="*/ 558956 h 562885"/>
                    <a:gd name="connsiteX5" fmla="*/ 434520 w 457088"/>
                    <a:gd name="connsiteY5" fmla="*/ 546061 h 562885"/>
                    <a:gd name="connsiteX6" fmla="*/ 457088 w 457088"/>
                    <a:gd name="connsiteY6" fmla="*/ 517046 h 5628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57088" h="562885">
                      <a:moveTo>
                        <a:pt x="457088" y="517046"/>
                      </a:moveTo>
                      <a:cubicBezTo>
                        <a:pt x="440969" y="378419"/>
                        <a:pt x="376491" y="262359"/>
                        <a:pt x="286223" y="159195"/>
                      </a:cubicBezTo>
                      <a:cubicBezTo>
                        <a:pt x="241088" y="107613"/>
                        <a:pt x="121804" y="-47133"/>
                        <a:pt x="34760" y="14121"/>
                      </a:cubicBezTo>
                      <a:cubicBezTo>
                        <a:pt x="-55510" y="75374"/>
                        <a:pt x="54103" y="233344"/>
                        <a:pt x="92790" y="288151"/>
                      </a:cubicBezTo>
                      <a:cubicBezTo>
                        <a:pt x="176610" y="407434"/>
                        <a:pt x="260432" y="494479"/>
                        <a:pt x="392610" y="558956"/>
                      </a:cubicBezTo>
                      <a:cubicBezTo>
                        <a:pt x="408730" y="568628"/>
                        <a:pt x="428072" y="558956"/>
                        <a:pt x="434520" y="546061"/>
                      </a:cubicBezTo>
                      <a:cubicBezTo>
                        <a:pt x="447417" y="542837"/>
                        <a:pt x="457088" y="536389"/>
                        <a:pt x="457088" y="517046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6" name="任意多边形: 形状 55">
                  <a:extLst>
                    <a:ext uri="{FF2B5EF4-FFF2-40B4-BE49-F238E27FC236}">
                      <a16:creationId xmlns:a16="http://schemas.microsoft.com/office/drawing/2014/main" id="{78290E4F-9B96-482B-9A57-F05E6C27D726}"/>
                    </a:ext>
                  </a:extLst>
                </p:cNvPr>
                <p:cNvSpPr/>
                <p:nvPr/>
              </p:nvSpPr>
              <p:spPr>
                <a:xfrm>
                  <a:off x="19477755" y="10409900"/>
                  <a:ext cx="737030" cy="731150"/>
                </a:xfrm>
                <a:custGeom>
                  <a:avLst/>
                  <a:gdLst>
                    <a:gd name="connsiteX0" fmla="*/ 694259 w 737030"/>
                    <a:gd name="connsiteY0" fmla="*/ 5631 h 731150"/>
                    <a:gd name="connsiteX1" fmla="*/ 497601 w 737030"/>
                    <a:gd name="connsiteY1" fmla="*/ 157153 h 731150"/>
                    <a:gd name="connsiteX2" fmla="*/ 478258 w 737030"/>
                    <a:gd name="connsiteY2" fmla="*/ 547243 h 731150"/>
                    <a:gd name="connsiteX3" fmla="*/ 481481 w 737030"/>
                    <a:gd name="connsiteY3" fmla="*/ 550467 h 731150"/>
                    <a:gd name="connsiteX4" fmla="*/ 4348 w 737030"/>
                    <a:gd name="connsiteY4" fmla="*/ 585930 h 731150"/>
                    <a:gd name="connsiteX5" fmla="*/ 252587 w 737030"/>
                    <a:gd name="connsiteY5" fmla="*/ 727780 h 731150"/>
                    <a:gd name="connsiteX6" fmla="*/ 513720 w 737030"/>
                    <a:gd name="connsiteY6" fmla="*/ 621392 h 731150"/>
                    <a:gd name="connsiteX7" fmla="*/ 526617 w 737030"/>
                    <a:gd name="connsiteY7" fmla="*/ 608496 h 731150"/>
                    <a:gd name="connsiteX8" fmla="*/ 526617 w 737030"/>
                    <a:gd name="connsiteY8" fmla="*/ 608496 h 731150"/>
                    <a:gd name="connsiteX9" fmla="*/ 726498 w 737030"/>
                    <a:gd name="connsiteY9" fmla="*/ 257094 h 731150"/>
                    <a:gd name="connsiteX10" fmla="*/ 694259 w 737030"/>
                    <a:gd name="connsiteY10" fmla="*/ 5631 h 731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37030" h="731150">
                      <a:moveTo>
                        <a:pt x="694259" y="5631"/>
                      </a:moveTo>
                      <a:cubicBezTo>
                        <a:pt x="623333" y="-29832"/>
                        <a:pt x="526617" y="112019"/>
                        <a:pt x="497601" y="157153"/>
                      </a:cubicBezTo>
                      <a:cubicBezTo>
                        <a:pt x="426675" y="276437"/>
                        <a:pt x="426675" y="421512"/>
                        <a:pt x="478258" y="547243"/>
                      </a:cubicBezTo>
                      <a:cubicBezTo>
                        <a:pt x="478258" y="547243"/>
                        <a:pt x="478258" y="547243"/>
                        <a:pt x="481481" y="550467"/>
                      </a:cubicBezTo>
                      <a:cubicBezTo>
                        <a:pt x="375094" y="508556"/>
                        <a:pt x="-47234" y="418288"/>
                        <a:pt x="4348" y="585930"/>
                      </a:cubicBezTo>
                      <a:cubicBezTo>
                        <a:pt x="30138" y="669750"/>
                        <a:pt x="178438" y="714885"/>
                        <a:pt x="252587" y="727780"/>
                      </a:cubicBezTo>
                      <a:cubicBezTo>
                        <a:pt x="368646" y="747124"/>
                        <a:pt x="426675" y="679422"/>
                        <a:pt x="513720" y="621392"/>
                      </a:cubicBezTo>
                      <a:cubicBezTo>
                        <a:pt x="520168" y="618169"/>
                        <a:pt x="523392" y="611720"/>
                        <a:pt x="526617" y="608496"/>
                      </a:cubicBezTo>
                      <a:cubicBezTo>
                        <a:pt x="526617" y="608496"/>
                        <a:pt x="526617" y="608496"/>
                        <a:pt x="526617" y="608496"/>
                      </a:cubicBezTo>
                      <a:cubicBezTo>
                        <a:pt x="633004" y="518228"/>
                        <a:pt x="703930" y="395720"/>
                        <a:pt x="726498" y="257094"/>
                      </a:cubicBezTo>
                      <a:cubicBezTo>
                        <a:pt x="732944" y="208735"/>
                        <a:pt x="758736" y="37870"/>
                        <a:pt x="694259" y="5631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17594E36-4780-44F0-85E9-B86216EE709C}"/>
                    </a:ext>
                  </a:extLst>
                </p:cNvPr>
                <p:cNvSpPr/>
                <p:nvPr/>
              </p:nvSpPr>
              <p:spPr>
                <a:xfrm>
                  <a:off x="19742329" y="10672548"/>
                  <a:ext cx="703685" cy="763161"/>
                </a:xfrm>
                <a:custGeom>
                  <a:avLst/>
                  <a:gdLst>
                    <a:gd name="connsiteX0" fmla="*/ 671475 w 703685"/>
                    <a:gd name="connsiteY0" fmla="*/ 4117 h 763161"/>
                    <a:gd name="connsiteX1" fmla="*/ 494162 w 703685"/>
                    <a:gd name="connsiteY1" fmla="*/ 155640 h 763161"/>
                    <a:gd name="connsiteX2" fmla="*/ 420011 w 703685"/>
                    <a:gd name="connsiteY2" fmla="*/ 471580 h 763161"/>
                    <a:gd name="connsiteX3" fmla="*/ 403892 w 703685"/>
                    <a:gd name="connsiteY3" fmla="*/ 481252 h 763161"/>
                    <a:gd name="connsiteX4" fmla="*/ 87952 w 703685"/>
                    <a:gd name="connsiteY4" fmla="*/ 584415 h 763161"/>
                    <a:gd name="connsiteX5" fmla="*/ 20251 w 703685"/>
                    <a:gd name="connsiteY5" fmla="*/ 739162 h 763161"/>
                    <a:gd name="connsiteX6" fmla="*/ 249146 w 703685"/>
                    <a:gd name="connsiteY6" fmla="*/ 726267 h 763161"/>
                    <a:gd name="connsiteX7" fmla="*/ 452250 w 703685"/>
                    <a:gd name="connsiteY7" fmla="*/ 529610 h 763161"/>
                    <a:gd name="connsiteX8" fmla="*/ 455475 w 703685"/>
                    <a:gd name="connsiteY8" fmla="*/ 526386 h 763161"/>
                    <a:gd name="connsiteX9" fmla="*/ 487714 w 703685"/>
                    <a:gd name="connsiteY9" fmla="*/ 503818 h 763161"/>
                    <a:gd name="connsiteX10" fmla="*/ 668250 w 703685"/>
                    <a:gd name="connsiteY10" fmla="*/ 226565 h 763161"/>
                    <a:gd name="connsiteX11" fmla="*/ 671475 w 703685"/>
                    <a:gd name="connsiteY11" fmla="*/ 4117 h 763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703685" h="763161">
                      <a:moveTo>
                        <a:pt x="671475" y="4117"/>
                      </a:moveTo>
                      <a:cubicBezTo>
                        <a:pt x="597325" y="-24898"/>
                        <a:pt x="519953" y="107281"/>
                        <a:pt x="494162" y="155640"/>
                      </a:cubicBezTo>
                      <a:cubicBezTo>
                        <a:pt x="439356" y="252356"/>
                        <a:pt x="416788" y="358744"/>
                        <a:pt x="420011" y="471580"/>
                      </a:cubicBezTo>
                      <a:cubicBezTo>
                        <a:pt x="413565" y="471580"/>
                        <a:pt x="410340" y="478028"/>
                        <a:pt x="403892" y="481252"/>
                      </a:cubicBezTo>
                      <a:cubicBezTo>
                        <a:pt x="294281" y="494147"/>
                        <a:pt x="181445" y="526386"/>
                        <a:pt x="87952" y="584415"/>
                      </a:cubicBezTo>
                      <a:cubicBezTo>
                        <a:pt x="42819" y="613431"/>
                        <a:pt x="-37778" y="684356"/>
                        <a:pt x="20251" y="739162"/>
                      </a:cubicBezTo>
                      <a:cubicBezTo>
                        <a:pt x="75057" y="787521"/>
                        <a:pt x="191116" y="752058"/>
                        <a:pt x="249146" y="726267"/>
                      </a:cubicBezTo>
                      <a:cubicBezTo>
                        <a:pt x="339414" y="687580"/>
                        <a:pt x="410340" y="616654"/>
                        <a:pt x="452250" y="529610"/>
                      </a:cubicBezTo>
                      <a:cubicBezTo>
                        <a:pt x="452250" y="529610"/>
                        <a:pt x="455475" y="526386"/>
                        <a:pt x="455475" y="526386"/>
                      </a:cubicBezTo>
                      <a:cubicBezTo>
                        <a:pt x="468369" y="526386"/>
                        <a:pt x="484489" y="519938"/>
                        <a:pt x="487714" y="503818"/>
                      </a:cubicBezTo>
                      <a:cubicBezTo>
                        <a:pt x="568311" y="426445"/>
                        <a:pt x="632788" y="332953"/>
                        <a:pt x="668250" y="226565"/>
                      </a:cubicBezTo>
                      <a:cubicBezTo>
                        <a:pt x="681147" y="181430"/>
                        <a:pt x="739176" y="29909"/>
                        <a:pt x="671475" y="4117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3ACE4BA4-AFEB-4740-8A64-9D1916B023A8}"/>
                    </a:ext>
                  </a:extLst>
                </p:cNvPr>
                <p:cNvSpPr/>
                <p:nvPr/>
              </p:nvSpPr>
              <p:spPr>
                <a:xfrm>
                  <a:off x="19857437" y="10872820"/>
                  <a:ext cx="861068" cy="842054"/>
                </a:xfrm>
                <a:custGeom>
                  <a:avLst/>
                  <a:gdLst>
                    <a:gd name="connsiteX0" fmla="*/ 852963 w 861068"/>
                    <a:gd name="connsiteY0" fmla="*/ 23069 h 842054"/>
                    <a:gd name="connsiteX1" fmla="*/ 820725 w 861068"/>
                    <a:gd name="connsiteY1" fmla="*/ 501 h 842054"/>
                    <a:gd name="connsiteX2" fmla="*/ 598278 w 861068"/>
                    <a:gd name="connsiteY2" fmla="*/ 161695 h 842054"/>
                    <a:gd name="connsiteX3" fmla="*/ 466098 w 861068"/>
                    <a:gd name="connsiteY3" fmla="*/ 513098 h 842054"/>
                    <a:gd name="connsiteX4" fmla="*/ 466098 w 861068"/>
                    <a:gd name="connsiteY4" fmla="*/ 525994 h 842054"/>
                    <a:gd name="connsiteX5" fmla="*/ 462875 w 861068"/>
                    <a:gd name="connsiteY5" fmla="*/ 529217 h 842054"/>
                    <a:gd name="connsiteX6" fmla="*/ 453203 w 861068"/>
                    <a:gd name="connsiteY6" fmla="*/ 529217 h 842054"/>
                    <a:gd name="connsiteX7" fmla="*/ 50218 w 861068"/>
                    <a:gd name="connsiteY7" fmla="*/ 645277 h 842054"/>
                    <a:gd name="connsiteX8" fmla="*/ 40547 w 861068"/>
                    <a:gd name="connsiteY8" fmla="*/ 819367 h 842054"/>
                    <a:gd name="connsiteX9" fmla="*/ 301681 w 861068"/>
                    <a:gd name="connsiteY9" fmla="*/ 793576 h 842054"/>
                    <a:gd name="connsiteX10" fmla="*/ 508010 w 861068"/>
                    <a:gd name="connsiteY10" fmla="*/ 574352 h 842054"/>
                    <a:gd name="connsiteX11" fmla="*/ 524129 w 861068"/>
                    <a:gd name="connsiteY11" fmla="*/ 567904 h 842054"/>
                    <a:gd name="connsiteX12" fmla="*/ 782040 w 861068"/>
                    <a:gd name="connsiteY12" fmla="*/ 297099 h 842054"/>
                    <a:gd name="connsiteX13" fmla="*/ 852963 w 861068"/>
                    <a:gd name="connsiteY13" fmla="*/ 23069 h 8420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61068" h="842054">
                      <a:moveTo>
                        <a:pt x="852963" y="23069"/>
                      </a:moveTo>
                      <a:cubicBezTo>
                        <a:pt x="849740" y="10173"/>
                        <a:pt x="836844" y="-2723"/>
                        <a:pt x="820725" y="501"/>
                      </a:cubicBezTo>
                      <a:cubicBezTo>
                        <a:pt x="733681" y="10173"/>
                        <a:pt x="646636" y="97218"/>
                        <a:pt x="598278" y="161695"/>
                      </a:cubicBezTo>
                      <a:cubicBezTo>
                        <a:pt x="520904" y="264860"/>
                        <a:pt x="498336" y="390591"/>
                        <a:pt x="466098" y="513098"/>
                      </a:cubicBezTo>
                      <a:cubicBezTo>
                        <a:pt x="466098" y="519546"/>
                        <a:pt x="466098" y="522770"/>
                        <a:pt x="466098" y="525994"/>
                      </a:cubicBezTo>
                      <a:cubicBezTo>
                        <a:pt x="466098" y="525994"/>
                        <a:pt x="462875" y="529217"/>
                        <a:pt x="462875" y="529217"/>
                      </a:cubicBezTo>
                      <a:cubicBezTo>
                        <a:pt x="459651" y="529217"/>
                        <a:pt x="456426" y="529217"/>
                        <a:pt x="453203" y="529217"/>
                      </a:cubicBezTo>
                      <a:cubicBezTo>
                        <a:pt x="327471" y="555009"/>
                        <a:pt x="153383" y="564680"/>
                        <a:pt x="50218" y="645277"/>
                      </a:cubicBezTo>
                      <a:cubicBezTo>
                        <a:pt x="-4588" y="690411"/>
                        <a:pt x="-23931" y="774232"/>
                        <a:pt x="40547" y="819367"/>
                      </a:cubicBezTo>
                      <a:cubicBezTo>
                        <a:pt x="108248" y="867725"/>
                        <a:pt x="233980" y="829039"/>
                        <a:pt x="301681" y="793576"/>
                      </a:cubicBezTo>
                      <a:cubicBezTo>
                        <a:pt x="391949" y="745218"/>
                        <a:pt x="453203" y="661397"/>
                        <a:pt x="508010" y="574352"/>
                      </a:cubicBezTo>
                      <a:cubicBezTo>
                        <a:pt x="514456" y="574352"/>
                        <a:pt x="517681" y="571128"/>
                        <a:pt x="524129" y="567904"/>
                      </a:cubicBezTo>
                      <a:cubicBezTo>
                        <a:pt x="611172" y="484083"/>
                        <a:pt x="717562" y="400262"/>
                        <a:pt x="782040" y="297099"/>
                      </a:cubicBezTo>
                      <a:cubicBezTo>
                        <a:pt x="827173" y="232621"/>
                        <a:pt x="881979" y="106890"/>
                        <a:pt x="852963" y="23069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E52DDF33-E88F-40E9-8FB1-CC4396E12B96}"/>
                    </a:ext>
                  </a:extLst>
                </p:cNvPr>
                <p:cNvSpPr/>
                <p:nvPr/>
              </p:nvSpPr>
              <p:spPr>
                <a:xfrm>
                  <a:off x="20136531" y="11303355"/>
                  <a:ext cx="649669" cy="596672"/>
                </a:xfrm>
                <a:custGeom>
                  <a:avLst/>
                  <a:gdLst>
                    <a:gd name="connsiteX0" fmla="*/ 635123 w 649669"/>
                    <a:gd name="connsiteY0" fmla="*/ 24534 h 596672"/>
                    <a:gd name="connsiteX1" fmla="*/ 586765 w 649669"/>
                    <a:gd name="connsiteY1" fmla="*/ 5191 h 596672"/>
                    <a:gd name="connsiteX2" fmla="*/ 328855 w 649669"/>
                    <a:gd name="connsiteY2" fmla="*/ 417848 h 596672"/>
                    <a:gd name="connsiteX3" fmla="*/ 6467 w 649669"/>
                    <a:gd name="connsiteY3" fmla="*/ 537131 h 596672"/>
                    <a:gd name="connsiteX4" fmla="*/ 367542 w 649669"/>
                    <a:gd name="connsiteY4" fmla="*/ 491997 h 596672"/>
                    <a:gd name="connsiteX5" fmla="*/ 390109 w 649669"/>
                    <a:gd name="connsiteY5" fmla="*/ 488773 h 596672"/>
                    <a:gd name="connsiteX6" fmla="*/ 635123 w 649669"/>
                    <a:gd name="connsiteY6" fmla="*/ 24534 h 59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49669" h="596672">
                      <a:moveTo>
                        <a:pt x="635123" y="24534"/>
                      </a:moveTo>
                      <a:cubicBezTo>
                        <a:pt x="628675" y="5191"/>
                        <a:pt x="606108" y="-7705"/>
                        <a:pt x="586765" y="5191"/>
                      </a:cubicBezTo>
                      <a:cubicBezTo>
                        <a:pt x="438468" y="98683"/>
                        <a:pt x="380436" y="256654"/>
                        <a:pt x="328855" y="417848"/>
                      </a:cubicBezTo>
                      <a:cubicBezTo>
                        <a:pt x="225690" y="404952"/>
                        <a:pt x="-45115" y="382385"/>
                        <a:pt x="6467" y="537131"/>
                      </a:cubicBezTo>
                      <a:cubicBezTo>
                        <a:pt x="54825" y="678982"/>
                        <a:pt x="277273" y="527460"/>
                        <a:pt x="367542" y="491997"/>
                      </a:cubicBezTo>
                      <a:cubicBezTo>
                        <a:pt x="373990" y="495221"/>
                        <a:pt x="383661" y="491997"/>
                        <a:pt x="390109" y="488773"/>
                      </a:cubicBezTo>
                      <a:cubicBezTo>
                        <a:pt x="554526" y="392056"/>
                        <a:pt x="696378" y="224415"/>
                        <a:pt x="635123" y="24534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1945CA4B-ADE0-4B1B-8294-13CC2993BABC}"/>
                    </a:ext>
                  </a:extLst>
                </p:cNvPr>
                <p:cNvSpPr/>
                <p:nvPr/>
              </p:nvSpPr>
              <p:spPr>
                <a:xfrm>
                  <a:off x="20264773" y="11790283"/>
                  <a:ext cx="463923" cy="363908"/>
                </a:xfrm>
                <a:custGeom>
                  <a:avLst/>
                  <a:gdLst>
                    <a:gd name="connsiteX0" fmla="*/ 426284 w 463923"/>
                    <a:gd name="connsiteY0" fmla="*/ 5069 h 363908"/>
                    <a:gd name="connsiteX1" fmla="*/ 326345 w 463923"/>
                    <a:gd name="connsiteY1" fmla="*/ 75995 h 363908"/>
                    <a:gd name="connsiteX2" fmla="*/ 287658 w 463923"/>
                    <a:gd name="connsiteY2" fmla="*/ 250084 h 363908"/>
                    <a:gd name="connsiteX3" fmla="*/ 152255 w 463923"/>
                    <a:gd name="connsiteY3" fmla="*/ 214621 h 363908"/>
                    <a:gd name="connsiteX4" fmla="*/ 7180 w 463923"/>
                    <a:gd name="connsiteY4" fmla="*/ 259755 h 363908"/>
                    <a:gd name="connsiteX5" fmla="*/ 78106 w 463923"/>
                    <a:gd name="connsiteY5" fmla="*/ 359696 h 363908"/>
                    <a:gd name="connsiteX6" fmla="*/ 316672 w 463923"/>
                    <a:gd name="connsiteY6" fmla="*/ 337128 h 363908"/>
                    <a:gd name="connsiteX7" fmla="*/ 339239 w 463923"/>
                    <a:gd name="connsiteY7" fmla="*/ 308114 h 363908"/>
                    <a:gd name="connsiteX8" fmla="*/ 348911 w 463923"/>
                    <a:gd name="connsiteY8" fmla="*/ 298442 h 363908"/>
                    <a:gd name="connsiteX9" fmla="*/ 452075 w 463923"/>
                    <a:gd name="connsiteY9" fmla="*/ 137248 h 363908"/>
                    <a:gd name="connsiteX10" fmla="*/ 426284 w 463923"/>
                    <a:gd name="connsiteY10" fmla="*/ 5069 h 3639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63923" h="363908">
                      <a:moveTo>
                        <a:pt x="426284" y="5069"/>
                      </a:moveTo>
                      <a:cubicBezTo>
                        <a:pt x="381149" y="-17499"/>
                        <a:pt x="342464" y="40532"/>
                        <a:pt x="326345" y="75995"/>
                      </a:cubicBezTo>
                      <a:cubicBezTo>
                        <a:pt x="300552" y="130800"/>
                        <a:pt x="290881" y="192054"/>
                        <a:pt x="287658" y="250084"/>
                      </a:cubicBezTo>
                      <a:cubicBezTo>
                        <a:pt x="245748" y="227517"/>
                        <a:pt x="200613" y="217845"/>
                        <a:pt x="152255" y="214621"/>
                      </a:cubicBezTo>
                      <a:cubicBezTo>
                        <a:pt x="103896" y="211397"/>
                        <a:pt x="32971" y="204950"/>
                        <a:pt x="7180" y="259755"/>
                      </a:cubicBezTo>
                      <a:cubicBezTo>
                        <a:pt x="-18611" y="311338"/>
                        <a:pt x="29748" y="353248"/>
                        <a:pt x="78106" y="359696"/>
                      </a:cubicBezTo>
                      <a:cubicBezTo>
                        <a:pt x="155478" y="372591"/>
                        <a:pt x="242523" y="353248"/>
                        <a:pt x="316672" y="337128"/>
                      </a:cubicBezTo>
                      <a:cubicBezTo>
                        <a:pt x="332791" y="333905"/>
                        <a:pt x="339239" y="321009"/>
                        <a:pt x="339239" y="308114"/>
                      </a:cubicBezTo>
                      <a:cubicBezTo>
                        <a:pt x="342464" y="304890"/>
                        <a:pt x="345687" y="301666"/>
                        <a:pt x="348911" y="298442"/>
                      </a:cubicBezTo>
                      <a:cubicBezTo>
                        <a:pt x="384374" y="246860"/>
                        <a:pt x="429508" y="195278"/>
                        <a:pt x="452075" y="137248"/>
                      </a:cubicBezTo>
                      <a:cubicBezTo>
                        <a:pt x="468195" y="98561"/>
                        <a:pt x="474643" y="27637"/>
                        <a:pt x="426284" y="5069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41" name="图形 1">
              <a:extLst>
                <a:ext uri="{FF2B5EF4-FFF2-40B4-BE49-F238E27FC236}">
                  <a16:creationId xmlns:a16="http://schemas.microsoft.com/office/drawing/2014/main" id="{CF79AB8E-1C2C-4B65-BA30-44ABFCF6CFB9}"/>
                </a:ext>
              </a:extLst>
            </p:cNvPr>
            <p:cNvGrpSpPr/>
            <p:nvPr/>
          </p:nvGrpSpPr>
          <p:grpSpPr>
            <a:xfrm>
              <a:off x="22083775" y="7994397"/>
              <a:ext cx="270804" cy="257910"/>
              <a:chOff x="22083775" y="7994397"/>
              <a:chExt cx="270804" cy="257910"/>
            </a:xfrm>
          </p:grpSpPr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91139CCC-CC33-4B1A-A1E6-299B97E11DDB}"/>
                  </a:ext>
                </a:extLst>
              </p:cNvPr>
              <p:cNvSpPr/>
              <p:nvPr/>
            </p:nvSpPr>
            <p:spPr>
              <a:xfrm>
                <a:off x="22132133" y="7994397"/>
                <a:ext cx="180536" cy="180537"/>
              </a:xfrm>
              <a:custGeom>
                <a:avLst/>
                <a:gdLst>
                  <a:gd name="connsiteX0" fmla="*/ 0 w 180536"/>
                  <a:gd name="connsiteY0" fmla="*/ 90268 h 180537"/>
                  <a:gd name="connsiteX1" fmla="*/ 90268 w 180536"/>
                  <a:gd name="connsiteY1" fmla="*/ 180537 h 180537"/>
                  <a:gd name="connsiteX2" fmla="*/ 180537 w 180536"/>
                  <a:gd name="connsiteY2" fmla="*/ 90268 h 180537"/>
                  <a:gd name="connsiteX3" fmla="*/ 90268 w 180536"/>
                  <a:gd name="connsiteY3" fmla="*/ 0 h 180537"/>
                  <a:gd name="connsiteX4" fmla="*/ 0 w 180536"/>
                  <a:gd name="connsiteY4" fmla="*/ 90268 h 180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536" h="180537">
                    <a:moveTo>
                      <a:pt x="0" y="90268"/>
                    </a:moveTo>
                    <a:cubicBezTo>
                      <a:pt x="0" y="141851"/>
                      <a:pt x="41910" y="180537"/>
                      <a:pt x="90268" y="180537"/>
                    </a:cubicBezTo>
                    <a:cubicBezTo>
                      <a:pt x="141850" y="180537"/>
                      <a:pt x="180537" y="138626"/>
                      <a:pt x="180537" y="90268"/>
                    </a:cubicBezTo>
                    <a:cubicBezTo>
                      <a:pt x="180537" y="38686"/>
                      <a:pt x="138626" y="0"/>
                      <a:pt x="90268" y="0"/>
                    </a:cubicBezTo>
                    <a:cubicBezTo>
                      <a:pt x="38687" y="0"/>
                      <a:pt x="0" y="38686"/>
                      <a:pt x="0" y="90268"/>
                    </a:cubicBez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7D8C7A39-8C63-403F-8D52-DCEE85EEACFF}"/>
                  </a:ext>
                </a:extLst>
              </p:cNvPr>
              <p:cNvSpPr/>
              <p:nvPr/>
            </p:nvSpPr>
            <p:spPr>
              <a:xfrm>
                <a:off x="22174043" y="8071769"/>
                <a:ext cx="180536" cy="180537"/>
              </a:xfrm>
              <a:custGeom>
                <a:avLst/>
                <a:gdLst>
                  <a:gd name="connsiteX0" fmla="*/ 0 w 180536"/>
                  <a:gd name="connsiteY0" fmla="*/ 90269 h 180537"/>
                  <a:gd name="connsiteX1" fmla="*/ 90268 w 180536"/>
                  <a:gd name="connsiteY1" fmla="*/ 180538 h 180537"/>
                  <a:gd name="connsiteX2" fmla="*/ 180537 w 180536"/>
                  <a:gd name="connsiteY2" fmla="*/ 90269 h 180537"/>
                  <a:gd name="connsiteX3" fmla="*/ 90268 w 180536"/>
                  <a:gd name="connsiteY3" fmla="*/ 0 h 180537"/>
                  <a:gd name="connsiteX4" fmla="*/ 0 w 180536"/>
                  <a:gd name="connsiteY4" fmla="*/ 90269 h 180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536" h="180537">
                    <a:moveTo>
                      <a:pt x="0" y="90269"/>
                    </a:moveTo>
                    <a:cubicBezTo>
                      <a:pt x="0" y="141851"/>
                      <a:pt x="41910" y="180538"/>
                      <a:pt x="90268" y="180538"/>
                    </a:cubicBezTo>
                    <a:cubicBezTo>
                      <a:pt x="138626" y="180538"/>
                      <a:pt x="180537" y="138627"/>
                      <a:pt x="180537" y="90269"/>
                    </a:cubicBezTo>
                    <a:cubicBezTo>
                      <a:pt x="180537" y="41911"/>
                      <a:pt x="138626" y="0"/>
                      <a:pt x="90268" y="0"/>
                    </a:cubicBezTo>
                    <a:cubicBezTo>
                      <a:pt x="41910" y="0"/>
                      <a:pt x="0" y="38686"/>
                      <a:pt x="0" y="90269"/>
                    </a:cubicBezTo>
                    <a:close/>
                  </a:path>
                </a:pathLst>
              </a:custGeom>
              <a:solidFill>
                <a:srgbClr val="D16156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B683633A-37FE-4547-A735-5E5572D78D40}"/>
                  </a:ext>
                </a:extLst>
              </p:cNvPr>
              <p:cNvSpPr/>
              <p:nvPr/>
            </p:nvSpPr>
            <p:spPr>
              <a:xfrm>
                <a:off x="22083775" y="8071769"/>
                <a:ext cx="180536" cy="180537"/>
              </a:xfrm>
              <a:custGeom>
                <a:avLst/>
                <a:gdLst>
                  <a:gd name="connsiteX0" fmla="*/ 0 w 180536"/>
                  <a:gd name="connsiteY0" fmla="*/ 90269 h 180537"/>
                  <a:gd name="connsiteX1" fmla="*/ 90268 w 180536"/>
                  <a:gd name="connsiteY1" fmla="*/ 180538 h 180537"/>
                  <a:gd name="connsiteX2" fmla="*/ 180537 w 180536"/>
                  <a:gd name="connsiteY2" fmla="*/ 90269 h 180537"/>
                  <a:gd name="connsiteX3" fmla="*/ 90268 w 180536"/>
                  <a:gd name="connsiteY3" fmla="*/ 0 h 180537"/>
                  <a:gd name="connsiteX4" fmla="*/ 0 w 180536"/>
                  <a:gd name="connsiteY4" fmla="*/ 90269 h 180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536" h="180537">
                    <a:moveTo>
                      <a:pt x="0" y="90269"/>
                    </a:moveTo>
                    <a:cubicBezTo>
                      <a:pt x="0" y="141851"/>
                      <a:pt x="41910" y="180538"/>
                      <a:pt x="90268" y="180538"/>
                    </a:cubicBezTo>
                    <a:cubicBezTo>
                      <a:pt x="141850" y="180538"/>
                      <a:pt x="180537" y="138627"/>
                      <a:pt x="180537" y="90269"/>
                    </a:cubicBezTo>
                    <a:cubicBezTo>
                      <a:pt x="180537" y="41911"/>
                      <a:pt x="138626" y="0"/>
                      <a:pt x="90268" y="0"/>
                    </a:cubicBezTo>
                    <a:cubicBezTo>
                      <a:pt x="41910" y="0"/>
                      <a:pt x="0" y="38686"/>
                      <a:pt x="0" y="90269"/>
                    </a:cubicBezTo>
                    <a:close/>
                  </a:path>
                </a:pathLst>
              </a:custGeom>
              <a:solidFill>
                <a:srgbClr val="F6EBE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2" name="图形 1">
              <a:extLst>
                <a:ext uri="{FF2B5EF4-FFF2-40B4-BE49-F238E27FC236}">
                  <a16:creationId xmlns:a16="http://schemas.microsoft.com/office/drawing/2014/main" id="{6CFF9634-5805-42B4-ACED-4965709DD59C}"/>
                </a:ext>
              </a:extLst>
            </p:cNvPr>
            <p:cNvGrpSpPr/>
            <p:nvPr/>
          </p:nvGrpSpPr>
          <p:grpSpPr>
            <a:xfrm>
              <a:off x="22083775" y="8174934"/>
              <a:ext cx="274029" cy="406209"/>
              <a:chOff x="22083775" y="8174934"/>
              <a:chExt cx="274029" cy="406209"/>
            </a:xfrm>
          </p:grpSpPr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7CC97A9E-C3FE-4873-A7D0-A11B5BC0B6E0}"/>
                  </a:ext>
                </a:extLst>
              </p:cNvPr>
              <p:cNvSpPr/>
              <p:nvPr/>
            </p:nvSpPr>
            <p:spPr>
              <a:xfrm>
                <a:off x="22083775" y="8187829"/>
                <a:ext cx="274029" cy="393313"/>
              </a:xfrm>
              <a:custGeom>
                <a:avLst/>
                <a:gdLst>
                  <a:gd name="connsiteX0" fmla="*/ 0 w 274029"/>
                  <a:gd name="connsiteY0" fmla="*/ 0 h 393313"/>
                  <a:gd name="connsiteX1" fmla="*/ 3223 w 274029"/>
                  <a:gd name="connsiteY1" fmla="*/ 12895 h 393313"/>
                  <a:gd name="connsiteX2" fmla="*/ 3223 w 274029"/>
                  <a:gd name="connsiteY2" fmla="*/ 16119 h 393313"/>
                  <a:gd name="connsiteX3" fmla="*/ 9671 w 274029"/>
                  <a:gd name="connsiteY3" fmla="*/ 29015 h 393313"/>
                  <a:gd name="connsiteX4" fmla="*/ 29014 w 274029"/>
                  <a:gd name="connsiteY4" fmla="*/ 96716 h 393313"/>
                  <a:gd name="connsiteX5" fmla="*/ 35462 w 274029"/>
                  <a:gd name="connsiteY5" fmla="*/ 125731 h 393313"/>
                  <a:gd name="connsiteX6" fmla="*/ 51581 w 274029"/>
                  <a:gd name="connsiteY6" fmla="*/ 177313 h 393313"/>
                  <a:gd name="connsiteX7" fmla="*/ 54806 w 274029"/>
                  <a:gd name="connsiteY7" fmla="*/ 193433 h 393313"/>
                  <a:gd name="connsiteX8" fmla="*/ 61253 w 274029"/>
                  <a:gd name="connsiteY8" fmla="*/ 212776 h 393313"/>
                  <a:gd name="connsiteX9" fmla="*/ 67701 w 274029"/>
                  <a:gd name="connsiteY9" fmla="*/ 235343 h 393313"/>
                  <a:gd name="connsiteX10" fmla="*/ 74149 w 274029"/>
                  <a:gd name="connsiteY10" fmla="*/ 257910 h 393313"/>
                  <a:gd name="connsiteX11" fmla="*/ 80597 w 274029"/>
                  <a:gd name="connsiteY11" fmla="*/ 274030 h 393313"/>
                  <a:gd name="connsiteX12" fmla="*/ 93491 w 274029"/>
                  <a:gd name="connsiteY12" fmla="*/ 322388 h 393313"/>
                  <a:gd name="connsiteX13" fmla="*/ 103165 w 274029"/>
                  <a:gd name="connsiteY13" fmla="*/ 354627 h 393313"/>
                  <a:gd name="connsiteX14" fmla="*/ 116059 w 274029"/>
                  <a:gd name="connsiteY14" fmla="*/ 393313 h 393313"/>
                  <a:gd name="connsiteX15" fmla="*/ 125730 w 274029"/>
                  <a:gd name="connsiteY15" fmla="*/ 364298 h 393313"/>
                  <a:gd name="connsiteX16" fmla="*/ 132178 w 274029"/>
                  <a:gd name="connsiteY16" fmla="*/ 351403 h 393313"/>
                  <a:gd name="connsiteX17" fmla="*/ 154746 w 274029"/>
                  <a:gd name="connsiteY17" fmla="*/ 296597 h 393313"/>
                  <a:gd name="connsiteX18" fmla="*/ 157969 w 274029"/>
                  <a:gd name="connsiteY18" fmla="*/ 286925 h 393313"/>
                  <a:gd name="connsiteX19" fmla="*/ 157969 w 274029"/>
                  <a:gd name="connsiteY19" fmla="*/ 283701 h 393313"/>
                  <a:gd name="connsiteX20" fmla="*/ 177313 w 274029"/>
                  <a:gd name="connsiteY20" fmla="*/ 238567 h 393313"/>
                  <a:gd name="connsiteX21" fmla="*/ 180537 w 274029"/>
                  <a:gd name="connsiteY21" fmla="*/ 232119 h 393313"/>
                  <a:gd name="connsiteX22" fmla="*/ 183762 w 274029"/>
                  <a:gd name="connsiteY22" fmla="*/ 219223 h 393313"/>
                  <a:gd name="connsiteX23" fmla="*/ 206327 w 274029"/>
                  <a:gd name="connsiteY23" fmla="*/ 167642 h 393313"/>
                  <a:gd name="connsiteX24" fmla="*/ 209552 w 274029"/>
                  <a:gd name="connsiteY24" fmla="*/ 154746 h 393313"/>
                  <a:gd name="connsiteX25" fmla="*/ 232120 w 274029"/>
                  <a:gd name="connsiteY25" fmla="*/ 99940 h 393313"/>
                  <a:gd name="connsiteX26" fmla="*/ 238566 w 274029"/>
                  <a:gd name="connsiteY26" fmla="*/ 90268 h 393313"/>
                  <a:gd name="connsiteX27" fmla="*/ 257910 w 274029"/>
                  <a:gd name="connsiteY27" fmla="*/ 38686 h 393313"/>
                  <a:gd name="connsiteX28" fmla="*/ 274030 w 274029"/>
                  <a:gd name="connsiteY28" fmla="*/ 0 h 393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74029" h="393313">
                    <a:moveTo>
                      <a:pt x="0" y="0"/>
                    </a:moveTo>
                    <a:lnTo>
                      <a:pt x="3223" y="12895"/>
                    </a:lnTo>
                    <a:lnTo>
                      <a:pt x="3223" y="16119"/>
                    </a:lnTo>
                    <a:lnTo>
                      <a:pt x="9671" y="29015"/>
                    </a:lnTo>
                    <a:lnTo>
                      <a:pt x="29014" y="96716"/>
                    </a:lnTo>
                    <a:lnTo>
                      <a:pt x="35462" y="125731"/>
                    </a:lnTo>
                    <a:lnTo>
                      <a:pt x="51581" y="177313"/>
                    </a:lnTo>
                    <a:lnTo>
                      <a:pt x="54806" y="193433"/>
                    </a:lnTo>
                    <a:lnTo>
                      <a:pt x="61253" y="212776"/>
                    </a:lnTo>
                    <a:lnTo>
                      <a:pt x="67701" y="235343"/>
                    </a:lnTo>
                    <a:lnTo>
                      <a:pt x="74149" y="257910"/>
                    </a:lnTo>
                    <a:lnTo>
                      <a:pt x="80597" y="274030"/>
                    </a:lnTo>
                    <a:lnTo>
                      <a:pt x="93491" y="322388"/>
                    </a:lnTo>
                    <a:lnTo>
                      <a:pt x="103165" y="354627"/>
                    </a:lnTo>
                    <a:lnTo>
                      <a:pt x="116059" y="393313"/>
                    </a:lnTo>
                    <a:lnTo>
                      <a:pt x="125730" y="364298"/>
                    </a:lnTo>
                    <a:lnTo>
                      <a:pt x="132178" y="351403"/>
                    </a:lnTo>
                    <a:lnTo>
                      <a:pt x="154746" y="296597"/>
                    </a:lnTo>
                    <a:lnTo>
                      <a:pt x="157969" y="286925"/>
                    </a:lnTo>
                    <a:lnTo>
                      <a:pt x="157969" y="283701"/>
                    </a:lnTo>
                    <a:lnTo>
                      <a:pt x="177313" y="238567"/>
                    </a:lnTo>
                    <a:lnTo>
                      <a:pt x="180537" y="232119"/>
                    </a:lnTo>
                    <a:lnTo>
                      <a:pt x="183762" y="219223"/>
                    </a:lnTo>
                    <a:lnTo>
                      <a:pt x="206327" y="167642"/>
                    </a:lnTo>
                    <a:lnTo>
                      <a:pt x="209552" y="154746"/>
                    </a:lnTo>
                    <a:lnTo>
                      <a:pt x="232120" y="99940"/>
                    </a:lnTo>
                    <a:lnTo>
                      <a:pt x="238566" y="90268"/>
                    </a:lnTo>
                    <a:lnTo>
                      <a:pt x="257910" y="38686"/>
                    </a:lnTo>
                    <a:lnTo>
                      <a:pt x="274030" y="0"/>
                    </a:lnTo>
                    <a:close/>
                  </a:path>
                </a:pathLst>
              </a:custGeom>
              <a:solidFill>
                <a:srgbClr val="F1DDB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3B16CC83-86BB-499A-8496-1A244C51A33F}"/>
                  </a:ext>
                </a:extLst>
              </p:cNvPr>
              <p:cNvSpPr/>
              <p:nvPr/>
            </p:nvSpPr>
            <p:spPr>
              <a:xfrm>
                <a:off x="22083775" y="8174934"/>
                <a:ext cx="274029" cy="373970"/>
              </a:xfrm>
              <a:custGeom>
                <a:avLst/>
                <a:gdLst>
                  <a:gd name="connsiteX0" fmla="*/ 0 w 274029"/>
                  <a:gd name="connsiteY0" fmla="*/ 12896 h 373970"/>
                  <a:gd name="connsiteX1" fmla="*/ 3223 w 274029"/>
                  <a:gd name="connsiteY1" fmla="*/ 25791 h 373970"/>
                  <a:gd name="connsiteX2" fmla="*/ 3223 w 274029"/>
                  <a:gd name="connsiteY2" fmla="*/ 25791 h 373970"/>
                  <a:gd name="connsiteX3" fmla="*/ 3223 w 274029"/>
                  <a:gd name="connsiteY3" fmla="*/ 25791 h 373970"/>
                  <a:gd name="connsiteX4" fmla="*/ 6448 w 274029"/>
                  <a:gd name="connsiteY4" fmla="*/ 41911 h 373970"/>
                  <a:gd name="connsiteX5" fmla="*/ 12894 w 274029"/>
                  <a:gd name="connsiteY5" fmla="*/ 35463 h 373970"/>
                  <a:gd name="connsiteX6" fmla="*/ 58029 w 274029"/>
                  <a:gd name="connsiteY6" fmla="*/ 67702 h 373970"/>
                  <a:gd name="connsiteX7" fmla="*/ 29014 w 274029"/>
                  <a:gd name="connsiteY7" fmla="*/ 109612 h 373970"/>
                  <a:gd name="connsiteX8" fmla="*/ 38687 w 274029"/>
                  <a:gd name="connsiteY8" fmla="*/ 138627 h 373970"/>
                  <a:gd name="connsiteX9" fmla="*/ 74149 w 274029"/>
                  <a:gd name="connsiteY9" fmla="*/ 164418 h 373970"/>
                  <a:gd name="connsiteX10" fmla="*/ 54806 w 274029"/>
                  <a:gd name="connsiteY10" fmla="*/ 190209 h 373970"/>
                  <a:gd name="connsiteX11" fmla="*/ 58029 w 274029"/>
                  <a:gd name="connsiteY11" fmla="*/ 206329 h 373970"/>
                  <a:gd name="connsiteX12" fmla="*/ 83820 w 274029"/>
                  <a:gd name="connsiteY12" fmla="*/ 170866 h 373970"/>
                  <a:gd name="connsiteX13" fmla="*/ 128955 w 274029"/>
                  <a:gd name="connsiteY13" fmla="*/ 203105 h 373970"/>
                  <a:gd name="connsiteX14" fmla="*/ 96716 w 274029"/>
                  <a:gd name="connsiteY14" fmla="*/ 248239 h 373970"/>
                  <a:gd name="connsiteX15" fmla="*/ 64478 w 274029"/>
                  <a:gd name="connsiteY15" fmla="*/ 225672 h 373970"/>
                  <a:gd name="connsiteX16" fmla="*/ 70926 w 274029"/>
                  <a:gd name="connsiteY16" fmla="*/ 245015 h 373970"/>
                  <a:gd name="connsiteX17" fmla="*/ 87045 w 274029"/>
                  <a:gd name="connsiteY17" fmla="*/ 257910 h 373970"/>
                  <a:gd name="connsiteX18" fmla="*/ 77372 w 274029"/>
                  <a:gd name="connsiteY18" fmla="*/ 270806 h 373970"/>
                  <a:gd name="connsiteX19" fmla="*/ 80597 w 274029"/>
                  <a:gd name="connsiteY19" fmla="*/ 286926 h 373970"/>
                  <a:gd name="connsiteX20" fmla="*/ 96716 w 274029"/>
                  <a:gd name="connsiteY20" fmla="*/ 267582 h 373970"/>
                  <a:gd name="connsiteX21" fmla="*/ 141850 w 274029"/>
                  <a:gd name="connsiteY21" fmla="*/ 299821 h 373970"/>
                  <a:gd name="connsiteX22" fmla="*/ 109611 w 274029"/>
                  <a:gd name="connsiteY22" fmla="*/ 344955 h 373970"/>
                  <a:gd name="connsiteX23" fmla="*/ 96716 w 274029"/>
                  <a:gd name="connsiteY23" fmla="*/ 335284 h 373970"/>
                  <a:gd name="connsiteX24" fmla="*/ 106388 w 274029"/>
                  <a:gd name="connsiteY24" fmla="*/ 367523 h 373970"/>
                  <a:gd name="connsiteX25" fmla="*/ 109611 w 274029"/>
                  <a:gd name="connsiteY25" fmla="*/ 361075 h 373970"/>
                  <a:gd name="connsiteX26" fmla="*/ 128955 w 274029"/>
                  <a:gd name="connsiteY26" fmla="*/ 373970 h 373970"/>
                  <a:gd name="connsiteX27" fmla="*/ 135403 w 274029"/>
                  <a:gd name="connsiteY27" fmla="*/ 361075 h 373970"/>
                  <a:gd name="connsiteX28" fmla="*/ 119284 w 274029"/>
                  <a:gd name="connsiteY28" fmla="*/ 348179 h 373970"/>
                  <a:gd name="connsiteX29" fmla="*/ 151523 w 274029"/>
                  <a:gd name="connsiteY29" fmla="*/ 303045 h 373970"/>
                  <a:gd name="connsiteX30" fmla="*/ 154746 w 274029"/>
                  <a:gd name="connsiteY30" fmla="*/ 306269 h 373970"/>
                  <a:gd name="connsiteX31" fmla="*/ 157969 w 274029"/>
                  <a:gd name="connsiteY31" fmla="*/ 293373 h 373970"/>
                  <a:gd name="connsiteX32" fmla="*/ 157969 w 274029"/>
                  <a:gd name="connsiteY32" fmla="*/ 293373 h 373970"/>
                  <a:gd name="connsiteX33" fmla="*/ 157969 w 274029"/>
                  <a:gd name="connsiteY33" fmla="*/ 290149 h 373970"/>
                  <a:gd name="connsiteX34" fmla="*/ 177313 w 274029"/>
                  <a:gd name="connsiteY34" fmla="*/ 245015 h 373970"/>
                  <a:gd name="connsiteX35" fmla="*/ 148298 w 274029"/>
                  <a:gd name="connsiteY35" fmla="*/ 283702 h 373970"/>
                  <a:gd name="connsiteX36" fmla="*/ 103165 w 274029"/>
                  <a:gd name="connsiteY36" fmla="*/ 251463 h 373970"/>
                  <a:gd name="connsiteX37" fmla="*/ 135403 w 274029"/>
                  <a:gd name="connsiteY37" fmla="*/ 206329 h 373970"/>
                  <a:gd name="connsiteX38" fmla="*/ 177313 w 274029"/>
                  <a:gd name="connsiteY38" fmla="*/ 238567 h 373970"/>
                  <a:gd name="connsiteX39" fmla="*/ 183762 w 274029"/>
                  <a:gd name="connsiteY39" fmla="*/ 225672 h 373970"/>
                  <a:gd name="connsiteX40" fmla="*/ 141850 w 274029"/>
                  <a:gd name="connsiteY40" fmla="*/ 193433 h 373970"/>
                  <a:gd name="connsiteX41" fmla="*/ 174088 w 274029"/>
                  <a:gd name="connsiteY41" fmla="*/ 148299 h 373970"/>
                  <a:gd name="connsiteX42" fmla="*/ 203104 w 274029"/>
                  <a:gd name="connsiteY42" fmla="*/ 170866 h 373970"/>
                  <a:gd name="connsiteX43" fmla="*/ 209552 w 274029"/>
                  <a:gd name="connsiteY43" fmla="*/ 157970 h 373970"/>
                  <a:gd name="connsiteX44" fmla="*/ 183762 w 274029"/>
                  <a:gd name="connsiteY44" fmla="*/ 138627 h 373970"/>
                  <a:gd name="connsiteX45" fmla="*/ 216000 w 274029"/>
                  <a:gd name="connsiteY45" fmla="*/ 93493 h 373970"/>
                  <a:gd name="connsiteX46" fmla="*/ 228895 w 274029"/>
                  <a:gd name="connsiteY46" fmla="*/ 103164 h 373970"/>
                  <a:gd name="connsiteX47" fmla="*/ 235343 w 274029"/>
                  <a:gd name="connsiteY47" fmla="*/ 90269 h 373970"/>
                  <a:gd name="connsiteX48" fmla="*/ 225672 w 274029"/>
                  <a:gd name="connsiteY48" fmla="*/ 80597 h 373970"/>
                  <a:gd name="connsiteX49" fmla="*/ 257910 w 274029"/>
                  <a:gd name="connsiteY49" fmla="*/ 38686 h 373970"/>
                  <a:gd name="connsiteX50" fmla="*/ 274030 w 274029"/>
                  <a:gd name="connsiteY50" fmla="*/ 0 h 373970"/>
                  <a:gd name="connsiteX51" fmla="*/ 270805 w 274029"/>
                  <a:gd name="connsiteY51" fmla="*/ 0 h 373970"/>
                  <a:gd name="connsiteX52" fmla="*/ 257910 w 274029"/>
                  <a:gd name="connsiteY52" fmla="*/ 16119 h 373970"/>
                  <a:gd name="connsiteX53" fmla="*/ 235343 w 274029"/>
                  <a:gd name="connsiteY53" fmla="*/ 0 h 373970"/>
                  <a:gd name="connsiteX54" fmla="*/ 212775 w 274029"/>
                  <a:gd name="connsiteY54" fmla="*/ 0 h 373970"/>
                  <a:gd name="connsiteX55" fmla="*/ 248239 w 274029"/>
                  <a:gd name="connsiteY55" fmla="*/ 29015 h 373970"/>
                  <a:gd name="connsiteX56" fmla="*/ 216000 w 274029"/>
                  <a:gd name="connsiteY56" fmla="*/ 74149 h 373970"/>
                  <a:gd name="connsiteX57" fmla="*/ 170865 w 274029"/>
                  <a:gd name="connsiteY57" fmla="*/ 41911 h 373970"/>
                  <a:gd name="connsiteX58" fmla="*/ 199881 w 274029"/>
                  <a:gd name="connsiteY58" fmla="*/ 3224 h 373970"/>
                  <a:gd name="connsiteX59" fmla="*/ 183762 w 274029"/>
                  <a:gd name="connsiteY59" fmla="*/ 3224 h 373970"/>
                  <a:gd name="connsiteX60" fmla="*/ 161194 w 274029"/>
                  <a:gd name="connsiteY60" fmla="*/ 35463 h 373970"/>
                  <a:gd name="connsiteX61" fmla="*/ 119284 w 274029"/>
                  <a:gd name="connsiteY61" fmla="*/ 3224 h 373970"/>
                  <a:gd name="connsiteX62" fmla="*/ 96716 w 274029"/>
                  <a:gd name="connsiteY62" fmla="*/ 3224 h 373970"/>
                  <a:gd name="connsiteX63" fmla="*/ 96716 w 274029"/>
                  <a:gd name="connsiteY63" fmla="*/ 3224 h 373970"/>
                  <a:gd name="connsiteX64" fmla="*/ 64478 w 274029"/>
                  <a:gd name="connsiteY64" fmla="*/ 48358 h 373970"/>
                  <a:gd name="connsiteX65" fmla="*/ 19342 w 274029"/>
                  <a:gd name="connsiteY65" fmla="*/ 16119 h 373970"/>
                  <a:gd name="connsiteX66" fmla="*/ 29014 w 274029"/>
                  <a:gd name="connsiteY66" fmla="*/ 6448 h 373970"/>
                  <a:gd name="connsiteX67" fmla="*/ 12894 w 274029"/>
                  <a:gd name="connsiteY67" fmla="*/ 6448 h 373970"/>
                  <a:gd name="connsiteX68" fmla="*/ 9671 w 274029"/>
                  <a:gd name="connsiteY68" fmla="*/ 9672 h 373970"/>
                  <a:gd name="connsiteX69" fmla="*/ 3223 w 274029"/>
                  <a:gd name="connsiteY69" fmla="*/ 6448 h 373970"/>
                  <a:gd name="connsiteX70" fmla="*/ 0 w 274029"/>
                  <a:gd name="connsiteY70" fmla="*/ 6448 h 373970"/>
                  <a:gd name="connsiteX71" fmla="*/ 154746 w 274029"/>
                  <a:gd name="connsiteY71" fmla="*/ 54806 h 373970"/>
                  <a:gd name="connsiteX72" fmla="*/ 122507 w 274029"/>
                  <a:gd name="connsiteY72" fmla="*/ 99940 h 373970"/>
                  <a:gd name="connsiteX73" fmla="*/ 77372 w 274029"/>
                  <a:gd name="connsiteY73" fmla="*/ 67702 h 373970"/>
                  <a:gd name="connsiteX74" fmla="*/ 109611 w 274029"/>
                  <a:gd name="connsiteY74" fmla="*/ 22567 h 373970"/>
                  <a:gd name="connsiteX75" fmla="*/ 154746 w 274029"/>
                  <a:gd name="connsiteY75" fmla="*/ 54806 h 373970"/>
                  <a:gd name="connsiteX76" fmla="*/ 174088 w 274029"/>
                  <a:gd name="connsiteY76" fmla="*/ 141851 h 373970"/>
                  <a:gd name="connsiteX77" fmla="*/ 128955 w 274029"/>
                  <a:gd name="connsiteY77" fmla="*/ 109612 h 373970"/>
                  <a:gd name="connsiteX78" fmla="*/ 161194 w 274029"/>
                  <a:gd name="connsiteY78" fmla="*/ 64478 h 373970"/>
                  <a:gd name="connsiteX79" fmla="*/ 206327 w 274029"/>
                  <a:gd name="connsiteY79" fmla="*/ 96716 h 373970"/>
                  <a:gd name="connsiteX80" fmla="*/ 174088 w 274029"/>
                  <a:gd name="connsiteY80" fmla="*/ 141851 h 373970"/>
                  <a:gd name="connsiteX81" fmla="*/ 90268 w 274029"/>
                  <a:gd name="connsiteY81" fmla="*/ 161194 h 373970"/>
                  <a:gd name="connsiteX82" fmla="*/ 122507 w 274029"/>
                  <a:gd name="connsiteY82" fmla="*/ 116060 h 373970"/>
                  <a:gd name="connsiteX83" fmla="*/ 167642 w 274029"/>
                  <a:gd name="connsiteY83" fmla="*/ 148299 h 373970"/>
                  <a:gd name="connsiteX84" fmla="*/ 135403 w 274029"/>
                  <a:gd name="connsiteY84" fmla="*/ 193433 h 373970"/>
                  <a:gd name="connsiteX85" fmla="*/ 90268 w 274029"/>
                  <a:gd name="connsiteY85" fmla="*/ 161194 h 373970"/>
                  <a:gd name="connsiteX86" fmla="*/ 67701 w 274029"/>
                  <a:gd name="connsiteY86" fmla="*/ 77373 h 373970"/>
                  <a:gd name="connsiteX87" fmla="*/ 112836 w 274029"/>
                  <a:gd name="connsiteY87" fmla="*/ 109612 h 373970"/>
                  <a:gd name="connsiteX88" fmla="*/ 80597 w 274029"/>
                  <a:gd name="connsiteY88" fmla="*/ 154746 h 373970"/>
                  <a:gd name="connsiteX89" fmla="*/ 35462 w 274029"/>
                  <a:gd name="connsiteY89" fmla="*/ 122508 h 373970"/>
                  <a:gd name="connsiteX90" fmla="*/ 67701 w 274029"/>
                  <a:gd name="connsiteY90" fmla="*/ 77373 h 373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274029" h="373970">
                    <a:moveTo>
                      <a:pt x="0" y="12896"/>
                    </a:moveTo>
                    <a:lnTo>
                      <a:pt x="3223" y="25791"/>
                    </a:lnTo>
                    <a:lnTo>
                      <a:pt x="3223" y="25791"/>
                    </a:lnTo>
                    <a:lnTo>
                      <a:pt x="3223" y="25791"/>
                    </a:lnTo>
                    <a:lnTo>
                      <a:pt x="6448" y="41911"/>
                    </a:lnTo>
                    <a:lnTo>
                      <a:pt x="12894" y="35463"/>
                    </a:lnTo>
                    <a:lnTo>
                      <a:pt x="58029" y="67702"/>
                    </a:lnTo>
                    <a:lnTo>
                      <a:pt x="29014" y="109612"/>
                    </a:lnTo>
                    <a:lnTo>
                      <a:pt x="38687" y="138627"/>
                    </a:lnTo>
                    <a:lnTo>
                      <a:pt x="74149" y="164418"/>
                    </a:lnTo>
                    <a:lnTo>
                      <a:pt x="54806" y="190209"/>
                    </a:lnTo>
                    <a:lnTo>
                      <a:pt x="58029" y="206329"/>
                    </a:lnTo>
                    <a:lnTo>
                      <a:pt x="83820" y="170866"/>
                    </a:lnTo>
                    <a:lnTo>
                      <a:pt x="128955" y="203105"/>
                    </a:lnTo>
                    <a:lnTo>
                      <a:pt x="96716" y="248239"/>
                    </a:lnTo>
                    <a:lnTo>
                      <a:pt x="64478" y="225672"/>
                    </a:lnTo>
                    <a:lnTo>
                      <a:pt x="70926" y="245015"/>
                    </a:lnTo>
                    <a:lnTo>
                      <a:pt x="87045" y="257910"/>
                    </a:lnTo>
                    <a:lnTo>
                      <a:pt x="77372" y="270806"/>
                    </a:lnTo>
                    <a:lnTo>
                      <a:pt x="80597" y="286926"/>
                    </a:lnTo>
                    <a:lnTo>
                      <a:pt x="96716" y="267582"/>
                    </a:lnTo>
                    <a:lnTo>
                      <a:pt x="141850" y="299821"/>
                    </a:lnTo>
                    <a:lnTo>
                      <a:pt x="109611" y="344955"/>
                    </a:lnTo>
                    <a:lnTo>
                      <a:pt x="96716" y="335284"/>
                    </a:lnTo>
                    <a:lnTo>
                      <a:pt x="106388" y="367523"/>
                    </a:lnTo>
                    <a:lnTo>
                      <a:pt x="109611" y="361075"/>
                    </a:lnTo>
                    <a:lnTo>
                      <a:pt x="128955" y="373970"/>
                    </a:lnTo>
                    <a:lnTo>
                      <a:pt x="135403" y="361075"/>
                    </a:lnTo>
                    <a:lnTo>
                      <a:pt x="119284" y="348179"/>
                    </a:lnTo>
                    <a:lnTo>
                      <a:pt x="151523" y="303045"/>
                    </a:lnTo>
                    <a:lnTo>
                      <a:pt x="154746" y="306269"/>
                    </a:lnTo>
                    <a:lnTo>
                      <a:pt x="157969" y="293373"/>
                    </a:lnTo>
                    <a:lnTo>
                      <a:pt x="157969" y="293373"/>
                    </a:lnTo>
                    <a:lnTo>
                      <a:pt x="157969" y="290149"/>
                    </a:lnTo>
                    <a:lnTo>
                      <a:pt x="177313" y="245015"/>
                    </a:lnTo>
                    <a:lnTo>
                      <a:pt x="148298" y="283702"/>
                    </a:lnTo>
                    <a:lnTo>
                      <a:pt x="103165" y="251463"/>
                    </a:lnTo>
                    <a:lnTo>
                      <a:pt x="135403" y="206329"/>
                    </a:lnTo>
                    <a:lnTo>
                      <a:pt x="177313" y="238567"/>
                    </a:lnTo>
                    <a:lnTo>
                      <a:pt x="183762" y="225672"/>
                    </a:lnTo>
                    <a:lnTo>
                      <a:pt x="141850" y="193433"/>
                    </a:lnTo>
                    <a:lnTo>
                      <a:pt x="174088" y="148299"/>
                    </a:lnTo>
                    <a:lnTo>
                      <a:pt x="203104" y="170866"/>
                    </a:lnTo>
                    <a:lnTo>
                      <a:pt x="209552" y="157970"/>
                    </a:lnTo>
                    <a:lnTo>
                      <a:pt x="183762" y="138627"/>
                    </a:lnTo>
                    <a:lnTo>
                      <a:pt x="216000" y="93493"/>
                    </a:lnTo>
                    <a:lnTo>
                      <a:pt x="228895" y="103164"/>
                    </a:lnTo>
                    <a:lnTo>
                      <a:pt x="235343" y="90269"/>
                    </a:lnTo>
                    <a:lnTo>
                      <a:pt x="225672" y="80597"/>
                    </a:lnTo>
                    <a:lnTo>
                      <a:pt x="257910" y="38686"/>
                    </a:lnTo>
                    <a:lnTo>
                      <a:pt x="274030" y="0"/>
                    </a:lnTo>
                    <a:lnTo>
                      <a:pt x="270805" y="0"/>
                    </a:lnTo>
                    <a:lnTo>
                      <a:pt x="257910" y="16119"/>
                    </a:lnTo>
                    <a:lnTo>
                      <a:pt x="235343" y="0"/>
                    </a:lnTo>
                    <a:lnTo>
                      <a:pt x="212775" y="0"/>
                    </a:lnTo>
                    <a:lnTo>
                      <a:pt x="248239" y="29015"/>
                    </a:lnTo>
                    <a:lnTo>
                      <a:pt x="216000" y="74149"/>
                    </a:lnTo>
                    <a:lnTo>
                      <a:pt x="170865" y="41911"/>
                    </a:lnTo>
                    <a:lnTo>
                      <a:pt x="199881" y="3224"/>
                    </a:lnTo>
                    <a:lnTo>
                      <a:pt x="183762" y="3224"/>
                    </a:lnTo>
                    <a:lnTo>
                      <a:pt x="161194" y="35463"/>
                    </a:lnTo>
                    <a:lnTo>
                      <a:pt x="119284" y="3224"/>
                    </a:lnTo>
                    <a:lnTo>
                      <a:pt x="96716" y="3224"/>
                    </a:lnTo>
                    <a:lnTo>
                      <a:pt x="96716" y="3224"/>
                    </a:lnTo>
                    <a:lnTo>
                      <a:pt x="64478" y="48358"/>
                    </a:lnTo>
                    <a:lnTo>
                      <a:pt x="19342" y="16119"/>
                    </a:lnTo>
                    <a:lnTo>
                      <a:pt x="29014" y="6448"/>
                    </a:lnTo>
                    <a:lnTo>
                      <a:pt x="12894" y="6448"/>
                    </a:lnTo>
                    <a:lnTo>
                      <a:pt x="9671" y="9672"/>
                    </a:lnTo>
                    <a:lnTo>
                      <a:pt x="3223" y="6448"/>
                    </a:lnTo>
                    <a:lnTo>
                      <a:pt x="0" y="6448"/>
                    </a:lnTo>
                    <a:close/>
                    <a:moveTo>
                      <a:pt x="154746" y="54806"/>
                    </a:moveTo>
                    <a:lnTo>
                      <a:pt x="122507" y="99940"/>
                    </a:lnTo>
                    <a:lnTo>
                      <a:pt x="77372" y="67702"/>
                    </a:lnTo>
                    <a:lnTo>
                      <a:pt x="109611" y="22567"/>
                    </a:lnTo>
                    <a:lnTo>
                      <a:pt x="154746" y="54806"/>
                    </a:lnTo>
                    <a:close/>
                    <a:moveTo>
                      <a:pt x="174088" y="141851"/>
                    </a:moveTo>
                    <a:lnTo>
                      <a:pt x="128955" y="109612"/>
                    </a:lnTo>
                    <a:lnTo>
                      <a:pt x="161194" y="64478"/>
                    </a:lnTo>
                    <a:lnTo>
                      <a:pt x="206327" y="96716"/>
                    </a:lnTo>
                    <a:lnTo>
                      <a:pt x="174088" y="141851"/>
                    </a:lnTo>
                    <a:close/>
                    <a:moveTo>
                      <a:pt x="90268" y="161194"/>
                    </a:moveTo>
                    <a:lnTo>
                      <a:pt x="122507" y="116060"/>
                    </a:lnTo>
                    <a:lnTo>
                      <a:pt x="167642" y="148299"/>
                    </a:lnTo>
                    <a:lnTo>
                      <a:pt x="135403" y="193433"/>
                    </a:lnTo>
                    <a:lnTo>
                      <a:pt x="90268" y="161194"/>
                    </a:lnTo>
                    <a:close/>
                    <a:moveTo>
                      <a:pt x="67701" y="77373"/>
                    </a:moveTo>
                    <a:lnTo>
                      <a:pt x="112836" y="109612"/>
                    </a:lnTo>
                    <a:lnTo>
                      <a:pt x="80597" y="154746"/>
                    </a:lnTo>
                    <a:lnTo>
                      <a:pt x="35462" y="122508"/>
                    </a:lnTo>
                    <a:lnTo>
                      <a:pt x="67701" y="77373"/>
                    </a:lnTo>
                    <a:close/>
                  </a:path>
                </a:pathLst>
              </a:custGeom>
              <a:solidFill>
                <a:srgbClr val="E5BF6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906309E0-35F8-43C1-8C1A-3A055308A8A4}"/>
                </a:ext>
              </a:extLst>
            </p:cNvPr>
            <p:cNvGrpSpPr/>
            <p:nvPr/>
          </p:nvGrpSpPr>
          <p:grpSpPr>
            <a:xfrm>
              <a:off x="22083483" y="8281322"/>
              <a:ext cx="132469" cy="130388"/>
              <a:chOff x="22083483" y="8281322"/>
              <a:chExt cx="132469" cy="130388"/>
            </a:xfrm>
          </p:grpSpPr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B8C442F3-0772-456C-86E7-F9DEE530CF00}"/>
                  </a:ext>
                </a:extLst>
              </p:cNvPr>
              <p:cNvSpPr/>
              <p:nvPr/>
            </p:nvSpPr>
            <p:spPr>
              <a:xfrm>
                <a:off x="22083483" y="8285885"/>
                <a:ext cx="123636" cy="125824"/>
              </a:xfrm>
              <a:custGeom>
                <a:avLst/>
                <a:gdLst>
                  <a:gd name="connsiteX0" fmla="*/ 116350 w 123636"/>
                  <a:gd name="connsiteY0" fmla="*/ 95377 h 125824"/>
                  <a:gd name="connsiteX1" fmla="*/ 113127 w 123636"/>
                  <a:gd name="connsiteY1" fmla="*/ 76033 h 125824"/>
                  <a:gd name="connsiteX2" fmla="*/ 122798 w 123636"/>
                  <a:gd name="connsiteY2" fmla="*/ 69586 h 125824"/>
                  <a:gd name="connsiteX3" fmla="*/ 109902 w 123636"/>
                  <a:gd name="connsiteY3" fmla="*/ 40571 h 125824"/>
                  <a:gd name="connsiteX4" fmla="*/ 106679 w 123636"/>
                  <a:gd name="connsiteY4" fmla="*/ 40571 h 125824"/>
                  <a:gd name="connsiteX5" fmla="*/ 106679 w 123636"/>
                  <a:gd name="connsiteY5" fmla="*/ 37347 h 125824"/>
                  <a:gd name="connsiteX6" fmla="*/ 93783 w 123636"/>
                  <a:gd name="connsiteY6" fmla="*/ 8332 h 125824"/>
                  <a:gd name="connsiteX7" fmla="*/ 84111 w 123636"/>
                  <a:gd name="connsiteY7" fmla="*/ 5108 h 125824"/>
                  <a:gd name="connsiteX8" fmla="*/ 74440 w 123636"/>
                  <a:gd name="connsiteY8" fmla="*/ 5108 h 125824"/>
                  <a:gd name="connsiteX9" fmla="*/ 6740 w 123636"/>
                  <a:gd name="connsiteY9" fmla="*/ 5108 h 125824"/>
                  <a:gd name="connsiteX10" fmla="*/ 3514 w 123636"/>
                  <a:gd name="connsiteY10" fmla="*/ 30899 h 125824"/>
                  <a:gd name="connsiteX11" fmla="*/ 19634 w 123636"/>
                  <a:gd name="connsiteY11" fmla="*/ 40571 h 125824"/>
                  <a:gd name="connsiteX12" fmla="*/ 19634 w 123636"/>
                  <a:gd name="connsiteY12" fmla="*/ 63138 h 125824"/>
                  <a:gd name="connsiteX13" fmla="*/ 29305 w 123636"/>
                  <a:gd name="connsiteY13" fmla="*/ 69586 h 125824"/>
                  <a:gd name="connsiteX14" fmla="*/ 26082 w 123636"/>
                  <a:gd name="connsiteY14" fmla="*/ 92153 h 125824"/>
                  <a:gd name="connsiteX15" fmla="*/ 42201 w 123636"/>
                  <a:gd name="connsiteY15" fmla="*/ 101825 h 125824"/>
                  <a:gd name="connsiteX16" fmla="*/ 38978 w 123636"/>
                  <a:gd name="connsiteY16" fmla="*/ 117944 h 125824"/>
                  <a:gd name="connsiteX17" fmla="*/ 58321 w 123636"/>
                  <a:gd name="connsiteY17" fmla="*/ 124392 h 125824"/>
                  <a:gd name="connsiteX18" fmla="*/ 87337 w 123636"/>
                  <a:gd name="connsiteY18" fmla="*/ 124392 h 125824"/>
                  <a:gd name="connsiteX19" fmla="*/ 106679 w 123636"/>
                  <a:gd name="connsiteY19" fmla="*/ 117944 h 125824"/>
                  <a:gd name="connsiteX20" fmla="*/ 103456 w 123636"/>
                  <a:gd name="connsiteY20" fmla="*/ 101825 h 125824"/>
                  <a:gd name="connsiteX21" fmla="*/ 116350 w 123636"/>
                  <a:gd name="connsiteY21" fmla="*/ 95377 h 125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3636" h="125824">
                    <a:moveTo>
                      <a:pt x="116350" y="95377"/>
                    </a:moveTo>
                    <a:cubicBezTo>
                      <a:pt x="119575" y="88929"/>
                      <a:pt x="116350" y="82481"/>
                      <a:pt x="113127" y="76033"/>
                    </a:cubicBezTo>
                    <a:cubicBezTo>
                      <a:pt x="116350" y="76033"/>
                      <a:pt x="119575" y="72809"/>
                      <a:pt x="122798" y="69586"/>
                    </a:cubicBezTo>
                    <a:cubicBezTo>
                      <a:pt x="126022" y="59914"/>
                      <a:pt x="119575" y="47019"/>
                      <a:pt x="109902" y="40571"/>
                    </a:cubicBezTo>
                    <a:cubicBezTo>
                      <a:pt x="109902" y="40571"/>
                      <a:pt x="106679" y="40571"/>
                      <a:pt x="106679" y="40571"/>
                    </a:cubicBezTo>
                    <a:cubicBezTo>
                      <a:pt x="106679" y="40571"/>
                      <a:pt x="106679" y="40571"/>
                      <a:pt x="106679" y="37347"/>
                    </a:cubicBezTo>
                    <a:cubicBezTo>
                      <a:pt x="109902" y="27675"/>
                      <a:pt x="103456" y="14780"/>
                      <a:pt x="93783" y="8332"/>
                    </a:cubicBezTo>
                    <a:cubicBezTo>
                      <a:pt x="90560" y="5108"/>
                      <a:pt x="87337" y="5108"/>
                      <a:pt x="84111" y="5108"/>
                    </a:cubicBezTo>
                    <a:cubicBezTo>
                      <a:pt x="80888" y="5108"/>
                      <a:pt x="74440" y="5108"/>
                      <a:pt x="74440" y="5108"/>
                    </a:cubicBezTo>
                    <a:cubicBezTo>
                      <a:pt x="48650" y="1884"/>
                      <a:pt x="26082" y="-4564"/>
                      <a:pt x="6740" y="5108"/>
                    </a:cubicBezTo>
                    <a:cubicBezTo>
                      <a:pt x="291" y="8332"/>
                      <a:pt x="-2934" y="21228"/>
                      <a:pt x="3514" y="30899"/>
                    </a:cubicBezTo>
                    <a:cubicBezTo>
                      <a:pt x="6740" y="37347"/>
                      <a:pt x="13186" y="40571"/>
                      <a:pt x="19634" y="40571"/>
                    </a:cubicBezTo>
                    <a:cubicBezTo>
                      <a:pt x="13186" y="47019"/>
                      <a:pt x="13186" y="56690"/>
                      <a:pt x="19634" y="63138"/>
                    </a:cubicBezTo>
                    <a:cubicBezTo>
                      <a:pt x="22859" y="66362"/>
                      <a:pt x="26082" y="69586"/>
                      <a:pt x="29305" y="69586"/>
                    </a:cubicBezTo>
                    <a:cubicBezTo>
                      <a:pt x="22859" y="76033"/>
                      <a:pt x="22859" y="82481"/>
                      <a:pt x="26082" y="92153"/>
                    </a:cubicBezTo>
                    <a:cubicBezTo>
                      <a:pt x="29305" y="98601"/>
                      <a:pt x="35753" y="98601"/>
                      <a:pt x="42201" y="101825"/>
                    </a:cubicBezTo>
                    <a:cubicBezTo>
                      <a:pt x="38978" y="105048"/>
                      <a:pt x="35753" y="111496"/>
                      <a:pt x="38978" y="117944"/>
                    </a:cubicBezTo>
                    <a:cubicBezTo>
                      <a:pt x="42201" y="124392"/>
                      <a:pt x="51873" y="124392"/>
                      <a:pt x="58321" y="124392"/>
                    </a:cubicBezTo>
                    <a:cubicBezTo>
                      <a:pt x="67992" y="124392"/>
                      <a:pt x="77663" y="127616"/>
                      <a:pt x="87337" y="124392"/>
                    </a:cubicBezTo>
                    <a:cubicBezTo>
                      <a:pt x="93783" y="124392"/>
                      <a:pt x="103456" y="124392"/>
                      <a:pt x="106679" y="117944"/>
                    </a:cubicBezTo>
                    <a:cubicBezTo>
                      <a:pt x="109902" y="111496"/>
                      <a:pt x="106679" y="105048"/>
                      <a:pt x="103456" y="101825"/>
                    </a:cubicBezTo>
                    <a:cubicBezTo>
                      <a:pt x="106679" y="105048"/>
                      <a:pt x="113127" y="101825"/>
                      <a:pt x="116350" y="95377"/>
                    </a:cubicBezTo>
                    <a:close/>
                  </a:path>
                </a:pathLst>
              </a:custGeom>
              <a:solidFill>
                <a:srgbClr val="F5A39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CA90F8A9-1E8F-4361-B0C3-C8B710238232}"/>
                  </a:ext>
                </a:extLst>
              </p:cNvPr>
              <p:cNvSpPr/>
              <p:nvPr/>
            </p:nvSpPr>
            <p:spPr>
              <a:xfrm>
                <a:off x="22093446" y="8281322"/>
                <a:ext cx="122507" cy="87044"/>
              </a:xfrm>
              <a:custGeom>
                <a:avLst/>
                <a:gdLst>
                  <a:gd name="connsiteX0" fmla="*/ 83820 w 122507"/>
                  <a:gd name="connsiteY0" fmla="*/ 87045 h 87044"/>
                  <a:gd name="connsiteX1" fmla="*/ 70926 w 122507"/>
                  <a:gd name="connsiteY1" fmla="*/ 87045 h 87044"/>
                  <a:gd name="connsiteX2" fmla="*/ 0 w 122507"/>
                  <a:gd name="connsiteY2" fmla="*/ 58030 h 87044"/>
                  <a:gd name="connsiteX3" fmla="*/ 3223 w 122507"/>
                  <a:gd name="connsiteY3" fmla="*/ 41911 h 87044"/>
                  <a:gd name="connsiteX4" fmla="*/ 12896 w 122507"/>
                  <a:gd name="connsiteY4" fmla="*/ 38686 h 87044"/>
                  <a:gd name="connsiteX5" fmla="*/ 90268 w 122507"/>
                  <a:gd name="connsiteY5" fmla="*/ 41911 h 87044"/>
                  <a:gd name="connsiteX6" fmla="*/ 93493 w 122507"/>
                  <a:gd name="connsiteY6" fmla="*/ 32239 h 87044"/>
                  <a:gd name="connsiteX7" fmla="*/ 90268 w 122507"/>
                  <a:gd name="connsiteY7" fmla="*/ 25791 h 87044"/>
                  <a:gd name="connsiteX8" fmla="*/ 25791 w 122507"/>
                  <a:gd name="connsiteY8" fmla="*/ 12895 h 87044"/>
                  <a:gd name="connsiteX9" fmla="*/ 25791 w 122507"/>
                  <a:gd name="connsiteY9" fmla="*/ 12895 h 87044"/>
                  <a:gd name="connsiteX10" fmla="*/ 19342 w 122507"/>
                  <a:gd name="connsiteY10" fmla="*/ 6448 h 87044"/>
                  <a:gd name="connsiteX11" fmla="*/ 25791 w 122507"/>
                  <a:gd name="connsiteY11" fmla="*/ 0 h 87044"/>
                  <a:gd name="connsiteX12" fmla="*/ 99940 w 122507"/>
                  <a:gd name="connsiteY12" fmla="*/ 16119 h 87044"/>
                  <a:gd name="connsiteX13" fmla="*/ 106388 w 122507"/>
                  <a:gd name="connsiteY13" fmla="*/ 32239 h 87044"/>
                  <a:gd name="connsiteX14" fmla="*/ 106388 w 122507"/>
                  <a:gd name="connsiteY14" fmla="*/ 41911 h 87044"/>
                  <a:gd name="connsiteX15" fmla="*/ 122507 w 122507"/>
                  <a:gd name="connsiteY15" fmla="*/ 70925 h 87044"/>
                  <a:gd name="connsiteX16" fmla="*/ 83820 w 122507"/>
                  <a:gd name="connsiteY16" fmla="*/ 87045 h 87044"/>
                  <a:gd name="connsiteX17" fmla="*/ 9671 w 122507"/>
                  <a:gd name="connsiteY17" fmla="*/ 48358 h 87044"/>
                  <a:gd name="connsiteX18" fmla="*/ 9671 w 122507"/>
                  <a:gd name="connsiteY18" fmla="*/ 54806 h 87044"/>
                  <a:gd name="connsiteX19" fmla="*/ 70926 w 122507"/>
                  <a:gd name="connsiteY19" fmla="*/ 74149 h 87044"/>
                  <a:gd name="connsiteX20" fmla="*/ 106388 w 122507"/>
                  <a:gd name="connsiteY20" fmla="*/ 67702 h 87044"/>
                  <a:gd name="connsiteX21" fmla="*/ 96716 w 122507"/>
                  <a:gd name="connsiteY21" fmla="*/ 48358 h 87044"/>
                  <a:gd name="connsiteX22" fmla="*/ 9671 w 122507"/>
                  <a:gd name="connsiteY22" fmla="*/ 48358 h 87044"/>
                  <a:gd name="connsiteX23" fmla="*/ 9671 w 122507"/>
                  <a:gd name="connsiteY23" fmla="*/ 48358 h 87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2507" h="87044">
                    <a:moveTo>
                      <a:pt x="83820" y="87045"/>
                    </a:moveTo>
                    <a:cubicBezTo>
                      <a:pt x="80597" y="87045"/>
                      <a:pt x="74149" y="87045"/>
                      <a:pt x="70926" y="87045"/>
                    </a:cubicBezTo>
                    <a:cubicBezTo>
                      <a:pt x="25791" y="87045"/>
                      <a:pt x="3223" y="74149"/>
                      <a:pt x="0" y="58030"/>
                    </a:cubicBezTo>
                    <a:cubicBezTo>
                      <a:pt x="0" y="51582"/>
                      <a:pt x="0" y="45134"/>
                      <a:pt x="3223" y="41911"/>
                    </a:cubicBezTo>
                    <a:cubicBezTo>
                      <a:pt x="6448" y="38686"/>
                      <a:pt x="12896" y="38686"/>
                      <a:pt x="12896" y="38686"/>
                    </a:cubicBezTo>
                    <a:cubicBezTo>
                      <a:pt x="64478" y="48358"/>
                      <a:pt x="83820" y="45134"/>
                      <a:pt x="90268" y="41911"/>
                    </a:cubicBezTo>
                    <a:cubicBezTo>
                      <a:pt x="93493" y="38686"/>
                      <a:pt x="93493" y="38686"/>
                      <a:pt x="93493" y="32239"/>
                    </a:cubicBezTo>
                    <a:cubicBezTo>
                      <a:pt x="93493" y="29015"/>
                      <a:pt x="93493" y="29015"/>
                      <a:pt x="90268" y="25791"/>
                    </a:cubicBezTo>
                    <a:cubicBezTo>
                      <a:pt x="80597" y="16119"/>
                      <a:pt x="45135" y="12895"/>
                      <a:pt x="25791" y="12895"/>
                    </a:cubicBezTo>
                    <a:lnTo>
                      <a:pt x="25791" y="12895"/>
                    </a:lnTo>
                    <a:cubicBezTo>
                      <a:pt x="22568" y="12895"/>
                      <a:pt x="19342" y="9672"/>
                      <a:pt x="19342" y="6448"/>
                    </a:cubicBezTo>
                    <a:cubicBezTo>
                      <a:pt x="19342" y="3224"/>
                      <a:pt x="22568" y="0"/>
                      <a:pt x="25791" y="0"/>
                    </a:cubicBezTo>
                    <a:cubicBezTo>
                      <a:pt x="32239" y="0"/>
                      <a:pt x="83820" y="0"/>
                      <a:pt x="99940" y="16119"/>
                    </a:cubicBezTo>
                    <a:cubicBezTo>
                      <a:pt x="103165" y="19343"/>
                      <a:pt x="106388" y="25791"/>
                      <a:pt x="106388" y="32239"/>
                    </a:cubicBezTo>
                    <a:cubicBezTo>
                      <a:pt x="106388" y="35463"/>
                      <a:pt x="106388" y="38686"/>
                      <a:pt x="106388" y="41911"/>
                    </a:cubicBezTo>
                    <a:cubicBezTo>
                      <a:pt x="109613" y="45134"/>
                      <a:pt x="122507" y="58030"/>
                      <a:pt x="122507" y="70925"/>
                    </a:cubicBezTo>
                    <a:cubicBezTo>
                      <a:pt x="116059" y="87045"/>
                      <a:pt x="99940" y="87045"/>
                      <a:pt x="83820" y="87045"/>
                    </a:cubicBezTo>
                    <a:close/>
                    <a:moveTo>
                      <a:pt x="9671" y="48358"/>
                    </a:moveTo>
                    <a:cubicBezTo>
                      <a:pt x="9671" y="48358"/>
                      <a:pt x="9671" y="48358"/>
                      <a:pt x="9671" y="54806"/>
                    </a:cubicBezTo>
                    <a:cubicBezTo>
                      <a:pt x="12896" y="67702"/>
                      <a:pt x="35462" y="74149"/>
                      <a:pt x="70926" y="74149"/>
                    </a:cubicBezTo>
                    <a:cubicBezTo>
                      <a:pt x="99940" y="74149"/>
                      <a:pt x="106388" y="74149"/>
                      <a:pt x="106388" y="67702"/>
                    </a:cubicBezTo>
                    <a:cubicBezTo>
                      <a:pt x="106388" y="61254"/>
                      <a:pt x="99940" y="51582"/>
                      <a:pt x="96716" y="48358"/>
                    </a:cubicBezTo>
                    <a:cubicBezTo>
                      <a:pt x="87045" y="54806"/>
                      <a:pt x="67701" y="58030"/>
                      <a:pt x="9671" y="48358"/>
                    </a:cubicBezTo>
                    <a:lnTo>
                      <a:pt x="9671" y="48358"/>
                    </a:ln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954EDE04-C91D-4318-860B-F8DD2DF8C06B}"/>
                  </a:ext>
                </a:extLst>
              </p:cNvPr>
              <p:cNvSpPr/>
              <p:nvPr/>
            </p:nvSpPr>
            <p:spPr>
              <a:xfrm>
                <a:off x="22103117" y="8347688"/>
                <a:ext cx="104067" cy="49693"/>
              </a:xfrm>
              <a:custGeom>
                <a:avLst/>
                <a:gdLst>
                  <a:gd name="connsiteX0" fmla="*/ 64478 w 104067"/>
                  <a:gd name="connsiteY0" fmla="*/ 49694 h 49693"/>
                  <a:gd name="connsiteX1" fmla="*/ 9671 w 104067"/>
                  <a:gd name="connsiteY1" fmla="*/ 40022 h 49693"/>
                  <a:gd name="connsiteX2" fmla="*/ 0 w 104067"/>
                  <a:gd name="connsiteY2" fmla="*/ 23903 h 49693"/>
                  <a:gd name="connsiteX3" fmla="*/ 6448 w 104067"/>
                  <a:gd name="connsiteY3" fmla="*/ 1335 h 49693"/>
                  <a:gd name="connsiteX4" fmla="*/ 16119 w 104067"/>
                  <a:gd name="connsiteY4" fmla="*/ 4559 h 49693"/>
                  <a:gd name="connsiteX5" fmla="*/ 12896 w 104067"/>
                  <a:gd name="connsiteY5" fmla="*/ 14231 h 49693"/>
                  <a:gd name="connsiteX6" fmla="*/ 9671 w 104067"/>
                  <a:gd name="connsiteY6" fmla="*/ 23903 h 49693"/>
                  <a:gd name="connsiteX7" fmla="*/ 12896 w 104067"/>
                  <a:gd name="connsiteY7" fmla="*/ 27126 h 49693"/>
                  <a:gd name="connsiteX8" fmla="*/ 80597 w 104067"/>
                  <a:gd name="connsiteY8" fmla="*/ 33574 h 49693"/>
                  <a:gd name="connsiteX9" fmla="*/ 90268 w 104067"/>
                  <a:gd name="connsiteY9" fmla="*/ 27126 h 49693"/>
                  <a:gd name="connsiteX10" fmla="*/ 87045 w 104067"/>
                  <a:gd name="connsiteY10" fmla="*/ 11007 h 49693"/>
                  <a:gd name="connsiteX11" fmla="*/ 90268 w 104067"/>
                  <a:gd name="connsiteY11" fmla="*/ 1335 h 49693"/>
                  <a:gd name="connsiteX12" fmla="*/ 99941 w 104067"/>
                  <a:gd name="connsiteY12" fmla="*/ 4559 h 49693"/>
                  <a:gd name="connsiteX13" fmla="*/ 103165 w 104067"/>
                  <a:gd name="connsiteY13" fmla="*/ 30350 h 49693"/>
                  <a:gd name="connsiteX14" fmla="*/ 83822 w 104067"/>
                  <a:gd name="connsiteY14" fmla="*/ 43246 h 49693"/>
                  <a:gd name="connsiteX15" fmla="*/ 64478 w 104067"/>
                  <a:gd name="connsiteY15" fmla="*/ 49694 h 49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4067" h="49693">
                    <a:moveTo>
                      <a:pt x="64478" y="49694"/>
                    </a:moveTo>
                    <a:cubicBezTo>
                      <a:pt x="41910" y="49694"/>
                      <a:pt x="19344" y="46470"/>
                      <a:pt x="9671" y="40022"/>
                    </a:cubicBezTo>
                    <a:cubicBezTo>
                      <a:pt x="3225" y="36798"/>
                      <a:pt x="0" y="30350"/>
                      <a:pt x="0" y="23903"/>
                    </a:cubicBezTo>
                    <a:cubicBezTo>
                      <a:pt x="0" y="17455"/>
                      <a:pt x="3225" y="7783"/>
                      <a:pt x="6448" y="1335"/>
                    </a:cubicBezTo>
                    <a:cubicBezTo>
                      <a:pt x="9671" y="-1889"/>
                      <a:pt x="12896" y="1335"/>
                      <a:pt x="16119" y="4559"/>
                    </a:cubicBezTo>
                    <a:cubicBezTo>
                      <a:pt x="19344" y="7783"/>
                      <a:pt x="16119" y="11007"/>
                      <a:pt x="12896" y="14231"/>
                    </a:cubicBezTo>
                    <a:cubicBezTo>
                      <a:pt x="12896" y="14231"/>
                      <a:pt x="9671" y="20678"/>
                      <a:pt x="9671" y="23903"/>
                    </a:cubicBezTo>
                    <a:cubicBezTo>
                      <a:pt x="9671" y="27126"/>
                      <a:pt x="9671" y="27126"/>
                      <a:pt x="12896" y="27126"/>
                    </a:cubicBezTo>
                    <a:cubicBezTo>
                      <a:pt x="22568" y="30350"/>
                      <a:pt x="54806" y="36798"/>
                      <a:pt x="80597" y="33574"/>
                    </a:cubicBezTo>
                    <a:cubicBezTo>
                      <a:pt x="87045" y="33574"/>
                      <a:pt x="90268" y="30350"/>
                      <a:pt x="90268" y="27126"/>
                    </a:cubicBezTo>
                    <a:cubicBezTo>
                      <a:pt x="93493" y="23903"/>
                      <a:pt x="90268" y="14231"/>
                      <a:pt x="87045" y="11007"/>
                    </a:cubicBezTo>
                    <a:cubicBezTo>
                      <a:pt x="83822" y="7783"/>
                      <a:pt x="87045" y="4559"/>
                      <a:pt x="90268" y="1335"/>
                    </a:cubicBezTo>
                    <a:cubicBezTo>
                      <a:pt x="93493" y="-1889"/>
                      <a:pt x="96716" y="1335"/>
                      <a:pt x="99941" y="4559"/>
                    </a:cubicBezTo>
                    <a:cubicBezTo>
                      <a:pt x="99941" y="4559"/>
                      <a:pt x="106388" y="20678"/>
                      <a:pt x="103165" y="30350"/>
                    </a:cubicBezTo>
                    <a:cubicBezTo>
                      <a:pt x="99941" y="36798"/>
                      <a:pt x="93493" y="40022"/>
                      <a:pt x="83822" y="43246"/>
                    </a:cubicBezTo>
                    <a:cubicBezTo>
                      <a:pt x="74149" y="49694"/>
                      <a:pt x="70926" y="49694"/>
                      <a:pt x="64478" y="49694"/>
                    </a:cubicBezTo>
                    <a:close/>
                  </a:path>
                </a:pathLst>
              </a:custGeom>
              <a:solidFill>
                <a:srgbClr val="E58777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79" name="图形 1">
            <a:extLst>
              <a:ext uri="{FF2B5EF4-FFF2-40B4-BE49-F238E27FC236}">
                <a16:creationId xmlns:a16="http://schemas.microsoft.com/office/drawing/2014/main" id="{1D8E225E-6B42-4051-B05D-E4CADAFCE815}"/>
              </a:ext>
            </a:extLst>
          </p:cNvPr>
          <p:cNvGrpSpPr/>
          <p:nvPr/>
        </p:nvGrpSpPr>
        <p:grpSpPr>
          <a:xfrm>
            <a:off x="6778120" y="1930702"/>
            <a:ext cx="2616043" cy="4927298"/>
            <a:chOff x="24830146" y="7693366"/>
            <a:chExt cx="2616043" cy="4927298"/>
          </a:xfrm>
        </p:grpSpPr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3D86B407-EAF6-4319-86C8-0161635F1952}"/>
                </a:ext>
              </a:extLst>
            </p:cNvPr>
            <p:cNvSpPr/>
            <p:nvPr/>
          </p:nvSpPr>
          <p:spPr>
            <a:xfrm>
              <a:off x="25974942" y="10489680"/>
              <a:ext cx="1141309" cy="2040716"/>
            </a:xfrm>
            <a:custGeom>
              <a:avLst/>
              <a:gdLst>
                <a:gd name="connsiteX0" fmla="*/ 25848 w 1141309"/>
                <a:gd name="connsiteY0" fmla="*/ 16119 h 2040716"/>
                <a:gd name="connsiteX1" fmla="*/ 9728 w 1141309"/>
                <a:gd name="connsiteY1" fmla="*/ 1170268 h 2040716"/>
                <a:gd name="connsiteX2" fmla="*/ 125787 w 1141309"/>
                <a:gd name="connsiteY2" fmla="*/ 2008477 h 2040716"/>
                <a:gd name="connsiteX3" fmla="*/ 264414 w 1141309"/>
                <a:gd name="connsiteY3" fmla="*/ 2040716 h 2040716"/>
                <a:gd name="connsiteX4" fmla="*/ 280533 w 1141309"/>
                <a:gd name="connsiteY4" fmla="*/ 1186388 h 2040716"/>
                <a:gd name="connsiteX5" fmla="*/ 438504 w 1141309"/>
                <a:gd name="connsiteY5" fmla="*/ 419104 h 2040716"/>
                <a:gd name="connsiteX6" fmla="*/ 577131 w 1141309"/>
                <a:gd name="connsiteY6" fmla="*/ 1215403 h 2040716"/>
                <a:gd name="connsiteX7" fmla="*/ 1002683 w 1141309"/>
                <a:gd name="connsiteY7" fmla="*/ 1840836 h 2040716"/>
                <a:gd name="connsiteX8" fmla="*/ 1141310 w 1141309"/>
                <a:gd name="connsiteY8" fmla="*/ 1753791 h 2040716"/>
                <a:gd name="connsiteX9" fmla="*/ 870505 w 1141309"/>
                <a:gd name="connsiteY9" fmla="*/ 1179941 h 2040716"/>
                <a:gd name="connsiteX10" fmla="*/ 876951 w 1141309"/>
                <a:gd name="connsiteY10" fmla="*/ 0 h 2040716"/>
                <a:gd name="connsiteX11" fmla="*/ 25848 w 1141309"/>
                <a:gd name="connsiteY11" fmla="*/ 16119 h 204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1309" h="2040716">
                  <a:moveTo>
                    <a:pt x="25848" y="16119"/>
                  </a:moveTo>
                  <a:cubicBezTo>
                    <a:pt x="25848" y="16119"/>
                    <a:pt x="-19287" y="909135"/>
                    <a:pt x="9728" y="1170268"/>
                  </a:cubicBezTo>
                  <a:cubicBezTo>
                    <a:pt x="35519" y="1395940"/>
                    <a:pt x="125787" y="2008477"/>
                    <a:pt x="125787" y="2008477"/>
                  </a:cubicBezTo>
                  <a:lnTo>
                    <a:pt x="264414" y="2040716"/>
                  </a:lnTo>
                  <a:cubicBezTo>
                    <a:pt x="264414" y="2040716"/>
                    <a:pt x="274087" y="1266985"/>
                    <a:pt x="280533" y="1186388"/>
                  </a:cubicBezTo>
                  <a:cubicBezTo>
                    <a:pt x="286981" y="1070329"/>
                    <a:pt x="425608" y="444895"/>
                    <a:pt x="438504" y="419104"/>
                  </a:cubicBezTo>
                  <a:cubicBezTo>
                    <a:pt x="451401" y="393314"/>
                    <a:pt x="577131" y="1215403"/>
                    <a:pt x="577131" y="1215403"/>
                  </a:cubicBezTo>
                  <a:lnTo>
                    <a:pt x="1002683" y="1840836"/>
                  </a:lnTo>
                  <a:lnTo>
                    <a:pt x="1141310" y="1753791"/>
                  </a:lnTo>
                  <a:cubicBezTo>
                    <a:pt x="1141310" y="1753791"/>
                    <a:pt x="864057" y="1263762"/>
                    <a:pt x="870505" y="1179941"/>
                  </a:cubicBezTo>
                  <a:cubicBezTo>
                    <a:pt x="876951" y="1050985"/>
                    <a:pt x="915638" y="80597"/>
                    <a:pt x="876951" y="0"/>
                  </a:cubicBezTo>
                  <a:cubicBezTo>
                    <a:pt x="293430" y="29015"/>
                    <a:pt x="25848" y="16119"/>
                    <a:pt x="25848" y="16119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9363192A-366C-4EE8-86C3-A0F79FF17E9A}"/>
                </a:ext>
              </a:extLst>
            </p:cNvPr>
            <p:cNvSpPr/>
            <p:nvPr/>
          </p:nvSpPr>
          <p:spPr>
            <a:xfrm>
              <a:off x="25921495" y="10486456"/>
              <a:ext cx="1014714" cy="1143102"/>
            </a:xfrm>
            <a:custGeom>
              <a:avLst/>
              <a:gdLst>
                <a:gd name="connsiteX0" fmla="*/ 79294 w 1014714"/>
                <a:gd name="connsiteY0" fmla="*/ 19343 h 1143102"/>
                <a:gd name="connsiteX1" fmla="*/ 5146 w 1014714"/>
                <a:gd name="connsiteY1" fmla="*/ 1118687 h 1143102"/>
                <a:gd name="connsiteX2" fmla="*/ 466160 w 1014714"/>
                <a:gd name="connsiteY2" fmla="*/ 1118687 h 1143102"/>
                <a:gd name="connsiteX3" fmla="*/ 488728 w 1014714"/>
                <a:gd name="connsiteY3" fmla="*/ 419104 h 1143102"/>
                <a:gd name="connsiteX4" fmla="*/ 585444 w 1014714"/>
                <a:gd name="connsiteY4" fmla="*/ 1118687 h 1143102"/>
                <a:gd name="connsiteX5" fmla="*/ 1014220 w 1014714"/>
                <a:gd name="connsiteY5" fmla="*/ 1083224 h 1143102"/>
                <a:gd name="connsiteX6" fmla="*/ 923951 w 1014714"/>
                <a:gd name="connsiteY6" fmla="*/ 0 h 1143102"/>
                <a:gd name="connsiteX7" fmla="*/ 79294 w 1014714"/>
                <a:gd name="connsiteY7" fmla="*/ 19343 h 114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4714" h="1143102">
                  <a:moveTo>
                    <a:pt x="79294" y="19343"/>
                  </a:moveTo>
                  <a:cubicBezTo>
                    <a:pt x="79294" y="19343"/>
                    <a:pt x="-23870" y="860777"/>
                    <a:pt x="5146" y="1118687"/>
                  </a:cubicBezTo>
                  <a:cubicBezTo>
                    <a:pt x="121204" y="1144478"/>
                    <a:pt x="256608" y="1157373"/>
                    <a:pt x="466160" y="1118687"/>
                  </a:cubicBezTo>
                  <a:cubicBezTo>
                    <a:pt x="472608" y="1002627"/>
                    <a:pt x="475831" y="444896"/>
                    <a:pt x="488728" y="419104"/>
                  </a:cubicBezTo>
                  <a:cubicBezTo>
                    <a:pt x="501622" y="393314"/>
                    <a:pt x="585444" y="1118687"/>
                    <a:pt x="585444" y="1118687"/>
                  </a:cubicBezTo>
                  <a:cubicBezTo>
                    <a:pt x="585444" y="1118687"/>
                    <a:pt x="791771" y="1115463"/>
                    <a:pt x="1014220" y="1083224"/>
                  </a:cubicBezTo>
                  <a:cubicBezTo>
                    <a:pt x="1020668" y="954269"/>
                    <a:pt x="962636" y="80597"/>
                    <a:pt x="923951" y="0"/>
                  </a:cubicBezTo>
                  <a:cubicBezTo>
                    <a:pt x="346876" y="32239"/>
                    <a:pt x="79294" y="19343"/>
                    <a:pt x="79294" y="19343"/>
                  </a:cubicBezTo>
                  <a:close/>
                </a:path>
              </a:pathLst>
            </a:custGeom>
            <a:solidFill>
              <a:srgbClr val="F1DDBA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2" name="图形 1">
              <a:extLst>
                <a:ext uri="{FF2B5EF4-FFF2-40B4-BE49-F238E27FC236}">
                  <a16:creationId xmlns:a16="http://schemas.microsoft.com/office/drawing/2014/main" id="{B58C0C48-13F2-4845-AAD2-B12F7B57FD94}"/>
                </a:ext>
              </a:extLst>
            </p:cNvPr>
            <p:cNvGrpSpPr/>
            <p:nvPr/>
          </p:nvGrpSpPr>
          <p:grpSpPr>
            <a:xfrm>
              <a:off x="25842818" y="12444158"/>
              <a:ext cx="415881" cy="176507"/>
              <a:chOff x="25842818" y="12444158"/>
              <a:chExt cx="415881" cy="176507"/>
            </a:xfrm>
          </p:grpSpPr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58765083-40DD-4C5D-A763-B4CE3B83151E}"/>
                  </a:ext>
                </a:extLst>
              </p:cNvPr>
              <p:cNvSpPr/>
              <p:nvPr/>
            </p:nvSpPr>
            <p:spPr>
              <a:xfrm>
                <a:off x="25842818" y="12449799"/>
                <a:ext cx="413374" cy="132179"/>
              </a:xfrm>
              <a:custGeom>
                <a:avLst/>
                <a:gdLst>
                  <a:gd name="connsiteX0" fmla="*/ 406210 w 413374"/>
                  <a:gd name="connsiteY0" fmla="*/ 38687 h 132179"/>
                  <a:gd name="connsiteX1" fmla="*/ 251462 w 413374"/>
                  <a:gd name="connsiteY1" fmla="*/ 0 h 132179"/>
                  <a:gd name="connsiteX2" fmla="*/ 141852 w 413374"/>
                  <a:gd name="connsiteY2" fmla="*/ 67702 h 132179"/>
                  <a:gd name="connsiteX3" fmla="*/ 0 w 413374"/>
                  <a:gd name="connsiteY3" fmla="*/ 132179 h 132179"/>
                  <a:gd name="connsiteX4" fmla="*/ 406210 w 413374"/>
                  <a:gd name="connsiteY4" fmla="*/ 132179 h 132179"/>
                  <a:gd name="connsiteX5" fmla="*/ 406210 w 413374"/>
                  <a:gd name="connsiteY5" fmla="*/ 38687 h 132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3374" h="132179">
                    <a:moveTo>
                      <a:pt x="406210" y="38687"/>
                    </a:moveTo>
                    <a:cubicBezTo>
                      <a:pt x="406210" y="38687"/>
                      <a:pt x="303046" y="54806"/>
                      <a:pt x="251462" y="0"/>
                    </a:cubicBezTo>
                    <a:cubicBezTo>
                      <a:pt x="251462" y="0"/>
                      <a:pt x="177313" y="58030"/>
                      <a:pt x="141852" y="67702"/>
                    </a:cubicBezTo>
                    <a:cubicBezTo>
                      <a:pt x="103165" y="74150"/>
                      <a:pt x="12896" y="74150"/>
                      <a:pt x="0" y="132179"/>
                    </a:cubicBezTo>
                    <a:lnTo>
                      <a:pt x="406210" y="132179"/>
                    </a:lnTo>
                    <a:cubicBezTo>
                      <a:pt x="406210" y="132179"/>
                      <a:pt x="422330" y="80597"/>
                      <a:pt x="406210" y="38687"/>
                    </a:cubicBezTo>
                    <a:close/>
                  </a:path>
                </a:pathLst>
              </a:custGeom>
              <a:solidFill>
                <a:srgbClr val="F6EBE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5BFA79BB-F332-4CFD-B6E0-CB49BD08758E}"/>
                  </a:ext>
                </a:extLst>
              </p:cNvPr>
              <p:cNvSpPr/>
              <p:nvPr/>
            </p:nvSpPr>
            <p:spPr>
              <a:xfrm>
                <a:off x="25842819" y="12581978"/>
                <a:ext cx="406208" cy="38686"/>
              </a:xfrm>
              <a:custGeom>
                <a:avLst/>
                <a:gdLst>
                  <a:gd name="connsiteX0" fmla="*/ 0 w 406208"/>
                  <a:gd name="connsiteY0" fmla="*/ 0 h 38686"/>
                  <a:gd name="connsiteX1" fmla="*/ 406208 w 406208"/>
                  <a:gd name="connsiteY1" fmla="*/ 0 h 38686"/>
                  <a:gd name="connsiteX2" fmla="*/ 406208 w 406208"/>
                  <a:gd name="connsiteY2" fmla="*/ 38687 h 38686"/>
                  <a:gd name="connsiteX3" fmla="*/ 0 w 406208"/>
                  <a:gd name="connsiteY3" fmla="*/ 38687 h 38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6208" h="38686">
                    <a:moveTo>
                      <a:pt x="0" y="0"/>
                    </a:moveTo>
                    <a:lnTo>
                      <a:pt x="406208" y="0"/>
                    </a:lnTo>
                    <a:lnTo>
                      <a:pt x="406208" y="38687"/>
                    </a:lnTo>
                    <a:lnTo>
                      <a:pt x="0" y="38687"/>
                    </a:lnTo>
                    <a:close/>
                  </a:path>
                </a:pathLst>
              </a:custGeom>
              <a:solidFill>
                <a:srgbClr val="38333D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F097F7CB-6262-4A6C-8192-2F585468C767}"/>
                  </a:ext>
                </a:extLst>
              </p:cNvPr>
              <p:cNvSpPr/>
              <p:nvPr/>
            </p:nvSpPr>
            <p:spPr>
              <a:xfrm>
                <a:off x="26088640" y="12444158"/>
                <a:ext cx="170059" cy="53999"/>
              </a:xfrm>
              <a:custGeom>
                <a:avLst/>
                <a:gdLst>
                  <a:gd name="connsiteX0" fmla="*/ 131373 w 170059"/>
                  <a:gd name="connsiteY0" fmla="*/ 53999 h 53999"/>
                  <a:gd name="connsiteX1" fmla="*/ 2417 w 170059"/>
                  <a:gd name="connsiteY1" fmla="*/ 12089 h 53999"/>
                  <a:gd name="connsiteX2" fmla="*/ 2417 w 170059"/>
                  <a:gd name="connsiteY2" fmla="*/ 2418 h 53999"/>
                  <a:gd name="connsiteX3" fmla="*/ 12089 w 170059"/>
                  <a:gd name="connsiteY3" fmla="*/ 2418 h 53999"/>
                  <a:gd name="connsiteX4" fmla="*/ 163611 w 170059"/>
                  <a:gd name="connsiteY4" fmla="*/ 41104 h 53999"/>
                  <a:gd name="connsiteX5" fmla="*/ 170060 w 170059"/>
                  <a:gd name="connsiteY5" fmla="*/ 47552 h 53999"/>
                  <a:gd name="connsiteX6" fmla="*/ 163611 w 170059"/>
                  <a:gd name="connsiteY6" fmla="*/ 53999 h 53999"/>
                  <a:gd name="connsiteX7" fmla="*/ 131373 w 170059"/>
                  <a:gd name="connsiteY7" fmla="*/ 53999 h 5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0059" h="53999">
                    <a:moveTo>
                      <a:pt x="131373" y="53999"/>
                    </a:moveTo>
                    <a:cubicBezTo>
                      <a:pt x="95911" y="53999"/>
                      <a:pt x="41104" y="47552"/>
                      <a:pt x="2417" y="12089"/>
                    </a:cubicBezTo>
                    <a:cubicBezTo>
                      <a:pt x="-806" y="8865"/>
                      <a:pt x="-806" y="5641"/>
                      <a:pt x="2417" y="2418"/>
                    </a:cubicBezTo>
                    <a:cubicBezTo>
                      <a:pt x="5640" y="-806"/>
                      <a:pt x="8865" y="-806"/>
                      <a:pt x="12089" y="2418"/>
                    </a:cubicBezTo>
                    <a:cubicBezTo>
                      <a:pt x="70118" y="53999"/>
                      <a:pt x="160388" y="41104"/>
                      <a:pt x="163611" y="41104"/>
                    </a:cubicBezTo>
                    <a:cubicBezTo>
                      <a:pt x="166834" y="41104"/>
                      <a:pt x="170060" y="44328"/>
                      <a:pt x="170060" y="47552"/>
                    </a:cubicBezTo>
                    <a:cubicBezTo>
                      <a:pt x="170060" y="50776"/>
                      <a:pt x="166834" y="53999"/>
                      <a:pt x="163611" y="53999"/>
                    </a:cubicBezTo>
                    <a:cubicBezTo>
                      <a:pt x="160388" y="50776"/>
                      <a:pt x="147492" y="53999"/>
                      <a:pt x="131373" y="5399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A001DA32-1A56-4A12-AF53-4ECBFFF2C7CC}"/>
                  </a:ext>
                </a:extLst>
              </p:cNvPr>
              <p:cNvSpPr/>
              <p:nvPr/>
            </p:nvSpPr>
            <p:spPr>
              <a:xfrm>
                <a:off x="26056402" y="12463501"/>
                <a:ext cx="37073" cy="37880"/>
              </a:xfrm>
              <a:custGeom>
                <a:avLst/>
                <a:gdLst>
                  <a:gd name="connsiteX0" fmla="*/ 28208 w 37073"/>
                  <a:gd name="connsiteY0" fmla="*/ 37880 h 37880"/>
                  <a:gd name="connsiteX1" fmla="*/ 24985 w 37073"/>
                  <a:gd name="connsiteY1" fmla="*/ 34656 h 37880"/>
                  <a:gd name="connsiteX2" fmla="*/ 2417 w 37073"/>
                  <a:gd name="connsiteY2" fmla="*/ 12090 h 37880"/>
                  <a:gd name="connsiteX3" fmla="*/ 2417 w 37073"/>
                  <a:gd name="connsiteY3" fmla="*/ 2417 h 37880"/>
                  <a:gd name="connsiteX4" fmla="*/ 12089 w 37073"/>
                  <a:gd name="connsiteY4" fmla="*/ 2417 h 37880"/>
                  <a:gd name="connsiteX5" fmla="*/ 34656 w 37073"/>
                  <a:gd name="connsiteY5" fmla="*/ 24985 h 37880"/>
                  <a:gd name="connsiteX6" fmla="*/ 34656 w 37073"/>
                  <a:gd name="connsiteY6" fmla="*/ 34656 h 37880"/>
                  <a:gd name="connsiteX7" fmla="*/ 28208 w 37073"/>
                  <a:gd name="connsiteY7" fmla="*/ 37880 h 3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73" h="37880">
                    <a:moveTo>
                      <a:pt x="28208" y="37880"/>
                    </a:moveTo>
                    <a:cubicBezTo>
                      <a:pt x="28208" y="37880"/>
                      <a:pt x="24985" y="37880"/>
                      <a:pt x="24985" y="34656"/>
                    </a:cubicBezTo>
                    <a:lnTo>
                      <a:pt x="2417" y="12090"/>
                    </a:lnTo>
                    <a:cubicBezTo>
                      <a:pt x="-806" y="8865"/>
                      <a:pt x="-806" y="5641"/>
                      <a:pt x="2417" y="2417"/>
                    </a:cubicBezTo>
                    <a:cubicBezTo>
                      <a:pt x="5640" y="-806"/>
                      <a:pt x="8865" y="-806"/>
                      <a:pt x="12089" y="2417"/>
                    </a:cubicBezTo>
                    <a:lnTo>
                      <a:pt x="34656" y="24985"/>
                    </a:lnTo>
                    <a:cubicBezTo>
                      <a:pt x="37879" y="28209"/>
                      <a:pt x="37879" y="31433"/>
                      <a:pt x="34656" y="34656"/>
                    </a:cubicBezTo>
                    <a:cubicBezTo>
                      <a:pt x="31433" y="37880"/>
                      <a:pt x="31433" y="37880"/>
                      <a:pt x="28208" y="3788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06F7B6A0-9DBA-4E67-88D8-9BB1608739A0}"/>
                  </a:ext>
                </a:extLst>
              </p:cNvPr>
              <p:cNvSpPr/>
              <p:nvPr/>
            </p:nvSpPr>
            <p:spPr>
              <a:xfrm>
                <a:off x="26024163" y="12486068"/>
                <a:ext cx="37073" cy="37880"/>
              </a:xfrm>
              <a:custGeom>
                <a:avLst/>
                <a:gdLst>
                  <a:gd name="connsiteX0" fmla="*/ 28208 w 37073"/>
                  <a:gd name="connsiteY0" fmla="*/ 37881 h 37880"/>
                  <a:gd name="connsiteX1" fmla="*/ 24985 w 37073"/>
                  <a:gd name="connsiteY1" fmla="*/ 34657 h 37880"/>
                  <a:gd name="connsiteX2" fmla="*/ 2417 w 37073"/>
                  <a:gd name="connsiteY2" fmla="*/ 12089 h 37880"/>
                  <a:gd name="connsiteX3" fmla="*/ 2417 w 37073"/>
                  <a:gd name="connsiteY3" fmla="*/ 2418 h 37880"/>
                  <a:gd name="connsiteX4" fmla="*/ 12089 w 37073"/>
                  <a:gd name="connsiteY4" fmla="*/ 2418 h 37880"/>
                  <a:gd name="connsiteX5" fmla="*/ 34656 w 37073"/>
                  <a:gd name="connsiteY5" fmla="*/ 24986 h 37880"/>
                  <a:gd name="connsiteX6" fmla="*/ 34656 w 37073"/>
                  <a:gd name="connsiteY6" fmla="*/ 34657 h 37880"/>
                  <a:gd name="connsiteX7" fmla="*/ 28208 w 37073"/>
                  <a:gd name="connsiteY7" fmla="*/ 37881 h 3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73" h="37880">
                    <a:moveTo>
                      <a:pt x="28208" y="37881"/>
                    </a:moveTo>
                    <a:cubicBezTo>
                      <a:pt x="28208" y="37881"/>
                      <a:pt x="24985" y="37881"/>
                      <a:pt x="24985" y="34657"/>
                    </a:cubicBezTo>
                    <a:lnTo>
                      <a:pt x="2417" y="12089"/>
                    </a:lnTo>
                    <a:cubicBezTo>
                      <a:pt x="-806" y="8866"/>
                      <a:pt x="-806" y="5642"/>
                      <a:pt x="2417" y="2418"/>
                    </a:cubicBezTo>
                    <a:cubicBezTo>
                      <a:pt x="5640" y="-806"/>
                      <a:pt x="8865" y="-806"/>
                      <a:pt x="12089" y="2418"/>
                    </a:cubicBezTo>
                    <a:lnTo>
                      <a:pt x="34656" y="24986"/>
                    </a:lnTo>
                    <a:cubicBezTo>
                      <a:pt x="37879" y="28209"/>
                      <a:pt x="37879" y="31433"/>
                      <a:pt x="34656" y="34657"/>
                    </a:cubicBezTo>
                    <a:cubicBezTo>
                      <a:pt x="31433" y="34657"/>
                      <a:pt x="31433" y="37881"/>
                      <a:pt x="28208" y="37881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3" name="图形 1">
              <a:extLst>
                <a:ext uri="{FF2B5EF4-FFF2-40B4-BE49-F238E27FC236}">
                  <a16:creationId xmlns:a16="http://schemas.microsoft.com/office/drawing/2014/main" id="{3500A8DE-5350-4EB6-90E7-5571BE54252F}"/>
                </a:ext>
              </a:extLst>
            </p:cNvPr>
            <p:cNvGrpSpPr/>
            <p:nvPr/>
          </p:nvGrpSpPr>
          <p:grpSpPr>
            <a:xfrm>
              <a:off x="26835597" y="12218486"/>
              <a:ext cx="345510" cy="361835"/>
              <a:chOff x="26835597" y="12218486"/>
              <a:chExt cx="345510" cy="361835"/>
            </a:xfrm>
          </p:grpSpPr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D93AB4C6-2E8B-42C1-8D53-18432AC49EEB}"/>
                  </a:ext>
                </a:extLst>
              </p:cNvPr>
              <p:cNvSpPr/>
              <p:nvPr/>
            </p:nvSpPr>
            <p:spPr>
              <a:xfrm>
                <a:off x="26835597" y="12227351"/>
                <a:ext cx="329012" cy="325612"/>
              </a:xfrm>
              <a:custGeom>
                <a:avLst/>
                <a:gdLst>
                  <a:gd name="connsiteX0" fmla="*/ 267760 w 329012"/>
                  <a:gd name="connsiteY0" fmla="*/ 0 h 325612"/>
                  <a:gd name="connsiteX1" fmla="*/ 122685 w 329012"/>
                  <a:gd name="connsiteY1" fmla="*/ 64478 h 325612"/>
                  <a:gd name="connsiteX2" fmla="*/ 77550 w 329012"/>
                  <a:gd name="connsiteY2" fmla="*/ 186986 h 325612"/>
                  <a:gd name="connsiteX3" fmla="*/ 6624 w 329012"/>
                  <a:gd name="connsiteY3" fmla="*/ 325612 h 325612"/>
                  <a:gd name="connsiteX4" fmla="*/ 329013 w 329012"/>
                  <a:gd name="connsiteY4" fmla="*/ 77373 h 325612"/>
                  <a:gd name="connsiteX5" fmla="*/ 267760 w 329012"/>
                  <a:gd name="connsiteY5" fmla="*/ 0 h 325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9012" h="325612">
                    <a:moveTo>
                      <a:pt x="267760" y="0"/>
                    </a:moveTo>
                    <a:cubicBezTo>
                      <a:pt x="267760" y="0"/>
                      <a:pt x="196834" y="74150"/>
                      <a:pt x="122685" y="64478"/>
                    </a:cubicBezTo>
                    <a:cubicBezTo>
                      <a:pt x="122685" y="64478"/>
                      <a:pt x="100118" y="154747"/>
                      <a:pt x="77550" y="186986"/>
                    </a:cubicBezTo>
                    <a:cubicBezTo>
                      <a:pt x="51760" y="216000"/>
                      <a:pt x="-22389" y="270806"/>
                      <a:pt x="6624" y="325612"/>
                    </a:cubicBezTo>
                    <a:lnTo>
                      <a:pt x="329013" y="77373"/>
                    </a:lnTo>
                    <a:cubicBezTo>
                      <a:pt x="322564" y="74150"/>
                      <a:pt x="303222" y="22568"/>
                      <a:pt x="267760" y="0"/>
                    </a:cubicBezTo>
                    <a:close/>
                  </a:path>
                </a:pathLst>
              </a:custGeom>
              <a:solidFill>
                <a:srgbClr val="F6EBE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62F95A96-50D2-402F-9A30-212E4E021DF8}"/>
                  </a:ext>
                </a:extLst>
              </p:cNvPr>
              <p:cNvSpPr/>
              <p:nvPr/>
            </p:nvSpPr>
            <p:spPr>
              <a:xfrm rot="-2264659">
                <a:off x="26805581" y="12421364"/>
                <a:ext cx="406183" cy="38684"/>
              </a:xfrm>
              <a:custGeom>
                <a:avLst/>
                <a:gdLst>
                  <a:gd name="connsiteX0" fmla="*/ 0 w 406183"/>
                  <a:gd name="connsiteY0" fmla="*/ 0 h 38684"/>
                  <a:gd name="connsiteX1" fmla="*/ 406183 w 406183"/>
                  <a:gd name="connsiteY1" fmla="*/ 0 h 38684"/>
                  <a:gd name="connsiteX2" fmla="*/ 406183 w 406183"/>
                  <a:gd name="connsiteY2" fmla="*/ 38684 h 38684"/>
                  <a:gd name="connsiteX3" fmla="*/ 0 w 406183"/>
                  <a:gd name="connsiteY3" fmla="*/ 38684 h 38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6183" h="38684">
                    <a:moveTo>
                      <a:pt x="0" y="0"/>
                    </a:moveTo>
                    <a:lnTo>
                      <a:pt x="406183" y="0"/>
                    </a:lnTo>
                    <a:lnTo>
                      <a:pt x="406183" y="38684"/>
                    </a:lnTo>
                    <a:lnTo>
                      <a:pt x="0" y="38684"/>
                    </a:lnTo>
                    <a:close/>
                  </a:path>
                </a:pathLst>
              </a:custGeom>
              <a:solidFill>
                <a:srgbClr val="38333D"/>
              </a:solidFill>
              <a:ln w="322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8608905F-D50A-41B6-BAAE-E51A4B0B3464}"/>
                  </a:ext>
                </a:extLst>
              </p:cNvPr>
              <p:cNvSpPr/>
              <p:nvPr/>
            </p:nvSpPr>
            <p:spPr>
              <a:xfrm>
                <a:off x="26948609" y="12218486"/>
                <a:ext cx="160388" cy="76566"/>
              </a:xfrm>
              <a:custGeom>
                <a:avLst/>
                <a:gdLst>
                  <a:gd name="connsiteX0" fmla="*/ 16119 w 160388"/>
                  <a:gd name="connsiteY0" fmla="*/ 76567 h 76566"/>
                  <a:gd name="connsiteX1" fmla="*/ 6448 w 160388"/>
                  <a:gd name="connsiteY1" fmla="*/ 76567 h 76566"/>
                  <a:gd name="connsiteX2" fmla="*/ 0 w 160388"/>
                  <a:gd name="connsiteY2" fmla="*/ 70119 h 76566"/>
                  <a:gd name="connsiteX3" fmla="*/ 6448 w 160388"/>
                  <a:gd name="connsiteY3" fmla="*/ 63672 h 76566"/>
                  <a:gd name="connsiteX4" fmla="*/ 16119 w 160388"/>
                  <a:gd name="connsiteY4" fmla="*/ 63672 h 76566"/>
                  <a:gd name="connsiteX5" fmla="*/ 148300 w 160388"/>
                  <a:gd name="connsiteY5" fmla="*/ 2418 h 76566"/>
                  <a:gd name="connsiteX6" fmla="*/ 157971 w 160388"/>
                  <a:gd name="connsiteY6" fmla="*/ 2418 h 76566"/>
                  <a:gd name="connsiteX7" fmla="*/ 157971 w 160388"/>
                  <a:gd name="connsiteY7" fmla="*/ 12089 h 76566"/>
                  <a:gd name="connsiteX8" fmla="*/ 16119 w 160388"/>
                  <a:gd name="connsiteY8" fmla="*/ 76567 h 76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0388" h="76566">
                    <a:moveTo>
                      <a:pt x="16119" y="76567"/>
                    </a:moveTo>
                    <a:cubicBezTo>
                      <a:pt x="12896" y="76567"/>
                      <a:pt x="9673" y="76567"/>
                      <a:pt x="6448" y="76567"/>
                    </a:cubicBezTo>
                    <a:cubicBezTo>
                      <a:pt x="3225" y="76567"/>
                      <a:pt x="0" y="73343"/>
                      <a:pt x="0" y="70119"/>
                    </a:cubicBezTo>
                    <a:cubicBezTo>
                      <a:pt x="0" y="66896"/>
                      <a:pt x="3225" y="63672"/>
                      <a:pt x="6448" y="63672"/>
                    </a:cubicBezTo>
                    <a:cubicBezTo>
                      <a:pt x="9673" y="63672"/>
                      <a:pt x="12896" y="63672"/>
                      <a:pt x="16119" y="63672"/>
                    </a:cubicBezTo>
                    <a:cubicBezTo>
                      <a:pt x="87045" y="63672"/>
                      <a:pt x="148300" y="2418"/>
                      <a:pt x="148300" y="2418"/>
                    </a:cubicBezTo>
                    <a:cubicBezTo>
                      <a:pt x="151523" y="-806"/>
                      <a:pt x="154748" y="-806"/>
                      <a:pt x="157971" y="2418"/>
                    </a:cubicBezTo>
                    <a:cubicBezTo>
                      <a:pt x="161194" y="5641"/>
                      <a:pt x="161194" y="8865"/>
                      <a:pt x="157971" y="12089"/>
                    </a:cubicBezTo>
                    <a:cubicBezTo>
                      <a:pt x="154748" y="15313"/>
                      <a:pt x="93493" y="76567"/>
                      <a:pt x="16119" y="76567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319162D1-FB8B-4494-89BE-E7CABEC6B43A}"/>
                  </a:ext>
                </a:extLst>
              </p:cNvPr>
              <p:cNvSpPr/>
              <p:nvPr/>
            </p:nvSpPr>
            <p:spPr>
              <a:xfrm>
                <a:off x="26938938" y="12320844"/>
                <a:ext cx="45135" cy="16119"/>
              </a:xfrm>
              <a:custGeom>
                <a:avLst/>
                <a:gdLst>
                  <a:gd name="connsiteX0" fmla="*/ 38687 w 45135"/>
                  <a:gd name="connsiteY0" fmla="*/ 16119 h 16119"/>
                  <a:gd name="connsiteX1" fmla="*/ 38687 w 45135"/>
                  <a:gd name="connsiteY1" fmla="*/ 16119 h 16119"/>
                  <a:gd name="connsiteX2" fmla="*/ 6448 w 45135"/>
                  <a:gd name="connsiteY2" fmla="*/ 12896 h 16119"/>
                  <a:gd name="connsiteX3" fmla="*/ 0 w 45135"/>
                  <a:gd name="connsiteY3" fmla="*/ 6448 h 16119"/>
                  <a:gd name="connsiteX4" fmla="*/ 6448 w 45135"/>
                  <a:gd name="connsiteY4" fmla="*/ 0 h 16119"/>
                  <a:gd name="connsiteX5" fmla="*/ 38687 w 45135"/>
                  <a:gd name="connsiteY5" fmla="*/ 3224 h 16119"/>
                  <a:gd name="connsiteX6" fmla="*/ 45135 w 45135"/>
                  <a:gd name="connsiteY6" fmla="*/ 9672 h 16119"/>
                  <a:gd name="connsiteX7" fmla="*/ 38687 w 45135"/>
                  <a:gd name="connsiteY7" fmla="*/ 16119 h 16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135" h="16119">
                    <a:moveTo>
                      <a:pt x="38687" y="16119"/>
                    </a:moveTo>
                    <a:cubicBezTo>
                      <a:pt x="38687" y="16119"/>
                      <a:pt x="35464" y="16119"/>
                      <a:pt x="38687" y="16119"/>
                    </a:cubicBezTo>
                    <a:lnTo>
                      <a:pt x="6448" y="12896"/>
                    </a:lnTo>
                    <a:cubicBezTo>
                      <a:pt x="3225" y="12896"/>
                      <a:pt x="0" y="9672"/>
                      <a:pt x="0" y="6448"/>
                    </a:cubicBezTo>
                    <a:cubicBezTo>
                      <a:pt x="0" y="3224"/>
                      <a:pt x="3225" y="0"/>
                      <a:pt x="6448" y="0"/>
                    </a:cubicBezTo>
                    <a:lnTo>
                      <a:pt x="38687" y="3224"/>
                    </a:lnTo>
                    <a:cubicBezTo>
                      <a:pt x="41910" y="3224"/>
                      <a:pt x="45135" y="6448"/>
                      <a:pt x="45135" y="9672"/>
                    </a:cubicBezTo>
                    <a:cubicBezTo>
                      <a:pt x="41910" y="12896"/>
                      <a:pt x="41910" y="16119"/>
                      <a:pt x="38687" y="1611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CE855C6E-D8B5-4E8A-920F-76ADA5F825F9}"/>
                  </a:ext>
                </a:extLst>
              </p:cNvPr>
              <p:cNvSpPr/>
              <p:nvPr/>
            </p:nvSpPr>
            <p:spPr>
              <a:xfrm>
                <a:off x="26926044" y="12356307"/>
                <a:ext cx="45133" cy="16119"/>
              </a:xfrm>
              <a:custGeom>
                <a:avLst/>
                <a:gdLst>
                  <a:gd name="connsiteX0" fmla="*/ 38685 w 45133"/>
                  <a:gd name="connsiteY0" fmla="*/ 16119 h 16119"/>
                  <a:gd name="connsiteX1" fmla="*/ 38685 w 45133"/>
                  <a:gd name="connsiteY1" fmla="*/ 16119 h 16119"/>
                  <a:gd name="connsiteX2" fmla="*/ 6446 w 45133"/>
                  <a:gd name="connsiteY2" fmla="*/ 12895 h 16119"/>
                  <a:gd name="connsiteX3" fmla="*/ 0 w 45133"/>
                  <a:gd name="connsiteY3" fmla="*/ 6448 h 16119"/>
                  <a:gd name="connsiteX4" fmla="*/ 6446 w 45133"/>
                  <a:gd name="connsiteY4" fmla="*/ 0 h 16119"/>
                  <a:gd name="connsiteX5" fmla="*/ 38685 w 45133"/>
                  <a:gd name="connsiteY5" fmla="*/ 3224 h 16119"/>
                  <a:gd name="connsiteX6" fmla="*/ 45133 w 45133"/>
                  <a:gd name="connsiteY6" fmla="*/ 9672 h 16119"/>
                  <a:gd name="connsiteX7" fmla="*/ 38685 w 45133"/>
                  <a:gd name="connsiteY7" fmla="*/ 16119 h 16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133" h="16119">
                    <a:moveTo>
                      <a:pt x="38685" y="16119"/>
                    </a:moveTo>
                    <a:cubicBezTo>
                      <a:pt x="38685" y="16119"/>
                      <a:pt x="38685" y="16119"/>
                      <a:pt x="38685" y="16119"/>
                    </a:cubicBezTo>
                    <a:lnTo>
                      <a:pt x="6446" y="12895"/>
                    </a:lnTo>
                    <a:cubicBezTo>
                      <a:pt x="3223" y="12895"/>
                      <a:pt x="0" y="9672"/>
                      <a:pt x="0" y="6448"/>
                    </a:cubicBezTo>
                    <a:cubicBezTo>
                      <a:pt x="0" y="3224"/>
                      <a:pt x="3223" y="0"/>
                      <a:pt x="6446" y="0"/>
                    </a:cubicBezTo>
                    <a:lnTo>
                      <a:pt x="38685" y="3224"/>
                    </a:lnTo>
                    <a:cubicBezTo>
                      <a:pt x="41910" y="3224"/>
                      <a:pt x="45133" y="6448"/>
                      <a:pt x="45133" y="9672"/>
                    </a:cubicBezTo>
                    <a:cubicBezTo>
                      <a:pt x="45133" y="16119"/>
                      <a:pt x="41910" y="16119"/>
                      <a:pt x="38685" y="1611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CA8B4173-9349-42EF-9F99-3B37F34F1C94}"/>
                </a:ext>
              </a:extLst>
            </p:cNvPr>
            <p:cNvSpPr/>
            <p:nvPr/>
          </p:nvSpPr>
          <p:spPr>
            <a:xfrm>
              <a:off x="26358639" y="10608964"/>
              <a:ext cx="61254" cy="306268"/>
            </a:xfrm>
            <a:custGeom>
              <a:avLst/>
              <a:gdLst>
                <a:gd name="connsiteX0" fmla="*/ 54806 w 61254"/>
                <a:gd name="connsiteY0" fmla="*/ 306269 h 306268"/>
                <a:gd name="connsiteX1" fmla="*/ 48358 w 61254"/>
                <a:gd name="connsiteY1" fmla="*/ 303045 h 306268"/>
                <a:gd name="connsiteX2" fmla="*/ 0 w 61254"/>
                <a:gd name="connsiteY2" fmla="*/ 6447 h 306268"/>
                <a:gd name="connsiteX3" fmla="*/ 6448 w 61254"/>
                <a:gd name="connsiteY3" fmla="*/ 0 h 306268"/>
                <a:gd name="connsiteX4" fmla="*/ 6448 w 61254"/>
                <a:gd name="connsiteY4" fmla="*/ 0 h 306268"/>
                <a:gd name="connsiteX5" fmla="*/ 12896 w 61254"/>
                <a:gd name="connsiteY5" fmla="*/ 6447 h 306268"/>
                <a:gd name="connsiteX6" fmla="*/ 61255 w 61254"/>
                <a:gd name="connsiteY6" fmla="*/ 296596 h 306268"/>
                <a:gd name="connsiteX7" fmla="*/ 54806 w 61254"/>
                <a:gd name="connsiteY7" fmla="*/ 306269 h 306268"/>
                <a:gd name="connsiteX8" fmla="*/ 54806 w 61254"/>
                <a:gd name="connsiteY8" fmla="*/ 306269 h 30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54" h="306268">
                  <a:moveTo>
                    <a:pt x="54806" y="306269"/>
                  </a:moveTo>
                  <a:cubicBezTo>
                    <a:pt x="51583" y="306269"/>
                    <a:pt x="51583" y="306269"/>
                    <a:pt x="48358" y="303045"/>
                  </a:cubicBezTo>
                  <a:cubicBezTo>
                    <a:pt x="6448" y="206328"/>
                    <a:pt x="0" y="16119"/>
                    <a:pt x="0" y="6447"/>
                  </a:cubicBezTo>
                  <a:cubicBezTo>
                    <a:pt x="0" y="3223"/>
                    <a:pt x="3225" y="0"/>
                    <a:pt x="6448" y="0"/>
                  </a:cubicBezTo>
                  <a:cubicBezTo>
                    <a:pt x="6448" y="0"/>
                    <a:pt x="6448" y="0"/>
                    <a:pt x="6448" y="0"/>
                  </a:cubicBezTo>
                  <a:cubicBezTo>
                    <a:pt x="9671" y="0"/>
                    <a:pt x="12896" y="3223"/>
                    <a:pt x="12896" y="6447"/>
                  </a:cubicBezTo>
                  <a:cubicBezTo>
                    <a:pt x="12896" y="9671"/>
                    <a:pt x="19344" y="203104"/>
                    <a:pt x="61255" y="296596"/>
                  </a:cubicBezTo>
                  <a:cubicBezTo>
                    <a:pt x="61255" y="303045"/>
                    <a:pt x="61255" y="306269"/>
                    <a:pt x="54806" y="306269"/>
                  </a:cubicBezTo>
                  <a:cubicBezTo>
                    <a:pt x="54806" y="306269"/>
                    <a:pt x="54806" y="306269"/>
                    <a:pt x="54806" y="306269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1C64B65D-7AC5-4A14-A363-B0531AD71DD2}"/>
                </a:ext>
              </a:extLst>
            </p:cNvPr>
            <p:cNvSpPr/>
            <p:nvPr/>
          </p:nvSpPr>
          <p:spPr>
            <a:xfrm>
              <a:off x="26265148" y="10550933"/>
              <a:ext cx="128955" cy="299821"/>
            </a:xfrm>
            <a:custGeom>
              <a:avLst/>
              <a:gdLst>
                <a:gd name="connsiteX0" fmla="*/ 122507 w 128955"/>
                <a:gd name="connsiteY0" fmla="*/ 299822 h 299821"/>
                <a:gd name="connsiteX1" fmla="*/ 119282 w 128955"/>
                <a:gd name="connsiteY1" fmla="*/ 299822 h 299821"/>
                <a:gd name="connsiteX2" fmla="*/ 29014 w 128955"/>
                <a:gd name="connsiteY2" fmla="*/ 232120 h 299821"/>
                <a:gd name="connsiteX3" fmla="*/ 0 w 128955"/>
                <a:gd name="connsiteY3" fmla="*/ 6448 h 299821"/>
                <a:gd name="connsiteX4" fmla="*/ 6446 w 128955"/>
                <a:gd name="connsiteY4" fmla="*/ 0 h 299821"/>
                <a:gd name="connsiteX5" fmla="*/ 12894 w 128955"/>
                <a:gd name="connsiteY5" fmla="*/ 6448 h 299821"/>
                <a:gd name="connsiteX6" fmla="*/ 38685 w 128955"/>
                <a:gd name="connsiteY6" fmla="*/ 225672 h 299821"/>
                <a:gd name="connsiteX7" fmla="*/ 125730 w 128955"/>
                <a:gd name="connsiteY7" fmla="*/ 290149 h 299821"/>
                <a:gd name="connsiteX8" fmla="*/ 128955 w 128955"/>
                <a:gd name="connsiteY8" fmla="*/ 299822 h 299821"/>
                <a:gd name="connsiteX9" fmla="*/ 122507 w 128955"/>
                <a:gd name="connsiteY9" fmla="*/ 299822 h 29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955" h="299821">
                  <a:moveTo>
                    <a:pt x="122507" y="299822"/>
                  </a:moveTo>
                  <a:cubicBezTo>
                    <a:pt x="122507" y="299822"/>
                    <a:pt x="119282" y="299822"/>
                    <a:pt x="119282" y="299822"/>
                  </a:cubicBezTo>
                  <a:cubicBezTo>
                    <a:pt x="109611" y="293373"/>
                    <a:pt x="38685" y="245015"/>
                    <a:pt x="29014" y="232120"/>
                  </a:cubicBezTo>
                  <a:cubicBezTo>
                    <a:pt x="19342" y="219224"/>
                    <a:pt x="3223" y="58030"/>
                    <a:pt x="0" y="6448"/>
                  </a:cubicBezTo>
                  <a:cubicBezTo>
                    <a:pt x="0" y="3224"/>
                    <a:pt x="3223" y="0"/>
                    <a:pt x="6446" y="0"/>
                  </a:cubicBezTo>
                  <a:cubicBezTo>
                    <a:pt x="9671" y="0"/>
                    <a:pt x="12894" y="3224"/>
                    <a:pt x="12894" y="6448"/>
                  </a:cubicBezTo>
                  <a:cubicBezTo>
                    <a:pt x="19342" y="83821"/>
                    <a:pt x="32239" y="216000"/>
                    <a:pt x="38685" y="225672"/>
                  </a:cubicBezTo>
                  <a:cubicBezTo>
                    <a:pt x="45133" y="235344"/>
                    <a:pt x="96716" y="270806"/>
                    <a:pt x="125730" y="290149"/>
                  </a:cubicBezTo>
                  <a:cubicBezTo>
                    <a:pt x="128955" y="293373"/>
                    <a:pt x="128955" y="296597"/>
                    <a:pt x="128955" y="299822"/>
                  </a:cubicBezTo>
                  <a:cubicBezTo>
                    <a:pt x="125730" y="299822"/>
                    <a:pt x="125730" y="299822"/>
                    <a:pt x="122507" y="299822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03A34A75-D7BB-4F0C-92B4-5B132BCFB34A}"/>
                </a:ext>
              </a:extLst>
            </p:cNvPr>
            <p:cNvSpPr/>
            <p:nvPr/>
          </p:nvSpPr>
          <p:spPr>
            <a:xfrm>
              <a:off x="25252849" y="9471721"/>
              <a:ext cx="875228" cy="758257"/>
            </a:xfrm>
            <a:custGeom>
              <a:avLst/>
              <a:gdLst>
                <a:gd name="connsiteX0" fmla="*/ 867225 w 875228"/>
                <a:gd name="connsiteY0" fmla="*/ 234556 h 758257"/>
                <a:gd name="connsiteX1" fmla="*/ 751164 w 875228"/>
                <a:gd name="connsiteY1" fmla="*/ 2437 h 758257"/>
                <a:gd name="connsiteX2" fmla="*/ 509373 w 875228"/>
                <a:gd name="connsiteY2" fmla="*/ 318377 h 758257"/>
                <a:gd name="connsiteX3" fmla="*/ 354627 w 875228"/>
                <a:gd name="connsiteY3" fmla="*/ 582735 h 758257"/>
                <a:gd name="connsiteX4" fmla="*/ 29016 w 875228"/>
                <a:gd name="connsiteY4" fmla="*/ 614974 h 758257"/>
                <a:gd name="connsiteX5" fmla="*/ 0 w 875228"/>
                <a:gd name="connsiteY5" fmla="*/ 743929 h 758257"/>
                <a:gd name="connsiteX6" fmla="*/ 464240 w 875228"/>
                <a:gd name="connsiteY6" fmla="*/ 743929 h 758257"/>
                <a:gd name="connsiteX7" fmla="*/ 867225 w 875228"/>
                <a:gd name="connsiteY7" fmla="*/ 234556 h 758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5228" h="758257">
                  <a:moveTo>
                    <a:pt x="867225" y="234556"/>
                  </a:moveTo>
                  <a:cubicBezTo>
                    <a:pt x="902687" y="118497"/>
                    <a:pt x="812418" y="-20130"/>
                    <a:pt x="751164" y="2437"/>
                  </a:cubicBezTo>
                  <a:cubicBezTo>
                    <a:pt x="677015" y="28228"/>
                    <a:pt x="580299" y="186198"/>
                    <a:pt x="509373" y="318377"/>
                  </a:cubicBezTo>
                  <a:cubicBezTo>
                    <a:pt x="464240" y="402198"/>
                    <a:pt x="367523" y="585959"/>
                    <a:pt x="354627" y="582735"/>
                  </a:cubicBezTo>
                  <a:cubicBezTo>
                    <a:pt x="348179" y="582735"/>
                    <a:pt x="29016" y="614974"/>
                    <a:pt x="29016" y="614974"/>
                  </a:cubicBezTo>
                  <a:cubicBezTo>
                    <a:pt x="32239" y="666556"/>
                    <a:pt x="0" y="743929"/>
                    <a:pt x="0" y="743929"/>
                  </a:cubicBezTo>
                  <a:cubicBezTo>
                    <a:pt x="0" y="743929"/>
                    <a:pt x="402985" y="776168"/>
                    <a:pt x="464240" y="743929"/>
                  </a:cubicBezTo>
                  <a:cubicBezTo>
                    <a:pt x="541612" y="705242"/>
                    <a:pt x="822090" y="382855"/>
                    <a:pt x="867225" y="234556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3B382592-0F51-4C6D-B4A9-0F421E0FD66A}"/>
                </a:ext>
              </a:extLst>
            </p:cNvPr>
            <p:cNvSpPr/>
            <p:nvPr/>
          </p:nvSpPr>
          <p:spPr>
            <a:xfrm>
              <a:off x="25765447" y="9336528"/>
              <a:ext cx="398402" cy="511599"/>
            </a:xfrm>
            <a:custGeom>
              <a:avLst/>
              <a:gdLst>
                <a:gd name="connsiteX0" fmla="*/ 312715 w 398402"/>
                <a:gd name="connsiteY0" fmla="*/ 511600 h 511599"/>
                <a:gd name="connsiteX1" fmla="*/ 364298 w 398402"/>
                <a:gd name="connsiteY1" fmla="*/ 11898 h 511599"/>
                <a:gd name="connsiteX2" fmla="*/ 0 w 398402"/>
                <a:gd name="connsiteY2" fmla="*/ 343958 h 511599"/>
                <a:gd name="connsiteX3" fmla="*/ 312715 w 398402"/>
                <a:gd name="connsiteY3" fmla="*/ 511600 h 511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8402" h="511599">
                  <a:moveTo>
                    <a:pt x="312715" y="511600"/>
                  </a:moveTo>
                  <a:cubicBezTo>
                    <a:pt x="312715" y="511600"/>
                    <a:pt x="464238" y="86047"/>
                    <a:pt x="364298" y="11898"/>
                  </a:cubicBezTo>
                  <a:cubicBezTo>
                    <a:pt x="251462" y="-75147"/>
                    <a:pt x="0" y="343958"/>
                    <a:pt x="0" y="343958"/>
                  </a:cubicBezTo>
                  <a:cubicBezTo>
                    <a:pt x="0" y="343958"/>
                    <a:pt x="135401" y="479361"/>
                    <a:pt x="312715" y="511600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96838403-E994-4142-9283-31576FF129FD}"/>
                </a:ext>
              </a:extLst>
            </p:cNvPr>
            <p:cNvSpPr/>
            <p:nvPr/>
          </p:nvSpPr>
          <p:spPr>
            <a:xfrm>
              <a:off x="26294162" y="9109859"/>
              <a:ext cx="225671" cy="216510"/>
            </a:xfrm>
            <a:custGeom>
              <a:avLst/>
              <a:gdLst>
                <a:gd name="connsiteX0" fmla="*/ 0 w 225671"/>
                <a:gd name="connsiteY0" fmla="*/ 29015 h 216510"/>
                <a:gd name="connsiteX1" fmla="*/ 6448 w 225671"/>
                <a:gd name="connsiteY1" fmla="*/ 180538 h 216510"/>
                <a:gd name="connsiteX2" fmla="*/ 225672 w 225671"/>
                <a:gd name="connsiteY2" fmla="*/ 170866 h 216510"/>
                <a:gd name="connsiteX3" fmla="*/ 212777 w 225671"/>
                <a:gd name="connsiteY3" fmla="*/ 0 h 216510"/>
                <a:gd name="connsiteX4" fmla="*/ 0 w 225671"/>
                <a:gd name="connsiteY4" fmla="*/ 29015 h 216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671" h="216510">
                  <a:moveTo>
                    <a:pt x="0" y="29015"/>
                  </a:moveTo>
                  <a:cubicBezTo>
                    <a:pt x="0" y="29015"/>
                    <a:pt x="6448" y="119283"/>
                    <a:pt x="6448" y="180538"/>
                  </a:cubicBezTo>
                  <a:cubicBezTo>
                    <a:pt x="6448" y="180538"/>
                    <a:pt x="99941" y="267582"/>
                    <a:pt x="225672" y="170866"/>
                  </a:cubicBezTo>
                  <a:cubicBezTo>
                    <a:pt x="225672" y="119283"/>
                    <a:pt x="216000" y="54806"/>
                    <a:pt x="212777" y="0"/>
                  </a:cubicBezTo>
                  <a:cubicBezTo>
                    <a:pt x="212777" y="0"/>
                    <a:pt x="45135" y="38686"/>
                    <a:pt x="0" y="29015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610BA1F6-3537-4400-815C-D60952511413}"/>
                </a:ext>
              </a:extLst>
            </p:cNvPr>
            <p:cNvSpPr/>
            <p:nvPr/>
          </p:nvSpPr>
          <p:spPr>
            <a:xfrm>
              <a:off x="25970746" y="9248486"/>
              <a:ext cx="894043" cy="1311412"/>
            </a:xfrm>
            <a:custGeom>
              <a:avLst/>
              <a:gdLst>
                <a:gd name="connsiteX0" fmla="*/ 561984 w 894043"/>
                <a:gd name="connsiteY0" fmla="*/ 0 h 1311412"/>
                <a:gd name="connsiteX1" fmla="*/ 320193 w 894043"/>
                <a:gd name="connsiteY1" fmla="*/ 0 h 1311412"/>
                <a:gd name="connsiteX2" fmla="*/ 71954 w 894043"/>
                <a:gd name="connsiteY2" fmla="*/ 109612 h 1311412"/>
                <a:gd name="connsiteX3" fmla="*/ 1028 w 894043"/>
                <a:gd name="connsiteY3" fmla="*/ 1286328 h 1311412"/>
                <a:gd name="connsiteX4" fmla="*/ 894043 w 894043"/>
                <a:gd name="connsiteY4" fmla="*/ 1266985 h 1311412"/>
                <a:gd name="connsiteX5" fmla="*/ 797327 w 894043"/>
                <a:gd name="connsiteY5" fmla="*/ 87045 h 1311412"/>
                <a:gd name="connsiteX6" fmla="*/ 561984 w 894043"/>
                <a:gd name="connsiteY6" fmla="*/ 0 h 1311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043" h="1311412">
                  <a:moveTo>
                    <a:pt x="561984" y="0"/>
                  </a:moveTo>
                  <a:cubicBezTo>
                    <a:pt x="561984" y="0"/>
                    <a:pt x="416909" y="48358"/>
                    <a:pt x="320193" y="0"/>
                  </a:cubicBezTo>
                  <a:cubicBezTo>
                    <a:pt x="320193" y="0"/>
                    <a:pt x="91296" y="83821"/>
                    <a:pt x="71954" y="109612"/>
                  </a:cubicBezTo>
                  <a:cubicBezTo>
                    <a:pt x="52611" y="135403"/>
                    <a:pt x="-8643" y="1228299"/>
                    <a:pt x="1028" y="1286328"/>
                  </a:cubicBezTo>
                  <a:cubicBezTo>
                    <a:pt x="1028" y="1286328"/>
                    <a:pt x="413684" y="1354030"/>
                    <a:pt x="894043" y="1266985"/>
                  </a:cubicBezTo>
                  <a:cubicBezTo>
                    <a:pt x="894043" y="970388"/>
                    <a:pt x="832789" y="116060"/>
                    <a:pt x="797327" y="87045"/>
                  </a:cubicBezTo>
                  <a:cubicBezTo>
                    <a:pt x="761865" y="58030"/>
                    <a:pt x="561984" y="0"/>
                    <a:pt x="561984" y="0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AE38F2EF-DAC1-4F3B-A61B-16E579F0EAF4}"/>
                </a:ext>
              </a:extLst>
            </p:cNvPr>
            <p:cNvSpPr/>
            <p:nvPr/>
          </p:nvSpPr>
          <p:spPr>
            <a:xfrm>
              <a:off x="26000789" y="9350315"/>
              <a:ext cx="46469" cy="623544"/>
            </a:xfrm>
            <a:custGeom>
              <a:avLst/>
              <a:gdLst>
                <a:gd name="connsiteX0" fmla="*/ 6448 w 46469"/>
                <a:gd name="connsiteY0" fmla="*/ 623544 h 623544"/>
                <a:gd name="connsiteX1" fmla="*/ 6448 w 46469"/>
                <a:gd name="connsiteY1" fmla="*/ 623544 h 623544"/>
                <a:gd name="connsiteX2" fmla="*/ 0 w 46469"/>
                <a:gd name="connsiteY2" fmla="*/ 617097 h 623544"/>
                <a:gd name="connsiteX3" fmla="*/ 35462 w 46469"/>
                <a:gd name="connsiteY3" fmla="*/ 4559 h 623544"/>
                <a:gd name="connsiteX4" fmla="*/ 41910 w 46469"/>
                <a:gd name="connsiteY4" fmla="*/ 1335 h 623544"/>
                <a:gd name="connsiteX5" fmla="*/ 45133 w 46469"/>
                <a:gd name="connsiteY5" fmla="*/ 7783 h 623544"/>
                <a:gd name="connsiteX6" fmla="*/ 9671 w 46469"/>
                <a:gd name="connsiteY6" fmla="*/ 617097 h 623544"/>
                <a:gd name="connsiteX7" fmla="*/ 6448 w 46469"/>
                <a:gd name="connsiteY7" fmla="*/ 623544 h 623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469" h="623544">
                  <a:moveTo>
                    <a:pt x="6448" y="623544"/>
                  </a:moveTo>
                  <a:cubicBezTo>
                    <a:pt x="6448" y="623544"/>
                    <a:pt x="6448" y="623544"/>
                    <a:pt x="6448" y="623544"/>
                  </a:cubicBezTo>
                  <a:cubicBezTo>
                    <a:pt x="3223" y="623544"/>
                    <a:pt x="0" y="620320"/>
                    <a:pt x="0" y="617097"/>
                  </a:cubicBezTo>
                  <a:cubicBezTo>
                    <a:pt x="0" y="594530"/>
                    <a:pt x="29014" y="40022"/>
                    <a:pt x="35462" y="4559"/>
                  </a:cubicBezTo>
                  <a:cubicBezTo>
                    <a:pt x="35462" y="1335"/>
                    <a:pt x="38687" y="-1888"/>
                    <a:pt x="41910" y="1335"/>
                  </a:cubicBezTo>
                  <a:cubicBezTo>
                    <a:pt x="45133" y="1335"/>
                    <a:pt x="48358" y="4559"/>
                    <a:pt x="45133" y="7783"/>
                  </a:cubicBezTo>
                  <a:cubicBezTo>
                    <a:pt x="38687" y="40022"/>
                    <a:pt x="9671" y="610649"/>
                    <a:pt x="9671" y="617097"/>
                  </a:cubicBezTo>
                  <a:cubicBezTo>
                    <a:pt x="12894" y="620320"/>
                    <a:pt x="9671" y="623544"/>
                    <a:pt x="6448" y="623544"/>
                  </a:cubicBez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59849C1E-DBB5-41D6-8FDC-C4FA416796EA}"/>
                </a:ext>
              </a:extLst>
            </p:cNvPr>
            <p:cNvSpPr/>
            <p:nvPr/>
          </p:nvSpPr>
          <p:spPr>
            <a:xfrm>
              <a:off x="26874460" y="9493501"/>
              <a:ext cx="571729" cy="925253"/>
            </a:xfrm>
            <a:custGeom>
              <a:avLst/>
              <a:gdLst>
                <a:gd name="connsiteX0" fmla="*/ 0 w 571729"/>
                <a:gd name="connsiteY0" fmla="*/ 157970 h 925253"/>
                <a:gd name="connsiteX1" fmla="*/ 344956 w 571729"/>
                <a:gd name="connsiteY1" fmla="*/ 454567 h 925253"/>
                <a:gd name="connsiteX2" fmla="*/ 109613 w 571729"/>
                <a:gd name="connsiteY2" fmla="*/ 847880 h 925253"/>
                <a:gd name="connsiteX3" fmla="*/ 190210 w 571729"/>
                <a:gd name="connsiteY3" fmla="*/ 925253 h 925253"/>
                <a:gd name="connsiteX4" fmla="*/ 570627 w 571729"/>
                <a:gd name="connsiteY4" fmla="*/ 422328 h 925253"/>
                <a:gd name="connsiteX5" fmla="*/ 161194 w 571729"/>
                <a:gd name="connsiteY5" fmla="*/ 0 h 925253"/>
                <a:gd name="connsiteX6" fmla="*/ 0 w 571729"/>
                <a:gd name="connsiteY6" fmla="*/ 157970 h 92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729" h="925253">
                  <a:moveTo>
                    <a:pt x="0" y="157970"/>
                  </a:moveTo>
                  <a:lnTo>
                    <a:pt x="344956" y="454567"/>
                  </a:lnTo>
                  <a:lnTo>
                    <a:pt x="109613" y="847880"/>
                  </a:lnTo>
                  <a:lnTo>
                    <a:pt x="190210" y="925253"/>
                  </a:lnTo>
                  <a:cubicBezTo>
                    <a:pt x="190210" y="925253"/>
                    <a:pt x="548060" y="528716"/>
                    <a:pt x="570627" y="422328"/>
                  </a:cubicBezTo>
                  <a:cubicBezTo>
                    <a:pt x="596418" y="319164"/>
                    <a:pt x="161194" y="0"/>
                    <a:pt x="161194" y="0"/>
                  </a:cubicBezTo>
                  <a:lnTo>
                    <a:pt x="0" y="157970"/>
                  </a:ln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ACABBD8E-A6C7-4469-A972-344ADB9EA62B}"/>
                </a:ext>
              </a:extLst>
            </p:cNvPr>
            <p:cNvSpPr/>
            <p:nvPr/>
          </p:nvSpPr>
          <p:spPr>
            <a:xfrm>
              <a:off x="26935715" y="9706277"/>
              <a:ext cx="341730" cy="248238"/>
            </a:xfrm>
            <a:custGeom>
              <a:avLst/>
              <a:gdLst>
                <a:gd name="connsiteX0" fmla="*/ 283701 w 341730"/>
                <a:gd name="connsiteY0" fmla="*/ 248239 h 248238"/>
                <a:gd name="connsiteX1" fmla="*/ 280478 w 341730"/>
                <a:gd name="connsiteY1" fmla="*/ 248239 h 248238"/>
                <a:gd name="connsiteX2" fmla="*/ 0 w 341730"/>
                <a:gd name="connsiteY2" fmla="*/ 9672 h 248238"/>
                <a:gd name="connsiteX3" fmla="*/ 6448 w 341730"/>
                <a:gd name="connsiteY3" fmla="*/ 0 h 248238"/>
                <a:gd name="connsiteX4" fmla="*/ 283701 w 341730"/>
                <a:gd name="connsiteY4" fmla="*/ 238567 h 248238"/>
                <a:gd name="connsiteX5" fmla="*/ 335282 w 341730"/>
                <a:gd name="connsiteY5" fmla="*/ 228896 h 248238"/>
                <a:gd name="connsiteX6" fmla="*/ 341731 w 341730"/>
                <a:gd name="connsiteY6" fmla="*/ 232119 h 248238"/>
                <a:gd name="connsiteX7" fmla="*/ 338507 w 341730"/>
                <a:gd name="connsiteY7" fmla="*/ 238567 h 248238"/>
                <a:gd name="connsiteX8" fmla="*/ 283701 w 341730"/>
                <a:gd name="connsiteY8" fmla="*/ 248239 h 248238"/>
                <a:gd name="connsiteX9" fmla="*/ 283701 w 341730"/>
                <a:gd name="connsiteY9" fmla="*/ 248239 h 24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1730" h="248238">
                  <a:moveTo>
                    <a:pt x="283701" y="248239"/>
                  </a:moveTo>
                  <a:cubicBezTo>
                    <a:pt x="283701" y="248239"/>
                    <a:pt x="280478" y="248239"/>
                    <a:pt x="280478" y="248239"/>
                  </a:cubicBezTo>
                  <a:cubicBezTo>
                    <a:pt x="206327" y="183761"/>
                    <a:pt x="0" y="9672"/>
                    <a:pt x="0" y="9672"/>
                  </a:cubicBezTo>
                  <a:lnTo>
                    <a:pt x="6448" y="0"/>
                  </a:lnTo>
                  <a:cubicBezTo>
                    <a:pt x="6448" y="0"/>
                    <a:pt x="206327" y="170866"/>
                    <a:pt x="283701" y="238567"/>
                  </a:cubicBezTo>
                  <a:cubicBezTo>
                    <a:pt x="293372" y="238567"/>
                    <a:pt x="322388" y="232119"/>
                    <a:pt x="335282" y="228896"/>
                  </a:cubicBezTo>
                  <a:cubicBezTo>
                    <a:pt x="338507" y="228896"/>
                    <a:pt x="341731" y="228896"/>
                    <a:pt x="341731" y="232119"/>
                  </a:cubicBezTo>
                  <a:cubicBezTo>
                    <a:pt x="341731" y="235343"/>
                    <a:pt x="341731" y="238567"/>
                    <a:pt x="338507" y="238567"/>
                  </a:cubicBezTo>
                  <a:cubicBezTo>
                    <a:pt x="325611" y="241791"/>
                    <a:pt x="286924" y="245015"/>
                    <a:pt x="283701" y="248239"/>
                  </a:cubicBezTo>
                  <a:cubicBezTo>
                    <a:pt x="283701" y="248239"/>
                    <a:pt x="283701" y="248239"/>
                    <a:pt x="283701" y="248239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FC4C4F26-97C8-4FB4-BBEC-6E6CBB32E66F}"/>
                </a:ext>
              </a:extLst>
            </p:cNvPr>
            <p:cNvSpPr/>
            <p:nvPr/>
          </p:nvSpPr>
          <p:spPr>
            <a:xfrm>
              <a:off x="26613044" y="9305732"/>
              <a:ext cx="493536" cy="448903"/>
            </a:xfrm>
            <a:custGeom>
              <a:avLst/>
              <a:gdLst>
                <a:gd name="connsiteX0" fmla="*/ 493536 w 493536"/>
                <a:gd name="connsiteY0" fmla="*/ 190993 h 448903"/>
                <a:gd name="connsiteX1" fmla="*/ 22851 w 493536"/>
                <a:gd name="connsiteY1" fmla="*/ 13679 h 448903"/>
                <a:gd name="connsiteX2" fmla="*/ 251745 w 493536"/>
                <a:gd name="connsiteY2" fmla="*/ 448903 h 448903"/>
                <a:gd name="connsiteX3" fmla="*/ 493536 w 493536"/>
                <a:gd name="connsiteY3" fmla="*/ 190993 h 448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3536" h="448903">
                  <a:moveTo>
                    <a:pt x="493536" y="190993"/>
                  </a:moveTo>
                  <a:cubicBezTo>
                    <a:pt x="493536" y="190993"/>
                    <a:pt x="119567" y="-60470"/>
                    <a:pt x="22851" y="13679"/>
                  </a:cubicBezTo>
                  <a:cubicBezTo>
                    <a:pt x="-89985" y="100724"/>
                    <a:pt x="251745" y="448903"/>
                    <a:pt x="251745" y="448903"/>
                  </a:cubicBezTo>
                  <a:cubicBezTo>
                    <a:pt x="251745" y="448903"/>
                    <a:pt x="419387" y="355411"/>
                    <a:pt x="493536" y="190993"/>
                  </a:cubicBezTo>
                  <a:close/>
                </a:path>
              </a:pathLst>
            </a:custGeom>
            <a:solidFill>
              <a:srgbClr val="6C5D6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39C61492-92BC-4E2E-B12D-0484DE75667A}"/>
                </a:ext>
              </a:extLst>
            </p:cNvPr>
            <p:cNvSpPr/>
            <p:nvPr/>
          </p:nvSpPr>
          <p:spPr>
            <a:xfrm>
              <a:off x="26615589" y="9312963"/>
              <a:ext cx="354781" cy="451343"/>
            </a:xfrm>
            <a:custGeom>
              <a:avLst/>
              <a:gdLst>
                <a:gd name="connsiteX0" fmla="*/ 249200 w 354781"/>
                <a:gd name="connsiteY0" fmla="*/ 451343 h 451343"/>
                <a:gd name="connsiteX1" fmla="*/ 245977 w 354781"/>
                <a:gd name="connsiteY1" fmla="*/ 448119 h 451343"/>
                <a:gd name="connsiteX2" fmla="*/ 55767 w 354781"/>
                <a:gd name="connsiteY2" fmla="*/ 212776 h 451343"/>
                <a:gd name="connsiteX3" fmla="*/ 17080 w 354781"/>
                <a:gd name="connsiteY3" fmla="*/ 3224 h 451343"/>
                <a:gd name="connsiteX4" fmla="*/ 26751 w 354781"/>
                <a:gd name="connsiteY4" fmla="*/ 0 h 451343"/>
                <a:gd name="connsiteX5" fmla="*/ 29976 w 354781"/>
                <a:gd name="connsiteY5" fmla="*/ 9672 h 451343"/>
                <a:gd name="connsiteX6" fmla="*/ 68663 w 354781"/>
                <a:gd name="connsiteY6" fmla="*/ 206328 h 451343"/>
                <a:gd name="connsiteX7" fmla="*/ 255648 w 354781"/>
                <a:gd name="connsiteY7" fmla="*/ 435224 h 451343"/>
                <a:gd name="connsiteX8" fmla="*/ 342693 w 354781"/>
                <a:gd name="connsiteY8" fmla="*/ 370746 h 451343"/>
                <a:gd name="connsiteX9" fmla="*/ 352364 w 354781"/>
                <a:gd name="connsiteY9" fmla="*/ 370746 h 451343"/>
                <a:gd name="connsiteX10" fmla="*/ 352364 w 354781"/>
                <a:gd name="connsiteY10" fmla="*/ 380418 h 451343"/>
                <a:gd name="connsiteX11" fmla="*/ 258871 w 354781"/>
                <a:gd name="connsiteY11" fmla="*/ 448119 h 451343"/>
                <a:gd name="connsiteX12" fmla="*/ 249200 w 354781"/>
                <a:gd name="connsiteY12" fmla="*/ 451343 h 451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4781" h="451343">
                  <a:moveTo>
                    <a:pt x="249200" y="451343"/>
                  </a:moveTo>
                  <a:lnTo>
                    <a:pt x="245977" y="448119"/>
                  </a:lnTo>
                  <a:cubicBezTo>
                    <a:pt x="245977" y="448119"/>
                    <a:pt x="146035" y="335283"/>
                    <a:pt x="55767" y="212776"/>
                  </a:cubicBezTo>
                  <a:cubicBezTo>
                    <a:pt x="-37727" y="87045"/>
                    <a:pt x="13857" y="6448"/>
                    <a:pt x="17080" y="3224"/>
                  </a:cubicBezTo>
                  <a:cubicBezTo>
                    <a:pt x="20305" y="0"/>
                    <a:pt x="23528" y="0"/>
                    <a:pt x="26751" y="0"/>
                  </a:cubicBezTo>
                  <a:cubicBezTo>
                    <a:pt x="29976" y="3224"/>
                    <a:pt x="29976" y="6448"/>
                    <a:pt x="29976" y="9672"/>
                  </a:cubicBezTo>
                  <a:cubicBezTo>
                    <a:pt x="26751" y="12895"/>
                    <a:pt x="-18382" y="87045"/>
                    <a:pt x="68663" y="206328"/>
                  </a:cubicBezTo>
                  <a:cubicBezTo>
                    <a:pt x="149260" y="315940"/>
                    <a:pt x="239528" y="415880"/>
                    <a:pt x="255648" y="435224"/>
                  </a:cubicBezTo>
                  <a:cubicBezTo>
                    <a:pt x="268542" y="428776"/>
                    <a:pt x="310454" y="402985"/>
                    <a:pt x="342693" y="370746"/>
                  </a:cubicBezTo>
                  <a:cubicBezTo>
                    <a:pt x="345916" y="367522"/>
                    <a:pt x="349139" y="367522"/>
                    <a:pt x="352364" y="370746"/>
                  </a:cubicBezTo>
                  <a:cubicBezTo>
                    <a:pt x="355587" y="373970"/>
                    <a:pt x="355587" y="377194"/>
                    <a:pt x="352364" y="380418"/>
                  </a:cubicBezTo>
                  <a:cubicBezTo>
                    <a:pt x="313677" y="419104"/>
                    <a:pt x="262096" y="448119"/>
                    <a:pt x="258871" y="448119"/>
                  </a:cubicBezTo>
                  <a:lnTo>
                    <a:pt x="249200" y="451343"/>
                  </a:ln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00D443F5-EDF5-4FDC-B2E5-46582BDFCCC1}"/>
                </a:ext>
              </a:extLst>
            </p:cNvPr>
            <p:cNvSpPr/>
            <p:nvPr/>
          </p:nvSpPr>
          <p:spPr>
            <a:xfrm>
              <a:off x="25092263" y="10059242"/>
              <a:ext cx="234734" cy="171418"/>
            </a:xfrm>
            <a:custGeom>
              <a:avLst/>
              <a:gdLst>
                <a:gd name="connsiteX0" fmla="*/ 102556 w 234734"/>
                <a:gd name="connsiteY0" fmla="*/ 166079 h 171418"/>
                <a:gd name="connsiteX1" fmla="*/ 218615 w 234734"/>
                <a:gd name="connsiteY1" fmla="*/ 156408 h 171418"/>
                <a:gd name="connsiteX2" fmla="*/ 234734 w 234734"/>
                <a:gd name="connsiteY2" fmla="*/ 40348 h 171418"/>
                <a:gd name="connsiteX3" fmla="*/ 5840 w 234734"/>
                <a:gd name="connsiteY3" fmla="*/ 17781 h 171418"/>
                <a:gd name="connsiteX4" fmla="*/ 9063 w 234734"/>
                <a:gd name="connsiteY4" fmla="*/ 59691 h 171418"/>
                <a:gd name="connsiteX5" fmla="*/ 9063 w 234734"/>
                <a:gd name="connsiteY5" fmla="*/ 108050 h 171418"/>
                <a:gd name="connsiteX6" fmla="*/ 31630 w 234734"/>
                <a:gd name="connsiteY6" fmla="*/ 130617 h 171418"/>
                <a:gd name="connsiteX7" fmla="*/ 67092 w 234734"/>
                <a:gd name="connsiteY7" fmla="*/ 159632 h 171418"/>
                <a:gd name="connsiteX8" fmla="*/ 102556 w 234734"/>
                <a:gd name="connsiteY8" fmla="*/ 166079 h 17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4734" h="171418">
                  <a:moveTo>
                    <a:pt x="102556" y="166079"/>
                  </a:moveTo>
                  <a:cubicBezTo>
                    <a:pt x="138018" y="162856"/>
                    <a:pt x="192824" y="185422"/>
                    <a:pt x="218615" y="156408"/>
                  </a:cubicBezTo>
                  <a:cubicBezTo>
                    <a:pt x="234734" y="137064"/>
                    <a:pt x="234734" y="40348"/>
                    <a:pt x="234734" y="40348"/>
                  </a:cubicBezTo>
                  <a:cubicBezTo>
                    <a:pt x="202496" y="-24130"/>
                    <a:pt x="60646" y="4885"/>
                    <a:pt x="5840" y="17781"/>
                  </a:cubicBezTo>
                  <a:cubicBezTo>
                    <a:pt x="-3832" y="21005"/>
                    <a:pt x="-608" y="56467"/>
                    <a:pt x="9063" y="59691"/>
                  </a:cubicBezTo>
                  <a:cubicBezTo>
                    <a:pt x="25182" y="62915"/>
                    <a:pt x="5840" y="98378"/>
                    <a:pt x="9063" y="108050"/>
                  </a:cubicBezTo>
                  <a:cubicBezTo>
                    <a:pt x="12288" y="117721"/>
                    <a:pt x="28407" y="130617"/>
                    <a:pt x="31630" y="130617"/>
                  </a:cubicBezTo>
                  <a:cubicBezTo>
                    <a:pt x="41302" y="143512"/>
                    <a:pt x="63869" y="149960"/>
                    <a:pt x="67092" y="159632"/>
                  </a:cubicBezTo>
                  <a:cubicBezTo>
                    <a:pt x="73540" y="169303"/>
                    <a:pt x="79989" y="166079"/>
                    <a:pt x="102556" y="166079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6" name="图形 1">
              <a:extLst>
                <a:ext uri="{FF2B5EF4-FFF2-40B4-BE49-F238E27FC236}">
                  <a16:creationId xmlns:a16="http://schemas.microsoft.com/office/drawing/2014/main" id="{ABE594BF-4163-46A9-B516-1F4F6EC7A1FC}"/>
                </a:ext>
              </a:extLst>
            </p:cNvPr>
            <p:cNvGrpSpPr/>
            <p:nvPr/>
          </p:nvGrpSpPr>
          <p:grpSpPr>
            <a:xfrm>
              <a:off x="26825950" y="10325632"/>
              <a:ext cx="258414" cy="199510"/>
              <a:chOff x="26825950" y="10325632"/>
              <a:chExt cx="258414" cy="199510"/>
            </a:xfrm>
          </p:grpSpPr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2E658D21-980E-453F-A385-E4E8D0539632}"/>
                  </a:ext>
                </a:extLst>
              </p:cNvPr>
              <p:cNvSpPr/>
              <p:nvPr/>
            </p:nvSpPr>
            <p:spPr>
              <a:xfrm>
                <a:off x="26825950" y="10325632"/>
                <a:ext cx="161683" cy="77002"/>
              </a:xfrm>
              <a:custGeom>
                <a:avLst/>
                <a:gdLst>
                  <a:gd name="connsiteX0" fmla="*/ 54959 w 161683"/>
                  <a:gd name="connsiteY0" fmla="*/ 9302 h 77002"/>
                  <a:gd name="connsiteX1" fmla="*/ 3378 w 161683"/>
                  <a:gd name="connsiteY1" fmla="*/ 54436 h 77002"/>
                  <a:gd name="connsiteX2" fmla="*/ 19497 w 161683"/>
                  <a:gd name="connsiteY2" fmla="*/ 77003 h 77002"/>
                  <a:gd name="connsiteX3" fmla="*/ 74301 w 161683"/>
                  <a:gd name="connsiteY3" fmla="*/ 54436 h 77002"/>
                  <a:gd name="connsiteX4" fmla="*/ 132333 w 161683"/>
                  <a:gd name="connsiteY4" fmla="*/ 41541 h 77002"/>
                  <a:gd name="connsiteX5" fmla="*/ 138779 w 161683"/>
                  <a:gd name="connsiteY5" fmla="*/ 31869 h 77002"/>
                  <a:gd name="connsiteX6" fmla="*/ 158123 w 161683"/>
                  <a:gd name="connsiteY6" fmla="*/ 12525 h 77002"/>
                  <a:gd name="connsiteX7" fmla="*/ 54959 w 161683"/>
                  <a:gd name="connsiteY7" fmla="*/ 9302 h 77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1683" h="77002">
                    <a:moveTo>
                      <a:pt x="54959" y="9302"/>
                    </a:moveTo>
                    <a:cubicBezTo>
                      <a:pt x="32391" y="18973"/>
                      <a:pt x="19497" y="35093"/>
                      <a:pt x="3378" y="54436"/>
                    </a:cubicBezTo>
                    <a:cubicBezTo>
                      <a:pt x="-6296" y="64107"/>
                      <a:pt x="6601" y="77003"/>
                      <a:pt x="19497" y="77003"/>
                    </a:cubicBezTo>
                    <a:cubicBezTo>
                      <a:pt x="42063" y="77003"/>
                      <a:pt x="54959" y="60883"/>
                      <a:pt x="74301" y="54436"/>
                    </a:cubicBezTo>
                    <a:cubicBezTo>
                      <a:pt x="93646" y="47988"/>
                      <a:pt x="112988" y="51212"/>
                      <a:pt x="132333" y="41541"/>
                    </a:cubicBezTo>
                    <a:cubicBezTo>
                      <a:pt x="135556" y="38317"/>
                      <a:pt x="138779" y="35093"/>
                      <a:pt x="138779" y="31869"/>
                    </a:cubicBezTo>
                    <a:cubicBezTo>
                      <a:pt x="145227" y="25421"/>
                      <a:pt x="171018" y="22197"/>
                      <a:pt x="158123" y="12525"/>
                    </a:cubicBezTo>
                    <a:cubicBezTo>
                      <a:pt x="122660" y="-6817"/>
                      <a:pt x="77526" y="-370"/>
                      <a:pt x="54959" y="930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0B9CD760-D326-4B6D-8D63-C9FB02ECE3EB}"/>
                  </a:ext>
                </a:extLst>
              </p:cNvPr>
              <p:cNvSpPr/>
              <p:nvPr/>
            </p:nvSpPr>
            <p:spPr>
              <a:xfrm>
                <a:off x="26858341" y="10331047"/>
                <a:ext cx="226023" cy="184850"/>
              </a:xfrm>
              <a:custGeom>
                <a:avLst/>
                <a:gdLst>
                  <a:gd name="connsiteX0" fmla="*/ 106388 w 226023"/>
                  <a:gd name="connsiteY0" fmla="*/ 171528 h 184850"/>
                  <a:gd name="connsiteX1" fmla="*/ 64478 w 226023"/>
                  <a:gd name="connsiteY1" fmla="*/ 158633 h 184850"/>
                  <a:gd name="connsiteX2" fmla="*/ 35464 w 226023"/>
                  <a:gd name="connsiteY2" fmla="*/ 129618 h 184850"/>
                  <a:gd name="connsiteX3" fmla="*/ 0 w 226023"/>
                  <a:gd name="connsiteY3" fmla="*/ 119946 h 184850"/>
                  <a:gd name="connsiteX4" fmla="*/ 3225 w 226023"/>
                  <a:gd name="connsiteY4" fmla="*/ 103827 h 184850"/>
                  <a:gd name="connsiteX5" fmla="*/ 3225 w 226023"/>
                  <a:gd name="connsiteY5" fmla="*/ 103827 h 184850"/>
                  <a:gd name="connsiteX6" fmla="*/ 64478 w 226023"/>
                  <a:gd name="connsiteY6" fmla="*/ 39349 h 184850"/>
                  <a:gd name="connsiteX7" fmla="*/ 67703 w 226023"/>
                  <a:gd name="connsiteY7" fmla="*/ 36126 h 184850"/>
                  <a:gd name="connsiteX8" fmla="*/ 67703 w 226023"/>
                  <a:gd name="connsiteY8" fmla="*/ 36126 h 184850"/>
                  <a:gd name="connsiteX9" fmla="*/ 132180 w 226023"/>
                  <a:gd name="connsiteY9" fmla="*/ 663 h 184850"/>
                  <a:gd name="connsiteX10" fmla="*/ 225672 w 226023"/>
                  <a:gd name="connsiteY10" fmla="*/ 68365 h 184850"/>
                  <a:gd name="connsiteX11" fmla="*/ 183762 w 226023"/>
                  <a:gd name="connsiteY11" fmla="*/ 145738 h 184850"/>
                  <a:gd name="connsiteX12" fmla="*/ 183762 w 226023"/>
                  <a:gd name="connsiteY12" fmla="*/ 145738 h 184850"/>
                  <a:gd name="connsiteX13" fmla="*/ 135403 w 226023"/>
                  <a:gd name="connsiteY13" fmla="*/ 184424 h 184850"/>
                  <a:gd name="connsiteX14" fmla="*/ 106388 w 226023"/>
                  <a:gd name="connsiteY14" fmla="*/ 171528 h 184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6023" h="184850">
                    <a:moveTo>
                      <a:pt x="106388" y="171528"/>
                    </a:moveTo>
                    <a:cubicBezTo>
                      <a:pt x="70926" y="184424"/>
                      <a:pt x="64478" y="158633"/>
                      <a:pt x="64478" y="158633"/>
                    </a:cubicBezTo>
                    <a:cubicBezTo>
                      <a:pt x="22568" y="165081"/>
                      <a:pt x="35464" y="129618"/>
                      <a:pt x="35464" y="129618"/>
                    </a:cubicBezTo>
                    <a:cubicBezTo>
                      <a:pt x="35464" y="129618"/>
                      <a:pt x="3225" y="148962"/>
                      <a:pt x="0" y="119946"/>
                    </a:cubicBezTo>
                    <a:cubicBezTo>
                      <a:pt x="0" y="116723"/>
                      <a:pt x="0" y="110275"/>
                      <a:pt x="3225" y="103827"/>
                    </a:cubicBezTo>
                    <a:cubicBezTo>
                      <a:pt x="3225" y="103827"/>
                      <a:pt x="3225" y="103827"/>
                      <a:pt x="3225" y="103827"/>
                    </a:cubicBezTo>
                    <a:cubicBezTo>
                      <a:pt x="3225" y="103827"/>
                      <a:pt x="25791" y="68365"/>
                      <a:pt x="64478" y="39349"/>
                    </a:cubicBezTo>
                    <a:cubicBezTo>
                      <a:pt x="67703" y="36126"/>
                      <a:pt x="67703" y="36126"/>
                      <a:pt x="67703" y="36126"/>
                    </a:cubicBezTo>
                    <a:lnTo>
                      <a:pt x="67703" y="36126"/>
                    </a:lnTo>
                    <a:cubicBezTo>
                      <a:pt x="80597" y="26454"/>
                      <a:pt x="112836" y="7110"/>
                      <a:pt x="132180" y="663"/>
                    </a:cubicBezTo>
                    <a:cubicBezTo>
                      <a:pt x="154746" y="-5785"/>
                      <a:pt x="219223" y="36126"/>
                      <a:pt x="225672" y="68365"/>
                    </a:cubicBezTo>
                    <a:cubicBezTo>
                      <a:pt x="228897" y="84484"/>
                      <a:pt x="209552" y="119946"/>
                      <a:pt x="183762" y="145738"/>
                    </a:cubicBezTo>
                    <a:lnTo>
                      <a:pt x="183762" y="145738"/>
                    </a:lnTo>
                    <a:cubicBezTo>
                      <a:pt x="183762" y="145738"/>
                      <a:pt x="161194" y="177977"/>
                      <a:pt x="135403" y="184424"/>
                    </a:cubicBezTo>
                    <a:cubicBezTo>
                      <a:pt x="109613" y="187648"/>
                      <a:pt x="106388" y="171528"/>
                      <a:pt x="106388" y="171528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396A2194-3CB1-4D69-B2B4-D0F7AB1AF13B}"/>
                  </a:ext>
                </a:extLst>
              </p:cNvPr>
              <p:cNvSpPr/>
              <p:nvPr/>
            </p:nvSpPr>
            <p:spPr>
              <a:xfrm>
                <a:off x="26851763" y="10361531"/>
                <a:ext cx="195980" cy="163612"/>
              </a:xfrm>
              <a:custGeom>
                <a:avLst/>
                <a:gdLst>
                  <a:gd name="connsiteX0" fmla="*/ 132309 w 195980"/>
                  <a:gd name="connsiteY0" fmla="*/ 160388 h 163612"/>
                  <a:gd name="connsiteX1" fmla="*/ 116190 w 195980"/>
                  <a:gd name="connsiteY1" fmla="*/ 157164 h 163612"/>
                  <a:gd name="connsiteX2" fmla="*/ 109742 w 195980"/>
                  <a:gd name="connsiteY2" fmla="*/ 150717 h 163612"/>
                  <a:gd name="connsiteX3" fmla="*/ 80726 w 195980"/>
                  <a:gd name="connsiteY3" fmla="*/ 150717 h 163612"/>
                  <a:gd name="connsiteX4" fmla="*/ 71055 w 195980"/>
                  <a:gd name="connsiteY4" fmla="*/ 137820 h 163612"/>
                  <a:gd name="connsiteX5" fmla="*/ 42041 w 195980"/>
                  <a:gd name="connsiteY5" fmla="*/ 128149 h 163612"/>
                  <a:gd name="connsiteX6" fmla="*/ 35593 w 195980"/>
                  <a:gd name="connsiteY6" fmla="*/ 108806 h 163612"/>
                  <a:gd name="connsiteX7" fmla="*/ 13026 w 195980"/>
                  <a:gd name="connsiteY7" fmla="*/ 108806 h 163612"/>
                  <a:gd name="connsiteX8" fmla="*/ 129 w 195980"/>
                  <a:gd name="connsiteY8" fmla="*/ 92686 h 163612"/>
                  <a:gd name="connsiteX9" fmla="*/ 67832 w 195980"/>
                  <a:gd name="connsiteY9" fmla="*/ 2418 h 163612"/>
                  <a:gd name="connsiteX10" fmla="*/ 77503 w 195980"/>
                  <a:gd name="connsiteY10" fmla="*/ 2418 h 163612"/>
                  <a:gd name="connsiteX11" fmla="*/ 77503 w 195980"/>
                  <a:gd name="connsiteY11" fmla="*/ 12089 h 163612"/>
                  <a:gd name="connsiteX12" fmla="*/ 13026 w 195980"/>
                  <a:gd name="connsiteY12" fmla="*/ 92686 h 163612"/>
                  <a:gd name="connsiteX13" fmla="*/ 16249 w 195980"/>
                  <a:gd name="connsiteY13" fmla="*/ 99134 h 163612"/>
                  <a:gd name="connsiteX14" fmla="*/ 38816 w 195980"/>
                  <a:gd name="connsiteY14" fmla="*/ 95910 h 163612"/>
                  <a:gd name="connsiteX15" fmla="*/ 45264 w 195980"/>
                  <a:gd name="connsiteY15" fmla="*/ 95910 h 163612"/>
                  <a:gd name="connsiteX16" fmla="*/ 48487 w 195980"/>
                  <a:gd name="connsiteY16" fmla="*/ 102359 h 163612"/>
                  <a:gd name="connsiteX17" fmla="*/ 48487 w 195980"/>
                  <a:gd name="connsiteY17" fmla="*/ 121701 h 163612"/>
                  <a:gd name="connsiteX18" fmla="*/ 71055 w 195980"/>
                  <a:gd name="connsiteY18" fmla="*/ 124925 h 163612"/>
                  <a:gd name="connsiteX19" fmla="*/ 77503 w 195980"/>
                  <a:gd name="connsiteY19" fmla="*/ 131373 h 163612"/>
                  <a:gd name="connsiteX20" fmla="*/ 83951 w 195980"/>
                  <a:gd name="connsiteY20" fmla="*/ 141045 h 163612"/>
                  <a:gd name="connsiteX21" fmla="*/ 109742 w 195980"/>
                  <a:gd name="connsiteY21" fmla="*/ 137820 h 163612"/>
                  <a:gd name="connsiteX22" fmla="*/ 116190 w 195980"/>
                  <a:gd name="connsiteY22" fmla="*/ 137820 h 163612"/>
                  <a:gd name="connsiteX23" fmla="*/ 119413 w 195980"/>
                  <a:gd name="connsiteY23" fmla="*/ 141045 h 163612"/>
                  <a:gd name="connsiteX24" fmla="*/ 122638 w 195980"/>
                  <a:gd name="connsiteY24" fmla="*/ 147493 h 163612"/>
                  <a:gd name="connsiteX25" fmla="*/ 138758 w 195980"/>
                  <a:gd name="connsiteY25" fmla="*/ 147493 h 163612"/>
                  <a:gd name="connsiteX26" fmla="*/ 183891 w 195980"/>
                  <a:gd name="connsiteY26" fmla="*/ 112030 h 163612"/>
                  <a:gd name="connsiteX27" fmla="*/ 193562 w 195980"/>
                  <a:gd name="connsiteY27" fmla="*/ 112030 h 163612"/>
                  <a:gd name="connsiteX28" fmla="*/ 193562 w 195980"/>
                  <a:gd name="connsiteY28" fmla="*/ 121701 h 163612"/>
                  <a:gd name="connsiteX29" fmla="*/ 141981 w 195980"/>
                  <a:gd name="connsiteY29" fmla="*/ 163612 h 163612"/>
                  <a:gd name="connsiteX30" fmla="*/ 132309 w 195980"/>
                  <a:gd name="connsiteY30" fmla="*/ 160388 h 163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95980" h="163612">
                    <a:moveTo>
                      <a:pt x="132309" y="160388"/>
                    </a:moveTo>
                    <a:cubicBezTo>
                      <a:pt x="125861" y="160388"/>
                      <a:pt x="122638" y="160388"/>
                      <a:pt x="116190" y="157164"/>
                    </a:cubicBezTo>
                    <a:cubicBezTo>
                      <a:pt x="112965" y="153940"/>
                      <a:pt x="109742" y="153940"/>
                      <a:pt x="109742" y="150717"/>
                    </a:cubicBezTo>
                    <a:cubicBezTo>
                      <a:pt x="96846" y="153940"/>
                      <a:pt x="87174" y="153940"/>
                      <a:pt x="80726" y="150717"/>
                    </a:cubicBezTo>
                    <a:cubicBezTo>
                      <a:pt x="74280" y="147493"/>
                      <a:pt x="71055" y="141045"/>
                      <a:pt x="71055" y="137820"/>
                    </a:cubicBezTo>
                    <a:cubicBezTo>
                      <a:pt x="58161" y="137820"/>
                      <a:pt x="48487" y="137820"/>
                      <a:pt x="42041" y="128149"/>
                    </a:cubicBezTo>
                    <a:cubicBezTo>
                      <a:pt x="35593" y="121701"/>
                      <a:pt x="35593" y="115254"/>
                      <a:pt x="35593" y="108806"/>
                    </a:cubicBezTo>
                    <a:cubicBezTo>
                      <a:pt x="29145" y="112030"/>
                      <a:pt x="19474" y="112030"/>
                      <a:pt x="13026" y="108806"/>
                    </a:cubicBezTo>
                    <a:cubicBezTo>
                      <a:pt x="9802" y="105582"/>
                      <a:pt x="3354" y="102359"/>
                      <a:pt x="129" y="92686"/>
                    </a:cubicBezTo>
                    <a:cubicBezTo>
                      <a:pt x="-3094" y="63672"/>
                      <a:pt x="54936" y="12089"/>
                      <a:pt x="67832" y="2418"/>
                    </a:cubicBezTo>
                    <a:cubicBezTo>
                      <a:pt x="71055" y="-806"/>
                      <a:pt x="74280" y="-806"/>
                      <a:pt x="77503" y="2418"/>
                    </a:cubicBezTo>
                    <a:cubicBezTo>
                      <a:pt x="80726" y="5642"/>
                      <a:pt x="80726" y="8865"/>
                      <a:pt x="77503" y="12089"/>
                    </a:cubicBezTo>
                    <a:cubicBezTo>
                      <a:pt x="48487" y="34657"/>
                      <a:pt x="13026" y="76567"/>
                      <a:pt x="13026" y="92686"/>
                    </a:cubicBezTo>
                    <a:cubicBezTo>
                      <a:pt x="13026" y="99134"/>
                      <a:pt x="16249" y="99134"/>
                      <a:pt x="16249" y="99134"/>
                    </a:cubicBezTo>
                    <a:cubicBezTo>
                      <a:pt x="22697" y="102359"/>
                      <a:pt x="32368" y="95910"/>
                      <a:pt x="38816" y="95910"/>
                    </a:cubicBezTo>
                    <a:cubicBezTo>
                      <a:pt x="42041" y="95910"/>
                      <a:pt x="45264" y="95910"/>
                      <a:pt x="45264" y="95910"/>
                    </a:cubicBezTo>
                    <a:cubicBezTo>
                      <a:pt x="48487" y="99134"/>
                      <a:pt x="48487" y="99134"/>
                      <a:pt x="48487" y="102359"/>
                    </a:cubicBezTo>
                    <a:cubicBezTo>
                      <a:pt x="48487" y="105582"/>
                      <a:pt x="45264" y="115254"/>
                      <a:pt x="48487" y="121701"/>
                    </a:cubicBezTo>
                    <a:cubicBezTo>
                      <a:pt x="51712" y="128149"/>
                      <a:pt x="61384" y="124925"/>
                      <a:pt x="71055" y="124925"/>
                    </a:cubicBezTo>
                    <a:cubicBezTo>
                      <a:pt x="74280" y="124925"/>
                      <a:pt x="77503" y="128149"/>
                      <a:pt x="77503" y="131373"/>
                    </a:cubicBezTo>
                    <a:cubicBezTo>
                      <a:pt x="77503" y="131373"/>
                      <a:pt x="77503" y="137820"/>
                      <a:pt x="83951" y="141045"/>
                    </a:cubicBezTo>
                    <a:cubicBezTo>
                      <a:pt x="90399" y="144269"/>
                      <a:pt x="96846" y="144269"/>
                      <a:pt x="109742" y="137820"/>
                    </a:cubicBezTo>
                    <a:cubicBezTo>
                      <a:pt x="112965" y="137820"/>
                      <a:pt x="112965" y="137820"/>
                      <a:pt x="116190" y="137820"/>
                    </a:cubicBezTo>
                    <a:cubicBezTo>
                      <a:pt x="119413" y="137820"/>
                      <a:pt x="119413" y="141045"/>
                      <a:pt x="119413" y="141045"/>
                    </a:cubicBezTo>
                    <a:cubicBezTo>
                      <a:pt x="119413" y="141045"/>
                      <a:pt x="119413" y="144269"/>
                      <a:pt x="122638" y="147493"/>
                    </a:cubicBezTo>
                    <a:cubicBezTo>
                      <a:pt x="125861" y="150717"/>
                      <a:pt x="132309" y="150717"/>
                      <a:pt x="138758" y="147493"/>
                    </a:cubicBezTo>
                    <a:cubicBezTo>
                      <a:pt x="161323" y="141045"/>
                      <a:pt x="183891" y="112030"/>
                      <a:pt x="183891" y="112030"/>
                    </a:cubicBezTo>
                    <a:cubicBezTo>
                      <a:pt x="187116" y="108806"/>
                      <a:pt x="190339" y="108806"/>
                      <a:pt x="193562" y="112030"/>
                    </a:cubicBezTo>
                    <a:cubicBezTo>
                      <a:pt x="196787" y="115254"/>
                      <a:pt x="196787" y="118478"/>
                      <a:pt x="193562" y="121701"/>
                    </a:cubicBezTo>
                    <a:cubicBezTo>
                      <a:pt x="193562" y="121701"/>
                      <a:pt x="167771" y="157164"/>
                      <a:pt x="141981" y="163612"/>
                    </a:cubicBezTo>
                    <a:cubicBezTo>
                      <a:pt x="138758" y="160388"/>
                      <a:pt x="135533" y="160388"/>
                      <a:pt x="132309" y="1603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7" name="图形 1">
              <a:extLst>
                <a:ext uri="{FF2B5EF4-FFF2-40B4-BE49-F238E27FC236}">
                  <a16:creationId xmlns:a16="http://schemas.microsoft.com/office/drawing/2014/main" id="{26C27E50-4131-4483-A5A5-4D62CB1650F3}"/>
                </a:ext>
              </a:extLst>
            </p:cNvPr>
            <p:cNvGrpSpPr/>
            <p:nvPr/>
          </p:nvGrpSpPr>
          <p:grpSpPr>
            <a:xfrm>
              <a:off x="24830146" y="7693366"/>
              <a:ext cx="1142449" cy="3254053"/>
              <a:chOff x="24830146" y="7693366"/>
              <a:chExt cx="1142449" cy="3254053"/>
            </a:xfrm>
          </p:grpSpPr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CD7830DC-F33C-4E1C-B08E-A868AD0E1352}"/>
                  </a:ext>
                </a:extLst>
              </p:cNvPr>
              <p:cNvSpPr/>
              <p:nvPr/>
            </p:nvSpPr>
            <p:spPr>
              <a:xfrm>
                <a:off x="24957803" y="8947859"/>
                <a:ext cx="384430" cy="1999560"/>
              </a:xfrm>
              <a:custGeom>
                <a:avLst/>
                <a:gdLst>
                  <a:gd name="connsiteX0" fmla="*/ 211225 w 384430"/>
                  <a:gd name="connsiteY0" fmla="*/ 1032448 h 1999560"/>
                  <a:gd name="connsiteX1" fmla="*/ 56477 w 384430"/>
                  <a:gd name="connsiteY1" fmla="*/ 558537 h 1999560"/>
                  <a:gd name="connsiteX2" fmla="*/ 37135 w 384430"/>
                  <a:gd name="connsiteY2" fmla="*/ 16925 h 1999560"/>
                  <a:gd name="connsiteX3" fmla="*/ 1673 w 384430"/>
                  <a:gd name="connsiteY3" fmla="*/ 16925 h 1999560"/>
                  <a:gd name="connsiteX4" fmla="*/ 127403 w 384430"/>
                  <a:gd name="connsiteY4" fmla="*/ 932508 h 1999560"/>
                  <a:gd name="connsiteX5" fmla="*/ 324061 w 384430"/>
                  <a:gd name="connsiteY5" fmla="*/ 1977045 h 1999560"/>
                  <a:gd name="connsiteX6" fmla="*/ 359523 w 384430"/>
                  <a:gd name="connsiteY6" fmla="*/ 1986716 h 1999560"/>
                  <a:gd name="connsiteX7" fmla="*/ 211225 w 384430"/>
                  <a:gd name="connsiteY7" fmla="*/ 1032448 h 1999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430" h="1999560">
                    <a:moveTo>
                      <a:pt x="211225" y="1032448"/>
                    </a:moveTo>
                    <a:cubicBezTo>
                      <a:pt x="146748" y="877701"/>
                      <a:pt x="82270" y="726179"/>
                      <a:pt x="56477" y="558537"/>
                    </a:cubicBezTo>
                    <a:cubicBezTo>
                      <a:pt x="30687" y="378000"/>
                      <a:pt x="33912" y="197463"/>
                      <a:pt x="37135" y="16925"/>
                    </a:cubicBezTo>
                    <a:cubicBezTo>
                      <a:pt x="37135" y="-5642"/>
                      <a:pt x="1673" y="-5642"/>
                      <a:pt x="1673" y="16925"/>
                    </a:cubicBezTo>
                    <a:cubicBezTo>
                      <a:pt x="-4775" y="336090"/>
                      <a:pt x="1673" y="635910"/>
                      <a:pt x="127403" y="932508"/>
                    </a:cubicBezTo>
                    <a:cubicBezTo>
                      <a:pt x="266030" y="1264567"/>
                      <a:pt x="401433" y="1612747"/>
                      <a:pt x="324061" y="1977045"/>
                    </a:cubicBezTo>
                    <a:cubicBezTo>
                      <a:pt x="320836" y="1999612"/>
                      <a:pt x="353075" y="2009284"/>
                      <a:pt x="359523" y="1986716"/>
                    </a:cubicBezTo>
                    <a:cubicBezTo>
                      <a:pt x="430449" y="1657881"/>
                      <a:pt x="340180" y="1332269"/>
                      <a:pt x="211225" y="1032448"/>
                    </a:cubicBezTo>
                    <a:close/>
                  </a:path>
                </a:pathLst>
              </a:custGeom>
              <a:solidFill>
                <a:srgbClr val="6C5D68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AC9A091C-99EA-49BD-B5D9-F17DCBE4AC3B}"/>
                  </a:ext>
                </a:extLst>
              </p:cNvPr>
              <p:cNvSpPr/>
              <p:nvPr/>
            </p:nvSpPr>
            <p:spPr>
              <a:xfrm>
                <a:off x="24830146" y="8936296"/>
                <a:ext cx="196913" cy="924812"/>
              </a:xfrm>
              <a:custGeom>
                <a:avLst/>
                <a:gdLst>
                  <a:gd name="connsiteX0" fmla="*/ 180912 w 196913"/>
                  <a:gd name="connsiteY0" fmla="*/ 2697 h 924812"/>
                  <a:gd name="connsiteX1" fmla="*/ 375 w 196913"/>
                  <a:gd name="connsiteY1" fmla="*/ 279951 h 924812"/>
                  <a:gd name="connsiteX2" fmla="*/ 26166 w 196913"/>
                  <a:gd name="connsiteY2" fmla="*/ 873145 h 924812"/>
                  <a:gd name="connsiteX3" fmla="*/ 26166 w 196913"/>
                  <a:gd name="connsiteY3" fmla="*/ 918280 h 924812"/>
                  <a:gd name="connsiteX4" fmla="*/ 164792 w 196913"/>
                  <a:gd name="connsiteY4" fmla="*/ 605564 h 924812"/>
                  <a:gd name="connsiteX5" fmla="*/ 168015 w 196913"/>
                  <a:gd name="connsiteY5" fmla="*/ 51056 h 924812"/>
                  <a:gd name="connsiteX6" fmla="*/ 180912 w 196913"/>
                  <a:gd name="connsiteY6" fmla="*/ 2697 h 924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6913" h="924812">
                    <a:moveTo>
                      <a:pt x="180912" y="2697"/>
                    </a:moveTo>
                    <a:cubicBezTo>
                      <a:pt x="71299" y="51056"/>
                      <a:pt x="-6073" y="157444"/>
                      <a:pt x="375" y="279951"/>
                    </a:cubicBezTo>
                    <a:cubicBezTo>
                      <a:pt x="10046" y="457265"/>
                      <a:pt x="248612" y="740966"/>
                      <a:pt x="26166" y="873145"/>
                    </a:cubicBezTo>
                    <a:cubicBezTo>
                      <a:pt x="3598" y="886041"/>
                      <a:pt x="-12521" y="944071"/>
                      <a:pt x="26166" y="918280"/>
                    </a:cubicBezTo>
                    <a:cubicBezTo>
                      <a:pt x="135776" y="853802"/>
                      <a:pt x="180912" y="731295"/>
                      <a:pt x="164792" y="605564"/>
                    </a:cubicBezTo>
                    <a:cubicBezTo>
                      <a:pt x="142225" y="434698"/>
                      <a:pt x="-73776" y="163892"/>
                      <a:pt x="168015" y="51056"/>
                    </a:cubicBezTo>
                    <a:cubicBezTo>
                      <a:pt x="184135" y="47832"/>
                      <a:pt x="216373" y="-13422"/>
                      <a:pt x="180912" y="2697"/>
                    </a:cubicBez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6CA832DE-A2F7-4AFB-94C2-A6AA6AE6B233}"/>
                  </a:ext>
                </a:extLst>
              </p:cNvPr>
              <p:cNvSpPr/>
              <p:nvPr/>
            </p:nvSpPr>
            <p:spPr>
              <a:xfrm>
                <a:off x="24932839" y="8953582"/>
                <a:ext cx="204548" cy="671823"/>
              </a:xfrm>
              <a:custGeom>
                <a:avLst/>
                <a:gdLst>
                  <a:gd name="connsiteX0" fmla="*/ 158816 w 204548"/>
                  <a:gd name="connsiteY0" fmla="*/ 356158 h 671823"/>
                  <a:gd name="connsiteX1" fmla="*/ 65322 w 204548"/>
                  <a:gd name="connsiteY1" fmla="*/ 14427 h 671823"/>
                  <a:gd name="connsiteX2" fmla="*/ 13741 w 204548"/>
                  <a:gd name="connsiteY2" fmla="*/ 36994 h 671823"/>
                  <a:gd name="connsiteX3" fmla="*/ 49203 w 204548"/>
                  <a:gd name="connsiteY3" fmla="*/ 307799 h 671823"/>
                  <a:gd name="connsiteX4" fmla="*/ 129800 w 204548"/>
                  <a:gd name="connsiteY4" fmla="*/ 439979 h 671823"/>
                  <a:gd name="connsiteX5" fmla="*/ 136248 w 204548"/>
                  <a:gd name="connsiteY5" fmla="*/ 655979 h 671823"/>
                  <a:gd name="connsiteX6" fmla="*/ 187831 w 204548"/>
                  <a:gd name="connsiteY6" fmla="*/ 633412 h 671823"/>
                  <a:gd name="connsiteX7" fmla="*/ 158816 w 204548"/>
                  <a:gd name="connsiteY7" fmla="*/ 356158 h 671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4548" h="671823">
                    <a:moveTo>
                      <a:pt x="158816" y="356158"/>
                    </a:moveTo>
                    <a:cubicBezTo>
                      <a:pt x="94338" y="249770"/>
                      <a:pt x="23412" y="143382"/>
                      <a:pt x="65322" y="14427"/>
                    </a:cubicBezTo>
                    <a:cubicBezTo>
                      <a:pt x="78219" y="-21036"/>
                      <a:pt x="20189" y="17650"/>
                      <a:pt x="13741" y="36994"/>
                    </a:cubicBezTo>
                    <a:cubicBezTo>
                      <a:pt x="-15275" y="130486"/>
                      <a:pt x="4070" y="220755"/>
                      <a:pt x="49203" y="307799"/>
                    </a:cubicBezTo>
                    <a:cubicBezTo>
                      <a:pt x="74996" y="352934"/>
                      <a:pt x="104009" y="394845"/>
                      <a:pt x="129800" y="439979"/>
                    </a:cubicBezTo>
                    <a:cubicBezTo>
                      <a:pt x="165264" y="510904"/>
                      <a:pt x="155593" y="581829"/>
                      <a:pt x="136248" y="655979"/>
                    </a:cubicBezTo>
                    <a:cubicBezTo>
                      <a:pt x="126577" y="694665"/>
                      <a:pt x="181383" y="652755"/>
                      <a:pt x="187831" y="633412"/>
                    </a:cubicBezTo>
                    <a:cubicBezTo>
                      <a:pt x="213622" y="530248"/>
                      <a:pt x="213622" y="446426"/>
                      <a:pt x="158816" y="356158"/>
                    </a:cubicBezTo>
                    <a:close/>
                  </a:path>
                </a:pathLst>
              </a:custGeom>
              <a:solidFill>
                <a:srgbClr val="7F95BC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25" name="图形 1">
                <a:extLst>
                  <a:ext uri="{FF2B5EF4-FFF2-40B4-BE49-F238E27FC236}">
                    <a16:creationId xmlns:a16="http://schemas.microsoft.com/office/drawing/2014/main" id="{A9366305-1BB0-40CA-A398-648B3795A08A}"/>
                  </a:ext>
                </a:extLst>
              </p:cNvPr>
              <p:cNvGrpSpPr/>
              <p:nvPr/>
            </p:nvGrpSpPr>
            <p:grpSpPr>
              <a:xfrm>
                <a:off x="24928849" y="7693366"/>
                <a:ext cx="1043746" cy="1329447"/>
                <a:chOff x="24928849" y="7693366"/>
                <a:chExt cx="1043746" cy="1329447"/>
              </a:xfrm>
            </p:grpSpPr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E0A31F97-27A8-433F-BDBC-4E08DF62E184}"/>
                    </a:ext>
                  </a:extLst>
                </p:cNvPr>
                <p:cNvSpPr/>
                <p:nvPr/>
              </p:nvSpPr>
              <p:spPr>
                <a:xfrm>
                  <a:off x="24972371" y="7726814"/>
                  <a:ext cx="802747" cy="596417"/>
                </a:xfrm>
                <a:custGeom>
                  <a:avLst/>
                  <a:gdLst>
                    <a:gd name="connsiteX0" fmla="*/ 802747 w 802747"/>
                    <a:gd name="connsiteY0" fmla="*/ 0 h 596417"/>
                    <a:gd name="connsiteX1" fmla="*/ 480359 w 802747"/>
                    <a:gd name="connsiteY1" fmla="*/ 596418 h 596417"/>
                    <a:gd name="connsiteX2" fmla="*/ 0 w 802747"/>
                    <a:gd name="connsiteY2" fmla="*/ 232119 h 596417"/>
                    <a:gd name="connsiteX3" fmla="*/ 802747 w 802747"/>
                    <a:gd name="connsiteY3" fmla="*/ 0 h 5964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02747" h="596417">
                      <a:moveTo>
                        <a:pt x="802747" y="0"/>
                      </a:moveTo>
                      <a:cubicBezTo>
                        <a:pt x="773731" y="67701"/>
                        <a:pt x="660896" y="312716"/>
                        <a:pt x="480359" y="596418"/>
                      </a:cubicBezTo>
                      <a:cubicBezTo>
                        <a:pt x="232120" y="457791"/>
                        <a:pt x="45135" y="277253"/>
                        <a:pt x="0" y="232119"/>
                      </a:cubicBezTo>
                      <a:cubicBezTo>
                        <a:pt x="309494" y="219224"/>
                        <a:pt x="702806" y="45134"/>
                        <a:pt x="802747" y="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0620D9B4-F88F-4A87-A2EF-83F49CE598F5}"/>
                    </a:ext>
                  </a:extLst>
                </p:cNvPr>
                <p:cNvSpPr/>
                <p:nvPr/>
              </p:nvSpPr>
              <p:spPr>
                <a:xfrm>
                  <a:off x="25027177" y="8371590"/>
                  <a:ext cx="876895" cy="580298"/>
                </a:xfrm>
                <a:custGeom>
                  <a:avLst/>
                  <a:gdLst>
                    <a:gd name="connsiteX0" fmla="*/ 876896 w 876895"/>
                    <a:gd name="connsiteY0" fmla="*/ 154746 h 580298"/>
                    <a:gd name="connsiteX1" fmla="*/ 0 w 876895"/>
                    <a:gd name="connsiteY1" fmla="*/ 580299 h 580298"/>
                    <a:gd name="connsiteX2" fmla="*/ 441672 w 876895"/>
                    <a:gd name="connsiteY2" fmla="*/ 0 h 580298"/>
                    <a:gd name="connsiteX3" fmla="*/ 876896 w 876895"/>
                    <a:gd name="connsiteY3" fmla="*/ 154746 h 580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76895" h="580298">
                      <a:moveTo>
                        <a:pt x="876896" y="154746"/>
                      </a:moveTo>
                      <a:cubicBezTo>
                        <a:pt x="531940" y="232119"/>
                        <a:pt x="157971" y="470686"/>
                        <a:pt x="0" y="580299"/>
                      </a:cubicBezTo>
                      <a:cubicBezTo>
                        <a:pt x="170865" y="396537"/>
                        <a:pt x="319165" y="190209"/>
                        <a:pt x="441672" y="0"/>
                      </a:cubicBezTo>
                      <a:cubicBezTo>
                        <a:pt x="570627" y="70925"/>
                        <a:pt x="722150" y="132179"/>
                        <a:pt x="876896" y="154746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3CD1CEB4-323E-4539-87CC-35E6E2D78A20}"/>
                    </a:ext>
                  </a:extLst>
                </p:cNvPr>
                <p:cNvSpPr/>
                <p:nvPr/>
              </p:nvSpPr>
              <p:spPr>
                <a:xfrm>
                  <a:off x="24949803" y="7710695"/>
                  <a:ext cx="1005851" cy="1292775"/>
                </a:xfrm>
                <a:custGeom>
                  <a:avLst/>
                  <a:gdLst>
                    <a:gd name="connsiteX0" fmla="*/ 1005851 w 1005851"/>
                    <a:gd name="connsiteY0" fmla="*/ 805970 h 1292775"/>
                    <a:gd name="connsiteX1" fmla="*/ 954270 w 1005851"/>
                    <a:gd name="connsiteY1" fmla="*/ 815642 h 1292775"/>
                    <a:gd name="connsiteX2" fmla="*/ 519046 w 1005851"/>
                    <a:gd name="connsiteY2" fmla="*/ 657671 h 1292775"/>
                    <a:gd name="connsiteX3" fmla="*/ 77374 w 1005851"/>
                    <a:gd name="connsiteY3" fmla="*/ 1237970 h 1292775"/>
                    <a:gd name="connsiteX4" fmla="*/ 0 w 1005851"/>
                    <a:gd name="connsiteY4" fmla="*/ 1292776 h 1292775"/>
                    <a:gd name="connsiteX5" fmla="*/ 9673 w 1005851"/>
                    <a:gd name="connsiteY5" fmla="*/ 1257313 h 1292775"/>
                    <a:gd name="connsiteX6" fmla="*/ 6448 w 1005851"/>
                    <a:gd name="connsiteY6" fmla="*/ 277253 h 1292775"/>
                    <a:gd name="connsiteX7" fmla="*/ 0 w 1005851"/>
                    <a:gd name="connsiteY7" fmla="*/ 245015 h 1292775"/>
                    <a:gd name="connsiteX8" fmla="*/ 25793 w 1005851"/>
                    <a:gd name="connsiteY8" fmla="*/ 245015 h 1292775"/>
                    <a:gd name="connsiteX9" fmla="*/ 506150 w 1005851"/>
                    <a:gd name="connsiteY9" fmla="*/ 609313 h 1292775"/>
                    <a:gd name="connsiteX10" fmla="*/ 828538 w 1005851"/>
                    <a:gd name="connsiteY10" fmla="*/ 12895 h 1292775"/>
                    <a:gd name="connsiteX11" fmla="*/ 854328 w 1005851"/>
                    <a:gd name="connsiteY11" fmla="*/ 0 h 1292775"/>
                    <a:gd name="connsiteX12" fmla="*/ 851105 w 1005851"/>
                    <a:gd name="connsiteY12" fmla="*/ 51582 h 1292775"/>
                    <a:gd name="connsiteX13" fmla="*/ 1005851 w 1005851"/>
                    <a:gd name="connsiteY13" fmla="*/ 783403 h 1292775"/>
                    <a:gd name="connsiteX14" fmla="*/ 1005851 w 1005851"/>
                    <a:gd name="connsiteY14" fmla="*/ 805970 h 1292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005851" h="1292775">
                      <a:moveTo>
                        <a:pt x="1005851" y="805970"/>
                      </a:moveTo>
                      <a:cubicBezTo>
                        <a:pt x="989732" y="809194"/>
                        <a:pt x="970389" y="812418"/>
                        <a:pt x="954270" y="815642"/>
                      </a:cubicBezTo>
                      <a:cubicBezTo>
                        <a:pt x="799524" y="789851"/>
                        <a:pt x="651224" y="731821"/>
                        <a:pt x="519046" y="657671"/>
                      </a:cubicBezTo>
                      <a:cubicBezTo>
                        <a:pt x="399762" y="847881"/>
                        <a:pt x="251464" y="1054209"/>
                        <a:pt x="77374" y="1237970"/>
                      </a:cubicBezTo>
                      <a:cubicBezTo>
                        <a:pt x="29016" y="1273433"/>
                        <a:pt x="0" y="1292776"/>
                        <a:pt x="0" y="1292776"/>
                      </a:cubicBezTo>
                      <a:cubicBezTo>
                        <a:pt x="3225" y="1279881"/>
                        <a:pt x="6448" y="1270209"/>
                        <a:pt x="9673" y="1257313"/>
                      </a:cubicBezTo>
                      <a:cubicBezTo>
                        <a:pt x="103165" y="902687"/>
                        <a:pt x="25793" y="402985"/>
                        <a:pt x="6448" y="277253"/>
                      </a:cubicBezTo>
                      <a:cubicBezTo>
                        <a:pt x="3225" y="257910"/>
                        <a:pt x="0" y="245015"/>
                        <a:pt x="0" y="245015"/>
                      </a:cubicBezTo>
                      <a:cubicBezTo>
                        <a:pt x="6448" y="245015"/>
                        <a:pt x="16119" y="245015"/>
                        <a:pt x="25793" y="245015"/>
                      </a:cubicBezTo>
                      <a:cubicBezTo>
                        <a:pt x="70926" y="293373"/>
                        <a:pt x="257910" y="470686"/>
                        <a:pt x="506150" y="609313"/>
                      </a:cubicBezTo>
                      <a:cubicBezTo>
                        <a:pt x="683463" y="322388"/>
                        <a:pt x="796299" y="80597"/>
                        <a:pt x="828538" y="12895"/>
                      </a:cubicBezTo>
                      <a:cubicBezTo>
                        <a:pt x="844657" y="6448"/>
                        <a:pt x="854328" y="0"/>
                        <a:pt x="854328" y="0"/>
                      </a:cubicBezTo>
                      <a:cubicBezTo>
                        <a:pt x="851105" y="16119"/>
                        <a:pt x="851105" y="32239"/>
                        <a:pt x="851105" y="51582"/>
                      </a:cubicBezTo>
                      <a:cubicBezTo>
                        <a:pt x="847882" y="280478"/>
                        <a:pt x="973612" y="689910"/>
                        <a:pt x="1005851" y="783403"/>
                      </a:cubicBezTo>
                      <a:cubicBezTo>
                        <a:pt x="1002628" y="799523"/>
                        <a:pt x="1005851" y="805970"/>
                        <a:pt x="1005851" y="805970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AA6863C4-FA38-4802-B93B-5A597CD4D85A}"/>
                    </a:ext>
                  </a:extLst>
                </p:cNvPr>
                <p:cNvSpPr/>
                <p:nvPr/>
              </p:nvSpPr>
              <p:spPr>
                <a:xfrm>
                  <a:off x="24932073" y="7693366"/>
                  <a:ext cx="886219" cy="1329447"/>
                </a:xfrm>
                <a:custGeom>
                  <a:avLst/>
                  <a:gdLst>
                    <a:gd name="connsiteX0" fmla="*/ 884955 w 886219"/>
                    <a:gd name="connsiteY0" fmla="*/ 27000 h 1329447"/>
                    <a:gd name="connsiteX1" fmla="*/ 865613 w 886219"/>
                    <a:gd name="connsiteY1" fmla="*/ 72134 h 1329447"/>
                    <a:gd name="connsiteX2" fmla="*/ 556119 w 886219"/>
                    <a:gd name="connsiteY2" fmla="*/ 645985 h 1329447"/>
                    <a:gd name="connsiteX3" fmla="*/ 536776 w 886219"/>
                    <a:gd name="connsiteY3" fmla="*/ 675000 h 1329447"/>
                    <a:gd name="connsiteX4" fmla="*/ 95104 w 886219"/>
                    <a:gd name="connsiteY4" fmla="*/ 1255298 h 1329447"/>
                    <a:gd name="connsiteX5" fmla="*/ 30627 w 886219"/>
                    <a:gd name="connsiteY5" fmla="*/ 1323000 h 1329447"/>
                    <a:gd name="connsiteX6" fmla="*/ 17730 w 886219"/>
                    <a:gd name="connsiteY6" fmla="*/ 1329448 h 1329447"/>
                    <a:gd name="connsiteX7" fmla="*/ 4836 w 886219"/>
                    <a:gd name="connsiteY7" fmla="*/ 1323000 h 1329447"/>
                    <a:gd name="connsiteX8" fmla="*/ 4836 w 886219"/>
                    <a:gd name="connsiteY8" fmla="*/ 1297209 h 1329447"/>
                    <a:gd name="connsiteX9" fmla="*/ 27404 w 886219"/>
                    <a:gd name="connsiteY9" fmla="*/ 1274642 h 1329447"/>
                    <a:gd name="connsiteX10" fmla="*/ 504538 w 886219"/>
                    <a:gd name="connsiteY10" fmla="*/ 655657 h 1329447"/>
                    <a:gd name="connsiteX11" fmla="*/ 523880 w 886219"/>
                    <a:gd name="connsiteY11" fmla="*/ 626642 h 1329447"/>
                    <a:gd name="connsiteX12" fmla="*/ 846268 w 886219"/>
                    <a:gd name="connsiteY12" fmla="*/ 30224 h 1329447"/>
                    <a:gd name="connsiteX13" fmla="*/ 855939 w 886219"/>
                    <a:gd name="connsiteY13" fmla="*/ 10881 h 1329447"/>
                    <a:gd name="connsiteX14" fmla="*/ 878507 w 886219"/>
                    <a:gd name="connsiteY14" fmla="*/ 1209 h 1329447"/>
                    <a:gd name="connsiteX15" fmla="*/ 884955 w 886219"/>
                    <a:gd name="connsiteY15" fmla="*/ 27000 h 13294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86219" h="1329447">
                      <a:moveTo>
                        <a:pt x="884955" y="27000"/>
                      </a:moveTo>
                      <a:cubicBezTo>
                        <a:pt x="884955" y="27000"/>
                        <a:pt x="878507" y="43120"/>
                        <a:pt x="865613" y="72134"/>
                      </a:cubicBezTo>
                      <a:cubicBezTo>
                        <a:pt x="823701" y="165627"/>
                        <a:pt x="717313" y="388075"/>
                        <a:pt x="556119" y="645985"/>
                      </a:cubicBezTo>
                      <a:cubicBezTo>
                        <a:pt x="549671" y="655657"/>
                        <a:pt x="543225" y="665328"/>
                        <a:pt x="536776" y="675000"/>
                      </a:cubicBezTo>
                      <a:cubicBezTo>
                        <a:pt x="417492" y="865209"/>
                        <a:pt x="269195" y="1071537"/>
                        <a:pt x="95104" y="1255298"/>
                      </a:cubicBezTo>
                      <a:cubicBezTo>
                        <a:pt x="72537" y="1277866"/>
                        <a:pt x="53194" y="1300433"/>
                        <a:pt x="30627" y="1323000"/>
                      </a:cubicBezTo>
                      <a:cubicBezTo>
                        <a:pt x="27404" y="1326224"/>
                        <a:pt x="20956" y="1329448"/>
                        <a:pt x="17730" y="1329448"/>
                      </a:cubicBezTo>
                      <a:cubicBezTo>
                        <a:pt x="14507" y="1329448"/>
                        <a:pt x="8059" y="1326224"/>
                        <a:pt x="4836" y="1323000"/>
                      </a:cubicBezTo>
                      <a:cubicBezTo>
                        <a:pt x="-1612" y="1316552"/>
                        <a:pt x="-1612" y="1303657"/>
                        <a:pt x="4836" y="1297209"/>
                      </a:cubicBezTo>
                      <a:cubicBezTo>
                        <a:pt x="11284" y="1290761"/>
                        <a:pt x="20956" y="1281090"/>
                        <a:pt x="27404" y="1274642"/>
                      </a:cubicBezTo>
                      <a:cubicBezTo>
                        <a:pt x="214388" y="1081209"/>
                        <a:pt x="375582" y="858761"/>
                        <a:pt x="504538" y="655657"/>
                      </a:cubicBezTo>
                      <a:cubicBezTo>
                        <a:pt x="510986" y="645985"/>
                        <a:pt x="517432" y="636313"/>
                        <a:pt x="523880" y="626642"/>
                      </a:cubicBezTo>
                      <a:cubicBezTo>
                        <a:pt x="701194" y="339717"/>
                        <a:pt x="814029" y="97925"/>
                        <a:pt x="846268" y="30224"/>
                      </a:cubicBezTo>
                      <a:cubicBezTo>
                        <a:pt x="852716" y="17328"/>
                        <a:pt x="852716" y="10881"/>
                        <a:pt x="855939" y="10881"/>
                      </a:cubicBezTo>
                      <a:cubicBezTo>
                        <a:pt x="859164" y="1209"/>
                        <a:pt x="868836" y="-2015"/>
                        <a:pt x="878507" y="1209"/>
                      </a:cubicBezTo>
                      <a:cubicBezTo>
                        <a:pt x="884955" y="7657"/>
                        <a:pt x="888178" y="20552"/>
                        <a:pt x="884955" y="27000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896E3213-29D5-46BF-BC9C-4D46C4B17F64}"/>
                    </a:ext>
                  </a:extLst>
                </p:cNvPr>
                <p:cNvSpPr/>
                <p:nvPr/>
              </p:nvSpPr>
              <p:spPr>
                <a:xfrm>
                  <a:off x="24928849" y="7941202"/>
                  <a:ext cx="1043746" cy="594805"/>
                </a:xfrm>
                <a:custGeom>
                  <a:avLst/>
                  <a:gdLst>
                    <a:gd name="connsiteX0" fmla="*/ 1042925 w 1043746"/>
                    <a:gd name="connsiteY0" fmla="*/ 578687 h 594805"/>
                    <a:gd name="connsiteX1" fmla="*/ 1026805 w 1043746"/>
                    <a:gd name="connsiteY1" fmla="*/ 594806 h 594805"/>
                    <a:gd name="connsiteX2" fmla="*/ 1023582 w 1043746"/>
                    <a:gd name="connsiteY2" fmla="*/ 594806 h 594805"/>
                    <a:gd name="connsiteX3" fmla="*/ 971999 w 1043746"/>
                    <a:gd name="connsiteY3" fmla="*/ 588358 h 594805"/>
                    <a:gd name="connsiteX4" fmla="*/ 536775 w 1043746"/>
                    <a:gd name="connsiteY4" fmla="*/ 430388 h 594805"/>
                    <a:gd name="connsiteX5" fmla="*/ 504536 w 1043746"/>
                    <a:gd name="connsiteY5" fmla="*/ 414269 h 594805"/>
                    <a:gd name="connsiteX6" fmla="*/ 24179 w 1043746"/>
                    <a:gd name="connsiteY6" fmla="*/ 49970 h 594805"/>
                    <a:gd name="connsiteX7" fmla="*/ 4835 w 1043746"/>
                    <a:gd name="connsiteY7" fmla="*/ 30627 h 594805"/>
                    <a:gd name="connsiteX8" fmla="*/ 4835 w 1043746"/>
                    <a:gd name="connsiteY8" fmla="*/ 4836 h 594805"/>
                    <a:gd name="connsiteX9" fmla="*/ 30627 w 1043746"/>
                    <a:gd name="connsiteY9" fmla="*/ 4836 h 594805"/>
                    <a:gd name="connsiteX10" fmla="*/ 43522 w 1043746"/>
                    <a:gd name="connsiteY10" fmla="*/ 17731 h 594805"/>
                    <a:gd name="connsiteX11" fmla="*/ 523881 w 1043746"/>
                    <a:gd name="connsiteY11" fmla="*/ 382030 h 594805"/>
                    <a:gd name="connsiteX12" fmla="*/ 556119 w 1043746"/>
                    <a:gd name="connsiteY12" fmla="*/ 398149 h 594805"/>
                    <a:gd name="connsiteX13" fmla="*/ 1020357 w 1043746"/>
                    <a:gd name="connsiteY13" fmla="*/ 556119 h 594805"/>
                    <a:gd name="connsiteX14" fmla="*/ 1026805 w 1043746"/>
                    <a:gd name="connsiteY14" fmla="*/ 556119 h 594805"/>
                    <a:gd name="connsiteX15" fmla="*/ 1042925 w 1043746"/>
                    <a:gd name="connsiteY15" fmla="*/ 578687 h 5948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043746" h="594805">
                      <a:moveTo>
                        <a:pt x="1042925" y="578687"/>
                      </a:moveTo>
                      <a:cubicBezTo>
                        <a:pt x="1042925" y="588358"/>
                        <a:pt x="1033253" y="594806"/>
                        <a:pt x="1026805" y="594806"/>
                      </a:cubicBezTo>
                      <a:cubicBezTo>
                        <a:pt x="1026805" y="594806"/>
                        <a:pt x="1026805" y="594806"/>
                        <a:pt x="1023582" y="594806"/>
                      </a:cubicBezTo>
                      <a:cubicBezTo>
                        <a:pt x="1007463" y="591582"/>
                        <a:pt x="991343" y="591582"/>
                        <a:pt x="971999" y="588358"/>
                      </a:cubicBezTo>
                      <a:cubicBezTo>
                        <a:pt x="817253" y="562567"/>
                        <a:pt x="668955" y="504538"/>
                        <a:pt x="536775" y="430388"/>
                      </a:cubicBezTo>
                      <a:cubicBezTo>
                        <a:pt x="527104" y="423941"/>
                        <a:pt x="517432" y="417492"/>
                        <a:pt x="504536" y="414269"/>
                      </a:cubicBezTo>
                      <a:cubicBezTo>
                        <a:pt x="262745" y="278866"/>
                        <a:pt x="78985" y="108000"/>
                        <a:pt x="24179" y="49970"/>
                      </a:cubicBezTo>
                      <a:cubicBezTo>
                        <a:pt x="11283" y="37075"/>
                        <a:pt x="4835" y="30627"/>
                        <a:pt x="4835" y="30627"/>
                      </a:cubicBezTo>
                      <a:cubicBezTo>
                        <a:pt x="-1612" y="24179"/>
                        <a:pt x="-1612" y="11284"/>
                        <a:pt x="4835" y="4836"/>
                      </a:cubicBezTo>
                      <a:cubicBezTo>
                        <a:pt x="11283" y="-1612"/>
                        <a:pt x="24179" y="-1612"/>
                        <a:pt x="30627" y="4836"/>
                      </a:cubicBezTo>
                      <a:cubicBezTo>
                        <a:pt x="30627" y="4836"/>
                        <a:pt x="33850" y="8060"/>
                        <a:pt x="43522" y="17731"/>
                      </a:cubicBezTo>
                      <a:cubicBezTo>
                        <a:pt x="88657" y="66090"/>
                        <a:pt x="275641" y="243403"/>
                        <a:pt x="523881" y="382030"/>
                      </a:cubicBezTo>
                      <a:cubicBezTo>
                        <a:pt x="533552" y="388478"/>
                        <a:pt x="543223" y="394925"/>
                        <a:pt x="556119" y="398149"/>
                      </a:cubicBezTo>
                      <a:cubicBezTo>
                        <a:pt x="697969" y="472299"/>
                        <a:pt x="855940" y="536776"/>
                        <a:pt x="1020357" y="556119"/>
                      </a:cubicBezTo>
                      <a:cubicBezTo>
                        <a:pt x="1023582" y="556119"/>
                        <a:pt x="1026805" y="556119"/>
                        <a:pt x="1026805" y="556119"/>
                      </a:cubicBezTo>
                      <a:cubicBezTo>
                        <a:pt x="1039702" y="559344"/>
                        <a:pt x="1046150" y="569015"/>
                        <a:pt x="1042925" y="578687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2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A4CFE907-179B-468E-A603-469762CB1D95}"/>
                </a:ext>
              </a:extLst>
            </p:cNvPr>
            <p:cNvSpPr/>
            <p:nvPr/>
          </p:nvSpPr>
          <p:spPr>
            <a:xfrm>
              <a:off x="26555297" y="8964784"/>
              <a:ext cx="74148" cy="145074"/>
            </a:xfrm>
            <a:custGeom>
              <a:avLst/>
              <a:gdLst>
                <a:gd name="connsiteX0" fmla="*/ 74149 w 74148"/>
                <a:gd name="connsiteY0" fmla="*/ 0 h 145074"/>
                <a:gd name="connsiteX1" fmla="*/ 3223 w 74148"/>
                <a:gd name="connsiteY1" fmla="*/ 145075 h 145074"/>
                <a:gd name="connsiteX2" fmla="*/ 0 w 74148"/>
                <a:gd name="connsiteY2" fmla="*/ 54806 h 145074"/>
                <a:gd name="connsiteX3" fmla="*/ 74149 w 74148"/>
                <a:gd name="connsiteY3" fmla="*/ 0 h 14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148" h="145074">
                  <a:moveTo>
                    <a:pt x="74149" y="0"/>
                  </a:moveTo>
                  <a:cubicBezTo>
                    <a:pt x="74149" y="0"/>
                    <a:pt x="58029" y="125732"/>
                    <a:pt x="3223" y="145075"/>
                  </a:cubicBezTo>
                  <a:lnTo>
                    <a:pt x="0" y="54806"/>
                  </a:lnTo>
                  <a:lnTo>
                    <a:pt x="74149" y="0"/>
                  </a:ln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41D77357-4C21-46E6-BCAF-E3326E0DEEDB}"/>
                </a:ext>
              </a:extLst>
            </p:cNvPr>
            <p:cNvSpPr/>
            <p:nvPr/>
          </p:nvSpPr>
          <p:spPr>
            <a:xfrm>
              <a:off x="26140976" y="8742337"/>
              <a:ext cx="108530" cy="251476"/>
            </a:xfrm>
            <a:custGeom>
              <a:avLst/>
              <a:gdLst>
                <a:gd name="connsiteX0" fmla="*/ 8111 w 108530"/>
                <a:gd name="connsiteY0" fmla="*/ 0 h 251476"/>
                <a:gd name="connsiteX1" fmla="*/ 50021 w 108530"/>
                <a:gd name="connsiteY1" fmla="*/ 248239 h 251476"/>
                <a:gd name="connsiteX2" fmla="*/ 108053 w 108530"/>
                <a:gd name="connsiteY2" fmla="*/ 16119 h 251476"/>
                <a:gd name="connsiteX3" fmla="*/ 8111 w 108530"/>
                <a:gd name="connsiteY3" fmla="*/ 0 h 251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530" h="251476">
                  <a:moveTo>
                    <a:pt x="8111" y="0"/>
                  </a:moveTo>
                  <a:cubicBezTo>
                    <a:pt x="8111" y="0"/>
                    <a:pt x="-27351" y="206328"/>
                    <a:pt x="50021" y="248239"/>
                  </a:cubicBezTo>
                  <a:cubicBezTo>
                    <a:pt x="117724" y="283702"/>
                    <a:pt x="108053" y="16119"/>
                    <a:pt x="108053" y="16119"/>
                  </a:cubicBezTo>
                  <a:lnTo>
                    <a:pt x="8111" y="0"/>
                  </a:ln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56E35256-04DA-4ED8-A990-3BF25E4DFB1E}"/>
                </a:ext>
              </a:extLst>
            </p:cNvPr>
            <p:cNvSpPr/>
            <p:nvPr/>
          </p:nvSpPr>
          <p:spPr>
            <a:xfrm>
              <a:off x="26178517" y="8599043"/>
              <a:ext cx="452800" cy="601869"/>
            </a:xfrm>
            <a:custGeom>
              <a:avLst/>
              <a:gdLst>
                <a:gd name="connsiteX0" fmla="*/ 12481 w 452800"/>
                <a:gd name="connsiteY0" fmla="*/ 191652 h 601869"/>
                <a:gd name="connsiteX1" fmla="*/ 9258 w 452800"/>
                <a:gd name="connsiteY1" fmla="*/ 456010 h 601869"/>
                <a:gd name="connsiteX2" fmla="*/ 176900 w 452800"/>
                <a:gd name="connsiteY2" fmla="*/ 601085 h 601869"/>
                <a:gd name="connsiteX3" fmla="*/ 421914 w 452800"/>
                <a:gd name="connsiteY3" fmla="*/ 465682 h 601869"/>
                <a:gd name="connsiteX4" fmla="*/ 450930 w 452800"/>
                <a:gd name="connsiteY4" fmla="*/ 214219 h 601869"/>
                <a:gd name="connsiteX5" fmla="*/ 228481 w 452800"/>
                <a:gd name="connsiteY5" fmla="*/ 1443 h 601869"/>
                <a:gd name="connsiteX6" fmla="*/ 12481 w 452800"/>
                <a:gd name="connsiteY6" fmla="*/ 191652 h 601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2800" h="601869">
                  <a:moveTo>
                    <a:pt x="12481" y="191652"/>
                  </a:moveTo>
                  <a:cubicBezTo>
                    <a:pt x="12481" y="191652"/>
                    <a:pt x="-13310" y="349622"/>
                    <a:pt x="9258" y="456010"/>
                  </a:cubicBezTo>
                  <a:cubicBezTo>
                    <a:pt x="28600" y="543055"/>
                    <a:pt x="122093" y="594637"/>
                    <a:pt x="176900" y="601085"/>
                  </a:cubicBezTo>
                  <a:cubicBezTo>
                    <a:pt x="247826" y="607532"/>
                    <a:pt x="367108" y="575294"/>
                    <a:pt x="421914" y="465682"/>
                  </a:cubicBezTo>
                  <a:cubicBezTo>
                    <a:pt x="463824" y="378637"/>
                    <a:pt x="450930" y="265801"/>
                    <a:pt x="450930" y="214219"/>
                  </a:cubicBezTo>
                  <a:cubicBezTo>
                    <a:pt x="450930" y="114279"/>
                    <a:pt x="421914" y="30458"/>
                    <a:pt x="228481" y="1443"/>
                  </a:cubicBezTo>
                  <a:cubicBezTo>
                    <a:pt x="134990" y="-14677"/>
                    <a:pt x="35048" y="107831"/>
                    <a:pt x="12481" y="191652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064965C0-D843-4C1A-9EF1-A5EA886A86DB}"/>
                </a:ext>
              </a:extLst>
            </p:cNvPr>
            <p:cNvSpPr/>
            <p:nvPr/>
          </p:nvSpPr>
          <p:spPr>
            <a:xfrm>
              <a:off x="26323177" y="8877740"/>
              <a:ext cx="61252" cy="145074"/>
            </a:xfrm>
            <a:custGeom>
              <a:avLst/>
              <a:gdLst>
                <a:gd name="connsiteX0" fmla="*/ 35462 w 61252"/>
                <a:gd name="connsiteY0" fmla="*/ 145075 h 145074"/>
                <a:gd name="connsiteX1" fmla="*/ 6448 w 61252"/>
                <a:gd name="connsiteY1" fmla="*/ 138627 h 145074"/>
                <a:gd name="connsiteX2" fmla="*/ 0 w 61252"/>
                <a:gd name="connsiteY2" fmla="*/ 125731 h 145074"/>
                <a:gd name="connsiteX3" fmla="*/ 19342 w 61252"/>
                <a:gd name="connsiteY3" fmla="*/ 6448 h 145074"/>
                <a:gd name="connsiteX4" fmla="*/ 25791 w 61252"/>
                <a:gd name="connsiteY4" fmla="*/ 0 h 145074"/>
                <a:gd name="connsiteX5" fmla="*/ 32239 w 61252"/>
                <a:gd name="connsiteY5" fmla="*/ 6448 h 145074"/>
                <a:gd name="connsiteX6" fmla="*/ 12894 w 61252"/>
                <a:gd name="connsiteY6" fmla="*/ 125731 h 145074"/>
                <a:gd name="connsiteX7" fmla="*/ 12894 w 61252"/>
                <a:gd name="connsiteY7" fmla="*/ 128955 h 145074"/>
                <a:gd name="connsiteX8" fmla="*/ 54806 w 61252"/>
                <a:gd name="connsiteY8" fmla="*/ 132179 h 145074"/>
                <a:gd name="connsiteX9" fmla="*/ 61253 w 61252"/>
                <a:gd name="connsiteY9" fmla="*/ 138627 h 145074"/>
                <a:gd name="connsiteX10" fmla="*/ 54806 w 61252"/>
                <a:gd name="connsiteY10" fmla="*/ 145075 h 145074"/>
                <a:gd name="connsiteX11" fmla="*/ 35462 w 61252"/>
                <a:gd name="connsiteY11" fmla="*/ 145075 h 14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252" h="145074">
                  <a:moveTo>
                    <a:pt x="35462" y="145075"/>
                  </a:moveTo>
                  <a:cubicBezTo>
                    <a:pt x="25791" y="145075"/>
                    <a:pt x="12894" y="145075"/>
                    <a:pt x="6448" y="138627"/>
                  </a:cubicBezTo>
                  <a:cubicBezTo>
                    <a:pt x="3223" y="135403"/>
                    <a:pt x="0" y="132179"/>
                    <a:pt x="0" y="125731"/>
                  </a:cubicBezTo>
                  <a:cubicBezTo>
                    <a:pt x="0" y="103164"/>
                    <a:pt x="19342" y="9672"/>
                    <a:pt x="19342" y="6448"/>
                  </a:cubicBezTo>
                  <a:cubicBezTo>
                    <a:pt x="19342" y="3224"/>
                    <a:pt x="22568" y="0"/>
                    <a:pt x="25791" y="0"/>
                  </a:cubicBezTo>
                  <a:cubicBezTo>
                    <a:pt x="29014" y="0"/>
                    <a:pt x="32239" y="3224"/>
                    <a:pt x="32239" y="6448"/>
                  </a:cubicBezTo>
                  <a:cubicBezTo>
                    <a:pt x="32239" y="6448"/>
                    <a:pt x="12894" y="103164"/>
                    <a:pt x="12894" y="125731"/>
                  </a:cubicBezTo>
                  <a:cubicBezTo>
                    <a:pt x="12894" y="125731"/>
                    <a:pt x="12894" y="128955"/>
                    <a:pt x="12894" y="128955"/>
                  </a:cubicBezTo>
                  <a:cubicBezTo>
                    <a:pt x="19342" y="135403"/>
                    <a:pt x="41910" y="132179"/>
                    <a:pt x="54806" y="132179"/>
                  </a:cubicBezTo>
                  <a:cubicBezTo>
                    <a:pt x="58029" y="132179"/>
                    <a:pt x="61253" y="135403"/>
                    <a:pt x="61253" y="138627"/>
                  </a:cubicBezTo>
                  <a:cubicBezTo>
                    <a:pt x="61253" y="141851"/>
                    <a:pt x="58029" y="145075"/>
                    <a:pt x="54806" y="145075"/>
                  </a:cubicBezTo>
                  <a:cubicBezTo>
                    <a:pt x="54806" y="141851"/>
                    <a:pt x="45133" y="145075"/>
                    <a:pt x="35462" y="145075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73B2CDFE-3E20-4FFB-9D21-75434DF71350}"/>
                </a:ext>
              </a:extLst>
            </p:cNvPr>
            <p:cNvSpPr/>
            <p:nvPr/>
          </p:nvSpPr>
          <p:spPr>
            <a:xfrm>
              <a:off x="26248396" y="8851316"/>
              <a:ext cx="43364" cy="43175"/>
            </a:xfrm>
            <a:custGeom>
              <a:avLst/>
              <a:gdLst>
                <a:gd name="connsiteX0" fmla="*/ 42543 w 43364"/>
                <a:gd name="connsiteY0" fmla="*/ 26423 h 43175"/>
                <a:gd name="connsiteX1" fmla="*/ 16752 w 43364"/>
                <a:gd name="connsiteY1" fmla="*/ 42543 h 43175"/>
                <a:gd name="connsiteX2" fmla="*/ 633 w 43364"/>
                <a:gd name="connsiteY2" fmla="*/ 16752 h 43175"/>
                <a:gd name="connsiteX3" fmla="*/ 26423 w 43364"/>
                <a:gd name="connsiteY3" fmla="*/ 632 h 43175"/>
                <a:gd name="connsiteX4" fmla="*/ 42543 w 43364"/>
                <a:gd name="connsiteY4" fmla="*/ 26423 h 4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64" h="43175">
                  <a:moveTo>
                    <a:pt x="42543" y="26423"/>
                  </a:moveTo>
                  <a:cubicBezTo>
                    <a:pt x="39318" y="36095"/>
                    <a:pt x="29647" y="45767"/>
                    <a:pt x="16752" y="42543"/>
                  </a:cubicBezTo>
                  <a:cubicBezTo>
                    <a:pt x="7079" y="39319"/>
                    <a:pt x="-2592" y="29648"/>
                    <a:pt x="633" y="16752"/>
                  </a:cubicBezTo>
                  <a:cubicBezTo>
                    <a:pt x="3856" y="7080"/>
                    <a:pt x="13527" y="-2591"/>
                    <a:pt x="26423" y="632"/>
                  </a:cubicBezTo>
                  <a:cubicBezTo>
                    <a:pt x="39318" y="3856"/>
                    <a:pt x="45766" y="16752"/>
                    <a:pt x="42543" y="2642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FECEF4F6-AE44-455C-B1C6-4CB9EF35C061}"/>
                </a:ext>
              </a:extLst>
            </p:cNvPr>
            <p:cNvSpPr/>
            <p:nvPr/>
          </p:nvSpPr>
          <p:spPr>
            <a:xfrm>
              <a:off x="26441829" y="8873883"/>
              <a:ext cx="43364" cy="43175"/>
            </a:xfrm>
            <a:custGeom>
              <a:avLst/>
              <a:gdLst>
                <a:gd name="connsiteX0" fmla="*/ 42543 w 43364"/>
                <a:gd name="connsiteY0" fmla="*/ 26423 h 43175"/>
                <a:gd name="connsiteX1" fmla="*/ 16752 w 43364"/>
                <a:gd name="connsiteY1" fmla="*/ 42543 h 43175"/>
                <a:gd name="connsiteX2" fmla="*/ 633 w 43364"/>
                <a:gd name="connsiteY2" fmla="*/ 16752 h 43175"/>
                <a:gd name="connsiteX3" fmla="*/ 26423 w 43364"/>
                <a:gd name="connsiteY3" fmla="*/ 632 h 43175"/>
                <a:gd name="connsiteX4" fmla="*/ 42543 w 43364"/>
                <a:gd name="connsiteY4" fmla="*/ 26423 h 4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64" h="43175">
                  <a:moveTo>
                    <a:pt x="42543" y="26423"/>
                  </a:moveTo>
                  <a:cubicBezTo>
                    <a:pt x="39318" y="36095"/>
                    <a:pt x="29647" y="45767"/>
                    <a:pt x="16752" y="42543"/>
                  </a:cubicBezTo>
                  <a:cubicBezTo>
                    <a:pt x="7079" y="39319"/>
                    <a:pt x="-2592" y="29647"/>
                    <a:pt x="633" y="16752"/>
                  </a:cubicBezTo>
                  <a:cubicBezTo>
                    <a:pt x="3856" y="7080"/>
                    <a:pt x="13527" y="-2591"/>
                    <a:pt x="26423" y="632"/>
                  </a:cubicBezTo>
                  <a:cubicBezTo>
                    <a:pt x="39318" y="3856"/>
                    <a:pt x="45766" y="13528"/>
                    <a:pt x="42543" y="26423"/>
                  </a:cubicBezTo>
                  <a:close/>
                </a:path>
              </a:pathLst>
            </a:custGeom>
            <a:solidFill>
              <a:srgbClr val="38333D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2FD47E2A-E52C-4F64-9B95-432E8AD0F2FC}"/>
                </a:ext>
              </a:extLst>
            </p:cNvPr>
            <p:cNvSpPr/>
            <p:nvPr/>
          </p:nvSpPr>
          <p:spPr>
            <a:xfrm>
              <a:off x="26224042" y="8800367"/>
              <a:ext cx="97246" cy="35462"/>
            </a:xfrm>
            <a:custGeom>
              <a:avLst/>
              <a:gdLst>
                <a:gd name="connsiteX0" fmla="*/ 8867 w 97246"/>
                <a:gd name="connsiteY0" fmla="*/ 35463 h 35462"/>
                <a:gd name="connsiteX1" fmla="*/ 2419 w 97246"/>
                <a:gd name="connsiteY1" fmla="*/ 32239 h 35462"/>
                <a:gd name="connsiteX2" fmla="*/ 2419 w 97246"/>
                <a:gd name="connsiteY2" fmla="*/ 19343 h 35462"/>
                <a:gd name="connsiteX3" fmla="*/ 92687 w 97246"/>
                <a:gd name="connsiteY3" fmla="*/ 9671 h 35462"/>
                <a:gd name="connsiteX4" fmla="*/ 95910 w 97246"/>
                <a:gd name="connsiteY4" fmla="*/ 22567 h 35462"/>
                <a:gd name="connsiteX5" fmla="*/ 83016 w 97246"/>
                <a:gd name="connsiteY5" fmla="*/ 25791 h 35462"/>
                <a:gd name="connsiteX6" fmla="*/ 12090 w 97246"/>
                <a:gd name="connsiteY6" fmla="*/ 32239 h 35462"/>
                <a:gd name="connsiteX7" fmla="*/ 8867 w 97246"/>
                <a:gd name="connsiteY7" fmla="*/ 35463 h 35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6" h="35462">
                  <a:moveTo>
                    <a:pt x="8867" y="35463"/>
                  </a:moveTo>
                  <a:cubicBezTo>
                    <a:pt x="5642" y="35463"/>
                    <a:pt x="5642" y="35463"/>
                    <a:pt x="2419" y="32239"/>
                  </a:cubicBezTo>
                  <a:cubicBezTo>
                    <a:pt x="-806" y="29015"/>
                    <a:pt x="-806" y="22567"/>
                    <a:pt x="2419" y="19343"/>
                  </a:cubicBezTo>
                  <a:cubicBezTo>
                    <a:pt x="31433" y="-9672"/>
                    <a:pt x="73345" y="0"/>
                    <a:pt x="92687" y="9671"/>
                  </a:cubicBezTo>
                  <a:cubicBezTo>
                    <a:pt x="95910" y="12895"/>
                    <a:pt x="99135" y="16120"/>
                    <a:pt x="95910" y="22567"/>
                  </a:cubicBezTo>
                  <a:cubicBezTo>
                    <a:pt x="92687" y="25791"/>
                    <a:pt x="89464" y="29015"/>
                    <a:pt x="83016" y="25791"/>
                  </a:cubicBezTo>
                  <a:cubicBezTo>
                    <a:pt x="79791" y="25791"/>
                    <a:pt x="41106" y="3224"/>
                    <a:pt x="12090" y="32239"/>
                  </a:cubicBezTo>
                  <a:cubicBezTo>
                    <a:pt x="12090" y="35463"/>
                    <a:pt x="12090" y="35463"/>
                    <a:pt x="8867" y="35463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8753FABC-1ADA-4A57-998B-6C3BEC66D113}"/>
                </a:ext>
              </a:extLst>
            </p:cNvPr>
            <p:cNvSpPr/>
            <p:nvPr/>
          </p:nvSpPr>
          <p:spPr>
            <a:xfrm>
              <a:off x="26421782" y="8801441"/>
              <a:ext cx="97245" cy="37612"/>
            </a:xfrm>
            <a:custGeom>
              <a:avLst/>
              <a:gdLst>
                <a:gd name="connsiteX0" fmla="*/ 91603 w 97245"/>
                <a:gd name="connsiteY0" fmla="*/ 37612 h 37612"/>
                <a:gd name="connsiteX1" fmla="*/ 85157 w 97245"/>
                <a:gd name="connsiteY1" fmla="*/ 34388 h 37612"/>
                <a:gd name="connsiteX2" fmla="*/ 14231 w 97245"/>
                <a:gd name="connsiteY2" fmla="*/ 27940 h 37612"/>
                <a:gd name="connsiteX3" fmla="*/ 1335 w 97245"/>
                <a:gd name="connsiteY3" fmla="*/ 24716 h 37612"/>
                <a:gd name="connsiteX4" fmla="*/ 4560 w 97245"/>
                <a:gd name="connsiteY4" fmla="*/ 11821 h 37612"/>
                <a:gd name="connsiteX5" fmla="*/ 94828 w 97245"/>
                <a:gd name="connsiteY5" fmla="*/ 21493 h 37612"/>
                <a:gd name="connsiteX6" fmla="*/ 94828 w 97245"/>
                <a:gd name="connsiteY6" fmla="*/ 34388 h 37612"/>
                <a:gd name="connsiteX7" fmla="*/ 91603 w 97245"/>
                <a:gd name="connsiteY7" fmla="*/ 37612 h 3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245" h="37612">
                  <a:moveTo>
                    <a:pt x="91603" y="37612"/>
                  </a:moveTo>
                  <a:cubicBezTo>
                    <a:pt x="88380" y="37612"/>
                    <a:pt x="88380" y="37612"/>
                    <a:pt x="85157" y="34388"/>
                  </a:cubicBezTo>
                  <a:cubicBezTo>
                    <a:pt x="85157" y="34388"/>
                    <a:pt x="52918" y="2149"/>
                    <a:pt x="14231" y="27940"/>
                  </a:cubicBezTo>
                  <a:cubicBezTo>
                    <a:pt x="11006" y="31164"/>
                    <a:pt x="4560" y="27940"/>
                    <a:pt x="1335" y="24716"/>
                  </a:cubicBezTo>
                  <a:cubicBezTo>
                    <a:pt x="-1888" y="21493"/>
                    <a:pt x="1335" y="15045"/>
                    <a:pt x="4560" y="11821"/>
                  </a:cubicBezTo>
                  <a:cubicBezTo>
                    <a:pt x="43245" y="-13970"/>
                    <a:pt x="81932" y="8597"/>
                    <a:pt x="94828" y="21493"/>
                  </a:cubicBezTo>
                  <a:cubicBezTo>
                    <a:pt x="98051" y="24716"/>
                    <a:pt x="98051" y="31164"/>
                    <a:pt x="94828" y="34388"/>
                  </a:cubicBezTo>
                  <a:cubicBezTo>
                    <a:pt x="98051" y="37612"/>
                    <a:pt x="94828" y="37612"/>
                    <a:pt x="91603" y="37612"/>
                  </a:cubicBezTo>
                  <a:close/>
                </a:path>
              </a:pathLst>
            </a:custGeom>
            <a:solidFill>
              <a:srgbClr val="664540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1293E944-6625-4558-AE85-B7417B810CD6}"/>
                </a:ext>
              </a:extLst>
            </p:cNvPr>
            <p:cNvSpPr/>
            <p:nvPr/>
          </p:nvSpPr>
          <p:spPr>
            <a:xfrm>
              <a:off x="26288520" y="9153561"/>
              <a:ext cx="239194" cy="53014"/>
            </a:xfrm>
            <a:custGeom>
              <a:avLst/>
              <a:gdLst>
                <a:gd name="connsiteX0" fmla="*/ 95910 w 239194"/>
                <a:gd name="connsiteY0" fmla="*/ 53015 h 53014"/>
                <a:gd name="connsiteX1" fmla="*/ 83016 w 239194"/>
                <a:gd name="connsiteY1" fmla="*/ 53015 h 53014"/>
                <a:gd name="connsiteX2" fmla="*/ 2419 w 239194"/>
                <a:gd name="connsiteY2" fmla="*/ 24000 h 53014"/>
                <a:gd name="connsiteX3" fmla="*/ 2419 w 239194"/>
                <a:gd name="connsiteY3" fmla="*/ 14328 h 53014"/>
                <a:gd name="connsiteX4" fmla="*/ 12090 w 239194"/>
                <a:gd name="connsiteY4" fmla="*/ 14328 h 53014"/>
                <a:gd name="connsiteX5" fmla="*/ 86239 w 239194"/>
                <a:gd name="connsiteY5" fmla="*/ 40119 h 53014"/>
                <a:gd name="connsiteX6" fmla="*/ 228090 w 239194"/>
                <a:gd name="connsiteY6" fmla="*/ 1433 h 53014"/>
                <a:gd name="connsiteX7" fmla="*/ 237762 w 239194"/>
                <a:gd name="connsiteY7" fmla="*/ 1433 h 53014"/>
                <a:gd name="connsiteX8" fmla="*/ 237762 w 239194"/>
                <a:gd name="connsiteY8" fmla="*/ 11104 h 53014"/>
                <a:gd name="connsiteX9" fmla="*/ 95910 w 239194"/>
                <a:gd name="connsiteY9" fmla="*/ 53015 h 5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194" h="53014">
                  <a:moveTo>
                    <a:pt x="95910" y="53015"/>
                  </a:moveTo>
                  <a:cubicBezTo>
                    <a:pt x="92687" y="53015"/>
                    <a:pt x="86239" y="53015"/>
                    <a:pt x="83016" y="53015"/>
                  </a:cubicBezTo>
                  <a:cubicBezTo>
                    <a:pt x="37881" y="49791"/>
                    <a:pt x="2419" y="24000"/>
                    <a:pt x="2419" y="24000"/>
                  </a:cubicBezTo>
                  <a:cubicBezTo>
                    <a:pt x="-806" y="20776"/>
                    <a:pt x="-806" y="17552"/>
                    <a:pt x="2419" y="14328"/>
                  </a:cubicBezTo>
                  <a:cubicBezTo>
                    <a:pt x="5642" y="11104"/>
                    <a:pt x="8867" y="11104"/>
                    <a:pt x="12090" y="14328"/>
                  </a:cubicBezTo>
                  <a:cubicBezTo>
                    <a:pt x="12090" y="14328"/>
                    <a:pt x="44329" y="40119"/>
                    <a:pt x="86239" y="40119"/>
                  </a:cubicBezTo>
                  <a:cubicBezTo>
                    <a:pt x="166836" y="46567"/>
                    <a:pt x="224865" y="1433"/>
                    <a:pt x="228090" y="1433"/>
                  </a:cubicBezTo>
                  <a:cubicBezTo>
                    <a:pt x="231314" y="-1791"/>
                    <a:pt x="234539" y="1433"/>
                    <a:pt x="237762" y="1433"/>
                  </a:cubicBezTo>
                  <a:cubicBezTo>
                    <a:pt x="240985" y="4657"/>
                    <a:pt x="237762" y="7881"/>
                    <a:pt x="237762" y="11104"/>
                  </a:cubicBezTo>
                  <a:cubicBezTo>
                    <a:pt x="228090" y="11104"/>
                    <a:pt x="173284" y="53015"/>
                    <a:pt x="95910" y="53015"/>
                  </a:cubicBezTo>
                  <a:close/>
                </a:path>
              </a:pathLst>
            </a:custGeom>
            <a:solidFill>
              <a:srgbClr val="E87952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2C2BCC3C-6C71-4FDD-8F66-D306B8D6C038}"/>
                </a:ext>
              </a:extLst>
            </p:cNvPr>
            <p:cNvSpPr/>
            <p:nvPr/>
          </p:nvSpPr>
          <p:spPr>
            <a:xfrm>
              <a:off x="26548849" y="8623053"/>
              <a:ext cx="119618" cy="283701"/>
            </a:xfrm>
            <a:custGeom>
              <a:avLst/>
              <a:gdLst>
                <a:gd name="connsiteX0" fmla="*/ 0 w 119618"/>
                <a:gd name="connsiteY0" fmla="*/ 135403 h 283701"/>
                <a:gd name="connsiteX1" fmla="*/ 51581 w 119618"/>
                <a:gd name="connsiteY1" fmla="*/ 283701 h 283701"/>
                <a:gd name="connsiteX2" fmla="*/ 112836 w 119618"/>
                <a:gd name="connsiteY2" fmla="*/ 177313 h 283701"/>
                <a:gd name="connsiteX3" fmla="*/ 51581 w 119618"/>
                <a:gd name="connsiteY3" fmla="*/ 0 h 283701"/>
                <a:gd name="connsiteX4" fmla="*/ 0 w 119618"/>
                <a:gd name="connsiteY4" fmla="*/ 135403 h 283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618" h="283701">
                  <a:moveTo>
                    <a:pt x="0" y="135403"/>
                  </a:moveTo>
                  <a:cubicBezTo>
                    <a:pt x="0" y="135403"/>
                    <a:pt x="58029" y="251462"/>
                    <a:pt x="51581" y="283701"/>
                  </a:cubicBezTo>
                  <a:cubicBezTo>
                    <a:pt x="51581" y="283701"/>
                    <a:pt x="96716" y="235343"/>
                    <a:pt x="112836" y="177313"/>
                  </a:cubicBezTo>
                  <a:cubicBezTo>
                    <a:pt x="128955" y="116059"/>
                    <a:pt x="119284" y="16119"/>
                    <a:pt x="51581" y="0"/>
                  </a:cubicBezTo>
                  <a:cubicBezTo>
                    <a:pt x="51581" y="0"/>
                    <a:pt x="41910" y="116059"/>
                    <a:pt x="0" y="135403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B474E9A8-1463-49B6-BD76-4651243AC97E}"/>
                </a:ext>
              </a:extLst>
            </p:cNvPr>
            <p:cNvSpPr/>
            <p:nvPr/>
          </p:nvSpPr>
          <p:spPr>
            <a:xfrm>
              <a:off x="26081386" y="8495515"/>
              <a:ext cx="529563" cy="272646"/>
            </a:xfrm>
            <a:custGeom>
              <a:avLst/>
              <a:gdLst>
                <a:gd name="connsiteX0" fmla="*/ 467463 w 529563"/>
                <a:gd name="connsiteY0" fmla="*/ 262942 h 272646"/>
                <a:gd name="connsiteX1" fmla="*/ 338507 w 529563"/>
                <a:gd name="connsiteY1" fmla="*/ 221031 h 272646"/>
                <a:gd name="connsiteX2" fmla="*/ 0 w 529563"/>
                <a:gd name="connsiteY2" fmla="*/ 208136 h 272646"/>
                <a:gd name="connsiteX3" fmla="*/ 99940 w 529563"/>
                <a:gd name="connsiteY3" fmla="*/ 143658 h 272646"/>
                <a:gd name="connsiteX4" fmla="*/ 393314 w 529563"/>
                <a:gd name="connsiteY4" fmla="*/ 11479 h 272646"/>
                <a:gd name="connsiteX5" fmla="*/ 519044 w 529563"/>
                <a:gd name="connsiteY5" fmla="*/ 124315 h 272646"/>
                <a:gd name="connsiteX6" fmla="*/ 467463 w 529563"/>
                <a:gd name="connsiteY6" fmla="*/ 262942 h 272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9563" h="272646">
                  <a:moveTo>
                    <a:pt x="467463" y="262942"/>
                  </a:moveTo>
                  <a:cubicBezTo>
                    <a:pt x="467463" y="262942"/>
                    <a:pt x="367521" y="221031"/>
                    <a:pt x="338507" y="221031"/>
                  </a:cubicBezTo>
                  <a:cubicBezTo>
                    <a:pt x="232120" y="224255"/>
                    <a:pt x="96716" y="343539"/>
                    <a:pt x="0" y="208136"/>
                  </a:cubicBezTo>
                  <a:cubicBezTo>
                    <a:pt x="54806" y="221031"/>
                    <a:pt x="80597" y="169449"/>
                    <a:pt x="99940" y="143658"/>
                  </a:cubicBezTo>
                  <a:cubicBezTo>
                    <a:pt x="145075" y="79180"/>
                    <a:pt x="219223" y="-36879"/>
                    <a:pt x="393314" y="11479"/>
                  </a:cubicBezTo>
                  <a:cubicBezTo>
                    <a:pt x="477134" y="34046"/>
                    <a:pt x="512596" y="85628"/>
                    <a:pt x="519044" y="124315"/>
                  </a:cubicBezTo>
                  <a:cubicBezTo>
                    <a:pt x="519044" y="127539"/>
                    <a:pt x="564179" y="250046"/>
                    <a:pt x="467463" y="262942"/>
                  </a:cubicBezTo>
                  <a:close/>
                </a:path>
              </a:pathLst>
            </a:custGeom>
            <a:solidFill>
              <a:srgbClr val="D39778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56076CD0-9FEC-4CE6-BAB0-9BBE5A43D138}"/>
                </a:ext>
              </a:extLst>
            </p:cNvPr>
            <p:cNvSpPr/>
            <p:nvPr/>
          </p:nvSpPr>
          <p:spPr>
            <a:xfrm>
              <a:off x="26586102" y="8874314"/>
              <a:ext cx="83141" cy="116848"/>
            </a:xfrm>
            <a:custGeom>
              <a:avLst/>
              <a:gdLst>
                <a:gd name="connsiteX0" fmla="*/ 14328 w 83141"/>
                <a:gd name="connsiteY0" fmla="*/ 16321 h 116848"/>
                <a:gd name="connsiteX1" fmla="*/ 75583 w 83141"/>
                <a:gd name="connsiteY1" fmla="*/ 6649 h 116848"/>
                <a:gd name="connsiteX2" fmla="*/ 14328 w 83141"/>
                <a:gd name="connsiteY2" fmla="*/ 113037 h 116848"/>
                <a:gd name="connsiteX3" fmla="*/ 14328 w 83141"/>
                <a:gd name="connsiteY3" fmla="*/ 16321 h 116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141" h="116848">
                  <a:moveTo>
                    <a:pt x="14328" y="16321"/>
                  </a:moveTo>
                  <a:cubicBezTo>
                    <a:pt x="14328" y="16321"/>
                    <a:pt x="49792" y="-12694"/>
                    <a:pt x="75583" y="6649"/>
                  </a:cubicBezTo>
                  <a:cubicBezTo>
                    <a:pt x="101374" y="25992"/>
                    <a:pt x="56238" y="138828"/>
                    <a:pt x="14328" y="113037"/>
                  </a:cubicBezTo>
                  <a:cubicBezTo>
                    <a:pt x="-17910" y="93694"/>
                    <a:pt x="14328" y="16321"/>
                    <a:pt x="14328" y="16321"/>
                  </a:cubicBezTo>
                  <a:close/>
                </a:path>
              </a:pathLst>
            </a:custGeom>
            <a:solidFill>
              <a:srgbClr val="F49F84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73424405-40A5-425B-AF03-4B50C6450113}"/>
                </a:ext>
              </a:extLst>
            </p:cNvPr>
            <p:cNvSpPr/>
            <p:nvPr/>
          </p:nvSpPr>
          <p:spPr>
            <a:xfrm>
              <a:off x="26539178" y="8642396"/>
              <a:ext cx="77819" cy="254686"/>
            </a:xfrm>
            <a:custGeom>
              <a:avLst/>
              <a:gdLst>
                <a:gd name="connsiteX0" fmla="*/ 61253 w 77819"/>
                <a:gd name="connsiteY0" fmla="*/ 254687 h 254686"/>
                <a:gd name="connsiteX1" fmla="*/ 54804 w 77819"/>
                <a:gd name="connsiteY1" fmla="*/ 248239 h 254686"/>
                <a:gd name="connsiteX2" fmla="*/ 6446 w 77819"/>
                <a:gd name="connsiteY2" fmla="*/ 119283 h 254686"/>
                <a:gd name="connsiteX3" fmla="*/ 0 w 77819"/>
                <a:gd name="connsiteY3" fmla="*/ 112836 h 254686"/>
                <a:gd name="connsiteX4" fmla="*/ 9671 w 77819"/>
                <a:gd name="connsiteY4" fmla="*/ 109612 h 254686"/>
                <a:gd name="connsiteX5" fmla="*/ 61253 w 77819"/>
                <a:gd name="connsiteY5" fmla="*/ 67702 h 254686"/>
                <a:gd name="connsiteX6" fmla="*/ 61253 w 77819"/>
                <a:gd name="connsiteY6" fmla="*/ 6448 h 254686"/>
                <a:gd name="connsiteX7" fmla="*/ 64478 w 77819"/>
                <a:gd name="connsiteY7" fmla="*/ 0 h 254686"/>
                <a:gd name="connsiteX8" fmla="*/ 70924 w 77819"/>
                <a:gd name="connsiteY8" fmla="*/ 3224 h 254686"/>
                <a:gd name="connsiteX9" fmla="*/ 67701 w 77819"/>
                <a:gd name="connsiteY9" fmla="*/ 74149 h 254686"/>
                <a:gd name="connsiteX10" fmla="*/ 16119 w 77819"/>
                <a:gd name="connsiteY10" fmla="*/ 119283 h 254686"/>
                <a:gd name="connsiteX11" fmla="*/ 64478 w 77819"/>
                <a:gd name="connsiteY11" fmla="*/ 248239 h 254686"/>
                <a:gd name="connsiteX12" fmla="*/ 61253 w 77819"/>
                <a:gd name="connsiteY12" fmla="*/ 254687 h 254686"/>
                <a:gd name="connsiteX13" fmla="*/ 61253 w 77819"/>
                <a:gd name="connsiteY13" fmla="*/ 254687 h 254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7819" h="254686">
                  <a:moveTo>
                    <a:pt x="61253" y="254687"/>
                  </a:moveTo>
                  <a:cubicBezTo>
                    <a:pt x="58029" y="254687"/>
                    <a:pt x="54804" y="251463"/>
                    <a:pt x="54804" y="248239"/>
                  </a:cubicBezTo>
                  <a:cubicBezTo>
                    <a:pt x="48358" y="183761"/>
                    <a:pt x="6446" y="119283"/>
                    <a:pt x="6446" y="119283"/>
                  </a:cubicBezTo>
                  <a:lnTo>
                    <a:pt x="0" y="112836"/>
                  </a:lnTo>
                  <a:lnTo>
                    <a:pt x="9671" y="109612"/>
                  </a:lnTo>
                  <a:cubicBezTo>
                    <a:pt x="9671" y="109612"/>
                    <a:pt x="45133" y="96716"/>
                    <a:pt x="61253" y="67702"/>
                  </a:cubicBezTo>
                  <a:cubicBezTo>
                    <a:pt x="70924" y="51582"/>
                    <a:pt x="70924" y="29015"/>
                    <a:pt x="61253" y="6448"/>
                  </a:cubicBezTo>
                  <a:cubicBezTo>
                    <a:pt x="61253" y="3224"/>
                    <a:pt x="61253" y="0"/>
                    <a:pt x="64478" y="0"/>
                  </a:cubicBezTo>
                  <a:cubicBezTo>
                    <a:pt x="67701" y="0"/>
                    <a:pt x="70924" y="0"/>
                    <a:pt x="70924" y="3224"/>
                  </a:cubicBezTo>
                  <a:cubicBezTo>
                    <a:pt x="80597" y="29015"/>
                    <a:pt x="80597" y="54806"/>
                    <a:pt x="67701" y="74149"/>
                  </a:cubicBezTo>
                  <a:cubicBezTo>
                    <a:pt x="54804" y="99940"/>
                    <a:pt x="29014" y="112836"/>
                    <a:pt x="16119" y="119283"/>
                  </a:cubicBezTo>
                  <a:cubicBezTo>
                    <a:pt x="29014" y="138627"/>
                    <a:pt x="58029" y="190209"/>
                    <a:pt x="64478" y="248239"/>
                  </a:cubicBezTo>
                  <a:cubicBezTo>
                    <a:pt x="67701" y="251463"/>
                    <a:pt x="64478" y="254687"/>
                    <a:pt x="61253" y="254687"/>
                  </a:cubicBezTo>
                  <a:lnTo>
                    <a:pt x="61253" y="254687"/>
                  </a:lnTo>
                  <a:close/>
                </a:path>
              </a:pathLst>
            </a:custGeom>
            <a:solidFill>
              <a:srgbClr val="38343B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083C3180-9504-482D-88C6-471CFA242B4D}"/>
                </a:ext>
              </a:extLst>
            </p:cNvPr>
            <p:cNvSpPr/>
            <p:nvPr/>
          </p:nvSpPr>
          <p:spPr>
            <a:xfrm>
              <a:off x="26290939" y="9051829"/>
              <a:ext cx="122507" cy="67824"/>
            </a:xfrm>
            <a:custGeom>
              <a:avLst/>
              <a:gdLst>
                <a:gd name="connsiteX0" fmla="*/ 0 w 122507"/>
                <a:gd name="connsiteY0" fmla="*/ 0 h 67824"/>
                <a:gd name="connsiteX1" fmla="*/ 122507 w 122507"/>
                <a:gd name="connsiteY1" fmla="*/ 9672 h 67824"/>
                <a:gd name="connsiteX2" fmla="*/ 54806 w 122507"/>
                <a:gd name="connsiteY2" fmla="*/ 67702 h 67824"/>
                <a:gd name="connsiteX3" fmla="*/ 0 w 122507"/>
                <a:gd name="connsiteY3" fmla="*/ 0 h 67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507" h="67824">
                  <a:moveTo>
                    <a:pt x="0" y="0"/>
                  </a:moveTo>
                  <a:cubicBezTo>
                    <a:pt x="48358" y="25791"/>
                    <a:pt x="122507" y="9672"/>
                    <a:pt x="122507" y="9672"/>
                  </a:cubicBezTo>
                  <a:cubicBezTo>
                    <a:pt x="122507" y="9672"/>
                    <a:pt x="93491" y="70926"/>
                    <a:pt x="54806" y="67702"/>
                  </a:cubicBezTo>
                  <a:cubicBezTo>
                    <a:pt x="19342" y="64478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2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2" name="图形 1">
              <a:extLst>
                <a:ext uri="{FF2B5EF4-FFF2-40B4-BE49-F238E27FC236}">
                  <a16:creationId xmlns:a16="http://schemas.microsoft.com/office/drawing/2014/main" id="{BE55BD21-85E3-4B1D-BA69-9FEABF093D2A}"/>
                </a:ext>
              </a:extLst>
            </p:cNvPr>
            <p:cNvGrpSpPr/>
            <p:nvPr/>
          </p:nvGrpSpPr>
          <p:grpSpPr>
            <a:xfrm>
              <a:off x="25047527" y="10060542"/>
              <a:ext cx="192424" cy="171726"/>
              <a:chOff x="25047527" y="10060542"/>
              <a:chExt cx="192424" cy="171726"/>
            </a:xfrm>
          </p:grpSpPr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F3DF42DF-C4A7-4680-89EE-C9BDA3CC8B0C}"/>
                  </a:ext>
                </a:extLst>
              </p:cNvPr>
              <p:cNvSpPr/>
              <p:nvPr/>
            </p:nvSpPr>
            <p:spPr>
              <a:xfrm>
                <a:off x="25047527" y="10067351"/>
                <a:ext cx="140843" cy="76033"/>
              </a:xfrm>
              <a:custGeom>
                <a:avLst/>
                <a:gdLst>
                  <a:gd name="connsiteX0" fmla="*/ 5440 w 140843"/>
                  <a:gd name="connsiteY0" fmla="*/ 38687 h 76033"/>
                  <a:gd name="connsiteX1" fmla="*/ 82814 w 140843"/>
                  <a:gd name="connsiteY1" fmla="*/ 6448 h 76033"/>
                  <a:gd name="connsiteX2" fmla="*/ 95709 w 140843"/>
                  <a:gd name="connsiteY2" fmla="*/ 0 h 76033"/>
                  <a:gd name="connsiteX3" fmla="*/ 111828 w 140843"/>
                  <a:gd name="connsiteY3" fmla="*/ 0 h 76033"/>
                  <a:gd name="connsiteX4" fmla="*/ 140844 w 140843"/>
                  <a:gd name="connsiteY4" fmla="*/ 29015 h 76033"/>
                  <a:gd name="connsiteX5" fmla="*/ 108605 w 140843"/>
                  <a:gd name="connsiteY5" fmla="*/ 54806 h 76033"/>
                  <a:gd name="connsiteX6" fmla="*/ 57024 w 140843"/>
                  <a:gd name="connsiteY6" fmla="*/ 70926 h 76033"/>
                  <a:gd name="connsiteX7" fmla="*/ 15111 w 140843"/>
                  <a:gd name="connsiteY7" fmla="*/ 70926 h 76033"/>
                  <a:gd name="connsiteX8" fmla="*/ 5440 w 140843"/>
                  <a:gd name="connsiteY8" fmla="*/ 38687 h 76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0843" h="76033">
                    <a:moveTo>
                      <a:pt x="5440" y="38687"/>
                    </a:moveTo>
                    <a:cubicBezTo>
                      <a:pt x="21560" y="19343"/>
                      <a:pt x="53798" y="16119"/>
                      <a:pt x="82814" y="6448"/>
                    </a:cubicBezTo>
                    <a:cubicBezTo>
                      <a:pt x="86037" y="6448"/>
                      <a:pt x="92485" y="0"/>
                      <a:pt x="95709" y="0"/>
                    </a:cubicBezTo>
                    <a:cubicBezTo>
                      <a:pt x="98934" y="0"/>
                      <a:pt x="105382" y="0"/>
                      <a:pt x="111828" y="0"/>
                    </a:cubicBezTo>
                    <a:cubicBezTo>
                      <a:pt x="124724" y="3224"/>
                      <a:pt x="140844" y="16119"/>
                      <a:pt x="140844" y="29015"/>
                    </a:cubicBezTo>
                    <a:cubicBezTo>
                      <a:pt x="140844" y="45134"/>
                      <a:pt x="121501" y="48358"/>
                      <a:pt x="108605" y="54806"/>
                    </a:cubicBezTo>
                    <a:cubicBezTo>
                      <a:pt x="92485" y="61254"/>
                      <a:pt x="73143" y="67702"/>
                      <a:pt x="57024" y="70926"/>
                    </a:cubicBezTo>
                    <a:cubicBezTo>
                      <a:pt x="44127" y="74150"/>
                      <a:pt x="28008" y="80597"/>
                      <a:pt x="15111" y="70926"/>
                    </a:cubicBezTo>
                    <a:cubicBezTo>
                      <a:pt x="-1008" y="61254"/>
                      <a:pt x="-4231" y="45134"/>
                      <a:pt x="5440" y="38687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8DF1B127-4862-4AB5-B086-B384B03F1D20}"/>
                  </a:ext>
                </a:extLst>
              </p:cNvPr>
              <p:cNvSpPr/>
              <p:nvPr/>
            </p:nvSpPr>
            <p:spPr>
              <a:xfrm>
                <a:off x="25081983" y="10099590"/>
                <a:ext cx="138627" cy="76033"/>
              </a:xfrm>
              <a:custGeom>
                <a:avLst/>
                <a:gdLst>
                  <a:gd name="connsiteX0" fmla="*/ 3224 w 138627"/>
                  <a:gd name="connsiteY0" fmla="*/ 38687 h 76033"/>
                  <a:gd name="connsiteX1" fmla="*/ 87046 w 138627"/>
                  <a:gd name="connsiteY1" fmla="*/ 0 h 76033"/>
                  <a:gd name="connsiteX2" fmla="*/ 93492 w 138627"/>
                  <a:gd name="connsiteY2" fmla="*/ 0 h 76033"/>
                  <a:gd name="connsiteX3" fmla="*/ 109612 w 138627"/>
                  <a:gd name="connsiteY3" fmla="*/ 0 h 76033"/>
                  <a:gd name="connsiteX4" fmla="*/ 138627 w 138627"/>
                  <a:gd name="connsiteY4" fmla="*/ 29015 h 76033"/>
                  <a:gd name="connsiteX5" fmla="*/ 106388 w 138627"/>
                  <a:gd name="connsiteY5" fmla="*/ 54806 h 76033"/>
                  <a:gd name="connsiteX6" fmla="*/ 54807 w 138627"/>
                  <a:gd name="connsiteY6" fmla="*/ 70926 h 76033"/>
                  <a:gd name="connsiteX7" fmla="*/ 12895 w 138627"/>
                  <a:gd name="connsiteY7" fmla="*/ 70926 h 76033"/>
                  <a:gd name="connsiteX8" fmla="*/ 3224 w 138627"/>
                  <a:gd name="connsiteY8" fmla="*/ 38687 h 76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627" h="76033">
                    <a:moveTo>
                      <a:pt x="3224" y="38687"/>
                    </a:moveTo>
                    <a:cubicBezTo>
                      <a:pt x="19343" y="9672"/>
                      <a:pt x="58030" y="9672"/>
                      <a:pt x="87046" y="0"/>
                    </a:cubicBezTo>
                    <a:cubicBezTo>
                      <a:pt x="90269" y="0"/>
                      <a:pt x="93492" y="0"/>
                      <a:pt x="93492" y="0"/>
                    </a:cubicBezTo>
                    <a:cubicBezTo>
                      <a:pt x="96717" y="0"/>
                      <a:pt x="103165" y="0"/>
                      <a:pt x="109612" y="0"/>
                    </a:cubicBezTo>
                    <a:cubicBezTo>
                      <a:pt x="122508" y="3224"/>
                      <a:pt x="138627" y="16119"/>
                      <a:pt x="138627" y="29015"/>
                    </a:cubicBezTo>
                    <a:cubicBezTo>
                      <a:pt x="138627" y="45134"/>
                      <a:pt x="119285" y="48358"/>
                      <a:pt x="106388" y="54806"/>
                    </a:cubicBezTo>
                    <a:cubicBezTo>
                      <a:pt x="90269" y="61254"/>
                      <a:pt x="70927" y="67702"/>
                      <a:pt x="54807" y="70926"/>
                    </a:cubicBezTo>
                    <a:cubicBezTo>
                      <a:pt x="41911" y="74150"/>
                      <a:pt x="25791" y="80597"/>
                      <a:pt x="12895" y="70926"/>
                    </a:cubicBezTo>
                    <a:cubicBezTo>
                      <a:pt x="1" y="61254"/>
                      <a:pt x="-3224" y="48358"/>
                      <a:pt x="3224" y="38687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08DB698F-20A6-4CC5-9F42-01F9608AFB9A}"/>
                  </a:ext>
                </a:extLst>
              </p:cNvPr>
              <p:cNvSpPr/>
              <p:nvPr/>
            </p:nvSpPr>
            <p:spPr>
              <a:xfrm>
                <a:off x="25106970" y="10138277"/>
                <a:ext cx="120087" cy="69585"/>
              </a:xfrm>
              <a:custGeom>
                <a:avLst/>
                <a:gdLst>
                  <a:gd name="connsiteX0" fmla="*/ 4027 w 120087"/>
                  <a:gd name="connsiteY0" fmla="*/ 35463 h 69585"/>
                  <a:gd name="connsiteX1" fmla="*/ 74953 w 120087"/>
                  <a:gd name="connsiteY1" fmla="*/ 0 h 69585"/>
                  <a:gd name="connsiteX2" fmla="*/ 81401 w 120087"/>
                  <a:gd name="connsiteY2" fmla="*/ 0 h 69585"/>
                  <a:gd name="connsiteX3" fmla="*/ 94297 w 120087"/>
                  <a:gd name="connsiteY3" fmla="*/ 0 h 69585"/>
                  <a:gd name="connsiteX4" fmla="*/ 120088 w 120087"/>
                  <a:gd name="connsiteY4" fmla="*/ 25791 h 69585"/>
                  <a:gd name="connsiteX5" fmla="*/ 94297 w 120087"/>
                  <a:gd name="connsiteY5" fmla="*/ 48358 h 69585"/>
                  <a:gd name="connsiteX6" fmla="*/ 49162 w 120087"/>
                  <a:gd name="connsiteY6" fmla="*/ 64478 h 69585"/>
                  <a:gd name="connsiteX7" fmla="*/ 13700 w 120087"/>
                  <a:gd name="connsiteY7" fmla="*/ 64478 h 69585"/>
                  <a:gd name="connsiteX8" fmla="*/ 4027 w 120087"/>
                  <a:gd name="connsiteY8" fmla="*/ 35463 h 6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087" h="69585">
                    <a:moveTo>
                      <a:pt x="4027" y="35463"/>
                    </a:moveTo>
                    <a:cubicBezTo>
                      <a:pt x="16923" y="9671"/>
                      <a:pt x="49162" y="9671"/>
                      <a:pt x="74953" y="0"/>
                    </a:cubicBezTo>
                    <a:cubicBezTo>
                      <a:pt x="78178" y="0"/>
                      <a:pt x="78178" y="0"/>
                      <a:pt x="81401" y="0"/>
                    </a:cubicBezTo>
                    <a:cubicBezTo>
                      <a:pt x="84624" y="0"/>
                      <a:pt x="91072" y="0"/>
                      <a:pt x="94297" y="0"/>
                    </a:cubicBezTo>
                    <a:cubicBezTo>
                      <a:pt x="107192" y="3224"/>
                      <a:pt x="116863" y="12895"/>
                      <a:pt x="120088" y="25791"/>
                    </a:cubicBezTo>
                    <a:cubicBezTo>
                      <a:pt x="120088" y="38686"/>
                      <a:pt x="103969" y="45134"/>
                      <a:pt x="94297" y="48358"/>
                    </a:cubicBezTo>
                    <a:cubicBezTo>
                      <a:pt x="78178" y="54805"/>
                      <a:pt x="65282" y="61254"/>
                      <a:pt x="49162" y="64478"/>
                    </a:cubicBezTo>
                    <a:cubicBezTo>
                      <a:pt x="39491" y="67702"/>
                      <a:pt x="26595" y="74149"/>
                      <a:pt x="13700" y="64478"/>
                    </a:cubicBezTo>
                    <a:cubicBezTo>
                      <a:pt x="-2419" y="58029"/>
                      <a:pt x="-2419" y="45134"/>
                      <a:pt x="4027" y="35463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C9A6949D-E999-4BE8-AC23-5AD62633F980}"/>
                  </a:ext>
                </a:extLst>
              </p:cNvPr>
              <p:cNvSpPr/>
              <p:nvPr/>
            </p:nvSpPr>
            <p:spPr>
              <a:xfrm>
                <a:off x="25138222" y="10180187"/>
                <a:ext cx="88835" cy="52081"/>
              </a:xfrm>
              <a:custGeom>
                <a:avLst/>
                <a:gdLst>
                  <a:gd name="connsiteX0" fmla="*/ 1791 w 88835"/>
                  <a:gd name="connsiteY0" fmla="*/ 25792 h 52081"/>
                  <a:gd name="connsiteX1" fmla="*/ 56597 w 88835"/>
                  <a:gd name="connsiteY1" fmla="*/ 0 h 52081"/>
                  <a:gd name="connsiteX2" fmla="*/ 59820 w 88835"/>
                  <a:gd name="connsiteY2" fmla="*/ 0 h 52081"/>
                  <a:gd name="connsiteX3" fmla="*/ 69491 w 88835"/>
                  <a:gd name="connsiteY3" fmla="*/ 0 h 52081"/>
                  <a:gd name="connsiteX4" fmla="*/ 88836 w 88835"/>
                  <a:gd name="connsiteY4" fmla="*/ 19343 h 52081"/>
                  <a:gd name="connsiteX5" fmla="*/ 69491 w 88835"/>
                  <a:gd name="connsiteY5" fmla="*/ 35463 h 52081"/>
                  <a:gd name="connsiteX6" fmla="*/ 37252 w 88835"/>
                  <a:gd name="connsiteY6" fmla="*/ 48358 h 52081"/>
                  <a:gd name="connsiteX7" fmla="*/ 11462 w 88835"/>
                  <a:gd name="connsiteY7" fmla="*/ 48358 h 52081"/>
                  <a:gd name="connsiteX8" fmla="*/ 1791 w 88835"/>
                  <a:gd name="connsiteY8" fmla="*/ 25792 h 52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8835" h="52081">
                    <a:moveTo>
                      <a:pt x="1791" y="25792"/>
                    </a:moveTo>
                    <a:cubicBezTo>
                      <a:pt x="11462" y="6448"/>
                      <a:pt x="37252" y="6448"/>
                      <a:pt x="56597" y="0"/>
                    </a:cubicBezTo>
                    <a:cubicBezTo>
                      <a:pt x="56597" y="0"/>
                      <a:pt x="59820" y="0"/>
                      <a:pt x="59820" y="0"/>
                    </a:cubicBezTo>
                    <a:cubicBezTo>
                      <a:pt x="63045" y="0"/>
                      <a:pt x="66268" y="0"/>
                      <a:pt x="69491" y="0"/>
                    </a:cubicBezTo>
                    <a:cubicBezTo>
                      <a:pt x="79164" y="3224"/>
                      <a:pt x="88836" y="9672"/>
                      <a:pt x="88836" y="19343"/>
                    </a:cubicBezTo>
                    <a:cubicBezTo>
                      <a:pt x="88836" y="29015"/>
                      <a:pt x="75939" y="32239"/>
                      <a:pt x="69491" y="35463"/>
                    </a:cubicBezTo>
                    <a:cubicBezTo>
                      <a:pt x="59820" y="38687"/>
                      <a:pt x="46926" y="45134"/>
                      <a:pt x="37252" y="48358"/>
                    </a:cubicBezTo>
                    <a:cubicBezTo>
                      <a:pt x="30806" y="51582"/>
                      <a:pt x="21133" y="54806"/>
                      <a:pt x="11462" y="48358"/>
                    </a:cubicBezTo>
                    <a:cubicBezTo>
                      <a:pt x="-1433" y="41911"/>
                      <a:pt x="-1433" y="32239"/>
                      <a:pt x="1791" y="25792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E779B022-B7F4-45E8-9BF8-555629C6F4E5}"/>
                  </a:ext>
                </a:extLst>
              </p:cNvPr>
              <p:cNvSpPr/>
              <p:nvPr/>
            </p:nvSpPr>
            <p:spPr>
              <a:xfrm>
                <a:off x="25073418" y="10060542"/>
                <a:ext cx="152320" cy="116420"/>
              </a:xfrm>
              <a:custGeom>
                <a:avLst/>
                <a:gdLst>
                  <a:gd name="connsiteX0" fmla="*/ 40804 w 152320"/>
                  <a:gd name="connsiteY0" fmla="*/ 116421 h 116420"/>
                  <a:gd name="connsiteX1" fmla="*/ 5340 w 152320"/>
                  <a:gd name="connsiteY1" fmla="*/ 100301 h 116420"/>
                  <a:gd name="connsiteX2" fmla="*/ 2117 w 152320"/>
                  <a:gd name="connsiteY2" fmla="*/ 80959 h 116420"/>
                  <a:gd name="connsiteX3" fmla="*/ 11788 w 152320"/>
                  <a:gd name="connsiteY3" fmla="*/ 71287 h 116420"/>
                  <a:gd name="connsiteX4" fmla="*/ 105282 w 152320"/>
                  <a:gd name="connsiteY4" fmla="*/ 35824 h 116420"/>
                  <a:gd name="connsiteX5" fmla="*/ 105282 w 152320"/>
                  <a:gd name="connsiteY5" fmla="*/ 22929 h 116420"/>
                  <a:gd name="connsiteX6" fmla="*/ 98834 w 152320"/>
                  <a:gd name="connsiteY6" fmla="*/ 16481 h 116420"/>
                  <a:gd name="connsiteX7" fmla="*/ 11788 w 152320"/>
                  <a:gd name="connsiteY7" fmla="*/ 32601 h 116420"/>
                  <a:gd name="connsiteX8" fmla="*/ 2117 w 152320"/>
                  <a:gd name="connsiteY8" fmla="*/ 29377 h 116420"/>
                  <a:gd name="connsiteX9" fmla="*/ 5340 w 152320"/>
                  <a:gd name="connsiteY9" fmla="*/ 19705 h 116420"/>
                  <a:gd name="connsiteX10" fmla="*/ 102057 w 152320"/>
                  <a:gd name="connsiteY10" fmla="*/ 3586 h 116420"/>
                  <a:gd name="connsiteX11" fmla="*/ 114953 w 152320"/>
                  <a:gd name="connsiteY11" fmla="*/ 16481 h 116420"/>
                  <a:gd name="connsiteX12" fmla="*/ 118176 w 152320"/>
                  <a:gd name="connsiteY12" fmla="*/ 26153 h 116420"/>
                  <a:gd name="connsiteX13" fmla="*/ 150415 w 152320"/>
                  <a:gd name="connsiteY13" fmla="*/ 55167 h 116420"/>
                  <a:gd name="connsiteX14" fmla="*/ 105282 w 152320"/>
                  <a:gd name="connsiteY14" fmla="*/ 97078 h 116420"/>
                  <a:gd name="connsiteX15" fmla="*/ 40804 w 152320"/>
                  <a:gd name="connsiteY15" fmla="*/ 116421 h 116420"/>
                  <a:gd name="connsiteX16" fmla="*/ 11788 w 152320"/>
                  <a:gd name="connsiteY16" fmla="*/ 84182 h 116420"/>
                  <a:gd name="connsiteX17" fmla="*/ 11788 w 152320"/>
                  <a:gd name="connsiteY17" fmla="*/ 84182 h 116420"/>
                  <a:gd name="connsiteX18" fmla="*/ 15013 w 152320"/>
                  <a:gd name="connsiteY18" fmla="*/ 93854 h 116420"/>
                  <a:gd name="connsiteX19" fmla="*/ 98834 w 152320"/>
                  <a:gd name="connsiteY19" fmla="*/ 90630 h 116420"/>
                  <a:gd name="connsiteX20" fmla="*/ 137520 w 152320"/>
                  <a:gd name="connsiteY20" fmla="*/ 64840 h 116420"/>
                  <a:gd name="connsiteX21" fmla="*/ 111730 w 152320"/>
                  <a:gd name="connsiteY21" fmla="*/ 45496 h 116420"/>
                  <a:gd name="connsiteX22" fmla="*/ 111730 w 152320"/>
                  <a:gd name="connsiteY22" fmla="*/ 45496 h 116420"/>
                  <a:gd name="connsiteX23" fmla="*/ 11788 w 152320"/>
                  <a:gd name="connsiteY23" fmla="*/ 84182 h 116420"/>
                  <a:gd name="connsiteX24" fmla="*/ 11788 w 152320"/>
                  <a:gd name="connsiteY24" fmla="*/ 84182 h 116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52320" h="116420">
                    <a:moveTo>
                      <a:pt x="40804" y="116421"/>
                    </a:moveTo>
                    <a:cubicBezTo>
                      <a:pt x="24685" y="116421"/>
                      <a:pt x="11788" y="109974"/>
                      <a:pt x="5340" y="100301"/>
                    </a:cubicBezTo>
                    <a:cubicBezTo>
                      <a:pt x="-1106" y="93854"/>
                      <a:pt x="-1106" y="84182"/>
                      <a:pt x="2117" y="80959"/>
                    </a:cubicBezTo>
                    <a:cubicBezTo>
                      <a:pt x="5340" y="74511"/>
                      <a:pt x="11788" y="71287"/>
                      <a:pt x="11788" y="71287"/>
                    </a:cubicBezTo>
                    <a:cubicBezTo>
                      <a:pt x="79491" y="58391"/>
                      <a:pt x="98834" y="45496"/>
                      <a:pt x="105282" y="35824"/>
                    </a:cubicBezTo>
                    <a:cubicBezTo>
                      <a:pt x="108505" y="32601"/>
                      <a:pt x="108505" y="29377"/>
                      <a:pt x="105282" y="22929"/>
                    </a:cubicBezTo>
                    <a:cubicBezTo>
                      <a:pt x="105282" y="19705"/>
                      <a:pt x="102057" y="16481"/>
                      <a:pt x="98834" y="16481"/>
                    </a:cubicBezTo>
                    <a:cubicBezTo>
                      <a:pt x="79491" y="6809"/>
                      <a:pt x="31133" y="26153"/>
                      <a:pt x="11788" y="32601"/>
                    </a:cubicBezTo>
                    <a:cubicBezTo>
                      <a:pt x="8565" y="32601"/>
                      <a:pt x="5340" y="32601"/>
                      <a:pt x="2117" y="29377"/>
                    </a:cubicBezTo>
                    <a:cubicBezTo>
                      <a:pt x="2117" y="26153"/>
                      <a:pt x="2117" y="22929"/>
                      <a:pt x="5340" y="19705"/>
                    </a:cubicBezTo>
                    <a:cubicBezTo>
                      <a:pt x="11788" y="16481"/>
                      <a:pt x="73043" y="-9310"/>
                      <a:pt x="102057" y="3586"/>
                    </a:cubicBezTo>
                    <a:cubicBezTo>
                      <a:pt x="108505" y="6809"/>
                      <a:pt x="111730" y="10033"/>
                      <a:pt x="114953" y="16481"/>
                    </a:cubicBezTo>
                    <a:cubicBezTo>
                      <a:pt x="114953" y="19705"/>
                      <a:pt x="118176" y="22929"/>
                      <a:pt x="118176" y="26153"/>
                    </a:cubicBezTo>
                    <a:cubicBezTo>
                      <a:pt x="121401" y="29377"/>
                      <a:pt x="147192" y="39048"/>
                      <a:pt x="150415" y="55167"/>
                    </a:cubicBezTo>
                    <a:cubicBezTo>
                      <a:pt x="160088" y="77735"/>
                      <a:pt x="131072" y="87406"/>
                      <a:pt x="105282" y="97078"/>
                    </a:cubicBezTo>
                    <a:cubicBezTo>
                      <a:pt x="76266" y="113198"/>
                      <a:pt x="56923" y="116421"/>
                      <a:pt x="40804" y="116421"/>
                    </a:cubicBezTo>
                    <a:close/>
                    <a:moveTo>
                      <a:pt x="11788" y="84182"/>
                    </a:moveTo>
                    <a:cubicBezTo>
                      <a:pt x="11788" y="84182"/>
                      <a:pt x="11788" y="84182"/>
                      <a:pt x="11788" y="84182"/>
                    </a:cubicBezTo>
                    <a:cubicBezTo>
                      <a:pt x="11788" y="87406"/>
                      <a:pt x="11788" y="90630"/>
                      <a:pt x="15013" y="93854"/>
                    </a:cubicBezTo>
                    <a:cubicBezTo>
                      <a:pt x="24685" y="106750"/>
                      <a:pt x="53698" y="106750"/>
                      <a:pt x="98834" y="90630"/>
                    </a:cubicBezTo>
                    <a:cubicBezTo>
                      <a:pt x="131072" y="77735"/>
                      <a:pt x="140744" y="71287"/>
                      <a:pt x="137520" y="64840"/>
                    </a:cubicBezTo>
                    <a:cubicBezTo>
                      <a:pt x="134295" y="55167"/>
                      <a:pt x="121401" y="48720"/>
                      <a:pt x="111730" y="45496"/>
                    </a:cubicBezTo>
                    <a:lnTo>
                      <a:pt x="111730" y="45496"/>
                    </a:lnTo>
                    <a:cubicBezTo>
                      <a:pt x="108505" y="51943"/>
                      <a:pt x="89162" y="68063"/>
                      <a:pt x="11788" y="84182"/>
                    </a:cubicBezTo>
                    <a:lnTo>
                      <a:pt x="11788" y="84182"/>
                    </a:ln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1DB868A7-546A-4F80-A64F-9CA1A5633C22}"/>
                  </a:ext>
                </a:extLst>
              </p:cNvPr>
              <p:cNvSpPr/>
              <p:nvPr/>
            </p:nvSpPr>
            <p:spPr>
              <a:xfrm>
                <a:off x="25104052" y="10129411"/>
                <a:ext cx="135900" cy="83015"/>
              </a:xfrm>
              <a:custGeom>
                <a:avLst/>
                <a:gdLst>
                  <a:gd name="connsiteX0" fmla="*/ 23065 w 135900"/>
                  <a:gd name="connsiteY0" fmla="*/ 83015 h 83015"/>
                  <a:gd name="connsiteX1" fmla="*/ 23065 w 135900"/>
                  <a:gd name="connsiteY1" fmla="*/ 83015 h 83015"/>
                  <a:gd name="connsiteX2" fmla="*/ 3723 w 135900"/>
                  <a:gd name="connsiteY2" fmla="*/ 70120 h 83015"/>
                  <a:gd name="connsiteX3" fmla="*/ 3723 w 135900"/>
                  <a:gd name="connsiteY3" fmla="*/ 41105 h 83015"/>
                  <a:gd name="connsiteX4" fmla="*/ 13394 w 135900"/>
                  <a:gd name="connsiteY4" fmla="*/ 37881 h 83015"/>
                  <a:gd name="connsiteX5" fmla="*/ 16619 w 135900"/>
                  <a:gd name="connsiteY5" fmla="*/ 47552 h 83015"/>
                  <a:gd name="connsiteX6" fmla="*/ 19842 w 135900"/>
                  <a:gd name="connsiteY6" fmla="*/ 63672 h 83015"/>
                  <a:gd name="connsiteX7" fmla="*/ 26290 w 135900"/>
                  <a:gd name="connsiteY7" fmla="*/ 70120 h 83015"/>
                  <a:gd name="connsiteX8" fmla="*/ 110110 w 135900"/>
                  <a:gd name="connsiteY8" fmla="*/ 44329 h 83015"/>
                  <a:gd name="connsiteX9" fmla="*/ 119781 w 135900"/>
                  <a:gd name="connsiteY9" fmla="*/ 31433 h 83015"/>
                  <a:gd name="connsiteX10" fmla="*/ 110110 w 135900"/>
                  <a:gd name="connsiteY10" fmla="*/ 12090 h 83015"/>
                  <a:gd name="connsiteX11" fmla="*/ 110110 w 135900"/>
                  <a:gd name="connsiteY11" fmla="*/ 2418 h 83015"/>
                  <a:gd name="connsiteX12" fmla="*/ 119781 w 135900"/>
                  <a:gd name="connsiteY12" fmla="*/ 2418 h 83015"/>
                  <a:gd name="connsiteX13" fmla="*/ 135901 w 135900"/>
                  <a:gd name="connsiteY13" fmla="*/ 31433 h 83015"/>
                  <a:gd name="connsiteX14" fmla="*/ 119781 w 135900"/>
                  <a:gd name="connsiteY14" fmla="*/ 54000 h 83015"/>
                  <a:gd name="connsiteX15" fmla="*/ 23065 w 135900"/>
                  <a:gd name="connsiteY15" fmla="*/ 83015 h 83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5900" h="83015">
                    <a:moveTo>
                      <a:pt x="23065" y="83015"/>
                    </a:moveTo>
                    <a:cubicBezTo>
                      <a:pt x="19842" y="83015"/>
                      <a:pt x="19842" y="83015"/>
                      <a:pt x="23065" y="83015"/>
                    </a:cubicBezTo>
                    <a:cubicBezTo>
                      <a:pt x="13394" y="83015"/>
                      <a:pt x="6946" y="76568"/>
                      <a:pt x="3723" y="70120"/>
                    </a:cubicBezTo>
                    <a:cubicBezTo>
                      <a:pt x="499" y="60449"/>
                      <a:pt x="-2726" y="50776"/>
                      <a:pt x="3723" y="41105"/>
                    </a:cubicBezTo>
                    <a:cubicBezTo>
                      <a:pt x="6946" y="37881"/>
                      <a:pt x="10171" y="37881"/>
                      <a:pt x="13394" y="37881"/>
                    </a:cubicBezTo>
                    <a:cubicBezTo>
                      <a:pt x="16619" y="41105"/>
                      <a:pt x="16619" y="44329"/>
                      <a:pt x="16619" y="47552"/>
                    </a:cubicBezTo>
                    <a:cubicBezTo>
                      <a:pt x="16619" y="47552"/>
                      <a:pt x="16619" y="57224"/>
                      <a:pt x="19842" y="63672"/>
                    </a:cubicBezTo>
                    <a:cubicBezTo>
                      <a:pt x="19842" y="66896"/>
                      <a:pt x="23065" y="70120"/>
                      <a:pt x="26290" y="70120"/>
                    </a:cubicBezTo>
                    <a:cubicBezTo>
                      <a:pt x="39184" y="70120"/>
                      <a:pt x="81096" y="63672"/>
                      <a:pt x="110110" y="44329"/>
                    </a:cubicBezTo>
                    <a:cubicBezTo>
                      <a:pt x="116558" y="41105"/>
                      <a:pt x="119781" y="34657"/>
                      <a:pt x="119781" y="31433"/>
                    </a:cubicBezTo>
                    <a:cubicBezTo>
                      <a:pt x="119781" y="24986"/>
                      <a:pt x="113335" y="15313"/>
                      <a:pt x="110110" y="12090"/>
                    </a:cubicBezTo>
                    <a:cubicBezTo>
                      <a:pt x="106887" y="8866"/>
                      <a:pt x="106887" y="5642"/>
                      <a:pt x="110110" y="2418"/>
                    </a:cubicBezTo>
                    <a:cubicBezTo>
                      <a:pt x="113335" y="-806"/>
                      <a:pt x="116558" y="-806"/>
                      <a:pt x="119781" y="2418"/>
                    </a:cubicBezTo>
                    <a:cubicBezTo>
                      <a:pt x="123007" y="2418"/>
                      <a:pt x="135901" y="15313"/>
                      <a:pt x="135901" y="31433"/>
                    </a:cubicBezTo>
                    <a:cubicBezTo>
                      <a:pt x="135901" y="41105"/>
                      <a:pt x="129455" y="47552"/>
                      <a:pt x="119781" y="54000"/>
                    </a:cubicBezTo>
                    <a:cubicBezTo>
                      <a:pt x="81096" y="73344"/>
                      <a:pt x="39184" y="83015"/>
                      <a:pt x="23065" y="8301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3" name="图形 1">
              <a:extLst>
                <a:ext uri="{FF2B5EF4-FFF2-40B4-BE49-F238E27FC236}">
                  <a16:creationId xmlns:a16="http://schemas.microsoft.com/office/drawing/2014/main" id="{1559A79A-EAAB-42F7-A3EF-4B32B8A40E1F}"/>
                </a:ext>
              </a:extLst>
            </p:cNvPr>
            <p:cNvGrpSpPr/>
            <p:nvPr/>
          </p:nvGrpSpPr>
          <p:grpSpPr>
            <a:xfrm>
              <a:off x="25153019" y="10060473"/>
              <a:ext cx="132686" cy="103595"/>
              <a:chOff x="25153019" y="10060473"/>
              <a:chExt cx="132686" cy="103595"/>
            </a:xfrm>
          </p:grpSpPr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5A8346D1-0B4E-4A63-A9C3-1A17ACD6D15D}"/>
                  </a:ext>
                </a:extLst>
              </p:cNvPr>
              <p:cNvSpPr/>
              <p:nvPr/>
            </p:nvSpPr>
            <p:spPr>
              <a:xfrm>
                <a:off x="25158812" y="10065435"/>
                <a:ext cx="126893" cy="92607"/>
              </a:xfrm>
              <a:custGeom>
                <a:avLst/>
                <a:gdLst>
                  <a:gd name="connsiteX0" fmla="*/ 10217 w 126893"/>
                  <a:gd name="connsiteY0" fmla="*/ 92186 h 92607"/>
                  <a:gd name="connsiteX1" fmla="*/ 26336 w 126893"/>
                  <a:gd name="connsiteY1" fmla="*/ 72842 h 92607"/>
                  <a:gd name="connsiteX2" fmla="*/ 74694 w 126893"/>
                  <a:gd name="connsiteY2" fmla="*/ 50275 h 92607"/>
                  <a:gd name="connsiteX3" fmla="*/ 126276 w 126893"/>
                  <a:gd name="connsiteY3" fmla="*/ 69618 h 92607"/>
                  <a:gd name="connsiteX4" fmla="*/ 103708 w 126893"/>
                  <a:gd name="connsiteY4" fmla="*/ 5141 h 92607"/>
                  <a:gd name="connsiteX5" fmla="*/ 10217 w 126893"/>
                  <a:gd name="connsiteY5" fmla="*/ 21260 h 92607"/>
                  <a:gd name="connsiteX6" fmla="*/ 10217 w 126893"/>
                  <a:gd name="connsiteY6" fmla="*/ 92186 h 92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6893" h="92607">
                    <a:moveTo>
                      <a:pt x="10217" y="92186"/>
                    </a:moveTo>
                    <a:cubicBezTo>
                      <a:pt x="19888" y="95409"/>
                      <a:pt x="23111" y="79290"/>
                      <a:pt x="26336" y="72842"/>
                    </a:cubicBezTo>
                    <a:cubicBezTo>
                      <a:pt x="42456" y="59947"/>
                      <a:pt x="55350" y="50275"/>
                      <a:pt x="74694" y="50275"/>
                    </a:cubicBezTo>
                    <a:cubicBezTo>
                      <a:pt x="87589" y="50275"/>
                      <a:pt x="113379" y="63170"/>
                      <a:pt x="126276" y="69618"/>
                    </a:cubicBezTo>
                    <a:cubicBezTo>
                      <a:pt x="129499" y="69618"/>
                      <a:pt x="119828" y="11588"/>
                      <a:pt x="103708" y="5141"/>
                    </a:cubicBezTo>
                    <a:cubicBezTo>
                      <a:pt x="77918" y="-4531"/>
                      <a:pt x="29559" y="-1307"/>
                      <a:pt x="10217" y="21260"/>
                    </a:cubicBezTo>
                    <a:cubicBezTo>
                      <a:pt x="3769" y="34155"/>
                      <a:pt x="-9128" y="82514"/>
                      <a:pt x="10217" y="9218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C4A4BBD3-25D3-45DB-8842-D26656D5825D}"/>
                  </a:ext>
                </a:extLst>
              </p:cNvPr>
              <p:cNvSpPr/>
              <p:nvPr/>
            </p:nvSpPr>
            <p:spPr>
              <a:xfrm>
                <a:off x="25153019" y="10060473"/>
                <a:ext cx="117284" cy="103595"/>
              </a:xfrm>
              <a:custGeom>
                <a:avLst/>
                <a:gdLst>
                  <a:gd name="connsiteX0" fmla="*/ 16010 w 117284"/>
                  <a:gd name="connsiteY0" fmla="*/ 103595 h 103595"/>
                  <a:gd name="connsiteX1" fmla="*/ 16010 w 117284"/>
                  <a:gd name="connsiteY1" fmla="*/ 103595 h 103595"/>
                  <a:gd name="connsiteX2" fmla="*/ 3113 w 117284"/>
                  <a:gd name="connsiteY2" fmla="*/ 93924 h 103595"/>
                  <a:gd name="connsiteX3" fmla="*/ 16010 w 117284"/>
                  <a:gd name="connsiteY3" fmla="*/ 22998 h 103595"/>
                  <a:gd name="connsiteX4" fmla="*/ 112726 w 117284"/>
                  <a:gd name="connsiteY4" fmla="*/ 3655 h 103595"/>
                  <a:gd name="connsiteX5" fmla="*/ 115949 w 117284"/>
                  <a:gd name="connsiteY5" fmla="*/ 10103 h 103595"/>
                  <a:gd name="connsiteX6" fmla="*/ 109501 w 117284"/>
                  <a:gd name="connsiteY6" fmla="*/ 13327 h 103595"/>
                  <a:gd name="connsiteX7" fmla="*/ 22456 w 117284"/>
                  <a:gd name="connsiteY7" fmla="*/ 26222 h 103595"/>
                  <a:gd name="connsiteX8" fmla="*/ 9562 w 117284"/>
                  <a:gd name="connsiteY8" fmla="*/ 84252 h 103595"/>
                  <a:gd name="connsiteX9" fmla="*/ 12785 w 117284"/>
                  <a:gd name="connsiteY9" fmla="*/ 87476 h 103595"/>
                  <a:gd name="connsiteX10" fmla="*/ 25681 w 117284"/>
                  <a:gd name="connsiteY10" fmla="*/ 77805 h 103595"/>
                  <a:gd name="connsiteX11" fmla="*/ 80487 w 117284"/>
                  <a:gd name="connsiteY11" fmla="*/ 48790 h 103595"/>
                  <a:gd name="connsiteX12" fmla="*/ 86934 w 117284"/>
                  <a:gd name="connsiteY12" fmla="*/ 52013 h 103595"/>
                  <a:gd name="connsiteX13" fmla="*/ 109501 w 117284"/>
                  <a:gd name="connsiteY13" fmla="*/ 81029 h 103595"/>
                  <a:gd name="connsiteX14" fmla="*/ 112726 w 117284"/>
                  <a:gd name="connsiteY14" fmla="*/ 87476 h 103595"/>
                  <a:gd name="connsiteX15" fmla="*/ 106278 w 117284"/>
                  <a:gd name="connsiteY15" fmla="*/ 90700 h 103595"/>
                  <a:gd name="connsiteX16" fmla="*/ 77262 w 117284"/>
                  <a:gd name="connsiteY16" fmla="*/ 58461 h 103595"/>
                  <a:gd name="connsiteX17" fmla="*/ 77262 w 117284"/>
                  <a:gd name="connsiteY17" fmla="*/ 58461 h 103595"/>
                  <a:gd name="connsiteX18" fmla="*/ 35352 w 117284"/>
                  <a:gd name="connsiteY18" fmla="*/ 84252 h 103595"/>
                  <a:gd name="connsiteX19" fmla="*/ 16010 w 117284"/>
                  <a:gd name="connsiteY19" fmla="*/ 103595 h 103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7284" h="103595">
                    <a:moveTo>
                      <a:pt x="16010" y="103595"/>
                    </a:moveTo>
                    <a:cubicBezTo>
                      <a:pt x="16010" y="103595"/>
                      <a:pt x="12785" y="103595"/>
                      <a:pt x="16010" y="103595"/>
                    </a:cubicBezTo>
                    <a:cubicBezTo>
                      <a:pt x="9562" y="103595"/>
                      <a:pt x="6337" y="100371"/>
                      <a:pt x="3113" y="93924"/>
                    </a:cubicBezTo>
                    <a:cubicBezTo>
                      <a:pt x="-3335" y="81029"/>
                      <a:pt x="-110" y="48790"/>
                      <a:pt x="16010" y="22998"/>
                    </a:cubicBezTo>
                    <a:cubicBezTo>
                      <a:pt x="38575" y="-12464"/>
                      <a:pt x="112726" y="3655"/>
                      <a:pt x="112726" y="3655"/>
                    </a:cubicBezTo>
                    <a:cubicBezTo>
                      <a:pt x="115949" y="3655"/>
                      <a:pt x="119172" y="6879"/>
                      <a:pt x="115949" y="10103"/>
                    </a:cubicBezTo>
                    <a:cubicBezTo>
                      <a:pt x="115949" y="13327"/>
                      <a:pt x="112726" y="16551"/>
                      <a:pt x="109501" y="13327"/>
                    </a:cubicBezTo>
                    <a:cubicBezTo>
                      <a:pt x="90159" y="10103"/>
                      <a:pt x="38575" y="3655"/>
                      <a:pt x="22456" y="26222"/>
                    </a:cubicBezTo>
                    <a:cubicBezTo>
                      <a:pt x="6337" y="48790"/>
                      <a:pt x="6337" y="74581"/>
                      <a:pt x="9562" y="84252"/>
                    </a:cubicBezTo>
                    <a:cubicBezTo>
                      <a:pt x="12785" y="87476"/>
                      <a:pt x="12785" y="87476"/>
                      <a:pt x="12785" y="87476"/>
                    </a:cubicBezTo>
                    <a:cubicBezTo>
                      <a:pt x="16010" y="87476"/>
                      <a:pt x="19233" y="81029"/>
                      <a:pt x="25681" y="77805"/>
                    </a:cubicBezTo>
                    <a:cubicBezTo>
                      <a:pt x="35352" y="64909"/>
                      <a:pt x="51472" y="45566"/>
                      <a:pt x="80487" y="48790"/>
                    </a:cubicBezTo>
                    <a:cubicBezTo>
                      <a:pt x="83710" y="48790"/>
                      <a:pt x="83710" y="52013"/>
                      <a:pt x="86934" y="52013"/>
                    </a:cubicBezTo>
                    <a:cubicBezTo>
                      <a:pt x="90159" y="58461"/>
                      <a:pt x="96607" y="77805"/>
                      <a:pt x="109501" y="81029"/>
                    </a:cubicBezTo>
                    <a:cubicBezTo>
                      <a:pt x="112726" y="81029"/>
                      <a:pt x="112726" y="84252"/>
                      <a:pt x="112726" y="87476"/>
                    </a:cubicBezTo>
                    <a:cubicBezTo>
                      <a:pt x="112726" y="90700"/>
                      <a:pt x="109501" y="90700"/>
                      <a:pt x="106278" y="90700"/>
                    </a:cubicBezTo>
                    <a:cubicBezTo>
                      <a:pt x="90159" y="84252"/>
                      <a:pt x="80487" y="64909"/>
                      <a:pt x="77262" y="58461"/>
                    </a:cubicBezTo>
                    <a:cubicBezTo>
                      <a:pt x="77262" y="58461"/>
                      <a:pt x="77262" y="58461"/>
                      <a:pt x="77262" y="58461"/>
                    </a:cubicBezTo>
                    <a:cubicBezTo>
                      <a:pt x="57920" y="58461"/>
                      <a:pt x="45023" y="71356"/>
                      <a:pt x="35352" y="84252"/>
                    </a:cubicBezTo>
                    <a:cubicBezTo>
                      <a:pt x="28904" y="97148"/>
                      <a:pt x="22456" y="103595"/>
                      <a:pt x="16010" y="10359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2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68481678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图形 1">
            <a:extLst>
              <a:ext uri="{FF2B5EF4-FFF2-40B4-BE49-F238E27FC236}">
                <a16:creationId xmlns:a16="http://schemas.microsoft.com/office/drawing/2014/main" id="{AD3FB609-0B4E-41F3-B5B9-8B7A29FFB81A}"/>
              </a:ext>
            </a:extLst>
          </p:cNvPr>
          <p:cNvGrpSpPr/>
          <p:nvPr/>
        </p:nvGrpSpPr>
        <p:grpSpPr>
          <a:xfrm>
            <a:off x="2099209" y="2252982"/>
            <a:ext cx="4099776" cy="4466796"/>
            <a:chOff x="2185986" y="2252982"/>
            <a:chExt cx="4099776" cy="4466796"/>
          </a:xfrm>
        </p:grpSpPr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4C2B0CF8-1DAF-4290-9903-83C147A82166}"/>
                </a:ext>
              </a:extLst>
            </p:cNvPr>
            <p:cNvSpPr/>
            <p:nvPr/>
          </p:nvSpPr>
          <p:spPr>
            <a:xfrm>
              <a:off x="2185986" y="6357768"/>
              <a:ext cx="4099776" cy="362011"/>
            </a:xfrm>
            <a:custGeom>
              <a:avLst/>
              <a:gdLst>
                <a:gd name="connsiteX0" fmla="*/ 0 w 4099776"/>
                <a:gd name="connsiteY0" fmla="*/ 346927 h 362011"/>
                <a:gd name="connsiteX1" fmla="*/ 4099777 w 4099776"/>
                <a:gd name="connsiteY1" fmla="*/ 362011 h 362011"/>
                <a:gd name="connsiteX2" fmla="*/ 3445140 w 4099776"/>
                <a:gd name="connsiteY2" fmla="*/ 18100 h 362011"/>
                <a:gd name="connsiteX3" fmla="*/ 654637 w 4099776"/>
                <a:gd name="connsiteY3" fmla="*/ 0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9776" h="362011">
                  <a:moveTo>
                    <a:pt x="0" y="346927"/>
                  </a:moveTo>
                  <a:lnTo>
                    <a:pt x="4099777" y="362011"/>
                  </a:lnTo>
                  <a:lnTo>
                    <a:pt x="3445140" y="18100"/>
                  </a:lnTo>
                  <a:lnTo>
                    <a:pt x="654637" y="0"/>
                  </a:ln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5840010D-463F-4F98-ACC9-003403402F23}"/>
                </a:ext>
              </a:extLst>
            </p:cNvPr>
            <p:cNvSpPr/>
            <p:nvPr/>
          </p:nvSpPr>
          <p:spPr>
            <a:xfrm>
              <a:off x="5079058" y="3419444"/>
              <a:ext cx="271721" cy="678794"/>
            </a:xfrm>
            <a:custGeom>
              <a:avLst/>
              <a:gdLst>
                <a:gd name="connsiteX0" fmla="*/ 0 w 271721"/>
                <a:gd name="connsiteY0" fmla="*/ 0 h 678794"/>
                <a:gd name="connsiteX1" fmla="*/ 12067 w 271721"/>
                <a:gd name="connsiteY1" fmla="*/ 398212 h 678794"/>
                <a:gd name="connsiteX2" fmla="*/ 208156 w 271721"/>
                <a:gd name="connsiteY2" fmla="*/ 678771 h 678794"/>
                <a:gd name="connsiteX3" fmla="*/ 247374 w 271721"/>
                <a:gd name="connsiteY3" fmla="*/ 30168 h 678794"/>
                <a:gd name="connsiteX4" fmla="*/ 0 w 271721"/>
                <a:gd name="connsiteY4" fmla="*/ 0 h 678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1721" h="678794">
                  <a:moveTo>
                    <a:pt x="0" y="0"/>
                  </a:moveTo>
                  <a:lnTo>
                    <a:pt x="12067" y="398212"/>
                  </a:lnTo>
                  <a:cubicBezTo>
                    <a:pt x="12067" y="398212"/>
                    <a:pt x="96536" y="681788"/>
                    <a:pt x="208156" y="678771"/>
                  </a:cubicBezTo>
                  <a:cubicBezTo>
                    <a:pt x="322793" y="675754"/>
                    <a:pt x="247374" y="30168"/>
                    <a:pt x="247374" y="3016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F12852F0-896E-452F-8A11-E46B92EB4A9E}"/>
                </a:ext>
              </a:extLst>
            </p:cNvPr>
            <p:cNvSpPr/>
            <p:nvPr/>
          </p:nvSpPr>
          <p:spPr>
            <a:xfrm>
              <a:off x="3238835" y="4348606"/>
              <a:ext cx="2356216" cy="2072513"/>
            </a:xfrm>
            <a:custGeom>
              <a:avLst/>
              <a:gdLst>
                <a:gd name="connsiteX0" fmla="*/ 1888492 w 2356216"/>
                <a:gd name="connsiteY0" fmla="*/ 21117 h 2072513"/>
                <a:gd name="connsiteX1" fmla="*/ 2356089 w 2356216"/>
                <a:gd name="connsiteY1" fmla="*/ 962346 h 2072513"/>
                <a:gd name="connsiteX2" fmla="*/ 1982011 w 2356216"/>
                <a:gd name="connsiteY2" fmla="*/ 2042346 h 2072513"/>
                <a:gd name="connsiteX3" fmla="*/ 1807039 w 2356216"/>
                <a:gd name="connsiteY3" fmla="*/ 2072514 h 2072513"/>
                <a:gd name="connsiteX4" fmla="*/ 1982011 w 2356216"/>
                <a:gd name="connsiteY4" fmla="*/ 1037765 h 2072513"/>
                <a:gd name="connsiteX5" fmla="*/ 1345475 w 2356216"/>
                <a:gd name="connsiteY5" fmla="*/ 443464 h 2072513"/>
                <a:gd name="connsiteX6" fmla="*/ 165922 w 2356216"/>
                <a:gd name="connsiteY6" fmla="*/ 2072514 h 2072513"/>
                <a:gd name="connsiteX7" fmla="*/ 0 w 2356216"/>
                <a:gd name="connsiteY7" fmla="*/ 2048380 h 2072513"/>
                <a:gd name="connsiteX8" fmla="*/ 877877 w 2356216"/>
                <a:gd name="connsiteY8" fmla="*/ 0 h 2072513"/>
                <a:gd name="connsiteX9" fmla="*/ 1888492 w 2356216"/>
                <a:gd name="connsiteY9" fmla="*/ 21117 h 2072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56216" h="2072513">
                  <a:moveTo>
                    <a:pt x="1888492" y="21117"/>
                  </a:moveTo>
                  <a:cubicBezTo>
                    <a:pt x="1888492" y="21117"/>
                    <a:pt x="2365140" y="802458"/>
                    <a:pt x="2356089" y="962346"/>
                  </a:cubicBezTo>
                  <a:cubicBezTo>
                    <a:pt x="2341006" y="1212737"/>
                    <a:pt x="1982011" y="2042346"/>
                    <a:pt x="1982011" y="2042346"/>
                  </a:cubicBezTo>
                  <a:lnTo>
                    <a:pt x="1807039" y="2072514"/>
                  </a:lnTo>
                  <a:cubicBezTo>
                    <a:pt x="1807039" y="2072514"/>
                    <a:pt x="1988045" y="1134302"/>
                    <a:pt x="1982011" y="1037765"/>
                  </a:cubicBezTo>
                  <a:cubicBezTo>
                    <a:pt x="1975978" y="898995"/>
                    <a:pt x="1360559" y="473631"/>
                    <a:pt x="1345475" y="443464"/>
                  </a:cubicBezTo>
                  <a:cubicBezTo>
                    <a:pt x="1330391" y="413296"/>
                    <a:pt x="165922" y="2072514"/>
                    <a:pt x="165922" y="2072514"/>
                  </a:cubicBezTo>
                  <a:lnTo>
                    <a:pt x="0" y="2048380"/>
                  </a:lnTo>
                  <a:cubicBezTo>
                    <a:pt x="0" y="2048380"/>
                    <a:pt x="832626" y="96536"/>
                    <a:pt x="877877" y="0"/>
                  </a:cubicBezTo>
                  <a:cubicBezTo>
                    <a:pt x="1568715" y="33184"/>
                    <a:pt x="1888492" y="21117"/>
                    <a:pt x="1888492" y="21117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A41EAAD3-1A50-49B8-A8F1-4E259C4A07FA}"/>
                </a:ext>
              </a:extLst>
            </p:cNvPr>
            <p:cNvSpPr/>
            <p:nvPr/>
          </p:nvSpPr>
          <p:spPr>
            <a:xfrm>
              <a:off x="3573695" y="4351622"/>
              <a:ext cx="2081564" cy="1212737"/>
            </a:xfrm>
            <a:custGeom>
              <a:avLst/>
              <a:gdLst>
                <a:gd name="connsiteX0" fmla="*/ 1553631 w 2081564"/>
                <a:gd name="connsiteY0" fmla="*/ 18101 h 1212737"/>
                <a:gd name="connsiteX1" fmla="*/ 2081564 w 2081564"/>
                <a:gd name="connsiteY1" fmla="*/ 962346 h 1212737"/>
                <a:gd name="connsiteX2" fmla="*/ 1568715 w 2081564"/>
                <a:gd name="connsiteY2" fmla="*/ 1107151 h 1212737"/>
                <a:gd name="connsiteX3" fmla="*/ 1092067 w 2081564"/>
                <a:gd name="connsiteY3" fmla="*/ 558101 h 1212737"/>
                <a:gd name="connsiteX4" fmla="*/ 536983 w 2081564"/>
                <a:gd name="connsiteY4" fmla="*/ 1212738 h 1212737"/>
                <a:gd name="connsiteX5" fmla="*/ 0 w 2081564"/>
                <a:gd name="connsiteY5" fmla="*/ 1089050 h 1212737"/>
                <a:gd name="connsiteX6" fmla="*/ 543017 w 2081564"/>
                <a:gd name="connsiteY6" fmla="*/ 0 h 1212737"/>
                <a:gd name="connsiteX7" fmla="*/ 1553631 w 2081564"/>
                <a:gd name="connsiteY7" fmla="*/ 18101 h 12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81564" h="1212737">
                  <a:moveTo>
                    <a:pt x="1553631" y="18101"/>
                  </a:moveTo>
                  <a:cubicBezTo>
                    <a:pt x="1553631" y="18101"/>
                    <a:pt x="1975978" y="606369"/>
                    <a:pt x="2081564" y="962346"/>
                  </a:cubicBezTo>
                  <a:cubicBezTo>
                    <a:pt x="1960894" y="995531"/>
                    <a:pt x="1825140" y="1055866"/>
                    <a:pt x="1568715" y="1107151"/>
                  </a:cubicBezTo>
                  <a:cubicBezTo>
                    <a:pt x="1448045" y="983464"/>
                    <a:pt x="1107151" y="588268"/>
                    <a:pt x="1092067" y="558101"/>
                  </a:cubicBezTo>
                  <a:cubicBezTo>
                    <a:pt x="1076983" y="527933"/>
                    <a:pt x="536983" y="1212738"/>
                    <a:pt x="536983" y="1212738"/>
                  </a:cubicBezTo>
                  <a:cubicBezTo>
                    <a:pt x="536983" y="1212738"/>
                    <a:pt x="271508" y="1167486"/>
                    <a:pt x="0" y="1089050"/>
                  </a:cubicBezTo>
                  <a:cubicBezTo>
                    <a:pt x="63352" y="895978"/>
                    <a:pt x="497765" y="96536"/>
                    <a:pt x="543017" y="0"/>
                  </a:cubicBezTo>
                  <a:cubicBezTo>
                    <a:pt x="1233855" y="30168"/>
                    <a:pt x="1553631" y="18101"/>
                    <a:pt x="1553631" y="18101"/>
                  </a:cubicBez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8E78FE62-C2D6-4765-BEFA-4640423C3071}"/>
                </a:ext>
              </a:extLst>
            </p:cNvPr>
            <p:cNvSpPr/>
            <p:nvPr/>
          </p:nvSpPr>
          <p:spPr>
            <a:xfrm>
              <a:off x="4659729" y="4493410"/>
              <a:ext cx="43524" cy="422346"/>
            </a:xfrm>
            <a:custGeom>
              <a:avLst/>
              <a:gdLst>
                <a:gd name="connsiteX0" fmla="*/ 6033 w 43524"/>
                <a:gd name="connsiteY0" fmla="*/ 422346 h 422346"/>
                <a:gd name="connsiteX1" fmla="*/ 6033 w 43524"/>
                <a:gd name="connsiteY1" fmla="*/ 422346 h 422346"/>
                <a:gd name="connsiteX2" fmla="*/ 0 w 43524"/>
                <a:gd name="connsiteY2" fmla="*/ 413296 h 422346"/>
                <a:gd name="connsiteX3" fmla="*/ 27151 w 43524"/>
                <a:gd name="connsiteY3" fmla="*/ 6033 h 422346"/>
                <a:gd name="connsiteX4" fmla="*/ 33184 w 43524"/>
                <a:gd name="connsiteY4" fmla="*/ 0 h 422346"/>
                <a:gd name="connsiteX5" fmla="*/ 33184 w 43524"/>
                <a:gd name="connsiteY5" fmla="*/ 0 h 422346"/>
                <a:gd name="connsiteX6" fmla="*/ 39218 w 43524"/>
                <a:gd name="connsiteY6" fmla="*/ 6033 h 422346"/>
                <a:gd name="connsiteX7" fmla="*/ 9050 w 43524"/>
                <a:gd name="connsiteY7" fmla="*/ 419329 h 422346"/>
                <a:gd name="connsiteX8" fmla="*/ 6033 w 43524"/>
                <a:gd name="connsiteY8" fmla="*/ 422346 h 422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524" h="422346">
                  <a:moveTo>
                    <a:pt x="6033" y="422346"/>
                  </a:moveTo>
                  <a:cubicBezTo>
                    <a:pt x="3017" y="422346"/>
                    <a:pt x="3017" y="422346"/>
                    <a:pt x="6033" y="422346"/>
                  </a:cubicBezTo>
                  <a:cubicBezTo>
                    <a:pt x="0" y="419329"/>
                    <a:pt x="0" y="416313"/>
                    <a:pt x="0" y="413296"/>
                  </a:cubicBezTo>
                  <a:cubicBezTo>
                    <a:pt x="48268" y="301676"/>
                    <a:pt x="30168" y="9050"/>
                    <a:pt x="27151" y="6033"/>
                  </a:cubicBezTo>
                  <a:cubicBezTo>
                    <a:pt x="27151" y="3017"/>
                    <a:pt x="30168" y="0"/>
                    <a:pt x="33184" y="0"/>
                  </a:cubicBezTo>
                  <a:lnTo>
                    <a:pt x="33184" y="0"/>
                  </a:lnTo>
                  <a:cubicBezTo>
                    <a:pt x="36201" y="0"/>
                    <a:pt x="39218" y="3017"/>
                    <a:pt x="39218" y="6033"/>
                  </a:cubicBezTo>
                  <a:cubicBezTo>
                    <a:pt x="39218" y="18101"/>
                    <a:pt x="60335" y="304693"/>
                    <a:pt x="9050" y="419329"/>
                  </a:cubicBezTo>
                  <a:cubicBezTo>
                    <a:pt x="9050" y="422346"/>
                    <a:pt x="6033" y="422346"/>
                    <a:pt x="6033" y="422346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82CDC6A0-FAA0-4084-8FF3-A5995A65AA45}"/>
                </a:ext>
              </a:extLst>
            </p:cNvPr>
            <p:cNvSpPr/>
            <p:nvPr/>
          </p:nvSpPr>
          <p:spPr>
            <a:xfrm>
              <a:off x="4688647" y="4421008"/>
              <a:ext cx="124936" cy="334860"/>
            </a:xfrm>
            <a:custGeom>
              <a:avLst/>
              <a:gdLst>
                <a:gd name="connsiteX0" fmla="*/ 7283 w 124936"/>
                <a:gd name="connsiteY0" fmla="*/ 334860 h 334860"/>
                <a:gd name="connsiteX1" fmla="*/ 1250 w 124936"/>
                <a:gd name="connsiteY1" fmla="*/ 331844 h 334860"/>
                <a:gd name="connsiteX2" fmla="*/ 4266 w 124936"/>
                <a:gd name="connsiteY2" fmla="*/ 322793 h 334860"/>
                <a:gd name="connsiteX3" fmla="*/ 79685 w 124936"/>
                <a:gd name="connsiteY3" fmla="*/ 265475 h 334860"/>
                <a:gd name="connsiteX4" fmla="*/ 112870 w 124936"/>
                <a:gd name="connsiteY4" fmla="*/ 6033 h 334860"/>
                <a:gd name="connsiteX5" fmla="*/ 118903 w 124936"/>
                <a:gd name="connsiteY5" fmla="*/ 0 h 334860"/>
                <a:gd name="connsiteX6" fmla="*/ 124937 w 124936"/>
                <a:gd name="connsiteY6" fmla="*/ 6033 h 334860"/>
                <a:gd name="connsiteX7" fmla="*/ 91752 w 124936"/>
                <a:gd name="connsiteY7" fmla="*/ 271508 h 334860"/>
                <a:gd name="connsiteX8" fmla="*/ 13317 w 124936"/>
                <a:gd name="connsiteY8" fmla="*/ 331844 h 334860"/>
                <a:gd name="connsiteX9" fmla="*/ 7283 w 124936"/>
                <a:gd name="connsiteY9" fmla="*/ 334860 h 334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936" h="334860">
                  <a:moveTo>
                    <a:pt x="7283" y="334860"/>
                  </a:moveTo>
                  <a:cubicBezTo>
                    <a:pt x="4266" y="334860"/>
                    <a:pt x="4266" y="334860"/>
                    <a:pt x="1250" y="331844"/>
                  </a:cubicBezTo>
                  <a:cubicBezTo>
                    <a:pt x="-1767" y="328827"/>
                    <a:pt x="1250" y="325810"/>
                    <a:pt x="4266" y="322793"/>
                  </a:cubicBezTo>
                  <a:cubicBezTo>
                    <a:pt x="22367" y="310726"/>
                    <a:pt x="70635" y="277542"/>
                    <a:pt x="79685" y="265475"/>
                  </a:cubicBezTo>
                  <a:cubicBezTo>
                    <a:pt x="88736" y="253408"/>
                    <a:pt x="103819" y="99553"/>
                    <a:pt x="112870" y="6033"/>
                  </a:cubicBezTo>
                  <a:cubicBezTo>
                    <a:pt x="112870" y="3017"/>
                    <a:pt x="115887" y="0"/>
                    <a:pt x="118903" y="0"/>
                  </a:cubicBezTo>
                  <a:cubicBezTo>
                    <a:pt x="121920" y="0"/>
                    <a:pt x="124937" y="3017"/>
                    <a:pt x="124937" y="6033"/>
                  </a:cubicBezTo>
                  <a:cubicBezTo>
                    <a:pt x="121920" y="48268"/>
                    <a:pt x="100803" y="256425"/>
                    <a:pt x="91752" y="271508"/>
                  </a:cubicBezTo>
                  <a:cubicBezTo>
                    <a:pt x="79685" y="286592"/>
                    <a:pt x="19350" y="325810"/>
                    <a:pt x="13317" y="331844"/>
                  </a:cubicBezTo>
                  <a:cubicBezTo>
                    <a:pt x="7283" y="334860"/>
                    <a:pt x="7283" y="334860"/>
                    <a:pt x="7283" y="334860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EDE057D5-AB36-4736-B08D-F8BB9F124F3B}"/>
                </a:ext>
              </a:extLst>
            </p:cNvPr>
            <p:cNvSpPr/>
            <p:nvPr/>
          </p:nvSpPr>
          <p:spPr>
            <a:xfrm>
              <a:off x="4526991" y="2804024"/>
              <a:ext cx="247374" cy="255529"/>
            </a:xfrm>
            <a:custGeom>
              <a:avLst/>
              <a:gdLst>
                <a:gd name="connsiteX0" fmla="*/ 247374 w 247374"/>
                <a:gd name="connsiteY0" fmla="*/ 39218 h 255529"/>
                <a:gd name="connsiteX1" fmla="*/ 241341 w 247374"/>
                <a:gd name="connsiteY1" fmla="*/ 211173 h 255529"/>
                <a:gd name="connsiteX2" fmla="*/ 0 w 247374"/>
                <a:gd name="connsiteY2" fmla="*/ 202123 h 255529"/>
                <a:gd name="connsiteX3" fmla="*/ 15084 w 247374"/>
                <a:gd name="connsiteY3" fmla="*/ 0 h 255529"/>
                <a:gd name="connsiteX4" fmla="*/ 247374 w 247374"/>
                <a:gd name="connsiteY4" fmla="*/ 39218 h 255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374" h="255529">
                  <a:moveTo>
                    <a:pt x="247374" y="39218"/>
                  </a:moveTo>
                  <a:cubicBezTo>
                    <a:pt x="247374" y="39218"/>
                    <a:pt x="241341" y="138771"/>
                    <a:pt x="241341" y="211173"/>
                  </a:cubicBezTo>
                  <a:cubicBezTo>
                    <a:pt x="241341" y="211173"/>
                    <a:pt x="147821" y="316760"/>
                    <a:pt x="0" y="202123"/>
                  </a:cubicBezTo>
                  <a:cubicBezTo>
                    <a:pt x="0" y="141788"/>
                    <a:pt x="12067" y="63352"/>
                    <a:pt x="15084" y="0"/>
                  </a:cubicBezTo>
                  <a:cubicBezTo>
                    <a:pt x="12067" y="0"/>
                    <a:pt x="196089" y="51285"/>
                    <a:pt x="247374" y="39218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832FAD70-46A9-4F2E-80F2-CA9C02F00B8E}"/>
                </a:ext>
              </a:extLst>
            </p:cNvPr>
            <p:cNvSpPr/>
            <p:nvPr/>
          </p:nvSpPr>
          <p:spPr>
            <a:xfrm>
              <a:off x="4071460" y="2966930"/>
              <a:ext cx="1070329" cy="1479118"/>
            </a:xfrm>
            <a:custGeom>
              <a:avLst/>
              <a:gdLst>
                <a:gd name="connsiteX0" fmla="*/ 437430 w 1070329"/>
                <a:gd name="connsiteY0" fmla="*/ 0 h 1479118"/>
                <a:gd name="connsiteX1" fmla="*/ 724022 w 1070329"/>
                <a:gd name="connsiteY1" fmla="*/ 0 h 1479118"/>
                <a:gd name="connsiteX2" fmla="*/ 1019665 w 1070329"/>
                <a:gd name="connsiteY2" fmla="*/ 129721 h 1479118"/>
                <a:gd name="connsiteX3" fmla="*/ 1067933 w 1070329"/>
                <a:gd name="connsiteY3" fmla="*/ 1429944 h 1479118"/>
                <a:gd name="connsiteX4" fmla="*/ 0 w 1070329"/>
                <a:gd name="connsiteY4" fmla="*/ 1432961 h 1479118"/>
                <a:gd name="connsiteX5" fmla="*/ 159888 w 1070329"/>
                <a:gd name="connsiteY5" fmla="*/ 102570 h 1479118"/>
                <a:gd name="connsiteX6" fmla="*/ 437430 w 1070329"/>
                <a:gd name="connsiteY6" fmla="*/ 0 h 1479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0329" h="1479118">
                  <a:moveTo>
                    <a:pt x="437430" y="0"/>
                  </a:moveTo>
                  <a:cubicBezTo>
                    <a:pt x="437430" y="0"/>
                    <a:pt x="609385" y="54302"/>
                    <a:pt x="724022" y="0"/>
                  </a:cubicBezTo>
                  <a:cubicBezTo>
                    <a:pt x="724022" y="0"/>
                    <a:pt x="995531" y="96536"/>
                    <a:pt x="1019665" y="129721"/>
                  </a:cubicBezTo>
                  <a:cubicBezTo>
                    <a:pt x="1043799" y="159888"/>
                    <a:pt x="1080000" y="1363576"/>
                    <a:pt x="1067933" y="1429944"/>
                  </a:cubicBezTo>
                  <a:cubicBezTo>
                    <a:pt x="1067933" y="1429944"/>
                    <a:pt x="573184" y="1538547"/>
                    <a:pt x="0" y="1432961"/>
                  </a:cubicBezTo>
                  <a:cubicBezTo>
                    <a:pt x="0" y="1080000"/>
                    <a:pt x="117654" y="135754"/>
                    <a:pt x="159888" y="102570"/>
                  </a:cubicBezTo>
                  <a:cubicBezTo>
                    <a:pt x="202123" y="69385"/>
                    <a:pt x="437430" y="0"/>
                    <a:pt x="437430" y="0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C9B35EEC-B6A1-4A3F-B215-01B369AD8FA9}"/>
                </a:ext>
              </a:extLst>
            </p:cNvPr>
            <p:cNvSpPr/>
            <p:nvPr/>
          </p:nvSpPr>
          <p:spPr>
            <a:xfrm>
              <a:off x="4934867" y="3052868"/>
              <a:ext cx="445867" cy="604899"/>
            </a:xfrm>
            <a:custGeom>
              <a:avLst/>
              <a:gdLst>
                <a:gd name="connsiteX0" fmla="*/ 62739 w 445867"/>
                <a:gd name="connsiteY0" fmla="*/ 604900 h 604899"/>
                <a:gd name="connsiteX1" fmla="*/ 50672 w 445867"/>
                <a:gd name="connsiteY1" fmla="*/ 10598 h 604899"/>
                <a:gd name="connsiteX2" fmla="*/ 445868 w 445867"/>
                <a:gd name="connsiteY2" fmla="*/ 438978 h 604899"/>
                <a:gd name="connsiteX3" fmla="*/ 62739 w 445867"/>
                <a:gd name="connsiteY3" fmla="*/ 604900 h 60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5867" h="604899">
                  <a:moveTo>
                    <a:pt x="62739" y="604900"/>
                  </a:moveTo>
                  <a:cubicBezTo>
                    <a:pt x="62739" y="604900"/>
                    <a:pt x="-69998" y="89034"/>
                    <a:pt x="50672" y="10598"/>
                  </a:cubicBezTo>
                  <a:cubicBezTo>
                    <a:pt x="192460" y="-79905"/>
                    <a:pt x="445868" y="438978"/>
                    <a:pt x="445868" y="438978"/>
                  </a:cubicBezTo>
                  <a:cubicBezTo>
                    <a:pt x="445868" y="438978"/>
                    <a:pt x="273912" y="586799"/>
                    <a:pt x="62739" y="604900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50F46173-C932-4902-9877-19F5930AD862}"/>
                </a:ext>
              </a:extLst>
            </p:cNvPr>
            <p:cNvSpPr/>
            <p:nvPr/>
          </p:nvSpPr>
          <p:spPr>
            <a:xfrm>
              <a:off x="5085092" y="3090617"/>
              <a:ext cx="52534" cy="546033"/>
            </a:xfrm>
            <a:custGeom>
              <a:avLst/>
              <a:gdLst>
                <a:gd name="connsiteX0" fmla="*/ 48268 w 52534"/>
                <a:gd name="connsiteY0" fmla="*/ 546034 h 546033"/>
                <a:gd name="connsiteX1" fmla="*/ 42235 w 52534"/>
                <a:gd name="connsiteY1" fmla="*/ 540000 h 546033"/>
                <a:gd name="connsiteX2" fmla="*/ 0 w 52534"/>
                <a:gd name="connsiteY2" fmla="*/ 6034 h 546033"/>
                <a:gd name="connsiteX3" fmla="*/ 3017 w 52534"/>
                <a:gd name="connsiteY3" fmla="*/ 0 h 546033"/>
                <a:gd name="connsiteX4" fmla="*/ 9050 w 52534"/>
                <a:gd name="connsiteY4" fmla="*/ 3017 h 546033"/>
                <a:gd name="connsiteX5" fmla="*/ 51285 w 52534"/>
                <a:gd name="connsiteY5" fmla="*/ 540000 h 546033"/>
                <a:gd name="connsiteX6" fmla="*/ 48268 w 52534"/>
                <a:gd name="connsiteY6" fmla="*/ 546034 h 546033"/>
                <a:gd name="connsiteX7" fmla="*/ 48268 w 52534"/>
                <a:gd name="connsiteY7" fmla="*/ 546034 h 546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534" h="546033">
                  <a:moveTo>
                    <a:pt x="48268" y="546034"/>
                  </a:moveTo>
                  <a:cubicBezTo>
                    <a:pt x="45251" y="546034"/>
                    <a:pt x="42235" y="543017"/>
                    <a:pt x="42235" y="540000"/>
                  </a:cubicBezTo>
                  <a:cubicBezTo>
                    <a:pt x="42235" y="533967"/>
                    <a:pt x="6034" y="45251"/>
                    <a:pt x="0" y="6034"/>
                  </a:cubicBezTo>
                  <a:cubicBezTo>
                    <a:pt x="0" y="3017"/>
                    <a:pt x="0" y="0"/>
                    <a:pt x="3017" y="0"/>
                  </a:cubicBezTo>
                  <a:cubicBezTo>
                    <a:pt x="6034" y="0"/>
                    <a:pt x="9050" y="0"/>
                    <a:pt x="9050" y="3017"/>
                  </a:cubicBezTo>
                  <a:cubicBezTo>
                    <a:pt x="18101" y="42235"/>
                    <a:pt x="51285" y="518883"/>
                    <a:pt x="51285" y="540000"/>
                  </a:cubicBezTo>
                  <a:cubicBezTo>
                    <a:pt x="54302" y="543017"/>
                    <a:pt x="51285" y="543017"/>
                    <a:pt x="48268" y="546034"/>
                  </a:cubicBezTo>
                  <a:cubicBezTo>
                    <a:pt x="48268" y="546034"/>
                    <a:pt x="48268" y="546034"/>
                    <a:pt x="48268" y="546034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FC479B7A-46D3-43AD-9E15-3C993C9D0054}"/>
                </a:ext>
              </a:extLst>
            </p:cNvPr>
            <p:cNvSpPr/>
            <p:nvPr/>
          </p:nvSpPr>
          <p:spPr>
            <a:xfrm>
              <a:off x="4112187" y="3459857"/>
              <a:ext cx="402951" cy="98569"/>
            </a:xfrm>
            <a:custGeom>
              <a:avLst/>
              <a:gdLst>
                <a:gd name="connsiteX0" fmla="*/ 381620 w 402951"/>
                <a:gd name="connsiteY0" fmla="*/ 1821 h 98569"/>
                <a:gd name="connsiteX1" fmla="*/ 13575 w 402951"/>
                <a:gd name="connsiteY1" fmla="*/ 68190 h 98569"/>
                <a:gd name="connsiteX2" fmla="*/ 13575 w 402951"/>
                <a:gd name="connsiteY2" fmla="*/ 98358 h 98569"/>
                <a:gd name="connsiteX3" fmla="*/ 396704 w 402951"/>
                <a:gd name="connsiteY3" fmla="*/ 28972 h 98569"/>
                <a:gd name="connsiteX4" fmla="*/ 381620 w 402951"/>
                <a:gd name="connsiteY4" fmla="*/ 1821 h 98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2951" h="98569">
                  <a:moveTo>
                    <a:pt x="381620" y="1821"/>
                  </a:moveTo>
                  <a:cubicBezTo>
                    <a:pt x="282067" y="65174"/>
                    <a:pt x="128212" y="56123"/>
                    <a:pt x="13575" y="68190"/>
                  </a:cubicBezTo>
                  <a:cubicBezTo>
                    <a:pt x="-4525" y="71207"/>
                    <a:pt x="-4525" y="101375"/>
                    <a:pt x="13575" y="98358"/>
                  </a:cubicBezTo>
                  <a:cubicBezTo>
                    <a:pt x="137263" y="86291"/>
                    <a:pt x="291117" y="95341"/>
                    <a:pt x="396704" y="28972"/>
                  </a:cubicBezTo>
                  <a:cubicBezTo>
                    <a:pt x="411788" y="19922"/>
                    <a:pt x="396704" y="-7229"/>
                    <a:pt x="381620" y="1821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87880A90-8ED3-4816-93F4-DCBEB5A37AB3}"/>
                </a:ext>
              </a:extLst>
            </p:cNvPr>
            <p:cNvSpPr/>
            <p:nvPr/>
          </p:nvSpPr>
          <p:spPr>
            <a:xfrm>
              <a:off x="4472690" y="2674304"/>
              <a:ext cx="66368" cy="141787"/>
            </a:xfrm>
            <a:custGeom>
              <a:avLst/>
              <a:gdLst>
                <a:gd name="connsiteX0" fmla="*/ 0 w 66368"/>
                <a:gd name="connsiteY0" fmla="*/ 0 h 141787"/>
                <a:gd name="connsiteX1" fmla="*/ 57318 w 66368"/>
                <a:gd name="connsiteY1" fmla="*/ 141788 h 141787"/>
                <a:gd name="connsiteX2" fmla="*/ 66369 w 66368"/>
                <a:gd name="connsiteY2" fmla="*/ 57318 h 141787"/>
                <a:gd name="connsiteX3" fmla="*/ 0 w 66368"/>
                <a:gd name="connsiteY3" fmla="*/ 0 h 141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368" h="141787">
                  <a:moveTo>
                    <a:pt x="0" y="0"/>
                  </a:moveTo>
                  <a:cubicBezTo>
                    <a:pt x="0" y="0"/>
                    <a:pt x="6033" y="117654"/>
                    <a:pt x="57318" y="141788"/>
                  </a:cubicBezTo>
                  <a:lnTo>
                    <a:pt x="66369" y="573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8E6F31DE-D30F-4396-8C85-A5502D142BB5}"/>
                </a:ext>
              </a:extLst>
            </p:cNvPr>
            <p:cNvSpPr/>
            <p:nvPr/>
          </p:nvSpPr>
          <p:spPr>
            <a:xfrm>
              <a:off x="4832219" y="2499332"/>
              <a:ext cx="104621" cy="231796"/>
            </a:xfrm>
            <a:custGeom>
              <a:avLst/>
              <a:gdLst>
                <a:gd name="connsiteX0" fmla="*/ 102034 w 104621"/>
                <a:gd name="connsiteY0" fmla="*/ 0 h 231796"/>
                <a:gd name="connsiteX1" fmla="*/ 44716 w 104621"/>
                <a:gd name="connsiteY1" fmla="*/ 229274 h 231796"/>
                <a:gd name="connsiteX2" fmla="*/ 5498 w 104621"/>
                <a:gd name="connsiteY2" fmla="*/ 9050 h 231796"/>
                <a:gd name="connsiteX3" fmla="*/ 102034 w 104621"/>
                <a:gd name="connsiteY3" fmla="*/ 0 h 231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1" h="231796">
                  <a:moveTo>
                    <a:pt x="102034" y="0"/>
                  </a:moveTo>
                  <a:cubicBezTo>
                    <a:pt x="102034" y="0"/>
                    <a:pt x="123152" y="196089"/>
                    <a:pt x="44716" y="229274"/>
                  </a:cubicBezTo>
                  <a:cubicBezTo>
                    <a:pt x="-21653" y="259441"/>
                    <a:pt x="5498" y="9050"/>
                    <a:pt x="5498" y="9050"/>
                  </a:cubicBezTo>
                  <a:lnTo>
                    <a:pt x="102034" y="0"/>
                  </a:lnTo>
                  <a:close/>
                </a:path>
              </a:pathLst>
            </a:custGeom>
            <a:solidFill>
              <a:srgbClr val="664241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AD8CAADD-9AF9-4DC8-AD08-C5EAC7DB75D6}"/>
                </a:ext>
              </a:extLst>
            </p:cNvPr>
            <p:cNvSpPr/>
            <p:nvPr/>
          </p:nvSpPr>
          <p:spPr>
            <a:xfrm>
              <a:off x="4481274" y="2348013"/>
              <a:ext cx="413416" cy="561731"/>
            </a:xfrm>
            <a:custGeom>
              <a:avLst/>
              <a:gdLst>
                <a:gd name="connsiteX0" fmla="*/ 410745 w 413416"/>
                <a:gd name="connsiteY0" fmla="*/ 190537 h 561731"/>
                <a:gd name="connsiteX1" fmla="*/ 395661 w 413416"/>
                <a:gd name="connsiteY1" fmla="*/ 437911 h 561731"/>
                <a:gd name="connsiteX2" fmla="*/ 229739 w 413416"/>
                <a:gd name="connsiteY2" fmla="*/ 561598 h 561731"/>
                <a:gd name="connsiteX3" fmla="*/ 24600 w 413416"/>
                <a:gd name="connsiteY3" fmla="*/ 407744 h 561731"/>
                <a:gd name="connsiteX4" fmla="*/ 465 w 413416"/>
                <a:gd name="connsiteY4" fmla="*/ 184503 h 561731"/>
                <a:gd name="connsiteX5" fmla="*/ 223706 w 413416"/>
                <a:gd name="connsiteY5" fmla="*/ 481 h 561731"/>
                <a:gd name="connsiteX6" fmla="*/ 410745 w 413416"/>
                <a:gd name="connsiteY6" fmla="*/ 190537 h 561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3416" h="561731">
                  <a:moveTo>
                    <a:pt x="410745" y="190537"/>
                  </a:moveTo>
                  <a:cubicBezTo>
                    <a:pt x="410745" y="190537"/>
                    <a:pt x="422812" y="365509"/>
                    <a:pt x="395661" y="437911"/>
                  </a:cubicBezTo>
                  <a:cubicBezTo>
                    <a:pt x="374544" y="501263"/>
                    <a:pt x="281024" y="561598"/>
                    <a:pt x="229739" y="561598"/>
                  </a:cubicBezTo>
                  <a:cubicBezTo>
                    <a:pt x="163370" y="564615"/>
                    <a:pt x="48733" y="516347"/>
                    <a:pt x="24600" y="407744"/>
                  </a:cubicBezTo>
                  <a:cubicBezTo>
                    <a:pt x="9516" y="335341"/>
                    <a:pt x="-2551" y="232772"/>
                    <a:pt x="465" y="184503"/>
                  </a:cubicBezTo>
                  <a:cubicBezTo>
                    <a:pt x="6499" y="90984"/>
                    <a:pt x="39683" y="15565"/>
                    <a:pt x="223706" y="481"/>
                  </a:cubicBezTo>
                  <a:cubicBezTo>
                    <a:pt x="308175" y="-8569"/>
                    <a:pt x="395661" y="112101"/>
                    <a:pt x="410745" y="190537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527694B8-AACF-4D35-ABD6-903DA952B704}"/>
                </a:ext>
              </a:extLst>
            </p:cNvPr>
            <p:cNvSpPr/>
            <p:nvPr/>
          </p:nvSpPr>
          <p:spPr>
            <a:xfrm>
              <a:off x="4697697" y="2613969"/>
              <a:ext cx="62069" cy="132737"/>
            </a:xfrm>
            <a:custGeom>
              <a:avLst/>
              <a:gdLst>
                <a:gd name="connsiteX0" fmla="*/ 31417 w 62069"/>
                <a:gd name="connsiteY0" fmla="*/ 132737 h 132737"/>
                <a:gd name="connsiteX1" fmla="*/ 4266 w 62069"/>
                <a:gd name="connsiteY1" fmla="*/ 129721 h 132737"/>
                <a:gd name="connsiteX2" fmla="*/ 1250 w 62069"/>
                <a:gd name="connsiteY2" fmla="*/ 123687 h 132737"/>
                <a:gd name="connsiteX3" fmla="*/ 7283 w 62069"/>
                <a:gd name="connsiteY3" fmla="*/ 120670 h 132737"/>
                <a:gd name="connsiteX4" fmla="*/ 46501 w 62069"/>
                <a:gd name="connsiteY4" fmla="*/ 120670 h 132737"/>
                <a:gd name="connsiteX5" fmla="*/ 49518 w 62069"/>
                <a:gd name="connsiteY5" fmla="*/ 117654 h 132737"/>
                <a:gd name="connsiteX6" fmla="*/ 40467 w 62069"/>
                <a:gd name="connsiteY6" fmla="*/ 6034 h 132737"/>
                <a:gd name="connsiteX7" fmla="*/ 46501 w 62069"/>
                <a:gd name="connsiteY7" fmla="*/ 0 h 132737"/>
                <a:gd name="connsiteX8" fmla="*/ 52534 w 62069"/>
                <a:gd name="connsiteY8" fmla="*/ 6034 h 132737"/>
                <a:gd name="connsiteX9" fmla="*/ 61585 w 62069"/>
                <a:gd name="connsiteY9" fmla="*/ 120670 h 132737"/>
                <a:gd name="connsiteX10" fmla="*/ 55551 w 62069"/>
                <a:gd name="connsiteY10" fmla="*/ 132737 h 132737"/>
                <a:gd name="connsiteX11" fmla="*/ 31417 w 62069"/>
                <a:gd name="connsiteY11" fmla="*/ 132737 h 13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069" h="132737">
                  <a:moveTo>
                    <a:pt x="31417" y="132737"/>
                  </a:moveTo>
                  <a:cubicBezTo>
                    <a:pt x="19350" y="132737"/>
                    <a:pt x="7283" y="129721"/>
                    <a:pt x="4266" y="129721"/>
                  </a:cubicBezTo>
                  <a:cubicBezTo>
                    <a:pt x="1250" y="129721"/>
                    <a:pt x="-1767" y="126704"/>
                    <a:pt x="1250" y="123687"/>
                  </a:cubicBezTo>
                  <a:cubicBezTo>
                    <a:pt x="1250" y="120670"/>
                    <a:pt x="4266" y="117654"/>
                    <a:pt x="7283" y="120670"/>
                  </a:cubicBezTo>
                  <a:cubicBezTo>
                    <a:pt x="19350" y="123687"/>
                    <a:pt x="40467" y="126704"/>
                    <a:pt x="46501" y="120670"/>
                  </a:cubicBezTo>
                  <a:cubicBezTo>
                    <a:pt x="46501" y="120670"/>
                    <a:pt x="49518" y="117654"/>
                    <a:pt x="49518" y="117654"/>
                  </a:cubicBezTo>
                  <a:cubicBezTo>
                    <a:pt x="49518" y="99553"/>
                    <a:pt x="40467" y="6034"/>
                    <a:pt x="40467" y="6034"/>
                  </a:cubicBezTo>
                  <a:cubicBezTo>
                    <a:pt x="40467" y="3017"/>
                    <a:pt x="43484" y="0"/>
                    <a:pt x="46501" y="0"/>
                  </a:cubicBezTo>
                  <a:cubicBezTo>
                    <a:pt x="49518" y="0"/>
                    <a:pt x="52534" y="3017"/>
                    <a:pt x="52534" y="6034"/>
                  </a:cubicBezTo>
                  <a:cubicBezTo>
                    <a:pt x="52534" y="9050"/>
                    <a:pt x="64602" y="99553"/>
                    <a:pt x="61585" y="120670"/>
                  </a:cubicBezTo>
                  <a:cubicBezTo>
                    <a:pt x="61585" y="126704"/>
                    <a:pt x="58568" y="129721"/>
                    <a:pt x="55551" y="132737"/>
                  </a:cubicBezTo>
                  <a:cubicBezTo>
                    <a:pt x="46501" y="129721"/>
                    <a:pt x="40467" y="132737"/>
                    <a:pt x="31417" y="132737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AAA7229F-D8F7-44FE-ACE7-73BCF72958D4}"/>
                </a:ext>
              </a:extLst>
            </p:cNvPr>
            <p:cNvSpPr/>
            <p:nvPr/>
          </p:nvSpPr>
          <p:spPr>
            <a:xfrm>
              <a:off x="4792466" y="2595099"/>
              <a:ext cx="36969" cy="37738"/>
            </a:xfrm>
            <a:custGeom>
              <a:avLst/>
              <a:gdLst>
                <a:gd name="connsiteX0" fmla="*/ 0 w 36969"/>
                <a:gd name="connsiteY0" fmla="*/ 21886 h 37738"/>
                <a:gd name="connsiteX1" fmla="*/ 21117 w 36969"/>
                <a:gd name="connsiteY1" fmla="*/ 36970 h 37738"/>
                <a:gd name="connsiteX2" fmla="*/ 36201 w 36969"/>
                <a:gd name="connsiteY2" fmla="*/ 15853 h 37738"/>
                <a:gd name="connsiteX3" fmla="*/ 15084 w 36969"/>
                <a:gd name="connsiteY3" fmla="*/ 769 h 37738"/>
                <a:gd name="connsiteX4" fmla="*/ 0 w 36969"/>
                <a:gd name="connsiteY4" fmla="*/ 21886 h 3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69" h="37738">
                  <a:moveTo>
                    <a:pt x="0" y="21886"/>
                  </a:moveTo>
                  <a:cubicBezTo>
                    <a:pt x="3017" y="33953"/>
                    <a:pt x="12067" y="39987"/>
                    <a:pt x="21117" y="36970"/>
                  </a:cubicBezTo>
                  <a:cubicBezTo>
                    <a:pt x="33184" y="33953"/>
                    <a:pt x="39218" y="24903"/>
                    <a:pt x="36201" y="15853"/>
                  </a:cubicBezTo>
                  <a:cubicBezTo>
                    <a:pt x="33184" y="3786"/>
                    <a:pt x="24134" y="-2248"/>
                    <a:pt x="15084" y="769"/>
                  </a:cubicBezTo>
                  <a:cubicBezTo>
                    <a:pt x="6033" y="769"/>
                    <a:pt x="0" y="9819"/>
                    <a:pt x="0" y="21886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F5F02242-40CE-4E6C-996A-1018E7D08A30}"/>
                </a:ext>
              </a:extLst>
            </p:cNvPr>
            <p:cNvSpPr/>
            <p:nvPr/>
          </p:nvSpPr>
          <p:spPr>
            <a:xfrm>
              <a:off x="4610869" y="2601133"/>
              <a:ext cx="37384" cy="37738"/>
            </a:xfrm>
            <a:custGeom>
              <a:avLst/>
              <a:gdLst>
                <a:gd name="connsiteX0" fmla="*/ 592 w 37384"/>
                <a:gd name="connsiteY0" fmla="*/ 21886 h 37738"/>
                <a:gd name="connsiteX1" fmla="*/ 21709 w 37384"/>
                <a:gd name="connsiteY1" fmla="*/ 36970 h 37738"/>
                <a:gd name="connsiteX2" fmla="*/ 36793 w 37384"/>
                <a:gd name="connsiteY2" fmla="*/ 15853 h 37738"/>
                <a:gd name="connsiteX3" fmla="*/ 15676 w 37384"/>
                <a:gd name="connsiteY3" fmla="*/ 769 h 37738"/>
                <a:gd name="connsiteX4" fmla="*/ 592 w 37384"/>
                <a:gd name="connsiteY4" fmla="*/ 21886 h 3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84" h="37738">
                  <a:moveTo>
                    <a:pt x="592" y="21886"/>
                  </a:moveTo>
                  <a:cubicBezTo>
                    <a:pt x="3608" y="33953"/>
                    <a:pt x="12659" y="39987"/>
                    <a:pt x="21709" y="36970"/>
                  </a:cubicBezTo>
                  <a:cubicBezTo>
                    <a:pt x="30759" y="33953"/>
                    <a:pt x="39809" y="24903"/>
                    <a:pt x="36793" y="15853"/>
                  </a:cubicBezTo>
                  <a:cubicBezTo>
                    <a:pt x="33776" y="3786"/>
                    <a:pt x="24726" y="-2248"/>
                    <a:pt x="15676" y="769"/>
                  </a:cubicBezTo>
                  <a:cubicBezTo>
                    <a:pt x="6625" y="769"/>
                    <a:pt x="-2425" y="9819"/>
                    <a:pt x="592" y="21886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551B7EDB-C82C-4AF3-AA25-37FC0BD6BC4F}"/>
                </a:ext>
              </a:extLst>
            </p:cNvPr>
            <p:cNvSpPr/>
            <p:nvPr/>
          </p:nvSpPr>
          <p:spPr>
            <a:xfrm>
              <a:off x="4770099" y="2546266"/>
              <a:ext cx="90998" cy="34518"/>
            </a:xfrm>
            <a:custGeom>
              <a:avLst/>
              <a:gdLst>
                <a:gd name="connsiteX0" fmla="*/ 82702 w 90998"/>
                <a:gd name="connsiteY0" fmla="*/ 34518 h 34518"/>
                <a:gd name="connsiteX1" fmla="*/ 76669 w 90998"/>
                <a:gd name="connsiteY1" fmla="*/ 31502 h 34518"/>
                <a:gd name="connsiteX2" fmla="*/ 10300 w 90998"/>
                <a:gd name="connsiteY2" fmla="*/ 19435 h 34518"/>
                <a:gd name="connsiteX3" fmla="*/ 1250 w 90998"/>
                <a:gd name="connsiteY3" fmla="*/ 16418 h 34518"/>
                <a:gd name="connsiteX4" fmla="*/ 4267 w 90998"/>
                <a:gd name="connsiteY4" fmla="*/ 7367 h 34518"/>
                <a:gd name="connsiteX5" fmla="*/ 88736 w 90998"/>
                <a:gd name="connsiteY5" fmla="*/ 22451 h 34518"/>
                <a:gd name="connsiteX6" fmla="*/ 88736 w 90998"/>
                <a:gd name="connsiteY6" fmla="*/ 34518 h 34518"/>
                <a:gd name="connsiteX7" fmla="*/ 82702 w 90998"/>
                <a:gd name="connsiteY7" fmla="*/ 34518 h 34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4518">
                  <a:moveTo>
                    <a:pt x="82702" y="34518"/>
                  </a:moveTo>
                  <a:cubicBezTo>
                    <a:pt x="79686" y="34518"/>
                    <a:pt x="79686" y="34518"/>
                    <a:pt x="76669" y="31502"/>
                  </a:cubicBezTo>
                  <a:cubicBezTo>
                    <a:pt x="52535" y="1334"/>
                    <a:pt x="10300" y="19435"/>
                    <a:pt x="10300" y="19435"/>
                  </a:cubicBezTo>
                  <a:cubicBezTo>
                    <a:pt x="7283" y="22451"/>
                    <a:pt x="1250" y="19435"/>
                    <a:pt x="1250" y="16418"/>
                  </a:cubicBezTo>
                  <a:cubicBezTo>
                    <a:pt x="-1767" y="13401"/>
                    <a:pt x="1250" y="7367"/>
                    <a:pt x="4267" y="7367"/>
                  </a:cubicBezTo>
                  <a:cubicBezTo>
                    <a:pt x="22367" y="-1683"/>
                    <a:pt x="64602" y="-7716"/>
                    <a:pt x="88736" y="22451"/>
                  </a:cubicBezTo>
                  <a:cubicBezTo>
                    <a:pt x="91752" y="25468"/>
                    <a:pt x="91752" y="31502"/>
                    <a:pt x="88736" y="34518"/>
                  </a:cubicBezTo>
                  <a:cubicBezTo>
                    <a:pt x="85719" y="31502"/>
                    <a:pt x="82702" y="34518"/>
                    <a:pt x="82702" y="34518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FE3C2309-5D3B-433F-8965-D58899FBE8CF}"/>
                </a:ext>
              </a:extLst>
            </p:cNvPr>
            <p:cNvSpPr/>
            <p:nvPr/>
          </p:nvSpPr>
          <p:spPr>
            <a:xfrm>
              <a:off x="4579030" y="2533436"/>
              <a:ext cx="89748" cy="32264"/>
            </a:xfrm>
            <a:custGeom>
              <a:avLst/>
              <a:gdLst>
                <a:gd name="connsiteX0" fmla="*/ 8296 w 89748"/>
                <a:gd name="connsiteY0" fmla="*/ 32265 h 32264"/>
                <a:gd name="connsiteX1" fmla="*/ 2263 w 89748"/>
                <a:gd name="connsiteY1" fmla="*/ 29248 h 32264"/>
                <a:gd name="connsiteX2" fmla="*/ 2263 w 89748"/>
                <a:gd name="connsiteY2" fmla="*/ 17181 h 32264"/>
                <a:gd name="connsiteX3" fmla="*/ 86732 w 89748"/>
                <a:gd name="connsiteY3" fmla="*/ 14164 h 32264"/>
                <a:gd name="connsiteX4" fmla="*/ 89749 w 89748"/>
                <a:gd name="connsiteY4" fmla="*/ 26231 h 32264"/>
                <a:gd name="connsiteX5" fmla="*/ 77682 w 89748"/>
                <a:gd name="connsiteY5" fmla="*/ 29248 h 32264"/>
                <a:gd name="connsiteX6" fmla="*/ 11313 w 89748"/>
                <a:gd name="connsiteY6" fmla="*/ 32265 h 32264"/>
                <a:gd name="connsiteX7" fmla="*/ 8296 w 89748"/>
                <a:gd name="connsiteY7" fmla="*/ 32265 h 32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8" h="32264">
                  <a:moveTo>
                    <a:pt x="8296" y="32265"/>
                  </a:moveTo>
                  <a:cubicBezTo>
                    <a:pt x="5279" y="32265"/>
                    <a:pt x="5279" y="32265"/>
                    <a:pt x="2263" y="29248"/>
                  </a:cubicBezTo>
                  <a:cubicBezTo>
                    <a:pt x="-754" y="26231"/>
                    <a:pt x="-754" y="20197"/>
                    <a:pt x="2263" y="17181"/>
                  </a:cubicBezTo>
                  <a:cubicBezTo>
                    <a:pt x="17346" y="5114"/>
                    <a:pt x="53547" y="-12987"/>
                    <a:pt x="86732" y="14164"/>
                  </a:cubicBezTo>
                  <a:cubicBezTo>
                    <a:pt x="89749" y="17181"/>
                    <a:pt x="89749" y="20197"/>
                    <a:pt x="89749" y="26231"/>
                  </a:cubicBezTo>
                  <a:cubicBezTo>
                    <a:pt x="86732" y="29248"/>
                    <a:pt x="83715" y="29248"/>
                    <a:pt x="77682" y="29248"/>
                  </a:cubicBezTo>
                  <a:cubicBezTo>
                    <a:pt x="44497" y="5114"/>
                    <a:pt x="14330" y="32265"/>
                    <a:pt x="11313" y="32265"/>
                  </a:cubicBezTo>
                  <a:cubicBezTo>
                    <a:pt x="14330" y="32265"/>
                    <a:pt x="11313" y="32265"/>
                    <a:pt x="8296" y="32265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7052C136-4CA7-4663-9814-909069E2BF58}"/>
                </a:ext>
              </a:extLst>
            </p:cNvPr>
            <p:cNvSpPr/>
            <p:nvPr/>
          </p:nvSpPr>
          <p:spPr>
            <a:xfrm>
              <a:off x="4554142" y="2843242"/>
              <a:ext cx="227597" cy="72402"/>
            </a:xfrm>
            <a:custGeom>
              <a:avLst/>
              <a:gdLst>
                <a:gd name="connsiteX0" fmla="*/ 150838 w 227597"/>
                <a:gd name="connsiteY0" fmla="*/ 72402 h 72402"/>
                <a:gd name="connsiteX1" fmla="*/ 144805 w 227597"/>
                <a:gd name="connsiteY1" fmla="*/ 72402 h 72402"/>
                <a:gd name="connsiteX2" fmla="*/ 3017 w 227597"/>
                <a:gd name="connsiteY2" fmla="*/ 12067 h 72402"/>
                <a:gd name="connsiteX3" fmla="*/ 0 w 227597"/>
                <a:gd name="connsiteY3" fmla="*/ 3017 h 72402"/>
                <a:gd name="connsiteX4" fmla="*/ 9050 w 227597"/>
                <a:gd name="connsiteY4" fmla="*/ 0 h 72402"/>
                <a:gd name="connsiteX5" fmla="*/ 144805 w 227597"/>
                <a:gd name="connsiteY5" fmla="*/ 57318 h 72402"/>
                <a:gd name="connsiteX6" fmla="*/ 217207 w 227597"/>
                <a:gd name="connsiteY6" fmla="*/ 36201 h 72402"/>
                <a:gd name="connsiteX7" fmla="*/ 226257 w 227597"/>
                <a:gd name="connsiteY7" fmla="*/ 36201 h 72402"/>
                <a:gd name="connsiteX8" fmla="*/ 226257 w 227597"/>
                <a:gd name="connsiteY8" fmla="*/ 45251 h 72402"/>
                <a:gd name="connsiteX9" fmla="*/ 150838 w 227597"/>
                <a:gd name="connsiteY9" fmla="*/ 72402 h 72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7597" h="72402">
                  <a:moveTo>
                    <a:pt x="150838" y="72402"/>
                  </a:moveTo>
                  <a:cubicBezTo>
                    <a:pt x="147821" y="72402"/>
                    <a:pt x="147821" y="72402"/>
                    <a:pt x="144805" y="72402"/>
                  </a:cubicBezTo>
                  <a:cubicBezTo>
                    <a:pt x="93520" y="69386"/>
                    <a:pt x="9050" y="15084"/>
                    <a:pt x="3017" y="12067"/>
                  </a:cubicBezTo>
                  <a:cubicBezTo>
                    <a:pt x="0" y="9050"/>
                    <a:pt x="0" y="6034"/>
                    <a:pt x="0" y="3017"/>
                  </a:cubicBezTo>
                  <a:cubicBezTo>
                    <a:pt x="3017" y="0"/>
                    <a:pt x="6033" y="0"/>
                    <a:pt x="9050" y="0"/>
                  </a:cubicBezTo>
                  <a:cubicBezTo>
                    <a:pt x="9050" y="0"/>
                    <a:pt x="96536" y="54302"/>
                    <a:pt x="144805" y="57318"/>
                  </a:cubicBezTo>
                  <a:cubicBezTo>
                    <a:pt x="184022" y="60335"/>
                    <a:pt x="214190" y="36201"/>
                    <a:pt x="217207" y="36201"/>
                  </a:cubicBezTo>
                  <a:cubicBezTo>
                    <a:pt x="220224" y="33184"/>
                    <a:pt x="223240" y="36201"/>
                    <a:pt x="226257" y="36201"/>
                  </a:cubicBezTo>
                  <a:cubicBezTo>
                    <a:pt x="229274" y="39218"/>
                    <a:pt x="226257" y="42235"/>
                    <a:pt x="226257" y="45251"/>
                  </a:cubicBezTo>
                  <a:cubicBezTo>
                    <a:pt x="223240" y="51285"/>
                    <a:pt x="190056" y="72402"/>
                    <a:pt x="150838" y="72402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BFF1B877-5B0A-4CAA-8DE1-7043E72FA436}"/>
                </a:ext>
              </a:extLst>
            </p:cNvPr>
            <p:cNvSpPr/>
            <p:nvPr/>
          </p:nvSpPr>
          <p:spPr>
            <a:xfrm>
              <a:off x="4447782" y="2357544"/>
              <a:ext cx="112393" cy="265474"/>
            </a:xfrm>
            <a:custGeom>
              <a:avLst/>
              <a:gdLst>
                <a:gd name="connsiteX0" fmla="*/ 112394 w 112393"/>
                <a:gd name="connsiteY0" fmla="*/ 129721 h 265474"/>
                <a:gd name="connsiteX1" fmla="*/ 55075 w 112393"/>
                <a:gd name="connsiteY1" fmla="*/ 265475 h 265474"/>
                <a:gd name="connsiteX2" fmla="*/ 3790 w 112393"/>
                <a:gd name="connsiteY2" fmla="*/ 162905 h 265474"/>
                <a:gd name="connsiteX3" fmla="*/ 73176 w 112393"/>
                <a:gd name="connsiteY3" fmla="*/ 0 h 265474"/>
                <a:gd name="connsiteX4" fmla="*/ 112394 w 112393"/>
                <a:gd name="connsiteY4" fmla="*/ 129721 h 26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393" h="265474">
                  <a:moveTo>
                    <a:pt x="112394" y="129721"/>
                  </a:moveTo>
                  <a:cubicBezTo>
                    <a:pt x="112394" y="129721"/>
                    <a:pt x="49042" y="235307"/>
                    <a:pt x="55075" y="265475"/>
                  </a:cubicBezTo>
                  <a:cubicBezTo>
                    <a:pt x="55075" y="265475"/>
                    <a:pt x="15858" y="220223"/>
                    <a:pt x="3790" y="162905"/>
                  </a:cubicBezTo>
                  <a:cubicBezTo>
                    <a:pt x="-8277" y="102570"/>
                    <a:pt x="6807" y="12067"/>
                    <a:pt x="73176" y="0"/>
                  </a:cubicBezTo>
                  <a:cubicBezTo>
                    <a:pt x="73176" y="3017"/>
                    <a:pt x="73176" y="108603"/>
                    <a:pt x="112394" y="129721"/>
                  </a:cubicBezTo>
                  <a:close/>
                </a:path>
              </a:pathLst>
            </a:custGeom>
            <a:solidFill>
              <a:srgbClr val="664241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66F5695A-B408-46DA-8D62-0AB9B1976B17}"/>
                </a:ext>
              </a:extLst>
            </p:cNvPr>
            <p:cNvSpPr/>
            <p:nvPr/>
          </p:nvSpPr>
          <p:spPr>
            <a:xfrm>
              <a:off x="4506788" y="2252982"/>
              <a:ext cx="496851" cy="266467"/>
            </a:xfrm>
            <a:custGeom>
              <a:avLst/>
              <a:gdLst>
                <a:gd name="connsiteX0" fmla="*/ 53387 w 496851"/>
                <a:gd name="connsiteY0" fmla="*/ 234282 h 266467"/>
                <a:gd name="connsiteX1" fmla="*/ 177075 w 496851"/>
                <a:gd name="connsiteY1" fmla="*/ 204115 h 266467"/>
                <a:gd name="connsiteX2" fmla="*/ 496851 w 496851"/>
                <a:gd name="connsiteY2" fmla="*/ 213165 h 266467"/>
                <a:gd name="connsiteX3" fmla="*/ 140873 w 496851"/>
                <a:gd name="connsiteY3" fmla="*/ 5009 h 266467"/>
                <a:gd name="connsiteX4" fmla="*/ 17186 w 496851"/>
                <a:gd name="connsiteY4" fmla="*/ 104562 h 266467"/>
                <a:gd name="connsiteX5" fmla="*/ 53387 w 496851"/>
                <a:gd name="connsiteY5" fmla="*/ 234282 h 266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6851" h="266467">
                  <a:moveTo>
                    <a:pt x="53387" y="234282"/>
                  </a:moveTo>
                  <a:cubicBezTo>
                    <a:pt x="53387" y="234282"/>
                    <a:pt x="149924" y="201098"/>
                    <a:pt x="177075" y="204115"/>
                  </a:cubicBezTo>
                  <a:cubicBezTo>
                    <a:pt x="276628" y="213165"/>
                    <a:pt x="394281" y="333835"/>
                    <a:pt x="496851" y="213165"/>
                  </a:cubicBezTo>
                  <a:cubicBezTo>
                    <a:pt x="457633" y="110595"/>
                    <a:pt x="306795" y="-28176"/>
                    <a:pt x="140873" y="5009"/>
                  </a:cubicBezTo>
                  <a:cubicBezTo>
                    <a:pt x="62438" y="23109"/>
                    <a:pt x="23220" y="68361"/>
                    <a:pt x="17186" y="104562"/>
                  </a:cubicBezTo>
                  <a:cubicBezTo>
                    <a:pt x="14170" y="107578"/>
                    <a:pt x="-37116" y="216182"/>
                    <a:pt x="53387" y="234282"/>
                  </a:cubicBezTo>
                  <a:close/>
                </a:path>
              </a:pathLst>
            </a:custGeom>
            <a:solidFill>
              <a:srgbClr val="664241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9B4B5830-BB12-46BF-A9B3-79768BFCFE23}"/>
                </a:ext>
              </a:extLst>
            </p:cNvPr>
            <p:cNvSpPr/>
            <p:nvPr/>
          </p:nvSpPr>
          <p:spPr>
            <a:xfrm>
              <a:off x="4439162" y="2590084"/>
              <a:ext cx="75851" cy="114081"/>
            </a:xfrm>
            <a:custGeom>
              <a:avLst/>
              <a:gdLst>
                <a:gd name="connsiteX0" fmla="*/ 66712 w 75851"/>
                <a:gd name="connsiteY0" fmla="*/ 17851 h 114081"/>
                <a:gd name="connsiteX1" fmla="*/ 9394 w 75851"/>
                <a:gd name="connsiteY1" fmla="*/ 5784 h 114081"/>
                <a:gd name="connsiteX2" fmla="*/ 60679 w 75851"/>
                <a:gd name="connsiteY2" fmla="*/ 111370 h 114081"/>
                <a:gd name="connsiteX3" fmla="*/ 66712 w 75851"/>
                <a:gd name="connsiteY3" fmla="*/ 17851 h 114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851" h="114081">
                  <a:moveTo>
                    <a:pt x="66712" y="17851"/>
                  </a:moveTo>
                  <a:cubicBezTo>
                    <a:pt x="66712" y="17851"/>
                    <a:pt x="36545" y="-12317"/>
                    <a:pt x="9394" y="5784"/>
                  </a:cubicBezTo>
                  <a:cubicBezTo>
                    <a:pt x="-17757" y="23884"/>
                    <a:pt x="18444" y="132488"/>
                    <a:pt x="60679" y="111370"/>
                  </a:cubicBezTo>
                  <a:cubicBezTo>
                    <a:pt x="90846" y="93270"/>
                    <a:pt x="66712" y="17851"/>
                    <a:pt x="66712" y="17851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12688E77-262A-4E93-BE22-16E4E83E03FC}"/>
                </a:ext>
              </a:extLst>
            </p:cNvPr>
            <p:cNvSpPr/>
            <p:nvPr/>
          </p:nvSpPr>
          <p:spPr>
            <a:xfrm>
              <a:off x="4499423" y="2378661"/>
              <a:ext cx="72819" cy="235307"/>
            </a:xfrm>
            <a:custGeom>
              <a:avLst/>
              <a:gdLst>
                <a:gd name="connsiteX0" fmla="*/ 6451 w 72819"/>
                <a:gd name="connsiteY0" fmla="*/ 235307 h 235307"/>
                <a:gd name="connsiteX1" fmla="*/ 6451 w 72819"/>
                <a:gd name="connsiteY1" fmla="*/ 235307 h 235307"/>
                <a:gd name="connsiteX2" fmla="*/ 418 w 72819"/>
                <a:gd name="connsiteY2" fmla="*/ 229274 h 235307"/>
                <a:gd name="connsiteX3" fmla="*/ 51703 w 72819"/>
                <a:gd name="connsiteY3" fmla="*/ 114637 h 235307"/>
                <a:gd name="connsiteX4" fmla="*/ 6451 w 72819"/>
                <a:gd name="connsiteY4" fmla="*/ 69385 h 235307"/>
                <a:gd name="connsiteX5" fmla="*/ 9468 w 72819"/>
                <a:gd name="connsiteY5" fmla="*/ 3017 h 235307"/>
                <a:gd name="connsiteX6" fmla="*/ 18518 w 72819"/>
                <a:gd name="connsiteY6" fmla="*/ 0 h 235307"/>
                <a:gd name="connsiteX7" fmla="*/ 21535 w 72819"/>
                <a:gd name="connsiteY7" fmla="*/ 9050 h 235307"/>
                <a:gd name="connsiteX8" fmla="*/ 18518 w 72819"/>
                <a:gd name="connsiteY8" fmla="*/ 66369 h 235307"/>
                <a:gd name="connsiteX9" fmla="*/ 63770 w 72819"/>
                <a:gd name="connsiteY9" fmla="*/ 108603 h 235307"/>
                <a:gd name="connsiteX10" fmla="*/ 72820 w 72819"/>
                <a:gd name="connsiteY10" fmla="*/ 111620 h 235307"/>
                <a:gd name="connsiteX11" fmla="*/ 66786 w 72819"/>
                <a:gd name="connsiteY11" fmla="*/ 117654 h 235307"/>
                <a:gd name="connsiteX12" fmla="*/ 12485 w 72819"/>
                <a:gd name="connsiteY12" fmla="*/ 235307 h 235307"/>
                <a:gd name="connsiteX13" fmla="*/ 6451 w 72819"/>
                <a:gd name="connsiteY13" fmla="*/ 235307 h 23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2819" h="235307">
                  <a:moveTo>
                    <a:pt x="6451" y="235307"/>
                  </a:moveTo>
                  <a:cubicBezTo>
                    <a:pt x="6451" y="235307"/>
                    <a:pt x="6451" y="235307"/>
                    <a:pt x="6451" y="235307"/>
                  </a:cubicBezTo>
                  <a:cubicBezTo>
                    <a:pt x="3435" y="235307"/>
                    <a:pt x="418" y="232290"/>
                    <a:pt x="418" y="229274"/>
                  </a:cubicBezTo>
                  <a:cubicBezTo>
                    <a:pt x="9468" y="177989"/>
                    <a:pt x="39636" y="129721"/>
                    <a:pt x="51703" y="114637"/>
                  </a:cubicBezTo>
                  <a:cubicBezTo>
                    <a:pt x="39636" y="108603"/>
                    <a:pt x="18518" y="93520"/>
                    <a:pt x="6451" y="69385"/>
                  </a:cubicBezTo>
                  <a:cubicBezTo>
                    <a:pt x="-2599" y="48268"/>
                    <a:pt x="-2599" y="27151"/>
                    <a:pt x="9468" y="3017"/>
                  </a:cubicBezTo>
                  <a:cubicBezTo>
                    <a:pt x="9468" y="0"/>
                    <a:pt x="15501" y="0"/>
                    <a:pt x="18518" y="0"/>
                  </a:cubicBezTo>
                  <a:cubicBezTo>
                    <a:pt x="21535" y="0"/>
                    <a:pt x="21535" y="6033"/>
                    <a:pt x="21535" y="9050"/>
                  </a:cubicBezTo>
                  <a:cubicBezTo>
                    <a:pt x="12485" y="30168"/>
                    <a:pt x="12485" y="48268"/>
                    <a:pt x="18518" y="66369"/>
                  </a:cubicBezTo>
                  <a:cubicBezTo>
                    <a:pt x="30585" y="96536"/>
                    <a:pt x="63770" y="108603"/>
                    <a:pt x="63770" y="108603"/>
                  </a:cubicBezTo>
                  <a:lnTo>
                    <a:pt x="72820" y="111620"/>
                  </a:lnTo>
                  <a:lnTo>
                    <a:pt x="66786" y="117654"/>
                  </a:lnTo>
                  <a:cubicBezTo>
                    <a:pt x="66786" y="117654"/>
                    <a:pt x="21535" y="174972"/>
                    <a:pt x="12485" y="235307"/>
                  </a:cubicBezTo>
                  <a:cubicBezTo>
                    <a:pt x="12485" y="232290"/>
                    <a:pt x="9468" y="235307"/>
                    <a:pt x="6451" y="235307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3ED2C23F-9E77-4319-8CA5-3FCC45F042B0}"/>
                </a:ext>
              </a:extLst>
            </p:cNvPr>
            <p:cNvSpPr/>
            <p:nvPr/>
          </p:nvSpPr>
          <p:spPr>
            <a:xfrm>
              <a:off x="4674812" y="2434871"/>
              <a:ext cx="193539" cy="37309"/>
            </a:xfrm>
            <a:custGeom>
              <a:avLst/>
              <a:gdLst>
                <a:gd name="connsiteX0" fmla="*/ 190056 w 193539"/>
                <a:gd name="connsiteY0" fmla="*/ 37309 h 37309"/>
                <a:gd name="connsiteX1" fmla="*/ 187039 w 193539"/>
                <a:gd name="connsiteY1" fmla="*/ 37309 h 37309"/>
                <a:gd name="connsiteX2" fmla="*/ 9050 w 193539"/>
                <a:gd name="connsiteY2" fmla="*/ 31276 h 37309"/>
                <a:gd name="connsiteX3" fmla="*/ 0 w 193539"/>
                <a:gd name="connsiteY3" fmla="*/ 28259 h 37309"/>
                <a:gd name="connsiteX4" fmla="*/ 3017 w 193539"/>
                <a:gd name="connsiteY4" fmla="*/ 19209 h 37309"/>
                <a:gd name="connsiteX5" fmla="*/ 190056 w 193539"/>
                <a:gd name="connsiteY5" fmla="*/ 25242 h 37309"/>
                <a:gd name="connsiteX6" fmla="*/ 190056 w 193539"/>
                <a:gd name="connsiteY6" fmla="*/ 34293 h 37309"/>
                <a:gd name="connsiteX7" fmla="*/ 190056 w 193539"/>
                <a:gd name="connsiteY7" fmla="*/ 37309 h 37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3539" h="37309">
                  <a:moveTo>
                    <a:pt x="190056" y="37309"/>
                  </a:moveTo>
                  <a:cubicBezTo>
                    <a:pt x="190056" y="37309"/>
                    <a:pt x="187039" y="37309"/>
                    <a:pt x="187039" y="37309"/>
                  </a:cubicBezTo>
                  <a:cubicBezTo>
                    <a:pt x="123687" y="-10959"/>
                    <a:pt x="12067" y="31276"/>
                    <a:pt x="9050" y="31276"/>
                  </a:cubicBezTo>
                  <a:cubicBezTo>
                    <a:pt x="6033" y="31276"/>
                    <a:pt x="3017" y="31276"/>
                    <a:pt x="0" y="28259"/>
                  </a:cubicBezTo>
                  <a:cubicBezTo>
                    <a:pt x="0" y="25242"/>
                    <a:pt x="0" y="22226"/>
                    <a:pt x="3017" y="19209"/>
                  </a:cubicBezTo>
                  <a:cubicBezTo>
                    <a:pt x="9050" y="16192"/>
                    <a:pt x="123687" y="-26043"/>
                    <a:pt x="190056" y="25242"/>
                  </a:cubicBezTo>
                  <a:cubicBezTo>
                    <a:pt x="193073" y="28259"/>
                    <a:pt x="193073" y="31276"/>
                    <a:pt x="190056" y="34293"/>
                  </a:cubicBezTo>
                  <a:cubicBezTo>
                    <a:pt x="196089" y="34293"/>
                    <a:pt x="193073" y="37309"/>
                    <a:pt x="190056" y="37309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4FE441DA-CB51-48EA-8816-94A4043F5CDD}"/>
                </a:ext>
              </a:extLst>
            </p:cNvPr>
            <p:cNvSpPr/>
            <p:nvPr/>
          </p:nvSpPr>
          <p:spPr>
            <a:xfrm>
              <a:off x="4665762" y="2801008"/>
              <a:ext cx="118903" cy="30167"/>
            </a:xfrm>
            <a:custGeom>
              <a:avLst/>
              <a:gdLst>
                <a:gd name="connsiteX0" fmla="*/ 72402 w 118903"/>
                <a:gd name="connsiteY0" fmla="*/ 30168 h 30167"/>
                <a:gd name="connsiteX1" fmla="*/ 3017 w 118903"/>
                <a:gd name="connsiteY1" fmla="*/ 12067 h 30167"/>
                <a:gd name="connsiteX2" fmla="*/ 0 w 118903"/>
                <a:gd name="connsiteY2" fmla="*/ 3017 h 30167"/>
                <a:gd name="connsiteX3" fmla="*/ 9050 w 118903"/>
                <a:gd name="connsiteY3" fmla="*/ 0 h 30167"/>
                <a:gd name="connsiteX4" fmla="*/ 108604 w 118903"/>
                <a:gd name="connsiteY4" fmla="*/ 6034 h 30167"/>
                <a:gd name="connsiteX5" fmla="*/ 117654 w 118903"/>
                <a:gd name="connsiteY5" fmla="*/ 9050 h 30167"/>
                <a:gd name="connsiteX6" fmla="*/ 114637 w 118903"/>
                <a:gd name="connsiteY6" fmla="*/ 18101 h 30167"/>
                <a:gd name="connsiteX7" fmla="*/ 72402 w 118903"/>
                <a:gd name="connsiteY7" fmla="*/ 30168 h 30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903" h="30167">
                  <a:moveTo>
                    <a:pt x="72402" y="30168"/>
                  </a:moveTo>
                  <a:cubicBezTo>
                    <a:pt x="36201" y="30168"/>
                    <a:pt x="6034" y="12067"/>
                    <a:pt x="3017" y="12067"/>
                  </a:cubicBezTo>
                  <a:cubicBezTo>
                    <a:pt x="0" y="9050"/>
                    <a:pt x="0" y="6034"/>
                    <a:pt x="0" y="3017"/>
                  </a:cubicBezTo>
                  <a:cubicBezTo>
                    <a:pt x="3017" y="0"/>
                    <a:pt x="6034" y="0"/>
                    <a:pt x="9050" y="0"/>
                  </a:cubicBezTo>
                  <a:cubicBezTo>
                    <a:pt x="9050" y="0"/>
                    <a:pt x="69386" y="33184"/>
                    <a:pt x="108604" y="6034"/>
                  </a:cubicBezTo>
                  <a:cubicBezTo>
                    <a:pt x="111620" y="3017"/>
                    <a:pt x="114637" y="6034"/>
                    <a:pt x="117654" y="9050"/>
                  </a:cubicBezTo>
                  <a:cubicBezTo>
                    <a:pt x="120670" y="12067"/>
                    <a:pt x="117654" y="15084"/>
                    <a:pt x="114637" y="18101"/>
                  </a:cubicBezTo>
                  <a:cubicBezTo>
                    <a:pt x="102570" y="27151"/>
                    <a:pt x="87486" y="30168"/>
                    <a:pt x="72402" y="30168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1FECBD6F-E78D-4DDB-B27E-52ABA33DFFE4}"/>
                </a:ext>
              </a:extLst>
            </p:cNvPr>
            <p:cNvSpPr/>
            <p:nvPr/>
          </p:nvSpPr>
          <p:spPr>
            <a:xfrm>
              <a:off x="4154561" y="3325924"/>
              <a:ext cx="281926" cy="822166"/>
            </a:xfrm>
            <a:custGeom>
              <a:avLst/>
              <a:gdLst>
                <a:gd name="connsiteX0" fmla="*/ 248743 w 281926"/>
                <a:gd name="connsiteY0" fmla="*/ 0 h 822166"/>
                <a:gd name="connsiteX1" fmla="*/ 281927 w 281926"/>
                <a:gd name="connsiteY1" fmla="*/ 521900 h 822166"/>
                <a:gd name="connsiteX2" fmla="*/ 103938 w 281926"/>
                <a:gd name="connsiteY2" fmla="*/ 820559 h 822166"/>
                <a:gd name="connsiteX3" fmla="*/ 1368 w 281926"/>
                <a:gd name="connsiteY3" fmla="*/ 96536 h 822166"/>
                <a:gd name="connsiteX4" fmla="*/ 248743 w 281926"/>
                <a:gd name="connsiteY4" fmla="*/ 0 h 822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1926" h="822166">
                  <a:moveTo>
                    <a:pt x="248743" y="0"/>
                  </a:moveTo>
                  <a:lnTo>
                    <a:pt x="281927" y="521900"/>
                  </a:lnTo>
                  <a:cubicBezTo>
                    <a:pt x="281927" y="521900"/>
                    <a:pt x="227625" y="847709"/>
                    <a:pt x="103938" y="820559"/>
                  </a:cubicBezTo>
                  <a:cubicBezTo>
                    <a:pt x="-19749" y="793408"/>
                    <a:pt x="1368" y="96536"/>
                    <a:pt x="1368" y="96536"/>
                  </a:cubicBezTo>
                  <a:lnTo>
                    <a:pt x="248743" y="0"/>
                  </a:ln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79BD7DD7-BE1D-4B12-8BA8-4773B8318662}"/>
                </a:ext>
              </a:extLst>
            </p:cNvPr>
            <p:cNvSpPr/>
            <p:nvPr/>
          </p:nvSpPr>
          <p:spPr>
            <a:xfrm>
              <a:off x="4071445" y="3042336"/>
              <a:ext cx="419345" cy="579474"/>
            </a:xfrm>
            <a:custGeom>
              <a:avLst/>
              <a:gdLst>
                <a:gd name="connsiteX0" fmla="*/ 15 w 419345"/>
                <a:gd name="connsiteY0" fmla="*/ 552079 h 579474"/>
                <a:gd name="connsiteX1" fmla="*/ 220239 w 419345"/>
                <a:gd name="connsiteY1" fmla="*/ 12 h 579474"/>
                <a:gd name="connsiteX2" fmla="*/ 419345 w 419345"/>
                <a:gd name="connsiteY2" fmla="*/ 549063 h 579474"/>
                <a:gd name="connsiteX3" fmla="*/ 15 w 419345"/>
                <a:gd name="connsiteY3" fmla="*/ 552079 h 579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9345" h="579474">
                  <a:moveTo>
                    <a:pt x="15" y="552079"/>
                  </a:moveTo>
                  <a:cubicBezTo>
                    <a:pt x="15" y="552079"/>
                    <a:pt x="-6018" y="3029"/>
                    <a:pt x="220239" y="12"/>
                  </a:cubicBezTo>
                  <a:cubicBezTo>
                    <a:pt x="389178" y="-3005"/>
                    <a:pt x="419345" y="549063"/>
                    <a:pt x="419345" y="549063"/>
                  </a:cubicBezTo>
                  <a:cubicBezTo>
                    <a:pt x="419345" y="549063"/>
                    <a:pt x="202138" y="615431"/>
                    <a:pt x="15" y="552079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F3F33A73-8880-4E98-A5CC-C39916BF38A6}"/>
                </a:ext>
              </a:extLst>
            </p:cNvPr>
            <p:cNvSpPr/>
            <p:nvPr/>
          </p:nvSpPr>
          <p:spPr>
            <a:xfrm>
              <a:off x="4216381" y="3582348"/>
              <a:ext cx="657846" cy="590371"/>
            </a:xfrm>
            <a:custGeom>
              <a:avLst/>
              <a:gdLst>
                <a:gd name="connsiteX0" fmla="*/ 579102 w 657846"/>
                <a:gd name="connsiteY0" fmla="*/ 0 h 590371"/>
                <a:gd name="connsiteX1" fmla="*/ 17985 w 657846"/>
                <a:gd name="connsiteY1" fmla="*/ 398212 h 590371"/>
                <a:gd name="connsiteX2" fmla="*/ 129605 w 657846"/>
                <a:gd name="connsiteY2" fmla="*/ 585251 h 590371"/>
                <a:gd name="connsiteX3" fmla="*/ 657538 w 657846"/>
                <a:gd name="connsiteY3" fmla="*/ 123687 h 590371"/>
                <a:gd name="connsiteX4" fmla="*/ 579102 w 657846"/>
                <a:gd name="connsiteY4" fmla="*/ 0 h 590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7846" h="590371">
                  <a:moveTo>
                    <a:pt x="579102" y="0"/>
                  </a:moveTo>
                  <a:cubicBezTo>
                    <a:pt x="579102" y="0"/>
                    <a:pt x="57202" y="313743"/>
                    <a:pt x="17985" y="398212"/>
                  </a:cubicBezTo>
                  <a:cubicBezTo>
                    <a:pt x="-24250" y="482682"/>
                    <a:pt x="5917" y="618436"/>
                    <a:pt x="129605" y="585251"/>
                  </a:cubicBezTo>
                  <a:cubicBezTo>
                    <a:pt x="253292" y="552067"/>
                    <a:pt x="648487" y="129721"/>
                    <a:pt x="657538" y="123687"/>
                  </a:cubicBezTo>
                  <a:cubicBezTo>
                    <a:pt x="663571" y="117654"/>
                    <a:pt x="579102" y="0"/>
                    <a:pt x="579102" y="0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BBE625DC-453F-47B6-8EFB-1DF435A9EB0C}"/>
                </a:ext>
              </a:extLst>
            </p:cNvPr>
            <p:cNvSpPr/>
            <p:nvPr/>
          </p:nvSpPr>
          <p:spPr>
            <a:xfrm>
              <a:off x="4322606" y="3813389"/>
              <a:ext cx="109098" cy="82702"/>
            </a:xfrm>
            <a:custGeom>
              <a:avLst/>
              <a:gdLst>
                <a:gd name="connsiteX0" fmla="*/ 5279 w 109098"/>
                <a:gd name="connsiteY0" fmla="*/ 82702 h 82702"/>
                <a:gd name="connsiteX1" fmla="*/ 2263 w 109098"/>
                <a:gd name="connsiteY1" fmla="*/ 79685 h 82702"/>
                <a:gd name="connsiteX2" fmla="*/ 2263 w 109098"/>
                <a:gd name="connsiteY2" fmla="*/ 70635 h 82702"/>
                <a:gd name="connsiteX3" fmla="*/ 98799 w 109098"/>
                <a:gd name="connsiteY3" fmla="*/ 1250 h 82702"/>
                <a:gd name="connsiteX4" fmla="*/ 107849 w 109098"/>
                <a:gd name="connsiteY4" fmla="*/ 4266 h 82702"/>
                <a:gd name="connsiteX5" fmla="*/ 104832 w 109098"/>
                <a:gd name="connsiteY5" fmla="*/ 13317 h 82702"/>
                <a:gd name="connsiteX6" fmla="*/ 8296 w 109098"/>
                <a:gd name="connsiteY6" fmla="*/ 82702 h 82702"/>
                <a:gd name="connsiteX7" fmla="*/ 5279 w 109098"/>
                <a:gd name="connsiteY7" fmla="*/ 82702 h 8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9098" h="82702">
                  <a:moveTo>
                    <a:pt x="5279" y="82702"/>
                  </a:moveTo>
                  <a:cubicBezTo>
                    <a:pt x="5279" y="82702"/>
                    <a:pt x="2263" y="82702"/>
                    <a:pt x="2263" y="79685"/>
                  </a:cubicBezTo>
                  <a:cubicBezTo>
                    <a:pt x="-754" y="76669"/>
                    <a:pt x="-754" y="73652"/>
                    <a:pt x="2263" y="70635"/>
                  </a:cubicBezTo>
                  <a:cubicBezTo>
                    <a:pt x="20363" y="52534"/>
                    <a:pt x="95782" y="1250"/>
                    <a:pt x="98799" y="1250"/>
                  </a:cubicBezTo>
                  <a:cubicBezTo>
                    <a:pt x="101815" y="-1767"/>
                    <a:pt x="104832" y="1250"/>
                    <a:pt x="107849" y="4266"/>
                  </a:cubicBezTo>
                  <a:cubicBezTo>
                    <a:pt x="110866" y="7283"/>
                    <a:pt x="107849" y="10300"/>
                    <a:pt x="104832" y="13317"/>
                  </a:cubicBezTo>
                  <a:cubicBezTo>
                    <a:pt x="104832" y="13317"/>
                    <a:pt x="26396" y="64602"/>
                    <a:pt x="8296" y="82702"/>
                  </a:cubicBezTo>
                  <a:cubicBezTo>
                    <a:pt x="8296" y="82702"/>
                    <a:pt x="8296" y="82702"/>
                    <a:pt x="5279" y="82702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52F8885F-C083-4D26-9504-C62B22E5C678}"/>
                </a:ext>
              </a:extLst>
            </p:cNvPr>
            <p:cNvSpPr/>
            <p:nvPr/>
          </p:nvSpPr>
          <p:spPr>
            <a:xfrm>
              <a:off x="4788187" y="3579332"/>
              <a:ext cx="544311" cy="542103"/>
            </a:xfrm>
            <a:custGeom>
              <a:avLst/>
              <a:gdLst>
                <a:gd name="connsiteX0" fmla="*/ 67631 w 544311"/>
                <a:gd name="connsiteY0" fmla="*/ 0 h 542103"/>
                <a:gd name="connsiteX1" fmla="*/ 529195 w 544311"/>
                <a:gd name="connsiteY1" fmla="*/ 349944 h 542103"/>
                <a:gd name="connsiteX2" fmla="*/ 429642 w 544311"/>
                <a:gd name="connsiteY2" fmla="*/ 536983 h 542103"/>
                <a:gd name="connsiteX3" fmla="*/ 1262 w 544311"/>
                <a:gd name="connsiteY3" fmla="*/ 123687 h 542103"/>
                <a:gd name="connsiteX4" fmla="*/ 67631 w 544311"/>
                <a:gd name="connsiteY4" fmla="*/ 0 h 542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4311" h="542103">
                  <a:moveTo>
                    <a:pt x="67631" y="0"/>
                  </a:moveTo>
                  <a:cubicBezTo>
                    <a:pt x="67631" y="0"/>
                    <a:pt x="489977" y="265475"/>
                    <a:pt x="529195" y="349944"/>
                  </a:cubicBezTo>
                  <a:cubicBezTo>
                    <a:pt x="565396" y="434413"/>
                    <a:pt x="538245" y="570168"/>
                    <a:pt x="429642" y="536983"/>
                  </a:cubicBezTo>
                  <a:cubicBezTo>
                    <a:pt x="318022" y="503799"/>
                    <a:pt x="7296" y="126704"/>
                    <a:pt x="1262" y="123687"/>
                  </a:cubicBezTo>
                  <a:cubicBezTo>
                    <a:pt x="-10805" y="117654"/>
                    <a:pt x="67631" y="0"/>
                    <a:pt x="67631" y="0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24FB067A-6EFB-4CC4-9768-28C45719E050}"/>
                </a:ext>
              </a:extLst>
            </p:cNvPr>
            <p:cNvSpPr/>
            <p:nvPr/>
          </p:nvSpPr>
          <p:spPr>
            <a:xfrm>
              <a:off x="5125064" y="3758075"/>
              <a:ext cx="101061" cy="77681"/>
            </a:xfrm>
            <a:custGeom>
              <a:avLst/>
              <a:gdLst>
                <a:gd name="connsiteX0" fmla="*/ 89749 w 101061"/>
                <a:gd name="connsiteY0" fmla="*/ 77682 h 77681"/>
                <a:gd name="connsiteX1" fmla="*/ 86732 w 101061"/>
                <a:gd name="connsiteY1" fmla="*/ 74665 h 77681"/>
                <a:gd name="connsiteX2" fmla="*/ 2263 w 101061"/>
                <a:gd name="connsiteY2" fmla="*/ 11313 h 77681"/>
                <a:gd name="connsiteX3" fmla="*/ 2263 w 101061"/>
                <a:gd name="connsiteY3" fmla="*/ 2263 h 77681"/>
                <a:gd name="connsiteX4" fmla="*/ 11313 w 101061"/>
                <a:gd name="connsiteY4" fmla="*/ 2263 h 77681"/>
                <a:gd name="connsiteX5" fmla="*/ 98799 w 101061"/>
                <a:gd name="connsiteY5" fmla="*/ 68631 h 77681"/>
                <a:gd name="connsiteX6" fmla="*/ 98799 w 101061"/>
                <a:gd name="connsiteY6" fmla="*/ 77682 h 77681"/>
                <a:gd name="connsiteX7" fmla="*/ 89749 w 101061"/>
                <a:gd name="connsiteY7" fmla="*/ 77682 h 77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061" h="77681">
                  <a:moveTo>
                    <a:pt x="89749" y="77682"/>
                  </a:moveTo>
                  <a:cubicBezTo>
                    <a:pt x="89749" y="77682"/>
                    <a:pt x="86732" y="77682"/>
                    <a:pt x="86732" y="74665"/>
                  </a:cubicBezTo>
                  <a:cubicBezTo>
                    <a:pt x="71648" y="56564"/>
                    <a:pt x="2263" y="11313"/>
                    <a:pt x="2263" y="11313"/>
                  </a:cubicBezTo>
                  <a:cubicBezTo>
                    <a:pt x="-754" y="8296"/>
                    <a:pt x="-754" y="5279"/>
                    <a:pt x="2263" y="2263"/>
                  </a:cubicBezTo>
                  <a:cubicBezTo>
                    <a:pt x="5279" y="-754"/>
                    <a:pt x="8296" y="-754"/>
                    <a:pt x="11313" y="2263"/>
                  </a:cubicBezTo>
                  <a:cubicBezTo>
                    <a:pt x="14330" y="5279"/>
                    <a:pt x="80698" y="50531"/>
                    <a:pt x="98799" y="68631"/>
                  </a:cubicBezTo>
                  <a:cubicBezTo>
                    <a:pt x="101816" y="71648"/>
                    <a:pt x="101816" y="74665"/>
                    <a:pt x="98799" y="77682"/>
                  </a:cubicBezTo>
                  <a:cubicBezTo>
                    <a:pt x="92765" y="74665"/>
                    <a:pt x="89749" y="77682"/>
                    <a:pt x="89749" y="77682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35D6D60F-B72E-4ABC-946B-ACD6625DAE2A}"/>
                </a:ext>
              </a:extLst>
            </p:cNvPr>
            <p:cNvSpPr/>
            <p:nvPr/>
          </p:nvSpPr>
          <p:spPr>
            <a:xfrm>
              <a:off x="4285650" y="3033298"/>
              <a:ext cx="211173" cy="588268"/>
            </a:xfrm>
            <a:custGeom>
              <a:avLst/>
              <a:gdLst>
                <a:gd name="connsiteX0" fmla="*/ 72402 w 211173"/>
                <a:gd name="connsiteY0" fmla="*/ 588268 h 588268"/>
                <a:gd name="connsiteX1" fmla="*/ 66369 w 211173"/>
                <a:gd name="connsiteY1" fmla="*/ 582235 h 588268"/>
                <a:gd name="connsiteX2" fmla="*/ 72402 w 211173"/>
                <a:gd name="connsiteY2" fmla="*/ 576201 h 588268"/>
                <a:gd name="connsiteX3" fmla="*/ 199106 w 211173"/>
                <a:gd name="connsiteY3" fmla="*/ 552067 h 588268"/>
                <a:gd name="connsiteX4" fmla="*/ 147821 w 211173"/>
                <a:gd name="connsiteY4" fmla="*/ 205140 h 588268"/>
                <a:gd name="connsiteX5" fmla="*/ 6034 w 211173"/>
                <a:gd name="connsiteY5" fmla="*/ 12067 h 588268"/>
                <a:gd name="connsiteX6" fmla="*/ 0 w 211173"/>
                <a:gd name="connsiteY6" fmla="*/ 6033 h 588268"/>
                <a:gd name="connsiteX7" fmla="*/ 6034 w 211173"/>
                <a:gd name="connsiteY7" fmla="*/ 0 h 588268"/>
                <a:gd name="connsiteX8" fmla="*/ 156872 w 211173"/>
                <a:gd name="connsiteY8" fmla="*/ 199106 h 588268"/>
                <a:gd name="connsiteX9" fmla="*/ 211173 w 211173"/>
                <a:gd name="connsiteY9" fmla="*/ 552067 h 588268"/>
                <a:gd name="connsiteX10" fmla="*/ 211173 w 211173"/>
                <a:gd name="connsiteY10" fmla="*/ 555084 h 588268"/>
                <a:gd name="connsiteX11" fmla="*/ 208156 w 211173"/>
                <a:gd name="connsiteY11" fmla="*/ 555084 h 588268"/>
                <a:gd name="connsiteX12" fmla="*/ 72402 w 211173"/>
                <a:gd name="connsiteY12" fmla="*/ 588268 h 588268"/>
                <a:gd name="connsiteX13" fmla="*/ 72402 w 211173"/>
                <a:gd name="connsiteY13" fmla="*/ 588268 h 588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1173" h="588268">
                  <a:moveTo>
                    <a:pt x="72402" y="588268"/>
                  </a:moveTo>
                  <a:cubicBezTo>
                    <a:pt x="69386" y="588268"/>
                    <a:pt x="66369" y="585251"/>
                    <a:pt x="66369" y="582235"/>
                  </a:cubicBezTo>
                  <a:cubicBezTo>
                    <a:pt x="66369" y="579218"/>
                    <a:pt x="69386" y="576201"/>
                    <a:pt x="72402" y="576201"/>
                  </a:cubicBezTo>
                  <a:cubicBezTo>
                    <a:pt x="126704" y="573184"/>
                    <a:pt x="184022" y="555084"/>
                    <a:pt x="199106" y="552067"/>
                  </a:cubicBezTo>
                  <a:cubicBezTo>
                    <a:pt x="196089" y="524916"/>
                    <a:pt x="177989" y="365028"/>
                    <a:pt x="147821" y="205140"/>
                  </a:cubicBezTo>
                  <a:cubicBezTo>
                    <a:pt x="114637" y="33184"/>
                    <a:pt x="6034" y="15084"/>
                    <a:pt x="6034" y="12067"/>
                  </a:cubicBezTo>
                  <a:cubicBezTo>
                    <a:pt x="3017" y="12067"/>
                    <a:pt x="0" y="9050"/>
                    <a:pt x="0" y="6033"/>
                  </a:cubicBezTo>
                  <a:cubicBezTo>
                    <a:pt x="0" y="3017"/>
                    <a:pt x="3017" y="0"/>
                    <a:pt x="6034" y="0"/>
                  </a:cubicBezTo>
                  <a:cubicBezTo>
                    <a:pt x="12067" y="0"/>
                    <a:pt x="120670" y="21117"/>
                    <a:pt x="156872" y="199106"/>
                  </a:cubicBezTo>
                  <a:cubicBezTo>
                    <a:pt x="190056" y="377095"/>
                    <a:pt x="208156" y="549050"/>
                    <a:pt x="211173" y="552067"/>
                  </a:cubicBezTo>
                  <a:lnTo>
                    <a:pt x="211173" y="555084"/>
                  </a:lnTo>
                  <a:lnTo>
                    <a:pt x="208156" y="555084"/>
                  </a:lnTo>
                  <a:cubicBezTo>
                    <a:pt x="205140" y="561117"/>
                    <a:pt x="138771" y="585251"/>
                    <a:pt x="72402" y="588268"/>
                  </a:cubicBezTo>
                  <a:cubicBezTo>
                    <a:pt x="72402" y="588268"/>
                    <a:pt x="72402" y="588268"/>
                    <a:pt x="72402" y="588268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9A6D7CDC-8D33-444B-BB09-E96CF61491E3}"/>
                </a:ext>
              </a:extLst>
            </p:cNvPr>
            <p:cNvSpPr/>
            <p:nvPr/>
          </p:nvSpPr>
          <p:spPr>
            <a:xfrm>
              <a:off x="2939558" y="6347755"/>
              <a:ext cx="481117" cy="192503"/>
            </a:xfrm>
            <a:custGeom>
              <a:avLst/>
              <a:gdLst>
                <a:gd name="connsiteX0" fmla="*/ 335478 w 481117"/>
                <a:gd name="connsiteY0" fmla="*/ 3979 h 192503"/>
                <a:gd name="connsiteX1" fmla="*/ 471232 w 481117"/>
                <a:gd name="connsiteY1" fmla="*/ 61298 h 192503"/>
                <a:gd name="connsiteX2" fmla="*/ 468215 w 481117"/>
                <a:gd name="connsiteY2" fmla="*/ 169901 h 192503"/>
                <a:gd name="connsiteX3" fmla="*/ 617 w 481117"/>
                <a:gd name="connsiteY3" fmla="*/ 188001 h 192503"/>
                <a:gd name="connsiteX4" fmla="*/ 335478 w 481117"/>
                <a:gd name="connsiteY4" fmla="*/ 3979 h 19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1117" h="192503">
                  <a:moveTo>
                    <a:pt x="335478" y="3979"/>
                  </a:moveTo>
                  <a:cubicBezTo>
                    <a:pt x="344528" y="-17138"/>
                    <a:pt x="468215" y="52247"/>
                    <a:pt x="471232" y="61298"/>
                  </a:cubicBezTo>
                  <a:cubicBezTo>
                    <a:pt x="471232" y="61298"/>
                    <a:pt x="495366" y="163867"/>
                    <a:pt x="468215" y="169901"/>
                  </a:cubicBezTo>
                  <a:cubicBezTo>
                    <a:pt x="441064" y="175934"/>
                    <a:pt x="3634" y="203085"/>
                    <a:pt x="617" y="188001"/>
                  </a:cubicBezTo>
                  <a:cubicBezTo>
                    <a:pt x="-14466" y="97499"/>
                    <a:pt x="251009" y="64314"/>
                    <a:pt x="335478" y="3979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FF69FA27-8B33-4664-821C-7DDFD1F04433}"/>
                </a:ext>
              </a:extLst>
            </p:cNvPr>
            <p:cNvSpPr/>
            <p:nvPr/>
          </p:nvSpPr>
          <p:spPr>
            <a:xfrm>
              <a:off x="5039005" y="6347755"/>
              <a:ext cx="448304" cy="192503"/>
            </a:xfrm>
            <a:custGeom>
              <a:avLst/>
              <a:gdLst>
                <a:gd name="connsiteX0" fmla="*/ 145640 w 448304"/>
                <a:gd name="connsiteY0" fmla="*/ 3979 h 192503"/>
                <a:gd name="connsiteX1" fmla="*/ 9885 w 448304"/>
                <a:gd name="connsiteY1" fmla="*/ 61298 h 192503"/>
                <a:gd name="connsiteX2" fmla="*/ 12902 w 448304"/>
                <a:gd name="connsiteY2" fmla="*/ 169901 h 192503"/>
                <a:gd name="connsiteX3" fmla="*/ 447316 w 448304"/>
                <a:gd name="connsiteY3" fmla="*/ 188001 h 192503"/>
                <a:gd name="connsiteX4" fmla="*/ 145640 w 448304"/>
                <a:gd name="connsiteY4" fmla="*/ 3979 h 19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8304" h="192503">
                  <a:moveTo>
                    <a:pt x="145640" y="3979"/>
                  </a:moveTo>
                  <a:cubicBezTo>
                    <a:pt x="136589" y="-17138"/>
                    <a:pt x="12902" y="52247"/>
                    <a:pt x="9885" y="61298"/>
                  </a:cubicBezTo>
                  <a:cubicBezTo>
                    <a:pt x="9885" y="61298"/>
                    <a:pt x="-14249" y="163867"/>
                    <a:pt x="12902" y="169901"/>
                  </a:cubicBezTo>
                  <a:cubicBezTo>
                    <a:pt x="40053" y="175934"/>
                    <a:pt x="444299" y="203085"/>
                    <a:pt x="447316" y="188001"/>
                  </a:cubicBezTo>
                  <a:cubicBezTo>
                    <a:pt x="465416" y="97499"/>
                    <a:pt x="230109" y="64314"/>
                    <a:pt x="145640" y="3979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0E7D74EE-3C1E-456B-92DB-860E44E264A2}"/>
                </a:ext>
              </a:extLst>
            </p:cNvPr>
            <p:cNvSpPr/>
            <p:nvPr/>
          </p:nvSpPr>
          <p:spPr>
            <a:xfrm>
              <a:off x="4753248" y="3331572"/>
              <a:ext cx="109019" cy="350330"/>
            </a:xfrm>
            <a:custGeom>
              <a:avLst/>
              <a:gdLst>
                <a:gd name="connsiteX0" fmla="*/ 99553 w 109019"/>
                <a:gd name="connsiteY0" fmla="*/ 63738 h 350330"/>
                <a:gd name="connsiteX1" fmla="*/ 81453 w 109019"/>
                <a:gd name="connsiteY1" fmla="*/ 45637 h 350330"/>
                <a:gd name="connsiteX2" fmla="*/ 63352 w 109019"/>
                <a:gd name="connsiteY2" fmla="*/ 6419 h 350330"/>
                <a:gd name="connsiteX3" fmla="*/ 27151 w 109019"/>
                <a:gd name="connsiteY3" fmla="*/ 15470 h 350330"/>
                <a:gd name="connsiteX4" fmla="*/ 21117 w 109019"/>
                <a:gd name="connsiteY4" fmla="*/ 57704 h 350330"/>
                <a:gd name="connsiteX5" fmla="*/ 0 w 109019"/>
                <a:gd name="connsiteY5" fmla="*/ 81838 h 350330"/>
                <a:gd name="connsiteX6" fmla="*/ 3017 w 109019"/>
                <a:gd name="connsiteY6" fmla="*/ 311112 h 350330"/>
                <a:gd name="connsiteX7" fmla="*/ 42235 w 109019"/>
                <a:gd name="connsiteY7" fmla="*/ 350330 h 350330"/>
                <a:gd name="connsiteX8" fmla="*/ 102570 w 109019"/>
                <a:gd name="connsiteY8" fmla="*/ 277928 h 350330"/>
                <a:gd name="connsiteX9" fmla="*/ 99553 w 109019"/>
                <a:gd name="connsiteY9" fmla="*/ 63738 h 350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019" h="350330">
                  <a:moveTo>
                    <a:pt x="99553" y="63738"/>
                  </a:moveTo>
                  <a:cubicBezTo>
                    <a:pt x="96536" y="54687"/>
                    <a:pt x="87486" y="48654"/>
                    <a:pt x="81453" y="45637"/>
                  </a:cubicBezTo>
                  <a:cubicBezTo>
                    <a:pt x="78436" y="30553"/>
                    <a:pt x="72402" y="18486"/>
                    <a:pt x="63352" y="6419"/>
                  </a:cubicBezTo>
                  <a:cubicBezTo>
                    <a:pt x="54302" y="-5648"/>
                    <a:pt x="33184" y="386"/>
                    <a:pt x="27151" y="15470"/>
                  </a:cubicBezTo>
                  <a:cubicBezTo>
                    <a:pt x="24134" y="30553"/>
                    <a:pt x="24134" y="42621"/>
                    <a:pt x="21117" y="57704"/>
                  </a:cubicBezTo>
                  <a:cubicBezTo>
                    <a:pt x="9050" y="57704"/>
                    <a:pt x="0" y="66755"/>
                    <a:pt x="0" y="81838"/>
                  </a:cubicBezTo>
                  <a:cubicBezTo>
                    <a:pt x="0" y="148207"/>
                    <a:pt x="3017" y="244743"/>
                    <a:pt x="3017" y="311112"/>
                  </a:cubicBezTo>
                  <a:cubicBezTo>
                    <a:pt x="3017" y="326196"/>
                    <a:pt x="33184" y="350330"/>
                    <a:pt x="42235" y="350330"/>
                  </a:cubicBezTo>
                  <a:cubicBezTo>
                    <a:pt x="81453" y="350330"/>
                    <a:pt x="99553" y="317146"/>
                    <a:pt x="102570" y="277928"/>
                  </a:cubicBezTo>
                  <a:cubicBezTo>
                    <a:pt x="108603" y="226643"/>
                    <a:pt x="114637" y="118040"/>
                    <a:pt x="99553" y="63738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60464405-3804-42BA-9CE1-CB9D7164DE20}"/>
                </a:ext>
              </a:extLst>
            </p:cNvPr>
            <p:cNvSpPr/>
            <p:nvPr/>
          </p:nvSpPr>
          <p:spPr>
            <a:xfrm>
              <a:off x="4810429" y="3331572"/>
              <a:ext cx="105723" cy="350330"/>
            </a:xfrm>
            <a:custGeom>
              <a:avLst/>
              <a:gdLst>
                <a:gd name="connsiteX0" fmla="*/ 9188 w 105723"/>
                <a:gd name="connsiteY0" fmla="*/ 63738 h 350330"/>
                <a:gd name="connsiteX1" fmla="*/ 27288 w 105723"/>
                <a:gd name="connsiteY1" fmla="*/ 45637 h 350330"/>
                <a:gd name="connsiteX2" fmla="*/ 45389 w 105723"/>
                <a:gd name="connsiteY2" fmla="*/ 6419 h 350330"/>
                <a:gd name="connsiteX3" fmla="*/ 78573 w 105723"/>
                <a:gd name="connsiteY3" fmla="*/ 15470 h 350330"/>
                <a:gd name="connsiteX4" fmla="*/ 84607 w 105723"/>
                <a:gd name="connsiteY4" fmla="*/ 57704 h 350330"/>
                <a:gd name="connsiteX5" fmla="*/ 105724 w 105723"/>
                <a:gd name="connsiteY5" fmla="*/ 81838 h 350330"/>
                <a:gd name="connsiteX6" fmla="*/ 102707 w 105723"/>
                <a:gd name="connsiteY6" fmla="*/ 311112 h 350330"/>
                <a:gd name="connsiteX7" fmla="*/ 66506 w 105723"/>
                <a:gd name="connsiteY7" fmla="*/ 350330 h 350330"/>
                <a:gd name="connsiteX8" fmla="*/ 9188 w 105723"/>
                <a:gd name="connsiteY8" fmla="*/ 277928 h 350330"/>
                <a:gd name="connsiteX9" fmla="*/ 9188 w 105723"/>
                <a:gd name="connsiteY9" fmla="*/ 63738 h 350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5723" h="350330">
                  <a:moveTo>
                    <a:pt x="9188" y="63738"/>
                  </a:moveTo>
                  <a:cubicBezTo>
                    <a:pt x="12204" y="54687"/>
                    <a:pt x="18238" y="48654"/>
                    <a:pt x="27288" y="45637"/>
                  </a:cubicBezTo>
                  <a:cubicBezTo>
                    <a:pt x="30305" y="30553"/>
                    <a:pt x="36338" y="18486"/>
                    <a:pt x="45389" y="6419"/>
                  </a:cubicBezTo>
                  <a:cubicBezTo>
                    <a:pt x="54439" y="-5648"/>
                    <a:pt x="75556" y="386"/>
                    <a:pt x="78573" y="15470"/>
                  </a:cubicBezTo>
                  <a:cubicBezTo>
                    <a:pt x="81590" y="30553"/>
                    <a:pt x="81590" y="42621"/>
                    <a:pt x="84607" y="57704"/>
                  </a:cubicBezTo>
                  <a:cubicBezTo>
                    <a:pt x="93657" y="57704"/>
                    <a:pt x="105724" y="66755"/>
                    <a:pt x="105724" y="81838"/>
                  </a:cubicBezTo>
                  <a:cubicBezTo>
                    <a:pt x="105724" y="148207"/>
                    <a:pt x="102707" y="244743"/>
                    <a:pt x="102707" y="311112"/>
                  </a:cubicBezTo>
                  <a:cubicBezTo>
                    <a:pt x="102707" y="326196"/>
                    <a:pt x="75556" y="350330"/>
                    <a:pt x="66506" y="350330"/>
                  </a:cubicBezTo>
                  <a:cubicBezTo>
                    <a:pt x="27288" y="350330"/>
                    <a:pt x="12204" y="317146"/>
                    <a:pt x="9188" y="277928"/>
                  </a:cubicBezTo>
                  <a:cubicBezTo>
                    <a:pt x="137" y="226643"/>
                    <a:pt x="-5896" y="118040"/>
                    <a:pt x="9188" y="63738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77" name="图形 1">
            <a:extLst>
              <a:ext uri="{FF2B5EF4-FFF2-40B4-BE49-F238E27FC236}">
                <a16:creationId xmlns:a16="http://schemas.microsoft.com/office/drawing/2014/main" id="{AD3FB609-0B4E-41F3-B5B9-8B7A29FFB81A}"/>
              </a:ext>
            </a:extLst>
          </p:cNvPr>
          <p:cNvGrpSpPr/>
          <p:nvPr/>
        </p:nvGrpSpPr>
        <p:grpSpPr>
          <a:xfrm>
            <a:off x="6118136" y="2128032"/>
            <a:ext cx="3622478" cy="4591747"/>
            <a:chOff x="5940668" y="2128032"/>
            <a:chExt cx="3622478" cy="4591747"/>
          </a:xfrm>
        </p:grpSpPr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9F087CDE-D7A5-4761-A250-414A4ECCB972}"/>
                </a:ext>
              </a:extLst>
            </p:cNvPr>
            <p:cNvSpPr/>
            <p:nvPr/>
          </p:nvSpPr>
          <p:spPr>
            <a:xfrm>
              <a:off x="6515036" y="6357768"/>
              <a:ext cx="2687933" cy="362011"/>
            </a:xfrm>
            <a:custGeom>
              <a:avLst/>
              <a:gdLst>
                <a:gd name="connsiteX0" fmla="*/ 0 w 2687933"/>
                <a:gd name="connsiteY0" fmla="*/ 346927 h 362011"/>
                <a:gd name="connsiteX1" fmla="*/ 2687933 w 2687933"/>
                <a:gd name="connsiteY1" fmla="*/ 362011 h 362011"/>
                <a:gd name="connsiteX2" fmla="*/ 2259553 w 2687933"/>
                <a:gd name="connsiteY2" fmla="*/ 18100 h 362011"/>
                <a:gd name="connsiteX3" fmla="*/ 428380 w 2687933"/>
                <a:gd name="connsiteY3" fmla="*/ 0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7933" h="362011">
                  <a:moveTo>
                    <a:pt x="0" y="346927"/>
                  </a:moveTo>
                  <a:lnTo>
                    <a:pt x="2687933" y="362011"/>
                  </a:lnTo>
                  <a:lnTo>
                    <a:pt x="2259553" y="18100"/>
                  </a:lnTo>
                  <a:lnTo>
                    <a:pt x="428380" y="0"/>
                  </a:ln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BEE0686D-A0CE-458C-BF97-56882F6FD9CE}"/>
                </a:ext>
              </a:extLst>
            </p:cNvPr>
            <p:cNvSpPr/>
            <p:nvPr/>
          </p:nvSpPr>
          <p:spPr>
            <a:xfrm>
              <a:off x="6225427" y="3014624"/>
              <a:ext cx="1140821" cy="284148"/>
            </a:xfrm>
            <a:custGeom>
              <a:avLst/>
              <a:gdLst>
                <a:gd name="connsiteX0" fmla="*/ 1113185 w 1140821"/>
                <a:gd name="connsiteY0" fmla="*/ 154429 h 284148"/>
                <a:gd name="connsiteX1" fmla="*/ 977430 w 1140821"/>
                <a:gd name="connsiteY1" fmla="*/ 6608 h 284148"/>
                <a:gd name="connsiteX2" fmla="*/ 515866 w 1140821"/>
                <a:gd name="connsiteY2" fmla="*/ 88060 h 284148"/>
                <a:gd name="connsiteX3" fmla="*/ 24134 w 1140821"/>
                <a:gd name="connsiteY3" fmla="*/ 79010 h 284148"/>
                <a:gd name="connsiteX4" fmla="*/ 0 w 1140821"/>
                <a:gd name="connsiteY4" fmla="*/ 202697 h 284148"/>
                <a:gd name="connsiteX5" fmla="*/ 500782 w 1140821"/>
                <a:gd name="connsiteY5" fmla="*/ 275099 h 284148"/>
                <a:gd name="connsiteX6" fmla="*/ 1113185 w 1140821"/>
                <a:gd name="connsiteY6" fmla="*/ 154429 h 284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0821" h="284148">
                  <a:moveTo>
                    <a:pt x="1113185" y="154429"/>
                  </a:moveTo>
                  <a:cubicBezTo>
                    <a:pt x="1185587" y="-11493"/>
                    <a:pt x="1107151" y="-8476"/>
                    <a:pt x="977430" y="6608"/>
                  </a:cubicBezTo>
                  <a:cubicBezTo>
                    <a:pt x="841676" y="21691"/>
                    <a:pt x="546034" y="91077"/>
                    <a:pt x="515866" y="88060"/>
                  </a:cubicBezTo>
                  <a:cubicBezTo>
                    <a:pt x="416313" y="94094"/>
                    <a:pt x="24134" y="79010"/>
                    <a:pt x="24134" y="79010"/>
                  </a:cubicBezTo>
                  <a:cubicBezTo>
                    <a:pt x="9050" y="106161"/>
                    <a:pt x="0" y="202697"/>
                    <a:pt x="0" y="202697"/>
                  </a:cubicBezTo>
                  <a:cubicBezTo>
                    <a:pt x="0" y="202697"/>
                    <a:pt x="362011" y="266049"/>
                    <a:pt x="500782" y="275099"/>
                  </a:cubicBezTo>
                  <a:cubicBezTo>
                    <a:pt x="570168" y="281133"/>
                    <a:pt x="1040782" y="323367"/>
                    <a:pt x="1113185" y="154429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0" name="图形 1">
              <a:extLst>
                <a:ext uri="{FF2B5EF4-FFF2-40B4-BE49-F238E27FC236}">
                  <a16:creationId xmlns:a16="http://schemas.microsoft.com/office/drawing/2014/main" id="{AD3FB609-0B4E-41F3-B5B9-8B7A29FFB81A}"/>
                </a:ext>
              </a:extLst>
            </p:cNvPr>
            <p:cNvGrpSpPr/>
            <p:nvPr/>
          </p:nvGrpSpPr>
          <p:grpSpPr>
            <a:xfrm>
              <a:off x="5940668" y="2985957"/>
              <a:ext cx="354432" cy="235997"/>
              <a:chOff x="5940668" y="2985957"/>
              <a:chExt cx="354432" cy="235997"/>
            </a:xfrm>
          </p:grpSpPr>
          <p:grpSp>
            <p:nvGrpSpPr>
              <p:cNvPr id="81" name="图形 1">
                <a:extLst>
                  <a:ext uri="{FF2B5EF4-FFF2-40B4-BE49-F238E27FC236}">
                    <a16:creationId xmlns:a16="http://schemas.microsoft.com/office/drawing/2014/main" id="{AD3FB609-0B4E-41F3-B5B9-8B7A29FFB81A}"/>
                  </a:ext>
                </a:extLst>
              </p:cNvPr>
              <p:cNvGrpSpPr/>
              <p:nvPr/>
            </p:nvGrpSpPr>
            <p:grpSpPr>
              <a:xfrm>
                <a:off x="5940668" y="2985957"/>
                <a:ext cx="354432" cy="235997"/>
                <a:chOff x="5940668" y="2985957"/>
                <a:chExt cx="354432" cy="235997"/>
              </a:xfrm>
            </p:grpSpPr>
            <p:sp>
              <p:nvSpPr>
                <p:cNvPr id="82" name="任意多边形: 形状 81">
                  <a:extLst>
                    <a:ext uri="{FF2B5EF4-FFF2-40B4-BE49-F238E27FC236}">
                      <a16:creationId xmlns:a16="http://schemas.microsoft.com/office/drawing/2014/main" id="{8E5FFFF4-DF4D-4CC2-9F92-EF5B296888A8}"/>
                    </a:ext>
                  </a:extLst>
                </p:cNvPr>
                <p:cNvSpPr/>
                <p:nvPr/>
              </p:nvSpPr>
              <p:spPr>
                <a:xfrm>
                  <a:off x="5949814" y="2985957"/>
                  <a:ext cx="345286" cy="235997"/>
                </a:xfrm>
                <a:custGeom>
                  <a:avLst/>
                  <a:gdLst>
                    <a:gd name="connsiteX0" fmla="*/ 173043 w 345286"/>
                    <a:gd name="connsiteY0" fmla="*/ 225330 h 235997"/>
                    <a:gd name="connsiteX1" fmla="*/ 302764 w 345286"/>
                    <a:gd name="connsiteY1" fmla="*/ 222313 h 235997"/>
                    <a:gd name="connsiteX2" fmla="*/ 344999 w 345286"/>
                    <a:gd name="connsiteY2" fmla="*/ 134827 h 235997"/>
                    <a:gd name="connsiteX3" fmla="*/ 236396 w 345286"/>
                    <a:gd name="connsiteY3" fmla="*/ 5106 h 235997"/>
                    <a:gd name="connsiteX4" fmla="*/ 212261 w 345286"/>
                    <a:gd name="connsiteY4" fmla="*/ 32257 h 235997"/>
                    <a:gd name="connsiteX5" fmla="*/ 248462 w 345286"/>
                    <a:gd name="connsiteY5" fmla="*/ 98626 h 235997"/>
                    <a:gd name="connsiteX6" fmla="*/ 70474 w 345286"/>
                    <a:gd name="connsiteY6" fmla="*/ 71475 h 235997"/>
                    <a:gd name="connsiteX7" fmla="*/ 46340 w 345286"/>
                    <a:gd name="connsiteY7" fmla="*/ 89576 h 235997"/>
                    <a:gd name="connsiteX8" fmla="*/ 88574 w 345286"/>
                    <a:gd name="connsiteY8" fmla="*/ 101643 h 235997"/>
                    <a:gd name="connsiteX9" fmla="*/ 142876 w 345286"/>
                    <a:gd name="connsiteY9" fmla="*/ 116727 h 235997"/>
                    <a:gd name="connsiteX10" fmla="*/ 67457 w 345286"/>
                    <a:gd name="connsiteY10" fmla="*/ 119743 h 235997"/>
                    <a:gd name="connsiteX11" fmla="*/ 13155 w 345286"/>
                    <a:gd name="connsiteY11" fmla="*/ 122760 h 235997"/>
                    <a:gd name="connsiteX12" fmla="*/ 1088 w 345286"/>
                    <a:gd name="connsiteY12" fmla="*/ 143877 h 235997"/>
                    <a:gd name="connsiteX13" fmla="*/ 22205 w 345286"/>
                    <a:gd name="connsiteY13" fmla="*/ 161978 h 235997"/>
                    <a:gd name="connsiteX14" fmla="*/ 19189 w 345286"/>
                    <a:gd name="connsiteY14" fmla="*/ 161978 h 235997"/>
                    <a:gd name="connsiteX15" fmla="*/ 13155 w 345286"/>
                    <a:gd name="connsiteY15" fmla="*/ 174045 h 235997"/>
                    <a:gd name="connsiteX16" fmla="*/ 58406 w 345286"/>
                    <a:gd name="connsiteY16" fmla="*/ 186112 h 235997"/>
                    <a:gd name="connsiteX17" fmla="*/ 85557 w 345286"/>
                    <a:gd name="connsiteY17" fmla="*/ 186112 h 235997"/>
                    <a:gd name="connsiteX18" fmla="*/ 79524 w 345286"/>
                    <a:gd name="connsiteY18" fmla="*/ 189129 h 235997"/>
                    <a:gd name="connsiteX19" fmla="*/ 70474 w 345286"/>
                    <a:gd name="connsiteY19" fmla="*/ 204213 h 235997"/>
                    <a:gd name="connsiteX20" fmla="*/ 173043 w 345286"/>
                    <a:gd name="connsiteY20" fmla="*/ 225330 h 23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45286" h="235997">
                      <a:moveTo>
                        <a:pt x="173043" y="225330"/>
                      </a:moveTo>
                      <a:cubicBezTo>
                        <a:pt x="215278" y="228347"/>
                        <a:pt x="266563" y="249464"/>
                        <a:pt x="302764" y="222313"/>
                      </a:cubicBezTo>
                      <a:cubicBezTo>
                        <a:pt x="326898" y="204213"/>
                        <a:pt x="348016" y="161978"/>
                        <a:pt x="344999" y="134827"/>
                      </a:cubicBezTo>
                      <a:cubicBezTo>
                        <a:pt x="335948" y="92592"/>
                        <a:pt x="266563" y="65442"/>
                        <a:pt x="236396" y="5106"/>
                      </a:cubicBezTo>
                      <a:cubicBezTo>
                        <a:pt x="230362" y="-9977"/>
                        <a:pt x="206228" y="11140"/>
                        <a:pt x="212261" y="32257"/>
                      </a:cubicBezTo>
                      <a:cubicBezTo>
                        <a:pt x="221312" y="59408"/>
                        <a:pt x="233379" y="83542"/>
                        <a:pt x="248462" y="98626"/>
                      </a:cubicBezTo>
                      <a:cubicBezTo>
                        <a:pt x="188127" y="92592"/>
                        <a:pt x="133825" y="65442"/>
                        <a:pt x="70474" y="71475"/>
                      </a:cubicBezTo>
                      <a:cubicBezTo>
                        <a:pt x="61423" y="71475"/>
                        <a:pt x="34272" y="77509"/>
                        <a:pt x="46340" y="89576"/>
                      </a:cubicBezTo>
                      <a:cubicBezTo>
                        <a:pt x="55390" y="98626"/>
                        <a:pt x="76507" y="98626"/>
                        <a:pt x="88574" y="101643"/>
                      </a:cubicBezTo>
                      <a:cubicBezTo>
                        <a:pt x="106675" y="107676"/>
                        <a:pt x="124775" y="110693"/>
                        <a:pt x="142876" y="116727"/>
                      </a:cubicBezTo>
                      <a:cubicBezTo>
                        <a:pt x="118742" y="116727"/>
                        <a:pt x="91591" y="119743"/>
                        <a:pt x="67457" y="119743"/>
                      </a:cubicBezTo>
                      <a:cubicBezTo>
                        <a:pt x="52373" y="119743"/>
                        <a:pt x="31256" y="116727"/>
                        <a:pt x="13155" y="122760"/>
                      </a:cubicBezTo>
                      <a:cubicBezTo>
                        <a:pt x="1088" y="125777"/>
                        <a:pt x="-1929" y="134827"/>
                        <a:pt x="1088" y="143877"/>
                      </a:cubicBezTo>
                      <a:cubicBezTo>
                        <a:pt x="4105" y="152928"/>
                        <a:pt x="13155" y="158961"/>
                        <a:pt x="22205" y="161978"/>
                      </a:cubicBezTo>
                      <a:cubicBezTo>
                        <a:pt x="22205" y="161978"/>
                        <a:pt x="22205" y="161978"/>
                        <a:pt x="19189" y="161978"/>
                      </a:cubicBezTo>
                      <a:cubicBezTo>
                        <a:pt x="16172" y="161978"/>
                        <a:pt x="13155" y="171028"/>
                        <a:pt x="13155" y="174045"/>
                      </a:cubicBezTo>
                      <a:cubicBezTo>
                        <a:pt x="22205" y="186112"/>
                        <a:pt x="40306" y="186112"/>
                        <a:pt x="58406" y="186112"/>
                      </a:cubicBezTo>
                      <a:cubicBezTo>
                        <a:pt x="67457" y="186112"/>
                        <a:pt x="76507" y="186112"/>
                        <a:pt x="85557" y="186112"/>
                      </a:cubicBezTo>
                      <a:cubicBezTo>
                        <a:pt x="82541" y="186112"/>
                        <a:pt x="82541" y="186112"/>
                        <a:pt x="79524" y="189129"/>
                      </a:cubicBezTo>
                      <a:cubicBezTo>
                        <a:pt x="73490" y="192146"/>
                        <a:pt x="67457" y="198179"/>
                        <a:pt x="70474" y="204213"/>
                      </a:cubicBezTo>
                      <a:cubicBezTo>
                        <a:pt x="67457" y="219296"/>
                        <a:pt x="148909" y="222313"/>
                        <a:pt x="173043" y="225330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: 形状 82">
                  <a:extLst>
                    <a:ext uri="{FF2B5EF4-FFF2-40B4-BE49-F238E27FC236}">
                      <a16:creationId xmlns:a16="http://schemas.microsoft.com/office/drawing/2014/main" id="{7F6BDF93-1D40-4841-8999-BEA69B07EB04}"/>
                    </a:ext>
                  </a:extLst>
                </p:cNvPr>
                <p:cNvSpPr/>
                <p:nvPr/>
              </p:nvSpPr>
              <p:spPr>
                <a:xfrm>
                  <a:off x="6186209" y="3099667"/>
                  <a:ext cx="43484" cy="51284"/>
                </a:xfrm>
                <a:custGeom>
                  <a:avLst/>
                  <a:gdLst>
                    <a:gd name="connsiteX0" fmla="*/ 36201 w 43484"/>
                    <a:gd name="connsiteY0" fmla="*/ 51285 h 51284"/>
                    <a:gd name="connsiteX1" fmla="*/ 36201 w 43484"/>
                    <a:gd name="connsiteY1" fmla="*/ 51285 h 51284"/>
                    <a:gd name="connsiteX2" fmla="*/ 0 w 43484"/>
                    <a:gd name="connsiteY2" fmla="*/ 6034 h 51284"/>
                    <a:gd name="connsiteX3" fmla="*/ 6033 w 43484"/>
                    <a:gd name="connsiteY3" fmla="*/ 0 h 51284"/>
                    <a:gd name="connsiteX4" fmla="*/ 6033 w 43484"/>
                    <a:gd name="connsiteY4" fmla="*/ 0 h 51284"/>
                    <a:gd name="connsiteX5" fmla="*/ 12067 w 43484"/>
                    <a:gd name="connsiteY5" fmla="*/ 6034 h 51284"/>
                    <a:gd name="connsiteX6" fmla="*/ 39218 w 43484"/>
                    <a:gd name="connsiteY6" fmla="*/ 39218 h 51284"/>
                    <a:gd name="connsiteX7" fmla="*/ 42234 w 43484"/>
                    <a:gd name="connsiteY7" fmla="*/ 45251 h 51284"/>
                    <a:gd name="connsiteX8" fmla="*/ 36201 w 43484"/>
                    <a:gd name="connsiteY8" fmla="*/ 51285 h 51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3484" h="51284">
                      <a:moveTo>
                        <a:pt x="36201" y="51285"/>
                      </a:moveTo>
                      <a:cubicBezTo>
                        <a:pt x="36201" y="51285"/>
                        <a:pt x="36201" y="51285"/>
                        <a:pt x="36201" y="51285"/>
                      </a:cubicBezTo>
                      <a:cubicBezTo>
                        <a:pt x="6033" y="42235"/>
                        <a:pt x="0" y="18101"/>
                        <a:pt x="0" y="6034"/>
                      </a:cubicBezTo>
                      <a:cubicBezTo>
                        <a:pt x="0" y="3017"/>
                        <a:pt x="3016" y="0"/>
                        <a:pt x="6033" y="0"/>
                      </a:cubicBezTo>
                      <a:lnTo>
                        <a:pt x="6033" y="0"/>
                      </a:lnTo>
                      <a:cubicBezTo>
                        <a:pt x="9050" y="0"/>
                        <a:pt x="12067" y="3017"/>
                        <a:pt x="12067" y="6034"/>
                      </a:cubicBezTo>
                      <a:cubicBezTo>
                        <a:pt x="12067" y="6034"/>
                        <a:pt x="12067" y="33184"/>
                        <a:pt x="39218" y="39218"/>
                      </a:cubicBezTo>
                      <a:cubicBezTo>
                        <a:pt x="42234" y="39218"/>
                        <a:pt x="45251" y="42235"/>
                        <a:pt x="42234" y="45251"/>
                      </a:cubicBezTo>
                      <a:cubicBezTo>
                        <a:pt x="42234" y="48268"/>
                        <a:pt x="39218" y="51285"/>
                        <a:pt x="36201" y="51285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: 形状 83">
                  <a:extLst>
                    <a:ext uri="{FF2B5EF4-FFF2-40B4-BE49-F238E27FC236}">
                      <a16:creationId xmlns:a16="http://schemas.microsoft.com/office/drawing/2014/main" id="{1DB676A0-DC19-4B09-9538-EC2F026E5EDD}"/>
                    </a:ext>
                  </a:extLst>
                </p:cNvPr>
                <p:cNvSpPr/>
                <p:nvPr/>
              </p:nvSpPr>
              <p:spPr>
                <a:xfrm>
                  <a:off x="5940668" y="3065233"/>
                  <a:ext cx="155038" cy="79685"/>
                </a:xfrm>
                <a:custGeom>
                  <a:avLst/>
                  <a:gdLst>
                    <a:gd name="connsiteX0" fmla="*/ 25318 w 155038"/>
                    <a:gd name="connsiteY0" fmla="*/ 79685 h 79685"/>
                    <a:gd name="connsiteX1" fmla="*/ 25318 w 155038"/>
                    <a:gd name="connsiteY1" fmla="*/ 79685 h 79685"/>
                    <a:gd name="connsiteX2" fmla="*/ 1183 w 155038"/>
                    <a:gd name="connsiteY2" fmla="*/ 61585 h 79685"/>
                    <a:gd name="connsiteX3" fmla="*/ 7217 w 155038"/>
                    <a:gd name="connsiteY3" fmla="*/ 37451 h 79685"/>
                    <a:gd name="connsiteX4" fmla="*/ 97720 w 155038"/>
                    <a:gd name="connsiteY4" fmla="*/ 25384 h 79685"/>
                    <a:gd name="connsiteX5" fmla="*/ 49452 w 155038"/>
                    <a:gd name="connsiteY5" fmla="*/ 10300 h 79685"/>
                    <a:gd name="connsiteX6" fmla="*/ 46435 w 155038"/>
                    <a:gd name="connsiteY6" fmla="*/ 4266 h 79685"/>
                    <a:gd name="connsiteX7" fmla="*/ 52468 w 155038"/>
                    <a:gd name="connsiteY7" fmla="*/ 1250 h 79685"/>
                    <a:gd name="connsiteX8" fmla="*/ 149005 w 155038"/>
                    <a:gd name="connsiteY8" fmla="*/ 28400 h 79685"/>
                    <a:gd name="connsiteX9" fmla="*/ 155038 w 155038"/>
                    <a:gd name="connsiteY9" fmla="*/ 34434 h 79685"/>
                    <a:gd name="connsiteX10" fmla="*/ 149005 w 155038"/>
                    <a:gd name="connsiteY10" fmla="*/ 40467 h 79685"/>
                    <a:gd name="connsiteX11" fmla="*/ 149005 w 155038"/>
                    <a:gd name="connsiteY11" fmla="*/ 40467 h 79685"/>
                    <a:gd name="connsiteX12" fmla="*/ 16267 w 155038"/>
                    <a:gd name="connsiteY12" fmla="*/ 49518 h 79685"/>
                    <a:gd name="connsiteX13" fmla="*/ 13251 w 155038"/>
                    <a:gd name="connsiteY13" fmla="*/ 61585 h 79685"/>
                    <a:gd name="connsiteX14" fmla="*/ 28334 w 155038"/>
                    <a:gd name="connsiteY14" fmla="*/ 70635 h 79685"/>
                    <a:gd name="connsiteX15" fmla="*/ 34368 w 155038"/>
                    <a:gd name="connsiteY15" fmla="*/ 76669 h 79685"/>
                    <a:gd name="connsiteX16" fmla="*/ 25318 w 155038"/>
                    <a:gd name="connsiteY16" fmla="*/ 79685 h 79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5038" h="79685">
                      <a:moveTo>
                        <a:pt x="25318" y="79685"/>
                      </a:moveTo>
                      <a:cubicBezTo>
                        <a:pt x="25318" y="79685"/>
                        <a:pt x="25318" y="79685"/>
                        <a:pt x="25318" y="79685"/>
                      </a:cubicBezTo>
                      <a:cubicBezTo>
                        <a:pt x="13251" y="76669"/>
                        <a:pt x="4200" y="70635"/>
                        <a:pt x="1183" y="61585"/>
                      </a:cubicBezTo>
                      <a:cubicBezTo>
                        <a:pt x="-1833" y="52535"/>
                        <a:pt x="1183" y="46501"/>
                        <a:pt x="7217" y="37451"/>
                      </a:cubicBezTo>
                      <a:cubicBezTo>
                        <a:pt x="13251" y="28400"/>
                        <a:pt x="58502" y="25384"/>
                        <a:pt x="97720" y="25384"/>
                      </a:cubicBezTo>
                      <a:cubicBezTo>
                        <a:pt x="73586" y="19350"/>
                        <a:pt x="49452" y="10300"/>
                        <a:pt x="49452" y="10300"/>
                      </a:cubicBezTo>
                      <a:cubicBezTo>
                        <a:pt x="46435" y="10300"/>
                        <a:pt x="43418" y="7283"/>
                        <a:pt x="46435" y="4266"/>
                      </a:cubicBezTo>
                      <a:cubicBezTo>
                        <a:pt x="46435" y="1250"/>
                        <a:pt x="49452" y="-1767"/>
                        <a:pt x="52468" y="1250"/>
                      </a:cubicBezTo>
                      <a:cubicBezTo>
                        <a:pt x="52468" y="1250"/>
                        <a:pt x="112803" y="19350"/>
                        <a:pt x="149005" y="28400"/>
                      </a:cubicBezTo>
                      <a:cubicBezTo>
                        <a:pt x="152021" y="28400"/>
                        <a:pt x="155038" y="31417"/>
                        <a:pt x="155038" y="34434"/>
                      </a:cubicBezTo>
                      <a:cubicBezTo>
                        <a:pt x="155038" y="37451"/>
                        <a:pt x="152021" y="40467"/>
                        <a:pt x="149005" y="40467"/>
                      </a:cubicBezTo>
                      <a:lnTo>
                        <a:pt x="149005" y="40467"/>
                      </a:lnTo>
                      <a:cubicBezTo>
                        <a:pt x="91686" y="40467"/>
                        <a:pt x="25318" y="43484"/>
                        <a:pt x="16267" y="49518"/>
                      </a:cubicBezTo>
                      <a:cubicBezTo>
                        <a:pt x="13251" y="52535"/>
                        <a:pt x="10234" y="55551"/>
                        <a:pt x="13251" y="61585"/>
                      </a:cubicBezTo>
                      <a:cubicBezTo>
                        <a:pt x="16267" y="64601"/>
                        <a:pt x="19284" y="70635"/>
                        <a:pt x="28334" y="70635"/>
                      </a:cubicBezTo>
                      <a:cubicBezTo>
                        <a:pt x="31351" y="70635"/>
                        <a:pt x="34368" y="73652"/>
                        <a:pt x="34368" y="76669"/>
                      </a:cubicBezTo>
                      <a:cubicBezTo>
                        <a:pt x="31351" y="76669"/>
                        <a:pt x="28334" y="79685"/>
                        <a:pt x="25318" y="79685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320BDF36-DFCB-4447-8A7A-B22BC0547AF0}"/>
                  </a:ext>
                </a:extLst>
              </p:cNvPr>
              <p:cNvSpPr/>
              <p:nvPr/>
            </p:nvSpPr>
            <p:spPr>
              <a:xfrm>
                <a:off x="6009987" y="3163019"/>
                <a:ext cx="115886" cy="54301"/>
              </a:xfrm>
              <a:custGeom>
                <a:avLst/>
                <a:gdLst>
                  <a:gd name="connsiteX0" fmla="*/ 100803 w 115886"/>
                  <a:gd name="connsiteY0" fmla="*/ 54302 h 54301"/>
                  <a:gd name="connsiteX1" fmla="*/ 100803 w 115886"/>
                  <a:gd name="connsiteY1" fmla="*/ 54302 h 54301"/>
                  <a:gd name="connsiteX2" fmla="*/ 1250 w 115886"/>
                  <a:gd name="connsiteY2" fmla="*/ 27151 h 54301"/>
                  <a:gd name="connsiteX3" fmla="*/ 4266 w 115886"/>
                  <a:gd name="connsiteY3" fmla="*/ 9050 h 54301"/>
                  <a:gd name="connsiteX4" fmla="*/ 28400 w 115886"/>
                  <a:gd name="connsiteY4" fmla="*/ 0 h 54301"/>
                  <a:gd name="connsiteX5" fmla="*/ 64601 w 115886"/>
                  <a:gd name="connsiteY5" fmla="*/ 3017 h 54301"/>
                  <a:gd name="connsiteX6" fmla="*/ 109853 w 115886"/>
                  <a:gd name="connsiteY6" fmla="*/ 6034 h 54301"/>
                  <a:gd name="connsiteX7" fmla="*/ 115887 w 115886"/>
                  <a:gd name="connsiteY7" fmla="*/ 12067 h 54301"/>
                  <a:gd name="connsiteX8" fmla="*/ 109853 w 115886"/>
                  <a:gd name="connsiteY8" fmla="*/ 18101 h 54301"/>
                  <a:gd name="connsiteX9" fmla="*/ 61585 w 115886"/>
                  <a:gd name="connsiteY9" fmla="*/ 15084 h 54301"/>
                  <a:gd name="connsiteX10" fmla="*/ 25384 w 115886"/>
                  <a:gd name="connsiteY10" fmla="*/ 12067 h 54301"/>
                  <a:gd name="connsiteX11" fmla="*/ 10300 w 115886"/>
                  <a:gd name="connsiteY11" fmla="*/ 18101 h 54301"/>
                  <a:gd name="connsiteX12" fmla="*/ 10300 w 115886"/>
                  <a:gd name="connsiteY12" fmla="*/ 24134 h 54301"/>
                  <a:gd name="connsiteX13" fmla="*/ 97786 w 115886"/>
                  <a:gd name="connsiteY13" fmla="*/ 45251 h 54301"/>
                  <a:gd name="connsiteX14" fmla="*/ 103819 w 115886"/>
                  <a:gd name="connsiteY14" fmla="*/ 51285 h 54301"/>
                  <a:gd name="connsiteX15" fmla="*/ 100803 w 115886"/>
                  <a:gd name="connsiteY15" fmla="*/ 54302 h 54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5886" h="54301">
                    <a:moveTo>
                      <a:pt x="100803" y="54302"/>
                    </a:moveTo>
                    <a:lnTo>
                      <a:pt x="100803" y="54302"/>
                    </a:lnTo>
                    <a:cubicBezTo>
                      <a:pt x="73652" y="51285"/>
                      <a:pt x="7283" y="45251"/>
                      <a:pt x="1250" y="27151"/>
                    </a:cubicBezTo>
                    <a:cubicBezTo>
                      <a:pt x="-1767" y="18101"/>
                      <a:pt x="1250" y="12067"/>
                      <a:pt x="4266" y="9050"/>
                    </a:cubicBezTo>
                    <a:cubicBezTo>
                      <a:pt x="7283" y="3017"/>
                      <a:pt x="16333" y="0"/>
                      <a:pt x="28400" y="0"/>
                    </a:cubicBezTo>
                    <a:cubicBezTo>
                      <a:pt x="34434" y="0"/>
                      <a:pt x="49518" y="0"/>
                      <a:pt x="64601" y="3017"/>
                    </a:cubicBezTo>
                    <a:cubicBezTo>
                      <a:pt x="82702" y="6034"/>
                      <a:pt x="103819" y="6034"/>
                      <a:pt x="109853" y="6034"/>
                    </a:cubicBezTo>
                    <a:cubicBezTo>
                      <a:pt x="112870" y="6034"/>
                      <a:pt x="115887" y="9050"/>
                      <a:pt x="115887" y="12067"/>
                    </a:cubicBezTo>
                    <a:cubicBezTo>
                      <a:pt x="115887" y="15084"/>
                      <a:pt x="112870" y="18101"/>
                      <a:pt x="109853" y="18101"/>
                    </a:cubicBezTo>
                    <a:cubicBezTo>
                      <a:pt x="100803" y="18101"/>
                      <a:pt x="79685" y="18101"/>
                      <a:pt x="61585" y="15084"/>
                    </a:cubicBezTo>
                    <a:cubicBezTo>
                      <a:pt x="46501" y="15084"/>
                      <a:pt x="31417" y="12067"/>
                      <a:pt x="25384" y="12067"/>
                    </a:cubicBezTo>
                    <a:cubicBezTo>
                      <a:pt x="16333" y="12067"/>
                      <a:pt x="10300" y="15084"/>
                      <a:pt x="10300" y="18101"/>
                    </a:cubicBezTo>
                    <a:cubicBezTo>
                      <a:pt x="10300" y="18101"/>
                      <a:pt x="7283" y="21117"/>
                      <a:pt x="10300" y="24134"/>
                    </a:cubicBezTo>
                    <a:cubicBezTo>
                      <a:pt x="13317" y="30168"/>
                      <a:pt x="52534" y="39218"/>
                      <a:pt x="97786" y="45251"/>
                    </a:cubicBezTo>
                    <a:cubicBezTo>
                      <a:pt x="100803" y="45251"/>
                      <a:pt x="103819" y="48268"/>
                      <a:pt x="103819" y="51285"/>
                    </a:cubicBezTo>
                    <a:cubicBezTo>
                      <a:pt x="103819" y="51285"/>
                      <a:pt x="103819" y="54302"/>
                      <a:pt x="100803" y="5430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C8D550E7-2845-4E21-9787-144C97FC4BAB}"/>
                  </a:ext>
                </a:extLst>
              </p:cNvPr>
              <p:cNvSpPr/>
              <p:nvPr/>
            </p:nvSpPr>
            <p:spPr>
              <a:xfrm>
                <a:off x="5954673" y="3125568"/>
                <a:ext cx="162150" cy="49517"/>
              </a:xfrm>
              <a:custGeom>
                <a:avLst/>
                <a:gdLst>
                  <a:gd name="connsiteX0" fmla="*/ 65614 w 162150"/>
                  <a:gd name="connsiteY0" fmla="*/ 49518 h 49517"/>
                  <a:gd name="connsiteX1" fmla="*/ 65614 w 162150"/>
                  <a:gd name="connsiteY1" fmla="*/ 49518 h 49517"/>
                  <a:gd name="connsiteX2" fmla="*/ 2263 w 162150"/>
                  <a:gd name="connsiteY2" fmla="*/ 34434 h 49517"/>
                  <a:gd name="connsiteX3" fmla="*/ 2263 w 162150"/>
                  <a:gd name="connsiteY3" fmla="*/ 19350 h 49517"/>
                  <a:gd name="connsiteX4" fmla="*/ 29413 w 162150"/>
                  <a:gd name="connsiteY4" fmla="*/ 1250 h 49517"/>
                  <a:gd name="connsiteX5" fmla="*/ 92765 w 162150"/>
                  <a:gd name="connsiteY5" fmla="*/ 4266 h 49517"/>
                  <a:gd name="connsiteX6" fmla="*/ 101816 w 162150"/>
                  <a:gd name="connsiteY6" fmla="*/ 4266 h 49517"/>
                  <a:gd name="connsiteX7" fmla="*/ 156117 w 162150"/>
                  <a:gd name="connsiteY7" fmla="*/ 4266 h 49517"/>
                  <a:gd name="connsiteX8" fmla="*/ 162151 w 162150"/>
                  <a:gd name="connsiteY8" fmla="*/ 10300 h 49517"/>
                  <a:gd name="connsiteX9" fmla="*/ 156117 w 162150"/>
                  <a:gd name="connsiteY9" fmla="*/ 16333 h 49517"/>
                  <a:gd name="connsiteX10" fmla="*/ 101816 w 162150"/>
                  <a:gd name="connsiteY10" fmla="*/ 16333 h 49517"/>
                  <a:gd name="connsiteX11" fmla="*/ 92765 w 162150"/>
                  <a:gd name="connsiteY11" fmla="*/ 16333 h 49517"/>
                  <a:gd name="connsiteX12" fmla="*/ 32430 w 162150"/>
                  <a:gd name="connsiteY12" fmla="*/ 13317 h 49517"/>
                  <a:gd name="connsiteX13" fmla="*/ 14330 w 162150"/>
                  <a:gd name="connsiteY13" fmla="*/ 25384 h 49517"/>
                  <a:gd name="connsiteX14" fmla="*/ 14330 w 162150"/>
                  <a:gd name="connsiteY14" fmla="*/ 28400 h 49517"/>
                  <a:gd name="connsiteX15" fmla="*/ 68631 w 162150"/>
                  <a:gd name="connsiteY15" fmla="*/ 37451 h 49517"/>
                  <a:gd name="connsiteX16" fmla="*/ 74665 w 162150"/>
                  <a:gd name="connsiteY16" fmla="*/ 43484 h 49517"/>
                  <a:gd name="connsiteX17" fmla="*/ 65614 w 162150"/>
                  <a:gd name="connsiteY17" fmla="*/ 49518 h 49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2150" h="49517">
                    <a:moveTo>
                      <a:pt x="65614" y="49518"/>
                    </a:moveTo>
                    <a:cubicBezTo>
                      <a:pt x="65614" y="49518"/>
                      <a:pt x="65614" y="49518"/>
                      <a:pt x="65614" y="49518"/>
                    </a:cubicBezTo>
                    <a:cubicBezTo>
                      <a:pt x="47514" y="49518"/>
                      <a:pt x="8296" y="46501"/>
                      <a:pt x="2263" y="34434"/>
                    </a:cubicBezTo>
                    <a:cubicBezTo>
                      <a:pt x="-754" y="31417"/>
                      <a:pt x="-754" y="25384"/>
                      <a:pt x="2263" y="19350"/>
                    </a:cubicBezTo>
                    <a:cubicBezTo>
                      <a:pt x="5279" y="10300"/>
                      <a:pt x="17346" y="4266"/>
                      <a:pt x="29413" y="1250"/>
                    </a:cubicBezTo>
                    <a:cubicBezTo>
                      <a:pt x="38464" y="-1767"/>
                      <a:pt x="68631" y="1250"/>
                      <a:pt x="92765" y="4266"/>
                    </a:cubicBezTo>
                    <a:cubicBezTo>
                      <a:pt x="98799" y="4266"/>
                      <a:pt x="101816" y="4266"/>
                      <a:pt x="101816" y="4266"/>
                    </a:cubicBezTo>
                    <a:cubicBezTo>
                      <a:pt x="107849" y="4266"/>
                      <a:pt x="144050" y="4266"/>
                      <a:pt x="156117" y="4266"/>
                    </a:cubicBezTo>
                    <a:cubicBezTo>
                      <a:pt x="159134" y="4266"/>
                      <a:pt x="162151" y="7283"/>
                      <a:pt x="162151" y="10300"/>
                    </a:cubicBezTo>
                    <a:cubicBezTo>
                      <a:pt x="162151" y="13317"/>
                      <a:pt x="159134" y="16333"/>
                      <a:pt x="156117" y="16333"/>
                    </a:cubicBezTo>
                    <a:cubicBezTo>
                      <a:pt x="153101" y="16333"/>
                      <a:pt x="110866" y="19350"/>
                      <a:pt x="101816" y="16333"/>
                    </a:cubicBezTo>
                    <a:cubicBezTo>
                      <a:pt x="98799" y="16333"/>
                      <a:pt x="95782" y="16333"/>
                      <a:pt x="92765" y="16333"/>
                    </a:cubicBezTo>
                    <a:cubicBezTo>
                      <a:pt x="77682" y="13317"/>
                      <a:pt x="41481" y="10300"/>
                      <a:pt x="32430" y="13317"/>
                    </a:cubicBezTo>
                    <a:cubicBezTo>
                      <a:pt x="23380" y="16333"/>
                      <a:pt x="17346" y="19350"/>
                      <a:pt x="14330" y="25384"/>
                    </a:cubicBezTo>
                    <a:cubicBezTo>
                      <a:pt x="14330" y="25384"/>
                      <a:pt x="14330" y="28400"/>
                      <a:pt x="14330" y="28400"/>
                    </a:cubicBezTo>
                    <a:cubicBezTo>
                      <a:pt x="17346" y="31417"/>
                      <a:pt x="44497" y="37451"/>
                      <a:pt x="68631" y="37451"/>
                    </a:cubicBezTo>
                    <a:cubicBezTo>
                      <a:pt x="71648" y="37451"/>
                      <a:pt x="74665" y="40467"/>
                      <a:pt x="74665" y="43484"/>
                    </a:cubicBezTo>
                    <a:cubicBezTo>
                      <a:pt x="71648" y="46501"/>
                      <a:pt x="68631" y="49518"/>
                      <a:pt x="65614" y="4951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2B53D05D-20ED-4BC6-BADE-F39FE96011DF}"/>
                </a:ext>
              </a:extLst>
            </p:cNvPr>
            <p:cNvSpPr/>
            <p:nvPr/>
          </p:nvSpPr>
          <p:spPr>
            <a:xfrm>
              <a:off x="7526404" y="5325914"/>
              <a:ext cx="299297" cy="434697"/>
            </a:xfrm>
            <a:custGeom>
              <a:avLst/>
              <a:gdLst>
                <a:gd name="connsiteX0" fmla="*/ 147067 w 299297"/>
                <a:gd name="connsiteY0" fmla="*/ 190177 h 434697"/>
                <a:gd name="connsiteX1" fmla="*/ 5279 w 299297"/>
                <a:gd name="connsiteY1" fmla="*/ 126825 h 434697"/>
                <a:gd name="connsiteX2" fmla="*/ 20363 w 299297"/>
                <a:gd name="connsiteY2" fmla="*/ 121 h 434697"/>
                <a:gd name="connsiteX3" fmla="*/ 183268 w 299297"/>
                <a:gd name="connsiteY3" fmla="*/ 48389 h 434697"/>
                <a:gd name="connsiteX4" fmla="*/ 291872 w 299297"/>
                <a:gd name="connsiteY4" fmla="*/ 54423 h 434697"/>
                <a:gd name="connsiteX5" fmla="*/ 291872 w 299297"/>
                <a:gd name="connsiteY5" fmla="*/ 434535 h 434697"/>
                <a:gd name="connsiteX6" fmla="*/ 147067 w 299297"/>
                <a:gd name="connsiteY6" fmla="*/ 190177 h 434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9297" h="434697">
                  <a:moveTo>
                    <a:pt x="147067" y="190177"/>
                  </a:moveTo>
                  <a:cubicBezTo>
                    <a:pt x="125950" y="181127"/>
                    <a:pt x="17347" y="135875"/>
                    <a:pt x="5279" y="126825"/>
                  </a:cubicBezTo>
                  <a:cubicBezTo>
                    <a:pt x="-9804" y="114758"/>
                    <a:pt x="11313" y="121"/>
                    <a:pt x="20363" y="121"/>
                  </a:cubicBezTo>
                  <a:cubicBezTo>
                    <a:pt x="44497" y="-2895"/>
                    <a:pt x="174218" y="51406"/>
                    <a:pt x="183268" y="48389"/>
                  </a:cubicBezTo>
                  <a:cubicBezTo>
                    <a:pt x="183268" y="48389"/>
                    <a:pt x="285838" y="24255"/>
                    <a:pt x="291872" y="54423"/>
                  </a:cubicBezTo>
                  <a:cubicBezTo>
                    <a:pt x="294888" y="81574"/>
                    <a:pt x="306955" y="431518"/>
                    <a:pt x="291872" y="434535"/>
                  </a:cubicBezTo>
                  <a:cubicBezTo>
                    <a:pt x="231536" y="440568"/>
                    <a:pt x="204386" y="277663"/>
                    <a:pt x="147067" y="190177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CFA17A62-08A9-41FC-8107-EA40166C3041}"/>
                </a:ext>
              </a:extLst>
            </p:cNvPr>
            <p:cNvSpPr/>
            <p:nvPr/>
          </p:nvSpPr>
          <p:spPr>
            <a:xfrm>
              <a:off x="7871743" y="6285605"/>
              <a:ext cx="393648" cy="289835"/>
            </a:xfrm>
            <a:custGeom>
              <a:avLst/>
              <a:gdLst>
                <a:gd name="connsiteX0" fmla="*/ 157706 w 393648"/>
                <a:gd name="connsiteY0" fmla="*/ 135515 h 289835"/>
                <a:gd name="connsiteX1" fmla="*/ 145640 w 393648"/>
                <a:gd name="connsiteY1" fmla="*/ 5794 h 289835"/>
                <a:gd name="connsiteX2" fmla="*/ 15919 w 393648"/>
                <a:gd name="connsiteY2" fmla="*/ 17861 h 289835"/>
                <a:gd name="connsiteX3" fmla="*/ 9885 w 393648"/>
                <a:gd name="connsiteY3" fmla="*/ 168699 h 289835"/>
                <a:gd name="connsiteX4" fmla="*/ 12902 w 393648"/>
                <a:gd name="connsiteY4" fmla="*/ 277302 h 289835"/>
                <a:gd name="connsiteX5" fmla="*/ 393014 w 393648"/>
                <a:gd name="connsiteY5" fmla="*/ 283336 h 289835"/>
                <a:gd name="connsiteX6" fmla="*/ 157706 w 393648"/>
                <a:gd name="connsiteY6" fmla="*/ 135515 h 289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648" h="289835">
                  <a:moveTo>
                    <a:pt x="157706" y="135515"/>
                  </a:moveTo>
                  <a:cubicBezTo>
                    <a:pt x="148656" y="114397"/>
                    <a:pt x="154690" y="14844"/>
                    <a:pt x="145640" y="5794"/>
                  </a:cubicBezTo>
                  <a:cubicBezTo>
                    <a:pt x="133572" y="-9290"/>
                    <a:pt x="18936" y="8811"/>
                    <a:pt x="15919" y="17861"/>
                  </a:cubicBezTo>
                  <a:cubicBezTo>
                    <a:pt x="12902" y="41995"/>
                    <a:pt x="12902" y="162666"/>
                    <a:pt x="9885" y="168699"/>
                  </a:cubicBezTo>
                  <a:cubicBezTo>
                    <a:pt x="9885" y="168699"/>
                    <a:pt x="-14249" y="271269"/>
                    <a:pt x="12902" y="277302"/>
                  </a:cubicBezTo>
                  <a:cubicBezTo>
                    <a:pt x="40053" y="283336"/>
                    <a:pt x="389997" y="298420"/>
                    <a:pt x="393014" y="283336"/>
                  </a:cubicBezTo>
                  <a:cubicBezTo>
                    <a:pt x="405081" y="223001"/>
                    <a:pt x="242176" y="195850"/>
                    <a:pt x="157706" y="135515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6F5A113F-1E68-4D9D-A81A-3F49C0B3A2D7}"/>
                </a:ext>
              </a:extLst>
            </p:cNvPr>
            <p:cNvSpPr/>
            <p:nvPr/>
          </p:nvSpPr>
          <p:spPr>
            <a:xfrm>
              <a:off x="7110991" y="2961977"/>
              <a:ext cx="471535" cy="336796"/>
            </a:xfrm>
            <a:custGeom>
              <a:avLst/>
              <a:gdLst>
                <a:gd name="connsiteX0" fmla="*/ 76782 w 471535"/>
                <a:gd name="connsiteY0" fmla="*/ 336796 h 336796"/>
                <a:gd name="connsiteX1" fmla="*/ 468961 w 471535"/>
                <a:gd name="connsiteY1" fmla="*/ 71321 h 336796"/>
                <a:gd name="connsiteX2" fmla="*/ 1363 w 471535"/>
                <a:gd name="connsiteY2" fmla="*/ 44170 h 336796"/>
                <a:gd name="connsiteX3" fmla="*/ 76782 w 471535"/>
                <a:gd name="connsiteY3" fmla="*/ 336796 h 336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535" h="336796">
                  <a:moveTo>
                    <a:pt x="76782" y="336796"/>
                  </a:moveTo>
                  <a:cubicBezTo>
                    <a:pt x="257788" y="288528"/>
                    <a:pt x="499129" y="210092"/>
                    <a:pt x="468961" y="71321"/>
                  </a:cubicBezTo>
                  <a:cubicBezTo>
                    <a:pt x="444827" y="-28232"/>
                    <a:pt x="176336" y="-10131"/>
                    <a:pt x="1363" y="44170"/>
                  </a:cubicBezTo>
                  <a:cubicBezTo>
                    <a:pt x="-4670" y="119589"/>
                    <a:pt x="7397" y="261377"/>
                    <a:pt x="76782" y="336796"/>
                  </a:cubicBezTo>
                  <a:close/>
                </a:path>
              </a:pathLst>
            </a:custGeom>
            <a:solidFill>
              <a:srgbClr val="D1615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7FAF0F02-8DC0-4E8F-A1F3-5DFA079AAF19}"/>
                </a:ext>
              </a:extLst>
            </p:cNvPr>
            <p:cNvSpPr/>
            <p:nvPr/>
          </p:nvSpPr>
          <p:spPr>
            <a:xfrm>
              <a:off x="6839316" y="3874974"/>
              <a:ext cx="1368537" cy="2485809"/>
            </a:xfrm>
            <a:custGeom>
              <a:avLst/>
              <a:gdLst>
                <a:gd name="connsiteX0" fmla="*/ 1235384 w 1368537"/>
                <a:gd name="connsiteY0" fmla="*/ 0 h 2485809"/>
                <a:gd name="connsiteX1" fmla="*/ 583764 w 1368537"/>
                <a:gd name="connsiteY1" fmla="*/ 12067 h 2485809"/>
                <a:gd name="connsiteX2" fmla="*/ 1529 w 1368537"/>
                <a:gd name="connsiteY2" fmla="*/ 1218771 h 2485809"/>
                <a:gd name="connsiteX3" fmla="*/ 785887 w 1368537"/>
                <a:gd name="connsiteY3" fmla="*/ 1653184 h 2485809"/>
                <a:gd name="connsiteX4" fmla="*/ 794937 w 1368537"/>
                <a:gd name="connsiteY4" fmla="*/ 1451061 h 2485809"/>
                <a:gd name="connsiteX5" fmla="*/ 330356 w 1368537"/>
                <a:gd name="connsiteY5" fmla="*/ 1158436 h 2485809"/>
                <a:gd name="connsiteX6" fmla="*/ 849239 w 1368537"/>
                <a:gd name="connsiteY6" fmla="*/ 615419 h 2485809"/>
                <a:gd name="connsiteX7" fmla="*/ 981976 w 1368537"/>
                <a:gd name="connsiteY7" fmla="*/ 1487262 h 2485809"/>
                <a:gd name="connsiteX8" fmla="*/ 1030244 w 1368537"/>
                <a:gd name="connsiteY8" fmla="*/ 2485810 h 2485809"/>
                <a:gd name="connsiteX9" fmla="*/ 1190133 w 1368537"/>
                <a:gd name="connsiteY9" fmla="*/ 2485810 h 2485809"/>
                <a:gd name="connsiteX10" fmla="*/ 1359071 w 1368537"/>
                <a:gd name="connsiteY10" fmla="*/ 1451061 h 2485809"/>
                <a:gd name="connsiteX11" fmla="*/ 1368122 w 1368537"/>
                <a:gd name="connsiteY11" fmla="*/ 413296 h 2485809"/>
                <a:gd name="connsiteX12" fmla="*/ 1235384 w 1368537"/>
                <a:gd name="connsiteY12" fmla="*/ 0 h 2485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68537" h="2485809">
                  <a:moveTo>
                    <a:pt x="1235384" y="0"/>
                  </a:moveTo>
                  <a:lnTo>
                    <a:pt x="583764" y="12067"/>
                  </a:lnTo>
                  <a:cubicBezTo>
                    <a:pt x="583764" y="12067"/>
                    <a:pt x="-34672" y="1028715"/>
                    <a:pt x="1529" y="1218771"/>
                  </a:cubicBezTo>
                  <a:cubicBezTo>
                    <a:pt x="28680" y="1378659"/>
                    <a:pt x="785887" y="1653184"/>
                    <a:pt x="785887" y="1653184"/>
                  </a:cubicBezTo>
                  <a:lnTo>
                    <a:pt x="794937" y="1451061"/>
                  </a:lnTo>
                  <a:lnTo>
                    <a:pt x="330356" y="1158436"/>
                  </a:lnTo>
                  <a:lnTo>
                    <a:pt x="849239" y="615419"/>
                  </a:lnTo>
                  <a:lnTo>
                    <a:pt x="981976" y="1487262"/>
                  </a:lnTo>
                  <a:lnTo>
                    <a:pt x="1030244" y="2485810"/>
                  </a:lnTo>
                  <a:lnTo>
                    <a:pt x="1190133" y="2485810"/>
                  </a:lnTo>
                  <a:lnTo>
                    <a:pt x="1359071" y="1451061"/>
                  </a:lnTo>
                  <a:cubicBezTo>
                    <a:pt x="1359071" y="1451061"/>
                    <a:pt x="1362088" y="470614"/>
                    <a:pt x="1368122" y="413296"/>
                  </a:cubicBezTo>
                  <a:cubicBezTo>
                    <a:pt x="1377172" y="292626"/>
                    <a:pt x="1235384" y="0"/>
                    <a:pt x="1235384" y="0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E239B3B1-1DDA-4A6E-8BED-4292C7093205}"/>
                </a:ext>
              </a:extLst>
            </p:cNvPr>
            <p:cNvSpPr/>
            <p:nvPr/>
          </p:nvSpPr>
          <p:spPr>
            <a:xfrm>
              <a:off x="7685539" y="4282237"/>
              <a:ext cx="193072" cy="2084580"/>
            </a:xfrm>
            <a:custGeom>
              <a:avLst/>
              <a:gdLst>
                <a:gd name="connsiteX0" fmla="*/ 187039 w 193072"/>
                <a:gd name="connsiteY0" fmla="*/ 2084581 h 2084580"/>
                <a:gd name="connsiteX1" fmla="*/ 181006 w 193072"/>
                <a:gd name="connsiteY1" fmla="*/ 2078547 h 2084580"/>
                <a:gd name="connsiteX2" fmla="*/ 132737 w 193072"/>
                <a:gd name="connsiteY2" fmla="*/ 1080000 h 2084580"/>
                <a:gd name="connsiteX3" fmla="*/ 0 w 193072"/>
                <a:gd name="connsiteY3" fmla="*/ 208156 h 2084580"/>
                <a:gd name="connsiteX4" fmla="*/ 12067 w 193072"/>
                <a:gd name="connsiteY4" fmla="*/ 6033 h 2084580"/>
                <a:gd name="connsiteX5" fmla="*/ 18100 w 193072"/>
                <a:gd name="connsiteY5" fmla="*/ 0 h 2084580"/>
                <a:gd name="connsiteX6" fmla="*/ 24134 w 193072"/>
                <a:gd name="connsiteY6" fmla="*/ 6033 h 2084580"/>
                <a:gd name="connsiteX7" fmla="*/ 12067 w 193072"/>
                <a:gd name="connsiteY7" fmla="*/ 205140 h 2084580"/>
                <a:gd name="connsiteX8" fmla="*/ 144805 w 193072"/>
                <a:gd name="connsiteY8" fmla="*/ 1073966 h 2084580"/>
                <a:gd name="connsiteX9" fmla="*/ 193072 w 193072"/>
                <a:gd name="connsiteY9" fmla="*/ 2075531 h 2084580"/>
                <a:gd name="connsiteX10" fmla="*/ 187039 w 193072"/>
                <a:gd name="connsiteY10" fmla="*/ 2084581 h 2084580"/>
                <a:gd name="connsiteX11" fmla="*/ 187039 w 193072"/>
                <a:gd name="connsiteY11" fmla="*/ 2084581 h 2084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3072" h="2084580">
                  <a:moveTo>
                    <a:pt x="187039" y="2084581"/>
                  </a:moveTo>
                  <a:cubicBezTo>
                    <a:pt x="184022" y="2084581"/>
                    <a:pt x="181006" y="2081564"/>
                    <a:pt x="181006" y="2078547"/>
                  </a:cubicBezTo>
                  <a:lnTo>
                    <a:pt x="132737" y="1080000"/>
                  </a:lnTo>
                  <a:lnTo>
                    <a:pt x="0" y="208156"/>
                  </a:lnTo>
                  <a:lnTo>
                    <a:pt x="12067" y="6033"/>
                  </a:lnTo>
                  <a:cubicBezTo>
                    <a:pt x="12067" y="3017"/>
                    <a:pt x="15084" y="0"/>
                    <a:pt x="18100" y="0"/>
                  </a:cubicBezTo>
                  <a:cubicBezTo>
                    <a:pt x="21117" y="0"/>
                    <a:pt x="24134" y="3017"/>
                    <a:pt x="24134" y="6033"/>
                  </a:cubicBezTo>
                  <a:lnTo>
                    <a:pt x="12067" y="205140"/>
                  </a:lnTo>
                  <a:lnTo>
                    <a:pt x="144805" y="1073966"/>
                  </a:lnTo>
                  <a:lnTo>
                    <a:pt x="193072" y="2075531"/>
                  </a:lnTo>
                  <a:cubicBezTo>
                    <a:pt x="193072" y="2081564"/>
                    <a:pt x="190056" y="2084581"/>
                    <a:pt x="187039" y="2084581"/>
                  </a:cubicBezTo>
                  <a:cubicBezTo>
                    <a:pt x="187039" y="2084581"/>
                    <a:pt x="187039" y="2084581"/>
                    <a:pt x="187039" y="2084581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7CE73981-A456-4516-863F-B6AD02DF78E1}"/>
                </a:ext>
              </a:extLst>
            </p:cNvPr>
            <p:cNvSpPr/>
            <p:nvPr/>
          </p:nvSpPr>
          <p:spPr>
            <a:xfrm>
              <a:off x="7324623" y="2929327"/>
              <a:ext cx="808944" cy="975903"/>
            </a:xfrm>
            <a:custGeom>
              <a:avLst/>
              <a:gdLst>
                <a:gd name="connsiteX0" fmla="*/ 765161 w 808944"/>
                <a:gd name="connsiteY0" fmla="*/ 387546 h 975903"/>
                <a:gd name="connsiteX1" fmla="*/ 750077 w 808944"/>
                <a:gd name="connsiteY1" fmla="*/ 67770 h 975903"/>
                <a:gd name="connsiteX2" fmla="*/ 385049 w 808944"/>
                <a:gd name="connsiteY2" fmla="*/ 4418 h 975903"/>
                <a:gd name="connsiteX3" fmla="*/ 89407 w 808944"/>
                <a:gd name="connsiteY3" fmla="*/ 103971 h 975903"/>
                <a:gd name="connsiteX4" fmla="*/ 50189 w 808944"/>
                <a:gd name="connsiteY4" fmla="*/ 646988 h 975903"/>
                <a:gd name="connsiteX5" fmla="*/ 92423 w 808944"/>
                <a:gd name="connsiteY5" fmla="*/ 969781 h 975903"/>
                <a:gd name="connsiteX6" fmla="*/ 762144 w 808944"/>
                <a:gd name="connsiteY6" fmla="*/ 954697 h 975903"/>
                <a:gd name="connsiteX7" fmla="*/ 765161 w 808944"/>
                <a:gd name="connsiteY7" fmla="*/ 387546 h 97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8944" h="975903">
                  <a:moveTo>
                    <a:pt x="765161" y="387546"/>
                  </a:moveTo>
                  <a:cubicBezTo>
                    <a:pt x="774211" y="357379"/>
                    <a:pt x="867731" y="131122"/>
                    <a:pt x="750077" y="67770"/>
                  </a:cubicBezTo>
                  <a:cubicBezTo>
                    <a:pt x="647507" y="13468"/>
                    <a:pt x="502703" y="-10666"/>
                    <a:pt x="385049" y="4418"/>
                  </a:cubicBezTo>
                  <a:cubicBezTo>
                    <a:pt x="255329" y="19501"/>
                    <a:pt x="125608" y="40619"/>
                    <a:pt x="89407" y="103971"/>
                  </a:cubicBezTo>
                  <a:cubicBezTo>
                    <a:pt x="-22213" y="287993"/>
                    <a:pt x="-22213" y="450898"/>
                    <a:pt x="50189" y="646988"/>
                  </a:cubicBezTo>
                  <a:cubicBezTo>
                    <a:pt x="71306" y="704306"/>
                    <a:pt x="77340" y="837043"/>
                    <a:pt x="92423" y="969781"/>
                  </a:cubicBezTo>
                  <a:cubicBezTo>
                    <a:pt x="92423" y="969781"/>
                    <a:pt x="372982" y="990898"/>
                    <a:pt x="762144" y="954697"/>
                  </a:cubicBezTo>
                  <a:cubicBezTo>
                    <a:pt x="728960" y="737490"/>
                    <a:pt x="759127" y="411680"/>
                    <a:pt x="765161" y="387546"/>
                  </a:cubicBezTo>
                  <a:close/>
                </a:path>
              </a:pathLst>
            </a:custGeom>
            <a:solidFill>
              <a:srgbClr val="D1615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C930148D-5009-420C-9B26-2103EDD21E66}"/>
                </a:ext>
              </a:extLst>
            </p:cNvPr>
            <p:cNvSpPr/>
            <p:nvPr/>
          </p:nvSpPr>
          <p:spPr>
            <a:xfrm>
              <a:off x="7601069" y="2755661"/>
              <a:ext cx="304692" cy="222050"/>
            </a:xfrm>
            <a:custGeom>
              <a:avLst/>
              <a:gdLst>
                <a:gd name="connsiteX0" fmla="*/ 54302 w 304692"/>
                <a:gd name="connsiteY0" fmla="*/ 60431 h 222050"/>
                <a:gd name="connsiteX1" fmla="*/ 0 w 304692"/>
                <a:gd name="connsiteY1" fmla="*/ 199202 h 222050"/>
                <a:gd name="connsiteX2" fmla="*/ 304693 w 304692"/>
                <a:gd name="connsiteY2" fmla="*/ 184118 h 222050"/>
                <a:gd name="connsiteX3" fmla="*/ 253408 w 304692"/>
                <a:gd name="connsiteY3" fmla="*/ 96 h 222050"/>
                <a:gd name="connsiteX4" fmla="*/ 54302 w 304692"/>
                <a:gd name="connsiteY4" fmla="*/ 60431 h 22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692" h="222050">
                  <a:moveTo>
                    <a:pt x="54302" y="60431"/>
                  </a:moveTo>
                  <a:cubicBezTo>
                    <a:pt x="54302" y="60431"/>
                    <a:pt x="60335" y="169034"/>
                    <a:pt x="0" y="199202"/>
                  </a:cubicBezTo>
                  <a:cubicBezTo>
                    <a:pt x="0" y="199202"/>
                    <a:pt x="177989" y="259537"/>
                    <a:pt x="304693" y="184118"/>
                  </a:cubicBezTo>
                  <a:cubicBezTo>
                    <a:pt x="250391" y="141883"/>
                    <a:pt x="253408" y="60431"/>
                    <a:pt x="253408" y="96"/>
                  </a:cubicBezTo>
                  <a:cubicBezTo>
                    <a:pt x="256425" y="-2921"/>
                    <a:pt x="108604" y="66464"/>
                    <a:pt x="54302" y="60431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9D2B2728-EAFD-4970-A415-11CEC96F3935}"/>
                </a:ext>
              </a:extLst>
            </p:cNvPr>
            <p:cNvSpPr/>
            <p:nvPr/>
          </p:nvSpPr>
          <p:spPr>
            <a:xfrm>
              <a:off x="7322709" y="3033298"/>
              <a:ext cx="100371" cy="549050"/>
            </a:xfrm>
            <a:custGeom>
              <a:avLst/>
              <a:gdLst>
                <a:gd name="connsiteX0" fmla="*/ 55120 w 100371"/>
                <a:gd name="connsiteY0" fmla="*/ 549050 h 549050"/>
                <a:gd name="connsiteX1" fmla="*/ 49086 w 100371"/>
                <a:gd name="connsiteY1" fmla="*/ 546034 h 549050"/>
                <a:gd name="connsiteX2" fmla="*/ 34002 w 100371"/>
                <a:gd name="connsiteY2" fmla="*/ 491732 h 549050"/>
                <a:gd name="connsiteX3" fmla="*/ 818 w 100371"/>
                <a:gd name="connsiteY3" fmla="*/ 343911 h 549050"/>
                <a:gd name="connsiteX4" fmla="*/ 88304 w 100371"/>
                <a:gd name="connsiteY4" fmla="*/ 3017 h 549050"/>
                <a:gd name="connsiteX5" fmla="*/ 97354 w 100371"/>
                <a:gd name="connsiteY5" fmla="*/ 0 h 549050"/>
                <a:gd name="connsiteX6" fmla="*/ 100371 w 100371"/>
                <a:gd name="connsiteY6" fmla="*/ 9050 h 549050"/>
                <a:gd name="connsiteX7" fmla="*/ 12885 w 100371"/>
                <a:gd name="connsiteY7" fmla="*/ 343911 h 549050"/>
                <a:gd name="connsiteX8" fmla="*/ 46070 w 100371"/>
                <a:gd name="connsiteY8" fmla="*/ 491732 h 549050"/>
                <a:gd name="connsiteX9" fmla="*/ 61153 w 100371"/>
                <a:gd name="connsiteY9" fmla="*/ 546034 h 549050"/>
                <a:gd name="connsiteX10" fmla="*/ 55120 w 100371"/>
                <a:gd name="connsiteY10" fmla="*/ 549050 h 549050"/>
                <a:gd name="connsiteX11" fmla="*/ 55120 w 100371"/>
                <a:gd name="connsiteY11" fmla="*/ 549050 h 54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371" h="549050">
                  <a:moveTo>
                    <a:pt x="55120" y="549050"/>
                  </a:moveTo>
                  <a:cubicBezTo>
                    <a:pt x="52103" y="549050"/>
                    <a:pt x="49086" y="546034"/>
                    <a:pt x="49086" y="546034"/>
                  </a:cubicBezTo>
                  <a:cubicBezTo>
                    <a:pt x="43053" y="527933"/>
                    <a:pt x="40036" y="509832"/>
                    <a:pt x="34002" y="491732"/>
                  </a:cubicBezTo>
                  <a:cubicBezTo>
                    <a:pt x="18919" y="440447"/>
                    <a:pt x="3835" y="389162"/>
                    <a:pt x="818" y="343911"/>
                  </a:cubicBezTo>
                  <a:cubicBezTo>
                    <a:pt x="-5215" y="220223"/>
                    <a:pt x="21935" y="105587"/>
                    <a:pt x="88304" y="3017"/>
                  </a:cubicBezTo>
                  <a:cubicBezTo>
                    <a:pt x="91321" y="0"/>
                    <a:pt x="94338" y="0"/>
                    <a:pt x="97354" y="0"/>
                  </a:cubicBezTo>
                  <a:cubicBezTo>
                    <a:pt x="100371" y="3017"/>
                    <a:pt x="100371" y="6033"/>
                    <a:pt x="100371" y="9050"/>
                  </a:cubicBezTo>
                  <a:cubicBezTo>
                    <a:pt x="37019" y="111620"/>
                    <a:pt x="6852" y="223240"/>
                    <a:pt x="12885" y="343911"/>
                  </a:cubicBezTo>
                  <a:cubicBezTo>
                    <a:pt x="15902" y="389162"/>
                    <a:pt x="30986" y="440447"/>
                    <a:pt x="46070" y="491732"/>
                  </a:cubicBezTo>
                  <a:cubicBezTo>
                    <a:pt x="52103" y="509832"/>
                    <a:pt x="58137" y="527933"/>
                    <a:pt x="61153" y="546034"/>
                  </a:cubicBezTo>
                  <a:cubicBezTo>
                    <a:pt x="61153" y="543017"/>
                    <a:pt x="58137" y="546034"/>
                    <a:pt x="55120" y="549050"/>
                  </a:cubicBezTo>
                  <a:cubicBezTo>
                    <a:pt x="55120" y="549050"/>
                    <a:pt x="55120" y="549050"/>
                    <a:pt x="55120" y="549050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29B1929D-F5C6-4357-A8DD-DB120796B4E5}"/>
                </a:ext>
              </a:extLst>
            </p:cNvPr>
            <p:cNvSpPr/>
            <p:nvPr/>
          </p:nvSpPr>
          <p:spPr>
            <a:xfrm>
              <a:off x="7441181" y="3467904"/>
              <a:ext cx="396445" cy="36009"/>
            </a:xfrm>
            <a:custGeom>
              <a:avLst/>
              <a:gdLst>
                <a:gd name="connsiteX0" fmla="*/ 6033 w 396445"/>
                <a:gd name="connsiteY0" fmla="*/ 36009 h 36009"/>
                <a:gd name="connsiteX1" fmla="*/ 0 w 396445"/>
                <a:gd name="connsiteY1" fmla="*/ 32992 h 36009"/>
                <a:gd name="connsiteX2" fmla="*/ 3017 w 396445"/>
                <a:gd name="connsiteY2" fmla="*/ 26959 h 36009"/>
                <a:gd name="connsiteX3" fmla="*/ 392179 w 396445"/>
                <a:gd name="connsiteY3" fmla="*/ 14892 h 36009"/>
                <a:gd name="connsiteX4" fmla="*/ 395196 w 396445"/>
                <a:gd name="connsiteY4" fmla="*/ 20925 h 36009"/>
                <a:gd name="connsiteX5" fmla="*/ 389162 w 396445"/>
                <a:gd name="connsiteY5" fmla="*/ 23942 h 36009"/>
                <a:gd name="connsiteX6" fmla="*/ 6033 w 396445"/>
                <a:gd name="connsiteY6" fmla="*/ 36009 h 36009"/>
                <a:gd name="connsiteX7" fmla="*/ 6033 w 396445"/>
                <a:gd name="connsiteY7" fmla="*/ 36009 h 36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6445" h="36009">
                  <a:moveTo>
                    <a:pt x="6033" y="36009"/>
                  </a:moveTo>
                  <a:cubicBezTo>
                    <a:pt x="3017" y="36009"/>
                    <a:pt x="3017" y="36009"/>
                    <a:pt x="0" y="32992"/>
                  </a:cubicBezTo>
                  <a:cubicBezTo>
                    <a:pt x="0" y="29976"/>
                    <a:pt x="0" y="26959"/>
                    <a:pt x="3017" y="26959"/>
                  </a:cubicBezTo>
                  <a:cubicBezTo>
                    <a:pt x="87486" y="-3209"/>
                    <a:pt x="292626" y="-9242"/>
                    <a:pt x="392179" y="14892"/>
                  </a:cubicBezTo>
                  <a:cubicBezTo>
                    <a:pt x="395196" y="14892"/>
                    <a:pt x="398212" y="17909"/>
                    <a:pt x="395196" y="20925"/>
                  </a:cubicBezTo>
                  <a:cubicBezTo>
                    <a:pt x="395196" y="23942"/>
                    <a:pt x="392179" y="26959"/>
                    <a:pt x="389162" y="23942"/>
                  </a:cubicBezTo>
                  <a:cubicBezTo>
                    <a:pt x="295643" y="-192"/>
                    <a:pt x="90503" y="5842"/>
                    <a:pt x="6033" y="36009"/>
                  </a:cubicBezTo>
                  <a:cubicBezTo>
                    <a:pt x="9050" y="32992"/>
                    <a:pt x="6033" y="36009"/>
                    <a:pt x="6033" y="36009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DD615A56-A778-4279-A15D-7236B5CEDB00}"/>
                </a:ext>
              </a:extLst>
            </p:cNvPr>
            <p:cNvSpPr/>
            <p:nvPr/>
          </p:nvSpPr>
          <p:spPr>
            <a:xfrm>
              <a:off x="7576935" y="2936762"/>
              <a:ext cx="355977" cy="63351"/>
            </a:xfrm>
            <a:custGeom>
              <a:avLst/>
              <a:gdLst>
                <a:gd name="connsiteX0" fmla="*/ 36201 w 355977"/>
                <a:gd name="connsiteY0" fmla="*/ 9050 h 63351"/>
                <a:gd name="connsiteX1" fmla="*/ 331844 w 355977"/>
                <a:gd name="connsiteY1" fmla="*/ 0 h 63351"/>
                <a:gd name="connsiteX2" fmla="*/ 355978 w 355977"/>
                <a:gd name="connsiteY2" fmla="*/ 9050 h 63351"/>
                <a:gd name="connsiteX3" fmla="*/ 168939 w 355977"/>
                <a:gd name="connsiteY3" fmla="*/ 63352 h 63351"/>
                <a:gd name="connsiteX4" fmla="*/ 0 w 355977"/>
                <a:gd name="connsiteY4" fmla="*/ 15084 h 63351"/>
                <a:gd name="connsiteX5" fmla="*/ 36201 w 355977"/>
                <a:gd name="connsiteY5" fmla="*/ 9050 h 63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5977" h="63351">
                  <a:moveTo>
                    <a:pt x="36201" y="9050"/>
                  </a:moveTo>
                  <a:cubicBezTo>
                    <a:pt x="36201" y="9050"/>
                    <a:pt x="147822" y="66369"/>
                    <a:pt x="331844" y="0"/>
                  </a:cubicBezTo>
                  <a:lnTo>
                    <a:pt x="355978" y="9050"/>
                  </a:lnTo>
                  <a:cubicBezTo>
                    <a:pt x="355978" y="9050"/>
                    <a:pt x="277542" y="63352"/>
                    <a:pt x="168939" y="63352"/>
                  </a:cubicBezTo>
                  <a:cubicBezTo>
                    <a:pt x="66369" y="63352"/>
                    <a:pt x="0" y="15084"/>
                    <a:pt x="0" y="15084"/>
                  </a:cubicBezTo>
                  <a:cubicBezTo>
                    <a:pt x="0" y="15084"/>
                    <a:pt x="15084" y="12067"/>
                    <a:pt x="36201" y="9050"/>
                  </a:cubicBez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2FD7DA21-DC0B-4503-B569-EE0BE411CFBF}"/>
                </a:ext>
              </a:extLst>
            </p:cNvPr>
            <p:cNvSpPr/>
            <p:nvPr/>
          </p:nvSpPr>
          <p:spPr>
            <a:xfrm>
              <a:off x="8134550" y="3014624"/>
              <a:ext cx="1140820" cy="284148"/>
            </a:xfrm>
            <a:custGeom>
              <a:avLst/>
              <a:gdLst>
                <a:gd name="connsiteX0" fmla="*/ 27637 w 1140820"/>
                <a:gd name="connsiteY0" fmla="*/ 154429 h 284148"/>
                <a:gd name="connsiteX1" fmla="*/ 163391 w 1140820"/>
                <a:gd name="connsiteY1" fmla="*/ 6608 h 284148"/>
                <a:gd name="connsiteX2" fmla="*/ 624955 w 1140820"/>
                <a:gd name="connsiteY2" fmla="*/ 88060 h 284148"/>
                <a:gd name="connsiteX3" fmla="*/ 1116687 w 1140820"/>
                <a:gd name="connsiteY3" fmla="*/ 79010 h 284148"/>
                <a:gd name="connsiteX4" fmla="*/ 1140821 w 1140820"/>
                <a:gd name="connsiteY4" fmla="*/ 202697 h 284148"/>
                <a:gd name="connsiteX5" fmla="*/ 640038 w 1140820"/>
                <a:gd name="connsiteY5" fmla="*/ 275099 h 284148"/>
                <a:gd name="connsiteX6" fmla="*/ 27637 w 1140820"/>
                <a:gd name="connsiteY6" fmla="*/ 154429 h 284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0820" h="284148">
                  <a:moveTo>
                    <a:pt x="27637" y="154429"/>
                  </a:moveTo>
                  <a:cubicBezTo>
                    <a:pt x="-44766" y="-11493"/>
                    <a:pt x="33670" y="-8476"/>
                    <a:pt x="163391" y="6608"/>
                  </a:cubicBezTo>
                  <a:cubicBezTo>
                    <a:pt x="299145" y="21691"/>
                    <a:pt x="594787" y="91077"/>
                    <a:pt x="624955" y="88060"/>
                  </a:cubicBezTo>
                  <a:cubicBezTo>
                    <a:pt x="724508" y="94094"/>
                    <a:pt x="1116687" y="79010"/>
                    <a:pt x="1116687" y="79010"/>
                  </a:cubicBezTo>
                  <a:cubicBezTo>
                    <a:pt x="1131770" y="106161"/>
                    <a:pt x="1140821" y="202697"/>
                    <a:pt x="1140821" y="202697"/>
                  </a:cubicBezTo>
                  <a:cubicBezTo>
                    <a:pt x="1140821" y="202697"/>
                    <a:pt x="778810" y="266049"/>
                    <a:pt x="640038" y="275099"/>
                  </a:cubicBezTo>
                  <a:cubicBezTo>
                    <a:pt x="570653" y="281133"/>
                    <a:pt x="103056" y="323367"/>
                    <a:pt x="27637" y="154429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6845E741-E52F-4130-9D2F-250CBD2AC6A2}"/>
                </a:ext>
              </a:extLst>
            </p:cNvPr>
            <p:cNvSpPr/>
            <p:nvPr/>
          </p:nvSpPr>
          <p:spPr>
            <a:xfrm>
              <a:off x="7997766" y="2960668"/>
              <a:ext cx="408778" cy="389389"/>
            </a:xfrm>
            <a:custGeom>
              <a:avLst/>
              <a:gdLst>
                <a:gd name="connsiteX0" fmla="*/ 408778 w 408778"/>
                <a:gd name="connsiteY0" fmla="*/ 30395 h 389389"/>
                <a:gd name="connsiteX1" fmla="*/ 10566 w 408778"/>
                <a:gd name="connsiteY1" fmla="*/ 78663 h 389389"/>
                <a:gd name="connsiteX2" fmla="*/ 318275 w 408778"/>
                <a:gd name="connsiteY2" fmla="*/ 389390 h 389389"/>
                <a:gd name="connsiteX3" fmla="*/ 408778 w 408778"/>
                <a:gd name="connsiteY3" fmla="*/ 30395 h 38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778" h="389389">
                  <a:moveTo>
                    <a:pt x="408778" y="30395"/>
                  </a:moveTo>
                  <a:cubicBezTo>
                    <a:pt x="236823" y="-32957"/>
                    <a:pt x="52800" y="12295"/>
                    <a:pt x="10566" y="78663"/>
                  </a:cubicBezTo>
                  <a:cubicBezTo>
                    <a:pt x="-43736" y="166149"/>
                    <a:pt x="119170" y="341122"/>
                    <a:pt x="318275" y="389390"/>
                  </a:cubicBezTo>
                  <a:cubicBezTo>
                    <a:pt x="375594" y="341122"/>
                    <a:pt x="405762" y="132965"/>
                    <a:pt x="408778" y="30395"/>
                  </a:cubicBezTo>
                  <a:close/>
                </a:path>
              </a:pathLst>
            </a:custGeom>
            <a:solidFill>
              <a:srgbClr val="D1615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932ADEBF-F23E-4C33-B6A8-54EFCF1585A3}"/>
                </a:ext>
              </a:extLst>
            </p:cNvPr>
            <p:cNvSpPr/>
            <p:nvPr/>
          </p:nvSpPr>
          <p:spPr>
            <a:xfrm>
              <a:off x="7990335" y="3062216"/>
              <a:ext cx="384274" cy="293875"/>
            </a:xfrm>
            <a:custGeom>
              <a:avLst/>
              <a:gdLst>
                <a:gd name="connsiteX0" fmla="*/ 328724 w 384274"/>
                <a:gd name="connsiteY0" fmla="*/ 293875 h 293875"/>
                <a:gd name="connsiteX1" fmla="*/ 328724 w 384274"/>
                <a:gd name="connsiteY1" fmla="*/ 293875 h 293875"/>
                <a:gd name="connsiteX2" fmla="*/ 14980 w 384274"/>
                <a:gd name="connsiteY2" fmla="*/ 73652 h 293875"/>
                <a:gd name="connsiteX3" fmla="*/ 2913 w 384274"/>
                <a:gd name="connsiteY3" fmla="*/ 4266 h 293875"/>
                <a:gd name="connsiteX4" fmla="*/ 8947 w 384274"/>
                <a:gd name="connsiteY4" fmla="*/ 1250 h 293875"/>
                <a:gd name="connsiteX5" fmla="*/ 11964 w 384274"/>
                <a:gd name="connsiteY5" fmla="*/ 7283 h 293875"/>
                <a:gd name="connsiteX6" fmla="*/ 24031 w 384274"/>
                <a:gd name="connsiteY6" fmla="*/ 67618 h 293875"/>
                <a:gd name="connsiteX7" fmla="*/ 325707 w 384274"/>
                <a:gd name="connsiteY7" fmla="*/ 281808 h 293875"/>
                <a:gd name="connsiteX8" fmla="*/ 373975 w 384274"/>
                <a:gd name="connsiteY8" fmla="*/ 152088 h 293875"/>
                <a:gd name="connsiteX9" fmla="*/ 380008 w 384274"/>
                <a:gd name="connsiteY9" fmla="*/ 149071 h 293875"/>
                <a:gd name="connsiteX10" fmla="*/ 383025 w 384274"/>
                <a:gd name="connsiteY10" fmla="*/ 155104 h 293875"/>
                <a:gd name="connsiteX11" fmla="*/ 328724 w 384274"/>
                <a:gd name="connsiteY11" fmla="*/ 293875 h 293875"/>
                <a:gd name="connsiteX12" fmla="*/ 328724 w 384274"/>
                <a:gd name="connsiteY12" fmla="*/ 293875 h 29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4274" h="293875">
                  <a:moveTo>
                    <a:pt x="328724" y="293875"/>
                  </a:moveTo>
                  <a:lnTo>
                    <a:pt x="328724" y="293875"/>
                  </a:lnTo>
                  <a:cubicBezTo>
                    <a:pt x="229170" y="269741"/>
                    <a:pt x="66266" y="164155"/>
                    <a:pt x="14980" y="73652"/>
                  </a:cubicBezTo>
                  <a:cubicBezTo>
                    <a:pt x="-104" y="46501"/>
                    <a:pt x="-3120" y="22367"/>
                    <a:pt x="2913" y="4266"/>
                  </a:cubicBezTo>
                  <a:cubicBezTo>
                    <a:pt x="2913" y="1250"/>
                    <a:pt x="5930" y="-1767"/>
                    <a:pt x="8947" y="1250"/>
                  </a:cubicBezTo>
                  <a:cubicBezTo>
                    <a:pt x="11964" y="1250"/>
                    <a:pt x="11964" y="4266"/>
                    <a:pt x="11964" y="7283"/>
                  </a:cubicBezTo>
                  <a:cubicBezTo>
                    <a:pt x="5930" y="25384"/>
                    <a:pt x="8947" y="46501"/>
                    <a:pt x="24031" y="67618"/>
                  </a:cubicBezTo>
                  <a:cubicBezTo>
                    <a:pt x="72299" y="155104"/>
                    <a:pt x="229170" y="257674"/>
                    <a:pt x="325707" y="281808"/>
                  </a:cubicBezTo>
                  <a:cubicBezTo>
                    <a:pt x="331740" y="278791"/>
                    <a:pt x="352858" y="257674"/>
                    <a:pt x="373975" y="152088"/>
                  </a:cubicBezTo>
                  <a:cubicBezTo>
                    <a:pt x="373975" y="149071"/>
                    <a:pt x="376991" y="146054"/>
                    <a:pt x="380008" y="149071"/>
                  </a:cubicBezTo>
                  <a:cubicBezTo>
                    <a:pt x="383025" y="149071"/>
                    <a:pt x="386042" y="152088"/>
                    <a:pt x="383025" y="155104"/>
                  </a:cubicBezTo>
                  <a:cubicBezTo>
                    <a:pt x="358891" y="278791"/>
                    <a:pt x="334757" y="293875"/>
                    <a:pt x="328724" y="293875"/>
                  </a:cubicBezTo>
                  <a:lnTo>
                    <a:pt x="328724" y="293875"/>
                  </a:ln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F85B25A9-8D0C-43CB-8320-F7D8FC787055}"/>
                </a:ext>
              </a:extLst>
            </p:cNvPr>
            <p:cNvSpPr/>
            <p:nvPr/>
          </p:nvSpPr>
          <p:spPr>
            <a:xfrm>
              <a:off x="8023416" y="4028829"/>
              <a:ext cx="179238" cy="187039"/>
            </a:xfrm>
            <a:custGeom>
              <a:avLst/>
              <a:gdLst>
                <a:gd name="connsiteX0" fmla="*/ 174972 w 179238"/>
                <a:gd name="connsiteY0" fmla="*/ 187039 h 187039"/>
                <a:gd name="connsiteX1" fmla="*/ 174972 w 179238"/>
                <a:gd name="connsiteY1" fmla="*/ 187039 h 187039"/>
                <a:gd name="connsiteX2" fmla="*/ 0 w 179238"/>
                <a:gd name="connsiteY2" fmla="*/ 6033 h 187039"/>
                <a:gd name="connsiteX3" fmla="*/ 3017 w 179238"/>
                <a:gd name="connsiteY3" fmla="*/ 0 h 187039"/>
                <a:gd name="connsiteX4" fmla="*/ 9050 w 179238"/>
                <a:gd name="connsiteY4" fmla="*/ 3017 h 187039"/>
                <a:gd name="connsiteX5" fmla="*/ 174972 w 179238"/>
                <a:gd name="connsiteY5" fmla="*/ 177989 h 187039"/>
                <a:gd name="connsiteX6" fmla="*/ 177989 w 179238"/>
                <a:gd name="connsiteY6" fmla="*/ 184022 h 187039"/>
                <a:gd name="connsiteX7" fmla="*/ 174972 w 179238"/>
                <a:gd name="connsiteY7" fmla="*/ 187039 h 187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38" h="187039">
                  <a:moveTo>
                    <a:pt x="174972" y="187039"/>
                  </a:moveTo>
                  <a:cubicBezTo>
                    <a:pt x="174972" y="187039"/>
                    <a:pt x="174972" y="187039"/>
                    <a:pt x="174972" y="187039"/>
                  </a:cubicBezTo>
                  <a:cubicBezTo>
                    <a:pt x="57318" y="153855"/>
                    <a:pt x="3017" y="12067"/>
                    <a:pt x="0" y="6033"/>
                  </a:cubicBezTo>
                  <a:cubicBezTo>
                    <a:pt x="0" y="3017"/>
                    <a:pt x="0" y="0"/>
                    <a:pt x="3017" y="0"/>
                  </a:cubicBezTo>
                  <a:cubicBezTo>
                    <a:pt x="6033" y="0"/>
                    <a:pt x="9050" y="0"/>
                    <a:pt x="9050" y="3017"/>
                  </a:cubicBezTo>
                  <a:cubicBezTo>
                    <a:pt x="9050" y="3017"/>
                    <a:pt x="63352" y="147821"/>
                    <a:pt x="174972" y="177989"/>
                  </a:cubicBezTo>
                  <a:cubicBezTo>
                    <a:pt x="177989" y="177989"/>
                    <a:pt x="181006" y="181006"/>
                    <a:pt x="177989" y="184022"/>
                  </a:cubicBezTo>
                  <a:cubicBezTo>
                    <a:pt x="181006" y="184022"/>
                    <a:pt x="177989" y="187039"/>
                    <a:pt x="174972" y="187039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510F3894-0D9B-417E-BEB7-42FF0101AC6D}"/>
                </a:ext>
              </a:extLst>
            </p:cNvPr>
            <p:cNvSpPr/>
            <p:nvPr/>
          </p:nvSpPr>
          <p:spPr>
            <a:xfrm>
              <a:off x="7280043" y="4010729"/>
              <a:ext cx="170349" cy="129720"/>
            </a:xfrm>
            <a:custGeom>
              <a:avLst/>
              <a:gdLst>
                <a:gd name="connsiteX0" fmla="*/ 37451 w 170349"/>
                <a:gd name="connsiteY0" fmla="*/ 129721 h 129720"/>
                <a:gd name="connsiteX1" fmla="*/ 4266 w 170349"/>
                <a:gd name="connsiteY1" fmla="*/ 126704 h 129720"/>
                <a:gd name="connsiteX2" fmla="*/ 1249 w 170349"/>
                <a:gd name="connsiteY2" fmla="*/ 120670 h 129720"/>
                <a:gd name="connsiteX3" fmla="*/ 7283 w 170349"/>
                <a:gd name="connsiteY3" fmla="*/ 117653 h 129720"/>
                <a:gd name="connsiteX4" fmla="*/ 161138 w 170349"/>
                <a:gd name="connsiteY4" fmla="*/ 3017 h 129720"/>
                <a:gd name="connsiteX5" fmla="*/ 167171 w 170349"/>
                <a:gd name="connsiteY5" fmla="*/ 0 h 129720"/>
                <a:gd name="connsiteX6" fmla="*/ 170188 w 170349"/>
                <a:gd name="connsiteY6" fmla="*/ 6033 h 129720"/>
                <a:gd name="connsiteX7" fmla="*/ 37451 w 170349"/>
                <a:gd name="connsiteY7" fmla="*/ 129721 h 12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349" h="129720">
                  <a:moveTo>
                    <a:pt x="37451" y="129721"/>
                  </a:moveTo>
                  <a:cubicBezTo>
                    <a:pt x="28401" y="129721"/>
                    <a:pt x="16333" y="129721"/>
                    <a:pt x="4266" y="126704"/>
                  </a:cubicBezTo>
                  <a:cubicBezTo>
                    <a:pt x="1249" y="126704"/>
                    <a:pt x="-1767" y="123687"/>
                    <a:pt x="1249" y="120670"/>
                  </a:cubicBezTo>
                  <a:cubicBezTo>
                    <a:pt x="1249" y="117653"/>
                    <a:pt x="4266" y="114637"/>
                    <a:pt x="7283" y="117653"/>
                  </a:cubicBezTo>
                  <a:cubicBezTo>
                    <a:pt x="118903" y="147821"/>
                    <a:pt x="161138" y="9050"/>
                    <a:pt x="161138" y="3017"/>
                  </a:cubicBezTo>
                  <a:cubicBezTo>
                    <a:pt x="161138" y="0"/>
                    <a:pt x="164155" y="0"/>
                    <a:pt x="167171" y="0"/>
                  </a:cubicBezTo>
                  <a:cubicBezTo>
                    <a:pt x="170188" y="0"/>
                    <a:pt x="170188" y="3017"/>
                    <a:pt x="170188" y="6033"/>
                  </a:cubicBezTo>
                  <a:cubicBezTo>
                    <a:pt x="173205" y="6033"/>
                    <a:pt x="133987" y="129721"/>
                    <a:pt x="37451" y="129721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2" name="图形 1">
              <a:extLst>
                <a:ext uri="{FF2B5EF4-FFF2-40B4-BE49-F238E27FC236}">
                  <a16:creationId xmlns:a16="http://schemas.microsoft.com/office/drawing/2014/main" id="{AD3FB609-0B4E-41F3-B5B9-8B7A29FFB81A}"/>
                </a:ext>
              </a:extLst>
            </p:cNvPr>
            <p:cNvGrpSpPr/>
            <p:nvPr/>
          </p:nvGrpSpPr>
          <p:grpSpPr>
            <a:xfrm>
              <a:off x="9211081" y="2982940"/>
              <a:ext cx="352065" cy="234380"/>
              <a:chOff x="9211081" y="2982940"/>
              <a:chExt cx="352065" cy="234380"/>
            </a:xfrm>
          </p:grpSpPr>
          <p:grpSp>
            <p:nvGrpSpPr>
              <p:cNvPr id="103" name="图形 1">
                <a:extLst>
                  <a:ext uri="{FF2B5EF4-FFF2-40B4-BE49-F238E27FC236}">
                    <a16:creationId xmlns:a16="http://schemas.microsoft.com/office/drawing/2014/main" id="{AD3FB609-0B4E-41F3-B5B9-8B7A29FFB81A}"/>
                  </a:ext>
                </a:extLst>
              </p:cNvPr>
              <p:cNvGrpSpPr/>
              <p:nvPr/>
            </p:nvGrpSpPr>
            <p:grpSpPr>
              <a:xfrm>
                <a:off x="9211081" y="2982940"/>
                <a:ext cx="352065" cy="233881"/>
                <a:chOff x="9211081" y="2982940"/>
                <a:chExt cx="352065" cy="233881"/>
              </a:xfrm>
            </p:grpSpPr>
            <p:sp>
              <p:nvSpPr>
                <p:cNvPr id="104" name="任意多边形: 形状 103">
                  <a:extLst>
                    <a:ext uri="{FF2B5EF4-FFF2-40B4-BE49-F238E27FC236}">
                      <a16:creationId xmlns:a16="http://schemas.microsoft.com/office/drawing/2014/main" id="{C598721C-4F01-42B8-BA51-ED0F08D75918}"/>
                    </a:ext>
                  </a:extLst>
                </p:cNvPr>
                <p:cNvSpPr/>
                <p:nvPr/>
              </p:nvSpPr>
              <p:spPr>
                <a:xfrm>
                  <a:off x="9211081" y="2982940"/>
                  <a:ext cx="345633" cy="233881"/>
                </a:xfrm>
                <a:custGeom>
                  <a:avLst/>
                  <a:gdLst>
                    <a:gd name="connsiteX0" fmla="*/ 275463 w 345633"/>
                    <a:gd name="connsiteY0" fmla="*/ 204213 h 233881"/>
                    <a:gd name="connsiteX1" fmla="*/ 266413 w 345633"/>
                    <a:gd name="connsiteY1" fmla="*/ 189129 h 233881"/>
                    <a:gd name="connsiteX2" fmla="*/ 260379 w 345633"/>
                    <a:gd name="connsiteY2" fmla="*/ 186112 h 233881"/>
                    <a:gd name="connsiteX3" fmla="*/ 287530 w 345633"/>
                    <a:gd name="connsiteY3" fmla="*/ 186112 h 233881"/>
                    <a:gd name="connsiteX4" fmla="*/ 332781 w 345633"/>
                    <a:gd name="connsiteY4" fmla="*/ 174045 h 233881"/>
                    <a:gd name="connsiteX5" fmla="*/ 326748 w 345633"/>
                    <a:gd name="connsiteY5" fmla="*/ 161978 h 233881"/>
                    <a:gd name="connsiteX6" fmla="*/ 323731 w 345633"/>
                    <a:gd name="connsiteY6" fmla="*/ 161978 h 233881"/>
                    <a:gd name="connsiteX7" fmla="*/ 344849 w 345633"/>
                    <a:gd name="connsiteY7" fmla="*/ 143877 h 233881"/>
                    <a:gd name="connsiteX8" fmla="*/ 332781 w 345633"/>
                    <a:gd name="connsiteY8" fmla="*/ 122760 h 233881"/>
                    <a:gd name="connsiteX9" fmla="*/ 278480 w 345633"/>
                    <a:gd name="connsiteY9" fmla="*/ 119743 h 233881"/>
                    <a:gd name="connsiteX10" fmla="*/ 203061 w 345633"/>
                    <a:gd name="connsiteY10" fmla="*/ 116726 h 233881"/>
                    <a:gd name="connsiteX11" fmla="*/ 257362 w 345633"/>
                    <a:gd name="connsiteY11" fmla="*/ 101643 h 233881"/>
                    <a:gd name="connsiteX12" fmla="*/ 299597 w 345633"/>
                    <a:gd name="connsiteY12" fmla="*/ 89576 h 233881"/>
                    <a:gd name="connsiteX13" fmla="*/ 275463 w 345633"/>
                    <a:gd name="connsiteY13" fmla="*/ 71475 h 233881"/>
                    <a:gd name="connsiteX14" fmla="*/ 97474 w 345633"/>
                    <a:gd name="connsiteY14" fmla="*/ 98626 h 233881"/>
                    <a:gd name="connsiteX15" fmla="*/ 133675 w 345633"/>
                    <a:gd name="connsiteY15" fmla="*/ 32257 h 233881"/>
                    <a:gd name="connsiteX16" fmla="*/ 109541 w 345633"/>
                    <a:gd name="connsiteY16" fmla="*/ 5106 h 233881"/>
                    <a:gd name="connsiteX17" fmla="*/ 938 w 345633"/>
                    <a:gd name="connsiteY17" fmla="*/ 134827 h 233881"/>
                    <a:gd name="connsiteX18" fmla="*/ 43173 w 345633"/>
                    <a:gd name="connsiteY18" fmla="*/ 222313 h 233881"/>
                    <a:gd name="connsiteX19" fmla="*/ 172893 w 345633"/>
                    <a:gd name="connsiteY19" fmla="*/ 225330 h 233881"/>
                    <a:gd name="connsiteX20" fmla="*/ 275463 w 345633"/>
                    <a:gd name="connsiteY20" fmla="*/ 204213 h 233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45633" h="233881">
                      <a:moveTo>
                        <a:pt x="275463" y="204213"/>
                      </a:moveTo>
                      <a:cubicBezTo>
                        <a:pt x="275463" y="198179"/>
                        <a:pt x="272446" y="192145"/>
                        <a:pt x="266413" y="189129"/>
                      </a:cubicBezTo>
                      <a:cubicBezTo>
                        <a:pt x="263396" y="189129"/>
                        <a:pt x="263396" y="186112"/>
                        <a:pt x="260379" y="186112"/>
                      </a:cubicBezTo>
                      <a:cubicBezTo>
                        <a:pt x="269430" y="186112"/>
                        <a:pt x="278480" y="186112"/>
                        <a:pt x="287530" y="186112"/>
                      </a:cubicBezTo>
                      <a:cubicBezTo>
                        <a:pt x="305631" y="186112"/>
                        <a:pt x="323731" y="186112"/>
                        <a:pt x="332781" y="174045"/>
                      </a:cubicBezTo>
                      <a:cubicBezTo>
                        <a:pt x="332781" y="174045"/>
                        <a:pt x="329765" y="164995"/>
                        <a:pt x="326748" y="161978"/>
                      </a:cubicBezTo>
                      <a:cubicBezTo>
                        <a:pt x="326748" y="161978"/>
                        <a:pt x="326748" y="161978"/>
                        <a:pt x="323731" y="161978"/>
                      </a:cubicBezTo>
                      <a:cubicBezTo>
                        <a:pt x="332781" y="158961"/>
                        <a:pt x="341832" y="152928"/>
                        <a:pt x="344849" y="143877"/>
                      </a:cubicBezTo>
                      <a:cubicBezTo>
                        <a:pt x="347865" y="134827"/>
                        <a:pt x="341832" y="125777"/>
                        <a:pt x="332781" y="122760"/>
                      </a:cubicBezTo>
                      <a:cubicBezTo>
                        <a:pt x="317697" y="116726"/>
                        <a:pt x="296580" y="119743"/>
                        <a:pt x="278480" y="119743"/>
                      </a:cubicBezTo>
                      <a:cubicBezTo>
                        <a:pt x="254346" y="119743"/>
                        <a:pt x="227195" y="116726"/>
                        <a:pt x="203061" y="116726"/>
                      </a:cubicBezTo>
                      <a:cubicBezTo>
                        <a:pt x="221161" y="110693"/>
                        <a:pt x="239262" y="107676"/>
                        <a:pt x="257362" y="101643"/>
                      </a:cubicBezTo>
                      <a:cubicBezTo>
                        <a:pt x="269430" y="98626"/>
                        <a:pt x="290547" y="98626"/>
                        <a:pt x="299597" y="89576"/>
                      </a:cubicBezTo>
                      <a:cubicBezTo>
                        <a:pt x="311664" y="77509"/>
                        <a:pt x="284513" y="71475"/>
                        <a:pt x="275463" y="71475"/>
                      </a:cubicBezTo>
                      <a:cubicBezTo>
                        <a:pt x="212111" y="65442"/>
                        <a:pt x="157810" y="95609"/>
                        <a:pt x="97474" y="98626"/>
                      </a:cubicBezTo>
                      <a:cubicBezTo>
                        <a:pt x="109541" y="83542"/>
                        <a:pt x="124625" y="59408"/>
                        <a:pt x="133675" y="32257"/>
                      </a:cubicBezTo>
                      <a:cubicBezTo>
                        <a:pt x="139709" y="11140"/>
                        <a:pt x="115575" y="-9977"/>
                        <a:pt x="109541" y="5106"/>
                      </a:cubicBezTo>
                      <a:cubicBezTo>
                        <a:pt x="79374" y="65442"/>
                        <a:pt x="6972" y="92592"/>
                        <a:pt x="938" y="134827"/>
                      </a:cubicBezTo>
                      <a:cubicBezTo>
                        <a:pt x="-5096" y="164995"/>
                        <a:pt x="19038" y="207229"/>
                        <a:pt x="43173" y="222313"/>
                      </a:cubicBezTo>
                      <a:cubicBezTo>
                        <a:pt x="79374" y="246447"/>
                        <a:pt x="130658" y="225330"/>
                        <a:pt x="172893" y="225330"/>
                      </a:cubicBezTo>
                      <a:cubicBezTo>
                        <a:pt x="194011" y="225330"/>
                        <a:pt x="272446" y="222313"/>
                        <a:pt x="275463" y="204213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5" name="任意多边形: 形状 104">
                  <a:extLst>
                    <a:ext uri="{FF2B5EF4-FFF2-40B4-BE49-F238E27FC236}">
                      <a16:creationId xmlns:a16="http://schemas.microsoft.com/office/drawing/2014/main" id="{6BABC3D4-7FF7-43B8-A583-92EE31170C22}"/>
                    </a:ext>
                  </a:extLst>
                </p:cNvPr>
                <p:cNvSpPr/>
                <p:nvPr/>
              </p:nvSpPr>
              <p:spPr>
                <a:xfrm>
                  <a:off x="9275371" y="3102684"/>
                  <a:ext cx="42234" cy="48268"/>
                </a:xfrm>
                <a:custGeom>
                  <a:avLst/>
                  <a:gdLst>
                    <a:gd name="connsiteX0" fmla="*/ 6033 w 42234"/>
                    <a:gd name="connsiteY0" fmla="*/ 48268 h 48268"/>
                    <a:gd name="connsiteX1" fmla="*/ 0 w 42234"/>
                    <a:gd name="connsiteY1" fmla="*/ 45251 h 48268"/>
                    <a:gd name="connsiteX2" fmla="*/ 3017 w 42234"/>
                    <a:gd name="connsiteY2" fmla="*/ 39218 h 48268"/>
                    <a:gd name="connsiteX3" fmla="*/ 30168 w 42234"/>
                    <a:gd name="connsiteY3" fmla="*/ 6034 h 48268"/>
                    <a:gd name="connsiteX4" fmla="*/ 36201 w 42234"/>
                    <a:gd name="connsiteY4" fmla="*/ 0 h 48268"/>
                    <a:gd name="connsiteX5" fmla="*/ 36201 w 42234"/>
                    <a:gd name="connsiteY5" fmla="*/ 0 h 48268"/>
                    <a:gd name="connsiteX6" fmla="*/ 42234 w 42234"/>
                    <a:gd name="connsiteY6" fmla="*/ 6034 h 48268"/>
                    <a:gd name="connsiteX7" fmla="*/ 6033 w 42234"/>
                    <a:gd name="connsiteY7" fmla="*/ 48268 h 48268"/>
                    <a:gd name="connsiteX8" fmla="*/ 6033 w 42234"/>
                    <a:gd name="connsiteY8" fmla="*/ 48268 h 482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2234" h="48268">
                      <a:moveTo>
                        <a:pt x="6033" y="48268"/>
                      </a:moveTo>
                      <a:cubicBezTo>
                        <a:pt x="3017" y="48268"/>
                        <a:pt x="0" y="45251"/>
                        <a:pt x="0" y="45251"/>
                      </a:cubicBezTo>
                      <a:cubicBezTo>
                        <a:pt x="0" y="42235"/>
                        <a:pt x="0" y="39218"/>
                        <a:pt x="3017" y="39218"/>
                      </a:cubicBezTo>
                      <a:cubicBezTo>
                        <a:pt x="30168" y="33184"/>
                        <a:pt x="30168" y="6034"/>
                        <a:pt x="30168" y="6034"/>
                      </a:cubicBezTo>
                      <a:cubicBezTo>
                        <a:pt x="30168" y="3017"/>
                        <a:pt x="33185" y="0"/>
                        <a:pt x="36201" y="0"/>
                      </a:cubicBezTo>
                      <a:lnTo>
                        <a:pt x="36201" y="0"/>
                      </a:lnTo>
                      <a:cubicBezTo>
                        <a:pt x="39218" y="0"/>
                        <a:pt x="42234" y="3017"/>
                        <a:pt x="42234" y="6034"/>
                      </a:cubicBezTo>
                      <a:cubicBezTo>
                        <a:pt x="42234" y="15084"/>
                        <a:pt x="36201" y="39218"/>
                        <a:pt x="6033" y="48268"/>
                      </a:cubicBezTo>
                      <a:cubicBezTo>
                        <a:pt x="6033" y="48268"/>
                        <a:pt x="6033" y="48268"/>
                        <a:pt x="6033" y="48268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6" name="任意多边形: 形状 105">
                  <a:extLst>
                    <a:ext uri="{FF2B5EF4-FFF2-40B4-BE49-F238E27FC236}">
                      <a16:creationId xmlns:a16="http://schemas.microsoft.com/office/drawing/2014/main" id="{74FD7C00-6B1F-4675-B707-B4669733F04A}"/>
                    </a:ext>
                  </a:extLst>
                </p:cNvPr>
                <p:cNvSpPr/>
                <p:nvPr/>
              </p:nvSpPr>
              <p:spPr>
                <a:xfrm>
                  <a:off x="9408108" y="3063466"/>
                  <a:ext cx="155038" cy="81452"/>
                </a:xfrm>
                <a:custGeom>
                  <a:avLst/>
                  <a:gdLst>
                    <a:gd name="connsiteX0" fmla="*/ 126704 w 155038"/>
                    <a:gd name="connsiteY0" fmla="*/ 81452 h 81452"/>
                    <a:gd name="connsiteX1" fmla="*/ 120670 w 155038"/>
                    <a:gd name="connsiteY1" fmla="*/ 75419 h 81452"/>
                    <a:gd name="connsiteX2" fmla="*/ 126704 w 155038"/>
                    <a:gd name="connsiteY2" fmla="*/ 69385 h 81452"/>
                    <a:gd name="connsiteX3" fmla="*/ 141788 w 155038"/>
                    <a:gd name="connsiteY3" fmla="*/ 60335 h 81452"/>
                    <a:gd name="connsiteX4" fmla="*/ 138771 w 155038"/>
                    <a:gd name="connsiteY4" fmla="*/ 48268 h 81452"/>
                    <a:gd name="connsiteX5" fmla="*/ 6034 w 155038"/>
                    <a:gd name="connsiteY5" fmla="*/ 39218 h 81452"/>
                    <a:gd name="connsiteX6" fmla="*/ 6034 w 155038"/>
                    <a:gd name="connsiteY6" fmla="*/ 39218 h 81452"/>
                    <a:gd name="connsiteX7" fmla="*/ 0 w 155038"/>
                    <a:gd name="connsiteY7" fmla="*/ 33184 h 81452"/>
                    <a:gd name="connsiteX8" fmla="*/ 6034 w 155038"/>
                    <a:gd name="connsiteY8" fmla="*/ 27151 h 81452"/>
                    <a:gd name="connsiteX9" fmla="*/ 102570 w 155038"/>
                    <a:gd name="connsiteY9" fmla="*/ 0 h 81452"/>
                    <a:gd name="connsiteX10" fmla="*/ 108604 w 155038"/>
                    <a:gd name="connsiteY10" fmla="*/ 3017 h 81452"/>
                    <a:gd name="connsiteX11" fmla="*/ 105587 w 155038"/>
                    <a:gd name="connsiteY11" fmla="*/ 9050 h 81452"/>
                    <a:gd name="connsiteX12" fmla="*/ 57319 w 155038"/>
                    <a:gd name="connsiteY12" fmla="*/ 24134 h 81452"/>
                    <a:gd name="connsiteX13" fmla="*/ 147822 w 155038"/>
                    <a:gd name="connsiteY13" fmla="*/ 36201 h 81452"/>
                    <a:gd name="connsiteX14" fmla="*/ 153855 w 155038"/>
                    <a:gd name="connsiteY14" fmla="*/ 60335 h 81452"/>
                    <a:gd name="connsiteX15" fmla="*/ 126704 w 155038"/>
                    <a:gd name="connsiteY15" fmla="*/ 81452 h 81452"/>
                    <a:gd name="connsiteX16" fmla="*/ 126704 w 155038"/>
                    <a:gd name="connsiteY16" fmla="*/ 81452 h 81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5038" h="81452">
                      <a:moveTo>
                        <a:pt x="126704" y="81452"/>
                      </a:moveTo>
                      <a:cubicBezTo>
                        <a:pt x="123687" y="81452"/>
                        <a:pt x="120670" y="78436"/>
                        <a:pt x="120670" y="75419"/>
                      </a:cubicBezTo>
                      <a:cubicBezTo>
                        <a:pt x="120670" y="72402"/>
                        <a:pt x="123687" y="69385"/>
                        <a:pt x="126704" y="69385"/>
                      </a:cubicBezTo>
                      <a:cubicBezTo>
                        <a:pt x="132738" y="69385"/>
                        <a:pt x="138771" y="63352"/>
                        <a:pt x="141788" y="60335"/>
                      </a:cubicBezTo>
                      <a:cubicBezTo>
                        <a:pt x="144805" y="57318"/>
                        <a:pt x="141788" y="51285"/>
                        <a:pt x="138771" y="48268"/>
                      </a:cubicBezTo>
                      <a:cubicBezTo>
                        <a:pt x="132738" y="42235"/>
                        <a:pt x="63352" y="39218"/>
                        <a:pt x="6034" y="39218"/>
                      </a:cubicBezTo>
                      <a:lnTo>
                        <a:pt x="6034" y="39218"/>
                      </a:lnTo>
                      <a:cubicBezTo>
                        <a:pt x="3017" y="39218"/>
                        <a:pt x="0" y="36201"/>
                        <a:pt x="0" y="33184"/>
                      </a:cubicBezTo>
                      <a:cubicBezTo>
                        <a:pt x="0" y="30168"/>
                        <a:pt x="3017" y="27151"/>
                        <a:pt x="6034" y="27151"/>
                      </a:cubicBezTo>
                      <a:cubicBezTo>
                        <a:pt x="42235" y="21117"/>
                        <a:pt x="102570" y="3017"/>
                        <a:pt x="102570" y="0"/>
                      </a:cubicBezTo>
                      <a:cubicBezTo>
                        <a:pt x="105587" y="0"/>
                        <a:pt x="108604" y="0"/>
                        <a:pt x="108604" y="3017"/>
                      </a:cubicBezTo>
                      <a:cubicBezTo>
                        <a:pt x="108604" y="6033"/>
                        <a:pt x="108604" y="9050"/>
                        <a:pt x="105587" y="9050"/>
                      </a:cubicBezTo>
                      <a:cubicBezTo>
                        <a:pt x="105587" y="9050"/>
                        <a:pt x="81453" y="18101"/>
                        <a:pt x="57319" y="24134"/>
                      </a:cubicBezTo>
                      <a:cubicBezTo>
                        <a:pt x="96537" y="24134"/>
                        <a:pt x="141788" y="27151"/>
                        <a:pt x="147822" y="36201"/>
                      </a:cubicBezTo>
                      <a:cubicBezTo>
                        <a:pt x="153855" y="42235"/>
                        <a:pt x="156872" y="51285"/>
                        <a:pt x="153855" y="60335"/>
                      </a:cubicBezTo>
                      <a:cubicBezTo>
                        <a:pt x="147822" y="72402"/>
                        <a:pt x="138771" y="78436"/>
                        <a:pt x="126704" y="81452"/>
                      </a:cubicBezTo>
                      <a:cubicBezTo>
                        <a:pt x="129721" y="81452"/>
                        <a:pt x="126704" y="81452"/>
                        <a:pt x="126704" y="81452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836E52D0-D9B5-4E08-BF12-76B222F471DF}"/>
                  </a:ext>
                </a:extLst>
              </p:cNvPr>
              <p:cNvSpPr/>
              <p:nvPr/>
            </p:nvSpPr>
            <p:spPr>
              <a:xfrm>
                <a:off x="9374924" y="3160002"/>
                <a:ext cx="115886" cy="57318"/>
              </a:xfrm>
              <a:custGeom>
                <a:avLst/>
                <a:gdLst>
                  <a:gd name="connsiteX0" fmla="*/ 18100 w 115886"/>
                  <a:gd name="connsiteY0" fmla="*/ 57318 h 57318"/>
                  <a:gd name="connsiteX1" fmla="*/ 12067 w 115886"/>
                  <a:gd name="connsiteY1" fmla="*/ 51285 h 57318"/>
                  <a:gd name="connsiteX2" fmla="*/ 18100 w 115886"/>
                  <a:gd name="connsiteY2" fmla="*/ 45251 h 57318"/>
                  <a:gd name="connsiteX3" fmla="*/ 105587 w 115886"/>
                  <a:gd name="connsiteY3" fmla="*/ 24134 h 57318"/>
                  <a:gd name="connsiteX4" fmla="*/ 105587 w 115886"/>
                  <a:gd name="connsiteY4" fmla="*/ 18101 h 57318"/>
                  <a:gd name="connsiteX5" fmla="*/ 90503 w 115886"/>
                  <a:gd name="connsiteY5" fmla="*/ 12067 h 57318"/>
                  <a:gd name="connsiteX6" fmla="*/ 54302 w 115886"/>
                  <a:gd name="connsiteY6" fmla="*/ 15084 h 57318"/>
                  <a:gd name="connsiteX7" fmla="*/ 6033 w 115886"/>
                  <a:gd name="connsiteY7" fmla="*/ 18101 h 57318"/>
                  <a:gd name="connsiteX8" fmla="*/ 0 w 115886"/>
                  <a:gd name="connsiteY8" fmla="*/ 12067 h 57318"/>
                  <a:gd name="connsiteX9" fmla="*/ 6033 w 115886"/>
                  <a:gd name="connsiteY9" fmla="*/ 6034 h 57318"/>
                  <a:gd name="connsiteX10" fmla="*/ 51285 w 115886"/>
                  <a:gd name="connsiteY10" fmla="*/ 3017 h 57318"/>
                  <a:gd name="connsiteX11" fmla="*/ 87486 w 115886"/>
                  <a:gd name="connsiteY11" fmla="*/ 0 h 57318"/>
                  <a:gd name="connsiteX12" fmla="*/ 111620 w 115886"/>
                  <a:gd name="connsiteY12" fmla="*/ 9050 h 57318"/>
                  <a:gd name="connsiteX13" fmla="*/ 114637 w 115886"/>
                  <a:gd name="connsiteY13" fmla="*/ 27151 h 57318"/>
                  <a:gd name="connsiteX14" fmla="*/ 18100 w 115886"/>
                  <a:gd name="connsiteY14" fmla="*/ 57318 h 57318"/>
                  <a:gd name="connsiteX15" fmla="*/ 18100 w 115886"/>
                  <a:gd name="connsiteY15" fmla="*/ 57318 h 5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5886" h="57318">
                    <a:moveTo>
                      <a:pt x="18100" y="57318"/>
                    </a:moveTo>
                    <a:cubicBezTo>
                      <a:pt x="15084" y="57318"/>
                      <a:pt x="12067" y="54302"/>
                      <a:pt x="12067" y="51285"/>
                    </a:cubicBezTo>
                    <a:cubicBezTo>
                      <a:pt x="12067" y="48268"/>
                      <a:pt x="15084" y="45251"/>
                      <a:pt x="18100" y="45251"/>
                    </a:cubicBezTo>
                    <a:cubicBezTo>
                      <a:pt x="63352" y="42235"/>
                      <a:pt x="105587" y="33184"/>
                      <a:pt x="105587" y="24134"/>
                    </a:cubicBezTo>
                    <a:cubicBezTo>
                      <a:pt x="105587" y="18101"/>
                      <a:pt x="105587" y="18101"/>
                      <a:pt x="105587" y="18101"/>
                    </a:cubicBezTo>
                    <a:cubicBezTo>
                      <a:pt x="102570" y="15084"/>
                      <a:pt x="96536" y="12067"/>
                      <a:pt x="90503" y="12067"/>
                    </a:cubicBezTo>
                    <a:cubicBezTo>
                      <a:pt x="84469" y="12067"/>
                      <a:pt x="69386" y="12067"/>
                      <a:pt x="54302" y="15084"/>
                    </a:cubicBezTo>
                    <a:cubicBezTo>
                      <a:pt x="33184" y="18101"/>
                      <a:pt x="15084" y="18101"/>
                      <a:pt x="6033" y="18101"/>
                    </a:cubicBezTo>
                    <a:cubicBezTo>
                      <a:pt x="3016" y="18101"/>
                      <a:pt x="0" y="15084"/>
                      <a:pt x="0" y="12067"/>
                    </a:cubicBezTo>
                    <a:cubicBezTo>
                      <a:pt x="0" y="9050"/>
                      <a:pt x="3016" y="6034"/>
                      <a:pt x="6033" y="6034"/>
                    </a:cubicBezTo>
                    <a:cubicBezTo>
                      <a:pt x="12067" y="6034"/>
                      <a:pt x="33184" y="6034"/>
                      <a:pt x="51285" y="3017"/>
                    </a:cubicBezTo>
                    <a:cubicBezTo>
                      <a:pt x="66369" y="3017"/>
                      <a:pt x="81452" y="0"/>
                      <a:pt x="87486" y="0"/>
                    </a:cubicBezTo>
                    <a:cubicBezTo>
                      <a:pt x="99553" y="0"/>
                      <a:pt x="108603" y="3017"/>
                      <a:pt x="111620" y="9050"/>
                    </a:cubicBezTo>
                    <a:cubicBezTo>
                      <a:pt x="114637" y="12067"/>
                      <a:pt x="117653" y="18101"/>
                      <a:pt x="114637" y="27151"/>
                    </a:cubicBezTo>
                    <a:cubicBezTo>
                      <a:pt x="111620" y="48268"/>
                      <a:pt x="45251" y="54302"/>
                      <a:pt x="18100" y="57318"/>
                    </a:cubicBezTo>
                    <a:lnTo>
                      <a:pt x="18100" y="57318"/>
                    </a:lnTo>
                    <a:close/>
                  </a:path>
                </a:pathLst>
              </a:custGeom>
              <a:solidFill>
                <a:srgbClr val="E58777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A3AAC1B7-DEEA-477C-A071-879D973109C0}"/>
                  </a:ext>
                </a:extLst>
              </p:cNvPr>
              <p:cNvSpPr/>
              <p:nvPr/>
            </p:nvSpPr>
            <p:spPr>
              <a:xfrm>
                <a:off x="9386991" y="3125568"/>
                <a:ext cx="162151" cy="49517"/>
              </a:xfrm>
              <a:custGeom>
                <a:avLst/>
                <a:gdLst>
                  <a:gd name="connsiteX0" fmla="*/ 93520 w 162151"/>
                  <a:gd name="connsiteY0" fmla="*/ 49518 h 49517"/>
                  <a:gd name="connsiteX1" fmla="*/ 87486 w 162151"/>
                  <a:gd name="connsiteY1" fmla="*/ 43484 h 49517"/>
                  <a:gd name="connsiteX2" fmla="*/ 93520 w 162151"/>
                  <a:gd name="connsiteY2" fmla="*/ 37451 h 49517"/>
                  <a:gd name="connsiteX3" fmla="*/ 147822 w 162151"/>
                  <a:gd name="connsiteY3" fmla="*/ 28400 h 49517"/>
                  <a:gd name="connsiteX4" fmla="*/ 147822 w 162151"/>
                  <a:gd name="connsiteY4" fmla="*/ 25384 h 49517"/>
                  <a:gd name="connsiteX5" fmla="*/ 129721 w 162151"/>
                  <a:gd name="connsiteY5" fmla="*/ 13317 h 49517"/>
                  <a:gd name="connsiteX6" fmla="*/ 69386 w 162151"/>
                  <a:gd name="connsiteY6" fmla="*/ 16333 h 49517"/>
                  <a:gd name="connsiteX7" fmla="*/ 60335 w 162151"/>
                  <a:gd name="connsiteY7" fmla="*/ 16333 h 49517"/>
                  <a:gd name="connsiteX8" fmla="*/ 6033 w 162151"/>
                  <a:gd name="connsiteY8" fmla="*/ 16333 h 49517"/>
                  <a:gd name="connsiteX9" fmla="*/ 0 w 162151"/>
                  <a:gd name="connsiteY9" fmla="*/ 10300 h 49517"/>
                  <a:gd name="connsiteX10" fmla="*/ 6033 w 162151"/>
                  <a:gd name="connsiteY10" fmla="*/ 4266 h 49517"/>
                  <a:gd name="connsiteX11" fmla="*/ 60335 w 162151"/>
                  <a:gd name="connsiteY11" fmla="*/ 4266 h 49517"/>
                  <a:gd name="connsiteX12" fmla="*/ 69386 w 162151"/>
                  <a:gd name="connsiteY12" fmla="*/ 4266 h 49517"/>
                  <a:gd name="connsiteX13" fmla="*/ 132738 w 162151"/>
                  <a:gd name="connsiteY13" fmla="*/ 1250 h 49517"/>
                  <a:gd name="connsiteX14" fmla="*/ 159888 w 162151"/>
                  <a:gd name="connsiteY14" fmla="*/ 19350 h 49517"/>
                  <a:gd name="connsiteX15" fmla="*/ 159888 w 162151"/>
                  <a:gd name="connsiteY15" fmla="*/ 34434 h 49517"/>
                  <a:gd name="connsiteX16" fmla="*/ 93520 w 162151"/>
                  <a:gd name="connsiteY16" fmla="*/ 49518 h 49517"/>
                  <a:gd name="connsiteX17" fmla="*/ 93520 w 162151"/>
                  <a:gd name="connsiteY17" fmla="*/ 49518 h 49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2151" h="49517">
                    <a:moveTo>
                      <a:pt x="93520" y="49518"/>
                    </a:moveTo>
                    <a:cubicBezTo>
                      <a:pt x="90503" y="49518"/>
                      <a:pt x="87486" y="46501"/>
                      <a:pt x="87486" y="43484"/>
                    </a:cubicBezTo>
                    <a:cubicBezTo>
                      <a:pt x="87486" y="40467"/>
                      <a:pt x="90503" y="37451"/>
                      <a:pt x="93520" y="37451"/>
                    </a:cubicBezTo>
                    <a:cubicBezTo>
                      <a:pt x="120670" y="37451"/>
                      <a:pt x="144805" y="31417"/>
                      <a:pt x="147822" y="28400"/>
                    </a:cubicBezTo>
                    <a:cubicBezTo>
                      <a:pt x="147822" y="28400"/>
                      <a:pt x="147822" y="25384"/>
                      <a:pt x="147822" y="25384"/>
                    </a:cubicBezTo>
                    <a:cubicBezTo>
                      <a:pt x="144805" y="19350"/>
                      <a:pt x="138771" y="16333"/>
                      <a:pt x="129721" y="13317"/>
                    </a:cubicBezTo>
                    <a:cubicBezTo>
                      <a:pt x="120670" y="10300"/>
                      <a:pt x="84469" y="16333"/>
                      <a:pt x="69386" y="16333"/>
                    </a:cubicBezTo>
                    <a:cubicBezTo>
                      <a:pt x="63352" y="16333"/>
                      <a:pt x="60335" y="16333"/>
                      <a:pt x="60335" y="16333"/>
                    </a:cubicBezTo>
                    <a:cubicBezTo>
                      <a:pt x="51285" y="16333"/>
                      <a:pt x="6033" y="16333"/>
                      <a:pt x="6033" y="16333"/>
                    </a:cubicBezTo>
                    <a:cubicBezTo>
                      <a:pt x="3017" y="16333"/>
                      <a:pt x="0" y="13317"/>
                      <a:pt x="0" y="10300"/>
                    </a:cubicBezTo>
                    <a:cubicBezTo>
                      <a:pt x="0" y="7283"/>
                      <a:pt x="3017" y="4266"/>
                      <a:pt x="6033" y="4266"/>
                    </a:cubicBezTo>
                    <a:cubicBezTo>
                      <a:pt x="18101" y="4266"/>
                      <a:pt x="54302" y="7283"/>
                      <a:pt x="60335" y="4266"/>
                    </a:cubicBezTo>
                    <a:cubicBezTo>
                      <a:pt x="63352" y="4266"/>
                      <a:pt x="66369" y="4266"/>
                      <a:pt x="69386" y="4266"/>
                    </a:cubicBezTo>
                    <a:cubicBezTo>
                      <a:pt x="93520" y="1250"/>
                      <a:pt x="123687" y="-1767"/>
                      <a:pt x="132738" y="1250"/>
                    </a:cubicBezTo>
                    <a:cubicBezTo>
                      <a:pt x="141788" y="4266"/>
                      <a:pt x="153855" y="10300"/>
                      <a:pt x="159888" y="19350"/>
                    </a:cubicBezTo>
                    <a:cubicBezTo>
                      <a:pt x="162905" y="25384"/>
                      <a:pt x="162905" y="28400"/>
                      <a:pt x="159888" y="34434"/>
                    </a:cubicBezTo>
                    <a:cubicBezTo>
                      <a:pt x="150838" y="46501"/>
                      <a:pt x="111620" y="46501"/>
                      <a:pt x="93520" y="49518"/>
                    </a:cubicBezTo>
                    <a:cubicBezTo>
                      <a:pt x="93520" y="49518"/>
                      <a:pt x="93520" y="49518"/>
                      <a:pt x="93520" y="4951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9C76DE2C-77DA-4EA9-A451-74ED2C96A85B}"/>
                </a:ext>
              </a:extLst>
            </p:cNvPr>
            <p:cNvSpPr/>
            <p:nvPr/>
          </p:nvSpPr>
          <p:spPr>
            <a:xfrm>
              <a:off x="7414030" y="3877991"/>
              <a:ext cx="681787" cy="33184"/>
            </a:xfrm>
            <a:custGeom>
              <a:avLst/>
              <a:gdLst>
                <a:gd name="connsiteX0" fmla="*/ 241341 w 681787"/>
                <a:gd name="connsiteY0" fmla="*/ 33184 h 33184"/>
                <a:gd name="connsiteX1" fmla="*/ 6033 w 681787"/>
                <a:gd name="connsiteY1" fmla="*/ 27151 h 33184"/>
                <a:gd name="connsiteX2" fmla="*/ 0 w 681787"/>
                <a:gd name="connsiteY2" fmla="*/ 21117 h 33184"/>
                <a:gd name="connsiteX3" fmla="*/ 6033 w 681787"/>
                <a:gd name="connsiteY3" fmla="*/ 15084 h 33184"/>
                <a:gd name="connsiteX4" fmla="*/ 675754 w 681787"/>
                <a:gd name="connsiteY4" fmla="*/ 0 h 33184"/>
                <a:gd name="connsiteX5" fmla="*/ 681787 w 681787"/>
                <a:gd name="connsiteY5" fmla="*/ 6033 h 33184"/>
                <a:gd name="connsiteX6" fmla="*/ 675754 w 681787"/>
                <a:gd name="connsiteY6" fmla="*/ 12067 h 33184"/>
                <a:gd name="connsiteX7" fmla="*/ 241341 w 681787"/>
                <a:gd name="connsiteY7" fmla="*/ 33184 h 33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1787" h="33184">
                  <a:moveTo>
                    <a:pt x="241341" y="33184"/>
                  </a:moveTo>
                  <a:cubicBezTo>
                    <a:pt x="99553" y="33184"/>
                    <a:pt x="9050" y="27151"/>
                    <a:pt x="6033" y="27151"/>
                  </a:cubicBezTo>
                  <a:cubicBezTo>
                    <a:pt x="3016" y="27151"/>
                    <a:pt x="0" y="24134"/>
                    <a:pt x="0" y="21117"/>
                  </a:cubicBezTo>
                  <a:cubicBezTo>
                    <a:pt x="0" y="18101"/>
                    <a:pt x="3016" y="15084"/>
                    <a:pt x="6033" y="15084"/>
                  </a:cubicBezTo>
                  <a:cubicBezTo>
                    <a:pt x="9050" y="15084"/>
                    <a:pt x="310726" y="39218"/>
                    <a:pt x="675754" y="0"/>
                  </a:cubicBezTo>
                  <a:cubicBezTo>
                    <a:pt x="678771" y="0"/>
                    <a:pt x="681787" y="3017"/>
                    <a:pt x="681787" y="6033"/>
                  </a:cubicBezTo>
                  <a:cubicBezTo>
                    <a:pt x="681787" y="9050"/>
                    <a:pt x="678771" y="12067"/>
                    <a:pt x="675754" y="12067"/>
                  </a:cubicBezTo>
                  <a:cubicBezTo>
                    <a:pt x="512849" y="27151"/>
                    <a:pt x="358994" y="33184"/>
                    <a:pt x="241341" y="33184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DEE1FFE4-2801-40EE-82F5-A4F06F9ABD97}"/>
                </a:ext>
              </a:extLst>
            </p:cNvPr>
            <p:cNvSpPr/>
            <p:nvPr/>
          </p:nvSpPr>
          <p:spPr>
            <a:xfrm>
              <a:off x="7103304" y="5027376"/>
              <a:ext cx="72402" cy="12067"/>
            </a:xfrm>
            <a:custGeom>
              <a:avLst/>
              <a:gdLst>
                <a:gd name="connsiteX0" fmla="*/ 66369 w 72402"/>
                <a:gd name="connsiteY0" fmla="*/ 12067 h 12067"/>
                <a:gd name="connsiteX1" fmla="*/ 6033 w 72402"/>
                <a:gd name="connsiteY1" fmla="*/ 12067 h 12067"/>
                <a:gd name="connsiteX2" fmla="*/ 0 w 72402"/>
                <a:gd name="connsiteY2" fmla="*/ 6033 h 12067"/>
                <a:gd name="connsiteX3" fmla="*/ 6033 w 72402"/>
                <a:gd name="connsiteY3" fmla="*/ 0 h 12067"/>
                <a:gd name="connsiteX4" fmla="*/ 66369 w 72402"/>
                <a:gd name="connsiteY4" fmla="*/ 0 h 12067"/>
                <a:gd name="connsiteX5" fmla="*/ 72402 w 72402"/>
                <a:gd name="connsiteY5" fmla="*/ 6033 h 12067"/>
                <a:gd name="connsiteX6" fmla="*/ 66369 w 72402"/>
                <a:gd name="connsiteY6" fmla="*/ 12067 h 1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402" h="12067">
                  <a:moveTo>
                    <a:pt x="66369" y="12067"/>
                  </a:moveTo>
                  <a:lnTo>
                    <a:pt x="6033" y="12067"/>
                  </a:lnTo>
                  <a:cubicBezTo>
                    <a:pt x="3017" y="12067"/>
                    <a:pt x="0" y="9050"/>
                    <a:pt x="0" y="6033"/>
                  </a:cubicBezTo>
                  <a:cubicBezTo>
                    <a:pt x="0" y="3017"/>
                    <a:pt x="3017" y="0"/>
                    <a:pt x="6033" y="0"/>
                  </a:cubicBezTo>
                  <a:lnTo>
                    <a:pt x="66369" y="0"/>
                  </a:lnTo>
                  <a:cubicBezTo>
                    <a:pt x="69386" y="0"/>
                    <a:pt x="72402" y="3017"/>
                    <a:pt x="72402" y="6033"/>
                  </a:cubicBezTo>
                  <a:cubicBezTo>
                    <a:pt x="72402" y="9050"/>
                    <a:pt x="69386" y="12067"/>
                    <a:pt x="66369" y="12067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1A25A54F-05AF-4E67-83BD-98EFED9D09ED}"/>
                </a:ext>
              </a:extLst>
            </p:cNvPr>
            <p:cNvSpPr/>
            <p:nvPr/>
          </p:nvSpPr>
          <p:spPr>
            <a:xfrm>
              <a:off x="7714255" y="2128032"/>
              <a:ext cx="419215" cy="384964"/>
            </a:xfrm>
            <a:custGeom>
              <a:avLst/>
              <a:gdLst>
                <a:gd name="connsiteX0" fmla="*/ 10502 w 419215"/>
                <a:gd name="connsiteY0" fmla="*/ 120909 h 384964"/>
                <a:gd name="connsiteX1" fmla="*/ 146256 w 419215"/>
                <a:gd name="connsiteY1" fmla="*/ 371300 h 384964"/>
                <a:gd name="connsiteX2" fmla="*/ 408714 w 419215"/>
                <a:gd name="connsiteY2" fmla="*/ 265714 h 384964"/>
                <a:gd name="connsiteX3" fmla="*/ 272960 w 419215"/>
                <a:gd name="connsiteY3" fmla="*/ 15322 h 384964"/>
                <a:gd name="connsiteX4" fmla="*/ 10502 w 419215"/>
                <a:gd name="connsiteY4" fmla="*/ 120909 h 384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215" h="384964">
                  <a:moveTo>
                    <a:pt x="10502" y="120909"/>
                  </a:moveTo>
                  <a:cubicBezTo>
                    <a:pt x="-25700" y="220462"/>
                    <a:pt x="34635" y="332082"/>
                    <a:pt x="146256" y="371300"/>
                  </a:cubicBezTo>
                  <a:cubicBezTo>
                    <a:pt x="257876" y="410518"/>
                    <a:pt x="375529" y="362250"/>
                    <a:pt x="408714" y="265714"/>
                  </a:cubicBezTo>
                  <a:cubicBezTo>
                    <a:pt x="444915" y="166160"/>
                    <a:pt x="384580" y="54540"/>
                    <a:pt x="272960" y="15322"/>
                  </a:cubicBezTo>
                  <a:cubicBezTo>
                    <a:pt x="164356" y="-26912"/>
                    <a:pt x="46703" y="21356"/>
                    <a:pt x="10502" y="120909"/>
                  </a:cubicBezTo>
                  <a:close/>
                </a:path>
              </a:pathLst>
            </a:custGeom>
            <a:solidFill>
              <a:srgbClr val="664241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9CA808A1-0FBA-4EBC-ACD3-95193D308AD7}"/>
                </a:ext>
              </a:extLst>
            </p:cNvPr>
            <p:cNvSpPr/>
            <p:nvPr/>
          </p:nvSpPr>
          <p:spPr>
            <a:xfrm>
              <a:off x="7668444" y="2529321"/>
              <a:ext cx="397206" cy="299668"/>
            </a:xfrm>
            <a:custGeom>
              <a:avLst/>
              <a:gdLst>
                <a:gd name="connsiteX0" fmla="*/ 397207 w 397206"/>
                <a:gd name="connsiteY0" fmla="*/ 33362 h 299668"/>
                <a:gd name="connsiteX1" fmla="*/ 104581 w 397206"/>
                <a:gd name="connsiteY1" fmla="*/ 298837 h 299668"/>
                <a:gd name="connsiteX2" fmla="*/ 104581 w 397206"/>
                <a:gd name="connsiteY2" fmla="*/ 51463 h 299668"/>
                <a:gd name="connsiteX3" fmla="*/ 397207 w 397206"/>
                <a:gd name="connsiteY3" fmla="*/ 33362 h 29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206" h="299668">
                  <a:moveTo>
                    <a:pt x="397207" y="33362"/>
                  </a:moveTo>
                  <a:cubicBezTo>
                    <a:pt x="397207" y="33362"/>
                    <a:pt x="336871" y="316938"/>
                    <a:pt x="104581" y="298837"/>
                  </a:cubicBezTo>
                  <a:cubicBezTo>
                    <a:pt x="-130726" y="280737"/>
                    <a:pt x="104581" y="51463"/>
                    <a:pt x="104581" y="51463"/>
                  </a:cubicBezTo>
                  <a:cubicBezTo>
                    <a:pt x="104581" y="51463"/>
                    <a:pt x="364023" y="-51107"/>
                    <a:pt x="397207" y="33362"/>
                  </a:cubicBezTo>
                  <a:close/>
                </a:path>
              </a:pathLst>
            </a:custGeom>
            <a:solidFill>
              <a:srgbClr val="664241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DAD301E4-C858-4158-8BD6-EBC1C18CBFED}"/>
                </a:ext>
              </a:extLst>
            </p:cNvPr>
            <p:cNvSpPr/>
            <p:nvPr/>
          </p:nvSpPr>
          <p:spPr>
            <a:xfrm>
              <a:off x="7481960" y="2255306"/>
              <a:ext cx="318598" cy="583582"/>
            </a:xfrm>
            <a:custGeom>
              <a:avLst/>
              <a:gdLst>
                <a:gd name="connsiteX0" fmla="*/ 233747 w 318598"/>
                <a:gd name="connsiteY0" fmla="*/ 316428 h 583582"/>
                <a:gd name="connsiteX1" fmla="*/ 282014 w 318598"/>
                <a:gd name="connsiteY1" fmla="*/ 174641 h 583582"/>
                <a:gd name="connsiteX2" fmla="*/ 318216 w 318598"/>
                <a:gd name="connsiteY2" fmla="*/ 8719 h 583582"/>
                <a:gd name="connsiteX3" fmla="*/ 1456 w 318598"/>
                <a:gd name="connsiteY3" fmla="*/ 228942 h 583582"/>
                <a:gd name="connsiteX4" fmla="*/ 176428 w 318598"/>
                <a:gd name="connsiteY4" fmla="*/ 569836 h 583582"/>
                <a:gd name="connsiteX5" fmla="*/ 233747 w 318598"/>
                <a:gd name="connsiteY5" fmla="*/ 316428 h 583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8598" h="583582">
                  <a:moveTo>
                    <a:pt x="233747" y="316428"/>
                  </a:moveTo>
                  <a:cubicBezTo>
                    <a:pt x="242797" y="265143"/>
                    <a:pt x="257881" y="219892"/>
                    <a:pt x="282014" y="174641"/>
                  </a:cubicBezTo>
                  <a:cubicBezTo>
                    <a:pt x="306149" y="126372"/>
                    <a:pt x="321232" y="8719"/>
                    <a:pt x="318216" y="8719"/>
                  </a:cubicBezTo>
                  <a:cubicBezTo>
                    <a:pt x="206595" y="-30499"/>
                    <a:pt x="22573" y="66037"/>
                    <a:pt x="1456" y="228942"/>
                  </a:cubicBezTo>
                  <a:cubicBezTo>
                    <a:pt x="-7594" y="295311"/>
                    <a:pt x="22573" y="542685"/>
                    <a:pt x="176428" y="569836"/>
                  </a:cubicBezTo>
                  <a:cubicBezTo>
                    <a:pt x="272965" y="648272"/>
                    <a:pt x="224696" y="367713"/>
                    <a:pt x="233747" y="316428"/>
                  </a:cubicBezTo>
                  <a:close/>
                </a:path>
              </a:pathLst>
            </a:custGeom>
            <a:solidFill>
              <a:srgbClr val="664241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706A9F42-0E95-457C-A3AB-CA40244195F7}"/>
                </a:ext>
              </a:extLst>
            </p:cNvPr>
            <p:cNvSpPr/>
            <p:nvPr/>
          </p:nvSpPr>
          <p:spPr>
            <a:xfrm>
              <a:off x="7547937" y="2308396"/>
              <a:ext cx="418160" cy="562314"/>
            </a:xfrm>
            <a:custGeom>
              <a:avLst/>
              <a:gdLst>
                <a:gd name="connsiteX0" fmla="*/ 7881 w 418160"/>
                <a:gd name="connsiteY0" fmla="*/ 181886 h 562314"/>
                <a:gd name="connsiteX1" fmla="*/ 19947 w 418160"/>
                <a:gd name="connsiteY1" fmla="*/ 435294 h 562314"/>
                <a:gd name="connsiteX2" fmla="*/ 167769 w 418160"/>
                <a:gd name="connsiteY2" fmla="*/ 561998 h 562314"/>
                <a:gd name="connsiteX3" fmla="*/ 381959 w 418160"/>
                <a:gd name="connsiteY3" fmla="*/ 420210 h 562314"/>
                <a:gd name="connsiteX4" fmla="*/ 418160 w 418160"/>
                <a:gd name="connsiteY4" fmla="*/ 196970 h 562314"/>
                <a:gd name="connsiteX5" fmla="*/ 206987 w 418160"/>
                <a:gd name="connsiteY5" fmla="*/ 880 h 562314"/>
                <a:gd name="connsiteX6" fmla="*/ 7881 w 418160"/>
                <a:gd name="connsiteY6" fmla="*/ 181886 h 562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160" h="562314">
                  <a:moveTo>
                    <a:pt x="7881" y="181886"/>
                  </a:moveTo>
                  <a:cubicBezTo>
                    <a:pt x="7881" y="181886"/>
                    <a:pt x="-16254" y="368925"/>
                    <a:pt x="19947" y="435294"/>
                  </a:cubicBezTo>
                  <a:cubicBezTo>
                    <a:pt x="56149" y="501663"/>
                    <a:pt x="116484" y="558981"/>
                    <a:pt x="167769" y="561998"/>
                  </a:cubicBezTo>
                  <a:cubicBezTo>
                    <a:pt x="234138" y="568031"/>
                    <a:pt x="345758" y="486579"/>
                    <a:pt x="381959" y="420210"/>
                  </a:cubicBezTo>
                  <a:cubicBezTo>
                    <a:pt x="418160" y="353841"/>
                    <a:pt x="418160" y="248255"/>
                    <a:pt x="418160" y="196970"/>
                  </a:cubicBezTo>
                  <a:cubicBezTo>
                    <a:pt x="415143" y="103450"/>
                    <a:pt x="387993" y="25014"/>
                    <a:pt x="206987" y="880"/>
                  </a:cubicBezTo>
                  <a:cubicBezTo>
                    <a:pt x="122518" y="-11187"/>
                    <a:pt x="28998" y="103450"/>
                    <a:pt x="7881" y="181886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774F6367-6334-4A5A-A69E-9D471A940BE1}"/>
                </a:ext>
              </a:extLst>
            </p:cNvPr>
            <p:cNvSpPr/>
            <p:nvPr/>
          </p:nvSpPr>
          <p:spPr>
            <a:xfrm>
              <a:off x="7682522" y="2573501"/>
              <a:ext cx="54301" cy="130970"/>
            </a:xfrm>
            <a:custGeom>
              <a:avLst/>
              <a:gdLst>
                <a:gd name="connsiteX0" fmla="*/ 30168 w 54301"/>
                <a:gd name="connsiteY0" fmla="*/ 130970 h 130970"/>
                <a:gd name="connsiteX1" fmla="*/ 6033 w 54301"/>
                <a:gd name="connsiteY1" fmla="*/ 124937 h 130970"/>
                <a:gd name="connsiteX2" fmla="*/ 0 w 54301"/>
                <a:gd name="connsiteY2" fmla="*/ 112870 h 130970"/>
                <a:gd name="connsiteX3" fmla="*/ 27151 w 54301"/>
                <a:gd name="connsiteY3" fmla="*/ 4266 h 130970"/>
                <a:gd name="connsiteX4" fmla="*/ 33185 w 54301"/>
                <a:gd name="connsiteY4" fmla="*/ 1250 h 130970"/>
                <a:gd name="connsiteX5" fmla="*/ 36201 w 54301"/>
                <a:gd name="connsiteY5" fmla="*/ 7283 h 130970"/>
                <a:gd name="connsiteX6" fmla="*/ 9050 w 54301"/>
                <a:gd name="connsiteY6" fmla="*/ 112870 h 130970"/>
                <a:gd name="connsiteX7" fmla="*/ 9050 w 54301"/>
                <a:gd name="connsiteY7" fmla="*/ 115886 h 130970"/>
                <a:gd name="connsiteX8" fmla="*/ 48268 w 54301"/>
                <a:gd name="connsiteY8" fmla="*/ 115886 h 130970"/>
                <a:gd name="connsiteX9" fmla="*/ 54302 w 54301"/>
                <a:gd name="connsiteY9" fmla="*/ 121920 h 130970"/>
                <a:gd name="connsiteX10" fmla="*/ 48268 w 54301"/>
                <a:gd name="connsiteY10" fmla="*/ 127954 h 130970"/>
                <a:gd name="connsiteX11" fmla="*/ 30168 w 54301"/>
                <a:gd name="connsiteY11" fmla="*/ 130970 h 13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301" h="130970">
                  <a:moveTo>
                    <a:pt x="30168" y="130970"/>
                  </a:moveTo>
                  <a:cubicBezTo>
                    <a:pt x="21117" y="130970"/>
                    <a:pt x="12067" y="130970"/>
                    <a:pt x="6033" y="124937"/>
                  </a:cubicBezTo>
                  <a:cubicBezTo>
                    <a:pt x="3017" y="121920"/>
                    <a:pt x="0" y="118903"/>
                    <a:pt x="0" y="112870"/>
                  </a:cubicBezTo>
                  <a:cubicBezTo>
                    <a:pt x="0" y="91752"/>
                    <a:pt x="27151" y="7283"/>
                    <a:pt x="27151" y="4266"/>
                  </a:cubicBezTo>
                  <a:cubicBezTo>
                    <a:pt x="27151" y="1250"/>
                    <a:pt x="30168" y="-1767"/>
                    <a:pt x="33185" y="1250"/>
                  </a:cubicBezTo>
                  <a:cubicBezTo>
                    <a:pt x="36201" y="1250"/>
                    <a:pt x="39218" y="4266"/>
                    <a:pt x="36201" y="7283"/>
                  </a:cubicBezTo>
                  <a:cubicBezTo>
                    <a:pt x="30168" y="31417"/>
                    <a:pt x="9050" y="94769"/>
                    <a:pt x="9050" y="112870"/>
                  </a:cubicBezTo>
                  <a:cubicBezTo>
                    <a:pt x="9050" y="112870"/>
                    <a:pt x="9050" y="115886"/>
                    <a:pt x="9050" y="115886"/>
                  </a:cubicBezTo>
                  <a:cubicBezTo>
                    <a:pt x="15084" y="121920"/>
                    <a:pt x="36201" y="118903"/>
                    <a:pt x="48268" y="115886"/>
                  </a:cubicBezTo>
                  <a:cubicBezTo>
                    <a:pt x="51285" y="115886"/>
                    <a:pt x="54302" y="115886"/>
                    <a:pt x="54302" y="121920"/>
                  </a:cubicBezTo>
                  <a:cubicBezTo>
                    <a:pt x="54302" y="124937"/>
                    <a:pt x="54302" y="127954"/>
                    <a:pt x="48268" y="127954"/>
                  </a:cubicBezTo>
                  <a:cubicBezTo>
                    <a:pt x="51285" y="130970"/>
                    <a:pt x="42235" y="130970"/>
                    <a:pt x="30168" y="130970"/>
                  </a:cubicBezTo>
                  <a:close/>
                </a:path>
              </a:pathLst>
            </a:custGeom>
            <a:solidFill>
              <a:srgbClr val="E58777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923F09DD-3B97-429E-A78B-58DA643ADB97}"/>
                </a:ext>
              </a:extLst>
            </p:cNvPr>
            <p:cNvSpPr/>
            <p:nvPr/>
          </p:nvSpPr>
          <p:spPr>
            <a:xfrm>
              <a:off x="7612368" y="2546831"/>
              <a:ext cx="40755" cy="40755"/>
            </a:xfrm>
            <a:custGeom>
              <a:avLst/>
              <a:gdLst>
                <a:gd name="connsiteX0" fmla="*/ 39987 w 40755"/>
                <a:gd name="connsiteY0" fmla="*/ 24903 h 40755"/>
                <a:gd name="connsiteX1" fmla="*/ 15852 w 40755"/>
                <a:gd name="connsiteY1" fmla="*/ 39987 h 40755"/>
                <a:gd name="connsiteX2" fmla="*/ 769 w 40755"/>
                <a:gd name="connsiteY2" fmla="*/ 15853 h 40755"/>
                <a:gd name="connsiteX3" fmla="*/ 24903 w 40755"/>
                <a:gd name="connsiteY3" fmla="*/ 769 h 40755"/>
                <a:gd name="connsiteX4" fmla="*/ 39987 w 40755"/>
                <a:gd name="connsiteY4" fmla="*/ 24903 h 4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55" h="40755">
                  <a:moveTo>
                    <a:pt x="39987" y="24903"/>
                  </a:moveTo>
                  <a:cubicBezTo>
                    <a:pt x="36970" y="36970"/>
                    <a:pt x="27920" y="43003"/>
                    <a:pt x="15852" y="39987"/>
                  </a:cubicBezTo>
                  <a:cubicBezTo>
                    <a:pt x="3786" y="36970"/>
                    <a:pt x="-2248" y="27920"/>
                    <a:pt x="769" y="15853"/>
                  </a:cubicBezTo>
                  <a:cubicBezTo>
                    <a:pt x="3786" y="3786"/>
                    <a:pt x="12836" y="-2248"/>
                    <a:pt x="24903" y="769"/>
                  </a:cubicBezTo>
                  <a:cubicBezTo>
                    <a:pt x="36970" y="3786"/>
                    <a:pt x="43004" y="15853"/>
                    <a:pt x="39987" y="24903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C9FAFFAC-2FE8-4CCD-9BF5-B90D54438987}"/>
                </a:ext>
              </a:extLst>
            </p:cNvPr>
            <p:cNvSpPr/>
            <p:nvPr/>
          </p:nvSpPr>
          <p:spPr>
            <a:xfrm>
              <a:off x="7799584" y="2552865"/>
              <a:ext cx="40578" cy="40755"/>
            </a:xfrm>
            <a:custGeom>
              <a:avLst/>
              <a:gdLst>
                <a:gd name="connsiteX0" fmla="*/ 39809 w 40578"/>
                <a:gd name="connsiteY0" fmla="*/ 24903 h 40755"/>
                <a:gd name="connsiteX1" fmla="*/ 15676 w 40578"/>
                <a:gd name="connsiteY1" fmla="*/ 39987 h 40755"/>
                <a:gd name="connsiteX2" fmla="*/ 592 w 40578"/>
                <a:gd name="connsiteY2" fmla="*/ 15853 h 40755"/>
                <a:gd name="connsiteX3" fmla="*/ 24726 w 40578"/>
                <a:gd name="connsiteY3" fmla="*/ 769 h 40755"/>
                <a:gd name="connsiteX4" fmla="*/ 39809 w 40578"/>
                <a:gd name="connsiteY4" fmla="*/ 24903 h 4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0755">
                  <a:moveTo>
                    <a:pt x="39809" y="24903"/>
                  </a:moveTo>
                  <a:cubicBezTo>
                    <a:pt x="36793" y="36970"/>
                    <a:pt x="27742" y="43003"/>
                    <a:pt x="15676" y="39987"/>
                  </a:cubicBezTo>
                  <a:cubicBezTo>
                    <a:pt x="6625" y="36970"/>
                    <a:pt x="-2425" y="27920"/>
                    <a:pt x="592" y="15853"/>
                  </a:cubicBezTo>
                  <a:cubicBezTo>
                    <a:pt x="3608" y="3786"/>
                    <a:pt x="12659" y="-2248"/>
                    <a:pt x="24726" y="769"/>
                  </a:cubicBezTo>
                  <a:cubicBezTo>
                    <a:pt x="36793" y="3786"/>
                    <a:pt x="42826" y="15853"/>
                    <a:pt x="39809" y="24903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04A320D7-8D33-4238-B9B6-D9D24A3B30D1}"/>
                </a:ext>
              </a:extLst>
            </p:cNvPr>
            <p:cNvSpPr/>
            <p:nvPr/>
          </p:nvSpPr>
          <p:spPr>
            <a:xfrm>
              <a:off x="7586740" y="2498179"/>
              <a:ext cx="90998" cy="34337"/>
            </a:xfrm>
            <a:custGeom>
              <a:avLst/>
              <a:gdLst>
                <a:gd name="connsiteX0" fmla="*/ 8296 w 90998"/>
                <a:gd name="connsiteY0" fmla="*/ 34337 h 34337"/>
                <a:gd name="connsiteX1" fmla="*/ 2263 w 90998"/>
                <a:gd name="connsiteY1" fmla="*/ 31320 h 34337"/>
                <a:gd name="connsiteX2" fmla="*/ 2263 w 90998"/>
                <a:gd name="connsiteY2" fmla="*/ 19253 h 34337"/>
                <a:gd name="connsiteX3" fmla="*/ 86732 w 90998"/>
                <a:gd name="connsiteY3" fmla="*/ 10203 h 34337"/>
                <a:gd name="connsiteX4" fmla="*/ 89749 w 90998"/>
                <a:gd name="connsiteY4" fmla="*/ 19253 h 34337"/>
                <a:gd name="connsiteX5" fmla="*/ 80698 w 90998"/>
                <a:gd name="connsiteY5" fmla="*/ 22270 h 34337"/>
                <a:gd name="connsiteX6" fmla="*/ 14330 w 90998"/>
                <a:gd name="connsiteY6" fmla="*/ 28304 h 34337"/>
                <a:gd name="connsiteX7" fmla="*/ 8296 w 90998"/>
                <a:gd name="connsiteY7" fmla="*/ 34337 h 3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4337">
                  <a:moveTo>
                    <a:pt x="8296" y="34337"/>
                  </a:moveTo>
                  <a:cubicBezTo>
                    <a:pt x="5279" y="34337"/>
                    <a:pt x="5279" y="34337"/>
                    <a:pt x="2263" y="31320"/>
                  </a:cubicBezTo>
                  <a:cubicBezTo>
                    <a:pt x="-754" y="28304"/>
                    <a:pt x="-754" y="22270"/>
                    <a:pt x="2263" y="19253"/>
                  </a:cubicBezTo>
                  <a:cubicBezTo>
                    <a:pt x="29413" y="-10914"/>
                    <a:pt x="68631" y="1153"/>
                    <a:pt x="86732" y="10203"/>
                  </a:cubicBezTo>
                  <a:cubicBezTo>
                    <a:pt x="89749" y="13220"/>
                    <a:pt x="92766" y="16237"/>
                    <a:pt x="89749" y="19253"/>
                  </a:cubicBezTo>
                  <a:cubicBezTo>
                    <a:pt x="86732" y="22270"/>
                    <a:pt x="83715" y="25287"/>
                    <a:pt x="80698" y="22270"/>
                  </a:cubicBezTo>
                  <a:cubicBezTo>
                    <a:pt x="77682" y="22270"/>
                    <a:pt x="38464" y="1153"/>
                    <a:pt x="14330" y="28304"/>
                  </a:cubicBezTo>
                  <a:cubicBezTo>
                    <a:pt x="14330" y="34337"/>
                    <a:pt x="11313" y="34337"/>
                    <a:pt x="8296" y="34337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920E02F9-AB94-41BA-8960-501484A897C6}"/>
                </a:ext>
              </a:extLst>
            </p:cNvPr>
            <p:cNvSpPr/>
            <p:nvPr/>
          </p:nvSpPr>
          <p:spPr>
            <a:xfrm>
              <a:off x="7774792" y="2499639"/>
              <a:ext cx="90998" cy="35894"/>
            </a:xfrm>
            <a:custGeom>
              <a:avLst/>
              <a:gdLst>
                <a:gd name="connsiteX0" fmla="*/ 85719 w 90998"/>
                <a:gd name="connsiteY0" fmla="*/ 35894 h 35894"/>
                <a:gd name="connsiteX1" fmla="*/ 79685 w 90998"/>
                <a:gd name="connsiteY1" fmla="*/ 32877 h 35894"/>
                <a:gd name="connsiteX2" fmla="*/ 13317 w 90998"/>
                <a:gd name="connsiteY2" fmla="*/ 26844 h 35894"/>
                <a:gd name="connsiteX3" fmla="*/ 1250 w 90998"/>
                <a:gd name="connsiteY3" fmla="*/ 23827 h 35894"/>
                <a:gd name="connsiteX4" fmla="*/ 4266 w 90998"/>
                <a:gd name="connsiteY4" fmla="*/ 11760 h 35894"/>
                <a:gd name="connsiteX5" fmla="*/ 88736 w 90998"/>
                <a:gd name="connsiteY5" fmla="*/ 20810 h 35894"/>
                <a:gd name="connsiteX6" fmla="*/ 88736 w 90998"/>
                <a:gd name="connsiteY6" fmla="*/ 32877 h 35894"/>
                <a:gd name="connsiteX7" fmla="*/ 85719 w 90998"/>
                <a:gd name="connsiteY7" fmla="*/ 35894 h 3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5894">
                  <a:moveTo>
                    <a:pt x="85719" y="35894"/>
                  </a:moveTo>
                  <a:cubicBezTo>
                    <a:pt x="82702" y="35894"/>
                    <a:pt x="82702" y="35894"/>
                    <a:pt x="79685" y="32877"/>
                  </a:cubicBezTo>
                  <a:cubicBezTo>
                    <a:pt x="79685" y="32877"/>
                    <a:pt x="49518" y="2710"/>
                    <a:pt x="13317" y="26844"/>
                  </a:cubicBezTo>
                  <a:cubicBezTo>
                    <a:pt x="10300" y="29861"/>
                    <a:pt x="4266" y="26844"/>
                    <a:pt x="1250" y="23827"/>
                  </a:cubicBezTo>
                  <a:cubicBezTo>
                    <a:pt x="-1767" y="20810"/>
                    <a:pt x="1250" y="14777"/>
                    <a:pt x="4266" y="11760"/>
                  </a:cubicBezTo>
                  <a:cubicBezTo>
                    <a:pt x="40468" y="-12374"/>
                    <a:pt x="76669" y="5727"/>
                    <a:pt x="88736" y="20810"/>
                  </a:cubicBezTo>
                  <a:cubicBezTo>
                    <a:pt x="91752" y="23827"/>
                    <a:pt x="91752" y="29861"/>
                    <a:pt x="88736" y="32877"/>
                  </a:cubicBezTo>
                  <a:cubicBezTo>
                    <a:pt x="88736" y="32877"/>
                    <a:pt x="85719" y="35894"/>
                    <a:pt x="85719" y="35894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7BC78588-81E6-4B96-A70E-FF2B95C9D3A0}"/>
                </a:ext>
              </a:extLst>
            </p:cNvPr>
            <p:cNvSpPr/>
            <p:nvPr/>
          </p:nvSpPr>
          <p:spPr>
            <a:xfrm>
              <a:off x="7531342" y="2258887"/>
              <a:ext cx="271933" cy="273629"/>
            </a:xfrm>
            <a:custGeom>
              <a:avLst/>
              <a:gdLst>
                <a:gd name="connsiteX0" fmla="*/ 268834 w 271933"/>
                <a:gd name="connsiteY0" fmla="*/ 2121 h 273629"/>
                <a:gd name="connsiteX1" fmla="*/ 235649 w 271933"/>
                <a:gd name="connsiteY1" fmla="*/ 146925 h 273629"/>
                <a:gd name="connsiteX2" fmla="*/ 342 w 271933"/>
                <a:gd name="connsiteY2" fmla="*/ 273629 h 273629"/>
                <a:gd name="connsiteX3" fmla="*/ 268834 w 271933"/>
                <a:gd name="connsiteY3" fmla="*/ 2121 h 273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933" h="273629">
                  <a:moveTo>
                    <a:pt x="268834" y="2121"/>
                  </a:moveTo>
                  <a:cubicBezTo>
                    <a:pt x="268834" y="2121"/>
                    <a:pt x="286934" y="107707"/>
                    <a:pt x="235649" y="146925"/>
                  </a:cubicBezTo>
                  <a:cubicBezTo>
                    <a:pt x="235649" y="146925"/>
                    <a:pt x="27493" y="189160"/>
                    <a:pt x="342" y="273629"/>
                  </a:cubicBezTo>
                  <a:cubicBezTo>
                    <a:pt x="342" y="273629"/>
                    <a:pt x="-20775" y="-28047"/>
                    <a:pt x="268834" y="2121"/>
                  </a:cubicBezTo>
                  <a:close/>
                </a:path>
              </a:pathLst>
            </a:custGeom>
            <a:solidFill>
              <a:srgbClr val="664241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DEDE9E8B-6CCB-43EF-ABAB-0697FAF222F5}"/>
                </a:ext>
              </a:extLst>
            </p:cNvPr>
            <p:cNvSpPr/>
            <p:nvPr/>
          </p:nvSpPr>
          <p:spPr>
            <a:xfrm>
              <a:off x="7766991" y="2261008"/>
              <a:ext cx="294002" cy="347382"/>
            </a:xfrm>
            <a:custGeom>
              <a:avLst/>
              <a:gdLst>
                <a:gd name="connsiteX0" fmla="*/ 0 w 294002"/>
                <a:gd name="connsiteY0" fmla="*/ 144805 h 347382"/>
                <a:gd name="connsiteX1" fmla="*/ 138771 w 294002"/>
                <a:gd name="connsiteY1" fmla="*/ 199106 h 347382"/>
                <a:gd name="connsiteX2" fmla="*/ 196089 w 294002"/>
                <a:gd name="connsiteY2" fmla="*/ 316760 h 347382"/>
                <a:gd name="connsiteX3" fmla="*/ 283575 w 294002"/>
                <a:gd name="connsiteY3" fmla="*/ 337877 h 347382"/>
                <a:gd name="connsiteX4" fmla="*/ 30168 w 294002"/>
                <a:gd name="connsiteY4" fmla="*/ 0 h 347382"/>
                <a:gd name="connsiteX5" fmla="*/ 0 w 294002"/>
                <a:gd name="connsiteY5" fmla="*/ 144805 h 347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002" h="347382">
                  <a:moveTo>
                    <a:pt x="0" y="144805"/>
                  </a:moveTo>
                  <a:cubicBezTo>
                    <a:pt x="0" y="144805"/>
                    <a:pt x="90503" y="193073"/>
                    <a:pt x="138771" y="199106"/>
                  </a:cubicBezTo>
                  <a:cubicBezTo>
                    <a:pt x="190056" y="205140"/>
                    <a:pt x="196089" y="316760"/>
                    <a:pt x="196089" y="316760"/>
                  </a:cubicBezTo>
                  <a:cubicBezTo>
                    <a:pt x="196089" y="316760"/>
                    <a:pt x="268491" y="368045"/>
                    <a:pt x="283575" y="337877"/>
                  </a:cubicBezTo>
                  <a:cubicBezTo>
                    <a:pt x="316760" y="271508"/>
                    <a:pt x="280559" y="0"/>
                    <a:pt x="30168" y="0"/>
                  </a:cubicBezTo>
                  <a:cubicBezTo>
                    <a:pt x="33185" y="0"/>
                    <a:pt x="24134" y="138771"/>
                    <a:pt x="0" y="144805"/>
                  </a:cubicBezTo>
                  <a:close/>
                </a:path>
              </a:pathLst>
            </a:custGeom>
            <a:solidFill>
              <a:srgbClr val="664241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F013FA83-B7EF-4E1E-940B-3638139FF574}"/>
                </a:ext>
              </a:extLst>
            </p:cNvPr>
            <p:cNvSpPr/>
            <p:nvPr/>
          </p:nvSpPr>
          <p:spPr>
            <a:xfrm>
              <a:off x="7647075" y="2799758"/>
              <a:ext cx="220718" cy="79685"/>
            </a:xfrm>
            <a:custGeom>
              <a:avLst/>
              <a:gdLst>
                <a:gd name="connsiteX0" fmla="*/ 71648 w 220718"/>
                <a:gd name="connsiteY0" fmla="*/ 79685 h 79685"/>
                <a:gd name="connsiteX1" fmla="*/ 2263 w 220718"/>
                <a:gd name="connsiteY1" fmla="*/ 52535 h 79685"/>
                <a:gd name="connsiteX2" fmla="*/ 2263 w 220718"/>
                <a:gd name="connsiteY2" fmla="*/ 43484 h 79685"/>
                <a:gd name="connsiteX3" fmla="*/ 11313 w 220718"/>
                <a:gd name="connsiteY3" fmla="*/ 43484 h 79685"/>
                <a:gd name="connsiteX4" fmla="*/ 80698 w 220718"/>
                <a:gd name="connsiteY4" fmla="*/ 67618 h 79685"/>
                <a:gd name="connsiteX5" fmla="*/ 210419 w 220718"/>
                <a:gd name="connsiteY5" fmla="*/ 1250 h 79685"/>
                <a:gd name="connsiteX6" fmla="*/ 219469 w 220718"/>
                <a:gd name="connsiteY6" fmla="*/ 4266 h 79685"/>
                <a:gd name="connsiteX7" fmla="*/ 216452 w 220718"/>
                <a:gd name="connsiteY7" fmla="*/ 13317 h 79685"/>
                <a:gd name="connsiteX8" fmla="*/ 80698 w 220718"/>
                <a:gd name="connsiteY8" fmla="*/ 79685 h 79685"/>
                <a:gd name="connsiteX9" fmla="*/ 71648 w 220718"/>
                <a:gd name="connsiteY9" fmla="*/ 79685 h 79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718" h="79685">
                  <a:moveTo>
                    <a:pt x="71648" y="79685"/>
                  </a:moveTo>
                  <a:cubicBezTo>
                    <a:pt x="32430" y="79685"/>
                    <a:pt x="5279" y="52535"/>
                    <a:pt x="2263" y="52535"/>
                  </a:cubicBezTo>
                  <a:cubicBezTo>
                    <a:pt x="-754" y="49518"/>
                    <a:pt x="-754" y="46501"/>
                    <a:pt x="2263" y="43484"/>
                  </a:cubicBezTo>
                  <a:cubicBezTo>
                    <a:pt x="5279" y="40467"/>
                    <a:pt x="8296" y="40467"/>
                    <a:pt x="11313" y="43484"/>
                  </a:cubicBezTo>
                  <a:cubicBezTo>
                    <a:pt x="11313" y="43484"/>
                    <a:pt x="44497" y="70635"/>
                    <a:pt x="80698" y="67618"/>
                  </a:cubicBezTo>
                  <a:cubicBezTo>
                    <a:pt x="119916" y="61585"/>
                    <a:pt x="210419" y="1250"/>
                    <a:pt x="210419" y="1250"/>
                  </a:cubicBezTo>
                  <a:cubicBezTo>
                    <a:pt x="213436" y="-1767"/>
                    <a:pt x="216452" y="1250"/>
                    <a:pt x="219469" y="4266"/>
                  </a:cubicBezTo>
                  <a:cubicBezTo>
                    <a:pt x="222486" y="7283"/>
                    <a:pt x="219469" y="10300"/>
                    <a:pt x="216452" y="13317"/>
                  </a:cubicBezTo>
                  <a:cubicBezTo>
                    <a:pt x="213436" y="16333"/>
                    <a:pt x="122933" y="76669"/>
                    <a:pt x="80698" y="79685"/>
                  </a:cubicBezTo>
                  <a:cubicBezTo>
                    <a:pt x="80698" y="76669"/>
                    <a:pt x="74665" y="79685"/>
                    <a:pt x="71648" y="79685"/>
                  </a:cubicBezTo>
                  <a:close/>
                </a:path>
              </a:pathLst>
            </a:custGeom>
            <a:solidFill>
              <a:srgbClr val="E58777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2C502F41-1193-4FAD-9B77-D774439C5E18}"/>
                </a:ext>
              </a:extLst>
            </p:cNvPr>
            <p:cNvSpPr/>
            <p:nvPr/>
          </p:nvSpPr>
          <p:spPr>
            <a:xfrm>
              <a:off x="7926879" y="2564231"/>
              <a:ext cx="76767" cy="112851"/>
            </a:xfrm>
            <a:custGeom>
              <a:avLst/>
              <a:gdLst>
                <a:gd name="connsiteX0" fmla="*/ 12067 w 76767"/>
                <a:gd name="connsiteY0" fmla="*/ 16553 h 112851"/>
                <a:gd name="connsiteX1" fmla="*/ 69386 w 76767"/>
                <a:gd name="connsiteY1" fmla="*/ 7503 h 112851"/>
                <a:gd name="connsiteX2" fmla="*/ 12067 w 76767"/>
                <a:gd name="connsiteY2" fmla="*/ 110072 h 112851"/>
                <a:gd name="connsiteX3" fmla="*/ 12067 w 76767"/>
                <a:gd name="connsiteY3" fmla="*/ 16553 h 112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767" h="112851">
                  <a:moveTo>
                    <a:pt x="12067" y="16553"/>
                  </a:moveTo>
                  <a:cubicBezTo>
                    <a:pt x="12067" y="16553"/>
                    <a:pt x="45252" y="-13615"/>
                    <a:pt x="69386" y="7503"/>
                  </a:cubicBezTo>
                  <a:cubicBezTo>
                    <a:pt x="93519" y="25603"/>
                    <a:pt x="54302" y="131190"/>
                    <a:pt x="12067" y="110072"/>
                  </a:cubicBezTo>
                  <a:cubicBezTo>
                    <a:pt x="-15084" y="88955"/>
                    <a:pt x="12067" y="16553"/>
                    <a:pt x="12067" y="16553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9858AC5A-E3DC-49FF-94E5-12E8E1AD9AF1}"/>
                </a:ext>
              </a:extLst>
            </p:cNvPr>
            <p:cNvSpPr/>
            <p:nvPr/>
          </p:nvSpPr>
          <p:spPr>
            <a:xfrm>
              <a:off x="7498500" y="2442013"/>
              <a:ext cx="144804" cy="162905"/>
            </a:xfrm>
            <a:custGeom>
              <a:avLst/>
              <a:gdLst>
                <a:gd name="connsiteX0" fmla="*/ 6033 w 144804"/>
                <a:gd name="connsiteY0" fmla="*/ 162905 h 162905"/>
                <a:gd name="connsiteX1" fmla="*/ 6033 w 144804"/>
                <a:gd name="connsiteY1" fmla="*/ 162905 h 162905"/>
                <a:gd name="connsiteX2" fmla="*/ 0 w 144804"/>
                <a:gd name="connsiteY2" fmla="*/ 156872 h 162905"/>
                <a:gd name="connsiteX3" fmla="*/ 138771 w 144804"/>
                <a:gd name="connsiteY3" fmla="*/ 0 h 162905"/>
                <a:gd name="connsiteX4" fmla="*/ 144804 w 144804"/>
                <a:gd name="connsiteY4" fmla="*/ 3017 h 162905"/>
                <a:gd name="connsiteX5" fmla="*/ 141788 w 144804"/>
                <a:gd name="connsiteY5" fmla="*/ 9050 h 162905"/>
                <a:gd name="connsiteX6" fmla="*/ 12067 w 144804"/>
                <a:gd name="connsiteY6" fmla="*/ 156872 h 162905"/>
                <a:gd name="connsiteX7" fmla="*/ 6033 w 144804"/>
                <a:gd name="connsiteY7" fmla="*/ 162905 h 162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804" h="162905">
                  <a:moveTo>
                    <a:pt x="6033" y="162905"/>
                  </a:moveTo>
                  <a:cubicBezTo>
                    <a:pt x="6033" y="162905"/>
                    <a:pt x="6033" y="162905"/>
                    <a:pt x="6033" y="162905"/>
                  </a:cubicBezTo>
                  <a:cubicBezTo>
                    <a:pt x="3016" y="162905"/>
                    <a:pt x="0" y="159888"/>
                    <a:pt x="0" y="156872"/>
                  </a:cubicBezTo>
                  <a:cubicBezTo>
                    <a:pt x="24134" y="30168"/>
                    <a:pt x="138771" y="0"/>
                    <a:pt x="138771" y="0"/>
                  </a:cubicBezTo>
                  <a:cubicBezTo>
                    <a:pt x="141788" y="0"/>
                    <a:pt x="144804" y="0"/>
                    <a:pt x="144804" y="3017"/>
                  </a:cubicBezTo>
                  <a:cubicBezTo>
                    <a:pt x="144804" y="6034"/>
                    <a:pt x="144804" y="9050"/>
                    <a:pt x="141788" y="9050"/>
                  </a:cubicBezTo>
                  <a:cubicBezTo>
                    <a:pt x="141788" y="9050"/>
                    <a:pt x="36201" y="39218"/>
                    <a:pt x="12067" y="156872"/>
                  </a:cubicBezTo>
                  <a:cubicBezTo>
                    <a:pt x="9050" y="162905"/>
                    <a:pt x="9050" y="162905"/>
                    <a:pt x="6033" y="162905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3F87098F-1294-491C-9BE7-FB0571FFFBB3}"/>
                </a:ext>
              </a:extLst>
            </p:cNvPr>
            <p:cNvSpPr/>
            <p:nvPr/>
          </p:nvSpPr>
          <p:spPr>
            <a:xfrm>
              <a:off x="7757941" y="2257991"/>
              <a:ext cx="298659" cy="491731"/>
            </a:xfrm>
            <a:custGeom>
              <a:avLst/>
              <a:gdLst>
                <a:gd name="connsiteX0" fmla="*/ 126704 w 298659"/>
                <a:gd name="connsiteY0" fmla="*/ 491732 h 491731"/>
                <a:gd name="connsiteX1" fmla="*/ 120670 w 298659"/>
                <a:gd name="connsiteY1" fmla="*/ 488715 h 491731"/>
                <a:gd name="connsiteX2" fmla="*/ 123687 w 298659"/>
                <a:gd name="connsiteY2" fmla="*/ 371061 h 491731"/>
                <a:gd name="connsiteX3" fmla="*/ 129721 w 298659"/>
                <a:gd name="connsiteY3" fmla="*/ 277542 h 491731"/>
                <a:gd name="connsiteX4" fmla="*/ 51285 w 298659"/>
                <a:gd name="connsiteY4" fmla="*/ 177989 h 491731"/>
                <a:gd name="connsiteX5" fmla="*/ 6033 w 298659"/>
                <a:gd name="connsiteY5" fmla="*/ 153855 h 491731"/>
                <a:gd name="connsiteX6" fmla="*/ 0 w 298659"/>
                <a:gd name="connsiteY6" fmla="*/ 150838 h 491731"/>
                <a:gd name="connsiteX7" fmla="*/ 3017 w 298659"/>
                <a:gd name="connsiteY7" fmla="*/ 144804 h 491731"/>
                <a:gd name="connsiteX8" fmla="*/ 21117 w 298659"/>
                <a:gd name="connsiteY8" fmla="*/ 120670 h 491731"/>
                <a:gd name="connsiteX9" fmla="*/ 30168 w 298659"/>
                <a:gd name="connsiteY9" fmla="*/ 81452 h 491731"/>
                <a:gd name="connsiteX10" fmla="*/ 30168 w 298659"/>
                <a:gd name="connsiteY10" fmla="*/ 57318 h 491731"/>
                <a:gd name="connsiteX11" fmla="*/ 33185 w 298659"/>
                <a:gd name="connsiteY11" fmla="*/ 3017 h 491731"/>
                <a:gd name="connsiteX12" fmla="*/ 39218 w 298659"/>
                <a:gd name="connsiteY12" fmla="*/ 0 h 491731"/>
                <a:gd name="connsiteX13" fmla="*/ 298660 w 298659"/>
                <a:gd name="connsiteY13" fmla="*/ 211173 h 491731"/>
                <a:gd name="connsiteX14" fmla="*/ 295643 w 298659"/>
                <a:gd name="connsiteY14" fmla="*/ 217207 h 491731"/>
                <a:gd name="connsiteX15" fmla="*/ 289609 w 298659"/>
                <a:gd name="connsiteY15" fmla="*/ 214190 h 491731"/>
                <a:gd name="connsiteX16" fmla="*/ 39218 w 298659"/>
                <a:gd name="connsiteY16" fmla="*/ 12067 h 491731"/>
                <a:gd name="connsiteX17" fmla="*/ 39218 w 298659"/>
                <a:gd name="connsiteY17" fmla="*/ 57318 h 491731"/>
                <a:gd name="connsiteX18" fmla="*/ 39218 w 298659"/>
                <a:gd name="connsiteY18" fmla="*/ 81452 h 491731"/>
                <a:gd name="connsiteX19" fmla="*/ 27151 w 298659"/>
                <a:gd name="connsiteY19" fmla="*/ 123687 h 491731"/>
                <a:gd name="connsiteX20" fmla="*/ 12067 w 298659"/>
                <a:gd name="connsiteY20" fmla="*/ 144804 h 491731"/>
                <a:gd name="connsiteX21" fmla="*/ 51285 w 298659"/>
                <a:gd name="connsiteY21" fmla="*/ 165922 h 491731"/>
                <a:gd name="connsiteX22" fmla="*/ 135754 w 298659"/>
                <a:gd name="connsiteY22" fmla="*/ 274525 h 491731"/>
                <a:gd name="connsiteX23" fmla="*/ 129721 w 298659"/>
                <a:gd name="connsiteY23" fmla="*/ 371061 h 491731"/>
                <a:gd name="connsiteX24" fmla="*/ 126704 w 298659"/>
                <a:gd name="connsiteY24" fmla="*/ 485698 h 491731"/>
                <a:gd name="connsiteX25" fmla="*/ 126704 w 298659"/>
                <a:gd name="connsiteY25" fmla="*/ 491732 h 491731"/>
                <a:gd name="connsiteX26" fmla="*/ 126704 w 298659"/>
                <a:gd name="connsiteY26" fmla="*/ 491732 h 491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98659" h="491731">
                  <a:moveTo>
                    <a:pt x="126704" y="491732"/>
                  </a:moveTo>
                  <a:cubicBezTo>
                    <a:pt x="123687" y="491732"/>
                    <a:pt x="120670" y="488715"/>
                    <a:pt x="120670" y="488715"/>
                  </a:cubicBezTo>
                  <a:cubicBezTo>
                    <a:pt x="108604" y="443464"/>
                    <a:pt x="114637" y="407263"/>
                    <a:pt x="123687" y="371061"/>
                  </a:cubicBezTo>
                  <a:cubicBezTo>
                    <a:pt x="129721" y="340894"/>
                    <a:pt x="135754" y="310726"/>
                    <a:pt x="129721" y="277542"/>
                  </a:cubicBezTo>
                  <a:cubicBezTo>
                    <a:pt x="117654" y="223240"/>
                    <a:pt x="57319" y="181006"/>
                    <a:pt x="51285" y="177989"/>
                  </a:cubicBezTo>
                  <a:cubicBezTo>
                    <a:pt x="24134" y="165922"/>
                    <a:pt x="6033" y="153855"/>
                    <a:pt x="6033" y="153855"/>
                  </a:cubicBezTo>
                  <a:lnTo>
                    <a:pt x="0" y="150838"/>
                  </a:lnTo>
                  <a:lnTo>
                    <a:pt x="3017" y="144804"/>
                  </a:lnTo>
                  <a:cubicBezTo>
                    <a:pt x="9050" y="138771"/>
                    <a:pt x="15084" y="129721"/>
                    <a:pt x="21117" y="120670"/>
                  </a:cubicBezTo>
                  <a:cubicBezTo>
                    <a:pt x="27151" y="108603"/>
                    <a:pt x="30168" y="93520"/>
                    <a:pt x="30168" y="81452"/>
                  </a:cubicBezTo>
                  <a:cubicBezTo>
                    <a:pt x="30168" y="78436"/>
                    <a:pt x="30168" y="69385"/>
                    <a:pt x="30168" y="57318"/>
                  </a:cubicBezTo>
                  <a:cubicBezTo>
                    <a:pt x="27151" y="30168"/>
                    <a:pt x="27151" y="12067"/>
                    <a:pt x="33185" y="3017"/>
                  </a:cubicBezTo>
                  <a:cubicBezTo>
                    <a:pt x="36201" y="0"/>
                    <a:pt x="36201" y="0"/>
                    <a:pt x="39218" y="0"/>
                  </a:cubicBezTo>
                  <a:cubicBezTo>
                    <a:pt x="256425" y="12067"/>
                    <a:pt x="298660" y="211173"/>
                    <a:pt x="298660" y="211173"/>
                  </a:cubicBezTo>
                  <a:cubicBezTo>
                    <a:pt x="298660" y="214190"/>
                    <a:pt x="298660" y="217207"/>
                    <a:pt x="295643" y="217207"/>
                  </a:cubicBezTo>
                  <a:cubicBezTo>
                    <a:pt x="292626" y="217207"/>
                    <a:pt x="289609" y="217207"/>
                    <a:pt x="289609" y="214190"/>
                  </a:cubicBezTo>
                  <a:cubicBezTo>
                    <a:pt x="289609" y="211173"/>
                    <a:pt x="250391" y="21117"/>
                    <a:pt x="39218" y="12067"/>
                  </a:cubicBezTo>
                  <a:cubicBezTo>
                    <a:pt x="36201" y="15084"/>
                    <a:pt x="39218" y="42235"/>
                    <a:pt x="39218" y="57318"/>
                  </a:cubicBezTo>
                  <a:cubicBezTo>
                    <a:pt x="39218" y="69385"/>
                    <a:pt x="42235" y="78436"/>
                    <a:pt x="39218" y="81452"/>
                  </a:cubicBezTo>
                  <a:cubicBezTo>
                    <a:pt x="36201" y="96536"/>
                    <a:pt x="36201" y="111620"/>
                    <a:pt x="27151" y="123687"/>
                  </a:cubicBezTo>
                  <a:cubicBezTo>
                    <a:pt x="24134" y="129721"/>
                    <a:pt x="18101" y="138771"/>
                    <a:pt x="12067" y="144804"/>
                  </a:cubicBezTo>
                  <a:cubicBezTo>
                    <a:pt x="18101" y="147821"/>
                    <a:pt x="33185" y="156871"/>
                    <a:pt x="51285" y="165922"/>
                  </a:cubicBezTo>
                  <a:cubicBezTo>
                    <a:pt x="63352" y="171955"/>
                    <a:pt x="123687" y="214190"/>
                    <a:pt x="135754" y="274525"/>
                  </a:cubicBezTo>
                  <a:cubicBezTo>
                    <a:pt x="141788" y="310726"/>
                    <a:pt x="135754" y="340894"/>
                    <a:pt x="129721" y="371061"/>
                  </a:cubicBezTo>
                  <a:cubicBezTo>
                    <a:pt x="123687" y="407263"/>
                    <a:pt x="114637" y="443464"/>
                    <a:pt x="126704" y="485698"/>
                  </a:cubicBezTo>
                  <a:cubicBezTo>
                    <a:pt x="132738" y="485698"/>
                    <a:pt x="132738" y="488715"/>
                    <a:pt x="126704" y="491732"/>
                  </a:cubicBezTo>
                  <a:cubicBezTo>
                    <a:pt x="129721" y="491732"/>
                    <a:pt x="129721" y="491732"/>
                    <a:pt x="126704" y="491732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8983DE4A-3F28-4CA6-BFB0-90F531A2B3BA}"/>
                </a:ext>
              </a:extLst>
            </p:cNvPr>
            <p:cNvSpPr/>
            <p:nvPr/>
          </p:nvSpPr>
          <p:spPr>
            <a:xfrm>
              <a:off x="7682522" y="2244356"/>
              <a:ext cx="123687" cy="22684"/>
            </a:xfrm>
            <a:custGeom>
              <a:avLst/>
              <a:gdLst>
                <a:gd name="connsiteX0" fmla="*/ 117654 w 123687"/>
                <a:gd name="connsiteY0" fmla="*/ 22685 h 22684"/>
                <a:gd name="connsiteX1" fmla="*/ 117654 w 123687"/>
                <a:gd name="connsiteY1" fmla="*/ 22685 h 22684"/>
                <a:gd name="connsiteX2" fmla="*/ 6033 w 123687"/>
                <a:gd name="connsiteY2" fmla="*/ 19668 h 22684"/>
                <a:gd name="connsiteX3" fmla="*/ 0 w 123687"/>
                <a:gd name="connsiteY3" fmla="*/ 16651 h 22684"/>
                <a:gd name="connsiteX4" fmla="*/ 3017 w 123687"/>
                <a:gd name="connsiteY4" fmla="*/ 10618 h 22684"/>
                <a:gd name="connsiteX5" fmla="*/ 120670 w 123687"/>
                <a:gd name="connsiteY5" fmla="*/ 13635 h 22684"/>
                <a:gd name="connsiteX6" fmla="*/ 123687 w 123687"/>
                <a:gd name="connsiteY6" fmla="*/ 22685 h 22684"/>
                <a:gd name="connsiteX7" fmla="*/ 117654 w 123687"/>
                <a:gd name="connsiteY7" fmla="*/ 22685 h 22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687" h="22684">
                  <a:moveTo>
                    <a:pt x="117654" y="22685"/>
                  </a:moveTo>
                  <a:cubicBezTo>
                    <a:pt x="117654" y="22685"/>
                    <a:pt x="117654" y="22685"/>
                    <a:pt x="117654" y="22685"/>
                  </a:cubicBezTo>
                  <a:cubicBezTo>
                    <a:pt x="114637" y="22685"/>
                    <a:pt x="69386" y="-1449"/>
                    <a:pt x="6033" y="19668"/>
                  </a:cubicBezTo>
                  <a:cubicBezTo>
                    <a:pt x="3017" y="19668"/>
                    <a:pt x="0" y="19668"/>
                    <a:pt x="0" y="16651"/>
                  </a:cubicBezTo>
                  <a:cubicBezTo>
                    <a:pt x="0" y="13635"/>
                    <a:pt x="0" y="10618"/>
                    <a:pt x="3017" y="10618"/>
                  </a:cubicBezTo>
                  <a:cubicBezTo>
                    <a:pt x="72403" y="-13516"/>
                    <a:pt x="117654" y="10618"/>
                    <a:pt x="120670" y="13635"/>
                  </a:cubicBezTo>
                  <a:cubicBezTo>
                    <a:pt x="123687" y="16651"/>
                    <a:pt x="123687" y="19668"/>
                    <a:pt x="123687" y="22685"/>
                  </a:cubicBezTo>
                  <a:cubicBezTo>
                    <a:pt x="120670" y="22685"/>
                    <a:pt x="120670" y="22685"/>
                    <a:pt x="117654" y="22685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2FFFFF3C-1A53-489D-9D9C-F0D002218194}"/>
                </a:ext>
              </a:extLst>
            </p:cNvPr>
            <p:cNvSpPr/>
            <p:nvPr/>
          </p:nvSpPr>
          <p:spPr>
            <a:xfrm>
              <a:off x="7646321" y="2746706"/>
              <a:ext cx="115977" cy="33184"/>
            </a:xfrm>
            <a:custGeom>
              <a:avLst/>
              <a:gdLst>
                <a:gd name="connsiteX0" fmla="*/ 66369 w 115977"/>
                <a:gd name="connsiteY0" fmla="*/ 33184 h 33184"/>
                <a:gd name="connsiteX1" fmla="*/ 3017 w 115977"/>
                <a:gd name="connsiteY1" fmla="*/ 12067 h 33184"/>
                <a:gd name="connsiteX2" fmla="*/ 0 w 115977"/>
                <a:gd name="connsiteY2" fmla="*/ 3017 h 33184"/>
                <a:gd name="connsiteX3" fmla="*/ 9050 w 115977"/>
                <a:gd name="connsiteY3" fmla="*/ 0 h 33184"/>
                <a:gd name="connsiteX4" fmla="*/ 105587 w 115977"/>
                <a:gd name="connsiteY4" fmla="*/ 6033 h 33184"/>
                <a:gd name="connsiteX5" fmla="*/ 114637 w 115977"/>
                <a:gd name="connsiteY5" fmla="*/ 6033 h 33184"/>
                <a:gd name="connsiteX6" fmla="*/ 114637 w 115977"/>
                <a:gd name="connsiteY6" fmla="*/ 15084 h 33184"/>
                <a:gd name="connsiteX7" fmla="*/ 66369 w 115977"/>
                <a:gd name="connsiteY7" fmla="*/ 33184 h 33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977" h="33184">
                  <a:moveTo>
                    <a:pt x="66369" y="33184"/>
                  </a:moveTo>
                  <a:cubicBezTo>
                    <a:pt x="48268" y="33184"/>
                    <a:pt x="27151" y="27151"/>
                    <a:pt x="3017" y="12067"/>
                  </a:cubicBezTo>
                  <a:cubicBezTo>
                    <a:pt x="0" y="9050"/>
                    <a:pt x="0" y="6033"/>
                    <a:pt x="0" y="3017"/>
                  </a:cubicBezTo>
                  <a:cubicBezTo>
                    <a:pt x="3017" y="0"/>
                    <a:pt x="6033" y="0"/>
                    <a:pt x="9050" y="0"/>
                  </a:cubicBezTo>
                  <a:cubicBezTo>
                    <a:pt x="66369" y="36201"/>
                    <a:pt x="105587" y="9050"/>
                    <a:pt x="105587" y="6033"/>
                  </a:cubicBezTo>
                  <a:cubicBezTo>
                    <a:pt x="108604" y="3017"/>
                    <a:pt x="111620" y="6033"/>
                    <a:pt x="114637" y="6033"/>
                  </a:cubicBezTo>
                  <a:cubicBezTo>
                    <a:pt x="117653" y="9050"/>
                    <a:pt x="114637" y="12067"/>
                    <a:pt x="114637" y="15084"/>
                  </a:cubicBezTo>
                  <a:cubicBezTo>
                    <a:pt x="111620" y="21117"/>
                    <a:pt x="96536" y="33184"/>
                    <a:pt x="66369" y="33184"/>
                  </a:cubicBezTo>
                  <a:close/>
                </a:path>
              </a:pathLst>
            </a:custGeom>
            <a:solidFill>
              <a:srgbClr val="E58777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294460276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D664B925-7AA4-4567-AC4B-1911B58D1DC8}"/>
              </a:ext>
            </a:extLst>
          </p:cNvPr>
          <p:cNvGrpSpPr/>
          <p:nvPr/>
        </p:nvGrpSpPr>
        <p:grpSpPr>
          <a:xfrm>
            <a:off x="6024563" y="3772019"/>
            <a:ext cx="4096759" cy="2947922"/>
            <a:chOff x="14292242" y="3772019"/>
            <a:chExt cx="4096759" cy="2947922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9EF564B7-52B6-438C-8DF7-F49672BD8B0B}"/>
                </a:ext>
              </a:extLst>
            </p:cNvPr>
            <p:cNvSpPr/>
            <p:nvPr/>
          </p:nvSpPr>
          <p:spPr>
            <a:xfrm>
              <a:off x="14292242" y="6291399"/>
              <a:ext cx="4096759" cy="362011"/>
            </a:xfrm>
            <a:custGeom>
              <a:avLst/>
              <a:gdLst>
                <a:gd name="connsiteX0" fmla="*/ 0 w 4096759"/>
                <a:gd name="connsiteY0" fmla="*/ 343911 h 362011"/>
                <a:gd name="connsiteX1" fmla="*/ 4096760 w 4096759"/>
                <a:gd name="connsiteY1" fmla="*/ 362011 h 362011"/>
                <a:gd name="connsiteX2" fmla="*/ 3442124 w 4096759"/>
                <a:gd name="connsiteY2" fmla="*/ 15084 h 362011"/>
                <a:gd name="connsiteX3" fmla="*/ 651620 w 4096759"/>
                <a:gd name="connsiteY3" fmla="*/ 0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6759" h="362011">
                  <a:moveTo>
                    <a:pt x="0" y="343911"/>
                  </a:moveTo>
                  <a:lnTo>
                    <a:pt x="4096760" y="362011"/>
                  </a:lnTo>
                  <a:lnTo>
                    <a:pt x="3442124" y="15084"/>
                  </a:lnTo>
                  <a:lnTo>
                    <a:pt x="651620" y="0"/>
                  </a:ln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8C96CE40-273B-4535-B593-145F37B0B027}"/>
                </a:ext>
              </a:extLst>
            </p:cNvPr>
            <p:cNvSpPr/>
            <p:nvPr/>
          </p:nvSpPr>
          <p:spPr>
            <a:xfrm>
              <a:off x="16488444" y="4556762"/>
              <a:ext cx="244364" cy="362011"/>
            </a:xfrm>
            <a:custGeom>
              <a:avLst/>
              <a:gdLst>
                <a:gd name="connsiteX0" fmla="*/ 244358 w 244364"/>
                <a:gd name="connsiteY0" fmla="*/ 0 h 362011"/>
                <a:gd name="connsiteX1" fmla="*/ 123687 w 244364"/>
                <a:gd name="connsiteY1" fmla="*/ 355978 h 362011"/>
                <a:gd name="connsiteX2" fmla="*/ 45251 w 244364"/>
                <a:gd name="connsiteY2" fmla="*/ 362011 h 362011"/>
                <a:gd name="connsiteX3" fmla="*/ 0 w 244364"/>
                <a:gd name="connsiteY3" fmla="*/ 247374 h 362011"/>
                <a:gd name="connsiteX4" fmla="*/ 90503 w 244364"/>
                <a:gd name="connsiteY4" fmla="*/ 111620 h 362011"/>
                <a:gd name="connsiteX5" fmla="*/ 244358 w 244364"/>
                <a:gd name="connsiteY5" fmla="*/ 0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4364" h="362011">
                  <a:moveTo>
                    <a:pt x="244358" y="0"/>
                  </a:moveTo>
                  <a:cubicBezTo>
                    <a:pt x="244358" y="0"/>
                    <a:pt x="247374" y="181006"/>
                    <a:pt x="123687" y="355978"/>
                  </a:cubicBezTo>
                  <a:lnTo>
                    <a:pt x="45251" y="362011"/>
                  </a:lnTo>
                  <a:lnTo>
                    <a:pt x="0" y="247374"/>
                  </a:lnTo>
                  <a:lnTo>
                    <a:pt x="90503" y="111620"/>
                  </a:lnTo>
                  <a:lnTo>
                    <a:pt x="244358" y="0"/>
                  </a:ln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B2903784-BC2B-42B9-8B20-E278BE205CA5}"/>
                </a:ext>
              </a:extLst>
            </p:cNvPr>
            <p:cNvSpPr/>
            <p:nvPr/>
          </p:nvSpPr>
          <p:spPr>
            <a:xfrm>
              <a:off x="15975098" y="5817767"/>
              <a:ext cx="913496" cy="654636"/>
            </a:xfrm>
            <a:custGeom>
              <a:avLst/>
              <a:gdLst>
                <a:gd name="connsiteX0" fmla="*/ 778820 w 913496"/>
                <a:gd name="connsiteY0" fmla="*/ 0 h 654636"/>
                <a:gd name="connsiteX1" fmla="*/ 118150 w 913496"/>
                <a:gd name="connsiteY1" fmla="*/ 0 h 654636"/>
                <a:gd name="connsiteX2" fmla="*/ 497 w 913496"/>
                <a:gd name="connsiteY2" fmla="*/ 455531 h 654636"/>
                <a:gd name="connsiteX3" fmla="*/ 465077 w 913496"/>
                <a:gd name="connsiteY3" fmla="*/ 654637 h 654636"/>
                <a:gd name="connsiteX4" fmla="*/ 911558 w 913496"/>
                <a:gd name="connsiteY4" fmla="*/ 380112 h 654636"/>
                <a:gd name="connsiteX5" fmla="*/ 778820 w 913496"/>
                <a:gd name="connsiteY5" fmla="*/ 0 h 654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3496" h="654636">
                  <a:moveTo>
                    <a:pt x="778820" y="0"/>
                  </a:moveTo>
                  <a:lnTo>
                    <a:pt x="118150" y="0"/>
                  </a:lnTo>
                  <a:cubicBezTo>
                    <a:pt x="118150" y="0"/>
                    <a:pt x="21613" y="301676"/>
                    <a:pt x="497" y="455531"/>
                  </a:cubicBezTo>
                  <a:cubicBezTo>
                    <a:pt x="-17604" y="606369"/>
                    <a:pt x="465077" y="654637"/>
                    <a:pt x="465077" y="654637"/>
                  </a:cubicBezTo>
                  <a:cubicBezTo>
                    <a:pt x="465077" y="654637"/>
                    <a:pt x="947759" y="518883"/>
                    <a:pt x="911558" y="380112"/>
                  </a:cubicBezTo>
                  <a:cubicBezTo>
                    <a:pt x="881390" y="262458"/>
                    <a:pt x="778820" y="0"/>
                    <a:pt x="778820" y="0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DF890B35-CFA7-4E78-877F-C3879251AA86}"/>
                </a:ext>
              </a:extLst>
            </p:cNvPr>
            <p:cNvSpPr/>
            <p:nvPr/>
          </p:nvSpPr>
          <p:spPr>
            <a:xfrm>
              <a:off x="16308549" y="5977477"/>
              <a:ext cx="1210609" cy="552246"/>
            </a:xfrm>
            <a:custGeom>
              <a:avLst/>
              <a:gdLst>
                <a:gd name="connsiteX0" fmla="*/ 243247 w 1210609"/>
                <a:gd name="connsiteY0" fmla="*/ 552246 h 552246"/>
                <a:gd name="connsiteX1" fmla="*/ 1072856 w 1210609"/>
                <a:gd name="connsiteY1" fmla="*/ 395375 h 552246"/>
                <a:gd name="connsiteX2" fmla="*/ 1202576 w 1210609"/>
                <a:gd name="connsiteY2" fmla="*/ 144983 h 552246"/>
                <a:gd name="connsiteX3" fmla="*/ 1202576 w 1210609"/>
                <a:gd name="connsiteY3" fmla="*/ 144983 h 552246"/>
                <a:gd name="connsiteX4" fmla="*/ 970285 w 1210609"/>
                <a:gd name="connsiteY4" fmla="*/ 3196 h 552246"/>
                <a:gd name="connsiteX5" fmla="*/ 26040 w 1210609"/>
                <a:gd name="connsiteY5" fmla="*/ 178168 h 552246"/>
                <a:gd name="connsiteX6" fmla="*/ 243247 w 1210609"/>
                <a:gd name="connsiteY6" fmla="*/ 552246 h 552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0609" h="552246">
                  <a:moveTo>
                    <a:pt x="243247" y="552246"/>
                  </a:moveTo>
                  <a:lnTo>
                    <a:pt x="1072856" y="395375"/>
                  </a:lnTo>
                  <a:cubicBezTo>
                    <a:pt x="1175426" y="359173"/>
                    <a:pt x="1232744" y="250570"/>
                    <a:pt x="1202576" y="144983"/>
                  </a:cubicBezTo>
                  <a:lnTo>
                    <a:pt x="1202576" y="144983"/>
                  </a:lnTo>
                  <a:cubicBezTo>
                    <a:pt x="1172409" y="45430"/>
                    <a:pt x="1072856" y="-14905"/>
                    <a:pt x="970285" y="3196"/>
                  </a:cubicBezTo>
                  <a:cubicBezTo>
                    <a:pt x="665593" y="60514"/>
                    <a:pt x="68274" y="172134"/>
                    <a:pt x="26040" y="178168"/>
                  </a:cubicBezTo>
                  <a:cubicBezTo>
                    <a:pt x="-94630" y="193251"/>
                    <a:pt x="243247" y="552246"/>
                    <a:pt x="243247" y="552246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6168FC9-1B6D-4746-873F-4AD22F340B3A}"/>
                </a:ext>
              </a:extLst>
            </p:cNvPr>
            <p:cNvSpPr/>
            <p:nvPr/>
          </p:nvSpPr>
          <p:spPr>
            <a:xfrm>
              <a:off x="15855635" y="4032412"/>
              <a:ext cx="578506" cy="948080"/>
            </a:xfrm>
            <a:custGeom>
              <a:avLst/>
              <a:gdLst>
                <a:gd name="connsiteX0" fmla="*/ 282864 w 578506"/>
                <a:gd name="connsiteY0" fmla="*/ 874294 h 948080"/>
                <a:gd name="connsiteX1" fmla="*/ 192362 w 578506"/>
                <a:gd name="connsiteY1" fmla="*/ 349378 h 948080"/>
                <a:gd name="connsiteX2" fmla="*/ 578506 w 578506"/>
                <a:gd name="connsiteY2" fmla="*/ 86920 h 948080"/>
                <a:gd name="connsiteX3" fmla="*/ 536272 w 578506"/>
                <a:gd name="connsiteY3" fmla="*/ 2450 h 948080"/>
                <a:gd name="connsiteX4" fmla="*/ 32474 w 578506"/>
                <a:gd name="connsiteY4" fmla="*/ 249825 h 948080"/>
                <a:gd name="connsiteX5" fmla="*/ 26440 w 578506"/>
                <a:gd name="connsiteY5" fmla="*/ 798875 h 948080"/>
                <a:gd name="connsiteX6" fmla="*/ 282864 w 578506"/>
                <a:gd name="connsiteY6" fmla="*/ 874294 h 94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8506" h="948080">
                  <a:moveTo>
                    <a:pt x="282864" y="874294"/>
                  </a:moveTo>
                  <a:cubicBezTo>
                    <a:pt x="267781" y="762674"/>
                    <a:pt x="192362" y="349378"/>
                    <a:pt x="192362" y="349378"/>
                  </a:cubicBezTo>
                  <a:cubicBezTo>
                    <a:pt x="192362" y="349378"/>
                    <a:pt x="578506" y="92953"/>
                    <a:pt x="578506" y="86920"/>
                  </a:cubicBezTo>
                  <a:cubicBezTo>
                    <a:pt x="557390" y="23568"/>
                    <a:pt x="572473" y="-9617"/>
                    <a:pt x="536272" y="2450"/>
                  </a:cubicBezTo>
                  <a:cubicBezTo>
                    <a:pt x="527222" y="5467"/>
                    <a:pt x="207445" y="74853"/>
                    <a:pt x="32474" y="249825"/>
                  </a:cubicBezTo>
                  <a:cubicBezTo>
                    <a:pt x="-15795" y="298093"/>
                    <a:pt x="-3728" y="651054"/>
                    <a:pt x="26440" y="798875"/>
                  </a:cubicBezTo>
                  <a:cubicBezTo>
                    <a:pt x="41524" y="880327"/>
                    <a:pt x="303982" y="1043233"/>
                    <a:pt x="282864" y="874294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24363E8F-A25B-49BD-8585-C762965E7507}"/>
                </a:ext>
              </a:extLst>
            </p:cNvPr>
            <p:cNvSpPr/>
            <p:nvPr/>
          </p:nvSpPr>
          <p:spPr>
            <a:xfrm>
              <a:off x="15848890" y="4703250"/>
              <a:ext cx="369040" cy="454003"/>
            </a:xfrm>
            <a:custGeom>
              <a:avLst/>
              <a:gdLst>
                <a:gd name="connsiteX0" fmla="*/ 0 w 369040"/>
                <a:gd name="connsiteY0" fmla="*/ 115970 h 454003"/>
                <a:gd name="connsiteX1" fmla="*/ 259442 w 369040"/>
                <a:gd name="connsiteY1" fmla="*/ 453847 h 454003"/>
                <a:gd name="connsiteX2" fmla="*/ 343910 w 369040"/>
                <a:gd name="connsiteY2" fmla="*/ 1333 h 454003"/>
                <a:gd name="connsiteX3" fmla="*/ 0 w 369040"/>
                <a:gd name="connsiteY3" fmla="*/ 115970 h 454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040" h="454003">
                  <a:moveTo>
                    <a:pt x="0" y="115970"/>
                  </a:moveTo>
                  <a:cubicBezTo>
                    <a:pt x="48268" y="290942"/>
                    <a:pt x="181006" y="459880"/>
                    <a:pt x="259442" y="453847"/>
                  </a:cubicBezTo>
                  <a:cubicBezTo>
                    <a:pt x="362011" y="447813"/>
                    <a:pt x="398213" y="170271"/>
                    <a:pt x="343910" y="1333"/>
                  </a:cubicBezTo>
                  <a:cubicBezTo>
                    <a:pt x="271508" y="-10734"/>
                    <a:pt x="84470" y="61668"/>
                    <a:pt x="0" y="115970"/>
                  </a:cubicBez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8711225C-AB7C-4DA4-94E5-F88D9ED35A59}"/>
                </a:ext>
              </a:extLst>
            </p:cNvPr>
            <p:cNvSpPr/>
            <p:nvPr/>
          </p:nvSpPr>
          <p:spPr>
            <a:xfrm>
              <a:off x="16000825" y="4941506"/>
              <a:ext cx="811961" cy="1033232"/>
            </a:xfrm>
            <a:custGeom>
              <a:avLst/>
              <a:gdLst>
                <a:gd name="connsiteX0" fmla="*/ 768177 w 811961"/>
                <a:gd name="connsiteY0" fmla="*/ 387546 h 1033232"/>
                <a:gd name="connsiteX1" fmla="*/ 753094 w 811961"/>
                <a:gd name="connsiteY1" fmla="*/ 67770 h 1033232"/>
                <a:gd name="connsiteX2" fmla="*/ 388065 w 811961"/>
                <a:gd name="connsiteY2" fmla="*/ 4418 h 1033232"/>
                <a:gd name="connsiteX3" fmla="*/ 89406 w 811961"/>
                <a:gd name="connsiteY3" fmla="*/ 103971 h 1033232"/>
                <a:gd name="connsiteX4" fmla="*/ 50189 w 811961"/>
                <a:gd name="connsiteY4" fmla="*/ 646988 h 1033232"/>
                <a:gd name="connsiteX5" fmla="*/ 29071 w 811961"/>
                <a:gd name="connsiteY5" fmla="*/ 1030116 h 1033232"/>
                <a:gd name="connsiteX6" fmla="*/ 807396 w 811961"/>
                <a:gd name="connsiteY6" fmla="*/ 1008999 h 1033232"/>
                <a:gd name="connsiteX7" fmla="*/ 768177 w 811961"/>
                <a:gd name="connsiteY7" fmla="*/ 387546 h 1033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1961" h="1033232">
                  <a:moveTo>
                    <a:pt x="768177" y="387546"/>
                  </a:moveTo>
                  <a:cubicBezTo>
                    <a:pt x="777228" y="357379"/>
                    <a:pt x="870747" y="131122"/>
                    <a:pt x="753094" y="67770"/>
                  </a:cubicBezTo>
                  <a:cubicBezTo>
                    <a:pt x="650524" y="13468"/>
                    <a:pt x="505720" y="-10666"/>
                    <a:pt x="388065" y="4418"/>
                  </a:cubicBezTo>
                  <a:cubicBezTo>
                    <a:pt x="258345" y="19502"/>
                    <a:pt x="128625" y="40619"/>
                    <a:pt x="89406" y="103971"/>
                  </a:cubicBezTo>
                  <a:cubicBezTo>
                    <a:pt x="-22213" y="287993"/>
                    <a:pt x="-22213" y="450898"/>
                    <a:pt x="50189" y="646988"/>
                  </a:cubicBezTo>
                  <a:cubicBezTo>
                    <a:pt x="71306" y="704306"/>
                    <a:pt x="44155" y="879278"/>
                    <a:pt x="29071" y="1030116"/>
                  </a:cubicBezTo>
                  <a:cubicBezTo>
                    <a:pt x="29071" y="1030116"/>
                    <a:pt x="418233" y="1045200"/>
                    <a:pt x="807396" y="1008999"/>
                  </a:cubicBezTo>
                  <a:cubicBezTo>
                    <a:pt x="774211" y="791792"/>
                    <a:pt x="759128" y="408663"/>
                    <a:pt x="768177" y="387546"/>
                  </a:cubicBez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D4DE622-D71B-43FD-B36E-F6FFC9F2707A}"/>
                </a:ext>
              </a:extLst>
            </p:cNvPr>
            <p:cNvSpPr/>
            <p:nvPr/>
          </p:nvSpPr>
          <p:spPr>
            <a:xfrm>
              <a:off x="16277271" y="4764918"/>
              <a:ext cx="304692" cy="221954"/>
            </a:xfrm>
            <a:custGeom>
              <a:avLst/>
              <a:gdLst>
                <a:gd name="connsiteX0" fmla="*/ 54301 w 304692"/>
                <a:gd name="connsiteY0" fmla="*/ 60335 h 221954"/>
                <a:gd name="connsiteX1" fmla="*/ 0 w 304692"/>
                <a:gd name="connsiteY1" fmla="*/ 199106 h 221954"/>
                <a:gd name="connsiteX2" fmla="*/ 304693 w 304692"/>
                <a:gd name="connsiteY2" fmla="*/ 184022 h 221954"/>
                <a:gd name="connsiteX3" fmla="*/ 253408 w 304692"/>
                <a:gd name="connsiteY3" fmla="*/ 0 h 221954"/>
                <a:gd name="connsiteX4" fmla="*/ 54301 w 304692"/>
                <a:gd name="connsiteY4" fmla="*/ 60335 h 22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692" h="221954">
                  <a:moveTo>
                    <a:pt x="54301" y="60335"/>
                  </a:moveTo>
                  <a:cubicBezTo>
                    <a:pt x="54301" y="60335"/>
                    <a:pt x="60335" y="168939"/>
                    <a:pt x="0" y="199106"/>
                  </a:cubicBezTo>
                  <a:cubicBezTo>
                    <a:pt x="0" y="199106"/>
                    <a:pt x="177989" y="259441"/>
                    <a:pt x="304693" y="184022"/>
                  </a:cubicBezTo>
                  <a:cubicBezTo>
                    <a:pt x="250391" y="141788"/>
                    <a:pt x="253408" y="60335"/>
                    <a:pt x="253408" y="0"/>
                  </a:cubicBezTo>
                  <a:cubicBezTo>
                    <a:pt x="256425" y="0"/>
                    <a:pt x="108604" y="66369"/>
                    <a:pt x="54301" y="60335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31582906-205D-4DCB-8C44-C834613B5ED0}"/>
                </a:ext>
              </a:extLst>
            </p:cNvPr>
            <p:cNvSpPr/>
            <p:nvPr/>
          </p:nvSpPr>
          <p:spPr>
            <a:xfrm>
              <a:off x="15998910" y="5042460"/>
              <a:ext cx="100371" cy="549050"/>
            </a:xfrm>
            <a:custGeom>
              <a:avLst/>
              <a:gdLst>
                <a:gd name="connsiteX0" fmla="*/ 55120 w 100371"/>
                <a:gd name="connsiteY0" fmla="*/ 549050 h 549050"/>
                <a:gd name="connsiteX1" fmla="*/ 49086 w 100371"/>
                <a:gd name="connsiteY1" fmla="*/ 546034 h 549050"/>
                <a:gd name="connsiteX2" fmla="*/ 34003 w 100371"/>
                <a:gd name="connsiteY2" fmla="*/ 491732 h 549050"/>
                <a:gd name="connsiteX3" fmla="*/ 818 w 100371"/>
                <a:gd name="connsiteY3" fmla="*/ 343911 h 549050"/>
                <a:gd name="connsiteX4" fmla="*/ 88304 w 100371"/>
                <a:gd name="connsiteY4" fmla="*/ 3017 h 549050"/>
                <a:gd name="connsiteX5" fmla="*/ 97355 w 100371"/>
                <a:gd name="connsiteY5" fmla="*/ 0 h 549050"/>
                <a:gd name="connsiteX6" fmla="*/ 100372 w 100371"/>
                <a:gd name="connsiteY6" fmla="*/ 9050 h 549050"/>
                <a:gd name="connsiteX7" fmla="*/ 12885 w 100371"/>
                <a:gd name="connsiteY7" fmla="*/ 343911 h 549050"/>
                <a:gd name="connsiteX8" fmla="*/ 46070 w 100371"/>
                <a:gd name="connsiteY8" fmla="*/ 491732 h 549050"/>
                <a:gd name="connsiteX9" fmla="*/ 61153 w 100371"/>
                <a:gd name="connsiteY9" fmla="*/ 546034 h 549050"/>
                <a:gd name="connsiteX10" fmla="*/ 55120 w 100371"/>
                <a:gd name="connsiteY10" fmla="*/ 549050 h 549050"/>
                <a:gd name="connsiteX11" fmla="*/ 55120 w 100371"/>
                <a:gd name="connsiteY11" fmla="*/ 549050 h 54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371" h="549050">
                  <a:moveTo>
                    <a:pt x="55120" y="549050"/>
                  </a:moveTo>
                  <a:cubicBezTo>
                    <a:pt x="52103" y="549050"/>
                    <a:pt x="49086" y="546034"/>
                    <a:pt x="49086" y="546034"/>
                  </a:cubicBezTo>
                  <a:cubicBezTo>
                    <a:pt x="43053" y="527933"/>
                    <a:pt x="40037" y="509832"/>
                    <a:pt x="34003" y="491732"/>
                  </a:cubicBezTo>
                  <a:cubicBezTo>
                    <a:pt x="18919" y="440447"/>
                    <a:pt x="3835" y="389162"/>
                    <a:pt x="818" y="343911"/>
                  </a:cubicBezTo>
                  <a:cubicBezTo>
                    <a:pt x="-5215" y="220224"/>
                    <a:pt x="21936" y="105587"/>
                    <a:pt x="88304" y="3017"/>
                  </a:cubicBezTo>
                  <a:cubicBezTo>
                    <a:pt x="91321" y="0"/>
                    <a:pt x="94338" y="0"/>
                    <a:pt x="97355" y="0"/>
                  </a:cubicBezTo>
                  <a:cubicBezTo>
                    <a:pt x="100372" y="3017"/>
                    <a:pt x="100372" y="6033"/>
                    <a:pt x="100372" y="9050"/>
                  </a:cubicBezTo>
                  <a:cubicBezTo>
                    <a:pt x="37020" y="111620"/>
                    <a:pt x="6852" y="223240"/>
                    <a:pt x="12885" y="343911"/>
                  </a:cubicBezTo>
                  <a:cubicBezTo>
                    <a:pt x="15902" y="389162"/>
                    <a:pt x="30986" y="440447"/>
                    <a:pt x="46070" y="491732"/>
                  </a:cubicBezTo>
                  <a:cubicBezTo>
                    <a:pt x="52103" y="509832"/>
                    <a:pt x="58136" y="527933"/>
                    <a:pt x="61153" y="546034"/>
                  </a:cubicBezTo>
                  <a:cubicBezTo>
                    <a:pt x="61153" y="546034"/>
                    <a:pt x="58136" y="549050"/>
                    <a:pt x="55120" y="549050"/>
                  </a:cubicBezTo>
                  <a:cubicBezTo>
                    <a:pt x="55120" y="549050"/>
                    <a:pt x="55120" y="549050"/>
                    <a:pt x="55120" y="549050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D6B1AF41-D5E6-4A99-B1BB-E5C2AEAEE47A}"/>
                </a:ext>
              </a:extLst>
            </p:cNvPr>
            <p:cNvSpPr/>
            <p:nvPr/>
          </p:nvSpPr>
          <p:spPr>
            <a:xfrm>
              <a:off x="16117382" y="5477066"/>
              <a:ext cx="396445" cy="36009"/>
            </a:xfrm>
            <a:custGeom>
              <a:avLst/>
              <a:gdLst>
                <a:gd name="connsiteX0" fmla="*/ 6034 w 396445"/>
                <a:gd name="connsiteY0" fmla="*/ 36009 h 36009"/>
                <a:gd name="connsiteX1" fmla="*/ 0 w 396445"/>
                <a:gd name="connsiteY1" fmla="*/ 32992 h 36009"/>
                <a:gd name="connsiteX2" fmla="*/ 3017 w 396445"/>
                <a:gd name="connsiteY2" fmla="*/ 26959 h 36009"/>
                <a:gd name="connsiteX3" fmla="*/ 392179 w 396445"/>
                <a:gd name="connsiteY3" fmla="*/ 14892 h 36009"/>
                <a:gd name="connsiteX4" fmla="*/ 395196 w 396445"/>
                <a:gd name="connsiteY4" fmla="*/ 20925 h 36009"/>
                <a:gd name="connsiteX5" fmla="*/ 389163 w 396445"/>
                <a:gd name="connsiteY5" fmla="*/ 23942 h 36009"/>
                <a:gd name="connsiteX6" fmla="*/ 6034 w 396445"/>
                <a:gd name="connsiteY6" fmla="*/ 36009 h 36009"/>
                <a:gd name="connsiteX7" fmla="*/ 6034 w 396445"/>
                <a:gd name="connsiteY7" fmla="*/ 36009 h 36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6445" h="36009">
                  <a:moveTo>
                    <a:pt x="6034" y="36009"/>
                  </a:moveTo>
                  <a:cubicBezTo>
                    <a:pt x="3017" y="36009"/>
                    <a:pt x="3017" y="36009"/>
                    <a:pt x="0" y="32992"/>
                  </a:cubicBezTo>
                  <a:cubicBezTo>
                    <a:pt x="0" y="29976"/>
                    <a:pt x="0" y="26959"/>
                    <a:pt x="3017" y="26959"/>
                  </a:cubicBezTo>
                  <a:cubicBezTo>
                    <a:pt x="87487" y="-3209"/>
                    <a:pt x="292626" y="-9242"/>
                    <a:pt x="392179" y="14892"/>
                  </a:cubicBezTo>
                  <a:cubicBezTo>
                    <a:pt x="395196" y="14892"/>
                    <a:pt x="398213" y="17909"/>
                    <a:pt x="395196" y="20925"/>
                  </a:cubicBezTo>
                  <a:cubicBezTo>
                    <a:pt x="395196" y="23942"/>
                    <a:pt x="392179" y="26959"/>
                    <a:pt x="389163" y="23942"/>
                  </a:cubicBezTo>
                  <a:cubicBezTo>
                    <a:pt x="295643" y="-192"/>
                    <a:pt x="90503" y="5841"/>
                    <a:pt x="6034" y="36009"/>
                  </a:cubicBezTo>
                  <a:cubicBezTo>
                    <a:pt x="9051" y="36009"/>
                    <a:pt x="9051" y="36009"/>
                    <a:pt x="6034" y="36009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1D1F4BC9-01B9-4C38-B557-57A12E07CB9D}"/>
                </a:ext>
              </a:extLst>
            </p:cNvPr>
            <p:cNvSpPr/>
            <p:nvPr/>
          </p:nvSpPr>
          <p:spPr>
            <a:xfrm>
              <a:off x="16253136" y="4948941"/>
              <a:ext cx="355978" cy="63351"/>
            </a:xfrm>
            <a:custGeom>
              <a:avLst/>
              <a:gdLst>
                <a:gd name="connsiteX0" fmla="*/ 36201 w 355978"/>
                <a:gd name="connsiteY0" fmla="*/ 9050 h 63351"/>
                <a:gd name="connsiteX1" fmla="*/ 331844 w 355978"/>
                <a:gd name="connsiteY1" fmla="*/ 0 h 63351"/>
                <a:gd name="connsiteX2" fmla="*/ 355978 w 355978"/>
                <a:gd name="connsiteY2" fmla="*/ 9050 h 63351"/>
                <a:gd name="connsiteX3" fmla="*/ 168939 w 355978"/>
                <a:gd name="connsiteY3" fmla="*/ 63352 h 63351"/>
                <a:gd name="connsiteX4" fmla="*/ 0 w 355978"/>
                <a:gd name="connsiteY4" fmla="*/ 15084 h 63351"/>
                <a:gd name="connsiteX5" fmla="*/ 36201 w 355978"/>
                <a:gd name="connsiteY5" fmla="*/ 9050 h 63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5978" h="63351">
                  <a:moveTo>
                    <a:pt x="36201" y="9050"/>
                  </a:moveTo>
                  <a:cubicBezTo>
                    <a:pt x="36201" y="9050"/>
                    <a:pt x="147822" y="66369"/>
                    <a:pt x="331844" y="0"/>
                  </a:cubicBezTo>
                  <a:lnTo>
                    <a:pt x="355978" y="9050"/>
                  </a:lnTo>
                  <a:cubicBezTo>
                    <a:pt x="355978" y="9050"/>
                    <a:pt x="277542" y="63352"/>
                    <a:pt x="168939" y="63352"/>
                  </a:cubicBezTo>
                  <a:cubicBezTo>
                    <a:pt x="66369" y="63352"/>
                    <a:pt x="0" y="15084"/>
                    <a:pt x="0" y="15084"/>
                  </a:cubicBezTo>
                  <a:cubicBezTo>
                    <a:pt x="0" y="15084"/>
                    <a:pt x="15084" y="9050"/>
                    <a:pt x="36201" y="9050"/>
                  </a:cubicBez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91F05126-3DC2-4B55-BB98-EE5043CCB6D9}"/>
                </a:ext>
              </a:extLst>
            </p:cNvPr>
            <p:cNvSpPr/>
            <p:nvPr/>
          </p:nvSpPr>
          <p:spPr>
            <a:xfrm>
              <a:off x="16476377" y="4025812"/>
              <a:ext cx="525948" cy="1028759"/>
            </a:xfrm>
            <a:custGeom>
              <a:avLst/>
              <a:gdLst>
                <a:gd name="connsiteX0" fmla="*/ 419329 w 525948"/>
                <a:gd name="connsiteY0" fmla="*/ 962346 h 1028759"/>
                <a:gd name="connsiteX1" fmla="*/ 208156 w 525948"/>
                <a:gd name="connsiteY1" fmla="*/ 838659 h 1028759"/>
                <a:gd name="connsiteX2" fmla="*/ 307709 w 525948"/>
                <a:gd name="connsiteY2" fmla="*/ 404246 h 1028759"/>
                <a:gd name="connsiteX3" fmla="*/ 0 w 525948"/>
                <a:gd name="connsiteY3" fmla="*/ 102570 h 1028759"/>
                <a:gd name="connsiteX4" fmla="*/ 36201 w 525948"/>
                <a:gd name="connsiteY4" fmla="*/ 0 h 1028759"/>
                <a:gd name="connsiteX5" fmla="*/ 509832 w 525948"/>
                <a:gd name="connsiteY5" fmla="*/ 355978 h 1028759"/>
                <a:gd name="connsiteX6" fmla="*/ 419329 w 525948"/>
                <a:gd name="connsiteY6" fmla="*/ 962346 h 1028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5948" h="1028759">
                  <a:moveTo>
                    <a:pt x="419329" y="962346"/>
                  </a:moveTo>
                  <a:cubicBezTo>
                    <a:pt x="328827" y="1119218"/>
                    <a:pt x="177989" y="965363"/>
                    <a:pt x="208156" y="838659"/>
                  </a:cubicBezTo>
                  <a:cubicBezTo>
                    <a:pt x="235307" y="714972"/>
                    <a:pt x="283575" y="479665"/>
                    <a:pt x="307709" y="404246"/>
                  </a:cubicBezTo>
                  <a:cubicBezTo>
                    <a:pt x="280558" y="316760"/>
                    <a:pt x="0" y="102570"/>
                    <a:pt x="0" y="102570"/>
                  </a:cubicBezTo>
                  <a:cubicBezTo>
                    <a:pt x="21117" y="78436"/>
                    <a:pt x="36201" y="0"/>
                    <a:pt x="36201" y="0"/>
                  </a:cubicBezTo>
                  <a:cubicBezTo>
                    <a:pt x="36201" y="0"/>
                    <a:pt x="440446" y="247374"/>
                    <a:pt x="509832" y="355978"/>
                  </a:cubicBezTo>
                  <a:cubicBezTo>
                    <a:pt x="549050" y="407263"/>
                    <a:pt x="515865" y="796424"/>
                    <a:pt x="419329" y="962346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DB378978-B1FE-4395-B60A-7A469E5F4B06}"/>
                </a:ext>
              </a:extLst>
            </p:cNvPr>
            <p:cNvSpPr/>
            <p:nvPr/>
          </p:nvSpPr>
          <p:spPr>
            <a:xfrm>
              <a:off x="16624005" y="4726491"/>
              <a:ext cx="377288" cy="430661"/>
            </a:xfrm>
            <a:custGeom>
              <a:avLst/>
              <a:gdLst>
                <a:gd name="connsiteX0" fmla="*/ 377288 w 377288"/>
                <a:gd name="connsiteY0" fmla="*/ 137980 h 430661"/>
                <a:gd name="connsiteX1" fmla="*/ 102763 w 377288"/>
                <a:gd name="connsiteY1" fmla="*/ 430606 h 430661"/>
                <a:gd name="connsiteX2" fmla="*/ 42428 w 377288"/>
                <a:gd name="connsiteY2" fmla="*/ 2226 h 430661"/>
                <a:gd name="connsiteX3" fmla="*/ 377288 w 377288"/>
                <a:gd name="connsiteY3" fmla="*/ 137980 h 430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7288" h="430661">
                  <a:moveTo>
                    <a:pt x="377288" y="137980"/>
                  </a:moveTo>
                  <a:cubicBezTo>
                    <a:pt x="326003" y="312952"/>
                    <a:pt x="181199" y="433623"/>
                    <a:pt x="102763" y="430606"/>
                  </a:cubicBezTo>
                  <a:cubicBezTo>
                    <a:pt x="193" y="424572"/>
                    <a:pt x="-36008" y="189265"/>
                    <a:pt x="42428" y="2226"/>
                  </a:cubicBezTo>
                  <a:cubicBezTo>
                    <a:pt x="114830" y="-15875"/>
                    <a:pt x="292818" y="80662"/>
                    <a:pt x="377288" y="137980"/>
                  </a:cubicBez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124BB0CF-AC16-4E14-8B4E-1EEE4AB0AF87}"/>
                </a:ext>
              </a:extLst>
            </p:cNvPr>
            <p:cNvSpPr/>
            <p:nvPr/>
          </p:nvSpPr>
          <p:spPr>
            <a:xfrm>
              <a:off x="16622991" y="4722301"/>
              <a:ext cx="182213" cy="431779"/>
            </a:xfrm>
            <a:custGeom>
              <a:avLst/>
              <a:gdLst>
                <a:gd name="connsiteX0" fmla="*/ 73610 w 182213"/>
                <a:gd name="connsiteY0" fmla="*/ 431780 h 431779"/>
                <a:gd name="connsiteX1" fmla="*/ 73610 w 182213"/>
                <a:gd name="connsiteY1" fmla="*/ 431780 h 431779"/>
                <a:gd name="connsiteX2" fmla="*/ 25341 w 182213"/>
                <a:gd name="connsiteY2" fmla="*/ 383512 h 431779"/>
                <a:gd name="connsiteX3" fmla="*/ 37408 w 182213"/>
                <a:gd name="connsiteY3" fmla="*/ 3400 h 431779"/>
                <a:gd name="connsiteX4" fmla="*/ 37408 w 182213"/>
                <a:gd name="connsiteY4" fmla="*/ 3400 h 431779"/>
                <a:gd name="connsiteX5" fmla="*/ 37408 w 182213"/>
                <a:gd name="connsiteY5" fmla="*/ 3400 h 431779"/>
                <a:gd name="connsiteX6" fmla="*/ 179196 w 182213"/>
                <a:gd name="connsiteY6" fmla="*/ 39601 h 431779"/>
                <a:gd name="connsiteX7" fmla="*/ 182213 w 182213"/>
                <a:gd name="connsiteY7" fmla="*/ 45635 h 431779"/>
                <a:gd name="connsiteX8" fmla="*/ 176179 w 182213"/>
                <a:gd name="connsiteY8" fmla="*/ 48651 h 431779"/>
                <a:gd name="connsiteX9" fmla="*/ 46459 w 182213"/>
                <a:gd name="connsiteY9" fmla="*/ 12450 h 431779"/>
                <a:gd name="connsiteX10" fmla="*/ 34392 w 182213"/>
                <a:gd name="connsiteY10" fmla="*/ 380495 h 431779"/>
                <a:gd name="connsiteX11" fmla="*/ 73610 w 182213"/>
                <a:gd name="connsiteY11" fmla="*/ 422729 h 431779"/>
                <a:gd name="connsiteX12" fmla="*/ 76627 w 182213"/>
                <a:gd name="connsiteY12" fmla="*/ 428763 h 431779"/>
                <a:gd name="connsiteX13" fmla="*/ 73610 w 182213"/>
                <a:gd name="connsiteY13" fmla="*/ 431780 h 431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2213" h="431779">
                  <a:moveTo>
                    <a:pt x="73610" y="431780"/>
                  </a:moveTo>
                  <a:cubicBezTo>
                    <a:pt x="73610" y="431780"/>
                    <a:pt x="73610" y="431780"/>
                    <a:pt x="73610" y="431780"/>
                  </a:cubicBezTo>
                  <a:cubicBezTo>
                    <a:pt x="52492" y="425746"/>
                    <a:pt x="37408" y="407646"/>
                    <a:pt x="25341" y="383512"/>
                  </a:cubicBezTo>
                  <a:cubicBezTo>
                    <a:pt x="-16893" y="293009"/>
                    <a:pt x="-1809" y="96919"/>
                    <a:pt x="37408" y="3400"/>
                  </a:cubicBezTo>
                  <a:lnTo>
                    <a:pt x="37408" y="3400"/>
                  </a:lnTo>
                  <a:lnTo>
                    <a:pt x="37408" y="3400"/>
                  </a:lnTo>
                  <a:cubicBezTo>
                    <a:pt x="40425" y="383"/>
                    <a:pt x="67576" y="-11684"/>
                    <a:pt x="179196" y="39601"/>
                  </a:cubicBezTo>
                  <a:cubicBezTo>
                    <a:pt x="182213" y="39601"/>
                    <a:pt x="182213" y="45635"/>
                    <a:pt x="182213" y="45635"/>
                  </a:cubicBezTo>
                  <a:cubicBezTo>
                    <a:pt x="182213" y="48651"/>
                    <a:pt x="176179" y="48651"/>
                    <a:pt x="176179" y="48651"/>
                  </a:cubicBezTo>
                  <a:cubicBezTo>
                    <a:pt x="82659" y="6417"/>
                    <a:pt x="52492" y="9433"/>
                    <a:pt x="46459" y="12450"/>
                  </a:cubicBezTo>
                  <a:cubicBezTo>
                    <a:pt x="7240" y="105970"/>
                    <a:pt x="-4826" y="293009"/>
                    <a:pt x="34392" y="380495"/>
                  </a:cubicBezTo>
                  <a:cubicBezTo>
                    <a:pt x="46459" y="404629"/>
                    <a:pt x="58526" y="419713"/>
                    <a:pt x="73610" y="422729"/>
                  </a:cubicBezTo>
                  <a:cubicBezTo>
                    <a:pt x="76627" y="422729"/>
                    <a:pt x="79643" y="425746"/>
                    <a:pt x="76627" y="428763"/>
                  </a:cubicBezTo>
                  <a:cubicBezTo>
                    <a:pt x="79643" y="428763"/>
                    <a:pt x="76627" y="431780"/>
                    <a:pt x="73610" y="431780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9109706B-7369-435A-A463-052331751BB2}"/>
                </a:ext>
              </a:extLst>
            </p:cNvPr>
            <p:cNvSpPr/>
            <p:nvPr/>
          </p:nvSpPr>
          <p:spPr>
            <a:xfrm>
              <a:off x="16367774" y="3772019"/>
              <a:ext cx="109019" cy="350329"/>
            </a:xfrm>
            <a:custGeom>
              <a:avLst/>
              <a:gdLst>
                <a:gd name="connsiteX0" fmla="*/ 99553 w 109019"/>
                <a:gd name="connsiteY0" fmla="*/ 63738 h 350329"/>
                <a:gd name="connsiteX1" fmla="*/ 81452 w 109019"/>
                <a:gd name="connsiteY1" fmla="*/ 45637 h 350329"/>
                <a:gd name="connsiteX2" fmla="*/ 63352 w 109019"/>
                <a:gd name="connsiteY2" fmla="*/ 6419 h 350329"/>
                <a:gd name="connsiteX3" fmla="*/ 27151 w 109019"/>
                <a:gd name="connsiteY3" fmla="*/ 15470 h 350329"/>
                <a:gd name="connsiteX4" fmla="*/ 21117 w 109019"/>
                <a:gd name="connsiteY4" fmla="*/ 57704 h 350329"/>
                <a:gd name="connsiteX5" fmla="*/ 0 w 109019"/>
                <a:gd name="connsiteY5" fmla="*/ 81838 h 350329"/>
                <a:gd name="connsiteX6" fmla="*/ 3017 w 109019"/>
                <a:gd name="connsiteY6" fmla="*/ 311112 h 350329"/>
                <a:gd name="connsiteX7" fmla="*/ 42234 w 109019"/>
                <a:gd name="connsiteY7" fmla="*/ 350330 h 350329"/>
                <a:gd name="connsiteX8" fmla="*/ 102570 w 109019"/>
                <a:gd name="connsiteY8" fmla="*/ 277928 h 350329"/>
                <a:gd name="connsiteX9" fmla="*/ 99553 w 109019"/>
                <a:gd name="connsiteY9" fmla="*/ 63738 h 350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019" h="350329">
                  <a:moveTo>
                    <a:pt x="99553" y="63738"/>
                  </a:moveTo>
                  <a:cubicBezTo>
                    <a:pt x="96536" y="54687"/>
                    <a:pt x="87486" y="48654"/>
                    <a:pt x="81452" y="45637"/>
                  </a:cubicBezTo>
                  <a:cubicBezTo>
                    <a:pt x="78436" y="30553"/>
                    <a:pt x="72402" y="18486"/>
                    <a:pt x="63352" y="6419"/>
                  </a:cubicBezTo>
                  <a:cubicBezTo>
                    <a:pt x="54301" y="-5648"/>
                    <a:pt x="33185" y="386"/>
                    <a:pt x="27151" y="15470"/>
                  </a:cubicBezTo>
                  <a:cubicBezTo>
                    <a:pt x="24134" y="30553"/>
                    <a:pt x="24134" y="42621"/>
                    <a:pt x="21117" y="57704"/>
                  </a:cubicBezTo>
                  <a:cubicBezTo>
                    <a:pt x="9050" y="57704"/>
                    <a:pt x="0" y="66755"/>
                    <a:pt x="0" y="81838"/>
                  </a:cubicBezTo>
                  <a:cubicBezTo>
                    <a:pt x="0" y="148207"/>
                    <a:pt x="3017" y="244743"/>
                    <a:pt x="3017" y="311112"/>
                  </a:cubicBezTo>
                  <a:cubicBezTo>
                    <a:pt x="3017" y="326196"/>
                    <a:pt x="33185" y="350330"/>
                    <a:pt x="42234" y="350330"/>
                  </a:cubicBezTo>
                  <a:cubicBezTo>
                    <a:pt x="81452" y="350330"/>
                    <a:pt x="99553" y="317146"/>
                    <a:pt x="102570" y="277928"/>
                  </a:cubicBezTo>
                  <a:cubicBezTo>
                    <a:pt x="108604" y="226643"/>
                    <a:pt x="114637" y="118040"/>
                    <a:pt x="99553" y="63738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268410D7-E9D5-4A98-9CC9-6AA83ADD0978}"/>
                </a:ext>
              </a:extLst>
            </p:cNvPr>
            <p:cNvSpPr/>
            <p:nvPr/>
          </p:nvSpPr>
          <p:spPr>
            <a:xfrm>
              <a:off x="16424954" y="3772019"/>
              <a:ext cx="105724" cy="350329"/>
            </a:xfrm>
            <a:custGeom>
              <a:avLst/>
              <a:gdLst>
                <a:gd name="connsiteX0" fmla="*/ 9187 w 105724"/>
                <a:gd name="connsiteY0" fmla="*/ 63738 h 350329"/>
                <a:gd name="connsiteX1" fmla="*/ 27288 w 105724"/>
                <a:gd name="connsiteY1" fmla="*/ 45637 h 350329"/>
                <a:gd name="connsiteX2" fmla="*/ 45389 w 105724"/>
                <a:gd name="connsiteY2" fmla="*/ 6419 h 350329"/>
                <a:gd name="connsiteX3" fmla="*/ 78573 w 105724"/>
                <a:gd name="connsiteY3" fmla="*/ 15470 h 350329"/>
                <a:gd name="connsiteX4" fmla="*/ 84606 w 105724"/>
                <a:gd name="connsiteY4" fmla="*/ 57704 h 350329"/>
                <a:gd name="connsiteX5" fmla="*/ 105724 w 105724"/>
                <a:gd name="connsiteY5" fmla="*/ 81838 h 350329"/>
                <a:gd name="connsiteX6" fmla="*/ 102707 w 105724"/>
                <a:gd name="connsiteY6" fmla="*/ 311112 h 350329"/>
                <a:gd name="connsiteX7" fmla="*/ 66507 w 105724"/>
                <a:gd name="connsiteY7" fmla="*/ 350330 h 350329"/>
                <a:gd name="connsiteX8" fmla="*/ 9187 w 105724"/>
                <a:gd name="connsiteY8" fmla="*/ 277928 h 350329"/>
                <a:gd name="connsiteX9" fmla="*/ 9187 w 105724"/>
                <a:gd name="connsiteY9" fmla="*/ 63738 h 350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5724" h="350329">
                  <a:moveTo>
                    <a:pt x="9187" y="63738"/>
                  </a:moveTo>
                  <a:cubicBezTo>
                    <a:pt x="12204" y="54687"/>
                    <a:pt x="18238" y="48654"/>
                    <a:pt x="27288" y="45637"/>
                  </a:cubicBezTo>
                  <a:cubicBezTo>
                    <a:pt x="30305" y="30553"/>
                    <a:pt x="36339" y="18486"/>
                    <a:pt x="45389" y="6419"/>
                  </a:cubicBezTo>
                  <a:cubicBezTo>
                    <a:pt x="54439" y="-5648"/>
                    <a:pt x="75557" y="386"/>
                    <a:pt x="78573" y="15470"/>
                  </a:cubicBezTo>
                  <a:cubicBezTo>
                    <a:pt x="81590" y="30553"/>
                    <a:pt x="81590" y="42621"/>
                    <a:pt x="84606" y="57704"/>
                  </a:cubicBezTo>
                  <a:cubicBezTo>
                    <a:pt x="93657" y="57704"/>
                    <a:pt x="105724" y="66755"/>
                    <a:pt x="105724" y="81838"/>
                  </a:cubicBezTo>
                  <a:cubicBezTo>
                    <a:pt x="105724" y="148207"/>
                    <a:pt x="102707" y="244743"/>
                    <a:pt x="102707" y="311112"/>
                  </a:cubicBezTo>
                  <a:cubicBezTo>
                    <a:pt x="102707" y="326196"/>
                    <a:pt x="75557" y="350330"/>
                    <a:pt x="66507" y="350330"/>
                  </a:cubicBezTo>
                  <a:cubicBezTo>
                    <a:pt x="27288" y="350330"/>
                    <a:pt x="12204" y="317146"/>
                    <a:pt x="9187" y="277928"/>
                  </a:cubicBezTo>
                  <a:cubicBezTo>
                    <a:pt x="138" y="226643"/>
                    <a:pt x="-5896" y="118040"/>
                    <a:pt x="9187" y="63738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7F94DE17-DF78-4A65-B629-0812724CF69B}"/>
                </a:ext>
              </a:extLst>
            </p:cNvPr>
            <p:cNvSpPr/>
            <p:nvPr/>
          </p:nvSpPr>
          <p:spPr>
            <a:xfrm>
              <a:off x="16135204" y="6396506"/>
              <a:ext cx="524003" cy="320243"/>
            </a:xfrm>
            <a:custGeom>
              <a:avLst/>
              <a:gdLst>
                <a:gd name="connsiteX0" fmla="*/ 262737 w 524003"/>
                <a:gd name="connsiteY0" fmla="*/ 202602 h 320243"/>
                <a:gd name="connsiteX1" fmla="*/ 513128 w 524003"/>
                <a:gd name="connsiteY1" fmla="*/ 151317 h 320243"/>
                <a:gd name="connsiteX2" fmla="*/ 513128 w 524003"/>
                <a:gd name="connsiteY2" fmla="*/ 15563 h 320243"/>
                <a:gd name="connsiteX3" fmla="*/ 317039 w 524003"/>
                <a:gd name="connsiteY3" fmla="*/ 63831 h 320243"/>
                <a:gd name="connsiteX4" fmla="*/ 226536 w 524003"/>
                <a:gd name="connsiteY4" fmla="*/ 3496 h 320243"/>
                <a:gd name="connsiteX5" fmla="*/ 279 w 524003"/>
                <a:gd name="connsiteY5" fmla="*/ 311205 h 320243"/>
                <a:gd name="connsiteX6" fmla="*/ 262737 w 524003"/>
                <a:gd name="connsiteY6" fmla="*/ 202602 h 320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4003" h="320243">
                  <a:moveTo>
                    <a:pt x="262737" y="202602"/>
                  </a:moveTo>
                  <a:cubicBezTo>
                    <a:pt x="344189" y="181485"/>
                    <a:pt x="501061" y="151317"/>
                    <a:pt x="513128" y="151317"/>
                  </a:cubicBezTo>
                  <a:cubicBezTo>
                    <a:pt x="534246" y="151317"/>
                    <a:pt x="519162" y="21597"/>
                    <a:pt x="513128" y="15563"/>
                  </a:cubicBezTo>
                  <a:cubicBezTo>
                    <a:pt x="495027" y="479"/>
                    <a:pt x="323072" y="69865"/>
                    <a:pt x="317039" y="63831"/>
                  </a:cubicBezTo>
                  <a:cubicBezTo>
                    <a:pt x="317039" y="63831"/>
                    <a:pt x="247653" y="-17621"/>
                    <a:pt x="226536" y="3496"/>
                  </a:cubicBezTo>
                  <a:cubicBezTo>
                    <a:pt x="205419" y="24613"/>
                    <a:pt x="-8771" y="299138"/>
                    <a:pt x="279" y="311205"/>
                  </a:cubicBezTo>
                  <a:cubicBezTo>
                    <a:pt x="45530" y="353440"/>
                    <a:pt x="163184" y="235786"/>
                    <a:pt x="262737" y="202602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53F808E8-77DA-4BEA-A665-04E988AAE98C}"/>
                </a:ext>
              </a:extLst>
            </p:cNvPr>
            <p:cNvSpPr/>
            <p:nvPr/>
          </p:nvSpPr>
          <p:spPr>
            <a:xfrm>
              <a:off x="16506545" y="6020007"/>
              <a:ext cx="1004843" cy="573067"/>
            </a:xfrm>
            <a:custGeom>
              <a:avLst/>
              <a:gdLst>
                <a:gd name="connsiteX0" fmla="*/ 769274 w 1004843"/>
                <a:gd name="connsiteY0" fmla="*/ 14967 h 573067"/>
                <a:gd name="connsiteX1" fmla="*/ 0 w 1004843"/>
                <a:gd name="connsiteY1" fmla="*/ 416196 h 573067"/>
                <a:gd name="connsiteX2" fmla="*/ 18100 w 1004843"/>
                <a:gd name="connsiteY2" fmla="*/ 573068 h 573067"/>
                <a:gd name="connsiteX3" fmla="*/ 902011 w 1004843"/>
                <a:gd name="connsiteY3" fmla="*/ 328710 h 573067"/>
                <a:gd name="connsiteX4" fmla="*/ 986480 w 1004843"/>
                <a:gd name="connsiteY4" fmla="*/ 123571 h 573067"/>
                <a:gd name="connsiteX5" fmla="*/ 953295 w 1004843"/>
                <a:gd name="connsiteY5" fmla="*/ 66252 h 573067"/>
                <a:gd name="connsiteX6" fmla="*/ 769274 w 1004843"/>
                <a:gd name="connsiteY6" fmla="*/ 14967 h 573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4843" h="573067">
                  <a:moveTo>
                    <a:pt x="769274" y="14967"/>
                  </a:moveTo>
                  <a:lnTo>
                    <a:pt x="0" y="416196"/>
                  </a:lnTo>
                  <a:lnTo>
                    <a:pt x="18100" y="573068"/>
                  </a:lnTo>
                  <a:lnTo>
                    <a:pt x="902011" y="328710"/>
                  </a:lnTo>
                  <a:cubicBezTo>
                    <a:pt x="989497" y="304576"/>
                    <a:pt x="1031731" y="205023"/>
                    <a:pt x="986480" y="123571"/>
                  </a:cubicBezTo>
                  <a:lnTo>
                    <a:pt x="953295" y="66252"/>
                  </a:lnTo>
                  <a:cubicBezTo>
                    <a:pt x="917095" y="5917"/>
                    <a:pt x="835642" y="-18217"/>
                    <a:pt x="769274" y="14967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6FC5C451-1A5B-406F-89CB-81EFB7307BF7}"/>
                </a:ext>
              </a:extLst>
            </p:cNvPr>
            <p:cNvSpPr/>
            <p:nvPr/>
          </p:nvSpPr>
          <p:spPr>
            <a:xfrm>
              <a:off x="16500511" y="6068159"/>
              <a:ext cx="708938" cy="374078"/>
            </a:xfrm>
            <a:custGeom>
              <a:avLst/>
              <a:gdLst>
                <a:gd name="connsiteX0" fmla="*/ 6034 w 708938"/>
                <a:gd name="connsiteY0" fmla="*/ 374078 h 374078"/>
                <a:gd name="connsiteX1" fmla="*/ 0 w 708938"/>
                <a:gd name="connsiteY1" fmla="*/ 371062 h 374078"/>
                <a:gd name="connsiteX2" fmla="*/ 3017 w 708938"/>
                <a:gd name="connsiteY2" fmla="*/ 365028 h 374078"/>
                <a:gd name="connsiteX3" fmla="*/ 702905 w 708938"/>
                <a:gd name="connsiteY3" fmla="*/ 0 h 374078"/>
                <a:gd name="connsiteX4" fmla="*/ 708939 w 708938"/>
                <a:gd name="connsiteY4" fmla="*/ 3017 h 374078"/>
                <a:gd name="connsiteX5" fmla="*/ 705922 w 708938"/>
                <a:gd name="connsiteY5" fmla="*/ 9050 h 374078"/>
                <a:gd name="connsiteX6" fmla="*/ 6034 w 708938"/>
                <a:gd name="connsiteY6" fmla="*/ 374078 h 374078"/>
                <a:gd name="connsiteX7" fmla="*/ 6034 w 708938"/>
                <a:gd name="connsiteY7" fmla="*/ 374078 h 374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8938" h="374078">
                  <a:moveTo>
                    <a:pt x="6034" y="374078"/>
                  </a:moveTo>
                  <a:cubicBezTo>
                    <a:pt x="3017" y="374078"/>
                    <a:pt x="3017" y="374078"/>
                    <a:pt x="0" y="371062"/>
                  </a:cubicBezTo>
                  <a:cubicBezTo>
                    <a:pt x="0" y="368045"/>
                    <a:pt x="0" y="365028"/>
                    <a:pt x="3017" y="365028"/>
                  </a:cubicBezTo>
                  <a:lnTo>
                    <a:pt x="702905" y="0"/>
                  </a:lnTo>
                  <a:cubicBezTo>
                    <a:pt x="705922" y="0"/>
                    <a:pt x="708939" y="0"/>
                    <a:pt x="708939" y="3017"/>
                  </a:cubicBezTo>
                  <a:cubicBezTo>
                    <a:pt x="708939" y="6033"/>
                    <a:pt x="708939" y="9050"/>
                    <a:pt x="705922" y="9050"/>
                  </a:cubicBezTo>
                  <a:lnTo>
                    <a:pt x="6034" y="374078"/>
                  </a:lnTo>
                  <a:cubicBezTo>
                    <a:pt x="9050" y="374078"/>
                    <a:pt x="6034" y="374078"/>
                    <a:pt x="6034" y="374078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67069B68-9066-4314-BD07-DB5880B468ED}"/>
                </a:ext>
              </a:extLst>
            </p:cNvPr>
            <p:cNvSpPr/>
            <p:nvPr/>
          </p:nvSpPr>
          <p:spPr>
            <a:xfrm>
              <a:off x="16765985" y="6053075"/>
              <a:ext cx="123687" cy="30167"/>
            </a:xfrm>
            <a:custGeom>
              <a:avLst/>
              <a:gdLst>
                <a:gd name="connsiteX0" fmla="*/ 6034 w 123687"/>
                <a:gd name="connsiteY0" fmla="*/ 30168 h 30167"/>
                <a:gd name="connsiteX1" fmla="*/ 0 w 123687"/>
                <a:gd name="connsiteY1" fmla="*/ 27151 h 30167"/>
                <a:gd name="connsiteX2" fmla="*/ 3017 w 123687"/>
                <a:gd name="connsiteY2" fmla="*/ 21117 h 30167"/>
                <a:gd name="connsiteX3" fmla="*/ 117654 w 123687"/>
                <a:gd name="connsiteY3" fmla="*/ 0 h 30167"/>
                <a:gd name="connsiteX4" fmla="*/ 123687 w 123687"/>
                <a:gd name="connsiteY4" fmla="*/ 3017 h 30167"/>
                <a:gd name="connsiteX5" fmla="*/ 120670 w 123687"/>
                <a:gd name="connsiteY5" fmla="*/ 9050 h 30167"/>
                <a:gd name="connsiteX6" fmla="*/ 6034 w 123687"/>
                <a:gd name="connsiteY6" fmla="*/ 30168 h 30167"/>
                <a:gd name="connsiteX7" fmla="*/ 6034 w 123687"/>
                <a:gd name="connsiteY7" fmla="*/ 30168 h 30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687" h="30167">
                  <a:moveTo>
                    <a:pt x="6034" y="30168"/>
                  </a:moveTo>
                  <a:cubicBezTo>
                    <a:pt x="3017" y="30168"/>
                    <a:pt x="0" y="27151"/>
                    <a:pt x="0" y="27151"/>
                  </a:cubicBezTo>
                  <a:cubicBezTo>
                    <a:pt x="0" y="24134"/>
                    <a:pt x="0" y="21117"/>
                    <a:pt x="3017" y="21117"/>
                  </a:cubicBezTo>
                  <a:lnTo>
                    <a:pt x="117654" y="0"/>
                  </a:lnTo>
                  <a:cubicBezTo>
                    <a:pt x="120670" y="0"/>
                    <a:pt x="123687" y="0"/>
                    <a:pt x="123687" y="3017"/>
                  </a:cubicBezTo>
                  <a:cubicBezTo>
                    <a:pt x="123687" y="6033"/>
                    <a:pt x="123687" y="9050"/>
                    <a:pt x="120670" y="9050"/>
                  </a:cubicBezTo>
                  <a:lnTo>
                    <a:pt x="6034" y="30168"/>
                  </a:lnTo>
                  <a:cubicBezTo>
                    <a:pt x="6034" y="30168"/>
                    <a:pt x="6034" y="30168"/>
                    <a:pt x="6034" y="30168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7FBB8B7E-6AC6-4C4D-A203-829FAA73FFDE}"/>
                </a:ext>
              </a:extLst>
            </p:cNvPr>
            <p:cNvSpPr/>
            <p:nvPr/>
          </p:nvSpPr>
          <p:spPr>
            <a:xfrm>
              <a:off x="15264656" y="5980493"/>
              <a:ext cx="1210609" cy="552245"/>
            </a:xfrm>
            <a:custGeom>
              <a:avLst/>
              <a:gdLst>
                <a:gd name="connsiteX0" fmla="*/ 967363 w 1210609"/>
                <a:gd name="connsiteY0" fmla="*/ 552246 h 552245"/>
                <a:gd name="connsiteX1" fmla="*/ 137754 w 1210609"/>
                <a:gd name="connsiteY1" fmla="*/ 395375 h 552245"/>
                <a:gd name="connsiteX2" fmla="*/ 8033 w 1210609"/>
                <a:gd name="connsiteY2" fmla="*/ 144983 h 552245"/>
                <a:gd name="connsiteX3" fmla="*/ 8033 w 1210609"/>
                <a:gd name="connsiteY3" fmla="*/ 144983 h 552245"/>
                <a:gd name="connsiteX4" fmla="*/ 240324 w 1210609"/>
                <a:gd name="connsiteY4" fmla="*/ 3196 h 552245"/>
                <a:gd name="connsiteX5" fmla="*/ 1184570 w 1210609"/>
                <a:gd name="connsiteY5" fmla="*/ 178168 h 552245"/>
                <a:gd name="connsiteX6" fmla="*/ 967363 w 1210609"/>
                <a:gd name="connsiteY6" fmla="*/ 552246 h 552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0609" h="552245">
                  <a:moveTo>
                    <a:pt x="967363" y="552246"/>
                  </a:moveTo>
                  <a:lnTo>
                    <a:pt x="137754" y="395375"/>
                  </a:lnTo>
                  <a:cubicBezTo>
                    <a:pt x="35185" y="359173"/>
                    <a:pt x="-22134" y="250570"/>
                    <a:pt x="8033" y="144983"/>
                  </a:cubicBezTo>
                  <a:lnTo>
                    <a:pt x="8033" y="144983"/>
                  </a:lnTo>
                  <a:cubicBezTo>
                    <a:pt x="38201" y="45431"/>
                    <a:pt x="137754" y="-14905"/>
                    <a:pt x="240324" y="3196"/>
                  </a:cubicBezTo>
                  <a:cubicBezTo>
                    <a:pt x="545017" y="60514"/>
                    <a:pt x="1142335" y="172134"/>
                    <a:pt x="1184570" y="178168"/>
                  </a:cubicBezTo>
                  <a:cubicBezTo>
                    <a:pt x="1305240" y="193252"/>
                    <a:pt x="967363" y="552246"/>
                    <a:pt x="967363" y="552246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76389F07-FD37-440A-AD27-43BE6E263605}"/>
                </a:ext>
              </a:extLst>
            </p:cNvPr>
            <p:cNvSpPr/>
            <p:nvPr/>
          </p:nvSpPr>
          <p:spPr>
            <a:xfrm>
              <a:off x="16124608" y="6399523"/>
              <a:ext cx="524002" cy="320417"/>
            </a:xfrm>
            <a:custGeom>
              <a:avLst/>
              <a:gdLst>
                <a:gd name="connsiteX0" fmla="*/ 261266 w 524002"/>
                <a:gd name="connsiteY0" fmla="*/ 202602 h 320417"/>
                <a:gd name="connsiteX1" fmla="*/ 10875 w 524002"/>
                <a:gd name="connsiteY1" fmla="*/ 151317 h 320417"/>
                <a:gd name="connsiteX2" fmla="*/ 10875 w 524002"/>
                <a:gd name="connsiteY2" fmla="*/ 15563 h 320417"/>
                <a:gd name="connsiteX3" fmla="*/ 206964 w 524002"/>
                <a:gd name="connsiteY3" fmla="*/ 63831 h 320417"/>
                <a:gd name="connsiteX4" fmla="*/ 297467 w 524002"/>
                <a:gd name="connsiteY4" fmla="*/ 3496 h 320417"/>
                <a:gd name="connsiteX5" fmla="*/ 523724 w 524002"/>
                <a:gd name="connsiteY5" fmla="*/ 311205 h 320417"/>
                <a:gd name="connsiteX6" fmla="*/ 261266 w 524002"/>
                <a:gd name="connsiteY6" fmla="*/ 202602 h 320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4002" h="320417">
                  <a:moveTo>
                    <a:pt x="261266" y="202602"/>
                  </a:moveTo>
                  <a:cubicBezTo>
                    <a:pt x="179814" y="181485"/>
                    <a:pt x="22942" y="151317"/>
                    <a:pt x="10875" y="151317"/>
                  </a:cubicBezTo>
                  <a:cubicBezTo>
                    <a:pt x="-10242" y="151317"/>
                    <a:pt x="4842" y="21596"/>
                    <a:pt x="10875" y="15563"/>
                  </a:cubicBezTo>
                  <a:cubicBezTo>
                    <a:pt x="28976" y="479"/>
                    <a:pt x="200931" y="69865"/>
                    <a:pt x="206964" y="63831"/>
                  </a:cubicBezTo>
                  <a:cubicBezTo>
                    <a:pt x="206964" y="63831"/>
                    <a:pt x="276350" y="-17622"/>
                    <a:pt x="297467" y="3496"/>
                  </a:cubicBezTo>
                  <a:cubicBezTo>
                    <a:pt x="318585" y="24613"/>
                    <a:pt x="532775" y="299138"/>
                    <a:pt x="523724" y="311205"/>
                  </a:cubicBezTo>
                  <a:cubicBezTo>
                    <a:pt x="478473" y="353440"/>
                    <a:pt x="360819" y="238803"/>
                    <a:pt x="261266" y="202602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11380648-5D6E-4F31-8724-C6C654E0ED68}"/>
                </a:ext>
              </a:extLst>
            </p:cNvPr>
            <p:cNvSpPr/>
            <p:nvPr/>
          </p:nvSpPr>
          <p:spPr>
            <a:xfrm>
              <a:off x="15272426" y="6024097"/>
              <a:ext cx="1004844" cy="575011"/>
            </a:xfrm>
            <a:custGeom>
              <a:avLst/>
              <a:gdLst>
                <a:gd name="connsiteX0" fmla="*/ 235571 w 1004844"/>
                <a:gd name="connsiteY0" fmla="*/ 16911 h 575011"/>
                <a:gd name="connsiteX1" fmla="*/ 1004844 w 1004844"/>
                <a:gd name="connsiteY1" fmla="*/ 418140 h 575011"/>
                <a:gd name="connsiteX2" fmla="*/ 986744 w 1004844"/>
                <a:gd name="connsiteY2" fmla="*/ 575012 h 575011"/>
                <a:gd name="connsiteX3" fmla="*/ 102833 w 1004844"/>
                <a:gd name="connsiteY3" fmla="*/ 330654 h 575011"/>
                <a:gd name="connsiteX4" fmla="*/ 18363 w 1004844"/>
                <a:gd name="connsiteY4" fmla="*/ 125514 h 575011"/>
                <a:gd name="connsiteX5" fmla="*/ 51548 w 1004844"/>
                <a:gd name="connsiteY5" fmla="*/ 68196 h 575011"/>
                <a:gd name="connsiteX6" fmla="*/ 235571 w 1004844"/>
                <a:gd name="connsiteY6" fmla="*/ 16911 h 575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4844" h="575011">
                  <a:moveTo>
                    <a:pt x="235571" y="16911"/>
                  </a:moveTo>
                  <a:lnTo>
                    <a:pt x="1004844" y="418140"/>
                  </a:lnTo>
                  <a:lnTo>
                    <a:pt x="986744" y="575012"/>
                  </a:lnTo>
                  <a:lnTo>
                    <a:pt x="102833" y="330654"/>
                  </a:lnTo>
                  <a:cubicBezTo>
                    <a:pt x="15346" y="306520"/>
                    <a:pt x="-26888" y="206967"/>
                    <a:pt x="18363" y="125514"/>
                  </a:cubicBezTo>
                  <a:lnTo>
                    <a:pt x="51548" y="68196"/>
                  </a:lnTo>
                  <a:cubicBezTo>
                    <a:pt x="87749" y="4844"/>
                    <a:pt x="169201" y="-19290"/>
                    <a:pt x="235571" y="16911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69DA1FEB-6267-46C6-BD7F-F4641ECAEFA5}"/>
                </a:ext>
              </a:extLst>
            </p:cNvPr>
            <p:cNvSpPr/>
            <p:nvPr/>
          </p:nvSpPr>
          <p:spPr>
            <a:xfrm>
              <a:off x="15571349" y="6071176"/>
              <a:ext cx="708938" cy="374078"/>
            </a:xfrm>
            <a:custGeom>
              <a:avLst/>
              <a:gdLst>
                <a:gd name="connsiteX0" fmla="*/ 705922 w 708938"/>
                <a:gd name="connsiteY0" fmla="*/ 374078 h 374078"/>
                <a:gd name="connsiteX1" fmla="*/ 705922 w 708938"/>
                <a:gd name="connsiteY1" fmla="*/ 374078 h 374078"/>
                <a:gd name="connsiteX2" fmla="*/ 3016 w 708938"/>
                <a:gd name="connsiteY2" fmla="*/ 9050 h 374078"/>
                <a:gd name="connsiteX3" fmla="*/ 0 w 708938"/>
                <a:gd name="connsiteY3" fmla="*/ 3016 h 374078"/>
                <a:gd name="connsiteX4" fmla="*/ 6033 w 708938"/>
                <a:gd name="connsiteY4" fmla="*/ 0 h 374078"/>
                <a:gd name="connsiteX5" fmla="*/ 705922 w 708938"/>
                <a:gd name="connsiteY5" fmla="*/ 365028 h 374078"/>
                <a:gd name="connsiteX6" fmla="*/ 708939 w 708938"/>
                <a:gd name="connsiteY6" fmla="*/ 371061 h 374078"/>
                <a:gd name="connsiteX7" fmla="*/ 705922 w 708938"/>
                <a:gd name="connsiteY7" fmla="*/ 374078 h 374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8938" h="374078">
                  <a:moveTo>
                    <a:pt x="705922" y="374078"/>
                  </a:moveTo>
                  <a:cubicBezTo>
                    <a:pt x="705922" y="374078"/>
                    <a:pt x="702905" y="374078"/>
                    <a:pt x="705922" y="374078"/>
                  </a:cubicBezTo>
                  <a:lnTo>
                    <a:pt x="3016" y="9050"/>
                  </a:lnTo>
                  <a:cubicBezTo>
                    <a:pt x="0" y="9050"/>
                    <a:pt x="0" y="3016"/>
                    <a:pt x="0" y="3016"/>
                  </a:cubicBezTo>
                  <a:cubicBezTo>
                    <a:pt x="0" y="0"/>
                    <a:pt x="6033" y="0"/>
                    <a:pt x="6033" y="0"/>
                  </a:cubicBezTo>
                  <a:lnTo>
                    <a:pt x="705922" y="365028"/>
                  </a:lnTo>
                  <a:cubicBezTo>
                    <a:pt x="708939" y="365028"/>
                    <a:pt x="708939" y="371061"/>
                    <a:pt x="708939" y="371061"/>
                  </a:cubicBezTo>
                  <a:cubicBezTo>
                    <a:pt x="708939" y="374078"/>
                    <a:pt x="708939" y="374078"/>
                    <a:pt x="705922" y="374078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20B0FC2A-20AC-4781-AC44-396FB5B3DABC}"/>
                </a:ext>
              </a:extLst>
            </p:cNvPr>
            <p:cNvSpPr/>
            <p:nvPr/>
          </p:nvSpPr>
          <p:spPr>
            <a:xfrm>
              <a:off x="15889876" y="6054842"/>
              <a:ext cx="126186" cy="31417"/>
            </a:xfrm>
            <a:custGeom>
              <a:avLst/>
              <a:gdLst>
                <a:gd name="connsiteX0" fmla="*/ 121920 w 126186"/>
                <a:gd name="connsiteY0" fmla="*/ 31417 h 31417"/>
                <a:gd name="connsiteX1" fmla="*/ 121920 w 126186"/>
                <a:gd name="connsiteY1" fmla="*/ 31417 h 31417"/>
                <a:gd name="connsiteX2" fmla="*/ 4266 w 126186"/>
                <a:gd name="connsiteY2" fmla="*/ 10300 h 31417"/>
                <a:gd name="connsiteX3" fmla="*/ 1249 w 126186"/>
                <a:gd name="connsiteY3" fmla="*/ 4266 h 31417"/>
                <a:gd name="connsiteX4" fmla="*/ 7283 w 126186"/>
                <a:gd name="connsiteY4" fmla="*/ 1250 h 31417"/>
                <a:gd name="connsiteX5" fmla="*/ 121920 w 126186"/>
                <a:gd name="connsiteY5" fmla="*/ 22367 h 31417"/>
                <a:gd name="connsiteX6" fmla="*/ 124937 w 126186"/>
                <a:gd name="connsiteY6" fmla="*/ 28400 h 31417"/>
                <a:gd name="connsiteX7" fmla="*/ 121920 w 126186"/>
                <a:gd name="connsiteY7" fmla="*/ 31417 h 31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186" h="31417">
                  <a:moveTo>
                    <a:pt x="121920" y="31417"/>
                  </a:moveTo>
                  <a:cubicBezTo>
                    <a:pt x="121920" y="31417"/>
                    <a:pt x="121920" y="31417"/>
                    <a:pt x="121920" y="31417"/>
                  </a:cubicBezTo>
                  <a:lnTo>
                    <a:pt x="4266" y="10300"/>
                  </a:lnTo>
                  <a:cubicBezTo>
                    <a:pt x="1249" y="10300"/>
                    <a:pt x="-1767" y="7283"/>
                    <a:pt x="1249" y="4266"/>
                  </a:cubicBezTo>
                  <a:cubicBezTo>
                    <a:pt x="1249" y="1250"/>
                    <a:pt x="4266" y="-1767"/>
                    <a:pt x="7283" y="1250"/>
                  </a:cubicBezTo>
                  <a:lnTo>
                    <a:pt x="121920" y="22367"/>
                  </a:lnTo>
                  <a:cubicBezTo>
                    <a:pt x="124937" y="22367"/>
                    <a:pt x="127954" y="25383"/>
                    <a:pt x="124937" y="28400"/>
                  </a:cubicBezTo>
                  <a:cubicBezTo>
                    <a:pt x="127954" y="28400"/>
                    <a:pt x="124937" y="31417"/>
                    <a:pt x="121920" y="31417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376D0283-80E1-4748-B272-0026735AE4FF}"/>
                </a:ext>
              </a:extLst>
            </p:cNvPr>
            <p:cNvSpPr/>
            <p:nvPr/>
          </p:nvSpPr>
          <p:spPr>
            <a:xfrm>
              <a:off x="16152127" y="4267484"/>
              <a:ext cx="318598" cy="583582"/>
            </a:xfrm>
            <a:custGeom>
              <a:avLst/>
              <a:gdLst>
                <a:gd name="connsiteX0" fmla="*/ 233747 w 318598"/>
                <a:gd name="connsiteY0" fmla="*/ 316428 h 583582"/>
                <a:gd name="connsiteX1" fmla="*/ 282014 w 318598"/>
                <a:gd name="connsiteY1" fmla="*/ 174641 h 583582"/>
                <a:gd name="connsiteX2" fmla="*/ 318216 w 318598"/>
                <a:gd name="connsiteY2" fmla="*/ 8719 h 583582"/>
                <a:gd name="connsiteX3" fmla="*/ 1456 w 318598"/>
                <a:gd name="connsiteY3" fmla="*/ 228942 h 583582"/>
                <a:gd name="connsiteX4" fmla="*/ 176428 w 318598"/>
                <a:gd name="connsiteY4" fmla="*/ 569836 h 583582"/>
                <a:gd name="connsiteX5" fmla="*/ 233747 w 318598"/>
                <a:gd name="connsiteY5" fmla="*/ 316428 h 583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8598" h="583582">
                  <a:moveTo>
                    <a:pt x="233747" y="316428"/>
                  </a:moveTo>
                  <a:cubicBezTo>
                    <a:pt x="242797" y="265143"/>
                    <a:pt x="257881" y="219892"/>
                    <a:pt x="282014" y="174641"/>
                  </a:cubicBezTo>
                  <a:cubicBezTo>
                    <a:pt x="306149" y="126372"/>
                    <a:pt x="321233" y="8719"/>
                    <a:pt x="318216" y="8719"/>
                  </a:cubicBezTo>
                  <a:cubicBezTo>
                    <a:pt x="206595" y="-30499"/>
                    <a:pt x="22574" y="66037"/>
                    <a:pt x="1456" y="228942"/>
                  </a:cubicBezTo>
                  <a:cubicBezTo>
                    <a:pt x="-7594" y="295311"/>
                    <a:pt x="22574" y="542685"/>
                    <a:pt x="176428" y="569836"/>
                  </a:cubicBezTo>
                  <a:cubicBezTo>
                    <a:pt x="272964" y="648272"/>
                    <a:pt x="224696" y="367713"/>
                    <a:pt x="233747" y="316428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2E6F568E-64E8-4CE2-9808-C11B2BF6C385}"/>
                </a:ext>
              </a:extLst>
            </p:cNvPr>
            <p:cNvSpPr/>
            <p:nvPr/>
          </p:nvSpPr>
          <p:spPr>
            <a:xfrm>
              <a:off x="16218105" y="4320574"/>
              <a:ext cx="418159" cy="562314"/>
            </a:xfrm>
            <a:custGeom>
              <a:avLst/>
              <a:gdLst>
                <a:gd name="connsiteX0" fmla="*/ 7880 w 418159"/>
                <a:gd name="connsiteY0" fmla="*/ 181886 h 562314"/>
                <a:gd name="connsiteX1" fmla="*/ 19947 w 418159"/>
                <a:gd name="connsiteY1" fmla="*/ 435294 h 562314"/>
                <a:gd name="connsiteX2" fmla="*/ 167769 w 418159"/>
                <a:gd name="connsiteY2" fmla="*/ 561998 h 562314"/>
                <a:gd name="connsiteX3" fmla="*/ 381958 w 418159"/>
                <a:gd name="connsiteY3" fmla="*/ 420210 h 562314"/>
                <a:gd name="connsiteX4" fmla="*/ 418160 w 418159"/>
                <a:gd name="connsiteY4" fmla="*/ 196970 h 562314"/>
                <a:gd name="connsiteX5" fmla="*/ 206987 w 418159"/>
                <a:gd name="connsiteY5" fmla="*/ 880 h 562314"/>
                <a:gd name="connsiteX6" fmla="*/ 7880 w 418159"/>
                <a:gd name="connsiteY6" fmla="*/ 181886 h 562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159" h="562314">
                  <a:moveTo>
                    <a:pt x="7880" y="181886"/>
                  </a:moveTo>
                  <a:cubicBezTo>
                    <a:pt x="7880" y="181886"/>
                    <a:pt x="-16253" y="368925"/>
                    <a:pt x="19947" y="435294"/>
                  </a:cubicBezTo>
                  <a:cubicBezTo>
                    <a:pt x="56149" y="501662"/>
                    <a:pt x="116484" y="558981"/>
                    <a:pt x="167769" y="561998"/>
                  </a:cubicBezTo>
                  <a:cubicBezTo>
                    <a:pt x="234137" y="568031"/>
                    <a:pt x="345758" y="486579"/>
                    <a:pt x="381958" y="420210"/>
                  </a:cubicBezTo>
                  <a:cubicBezTo>
                    <a:pt x="418160" y="353841"/>
                    <a:pt x="418160" y="248255"/>
                    <a:pt x="418160" y="196970"/>
                  </a:cubicBezTo>
                  <a:cubicBezTo>
                    <a:pt x="415143" y="103450"/>
                    <a:pt x="387992" y="25015"/>
                    <a:pt x="206987" y="880"/>
                  </a:cubicBezTo>
                  <a:cubicBezTo>
                    <a:pt x="119501" y="-11187"/>
                    <a:pt x="25981" y="103450"/>
                    <a:pt x="7880" y="181886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269F1AF5-78CE-42C1-A59B-DEA96FADA4BC}"/>
                </a:ext>
              </a:extLst>
            </p:cNvPr>
            <p:cNvSpPr/>
            <p:nvPr/>
          </p:nvSpPr>
          <p:spPr>
            <a:xfrm>
              <a:off x="16352690" y="4588697"/>
              <a:ext cx="54301" cy="130970"/>
            </a:xfrm>
            <a:custGeom>
              <a:avLst/>
              <a:gdLst>
                <a:gd name="connsiteX0" fmla="*/ 30168 w 54301"/>
                <a:gd name="connsiteY0" fmla="*/ 130970 h 130970"/>
                <a:gd name="connsiteX1" fmla="*/ 6033 w 54301"/>
                <a:gd name="connsiteY1" fmla="*/ 124937 h 130970"/>
                <a:gd name="connsiteX2" fmla="*/ 0 w 54301"/>
                <a:gd name="connsiteY2" fmla="*/ 112870 h 130970"/>
                <a:gd name="connsiteX3" fmla="*/ 27151 w 54301"/>
                <a:gd name="connsiteY3" fmla="*/ 4266 h 130970"/>
                <a:gd name="connsiteX4" fmla="*/ 33185 w 54301"/>
                <a:gd name="connsiteY4" fmla="*/ 1250 h 130970"/>
                <a:gd name="connsiteX5" fmla="*/ 36201 w 54301"/>
                <a:gd name="connsiteY5" fmla="*/ 7283 h 130970"/>
                <a:gd name="connsiteX6" fmla="*/ 9050 w 54301"/>
                <a:gd name="connsiteY6" fmla="*/ 112870 h 130970"/>
                <a:gd name="connsiteX7" fmla="*/ 9050 w 54301"/>
                <a:gd name="connsiteY7" fmla="*/ 115887 h 130970"/>
                <a:gd name="connsiteX8" fmla="*/ 48268 w 54301"/>
                <a:gd name="connsiteY8" fmla="*/ 115887 h 130970"/>
                <a:gd name="connsiteX9" fmla="*/ 54301 w 54301"/>
                <a:gd name="connsiteY9" fmla="*/ 121920 h 130970"/>
                <a:gd name="connsiteX10" fmla="*/ 48268 w 54301"/>
                <a:gd name="connsiteY10" fmla="*/ 127953 h 130970"/>
                <a:gd name="connsiteX11" fmla="*/ 30168 w 54301"/>
                <a:gd name="connsiteY11" fmla="*/ 130970 h 13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301" h="130970">
                  <a:moveTo>
                    <a:pt x="30168" y="130970"/>
                  </a:moveTo>
                  <a:cubicBezTo>
                    <a:pt x="21117" y="130970"/>
                    <a:pt x="12067" y="130970"/>
                    <a:pt x="6033" y="124937"/>
                  </a:cubicBezTo>
                  <a:cubicBezTo>
                    <a:pt x="3017" y="121920"/>
                    <a:pt x="0" y="118903"/>
                    <a:pt x="0" y="112870"/>
                  </a:cubicBezTo>
                  <a:cubicBezTo>
                    <a:pt x="0" y="91752"/>
                    <a:pt x="27151" y="7283"/>
                    <a:pt x="27151" y="4266"/>
                  </a:cubicBezTo>
                  <a:cubicBezTo>
                    <a:pt x="27151" y="1250"/>
                    <a:pt x="30168" y="-1767"/>
                    <a:pt x="33185" y="1250"/>
                  </a:cubicBezTo>
                  <a:cubicBezTo>
                    <a:pt x="36201" y="1250"/>
                    <a:pt x="39218" y="4266"/>
                    <a:pt x="36201" y="7283"/>
                  </a:cubicBezTo>
                  <a:cubicBezTo>
                    <a:pt x="30168" y="31417"/>
                    <a:pt x="9050" y="94769"/>
                    <a:pt x="9050" y="112870"/>
                  </a:cubicBezTo>
                  <a:cubicBezTo>
                    <a:pt x="9050" y="112870"/>
                    <a:pt x="9050" y="115887"/>
                    <a:pt x="9050" y="115887"/>
                  </a:cubicBezTo>
                  <a:cubicBezTo>
                    <a:pt x="15084" y="121920"/>
                    <a:pt x="36201" y="118903"/>
                    <a:pt x="48268" y="115887"/>
                  </a:cubicBezTo>
                  <a:cubicBezTo>
                    <a:pt x="51284" y="115887"/>
                    <a:pt x="54301" y="115887"/>
                    <a:pt x="54301" y="121920"/>
                  </a:cubicBezTo>
                  <a:cubicBezTo>
                    <a:pt x="54301" y="124937"/>
                    <a:pt x="54301" y="127953"/>
                    <a:pt x="48268" y="127953"/>
                  </a:cubicBezTo>
                  <a:cubicBezTo>
                    <a:pt x="51284" y="127953"/>
                    <a:pt x="39218" y="130970"/>
                    <a:pt x="30168" y="130970"/>
                  </a:cubicBezTo>
                  <a:close/>
                </a:path>
              </a:pathLst>
            </a:custGeom>
            <a:solidFill>
              <a:srgbClr val="E58777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8D576A54-A2B3-47B0-AA78-4CD688B11F59}"/>
                </a:ext>
              </a:extLst>
            </p:cNvPr>
            <p:cNvSpPr/>
            <p:nvPr/>
          </p:nvSpPr>
          <p:spPr>
            <a:xfrm>
              <a:off x="16334589" y="4767935"/>
              <a:ext cx="105586" cy="54301"/>
            </a:xfrm>
            <a:custGeom>
              <a:avLst/>
              <a:gdLst>
                <a:gd name="connsiteX0" fmla="*/ 105587 w 105586"/>
                <a:gd name="connsiteY0" fmla="*/ 0 h 54301"/>
                <a:gd name="connsiteX1" fmla="*/ 0 w 105586"/>
                <a:gd name="connsiteY1" fmla="*/ 0 h 54301"/>
                <a:gd name="connsiteX2" fmla="*/ 51285 w 105586"/>
                <a:gd name="connsiteY2" fmla="*/ 54302 h 54301"/>
                <a:gd name="connsiteX3" fmla="*/ 105587 w 105586"/>
                <a:gd name="connsiteY3" fmla="*/ 0 h 5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586" h="54301">
                  <a:moveTo>
                    <a:pt x="105587" y="0"/>
                  </a:moveTo>
                  <a:cubicBezTo>
                    <a:pt x="51285" y="24134"/>
                    <a:pt x="0" y="0"/>
                    <a:pt x="0" y="0"/>
                  </a:cubicBezTo>
                  <a:cubicBezTo>
                    <a:pt x="0" y="0"/>
                    <a:pt x="15084" y="54302"/>
                    <a:pt x="51285" y="54302"/>
                  </a:cubicBezTo>
                  <a:cubicBezTo>
                    <a:pt x="90503" y="51285"/>
                    <a:pt x="105587" y="0"/>
                    <a:pt x="105587" y="0"/>
                  </a:cubicBezTo>
                  <a:close/>
                </a:path>
              </a:pathLst>
            </a:custGeom>
            <a:solidFill>
              <a:srgbClr val="FFFFFF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858E9091-2CD1-47EB-8BB0-6EFDFF1EDB31}"/>
                </a:ext>
              </a:extLst>
            </p:cNvPr>
            <p:cNvSpPr/>
            <p:nvPr/>
          </p:nvSpPr>
          <p:spPr>
            <a:xfrm>
              <a:off x="16282535" y="4559187"/>
              <a:ext cx="39986" cy="40578"/>
            </a:xfrm>
            <a:custGeom>
              <a:avLst/>
              <a:gdLst>
                <a:gd name="connsiteX0" fmla="*/ 39987 w 39986"/>
                <a:gd name="connsiteY0" fmla="*/ 24726 h 40578"/>
                <a:gd name="connsiteX1" fmla="*/ 15852 w 39986"/>
                <a:gd name="connsiteY1" fmla="*/ 39810 h 40578"/>
                <a:gd name="connsiteX2" fmla="*/ 768 w 39986"/>
                <a:gd name="connsiteY2" fmla="*/ 15676 h 40578"/>
                <a:gd name="connsiteX3" fmla="*/ 24903 w 39986"/>
                <a:gd name="connsiteY3" fmla="*/ 592 h 40578"/>
                <a:gd name="connsiteX4" fmla="*/ 39987 w 39986"/>
                <a:gd name="connsiteY4" fmla="*/ 24726 h 40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86" h="40578">
                  <a:moveTo>
                    <a:pt x="39987" y="24726"/>
                  </a:moveTo>
                  <a:cubicBezTo>
                    <a:pt x="36970" y="36793"/>
                    <a:pt x="27920" y="42826"/>
                    <a:pt x="15852" y="39810"/>
                  </a:cubicBezTo>
                  <a:cubicBezTo>
                    <a:pt x="3785" y="36793"/>
                    <a:pt x="-2248" y="27743"/>
                    <a:pt x="768" y="15676"/>
                  </a:cubicBezTo>
                  <a:cubicBezTo>
                    <a:pt x="3785" y="6625"/>
                    <a:pt x="12836" y="-2425"/>
                    <a:pt x="24903" y="592"/>
                  </a:cubicBezTo>
                  <a:cubicBezTo>
                    <a:pt x="33953" y="3608"/>
                    <a:pt x="39987" y="15676"/>
                    <a:pt x="39987" y="24726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03ADCC02-CBE6-4C55-94EA-E41D9EFD4488}"/>
                </a:ext>
              </a:extLst>
            </p:cNvPr>
            <p:cNvSpPr/>
            <p:nvPr/>
          </p:nvSpPr>
          <p:spPr>
            <a:xfrm>
              <a:off x="16469574" y="4565220"/>
              <a:ext cx="40755" cy="40578"/>
            </a:xfrm>
            <a:custGeom>
              <a:avLst/>
              <a:gdLst>
                <a:gd name="connsiteX0" fmla="*/ 39986 w 40755"/>
                <a:gd name="connsiteY0" fmla="*/ 24726 h 40578"/>
                <a:gd name="connsiteX1" fmla="*/ 15853 w 40755"/>
                <a:gd name="connsiteY1" fmla="*/ 39810 h 40578"/>
                <a:gd name="connsiteX2" fmla="*/ 769 w 40755"/>
                <a:gd name="connsiteY2" fmla="*/ 15676 h 40578"/>
                <a:gd name="connsiteX3" fmla="*/ 24903 w 40755"/>
                <a:gd name="connsiteY3" fmla="*/ 592 h 40578"/>
                <a:gd name="connsiteX4" fmla="*/ 39986 w 40755"/>
                <a:gd name="connsiteY4" fmla="*/ 24726 h 40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55" h="40578">
                  <a:moveTo>
                    <a:pt x="39986" y="24726"/>
                  </a:moveTo>
                  <a:cubicBezTo>
                    <a:pt x="36970" y="36793"/>
                    <a:pt x="27919" y="42826"/>
                    <a:pt x="15853" y="39810"/>
                  </a:cubicBezTo>
                  <a:cubicBezTo>
                    <a:pt x="3786" y="36793"/>
                    <a:pt x="-2248" y="27743"/>
                    <a:pt x="769" y="15676"/>
                  </a:cubicBezTo>
                  <a:cubicBezTo>
                    <a:pt x="3786" y="6625"/>
                    <a:pt x="12836" y="-2425"/>
                    <a:pt x="24903" y="592"/>
                  </a:cubicBezTo>
                  <a:cubicBezTo>
                    <a:pt x="36970" y="3609"/>
                    <a:pt x="43003" y="15676"/>
                    <a:pt x="39986" y="24726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EE4562FC-F6C9-47E9-A76A-1B5169C9FF3A}"/>
                </a:ext>
              </a:extLst>
            </p:cNvPr>
            <p:cNvSpPr/>
            <p:nvPr/>
          </p:nvSpPr>
          <p:spPr>
            <a:xfrm>
              <a:off x="16256907" y="4510002"/>
              <a:ext cx="90998" cy="34692"/>
            </a:xfrm>
            <a:custGeom>
              <a:avLst/>
              <a:gdLst>
                <a:gd name="connsiteX0" fmla="*/ 8297 w 90998"/>
                <a:gd name="connsiteY0" fmla="*/ 34693 h 34692"/>
                <a:gd name="connsiteX1" fmla="*/ 2263 w 90998"/>
                <a:gd name="connsiteY1" fmla="*/ 31676 h 34692"/>
                <a:gd name="connsiteX2" fmla="*/ 2263 w 90998"/>
                <a:gd name="connsiteY2" fmla="*/ 19609 h 34692"/>
                <a:gd name="connsiteX3" fmla="*/ 86732 w 90998"/>
                <a:gd name="connsiteY3" fmla="*/ 7542 h 34692"/>
                <a:gd name="connsiteX4" fmla="*/ 89749 w 90998"/>
                <a:gd name="connsiteY4" fmla="*/ 16592 h 34692"/>
                <a:gd name="connsiteX5" fmla="*/ 80699 w 90998"/>
                <a:gd name="connsiteY5" fmla="*/ 19609 h 34692"/>
                <a:gd name="connsiteX6" fmla="*/ 14330 w 90998"/>
                <a:gd name="connsiteY6" fmla="*/ 25642 h 34692"/>
                <a:gd name="connsiteX7" fmla="*/ 8297 w 90998"/>
                <a:gd name="connsiteY7" fmla="*/ 34693 h 34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4692">
                  <a:moveTo>
                    <a:pt x="8297" y="34693"/>
                  </a:moveTo>
                  <a:cubicBezTo>
                    <a:pt x="5280" y="34693"/>
                    <a:pt x="5280" y="34693"/>
                    <a:pt x="2263" y="31676"/>
                  </a:cubicBezTo>
                  <a:cubicBezTo>
                    <a:pt x="-754" y="28659"/>
                    <a:pt x="-754" y="22626"/>
                    <a:pt x="2263" y="19609"/>
                  </a:cubicBezTo>
                  <a:cubicBezTo>
                    <a:pt x="29413" y="-10559"/>
                    <a:pt x="68632" y="1508"/>
                    <a:pt x="86732" y="7542"/>
                  </a:cubicBezTo>
                  <a:cubicBezTo>
                    <a:pt x="89749" y="10559"/>
                    <a:pt x="92766" y="13576"/>
                    <a:pt x="89749" y="16592"/>
                  </a:cubicBezTo>
                  <a:cubicBezTo>
                    <a:pt x="86732" y="19609"/>
                    <a:pt x="83716" y="22626"/>
                    <a:pt x="80699" y="19609"/>
                  </a:cubicBezTo>
                  <a:cubicBezTo>
                    <a:pt x="77682" y="19609"/>
                    <a:pt x="38464" y="-1508"/>
                    <a:pt x="14330" y="25642"/>
                  </a:cubicBezTo>
                  <a:cubicBezTo>
                    <a:pt x="11313" y="34693"/>
                    <a:pt x="11313" y="34693"/>
                    <a:pt x="8297" y="34693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9998E56A-44DB-4D19-83C6-3B12CB96EEB5}"/>
                </a:ext>
              </a:extLst>
            </p:cNvPr>
            <p:cNvSpPr/>
            <p:nvPr/>
          </p:nvSpPr>
          <p:spPr>
            <a:xfrm>
              <a:off x="16441943" y="4511818"/>
              <a:ext cx="90998" cy="35894"/>
            </a:xfrm>
            <a:custGeom>
              <a:avLst/>
              <a:gdLst>
                <a:gd name="connsiteX0" fmla="*/ 85719 w 90998"/>
                <a:gd name="connsiteY0" fmla="*/ 35894 h 35894"/>
                <a:gd name="connsiteX1" fmla="*/ 79686 w 90998"/>
                <a:gd name="connsiteY1" fmla="*/ 32877 h 35894"/>
                <a:gd name="connsiteX2" fmla="*/ 13317 w 90998"/>
                <a:gd name="connsiteY2" fmla="*/ 26844 h 35894"/>
                <a:gd name="connsiteX3" fmla="*/ 1250 w 90998"/>
                <a:gd name="connsiteY3" fmla="*/ 23827 h 35894"/>
                <a:gd name="connsiteX4" fmla="*/ 4267 w 90998"/>
                <a:gd name="connsiteY4" fmla="*/ 11760 h 35894"/>
                <a:gd name="connsiteX5" fmla="*/ 88736 w 90998"/>
                <a:gd name="connsiteY5" fmla="*/ 20810 h 35894"/>
                <a:gd name="connsiteX6" fmla="*/ 88736 w 90998"/>
                <a:gd name="connsiteY6" fmla="*/ 32877 h 35894"/>
                <a:gd name="connsiteX7" fmla="*/ 85719 w 90998"/>
                <a:gd name="connsiteY7" fmla="*/ 35894 h 3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5894">
                  <a:moveTo>
                    <a:pt x="85719" y="35894"/>
                  </a:moveTo>
                  <a:cubicBezTo>
                    <a:pt x="82702" y="35894"/>
                    <a:pt x="82702" y="35894"/>
                    <a:pt x="79686" y="32877"/>
                  </a:cubicBezTo>
                  <a:cubicBezTo>
                    <a:pt x="79686" y="32877"/>
                    <a:pt x="49518" y="2710"/>
                    <a:pt x="13317" y="26844"/>
                  </a:cubicBezTo>
                  <a:cubicBezTo>
                    <a:pt x="10300" y="29861"/>
                    <a:pt x="4267" y="26844"/>
                    <a:pt x="1250" y="23827"/>
                  </a:cubicBezTo>
                  <a:cubicBezTo>
                    <a:pt x="-1767" y="20810"/>
                    <a:pt x="1250" y="14777"/>
                    <a:pt x="4267" y="11760"/>
                  </a:cubicBezTo>
                  <a:cubicBezTo>
                    <a:pt x="40467" y="-12374"/>
                    <a:pt x="76669" y="5726"/>
                    <a:pt x="88736" y="20810"/>
                  </a:cubicBezTo>
                  <a:cubicBezTo>
                    <a:pt x="91752" y="23827"/>
                    <a:pt x="91752" y="29861"/>
                    <a:pt x="88736" y="32877"/>
                  </a:cubicBezTo>
                  <a:cubicBezTo>
                    <a:pt x="88736" y="32877"/>
                    <a:pt x="88736" y="35894"/>
                    <a:pt x="85719" y="35894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F465E150-AFF6-4D70-9CB9-581B6DC173D6}"/>
                </a:ext>
              </a:extLst>
            </p:cNvPr>
            <p:cNvSpPr/>
            <p:nvPr/>
          </p:nvSpPr>
          <p:spPr>
            <a:xfrm>
              <a:off x="16198607" y="4271066"/>
              <a:ext cx="271818" cy="273629"/>
            </a:xfrm>
            <a:custGeom>
              <a:avLst/>
              <a:gdLst>
                <a:gd name="connsiteX0" fmla="*/ 268719 w 271818"/>
                <a:gd name="connsiteY0" fmla="*/ 2121 h 273629"/>
                <a:gd name="connsiteX1" fmla="*/ 235535 w 271818"/>
                <a:gd name="connsiteY1" fmla="*/ 146925 h 273629"/>
                <a:gd name="connsiteX2" fmla="*/ 228 w 271818"/>
                <a:gd name="connsiteY2" fmla="*/ 273629 h 273629"/>
                <a:gd name="connsiteX3" fmla="*/ 268719 w 271818"/>
                <a:gd name="connsiteY3" fmla="*/ 2121 h 273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818" h="273629">
                  <a:moveTo>
                    <a:pt x="268719" y="2121"/>
                  </a:moveTo>
                  <a:cubicBezTo>
                    <a:pt x="268719" y="2121"/>
                    <a:pt x="286820" y="107707"/>
                    <a:pt x="235535" y="146925"/>
                  </a:cubicBezTo>
                  <a:cubicBezTo>
                    <a:pt x="235535" y="146925"/>
                    <a:pt x="27378" y="189160"/>
                    <a:pt x="228" y="273629"/>
                  </a:cubicBezTo>
                  <a:cubicBezTo>
                    <a:pt x="228" y="273629"/>
                    <a:pt x="-17873" y="-28047"/>
                    <a:pt x="268719" y="2121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CB718592-4EB1-4226-A560-E997F55721A3}"/>
                </a:ext>
              </a:extLst>
            </p:cNvPr>
            <p:cNvSpPr/>
            <p:nvPr/>
          </p:nvSpPr>
          <p:spPr>
            <a:xfrm>
              <a:off x="16437159" y="4273187"/>
              <a:ext cx="294002" cy="347382"/>
            </a:xfrm>
            <a:custGeom>
              <a:avLst/>
              <a:gdLst>
                <a:gd name="connsiteX0" fmla="*/ 0 w 294002"/>
                <a:gd name="connsiteY0" fmla="*/ 144805 h 347382"/>
                <a:gd name="connsiteX1" fmla="*/ 138771 w 294002"/>
                <a:gd name="connsiteY1" fmla="*/ 199106 h 347382"/>
                <a:gd name="connsiteX2" fmla="*/ 196089 w 294002"/>
                <a:gd name="connsiteY2" fmla="*/ 316760 h 347382"/>
                <a:gd name="connsiteX3" fmla="*/ 283575 w 294002"/>
                <a:gd name="connsiteY3" fmla="*/ 337877 h 347382"/>
                <a:gd name="connsiteX4" fmla="*/ 30168 w 294002"/>
                <a:gd name="connsiteY4" fmla="*/ 0 h 347382"/>
                <a:gd name="connsiteX5" fmla="*/ 0 w 294002"/>
                <a:gd name="connsiteY5" fmla="*/ 144805 h 347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002" h="347382">
                  <a:moveTo>
                    <a:pt x="0" y="144805"/>
                  </a:moveTo>
                  <a:cubicBezTo>
                    <a:pt x="0" y="144805"/>
                    <a:pt x="90503" y="193073"/>
                    <a:pt x="138771" y="199106"/>
                  </a:cubicBezTo>
                  <a:cubicBezTo>
                    <a:pt x="190056" y="205140"/>
                    <a:pt x="196089" y="316760"/>
                    <a:pt x="196089" y="316760"/>
                  </a:cubicBezTo>
                  <a:cubicBezTo>
                    <a:pt x="196089" y="316760"/>
                    <a:pt x="268491" y="368045"/>
                    <a:pt x="283575" y="337877"/>
                  </a:cubicBezTo>
                  <a:cubicBezTo>
                    <a:pt x="316760" y="271508"/>
                    <a:pt x="280559" y="0"/>
                    <a:pt x="30168" y="0"/>
                  </a:cubicBezTo>
                  <a:cubicBezTo>
                    <a:pt x="30168" y="0"/>
                    <a:pt x="21118" y="138771"/>
                    <a:pt x="0" y="144805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5C5390AE-9312-41A0-901C-297BD06D451E}"/>
                </a:ext>
              </a:extLst>
            </p:cNvPr>
            <p:cNvSpPr/>
            <p:nvPr/>
          </p:nvSpPr>
          <p:spPr>
            <a:xfrm>
              <a:off x="16431126" y="4270170"/>
              <a:ext cx="150837" cy="208156"/>
            </a:xfrm>
            <a:custGeom>
              <a:avLst/>
              <a:gdLst>
                <a:gd name="connsiteX0" fmla="*/ 144804 w 150837"/>
                <a:gd name="connsiteY0" fmla="*/ 208156 h 208156"/>
                <a:gd name="connsiteX1" fmla="*/ 144804 w 150837"/>
                <a:gd name="connsiteY1" fmla="*/ 208156 h 208156"/>
                <a:gd name="connsiteX2" fmla="*/ 48267 w 150837"/>
                <a:gd name="connsiteY2" fmla="*/ 174972 h 208156"/>
                <a:gd name="connsiteX3" fmla="*/ 3016 w 150837"/>
                <a:gd name="connsiteY3" fmla="*/ 150838 h 208156"/>
                <a:gd name="connsiteX4" fmla="*/ 0 w 150837"/>
                <a:gd name="connsiteY4" fmla="*/ 147821 h 208156"/>
                <a:gd name="connsiteX5" fmla="*/ 0 w 150837"/>
                <a:gd name="connsiteY5" fmla="*/ 144804 h 208156"/>
                <a:gd name="connsiteX6" fmla="*/ 18100 w 150837"/>
                <a:gd name="connsiteY6" fmla="*/ 120670 h 208156"/>
                <a:gd name="connsiteX7" fmla="*/ 27151 w 150837"/>
                <a:gd name="connsiteY7" fmla="*/ 81452 h 208156"/>
                <a:gd name="connsiteX8" fmla="*/ 30168 w 150837"/>
                <a:gd name="connsiteY8" fmla="*/ 45251 h 208156"/>
                <a:gd name="connsiteX9" fmla="*/ 33184 w 150837"/>
                <a:gd name="connsiteY9" fmla="*/ 6033 h 208156"/>
                <a:gd name="connsiteX10" fmla="*/ 39218 w 150837"/>
                <a:gd name="connsiteY10" fmla="*/ 0 h 208156"/>
                <a:gd name="connsiteX11" fmla="*/ 45251 w 150837"/>
                <a:gd name="connsiteY11" fmla="*/ 6033 h 208156"/>
                <a:gd name="connsiteX12" fmla="*/ 42234 w 150837"/>
                <a:gd name="connsiteY12" fmla="*/ 42235 h 208156"/>
                <a:gd name="connsiteX13" fmla="*/ 39218 w 150837"/>
                <a:gd name="connsiteY13" fmla="*/ 81452 h 208156"/>
                <a:gd name="connsiteX14" fmla="*/ 27151 w 150837"/>
                <a:gd name="connsiteY14" fmla="*/ 123687 h 208156"/>
                <a:gd name="connsiteX15" fmla="*/ 12067 w 150837"/>
                <a:gd name="connsiteY15" fmla="*/ 144804 h 208156"/>
                <a:gd name="connsiteX16" fmla="*/ 51284 w 150837"/>
                <a:gd name="connsiteY16" fmla="*/ 165922 h 208156"/>
                <a:gd name="connsiteX17" fmla="*/ 144804 w 150837"/>
                <a:gd name="connsiteY17" fmla="*/ 196089 h 208156"/>
                <a:gd name="connsiteX18" fmla="*/ 150838 w 150837"/>
                <a:gd name="connsiteY18" fmla="*/ 202123 h 208156"/>
                <a:gd name="connsiteX19" fmla="*/ 144804 w 150837"/>
                <a:gd name="connsiteY19" fmla="*/ 208156 h 20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0837" h="208156">
                  <a:moveTo>
                    <a:pt x="144804" y="208156"/>
                  </a:moveTo>
                  <a:cubicBezTo>
                    <a:pt x="144804" y="208156"/>
                    <a:pt x="144804" y="208156"/>
                    <a:pt x="144804" y="208156"/>
                  </a:cubicBezTo>
                  <a:cubicBezTo>
                    <a:pt x="108603" y="202123"/>
                    <a:pt x="72402" y="187039"/>
                    <a:pt x="48267" y="174972"/>
                  </a:cubicBezTo>
                  <a:cubicBezTo>
                    <a:pt x="21117" y="162905"/>
                    <a:pt x="3016" y="150838"/>
                    <a:pt x="3016" y="150838"/>
                  </a:cubicBezTo>
                  <a:cubicBezTo>
                    <a:pt x="3016" y="150838"/>
                    <a:pt x="0" y="147821"/>
                    <a:pt x="0" y="147821"/>
                  </a:cubicBezTo>
                  <a:cubicBezTo>
                    <a:pt x="0" y="144804"/>
                    <a:pt x="0" y="144804"/>
                    <a:pt x="0" y="144804"/>
                  </a:cubicBezTo>
                  <a:cubicBezTo>
                    <a:pt x="6033" y="138771"/>
                    <a:pt x="12067" y="129721"/>
                    <a:pt x="18100" y="120670"/>
                  </a:cubicBezTo>
                  <a:cubicBezTo>
                    <a:pt x="24134" y="108603"/>
                    <a:pt x="27151" y="93520"/>
                    <a:pt x="27151" y="81452"/>
                  </a:cubicBezTo>
                  <a:cubicBezTo>
                    <a:pt x="27151" y="75419"/>
                    <a:pt x="27151" y="60335"/>
                    <a:pt x="30168" y="45251"/>
                  </a:cubicBezTo>
                  <a:cubicBezTo>
                    <a:pt x="30168" y="30168"/>
                    <a:pt x="30168" y="15084"/>
                    <a:pt x="33184" y="6033"/>
                  </a:cubicBezTo>
                  <a:cubicBezTo>
                    <a:pt x="33184" y="3017"/>
                    <a:pt x="36201" y="0"/>
                    <a:pt x="39218" y="0"/>
                  </a:cubicBezTo>
                  <a:cubicBezTo>
                    <a:pt x="42234" y="0"/>
                    <a:pt x="45251" y="3017"/>
                    <a:pt x="45251" y="6033"/>
                  </a:cubicBezTo>
                  <a:cubicBezTo>
                    <a:pt x="45251" y="12067"/>
                    <a:pt x="45251" y="27151"/>
                    <a:pt x="42234" y="42235"/>
                  </a:cubicBezTo>
                  <a:cubicBezTo>
                    <a:pt x="42234" y="57318"/>
                    <a:pt x="42234" y="72402"/>
                    <a:pt x="39218" y="81452"/>
                  </a:cubicBezTo>
                  <a:cubicBezTo>
                    <a:pt x="36201" y="96536"/>
                    <a:pt x="36201" y="111620"/>
                    <a:pt x="27151" y="123687"/>
                  </a:cubicBezTo>
                  <a:cubicBezTo>
                    <a:pt x="24134" y="132737"/>
                    <a:pt x="18100" y="138771"/>
                    <a:pt x="12067" y="144804"/>
                  </a:cubicBezTo>
                  <a:cubicBezTo>
                    <a:pt x="18100" y="147821"/>
                    <a:pt x="33184" y="156871"/>
                    <a:pt x="51284" y="165922"/>
                  </a:cubicBezTo>
                  <a:cubicBezTo>
                    <a:pt x="75419" y="177989"/>
                    <a:pt x="111620" y="193073"/>
                    <a:pt x="144804" y="196089"/>
                  </a:cubicBezTo>
                  <a:cubicBezTo>
                    <a:pt x="147821" y="196089"/>
                    <a:pt x="150838" y="199106"/>
                    <a:pt x="150838" y="202123"/>
                  </a:cubicBezTo>
                  <a:cubicBezTo>
                    <a:pt x="150838" y="205140"/>
                    <a:pt x="147821" y="208156"/>
                    <a:pt x="144804" y="208156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A50AC24F-07CF-4EF2-82EF-498680EBCB6E}"/>
                </a:ext>
              </a:extLst>
            </p:cNvPr>
            <p:cNvSpPr/>
            <p:nvPr/>
          </p:nvSpPr>
          <p:spPr>
            <a:xfrm>
              <a:off x="16317242" y="4811937"/>
              <a:ext cx="220719" cy="79685"/>
            </a:xfrm>
            <a:custGeom>
              <a:avLst/>
              <a:gdLst>
                <a:gd name="connsiteX0" fmla="*/ 71648 w 220719"/>
                <a:gd name="connsiteY0" fmla="*/ 79685 h 79685"/>
                <a:gd name="connsiteX1" fmla="*/ 2263 w 220719"/>
                <a:gd name="connsiteY1" fmla="*/ 52534 h 79685"/>
                <a:gd name="connsiteX2" fmla="*/ 2263 w 220719"/>
                <a:gd name="connsiteY2" fmla="*/ 43484 h 79685"/>
                <a:gd name="connsiteX3" fmla="*/ 11313 w 220719"/>
                <a:gd name="connsiteY3" fmla="*/ 43484 h 79685"/>
                <a:gd name="connsiteX4" fmla="*/ 80699 w 220719"/>
                <a:gd name="connsiteY4" fmla="*/ 67618 h 79685"/>
                <a:gd name="connsiteX5" fmla="*/ 210419 w 220719"/>
                <a:gd name="connsiteY5" fmla="*/ 1250 h 79685"/>
                <a:gd name="connsiteX6" fmla="*/ 219470 w 220719"/>
                <a:gd name="connsiteY6" fmla="*/ 4266 h 79685"/>
                <a:gd name="connsiteX7" fmla="*/ 216453 w 220719"/>
                <a:gd name="connsiteY7" fmla="*/ 13317 h 79685"/>
                <a:gd name="connsiteX8" fmla="*/ 80699 w 220719"/>
                <a:gd name="connsiteY8" fmla="*/ 79685 h 79685"/>
                <a:gd name="connsiteX9" fmla="*/ 71648 w 220719"/>
                <a:gd name="connsiteY9" fmla="*/ 79685 h 79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719" h="79685">
                  <a:moveTo>
                    <a:pt x="71648" y="79685"/>
                  </a:moveTo>
                  <a:cubicBezTo>
                    <a:pt x="32430" y="79685"/>
                    <a:pt x="5280" y="52534"/>
                    <a:pt x="2263" y="52534"/>
                  </a:cubicBezTo>
                  <a:cubicBezTo>
                    <a:pt x="-754" y="49518"/>
                    <a:pt x="-754" y="46501"/>
                    <a:pt x="2263" y="43484"/>
                  </a:cubicBezTo>
                  <a:cubicBezTo>
                    <a:pt x="5280" y="40467"/>
                    <a:pt x="8297" y="40467"/>
                    <a:pt x="11313" y="43484"/>
                  </a:cubicBezTo>
                  <a:cubicBezTo>
                    <a:pt x="11313" y="43484"/>
                    <a:pt x="44497" y="73652"/>
                    <a:pt x="80699" y="67618"/>
                  </a:cubicBezTo>
                  <a:cubicBezTo>
                    <a:pt x="119916" y="61585"/>
                    <a:pt x="210419" y="1250"/>
                    <a:pt x="210419" y="1250"/>
                  </a:cubicBezTo>
                  <a:cubicBezTo>
                    <a:pt x="213436" y="-1767"/>
                    <a:pt x="216453" y="1250"/>
                    <a:pt x="219470" y="4266"/>
                  </a:cubicBezTo>
                  <a:cubicBezTo>
                    <a:pt x="222486" y="7283"/>
                    <a:pt x="219470" y="10300"/>
                    <a:pt x="216453" y="13317"/>
                  </a:cubicBezTo>
                  <a:cubicBezTo>
                    <a:pt x="213436" y="16333"/>
                    <a:pt x="122933" y="76669"/>
                    <a:pt x="80699" y="79685"/>
                  </a:cubicBezTo>
                  <a:cubicBezTo>
                    <a:pt x="77682" y="79685"/>
                    <a:pt x="74665" y="79685"/>
                    <a:pt x="71648" y="79685"/>
                  </a:cubicBezTo>
                  <a:close/>
                </a:path>
              </a:pathLst>
            </a:custGeom>
            <a:solidFill>
              <a:srgbClr val="E58777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A4EB57CF-2F1D-4400-9893-426CCAC4524B}"/>
                </a:ext>
              </a:extLst>
            </p:cNvPr>
            <p:cNvSpPr/>
            <p:nvPr/>
          </p:nvSpPr>
          <p:spPr>
            <a:xfrm>
              <a:off x="16597047" y="4576410"/>
              <a:ext cx="76767" cy="112851"/>
            </a:xfrm>
            <a:custGeom>
              <a:avLst/>
              <a:gdLst>
                <a:gd name="connsiteX0" fmla="*/ 12067 w 76767"/>
                <a:gd name="connsiteY0" fmla="*/ 16553 h 112851"/>
                <a:gd name="connsiteX1" fmla="*/ 69385 w 76767"/>
                <a:gd name="connsiteY1" fmla="*/ 7503 h 112851"/>
                <a:gd name="connsiteX2" fmla="*/ 12067 w 76767"/>
                <a:gd name="connsiteY2" fmla="*/ 110072 h 112851"/>
                <a:gd name="connsiteX3" fmla="*/ 12067 w 76767"/>
                <a:gd name="connsiteY3" fmla="*/ 16553 h 112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767" h="112851">
                  <a:moveTo>
                    <a:pt x="12067" y="16553"/>
                  </a:moveTo>
                  <a:cubicBezTo>
                    <a:pt x="12067" y="16553"/>
                    <a:pt x="45252" y="-13615"/>
                    <a:pt x="69385" y="7503"/>
                  </a:cubicBezTo>
                  <a:cubicBezTo>
                    <a:pt x="93519" y="25603"/>
                    <a:pt x="54301" y="131190"/>
                    <a:pt x="12067" y="110072"/>
                  </a:cubicBezTo>
                  <a:cubicBezTo>
                    <a:pt x="-15084" y="88955"/>
                    <a:pt x="12067" y="16553"/>
                    <a:pt x="12067" y="16553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BC50E41E-9AE7-4707-8F1B-E40EB4D8F189}"/>
                </a:ext>
              </a:extLst>
            </p:cNvPr>
            <p:cNvSpPr/>
            <p:nvPr/>
          </p:nvSpPr>
          <p:spPr>
            <a:xfrm>
              <a:off x="16165650" y="4454192"/>
              <a:ext cx="144805" cy="162905"/>
            </a:xfrm>
            <a:custGeom>
              <a:avLst/>
              <a:gdLst>
                <a:gd name="connsiteX0" fmla="*/ 6034 w 144805"/>
                <a:gd name="connsiteY0" fmla="*/ 162905 h 162905"/>
                <a:gd name="connsiteX1" fmla="*/ 6034 w 144805"/>
                <a:gd name="connsiteY1" fmla="*/ 162905 h 162905"/>
                <a:gd name="connsiteX2" fmla="*/ 0 w 144805"/>
                <a:gd name="connsiteY2" fmla="*/ 156871 h 162905"/>
                <a:gd name="connsiteX3" fmla="*/ 138771 w 144805"/>
                <a:gd name="connsiteY3" fmla="*/ 0 h 162905"/>
                <a:gd name="connsiteX4" fmla="*/ 144805 w 144805"/>
                <a:gd name="connsiteY4" fmla="*/ 3017 h 162905"/>
                <a:gd name="connsiteX5" fmla="*/ 141788 w 144805"/>
                <a:gd name="connsiteY5" fmla="*/ 9050 h 162905"/>
                <a:gd name="connsiteX6" fmla="*/ 12067 w 144805"/>
                <a:gd name="connsiteY6" fmla="*/ 156871 h 162905"/>
                <a:gd name="connsiteX7" fmla="*/ 6034 w 144805"/>
                <a:gd name="connsiteY7" fmla="*/ 162905 h 162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805" h="162905">
                  <a:moveTo>
                    <a:pt x="6034" y="162905"/>
                  </a:moveTo>
                  <a:cubicBezTo>
                    <a:pt x="6034" y="162905"/>
                    <a:pt x="6034" y="162905"/>
                    <a:pt x="6034" y="162905"/>
                  </a:cubicBezTo>
                  <a:cubicBezTo>
                    <a:pt x="3017" y="162905"/>
                    <a:pt x="0" y="159888"/>
                    <a:pt x="0" y="156871"/>
                  </a:cubicBezTo>
                  <a:cubicBezTo>
                    <a:pt x="24135" y="30168"/>
                    <a:pt x="138771" y="0"/>
                    <a:pt x="138771" y="0"/>
                  </a:cubicBezTo>
                  <a:cubicBezTo>
                    <a:pt x="141788" y="0"/>
                    <a:pt x="144805" y="0"/>
                    <a:pt x="144805" y="3017"/>
                  </a:cubicBezTo>
                  <a:cubicBezTo>
                    <a:pt x="144805" y="6033"/>
                    <a:pt x="144805" y="9050"/>
                    <a:pt x="141788" y="9050"/>
                  </a:cubicBezTo>
                  <a:cubicBezTo>
                    <a:pt x="141788" y="9050"/>
                    <a:pt x="36201" y="39218"/>
                    <a:pt x="12067" y="156871"/>
                  </a:cubicBezTo>
                  <a:cubicBezTo>
                    <a:pt x="12067" y="162905"/>
                    <a:pt x="9051" y="162905"/>
                    <a:pt x="6034" y="162905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42F325F3-85E1-4019-9176-EAE73DBEC41B}"/>
                </a:ext>
              </a:extLst>
            </p:cNvPr>
            <p:cNvSpPr/>
            <p:nvPr/>
          </p:nvSpPr>
          <p:spPr>
            <a:xfrm>
              <a:off x="16527661" y="4402907"/>
              <a:ext cx="109853" cy="184022"/>
            </a:xfrm>
            <a:custGeom>
              <a:avLst/>
              <a:gdLst>
                <a:gd name="connsiteX0" fmla="*/ 105587 w 109853"/>
                <a:gd name="connsiteY0" fmla="*/ 184022 h 184022"/>
                <a:gd name="connsiteX1" fmla="*/ 99554 w 109853"/>
                <a:gd name="connsiteY1" fmla="*/ 177989 h 184022"/>
                <a:gd name="connsiteX2" fmla="*/ 54302 w 109853"/>
                <a:gd name="connsiteY2" fmla="*/ 72402 h 184022"/>
                <a:gd name="connsiteX3" fmla="*/ 0 w 109853"/>
                <a:gd name="connsiteY3" fmla="*/ 6033 h 184022"/>
                <a:gd name="connsiteX4" fmla="*/ 3017 w 109853"/>
                <a:gd name="connsiteY4" fmla="*/ 0 h 184022"/>
                <a:gd name="connsiteX5" fmla="*/ 9051 w 109853"/>
                <a:gd name="connsiteY5" fmla="*/ 3017 h 184022"/>
                <a:gd name="connsiteX6" fmla="*/ 57318 w 109853"/>
                <a:gd name="connsiteY6" fmla="*/ 66369 h 184022"/>
                <a:gd name="connsiteX7" fmla="*/ 108604 w 109853"/>
                <a:gd name="connsiteY7" fmla="*/ 177989 h 184022"/>
                <a:gd name="connsiteX8" fmla="*/ 105587 w 109853"/>
                <a:gd name="connsiteY8" fmla="*/ 184022 h 184022"/>
                <a:gd name="connsiteX9" fmla="*/ 105587 w 109853"/>
                <a:gd name="connsiteY9" fmla="*/ 184022 h 184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853" h="184022">
                  <a:moveTo>
                    <a:pt x="105587" y="184022"/>
                  </a:moveTo>
                  <a:cubicBezTo>
                    <a:pt x="102570" y="184022"/>
                    <a:pt x="99554" y="181006"/>
                    <a:pt x="99554" y="177989"/>
                  </a:cubicBezTo>
                  <a:cubicBezTo>
                    <a:pt x="99554" y="165922"/>
                    <a:pt x="90503" y="99553"/>
                    <a:pt x="54302" y="72402"/>
                  </a:cubicBezTo>
                  <a:cubicBezTo>
                    <a:pt x="21118" y="48268"/>
                    <a:pt x="3017" y="6033"/>
                    <a:pt x="0" y="6033"/>
                  </a:cubicBezTo>
                  <a:cubicBezTo>
                    <a:pt x="0" y="3017"/>
                    <a:pt x="0" y="0"/>
                    <a:pt x="3017" y="0"/>
                  </a:cubicBezTo>
                  <a:cubicBezTo>
                    <a:pt x="6034" y="0"/>
                    <a:pt x="9051" y="0"/>
                    <a:pt x="9051" y="3017"/>
                  </a:cubicBezTo>
                  <a:cubicBezTo>
                    <a:pt x="9051" y="3017"/>
                    <a:pt x="27151" y="42234"/>
                    <a:pt x="57318" y="66369"/>
                  </a:cubicBezTo>
                  <a:cubicBezTo>
                    <a:pt x="96537" y="93520"/>
                    <a:pt x="105587" y="165922"/>
                    <a:pt x="108604" y="177989"/>
                  </a:cubicBezTo>
                  <a:cubicBezTo>
                    <a:pt x="111620" y="181006"/>
                    <a:pt x="108604" y="181006"/>
                    <a:pt x="105587" y="184022"/>
                  </a:cubicBezTo>
                  <a:cubicBezTo>
                    <a:pt x="105587" y="184022"/>
                    <a:pt x="105587" y="184022"/>
                    <a:pt x="105587" y="184022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81599DAE-9EB5-43A4-A2B5-6FBC76C63657}"/>
                </a:ext>
              </a:extLst>
            </p:cNvPr>
            <p:cNvSpPr/>
            <p:nvPr/>
          </p:nvSpPr>
          <p:spPr>
            <a:xfrm>
              <a:off x="16372248" y="4897656"/>
              <a:ext cx="236865" cy="407262"/>
            </a:xfrm>
            <a:custGeom>
              <a:avLst/>
              <a:gdLst>
                <a:gd name="connsiteX0" fmla="*/ 203681 w 236865"/>
                <a:gd name="connsiteY0" fmla="*/ 0 h 407262"/>
                <a:gd name="connsiteX1" fmla="*/ 28710 w 236865"/>
                <a:gd name="connsiteY1" fmla="*/ 193073 h 407262"/>
                <a:gd name="connsiteX2" fmla="*/ 10609 w 236865"/>
                <a:gd name="connsiteY2" fmla="*/ 386145 h 407262"/>
                <a:gd name="connsiteX3" fmla="*/ 55860 w 236865"/>
                <a:gd name="connsiteY3" fmla="*/ 386145 h 407262"/>
                <a:gd name="connsiteX4" fmla="*/ 131279 w 236865"/>
                <a:gd name="connsiteY4" fmla="*/ 407263 h 407262"/>
                <a:gd name="connsiteX5" fmla="*/ 173514 w 236865"/>
                <a:gd name="connsiteY5" fmla="*/ 380112 h 407262"/>
                <a:gd name="connsiteX6" fmla="*/ 236866 w 236865"/>
                <a:gd name="connsiteY6" fmla="*/ 36201 h 407262"/>
                <a:gd name="connsiteX7" fmla="*/ 203681 w 236865"/>
                <a:gd name="connsiteY7" fmla="*/ 0 h 407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865" h="407262">
                  <a:moveTo>
                    <a:pt x="203681" y="0"/>
                  </a:moveTo>
                  <a:cubicBezTo>
                    <a:pt x="203681" y="0"/>
                    <a:pt x="64910" y="90503"/>
                    <a:pt x="28710" y="193073"/>
                  </a:cubicBezTo>
                  <a:cubicBezTo>
                    <a:pt x="-7492" y="298659"/>
                    <a:pt x="-4475" y="377095"/>
                    <a:pt x="10609" y="386145"/>
                  </a:cubicBezTo>
                  <a:cubicBezTo>
                    <a:pt x="22676" y="395196"/>
                    <a:pt x="37760" y="377095"/>
                    <a:pt x="55860" y="386145"/>
                  </a:cubicBezTo>
                  <a:cubicBezTo>
                    <a:pt x="73961" y="395196"/>
                    <a:pt x="119213" y="407263"/>
                    <a:pt x="131279" y="407263"/>
                  </a:cubicBezTo>
                  <a:cubicBezTo>
                    <a:pt x="146363" y="407263"/>
                    <a:pt x="179548" y="392179"/>
                    <a:pt x="173514" y="380112"/>
                  </a:cubicBezTo>
                  <a:cubicBezTo>
                    <a:pt x="167480" y="368045"/>
                    <a:pt x="212731" y="63352"/>
                    <a:pt x="236866" y="36201"/>
                  </a:cubicBezTo>
                  <a:lnTo>
                    <a:pt x="203681" y="0"/>
                  </a:ln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FB4BDC0A-1E85-4895-AFEE-870D4DC0E777}"/>
                </a:ext>
              </a:extLst>
            </p:cNvPr>
            <p:cNvSpPr/>
            <p:nvPr/>
          </p:nvSpPr>
          <p:spPr>
            <a:xfrm>
              <a:off x="16419058" y="4937628"/>
              <a:ext cx="147067" cy="261703"/>
            </a:xfrm>
            <a:custGeom>
              <a:avLst/>
              <a:gdLst>
                <a:gd name="connsiteX0" fmla="*/ 6034 w 147067"/>
                <a:gd name="connsiteY0" fmla="*/ 261704 h 261703"/>
                <a:gd name="connsiteX1" fmla="*/ 6034 w 147067"/>
                <a:gd name="connsiteY1" fmla="*/ 261704 h 261703"/>
                <a:gd name="connsiteX2" fmla="*/ 0 w 147067"/>
                <a:gd name="connsiteY2" fmla="*/ 255670 h 261703"/>
                <a:gd name="connsiteX3" fmla="*/ 135754 w 147067"/>
                <a:gd name="connsiteY3" fmla="*/ 2263 h 261703"/>
                <a:gd name="connsiteX4" fmla="*/ 144805 w 147067"/>
                <a:gd name="connsiteY4" fmla="*/ 2263 h 261703"/>
                <a:gd name="connsiteX5" fmla="*/ 144805 w 147067"/>
                <a:gd name="connsiteY5" fmla="*/ 11313 h 261703"/>
                <a:gd name="connsiteX6" fmla="*/ 12068 w 147067"/>
                <a:gd name="connsiteY6" fmla="*/ 258687 h 261703"/>
                <a:gd name="connsiteX7" fmla="*/ 6034 w 147067"/>
                <a:gd name="connsiteY7" fmla="*/ 261704 h 261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067" h="261703">
                  <a:moveTo>
                    <a:pt x="6034" y="261704"/>
                  </a:moveTo>
                  <a:cubicBezTo>
                    <a:pt x="6034" y="261704"/>
                    <a:pt x="6034" y="261704"/>
                    <a:pt x="6034" y="261704"/>
                  </a:cubicBezTo>
                  <a:cubicBezTo>
                    <a:pt x="3017" y="261704"/>
                    <a:pt x="0" y="258687"/>
                    <a:pt x="0" y="255670"/>
                  </a:cubicBezTo>
                  <a:cubicBezTo>
                    <a:pt x="6034" y="138017"/>
                    <a:pt x="129721" y="8296"/>
                    <a:pt x="135754" y="2263"/>
                  </a:cubicBezTo>
                  <a:cubicBezTo>
                    <a:pt x="138771" y="-754"/>
                    <a:pt x="141788" y="-754"/>
                    <a:pt x="144805" y="2263"/>
                  </a:cubicBezTo>
                  <a:cubicBezTo>
                    <a:pt x="147822" y="5279"/>
                    <a:pt x="147822" y="8296"/>
                    <a:pt x="144805" y="11313"/>
                  </a:cubicBezTo>
                  <a:cubicBezTo>
                    <a:pt x="144805" y="11313"/>
                    <a:pt x="18101" y="144050"/>
                    <a:pt x="12068" y="258687"/>
                  </a:cubicBezTo>
                  <a:cubicBezTo>
                    <a:pt x="12068" y="258687"/>
                    <a:pt x="9051" y="261704"/>
                    <a:pt x="6034" y="261704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6095D81F-956C-445A-9745-34DA0B1301B1}"/>
                </a:ext>
              </a:extLst>
            </p:cNvPr>
            <p:cNvSpPr/>
            <p:nvPr/>
          </p:nvSpPr>
          <p:spPr>
            <a:xfrm>
              <a:off x="16520445" y="4884997"/>
              <a:ext cx="105121" cy="78007"/>
            </a:xfrm>
            <a:custGeom>
              <a:avLst/>
              <a:gdLst>
                <a:gd name="connsiteX0" fmla="*/ 1184 w 105121"/>
                <a:gd name="connsiteY0" fmla="*/ 15676 h 78007"/>
                <a:gd name="connsiteX1" fmla="*/ 19283 w 105121"/>
                <a:gd name="connsiteY1" fmla="*/ 592 h 78007"/>
                <a:gd name="connsiteX2" fmla="*/ 94702 w 105121"/>
                <a:gd name="connsiteY2" fmla="*/ 24726 h 78007"/>
                <a:gd name="connsiteX3" fmla="*/ 100736 w 105121"/>
                <a:gd name="connsiteY3" fmla="*/ 51877 h 78007"/>
                <a:gd name="connsiteX4" fmla="*/ 82636 w 105121"/>
                <a:gd name="connsiteY4" fmla="*/ 76011 h 78007"/>
                <a:gd name="connsiteX5" fmla="*/ 16267 w 105121"/>
                <a:gd name="connsiteY5" fmla="*/ 54893 h 78007"/>
                <a:gd name="connsiteX6" fmla="*/ 7217 w 105121"/>
                <a:gd name="connsiteY6" fmla="*/ 39810 h 78007"/>
                <a:gd name="connsiteX7" fmla="*/ 1184 w 105121"/>
                <a:gd name="connsiteY7" fmla="*/ 15676 h 78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121" h="78007">
                  <a:moveTo>
                    <a:pt x="1184" y="15676"/>
                  </a:moveTo>
                  <a:cubicBezTo>
                    <a:pt x="1184" y="6625"/>
                    <a:pt x="10233" y="-2425"/>
                    <a:pt x="19283" y="592"/>
                  </a:cubicBezTo>
                  <a:cubicBezTo>
                    <a:pt x="43418" y="9642"/>
                    <a:pt x="70569" y="15676"/>
                    <a:pt x="94702" y="24726"/>
                  </a:cubicBezTo>
                  <a:cubicBezTo>
                    <a:pt x="106770" y="27742"/>
                    <a:pt x="106770" y="45843"/>
                    <a:pt x="100736" y="51877"/>
                  </a:cubicBezTo>
                  <a:cubicBezTo>
                    <a:pt x="112803" y="60927"/>
                    <a:pt x="97719" y="85061"/>
                    <a:pt x="82636" y="76011"/>
                  </a:cubicBezTo>
                  <a:cubicBezTo>
                    <a:pt x="61519" y="63944"/>
                    <a:pt x="40401" y="57910"/>
                    <a:pt x="16267" y="54893"/>
                  </a:cubicBezTo>
                  <a:cubicBezTo>
                    <a:pt x="7217" y="54893"/>
                    <a:pt x="4200" y="45843"/>
                    <a:pt x="7217" y="39810"/>
                  </a:cubicBezTo>
                  <a:cubicBezTo>
                    <a:pt x="1184" y="30759"/>
                    <a:pt x="-1833" y="21709"/>
                    <a:pt x="1184" y="15676"/>
                  </a:cubicBezTo>
                  <a:close/>
                </a:path>
              </a:pathLst>
            </a:custGeom>
            <a:solidFill>
              <a:srgbClr val="D1615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46" name="图形 1">
            <a:extLst>
              <a:ext uri="{FF2B5EF4-FFF2-40B4-BE49-F238E27FC236}">
                <a16:creationId xmlns:a16="http://schemas.microsoft.com/office/drawing/2014/main" id="{35616E09-1B6A-4286-8494-18A80527A0F5}"/>
              </a:ext>
            </a:extLst>
          </p:cNvPr>
          <p:cNvGrpSpPr/>
          <p:nvPr/>
        </p:nvGrpSpPr>
        <p:grpSpPr>
          <a:xfrm>
            <a:off x="1417972" y="1722043"/>
            <a:ext cx="4096759" cy="4997735"/>
            <a:chOff x="9685651" y="1722043"/>
            <a:chExt cx="4096759" cy="4997735"/>
          </a:xfrm>
        </p:grpSpPr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A0B336DA-681A-4B7A-B34E-70EE88510FAA}"/>
                </a:ext>
              </a:extLst>
            </p:cNvPr>
            <p:cNvSpPr/>
            <p:nvPr/>
          </p:nvSpPr>
          <p:spPr>
            <a:xfrm>
              <a:off x="9685651" y="6357768"/>
              <a:ext cx="4096759" cy="362011"/>
            </a:xfrm>
            <a:custGeom>
              <a:avLst/>
              <a:gdLst>
                <a:gd name="connsiteX0" fmla="*/ 0 w 4096759"/>
                <a:gd name="connsiteY0" fmla="*/ 346927 h 362011"/>
                <a:gd name="connsiteX1" fmla="*/ 4096760 w 4096759"/>
                <a:gd name="connsiteY1" fmla="*/ 362011 h 362011"/>
                <a:gd name="connsiteX2" fmla="*/ 3442123 w 4096759"/>
                <a:gd name="connsiteY2" fmla="*/ 18100 h 362011"/>
                <a:gd name="connsiteX3" fmla="*/ 651620 w 4096759"/>
                <a:gd name="connsiteY3" fmla="*/ 0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6759" h="362011">
                  <a:moveTo>
                    <a:pt x="0" y="346927"/>
                  </a:moveTo>
                  <a:lnTo>
                    <a:pt x="4096760" y="362011"/>
                  </a:lnTo>
                  <a:lnTo>
                    <a:pt x="3442123" y="18100"/>
                  </a:lnTo>
                  <a:lnTo>
                    <a:pt x="651620" y="0"/>
                  </a:ln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693A3DA8-5D71-4E06-971F-0B4DBADF0F52}"/>
                </a:ext>
              </a:extLst>
            </p:cNvPr>
            <p:cNvSpPr/>
            <p:nvPr/>
          </p:nvSpPr>
          <p:spPr>
            <a:xfrm>
              <a:off x="12958000" y="6435241"/>
              <a:ext cx="481117" cy="192503"/>
            </a:xfrm>
            <a:custGeom>
              <a:avLst/>
              <a:gdLst>
                <a:gd name="connsiteX0" fmla="*/ 145639 w 481117"/>
                <a:gd name="connsiteY0" fmla="*/ 3979 h 192503"/>
                <a:gd name="connsiteX1" fmla="*/ 9885 w 481117"/>
                <a:gd name="connsiteY1" fmla="*/ 61297 h 192503"/>
                <a:gd name="connsiteX2" fmla="*/ 12902 w 481117"/>
                <a:gd name="connsiteY2" fmla="*/ 169901 h 192503"/>
                <a:gd name="connsiteX3" fmla="*/ 480500 w 481117"/>
                <a:gd name="connsiteY3" fmla="*/ 188001 h 192503"/>
                <a:gd name="connsiteX4" fmla="*/ 145639 w 481117"/>
                <a:gd name="connsiteY4" fmla="*/ 3979 h 19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1117" h="192503">
                  <a:moveTo>
                    <a:pt x="145639" y="3979"/>
                  </a:moveTo>
                  <a:cubicBezTo>
                    <a:pt x="136589" y="-17138"/>
                    <a:pt x="12902" y="52247"/>
                    <a:pt x="9885" y="61297"/>
                  </a:cubicBezTo>
                  <a:cubicBezTo>
                    <a:pt x="9885" y="61297"/>
                    <a:pt x="-14249" y="163867"/>
                    <a:pt x="12902" y="169901"/>
                  </a:cubicBezTo>
                  <a:cubicBezTo>
                    <a:pt x="40053" y="175934"/>
                    <a:pt x="477483" y="203085"/>
                    <a:pt x="480500" y="188001"/>
                  </a:cubicBezTo>
                  <a:cubicBezTo>
                    <a:pt x="495584" y="97498"/>
                    <a:pt x="230109" y="64314"/>
                    <a:pt x="145639" y="3979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60F55A0C-666F-4665-B49A-43FC2EB3916E}"/>
                </a:ext>
              </a:extLst>
            </p:cNvPr>
            <p:cNvSpPr/>
            <p:nvPr/>
          </p:nvSpPr>
          <p:spPr>
            <a:xfrm>
              <a:off x="10043772" y="6435241"/>
              <a:ext cx="481372" cy="192503"/>
            </a:xfrm>
            <a:custGeom>
              <a:avLst/>
              <a:gdLst>
                <a:gd name="connsiteX0" fmla="*/ 335733 w 481372"/>
                <a:gd name="connsiteY0" fmla="*/ 3979 h 192503"/>
                <a:gd name="connsiteX1" fmla="*/ 471488 w 481372"/>
                <a:gd name="connsiteY1" fmla="*/ 61297 h 192503"/>
                <a:gd name="connsiteX2" fmla="*/ 468471 w 481372"/>
                <a:gd name="connsiteY2" fmla="*/ 169901 h 192503"/>
                <a:gd name="connsiteX3" fmla="*/ 873 w 481372"/>
                <a:gd name="connsiteY3" fmla="*/ 188001 h 192503"/>
                <a:gd name="connsiteX4" fmla="*/ 335733 w 481372"/>
                <a:gd name="connsiteY4" fmla="*/ 3979 h 19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1372" h="192503">
                  <a:moveTo>
                    <a:pt x="335733" y="3979"/>
                  </a:moveTo>
                  <a:cubicBezTo>
                    <a:pt x="344783" y="-17138"/>
                    <a:pt x="468471" y="52247"/>
                    <a:pt x="471488" y="61297"/>
                  </a:cubicBezTo>
                  <a:cubicBezTo>
                    <a:pt x="471488" y="61297"/>
                    <a:pt x="495621" y="163867"/>
                    <a:pt x="468471" y="169901"/>
                  </a:cubicBezTo>
                  <a:cubicBezTo>
                    <a:pt x="441320" y="175934"/>
                    <a:pt x="3890" y="203085"/>
                    <a:pt x="873" y="188001"/>
                  </a:cubicBezTo>
                  <a:cubicBezTo>
                    <a:pt x="-17228" y="97498"/>
                    <a:pt x="251264" y="64314"/>
                    <a:pt x="335733" y="3979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43981274-AD0B-453E-ACD1-0BFA182E2B4F}"/>
                </a:ext>
              </a:extLst>
            </p:cNvPr>
            <p:cNvSpPr/>
            <p:nvPr/>
          </p:nvSpPr>
          <p:spPr>
            <a:xfrm>
              <a:off x="12192578" y="2036799"/>
              <a:ext cx="579272" cy="1174790"/>
            </a:xfrm>
            <a:custGeom>
              <a:avLst/>
              <a:gdLst>
                <a:gd name="connsiteX0" fmla="*/ 425362 w 579272"/>
                <a:gd name="connsiteY0" fmla="*/ 1171471 h 1174790"/>
                <a:gd name="connsiteX1" fmla="*/ 533966 w 579272"/>
                <a:gd name="connsiteY1" fmla="*/ 978399 h 1174790"/>
                <a:gd name="connsiteX2" fmla="*/ 292625 w 579272"/>
                <a:gd name="connsiteY2" fmla="*/ 519851 h 1174790"/>
                <a:gd name="connsiteX3" fmla="*/ 135754 w 579272"/>
                <a:gd name="connsiteY3" fmla="*/ 968 h 1174790"/>
                <a:gd name="connsiteX4" fmla="*/ 0 w 579272"/>
                <a:gd name="connsiteY4" fmla="*/ 19069 h 1174790"/>
                <a:gd name="connsiteX5" fmla="*/ 93519 w 579272"/>
                <a:gd name="connsiteY5" fmla="*/ 568119 h 1174790"/>
                <a:gd name="connsiteX6" fmla="*/ 425362 w 579272"/>
                <a:gd name="connsiteY6" fmla="*/ 1171471 h 117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9272" h="1174790">
                  <a:moveTo>
                    <a:pt x="425362" y="1171471"/>
                  </a:moveTo>
                  <a:cubicBezTo>
                    <a:pt x="624469" y="1192589"/>
                    <a:pt x="594301" y="1111136"/>
                    <a:pt x="533966" y="978399"/>
                  </a:cubicBezTo>
                  <a:cubicBezTo>
                    <a:pt x="470614" y="842644"/>
                    <a:pt x="298659" y="556052"/>
                    <a:pt x="292625" y="519851"/>
                  </a:cubicBezTo>
                  <a:cubicBezTo>
                    <a:pt x="253408" y="420298"/>
                    <a:pt x="135754" y="968"/>
                    <a:pt x="135754" y="968"/>
                  </a:cubicBezTo>
                  <a:cubicBezTo>
                    <a:pt x="99553" y="-5065"/>
                    <a:pt x="0" y="19069"/>
                    <a:pt x="0" y="19069"/>
                  </a:cubicBezTo>
                  <a:cubicBezTo>
                    <a:pt x="0" y="19069"/>
                    <a:pt x="57318" y="420298"/>
                    <a:pt x="93519" y="568119"/>
                  </a:cubicBezTo>
                  <a:cubicBezTo>
                    <a:pt x="108603" y="643538"/>
                    <a:pt x="223240" y="1150354"/>
                    <a:pt x="425362" y="1171471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1" name="图形 1">
              <a:extLst>
                <a:ext uri="{FF2B5EF4-FFF2-40B4-BE49-F238E27FC236}">
                  <a16:creationId xmlns:a16="http://schemas.microsoft.com/office/drawing/2014/main" id="{09BF221B-7F05-4663-AA6B-8835A34CA009}"/>
                </a:ext>
              </a:extLst>
            </p:cNvPr>
            <p:cNvGrpSpPr/>
            <p:nvPr/>
          </p:nvGrpSpPr>
          <p:grpSpPr>
            <a:xfrm>
              <a:off x="12141722" y="1722043"/>
              <a:ext cx="277072" cy="379731"/>
              <a:chOff x="12141722" y="1722043"/>
              <a:chExt cx="277072" cy="379731"/>
            </a:xfrm>
          </p:grpSpPr>
          <p:grpSp>
            <p:nvGrpSpPr>
              <p:cNvPr id="85" name="图形 1">
                <a:extLst>
                  <a:ext uri="{FF2B5EF4-FFF2-40B4-BE49-F238E27FC236}">
                    <a16:creationId xmlns:a16="http://schemas.microsoft.com/office/drawing/2014/main" id="{755B0E42-99C6-4DC7-A52A-BCE13FF6379E}"/>
                  </a:ext>
                </a:extLst>
              </p:cNvPr>
              <p:cNvGrpSpPr/>
              <p:nvPr/>
            </p:nvGrpSpPr>
            <p:grpSpPr>
              <a:xfrm>
                <a:off x="12145015" y="1722043"/>
                <a:ext cx="273779" cy="379731"/>
                <a:chOff x="12145015" y="1722043"/>
                <a:chExt cx="273779" cy="379731"/>
              </a:xfrm>
            </p:grpSpPr>
            <p:sp>
              <p:nvSpPr>
                <p:cNvPr id="88" name="任意多边形: 形状 87">
                  <a:extLst>
                    <a:ext uri="{FF2B5EF4-FFF2-40B4-BE49-F238E27FC236}">
                      <a16:creationId xmlns:a16="http://schemas.microsoft.com/office/drawing/2014/main" id="{0B7A2C21-8B24-4DAD-9F7E-0AFDF08FEE1C}"/>
                    </a:ext>
                  </a:extLst>
                </p:cNvPr>
                <p:cNvSpPr/>
                <p:nvPr/>
              </p:nvSpPr>
              <p:spPr>
                <a:xfrm>
                  <a:off x="12145015" y="1729936"/>
                  <a:ext cx="273779" cy="371838"/>
                </a:xfrm>
                <a:custGeom>
                  <a:avLst/>
                  <a:gdLst>
                    <a:gd name="connsiteX0" fmla="*/ 17395 w 273779"/>
                    <a:gd name="connsiteY0" fmla="*/ 214312 h 371838"/>
                    <a:gd name="connsiteX1" fmla="*/ 62647 w 273779"/>
                    <a:gd name="connsiteY1" fmla="*/ 350066 h 371838"/>
                    <a:gd name="connsiteX2" fmla="*/ 171249 w 273779"/>
                    <a:gd name="connsiteY2" fmla="*/ 362133 h 371838"/>
                    <a:gd name="connsiteX3" fmla="*/ 270803 w 273779"/>
                    <a:gd name="connsiteY3" fmla="*/ 202245 h 371838"/>
                    <a:gd name="connsiteX4" fmla="*/ 234601 w 273779"/>
                    <a:gd name="connsiteY4" fmla="*/ 187161 h 371838"/>
                    <a:gd name="connsiteX5" fmla="*/ 177283 w 273779"/>
                    <a:gd name="connsiteY5" fmla="*/ 247497 h 371838"/>
                    <a:gd name="connsiteX6" fmla="*/ 147116 w 273779"/>
                    <a:gd name="connsiteY6" fmla="*/ 51407 h 371838"/>
                    <a:gd name="connsiteX7" fmla="*/ 119965 w 273779"/>
                    <a:gd name="connsiteY7" fmla="*/ 30290 h 371838"/>
                    <a:gd name="connsiteX8" fmla="*/ 119965 w 273779"/>
                    <a:gd name="connsiteY8" fmla="*/ 78558 h 371838"/>
                    <a:gd name="connsiteX9" fmla="*/ 122982 w 273779"/>
                    <a:gd name="connsiteY9" fmla="*/ 141910 h 371838"/>
                    <a:gd name="connsiteX10" fmla="*/ 95830 w 273779"/>
                    <a:gd name="connsiteY10" fmla="*/ 63474 h 371838"/>
                    <a:gd name="connsiteX11" fmla="*/ 74714 w 273779"/>
                    <a:gd name="connsiteY11" fmla="*/ 9173 h 371838"/>
                    <a:gd name="connsiteX12" fmla="*/ 47563 w 273779"/>
                    <a:gd name="connsiteY12" fmla="*/ 3139 h 371838"/>
                    <a:gd name="connsiteX13" fmla="*/ 35495 w 273779"/>
                    <a:gd name="connsiteY13" fmla="*/ 30290 h 371838"/>
                    <a:gd name="connsiteX14" fmla="*/ 32479 w 273779"/>
                    <a:gd name="connsiteY14" fmla="*/ 27273 h 371838"/>
                    <a:gd name="connsiteX15" fmla="*/ 20411 w 273779"/>
                    <a:gd name="connsiteY15" fmla="*/ 27273 h 371838"/>
                    <a:gd name="connsiteX16" fmla="*/ 23428 w 273779"/>
                    <a:gd name="connsiteY16" fmla="*/ 78558 h 371838"/>
                    <a:gd name="connsiteX17" fmla="*/ 32479 w 273779"/>
                    <a:gd name="connsiteY17" fmla="*/ 105709 h 371838"/>
                    <a:gd name="connsiteX18" fmla="*/ 26445 w 273779"/>
                    <a:gd name="connsiteY18" fmla="*/ 99675 h 371838"/>
                    <a:gd name="connsiteX19" fmla="*/ 5328 w 273779"/>
                    <a:gd name="connsiteY19" fmla="*/ 93642 h 371838"/>
                    <a:gd name="connsiteX20" fmla="*/ 17395 w 273779"/>
                    <a:gd name="connsiteY20" fmla="*/ 214312 h 371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73779" h="371838">
                      <a:moveTo>
                        <a:pt x="17395" y="214312"/>
                      </a:moveTo>
                      <a:cubicBezTo>
                        <a:pt x="29462" y="259564"/>
                        <a:pt x="23428" y="319899"/>
                        <a:pt x="62647" y="350066"/>
                      </a:cubicBezTo>
                      <a:cubicBezTo>
                        <a:pt x="86780" y="371184"/>
                        <a:pt x="141082" y="380234"/>
                        <a:pt x="171249" y="362133"/>
                      </a:cubicBezTo>
                      <a:cubicBezTo>
                        <a:pt x="213485" y="337999"/>
                        <a:pt x="216501" y="256547"/>
                        <a:pt x="270803" y="202245"/>
                      </a:cubicBezTo>
                      <a:cubicBezTo>
                        <a:pt x="282870" y="190178"/>
                        <a:pt x="255719" y="172078"/>
                        <a:pt x="234601" y="187161"/>
                      </a:cubicBezTo>
                      <a:cubicBezTo>
                        <a:pt x="210468" y="205262"/>
                        <a:pt x="189350" y="226379"/>
                        <a:pt x="177283" y="247497"/>
                      </a:cubicBezTo>
                      <a:cubicBezTo>
                        <a:pt x="162199" y="181128"/>
                        <a:pt x="174266" y="114759"/>
                        <a:pt x="147116" y="51407"/>
                      </a:cubicBezTo>
                      <a:cubicBezTo>
                        <a:pt x="144099" y="42357"/>
                        <a:pt x="129015" y="15206"/>
                        <a:pt x="119965" y="30290"/>
                      </a:cubicBezTo>
                      <a:cubicBezTo>
                        <a:pt x="113931" y="42357"/>
                        <a:pt x="119965" y="63474"/>
                        <a:pt x="119965" y="78558"/>
                      </a:cubicBezTo>
                      <a:cubicBezTo>
                        <a:pt x="119965" y="99675"/>
                        <a:pt x="122982" y="120793"/>
                        <a:pt x="122982" y="141910"/>
                      </a:cubicBezTo>
                      <a:cubicBezTo>
                        <a:pt x="113931" y="114759"/>
                        <a:pt x="104881" y="90625"/>
                        <a:pt x="95830" y="63474"/>
                      </a:cubicBezTo>
                      <a:cubicBezTo>
                        <a:pt x="89797" y="45374"/>
                        <a:pt x="86780" y="24256"/>
                        <a:pt x="74714" y="9173"/>
                      </a:cubicBezTo>
                      <a:cubicBezTo>
                        <a:pt x="65663" y="122"/>
                        <a:pt x="56613" y="-2895"/>
                        <a:pt x="47563" y="3139"/>
                      </a:cubicBezTo>
                      <a:cubicBezTo>
                        <a:pt x="38512" y="9173"/>
                        <a:pt x="35495" y="21240"/>
                        <a:pt x="35495" y="30290"/>
                      </a:cubicBezTo>
                      <a:cubicBezTo>
                        <a:pt x="35495" y="30290"/>
                        <a:pt x="35495" y="30290"/>
                        <a:pt x="32479" y="27273"/>
                      </a:cubicBezTo>
                      <a:cubicBezTo>
                        <a:pt x="29462" y="27273"/>
                        <a:pt x="20411" y="24256"/>
                        <a:pt x="20411" y="27273"/>
                      </a:cubicBezTo>
                      <a:cubicBezTo>
                        <a:pt x="11361" y="42357"/>
                        <a:pt x="17395" y="60457"/>
                        <a:pt x="23428" y="78558"/>
                      </a:cubicBezTo>
                      <a:cubicBezTo>
                        <a:pt x="26445" y="87608"/>
                        <a:pt x="29462" y="96659"/>
                        <a:pt x="32479" y="105709"/>
                      </a:cubicBezTo>
                      <a:cubicBezTo>
                        <a:pt x="32479" y="102692"/>
                        <a:pt x="29462" y="102692"/>
                        <a:pt x="26445" y="99675"/>
                      </a:cubicBezTo>
                      <a:cubicBezTo>
                        <a:pt x="20411" y="93642"/>
                        <a:pt x="14378" y="90625"/>
                        <a:pt x="5328" y="93642"/>
                      </a:cubicBezTo>
                      <a:cubicBezTo>
                        <a:pt x="-9756" y="102692"/>
                        <a:pt x="11361" y="187161"/>
                        <a:pt x="17395" y="214312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9" name="任意多边形: 形状 88">
                  <a:extLst>
                    <a:ext uri="{FF2B5EF4-FFF2-40B4-BE49-F238E27FC236}">
                      <a16:creationId xmlns:a16="http://schemas.microsoft.com/office/drawing/2014/main" id="{D388CB28-96A1-428E-B35B-651288BE2CBE}"/>
                    </a:ext>
                  </a:extLst>
                </p:cNvPr>
                <p:cNvSpPr/>
                <p:nvPr/>
              </p:nvSpPr>
              <p:spPr>
                <a:xfrm>
                  <a:off x="12258688" y="1974416"/>
                  <a:ext cx="42492" cy="57318"/>
                </a:xfrm>
                <a:custGeom>
                  <a:avLst/>
                  <a:gdLst>
                    <a:gd name="connsiteX0" fmla="*/ 6292 w 42492"/>
                    <a:gd name="connsiteY0" fmla="*/ 57318 h 57318"/>
                    <a:gd name="connsiteX1" fmla="*/ 258 w 42492"/>
                    <a:gd name="connsiteY1" fmla="*/ 51285 h 57318"/>
                    <a:gd name="connsiteX2" fmla="*/ 36459 w 42492"/>
                    <a:gd name="connsiteY2" fmla="*/ 0 h 57318"/>
                    <a:gd name="connsiteX3" fmla="*/ 42492 w 42492"/>
                    <a:gd name="connsiteY3" fmla="*/ 3017 h 57318"/>
                    <a:gd name="connsiteX4" fmla="*/ 39476 w 42492"/>
                    <a:gd name="connsiteY4" fmla="*/ 9050 h 57318"/>
                    <a:gd name="connsiteX5" fmla="*/ 12325 w 42492"/>
                    <a:gd name="connsiteY5" fmla="*/ 48268 h 57318"/>
                    <a:gd name="connsiteX6" fmla="*/ 6292 w 42492"/>
                    <a:gd name="connsiteY6" fmla="*/ 57318 h 57318"/>
                    <a:gd name="connsiteX7" fmla="*/ 6292 w 42492"/>
                    <a:gd name="connsiteY7" fmla="*/ 57318 h 57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492" h="57318">
                      <a:moveTo>
                        <a:pt x="6292" y="57318"/>
                      </a:moveTo>
                      <a:cubicBezTo>
                        <a:pt x="3275" y="57318"/>
                        <a:pt x="258" y="54302"/>
                        <a:pt x="258" y="51285"/>
                      </a:cubicBezTo>
                      <a:cubicBezTo>
                        <a:pt x="-2759" y="18101"/>
                        <a:pt x="21376" y="3017"/>
                        <a:pt x="36459" y="0"/>
                      </a:cubicBezTo>
                      <a:cubicBezTo>
                        <a:pt x="39476" y="0"/>
                        <a:pt x="42492" y="0"/>
                        <a:pt x="42492" y="3017"/>
                      </a:cubicBezTo>
                      <a:cubicBezTo>
                        <a:pt x="42492" y="6034"/>
                        <a:pt x="42492" y="9050"/>
                        <a:pt x="39476" y="9050"/>
                      </a:cubicBezTo>
                      <a:cubicBezTo>
                        <a:pt x="39476" y="9050"/>
                        <a:pt x="12325" y="18101"/>
                        <a:pt x="12325" y="48268"/>
                      </a:cubicBezTo>
                      <a:cubicBezTo>
                        <a:pt x="12325" y="54302"/>
                        <a:pt x="12325" y="57318"/>
                        <a:pt x="6292" y="57318"/>
                      </a:cubicBezTo>
                      <a:lnTo>
                        <a:pt x="6292" y="57318"/>
                      </a:lnTo>
                      <a:close/>
                    </a:path>
                  </a:pathLst>
                </a:custGeom>
                <a:solidFill>
                  <a:srgbClr val="E87952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0" name="任意多边形: 形状 89">
                  <a:extLst>
                    <a:ext uri="{FF2B5EF4-FFF2-40B4-BE49-F238E27FC236}">
                      <a16:creationId xmlns:a16="http://schemas.microsoft.com/office/drawing/2014/main" id="{BE7EE091-987B-405C-BF88-120F7289C809}"/>
                    </a:ext>
                  </a:extLst>
                </p:cNvPr>
                <p:cNvSpPr/>
                <p:nvPr/>
              </p:nvSpPr>
              <p:spPr>
                <a:xfrm>
                  <a:off x="12176692" y="1722043"/>
                  <a:ext cx="100355" cy="155836"/>
                </a:xfrm>
                <a:custGeom>
                  <a:avLst/>
                  <a:gdLst>
                    <a:gd name="connsiteX0" fmla="*/ 94321 w 100355"/>
                    <a:gd name="connsiteY0" fmla="*/ 155836 h 155836"/>
                    <a:gd name="connsiteX1" fmla="*/ 88288 w 100355"/>
                    <a:gd name="connsiteY1" fmla="*/ 152820 h 155836"/>
                    <a:gd name="connsiteX2" fmla="*/ 33986 w 100355"/>
                    <a:gd name="connsiteY2" fmla="*/ 17065 h 155836"/>
                    <a:gd name="connsiteX3" fmla="*/ 18902 w 100355"/>
                    <a:gd name="connsiteY3" fmla="*/ 17065 h 155836"/>
                    <a:gd name="connsiteX4" fmla="*/ 12869 w 100355"/>
                    <a:gd name="connsiteY4" fmla="*/ 35166 h 155836"/>
                    <a:gd name="connsiteX5" fmla="*/ 6836 w 100355"/>
                    <a:gd name="connsiteY5" fmla="*/ 41199 h 155836"/>
                    <a:gd name="connsiteX6" fmla="*/ 803 w 100355"/>
                    <a:gd name="connsiteY6" fmla="*/ 35166 h 155836"/>
                    <a:gd name="connsiteX7" fmla="*/ 9852 w 100355"/>
                    <a:gd name="connsiteY7" fmla="*/ 4998 h 155836"/>
                    <a:gd name="connsiteX8" fmla="*/ 37003 w 100355"/>
                    <a:gd name="connsiteY8" fmla="*/ 1982 h 155836"/>
                    <a:gd name="connsiteX9" fmla="*/ 82255 w 100355"/>
                    <a:gd name="connsiteY9" fmla="*/ 98518 h 155836"/>
                    <a:gd name="connsiteX10" fmla="*/ 82255 w 100355"/>
                    <a:gd name="connsiteY10" fmla="*/ 38183 h 155836"/>
                    <a:gd name="connsiteX11" fmla="*/ 88288 w 100355"/>
                    <a:gd name="connsiteY11" fmla="*/ 32149 h 155836"/>
                    <a:gd name="connsiteX12" fmla="*/ 88288 w 100355"/>
                    <a:gd name="connsiteY12" fmla="*/ 32149 h 155836"/>
                    <a:gd name="connsiteX13" fmla="*/ 94321 w 100355"/>
                    <a:gd name="connsiteY13" fmla="*/ 38183 h 155836"/>
                    <a:gd name="connsiteX14" fmla="*/ 100355 w 100355"/>
                    <a:gd name="connsiteY14" fmla="*/ 146786 h 155836"/>
                    <a:gd name="connsiteX15" fmla="*/ 94321 w 100355"/>
                    <a:gd name="connsiteY15" fmla="*/ 155836 h 155836"/>
                    <a:gd name="connsiteX16" fmla="*/ 94321 w 100355"/>
                    <a:gd name="connsiteY16" fmla="*/ 155836 h 1558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00355" h="155836">
                      <a:moveTo>
                        <a:pt x="94321" y="155836"/>
                      </a:moveTo>
                      <a:cubicBezTo>
                        <a:pt x="91305" y="155836"/>
                        <a:pt x="88288" y="152820"/>
                        <a:pt x="88288" y="152820"/>
                      </a:cubicBezTo>
                      <a:cubicBezTo>
                        <a:pt x="70188" y="92484"/>
                        <a:pt x="43037" y="20082"/>
                        <a:pt x="33986" y="17065"/>
                      </a:cubicBezTo>
                      <a:cubicBezTo>
                        <a:pt x="30970" y="14049"/>
                        <a:pt x="24936" y="14049"/>
                        <a:pt x="18902" y="17065"/>
                      </a:cubicBezTo>
                      <a:cubicBezTo>
                        <a:pt x="15886" y="20082"/>
                        <a:pt x="12869" y="26116"/>
                        <a:pt x="12869" y="35166"/>
                      </a:cubicBezTo>
                      <a:cubicBezTo>
                        <a:pt x="12869" y="38183"/>
                        <a:pt x="9852" y="41199"/>
                        <a:pt x="6836" y="41199"/>
                      </a:cubicBezTo>
                      <a:cubicBezTo>
                        <a:pt x="3819" y="41199"/>
                        <a:pt x="803" y="38183"/>
                        <a:pt x="803" y="35166"/>
                      </a:cubicBezTo>
                      <a:cubicBezTo>
                        <a:pt x="-2214" y="23099"/>
                        <a:pt x="3819" y="11032"/>
                        <a:pt x="9852" y="4998"/>
                      </a:cubicBezTo>
                      <a:cubicBezTo>
                        <a:pt x="15886" y="-1035"/>
                        <a:pt x="24936" y="-1035"/>
                        <a:pt x="37003" y="1982"/>
                      </a:cubicBezTo>
                      <a:cubicBezTo>
                        <a:pt x="49070" y="8015"/>
                        <a:pt x="67171" y="56283"/>
                        <a:pt x="82255" y="98518"/>
                      </a:cubicBezTo>
                      <a:cubicBezTo>
                        <a:pt x="82255" y="68350"/>
                        <a:pt x="82255" y="41199"/>
                        <a:pt x="82255" y="38183"/>
                      </a:cubicBezTo>
                      <a:cubicBezTo>
                        <a:pt x="82255" y="35166"/>
                        <a:pt x="85271" y="32149"/>
                        <a:pt x="88288" y="32149"/>
                      </a:cubicBezTo>
                      <a:lnTo>
                        <a:pt x="88288" y="32149"/>
                      </a:lnTo>
                      <a:cubicBezTo>
                        <a:pt x="91305" y="32149"/>
                        <a:pt x="94321" y="35166"/>
                        <a:pt x="94321" y="38183"/>
                      </a:cubicBezTo>
                      <a:cubicBezTo>
                        <a:pt x="94321" y="38183"/>
                        <a:pt x="94321" y="107568"/>
                        <a:pt x="100355" y="146786"/>
                      </a:cubicBezTo>
                      <a:cubicBezTo>
                        <a:pt x="100355" y="152820"/>
                        <a:pt x="97338" y="155836"/>
                        <a:pt x="94321" y="155836"/>
                      </a:cubicBezTo>
                      <a:cubicBezTo>
                        <a:pt x="94321" y="155836"/>
                        <a:pt x="94321" y="155836"/>
                        <a:pt x="94321" y="155836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78FFE9C3-1CE6-4589-8F70-E9EF8E455F05}"/>
                  </a:ext>
                </a:extLst>
              </p:cNvPr>
              <p:cNvSpPr/>
              <p:nvPr/>
            </p:nvSpPr>
            <p:spPr>
              <a:xfrm>
                <a:off x="12141722" y="1818579"/>
                <a:ext cx="67920" cy="119635"/>
              </a:xfrm>
              <a:custGeom>
                <a:avLst/>
                <a:gdLst>
                  <a:gd name="connsiteX0" fmla="*/ 62923 w 67920"/>
                  <a:gd name="connsiteY0" fmla="*/ 119635 h 119635"/>
                  <a:gd name="connsiteX1" fmla="*/ 56889 w 67920"/>
                  <a:gd name="connsiteY1" fmla="*/ 116618 h 119635"/>
                  <a:gd name="connsiteX2" fmla="*/ 41805 w 67920"/>
                  <a:gd name="connsiteY2" fmla="*/ 65334 h 119635"/>
                  <a:gd name="connsiteX3" fmla="*/ 32755 w 67920"/>
                  <a:gd name="connsiteY3" fmla="*/ 26116 h 119635"/>
                  <a:gd name="connsiteX4" fmla="*/ 20688 w 67920"/>
                  <a:gd name="connsiteY4" fmla="*/ 11032 h 119635"/>
                  <a:gd name="connsiteX5" fmla="*/ 11638 w 67920"/>
                  <a:gd name="connsiteY5" fmla="*/ 14049 h 119635"/>
                  <a:gd name="connsiteX6" fmla="*/ 20688 w 67920"/>
                  <a:gd name="connsiteY6" fmla="*/ 113602 h 119635"/>
                  <a:gd name="connsiteX7" fmla="*/ 17672 w 67920"/>
                  <a:gd name="connsiteY7" fmla="*/ 119635 h 119635"/>
                  <a:gd name="connsiteX8" fmla="*/ 11638 w 67920"/>
                  <a:gd name="connsiteY8" fmla="*/ 116618 h 119635"/>
                  <a:gd name="connsiteX9" fmla="*/ 8621 w 67920"/>
                  <a:gd name="connsiteY9" fmla="*/ 4998 h 119635"/>
                  <a:gd name="connsiteX10" fmla="*/ 26721 w 67920"/>
                  <a:gd name="connsiteY10" fmla="*/ 1982 h 119635"/>
                  <a:gd name="connsiteX11" fmla="*/ 44822 w 67920"/>
                  <a:gd name="connsiteY11" fmla="*/ 26116 h 119635"/>
                  <a:gd name="connsiteX12" fmla="*/ 53872 w 67920"/>
                  <a:gd name="connsiteY12" fmla="*/ 65334 h 119635"/>
                  <a:gd name="connsiteX13" fmla="*/ 65940 w 67920"/>
                  <a:gd name="connsiteY13" fmla="*/ 116618 h 119635"/>
                  <a:gd name="connsiteX14" fmla="*/ 62923 w 67920"/>
                  <a:gd name="connsiteY14" fmla="*/ 119635 h 119635"/>
                  <a:gd name="connsiteX15" fmla="*/ 62923 w 67920"/>
                  <a:gd name="connsiteY15" fmla="*/ 119635 h 11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7920" h="119635">
                    <a:moveTo>
                      <a:pt x="62923" y="119635"/>
                    </a:moveTo>
                    <a:cubicBezTo>
                      <a:pt x="59906" y="119635"/>
                      <a:pt x="59906" y="119635"/>
                      <a:pt x="56889" y="116618"/>
                    </a:cubicBezTo>
                    <a:cubicBezTo>
                      <a:pt x="53872" y="107568"/>
                      <a:pt x="47839" y="86451"/>
                      <a:pt x="41805" y="65334"/>
                    </a:cubicBezTo>
                    <a:cubicBezTo>
                      <a:pt x="38788" y="50250"/>
                      <a:pt x="35772" y="35166"/>
                      <a:pt x="32755" y="26116"/>
                    </a:cubicBezTo>
                    <a:cubicBezTo>
                      <a:pt x="29738" y="17065"/>
                      <a:pt x="26721" y="11032"/>
                      <a:pt x="20688" y="11032"/>
                    </a:cubicBezTo>
                    <a:cubicBezTo>
                      <a:pt x="20688" y="11032"/>
                      <a:pt x="17672" y="11032"/>
                      <a:pt x="11638" y="14049"/>
                    </a:cubicBezTo>
                    <a:cubicBezTo>
                      <a:pt x="5605" y="20082"/>
                      <a:pt x="8621" y="65334"/>
                      <a:pt x="20688" y="113602"/>
                    </a:cubicBezTo>
                    <a:cubicBezTo>
                      <a:pt x="20688" y="116618"/>
                      <a:pt x="20688" y="119635"/>
                      <a:pt x="17672" y="119635"/>
                    </a:cubicBezTo>
                    <a:cubicBezTo>
                      <a:pt x="14655" y="119635"/>
                      <a:pt x="11638" y="119635"/>
                      <a:pt x="11638" y="116618"/>
                    </a:cubicBezTo>
                    <a:cubicBezTo>
                      <a:pt x="5605" y="86451"/>
                      <a:pt x="-9479" y="17065"/>
                      <a:pt x="8621" y="4998"/>
                    </a:cubicBezTo>
                    <a:cubicBezTo>
                      <a:pt x="17672" y="-1035"/>
                      <a:pt x="23705" y="-1035"/>
                      <a:pt x="26721" y="1982"/>
                    </a:cubicBezTo>
                    <a:cubicBezTo>
                      <a:pt x="35772" y="4998"/>
                      <a:pt x="41805" y="11032"/>
                      <a:pt x="44822" y="26116"/>
                    </a:cubicBezTo>
                    <a:cubicBezTo>
                      <a:pt x="47839" y="32149"/>
                      <a:pt x="50856" y="50250"/>
                      <a:pt x="53872" y="65334"/>
                    </a:cubicBezTo>
                    <a:cubicBezTo>
                      <a:pt x="59906" y="86451"/>
                      <a:pt x="62923" y="107568"/>
                      <a:pt x="65940" y="116618"/>
                    </a:cubicBezTo>
                    <a:cubicBezTo>
                      <a:pt x="68956" y="113602"/>
                      <a:pt x="68956" y="116618"/>
                      <a:pt x="62923" y="119635"/>
                    </a:cubicBezTo>
                    <a:cubicBezTo>
                      <a:pt x="65940" y="119635"/>
                      <a:pt x="62923" y="119635"/>
                      <a:pt x="62923" y="11963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2871F178-135C-4169-BDAF-B69DC82E1D1B}"/>
                  </a:ext>
                </a:extLst>
              </p:cNvPr>
              <p:cNvSpPr/>
              <p:nvPr/>
            </p:nvSpPr>
            <p:spPr>
              <a:xfrm>
                <a:off x="12161598" y="1748159"/>
                <a:ext cx="85281" cy="162905"/>
              </a:xfrm>
              <a:custGeom>
                <a:avLst/>
                <a:gdLst>
                  <a:gd name="connsiteX0" fmla="*/ 76232 w 85281"/>
                  <a:gd name="connsiteY0" fmla="*/ 162905 h 162905"/>
                  <a:gd name="connsiteX1" fmla="*/ 70198 w 85281"/>
                  <a:gd name="connsiteY1" fmla="*/ 159888 h 162905"/>
                  <a:gd name="connsiteX2" fmla="*/ 49080 w 85281"/>
                  <a:gd name="connsiteY2" fmla="*/ 102570 h 162905"/>
                  <a:gd name="connsiteX3" fmla="*/ 46064 w 85281"/>
                  <a:gd name="connsiteY3" fmla="*/ 90503 h 162905"/>
                  <a:gd name="connsiteX4" fmla="*/ 30980 w 85281"/>
                  <a:gd name="connsiteY4" fmla="*/ 27151 h 162905"/>
                  <a:gd name="connsiteX5" fmla="*/ 12879 w 85281"/>
                  <a:gd name="connsiteY5" fmla="*/ 12067 h 162905"/>
                  <a:gd name="connsiteX6" fmla="*/ 9863 w 85281"/>
                  <a:gd name="connsiteY6" fmla="*/ 15084 h 162905"/>
                  <a:gd name="connsiteX7" fmla="*/ 18912 w 85281"/>
                  <a:gd name="connsiteY7" fmla="*/ 75419 h 162905"/>
                  <a:gd name="connsiteX8" fmla="*/ 15896 w 85281"/>
                  <a:gd name="connsiteY8" fmla="*/ 81453 h 162905"/>
                  <a:gd name="connsiteX9" fmla="*/ 9863 w 85281"/>
                  <a:gd name="connsiteY9" fmla="*/ 78436 h 162905"/>
                  <a:gd name="connsiteX10" fmla="*/ 3829 w 85281"/>
                  <a:gd name="connsiteY10" fmla="*/ 6034 h 162905"/>
                  <a:gd name="connsiteX11" fmla="*/ 18912 w 85281"/>
                  <a:gd name="connsiteY11" fmla="*/ 0 h 162905"/>
                  <a:gd name="connsiteX12" fmla="*/ 46064 w 85281"/>
                  <a:gd name="connsiteY12" fmla="*/ 21117 h 162905"/>
                  <a:gd name="connsiteX13" fmla="*/ 64164 w 85281"/>
                  <a:gd name="connsiteY13" fmla="*/ 87486 h 162905"/>
                  <a:gd name="connsiteX14" fmla="*/ 67181 w 85281"/>
                  <a:gd name="connsiteY14" fmla="*/ 99553 h 162905"/>
                  <a:gd name="connsiteX15" fmla="*/ 85282 w 85281"/>
                  <a:gd name="connsiteY15" fmla="*/ 156872 h 162905"/>
                  <a:gd name="connsiteX16" fmla="*/ 76232 w 85281"/>
                  <a:gd name="connsiteY16" fmla="*/ 162905 h 162905"/>
                  <a:gd name="connsiteX17" fmla="*/ 76232 w 85281"/>
                  <a:gd name="connsiteY17" fmla="*/ 162905 h 162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85281" h="162905">
                    <a:moveTo>
                      <a:pt x="76232" y="162905"/>
                    </a:moveTo>
                    <a:cubicBezTo>
                      <a:pt x="73215" y="162905"/>
                      <a:pt x="70198" y="162905"/>
                      <a:pt x="70198" y="159888"/>
                    </a:cubicBezTo>
                    <a:cubicBezTo>
                      <a:pt x="70198" y="156872"/>
                      <a:pt x="52097" y="111620"/>
                      <a:pt x="49080" y="102570"/>
                    </a:cubicBezTo>
                    <a:cubicBezTo>
                      <a:pt x="49080" y="99553"/>
                      <a:pt x="49080" y="96536"/>
                      <a:pt x="46064" y="90503"/>
                    </a:cubicBezTo>
                    <a:cubicBezTo>
                      <a:pt x="43047" y="72402"/>
                      <a:pt x="33996" y="36201"/>
                      <a:pt x="30980" y="27151"/>
                    </a:cubicBezTo>
                    <a:cubicBezTo>
                      <a:pt x="27963" y="18101"/>
                      <a:pt x="18912" y="12067"/>
                      <a:pt x="12879" y="12067"/>
                    </a:cubicBezTo>
                    <a:cubicBezTo>
                      <a:pt x="9863" y="12067"/>
                      <a:pt x="9863" y="12067"/>
                      <a:pt x="9863" y="15084"/>
                    </a:cubicBezTo>
                    <a:cubicBezTo>
                      <a:pt x="6846" y="18101"/>
                      <a:pt x="9863" y="48268"/>
                      <a:pt x="18912" y="75419"/>
                    </a:cubicBezTo>
                    <a:cubicBezTo>
                      <a:pt x="18912" y="78436"/>
                      <a:pt x="18912" y="81453"/>
                      <a:pt x="15896" y="81453"/>
                    </a:cubicBezTo>
                    <a:cubicBezTo>
                      <a:pt x="12879" y="81453"/>
                      <a:pt x="9863" y="81453"/>
                      <a:pt x="9863" y="78436"/>
                    </a:cubicBezTo>
                    <a:cubicBezTo>
                      <a:pt x="3829" y="60335"/>
                      <a:pt x="-5221" y="18101"/>
                      <a:pt x="3829" y="6034"/>
                    </a:cubicBezTo>
                    <a:cubicBezTo>
                      <a:pt x="6846" y="0"/>
                      <a:pt x="12879" y="0"/>
                      <a:pt x="18912" y="0"/>
                    </a:cubicBezTo>
                    <a:cubicBezTo>
                      <a:pt x="30980" y="0"/>
                      <a:pt x="40030" y="12067"/>
                      <a:pt x="46064" y="21117"/>
                    </a:cubicBezTo>
                    <a:cubicBezTo>
                      <a:pt x="52097" y="30168"/>
                      <a:pt x="58131" y="60335"/>
                      <a:pt x="64164" y="87486"/>
                    </a:cubicBezTo>
                    <a:cubicBezTo>
                      <a:pt x="64164" y="93520"/>
                      <a:pt x="67181" y="96536"/>
                      <a:pt x="67181" y="99553"/>
                    </a:cubicBezTo>
                    <a:cubicBezTo>
                      <a:pt x="70198" y="105587"/>
                      <a:pt x="82265" y="141788"/>
                      <a:pt x="85282" y="156872"/>
                    </a:cubicBezTo>
                    <a:cubicBezTo>
                      <a:pt x="82265" y="156872"/>
                      <a:pt x="79248" y="159888"/>
                      <a:pt x="76232" y="162905"/>
                    </a:cubicBezTo>
                    <a:cubicBezTo>
                      <a:pt x="76232" y="162905"/>
                      <a:pt x="76232" y="162905"/>
                      <a:pt x="76232" y="16290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6B8CA396-6C63-4112-AC85-9AC64230632A}"/>
                </a:ext>
              </a:extLst>
            </p:cNvPr>
            <p:cNvSpPr/>
            <p:nvPr/>
          </p:nvSpPr>
          <p:spPr>
            <a:xfrm>
              <a:off x="12873341" y="4055942"/>
              <a:ext cx="501806" cy="1251993"/>
            </a:xfrm>
            <a:custGeom>
              <a:avLst/>
              <a:gdLst>
                <a:gd name="connsiteX0" fmla="*/ 55326 w 501806"/>
                <a:gd name="connsiteY0" fmla="*/ 66406 h 1251993"/>
                <a:gd name="connsiteX1" fmla="*/ 254432 w 501806"/>
                <a:gd name="connsiteY1" fmla="*/ 159926 h 1251993"/>
                <a:gd name="connsiteX2" fmla="*/ 326835 w 501806"/>
                <a:gd name="connsiteY2" fmla="*/ 672775 h 1251993"/>
                <a:gd name="connsiteX3" fmla="*/ 501806 w 501806"/>
                <a:gd name="connsiteY3" fmla="*/ 1185624 h 1251993"/>
                <a:gd name="connsiteX4" fmla="*/ 381136 w 501806"/>
                <a:gd name="connsiteY4" fmla="*/ 1251993 h 1251993"/>
                <a:gd name="connsiteX5" fmla="*/ 136778 w 501806"/>
                <a:gd name="connsiteY5" fmla="*/ 751211 h 1251993"/>
                <a:gd name="connsiteX6" fmla="*/ 55326 w 501806"/>
                <a:gd name="connsiteY6" fmla="*/ 66406 h 1251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1806" h="1251993">
                  <a:moveTo>
                    <a:pt x="55326" y="66406"/>
                  </a:moveTo>
                  <a:cubicBezTo>
                    <a:pt x="206164" y="-66331"/>
                    <a:pt x="227281" y="18138"/>
                    <a:pt x="254432" y="159926"/>
                  </a:cubicBezTo>
                  <a:cubicBezTo>
                    <a:pt x="281583" y="307747"/>
                    <a:pt x="308734" y="639591"/>
                    <a:pt x="326835" y="672775"/>
                  </a:cubicBezTo>
                  <a:cubicBezTo>
                    <a:pt x="353985" y="778362"/>
                    <a:pt x="501806" y="1185624"/>
                    <a:pt x="501806" y="1185624"/>
                  </a:cubicBezTo>
                  <a:cubicBezTo>
                    <a:pt x="477673" y="1212775"/>
                    <a:pt x="381136" y="1251993"/>
                    <a:pt x="381136" y="1251993"/>
                  </a:cubicBezTo>
                  <a:cubicBezTo>
                    <a:pt x="381136" y="1251993"/>
                    <a:pt x="194097" y="889982"/>
                    <a:pt x="136778" y="751211"/>
                  </a:cubicBezTo>
                  <a:cubicBezTo>
                    <a:pt x="106611" y="678809"/>
                    <a:pt x="-95512" y="199144"/>
                    <a:pt x="55326" y="66406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3" name="图形 1">
              <a:extLst>
                <a:ext uri="{FF2B5EF4-FFF2-40B4-BE49-F238E27FC236}">
                  <a16:creationId xmlns:a16="http://schemas.microsoft.com/office/drawing/2014/main" id="{C8438DD0-CC0C-4D5B-924A-716D418E50B0}"/>
                </a:ext>
              </a:extLst>
            </p:cNvPr>
            <p:cNvGrpSpPr/>
            <p:nvPr/>
          </p:nvGrpSpPr>
          <p:grpSpPr>
            <a:xfrm>
              <a:off x="13251096" y="5204979"/>
              <a:ext cx="263441" cy="368431"/>
              <a:chOff x="13251096" y="5204979"/>
              <a:chExt cx="263441" cy="368431"/>
            </a:xfrm>
          </p:grpSpPr>
          <p:grpSp>
            <p:nvGrpSpPr>
              <p:cNvPr id="79" name="图形 1">
                <a:extLst>
                  <a:ext uri="{FF2B5EF4-FFF2-40B4-BE49-F238E27FC236}">
                    <a16:creationId xmlns:a16="http://schemas.microsoft.com/office/drawing/2014/main" id="{141A9B3F-0D35-4AC9-BC94-12EC72F6A57B}"/>
                  </a:ext>
                </a:extLst>
              </p:cNvPr>
              <p:cNvGrpSpPr/>
              <p:nvPr/>
            </p:nvGrpSpPr>
            <p:grpSpPr>
              <a:xfrm>
                <a:off x="13251096" y="5204979"/>
                <a:ext cx="263441" cy="368431"/>
                <a:chOff x="13251096" y="5204979"/>
                <a:chExt cx="263441" cy="368431"/>
              </a:xfrm>
            </p:grpSpPr>
            <p:sp>
              <p:nvSpPr>
                <p:cNvPr id="82" name="任意多边形: 形状 81">
                  <a:extLst>
                    <a:ext uri="{FF2B5EF4-FFF2-40B4-BE49-F238E27FC236}">
                      <a16:creationId xmlns:a16="http://schemas.microsoft.com/office/drawing/2014/main" id="{F3605431-4EFC-470D-8470-BE5705DB5519}"/>
                    </a:ext>
                  </a:extLst>
                </p:cNvPr>
                <p:cNvSpPr/>
                <p:nvPr/>
              </p:nvSpPr>
              <p:spPr>
                <a:xfrm>
                  <a:off x="13251096" y="5204979"/>
                  <a:ext cx="263441" cy="362989"/>
                </a:xfrm>
                <a:custGeom>
                  <a:avLst/>
                  <a:gdLst>
                    <a:gd name="connsiteX0" fmla="*/ 108968 w 263441"/>
                    <a:gd name="connsiteY0" fmla="*/ 314130 h 362989"/>
                    <a:gd name="connsiteX1" fmla="*/ 121035 w 263441"/>
                    <a:gd name="connsiteY1" fmla="*/ 299046 h 362989"/>
                    <a:gd name="connsiteX2" fmla="*/ 121035 w 263441"/>
                    <a:gd name="connsiteY2" fmla="*/ 289996 h 362989"/>
                    <a:gd name="connsiteX3" fmla="*/ 130085 w 263441"/>
                    <a:gd name="connsiteY3" fmla="*/ 317147 h 362989"/>
                    <a:gd name="connsiteX4" fmla="*/ 157236 w 263441"/>
                    <a:gd name="connsiteY4" fmla="*/ 359381 h 362989"/>
                    <a:gd name="connsiteX5" fmla="*/ 166286 w 263441"/>
                    <a:gd name="connsiteY5" fmla="*/ 350331 h 362989"/>
                    <a:gd name="connsiteX6" fmla="*/ 166286 w 263441"/>
                    <a:gd name="connsiteY6" fmla="*/ 347314 h 362989"/>
                    <a:gd name="connsiteX7" fmla="*/ 193437 w 263441"/>
                    <a:gd name="connsiteY7" fmla="*/ 362398 h 362989"/>
                    <a:gd name="connsiteX8" fmla="*/ 211537 w 263441"/>
                    <a:gd name="connsiteY8" fmla="*/ 341281 h 362989"/>
                    <a:gd name="connsiteX9" fmla="*/ 196454 w 263441"/>
                    <a:gd name="connsiteY9" fmla="*/ 283962 h 362989"/>
                    <a:gd name="connsiteX10" fmla="*/ 172320 w 263441"/>
                    <a:gd name="connsiteY10" fmla="*/ 205526 h 362989"/>
                    <a:gd name="connsiteX11" fmla="*/ 205504 w 263441"/>
                    <a:gd name="connsiteY11" fmla="*/ 259828 h 362989"/>
                    <a:gd name="connsiteX12" fmla="*/ 232655 w 263441"/>
                    <a:gd name="connsiteY12" fmla="*/ 299046 h 362989"/>
                    <a:gd name="connsiteX13" fmla="*/ 244722 w 263441"/>
                    <a:gd name="connsiteY13" fmla="*/ 265862 h 362989"/>
                    <a:gd name="connsiteX14" fmla="*/ 154219 w 263441"/>
                    <a:gd name="connsiteY14" fmla="*/ 90890 h 362989"/>
                    <a:gd name="connsiteX15" fmla="*/ 235672 w 263441"/>
                    <a:gd name="connsiteY15" fmla="*/ 105973 h 362989"/>
                    <a:gd name="connsiteX16" fmla="*/ 256789 w 263441"/>
                    <a:gd name="connsiteY16" fmla="*/ 72789 h 362989"/>
                    <a:gd name="connsiteX17" fmla="*/ 81817 w 263441"/>
                    <a:gd name="connsiteY17" fmla="*/ 387 h 362989"/>
                    <a:gd name="connsiteX18" fmla="*/ 3381 w 263441"/>
                    <a:gd name="connsiteY18" fmla="*/ 72789 h 362989"/>
                    <a:gd name="connsiteX19" fmla="*/ 45616 w 263441"/>
                    <a:gd name="connsiteY19" fmla="*/ 208543 h 362989"/>
                    <a:gd name="connsiteX20" fmla="*/ 108968 w 263441"/>
                    <a:gd name="connsiteY20" fmla="*/ 314130 h 3629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63441" h="362989">
                      <a:moveTo>
                        <a:pt x="108968" y="314130"/>
                      </a:moveTo>
                      <a:cubicBezTo>
                        <a:pt x="118018" y="314130"/>
                        <a:pt x="121035" y="308096"/>
                        <a:pt x="121035" y="299046"/>
                      </a:cubicBezTo>
                      <a:cubicBezTo>
                        <a:pt x="121035" y="296029"/>
                        <a:pt x="121035" y="293012"/>
                        <a:pt x="121035" y="289996"/>
                      </a:cubicBezTo>
                      <a:cubicBezTo>
                        <a:pt x="124051" y="299046"/>
                        <a:pt x="127068" y="308096"/>
                        <a:pt x="130085" y="317147"/>
                      </a:cubicBezTo>
                      <a:cubicBezTo>
                        <a:pt x="136118" y="335247"/>
                        <a:pt x="139135" y="356364"/>
                        <a:pt x="157236" y="359381"/>
                      </a:cubicBezTo>
                      <a:cubicBezTo>
                        <a:pt x="160253" y="359381"/>
                        <a:pt x="166286" y="353348"/>
                        <a:pt x="166286" y="350331"/>
                      </a:cubicBezTo>
                      <a:cubicBezTo>
                        <a:pt x="166286" y="350331"/>
                        <a:pt x="166286" y="347314"/>
                        <a:pt x="166286" y="347314"/>
                      </a:cubicBezTo>
                      <a:cubicBezTo>
                        <a:pt x="172320" y="356364"/>
                        <a:pt x="181370" y="365415"/>
                        <a:pt x="193437" y="362398"/>
                      </a:cubicBezTo>
                      <a:cubicBezTo>
                        <a:pt x="202487" y="362398"/>
                        <a:pt x="211537" y="353348"/>
                        <a:pt x="211537" y="341281"/>
                      </a:cubicBezTo>
                      <a:cubicBezTo>
                        <a:pt x="211537" y="323180"/>
                        <a:pt x="202487" y="302063"/>
                        <a:pt x="196454" y="283962"/>
                      </a:cubicBezTo>
                      <a:cubicBezTo>
                        <a:pt x="187404" y="256811"/>
                        <a:pt x="181370" y="229661"/>
                        <a:pt x="172320" y="205526"/>
                      </a:cubicBezTo>
                      <a:cubicBezTo>
                        <a:pt x="184387" y="223627"/>
                        <a:pt x="193437" y="241728"/>
                        <a:pt x="205504" y="259828"/>
                      </a:cubicBezTo>
                      <a:cubicBezTo>
                        <a:pt x="211537" y="271895"/>
                        <a:pt x="220588" y="293012"/>
                        <a:pt x="232655" y="299046"/>
                      </a:cubicBezTo>
                      <a:cubicBezTo>
                        <a:pt x="250756" y="308096"/>
                        <a:pt x="247739" y="277929"/>
                        <a:pt x="244722" y="265862"/>
                      </a:cubicBezTo>
                      <a:cubicBezTo>
                        <a:pt x="229638" y="199493"/>
                        <a:pt x="181370" y="151225"/>
                        <a:pt x="154219" y="90890"/>
                      </a:cubicBezTo>
                      <a:cubicBezTo>
                        <a:pt x="175337" y="99940"/>
                        <a:pt x="205504" y="102957"/>
                        <a:pt x="235672" y="105973"/>
                      </a:cubicBezTo>
                      <a:cubicBezTo>
                        <a:pt x="259806" y="105973"/>
                        <a:pt x="271873" y="75806"/>
                        <a:pt x="256789" y="72789"/>
                      </a:cubicBezTo>
                      <a:cubicBezTo>
                        <a:pt x="181370" y="60722"/>
                        <a:pt x="130085" y="-5647"/>
                        <a:pt x="81817" y="387"/>
                      </a:cubicBezTo>
                      <a:cubicBezTo>
                        <a:pt x="48632" y="3404"/>
                        <a:pt x="12432" y="42622"/>
                        <a:pt x="3381" y="72789"/>
                      </a:cubicBezTo>
                      <a:cubicBezTo>
                        <a:pt x="-11703" y="118040"/>
                        <a:pt x="27516" y="166309"/>
                        <a:pt x="45616" y="208543"/>
                      </a:cubicBezTo>
                      <a:cubicBezTo>
                        <a:pt x="54666" y="235694"/>
                        <a:pt x="87851" y="317147"/>
                        <a:pt x="108968" y="314130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任意多边形: 形状 82">
                  <a:extLst>
                    <a:ext uri="{FF2B5EF4-FFF2-40B4-BE49-F238E27FC236}">
                      <a16:creationId xmlns:a16="http://schemas.microsoft.com/office/drawing/2014/main" id="{0067E864-3A74-4364-B8DF-F91D521E755A}"/>
                    </a:ext>
                  </a:extLst>
                </p:cNvPr>
                <p:cNvSpPr/>
                <p:nvPr/>
              </p:nvSpPr>
              <p:spPr>
                <a:xfrm>
                  <a:off x="13328646" y="5279535"/>
                  <a:ext cx="64601" cy="34433"/>
                </a:xfrm>
                <a:custGeom>
                  <a:avLst/>
                  <a:gdLst>
                    <a:gd name="connsiteX0" fmla="*/ 43484 w 64601"/>
                    <a:gd name="connsiteY0" fmla="*/ 34434 h 34433"/>
                    <a:gd name="connsiteX1" fmla="*/ 1250 w 64601"/>
                    <a:gd name="connsiteY1" fmla="*/ 10300 h 34433"/>
                    <a:gd name="connsiteX2" fmla="*/ 4267 w 64601"/>
                    <a:gd name="connsiteY2" fmla="*/ 1250 h 34433"/>
                    <a:gd name="connsiteX3" fmla="*/ 13317 w 64601"/>
                    <a:gd name="connsiteY3" fmla="*/ 4266 h 34433"/>
                    <a:gd name="connsiteX4" fmla="*/ 58568 w 64601"/>
                    <a:gd name="connsiteY4" fmla="*/ 19350 h 34433"/>
                    <a:gd name="connsiteX5" fmla="*/ 64602 w 64601"/>
                    <a:gd name="connsiteY5" fmla="*/ 22367 h 34433"/>
                    <a:gd name="connsiteX6" fmla="*/ 61585 w 64601"/>
                    <a:gd name="connsiteY6" fmla="*/ 28400 h 34433"/>
                    <a:gd name="connsiteX7" fmla="*/ 43484 w 64601"/>
                    <a:gd name="connsiteY7" fmla="*/ 34434 h 344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601" h="34433">
                      <a:moveTo>
                        <a:pt x="43484" y="34434"/>
                      </a:moveTo>
                      <a:cubicBezTo>
                        <a:pt x="28400" y="34434"/>
                        <a:pt x="13317" y="28400"/>
                        <a:pt x="1250" y="10300"/>
                      </a:cubicBezTo>
                      <a:cubicBezTo>
                        <a:pt x="-1767" y="7283"/>
                        <a:pt x="1250" y="4266"/>
                        <a:pt x="4267" y="1250"/>
                      </a:cubicBezTo>
                      <a:cubicBezTo>
                        <a:pt x="7284" y="-1767"/>
                        <a:pt x="10300" y="1250"/>
                        <a:pt x="13317" y="4266"/>
                      </a:cubicBezTo>
                      <a:cubicBezTo>
                        <a:pt x="31417" y="31417"/>
                        <a:pt x="55552" y="22367"/>
                        <a:pt x="58568" y="19350"/>
                      </a:cubicBezTo>
                      <a:cubicBezTo>
                        <a:pt x="61585" y="19350"/>
                        <a:pt x="64602" y="19350"/>
                        <a:pt x="64602" y="22367"/>
                      </a:cubicBezTo>
                      <a:cubicBezTo>
                        <a:pt x="64602" y="25384"/>
                        <a:pt x="64602" y="28400"/>
                        <a:pt x="61585" y="28400"/>
                      </a:cubicBezTo>
                      <a:cubicBezTo>
                        <a:pt x="52535" y="34434"/>
                        <a:pt x="49518" y="34434"/>
                        <a:pt x="43484" y="34434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任意多边形: 形状 83">
                  <a:extLst>
                    <a:ext uri="{FF2B5EF4-FFF2-40B4-BE49-F238E27FC236}">
                      <a16:creationId xmlns:a16="http://schemas.microsoft.com/office/drawing/2014/main" id="{D7ED933A-128A-48F9-B1B2-DE8D33624BDF}"/>
                    </a:ext>
                  </a:extLst>
                </p:cNvPr>
                <p:cNvSpPr/>
                <p:nvPr/>
              </p:nvSpPr>
              <p:spPr>
                <a:xfrm>
                  <a:off x="13417382" y="5404471"/>
                  <a:ext cx="73743" cy="168938"/>
                </a:xfrm>
                <a:custGeom>
                  <a:avLst/>
                  <a:gdLst>
                    <a:gd name="connsiteX0" fmla="*/ 27152 w 73743"/>
                    <a:gd name="connsiteY0" fmla="*/ 168939 h 168938"/>
                    <a:gd name="connsiteX1" fmla="*/ 27152 w 73743"/>
                    <a:gd name="connsiteY1" fmla="*/ 168939 h 168938"/>
                    <a:gd name="connsiteX2" fmla="*/ 0 w 73743"/>
                    <a:gd name="connsiteY2" fmla="*/ 150838 h 168938"/>
                    <a:gd name="connsiteX3" fmla="*/ 3017 w 73743"/>
                    <a:gd name="connsiteY3" fmla="*/ 141788 h 168938"/>
                    <a:gd name="connsiteX4" fmla="*/ 12068 w 73743"/>
                    <a:gd name="connsiteY4" fmla="*/ 144805 h 168938"/>
                    <a:gd name="connsiteX5" fmla="*/ 27152 w 73743"/>
                    <a:gd name="connsiteY5" fmla="*/ 156871 h 168938"/>
                    <a:gd name="connsiteX6" fmla="*/ 27152 w 73743"/>
                    <a:gd name="connsiteY6" fmla="*/ 156871 h 168938"/>
                    <a:gd name="connsiteX7" fmla="*/ 39218 w 73743"/>
                    <a:gd name="connsiteY7" fmla="*/ 147821 h 168938"/>
                    <a:gd name="connsiteX8" fmla="*/ 3017 w 73743"/>
                    <a:gd name="connsiteY8" fmla="*/ 6033 h 168938"/>
                    <a:gd name="connsiteX9" fmla="*/ 6034 w 73743"/>
                    <a:gd name="connsiteY9" fmla="*/ 0 h 168938"/>
                    <a:gd name="connsiteX10" fmla="*/ 12068 w 73743"/>
                    <a:gd name="connsiteY10" fmla="*/ 3017 h 168938"/>
                    <a:gd name="connsiteX11" fmla="*/ 72403 w 73743"/>
                    <a:gd name="connsiteY11" fmla="*/ 96536 h 168938"/>
                    <a:gd name="connsiteX12" fmla="*/ 72403 w 73743"/>
                    <a:gd name="connsiteY12" fmla="*/ 105587 h 168938"/>
                    <a:gd name="connsiteX13" fmla="*/ 63352 w 73743"/>
                    <a:gd name="connsiteY13" fmla="*/ 105587 h 168938"/>
                    <a:gd name="connsiteX14" fmla="*/ 30168 w 73743"/>
                    <a:gd name="connsiteY14" fmla="*/ 54302 h 168938"/>
                    <a:gd name="connsiteX15" fmla="*/ 48268 w 73743"/>
                    <a:gd name="connsiteY15" fmla="*/ 156871 h 168938"/>
                    <a:gd name="connsiteX16" fmla="*/ 27152 w 73743"/>
                    <a:gd name="connsiteY16" fmla="*/ 168939 h 1689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73743" h="168938">
                      <a:moveTo>
                        <a:pt x="27152" y="168939"/>
                      </a:moveTo>
                      <a:cubicBezTo>
                        <a:pt x="27152" y="168939"/>
                        <a:pt x="27152" y="168939"/>
                        <a:pt x="27152" y="168939"/>
                      </a:cubicBezTo>
                      <a:cubicBezTo>
                        <a:pt x="15084" y="168939"/>
                        <a:pt x="6034" y="162905"/>
                        <a:pt x="0" y="150838"/>
                      </a:cubicBezTo>
                      <a:cubicBezTo>
                        <a:pt x="0" y="147821"/>
                        <a:pt x="0" y="144805"/>
                        <a:pt x="3017" y="141788"/>
                      </a:cubicBezTo>
                      <a:cubicBezTo>
                        <a:pt x="6034" y="141788"/>
                        <a:pt x="9051" y="141788"/>
                        <a:pt x="12068" y="144805"/>
                      </a:cubicBezTo>
                      <a:cubicBezTo>
                        <a:pt x="15084" y="150838"/>
                        <a:pt x="21118" y="156871"/>
                        <a:pt x="27152" y="156871"/>
                      </a:cubicBezTo>
                      <a:lnTo>
                        <a:pt x="27152" y="156871"/>
                      </a:lnTo>
                      <a:cubicBezTo>
                        <a:pt x="33185" y="156871"/>
                        <a:pt x="36201" y="153855"/>
                        <a:pt x="39218" y="147821"/>
                      </a:cubicBezTo>
                      <a:cubicBezTo>
                        <a:pt x="42235" y="138771"/>
                        <a:pt x="24135" y="66369"/>
                        <a:pt x="3017" y="6033"/>
                      </a:cubicBezTo>
                      <a:cubicBezTo>
                        <a:pt x="3017" y="3017"/>
                        <a:pt x="3017" y="0"/>
                        <a:pt x="6034" y="0"/>
                      </a:cubicBezTo>
                      <a:cubicBezTo>
                        <a:pt x="9051" y="0"/>
                        <a:pt x="12068" y="0"/>
                        <a:pt x="12068" y="3017"/>
                      </a:cubicBezTo>
                      <a:cubicBezTo>
                        <a:pt x="30168" y="39218"/>
                        <a:pt x="72403" y="93520"/>
                        <a:pt x="72403" y="96536"/>
                      </a:cubicBezTo>
                      <a:cubicBezTo>
                        <a:pt x="75419" y="99553"/>
                        <a:pt x="72403" y="102570"/>
                        <a:pt x="72403" y="105587"/>
                      </a:cubicBezTo>
                      <a:cubicBezTo>
                        <a:pt x="69386" y="108603"/>
                        <a:pt x="66369" y="105587"/>
                        <a:pt x="63352" y="105587"/>
                      </a:cubicBezTo>
                      <a:cubicBezTo>
                        <a:pt x="63352" y="105587"/>
                        <a:pt x="45251" y="81452"/>
                        <a:pt x="30168" y="54302"/>
                      </a:cubicBezTo>
                      <a:cubicBezTo>
                        <a:pt x="42235" y="96536"/>
                        <a:pt x="57319" y="147821"/>
                        <a:pt x="48268" y="156871"/>
                      </a:cubicBezTo>
                      <a:cubicBezTo>
                        <a:pt x="42235" y="165922"/>
                        <a:pt x="36201" y="168939"/>
                        <a:pt x="27152" y="168939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E294208C-3A36-4203-ADF0-5E7F3851C569}"/>
                  </a:ext>
                </a:extLst>
              </p:cNvPr>
              <p:cNvSpPr/>
              <p:nvPr/>
            </p:nvSpPr>
            <p:spPr>
              <a:xfrm>
                <a:off x="13296711" y="5395421"/>
                <a:ext cx="86451" cy="126704"/>
              </a:xfrm>
              <a:custGeom>
                <a:avLst/>
                <a:gdLst>
                  <a:gd name="connsiteX0" fmla="*/ 63352 w 86451"/>
                  <a:gd name="connsiteY0" fmla="*/ 126704 h 126704"/>
                  <a:gd name="connsiteX1" fmla="*/ 0 w 86451"/>
                  <a:gd name="connsiteY1" fmla="*/ 33185 h 126704"/>
                  <a:gd name="connsiteX2" fmla="*/ 3017 w 86451"/>
                  <a:gd name="connsiteY2" fmla="*/ 24134 h 126704"/>
                  <a:gd name="connsiteX3" fmla="*/ 12068 w 86451"/>
                  <a:gd name="connsiteY3" fmla="*/ 27151 h 126704"/>
                  <a:gd name="connsiteX4" fmla="*/ 63352 w 86451"/>
                  <a:gd name="connsiteY4" fmla="*/ 114637 h 126704"/>
                  <a:gd name="connsiteX5" fmla="*/ 63352 w 86451"/>
                  <a:gd name="connsiteY5" fmla="*/ 114637 h 126704"/>
                  <a:gd name="connsiteX6" fmla="*/ 72403 w 86451"/>
                  <a:gd name="connsiteY6" fmla="*/ 111620 h 126704"/>
                  <a:gd name="connsiteX7" fmla="*/ 72403 w 86451"/>
                  <a:gd name="connsiteY7" fmla="*/ 93520 h 126704"/>
                  <a:gd name="connsiteX8" fmla="*/ 57319 w 86451"/>
                  <a:gd name="connsiteY8" fmla="*/ 57318 h 126704"/>
                  <a:gd name="connsiteX9" fmla="*/ 39218 w 86451"/>
                  <a:gd name="connsiteY9" fmla="*/ 6034 h 126704"/>
                  <a:gd name="connsiteX10" fmla="*/ 45251 w 86451"/>
                  <a:gd name="connsiteY10" fmla="*/ 0 h 126704"/>
                  <a:gd name="connsiteX11" fmla="*/ 51285 w 86451"/>
                  <a:gd name="connsiteY11" fmla="*/ 6034 h 126704"/>
                  <a:gd name="connsiteX12" fmla="*/ 69386 w 86451"/>
                  <a:gd name="connsiteY12" fmla="*/ 54302 h 126704"/>
                  <a:gd name="connsiteX13" fmla="*/ 84470 w 86451"/>
                  <a:gd name="connsiteY13" fmla="*/ 93520 h 126704"/>
                  <a:gd name="connsiteX14" fmla="*/ 81453 w 86451"/>
                  <a:gd name="connsiteY14" fmla="*/ 123687 h 126704"/>
                  <a:gd name="connsiteX15" fmla="*/ 63352 w 86451"/>
                  <a:gd name="connsiteY15" fmla="*/ 126704 h 126704"/>
                  <a:gd name="connsiteX16" fmla="*/ 63352 w 86451"/>
                  <a:gd name="connsiteY16" fmla="*/ 126704 h 126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6451" h="126704">
                    <a:moveTo>
                      <a:pt x="63352" y="126704"/>
                    </a:moveTo>
                    <a:cubicBezTo>
                      <a:pt x="42235" y="126704"/>
                      <a:pt x="12068" y="60335"/>
                      <a:pt x="0" y="33185"/>
                    </a:cubicBezTo>
                    <a:cubicBezTo>
                      <a:pt x="0" y="30168"/>
                      <a:pt x="0" y="27151"/>
                      <a:pt x="3017" y="24134"/>
                    </a:cubicBezTo>
                    <a:cubicBezTo>
                      <a:pt x="6034" y="24134"/>
                      <a:pt x="9051" y="24134"/>
                      <a:pt x="12068" y="27151"/>
                    </a:cubicBezTo>
                    <a:cubicBezTo>
                      <a:pt x="30168" y="72402"/>
                      <a:pt x="54302" y="114637"/>
                      <a:pt x="63352" y="114637"/>
                    </a:cubicBezTo>
                    <a:lnTo>
                      <a:pt x="63352" y="114637"/>
                    </a:lnTo>
                    <a:cubicBezTo>
                      <a:pt x="69386" y="114637"/>
                      <a:pt x="69386" y="111620"/>
                      <a:pt x="72403" y="111620"/>
                    </a:cubicBezTo>
                    <a:cubicBezTo>
                      <a:pt x="75419" y="108604"/>
                      <a:pt x="75419" y="102570"/>
                      <a:pt x="72403" y="93520"/>
                    </a:cubicBezTo>
                    <a:cubicBezTo>
                      <a:pt x="69386" y="87486"/>
                      <a:pt x="63352" y="72402"/>
                      <a:pt x="57319" y="57318"/>
                    </a:cubicBezTo>
                    <a:cubicBezTo>
                      <a:pt x="48268" y="36201"/>
                      <a:pt x="39218" y="15084"/>
                      <a:pt x="39218" y="6034"/>
                    </a:cubicBezTo>
                    <a:cubicBezTo>
                      <a:pt x="39218" y="3017"/>
                      <a:pt x="39218" y="0"/>
                      <a:pt x="45251" y="0"/>
                    </a:cubicBezTo>
                    <a:cubicBezTo>
                      <a:pt x="48268" y="0"/>
                      <a:pt x="51285" y="3017"/>
                      <a:pt x="51285" y="6034"/>
                    </a:cubicBezTo>
                    <a:cubicBezTo>
                      <a:pt x="51285" y="15084"/>
                      <a:pt x="60335" y="36201"/>
                      <a:pt x="69386" y="54302"/>
                    </a:cubicBezTo>
                    <a:cubicBezTo>
                      <a:pt x="75419" y="69386"/>
                      <a:pt x="81453" y="84469"/>
                      <a:pt x="84470" y="93520"/>
                    </a:cubicBezTo>
                    <a:cubicBezTo>
                      <a:pt x="87487" y="105587"/>
                      <a:pt x="87487" y="117654"/>
                      <a:pt x="81453" y="123687"/>
                    </a:cubicBezTo>
                    <a:cubicBezTo>
                      <a:pt x="75419" y="123687"/>
                      <a:pt x="72403" y="126704"/>
                      <a:pt x="63352" y="126704"/>
                    </a:cubicBezTo>
                    <a:lnTo>
                      <a:pt x="63352" y="126704"/>
                    </a:lnTo>
                    <a:close/>
                  </a:path>
                </a:pathLst>
              </a:custGeom>
              <a:solidFill>
                <a:srgbClr val="E87952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725978DF-8A69-4749-925B-7B167FB2396D}"/>
                  </a:ext>
                </a:extLst>
              </p:cNvPr>
              <p:cNvSpPr/>
              <p:nvPr/>
            </p:nvSpPr>
            <p:spPr>
              <a:xfrm>
                <a:off x="13369114" y="5401455"/>
                <a:ext cx="54301" cy="168938"/>
              </a:xfrm>
              <a:custGeom>
                <a:avLst/>
                <a:gdLst>
                  <a:gd name="connsiteX0" fmla="*/ 42234 w 54301"/>
                  <a:gd name="connsiteY0" fmla="*/ 168939 h 168938"/>
                  <a:gd name="connsiteX1" fmla="*/ 36201 w 54301"/>
                  <a:gd name="connsiteY1" fmla="*/ 168939 h 168938"/>
                  <a:gd name="connsiteX2" fmla="*/ 0 w 54301"/>
                  <a:gd name="connsiteY2" fmla="*/ 105587 h 168938"/>
                  <a:gd name="connsiteX3" fmla="*/ 3016 w 54301"/>
                  <a:gd name="connsiteY3" fmla="*/ 99553 h 168938"/>
                  <a:gd name="connsiteX4" fmla="*/ 9050 w 54301"/>
                  <a:gd name="connsiteY4" fmla="*/ 102570 h 168938"/>
                  <a:gd name="connsiteX5" fmla="*/ 36201 w 54301"/>
                  <a:gd name="connsiteY5" fmla="*/ 156871 h 168938"/>
                  <a:gd name="connsiteX6" fmla="*/ 42234 w 54301"/>
                  <a:gd name="connsiteY6" fmla="*/ 156871 h 168938"/>
                  <a:gd name="connsiteX7" fmla="*/ 48267 w 54301"/>
                  <a:gd name="connsiteY7" fmla="*/ 135754 h 168938"/>
                  <a:gd name="connsiteX8" fmla="*/ 24134 w 54301"/>
                  <a:gd name="connsiteY8" fmla="*/ 75419 h 168938"/>
                  <a:gd name="connsiteX9" fmla="*/ 18100 w 54301"/>
                  <a:gd name="connsiteY9" fmla="*/ 66369 h 168938"/>
                  <a:gd name="connsiteX10" fmla="*/ 0 w 54301"/>
                  <a:gd name="connsiteY10" fmla="*/ 6033 h 168938"/>
                  <a:gd name="connsiteX11" fmla="*/ 3016 w 54301"/>
                  <a:gd name="connsiteY11" fmla="*/ 0 h 168938"/>
                  <a:gd name="connsiteX12" fmla="*/ 9050 w 54301"/>
                  <a:gd name="connsiteY12" fmla="*/ 3017 h 168938"/>
                  <a:gd name="connsiteX13" fmla="*/ 27151 w 54301"/>
                  <a:gd name="connsiteY13" fmla="*/ 60335 h 168938"/>
                  <a:gd name="connsiteX14" fmla="*/ 30168 w 54301"/>
                  <a:gd name="connsiteY14" fmla="*/ 69385 h 168938"/>
                  <a:gd name="connsiteX15" fmla="*/ 54301 w 54301"/>
                  <a:gd name="connsiteY15" fmla="*/ 135754 h 168938"/>
                  <a:gd name="connsiteX16" fmla="*/ 45251 w 54301"/>
                  <a:gd name="connsiteY16" fmla="*/ 168939 h 168938"/>
                  <a:gd name="connsiteX17" fmla="*/ 42234 w 54301"/>
                  <a:gd name="connsiteY17" fmla="*/ 168939 h 168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4301" h="168938">
                    <a:moveTo>
                      <a:pt x="42234" y="168939"/>
                    </a:moveTo>
                    <a:cubicBezTo>
                      <a:pt x="39218" y="168939"/>
                      <a:pt x="39218" y="168939"/>
                      <a:pt x="36201" y="168939"/>
                    </a:cubicBezTo>
                    <a:cubicBezTo>
                      <a:pt x="21117" y="165922"/>
                      <a:pt x="6033" y="123687"/>
                      <a:pt x="0" y="105587"/>
                    </a:cubicBezTo>
                    <a:cubicBezTo>
                      <a:pt x="0" y="102570"/>
                      <a:pt x="0" y="99553"/>
                      <a:pt x="3016" y="99553"/>
                    </a:cubicBezTo>
                    <a:cubicBezTo>
                      <a:pt x="6033" y="99553"/>
                      <a:pt x="9050" y="99553"/>
                      <a:pt x="9050" y="102570"/>
                    </a:cubicBezTo>
                    <a:cubicBezTo>
                      <a:pt x="18100" y="129721"/>
                      <a:pt x="33184" y="156871"/>
                      <a:pt x="36201" y="156871"/>
                    </a:cubicBezTo>
                    <a:cubicBezTo>
                      <a:pt x="39218" y="156871"/>
                      <a:pt x="39218" y="156871"/>
                      <a:pt x="42234" y="156871"/>
                    </a:cubicBezTo>
                    <a:cubicBezTo>
                      <a:pt x="45251" y="153855"/>
                      <a:pt x="48267" y="141788"/>
                      <a:pt x="48267" y="135754"/>
                    </a:cubicBezTo>
                    <a:cubicBezTo>
                      <a:pt x="48267" y="126704"/>
                      <a:pt x="30168" y="90503"/>
                      <a:pt x="24134" y="75419"/>
                    </a:cubicBezTo>
                    <a:cubicBezTo>
                      <a:pt x="21117" y="69385"/>
                      <a:pt x="21117" y="66369"/>
                      <a:pt x="18100" y="66369"/>
                    </a:cubicBezTo>
                    <a:cubicBezTo>
                      <a:pt x="15084" y="57318"/>
                      <a:pt x="0" y="9050"/>
                      <a:pt x="0" y="6033"/>
                    </a:cubicBezTo>
                    <a:cubicBezTo>
                      <a:pt x="0" y="3017"/>
                      <a:pt x="0" y="0"/>
                      <a:pt x="3016" y="0"/>
                    </a:cubicBezTo>
                    <a:cubicBezTo>
                      <a:pt x="6033" y="0"/>
                      <a:pt x="9050" y="0"/>
                      <a:pt x="9050" y="3017"/>
                    </a:cubicBezTo>
                    <a:cubicBezTo>
                      <a:pt x="12067" y="18101"/>
                      <a:pt x="24134" y="54302"/>
                      <a:pt x="27151" y="60335"/>
                    </a:cubicBezTo>
                    <a:cubicBezTo>
                      <a:pt x="27151" y="63352"/>
                      <a:pt x="30168" y="66369"/>
                      <a:pt x="30168" y="69385"/>
                    </a:cubicBezTo>
                    <a:cubicBezTo>
                      <a:pt x="42234" y="93520"/>
                      <a:pt x="54301" y="123687"/>
                      <a:pt x="54301" y="135754"/>
                    </a:cubicBezTo>
                    <a:cubicBezTo>
                      <a:pt x="54301" y="147821"/>
                      <a:pt x="51284" y="162905"/>
                      <a:pt x="45251" y="168939"/>
                    </a:cubicBezTo>
                    <a:cubicBezTo>
                      <a:pt x="51284" y="168939"/>
                      <a:pt x="45251" y="168939"/>
                      <a:pt x="42234" y="168939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F1C22233-B582-4E1D-9173-266B3DE80942}"/>
                </a:ext>
              </a:extLst>
            </p:cNvPr>
            <p:cNvSpPr/>
            <p:nvPr/>
          </p:nvSpPr>
          <p:spPr>
            <a:xfrm>
              <a:off x="10343304" y="4243019"/>
              <a:ext cx="2781452" cy="2292737"/>
            </a:xfrm>
            <a:custGeom>
              <a:avLst/>
              <a:gdLst>
                <a:gd name="connsiteX0" fmla="*/ 844693 w 2781452"/>
                <a:gd name="connsiteY0" fmla="*/ 24134 h 2292737"/>
                <a:gd name="connsiteX1" fmla="*/ 0 w 2781452"/>
                <a:gd name="connsiteY1" fmla="*/ 2253520 h 2292737"/>
                <a:gd name="connsiteX2" fmla="*/ 174973 w 2781452"/>
                <a:gd name="connsiteY2" fmla="*/ 2283687 h 2292737"/>
                <a:gd name="connsiteX3" fmla="*/ 1387710 w 2781452"/>
                <a:gd name="connsiteY3" fmla="*/ 443464 h 2292737"/>
                <a:gd name="connsiteX4" fmla="*/ 2615531 w 2781452"/>
                <a:gd name="connsiteY4" fmla="*/ 2292738 h 2292737"/>
                <a:gd name="connsiteX5" fmla="*/ 2781453 w 2781452"/>
                <a:gd name="connsiteY5" fmla="*/ 2268603 h 2292737"/>
                <a:gd name="connsiteX6" fmla="*/ 1855307 w 2781452"/>
                <a:gd name="connsiteY6" fmla="*/ 0 h 2292737"/>
                <a:gd name="connsiteX7" fmla="*/ 844693 w 2781452"/>
                <a:gd name="connsiteY7" fmla="*/ 24134 h 229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81452" h="2292737">
                  <a:moveTo>
                    <a:pt x="844693" y="24134"/>
                  </a:moveTo>
                  <a:lnTo>
                    <a:pt x="0" y="2253520"/>
                  </a:lnTo>
                  <a:lnTo>
                    <a:pt x="174973" y="2283687"/>
                  </a:lnTo>
                  <a:cubicBezTo>
                    <a:pt x="1417877" y="410279"/>
                    <a:pt x="1408827" y="404246"/>
                    <a:pt x="1387710" y="443464"/>
                  </a:cubicBezTo>
                  <a:cubicBezTo>
                    <a:pt x="1402793" y="413296"/>
                    <a:pt x="2615531" y="2292738"/>
                    <a:pt x="2615531" y="2292738"/>
                  </a:cubicBezTo>
                  <a:lnTo>
                    <a:pt x="2781453" y="2268603"/>
                  </a:lnTo>
                  <a:cubicBezTo>
                    <a:pt x="2781453" y="2268603"/>
                    <a:pt x="1900559" y="96536"/>
                    <a:pt x="1855307" y="0"/>
                  </a:cubicBezTo>
                  <a:cubicBezTo>
                    <a:pt x="1164470" y="36201"/>
                    <a:pt x="844693" y="24134"/>
                    <a:pt x="844693" y="24134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DAD62727-66EE-449B-B45D-2B98F7C5DF7D}"/>
                </a:ext>
              </a:extLst>
            </p:cNvPr>
            <p:cNvSpPr/>
            <p:nvPr/>
          </p:nvSpPr>
          <p:spPr>
            <a:xfrm>
              <a:off x="10714366" y="4249052"/>
              <a:ext cx="2027262" cy="1297206"/>
            </a:xfrm>
            <a:custGeom>
              <a:avLst/>
              <a:gdLst>
                <a:gd name="connsiteX0" fmla="*/ 473631 w 2027262"/>
                <a:gd name="connsiteY0" fmla="*/ 18101 h 1297206"/>
                <a:gd name="connsiteX1" fmla="*/ 0 w 2027262"/>
                <a:gd name="connsiteY1" fmla="*/ 1137319 h 1297206"/>
                <a:gd name="connsiteX2" fmla="*/ 518882 w 2027262"/>
                <a:gd name="connsiteY2" fmla="*/ 1297207 h 1297206"/>
                <a:gd name="connsiteX3" fmla="*/ 986480 w 2027262"/>
                <a:gd name="connsiteY3" fmla="*/ 497765 h 1297206"/>
                <a:gd name="connsiteX4" fmla="*/ 1490279 w 2027262"/>
                <a:gd name="connsiteY4" fmla="*/ 1212738 h 1297206"/>
                <a:gd name="connsiteX5" fmla="*/ 2027262 w 2027262"/>
                <a:gd name="connsiteY5" fmla="*/ 1089051 h 1297206"/>
                <a:gd name="connsiteX6" fmla="*/ 1484245 w 2027262"/>
                <a:gd name="connsiteY6" fmla="*/ 0 h 1297206"/>
                <a:gd name="connsiteX7" fmla="*/ 473631 w 2027262"/>
                <a:gd name="connsiteY7" fmla="*/ 18101 h 129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7262" h="1297206">
                  <a:moveTo>
                    <a:pt x="473631" y="18101"/>
                  </a:moveTo>
                  <a:cubicBezTo>
                    <a:pt x="473631" y="18101"/>
                    <a:pt x="105587" y="781341"/>
                    <a:pt x="0" y="1137319"/>
                  </a:cubicBezTo>
                  <a:cubicBezTo>
                    <a:pt x="120670" y="1170503"/>
                    <a:pt x="259441" y="1248939"/>
                    <a:pt x="518882" y="1297207"/>
                  </a:cubicBezTo>
                  <a:cubicBezTo>
                    <a:pt x="639553" y="1173520"/>
                    <a:pt x="971396" y="527933"/>
                    <a:pt x="986480" y="497765"/>
                  </a:cubicBezTo>
                  <a:cubicBezTo>
                    <a:pt x="1001564" y="467598"/>
                    <a:pt x="1490279" y="1212738"/>
                    <a:pt x="1490279" y="1212738"/>
                  </a:cubicBezTo>
                  <a:cubicBezTo>
                    <a:pt x="1490279" y="1212738"/>
                    <a:pt x="1755754" y="1167486"/>
                    <a:pt x="2027262" y="1089051"/>
                  </a:cubicBezTo>
                  <a:cubicBezTo>
                    <a:pt x="1963910" y="895978"/>
                    <a:pt x="1529497" y="96536"/>
                    <a:pt x="1484245" y="0"/>
                  </a:cubicBezTo>
                  <a:cubicBezTo>
                    <a:pt x="793407" y="30168"/>
                    <a:pt x="473631" y="18101"/>
                    <a:pt x="473631" y="18101"/>
                  </a:cubicBezTo>
                  <a:close/>
                </a:path>
              </a:pathLst>
            </a:custGeom>
            <a:solidFill>
              <a:srgbClr val="D1615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9B2189C3-3B5A-4470-902A-4AA2964AA7A3}"/>
                </a:ext>
              </a:extLst>
            </p:cNvPr>
            <p:cNvSpPr/>
            <p:nvPr/>
          </p:nvSpPr>
          <p:spPr>
            <a:xfrm>
              <a:off x="11654921" y="4417991"/>
              <a:ext cx="51958" cy="337877"/>
            </a:xfrm>
            <a:custGeom>
              <a:avLst/>
              <a:gdLst>
                <a:gd name="connsiteX0" fmla="*/ 45924 w 51958"/>
                <a:gd name="connsiteY0" fmla="*/ 337877 h 337877"/>
                <a:gd name="connsiteX1" fmla="*/ 39892 w 51958"/>
                <a:gd name="connsiteY1" fmla="*/ 334860 h 337877"/>
                <a:gd name="connsiteX2" fmla="*/ 673 w 51958"/>
                <a:gd name="connsiteY2" fmla="*/ 6033 h 337877"/>
                <a:gd name="connsiteX3" fmla="*/ 6707 w 51958"/>
                <a:gd name="connsiteY3" fmla="*/ 0 h 337877"/>
                <a:gd name="connsiteX4" fmla="*/ 12740 w 51958"/>
                <a:gd name="connsiteY4" fmla="*/ 6033 h 337877"/>
                <a:gd name="connsiteX5" fmla="*/ 51958 w 51958"/>
                <a:gd name="connsiteY5" fmla="*/ 331844 h 337877"/>
                <a:gd name="connsiteX6" fmla="*/ 45924 w 51958"/>
                <a:gd name="connsiteY6" fmla="*/ 337877 h 337877"/>
                <a:gd name="connsiteX7" fmla="*/ 45924 w 51958"/>
                <a:gd name="connsiteY7" fmla="*/ 337877 h 337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958" h="337877">
                  <a:moveTo>
                    <a:pt x="45924" y="337877"/>
                  </a:moveTo>
                  <a:cubicBezTo>
                    <a:pt x="42908" y="337877"/>
                    <a:pt x="42908" y="337877"/>
                    <a:pt x="39892" y="334860"/>
                  </a:cubicBezTo>
                  <a:cubicBezTo>
                    <a:pt x="-8377" y="220223"/>
                    <a:pt x="673" y="15084"/>
                    <a:pt x="673" y="6033"/>
                  </a:cubicBezTo>
                  <a:cubicBezTo>
                    <a:pt x="673" y="3017"/>
                    <a:pt x="3690" y="0"/>
                    <a:pt x="6707" y="0"/>
                  </a:cubicBezTo>
                  <a:cubicBezTo>
                    <a:pt x="9724" y="0"/>
                    <a:pt x="12740" y="3017"/>
                    <a:pt x="12740" y="6033"/>
                  </a:cubicBezTo>
                  <a:cubicBezTo>
                    <a:pt x="12740" y="9050"/>
                    <a:pt x="3690" y="217207"/>
                    <a:pt x="51958" y="331844"/>
                  </a:cubicBezTo>
                  <a:cubicBezTo>
                    <a:pt x="51958" y="331844"/>
                    <a:pt x="48941" y="334860"/>
                    <a:pt x="45924" y="337877"/>
                  </a:cubicBezTo>
                  <a:cubicBezTo>
                    <a:pt x="45924" y="337877"/>
                    <a:pt x="45924" y="337877"/>
                    <a:pt x="45924" y="337877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3030B96B-AADF-4A17-A9C1-2A1B438E407D}"/>
                </a:ext>
              </a:extLst>
            </p:cNvPr>
            <p:cNvSpPr/>
            <p:nvPr/>
          </p:nvSpPr>
          <p:spPr>
            <a:xfrm>
              <a:off x="11546991" y="4372740"/>
              <a:ext cx="135000" cy="295642"/>
            </a:xfrm>
            <a:custGeom>
              <a:avLst/>
              <a:gdLst>
                <a:gd name="connsiteX0" fmla="*/ 129721 w 135000"/>
                <a:gd name="connsiteY0" fmla="*/ 295642 h 295642"/>
                <a:gd name="connsiteX1" fmla="*/ 126704 w 135000"/>
                <a:gd name="connsiteY1" fmla="*/ 295642 h 295642"/>
                <a:gd name="connsiteX2" fmla="*/ 33185 w 135000"/>
                <a:gd name="connsiteY2" fmla="*/ 217207 h 295642"/>
                <a:gd name="connsiteX3" fmla="*/ 0 w 135000"/>
                <a:gd name="connsiteY3" fmla="*/ 6033 h 295642"/>
                <a:gd name="connsiteX4" fmla="*/ 6034 w 135000"/>
                <a:gd name="connsiteY4" fmla="*/ 0 h 295642"/>
                <a:gd name="connsiteX5" fmla="*/ 12068 w 135000"/>
                <a:gd name="connsiteY5" fmla="*/ 6033 h 295642"/>
                <a:gd name="connsiteX6" fmla="*/ 42235 w 135000"/>
                <a:gd name="connsiteY6" fmla="*/ 211173 h 295642"/>
                <a:gd name="connsiteX7" fmla="*/ 132738 w 135000"/>
                <a:gd name="connsiteY7" fmla="*/ 286592 h 295642"/>
                <a:gd name="connsiteX8" fmla="*/ 132738 w 135000"/>
                <a:gd name="connsiteY8" fmla="*/ 295642 h 295642"/>
                <a:gd name="connsiteX9" fmla="*/ 129721 w 135000"/>
                <a:gd name="connsiteY9" fmla="*/ 295642 h 29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000" h="295642">
                  <a:moveTo>
                    <a:pt x="129721" y="295642"/>
                  </a:moveTo>
                  <a:cubicBezTo>
                    <a:pt x="129721" y="295642"/>
                    <a:pt x="126704" y="295642"/>
                    <a:pt x="126704" y="295642"/>
                  </a:cubicBezTo>
                  <a:cubicBezTo>
                    <a:pt x="123687" y="292626"/>
                    <a:pt x="45251" y="232290"/>
                    <a:pt x="33185" y="217207"/>
                  </a:cubicBezTo>
                  <a:cubicBezTo>
                    <a:pt x="21118" y="202123"/>
                    <a:pt x="3017" y="39218"/>
                    <a:pt x="0" y="6033"/>
                  </a:cubicBezTo>
                  <a:cubicBezTo>
                    <a:pt x="0" y="3017"/>
                    <a:pt x="3017" y="0"/>
                    <a:pt x="6034" y="0"/>
                  </a:cubicBezTo>
                  <a:cubicBezTo>
                    <a:pt x="9051" y="0"/>
                    <a:pt x="12068" y="3017"/>
                    <a:pt x="12068" y="6033"/>
                  </a:cubicBezTo>
                  <a:cubicBezTo>
                    <a:pt x="21118" y="99553"/>
                    <a:pt x="36201" y="202123"/>
                    <a:pt x="42235" y="211173"/>
                  </a:cubicBezTo>
                  <a:cubicBezTo>
                    <a:pt x="51285" y="223240"/>
                    <a:pt x="111620" y="271508"/>
                    <a:pt x="132738" y="286592"/>
                  </a:cubicBezTo>
                  <a:cubicBezTo>
                    <a:pt x="135754" y="289609"/>
                    <a:pt x="135754" y="292626"/>
                    <a:pt x="132738" y="295642"/>
                  </a:cubicBezTo>
                  <a:cubicBezTo>
                    <a:pt x="132738" y="295642"/>
                    <a:pt x="129721" y="295642"/>
                    <a:pt x="129721" y="295642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A6DF9414-D820-4EC0-AA50-319F47DDF3E4}"/>
                </a:ext>
              </a:extLst>
            </p:cNvPr>
            <p:cNvSpPr/>
            <p:nvPr/>
          </p:nvSpPr>
          <p:spPr>
            <a:xfrm>
              <a:off x="12948187" y="3431510"/>
              <a:ext cx="288189" cy="289608"/>
            </a:xfrm>
            <a:custGeom>
              <a:avLst/>
              <a:gdLst>
                <a:gd name="connsiteX0" fmla="*/ 179587 w 288189"/>
                <a:gd name="connsiteY0" fmla="*/ 0 h 289608"/>
                <a:gd name="connsiteX1" fmla="*/ 16681 w 288189"/>
                <a:gd name="connsiteY1" fmla="*/ 60335 h 289608"/>
                <a:gd name="connsiteX2" fmla="*/ 101151 w 288189"/>
                <a:gd name="connsiteY2" fmla="*/ 289609 h 289608"/>
                <a:gd name="connsiteX3" fmla="*/ 288190 w 288189"/>
                <a:gd name="connsiteY3" fmla="*/ 214190 h 289608"/>
                <a:gd name="connsiteX4" fmla="*/ 179587 w 288189"/>
                <a:gd name="connsiteY4" fmla="*/ 0 h 28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8189" h="289608">
                  <a:moveTo>
                    <a:pt x="179587" y="0"/>
                  </a:moveTo>
                  <a:cubicBezTo>
                    <a:pt x="179587" y="0"/>
                    <a:pt x="86067" y="36201"/>
                    <a:pt x="16681" y="60335"/>
                  </a:cubicBezTo>
                  <a:cubicBezTo>
                    <a:pt x="16681" y="60335"/>
                    <a:pt x="-55721" y="181006"/>
                    <a:pt x="101151" y="289609"/>
                  </a:cubicBezTo>
                  <a:cubicBezTo>
                    <a:pt x="158469" y="271508"/>
                    <a:pt x="230871" y="235307"/>
                    <a:pt x="288190" y="214190"/>
                  </a:cubicBezTo>
                  <a:cubicBezTo>
                    <a:pt x="288190" y="211173"/>
                    <a:pt x="182603" y="54302"/>
                    <a:pt x="179587" y="0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54DD613D-A50C-4691-85F2-2D0A2033B16D}"/>
                </a:ext>
              </a:extLst>
            </p:cNvPr>
            <p:cNvSpPr/>
            <p:nvPr/>
          </p:nvSpPr>
          <p:spPr>
            <a:xfrm>
              <a:off x="11121628" y="3197398"/>
              <a:ext cx="2003128" cy="1191350"/>
            </a:xfrm>
            <a:custGeom>
              <a:avLst/>
              <a:gdLst>
                <a:gd name="connsiteX0" fmla="*/ 1969944 w 2003128"/>
                <a:gd name="connsiteY0" fmla="*/ 523722 h 1191350"/>
                <a:gd name="connsiteX1" fmla="*/ 1882458 w 2003128"/>
                <a:gd name="connsiteY1" fmla="*/ 252213 h 1191350"/>
                <a:gd name="connsiteX2" fmla="*/ 1722569 w 2003128"/>
                <a:gd name="connsiteY2" fmla="*/ 1822 h 1191350"/>
                <a:gd name="connsiteX3" fmla="*/ 0 w 2003128"/>
                <a:gd name="connsiteY3" fmla="*/ 1136124 h 1191350"/>
                <a:gd name="connsiteX4" fmla="*/ 1134301 w 2003128"/>
                <a:gd name="connsiteY4" fmla="*/ 1178359 h 1191350"/>
                <a:gd name="connsiteX5" fmla="*/ 2003128 w 2003128"/>
                <a:gd name="connsiteY5" fmla="*/ 828414 h 1191350"/>
                <a:gd name="connsiteX6" fmla="*/ 1969944 w 2003128"/>
                <a:gd name="connsiteY6" fmla="*/ 523722 h 1191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3128" h="1191350">
                  <a:moveTo>
                    <a:pt x="1969944" y="523722"/>
                  </a:moveTo>
                  <a:cubicBezTo>
                    <a:pt x="1969944" y="523722"/>
                    <a:pt x="1864357" y="378917"/>
                    <a:pt x="1882458" y="252213"/>
                  </a:cubicBezTo>
                  <a:cubicBezTo>
                    <a:pt x="1882458" y="252213"/>
                    <a:pt x="1752737" y="31990"/>
                    <a:pt x="1722569" y="1822"/>
                  </a:cubicBezTo>
                  <a:cubicBezTo>
                    <a:pt x="1695419" y="-25329"/>
                    <a:pt x="337877" y="246180"/>
                    <a:pt x="0" y="1136124"/>
                  </a:cubicBezTo>
                  <a:cubicBezTo>
                    <a:pt x="0" y="1136124"/>
                    <a:pt x="543017" y="1223610"/>
                    <a:pt x="1134301" y="1178359"/>
                  </a:cubicBezTo>
                  <a:cubicBezTo>
                    <a:pt x="1469162" y="1069755"/>
                    <a:pt x="2003128" y="879699"/>
                    <a:pt x="2003128" y="828414"/>
                  </a:cubicBezTo>
                  <a:cubicBezTo>
                    <a:pt x="2000111" y="725845"/>
                    <a:pt x="1969944" y="523722"/>
                    <a:pt x="1969944" y="523722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D0E25DB7-B162-4667-BCFE-426072C33FBA}"/>
                </a:ext>
              </a:extLst>
            </p:cNvPr>
            <p:cNvSpPr/>
            <p:nvPr/>
          </p:nvSpPr>
          <p:spPr>
            <a:xfrm>
              <a:off x="12397717" y="2864360"/>
              <a:ext cx="469558" cy="591242"/>
            </a:xfrm>
            <a:custGeom>
              <a:avLst/>
              <a:gdLst>
                <a:gd name="connsiteX0" fmla="*/ 0 w 469558"/>
                <a:gd name="connsiteY0" fmla="*/ 165922 h 591242"/>
                <a:gd name="connsiteX1" fmla="*/ 410280 w 469558"/>
                <a:gd name="connsiteY1" fmla="*/ 582235 h 591242"/>
                <a:gd name="connsiteX2" fmla="*/ 355977 w 469558"/>
                <a:gd name="connsiteY2" fmla="*/ 0 h 591242"/>
                <a:gd name="connsiteX3" fmla="*/ 0 w 469558"/>
                <a:gd name="connsiteY3" fmla="*/ 165922 h 591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9558" h="591242">
                  <a:moveTo>
                    <a:pt x="0" y="165922"/>
                  </a:moveTo>
                  <a:cubicBezTo>
                    <a:pt x="0" y="165922"/>
                    <a:pt x="171956" y="663687"/>
                    <a:pt x="410280" y="582235"/>
                  </a:cubicBezTo>
                  <a:cubicBezTo>
                    <a:pt x="570167" y="527933"/>
                    <a:pt x="355977" y="0"/>
                    <a:pt x="355977" y="0"/>
                  </a:cubicBezTo>
                  <a:cubicBezTo>
                    <a:pt x="355977" y="0"/>
                    <a:pt x="153855" y="21117"/>
                    <a:pt x="0" y="165922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8196D6C2-0A8D-4523-8E88-7CFF818CFB10}"/>
                </a:ext>
              </a:extLst>
            </p:cNvPr>
            <p:cNvSpPr/>
            <p:nvPr/>
          </p:nvSpPr>
          <p:spPr>
            <a:xfrm>
              <a:off x="12249896" y="3220337"/>
              <a:ext cx="615418" cy="147821"/>
            </a:xfrm>
            <a:custGeom>
              <a:avLst/>
              <a:gdLst>
                <a:gd name="connsiteX0" fmla="*/ 6033 w 615418"/>
                <a:gd name="connsiteY0" fmla="*/ 147821 h 147821"/>
                <a:gd name="connsiteX1" fmla="*/ 0 w 615418"/>
                <a:gd name="connsiteY1" fmla="*/ 144805 h 147821"/>
                <a:gd name="connsiteX2" fmla="*/ 3017 w 615418"/>
                <a:gd name="connsiteY2" fmla="*/ 138771 h 147821"/>
                <a:gd name="connsiteX3" fmla="*/ 579217 w 615418"/>
                <a:gd name="connsiteY3" fmla="*/ 0 h 147821"/>
                <a:gd name="connsiteX4" fmla="*/ 609385 w 615418"/>
                <a:gd name="connsiteY4" fmla="*/ 0 h 147821"/>
                <a:gd name="connsiteX5" fmla="*/ 615419 w 615418"/>
                <a:gd name="connsiteY5" fmla="*/ 6034 h 147821"/>
                <a:gd name="connsiteX6" fmla="*/ 609385 w 615418"/>
                <a:gd name="connsiteY6" fmla="*/ 12067 h 147821"/>
                <a:gd name="connsiteX7" fmla="*/ 609385 w 615418"/>
                <a:gd name="connsiteY7" fmla="*/ 12067 h 147821"/>
                <a:gd name="connsiteX8" fmla="*/ 6033 w 615418"/>
                <a:gd name="connsiteY8" fmla="*/ 147821 h 147821"/>
                <a:gd name="connsiteX9" fmla="*/ 6033 w 615418"/>
                <a:gd name="connsiteY9" fmla="*/ 147821 h 147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5418" h="147821">
                  <a:moveTo>
                    <a:pt x="6033" y="147821"/>
                  </a:moveTo>
                  <a:cubicBezTo>
                    <a:pt x="3017" y="147821"/>
                    <a:pt x="3017" y="147821"/>
                    <a:pt x="0" y="144805"/>
                  </a:cubicBezTo>
                  <a:cubicBezTo>
                    <a:pt x="0" y="141788"/>
                    <a:pt x="0" y="138771"/>
                    <a:pt x="3017" y="138771"/>
                  </a:cubicBezTo>
                  <a:cubicBezTo>
                    <a:pt x="6033" y="138771"/>
                    <a:pt x="340894" y="0"/>
                    <a:pt x="579217" y="0"/>
                  </a:cubicBezTo>
                  <a:cubicBezTo>
                    <a:pt x="588268" y="0"/>
                    <a:pt x="597318" y="0"/>
                    <a:pt x="609385" y="0"/>
                  </a:cubicBezTo>
                  <a:cubicBezTo>
                    <a:pt x="612402" y="0"/>
                    <a:pt x="615419" y="3017"/>
                    <a:pt x="615419" y="6034"/>
                  </a:cubicBezTo>
                  <a:cubicBezTo>
                    <a:pt x="615419" y="9050"/>
                    <a:pt x="612402" y="12067"/>
                    <a:pt x="609385" y="12067"/>
                  </a:cubicBezTo>
                  <a:cubicBezTo>
                    <a:pt x="609385" y="12067"/>
                    <a:pt x="609385" y="12067"/>
                    <a:pt x="609385" y="12067"/>
                  </a:cubicBezTo>
                  <a:cubicBezTo>
                    <a:pt x="371061" y="-6033"/>
                    <a:pt x="9050" y="144805"/>
                    <a:pt x="6033" y="147821"/>
                  </a:cubicBezTo>
                  <a:cubicBezTo>
                    <a:pt x="6033" y="144805"/>
                    <a:pt x="6033" y="147821"/>
                    <a:pt x="6033" y="147821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FA2E13F6-A1D0-439E-B908-485CD8CF7CD5}"/>
                </a:ext>
              </a:extLst>
            </p:cNvPr>
            <p:cNvSpPr/>
            <p:nvPr/>
          </p:nvSpPr>
          <p:spPr>
            <a:xfrm>
              <a:off x="12782145" y="3883235"/>
              <a:ext cx="451214" cy="579691"/>
            </a:xfrm>
            <a:custGeom>
              <a:avLst/>
              <a:gdLst>
                <a:gd name="connsiteX0" fmla="*/ 451215 w 451214"/>
                <a:gd name="connsiteY0" fmla="*/ 513639 h 579691"/>
                <a:gd name="connsiteX1" fmla="*/ 152555 w 451214"/>
                <a:gd name="connsiteY1" fmla="*/ 790 h 579691"/>
                <a:gd name="connsiteX2" fmla="*/ 37918 w 451214"/>
                <a:gd name="connsiteY2" fmla="*/ 573974 h 579691"/>
                <a:gd name="connsiteX3" fmla="*/ 451215 w 451214"/>
                <a:gd name="connsiteY3" fmla="*/ 513639 h 57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1214" h="579691">
                  <a:moveTo>
                    <a:pt x="451215" y="513639"/>
                  </a:moveTo>
                  <a:cubicBezTo>
                    <a:pt x="451215" y="513639"/>
                    <a:pt x="378812" y="-23344"/>
                    <a:pt x="152555" y="790"/>
                  </a:cubicBezTo>
                  <a:cubicBezTo>
                    <a:pt x="-100853" y="27941"/>
                    <a:pt x="37918" y="573974"/>
                    <a:pt x="37918" y="573974"/>
                  </a:cubicBezTo>
                  <a:cubicBezTo>
                    <a:pt x="37918" y="573974"/>
                    <a:pt x="261158" y="607158"/>
                    <a:pt x="451215" y="513639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39E3359D-1544-489C-B454-0EFC36E8FEA1}"/>
                </a:ext>
              </a:extLst>
            </p:cNvPr>
            <p:cNvSpPr/>
            <p:nvPr/>
          </p:nvSpPr>
          <p:spPr>
            <a:xfrm>
              <a:off x="12777239" y="4095198"/>
              <a:ext cx="181595" cy="377094"/>
            </a:xfrm>
            <a:custGeom>
              <a:avLst/>
              <a:gdLst>
                <a:gd name="connsiteX0" fmla="*/ 139361 w 181595"/>
                <a:gd name="connsiteY0" fmla="*/ 377095 h 377094"/>
                <a:gd name="connsiteX1" fmla="*/ 39808 w 181595"/>
                <a:gd name="connsiteY1" fmla="*/ 368045 h 377094"/>
                <a:gd name="connsiteX2" fmla="*/ 36791 w 181595"/>
                <a:gd name="connsiteY2" fmla="*/ 368045 h 377094"/>
                <a:gd name="connsiteX3" fmla="*/ 36791 w 181595"/>
                <a:gd name="connsiteY3" fmla="*/ 365028 h 377094"/>
                <a:gd name="connsiteX4" fmla="*/ 590 w 181595"/>
                <a:gd name="connsiteY4" fmla="*/ 6034 h 377094"/>
                <a:gd name="connsiteX5" fmla="*/ 6623 w 181595"/>
                <a:gd name="connsiteY5" fmla="*/ 0 h 377094"/>
                <a:gd name="connsiteX6" fmla="*/ 12657 w 181595"/>
                <a:gd name="connsiteY6" fmla="*/ 6034 h 377094"/>
                <a:gd name="connsiteX7" fmla="*/ 45841 w 181595"/>
                <a:gd name="connsiteY7" fmla="*/ 358994 h 377094"/>
                <a:gd name="connsiteX8" fmla="*/ 175562 w 181595"/>
                <a:gd name="connsiteY8" fmla="*/ 365028 h 377094"/>
                <a:gd name="connsiteX9" fmla="*/ 181596 w 181595"/>
                <a:gd name="connsiteY9" fmla="*/ 371062 h 377094"/>
                <a:gd name="connsiteX10" fmla="*/ 175562 w 181595"/>
                <a:gd name="connsiteY10" fmla="*/ 377095 h 377094"/>
                <a:gd name="connsiteX11" fmla="*/ 139361 w 181595"/>
                <a:gd name="connsiteY11" fmla="*/ 377095 h 377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1595" h="377094">
                  <a:moveTo>
                    <a:pt x="139361" y="377095"/>
                  </a:moveTo>
                  <a:cubicBezTo>
                    <a:pt x="88076" y="377095"/>
                    <a:pt x="39808" y="368045"/>
                    <a:pt x="39808" y="368045"/>
                  </a:cubicBezTo>
                  <a:lnTo>
                    <a:pt x="36791" y="368045"/>
                  </a:lnTo>
                  <a:lnTo>
                    <a:pt x="36791" y="365028"/>
                  </a:lnTo>
                  <a:cubicBezTo>
                    <a:pt x="36791" y="362011"/>
                    <a:pt x="-5444" y="187039"/>
                    <a:pt x="590" y="6034"/>
                  </a:cubicBezTo>
                  <a:cubicBezTo>
                    <a:pt x="590" y="3017"/>
                    <a:pt x="3607" y="0"/>
                    <a:pt x="6623" y="0"/>
                  </a:cubicBezTo>
                  <a:cubicBezTo>
                    <a:pt x="9640" y="0"/>
                    <a:pt x="12657" y="3017"/>
                    <a:pt x="12657" y="6034"/>
                  </a:cubicBezTo>
                  <a:cubicBezTo>
                    <a:pt x="6623" y="171955"/>
                    <a:pt x="39808" y="331844"/>
                    <a:pt x="45841" y="358994"/>
                  </a:cubicBezTo>
                  <a:cubicBezTo>
                    <a:pt x="60925" y="362011"/>
                    <a:pt x="121260" y="371062"/>
                    <a:pt x="175562" y="365028"/>
                  </a:cubicBezTo>
                  <a:cubicBezTo>
                    <a:pt x="178579" y="365028"/>
                    <a:pt x="181596" y="368045"/>
                    <a:pt x="181596" y="371062"/>
                  </a:cubicBezTo>
                  <a:cubicBezTo>
                    <a:pt x="181596" y="374078"/>
                    <a:pt x="178579" y="377095"/>
                    <a:pt x="175562" y="377095"/>
                  </a:cubicBezTo>
                  <a:cubicBezTo>
                    <a:pt x="163495" y="374078"/>
                    <a:pt x="151428" y="377095"/>
                    <a:pt x="139361" y="377095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91426601-7E81-4D1E-A9A4-7A52C17916AF}"/>
                </a:ext>
              </a:extLst>
            </p:cNvPr>
            <p:cNvSpPr/>
            <p:nvPr/>
          </p:nvSpPr>
          <p:spPr>
            <a:xfrm>
              <a:off x="13248444" y="3630617"/>
              <a:ext cx="150837" cy="54627"/>
            </a:xfrm>
            <a:custGeom>
              <a:avLst/>
              <a:gdLst>
                <a:gd name="connsiteX0" fmla="*/ 150838 w 150837"/>
                <a:gd name="connsiteY0" fmla="*/ 42235 h 54627"/>
                <a:gd name="connsiteX1" fmla="*/ 0 w 150837"/>
                <a:gd name="connsiteY1" fmla="*/ 33184 h 54627"/>
                <a:gd name="connsiteX2" fmla="*/ 78435 w 150837"/>
                <a:gd name="connsiteY2" fmla="*/ 0 h 54627"/>
                <a:gd name="connsiteX3" fmla="*/ 150838 w 150837"/>
                <a:gd name="connsiteY3" fmla="*/ 42235 h 54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837" h="54627">
                  <a:moveTo>
                    <a:pt x="150838" y="42235"/>
                  </a:moveTo>
                  <a:cubicBezTo>
                    <a:pt x="150838" y="42235"/>
                    <a:pt x="36201" y="75419"/>
                    <a:pt x="0" y="33184"/>
                  </a:cubicBezTo>
                  <a:lnTo>
                    <a:pt x="78435" y="0"/>
                  </a:lnTo>
                  <a:lnTo>
                    <a:pt x="150838" y="42235"/>
                  </a:ln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51427ED3-7C81-4CCA-B75B-D6E876D905F7}"/>
                </a:ext>
              </a:extLst>
            </p:cNvPr>
            <p:cNvSpPr/>
            <p:nvPr/>
          </p:nvSpPr>
          <p:spPr>
            <a:xfrm>
              <a:off x="13221035" y="3181119"/>
              <a:ext cx="223498" cy="152072"/>
            </a:xfrm>
            <a:custGeom>
              <a:avLst/>
              <a:gdLst>
                <a:gd name="connsiteX0" fmla="*/ 199364 w 223498"/>
                <a:gd name="connsiteY0" fmla="*/ 0 h 152072"/>
                <a:gd name="connsiteX1" fmla="*/ 258 w 223498"/>
                <a:gd name="connsiteY1" fmla="*/ 126704 h 152072"/>
                <a:gd name="connsiteX2" fmla="*/ 223499 w 223498"/>
                <a:gd name="connsiteY2" fmla="*/ 93520 h 152072"/>
                <a:gd name="connsiteX3" fmla="*/ 199364 w 223498"/>
                <a:gd name="connsiteY3" fmla="*/ 0 h 152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3498" h="152072">
                  <a:moveTo>
                    <a:pt x="199364" y="0"/>
                  </a:moveTo>
                  <a:cubicBezTo>
                    <a:pt x="199364" y="0"/>
                    <a:pt x="9309" y="42235"/>
                    <a:pt x="258" y="126704"/>
                  </a:cubicBezTo>
                  <a:cubicBezTo>
                    <a:pt x="-8792" y="199106"/>
                    <a:pt x="223499" y="93520"/>
                    <a:pt x="223499" y="93520"/>
                  </a:cubicBezTo>
                  <a:lnTo>
                    <a:pt x="199364" y="0"/>
                  </a:ln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374AA001-3D0C-4A04-8390-161FBD4C8F43}"/>
                </a:ext>
              </a:extLst>
            </p:cNvPr>
            <p:cNvSpPr/>
            <p:nvPr/>
          </p:nvSpPr>
          <p:spPr>
            <a:xfrm>
              <a:off x="13093475" y="3233490"/>
              <a:ext cx="554903" cy="434388"/>
            </a:xfrm>
            <a:custGeom>
              <a:avLst/>
              <a:gdLst>
                <a:gd name="connsiteX0" fmla="*/ 299773 w 554903"/>
                <a:gd name="connsiteY0" fmla="*/ 1931 h 434388"/>
                <a:gd name="connsiteX1" fmla="*/ 70499 w 554903"/>
                <a:gd name="connsiteY1" fmla="*/ 92433 h 434388"/>
                <a:gd name="connsiteX2" fmla="*/ 4131 w 554903"/>
                <a:gd name="connsiteY2" fmla="*/ 288523 h 434388"/>
                <a:gd name="connsiteX3" fmla="*/ 215304 w 554903"/>
                <a:gd name="connsiteY3" fmla="*/ 433327 h 434388"/>
                <a:gd name="connsiteX4" fmla="*/ 435527 w 554903"/>
                <a:gd name="connsiteY4" fmla="*/ 385059 h 434388"/>
                <a:gd name="connsiteX5" fmla="*/ 541114 w 554903"/>
                <a:gd name="connsiteY5" fmla="*/ 116568 h 434388"/>
                <a:gd name="connsiteX6" fmla="*/ 299773 w 554903"/>
                <a:gd name="connsiteY6" fmla="*/ 1931 h 43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4903" h="434388">
                  <a:moveTo>
                    <a:pt x="299773" y="1931"/>
                  </a:moveTo>
                  <a:cubicBezTo>
                    <a:pt x="299773" y="1931"/>
                    <a:pt x="127817" y="47182"/>
                    <a:pt x="70499" y="92433"/>
                  </a:cubicBezTo>
                  <a:cubicBezTo>
                    <a:pt x="16197" y="134668"/>
                    <a:pt x="-10953" y="240255"/>
                    <a:pt x="4131" y="288523"/>
                  </a:cubicBezTo>
                  <a:cubicBezTo>
                    <a:pt x="25247" y="351875"/>
                    <a:pt x="103683" y="445395"/>
                    <a:pt x="215304" y="433327"/>
                  </a:cubicBezTo>
                  <a:cubicBezTo>
                    <a:pt x="290723" y="424277"/>
                    <a:pt x="390276" y="403160"/>
                    <a:pt x="435527" y="385059"/>
                  </a:cubicBezTo>
                  <a:cubicBezTo>
                    <a:pt x="523013" y="348858"/>
                    <a:pt x="583348" y="294556"/>
                    <a:pt x="541114" y="116568"/>
                  </a:cubicBezTo>
                  <a:cubicBezTo>
                    <a:pt x="519996" y="35115"/>
                    <a:pt x="378209" y="-10136"/>
                    <a:pt x="299773" y="1931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CD9636DA-2747-4148-9BA5-4960B842FDBA}"/>
                </a:ext>
              </a:extLst>
            </p:cNvPr>
            <p:cNvSpPr/>
            <p:nvPr/>
          </p:nvSpPr>
          <p:spPr>
            <a:xfrm>
              <a:off x="13245030" y="3395309"/>
              <a:ext cx="127100" cy="87485"/>
            </a:xfrm>
            <a:custGeom>
              <a:avLst/>
              <a:gdLst>
                <a:gd name="connsiteX0" fmla="*/ 21513 w 127100"/>
                <a:gd name="connsiteY0" fmla="*/ 87486 h 87485"/>
                <a:gd name="connsiteX1" fmla="*/ 15481 w 127100"/>
                <a:gd name="connsiteY1" fmla="*/ 84469 h 87485"/>
                <a:gd name="connsiteX2" fmla="*/ 397 w 127100"/>
                <a:gd name="connsiteY2" fmla="*/ 36201 h 87485"/>
                <a:gd name="connsiteX3" fmla="*/ 9447 w 127100"/>
                <a:gd name="connsiteY3" fmla="*/ 27151 h 87485"/>
                <a:gd name="connsiteX4" fmla="*/ 121067 w 127100"/>
                <a:gd name="connsiteY4" fmla="*/ 0 h 87485"/>
                <a:gd name="connsiteX5" fmla="*/ 127100 w 127100"/>
                <a:gd name="connsiteY5" fmla="*/ 6033 h 87485"/>
                <a:gd name="connsiteX6" fmla="*/ 121067 w 127100"/>
                <a:gd name="connsiteY6" fmla="*/ 12067 h 87485"/>
                <a:gd name="connsiteX7" fmla="*/ 12464 w 127100"/>
                <a:gd name="connsiteY7" fmla="*/ 39218 h 87485"/>
                <a:gd name="connsiteX8" fmla="*/ 9447 w 127100"/>
                <a:gd name="connsiteY8" fmla="*/ 42235 h 87485"/>
                <a:gd name="connsiteX9" fmla="*/ 21513 w 127100"/>
                <a:gd name="connsiteY9" fmla="*/ 78436 h 87485"/>
                <a:gd name="connsiteX10" fmla="*/ 18497 w 127100"/>
                <a:gd name="connsiteY10" fmla="*/ 87486 h 87485"/>
                <a:gd name="connsiteX11" fmla="*/ 21513 w 127100"/>
                <a:gd name="connsiteY11" fmla="*/ 87486 h 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7100" h="87485">
                  <a:moveTo>
                    <a:pt x="21513" y="87486"/>
                  </a:moveTo>
                  <a:cubicBezTo>
                    <a:pt x="18497" y="87486"/>
                    <a:pt x="18497" y="87486"/>
                    <a:pt x="15481" y="84469"/>
                  </a:cubicBezTo>
                  <a:cubicBezTo>
                    <a:pt x="12464" y="78436"/>
                    <a:pt x="-2620" y="54302"/>
                    <a:pt x="397" y="36201"/>
                  </a:cubicBezTo>
                  <a:cubicBezTo>
                    <a:pt x="3414" y="30168"/>
                    <a:pt x="6430" y="27151"/>
                    <a:pt x="9447" y="27151"/>
                  </a:cubicBezTo>
                  <a:cubicBezTo>
                    <a:pt x="27547" y="21117"/>
                    <a:pt x="115033" y="3017"/>
                    <a:pt x="121067" y="0"/>
                  </a:cubicBezTo>
                  <a:cubicBezTo>
                    <a:pt x="124084" y="0"/>
                    <a:pt x="127100" y="0"/>
                    <a:pt x="127100" y="6033"/>
                  </a:cubicBezTo>
                  <a:cubicBezTo>
                    <a:pt x="127100" y="9050"/>
                    <a:pt x="127100" y="12067"/>
                    <a:pt x="121067" y="12067"/>
                  </a:cubicBezTo>
                  <a:cubicBezTo>
                    <a:pt x="121067" y="12067"/>
                    <a:pt x="30564" y="30168"/>
                    <a:pt x="12464" y="39218"/>
                  </a:cubicBezTo>
                  <a:cubicBezTo>
                    <a:pt x="12464" y="39218"/>
                    <a:pt x="9447" y="39218"/>
                    <a:pt x="9447" y="42235"/>
                  </a:cubicBezTo>
                  <a:cubicBezTo>
                    <a:pt x="6430" y="51285"/>
                    <a:pt x="15481" y="69385"/>
                    <a:pt x="21513" y="78436"/>
                  </a:cubicBezTo>
                  <a:cubicBezTo>
                    <a:pt x="24530" y="81452"/>
                    <a:pt x="21513" y="84469"/>
                    <a:pt x="18497" y="87486"/>
                  </a:cubicBezTo>
                  <a:cubicBezTo>
                    <a:pt x="24530" y="87486"/>
                    <a:pt x="24530" y="87486"/>
                    <a:pt x="21513" y="87486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D502DAC7-E8F5-4879-82BD-1DE6AA933FC5}"/>
                </a:ext>
              </a:extLst>
            </p:cNvPr>
            <p:cNvSpPr/>
            <p:nvPr/>
          </p:nvSpPr>
          <p:spPr>
            <a:xfrm>
              <a:off x="13332321" y="3316282"/>
              <a:ext cx="37384" cy="37384"/>
            </a:xfrm>
            <a:custGeom>
              <a:avLst/>
              <a:gdLst>
                <a:gd name="connsiteX0" fmla="*/ 21709 w 37384"/>
                <a:gd name="connsiteY0" fmla="*/ 36793 h 37384"/>
                <a:gd name="connsiteX1" fmla="*/ 592 w 37384"/>
                <a:gd name="connsiteY1" fmla="*/ 21709 h 37384"/>
                <a:gd name="connsiteX2" fmla="*/ 15676 w 37384"/>
                <a:gd name="connsiteY2" fmla="*/ 592 h 37384"/>
                <a:gd name="connsiteX3" fmla="*/ 36793 w 37384"/>
                <a:gd name="connsiteY3" fmla="*/ 15676 h 37384"/>
                <a:gd name="connsiteX4" fmla="*/ 21709 w 37384"/>
                <a:gd name="connsiteY4" fmla="*/ 36793 h 37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84" h="37384">
                  <a:moveTo>
                    <a:pt x="21709" y="36793"/>
                  </a:moveTo>
                  <a:cubicBezTo>
                    <a:pt x="9642" y="39810"/>
                    <a:pt x="592" y="30759"/>
                    <a:pt x="592" y="21709"/>
                  </a:cubicBezTo>
                  <a:cubicBezTo>
                    <a:pt x="-2425" y="9642"/>
                    <a:pt x="6626" y="592"/>
                    <a:pt x="15676" y="592"/>
                  </a:cubicBezTo>
                  <a:cubicBezTo>
                    <a:pt x="27742" y="-2425"/>
                    <a:pt x="36793" y="6625"/>
                    <a:pt x="36793" y="15676"/>
                  </a:cubicBezTo>
                  <a:cubicBezTo>
                    <a:pt x="39809" y="24726"/>
                    <a:pt x="30759" y="36793"/>
                    <a:pt x="21709" y="36793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900CAF60-C686-44E6-8141-F10275D7F0D3}"/>
                </a:ext>
              </a:extLst>
            </p:cNvPr>
            <p:cNvSpPr/>
            <p:nvPr/>
          </p:nvSpPr>
          <p:spPr>
            <a:xfrm>
              <a:off x="13383606" y="3491254"/>
              <a:ext cx="36792" cy="37384"/>
            </a:xfrm>
            <a:custGeom>
              <a:avLst/>
              <a:gdLst>
                <a:gd name="connsiteX0" fmla="*/ 21709 w 36792"/>
                <a:gd name="connsiteY0" fmla="*/ 36793 h 37384"/>
                <a:gd name="connsiteX1" fmla="*/ 592 w 36792"/>
                <a:gd name="connsiteY1" fmla="*/ 21709 h 37384"/>
                <a:gd name="connsiteX2" fmla="*/ 15676 w 36792"/>
                <a:gd name="connsiteY2" fmla="*/ 592 h 37384"/>
                <a:gd name="connsiteX3" fmla="*/ 36792 w 36792"/>
                <a:gd name="connsiteY3" fmla="*/ 15676 h 37384"/>
                <a:gd name="connsiteX4" fmla="*/ 21709 w 36792"/>
                <a:gd name="connsiteY4" fmla="*/ 36793 h 37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92" h="37384">
                  <a:moveTo>
                    <a:pt x="21709" y="36793"/>
                  </a:moveTo>
                  <a:cubicBezTo>
                    <a:pt x="9642" y="39810"/>
                    <a:pt x="592" y="30759"/>
                    <a:pt x="592" y="21709"/>
                  </a:cubicBezTo>
                  <a:cubicBezTo>
                    <a:pt x="-2425" y="9642"/>
                    <a:pt x="6625" y="592"/>
                    <a:pt x="15676" y="592"/>
                  </a:cubicBezTo>
                  <a:cubicBezTo>
                    <a:pt x="27742" y="-2425"/>
                    <a:pt x="36792" y="6625"/>
                    <a:pt x="36792" y="15676"/>
                  </a:cubicBezTo>
                  <a:cubicBezTo>
                    <a:pt x="36792" y="24726"/>
                    <a:pt x="30759" y="33776"/>
                    <a:pt x="21709" y="36793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758E4702-6C31-44D4-9A2E-638ACC541D83}"/>
                </a:ext>
              </a:extLst>
            </p:cNvPr>
            <p:cNvSpPr/>
            <p:nvPr/>
          </p:nvSpPr>
          <p:spPr>
            <a:xfrm>
              <a:off x="13367865" y="3276406"/>
              <a:ext cx="52534" cy="82702"/>
            </a:xfrm>
            <a:custGeom>
              <a:avLst/>
              <a:gdLst>
                <a:gd name="connsiteX0" fmla="*/ 43484 w 52534"/>
                <a:gd name="connsiteY0" fmla="*/ 82702 h 82702"/>
                <a:gd name="connsiteX1" fmla="*/ 43484 w 52534"/>
                <a:gd name="connsiteY1" fmla="*/ 82702 h 82702"/>
                <a:gd name="connsiteX2" fmla="*/ 34433 w 52534"/>
                <a:gd name="connsiteY2" fmla="*/ 73652 h 82702"/>
                <a:gd name="connsiteX3" fmla="*/ 4266 w 52534"/>
                <a:gd name="connsiteY3" fmla="*/ 13317 h 82702"/>
                <a:gd name="connsiteX4" fmla="*/ 1250 w 52534"/>
                <a:gd name="connsiteY4" fmla="*/ 4266 h 82702"/>
                <a:gd name="connsiteX5" fmla="*/ 10300 w 52534"/>
                <a:gd name="connsiteY5" fmla="*/ 1250 h 82702"/>
                <a:gd name="connsiteX6" fmla="*/ 52534 w 52534"/>
                <a:gd name="connsiteY6" fmla="*/ 76669 h 82702"/>
                <a:gd name="connsiteX7" fmla="*/ 43484 w 52534"/>
                <a:gd name="connsiteY7" fmla="*/ 82702 h 8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534" h="82702">
                  <a:moveTo>
                    <a:pt x="43484" y="82702"/>
                  </a:moveTo>
                  <a:cubicBezTo>
                    <a:pt x="43484" y="82702"/>
                    <a:pt x="43484" y="82702"/>
                    <a:pt x="43484" y="82702"/>
                  </a:cubicBezTo>
                  <a:cubicBezTo>
                    <a:pt x="37450" y="82702"/>
                    <a:pt x="34433" y="79685"/>
                    <a:pt x="34433" y="73652"/>
                  </a:cubicBezTo>
                  <a:cubicBezTo>
                    <a:pt x="34433" y="70635"/>
                    <a:pt x="37450" y="28400"/>
                    <a:pt x="4266" y="13317"/>
                  </a:cubicBezTo>
                  <a:cubicBezTo>
                    <a:pt x="1250" y="10300"/>
                    <a:pt x="-1767" y="7283"/>
                    <a:pt x="1250" y="4266"/>
                  </a:cubicBezTo>
                  <a:cubicBezTo>
                    <a:pt x="4266" y="1250"/>
                    <a:pt x="7283" y="-1767"/>
                    <a:pt x="10300" y="1250"/>
                  </a:cubicBezTo>
                  <a:cubicBezTo>
                    <a:pt x="46501" y="16333"/>
                    <a:pt x="52534" y="55551"/>
                    <a:pt x="52534" y="76669"/>
                  </a:cubicBezTo>
                  <a:cubicBezTo>
                    <a:pt x="52534" y="79685"/>
                    <a:pt x="49517" y="82702"/>
                    <a:pt x="43484" y="82702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9ABF9E2C-D8D3-4103-90E3-7E8BAF727710}"/>
                </a:ext>
              </a:extLst>
            </p:cNvPr>
            <p:cNvSpPr/>
            <p:nvPr/>
          </p:nvSpPr>
          <p:spPr>
            <a:xfrm>
              <a:off x="13444533" y="3449611"/>
              <a:ext cx="40761" cy="87485"/>
            </a:xfrm>
            <a:custGeom>
              <a:avLst/>
              <a:gdLst>
                <a:gd name="connsiteX0" fmla="*/ 27151 w 40761"/>
                <a:gd name="connsiteY0" fmla="*/ 87486 h 87485"/>
                <a:gd name="connsiteX1" fmla="*/ 24134 w 40761"/>
                <a:gd name="connsiteY1" fmla="*/ 87486 h 87485"/>
                <a:gd name="connsiteX2" fmla="*/ 21117 w 40761"/>
                <a:gd name="connsiteY2" fmla="*/ 78436 h 87485"/>
                <a:gd name="connsiteX3" fmla="*/ 3016 w 40761"/>
                <a:gd name="connsiteY3" fmla="*/ 15084 h 87485"/>
                <a:gd name="connsiteX4" fmla="*/ 0 w 40761"/>
                <a:gd name="connsiteY4" fmla="*/ 3017 h 87485"/>
                <a:gd name="connsiteX5" fmla="*/ 12067 w 40761"/>
                <a:gd name="connsiteY5" fmla="*/ 0 h 87485"/>
                <a:gd name="connsiteX6" fmla="*/ 36201 w 40761"/>
                <a:gd name="connsiteY6" fmla="*/ 81453 h 87485"/>
                <a:gd name="connsiteX7" fmla="*/ 27151 w 40761"/>
                <a:gd name="connsiteY7" fmla="*/ 87486 h 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761" h="87485">
                  <a:moveTo>
                    <a:pt x="27151" y="87486"/>
                  </a:moveTo>
                  <a:cubicBezTo>
                    <a:pt x="27151" y="87486"/>
                    <a:pt x="24134" y="87486"/>
                    <a:pt x="24134" y="87486"/>
                  </a:cubicBezTo>
                  <a:cubicBezTo>
                    <a:pt x="21117" y="84469"/>
                    <a:pt x="18100" y="81453"/>
                    <a:pt x="21117" y="78436"/>
                  </a:cubicBezTo>
                  <a:cubicBezTo>
                    <a:pt x="21117" y="75419"/>
                    <a:pt x="36201" y="39218"/>
                    <a:pt x="3016" y="15084"/>
                  </a:cubicBezTo>
                  <a:cubicBezTo>
                    <a:pt x="0" y="12067"/>
                    <a:pt x="0" y="9050"/>
                    <a:pt x="0" y="3017"/>
                  </a:cubicBezTo>
                  <a:cubicBezTo>
                    <a:pt x="3016" y="0"/>
                    <a:pt x="6033" y="0"/>
                    <a:pt x="12067" y="0"/>
                  </a:cubicBezTo>
                  <a:cubicBezTo>
                    <a:pt x="48267" y="24134"/>
                    <a:pt x="42234" y="66369"/>
                    <a:pt x="36201" y="81453"/>
                  </a:cubicBezTo>
                  <a:cubicBezTo>
                    <a:pt x="33184" y="84469"/>
                    <a:pt x="30168" y="87486"/>
                    <a:pt x="27151" y="87486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90BA4B0F-BEC7-4E87-8E22-9E375E6FD7B2}"/>
                </a:ext>
              </a:extLst>
            </p:cNvPr>
            <p:cNvSpPr/>
            <p:nvPr/>
          </p:nvSpPr>
          <p:spPr>
            <a:xfrm>
              <a:off x="13090019" y="3451378"/>
              <a:ext cx="118451" cy="200355"/>
            </a:xfrm>
            <a:custGeom>
              <a:avLst/>
              <a:gdLst>
                <a:gd name="connsiteX0" fmla="*/ 113173 w 118451"/>
                <a:gd name="connsiteY0" fmla="*/ 200356 h 200355"/>
                <a:gd name="connsiteX1" fmla="*/ 110156 w 118451"/>
                <a:gd name="connsiteY1" fmla="*/ 200356 h 200355"/>
                <a:gd name="connsiteX2" fmla="*/ 7587 w 118451"/>
                <a:gd name="connsiteY2" fmla="*/ 85719 h 200355"/>
                <a:gd name="connsiteX3" fmla="*/ 4570 w 118451"/>
                <a:gd name="connsiteY3" fmla="*/ 4266 h 200355"/>
                <a:gd name="connsiteX4" fmla="*/ 10603 w 118451"/>
                <a:gd name="connsiteY4" fmla="*/ 1250 h 200355"/>
                <a:gd name="connsiteX5" fmla="*/ 13620 w 118451"/>
                <a:gd name="connsiteY5" fmla="*/ 7283 h 200355"/>
                <a:gd name="connsiteX6" fmla="*/ 16636 w 118451"/>
                <a:gd name="connsiteY6" fmla="*/ 82702 h 200355"/>
                <a:gd name="connsiteX7" fmla="*/ 116189 w 118451"/>
                <a:gd name="connsiteY7" fmla="*/ 191305 h 200355"/>
                <a:gd name="connsiteX8" fmla="*/ 116189 w 118451"/>
                <a:gd name="connsiteY8" fmla="*/ 200356 h 200355"/>
                <a:gd name="connsiteX9" fmla="*/ 113173 w 118451"/>
                <a:gd name="connsiteY9" fmla="*/ 200356 h 200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451" h="200355">
                  <a:moveTo>
                    <a:pt x="113173" y="200356"/>
                  </a:moveTo>
                  <a:cubicBezTo>
                    <a:pt x="113173" y="200356"/>
                    <a:pt x="110156" y="200356"/>
                    <a:pt x="110156" y="200356"/>
                  </a:cubicBezTo>
                  <a:cubicBezTo>
                    <a:pt x="107139" y="197339"/>
                    <a:pt x="28703" y="133987"/>
                    <a:pt x="7587" y="85719"/>
                  </a:cubicBezTo>
                  <a:cubicBezTo>
                    <a:pt x="-7497" y="46501"/>
                    <a:pt x="4570" y="4266"/>
                    <a:pt x="4570" y="4266"/>
                  </a:cubicBezTo>
                  <a:cubicBezTo>
                    <a:pt x="4570" y="1250"/>
                    <a:pt x="7587" y="-1767"/>
                    <a:pt x="10603" y="1250"/>
                  </a:cubicBezTo>
                  <a:cubicBezTo>
                    <a:pt x="13620" y="1250"/>
                    <a:pt x="16636" y="4266"/>
                    <a:pt x="13620" y="7283"/>
                  </a:cubicBezTo>
                  <a:cubicBezTo>
                    <a:pt x="13620" y="7283"/>
                    <a:pt x="1553" y="46501"/>
                    <a:pt x="16636" y="82702"/>
                  </a:cubicBezTo>
                  <a:cubicBezTo>
                    <a:pt x="34737" y="127953"/>
                    <a:pt x="113173" y="191305"/>
                    <a:pt x="116189" y="191305"/>
                  </a:cubicBezTo>
                  <a:cubicBezTo>
                    <a:pt x="119206" y="194322"/>
                    <a:pt x="119206" y="197339"/>
                    <a:pt x="116189" y="200356"/>
                  </a:cubicBezTo>
                  <a:cubicBezTo>
                    <a:pt x="116189" y="200356"/>
                    <a:pt x="116189" y="200356"/>
                    <a:pt x="113173" y="200356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4B4270F2-7405-44B0-82CE-F69AA406CA98}"/>
                </a:ext>
              </a:extLst>
            </p:cNvPr>
            <p:cNvSpPr/>
            <p:nvPr/>
          </p:nvSpPr>
          <p:spPr>
            <a:xfrm>
              <a:off x="13435483" y="3528047"/>
              <a:ext cx="245051" cy="119684"/>
            </a:xfrm>
            <a:custGeom>
              <a:avLst/>
              <a:gdLst>
                <a:gd name="connsiteX0" fmla="*/ 111620 w 245051"/>
                <a:gd name="connsiteY0" fmla="*/ 6034 h 119684"/>
                <a:gd name="connsiteX1" fmla="*/ 0 w 245051"/>
                <a:gd name="connsiteY1" fmla="*/ 102570 h 119684"/>
                <a:gd name="connsiteX2" fmla="*/ 111620 w 245051"/>
                <a:gd name="connsiteY2" fmla="*/ 117654 h 119684"/>
                <a:gd name="connsiteX3" fmla="*/ 244358 w 245051"/>
                <a:gd name="connsiteY3" fmla="*/ 0 h 119684"/>
                <a:gd name="connsiteX4" fmla="*/ 111620 w 245051"/>
                <a:gd name="connsiteY4" fmla="*/ 6034 h 119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051" h="119684">
                  <a:moveTo>
                    <a:pt x="111620" y="6034"/>
                  </a:moveTo>
                  <a:cubicBezTo>
                    <a:pt x="111620" y="6034"/>
                    <a:pt x="33185" y="99553"/>
                    <a:pt x="0" y="102570"/>
                  </a:cubicBezTo>
                  <a:cubicBezTo>
                    <a:pt x="0" y="102570"/>
                    <a:pt x="57318" y="126704"/>
                    <a:pt x="111620" y="117654"/>
                  </a:cubicBezTo>
                  <a:cubicBezTo>
                    <a:pt x="171956" y="108603"/>
                    <a:pt x="253408" y="66369"/>
                    <a:pt x="244358" y="0"/>
                  </a:cubicBezTo>
                  <a:cubicBezTo>
                    <a:pt x="247375" y="0"/>
                    <a:pt x="144805" y="33184"/>
                    <a:pt x="111620" y="6034"/>
                  </a:cubicBez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F08EBAAB-DB80-4B16-8126-4D0800A51D69}"/>
                </a:ext>
              </a:extLst>
            </p:cNvPr>
            <p:cNvSpPr/>
            <p:nvPr/>
          </p:nvSpPr>
          <p:spPr>
            <a:xfrm>
              <a:off x="13402349" y="3108717"/>
              <a:ext cx="333308" cy="458822"/>
            </a:xfrm>
            <a:custGeom>
              <a:avLst/>
              <a:gdLst>
                <a:gd name="connsiteX0" fmla="*/ 144754 w 333308"/>
                <a:gd name="connsiteY0" fmla="*/ 425363 h 458822"/>
                <a:gd name="connsiteX1" fmla="*/ 132687 w 333308"/>
                <a:gd name="connsiteY1" fmla="*/ 298659 h 458822"/>
                <a:gd name="connsiteX2" fmla="*/ 24084 w 333308"/>
                <a:gd name="connsiteY2" fmla="*/ 0 h 458822"/>
                <a:gd name="connsiteX3" fmla="*/ 331793 w 333308"/>
                <a:gd name="connsiteY3" fmla="*/ 271508 h 458822"/>
                <a:gd name="connsiteX4" fmla="*/ 277491 w 333308"/>
                <a:gd name="connsiteY4" fmla="*/ 422346 h 458822"/>
                <a:gd name="connsiteX5" fmla="*/ 144754 w 333308"/>
                <a:gd name="connsiteY5" fmla="*/ 425363 h 458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3308" h="458822">
                  <a:moveTo>
                    <a:pt x="144754" y="425363"/>
                  </a:moveTo>
                  <a:cubicBezTo>
                    <a:pt x="144754" y="425363"/>
                    <a:pt x="144754" y="322793"/>
                    <a:pt x="132687" y="298659"/>
                  </a:cubicBezTo>
                  <a:cubicBezTo>
                    <a:pt x="90452" y="208156"/>
                    <a:pt x="-57369" y="132737"/>
                    <a:pt x="24084" y="0"/>
                  </a:cubicBezTo>
                  <a:cubicBezTo>
                    <a:pt x="135703" y="3017"/>
                    <a:pt x="313693" y="102570"/>
                    <a:pt x="331793" y="271508"/>
                  </a:cubicBezTo>
                  <a:cubicBezTo>
                    <a:pt x="340843" y="349944"/>
                    <a:pt x="307659" y="401229"/>
                    <a:pt x="277491" y="422346"/>
                  </a:cubicBezTo>
                  <a:cubicBezTo>
                    <a:pt x="280508" y="419330"/>
                    <a:pt x="190005" y="503799"/>
                    <a:pt x="144754" y="425363"/>
                  </a:cubicBez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651744A7-6AE2-437E-AA05-6C5B55981492}"/>
                </a:ext>
              </a:extLst>
            </p:cNvPr>
            <p:cNvSpPr/>
            <p:nvPr/>
          </p:nvSpPr>
          <p:spPr>
            <a:xfrm>
              <a:off x="13368879" y="3624583"/>
              <a:ext cx="116228" cy="72309"/>
            </a:xfrm>
            <a:custGeom>
              <a:avLst/>
              <a:gdLst>
                <a:gd name="connsiteX0" fmla="*/ 84705 w 116228"/>
                <a:gd name="connsiteY0" fmla="*/ 0 h 72309"/>
                <a:gd name="connsiteX1" fmla="*/ 114872 w 116228"/>
                <a:gd name="connsiteY1" fmla="*/ 51285 h 72309"/>
                <a:gd name="connsiteX2" fmla="*/ 236 w 116228"/>
                <a:gd name="connsiteY2" fmla="*/ 36201 h 72309"/>
                <a:gd name="connsiteX3" fmla="*/ 84705 w 116228"/>
                <a:gd name="connsiteY3" fmla="*/ 0 h 72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228" h="72309">
                  <a:moveTo>
                    <a:pt x="84705" y="0"/>
                  </a:moveTo>
                  <a:cubicBezTo>
                    <a:pt x="84705" y="0"/>
                    <a:pt x="123922" y="21117"/>
                    <a:pt x="114872" y="51285"/>
                  </a:cubicBezTo>
                  <a:cubicBezTo>
                    <a:pt x="105823" y="81452"/>
                    <a:pt x="-5798" y="81452"/>
                    <a:pt x="236" y="36201"/>
                  </a:cubicBezTo>
                  <a:cubicBezTo>
                    <a:pt x="3252" y="0"/>
                    <a:pt x="84705" y="0"/>
                    <a:pt x="84705" y="0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7741B156-3D83-4914-9E0F-6E92BBC199E4}"/>
                </a:ext>
              </a:extLst>
            </p:cNvPr>
            <p:cNvSpPr/>
            <p:nvPr/>
          </p:nvSpPr>
          <p:spPr>
            <a:xfrm>
              <a:off x="13447549" y="3525030"/>
              <a:ext cx="225502" cy="105586"/>
            </a:xfrm>
            <a:custGeom>
              <a:avLst/>
              <a:gdLst>
                <a:gd name="connsiteX0" fmla="*/ 6034 w 225502"/>
                <a:gd name="connsiteY0" fmla="*/ 105587 h 105586"/>
                <a:gd name="connsiteX1" fmla="*/ 0 w 225502"/>
                <a:gd name="connsiteY1" fmla="*/ 102570 h 105586"/>
                <a:gd name="connsiteX2" fmla="*/ 3017 w 225502"/>
                <a:gd name="connsiteY2" fmla="*/ 93520 h 105586"/>
                <a:gd name="connsiteX3" fmla="*/ 96537 w 225502"/>
                <a:gd name="connsiteY3" fmla="*/ 6034 h 105586"/>
                <a:gd name="connsiteX4" fmla="*/ 99554 w 225502"/>
                <a:gd name="connsiteY4" fmla="*/ 0 h 105586"/>
                <a:gd name="connsiteX5" fmla="*/ 105587 w 225502"/>
                <a:gd name="connsiteY5" fmla="*/ 6034 h 105586"/>
                <a:gd name="connsiteX6" fmla="*/ 159889 w 225502"/>
                <a:gd name="connsiteY6" fmla="*/ 36201 h 105586"/>
                <a:gd name="connsiteX7" fmla="*/ 214190 w 225502"/>
                <a:gd name="connsiteY7" fmla="*/ 15084 h 105586"/>
                <a:gd name="connsiteX8" fmla="*/ 223241 w 225502"/>
                <a:gd name="connsiteY8" fmla="*/ 15084 h 105586"/>
                <a:gd name="connsiteX9" fmla="*/ 223241 w 225502"/>
                <a:gd name="connsiteY9" fmla="*/ 24134 h 105586"/>
                <a:gd name="connsiteX10" fmla="*/ 159889 w 225502"/>
                <a:gd name="connsiteY10" fmla="*/ 48268 h 105586"/>
                <a:gd name="connsiteX11" fmla="*/ 102571 w 225502"/>
                <a:gd name="connsiteY11" fmla="*/ 21117 h 105586"/>
                <a:gd name="connsiteX12" fmla="*/ 6034 w 225502"/>
                <a:gd name="connsiteY12" fmla="*/ 105587 h 105586"/>
                <a:gd name="connsiteX13" fmla="*/ 6034 w 225502"/>
                <a:gd name="connsiteY13" fmla="*/ 105587 h 10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5502" h="105586">
                  <a:moveTo>
                    <a:pt x="6034" y="105587"/>
                  </a:moveTo>
                  <a:cubicBezTo>
                    <a:pt x="3017" y="105587"/>
                    <a:pt x="3017" y="105587"/>
                    <a:pt x="0" y="102570"/>
                  </a:cubicBezTo>
                  <a:cubicBezTo>
                    <a:pt x="0" y="99553"/>
                    <a:pt x="0" y="96536"/>
                    <a:pt x="3017" y="93520"/>
                  </a:cubicBezTo>
                  <a:cubicBezTo>
                    <a:pt x="57319" y="66369"/>
                    <a:pt x="96537" y="6034"/>
                    <a:pt x="96537" y="6034"/>
                  </a:cubicBezTo>
                  <a:lnTo>
                    <a:pt x="99554" y="0"/>
                  </a:lnTo>
                  <a:lnTo>
                    <a:pt x="105587" y="6034"/>
                  </a:lnTo>
                  <a:cubicBezTo>
                    <a:pt x="105587" y="6034"/>
                    <a:pt x="129721" y="33184"/>
                    <a:pt x="159889" y="36201"/>
                  </a:cubicBezTo>
                  <a:cubicBezTo>
                    <a:pt x="177990" y="39218"/>
                    <a:pt x="196089" y="30168"/>
                    <a:pt x="214190" y="15084"/>
                  </a:cubicBezTo>
                  <a:cubicBezTo>
                    <a:pt x="217207" y="12067"/>
                    <a:pt x="220224" y="12067"/>
                    <a:pt x="223241" y="15084"/>
                  </a:cubicBezTo>
                  <a:cubicBezTo>
                    <a:pt x="226257" y="18101"/>
                    <a:pt x="226257" y="21117"/>
                    <a:pt x="223241" y="24134"/>
                  </a:cubicBezTo>
                  <a:cubicBezTo>
                    <a:pt x="205140" y="42235"/>
                    <a:pt x="184023" y="48268"/>
                    <a:pt x="159889" y="48268"/>
                  </a:cubicBezTo>
                  <a:cubicBezTo>
                    <a:pt x="132738" y="45251"/>
                    <a:pt x="111620" y="30168"/>
                    <a:pt x="102571" y="21117"/>
                  </a:cubicBezTo>
                  <a:cubicBezTo>
                    <a:pt x="90503" y="33184"/>
                    <a:pt x="54302" y="78436"/>
                    <a:pt x="6034" y="105587"/>
                  </a:cubicBezTo>
                  <a:cubicBezTo>
                    <a:pt x="6034" y="105587"/>
                    <a:pt x="6034" y="105587"/>
                    <a:pt x="6034" y="105587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41FE9BB9-959F-4CB9-99E7-B9998589A18B}"/>
                </a:ext>
              </a:extLst>
            </p:cNvPr>
            <p:cNvSpPr/>
            <p:nvPr/>
          </p:nvSpPr>
          <p:spPr>
            <a:xfrm>
              <a:off x="13468667" y="3229388"/>
              <a:ext cx="75542" cy="184022"/>
            </a:xfrm>
            <a:custGeom>
              <a:avLst/>
              <a:gdLst>
                <a:gd name="connsiteX0" fmla="*/ 69385 w 75542"/>
                <a:gd name="connsiteY0" fmla="*/ 184022 h 184022"/>
                <a:gd name="connsiteX1" fmla="*/ 69385 w 75542"/>
                <a:gd name="connsiteY1" fmla="*/ 184022 h 184022"/>
                <a:gd name="connsiteX2" fmla="*/ 63352 w 75542"/>
                <a:gd name="connsiteY2" fmla="*/ 177989 h 184022"/>
                <a:gd name="connsiteX3" fmla="*/ 3017 w 75542"/>
                <a:gd name="connsiteY3" fmla="*/ 12067 h 184022"/>
                <a:gd name="connsiteX4" fmla="*/ 0 w 75542"/>
                <a:gd name="connsiteY4" fmla="*/ 3017 h 184022"/>
                <a:gd name="connsiteX5" fmla="*/ 9050 w 75542"/>
                <a:gd name="connsiteY5" fmla="*/ 0 h 184022"/>
                <a:gd name="connsiteX6" fmla="*/ 75419 w 75542"/>
                <a:gd name="connsiteY6" fmla="*/ 174972 h 184022"/>
                <a:gd name="connsiteX7" fmla="*/ 69385 w 75542"/>
                <a:gd name="connsiteY7" fmla="*/ 184022 h 184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42" h="184022">
                  <a:moveTo>
                    <a:pt x="69385" y="184022"/>
                  </a:moveTo>
                  <a:cubicBezTo>
                    <a:pt x="69385" y="184022"/>
                    <a:pt x="69385" y="184022"/>
                    <a:pt x="69385" y="184022"/>
                  </a:cubicBezTo>
                  <a:cubicBezTo>
                    <a:pt x="66369" y="184022"/>
                    <a:pt x="63352" y="181006"/>
                    <a:pt x="63352" y="177989"/>
                  </a:cubicBezTo>
                  <a:cubicBezTo>
                    <a:pt x="63352" y="177989"/>
                    <a:pt x="69385" y="54302"/>
                    <a:pt x="3017" y="12067"/>
                  </a:cubicBezTo>
                  <a:cubicBezTo>
                    <a:pt x="0" y="9050"/>
                    <a:pt x="0" y="6033"/>
                    <a:pt x="0" y="3017"/>
                  </a:cubicBezTo>
                  <a:cubicBezTo>
                    <a:pt x="3017" y="0"/>
                    <a:pt x="6034" y="0"/>
                    <a:pt x="9050" y="0"/>
                  </a:cubicBezTo>
                  <a:cubicBezTo>
                    <a:pt x="81453" y="48268"/>
                    <a:pt x="75419" y="171955"/>
                    <a:pt x="75419" y="174972"/>
                  </a:cubicBezTo>
                  <a:cubicBezTo>
                    <a:pt x="72402" y="181006"/>
                    <a:pt x="72402" y="184022"/>
                    <a:pt x="69385" y="184022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1B07E694-1DB2-4E22-9812-924DAEC87E88}"/>
                </a:ext>
              </a:extLst>
            </p:cNvPr>
            <p:cNvSpPr/>
            <p:nvPr/>
          </p:nvSpPr>
          <p:spPr>
            <a:xfrm>
              <a:off x="13164350" y="3427244"/>
              <a:ext cx="53172" cy="109852"/>
            </a:xfrm>
            <a:custGeom>
              <a:avLst/>
              <a:gdLst>
                <a:gd name="connsiteX0" fmla="*/ 47893 w 53172"/>
                <a:gd name="connsiteY0" fmla="*/ 106836 h 109852"/>
                <a:gd name="connsiteX1" fmla="*/ 44876 w 53172"/>
                <a:gd name="connsiteY1" fmla="*/ 106836 h 109852"/>
                <a:gd name="connsiteX2" fmla="*/ 2642 w 53172"/>
                <a:gd name="connsiteY2" fmla="*/ 4266 h 109852"/>
                <a:gd name="connsiteX3" fmla="*/ 8676 w 53172"/>
                <a:gd name="connsiteY3" fmla="*/ 1250 h 109852"/>
                <a:gd name="connsiteX4" fmla="*/ 11692 w 53172"/>
                <a:gd name="connsiteY4" fmla="*/ 7283 h 109852"/>
                <a:gd name="connsiteX5" fmla="*/ 50910 w 53172"/>
                <a:gd name="connsiteY5" fmla="*/ 100803 h 109852"/>
                <a:gd name="connsiteX6" fmla="*/ 50910 w 53172"/>
                <a:gd name="connsiteY6" fmla="*/ 109853 h 109852"/>
                <a:gd name="connsiteX7" fmla="*/ 47893 w 53172"/>
                <a:gd name="connsiteY7" fmla="*/ 106836 h 109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172" h="109852">
                  <a:moveTo>
                    <a:pt x="47893" y="106836"/>
                  </a:moveTo>
                  <a:cubicBezTo>
                    <a:pt x="47893" y="106836"/>
                    <a:pt x="44876" y="106836"/>
                    <a:pt x="44876" y="106836"/>
                  </a:cubicBezTo>
                  <a:cubicBezTo>
                    <a:pt x="41859" y="103819"/>
                    <a:pt x="-12442" y="55551"/>
                    <a:pt x="2642" y="4266"/>
                  </a:cubicBezTo>
                  <a:cubicBezTo>
                    <a:pt x="2642" y="1250"/>
                    <a:pt x="5659" y="-1767"/>
                    <a:pt x="8676" y="1250"/>
                  </a:cubicBezTo>
                  <a:cubicBezTo>
                    <a:pt x="11692" y="1250"/>
                    <a:pt x="14708" y="4266"/>
                    <a:pt x="11692" y="7283"/>
                  </a:cubicBezTo>
                  <a:cubicBezTo>
                    <a:pt x="-375" y="52535"/>
                    <a:pt x="50910" y="97786"/>
                    <a:pt x="50910" y="100803"/>
                  </a:cubicBezTo>
                  <a:cubicBezTo>
                    <a:pt x="53927" y="103819"/>
                    <a:pt x="53927" y="106836"/>
                    <a:pt x="50910" y="109853"/>
                  </a:cubicBezTo>
                  <a:cubicBezTo>
                    <a:pt x="50910" y="106836"/>
                    <a:pt x="47893" y="106836"/>
                    <a:pt x="47893" y="106836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15690777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D44C341B-9C19-484A-A5D8-049203F290F4}"/>
              </a:ext>
            </a:extLst>
          </p:cNvPr>
          <p:cNvGrpSpPr/>
          <p:nvPr/>
        </p:nvGrpSpPr>
        <p:grpSpPr>
          <a:xfrm>
            <a:off x="6635614" y="3712159"/>
            <a:ext cx="3731732" cy="3007385"/>
            <a:chOff x="23212801" y="3712159"/>
            <a:chExt cx="3731732" cy="3007385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DC8CC0F9-5593-48DB-AC60-A87A90504B9F}"/>
                </a:ext>
              </a:extLst>
            </p:cNvPr>
            <p:cNvSpPr/>
            <p:nvPr/>
          </p:nvSpPr>
          <p:spPr>
            <a:xfrm>
              <a:off x="25526656" y="4882572"/>
              <a:ext cx="651928" cy="983838"/>
            </a:xfrm>
            <a:custGeom>
              <a:avLst/>
              <a:gdLst>
                <a:gd name="connsiteX0" fmla="*/ 331844 w 651928"/>
                <a:gd name="connsiteY0" fmla="*/ 0 h 983838"/>
                <a:gd name="connsiteX1" fmla="*/ 651619 w 651928"/>
                <a:gd name="connsiteY1" fmla="*/ 702905 h 983838"/>
                <a:gd name="connsiteX2" fmla="*/ 536983 w 651928"/>
                <a:gd name="connsiteY2" fmla="*/ 983464 h 983838"/>
                <a:gd name="connsiteX3" fmla="*/ 0 w 651928"/>
                <a:gd name="connsiteY3" fmla="*/ 126704 h 983838"/>
                <a:gd name="connsiteX4" fmla="*/ 331844 w 651928"/>
                <a:gd name="connsiteY4" fmla="*/ 0 h 983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1928" h="983838">
                  <a:moveTo>
                    <a:pt x="331844" y="0"/>
                  </a:moveTo>
                  <a:lnTo>
                    <a:pt x="651619" y="702905"/>
                  </a:lnTo>
                  <a:cubicBezTo>
                    <a:pt x="651619" y="702905"/>
                    <a:pt x="663687" y="962347"/>
                    <a:pt x="536983" y="983464"/>
                  </a:cubicBezTo>
                  <a:cubicBezTo>
                    <a:pt x="413296" y="1004581"/>
                    <a:pt x="0" y="126704"/>
                    <a:pt x="0" y="126704"/>
                  </a:cubicBezTo>
                  <a:lnTo>
                    <a:pt x="331844" y="0"/>
                  </a:ln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514019D7-D5B2-463C-8AD6-26B791C5E23E}"/>
                </a:ext>
              </a:extLst>
            </p:cNvPr>
            <p:cNvSpPr/>
            <p:nvPr/>
          </p:nvSpPr>
          <p:spPr>
            <a:xfrm>
              <a:off x="25976147" y="5259667"/>
              <a:ext cx="645668" cy="607406"/>
            </a:xfrm>
            <a:custGeom>
              <a:avLst/>
              <a:gdLst>
                <a:gd name="connsiteX0" fmla="*/ 561124 w 645668"/>
                <a:gd name="connsiteY0" fmla="*/ 0 h 607406"/>
                <a:gd name="connsiteX1" fmla="*/ 15089 w 645668"/>
                <a:gd name="connsiteY1" fmla="*/ 419330 h 607406"/>
                <a:gd name="connsiteX2" fmla="*/ 135759 w 645668"/>
                <a:gd name="connsiteY2" fmla="*/ 600336 h 607406"/>
                <a:gd name="connsiteX3" fmla="*/ 645593 w 645668"/>
                <a:gd name="connsiteY3" fmla="*/ 117654 h 607406"/>
                <a:gd name="connsiteX4" fmla="*/ 561124 w 645668"/>
                <a:gd name="connsiteY4" fmla="*/ 0 h 607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5668" h="607406">
                  <a:moveTo>
                    <a:pt x="561124" y="0"/>
                  </a:moveTo>
                  <a:cubicBezTo>
                    <a:pt x="561124" y="0"/>
                    <a:pt x="51290" y="334861"/>
                    <a:pt x="15089" y="419330"/>
                  </a:cubicBezTo>
                  <a:cubicBezTo>
                    <a:pt x="-24129" y="506816"/>
                    <a:pt x="12073" y="639553"/>
                    <a:pt x="135759" y="600336"/>
                  </a:cubicBezTo>
                  <a:cubicBezTo>
                    <a:pt x="256430" y="564134"/>
                    <a:pt x="636543" y="123687"/>
                    <a:pt x="645593" y="117654"/>
                  </a:cubicBezTo>
                  <a:cubicBezTo>
                    <a:pt x="648609" y="114637"/>
                    <a:pt x="561124" y="0"/>
                    <a:pt x="561124" y="0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FA26B3D5-0CFD-4C28-89E2-1D2FAF88BFB4}"/>
                </a:ext>
              </a:extLst>
            </p:cNvPr>
            <p:cNvSpPr/>
            <p:nvPr/>
          </p:nvSpPr>
          <p:spPr>
            <a:xfrm>
              <a:off x="26096823" y="5522879"/>
              <a:ext cx="59581" cy="83714"/>
            </a:xfrm>
            <a:custGeom>
              <a:avLst/>
              <a:gdLst>
                <a:gd name="connsiteX0" fmla="*/ 6034 w 59581"/>
                <a:gd name="connsiteY0" fmla="*/ 83715 h 83714"/>
                <a:gd name="connsiteX1" fmla="*/ 6034 w 59581"/>
                <a:gd name="connsiteY1" fmla="*/ 83715 h 83714"/>
                <a:gd name="connsiteX2" fmla="*/ 0 w 59581"/>
                <a:gd name="connsiteY2" fmla="*/ 74665 h 83714"/>
                <a:gd name="connsiteX3" fmla="*/ 48269 w 59581"/>
                <a:gd name="connsiteY3" fmla="*/ 2263 h 83714"/>
                <a:gd name="connsiteX4" fmla="*/ 57319 w 59581"/>
                <a:gd name="connsiteY4" fmla="*/ 2263 h 83714"/>
                <a:gd name="connsiteX5" fmla="*/ 57319 w 59581"/>
                <a:gd name="connsiteY5" fmla="*/ 11313 h 83714"/>
                <a:gd name="connsiteX6" fmla="*/ 12068 w 59581"/>
                <a:gd name="connsiteY6" fmla="*/ 80698 h 83714"/>
                <a:gd name="connsiteX7" fmla="*/ 6034 w 59581"/>
                <a:gd name="connsiteY7" fmla="*/ 83715 h 83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581" h="83714">
                  <a:moveTo>
                    <a:pt x="6034" y="83715"/>
                  </a:moveTo>
                  <a:cubicBezTo>
                    <a:pt x="6034" y="83715"/>
                    <a:pt x="6034" y="83715"/>
                    <a:pt x="6034" y="83715"/>
                  </a:cubicBezTo>
                  <a:cubicBezTo>
                    <a:pt x="0" y="80698"/>
                    <a:pt x="0" y="77682"/>
                    <a:pt x="0" y="74665"/>
                  </a:cubicBezTo>
                  <a:cubicBezTo>
                    <a:pt x="9052" y="50531"/>
                    <a:pt x="45251" y="5279"/>
                    <a:pt x="48269" y="2263"/>
                  </a:cubicBezTo>
                  <a:cubicBezTo>
                    <a:pt x="51285" y="-754"/>
                    <a:pt x="54303" y="-754"/>
                    <a:pt x="57319" y="2263"/>
                  </a:cubicBezTo>
                  <a:cubicBezTo>
                    <a:pt x="60335" y="5279"/>
                    <a:pt x="60335" y="8296"/>
                    <a:pt x="57319" y="11313"/>
                  </a:cubicBezTo>
                  <a:cubicBezTo>
                    <a:pt x="57319" y="11313"/>
                    <a:pt x="21118" y="56564"/>
                    <a:pt x="12068" y="80698"/>
                  </a:cubicBezTo>
                  <a:cubicBezTo>
                    <a:pt x="12068" y="83715"/>
                    <a:pt x="9052" y="83715"/>
                    <a:pt x="6034" y="83715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4BB4CA9F-B0BE-4FA5-BF0E-48507A14AC20}"/>
                </a:ext>
              </a:extLst>
            </p:cNvPr>
            <p:cNvSpPr/>
            <p:nvPr/>
          </p:nvSpPr>
          <p:spPr>
            <a:xfrm>
              <a:off x="26520101" y="5213165"/>
              <a:ext cx="378592" cy="278614"/>
            </a:xfrm>
            <a:custGeom>
              <a:avLst/>
              <a:gdLst>
                <a:gd name="connsiteX0" fmla="*/ 5103 w 378592"/>
                <a:gd name="connsiteY0" fmla="*/ 94770 h 278614"/>
                <a:gd name="connsiteX1" fmla="*/ 80522 w 378592"/>
                <a:gd name="connsiteY1" fmla="*/ 173206 h 278614"/>
                <a:gd name="connsiteX2" fmla="*/ 149907 w 378592"/>
                <a:gd name="connsiteY2" fmla="*/ 239574 h 278614"/>
                <a:gd name="connsiteX3" fmla="*/ 306779 w 378592"/>
                <a:gd name="connsiteY3" fmla="*/ 269742 h 278614"/>
                <a:gd name="connsiteX4" fmla="*/ 312813 w 378592"/>
                <a:gd name="connsiteY4" fmla="*/ 245608 h 278614"/>
                <a:gd name="connsiteX5" fmla="*/ 376164 w 378592"/>
                <a:gd name="connsiteY5" fmla="*/ 221474 h 278614"/>
                <a:gd name="connsiteX6" fmla="*/ 367114 w 378592"/>
                <a:gd name="connsiteY6" fmla="*/ 203373 h 278614"/>
                <a:gd name="connsiteX7" fmla="*/ 358064 w 378592"/>
                <a:gd name="connsiteY7" fmla="*/ 203373 h 278614"/>
                <a:gd name="connsiteX8" fmla="*/ 370132 w 378592"/>
                <a:gd name="connsiteY8" fmla="*/ 188289 h 278614"/>
                <a:gd name="connsiteX9" fmla="*/ 352030 w 378592"/>
                <a:gd name="connsiteY9" fmla="*/ 164155 h 278614"/>
                <a:gd name="connsiteX10" fmla="*/ 339964 w 378592"/>
                <a:gd name="connsiteY10" fmla="*/ 161139 h 278614"/>
                <a:gd name="connsiteX11" fmla="*/ 282645 w 378592"/>
                <a:gd name="connsiteY11" fmla="*/ 143038 h 278614"/>
                <a:gd name="connsiteX12" fmla="*/ 303763 w 378592"/>
                <a:gd name="connsiteY12" fmla="*/ 112870 h 278614"/>
                <a:gd name="connsiteX13" fmla="*/ 267561 w 378592"/>
                <a:gd name="connsiteY13" fmla="*/ 34435 h 278614"/>
                <a:gd name="connsiteX14" fmla="*/ 267561 w 378592"/>
                <a:gd name="connsiteY14" fmla="*/ 34435 h 278614"/>
                <a:gd name="connsiteX15" fmla="*/ 249461 w 378592"/>
                <a:gd name="connsiteY15" fmla="*/ 7284 h 278614"/>
                <a:gd name="connsiteX16" fmla="*/ 134823 w 378592"/>
                <a:gd name="connsiteY16" fmla="*/ 10301 h 278614"/>
                <a:gd name="connsiteX17" fmla="*/ 35270 w 378592"/>
                <a:gd name="connsiteY17" fmla="*/ 37451 h 278614"/>
                <a:gd name="connsiteX18" fmla="*/ 5103 w 378592"/>
                <a:gd name="connsiteY18" fmla="*/ 94770 h 278614"/>
                <a:gd name="connsiteX19" fmla="*/ 207226 w 378592"/>
                <a:gd name="connsiteY19" fmla="*/ 115887 h 278614"/>
                <a:gd name="connsiteX20" fmla="*/ 222310 w 378592"/>
                <a:gd name="connsiteY20" fmla="*/ 55552 h 278614"/>
                <a:gd name="connsiteX21" fmla="*/ 255493 w 378592"/>
                <a:gd name="connsiteY21" fmla="*/ 46502 h 278614"/>
                <a:gd name="connsiteX22" fmla="*/ 252477 w 378592"/>
                <a:gd name="connsiteY22" fmla="*/ 55552 h 278614"/>
                <a:gd name="connsiteX23" fmla="*/ 255493 w 378592"/>
                <a:gd name="connsiteY23" fmla="*/ 67619 h 278614"/>
                <a:gd name="connsiteX24" fmla="*/ 207226 w 378592"/>
                <a:gd name="connsiteY24" fmla="*/ 115887 h 278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78592" h="278614">
                  <a:moveTo>
                    <a:pt x="5103" y="94770"/>
                  </a:moveTo>
                  <a:cubicBezTo>
                    <a:pt x="20186" y="121921"/>
                    <a:pt x="59404" y="149071"/>
                    <a:pt x="80522" y="173206"/>
                  </a:cubicBezTo>
                  <a:cubicBezTo>
                    <a:pt x="101639" y="194323"/>
                    <a:pt x="122757" y="221474"/>
                    <a:pt x="149907" y="239574"/>
                  </a:cubicBezTo>
                  <a:cubicBezTo>
                    <a:pt x="183092" y="263708"/>
                    <a:pt x="273595" y="293876"/>
                    <a:pt x="306779" y="269742"/>
                  </a:cubicBezTo>
                  <a:cubicBezTo>
                    <a:pt x="312813" y="266725"/>
                    <a:pt x="312813" y="248625"/>
                    <a:pt x="312813" y="245608"/>
                  </a:cubicBezTo>
                  <a:cubicBezTo>
                    <a:pt x="345996" y="251641"/>
                    <a:pt x="370132" y="230524"/>
                    <a:pt x="376164" y="221474"/>
                  </a:cubicBezTo>
                  <a:cubicBezTo>
                    <a:pt x="382198" y="215440"/>
                    <a:pt x="376164" y="203373"/>
                    <a:pt x="367114" y="203373"/>
                  </a:cubicBezTo>
                  <a:cubicBezTo>
                    <a:pt x="364098" y="203373"/>
                    <a:pt x="361080" y="203373"/>
                    <a:pt x="358064" y="203373"/>
                  </a:cubicBezTo>
                  <a:cubicBezTo>
                    <a:pt x="364098" y="200357"/>
                    <a:pt x="370132" y="194323"/>
                    <a:pt x="370132" y="188289"/>
                  </a:cubicBezTo>
                  <a:cubicBezTo>
                    <a:pt x="370132" y="179239"/>
                    <a:pt x="361080" y="170189"/>
                    <a:pt x="352030" y="164155"/>
                  </a:cubicBezTo>
                  <a:cubicBezTo>
                    <a:pt x="349014" y="161139"/>
                    <a:pt x="342980" y="164155"/>
                    <a:pt x="339964" y="161139"/>
                  </a:cubicBezTo>
                  <a:cubicBezTo>
                    <a:pt x="318846" y="164155"/>
                    <a:pt x="300745" y="161139"/>
                    <a:pt x="282645" y="143038"/>
                  </a:cubicBezTo>
                  <a:cubicBezTo>
                    <a:pt x="285661" y="137004"/>
                    <a:pt x="294713" y="133988"/>
                    <a:pt x="303763" y="112870"/>
                  </a:cubicBezTo>
                  <a:cubicBezTo>
                    <a:pt x="312813" y="79686"/>
                    <a:pt x="306779" y="28401"/>
                    <a:pt x="267561" y="34435"/>
                  </a:cubicBezTo>
                  <a:cubicBezTo>
                    <a:pt x="267561" y="34435"/>
                    <a:pt x="267561" y="34435"/>
                    <a:pt x="267561" y="34435"/>
                  </a:cubicBezTo>
                  <a:cubicBezTo>
                    <a:pt x="267561" y="28401"/>
                    <a:pt x="252477" y="10301"/>
                    <a:pt x="249461" y="7284"/>
                  </a:cubicBezTo>
                  <a:cubicBezTo>
                    <a:pt x="213260" y="-7800"/>
                    <a:pt x="174042" y="4267"/>
                    <a:pt x="134823" y="10301"/>
                  </a:cubicBezTo>
                  <a:cubicBezTo>
                    <a:pt x="95605" y="16334"/>
                    <a:pt x="71472" y="28401"/>
                    <a:pt x="35270" y="37451"/>
                  </a:cubicBezTo>
                  <a:cubicBezTo>
                    <a:pt x="2087" y="49519"/>
                    <a:pt x="-6963" y="70636"/>
                    <a:pt x="5103" y="94770"/>
                  </a:cubicBezTo>
                  <a:close/>
                  <a:moveTo>
                    <a:pt x="207226" y="115887"/>
                  </a:moveTo>
                  <a:cubicBezTo>
                    <a:pt x="177058" y="79686"/>
                    <a:pt x="180074" y="58569"/>
                    <a:pt x="222310" y="55552"/>
                  </a:cubicBezTo>
                  <a:cubicBezTo>
                    <a:pt x="234378" y="52535"/>
                    <a:pt x="243427" y="49519"/>
                    <a:pt x="255493" y="46502"/>
                  </a:cubicBezTo>
                  <a:cubicBezTo>
                    <a:pt x="255493" y="49519"/>
                    <a:pt x="255493" y="52535"/>
                    <a:pt x="252477" y="55552"/>
                  </a:cubicBezTo>
                  <a:cubicBezTo>
                    <a:pt x="252477" y="58569"/>
                    <a:pt x="252477" y="64602"/>
                    <a:pt x="255493" y="67619"/>
                  </a:cubicBezTo>
                  <a:cubicBezTo>
                    <a:pt x="261527" y="88736"/>
                    <a:pt x="246443" y="106837"/>
                    <a:pt x="207226" y="115887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9632683-3A0C-48A1-A966-7D3EB8E71B3C}"/>
                </a:ext>
              </a:extLst>
            </p:cNvPr>
            <p:cNvSpPr/>
            <p:nvPr/>
          </p:nvSpPr>
          <p:spPr>
            <a:xfrm>
              <a:off x="26603640" y="5214155"/>
              <a:ext cx="187037" cy="90763"/>
            </a:xfrm>
            <a:custGeom>
              <a:avLst/>
              <a:gdLst>
                <a:gd name="connsiteX0" fmla="*/ 105587 w 187037"/>
                <a:gd name="connsiteY0" fmla="*/ 90764 h 90763"/>
                <a:gd name="connsiteX1" fmla="*/ 99553 w 187037"/>
                <a:gd name="connsiteY1" fmla="*/ 87747 h 90763"/>
                <a:gd name="connsiteX2" fmla="*/ 99553 w 187037"/>
                <a:gd name="connsiteY2" fmla="*/ 63613 h 90763"/>
                <a:gd name="connsiteX3" fmla="*/ 126702 w 187037"/>
                <a:gd name="connsiteY3" fmla="*/ 48529 h 90763"/>
                <a:gd name="connsiteX4" fmla="*/ 174972 w 187037"/>
                <a:gd name="connsiteY4" fmla="*/ 36462 h 90763"/>
                <a:gd name="connsiteX5" fmla="*/ 171954 w 187037"/>
                <a:gd name="connsiteY5" fmla="*/ 24395 h 90763"/>
                <a:gd name="connsiteX6" fmla="*/ 138770 w 187037"/>
                <a:gd name="connsiteY6" fmla="*/ 9311 h 90763"/>
                <a:gd name="connsiteX7" fmla="*/ 6032 w 187037"/>
                <a:gd name="connsiteY7" fmla="*/ 30429 h 90763"/>
                <a:gd name="connsiteX8" fmla="*/ 0 w 187037"/>
                <a:gd name="connsiteY8" fmla="*/ 27412 h 90763"/>
                <a:gd name="connsiteX9" fmla="*/ 3016 w 187037"/>
                <a:gd name="connsiteY9" fmla="*/ 21378 h 90763"/>
                <a:gd name="connsiteX10" fmla="*/ 138770 w 187037"/>
                <a:gd name="connsiteY10" fmla="*/ 261 h 90763"/>
                <a:gd name="connsiteX11" fmla="*/ 181006 w 187037"/>
                <a:gd name="connsiteY11" fmla="*/ 18362 h 90763"/>
                <a:gd name="connsiteX12" fmla="*/ 187038 w 187037"/>
                <a:gd name="connsiteY12" fmla="*/ 39479 h 90763"/>
                <a:gd name="connsiteX13" fmla="*/ 129720 w 187037"/>
                <a:gd name="connsiteY13" fmla="*/ 60596 h 90763"/>
                <a:gd name="connsiteX14" fmla="*/ 111619 w 187037"/>
                <a:gd name="connsiteY14" fmla="*/ 69647 h 90763"/>
                <a:gd name="connsiteX15" fmla="*/ 111619 w 187037"/>
                <a:gd name="connsiteY15" fmla="*/ 81714 h 90763"/>
                <a:gd name="connsiteX16" fmla="*/ 105587 w 187037"/>
                <a:gd name="connsiteY16" fmla="*/ 90764 h 90763"/>
                <a:gd name="connsiteX17" fmla="*/ 105587 w 187037"/>
                <a:gd name="connsiteY17" fmla="*/ 90764 h 90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7037" h="90763">
                  <a:moveTo>
                    <a:pt x="105587" y="90764"/>
                  </a:moveTo>
                  <a:cubicBezTo>
                    <a:pt x="102569" y="90764"/>
                    <a:pt x="102569" y="90764"/>
                    <a:pt x="99553" y="87747"/>
                  </a:cubicBezTo>
                  <a:cubicBezTo>
                    <a:pt x="96535" y="78697"/>
                    <a:pt x="96535" y="72663"/>
                    <a:pt x="99553" y="63613"/>
                  </a:cubicBezTo>
                  <a:cubicBezTo>
                    <a:pt x="105587" y="51546"/>
                    <a:pt x="126702" y="48529"/>
                    <a:pt x="126702" y="48529"/>
                  </a:cubicBezTo>
                  <a:cubicBezTo>
                    <a:pt x="147820" y="45512"/>
                    <a:pt x="171954" y="39479"/>
                    <a:pt x="174972" y="36462"/>
                  </a:cubicBezTo>
                  <a:cubicBezTo>
                    <a:pt x="174972" y="33446"/>
                    <a:pt x="174972" y="30429"/>
                    <a:pt x="171954" y="24395"/>
                  </a:cubicBezTo>
                  <a:cubicBezTo>
                    <a:pt x="168938" y="18362"/>
                    <a:pt x="159888" y="9311"/>
                    <a:pt x="138770" y="9311"/>
                  </a:cubicBezTo>
                  <a:cubicBezTo>
                    <a:pt x="102569" y="6295"/>
                    <a:pt x="6032" y="30429"/>
                    <a:pt x="6032" y="30429"/>
                  </a:cubicBezTo>
                  <a:cubicBezTo>
                    <a:pt x="3016" y="30429"/>
                    <a:pt x="0" y="30429"/>
                    <a:pt x="0" y="27412"/>
                  </a:cubicBezTo>
                  <a:cubicBezTo>
                    <a:pt x="0" y="24395"/>
                    <a:pt x="0" y="21378"/>
                    <a:pt x="3016" y="21378"/>
                  </a:cubicBezTo>
                  <a:cubicBezTo>
                    <a:pt x="6032" y="21378"/>
                    <a:pt x="102569" y="-2756"/>
                    <a:pt x="138770" y="261"/>
                  </a:cubicBezTo>
                  <a:cubicBezTo>
                    <a:pt x="165922" y="261"/>
                    <a:pt x="177988" y="12328"/>
                    <a:pt x="181006" y="18362"/>
                  </a:cubicBezTo>
                  <a:cubicBezTo>
                    <a:pt x="187038" y="24395"/>
                    <a:pt x="187038" y="33446"/>
                    <a:pt x="187038" y="39479"/>
                  </a:cubicBezTo>
                  <a:cubicBezTo>
                    <a:pt x="184022" y="48529"/>
                    <a:pt x="153854" y="57579"/>
                    <a:pt x="129720" y="60596"/>
                  </a:cubicBezTo>
                  <a:cubicBezTo>
                    <a:pt x="126702" y="60596"/>
                    <a:pt x="114637" y="63613"/>
                    <a:pt x="111619" y="69647"/>
                  </a:cubicBezTo>
                  <a:cubicBezTo>
                    <a:pt x="108603" y="72663"/>
                    <a:pt x="108603" y="78697"/>
                    <a:pt x="111619" y="81714"/>
                  </a:cubicBezTo>
                  <a:cubicBezTo>
                    <a:pt x="111619" y="84730"/>
                    <a:pt x="108603" y="87747"/>
                    <a:pt x="105587" y="90764"/>
                  </a:cubicBezTo>
                  <a:cubicBezTo>
                    <a:pt x="105587" y="90764"/>
                    <a:pt x="105587" y="90764"/>
                    <a:pt x="105587" y="90764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0C80A9EB-1B5B-4CAA-B69D-64521E2F6576}"/>
                </a:ext>
              </a:extLst>
            </p:cNvPr>
            <p:cNvSpPr/>
            <p:nvPr/>
          </p:nvSpPr>
          <p:spPr>
            <a:xfrm>
              <a:off x="26769562" y="5338103"/>
              <a:ext cx="126702" cy="84469"/>
            </a:xfrm>
            <a:custGeom>
              <a:avLst/>
              <a:gdLst>
                <a:gd name="connsiteX0" fmla="*/ 108603 w 126702"/>
                <a:gd name="connsiteY0" fmla="*/ 84469 h 84469"/>
                <a:gd name="connsiteX1" fmla="*/ 108603 w 126702"/>
                <a:gd name="connsiteY1" fmla="*/ 84469 h 84469"/>
                <a:gd name="connsiteX2" fmla="*/ 102569 w 126702"/>
                <a:gd name="connsiteY2" fmla="*/ 78436 h 84469"/>
                <a:gd name="connsiteX3" fmla="*/ 108603 w 126702"/>
                <a:gd name="connsiteY3" fmla="*/ 72402 h 84469"/>
                <a:gd name="connsiteX4" fmla="*/ 114637 w 126702"/>
                <a:gd name="connsiteY4" fmla="*/ 60335 h 84469"/>
                <a:gd name="connsiteX5" fmla="*/ 111619 w 126702"/>
                <a:gd name="connsiteY5" fmla="*/ 51285 h 84469"/>
                <a:gd name="connsiteX6" fmla="*/ 75419 w 126702"/>
                <a:gd name="connsiteY6" fmla="*/ 42234 h 84469"/>
                <a:gd name="connsiteX7" fmla="*/ 3016 w 126702"/>
                <a:gd name="connsiteY7" fmla="*/ 12067 h 84469"/>
                <a:gd name="connsiteX8" fmla="*/ 0 w 126702"/>
                <a:gd name="connsiteY8" fmla="*/ 3017 h 84469"/>
                <a:gd name="connsiteX9" fmla="*/ 9050 w 126702"/>
                <a:gd name="connsiteY9" fmla="*/ 0 h 84469"/>
                <a:gd name="connsiteX10" fmla="*/ 78435 w 126702"/>
                <a:gd name="connsiteY10" fmla="*/ 27151 h 84469"/>
                <a:gd name="connsiteX11" fmla="*/ 120670 w 126702"/>
                <a:gd name="connsiteY11" fmla="*/ 42234 h 84469"/>
                <a:gd name="connsiteX12" fmla="*/ 126702 w 126702"/>
                <a:gd name="connsiteY12" fmla="*/ 57318 h 84469"/>
                <a:gd name="connsiteX13" fmla="*/ 108603 w 126702"/>
                <a:gd name="connsiteY13" fmla="*/ 84469 h 84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702" h="84469">
                  <a:moveTo>
                    <a:pt x="108603" y="84469"/>
                  </a:moveTo>
                  <a:cubicBezTo>
                    <a:pt x="108603" y="84469"/>
                    <a:pt x="108603" y="84469"/>
                    <a:pt x="108603" y="84469"/>
                  </a:cubicBezTo>
                  <a:cubicBezTo>
                    <a:pt x="105587" y="84469"/>
                    <a:pt x="102569" y="81452"/>
                    <a:pt x="102569" y="78436"/>
                  </a:cubicBezTo>
                  <a:cubicBezTo>
                    <a:pt x="102569" y="75419"/>
                    <a:pt x="105587" y="72402"/>
                    <a:pt x="108603" y="72402"/>
                  </a:cubicBezTo>
                  <a:cubicBezTo>
                    <a:pt x="108603" y="72402"/>
                    <a:pt x="111619" y="69385"/>
                    <a:pt x="114637" y="60335"/>
                  </a:cubicBezTo>
                  <a:cubicBezTo>
                    <a:pt x="114637" y="57318"/>
                    <a:pt x="114637" y="54302"/>
                    <a:pt x="111619" y="51285"/>
                  </a:cubicBezTo>
                  <a:cubicBezTo>
                    <a:pt x="105587" y="45251"/>
                    <a:pt x="93519" y="42234"/>
                    <a:pt x="75419" y="42234"/>
                  </a:cubicBezTo>
                  <a:cubicBezTo>
                    <a:pt x="51283" y="42234"/>
                    <a:pt x="3016" y="15084"/>
                    <a:pt x="3016" y="12067"/>
                  </a:cubicBezTo>
                  <a:cubicBezTo>
                    <a:pt x="0" y="9050"/>
                    <a:pt x="0" y="6033"/>
                    <a:pt x="0" y="3017"/>
                  </a:cubicBezTo>
                  <a:cubicBezTo>
                    <a:pt x="3016" y="0"/>
                    <a:pt x="6032" y="0"/>
                    <a:pt x="9050" y="0"/>
                  </a:cubicBezTo>
                  <a:cubicBezTo>
                    <a:pt x="9050" y="0"/>
                    <a:pt x="54301" y="27151"/>
                    <a:pt x="78435" y="27151"/>
                  </a:cubicBezTo>
                  <a:cubicBezTo>
                    <a:pt x="99553" y="27151"/>
                    <a:pt x="114637" y="33184"/>
                    <a:pt x="120670" y="42234"/>
                  </a:cubicBezTo>
                  <a:cubicBezTo>
                    <a:pt x="123686" y="48268"/>
                    <a:pt x="126702" y="51285"/>
                    <a:pt x="126702" y="57318"/>
                  </a:cubicBezTo>
                  <a:cubicBezTo>
                    <a:pt x="123686" y="84469"/>
                    <a:pt x="111619" y="84469"/>
                    <a:pt x="108603" y="84469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40DE9AAD-7AF3-48AC-8ED9-9C55F3AA789E}"/>
                </a:ext>
              </a:extLst>
            </p:cNvPr>
            <p:cNvSpPr/>
            <p:nvPr/>
          </p:nvSpPr>
          <p:spPr>
            <a:xfrm>
              <a:off x="26703947" y="5374304"/>
              <a:ext cx="194299" cy="93519"/>
            </a:xfrm>
            <a:custGeom>
              <a:avLst/>
              <a:gdLst>
                <a:gd name="connsiteX0" fmla="*/ 122932 w 194299"/>
                <a:gd name="connsiteY0" fmla="*/ 93520 h 93519"/>
                <a:gd name="connsiteX1" fmla="*/ 92765 w 194299"/>
                <a:gd name="connsiteY1" fmla="*/ 90503 h 93519"/>
                <a:gd name="connsiteX2" fmla="*/ 2262 w 194299"/>
                <a:gd name="connsiteY2" fmla="*/ 33184 h 93519"/>
                <a:gd name="connsiteX3" fmla="*/ 2262 w 194299"/>
                <a:gd name="connsiteY3" fmla="*/ 24134 h 93519"/>
                <a:gd name="connsiteX4" fmla="*/ 11312 w 194299"/>
                <a:gd name="connsiteY4" fmla="*/ 24134 h 93519"/>
                <a:gd name="connsiteX5" fmla="*/ 95783 w 194299"/>
                <a:gd name="connsiteY5" fmla="*/ 78436 h 93519"/>
                <a:gd name="connsiteX6" fmla="*/ 183268 w 194299"/>
                <a:gd name="connsiteY6" fmla="*/ 60335 h 93519"/>
                <a:gd name="connsiteX7" fmla="*/ 183268 w 194299"/>
                <a:gd name="connsiteY7" fmla="*/ 54302 h 93519"/>
                <a:gd name="connsiteX8" fmla="*/ 156118 w 194299"/>
                <a:gd name="connsiteY8" fmla="*/ 48268 h 93519"/>
                <a:gd name="connsiteX9" fmla="*/ 41480 w 194299"/>
                <a:gd name="connsiteY9" fmla="*/ 9050 h 93519"/>
                <a:gd name="connsiteX10" fmla="*/ 38464 w 194299"/>
                <a:gd name="connsiteY10" fmla="*/ 3017 h 93519"/>
                <a:gd name="connsiteX11" fmla="*/ 44497 w 194299"/>
                <a:gd name="connsiteY11" fmla="*/ 0 h 93519"/>
                <a:gd name="connsiteX12" fmla="*/ 156118 w 194299"/>
                <a:gd name="connsiteY12" fmla="*/ 39218 h 93519"/>
                <a:gd name="connsiteX13" fmla="*/ 192318 w 194299"/>
                <a:gd name="connsiteY13" fmla="*/ 51285 h 93519"/>
                <a:gd name="connsiteX14" fmla="*/ 189302 w 194299"/>
                <a:gd name="connsiteY14" fmla="*/ 66369 h 93519"/>
                <a:gd name="connsiteX15" fmla="*/ 122932 w 194299"/>
                <a:gd name="connsiteY15" fmla="*/ 93520 h 93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4299" h="93519">
                  <a:moveTo>
                    <a:pt x="122932" y="93520"/>
                  </a:moveTo>
                  <a:cubicBezTo>
                    <a:pt x="113883" y="93520"/>
                    <a:pt x="101815" y="93520"/>
                    <a:pt x="92765" y="90503"/>
                  </a:cubicBezTo>
                  <a:cubicBezTo>
                    <a:pt x="53547" y="78436"/>
                    <a:pt x="5280" y="36201"/>
                    <a:pt x="2262" y="33184"/>
                  </a:cubicBezTo>
                  <a:cubicBezTo>
                    <a:pt x="-754" y="30168"/>
                    <a:pt x="-754" y="27151"/>
                    <a:pt x="2262" y="24134"/>
                  </a:cubicBezTo>
                  <a:cubicBezTo>
                    <a:pt x="5280" y="21117"/>
                    <a:pt x="8296" y="21117"/>
                    <a:pt x="11312" y="24134"/>
                  </a:cubicBezTo>
                  <a:cubicBezTo>
                    <a:pt x="11312" y="24134"/>
                    <a:pt x="59581" y="69386"/>
                    <a:pt x="95783" y="78436"/>
                  </a:cubicBezTo>
                  <a:cubicBezTo>
                    <a:pt x="131982" y="87486"/>
                    <a:pt x="174218" y="75419"/>
                    <a:pt x="183268" y="60335"/>
                  </a:cubicBezTo>
                  <a:cubicBezTo>
                    <a:pt x="183268" y="60335"/>
                    <a:pt x="186285" y="57318"/>
                    <a:pt x="183268" y="54302"/>
                  </a:cubicBezTo>
                  <a:cubicBezTo>
                    <a:pt x="183268" y="51285"/>
                    <a:pt x="174218" y="48268"/>
                    <a:pt x="156118" y="48268"/>
                  </a:cubicBezTo>
                  <a:cubicBezTo>
                    <a:pt x="141034" y="48268"/>
                    <a:pt x="56563" y="15084"/>
                    <a:pt x="41480" y="9050"/>
                  </a:cubicBezTo>
                  <a:cubicBezTo>
                    <a:pt x="38464" y="9050"/>
                    <a:pt x="38464" y="6033"/>
                    <a:pt x="38464" y="3017"/>
                  </a:cubicBezTo>
                  <a:cubicBezTo>
                    <a:pt x="38464" y="0"/>
                    <a:pt x="41480" y="0"/>
                    <a:pt x="44497" y="0"/>
                  </a:cubicBezTo>
                  <a:cubicBezTo>
                    <a:pt x="83715" y="15084"/>
                    <a:pt x="147066" y="39218"/>
                    <a:pt x="156118" y="39218"/>
                  </a:cubicBezTo>
                  <a:cubicBezTo>
                    <a:pt x="177234" y="39218"/>
                    <a:pt x="189302" y="42235"/>
                    <a:pt x="192318" y="51285"/>
                  </a:cubicBezTo>
                  <a:cubicBezTo>
                    <a:pt x="195335" y="54302"/>
                    <a:pt x="195335" y="60335"/>
                    <a:pt x="189302" y="66369"/>
                  </a:cubicBezTo>
                  <a:cubicBezTo>
                    <a:pt x="186285" y="81452"/>
                    <a:pt x="156118" y="93520"/>
                    <a:pt x="122932" y="93520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8ED9399F-48D2-4694-8923-8429F46DB579}"/>
                </a:ext>
              </a:extLst>
            </p:cNvPr>
            <p:cNvSpPr/>
            <p:nvPr/>
          </p:nvSpPr>
          <p:spPr>
            <a:xfrm>
              <a:off x="23212801" y="6173745"/>
              <a:ext cx="3731732" cy="358994"/>
            </a:xfrm>
            <a:custGeom>
              <a:avLst/>
              <a:gdLst>
                <a:gd name="connsiteX0" fmla="*/ 3731732 w 3731732"/>
                <a:gd name="connsiteY0" fmla="*/ 343910 h 358994"/>
                <a:gd name="connsiteX1" fmla="*/ 0 w 3731732"/>
                <a:gd name="connsiteY1" fmla="*/ 358994 h 358994"/>
                <a:gd name="connsiteX2" fmla="*/ 597318 w 3731732"/>
                <a:gd name="connsiteY2" fmla="*/ 15084 h 358994"/>
                <a:gd name="connsiteX3" fmla="*/ 3134414 w 3731732"/>
                <a:gd name="connsiteY3" fmla="*/ 0 h 35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31732" h="358994">
                  <a:moveTo>
                    <a:pt x="3731732" y="343910"/>
                  </a:moveTo>
                  <a:lnTo>
                    <a:pt x="0" y="358994"/>
                  </a:lnTo>
                  <a:lnTo>
                    <a:pt x="597318" y="15084"/>
                  </a:lnTo>
                  <a:lnTo>
                    <a:pt x="3134414" y="0"/>
                  </a:ln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46F1B1DA-4FB0-410D-8543-FB6A1B2F2747}"/>
                </a:ext>
              </a:extLst>
            </p:cNvPr>
            <p:cNvSpPr/>
            <p:nvPr/>
          </p:nvSpPr>
          <p:spPr>
            <a:xfrm>
              <a:off x="24617532" y="5594527"/>
              <a:ext cx="1102826" cy="883910"/>
            </a:xfrm>
            <a:custGeom>
              <a:avLst/>
              <a:gdLst>
                <a:gd name="connsiteX0" fmla="*/ 1047895 w 1102826"/>
                <a:gd name="connsiteY0" fmla="*/ 0 h 883910"/>
                <a:gd name="connsiteX1" fmla="*/ 85550 w 1102826"/>
                <a:gd name="connsiteY1" fmla="*/ 0 h 883910"/>
                <a:gd name="connsiteX2" fmla="*/ 1079 w 1102826"/>
                <a:gd name="connsiteY2" fmla="*/ 536983 h 883910"/>
                <a:gd name="connsiteX3" fmla="*/ 583315 w 1102826"/>
                <a:gd name="connsiteY3" fmla="*/ 883911 h 883910"/>
                <a:gd name="connsiteX4" fmla="*/ 1099180 w 1102826"/>
                <a:gd name="connsiteY4" fmla="*/ 536983 h 883910"/>
                <a:gd name="connsiteX5" fmla="*/ 1047895 w 1102826"/>
                <a:gd name="connsiteY5" fmla="*/ 0 h 88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2826" h="883910">
                  <a:moveTo>
                    <a:pt x="1047895" y="0"/>
                  </a:moveTo>
                  <a:lnTo>
                    <a:pt x="85550" y="0"/>
                  </a:lnTo>
                  <a:cubicBezTo>
                    <a:pt x="85550" y="0"/>
                    <a:pt x="31247" y="365028"/>
                    <a:pt x="1079" y="536983"/>
                  </a:cubicBezTo>
                  <a:cubicBezTo>
                    <a:pt x="-29089" y="708939"/>
                    <a:pt x="583315" y="883911"/>
                    <a:pt x="583315" y="883911"/>
                  </a:cubicBezTo>
                  <a:cubicBezTo>
                    <a:pt x="583315" y="883911"/>
                    <a:pt x="1153482" y="696871"/>
                    <a:pt x="1099180" y="536983"/>
                  </a:cubicBezTo>
                  <a:cubicBezTo>
                    <a:pt x="1053929" y="404246"/>
                    <a:pt x="1047895" y="0"/>
                    <a:pt x="1047895" y="0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D4F26AA2-ED35-4EA9-98B9-9954F93D8260}"/>
                </a:ext>
              </a:extLst>
            </p:cNvPr>
            <p:cNvSpPr/>
            <p:nvPr/>
          </p:nvSpPr>
          <p:spPr>
            <a:xfrm>
              <a:off x="25089108" y="5780105"/>
              <a:ext cx="1376595" cy="698332"/>
            </a:xfrm>
            <a:custGeom>
              <a:avLst/>
              <a:gdLst>
                <a:gd name="connsiteX0" fmla="*/ 274643 w 1376595"/>
                <a:gd name="connsiteY0" fmla="*/ 698333 h 698332"/>
                <a:gd name="connsiteX1" fmla="*/ 1218889 w 1376595"/>
                <a:gd name="connsiteY1" fmla="*/ 499226 h 698332"/>
                <a:gd name="connsiteX2" fmla="*/ 1366711 w 1376595"/>
                <a:gd name="connsiteY2" fmla="*/ 182467 h 698332"/>
                <a:gd name="connsiteX3" fmla="*/ 1366711 w 1376595"/>
                <a:gd name="connsiteY3" fmla="*/ 182467 h 698332"/>
                <a:gd name="connsiteX4" fmla="*/ 1104252 w 1376595"/>
                <a:gd name="connsiteY4" fmla="*/ 4478 h 698332"/>
                <a:gd name="connsiteX5" fmla="*/ 30286 w 1376595"/>
                <a:gd name="connsiteY5" fmla="*/ 224701 h 698332"/>
                <a:gd name="connsiteX6" fmla="*/ 274643 w 1376595"/>
                <a:gd name="connsiteY6" fmla="*/ 698333 h 698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6595" h="698332">
                  <a:moveTo>
                    <a:pt x="274643" y="698333"/>
                  </a:moveTo>
                  <a:lnTo>
                    <a:pt x="1218889" y="499226"/>
                  </a:lnTo>
                  <a:cubicBezTo>
                    <a:pt x="1336543" y="453975"/>
                    <a:pt x="1402912" y="315204"/>
                    <a:pt x="1366711" y="182467"/>
                  </a:cubicBezTo>
                  <a:lnTo>
                    <a:pt x="1366711" y="182467"/>
                  </a:lnTo>
                  <a:cubicBezTo>
                    <a:pt x="1333527" y="55763"/>
                    <a:pt x="1218889" y="-19656"/>
                    <a:pt x="1104252" y="4478"/>
                  </a:cubicBezTo>
                  <a:cubicBezTo>
                    <a:pt x="757325" y="76880"/>
                    <a:pt x="78554" y="218668"/>
                    <a:pt x="30286" y="224701"/>
                  </a:cubicBezTo>
                  <a:cubicBezTo>
                    <a:pt x="-108486" y="239785"/>
                    <a:pt x="274643" y="698333"/>
                    <a:pt x="274643" y="698333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671C338D-FCBE-4D6F-A447-3475ABBF5E50}"/>
                </a:ext>
              </a:extLst>
            </p:cNvPr>
            <p:cNvSpPr/>
            <p:nvPr/>
          </p:nvSpPr>
          <p:spPr>
            <a:xfrm>
              <a:off x="24892705" y="6307941"/>
              <a:ext cx="592682" cy="405748"/>
            </a:xfrm>
            <a:custGeom>
              <a:avLst/>
              <a:gdLst>
                <a:gd name="connsiteX0" fmla="*/ 293058 w 592682"/>
                <a:gd name="connsiteY0" fmla="*/ 257982 h 405748"/>
                <a:gd name="connsiteX1" fmla="*/ 579651 w 592682"/>
                <a:gd name="connsiteY1" fmla="*/ 191614 h 405748"/>
                <a:gd name="connsiteX2" fmla="*/ 579651 w 592682"/>
                <a:gd name="connsiteY2" fmla="*/ 19659 h 405748"/>
                <a:gd name="connsiteX3" fmla="*/ 359426 w 592682"/>
                <a:gd name="connsiteY3" fmla="*/ 79994 h 405748"/>
                <a:gd name="connsiteX4" fmla="*/ 256857 w 592682"/>
                <a:gd name="connsiteY4" fmla="*/ 4575 h 405748"/>
                <a:gd name="connsiteX5" fmla="*/ 432 w 592682"/>
                <a:gd name="connsiteY5" fmla="*/ 393737 h 405748"/>
                <a:gd name="connsiteX6" fmla="*/ 293058 w 592682"/>
                <a:gd name="connsiteY6" fmla="*/ 257982 h 405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2682" h="405748">
                  <a:moveTo>
                    <a:pt x="293058" y="257982"/>
                  </a:moveTo>
                  <a:cubicBezTo>
                    <a:pt x="383561" y="230832"/>
                    <a:pt x="561549" y="191614"/>
                    <a:pt x="579651" y="191614"/>
                  </a:cubicBezTo>
                  <a:cubicBezTo>
                    <a:pt x="603784" y="191614"/>
                    <a:pt x="588701" y="28709"/>
                    <a:pt x="579651" y="19659"/>
                  </a:cubicBezTo>
                  <a:cubicBezTo>
                    <a:pt x="561549" y="-1459"/>
                    <a:pt x="362444" y="89044"/>
                    <a:pt x="359426" y="79994"/>
                  </a:cubicBezTo>
                  <a:cubicBezTo>
                    <a:pt x="359426" y="79994"/>
                    <a:pt x="280991" y="-22576"/>
                    <a:pt x="256857" y="4575"/>
                  </a:cubicBezTo>
                  <a:cubicBezTo>
                    <a:pt x="232723" y="31725"/>
                    <a:pt x="-11635" y="378653"/>
                    <a:pt x="432" y="393737"/>
                  </a:cubicBezTo>
                  <a:cubicBezTo>
                    <a:pt x="48700" y="448038"/>
                    <a:pt x="184454" y="303234"/>
                    <a:pt x="293058" y="257982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909CB384-E8BE-42EA-962C-5D64308CDAEA}"/>
                </a:ext>
              </a:extLst>
            </p:cNvPr>
            <p:cNvSpPr/>
            <p:nvPr/>
          </p:nvSpPr>
          <p:spPr>
            <a:xfrm>
              <a:off x="25252130" y="5825808"/>
              <a:ext cx="1239942" cy="734082"/>
            </a:xfrm>
            <a:custGeom>
              <a:avLst/>
              <a:gdLst>
                <a:gd name="connsiteX0" fmla="*/ 935196 w 1239942"/>
                <a:gd name="connsiteY0" fmla="*/ 25144 h 734082"/>
                <a:gd name="connsiteX1" fmla="*/ 0 w 1239942"/>
                <a:gd name="connsiteY1" fmla="*/ 565144 h 734082"/>
                <a:gd name="connsiteX2" fmla="*/ 24136 w 1239942"/>
                <a:gd name="connsiteY2" fmla="*/ 734083 h 734082"/>
                <a:gd name="connsiteX3" fmla="*/ 1089051 w 1239942"/>
                <a:gd name="connsiteY3" fmla="*/ 423357 h 734082"/>
                <a:gd name="connsiteX4" fmla="*/ 1224806 w 1239942"/>
                <a:gd name="connsiteY4" fmla="*/ 148831 h 734082"/>
                <a:gd name="connsiteX5" fmla="*/ 1188604 w 1239942"/>
                <a:gd name="connsiteY5" fmla="*/ 76429 h 734082"/>
                <a:gd name="connsiteX6" fmla="*/ 935196 w 1239942"/>
                <a:gd name="connsiteY6" fmla="*/ 25144 h 734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9942" h="734082">
                  <a:moveTo>
                    <a:pt x="935196" y="25144"/>
                  </a:moveTo>
                  <a:lnTo>
                    <a:pt x="0" y="565144"/>
                  </a:lnTo>
                  <a:lnTo>
                    <a:pt x="24136" y="734083"/>
                  </a:lnTo>
                  <a:lnTo>
                    <a:pt x="1089051" y="423357"/>
                  </a:lnTo>
                  <a:cubicBezTo>
                    <a:pt x="1188604" y="393189"/>
                    <a:pt x="1276091" y="248384"/>
                    <a:pt x="1224806" y="148831"/>
                  </a:cubicBezTo>
                  <a:lnTo>
                    <a:pt x="1188604" y="76429"/>
                  </a:lnTo>
                  <a:cubicBezTo>
                    <a:pt x="1143353" y="-5023"/>
                    <a:pt x="1010615" y="-20107"/>
                    <a:pt x="935196" y="25144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64BF5199-74F7-48C7-8F7F-3DCCD58F3AFA}"/>
                </a:ext>
              </a:extLst>
            </p:cNvPr>
            <p:cNvSpPr/>
            <p:nvPr/>
          </p:nvSpPr>
          <p:spPr>
            <a:xfrm>
              <a:off x="25608109" y="5872069"/>
              <a:ext cx="141786" cy="36201"/>
            </a:xfrm>
            <a:custGeom>
              <a:avLst/>
              <a:gdLst>
                <a:gd name="connsiteX0" fmla="*/ 6032 w 141786"/>
                <a:gd name="connsiteY0" fmla="*/ 36201 h 36201"/>
                <a:gd name="connsiteX1" fmla="*/ 0 w 141786"/>
                <a:gd name="connsiteY1" fmla="*/ 33185 h 36201"/>
                <a:gd name="connsiteX2" fmla="*/ 3016 w 141786"/>
                <a:gd name="connsiteY2" fmla="*/ 27151 h 36201"/>
                <a:gd name="connsiteX3" fmla="*/ 135754 w 141786"/>
                <a:gd name="connsiteY3" fmla="*/ 0 h 36201"/>
                <a:gd name="connsiteX4" fmla="*/ 141786 w 141786"/>
                <a:gd name="connsiteY4" fmla="*/ 3017 h 36201"/>
                <a:gd name="connsiteX5" fmla="*/ 138770 w 141786"/>
                <a:gd name="connsiteY5" fmla="*/ 9050 h 36201"/>
                <a:gd name="connsiteX6" fmla="*/ 6032 w 141786"/>
                <a:gd name="connsiteY6" fmla="*/ 36201 h 36201"/>
                <a:gd name="connsiteX7" fmla="*/ 6032 w 141786"/>
                <a:gd name="connsiteY7" fmla="*/ 36201 h 36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1786" h="36201">
                  <a:moveTo>
                    <a:pt x="6032" y="36201"/>
                  </a:moveTo>
                  <a:cubicBezTo>
                    <a:pt x="3016" y="36201"/>
                    <a:pt x="0" y="33185"/>
                    <a:pt x="0" y="33185"/>
                  </a:cubicBezTo>
                  <a:cubicBezTo>
                    <a:pt x="0" y="30168"/>
                    <a:pt x="0" y="27151"/>
                    <a:pt x="3016" y="27151"/>
                  </a:cubicBezTo>
                  <a:lnTo>
                    <a:pt x="135754" y="0"/>
                  </a:lnTo>
                  <a:cubicBezTo>
                    <a:pt x="138770" y="0"/>
                    <a:pt x="141786" y="0"/>
                    <a:pt x="141786" y="3017"/>
                  </a:cubicBezTo>
                  <a:cubicBezTo>
                    <a:pt x="141786" y="6033"/>
                    <a:pt x="141786" y="9050"/>
                    <a:pt x="138770" y="9050"/>
                  </a:cubicBezTo>
                  <a:lnTo>
                    <a:pt x="6032" y="36201"/>
                  </a:lnTo>
                  <a:cubicBezTo>
                    <a:pt x="6032" y="36201"/>
                    <a:pt x="6032" y="36201"/>
                    <a:pt x="6032" y="36201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82832674-FCC3-4FB2-B823-C545480D3E9B}"/>
                </a:ext>
              </a:extLst>
            </p:cNvPr>
            <p:cNvSpPr/>
            <p:nvPr/>
          </p:nvSpPr>
          <p:spPr>
            <a:xfrm>
              <a:off x="23896771" y="5786139"/>
              <a:ext cx="1376595" cy="698332"/>
            </a:xfrm>
            <a:custGeom>
              <a:avLst/>
              <a:gdLst>
                <a:gd name="connsiteX0" fmla="*/ 1101953 w 1376595"/>
                <a:gd name="connsiteY0" fmla="*/ 698333 h 698332"/>
                <a:gd name="connsiteX1" fmla="*/ 157707 w 1376595"/>
                <a:gd name="connsiteY1" fmla="*/ 499226 h 698332"/>
                <a:gd name="connsiteX2" fmla="*/ 9885 w 1376595"/>
                <a:gd name="connsiteY2" fmla="*/ 182467 h 698332"/>
                <a:gd name="connsiteX3" fmla="*/ 9885 w 1376595"/>
                <a:gd name="connsiteY3" fmla="*/ 182467 h 698332"/>
                <a:gd name="connsiteX4" fmla="*/ 272344 w 1376595"/>
                <a:gd name="connsiteY4" fmla="*/ 4478 h 698332"/>
                <a:gd name="connsiteX5" fmla="*/ 1346309 w 1376595"/>
                <a:gd name="connsiteY5" fmla="*/ 224702 h 698332"/>
                <a:gd name="connsiteX6" fmla="*/ 1101953 w 1376595"/>
                <a:gd name="connsiteY6" fmla="*/ 698333 h 698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6595" h="698332">
                  <a:moveTo>
                    <a:pt x="1101953" y="698333"/>
                  </a:moveTo>
                  <a:lnTo>
                    <a:pt x="157707" y="499226"/>
                  </a:lnTo>
                  <a:cubicBezTo>
                    <a:pt x="40053" y="453975"/>
                    <a:pt x="-26316" y="315204"/>
                    <a:pt x="9885" y="182467"/>
                  </a:cubicBezTo>
                  <a:lnTo>
                    <a:pt x="9885" y="182467"/>
                  </a:lnTo>
                  <a:cubicBezTo>
                    <a:pt x="43069" y="55763"/>
                    <a:pt x="157707" y="-19656"/>
                    <a:pt x="272344" y="4478"/>
                  </a:cubicBezTo>
                  <a:cubicBezTo>
                    <a:pt x="619271" y="76880"/>
                    <a:pt x="1298042" y="218668"/>
                    <a:pt x="1346309" y="224702"/>
                  </a:cubicBezTo>
                  <a:cubicBezTo>
                    <a:pt x="1485081" y="239785"/>
                    <a:pt x="1101953" y="698333"/>
                    <a:pt x="1101953" y="698333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54AFF3C2-4BD6-4B4E-84A5-100AC3290861}"/>
                </a:ext>
              </a:extLst>
            </p:cNvPr>
            <p:cNvSpPr/>
            <p:nvPr/>
          </p:nvSpPr>
          <p:spPr>
            <a:xfrm>
              <a:off x="24877087" y="6313975"/>
              <a:ext cx="592682" cy="405569"/>
            </a:xfrm>
            <a:custGeom>
              <a:avLst/>
              <a:gdLst>
                <a:gd name="connsiteX0" fmla="*/ 299624 w 592682"/>
                <a:gd name="connsiteY0" fmla="*/ 257982 h 405569"/>
                <a:gd name="connsiteX1" fmla="*/ 13032 w 592682"/>
                <a:gd name="connsiteY1" fmla="*/ 191614 h 405569"/>
                <a:gd name="connsiteX2" fmla="*/ 13032 w 592682"/>
                <a:gd name="connsiteY2" fmla="*/ 19659 h 405569"/>
                <a:gd name="connsiteX3" fmla="*/ 233257 w 592682"/>
                <a:gd name="connsiteY3" fmla="*/ 79994 h 405569"/>
                <a:gd name="connsiteX4" fmla="*/ 335826 w 592682"/>
                <a:gd name="connsiteY4" fmla="*/ 4575 h 405569"/>
                <a:gd name="connsiteX5" fmla="*/ 592250 w 592682"/>
                <a:gd name="connsiteY5" fmla="*/ 393737 h 405569"/>
                <a:gd name="connsiteX6" fmla="*/ 299624 w 592682"/>
                <a:gd name="connsiteY6" fmla="*/ 257982 h 40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2682" h="405569">
                  <a:moveTo>
                    <a:pt x="299624" y="257982"/>
                  </a:moveTo>
                  <a:cubicBezTo>
                    <a:pt x="209122" y="230832"/>
                    <a:pt x="31134" y="191614"/>
                    <a:pt x="13032" y="191614"/>
                  </a:cubicBezTo>
                  <a:cubicBezTo>
                    <a:pt x="-11102" y="191614"/>
                    <a:pt x="3982" y="28709"/>
                    <a:pt x="13032" y="19659"/>
                  </a:cubicBezTo>
                  <a:cubicBezTo>
                    <a:pt x="31134" y="-1459"/>
                    <a:pt x="230239" y="89044"/>
                    <a:pt x="233257" y="79994"/>
                  </a:cubicBezTo>
                  <a:cubicBezTo>
                    <a:pt x="233257" y="79994"/>
                    <a:pt x="311692" y="-22576"/>
                    <a:pt x="335826" y="4575"/>
                  </a:cubicBezTo>
                  <a:cubicBezTo>
                    <a:pt x="359960" y="28709"/>
                    <a:pt x="604318" y="378653"/>
                    <a:pt x="592250" y="393737"/>
                  </a:cubicBezTo>
                  <a:cubicBezTo>
                    <a:pt x="546999" y="448038"/>
                    <a:pt x="411245" y="300217"/>
                    <a:pt x="299624" y="257982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A8CA711B-5781-43D5-BAD4-2B50C9DAE3CC}"/>
                </a:ext>
              </a:extLst>
            </p:cNvPr>
            <p:cNvSpPr/>
            <p:nvPr/>
          </p:nvSpPr>
          <p:spPr>
            <a:xfrm>
              <a:off x="23870402" y="5830154"/>
              <a:ext cx="1289863" cy="729778"/>
            </a:xfrm>
            <a:custGeom>
              <a:avLst/>
              <a:gdLst>
                <a:gd name="connsiteX0" fmla="*/ 304747 w 1289863"/>
                <a:gd name="connsiteY0" fmla="*/ 23815 h 729778"/>
                <a:gd name="connsiteX1" fmla="*/ 1258042 w 1289863"/>
                <a:gd name="connsiteY1" fmla="*/ 569848 h 729778"/>
                <a:gd name="connsiteX2" fmla="*/ 1276142 w 1289863"/>
                <a:gd name="connsiteY2" fmla="*/ 729737 h 729778"/>
                <a:gd name="connsiteX3" fmla="*/ 150891 w 1289863"/>
                <a:gd name="connsiteY3" fmla="*/ 422027 h 729778"/>
                <a:gd name="connsiteX4" fmla="*/ 15137 w 1289863"/>
                <a:gd name="connsiteY4" fmla="*/ 147502 h 729778"/>
                <a:gd name="connsiteX5" fmla="*/ 51338 w 1289863"/>
                <a:gd name="connsiteY5" fmla="*/ 75100 h 729778"/>
                <a:gd name="connsiteX6" fmla="*/ 304747 w 1289863"/>
                <a:gd name="connsiteY6" fmla="*/ 23815 h 729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9863" h="729778">
                  <a:moveTo>
                    <a:pt x="304747" y="23815"/>
                  </a:moveTo>
                  <a:lnTo>
                    <a:pt x="1258042" y="569848"/>
                  </a:lnTo>
                  <a:cubicBezTo>
                    <a:pt x="1258042" y="569848"/>
                    <a:pt x="1315362" y="732753"/>
                    <a:pt x="1276142" y="729737"/>
                  </a:cubicBezTo>
                  <a:cubicBezTo>
                    <a:pt x="811562" y="681468"/>
                    <a:pt x="150891" y="422027"/>
                    <a:pt x="150891" y="422027"/>
                  </a:cubicBezTo>
                  <a:cubicBezTo>
                    <a:pt x="51338" y="391860"/>
                    <a:pt x="-36148" y="247055"/>
                    <a:pt x="15137" y="147502"/>
                  </a:cubicBezTo>
                  <a:lnTo>
                    <a:pt x="51338" y="75100"/>
                  </a:lnTo>
                  <a:cubicBezTo>
                    <a:pt x="96590" y="-6353"/>
                    <a:pt x="229328" y="-18420"/>
                    <a:pt x="304747" y="23815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0801A114-453F-47E1-9407-CD2686D8047E}"/>
                </a:ext>
              </a:extLst>
            </p:cNvPr>
            <p:cNvSpPr/>
            <p:nvPr/>
          </p:nvSpPr>
          <p:spPr>
            <a:xfrm>
              <a:off x="24611329" y="5873836"/>
              <a:ext cx="144286" cy="37450"/>
            </a:xfrm>
            <a:custGeom>
              <a:avLst/>
              <a:gdLst>
                <a:gd name="connsiteX0" fmla="*/ 137004 w 144286"/>
                <a:gd name="connsiteY0" fmla="*/ 37451 h 37450"/>
                <a:gd name="connsiteX1" fmla="*/ 137004 w 144286"/>
                <a:gd name="connsiteY1" fmla="*/ 37451 h 37450"/>
                <a:gd name="connsiteX2" fmla="*/ 4266 w 144286"/>
                <a:gd name="connsiteY2" fmla="*/ 10300 h 37450"/>
                <a:gd name="connsiteX3" fmla="*/ 1250 w 144286"/>
                <a:gd name="connsiteY3" fmla="*/ 4266 h 37450"/>
                <a:gd name="connsiteX4" fmla="*/ 7282 w 144286"/>
                <a:gd name="connsiteY4" fmla="*/ 1250 h 37450"/>
                <a:gd name="connsiteX5" fmla="*/ 140020 w 144286"/>
                <a:gd name="connsiteY5" fmla="*/ 28400 h 37450"/>
                <a:gd name="connsiteX6" fmla="*/ 143036 w 144286"/>
                <a:gd name="connsiteY6" fmla="*/ 34434 h 37450"/>
                <a:gd name="connsiteX7" fmla="*/ 137004 w 144286"/>
                <a:gd name="connsiteY7" fmla="*/ 37451 h 37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286" h="37450">
                  <a:moveTo>
                    <a:pt x="137004" y="37451"/>
                  </a:moveTo>
                  <a:cubicBezTo>
                    <a:pt x="137004" y="37451"/>
                    <a:pt x="137004" y="37451"/>
                    <a:pt x="137004" y="37451"/>
                  </a:cubicBezTo>
                  <a:lnTo>
                    <a:pt x="4266" y="10300"/>
                  </a:lnTo>
                  <a:cubicBezTo>
                    <a:pt x="1250" y="10300"/>
                    <a:pt x="-1768" y="7283"/>
                    <a:pt x="1250" y="4266"/>
                  </a:cubicBezTo>
                  <a:cubicBezTo>
                    <a:pt x="1250" y="1250"/>
                    <a:pt x="4266" y="-1767"/>
                    <a:pt x="7282" y="1250"/>
                  </a:cubicBezTo>
                  <a:lnTo>
                    <a:pt x="140020" y="28400"/>
                  </a:lnTo>
                  <a:cubicBezTo>
                    <a:pt x="143036" y="28400"/>
                    <a:pt x="146054" y="31417"/>
                    <a:pt x="143036" y="34434"/>
                  </a:cubicBezTo>
                  <a:cubicBezTo>
                    <a:pt x="143036" y="37451"/>
                    <a:pt x="140020" y="37451"/>
                    <a:pt x="137004" y="37451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CFCE229D-C3FB-45F4-A7B2-B96F6D1FA026}"/>
                </a:ext>
              </a:extLst>
            </p:cNvPr>
            <p:cNvSpPr/>
            <p:nvPr/>
          </p:nvSpPr>
          <p:spPr>
            <a:xfrm>
              <a:off x="25091372" y="4300337"/>
              <a:ext cx="242211" cy="247535"/>
            </a:xfrm>
            <a:custGeom>
              <a:avLst/>
              <a:gdLst>
                <a:gd name="connsiteX0" fmla="*/ 236177 w 242211"/>
                <a:gd name="connsiteY0" fmla="*/ 24134 h 247535"/>
                <a:gd name="connsiteX1" fmla="*/ 242211 w 242211"/>
                <a:gd name="connsiteY1" fmla="*/ 196089 h 247535"/>
                <a:gd name="connsiteX2" fmla="*/ 870 w 242211"/>
                <a:gd name="connsiteY2" fmla="*/ 202123 h 247535"/>
                <a:gd name="connsiteX3" fmla="*/ 870 w 242211"/>
                <a:gd name="connsiteY3" fmla="*/ 0 h 247535"/>
                <a:gd name="connsiteX4" fmla="*/ 236177 w 242211"/>
                <a:gd name="connsiteY4" fmla="*/ 24134 h 24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1" h="247535">
                  <a:moveTo>
                    <a:pt x="236177" y="24134"/>
                  </a:moveTo>
                  <a:cubicBezTo>
                    <a:pt x="236177" y="24134"/>
                    <a:pt x="236177" y="123687"/>
                    <a:pt x="242211" y="196089"/>
                  </a:cubicBezTo>
                  <a:cubicBezTo>
                    <a:pt x="242211" y="196089"/>
                    <a:pt x="154726" y="307709"/>
                    <a:pt x="870" y="202123"/>
                  </a:cubicBezTo>
                  <a:cubicBezTo>
                    <a:pt x="-2146" y="141788"/>
                    <a:pt x="3888" y="63352"/>
                    <a:pt x="870" y="0"/>
                  </a:cubicBezTo>
                  <a:cubicBezTo>
                    <a:pt x="-2146" y="0"/>
                    <a:pt x="184894" y="42235"/>
                    <a:pt x="236177" y="24134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C3CB64E8-B978-4C1E-9EE3-09CC5551E758}"/>
                </a:ext>
              </a:extLst>
            </p:cNvPr>
            <p:cNvSpPr/>
            <p:nvPr/>
          </p:nvSpPr>
          <p:spPr>
            <a:xfrm>
              <a:off x="24630678" y="4457209"/>
              <a:ext cx="1070330" cy="1479118"/>
            </a:xfrm>
            <a:custGeom>
              <a:avLst/>
              <a:gdLst>
                <a:gd name="connsiteX0" fmla="*/ 437430 w 1070330"/>
                <a:gd name="connsiteY0" fmla="*/ 0 h 1479118"/>
                <a:gd name="connsiteX1" fmla="*/ 724022 w 1070330"/>
                <a:gd name="connsiteY1" fmla="*/ 0 h 1479118"/>
                <a:gd name="connsiteX2" fmla="*/ 1019664 w 1070330"/>
                <a:gd name="connsiteY2" fmla="*/ 129721 h 1479118"/>
                <a:gd name="connsiteX3" fmla="*/ 1067934 w 1070330"/>
                <a:gd name="connsiteY3" fmla="*/ 1429944 h 1479118"/>
                <a:gd name="connsiteX4" fmla="*/ 0 w 1070330"/>
                <a:gd name="connsiteY4" fmla="*/ 1432961 h 1479118"/>
                <a:gd name="connsiteX5" fmla="*/ 159888 w 1070330"/>
                <a:gd name="connsiteY5" fmla="*/ 102570 h 1479118"/>
                <a:gd name="connsiteX6" fmla="*/ 437430 w 1070330"/>
                <a:gd name="connsiteY6" fmla="*/ 0 h 1479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0330" h="1479118">
                  <a:moveTo>
                    <a:pt x="437430" y="0"/>
                  </a:moveTo>
                  <a:cubicBezTo>
                    <a:pt x="437430" y="0"/>
                    <a:pt x="609386" y="54302"/>
                    <a:pt x="724022" y="0"/>
                  </a:cubicBezTo>
                  <a:cubicBezTo>
                    <a:pt x="724022" y="0"/>
                    <a:pt x="995531" y="96536"/>
                    <a:pt x="1019664" y="129721"/>
                  </a:cubicBezTo>
                  <a:cubicBezTo>
                    <a:pt x="1043798" y="159888"/>
                    <a:pt x="1080000" y="1363576"/>
                    <a:pt x="1067934" y="1429944"/>
                  </a:cubicBezTo>
                  <a:cubicBezTo>
                    <a:pt x="1067934" y="1429944"/>
                    <a:pt x="573184" y="1538548"/>
                    <a:pt x="0" y="1432961"/>
                  </a:cubicBezTo>
                  <a:cubicBezTo>
                    <a:pt x="0" y="1080000"/>
                    <a:pt x="117654" y="135754"/>
                    <a:pt x="159888" y="102570"/>
                  </a:cubicBezTo>
                  <a:cubicBezTo>
                    <a:pt x="199105" y="69386"/>
                    <a:pt x="437430" y="0"/>
                    <a:pt x="437430" y="0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8297CEC3-86D9-4B2C-81D1-E8F403294112}"/>
                </a:ext>
              </a:extLst>
            </p:cNvPr>
            <p:cNvSpPr/>
            <p:nvPr/>
          </p:nvSpPr>
          <p:spPr>
            <a:xfrm>
              <a:off x="25528495" y="4583696"/>
              <a:ext cx="441625" cy="580117"/>
            </a:xfrm>
            <a:custGeom>
              <a:avLst/>
              <a:gdLst>
                <a:gd name="connsiteX0" fmla="*/ 441626 w 441625"/>
                <a:gd name="connsiteY0" fmla="*/ 482899 h 580117"/>
                <a:gd name="connsiteX1" fmla="*/ 94698 w 441625"/>
                <a:gd name="connsiteY1" fmla="*/ 217 h 580117"/>
                <a:gd name="connsiteX2" fmla="*/ 34363 w 441625"/>
                <a:gd name="connsiteY2" fmla="*/ 579435 h 580117"/>
                <a:gd name="connsiteX3" fmla="*/ 441626 w 441625"/>
                <a:gd name="connsiteY3" fmla="*/ 482899 h 58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1625" h="580117">
                  <a:moveTo>
                    <a:pt x="441626" y="482899"/>
                  </a:moveTo>
                  <a:cubicBezTo>
                    <a:pt x="441626" y="482899"/>
                    <a:pt x="239503" y="-11850"/>
                    <a:pt x="94698" y="217"/>
                  </a:cubicBezTo>
                  <a:cubicBezTo>
                    <a:pt x="-74241" y="12284"/>
                    <a:pt x="34363" y="579435"/>
                    <a:pt x="34363" y="579435"/>
                  </a:cubicBezTo>
                  <a:cubicBezTo>
                    <a:pt x="34363" y="579435"/>
                    <a:pt x="263636" y="594519"/>
                    <a:pt x="441626" y="482899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1B5ABCB2-C8A5-469D-A817-D316DAFBF43D}"/>
                </a:ext>
              </a:extLst>
            </p:cNvPr>
            <p:cNvSpPr/>
            <p:nvPr/>
          </p:nvSpPr>
          <p:spPr>
            <a:xfrm>
              <a:off x="25644309" y="4580896"/>
              <a:ext cx="51285" cy="546033"/>
            </a:xfrm>
            <a:custGeom>
              <a:avLst/>
              <a:gdLst>
                <a:gd name="connsiteX0" fmla="*/ 48269 w 51285"/>
                <a:gd name="connsiteY0" fmla="*/ 546034 h 546033"/>
                <a:gd name="connsiteX1" fmla="*/ 42235 w 51285"/>
                <a:gd name="connsiteY1" fmla="*/ 540000 h 546033"/>
                <a:gd name="connsiteX2" fmla="*/ 0 w 51285"/>
                <a:gd name="connsiteY2" fmla="*/ 6034 h 546033"/>
                <a:gd name="connsiteX3" fmla="*/ 3018 w 51285"/>
                <a:gd name="connsiteY3" fmla="*/ 0 h 546033"/>
                <a:gd name="connsiteX4" fmla="*/ 9052 w 51285"/>
                <a:gd name="connsiteY4" fmla="*/ 3017 h 546033"/>
                <a:gd name="connsiteX5" fmla="*/ 51285 w 51285"/>
                <a:gd name="connsiteY5" fmla="*/ 540000 h 546033"/>
                <a:gd name="connsiteX6" fmla="*/ 48269 w 51285"/>
                <a:gd name="connsiteY6" fmla="*/ 546034 h 546033"/>
                <a:gd name="connsiteX7" fmla="*/ 48269 w 51285"/>
                <a:gd name="connsiteY7" fmla="*/ 546034 h 546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285" h="546033">
                  <a:moveTo>
                    <a:pt x="48269" y="546034"/>
                  </a:moveTo>
                  <a:cubicBezTo>
                    <a:pt x="45251" y="546034"/>
                    <a:pt x="42235" y="543017"/>
                    <a:pt x="42235" y="540000"/>
                  </a:cubicBezTo>
                  <a:cubicBezTo>
                    <a:pt x="42235" y="533967"/>
                    <a:pt x="6034" y="45251"/>
                    <a:pt x="0" y="6034"/>
                  </a:cubicBezTo>
                  <a:cubicBezTo>
                    <a:pt x="0" y="3017"/>
                    <a:pt x="0" y="0"/>
                    <a:pt x="3018" y="0"/>
                  </a:cubicBezTo>
                  <a:cubicBezTo>
                    <a:pt x="6034" y="0"/>
                    <a:pt x="9052" y="0"/>
                    <a:pt x="9052" y="3017"/>
                  </a:cubicBezTo>
                  <a:cubicBezTo>
                    <a:pt x="18102" y="42235"/>
                    <a:pt x="51285" y="518883"/>
                    <a:pt x="51285" y="540000"/>
                  </a:cubicBezTo>
                  <a:cubicBezTo>
                    <a:pt x="51285" y="543017"/>
                    <a:pt x="51285" y="546034"/>
                    <a:pt x="48269" y="546034"/>
                  </a:cubicBezTo>
                  <a:cubicBezTo>
                    <a:pt x="48269" y="546034"/>
                    <a:pt x="48269" y="546034"/>
                    <a:pt x="48269" y="546034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29FCFF62-46F4-4279-81E4-E2C8F0C50AAE}"/>
                </a:ext>
              </a:extLst>
            </p:cNvPr>
            <p:cNvSpPr/>
            <p:nvPr/>
          </p:nvSpPr>
          <p:spPr>
            <a:xfrm>
              <a:off x="24195955" y="4846371"/>
              <a:ext cx="651930" cy="983838"/>
            </a:xfrm>
            <a:custGeom>
              <a:avLst/>
              <a:gdLst>
                <a:gd name="connsiteX0" fmla="*/ 320086 w 651930"/>
                <a:gd name="connsiteY0" fmla="*/ 0 h 983838"/>
                <a:gd name="connsiteX1" fmla="*/ 309 w 651930"/>
                <a:gd name="connsiteY1" fmla="*/ 702905 h 983838"/>
                <a:gd name="connsiteX2" fmla="*/ 114947 w 651930"/>
                <a:gd name="connsiteY2" fmla="*/ 983464 h 983838"/>
                <a:gd name="connsiteX3" fmla="*/ 651930 w 651930"/>
                <a:gd name="connsiteY3" fmla="*/ 126704 h 983838"/>
                <a:gd name="connsiteX4" fmla="*/ 320086 w 651930"/>
                <a:gd name="connsiteY4" fmla="*/ 0 h 983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1930" h="983838">
                  <a:moveTo>
                    <a:pt x="320086" y="0"/>
                  </a:moveTo>
                  <a:lnTo>
                    <a:pt x="309" y="702905"/>
                  </a:lnTo>
                  <a:cubicBezTo>
                    <a:pt x="309" y="702905"/>
                    <a:pt x="-11757" y="962346"/>
                    <a:pt x="114947" y="983464"/>
                  </a:cubicBezTo>
                  <a:cubicBezTo>
                    <a:pt x="238634" y="1004581"/>
                    <a:pt x="651930" y="126704"/>
                    <a:pt x="651930" y="126704"/>
                  </a:cubicBezTo>
                  <a:lnTo>
                    <a:pt x="320086" y="0"/>
                  </a:ln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AB522E4E-64C2-46F0-8256-22AB0362F766}"/>
                </a:ext>
              </a:extLst>
            </p:cNvPr>
            <p:cNvSpPr/>
            <p:nvPr/>
          </p:nvSpPr>
          <p:spPr>
            <a:xfrm>
              <a:off x="24380288" y="4541686"/>
              <a:ext cx="542011" cy="600327"/>
            </a:xfrm>
            <a:custGeom>
              <a:avLst/>
              <a:gdLst>
                <a:gd name="connsiteX0" fmla="*/ 437430 w 542011"/>
                <a:gd name="connsiteY0" fmla="*/ 600327 h 600327"/>
                <a:gd name="connsiteX1" fmla="*/ 437430 w 542011"/>
                <a:gd name="connsiteY1" fmla="*/ 6025 h 600327"/>
                <a:gd name="connsiteX2" fmla="*/ 0 w 542011"/>
                <a:gd name="connsiteY2" fmla="*/ 443456 h 600327"/>
                <a:gd name="connsiteX3" fmla="*/ 437430 w 542011"/>
                <a:gd name="connsiteY3" fmla="*/ 600327 h 600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011" h="600327">
                  <a:moveTo>
                    <a:pt x="437430" y="600327"/>
                  </a:moveTo>
                  <a:cubicBezTo>
                    <a:pt x="437430" y="600327"/>
                    <a:pt x="672737" y="93511"/>
                    <a:pt x="437430" y="6025"/>
                  </a:cubicBezTo>
                  <a:cubicBezTo>
                    <a:pt x="259441" y="-60343"/>
                    <a:pt x="0" y="443456"/>
                    <a:pt x="0" y="443456"/>
                  </a:cubicBezTo>
                  <a:cubicBezTo>
                    <a:pt x="0" y="443456"/>
                    <a:pt x="199105" y="588260"/>
                    <a:pt x="437430" y="600327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90FF9045-DE37-409F-982A-06ED1916BA63}"/>
                </a:ext>
              </a:extLst>
            </p:cNvPr>
            <p:cNvSpPr/>
            <p:nvPr/>
          </p:nvSpPr>
          <p:spPr>
            <a:xfrm>
              <a:off x="23755529" y="5223466"/>
              <a:ext cx="645881" cy="607406"/>
            </a:xfrm>
            <a:custGeom>
              <a:avLst/>
              <a:gdLst>
                <a:gd name="connsiteX0" fmla="*/ 84758 w 645881"/>
                <a:gd name="connsiteY0" fmla="*/ 0 h 607406"/>
                <a:gd name="connsiteX1" fmla="*/ 630792 w 645881"/>
                <a:gd name="connsiteY1" fmla="*/ 419329 h 607406"/>
                <a:gd name="connsiteX2" fmla="*/ 510122 w 645881"/>
                <a:gd name="connsiteY2" fmla="*/ 600335 h 607406"/>
                <a:gd name="connsiteX3" fmla="*/ 289 w 645881"/>
                <a:gd name="connsiteY3" fmla="*/ 117654 h 607406"/>
                <a:gd name="connsiteX4" fmla="*/ 84758 w 645881"/>
                <a:gd name="connsiteY4" fmla="*/ 0 h 607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5881" h="607406">
                  <a:moveTo>
                    <a:pt x="84758" y="0"/>
                  </a:moveTo>
                  <a:cubicBezTo>
                    <a:pt x="84758" y="0"/>
                    <a:pt x="594591" y="334860"/>
                    <a:pt x="630792" y="419329"/>
                  </a:cubicBezTo>
                  <a:cubicBezTo>
                    <a:pt x="670010" y="506816"/>
                    <a:pt x="633808" y="639553"/>
                    <a:pt x="510122" y="600335"/>
                  </a:cubicBezTo>
                  <a:cubicBezTo>
                    <a:pt x="389452" y="564134"/>
                    <a:pt x="9339" y="123687"/>
                    <a:pt x="289" y="117654"/>
                  </a:cubicBezTo>
                  <a:cubicBezTo>
                    <a:pt x="-5745" y="114637"/>
                    <a:pt x="84758" y="0"/>
                    <a:pt x="84758" y="0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EFD3E68A-F5E2-4BBA-AF08-21EAA79B3004}"/>
                </a:ext>
              </a:extLst>
            </p:cNvPr>
            <p:cNvSpPr/>
            <p:nvPr/>
          </p:nvSpPr>
          <p:spPr>
            <a:xfrm>
              <a:off x="24219059" y="5487600"/>
              <a:ext cx="58658" cy="82793"/>
            </a:xfrm>
            <a:custGeom>
              <a:avLst/>
              <a:gdLst>
                <a:gd name="connsiteX0" fmla="*/ 52625 w 58658"/>
                <a:gd name="connsiteY0" fmla="*/ 82793 h 82793"/>
                <a:gd name="connsiteX1" fmla="*/ 46593 w 58658"/>
                <a:gd name="connsiteY1" fmla="*/ 79777 h 82793"/>
                <a:gd name="connsiteX2" fmla="*/ 1341 w 58658"/>
                <a:gd name="connsiteY2" fmla="*/ 10391 h 82793"/>
                <a:gd name="connsiteX3" fmla="*/ 1341 w 58658"/>
                <a:gd name="connsiteY3" fmla="*/ 1341 h 82793"/>
                <a:gd name="connsiteX4" fmla="*/ 10391 w 58658"/>
                <a:gd name="connsiteY4" fmla="*/ 1341 h 82793"/>
                <a:gd name="connsiteX5" fmla="*/ 58659 w 58658"/>
                <a:gd name="connsiteY5" fmla="*/ 73743 h 82793"/>
                <a:gd name="connsiteX6" fmla="*/ 52625 w 58658"/>
                <a:gd name="connsiteY6" fmla="*/ 82793 h 82793"/>
                <a:gd name="connsiteX7" fmla="*/ 52625 w 58658"/>
                <a:gd name="connsiteY7" fmla="*/ 82793 h 82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658" h="82793">
                  <a:moveTo>
                    <a:pt x="52625" y="82793"/>
                  </a:moveTo>
                  <a:cubicBezTo>
                    <a:pt x="49609" y="82793"/>
                    <a:pt x="49609" y="82793"/>
                    <a:pt x="46593" y="79777"/>
                  </a:cubicBezTo>
                  <a:cubicBezTo>
                    <a:pt x="37541" y="58659"/>
                    <a:pt x="1341" y="10391"/>
                    <a:pt x="1341" y="10391"/>
                  </a:cubicBezTo>
                  <a:cubicBezTo>
                    <a:pt x="-1677" y="7374"/>
                    <a:pt x="1341" y="4358"/>
                    <a:pt x="1341" y="1341"/>
                  </a:cubicBezTo>
                  <a:cubicBezTo>
                    <a:pt x="4357" y="-1676"/>
                    <a:pt x="7373" y="1341"/>
                    <a:pt x="10391" y="1341"/>
                  </a:cubicBezTo>
                  <a:cubicBezTo>
                    <a:pt x="10391" y="4358"/>
                    <a:pt x="46593" y="49609"/>
                    <a:pt x="58659" y="73743"/>
                  </a:cubicBezTo>
                  <a:cubicBezTo>
                    <a:pt x="58659" y="76760"/>
                    <a:pt x="55643" y="79777"/>
                    <a:pt x="52625" y="82793"/>
                  </a:cubicBezTo>
                  <a:cubicBezTo>
                    <a:pt x="52625" y="82793"/>
                    <a:pt x="52625" y="82793"/>
                    <a:pt x="52625" y="82793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5088F3C4-3C82-4D81-ABA0-356584EB5737}"/>
                </a:ext>
              </a:extLst>
            </p:cNvPr>
            <p:cNvSpPr/>
            <p:nvPr/>
          </p:nvSpPr>
          <p:spPr>
            <a:xfrm>
              <a:off x="24591461" y="4547712"/>
              <a:ext cx="353016" cy="600335"/>
            </a:xfrm>
            <a:custGeom>
              <a:avLst/>
              <a:gdLst>
                <a:gd name="connsiteX0" fmla="*/ 229273 w 353016"/>
                <a:gd name="connsiteY0" fmla="*/ 600335 h 600335"/>
                <a:gd name="connsiteX1" fmla="*/ 226257 w 353016"/>
                <a:gd name="connsiteY1" fmla="*/ 600335 h 600335"/>
                <a:gd name="connsiteX2" fmla="*/ 3016 w 353016"/>
                <a:gd name="connsiteY2" fmla="*/ 552067 h 600335"/>
                <a:gd name="connsiteX3" fmla="*/ 0 w 353016"/>
                <a:gd name="connsiteY3" fmla="*/ 546034 h 600335"/>
                <a:gd name="connsiteX4" fmla="*/ 6034 w 353016"/>
                <a:gd name="connsiteY4" fmla="*/ 543017 h 600335"/>
                <a:gd name="connsiteX5" fmla="*/ 223239 w 353016"/>
                <a:gd name="connsiteY5" fmla="*/ 591285 h 600335"/>
                <a:gd name="connsiteX6" fmla="*/ 343910 w 353016"/>
                <a:gd name="connsiteY6" fmla="*/ 196089 h 600335"/>
                <a:gd name="connsiteX7" fmla="*/ 223239 w 353016"/>
                <a:gd name="connsiteY7" fmla="*/ 9050 h 600335"/>
                <a:gd name="connsiteX8" fmla="*/ 220223 w 353016"/>
                <a:gd name="connsiteY8" fmla="*/ 3017 h 600335"/>
                <a:gd name="connsiteX9" fmla="*/ 226257 w 353016"/>
                <a:gd name="connsiteY9" fmla="*/ 0 h 600335"/>
                <a:gd name="connsiteX10" fmla="*/ 352961 w 353016"/>
                <a:gd name="connsiteY10" fmla="*/ 196089 h 600335"/>
                <a:gd name="connsiteX11" fmla="*/ 229273 w 353016"/>
                <a:gd name="connsiteY11" fmla="*/ 600335 h 600335"/>
                <a:gd name="connsiteX12" fmla="*/ 229273 w 353016"/>
                <a:gd name="connsiteY12" fmla="*/ 600335 h 600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3016" h="600335">
                  <a:moveTo>
                    <a:pt x="229273" y="600335"/>
                  </a:moveTo>
                  <a:lnTo>
                    <a:pt x="226257" y="600335"/>
                  </a:lnTo>
                  <a:cubicBezTo>
                    <a:pt x="220223" y="600335"/>
                    <a:pt x="48267" y="570168"/>
                    <a:pt x="3016" y="552067"/>
                  </a:cubicBezTo>
                  <a:cubicBezTo>
                    <a:pt x="0" y="552067"/>
                    <a:pt x="0" y="549050"/>
                    <a:pt x="0" y="546034"/>
                  </a:cubicBezTo>
                  <a:cubicBezTo>
                    <a:pt x="0" y="543017"/>
                    <a:pt x="3016" y="543017"/>
                    <a:pt x="6034" y="543017"/>
                  </a:cubicBezTo>
                  <a:cubicBezTo>
                    <a:pt x="48267" y="558101"/>
                    <a:pt x="196089" y="585251"/>
                    <a:pt x="223239" y="591285"/>
                  </a:cubicBezTo>
                  <a:cubicBezTo>
                    <a:pt x="238323" y="558101"/>
                    <a:pt x="343910" y="328827"/>
                    <a:pt x="343910" y="196089"/>
                  </a:cubicBezTo>
                  <a:cubicBezTo>
                    <a:pt x="340894" y="54302"/>
                    <a:pt x="226257" y="9050"/>
                    <a:pt x="223239" y="9050"/>
                  </a:cubicBezTo>
                  <a:cubicBezTo>
                    <a:pt x="220223" y="9050"/>
                    <a:pt x="220223" y="6034"/>
                    <a:pt x="220223" y="3017"/>
                  </a:cubicBezTo>
                  <a:cubicBezTo>
                    <a:pt x="220223" y="0"/>
                    <a:pt x="223239" y="0"/>
                    <a:pt x="226257" y="0"/>
                  </a:cubicBezTo>
                  <a:cubicBezTo>
                    <a:pt x="226257" y="0"/>
                    <a:pt x="349943" y="48268"/>
                    <a:pt x="352961" y="196089"/>
                  </a:cubicBezTo>
                  <a:cubicBezTo>
                    <a:pt x="355977" y="343911"/>
                    <a:pt x="235307" y="591285"/>
                    <a:pt x="229273" y="600335"/>
                  </a:cubicBezTo>
                  <a:lnTo>
                    <a:pt x="229273" y="600335"/>
                  </a:ln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B363B366-8F7A-454B-9457-FE279B10AA92}"/>
                </a:ext>
              </a:extLst>
            </p:cNvPr>
            <p:cNvSpPr/>
            <p:nvPr/>
          </p:nvSpPr>
          <p:spPr>
            <a:xfrm>
              <a:off x="23483179" y="5178643"/>
              <a:ext cx="374294" cy="279952"/>
            </a:xfrm>
            <a:custGeom>
              <a:avLst/>
              <a:gdLst>
                <a:gd name="connsiteX0" fmla="*/ 342024 w 374294"/>
                <a:gd name="connsiteY0" fmla="*/ 38789 h 279952"/>
                <a:gd name="connsiteX1" fmla="*/ 242472 w 374294"/>
                <a:gd name="connsiteY1" fmla="*/ 11638 h 279952"/>
                <a:gd name="connsiteX2" fmla="*/ 127835 w 374294"/>
                <a:gd name="connsiteY2" fmla="*/ 8621 h 279952"/>
                <a:gd name="connsiteX3" fmla="*/ 109734 w 374294"/>
                <a:gd name="connsiteY3" fmla="*/ 35772 h 279952"/>
                <a:gd name="connsiteX4" fmla="*/ 109734 w 374294"/>
                <a:gd name="connsiteY4" fmla="*/ 35772 h 279952"/>
                <a:gd name="connsiteX5" fmla="*/ 73534 w 374294"/>
                <a:gd name="connsiteY5" fmla="*/ 114208 h 279952"/>
                <a:gd name="connsiteX6" fmla="*/ 94650 w 374294"/>
                <a:gd name="connsiteY6" fmla="*/ 144376 h 279952"/>
                <a:gd name="connsiteX7" fmla="*/ 37332 w 374294"/>
                <a:gd name="connsiteY7" fmla="*/ 162476 h 279952"/>
                <a:gd name="connsiteX8" fmla="*/ 25265 w 374294"/>
                <a:gd name="connsiteY8" fmla="*/ 165493 h 279952"/>
                <a:gd name="connsiteX9" fmla="*/ 7165 w 374294"/>
                <a:gd name="connsiteY9" fmla="*/ 189627 h 279952"/>
                <a:gd name="connsiteX10" fmla="*/ 19231 w 374294"/>
                <a:gd name="connsiteY10" fmla="*/ 204711 h 279952"/>
                <a:gd name="connsiteX11" fmla="*/ 10181 w 374294"/>
                <a:gd name="connsiteY11" fmla="*/ 204711 h 279952"/>
                <a:gd name="connsiteX12" fmla="*/ 1131 w 374294"/>
                <a:gd name="connsiteY12" fmla="*/ 222811 h 279952"/>
                <a:gd name="connsiteX13" fmla="*/ 64482 w 374294"/>
                <a:gd name="connsiteY13" fmla="*/ 246945 h 279952"/>
                <a:gd name="connsiteX14" fmla="*/ 70516 w 374294"/>
                <a:gd name="connsiteY14" fmla="*/ 271079 h 279952"/>
                <a:gd name="connsiteX15" fmla="*/ 227388 w 374294"/>
                <a:gd name="connsiteY15" fmla="*/ 240912 h 279952"/>
                <a:gd name="connsiteX16" fmla="*/ 296773 w 374294"/>
                <a:gd name="connsiteY16" fmla="*/ 174543 h 279952"/>
                <a:gd name="connsiteX17" fmla="*/ 372192 w 374294"/>
                <a:gd name="connsiteY17" fmla="*/ 96107 h 279952"/>
                <a:gd name="connsiteX18" fmla="*/ 342024 w 374294"/>
                <a:gd name="connsiteY18" fmla="*/ 38789 h 279952"/>
                <a:gd name="connsiteX19" fmla="*/ 118785 w 374294"/>
                <a:gd name="connsiteY19" fmla="*/ 62923 h 279952"/>
                <a:gd name="connsiteX20" fmla="*/ 121801 w 374294"/>
                <a:gd name="connsiteY20" fmla="*/ 50856 h 279952"/>
                <a:gd name="connsiteX21" fmla="*/ 118785 w 374294"/>
                <a:gd name="connsiteY21" fmla="*/ 41806 h 279952"/>
                <a:gd name="connsiteX22" fmla="*/ 151969 w 374294"/>
                <a:gd name="connsiteY22" fmla="*/ 50856 h 279952"/>
                <a:gd name="connsiteX23" fmla="*/ 167053 w 374294"/>
                <a:gd name="connsiteY23" fmla="*/ 111191 h 279952"/>
                <a:gd name="connsiteX24" fmla="*/ 118785 w 374294"/>
                <a:gd name="connsiteY24" fmla="*/ 62923 h 279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74294" h="279952">
                  <a:moveTo>
                    <a:pt x="342024" y="38789"/>
                  </a:moveTo>
                  <a:cubicBezTo>
                    <a:pt x="305823" y="29739"/>
                    <a:pt x="281689" y="17671"/>
                    <a:pt x="242472" y="11638"/>
                  </a:cubicBezTo>
                  <a:cubicBezTo>
                    <a:pt x="206270" y="5604"/>
                    <a:pt x="164037" y="-9479"/>
                    <a:pt x="127835" y="8621"/>
                  </a:cubicBezTo>
                  <a:cubicBezTo>
                    <a:pt x="121801" y="11638"/>
                    <a:pt x="109734" y="29739"/>
                    <a:pt x="109734" y="35772"/>
                  </a:cubicBezTo>
                  <a:cubicBezTo>
                    <a:pt x="109734" y="35772"/>
                    <a:pt x="109734" y="35772"/>
                    <a:pt x="109734" y="35772"/>
                  </a:cubicBezTo>
                  <a:cubicBezTo>
                    <a:pt x="70516" y="29739"/>
                    <a:pt x="61466" y="81023"/>
                    <a:pt x="73534" y="114208"/>
                  </a:cubicBezTo>
                  <a:cubicBezTo>
                    <a:pt x="82584" y="135325"/>
                    <a:pt x="91634" y="138342"/>
                    <a:pt x="94650" y="144376"/>
                  </a:cubicBezTo>
                  <a:cubicBezTo>
                    <a:pt x="76550" y="159459"/>
                    <a:pt x="58450" y="165493"/>
                    <a:pt x="37332" y="162476"/>
                  </a:cubicBezTo>
                  <a:cubicBezTo>
                    <a:pt x="34315" y="162476"/>
                    <a:pt x="28283" y="162476"/>
                    <a:pt x="25265" y="165493"/>
                  </a:cubicBezTo>
                  <a:cubicBezTo>
                    <a:pt x="16215" y="168509"/>
                    <a:pt x="7165" y="177560"/>
                    <a:pt x="7165" y="189627"/>
                  </a:cubicBezTo>
                  <a:cubicBezTo>
                    <a:pt x="7165" y="195660"/>
                    <a:pt x="10181" y="201694"/>
                    <a:pt x="19231" y="204711"/>
                  </a:cubicBezTo>
                  <a:cubicBezTo>
                    <a:pt x="16215" y="204711"/>
                    <a:pt x="13199" y="204711"/>
                    <a:pt x="10181" y="204711"/>
                  </a:cubicBezTo>
                  <a:cubicBezTo>
                    <a:pt x="1131" y="204711"/>
                    <a:pt x="-1885" y="216778"/>
                    <a:pt x="1131" y="222811"/>
                  </a:cubicBezTo>
                  <a:cubicBezTo>
                    <a:pt x="7165" y="231861"/>
                    <a:pt x="31299" y="252979"/>
                    <a:pt x="64482" y="246945"/>
                  </a:cubicBezTo>
                  <a:cubicBezTo>
                    <a:pt x="64482" y="249962"/>
                    <a:pt x="64482" y="268063"/>
                    <a:pt x="70516" y="271079"/>
                  </a:cubicBezTo>
                  <a:cubicBezTo>
                    <a:pt x="103702" y="295214"/>
                    <a:pt x="191186" y="265046"/>
                    <a:pt x="227388" y="240912"/>
                  </a:cubicBezTo>
                  <a:cubicBezTo>
                    <a:pt x="254540" y="222811"/>
                    <a:pt x="272639" y="195660"/>
                    <a:pt x="296773" y="174543"/>
                  </a:cubicBezTo>
                  <a:cubicBezTo>
                    <a:pt x="317891" y="150409"/>
                    <a:pt x="357108" y="123258"/>
                    <a:pt x="372192" y="96107"/>
                  </a:cubicBezTo>
                  <a:cubicBezTo>
                    <a:pt x="378226" y="65940"/>
                    <a:pt x="372192" y="47839"/>
                    <a:pt x="342024" y="38789"/>
                  </a:cubicBezTo>
                  <a:close/>
                  <a:moveTo>
                    <a:pt x="118785" y="62923"/>
                  </a:moveTo>
                  <a:cubicBezTo>
                    <a:pt x="118785" y="59906"/>
                    <a:pt x="121801" y="56889"/>
                    <a:pt x="121801" y="50856"/>
                  </a:cubicBezTo>
                  <a:cubicBezTo>
                    <a:pt x="118785" y="47839"/>
                    <a:pt x="118785" y="44822"/>
                    <a:pt x="118785" y="41806"/>
                  </a:cubicBezTo>
                  <a:cubicBezTo>
                    <a:pt x="130851" y="44822"/>
                    <a:pt x="139901" y="47839"/>
                    <a:pt x="151969" y="50856"/>
                  </a:cubicBezTo>
                  <a:cubicBezTo>
                    <a:pt x="191186" y="53873"/>
                    <a:pt x="197220" y="74990"/>
                    <a:pt x="167053" y="111191"/>
                  </a:cubicBezTo>
                  <a:cubicBezTo>
                    <a:pt x="127835" y="102141"/>
                    <a:pt x="112751" y="87057"/>
                    <a:pt x="118785" y="62923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8A6C5296-6DC1-4E43-84BA-08BA88ABB4CD}"/>
                </a:ext>
              </a:extLst>
            </p:cNvPr>
            <p:cNvSpPr/>
            <p:nvPr/>
          </p:nvSpPr>
          <p:spPr>
            <a:xfrm>
              <a:off x="23582679" y="5174937"/>
              <a:ext cx="189471" cy="90763"/>
            </a:xfrm>
            <a:custGeom>
              <a:avLst/>
              <a:gdLst>
                <a:gd name="connsiteX0" fmla="*/ 82636 w 189471"/>
                <a:gd name="connsiteY0" fmla="*/ 90764 h 90763"/>
                <a:gd name="connsiteX1" fmla="*/ 82636 w 189471"/>
                <a:gd name="connsiteY1" fmla="*/ 90764 h 90763"/>
                <a:gd name="connsiteX2" fmla="*/ 76602 w 189471"/>
                <a:gd name="connsiteY2" fmla="*/ 81713 h 90763"/>
                <a:gd name="connsiteX3" fmla="*/ 76602 w 189471"/>
                <a:gd name="connsiteY3" fmla="*/ 69646 h 90763"/>
                <a:gd name="connsiteX4" fmla="*/ 58502 w 189471"/>
                <a:gd name="connsiteY4" fmla="*/ 60596 h 90763"/>
                <a:gd name="connsiteX5" fmla="*/ 1183 w 189471"/>
                <a:gd name="connsiteY5" fmla="*/ 39479 h 90763"/>
                <a:gd name="connsiteX6" fmla="*/ 7217 w 189471"/>
                <a:gd name="connsiteY6" fmla="*/ 18361 h 90763"/>
                <a:gd name="connsiteX7" fmla="*/ 49452 w 189471"/>
                <a:gd name="connsiteY7" fmla="*/ 261 h 90763"/>
                <a:gd name="connsiteX8" fmla="*/ 185207 w 189471"/>
                <a:gd name="connsiteY8" fmla="*/ 21378 h 90763"/>
                <a:gd name="connsiteX9" fmla="*/ 188223 w 189471"/>
                <a:gd name="connsiteY9" fmla="*/ 27412 h 90763"/>
                <a:gd name="connsiteX10" fmla="*/ 182189 w 189471"/>
                <a:gd name="connsiteY10" fmla="*/ 30429 h 90763"/>
                <a:gd name="connsiteX11" fmla="*/ 49452 w 189471"/>
                <a:gd name="connsiteY11" fmla="*/ 9311 h 90763"/>
                <a:gd name="connsiteX12" fmla="*/ 16267 w 189471"/>
                <a:gd name="connsiteY12" fmla="*/ 24395 h 90763"/>
                <a:gd name="connsiteX13" fmla="*/ 13251 w 189471"/>
                <a:gd name="connsiteY13" fmla="*/ 36462 h 90763"/>
                <a:gd name="connsiteX14" fmla="*/ 61518 w 189471"/>
                <a:gd name="connsiteY14" fmla="*/ 48529 h 90763"/>
                <a:gd name="connsiteX15" fmla="*/ 88670 w 189471"/>
                <a:gd name="connsiteY15" fmla="*/ 63613 h 90763"/>
                <a:gd name="connsiteX16" fmla="*/ 88670 w 189471"/>
                <a:gd name="connsiteY16" fmla="*/ 87747 h 90763"/>
                <a:gd name="connsiteX17" fmla="*/ 82636 w 189471"/>
                <a:gd name="connsiteY17" fmla="*/ 90764 h 90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9471" h="90763">
                  <a:moveTo>
                    <a:pt x="82636" y="90764"/>
                  </a:moveTo>
                  <a:cubicBezTo>
                    <a:pt x="82636" y="90764"/>
                    <a:pt x="82636" y="90764"/>
                    <a:pt x="82636" y="90764"/>
                  </a:cubicBezTo>
                  <a:cubicBezTo>
                    <a:pt x="76602" y="87747"/>
                    <a:pt x="76602" y="84730"/>
                    <a:pt x="76602" y="81713"/>
                  </a:cubicBezTo>
                  <a:cubicBezTo>
                    <a:pt x="79620" y="75680"/>
                    <a:pt x="79620" y="72663"/>
                    <a:pt x="76602" y="69646"/>
                  </a:cubicBezTo>
                  <a:cubicBezTo>
                    <a:pt x="73586" y="63613"/>
                    <a:pt x="61518" y="60596"/>
                    <a:pt x="58502" y="60596"/>
                  </a:cubicBezTo>
                  <a:cubicBezTo>
                    <a:pt x="34369" y="57579"/>
                    <a:pt x="7217" y="51546"/>
                    <a:pt x="1183" y="39479"/>
                  </a:cubicBezTo>
                  <a:cubicBezTo>
                    <a:pt x="-1833" y="33445"/>
                    <a:pt x="1183" y="24395"/>
                    <a:pt x="7217" y="18361"/>
                  </a:cubicBezTo>
                  <a:cubicBezTo>
                    <a:pt x="13251" y="9311"/>
                    <a:pt x="25317" y="261"/>
                    <a:pt x="49452" y="261"/>
                  </a:cubicBezTo>
                  <a:cubicBezTo>
                    <a:pt x="88670" y="-2756"/>
                    <a:pt x="182189" y="21378"/>
                    <a:pt x="185207" y="21378"/>
                  </a:cubicBezTo>
                  <a:cubicBezTo>
                    <a:pt x="188223" y="21378"/>
                    <a:pt x="191239" y="24395"/>
                    <a:pt x="188223" y="27412"/>
                  </a:cubicBezTo>
                  <a:cubicBezTo>
                    <a:pt x="188223" y="30429"/>
                    <a:pt x="185207" y="33445"/>
                    <a:pt x="182189" y="30429"/>
                  </a:cubicBezTo>
                  <a:cubicBezTo>
                    <a:pt x="182189" y="30429"/>
                    <a:pt x="85652" y="6294"/>
                    <a:pt x="49452" y="9311"/>
                  </a:cubicBezTo>
                  <a:cubicBezTo>
                    <a:pt x="28335" y="9311"/>
                    <a:pt x="19285" y="18361"/>
                    <a:pt x="16267" y="24395"/>
                  </a:cubicBezTo>
                  <a:cubicBezTo>
                    <a:pt x="13251" y="30429"/>
                    <a:pt x="13251" y="33445"/>
                    <a:pt x="13251" y="36462"/>
                  </a:cubicBezTo>
                  <a:cubicBezTo>
                    <a:pt x="16267" y="39479"/>
                    <a:pt x="37385" y="45512"/>
                    <a:pt x="61518" y="48529"/>
                  </a:cubicBezTo>
                  <a:cubicBezTo>
                    <a:pt x="61518" y="48529"/>
                    <a:pt x="82636" y="51546"/>
                    <a:pt x="88670" y="63613"/>
                  </a:cubicBezTo>
                  <a:cubicBezTo>
                    <a:pt x="91686" y="69646"/>
                    <a:pt x="91686" y="78697"/>
                    <a:pt x="88670" y="87747"/>
                  </a:cubicBezTo>
                  <a:cubicBezTo>
                    <a:pt x="88670" y="90764"/>
                    <a:pt x="85652" y="90764"/>
                    <a:pt x="82636" y="90764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138E51D9-52FF-46EF-B83A-B25534B8D816}"/>
                </a:ext>
              </a:extLst>
            </p:cNvPr>
            <p:cNvSpPr/>
            <p:nvPr/>
          </p:nvSpPr>
          <p:spPr>
            <a:xfrm>
              <a:off x="23481294" y="5307935"/>
              <a:ext cx="127952" cy="78435"/>
            </a:xfrm>
            <a:custGeom>
              <a:avLst/>
              <a:gdLst>
                <a:gd name="connsiteX0" fmla="*/ 15084 w 127952"/>
                <a:gd name="connsiteY0" fmla="*/ 78436 h 78435"/>
                <a:gd name="connsiteX1" fmla="*/ 0 w 127952"/>
                <a:gd name="connsiteY1" fmla="*/ 57318 h 78435"/>
                <a:gd name="connsiteX2" fmla="*/ 6032 w 127952"/>
                <a:gd name="connsiteY2" fmla="*/ 42234 h 78435"/>
                <a:gd name="connsiteX3" fmla="*/ 48267 w 127952"/>
                <a:gd name="connsiteY3" fmla="*/ 27151 h 78435"/>
                <a:gd name="connsiteX4" fmla="*/ 117653 w 127952"/>
                <a:gd name="connsiteY4" fmla="*/ 0 h 78435"/>
                <a:gd name="connsiteX5" fmla="*/ 126702 w 127952"/>
                <a:gd name="connsiteY5" fmla="*/ 3017 h 78435"/>
                <a:gd name="connsiteX6" fmla="*/ 123686 w 127952"/>
                <a:gd name="connsiteY6" fmla="*/ 12067 h 78435"/>
                <a:gd name="connsiteX7" fmla="*/ 51283 w 127952"/>
                <a:gd name="connsiteY7" fmla="*/ 42234 h 78435"/>
                <a:gd name="connsiteX8" fmla="*/ 15084 w 127952"/>
                <a:gd name="connsiteY8" fmla="*/ 51285 h 78435"/>
                <a:gd name="connsiteX9" fmla="*/ 12066 w 127952"/>
                <a:gd name="connsiteY9" fmla="*/ 60335 h 78435"/>
                <a:gd name="connsiteX10" fmla="*/ 18100 w 127952"/>
                <a:gd name="connsiteY10" fmla="*/ 72402 h 78435"/>
                <a:gd name="connsiteX11" fmla="*/ 24134 w 127952"/>
                <a:gd name="connsiteY11" fmla="*/ 78436 h 78435"/>
                <a:gd name="connsiteX12" fmla="*/ 15084 w 127952"/>
                <a:gd name="connsiteY12" fmla="*/ 78436 h 78435"/>
                <a:gd name="connsiteX13" fmla="*/ 15084 w 127952"/>
                <a:gd name="connsiteY13" fmla="*/ 78436 h 78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952" h="78435">
                  <a:moveTo>
                    <a:pt x="15084" y="78436"/>
                  </a:moveTo>
                  <a:cubicBezTo>
                    <a:pt x="12066" y="78436"/>
                    <a:pt x="0" y="78436"/>
                    <a:pt x="0" y="57318"/>
                  </a:cubicBezTo>
                  <a:cubicBezTo>
                    <a:pt x="0" y="51285"/>
                    <a:pt x="0" y="45251"/>
                    <a:pt x="6032" y="42234"/>
                  </a:cubicBezTo>
                  <a:cubicBezTo>
                    <a:pt x="12066" y="33184"/>
                    <a:pt x="27150" y="30168"/>
                    <a:pt x="48267" y="27151"/>
                  </a:cubicBezTo>
                  <a:cubicBezTo>
                    <a:pt x="72401" y="27151"/>
                    <a:pt x="117653" y="0"/>
                    <a:pt x="117653" y="0"/>
                  </a:cubicBezTo>
                  <a:cubicBezTo>
                    <a:pt x="120670" y="0"/>
                    <a:pt x="123686" y="0"/>
                    <a:pt x="126702" y="3017"/>
                  </a:cubicBezTo>
                  <a:cubicBezTo>
                    <a:pt x="129720" y="6033"/>
                    <a:pt x="126702" y="9050"/>
                    <a:pt x="123686" y="12067"/>
                  </a:cubicBezTo>
                  <a:cubicBezTo>
                    <a:pt x="120670" y="12067"/>
                    <a:pt x="75419" y="39218"/>
                    <a:pt x="51283" y="42234"/>
                  </a:cubicBezTo>
                  <a:cubicBezTo>
                    <a:pt x="33184" y="42234"/>
                    <a:pt x="21116" y="48268"/>
                    <a:pt x="15084" y="51285"/>
                  </a:cubicBezTo>
                  <a:cubicBezTo>
                    <a:pt x="12066" y="54302"/>
                    <a:pt x="12066" y="57318"/>
                    <a:pt x="12066" y="60335"/>
                  </a:cubicBezTo>
                  <a:cubicBezTo>
                    <a:pt x="12066" y="69385"/>
                    <a:pt x="15084" y="72402"/>
                    <a:pt x="18100" y="72402"/>
                  </a:cubicBezTo>
                  <a:cubicBezTo>
                    <a:pt x="21116" y="72402"/>
                    <a:pt x="24134" y="75419"/>
                    <a:pt x="24134" y="78436"/>
                  </a:cubicBezTo>
                  <a:cubicBezTo>
                    <a:pt x="21116" y="75419"/>
                    <a:pt x="18100" y="78436"/>
                    <a:pt x="15084" y="78436"/>
                  </a:cubicBezTo>
                  <a:cubicBezTo>
                    <a:pt x="15084" y="78436"/>
                    <a:pt x="15084" y="78436"/>
                    <a:pt x="15084" y="78436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A6206033-A2E2-4947-8FB8-26058E64A8A0}"/>
                </a:ext>
              </a:extLst>
            </p:cNvPr>
            <p:cNvSpPr/>
            <p:nvPr/>
          </p:nvSpPr>
          <p:spPr>
            <a:xfrm>
              <a:off x="23471488" y="5335086"/>
              <a:ext cx="193073" cy="93519"/>
            </a:xfrm>
            <a:custGeom>
              <a:avLst/>
              <a:gdLst>
                <a:gd name="connsiteX0" fmla="*/ 76173 w 193073"/>
                <a:gd name="connsiteY0" fmla="*/ 93520 h 93519"/>
                <a:gd name="connsiteX1" fmla="*/ 3772 w 193073"/>
                <a:gd name="connsiteY1" fmla="*/ 66369 h 93519"/>
                <a:gd name="connsiteX2" fmla="*/ 754 w 193073"/>
                <a:gd name="connsiteY2" fmla="*/ 51285 h 93519"/>
                <a:gd name="connsiteX3" fmla="*/ 36955 w 193073"/>
                <a:gd name="connsiteY3" fmla="*/ 39218 h 93519"/>
                <a:gd name="connsiteX4" fmla="*/ 36955 w 193073"/>
                <a:gd name="connsiteY4" fmla="*/ 39218 h 93519"/>
                <a:gd name="connsiteX5" fmla="*/ 148576 w 193073"/>
                <a:gd name="connsiteY5" fmla="*/ 0 h 93519"/>
                <a:gd name="connsiteX6" fmla="*/ 154610 w 193073"/>
                <a:gd name="connsiteY6" fmla="*/ 3017 h 93519"/>
                <a:gd name="connsiteX7" fmla="*/ 151592 w 193073"/>
                <a:gd name="connsiteY7" fmla="*/ 9050 h 93519"/>
                <a:gd name="connsiteX8" fmla="*/ 36955 w 193073"/>
                <a:gd name="connsiteY8" fmla="*/ 48268 h 93519"/>
                <a:gd name="connsiteX9" fmla="*/ 36955 w 193073"/>
                <a:gd name="connsiteY9" fmla="*/ 48268 h 93519"/>
                <a:gd name="connsiteX10" fmla="*/ 9806 w 193073"/>
                <a:gd name="connsiteY10" fmla="*/ 54302 h 93519"/>
                <a:gd name="connsiteX11" fmla="*/ 9806 w 193073"/>
                <a:gd name="connsiteY11" fmla="*/ 60335 h 93519"/>
                <a:gd name="connsiteX12" fmla="*/ 97290 w 193073"/>
                <a:gd name="connsiteY12" fmla="*/ 78436 h 93519"/>
                <a:gd name="connsiteX13" fmla="*/ 181759 w 193073"/>
                <a:gd name="connsiteY13" fmla="*/ 24134 h 93519"/>
                <a:gd name="connsiteX14" fmla="*/ 190811 w 193073"/>
                <a:gd name="connsiteY14" fmla="*/ 24134 h 93519"/>
                <a:gd name="connsiteX15" fmla="*/ 190811 w 193073"/>
                <a:gd name="connsiteY15" fmla="*/ 33185 h 93519"/>
                <a:gd name="connsiteX16" fmla="*/ 100308 w 193073"/>
                <a:gd name="connsiteY16" fmla="*/ 90503 h 93519"/>
                <a:gd name="connsiteX17" fmla="*/ 76173 w 193073"/>
                <a:gd name="connsiteY17" fmla="*/ 93520 h 93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3073" h="93519">
                  <a:moveTo>
                    <a:pt x="76173" y="93520"/>
                  </a:moveTo>
                  <a:cubicBezTo>
                    <a:pt x="46005" y="93520"/>
                    <a:pt x="12822" y="81453"/>
                    <a:pt x="3772" y="66369"/>
                  </a:cubicBezTo>
                  <a:cubicBezTo>
                    <a:pt x="-2262" y="57318"/>
                    <a:pt x="754" y="54302"/>
                    <a:pt x="754" y="51285"/>
                  </a:cubicBezTo>
                  <a:cubicBezTo>
                    <a:pt x="3772" y="42235"/>
                    <a:pt x="15838" y="39218"/>
                    <a:pt x="36955" y="39218"/>
                  </a:cubicBezTo>
                  <a:lnTo>
                    <a:pt x="36955" y="39218"/>
                  </a:lnTo>
                  <a:cubicBezTo>
                    <a:pt x="46005" y="39218"/>
                    <a:pt x="109358" y="15084"/>
                    <a:pt x="148576" y="0"/>
                  </a:cubicBezTo>
                  <a:cubicBezTo>
                    <a:pt x="151592" y="0"/>
                    <a:pt x="154610" y="0"/>
                    <a:pt x="154610" y="3017"/>
                  </a:cubicBezTo>
                  <a:cubicBezTo>
                    <a:pt x="154610" y="6034"/>
                    <a:pt x="154610" y="9050"/>
                    <a:pt x="151592" y="9050"/>
                  </a:cubicBezTo>
                  <a:cubicBezTo>
                    <a:pt x="133492" y="15084"/>
                    <a:pt x="49023" y="48268"/>
                    <a:pt x="36955" y="48268"/>
                  </a:cubicBezTo>
                  <a:lnTo>
                    <a:pt x="36955" y="48268"/>
                  </a:lnTo>
                  <a:cubicBezTo>
                    <a:pt x="18855" y="48268"/>
                    <a:pt x="9806" y="51285"/>
                    <a:pt x="9806" y="54302"/>
                  </a:cubicBezTo>
                  <a:cubicBezTo>
                    <a:pt x="9806" y="54302"/>
                    <a:pt x="9806" y="57318"/>
                    <a:pt x="9806" y="60335"/>
                  </a:cubicBezTo>
                  <a:cubicBezTo>
                    <a:pt x="18855" y="75419"/>
                    <a:pt x="61089" y="90503"/>
                    <a:pt x="97290" y="78436"/>
                  </a:cubicBezTo>
                  <a:cubicBezTo>
                    <a:pt x="133492" y="69386"/>
                    <a:pt x="181759" y="24134"/>
                    <a:pt x="181759" y="24134"/>
                  </a:cubicBezTo>
                  <a:cubicBezTo>
                    <a:pt x="184777" y="21117"/>
                    <a:pt x="187793" y="21117"/>
                    <a:pt x="190811" y="24134"/>
                  </a:cubicBezTo>
                  <a:cubicBezTo>
                    <a:pt x="193827" y="27151"/>
                    <a:pt x="193827" y="30168"/>
                    <a:pt x="190811" y="33185"/>
                  </a:cubicBezTo>
                  <a:cubicBezTo>
                    <a:pt x="187793" y="36201"/>
                    <a:pt x="139526" y="78436"/>
                    <a:pt x="100308" y="90503"/>
                  </a:cubicBezTo>
                  <a:cubicBezTo>
                    <a:pt x="94274" y="93520"/>
                    <a:pt x="85225" y="93520"/>
                    <a:pt x="76173" y="93520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BF1AD7FC-6D2B-47FD-80D3-A755EFB66937}"/>
                </a:ext>
              </a:extLst>
            </p:cNvPr>
            <p:cNvSpPr/>
            <p:nvPr/>
          </p:nvSpPr>
          <p:spPr>
            <a:xfrm>
              <a:off x="25001740" y="4179667"/>
              <a:ext cx="69385" cy="135754"/>
            </a:xfrm>
            <a:custGeom>
              <a:avLst/>
              <a:gdLst>
                <a:gd name="connsiteX0" fmla="*/ 0 w 69385"/>
                <a:gd name="connsiteY0" fmla="*/ 0 h 135754"/>
                <a:gd name="connsiteX1" fmla="*/ 69385 w 69385"/>
                <a:gd name="connsiteY1" fmla="*/ 135754 h 135754"/>
                <a:gd name="connsiteX2" fmla="*/ 69385 w 69385"/>
                <a:gd name="connsiteY2" fmla="*/ 51285 h 135754"/>
                <a:gd name="connsiteX3" fmla="*/ 0 w 69385"/>
                <a:gd name="connsiteY3" fmla="*/ 0 h 13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385" h="135754">
                  <a:moveTo>
                    <a:pt x="0" y="0"/>
                  </a:moveTo>
                  <a:cubicBezTo>
                    <a:pt x="0" y="0"/>
                    <a:pt x="18102" y="117654"/>
                    <a:pt x="69385" y="135754"/>
                  </a:cubicBezTo>
                  <a:lnTo>
                    <a:pt x="69385" y="512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E902E611-FF79-43B6-A289-854375CDAD45}"/>
                </a:ext>
              </a:extLst>
            </p:cNvPr>
            <p:cNvSpPr/>
            <p:nvPr/>
          </p:nvSpPr>
          <p:spPr>
            <a:xfrm>
              <a:off x="25345651" y="3959443"/>
              <a:ext cx="107140" cy="238847"/>
            </a:xfrm>
            <a:custGeom>
              <a:avLst/>
              <a:gdLst>
                <a:gd name="connsiteX0" fmla="*/ 96537 w 107140"/>
                <a:gd name="connsiteY0" fmla="*/ 0 h 238847"/>
                <a:gd name="connsiteX1" fmla="*/ 63351 w 107140"/>
                <a:gd name="connsiteY1" fmla="*/ 235307 h 238847"/>
                <a:gd name="connsiteX2" fmla="*/ 0 w 107140"/>
                <a:gd name="connsiteY2" fmla="*/ 18101 h 238847"/>
                <a:gd name="connsiteX3" fmla="*/ 96537 w 107140"/>
                <a:gd name="connsiteY3" fmla="*/ 0 h 238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140" h="238847">
                  <a:moveTo>
                    <a:pt x="96537" y="0"/>
                  </a:moveTo>
                  <a:cubicBezTo>
                    <a:pt x="96537" y="0"/>
                    <a:pt x="135754" y="193073"/>
                    <a:pt x="63351" y="235307"/>
                  </a:cubicBezTo>
                  <a:cubicBezTo>
                    <a:pt x="3016" y="271508"/>
                    <a:pt x="0" y="18101"/>
                    <a:pt x="0" y="18101"/>
                  </a:cubicBezTo>
                  <a:lnTo>
                    <a:pt x="96537" y="0"/>
                  </a:lnTo>
                  <a:close/>
                </a:path>
              </a:pathLst>
            </a:custGeom>
            <a:solidFill>
              <a:srgbClr val="D3977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4EF0F83F-C337-4476-B385-24EF7E79F7CF}"/>
                </a:ext>
              </a:extLst>
            </p:cNvPr>
            <p:cNvSpPr/>
            <p:nvPr/>
          </p:nvSpPr>
          <p:spPr>
            <a:xfrm>
              <a:off x="24998491" y="3833756"/>
              <a:ext cx="422328" cy="561435"/>
            </a:xfrm>
            <a:custGeom>
              <a:avLst/>
              <a:gdLst>
                <a:gd name="connsiteX0" fmla="*/ 404478 w 422328"/>
                <a:gd name="connsiteY0" fmla="*/ 170939 h 561435"/>
                <a:gd name="connsiteX1" fmla="*/ 416545 w 422328"/>
                <a:gd name="connsiteY1" fmla="*/ 418314 h 561435"/>
                <a:gd name="connsiteX2" fmla="*/ 265707 w 422328"/>
                <a:gd name="connsiteY2" fmla="*/ 560101 h 561435"/>
                <a:gd name="connsiteX3" fmla="*/ 45484 w 422328"/>
                <a:gd name="connsiteY3" fmla="*/ 427364 h 561435"/>
                <a:gd name="connsiteX4" fmla="*/ 233 w 422328"/>
                <a:gd name="connsiteY4" fmla="*/ 207140 h 561435"/>
                <a:gd name="connsiteX5" fmla="*/ 202356 w 422328"/>
                <a:gd name="connsiteY5" fmla="*/ 2001 h 561435"/>
                <a:gd name="connsiteX6" fmla="*/ 404478 w 422328"/>
                <a:gd name="connsiteY6" fmla="*/ 170939 h 561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2328" h="561435">
                  <a:moveTo>
                    <a:pt x="404478" y="170939"/>
                  </a:moveTo>
                  <a:cubicBezTo>
                    <a:pt x="404478" y="170939"/>
                    <a:pt x="434645" y="345911"/>
                    <a:pt x="416545" y="418314"/>
                  </a:cubicBezTo>
                  <a:cubicBezTo>
                    <a:pt x="401462" y="484682"/>
                    <a:pt x="313975" y="554068"/>
                    <a:pt x="265707" y="560101"/>
                  </a:cubicBezTo>
                  <a:cubicBezTo>
                    <a:pt x="199338" y="569152"/>
                    <a:pt x="81686" y="532950"/>
                    <a:pt x="45484" y="427364"/>
                  </a:cubicBezTo>
                  <a:cubicBezTo>
                    <a:pt x="21351" y="354961"/>
                    <a:pt x="233" y="258425"/>
                    <a:pt x="233" y="207140"/>
                  </a:cubicBezTo>
                  <a:cubicBezTo>
                    <a:pt x="-2785" y="113621"/>
                    <a:pt x="21351" y="35185"/>
                    <a:pt x="202356" y="2001"/>
                  </a:cubicBezTo>
                  <a:cubicBezTo>
                    <a:pt x="283807" y="-16100"/>
                    <a:pt x="383362" y="92503"/>
                    <a:pt x="404478" y="170939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7DC45368-6DFB-4518-9AEC-9C04B82B6D78}"/>
                </a:ext>
              </a:extLst>
            </p:cNvPr>
            <p:cNvSpPr/>
            <p:nvPr/>
          </p:nvSpPr>
          <p:spPr>
            <a:xfrm>
              <a:off x="25227997" y="4092181"/>
              <a:ext cx="54301" cy="132737"/>
            </a:xfrm>
            <a:custGeom>
              <a:avLst/>
              <a:gdLst>
                <a:gd name="connsiteX0" fmla="*/ 24134 w 54301"/>
                <a:gd name="connsiteY0" fmla="*/ 132737 h 132737"/>
                <a:gd name="connsiteX1" fmla="*/ 6034 w 54301"/>
                <a:gd name="connsiteY1" fmla="*/ 132737 h 132737"/>
                <a:gd name="connsiteX2" fmla="*/ 0 w 54301"/>
                <a:gd name="connsiteY2" fmla="*/ 126704 h 132737"/>
                <a:gd name="connsiteX3" fmla="*/ 6034 w 54301"/>
                <a:gd name="connsiteY3" fmla="*/ 120670 h 132737"/>
                <a:gd name="connsiteX4" fmla="*/ 45251 w 54301"/>
                <a:gd name="connsiteY4" fmla="*/ 117654 h 132737"/>
                <a:gd name="connsiteX5" fmla="*/ 45251 w 54301"/>
                <a:gd name="connsiteY5" fmla="*/ 114637 h 132737"/>
                <a:gd name="connsiteX6" fmla="*/ 24134 w 54301"/>
                <a:gd name="connsiteY6" fmla="*/ 6033 h 132737"/>
                <a:gd name="connsiteX7" fmla="*/ 27152 w 54301"/>
                <a:gd name="connsiteY7" fmla="*/ 0 h 132737"/>
                <a:gd name="connsiteX8" fmla="*/ 33185 w 54301"/>
                <a:gd name="connsiteY8" fmla="*/ 3017 h 132737"/>
                <a:gd name="connsiteX9" fmla="*/ 54301 w 54301"/>
                <a:gd name="connsiteY9" fmla="*/ 114637 h 132737"/>
                <a:gd name="connsiteX10" fmla="*/ 48269 w 54301"/>
                <a:gd name="connsiteY10" fmla="*/ 126704 h 132737"/>
                <a:gd name="connsiteX11" fmla="*/ 24134 w 54301"/>
                <a:gd name="connsiteY11" fmla="*/ 132737 h 13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301" h="132737">
                  <a:moveTo>
                    <a:pt x="24134" y="132737"/>
                  </a:moveTo>
                  <a:cubicBezTo>
                    <a:pt x="15084" y="132737"/>
                    <a:pt x="9050" y="132737"/>
                    <a:pt x="6034" y="132737"/>
                  </a:cubicBezTo>
                  <a:cubicBezTo>
                    <a:pt x="3018" y="132737"/>
                    <a:pt x="0" y="129721"/>
                    <a:pt x="0" y="126704"/>
                  </a:cubicBezTo>
                  <a:cubicBezTo>
                    <a:pt x="0" y="123687"/>
                    <a:pt x="3018" y="120670"/>
                    <a:pt x="6034" y="120670"/>
                  </a:cubicBezTo>
                  <a:cubicBezTo>
                    <a:pt x="18102" y="123687"/>
                    <a:pt x="39218" y="123687"/>
                    <a:pt x="45251" y="117654"/>
                  </a:cubicBezTo>
                  <a:cubicBezTo>
                    <a:pt x="45251" y="117654"/>
                    <a:pt x="45251" y="114637"/>
                    <a:pt x="45251" y="114637"/>
                  </a:cubicBezTo>
                  <a:cubicBezTo>
                    <a:pt x="45251" y="96536"/>
                    <a:pt x="24134" y="6033"/>
                    <a:pt x="24134" y="6033"/>
                  </a:cubicBezTo>
                  <a:cubicBezTo>
                    <a:pt x="24134" y="3017"/>
                    <a:pt x="24134" y="0"/>
                    <a:pt x="27152" y="0"/>
                  </a:cubicBezTo>
                  <a:cubicBezTo>
                    <a:pt x="30168" y="0"/>
                    <a:pt x="33185" y="0"/>
                    <a:pt x="33185" y="3017"/>
                  </a:cubicBezTo>
                  <a:cubicBezTo>
                    <a:pt x="33185" y="6033"/>
                    <a:pt x="54301" y="93520"/>
                    <a:pt x="54301" y="114637"/>
                  </a:cubicBezTo>
                  <a:cubicBezTo>
                    <a:pt x="54301" y="120670"/>
                    <a:pt x="54301" y="123687"/>
                    <a:pt x="48269" y="126704"/>
                  </a:cubicBezTo>
                  <a:cubicBezTo>
                    <a:pt x="48269" y="132737"/>
                    <a:pt x="36201" y="132737"/>
                    <a:pt x="24134" y="132737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2D568336-58FA-4686-899F-235F53B57910}"/>
                </a:ext>
              </a:extLst>
            </p:cNvPr>
            <p:cNvSpPr/>
            <p:nvPr/>
          </p:nvSpPr>
          <p:spPr>
            <a:xfrm>
              <a:off x="25311697" y="4064438"/>
              <a:ext cx="40579" cy="40401"/>
            </a:xfrm>
            <a:custGeom>
              <a:avLst/>
              <a:gdLst>
                <a:gd name="connsiteX0" fmla="*/ 768 w 40579"/>
                <a:gd name="connsiteY0" fmla="*/ 24726 h 40401"/>
                <a:gd name="connsiteX1" fmla="*/ 24904 w 40579"/>
                <a:gd name="connsiteY1" fmla="*/ 39810 h 40401"/>
                <a:gd name="connsiteX2" fmla="*/ 39988 w 40579"/>
                <a:gd name="connsiteY2" fmla="*/ 15676 h 40401"/>
                <a:gd name="connsiteX3" fmla="*/ 15852 w 40579"/>
                <a:gd name="connsiteY3" fmla="*/ 592 h 40401"/>
                <a:gd name="connsiteX4" fmla="*/ 768 w 40579"/>
                <a:gd name="connsiteY4" fmla="*/ 24726 h 4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9" h="40401">
                  <a:moveTo>
                    <a:pt x="768" y="24726"/>
                  </a:moveTo>
                  <a:cubicBezTo>
                    <a:pt x="3786" y="33776"/>
                    <a:pt x="12836" y="42826"/>
                    <a:pt x="24904" y="39810"/>
                  </a:cubicBezTo>
                  <a:cubicBezTo>
                    <a:pt x="33954" y="36793"/>
                    <a:pt x="43004" y="27743"/>
                    <a:pt x="39988" y="15676"/>
                  </a:cubicBezTo>
                  <a:cubicBezTo>
                    <a:pt x="36970" y="6625"/>
                    <a:pt x="27920" y="-2425"/>
                    <a:pt x="15852" y="592"/>
                  </a:cubicBezTo>
                  <a:cubicBezTo>
                    <a:pt x="3786" y="3608"/>
                    <a:pt x="-2248" y="15676"/>
                    <a:pt x="768" y="24726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B73D1A01-9E1C-49B7-9F5A-E18A79E472AB}"/>
                </a:ext>
              </a:extLst>
            </p:cNvPr>
            <p:cNvSpPr/>
            <p:nvPr/>
          </p:nvSpPr>
          <p:spPr>
            <a:xfrm>
              <a:off x="25130691" y="4091589"/>
              <a:ext cx="40579" cy="40401"/>
            </a:xfrm>
            <a:custGeom>
              <a:avLst/>
              <a:gdLst>
                <a:gd name="connsiteX0" fmla="*/ 768 w 40579"/>
                <a:gd name="connsiteY0" fmla="*/ 24726 h 40401"/>
                <a:gd name="connsiteX1" fmla="*/ 24904 w 40579"/>
                <a:gd name="connsiteY1" fmla="*/ 39810 h 40401"/>
                <a:gd name="connsiteX2" fmla="*/ 39988 w 40579"/>
                <a:gd name="connsiteY2" fmla="*/ 15676 h 40401"/>
                <a:gd name="connsiteX3" fmla="*/ 15852 w 40579"/>
                <a:gd name="connsiteY3" fmla="*/ 592 h 40401"/>
                <a:gd name="connsiteX4" fmla="*/ 768 w 40579"/>
                <a:gd name="connsiteY4" fmla="*/ 24726 h 4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9" h="40401">
                  <a:moveTo>
                    <a:pt x="768" y="24726"/>
                  </a:moveTo>
                  <a:cubicBezTo>
                    <a:pt x="3786" y="33776"/>
                    <a:pt x="12836" y="42826"/>
                    <a:pt x="24904" y="39810"/>
                  </a:cubicBezTo>
                  <a:cubicBezTo>
                    <a:pt x="33954" y="36793"/>
                    <a:pt x="43004" y="27743"/>
                    <a:pt x="39988" y="15676"/>
                  </a:cubicBezTo>
                  <a:cubicBezTo>
                    <a:pt x="36970" y="6625"/>
                    <a:pt x="27920" y="-2425"/>
                    <a:pt x="15852" y="592"/>
                  </a:cubicBezTo>
                  <a:cubicBezTo>
                    <a:pt x="3786" y="3608"/>
                    <a:pt x="-2248" y="12659"/>
                    <a:pt x="768" y="24726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E95AA592-32B8-40BD-A9D6-75087F70C176}"/>
                </a:ext>
              </a:extLst>
            </p:cNvPr>
            <p:cNvSpPr/>
            <p:nvPr/>
          </p:nvSpPr>
          <p:spPr>
            <a:xfrm>
              <a:off x="25281049" y="4015162"/>
              <a:ext cx="90998" cy="31767"/>
            </a:xfrm>
            <a:custGeom>
              <a:avLst/>
              <a:gdLst>
                <a:gd name="connsiteX0" fmla="*/ 85720 w 90998"/>
                <a:gd name="connsiteY0" fmla="*/ 31767 h 31767"/>
                <a:gd name="connsiteX1" fmla="*/ 79686 w 90998"/>
                <a:gd name="connsiteY1" fmla="*/ 28751 h 31767"/>
                <a:gd name="connsiteX2" fmla="*/ 13317 w 90998"/>
                <a:gd name="connsiteY2" fmla="*/ 25734 h 31767"/>
                <a:gd name="connsiteX3" fmla="*/ 1249 w 90998"/>
                <a:gd name="connsiteY3" fmla="*/ 22717 h 31767"/>
                <a:gd name="connsiteX4" fmla="*/ 4267 w 90998"/>
                <a:gd name="connsiteY4" fmla="*/ 10650 h 31767"/>
                <a:gd name="connsiteX5" fmla="*/ 88736 w 90998"/>
                <a:gd name="connsiteY5" fmla="*/ 16684 h 31767"/>
                <a:gd name="connsiteX6" fmla="*/ 88736 w 90998"/>
                <a:gd name="connsiteY6" fmla="*/ 28751 h 31767"/>
                <a:gd name="connsiteX7" fmla="*/ 85720 w 90998"/>
                <a:gd name="connsiteY7" fmla="*/ 31767 h 31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1767">
                  <a:moveTo>
                    <a:pt x="85720" y="31767"/>
                  </a:moveTo>
                  <a:cubicBezTo>
                    <a:pt x="82702" y="31767"/>
                    <a:pt x="82702" y="31767"/>
                    <a:pt x="79686" y="28751"/>
                  </a:cubicBezTo>
                  <a:cubicBezTo>
                    <a:pt x="52535" y="1600"/>
                    <a:pt x="16333" y="22717"/>
                    <a:pt x="13317" y="25734"/>
                  </a:cubicBezTo>
                  <a:cubicBezTo>
                    <a:pt x="10301" y="28751"/>
                    <a:pt x="4267" y="25734"/>
                    <a:pt x="1249" y="22717"/>
                  </a:cubicBezTo>
                  <a:cubicBezTo>
                    <a:pt x="-1767" y="19700"/>
                    <a:pt x="1249" y="13667"/>
                    <a:pt x="4267" y="10650"/>
                  </a:cubicBezTo>
                  <a:cubicBezTo>
                    <a:pt x="22367" y="1600"/>
                    <a:pt x="61584" y="-10467"/>
                    <a:pt x="88736" y="16684"/>
                  </a:cubicBezTo>
                  <a:cubicBezTo>
                    <a:pt x="91752" y="19700"/>
                    <a:pt x="91752" y="25734"/>
                    <a:pt x="88736" y="28751"/>
                  </a:cubicBezTo>
                  <a:cubicBezTo>
                    <a:pt x="88736" y="31767"/>
                    <a:pt x="88736" y="31767"/>
                    <a:pt x="85720" y="31767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26CFC251-CE75-4186-81AC-8DF7FF70D99D}"/>
                </a:ext>
              </a:extLst>
            </p:cNvPr>
            <p:cNvSpPr/>
            <p:nvPr/>
          </p:nvSpPr>
          <p:spPr>
            <a:xfrm>
              <a:off x="25096014" y="4023910"/>
              <a:ext cx="90998" cy="38103"/>
            </a:xfrm>
            <a:custGeom>
              <a:avLst/>
              <a:gdLst>
                <a:gd name="connsiteX0" fmla="*/ 8296 w 90998"/>
                <a:gd name="connsiteY0" fmla="*/ 38104 h 38103"/>
                <a:gd name="connsiteX1" fmla="*/ 2262 w 90998"/>
                <a:gd name="connsiteY1" fmla="*/ 35087 h 38103"/>
                <a:gd name="connsiteX2" fmla="*/ 2262 w 90998"/>
                <a:gd name="connsiteY2" fmla="*/ 23020 h 38103"/>
                <a:gd name="connsiteX3" fmla="*/ 86731 w 90998"/>
                <a:gd name="connsiteY3" fmla="*/ 10953 h 38103"/>
                <a:gd name="connsiteX4" fmla="*/ 89749 w 90998"/>
                <a:gd name="connsiteY4" fmla="*/ 23020 h 38103"/>
                <a:gd name="connsiteX5" fmla="*/ 77681 w 90998"/>
                <a:gd name="connsiteY5" fmla="*/ 26036 h 38103"/>
                <a:gd name="connsiteX6" fmla="*/ 11312 w 90998"/>
                <a:gd name="connsiteY6" fmla="*/ 35087 h 38103"/>
                <a:gd name="connsiteX7" fmla="*/ 8296 w 90998"/>
                <a:gd name="connsiteY7" fmla="*/ 38104 h 38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8103">
                  <a:moveTo>
                    <a:pt x="8296" y="38104"/>
                  </a:moveTo>
                  <a:cubicBezTo>
                    <a:pt x="5278" y="38104"/>
                    <a:pt x="5278" y="38104"/>
                    <a:pt x="2262" y="35087"/>
                  </a:cubicBezTo>
                  <a:cubicBezTo>
                    <a:pt x="-754" y="32070"/>
                    <a:pt x="-754" y="26036"/>
                    <a:pt x="2262" y="23020"/>
                  </a:cubicBezTo>
                  <a:cubicBezTo>
                    <a:pt x="14330" y="7936"/>
                    <a:pt x="50529" y="-13181"/>
                    <a:pt x="86731" y="10953"/>
                  </a:cubicBezTo>
                  <a:cubicBezTo>
                    <a:pt x="89749" y="13969"/>
                    <a:pt x="92765" y="16986"/>
                    <a:pt x="89749" y="23020"/>
                  </a:cubicBezTo>
                  <a:cubicBezTo>
                    <a:pt x="86731" y="26036"/>
                    <a:pt x="83715" y="29053"/>
                    <a:pt x="77681" y="26036"/>
                  </a:cubicBezTo>
                  <a:cubicBezTo>
                    <a:pt x="41480" y="4919"/>
                    <a:pt x="14330" y="35087"/>
                    <a:pt x="11312" y="35087"/>
                  </a:cubicBezTo>
                  <a:cubicBezTo>
                    <a:pt x="11312" y="38104"/>
                    <a:pt x="8296" y="38104"/>
                    <a:pt x="8296" y="38104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318CA890-F8D8-4A45-86AC-7133E2BE9DF6}"/>
                </a:ext>
              </a:extLst>
            </p:cNvPr>
            <p:cNvSpPr/>
            <p:nvPr/>
          </p:nvSpPr>
          <p:spPr>
            <a:xfrm>
              <a:off x="25101292" y="4342572"/>
              <a:ext cx="228520" cy="57318"/>
            </a:xfrm>
            <a:custGeom>
              <a:avLst/>
              <a:gdLst>
                <a:gd name="connsiteX0" fmla="*/ 144806 w 228520"/>
                <a:gd name="connsiteY0" fmla="*/ 57318 h 57318"/>
                <a:gd name="connsiteX1" fmla="*/ 3018 w 228520"/>
                <a:gd name="connsiteY1" fmla="*/ 12067 h 57318"/>
                <a:gd name="connsiteX2" fmla="*/ 0 w 228520"/>
                <a:gd name="connsiteY2" fmla="*/ 3017 h 57318"/>
                <a:gd name="connsiteX3" fmla="*/ 9052 w 228520"/>
                <a:gd name="connsiteY3" fmla="*/ 0 h 57318"/>
                <a:gd name="connsiteX4" fmla="*/ 144806 w 228520"/>
                <a:gd name="connsiteY4" fmla="*/ 45251 h 57318"/>
                <a:gd name="connsiteX5" fmla="*/ 147822 w 228520"/>
                <a:gd name="connsiteY5" fmla="*/ 45251 h 57318"/>
                <a:gd name="connsiteX6" fmla="*/ 217207 w 228520"/>
                <a:gd name="connsiteY6" fmla="*/ 18101 h 57318"/>
                <a:gd name="connsiteX7" fmla="*/ 226257 w 228520"/>
                <a:gd name="connsiteY7" fmla="*/ 18101 h 57318"/>
                <a:gd name="connsiteX8" fmla="*/ 226257 w 228520"/>
                <a:gd name="connsiteY8" fmla="*/ 27151 h 57318"/>
                <a:gd name="connsiteX9" fmla="*/ 150838 w 228520"/>
                <a:gd name="connsiteY9" fmla="*/ 57318 h 57318"/>
                <a:gd name="connsiteX10" fmla="*/ 144806 w 228520"/>
                <a:gd name="connsiteY10" fmla="*/ 57318 h 57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8520" h="57318">
                  <a:moveTo>
                    <a:pt x="144806" y="57318"/>
                  </a:moveTo>
                  <a:cubicBezTo>
                    <a:pt x="93521" y="57318"/>
                    <a:pt x="6034" y="12067"/>
                    <a:pt x="3018" y="12067"/>
                  </a:cubicBezTo>
                  <a:cubicBezTo>
                    <a:pt x="0" y="12067"/>
                    <a:pt x="0" y="6033"/>
                    <a:pt x="0" y="3017"/>
                  </a:cubicBezTo>
                  <a:cubicBezTo>
                    <a:pt x="0" y="0"/>
                    <a:pt x="6034" y="0"/>
                    <a:pt x="9052" y="0"/>
                  </a:cubicBezTo>
                  <a:cubicBezTo>
                    <a:pt x="9052" y="0"/>
                    <a:pt x="96537" y="45251"/>
                    <a:pt x="144806" y="45251"/>
                  </a:cubicBezTo>
                  <a:cubicBezTo>
                    <a:pt x="144806" y="45251"/>
                    <a:pt x="147822" y="45251"/>
                    <a:pt x="147822" y="45251"/>
                  </a:cubicBezTo>
                  <a:cubicBezTo>
                    <a:pt x="187039" y="42234"/>
                    <a:pt x="217207" y="18101"/>
                    <a:pt x="217207" y="18101"/>
                  </a:cubicBezTo>
                  <a:cubicBezTo>
                    <a:pt x="220225" y="15084"/>
                    <a:pt x="223241" y="15084"/>
                    <a:pt x="226257" y="18101"/>
                  </a:cubicBezTo>
                  <a:cubicBezTo>
                    <a:pt x="229275" y="21117"/>
                    <a:pt x="229275" y="24134"/>
                    <a:pt x="226257" y="27151"/>
                  </a:cubicBezTo>
                  <a:cubicBezTo>
                    <a:pt x="226257" y="27151"/>
                    <a:pt x="193073" y="54302"/>
                    <a:pt x="150838" y="57318"/>
                  </a:cubicBezTo>
                  <a:cubicBezTo>
                    <a:pt x="147822" y="57318"/>
                    <a:pt x="144806" y="57318"/>
                    <a:pt x="144806" y="57318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BE064AC7-399F-466B-B0E6-7E9A75C396AD}"/>
                </a:ext>
              </a:extLst>
            </p:cNvPr>
            <p:cNvSpPr/>
            <p:nvPr/>
          </p:nvSpPr>
          <p:spPr>
            <a:xfrm>
              <a:off x="24958776" y="4096206"/>
              <a:ext cx="80505" cy="111247"/>
            </a:xfrm>
            <a:custGeom>
              <a:avLst/>
              <a:gdLst>
                <a:gd name="connsiteX0" fmla="*/ 67098 w 80505"/>
                <a:gd name="connsiteY0" fmla="*/ 14075 h 111247"/>
                <a:gd name="connsiteX1" fmla="*/ 6762 w 80505"/>
                <a:gd name="connsiteY1" fmla="*/ 8042 h 111247"/>
                <a:gd name="connsiteX2" fmla="*/ 67098 w 80505"/>
                <a:gd name="connsiteY2" fmla="*/ 107594 h 111247"/>
                <a:gd name="connsiteX3" fmla="*/ 67098 w 80505"/>
                <a:gd name="connsiteY3" fmla="*/ 14075 h 111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05" h="111247">
                  <a:moveTo>
                    <a:pt x="67098" y="14075"/>
                  </a:moveTo>
                  <a:cubicBezTo>
                    <a:pt x="67098" y="14075"/>
                    <a:pt x="33914" y="-13076"/>
                    <a:pt x="6762" y="8042"/>
                  </a:cubicBezTo>
                  <a:cubicBezTo>
                    <a:pt x="-17371" y="29159"/>
                    <a:pt x="27880" y="131729"/>
                    <a:pt x="67098" y="107594"/>
                  </a:cubicBezTo>
                  <a:cubicBezTo>
                    <a:pt x="97265" y="86477"/>
                    <a:pt x="67098" y="14075"/>
                    <a:pt x="67098" y="14075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C64EEBE7-4BCC-42F3-A142-042C0FBD7FF0}"/>
                </a:ext>
              </a:extLst>
            </p:cNvPr>
            <p:cNvSpPr/>
            <p:nvPr/>
          </p:nvSpPr>
          <p:spPr>
            <a:xfrm>
              <a:off x="24955818" y="3712159"/>
              <a:ext cx="507730" cy="416223"/>
            </a:xfrm>
            <a:custGeom>
              <a:avLst/>
              <a:gdLst>
                <a:gd name="connsiteX0" fmla="*/ 9720 w 507730"/>
                <a:gd name="connsiteY0" fmla="*/ 319687 h 416223"/>
                <a:gd name="connsiteX1" fmla="*/ 70056 w 507730"/>
                <a:gd name="connsiteY1" fmla="*/ 416223 h 416223"/>
                <a:gd name="connsiteX2" fmla="*/ 112291 w 507730"/>
                <a:gd name="connsiteY2" fmla="*/ 274436 h 416223"/>
                <a:gd name="connsiteX3" fmla="*/ 118325 w 507730"/>
                <a:gd name="connsiteY3" fmla="*/ 271419 h 416223"/>
                <a:gd name="connsiteX4" fmla="*/ 193744 w 507730"/>
                <a:gd name="connsiteY4" fmla="*/ 241251 h 416223"/>
                <a:gd name="connsiteX5" fmla="*/ 205810 w 507730"/>
                <a:gd name="connsiteY5" fmla="*/ 238235 h 416223"/>
                <a:gd name="connsiteX6" fmla="*/ 242011 w 507730"/>
                <a:gd name="connsiteY6" fmla="*/ 259352 h 416223"/>
                <a:gd name="connsiteX7" fmla="*/ 257095 w 507730"/>
                <a:gd name="connsiteY7" fmla="*/ 247285 h 416223"/>
                <a:gd name="connsiteX8" fmla="*/ 308380 w 507730"/>
                <a:gd name="connsiteY8" fmla="*/ 262369 h 416223"/>
                <a:gd name="connsiteX9" fmla="*/ 344582 w 507730"/>
                <a:gd name="connsiteY9" fmla="*/ 268402 h 416223"/>
                <a:gd name="connsiteX10" fmla="*/ 356648 w 507730"/>
                <a:gd name="connsiteY10" fmla="*/ 265385 h 416223"/>
                <a:gd name="connsiteX11" fmla="*/ 368716 w 507730"/>
                <a:gd name="connsiteY11" fmla="*/ 262369 h 416223"/>
                <a:gd name="connsiteX12" fmla="*/ 377765 w 507730"/>
                <a:gd name="connsiteY12" fmla="*/ 265385 h 416223"/>
                <a:gd name="connsiteX13" fmla="*/ 383799 w 507730"/>
                <a:gd name="connsiteY13" fmla="*/ 268402 h 416223"/>
                <a:gd name="connsiteX14" fmla="*/ 389833 w 507730"/>
                <a:gd name="connsiteY14" fmla="*/ 268402 h 416223"/>
                <a:gd name="connsiteX15" fmla="*/ 398883 w 507730"/>
                <a:gd name="connsiteY15" fmla="*/ 271419 h 416223"/>
                <a:gd name="connsiteX16" fmla="*/ 404917 w 507730"/>
                <a:gd name="connsiteY16" fmla="*/ 280469 h 416223"/>
                <a:gd name="connsiteX17" fmla="*/ 423017 w 507730"/>
                <a:gd name="connsiteY17" fmla="*/ 301587 h 416223"/>
                <a:gd name="connsiteX18" fmla="*/ 453184 w 507730"/>
                <a:gd name="connsiteY18" fmla="*/ 310637 h 416223"/>
                <a:gd name="connsiteX19" fmla="*/ 474302 w 507730"/>
                <a:gd name="connsiteY19" fmla="*/ 364938 h 416223"/>
                <a:gd name="connsiteX20" fmla="*/ 480336 w 507730"/>
                <a:gd name="connsiteY20" fmla="*/ 334771 h 416223"/>
                <a:gd name="connsiteX21" fmla="*/ 489386 w 507730"/>
                <a:gd name="connsiteY21" fmla="*/ 331754 h 416223"/>
                <a:gd name="connsiteX22" fmla="*/ 501454 w 507730"/>
                <a:gd name="connsiteY22" fmla="*/ 235218 h 416223"/>
                <a:gd name="connsiteX23" fmla="*/ 480336 w 507730"/>
                <a:gd name="connsiteY23" fmla="*/ 192983 h 416223"/>
                <a:gd name="connsiteX24" fmla="*/ 483352 w 507730"/>
                <a:gd name="connsiteY24" fmla="*/ 156782 h 416223"/>
                <a:gd name="connsiteX25" fmla="*/ 474302 w 507730"/>
                <a:gd name="connsiteY25" fmla="*/ 123598 h 416223"/>
                <a:gd name="connsiteX26" fmla="*/ 453184 w 507730"/>
                <a:gd name="connsiteY26" fmla="*/ 96447 h 416223"/>
                <a:gd name="connsiteX27" fmla="*/ 435085 w 507730"/>
                <a:gd name="connsiteY27" fmla="*/ 54212 h 416223"/>
                <a:gd name="connsiteX28" fmla="*/ 374749 w 507730"/>
                <a:gd name="connsiteY28" fmla="*/ 33095 h 416223"/>
                <a:gd name="connsiteX29" fmla="*/ 251061 w 507730"/>
                <a:gd name="connsiteY29" fmla="*/ 2927 h 416223"/>
                <a:gd name="connsiteX30" fmla="*/ 238995 w 507730"/>
                <a:gd name="connsiteY30" fmla="*/ 8961 h 416223"/>
                <a:gd name="connsiteX31" fmla="*/ 184694 w 507730"/>
                <a:gd name="connsiteY31" fmla="*/ 24045 h 416223"/>
                <a:gd name="connsiteX32" fmla="*/ 151508 w 507730"/>
                <a:gd name="connsiteY32" fmla="*/ 27061 h 416223"/>
                <a:gd name="connsiteX33" fmla="*/ 124359 w 507730"/>
                <a:gd name="connsiteY33" fmla="*/ 60246 h 416223"/>
                <a:gd name="connsiteX34" fmla="*/ 112291 w 507730"/>
                <a:gd name="connsiteY34" fmla="*/ 81363 h 416223"/>
                <a:gd name="connsiteX35" fmla="*/ 82123 w 507730"/>
                <a:gd name="connsiteY35" fmla="*/ 102480 h 416223"/>
                <a:gd name="connsiteX36" fmla="*/ 70056 w 507730"/>
                <a:gd name="connsiteY36" fmla="*/ 99464 h 416223"/>
                <a:gd name="connsiteX37" fmla="*/ 54972 w 507730"/>
                <a:gd name="connsiteY37" fmla="*/ 141698 h 416223"/>
                <a:gd name="connsiteX38" fmla="*/ 9720 w 507730"/>
                <a:gd name="connsiteY38" fmla="*/ 319687 h 416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07730" h="416223">
                  <a:moveTo>
                    <a:pt x="9720" y="319687"/>
                  </a:moveTo>
                  <a:cubicBezTo>
                    <a:pt x="24804" y="373989"/>
                    <a:pt x="70056" y="416223"/>
                    <a:pt x="70056" y="416223"/>
                  </a:cubicBezTo>
                  <a:cubicBezTo>
                    <a:pt x="61006" y="386056"/>
                    <a:pt x="112291" y="274436"/>
                    <a:pt x="112291" y="274436"/>
                  </a:cubicBezTo>
                  <a:cubicBezTo>
                    <a:pt x="112291" y="274436"/>
                    <a:pt x="115307" y="274436"/>
                    <a:pt x="118325" y="271419"/>
                  </a:cubicBezTo>
                  <a:cubicBezTo>
                    <a:pt x="145475" y="268402"/>
                    <a:pt x="172626" y="259352"/>
                    <a:pt x="193744" y="241251"/>
                  </a:cubicBezTo>
                  <a:cubicBezTo>
                    <a:pt x="196760" y="241251"/>
                    <a:pt x="202794" y="238235"/>
                    <a:pt x="205810" y="238235"/>
                  </a:cubicBezTo>
                  <a:cubicBezTo>
                    <a:pt x="214861" y="250302"/>
                    <a:pt x="226927" y="262369"/>
                    <a:pt x="242011" y="259352"/>
                  </a:cubicBezTo>
                  <a:cubicBezTo>
                    <a:pt x="248045" y="256335"/>
                    <a:pt x="251061" y="250302"/>
                    <a:pt x="257095" y="247285"/>
                  </a:cubicBezTo>
                  <a:cubicBezTo>
                    <a:pt x="278213" y="238235"/>
                    <a:pt x="290280" y="253318"/>
                    <a:pt x="308380" y="262369"/>
                  </a:cubicBezTo>
                  <a:cubicBezTo>
                    <a:pt x="320448" y="268402"/>
                    <a:pt x="332514" y="271419"/>
                    <a:pt x="344582" y="268402"/>
                  </a:cubicBezTo>
                  <a:cubicBezTo>
                    <a:pt x="347598" y="268402"/>
                    <a:pt x="353632" y="265385"/>
                    <a:pt x="356648" y="265385"/>
                  </a:cubicBezTo>
                  <a:cubicBezTo>
                    <a:pt x="362682" y="262369"/>
                    <a:pt x="365699" y="262369"/>
                    <a:pt x="368716" y="262369"/>
                  </a:cubicBezTo>
                  <a:cubicBezTo>
                    <a:pt x="371732" y="262369"/>
                    <a:pt x="374749" y="265385"/>
                    <a:pt x="377765" y="265385"/>
                  </a:cubicBezTo>
                  <a:cubicBezTo>
                    <a:pt x="380783" y="265385"/>
                    <a:pt x="380783" y="268402"/>
                    <a:pt x="383799" y="268402"/>
                  </a:cubicBezTo>
                  <a:cubicBezTo>
                    <a:pt x="386815" y="268402"/>
                    <a:pt x="386815" y="268402"/>
                    <a:pt x="389833" y="268402"/>
                  </a:cubicBezTo>
                  <a:cubicBezTo>
                    <a:pt x="392849" y="268402"/>
                    <a:pt x="395867" y="271419"/>
                    <a:pt x="398883" y="271419"/>
                  </a:cubicBezTo>
                  <a:cubicBezTo>
                    <a:pt x="401899" y="274436"/>
                    <a:pt x="404917" y="277452"/>
                    <a:pt x="404917" y="280469"/>
                  </a:cubicBezTo>
                  <a:cubicBezTo>
                    <a:pt x="410951" y="289519"/>
                    <a:pt x="413967" y="295553"/>
                    <a:pt x="423017" y="301587"/>
                  </a:cubicBezTo>
                  <a:cubicBezTo>
                    <a:pt x="429051" y="304603"/>
                    <a:pt x="441118" y="307620"/>
                    <a:pt x="453184" y="310637"/>
                  </a:cubicBezTo>
                  <a:cubicBezTo>
                    <a:pt x="468268" y="328737"/>
                    <a:pt x="477318" y="346838"/>
                    <a:pt x="474302" y="364938"/>
                  </a:cubicBezTo>
                  <a:cubicBezTo>
                    <a:pt x="474302" y="364938"/>
                    <a:pt x="477318" y="352871"/>
                    <a:pt x="480336" y="334771"/>
                  </a:cubicBezTo>
                  <a:cubicBezTo>
                    <a:pt x="483352" y="337788"/>
                    <a:pt x="486370" y="337788"/>
                    <a:pt x="489386" y="331754"/>
                  </a:cubicBezTo>
                  <a:cubicBezTo>
                    <a:pt x="507486" y="301587"/>
                    <a:pt x="513520" y="268402"/>
                    <a:pt x="501454" y="235218"/>
                  </a:cubicBezTo>
                  <a:cubicBezTo>
                    <a:pt x="495420" y="220134"/>
                    <a:pt x="489386" y="208067"/>
                    <a:pt x="480336" y="192983"/>
                  </a:cubicBezTo>
                  <a:cubicBezTo>
                    <a:pt x="471286" y="174883"/>
                    <a:pt x="480336" y="174883"/>
                    <a:pt x="483352" y="156782"/>
                  </a:cubicBezTo>
                  <a:cubicBezTo>
                    <a:pt x="483352" y="144715"/>
                    <a:pt x="480336" y="132648"/>
                    <a:pt x="474302" y="123598"/>
                  </a:cubicBezTo>
                  <a:cubicBezTo>
                    <a:pt x="468268" y="114547"/>
                    <a:pt x="462234" y="105497"/>
                    <a:pt x="453184" y="96447"/>
                  </a:cubicBezTo>
                  <a:cubicBezTo>
                    <a:pt x="441118" y="81363"/>
                    <a:pt x="441118" y="69296"/>
                    <a:pt x="435085" y="54212"/>
                  </a:cubicBezTo>
                  <a:cubicBezTo>
                    <a:pt x="423017" y="27061"/>
                    <a:pt x="398883" y="33095"/>
                    <a:pt x="374749" y="33095"/>
                  </a:cubicBezTo>
                  <a:cubicBezTo>
                    <a:pt x="332514" y="36112"/>
                    <a:pt x="293297" y="-12157"/>
                    <a:pt x="251061" y="2927"/>
                  </a:cubicBezTo>
                  <a:cubicBezTo>
                    <a:pt x="245029" y="5944"/>
                    <a:pt x="242011" y="8961"/>
                    <a:pt x="238995" y="8961"/>
                  </a:cubicBezTo>
                  <a:cubicBezTo>
                    <a:pt x="220894" y="18011"/>
                    <a:pt x="205810" y="24045"/>
                    <a:pt x="184694" y="24045"/>
                  </a:cubicBezTo>
                  <a:cubicBezTo>
                    <a:pt x="172626" y="24045"/>
                    <a:pt x="163576" y="21028"/>
                    <a:pt x="151508" y="27061"/>
                  </a:cubicBezTo>
                  <a:cubicBezTo>
                    <a:pt x="139442" y="33095"/>
                    <a:pt x="130391" y="48179"/>
                    <a:pt x="124359" y="60246"/>
                  </a:cubicBezTo>
                  <a:cubicBezTo>
                    <a:pt x="121341" y="66279"/>
                    <a:pt x="115307" y="75330"/>
                    <a:pt x="112291" y="81363"/>
                  </a:cubicBezTo>
                  <a:cubicBezTo>
                    <a:pt x="100223" y="90413"/>
                    <a:pt x="91173" y="96447"/>
                    <a:pt x="82123" y="102480"/>
                  </a:cubicBezTo>
                  <a:cubicBezTo>
                    <a:pt x="82123" y="99464"/>
                    <a:pt x="85139" y="87397"/>
                    <a:pt x="70056" y="99464"/>
                  </a:cubicBezTo>
                  <a:cubicBezTo>
                    <a:pt x="54972" y="111531"/>
                    <a:pt x="51956" y="123598"/>
                    <a:pt x="54972" y="141698"/>
                  </a:cubicBezTo>
                  <a:cubicBezTo>
                    <a:pt x="-5363" y="174883"/>
                    <a:pt x="-8379" y="262369"/>
                    <a:pt x="9720" y="319687"/>
                  </a:cubicBezTo>
                  <a:close/>
                </a:path>
              </a:pathLst>
            </a:custGeom>
            <a:solidFill>
              <a:srgbClr val="D3977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E95447E4-0481-4FDA-BF7D-6914377BEAF0}"/>
                </a:ext>
              </a:extLst>
            </p:cNvPr>
            <p:cNvSpPr/>
            <p:nvPr/>
          </p:nvSpPr>
          <p:spPr>
            <a:xfrm>
              <a:off x="24999292" y="3879758"/>
              <a:ext cx="71832" cy="236556"/>
            </a:xfrm>
            <a:custGeom>
              <a:avLst/>
              <a:gdLst>
                <a:gd name="connsiteX0" fmla="*/ 26581 w 71832"/>
                <a:gd name="connsiteY0" fmla="*/ 236557 h 236556"/>
                <a:gd name="connsiteX1" fmla="*/ 26581 w 71832"/>
                <a:gd name="connsiteY1" fmla="*/ 236557 h 236556"/>
                <a:gd name="connsiteX2" fmla="*/ 20549 w 71832"/>
                <a:gd name="connsiteY2" fmla="*/ 230523 h 236556"/>
                <a:gd name="connsiteX3" fmla="*/ 59767 w 71832"/>
                <a:gd name="connsiteY3" fmla="*/ 109853 h 236556"/>
                <a:gd name="connsiteX4" fmla="*/ 8481 w 71832"/>
                <a:gd name="connsiteY4" fmla="*/ 70635 h 236556"/>
                <a:gd name="connsiteX5" fmla="*/ 5465 w 71832"/>
                <a:gd name="connsiteY5" fmla="*/ 4266 h 236556"/>
                <a:gd name="connsiteX6" fmla="*/ 11497 w 71832"/>
                <a:gd name="connsiteY6" fmla="*/ 1250 h 236556"/>
                <a:gd name="connsiteX7" fmla="*/ 14515 w 71832"/>
                <a:gd name="connsiteY7" fmla="*/ 7283 h 236556"/>
                <a:gd name="connsiteX8" fmla="*/ 17531 w 71832"/>
                <a:gd name="connsiteY8" fmla="*/ 64601 h 236556"/>
                <a:gd name="connsiteX9" fmla="*/ 68817 w 71832"/>
                <a:gd name="connsiteY9" fmla="*/ 100803 h 236556"/>
                <a:gd name="connsiteX10" fmla="*/ 71833 w 71832"/>
                <a:gd name="connsiteY10" fmla="*/ 103819 h 236556"/>
                <a:gd name="connsiteX11" fmla="*/ 71833 w 71832"/>
                <a:gd name="connsiteY11" fmla="*/ 109853 h 236556"/>
                <a:gd name="connsiteX12" fmla="*/ 29599 w 71832"/>
                <a:gd name="connsiteY12" fmla="*/ 230523 h 236556"/>
                <a:gd name="connsiteX13" fmla="*/ 26581 w 71832"/>
                <a:gd name="connsiteY13" fmla="*/ 236557 h 23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1832" h="236556">
                  <a:moveTo>
                    <a:pt x="26581" y="236557"/>
                  </a:moveTo>
                  <a:lnTo>
                    <a:pt x="26581" y="236557"/>
                  </a:lnTo>
                  <a:cubicBezTo>
                    <a:pt x="23565" y="236557"/>
                    <a:pt x="20549" y="233540"/>
                    <a:pt x="20549" y="230523"/>
                  </a:cubicBezTo>
                  <a:cubicBezTo>
                    <a:pt x="23565" y="176222"/>
                    <a:pt x="50717" y="127953"/>
                    <a:pt x="59767" y="109853"/>
                  </a:cubicBezTo>
                  <a:cubicBezTo>
                    <a:pt x="47699" y="103819"/>
                    <a:pt x="23565" y="94769"/>
                    <a:pt x="8481" y="70635"/>
                  </a:cubicBezTo>
                  <a:cubicBezTo>
                    <a:pt x="-569" y="52534"/>
                    <a:pt x="-3586" y="28400"/>
                    <a:pt x="5465" y="4266"/>
                  </a:cubicBezTo>
                  <a:cubicBezTo>
                    <a:pt x="5465" y="1250"/>
                    <a:pt x="8481" y="-1767"/>
                    <a:pt x="11497" y="1250"/>
                  </a:cubicBezTo>
                  <a:cubicBezTo>
                    <a:pt x="14515" y="1250"/>
                    <a:pt x="17531" y="4266"/>
                    <a:pt x="14515" y="7283"/>
                  </a:cubicBezTo>
                  <a:cubicBezTo>
                    <a:pt x="8481" y="28400"/>
                    <a:pt x="8481" y="49518"/>
                    <a:pt x="17531" y="64601"/>
                  </a:cubicBezTo>
                  <a:cubicBezTo>
                    <a:pt x="32615" y="91752"/>
                    <a:pt x="65801" y="100803"/>
                    <a:pt x="68817" y="100803"/>
                  </a:cubicBezTo>
                  <a:cubicBezTo>
                    <a:pt x="71833" y="100803"/>
                    <a:pt x="71833" y="103819"/>
                    <a:pt x="71833" y="103819"/>
                  </a:cubicBezTo>
                  <a:cubicBezTo>
                    <a:pt x="71833" y="106836"/>
                    <a:pt x="71833" y="106836"/>
                    <a:pt x="71833" y="109853"/>
                  </a:cubicBezTo>
                  <a:cubicBezTo>
                    <a:pt x="71833" y="109853"/>
                    <a:pt x="32615" y="170188"/>
                    <a:pt x="29599" y="230523"/>
                  </a:cubicBezTo>
                  <a:cubicBezTo>
                    <a:pt x="32615" y="233540"/>
                    <a:pt x="29599" y="236557"/>
                    <a:pt x="26581" y="236557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F5869F18-374C-43EA-89B3-A9BEC74F11E4}"/>
                </a:ext>
              </a:extLst>
            </p:cNvPr>
            <p:cNvSpPr/>
            <p:nvPr/>
          </p:nvSpPr>
          <p:spPr>
            <a:xfrm>
              <a:off x="25185763" y="4270170"/>
              <a:ext cx="105586" cy="66489"/>
            </a:xfrm>
            <a:custGeom>
              <a:avLst/>
              <a:gdLst>
                <a:gd name="connsiteX0" fmla="*/ 0 w 105586"/>
                <a:gd name="connsiteY0" fmla="*/ 0 h 66489"/>
                <a:gd name="connsiteX1" fmla="*/ 105587 w 105586"/>
                <a:gd name="connsiteY1" fmla="*/ 15084 h 66489"/>
                <a:gd name="connsiteX2" fmla="*/ 45251 w 105586"/>
                <a:gd name="connsiteY2" fmla="*/ 66369 h 66489"/>
                <a:gd name="connsiteX3" fmla="*/ 0 w 105586"/>
                <a:gd name="connsiteY3" fmla="*/ 0 h 66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586" h="66489">
                  <a:moveTo>
                    <a:pt x="0" y="0"/>
                  </a:moveTo>
                  <a:cubicBezTo>
                    <a:pt x="51283" y="21117"/>
                    <a:pt x="105587" y="15084"/>
                    <a:pt x="105587" y="15084"/>
                  </a:cubicBezTo>
                  <a:cubicBezTo>
                    <a:pt x="105587" y="15084"/>
                    <a:pt x="84469" y="69385"/>
                    <a:pt x="45251" y="66369"/>
                  </a:cubicBezTo>
                  <a:cubicBezTo>
                    <a:pt x="21116" y="66369"/>
                    <a:pt x="6032" y="33184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AC5C0A8B-8C04-4835-AE39-9EFFA63C5594}"/>
                </a:ext>
              </a:extLst>
            </p:cNvPr>
            <p:cNvSpPr/>
            <p:nvPr/>
          </p:nvSpPr>
          <p:spPr>
            <a:xfrm>
              <a:off x="25109094" y="3850718"/>
              <a:ext cx="257674" cy="75541"/>
            </a:xfrm>
            <a:custGeom>
              <a:avLst/>
              <a:gdLst>
                <a:gd name="connsiteX0" fmla="*/ 248623 w 257674"/>
                <a:gd name="connsiteY0" fmla="*/ 75541 h 75541"/>
                <a:gd name="connsiteX1" fmla="*/ 248623 w 257674"/>
                <a:gd name="connsiteY1" fmla="*/ 75541 h 75541"/>
                <a:gd name="connsiteX2" fmla="*/ 194322 w 257674"/>
                <a:gd name="connsiteY2" fmla="*/ 54424 h 75541"/>
                <a:gd name="connsiteX3" fmla="*/ 185272 w 257674"/>
                <a:gd name="connsiteY3" fmla="*/ 45374 h 75541"/>
                <a:gd name="connsiteX4" fmla="*/ 155104 w 257674"/>
                <a:gd name="connsiteY4" fmla="*/ 27273 h 75541"/>
                <a:gd name="connsiteX5" fmla="*/ 130970 w 257674"/>
                <a:gd name="connsiteY5" fmla="*/ 36323 h 75541"/>
                <a:gd name="connsiteX6" fmla="*/ 97785 w 257674"/>
                <a:gd name="connsiteY6" fmla="*/ 45374 h 75541"/>
                <a:gd name="connsiteX7" fmla="*/ 70635 w 257674"/>
                <a:gd name="connsiteY7" fmla="*/ 27273 h 75541"/>
                <a:gd name="connsiteX8" fmla="*/ 52534 w 257674"/>
                <a:gd name="connsiteY8" fmla="*/ 12189 h 75541"/>
                <a:gd name="connsiteX9" fmla="*/ 25384 w 257674"/>
                <a:gd name="connsiteY9" fmla="*/ 18223 h 75541"/>
                <a:gd name="connsiteX10" fmla="*/ 10300 w 257674"/>
                <a:gd name="connsiteY10" fmla="*/ 45374 h 75541"/>
                <a:gd name="connsiteX11" fmla="*/ 4266 w 257674"/>
                <a:gd name="connsiteY11" fmla="*/ 48390 h 75541"/>
                <a:gd name="connsiteX12" fmla="*/ 1250 w 257674"/>
                <a:gd name="connsiteY12" fmla="*/ 42357 h 75541"/>
                <a:gd name="connsiteX13" fmla="*/ 19350 w 257674"/>
                <a:gd name="connsiteY13" fmla="*/ 9173 h 75541"/>
                <a:gd name="connsiteX14" fmla="*/ 58567 w 257674"/>
                <a:gd name="connsiteY14" fmla="*/ 3139 h 75541"/>
                <a:gd name="connsiteX15" fmla="*/ 79685 w 257674"/>
                <a:gd name="connsiteY15" fmla="*/ 18223 h 75541"/>
                <a:gd name="connsiteX16" fmla="*/ 100803 w 257674"/>
                <a:gd name="connsiteY16" fmla="*/ 33307 h 75541"/>
                <a:gd name="connsiteX17" fmla="*/ 127953 w 257674"/>
                <a:gd name="connsiteY17" fmla="*/ 24256 h 75541"/>
                <a:gd name="connsiteX18" fmla="*/ 158120 w 257674"/>
                <a:gd name="connsiteY18" fmla="*/ 15206 h 75541"/>
                <a:gd name="connsiteX19" fmla="*/ 194322 w 257674"/>
                <a:gd name="connsiteY19" fmla="*/ 36323 h 75541"/>
                <a:gd name="connsiteX20" fmla="*/ 203372 w 257674"/>
                <a:gd name="connsiteY20" fmla="*/ 42357 h 75541"/>
                <a:gd name="connsiteX21" fmla="*/ 251641 w 257674"/>
                <a:gd name="connsiteY21" fmla="*/ 60457 h 75541"/>
                <a:gd name="connsiteX22" fmla="*/ 257675 w 257674"/>
                <a:gd name="connsiteY22" fmla="*/ 66491 h 75541"/>
                <a:gd name="connsiteX23" fmla="*/ 248623 w 257674"/>
                <a:gd name="connsiteY23" fmla="*/ 75541 h 75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57674" h="75541">
                  <a:moveTo>
                    <a:pt x="248623" y="75541"/>
                  </a:moveTo>
                  <a:cubicBezTo>
                    <a:pt x="248623" y="75541"/>
                    <a:pt x="248623" y="75541"/>
                    <a:pt x="248623" y="75541"/>
                  </a:cubicBezTo>
                  <a:cubicBezTo>
                    <a:pt x="227507" y="75541"/>
                    <a:pt x="209405" y="66491"/>
                    <a:pt x="194322" y="54424"/>
                  </a:cubicBezTo>
                  <a:cubicBezTo>
                    <a:pt x="191306" y="51407"/>
                    <a:pt x="188288" y="48390"/>
                    <a:pt x="185272" y="45374"/>
                  </a:cubicBezTo>
                  <a:cubicBezTo>
                    <a:pt x="176222" y="36323"/>
                    <a:pt x="167172" y="27273"/>
                    <a:pt x="155104" y="27273"/>
                  </a:cubicBezTo>
                  <a:cubicBezTo>
                    <a:pt x="149070" y="27273"/>
                    <a:pt x="140020" y="30290"/>
                    <a:pt x="130970" y="36323"/>
                  </a:cubicBezTo>
                  <a:cubicBezTo>
                    <a:pt x="121920" y="42357"/>
                    <a:pt x="109853" y="48390"/>
                    <a:pt x="97785" y="45374"/>
                  </a:cubicBezTo>
                  <a:cubicBezTo>
                    <a:pt x="85719" y="42357"/>
                    <a:pt x="79685" y="36323"/>
                    <a:pt x="70635" y="27273"/>
                  </a:cubicBezTo>
                  <a:cubicBezTo>
                    <a:pt x="64601" y="21239"/>
                    <a:pt x="58567" y="15206"/>
                    <a:pt x="52534" y="12189"/>
                  </a:cubicBezTo>
                  <a:cubicBezTo>
                    <a:pt x="43484" y="9173"/>
                    <a:pt x="34434" y="12189"/>
                    <a:pt x="25384" y="18223"/>
                  </a:cubicBezTo>
                  <a:cubicBezTo>
                    <a:pt x="19350" y="24256"/>
                    <a:pt x="13316" y="33307"/>
                    <a:pt x="10300" y="45374"/>
                  </a:cubicBezTo>
                  <a:cubicBezTo>
                    <a:pt x="10300" y="48390"/>
                    <a:pt x="7282" y="51407"/>
                    <a:pt x="4266" y="48390"/>
                  </a:cubicBezTo>
                  <a:cubicBezTo>
                    <a:pt x="1250" y="48390"/>
                    <a:pt x="-1768" y="45374"/>
                    <a:pt x="1250" y="42357"/>
                  </a:cubicBezTo>
                  <a:cubicBezTo>
                    <a:pt x="4266" y="27273"/>
                    <a:pt x="10300" y="18223"/>
                    <a:pt x="19350" y="9173"/>
                  </a:cubicBezTo>
                  <a:cubicBezTo>
                    <a:pt x="31418" y="122"/>
                    <a:pt x="46501" y="-2894"/>
                    <a:pt x="58567" y="3139"/>
                  </a:cubicBezTo>
                  <a:cubicBezTo>
                    <a:pt x="67617" y="6156"/>
                    <a:pt x="73651" y="12189"/>
                    <a:pt x="79685" y="18223"/>
                  </a:cubicBezTo>
                  <a:cubicBezTo>
                    <a:pt x="85719" y="24256"/>
                    <a:pt x="91753" y="30290"/>
                    <a:pt x="100803" y="33307"/>
                  </a:cubicBezTo>
                  <a:cubicBezTo>
                    <a:pt x="109853" y="33307"/>
                    <a:pt x="118903" y="30290"/>
                    <a:pt x="127953" y="24256"/>
                  </a:cubicBezTo>
                  <a:cubicBezTo>
                    <a:pt x="137004" y="18223"/>
                    <a:pt x="146054" y="15206"/>
                    <a:pt x="158120" y="15206"/>
                  </a:cubicBezTo>
                  <a:cubicBezTo>
                    <a:pt x="173204" y="15206"/>
                    <a:pt x="185272" y="24256"/>
                    <a:pt x="194322" y="36323"/>
                  </a:cubicBezTo>
                  <a:cubicBezTo>
                    <a:pt x="197339" y="39340"/>
                    <a:pt x="200356" y="42357"/>
                    <a:pt x="203372" y="42357"/>
                  </a:cubicBezTo>
                  <a:cubicBezTo>
                    <a:pt x="215439" y="54424"/>
                    <a:pt x="233539" y="60457"/>
                    <a:pt x="251641" y="60457"/>
                  </a:cubicBezTo>
                  <a:cubicBezTo>
                    <a:pt x="254657" y="60457"/>
                    <a:pt x="257675" y="63474"/>
                    <a:pt x="257675" y="66491"/>
                  </a:cubicBezTo>
                  <a:cubicBezTo>
                    <a:pt x="254657" y="72525"/>
                    <a:pt x="251641" y="75541"/>
                    <a:pt x="248623" y="75541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56A2E9DA-BA14-4332-A069-3956C58CF112}"/>
                </a:ext>
              </a:extLst>
            </p:cNvPr>
            <p:cNvSpPr/>
            <p:nvPr/>
          </p:nvSpPr>
          <p:spPr>
            <a:xfrm>
              <a:off x="25096014" y="3762762"/>
              <a:ext cx="286304" cy="79027"/>
            </a:xfrm>
            <a:custGeom>
              <a:avLst/>
              <a:gdLst>
                <a:gd name="connsiteX0" fmla="*/ 282820 w 286304"/>
                <a:gd name="connsiteY0" fmla="*/ 79027 h 79027"/>
                <a:gd name="connsiteX1" fmla="*/ 276786 w 286304"/>
                <a:gd name="connsiteY1" fmla="*/ 72994 h 79027"/>
                <a:gd name="connsiteX2" fmla="*/ 264721 w 286304"/>
                <a:gd name="connsiteY2" fmla="*/ 54893 h 79027"/>
                <a:gd name="connsiteX3" fmla="*/ 213435 w 286304"/>
                <a:gd name="connsiteY3" fmla="*/ 45843 h 79027"/>
                <a:gd name="connsiteX4" fmla="*/ 165168 w 286304"/>
                <a:gd name="connsiteY4" fmla="*/ 27743 h 79027"/>
                <a:gd name="connsiteX5" fmla="*/ 141032 w 286304"/>
                <a:gd name="connsiteY5" fmla="*/ 15676 h 79027"/>
                <a:gd name="connsiteX6" fmla="*/ 95781 w 286304"/>
                <a:gd name="connsiteY6" fmla="*/ 27743 h 79027"/>
                <a:gd name="connsiteX7" fmla="*/ 56563 w 286304"/>
                <a:gd name="connsiteY7" fmla="*/ 36793 h 79027"/>
                <a:gd name="connsiteX8" fmla="*/ 11312 w 286304"/>
                <a:gd name="connsiteY8" fmla="*/ 54893 h 79027"/>
                <a:gd name="connsiteX9" fmla="*/ 2262 w 286304"/>
                <a:gd name="connsiteY9" fmla="*/ 54893 h 79027"/>
                <a:gd name="connsiteX10" fmla="*/ 2262 w 286304"/>
                <a:gd name="connsiteY10" fmla="*/ 45843 h 79027"/>
                <a:gd name="connsiteX11" fmla="*/ 59581 w 286304"/>
                <a:gd name="connsiteY11" fmla="*/ 21709 h 79027"/>
                <a:gd name="connsiteX12" fmla="*/ 86731 w 286304"/>
                <a:gd name="connsiteY12" fmla="*/ 15676 h 79027"/>
                <a:gd name="connsiteX13" fmla="*/ 138016 w 286304"/>
                <a:gd name="connsiteY13" fmla="*/ 592 h 79027"/>
                <a:gd name="connsiteX14" fmla="*/ 168184 w 286304"/>
                <a:gd name="connsiteY14" fmla="*/ 15676 h 79027"/>
                <a:gd name="connsiteX15" fmla="*/ 207401 w 286304"/>
                <a:gd name="connsiteY15" fmla="*/ 33776 h 79027"/>
                <a:gd name="connsiteX16" fmla="*/ 267737 w 286304"/>
                <a:gd name="connsiteY16" fmla="*/ 45843 h 79027"/>
                <a:gd name="connsiteX17" fmla="*/ 282820 w 286304"/>
                <a:gd name="connsiteY17" fmla="*/ 72994 h 79027"/>
                <a:gd name="connsiteX18" fmla="*/ 282820 w 286304"/>
                <a:gd name="connsiteY18" fmla="*/ 79027 h 79027"/>
                <a:gd name="connsiteX19" fmla="*/ 282820 w 286304"/>
                <a:gd name="connsiteY19" fmla="*/ 79027 h 7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6304" h="79027">
                  <a:moveTo>
                    <a:pt x="282820" y="79027"/>
                  </a:moveTo>
                  <a:cubicBezTo>
                    <a:pt x="279804" y="79027"/>
                    <a:pt x="276786" y="76011"/>
                    <a:pt x="276786" y="72994"/>
                  </a:cubicBezTo>
                  <a:cubicBezTo>
                    <a:pt x="276786" y="63944"/>
                    <a:pt x="270754" y="57910"/>
                    <a:pt x="264721" y="54893"/>
                  </a:cubicBezTo>
                  <a:cubicBezTo>
                    <a:pt x="249637" y="45843"/>
                    <a:pt x="225503" y="42826"/>
                    <a:pt x="213435" y="45843"/>
                  </a:cubicBezTo>
                  <a:cubicBezTo>
                    <a:pt x="198351" y="48860"/>
                    <a:pt x="180252" y="36793"/>
                    <a:pt x="165168" y="27743"/>
                  </a:cubicBezTo>
                  <a:cubicBezTo>
                    <a:pt x="156116" y="21709"/>
                    <a:pt x="147066" y="15676"/>
                    <a:pt x="141032" y="15676"/>
                  </a:cubicBezTo>
                  <a:cubicBezTo>
                    <a:pt x="119916" y="12659"/>
                    <a:pt x="107849" y="21709"/>
                    <a:pt x="95781" y="27743"/>
                  </a:cubicBezTo>
                  <a:cubicBezTo>
                    <a:pt x="83715" y="33776"/>
                    <a:pt x="74665" y="42826"/>
                    <a:pt x="56563" y="36793"/>
                  </a:cubicBezTo>
                  <a:cubicBezTo>
                    <a:pt x="35446" y="27743"/>
                    <a:pt x="11312" y="54893"/>
                    <a:pt x="11312" y="54893"/>
                  </a:cubicBezTo>
                  <a:cubicBezTo>
                    <a:pt x="8296" y="57910"/>
                    <a:pt x="5278" y="57910"/>
                    <a:pt x="2262" y="54893"/>
                  </a:cubicBezTo>
                  <a:cubicBezTo>
                    <a:pt x="-754" y="51877"/>
                    <a:pt x="-754" y="48860"/>
                    <a:pt x="2262" y="45843"/>
                  </a:cubicBezTo>
                  <a:cubicBezTo>
                    <a:pt x="2262" y="45843"/>
                    <a:pt x="29414" y="9642"/>
                    <a:pt x="59581" y="21709"/>
                  </a:cubicBezTo>
                  <a:cubicBezTo>
                    <a:pt x="68631" y="24726"/>
                    <a:pt x="74665" y="21709"/>
                    <a:pt x="86731" y="15676"/>
                  </a:cubicBezTo>
                  <a:cubicBezTo>
                    <a:pt x="98799" y="6625"/>
                    <a:pt x="113883" y="-2425"/>
                    <a:pt x="138016" y="592"/>
                  </a:cubicBezTo>
                  <a:cubicBezTo>
                    <a:pt x="147066" y="592"/>
                    <a:pt x="156116" y="6625"/>
                    <a:pt x="168184" y="15676"/>
                  </a:cubicBezTo>
                  <a:cubicBezTo>
                    <a:pt x="180252" y="24726"/>
                    <a:pt x="198351" y="33776"/>
                    <a:pt x="207401" y="33776"/>
                  </a:cubicBezTo>
                  <a:cubicBezTo>
                    <a:pt x="222485" y="30759"/>
                    <a:pt x="249637" y="30759"/>
                    <a:pt x="267737" y="45843"/>
                  </a:cubicBezTo>
                  <a:cubicBezTo>
                    <a:pt x="276786" y="51877"/>
                    <a:pt x="282820" y="60927"/>
                    <a:pt x="282820" y="72994"/>
                  </a:cubicBezTo>
                  <a:cubicBezTo>
                    <a:pt x="288854" y="76011"/>
                    <a:pt x="285838" y="79027"/>
                    <a:pt x="282820" y="79027"/>
                  </a:cubicBezTo>
                  <a:cubicBezTo>
                    <a:pt x="282820" y="79027"/>
                    <a:pt x="282820" y="79027"/>
                    <a:pt x="282820" y="79027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48" name="图形 1">
            <a:extLst>
              <a:ext uri="{FF2B5EF4-FFF2-40B4-BE49-F238E27FC236}">
                <a16:creationId xmlns:a16="http://schemas.microsoft.com/office/drawing/2014/main" id="{50194710-70F9-41F9-A89F-B64A4F3318E9}"/>
              </a:ext>
            </a:extLst>
          </p:cNvPr>
          <p:cNvGrpSpPr/>
          <p:nvPr/>
        </p:nvGrpSpPr>
        <p:grpSpPr>
          <a:xfrm>
            <a:off x="2074273" y="2328401"/>
            <a:ext cx="4143194" cy="4391377"/>
            <a:chOff x="18651460" y="2328401"/>
            <a:chExt cx="4143194" cy="4391377"/>
          </a:xfrm>
        </p:grpSpPr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5981BA7F-E1C8-4A69-BA3D-A133366F7403}"/>
                </a:ext>
              </a:extLst>
            </p:cNvPr>
            <p:cNvSpPr/>
            <p:nvPr/>
          </p:nvSpPr>
          <p:spPr>
            <a:xfrm>
              <a:off x="18651460" y="6357768"/>
              <a:ext cx="4099777" cy="362011"/>
            </a:xfrm>
            <a:custGeom>
              <a:avLst/>
              <a:gdLst>
                <a:gd name="connsiteX0" fmla="*/ 4099777 w 4099777"/>
                <a:gd name="connsiteY0" fmla="*/ 346927 h 362011"/>
                <a:gd name="connsiteX1" fmla="*/ 0 w 4099777"/>
                <a:gd name="connsiteY1" fmla="*/ 362011 h 362011"/>
                <a:gd name="connsiteX2" fmla="*/ 654637 w 4099777"/>
                <a:gd name="connsiteY2" fmla="*/ 18100 h 362011"/>
                <a:gd name="connsiteX3" fmla="*/ 3445140 w 4099777"/>
                <a:gd name="connsiteY3" fmla="*/ 0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9777" h="362011">
                  <a:moveTo>
                    <a:pt x="4099777" y="346927"/>
                  </a:moveTo>
                  <a:lnTo>
                    <a:pt x="0" y="362011"/>
                  </a:lnTo>
                  <a:lnTo>
                    <a:pt x="654637" y="18100"/>
                  </a:lnTo>
                  <a:lnTo>
                    <a:pt x="3445140" y="0"/>
                  </a:ln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0C94E03B-6696-417A-9451-959484CB52C2}"/>
                </a:ext>
              </a:extLst>
            </p:cNvPr>
            <p:cNvSpPr/>
            <p:nvPr/>
          </p:nvSpPr>
          <p:spPr>
            <a:xfrm>
              <a:off x="19495791" y="6267504"/>
              <a:ext cx="413837" cy="280785"/>
            </a:xfrm>
            <a:custGeom>
              <a:avLst/>
              <a:gdLst>
                <a:gd name="connsiteX0" fmla="*/ 238687 w 413837"/>
                <a:gd name="connsiteY0" fmla="*/ 126464 h 280785"/>
                <a:gd name="connsiteX1" fmla="*/ 283938 w 413837"/>
                <a:gd name="connsiteY1" fmla="*/ 5794 h 280785"/>
                <a:gd name="connsiteX2" fmla="*/ 413658 w 413837"/>
                <a:gd name="connsiteY2" fmla="*/ 17861 h 280785"/>
                <a:gd name="connsiteX3" fmla="*/ 383491 w 413837"/>
                <a:gd name="connsiteY3" fmla="*/ 159648 h 280785"/>
                <a:gd name="connsiteX4" fmla="*/ 380475 w 413837"/>
                <a:gd name="connsiteY4" fmla="*/ 268252 h 280785"/>
                <a:gd name="connsiteX5" fmla="*/ 362 w 413837"/>
                <a:gd name="connsiteY5" fmla="*/ 274285 h 280785"/>
                <a:gd name="connsiteX6" fmla="*/ 238687 w 413837"/>
                <a:gd name="connsiteY6" fmla="*/ 126464 h 28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3837" h="280785">
                  <a:moveTo>
                    <a:pt x="238687" y="126464"/>
                  </a:moveTo>
                  <a:cubicBezTo>
                    <a:pt x="247737" y="105347"/>
                    <a:pt x="277904" y="14844"/>
                    <a:pt x="283938" y="5794"/>
                  </a:cubicBezTo>
                  <a:cubicBezTo>
                    <a:pt x="296004" y="-9290"/>
                    <a:pt x="410642" y="8810"/>
                    <a:pt x="413658" y="17861"/>
                  </a:cubicBezTo>
                  <a:cubicBezTo>
                    <a:pt x="416674" y="41995"/>
                    <a:pt x="380475" y="153615"/>
                    <a:pt x="383491" y="159648"/>
                  </a:cubicBezTo>
                  <a:cubicBezTo>
                    <a:pt x="383491" y="159648"/>
                    <a:pt x="407625" y="262218"/>
                    <a:pt x="380475" y="268252"/>
                  </a:cubicBezTo>
                  <a:cubicBezTo>
                    <a:pt x="353323" y="274285"/>
                    <a:pt x="3380" y="289369"/>
                    <a:pt x="362" y="274285"/>
                  </a:cubicBezTo>
                  <a:cubicBezTo>
                    <a:pt x="-8688" y="216967"/>
                    <a:pt x="154218" y="186799"/>
                    <a:pt x="238687" y="126464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C65E136D-B3DB-491C-85F1-D011A5E7FCAF}"/>
                </a:ext>
              </a:extLst>
            </p:cNvPr>
            <p:cNvSpPr/>
            <p:nvPr/>
          </p:nvSpPr>
          <p:spPr>
            <a:xfrm>
              <a:off x="21486379" y="6266848"/>
              <a:ext cx="393369" cy="281441"/>
            </a:xfrm>
            <a:custGeom>
              <a:avLst/>
              <a:gdLst>
                <a:gd name="connsiteX0" fmla="*/ 154691 w 393369"/>
                <a:gd name="connsiteY0" fmla="*/ 127121 h 281441"/>
                <a:gd name="connsiteX1" fmla="*/ 172791 w 393369"/>
                <a:gd name="connsiteY1" fmla="*/ 9467 h 281441"/>
                <a:gd name="connsiteX2" fmla="*/ 43070 w 393369"/>
                <a:gd name="connsiteY2" fmla="*/ 6450 h 281441"/>
                <a:gd name="connsiteX3" fmla="*/ 9885 w 393369"/>
                <a:gd name="connsiteY3" fmla="*/ 160305 h 281441"/>
                <a:gd name="connsiteX4" fmla="*/ 12903 w 393369"/>
                <a:gd name="connsiteY4" fmla="*/ 268908 h 281441"/>
                <a:gd name="connsiteX5" fmla="*/ 393014 w 393369"/>
                <a:gd name="connsiteY5" fmla="*/ 274942 h 281441"/>
                <a:gd name="connsiteX6" fmla="*/ 154691 w 393369"/>
                <a:gd name="connsiteY6" fmla="*/ 127121 h 281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369" h="281441">
                  <a:moveTo>
                    <a:pt x="154691" y="127121"/>
                  </a:moveTo>
                  <a:cubicBezTo>
                    <a:pt x="145639" y="106003"/>
                    <a:pt x="178825" y="18517"/>
                    <a:pt x="172791" y="9467"/>
                  </a:cubicBezTo>
                  <a:cubicBezTo>
                    <a:pt x="160723" y="-5617"/>
                    <a:pt x="43070" y="417"/>
                    <a:pt x="43070" y="6450"/>
                  </a:cubicBezTo>
                  <a:cubicBezTo>
                    <a:pt x="40052" y="30584"/>
                    <a:pt x="12903" y="154271"/>
                    <a:pt x="9885" y="160305"/>
                  </a:cubicBezTo>
                  <a:cubicBezTo>
                    <a:pt x="9885" y="160305"/>
                    <a:pt x="-14249" y="262875"/>
                    <a:pt x="12903" y="268908"/>
                  </a:cubicBezTo>
                  <a:cubicBezTo>
                    <a:pt x="40052" y="274942"/>
                    <a:pt x="389998" y="290025"/>
                    <a:pt x="393014" y="274942"/>
                  </a:cubicBezTo>
                  <a:cubicBezTo>
                    <a:pt x="402064" y="217623"/>
                    <a:pt x="236142" y="187456"/>
                    <a:pt x="154691" y="127121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A620F6A3-82A5-47C8-BAAA-0916C9154AFF}"/>
                </a:ext>
              </a:extLst>
            </p:cNvPr>
            <p:cNvSpPr/>
            <p:nvPr/>
          </p:nvSpPr>
          <p:spPr>
            <a:xfrm>
              <a:off x="19728444" y="3947376"/>
              <a:ext cx="2211284" cy="2389273"/>
            </a:xfrm>
            <a:custGeom>
              <a:avLst/>
              <a:gdLst>
                <a:gd name="connsiteX0" fmla="*/ 986481 w 2211284"/>
                <a:gd name="connsiteY0" fmla="*/ 0 h 2389273"/>
                <a:gd name="connsiteX1" fmla="*/ 1511396 w 2211284"/>
                <a:gd name="connsiteY1" fmla="*/ 15084 h 2389273"/>
                <a:gd name="connsiteX2" fmla="*/ 2211285 w 2211284"/>
                <a:gd name="connsiteY2" fmla="*/ 1215754 h 2389273"/>
                <a:gd name="connsiteX3" fmla="*/ 1969944 w 2211284"/>
                <a:gd name="connsiteY3" fmla="*/ 2389274 h 2389273"/>
                <a:gd name="connsiteX4" fmla="*/ 1740671 w 2211284"/>
                <a:gd name="connsiteY4" fmla="*/ 2380224 h 2389273"/>
                <a:gd name="connsiteX5" fmla="*/ 1864357 w 2211284"/>
                <a:gd name="connsiteY5" fmla="*/ 1303240 h 2389273"/>
                <a:gd name="connsiteX6" fmla="*/ 1279107 w 2211284"/>
                <a:gd name="connsiteY6" fmla="*/ 642570 h 2389273"/>
                <a:gd name="connsiteX7" fmla="*/ 193073 w 2211284"/>
                <a:gd name="connsiteY7" fmla="*/ 2377207 h 2389273"/>
                <a:gd name="connsiteX8" fmla="*/ 0 w 2211284"/>
                <a:gd name="connsiteY8" fmla="*/ 2377207 h 2389273"/>
                <a:gd name="connsiteX9" fmla="*/ 766258 w 2211284"/>
                <a:gd name="connsiteY9" fmla="*/ 346927 h 2389273"/>
                <a:gd name="connsiteX10" fmla="*/ 986481 w 2211284"/>
                <a:gd name="connsiteY10" fmla="*/ 0 h 2389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11284" h="2389273">
                  <a:moveTo>
                    <a:pt x="986481" y="0"/>
                  </a:moveTo>
                  <a:lnTo>
                    <a:pt x="1511396" y="15084"/>
                  </a:lnTo>
                  <a:cubicBezTo>
                    <a:pt x="1511396" y="15084"/>
                    <a:pt x="2211285" y="1043799"/>
                    <a:pt x="2211285" y="1215754"/>
                  </a:cubicBezTo>
                  <a:cubicBezTo>
                    <a:pt x="2211285" y="1336425"/>
                    <a:pt x="1969944" y="2389274"/>
                    <a:pt x="1969944" y="2389274"/>
                  </a:cubicBezTo>
                  <a:lnTo>
                    <a:pt x="1740671" y="2380224"/>
                  </a:lnTo>
                  <a:lnTo>
                    <a:pt x="1864357" y="1303240"/>
                  </a:lnTo>
                  <a:lnTo>
                    <a:pt x="1279107" y="642570"/>
                  </a:lnTo>
                  <a:lnTo>
                    <a:pt x="193073" y="2377207"/>
                  </a:lnTo>
                  <a:lnTo>
                    <a:pt x="0" y="2377207"/>
                  </a:lnTo>
                  <a:cubicBezTo>
                    <a:pt x="0" y="2377207"/>
                    <a:pt x="717988" y="491732"/>
                    <a:pt x="766258" y="346927"/>
                  </a:cubicBezTo>
                  <a:cubicBezTo>
                    <a:pt x="805475" y="232291"/>
                    <a:pt x="986481" y="0"/>
                    <a:pt x="986481" y="0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17A85738-9055-41E0-8166-2FF36E400ABA}"/>
                </a:ext>
              </a:extLst>
            </p:cNvPr>
            <p:cNvSpPr/>
            <p:nvPr/>
          </p:nvSpPr>
          <p:spPr>
            <a:xfrm>
              <a:off x="19912465" y="4458976"/>
              <a:ext cx="1123485" cy="1871640"/>
            </a:xfrm>
            <a:custGeom>
              <a:avLst/>
              <a:gdLst>
                <a:gd name="connsiteX0" fmla="*/ 6034 w 1123485"/>
                <a:gd name="connsiteY0" fmla="*/ 1871641 h 1871640"/>
                <a:gd name="connsiteX1" fmla="*/ 6034 w 1123485"/>
                <a:gd name="connsiteY1" fmla="*/ 1871641 h 1871640"/>
                <a:gd name="connsiteX2" fmla="*/ 0 w 1123485"/>
                <a:gd name="connsiteY2" fmla="*/ 1862590 h 1871640"/>
                <a:gd name="connsiteX3" fmla="*/ 1086034 w 1123485"/>
                <a:gd name="connsiteY3" fmla="*/ 127954 h 1871640"/>
                <a:gd name="connsiteX4" fmla="*/ 1113185 w 1123485"/>
                <a:gd name="connsiteY4" fmla="*/ 4267 h 1871640"/>
                <a:gd name="connsiteX5" fmla="*/ 1119219 w 1123485"/>
                <a:gd name="connsiteY5" fmla="*/ 1250 h 1871640"/>
                <a:gd name="connsiteX6" fmla="*/ 1122235 w 1123485"/>
                <a:gd name="connsiteY6" fmla="*/ 7283 h 1871640"/>
                <a:gd name="connsiteX7" fmla="*/ 1095085 w 1123485"/>
                <a:gd name="connsiteY7" fmla="*/ 133987 h 1871640"/>
                <a:gd name="connsiteX8" fmla="*/ 9052 w 1123485"/>
                <a:gd name="connsiteY8" fmla="*/ 1868624 h 1871640"/>
                <a:gd name="connsiteX9" fmla="*/ 6034 w 1123485"/>
                <a:gd name="connsiteY9" fmla="*/ 1871641 h 187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23485" h="1871640">
                  <a:moveTo>
                    <a:pt x="6034" y="1871641"/>
                  </a:moveTo>
                  <a:cubicBezTo>
                    <a:pt x="6034" y="1871641"/>
                    <a:pt x="6034" y="1871641"/>
                    <a:pt x="6034" y="1871641"/>
                  </a:cubicBezTo>
                  <a:cubicBezTo>
                    <a:pt x="0" y="1868624"/>
                    <a:pt x="0" y="1865607"/>
                    <a:pt x="0" y="1862590"/>
                  </a:cubicBezTo>
                  <a:lnTo>
                    <a:pt x="1086034" y="127954"/>
                  </a:lnTo>
                  <a:lnTo>
                    <a:pt x="1113185" y="4267"/>
                  </a:lnTo>
                  <a:cubicBezTo>
                    <a:pt x="1113185" y="1250"/>
                    <a:pt x="1116201" y="-1767"/>
                    <a:pt x="1119219" y="1250"/>
                  </a:cubicBezTo>
                  <a:cubicBezTo>
                    <a:pt x="1122235" y="1250"/>
                    <a:pt x="1125253" y="4267"/>
                    <a:pt x="1122235" y="7283"/>
                  </a:cubicBezTo>
                  <a:lnTo>
                    <a:pt x="1095085" y="133987"/>
                  </a:lnTo>
                  <a:lnTo>
                    <a:pt x="9052" y="1868624"/>
                  </a:lnTo>
                  <a:cubicBezTo>
                    <a:pt x="9052" y="1871641"/>
                    <a:pt x="9052" y="1871641"/>
                    <a:pt x="6034" y="1871641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8029D5AA-171D-4CDC-9D05-AF896A456523}"/>
                </a:ext>
              </a:extLst>
            </p:cNvPr>
            <p:cNvSpPr/>
            <p:nvPr/>
          </p:nvSpPr>
          <p:spPr>
            <a:xfrm>
              <a:off x="21366059" y="3216747"/>
              <a:ext cx="1140819" cy="283411"/>
            </a:xfrm>
            <a:custGeom>
              <a:avLst/>
              <a:gdLst>
                <a:gd name="connsiteX0" fmla="*/ 27637 w 1140819"/>
                <a:gd name="connsiteY0" fmla="*/ 154429 h 283411"/>
                <a:gd name="connsiteX1" fmla="*/ 163391 w 1140819"/>
                <a:gd name="connsiteY1" fmla="*/ 6608 h 283411"/>
                <a:gd name="connsiteX2" fmla="*/ 624955 w 1140819"/>
                <a:gd name="connsiteY2" fmla="*/ 88060 h 283411"/>
                <a:gd name="connsiteX3" fmla="*/ 1116686 w 1140819"/>
                <a:gd name="connsiteY3" fmla="*/ 79010 h 283411"/>
                <a:gd name="connsiteX4" fmla="*/ 1140820 w 1140819"/>
                <a:gd name="connsiteY4" fmla="*/ 202697 h 283411"/>
                <a:gd name="connsiteX5" fmla="*/ 640039 w 1140819"/>
                <a:gd name="connsiteY5" fmla="*/ 275099 h 283411"/>
                <a:gd name="connsiteX6" fmla="*/ 27637 w 1140819"/>
                <a:gd name="connsiteY6" fmla="*/ 154429 h 283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0819" h="283411">
                  <a:moveTo>
                    <a:pt x="27637" y="154429"/>
                  </a:moveTo>
                  <a:cubicBezTo>
                    <a:pt x="-44766" y="-11493"/>
                    <a:pt x="33671" y="-8476"/>
                    <a:pt x="163391" y="6608"/>
                  </a:cubicBezTo>
                  <a:cubicBezTo>
                    <a:pt x="299145" y="21691"/>
                    <a:pt x="594787" y="91077"/>
                    <a:pt x="624955" y="88060"/>
                  </a:cubicBezTo>
                  <a:cubicBezTo>
                    <a:pt x="724508" y="94094"/>
                    <a:pt x="1116686" y="79010"/>
                    <a:pt x="1116686" y="79010"/>
                  </a:cubicBezTo>
                  <a:cubicBezTo>
                    <a:pt x="1131770" y="106161"/>
                    <a:pt x="1140820" y="202697"/>
                    <a:pt x="1140820" y="202697"/>
                  </a:cubicBezTo>
                  <a:cubicBezTo>
                    <a:pt x="1140820" y="202697"/>
                    <a:pt x="778809" y="266049"/>
                    <a:pt x="640039" y="275099"/>
                  </a:cubicBezTo>
                  <a:cubicBezTo>
                    <a:pt x="570654" y="281133"/>
                    <a:pt x="100038" y="320351"/>
                    <a:pt x="27637" y="154429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5" name="图形 1">
              <a:extLst>
                <a:ext uri="{FF2B5EF4-FFF2-40B4-BE49-F238E27FC236}">
                  <a16:creationId xmlns:a16="http://schemas.microsoft.com/office/drawing/2014/main" id="{FE5C2FDF-C068-4340-AA53-8C2C3408B25B}"/>
                </a:ext>
              </a:extLst>
            </p:cNvPr>
            <p:cNvGrpSpPr/>
            <p:nvPr/>
          </p:nvGrpSpPr>
          <p:grpSpPr>
            <a:xfrm>
              <a:off x="22439574" y="3182047"/>
              <a:ext cx="355081" cy="234380"/>
              <a:chOff x="22439574" y="3182047"/>
              <a:chExt cx="355081" cy="234380"/>
            </a:xfrm>
          </p:grpSpPr>
          <p:grpSp>
            <p:nvGrpSpPr>
              <p:cNvPr id="90" name="图形 1">
                <a:extLst>
                  <a:ext uri="{FF2B5EF4-FFF2-40B4-BE49-F238E27FC236}">
                    <a16:creationId xmlns:a16="http://schemas.microsoft.com/office/drawing/2014/main" id="{36E83B1C-CAE4-44C8-B8EB-80B9CB7B06E7}"/>
                  </a:ext>
                </a:extLst>
              </p:cNvPr>
              <p:cNvGrpSpPr/>
              <p:nvPr/>
            </p:nvGrpSpPr>
            <p:grpSpPr>
              <a:xfrm>
                <a:off x="22439574" y="3182047"/>
                <a:ext cx="355081" cy="233881"/>
                <a:chOff x="22439574" y="3182047"/>
                <a:chExt cx="355081" cy="233881"/>
              </a:xfrm>
            </p:grpSpPr>
            <p:sp>
              <p:nvSpPr>
                <p:cNvPr id="93" name="任意多边形: 形状 92">
                  <a:extLst>
                    <a:ext uri="{FF2B5EF4-FFF2-40B4-BE49-F238E27FC236}">
                      <a16:creationId xmlns:a16="http://schemas.microsoft.com/office/drawing/2014/main" id="{B450CCC7-79A4-4C96-B463-758CD0B9CB07}"/>
                    </a:ext>
                  </a:extLst>
                </p:cNvPr>
                <p:cNvSpPr/>
                <p:nvPr/>
              </p:nvSpPr>
              <p:spPr>
                <a:xfrm>
                  <a:off x="22439574" y="3182047"/>
                  <a:ext cx="345632" cy="233881"/>
                </a:xfrm>
                <a:custGeom>
                  <a:avLst/>
                  <a:gdLst>
                    <a:gd name="connsiteX0" fmla="*/ 275462 w 345632"/>
                    <a:gd name="connsiteY0" fmla="*/ 204213 h 233881"/>
                    <a:gd name="connsiteX1" fmla="*/ 266412 w 345632"/>
                    <a:gd name="connsiteY1" fmla="*/ 189129 h 233881"/>
                    <a:gd name="connsiteX2" fmla="*/ 260378 w 345632"/>
                    <a:gd name="connsiteY2" fmla="*/ 186112 h 233881"/>
                    <a:gd name="connsiteX3" fmla="*/ 287530 w 345632"/>
                    <a:gd name="connsiteY3" fmla="*/ 186112 h 233881"/>
                    <a:gd name="connsiteX4" fmla="*/ 332781 w 345632"/>
                    <a:gd name="connsiteY4" fmla="*/ 174045 h 233881"/>
                    <a:gd name="connsiteX5" fmla="*/ 326748 w 345632"/>
                    <a:gd name="connsiteY5" fmla="*/ 161978 h 233881"/>
                    <a:gd name="connsiteX6" fmla="*/ 323730 w 345632"/>
                    <a:gd name="connsiteY6" fmla="*/ 161978 h 233881"/>
                    <a:gd name="connsiteX7" fmla="*/ 344847 w 345632"/>
                    <a:gd name="connsiteY7" fmla="*/ 143877 h 233881"/>
                    <a:gd name="connsiteX8" fmla="*/ 332781 w 345632"/>
                    <a:gd name="connsiteY8" fmla="*/ 122760 h 233881"/>
                    <a:gd name="connsiteX9" fmla="*/ 278478 w 345632"/>
                    <a:gd name="connsiteY9" fmla="*/ 119743 h 233881"/>
                    <a:gd name="connsiteX10" fmla="*/ 203059 w 345632"/>
                    <a:gd name="connsiteY10" fmla="*/ 116727 h 233881"/>
                    <a:gd name="connsiteX11" fmla="*/ 257362 w 345632"/>
                    <a:gd name="connsiteY11" fmla="*/ 101643 h 233881"/>
                    <a:gd name="connsiteX12" fmla="*/ 299596 w 345632"/>
                    <a:gd name="connsiteY12" fmla="*/ 89576 h 233881"/>
                    <a:gd name="connsiteX13" fmla="*/ 275462 w 345632"/>
                    <a:gd name="connsiteY13" fmla="*/ 71475 h 233881"/>
                    <a:gd name="connsiteX14" fmla="*/ 97473 w 345632"/>
                    <a:gd name="connsiteY14" fmla="*/ 98626 h 233881"/>
                    <a:gd name="connsiteX15" fmla="*/ 133674 w 345632"/>
                    <a:gd name="connsiteY15" fmla="*/ 32257 h 233881"/>
                    <a:gd name="connsiteX16" fmla="*/ 109540 w 345632"/>
                    <a:gd name="connsiteY16" fmla="*/ 5106 h 233881"/>
                    <a:gd name="connsiteX17" fmla="*/ 938 w 345632"/>
                    <a:gd name="connsiteY17" fmla="*/ 134827 h 233881"/>
                    <a:gd name="connsiteX18" fmla="*/ 43171 w 345632"/>
                    <a:gd name="connsiteY18" fmla="*/ 222313 h 233881"/>
                    <a:gd name="connsiteX19" fmla="*/ 172892 w 345632"/>
                    <a:gd name="connsiteY19" fmla="*/ 225330 h 233881"/>
                    <a:gd name="connsiteX20" fmla="*/ 275462 w 345632"/>
                    <a:gd name="connsiteY20" fmla="*/ 204213 h 233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45632" h="233881">
                      <a:moveTo>
                        <a:pt x="275462" y="204213"/>
                      </a:moveTo>
                      <a:cubicBezTo>
                        <a:pt x="275462" y="198179"/>
                        <a:pt x="272446" y="192146"/>
                        <a:pt x="266412" y="189129"/>
                      </a:cubicBezTo>
                      <a:cubicBezTo>
                        <a:pt x="263394" y="189129"/>
                        <a:pt x="263394" y="186112"/>
                        <a:pt x="260378" y="186112"/>
                      </a:cubicBezTo>
                      <a:cubicBezTo>
                        <a:pt x="269428" y="186112"/>
                        <a:pt x="278478" y="186112"/>
                        <a:pt x="287530" y="186112"/>
                      </a:cubicBezTo>
                      <a:cubicBezTo>
                        <a:pt x="305630" y="186112"/>
                        <a:pt x="323730" y="186112"/>
                        <a:pt x="332781" y="174045"/>
                      </a:cubicBezTo>
                      <a:cubicBezTo>
                        <a:pt x="332781" y="174045"/>
                        <a:pt x="329764" y="164995"/>
                        <a:pt x="326748" y="161978"/>
                      </a:cubicBezTo>
                      <a:cubicBezTo>
                        <a:pt x="326748" y="161978"/>
                        <a:pt x="326748" y="161978"/>
                        <a:pt x="323730" y="161978"/>
                      </a:cubicBezTo>
                      <a:cubicBezTo>
                        <a:pt x="332781" y="158961"/>
                        <a:pt x="341831" y="152928"/>
                        <a:pt x="344847" y="143877"/>
                      </a:cubicBezTo>
                      <a:cubicBezTo>
                        <a:pt x="347865" y="134827"/>
                        <a:pt x="341831" y="125777"/>
                        <a:pt x="332781" y="122760"/>
                      </a:cubicBezTo>
                      <a:cubicBezTo>
                        <a:pt x="317698" y="116727"/>
                        <a:pt x="296580" y="119743"/>
                        <a:pt x="278478" y="119743"/>
                      </a:cubicBezTo>
                      <a:cubicBezTo>
                        <a:pt x="254345" y="119743"/>
                        <a:pt x="227195" y="116727"/>
                        <a:pt x="203059" y="116727"/>
                      </a:cubicBezTo>
                      <a:cubicBezTo>
                        <a:pt x="221161" y="110693"/>
                        <a:pt x="239261" y="107676"/>
                        <a:pt x="257362" y="101643"/>
                      </a:cubicBezTo>
                      <a:cubicBezTo>
                        <a:pt x="269428" y="98626"/>
                        <a:pt x="290546" y="98626"/>
                        <a:pt x="299596" y="89576"/>
                      </a:cubicBezTo>
                      <a:cubicBezTo>
                        <a:pt x="311664" y="77509"/>
                        <a:pt x="284512" y="71475"/>
                        <a:pt x="275462" y="71475"/>
                      </a:cubicBezTo>
                      <a:cubicBezTo>
                        <a:pt x="212111" y="65442"/>
                        <a:pt x="157808" y="95609"/>
                        <a:pt x="97473" y="98626"/>
                      </a:cubicBezTo>
                      <a:cubicBezTo>
                        <a:pt x="109540" y="83542"/>
                        <a:pt x="124624" y="59408"/>
                        <a:pt x="133674" y="32257"/>
                      </a:cubicBezTo>
                      <a:cubicBezTo>
                        <a:pt x="139708" y="11140"/>
                        <a:pt x="115574" y="-9977"/>
                        <a:pt x="109540" y="5106"/>
                      </a:cubicBezTo>
                      <a:cubicBezTo>
                        <a:pt x="79373" y="65442"/>
                        <a:pt x="6970" y="92592"/>
                        <a:pt x="938" y="134827"/>
                      </a:cubicBezTo>
                      <a:cubicBezTo>
                        <a:pt x="-5096" y="164995"/>
                        <a:pt x="19038" y="207229"/>
                        <a:pt x="43171" y="222313"/>
                      </a:cubicBezTo>
                      <a:cubicBezTo>
                        <a:pt x="79373" y="246447"/>
                        <a:pt x="130658" y="225330"/>
                        <a:pt x="172892" y="225330"/>
                      </a:cubicBezTo>
                      <a:cubicBezTo>
                        <a:pt x="194009" y="228347"/>
                        <a:pt x="275462" y="222313"/>
                        <a:pt x="275462" y="204213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4" name="任意多边形: 形状 93">
                  <a:extLst>
                    <a:ext uri="{FF2B5EF4-FFF2-40B4-BE49-F238E27FC236}">
                      <a16:creationId xmlns:a16="http://schemas.microsoft.com/office/drawing/2014/main" id="{6F7D80AB-F6FC-41A0-BCC0-38297528AB70}"/>
                    </a:ext>
                  </a:extLst>
                </p:cNvPr>
                <p:cNvSpPr/>
                <p:nvPr/>
              </p:nvSpPr>
              <p:spPr>
                <a:xfrm>
                  <a:off x="22503863" y="3301790"/>
                  <a:ext cx="42235" cy="48268"/>
                </a:xfrm>
                <a:custGeom>
                  <a:avLst/>
                  <a:gdLst>
                    <a:gd name="connsiteX0" fmla="*/ 6034 w 42235"/>
                    <a:gd name="connsiteY0" fmla="*/ 48268 h 48268"/>
                    <a:gd name="connsiteX1" fmla="*/ 0 w 42235"/>
                    <a:gd name="connsiteY1" fmla="*/ 45251 h 48268"/>
                    <a:gd name="connsiteX2" fmla="*/ 3016 w 42235"/>
                    <a:gd name="connsiteY2" fmla="*/ 39218 h 48268"/>
                    <a:gd name="connsiteX3" fmla="*/ 30168 w 42235"/>
                    <a:gd name="connsiteY3" fmla="*/ 6034 h 48268"/>
                    <a:gd name="connsiteX4" fmla="*/ 36201 w 42235"/>
                    <a:gd name="connsiteY4" fmla="*/ 0 h 48268"/>
                    <a:gd name="connsiteX5" fmla="*/ 36201 w 42235"/>
                    <a:gd name="connsiteY5" fmla="*/ 0 h 48268"/>
                    <a:gd name="connsiteX6" fmla="*/ 42235 w 42235"/>
                    <a:gd name="connsiteY6" fmla="*/ 6034 h 48268"/>
                    <a:gd name="connsiteX7" fmla="*/ 6034 w 42235"/>
                    <a:gd name="connsiteY7" fmla="*/ 48268 h 48268"/>
                    <a:gd name="connsiteX8" fmla="*/ 6034 w 42235"/>
                    <a:gd name="connsiteY8" fmla="*/ 48268 h 482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2235" h="48268">
                      <a:moveTo>
                        <a:pt x="6034" y="48268"/>
                      </a:moveTo>
                      <a:cubicBezTo>
                        <a:pt x="3016" y="48268"/>
                        <a:pt x="0" y="45251"/>
                        <a:pt x="0" y="45251"/>
                      </a:cubicBezTo>
                      <a:cubicBezTo>
                        <a:pt x="0" y="42235"/>
                        <a:pt x="0" y="39218"/>
                        <a:pt x="3016" y="39218"/>
                      </a:cubicBezTo>
                      <a:cubicBezTo>
                        <a:pt x="30168" y="33184"/>
                        <a:pt x="30168" y="6034"/>
                        <a:pt x="30168" y="6034"/>
                      </a:cubicBezTo>
                      <a:cubicBezTo>
                        <a:pt x="30168" y="3017"/>
                        <a:pt x="33184" y="0"/>
                        <a:pt x="36201" y="0"/>
                      </a:cubicBezTo>
                      <a:lnTo>
                        <a:pt x="36201" y="0"/>
                      </a:lnTo>
                      <a:cubicBezTo>
                        <a:pt x="39218" y="0"/>
                        <a:pt x="42235" y="3017"/>
                        <a:pt x="42235" y="6034"/>
                      </a:cubicBezTo>
                      <a:cubicBezTo>
                        <a:pt x="42235" y="15084"/>
                        <a:pt x="36201" y="42235"/>
                        <a:pt x="6034" y="48268"/>
                      </a:cubicBezTo>
                      <a:cubicBezTo>
                        <a:pt x="6034" y="48268"/>
                        <a:pt x="6034" y="48268"/>
                        <a:pt x="6034" y="48268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5" name="任意多边形: 形状 94">
                  <a:extLst>
                    <a:ext uri="{FF2B5EF4-FFF2-40B4-BE49-F238E27FC236}">
                      <a16:creationId xmlns:a16="http://schemas.microsoft.com/office/drawing/2014/main" id="{F379CFFB-C8AB-4181-B0A9-EEDEAB50EB76}"/>
                    </a:ext>
                  </a:extLst>
                </p:cNvPr>
                <p:cNvSpPr/>
                <p:nvPr/>
              </p:nvSpPr>
              <p:spPr>
                <a:xfrm>
                  <a:off x="22639617" y="3265589"/>
                  <a:ext cx="155038" cy="81452"/>
                </a:xfrm>
                <a:custGeom>
                  <a:avLst/>
                  <a:gdLst>
                    <a:gd name="connsiteX0" fmla="*/ 126704 w 155038"/>
                    <a:gd name="connsiteY0" fmla="*/ 81453 h 81452"/>
                    <a:gd name="connsiteX1" fmla="*/ 120670 w 155038"/>
                    <a:gd name="connsiteY1" fmla="*/ 75419 h 81452"/>
                    <a:gd name="connsiteX2" fmla="*/ 126704 w 155038"/>
                    <a:gd name="connsiteY2" fmla="*/ 69386 h 81452"/>
                    <a:gd name="connsiteX3" fmla="*/ 141788 w 155038"/>
                    <a:gd name="connsiteY3" fmla="*/ 60335 h 81452"/>
                    <a:gd name="connsiteX4" fmla="*/ 138770 w 155038"/>
                    <a:gd name="connsiteY4" fmla="*/ 48268 h 81452"/>
                    <a:gd name="connsiteX5" fmla="*/ 6034 w 155038"/>
                    <a:gd name="connsiteY5" fmla="*/ 39218 h 81452"/>
                    <a:gd name="connsiteX6" fmla="*/ 0 w 155038"/>
                    <a:gd name="connsiteY6" fmla="*/ 33184 h 81452"/>
                    <a:gd name="connsiteX7" fmla="*/ 6034 w 155038"/>
                    <a:gd name="connsiteY7" fmla="*/ 27151 h 81452"/>
                    <a:gd name="connsiteX8" fmla="*/ 102571 w 155038"/>
                    <a:gd name="connsiteY8" fmla="*/ 0 h 81452"/>
                    <a:gd name="connsiteX9" fmla="*/ 108603 w 155038"/>
                    <a:gd name="connsiteY9" fmla="*/ 3017 h 81452"/>
                    <a:gd name="connsiteX10" fmla="*/ 105587 w 155038"/>
                    <a:gd name="connsiteY10" fmla="*/ 9050 h 81452"/>
                    <a:gd name="connsiteX11" fmla="*/ 57319 w 155038"/>
                    <a:gd name="connsiteY11" fmla="*/ 24134 h 81452"/>
                    <a:gd name="connsiteX12" fmla="*/ 147822 w 155038"/>
                    <a:gd name="connsiteY12" fmla="*/ 36201 h 81452"/>
                    <a:gd name="connsiteX13" fmla="*/ 153854 w 155038"/>
                    <a:gd name="connsiteY13" fmla="*/ 60335 h 81452"/>
                    <a:gd name="connsiteX14" fmla="*/ 126704 w 155038"/>
                    <a:gd name="connsiteY14" fmla="*/ 81453 h 81452"/>
                    <a:gd name="connsiteX15" fmla="*/ 126704 w 155038"/>
                    <a:gd name="connsiteY15" fmla="*/ 81453 h 81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55038" h="81452">
                      <a:moveTo>
                        <a:pt x="126704" y="81453"/>
                      </a:moveTo>
                      <a:cubicBezTo>
                        <a:pt x="123686" y="81453"/>
                        <a:pt x="120670" y="78436"/>
                        <a:pt x="120670" y="75419"/>
                      </a:cubicBezTo>
                      <a:cubicBezTo>
                        <a:pt x="120670" y="72402"/>
                        <a:pt x="123686" y="69386"/>
                        <a:pt x="126704" y="69386"/>
                      </a:cubicBezTo>
                      <a:cubicBezTo>
                        <a:pt x="132738" y="69386"/>
                        <a:pt x="138770" y="63352"/>
                        <a:pt x="141788" y="60335"/>
                      </a:cubicBezTo>
                      <a:cubicBezTo>
                        <a:pt x="144804" y="57318"/>
                        <a:pt x="141788" y="51285"/>
                        <a:pt x="138770" y="48268"/>
                      </a:cubicBezTo>
                      <a:cubicBezTo>
                        <a:pt x="132738" y="42235"/>
                        <a:pt x="63351" y="39218"/>
                        <a:pt x="6034" y="39218"/>
                      </a:cubicBezTo>
                      <a:cubicBezTo>
                        <a:pt x="3016" y="39218"/>
                        <a:pt x="0" y="36201"/>
                        <a:pt x="0" y="33184"/>
                      </a:cubicBezTo>
                      <a:cubicBezTo>
                        <a:pt x="0" y="30168"/>
                        <a:pt x="3016" y="27151"/>
                        <a:pt x="6034" y="27151"/>
                      </a:cubicBezTo>
                      <a:cubicBezTo>
                        <a:pt x="42235" y="21117"/>
                        <a:pt x="102571" y="3017"/>
                        <a:pt x="102571" y="0"/>
                      </a:cubicBezTo>
                      <a:cubicBezTo>
                        <a:pt x="105587" y="0"/>
                        <a:pt x="108603" y="0"/>
                        <a:pt x="108603" y="3017"/>
                      </a:cubicBezTo>
                      <a:cubicBezTo>
                        <a:pt x="108603" y="6034"/>
                        <a:pt x="108603" y="9050"/>
                        <a:pt x="105587" y="9050"/>
                      </a:cubicBezTo>
                      <a:cubicBezTo>
                        <a:pt x="105587" y="9050"/>
                        <a:pt x="81453" y="18101"/>
                        <a:pt x="57319" y="24134"/>
                      </a:cubicBezTo>
                      <a:cubicBezTo>
                        <a:pt x="96537" y="24134"/>
                        <a:pt x="141788" y="27151"/>
                        <a:pt x="147822" y="36201"/>
                      </a:cubicBezTo>
                      <a:cubicBezTo>
                        <a:pt x="153854" y="42235"/>
                        <a:pt x="156872" y="51285"/>
                        <a:pt x="153854" y="60335"/>
                      </a:cubicBezTo>
                      <a:cubicBezTo>
                        <a:pt x="147822" y="72402"/>
                        <a:pt x="138770" y="78436"/>
                        <a:pt x="126704" y="81453"/>
                      </a:cubicBezTo>
                      <a:cubicBezTo>
                        <a:pt x="126704" y="81453"/>
                        <a:pt x="126704" y="81453"/>
                        <a:pt x="126704" y="81453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AC6654CA-1C82-40DC-ADA0-A4AB5A46920C}"/>
                  </a:ext>
                </a:extLst>
              </p:cNvPr>
              <p:cNvSpPr/>
              <p:nvPr/>
            </p:nvSpPr>
            <p:spPr>
              <a:xfrm>
                <a:off x="22603415" y="3359108"/>
                <a:ext cx="115886" cy="57318"/>
              </a:xfrm>
              <a:custGeom>
                <a:avLst/>
                <a:gdLst>
                  <a:gd name="connsiteX0" fmla="*/ 18102 w 115886"/>
                  <a:gd name="connsiteY0" fmla="*/ 57318 h 57318"/>
                  <a:gd name="connsiteX1" fmla="*/ 12068 w 115886"/>
                  <a:gd name="connsiteY1" fmla="*/ 51285 h 57318"/>
                  <a:gd name="connsiteX2" fmla="*/ 18102 w 115886"/>
                  <a:gd name="connsiteY2" fmla="*/ 45251 h 57318"/>
                  <a:gd name="connsiteX3" fmla="*/ 105587 w 115886"/>
                  <a:gd name="connsiteY3" fmla="*/ 24134 h 57318"/>
                  <a:gd name="connsiteX4" fmla="*/ 105587 w 115886"/>
                  <a:gd name="connsiteY4" fmla="*/ 18101 h 57318"/>
                  <a:gd name="connsiteX5" fmla="*/ 90503 w 115886"/>
                  <a:gd name="connsiteY5" fmla="*/ 12067 h 57318"/>
                  <a:gd name="connsiteX6" fmla="*/ 54301 w 115886"/>
                  <a:gd name="connsiteY6" fmla="*/ 15084 h 57318"/>
                  <a:gd name="connsiteX7" fmla="*/ 6034 w 115886"/>
                  <a:gd name="connsiteY7" fmla="*/ 18101 h 57318"/>
                  <a:gd name="connsiteX8" fmla="*/ 0 w 115886"/>
                  <a:gd name="connsiteY8" fmla="*/ 12067 h 57318"/>
                  <a:gd name="connsiteX9" fmla="*/ 6034 w 115886"/>
                  <a:gd name="connsiteY9" fmla="*/ 6034 h 57318"/>
                  <a:gd name="connsiteX10" fmla="*/ 51285 w 115886"/>
                  <a:gd name="connsiteY10" fmla="*/ 3017 h 57318"/>
                  <a:gd name="connsiteX11" fmla="*/ 87487 w 115886"/>
                  <a:gd name="connsiteY11" fmla="*/ 0 h 57318"/>
                  <a:gd name="connsiteX12" fmla="*/ 111620 w 115886"/>
                  <a:gd name="connsiteY12" fmla="*/ 9050 h 57318"/>
                  <a:gd name="connsiteX13" fmla="*/ 114637 w 115886"/>
                  <a:gd name="connsiteY13" fmla="*/ 27151 h 57318"/>
                  <a:gd name="connsiteX14" fmla="*/ 18102 w 115886"/>
                  <a:gd name="connsiteY14" fmla="*/ 57318 h 57318"/>
                  <a:gd name="connsiteX15" fmla="*/ 18102 w 115886"/>
                  <a:gd name="connsiteY15" fmla="*/ 57318 h 5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5886" h="57318">
                    <a:moveTo>
                      <a:pt x="18102" y="57318"/>
                    </a:moveTo>
                    <a:cubicBezTo>
                      <a:pt x="15084" y="57318"/>
                      <a:pt x="12068" y="54302"/>
                      <a:pt x="12068" y="51285"/>
                    </a:cubicBezTo>
                    <a:cubicBezTo>
                      <a:pt x="12068" y="48268"/>
                      <a:pt x="15084" y="45251"/>
                      <a:pt x="18102" y="45251"/>
                    </a:cubicBezTo>
                    <a:cubicBezTo>
                      <a:pt x="63353" y="42235"/>
                      <a:pt x="105587" y="33184"/>
                      <a:pt x="105587" y="24134"/>
                    </a:cubicBezTo>
                    <a:cubicBezTo>
                      <a:pt x="105587" y="18101"/>
                      <a:pt x="105587" y="18101"/>
                      <a:pt x="105587" y="18101"/>
                    </a:cubicBezTo>
                    <a:cubicBezTo>
                      <a:pt x="102571" y="15084"/>
                      <a:pt x="96537" y="12067"/>
                      <a:pt x="90503" y="12067"/>
                    </a:cubicBezTo>
                    <a:cubicBezTo>
                      <a:pt x="84469" y="12067"/>
                      <a:pt x="69385" y="12067"/>
                      <a:pt x="54301" y="15084"/>
                    </a:cubicBezTo>
                    <a:cubicBezTo>
                      <a:pt x="33185" y="18101"/>
                      <a:pt x="15084" y="18101"/>
                      <a:pt x="6034" y="18101"/>
                    </a:cubicBezTo>
                    <a:cubicBezTo>
                      <a:pt x="3018" y="18101"/>
                      <a:pt x="0" y="15084"/>
                      <a:pt x="0" y="12067"/>
                    </a:cubicBezTo>
                    <a:cubicBezTo>
                      <a:pt x="0" y="9050"/>
                      <a:pt x="3018" y="6034"/>
                      <a:pt x="6034" y="6034"/>
                    </a:cubicBezTo>
                    <a:cubicBezTo>
                      <a:pt x="12068" y="6034"/>
                      <a:pt x="33185" y="6034"/>
                      <a:pt x="51285" y="3017"/>
                    </a:cubicBezTo>
                    <a:cubicBezTo>
                      <a:pt x="66369" y="3017"/>
                      <a:pt x="81453" y="0"/>
                      <a:pt x="87487" y="0"/>
                    </a:cubicBezTo>
                    <a:cubicBezTo>
                      <a:pt x="99553" y="0"/>
                      <a:pt x="108604" y="3017"/>
                      <a:pt x="111620" y="9050"/>
                    </a:cubicBezTo>
                    <a:cubicBezTo>
                      <a:pt x="114637" y="12067"/>
                      <a:pt x="117654" y="18101"/>
                      <a:pt x="114637" y="27151"/>
                    </a:cubicBezTo>
                    <a:cubicBezTo>
                      <a:pt x="114637" y="48268"/>
                      <a:pt x="48269" y="54302"/>
                      <a:pt x="18102" y="57318"/>
                    </a:cubicBezTo>
                    <a:lnTo>
                      <a:pt x="18102" y="57318"/>
                    </a:lnTo>
                    <a:close/>
                  </a:path>
                </a:pathLst>
              </a:custGeom>
              <a:solidFill>
                <a:srgbClr val="E58777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7892F5A9-5F61-46A9-AC74-D07FE46AC92E}"/>
                  </a:ext>
                </a:extLst>
              </p:cNvPr>
              <p:cNvSpPr/>
              <p:nvPr/>
            </p:nvSpPr>
            <p:spPr>
              <a:xfrm>
                <a:off x="22615483" y="3324674"/>
                <a:ext cx="162149" cy="49517"/>
              </a:xfrm>
              <a:custGeom>
                <a:avLst/>
                <a:gdLst>
                  <a:gd name="connsiteX0" fmla="*/ 96537 w 162149"/>
                  <a:gd name="connsiteY0" fmla="*/ 49518 h 49517"/>
                  <a:gd name="connsiteX1" fmla="*/ 90503 w 162149"/>
                  <a:gd name="connsiteY1" fmla="*/ 43484 h 49517"/>
                  <a:gd name="connsiteX2" fmla="*/ 96537 w 162149"/>
                  <a:gd name="connsiteY2" fmla="*/ 37451 h 49517"/>
                  <a:gd name="connsiteX3" fmla="*/ 150838 w 162149"/>
                  <a:gd name="connsiteY3" fmla="*/ 28400 h 49517"/>
                  <a:gd name="connsiteX4" fmla="*/ 150838 w 162149"/>
                  <a:gd name="connsiteY4" fmla="*/ 25384 h 49517"/>
                  <a:gd name="connsiteX5" fmla="*/ 132736 w 162149"/>
                  <a:gd name="connsiteY5" fmla="*/ 13317 h 49517"/>
                  <a:gd name="connsiteX6" fmla="*/ 72401 w 162149"/>
                  <a:gd name="connsiteY6" fmla="*/ 16333 h 49517"/>
                  <a:gd name="connsiteX7" fmla="*/ 60335 w 162149"/>
                  <a:gd name="connsiteY7" fmla="*/ 16333 h 49517"/>
                  <a:gd name="connsiteX8" fmla="*/ 6034 w 162149"/>
                  <a:gd name="connsiteY8" fmla="*/ 16333 h 49517"/>
                  <a:gd name="connsiteX9" fmla="*/ 0 w 162149"/>
                  <a:gd name="connsiteY9" fmla="*/ 10300 h 49517"/>
                  <a:gd name="connsiteX10" fmla="*/ 6034 w 162149"/>
                  <a:gd name="connsiteY10" fmla="*/ 4266 h 49517"/>
                  <a:gd name="connsiteX11" fmla="*/ 60335 w 162149"/>
                  <a:gd name="connsiteY11" fmla="*/ 4266 h 49517"/>
                  <a:gd name="connsiteX12" fmla="*/ 69385 w 162149"/>
                  <a:gd name="connsiteY12" fmla="*/ 4266 h 49517"/>
                  <a:gd name="connsiteX13" fmla="*/ 132736 w 162149"/>
                  <a:gd name="connsiteY13" fmla="*/ 1250 h 49517"/>
                  <a:gd name="connsiteX14" fmla="*/ 159888 w 162149"/>
                  <a:gd name="connsiteY14" fmla="*/ 19350 h 49517"/>
                  <a:gd name="connsiteX15" fmla="*/ 159888 w 162149"/>
                  <a:gd name="connsiteY15" fmla="*/ 34434 h 49517"/>
                  <a:gd name="connsiteX16" fmla="*/ 96537 w 162149"/>
                  <a:gd name="connsiteY16" fmla="*/ 49518 h 49517"/>
                  <a:gd name="connsiteX17" fmla="*/ 96537 w 162149"/>
                  <a:gd name="connsiteY17" fmla="*/ 49518 h 49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2149" h="49517">
                    <a:moveTo>
                      <a:pt x="96537" y="49518"/>
                    </a:moveTo>
                    <a:cubicBezTo>
                      <a:pt x="93519" y="49518"/>
                      <a:pt x="90503" y="46501"/>
                      <a:pt x="90503" y="43484"/>
                    </a:cubicBezTo>
                    <a:cubicBezTo>
                      <a:pt x="90503" y="40468"/>
                      <a:pt x="93519" y="37451"/>
                      <a:pt x="96537" y="37451"/>
                    </a:cubicBezTo>
                    <a:cubicBezTo>
                      <a:pt x="123686" y="37451"/>
                      <a:pt x="147820" y="31417"/>
                      <a:pt x="150838" y="28400"/>
                    </a:cubicBezTo>
                    <a:cubicBezTo>
                      <a:pt x="150838" y="28400"/>
                      <a:pt x="150838" y="25384"/>
                      <a:pt x="150838" y="25384"/>
                    </a:cubicBezTo>
                    <a:cubicBezTo>
                      <a:pt x="147820" y="19350"/>
                      <a:pt x="141788" y="16333"/>
                      <a:pt x="132736" y="13317"/>
                    </a:cubicBezTo>
                    <a:cubicBezTo>
                      <a:pt x="123686" y="10300"/>
                      <a:pt x="90503" y="16333"/>
                      <a:pt x="72401" y="16333"/>
                    </a:cubicBezTo>
                    <a:cubicBezTo>
                      <a:pt x="66369" y="16333"/>
                      <a:pt x="63351" y="16333"/>
                      <a:pt x="60335" y="16333"/>
                    </a:cubicBezTo>
                    <a:cubicBezTo>
                      <a:pt x="51285" y="16333"/>
                      <a:pt x="6034" y="16333"/>
                      <a:pt x="6034" y="16333"/>
                    </a:cubicBezTo>
                    <a:cubicBezTo>
                      <a:pt x="3016" y="16333"/>
                      <a:pt x="0" y="13317"/>
                      <a:pt x="0" y="10300"/>
                    </a:cubicBezTo>
                    <a:cubicBezTo>
                      <a:pt x="0" y="7283"/>
                      <a:pt x="3016" y="4266"/>
                      <a:pt x="6034" y="4266"/>
                    </a:cubicBezTo>
                    <a:cubicBezTo>
                      <a:pt x="18100" y="4266"/>
                      <a:pt x="54301" y="7283"/>
                      <a:pt x="60335" y="4266"/>
                    </a:cubicBezTo>
                    <a:cubicBezTo>
                      <a:pt x="63351" y="4266"/>
                      <a:pt x="66369" y="4266"/>
                      <a:pt x="69385" y="4266"/>
                    </a:cubicBezTo>
                    <a:cubicBezTo>
                      <a:pt x="93519" y="1250"/>
                      <a:pt x="123686" y="-1767"/>
                      <a:pt x="132736" y="1250"/>
                    </a:cubicBezTo>
                    <a:cubicBezTo>
                      <a:pt x="141788" y="4266"/>
                      <a:pt x="153854" y="10300"/>
                      <a:pt x="159888" y="19350"/>
                    </a:cubicBezTo>
                    <a:cubicBezTo>
                      <a:pt x="162904" y="25384"/>
                      <a:pt x="162904" y="28400"/>
                      <a:pt x="159888" y="34434"/>
                    </a:cubicBezTo>
                    <a:cubicBezTo>
                      <a:pt x="153854" y="46501"/>
                      <a:pt x="111620" y="49518"/>
                      <a:pt x="96537" y="49518"/>
                    </a:cubicBezTo>
                    <a:cubicBezTo>
                      <a:pt x="96537" y="49518"/>
                      <a:pt x="96537" y="49518"/>
                      <a:pt x="96537" y="4951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91251C18-57F6-4ABD-8FAE-3D3714296991}"/>
                </a:ext>
              </a:extLst>
            </p:cNvPr>
            <p:cNvSpPr/>
            <p:nvPr/>
          </p:nvSpPr>
          <p:spPr>
            <a:xfrm>
              <a:off x="21149781" y="3161083"/>
              <a:ext cx="471535" cy="336795"/>
            </a:xfrm>
            <a:custGeom>
              <a:avLst/>
              <a:gdLst>
                <a:gd name="connsiteX0" fmla="*/ 394753 w 471535"/>
                <a:gd name="connsiteY0" fmla="*/ 336796 h 336795"/>
                <a:gd name="connsiteX1" fmla="*/ 2574 w 471535"/>
                <a:gd name="connsiteY1" fmla="*/ 71321 h 336795"/>
                <a:gd name="connsiteX2" fmla="*/ 470172 w 471535"/>
                <a:gd name="connsiteY2" fmla="*/ 44170 h 336795"/>
                <a:gd name="connsiteX3" fmla="*/ 394753 w 471535"/>
                <a:gd name="connsiteY3" fmla="*/ 336796 h 336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535" h="336795">
                  <a:moveTo>
                    <a:pt x="394753" y="336796"/>
                  </a:moveTo>
                  <a:cubicBezTo>
                    <a:pt x="213747" y="288528"/>
                    <a:pt x="-27594" y="210092"/>
                    <a:pt x="2574" y="71321"/>
                  </a:cubicBezTo>
                  <a:cubicBezTo>
                    <a:pt x="26708" y="-28232"/>
                    <a:pt x="295200" y="-10131"/>
                    <a:pt x="470172" y="44170"/>
                  </a:cubicBezTo>
                  <a:cubicBezTo>
                    <a:pt x="476206" y="119589"/>
                    <a:pt x="464138" y="261377"/>
                    <a:pt x="394753" y="336796"/>
                  </a:cubicBezTo>
                  <a:close/>
                </a:path>
              </a:pathLst>
            </a:custGeom>
            <a:solidFill>
              <a:srgbClr val="D1615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3A0FE66C-440B-4ED8-AC00-F97255E14A93}"/>
                </a:ext>
              </a:extLst>
            </p:cNvPr>
            <p:cNvSpPr/>
            <p:nvPr/>
          </p:nvSpPr>
          <p:spPr>
            <a:xfrm>
              <a:off x="20598738" y="3131450"/>
              <a:ext cx="808945" cy="975903"/>
            </a:xfrm>
            <a:custGeom>
              <a:avLst/>
              <a:gdLst>
                <a:gd name="connsiteX0" fmla="*/ 43783 w 808945"/>
                <a:gd name="connsiteY0" fmla="*/ 387546 h 975903"/>
                <a:gd name="connsiteX1" fmla="*/ 58867 w 808945"/>
                <a:gd name="connsiteY1" fmla="*/ 67770 h 975903"/>
                <a:gd name="connsiteX2" fmla="*/ 423896 w 808945"/>
                <a:gd name="connsiteY2" fmla="*/ 4418 h 975903"/>
                <a:gd name="connsiteX3" fmla="*/ 719538 w 808945"/>
                <a:gd name="connsiteY3" fmla="*/ 103971 h 975903"/>
                <a:gd name="connsiteX4" fmla="*/ 758756 w 808945"/>
                <a:gd name="connsiteY4" fmla="*/ 646988 h 975903"/>
                <a:gd name="connsiteX5" fmla="*/ 716520 w 808945"/>
                <a:gd name="connsiteY5" fmla="*/ 969781 h 975903"/>
                <a:gd name="connsiteX6" fmla="*/ 46801 w 808945"/>
                <a:gd name="connsiteY6" fmla="*/ 954697 h 975903"/>
                <a:gd name="connsiteX7" fmla="*/ 43783 w 808945"/>
                <a:gd name="connsiteY7" fmla="*/ 387546 h 97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8945" h="975903">
                  <a:moveTo>
                    <a:pt x="43783" y="387546"/>
                  </a:moveTo>
                  <a:cubicBezTo>
                    <a:pt x="34733" y="357379"/>
                    <a:pt x="-58786" y="131122"/>
                    <a:pt x="58867" y="67770"/>
                  </a:cubicBezTo>
                  <a:cubicBezTo>
                    <a:pt x="161438" y="13468"/>
                    <a:pt x="306242" y="-10666"/>
                    <a:pt x="423896" y="4418"/>
                  </a:cubicBezTo>
                  <a:cubicBezTo>
                    <a:pt x="553616" y="19502"/>
                    <a:pt x="683337" y="40619"/>
                    <a:pt x="719538" y="103971"/>
                  </a:cubicBezTo>
                  <a:cubicBezTo>
                    <a:pt x="831159" y="287993"/>
                    <a:pt x="831159" y="450898"/>
                    <a:pt x="758756" y="646988"/>
                  </a:cubicBezTo>
                  <a:cubicBezTo>
                    <a:pt x="737638" y="704306"/>
                    <a:pt x="731604" y="837044"/>
                    <a:pt x="716520" y="969781"/>
                  </a:cubicBezTo>
                  <a:cubicBezTo>
                    <a:pt x="716520" y="969781"/>
                    <a:pt x="435962" y="990898"/>
                    <a:pt x="46801" y="954697"/>
                  </a:cubicBezTo>
                  <a:cubicBezTo>
                    <a:pt x="79985" y="737490"/>
                    <a:pt x="49817" y="411680"/>
                    <a:pt x="43783" y="387546"/>
                  </a:cubicBezTo>
                  <a:close/>
                </a:path>
              </a:pathLst>
            </a:custGeom>
            <a:solidFill>
              <a:srgbClr val="D1615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06C010FE-AED9-41B8-B51E-3A0B5A584197}"/>
                </a:ext>
              </a:extLst>
            </p:cNvPr>
            <p:cNvSpPr/>
            <p:nvPr/>
          </p:nvSpPr>
          <p:spPr>
            <a:xfrm>
              <a:off x="20826545" y="2954862"/>
              <a:ext cx="304692" cy="221955"/>
            </a:xfrm>
            <a:custGeom>
              <a:avLst/>
              <a:gdLst>
                <a:gd name="connsiteX0" fmla="*/ 250391 w 304692"/>
                <a:gd name="connsiteY0" fmla="*/ 60335 h 221955"/>
                <a:gd name="connsiteX1" fmla="*/ 304692 w 304692"/>
                <a:gd name="connsiteY1" fmla="*/ 199106 h 221955"/>
                <a:gd name="connsiteX2" fmla="*/ 0 w 304692"/>
                <a:gd name="connsiteY2" fmla="*/ 184022 h 221955"/>
                <a:gd name="connsiteX3" fmla="*/ 51283 w 304692"/>
                <a:gd name="connsiteY3" fmla="*/ 0 h 221955"/>
                <a:gd name="connsiteX4" fmla="*/ 250391 w 304692"/>
                <a:gd name="connsiteY4" fmla="*/ 60335 h 221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692" h="221955">
                  <a:moveTo>
                    <a:pt x="250391" y="60335"/>
                  </a:moveTo>
                  <a:cubicBezTo>
                    <a:pt x="250391" y="60335"/>
                    <a:pt x="244357" y="168939"/>
                    <a:pt x="304692" y="199106"/>
                  </a:cubicBezTo>
                  <a:cubicBezTo>
                    <a:pt x="304692" y="199106"/>
                    <a:pt x="126702" y="259441"/>
                    <a:pt x="0" y="184022"/>
                  </a:cubicBezTo>
                  <a:cubicBezTo>
                    <a:pt x="54301" y="141788"/>
                    <a:pt x="51283" y="60335"/>
                    <a:pt x="51283" y="0"/>
                  </a:cubicBezTo>
                  <a:cubicBezTo>
                    <a:pt x="48267" y="0"/>
                    <a:pt x="196089" y="66369"/>
                    <a:pt x="250391" y="60335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0BA412D4-EA7E-4453-B7A5-679690EF2AAD}"/>
                </a:ext>
              </a:extLst>
            </p:cNvPr>
            <p:cNvSpPr/>
            <p:nvPr/>
          </p:nvSpPr>
          <p:spPr>
            <a:xfrm>
              <a:off x="21307977" y="3228138"/>
              <a:ext cx="102373" cy="553316"/>
            </a:xfrm>
            <a:custGeom>
              <a:avLst/>
              <a:gdLst>
                <a:gd name="connsiteX0" fmla="*/ 46501 w 102373"/>
                <a:gd name="connsiteY0" fmla="*/ 553317 h 553316"/>
                <a:gd name="connsiteX1" fmla="*/ 46501 w 102373"/>
                <a:gd name="connsiteY1" fmla="*/ 553317 h 553316"/>
                <a:gd name="connsiteX2" fmla="*/ 40468 w 102373"/>
                <a:gd name="connsiteY2" fmla="*/ 547283 h 553316"/>
                <a:gd name="connsiteX3" fmla="*/ 55551 w 102373"/>
                <a:gd name="connsiteY3" fmla="*/ 492981 h 553316"/>
                <a:gd name="connsiteX4" fmla="*/ 88735 w 102373"/>
                <a:gd name="connsiteY4" fmla="*/ 345160 h 553316"/>
                <a:gd name="connsiteX5" fmla="*/ 1250 w 102373"/>
                <a:gd name="connsiteY5" fmla="*/ 10300 h 553316"/>
                <a:gd name="connsiteX6" fmla="*/ 4266 w 102373"/>
                <a:gd name="connsiteY6" fmla="*/ 1250 h 553316"/>
                <a:gd name="connsiteX7" fmla="*/ 13316 w 102373"/>
                <a:gd name="connsiteY7" fmla="*/ 4266 h 553316"/>
                <a:gd name="connsiteX8" fmla="*/ 100803 w 102373"/>
                <a:gd name="connsiteY8" fmla="*/ 345160 h 553316"/>
                <a:gd name="connsiteX9" fmla="*/ 67617 w 102373"/>
                <a:gd name="connsiteY9" fmla="*/ 492981 h 553316"/>
                <a:gd name="connsiteX10" fmla="*/ 52534 w 102373"/>
                <a:gd name="connsiteY10" fmla="*/ 547283 h 553316"/>
                <a:gd name="connsiteX11" fmla="*/ 46501 w 102373"/>
                <a:gd name="connsiteY11" fmla="*/ 553317 h 553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373" h="553316">
                  <a:moveTo>
                    <a:pt x="46501" y="553317"/>
                  </a:moveTo>
                  <a:cubicBezTo>
                    <a:pt x="46501" y="553317"/>
                    <a:pt x="46501" y="553317"/>
                    <a:pt x="46501" y="553317"/>
                  </a:cubicBezTo>
                  <a:cubicBezTo>
                    <a:pt x="43484" y="553317"/>
                    <a:pt x="40468" y="550300"/>
                    <a:pt x="40468" y="547283"/>
                  </a:cubicBezTo>
                  <a:cubicBezTo>
                    <a:pt x="46501" y="529183"/>
                    <a:pt x="49518" y="511082"/>
                    <a:pt x="55551" y="492981"/>
                  </a:cubicBezTo>
                  <a:cubicBezTo>
                    <a:pt x="70635" y="441697"/>
                    <a:pt x="85719" y="390412"/>
                    <a:pt x="88735" y="345160"/>
                  </a:cubicBezTo>
                  <a:cubicBezTo>
                    <a:pt x="94769" y="224490"/>
                    <a:pt x="67617" y="112870"/>
                    <a:pt x="1250" y="10300"/>
                  </a:cubicBezTo>
                  <a:cubicBezTo>
                    <a:pt x="-1768" y="7283"/>
                    <a:pt x="1250" y="4266"/>
                    <a:pt x="4266" y="1250"/>
                  </a:cubicBezTo>
                  <a:cubicBezTo>
                    <a:pt x="7282" y="-1767"/>
                    <a:pt x="10300" y="1250"/>
                    <a:pt x="13316" y="4266"/>
                  </a:cubicBezTo>
                  <a:cubicBezTo>
                    <a:pt x="79685" y="109853"/>
                    <a:pt x="109853" y="224490"/>
                    <a:pt x="100803" y="345160"/>
                  </a:cubicBezTo>
                  <a:cubicBezTo>
                    <a:pt x="97785" y="390412"/>
                    <a:pt x="82701" y="444713"/>
                    <a:pt x="67617" y="492981"/>
                  </a:cubicBezTo>
                  <a:cubicBezTo>
                    <a:pt x="61585" y="511082"/>
                    <a:pt x="55551" y="529183"/>
                    <a:pt x="52534" y="547283"/>
                  </a:cubicBezTo>
                  <a:cubicBezTo>
                    <a:pt x="52534" y="550300"/>
                    <a:pt x="49518" y="553317"/>
                    <a:pt x="46501" y="553317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9843542E-B4F8-4A38-9519-D4FDFF94EC8B}"/>
                </a:ext>
              </a:extLst>
            </p:cNvPr>
            <p:cNvSpPr/>
            <p:nvPr/>
          </p:nvSpPr>
          <p:spPr>
            <a:xfrm>
              <a:off x="20892912" y="3667010"/>
              <a:ext cx="395196" cy="36009"/>
            </a:xfrm>
            <a:custGeom>
              <a:avLst/>
              <a:gdLst>
                <a:gd name="connsiteX0" fmla="*/ 392179 w 395196"/>
                <a:gd name="connsiteY0" fmla="*/ 36009 h 36009"/>
                <a:gd name="connsiteX1" fmla="*/ 392179 w 395196"/>
                <a:gd name="connsiteY1" fmla="*/ 36009 h 36009"/>
                <a:gd name="connsiteX2" fmla="*/ 6034 w 395196"/>
                <a:gd name="connsiteY2" fmla="*/ 23942 h 36009"/>
                <a:gd name="connsiteX3" fmla="*/ 0 w 395196"/>
                <a:gd name="connsiteY3" fmla="*/ 20925 h 36009"/>
                <a:gd name="connsiteX4" fmla="*/ 3018 w 395196"/>
                <a:gd name="connsiteY4" fmla="*/ 14892 h 36009"/>
                <a:gd name="connsiteX5" fmla="*/ 392179 w 395196"/>
                <a:gd name="connsiteY5" fmla="*/ 26959 h 36009"/>
                <a:gd name="connsiteX6" fmla="*/ 395197 w 395196"/>
                <a:gd name="connsiteY6" fmla="*/ 32992 h 36009"/>
                <a:gd name="connsiteX7" fmla="*/ 392179 w 395196"/>
                <a:gd name="connsiteY7" fmla="*/ 36009 h 36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5196" h="36009">
                  <a:moveTo>
                    <a:pt x="392179" y="36009"/>
                  </a:moveTo>
                  <a:cubicBezTo>
                    <a:pt x="392179" y="36009"/>
                    <a:pt x="389163" y="36009"/>
                    <a:pt x="392179" y="36009"/>
                  </a:cubicBezTo>
                  <a:cubicBezTo>
                    <a:pt x="307710" y="5841"/>
                    <a:pt x="105587" y="-192"/>
                    <a:pt x="6034" y="23942"/>
                  </a:cubicBezTo>
                  <a:cubicBezTo>
                    <a:pt x="3018" y="23942"/>
                    <a:pt x="0" y="23942"/>
                    <a:pt x="0" y="20925"/>
                  </a:cubicBezTo>
                  <a:cubicBezTo>
                    <a:pt x="0" y="17909"/>
                    <a:pt x="0" y="14892"/>
                    <a:pt x="3018" y="14892"/>
                  </a:cubicBezTo>
                  <a:cubicBezTo>
                    <a:pt x="102571" y="-9242"/>
                    <a:pt x="307710" y="-3209"/>
                    <a:pt x="392179" y="26959"/>
                  </a:cubicBezTo>
                  <a:cubicBezTo>
                    <a:pt x="395197" y="26959"/>
                    <a:pt x="395197" y="29976"/>
                    <a:pt x="395197" y="32992"/>
                  </a:cubicBezTo>
                  <a:cubicBezTo>
                    <a:pt x="395197" y="36009"/>
                    <a:pt x="395197" y="36009"/>
                    <a:pt x="392179" y="36009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66D6D333-3EE8-4F07-AA23-88873EA22206}"/>
                </a:ext>
              </a:extLst>
            </p:cNvPr>
            <p:cNvSpPr/>
            <p:nvPr/>
          </p:nvSpPr>
          <p:spPr>
            <a:xfrm>
              <a:off x="20799393" y="3138885"/>
              <a:ext cx="355977" cy="63351"/>
            </a:xfrm>
            <a:custGeom>
              <a:avLst/>
              <a:gdLst>
                <a:gd name="connsiteX0" fmla="*/ 319776 w 355977"/>
                <a:gd name="connsiteY0" fmla="*/ 9050 h 63351"/>
                <a:gd name="connsiteX1" fmla="*/ 24134 w 355977"/>
                <a:gd name="connsiteY1" fmla="*/ 0 h 63351"/>
                <a:gd name="connsiteX2" fmla="*/ 0 w 355977"/>
                <a:gd name="connsiteY2" fmla="*/ 9050 h 63351"/>
                <a:gd name="connsiteX3" fmla="*/ 187039 w 355977"/>
                <a:gd name="connsiteY3" fmla="*/ 63352 h 63351"/>
                <a:gd name="connsiteX4" fmla="*/ 355977 w 355977"/>
                <a:gd name="connsiteY4" fmla="*/ 15084 h 63351"/>
                <a:gd name="connsiteX5" fmla="*/ 319776 w 355977"/>
                <a:gd name="connsiteY5" fmla="*/ 9050 h 63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5977" h="63351">
                  <a:moveTo>
                    <a:pt x="319776" y="9050"/>
                  </a:moveTo>
                  <a:cubicBezTo>
                    <a:pt x="319776" y="9050"/>
                    <a:pt x="208157" y="66369"/>
                    <a:pt x="24134" y="0"/>
                  </a:cubicBezTo>
                  <a:lnTo>
                    <a:pt x="0" y="9050"/>
                  </a:lnTo>
                  <a:cubicBezTo>
                    <a:pt x="0" y="9050"/>
                    <a:pt x="78435" y="63352"/>
                    <a:pt x="187039" y="63352"/>
                  </a:cubicBezTo>
                  <a:cubicBezTo>
                    <a:pt x="289608" y="63352"/>
                    <a:pt x="355977" y="15084"/>
                    <a:pt x="355977" y="15084"/>
                  </a:cubicBezTo>
                  <a:cubicBezTo>
                    <a:pt x="355977" y="15084"/>
                    <a:pt x="340894" y="9050"/>
                    <a:pt x="319776" y="9050"/>
                  </a:cubicBez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60BF43E4-C44B-4BD4-BB16-ABE221146F78}"/>
                </a:ext>
              </a:extLst>
            </p:cNvPr>
            <p:cNvSpPr/>
            <p:nvPr/>
          </p:nvSpPr>
          <p:spPr>
            <a:xfrm>
              <a:off x="19456935" y="3216747"/>
              <a:ext cx="1140821" cy="283411"/>
            </a:xfrm>
            <a:custGeom>
              <a:avLst/>
              <a:gdLst>
                <a:gd name="connsiteX0" fmla="*/ 1113185 w 1140821"/>
                <a:gd name="connsiteY0" fmla="*/ 154429 h 283411"/>
                <a:gd name="connsiteX1" fmla="*/ 977431 w 1140821"/>
                <a:gd name="connsiteY1" fmla="*/ 6608 h 283411"/>
                <a:gd name="connsiteX2" fmla="*/ 515865 w 1140821"/>
                <a:gd name="connsiteY2" fmla="*/ 88060 h 283411"/>
                <a:gd name="connsiteX3" fmla="*/ 24134 w 1140821"/>
                <a:gd name="connsiteY3" fmla="*/ 79010 h 283411"/>
                <a:gd name="connsiteX4" fmla="*/ 0 w 1140821"/>
                <a:gd name="connsiteY4" fmla="*/ 202697 h 283411"/>
                <a:gd name="connsiteX5" fmla="*/ 500781 w 1140821"/>
                <a:gd name="connsiteY5" fmla="*/ 275099 h 283411"/>
                <a:gd name="connsiteX6" fmla="*/ 1113185 w 1140821"/>
                <a:gd name="connsiteY6" fmla="*/ 154429 h 283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0821" h="283411">
                  <a:moveTo>
                    <a:pt x="1113185" y="154429"/>
                  </a:moveTo>
                  <a:cubicBezTo>
                    <a:pt x="1185586" y="-11493"/>
                    <a:pt x="1107151" y="-8476"/>
                    <a:pt x="977431" y="6608"/>
                  </a:cubicBezTo>
                  <a:cubicBezTo>
                    <a:pt x="841677" y="21691"/>
                    <a:pt x="546033" y="91077"/>
                    <a:pt x="515865" y="88060"/>
                  </a:cubicBezTo>
                  <a:cubicBezTo>
                    <a:pt x="416313" y="94094"/>
                    <a:pt x="24134" y="79010"/>
                    <a:pt x="24134" y="79010"/>
                  </a:cubicBezTo>
                  <a:cubicBezTo>
                    <a:pt x="9050" y="106161"/>
                    <a:pt x="0" y="202697"/>
                    <a:pt x="0" y="202697"/>
                  </a:cubicBezTo>
                  <a:cubicBezTo>
                    <a:pt x="0" y="202697"/>
                    <a:pt x="362011" y="266049"/>
                    <a:pt x="500781" y="275099"/>
                  </a:cubicBezTo>
                  <a:cubicBezTo>
                    <a:pt x="570168" y="281133"/>
                    <a:pt x="1037766" y="320351"/>
                    <a:pt x="1113185" y="154429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E538C4E6-1CFD-4560-85A7-3067A7063A3F}"/>
                </a:ext>
              </a:extLst>
            </p:cNvPr>
            <p:cNvSpPr/>
            <p:nvPr/>
          </p:nvSpPr>
          <p:spPr>
            <a:xfrm>
              <a:off x="20325762" y="3162791"/>
              <a:ext cx="408778" cy="389389"/>
            </a:xfrm>
            <a:custGeom>
              <a:avLst/>
              <a:gdLst>
                <a:gd name="connsiteX0" fmla="*/ 0 w 408778"/>
                <a:gd name="connsiteY0" fmla="*/ 30395 h 389389"/>
                <a:gd name="connsiteX1" fmla="*/ 398213 w 408778"/>
                <a:gd name="connsiteY1" fmla="*/ 78663 h 389389"/>
                <a:gd name="connsiteX2" fmla="*/ 90503 w 408778"/>
                <a:gd name="connsiteY2" fmla="*/ 389390 h 389389"/>
                <a:gd name="connsiteX3" fmla="*/ 0 w 408778"/>
                <a:gd name="connsiteY3" fmla="*/ 30395 h 38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778" h="389389">
                  <a:moveTo>
                    <a:pt x="0" y="30395"/>
                  </a:moveTo>
                  <a:cubicBezTo>
                    <a:pt x="171956" y="-32957"/>
                    <a:pt x="355977" y="12295"/>
                    <a:pt x="398213" y="78663"/>
                  </a:cubicBezTo>
                  <a:cubicBezTo>
                    <a:pt x="452514" y="166150"/>
                    <a:pt x="289610" y="341122"/>
                    <a:pt x="90503" y="389390"/>
                  </a:cubicBezTo>
                  <a:cubicBezTo>
                    <a:pt x="33185" y="338105"/>
                    <a:pt x="3018" y="129948"/>
                    <a:pt x="0" y="30395"/>
                  </a:cubicBezTo>
                  <a:close/>
                </a:path>
              </a:pathLst>
            </a:custGeom>
            <a:solidFill>
              <a:srgbClr val="D1615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07862776-8A42-45A8-8971-E6901F6677E3}"/>
                </a:ext>
              </a:extLst>
            </p:cNvPr>
            <p:cNvSpPr/>
            <p:nvPr/>
          </p:nvSpPr>
          <p:spPr>
            <a:xfrm>
              <a:off x="20355929" y="3265589"/>
              <a:ext cx="383025" cy="292625"/>
            </a:xfrm>
            <a:custGeom>
              <a:avLst/>
              <a:gdLst>
                <a:gd name="connsiteX0" fmla="*/ 57319 w 383025"/>
                <a:gd name="connsiteY0" fmla="*/ 292626 h 292625"/>
                <a:gd name="connsiteX1" fmla="*/ 57319 w 383025"/>
                <a:gd name="connsiteY1" fmla="*/ 292626 h 292625"/>
                <a:gd name="connsiteX2" fmla="*/ 0 w 383025"/>
                <a:gd name="connsiteY2" fmla="*/ 153855 h 292625"/>
                <a:gd name="connsiteX3" fmla="*/ 3018 w 383025"/>
                <a:gd name="connsiteY3" fmla="*/ 147821 h 292625"/>
                <a:gd name="connsiteX4" fmla="*/ 9050 w 383025"/>
                <a:gd name="connsiteY4" fmla="*/ 150838 h 292625"/>
                <a:gd name="connsiteX5" fmla="*/ 57319 w 383025"/>
                <a:gd name="connsiteY5" fmla="*/ 280559 h 292625"/>
                <a:gd name="connsiteX6" fmla="*/ 358995 w 383025"/>
                <a:gd name="connsiteY6" fmla="*/ 66369 h 292625"/>
                <a:gd name="connsiteX7" fmla="*/ 371061 w 383025"/>
                <a:gd name="connsiteY7" fmla="*/ 6034 h 292625"/>
                <a:gd name="connsiteX8" fmla="*/ 374079 w 383025"/>
                <a:gd name="connsiteY8" fmla="*/ 0 h 292625"/>
                <a:gd name="connsiteX9" fmla="*/ 380113 w 383025"/>
                <a:gd name="connsiteY9" fmla="*/ 3017 h 292625"/>
                <a:gd name="connsiteX10" fmla="*/ 368045 w 383025"/>
                <a:gd name="connsiteY10" fmla="*/ 72402 h 292625"/>
                <a:gd name="connsiteX11" fmla="*/ 57319 w 383025"/>
                <a:gd name="connsiteY11" fmla="*/ 292626 h 292625"/>
                <a:gd name="connsiteX12" fmla="*/ 57319 w 383025"/>
                <a:gd name="connsiteY12" fmla="*/ 292626 h 292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3025" h="292625">
                  <a:moveTo>
                    <a:pt x="57319" y="292626"/>
                  </a:moveTo>
                  <a:lnTo>
                    <a:pt x="57319" y="292626"/>
                  </a:lnTo>
                  <a:cubicBezTo>
                    <a:pt x="51285" y="289609"/>
                    <a:pt x="24134" y="277542"/>
                    <a:pt x="0" y="153855"/>
                  </a:cubicBezTo>
                  <a:cubicBezTo>
                    <a:pt x="0" y="150838"/>
                    <a:pt x="0" y="147821"/>
                    <a:pt x="3018" y="147821"/>
                  </a:cubicBezTo>
                  <a:cubicBezTo>
                    <a:pt x="6034" y="147821"/>
                    <a:pt x="9050" y="147821"/>
                    <a:pt x="9050" y="150838"/>
                  </a:cubicBezTo>
                  <a:cubicBezTo>
                    <a:pt x="30168" y="253408"/>
                    <a:pt x="51285" y="277542"/>
                    <a:pt x="57319" y="280559"/>
                  </a:cubicBezTo>
                  <a:cubicBezTo>
                    <a:pt x="153856" y="256425"/>
                    <a:pt x="310726" y="153855"/>
                    <a:pt x="358995" y="66369"/>
                  </a:cubicBezTo>
                  <a:cubicBezTo>
                    <a:pt x="371061" y="42235"/>
                    <a:pt x="377095" y="21117"/>
                    <a:pt x="371061" y="6034"/>
                  </a:cubicBezTo>
                  <a:cubicBezTo>
                    <a:pt x="371061" y="3017"/>
                    <a:pt x="371061" y="0"/>
                    <a:pt x="374079" y="0"/>
                  </a:cubicBezTo>
                  <a:cubicBezTo>
                    <a:pt x="377095" y="0"/>
                    <a:pt x="380113" y="0"/>
                    <a:pt x="380113" y="3017"/>
                  </a:cubicBezTo>
                  <a:cubicBezTo>
                    <a:pt x="386145" y="24134"/>
                    <a:pt x="383129" y="48268"/>
                    <a:pt x="368045" y="72402"/>
                  </a:cubicBezTo>
                  <a:cubicBezTo>
                    <a:pt x="319778" y="159888"/>
                    <a:pt x="156872" y="268492"/>
                    <a:pt x="57319" y="292626"/>
                  </a:cubicBezTo>
                  <a:lnTo>
                    <a:pt x="57319" y="292626"/>
                  </a:ln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5" name="图形 1">
              <a:extLst>
                <a:ext uri="{FF2B5EF4-FFF2-40B4-BE49-F238E27FC236}">
                  <a16:creationId xmlns:a16="http://schemas.microsoft.com/office/drawing/2014/main" id="{1E25F3D5-C9F8-4D62-AAD3-EEB1BE3CD6AF}"/>
                </a:ext>
              </a:extLst>
            </p:cNvPr>
            <p:cNvGrpSpPr/>
            <p:nvPr/>
          </p:nvGrpSpPr>
          <p:grpSpPr>
            <a:xfrm>
              <a:off x="19172176" y="3185063"/>
              <a:ext cx="351416" cy="235997"/>
              <a:chOff x="19172176" y="3185063"/>
              <a:chExt cx="351416" cy="235997"/>
            </a:xfrm>
          </p:grpSpPr>
          <p:grpSp>
            <p:nvGrpSpPr>
              <p:cNvPr id="84" name="图形 1">
                <a:extLst>
                  <a:ext uri="{FF2B5EF4-FFF2-40B4-BE49-F238E27FC236}">
                    <a16:creationId xmlns:a16="http://schemas.microsoft.com/office/drawing/2014/main" id="{DA194DBE-41E5-4946-B6ED-45511FAC93DD}"/>
                  </a:ext>
                </a:extLst>
              </p:cNvPr>
              <p:cNvGrpSpPr/>
              <p:nvPr/>
            </p:nvGrpSpPr>
            <p:grpSpPr>
              <a:xfrm>
                <a:off x="19172176" y="3185063"/>
                <a:ext cx="351416" cy="235997"/>
                <a:chOff x="19172176" y="3185063"/>
                <a:chExt cx="351416" cy="235997"/>
              </a:xfrm>
            </p:grpSpPr>
            <p:sp>
              <p:nvSpPr>
                <p:cNvPr id="87" name="任意多边形: 形状 86">
                  <a:extLst>
                    <a:ext uri="{FF2B5EF4-FFF2-40B4-BE49-F238E27FC236}">
                      <a16:creationId xmlns:a16="http://schemas.microsoft.com/office/drawing/2014/main" id="{90B68F69-68C5-47E5-92A2-CCCECE997A32}"/>
                    </a:ext>
                  </a:extLst>
                </p:cNvPr>
                <p:cNvSpPr/>
                <p:nvPr/>
              </p:nvSpPr>
              <p:spPr>
                <a:xfrm>
                  <a:off x="19178305" y="3185063"/>
                  <a:ext cx="345287" cy="235997"/>
                </a:xfrm>
                <a:custGeom>
                  <a:avLst/>
                  <a:gdLst>
                    <a:gd name="connsiteX0" fmla="*/ 173043 w 345287"/>
                    <a:gd name="connsiteY0" fmla="*/ 225330 h 235997"/>
                    <a:gd name="connsiteX1" fmla="*/ 302764 w 345287"/>
                    <a:gd name="connsiteY1" fmla="*/ 222313 h 235997"/>
                    <a:gd name="connsiteX2" fmla="*/ 344999 w 345287"/>
                    <a:gd name="connsiteY2" fmla="*/ 134827 h 235997"/>
                    <a:gd name="connsiteX3" fmla="*/ 236395 w 345287"/>
                    <a:gd name="connsiteY3" fmla="*/ 5106 h 235997"/>
                    <a:gd name="connsiteX4" fmla="*/ 212261 w 345287"/>
                    <a:gd name="connsiteY4" fmla="*/ 32257 h 235997"/>
                    <a:gd name="connsiteX5" fmla="*/ 248462 w 345287"/>
                    <a:gd name="connsiteY5" fmla="*/ 98626 h 235997"/>
                    <a:gd name="connsiteX6" fmla="*/ 70473 w 345287"/>
                    <a:gd name="connsiteY6" fmla="*/ 71475 h 235997"/>
                    <a:gd name="connsiteX7" fmla="*/ 46339 w 345287"/>
                    <a:gd name="connsiteY7" fmla="*/ 89576 h 235997"/>
                    <a:gd name="connsiteX8" fmla="*/ 88575 w 345287"/>
                    <a:gd name="connsiteY8" fmla="*/ 101643 h 235997"/>
                    <a:gd name="connsiteX9" fmla="*/ 142876 w 345287"/>
                    <a:gd name="connsiteY9" fmla="*/ 116727 h 235997"/>
                    <a:gd name="connsiteX10" fmla="*/ 67457 w 345287"/>
                    <a:gd name="connsiteY10" fmla="*/ 119743 h 235997"/>
                    <a:gd name="connsiteX11" fmla="*/ 13156 w 345287"/>
                    <a:gd name="connsiteY11" fmla="*/ 122760 h 235997"/>
                    <a:gd name="connsiteX12" fmla="*/ 1088 w 345287"/>
                    <a:gd name="connsiteY12" fmla="*/ 143877 h 235997"/>
                    <a:gd name="connsiteX13" fmla="*/ 22205 w 345287"/>
                    <a:gd name="connsiteY13" fmla="*/ 161978 h 235997"/>
                    <a:gd name="connsiteX14" fmla="*/ 19189 w 345287"/>
                    <a:gd name="connsiteY14" fmla="*/ 161978 h 235997"/>
                    <a:gd name="connsiteX15" fmla="*/ 13156 w 345287"/>
                    <a:gd name="connsiteY15" fmla="*/ 174045 h 235997"/>
                    <a:gd name="connsiteX16" fmla="*/ 58407 w 345287"/>
                    <a:gd name="connsiteY16" fmla="*/ 186112 h 235997"/>
                    <a:gd name="connsiteX17" fmla="*/ 85557 w 345287"/>
                    <a:gd name="connsiteY17" fmla="*/ 186112 h 235997"/>
                    <a:gd name="connsiteX18" fmla="*/ 79525 w 345287"/>
                    <a:gd name="connsiteY18" fmla="*/ 189129 h 235997"/>
                    <a:gd name="connsiteX19" fmla="*/ 70473 w 345287"/>
                    <a:gd name="connsiteY19" fmla="*/ 204213 h 235997"/>
                    <a:gd name="connsiteX20" fmla="*/ 173043 w 345287"/>
                    <a:gd name="connsiteY20" fmla="*/ 225330 h 23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45287" h="235997">
                      <a:moveTo>
                        <a:pt x="173043" y="225330"/>
                      </a:moveTo>
                      <a:cubicBezTo>
                        <a:pt x="215279" y="228347"/>
                        <a:pt x="266562" y="249464"/>
                        <a:pt x="302764" y="222313"/>
                      </a:cubicBezTo>
                      <a:cubicBezTo>
                        <a:pt x="326897" y="204213"/>
                        <a:pt x="348015" y="161978"/>
                        <a:pt x="344999" y="134827"/>
                      </a:cubicBezTo>
                      <a:cubicBezTo>
                        <a:pt x="335949" y="92592"/>
                        <a:pt x="266562" y="65442"/>
                        <a:pt x="236395" y="5106"/>
                      </a:cubicBezTo>
                      <a:cubicBezTo>
                        <a:pt x="230363" y="-9977"/>
                        <a:pt x="206227" y="11140"/>
                        <a:pt x="212261" y="32257"/>
                      </a:cubicBezTo>
                      <a:cubicBezTo>
                        <a:pt x="221311" y="59408"/>
                        <a:pt x="233379" y="83542"/>
                        <a:pt x="248462" y="98626"/>
                      </a:cubicBezTo>
                      <a:cubicBezTo>
                        <a:pt x="188127" y="92592"/>
                        <a:pt x="133826" y="65442"/>
                        <a:pt x="70473" y="71475"/>
                      </a:cubicBezTo>
                      <a:cubicBezTo>
                        <a:pt x="61423" y="71475"/>
                        <a:pt x="34273" y="77509"/>
                        <a:pt x="46339" y="89576"/>
                      </a:cubicBezTo>
                      <a:cubicBezTo>
                        <a:pt x="55389" y="98626"/>
                        <a:pt x="76507" y="98626"/>
                        <a:pt x="88575" y="101643"/>
                      </a:cubicBezTo>
                      <a:cubicBezTo>
                        <a:pt x="106674" y="107676"/>
                        <a:pt x="124776" y="110693"/>
                        <a:pt x="142876" y="116727"/>
                      </a:cubicBezTo>
                      <a:cubicBezTo>
                        <a:pt x="118742" y="116727"/>
                        <a:pt x="91591" y="119743"/>
                        <a:pt x="67457" y="119743"/>
                      </a:cubicBezTo>
                      <a:cubicBezTo>
                        <a:pt x="52373" y="119743"/>
                        <a:pt x="31255" y="116727"/>
                        <a:pt x="13156" y="122760"/>
                      </a:cubicBezTo>
                      <a:cubicBezTo>
                        <a:pt x="1088" y="125777"/>
                        <a:pt x="-1928" y="134827"/>
                        <a:pt x="1088" y="143877"/>
                      </a:cubicBezTo>
                      <a:cubicBezTo>
                        <a:pt x="4106" y="152928"/>
                        <a:pt x="13156" y="158961"/>
                        <a:pt x="22205" y="161978"/>
                      </a:cubicBezTo>
                      <a:cubicBezTo>
                        <a:pt x="22205" y="161978"/>
                        <a:pt x="22205" y="161978"/>
                        <a:pt x="19189" y="161978"/>
                      </a:cubicBezTo>
                      <a:cubicBezTo>
                        <a:pt x="16172" y="161978"/>
                        <a:pt x="13156" y="171028"/>
                        <a:pt x="13156" y="174045"/>
                      </a:cubicBezTo>
                      <a:cubicBezTo>
                        <a:pt x="22205" y="186112"/>
                        <a:pt x="40305" y="186112"/>
                        <a:pt x="58407" y="186112"/>
                      </a:cubicBezTo>
                      <a:cubicBezTo>
                        <a:pt x="67457" y="186112"/>
                        <a:pt x="76507" y="186112"/>
                        <a:pt x="85557" y="186112"/>
                      </a:cubicBezTo>
                      <a:cubicBezTo>
                        <a:pt x="82541" y="186112"/>
                        <a:pt x="82541" y="186112"/>
                        <a:pt x="79525" y="189129"/>
                      </a:cubicBezTo>
                      <a:cubicBezTo>
                        <a:pt x="73491" y="192146"/>
                        <a:pt x="67457" y="198179"/>
                        <a:pt x="70473" y="204213"/>
                      </a:cubicBezTo>
                      <a:cubicBezTo>
                        <a:pt x="70473" y="219296"/>
                        <a:pt x="148910" y="225330"/>
                        <a:pt x="173043" y="225330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8" name="任意多边形: 形状 87">
                  <a:extLst>
                    <a:ext uri="{FF2B5EF4-FFF2-40B4-BE49-F238E27FC236}">
                      <a16:creationId xmlns:a16="http://schemas.microsoft.com/office/drawing/2014/main" id="{A50DB9CA-DDF9-4479-A206-2B08ED892E24}"/>
                    </a:ext>
                  </a:extLst>
                </p:cNvPr>
                <p:cNvSpPr/>
                <p:nvPr/>
              </p:nvSpPr>
              <p:spPr>
                <a:xfrm>
                  <a:off x="19414700" y="3298773"/>
                  <a:ext cx="43484" cy="51284"/>
                </a:xfrm>
                <a:custGeom>
                  <a:avLst/>
                  <a:gdLst>
                    <a:gd name="connsiteX0" fmla="*/ 36201 w 43484"/>
                    <a:gd name="connsiteY0" fmla="*/ 51285 h 51284"/>
                    <a:gd name="connsiteX1" fmla="*/ 36201 w 43484"/>
                    <a:gd name="connsiteY1" fmla="*/ 51285 h 51284"/>
                    <a:gd name="connsiteX2" fmla="*/ 0 w 43484"/>
                    <a:gd name="connsiteY2" fmla="*/ 6034 h 51284"/>
                    <a:gd name="connsiteX3" fmla="*/ 6034 w 43484"/>
                    <a:gd name="connsiteY3" fmla="*/ 0 h 51284"/>
                    <a:gd name="connsiteX4" fmla="*/ 6034 w 43484"/>
                    <a:gd name="connsiteY4" fmla="*/ 0 h 51284"/>
                    <a:gd name="connsiteX5" fmla="*/ 12068 w 43484"/>
                    <a:gd name="connsiteY5" fmla="*/ 6034 h 51284"/>
                    <a:gd name="connsiteX6" fmla="*/ 39219 w 43484"/>
                    <a:gd name="connsiteY6" fmla="*/ 39218 h 51284"/>
                    <a:gd name="connsiteX7" fmla="*/ 42235 w 43484"/>
                    <a:gd name="connsiteY7" fmla="*/ 45251 h 51284"/>
                    <a:gd name="connsiteX8" fmla="*/ 36201 w 43484"/>
                    <a:gd name="connsiteY8" fmla="*/ 51285 h 51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3484" h="51284">
                      <a:moveTo>
                        <a:pt x="36201" y="51285"/>
                      </a:moveTo>
                      <a:cubicBezTo>
                        <a:pt x="36201" y="51285"/>
                        <a:pt x="36201" y="51285"/>
                        <a:pt x="36201" y="51285"/>
                      </a:cubicBezTo>
                      <a:cubicBezTo>
                        <a:pt x="6034" y="42235"/>
                        <a:pt x="0" y="18101"/>
                        <a:pt x="0" y="6034"/>
                      </a:cubicBezTo>
                      <a:cubicBezTo>
                        <a:pt x="0" y="3017"/>
                        <a:pt x="3018" y="0"/>
                        <a:pt x="6034" y="0"/>
                      </a:cubicBezTo>
                      <a:lnTo>
                        <a:pt x="6034" y="0"/>
                      </a:lnTo>
                      <a:cubicBezTo>
                        <a:pt x="9052" y="0"/>
                        <a:pt x="12068" y="3017"/>
                        <a:pt x="12068" y="6034"/>
                      </a:cubicBezTo>
                      <a:cubicBezTo>
                        <a:pt x="12068" y="6034"/>
                        <a:pt x="12068" y="33184"/>
                        <a:pt x="39219" y="39218"/>
                      </a:cubicBezTo>
                      <a:cubicBezTo>
                        <a:pt x="42235" y="39218"/>
                        <a:pt x="45251" y="42235"/>
                        <a:pt x="42235" y="45251"/>
                      </a:cubicBezTo>
                      <a:cubicBezTo>
                        <a:pt x="42235" y="51285"/>
                        <a:pt x="39219" y="51285"/>
                        <a:pt x="36201" y="51285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9" name="任意多边形: 形状 88">
                  <a:extLst>
                    <a:ext uri="{FF2B5EF4-FFF2-40B4-BE49-F238E27FC236}">
                      <a16:creationId xmlns:a16="http://schemas.microsoft.com/office/drawing/2014/main" id="{2284CFA4-753C-49F6-AB6A-B6BF350933BB}"/>
                    </a:ext>
                  </a:extLst>
                </p:cNvPr>
                <p:cNvSpPr/>
                <p:nvPr/>
              </p:nvSpPr>
              <p:spPr>
                <a:xfrm>
                  <a:off x="19172176" y="3267356"/>
                  <a:ext cx="155039" cy="79685"/>
                </a:xfrm>
                <a:custGeom>
                  <a:avLst/>
                  <a:gdLst>
                    <a:gd name="connsiteX0" fmla="*/ 25319 w 155039"/>
                    <a:gd name="connsiteY0" fmla="*/ 79685 h 79685"/>
                    <a:gd name="connsiteX1" fmla="*/ 25319 w 155039"/>
                    <a:gd name="connsiteY1" fmla="*/ 79685 h 79685"/>
                    <a:gd name="connsiteX2" fmla="*/ 1183 w 155039"/>
                    <a:gd name="connsiteY2" fmla="*/ 61585 h 79685"/>
                    <a:gd name="connsiteX3" fmla="*/ 7217 w 155039"/>
                    <a:gd name="connsiteY3" fmla="*/ 37451 h 79685"/>
                    <a:gd name="connsiteX4" fmla="*/ 97720 w 155039"/>
                    <a:gd name="connsiteY4" fmla="*/ 25384 h 79685"/>
                    <a:gd name="connsiteX5" fmla="*/ 49452 w 155039"/>
                    <a:gd name="connsiteY5" fmla="*/ 10300 h 79685"/>
                    <a:gd name="connsiteX6" fmla="*/ 46435 w 155039"/>
                    <a:gd name="connsiteY6" fmla="*/ 4266 h 79685"/>
                    <a:gd name="connsiteX7" fmla="*/ 52468 w 155039"/>
                    <a:gd name="connsiteY7" fmla="*/ 1250 h 79685"/>
                    <a:gd name="connsiteX8" fmla="*/ 149005 w 155039"/>
                    <a:gd name="connsiteY8" fmla="*/ 28400 h 79685"/>
                    <a:gd name="connsiteX9" fmla="*/ 155039 w 155039"/>
                    <a:gd name="connsiteY9" fmla="*/ 34434 h 79685"/>
                    <a:gd name="connsiteX10" fmla="*/ 149005 w 155039"/>
                    <a:gd name="connsiteY10" fmla="*/ 40467 h 79685"/>
                    <a:gd name="connsiteX11" fmla="*/ 149005 w 155039"/>
                    <a:gd name="connsiteY11" fmla="*/ 40467 h 79685"/>
                    <a:gd name="connsiteX12" fmla="*/ 16267 w 155039"/>
                    <a:gd name="connsiteY12" fmla="*/ 49518 h 79685"/>
                    <a:gd name="connsiteX13" fmla="*/ 13251 w 155039"/>
                    <a:gd name="connsiteY13" fmla="*/ 61585 h 79685"/>
                    <a:gd name="connsiteX14" fmla="*/ 28335 w 155039"/>
                    <a:gd name="connsiteY14" fmla="*/ 70635 h 79685"/>
                    <a:gd name="connsiteX15" fmla="*/ 34369 w 155039"/>
                    <a:gd name="connsiteY15" fmla="*/ 76669 h 79685"/>
                    <a:gd name="connsiteX16" fmla="*/ 25319 w 155039"/>
                    <a:gd name="connsiteY16" fmla="*/ 79685 h 79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5039" h="79685">
                      <a:moveTo>
                        <a:pt x="25319" y="79685"/>
                      </a:moveTo>
                      <a:cubicBezTo>
                        <a:pt x="25319" y="79685"/>
                        <a:pt x="22301" y="79685"/>
                        <a:pt x="25319" y="79685"/>
                      </a:cubicBezTo>
                      <a:cubicBezTo>
                        <a:pt x="13251" y="76669"/>
                        <a:pt x="4201" y="70635"/>
                        <a:pt x="1183" y="61585"/>
                      </a:cubicBezTo>
                      <a:cubicBezTo>
                        <a:pt x="-1833" y="52535"/>
                        <a:pt x="1183" y="46501"/>
                        <a:pt x="7217" y="37451"/>
                      </a:cubicBezTo>
                      <a:cubicBezTo>
                        <a:pt x="13251" y="28400"/>
                        <a:pt x="58502" y="25384"/>
                        <a:pt x="97720" y="25384"/>
                      </a:cubicBezTo>
                      <a:cubicBezTo>
                        <a:pt x="73586" y="19350"/>
                        <a:pt x="49452" y="10300"/>
                        <a:pt x="49452" y="10300"/>
                      </a:cubicBezTo>
                      <a:cubicBezTo>
                        <a:pt x="46435" y="10300"/>
                        <a:pt x="43419" y="7283"/>
                        <a:pt x="46435" y="4266"/>
                      </a:cubicBezTo>
                      <a:cubicBezTo>
                        <a:pt x="46435" y="1250"/>
                        <a:pt x="49452" y="-1767"/>
                        <a:pt x="52468" y="1250"/>
                      </a:cubicBezTo>
                      <a:cubicBezTo>
                        <a:pt x="52468" y="1250"/>
                        <a:pt x="112804" y="19350"/>
                        <a:pt x="149005" y="28400"/>
                      </a:cubicBezTo>
                      <a:cubicBezTo>
                        <a:pt x="152021" y="28400"/>
                        <a:pt x="155039" y="31417"/>
                        <a:pt x="155039" y="34434"/>
                      </a:cubicBezTo>
                      <a:cubicBezTo>
                        <a:pt x="155039" y="37451"/>
                        <a:pt x="152021" y="40467"/>
                        <a:pt x="149005" y="40467"/>
                      </a:cubicBezTo>
                      <a:lnTo>
                        <a:pt x="149005" y="40467"/>
                      </a:lnTo>
                      <a:cubicBezTo>
                        <a:pt x="91686" y="40467"/>
                        <a:pt x="25319" y="43484"/>
                        <a:pt x="16267" y="49518"/>
                      </a:cubicBezTo>
                      <a:cubicBezTo>
                        <a:pt x="13251" y="52535"/>
                        <a:pt x="10235" y="55551"/>
                        <a:pt x="13251" y="61585"/>
                      </a:cubicBezTo>
                      <a:cubicBezTo>
                        <a:pt x="16267" y="64602"/>
                        <a:pt x="19285" y="70635"/>
                        <a:pt x="28335" y="70635"/>
                      </a:cubicBezTo>
                      <a:cubicBezTo>
                        <a:pt x="31351" y="70635"/>
                        <a:pt x="34369" y="73652"/>
                        <a:pt x="34369" y="76669"/>
                      </a:cubicBezTo>
                      <a:cubicBezTo>
                        <a:pt x="28335" y="76669"/>
                        <a:pt x="28335" y="79685"/>
                        <a:pt x="25319" y="79685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18B6358B-04DE-480C-B759-00F9FE694039}"/>
                  </a:ext>
                </a:extLst>
              </p:cNvPr>
              <p:cNvSpPr/>
              <p:nvPr/>
            </p:nvSpPr>
            <p:spPr>
              <a:xfrm>
                <a:off x="19238479" y="3362125"/>
                <a:ext cx="115885" cy="54301"/>
              </a:xfrm>
              <a:custGeom>
                <a:avLst/>
                <a:gdLst>
                  <a:gd name="connsiteX0" fmla="*/ 100802 w 115885"/>
                  <a:gd name="connsiteY0" fmla="*/ 54302 h 54301"/>
                  <a:gd name="connsiteX1" fmla="*/ 100802 w 115885"/>
                  <a:gd name="connsiteY1" fmla="*/ 54302 h 54301"/>
                  <a:gd name="connsiteX2" fmla="*/ 1249 w 115885"/>
                  <a:gd name="connsiteY2" fmla="*/ 27151 h 54301"/>
                  <a:gd name="connsiteX3" fmla="*/ 4267 w 115885"/>
                  <a:gd name="connsiteY3" fmla="*/ 9050 h 54301"/>
                  <a:gd name="connsiteX4" fmla="*/ 28401 w 115885"/>
                  <a:gd name="connsiteY4" fmla="*/ 0 h 54301"/>
                  <a:gd name="connsiteX5" fmla="*/ 64602 w 115885"/>
                  <a:gd name="connsiteY5" fmla="*/ 3017 h 54301"/>
                  <a:gd name="connsiteX6" fmla="*/ 109854 w 115885"/>
                  <a:gd name="connsiteY6" fmla="*/ 6034 h 54301"/>
                  <a:gd name="connsiteX7" fmla="*/ 115886 w 115885"/>
                  <a:gd name="connsiteY7" fmla="*/ 12067 h 54301"/>
                  <a:gd name="connsiteX8" fmla="*/ 109854 w 115885"/>
                  <a:gd name="connsiteY8" fmla="*/ 18101 h 54301"/>
                  <a:gd name="connsiteX9" fmla="*/ 61584 w 115885"/>
                  <a:gd name="connsiteY9" fmla="*/ 15084 h 54301"/>
                  <a:gd name="connsiteX10" fmla="*/ 25383 w 115885"/>
                  <a:gd name="connsiteY10" fmla="*/ 12067 h 54301"/>
                  <a:gd name="connsiteX11" fmla="*/ 10299 w 115885"/>
                  <a:gd name="connsiteY11" fmla="*/ 18101 h 54301"/>
                  <a:gd name="connsiteX12" fmla="*/ 10299 w 115885"/>
                  <a:gd name="connsiteY12" fmla="*/ 24134 h 54301"/>
                  <a:gd name="connsiteX13" fmla="*/ 97786 w 115885"/>
                  <a:gd name="connsiteY13" fmla="*/ 45251 h 54301"/>
                  <a:gd name="connsiteX14" fmla="*/ 103820 w 115885"/>
                  <a:gd name="connsiteY14" fmla="*/ 51285 h 54301"/>
                  <a:gd name="connsiteX15" fmla="*/ 100802 w 115885"/>
                  <a:gd name="connsiteY15" fmla="*/ 54302 h 54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5885" h="54301">
                    <a:moveTo>
                      <a:pt x="100802" y="54302"/>
                    </a:moveTo>
                    <a:lnTo>
                      <a:pt x="100802" y="54302"/>
                    </a:lnTo>
                    <a:cubicBezTo>
                      <a:pt x="73652" y="51285"/>
                      <a:pt x="7283" y="45251"/>
                      <a:pt x="1249" y="27151"/>
                    </a:cubicBezTo>
                    <a:cubicBezTo>
                      <a:pt x="-1767" y="18101"/>
                      <a:pt x="1249" y="12067"/>
                      <a:pt x="4267" y="9050"/>
                    </a:cubicBezTo>
                    <a:cubicBezTo>
                      <a:pt x="7283" y="3017"/>
                      <a:pt x="16333" y="0"/>
                      <a:pt x="28401" y="0"/>
                    </a:cubicBezTo>
                    <a:cubicBezTo>
                      <a:pt x="34435" y="0"/>
                      <a:pt x="49518" y="0"/>
                      <a:pt x="64602" y="3017"/>
                    </a:cubicBezTo>
                    <a:cubicBezTo>
                      <a:pt x="82702" y="3017"/>
                      <a:pt x="103820" y="6034"/>
                      <a:pt x="109854" y="6034"/>
                    </a:cubicBezTo>
                    <a:cubicBezTo>
                      <a:pt x="112870" y="6034"/>
                      <a:pt x="115886" y="9050"/>
                      <a:pt x="115886" y="12067"/>
                    </a:cubicBezTo>
                    <a:cubicBezTo>
                      <a:pt x="115886" y="15084"/>
                      <a:pt x="112870" y="18101"/>
                      <a:pt x="109854" y="18101"/>
                    </a:cubicBezTo>
                    <a:cubicBezTo>
                      <a:pt x="100802" y="18101"/>
                      <a:pt x="79686" y="18101"/>
                      <a:pt x="61584" y="15084"/>
                    </a:cubicBezTo>
                    <a:cubicBezTo>
                      <a:pt x="46501" y="15084"/>
                      <a:pt x="31417" y="12067"/>
                      <a:pt x="25383" y="12067"/>
                    </a:cubicBezTo>
                    <a:cubicBezTo>
                      <a:pt x="16333" y="12067"/>
                      <a:pt x="10299" y="15084"/>
                      <a:pt x="10299" y="18101"/>
                    </a:cubicBezTo>
                    <a:cubicBezTo>
                      <a:pt x="10299" y="18101"/>
                      <a:pt x="7283" y="21117"/>
                      <a:pt x="10299" y="24134"/>
                    </a:cubicBezTo>
                    <a:cubicBezTo>
                      <a:pt x="13317" y="30168"/>
                      <a:pt x="52535" y="39218"/>
                      <a:pt x="97786" y="45251"/>
                    </a:cubicBezTo>
                    <a:cubicBezTo>
                      <a:pt x="100802" y="45251"/>
                      <a:pt x="103820" y="48268"/>
                      <a:pt x="103820" y="51285"/>
                    </a:cubicBezTo>
                    <a:cubicBezTo>
                      <a:pt x="106836" y="51285"/>
                      <a:pt x="103820" y="54302"/>
                      <a:pt x="100802" y="5430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B60DDA0A-8274-4706-8E29-DFCC7F27EB95}"/>
                  </a:ext>
                </a:extLst>
              </p:cNvPr>
              <p:cNvSpPr/>
              <p:nvPr/>
            </p:nvSpPr>
            <p:spPr>
              <a:xfrm>
                <a:off x="19186181" y="3324674"/>
                <a:ext cx="162151" cy="49517"/>
              </a:xfrm>
              <a:custGeom>
                <a:avLst/>
                <a:gdLst>
                  <a:gd name="connsiteX0" fmla="*/ 65615 w 162151"/>
                  <a:gd name="connsiteY0" fmla="*/ 49518 h 49517"/>
                  <a:gd name="connsiteX1" fmla="*/ 65615 w 162151"/>
                  <a:gd name="connsiteY1" fmla="*/ 49518 h 49517"/>
                  <a:gd name="connsiteX2" fmla="*/ 2262 w 162151"/>
                  <a:gd name="connsiteY2" fmla="*/ 34434 h 49517"/>
                  <a:gd name="connsiteX3" fmla="*/ 2262 w 162151"/>
                  <a:gd name="connsiteY3" fmla="*/ 19350 h 49517"/>
                  <a:gd name="connsiteX4" fmla="*/ 29414 w 162151"/>
                  <a:gd name="connsiteY4" fmla="*/ 1250 h 49517"/>
                  <a:gd name="connsiteX5" fmla="*/ 92765 w 162151"/>
                  <a:gd name="connsiteY5" fmla="*/ 4266 h 49517"/>
                  <a:gd name="connsiteX6" fmla="*/ 101817 w 162151"/>
                  <a:gd name="connsiteY6" fmla="*/ 4266 h 49517"/>
                  <a:gd name="connsiteX7" fmla="*/ 156118 w 162151"/>
                  <a:gd name="connsiteY7" fmla="*/ 4266 h 49517"/>
                  <a:gd name="connsiteX8" fmla="*/ 162152 w 162151"/>
                  <a:gd name="connsiteY8" fmla="*/ 10300 h 49517"/>
                  <a:gd name="connsiteX9" fmla="*/ 156118 w 162151"/>
                  <a:gd name="connsiteY9" fmla="*/ 16333 h 49517"/>
                  <a:gd name="connsiteX10" fmla="*/ 101817 w 162151"/>
                  <a:gd name="connsiteY10" fmla="*/ 16333 h 49517"/>
                  <a:gd name="connsiteX11" fmla="*/ 89749 w 162151"/>
                  <a:gd name="connsiteY11" fmla="*/ 16333 h 49517"/>
                  <a:gd name="connsiteX12" fmla="*/ 29414 w 162151"/>
                  <a:gd name="connsiteY12" fmla="*/ 13317 h 49517"/>
                  <a:gd name="connsiteX13" fmla="*/ 11314 w 162151"/>
                  <a:gd name="connsiteY13" fmla="*/ 25384 h 49517"/>
                  <a:gd name="connsiteX14" fmla="*/ 11314 w 162151"/>
                  <a:gd name="connsiteY14" fmla="*/ 28400 h 49517"/>
                  <a:gd name="connsiteX15" fmla="*/ 65615 w 162151"/>
                  <a:gd name="connsiteY15" fmla="*/ 37451 h 49517"/>
                  <a:gd name="connsiteX16" fmla="*/ 71649 w 162151"/>
                  <a:gd name="connsiteY16" fmla="*/ 43484 h 49517"/>
                  <a:gd name="connsiteX17" fmla="*/ 65615 w 162151"/>
                  <a:gd name="connsiteY17" fmla="*/ 49518 h 49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2151" h="49517">
                    <a:moveTo>
                      <a:pt x="65615" y="49518"/>
                    </a:moveTo>
                    <a:cubicBezTo>
                      <a:pt x="65615" y="49518"/>
                      <a:pt x="65615" y="49518"/>
                      <a:pt x="65615" y="49518"/>
                    </a:cubicBezTo>
                    <a:cubicBezTo>
                      <a:pt x="47513" y="49518"/>
                      <a:pt x="8296" y="46501"/>
                      <a:pt x="2262" y="34434"/>
                    </a:cubicBezTo>
                    <a:cubicBezTo>
                      <a:pt x="-754" y="31417"/>
                      <a:pt x="-754" y="25384"/>
                      <a:pt x="2262" y="19350"/>
                    </a:cubicBezTo>
                    <a:cubicBezTo>
                      <a:pt x="5280" y="10300"/>
                      <a:pt x="17346" y="4266"/>
                      <a:pt x="29414" y="1250"/>
                    </a:cubicBezTo>
                    <a:cubicBezTo>
                      <a:pt x="38464" y="-1767"/>
                      <a:pt x="65615" y="1250"/>
                      <a:pt x="92765" y="4266"/>
                    </a:cubicBezTo>
                    <a:cubicBezTo>
                      <a:pt x="98799" y="4266"/>
                      <a:pt x="101817" y="4266"/>
                      <a:pt x="101817" y="4266"/>
                    </a:cubicBezTo>
                    <a:cubicBezTo>
                      <a:pt x="107849" y="4266"/>
                      <a:pt x="144050" y="4266"/>
                      <a:pt x="156118" y="4266"/>
                    </a:cubicBezTo>
                    <a:cubicBezTo>
                      <a:pt x="159134" y="4266"/>
                      <a:pt x="162152" y="7283"/>
                      <a:pt x="162152" y="10300"/>
                    </a:cubicBezTo>
                    <a:cubicBezTo>
                      <a:pt x="162152" y="13317"/>
                      <a:pt x="159134" y="16333"/>
                      <a:pt x="156118" y="16333"/>
                    </a:cubicBezTo>
                    <a:cubicBezTo>
                      <a:pt x="153100" y="16333"/>
                      <a:pt x="107849" y="19350"/>
                      <a:pt x="101817" y="16333"/>
                    </a:cubicBezTo>
                    <a:cubicBezTo>
                      <a:pt x="98799" y="16333"/>
                      <a:pt x="95783" y="16333"/>
                      <a:pt x="89749" y="16333"/>
                    </a:cubicBezTo>
                    <a:cubicBezTo>
                      <a:pt x="74665" y="13317"/>
                      <a:pt x="38464" y="10300"/>
                      <a:pt x="29414" y="13317"/>
                    </a:cubicBezTo>
                    <a:cubicBezTo>
                      <a:pt x="20364" y="16333"/>
                      <a:pt x="14330" y="19350"/>
                      <a:pt x="11314" y="25384"/>
                    </a:cubicBezTo>
                    <a:cubicBezTo>
                      <a:pt x="11314" y="25384"/>
                      <a:pt x="11314" y="28400"/>
                      <a:pt x="11314" y="28400"/>
                    </a:cubicBezTo>
                    <a:cubicBezTo>
                      <a:pt x="14330" y="31417"/>
                      <a:pt x="41481" y="37451"/>
                      <a:pt x="65615" y="37451"/>
                    </a:cubicBezTo>
                    <a:cubicBezTo>
                      <a:pt x="68631" y="37451"/>
                      <a:pt x="71649" y="40468"/>
                      <a:pt x="71649" y="43484"/>
                    </a:cubicBezTo>
                    <a:cubicBezTo>
                      <a:pt x="68631" y="46501"/>
                      <a:pt x="68631" y="49518"/>
                      <a:pt x="65615" y="4951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36C2C7F4-E8B4-4CD6-8A44-8865DCA7F56E}"/>
                </a:ext>
              </a:extLst>
            </p:cNvPr>
            <p:cNvSpPr/>
            <p:nvPr/>
          </p:nvSpPr>
          <p:spPr>
            <a:xfrm>
              <a:off x="20598836" y="2328401"/>
              <a:ext cx="419215" cy="383700"/>
            </a:xfrm>
            <a:custGeom>
              <a:avLst/>
              <a:gdLst>
                <a:gd name="connsiteX0" fmla="*/ 408714 w 419215"/>
                <a:gd name="connsiteY0" fmla="*/ 119646 h 383700"/>
                <a:gd name="connsiteX1" fmla="*/ 272960 w 419215"/>
                <a:gd name="connsiteY1" fmla="*/ 370037 h 383700"/>
                <a:gd name="connsiteX2" fmla="*/ 10502 w 419215"/>
                <a:gd name="connsiteY2" fmla="*/ 264450 h 383700"/>
                <a:gd name="connsiteX3" fmla="*/ 146256 w 419215"/>
                <a:gd name="connsiteY3" fmla="*/ 14059 h 383700"/>
                <a:gd name="connsiteX4" fmla="*/ 408714 w 419215"/>
                <a:gd name="connsiteY4" fmla="*/ 119646 h 38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215" h="383700">
                  <a:moveTo>
                    <a:pt x="408714" y="119646"/>
                  </a:moveTo>
                  <a:cubicBezTo>
                    <a:pt x="444914" y="219199"/>
                    <a:pt x="384579" y="330819"/>
                    <a:pt x="272960" y="370037"/>
                  </a:cubicBezTo>
                  <a:cubicBezTo>
                    <a:pt x="161340" y="409255"/>
                    <a:pt x="43685" y="360987"/>
                    <a:pt x="10502" y="264450"/>
                  </a:cubicBezTo>
                  <a:cubicBezTo>
                    <a:pt x="-25700" y="164897"/>
                    <a:pt x="34635" y="53277"/>
                    <a:pt x="146256" y="14059"/>
                  </a:cubicBezTo>
                  <a:cubicBezTo>
                    <a:pt x="254858" y="-25159"/>
                    <a:pt x="372513" y="20093"/>
                    <a:pt x="408714" y="119646"/>
                  </a:cubicBez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E7D4F437-62FE-4012-910B-DB03E5514B33}"/>
                </a:ext>
              </a:extLst>
            </p:cNvPr>
            <p:cNvSpPr/>
            <p:nvPr/>
          </p:nvSpPr>
          <p:spPr>
            <a:xfrm>
              <a:off x="20666655" y="2731444"/>
              <a:ext cx="397206" cy="299668"/>
            </a:xfrm>
            <a:custGeom>
              <a:avLst/>
              <a:gdLst>
                <a:gd name="connsiteX0" fmla="*/ 0 w 397206"/>
                <a:gd name="connsiteY0" fmla="*/ 33362 h 299668"/>
                <a:gd name="connsiteX1" fmla="*/ 292626 w 397206"/>
                <a:gd name="connsiteY1" fmla="*/ 298837 h 299668"/>
                <a:gd name="connsiteX2" fmla="*/ 292626 w 397206"/>
                <a:gd name="connsiteY2" fmla="*/ 51463 h 299668"/>
                <a:gd name="connsiteX3" fmla="*/ 0 w 397206"/>
                <a:gd name="connsiteY3" fmla="*/ 33362 h 29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206" h="299668">
                  <a:moveTo>
                    <a:pt x="0" y="33362"/>
                  </a:moveTo>
                  <a:cubicBezTo>
                    <a:pt x="0" y="33362"/>
                    <a:pt x="60335" y="316938"/>
                    <a:pt x="292626" y="298837"/>
                  </a:cubicBezTo>
                  <a:cubicBezTo>
                    <a:pt x="527933" y="280737"/>
                    <a:pt x="292626" y="51463"/>
                    <a:pt x="292626" y="51463"/>
                  </a:cubicBezTo>
                  <a:cubicBezTo>
                    <a:pt x="292626" y="51463"/>
                    <a:pt x="33185" y="-51107"/>
                    <a:pt x="0" y="33362"/>
                  </a:cubicBez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78AFAB32-D3A1-44A7-BB71-65BFB79E3A46}"/>
                </a:ext>
              </a:extLst>
            </p:cNvPr>
            <p:cNvSpPr/>
            <p:nvPr/>
          </p:nvSpPr>
          <p:spPr>
            <a:xfrm>
              <a:off x="20931749" y="2454412"/>
              <a:ext cx="317905" cy="583582"/>
            </a:xfrm>
            <a:custGeom>
              <a:avLst/>
              <a:gdLst>
                <a:gd name="connsiteX0" fmla="*/ 142169 w 317905"/>
                <a:gd name="connsiteY0" fmla="*/ 569836 h 583582"/>
                <a:gd name="connsiteX1" fmla="*/ 317143 w 317905"/>
                <a:gd name="connsiteY1" fmla="*/ 228942 h 583582"/>
                <a:gd name="connsiteX2" fmla="*/ 383 w 317905"/>
                <a:gd name="connsiteY2" fmla="*/ 8719 h 583582"/>
                <a:gd name="connsiteX3" fmla="*/ 36582 w 317905"/>
                <a:gd name="connsiteY3" fmla="*/ 174641 h 583582"/>
                <a:gd name="connsiteX4" fmla="*/ 84852 w 317905"/>
                <a:gd name="connsiteY4" fmla="*/ 316428 h 583582"/>
                <a:gd name="connsiteX5" fmla="*/ 142169 w 317905"/>
                <a:gd name="connsiteY5" fmla="*/ 569836 h 583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905" h="583582">
                  <a:moveTo>
                    <a:pt x="142169" y="569836"/>
                  </a:moveTo>
                  <a:cubicBezTo>
                    <a:pt x="296025" y="539669"/>
                    <a:pt x="323175" y="292294"/>
                    <a:pt x="317143" y="228942"/>
                  </a:cubicBezTo>
                  <a:cubicBezTo>
                    <a:pt x="296025" y="66037"/>
                    <a:pt x="115019" y="-30499"/>
                    <a:pt x="383" y="8719"/>
                  </a:cubicBezTo>
                  <a:cubicBezTo>
                    <a:pt x="-2635" y="8719"/>
                    <a:pt x="12449" y="126372"/>
                    <a:pt x="36582" y="174641"/>
                  </a:cubicBezTo>
                  <a:cubicBezTo>
                    <a:pt x="57700" y="219892"/>
                    <a:pt x="75802" y="268160"/>
                    <a:pt x="84852" y="316428"/>
                  </a:cubicBezTo>
                  <a:cubicBezTo>
                    <a:pt x="93902" y="367713"/>
                    <a:pt x="45634" y="648272"/>
                    <a:pt x="142169" y="569836"/>
                  </a:cubicBez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62FA7E33-C311-4886-ADA5-240D95C2A207}"/>
                </a:ext>
              </a:extLst>
            </p:cNvPr>
            <p:cNvSpPr/>
            <p:nvPr/>
          </p:nvSpPr>
          <p:spPr>
            <a:xfrm>
              <a:off x="20766210" y="2510518"/>
              <a:ext cx="418158" cy="562314"/>
            </a:xfrm>
            <a:custGeom>
              <a:avLst/>
              <a:gdLst>
                <a:gd name="connsiteX0" fmla="*/ 410279 w 418158"/>
                <a:gd name="connsiteY0" fmla="*/ 181886 h 562314"/>
                <a:gd name="connsiteX1" fmla="*/ 398211 w 418158"/>
                <a:gd name="connsiteY1" fmla="*/ 435294 h 562314"/>
                <a:gd name="connsiteX2" fmla="*/ 250391 w 418158"/>
                <a:gd name="connsiteY2" fmla="*/ 561998 h 562314"/>
                <a:gd name="connsiteX3" fmla="*/ 36200 w 418158"/>
                <a:gd name="connsiteY3" fmla="*/ 420210 h 562314"/>
                <a:gd name="connsiteX4" fmla="*/ 0 w 418158"/>
                <a:gd name="connsiteY4" fmla="*/ 196970 h 562314"/>
                <a:gd name="connsiteX5" fmla="*/ 211173 w 418158"/>
                <a:gd name="connsiteY5" fmla="*/ 880 h 562314"/>
                <a:gd name="connsiteX6" fmla="*/ 410279 w 418158"/>
                <a:gd name="connsiteY6" fmla="*/ 181886 h 562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158" h="562314">
                  <a:moveTo>
                    <a:pt x="410279" y="181886"/>
                  </a:moveTo>
                  <a:cubicBezTo>
                    <a:pt x="410279" y="181886"/>
                    <a:pt x="434412" y="368925"/>
                    <a:pt x="398211" y="435294"/>
                  </a:cubicBezTo>
                  <a:cubicBezTo>
                    <a:pt x="362011" y="501663"/>
                    <a:pt x="301676" y="558981"/>
                    <a:pt x="250391" y="561998"/>
                  </a:cubicBezTo>
                  <a:cubicBezTo>
                    <a:pt x="184022" y="568031"/>
                    <a:pt x="72401" y="486579"/>
                    <a:pt x="36200" y="420210"/>
                  </a:cubicBezTo>
                  <a:cubicBezTo>
                    <a:pt x="0" y="353841"/>
                    <a:pt x="0" y="248255"/>
                    <a:pt x="0" y="196970"/>
                  </a:cubicBezTo>
                  <a:cubicBezTo>
                    <a:pt x="3016" y="103450"/>
                    <a:pt x="30168" y="25014"/>
                    <a:pt x="211173" y="880"/>
                  </a:cubicBezTo>
                  <a:cubicBezTo>
                    <a:pt x="295642" y="-11187"/>
                    <a:pt x="389161" y="103450"/>
                    <a:pt x="410279" y="181886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CA8A65E0-0092-408D-8866-F433453C146D}"/>
                </a:ext>
              </a:extLst>
            </p:cNvPr>
            <p:cNvSpPr/>
            <p:nvPr/>
          </p:nvSpPr>
          <p:spPr>
            <a:xfrm>
              <a:off x="20989449" y="2776874"/>
              <a:ext cx="54301" cy="129720"/>
            </a:xfrm>
            <a:custGeom>
              <a:avLst/>
              <a:gdLst>
                <a:gd name="connsiteX0" fmla="*/ 30168 w 54301"/>
                <a:gd name="connsiteY0" fmla="*/ 129721 h 129720"/>
                <a:gd name="connsiteX1" fmla="*/ 6034 w 54301"/>
                <a:gd name="connsiteY1" fmla="*/ 126704 h 129720"/>
                <a:gd name="connsiteX2" fmla="*/ 0 w 54301"/>
                <a:gd name="connsiteY2" fmla="*/ 120670 h 129720"/>
                <a:gd name="connsiteX3" fmla="*/ 6034 w 54301"/>
                <a:gd name="connsiteY3" fmla="*/ 114637 h 129720"/>
                <a:gd name="connsiteX4" fmla="*/ 45251 w 54301"/>
                <a:gd name="connsiteY4" fmla="*/ 114637 h 129720"/>
                <a:gd name="connsiteX5" fmla="*/ 45251 w 54301"/>
                <a:gd name="connsiteY5" fmla="*/ 111620 h 129720"/>
                <a:gd name="connsiteX6" fmla="*/ 18102 w 54301"/>
                <a:gd name="connsiteY6" fmla="*/ 6033 h 129720"/>
                <a:gd name="connsiteX7" fmla="*/ 21118 w 54301"/>
                <a:gd name="connsiteY7" fmla="*/ 0 h 129720"/>
                <a:gd name="connsiteX8" fmla="*/ 27152 w 54301"/>
                <a:gd name="connsiteY8" fmla="*/ 3017 h 129720"/>
                <a:gd name="connsiteX9" fmla="*/ 54301 w 54301"/>
                <a:gd name="connsiteY9" fmla="*/ 111620 h 129720"/>
                <a:gd name="connsiteX10" fmla="*/ 48269 w 54301"/>
                <a:gd name="connsiteY10" fmla="*/ 123687 h 129720"/>
                <a:gd name="connsiteX11" fmla="*/ 30168 w 54301"/>
                <a:gd name="connsiteY11" fmla="*/ 129721 h 12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301" h="129720">
                  <a:moveTo>
                    <a:pt x="30168" y="129721"/>
                  </a:moveTo>
                  <a:cubicBezTo>
                    <a:pt x="18102" y="129721"/>
                    <a:pt x="9050" y="126704"/>
                    <a:pt x="6034" y="126704"/>
                  </a:cubicBezTo>
                  <a:cubicBezTo>
                    <a:pt x="3018" y="126704"/>
                    <a:pt x="0" y="123687"/>
                    <a:pt x="0" y="120670"/>
                  </a:cubicBezTo>
                  <a:cubicBezTo>
                    <a:pt x="0" y="117654"/>
                    <a:pt x="3018" y="114637"/>
                    <a:pt x="6034" y="114637"/>
                  </a:cubicBezTo>
                  <a:cubicBezTo>
                    <a:pt x="18102" y="117654"/>
                    <a:pt x="39218" y="117654"/>
                    <a:pt x="45251" y="114637"/>
                  </a:cubicBezTo>
                  <a:cubicBezTo>
                    <a:pt x="45251" y="114637"/>
                    <a:pt x="45251" y="111620"/>
                    <a:pt x="45251" y="111620"/>
                  </a:cubicBezTo>
                  <a:cubicBezTo>
                    <a:pt x="45251" y="96536"/>
                    <a:pt x="24134" y="30168"/>
                    <a:pt x="18102" y="6033"/>
                  </a:cubicBezTo>
                  <a:cubicBezTo>
                    <a:pt x="18102" y="3017"/>
                    <a:pt x="18102" y="0"/>
                    <a:pt x="21118" y="0"/>
                  </a:cubicBezTo>
                  <a:cubicBezTo>
                    <a:pt x="24134" y="0"/>
                    <a:pt x="27152" y="0"/>
                    <a:pt x="27152" y="3017"/>
                  </a:cubicBezTo>
                  <a:cubicBezTo>
                    <a:pt x="27152" y="6033"/>
                    <a:pt x="54301" y="90503"/>
                    <a:pt x="54301" y="111620"/>
                  </a:cubicBezTo>
                  <a:cubicBezTo>
                    <a:pt x="54301" y="117654"/>
                    <a:pt x="51285" y="120670"/>
                    <a:pt x="48269" y="123687"/>
                  </a:cubicBezTo>
                  <a:cubicBezTo>
                    <a:pt x="48269" y="126704"/>
                    <a:pt x="39218" y="129721"/>
                    <a:pt x="30168" y="129721"/>
                  </a:cubicBezTo>
                  <a:close/>
                </a:path>
              </a:pathLst>
            </a:custGeom>
            <a:solidFill>
              <a:srgbClr val="E58777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ADF7F9B1-FD74-4CA6-89C7-F905A392A716}"/>
                </a:ext>
              </a:extLst>
            </p:cNvPr>
            <p:cNvSpPr/>
            <p:nvPr/>
          </p:nvSpPr>
          <p:spPr>
            <a:xfrm>
              <a:off x="21079183" y="2749131"/>
              <a:ext cx="40755" cy="40578"/>
            </a:xfrm>
            <a:custGeom>
              <a:avLst/>
              <a:gdLst>
                <a:gd name="connsiteX0" fmla="*/ 768 w 40755"/>
                <a:gd name="connsiteY0" fmla="*/ 24726 h 40578"/>
                <a:gd name="connsiteX1" fmla="*/ 24902 w 40755"/>
                <a:gd name="connsiteY1" fmla="*/ 39810 h 40578"/>
                <a:gd name="connsiteX2" fmla="*/ 39986 w 40755"/>
                <a:gd name="connsiteY2" fmla="*/ 15676 h 40578"/>
                <a:gd name="connsiteX3" fmla="*/ 15852 w 40755"/>
                <a:gd name="connsiteY3" fmla="*/ 592 h 40578"/>
                <a:gd name="connsiteX4" fmla="*/ 768 w 40755"/>
                <a:gd name="connsiteY4" fmla="*/ 24726 h 40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55" h="40578">
                  <a:moveTo>
                    <a:pt x="768" y="24726"/>
                  </a:moveTo>
                  <a:cubicBezTo>
                    <a:pt x="3786" y="36793"/>
                    <a:pt x="12836" y="42826"/>
                    <a:pt x="24902" y="39810"/>
                  </a:cubicBezTo>
                  <a:cubicBezTo>
                    <a:pt x="36970" y="36793"/>
                    <a:pt x="43004" y="27743"/>
                    <a:pt x="39986" y="15676"/>
                  </a:cubicBezTo>
                  <a:cubicBezTo>
                    <a:pt x="36970" y="6625"/>
                    <a:pt x="27920" y="-2425"/>
                    <a:pt x="15852" y="592"/>
                  </a:cubicBezTo>
                  <a:cubicBezTo>
                    <a:pt x="3786" y="3608"/>
                    <a:pt x="-2248" y="12659"/>
                    <a:pt x="768" y="24726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0F6FCF73-8748-44E7-8ECB-826D2016AE90}"/>
                </a:ext>
              </a:extLst>
            </p:cNvPr>
            <p:cNvSpPr/>
            <p:nvPr/>
          </p:nvSpPr>
          <p:spPr>
            <a:xfrm>
              <a:off x="20892144" y="2755165"/>
              <a:ext cx="40579" cy="40578"/>
            </a:xfrm>
            <a:custGeom>
              <a:avLst/>
              <a:gdLst>
                <a:gd name="connsiteX0" fmla="*/ 768 w 40579"/>
                <a:gd name="connsiteY0" fmla="*/ 24726 h 40578"/>
                <a:gd name="connsiteX1" fmla="*/ 24904 w 40579"/>
                <a:gd name="connsiteY1" fmla="*/ 39810 h 40578"/>
                <a:gd name="connsiteX2" fmla="*/ 39988 w 40579"/>
                <a:gd name="connsiteY2" fmla="*/ 15676 h 40578"/>
                <a:gd name="connsiteX3" fmla="*/ 15852 w 40579"/>
                <a:gd name="connsiteY3" fmla="*/ 592 h 40578"/>
                <a:gd name="connsiteX4" fmla="*/ 768 w 40579"/>
                <a:gd name="connsiteY4" fmla="*/ 24726 h 40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9" h="40578">
                  <a:moveTo>
                    <a:pt x="768" y="24726"/>
                  </a:moveTo>
                  <a:cubicBezTo>
                    <a:pt x="3786" y="36793"/>
                    <a:pt x="12836" y="42826"/>
                    <a:pt x="24904" y="39810"/>
                  </a:cubicBezTo>
                  <a:cubicBezTo>
                    <a:pt x="33954" y="36793"/>
                    <a:pt x="43004" y="27743"/>
                    <a:pt x="39988" y="15676"/>
                  </a:cubicBezTo>
                  <a:cubicBezTo>
                    <a:pt x="36970" y="6625"/>
                    <a:pt x="27920" y="-2425"/>
                    <a:pt x="15852" y="592"/>
                  </a:cubicBezTo>
                  <a:cubicBezTo>
                    <a:pt x="3786" y="3608"/>
                    <a:pt x="-2248" y="12659"/>
                    <a:pt x="768" y="24726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15A386D7-A6D5-4B1E-855B-9EAD5144E61F}"/>
                </a:ext>
              </a:extLst>
            </p:cNvPr>
            <p:cNvSpPr/>
            <p:nvPr/>
          </p:nvSpPr>
          <p:spPr>
            <a:xfrm>
              <a:off x="21054569" y="2704826"/>
              <a:ext cx="90998" cy="32829"/>
            </a:xfrm>
            <a:custGeom>
              <a:avLst/>
              <a:gdLst>
                <a:gd name="connsiteX0" fmla="*/ 82702 w 90998"/>
                <a:gd name="connsiteY0" fmla="*/ 29813 h 32829"/>
                <a:gd name="connsiteX1" fmla="*/ 76668 w 90998"/>
                <a:gd name="connsiteY1" fmla="*/ 26796 h 32829"/>
                <a:gd name="connsiteX2" fmla="*/ 10299 w 90998"/>
                <a:gd name="connsiteY2" fmla="*/ 20762 h 32829"/>
                <a:gd name="connsiteX3" fmla="*/ 1249 w 90998"/>
                <a:gd name="connsiteY3" fmla="*/ 17745 h 32829"/>
                <a:gd name="connsiteX4" fmla="*/ 4265 w 90998"/>
                <a:gd name="connsiteY4" fmla="*/ 8695 h 32829"/>
                <a:gd name="connsiteX5" fmla="*/ 88736 w 90998"/>
                <a:gd name="connsiteY5" fmla="*/ 20762 h 32829"/>
                <a:gd name="connsiteX6" fmla="*/ 88736 w 90998"/>
                <a:gd name="connsiteY6" fmla="*/ 32829 h 32829"/>
                <a:gd name="connsiteX7" fmla="*/ 82702 w 90998"/>
                <a:gd name="connsiteY7" fmla="*/ 29813 h 32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2829">
                  <a:moveTo>
                    <a:pt x="82702" y="29813"/>
                  </a:moveTo>
                  <a:cubicBezTo>
                    <a:pt x="79684" y="29813"/>
                    <a:pt x="79684" y="29813"/>
                    <a:pt x="76668" y="26796"/>
                  </a:cubicBezTo>
                  <a:cubicBezTo>
                    <a:pt x="52535" y="-355"/>
                    <a:pt x="10299" y="20762"/>
                    <a:pt x="10299" y="20762"/>
                  </a:cubicBezTo>
                  <a:cubicBezTo>
                    <a:pt x="7283" y="23779"/>
                    <a:pt x="1249" y="20762"/>
                    <a:pt x="1249" y="17745"/>
                  </a:cubicBezTo>
                  <a:cubicBezTo>
                    <a:pt x="-1767" y="14729"/>
                    <a:pt x="1249" y="8695"/>
                    <a:pt x="4265" y="8695"/>
                  </a:cubicBezTo>
                  <a:cubicBezTo>
                    <a:pt x="22367" y="-355"/>
                    <a:pt x="61584" y="-9405"/>
                    <a:pt x="88736" y="20762"/>
                  </a:cubicBezTo>
                  <a:cubicBezTo>
                    <a:pt x="91752" y="23779"/>
                    <a:pt x="91752" y="29813"/>
                    <a:pt x="88736" y="32829"/>
                  </a:cubicBezTo>
                  <a:cubicBezTo>
                    <a:pt x="85718" y="26796"/>
                    <a:pt x="82702" y="29813"/>
                    <a:pt x="82702" y="29813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52A9E776-EC84-4430-B9E3-DB5EB9A570FF}"/>
                </a:ext>
              </a:extLst>
            </p:cNvPr>
            <p:cNvSpPr/>
            <p:nvPr/>
          </p:nvSpPr>
          <p:spPr>
            <a:xfrm>
              <a:off x="20863499" y="2699443"/>
              <a:ext cx="90998" cy="35195"/>
            </a:xfrm>
            <a:custGeom>
              <a:avLst/>
              <a:gdLst>
                <a:gd name="connsiteX0" fmla="*/ 8297 w 90998"/>
                <a:gd name="connsiteY0" fmla="*/ 35196 h 35195"/>
                <a:gd name="connsiteX1" fmla="*/ 2263 w 90998"/>
                <a:gd name="connsiteY1" fmla="*/ 32179 h 35195"/>
                <a:gd name="connsiteX2" fmla="*/ 2263 w 90998"/>
                <a:gd name="connsiteY2" fmla="*/ 20112 h 35195"/>
                <a:gd name="connsiteX3" fmla="*/ 86732 w 90998"/>
                <a:gd name="connsiteY3" fmla="*/ 11061 h 35195"/>
                <a:gd name="connsiteX4" fmla="*/ 89748 w 90998"/>
                <a:gd name="connsiteY4" fmla="*/ 23128 h 35195"/>
                <a:gd name="connsiteX5" fmla="*/ 77682 w 90998"/>
                <a:gd name="connsiteY5" fmla="*/ 26145 h 35195"/>
                <a:gd name="connsiteX6" fmla="*/ 11313 w 90998"/>
                <a:gd name="connsiteY6" fmla="*/ 32179 h 35195"/>
                <a:gd name="connsiteX7" fmla="*/ 8297 w 90998"/>
                <a:gd name="connsiteY7" fmla="*/ 35196 h 3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5195">
                  <a:moveTo>
                    <a:pt x="8297" y="35196"/>
                  </a:moveTo>
                  <a:cubicBezTo>
                    <a:pt x="5279" y="35196"/>
                    <a:pt x="5279" y="35196"/>
                    <a:pt x="2263" y="32179"/>
                  </a:cubicBezTo>
                  <a:cubicBezTo>
                    <a:pt x="-754" y="29162"/>
                    <a:pt x="-754" y="23128"/>
                    <a:pt x="2263" y="20112"/>
                  </a:cubicBezTo>
                  <a:cubicBezTo>
                    <a:pt x="14329" y="8045"/>
                    <a:pt x="50531" y="-13073"/>
                    <a:pt x="86732" y="11061"/>
                  </a:cubicBezTo>
                  <a:cubicBezTo>
                    <a:pt x="89748" y="14078"/>
                    <a:pt x="92766" y="17095"/>
                    <a:pt x="89748" y="23128"/>
                  </a:cubicBezTo>
                  <a:cubicBezTo>
                    <a:pt x="86732" y="26145"/>
                    <a:pt x="83716" y="29162"/>
                    <a:pt x="77682" y="26145"/>
                  </a:cubicBezTo>
                  <a:cubicBezTo>
                    <a:pt x="41481" y="2011"/>
                    <a:pt x="14329" y="32179"/>
                    <a:pt x="11313" y="32179"/>
                  </a:cubicBezTo>
                  <a:cubicBezTo>
                    <a:pt x="14329" y="35196"/>
                    <a:pt x="11313" y="35196"/>
                    <a:pt x="8297" y="35196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4E4B846C-034E-413B-B82F-53D900682F69}"/>
                </a:ext>
              </a:extLst>
            </p:cNvPr>
            <p:cNvSpPr/>
            <p:nvPr/>
          </p:nvSpPr>
          <p:spPr>
            <a:xfrm>
              <a:off x="20929032" y="2460581"/>
              <a:ext cx="271932" cy="274057"/>
            </a:xfrm>
            <a:custGeom>
              <a:avLst/>
              <a:gdLst>
                <a:gd name="connsiteX0" fmla="*/ 3100 w 271932"/>
                <a:gd name="connsiteY0" fmla="*/ 2549 h 274057"/>
                <a:gd name="connsiteX1" fmla="*/ 36283 w 271932"/>
                <a:gd name="connsiteY1" fmla="*/ 147354 h 274057"/>
                <a:gd name="connsiteX2" fmla="*/ 271590 w 271932"/>
                <a:gd name="connsiteY2" fmla="*/ 274058 h 274057"/>
                <a:gd name="connsiteX3" fmla="*/ 3100 w 271932"/>
                <a:gd name="connsiteY3" fmla="*/ 2549 h 274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932" h="274057">
                  <a:moveTo>
                    <a:pt x="3100" y="2549"/>
                  </a:moveTo>
                  <a:cubicBezTo>
                    <a:pt x="3100" y="2549"/>
                    <a:pt x="-15002" y="108136"/>
                    <a:pt x="36283" y="147354"/>
                  </a:cubicBezTo>
                  <a:cubicBezTo>
                    <a:pt x="36283" y="147354"/>
                    <a:pt x="244440" y="189589"/>
                    <a:pt x="271590" y="274058"/>
                  </a:cubicBezTo>
                  <a:cubicBezTo>
                    <a:pt x="271590" y="271041"/>
                    <a:pt x="292708" y="-30635"/>
                    <a:pt x="3100" y="2549"/>
                  </a:cubicBez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D1B96B1B-FA3E-425F-AC8E-C766DA25689E}"/>
                </a:ext>
              </a:extLst>
            </p:cNvPr>
            <p:cNvSpPr/>
            <p:nvPr/>
          </p:nvSpPr>
          <p:spPr>
            <a:xfrm>
              <a:off x="20671313" y="2463131"/>
              <a:ext cx="294002" cy="347382"/>
            </a:xfrm>
            <a:custGeom>
              <a:avLst/>
              <a:gdLst>
                <a:gd name="connsiteX0" fmla="*/ 294003 w 294002"/>
                <a:gd name="connsiteY0" fmla="*/ 144804 h 347382"/>
                <a:gd name="connsiteX1" fmla="*/ 155232 w 294002"/>
                <a:gd name="connsiteY1" fmla="*/ 199106 h 347382"/>
                <a:gd name="connsiteX2" fmla="*/ 97913 w 294002"/>
                <a:gd name="connsiteY2" fmla="*/ 316760 h 347382"/>
                <a:gd name="connsiteX3" fmla="*/ 10427 w 294002"/>
                <a:gd name="connsiteY3" fmla="*/ 337877 h 347382"/>
                <a:gd name="connsiteX4" fmla="*/ 263835 w 294002"/>
                <a:gd name="connsiteY4" fmla="*/ 0 h 347382"/>
                <a:gd name="connsiteX5" fmla="*/ 294003 w 294002"/>
                <a:gd name="connsiteY5" fmla="*/ 144804 h 347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002" h="347382">
                  <a:moveTo>
                    <a:pt x="294003" y="144804"/>
                  </a:moveTo>
                  <a:cubicBezTo>
                    <a:pt x="294003" y="144804"/>
                    <a:pt x="203500" y="193073"/>
                    <a:pt x="155232" y="199106"/>
                  </a:cubicBezTo>
                  <a:cubicBezTo>
                    <a:pt x="103947" y="205140"/>
                    <a:pt x="97913" y="316760"/>
                    <a:pt x="97913" y="316760"/>
                  </a:cubicBezTo>
                  <a:cubicBezTo>
                    <a:pt x="97913" y="316760"/>
                    <a:pt x="25510" y="368045"/>
                    <a:pt x="10427" y="337877"/>
                  </a:cubicBezTo>
                  <a:cubicBezTo>
                    <a:pt x="-22757" y="271508"/>
                    <a:pt x="13444" y="0"/>
                    <a:pt x="263835" y="0"/>
                  </a:cubicBezTo>
                  <a:cubicBezTo>
                    <a:pt x="260819" y="0"/>
                    <a:pt x="269869" y="138771"/>
                    <a:pt x="294003" y="144804"/>
                  </a:cubicBez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FE008B11-89A6-4053-9E67-B0C6BF2BFBA6}"/>
                </a:ext>
              </a:extLst>
            </p:cNvPr>
            <p:cNvSpPr/>
            <p:nvPr/>
          </p:nvSpPr>
          <p:spPr>
            <a:xfrm>
              <a:off x="20865763" y="3000114"/>
              <a:ext cx="219469" cy="78435"/>
            </a:xfrm>
            <a:custGeom>
              <a:avLst/>
              <a:gdLst>
                <a:gd name="connsiteX0" fmla="*/ 147820 w 219469"/>
                <a:gd name="connsiteY0" fmla="*/ 78436 h 78435"/>
                <a:gd name="connsiteX1" fmla="*/ 138770 w 219469"/>
                <a:gd name="connsiteY1" fmla="*/ 78436 h 78435"/>
                <a:gd name="connsiteX2" fmla="*/ 3016 w 219469"/>
                <a:gd name="connsiteY2" fmla="*/ 12067 h 78435"/>
                <a:gd name="connsiteX3" fmla="*/ 0 w 219469"/>
                <a:gd name="connsiteY3" fmla="*/ 3017 h 78435"/>
                <a:gd name="connsiteX4" fmla="*/ 9050 w 219469"/>
                <a:gd name="connsiteY4" fmla="*/ 0 h 78435"/>
                <a:gd name="connsiteX5" fmla="*/ 138770 w 219469"/>
                <a:gd name="connsiteY5" fmla="*/ 66369 h 78435"/>
                <a:gd name="connsiteX6" fmla="*/ 208155 w 219469"/>
                <a:gd name="connsiteY6" fmla="*/ 42235 h 78435"/>
                <a:gd name="connsiteX7" fmla="*/ 217207 w 219469"/>
                <a:gd name="connsiteY7" fmla="*/ 42235 h 78435"/>
                <a:gd name="connsiteX8" fmla="*/ 217207 w 219469"/>
                <a:gd name="connsiteY8" fmla="*/ 51285 h 78435"/>
                <a:gd name="connsiteX9" fmla="*/ 147820 w 219469"/>
                <a:gd name="connsiteY9" fmla="*/ 78436 h 78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9469" h="78435">
                  <a:moveTo>
                    <a:pt x="147820" y="78436"/>
                  </a:moveTo>
                  <a:cubicBezTo>
                    <a:pt x="144804" y="78436"/>
                    <a:pt x="141788" y="78436"/>
                    <a:pt x="138770" y="78436"/>
                  </a:cubicBezTo>
                  <a:cubicBezTo>
                    <a:pt x="96537" y="72402"/>
                    <a:pt x="6034" y="12067"/>
                    <a:pt x="3016" y="12067"/>
                  </a:cubicBezTo>
                  <a:cubicBezTo>
                    <a:pt x="0" y="9050"/>
                    <a:pt x="0" y="6034"/>
                    <a:pt x="0" y="3017"/>
                  </a:cubicBezTo>
                  <a:cubicBezTo>
                    <a:pt x="3016" y="0"/>
                    <a:pt x="6034" y="0"/>
                    <a:pt x="9050" y="0"/>
                  </a:cubicBezTo>
                  <a:cubicBezTo>
                    <a:pt x="9050" y="0"/>
                    <a:pt x="102569" y="60335"/>
                    <a:pt x="138770" y="66369"/>
                  </a:cubicBezTo>
                  <a:cubicBezTo>
                    <a:pt x="174972" y="72402"/>
                    <a:pt x="208155" y="42235"/>
                    <a:pt x="208155" y="42235"/>
                  </a:cubicBezTo>
                  <a:cubicBezTo>
                    <a:pt x="211173" y="39218"/>
                    <a:pt x="214189" y="39218"/>
                    <a:pt x="217207" y="42235"/>
                  </a:cubicBezTo>
                  <a:cubicBezTo>
                    <a:pt x="220223" y="45251"/>
                    <a:pt x="220223" y="48268"/>
                    <a:pt x="217207" y="51285"/>
                  </a:cubicBezTo>
                  <a:cubicBezTo>
                    <a:pt x="214189" y="51285"/>
                    <a:pt x="184022" y="78436"/>
                    <a:pt x="147820" y="78436"/>
                  </a:cubicBezTo>
                  <a:close/>
                </a:path>
              </a:pathLst>
            </a:custGeom>
            <a:solidFill>
              <a:srgbClr val="E58777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DFE7E319-7099-469D-A28F-974723D5E0EB}"/>
                </a:ext>
              </a:extLst>
            </p:cNvPr>
            <p:cNvSpPr/>
            <p:nvPr/>
          </p:nvSpPr>
          <p:spPr>
            <a:xfrm>
              <a:off x="20728659" y="2763338"/>
              <a:ext cx="76767" cy="112851"/>
            </a:xfrm>
            <a:custGeom>
              <a:avLst/>
              <a:gdLst>
                <a:gd name="connsiteX0" fmla="*/ 64700 w 76767"/>
                <a:gd name="connsiteY0" fmla="*/ 16553 h 112851"/>
                <a:gd name="connsiteX1" fmla="*/ 7383 w 76767"/>
                <a:gd name="connsiteY1" fmla="*/ 7503 h 112851"/>
                <a:gd name="connsiteX2" fmla="*/ 64700 w 76767"/>
                <a:gd name="connsiteY2" fmla="*/ 110072 h 112851"/>
                <a:gd name="connsiteX3" fmla="*/ 64700 w 76767"/>
                <a:gd name="connsiteY3" fmla="*/ 16553 h 112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767" h="112851">
                  <a:moveTo>
                    <a:pt x="64700" y="16553"/>
                  </a:moveTo>
                  <a:cubicBezTo>
                    <a:pt x="64700" y="16553"/>
                    <a:pt x="31517" y="-13615"/>
                    <a:pt x="7383" y="7503"/>
                  </a:cubicBezTo>
                  <a:cubicBezTo>
                    <a:pt x="-16753" y="25603"/>
                    <a:pt x="22467" y="131190"/>
                    <a:pt x="64700" y="110072"/>
                  </a:cubicBezTo>
                  <a:cubicBezTo>
                    <a:pt x="91852" y="88955"/>
                    <a:pt x="64700" y="16553"/>
                    <a:pt x="64700" y="16553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42075347-2112-4313-8A3B-6D1301B2C797}"/>
                </a:ext>
              </a:extLst>
            </p:cNvPr>
            <p:cNvSpPr/>
            <p:nvPr/>
          </p:nvSpPr>
          <p:spPr>
            <a:xfrm>
              <a:off x="21087752" y="2645903"/>
              <a:ext cx="146055" cy="161137"/>
            </a:xfrm>
            <a:custGeom>
              <a:avLst/>
              <a:gdLst>
                <a:gd name="connsiteX0" fmla="*/ 140021 w 146055"/>
                <a:gd name="connsiteY0" fmla="*/ 161138 h 161137"/>
                <a:gd name="connsiteX1" fmla="*/ 133987 w 146055"/>
                <a:gd name="connsiteY1" fmla="*/ 158121 h 161137"/>
                <a:gd name="connsiteX2" fmla="*/ 4267 w 146055"/>
                <a:gd name="connsiteY2" fmla="*/ 10300 h 161137"/>
                <a:gd name="connsiteX3" fmla="*/ 1249 w 146055"/>
                <a:gd name="connsiteY3" fmla="*/ 4266 h 161137"/>
                <a:gd name="connsiteX4" fmla="*/ 7283 w 146055"/>
                <a:gd name="connsiteY4" fmla="*/ 1250 h 161137"/>
                <a:gd name="connsiteX5" fmla="*/ 146055 w 146055"/>
                <a:gd name="connsiteY5" fmla="*/ 158121 h 161137"/>
                <a:gd name="connsiteX6" fmla="*/ 140021 w 146055"/>
                <a:gd name="connsiteY6" fmla="*/ 161138 h 161137"/>
                <a:gd name="connsiteX7" fmla="*/ 140021 w 146055"/>
                <a:gd name="connsiteY7" fmla="*/ 161138 h 161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055" h="161137">
                  <a:moveTo>
                    <a:pt x="140021" y="161138"/>
                  </a:moveTo>
                  <a:cubicBezTo>
                    <a:pt x="137003" y="161138"/>
                    <a:pt x="133987" y="158121"/>
                    <a:pt x="133987" y="158121"/>
                  </a:cubicBezTo>
                  <a:cubicBezTo>
                    <a:pt x="109854" y="37451"/>
                    <a:pt x="4267" y="10300"/>
                    <a:pt x="4267" y="10300"/>
                  </a:cubicBezTo>
                  <a:cubicBezTo>
                    <a:pt x="1249" y="10300"/>
                    <a:pt x="-1767" y="7283"/>
                    <a:pt x="1249" y="4266"/>
                  </a:cubicBezTo>
                  <a:cubicBezTo>
                    <a:pt x="1249" y="1250"/>
                    <a:pt x="4267" y="-1767"/>
                    <a:pt x="7283" y="1250"/>
                  </a:cubicBezTo>
                  <a:cubicBezTo>
                    <a:pt x="7283" y="1250"/>
                    <a:pt x="121920" y="31417"/>
                    <a:pt x="146055" y="158121"/>
                  </a:cubicBezTo>
                  <a:cubicBezTo>
                    <a:pt x="146055" y="155104"/>
                    <a:pt x="146055" y="158121"/>
                    <a:pt x="140021" y="161138"/>
                  </a:cubicBezTo>
                  <a:cubicBezTo>
                    <a:pt x="140021" y="161138"/>
                    <a:pt x="140021" y="161138"/>
                    <a:pt x="140021" y="161138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F820768A-DB92-4322-A976-21CFACF1709A}"/>
                </a:ext>
              </a:extLst>
            </p:cNvPr>
            <p:cNvSpPr/>
            <p:nvPr/>
          </p:nvSpPr>
          <p:spPr>
            <a:xfrm>
              <a:off x="20671440" y="2460114"/>
              <a:ext cx="299909" cy="488715"/>
            </a:xfrm>
            <a:custGeom>
              <a:avLst/>
              <a:gdLst>
                <a:gd name="connsiteX0" fmla="*/ 176221 w 299909"/>
                <a:gd name="connsiteY0" fmla="*/ 488715 h 488715"/>
                <a:gd name="connsiteX1" fmla="*/ 176221 w 299909"/>
                <a:gd name="connsiteY1" fmla="*/ 488715 h 488715"/>
                <a:gd name="connsiteX2" fmla="*/ 170189 w 299909"/>
                <a:gd name="connsiteY2" fmla="*/ 482682 h 488715"/>
                <a:gd name="connsiteX3" fmla="*/ 167171 w 299909"/>
                <a:gd name="connsiteY3" fmla="*/ 368045 h 488715"/>
                <a:gd name="connsiteX4" fmla="*/ 161137 w 299909"/>
                <a:gd name="connsiteY4" fmla="*/ 271508 h 488715"/>
                <a:gd name="connsiteX5" fmla="*/ 245608 w 299909"/>
                <a:gd name="connsiteY5" fmla="*/ 162905 h 488715"/>
                <a:gd name="connsiteX6" fmla="*/ 284825 w 299909"/>
                <a:gd name="connsiteY6" fmla="*/ 141788 h 488715"/>
                <a:gd name="connsiteX7" fmla="*/ 269742 w 299909"/>
                <a:gd name="connsiteY7" fmla="*/ 120670 h 488715"/>
                <a:gd name="connsiteX8" fmla="*/ 257674 w 299909"/>
                <a:gd name="connsiteY8" fmla="*/ 78436 h 488715"/>
                <a:gd name="connsiteX9" fmla="*/ 257674 w 299909"/>
                <a:gd name="connsiteY9" fmla="*/ 54302 h 488715"/>
                <a:gd name="connsiteX10" fmla="*/ 257674 w 299909"/>
                <a:gd name="connsiteY10" fmla="*/ 9050 h 488715"/>
                <a:gd name="connsiteX11" fmla="*/ 10299 w 299909"/>
                <a:gd name="connsiteY11" fmla="*/ 214190 h 488715"/>
                <a:gd name="connsiteX12" fmla="*/ 4267 w 299909"/>
                <a:gd name="connsiteY12" fmla="*/ 217207 h 488715"/>
                <a:gd name="connsiteX13" fmla="*/ 1249 w 299909"/>
                <a:gd name="connsiteY13" fmla="*/ 211173 h 488715"/>
                <a:gd name="connsiteX14" fmla="*/ 260692 w 299909"/>
                <a:gd name="connsiteY14" fmla="*/ 0 h 488715"/>
                <a:gd name="connsiteX15" fmla="*/ 266724 w 299909"/>
                <a:gd name="connsiteY15" fmla="*/ 3017 h 488715"/>
                <a:gd name="connsiteX16" fmla="*/ 269742 w 299909"/>
                <a:gd name="connsiteY16" fmla="*/ 57318 h 488715"/>
                <a:gd name="connsiteX17" fmla="*/ 269742 w 299909"/>
                <a:gd name="connsiteY17" fmla="*/ 81453 h 488715"/>
                <a:gd name="connsiteX18" fmla="*/ 278792 w 299909"/>
                <a:gd name="connsiteY18" fmla="*/ 120670 h 488715"/>
                <a:gd name="connsiteX19" fmla="*/ 296891 w 299909"/>
                <a:gd name="connsiteY19" fmla="*/ 144805 h 488715"/>
                <a:gd name="connsiteX20" fmla="*/ 299909 w 299909"/>
                <a:gd name="connsiteY20" fmla="*/ 150838 h 488715"/>
                <a:gd name="connsiteX21" fmla="*/ 293875 w 299909"/>
                <a:gd name="connsiteY21" fmla="*/ 153855 h 488715"/>
                <a:gd name="connsiteX22" fmla="*/ 248624 w 299909"/>
                <a:gd name="connsiteY22" fmla="*/ 177989 h 488715"/>
                <a:gd name="connsiteX23" fmla="*/ 170189 w 299909"/>
                <a:gd name="connsiteY23" fmla="*/ 277542 h 488715"/>
                <a:gd name="connsiteX24" fmla="*/ 176221 w 299909"/>
                <a:gd name="connsiteY24" fmla="*/ 371062 h 488715"/>
                <a:gd name="connsiteX25" fmla="*/ 179239 w 299909"/>
                <a:gd name="connsiteY25" fmla="*/ 488715 h 488715"/>
                <a:gd name="connsiteX26" fmla="*/ 176221 w 299909"/>
                <a:gd name="connsiteY26" fmla="*/ 488715 h 488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99909" h="488715">
                  <a:moveTo>
                    <a:pt x="176221" y="488715"/>
                  </a:moveTo>
                  <a:cubicBezTo>
                    <a:pt x="173205" y="488715"/>
                    <a:pt x="173205" y="488715"/>
                    <a:pt x="176221" y="488715"/>
                  </a:cubicBezTo>
                  <a:cubicBezTo>
                    <a:pt x="173205" y="488715"/>
                    <a:pt x="170189" y="485698"/>
                    <a:pt x="170189" y="482682"/>
                  </a:cubicBezTo>
                  <a:cubicBezTo>
                    <a:pt x="182255" y="440447"/>
                    <a:pt x="176221" y="404246"/>
                    <a:pt x="167171" y="368045"/>
                  </a:cubicBezTo>
                  <a:cubicBezTo>
                    <a:pt x="161137" y="337877"/>
                    <a:pt x="155105" y="304693"/>
                    <a:pt x="161137" y="271508"/>
                  </a:cubicBezTo>
                  <a:cubicBezTo>
                    <a:pt x="173205" y="211173"/>
                    <a:pt x="236556" y="168939"/>
                    <a:pt x="245608" y="162905"/>
                  </a:cubicBezTo>
                  <a:cubicBezTo>
                    <a:pt x="263708" y="153855"/>
                    <a:pt x="275775" y="147821"/>
                    <a:pt x="284825" y="141788"/>
                  </a:cubicBezTo>
                  <a:cubicBezTo>
                    <a:pt x="278792" y="135754"/>
                    <a:pt x="272758" y="129721"/>
                    <a:pt x="269742" y="120670"/>
                  </a:cubicBezTo>
                  <a:cubicBezTo>
                    <a:pt x="263708" y="105587"/>
                    <a:pt x="260692" y="90503"/>
                    <a:pt x="257674" y="78436"/>
                  </a:cubicBezTo>
                  <a:cubicBezTo>
                    <a:pt x="257674" y="72402"/>
                    <a:pt x="257674" y="63352"/>
                    <a:pt x="257674" y="54302"/>
                  </a:cubicBezTo>
                  <a:cubicBezTo>
                    <a:pt x="257674" y="42235"/>
                    <a:pt x="260692" y="15084"/>
                    <a:pt x="257674" y="9050"/>
                  </a:cubicBezTo>
                  <a:cubicBezTo>
                    <a:pt x="49518" y="21117"/>
                    <a:pt x="10299" y="211173"/>
                    <a:pt x="10299" y="214190"/>
                  </a:cubicBezTo>
                  <a:cubicBezTo>
                    <a:pt x="10299" y="217207"/>
                    <a:pt x="7283" y="220224"/>
                    <a:pt x="4267" y="217207"/>
                  </a:cubicBezTo>
                  <a:cubicBezTo>
                    <a:pt x="1249" y="217207"/>
                    <a:pt x="-1767" y="214190"/>
                    <a:pt x="1249" y="211173"/>
                  </a:cubicBezTo>
                  <a:cubicBezTo>
                    <a:pt x="1249" y="208156"/>
                    <a:pt x="43485" y="9050"/>
                    <a:pt x="260692" y="0"/>
                  </a:cubicBezTo>
                  <a:cubicBezTo>
                    <a:pt x="263708" y="0"/>
                    <a:pt x="266724" y="0"/>
                    <a:pt x="266724" y="3017"/>
                  </a:cubicBezTo>
                  <a:cubicBezTo>
                    <a:pt x="272758" y="9050"/>
                    <a:pt x="272758" y="30168"/>
                    <a:pt x="269742" y="57318"/>
                  </a:cubicBezTo>
                  <a:cubicBezTo>
                    <a:pt x="269742" y="66369"/>
                    <a:pt x="266724" y="75419"/>
                    <a:pt x="269742" y="81453"/>
                  </a:cubicBezTo>
                  <a:cubicBezTo>
                    <a:pt x="272758" y="96536"/>
                    <a:pt x="272758" y="108603"/>
                    <a:pt x="278792" y="120670"/>
                  </a:cubicBezTo>
                  <a:cubicBezTo>
                    <a:pt x="281808" y="129721"/>
                    <a:pt x="290859" y="135754"/>
                    <a:pt x="296891" y="144805"/>
                  </a:cubicBezTo>
                  <a:lnTo>
                    <a:pt x="299909" y="150838"/>
                  </a:lnTo>
                  <a:lnTo>
                    <a:pt x="293875" y="153855"/>
                  </a:lnTo>
                  <a:cubicBezTo>
                    <a:pt x="293875" y="153855"/>
                    <a:pt x="275775" y="165922"/>
                    <a:pt x="248624" y="177989"/>
                  </a:cubicBezTo>
                  <a:cubicBezTo>
                    <a:pt x="239574" y="181006"/>
                    <a:pt x="179239" y="223240"/>
                    <a:pt x="170189" y="277542"/>
                  </a:cubicBezTo>
                  <a:cubicBezTo>
                    <a:pt x="164155" y="310726"/>
                    <a:pt x="170189" y="340894"/>
                    <a:pt x="176221" y="371062"/>
                  </a:cubicBezTo>
                  <a:cubicBezTo>
                    <a:pt x="185273" y="407263"/>
                    <a:pt x="191305" y="446480"/>
                    <a:pt x="179239" y="488715"/>
                  </a:cubicBezTo>
                  <a:cubicBezTo>
                    <a:pt x="179239" y="488715"/>
                    <a:pt x="176221" y="488715"/>
                    <a:pt x="176221" y="488715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53FD4896-CBFC-4CF8-9F2D-9D256327B26C}"/>
                </a:ext>
              </a:extLst>
            </p:cNvPr>
            <p:cNvSpPr/>
            <p:nvPr/>
          </p:nvSpPr>
          <p:spPr>
            <a:xfrm>
              <a:off x="20924848" y="2444084"/>
              <a:ext cx="124936" cy="25080"/>
            </a:xfrm>
            <a:custGeom>
              <a:avLst/>
              <a:gdLst>
                <a:gd name="connsiteX0" fmla="*/ 7284 w 124936"/>
                <a:gd name="connsiteY0" fmla="*/ 25080 h 25080"/>
                <a:gd name="connsiteX1" fmla="*/ 1250 w 124936"/>
                <a:gd name="connsiteY1" fmla="*/ 22063 h 25080"/>
                <a:gd name="connsiteX2" fmla="*/ 4266 w 124936"/>
                <a:gd name="connsiteY2" fmla="*/ 13013 h 25080"/>
                <a:gd name="connsiteX3" fmla="*/ 121920 w 124936"/>
                <a:gd name="connsiteY3" fmla="*/ 9996 h 25080"/>
                <a:gd name="connsiteX4" fmla="*/ 124937 w 124936"/>
                <a:gd name="connsiteY4" fmla="*/ 16030 h 25080"/>
                <a:gd name="connsiteX5" fmla="*/ 118903 w 124936"/>
                <a:gd name="connsiteY5" fmla="*/ 19047 h 25080"/>
                <a:gd name="connsiteX6" fmla="*/ 7284 w 124936"/>
                <a:gd name="connsiteY6" fmla="*/ 25080 h 25080"/>
                <a:gd name="connsiteX7" fmla="*/ 7284 w 124936"/>
                <a:gd name="connsiteY7" fmla="*/ 25080 h 25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936" h="25080">
                  <a:moveTo>
                    <a:pt x="7284" y="25080"/>
                  </a:moveTo>
                  <a:cubicBezTo>
                    <a:pt x="4266" y="25080"/>
                    <a:pt x="4266" y="25080"/>
                    <a:pt x="1250" y="22063"/>
                  </a:cubicBezTo>
                  <a:cubicBezTo>
                    <a:pt x="-1768" y="19047"/>
                    <a:pt x="1250" y="16030"/>
                    <a:pt x="4266" y="13013"/>
                  </a:cubicBezTo>
                  <a:cubicBezTo>
                    <a:pt x="7284" y="13013"/>
                    <a:pt x="52535" y="-14138"/>
                    <a:pt x="121920" y="9996"/>
                  </a:cubicBezTo>
                  <a:cubicBezTo>
                    <a:pt x="124937" y="9996"/>
                    <a:pt x="124937" y="13013"/>
                    <a:pt x="124937" y="16030"/>
                  </a:cubicBezTo>
                  <a:cubicBezTo>
                    <a:pt x="124937" y="19047"/>
                    <a:pt x="121920" y="19047"/>
                    <a:pt x="118903" y="19047"/>
                  </a:cubicBezTo>
                  <a:cubicBezTo>
                    <a:pt x="52535" y="-2071"/>
                    <a:pt x="10300" y="25080"/>
                    <a:pt x="7284" y="25080"/>
                  </a:cubicBezTo>
                  <a:cubicBezTo>
                    <a:pt x="7284" y="25080"/>
                    <a:pt x="7284" y="25080"/>
                    <a:pt x="7284" y="25080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E51E0E6F-10D8-4B67-BC24-631ABC4F15D5}"/>
                </a:ext>
              </a:extLst>
            </p:cNvPr>
            <p:cNvSpPr/>
            <p:nvPr/>
          </p:nvSpPr>
          <p:spPr>
            <a:xfrm>
              <a:off x="20969086" y="2950596"/>
              <a:ext cx="118149" cy="28400"/>
            </a:xfrm>
            <a:custGeom>
              <a:avLst/>
              <a:gdLst>
                <a:gd name="connsiteX0" fmla="*/ 50531 w 118149"/>
                <a:gd name="connsiteY0" fmla="*/ 28400 h 28400"/>
                <a:gd name="connsiteX1" fmla="*/ 2263 w 118149"/>
                <a:gd name="connsiteY1" fmla="*/ 16333 h 28400"/>
                <a:gd name="connsiteX2" fmla="*/ 2263 w 118149"/>
                <a:gd name="connsiteY2" fmla="*/ 7283 h 28400"/>
                <a:gd name="connsiteX3" fmla="*/ 11313 w 118149"/>
                <a:gd name="connsiteY3" fmla="*/ 7283 h 28400"/>
                <a:gd name="connsiteX4" fmla="*/ 107850 w 118149"/>
                <a:gd name="connsiteY4" fmla="*/ 1250 h 28400"/>
                <a:gd name="connsiteX5" fmla="*/ 116900 w 118149"/>
                <a:gd name="connsiteY5" fmla="*/ 4266 h 28400"/>
                <a:gd name="connsiteX6" fmla="*/ 113884 w 118149"/>
                <a:gd name="connsiteY6" fmla="*/ 13317 h 28400"/>
                <a:gd name="connsiteX7" fmla="*/ 50531 w 118149"/>
                <a:gd name="connsiteY7" fmla="*/ 28400 h 28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149" h="28400">
                  <a:moveTo>
                    <a:pt x="50531" y="28400"/>
                  </a:moveTo>
                  <a:cubicBezTo>
                    <a:pt x="23381" y="28400"/>
                    <a:pt x="5279" y="16333"/>
                    <a:pt x="2263" y="16333"/>
                  </a:cubicBezTo>
                  <a:cubicBezTo>
                    <a:pt x="-754" y="13317"/>
                    <a:pt x="-754" y="10300"/>
                    <a:pt x="2263" y="7283"/>
                  </a:cubicBezTo>
                  <a:cubicBezTo>
                    <a:pt x="5279" y="4266"/>
                    <a:pt x="8297" y="4266"/>
                    <a:pt x="11313" y="7283"/>
                  </a:cubicBezTo>
                  <a:cubicBezTo>
                    <a:pt x="14329" y="7283"/>
                    <a:pt x="53549" y="37451"/>
                    <a:pt x="107850" y="1250"/>
                  </a:cubicBezTo>
                  <a:cubicBezTo>
                    <a:pt x="110866" y="-1767"/>
                    <a:pt x="113884" y="1250"/>
                    <a:pt x="116900" y="4266"/>
                  </a:cubicBezTo>
                  <a:cubicBezTo>
                    <a:pt x="119916" y="7283"/>
                    <a:pt x="116900" y="10300"/>
                    <a:pt x="113884" y="13317"/>
                  </a:cubicBezTo>
                  <a:cubicBezTo>
                    <a:pt x="89748" y="25384"/>
                    <a:pt x="68632" y="28400"/>
                    <a:pt x="50531" y="28400"/>
                  </a:cubicBezTo>
                  <a:close/>
                </a:path>
              </a:pathLst>
            </a:custGeom>
            <a:solidFill>
              <a:srgbClr val="E58777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5F22FC69-55A7-4992-B84A-61F1405EB91C}"/>
                </a:ext>
              </a:extLst>
            </p:cNvPr>
            <p:cNvSpPr/>
            <p:nvPr/>
          </p:nvSpPr>
          <p:spPr>
            <a:xfrm>
              <a:off x="20545985" y="3917879"/>
              <a:ext cx="859776" cy="266927"/>
            </a:xfrm>
            <a:custGeom>
              <a:avLst/>
              <a:gdLst>
                <a:gd name="connsiteX0" fmla="*/ 108604 w 859776"/>
                <a:gd name="connsiteY0" fmla="*/ 29497 h 266927"/>
                <a:gd name="connsiteX1" fmla="*/ 0 w 859776"/>
                <a:gd name="connsiteY1" fmla="*/ 228604 h 266927"/>
                <a:gd name="connsiteX2" fmla="*/ 859777 w 859776"/>
                <a:gd name="connsiteY2" fmla="*/ 255754 h 266927"/>
                <a:gd name="connsiteX3" fmla="*/ 781342 w 859776"/>
                <a:gd name="connsiteY3" fmla="*/ 29497 h 266927"/>
                <a:gd name="connsiteX4" fmla="*/ 108604 w 859776"/>
                <a:gd name="connsiteY4" fmla="*/ 29497 h 266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9776" h="266927">
                  <a:moveTo>
                    <a:pt x="108604" y="29497"/>
                  </a:moveTo>
                  <a:lnTo>
                    <a:pt x="0" y="228604"/>
                  </a:lnTo>
                  <a:cubicBezTo>
                    <a:pt x="0" y="228604"/>
                    <a:pt x="624470" y="291955"/>
                    <a:pt x="859777" y="255754"/>
                  </a:cubicBezTo>
                  <a:cubicBezTo>
                    <a:pt x="859777" y="255754"/>
                    <a:pt x="787375" y="95866"/>
                    <a:pt x="781342" y="29497"/>
                  </a:cubicBezTo>
                  <a:cubicBezTo>
                    <a:pt x="775308" y="-36871"/>
                    <a:pt x="108604" y="29497"/>
                    <a:pt x="108604" y="29497"/>
                  </a:cubicBezTo>
                  <a:close/>
                </a:path>
              </a:pathLst>
            </a:custGeom>
            <a:solidFill>
              <a:srgbClr val="D1615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2938884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14">
            <a:extLst>
              <a:ext uri="{FF2B5EF4-FFF2-40B4-BE49-F238E27FC236}">
                <a16:creationId xmlns:a16="http://schemas.microsoft.com/office/drawing/2014/main" id="{DD58E74E-44D0-474C-9E17-776CFEFA03E6}"/>
              </a:ext>
            </a:extLst>
          </p:cNvPr>
          <p:cNvGrpSpPr/>
          <p:nvPr/>
        </p:nvGrpSpPr>
        <p:grpSpPr>
          <a:xfrm>
            <a:off x="2740598" y="2140020"/>
            <a:ext cx="2985993" cy="4476521"/>
            <a:chOff x="10551098" y="2140020"/>
            <a:chExt cx="2985993" cy="4476521"/>
          </a:xfrm>
        </p:grpSpPr>
        <p:grpSp>
          <p:nvGrpSpPr>
            <p:cNvPr id="3" name="图形 114">
              <a:extLst>
                <a:ext uri="{FF2B5EF4-FFF2-40B4-BE49-F238E27FC236}">
                  <a16:creationId xmlns:a16="http://schemas.microsoft.com/office/drawing/2014/main" id="{4466E227-C3AF-411F-B4D7-632852AF4D95}"/>
                </a:ext>
              </a:extLst>
            </p:cNvPr>
            <p:cNvGrpSpPr/>
            <p:nvPr/>
          </p:nvGrpSpPr>
          <p:grpSpPr>
            <a:xfrm>
              <a:off x="11842750" y="6227820"/>
              <a:ext cx="379067" cy="388721"/>
              <a:chOff x="11842750" y="6227820"/>
              <a:chExt cx="379067" cy="388721"/>
            </a:xfrm>
          </p:grpSpPr>
          <p:grpSp>
            <p:nvGrpSpPr>
              <p:cNvPr id="72" name="图形 114">
                <a:extLst>
                  <a:ext uri="{FF2B5EF4-FFF2-40B4-BE49-F238E27FC236}">
                    <a16:creationId xmlns:a16="http://schemas.microsoft.com/office/drawing/2014/main" id="{BED23106-BF61-4F0E-A696-88E388274315}"/>
                  </a:ext>
                </a:extLst>
              </p:cNvPr>
              <p:cNvGrpSpPr/>
              <p:nvPr/>
            </p:nvGrpSpPr>
            <p:grpSpPr>
              <a:xfrm>
                <a:off x="11842750" y="6227820"/>
                <a:ext cx="379067" cy="388721"/>
                <a:chOff x="11842750" y="6227820"/>
                <a:chExt cx="379067" cy="388721"/>
              </a:xfrm>
            </p:grpSpPr>
            <p:sp>
              <p:nvSpPr>
                <p:cNvPr id="74" name="任意多边形: 形状 73">
                  <a:extLst>
                    <a:ext uri="{FF2B5EF4-FFF2-40B4-BE49-F238E27FC236}">
                      <a16:creationId xmlns:a16="http://schemas.microsoft.com/office/drawing/2014/main" id="{8896D22F-C592-4F68-8CFB-4D6187F92752}"/>
                    </a:ext>
                  </a:extLst>
                </p:cNvPr>
                <p:cNvSpPr/>
                <p:nvPr/>
              </p:nvSpPr>
              <p:spPr>
                <a:xfrm>
                  <a:off x="11857025" y="6352905"/>
                  <a:ext cx="364792" cy="263636"/>
                </a:xfrm>
                <a:custGeom>
                  <a:avLst/>
                  <a:gdLst>
                    <a:gd name="connsiteX0" fmla="*/ 138268 w 364792"/>
                    <a:gd name="connsiteY0" fmla="*/ 0 h 263636"/>
                    <a:gd name="connsiteX1" fmla="*/ 257250 w 364792"/>
                    <a:gd name="connsiteY1" fmla="*/ 164746 h 263636"/>
                    <a:gd name="connsiteX2" fmla="*/ 40640 w 364792"/>
                    <a:gd name="connsiteY2" fmla="*/ 36610 h 263636"/>
                    <a:gd name="connsiteX3" fmla="*/ 19285 w 364792"/>
                    <a:gd name="connsiteY3" fmla="*/ 21356 h 263636"/>
                    <a:gd name="connsiteX4" fmla="*/ 979 w 364792"/>
                    <a:gd name="connsiteY4" fmla="*/ 97627 h 263636"/>
                    <a:gd name="connsiteX5" fmla="*/ 13183 w 364792"/>
                    <a:gd name="connsiteY5" fmla="*/ 219661 h 263636"/>
                    <a:gd name="connsiteX6" fmla="*/ 31488 w 364792"/>
                    <a:gd name="connsiteY6" fmla="*/ 237966 h 263636"/>
                    <a:gd name="connsiteX7" fmla="*/ 199284 w 364792"/>
                    <a:gd name="connsiteY7" fmla="*/ 259322 h 263636"/>
                    <a:gd name="connsiteX8" fmla="*/ 357928 w 364792"/>
                    <a:gd name="connsiteY8" fmla="*/ 262373 h 263636"/>
                    <a:gd name="connsiteX9" fmla="*/ 357928 w 364792"/>
                    <a:gd name="connsiteY9" fmla="*/ 216610 h 263636"/>
                    <a:gd name="connsiteX10" fmla="*/ 138268 w 364792"/>
                    <a:gd name="connsiteY10" fmla="*/ 0 h 263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4792" h="263636">
                      <a:moveTo>
                        <a:pt x="138268" y="0"/>
                      </a:moveTo>
                      <a:cubicBezTo>
                        <a:pt x="138268" y="0"/>
                        <a:pt x="272505" y="155593"/>
                        <a:pt x="257250" y="164746"/>
                      </a:cubicBezTo>
                      <a:cubicBezTo>
                        <a:pt x="238945" y="173898"/>
                        <a:pt x="40640" y="36610"/>
                        <a:pt x="40640" y="36610"/>
                      </a:cubicBezTo>
                      <a:lnTo>
                        <a:pt x="19285" y="21356"/>
                      </a:lnTo>
                      <a:cubicBezTo>
                        <a:pt x="19285" y="21356"/>
                        <a:pt x="-5123" y="70169"/>
                        <a:pt x="979" y="97627"/>
                      </a:cubicBezTo>
                      <a:cubicBezTo>
                        <a:pt x="4030" y="118983"/>
                        <a:pt x="10132" y="186101"/>
                        <a:pt x="13183" y="219661"/>
                      </a:cubicBezTo>
                      <a:cubicBezTo>
                        <a:pt x="13183" y="228814"/>
                        <a:pt x="22335" y="237966"/>
                        <a:pt x="31488" y="237966"/>
                      </a:cubicBezTo>
                      <a:cubicBezTo>
                        <a:pt x="71148" y="241017"/>
                        <a:pt x="165725" y="253220"/>
                        <a:pt x="199284" y="259322"/>
                      </a:cubicBezTo>
                      <a:cubicBezTo>
                        <a:pt x="220640" y="262373"/>
                        <a:pt x="345725" y="265424"/>
                        <a:pt x="357928" y="262373"/>
                      </a:cubicBezTo>
                      <a:cubicBezTo>
                        <a:pt x="367081" y="262373"/>
                        <a:pt x="367081" y="222711"/>
                        <a:pt x="357928" y="216610"/>
                      </a:cubicBezTo>
                      <a:cubicBezTo>
                        <a:pt x="278607" y="170847"/>
                        <a:pt x="138268" y="0"/>
                        <a:pt x="138268" y="0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5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5" name="任意多边形: 形状 74">
                  <a:extLst>
                    <a:ext uri="{FF2B5EF4-FFF2-40B4-BE49-F238E27FC236}">
                      <a16:creationId xmlns:a16="http://schemas.microsoft.com/office/drawing/2014/main" id="{782E4358-D1F4-4536-95B5-C1C26B61468C}"/>
                    </a:ext>
                  </a:extLst>
                </p:cNvPr>
                <p:cNvSpPr/>
                <p:nvPr/>
              </p:nvSpPr>
              <p:spPr>
                <a:xfrm>
                  <a:off x="11842750" y="6227820"/>
                  <a:ext cx="273736" cy="294624"/>
                </a:xfrm>
                <a:custGeom>
                  <a:avLst/>
                  <a:gdLst>
                    <a:gd name="connsiteX0" fmla="*/ 103729 w 273736"/>
                    <a:gd name="connsiteY0" fmla="*/ 0 h 294624"/>
                    <a:gd name="connsiteX1" fmla="*/ 152542 w 273736"/>
                    <a:gd name="connsiteY1" fmla="*/ 128136 h 294624"/>
                    <a:gd name="connsiteX2" fmla="*/ 271525 w 273736"/>
                    <a:gd name="connsiteY2" fmla="*/ 292882 h 294624"/>
                    <a:gd name="connsiteX3" fmla="*/ 36610 w 273736"/>
                    <a:gd name="connsiteY3" fmla="*/ 149491 h 294624"/>
                    <a:gd name="connsiteX4" fmla="*/ 0 w 273736"/>
                    <a:gd name="connsiteY4" fmla="*/ 0 h 294624"/>
                    <a:gd name="connsiteX5" fmla="*/ 103729 w 273736"/>
                    <a:gd name="connsiteY5" fmla="*/ 0 h 2946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3736" h="294624">
                      <a:moveTo>
                        <a:pt x="103729" y="0"/>
                      </a:moveTo>
                      <a:lnTo>
                        <a:pt x="152542" y="128136"/>
                      </a:lnTo>
                      <a:cubicBezTo>
                        <a:pt x="152542" y="128136"/>
                        <a:pt x="292882" y="277627"/>
                        <a:pt x="271525" y="292882"/>
                      </a:cubicBezTo>
                      <a:cubicBezTo>
                        <a:pt x="250169" y="311186"/>
                        <a:pt x="33560" y="180000"/>
                        <a:pt x="36610" y="149491"/>
                      </a:cubicBezTo>
                      <a:cubicBezTo>
                        <a:pt x="36610" y="100678"/>
                        <a:pt x="0" y="0"/>
                        <a:pt x="0" y="0"/>
                      </a:cubicBezTo>
                      <a:lnTo>
                        <a:pt x="103729" y="0"/>
                      </a:lnTo>
                      <a:close/>
                    </a:path>
                  </a:pathLst>
                </a:custGeom>
                <a:solidFill>
                  <a:srgbClr val="F5A398"/>
                </a:solidFill>
                <a:ln w="3050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7968ABE2-4C99-4EC9-BE62-5524B57C0461}"/>
                  </a:ext>
                </a:extLst>
              </p:cNvPr>
              <p:cNvSpPr/>
              <p:nvPr/>
            </p:nvSpPr>
            <p:spPr>
              <a:xfrm>
                <a:off x="11867920" y="6478752"/>
                <a:ext cx="157881" cy="106016"/>
              </a:xfrm>
              <a:custGeom>
                <a:avLst/>
                <a:gdLst>
                  <a:gd name="connsiteX0" fmla="*/ 148729 w 157881"/>
                  <a:gd name="connsiteY0" fmla="*/ 106017 h 106016"/>
                  <a:gd name="connsiteX1" fmla="*/ 148729 w 157881"/>
                  <a:gd name="connsiteY1" fmla="*/ 106017 h 106016"/>
                  <a:gd name="connsiteX2" fmla="*/ 2288 w 157881"/>
                  <a:gd name="connsiteY2" fmla="*/ 11441 h 106016"/>
                  <a:gd name="connsiteX3" fmla="*/ 2288 w 157881"/>
                  <a:gd name="connsiteY3" fmla="*/ 2288 h 106016"/>
                  <a:gd name="connsiteX4" fmla="*/ 11440 w 157881"/>
                  <a:gd name="connsiteY4" fmla="*/ 2288 h 106016"/>
                  <a:gd name="connsiteX5" fmla="*/ 154831 w 157881"/>
                  <a:gd name="connsiteY5" fmla="*/ 93814 h 106016"/>
                  <a:gd name="connsiteX6" fmla="*/ 157882 w 157881"/>
                  <a:gd name="connsiteY6" fmla="*/ 99915 h 106016"/>
                  <a:gd name="connsiteX7" fmla="*/ 148729 w 157881"/>
                  <a:gd name="connsiteY7" fmla="*/ 106017 h 106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881" h="106016">
                    <a:moveTo>
                      <a:pt x="148729" y="106017"/>
                    </a:moveTo>
                    <a:cubicBezTo>
                      <a:pt x="145678" y="106017"/>
                      <a:pt x="145678" y="106017"/>
                      <a:pt x="148729" y="106017"/>
                    </a:cubicBezTo>
                    <a:cubicBezTo>
                      <a:pt x="109068" y="87712"/>
                      <a:pt x="5339" y="14491"/>
                      <a:pt x="2288" y="11441"/>
                    </a:cubicBezTo>
                    <a:cubicBezTo>
                      <a:pt x="-763" y="8390"/>
                      <a:pt x="-763" y="5339"/>
                      <a:pt x="2288" y="2288"/>
                    </a:cubicBezTo>
                    <a:cubicBezTo>
                      <a:pt x="5339" y="-763"/>
                      <a:pt x="8390" y="-763"/>
                      <a:pt x="11440" y="2288"/>
                    </a:cubicBezTo>
                    <a:cubicBezTo>
                      <a:pt x="11440" y="2288"/>
                      <a:pt x="118220" y="75508"/>
                      <a:pt x="154831" y="93814"/>
                    </a:cubicBezTo>
                    <a:cubicBezTo>
                      <a:pt x="157882" y="93814"/>
                      <a:pt x="157882" y="99915"/>
                      <a:pt x="157882" y="99915"/>
                    </a:cubicBezTo>
                    <a:cubicBezTo>
                      <a:pt x="151780" y="106017"/>
                      <a:pt x="148729" y="106017"/>
                      <a:pt x="148729" y="106017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6CDBF5BF-81E4-4D93-9B63-44107B11DAF7}"/>
                </a:ext>
              </a:extLst>
            </p:cNvPr>
            <p:cNvSpPr/>
            <p:nvPr/>
          </p:nvSpPr>
          <p:spPr>
            <a:xfrm>
              <a:off x="12653297" y="3732312"/>
              <a:ext cx="231467" cy="208644"/>
            </a:xfrm>
            <a:custGeom>
              <a:avLst/>
              <a:gdLst>
                <a:gd name="connsiteX0" fmla="*/ 190131 w 231467"/>
                <a:gd name="connsiteY0" fmla="*/ 128051 h 208644"/>
                <a:gd name="connsiteX1" fmla="*/ 229793 w 231467"/>
                <a:gd name="connsiteY1" fmla="*/ 97542 h 208644"/>
                <a:gd name="connsiteX2" fmla="*/ 19284 w 231467"/>
                <a:gd name="connsiteY2" fmla="*/ 15169 h 208644"/>
                <a:gd name="connsiteX3" fmla="*/ 979 w 231467"/>
                <a:gd name="connsiteY3" fmla="*/ 128051 h 208644"/>
                <a:gd name="connsiteX4" fmla="*/ 89454 w 231467"/>
                <a:gd name="connsiteY4" fmla="*/ 207373 h 208644"/>
                <a:gd name="connsiteX5" fmla="*/ 190131 w 231467"/>
                <a:gd name="connsiteY5" fmla="*/ 128051 h 208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1467" h="208644">
                  <a:moveTo>
                    <a:pt x="190131" y="128051"/>
                  </a:moveTo>
                  <a:cubicBezTo>
                    <a:pt x="208437" y="134152"/>
                    <a:pt x="238945" y="106695"/>
                    <a:pt x="229793" y="97542"/>
                  </a:cubicBezTo>
                  <a:cubicBezTo>
                    <a:pt x="184030" y="57881"/>
                    <a:pt x="77251" y="-36695"/>
                    <a:pt x="19284" y="15169"/>
                  </a:cubicBezTo>
                  <a:cubicBezTo>
                    <a:pt x="19284" y="15169"/>
                    <a:pt x="-5123" y="97542"/>
                    <a:pt x="979" y="128051"/>
                  </a:cubicBezTo>
                  <a:cubicBezTo>
                    <a:pt x="13183" y="170763"/>
                    <a:pt x="55894" y="186017"/>
                    <a:pt x="89454" y="207373"/>
                  </a:cubicBezTo>
                  <a:cubicBezTo>
                    <a:pt x="110809" y="219576"/>
                    <a:pt x="208437" y="140254"/>
                    <a:pt x="190131" y="128051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5EDE4D5A-6708-4174-8905-69E2B01845D7}"/>
                </a:ext>
              </a:extLst>
            </p:cNvPr>
            <p:cNvSpPr/>
            <p:nvPr/>
          </p:nvSpPr>
          <p:spPr>
            <a:xfrm>
              <a:off x="11923302" y="2991853"/>
              <a:ext cx="798091" cy="868964"/>
            </a:xfrm>
            <a:custGeom>
              <a:avLst/>
              <a:gdLst>
                <a:gd name="connsiteX0" fmla="*/ 245888 w 798091"/>
                <a:gd name="connsiteY0" fmla="*/ 78340 h 868964"/>
                <a:gd name="connsiteX1" fmla="*/ 441143 w 798091"/>
                <a:gd name="connsiteY1" fmla="*/ 493255 h 868964"/>
                <a:gd name="connsiteX2" fmla="*/ 798092 w 798091"/>
                <a:gd name="connsiteY2" fmla="*/ 758679 h 868964"/>
                <a:gd name="connsiteX3" fmla="*/ 752329 w 798091"/>
                <a:gd name="connsiteY3" fmla="*/ 868510 h 868964"/>
                <a:gd name="connsiteX4" fmla="*/ 291651 w 798091"/>
                <a:gd name="connsiteY4" fmla="*/ 679357 h 868964"/>
                <a:gd name="connsiteX5" fmla="*/ 4871 w 798091"/>
                <a:gd name="connsiteY5" fmla="*/ 114950 h 868964"/>
                <a:gd name="connsiteX6" fmla="*/ 245888 w 798091"/>
                <a:gd name="connsiteY6" fmla="*/ 78340 h 868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8091" h="868964">
                  <a:moveTo>
                    <a:pt x="245888" y="78340"/>
                  </a:moveTo>
                  <a:cubicBezTo>
                    <a:pt x="279447" y="160713"/>
                    <a:pt x="383176" y="420035"/>
                    <a:pt x="441143" y="493255"/>
                  </a:cubicBezTo>
                  <a:cubicBezTo>
                    <a:pt x="523515" y="596984"/>
                    <a:pt x="798092" y="752578"/>
                    <a:pt x="798092" y="758679"/>
                  </a:cubicBezTo>
                  <a:cubicBezTo>
                    <a:pt x="795041" y="828849"/>
                    <a:pt x="801143" y="819696"/>
                    <a:pt x="752329" y="868510"/>
                  </a:cubicBezTo>
                  <a:cubicBezTo>
                    <a:pt x="746228" y="874611"/>
                    <a:pt x="462498" y="819696"/>
                    <a:pt x="291651" y="679357"/>
                  </a:cubicBezTo>
                  <a:cubicBezTo>
                    <a:pt x="239787" y="636645"/>
                    <a:pt x="65888" y="249188"/>
                    <a:pt x="4871" y="114950"/>
                  </a:cubicBezTo>
                  <a:cubicBezTo>
                    <a:pt x="-34789" y="38679"/>
                    <a:pt x="178770" y="-80304"/>
                    <a:pt x="245888" y="78340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14">
              <a:extLst>
                <a:ext uri="{FF2B5EF4-FFF2-40B4-BE49-F238E27FC236}">
                  <a16:creationId xmlns:a16="http://schemas.microsoft.com/office/drawing/2014/main" id="{5E1E7401-FEEA-44E5-8583-6B020EC7A836}"/>
                </a:ext>
              </a:extLst>
            </p:cNvPr>
            <p:cNvGrpSpPr/>
            <p:nvPr/>
          </p:nvGrpSpPr>
          <p:grpSpPr>
            <a:xfrm>
              <a:off x="10551098" y="5855617"/>
              <a:ext cx="358093" cy="500079"/>
              <a:chOff x="10551098" y="5855617"/>
              <a:chExt cx="358093" cy="500079"/>
            </a:xfrm>
          </p:grpSpPr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45E73DE5-1191-477F-B63E-1E71B1EDA944}"/>
                  </a:ext>
                </a:extLst>
              </p:cNvPr>
              <p:cNvSpPr/>
              <p:nvPr/>
            </p:nvSpPr>
            <p:spPr>
              <a:xfrm>
                <a:off x="10551098" y="5949944"/>
                <a:ext cx="263516" cy="405752"/>
              </a:xfrm>
              <a:custGeom>
                <a:avLst/>
                <a:gdLst>
                  <a:gd name="connsiteX0" fmla="*/ 263517 w 263516"/>
                  <a:gd name="connsiteY0" fmla="*/ 97876 h 405752"/>
                  <a:gd name="connsiteX1" fmla="*/ 159788 w 263516"/>
                  <a:gd name="connsiteY1" fmla="*/ 271775 h 405752"/>
                  <a:gd name="connsiteX2" fmla="*/ 190297 w 263516"/>
                  <a:gd name="connsiteY2" fmla="*/ 24656 h 405752"/>
                  <a:gd name="connsiteX3" fmla="*/ 196399 w 263516"/>
                  <a:gd name="connsiteY3" fmla="*/ 249 h 405752"/>
                  <a:gd name="connsiteX4" fmla="*/ 117077 w 263516"/>
                  <a:gd name="connsiteY4" fmla="*/ 12453 h 405752"/>
                  <a:gd name="connsiteX5" fmla="*/ 10297 w 263516"/>
                  <a:gd name="connsiteY5" fmla="*/ 70419 h 405752"/>
                  <a:gd name="connsiteX6" fmla="*/ 1144 w 263516"/>
                  <a:gd name="connsiteY6" fmla="*/ 94825 h 405752"/>
                  <a:gd name="connsiteX7" fmla="*/ 49957 w 263516"/>
                  <a:gd name="connsiteY7" fmla="*/ 256520 h 405752"/>
                  <a:gd name="connsiteX8" fmla="*/ 107923 w 263516"/>
                  <a:gd name="connsiteY8" fmla="*/ 402961 h 405752"/>
                  <a:gd name="connsiteX9" fmla="*/ 150636 w 263516"/>
                  <a:gd name="connsiteY9" fmla="*/ 384656 h 405752"/>
                  <a:gd name="connsiteX10" fmla="*/ 263517 w 263516"/>
                  <a:gd name="connsiteY10" fmla="*/ 97876 h 40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3516" h="405752">
                    <a:moveTo>
                      <a:pt x="263517" y="97876"/>
                    </a:moveTo>
                    <a:cubicBezTo>
                      <a:pt x="263517" y="97876"/>
                      <a:pt x="175042" y="283978"/>
                      <a:pt x="159788" y="271775"/>
                    </a:cubicBezTo>
                    <a:cubicBezTo>
                      <a:pt x="144534" y="259571"/>
                      <a:pt x="190297" y="24656"/>
                      <a:pt x="190297" y="24656"/>
                    </a:cubicBezTo>
                    <a:lnTo>
                      <a:pt x="196399" y="249"/>
                    </a:lnTo>
                    <a:cubicBezTo>
                      <a:pt x="196399" y="249"/>
                      <a:pt x="141483" y="-2802"/>
                      <a:pt x="117077" y="12453"/>
                    </a:cubicBezTo>
                    <a:cubicBezTo>
                      <a:pt x="98771" y="24656"/>
                      <a:pt x="37754" y="55164"/>
                      <a:pt x="10297" y="70419"/>
                    </a:cubicBezTo>
                    <a:cubicBezTo>
                      <a:pt x="1144" y="76520"/>
                      <a:pt x="-1906" y="85673"/>
                      <a:pt x="1144" y="94825"/>
                    </a:cubicBezTo>
                    <a:cubicBezTo>
                      <a:pt x="13348" y="131436"/>
                      <a:pt x="40805" y="226012"/>
                      <a:pt x="49957" y="256520"/>
                    </a:cubicBezTo>
                    <a:cubicBezTo>
                      <a:pt x="56060" y="277876"/>
                      <a:pt x="104873" y="393809"/>
                      <a:pt x="107923" y="402961"/>
                    </a:cubicBezTo>
                    <a:cubicBezTo>
                      <a:pt x="114025" y="412113"/>
                      <a:pt x="147585" y="396859"/>
                      <a:pt x="150636" y="384656"/>
                    </a:cubicBezTo>
                    <a:cubicBezTo>
                      <a:pt x="159788" y="296182"/>
                      <a:pt x="263517" y="97876"/>
                      <a:pt x="263517" y="97876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682D22BD-86DA-490A-9C82-DE6B616BB6C2}"/>
                  </a:ext>
                </a:extLst>
              </p:cNvPr>
              <p:cNvSpPr/>
              <p:nvPr/>
            </p:nvSpPr>
            <p:spPr>
              <a:xfrm>
                <a:off x="10699435" y="5855617"/>
                <a:ext cx="209755" cy="366676"/>
              </a:xfrm>
              <a:custGeom>
                <a:avLst/>
                <a:gdLst>
                  <a:gd name="connsiteX0" fmla="*/ 209756 w 209755"/>
                  <a:gd name="connsiteY0" fmla="*/ 97627 h 366676"/>
                  <a:gd name="connsiteX1" fmla="*/ 112128 w 209755"/>
                  <a:gd name="connsiteY1" fmla="*/ 192203 h 366676"/>
                  <a:gd name="connsiteX2" fmla="*/ 8400 w 209755"/>
                  <a:gd name="connsiteY2" fmla="*/ 366102 h 366676"/>
                  <a:gd name="connsiteX3" fmla="*/ 48061 w 209755"/>
                  <a:gd name="connsiteY3" fmla="*/ 91525 h 366676"/>
                  <a:gd name="connsiteX4" fmla="*/ 170095 w 209755"/>
                  <a:gd name="connsiteY4" fmla="*/ 0 h 366676"/>
                  <a:gd name="connsiteX5" fmla="*/ 209756 w 209755"/>
                  <a:gd name="connsiteY5" fmla="*/ 97627 h 366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755" h="366676">
                    <a:moveTo>
                      <a:pt x="209756" y="97627"/>
                    </a:moveTo>
                    <a:lnTo>
                      <a:pt x="112128" y="192203"/>
                    </a:lnTo>
                    <a:cubicBezTo>
                      <a:pt x="112128" y="192203"/>
                      <a:pt x="32807" y="378305"/>
                      <a:pt x="8400" y="366102"/>
                    </a:cubicBezTo>
                    <a:cubicBezTo>
                      <a:pt x="-16007" y="353898"/>
                      <a:pt x="17553" y="103729"/>
                      <a:pt x="48061" y="91525"/>
                    </a:cubicBezTo>
                    <a:cubicBezTo>
                      <a:pt x="93824" y="70170"/>
                      <a:pt x="170095" y="0"/>
                      <a:pt x="170095" y="0"/>
                    </a:cubicBezTo>
                    <a:lnTo>
                      <a:pt x="209756" y="97627"/>
                    </a:ln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E126B22A-3F61-4704-897F-8D31C5DE4045}"/>
                </a:ext>
              </a:extLst>
            </p:cNvPr>
            <p:cNvSpPr/>
            <p:nvPr/>
          </p:nvSpPr>
          <p:spPr>
            <a:xfrm>
              <a:off x="10610208" y="5979438"/>
              <a:ext cx="37873" cy="181263"/>
            </a:xfrm>
            <a:custGeom>
              <a:avLst/>
              <a:gdLst>
                <a:gd name="connsiteX0" fmla="*/ 6101 w 37873"/>
                <a:gd name="connsiteY0" fmla="*/ 181264 h 181263"/>
                <a:gd name="connsiteX1" fmla="*/ 6101 w 37873"/>
                <a:gd name="connsiteY1" fmla="*/ 181264 h 181263"/>
                <a:gd name="connsiteX2" fmla="*/ 0 w 37873"/>
                <a:gd name="connsiteY2" fmla="*/ 175162 h 181263"/>
                <a:gd name="connsiteX3" fmla="*/ 27457 w 37873"/>
                <a:gd name="connsiteY3" fmla="*/ 4315 h 181263"/>
                <a:gd name="connsiteX4" fmla="*/ 33559 w 37873"/>
                <a:gd name="connsiteY4" fmla="*/ 1264 h 181263"/>
                <a:gd name="connsiteX5" fmla="*/ 36610 w 37873"/>
                <a:gd name="connsiteY5" fmla="*/ 7366 h 181263"/>
                <a:gd name="connsiteX6" fmla="*/ 9152 w 37873"/>
                <a:gd name="connsiteY6" fmla="*/ 175162 h 181263"/>
                <a:gd name="connsiteX7" fmla="*/ 6101 w 37873"/>
                <a:gd name="connsiteY7" fmla="*/ 181264 h 181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873" h="181263">
                  <a:moveTo>
                    <a:pt x="6101" y="181264"/>
                  </a:moveTo>
                  <a:cubicBezTo>
                    <a:pt x="3050" y="181264"/>
                    <a:pt x="3050" y="181264"/>
                    <a:pt x="6101" y="181264"/>
                  </a:cubicBezTo>
                  <a:cubicBezTo>
                    <a:pt x="3050" y="181264"/>
                    <a:pt x="0" y="178213"/>
                    <a:pt x="0" y="175162"/>
                  </a:cubicBezTo>
                  <a:cubicBezTo>
                    <a:pt x="3050" y="132450"/>
                    <a:pt x="27457" y="10416"/>
                    <a:pt x="27457" y="4315"/>
                  </a:cubicBezTo>
                  <a:cubicBezTo>
                    <a:pt x="27457" y="1264"/>
                    <a:pt x="30508" y="-1787"/>
                    <a:pt x="33559" y="1264"/>
                  </a:cubicBezTo>
                  <a:cubicBezTo>
                    <a:pt x="36610" y="1264"/>
                    <a:pt x="39661" y="4315"/>
                    <a:pt x="36610" y="7366"/>
                  </a:cubicBezTo>
                  <a:cubicBezTo>
                    <a:pt x="36610" y="7366"/>
                    <a:pt x="12203" y="135501"/>
                    <a:pt x="9152" y="175162"/>
                  </a:cubicBezTo>
                  <a:cubicBezTo>
                    <a:pt x="9152" y="178213"/>
                    <a:pt x="6101" y="181264"/>
                    <a:pt x="6101" y="181264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CF066C90-258F-4666-89FA-2ECEA0AE136A}"/>
                </a:ext>
              </a:extLst>
            </p:cNvPr>
            <p:cNvSpPr/>
            <p:nvPr/>
          </p:nvSpPr>
          <p:spPr>
            <a:xfrm>
              <a:off x="10750546" y="3793244"/>
              <a:ext cx="1401533" cy="2523050"/>
            </a:xfrm>
            <a:custGeom>
              <a:avLst/>
              <a:gdLst>
                <a:gd name="connsiteX0" fmla="*/ 613221 w 1401533"/>
                <a:gd name="connsiteY0" fmla="*/ 0 h 2523050"/>
                <a:gd name="connsiteX1" fmla="*/ 1281356 w 1401533"/>
                <a:gd name="connsiteY1" fmla="*/ 0 h 2523050"/>
                <a:gd name="connsiteX2" fmla="*/ 1400340 w 1401533"/>
                <a:gd name="connsiteY2" fmla="*/ 460678 h 2523050"/>
                <a:gd name="connsiteX3" fmla="*/ 1220339 w 1401533"/>
                <a:gd name="connsiteY3" fmla="*/ 2486441 h 2523050"/>
                <a:gd name="connsiteX4" fmla="*/ 1046441 w 1401533"/>
                <a:gd name="connsiteY4" fmla="*/ 2523051 h 2523050"/>
                <a:gd name="connsiteX5" fmla="*/ 939662 w 1401533"/>
                <a:gd name="connsiteY5" fmla="*/ 811526 h 2523050"/>
                <a:gd name="connsiteX6" fmla="*/ 851187 w 1401533"/>
                <a:gd name="connsiteY6" fmla="*/ 1729831 h 2523050"/>
                <a:gd name="connsiteX7" fmla="*/ 826780 w 1401533"/>
                <a:gd name="connsiteY7" fmla="*/ 1772543 h 2523050"/>
                <a:gd name="connsiteX8" fmla="*/ 128136 w 1401533"/>
                <a:gd name="connsiteY8" fmla="*/ 2275933 h 2523050"/>
                <a:gd name="connsiteX9" fmla="*/ 0 w 1401533"/>
                <a:gd name="connsiteY9" fmla="*/ 2047119 h 2523050"/>
                <a:gd name="connsiteX10" fmla="*/ 518644 w 1401533"/>
                <a:gd name="connsiteY10" fmla="*/ 1656610 h 2523050"/>
                <a:gd name="connsiteX11" fmla="*/ 482034 w 1401533"/>
                <a:gd name="connsiteY11" fmla="*/ 414915 h 2523050"/>
                <a:gd name="connsiteX12" fmla="*/ 613221 w 1401533"/>
                <a:gd name="connsiteY12" fmla="*/ 0 h 252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01533" h="2523050">
                  <a:moveTo>
                    <a:pt x="613221" y="0"/>
                  </a:moveTo>
                  <a:lnTo>
                    <a:pt x="1281356" y="0"/>
                  </a:lnTo>
                  <a:cubicBezTo>
                    <a:pt x="1281356" y="0"/>
                    <a:pt x="1378983" y="305085"/>
                    <a:pt x="1400340" y="460678"/>
                  </a:cubicBezTo>
                  <a:cubicBezTo>
                    <a:pt x="1418644" y="613221"/>
                    <a:pt x="1220339" y="2486441"/>
                    <a:pt x="1220339" y="2486441"/>
                  </a:cubicBezTo>
                  <a:lnTo>
                    <a:pt x="1046441" y="2523051"/>
                  </a:lnTo>
                  <a:lnTo>
                    <a:pt x="939662" y="811526"/>
                  </a:lnTo>
                  <a:cubicBezTo>
                    <a:pt x="939662" y="811526"/>
                    <a:pt x="869492" y="1574238"/>
                    <a:pt x="851187" y="1729831"/>
                  </a:cubicBezTo>
                  <a:cubicBezTo>
                    <a:pt x="848136" y="1748136"/>
                    <a:pt x="838983" y="1763390"/>
                    <a:pt x="826780" y="1772543"/>
                  </a:cubicBezTo>
                  <a:lnTo>
                    <a:pt x="128136" y="2275933"/>
                  </a:lnTo>
                  <a:lnTo>
                    <a:pt x="0" y="2047119"/>
                  </a:lnTo>
                  <a:lnTo>
                    <a:pt x="518644" y="1656610"/>
                  </a:lnTo>
                  <a:cubicBezTo>
                    <a:pt x="518644" y="1656610"/>
                    <a:pt x="488136" y="478983"/>
                    <a:pt x="482034" y="414915"/>
                  </a:cubicBezTo>
                  <a:cubicBezTo>
                    <a:pt x="469831" y="295932"/>
                    <a:pt x="613221" y="0"/>
                    <a:pt x="613221" y="0"/>
                  </a:cubicBez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10FBB5A7-65D8-4C0C-ADB3-AE320400142A}"/>
                </a:ext>
              </a:extLst>
            </p:cNvPr>
            <p:cNvSpPr/>
            <p:nvPr/>
          </p:nvSpPr>
          <p:spPr>
            <a:xfrm>
              <a:off x="11607835" y="4177651"/>
              <a:ext cx="131186" cy="1220338"/>
            </a:xfrm>
            <a:custGeom>
              <a:avLst/>
              <a:gdLst>
                <a:gd name="connsiteX0" fmla="*/ 6102 w 131186"/>
                <a:gd name="connsiteY0" fmla="*/ 1220339 h 1220338"/>
                <a:gd name="connsiteX1" fmla="*/ 6102 w 131186"/>
                <a:gd name="connsiteY1" fmla="*/ 1220339 h 1220338"/>
                <a:gd name="connsiteX2" fmla="*/ 0 w 131186"/>
                <a:gd name="connsiteY2" fmla="*/ 1211186 h 1220338"/>
                <a:gd name="connsiteX3" fmla="*/ 76271 w 131186"/>
                <a:gd name="connsiteY3" fmla="*/ 424068 h 1220338"/>
                <a:gd name="connsiteX4" fmla="*/ 118983 w 131186"/>
                <a:gd name="connsiteY4" fmla="*/ 6102 h 1220338"/>
                <a:gd name="connsiteX5" fmla="*/ 125085 w 131186"/>
                <a:gd name="connsiteY5" fmla="*/ 0 h 1220338"/>
                <a:gd name="connsiteX6" fmla="*/ 131187 w 131186"/>
                <a:gd name="connsiteY6" fmla="*/ 6102 h 1220338"/>
                <a:gd name="connsiteX7" fmla="*/ 88474 w 131186"/>
                <a:gd name="connsiteY7" fmla="*/ 424068 h 1220338"/>
                <a:gd name="connsiteX8" fmla="*/ 12203 w 131186"/>
                <a:gd name="connsiteY8" fmla="*/ 1214237 h 1220338"/>
                <a:gd name="connsiteX9" fmla="*/ 6102 w 131186"/>
                <a:gd name="connsiteY9" fmla="*/ 1220339 h 122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186" h="1220338">
                  <a:moveTo>
                    <a:pt x="6102" y="1220339"/>
                  </a:moveTo>
                  <a:cubicBezTo>
                    <a:pt x="6102" y="1220339"/>
                    <a:pt x="6102" y="1220339"/>
                    <a:pt x="6102" y="1220339"/>
                  </a:cubicBezTo>
                  <a:cubicBezTo>
                    <a:pt x="0" y="1217288"/>
                    <a:pt x="0" y="1214237"/>
                    <a:pt x="0" y="1211186"/>
                  </a:cubicBezTo>
                  <a:cubicBezTo>
                    <a:pt x="6102" y="1192881"/>
                    <a:pt x="54916" y="637627"/>
                    <a:pt x="76271" y="424068"/>
                  </a:cubicBezTo>
                  <a:lnTo>
                    <a:pt x="118983" y="6102"/>
                  </a:lnTo>
                  <a:cubicBezTo>
                    <a:pt x="118983" y="3051"/>
                    <a:pt x="122034" y="0"/>
                    <a:pt x="125085" y="0"/>
                  </a:cubicBezTo>
                  <a:cubicBezTo>
                    <a:pt x="128136" y="0"/>
                    <a:pt x="131187" y="3051"/>
                    <a:pt x="131187" y="6102"/>
                  </a:cubicBezTo>
                  <a:lnTo>
                    <a:pt x="88474" y="424068"/>
                  </a:lnTo>
                  <a:cubicBezTo>
                    <a:pt x="82373" y="503390"/>
                    <a:pt x="18305" y="1195932"/>
                    <a:pt x="12203" y="1214237"/>
                  </a:cubicBezTo>
                  <a:cubicBezTo>
                    <a:pt x="12203" y="1220339"/>
                    <a:pt x="9153" y="1220339"/>
                    <a:pt x="6102" y="1220339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8F5EC7B7-80E8-4EB8-9FF9-7DC3830FE267}"/>
                </a:ext>
              </a:extLst>
            </p:cNvPr>
            <p:cNvSpPr/>
            <p:nvPr/>
          </p:nvSpPr>
          <p:spPr>
            <a:xfrm>
              <a:off x="11382072" y="2435617"/>
              <a:ext cx="247118" cy="366101"/>
            </a:xfrm>
            <a:custGeom>
              <a:avLst/>
              <a:gdLst>
                <a:gd name="connsiteX0" fmla="*/ 0 w 247118"/>
                <a:gd name="connsiteY0" fmla="*/ 0 h 366101"/>
                <a:gd name="connsiteX1" fmla="*/ 122034 w 247118"/>
                <a:gd name="connsiteY1" fmla="*/ 360000 h 366101"/>
                <a:gd name="connsiteX2" fmla="*/ 201356 w 247118"/>
                <a:gd name="connsiteY2" fmla="*/ 366102 h 366101"/>
                <a:gd name="connsiteX3" fmla="*/ 247119 w 247118"/>
                <a:gd name="connsiteY3" fmla="*/ 250169 h 366101"/>
                <a:gd name="connsiteX4" fmla="*/ 155593 w 247118"/>
                <a:gd name="connsiteY4" fmla="*/ 112881 h 366101"/>
                <a:gd name="connsiteX5" fmla="*/ 0 w 247118"/>
                <a:gd name="connsiteY5" fmla="*/ 0 h 36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7118" h="366101">
                  <a:moveTo>
                    <a:pt x="0" y="0"/>
                  </a:moveTo>
                  <a:cubicBezTo>
                    <a:pt x="0" y="0"/>
                    <a:pt x="0" y="183051"/>
                    <a:pt x="122034" y="360000"/>
                  </a:cubicBezTo>
                  <a:lnTo>
                    <a:pt x="201356" y="366102"/>
                  </a:lnTo>
                  <a:lnTo>
                    <a:pt x="247119" y="250169"/>
                  </a:lnTo>
                  <a:lnTo>
                    <a:pt x="155593" y="1128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A9C73E81-2E5F-41D3-98B0-7B5A026438BF}"/>
                </a:ext>
              </a:extLst>
            </p:cNvPr>
            <p:cNvSpPr/>
            <p:nvPr/>
          </p:nvSpPr>
          <p:spPr>
            <a:xfrm>
              <a:off x="11864528" y="2887146"/>
              <a:ext cx="402289" cy="421013"/>
            </a:xfrm>
            <a:custGeom>
              <a:avLst/>
              <a:gdLst>
                <a:gd name="connsiteX0" fmla="*/ 51442 w 402289"/>
                <a:gd name="connsiteY0" fmla="*/ 421013 h 421013"/>
                <a:gd name="connsiteX1" fmla="*/ 57544 w 402289"/>
                <a:gd name="connsiteY1" fmla="*/ 15251 h 421013"/>
                <a:gd name="connsiteX2" fmla="*/ 402290 w 402289"/>
                <a:gd name="connsiteY2" fmla="*/ 292878 h 421013"/>
                <a:gd name="connsiteX3" fmla="*/ 51442 w 402289"/>
                <a:gd name="connsiteY3" fmla="*/ 421013 h 421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289" h="421013">
                  <a:moveTo>
                    <a:pt x="51442" y="421013"/>
                  </a:moveTo>
                  <a:cubicBezTo>
                    <a:pt x="-30931" y="256268"/>
                    <a:pt x="-3473" y="64064"/>
                    <a:pt x="57544" y="15251"/>
                  </a:cubicBezTo>
                  <a:cubicBezTo>
                    <a:pt x="139916" y="-48817"/>
                    <a:pt x="332120" y="97624"/>
                    <a:pt x="402290" y="292878"/>
                  </a:cubicBezTo>
                  <a:cubicBezTo>
                    <a:pt x="359578" y="353895"/>
                    <a:pt x="155171" y="405759"/>
                    <a:pt x="51442" y="421013"/>
                  </a:cubicBezTo>
                  <a:close/>
                </a:path>
              </a:pathLst>
            </a:custGeom>
            <a:solidFill>
              <a:srgbClr val="F1DDBA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2BC651AE-E757-4375-ADCE-284E5A065980}"/>
                </a:ext>
              </a:extLst>
            </p:cNvPr>
            <p:cNvSpPr/>
            <p:nvPr/>
          </p:nvSpPr>
          <p:spPr>
            <a:xfrm>
              <a:off x="11310336" y="2833861"/>
              <a:ext cx="821135" cy="986930"/>
            </a:xfrm>
            <a:custGeom>
              <a:avLst/>
              <a:gdLst>
                <a:gd name="connsiteX0" fmla="*/ 44279 w 821135"/>
                <a:gd name="connsiteY0" fmla="*/ 391925 h 986930"/>
                <a:gd name="connsiteX1" fmla="*/ 59533 w 821135"/>
                <a:gd name="connsiteY1" fmla="*/ 68535 h 986930"/>
                <a:gd name="connsiteX2" fmla="*/ 428686 w 821135"/>
                <a:gd name="connsiteY2" fmla="*/ 4468 h 986930"/>
                <a:gd name="connsiteX3" fmla="*/ 730719 w 821135"/>
                <a:gd name="connsiteY3" fmla="*/ 105146 h 986930"/>
                <a:gd name="connsiteX4" fmla="*/ 770380 w 821135"/>
                <a:gd name="connsiteY4" fmla="*/ 654298 h 986930"/>
                <a:gd name="connsiteX5" fmla="*/ 727668 w 821135"/>
                <a:gd name="connsiteY5" fmla="*/ 980739 h 986930"/>
                <a:gd name="connsiteX6" fmla="*/ 50380 w 821135"/>
                <a:gd name="connsiteY6" fmla="*/ 965485 h 986930"/>
                <a:gd name="connsiteX7" fmla="*/ 44279 w 821135"/>
                <a:gd name="connsiteY7" fmla="*/ 391925 h 986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1135" h="986930">
                  <a:moveTo>
                    <a:pt x="44279" y="391925"/>
                  </a:moveTo>
                  <a:cubicBezTo>
                    <a:pt x="35125" y="361417"/>
                    <a:pt x="-59450" y="132603"/>
                    <a:pt x="59533" y="68535"/>
                  </a:cubicBezTo>
                  <a:cubicBezTo>
                    <a:pt x="163261" y="13620"/>
                    <a:pt x="309702" y="-10787"/>
                    <a:pt x="428686" y="4468"/>
                  </a:cubicBezTo>
                  <a:cubicBezTo>
                    <a:pt x="559872" y="19722"/>
                    <a:pt x="691058" y="41078"/>
                    <a:pt x="730719" y="105146"/>
                  </a:cubicBezTo>
                  <a:cubicBezTo>
                    <a:pt x="843600" y="291247"/>
                    <a:pt x="843600" y="455993"/>
                    <a:pt x="770380" y="654298"/>
                  </a:cubicBezTo>
                  <a:cubicBezTo>
                    <a:pt x="749025" y="712264"/>
                    <a:pt x="742922" y="846502"/>
                    <a:pt x="727668" y="980739"/>
                  </a:cubicBezTo>
                  <a:cubicBezTo>
                    <a:pt x="727668" y="980739"/>
                    <a:pt x="443940" y="1002095"/>
                    <a:pt x="50380" y="965485"/>
                  </a:cubicBezTo>
                  <a:cubicBezTo>
                    <a:pt x="77838" y="745824"/>
                    <a:pt x="50380" y="416332"/>
                    <a:pt x="44279" y="391925"/>
                  </a:cubicBezTo>
                  <a:close/>
                </a:path>
              </a:pathLst>
            </a:custGeom>
            <a:solidFill>
              <a:srgbClr val="F1DDBA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C63A1CC7-BE75-40F5-A91B-9E72C55B8DC9}"/>
                </a:ext>
              </a:extLst>
            </p:cNvPr>
            <p:cNvSpPr/>
            <p:nvPr/>
          </p:nvSpPr>
          <p:spPr>
            <a:xfrm>
              <a:off x="11650160" y="2140020"/>
              <a:ext cx="321497" cy="591165"/>
            </a:xfrm>
            <a:custGeom>
              <a:avLst/>
              <a:gdLst>
                <a:gd name="connsiteX0" fmla="*/ 143777 w 321497"/>
                <a:gd name="connsiteY0" fmla="*/ 576275 h 591165"/>
                <a:gd name="connsiteX1" fmla="*/ 320726 w 321497"/>
                <a:gd name="connsiteY1" fmla="*/ 231529 h 591165"/>
                <a:gd name="connsiteX2" fmla="*/ 387 w 321497"/>
                <a:gd name="connsiteY2" fmla="*/ 8817 h 591165"/>
                <a:gd name="connsiteX3" fmla="*/ 36997 w 321497"/>
                <a:gd name="connsiteY3" fmla="*/ 176614 h 591165"/>
                <a:gd name="connsiteX4" fmla="*/ 85811 w 321497"/>
                <a:gd name="connsiteY4" fmla="*/ 320004 h 591165"/>
                <a:gd name="connsiteX5" fmla="*/ 143777 w 321497"/>
                <a:gd name="connsiteY5" fmla="*/ 576275 h 59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1497" h="591165">
                  <a:moveTo>
                    <a:pt x="143777" y="576275"/>
                  </a:moveTo>
                  <a:cubicBezTo>
                    <a:pt x="299370" y="545767"/>
                    <a:pt x="326828" y="295597"/>
                    <a:pt x="320726" y="231529"/>
                  </a:cubicBezTo>
                  <a:cubicBezTo>
                    <a:pt x="299370" y="66783"/>
                    <a:pt x="116319" y="-30844"/>
                    <a:pt x="387" y="8817"/>
                  </a:cubicBezTo>
                  <a:cubicBezTo>
                    <a:pt x="-2663" y="8817"/>
                    <a:pt x="12591" y="127800"/>
                    <a:pt x="36997" y="176614"/>
                  </a:cubicBezTo>
                  <a:cubicBezTo>
                    <a:pt x="58353" y="222377"/>
                    <a:pt x="76658" y="271190"/>
                    <a:pt x="85811" y="320004"/>
                  </a:cubicBezTo>
                  <a:cubicBezTo>
                    <a:pt x="91912" y="374919"/>
                    <a:pt x="43099" y="658648"/>
                    <a:pt x="143777" y="576275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3A365555-9CDC-4E9C-9E9F-52DDD2A81538}"/>
                </a:ext>
              </a:extLst>
            </p:cNvPr>
            <p:cNvSpPr/>
            <p:nvPr/>
          </p:nvSpPr>
          <p:spPr>
            <a:xfrm>
              <a:off x="11479700" y="2196760"/>
              <a:ext cx="422884" cy="568667"/>
            </a:xfrm>
            <a:custGeom>
              <a:avLst/>
              <a:gdLst>
                <a:gd name="connsiteX0" fmla="*/ 414915 w 422884"/>
                <a:gd name="connsiteY0" fmla="*/ 183941 h 568667"/>
                <a:gd name="connsiteX1" fmla="*/ 402711 w 422884"/>
                <a:gd name="connsiteY1" fmla="*/ 440212 h 568667"/>
                <a:gd name="connsiteX2" fmla="*/ 253220 w 422884"/>
                <a:gd name="connsiteY2" fmla="*/ 568348 h 568667"/>
                <a:gd name="connsiteX3" fmla="*/ 36610 w 422884"/>
                <a:gd name="connsiteY3" fmla="*/ 424958 h 568667"/>
                <a:gd name="connsiteX4" fmla="*/ 0 w 422884"/>
                <a:gd name="connsiteY4" fmla="*/ 199195 h 568667"/>
                <a:gd name="connsiteX5" fmla="*/ 213559 w 422884"/>
                <a:gd name="connsiteY5" fmla="*/ 890 h 568667"/>
                <a:gd name="connsiteX6" fmla="*/ 414915 w 422884"/>
                <a:gd name="connsiteY6" fmla="*/ 183941 h 568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2884" h="568667">
                  <a:moveTo>
                    <a:pt x="414915" y="183941"/>
                  </a:moveTo>
                  <a:cubicBezTo>
                    <a:pt x="414915" y="183941"/>
                    <a:pt x="439322" y="373094"/>
                    <a:pt x="402711" y="440212"/>
                  </a:cubicBezTo>
                  <a:cubicBezTo>
                    <a:pt x="366102" y="507331"/>
                    <a:pt x="305085" y="565297"/>
                    <a:pt x="253220" y="568348"/>
                  </a:cubicBezTo>
                  <a:cubicBezTo>
                    <a:pt x="186101" y="574450"/>
                    <a:pt x="73220" y="492077"/>
                    <a:pt x="36610" y="424958"/>
                  </a:cubicBezTo>
                  <a:cubicBezTo>
                    <a:pt x="0" y="357840"/>
                    <a:pt x="0" y="251060"/>
                    <a:pt x="0" y="199195"/>
                  </a:cubicBezTo>
                  <a:cubicBezTo>
                    <a:pt x="3050" y="104619"/>
                    <a:pt x="30508" y="25297"/>
                    <a:pt x="213559" y="890"/>
                  </a:cubicBezTo>
                  <a:cubicBezTo>
                    <a:pt x="302034" y="-11313"/>
                    <a:pt x="396610" y="104619"/>
                    <a:pt x="414915" y="183941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81121310-0BBC-4547-ACCB-42AA9FD79ED8}"/>
                </a:ext>
              </a:extLst>
            </p:cNvPr>
            <p:cNvSpPr/>
            <p:nvPr/>
          </p:nvSpPr>
          <p:spPr>
            <a:xfrm>
              <a:off x="11705462" y="2466125"/>
              <a:ext cx="54914" cy="131186"/>
            </a:xfrm>
            <a:custGeom>
              <a:avLst/>
              <a:gdLst>
                <a:gd name="connsiteX0" fmla="*/ 30508 w 54914"/>
                <a:gd name="connsiteY0" fmla="*/ 131186 h 131186"/>
                <a:gd name="connsiteX1" fmla="*/ 6101 w 54914"/>
                <a:gd name="connsiteY1" fmla="*/ 128136 h 131186"/>
                <a:gd name="connsiteX2" fmla="*/ 0 w 54914"/>
                <a:gd name="connsiteY2" fmla="*/ 122034 h 131186"/>
                <a:gd name="connsiteX3" fmla="*/ 6101 w 54914"/>
                <a:gd name="connsiteY3" fmla="*/ 115932 h 131186"/>
                <a:gd name="connsiteX4" fmla="*/ 45763 w 54914"/>
                <a:gd name="connsiteY4" fmla="*/ 115932 h 131186"/>
                <a:gd name="connsiteX5" fmla="*/ 45763 w 54914"/>
                <a:gd name="connsiteY5" fmla="*/ 112881 h 131186"/>
                <a:gd name="connsiteX6" fmla="*/ 18305 w 54914"/>
                <a:gd name="connsiteY6" fmla="*/ 6102 h 131186"/>
                <a:gd name="connsiteX7" fmla="*/ 21355 w 54914"/>
                <a:gd name="connsiteY7" fmla="*/ 0 h 131186"/>
                <a:gd name="connsiteX8" fmla="*/ 27457 w 54914"/>
                <a:gd name="connsiteY8" fmla="*/ 3051 h 131186"/>
                <a:gd name="connsiteX9" fmla="*/ 54915 w 54914"/>
                <a:gd name="connsiteY9" fmla="*/ 112881 h 131186"/>
                <a:gd name="connsiteX10" fmla="*/ 48814 w 54914"/>
                <a:gd name="connsiteY10" fmla="*/ 125085 h 131186"/>
                <a:gd name="connsiteX11" fmla="*/ 30508 w 54914"/>
                <a:gd name="connsiteY11" fmla="*/ 131186 h 13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914" h="131186">
                  <a:moveTo>
                    <a:pt x="30508" y="131186"/>
                  </a:moveTo>
                  <a:cubicBezTo>
                    <a:pt x="18305" y="131186"/>
                    <a:pt x="9152" y="128136"/>
                    <a:pt x="6101" y="128136"/>
                  </a:cubicBezTo>
                  <a:cubicBezTo>
                    <a:pt x="3051" y="128136"/>
                    <a:pt x="0" y="125085"/>
                    <a:pt x="0" y="122034"/>
                  </a:cubicBezTo>
                  <a:cubicBezTo>
                    <a:pt x="0" y="118983"/>
                    <a:pt x="3051" y="115932"/>
                    <a:pt x="6101" y="115932"/>
                  </a:cubicBezTo>
                  <a:cubicBezTo>
                    <a:pt x="18305" y="118983"/>
                    <a:pt x="39661" y="118983"/>
                    <a:pt x="45763" y="115932"/>
                  </a:cubicBezTo>
                  <a:cubicBezTo>
                    <a:pt x="45763" y="115932"/>
                    <a:pt x="45763" y="112881"/>
                    <a:pt x="45763" y="112881"/>
                  </a:cubicBezTo>
                  <a:cubicBezTo>
                    <a:pt x="45763" y="97627"/>
                    <a:pt x="24406" y="30508"/>
                    <a:pt x="18305" y="6102"/>
                  </a:cubicBezTo>
                  <a:cubicBezTo>
                    <a:pt x="18305" y="3051"/>
                    <a:pt x="18305" y="0"/>
                    <a:pt x="21355" y="0"/>
                  </a:cubicBezTo>
                  <a:cubicBezTo>
                    <a:pt x="24406" y="0"/>
                    <a:pt x="27457" y="0"/>
                    <a:pt x="27457" y="3051"/>
                  </a:cubicBezTo>
                  <a:cubicBezTo>
                    <a:pt x="27457" y="6102"/>
                    <a:pt x="54915" y="91525"/>
                    <a:pt x="54915" y="112881"/>
                  </a:cubicBezTo>
                  <a:cubicBezTo>
                    <a:pt x="54915" y="118983"/>
                    <a:pt x="51864" y="122034"/>
                    <a:pt x="48814" y="125085"/>
                  </a:cubicBezTo>
                  <a:cubicBezTo>
                    <a:pt x="51864" y="131186"/>
                    <a:pt x="39661" y="131186"/>
                    <a:pt x="30508" y="131186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6A15A729-1030-4C58-BA4F-B990D50340DA}"/>
                </a:ext>
              </a:extLst>
            </p:cNvPr>
            <p:cNvSpPr/>
            <p:nvPr/>
          </p:nvSpPr>
          <p:spPr>
            <a:xfrm>
              <a:off x="11678005" y="2649176"/>
              <a:ext cx="106779" cy="54915"/>
            </a:xfrm>
            <a:custGeom>
              <a:avLst/>
              <a:gdLst>
                <a:gd name="connsiteX0" fmla="*/ 0 w 106779"/>
                <a:gd name="connsiteY0" fmla="*/ 0 h 54915"/>
                <a:gd name="connsiteX1" fmla="*/ 106780 w 106779"/>
                <a:gd name="connsiteY1" fmla="*/ 0 h 54915"/>
                <a:gd name="connsiteX2" fmla="*/ 54915 w 106779"/>
                <a:gd name="connsiteY2" fmla="*/ 54915 h 54915"/>
                <a:gd name="connsiteX3" fmla="*/ 0 w 106779"/>
                <a:gd name="connsiteY3" fmla="*/ 0 h 54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779" h="54915">
                  <a:moveTo>
                    <a:pt x="0" y="0"/>
                  </a:moveTo>
                  <a:cubicBezTo>
                    <a:pt x="54915" y="24407"/>
                    <a:pt x="106780" y="0"/>
                    <a:pt x="106780" y="0"/>
                  </a:cubicBezTo>
                  <a:cubicBezTo>
                    <a:pt x="106780" y="0"/>
                    <a:pt x="91525" y="54915"/>
                    <a:pt x="54915" y="54915"/>
                  </a:cubicBezTo>
                  <a:cubicBezTo>
                    <a:pt x="12203" y="5186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891ECB32-57E2-4865-A1F1-8A9D898E9288}"/>
                </a:ext>
              </a:extLst>
            </p:cNvPr>
            <p:cNvSpPr/>
            <p:nvPr/>
          </p:nvSpPr>
          <p:spPr>
            <a:xfrm>
              <a:off x="11796988" y="2437890"/>
              <a:ext cx="40438" cy="41215"/>
            </a:xfrm>
            <a:custGeom>
              <a:avLst/>
              <a:gdLst>
                <a:gd name="connsiteX0" fmla="*/ 0 w 40438"/>
                <a:gd name="connsiteY0" fmla="*/ 25184 h 41215"/>
                <a:gd name="connsiteX1" fmla="*/ 24406 w 40438"/>
                <a:gd name="connsiteY1" fmla="*/ 40438 h 41215"/>
                <a:gd name="connsiteX2" fmla="*/ 39661 w 40438"/>
                <a:gd name="connsiteY2" fmla="*/ 16032 h 41215"/>
                <a:gd name="connsiteX3" fmla="*/ 15254 w 40438"/>
                <a:gd name="connsiteY3" fmla="*/ 777 h 41215"/>
                <a:gd name="connsiteX4" fmla="*/ 0 w 40438"/>
                <a:gd name="connsiteY4" fmla="*/ 25184 h 4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38" h="41215">
                  <a:moveTo>
                    <a:pt x="0" y="25184"/>
                  </a:moveTo>
                  <a:cubicBezTo>
                    <a:pt x="3051" y="37388"/>
                    <a:pt x="12203" y="43489"/>
                    <a:pt x="24406" y="40438"/>
                  </a:cubicBezTo>
                  <a:cubicBezTo>
                    <a:pt x="36610" y="37388"/>
                    <a:pt x="42712" y="28235"/>
                    <a:pt x="39661" y="16032"/>
                  </a:cubicBezTo>
                  <a:cubicBezTo>
                    <a:pt x="36610" y="3828"/>
                    <a:pt x="27457" y="-2273"/>
                    <a:pt x="15254" y="777"/>
                  </a:cubicBezTo>
                  <a:cubicBezTo>
                    <a:pt x="6101" y="3828"/>
                    <a:pt x="0" y="16032"/>
                    <a:pt x="0" y="25184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8B8D23CE-0C96-4334-B050-03EDE717331E}"/>
                </a:ext>
              </a:extLst>
            </p:cNvPr>
            <p:cNvSpPr/>
            <p:nvPr/>
          </p:nvSpPr>
          <p:spPr>
            <a:xfrm>
              <a:off x="11607057" y="2443992"/>
              <a:ext cx="41037" cy="41036"/>
            </a:xfrm>
            <a:custGeom>
              <a:avLst/>
              <a:gdLst>
                <a:gd name="connsiteX0" fmla="*/ 778 w 41037"/>
                <a:gd name="connsiteY0" fmla="*/ 25184 h 41036"/>
                <a:gd name="connsiteX1" fmla="*/ 25185 w 41037"/>
                <a:gd name="connsiteY1" fmla="*/ 40438 h 41036"/>
                <a:gd name="connsiteX2" fmla="*/ 40439 w 41037"/>
                <a:gd name="connsiteY2" fmla="*/ 16032 h 41036"/>
                <a:gd name="connsiteX3" fmla="*/ 16032 w 41037"/>
                <a:gd name="connsiteY3" fmla="*/ 777 h 41036"/>
                <a:gd name="connsiteX4" fmla="*/ 778 w 41037"/>
                <a:gd name="connsiteY4" fmla="*/ 25184 h 41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7" h="41036">
                  <a:moveTo>
                    <a:pt x="778" y="25184"/>
                  </a:moveTo>
                  <a:cubicBezTo>
                    <a:pt x="3829" y="34337"/>
                    <a:pt x="12981" y="43489"/>
                    <a:pt x="25185" y="40438"/>
                  </a:cubicBezTo>
                  <a:cubicBezTo>
                    <a:pt x="34337" y="37388"/>
                    <a:pt x="43489" y="28235"/>
                    <a:pt x="40439" y="16032"/>
                  </a:cubicBezTo>
                  <a:cubicBezTo>
                    <a:pt x="37388" y="3828"/>
                    <a:pt x="28235" y="-2273"/>
                    <a:pt x="16032" y="777"/>
                  </a:cubicBezTo>
                  <a:cubicBezTo>
                    <a:pt x="3829" y="3828"/>
                    <a:pt x="-2274" y="16032"/>
                    <a:pt x="778" y="25184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26A5D523-C718-4EFF-9313-6732654D5B25}"/>
                </a:ext>
              </a:extLst>
            </p:cNvPr>
            <p:cNvSpPr/>
            <p:nvPr/>
          </p:nvSpPr>
          <p:spPr>
            <a:xfrm>
              <a:off x="11771317" y="2392905"/>
              <a:ext cx="92026" cy="30508"/>
            </a:xfrm>
            <a:custGeom>
              <a:avLst/>
              <a:gdLst>
                <a:gd name="connsiteX0" fmla="*/ 83637 w 92026"/>
                <a:gd name="connsiteY0" fmla="*/ 30508 h 30508"/>
                <a:gd name="connsiteX1" fmla="*/ 77535 w 92026"/>
                <a:gd name="connsiteY1" fmla="*/ 27458 h 30508"/>
                <a:gd name="connsiteX2" fmla="*/ 10416 w 92026"/>
                <a:gd name="connsiteY2" fmla="*/ 21356 h 30508"/>
                <a:gd name="connsiteX3" fmla="*/ 1263 w 92026"/>
                <a:gd name="connsiteY3" fmla="*/ 18305 h 30508"/>
                <a:gd name="connsiteX4" fmla="*/ 4314 w 92026"/>
                <a:gd name="connsiteY4" fmla="*/ 9153 h 30508"/>
                <a:gd name="connsiteX5" fmla="*/ 89739 w 92026"/>
                <a:gd name="connsiteY5" fmla="*/ 18305 h 30508"/>
                <a:gd name="connsiteX6" fmla="*/ 89739 w 92026"/>
                <a:gd name="connsiteY6" fmla="*/ 30508 h 30508"/>
                <a:gd name="connsiteX7" fmla="*/ 83637 w 92026"/>
                <a:gd name="connsiteY7" fmla="*/ 30508 h 3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0508">
                  <a:moveTo>
                    <a:pt x="83637" y="30508"/>
                  </a:moveTo>
                  <a:cubicBezTo>
                    <a:pt x="80586" y="30508"/>
                    <a:pt x="80586" y="30508"/>
                    <a:pt x="77535" y="27458"/>
                  </a:cubicBezTo>
                  <a:cubicBezTo>
                    <a:pt x="53128" y="0"/>
                    <a:pt x="13468" y="18305"/>
                    <a:pt x="10416" y="21356"/>
                  </a:cubicBezTo>
                  <a:cubicBezTo>
                    <a:pt x="7365" y="24407"/>
                    <a:pt x="1263" y="21356"/>
                    <a:pt x="1263" y="18305"/>
                  </a:cubicBezTo>
                  <a:cubicBezTo>
                    <a:pt x="-1787" y="15254"/>
                    <a:pt x="1263" y="9153"/>
                    <a:pt x="4314" y="9153"/>
                  </a:cubicBezTo>
                  <a:cubicBezTo>
                    <a:pt x="22620" y="0"/>
                    <a:pt x="62280" y="-9153"/>
                    <a:pt x="89739" y="18305"/>
                  </a:cubicBezTo>
                  <a:cubicBezTo>
                    <a:pt x="92789" y="21356"/>
                    <a:pt x="92789" y="27458"/>
                    <a:pt x="89739" y="30508"/>
                  </a:cubicBezTo>
                  <a:cubicBezTo>
                    <a:pt x="86688" y="30508"/>
                    <a:pt x="86688" y="30508"/>
                    <a:pt x="83637" y="30508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5B8E0099-6AAA-4AD0-89AE-B58E7CF171C6}"/>
                </a:ext>
              </a:extLst>
            </p:cNvPr>
            <p:cNvSpPr/>
            <p:nvPr/>
          </p:nvSpPr>
          <p:spPr>
            <a:xfrm>
              <a:off x="11581140" y="2390871"/>
              <a:ext cx="92026" cy="35593"/>
            </a:xfrm>
            <a:custGeom>
              <a:avLst/>
              <a:gdLst>
                <a:gd name="connsiteX0" fmla="*/ 8389 w 92026"/>
                <a:gd name="connsiteY0" fmla="*/ 35593 h 35593"/>
                <a:gd name="connsiteX1" fmla="*/ 2288 w 92026"/>
                <a:gd name="connsiteY1" fmla="*/ 32542 h 35593"/>
                <a:gd name="connsiteX2" fmla="*/ 2288 w 92026"/>
                <a:gd name="connsiteY2" fmla="*/ 20339 h 35593"/>
                <a:gd name="connsiteX3" fmla="*/ 87712 w 92026"/>
                <a:gd name="connsiteY3" fmla="*/ 11186 h 35593"/>
                <a:gd name="connsiteX4" fmla="*/ 90763 w 92026"/>
                <a:gd name="connsiteY4" fmla="*/ 23390 h 35593"/>
                <a:gd name="connsiteX5" fmla="*/ 78559 w 92026"/>
                <a:gd name="connsiteY5" fmla="*/ 26441 h 35593"/>
                <a:gd name="connsiteX6" fmla="*/ 11440 w 92026"/>
                <a:gd name="connsiteY6" fmla="*/ 32542 h 35593"/>
                <a:gd name="connsiteX7" fmla="*/ 8389 w 92026"/>
                <a:gd name="connsiteY7" fmla="*/ 35593 h 35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5593">
                  <a:moveTo>
                    <a:pt x="8389" y="35593"/>
                  </a:moveTo>
                  <a:cubicBezTo>
                    <a:pt x="5339" y="35593"/>
                    <a:pt x="5339" y="35593"/>
                    <a:pt x="2288" y="32542"/>
                  </a:cubicBezTo>
                  <a:cubicBezTo>
                    <a:pt x="-763" y="29492"/>
                    <a:pt x="-763" y="23390"/>
                    <a:pt x="2288" y="20339"/>
                  </a:cubicBezTo>
                  <a:cubicBezTo>
                    <a:pt x="14491" y="8136"/>
                    <a:pt x="51102" y="-13220"/>
                    <a:pt x="87712" y="11186"/>
                  </a:cubicBezTo>
                  <a:cubicBezTo>
                    <a:pt x="90763" y="14237"/>
                    <a:pt x="93814" y="17288"/>
                    <a:pt x="90763" y="23390"/>
                  </a:cubicBezTo>
                  <a:cubicBezTo>
                    <a:pt x="87712" y="26441"/>
                    <a:pt x="84661" y="29492"/>
                    <a:pt x="78559" y="26441"/>
                  </a:cubicBezTo>
                  <a:cubicBezTo>
                    <a:pt x="41949" y="2034"/>
                    <a:pt x="14491" y="32542"/>
                    <a:pt x="11440" y="32542"/>
                  </a:cubicBezTo>
                  <a:cubicBezTo>
                    <a:pt x="11440" y="32542"/>
                    <a:pt x="8389" y="35593"/>
                    <a:pt x="8389" y="35593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5C195935-B6B7-4B6F-9F3B-1C2F617BBE11}"/>
                </a:ext>
              </a:extLst>
            </p:cNvPr>
            <p:cNvSpPr/>
            <p:nvPr/>
          </p:nvSpPr>
          <p:spPr>
            <a:xfrm>
              <a:off x="11647412" y="2146282"/>
              <a:ext cx="274890" cy="277131"/>
            </a:xfrm>
            <a:custGeom>
              <a:avLst/>
              <a:gdLst>
                <a:gd name="connsiteX0" fmla="*/ 3134 w 274890"/>
                <a:gd name="connsiteY0" fmla="*/ 2555 h 277131"/>
                <a:gd name="connsiteX1" fmla="*/ 36694 w 274890"/>
                <a:gd name="connsiteY1" fmla="*/ 148996 h 277131"/>
                <a:gd name="connsiteX2" fmla="*/ 274660 w 274890"/>
                <a:gd name="connsiteY2" fmla="*/ 277131 h 277131"/>
                <a:gd name="connsiteX3" fmla="*/ 3134 w 274890"/>
                <a:gd name="connsiteY3" fmla="*/ 2555 h 277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4890" h="277131">
                  <a:moveTo>
                    <a:pt x="3134" y="2555"/>
                  </a:moveTo>
                  <a:cubicBezTo>
                    <a:pt x="3134" y="2555"/>
                    <a:pt x="-15170" y="109335"/>
                    <a:pt x="36694" y="148996"/>
                  </a:cubicBezTo>
                  <a:cubicBezTo>
                    <a:pt x="36694" y="148996"/>
                    <a:pt x="247202" y="191707"/>
                    <a:pt x="274660" y="277131"/>
                  </a:cubicBezTo>
                  <a:cubicBezTo>
                    <a:pt x="274660" y="277131"/>
                    <a:pt x="292965" y="-31004"/>
                    <a:pt x="3134" y="2555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E207A523-BCF7-4F0C-897F-9763DC29F3E3}"/>
                </a:ext>
              </a:extLst>
            </p:cNvPr>
            <p:cNvSpPr/>
            <p:nvPr/>
          </p:nvSpPr>
          <p:spPr>
            <a:xfrm>
              <a:off x="11383731" y="2148837"/>
              <a:ext cx="297324" cy="351307"/>
            </a:xfrm>
            <a:custGeom>
              <a:avLst/>
              <a:gdLst>
                <a:gd name="connsiteX0" fmla="*/ 297324 w 297324"/>
                <a:gd name="connsiteY0" fmla="*/ 146441 h 351307"/>
                <a:gd name="connsiteX1" fmla="*/ 156986 w 297324"/>
                <a:gd name="connsiteY1" fmla="*/ 201356 h 351307"/>
                <a:gd name="connsiteX2" fmla="*/ 99019 w 297324"/>
                <a:gd name="connsiteY2" fmla="*/ 320339 h 351307"/>
                <a:gd name="connsiteX3" fmla="*/ 10545 w 297324"/>
                <a:gd name="connsiteY3" fmla="*/ 341695 h 351307"/>
                <a:gd name="connsiteX4" fmla="*/ 266816 w 297324"/>
                <a:gd name="connsiteY4" fmla="*/ 0 h 351307"/>
                <a:gd name="connsiteX5" fmla="*/ 297324 w 297324"/>
                <a:gd name="connsiteY5" fmla="*/ 146441 h 351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324" h="351307">
                  <a:moveTo>
                    <a:pt x="297324" y="146441"/>
                  </a:moveTo>
                  <a:cubicBezTo>
                    <a:pt x="297324" y="146441"/>
                    <a:pt x="205799" y="195254"/>
                    <a:pt x="156986" y="201356"/>
                  </a:cubicBezTo>
                  <a:cubicBezTo>
                    <a:pt x="105121" y="207458"/>
                    <a:pt x="99019" y="320339"/>
                    <a:pt x="99019" y="320339"/>
                  </a:cubicBezTo>
                  <a:cubicBezTo>
                    <a:pt x="99019" y="320339"/>
                    <a:pt x="25799" y="372203"/>
                    <a:pt x="10545" y="341695"/>
                  </a:cubicBezTo>
                  <a:cubicBezTo>
                    <a:pt x="-23015" y="274576"/>
                    <a:pt x="13596" y="0"/>
                    <a:pt x="266816" y="0"/>
                  </a:cubicBezTo>
                  <a:cubicBezTo>
                    <a:pt x="266816" y="0"/>
                    <a:pt x="275969" y="140339"/>
                    <a:pt x="297324" y="146441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3A22BFC1-EFEF-4E04-B19A-AB320AC6E031}"/>
                </a:ext>
              </a:extLst>
            </p:cNvPr>
            <p:cNvSpPr/>
            <p:nvPr/>
          </p:nvSpPr>
          <p:spPr>
            <a:xfrm>
              <a:off x="11534615" y="2142736"/>
              <a:ext cx="153898" cy="210508"/>
            </a:xfrm>
            <a:custGeom>
              <a:avLst/>
              <a:gdLst>
                <a:gd name="connsiteX0" fmla="*/ 6102 w 153898"/>
                <a:gd name="connsiteY0" fmla="*/ 210508 h 210508"/>
                <a:gd name="connsiteX1" fmla="*/ 0 w 153898"/>
                <a:gd name="connsiteY1" fmla="*/ 204407 h 210508"/>
                <a:gd name="connsiteX2" fmla="*/ 6102 w 153898"/>
                <a:gd name="connsiteY2" fmla="*/ 198305 h 210508"/>
                <a:gd name="connsiteX3" fmla="*/ 100678 w 153898"/>
                <a:gd name="connsiteY3" fmla="*/ 167797 h 210508"/>
                <a:gd name="connsiteX4" fmla="*/ 140339 w 153898"/>
                <a:gd name="connsiteY4" fmla="*/ 146441 h 210508"/>
                <a:gd name="connsiteX5" fmla="*/ 125085 w 153898"/>
                <a:gd name="connsiteY5" fmla="*/ 125085 h 210508"/>
                <a:gd name="connsiteX6" fmla="*/ 112882 w 153898"/>
                <a:gd name="connsiteY6" fmla="*/ 82373 h 210508"/>
                <a:gd name="connsiteX7" fmla="*/ 109831 w 153898"/>
                <a:gd name="connsiteY7" fmla="*/ 42712 h 210508"/>
                <a:gd name="connsiteX8" fmla="*/ 106780 w 153898"/>
                <a:gd name="connsiteY8" fmla="*/ 6102 h 210508"/>
                <a:gd name="connsiteX9" fmla="*/ 112882 w 153898"/>
                <a:gd name="connsiteY9" fmla="*/ 0 h 210508"/>
                <a:gd name="connsiteX10" fmla="*/ 118983 w 153898"/>
                <a:gd name="connsiteY10" fmla="*/ 6102 h 210508"/>
                <a:gd name="connsiteX11" fmla="*/ 122034 w 153898"/>
                <a:gd name="connsiteY11" fmla="*/ 42712 h 210508"/>
                <a:gd name="connsiteX12" fmla="*/ 125085 w 153898"/>
                <a:gd name="connsiteY12" fmla="*/ 79322 h 210508"/>
                <a:gd name="connsiteX13" fmla="*/ 134237 w 153898"/>
                <a:gd name="connsiteY13" fmla="*/ 118983 h 210508"/>
                <a:gd name="connsiteX14" fmla="*/ 152542 w 153898"/>
                <a:gd name="connsiteY14" fmla="*/ 143390 h 210508"/>
                <a:gd name="connsiteX15" fmla="*/ 152542 w 153898"/>
                <a:gd name="connsiteY15" fmla="*/ 146441 h 210508"/>
                <a:gd name="connsiteX16" fmla="*/ 149491 w 153898"/>
                <a:gd name="connsiteY16" fmla="*/ 149492 h 210508"/>
                <a:gd name="connsiteX17" fmla="*/ 103729 w 153898"/>
                <a:gd name="connsiteY17" fmla="*/ 173898 h 210508"/>
                <a:gd name="connsiteX18" fmla="*/ 6102 w 153898"/>
                <a:gd name="connsiteY18" fmla="*/ 210508 h 210508"/>
                <a:gd name="connsiteX19" fmla="*/ 6102 w 153898"/>
                <a:gd name="connsiteY19" fmla="*/ 210508 h 21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3898" h="210508">
                  <a:moveTo>
                    <a:pt x="6102" y="210508"/>
                  </a:moveTo>
                  <a:cubicBezTo>
                    <a:pt x="3051" y="210508"/>
                    <a:pt x="0" y="207458"/>
                    <a:pt x="0" y="204407"/>
                  </a:cubicBezTo>
                  <a:cubicBezTo>
                    <a:pt x="0" y="201356"/>
                    <a:pt x="3051" y="198305"/>
                    <a:pt x="6102" y="198305"/>
                  </a:cubicBezTo>
                  <a:cubicBezTo>
                    <a:pt x="33560" y="195254"/>
                    <a:pt x="67119" y="183051"/>
                    <a:pt x="100678" y="167797"/>
                  </a:cubicBezTo>
                  <a:cubicBezTo>
                    <a:pt x="118983" y="158644"/>
                    <a:pt x="131186" y="152542"/>
                    <a:pt x="140339" y="146441"/>
                  </a:cubicBezTo>
                  <a:cubicBezTo>
                    <a:pt x="134237" y="140339"/>
                    <a:pt x="128136" y="134237"/>
                    <a:pt x="125085" y="125085"/>
                  </a:cubicBezTo>
                  <a:cubicBezTo>
                    <a:pt x="118983" y="109831"/>
                    <a:pt x="115932" y="94576"/>
                    <a:pt x="112882" y="82373"/>
                  </a:cubicBezTo>
                  <a:cubicBezTo>
                    <a:pt x="112882" y="76271"/>
                    <a:pt x="112882" y="61017"/>
                    <a:pt x="109831" y="42712"/>
                  </a:cubicBezTo>
                  <a:cubicBezTo>
                    <a:pt x="109831" y="27458"/>
                    <a:pt x="109831" y="12203"/>
                    <a:pt x="106780" y="6102"/>
                  </a:cubicBezTo>
                  <a:cubicBezTo>
                    <a:pt x="106780" y="3051"/>
                    <a:pt x="109831" y="0"/>
                    <a:pt x="112882" y="0"/>
                  </a:cubicBezTo>
                  <a:cubicBezTo>
                    <a:pt x="115932" y="0"/>
                    <a:pt x="118983" y="3051"/>
                    <a:pt x="118983" y="6102"/>
                  </a:cubicBezTo>
                  <a:cubicBezTo>
                    <a:pt x="118983" y="12203"/>
                    <a:pt x="118983" y="27458"/>
                    <a:pt x="122034" y="42712"/>
                  </a:cubicBezTo>
                  <a:cubicBezTo>
                    <a:pt x="122034" y="57966"/>
                    <a:pt x="122034" y="73220"/>
                    <a:pt x="125085" y="79322"/>
                  </a:cubicBezTo>
                  <a:cubicBezTo>
                    <a:pt x="128136" y="94576"/>
                    <a:pt x="128136" y="106780"/>
                    <a:pt x="134237" y="118983"/>
                  </a:cubicBezTo>
                  <a:cubicBezTo>
                    <a:pt x="137288" y="128136"/>
                    <a:pt x="146440" y="134237"/>
                    <a:pt x="152542" y="143390"/>
                  </a:cubicBezTo>
                  <a:cubicBezTo>
                    <a:pt x="152542" y="143390"/>
                    <a:pt x="155593" y="146441"/>
                    <a:pt x="152542" y="146441"/>
                  </a:cubicBezTo>
                  <a:cubicBezTo>
                    <a:pt x="152542" y="149492"/>
                    <a:pt x="152542" y="149492"/>
                    <a:pt x="149491" y="149492"/>
                  </a:cubicBezTo>
                  <a:cubicBezTo>
                    <a:pt x="149491" y="149492"/>
                    <a:pt x="131186" y="161695"/>
                    <a:pt x="103729" y="173898"/>
                  </a:cubicBezTo>
                  <a:cubicBezTo>
                    <a:pt x="70169" y="195254"/>
                    <a:pt x="36611" y="207458"/>
                    <a:pt x="6102" y="210508"/>
                  </a:cubicBezTo>
                  <a:cubicBezTo>
                    <a:pt x="6102" y="210508"/>
                    <a:pt x="6102" y="210508"/>
                    <a:pt x="6102" y="210508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0173D4A8-55F5-46D2-BAAA-4C85A71328D9}"/>
                </a:ext>
              </a:extLst>
            </p:cNvPr>
            <p:cNvSpPr/>
            <p:nvPr/>
          </p:nvSpPr>
          <p:spPr>
            <a:xfrm>
              <a:off x="11537666" y="2655278"/>
              <a:ext cx="311185" cy="326440"/>
            </a:xfrm>
            <a:custGeom>
              <a:avLst/>
              <a:gdLst>
                <a:gd name="connsiteX0" fmla="*/ 256271 w 311185"/>
                <a:gd name="connsiteY0" fmla="*/ 61017 h 326440"/>
                <a:gd name="connsiteX1" fmla="*/ 311186 w 311185"/>
                <a:gd name="connsiteY1" fmla="*/ 201356 h 326440"/>
                <a:gd name="connsiteX2" fmla="*/ 195254 w 311185"/>
                <a:gd name="connsiteY2" fmla="*/ 326441 h 326440"/>
                <a:gd name="connsiteX3" fmla="*/ 0 w 311185"/>
                <a:gd name="connsiteY3" fmla="*/ 186102 h 326440"/>
                <a:gd name="connsiteX4" fmla="*/ 51864 w 311185"/>
                <a:gd name="connsiteY4" fmla="*/ 0 h 326440"/>
                <a:gd name="connsiteX5" fmla="*/ 256271 w 311185"/>
                <a:gd name="connsiteY5" fmla="*/ 61017 h 32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1185" h="326440">
                  <a:moveTo>
                    <a:pt x="256271" y="61017"/>
                  </a:moveTo>
                  <a:cubicBezTo>
                    <a:pt x="256271" y="61017"/>
                    <a:pt x="250169" y="170847"/>
                    <a:pt x="311186" y="201356"/>
                  </a:cubicBezTo>
                  <a:lnTo>
                    <a:pt x="195254" y="326441"/>
                  </a:lnTo>
                  <a:cubicBezTo>
                    <a:pt x="195254" y="326441"/>
                    <a:pt x="54915" y="216610"/>
                    <a:pt x="0" y="186102"/>
                  </a:cubicBezTo>
                  <a:cubicBezTo>
                    <a:pt x="54915" y="143390"/>
                    <a:pt x="51864" y="61017"/>
                    <a:pt x="51864" y="0"/>
                  </a:cubicBezTo>
                  <a:cubicBezTo>
                    <a:pt x="51864" y="0"/>
                    <a:pt x="201356" y="70170"/>
                    <a:pt x="256271" y="61017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90B46A10-17D7-4E34-A2D5-B8BF1856B0E9}"/>
                </a:ext>
              </a:extLst>
            </p:cNvPr>
            <p:cNvSpPr/>
            <p:nvPr/>
          </p:nvSpPr>
          <p:spPr>
            <a:xfrm>
              <a:off x="11580377" y="2691888"/>
              <a:ext cx="221948" cy="79322"/>
            </a:xfrm>
            <a:custGeom>
              <a:avLst/>
              <a:gdLst>
                <a:gd name="connsiteX0" fmla="*/ 149491 w 221948"/>
                <a:gd name="connsiteY0" fmla="*/ 79322 h 79322"/>
                <a:gd name="connsiteX1" fmla="*/ 140339 w 221948"/>
                <a:gd name="connsiteY1" fmla="*/ 79322 h 79322"/>
                <a:gd name="connsiteX2" fmla="*/ 3051 w 221948"/>
                <a:gd name="connsiteY2" fmla="*/ 12203 h 79322"/>
                <a:gd name="connsiteX3" fmla="*/ 0 w 221948"/>
                <a:gd name="connsiteY3" fmla="*/ 3051 h 79322"/>
                <a:gd name="connsiteX4" fmla="*/ 9152 w 221948"/>
                <a:gd name="connsiteY4" fmla="*/ 0 h 79322"/>
                <a:gd name="connsiteX5" fmla="*/ 140339 w 221948"/>
                <a:gd name="connsiteY5" fmla="*/ 67119 h 79322"/>
                <a:gd name="connsiteX6" fmla="*/ 210508 w 221948"/>
                <a:gd name="connsiteY6" fmla="*/ 42712 h 79322"/>
                <a:gd name="connsiteX7" fmla="*/ 219661 w 221948"/>
                <a:gd name="connsiteY7" fmla="*/ 42712 h 79322"/>
                <a:gd name="connsiteX8" fmla="*/ 219661 w 221948"/>
                <a:gd name="connsiteY8" fmla="*/ 51864 h 79322"/>
                <a:gd name="connsiteX9" fmla="*/ 149491 w 221948"/>
                <a:gd name="connsiteY9" fmla="*/ 79322 h 7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1948" h="79322">
                  <a:moveTo>
                    <a:pt x="149491" y="79322"/>
                  </a:moveTo>
                  <a:cubicBezTo>
                    <a:pt x="146440" y="79322"/>
                    <a:pt x="143390" y="79322"/>
                    <a:pt x="140339" y="79322"/>
                  </a:cubicBezTo>
                  <a:cubicBezTo>
                    <a:pt x="97627" y="73220"/>
                    <a:pt x="6102" y="12203"/>
                    <a:pt x="3051" y="12203"/>
                  </a:cubicBezTo>
                  <a:cubicBezTo>
                    <a:pt x="0" y="9153"/>
                    <a:pt x="0" y="6102"/>
                    <a:pt x="0" y="3051"/>
                  </a:cubicBezTo>
                  <a:cubicBezTo>
                    <a:pt x="3051" y="0"/>
                    <a:pt x="6102" y="0"/>
                    <a:pt x="9152" y="0"/>
                  </a:cubicBezTo>
                  <a:cubicBezTo>
                    <a:pt x="9152" y="0"/>
                    <a:pt x="103729" y="61017"/>
                    <a:pt x="140339" y="67119"/>
                  </a:cubicBezTo>
                  <a:cubicBezTo>
                    <a:pt x="176949" y="73220"/>
                    <a:pt x="210508" y="42712"/>
                    <a:pt x="210508" y="42712"/>
                  </a:cubicBezTo>
                  <a:cubicBezTo>
                    <a:pt x="213559" y="39661"/>
                    <a:pt x="216610" y="39661"/>
                    <a:pt x="219661" y="42712"/>
                  </a:cubicBezTo>
                  <a:cubicBezTo>
                    <a:pt x="222711" y="45763"/>
                    <a:pt x="222711" y="48814"/>
                    <a:pt x="219661" y="51864"/>
                  </a:cubicBezTo>
                  <a:cubicBezTo>
                    <a:pt x="216610" y="54915"/>
                    <a:pt x="189153" y="79322"/>
                    <a:pt x="149491" y="79322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F021A99F-8A0C-44C0-965C-1A4E0A1B6DDF}"/>
                </a:ext>
              </a:extLst>
            </p:cNvPr>
            <p:cNvSpPr/>
            <p:nvPr/>
          </p:nvSpPr>
          <p:spPr>
            <a:xfrm>
              <a:off x="12027588" y="2931641"/>
              <a:ext cx="103530" cy="559568"/>
            </a:xfrm>
            <a:custGeom>
              <a:avLst/>
              <a:gdLst>
                <a:gd name="connsiteX0" fmla="*/ 47027 w 103530"/>
                <a:gd name="connsiteY0" fmla="*/ 559569 h 559568"/>
                <a:gd name="connsiteX1" fmla="*/ 47027 w 103530"/>
                <a:gd name="connsiteY1" fmla="*/ 559569 h 559568"/>
                <a:gd name="connsiteX2" fmla="*/ 40924 w 103530"/>
                <a:gd name="connsiteY2" fmla="*/ 553467 h 559568"/>
                <a:gd name="connsiteX3" fmla="*/ 56179 w 103530"/>
                <a:gd name="connsiteY3" fmla="*/ 498552 h 559568"/>
                <a:gd name="connsiteX4" fmla="*/ 89738 w 103530"/>
                <a:gd name="connsiteY4" fmla="*/ 349060 h 559568"/>
                <a:gd name="connsiteX5" fmla="*/ 1264 w 103530"/>
                <a:gd name="connsiteY5" fmla="*/ 10416 h 559568"/>
                <a:gd name="connsiteX6" fmla="*/ 4314 w 103530"/>
                <a:gd name="connsiteY6" fmla="*/ 1264 h 559568"/>
                <a:gd name="connsiteX7" fmla="*/ 13467 w 103530"/>
                <a:gd name="connsiteY7" fmla="*/ 4314 h 559568"/>
                <a:gd name="connsiteX8" fmla="*/ 101941 w 103530"/>
                <a:gd name="connsiteY8" fmla="*/ 349060 h 559568"/>
                <a:gd name="connsiteX9" fmla="*/ 68382 w 103530"/>
                <a:gd name="connsiteY9" fmla="*/ 498552 h 559568"/>
                <a:gd name="connsiteX10" fmla="*/ 53128 w 103530"/>
                <a:gd name="connsiteY10" fmla="*/ 553467 h 559568"/>
                <a:gd name="connsiteX11" fmla="*/ 47027 w 103530"/>
                <a:gd name="connsiteY11" fmla="*/ 559569 h 559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3530" h="559568">
                  <a:moveTo>
                    <a:pt x="47027" y="559569"/>
                  </a:moveTo>
                  <a:cubicBezTo>
                    <a:pt x="47027" y="559569"/>
                    <a:pt x="47027" y="559569"/>
                    <a:pt x="47027" y="559569"/>
                  </a:cubicBezTo>
                  <a:cubicBezTo>
                    <a:pt x="43975" y="559569"/>
                    <a:pt x="40924" y="556518"/>
                    <a:pt x="40924" y="553467"/>
                  </a:cubicBezTo>
                  <a:cubicBezTo>
                    <a:pt x="47027" y="535162"/>
                    <a:pt x="50077" y="516857"/>
                    <a:pt x="56179" y="498552"/>
                  </a:cubicBezTo>
                  <a:cubicBezTo>
                    <a:pt x="71433" y="446687"/>
                    <a:pt x="86687" y="394823"/>
                    <a:pt x="89738" y="349060"/>
                  </a:cubicBezTo>
                  <a:cubicBezTo>
                    <a:pt x="95839" y="227026"/>
                    <a:pt x="68382" y="114145"/>
                    <a:pt x="1264" y="10416"/>
                  </a:cubicBezTo>
                  <a:cubicBezTo>
                    <a:pt x="-1787" y="7365"/>
                    <a:pt x="1264" y="4314"/>
                    <a:pt x="4314" y="1264"/>
                  </a:cubicBezTo>
                  <a:cubicBezTo>
                    <a:pt x="7365" y="-1787"/>
                    <a:pt x="10416" y="1264"/>
                    <a:pt x="13467" y="4314"/>
                  </a:cubicBezTo>
                  <a:cubicBezTo>
                    <a:pt x="80585" y="111094"/>
                    <a:pt x="111094" y="227026"/>
                    <a:pt x="101941" y="349060"/>
                  </a:cubicBezTo>
                  <a:cubicBezTo>
                    <a:pt x="98890" y="394823"/>
                    <a:pt x="83636" y="449738"/>
                    <a:pt x="68382" y="498552"/>
                  </a:cubicBezTo>
                  <a:cubicBezTo>
                    <a:pt x="62281" y="516857"/>
                    <a:pt x="56179" y="535162"/>
                    <a:pt x="53128" y="553467"/>
                  </a:cubicBezTo>
                  <a:cubicBezTo>
                    <a:pt x="53128" y="559569"/>
                    <a:pt x="50077" y="559569"/>
                    <a:pt x="47027" y="559569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4CCB235F-14B4-4295-B86C-28C79BD4B47E}"/>
                </a:ext>
              </a:extLst>
            </p:cNvPr>
            <p:cNvSpPr/>
            <p:nvPr/>
          </p:nvSpPr>
          <p:spPr>
            <a:xfrm>
              <a:off x="11607835" y="3375472"/>
              <a:ext cx="399661" cy="36416"/>
            </a:xfrm>
            <a:custGeom>
              <a:avLst/>
              <a:gdLst>
                <a:gd name="connsiteX0" fmla="*/ 396610 w 399661"/>
                <a:gd name="connsiteY0" fmla="*/ 36416 h 36416"/>
                <a:gd name="connsiteX1" fmla="*/ 396610 w 399661"/>
                <a:gd name="connsiteY1" fmla="*/ 36416 h 36416"/>
                <a:gd name="connsiteX2" fmla="*/ 6102 w 399661"/>
                <a:gd name="connsiteY2" fmla="*/ 24213 h 36416"/>
                <a:gd name="connsiteX3" fmla="*/ 0 w 399661"/>
                <a:gd name="connsiteY3" fmla="*/ 21162 h 36416"/>
                <a:gd name="connsiteX4" fmla="*/ 3051 w 399661"/>
                <a:gd name="connsiteY4" fmla="*/ 15060 h 36416"/>
                <a:gd name="connsiteX5" fmla="*/ 396610 w 399661"/>
                <a:gd name="connsiteY5" fmla="*/ 27263 h 36416"/>
                <a:gd name="connsiteX6" fmla="*/ 399661 w 399661"/>
                <a:gd name="connsiteY6" fmla="*/ 33365 h 36416"/>
                <a:gd name="connsiteX7" fmla="*/ 396610 w 399661"/>
                <a:gd name="connsiteY7" fmla="*/ 36416 h 36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9661" h="36416">
                  <a:moveTo>
                    <a:pt x="396610" y="36416"/>
                  </a:moveTo>
                  <a:cubicBezTo>
                    <a:pt x="396610" y="36416"/>
                    <a:pt x="393559" y="36416"/>
                    <a:pt x="396610" y="36416"/>
                  </a:cubicBezTo>
                  <a:cubicBezTo>
                    <a:pt x="311187" y="5908"/>
                    <a:pt x="106780" y="-194"/>
                    <a:pt x="6102" y="24213"/>
                  </a:cubicBezTo>
                  <a:cubicBezTo>
                    <a:pt x="3051" y="24213"/>
                    <a:pt x="0" y="24213"/>
                    <a:pt x="0" y="21162"/>
                  </a:cubicBezTo>
                  <a:cubicBezTo>
                    <a:pt x="0" y="18111"/>
                    <a:pt x="0" y="15060"/>
                    <a:pt x="3051" y="15060"/>
                  </a:cubicBezTo>
                  <a:cubicBezTo>
                    <a:pt x="103729" y="-9347"/>
                    <a:pt x="311187" y="-3245"/>
                    <a:pt x="396610" y="27263"/>
                  </a:cubicBezTo>
                  <a:cubicBezTo>
                    <a:pt x="399661" y="27263"/>
                    <a:pt x="399661" y="30314"/>
                    <a:pt x="399661" y="33365"/>
                  </a:cubicBezTo>
                  <a:cubicBezTo>
                    <a:pt x="399661" y="36416"/>
                    <a:pt x="399661" y="36416"/>
                    <a:pt x="396610" y="36416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97951770-EC23-46BD-9ACC-278DE3FC19E3}"/>
                </a:ext>
              </a:extLst>
            </p:cNvPr>
            <p:cNvSpPr/>
            <p:nvPr/>
          </p:nvSpPr>
          <p:spPr>
            <a:xfrm>
              <a:off x="11441725" y="2452436"/>
              <a:ext cx="77635" cy="114126"/>
            </a:xfrm>
            <a:custGeom>
              <a:avLst/>
              <a:gdLst>
                <a:gd name="connsiteX0" fmla="*/ 65432 w 77635"/>
                <a:gd name="connsiteY0" fmla="*/ 16740 h 114126"/>
                <a:gd name="connsiteX1" fmla="*/ 7466 w 77635"/>
                <a:gd name="connsiteY1" fmla="*/ 7587 h 114126"/>
                <a:gd name="connsiteX2" fmla="*/ 65432 w 77635"/>
                <a:gd name="connsiteY2" fmla="*/ 111316 h 114126"/>
                <a:gd name="connsiteX3" fmla="*/ 65432 w 77635"/>
                <a:gd name="connsiteY3" fmla="*/ 16740 h 11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635" h="114126">
                  <a:moveTo>
                    <a:pt x="65432" y="16740"/>
                  </a:moveTo>
                  <a:cubicBezTo>
                    <a:pt x="65432" y="16740"/>
                    <a:pt x="31872" y="-13769"/>
                    <a:pt x="7466" y="7587"/>
                  </a:cubicBezTo>
                  <a:cubicBezTo>
                    <a:pt x="-16941" y="25892"/>
                    <a:pt x="22720" y="132672"/>
                    <a:pt x="65432" y="111316"/>
                  </a:cubicBezTo>
                  <a:cubicBezTo>
                    <a:pt x="92889" y="93011"/>
                    <a:pt x="65432" y="16740"/>
                    <a:pt x="65432" y="16740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7685AB7F-70B4-4A45-8856-8C7AE6753C9E}"/>
                </a:ext>
              </a:extLst>
            </p:cNvPr>
            <p:cNvSpPr/>
            <p:nvPr/>
          </p:nvSpPr>
          <p:spPr>
            <a:xfrm>
              <a:off x="11807927" y="2333675"/>
              <a:ext cx="147704" cy="162958"/>
            </a:xfrm>
            <a:custGeom>
              <a:avLst/>
              <a:gdLst>
                <a:gd name="connsiteX0" fmla="*/ 141603 w 147704"/>
                <a:gd name="connsiteY0" fmla="*/ 162959 h 162958"/>
                <a:gd name="connsiteX1" fmla="*/ 135501 w 147704"/>
                <a:gd name="connsiteY1" fmla="*/ 159908 h 162958"/>
                <a:gd name="connsiteX2" fmla="*/ 4315 w 147704"/>
                <a:gd name="connsiteY2" fmla="*/ 10416 h 162958"/>
                <a:gd name="connsiteX3" fmla="*/ 1264 w 147704"/>
                <a:gd name="connsiteY3" fmla="*/ 4315 h 162958"/>
                <a:gd name="connsiteX4" fmla="*/ 7366 w 147704"/>
                <a:gd name="connsiteY4" fmla="*/ 1264 h 162958"/>
                <a:gd name="connsiteX5" fmla="*/ 147704 w 147704"/>
                <a:gd name="connsiteY5" fmla="*/ 159908 h 162958"/>
                <a:gd name="connsiteX6" fmla="*/ 141603 w 147704"/>
                <a:gd name="connsiteY6" fmla="*/ 162959 h 162958"/>
                <a:gd name="connsiteX7" fmla="*/ 141603 w 147704"/>
                <a:gd name="connsiteY7" fmla="*/ 162959 h 162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704" h="162958">
                  <a:moveTo>
                    <a:pt x="141603" y="162959"/>
                  </a:moveTo>
                  <a:cubicBezTo>
                    <a:pt x="138552" y="162959"/>
                    <a:pt x="135501" y="159908"/>
                    <a:pt x="135501" y="159908"/>
                  </a:cubicBezTo>
                  <a:cubicBezTo>
                    <a:pt x="111094" y="37874"/>
                    <a:pt x="4315" y="10416"/>
                    <a:pt x="4315" y="10416"/>
                  </a:cubicBezTo>
                  <a:cubicBezTo>
                    <a:pt x="1264" y="10416"/>
                    <a:pt x="-1787" y="7365"/>
                    <a:pt x="1264" y="4315"/>
                  </a:cubicBezTo>
                  <a:cubicBezTo>
                    <a:pt x="1264" y="1264"/>
                    <a:pt x="4315" y="-1787"/>
                    <a:pt x="7366" y="1264"/>
                  </a:cubicBezTo>
                  <a:cubicBezTo>
                    <a:pt x="7366" y="1264"/>
                    <a:pt x="123298" y="31772"/>
                    <a:pt x="147704" y="159908"/>
                  </a:cubicBezTo>
                  <a:cubicBezTo>
                    <a:pt x="147704" y="159908"/>
                    <a:pt x="144654" y="162959"/>
                    <a:pt x="141603" y="162959"/>
                  </a:cubicBezTo>
                  <a:cubicBezTo>
                    <a:pt x="141603" y="162959"/>
                    <a:pt x="141603" y="162959"/>
                    <a:pt x="141603" y="162959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D712871A-93BE-486E-9E51-44CC138B3A16}"/>
                </a:ext>
              </a:extLst>
            </p:cNvPr>
            <p:cNvSpPr/>
            <p:nvPr/>
          </p:nvSpPr>
          <p:spPr>
            <a:xfrm>
              <a:off x="11476649" y="2276973"/>
              <a:ext cx="109830" cy="186101"/>
            </a:xfrm>
            <a:custGeom>
              <a:avLst/>
              <a:gdLst>
                <a:gd name="connsiteX0" fmla="*/ 6101 w 109830"/>
                <a:gd name="connsiteY0" fmla="*/ 186102 h 186101"/>
                <a:gd name="connsiteX1" fmla="*/ 6101 w 109830"/>
                <a:gd name="connsiteY1" fmla="*/ 186102 h 186101"/>
                <a:gd name="connsiteX2" fmla="*/ 0 w 109830"/>
                <a:gd name="connsiteY2" fmla="*/ 180000 h 186101"/>
                <a:gd name="connsiteX3" fmla="*/ 51864 w 109830"/>
                <a:gd name="connsiteY3" fmla="*/ 67119 h 186101"/>
                <a:gd name="connsiteX4" fmla="*/ 100678 w 109830"/>
                <a:gd name="connsiteY4" fmla="*/ 3051 h 186101"/>
                <a:gd name="connsiteX5" fmla="*/ 106780 w 109830"/>
                <a:gd name="connsiteY5" fmla="*/ 0 h 186101"/>
                <a:gd name="connsiteX6" fmla="*/ 109831 w 109830"/>
                <a:gd name="connsiteY6" fmla="*/ 6102 h 186101"/>
                <a:gd name="connsiteX7" fmla="*/ 54915 w 109830"/>
                <a:gd name="connsiteY7" fmla="*/ 73220 h 186101"/>
                <a:gd name="connsiteX8" fmla="*/ 9152 w 109830"/>
                <a:gd name="connsiteY8" fmla="*/ 180000 h 186101"/>
                <a:gd name="connsiteX9" fmla="*/ 6101 w 109830"/>
                <a:gd name="connsiteY9" fmla="*/ 186102 h 18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830" h="186101">
                  <a:moveTo>
                    <a:pt x="6101" y="186102"/>
                  </a:moveTo>
                  <a:cubicBezTo>
                    <a:pt x="6101" y="186102"/>
                    <a:pt x="6101" y="186102"/>
                    <a:pt x="6101" y="186102"/>
                  </a:cubicBezTo>
                  <a:cubicBezTo>
                    <a:pt x="3051" y="186102"/>
                    <a:pt x="0" y="183051"/>
                    <a:pt x="0" y="180000"/>
                  </a:cubicBezTo>
                  <a:cubicBezTo>
                    <a:pt x="0" y="164746"/>
                    <a:pt x="12203" y="94576"/>
                    <a:pt x="51864" y="67119"/>
                  </a:cubicBezTo>
                  <a:cubicBezTo>
                    <a:pt x="82372" y="45763"/>
                    <a:pt x="100678" y="3051"/>
                    <a:pt x="100678" y="3051"/>
                  </a:cubicBezTo>
                  <a:cubicBezTo>
                    <a:pt x="100678" y="0"/>
                    <a:pt x="106780" y="0"/>
                    <a:pt x="106780" y="0"/>
                  </a:cubicBezTo>
                  <a:cubicBezTo>
                    <a:pt x="109831" y="0"/>
                    <a:pt x="109831" y="6102"/>
                    <a:pt x="109831" y="6102"/>
                  </a:cubicBezTo>
                  <a:cubicBezTo>
                    <a:pt x="109831" y="9153"/>
                    <a:pt x="88474" y="48814"/>
                    <a:pt x="54915" y="73220"/>
                  </a:cubicBezTo>
                  <a:cubicBezTo>
                    <a:pt x="18305" y="97627"/>
                    <a:pt x="9152" y="164746"/>
                    <a:pt x="9152" y="180000"/>
                  </a:cubicBezTo>
                  <a:cubicBezTo>
                    <a:pt x="12203" y="186102"/>
                    <a:pt x="9152" y="186102"/>
                    <a:pt x="6101" y="186102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AF9EB102-D39D-4D0D-8510-63729C154EBA}"/>
                </a:ext>
              </a:extLst>
            </p:cNvPr>
            <p:cNvSpPr/>
            <p:nvPr/>
          </p:nvSpPr>
          <p:spPr>
            <a:xfrm>
              <a:off x="11513258" y="2844430"/>
              <a:ext cx="360000" cy="155593"/>
            </a:xfrm>
            <a:custGeom>
              <a:avLst/>
              <a:gdLst>
                <a:gd name="connsiteX0" fmla="*/ 323390 w 360000"/>
                <a:gd name="connsiteY0" fmla="*/ 6102 h 155593"/>
                <a:gd name="connsiteX1" fmla="*/ 219661 w 360000"/>
                <a:gd name="connsiteY1" fmla="*/ 122034 h 155593"/>
                <a:gd name="connsiteX2" fmla="*/ 24407 w 360000"/>
                <a:gd name="connsiteY2" fmla="*/ 0 h 155593"/>
                <a:gd name="connsiteX3" fmla="*/ 0 w 360000"/>
                <a:gd name="connsiteY3" fmla="*/ 9153 h 155593"/>
                <a:gd name="connsiteX4" fmla="*/ 222712 w 360000"/>
                <a:gd name="connsiteY4" fmla="*/ 155593 h 155593"/>
                <a:gd name="connsiteX5" fmla="*/ 360001 w 360000"/>
                <a:gd name="connsiteY5" fmla="*/ 15254 h 155593"/>
                <a:gd name="connsiteX6" fmla="*/ 323390 w 360000"/>
                <a:gd name="connsiteY6" fmla="*/ 6102 h 155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0000" h="155593">
                  <a:moveTo>
                    <a:pt x="323390" y="6102"/>
                  </a:moveTo>
                  <a:lnTo>
                    <a:pt x="219661" y="122034"/>
                  </a:lnTo>
                  <a:cubicBezTo>
                    <a:pt x="219661" y="122034"/>
                    <a:pt x="88475" y="21356"/>
                    <a:pt x="24407" y="0"/>
                  </a:cubicBezTo>
                  <a:lnTo>
                    <a:pt x="0" y="9153"/>
                  </a:lnTo>
                  <a:lnTo>
                    <a:pt x="222712" y="155593"/>
                  </a:lnTo>
                  <a:lnTo>
                    <a:pt x="360001" y="15254"/>
                  </a:lnTo>
                  <a:cubicBezTo>
                    <a:pt x="360001" y="12203"/>
                    <a:pt x="344746" y="6102"/>
                    <a:pt x="323390" y="6102"/>
                  </a:cubicBez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0FE6CA4A-7FF0-4653-93AF-A3925CE4AC69}"/>
                </a:ext>
              </a:extLst>
            </p:cNvPr>
            <p:cNvSpPr/>
            <p:nvPr/>
          </p:nvSpPr>
          <p:spPr>
            <a:xfrm>
              <a:off x="11232581" y="3768837"/>
              <a:ext cx="927457" cy="190847"/>
            </a:xfrm>
            <a:custGeom>
              <a:avLst/>
              <a:gdLst>
                <a:gd name="connsiteX0" fmla="*/ 125085 w 927457"/>
                <a:gd name="connsiteY0" fmla="*/ 0 h 190847"/>
                <a:gd name="connsiteX1" fmla="*/ 0 w 927457"/>
                <a:gd name="connsiteY1" fmla="*/ 131186 h 190847"/>
                <a:gd name="connsiteX2" fmla="*/ 927457 w 927457"/>
                <a:gd name="connsiteY2" fmla="*/ 131186 h 190847"/>
                <a:gd name="connsiteX3" fmla="*/ 799321 w 927457"/>
                <a:gd name="connsiteY3" fmla="*/ 42712 h 190847"/>
                <a:gd name="connsiteX4" fmla="*/ 125085 w 927457"/>
                <a:gd name="connsiteY4" fmla="*/ 0 h 190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7457" h="190847">
                  <a:moveTo>
                    <a:pt x="125085" y="0"/>
                  </a:moveTo>
                  <a:lnTo>
                    <a:pt x="0" y="131186"/>
                  </a:lnTo>
                  <a:cubicBezTo>
                    <a:pt x="0" y="131186"/>
                    <a:pt x="424068" y="265424"/>
                    <a:pt x="927457" y="131186"/>
                  </a:cubicBezTo>
                  <a:lnTo>
                    <a:pt x="799321" y="42712"/>
                  </a:lnTo>
                  <a:cubicBezTo>
                    <a:pt x="799321" y="42712"/>
                    <a:pt x="219660" y="24407"/>
                    <a:pt x="125085" y="0"/>
                  </a:cubicBezTo>
                  <a:close/>
                </a:path>
              </a:pathLst>
            </a:custGeom>
            <a:solidFill>
              <a:srgbClr val="F1DDBA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44257E30-98F5-47F8-82D8-79FD6CFB3897}"/>
                </a:ext>
              </a:extLst>
            </p:cNvPr>
            <p:cNvSpPr/>
            <p:nvPr/>
          </p:nvSpPr>
          <p:spPr>
            <a:xfrm>
              <a:off x="11722504" y="3788929"/>
              <a:ext cx="315500" cy="28721"/>
            </a:xfrm>
            <a:custGeom>
              <a:avLst/>
              <a:gdLst>
                <a:gd name="connsiteX0" fmla="*/ 309399 w 315500"/>
                <a:gd name="connsiteY0" fmla="*/ 28721 h 28721"/>
                <a:gd name="connsiteX1" fmla="*/ 309399 w 315500"/>
                <a:gd name="connsiteY1" fmla="*/ 28721 h 28721"/>
                <a:gd name="connsiteX2" fmla="*/ 4314 w 315500"/>
                <a:gd name="connsiteY2" fmla="*/ 10416 h 28721"/>
                <a:gd name="connsiteX3" fmla="*/ 1264 w 315500"/>
                <a:gd name="connsiteY3" fmla="*/ 4314 h 28721"/>
                <a:gd name="connsiteX4" fmla="*/ 7365 w 315500"/>
                <a:gd name="connsiteY4" fmla="*/ 1264 h 28721"/>
                <a:gd name="connsiteX5" fmla="*/ 309399 w 315500"/>
                <a:gd name="connsiteY5" fmla="*/ 19569 h 28721"/>
                <a:gd name="connsiteX6" fmla="*/ 315501 w 315500"/>
                <a:gd name="connsiteY6" fmla="*/ 25671 h 28721"/>
                <a:gd name="connsiteX7" fmla="*/ 309399 w 315500"/>
                <a:gd name="connsiteY7" fmla="*/ 28721 h 28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5500" h="28721">
                  <a:moveTo>
                    <a:pt x="309399" y="28721"/>
                  </a:moveTo>
                  <a:cubicBezTo>
                    <a:pt x="309399" y="28721"/>
                    <a:pt x="309399" y="28721"/>
                    <a:pt x="309399" y="28721"/>
                  </a:cubicBezTo>
                  <a:cubicBezTo>
                    <a:pt x="306349" y="28721"/>
                    <a:pt x="98890" y="25671"/>
                    <a:pt x="4314" y="10416"/>
                  </a:cubicBezTo>
                  <a:cubicBezTo>
                    <a:pt x="1264" y="10416"/>
                    <a:pt x="-1787" y="7366"/>
                    <a:pt x="1264" y="4314"/>
                  </a:cubicBezTo>
                  <a:cubicBezTo>
                    <a:pt x="1264" y="1264"/>
                    <a:pt x="4314" y="-1787"/>
                    <a:pt x="7365" y="1264"/>
                  </a:cubicBezTo>
                  <a:cubicBezTo>
                    <a:pt x="101941" y="19569"/>
                    <a:pt x="309399" y="19569"/>
                    <a:pt x="309399" y="19569"/>
                  </a:cubicBezTo>
                  <a:cubicBezTo>
                    <a:pt x="312450" y="19569"/>
                    <a:pt x="315501" y="22620"/>
                    <a:pt x="315501" y="25671"/>
                  </a:cubicBezTo>
                  <a:cubicBezTo>
                    <a:pt x="315501" y="25671"/>
                    <a:pt x="312450" y="28721"/>
                    <a:pt x="309399" y="28721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9EBF7F43-FEFC-430C-A078-506A6F4C55FF}"/>
                </a:ext>
              </a:extLst>
            </p:cNvPr>
            <p:cNvSpPr/>
            <p:nvPr/>
          </p:nvSpPr>
          <p:spPr>
            <a:xfrm>
              <a:off x="11507157" y="2755956"/>
              <a:ext cx="239542" cy="411864"/>
            </a:xfrm>
            <a:custGeom>
              <a:avLst/>
              <a:gdLst>
                <a:gd name="connsiteX0" fmla="*/ 33560 w 239542"/>
                <a:gd name="connsiteY0" fmla="*/ 0 h 411864"/>
                <a:gd name="connsiteX1" fmla="*/ 210508 w 239542"/>
                <a:gd name="connsiteY1" fmla="*/ 195254 h 411864"/>
                <a:gd name="connsiteX2" fmla="*/ 228814 w 239542"/>
                <a:gd name="connsiteY2" fmla="*/ 390508 h 411864"/>
                <a:gd name="connsiteX3" fmla="*/ 183051 w 239542"/>
                <a:gd name="connsiteY3" fmla="*/ 390508 h 411864"/>
                <a:gd name="connsiteX4" fmla="*/ 106780 w 239542"/>
                <a:gd name="connsiteY4" fmla="*/ 411864 h 411864"/>
                <a:gd name="connsiteX5" fmla="*/ 64068 w 239542"/>
                <a:gd name="connsiteY5" fmla="*/ 384407 h 411864"/>
                <a:gd name="connsiteX6" fmla="*/ 0 w 239542"/>
                <a:gd name="connsiteY6" fmla="*/ 36610 h 411864"/>
                <a:gd name="connsiteX7" fmla="*/ 33560 w 239542"/>
                <a:gd name="connsiteY7" fmla="*/ 0 h 41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542" h="411864">
                  <a:moveTo>
                    <a:pt x="33560" y="0"/>
                  </a:moveTo>
                  <a:cubicBezTo>
                    <a:pt x="33560" y="0"/>
                    <a:pt x="173898" y="91525"/>
                    <a:pt x="210508" y="195254"/>
                  </a:cubicBezTo>
                  <a:cubicBezTo>
                    <a:pt x="247119" y="302034"/>
                    <a:pt x="244068" y="381356"/>
                    <a:pt x="228814" y="390508"/>
                  </a:cubicBezTo>
                  <a:cubicBezTo>
                    <a:pt x="216610" y="399661"/>
                    <a:pt x="201356" y="381356"/>
                    <a:pt x="183051" y="390508"/>
                  </a:cubicBezTo>
                  <a:cubicBezTo>
                    <a:pt x="164746" y="399661"/>
                    <a:pt x="118983" y="411864"/>
                    <a:pt x="106780" y="411864"/>
                  </a:cubicBezTo>
                  <a:cubicBezTo>
                    <a:pt x="91525" y="411864"/>
                    <a:pt x="57966" y="396610"/>
                    <a:pt x="64068" y="384407"/>
                  </a:cubicBezTo>
                  <a:cubicBezTo>
                    <a:pt x="70169" y="372203"/>
                    <a:pt x="24406" y="64068"/>
                    <a:pt x="0" y="36610"/>
                  </a:cubicBezTo>
                  <a:lnTo>
                    <a:pt x="33560" y="0"/>
                  </a:ln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7F68EC45-3131-4DC6-8379-240B2387ADFA}"/>
                </a:ext>
              </a:extLst>
            </p:cNvPr>
            <p:cNvSpPr/>
            <p:nvPr/>
          </p:nvSpPr>
          <p:spPr>
            <a:xfrm>
              <a:off x="11550632" y="2793329"/>
              <a:ext cx="148728" cy="267711"/>
            </a:xfrm>
            <a:custGeom>
              <a:avLst/>
              <a:gdLst>
                <a:gd name="connsiteX0" fmla="*/ 142627 w 148728"/>
                <a:gd name="connsiteY0" fmla="*/ 267712 h 267711"/>
                <a:gd name="connsiteX1" fmla="*/ 136525 w 148728"/>
                <a:gd name="connsiteY1" fmla="*/ 261610 h 267711"/>
                <a:gd name="connsiteX2" fmla="*/ 2288 w 148728"/>
                <a:gd name="connsiteY2" fmla="*/ 11441 h 267711"/>
                <a:gd name="connsiteX3" fmla="*/ 2288 w 148728"/>
                <a:gd name="connsiteY3" fmla="*/ 2288 h 267711"/>
                <a:gd name="connsiteX4" fmla="*/ 11440 w 148728"/>
                <a:gd name="connsiteY4" fmla="*/ 2288 h 267711"/>
                <a:gd name="connsiteX5" fmla="*/ 148729 w 148728"/>
                <a:gd name="connsiteY5" fmla="*/ 258559 h 267711"/>
                <a:gd name="connsiteX6" fmla="*/ 142627 w 148728"/>
                <a:gd name="connsiteY6" fmla="*/ 267712 h 267711"/>
                <a:gd name="connsiteX7" fmla="*/ 142627 w 148728"/>
                <a:gd name="connsiteY7" fmla="*/ 267712 h 26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728" h="267711">
                  <a:moveTo>
                    <a:pt x="142627" y="267712"/>
                  </a:moveTo>
                  <a:cubicBezTo>
                    <a:pt x="139576" y="267712"/>
                    <a:pt x="136525" y="264661"/>
                    <a:pt x="136525" y="261610"/>
                  </a:cubicBezTo>
                  <a:cubicBezTo>
                    <a:pt x="130423" y="145678"/>
                    <a:pt x="5339" y="11441"/>
                    <a:pt x="2288" y="11441"/>
                  </a:cubicBezTo>
                  <a:cubicBezTo>
                    <a:pt x="-763" y="8390"/>
                    <a:pt x="-763" y="5339"/>
                    <a:pt x="2288" y="2288"/>
                  </a:cubicBezTo>
                  <a:cubicBezTo>
                    <a:pt x="5339" y="-763"/>
                    <a:pt x="8389" y="-763"/>
                    <a:pt x="11440" y="2288"/>
                  </a:cubicBezTo>
                  <a:cubicBezTo>
                    <a:pt x="17543" y="8390"/>
                    <a:pt x="142627" y="139576"/>
                    <a:pt x="148729" y="258559"/>
                  </a:cubicBezTo>
                  <a:cubicBezTo>
                    <a:pt x="148729" y="264661"/>
                    <a:pt x="145678" y="267712"/>
                    <a:pt x="142627" y="267712"/>
                  </a:cubicBezTo>
                  <a:cubicBezTo>
                    <a:pt x="142627" y="267712"/>
                    <a:pt x="142627" y="267712"/>
                    <a:pt x="142627" y="267712"/>
                  </a:cubicBezTo>
                  <a:close/>
                </a:path>
              </a:pathLst>
            </a:custGeom>
            <a:solidFill>
              <a:srgbClr val="6C5D6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94D984F0-C34F-415E-907D-8C4B3140A176}"/>
                </a:ext>
              </a:extLst>
            </p:cNvPr>
            <p:cNvSpPr/>
            <p:nvPr/>
          </p:nvSpPr>
          <p:spPr>
            <a:xfrm>
              <a:off x="11490519" y="2743154"/>
              <a:ext cx="105112" cy="78888"/>
            </a:xfrm>
            <a:custGeom>
              <a:avLst/>
              <a:gdLst>
                <a:gd name="connsiteX0" fmla="*/ 105113 w 105112"/>
                <a:gd name="connsiteY0" fmla="*/ 15853 h 78888"/>
                <a:gd name="connsiteX1" fmla="*/ 86807 w 105112"/>
                <a:gd name="connsiteY1" fmla="*/ 598 h 78888"/>
                <a:gd name="connsiteX2" fmla="*/ 10536 w 105112"/>
                <a:gd name="connsiteY2" fmla="*/ 25005 h 78888"/>
                <a:gd name="connsiteX3" fmla="*/ 4435 w 105112"/>
                <a:gd name="connsiteY3" fmla="*/ 52463 h 78888"/>
                <a:gd name="connsiteX4" fmla="*/ 22739 w 105112"/>
                <a:gd name="connsiteY4" fmla="*/ 76870 h 78888"/>
                <a:gd name="connsiteX5" fmla="*/ 89858 w 105112"/>
                <a:gd name="connsiteY5" fmla="*/ 55514 h 78888"/>
                <a:gd name="connsiteX6" fmla="*/ 99011 w 105112"/>
                <a:gd name="connsiteY6" fmla="*/ 40259 h 78888"/>
                <a:gd name="connsiteX7" fmla="*/ 105113 w 105112"/>
                <a:gd name="connsiteY7" fmla="*/ 15853 h 78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112" h="78888">
                  <a:moveTo>
                    <a:pt x="105113" y="15853"/>
                  </a:moveTo>
                  <a:cubicBezTo>
                    <a:pt x="105113" y="6700"/>
                    <a:pt x="95960" y="-2452"/>
                    <a:pt x="86807" y="598"/>
                  </a:cubicBezTo>
                  <a:cubicBezTo>
                    <a:pt x="62401" y="9751"/>
                    <a:pt x="34944" y="15853"/>
                    <a:pt x="10536" y="25005"/>
                  </a:cubicBezTo>
                  <a:cubicBezTo>
                    <a:pt x="-1667" y="28056"/>
                    <a:pt x="-1667" y="46361"/>
                    <a:pt x="4435" y="52463"/>
                  </a:cubicBezTo>
                  <a:cubicBezTo>
                    <a:pt x="-7769" y="61615"/>
                    <a:pt x="7485" y="86022"/>
                    <a:pt x="22739" y="76870"/>
                  </a:cubicBezTo>
                  <a:cubicBezTo>
                    <a:pt x="44096" y="64666"/>
                    <a:pt x="65452" y="58565"/>
                    <a:pt x="89858" y="55514"/>
                  </a:cubicBezTo>
                  <a:cubicBezTo>
                    <a:pt x="99011" y="55514"/>
                    <a:pt x="102062" y="46361"/>
                    <a:pt x="99011" y="40259"/>
                  </a:cubicBezTo>
                  <a:cubicBezTo>
                    <a:pt x="105113" y="31107"/>
                    <a:pt x="105113" y="21954"/>
                    <a:pt x="105113" y="15853"/>
                  </a:cubicBez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A1C4A319-9922-45F7-B0B9-45BCA60550E0}"/>
                </a:ext>
              </a:extLst>
            </p:cNvPr>
            <p:cNvSpPr/>
            <p:nvPr/>
          </p:nvSpPr>
          <p:spPr>
            <a:xfrm>
              <a:off x="11263089" y="5446803"/>
              <a:ext cx="115169" cy="36610"/>
            </a:xfrm>
            <a:custGeom>
              <a:avLst/>
              <a:gdLst>
                <a:gd name="connsiteX0" fmla="*/ 109831 w 115169"/>
                <a:gd name="connsiteY0" fmla="*/ 36610 h 36610"/>
                <a:gd name="connsiteX1" fmla="*/ 106780 w 115169"/>
                <a:gd name="connsiteY1" fmla="*/ 36610 h 36610"/>
                <a:gd name="connsiteX2" fmla="*/ 6101 w 115169"/>
                <a:gd name="connsiteY2" fmla="*/ 12203 h 36610"/>
                <a:gd name="connsiteX3" fmla="*/ 0 w 115169"/>
                <a:gd name="connsiteY3" fmla="*/ 6102 h 36610"/>
                <a:gd name="connsiteX4" fmla="*/ 6101 w 115169"/>
                <a:gd name="connsiteY4" fmla="*/ 0 h 36610"/>
                <a:gd name="connsiteX5" fmla="*/ 112881 w 115169"/>
                <a:gd name="connsiteY5" fmla="*/ 27458 h 36610"/>
                <a:gd name="connsiteX6" fmla="*/ 112881 w 115169"/>
                <a:gd name="connsiteY6" fmla="*/ 36610 h 36610"/>
                <a:gd name="connsiteX7" fmla="*/ 109831 w 115169"/>
                <a:gd name="connsiteY7" fmla="*/ 36610 h 36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169" h="36610">
                  <a:moveTo>
                    <a:pt x="109831" y="36610"/>
                  </a:moveTo>
                  <a:cubicBezTo>
                    <a:pt x="109831" y="36610"/>
                    <a:pt x="106780" y="36610"/>
                    <a:pt x="106780" y="36610"/>
                  </a:cubicBezTo>
                  <a:cubicBezTo>
                    <a:pt x="79322" y="18305"/>
                    <a:pt x="6101" y="12203"/>
                    <a:pt x="6101" y="12203"/>
                  </a:cubicBezTo>
                  <a:cubicBezTo>
                    <a:pt x="3051" y="12203"/>
                    <a:pt x="0" y="9152"/>
                    <a:pt x="0" y="6102"/>
                  </a:cubicBezTo>
                  <a:cubicBezTo>
                    <a:pt x="0" y="3051"/>
                    <a:pt x="3051" y="0"/>
                    <a:pt x="6101" y="0"/>
                  </a:cubicBezTo>
                  <a:cubicBezTo>
                    <a:pt x="9152" y="0"/>
                    <a:pt x="82372" y="6102"/>
                    <a:pt x="112881" y="27458"/>
                  </a:cubicBezTo>
                  <a:cubicBezTo>
                    <a:pt x="115932" y="30508"/>
                    <a:pt x="115932" y="33559"/>
                    <a:pt x="112881" y="36610"/>
                  </a:cubicBezTo>
                  <a:cubicBezTo>
                    <a:pt x="112881" y="36610"/>
                    <a:pt x="109831" y="36610"/>
                    <a:pt x="109831" y="36610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8" name="图形 114">
              <a:extLst>
                <a:ext uri="{FF2B5EF4-FFF2-40B4-BE49-F238E27FC236}">
                  <a16:creationId xmlns:a16="http://schemas.microsoft.com/office/drawing/2014/main" id="{8998041E-A899-46E4-A358-348B6773A98D}"/>
                </a:ext>
              </a:extLst>
            </p:cNvPr>
            <p:cNvGrpSpPr/>
            <p:nvPr/>
          </p:nvGrpSpPr>
          <p:grpSpPr>
            <a:xfrm>
              <a:off x="11525462" y="3219685"/>
              <a:ext cx="698643" cy="713898"/>
              <a:chOff x="11525462" y="3219685"/>
              <a:chExt cx="698643" cy="713898"/>
            </a:xfrm>
          </p:grpSpPr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072638F0-BDD3-41C1-A089-E8D00758BD3E}"/>
                  </a:ext>
                </a:extLst>
              </p:cNvPr>
              <p:cNvSpPr/>
              <p:nvPr/>
            </p:nvSpPr>
            <p:spPr>
              <a:xfrm>
                <a:off x="11525462" y="3219685"/>
                <a:ext cx="662033" cy="628474"/>
              </a:xfrm>
              <a:custGeom>
                <a:avLst/>
                <a:gdLst>
                  <a:gd name="connsiteX0" fmla="*/ 0 w 662033"/>
                  <a:gd name="connsiteY0" fmla="*/ 570508 h 628474"/>
                  <a:gd name="connsiteX1" fmla="*/ 454576 w 662033"/>
                  <a:gd name="connsiteY1" fmla="*/ 628475 h 628474"/>
                  <a:gd name="connsiteX2" fmla="*/ 662033 w 662033"/>
                  <a:gd name="connsiteY2" fmla="*/ 57966 h 628474"/>
                  <a:gd name="connsiteX3" fmla="*/ 207457 w 662033"/>
                  <a:gd name="connsiteY3" fmla="*/ 0 h 628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2033" h="628474">
                    <a:moveTo>
                      <a:pt x="0" y="570508"/>
                    </a:moveTo>
                    <a:lnTo>
                      <a:pt x="454576" y="628475"/>
                    </a:lnTo>
                    <a:lnTo>
                      <a:pt x="662033" y="57966"/>
                    </a:lnTo>
                    <a:lnTo>
                      <a:pt x="207457" y="0"/>
                    </a:ln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2CD5533D-6D29-4CB3-8767-831E162B002C}"/>
                  </a:ext>
                </a:extLst>
              </p:cNvPr>
              <p:cNvSpPr/>
              <p:nvPr/>
            </p:nvSpPr>
            <p:spPr>
              <a:xfrm>
                <a:off x="12062411" y="3277651"/>
                <a:ext cx="161695" cy="170847"/>
              </a:xfrm>
              <a:custGeom>
                <a:avLst/>
                <a:gdLst>
                  <a:gd name="connsiteX0" fmla="*/ 161695 w 161695"/>
                  <a:gd name="connsiteY0" fmla="*/ 85424 h 170847"/>
                  <a:gd name="connsiteX1" fmla="*/ 125085 w 161695"/>
                  <a:gd name="connsiteY1" fmla="*/ 0 h 170847"/>
                  <a:gd name="connsiteX2" fmla="*/ 0 w 161695"/>
                  <a:gd name="connsiteY2" fmla="*/ 91525 h 170847"/>
                  <a:gd name="connsiteX3" fmla="*/ 21356 w 161695"/>
                  <a:gd name="connsiteY3" fmla="*/ 170848 h 170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695" h="170847">
                    <a:moveTo>
                      <a:pt x="161695" y="85424"/>
                    </a:moveTo>
                    <a:lnTo>
                      <a:pt x="125085" y="0"/>
                    </a:lnTo>
                    <a:lnTo>
                      <a:pt x="0" y="91525"/>
                    </a:lnTo>
                    <a:lnTo>
                      <a:pt x="21356" y="170848"/>
                    </a:ln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187FDFDD-2D2B-4168-A123-A1789EAB50AC}"/>
                  </a:ext>
                </a:extLst>
              </p:cNvPr>
              <p:cNvSpPr/>
              <p:nvPr/>
            </p:nvSpPr>
            <p:spPr>
              <a:xfrm>
                <a:off x="11562072" y="3247142"/>
                <a:ext cx="631525" cy="604067"/>
              </a:xfrm>
              <a:custGeom>
                <a:avLst/>
                <a:gdLst>
                  <a:gd name="connsiteX0" fmla="*/ 631526 w 631525"/>
                  <a:gd name="connsiteY0" fmla="*/ 118983 h 604067"/>
                  <a:gd name="connsiteX1" fmla="*/ 607118 w 631525"/>
                  <a:gd name="connsiteY1" fmla="*/ 54915 h 604067"/>
                  <a:gd name="connsiteX2" fmla="*/ 192204 w 631525"/>
                  <a:gd name="connsiteY2" fmla="*/ 0 h 604067"/>
                  <a:gd name="connsiteX3" fmla="*/ 0 w 631525"/>
                  <a:gd name="connsiteY3" fmla="*/ 512542 h 604067"/>
                  <a:gd name="connsiteX4" fmla="*/ 39662 w 631525"/>
                  <a:gd name="connsiteY4" fmla="*/ 604068 h 604067"/>
                  <a:gd name="connsiteX5" fmla="*/ 201356 w 631525"/>
                  <a:gd name="connsiteY5" fmla="*/ 521695 h 604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1525" h="604067">
                    <a:moveTo>
                      <a:pt x="631526" y="118983"/>
                    </a:moveTo>
                    <a:lnTo>
                      <a:pt x="607118" y="54915"/>
                    </a:lnTo>
                    <a:lnTo>
                      <a:pt x="192204" y="0"/>
                    </a:lnTo>
                    <a:lnTo>
                      <a:pt x="0" y="512542"/>
                    </a:lnTo>
                    <a:lnTo>
                      <a:pt x="39662" y="604068"/>
                    </a:lnTo>
                    <a:lnTo>
                      <a:pt x="201356" y="521695"/>
                    </a:lnTo>
                    <a:close/>
                  </a:path>
                </a:pathLst>
              </a:custGeom>
              <a:solidFill>
                <a:srgbClr val="FFFFFF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8205E70D-7A13-4CB7-A334-3AEC4BB72635}"/>
                  </a:ext>
                </a:extLst>
              </p:cNvPr>
              <p:cNvSpPr/>
              <p:nvPr/>
            </p:nvSpPr>
            <p:spPr>
              <a:xfrm>
                <a:off x="11562072" y="3302058"/>
                <a:ext cx="662034" cy="631525"/>
              </a:xfrm>
              <a:custGeom>
                <a:avLst/>
                <a:gdLst>
                  <a:gd name="connsiteX0" fmla="*/ 0 w 662034"/>
                  <a:gd name="connsiteY0" fmla="*/ 570509 h 631525"/>
                  <a:gd name="connsiteX1" fmla="*/ 454576 w 662034"/>
                  <a:gd name="connsiteY1" fmla="*/ 631526 h 631525"/>
                  <a:gd name="connsiteX2" fmla="*/ 662034 w 662034"/>
                  <a:gd name="connsiteY2" fmla="*/ 61017 h 631525"/>
                  <a:gd name="connsiteX3" fmla="*/ 207458 w 662034"/>
                  <a:gd name="connsiteY3" fmla="*/ 0 h 63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2034" h="631525">
                    <a:moveTo>
                      <a:pt x="0" y="570509"/>
                    </a:moveTo>
                    <a:lnTo>
                      <a:pt x="454576" y="631526"/>
                    </a:lnTo>
                    <a:lnTo>
                      <a:pt x="662034" y="61017"/>
                    </a:lnTo>
                    <a:lnTo>
                      <a:pt x="207458" y="0"/>
                    </a:ln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9" name="图形 114">
              <a:extLst>
                <a:ext uri="{FF2B5EF4-FFF2-40B4-BE49-F238E27FC236}">
                  <a16:creationId xmlns:a16="http://schemas.microsoft.com/office/drawing/2014/main" id="{FADC4BB4-86FD-43C9-A7A8-CEDA9E53ECA6}"/>
                </a:ext>
              </a:extLst>
            </p:cNvPr>
            <p:cNvGrpSpPr/>
            <p:nvPr/>
          </p:nvGrpSpPr>
          <p:grpSpPr>
            <a:xfrm>
              <a:off x="11485801" y="3323413"/>
              <a:ext cx="701694" cy="713898"/>
              <a:chOff x="11485801" y="3323413"/>
              <a:chExt cx="701694" cy="713898"/>
            </a:xfrm>
          </p:grpSpPr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33E8446D-69A1-4BF2-B929-757DEED93AF7}"/>
                  </a:ext>
                </a:extLst>
              </p:cNvPr>
              <p:cNvSpPr/>
              <p:nvPr/>
            </p:nvSpPr>
            <p:spPr>
              <a:xfrm>
                <a:off x="11485801" y="3323413"/>
                <a:ext cx="662034" cy="631525"/>
              </a:xfrm>
              <a:custGeom>
                <a:avLst/>
                <a:gdLst>
                  <a:gd name="connsiteX0" fmla="*/ 0 w 662034"/>
                  <a:gd name="connsiteY0" fmla="*/ 570509 h 631525"/>
                  <a:gd name="connsiteX1" fmla="*/ 454576 w 662034"/>
                  <a:gd name="connsiteY1" fmla="*/ 631525 h 631525"/>
                  <a:gd name="connsiteX2" fmla="*/ 662034 w 662034"/>
                  <a:gd name="connsiteY2" fmla="*/ 61017 h 631525"/>
                  <a:gd name="connsiteX3" fmla="*/ 207458 w 662034"/>
                  <a:gd name="connsiteY3" fmla="*/ 0 h 63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2034" h="631525">
                    <a:moveTo>
                      <a:pt x="0" y="570509"/>
                    </a:moveTo>
                    <a:lnTo>
                      <a:pt x="454576" y="631525"/>
                    </a:lnTo>
                    <a:lnTo>
                      <a:pt x="662034" y="61017"/>
                    </a:lnTo>
                    <a:lnTo>
                      <a:pt x="207458" y="0"/>
                    </a:lnTo>
                    <a:close/>
                  </a:path>
                </a:pathLst>
              </a:custGeom>
              <a:solidFill>
                <a:srgbClr val="7E94B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7359B063-1D5A-4268-89D0-DF1FF7042FB9}"/>
                  </a:ext>
                </a:extLst>
              </p:cNvPr>
              <p:cNvSpPr/>
              <p:nvPr/>
            </p:nvSpPr>
            <p:spPr>
              <a:xfrm>
                <a:off x="12025801" y="3384430"/>
                <a:ext cx="161694" cy="167796"/>
              </a:xfrm>
              <a:custGeom>
                <a:avLst/>
                <a:gdLst>
                  <a:gd name="connsiteX0" fmla="*/ 161695 w 161694"/>
                  <a:gd name="connsiteY0" fmla="*/ 82373 h 167796"/>
                  <a:gd name="connsiteX1" fmla="*/ 122034 w 161694"/>
                  <a:gd name="connsiteY1" fmla="*/ 0 h 167796"/>
                  <a:gd name="connsiteX2" fmla="*/ 0 w 161694"/>
                  <a:gd name="connsiteY2" fmla="*/ 88475 h 167796"/>
                  <a:gd name="connsiteX3" fmla="*/ 21355 w 161694"/>
                  <a:gd name="connsiteY3" fmla="*/ 167797 h 167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694" h="167796">
                    <a:moveTo>
                      <a:pt x="161695" y="82373"/>
                    </a:moveTo>
                    <a:lnTo>
                      <a:pt x="122034" y="0"/>
                    </a:lnTo>
                    <a:lnTo>
                      <a:pt x="0" y="88475"/>
                    </a:lnTo>
                    <a:lnTo>
                      <a:pt x="21355" y="167797"/>
                    </a:lnTo>
                    <a:close/>
                  </a:path>
                </a:pathLst>
              </a:custGeom>
              <a:solidFill>
                <a:srgbClr val="7E94B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4688D587-9F9C-4784-87C2-260B71B665FC}"/>
                  </a:ext>
                </a:extLst>
              </p:cNvPr>
              <p:cNvSpPr/>
              <p:nvPr/>
            </p:nvSpPr>
            <p:spPr>
              <a:xfrm>
                <a:off x="11525462" y="3350871"/>
                <a:ext cx="631524" cy="604067"/>
              </a:xfrm>
              <a:custGeom>
                <a:avLst/>
                <a:gdLst>
                  <a:gd name="connsiteX0" fmla="*/ 631525 w 631524"/>
                  <a:gd name="connsiteY0" fmla="*/ 118983 h 604067"/>
                  <a:gd name="connsiteX1" fmla="*/ 604067 w 631524"/>
                  <a:gd name="connsiteY1" fmla="*/ 54915 h 604067"/>
                  <a:gd name="connsiteX2" fmla="*/ 189152 w 631524"/>
                  <a:gd name="connsiteY2" fmla="*/ 0 h 604067"/>
                  <a:gd name="connsiteX3" fmla="*/ 0 w 631524"/>
                  <a:gd name="connsiteY3" fmla="*/ 512542 h 604067"/>
                  <a:gd name="connsiteX4" fmla="*/ 36610 w 631524"/>
                  <a:gd name="connsiteY4" fmla="*/ 604068 h 604067"/>
                  <a:gd name="connsiteX5" fmla="*/ 198305 w 631524"/>
                  <a:gd name="connsiteY5" fmla="*/ 521695 h 604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1524" h="604067">
                    <a:moveTo>
                      <a:pt x="631525" y="118983"/>
                    </a:moveTo>
                    <a:lnTo>
                      <a:pt x="604067" y="54915"/>
                    </a:lnTo>
                    <a:lnTo>
                      <a:pt x="189152" y="0"/>
                    </a:lnTo>
                    <a:lnTo>
                      <a:pt x="0" y="512542"/>
                    </a:lnTo>
                    <a:lnTo>
                      <a:pt x="36610" y="604068"/>
                    </a:lnTo>
                    <a:lnTo>
                      <a:pt x="198305" y="521695"/>
                    </a:lnTo>
                    <a:close/>
                  </a:path>
                </a:pathLst>
              </a:custGeom>
              <a:solidFill>
                <a:srgbClr val="FFFFFF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3FBF6803-F739-4CC0-9944-44B11B1E22B1}"/>
                  </a:ext>
                </a:extLst>
              </p:cNvPr>
              <p:cNvSpPr/>
              <p:nvPr/>
            </p:nvSpPr>
            <p:spPr>
              <a:xfrm>
                <a:off x="11522411" y="3405786"/>
                <a:ext cx="665084" cy="631525"/>
              </a:xfrm>
              <a:custGeom>
                <a:avLst/>
                <a:gdLst>
                  <a:gd name="connsiteX0" fmla="*/ 0 w 665084"/>
                  <a:gd name="connsiteY0" fmla="*/ 570508 h 631525"/>
                  <a:gd name="connsiteX1" fmla="*/ 457627 w 665084"/>
                  <a:gd name="connsiteY1" fmla="*/ 631525 h 631525"/>
                  <a:gd name="connsiteX2" fmla="*/ 665084 w 665084"/>
                  <a:gd name="connsiteY2" fmla="*/ 61017 h 631525"/>
                  <a:gd name="connsiteX3" fmla="*/ 210508 w 665084"/>
                  <a:gd name="connsiteY3" fmla="*/ 0 h 63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5084" h="631525">
                    <a:moveTo>
                      <a:pt x="0" y="570508"/>
                    </a:moveTo>
                    <a:lnTo>
                      <a:pt x="457627" y="631525"/>
                    </a:lnTo>
                    <a:lnTo>
                      <a:pt x="665084" y="61017"/>
                    </a:lnTo>
                    <a:lnTo>
                      <a:pt x="210508" y="0"/>
                    </a:lnTo>
                    <a:close/>
                  </a:path>
                </a:pathLst>
              </a:custGeom>
              <a:solidFill>
                <a:srgbClr val="7E94B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37E98FAC-A923-41B0-A7A2-C0EC8D588087}"/>
                </a:ext>
              </a:extLst>
            </p:cNvPr>
            <p:cNvSpPr/>
            <p:nvPr/>
          </p:nvSpPr>
          <p:spPr>
            <a:xfrm>
              <a:off x="11247835" y="3170871"/>
              <a:ext cx="799321" cy="732542"/>
            </a:xfrm>
            <a:custGeom>
              <a:avLst/>
              <a:gdLst>
                <a:gd name="connsiteX0" fmla="*/ 265423 w 799321"/>
                <a:gd name="connsiteY0" fmla="*/ 0 h 732542"/>
                <a:gd name="connsiteX1" fmla="*/ 317288 w 799321"/>
                <a:gd name="connsiteY1" fmla="*/ 533898 h 732542"/>
                <a:gd name="connsiteX2" fmla="*/ 799321 w 799321"/>
                <a:gd name="connsiteY2" fmla="*/ 570509 h 732542"/>
                <a:gd name="connsiteX3" fmla="*/ 756610 w 799321"/>
                <a:gd name="connsiteY3" fmla="*/ 710847 h 732542"/>
                <a:gd name="connsiteX4" fmla="*/ 140339 w 799321"/>
                <a:gd name="connsiteY4" fmla="*/ 710847 h 732542"/>
                <a:gd name="connsiteX5" fmla="*/ 0 w 799321"/>
                <a:gd name="connsiteY5" fmla="*/ 42712 h 732542"/>
                <a:gd name="connsiteX6" fmla="*/ 265423 w 799321"/>
                <a:gd name="connsiteY6" fmla="*/ 0 h 73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9321" h="732542">
                  <a:moveTo>
                    <a:pt x="265423" y="0"/>
                  </a:moveTo>
                  <a:lnTo>
                    <a:pt x="317288" y="533898"/>
                  </a:lnTo>
                  <a:lnTo>
                    <a:pt x="799321" y="570509"/>
                  </a:lnTo>
                  <a:lnTo>
                    <a:pt x="756610" y="710847"/>
                  </a:lnTo>
                  <a:cubicBezTo>
                    <a:pt x="756610" y="710847"/>
                    <a:pt x="247119" y="759661"/>
                    <a:pt x="140339" y="710847"/>
                  </a:cubicBezTo>
                  <a:cubicBezTo>
                    <a:pt x="33560" y="662034"/>
                    <a:pt x="0" y="42712"/>
                    <a:pt x="0" y="42712"/>
                  </a:cubicBezTo>
                  <a:lnTo>
                    <a:pt x="265423" y="0"/>
                  </a:ln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AA905065-BC71-4D47-A332-CC260ED2AB36}"/>
                </a:ext>
              </a:extLst>
            </p:cNvPr>
            <p:cNvSpPr/>
            <p:nvPr/>
          </p:nvSpPr>
          <p:spPr>
            <a:xfrm>
              <a:off x="11491903" y="3146464"/>
              <a:ext cx="79322" cy="591864"/>
            </a:xfrm>
            <a:custGeom>
              <a:avLst/>
              <a:gdLst>
                <a:gd name="connsiteX0" fmla="*/ 33560 w 79322"/>
                <a:gd name="connsiteY0" fmla="*/ 591864 h 591864"/>
                <a:gd name="connsiteX1" fmla="*/ 27457 w 79322"/>
                <a:gd name="connsiteY1" fmla="*/ 588814 h 591864"/>
                <a:gd name="connsiteX2" fmla="*/ 30508 w 79322"/>
                <a:gd name="connsiteY2" fmla="*/ 579661 h 591864"/>
                <a:gd name="connsiteX3" fmla="*/ 67118 w 79322"/>
                <a:gd name="connsiteY3" fmla="*/ 555254 h 591864"/>
                <a:gd name="connsiteX4" fmla="*/ 0 w 79322"/>
                <a:gd name="connsiteY4" fmla="*/ 6102 h 591864"/>
                <a:gd name="connsiteX5" fmla="*/ 6101 w 79322"/>
                <a:gd name="connsiteY5" fmla="*/ 0 h 591864"/>
                <a:gd name="connsiteX6" fmla="*/ 12203 w 79322"/>
                <a:gd name="connsiteY6" fmla="*/ 6102 h 591864"/>
                <a:gd name="connsiteX7" fmla="*/ 79322 w 79322"/>
                <a:gd name="connsiteY7" fmla="*/ 561356 h 591864"/>
                <a:gd name="connsiteX8" fmla="*/ 76271 w 79322"/>
                <a:gd name="connsiteY8" fmla="*/ 567458 h 591864"/>
                <a:gd name="connsiteX9" fmla="*/ 33560 w 79322"/>
                <a:gd name="connsiteY9" fmla="*/ 591864 h 591864"/>
                <a:gd name="connsiteX10" fmla="*/ 33560 w 79322"/>
                <a:gd name="connsiteY10" fmla="*/ 591864 h 59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9322" h="591864">
                  <a:moveTo>
                    <a:pt x="33560" y="591864"/>
                  </a:moveTo>
                  <a:cubicBezTo>
                    <a:pt x="30508" y="591864"/>
                    <a:pt x="27457" y="591864"/>
                    <a:pt x="27457" y="588814"/>
                  </a:cubicBezTo>
                  <a:cubicBezTo>
                    <a:pt x="27457" y="585763"/>
                    <a:pt x="27457" y="582712"/>
                    <a:pt x="30508" y="579661"/>
                  </a:cubicBezTo>
                  <a:cubicBezTo>
                    <a:pt x="42712" y="573559"/>
                    <a:pt x="61017" y="561356"/>
                    <a:pt x="67118" y="555254"/>
                  </a:cubicBezTo>
                  <a:cubicBezTo>
                    <a:pt x="57966" y="451525"/>
                    <a:pt x="0" y="9153"/>
                    <a:pt x="0" y="6102"/>
                  </a:cubicBezTo>
                  <a:cubicBezTo>
                    <a:pt x="0" y="3051"/>
                    <a:pt x="3051" y="0"/>
                    <a:pt x="6101" y="0"/>
                  </a:cubicBezTo>
                  <a:cubicBezTo>
                    <a:pt x="9152" y="0"/>
                    <a:pt x="12203" y="3051"/>
                    <a:pt x="12203" y="6102"/>
                  </a:cubicBezTo>
                  <a:cubicBezTo>
                    <a:pt x="12203" y="9153"/>
                    <a:pt x="73220" y="463729"/>
                    <a:pt x="79322" y="561356"/>
                  </a:cubicBezTo>
                  <a:cubicBezTo>
                    <a:pt x="79322" y="564407"/>
                    <a:pt x="79322" y="564407"/>
                    <a:pt x="76271" y="567458"/>
                  </a:cubicBezTo>
                  <a:cubicBezTo>
                    <a:pt x="76271" y="564407"/>
                    <a:pt x="51864" y="582712"/>
                    <a:pt x="33560" y="591864"/>
                  </a:cubicBezTo>
                  <a:cubicBezTo>
                    <a:pt x="33560" y="591864"/>
                    <a:pt x="33560" y="591864"/>
                    <a:pt x="33560" y="591864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86509B08-82B5-464B-A7A2-3B7B6833ADBC}"/>
                </a:ext>
              </a:extLst>
            </p:cNvPr>
            <p:cNvSpPr/>
            <p:nvPr/>
          </p:nvSpPr>
          <p:spPr>
            <a:xfrm>
              <a:off x="11948169" y="3737261"/>
              <a:ext cx="167251" cy="174966"/>
            </a:xfrm>
            <a:custGeom>
              <a:avLst/>
              <a:gdLst>
                <a:gd name="connsiteX0" fmla="*/ 166107 w 167251"/>
                <a:gd name="connsiteY0" fmla="*/ 22424 h 174966"/>
                <a:gd name="connsiteX1" fmla="*/ 41022 w 167251"/>
                <a:gd name="connsiteY1" fmla="*/ 4119 h 174966"/>
                <a:gd name="connsiteX2" fmla="*/ 1361 w 167251"/>
                <a:gd name="connsiteY2" fmla="*/ 123102 h 174966"/>
                <a:gd name="connsiteX3" fmla="*/ 80684 w 167251"/>
                <a:gd name="connsiteY3" fmla="*/ 174966 h 174966"/>
                <a:gd name="connsiteX4" fmla="*/ 117293 w 167251"/>
                <a:gd name="connsiteY4" fmla="*/ 162763 h 174966"/>
                <a:gd name="connsiteX5" fmla="*/ 126446 w 167251"/>
                <a:gd name="connsiteY5" fmla="*/ 144458 h 174966"/>
                <a:gd name="connsiteX6" fmla="*/ 138650 w 167251"/>
                <a:gd name="connsiteY6" fmla="*/ 129203 h 174966"/>
                <a:gd name="connsiteX7" fmla="*/ 141701 w 167251"/>
                <a:gd name="connsiteY7" fmla="*/ 113949 h 174966"/>
                <a:gd name="connsiteX8" fmla="*/ 150853 w 167251"/>
                <a:gd name="connsiteY8" fmla="*/ 92593 h 174966"/>
                <a:gd name="connsiteX9" fmla="*/ 160005 w 167251"/>
                <a:gd name="connsiteY9" fmla="*/ 77339 h 174966"/>
                <a:gd name="connsiteX10" fmla="*/ 156955 w 167251"/>
                <a:gd name="connsiteY10" fmla="*/ 59034 h 174966"/>
                <a:gd name="connsiteX11" fmla="*/ 166107 w 167251"/>
                <a:gd name="connsiteY11" fmla="*/ 22424 h 174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7251" h="174966">
                  <a:moveTo>
                    <a:pt x="166107" y="22424"/>
                  </a:moveTo>
                  <a:cubicBezTo>
                    <a:pt x="163056" y="1068"/>
                    <a:pt x="95938" y="-5034"/>
                    <a:pt x="41022" y="4119"/>
                  </a:cubicBezTo>
                  <a:cubicBezTo>
                    <a:pt x="31870" y="4119"/>
                    <a:pt x="-7792" y="107848"/>
                    <a:pt x="1361" y="123102"/>
                  </a:cubicBezTo>
                  <a:cubicBezTo>
                    <a:pt x="16616" y="147508"/>
                    <a:pt x="68480" y="174966"/>
                    <a:pt x="80684" y="174966"/>
                  </a:cubicBezTo>
                  <a:cubicBezTo>
                    <a:pt x="95938" y="174966"/>
                    <a:pt x="108141" y="174966"/>
                    <a:pt x="117293" y="162763"/>
                  </a:cubicBezTo>
                  <a:cubicBezTo>
                    <a:pt x="126446" y="150559"/>
                    <a:pt x="120344" y="150559"/>
                    <a:pt x="126446" y="144458"/>
                  </a:cubicBezTo>
                  <a:cubicBezTo>
                    <a:pt x="129496" y="138356"/>
                    <a:pt x="135599" y="138356"/>
                    <a:pt x="138650" y="129203"/>
                  </a:cubicBezTo>
                  <a:cubicBezTo>
                    <a:pt x="141701" y="123102"/>
                    <a:pt x="138650" y="120051"/>
                    <a:pt x="141701" y="113949"/>
                  </a:cubicBezTo>
                  <a:cubicBezTo>
                    <a:pt x="144751" y="98695"/>
                    <a:pt x="138650" y="107848"/>
                    <a:pt x="150853" y="92593"/>
                  </a:cubicBezTo>
                  <a:cubicBezTo>
                    <a:pt x="153904" y="89543"/>
                    <a:pt x="156955" y="83441"/>
                    <a:pt x="160005" y="77339"/>
                  </a:cubicBezTo>
                  <a:cubicBezTo>
                    <a:pt x="160005" y="71237"/>
                    <a:pt x="160005" y="65136"/>
                    <a:pt x="156955" y="59034"/>
                  </a:cubicBezTo>
                  <a:cubicBezTo>
                    <a:pt x="166107" y="49881"/>
                    <a:pt x="169158" y="37678"/>
                    <a:pt x="166107" y="22424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F9FDC8AA-F914-474D-8412-4E6CE815BA8E}"/>
                </a:ext>
              </a:extLst>
            </p:cNvPr>
            <p:cNvSpPr/>
            <p:nvPr/>
          </p:nvSpPr>
          <p:spPr>
            <a:xfrm>
              <a:off x="11976020" y="3677571"/>
              <a:ext cx="160812" cy="89412"/>
            </a:xfrm>
            <a:custGeom>
              <a:avLst/>
              <a:gdLst>
                <a:gd name="connsiteX0" fmla="*/ 153510 w 160812"/>
                <a:gd name="connsiteY0" fmla="*/ 21097 h 89412"/>
                <a:gd name="connsiteX1" fmla="*/ 86391 w 160812"/>
                <a:gd name="connsiteY1" fmla="*/ 2792 h 89412"/>
                <a:gd name="connsiteX2" fmla="*/ 967 w 160812"/>
                <a:gd name="connsiteY2" fmla="*/ 63809 h 89412"/>
                <a:gd name="connsiteX3" fmla="*/ 28425 w 160812"/>
                <a:gd name="connsiteY3" fmla="*/ 82114 h 89412"/>
                <a:gd name="connsiteX4" fmla="*/ 43679 w 160812"/>
                <a:gd name="connsiteY4" fmla="*/ 88216 h 89412"/>
                <a:gd name="connsiteX5" fmla="*/ 74187 w 160812"/>
                <a:gd name="connsiteY5" fmla="*/ 76012 h 89412"/>
                <a:gd name="connsiteX6" fmla="*/ 101645 w 160812"/>
                <a:gd name="connsiteY6" fmla="*/ 54656 h 89412"/>
                <a:gd name="connsiteX7" fmla="*/ 129103 w 160812"/>
                <a:gd name="connsiteY7" fmla="*/ 54656 h 89412"/>
                <a:gd name="connsiteX8" fmla="*/ 156561 w 160812"/>
                <a:gd name="connsiteY8" fmla="*/ 45504 h 89412"/>
                <a:gd name="connsiteX9" fmla="*/ 153510 w 160812"/>
                <a:gd name="connsiteY9" fmla="*/ 21097 h 89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0812" h="89412">
                  <a:moveTo>
                    <a:pt x="153510" y="21097"/>
                  </a:moveTo>
                  <a:cubicBezTo>
                    <a:pt x="132153" y="8894"/>
                    <a:pt x="110798" y="-6361"/>
                    <a:pt x="86391" y="2792"/>
                  </a:cubicBezTo>
                  <a:cubicBezTo>
                    <a:pt x="61984" y="11944"/>
                    <a:pt x="19272" y="36351"/>
                    <a:pt x="967" y="63809"/>
                  </a:cubicBezTo>
                  <a:cubicBezTo>
                    <a:pt x="-5135" y="72961"/>
                    <a:pt x="19272" y="79063"/>
                    <a:pt x="28425" y="82114"/>
                  </a:cubicBezTo>
                  <a:cubicBezTo>
                    <a:pt x="31476" y="88216"/>
                    <a:pt x="37578" y="91266"/>
                    <a:pt x="43679" y="88216"/>
                  </a:cubicBezTo>
                  <a:cubicBezTo>
                    <a:pt x="52832" y="85165"/>
                    <a:pt x="65035" y="82114"/>
                    <a:pt x="74187" y="76012"/>
                  </a:cubicBezTo>
                  <a:cubicBezTo>
                    <a:pt x="83340" y="69910"/>
                    <a:pt x="92493" y="57707"/>
                    <a:pt x="101645" y="54656"/>
                  </a:cubicBezTo>
                  <a:cubicBezTo>
                    <a:pt x="110798" y="51605"/>
                    <a:pt x="119950" y="54656"/>
                    <a:pt x="129103" y="54656"/>
                  </a:cubicBezTo>
                  <a:cubicBezTo>
                    <a:pt x="138255" y="54656"/>
                    <a:pt x="147408" y="51605"/>
                    <a:pt x="156561" y="45504"/>
                  </a:cubicBezTo>
                  <a:cubicBezTo>
                    <a:pt x="162662" y="39402"/>
                    <a:pt x="162662" y="27199"/>
                    <a:pt x="153510" y="21097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B5722E52-B18A-42DD-AC99-FE5EC69211B8}"/>
                </a:ext>
              </a:extLst>
            </p:cNvPr>
            <p:cNvSpPr/>
            <p:nvPr/>
          </p:nvSpPr>
          <p:spPr>
            <a:xfrm>
              <a:off x="11953344" y="3732227"/>
              <a:ext cx="171228" cy="186101"/>
            </a:xfrm>
            <a:custGeom>
              <a:avLst/>
              <a:gdLst>
                <a:gd name="connsiteX0" fmla="*/ 81610 w 171228"/>
                <a:gd name="connsiteY0" fmla="*/ 186102 h 186101"/>
                <a:gd name="connsiteX1" fmla="*/ 72458 w 171228"/>
                <a:gd name="connsiteY1" fmla="*/ 186102 h 186101"/>
                <a:gd name="connsiteX2" fmla="*/ 2288 w 171228"/>
                <a:gd name="connsiteY2" fmla="*/ 146441 h 186101"/>
                <a:gd name="connsiteX3" fmla="*/ 2288 w 171228"/>
                <a:gd name="connsiteY3" fmla="*/ 137288 h 186101"/>
                <a:gd name="connsiteX4" fmla="*/ 11441 w 171228"/>
                <a:gd name="connsiteY4" fmla="*/ 137288 h 186101"/>
                <a:gd name="connsiteX5" fmla="*/ 75509 w 171228"/>
                <a:gd name="connsiteY5" fmla="*/ 173898 h 186101"/>
                <a:gd name="connsiteX6" fmla="*/ 115169 w 171228"/>
                <a:gd name="connsiteY6" fmla="*/ 146441 h 186101"/>
                <a:gd name="connsiteX7" fmla="*/ 118220 w 171228"/>
                <a:gd name="connsiteY7" fmla="*/ 143390 h 186101"/>
                <a:gd name="connsiteX8" fmla="*/ 130424 w 171228"/>
                <a:gd name="connsiteY8" fmla="*/ 134237 h 186101"/>
                <a:gd name="connsiteX9" fmla="*/ 130424 w 171228"/>
                <a:gd name="connsiteY9" fmla="*/ 115932 h 186101"/>
                <a:gd name="connsiteX10" fmla="*/ 133475 w 171228"/>
                <a:gd name="connsiteY10" fmla="*/ 109831 h 186101"/>
                <a:gd name="connsiteX11" fmla="*/ 148729 w 171228"/>
                <a:gd name="connsiteY11" fmla="*/ 88475 h 186101"/>
                <a:gd name="connsiteX12" fmla="*/ 145678 w 171228"/>
                <a:gd name="connsiteY12" fmla="*/ 73220 h 186101"/>
                <a:gd name="connsiteX13" fmla="*/ 145678 w 171228"/>
                <a:gd name="connsiteY13" fmla="*/ 67119 h 186101"/>
                <a:gd name="connsiteX14" fmla="*/ 148729 w 171228"/>
                <a:gd name="connsiteY14" fmla="*/ 64068 h 186101"/>
                <a:gd name="connsiteX15" fmla="*/ 157881 w 171228"/>
                <a:gd name="connsiteY15" fmla="*/ 48814 h 186101"/>
                <a:gd name="connsiteX16" fmla="*/ 151780 w 171228"/>
                <a:gd name="connsiteY16" fmla="*/ 24407 h 186101"/>
                <a:gd name="connsiteX17" fmla="*/ 72458 w 171228"/>
                <a:gd name="connsiteY17" fmla="*/ 12203 h 186101"/>
                <a:gd name="connsiteX18" fmla="*/ 66356 w 171228"/>
                <a:gd name="connsiteY18" fmla="*/ 6102 h 186101"/>
                <a:gd name="connsiteX19" fmla="*/ 72458 w 171228"/>
                <a:gd name="connsiteY19" fmla="*/ 0 h 186101"/>
                <a:gd name="connsiteX20" fmla="*/ 72458 w 171228"/>
                <a:gd name="connsiteY20" fmla="*/ 0 h 186101"/>
                <a:gd name="connsiteX21" fmla="*/ 160932 w 171228"/>
                <a:gd name="connsiteY21" fmla="*/ 15254 h 186101"/>
                <a:gd name="connsiteX22" fmla="*/ 170084 w 171228"/>
                <a:gd name="connsiteY22" fmla="*/ 48814 h 186101"/>
                <a:gd name="connsiteX23" fmla="*/ 157881 w 171228"/>
                <a:gd name="connsiteY23" fmla="*/ 67119 h 186101"/>
                <a:gd name="connsiteX24" fmla="*/ 160932 w 171228"/>
                <a:gd name="connsiteY24" fmla="*/ 85424 h 186101"/>
                <a:gd name="connsiteX25" fmla="*/ 142627 w 171228"/>
                <a:gd name="connsiteY25" fmla="*/ 112881 h 186101"/>
                <a:gd name="connsiteX26" fmla="*/ 142627 w 171228"/>
                <a:gd name="connsiteY26" fmla="*/ 137288 h 186101"/>
                <a:gd name="connsiteX27" fmla="*/ 124321 w 171228"/>
                <a:gd name="connsiteY27" fmla="*/ 152542 h 186101"/>
                <a:gd name="connsiteX28" fmla="*/ 81610 w 171228"/>
                <a:gd name="connsiteY28" fmla="*/ 186102 h 18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71228" h="186101">
                  <a:moveTo>
                    <a:pt x="81610" y="186102"/>
                  </a:moveTo>
                  <a:cubicBezTo>
                    <a:pt x="78559" y="186102"/>
                    <a:pt x="75509" y="186102"/>
                    <a:pt x="72458" y="186102"/>
                  </a:cubicBezTo>
                  <a:cubicBezTo>
                    <a:pt x="35847" y="180000"/>
                    <a:pt x="5339" y="146441"/>
                    <a:pt x="2288" y="146441"/>
                  </a:cubicBezTo>
                  <a:cubicBezTo>
                    <a:pt x="-763" y="143390"/>
                    <a:pt x="-763" y="140339"/>
                    <a:pt x="2288" y="137288"/>
                  </a:cubicBezTo>
                  <a:cubicBezTo>
                    <a:pt x="5339" y="134237"/>
                    <a:pt x="8390" y="134237"/>
                    <a:pt x="11441" y="137288"/>
                  </a:cubicBezTo>
                  <a:cubicBezTo>
                    <a:pt x="11441" y="137288"/>
                    <a:pt x="41949" y="167797"/>
                    <a:pt x="75509" y="173898"/>
                  </a:cubicBezTo>
                  <a:cubicBezTo>
                    <a:pt x="106017" y="180000"/>
                    <a:pt x="115169" y="149492"/>
                    <a:pt x="115169" y="146441"/>
                  </a:cubicBezTo>
                  <a:cubicBezTo>
                    <a:pt x="115169" y="143390"/>
                    <a:pt x="118220" y="143390"/>
                    <a:pt x="118220" y="143390"/>
                  </a:cubicBezTo>
                  <a:cubicBezTo>
                    <a:pt x="124321" y="140339"/>
                    <a:pt x="130424" y="137288"/>
                    <a:pt x="130424" y="134237"/>
                  </a:cubicBezTo>
                  <a:cubicBezTo>
                    <a:pt x="133475" y="125085"/>
                    <a:pt x="130424" y="115932"/>
                    <a:pt x="130424" y="115932"/>
                  </a:cubicBezTo>
                  <a:cubicBezTo>
                    <a:pt x="130424" y="112881"/>
                    <a:pt x="130424" y="109831"/>
                    <a:pt x="133475" y="109831"/>
                  </a:cubicBezTo>
                  <a:cubicBezTo>
                    <a:pt x="142627" y="103729"/>
                    <a:pt x="148729" y="94576"/>
                    <a:pt x="148729" y="88475"/>
                  </a:cubicBezTo>
                  <a:cubicBezTo>
                    <a:pt x="148729" y="79322"/>
                    <a:pt x="145678" y="73220"/>
                    <a:pt x="145678" y="73220"/>
                  </a:cubicBezTo>
                  <a:cubicBezTo>
                    <a:pt x="145678" y="73220"/>
                    <a:pt x="145678" y="70170"/>
                    <a:pt x="145678" y="67119"/>
                  </a:cubicBezTo>
                  <a:cubicBezTo>
                    <a:pt x="145678" y="64068"/>
                    <a:pt x="148729" y="64068"/>
                    <a:pt x="148729" y="64068"/>
                  </a:cubicBezTo>
                  <a:cubicBezTo>
                    <a:pt x="151780" y="61017"/>
                    <a:pt x="157881" y="57966"/>
                    <a:pt x="157881" y="48814"/>
                  </a:cubicBezTo>
                  <a:cubicBezTo>
                    <a:pt x="160932" y="39661"/>
                    <a:pt x="157881" y="30508"/>
                    <a:pt x="151780" y="24407"/>
                  </a:cubicBezTo>
                  <a:cubicBezTo>
                    <a:pt x="142627" y="15254"/>
                    <a:pt x="99915" y="12203"/>
                    <a:pt x="72458" y="12203"/>
                  </a:cubicBezTo>
                  <a:cubicBezTo>
                    <a:pt x="69407" y="12203"/>
                    <a:pt x="66356" y="9153"/>
                    <a:pt x="66356" y="6102"/>
                  </a:cubicBezTo>
                  <a:cubicBezTo>
                    <a:pt x="66356" y="3051"/>
                    <a:pt x="69407" y="0"/>
                    <a:pt x="72458" y="0"/>
                  </a:cubicBezTo>
                  <a:cubicBezTo>
                    <a:pt x="72458" y="0"/>
                    <a:pt x="72458" y="0"/>
                    <a:pt x="72458" y="0"/>
                  </a:cubicBezTo>
                  <a:cubicBezTo>
                    <a:pt x="84661" y="0"/>
                    <a:pt x="145678" y="3051"/>
                    <a:pt x="160932" y="15254"/>
                  </a:cubicBezTo>
                  <a:cubicBezTo>
                    <a:pt x="170084" y="24407"/>
                    <a:pt x="173135" y="36610"/>
                    <a:pt x="170084" y="48814"/>
                  </a:cubicBezTo>
                  <a:cubicBezTo>
                    <a:pt x="167034" y="57966"/>
                    <a:pt x="163983" y="64068"/>
                    <a:pt x="157881" y="67119"/>
                  </a:cubicBezTo>
                  <a:cubicBezTo>
                    <a:pt x="160932" y="70170"/>
                    <a:pt x="160932" y="79322"/>
                    <a:pt x="160932" y="85424"/>
                  </a:cubicBezTo>
                  <a:cubicBezTo>
                    <a:pt x="160932" y="94576"/>
                    <a:pt x="154830" y="103729"/>
                    <a:pt x="142627" y="112881"/>
                  </a:cubicBezTo>
                  <a:cubicBezTo>
                    <a:pt x="145678" y="118983"/>
                    <a:pt x="145678" y="128136"/>
                    <a:pt x="142627" y="137288"/>
                  </a:cubicBezTo>
                  <a:cubicBezTo>
                    <a:pt x="139576" y="143390"/>
                    <a:pt x="133475" y="149492"/>
                    <a:pt x="124321" y="152542"/>
                  </a:cubicBezTo>
                  <a:cubicBezTo>
                    <a:pt x="121271" y="167797"/>
                    <a:pt x="106017" y="186102"/>
                    <a:pt x="81610" y="186102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494713BE-4DCF-482F-B984-9AA99A1CF510}"/>
                </a:ext>
              </a:extLst>
            </p:cNvPr>
            <p:cNvSpPr/>
            <p:nvPr/>
          </p:nvSpPr>
          <p:spPr>
            <a:xfrm>
              <a:off x="11192919" y="2891783"/>
              <a:ext cx="374954" cy="430062"/>
            </a:xfrm>
            <a:custGeom>
              <a:avLst/>
              <a:gdLst>
                <a:gd name="connsiteX0" fmla="*/ 0 w 374954"/>
                <a:gd name="connsiteY0" fmla="*/ 410274 h 430062"/>
                <a:gd name="connsiteX1" fmla="*/ 183051 w 374954"/>
                <a:gd name="connsiteY1" fmla="*/ 1461 h 430062"/>
                <a:gd name="connsiteX2" fmla="*/ 372204 w 374954"/>
                <a:gd name="connsiteY2" fmla="*/ 401122 h 430062"/>
                <a:gd name="connsiteX3" fmla="*/ 0 w 374954"/>
                <a:gd name="connsiteY3" fmla="*/ 410274 h 43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4954" h="430062">
                  <a:moveTo>
                    <a:pt x="0" y="410274"/>
                  </a:moveTo>
                  <a:cubicBezTo>
                    <a:pt x="0" y="227224"/>
                    <a:pt x="103730" y="16715"/>
                    <a:pt x="183051" y="1461"/>
                  </a:cubicBezTo>
                  <a:cubicBezTo>
                    <a:pt x="286780" y="-19895"/>
                    <a:pt x="393560" y="196715"/>
                    <a:pt x="372204" y="401122"/>
                  </a:cubicBezTo>
                  <a:cubicBezTo>
                    <a:pt x="305085" y="434681"/>
                    <a:pt x="97627" y="440783"/>
                    <a:pt x="0" y="410274"/>
                  </a:cubicBezTo>
                  <a:close/>
                </a:path>
              </a:pathLst>
            </a:custGeom>
            <a:solidFill>
              <a:srgbClr val="F1DDBA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71B94348-913F-4F59-BB9A-639022E0AEBB}"/>
                </a:ext>
              </a:extLst>
            </p:cNvPr>
            <p:cNvSpPr/>
            <p:nvPr/>
          </p:nvSpPr>
          <p:spPr>
            <a:xfrm>
              <a:off x="11385123" y="2881041"/>
              <a:ext cx="186541" cy="445423"/>
            </a:xfrm>
            <a:custGeom>
              <a:avLst/>
              <a:gdLst>
                <a:gd name="connsiteX0" fmla="*/ 36610 w 186541"/>
                <a:gd name="connsiteY0" fmla="*/ 445424 h 445423"/>
                <a:gd name="connsiteX1" fmla="*/ 33560 w 186541"/>
                <a:gd name="connsiteY1" fmla="*/ 445424 h 445423"/>
                <a:gd name="connsiteX2" fmla="*/ 27457 w 186541"/>
                <a:gd name="connsiteY2" fmla="*/ 439322 h 445423"/>
                <a:gd name="connsiteX3" fmla="*/ 33560 w 186541"/>
                <a:gd name="connsiteY3" fmla="*/ 433220 h 445423"/>
                <a:gd name="connsiteX4" fmla="*/ 33560 w 186541"/>
                <a:gd name="connsiteY4" fmla="*/ 433220 h 445423"/>
                <a:gd name="connsiteX5" fmla="*/ 36610 w 186541"/>
                <a:gd name="connsiteY5" fmla="*/ 433220 h 445423"/>
                <a:gd name="connsiteX6" fmla="*/ 173898 w 186541"/>
                <a:gd name="connsiteY6" fmla="*/ 405763 h 445423"/>
                <a:gd name="connsiteX7" fmla="*/ 122034 w 186541"/>
                <a:gd name="connsiteY7" fmla="*/ 118983 h 445423"/>
                <a:gd name="connsiteX8" fmla="*/ 115932 w 186541"/>
                <a:gd name="connsiteY8" fmla="*/ 109831 h 445423"/>
                <a:gd name="connsiteX9" fmla="*/ 6101 w 186541"/>
                <a:gd name="connsiteY9" fmla="*/ 12203 h 445423"/>
                <a:gd name="connsiteX10" fmla="*/ 0 w 186541"/>
                <a:gd name="connsiteY10" fmla="*/ 6102 h 445423"/>
                <a:gd name="connsiteX11" fmla="*/ 6101 w 186541"/>
                <a:gd name="connsiteY11" fmla="*/ 0 h 445423"/>
                <a:gd name="connsiteX12" fmla="*/ 125085 w 186541"/>
                <a:gd name="connsiteY12" fmla="*/ 103729 h 445423"/>
                <a:gd name="connsiteX13" fmla="*/ 131186 w 186541"/>
                <a:gd name="connsiteY13" fmla="*/ 112881 h 445423"/>
                <a:gd name="connsiteX14" fmla="*/ 183051 w 186541"/>
                <a:gd name="connsiteY14" fmla="*/ 411864 h 445423"/>
                <a:gd name="connsiteX15" fmla="*/ 183051 w 186541"/>
                <a:gd name="connsiteY15" fmla="*/ 414915 h 445423"/>
                <a:gd name="connsiteX16" fmla="*/ 180000 w 186541"/>
                <a:gd name="connsiteY16" fmla="*/ 414915 h 445423"/>
                <a:gd name="connsiteX17" fmla="*/ 36610 w 186541"/>
                <a:gd name="connsiteY17" fmla="*/ 445424 h 445423"/>
                <a:gd name="connsiteX18" fmla="*/ 180000 w 186541"/>
                <a:gd name="connsiteY18" fmla="*/ 411864 h 445423"/>
                <a:gd name="connsiteX19" fmla="*/ 180000 w 186541"/>
                <a:gd name="connsiteY19" fmla="*/ 411864 h 445423"/>
                <a:gd name="connsiteX20" fmla="*/ 180000 w 186541"/>
                <a:gd name="connsiteY20" fmla="*/ 411864 h 445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6541" h="445423">
                  <a:moveTo>
                    <a:pt x="36610" y="445424"/>
                  </a:moveTo>
                  <a:cubicBezTo>
                    <a:pt x="36610" y="445424"/>
                    <a:pt x="33560" y="445424"/>
                    <a:pt x="33560" y="445424"/>
                  </a:cubicBezTo>
                  <a:cubicBezTo>
                    <a:pt x="30508" y="445424"/>
                    <a:pt x="27457" y="442373"/>
                    <a:pt x="27457" y="439322"/>
                  </a:cubicBezTo>
                  <a:cubicBezTo>
                    <a:pt x="27457" y="436271"/>
                    <a:pt x="30508" y="433220"/>
                    <a:pt x="33560" y="433220"/>
                  </a:cubicBezTo>
                  <a:lnTo>
                    <a:pt x="33560" y="433220"/>
                  </a:lnTo>
                  <a:cubicBezTo>
                    <a:pt x="33560" y="433220"/>
                    <a:pt x="36610" y="433220"/>
                    <a:pt x="36610" y="433220"/>
                  </a:cubicBezTo>
                  <a:cubicBezTo>
                    <a:pt x="106780" y="433220"/>
                    <a:pt x="152542" y="417966"/>
                    <a:pt x="173898" y="405763"/>
                  </a:cubicBezTo>
                  <a:cubicBezTo>
                    <a:pt x="180000" y="369153"/>
                    <a:pt x="173898" y="204407"/>
                    <a:pt x="122034" y="118983"/>
                  </a:cubicBezTo>
                  <a:cubicBezTo>
                    <a:pt x="122034" y="115932"/>
                    <a:pt x="118983" y="112881"/>
                    <a:pt x="115932" y="109831"/>
                  </a:cubicBezTo>
                  <a:cubicBezTo>
                    <a:pt x="100678" y="79322"/>
                    <a:pt x="64068" y="21356"/>
                    <a:pt x="6101" y="12203"/>
                  </a:cubicBezTo>
                  <a:cubicBezTo>
                    <a:pt x="3051" y="12203"/>
                    <a:pt x="0" y="9153"/>
                    <a:pt x="0" y="6102"/>
                  </a:cubicBezTo>
                  <a:cubicBezTo>
                    <a:pt x="0" y="3051"/>
                    <a:pt x="3051" y="0"/>
                    <a:pt x="6101" y="0"/>
                  </a:cubicBezTo>
                  <a:cubicBezTo>
                    <a:pt x="73220" y="9153"/>
                    <a:pt x="109831" y="73220"/>
                    <a:pt x="125085" y="103729"/>
                  </a:cubicBezTo>
                  <a:cubicBezTo>
                    <a:pt x="128135" y="106780"/>
                    <a:pt x="128135" y="109831"/>
                    <a:pt x="131186" y="112881"/>
                  </a:cubicBezTo>
                  <a:cubicBezTo>
                    <a:pt x="186102" y="207458"/>
                    <a:pt x="192203" y="378305"/>
                    <a:pt x="183051" y="411864"/>
                  </a:cubicBezTo>
                  <a:lnTo>
                    <a:pt x="183051" y="414915"/>
                  </a:lnTo>
                  <a:lnTo>
                    <a:pt x="180000" y="414915"/>
                  </a:lnTo>
                  <a:cubicBezTo>
                    <a:pt x="158644" y="430170"/>
                    <a:pt x="112881" y="445424"/>
                    <a:pt x="36610" y="445424"/>
                  </a:cubicBezTo>
                  <a:close/>
                  <a:moveTo>
                    <a:pt x="180000" y="411864"/>
                  </a:moveTo>
                  <a:lnTo>
                    <a:pt x="180000" y="411864"/>
                  </a:lnTo>
                  <a:lnTo>
                    <a:pt x="180000" y="411864"/>
                  </a:ln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6DC8CB57-ED75-4608-8B1B-0FEAC288250F}"/>
                </a:ext>
              </a:extLst>
            </p:cNvPr>
            <p:cNvSpPr/>
            <p:nvPr/>
          </p:nvSpPr>
          <p:spPr>
            <a:xfrm>
              <a:off x="12711275" y="3807368"/>
              <a:ext cx="619080" cy="803720"/>
            </a:xfrm>
            <a:custGeom>
              <a:avLst/>
              <a:gdLst>
                <a:gd name="connsiteX0" fmla="*/ 617238 w 619080"/>
                <a:gd name="connsiteY0" fmla="*/ 522825 h 803720"/>
                <a:gd name="connsiteX1" fmla="*/ 351815 w 619080"/>
                <a:gd name="connsiteY1" fmla="*/ 101808 h 803720"/>
                <a:gd name="connsiteX2" fmla="*/ 65035 w 619080"/>
                <a:gd name="connsiteY2" fmla="*/ 22486 h 803720"/>
                <a:gd name="connsiteX3" fmla="*/ 10119 w 619080"/>
                <a:gd name="connsiteY3" fmla="*/ 348927 h 803720"/>
                <a:gd name="connsiteX4" fmla="*/ 177916 w 619080"/>
                <a:gd name="connsiteY4" fmla="*/ 797402 h 803720"/>
                <a:gd name="connsiteX5" fmla="*/ 205373 w 619080"/>
                <a:gd name="connsiteY5" fmla="*/ 782147 h 803720"/>
                <a:gd name="connsiteX6" fmla="*/ 61984 w 619080"/>
                <a:gd name="connsiteY6" fmla="*/ 458757 h 803720"/>
                <a:gd name="connsiteX7" fmla="*/ 34527 w 619080"/>
                <a:gd name="connsiteY7" fmla="*/ 269605 h 803720"/>
                <a:gd name="connsiteX8" fmla="*/ 80289 w 619080"/>
                <a:gd name="connsiteY8" fmla="*/ 52995 h 803720"/>
                <a:gd name="connsiteX9" fmla="*/ 278594 w 619080"/>
                <a:gd name="connsiteY9" fmla="*/ 80452 h 803720"/>
                <a:gd name="connsiteX10" fmla="*/ 394526 w 619080"/>
                <a:gd name="connsiteY10" fmla="*/ 226893 h 803720"/>
                <a:gd name="connsiteX11" fmla="*/ 589780 w 619080"/>
                <a:gd name="connsiteY11" fmla="*/ 541130 h 803720"/>
                <a:gd name="connsiteX12" fmla="*/ 617238 w 619080"/>
                <a:gd name="connsiteY12" fmla="*/ 522825 h 803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9080" h="803720">
                  <a:moveTo>
                    <a:pt x="617238" y="522825"/>
                  </a:moveTo>
                  <a:cubicBezTo>
                    <a:pt x="534865" y="382486"/>
                    <a:pt x="455543" y="226893"/>
                    <a:pt x="351815" y="101808"/>
                  </a:cubicBezTo>
                  <a:cubicBezTo>
                    <a:pt x="290798" y="28588"/>
                    <a:pt x="159611" y="-35480"/>
                    <a:pt x="65035" y="22486"/>
                  </a:cubicBezTo>
                  <a:cubicBezTo>
                    <a:pt x="-23440" y="77401"/>
                    <a:pt x="967" y="263503"/>
                    <a:pt x="10119" y="348927"/>
                  </a:cubicBezTo>
                  <a:cubicBezTo>
                    <a:pt x="31476" y="510622"/>
                    <a:pt x="95544" y="660114"/>
                    <a:pt x="177916" y="797402"/>
                  </a:cubicBezTo>
                  <a:cubicBezTo>
                    <a:pt x="187069" y="812656"/>
                    <a:pt x="214526" y="797402"/>
                    <a:pt x="205373" y="782147"/>
                  </a:cubicBezTo>
                  <a:cubicBezTo>
                    <a:pt x="144356" y="681469"/>
                    <a:pt x="92493" y="574690"/>
                    <a:pt x="61984" y="458757"/>
                  </a:cubicBezTo>
                  <a:cubicBezTo>
                    <a:pt x="46730" y="397740"/>
                    <a:pt x="34527" y="333673"/>
                    <a:pt x="34527" y="269605"/>
                  </a:cubicBezTo>
                  <a:cubicBezTo>
                    <a:pt x="31476" y="211639"/>
                    <a:pt x="25373" y="89605"/>
                    <a:pt x="80289" y="52995"/>
                  </a:cubicBezTo>
                  <a:cubicBezTo>
                    <a:pt x="138255" y="13334"/>
                    <a:pt x="226730" y="43842"/>
                    <a:pt x="278594" y="80452"/>
                  </a:cubicBezTo>
                  <a:cubicBezTo>
                    <a:pt x="330458" y="117063"/>
                    <a:pt x="360967" y="175029"/>
                    <a:pt x="394526" y="226893"/>
                  </a:cubicBezTo>
                  <a:cubicBezTo>
                    <a:pt x="461645" y="330622"/>
                    <a:pt x="525712" y="437402"/>
                    <a:pt x="589780" y="541130"/>
                  </a:cubicBezTo>
                  <a:cubicBezTo>
                    <a:pt x="598933" y="556385"/>
                    <a:pt x="626391" y="541130"/>
                    <a:pt x="617238" y="522825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8" name="图形 114">
              <a:extLst>
                <a:ext uri="{FF2B5EF4-FFF2-40B4-BE49-F238E27FC236}">
                  <a16:creationId xmlns:a16="http://schemas.microsoft.com/office/drawing/2014/main" id="{C341320D-89FE-47B8-B0CE-21600F91AB35}"/>
                </a:ext>
              </a:extLst>
            </p:cNvPr>
            <p:cNvGrpSpPr/>
            <p:nvPr/>
          </p:nvGrpSpPr>
          <p:grpSpPr>
            <a:xfrm>
              <a:off x="12851822" y="4311888"/>
              <a:ext cx="685269" cy="621272"/>
              <a:chOff x="12851822" y="4311888"/>
              <a:chExt cx="685269" cy="621272"/>
            </a:xfrm>
          </p:grpSpPr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3306938E-E18D-4C2C-9663-3D1E06411399}"/>
                  </a:ext>
                </a:extLst>
              </p:cNvPr>
              <p:cNvSpPr/>
              <p:nvPr/>
            </p:nvSpPr>
            <p:spPr>
              <a:xfrm>
                <a:off x="12883566" y="4384642"/>
                <a:ext cx="653525" cy="548518"/>
              </a:xfrm>
              <a:custGeom>
                <a:avLst/>
                <a:gdLst>
                  <a:gd name="connsiteX0" fmla="*/ 597489 w 653525"/>
                  <a:gd name="connsiteY0" fmla="*/ 140805 h 548518"/>
                  <a:gd name="connsiteX1" fmla="*/ 481557 w 653525"/>
                  <a:gd name="connsiteY1" fmla="*/ 466 h 548518"/>
                  <a:gd name="connsiteX2" fmla="*/ 100201 w 653525"/>
                  <a:gd name="connsiteY2" fmla="*/ 168263 h 548518"/>
                  <a:gd name="connsiteX3" fmla="*/ 8676 w 653525"/>
                  <a:gd name="connsiteY3" fmla="*/ 329958 h 548518"/>
                  <a:gd name="connsiteX4" fmla="*/ 149015 w 653525"/>
                  <a:gd name="connsiteY4" fmla="*/ 540466 h 548518"/>
                  <a:gd name="connsiteX5" fmla="*/ 383929 w 653525"/>
                  <a:gd name="connsiteY5" fmla="*/ 479449 h 548518"/>
                  <a:gd name="connsiteX6" fmla="*/ 545625 w 653525"/>
                  <a:gd name="connsiteY6" fmla="*/ 394025 h 548518"/>
                  <a:gd name="connsiteX7" fmla="*/ 634099 w 653525"/>
                  <a:gd name="connsiteY7" fmla="*/ 336059 h 548518"/>
                  <a:gd name="connsiteX8" fmla="*/ 597489 w 653525"/>
                  <a:gd name="connsiteY8" fmla="*/ 140805 h 548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53525" h="548518">
                    <a:moveTo>
                      <a:pt x="597489" y="140805"/>
                    </a:moveTo>
                    <a:cubicBezTo>
                      <a:pt x="573082" y="98093"/>
                      <a:pt x="533422" y="15720"/>
                      <a:pt x="481557" y="466"/>
                    </a:cubicBezTo>
                    <a:cubicBezTo>
                      <a:pt x="478506" y="-8686"/>
                      <a:pt x="188675" y="119449"/>
                      <a:pt x="100201" y="168263"/>
                    </a:cubicBezTo>
                    <a:cubicBezTo>
                      <a:pt x="20879" y="210974"/>
                      <a:pt x="-18782" y="235381"/>
                      <a:pt x="8676" y="329958"/>
                    </a:cubicBezTo>
                    <a:cubicBezTo>
                      <a:pt x="30032" y="400127"/>
                      <a:pt x="75795" y="509958"/>
                      <a:pt x="149015" y="540466"/>
                    </a:cubicBezTo>
                    <a:cubicBezTo>
                      <a:pt x="213083" y="570975"/>
                      <a:pt x="325964" y="506907"/>
                      <a:pt x="383929" y="479449"/>
                    </a:cubicBezTo>
                    <a:cubicBezTo>
                      <a:pt x="438845" y="455042"/>
                      <a:pt x="493760" y="424534"/>
                      <a:pt x="545625" y="394025"/>
                    </a:cubicBezTo>
                    <a:cubicBezTo>
                      <a:pt x="576133" y="378771"/>
                      <a:pt x="612743" y="360466"/>
                      <a:pt x="634099" y="336059"/>
                    </a:cubicBezTo>
                    <a:cubicBezTo>
                      <a:pt x="682913" y="271991"/>
                      <a:pt x="627997" y="195720"/>
                      <a:pt x="597489" y="14080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98F430C6-3E4D-489D-AAEB-7CF94DA6B265}"/>
                  </a:ext>
                </a:extLst>
              </p:cNvPr>
              <p:cNvSpPr/>
              <p:nvPr/>
            </p:nvSpPr>
            <p:spPr>
              <a:xfrm>
                <a:off x="12851822" y="4311888"/>
                <a:ext cx="636777" cy="449708"/>
              </a:xfrm>
              <a:custGeom>
                <a:avLst/>
                <a:gdLst>
                  <a:gd name="connsiteX0" fmla="*/ 16013 w 636777"/>
                  <a:gd name="connsiteY0" fmla="*/ 231865 h 449708"/>
                  <a:gd name="connsiteX1" fmla="*/ 28216 w 636777"/>
                  <a:gd name="connsiteY1" fmla="*/ 448475 h 449708"/>
                  <a:gd name="connsiteX2" fmla="*/ 635335 w 636777"/>
                  <a:gd name="connsiteY2" fmla="*/ 158644 h 449708"/>
                  <a:gd name="connsiteX3" fmla="*/ 501098 w 636777"/>
                  <a:gd name="connsiteY3" fmla="*/ 0 h 449708"/>
                  <a:gd name="connsiteX4" fmla="*/ 16013 w 636777"/>
                  <a:gd name="connsiteY4" fmla="*/ 231865 h 449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6777" h="449708">
                    <a:moveTo>
                      <a:pt x="16013" y="231865"/>
                    </a:moveTo>
                    <a:cubicBezTo>
                      <a:pt x="-8394" y="256271"/>
                      <a:pt x="-5343" y="427119"/>
                      <a:pt x="28216" y="448475"/>
                    </a:cubicBezTo>
                    <a:cubicBezTo>
                      <a:pt x="64826" y="469831"/>
                      <a:pt x="620081" y="207458"/>
                      <a:pt x="635335" y="158644"/>
                    </a:cubicBezTo>
                    <a:cubicBezTo>
                      <a:pt x="650589" y="109831"/>
                      <a:pt x="540758" y="0"/>
                      <a:pt x="501098" y="0"/>
                    </a:cubicBezTo>
                    <a:cubicBezTo>
                      <a:pt x="458386" y="3051"/>
                      <a:pt x="95334" y="155593"/>
                      <a:pt x="16013" y="231865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2D32CA3F-DFB6-4528-A782-C543DD3D4720}"/>
                  </a:ext>
                </a:extLst>
              </p:cNvPr>
              <p:cNvSpPr/>
              <p:nvPr/>
            </p:nvSpPr>
            <p:spPr>
              <a:xfrm>
                <a:off x="12975327" y="4693957"/>
                <a:ext cx="62642" cy="62642"/>
              </a:xfrm>
              <a:custGeom>
                <a:avLst/>
                <a:gdLst>
                  <a:gd name="connsiteX0" fmla="*/ 60305 w 62642"/>
                  <a:gd name="connsiteY0" fmla="*/ 17592 h 62642"/>
                  <a:gd name="connsiteX1" fmla="*/ 17592 w 62642"/>
                  <a:gd name="connsiteY1" fmla="*/ 2338 h 62642"/>
                  <a:gd name="connsiteX2" fmla="*/ 2338 w 62642"/>
                  <a:gd name="connsiteY2" fmla="*/ 45050 h 62642"/>
                  <a:gd name="connsiteX3" fmla="*/ 45051 w 62642"/>
                  <a:gd name="connsiteY3" fmla="*/ 60304 h 62642"/>
                  <a:gd name="connsiteX4" fmla="*/ 60305 w 62642"/>
                  <a:gd name="connsiteY4" fmla="*/ 17592 h 62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42" h="62642">
                    <a:moveTo>
                      <a:pt x="60305" y="17592"/>
                    </a:moveTo>
                    <a:cubicBezTo>
                      <a:pt x="54203" y="2338"/>
                      <a:pt x="32846" y="-3764"/>
                      <a:pt x="17592" y="2338"/>
                    </a:cubicBezTo>
                    <a:cubicBezTo>
                      <a:pt x="2338" y="11491"/>
                      <a:pt x="-3763" y="29796"/>
                      <a:pt x="2338" y="45050"/>
                    </a:cubicBezTo>
                    <a:cubicBezTo>
                      <a:pt x="8440" y="60304"/>
                      <a:pt x="29796" y="66406"/>
                      <a:pt x="45051" y="60304"/>
                    </a:cubicBezTo>
                    <a:cubicBezTo>
                      <a:pt x="60305" y="54203"/>
                      <a:pt x="66406" y="35898"/>
                      <a:pt x="60305" y="17592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BE50FD91-BEF8-4DBA-A70B-D57870B6C6BB}"/>
                  </a:ext>
                </a:extLst>
              </p:cNvPr>
              <p:cNvSpPr/>
              <p:nvPr/>
            </p:nvSpPr>
            <p:spPr>
              <a:xfrm>
                <a:off x="13338378" y="4520058"/>
                <a:ext cx="63955" cy="62642"/>
              </a:xfrm>
              <a:custGeom>
                <a:avLst/>
                <a:gdLst>
                  <a:gd name="connsiteX0" fmla="*/ 60304 w 63955"/>
                  <a:gd name="connsiteY0" fmla="*/ 17592 h 62642"/>
                  <a:gd name="connsiteX1" fmla="*/ 17593 w 63955"/>
                  <a:gd name="connsiteY1" fmla="*/ 2338 h 62642"/>
                  <a:gd name="connsiteX2" fmla="*/ 2338 w 63955"/>
                  <a:gd name="connsiteY2" fmla="*/ 45050 h 62642"/>
                  <a:gd name="connsiteX3" fmla="*/ 45050 w 63955"/>
                  <a:gd name="connsiteY3" fmla="*/ 60304 h 62642"/>
                  <a:gd name="connsiteX4" fmla="*/ 60304 w 63955"/>
                  <a:gd name="connsiteY4" fmla="*/ 17592 h 62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955" h="62642">
                    <a:moveTo>
                      <a:pt x="60304" y="17592"/>
                    </a:moveTo>
                    <a:cubicBezTo>
                      <a:pt x="54202" y="2338"/>
                      <a:pt x="32847" y="-3763"/>
                      <a:pt x="17593" y="2338"/>
                    </a:cubicBezTo>
                    <a:cubicBezTo>
                      <a:pt x="2338" y="8440"/>
                      <a:pt x="-3764" y="29796"/>
                      <a:pt x="2338" y="45050"/>
                    </a:cubicBezTo>
                    <a:cubicBezTo>
                      <a:pt x="8439" y="60304"/>
                      <a:pt x="29796" y="66406"/>
                      <a:pt x="45050" y="60304"/>
                    </a:cubicBezTo>
                    <a:cubicBezTo>
                      <a:pt x="60304" y="54203"/>
                      <a:pt x="69456" y="35897"/>
                      <a:pt x="60304" y="17592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9" name="图形 114">
              <a:extLst>
                <a:ext uri="{FF2B5EF4-FFF2-40B4-BE49-F238E27FC236}">
                  <a16:creationId xmlns:a16="http://schemas.microsoft.com/office/drawing/2014/main" id="{D00793CA-6661-4071-B74F-E641DCF84967}"/>
                </a:ext>
              </a:extLst>
            </p:cNvPr>
            <p:cNvGrpSpPr/>
            <p:nvPr/>
          </p:nvGrpSpPr>
          <p:grpSpPr>
            <a:xfrm>
              <a:off x="12723668" y="3780874"/>
              <a:ext cx="177014" cy="174876"/>
              <a:chOff x="12723668" y="3780874"/>
              <a:chExt cx="177014" cy="174876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79F44C55-37F5-47B9-9F8A-7C7A7C5C4B69}"/>
                  </a:ext>
                </a:extLst>
              </p:cNvPr>
              <p:cNvSpPr/>
              <p:nvPr/>
            </p:nvSpPr>
            <p:spPr>
              <a:xfrm>
                <a:off x="12775209" y="3784091"/>
                <a:ext cx="125472" cy="102340"/>
              </a:xfrm>
              <a:custGeom>
                <a:avLst/>
                <a:gdLst>
                  <a:gd name="connsiteX0" fmla="*/ 123134 w 125472"/>
                  <a:gd name="connsiteY0" fmla="*/ 70169 h 102340"/>
                  <a:gd name="connsiteX1" fmla="*/ 43812 w 125472"/>
                  <a:gd name="connsiteY1" fmla="*/ 9152 h 102340"/>
                  <a:gd name="connsiteX2" fmla="*/ 49913 w 125472"/>
                  <a:gd name="connsiteY2" fmla="*/ 6102 h 102340"/>
                  <a:gd name="connsiteX3" fmla="*/ 34659 w 125472"/>
                  <a:gd name="connsiteY3" fmla="*/ 0 h 102340"/>
                  <a:gd name="connsiteX4" fmla="*/ 1100 w 125472"/>
                  <a:gd name="connsiteY4" fmla="*/ 24407 h 102340"/>
                  <a:gd name="connsiteX5" fmla="*/ 13304 w 125472"/>
                  <a:gd name="connsiteY5" fmla="*/ 54915 h 102340"/>
                  <a:gd name="connsiteX6" fmla="*/ 65168 w 125472"/>
                  <a:gd name="connsiteY6" fmla="*/ 88475 h 102340"/>
                  <a:gd name="connsiteX7" fmla="*/ 107880 w 125472"/>
                  <a:gd name="connsiteY7" fmla="*/ 100678 h 102340"/>
                  <a:gd name="connsiteX8" fmla="*/ 123134 w 125472"/>
                  <a:gd name="connsiteY8" fmla="*/ 70169 h 102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5472" h="102340">
                    <a:moveTo>
                      <a:pt x="123134" y="70169"/>
                    </a:moveTo>
                    <a:cubicBezTo>
                      <a:pt x="107880" y="42712"/>
                      <a:pt x="74321" y="27458"/>
                      <a:pt x="43812" y="9152"/>
                    </a:cubicBezTo>
                    <a:cubicBezTo>
                      <a:pt x="40761" y="6102"/>
                      <a:pt x="49913" y="9152"/>
                      <a:pt x="49913" y="6102"/>
                    </a:cubicBezTo>
                    <a:cubicBezTo>
                      <a:pt x="43812" y="3051"/>
                      <a:pt x="40761" y="3051"/>
                      <a:pt x="34659" y="0"/>
                    </a:cubicBezTo>
                    <a:cubicBezTo>
                      <a:pt x="19405" y="0"/>
                      <a:pt x="4151" y="9152"/>
                      <a:pt x="1100" y="24407"/>
                    </a:cubicBezTo>
                    <a:cubicBezTo>
                      <a:pt x="-1951" y="42712"/>
                      <a:pt x="1100" y="45763"/>
                      <a:pt x="13304" y="54915"/>
                    </a:cubicBezTo>
                    <a:cubicBezTo>
                      <a:pt x="31609" y="67119"/>
                      <a:pt x="46863" y="79322"/>
                      <a:pt x="65168" y="88475"/>
                    </a:cubicBezTo>
                    <a:cubicBezTo>
                      <a:pt x="77372" y="94576"/>
                      <a:pt x="92626" y="106780"/>
                      <a:pt x="107880" y="100678"/>
                    </a:cubicBezTo>
                    <a:cubicBezTo>
                      <a:pt x="123134" y="97627"/>
                      <a:pt x="129235" y="82373"/>
                      <a:pt x="123134" y="7016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BEC9A058-A313-4A90-A054-2631C00E1F62}"/>
                  </a:ext>
                </a:extLst>
              </p:cNvPr>
              <p:cNvSpPr/>
              <p:nvPr/>
            </p:nvSpPr>
            <p:spPr>
              <a:xfrm>
                <a:off x="12735548" y="3811549"/>
                <a:ext cx="125990" cy="99289"/>
              </a:xfrm>
              <a:custGeom>
                <a:avLst/>
                <a:gdLst>
                  <a:gd name="connsiteX0" fmla="*/ 123134 w 125990"/>
                  <a:gd name="connsiteY0" fmla="*/ 70169 h 99289"/>
                  <a:gd name="connsiteX1" fmla="*/ 59066 w 125990"/>
                  <a:gd name="connsiteY1" fmla="*/ 9152 h 99289"/>
                  <a:gd name="connsiteX2" fmla="*/ 49914 w 125990"/>
                  <a:gd name="connsiteY2" fmla="*/ 6102 h 99289"/>
                  <a:gd name="connsiteX3" fmla="*/ 34660 w 125990"/>
                  <a:gd name="connsiteY3" fmla="*/ 0 h 99289"/>
                  <a:gd name="connsiteX4" fmla="*/ 1100 w 125990"/>
                  <a:gd name="connsiteY4" fmla="*/ 18305 h 99289"/>
                  <a:gd name="connsiteX5" fmla="*/ 13304 w 125990"/>
                  <a:gd name="connsiteY5" fmla="*/ 51864 h 99289"/>
                  <a:gd name="connsiteX6" fmla="*/ 65168 w 125990"/>
                  <a:gd name="connsiteY6" fmla="*/ 85424 h 99289"/>
                  <a:gd name="connsiteX7" fmla="*/ 107880 w 125990"/>
                  <a:gd name="connsiteY7" fmla="*/ 97627 h 99289"/>
                  <a:gd name="connsiteX8" fmla="*/ 123134 w 125990"/>
                  <a:gd name="connsiteY8" fmla="*/ 70169 h 99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5990" h="99289">
                    <a:moveTo>
                      <a:pt x="123134" y="70169"/>
                    </a:moveTo>
                    <a:cubicBezTo>
                      <a:pt x="110931" y="33559"/>
                      <a:pt x="86525" y="30508"/>
                      <a:pt x="59066" y="9152"/>
                    </a:cubicBezTo>
                    <a:cubicBezTo>
                      <a:pt x="56016" y="6102"/>
                      <a:pt x="52965" y="6102"/>
                      <a:pt x="49914" y="6102"/>
                    </a:cubicBezTo>
                    <a:cubicBezTo>
                      <a:pt x="43812" y="3051"/>
                      <a:pt x="40762" y="3051"/>
                      <a:pt x="34660" y="0"/>
                    </a:cubicBezTo>
                    <a:cubicBezTo>
                      <a:pt x="19406" y="0"/>
                      <a:pt x="4151" y="3051"/>
                      <a:pt x="1100" y="18305"/>
                    </a:cubicBezTo>
                    <a:cubicBezTo>
                      <a:pt x="-1951" y="36610"/>
                      <a:pt x="1100" y="42712"/>
                      <a:pt x="13304" y="51864"/>
                    </a:cubicBezTo>
                    <a:cubicBezTo>
                      <a:pt x="31609" y="64068"/>
                      <a:pt x="46863" y="76271"/>
                      <a:pt x="65168" y="85424"/>
                    </a:cubicBezTo>
                    <a:cubicBezTo>
                      <a:pt x="77372" y="91525"/>
                      <a:pt x="92626" y="103729"/>
                      <a:pt x="107880" y="97627"/>
                    </a:cubicBezTo>
                    <a:cubicBezTo>
                      <a:pt x="126185" y="94576"/>
                      <a:pt x="129236" y="82373"/>
                      <a:pt x="123134" y="70169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DDF63720-4A41-45E7-8598-6AF63A5A431C}"/>
                  </a:ext>
                </a:extLst>
              </p:cNvPr>
              <p:cNvSpPr/>
              <p:nvPr/>
            </p:nvSpPr>
            <p:spPr>
              <a:xfrm>
                <a:off x="12727157" y="3847305"/>
                <a:ext cx="103963" cy="97093"/>
              </a:xfrm>
              <a:custGeom>
                <a:avLst/>
                <a:gdLst>
                  <a:gd name="connsiteX0" fmla="*/ 101017 w 103963"/>
                  <a:gd name="connsiteY0" fmla="*/ 64922 h 97093"/>
                  <a:gd name="connsiteX1" fmla="*/ 30847 w 103963"/>
                  <a:gd name="connsiteY1" fmla="*/ 3905 h 97093"/>
                  <a:gd name="connsiteX2" fmla="*/ 24745 w 103963"/>
                  <a:gd name="connsiteY2" fmla="*/ 854 h 97093"/>
                  <a:gd name="connsiteX3" fmla="*/ 27796 w 103963"/>
                  <a:gd name="connsiteY3" fmla="*/ 3905 h 97093"/>
                  <a:gd name="connsiteX4" fmla="*/ 339 w 103963"/>
                  <a:gd name="connsiteY4" fmla="*/ 25261 h 97093"/>
                  <a:gd name="connsiteX5" fmla="*/ 24745 w 103963"/>
                  <a:gd name="connsiteY5" fmla="*/ 58820 h 97093"/>
                  <a:gd name="connsiteX6" fmla="*/ 52203 w 103963"/>
                  <a:gd name="connsiteY6" fmla="*/ 83227 h 97093"/>
                  <a:gd name="connsiteX7" fmla="*/ 88813 w 103963"/>
                  <a:gd name="connsiteY7" fmla="*/ 95430 h 97093"/>
                  <a:gd name="connsiteX8" fmla="*/ 101017 w 103963"/>
                  <a:gd name="connsiteY8" fmla="*/ 64922 h 97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3963" h="97093">
                    <a:moveTo>
                      <a:pt x="101017" y="64922"/>
                    </a:moveTo>
                    <a:cubicBezTo>
                      <a:pt x="88813" y="31363"/>
                      <a:pt x="55254" y="22210"/>
                      <a:pt x="30847" y="3905"/>
                    </a:cubicBezTo>
                    <a:cubicBezTo>
                      <a:pt x="27796" y="854"/>
                      <a:pt x="27796" y="854"/>
                      <a:pt x="24745" y="854"/>
                    </a:cubicBezTo>
                    <a:cubicBezTo>
                      <a:pt x="21694" y="-2197"/>
                      <a:pt x="33898" y="3905"/>
                      <a:pt x="27796" y="3905"/>
                    </a:cubicBezTo>
                    <a:cubicBezTo>
                      <a:pt x="15593" y="854"/>
                      <a:pt x="339" y="10007"/>
                      <a:pt x="339" y="25261"/>
                    </a:cubicBezTo>
                    <a:cubicBezTo>
                      <a:pt x="-2712" y="40515"/>
                      <a:pt x="15593" y="49668"/>
                      <a:pt x="24745" y="58820"/>
                    </a:cubicBezTo>
                    <a:cubicBezTo>
                      <a:pt x="40000" y="71024"/>
                      <a:pt x="36949" y="74075"/>
                      <a:pt x="52203" y="83227"/>
                    </a:cubicBezTo>
                    <a:cubicBezTo>
                      <a:pt x="61356" y="89329"/>
                      <a:pt x="76610" y="101532"/>
                      <a:pt x="88813" y="95430"/>
                    </a:cubicBezTo>
                    <a:cubicBezTo>
                      <a:pt x="104068" y="86278"/>
                      <a:pt x="107119" y="74075"/>
                      <a:pt x="101017" y="6492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4D0B1551-4C6B-4E7D-A425-E7B97FCEEA57}"/>
                  </a:ext>
                </a:extLst>
              </p:cNvPr>
              <p:cNvSpPr/>
              <p:nvPr/>
            </p:nvSpPr>
            <p:spPr>
              <a:xfrm>
                <a:off x="12724445" y="3890871"/>
                <a:ext cx="73220" cy="64879"/>
              </a:xfrm>
              <a:custGeom>
                <a:avLst/>
                <a:gdLst>
                  <a:gd name="connsiteX0" fmla="*/ 73220 w 73220"/>
                  <a:gd name="connsiteY0" fmla="*/ 42712 h 64879"/>
                  <a:gd name="connsiteX1" fmla="*/ 36611 w 73220"/>
                  <a:gd name="connsiteY1" fmla="*/ 6102 h 64879"/>
                  <a:gd name="connsiteX2" fmla="*/ 30508 w 73220"/>
                  <a:gd name="connsiteY2" fmla="*/ 3051 h 64879"/>
                  <a:gd name="connsiteX3" fmla="*/ 21356 w 73220"/>
                  <a:gd name="connsiteY3" fmla="*/ 0 h 64879"/>
                  <a:gd name="connsiteX4" fmla="*/ 0 w 73220"/>
                  <a:gd name="connsiteY4" fmla="*/ 15254 h 64879"/>
                  <a:gd name="connsiteX5" fmla="*/ 18305 w 73220"/>
                  <a:gd name="connsiteY5" fmla="*/ 39661 h 64879"/>
                  <a:gd name="connsiteX6" fmla="*/ 33560 w 73220"/>
                  <a:gd name="connsiteY6" fmla="*/ 54915 h 64879"/>
                  <a:gd name="connsiteX7" fmla="*/ 61017 w 73220"/>
                  <a:gd name="connsiteY7" fmla="*/ 64068 h 64879"/>
                  <a:gd name="connsiteX8" fmla="*/ 73220 w 73220"/>
                  <a:gd name="connsiteY8" fmla="*/ 42712 h 64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3220" h="64879">
                    <a:moveTo>
                      <a:pt x="73220" y="42712"/>
                    </a:moveTo>
                    <a:cubicBezTo>
                      <a:pt x="64068" y="18305"/>
                      <a:pt x="57966" y="18305"/>
                      <a:pt x="36611" y="6102"/>
                    </a:cubicBezTo>
                    <a:cubicBezTo>
                      <a:pt x="33560" y="6102"/>
                      <a:pt x="33560" y="3051"/>
                      <a:pt x="30508" y="3051"/>
                    </a:cubicBezTo>
                    <a:cubicBezTo>
                      <a:pt x="27457" y="0"/>
                      <a:pt x="24406" y="0"/>
                      <a:pt x="21356" y="0"/>
                    </a:cubicBezTo>
                    <a:cubicBezTo>
                      <a:pt x="12203" y="0"/>
                      <a:pt x="3051" y="6102"/>
                      <a:pt x="0" y="15254"/>
                    </a:cubicBezTo>
                    <a:cubicBezTo>
                      <a:pt x="0" y="27458"/>
                      <a:pt x="12203" y="33559"/>
                      <a:pt x="18305" y="39661"/>
                    </a:cubicBezTo>
                    <a:cubicBezTo>
                      <a:pt x="30508" y="48814"/>
                      <a:pt x="24406" y="48814"/>
                      <a:pt x="33560" y="54915"/>
                    </a:cubicBezTo>
                    <a:cubicBezTo>
                      <a:pt x="42712" y="61017"/>
                      <a:pt x="51865" y="67119"/>
                      <a:pt x="61017" y="64068"/>
                    </a:cubicBezTo>
                    <a:cubicBezTo>
                      <a:pt x="73220" y="61017"/>
                      <a:pt x="73220" y="51864"/>
                      <a:pt x="73220" y="42712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0EB86ACC-BC5C-4C7C-B5F9-7FF7EF6CA276}"/>
                  </a:ext>
                </a:extLst>
              </p:cNvPr>
              <p:cNvSpPr/>
              <p:nvPr/>
            </p:nvSpPr>
            <p:spPr>
              <a:xfrm>
                <a:off x="12731446" y="3780874"/>
                <a:ext cx="141727" cy="134404"/>
              </a:xfrm>
              <a:custGeom>
                <a:avLst/>
                <a:gdLst>
                  <a:gd name="connsiteX0" fmla="*/ 111982 w 141727"/>
                  <a:gd name="connsiteY0" fmla="*/ 134404 h 134404"/>
                  <a:gd name="connsiteX1" fmla="*/ 29610 w 141727"/>
                  <a:gd name="connsiteY1" fmla="*/ 94743 h 134404"/>
                  <a:gd name="connsiteX2" fmla="*/ 5202 w 141727"/>
                  <a:gd name="connsiteY2" fmla="*/ 42879 h 134404"/>
                  <a:gd name="connsiteX3" fmla="*/ 38762 w 141727"/>
                  <a:gd name="connsiteY3" fmla="*/ 24574 h 134404"/>
                  <a:gd name="connsiteX4" fmla="*/ 44864 w 141727"/>
                  <a:gd name="connsiteY4" fmla="*/ 9320 h 134404"/>
                  <a:gd name="connsiteX5" fmla="*/ 44864 w 141727"/>
                  <a:gd name="connsiteY5" fmla="*/ 6269 h 134404"/>
                  <a:gd name="connsiteX6" fmla="*/ 57067 w 141727"/>
                  <a:gd name="connsiteY6" fmla="*/ 167 h 134404"/>
                  <a:gd name="connsiteX7" fmla="*/ 139440 w 141727"/>
                  <a:gd name="connsiteY7" fmla="*/ 42879 h 134404"/>
                  <a:gd name="connsiteX8" fmla="*/ 139440 w 141727"/>
                  <a:gd name="connsiteY8" fmla="*/ 52031 h 134404"/>
                  <a:gd name="connsiteX9" fmla="*/ 130287 w 141727"/>
                  <a:gd name="connsiteY9" fmla="*/ 52031 h 134404"/>
                  <a:gd name="connsiteX10" fmla="*/ 57067 w 141727"/>
                  <a:gd name="connsiteY10" fmla="*/ 12370 h 134404"/>
                  <a:gd name="connsiteX11" fmla="*/ 54016 w 141727"/>
                  <a:gd name="connsiteY11" fmla="*/ 15421 h 134404"/>
                  <a:gd name="connsiteX12" fmla="*/ 50965 w 141727"/>
                  <a:gd name="connsiteY12" fmla="*/ 18472 h 134404"/>
                  <a:gd name="connsiteX13" fmla="*/ 44864 w 141727"/>
                  <a:gd name="connsiteY13" fmla="*/ 33726 h 134404"/>
                  <a:gd name="connsiteX14" fmla="*/ 127236 w 141727"/>
                  <a:gd name="connsiteY14" fmla="*/ 97794 h 134404"/>
                  <a:gd name="connsiteX15" fmla="*/ 136389 w 141727"/>
                  <a:gd name="connsiteY15" fmla="*/ 109998 h 134404"/>
                  <a:gd name="connsiteX16" fmla="*/ 130287 w 141727"/>
                  <a:gd name="connsiteY16" fmla="*/ 128303 h 134404"/>
                  <a:gd name="connsiteX17" fmla="*/ 111982 w 141727"/>
                  <a:gd name="connsiteY17" fmla="*/ 134404 h 134404"/>
                  <a:gd name="connsiteX18" fmla="*/ 38762 w 141727"/>
                  <a:gd name="connsiteY18" fmla="*/ 33726 h 134404"/>
                  <a:gd name="connsiteX19" fmla="*/ 14356 w 141727"/>
                  <a:gd name="connsiteY19" fmla="*/ 45930 h 134404"/>
                  <a:gd name="connsiteX20" fmla="*/ 35711 w 141727"/>
                  <a:gd name="connsiteY20" fmla="*/ 82540 h 134404"/>
                  <a:gd name="connsiteX21" fmla="*/ 121135 w 141727"/>
                  <a:gd name="connsiteY21" fmla="*/ 116099 h 134404"/>
                  <a:gd name="connsiteX22" fmla="*/ 124185 w 141727"/>
                  <a:gd name="connsiteY22" fmla="*/ 106947 h 134404"/>
                  <a:gd name="connsiteX23" fmla="*/ 121135 w 141727"/>
                  <a:gd name="connsiteY23" fmla="*/ 103896 h 134404"/>
                  <a:gd name="connsiteX24" fmla="*/ 38762 w 141727"/>
                  <a:gd name="connsiteY24" fmla="*/ 33726 h 134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41727" h="134404">
                    <a:moveTo>
                      <a:pt x="111982" y="134404"/>
                    </a:moveTo>
                    <a:cubicBezTo>
                      <a:pt x="87576" y="134404"/>
                      <a:pt x="57067" y="116099"/>
                      <a:pt x="29610" y="94743"/>
                    </a:cubicBezTo>
                    <a:cubicBezTo>
                      <a:pt x="-3950" y="70336"/>
                      <a:pt x="-3950" y="61184"/>
                      <a:pt x="5202" y="42879"/>
                    </a:cubicBezTo>
                    <a:cubicBezTo>
                      <a:pt x="11304" y="27625"/>
                      <a:pt x="29610" y="24574"/>
                      <a:pt x="38762" y="24574"/>
                    </a:cubicBezTo>
                    <a:cubicBezTo>
                      <a:pt x="38762" y="18472"/>
                      <a:pt x="41813" y="15421"/>
                      <a:pt x="44864" y="9320"/>
                    </a:cubicBezTo>
                    <a:lnTo>
                      <a:pt x="44864" y="6269"/>
                    </a:lnTo>
                    <a:cubicBezTo>
                      <a:pt x="47914" y="3218"/>
                      <a:pt x="50965" y="167"/>
                      <a:pt x="57067" y="167"/>
                    </a:cubicBezTo>
                    <a:cubicBezTo>
                      <a:pt x="81474" y="-2884"/>
                      <a:pt x="133338" y="36777"/>
                      <a:pt x="139440" y="42879"/>
                    </a:cubicBezTo>
                    <a:cubicBezTo>
                      <a:pt x="142491" y="45930"/>
                      <a:pt x="142491" y="48981"/>
                      <a:pt x="139440" y="52031"/>
                    </a:cubicBezTo>
                    <a:cubicBezTo>
                      <a:pt x="136389" y="55082"/>
                      <a:pt x="133338" y="55082"/>
                      <a:pt x="130287" y="52031"/>
                    </a:cubicBezTo>
                    <a:cubicBezTo>
                      <a:pt x="108931" y="36777"/>
                      <a:pt x="72321" y="9320"/>
                      <a:pt x="57067" y="12370"/>
                    </a:cubicBezTo>
                    <a:cubicBezTo>
                      <a:pt x="54016" y="12370"/>
                      <a:pt x="54016" y="12370"/>
                      <a:pt x="54016" y="15421"/>
                    </a:cubicBezTo>
                    <a:lnTo>
                      <a:pt x="50965" y="18472"/>
                    </a:lnTo>
                    <a:cubicBezTo>
                      <a:pt x="47914" y="24574"/>
                      <a:pt x="44864" y="27625"/>
                      <a:pt x="44864" y="33726"/>
                    </a:cubicBezTo>
                    <a:cubicBezTo>
                      <a:pt x="47914" y="48981"/>
                      <a:pt x="75372" y="70336"/>
                      <a:pt x="127236" y="97794"/>
                    </a:cubicBezTo>
                    <a:cubicBezTo>
                      <a:pt x="127236" y="97794"/>
                      <a:pt x="133338" y="100845"/>
                      <a:pt x="136389" y="109998"/>
                    </a:cubicBezTo>
                    <a:cubicBezTo>
                      <a:pt x="136389" y="116099"/>
                      <a:pt x="136389" y="122201"/>
                      <a:pt x="130287" y="128303"/>
                    </a:cubicBezTo>
                    <a:cubicBezTo>
                      <a:pt x="127236" y="131353"/>
                      <a:pt x="121135" y="134404"/>
                      <a:pt x="111982" y="134404"/>
                    </a:cubicBezTo>
                    <a:close/>
                    <a:moveTo>
                      <a:pt x="38762" y="33726"/>
                    </a:moveTo>
                    <a:cubicBezTo>
                      <a:pt x="29610" y="33726"/>
                      <a:pt x="17406" y="39828"/>
                      <a:pt x="14356" y="45930"/>
                    </a:cubicBezTo>
                    <a:cubicBezTo>
                      <a:pt x="8253" y="58133"/>
                      <a:pt x="8253" y="61184"/>
                      <a:pt x="35711" y="82540"/>
                    </a:cubicBezTo>
                    <a:cubicBezTo>
                      <a:pt x="78423" y="116099"/>
                      <a:pt x="111982" y="128303"/>
                      <a:pt x="121135" y="116099"/>
                    </a:cubicBezTo>
                    <a:cubicBezTo>
                      <a:pt x="124185" y="113048"/>
                      <a:pt x="127236" y="109998"/>
                      <a:pt x="124185" y="106947"/>
                    </a:cubicBezTo>
                    <a:cubicBezTo>
                      <a:pt x="124185" y="103896"/>
                      <a:pt x="121135" y="103896"/>
                      <a:pt x="121135" y="103896"/>
                    </a:cubicBezTo>
                    <a:cubicBezTo>
                      <a:pt x="57067" y="67286"/>
                      <a:pt x="41813" y="45930"/>
                      <a:pt x="38762" y="33726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46C833F8-2335-43F3-B159-829307086DD0}"/>
                  </a:ext>
                </a:extLst>
              </p:cNvPr>
              <p:cNvSpPr/>
              <p:nvPr/>
            </p:nvSpPr>
            <p:spPr>
              <a:xfrm>
                <a:off x="12723668" y="3845108"/>
                <a:ext cx="120957" cy="100677"/>
              </a:xfrm>
              <a:custGeom>
                <a:avLst/>
                <a:gdLst>
                  <a:gd name="connsiteX0" fmla="*/ 92303 w 120957"/>
                  <a:gd name="connsiteY0" fmla="*/ 100678 h 100677"/>
                  <a:gd name="connsiteX1" fmla="*/ 89252 w 120957"/>
                  <a:gd name="connsiteY1" fmla="*/ 100678 h 100677"/>
                  <a:gd name="connsiteX2" fmla="*/ 16032 w 120957"/>
                  <a:gd name="connsiteY2" fmla="*/ 51864 h 100677"/>
                  <a:gd name="connsiteX3" fmla="*/ 778 w 120957"/>
                  <a:gd name="connsiteY3" fmla="*/ 18305 h 100677"/>
                  <a:gd name="connsiteX4" fmla="*/ 16032 w 120957"/>
                  <a:gd name="connsiteY4" fmla="*/ 0 h 100677"/>
                  <a:gd name="connsiteX5" fmla="*/ 25184 w 120957"/>
                  <a:gd name="connsiteY5" fmla="*/ 3051 h 100677"/>
                  <a:gd name="connsiteX6" fmla="*/ 22134 w 120957"/>
                  <a:gd name="connsiteY6" fmla="*/ 12203 h 100677"/>
                  <a:gd name="connsiteX7" fmla="*/ 22134 w 120957"/>
                  <a:gd name="connsiteY7" fmla="*/ 12203 h 100677"/>
                  <a:gd name="connsiteX8" fmla="*/ 16032 w 120957"/>
                  <a:gd name="connsiteY8" fmla="*/ 21356 h 100677"/>
                  <a:gd name="connsiteX9" fmla="*/ 28235 w 120957"/>
                  <a:gd name="connsiteY9" fmla="*/ 45763 h 100677"/>
                  <a:gd name="connsiteX10" fmla="*/ 98405 w 120957"/>
                  <a:gd name="connsiteY10" fmla="*/ 91525 h 100677"/>
                  <a:gd name="connsiteX11" fmla="*/ 104506 w 120957"/>
                  <a:gd name="connsiteY11" fmla="*/ 88475 h 100677"/>
                  <a:gd name="connsiteX12" fmla="*/ 107557 w 120957"/>
                  <a:gd name="connsiteY12" fmla="*/ 70169 h 100677"/>
                  <a:gd name="connsiteX13" fmla="*/ 110608 w 120957"/>
                  <a:gd name="connsiteY13" fmla="*/ 61017 h 100677"/>
                  <a:gd name="connsiteX14" fmla="*/ 119760 w 120957"/>
                  <a:gd name="connsiteY14" fmla="*/ 64068 h 100677"/>
                  <a:gd name="connsiteX15" fmla="*/ 113659 w 120957"/>
                  <a:gd name="connsiteY15" fmla="*/ 94576 h 100677"/>
                  <a:gd name="connsiteX16" fmla="*/ 92303 w 120957"/>
                  <a:gd name="connsiteY16" fmla="*/ 100678 h 100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0957" h="100677">
                    <a:moveTo>
                      <a:pt x="92303" y="100678"/>
                    </a:moveTo>
                    <a:cubicBezTo>
                      <a:pt x="92303" y="100678"/>
                      <a:pt x="89252" y="100678"/>
                      <a:pt x="89252" y="100678"/>
                    </a:cubicBezTo>
                    <a:cubicBezTo>
                      <a:pt x="73998" y="97627"/>
                      <a:pt x="46540" y="82373"/>
                      <a:pt x="16032" y="51864"/>
                    </a:cubicBezTo>
                    <a:cubicBezTo>
                      <a:pt x="3829" y="39661"/>
                      <a:pt x="-2274" y="27458"/>
                      <a:pt x="778" y="18305"/>
                    </a:cubicBezTo>
                    <a:cubicBezTo>
                      <a:pt x="3829" y="6102"/>
                      <a:pt x="12981" y="0"/>
                      <a:pt x="16032" y="0"/>
                    </a:cubicBezTo>
                    <a:cubicBezTo>
                      <a:pt x="19083" y="0"/>
                      <a:pt x="22134" y="0"/>
                      <a:pt x="25184" y="3051"/>
                    </a:cubicBezTo>
                    <a:cubicBezTo>
                      <a:pt x="25184" y="6102"/>
                      <a:pt x="25184" y="9152"/>
                      <a:pt x="22134" y="12203"/>
                    </a:cubicBezTo>
                    <a:lnTo>
                      <a:pt x="22134" y="12203"/>
                    </a:lnTo>
                    <a:cubicBezTo>
                      <a:pt x="22134" y="12203"/>
                      <a:pt x="16032" y="15254"/>
                      <a:pt x="16032" y="21356"/>
                    </a:cubicBezTo>
                    <a:cubicBezTo>
                      <a:pt x="16032" y="27458"/>
                      <a:pt x="19083" y="36610"/>
                      <a:pt x="28235" y="45763"/>
                    </a:cubicBezTo>
                    <a:cubicBezTo>
                      <a:pt x="58743" y="76271"/>
                      <a:pt x="83151" y="88475"/>
                      <a:pt x="98405" y="91525"/>
                    </a:cubicBezTo>
                    <a:cubicBezTo>
                      <a:pt x="101455" y="91525"/>
                      <a:pt x="101455" y="91525"/>
                      <a:pt x="104506" y="88475"/>
                    </a:cubicBezTo>
                    <a:cubicBezTo>
                      <a:pt x="107557" y="82373"/>
                      <a:pt x="110608" y="73220"/>
                      <a:pt x="107557" y="70169"/>
                    </a:cubicBezTo>
                    <a:cubicBezTo>
                      <a:pt x="107557" y="67119"/>
                      <a:pt x="107557" y="64068"/>
                      <a:pt x="110608" y="61017"/>
                    </a:cubicBezTo>
                    <a:cubicBezTo>
                      <a:pt x="113659" y="61017"/>
                      <a:pt x="116709" y="61017"/>
                      <a:pt x="119760" y="64068"/>
                    </a:cubicBezTo>
                    <a:cubicBezTo>
                      <a:pt x="122811" y="73220"/>
                      <a:pt x="119760" y="85424"/>
                      <a:pt x="113659" y="94576"/>
                    </a:cubicBezTo>
                    <a:cubicBezTo>
                      <a:pt x="101455" y="97627"/>
                      <a:pt x="95354" y="100678"/>
                      <a:pt x="92303" y="10067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53408E86-B548-4CBE-BC88-53011EA1A294}"/>
                </a:ext>
              </a:extLst>
            </p:cNvPr>
            <p:cNvSpPr/>
            <p:nvPr/>
          </p:nvSpPr>
          <p:spPr>
            <a:xfrm>
              <a:off x="12693259" y="3750416"/>
              <a:ext cx="133694" cy="131302"/>
            </a:xfrm>
            <a:custGeom>
              <a:avLst/>
              <a:gdLst>
                <a:gd name="connsiteX0" fmla="*/ 131864 w 133694"/>
                <a:gd name="connsiteY0" fmla="*/ 58082 h 131302"/>
                <a:gd name="connsiteX1" fmla="*/ 49492 w 133694"/>
                <a:gd name="connsiteY1" fmla="*/ 116 h 131302"/>
                <a:gd name="connsiteX2" fmla="*/ 678 w 133694"/>
                <a:gd name="connsiteY2" fmla="*/ 55031 h 131302"/>
                <a:gd name="connsiteX3" fmla="*/ 55593 w 133694"/>
                <a:gd name="connsiteY3" fmla="*/ 58082 h 131302"/>
                <a:gd name="connsiteX4" fmla="*/ 95254 w 133694"/>
                <a:gd name="connsiteY4" fmla="*/ 103845 h 131302"/>
                <a:gd name="connsiteX5" fmla="*/ 104407 w 133694"/>
                <a:gd name="connsiteY5" fmla="*/ 131303 h 131302"/>
                <a:gd name="connsiteX6" fmla="*/ 131864 w 133694"/>
                <a:gd name="connsiteY6" fmla="*/ 58082 h 131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694" h="131302">
                  <a:moveTo>
                    <a:pt x="131864" y="58082"/>
                  </a:moveTo>
                  <a:cubicBezTo>
                    <a:pt x="122712" y="24523"/>
                    <a:pt x="76949" y="3167"/>
                    <a:pt x="49492" y="116"/>
                  </a:cubicBezTo>
                  <a:cubicBezTo>
                    <a:pt x="31186" y="-2935"/>
                    <a:pt x="-5424" y="55031"/>
                    <a:pt x="678" y="55031"/>
                  </a:cubicBezTo>
                  <a:cubicBezTo>
                    <a:pt x="12881" y="58082"/>
                    <a:pt x="43390" y="55031"/>
                    <a:pt x="55593" y="58082"/>
                  </a:cubicBezTo>
                  <a:cubicBezTo>
                    <a:pt x="76949" y="67235"/>
                    <a:pt x="86101" y="82489"/>
                    <a:pt x="95254" y="103845"/>
                  </a:cubicBezTo>
                  <a:cubicBezTo>
                    <a:pt x="98305" y="112998"/>
                    <a:pt x="95254" y="131303"/>
                    <a:pt x="104407" y="131303"/>
                  </a:cubicBezTo>
                  <a:cubicBezTo>
                    <a:pt x="128814" y="131303"/>
                    <a:pt x="137966" y="73337"/>
                    <a:pt x="131864" y="58082"/>
                  </a:cubicBezTo>
                  <a:close/>
                </a:path>
              </a:pathLst>
            </a:custGeom>
            <a:solidFill>
              <a:srgbClr val="F5A39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E6BC90C8-3294-4ECC-B75F-A4741D1CCAE8}"/>
                </a:ext>
              </a:extLst>
            </p:cNvPr>
            <p:cNvSpPr/>
            <p:nvPr/>
          </p:nvSpPr>
          <p:spPr>
            <a:xfrm>
              <a:off x="12706140" y="3752319"/>
              <a:ext cx="126708" cy="141602"/>
            </a:xfrm>
            <a:custGeom>
              <a:avLst/>
              <a:gdLst>
                <a:gd name="connsiteX0" fmla="*/ 97627 w 126708"/>
                <a:gd name="connsiteY0" fmla="*/ 138552 h 141602"/>
                <a:gd name="connsiteX1" fmla="*/ 91525 w 126708"/>
                <a:gd name="connsiteY1" fmla="*/ 138552 h 141602"/>
                <a:gd name="connsiteX2" fmla="*/ 76271 w 126708"/>
                <a:gd name="connsiteY2" fmla="*/ 114145 h 141602"/>
                <a:gd name="connsiteX3" fmla="*/ 45763 w 126708"/>
                <a:gd name="connsiteY3" fmla="*/ 68382 h 141602"/>
                <a:gd name="connsiteX4" fmla="*/ 6102 w 126708"/>
                <a:gd name="connsiteY4" fmla="*/ 89738 h 141602"/>
                <a:gd name="connsiteX5" fmla="*/ 0 w 126708"/>
                <a:gd name="connsiteY5" fmla="*/ 83636 h 141602"/>
                <a:gd name="connsiteX6" fmla="*/ 6102 w 126708"/>
                <a:gd name="connsiteY6" fmla="*/ 77535 h 141602"/>
                <a:gd name="connsiteX7" fmla="*/ 9153 w 126708"/>
                <a:gd name="connsiteY7" fmla="*/ 77535 h 141602"/>
                <a:gd name="connsiteX8" fmla="*/ 42712 w 126708"/>
                <a:gd name="connsiteY8" fmla="*/ 59230 h 141602"/>
                <a:gd name="connsiteX9" fmla="*/ 48814 w 126708"/>
                <a:gd name="connsiteY9" fmla="*/ 56179 h 141602"/>
                <a:gd name="connsiteX10" fmla="*/ 88474 w 126708"/>
                <a:gd name="connsiteY10" fmla="*/ 111094 h 141602"/>
                <a:gd name="connsiteX11" fmla="*/ 94576 w 126708"/>
                <a:gd name="connsiteY11" fmla="*/ 129399 h 141602"/>
                <a:gd name="connsiteX12" fmla="*/ 97627 w 126708"/>
                <a:gd name="connsiteY12" fmla="*/ 129399 h 141602"/>
                <a:gd name="connsiteX13" fmla="*/ 112882 w 126708"/>
                <a:gd name="connsiteY13" fmla="*/ 62281 h 141602"/>
                <a:gd name="connsiteX14" fmla="*/ 36611 w 126708"/>
                <a:gd name="connsiteY14" fmla="*/ 10416 h 141602"/>
                <a:gd name="connsiteX15" fmla="*/ 33560 w 126708"/>
                <a:gd name="connsiteY15" fmla="*/ 4314 h 141602"/>
                <a:gd name="connsiteX16" fmla="*/ 39662 w 126708"/>
                <a:gd name="connsiteY16" fmla="*/ 1264 h 141602"/>
                <a:gd name="connsiteX17" fmla="*/ 125085 w 126708"/>
                <a:gd name="connsiteY17" fmla="*/ 65331 h 141602"/>
                <a:gd name="connsiteX18" fmla="*/ 106780 w 126708"/>
                <a:gd name="connsiteY18" fmla="*/ 141603 h 141602"/>
                <a:gd name="connsiteX19" fmla="*/ 97627 w 126708"/>
                <a:gd name="connsiteY19" fmla="*/ 138552 h 14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6708" h="141602">
                  <a:moveTo>
                    <a:pt x="97627" y="138552"/>
                  </a:moveTo>
                  <a:cubicBezTo>
                    <a:pt x="94576" y="138552"/>
                    <a:pt x="94576" y="138552"/>
                    <a:pt x="91525" y="138552"/>
                  </a:cubicBezTo>
                  <a:cubicBezTo>
                    <a:pt x="82373" y="135501"/>
                    <a:pt x="79322" y="126348"/>
                    <a:pt x="76271" y="114145"/>
                  </a:cubicBezTo>
                  <a:cubicBezTo>
                    <a:pt x="73220" y="98891"/>
                    <a:pt x="67119" y="77535"/>
                    <a:pt x="45763" y="68382"/>
                  </a:cubicBezTo>
                  <a:cubicBezTo>
                    <a:pt x="39662" y="74484"/>
                    <a:pt x="24407" y="89738"/>
                    <a:pt x="6102" y="89738"/>
                  </a:cubicBezTo>
                  <a:cubicBezTo>
                    <a:pt x="3051" y="89738"/>
                    <a:pt x="0" y="86687"/>
                    <a:pt x="0" y="83636"/>
                  </a:cubicBezTo>
                  <a:cubicBezTo>
                    <a:pt x="0" y="80586"/>
                    <a:pt x="3051" y="77535"/>
                    <a:pt x="6102" y="77535"/>
                  </a:cubicBezTo>
                  <a:cubicBezTo>
                    <a:pt x="6102" y="77535"/>
                    <a:pt x="6102" y="77535"/>
                    <a:pt x="9153" y="77535"/>
                  </a:cubicBezTo>
                  <a:cubicBezTo>
                    <a:pt x="21356" y="77535"/>
                    <a:pt x="36611" y="62281"/>
                    <a:pt x="42712" y="59230"/>
                  </a:cubicBezTo>
                  <a:cubicBezTo>
                    <a:pt x="45763" y="56179"/>
                    <a:pt x="45763" y="56179"/>
                    <a:pt x="48814" y="56179"/>
                  </a:cubicBezTo>
                  <a:cubicBezTo>
                    <a:pt x="76271" y="65331"/>
                    <a:pt x="85424" y="92789"/>
                    <a:pt x="88474" y="111094"/>
                  </a:cubicBezTo>
                  <a:cubicBezTo>
                    <a:pt x="91525" y="120247"/>
                    <a:pt x="91525" y="126348"/>
                    <a:pt x="94576" y="129399"/>
                  </a:cubicBezTo>
                  <a:cubicBezTo>
                    <a:pt x="94576" y="129399"/>
                    <a:pt x="97627" y="129399"/>
                    <a:pt x="97627" y="129399"/>
                  </a:cubicBezTo>
                  <a:cubicBezTo>
                    <a:pt x="106780" y="123298"/>
                    <a:pt x="115933" y="95840"/>
                    <a:pt x="112882" y="62281"/>
                  </a:cubicBezTo>
                  <a:cubicBezTo>
                    <a:pt x="106780" y="25670"/>
                    <a:pt x="36611" y="10416"/>
                    <a:pt x="36611" y="10416"/>
                  </a:cubicBezTo>
                  <a:cubicBezTo>
                    <a:pt x="33560" y="10416"/>
                    <a:pt x="30508" y="7365"/>
                    <a:pt x="33560" y="4314"/>
                  </a:cubicBezTo>
                  <a:cubicBezTo>
                    <a:pt x="33560" y="1264"/>
                    <a:pt x="36611" y="-1787"/>
                    <a:pt x="39662" y="1264"/>
                  </a:cubicBezTo>
                  <a:cubicBezTo>
                    <a:pt x="42712" y="1264"/>
                    <a:pt x="118983" y="19569"/>
                    <a:pt x="125085" y="65331"/>
                  </a:cubicBezTo>
                  <a:cubicBezTo>
                    <a:pt x="131187" y="101942"/>
                    <a:pt x="118983" y="132450"/>
                    <a:pt x="106780" y="141603"/>
                  </a:cubicBezTo>
                  <a:cubicBezTo>
                    <a:pt x="103729" y="135501"/>
                    <a:pt x="100679" y="138552"/>
                    <a:pt x="97627" y="138552"/>
                  </a:cubicBezTo>
                  <a:close/>
                </a:path>
              </a:pathLst>
            </a:custGeom>
            <a:solidFill>
              <a:srgbClr val="E58777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76" name="图形 114">
            <a:extLst>
              <a:ext uri="{FF2B5EF4-FFF2-40B4-BE49-F238E27FC236}">
                <a16:creationId xmlns:a16="http://schemas.microsoft.com/office/drawing/2014/main" id="{B5FBC15D-264C-4FB7-8CF5-C5A877F0BE65}"/>
              </a:ext>
            </a:extLst>
          </p:cNvPr>
          <p:cNvGrpSpPr/>
          <p:nvPr/>
        </p:nvGrpSpPr>
        <p:grpSpPr>
          <a:xfrm>
            <a:off x="6045810" y="1830174"/>
            <a:ext cx="3168076" cy="4788154"/>
            <a:chOff x="13856310" y="1830174"/>
            <a:chExt cx="3168076" cy="4788154"/>
          </a:xfrm>
        </p:grpSpPr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9B1B21D6-77B0-49F0-9668-3CEA1D49B375}"/>
                </a:ext>
              </a:extLst>
            </p:cNvPr>
            <p:cNvSpPr/>
            <p:nvPr/>
          </p:nvSpPr>
          <p:spPr>
            <a:xfrm>
              <a:off x="16351902" y="2731549"/>
              <a:ext cx="457627" cy="951864"/>
            </a:xfrm>
            <a:custGeom>
              <a:avLst/>
              <a:gdLst>
                <a:gd name="connsiteX0" fmla="*/ 0 w 457627"/>
                <a:gd name="connsiteY0" fmla="*/ 36610 h 951864"/>
                <a:gd name="connsiteX1" fmla="*/ 378305 w 457627"/>
                <a:gd name="connsiteY1" fmla="*/ 951864 h 951864"/>
                <a:gd name="connsiteX2" fmla="*/ 457627 w 457627"/>
                <a:gd name="connsiteY2" fmla="*/ 927458 h 951864"/>
                <a:gd name="connsiteX3" fmla="*/ 42712 w 457627"/>
                <a:gd name="connsiteY3" fmla="*/ 0 h 951864"/>
                <a:gd name="connsiteX4" fmla="*/ 0 w 457627"/>
                <a:gd name="connsiteY4" fmla="*/ 36610 h 95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627" h="951864">
                  <a:moveTo>
                    <a:pt x="0" y="36610"/>
                  </a:moveTo>
                  <a:cubicBezTo>
                    <a:pt x="0" y="36610"/>
                    <a:pt x="344746" y="686441"/>
                    <a:pt x="378305" y="951864"/>
                  </a:cubicBezTo>
                  <a:lnTo>
                    <a:pt x="457627" y="927458"/>
                  </a:lnTo>
                  <a:cubicBezTo>
                    <a:pt x="457627" y="927458"/>
                    <a:pt x="262373" y="259322"/>
                    <a:pt x="42712" y="0"/>
                  </a:cubicBezTo>
                  <a:lnTo>
                    <a:pt x="0" y="36610"/>
                  </a:ln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F13ED3F1-BEF1-467F-BEC1-749469ECB862}"/>
                </a:ext>
              </a:extLst>
            </p:cNvPr>
            <p:cNvSpPr/>
            <p:nvPr/>
          </p:nvSpPr>
          <p:spPr>
            <a:xfrm>
              <a:off x="14478682" y="3082397"/>
              <a:ext cx="219661" cy="228813"/>
            </a:xfrm>
            <a:custGeom>
              <a:avLst/>
              <a:gdLst>
                <a:gd name="connsiteX0" fmla="*/ 122034 w 219661"/>
                <a:gd name="connsiteY0" fmla="*/ 0 h 228813"/>
                <a:gd name="connsiteX1" fmla="*/ 219661 w 219661"/>
                <a:gd name="connsiteY1" fmla="*/ 109830 h 228813"/>
                <a:gd name="connsiteX2" fmla="*/ 125085 w 219661"/>
                <a:gd name="connsiteY2" fmla="*/ 228814 h 228813"/>
                <a:gd name="connsiteX3" fmla="*/ 0 w 219661"/>
                <a:gd name="connsiteY3" fmla="*/ 103729 h 228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661" h="228813">
                  <a:moveTo>
                    <a:pt x="122034" y="0"/>
                  </a:moveTo>
                  <a:lnTo>
                    <a:pt x="219661" y="109830"/>
                  </a:lnTo>
                  <a:lnTo>
                    <a:pt x="125085" y="228814"/>
                  </a:lnTo>
                  <a:lnTo>
                    <a:pt x="0" y="103729"/>
                  </a:ln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3A4F4760-AC87-4685-BC4B-8951ACF4A74B}"/>
                </a:ext>
              </a:extLst>
            </p:cNvPr>
            <p:cNvSpPr/>
            <p:nvPr/>
          </p:nvSpPr>
          <p:spPr>
            <a:xfrm>
              <a:off x="14512242" y="2645438"/>
              <a:ext cx="1161573" cy="1135610"/>
            </a:xfrm>
            <a:custGeom>
              <a:avLst/>
              <a:gdLst>
                <a:gd name="connsiteX0" fmla="*/ 1089152 w 1161573"/>
                <a:gd name="connsiteY0" fmla="*/ 6789 h 1135610"/>
                <a:gd name="connsiteX1" fmla="*/ 735254 w 1161573"/>
                <a:gd name="connsiteY1" fmla="*/ 357637 h 1135610"/>
                <a:gd name="connsiteX2" fmla="*/ 539999 w 1161573"/>
                <a:gd name="connsiteY2" fmla="*/ 809162 h 1135610"/>
                <a:gd name="connsiteX3" fmla="*/ 143389 w 1161573"/>
                <a:gd name="connsiteY3" fmla="*/ 436959 h 1135610"/>
                <a:gd name="connsiteX4" fmla="*/ 0 w 1161573"/>
                <a:gd name="connsiteY4" fmla="*/ 598654 h 1135610"/>
                <a:gd name="connsiteX5" fmla="*/ 555254 w 1161573"/>
                <a:gd name="connsiteY5" fmla="*/ 1135603 h 1135610"/>
                <a:gd name="connsiteX6" fmla="*/ 1089152 w 1161573"/>
                <a:gd name="connsiteY6" fmla="*/ 6789 h 113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61573" h="1135610">
                  <a:moveTo>
                    <a:pt x="1089152" y="6789"/>
                  </a:moveTo>
                  <a:cubicBezTo>
                    <a:pt x="964068" y="-48126"/>
                    <a:pt x="799321" y="244756"/>
                    <a:pt x="735254" y="357637"/>
                  </a:cubicBezTo>
                  <a:cubicBezTo>
                    <a:pt x="677288" y="458315"/>
                    <a:pt x="539999" y="809162"/>
                    <a:pt x="539999" y="809162"/>
                  </a:cubicBezTo>
                  <a:lnTo>
                    <a:pt x="143389" y="436959"/>
                  </a:lnTo>
                  <a:lnTo>
                    <a:pt x="0" y="598654"/>
                  </a:lnTo>
                  <a:cubicBezTo>
                    <a:pt x="0" y="598654"/>
                    <a:pt x="427119" y="1132552"/>
                    <a:pt x="555254" y="1135603"/>
                  </a:cubicBezTo>
                  <a:cubicBezTo>
                    <a:pt x="771864" y="1138654"/>
                    <a:pt x="1366779" y="131874"/>
                    <a:pt x="1089152" y="6789"/>
                  </a:cubicBez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0" name="图形 114">
              <a:extLst>
                <a:ext uri="{FF2B5EF4-FFF2-40B4-BE49-F238E27FC236}">
                  <a16:creationId xmlns:a16="http://schemas.microsoft.com/office/drawing/2014/main" id="{CF36247E-3A6E-42AA-8F68-649BD3919073}"/>
                </a:ext>
              </a:extLst>
            </p:cNvPr>
            <p:cNvGrpSpPr/>
            <p:nvPr/>
          </p:nvGrpSpPr>
          <p:grpSpPr>
            <a:xfrm>
              <a:off x="14586940" y="6172905"/>
              <a:ext cx="569031" cy="388427"/>
              <a:chOff x="14586940" y="6172905"/>
              <a:chExt cx="569031" cy="388427"/>
            </a:xfrm>
          </p:grpSpPr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C3BE5B4D-C762-4AF2-B883-A2D35329DA0D}"/>
                  </a:ext>
                </a:extLst>
              </p:cNvPr>
              <p:cNvSpPr/>
              <p:nvPr/>
            </p:nvSpPr>
            <p:spPr>
              <a:xfrm>
                <a:off x="14930207" y="6172905"/>
                <a:ext cx="225763" cy="268474"/>
              </a:xfrm>
              <a:custGeom>
                <a:avLst/>
                <a:gdLst>
                  <a:gd name="connsiteX0" fmla="*/ 158644 w 225763"/>
                  <a:gd name="connsiteY0" fmla="*/ 234915 h 268474"/>
                  <a:gd name="connsiteX1" fmla="*/ 225763 w 225763"/>
                  <a:gd name="connsiteY1" fmla="*/ 61017 h 268474"/>
                  <a:gd name="connsiteX2" fmla="*/ 51865 w 225763"/>
                  <a:gd name="connsiteY2" fmla="*/ 0 h 268474"/>
                  <a:gd name="connsiteX3" fmla="*/ 0 w 225763"/>
                  <a:gd name="connsiteY3" fmla="*/ 189152 h 268474"/>
                  <a:gd name="connsiteX4" fmla="*/ 134238 w 225763"/>
                  <a:gd name="connsiteY4" fmla="*/ 268475 h 268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763" h="268474">
                    <a:moveTo>
                      <a:pt x="158644" y="234915"/>
                    </a:moveTo>
                    <a:lnTo>
                      <a:pt x="225763" y="61017"/>
                    </a:lnTo>
                    <a:lnTo>
                      <a:pt x="51865" y="0"/>
                    </a:lnTo>
                    <a:lnTo>
                      <a:pt x="0" y="189152"/>
                    </a:lnTo>
                    <a:lnTo>
                      <a:pt x="134238" y="268475"/>
                    </a:ln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F0EEFA50-9975-42EA-B316-A456D634A526}"/>
                  </a:ext>
                </a:extLst>
              </p:cNvPr>
              <p:cNvSpPr/>
              <p:nvPr/>
            </p:nvSpPr>
            <p:spPr>
              <a:xfrm>
                <a:off x="14603767" y="6304091"/>
                <a:ext cx="497287" cy="213559"/>
              </a:xfrm>
              <a:custGeom>
                <a:avLst/>
                <a:gdLst>
                  <a:gd name="connsiteX0" fmla="*/ 497288 w 497287"/>
                  <a:gd name="connsiteY0" fmla="*/ 106780 h 213559"/>
                  <a:gd name="connsiteX1" fmla="*/ 338644 w 497287"/>
                  <a:gd name="connsiteY1" fmla="*/ 0 h 213559"/>
                  <a:gd name="connsiteX2" fmla="*/ 186102 w 497287"/>
                  <a:gd name="connsiteY2" fmla="*/ 30508 h 213559"/>
                  <a:gd name="connsiteX3" fmla="*/ 0 w 497287"/>
                  <a:gd name="connsiteY3" fmla="*/ 48814 h 213559"/>
                  <a:gd name="connsiteX4" fmla="*/ 460678 w 497287"/>
                  <a:gd name="connsiteY4" fmla="*/ 213559 h 213559"/>
                  <a:gd name="connsiteX5" fmla="*/ 497288 w 497287"/>
                  <a:gd name="connsiteY5" fmla="*/ 106780 h 213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7287" h="213559">
                    <a:moveTo>
                      <a:pt x="497288" y="106780"/>
                    </a:moveTo>
                    <a:cubicBezTo>
                      <a:pt x="497288" y="106780"/>
                      <a:pt x="375254" y="82373"/>
                      <a:pt x="338644" y="0"/>
                    </a:cubicBezTo>
                    <a:cubicBezTo>
                      <a:pt x="338644" y="0"/>
                      <a:pt x="231865" y="36610"/>
                      <a:pt x="186102" y="30508"/>
                    </a:cubicBezTo>
                    <a:cubicBezTo>
                      <a:pt x="140339" y="24407"/>
                      <a:pt x="36610" y="-15254"/>
                      <a:pt x="0" y="48814"/>
                    </a:cubicBezTo>
                    <a:lnTo>
                      <a:pt x="460678" y="213559"/>
                    </a:lnTo>
                    <a:cubicBezTo>
                      <a:pt x="460678" y="213559"/>
                      <a:pt x="497288" y="161695"/>
                      <a:pt x="497288" y="106780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F0447D29-171E-4238-A204-0C24C235F63F}"/>
                  </a:ext>
                </a:extLst>
              </p:cNvPr>
              <p:cNvSpPr/>
              <p:nvPr/>
            </p:nvSpPr>
            <p:spPr>
              <a:xfrm rot="-4224540">
                <a:off x="14801667" y="6213875"/>
                <a:ext cx="45762" cy="488130"/>
              </a:xfrm>
              <a:custGeom>
                <a:avLst/>
                <a:gdLst>
                  <a:gd name="connsiteX0" fmla="*/ 0 w 45762"/>
                  <a:gd name="connsiteY0" fmla="*/ 0 h 488130"/>
                  <a:gd name="connsiteX1" fmla="*/ 45762 w 45762"/>
                  <a:gd name="connsiteY1" fmla="*/ 0 h 488130"/>
                  <a:gd name="connsiteX2" fmla="*/ 45762 w 45762"/>
                  <a:gd name="connsiteY2" fmla="*/ 488130 h 488130"/>
                  <a:gd name="connsiteX3" fmla="*/ 0 w 45762"/>
                  <a:gd name="connsiteY3" fmla="*/ 488130 h 48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762" h="488130">
                    <a:moveTo>
                      <a:pt x="0" y="0"/>
                    </a:moveTo>
                    <a:lnTo>
                      <a:pt x="45762" y="0"/>
                    </a:lnTo>
                    <a:lnTo>
                      <a:pt x="45762" y="488130"/>
                    </a:lnTo>
                    <a:lnTo>
                      <a:pt x="0" y="488130"/>
                    </a:lnTo>
                    <a:close/>
                  </a:path>
                </a:pathLst>
              </a:custGeom>
              <a:solidFill>
                <a:srgbClr val="38333D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32BB668E-0275-40CE-9927-A2CAD516FAD4}"/>
                  </a:ext>
                </a:extLst>
              </p:cNvPr>
              <p:cNvSpPr/>
              <p:nvPr/>
            </p:nvSpPr>
            <p:spPr>
              <a:xfrm>
                <a:off x="14936309" y="6297990"/>
                <a:ext cx="172111" cy="118982"/>
              </a:xfrm>
              <a:custGeom>
                <a:avLst/>
                <a:gdLst>
                  <a:gd name="connsiteX0" fmla="*/ 164746 w 172111"/>
                  <a:gd name="connsiteY0" fmla="*/ 118983 h 118982"/>
                  <a:gd name="connsiteX1" fmla="*/ 164746 w 172111"/>
                  <a:gd name="connsiteY1" fmla="*/ 118983 h 118982"/>
                  <a:gd name="connsiteX2" fmla="*/ 0 w 172111"/>
                  <a:gd name="connsiteY2" fmla="*/ 9153 h 118982"/>
                  <a:gd name="connsiteX3" fmla="*/ 3051 w 172111"/>
                  <a:gd name="connsiteY3" fmla="*/ 0 h 118982"/>
                  <a:gd name="connsiteX4" fmla="*/ 12203 w 172111"/>
                  <a:gd name="connsiteY4" fmla="*/ 3051 h 118982"/>
                  <a:gd name="connsiteX5" fmla="*/ 167797 w 172111"/>
                  <a:gd name="connsiteY5" fmla="*/ 106780 h 118982"/>
                  <a:gd name="connsiteX6" fmla="*/ 170848 w 172111"/>
                  <a:gd name="connsiteY6" fmla="*/ 112881 h 118982"/>
                  <a:gd name="connsiteX7" fmla="*/ 164746 w 172111"/>
                  <a:gd name="connsiteY7" fmla="*/ 118983 h 118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2111" h="118982">
                    <a:moveTo>
                      <a:pt x="164746" y="118983"/>
                    </a:moveTo>
                    <a:cubicBezTo>
                      <a:pt x="164746" y="118983"/>
                      <a:pt x="164746" y="118983"/>
                      <a:pt x="164746" y="118983"/>
                    </a:cubicBezTo>
                    <a:cubicBezTo>
                      <a:pt x="158644" y="118983"/>
                      <a:pt x="45763" y="94576"/>
                      <a:pt x="0" y="9153"/>
                    </a:cubicBezTo>
                    <a:cubicBezTo>
                      <a:pt x="0" y="6102"/>
                      <a:pt x="0" y="3051"/>
                      <a:pt x="3051" y="0"/>
                    </a:cubicBezTo>
                    <a:cubicBezTo>
                      <a:pt x="6102" y="0"/>
                      <a:pt x="9152" y="0"/>
                      <a:pt x="12203" y="3051"/>
                    </a:cubicBezTo>
                    <a:cubicBezTo>
                      <a:pt x="54915" y="82373"/>
                      <a:pt x="167797" y="106780"/>
                      <a:pt x="167797" y="106780"/>
                    </a:cubicBezTo>
                    <a:cubicBezTo>
                      <a:pt x="170848" y="106780"/>
                      <a:pt x="173899" y="109830"/>
                      <a:pt x="170848" y="112881"/>
                    </a:cubicBezTo>
                    <a:cubicBezTo>
                      <a:pt x="170848" y="118983"/>
                      <a:pt x="167797" y="118983"/>
                      <a:pt x="164746" y="11898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DD71D515-C186-4BE8-8191-30D7645A7900}"/>
                  </a:ext>
                </a:extLst>
              </p:cNvPr>
              <p:cNvSpPr/>
              <p:nvPr/>
            </p:nvSpPr>
            <p:spPr>
              <a:xfrm>
                <a:off x="14893598" y="6316295"/>
                <a:ext cx="26410" cy="42712"/>
              </a:xfrm>
              <a:custGeom>
                <a:avLst/>
                <a:gdLst>
                  <a:gd name="connsiteX0" fmla="*/ 21355 w 26410"/>
                  <a:gd name="connsiteY0" fmla="*/ 42712 h 42712"/>
                  <a:gd name="connsiteX1" fmla="*/ 15254 w 26410"/>
                  <a:gd name="connsiteY1" fmla="*/ 39661 h 42712"/>
                  <a:gd name="connsiteX2" fmla="*/ 0 w 26410"/>
                  <a:gd name="connsiteY2" fmla="*/ 6102 h 42712"/>
                  <a:gd name="connsiteX3" fmla="*/ 3051 w 26410"/>
                  <a:gd name="connsiteY3" fmla="*/ 0 h 42712"/>
                  <a:gd name="connsiteX4" fmla="*/ 9152 w 26410"/>
                  <a:gd name="connsiteY4" fmla="*/ 3051 h 42712"/>
                  <a:gd name="connsiteX5" fmla="*/ 24406 w 26410"/>
                  <a:gd name="connsiteY5" fmla="*/ 36611 h 42712"/>
                  <a:gd name="connsiteX6" fmla="*/ 21355 w 26410"/>
                  <a:gd name="connsiteY6" fmla="*/ 42712 h 42712"/>
                  <a:gd name="connsiteX7" fmla="*/ 21355 w 26410"/>
                  <a:gd name="connsiteY7" fmla="*/ 42712 h 42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410" h="42712">
                    <a:moveTo>
                      <a:pt x="21355" y="42712"/>
                    </a:moveTo>
                    <a:cubicBezTo>
                      <a:pt x="18305" y="42712"/>
                      <a:pt x="18305" y="42712"/>
                      <a:pt x="15254" y="39661"/>
                    </a:cubicBezTo>
                    <a:lnTo>
                      <a:pt x="0" y="6102"/>
                    </a:lnTo>
                    <a:cubicBezTo>
                      <a:pt x="0" y="3051"/>
                      <a:pt x="0" y="0"/>
                      <a:pt x="3051" y="0"/>
                    </a:cubicBezTo>
                    <a:cubicBezTo>
                      <a:pt x="6101" y="0"/>
                      <a:pt x="9152" y="0"/>
                      <a:pt x="9152" y="3051"/>
                    </a:cubicBezTo>
                    <a:lnTo>
                      <a:pt x="24406" y="36611"/>
                    </a:lnTo>
                    <a:cubicBezTo>
                      <a:pt x="27457" y="36611"/>
                      <a:pt x="27457" y="39661"/>
                      <a:pt x="21355" y="42712"/>
                    </a:cubicBezTo>
                    <a:cubicBezTo>
                      <a:pt x="21355" y="42712"/>
                      <a:pt x="21355" y="42712"/>
                      <a:pt x="21355" y="4271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A7A91D5B-FA19-4C29-8BEB-295E75CF9066}"/>
                  </a:ext>
                </a:extLst>
              </p:cNvPr>
              <p:cNvSpPr/>
              <p:nvPr/>
            </p:nvSpPr>
            <p:spPr>
              <a:xfrm>
                <a:off x="14847835" y="6328498"/>
                <a:ext cx="26410" cy="42711"/>
              </a:xfrm>
              <a:custGeom>
                <a:avLst/>
                <a:gdLst>
                  <a:gd name="connsiteX0" fmla="*/ 21355 w 26410"/>
                  <a:gd name="connsiteY0" fmla="*/ 42712 h 42711"/>
                  <a:gd name="connsiteX1" fmla="*/ 15254 w 26410"/>
                  <a:gd name="connsiteY1" fmla="*/ 39661 h 42711"/>
                  <a:gd name="connsiteX2" fmla="*/ 0 w 26410"/>
                  <a:gd name="connsiteY2" fmla="*/ 6102 h 42711"/>
                  <a:gd name="connsiteX3" fmla="*/ 3051 w 26410"/>
                  <a:gd name="connsiteY3" fmla="*/ 0 h 42711"/>
                  <a:gd name="connsiteX4" fmla="*/ 9152 w 26410"/>
                  <a:gd name="connsiteY4" fmla="*/ 3051 h 42711"/>
                  <a:gd name="connsiteX5" fmla="*/ 24406 w 26410"/>
                  <a:gd name="connsiteY5" fmla="*/ 36610 h 42711"/>
                  <a:gd name="connsiteX6" fmla="*/ 21355 w 26410"/>
                  <a:gd name="connsiteY6" fmla="*/ 42712 h 42711"/>
                  <a:gd name="connsiteX7" fmla="*/ 21355 w 26410"/>
                  <a:gd name="connsiteY7" fmla="*/ 42712 h 42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410" h="42711">
                    <a:moveTo>
                      <a:pt x="21355" y="42712"/>
                    </a:moveTo>
                    <a:cubicBezTo>
                      <a:pt x="18305" y="42712"/>
                      <a:pt x="18305" y="42712"/>
                      <a:pt x="15254" y="39661"/>
                    </a:cubicBezTo>
                    <a:lnTo>
                      <a:pt x="0" y="6102"/>
                    </a:lnTo>
                    <a:cubicBezTo>
                      <a:pt x="0" y="3051"/>
                      <a:pt x="0" y="0"/>
                      <a:pt x="3051" y="0"/>
                    </a:cubicBezTo>
                    <a:cubicBezTo>
                      <a:pt x="6101" y="0"/>
                      <a:pt x="9152" y="0"/>
                      <a:pt x="9152" y="3051"/>
                    </a:cubicBezTo>
                    <a:lnTo>
                      <a:pt x="24406" y="36610"/>
                    </a:lnTo>
                    <a:cubicBezTo>
                      <a:pt x="27457" y="36610"/>
                      <a:pt x="27457" y="39661"/>
                      <a:pt x="21355" y="42712"/>
                    </a:cubicBezTo>
                    <a:cubicBezTo>
                      <a:pt x="24406" y="42712"/>
                      <a:pt x="21355" y="42712"/>
                      <a:pt x="21355" y="42712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1" name="图形 114">
              <a:extLst>
                <a:ext uri="{FF2B5EF4-FFF2-40B4-BE49-F238E27FC236}">
                  <a16:creationId xmlns:a16="http://schemas.microsoft.com/office/drawing/2014/main" id="{FECC43CD-CDF0-4CF2-B753-ABBE3B731169}"/>
                </a:ext>
              </a:extLst>
            </p:cNvPr>
            <p:cNvGrpSpPr/>
            <p:nvPr/>
          </p:nvGrpSpPr>
          <p:grpSpPr>
            <a:xfrm>
              <a:off x="15857665" y="6276634"/>
              <a:ext cx="496271" cy="341694"/>
              <a:chOff x="15857665" y="6276634"/>
              <a:chExt cx="496271" cy="341694"/>
            </a:xfrm>
          </p:grpSpPr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3E9DE3FC-1AA4-48F8-AD2B-E64C06D73687}"/>
                  </a:ext>
                </a:extLst>
              </p:cNvPr>
              <p:cNvSpPr/>
              <p:nvPr/>
            </p:nvSpPr>
            <p:spPr>
              <a:xfrm>
                <a:off x="16150546" y="6276634"/>
                <a:ext cx="183050" cy="222711"/>
              </a:xfrm>
              <a:custGeom>
                <a:avLst/>
                <a:gdLst>
                  <a:gd name="connsiteX0" fmla="*/ 183051 w 183050"/>
                  <a:gd name="connsiteY0" fmla="*/ 183051 h 222711"/>
                  <a:gd name="connsiteX1" fmla="*/ 183051 w 183050"/>
                  <a:gd name="connsiteY1" fmla="*/ 0 h 222711"/>
                  <a:gd name="connsiteX2" fmla="*/ 0 w 183050"/>
                  <a:gd name="connsiteY2" fmla="*/ 0 h 222711"/>
                  <a:gd name="connsiteX3" fmla="*/ 18305 w 183050"/>
                  <a:gd name="connsiteY3" fmla="*/ 195254 h 222711"/>
                  <a:gd name="connsiteX4" fmla="*/ 170848 w 183050"/>
                  <a:gd name="connsiteY4" fmla="*/ 222711 h 222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3050" h="222711">
                    <a:moveTo>
                      <a:pt x="183051" y="183051"/>
                    </a:moveTo>
                    <a:lnTo>
                      <a:pt x="183051" y="0"/>
                    </a:lnTo>
                    <a:lnTo>
                      <a:pt x="0" y="0"/>
                    </a:lnTo>
                    <a:lnTo>
                      <a:pt x="18305" y="195254"/>
                    </a:lnTo>
                    <a:lnTo>
                      <a:pt x="170848" y="222711"/>
                    </a:ln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B3837B86-A2C5-431D-A499-F64F0144C60E}"/>
                  </a:ext>
                </a:extLst>
              </p:cNvPr>
              <p:cNvSpPr/>
              <p:nvPr/>
            </p:nvSpPr>
            <p:spPr>
              <a:xfrm>
                <a:off x="15857666" y="6413922"/>
                <a:ext cx="496270" cy="158643"/>
              </a:xfrm>
              <a:custGeom>
                <a:avLst/>
                <a:gdLst>
                  <a:gd name="connsiteX0" fmla="*/ 488136 w 496270"/>
                  <a:gd name="connsiteY0" fmla="*/ 45763 h 158643"/>
                  <a:gd name="connsiteX1" fmla="*/ 302034 w 496270"/>
                  <a:gd name="connsiteY1" fmla="*/ 0 h 158643"/>
                  <a:gd name="connsiteX2" fmla="*/ 167797 w 496270"/>
                  <a:gd name="connsiteY2" fmla="*/ 79322 h 158643"/>
                  <a:gd name="connsiteX3" fmla="*/ 0 w 496270"/>
                  <a:gd name="connsiteY3" fmla="*/ 158644 h 158643"/>
                  <a:gd name="connsiteX4" fmla="*/ 488136 w 496270"/>
                  <a:gd name="connsiteY4" fmla="*/ 158644 h 158643"/>
                  <a:gd name="connsiteX5" fmla="*/ 488136 w 496270"/>
                  <a:gd name="connsiteY5" fmla="*/ 45763 h 158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6270" h="158643">
                    <a:moveTo>
                      <a:pt x="488136" y="45763"/>
                    </a:moveTo>
                    <a:cubicBezTo>
                      <a:pt x="488136" y="45763"/>
                      <a:pt x="363051" y="64068"/>
                      <a:pt x="302034" y="0"/>
                    </a:cubicBezTo>
                    <a:cubicBezTo>
                      <a:pt x="302034" y="0"/>
                      <a:pt x="213559" y="70169"/>
                      <a:pt x="167797" y="79322"/>
                    </a:cubicBezTo>
                    <a:cubicBezTo>
                      <a:pt x="122034" y="88474"/>
                      <a:pt x="12203" y="85423"/>
                      <a:pt x="0" y="158644"/>
                    </a:cubicBezTo>
                    <a:lnTo>
                      <a:pt x="488136" y="158644"/>
                    </a:lnTo>
                    <a:cubicBezTo>
                      <a:pt x="488136" y="158644"/>
                      <a:pt x="506440" y="97627"/>
                      <a:pt x="488136" y="45763"/>
                    </a:cubicBezTo>
                    <a:close/>
                  </a:path>
                </a:pathLst>
              </a:custGeom>
              <a:solidFill>
                <a:srgbClr val="7E94B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CD49362B-E658-4D70-AE1C-9C50117DEEA9}"/>
                  </a:ext>
                </a:extLst>
              </p:cNvPr>
              <p:cNvSpPr/>
              <p:nvPr/>
            </p:nvSpPr>
            <p:spPr>
              <a:xfrm>
                <a:off x="15857665" y="6572566"/>
                <a:ext cx="488135" cy="45762"/>
              </a:xfrm>
              <a:custGeom>
                <a:avLst/>
                <a:gdLst>
                  <a:gd name="connsiteX0" fmla="*/ 0 w 488135"/>
                  <a:gd name="connsiteY0" fmla="*/ 0 h 45762"/>
                  <a:gd name="connsiteX1" fmla="*/ 488136 w 488135"/>
                  <a:gd name="connsiteY1" fmla="*/ 0 h 45762"/>
                  <a:gd name="connsiteX2" fmla="*/ 488136 w 488135"/>
                  <a:gd name="connsiteY2" fmla="*/ 45763 h 45762"/>
                  <a:gd name="connsiteX3" fmla="*/ 0 w 488135"/>
                  <a:gd name="connsiteY3" fmla="*/ 45763 h 45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135" h="45762">
                    <a:moveTo>
                      <a:pt x="0" y="0"/>
                    </a:moveTo>
                    <a:lnTo>
                      <a:pt x="488136" y="0"/>
                    </a:lnTo>
                    <a:lnTo>
                      <a:pt x="488136" y="45763"/>
                    </a:lnTo>
                    <a:lnTo>
                      <a:pt x="0" y="45763"/>
                    </a:lnTo>
                    <a:close/>
                  </a:path>
                </a:pathLst>
              </a:custGeom>
              <a:solidFill>
                <a:srgbClr val="38333D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25B19420-8082-4EDC-A6D1-FF1E881794FD}"/>
                  </a:ext>
                </a:extLst>
              </p:cNvPr>
              <p:cNvSpPr/>
              <p:nvPr/>
            </p:nvSpPr>
            <p:spPr>
              <a:xfrm>
                <a:off x="16151309" y="6405532"/>
                <a:ext cx="200593" cy="63304"/>
              </a:xfrm>
              <a:custGeom>
                <a:avLst/>
                <a:gdLst>
                  <a:gd name="connsiteX0" fmla="*/ 157882 w 200593"/>
                  <a:gd name="connsiteY0" fmla="*/ 63305 h 63304"/>
                  <a:gd name="connsiteX1" fmla="*/ 2288 w 200593"/>
                  <a:gd name="connsiteY1" fmla="*/ 11441 h 63304"/>
                  <a:gd name="connsiteX2" fmla="*/ 2288 w 200593"/>
                  <a:gd name="connsiteY2" fmla="*/ 2288 h 63304"/>
                  <a:gd name="connsiteX3" fmla="*/ 11441 w 200593"/>
                  <a:gd name="connsiteY3" fmla="*/ 2288 h 63304"/>
                  <a:gd name="connsiteX4" fmla="*/ 194492 w 200593"/>
                  <a:gd name="connsiteY4" fmla="*/ 48051 h 63304"/>
                  <a:gd name="connsiteX5" fmla="*/ 200593 w 200593"/>
                  <a:gd name="connsiteY5" fmla="*/ 54153 h 63304"/>
                  <a:gd name="connsiteX6" fmla="*/ 194492 w 200593"/>
                  <a:gd name="connsiteY6" fmla="*/ 60254 h 63304"/>
                  <a:gd name="connsiteX7" fmla="*/ 157882 w 200593"/>
                  <a:gd name="connsiteY7" fmla="*/ 63305 h 63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0593" h="63304">
                    <a:moveTo>
                      <a:pt x="157882" y="63305"/>
                    </a:moveTo>
                    <a:cubicBezTo>
                      <a:pt x="118221" y="63305"/>
                      <a:pt x="51102" y="57203"/>
                      <a:pt x="2288" y="11441"/>
                    </a:cubicBezTo>
                    <a:cubicBezTo>
                      <a:pt x="-763" y="8390"/>
                      <a:pt x="-763" y="5339"/>
                      <a:pt x="2288" y="2288"/>
                    </a:cubicBezTo>
                    <a:cubicBezTo>
                      <a:pt x="5339" y="-763"/>
                      <a:pt x="8390" y="-763"/>
                      <a:pt x="11441" y="2288"/>
                    </a:cubicBezTo>
                    <a:cubicBezTo>
                      <a:pt x="78559" y="63305"/>
                      <a:pt x="191441" y="48051"/>
                      <a:pt x="194492" y="48051"/>
                    </a:cubicBezTo>
                    <a:cubicBezTo>
                      <a:pt x="197542" y="48051"/>
                      <a:pt x="200593" y="51102"/>
                      <a:pt x="200593" y="54153"/>
                    </a:cubicBezTo>
                    <a:cubicBezTo>
                      <a:pt x="200593" y="57203"/>
                      <a:pt x="197542" y="60254"/>
                      <a:pt x="194492" y="60254"/>
                    </a:cubicBezTo>
                    <a:cubicBezTo>
                      <a:pt x="194492" y="60254"/>
                      <a:pt x="179238" y="63305"/>
                      <a:pt x="157882" y="63305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BB1BDD13-6360-4E41-BEFC-FA2BB8568803}"/>
                  </a:ext>
                </a:extLst>
              </p:cNvPr>
              <p:cNvSpPr/>
              <p:nvPr/>
            </p:nvSpPr>
            <p:spPr>
              <a:xfrm>
                <a:off x="16120801" y="6429939"/>
                <a:ext cx="38136" cy="41949"/>
              </a:xfrm>
              <a:custGeom>
                <a:avLst/>
                <a:gdLst>
                  <a:gd name="connsiteX0" fmla="*/ 29746 w 38136"/>
                  <a:gd name="connsiteY0" fmla="*/ 41949 h 41949"/>
                  <a:gd name="connsiteX1" fmla="*/ 26696 w 38136"/>
                  <a:gd name="connsiteY1" fmla="*/ 38898 h 41949"/>
                  <a:gd name="connsiteX2" fmla="*/ 2288 w 38136"/>
                  <a:gd name="connsiteY2" fmla="*/ 11441 h 41949"/>
                  <a:gd name="connsiteX3" fmla="*/ 2288 w 38136"/>
                  <a:gd name="connsiteY3" fmla="*/ 2288 h 41949"/>
                  <a:gd name="connsiteX4" fmla="*/ 11441 w 38136"/>
                  <a:gd name="connsiteY4" fmla="*/ 2288 h 41949"/>
                  <a:gd name="connsiteX5" fmla="*/ 35848 w 38136"/>
                  <a:gd name="connsiteY5" fmla="*/ 29746 h 41949"/>
                  <a:gd name="connsiteX6" fmla="*/ 35848 w 38136"/>
                  <a:gd name="connsiteY6" fmla="*/ 38898 h 41949"/>
                  <a:gd name="connsiteX7" fmla="*/ 29746 w 38136"/>
                  <a:gd name="connsiteY7" fmla="*/ 41949 h 41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136" h="41949">
                    <a:moveTo>
                      <a:pt x="29746" y="41949"/>
                    </a:moveTo>
                    <a:cubicBezTo>
                      <a:pt x="29746" y="41949"/>
                      <a:pt x="26696" y="41949"/>
                      <a:pt x="26696" y="38898"/>
                    </a:cubicBezTo>
                    <a:lnTo>
                      <a:pt x="2288" y="11441"/>
                    </a:lnTo>
                    <a:cubicBezTo>
                      <a:pt x="-763" y="8390"/>
                      <a:pt x="-763" y="5339"/>
                      <a:pt x="2288" y="2288"/>
                    </a:cubicBezTo>
                    <a:cubicBezTo>
                      <a:pt x="5339" y="-763"/>
                      <a:pt x="8390" y="-763"/>
                      <a:pt x="11441" y="2288"/>
                    </a:cubicBezTo>
                    <a:lnTo>
                      <a:pt x="35848" y="29746"/>
                    </a:lnTo>
                    <a:cubicBezTo>
                      <a:pt x="38899" y="32796"/>
                      <a:pt x="38899" y="35847"/>
                      <a:pt x="35848" y="38898"/>
                    </a:cubicBezTo>
                    <a:cubicBezTo>
                      <a:pt x="32797" y="41949"/>
                      <a:pt x="29746" y="41949"/>
                      <a:pt x="29746" y="4194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944DBC86-3C6F-45BE-BABF-93C1F3C42D77}"/>
                  </a:ext>
                </a:extLst>
              </p:cNvPr>
              <p:cNvSpPr/>
              <p:nvPr/>
            </p:nvSpPr>
            <p:spPr>
              <a:xfrm>
                <a:off x="16078089" y="6457397"/>
                <a:ext cx="41186" cy="41948"/>
              </a:xfrm>
              <a:custGeom>
                <a:avLst/>
                <a:gdLst>
                  <a:gd name="connsiteX0" fmla="*/ 32797 w 41186"/>
                  <a:gd name="connsiteY0" fmla="*/ 41949 h 41948"/>
                  <a:gd name="connsiteX1" fmla="*/ 29746 w 41186"/>
                  <a:gd name="connsiteY1" fmla="*/ 38898 h 41948"/>
                  <a:gd name="connsiteX2" fmla="*/ 2288 w 41186"/>
                  <a:gd name="connsiteY2" fmla="*/ 11440 h 41948"/>
                  <a:gd name="connsiteX3" fmla="*/ 2288 w 41186"/>
                  <a:gd name="connsiteY3" fmla="*/ 2288 h 41948"/>
                  <a:gd name="connsiteX4" fmla="*/ 11440 w 41186"/>
                  <a:gd name="connsiteY4" fmla="*/ 2288 h 41948"/>
                  <a:gd name="connsiteX5" fmla="*/ 38899 w 41186"/>
                  <a:gd name="connsiteY5" fmla="*/ 29746 h 41948"/>
                  <a:gd name="connsiteX6" fmla="*/ 38899 w 41186"/>
                  <a:gd name="connsiteY6" fmla="*/ 38898 h 41948"/>
                  <a:gd name="connsiteX7" fmla="*/ 32797 w 41186"/>
                  <a:gd name="connsiteY7" fmla="*/ 41949 h 41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186" h="41948">
                    <a:moveTo>
                      <a:pt x="32797" y="41949"/>
                    </a:moveTo>
                    <a:cubicBezTo>
                      <a:pt x="32797" y="41949"/>
                      <a:pt x="29746" y="41949"/>
                      <a:pt x="29746" y="38898"/>
                    </a:cubicBezTo>
                    <a:lnTo>
                      <a:pt x="2288" y="11440"/>
                    </a:lnTo>
                    <a:cubicBezTo>
                      <a:pt x="-763" y="8390"/>
                      <a:pt x="-763" y="5339"/>
                      <a:pt x="2288" y="2288"/>
                    </a:cubicBezTo>
                    <a:cubicBezTo>
                      <a:pt x="5339" y="-763"/>
                      <a:pt x="8390" y="-763"/>
                      <a:pt x="11440" y="2288"/>
                    </a:cubicBezTo>
                    <a:lnTo>
                      <a:pt x="38899" y="29746"/>
                    </a:lnTo>
                    <a:cubicBezTo>
                      <a:pt x="41949" y="32797"/>
                      <a:pt x="41949" y="35847"/>
                      <a:pt x="38899" y="38898"/>
                    </a:cubicBezTo>
                    <a:cubicBezTo>
                      <a:pt x="35848" y="41949"/>
                      <a:pt x="35848" y="41949"/>
                      <a:pt x="32797" y="4194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CFB42758-9F8F-4628-9590-DB5F216DE676}"/>
                </a:ext>
              </a:extLst>
            </p:cNvPr>
            <p:cNvSpPr/>
            <p:nvPr/>
          </p:nvSpPr>
          <p:spPr>
            <a:xfrm>
              <a:off x="14921055" y="4061719"/>
              <a:ext cx="1526924" cy="2285084"/>
            </a:xfrm>
            <a:custGeom>
              <a:avLst/>
              <a:gdLst>
                <a:gd name="connsiteX0" fmla="*/ 491187 w 1526924"/>
                <a:gd name="connsiteY0" fmla="*/ 18305 h 2285084"/>
                <a:gd name="connsiteX1" fmla="*/ 170848 w 1526924"/>
                <a:gd name="connsiteY1" fmla="*/ 1128814 h 2285084"/>
                <a:gd name="connsiteX2" fmla="*/ 0 w 1526924"/>
                <a:gd name="connsiteY2" fmla="*/ 2129492 h 2285084"/>
                <a:gd name="connsiteX3" fmla="*/ 289831 w 1526924"/>
                <a:gd name="connsiteY3" fmla="*/ 2245424 h 2285084"/>
                <a:gd name="connsiteX4" fmla="*/ 588813 w 1526924"/>
                <a:gd name="connsiteY4" fmla="*/ 1336271 h 2285084"/>
                <a:gd name="connsiteX5" fmla="*/ 988474 w 1526924"/>
                <a:gd name="connsiteY5" fmla="*/ 503390 h 2285084"/>
                <a:gd name="connsiteX6" fmla="*/ 1034237 w 1526924"/>
                <a:gd name="connsiteY6" fmla="*/ 1476610 h 2285084"/>
                <a:gd name="connsiteX7" fmla="*/ 1180678 w 1526924"/>
                <a:gd name="connsiteY7" fmla="*/ 2275933 h 2285084"/>
                <a:gd name="connsiteX8" fmla="*/ 1467458 w 1526924"/>
                <a:gd name="connsiteY8" fmla="*/ 2285085 h 2285084"/>
                <a:gd name="connsiteX9" fmla="*/ 1436949 w 1526924"/>
                <a:gd name="connsiteY9" fmla="*/ 1458305 h 2285084"/>
                <a:gd name="connsiteX10" fmla="*/ 1516272 w 1526924"/>
                <a:gd name="connsiteY10" fmla="*/ 0 h 2285084"/>
                <a:gd name="connsiteX11" fmla="*/ 491187 w 1526924"/>
                <a:gd name="connsiteY11" fmla="*/ 18305 h 2285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26924" h="2285084">
                  <a:moveTo>
                    <a:pt x="491187" y="18305"/>
                  </a:moveTo>
                  <a:lnTo>
                    <a:pt x="170848" y="1128814"/>
                  </a:lnTo>
                  <a:lnTo>
                    <a:pt x="0" y="2129492"/>
                  </a:lnTo>
                  <a:lnTo>
                    <a:pt x="289831" y="2245424"/>
                  </a:lnTo>
                  <a:lnTo>
                    <a:pt x="588813" y="1336271"/>
                  </a:lnTo>
                  <a:cubicBezTo>
                    <a:pt x="588813" y="1336271"/>
                    <a:pt x="979322" y="518644"/>
                    <a:pt x="988474" y="503390"/>
                  </a:cubicBezTo>
                  <a:cubicBezTo>
                    <a:pt x="1003729" y="472881"/>
                    <a:pt x="1034237" y="1476610"/>
                    <a:pt x="1034237" y="1476610"/>
                  </a:cubicBezTo>
                  <a:lnTo>
                    <a:pt x="1180678" y="2275933"/>
                  </a:lnTo>
                  <a:lnTo>
                    <a:pt x="1467458" y="2285085"/>
                  </a:lnTo>
                  <a:cubicBezTo>
                    <a:pt x="1467458" y="2285085"/>
                    <a:pt x="1430847" y="1555932"/>
                    <a:pt x="1436949" y="1458305"/>
                  </a:cubicBezTo>
                  <a:cubicBezTo>
                    <a:pt x="1446102" y="1305763"/>
                    <a:pt x="1562034" y="97627"/>
                    <a:pt x="1516272" y="0"/>
                  </a:cubicBezTo>
                  <a:cubicBezTo>
                    <a:pt x="817627" y="30508"/>
                    <a:pt x="491187" y="18305"/>
                    <a:pt x="491187" y="18305"/>
                  </a:cubicBezTo>
                  <a:close/>
                </a:path>
              </a:pathLst>
            </a:custGeom>
            <a:solidFill>
              <a:srgbClr val="F1DDBA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85A54EED-04F4-4823-94F8-F5CDCF150322}"/>
                </a:ext>
              </a:extLst>
            </p:cNvPr>
            <p:cNvSpPr/>
            <p:nvPr/>
          </p:nvSpPr>
          <p:spPr>
            <a:xfrm>
              <a:off x="15845462" y="4208159"/>
              <a:ext cx="70170" cy="363050"/>
            </a:xfrm>
            <a:custGeom>
              <a:avLst/>
              <a:gdLst>
                <a:gd name="connsiteX0" fmla="*/ 64068 w 70170"/>
                <a:gd name="connsiteY0" fmla="*/ 363051 h 363050"/>
                <a:gd name="connsiteX1" fmla="*/ 57967 w 70170"/>
                <a:gd name="connsiteY1" fmla="*/ 360000 h 363050"/>
                <a:gd name="connsiteX2" fmla="*/ 0 w 70170"/>
                <a:gd name="connsiteY2" fmla="*/ 6102 h 363050"/>
                <a:gd name="connsiteX3" fmla="*/ 6102 w 70170"/>
                <a:gd name="connsiteY3" fmla="*/ 0 h 363050"/>
                <a:gd name="connsiteX4" fmla="*/ 12204 w 70170"/>
                <a:gd name="connsiteY4" fmla="*/ 6102 h 363050"/>
                <a:gd name="connsiteX5" fmla="*/ 70170 w 70170"/>
                <a:gd name="connsiteY5" fmla="*/ 356949 h 363050"/>
                <a:gd name="connsiteX6" fmla="*/ 64068 w 70170"/>
                <a:gd name="connsiteY6" fmla="*/ 363051 h 363050"/>
                <a:gd name="connsiteX7" fmla="*/ 64068 w 70170"/>
                <a:gd name="connsiteY7" fmla="*/ 363051 h 36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170" h="363050">
                  <a:moveTo>
                    <a:pt x="64068" y="363051"/>
                  </a:moveTo>
                  <a:cubicBezTo>
                    <a:pt x="61017" y="363051"/>
                    <a:pt x="61017" y="363051"/>
                    <a:pt x="57967" y="360000"/>
                  </a:cubicBezTo>
                  <a:cubicBezTo>
                    <a:pt x="9153" y="244068"/>
                    <a:pt x="0" y="15254"/>
                    <a:pt x="0" y="6102"/>
                  </a:cubicBezTo>
                  <a:cubicBezTo>
                    <a:pt x="0" y="3051"/>
                    <a:pt x="3051" y="0"/>
                    <a:pt x="6102" y="0"/>
                  </a:cubicBezTo>
                  <a:cubicBezTo>
                    <a:pt x="9153" y="0"/>
                    <a:pt x="12204" y="3051"/>
                    <a:pt x="12204" y="6102"/>
                  </a:cubicBezTo>
                  <a:cubicBezTo>
                    <a:pt x="12204" y="9152"/>
                    <a:pt x="21356" y="244068"/>
                    <a:pt x="70170" y="356949"/>
                  </a:cubicBezTo>
                  <a:cubicBezTo>
                    <a:pt x="70170" y="356949"/>
                    <a:pt x="70170" y="360000"/>
                    <a:pt x="64068" y="363051"/>
                  </a:cubicBezTo>
                  <a:cubicBezTo>
                    <a:pt x="67119" y="363051"/>
                    <a:pt x="64068" y="363051"/>
                    <a:pt x="64068" y="363051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E702EFCD-A5C0-42C2-95A3-45F0838922C2}"/>
                </a:ext>
              </a:extLst>
            </p:cNvPr>
            <p:cNvSpPr/>
            <p:nvPr/>
          </p:nvSpPr>
          <p:spPr>
            <a:xfrm>
              <a:off x="15732581" y="4137990"/>
              <a:ext cx="155593" cy="353898"/>
            </a:xfrm>
            <a:custGeom>
              <a:avLst/>
              <a:gdLst>
                <a:gd name="connsiteX0" fmla="*/ 146440 w 155593"/>
                <a:gd name="connsiteY0" fmla="*/ 353898 h 353898"/>
                <a:gd name="connsiteX1" fmla="*/ 143389 w 155593"/>
                <a:gd name="connsiteY1" fmla="*/ 353898 h 353898"/>
                <a:gd name="connsiteX2" fmla="*/ 33560 w 155593"/>
                <a:gd name="connsiteY2" fmla="*/ 274576 h 353898"/>
                <a:gd name="connsiteX3" fmla="*/ 0 w 155593"/>
                <a:gd name="connsiteY3" fmla="*/ 6102 h 353898"/>
                <a:gd name="connsiteX4" fmla="*/ 6101 w 155593"/>
                <a:gd name="connsiteY4" fmla="*/ 0 h 353898"/>
                <a:gd name="connsiteX5" fmla="*/ 12203 w 155593"/>
                <a:gd name="connsiteY5" fmla="*/ 6102 h 353898"/>
                <a:gd name="connsiteX6" fmla="*/ 45763 w 155593"/>
                <a:gd name="connsiteY6" fmla="*/ 268475 h 353898"/>
                <a:gd name="connsiteX7" fmla="*/ 152542 w 155593"/>
                <a:gd name="connsiteY7" fmla="*/ 344746 h 353898"/>
                <a:gd name="connsiteX8" fmla="*/ 155593 w 155593"/>
                <a:gd name="connsiteY8" fmla="*/ 353898 h 353898"/>
                <a:gd name="connsiteX9" fmla="*/ 146440 w 155593"/>
                <a:gd name="connsiteY9" fmla="*/ 353898 h 353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5593" h="353898">
                  <a:moveTo>
                    <a:pt x="146440" y="353898"/>
                  </a:moveTo>
                  <a:cubicBezTo>
                    <a:pt x="146440" y="353898"/>
                    <a:pt x="143389" y="353898"/>
                    <a:pt x="143389" y="353898"/>
                  </a:cubicBezTo>
                  <a:cubicBezTo>
                    <a:pt x="134237" y="347797"/>
                    <a:pt x="45763" y="289831"/>
                    <a:pt x="33560" y="274576"/>
                  </a:cubicBezTo>
                  <a:cubicBezTo>
                    <a:pt x="21355" y="259322"/>
                    <a:pt x="3051" y="48814"/>
                    <a:pt x="0" y="6102"/>
                  </a:cubicBezTo>
                  <a:cubicBezTo>
                    <a:pt x="0" y="3051"/>
                    <a:pt x="3051" y="0"/>
                    <a:pt x="6101" y="0"/>
                  </a:cubicBezTo>
                  <a:cubicBezTo>
                    <a:pt x="9152" y="0"/>
                    <a:pt x="12203" y="3051"/>
                    <a:pt x="12203" y="6102"/>
                  </a:cubicBezTo>
                  <a:cubicBezTo>
                    <a:pt x="21355" y="100678"/>
                    <a:pt x="36610" y="256271"/>
                    <a:pt x="45763" y="268475"/>
                  </a:cubicBezTo>
                  <a:cubicBezTo>
                    <a:pt x="54915" y="277627"/>
                    <a:pt x="112881" y="320339"/>
                    <a:pt x="152542" y="344746"/>
                  </a:cubicBezTo>
                  <a:cubicBezTo>
                    <a:pt x="155593" y="347797"/>
                    <a:pt x="155593" y="350847"/>
                    <a:pt x="155593" y="353898"/>
                  </a:cubicBezTo>
                  <a:cubicBezTo>
                    <a:pt x="152542" y="353898"/>
                    <a:pt x="149491" y="353898"/>
                    <a:pt x="146440" y="353898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A5700EB5-B11E-456E-A1C6-65F98C58D456}"/>
                </a:ext>
              </a:extLst>
            </p:cNvPr>
            <p:cNvSpPr/>
            <p:nvPr/>
          </p:nvSpPr>
          <p:spPr>
            <a:xfrm>
              <a:off x="15796649" y="2386803"/>
              <a:ext cx="250168" cy="258417"/>
            </a:xfrm>
            <a:custGeom>
              <a:avLst/>
              <a:gdLst>
                <a:gd name="connsiteX0" fmla="*/ 0 w 250168"/>
                <a:gd name="connsiteY0" fmla="*/ 39661 h 258417"/>
                <a:gd name="connsiteX1" fmla="*/ 6101 w 250168"/>
                <a:gd name="connsiteY1" fmla="*/ 213559 h 258417"/>
                <a:gd name="connsiteX2" fmla="*/ 250169 w 250168"/>
                <a:gd name="connsiteY2" fmla="*/ 204407 h 258417"/>
                <a:gd name="connsiteX3" fmla="*/ 234915 w 250168"/>
                <a:gd name="connsiteY3" fmla="*/ 0 h 258417"/>
                <a:gd name="connsiteX4" fmla="*/ 0 w 250168"/>
                <a:gd name="connsiteY4" fmla="*/ 39661 h 25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68" h="258417">
                  <a:moveTo>
                    <a:pt x="0" y="39661"/>
                  </a:moveTo>
                  <a:cubicBezTo>
                    <a:pt x="0" y="39661"/>
                    <a:pt x="6101" y="140339"/>
                    <a:pt x="6101" y="213559"/>
                  </a:cubicBezTo>
                  <a:cubicBezTo>
                    <a:pt x="6101" y="213559"/>
                    <a:pt x="100678" y="320339"/>
                    <a:pt x="250169" y="204407"/>
                  </a:cubicBezTo>
                  <a:cubicBezTo>
                    <a:pt x="250169" y="143390"/>
                    <a:pt x="237966" y="64068"/>
                    <a:pt x="234915" y="0"/>
                  </a:cubicBezTo>
                  <a:cubicBezTo>
                    <a:pt x="237966" y="0"/>
                    <a:pt x="54915" y="51864"/>
                    <a:pt x="0" y="39661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2610AE05-B8C7-4AD4-85DD-9D0573C5170E}"/>
                </a:ext>
              </a:extLst>
            </p:cNvPr>
            <p:cNvSpPr/>
            <p:nvPr/>
          </p:nvSpPr>
          <p:spPr>
            <a:xfrm>
              <a:off x="16068174" y="2267820"/>
              <a:ext cx="70169" cy="137288"/>
            </a:xfrm>
            <a:custGeom>
              <a:avLst/>
              <a:gdLst>
                <a:gd name="connsiteX0" fmla="*/ 70169 w 70169"/>
                <a:gd name="connsiteY0" fmla="*/ 0 h 137288"/>
                <a:gd name="connsiteX1" fmla="*/ 3051 w 70169"/>
                <a:gd name="connsiteY1" fmla="*/ 137288 h 137288"/>
                <a:gd name="connsiteX2" fmla="*/ 0 w 70169"/>
                <a:gd name="connsiteY2" fmla="*/ 51864 h 137288"/>
                <a:gd name="connsiteX3" fmla="*/ 70169 w 70169"/>
                <a:gd name="connsiteY3" fmla="*/ 0 h 137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169" h="137288">
                  <a:moveTo>
                    <a:pt x="70169" y="0"/>
                  </a:moveTo>
                  <a:cubicBezTo>
                    <a:pt x="70169" y="0"/>
                    <a:pt x="54915" y="118983"/>
                    <a:pt x="3051" y="137288"/>
                  </a:cubicBezTo>
                  <a:lnTo>
                    <a:pt x="0" y="51864"/>
                  </a:lnTo>
                  <a:lnTo>
                    <a:pt x="70169" y="0"/>
                  </a:ln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D5C22AAD-7C01-40F2-8F51-7CC11CE55BA1}"/>
                </a:ext>
              </a:extLst>
            </p:cNvPr>
            <p:cNvSpPr/>
            <p:nvPr/>
          </p:nvSpPr>
          <p:spPr>
            <a:xfrm>
              <a:off x="15679142" y="2057312"/>
              <a:ext cx="102704" cy="237978"/>
            </a:xfrm>
            <a:custGeom>
              <a:avLst/>
              <a:gdLst>
                <a:gd name="connsiteX0" fmla="*/ 7676 w 102704"/>
                <a:gd name="connsiteY0" fmla="*/ 0 h 237978"/>
                <a:gd name="connsiteX1" fmla="*/ 47337 w 102704"/>
                <a:gd name="connsiteY1" fmla="*/ 234915 h 237978"/>
                <a:gd name="connsiteX2" fmla="*/ 102253 w 102704"/>
                <a:gd name="connsiteY2" fmla="*/ 15254 h 237978"/>
                <a:gd name="connsiteX3" fmla="*/ 7676 w 102704"/>
                <a:gd name="connsiteY3" fmla="*/ 0 h 237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704" h="237978">
                  <a:moveTo>
                    <a:pt x="7676" y="0"/>
                  </a:moveTo>
                  <a:cubicBezTo>
                    <a:pt x="7676" y="0"/>
                    <a:pt x="-25883" y="195254"/>
                    <a:pt x="47337" y="234915"/>
                  </a:cubicBezTo>
                  <a:cubicBezTo>
                    <a:pt x="111405" y="268475"/>
                    <a:pt x="102253" y="15254"/>
                    <a:pt x="102253" y="15254"/>
                  </a:cubicBezTo>
                  <a:lnTo>
                    <a:pt x="7676" y="0"/>
                  </a:ln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4A3B3896-ED45-45B0-88F9-CC1893CD21DE}"/>
                </a:ext>
              </a:extLst>
            </p:cNvPr>
            <p:cNvSpPr/>
            <p:nvPr/>
          </p:nvSpPr>
          <p:spPr>
            <a:xfrm>
              <a:off x="15714668" y="1922162"/>
              <a:ext cx="423675" cy="568973"/>
            </a:xfrm>
            <a:custGeom>
              <a:avLst/>
              <a:gdLst>
                <a:gd name="connsiteX0" fmla="*/ 11811 w 423675"/>
                <a:gd name="connsiteY0" fmla="*/ 180912 h 568973"/>
                <a:gd name="connsiteX1" fmla="*/ 8760 w 423675"/>
                <a:gd name="connsiteY1" fmla="*/ 431082 h 568973"/>
                <a:gd name="connsiteX2" fmla="*/ 167405 w 423675"/>
                <a:gd name="connsiteY2" fmla="*/ 568370 h 568973"/>
                <a:gd name="connsiteX3" fmla="*/ 384015 w 423675"/>
                <a:gd name="connsiteY3" fmla="*/ 428031 h 568973"/>
                <a:gd name="connsiteX4" fmla="*/ 423676 w 423675"/>
                <a:gd name="connsiteY4" fmla="*/ 202268 h 568973"/>
                <a:gd name="connsiteX5" fmla="*/ 213167 w 423675"/>
                <a:gd name="connsiteY5" fmla="*/ 912 h 568973"/>
                <a:gd name="connsiteX6" fmla="*/ 11811 w 423675"/>
                <a:gd name="connsiteY6" fmla="*/ 180912 h 56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3675" h="568973">
                  <a:moveTo>
                    <a:pt x="11811" y="180912"/>
                  </a:moveTo>
                  <a:cubicBezTo>
                    <a:pt x="11811" y="180912"/>
                    <a:pt x="-12595" y="357861"/>
                    <a:pt x="8760" y="431082"/>
                  </a:cubicBezTo>
                  <a:cubicBezTo>
                    <a:pt x="27065" y="498200"/>
                    <a:pt x="115540" y="562268"/>
                    <a:pt x="167405" y="568370"/>
                  </a:cubicBezTo>
                  <a:cubicBezTo>
                    <a:pt x="234524" y="574472"/>
                    <a:pt x="353506" y="534811"/>
                    <a:pt x="384015" y="428031"/>
                  </a:cubicBezTo>
                  <a:cubicBezTo>
                    <a:pt x="405370" y="354811"/>
                    <a:pt x="423676" y="254133"/>
                    <a:pt x="423676" y="202268"/>
                  </a:cubicBezTo>
                  <a:cubicBezTo>
                    <a:pt x="423676" y="107692"/>
                    <a:pt x="396218" y="28370"/>
                    <a:pt x="213167" y="912"/>
                  </a:cubicBezTo>
                  <a:cubicBezTo>
                    <a:pt x="127744" y="-11291"/>
                    <a:pt x="33167" y="101590"/>
                    <a:pt x="11811" y="180912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C1616F76-C889-418C-B7B9-5B9B60B65864}"/>
                </a:ext>
              </a:extLst>
            </p:cNvPr>
            <p:cNvSpPr/>
            <p:nvPr/>
          </p:nvSpPr>
          <p:spPr>
            <a:xfrm>
              <a:off x="15848513" y="2185447"/>
              <a:ext cx="57965" cy="137288"/>
            </a:xfrm>
            <a:custGeom>
              <a:avLst/>
              <a:gdLst>
                <a:gd name="connsiteX0" fmla="*/ 33560 w 57965"/>
                <a:gd name="connsiteY0" fmla="*/ 137288 h 137288"/>
                <a:gd name="connsiteX1" fmla="*/ 6102 w 57965"/>
                <a:gd name="connsiteY1" fmla="*/ 131186 h 137288"/>
                <a:gd name="connsiteX2" fmla="*/ 0 w 57965"/>
                <a:gd name="connsiteY2" fmla="*/ 118983 h 137288"/>
                <a:gd name="connsiteX3" fmla="*/ 18305 w 57965"/>
                <a:gd name="connsiteY3" fmla="*/ 6102 h 137288"/>
                <a:gd name="connsiteX4" fmla="*/ 24407 w 57965"/>
                <a:gd name="connsiteY4" fmla="*/ 0 h 137288"/>
                <a:gd name="connsiteX5" fmla="*/ 30508 w 57965"/>
                <a:gd name="connsiteY5" fmla="*/ 6102 h 137288"/>
                <a:gd name="connsiteX6" fmla="*/ 12203 w 57965"/>
                <a:gd name="connsiteY6" fmla="*/ 118983 h 137288"/>
                <a:gd name="connsiteX7" fmla="*/ 12203 w 57965"/>
                <a:gd name="connsiteY7" fmla="*/ 122034 h 137288"/>
                <a:gd name="connsiteX8" fmla="*/ 51865 w 57965"/>
                <a:gd name="connsiteY8" fmla="*/ 125085 h 137288"/>
                <a:gd name="connsiteX9" fmla="*/ 57966 w 57965"/>
                <a:gd name="connsiteY9" fmla="*/ 131186 h 137288"/>
                <a:gd name="connsiteX10" fmla="*/ 51865 w 57965"/>
                <a:gd name="connsiteY10" fmla="*/ 137288 h 137288"/>
                <a:gd name="connsiteX11" fmla="*/ 33560 w 57965"/>
                <a:gd name="connsiteY11" fmla="*/ 137288 h 137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65" h="137288">
                  <a:moveTo>
                    <a:pt x="33560" y="137288"/>
                  </a:moveTo>
                  <a:cubicBezTo>
                    <a:pt x="24407" y="137288"/>
                    <a:pt x="12203" y="137288"/>
                    <a:pt x="6102" y="131186"/>
                  </a:cubicBezTo>
                  <a:cubicBezTo>
                    <a:pt x="3051" y="128136"/>
                    <a:pt x="0" y="125085"/>
                    <a:pt x="0" y="118983"/>
                  </a:cubicBezTo>
                  <a:cubicBezTo>
                    <a:pt x="0" y="97627"/>
                    <a:pt x="18305" y="9153"/>
                    <a:pt x="18305" y="6102"/>
                  </a:cubicBezTo>
                  <a:cubicBezTo>
                    <a:pt x="18305" y="3051"/>
                    <a:pt x="21356" y="0"/>
                    <a:pt x="24407" y="0"/>
                  </a:cubicBezTo>
                  <a:cubicBezTo>
                    <a:pt x="27457" y="0"/>
                    <a:pt x="30508" y="3051"/>
                    <a:pt x="30508" y="6102"/>
                  </a:cubicBezTo>
                  <a:cubicBezTo>
                    <a:pt x="30508" y="6102"/>
                    <a:pt x="12203" y="97627"/>
                    <a:pt x="12203" y="118983"/>
                  </a:cubicBezTo>
                  <a:cubicBezTo>
                    <a:pt x="12203" y="118983"/>
                    <a:pt x="12203" y="122034"/>
                    <a:pt x="12203" y="122034"/>
                  </a:cubicBezTo>
                  <a:cubicBezTo>
                    <a:pt x="18305" y="128136"/>
                    <a:pt x="39662" y="125085"/>
                    <a:pt x="51865" y="125085"/>
                  </a:cubicBezTo>
                  <a:cubicBezTo>
                    <a:pt x="54916" y="125085"/>
                    <a:pt x="57966" y="128136"/>
                    <a:pt x="57966" y="131186"/>
                  </a:cubicBezTo>
                  <a:cubicBezTo>
                    <a:pt x="57966" y="134237"/>
                    <a:pt x="54916" y="137288"/>
                    <a:pt x="51865" y="137288"/>
                  </a:cubicBezTo>
                  <a:cubicBezTo>
                    <a:pt x="54916" y="137288"/>
                    <a:pt x="45763" y="137288"/>
                    <a:pt x="33560" y="137288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E22E72BD-15C7-4FFC-9A6C-D80CBBF9599B}"/>
                </a:ext>
              </a:extLst>
            </p:cNvPr>
            <p:cNvSpPr/>
            <p:nvPr/>
          </p:nvSpPr>
          <p:spPr>
            <a:xfrm>
              <a:off x="15780796" y="2160442"/>
              <a:ext cx="41036" cy="40857"/>
            </a:xfrm>
            <a:custGeom>
              <a:avLst/>
              <a:gdLst>
                <a:gd name="connsiteX0" fmla="*/ 40259 w 41036"/>
                <a:gd name="connsiteY0" fmla="*/ 25005 h 40857"/>
                <a:gd name="connsiteX1" fmla="*/ 15853 w 41036"/>
                <a:gd name="connsiteY1" fmla="*/ 40259 h 40857"/>
                <a:gd name="connsiteX2" fmla="*/ 599 w 41036"/>
                <a:gd name="connsiteY2" fmla="*/ 15853 h 40857"/>
                <a:gd name="connsiteX3" fmla="*/ 25005 w 41036"/>
                <a:gd name="connsiteY3" fmla="*/ 598 h 40857"/>
                <a:gd name="connsiteX4" fmla="*/ 40259 w 41036"/>
                <a:gd name="connsiteY4" fmla="*/ 25005 h 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6" h="40857">
                  <a:moveTo>
                    <a:pt x="40259" y="25005"/>
                  </a:moveTo>
                  <a:cubicBezTo>
                    <a:pt x="37208" y="34158"/>
                    <a:pt x="28056" y="43310"/>
                    <a:pt x="15853" y="40259"/>
                  </a:cubicBezTo>
                  <a:cubicBezTo>
                    <a:pt x="6700" y="37209"/>
                    <a:pt x="-2453" y="28056"/>
                    <a:pt x="599" y="15853"/>
                  </a:cubicBezTo>
                  <a:cubicBezTo>
                    <a:pt x="3649" y="6700"/>
                    <a:pt x="12802" y="-2452"/>
                    <a:pt x="25005" y="598"/>
                  </a:cubicBezTo>
                  <a:cubicBezTo>
                    <a:pt x="37208" y="6700"/>
                    <a:pt x="43310" y="15853"/>
                    <a:pt x="40259" y="25005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2643451E-F0E7-4DC9-A0C5-FB96D22FB9A7}"/>
                </a:ext>
              </a:extLst>
            </p:cNvPr>
            <p:cNvSpPr/>
            <p:nvPr/>
          </p:nvSpPr>
          <p:spPr>
            <a:xfrm>
              <a:off x="15963847" y="2181798"/>
              <a:ext cx="41036" cy="40857"/>
            </a:xfrm>
            <a:custGeom>
              <a:avLst/>
              <a:gdLst>
                <a:gd name="connsiteX0" fmla="*/ 40259 w 41036"/>
                <a:gd name="connsiteY0" fmla="*/ 25005 h 40857"/>
                <a:gd name="connsiteX1" fmla="*/ 15853 w 41036"/>
                <a:gd name="connsiteY1" fmla="*/ 40259 h 40857"/>
                <a:gd name="connsiteX2" fmla="*/ 599 w 41036"/>
                <a:gd name="connsiteY2" fmla="*/ 15853 h 40857"/>
                <a:gd name="connsiteX3" fmla="*/ 25005 w 41036"/>
                <a:gd name="connsiteY3" fmla="*/ 598 h 40857"/>
                <a:gd name="connsiteX4" fmla="*/ 40259 w 41036"/>
                <a:gd name="connsiteY4" fmla="*/ 25005 h 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036" h="40857">
                  <a:moveTo>
                    <a:pt x="40259" y="25005"/>
                  </a:moveTo>
                  <a:cubicBezTo>
                    <a:pt x="37208" y="34158"/>
                    <a:pt x="28056" y="43310"/>
                    <a:pt x="15853" y="40259"/>
                  </a:cubicBezTo>
                  <a:cubicBezTo>
                    <a:pt x="6700" y="37209"/>
                    <a:pt x="-2453" y="28056"/>
                    <a:pt x="599" y="15853"/>
                  </a:cubicBezTo>
                  <a:cubicBezTo>
                    <a:pt x="3649" y="6700"/>
                    <a:pt x="12802" y="-2452"/>
                    <a:pt x="25005" y="598"/>
                  </a:cubicBezTo>
                  <a:cubicBezTo>
                    <a:pt x="37208" y="3649"/>
                    <a:pt x="43310" y="15853"/>
                    <a:pt x="40259" y="25005"/>
                  </a:cubicBezTo>
                  <a:close/>
                </a:path>
              </a:pathLst>
            </a:custGeom>
            <a:solidFill>
              <a:srgbClr val="38333D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2A3E6114-C470-4D01-9376-1ECF98D35E6C}"/>
                </a:ext>
              </a:extLst>
            </p:cNvPr>
            <p:cNvSpPr/>
            <p:nvPr/>
          </p:nvSpPr>
          <p:spPr>
            <a:xfrm>
              <a:off x="15757750" y="2112227"/>
              <a:ext cx="92026" cy="33559"/>
            </a:xfrm>
            <a:custGeom>
              <a:avLst/>
              <a:gdLst>
                <a:gd name="connsiteX0" fmla="*/ 8390 w 92026"/>
                <a:gd name="connsiteY0" fmla="*/ 33559 h 33559"/>
                <a:gd name="connsiteX1" fmla="*/ 2288 w 92026"/>
                <a:gd name="connsiteY1" fmla="*/ 30508 h 33559"/>
                <a:gd name="connsiteX2" fmla="*/ 2288 w 92026"/>
                <a:gd name="connsiteY2" fmla="*/ 18305 h 33559"/>
                <a:gd name="connsiteX3" fmla="*/ 87712 w 92026"/>
                <a:gd name="connsiteY3" fmla="*/ 9153 h 33559"/>
                <a:gd name="connsiteX4" fmla="*/ 90763 w 92026"/>
                <a:gd name="connsiteY4" fmla="*/ 21356 h 33559"/>
                <a:gd name="connsiteX5" fmla="*/ 78559 w 92026"/>
                <a:gd name="connsiteY5" fmla="*/ 24407 h 33559"/>
                <a:gd name="connsiteX6" fmla="*/ 11440 w 92026"/>
                <a:gd name="connsiteY6" fmla="*/ 30508 h 33559"/>
                <a:gd name="connsiteX7" fmla="*/ 8390 w 92026"/>
                <a:gd name="connsiteY7" fmla="*/ 33559 h 3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3559">
                  <a:moveTo>
                    <a:pt x="8390" y="33559"/>
                  </a:moveTo>
                  <a:cubicBezTo>
                    <a:pt x="5339" y="33559"/>
                    <a:pt x="5339" y="33559"/>
                    <a:pt x="2288" y="30508"/>
                  </a:cubicBezTo>
                  <a:cubicBezTo>
                    <a:pt x="-763" y="27458"/>
                    <a:pt x="-763" y="21356"/>
                    <a:pt x="2288" y="18305"/>
                  </a:cubicBezTo>
                  <a:cubicBezTo>
                    <a:pt x="29746" y="-9153"/>
                    <a:pt x="69407" y="0"/>
                    <a:pt x="87712" y="9153"/>
                  </a:cubicBezTo>
                  <a:cubicBezTo>
                    <a:pt x="90763" y="12203"/>
                    <a:pt x="93814" y="15254"/>
                    <a:pt x="90763" y="21356"/>
                  </a:cubicBezTo>
                  <a:cubicBezTo>
                    <a:pt x="87712" y="24407"/>
                    <a:pt x="84662" y="27458"/>
                    <a:pt x="78559" y="24407"/>
                  </a:cubicBezTo>
                  <a:cubicBezTo>
                    <a:pt x="75508" y="24407"/>
                    <a:pt x="38899" y="3051"/>
                    <a:pt x="11440" y="30508"/>
                  </a:cubicBezTo>
                  <a:cubicBezTo>
                    <a:pt x="11440" y="33559"/>
                    <a:pt x="11440" y="33559"/>
                    <a:pt x="8390" y="33559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C50FC14F-FD30-4B9E-8507-84819393FBA6}"/>
                </a:ext>
              </a:extLst>
            </p:cNvPr>
            <p:cNvSpPr/>
            <p:nvPr/>
          </p:nvSpPr>
          <p:spPr>
            <a:xfrm>
              <a:off x="15944876" y="2116295"/>
              <a:ext cx="92026" cy="35593"/>
            </a:xfrm>
            <a:custGeom>
              <a:avLst/>
              <a:gdLst>
                <a:gd name="connsiteX0" fmla="*/ 86687 w 92026"/>
                <a:gd name="connsiteY0" fmla="*/ 35593 h 35593"/>
                <a:gd name="connsiteX1" fmla="*/ 80586 w 92026"/>
                <a:gd name="connsiteY1" fmla="*/ 32542 h 35593"/>
                <a:gd name="connsiteX2" fmla="*/ 13467 w 92026"/>
                <a:gd name="connsiteY2" fmla="*/ 26441 h 35593"/>
                <a:gd name="connsiteX3" fmla="*/ 1264 w 92026"/>
                <a:gd name="connsiteY3" fmla="*/ 23390 h 35593"/>
                <a:gd name="connsiteX4" fmla="*/ 4315 w 92026"/>
                <a:gd name="connsiteY4" fmla="*/ 11186 h 35593"/>
                <a:gd name="connsiteX5" fmla="*/ 89738 w 92026"/>
                <a:gd name="connsiteY5" fmla="*/ 20339 h 35593"/>
                <a:gd name="connsiteX6" fmla="*/ 89738 w 92026"/>
                <a:gd name="connsiteY6" fmla="*/ 32542 h 35593"/>
                <a:gd name="connsiteX7" fmla="*/ 86687 w 92026"/>
                <a:gd name="connsiteY7" fmla="*/ 35593 h 35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026" h="35593">
                  <a:moveTo>
                    <a:pt x="86687" y="35593"/>
                  </a:moveTo>
                  <a:cubicBezTo>
                    <a:pt x="83636" y="35593"/>
                    <a:pt x="83636" y="35593"/>
                    <a:pt x="80586" y="32542"/>
                  </a:cubicBezTo>
                  <a:cubicBezTo>
                    <a:pt x="80586" y="32542"/>
                    <a:pt x="50078" y="2034"/>
                    <a:pt x="13467" y="26441"/>
                  </a:cubicBezTo>
                  <a:cubicBezTo>
                    <a:pt x="10416" y="29492"/>
                    <a:pt x="4315" y="26441"/>
                    <a:pt x="1264" y="23390"/>
                  </a:cubicBezTo>
                  <a:cubicBezTo>
                    <a:pt x="-1787" y="20339"/>
                    <a:pt x="1264" y="14237"/>
                    <a:pt x="4315" y="11186"/>
                  </a:cubicBezTo>
                  <a:cubicBezTo>
                    <a:pt x="40924" y="-13220"/>
                    <a:pt x="77535" y="8136"/>
                    <a:pt x="89738" y="20339"/>
                  </a:cubicBezTo>
                  <a:cubicBezTo>
                    <a:pt x="92789" y="23390"/>
                    <a:pt x="92789" y="29492"/>
                    <a:pt x="89738" y="32542"/>
                  </a:cubicBezTo>
                  <a:cubicBezTo>
                    <a:pt x="89738" y="35593"/>
                    <a:pt x="89738" y="35593"/>
                    <a:pt x="86687" y="35593"/>
                  </a:cubicBezTo>
                  <a:close/>
                </a:path>
              </a:pathLst>
            </a:custGeom>
            <a:solidFill>
              <a:srgbClr val="664540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86B6F78D-4E92-48A6-BDE7-98E6F56D3171}"/>
                </a:ext>
              </a:extLst>
            </p:cNvPr>
            <p:cNvSpPr/>
            <p:nvPr/>
          </p:nvSpPr>
          <p:spPr>
            <a:xfrm>
              <a:off x="15815716" y="2434353"/>
              <a:ext cx="232365" cy="62280"/>
            </a:xfrm>
            <a:custGeom>
              <a:avLst/>
              <a:gdLst>
                <a:gd name="connsiteX0" fmla="*/ 81610 w 232365"/>
                <a:gd name="connsiteY0" fmla="*/ 62281 h 62280"/>
                <a:gd name="connsiteX1" fmla="*/ 81610 w 232365"/>
                <a:gd name="connsiteY1" fmla="*/ 62281 h 62280"/>
                <a:gd name="connsiteX2" fmla="*/ 2288 w 232365"/>
                <a:gd name="connsiteY2" fmla="*/ 34823 h 62280"/>
                <a:gd name="connsiteX3" fmla="*/ 2288 w 232365"/>
                <a:gd name="connsiteY3" fmla="*/ 25670 h 62280"/>
                <a:gd name="connsiteX4" fmla="*/ 11441 w 232365"/>
                <a:gd name="connsiteY4" fmla="*/ 25670 h 62280"/>
                <a:gd name="connsiteX5" fmla="*/ 81610 w 232365"/>
                <a:gd name="connsiteY5" fmla="*/ 50077 h 62280"/>
                <a:gd name="connsiteX6" fmla="*/ 81610 w 232365"/>
                <a:gd name="connsiteY6" fmla="*/ 50077 h 62280"/>
                <a:gd name="connsiteX7" fmla="*/ 221950 w 232365"/>
                <a:gd name="connsiteY7" fmla="*/ 1264 h 62280"/>
                <a:gd name="connsiteX8" fmla="*/ 231102 w 232365"/>
                <a:gd name="connsiteY8" fmla="*/ 4315 h 62280"/>
                <a:gd name="connsiteX9" fmla="*/ 228051 w 232365"/>
                <a:gd name="connsiteY9" fmla="*/ 13467 h 62280"/>
                <a:gd name="connsiteX10" fmla="*/ 81610 w 232365"/>
                <a:gd name="connsiteY10" fmla="*/ 62281 h 62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2365" h="62280">
                  <a:moveTo>
                    <a:pt x="81610" y="62281"/>
                  </a:moveTo>
                  <a:cubicBezTo>
                    <a:pt x="81610" y="62281"/>
                    <a:pt x="78559" y="62281"/>
                    <a:pt x="81610" y="62281"/>
                  </a:cubicBezTo>
                  <a:cubicBezTo>
                    <a:pt x="38899" y="62281"/>
                    <a:pt x="5339" y="34823"/>
                    <a:pt x="2288" y="34823"/>
                  </a:cubicBezTo>
                  <a:cubicBezTo>
                    <a:pt x="-763" y="31772"/>
                    <a:pt x="-763" y="28721"/>
                    <a:pt x="2288" y="25670"/>
                  </a:cubicBezTo>
                  <a:cubicBezTo>
                    <a:pt x="5339" y="22620"/>
                    <a:pt x="8390" y="22620"/>
                    <a:pt x="11441" y="25670"/>
                  </a:cubicBezTo>
                  <a:cubicBezTo>
                    <a:pt x="11441" y="25670"/>
                    <a:pt x="41950" y="50077"/>
                    <a:pt x="81610" y="50077"/>
                  </a:cubicBezTo>
                  <a:cubicBezTo>
                    <a:pt x="81610" y="50077"/>
                    <a:pt x="81610" y="50077"/>
                    <a:pt x="81610" y="50077"/>
                  </a:cubicBezTo>
                  <a:cubicBezTo>
                    <a:pt x="130424" y="50077"/>
                    <a:pt x="218899" y="1264"/>
                    <a:pt x="221950" y="1264"/>
                  </a:cubicBezTo>
                  <a:cubicBezTo>
                    <a:pt x="225001" y="-1787"/>
                    <a:pt x="228051" y="1264"/>
                    <a:pt x="231102" y="4315"/>
                  </a:cubicBezTo>
                  <a:cubicBezTo>
                    <a:pt x="234153" y="7365"/>
                    <a:pt x="231102" y="10416"/>
                    <a:pt x="228051" y="13467"/>
                  </a:cubicBezTo>
                  <a:cubicBezTo>
                    <a:pt x="221950" y="13467"/>
                    <a:pt x="133475" y="62281"/>
                    <a:pt x="81610" y="62281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F8B1BB4F-A41C-4FA9-8857-AFA06AA19F14}"/>
                </a:ext>
              </a:extLst>
            </p:cNvPr>
            <p:cNvSpPr/>
            <p:nvPr/>
          </p:nvSpPr>
          <p:spPr>
            <a:xfrm>
              <a:off x="16065123" y="1947481"/>
              <a:ext cx="113197" cy="268474"/>
            </a:xfrm>
            <a:custGeom>
              <a:avLst/>
              <a:gdLst>
                <a:gd name="connsiteX0" fmla="*/ 0 w 113197"/>
                <a:gd name="connsiteY0" fmla="*/ 128136 h 268474"/>
                <a:gd name="connsiteX1" fmla="*/ 48814 w 113197"/>
                <a:gd name="connsiteY1" fmla="*/ 268475 h 268474"/>
                <a:gd name="connsiteX2" fmla="*/ 106780 w 113197"/>
                <a:gd name="connsiteY2" fmla="*/ 167797 h 268474"/>
                <a:gd name="connsiteX3" fmla="*/ 48814 w 113197"/>
                <a:gd name="connsiteY3" fmla="*/ 0 h 268474"/>
                <a:gd name="connsiteX4" fmla="*/ 0 w 113197"/>
                <a:gd name="connsiteY4" fmla="*/ 128136 h 268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197" h="268474">
                  <a:moveTo>
                    <a:pt x="0" y="128136"/>
                  </a:moveTo>
                  <a:cubicBezTo>
                    <a:pt x="0" y="128136"/>
                    <a:pt x="54915" y="237966"/>
                    <a:pt x="48814" y="268475"/>
                  </a:cubicBezTo>
                  <a:cubicBezTo>
                    <a:pt x="48814" y="268475"/>
                    <a:pt x="91525" y="222712"/>
                    <a:pt x="106780" y="167797"/>
                  </a:cubicBezTo>
                  <a:cubicBezTo>
                    <a:pt x="122034" y="109831"/>
                    <a:pt x="112882" y="15254"/>
                    <a:pt x="48814" y="0"/>
                  </a:cubicBezTo>
                  <a:cubicBezTo>
                    <a:pt x="48814" y="0"/>
                    <a:pt x="39661" y="106780"/>
                    <a:pt x="0" y="128136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EF65D337-89D6-466D-A0E7-4F22CBCC9E54}"/>
                </a:ext>
              </a:extLst>
            </p:cNvPr>
            <p:cNvSpPr/>
            <p:nvPr/>
          </p:nvSpPr>
          <p:spPr>
            <a:xfrm>
              <a:off x="15622750" y="1830174"/>
              <a:ext cx="501140" cy="254626"/>
            </a:xfrm>
            <a:custGeom>
              <a:avLst/>
              <a:gdLst>
                <a:gd name="connsiteX0" fmla="*/ 442373 w 501140"/>
                <a:gd name="connsiteY0" fmla="*/ 245443 h 254626"/>
                <a:gd name="connsiteX1" fmla="*/ 320339 w 501140"/>
                <a:gd name="connsiteY1" fmla="*/ 205782 h 254626"/>
                <a:gd name="connsiteX2" fmla="*/ 0 w 501140"/>
                <a:gd name="connsiteY2" fmla="*/ 193578 h 254626"/>
                <a:gd name="connsiteX3" fmla="*/ 372204 w 501140"/>
                <a:gd name="connsiteY3" fmla="*/ 10528 h 254626"/>
                <a:gd name="connsiteX4" fmla="*/ 491187 w 501140"/>
                <a:gd name="connsiteY4" fmla="*/ 117307 h 254626"/>
                <a:gd name="connsiteX5" fmla="*/ 442373 w 501140"/>
                <a:gd name="connsiteY5" fmla="*/ 245443 h 254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1140" h="254626">
                  <a:moveTo>
                    <a:pt x="442373" y="245443"/>
                  </a:moveTo>
                  <a:cubicBezTo>
                    <a:pt x="442373" y="245443"/>
                    <a:pt x="347796" y="205782"/>
                    <a:pt x="320339" y="205782"/>
                  </a:cubicBezTo>
                  <a:cubicBezTo>
                    <a:pt x="219661" y="208833"/>
                    <a:pt x="91525" y="321714"/>
                    <a:pt x="0" y="193578"/>
                  </a:cubicBezTo>
                  <a:cubicBezTo>
                    <a:pt x="45763" y="92900"/>
                    <a:pt x="207457" y="-38286"/>
                    <a:pt x="372204" y="10528"/>
                  </a:cubicBezTo>
                  <a:cubicBezTo>
                    <a:pt x="451525" y="31884"/>
                    <a:pt x="485085" y="80697"/>
                    <a:pt x="491187" y="117307"/>
                  </a:cubicBezTo>
                  <a:cubicBezTo>
                    <a:pt x="491187" y="117307"/>
                    <a:pt x="533898" y="233239"/>
                    <a:pt x="442373" y="245443"/>
                  </a:cubicBezTo>
                  <a:close/>
                </a:path>
              </a:pathLst>
            </a:custGeom>
            <a:solidFill>
              <a:srgbClr val="D39778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9895B8BD-A36D-4B34-8F0A-1D797E9064A4}"/>
                </a:ext>
              </a:extLst>
            </p:cNvPr>
            <p:cNvSpPr/>
            <p:nvPr/>
          </p:nvSpPr>
          <p:spPr>
            <a:xfrm>
              <a:off x="16100377" y="2182206"/>
              <a:ext cx="78678" cy="110664"/>
            </a:xfrm>
            <a:custGeom>
              <a:avLst/>
              <a:gdLst>
                <a:gd name="connsiteX0" fmla="*/ 13559 w 78678"/>
                <a:gd name="connsiteY0" fmla="*/ 15445 h 110664"/>
                <a:gd name="connsiteX1" fmla="*/ 71525 w 78678"/>
                <a:gd name="connsiteY1" fmla="*/ 6292 h 110664"/>
                <a:gd name="connsiteX2" fmla="*/ 13559 w 78678"/>
                <a:gd name="connsiteY2" fmla="*/ 106970 h 110664"/>
                <a:gd name="connsiteX3" fmla="*/ 13559 w 78678"/>
                <a:gd name="connsiteY3" fmla="*/ 15445 h 11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78" h="110664">
                  <a:moveTo>
                    <a:pt x="13559" y="15445"/>
                  </a:moveTo>
                  <a:cubicBezTo>
                    <a:pt x="13559" y="15445"/>
                    <a:pt x="47119" y="-12013"/>
                    <a:pt x="71525" y="6292"/>
                  </a:cubicBezTo>
                  <a:cubicBezTo>
                    <a:pt x="95932" y="27648"/>
                    <a:pt x="53220" y="131377"/>
                    <a:pt x="13559" y="106970"/>
                  </a:cubicBezTo>
                  <a:cubicBezTo>
                    <a:pt x="-16949" y="88665"/>
                    <a:pt x="13559" y="15445"/>
                    <a:pt x="13559" y="15445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BED87DF1-6947-49B1-A665-2F0FF0DA875A}"/>
                </a:ext>
              </a:extLst>
            </p:cNvPr>
            <p:cNvSpPr/>
            <p:nvPr/>
          </p:nvSpPr>
          <p:spPr>
            <a:xfrm>
              <a:off x="16055971" y="1962736"/>
              <a:ext cx="73642" cy="241016"/>
            </a:xfrm>
            <a:custGeom>
              <a:avLst/>
              <a:gdLst>
                <a:gd name="connsiteX0" fmla="*/ 57966 w 73642"/>
                <a:gd name="connsiteY0" fmla="*/ 241017 h 241016"/>
                <a:gd name="connsiteX1" fmla="*/ 51864 w 73642"/>
                <a:gd name="connsiteY1" fmla="*/ 234915 h 241016"/>
                <a:gd name="connsiteX2" fmla="*/ 6101 w 73642"/>
                <a:gd name="connsiteY2" fmla="*/ 112881 h 241016"/>
                <a:gd name="connsiteX3" fmla="*/ 0 w 73642"/>
                <a:gd name="connsiteY3" fmla="*/ 106780 h 241016"/>
                <a:gd name="connsiteX4" fmla="*/ 9152 w 73642"/>
                <a:gd name="connsiteY4" fmla="*/ 103729 h 241016"/>
                <a:gd name="connsiteX5" fmla="*/ 57966 w 73642"/>
                <a:gd name="connsiteY5" fmla="*/ 64068 h 241016"/>
                <a:gd name="connsiteX6" fmla="*/ 57966 w 73642"/>
                <a:gd name="connsiteY6" fmla="*/ 6102 h 241016"/>
                <a:gd name="connsiteX7" fmla="*/ 61017 w 73642"/>
                <a:gd name="connsiteY7" fmla="*/ 0 h 241016"/>
                <a:gd name="connsiteX8" fmla="*/ 67118 w 73642"/>
                <a:gd name="connsiteY8" fmla="*/ 3051 h 241016"/>
                <a:gd name="connsiteX9" fmla="*/ 64067 w 73642"/>
                <a:gd name="connsiteY9" fmla="*/ 70170 h 241016"/>
                <a:gd name="connsiteX10" fmla="*/ 15254 w 73642"/>
                <a:gd name="connsiteY10" fmla="*/ 112881 h 241016"/>
                <a:gd name="connsiteX11" fmla="*/ 61017 w 73642"/>
                <a:gd name="connsiteY11" fmla="*/ 234915 h 241016"/>
                <a:gd name="connsiteX12" fmla="*/ 57966 w 73642"/>
                <a:gd name="connsiteY12" fmla="*/ 241017 h 241016"/>
                <a:gd name="connsiteX13" fmla="*/ 57966 w 73642"/>
                <a:gd name="connsiteY13" fmla="*/ 241017 h 241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642" h="241016">
                  <a:moveTo>
                    <a:pt x="57966" y="241017"/>
                  </a:moveTo>
                  <a:cubicBezTo>
                    <a:pt x="54915" y="241017"/>
                    <a:pt x="51864" y="237966"/>
                    <a:pt x="51864" y="234915"/>
                  </a:cubicBezTo>
                  <a:cubicBezTo>
                    <a:pt x="45763" y="173898"/>
                    <a:pt x="6101" y="112881"/>
                    <a:pt x="6101" y="112881"/>
                  </a:cubicBezTo>
                  <a:lnTo>
                    <a:pt x="0" y="106780"/>
                  </a:lnTo>
                  <a:lnTo>
                    <a:pt x="9152" y="103729"/>
                  </a:lnTo>
                  <a:cubicBezTo>
                    <a:pt x="9152" y="103729"/>
                    <a:pt x="42712" y="91525"/>
                    <a:pt x="57966" y="64068"/>
                  </a:cubicBezTo>
                  <a:cubicBezTo>
                    <a:pt x="67118" y="48814"/>
                    <a:pt x="67118" y="27458"/>
                    <a:pt x="57966" y="6102"/>
                  </a:cubicBezTo>
                  <a:cubicBezTo>
                    <a:pt x="57966" y="3051"/>
                    <a:pt x="57966" y="0"/>
                    <a:pt x="61017" y="0"/>
                  </a:cubicBezTo>
                  <a:cubicBezTo>
                    <a:pt x="64067" y="0"/>
                    <a:pt x="67118" y="0"/>
                    <a:pt x="67118" y="3051"/>
                  </a:cubicBezTo>
                  <a:cubicBezTo>
                    <a:pt x="76271" y="27458"/>
                    <a:pt x="76271" y="51864"/>
                    <a:pt x="64067" y="70170"/>
                  </a:cubicBezTo>
                  <a:cubicBezTo>
                    <a:pt x="51864" y="94576"/>
                    <a:pt x="27457" y="106780"/>
                    <a:pt x="15254" y="112881"/>
                  </a:cubicBezTo>
                  <a:cubicBezTo>
                    <a:pt x="27457" y="131186"/>
                    <a:pt x="54915" y="180000"/>
                    <a:pt x="61017" y="234915"/>
                  </a:cubicBezTo>
                  <a:cubicBezTo>
                    <a:pt x="64067" y="237966"/>
                    <a:pt x="61017" y="241017"/>
                    <a:pt x="57966" y="241017"/>
                  </a:cubicBezTo>
                  <a:cubicBezTo>
                    <a:pt x="57966" y="241017"/>
                    <a:pt x="57966" y="241017"/>
                    <a:pt x="57966" y="241017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FA5CAF32-3458-4770-8E6D-C90D44B20F41}"/>
                </a:ext>
              </a:extLst>
            </p:cNvPr>
            <p:cNvSpPr/>
            <p:nvPr/>
          </p:nvSpPr>
          <p:spPr>
            <a:xfrm>
              <a:off x="15752581" y="2005971"/>
              <a:ext cx="194823" cy="36086"/>
            </a:xfrm>
            <a:custGeom>
              <a:avLst/>
              <a:gdLst>
                <a:gd name="connsiteX0" fmla="*/ 190509 w 194823"/>
                <a:gd name="connsiteY0" fmla="*/ 36087 h 36086"/>
                <a:gd name="connsiteX1" fmla="*/ 190509 w 194823"/>
                <a:gd name="connsiteY1" fmla="*/ 36087 h 36086"/>
                <a:gd name="connsiteX2" fmla="*/ 10509 w 194823"/>
                <a:gd name="connsiteY2" fmla="*/ 29985 h 36086"/>
                <a:gd name="connsiteX3" fmla="*/ 1356 w 194823"/>
                <a:gd name="connsiteY3" fmla="*/ 29985 h 36086"/>
                <a:gd name="connsiteX4" fmla="*/ 1356 w 194823"/>
                <a:gd name="connsiteY4" fmla="*/ 20833 h 36086"/>
                <a:gd name="connsiteX5" fmla="*/ 190509 w 194823"/>
                <a:gd name="connsiteY5" fmla="*/ 26934 h 36086"/>
                <a:gd name="connsiteX6" fmla="*/ 193560 w 194823"/>
                <a:gd name="connsiteY6" fmla="*/ 36087 h 36086"/>
                <a:gd name="connsiteX7" fmla="*/ 190509 w 194823"/>
                <a:gd name="connsiteY7" fmla="*/ 36087 h 36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4823" h="36086">
                  <a:moveTo>
                    <a:pt x="190509" y="36087"/>
                  </a:moveTo>
                  <a:cubicBezTo>
                    <a:pt x="190509" y="36087"/>
                    <a:pt x="190509" y="36087"/>
                    <a:pt x="190509" y="36087"/>
                  </a:cubicBezTo>
                  <a:cubicBezTo>
                    <a:pt x="187457" y="36087"/>
                    <a:pt x="74577" y="-15777"/>
                    <a:pt x="10509" y="29985"/>
                  </a:cubicBezTo>
                  <a:cubicBezTo>
                    <a:pt x="7458" y="33036"/>
                    <a:pt x="4407" y="29985"/>
                    <a:pt x="1356" y="29985"/>
                  </a:cubicBezTo>
                  <a:cubicBezTo>
                    <a:pt x="-1695" y="26934"/>
                    <a:pt x="1356" y="23884"/>
                    <a:pt x="1356" y="20833"/>
                  </a:cubicBezTo>
                  <a:cubicBezTo>
                    <a:pt x="74577" y="-27981"/>
                    <a:pt x="187457" y="23884"/>
                    <a:pt x="190509" y="26934"/>
                  </a:cubicBezTo>
                  <a:cubicBezTo>
                    <a:pt x="193560" y="26934"/>
                    <a:pt x="193560" y="33036"/>
                    <a:pt x="193560" y="36087"/>
                  </a:cubicBezTo>
                  <a:cubicBezTo>
                    <a:pt x="196611" y="36087"/>
                    <a:pt x="193560" y="36087"/>
                    <a:pt x="190509" y="36087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A7BD5B3E-202C-4736-B63B-9A825C6612C5}"/>
                </a:ext>
              </a:extLst>
            </p:cNvPr>
            <p:cNvSpPr/>
            <p:nvPr/>
          </p:nvSpPr>
          <p:spPr>
            <a:xfrm>
              <a:off x="15390068" y="2551549"/>
              <a:ext cx="1071665" cy="1567951"/>
            </a:xfrm>
            <a:custGeom>
              <a:avLst/>
              <a:gdLst>
                <a:gd name="connsiteX0" fmla="*/ 675055 w 1071665"/>
                <a:gd name="connsiteY0" fmla="*/ 0 h 1567951"/>
                <a:gd name="connsiteX1" fmla="*/ 385225 w 1071665"/>
                <a:gd name="connsiteY1" fmla="*/ 0 h 1567951"/>
                <a:gd name="connsiteX2" fmla="*/ 86242 w 1071665"/>
                <a:gd name="connsiteY2" fmla="*/ 131186 h 1567951"/>
                <a:gd name="connsiteX3" fmla="*/ 818 w 1071665"/>
                <a:gd name="connsiteY3" fmla="*/ 1537627 h 1567951"/>
                <a:gd name="connsiteX4" fmla="*/ 1071665 w 1071665"/>
                <a:gd name="connsiteY4" fmla="*/ 1513220 h 1567951"/>
                <a:gd name="connsiteX5" fmla="*/ 955734 w 1071665"/>
                <a:gd name="connsiteY5" fmla="*/ 103729 h 1567951"/>
                <a:gd name="connsiteX6" fmla="*/ 675055 w 1071665"/>
                <a:gd name="connsiteY6" fmla="*/ 0 h 156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1665" h="1567951">
                  <a:moveTo>
                    <a:pt x="675055" y="0"/>
                  </a:moveTo>
                  <a:cubicBezTo>
                    <a:pt x="675055" y="0"/>
                    <a:pt x="501157" y="54915"/>
                    <a:pt x="385225" y="0"/>
                  </a:cubicBezTo>
                  <a:cubicBezTo>
                    <a:pt x="385225" y="0"/>
                    <a:pt x="110649" y="97627"/>
                    <a:pt x="86242" y="131186"/>
                  </a:cubicBezTo>
                  <a:cubicBezTo>
                    <a:pt x="61835" y="161695"/>
                    <a:pt x="-8334" y="1470508"/>
                    <a:pt x="818" y="1537627"/>
                  </a:cubicBezTo>
                  <a:cubicBezTo>
                    <a:pt x="818" y="1537627"/>
                    <a:pt x="492004" y="1620000"/>
                    <a:pt x="1071665" y="1513220"/>
                  </a:cubicBezTo>
                  <a:cubicBezTo>
                    <a:pt x="1071665" y="1156271"/>
                    <a:pt x="998445" y="134237"/>
                    <a:pt x="955734" y="103729"/>
                  </a:cubicBezTo>
                  <a:cubicBezTo>
                    <a:pt x="913021" y="70169"/>
                    <a:pt x="675055" y="0"/>
                    <a:pt x="675055" y="0"/>
                  </a:cubicBez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486787A5-153D-4CB5-AB9B-33EABF280EC5}"/>
                </a:ext>
              </a:extLst>
            </p:cNvPr>
            <p:cNvSpPr/>
            <p:nvPr/>
          </p:nvSpPr>
          <p:spPr>
            <a:xfrm>
              <a:off x="15427496" y="2675370"/>
              <a:ext cx="53127" cy="742619"/>
            </a:xfrm>
            <a:custGeom>
              <a:avLst/>
              <a:gdLst>
                <a:gd name="connsiteX0" fmla="*/ 6101 w 53127"/>
                <a:gd name="connsiteY0" fmla="*/ 742620 h 742619"/>
                <a:gd name="connsiteX1" fmla="*/ 6101 w 53127"/>
                <a:gd name="connsiteY1" fmla="*/ 742620 h 742619"/>
                <a:gd name="connsiteX2" fmla="*/ 0 w 53127"/>
                <a:gd name="connsiteY2" fmla="*/ 736518 h 742619"/>
                <a:gd name="connsiteX3" fmla="*/ 42712 w 53127"/>
                <a:gd name="connsiteY3" fmla="*/ 4315 h 742619"/>
                <a:gd name="connsiteX4" fmla="*/ 48814 w 53127"/>
                <a:gd name="connsiteY4" fmla="*/ 1264 h 742619"/>
                <a:gd name="connsiteX5" fmla="*/ 51864 w 53127"/>
                <a:gd name="connsiteY5" fmla="*/ 7365 h 742619"/>
                <a:gd name="connsiteX6" fmla="*/ 9152 w 53127"/>
                <a:gd name="connsiteY6" fmla="*/ 736518 h 742619"/>
                <a:gd name="connsiteX7" fmla="*/ 6101 w 53127"/>
                <a:gd name="connsiteY7" fmla="*/ 742620 h 742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127" h="742619">
                  <a:moveTo>
                    <a:pt x="6101" y="742620"/>
                  </a:moveTo>
                  <a:cubicBezTo>
                    <a:pt x="6101" y="742620"/>
                    <a:pt x="6101" y="742620"/>
                    <a:pt x="6101" y="742620"/>
                  </a:cubicBezTo>
                  <a:cubicBezTo>
                    <a:pt x="3051" y="742620"/>
                    <a:pt x="0" y="739569"/>
                    <a:pt x="0" y="736518"/>
                  </a:cubicBezTo>
                  <a:cubicBezTo>
                    <a:pt x="0" y="709060"/>
                    <a:pt x="36610" y="43976"/>
                    <a:pt x="42712" y="4315"/>
                  </a:cubicBezTo>
                  <a:cubicBezTo>
                    <a:pt x="42712" y="1264"/>
                    <a:pt x="45763" y="-1787"/>
                    <a:pt x="48814" y="1264"/>
                  </a:cubicBezTo>
                  <a:cubicBezTo>
                    <a:pt x="51864" y="1264"/>
                    <a:pt x="54915" y="4315"/>
                    <a:pt x="51864" y="7365"/>
                  </a:cubicBezTo>
                  <a:cubicBezTo>
                    <a:pt x="42712" y="47026"/>
                    <a:pt x="9152" y="730416"/>
                    <a:pt x="9152" y="736518"/>
                  </a:cubicBezTo>
                  <a:cubicBezTo>
                    <a:pt x="12203" y="739569"/>
                    <a:pt x="9152" y="742620"/>
                    <a:pt x="6101" y="742620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E07A654D-8999-45F7-A48A-E87348A9AF0B}"/>
                </a:ext>
              </a:extLst>
            </p:cNvPr>
            <p:cNvSpPr/>
            <p:nvPr/>
          </p:nvSpPr>
          <p:spPr>
            <a:xfrm>
              <a:off x="15818767" y="2381464"/>
              <a:ext cx="121271" cy="26694"/>
            </a:xfrm>
            <a:custGeom>
              <a:avLst/>
              <a:gdLst>
                <a:gd name="connsiteX0" fmla="*/ 51102 w 121271"/>
                <a:gd name="connsiteY0" fmla="*/ 26695 h 26694"/>
                <a:gd name="connsiteX1" fmla="*/ 2288 w 121271"/>
                <a:gd name="connsiteY1" fmla="*/ 11441 h 26694"/>
                <a:gd name="connsiteX2" fmla="*/ 2288 w 121271"/>
                <a:gd name="connsiteY2" fmla="*/ 2288 h 26694"/>
                <a:gd name="connsiteX3" fmla="*/ 11440 w 121271"/>
                <a:gd name="connsiteY3" fmla="*/ 2288 h 26694"/>
                <a:gd name="connsiteX4" fmla="*/ 112119 w 121271"/>
                <a:gd name="connsiteY4" fmla="*/ 2288 h 26694"/>
                <a:gd name="connsiteX5" fmla="*/ 121271 w 121271"/>
                <a:gd name="connsiteY5" fmla="*/ 5339 h 26694"/>
                <a:gd name="connsiteX6" fmla="*/ 118220 w 121271"/>
                <a:gd name="connsiteY6" fmla="*/ 14492 h 26694"/>
                <a:gd name="connsiteX7" fmla="*/ 51102 w 121271"/>
                <a:gd name="connsiteY7" fmla="*/ 26695 h 26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271" h="26694">
                  <a:moveTo>
                    <a:pt x="51102" y="26695"/>
                  </a:moveTo>
                  <a:cubicBezTo>
                    <a:pt x="32797" y="26695"/>
                    <a:pt x="17543" y="23644"/>
                    <a:pt x="2288" y="11441"/>
                  </a:cubicBezTo>
                  <a:cubicBezTo>
                    <a:pt x="-763" y="8390"/>
                    <a:pt x="-763" y="5339"/>
                    <a:pt x="2288" y="2288"/>
                  </a:cubicBezTo>
                  <a:cubicBezTo>
                    <a:pt x="5339" y="-763"/>
                    <a:pt x="8390" y="-763"/>
                    <a:pt x="11440" y="2288"/>
                  </a:cubicBezTo>
                  <a:cubicBezTo>
                    <a:pt x="51102" y="32797"/>
                    <a:pt x="112119" y="2288"/>
                    <a:pt x="112119" y="2288"/>
                  </a:cubicBezTo>
                  <a:cubicBezTo>
                    <a:pt x="115170" y="2288"/>
                    <a:pt x="118220" y="2288"/>
                    <a:pt x="121271" y="5339"/>
                  </a:cubicBezTo>
                  <a:cubicBezTo>
                    <a:pt x="121271" y="8390"/>
                    <a:pt x="121271" y="11441"/>
                    <a:pt x="118220" y="14492"/>
                  </a:cubicBezTo>
                  <a:cubicBezTo>
                    <a:pt x="112119" y="11441"/>
                    <a:pt x="81610" y="26695"/>
                    <a:pt x="51102" y="26695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AC73A975-3918-430A-82A6-071D8F417238}"/>
                </a:ext>
              </a:extLst>
            </p:cNvPr>
            <p:cNvSpPr/>
            <p:nvPr/>
          </p:nvSpPr>
          <p:spPr>
            <a:xfrm>
              <a:off x="14286005" y="2859800"/>
              <a:ext cx="324374" cy="335478"/>
            </a:xfrm>
            <a:custGeom>
              <a:avLst/>
              <a:gdLst>
                <a:gd name="connsiteX0" fmla="*/ 40135 w 324374"/>
                <a:gd name="connsiteY0" fmla="*/ 185987 h 335478"/>
                <a:gd name="connsiteX1" fmla="*/ 101152 w 324374"/>
                <a:gd name="connsiteY1" fmla="*/ 240902 h 335478"/>
                <a:gd name="connsiteX2" fmla="*/ 204880 w 324374"/>
                <a:gd name="connsiteY2" fmla="*/ 335478 h 335478"/>
                <a:gd name="connsiteX3" fmla="*/ 320813 w 324374"/>
                <a:gd name="connsiteY3" fmla="*/ 253105 h 335478"/>
                <a:gd name="connsiteX4" fmla="*/ 119457 w 324374"/>
                <a:gd name="connsiteY4" fmla="*/ 9038 h 335478"/>
                <a:gd name="connsiteX5" fmla="*/ 85898 w 324374"/>
                <a:gd name="connsiteY5" fmla="*/ 12088 h 335478"/>
                <a:gd name="connsiteX6" fmla="*/ 110304 w 324374"/>
                <a:gd name="connsiteY6" fmla="*/ 51749 h 335478"/>
                <a:gd name="connsiteX7" fmla="*/ 146915 w 324374"/>
                <a:gd name="connsiteY7" fmla="*/ 103614 h 335478"/>
                <a:gd name="connsiteX8" fmla="*/ 82847 w 324374"/>
                <a:gd name="connsiteY8" fmla="*/ 54800 h 335478"/>
                <a:gd name="connsiteX9" fmla="*/ 34033 w 324374"/>
                <a:gd name="connsiteY9" fmla="*/ 21241 h 335478"/>
                <a:gd name="connsiteX10" fmla="*/ 6575 w 324374"/>
                <a:gd name="connsiteY10" fmla="*/ 33444 h 335478"/>
                <a:gd name="connsiteX11" fmla="*/ 9626 w 324374"/>
                <a:gd name="connsiteY11" fmla="*/ 67004 h 335478"/>
                <a:gd name="connsiteX12" fmla="*/ 6575 w 324374"/>
                <a:gd name="connsiteY12" fmla="*/ 67004 h 335478"/>
                <a:gd name="connsiteX13" fmla="*/ 474 w 324374"/>
                <a:gd name="connsiteY13" fmla="*/ 70055 h 335478"/>
                <a:gd name="connsiteX14" fmla="*/ 21830 w 324374"/>
                <a:gd name="connsiteY14" fmla="*/ 115817 h 335478"/>
                <a:gd name="connsiteX15" fmla="*/ 43186 w 324374"/>
                <a:gd name="connsiteY15" fmla="*/ 134122 h 335478"/>
                <a:gd name="connsiteX16" fmla="*/ 37084 w 324374"/>
                <a:gd name="connsiteY16" fmla="*/ 131072 h 335478"/>
                <a:gd name="connsiteX17" fmla="*/ 15728 w 324374"/>
                <a:gd name="connsiteY17" fmla="*/ 140224 h 335478"/>
                <a:gd name="connsiteX18" fmla="*/ 40135 w 324374"/>
                <a:gd name="connsiteY18" fmla="*/ 185987 h 335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4374" h="335478">
                  <a:moveTo>
                    <a:pt x="40135" y="185987"/>
                  </a:moveTo>
                  <a:cubicBezTo>
                    <a:pt x="61491" y="204292"/>
                    <a:pt x="79796" y="222597"/>
                    <a:pt x="101152" y="240902"/>
                  </a:cubicBezTo>
                  <a:cubicBezTo>
                    <a:pt x="134711" y="271411"/>
                    <a:pt x="156067" y="335478"/>
                    <a:pt x="204880" y="335478"/>
                  </a:cubicBezTo>
                  <a:cubicBezTo>
                    <a:pt x="238440" y="335478"/>
                    <a:pt x="320813" y="253105"/>
                    <a:pt x="320813" y="253105"/>
                  </a:cubicBezTo>
                  <a:cubicBezTo>
                    <a:pt x="351322" y="173783"/>
                    <a:pt x="177423" y="45648"/>
                    <a:pt x="119457" y="9038"/>
                  </a:cubicBezTo>
                  <a:cubicBezTo>
                    <a:pt x="110304" y="2936"/>
                    <a:pt x="82847" y="-9267"/>
                    <a:pt x="85898" y="12088"/>
                  </a:cubicBezTo>
                  <a:cubicBezTo>
                    <a:pt x="85898" y="27343"/>
                    <a:pt x="104203" y="42597"/>
                    <a:pt x="110304" y="51749"/>
                  </a:cubicBezTo>
                  <a:cubicBezTo>
                    <a:pt x="122508" y="70055"/>
                    <a:pt x="134711" y="85309"/>
                    <a:pt x="146915" y="103614"/>
                  </a:cubicBezTo>
                  <a:cubicBezTo>
                    <a:pt x="125558" y="88360"/>
                    <a:pt x="104203" y="70055"/>
                    <a:pt x="82847" y="54800"/>
                  </a:cubicBezTo>
                  <a:cubicBezTo>
                    <a:pt x="67592" y="42597"/>
                    <a:pt x="52338" y="27343"/>
                    <a:pt x="34033" y="21241"/>
                  </a:cubicBezTo>
                  <a:cubicBezTo>
                    <a:pt x="21830" y="18190"/>
                    <a:pt x="12677" y="24292"/>
                    <a:pt x="6575" y="33444"/>
                  </a:cubicBezTo>
                  <a:cubicBezTo>
                    <a:pt x="474" y="45648"/>
                    <a:pt x="6575" y="57851"/>
                    <a:pt x="9626" y="67004"/>
                  </a:cubicBezTo>
                  <a:cubicBezTo>
                    <a:pt x="9626" y="67004"/>
                    <a:pt x="6575" y="67004"/>
                    <a:pt x="6575" y="67004"/>
                  </a:cubicBezTo>
                  <a:cubicBezTo>
                    <a:pt x="3524" y="67004"/>
                    <a:pt x="3524" y="70055"/>
                    <a:pt x="474" y="70055"/>
                  </a:cubicBezTo>
                  <a:cubicBezTo>
                    <a:pt x="-2577" y="88360"/>
                    <a:pt x="9626" y="103614"/>
                    <a:pt x="21830" y="115817"/>
                  </a:cubicBezTo>
                  <a:cubicBezTo>
                    <a:pt x="27932" y="121919"/>
                    <a:pt x="37084" y="128021"/>
                    <a:pt x="43186" y="134122"/>
                  </a:cubicBezTo>
                  <a:cubicBezTo>
                    <a:pt x="40135" y="134122"/>
                    <a:pt x="37084" y="131072"/>
                    <a:pt x="37084" y="131072"/>
                  </a:cubicBezTo>
                  <a:cubicBezTo>
                    <a:pt x="27932" y="131072"/>
                    <a:pt x="21830" y="131072"/>
                    <a:pt x="15728" y="140224"/>
                  </a:cubicBezTo>
                  <a:cubicBezTo>
                    <a:pt x="12677" y="161580"/>
                    <a:pt x="27932" y="176834"/>
                    <a:pt x="40135" y="185987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4" name="图形 114">
              <a:extLst>
                <a:ext uri="{FF2B5EF4-FFF2-40B4-BE49-F238E27FC236}">
                  <a16:creationId xmlns:a16="http://schemas.microsoft.com/office/drawing/2014/main" id="{F5288597-E4B2-48A1-AB88-DA7E720E7129}"/>
                </a:ext>
              </a:extLst>
            </p:cNvPr>
            <p:cNvGrpSpPr/>
            <p:nvPr/>
          </p:nvGrpSpPr>
          <p:grpSpPr>
            <a:xfrm>
              <a:off x="13856310" y="2414261"/>
              <a:ext cx="808474" cy="921355"/>
              <a:chOff x="13856310" y="2414261"/>
              <a:chExt cx="808474" cy="921355"/>
            </a:xfrm>
          </p:grpSpPr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F0E03AB0-1F1E-4321-B506-C54D09A80DB6}"/>
                  </a:ext>
                </a:extLst>
              </p:cNvPr>
              <p:cNvSpPr/>
              <p:nvPr/>
            </p:nvSpPr>
            <p:spPr>
              <a:xfrm>
                <a:off x="13947835" y="2414261"/>
                <a:ext cx="716949" cy="893898"/>
              </a:xfrm>
              <a:custGeom>
                <a:avLst/>
                <a:gdLst>
                  <a:gd name="connsiteX0" fmla="*/ 390508 w 716949"/>
                  <a:gd name="connsiteY0" fmla="*/ 893898 h 893898"/>
                  <a:gd name="connsiteX1" fmla="*/ 0 w 716949"/>
                  <a:gd name="connsiteY1" fmla="*/ 567458 h 893898"/>
                  <a:gd name="connsiteX2" fmla="*/ 286779 w 716949"/>
                  <a:gd name="connsiteY2" fmla="*/ 0 h 893898"/>
                  <a:gd name="connsiteX3" fmla="*/ 716949 w 716949"/>
                  <a:gd name="connsiteY3" fmla="*/ 335593 h 89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6949" h="893898">
                    <a:moveTo>
                      <a:pt x="390508" y="893898"/>
                    </a:moveTo>
                    <a:lnTo>
                      <a:pt x="0" y="567458"/>
                    </a:lnTo>
                    <a:lnTo>
                      <a:pt x="286779" y="0"/>
                    </a:lnTo>
                    <a:lnTo>
                      <a:pt x="716949" y="335593"/>
                    </a:ln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872956BF-56D1-4EC3-AE52-FB58EDB92509}"/>
                  </a:ext>
                </a:extLst>
              </p:cNvPr>
              <p:cNvSpPr/>
              <p:nvPr/>
            </p:nvSpPr>
            <p:spPr>
              <a:xfrm>
                <a:off x="14143089" y="2414261"/>
                <a:ext cx="115931" cy="201355"/>
              </a:xfrm>
              <a:custGeom>
                <a:avLst/>
                <a:gdLst>
                  <a:gd name="connsiteX0" fmla="*/ 0 w 115931"/>
                  <a:gd name="connsiteY0" fmla="*/ 27458 h 201355"/>
                  <a:gd name="connsiteX1" fmla="*/ 91525 w 115931"/>
                  <a:gd name="connsiteY1" fmla="*/ 0 h 201355"/>
                  <a:gd name="connsiteX2" fmla="*/ 115932 w 115931"/>
                  <a:gd name="connsiteY2" fmla="*/ 161695 h 201355"/>
                  <a:gd name="connsiteX3" fmla="*/ 36611 w 115931"/>
                  <a:gd name="connsiteY3" fmla="*/ 201356 h 201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5931" h="201355">
                    <a:moveTo>
                      <a:pt x="0" y="27458"/>
                    </a:moveTo>
                    <a:lnTo>
                      <a:pt x="91525" y="0"/>
                    </a:lnTo>
                    <a:lnTo>
                      <a:pt x="115932" y="161695"/>
                    </a:lnTo>
                    <a:lnTo>
                      <a:pt x="36611" y="201356"/>
                    </a:ln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AD9FDA0A-412C-4A4C-BB8A-352B71239E4C}"/>
                  </a:ext>
                </a:extLst>
              </p:cNvPr>
              <p:cNvSpPr/>
              <p:nvPr/>
            </p:nvSpPr>
            <p:spPr>
              <a:xfrm>
                <a:off x="14161394" y="2444769"/>
                <a:ext cx="463728" cy="842033"/>
              </a:xfrm>
              <a:custGeom>
                <a:avLst/>
                <a:gdLst>
                  <a:gd name="connsiteX0" fmla="*/ 0 w 463728"/>
                  <a:gd name="connsiteY0" fmla="*/ 24407 h 842033"/>
                  <a:gd name="connsiteX1" fmla="*/ 70169 w 463728"/>
                  <a:gd name="connsiteY1" fmla="*/ 0 h 842033"/>
                  <a:gd name="connsiteX2" fmla="*/ 463728 w 463728"/>
                  <a:gd name="connsiteY2" fmla="*/ 308136 h 842033"/>
                  <a:gd name="connsiteX3" fmla="*/ 170848 w 463728"/>
                  <a:gd name="connsiteY3" fmla="*/ 811525 h 842033"/>
                  <a:gd name="connsiteX4" fmla="*/ 70169 w 463728"/>
                  <a:gd name="connsiteY4" fmla="*/ 842034 h 842033"/>
                  <a:gd name="connsiteX5" fmla="*/ 15254 w 463728"/>
                  <a:gd name="connsiteY5" fmla="*/ 655932 h 842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3728" h="842033">
                    <a:moveTo>
                      <a:pt x="0" y="24407"/>
                    </a:moveTo>
                    <a:lnTo>
                      <a:pt x="70169" y="0"/>
                    </a:lnTo>
                    <a:lnTo>
                      <a:pt x="463728" y="308136"/>
                    </a:lnTo>
                    <a:lnTo>
                      <a:pt x="170848" y="811525"/>
                    </a:lnTo>
                    <a:lnTo>
                      <a:pt x="70169" y="842034"/>
                    </a:lnTo>
                    <a:lnTo>
                      <a:pt x="15254" y="655932"/>
                    </a:lnTo>
                    <a:close/>
                  </a:path>
                </a:pathLst>
              </a:custGeom>
              <a:solidFill>
                <a:srgbClr val="FFFFFF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984BD15B-9EEB-4B9E-9160-FD086497E49B}"/>
                  </a:ext>
                </a:extLst>
              </p:cNvPr>
              <p:cNvSpPr/>
              <p:nvPr/>
            </p:nvSpPr>
            <p:spPr>
              <a:xfrm>
                <a:off x="13856310" y="2441719"/>
                <a:ext cx="713898" cy="893898"/>
              </a:xfrm>
              <a:custGeom>
                <a:avLst/>
                <a:gdLst>
                  <a:gd name="connsiteX0" fmla="*/ 390508 w 713898"/>
                  <a:gd name="connsiteY0" fmla="*/ 893898 h 893898"/>
                  <a:gd name="connsiteX1" fmla="*/ 0 w 713898"/>
                  <a:gd name="connsiteY1" fmla="*/ 567458 h 893898"/>
                  <a:gd name="connsiteX2" fmla="*/ 286779 w 713898"/>
                  <a:gd name="connsiteY2" fmla="*/ 0 h 893898"/>
                  <a:gd name="connsiteX3" fmla="*/ 713898 w 713898"/>
                  <a:gd name="connsiteY3" fmla="*/ 335593 h 89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3898" h="893898">
                    <a:moveTo>
                      <a:pt x="390508" y="893898"/>
                    </a:moveTo>
                    <a:lnTo>
                      <a:pt x="0" y="567458"/>
                    </a:lnTo>
                    <a:lnTo>
                      <a:pt x="286779" y="0"/>
                    </a:lnTo>
                    <a:lnTo>
                      <a:pt x="713898" y="335593"/>
                    </a:ln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CC59CF21-476B-46F1-887E-42C9BD8E1B10}"/>
                </a:ext>
              </a:extLst>
            </p:cNvPr>
            <p:cNvSpPr/>
            <p:nvPr/>
          </p:nvSpPr>
          <p:spPr>
            <a:xfrm>
              <a:off x="14420245" y="2969360"/>
              <a:ext cx="154296" cy="137890"/>
            </a:xfrm>
            <a:custGeom>
              <a:avLst/>
              <a:gdLst>
                <a:gd name="connsiteX0" fmla="*/ 471 w 154296"/>
                <a:gd name="connsiteY0" fmla="*/ 52019 h 137890"/>
                <a:gd name="connsiteX1" fmla="*/ 30980 w 154296"/>
                <a:gd name="connsiteY1" fmla="*/ 52019 h 137890"/>
                <a:gd name="connsiteX2" fmla="*/ 91997 w 154296"/>
                <a:gd name="connsiteY2" fmla="*/ 79477 h 137890"/>
                <a:gd name="connsiteX3" fmla="*/ 116403 w 154296"/>
                <a:gd name="connsiteY3" fmla="*/ 137443 h 137890"/>
                <a:gd name="connsiteX4" fmla="*/ 153013 w 154296"/>
                <a:gd name="connsiteY4" fmla="*/ 67274 h 137890"/>
                <a:gd name="connsiteX5" fmla="*/ 64539 w 154296"/>
                <a:gd name="connsiteY5" fmla="*/ 155 h 137890"/>
                <a:gd name="connsiteX6" fmla="*/ 471 w 154296"/>
                <a:gd name="connsiteY6" fmla="*/ 52019 h 137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296" h="137890">
                  <a:moveTo>
                    <a:pt x="471" y="52019"/>
                  </a:moveTo>
                  <a:cubicBezTo>
                    <a:pt x="3522" y="64223"/>
                    <a:pt x="21826" y="52019"/>
                    <a:pt x="30980" y="52019"/>
                  </a:cubicBezTo>
                  <a:cubicBezTo>
                    <a:pt x="55386" y="52019"/>
                    <a:pt x="73691" y="58121"/>
                    <a:pt x="91997" y="79477"/>
                  </a:cubicBezTo>
                  <a:cubicBezTo>
                    <a:pt x="101149" y="91680"/>
                    <a:pt x="110302" y="125240"/>
                    <a:pt x="116403" y="137443"/>
                  </a:cubicBezTo>
                  <a:cubicBezTo>
                    <a:pt x="119454" y="143545"/>
                    <a:pt x="162166" y="85579"/>
                    <a:pt x="153013" y="67274"/>
                  </a:cubicBezTo>
                  <a:cubicBezTo>
                    <a:pt x="140810" y="39816"/>
                    <a:pt x="101149" y="-2896"/>
                    <a:pt x="64539" y="155"/>
                  </a:cubicBezTo>
                  <a:cubicBezTo>
                    <a:pt x="49285" y="155"/>
                    <a:pt x="-5631" y="27612"/>
                    <a:pt x="471" y="52019"/>
                  </a:cubicBezTo>
                  <a:close/>
                </a:path>
              </a:pathLst>
            </a:custGeom>
            <a:solidFill>
              <a:srgbClr val="F49F84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989771C0-C876-44BD-A72E-3E0359818AE7}"/>
                </a:ext>
              </a:extLst>
            </p:cNvPr>
            <p:cNvSpPr/>
            <p:nvPr/>
          </p:nvSpPr>
          <p:spPr>
            <a:xfrm>
              <a:off x="14410300" y="2959601"/>
              <a:ext cx="167273" cy="144151"/>
            </a:xfrm>
            <a:custGeom>
              <a:avLst/>
              <a:gdLst>
                <a:gd name="connsiteX0" fmla="*/ 92789 w 167273"/>
                <a:gd name="connsiteY0" fmla="*/ 144152 h 144151"/>
                <a:gd name="connsiteX1" fmla="*/ 86688 w 167273"/>
                <a:gd name="connsiteY1" fmla="*/ 141101 h 144151"/>
                <a:gd name="connsiteX2" fmla="*/ 92789 w 167273"/>
                <a:gd name="connsiteY2" fmla="*/ 89236 h 144151"/>
                <a:gd name="connsiteX3" fmla="*/ 34823 w 167273"/>
                <a:gd name="connsiteY3" fmla="*/ 70931 h 144151"/>
                <a:gd name="connsiteX4" fmla="*/ 4314 w 167273"/>
                <a:gd name="connsiteY4" fmla="*/ 64830 h 144151"/>
                <a:gd name="connsiteX5" fmla="*/ 1263 w 167273"/>
                <a:gd name="connsiteY5" fmla="*/ 46525 h 144151"/>
                <a:gd name="connsiteX6" fmla="*/ 71433 w 167273"/>
                <a:gd name="connsiteY6" fmla="*/ 762 h 144151"/>
                <a:gd name="connsiteX7" fmla="*/ 166010 w 167273"/>
                <a:gd name="connsiteY7" fmla="*/ 70931 h 144151"/>
                <a:gd name="connsiteX8" fmla="*/ 162959 w 167273"/>
                <a:gd name="connsiteY8" fmla="*/ 80084 h 144151"/>
                <a:gd name="connsiteX9" fmla="*/ 153806 w 167273"/>
                <a:gd name="connsiteY9" fmla="*/ 77033 h 144151"/>
                <a:gd name="connsiteX10" fmla="*/ 71433 w 167273"/>
                <a:gd name="connsiteY10" fmla="*/ 9914 h 144151"/>
                <a:gd name="connsiteX11" fmla="*/ 10416 w 167273"/>
                <a:gd name="connsiteY11" fmla="*/ 46525 h 144151"/>
                <a:gd name="connsiteX12" fmla="*/ 10416 w 167273"/>
                <a:gd name="connsiteY12" fmla="*/ 52626 h 144151"/>
                <a:gd name="connsiteX13" fmla="*/ 31772 w 167273"/>
                <a:gd name="connsiteY13" fmla="*/ 55677 h 144151"/>
                <a:gd name="connsiteX14" fmla="*/ 101942 w 167273"/>
                <a:gd name="connsiteY14" fmla="*/ 80084 h 144151"/>
                <a:gd name="connsiteX15" fmla="*/ 101942 w 167273"/>
                <a:gd name="connsiteY15" fmla="*/ 86186 h 144151"/>
                <a:gd name="connsiteX16" fmla="*/ 95840 w 167273"/>
                <a:gd name="connsiteY16" fmla="*/ 131948 h 144151"/>
                <a:gd name="connsiteX17" fmla="*/ 92789 w 167273"/>
                <a:gd name="connsiteY17" fmla="*/ 144152 h 144151"/>
                <a:gd name="connsiteX18" fmla="*/ 92789 w 167273"/>
                <a:gd name="connsiteY18" fmla="*/ 144152 h 14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7273" h="144151">
                  <a:moveTo>
                    <a:pt x="92789" y="144152"/>
                  </a:moveTo>
                  <a:cubicBezTo>
                    <a:pt x="89739" y="144152"/>
                    <a:pt x="89739" y="144152"/>
                    <a:pt x="86688" y="141101"/>
                  </a:cubicBezTo>
                  <a:cubicBezTo>
                    <a:pt x="77535" y="122796"/>
                    <a:pt x="89739" y="98389"/>
                    <a:pt x="92789" y="89236"/>
                  </a:cubicBezTo>
                  <a:cubicBezTo>
                    <a:pt x="77535" y="70931"/>
                    <a:pt x="53128" y="70931"/>
                    <a:pt x="34823" y="70931"/>
                  </a:cubicBezTo>
                  <a:cubicBezTo>
                    <a:pt x="22620" y="70931"/>
                    <a:pt x="10416" y="70931"/>
                    <a:pt x="4314" y="64830"/>
                  </a:cubicBezTo>
                  <a:cubicBezTo>
                    <a:pt x="1263" y="58728"/>
                    <a:pt x="-1787" y="52626"/>
                    <a:pt x="1263" y="46525"/>
                  </a:cubicBezTo>
                  <a:cubicBezTo>
                    <a:pt x="7365" y="28219"/>
                    <a:pt x="34823" y="6864"/>
                    <a:pt x="71433" y="762"/>
                  </a:cubicBezTo>
                  <a:cubicBezTo>
                    <a:pt x="120247" y="-8391"/>
                    <a:pt x="162959" y="67880"/>
                    <a:pt x="166010" y="70931"/>
                  </a:cubicBezTo>
                  <a:cubicBezTo>
                    <a:pt x="169060" y="73982"/>
                    <a:pt x="166010" y="77033"/>
                    <a:pt x="162959" y="80084"/>
                  </a:cubicBezTo>
                  <a:cubicBezTo>
                    <a:pt x="159908" y="83135"/>
                    <a:pt x="156857" y="80084"/>
                    <a:pt x="153806" y="77033"/>
                  </a:cubicBezTo>
                  <a:cubicBezTo>
                    <a:pt x="153806" y="77033"/>
                    <a:pt x="111094" y="3813"/>
                    <a:pt x="71433" y="9914"/>
                  </a:cubicBezTo>
                  <a:cubicBezTo>
                    <a:pt x="40925" y="16016"/>
                    <a:pt x="16518" y="34321"/>
                    <a:pt x="10416" y="46525"/>
                  </a:cubicBezTo>
                  <a:cubicBezTo>
                    <a:pt x="7365" y="52626"/>
                    <a:pt x="10416" y="52626"/>
                    <a:pt x="10416" y="52626"/>
                  </a:cubicBezTo>
                  <a:cubicBezTo>
                    <a:pt x="13468" y="55677"/>
                    <a:pt x="22620" y="55677"/>
                    <a:pt x="31772" y="55677"/>
                  </a:cubicBezTo>
                  <a:cubicBezTo>
                    <a:pt x="53128" y="55677"/>
                    <a:pt x="80586" y="52626"/>
                    <a:pt x="101942" y="80084"/>
                  </a:cubicBezTo>
                  <a:cubicBezTo>
                    <a:pt x="101942" y="83135"/>
                    <a:pt x="101942" y="83135"/>
                    <a:pt x="101942" y="86186"/>
                  </a:cubicBezTo>
                  <a:cubicBezTo>
                    <a:pt x="101942" y="86186"/>
                    <a:pt x="86688" y="113643"/>
                    <a:pt x="95840" y="131948"/>
                  </a:cubicBezTo>
                  <a:cubicBezTo>
                    <a:pt x="98891" y="138050"/>
                    <a:pt x="98891" y="141101"/>
                    <a:pt x="92789" y="144152"/>
                  </a:cubicBezTo>
                  <a:cubicBezTo>
                    <a:pt x="95840" y="144152"/>
                    <a:pt x="95840" y="144152"/>
                    <a:pt x="92789" y="144152"/>
                  </a:cubicBezTo>
                  <a:close/>
                </a:path>
              </a:pathLst>
            </a:custGeom>
            <a:solidFill>
              <a:srgbClr val="E87952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7" name="图形 114">
              <a:extLst>
                <a:ext uri="{FF2B5EF4-FFF2-40B4-BE49-F238E27FC236}">
                  <a16:creationId xmlns:a16="http://schemas.microsoft.com/office/drawing/2014/main" id="{D31FF4BD-E685-4D92-A3C8-A9ABF7B7B30F}"/>
                </a:ext>
              </a:extLst>
            </p:cNvPr>
            <p:cNvGrpSpPr/>
            <p:nvPr/>
          </p:nvGrpSpPr>
          <p:grpSpPr>
            <a:xfrm>
              <a:off x="15902971" y="3588670"/>
              <a:ext cx="1121414" cy="866041"/>
              <a:chOff x="15902971" y="3588670"/>
              <a:chExt cx="1121414" cy="866041"/>
            </a:xfrm>
          </p:grpSpPr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013C8DF6-4604-42D3-BFBF-4934970C1C9E}"/>
                  </a:ext>
                </a:extLst>
              </p:cNvPr>
              <p:cNvSpPr/>
              <p:nvPr/>
            </p:nvSpPr>
            <p:spPr>
              <a:xfrm>
                <a:off x="15929984" y="3618425"/>
                <a:ext cx="1094402" cy="836286"/>
              </a:xfrm>
              <a:custGeom>
                <a:avLst/>
                <a:gdLst>
                  <a:gd name="connsiteX0" fmla="*/ 902 w 1094402"/>
                  <a:gd name="connsiteY0" fmla="*/ 339564 h 836286"/>
                  <a:gd name="connsiteX1" fmla="*/ 180902 w 1094402"/>
                  <a:gd name="connsiteY1" fmla="*/ 830751 h 836286"/>
                  <a:gd name="connsiteX2" fmla="*/ 1090054 w 1094402"/>
                  <a:gd name="connsiteY2" fmla="*/ 528717 h 836286"/>
                  <a:gd name="connsiteX3" fmla="*/ 925309 w 1094402"/>
                  <a:gd name="connsiteY3" fmla="*/ 920 h 836286"/>
                  <a:gd name="connsiteX4" fmla="*/ 902 w 1094402"/>
                  <a:gd name="connsiteY4" fmla="*/ 339564 h 836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4402" h="836286">
                    <a:moveTo>
                      <a:pt x="902" y="339564"/>
                    </a:moveTo>
                    <a:cubicBezTo>
                      <a:pt x="-14352" y="467700"/>
                      <a:pt x="168699" y="784988"/>
                      <a:pt x="180902" y="830751"/>
                    </a:cubicBezTo>
                    <a:cubicBezTo>
                      <a:pt x="193105" y="876514"/>
                      <a:pt x="989377" y="626344"/>
                      <a:pt x="1090054" y="528717"/>
                    </a:cubicBezTo>
                    <a:cubicBezTo>
                      <a:pt x="1123614" y="498209"/>
                      <a:pt x="952766" y="16175"/>
                      <a:pt x="925309" y="920"/>
                    </a:cubicBezTo>
                    <a:cubicBezTo>
                      <a:pt x="897851" y="-14334"/>
                      <a:pt x="19208" y="162615"/>
                      <a:pt x="902" y="339564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D3BA8772-4FEF-4D88-9AB9-F9D451DDC274}"/>
                  </a:ext>
                </a:extLst>
              </p:cNvPr>
              <p:cNvSpPr/>
              <p:nvPr/>
            </p:nvSpPr>
            <p:spPr>
              <a:xfrm>
                <a:off x="15902971" y="3588670"/>
                <a:ext cx="1078224" cy="609262"/>
              </a:xfrm>
              <a:custGeom>
                <a:avLst/>
                <a:gdLst>
                  <a:gd name="connsiteX0" fmla="*/ 3507 w 1078224"/>
                  <a:gd name="connsiteY0" fmla="*/ 332710 h 609262"/>
                  <a:gd name="connsiteX1" fmla="*/ 70626 w 1078224"/>
                  <a:gd name="connsiteY1" fmla="*/ 607286 h 609262"/>
                  <a:gd name="connsiteX2" fmla="*/ 1077406 w 1078224"/>
                  <a:gd name="connsiteY2" fmla="*/ 286947 h 609262"/>
                  <a:gd name="connsiteX3" fmla="*/ 955372 w 1078224"/>
                  <a:gd name="connsiteY3" fmla="*/ 167 h 609262"/>
                  <a:gd name="connsiteX4" fmla="*/ 3507 w 1078224"/>
                  <a:gd name="connsiteY4" fmla="*/ 332710 h 609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78224" h="609262">
                    <a:moveTo>
                      <a:pt x="3507" y="332710"/>
                    </a:moveTo>
                    <a:cubicBezTo>
                      <a:pt x="-14797" y="351015"/>
                      <a:pt x="43169" y="531015"/>
                      <a:pt x="70626" y="607286"/>
                    </a:cubicBezTo>
                    <a:cubicBezTo>
                      <a:pt x="82830" y="637795"/>
                      <a:pt x="1065203" y="305252"/>
                      <a:pt x="1077406" y="286947"/>
                    </a:cubicBezTo>
                    <a:cubicBezTo>
                      <a:pt x="1089609" y="268642"/>
                      <a:pt x="961474" y="9320"/>
                      <a:pt x="955372" y="167"/>
                    </a:cubicBezTo>
                    <a:cubicBezTo>
                      <a:pt x="949270" y="-5934"/>
                      <a:pt x="159101" y="155761"/>
                      <a:pt x="3507" y="332710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3D5D6DCA-D45A-43B3-8459-6E94DD68E52D}"/>
                  </a:ext>
                </a:extLst>
              </p:cNvPr>
              <p:cNvSpPr/>
              <p:nvPr/>
            </p:nvSpPr>
            <p:spPr>
              <a:xfrm rot="-1204714">
                <a:off x="16144062" y="4083376"/>
                <a:ext cx="61015" cy="131183"/>
              </a:xfrm>
              <a:custGeom>
                <a:avLst/>
                <a:gdLst>
                  <a:gd name="connsiteX0" fmla="*/ 0 w 61015"/>
                  <a:gd name="connsiteY0" fmla="*/ 0 h 131183"/>
                  <a:gd name="connsiteX1" fmla="*/ 61016 w 61015"/>
                  <a:gd name="connsiteY1" fmla="*/ 0 h 131183"/>
                  <a:gd name="connsiteX2" fmla="*/ 61016 w 61015"/>
                  <a:gd name="connsiteY2" fmla="*/ 131183 h 131183"/>
                  <a:gd name="connsiteX3" fmla="*/ 0 w 61015"/>
                  <a:gd name="connsiteY3" fmla="*/ 131183 h 131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015" h="131183">
                    <a:moveTo>
                      <a:pt x="0" y="0"/>
                    </a:moveTo>
                    <a:lnTo>
                      <a:pt x="61016" y="0"/>
                    </a:lnTo>
                    <a:lnTo>
                      <a:pt x="61016" y="131183"/>
                    </a:lnTo>
                    <a:lnTo>
                      <a:pt x="0" y="131183"/>
                    </a:lnTo>
                    <a:close/>
                  </a:path>
                </a:pathLst>
              </a:custGeom>
              <a:solidFill>
                <a:srgbClr val="F1DDBA"/>
              </a:solidFill>
              <a:ln w="305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62050EC3-DE02-4D10-9DAD-DA0B784862AB}"/>
                  </a:ext>
                </a:extLst>
              </p:cNvPr>
              <p:cNvSpPr/>
              <p:nvPr/>
            </p:nvSpPr>
            <p:spPr>
              <a:xfrm rot="-1204714">
                <a:off x="16736147" y="3894710"/>
                <a:ext cx="61015" cy="131183"/>
              </a:xfrm>
              <a:custGeom>
                <a:avLst/>
                <a:gdLst>
                  <a:gd name="connsiteX0" fmla="*/ 0 w 61015"/>
                  <a:gd name="connsiteY0" fmla="*/ 0 h 131183"/>
                  <a:gd name="connsiteX1" fmla="*/ 61015 w 61015"/>
                  <a:gd name="connsiteY1" fmla="*/ 0 h 131183"/>
                  <a:gd name="connsiteX2" fmla="*/ 61015 w 61015"/>
                  <a:gd name="connsiteY2" fmla="*/ 131183 h 131183"/>
                  <a:gd name="connsiteX3" fmla="*/ 0 w 61015"/>
                  <a:gd name="connsiteY3" fmla="*/ 131183 h 131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015" h="131183">
                    <a:moveTo>
                      <a:pt x="0" y="0"/>
                    </a:moveTo>
                    <a:lnTo>
                      <a:pt x="61015" y="0"/>
                    </a:lnTo>
                    <a:lnTo>
                      <a:pt x="61015" y="131183"/>
                    </a:lnTo>
                    <a:lnTo>
                      <a:pt x="0" y="131183"/>
                    </a:lnTo>
                    <a:close/>
                  </a:path>
                </a:pathLst>
              </a:custGeom>
              <a:solidFill>
                <a:srgbClr val="F1DDBA"/>
              </a:solidFill>
              <a:ln w="305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640772B0-9D0F-4EC2-B869-4CF9C450433A}"/>
                </a:ext>
              </a:extLst>
            </p:cNvPr>
            <p:cNvSpPr/>
            <p:nvPr/>
          </p:nvSpPr>
          <p:spPr>
            <a:xfrm>
              <a:off x="15925481" y="2587820"/>
              <a:ext cx="332206" cy="1326051"/>
            </a:xfrm>
            <a:custGeom>
              <a:avLst/>
              <a:gdLst>
                <a:gd name="connsiteX0" fmla="*/ 258625 w 332206"/>
                <a:gd name="connsiteY0" fmla="*/ 339 h 1326051"/>
                <a:gd name="connsiteX1" fmla="*/ 35914 w 332206"/>
                <a:gd name="connsiteY1" fmla="*/ 576949 h 1326051"/>
                <a:gd name="connsiteX2" fmla="*/ 5405 w 332206"/>
                <a:gd name="connsiteY2" fmla="*/ 1321356 h 1326051"/>
                <a:gd name="connsiteX3" fmla="*/ 81676 w 332206"/>
                <a:gd name="connsiteY3" fmla="*/ 1278644 h 1326051"/>
                <a:gd name="connsiteX4" fmla="*/ 115236 w 332206"/>
                <a:gd name="connsiteY4" fmla="*/ 580000 h 1326051"/>
                <a:gd name="connsiteX5" fmla="*/ 331845 w 332206"/>
                <a:gd name="connsiteY5" fmla="*/ 24746 h 1326051"/>
                <a:gd name="connsiteX6" fmla="*/ 258625 w 332206"/>
                <a:gd name="connsiteY6" fmla="*/ 339 h 1326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206" h="1326051">
                  <a:moveTo>
                    <a:pt x="258625" y="339"/>
                  </a:moveTo>
                  <a:cubicBezTo>
                    <a:pt x="215913" y="27797"/>
                    <a:pt x="84727" y="308475"/>
                    <a:pt x="35914" y="576949"/>
                  </a:cubicBezTo>
                  <a:cubicBezTo>
                    <a:pt x="-19002" y="888136"/>
                    <a:pt x="5405" y="1318305"/>
                    <a:pt x="5405" y="1321356"/>
                  </a:cubicBezTo>
                  <a:cubicBezTo>
                    <a:pt x="5405" y="1339661"/>
                    <a:pt x="81676" y="1300000"/>
                    <a:pt x="81676" y="1278644"/>
                  </a:cubicBezTo>
                  <a:cubicBezTo>
                    <a:pt x="66422" y="1043729"/>
                    <a:pt x="66422" y="811864"/>
                    <a:pt x="115236" y="580000"/>
                  </a:cubicBezTo>
                  <a:cubicBezTo>
                    <a:pt x="164049" y="345085"/>
                    <a:pt x="286083" y="64407"/>
                    <a:pt x="331845" y="24746"/>
                  </a:cubicBezTo>
                  <a:cubicBezTo>
                    <a:pt x="337947" y="15593"/>
                    <a:pt x="264727" y="-2712"/>
                    <a:pt x="258625" y="339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9" name="图形 114">
              <a:extLst>
                <a:ext uri="{FF2B5EF4-FFF2-40B4-BE49-F238E27FC236}">
                  <a16:creationId xmlns:a16="http://schemas.microsoft.com/office/drawing/2014/main" id="{AB0FF240-7E1B-4D46-98E2-89FCED475644}"/>
                </a:ext>
              </a:extLst>
            </p:cNvPr>
            <p:cNvGrpSpPr/>
            <p:nvPr/>
          </p:nvGrpSpPr>
          <p:grpSpPr>
            <a:xfrm>
              <a:off x="16435032" y="3906125"/>
              <a:ext cx="292268" cy="386317"/>
              <a:chOff x="16435032" y="3906125"/>
              <a:chExt cx="292268" cy="386317"/>
            </a:xfrm>
          </p:grpSpPr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CC022AEC-230C-42A6-B023-7EFA31C1CB4C}"/>
                  </a:ext>
                </a:extLst>
              </p:cNvPr>
              <p:cNvSpPr/>
              <p:nvPr/>
            </p:nvSpPr>
            <p:spPr>
              <a:xfrm>
                <a:off x="16444905" y="3936634"/>
                <a:ext cx="138861" cy="206240"/>
              </a:xfrm>
              <a:custGeom>
                <a:avLst/>
                <a:gdLst>
                  <a:gd name="connsiteX0" fmla="*/ 138862 w 138861"/>
                  <a:gd name="connsiteY0" fmla="*/ 0 h 206240"/>
                  <a:gd name="connsiteX1" fmla="*/ 38184 w 138861"/>
                  <a:gd name="connsiteY1" fmla="*/ 61017 h 206240"/>
                  <a:gd name="connsiteX2" fmla="*/ 7676 w 138861"/>
                  <a:gd name="connsiteY2" fmla="*/ 195254 h 206240"/>
                  <a:gd name="connsiteX3" fmla="*/ 44285 w 138861"/>
                  <a:gd name="connsiteY3" fmla="*/ 183051 h 206240"/>
                  <a:gd name="connsiteX4" fmla="*/ 138862 w 138861"/>
                  <a:gd name="connsiteY4" fmla="*/ 0 h 206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861" h="206240">
                    <a:moveTo>
                      <a:pt x="138862" y="0"/>
                    </a:moveTo>
                    <a:cubicBezTo>
                      <a:pt x="138862" y="0"/>
                      <a:pt x="62591" y="24407"/>
                      <a:pt x="38184" y="61017"/>
                    </a:cubicBezTo>
                    <a:cubicBezTo>
                      <a:pt x="13777" y="97627"/>
                      <a:pt x="-13681" y="164746"/>
                      <a:pt x="7676" y="195254"/>
                    </a:cubicBezTo>
                    <a:cubicBezTo>
                      <a:pt x="29031" y="225763"/>
                      <a:pt x="44285" y="183051"/>
                      <a:pt x="44285" y="183051"/>
                    </a:cubicBezTo>
                    <a:lnTo>
                      <a:pt x="138862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C55B0023-BD21-46BD-AFA8-0E916A30B2B0}"/>
                  </a:ext>
                </a:extLst>
              </p:cNvPr>
              <p:cNvSpPr/>
              <p:nvPr/>
            </p:nvSpPr>
            <p:spPr>
              <a:xfrm>
                <a:off x="16437541" y="3906125"/>
                <a:ext cx="289760" cy="386317"/>
              </a:xfrm>
              <a:custGeom>
                <a:avLst/>
                <a:gdLst>
                  <a:gd name="connsiteX0" fmla="*/ 277412 w 289760"/>
                  <a:gd name="connsiteY0" fmla="*/ 45763 h 386317"/>
                  <a:gd name="connsiteX1" fmla="*/ 155378 w 289760"/>
                  <a:gd name="connsiteY1" fmla="*/ 0 h 386317"/>
                  <a:gd name="connsiteX2" fmla="*/ 18090 w 289760"/>
                  <a:gd name="connsiteY2" fmla="*/ 225763 h 386317"/>
                  <a:gd name="connsiteX3" fmla="*/ 11989 w 289760"/>
                  <a:gd name="connsiteY3" fmla="*/ 302034 h 386317"/>
                  <a:gd name="connsiteX4" fmla="*/ 30294 w 289760"/>
                  <a:gd name="connsiteY4" fmla="*/ 292881 h 386317"/>
                  <a:gd name="connsiteX5" fmla="*/ 57752 w 289760"/>
                  <a:gd name="connsiteY5" fmla="*/ 256271 h 386317"/>
                  <a:gd name="connsiteX6" fmla="*/ 45548 w 289760"/>
                  <a:gd name="connsiteY6" fmla="*/ 317288 h 386317"/>
                  <a:gd name="connsiteX7" fmla="*/ 60803 w 289760"/>
                  <a:gd name="connsiteY7" fmla="*/ 384407 h 386317"/>
                  <a:gd name="connsiteX8" fmla="*/ 88260 w 289760"/>
                  <a:gd name="connsiteY8" fmla="*/ 366102 h 386317"/>
                  <a:gd name="connsiteX9" fmla="*/ 103514 w 289760"/>
                  <a:gd name="connsiteY9" fmla="*/ 375254 h 386317"/>
                  <a:gd name="connsiteX10" fmla="*/ 152328 w 289760"/>
                  <a:gd name="connsiteY10" fmla="*/ 314237 h 386317"/>
                  <a:gd name="connsiteX11" fmla="*/ 173683 w 289760"/>
                  <a:gd name="connsiteY11" fmla="*/ 262373 h 386317"/>
                  <a:gd name="connsiteX12" fmla="*/ 185887 w 289760"/>
                  <a:gd name="connsiteY12" fmla="*/ 329491 h 386317"/>
                  <a:gd name="connsiteX13" fmla="*/ 213345 w 289760"/>
                  <a:gd name="connsiteY13" fmla="*/ 280678 h 386317"/>
                  <a:gd name="connsiteX14" fmla="*/ 243854 w 289760"/>
                  <a:gd name="connsiteY14" fmla="*/ 186102 h 386317"/>
                  <a:gd name="connsiteX15" fmla="*/ 283514 w 289760"/>
                  <a:gd name="connsiteY15" fmla="*/ 97627 h 386317"/>
                  <a:gd name="connsiteX16" fmla="*/ 277412 w 289760"/>
                  <a:gd name="connsiteY16" fmla="*/ 45763 h 386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9760" h="386317">
                    <a:moveTo>
                      <a:pt x="277412" y="45763"/>
                    </a:moveTo>
                    <a:cubicBezTo>
                      <a:pt x="249955" y="15254"/>
                      <a:pt x="155378" y="0"/>
                      <a:pt x="155378" y="0"/>
                    </a:cubicBezTo>
                    <a:cubicBezTo>
                      <a:pt x="109615" y="76271"/>
                      <a:pt x="51650" y="143390"/>
                      <a:pt x="18090" y="225763"/>
                    </a:cubicBezTo>
                    <a:cubicBezTo>
                      <a:pt x="11989" y="237966"/>
                      <a:pt x="-15469" y="295932"/>
                      <a:pt x="11989" y="302034"/>
                    </a:cubicBezTo>
                    <a:cubicBezTo>
                      <a:pt x="21141" y="305085"/>
                      <a:pt x="27243" y="298983"/>
                      <a:pt x="30294" y="292881"/>
                    </a:cubicBezTo>
                    <a:cubicBezTo>
                      <a:pt x="39446" y="280678"/>
                      <a:pt x="48599" y="268474"/>
                      <a:pt x="57752" y="256271"/>
                    </a:cubicBezTo>
                    <a:cubicBezTo>
                      <a:pt x="51650" y="277627"/>
                      <a:pt x="48599" y="295932"/>
                      <a:pt x="45548" y="317288"/>
                    </a:cubicBezTo>
                    <a:cubicBezTo>
                      <a:pt x="42497" y="332542"/>
                      <a:pt x="42497" y="372203"/>
                      <a:pt x="60803" y="384407"/>
                    </a:cubicBezTo>
                    <a:cubicBezTo>
                      <a:pt x="69955" y="390508"/>
                      <a:pt x="79107" y="381356"/>
                      <a:pt x="88260" y="366102"/>
                    </a:cubicBezTo>
                    <a:cubicBezTo>
                      <a:pt x="91311" y="372203"/>
                      <a:pt x="94361" y="375254"/>
                      <a:pt x="103514" y="375254"/>
                    </a:cubicBezTo>
                    <a:cubicBezTo>
                      <a:pt x="124870" y="372203"/>
                      <a:pt x="143175" y="332542"/>
                      <a:pt x="152328" y="314237"/>
                    </a:cubicBezTo>
                    <a:cubicBezTo>
                      <a:pt x="161480" y="295932"/>
                      <a:pt x="167582" y="280678"/>
                      <a:pt x="173683" y="262373"/>
                    </a:cubicBezTo>
                    <a:cubicBezTo>
                      <a:pt x="167582" y="295932"/>
                      <a:pt x="164531" y="332542"/>
                      <a:pt x="185887" y="329491"/>
                    </a:cubicBezTo>
                    <a:cubicBezTo>
                      <a:pt x="201141" y="326441"/>
                      <a:pt x="210294" y="292881"/>
                      <a:pt x="213345" y="280678"/>
                    </a:cubicBezTo>
                    <a:cubicBezTo>
                      <a:pt x="225548" y="250169"/>
                      <a:pt x="231649" y="216610"/>
                      <a:pt x="243854" y="186102"/>
                    </a:cubicBezTo>
                    <a:cubicBezTo>
                      <a:pt x="256057" y="155593"/>
                      <a:pt x="271311" y="128136"/>
                      <a:pt x="283514" y="97627"/>
                    </a:cubicBezTo>
                    <a:cubicBezTo>
                      <a:pt x="292666" y="73220"/>
                      <a:pt x="292666" y="64068"/>
                      <a:pt x="277412" y="45763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D46E1852-1172-4BF9-BB69-2CC8D7D01DF9}"/>
                  </a:ext>
                </a:extLst>
              </p:cNvPr>
              <p:cNvSpPr/>
              <p:nvPr/>
            </p:nvSpPr>
            <p:spPr>
              <a:xfrm>
                <a:off x="16519699" y="4108244"/>
                <a:ext cx="57203" cy="170084"/>
              </a:xfrm>
              <a:custGeom>
                <a:avLst/>
                <a:gdLst>
                  <a:gd name="connsiteX0" fmla="*/ 6102 w 57203"/>
                  <a:gd name="connsiteY0" fmla="*/ 170085 h 170084"/>
                  <a:gd name="connsiteX1" fmla="*/ 6102 w 57203"/>
                  <a:gd name="connsiteY1" fmla="*/ 170085 h 170084"/>
                  <a:gd name="connsiteX2" fmla="*/ 0 w 57203"/>
                  <a:gd name="connsiteY2" fmla="*/ 163983 h 170084"/>
                  <a:gd name="connsiteX3" fmla="*/ 45763 w 57203"/>
                  <a:gd name="connsiteY3" fmla="*/ 2288 h 170084"/>
                  <a:gd name="connsiteX4" fmla="*/ 54916 w 57203"/>
                  <a:gd name="connsiteY4" fmla="*/ 2288 h 170084"/>
                  <a:gd name="connsiteX5" fmla="*/ 54916 w 57203"/>
                  <a:gd name="connsiteY5" fmla="*/ 11441 h 170084"/>
                  <a:gd name="connsiteX6" fmla="*/ 12203 w 57203"/>
                  <a:gd name="connsiteY6" fmla="*/ 167034 h 170084"/>
                  <a:gd name="connsiteX7" fmla="*/ 6102 w 57203"/>
                  <a:gd name="connsiteY7" fmla="*/ 170085 h 170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203" h="170084">
                    <a:moveTo>
                      <a:pt x="6102" y="170085"/>
                    </a:moveTo>
                    <a:cubicBezTo>
                      <a:pt x="6102" y="170085"/>
                      <a:pt x="6102" y="170085"/>
                      <a:pt x="6102" y="170085"/>
                    </a:cubicBezTo>
                    <a:cubicBezTo>
                      <a:pt x="3051" y="170085"/>
                      <a:pt x="0" y="167034"/>
                      <a:pt x="0" y="163983"/>
                    </a:cubicBezTo>
                    <a:cubicBezTo>
                      <a:pt x="0" y="157881"/>
                      <a:pt x="24407" y="32797"/>
                      <a:pt x="45763" y="2288"/>
                    </a:cubicBezTo>
                    <a:cubicBezTo>
                      <a:pt x="48814" y="-763"/>
                      <a:pt x="51865" y="-763"/>
                      <a:pt x="54916" y="2288"/>
                    </a:cubicBezTo>
                    <a:cubicBezTo>
                      <a:pt x="57966" y="5339"/>
                      <a:pt x="57966" y="8390"/>
                      <a:pt x="54916" y="11441"/>
                    </a:cubicBezTo>
                    <a:cubicBezTo>
                      <a:pt x="33560" y="38898"/>
                      <a:pt x="12203" y="167034"/>
                      <a:pt x="12203" y="167034"/>
                    </a:cubicBezTo>
                    <a:cubicBezTo>
                      <a:pt x="12203" y="167034"/>
                      <a:pt x="9153" y="170085"/>
                      <a:pt x="6102" y="17008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4B754A60-46FD-4991-B577-AD30B35CDEE8}"/>
                  </a:ext>
                </a:extLst>
              </p:cNvPr>
              <p:cNvSpPr/>
              <p:nvPr/>
            </p:nvSpPr>
            <p:spPr>
              <a:xfrm>
                <a:off x="16605123" y="4113583"/>
                <a:ext cx="30508" cy="61016"/>
              </a:xfrm>
              <a:custGeom>
                <a:avLst/>
                <a:gdLst>
                  <a:gd name="connsiteX0" fmla="*/ 6101 w 30508"/>
                  <a:gd name="connsiteY0" fmla="*/ 61017 h 61016"/>
                  <a:gd name="connsiteX1" fmla="*/ 6101 w 30508"/>
                  <a:gd name="connsiteY1" fmla="*/ 61017 h 61016"/>
                  <a:gd name="connsiteX2" fmla="*/ 0 w 30508"/>
                  <a:gd name="connsiteY2" fmla="*/ 51865 h 61016"/>
                  <a:gd name="connsiteX3" fmla="*/ 21355 w 30508"/>
                  <a:gd name="connsiteY3" fmla="*/ 3051 h 61016"/>
                  <a:gd name="connsiteX4" fmla="*/ 27457 w 30508"/>
                  <a:gd name="connsiteY4" fmla="*/ 0 h 61016"/>
                  <a:gd name="connsiteX5" fmla="*/ 30508 w 30508"/>
                  <a:gd name="connsiteY5" fmla="*/ 6102 h 61016"/>
                  <a:gd name="connsiteX6" fmla="*/ 9152 w 30508"/>
                  <a:gd name="connsiteY6" fmla="*/ 54915 h 61016"/>
                  <a:gd name="connsiteX7" fmla="*/ 6101 w 30508"/>
                  <a:gd name="connsiteY7" fmla="*/ 61017 h 61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508" h="61016">
                    <a:moveTo>
                      <a:pt x="6101" y="61017"/>
                    </a:moveTo>
                    <a:cubicBezTo>
                      <a:pt x="6101" y="61017"/>
                      <a:pt x="6101" y="61017"/>
                      <a:pt x="6101" y="61017"/>
                    </a:cubicBezTo>
                    <a:cubicBezTo>
                      <a:pt x="0" y="57966"/>
                      <a:pt x="0" y="54915"/>
                      <a:pt x="0" y="51865"/>
                    </a:cubicBezTo>
                    <a:lnTo>
                      <a:pt x="21355" y="3051"/>
                    </a:lnTo>
                    <a:cubicBezTo>
                      <a:pt x="21355" y="0"/>
                      <a:pt x="24406" y="0"/>
                      <a:pt x="27457" y="0"/>
                    </a:cubicBezTo>
                    <a:cubicBezTo>
                      <a:pt x="30508" y="0"/>
                      <a:pt x="30508" y="3051"/>
                      <a:pt x="30508" y="6102"/>
                    </a:cubicBezTo>
                    <a:lnTo>
                      <a:pt x="9152" y="54915"/>
                    </a:lnTo>
                    <a:cubicBezTo>
                      <a:pt x="12203" y="61017"/>
                      <a:pt x="9152" y="61017"/>
                      <a:pt x="6101" y="6101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C17A0634-09ED-4779-8C42-ED642167E662}"/>
                  </a:ext>
                </a:extLst>
              </p:cNvPr>
              <p:cNvSpPr/>
              <p:nvPr/>
            </p:nvSpPr>
            <p:spPr>
              <a:xfrm>
                <a:off x="16554021" y="4022820"/>
                <a:ext cx="102965" cy="57203"/>
              </a:xfrm>
              <a:custGeom>
                <a:avLst/>
                <a:gdLst>
                  <a:gd name="connsiteX0" fmla="*/ 96865 w 102965"/>
                  <a:gd name="connsiteY0" fmla="*/ 57203 h 57203"/>
                  <a:gd name="connsiteX1" fmla="*/ 96865 w 102965"/>
                  <a:gd name="connsiteY1" fmla="*/ 57203 h 57203"/>
                  <a:gd name="connsiteX2" fmla="*/ 2288 w 102965"/>
                  <a:gd name="connsiteY2" fmla="*/ 11441 h 57203"/>
                  <a:gd name="connsiteX3" fmla="*/ 2288 w 102965"/>
                  <a:gd name="connsiteY3" fmla="*/ 2288 h 57203"/>
                  <a:gd name="connsiteX4" fmla="*/ 11440 w 102965"/>
                  <a:gd name="connsiteY4" fmla="*/ 2288 h 57203"/>
                  <a:gd name="connsiteX5" fmla="*/ 96865 w 102965"/>
                  <a:gd name="connsiteY5" fmla="*/ 45000 h 57203"/>
                  <a:gd name="connsiteX6" fmla="*/ 102966 w 102965"/>
                  <a:gd name="connsiteY6" fmla="*/ 51102 h 57203"/>
                  <a:gd name="connsiteX7" fmla="*/ 96865 w 102965"/>
                  <a:gd name="connsiteY7" fmla="*/ 57203 h 57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965" h="57203">
                    <a:moveTo>
                      <a:pt x="96865" y="57203"/>
                    </a:moveTo>
                    <a:cubicBezTo>
                      <a:pt x="96865" y="57203"/>
                      <a:pt x="96865" y="57203"/>
                      <a:pt x="96865" y="57203"/>
                    </a:cubicBezTo>
                    <a:cubicBezTo>
                      <a:pt x="38898" y="54153"/>
                      <a:pt x="2288" y="14491"/>
                      <a:pt x="2288" y="11441"/>
                    </a:cubicBezTo>
                    <a:cubicBezTo>
                      <a:pt x="-763" y="8390"/>
                      <a:pt x="-763" y="5339"/>
                      <a:pt x="2288" y="2288"/>
                    </a:cubicBezTo>
                    <a:cubicBezTo>
                      <a:pt x="5339" y="-763"/>
                      <a:pt x="8389" y="-763"/>
                      <a:pt x="11440" y="2288"/>
                    </a:cubicBezTo>
                    <a:cubicBezTo>
                      <a:pt x="11440" y="2288"/>
                      <a:pt x="45000" y="41949"/>
                      <a:pt x="96865" y="45000"/>
                    </a:cubicBezTo>
                    <a:cubicBezTo>
                      <a:pt x="99915" y="45000"/>
                      <a:pt x="102966" y="48051"/>
                      <a:pt x="102966" y="51102"/>
                    </a:cubicBezTo>
                    <a:cubicBezTo>
                      <a:pt x="102966" y="57203"/>
                      <a:pt x="99915" y="57203"/>
                      <a:pt x="96865" y="5720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FAB57CDE-818D-4655-B140-EC8F348BD6DF}"/>
                  </a:ext>
                </a:extLst>
              </p:cNvPr>
              <p:cNvSpPr/>
              <p:nvPr/>
            </p:nvSpPr>
            <p:spPr>
              <a:xfrm>
                <a:off x="16435032" y="3967905"/>
                <a:ext cx="120514" cy="246355"/>
              </a:xfrm>
              <a:custGeom>
                <a:avLst/>
                <a:gdLst>
                  <a:gd name="connsiteX0" fmla="*/ 14498 w 120514"/>
                  <a:gd name="connsiteY0" fmla="*/ 246356 h 246355"/>
                  <a:gd name="connsiteX1" fmla="*/ 14498 w 120514"/>
                  <a:gd name="connsiteY1" fmla="*/ 246356 h 246355"/>
                  <a:gd name="connsiteX2" fmla="*/ 2294 w 120514"/>
                  <a:gd name="connsiteY2" fmla="*/ 237203 h 246355"/>
                  <a:gd name="connsiteX3" fmla="*/ 109074 w 120514"/>
                  <a:gd name="connsiteY3" fmla="*/ 2288 h 246355"/>
                  <a:gd name="connsiteX4" fmla="*/ 118226 w 120514"/>
                  <a:gd name="connsiteY4" fmla="*/ 2288 h 246355"/>
                  <a:gd name="connsiteX5" fmla="*/ 118226 w 120514"/>
                  <a:gd name="connsiteY5" fmla="*/ 11441 h 246355"/>
                  <a:gd name="connsiteX6" fmla="*/ 14498 w 120514"/>
                  <a:gd name="connsiteY6" fmla="*/ 234152 h 246355"/>
                  <a:gd name="connsiteX7" fmla="*/ 17549 w 120514"/>
                  <a:gd name="connsiteY7" fmla="*/ 237203 h 246355"/>
                  <a:gd name="connsiteX8" fmla="*/ 57209 w 120514"/>
                  <a:gd name="connsiteY8" fmla="*/ 194492 h 246355"/>
                  <a:gd name="connsiteX9" fmla="*/ 93820 w 120514"/>
                  <a:gd name="connsiteY9" fmla="*/ 112119 h 246355"/>
                  <a:gd name="connsiteX10" fmla="*/ 102972 w 120514"/>
                  <a:gd name="connsiteY10" fmla="*/ 109068 h 246355"/>
                  <a:gd name="connsiteX11" fmla="*/ 106023 w 120514"/>
                  <a:gd name="connsiteY11" fmla="*/ 118220 h 246355"/>
                  <a:gd name="connsiteX12" fmla="*/ 72463 w 120514"/>
                  <a:gd name="connsiteY12" fmla="*/ 197542 h 246355"/>
                  <a:gd name="connsiteX13" fmla="*/ 72463 w 120514"/>
                  <a:gd name="connsiteY13" fmla="*/ 200593 h 246355"/>
                  <a:gd name="connsiteX14" fmla="*/ 14498 w 120514"/>
                  <a:gd name="connsiteY14" fmla="*/ 246356 h 246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0514" h="246355">
                    <a:moveTo>
                      <a:pt x="14498" y="246356"/>
                    </a:moveTo>
                    <a:cubicBezTo>
                      <a:pt x="14498" y="246356"/>
                      <a:pt x="14498" y="246356"/>
                      <a:pt x="14498" y="246356"/>
                    </a:cubicBezTo>
                    <a:cubicBezTo>
                      <a:pt x="8395" y="246356"/>
                      <a:pt x="5344" y="243305"/>
                      <a:pt x="2294" y="237203"/>
                    </a:cubicBezTo>
                    <a:cubicBezTo>
                      <a:pt x="-9910" y="209746"/>
                      <a:pt x="26701" y="115169"/>
                      <a:pt x="109074" y="2288"/>
                    </a:cubicBezTo>
                    <a:cubicBezTo>
                      <a:pt x="112124" y="-763"/>
                      <a:pt x="115175" y="-763"/>
                      <a:pt x="118226" y="2288"/>
                    </a:cubicBezTo>
                    <a:cubicBezTo>
                      <a:pt x="121277" y="5339"/>
                      <a:pt x="121277" y="8390"/>
                      <a:pt x="118226" y="11441"/>
                    </a:cubicBezTo>
                    <a:cubicBezTo>
                      <a:pt x="26701" y="136525"/>
                      <a:pt x="5344" y="218898"/>
                      <a:pt x="14498" y="234152"/>
                    </a:cubicBezTo>
                    <a:cubicBezTo>
                      <a:pt x="14498" y="237203"/>
                      <a:pt x="17549" y="237203"/>
                      <a:pt x="17549" y="237203"/>
                    </a:cubicBezTo>
                    <a:cubicBezTo>
                      <a:pt x="32803" y="237203"/>
                      <a:pt x="51107" y="206695"/>
                      <a:pt x="57209" y="194492"/>
                    </a:cubicBezTo>
                    <a:cubicBezTo>
                      <a:pt x="60260" y="176186"/>
                      <a:pt x="84667" y="121271"/>
                      <a:pt x="93820" y="112119"/>
                    </a:cubicBezTo>
                    <a:cubicBezTo>
                      <a:pt x="96870" y="109068"/>
                      <a:pt x="99921" y="109068"/>
                      <a:pt x="102972" y="109068"/>
                    </a:cubicBezTo>
                    <a:cubicBezTo>
                      <a:pt x="106023" y="112119"/>
                      <a:pt x="106023" y="115169"/>
                      <a:pt x="106023" y="118220"/>
                    </a:cubicBezTo>
                    <a:cubicBezTo>
                      <a:pt x="90769" y="142627"/>
                      <a:pt x="72463" y="188390"/>
                      <a:pt x="72463" y="197542"/>
                    </a:cubicBezTo>
                    <a:cubicBezTo>
                      <a:pt x="72463" y="197542"/>
                      <a:pt x="72463" y="200593"/>
                      <a:pt x="72463" y="200593"/>
                    </a:cubicBezTo>
                    <a:cubicBezTo>
                      <a:pt x="63311" y="203644"/>
                      <a:pt x="41955" y="246356"/>
                      <a:pt x="14498" y="246356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5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2C8AC52C-7BB0-4138-AE87-1E06AD017887}"/>
                </a:ext>
              </a:extLst>
            </p:cNvPr>
            <p:cNvSpPr/>
            <p:nvPr/>
          </p:nvSpPr>
          <p:spPr>
            <a:xfrm>
              <a:off x="16232723" y="2658731"/>
              <a:ext cx="759870" cy="1378580"/>
            </a:xfrm>
            <a:custGeom>
              <a:avLst/>
              <a:gdLst>
                <a:gd name="connsiteX0" fmla="*/ 33756 w 759870"/>
                <a:gd name="connsiteY0" fmla="*/ 24004 h 1378580"/>
                <a:gd name="connsiteX1" fmla="*/ 164943 w 759870"/>
                <a:gd name="connsiteY1" fmla="*/ 527394 h 1378580"/>
                <a:gd name="connsiteX2" fmla="*/ 473078 w 759870"/>
                <a:gd name="connsiteY2" fmla="*/ 808072 h 1378580"/>
                <a:gd name="connsiteX3" fmla="*/ 311384 w 759870"/>
                <a:gd name="connsiteY3" fmla="*/ 1262648 h 1378580"/>
                <a:gd name="connsiteX4" fmla="*/ 479180 w 759870"/>
                <a:gd name="connsiteY4" fmla="*/ 1378580 h 1378580"/>
                <a:gd name="connsiteX5" fmla="*/ 759858 w 759870"/>
                <a:gd name="connsiteY5" fmla="*/ 731801 h 1378580"/>
                <a:gd name="connsiteX6" fmla="*/ 33756 w 759870"/>
                <a:gd name="connsiteY6" fmla="*/ 24004 h 137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870" h="1378580">
                  <a:moveTo>
                    <a:pt x="33756" y="24004"/>
                  </a:moveTo>
                  <a:cubicBezTo>
                    <a:pt x="-69972" y="112479"/>
                    <a:pt x="91722" y="417564"/>
                    <a:pt x="164943" y="527394"/>
                  </a:cubicBezTo>
                  <a:cubicBezTo>
                    <a:pt x="229011" y="625021"/>
                    <a:pt x="473078" y="808072"/>
                    <a:pt x="473078" y="808072"/>
                  </a:cubicBezTo>
                  <a:lnTo>
                    <a:pt x="311384" y="1262648"/>
                  </a:lnTo>
                  <a:lnTo>
                    <a:pt x="479180" y="1378580"/>
                  </a:lnTo>
                  <a:cubicBezTo>
                    <a:pt x="479180" y="1378580"/>
                    <a:pt x="756807" y="859936"/>
                    <a:pt x="759858" y="731801"/>
                  </a:cubicBezTo>
                  <a:cubicBezTo>
                    <a:pt x="762909" y="591462"/>
                    <a:pt x="232062" y="-140742"/>
                    <a:pt x="33756" y="24004"/>
                  </a:cubicBezTo>
                  <a:close/>
                </a:path>
              </a:pathLst>
            </a:custGeom>
            <a:solidFill>
              <a:srgbClr val="D16156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9B17FE1C-B31F-4F20-8D7A-9C031ED41C31}"/>
                </a:ext>
              </a:extLst>
            </p:cNvPr>
            <p:cNvSpPr/>
            <p:nvPr/>
          </p:nvSpPr>
          <p:spPr>
            <a:xfrm>
              <a:off x="16226781" y="2649075"/>
              <a:ext cx="206731" cy="582812"/>
            </a:xfrm>
            <a:custGeom>
              <a:avLst/>
              <a:gdLst>
                <a:gd name="connsiteX0" fmla="*/ 198342 w 206731"/>
                <a:gd name="connsiteY0" fmla="*/ 579762 h 582812"/>
                <a:gd name="connsiteX1" fmla="*/ 195291 w 206731"/>
                <a:gd name="connsiteY1" fmla="*/ 576711 h 582812"/>
                <a:gd name="connsiteX2" fmla="*/ 36 w 206731"/>
                <a:gd name="connsiteY2" fmla="*/ 177050 h 582812"/>
                <a:gd name="connsiteX3" fmla="*/ 51901 w 206731"/>
                <a:gd name="connsiteY3" fmla="*/ 24508 h 582812"/>
                <a:gd name="connsiteX4" fmla="*/ 119020 w 206731"/>
                <a:gd name="connsiteY4" fmla="*/ 101 h 582812"/>
                <a:gd name="connsiteX5" fmla="*/ 125121 w 206731"/>
                <a:gd name="connsiteY5" fmla="*/ 6203 h 582812"/>
                <a:gd name="connsiteX6" fmla="*/ 119020 w 206731"/>
                <a:gd name="connsiteY6" fmla="*/ 12304 h 582812"/>
                <a:gd name="connsiteX7" fmla="*/ 61053 w 206731"/>
                <a:gd name="connsiteY7" fmla="*/ 33660 h 582812"/>
                <a:gd name="connsiteX8" fmla="*/ 12241 w 206731"/>
                <a:gd name="connsiteY8" fmla="*/ 180101 h 582812"/>
                <a:gd name="connsiteX9" fmla="*/ 204444 w 206731"/>
                <a:gd name="connsiteY9" fmla="*/ 573660 h 582812"/>
                <a:gd name="connsiteX10" fmla="*/ 204444 w 206731"/>
                <a:gd name="connsiteY10" fmla="*/ 582813 h 582812"/>
                <a:gd name="connsiteX11" fmla="*/ 198342 w 206731"/>
                <a:gd name="connsiteY11" fmla="*/ 579762 h 582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731" h="582812">
                  <a:moveTo>
                    <a:pt x="198342" y="579762"/>
                  </a:moveTo>
                  <a:cubicBezTo>
                    <a:pt x="198342" y="579762"/>
                    <a:pt x="195291" y="579762"/>
                    <a:pt x="195291" y="576711"/>
                  </a:cubicBezTo>
                  <a:cubicBezTo>
                    <a:pt x="186138" y="567558"/>
                    <a:pt x="-3014" y="360101"/>
                    <a:pt x="36" y="177050"/>
                  </a:cubicBezTo>
                  <a:cubicBezTo>
                    <a:pt x="3088" y="103830"/>
                    <a:pt x="18342" y="51965"/>
                    <a:pt x="51901" y="24508"/>
                  </a:cubicBezTo>
                  <a:cubicBezTo>
                    <a:pt x="82410" y="-2950"/>
                    <a:pt x="115969" y="101"/>
                    <a:pt x="119020" y="101"/>
                  </a:cubicBezTo>
                  <a:cubicBezTo>
                    <a:pt x="122070" y="101"/>
                    <a:pt x="125121" y="3152"/>
                    <a:pt x="125121" y="6203"/>
                  </a:cubicBezTo>
                  <a:cubicBezTo>
                    <a:pt x="125121" y="9253"/>
                    <a:pt x="122070" y="12304"/>
                    <a:pt x="119020" y="12304"/>
                  </a:cubicBezTo>
                  <a:cubicBezTo>
                    <a:pt x="119020" y="12304"/>
                    <a:pt x="88512" y="9253"/>
                    <a:pt x="61053" y="33660"/>
                  </a:cubicBezTo>
                  <a:cubicBezTo>
                    <a:pt x="30545" y="61118"/>
                    <a:pt x="12241" y="109931"/>
                    <a:pt x="12241" y="180101"/>
                  </a:cubicBezTo>
                  <a:cubicBezTo>
                    <a:pt x="9190" y="360101"/>
                    <a:pt x="201393" y="570609"/>
                    <a:pt x="204444" y="573660"/>
                  </a:cubicBezTo>
                  <a:cubicBezTo>
                    <a:pt x="207495" y="576711"/>
                    <a:pt x="207495" y="579762"/>
                    <a:pt x="204444" y="582813"/>
                  </a:cubicBezTo>
                  <a:cubicBezTo>
                    <a:pt x="201393" y="579762"/>
                    <a:pt x="201393" y="579762"/>
                    <a:pt x="198342" y="579762"/>
                  </a:cubicBezTo>
                  <a:close/>
                </a:path>
              </a:pathLst>
            </a:custGeom>
            <a:solidFill>
              <a:srgbClr val="38343B"/>
            </a:solidFill>
            <a:ln w="305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151123632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4B37FE83-32FC-4F76-84DD-5C48988CAED9}"/>
              </a:ext>
            </a:extLst>
          </p:cNvPr>
          <p:cNvGrpSpPr/>
          <p:nvPr/>
        </p:nvGrpSpPr>
        <p:grpSpPr>
          <a:xfrm>
            <a:off x="2297606" y="1864877"/>
            <a:ext cx="3445139" cy="4993123"/>
            <a:chOff x="2297606" y="7542968"/>
            <a:chExt cx="3445139" cy="4993123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AC12A71A-4537-4212-BFCB-EA71873960C7}"/>
                </a:ext>
              </a:extLst>
            </p:cNvPr>
            <p:cNvSpPr/>
            <p:nvPr/>
          </p:nvSpPr>
          <p:spPr>
            <a:xfrm>
              <a:off x="2297606" y="12174080"/>
              <a:ext cx="3445139" cy="362011"/>
            </a:xfrm>
            <a:custGeom>
              <a:avLst/>
              <a:gdLst>
                <a:gd name="connsiteX0" fmla="*/ 0 w 3445139"/>
                <a:gd name="connsiteY0" fmla="*/ 343910 h 362011"/>
                <a:gd name="connsiteX1" fmla="*/ 3445140 w 3445139"/>
                <a:gd name="connsiteY1" fmla="*/ 362011 h 362011"/>
                <a:gd name="connsiteX2" fmla="*/ 2893073 w 3445139"/>
                <a:gd name="connsiteY2" fmla="*/ 18101 h 362011"/>
                <a:gd name="connsiteX3" fmla="*/ 549050 w 3445139"/>
                <a:gd name="connsiteY3" fmla="*/ 0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45139" h="362011">
                  <a:moveTo>
                    <a:pt x="0" y="343910"/>
                  </a:moveTo>
                  <a:lnTo>
                    <a:pt x="3445140" y="362011"/>
                  </a:lnTo>
                  <a:lnTo>
                    <a:pt x="2893073" y="18101"/>
                  </a:lnTo>
                  <a:lnTo>
                    <a:pt x="549050" y="0"/>
                  </a:lnTo>
                  <a:close/>
                </a:path>
              </a:pathLst>
            </a:custGeom>
            <a:solidFill>
              <a:srgbClr val="70868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70E69A11-E836-4882-ABF7-858FAB988D63}"/>
                </a:ext>
              </a:extLst>
            </p:cNvPr>
            <p:cNvSpPr/>
            <p:nvPr/>
          </p:nvSpPr>
          <p:spPr>
            <a:xfrm>
              <a:off x="4810388" y="12083817"/>
              <a:ext cx="413836" cy="280785"/>
            </a:xfrm>
            <a:custGeom>
              <a:avLst/>
              <a:gdLst>
                <a:gd name="connsiteX0" fmla="*/ 175151 w 413836"/>
                <a:gd name="connsiteY0" fmla="*/ 126464 h 280785"/>
                <a:gd name="connsiteX1" fmla="*/ 129900 w 413836"/>
                <a:gd name="connsiteY1" fmla="*/ 5794 h 280785"/>
                <a:gd name="connsiteX2" fmla="*/ 179 w 413836"/>
                <a:gd name="connsiteY2" fmla="*/ 17861 h 280785"/>
                <a:gd name="connsiteX3" fmla="*/ 30346 w 413836"/>
                <a:gd name="connsiteY3" fmla="*/ 159649 h 280785"/>
                <a:gd name="connsiteX4" fmla="*/ 33363 w 413836"/>
                <a:gd name="connsiteY4" fmla="*/ 268251 h 280785"/>
                <a:gd name="connsiteX5" fmla="*/ 413475 w 413836"/>
                <a:gd name="connsiteY5" fmla="*/ 274285 h 280785"/>
                <a:gd name="connsiteX6" fmla="*/ 175151 w 413836"/>
                <a:gd name="connsiteY6" fmla="*/ 126464 h 28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3836" h="280785">
                  <a:moveTo>
                    <a:pt x="175151" y="126464"/>
                  </a:moveTo>
                  <a:cubicBezTo>
                    <a:pt x="166101" y="105346"/>
                    <a:pt x="135933" y="14844"/>
                    <a:pt x="129900" y="5794"/>
                  </a:cubicBezTo>
                  <a:cubicBezTo>
                    <a:pt x="117832" y="-9290"/>
                    <a:pt x="3195" y="8811"/>
                    <a:pt x="179" y="17861"/>
                  </a:cubicBezTo>
                  <a:cubicBezTo>
                    <a:pt x="-2838" y="41994"/>
                    <a:pt x="33363" y="153615"/>
                    <a:pt x="30346" y="159649"/>
                  </a:cubicBezTo>
                  <a:cubicBezTo>
                    <a:pt x="30346" y="159649"/>
                    <a:pt x="6212" y="262218"/>
                    <a:pt x="33363" y="268251"/>
                  </a:cubicBezTo>
                  <a:cubicBezTo>
                    <a:pt x="60514" y="274285"/>
                    <a:pt x="410458" y="289369"/>
                    <a:pt x="413475" y="274285"/>
                  </a:cubicBezTo>
                  <a:cubicBezTo>
                    <a:pt x="422525" y="216967"/>
                    <a:pt x="259620" y="186799"/>
                    <a:pt x="175151" y="126464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4A643599-549E-4538-8F94-B94230A66353}"/>
                </a:ext>
              </a:extLst>
            </p:cNvPr>
            <p:cNvSpPr/>
            <p:nvPr/>
          </p:nvSpPr>
          <p:spPr>
            <a:xfrm>
              <a:off x="2782680" y="12086457"/>
              <a:ext cx="408099" cy="278145"/>
            </a:xfrm>
            <a:custGeom>
              <a:avLst/>
              <a:gdLst>
                <a:gd name="connsiteX0" fmla="*/ 238948 w 408099"/>
                <a:gd name="connsiteY0" fmla="*/ 123825 h 278145"/>
                <a:gd name="connsiteX1" fmla="*/ 278166 w 408099"/>
                <a:gd name="connsiteY1" fmla="*/ 9187 h 278145"/>
                <a:gd name="connsiteX2" fmla="*/ 407887 w 408099"/>
                <a:gd name="connsiteY2" fmla="*/ 9187 h 278145"/>
                <a:gd name="connsiteX3" fmla="*/ 383753 w 408099"/>
                <a:gd name="connsiteY3" fmla="*/ 157009 h 278145"/>
                <a:gd name="connsiteX4" fmla="*/ 380736 w 408099"/>
                <a:gd name="connsiteY4" fmla="*/ 265612 h 278145"/>
                <a:gd name="connsiteX5" fmla="*/ 624 w 408099"/>
                <a:gd name="connsiteY5" fmla="*/ 271646 h 278145"/>
                <a:gd name="connsiteX6" fmla="*/ 238948 w 408099"/>
                <a:gd name="connsiteY6" fmla="*/ 123825 h 278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099" h="278145">
                  <a:moveTo>
                    <a:pt x="238948" y="123825"/>
                  </a:moveTo>
                  <a:cubicBezTo>
                    <a:pt x="247998" y="102707"/>
                    <a:pt x="269116" y="21255"/>
                    <a:pt x="278166" y="9187"/>
                  </a:cubicBezTo>
                  <a:cubicBezTo>
                    <a:pt x="290233" y="-5896"/>
                    <a:pt x="407887" y="138"/>
                    <a:pt x="407887" y="9187"/>
                  </a:cubicBezTo>
                  <a:cubicBezTo>
                    <a:pt x="410903" y="33322"/>
                    <a:pt x="380736" y="150976"/>
                    <a:pt x="383753" y="157009"/>
                  </a:cubicBezTo>
                  <a:cubicBezTo>
                    <a:pt x="383753" y="157009"/>
                    <a:pt x="407887" y="259579"/>
                    <a:pt x="380736" y="265612"/>
                  </a:cubicBezTo>
                  <a:cubicBezTo>
                    <a:pt x="353585" y="271646"/>
                    <a:pt x="3641" y="286730"/>
                    <a:pt x="624" y="271646"/>
                  </a:cubicBezTo>
                  <a:cubicBezTo>
                    <a:pt x="-11443" y="214328"/>
                    <a:pt x="154479" y="184160"/>
                    <a:pt x="238948" y="123825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2D3F52B0-9EE5-497F-A6EF-7001C1CF3B28}"/>
                </a:ext>
              </a:extLst>
            </p:cNvPr>
            <p:cNvSpPr/>
            <p:nvPr/>
          </p:nvSpPr>
          <p:spPr>
            <a:xfrm>
              <a:off x="3396417" y="7803362"/>
              <a:ext cx="578506" cy="946741"/>
            </a:xfrm>
            <a:custGeom>
              <a:avLst/>
              <a:gdLst>
                <a:gd name="connsiteX0" fmla="*/ 282864 w 578506"/>
                <a:gd name="connsiteY0" fmla="*/ 874294 h 946741"/>
                <a:gd name="connsiteX1" fmla="*/ 192362 w 578506"/>
                <a:gd name="connsiteY1" fmla="*/ 349378 h 946741"/>
                <a:gd name="connsiteX2" fmla="*/ 578507 w 578506"/>
                <a:gd name="connsiteY2" fmla="*/ 86919 h 946741"/>
                <a:gd name="connsiteX3" fmla="*/ 536272 w 578506"/>
                <a:gd name="connsiteY3" fmla="*/ 2450 h 946741"/>
                <a:gd name="connsiteX4" fmla="*/ 32473 w 578506"/>
                <a:gd name="connsiteY4" fmla="*/ 249825 h 946741"/>
                <a:gd name="connsiteX5" fmla="*/ 26440 w 578506"/>
                <a:gd name="connsiteY5" fmla="*/ 798875 h 946741"/>
                <a:gd name="connsiteX6" fmla="*/ 282864 w 578506"/>
                <a:gd name="connsiteY6" fmla="*/ 874294 h 946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8506" h="946741">
                  <a:moveTo>
                    <a:pt x="282864" y="874294"/>
                  </a:moveTo>
                  <a:cubicBezTo>
                    <a:pt x="267781" y="762674"/>
                    <a:pt x="192362" y="349378"/>
                    <a:pt x="192362" y="349378"/>
                  </a:cubicBezTo>
                  <a:cubicBezTo>
                    <a:pt x="192362" y="349378"/>
                    <a:pt x="578507" y="92953"/>
                    <a:pt x="578507" y="86919"/>
                  </a:cubicBezTo>
                  <a:cubicBezTo>
                    <a:pt x="557390" y="23568"/>
                    <a:pt x="572473" y="-9617"/>
                    <a:pt x="536272" y="2450"/>
                  </a:cubicBezTo>
                  <a:cubicBezTo>
                    <a:pt x="527222" y="5467"/>
                    <a:pt x="207445" y="74853"/>
                    <a:pt x="32473" y="249825"/>
                  </a:cubicBezTo>
                  <a:cubicBezTo>
                    <a:pt x="-15795" y="298093"/>
                    <a:pt x="-3728" y="651054"/>
                    <a:pt x="26440" y="798875"/>
                  </a:cubicBezTo>
                  <a:cubicBezTo>
                    <a:pt x="41524" y="880327"/>
                    <a:pt x="303982" y="1040216"/>
                    <a:pt x="282864" y="874294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0493404B-9AA1-4D64-B4ED-4A734DBBDB51}"/>
                </a:ext>
              </a:extLst>
            </p:cNvPr>
            <p:cNvSpPr/>
            <p:nvPr/>
          </p:nvSpPr>
          <p:spPr>
            <a:xfrm>
              <a:off x="3971907" y="7833436"/>
              <a:ext cx="675754" cy="792719"/>
            </a:xfrm>
            <a:custGeom>
              <a:avLst/>
              <a:gdLst>
                <a:gd name="connsiteX0" fmla="*/ 0 w 675754"/>
                <a:gd name="connsiteY0" fmla="*/ 174500 h 792719"/>
                <a:gd name="connsiteX1" fmla="*/ 331843 w 675754"/>
                <a:gd name="connsiteY1" fmla="*/ 2544 h 792719"/>
                <a:gd name="connsiteX2" fmla="*/ 576201 w 675754"/>
                <a:gd name="connsiteY2" fmla="*/ 421874 h 792719"/>
                <a:gd name="connsiteX3" fmla="*/ 675754 w 675754"/>
                <a:gd name="connsiteY3" fmla="*/ 714499 h 792719"/>
                <a:gd name="connsiteX4" fmla="*/ 349944 w 675754"/>
                <a:gd name="connsiteY4" fmla="*/ 711483 h 792719"/>
                <a:gd name="connsiteX5" fmla="*/ 150838 w 675754"/>
                <a:gd name="connsiteY5" fmla="*/ 231818 h 792719"/>
                <a:gd name="connsiteX6" fmla="*/ 0 w 675754"/>
                <a:gd name="connsiteY6" fmla="*/ 174500 h 79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5754" h="792719">
                  <a:moveTo>
                    <a:pt x="0" y="174500"/>
                  </a:moveTo>
                  <a:cubicBezTo>
                    <a:pt x="0" y="174500"/>
                    <a:pt x="33184" y="-24607"/>
                    <a:pt x="331843" y="2544"/>
                  </a:cubicBezTo>
                  <a:cubicBezTo>
                    <a:pt x="515866" y="17628"/>
                    <a:pt x="606369" y="292153"/>
                    <a:pt x="576201" y="421874"/>
                  </a:cubicBezTo>
                  <a:cubicBezTo>
                    <a:pt x="546034" y="551595"/>
                    <a:pt x="567151" y="663215"/>
                    <a:pt x="675754" y="714499"/>
                  </a:cubicBezTo>
                  <a:cubicBezTo>
                    <a:pt x="675754" y="714499"/>
                    <a:pt x="461564" y="892488"/>
                    <a:pt x="349944" y="711483"/>
                  </a:cubicBezTo>
                  <a:cubicBezTo>
                    <a:pt x="304693" y="636064"/>
                    <a:pt x="289609" y="271036"/>
                    <a:pt x="150838" y="231818"/>
                  </a:cubicBezTo>
                  <a:cubicBezTo>
                    <a:pt x="90503" y="216734"/>
                    <a:pt x="0" y="174500"/>
                    <a:pt x="0" y="174500"/>
                  </a:cubicBezTo>
                  <a:close/>
                </a:path>
              </a:pathLst>
            </a:custGeom>
            <a:solidFill>
              <a:srgbClr val="D3977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74A5475C-41FE-4F04-8C61-3C1ECE6B32AF}"/>
                </a:ext>
              </a:extLst>
            </p:cNvPr>
            <p:cNvSpPr/>
            <p:nvPr/>
          </p:nvSpPr>
          <p:spPr>
            <a:xfrm>
              <a:off x="4454589" y="8388047"/>
              <a:ext cx="196089" cy="165921"/>
            </a:xfrm>
            <a:custGeom>
              <a:avLst/>
              <a:gdLst>
                <a:gd name="connsiteX0" fmla="*/ 187039 w 196089"/>
                <a:gd name="connsiteY0" fmla="*/ 165922 h 165921"/>
                <a:gd name="connsiteX1" fmla="*/ 0 w 196089"/>
                <a:gd name="connsiteY1" fmla="*/ 6034 h 165921"/>
                <a:gd name="connsiteX2" fmla="*/ 3017 w 196089"/>
                <a:gd name="connsiteY2" fmla="*/ 0 h 165921"/>
                <a:gd name="connsiteX3" fmla="*/ 9050 w 196089"/>
                <a:gd name="connsiteY3" fmla="*/ 3017 h 165921"/>
                <a:gd name="connsiteX4" fmla="*/ 190056 w 196089"/>
                <a:gd name="connsiteY4" fmla="*/ 153855 h 165921"/>
                <a:gd name="connsiteX5" fmla="*/ 196089 w 196089"/>
                <a:gd name="connsiteY5" fmla="*/ 159888 h 165921"/>
                <a:gd name="connsiteX6" fmla="*/ 190056 w 196089"/>
                <a:gd name="connsiteY6" fmla="*/ 165922 h 165921"/>
                <a:gd name="connsiteX7" fmla="*/ 187039 w 196089"/>
                <a:gd name="connsiteY7" fmla="*/ 165922 h 165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089" h="165921">
                  <a:moveTo>
                    <a:pt x="187039" y="165922"/>
                  </a:moveTo>
                  <a:cubicBezTo>
                    <a:pt x="156872" y="165922"/>
                    <a:pt x="45251" y="153855"/>
                    <a:pt x="0" y="6034"/>
                  </a:cubicBezTo>
                  <a:cubicBezTo>
                    <a:pt x="0" y="3017"/>
                    <a:pt x="0" y="0"/>
                    <a:pt x="3017" y="0"/>
                  </a:cubicBezTo>
                  <a:cubicBezTo>
                    <a:pt x="6034" y="0"/>
                    <a:pt x="9050" y="0"/>
                    <a:pt x="9050" y="3017"/>
                  </a:cubicBezTo>
                  <a:cubicBezTo>
                    <a:pt x="57318" y="168939"/>
                    <a:pt x="190056" y="153855"/>
                    <a:pt x="190056" y="153855"/>
                  </a:cubicBezTo>
                  <a:cubicBezTo>
                    <a:pt x="193073" y="153855"/>
                    <a:pt x="196089" y="156872"/>
                    <a:pt x="196089" y="159888"/>
                  </a:cubicBezTo>
                  <a:cubicBezTo>
                    <a:pt x="196089" y="162905"/>
                    <a:pt x="193073" y="165922"/>
                    <a:pt x="190056" y="165922"/>
                  </a:cubicBezTo>
                  <a:cubicBezTo>
                    <a:pt x="193073" y="165922"/>
                    <a:pt x="190056" y="165922"/>
                    <a:pt x="187039" y="165922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D0B02A47-E435-4D76-84D6-E57621BCDDF2}"/>
                </a:ext>
              </a:extLst>
            </p:cNvPr>
            <p:cNvSpPr/>
            <p:nvPr/>
          </p:nvSpPr>
          <p:spPr>
            <a:xfrm>
              <a:off x="3899471" y="7991589"/>
              <a:ext cx="229149" cy="148911"/>
            </a:xfrm>
            <a:custGeom>
              <a:avLst/>
              <a:gdLst>
                <a:gd name="connsiteX0" fmla="*/ 34 w 229149"/>
                <a:gd name="connsiteY0" fmla="*/ 67631 h 148911"/>
                <a:gd name="connsiteX1" fmla="*/ 117688 w 229149"/>
                <a:gd name="connsiteY1" fmla="*/ 1262 h 148911"/>
                <a:gd name="connsiteX2" fmla="*/ 223274 w 229149"/>
                <a:gd name="connsiteY2" fmla="*/ 121933 h 148911"/>
                <a:gd name="connsiteX3" fmla="*/ 34 w 229149"/>
                <a:gd name="connsiteY3" fmla="*/ 67631 h 14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149" h="148911">
                  <a:moveTo>
                    <a:pt x="34" y="67631"/>
                  </a:moveTo>
                  <a:cubicBezTo>
                    <a:pt x="34" y="67631"/>
                    <a:pt x="24168" y="-10805"/>
                    <a:pt x="117688" y="1262"/>
                  </a:cubicBezTo>
                  <a:cubicBezTo>
                    <a:pt x="178023" y="10313"/>
                    <a:pt x="250425" y="55564"/>
                    <a:pt x="223274" y="121933"/>
                  </a:cubicBezTo>
                  <a:cubicBezTo>
                    <a:pt x="196123" y="191318"/>
                    <a:pt x="-2983" y="109865"/>
                    <a:pt x="34" y="67631"/>
                  </a:cubicBez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EF61A28-A82F-48EB-8782-E1564CD04395}"/>
                </a:ext>
              </a:extLst>
            </p:cNvPr>
            <p:cNvSpPr/>
            <p:nvPr/>
          </p:nvSpPr>
          <p:spPr>
            <a:xfrm>
              <a:off x="3389673" y="8474151"/>
              <a:ext cx="369040" cy="454052"/>
            </a:xfrm>
            <a:custGeom>
              <a:avLst/>
              <a:gdLst>
                <a:gd name="connsiteX0" fmla="*/ 0 w 369040"/>
                <a:gd name="connsiteY0" fmla="*/ 116018 h 454052"/>
                <a:gd name="connsiteX1" fmla="*/ 259441 w 369040"/>
                <a:gd name="connsiteY1" fmla="*/ 453895 h 454052"/>
                <a:gd name="connsiteX2" fmla="*/ 343911 w 369040"/>
                <a:gd name="connsiteY2" fmla="*/ 1382 h 454052"/>
                <a:gd name="connsiteX3" fmla="*/ 0 w 369040"/>
                <a:gd name="connsiteY3" fmla="*/ 116018 h 454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040" h="454052">
                  <a:moveTo>
                    <a:pt x="0" y="116018"/>
                  </a:moveTo>
                  <a:cubicBezTo>
                    <a:pt x="48268" y="290990"/>
                    <a:pt x="181006" y="459929"/>
                    <a:pt x="259441" y="453895"/>
                  </a:cubicBezTo>
                  <a:cubicBezTo>
                    <a:pt x="362011" y="447862"/>
                    <a:pt x="398212" y="170320"/>
                    <a:pt x="343911" y="1382"/>
                  </a:cubicBezTo>
                  <a:cubicBezTo>
                    <a:pt x="271508" y="-10686"/>
                    <a:pt x="84469" y="58700"/>
                    <a:pt x="0" y="116018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0B5FBBEC-A056-49A2-BEC6-07850C757F02}"/>
                </a:ext>
              </a:extLst>
            </p:cNvPr>
            <p:cNvSpPr/>
            <p:nvPr/>
          </p:nvSpPr>
          <p:spPr>
            <a:xfrm>
              <a:off x="3021628" y="9655086"/>
              <a:ext cx="1972960" cy="2497877"/>
            </a:xfrm>
            <a:custGeom>
              <a:avLst/>
              <a:gdLst>
                <a:gd name="connsiteX0" fmla="*/ 1270056 w 1972960"/>
                <a:gd name="connsiteY0" fmla="*/ 0 h 2497877"/>
                <a:gd name="connsiteX1" fmla="*/ 609386 w 1972960"/>
                <a:gd name="connsiteY1" fmla="*/ 0 h 2497877"/>
                <a:gd name="connsiteX2" fmla="*/ 491732 w 1972960"/>
                <a:gd name="connsiteY2" fmla="*/ 455531 h 2497877"/>
                <a:gd name="connsiteX3" fmla="*/ 0 w 1972960"/>
                <a:gd name="connsiteY3" fmla="*/ 2497878 h 2497877"/>
                <a:gd name="connsiteX4" fmla="*/ 177989 w 1972960"/>
                <a:gd name="connsiteY4" fmla="*/ 2497878 h 2497877"/>
                <a:gd name="connsiteX5" fmla="*/ 956313 w 1972960"/>
                <a:gd name="connsiteY5" fmla="*/ 654637 h 2497877"/>
                <a:gd name="connsiteX6" fmla="*/ 1779888 w 1972960"/>
                <a:gd name="connsiteY6" fmla="*/ 2488827 h 2497877"/>
                <a:gd name="connsiteX7" fmla="*/ 1972961 w 1972960"/>
                <a:gd name="connsiteY7" fmla="*/ 2488827 h 2497877"/>
                <a:gd name="connsiteX8" fmla="*/ 1405810 w 1972960"/>
                <a:gd name="connsiteY8" fmla="*/ 380112 h 2497877"/>
                <a:gd name="connsiteX9" fmla="*/ 1270056 w 1972960"/>
                <a:gd name="connsiteY9" fmla="*/ 0 h 2497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2960" h="2497877">
                  <a:moveTo>
                    <a:pt x="1270056" y="0"/>
                  </a:moveTo>
                  <a:lnTo>
                    <a:pt x="609386" y="0"/>
                  </a:lnTo>
                  <a:cubicBezTo>
                    <a:pt x="609386" y="0"/>
                    <a:pt x="512849" y="301676"/>
                    <a:pt x="491732" y="455531"/>
                  </a:cubicBezTo>
                  <a:cubicBezTo>
                    <a:pt x="473631" y="606369"/>
                    <a:pt x="0" y="2497878"/>
                    <a:pt x="0" y="2497878"/>
                  </a:cubicBezTo>
                  <a:lnTo>
                    <a:pt x="177989" y="2497878"/>
                  </a:lnTo>
                  <a:lnTo>
                    <a:pt x="956313" y="654637"/>
                  </a:lnTo>
                  <a:lnTo>
                    <a:pt x="1779888" y="2488827"/>
                  </a:lnTo>
                  <a:lnTo>
                    <a:pt x="1972961" y="2488827"/>
                  </a:lnTo>
                  <a:cubicBezTo>
                    <a:pt x="1972961" y="2488827"/>
                    <a:pt x="1438995" y="518883"/>
                    <a:pt x="1405810" y="380112"/>
                  </a:cubicBezTo>
                  <a:cubicBezTo>
                    <a:pt x="1372626" y="262458"/>
                    <a:pt x="1270056" y="0"/>
                    <a:pt x="1270056" y="0"/>
                  </a:cubicBez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9F4FB4AD-FF44-4C26-A43F-2BB9F754FDDB}"/>
                </a:ext>
              </a:extLst>
            </p:cNvPr>
            <p:cNvSpPr/>
            <p:nvPr/>
          </p:nvSpPr>
          <p:spPr>
            <a:xfrm>
              <a:off x="3956824" y="10116651"/>
              <a:ext cx="850726" cy="2030278"/>
            </a:xfrm>
            <a:custGeom>
              <a:avLst/>
              <a:gdLst>
                <a:gd name="connsiteX0" fmla="*/ 844693 w 850726"/>
                <a:gd name="connsiteY0" fmla="*/ 2030279 h 2030278"/>
                <a:gd name="connsiteX1" fmla="*/ 838659 w 850726"/>
                <a:gd name="connsiteY1" fmla="*/ 2027262 h 2030278"/>
                <a:gd name="connsiteX2" fmla="*/ 15084 w 850726"/>
                <a:gd name="connsiteY2" fmla="*/ 193072 h 2030278"/>
                <a:gd name="connsiteX3" fmla="*/ 0 w 850726"/>
                <a:gd name="connsiteY3" fmla="*/ 6033 h 2030278"/>
                <a:gd name="connsiteX4" fmla="*/ 6034 w 850726"/>
                <a:gd name="connsiteY4" fmla="*/ 0 h 2030278"/>
                <a:gd name="connsiteX5" fmla="*/ 12067 w 850726"/>
                <a:gd name="connsiteY5" fmla="*/ 6033 h 2030278"/>
                <a:gd name="connsiteX6" fmla="*/ 27151 w 850726"/>
                <a:gd name="connsiteY6" fmla="*/ 190056 h 2030278"/>
                <a:gd name="connsiteX7" fmla="*/ 850726 w 850726"/>
                <a:gd name="connsiteY7" fmla="*/ 2021229 h 2030278"/>
                <a:gd name="connsiteX8" fmla="*/ 844693 w 850726"/>
                <a:gd name="connsiteY8" fmla="*/ 2030279 h 2030278"/>
                <a:gd name="connsiteX9" fmla="*/ 844693 w 850726"/>
                <a:gd name="connsiteY9" fmla="*/ 2030279 h 2030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0726" h="2030278">
                  <a:moveTo>
                    <a:pt x="844693" y="2030279"/>
                  </a:moveTo>
                  <a:cubicBezTo>
                    <a:pt x="841676" y="2030279"/>
                    <a:pt x="841676" y="2030279"/>
                    <a:pt x="838659" y="2027262"/>
                  </a:cubicBezTo>
                  <a:lnTo>
                    <a:pt x="15084" y="193072"/>
                  </a:lnTo>
                  <a:lnTo>
                    <a:pt x="0" y="6033"/>
                  </a:lnTo>
                  <a:cubicBezTo>
                    <a:pt x="0" y="3016"/>
                    <a:pt x="3017" y="0"/>
                    <a:pt x="6034" y="0"/>
                  </a:cubicBezTo>
                  <a:cubicBezTo>
                    <a:pt x="9050" y="0"/>
                    <a:pt x="12067" y="3016"/>
                    <a:pt x="12067" y="6033"/>
                  </a:cubicBezTo>
                  <a:lnTo>
                    <a:pt x="27151" y="190056"/>
                  </a:lnTo>
                  <a:lnTo>
                    <a:pt x="850726" y="2021229"/>
                  </a:lnTo>
                  <a:cubicBezTo>
                    <a:pt x="850726" y="2024245"/>
                    <a:pt x="847710" y="2030279"/>
                    <a:pt x="844693" y="2030279"/>
                  </a:cubicBezTo>
                  <a:cubicBezTo>
                    <a:pt x="844693" y="2030279"/>
                    <a:pt x="844693" y="2030279"/>
                    <a:pt x="844693" y="2030279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41E86C68-4EF9-4314-B0E0-767318C57B61}"/>
                </a:ext>
              </a:extLst>
            </p:cNvPr>
            <p:cNvSpPr/>
            <p:nvPr/>
          </p:nvSpPr>
          <p:spPr>
            <a:xfrm>
              <a:off x="3541607" y="8712456"/>
              <a:ext cx="811961" cy="1028104"/>
            </a:xfrm>
            <a:custGeom>
              <a:avLst/>
              <a:gdLst>
                <a:gd name="connsiteX0" fmla="*/ 768178 w 811961"/>
                <a:gd name="connsiteY0" fmla="*/ 387546 h 1028104"/>
                <a:gd name="connsiteX1" fmla="*/ 753094 w 811961"/>
                <a:gd name="connsiteY1" fmla="*/ 67769 h 1028104"/>
                <a:gd name="connsiteX2" fmla="*/ 388066 w 811961"/>
                <a:gd name="connsiteY2" fmla="*/ 4418 h 1028104"/>
                <a:gd name="connsiteX3" fmla="*/ 89407 w 811961"/>
                <a:gd name="connsiteY3" fmla="*/ 103971 h 1028104"/>
                <a:gd name="connsiteX4" fmla="*/ 50189 w 811961"/>
                <a:gd name="connsiteY4" fmla="*/ 646988 h 1028104"/>
                <a:gd name="connsiteX5" fmla="*/ 65273 w 811961"/>
                <a:gd name="connsiteY5" fmla="*/ 1012016 h 1028104"/>
                <a:gd name="connsiteX6" fmla="*/ 777228 w 811961"/>
                <a:gd name="connsiteY6" fmla="*/ 1012016 h 1028104"/>
                <a:gd name="connsiteX7" fmla="*/ 768178 w 811961"/>
                <a:gd name="connsiteY7" fmla="*/ 387546 h 1028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1961" h="1028104">
                  <a:moveTo>
                    <a:pt x="768178" y="387546"/>
                  </a:moveTo>
                  <a:cubicBezTo>
                    <a:pt x="777228" y="357379"/>
                    <a:pt x="870748" y="131122"/>
                    <a:pt x="753094" y="67769"/>
                  </a:cubicBezTo>
                  <a:cubicBezTo>
                    <a:pt x="650524" y="13468"/>
                    <a:pt x="505720" y="-10666"/>
                    <a:pt x="388066" y="4418"/>
                  </a:cubicBezTo>
                  <a:cubicBezTo>
                    <a:pt x="258345" y="19501"/>
                    <a:pt x="128625" y="40619"/>
                    <a:pt x="89407" y="103971"/>
                  </a:cubicBezTo>
                  <a:cubicBezTo>
                    <a:pt x="-22213" y="287993"/>
                    <a:pt x="-22213" y="450898"/>
                    <a:pt x="50189" y="646988"/>
                  </a:cubicBezTo>
                  <a:cubicBezTo>
                    <a:pt x="71306" y="704306"/>
                    <a:pt x="50189" y="882295"/>
                    <a:pt x="65273" y="1012016"/>
                  </a:cubicBezTo>
                  <a:cubicBezTo>
                    <a:pt x="65273" y="1012016"/>
                    <a:pt x="388066" y="1048216"/>
                    <a:pt x="777228" y="1012016"/>
                  </a:cubicBezTo>
                  <a:cubicBezTo>
                    <a:pt x="747060" y="794809"/>
                    <a:pt x="759128" y="408663"/>
                    <a:pt x="768178" y="387546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112B4EBC-291C-4157-8094-8212791D5F26}"/>
                </a:ext>
              </a:extLst>
            </p:cNvPr>
            <p:cNvSpPr/>
            <p:nvPr/>
          </p:nvSpPr>
          <p:spPr>
            <a:xfrm>
              <a:off x="3698968" y="8043507"/>
              <a:ext cx="321536" cy="592569"/>
            </a:xfrm>
            <a:custGeom>
              <a:avLst/>
              <a:gdLst>
                <a:gd name="connsiteX0" fmla="*/ 233721 w 321536"/>
                <a:gd name="connsiteY0" fmla="*/ 299288 h 592569"/>
                <a:gd name="connsiteX1" fmla="*/ 281989 w 321536"/>
                <a:gd name="connsiteY1" fmla="*/ 157500 h 592569"/>
                <a:gd name="connsiteX2" fmla="*/ 321207 w 321536"/>
                <a:gd name="connsiteY2" fmla="*/ 9679 h 592569"/>
                <a:gd name="connsiteX3" fmla="*/ 10481 w 321536"/>
                <a:gd name="connsiteY3" fmla="*/ 181634 h 592569"/>
                <a:gd name="connsiteX4" fmla="*/ 185453 w 321536"/>
                <a:gd name="connsiteY4" fmla="*/ 513478 h 592569"/>
                <a:gd name="connsiteX5" fmla="*/ 281989 w 321536"/>
                <a:gd name="connsiteY5" fmla="*/ 564763 h 592569"/>
                <a:gd name="connsiteX6" fmla="*/ 233721 w 321536"/>
                <a:gd name="connsiteY6" fmla="*/ 299288 h 592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1536" h="592569">
                  <a:moveTo>
                    <a:pt x="233721" y="299288"/>
                  </a:moveTo>
                  <a:cubicBezTo>
                    <a:pt x="242771" y="248003"/>
                    <a:pt x="257855" y="202752"/>
                    <a:pt x="281989" y="157500"/>
                  </a:cubicBezTo>
                  <a:cubicBezTo>
                    <a:pt x="306123" y="109232"/>
                    <a:pt x="324224" y="9679"/>
                    <a:pt x="321207" y="9679"/>
                  </a:cubicBezTo>
                  <a:cubicBezTo>
                    <a:pt x="209587" y="-29539"/>
                    <a:pt x="43665" y="54931"/>
                    <a:pt x="10481" y="181634"/>
                  </a:cubicBezTo>
                  <a:cubicBezTo>
                    <a:pt x="-4603" y="244987"/>
                    <a:pt x="-34770" y="432026"/>
                    <a:pt x="185453" y="513478"/>
                  </a:cubicBezTo>
                  <a:cubicBezTo>
                    <a:pt x="281989" y="594930"/>
                    <a:pt x="269922" y="616048"/>
                    <a:pt x="281989" y="564763"/>
                  </a:cubicBezTo>
                  <a:cubicBezTo>
                    <a:pt x="288023" y="519511"/>
                    <a:pt x="224671" y="350573"/>
                    <a:pt x="233721" y="299288"/>
                  </a:cubicBezTo>
                  <a:close/>
                </a:path>
              </a:pathLst>
            </a:custGeom>
            <a:solidFill>
              <a:srgbClr val="D3977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64178BB7-8AAE-41FC-A2EB-689185C2BF44}"/>
                </a:ext>
              </a:extLst>
            </p:cNvPr>
            <p:cNvSpPr/>
            <p:nvPr/>
          </p:nvSpPr>
          <p:spPr>
            <a:xfrm>
              <a:off x="3764921" y="8082474"/>
              <a:ext cx="418159" cy="562313"/>
            </a:xfrm>
            <a:custGeom>
              <a:avLst/>
              <a:gdLst>
                <a:gd name="connsiteX0" fmla="*/ 7880 w 418159"/>
                <a:gd name="connsiteY0" fmla="*/ 181886 h 562313"/>
                <a:gd name="connsiteX1" fmla="*/ 19948 w 418159"/>
                <a:gd name="connsiteY1" fmla="*/ 435294 h 562313"/>
                <a:gd name="connsiteX2" fmla="*/ 167769 w 418159"/>
                <a:gd name="connsiteY2" fmla="*/ 561997 h 562313"/>
                <a:gd name="connsiteX3" fmla="*/ 381959 w 418159"/>
                <a:gd name="connsiteY3" fmla="*/ 420210 h 562313"/>
                <a:gd name="connsiteX4" fmla="*/ 418160 w 418159"/>
                <a:gd name="connsiteY4" fmla="*/ 196970 h 562313"/>
                <a:gd name="connsiteX5" fmla="*/ 206987 w 418159"/>
                <a:gd name="connsiteY5" fmla="*/ 880 h 562313"/>
                <a:gd name="connsiteX6" fmla="*/ 7880 w 418159"/>
                <a:gd name="connsiteY6" fmla="*/ 181886 h 562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159" h="562313">
                  <a:moveTo>
                    <a:pt x="7880" y="181886"/>
                  </a:moveTo>
                  <a:cubicBezTo>
                    <a:pt x="7880" y="181886"/>
                    <a:pt x="-16254" y="368925"/>
                    <a:pt x="19948" y="435294"/>
                  </a:cubicBezTo>
                  <a:cubicBezTo>
                    <a:pt x="56149" y="501662"/>
                    <a:pt x="116484" y="558981"/>
                    <a:pt x="167769" y="561997"/>
                  </a:cubicBezTo>
                  <a:cubicBezTo>
                    <a:pt x="234137" y="568031"/>
                    <a:pt x="345758" y="486578"/>
                    <a:pt x="381959" y="420210"/>
                  </a:cubicBezTo>
                  <a:cubicBezTo>
                    <a:pt x="418160" y="353841"/>
                    <a:pt x="418160" y="248255"/>
                    <a:pt x="418160" y="196970"/>
                  </a:cubicBezTo>
                  <a:cubicBezTo>
                    <a:pt x="415143" y="103450"/>
                    <a:pt x="391009" y="25015"/>
                    <a:pt x="206987" y="880"/>
                  </a:cubicBezTo>
                  <a:cubicBezTo>
                    <a:pt x="122517" y="-11187"/>
                    <a:pt x="28998" y="103450"/>
                    <a:pt x="7880" y="181886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6269FE7D-9728-45D0-A842-69C860B8F07A}"/>
                </a:ext>
              </a:extLst>
            </p:cNvPr>
            <p:cNvSpPr/>
            <p:nvPr/>
          </p:nvSpPr>
          <p:spPr>
            <a:xfrm>
              <a:off x="3899505" y="8347579"/>
              <a:ext cx="54301" cy="130969"/>
            </a:xfrm>
            <a:custGeom>
              <a:avLst/>
              <a:gdLst>
                <a:gd name="connsiteX0" fmla="*/ 30168 w 54301"/>
                <a:gd name="connsiteY0" fmla="*/ 130970 h 130969"/>
                <a:gd name="connsiteX1" fmla="*/ 6034 w 54301"/>
                <a:gd name="connsiteY1" fmla="*/ 124937 h 130969"/>
                <a:gd name="connsiteX2" fmla="*/ 0 w 54301"/>
                <a:gd name="connsiteY2" fmla="*/ 112870 h 130969"/>
                <a:gd name="connsiteX3" fmla="*/ 27151 w 54301"/>
                <a:gd name="connsiteY3" fmla="*/ 4266 h 130969"/>
                <a:gd name="connsiteX4" fmla="*/ 33184 w 54301"/>
                <a:gd name="connsiteY4" fmla="*/ 1250 h 130969"/>
                <a:gd name="connsiteX5" fmla="*/ 36201 w 54301"/>
                <a:gd name="connsiteY5" fmla="*/ 7283 h 130969"/>
                <a:gd name="connsiteX6" fmla="*/ 9050 w 54301"/>
                <a:gd name="connsiteY6" fmla="*/ 112870 h 130969"/>
                <a:gd name="connsiteX7" fmla="*/ 9050 w 54301"/>
                <a:gd name="connsiteY7" fmla="*/ 115886 h 130969"/>
                <a:gd name="connsiteX8" fmla="*/ 48268 w 54301"/>
                <a:gd name="connsiteY8" fmla="*/ 115886 h 130969"/>
                <a:gd name="connsiteX9" fmla="*/ 54302 w 54301"/>
                <a:gd name="connsiteY9" fmla="*/ 121920 h 130969"/>
                <a:gd name="connsiteX10" fmla="*/ 48268 w 54301"/>
                <a:gd name="connsiteY10" fmla="*/ 127953 h 130969"/>
                <a:gd name="connsiteX11" fmla="*/ 30168 w 54301"/>
                <a:gd name="connsiteY11" fmla="*/ 130970 h 130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301" h="130969">
                  <a:moveTo>
                    <a:pt x="30168" y="130970"/>
                  </a:moveTo>
                  <a:cubicBezTo>
                    <a:pt x="21117" y="130970"/>
                    <a:pt x="12067" y="130970"/>
                    <a:pt x="6034" y="124937"/>
                  </a:cubicBezTo>
                  <a:cubicBezTo>
                    <a:pt x="3017" y="121920"/>
                    <a:pt x="0" y="118903"/>
                    <a:pt x="0" y="112870"/>
                  </a:cubicBezTo>
                  <a:cubicBezTo>
                    <a:pt x="0" y="91752"/>
                    <a:pt x="27151" y="7283"/>
                    <a:pt x="27151" y="4266"/>
                  </a:cubicBezTo>
                  <a:cubicBezTo>
                    <a:pt x="27151" y="1250"/>
                    <a:pt x="30168" y="-1767"/>
                    <a:pt x="33184" y="1250"/>
                  </a:cubicBezTo>
                  <a:cubicBezTo>
                    <a:pt x="36201" y="1250"/>
                    <a:pt x="39218" y="4266"/>
                    <a:pt x="36201" y="7283"/>
                  </a:cubicBezTo>
                  <a:cubicBezTo>
                    <a:pt x="30168" y="31417"/>
                    <a:pt x="9050" y="94769"/>
                    <a:pt x="9050" y="112870"/>
                  </a:cubicBezTo>
                  <a:cubicBezTo>
                    <a:pt x="9050" y="112870"/>
                    <a:pt x="9050" y="115886"/>
                    <a:pt x="9050" y="115886"/>
                  </a:cubicBezTo>
                  <a:cubicBezTo>
                    <a:pt x="15084" y="121920"/>
                    <a:pt x="36201" y="118903"/>
                    <a:pt x="48268" y="115886"/>
                  </a:cubicBezTo>
                  <a:cubicBezTo>
                    <a:pt x="51285" y="115886"/>
                    <a:pt x="54302" y="115886"/>
                    <a:pt x="54302" y="121920"/>
                  </a:cubicBezTo>
                  <a:cubicBezTo>
                    <a:pt x="54302" y="124937"/>
                    <a:pt x="54302" y="127953"/>
                    <a:pt x="48268" y="127953"/>
                  </a:cubicBezTo>
                  <a:cubicBezTo>
                    <a:pt x="51285" y="127953"/>
                    <a:pt x="42235" y="130970"/>
                    <a:pt x="30168" y="130970"/>
                  </a:cubicBezTo>
                  <a:close/>
                </a:path>
              </a:pathLst>
            </a:custGeom>
            <a:solidFill>
              <a:srgbClr val="E58777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19AA604B-F231-47FE-A829-89D88027EE57}"/>
                </a:ext>
              </a:extLst>
            </p:cNvPr>
            <p:cNvSpPr/>
            <p:nvPr/>
          </p:nvSpPr>
          <p:spPr>
            <a:xfrm>
              <a:off x="3881405" y="8526818"/>
              <a:ext cx="105586" cy="54301"/>
            </a:xfrm>
            <a:custGeom>
              <a:avLst/>
              <a:gdLst>
                <a:gd name="connsiteX0" fmla="*/ 105587 w 105586"/>
                <a:gd name="connsiteY0" fmla="*/ 0 h 54301"/>
                <a:gd name="connsiteX1" fmla="*/ 0 w 105586"/>
                <a:gd name="connsiteY1" fmla="*/ 0 h 54301"/>
                <a:gd name="connsiteX2" fmla="*/ 51285 w 105586"/>
                <a:gd name="connsiteY2" fmla="*/ 54302 h 54301"/>
                <a:gd name="connsiteX3" fmla="*/ 105587 w 105586"/>
                <a:gd name="connsiteY3" fmla="*/ 0 h 5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586" h="54301">
                  <a:moveTo>
                    <a:pt x="105587" y="0"/>
                  </a:moveTo>
                  <a:cubicBezTo>
                    <a:pt x="51285" y="24134"/>
                    <a:pt x="0" y="0"/>
                    <a:pt x="0" y="0"/>
                  </a:cubicBezTo>
                  <a:cubicBezTo>
                    <a:pt x="0" y="0"/>
                    <a:pt x="15084" y="54302"/>
                    <a:pt x="51285" y="54302"/>
                  </a:cubicBezTo>
                  <a:cubicBezTo>
                    <a:pt x="93520" y="54302"/>
                    <a:pt x="105587" y="0"/>
                    <a:pt x="105587" y="0"/>
                  </a:cubicBezTo>
                  <a:close/>
                </a:path>
              </a:pathLst>
            </a:custGeom>
            <a:solidFill>
              <a:srgbClr val="FFFFFF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816E74C8-31B8-4D0F-A6D8-9F3350535FEA}"/>
                </a:ext>
              </a:extLst>
            </p:cNvPr>
            <p:cNvSpPr/>
            <p:nvPr/>
          </p:nvSpPr>
          <p:spPr>
            <a:xfrm>
              <a:off x="3829528" y="8320909"/>
              <a:ext cx="40401" cy="40578"/>
            </a:xfrm>
            <a:custGeom>
              <a:avLst/>
              <a:gdLst>
                <a:gd name="connsiteX0" fmla="*/ 39810 w 40401"/>
                <a:gd name="connsiteY0" fmla="*/ 24903 h 40578"/>
                <a:gd name="connsiteX1" fmla="*/ 15676 w 40401"/>
                <a:gd name="connsiteY1" fmla="*/ 39987 h 40578"/>
                <a:gd name="connsiteX2" fmla="*/ 592 w 40401"/>
                <a:gd name="connsiteY2" fmla="*/ 15852 h 40578"/>
                <a:gd name="connsiteX3" fmla="*/ 24726 w 40401"/>
                <a:gd name="connsiteY3" fmla="*/ 769 h 40578"/>
                <a:gd name="connsiteX4" fmla="*/ 39810 w 40401"/>
                <a:gd name="connsiteY4" fmla="*/ 24903 h 40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01" h="40578">
                  <a:moveTo>
                    <a:pt x="39810" y="24903"/>
                  </a:moveTo>
                  <a:cubicBezTo>
                    <a:pt x="36793" y="33953"/>
                    <a:pt x="27743" y="43004"/>
                    <a:pt x="15676" y="39987"/>
                  </a:cubicBezTo>
                  <a:cubicBezTo>
                    <a:pt x="6625" y="36970"/>
                    <a:pt x="-2425" y="27920"/>
                    <a:pt x="592" y="15852"/>
                  </a:cubicBezTo>
                  <a:cubicBezTo>
                    <a:pt x="3608" y="3786"/>
                    <a:pt x="12659" y="-2248"/>
                    <a:pt x="24726" y="769"/>
                  </a:cubicBezTo>
                  <a:cubicBezTo>
                    <a:pt x="33776" y="3786"/>
                    <a:pt x="42826" y="12836"/>
                    <a:pt x="39810" y="24903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016D6297-757C-4A7F-884D-1ECB05F83EF9}"/>
                </a:ext>
              </a:extLst>
            </p:cNvPr>
            <p:cNvSpPr/>
            <p:nvPr/>
          </p:nvSpPr>
          <p:spPr>
            <a:xfrm>
              <a:off x="4016567" y="8326943"/>
              <a:ext cx="40578" cy="40755"/>
            </a:xfrm>
            <a:custGeom>
              <a:avLst/>
              <a:gdLst>
                <a:gd name="connsiteX0" fmla="*/ 39810 w 40578"/>
                <a:gd name="connsiteY0" fmla="*/ 24903 h 40755"/>
                <a:gd name="connsiteX1" fmla="*/ 15676 w 40578"/>
                <a:gd name="connsiteY1" fmla="*/ 39987 h 40755"/>
                <a:gd name="connsiteX2" fmla="*/ 592 w 40578"/>
                <a:gd name="connsiteY2" fmla="*/ 15852 h 40755"/>
                <a:gd name="connsiteX3" fmla="*/ 24726 w 40578"/>
                <a:gd name="connsiteY3" fmla="*/ 769 h 40755"/>
                <a:gd name="connsiteX4" fmla="*/ 39810 w 40578"/>
                <a:gd name="connsiteY4" fmla="*/ 24903 h 4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0755">
                  <a:moveTo>
                    <a:pt x="39810" y="24903"/>
                  </a:moveTo>
                  <a:cubicBezTo>
                    <a:pt x="36793" y="36970"/>
                    <a:pt x="27743" y="43004"/>
                    <a:pt x="15676" y="39987"/>
                  </a:cubicBezTo>
                  <a:cubicBezTo>
                    <a:pt x="6625" y="36970"/>
                    <a:pt x="-2425" y="27920"/>
                    <a:pt x="592" y="15852"/>
                  </a:cubicBezTo>
                  <a:cubicBezTo>
                    <a:pt x="3608" y="3786"/>
                    <a:pt x="12659" y="-2248"/>
                    <a:pt x="24726" y="769"/>
                  </a:cubicBezTo>
                  <a:cubicBezTo>
                    <a:pt x="36793" y="3786"/>
                    <a:pt x="42826" y="12836"/>
                    <a:pt x="39810" y="24903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19A2115F-275B-4801-B171-DADA352B68D2}"/>
                </a:ext>
              </a:extLst>
            </p:cNvPr>
            <p:cNvSpPr/>
            <p:nvPr/>
          </p:nvSpPr>
          <p:spPr>
            <a:xfrm>
              <a:off x="3803723" y="8272257"/>
              <a:ext cx="90998" cy="34336"/>
            </a:xfrm>
            <a:custGeom>
              <a:avLst/>
              <a:gdLst>
                <a:gd name="connsiteX0" fmla="*/ 8296 w 90998"/>
                <a:gd name="connsiteY0" fmla="*/ 34337 h 34336"/>
                <a:gd name="connsiteX1" fmla="*/ 2263 w 90998"/>
                <a:gd name="connsiteY1" fmla="*/ 31321 h 34336"/>
                <a:gd name="connsiteX2" fmla="*/ 2263 w 90998"/>
                <a:gd name="connsiteY2" fmla="*/ 19253 h 34336"/>
                <a:gd name="connsiteX3" fmla="*/ 86732 w 90998"/>
                <a:gd name="connsiteY3" fmla="*/ 10203 h 34336"/>
                <a:gd name="connsiteX4" fmla="*/ 89749 w 90998"/>
                <a:gd name="connsiteY4" fmla="*/ 19253 h 34336"/>
                <a:gd name="connsiteX5" fmla="*/ 80698 w 90998"/>
                <a:gd name="connsiteY5" fmla="*/ 22270 h 34336"/>
                <a:gd name="connsiteX6" fmla="*/ 14330 w 90998"/>
                <a:gd name="connsiteY6" fmla="*/ 28304 h 34336"/>
                <a:gd name="connsiteX7" fmla="*/ 8296 w 90998"/>
                <a:gd name="connsiteY7" fmla="*/ 34337 h 34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4336">
                  <a:moveTo>
                    <a:pt x="8296" y="34337"/>
                  </a:moveTo>
                  <a:cubicBezTo>
                    <a:pt x="5279" y="34337"/>
                    <a:pt x="5279" y="34337"/>
                    <a:pt x="2263" y="31321"/>
                  </a:cubicBezTo>
                  <a:cubicBezTo>
                    <a:pt x="-754" y="28304"/>
                    <a:pt x="-754" y="22270"/>
                    <a:pt x="2263" y="19253"/>
                  </a:cubicBezTo>
                  <a:cubicBezTo>
                    <a:pt x="29413" y="-10914"/>
                    <a:pt x="68631" y="1153"/>
                    <a:pt x="86732" y="10203"/>
                  </a:cubicBezTo>
                  <a:cubicBezTo>
                    <a:pt x="89749" y="13220"/>
                    <a:pt x="92765" y="16237"/>
                    <a:pt x="89749" y="19253"/>
                  </a:cubicBezTo>
                  <a:cubicBezTo>
                    <a:pt x="86732" y="22270"/>
                    <a:pt x="83715" y="25287"/>
                    <a:pt x="80698" y="22270"/>
                  </a:cubicBezTo>
                  <a:cubicBezTo>
                    <a:pt x="77682" y="22270"/>
                    <a:pt x="38464" y="1153"/>
                    <a:pt x="14330" y="28304"/>
                  </a:cubicBezTo>
                  <a:cubicBezTo>
                    <a:pt x="14330" y="31321"/>
                    <a:pt x="11313" y="34337"/>
                    <a:pt x="8296" y="34337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C0CE42E3-3E01-4C69-8FDB-82C3D4558CF9}"/>
                </a:ext>
              </a:extLst>
            </p:cNvPr>
            <p:cNvSpPr/>
            <p:nvPr/>
          </p:nvSpPr>
          <p:spPr>
            <a:xfrm>
              <a:off x="3991775" y="8270700"/>
              <a:ext cx="90998" cy="35894"/>
            </a:xfrm>
            <a:custGeom>
              <a:avLst/>
              <a:gdLst>
                <a:gd name="connsiteX0" fmla="*/ 85719 w 90998"/>
                <a:gd name="connsiteY0" fmla="*/ 35894 h 35894"/>
                <a:gd name="connsiteX1" fmla="*/ 79685 w 90998"/>
                <a:gd name="connsiteY1" fmla="*/ 32878 h 35894"/>
                <a:gd name="connsiteX2" fmla="*/ 13317 w 90998"/>
                <a:gd name="connsiteY2" fmla="*/ 26844 h 35894"/>
                <a:gd name="connsiteX3" fmla="*/ 1250 w 90998"/>
                <a:gd name="connsiteY3" fmla="*/ 23827 h 35894"/>
                <a:gd name="connsiteX4" fmla="*/ 4266 w 90998"/>
                <a:gd name="connsiteY4" fmla="*/ 11760 h 35894"/>
                <a:gd name="connsiteX5" fmla="*/ 88736 w 90998"/>
                <a:gd name="connsiteY5" fmla="*/ 20810 h 35894"/>
                <a:gd name="connsiteX6" fmla="*/ 88736 w 90998"/>
                <a:gd name="connsiteY6" fmla="*/ 32878 h 35894"/>
                <a:gd name="connsiteX7" fmla="*/ 85719 w 90998"/>
                <a:gd name="connsiteY7" fmla="*/ 35894 h 3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5894">
                  <a:moveTo>
                    <a:pt x="85719" y="35894"/>
                  </a:moveTo>
                  <a:cubicBezTo>
                    <a:pt x="82702" y="35894"/>
                    <a:pt x="82702" y="35894"/>
                    <a:pt x="79685" y="32878"/>
                  </a:cubicBezTo>
                  <a:cubicBezTo>
                    <a:pt x="79685" y="32878"/>
                    <a:pt x="49518" y="2710"/>
                    <a:pt x="13317" y="26844"/>
                  </a:cubicBezTo>
                  <a:cubicBezTo>
                    <a:pt x="10300" y="29861"/>
                    <a:pt x="4266" y="26844"/>
                    <a:pt x="1250" y="23827"/>
                  </a:cubicBezTo>
                  <a:cubicBezTo>
                    <a:pt x="-1767" y="20810"/>
                    <a:pt x="1250" y="14777"/>
                    <a:pt x="4266" y="11760"/>
                  </a:cubicBezTo>
                  <a:cubicBezTo>
                    <a:pt x="40467" y="-12374"/>
                    <a:pt x="76669" y="5726"/>
                    <a:pt x="88736" y="20810"/>
                  </a:cubicBezTo>
                  <a:cubicBezTo>
                    <a:pt x="91752" y="23827"/>
                    <a:pt x="91752" y="29861"/>
                    <a:pt x="88736" y="32878"/>
                  </a:cubicBezTo>
                  <a:cubicBezTo>
                    <a:pt x="88736" y="35894"/>
                    <a:pt x="85719" y="35894"/>
                    <a:pt x="85719" y="35894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4B4C765A-52E2-48F8-901D-7CD18EE09558}"/>
                </a:ext>
              </a:extLst>
            </p:cNvPr>
            <p:cNvSpPr/>
            <p:nvPr/>
          </p:nvSpPr>
          <p:spPr>
            <a:xfrm>
              <a:off x="3748444" y="8050486"/>
              <a:ext cx="273800" cy="256107"/>
            </a:xfrm>
            <a:custGeom>
              <a:avLst/>
              <a:gdLst>
                <a:gd name="connsiteX0" fmla="*/ 271732 w 273800"/>
                <a:gd name="connsiteY0" fmla="*/ 2700 h 256107"/>
                <a:gd name="connsiteX1" fmla="*/ 235531 w 273800"/>
                <a:gd name="connsiteY1" fmla="*/ 129404 h 256107"/>
                <a:gd name="connsiteX2" fmla="*/ 223 w 273800"/>
                <a:gd name="connsiteY2" fmla="*/ 256108 h 256107"/>
                <a:gd name="connsiteX3" fmla="*/ 271732 w 273800"/>
                <a:gd name="connsiteY3" fmla="*/ 2700 h 256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3800" h="256107">
                  <a:moveTo>
                    <a:pt x="271732" y="2700"/>
                  </a:moveTo>
                  <a:cubicBezTo>
                    <a:pt x="271732" y="2700"/>
                    <a:pt x="286816" y="90186"/>
                    <a:pt x="235531" y="129404"/>
                  </a:cubicBezTo>
                  <a:cubicBezTo>
                    <a:pt x="235531" y="129404"/>
                    <a:pt x="27374" y="171639"/>
                    <a:pt x="223" y="256108"/>
                  </a:cubicBezTo>
                  <a:cubicBezTo>
                    <a:pt x="223" y="253091"/>
                    <a:pt x="-17877" y="-30484"/>
                    <a:pt x="271732" y="2700"/>
                  </a:cubicBezTo>
                  <a:close/>
                </a:path>
              </a:pathLst>
            </a:custGeom>
            <a:solidFill>
              <a:srgbClr val="D3977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B4320486-4B85-471B-8420-1071563767AC}"/>
                </a:ext>
              </a:extLst>
            </p:cNvPr>
            <p:cNvSpPr/>
            <p:nvPr/>
          </p:nvSpPr>
          <p:spPr>
            <a:xfrm>
              <a:off x="3983974" y="8053187"/>
              <a:ext cx="221900" cy="311215"/>
            </a:xfrm>
            <a:custGeom>
              <a:avLst/>
              <a:gdLst>
                <a:gd name="connsiteX0" fmla="*/ 0 w 221900"/>
                <a:gd name="connsiteY0" fmla="*/ 126704 h 311215"/>
                <a:gd name="connsiteX1" fmla="*/ 138771 w 221900"/>
                <a:gd name="connsiteY1" fmla="*/ 181006 h 311215"/>
                <a:gd name="connsiteX2" fmla="*/ 196089 w 221900"/>
                <a:gd name="connsiteY2" fmla="*/ 298659 h 311215"/>
                <a:gd name="connsiteX3" fmla="*/ 220224 w 221900"/>
                <a:gd name="connsiteY3" fmla="*/ 295643 h 311215"/>
                <a:gd name="connsiteX4" fmla="*/ 33184 w 221900"/>
                <a:gd name="connsiteY4" fmla="*/ 0 h 311215"/>
                <a:gd name="connsiteX5" fmla="*/ 0 w 221900"/>
                <a:gd name="connsiteY5" fmla="*/ 126704 h 31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1900" h="311215">
                  <a:moveTo>
                    <a:pt x="0" y="126704"/>
                  </a:moveTo>
                  <a:cubicBezTo>
                    <a:pt x="0" y="126704"/>
                    <a:pt x="87486" y="174972"/>
                    <a:pt x="138771" y="181006"/>
                  </a:cubicBezTo>
                  <a:cubicBezTo>
                    <a:pt x="190056" y="187039"/>
                    <a:pt x="196089" y="298659"/>
                    <a:pt x="196089" y="298659"/>
                  </a:cubicBezTo>
                  <a:cubicBezTo>
                    <a:pt x="196089" y="298659"/>
                    <a:pt x="217207" y="328827"/>
                    <a:pt x="220224" y="295643"/>
                  </a:cubicBezTo>
                  <a:cubicBezTo>
                    <a:pt x="226257" y="217207"/>
                    <a:pt x="226257" y="21117"/>
                    <a:pt x="33184" y="0"/>
                  </a:cubicBezTo>
                  <a:cubicBezTo>
                    <a:pt x="36201" y="0"/>
                    <a:pt x="24134" y="120670"/>
                    <a:pt x="0" y="126704"/>
                  </a:cubicBezTo>
                  <a:close/>
                </a:path>
              </a:pathLst>
            </a:custGeom>
            <a:solidFill>
              <a:srgbClr val="D3977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6F2C1C11-A7C8-4291-9079-D6D112D46E04}"/>
                </a:ext>
              </a:extLst>
            </p:cNvPr>
            <p:cNvSpPr/>
            <p:nvPr/>
          </p:nvSpPr>
          <p:spPr>
            <a:xfrm>
              <a:off x="3977941" y="8095421"/>
              <a:ext cx="153854" cy="141787"/>
            </a:xfrm>
            <a:custGeom>
              <a:avLst/>
              <a:gdLst>
                <a:gd name="connsiteX0" fmla="*/ 144804 w 153854"/>
                <a:gd name="connsiteY0" fmla="*/ 141788 h 141787"/>
                <a:gd name="connsiteX1" fmla="*/ 144804 w 153854"/>
                <a:gd name="connsiteY1" fmla="*/ 141788 h 141787"/>
                <a:gd name="connsiteX2" fmla="*/ 48268 w 153854"/>
                <a:gd name="connsiteY2" fmla="*/ 108604 h 141787"/>
                <a:gd name="connsiteX3" fmla="*/ 3017 w 153854"/>
                <a:gd name="connsiteY3" fmla="*/ 84469 h 141787"/>
                <a:gd name="connsiteX4" fmla="*/ 0 w 153854"/>
                <a:gd name="connsiteY4" fmla="*/ 81452 h 141787"/>
                <a:gd name="connsiteX5" fmla="*/ 0 w 153854"/>
                <a:gd name="connsiteY5" fmla="*/ 75419 h 141787"/>
                <a:gd name="connsiteX6" fmla="*/ 27151 w 153854"/>
                <a:gd name="connsiteY6" fmla="*/ 6033 h 141787"/>
                <a:gd name="connsiteX7" fmla="*/ 33184 w 153854"/>
                <a:gd name="connsiteY7" fmla="*/ 0 h 141787"/>
                <a:gd name="connsiteX8" fmla="*/ 39218 w 153854"/>
                <a:gd name="connsiteY8" fmla="*/ 6033 h 141787"/>
                <a:gd name="connsiteX9" fmla="*/ 15084 w 153854"/>
                <a:gd name="connsiteY9" fmla="*/ 75419 h 141787"/>
                <a:gd name="connsiteX10" fmla="*/ 54302 w 153854"/>
                <a:gd name="connsiteY10" fmla="*/ 96536 h 141787"/>
                <a:gd name="connsiteX11" fmla="*/ 147821 w 153854"/>
                <a:gd name="connsiteY11" fmla="*/ 126704 h 141787"/>
                <a:gd name="connsiteX12" fmla="*/ 153855 w 153854"/>
                <a:gd name="connsiteY12" fmla="*/ 132738 h 141787"/>
                <a:gd name="connsiteX13" fmla="*/ 144804 w 153854"/>
                <a:gd name="connsiteY13" fmla="*/ 141788 h 141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3854" h="141787">
                  <a:moveTo>
                    <a:pt x="144804" y="141788"/>
                  </a:moveTo>
                  <a:cubicBezTo>
                    <a:pt x="144804" y="141788"/>
                    <a:pt x="144804" y="141788"/>
                    <a:pt x="144804" y="141788"/>
                  </a:cubicBezTo>
                  <a:cubicBezTo>
                    <a:pt x="108603" y="135754"/>
                    <a:pt x="72402" y="120670"/>
                    <a:pt x="48268" y="108604"/>
                  </a:cubicBezTo>
                  <a:cubicBezTo>
                    <a:pt x="21117" y="96536"/>
                    <a:pt x="3017" y="84469"/>
                    <a:pt x="3017" y="84469"/>
                  </a:cubicBezTo>
                  <a:cubicBezTo>
                    <a:pt x="3017" y="84469"/>
                    <a:pt x="0" y="81452"/>
                    <a:pt x="0" y="81452"/>
                  </a:cubicBezTo>
                  <a:cubicBezTo>
                    <a:pt x="0" y="78436"/>
                    <a:pt x="0" y="78436"/>
                    <a:pt x="0" y="75419"/>
                  </a:cubicBezTo>
                  <a:cubicBezTo>
                    <a:pt x="6033" y="69386"/>
                    <a:pt x="24134" y="30168"/>
                    <a:pt x="27151" y="6033"/>
                  </a:cubicBezTo>
                  <a:cubicBezTo>
                    <a:pt x="27151" y="3017"/>
                    <a:pt x="30168" y="0"/>
                    <a:pt x="33184" y="0"/>
                  </a:cubicBezTo>
                  <a:cubicBezTo>
                    <a:pt x="36201" y="0"/>
                    <a:pt x="39218" y="3017"/>
                    <a:pt x="39218" y="6033"/>
                  </a:cubicBezTo>
                  <a:cubicBezTo>
                    <a:pt x="39218" y="30168"/>
                    <a:pt x="24134" y="63352"/>
                    <a:pt x="15084" y="75419"/>
                  </a:cubicBezTo>
                  <a:cubicBezTo>
                    <a:pt x="21117" y="78436"/>
                    <a:pt x="36201" y="87486"/>
                    <a:pt x="54302" y="96536"/>
                  </a:cubicBezTo>
                  <a:cubicBezTo>
                    <a:pt x="78436" y="108604"/>
                    <a:pt x="114637" y="123687"/>
                    <a:pt x="147821" y="126704"/>
                  </a:cubicBezTo>
                  <a:cubicBezTo>
                    <a:pt x="150838" y="126704"/>
                    <a:pt x="153855" y="129721"/>
                    <a:pt x="153855" y="132738"/>
                  </a:cubicBezTo>
                  <a:cubicBezTo>
                    <a:pt x="150838" y="138771"/>
                    <a:pt x="147821" y="141788"/>
                    <a:pt x="144804" y="141788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0BFED0CD-4D5E-4755-BC68-AE124635FFBB}"/>
                </a:ext>
              </a:extLst>
            </p:cNvPr>
            <p:cNvSpPr/>
            <p:nvPr/>
          </p:nvSpPr>
          <p:spPr>
            <a:xfrm>
              <a:off x="3818053" y="8535773"/>
              <a:ext cx="304692" cy="222050"/>
            </a:xfrm>
            <a:custGeom>
              <a:avLst/>
              <a:gdLst>
                <a:gd name="connsiteX0" fmla="*/ 54302 w 304692"/>
                <a:gd name="connsiteY0" fmla="*/ 60431 h 222050"/>
                <a:gd name="connsiteX1" fmla="*/ 0 w 304692"/>
                <a:gd name="connsiteY1" fmla="*/ 199202 h 222050"/>
                <a:gd name="connsiteX2" fmla="*/ 304693 w 304692"/>
                <a:gd name="connsiteY2" fmla="*/ 184118 h 222050"/>
                <a:gd name="connsiteX3" fmla="*/ 253408 w 304692"/>
                <a:gd name="connsiteY3" fmla="*/ 96 h 222050"/>
                <a:gd name="connsiteX4" fmla="*/ 54302 w 304692"/>
                <a:gd name="connsiteY4" fmla="*/ 60431 h 22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692" h="222050">
                  <a:moveTo>
                    <a:pt x="54302" y="60431"/>
                  </a:moveTo>
                  <a:cubicBezTo>
                    <a:pt x="54302" y="60431"/>
                    <a:pt x="60335" y="169034"/>
                    <a:pt x="0" y="199202"/>
                  </a:cubicBezTo>
                  <a:cubicBezTo>
                    <a:pt x="0" y="199202"/>
                    <a:pt x="177989" y="259537"/>
                    <a:pt x="304693" y="184118"/>
                  </a:cubicBezTo>
                  <a:cubicBezTo>
                    <a:pt x="250391" y="141883"/>
                    <a:pt x="253408" y="60431"/>
                    <a:pt x="253408" y="96"/>
                  </a:cubicBezTo>
                  <a:cubicBezTo>
                    <a:pt x="256425" y="-2921"/>
                    <a:pt x="108603" y="66464"/>
                    <a:pt x="54302" y="60431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F7827570-308F-43E5-9F38-57A8000252B2}"/>
                </a:ext>
              </a:extLst>
            </p:cNvPr>
            <p:cNvSpPr/>
            <p:nvPr/>
          </p:nvSpPr>
          <p:spPr>
            <a:xfrm>
              <a:off x="3864058" y="8570820"/>
              <a:ext cx="220718" cy="79685"/>
            </a:xfrm>
            <a:custGeom>
              <a:avLst/>
              <a:gdLst>
                <a:gd name="connsiteX0" fmla="*/ 71648 w 220718"/>
                <a:gd name="connsiteY0" fmla="*/ 79686 h 79685"/>
                <a:gd name="connsiteX1" fmla="*/ 2263 w 220718"/>
                <a:gd name="connsiteY1" fmla="*/ 52534 h 79685"/>
                <a:gd name="connsiteX2" fmla="*/ 2263 w 220718"/>
                <a:gd name="connsiteY2" fmla="*/ 43484 h 79685"/>
                <a:gd name="connsiteX3" fmla="*/ 11313 w 220718"/>
                <a:gd name="connsiteY3" fmla="*/ 43484 h 79685"/>
                <a:gd name="connsiteX4" fmla="*/ 80698 w 220718"/>
                <a:gd name="connsiteY4" fmla="*/ 67618 h 79685"/>
                <a:gd name="connsiteX5" fmla="*/ 210419 w 220718"/>
                <a:gd name="connsiteY5" fmla="*/ 1250 h 79685"/>
                <a:gd name="connsiteX6" fmla="*/ 219469 w 220718"/>
                <a:gd name="connsiteY6" fmla="*/ 4267 h 79685"/>
                <a:gd name="connsiteX7" fmla="*/ 216453 w 220718"/>
                <a:gd name="connsiteY7" fmla="*/ 13317 h 79685"/>
                <a:gd name="connsiteX8" fmla="*/ 80698 w 220718"/>
                <a:gd name="connsiteY8" fmla="*/ 79686 h 79685"/>
                <a:gd name="connsiteX9" fmla="*/ 71648 w 220718"/>
                <a:gd name="connsiteY9" fmla="*/ 79686 h 79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718" h="79685">
                  <a:moveTo>
                    <a:pt x="71648" y="79686"/>
                  </a:moveTo>
                  <a:cubicBezTo>
                    <a:pt x="32430" y="79686"/>
                    <a:pt x="5279" y="52534"/>
                    <a:pt x="2263" y="52534"/>
                  </a:cubicBezTo>
                  <a:cubicBezTo>
                    <a:pt x="-754" y="49518"/>
                    <a:pt x="-754" y="46501"/>
                    <a:pt x="2263" y="43484"/>
                  </a:cubicBezTo>
                  <a:cubicBezTo>
                    <a:pt x="5279" y="40468"/>
                    <a:pt x="8296" y="40468"/>
                    <a:pt x="11313" y="43484"/>
                  </a:cubicBezTo>
                  <a:cubicBezTo>
                    <a:pt x="11313" y="43484"/>
                    <a:pt x="44497" y="70635"/>
                    <a:pt x="80698" y="67618"/>
                  </a:cubicBezTo>
                  <a:cubicBezTo>
                    <a:pt x="119916" y="61585"/>
                    <a:pt x="210419" y="1250"/>
                    <a:pt x="210419" y="1250"/>
                  </a:cubicBezTo>
                  <a:cubicBezTo>
                    <a:pt x="213436" y="-1767"/>
                    <a:pt x="216453" y="1250"/>
                    <a:pt x="219469" y="4267"/>
                  </a:cubicBezTo>
                  <a:cubicBezTo>
                    <a:pt x="222486" y="7283"/>
                    <a:pt x="219469" y="10300"/>
                    <a:pt x="216453" y="13317"/>
                  </a:cubicBezTo>
                  <a:cubicBezTo>
                    <a:pt x="213436" y="16333"/>
                    <a:pt x="122933" y="76669"/>
                    <a:pt x="80698" y="79686"/>
                  </a:cubicBezTo>
                  <a:cubicBezTo>
                    <a:pt x="77682" y="79686"/>
                    <a:pt x="74665" y="79686"/>
                    <a:pt x="71648" y="79686"/>
                  </a:cubicBezTo>
                  <a:close/>
                </a:path>
              </a:pathLst>
            </a:custGeom>
            <a:solidFill>
              <a:srgbClr val="E58777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1F0D14F-A932-40E1-AA9E-5DCAF6599338}"/>
                </a:ext>
              </a:extLst>
            </p:cNvPr>
            <p:cNvSpPr/>
            <p:nvPr/>
          </p:nvSpPr>
          <p:spPr>
            <a:xfrm>
              <a:off x="3539692" y="8810393"/>
              <a:ext cx="100371" cy="552067"/>
            </a:xfrm>
            <a:custGeom>
              <a:avLst/>
              <a:gdLst>
                <a:gd name="connsiteX0" fmla="*/ 55120 w 100371"/>
                <a:gd name="connsiteY0" fmla="*/ 552067 h 552067"/>
                <a:gd name="connsiteX1" fmla="*/ 49086 w 100371"/>
                <a:gd name="connsiteY1" fmla="*/ 549051 h 552067"/>
                <a:gd name="connsiteX2" fmla="*/ 34003 w 100371"/>
                <a:gd name="connsiteY2" fmla="*/ 494749 h 552067"/>
                <a:gd name="connsiteX3" fmla="*/ 818 w 100371"/>
                <a:gd name="connsiteY3" fmla="*/ 343911 h 552067"/>
                <a:gd name="connsiteX4" fmla="*/ 88304 w 100371"/>
                <a:gd name="connsiteY4" fmla="*/ 3017 h 552067"/>
                <a:gd name="connsiteX5" fmla="*/ 97355 w 100371"/>
                <a:gd name="connsiteY5" fmla="*/ 0 h 552067"/>
                <a:gd name="connsiteX6" fmla="*/ 100371 w 100371"/>
                <a:gd name="connsiteY6" fmla="*/ 9050 h 552067"/>
                <a:gd name="connsiteX7" fmla="*/ 12885 w 100371"/>
                <a:gd name="connsiteY7" fmla="*/ 343911 h 552067"/>
                <a:gd name="connsiteX8" fmla="*/ 46070 w 100371"/>
                <a:gd name="connsiteY8" fmla="*/ 491732 h 552067"/>
                <a:gd name="connsiteX9" fmla="*/ 61153 w 100371"/>
                <a:gd name="connsiteY9" fmla="*/ 546034 h 552067"/>
                <a:gd name="connsiteX10" fmla="*/ 55120 w 100371"/>
                <a:gd name="connsiteY10" fmla="*/ 552067 h 552067"/>
                <a:gd name="connsiteX11" fmla="*/ 55120 w 100371"/>
                <a:gd name="connsiteY11" fmla="*/ 552067 h 55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371" h="552067">
                  <a:moveTo>
                    <a:pt x="55120" y="552067"/>
                  </a:moveTo>
                  <a:cubicBezTo>
                    <a:pt x="52103" y="552067"/>
                    <a:pt x="49086" y="549051"/>
                    <a:pt x="49086" y="549051"/>
                  </a:cubicBezTo>
                  <a:cubicBezTo>
                    <a:pt x="43053" y="530950"/>
                    <a:pt x="40036" y="512849"/>
                    <a:pt x="34003" y="494749"/>
                  </a:cubicBezTo>
                  <a:cubicBezTo>
                    <a:pt x="18919" y="443464"/>
                    <a:pt x="3835" y="392179"/>
                    <a:pt x="818" y="343911"/>
                  </a:cubicBezTo>
                  <a:cubicBezTo>
                    <a:pt x="-5215" y="220224"/>
                    <a:pt x="21936" y="105587"/>
                    <a:pt x="88304" y="3017"/>
                  </a:cubicBezTo>
                  <a:cubicBezTo>
                    <a:pt x="91321" y="0"/>
                    <a:pt x="94338" y="0"/>
                    <a:pt x="97355" y="0"/>
                  </a:cubicBezTo>
                  <a:cubicBezTo>
                    <a:pt x="100371" y="3017"/>
                    <a:pt x="100371" y="6034"/>
                    <a:pt x="100371" y="9050"/>
                  </a:cubicBezTo>
                  <a:cubicBezTo>
                    <a:pt x="37019" y="111620"/>
                    <a:pt x="6852" y="223241"/>
                    <a:pt x="12885" y="343911"/>
                  </a:cubicBezTo>
                  <a:cubicBezTo>
                    <a:pt x="15902" y="389162"/>
                    <a:pt x="30986" y="440447"/>
                    <a:pt x="46070" y="491732"/>
                  </a:cubicBezTo>
                  <a:cubicBezTo>
                    <a:pt x="52103" y="509833"/>
                    <a:pt x="58137" y="527933"/>
                    <a:pt x="61153" y="546034"/>
                  </a:cubicBezTo>
                  <a:cubicBezTo>
                    <a:pt x="61153" y="546034"/>
                    <a:pt x="58137" y="549051"/>
                    <a:pt x="55120" y="552067"/>
                  </a:cubicBezTo>
                  <a:cubicBezTo>
                    <a:pt x="55120" y="552067"/>
                    <a:pt x="55120" y="552067"/>
                    <a:pt x="55120" y="552067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A57B7660-990D-470B-93EA-39C52B630385}"/>
                </a:ext>
              </a:extLst>
            </p:cNvPr>
            <p:cNvSpPr/>
            <p:nvPr/>
          </p:nvSpPr>
          <p:spPr>
            <a:xfrm>
              <a:off x="3661181" y="9248015"/>
              <a:ext cx="396445" cy="36009"/>
            </a:xfrm>
            <a:custGeom>
              <a:avLst/>
              <a:gdLst>
                <a:gd name="connsiteX0" fmla="*/ 6033 w 396445"/>
                <a:gd name="connsiteY0" fmla="*/ 36009 h 36009"/>
                <a:gd name="connsiteX1" fmla="*/ 0 w 396445"/>
                <a:gd name="connsiteY1" fmla="*/ 32992 h 36009"/>
                <a:gd name="connsiteX2" fmla="*/ 3017 w 396445"/>
                <a:gd name="connsiteY2" fmla="*/ 26959 h 36009"/>
                <a:gd name="connsiteX3" fmla="*/ 392179 w 396445"/>
                <a:gd name="connsiteY3" fmla="*/ 14892 h 36009"/>
                <a:gd name="connsiteX4" fmla="*/ 395196 w 396445"/>
                <a:gd name="connsiteY4" fmla="*/ 20925 h 36009"/>
                <a:gd name="connsiteX5" fmla="*/ 389162 w 396445"/>
                <a:gd name="connsiteY5" fmla="*/ 23942 h 36009"/>
                <a:gd name="connsiteX6" fmla="*/ 6033 w 396445"/>
                <a:gd name="connsiteY6" fmla="*/ 36009 h 36009"/>
                <a:gd name="connsiteX7" fmla="*/ 6033 w 396445"/>
                <a:gd name="connsiteY7" fmla="*/ 36009 h 36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6445" h="36009">
                  <a:moveTo>
                    <a:pt x="6033" y="36009"/>
                  </a:moveTo>
                  <a:cubicBezTo>
                    <a:pt x="3017" y="36009"/>
                    <a:pt x="3017" y="36009"/>
                    <a:pt x="0" y="32992"/>
                  </a:cubicBezTo>
                  <a:cubicBezTo>
                    <a:pt x="0" y="29975"/>
                    <a:pt x="0" y="26959"/>
                    <a:pt x="3017" y="26959"/>
                  </a:cubicBezTo>
                  <a:cubicBezTo>
                    <a:pt x="87486" y="-3209"/>
                    <a:pt x="292626" y="-9242"/>
                    <a:pt x="392179" y="14892"/>
                  </a:cubicBezTo>
                  <a:cubicBezTo>
                    <a:pt x="395196" y="14892"/>
                    <a:pt x="398212" y="17908"/>
                    <a:pt x="395196" y="20925"/>
                  </a:cubicBezTo>
                  <a:cubicBezTo>
                    <a:pt x="395196" y="23942"/>
                    <a:pt x="392179" y="26959"/>
                    <a:pt x="389162" y="23942"/>
                  </a:cubicBezTo>
                  <a:cubicBezTo>
                    <a:pt x="292626" y="-192"/>
                    <a:pt x="87486" y="5842"/>
                    <a:pt x="6033" y="36009"/>
                  </a:cubicBezTo>
                  <a:cubicBezTo>
                    <a:pt x="6033" y="36009"/>
                    <a:pt x="6033" y="36009"/>
                    <a:pt x="6033" y="36009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0A806F4C-D2A2-4293-8F4F-87782F309456}"/>
                </a:ext>
              </a:extLst>
            </p:cNvPr>
            <p:cNvSpPr/>
            <p:nvPr/>
          </p:nvSpPr>
          <p:spPr>
            <a:xfrm>
              <a:off x="3793918" y="8719890"/>
              <a:ext cx="355977" cy="63352"/>
            </a:xfrm>
            <a:custGeom>
              <a:avLst/>
              <a:gdLst>
                <a:gd name="connsiteX0" fmla="*/ 36201 w 355977"/>
                <a:gd name="connsiteY0" fmla="*/ 9050 h 63352"/>
                <a:gd name="connsiteX1" fmla="*/ 331844 w 355977"/>
                <a:gd name="connsiteY1" fmla="*/ 0 h 63352"/>
                <a:gd name="connsiteX2" fmla="*/ 355978 w 355977"/>
                <a:gd name="connsiteY2" fmla="*/ 9050 h 63352"/>
                <a:gd name="connsiteX3" fmla="*/ 168939 w 355977"/>
                <a:gd name="connsiteY3" fmla="*/ 63352 h 63352"/>
                <a:gd name="connsiteX4" fmla="*/ 0 w 355977"/>
                <a:gd name="connsiteY4" fmla="*/ 15084 h 63352"/>
                <a:gd name="connsiteX5" fmla="*/ 36201 w 355977"/>
                <a:gd name="connsiteY5" fmla="*/ 9050 h 63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5977" h="63352">
                  <a:moveTo>
                    <a:pt x="36201" y="9050"/>
                  </a:moveTo>
                  <a:cubicBezTo>
                    <a:pt x="36201" y="9050"/>
                    <a:pt x="147821" y="66369"/>
                    <a:pt x="331844" y="0"/>
                  </a:cubicBezTo>
                  <a:lnTo>
                    <a:pt x="355978" y="9050"/>
                  </a:lnTo>
                  <a:cubicBezTo>
                    <a:pt x="355978" y="9050"/>
                    <a:pt x="277542" y="63352"/>
                    <a:pt x="168939" y="63352"/>
                  </a:cubicBezTo>
                  <a:cubicBezTo>
                    <a:pt x="66369" y="63352"/>
                    <a:pt x="0" y="15084"/>
                    <a:pt x="0" y="15084"/>
                  </a:cubicBezTo>
                  <a:cubicBezTo>
                    <a:pt x="0" y="15084"/>
                    <a:pt x="15084" y="9050"/>
                    <a:pt x="36201" y="9050"/>
                  </a:cubicBez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A26BF45E-22D5-463A-BE07-D6B51CD2EE7E}"/>
                </a:ext>
              </a:extLst>
            </p:cNvPr>
            <p:cNvSpPr/>
            <p:nvPr/>
          </p:nvSpPr>
          <p:spPr>
            <a:xfrm>
              <a:off x="4143863" y="8335293"/>
              <a:ext cx="76767" cy="112851"/>
            </a:xfrm>
            <a:custGeom>
              <a:avLst/>
              <a:gdLst>
                <a:gd name="connsiteX0" fmla="*/ 12067 w 76767"/>
                <a:gd name="connsiteY0" fmla="*/ 16553 h 112851"/>
                <a:gd name="connsiteX1" fmla="*/ 69385 w 76767"/>
                <a:gd name="connsiteY1" fmla="*/ 7503 h 112851"/>
                <a:gd name="connsiteX2" fmla="*/ 12067 w 76767"/>
                <a:gd name="connsiteY2" fmla="*/ 110073 h 112851"/>
                <a:gd name="connsiteX3" fmla="*/ 12067 w 76767"/>
                <a:gd name="connsiteY3" fmla="*/ 16553 h 112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767" h="112851">
                  <a:moveTo>
                    <a:pt x="12067" y="16553"/>
                  </a:moveTo>
                  <a:cubicBezTo>
                    <a:pt x="12067" y="16553"/>
                    <a:pt x="45251" y="-13615"/>
                    <a:pt x="69385" y="7503"/>
                  </a:cubicBezTo>
                  <a:cubicBezTo>
                    <a:pt x="93519" y="25603"/>
                    <a:pt x="54302" y="131190"/>
                    <a:pt x="12067" y="110073"/>
                  </a:cubicBezTo>
                  <a:cubicBezTo>
                    <a:pt x="-15084" y="88955"/>
                    <a:pt x="12067" y="16553"/>
                    <a:pt x="12067" y="16553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8041419-3ACD-4E6C-968D-152C00DD0CA8}"/>
                </a:ext>
              </a:extLst>
            </p:cNvPr>
            <p:cNvSpPr/>
            <p:nvPr/>
          </p:nvSpPr>
          <p:spPr>
            <a:xfrm>
              <a:off x="3742634" y="8170840"/>
              <a:ext cx="250391" cy="156871"/>
            </a:xfrm>
            <a:custGeom>
              <a:avLst/>
              <a:gdLst>
                <a:gd name="connsiteX0" fmla="*/ 6034 w 250391"/>
                <a:gd name="connsiteY0" fmla="*/ 156871 h 156871"/>
                <a:gd name="connsiteX1" fmla="*/ 6034 w 250391"/>
                <a:gd name="connsiteY1" fmla="*/ 156871 h 156871"/>
                <a:gd name="connsiteX2" fmla="*/ 0 w 250391"/>
                <a:gd name="connsiteY2" fmla="*/ 150838 h 156871"/>
                <a:gd name="connsiteX3" fmla="*/ 108603 w 250391"/>
                <a:gd name="connsiteY3" fmla="*/ 45251 h 156871"/>
                <a:gd name="connsiteX4" fmla="*/ 241341 w 250391"/>
                <a:gd name="connsiteY4" fmla="*/ 0 h 156871"/>
                <a:gd name="connsiteX5" fmla="*/ 250391 w 250391"/>
                <a:gd name="connsiteY5" fmla="*/ 3017 h 156871"/>
                <a:gd name="connsiteX6" fmla="*/ 247374 w 250391"/>
                <a:gd name="connsiteY6" fmla="*/ 12067 h 156871"/>
                <a:gd name="connsiteX7" fmla="*/ 114637 w 250391"/>
                <a:gd name="connsiteY7" fmla="*/ 57319 h 156871"/>
                <a:gd name="connsiteX8" fmla="*/ 15084 w 250391"/>
                <a:gd name="connsiteY8" fmla="*/ 153855 h 156871"/>
                <a:gd name="connsiteX9" fmla="*/ 6034 w 250391"/>
                <a:gd name="connsiteY9" fmla="*/ 156871 h 156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0391" h="156871">
                  <a:moveTo>
                    <a:pt x="6034" y="156871"/>
                  </a:moveTo>
                  <a:cubicBezTo>
                    <a:pt x="6034" y="156871"/>
                    <a:pt x="3017" y="156871"/>
                    <a:pt x="6034" y="156871"/>
                  </a:cubicBezTo>
                  <a:cubicBezTo>
                    <a:pt x="3017" y="156871"/>
                    <a:pt x="0" y="153855"/>
                    <a:pt x="0" y="150838"/>
                  </a:cubicBezTo>
                  <a:cubicBezTo>
                    <a:pt x="12067" y="81452"/>
                    <a:pt x="60335" y="60335"/>
                    <a:pt x="108603" y="45251"/>
                  </a:cubicBezTo>
                  <a:cubicBezTo>
                    <a:pt x="174972" y="27151"/>
                    <a:pt x="238324" y="0"/>
                    <a:pt x="241341" y="0"/>
                  </a:cubicBezTo>
                  <a:cubicBezTo>
                    <a:pt x="244358" y="0"/>
                    <a:pt x="247374" y="0"/>
                    <a:pt x="250391" y="3017"/>
                  </a:cubicBezTo>
                  <a:cubicBezTo>
                    <a:pt x="250391" y="6033"/>
                    <a:pt x="250391" y="9050"/>
                    <a:pt x="247374" y="12067"/>
                  </a:cubicBezTo>
                  <a:cubicBezTo>
                    <a:pt x="247374" y="12067"/>
                    <a:pt x="181006" y="36201"/>
                    <a:pt x="114637" y="57319"/>
                  </a:cubicBezTo>
                  <a:cubicBezTo>
                    <a:pt x="60335" y="72403"/>
                    <a:pt x="24134" y="96536"/>
                    <a:pt x="15084" y="153855"/>
                  </a:cubicBezTo>
                  <a:cubicBezTo>
                    <a:pt x="9050" y="153855"/>
                    <a:pt x="9050" y="156871"/>
                    <a:pt x="6034" y="156871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6DCF13BF-7556-45B6-863B-7ABAD839C21B}"/>
                </a:ext>
              </a:extLst>
            </p:cNvPr>
            <p:cNvSpPr/>
            <p:nvPr/>
          </p:nvSpPr>
          <p:spPr>
            <a:xfrm>
              <a:off x="4017159" y="7796762"/>
              <a:ext cx="525949" cy="1028759"/>
            </a:xfrm>
            <a:custGeom>
              <a:avLst/>
              <a:gdLst>
                <a:gd name="connsiteX0" fmla="*/ 419330 w 525949"/>
                <a:gd name="connsiteY0" fmla="*/ 962346 h 1028759"/>
                <a:gd name="connsiteX1" fmla="*/ 208156 w 525949"/>
                <a:gd name="connsiteY1" fmla="*/ 838659 h 1028759"/>
                <a:gd name="connsiteX2" fmla="*/ 307710 w 525949"/>
                <a:gd name="connsiteY2" fmla="*/ 404246 h 1028759"/>
                <a:gd name="connsiteX3" fmla="*/ 0 w 525949"/>
                <a:gd name="connsiteY3" fmla="*/ 102570 h 1028759"/>
                <a:gd name="connsiteX4" fmla="*/ 36201 w 525949"/>
                <a:gd name="connsiteY4" fmla="*/ 0 h 1028759"/>
                <a:gd name="connsiteX5" fmla="*/ 509832 w 525949"/>
                <a:gd name="connsiteY5" fmla="*/ 355978 h 1028759"/>
                <a:gd name="connsiteX6" fmla="*/ 419330 w 525949"/>
                <a:gd name="connsiteY6" fmla="*/ 962346 h 1028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5949" h="1028759">
                  <a:moveTo>
                    <a:pt x="419330" y="962346"/>
                  </a:moveTo>
                  <a:cubicBezTo>
                    <a:pt x="328827" y="1119218"/>
                    <a:pt x="177989" y="965363"/>
                    <a:pt x="208156" y="838659"/>
                  </a:cubicBezTo>
                  <a:cubicBezTo>
                    <a:pt x="235307" y="714972"/>
                    <a:pt x="283575" y="479665"/>
                    <a:pt x="307710" y="404246"/>
                  </a:cubicBezTo>
                  <a:cubicBezTo>
                    <a:pt x="280559" y="316760"/>
                    <a:pt x="0" y="102570"/>
                    <a:pt x="0" y="102570"/>
                  </a:cubicBezTo>
                  <a:cubicBezTo>
                    <a:pt x="21117" y="78435"/>
                    <a:pt x="36201" y="0"/>
                    <a:pt x="36201" y="0"/>
                  </a:cubicBezTo>
                  <a:cubicBezTo>
                    <a:pt x="36201" y="0"/>
                    <a:pt x="440447" y="247374"/>
                    <a:pt x="509832" y="355978"/>
                  </a:cubicBezTo>
                  <a:cubicBezTo>
                    <a:pt x="549050" y="407263"/>
                    <a:pt x="515866" y="796424"/>
                    <a:pt x="419330" y="962346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C5D649E5-E361-40E6-8503-5BF4E872DDA3}"/>
                </a:ext>
              </a:extLst>
            </p:cNvPr>
            <p:cNvSpPr/>
            <p:nvPr/>
          </p:nvSpPr>
          <p:spPr>
            <a:xfrm>
              <a:off x="4164787" y="8497441"/>
              <a:ext cx="377287" cy="430661"/>
            </a:xfrm>
            <a:custGeom>
              <a:avLst/>
              <a:gdLst>
                <a:gd name="connsiteX0" fmla="*/ 377288 w 377287"/>
                <a:gd name="connsiteY0" fmla="*/ 137980 h 430661"/>
                <a:gd name="connsiteX1" fmla="*/ 102763 w 377287"/>
                <a:gd name="connsiteY1" fmla="*/ 430606 h 430661"/>
                <a:gd name="connsiteX2" fmla="*/ 42428 w 377287"/>
                <a:gd name="connsiteY2" fmla="*/ 2226 h 430661"/>
                <a:gd name="connsiteX3" fmla="*/ 377288 w 377287"/>
                <a:gd name="connsiteY3" fmla="*/ 137980 h 430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7287" h="430661">
                  <a:moveTo>
                    <a:pt x="377288" y="137980"/>
                  </a:moveTo>
                  <a:cubicBezTo>
                    <a:pt x="326003" y="312952"/>
                    <a:pt x="181199" y="433622"/>
                    <a:pt x="102763" y="430606"/>
                  </a:cubicBezTo>
                  <a:cubicBezTo>
                    <a:pt x="193" y="424572"/>
                    <a:pt x="-36008" y="189265"/>
                    <a:pt x="42428" y="2226"/>
                  </a:cubicBezTo>
                  <a:cubicBezTo>
                    <a:pt x="114830" y="-15875"/>
                    <a:pt x="295835" y="80661"/>
                    <a:pt x="377288" y="137980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F75EBB13-6FF8-46B7-9227-97C60DFC477B}"/>
                </a:ext>
              </a:extLst>
            </p:cNvPr>
            <p:cNvSpPr/>
            <p:nvPr/>
          </p:nvSpPr>
          <p:spPr>
            <a:xfrm>
              <a:off x="4163773" y="8493250"/>
              <a:ext cx="182212" cy="431779"/>
            </a:xfrm>
            <a:custGeom>
              <a:avLst/>
              <a:gdLst>
                <a:gd name="connsiteX0" fmla="*/ 73609 w 182212"/>
                <a:gd name="connsiteY0" fmla="*/ 431780 h 431779"/>
                <a:gd name="connsiteX1" fmla="*/ 73609 w 182212"/>
                <a:gd name="connsiteY1" fmla="*/ 431780 h 431779"/>
                <a:gd name="connsiteX2" fmla="*/ 25341 w 182212"/>
                <a:gd name="connsiteY2" fmla="*/ 383512 h 431779"/>
                <a:gd name="connsiteX3" fmla="*/ 37408 w 182212"/>
                <a:gd name="connsiteY3" fmla="*/ 3400 h 431779"/>
                <a:gd name="connsiteX4" fmla="*/ 37408 w 182212"/>
                <a:gd name="connsiteY4" fmla="*/ 3400 h 431779"/>
                <a:gd name="connsiteX5" fmla="*/ 37408 w 182212"/>
                <a:gd name="connsiteY5" fmla="*/ 3400 h 431779"/>
                <a:gd name="connsiteX6" fmla="*/ 179196 w 182212"/>
                <a:gd name="connsiteY6" fmla="*/ 39601 h 431779"/>
                <a:gd name="connsiteX7" fmla="*/ 182213 w 182212"/>
                <a:gd name="connsiteY7" fmla="*/ 45634 h 431779"/>
                <a:gd name="connsiteX8" fmla="*/ 176179 w 182212"/>
                <a:gd name="connsiteY8" fmla="*/ 48651 h 431779"/>
                <a:gd name="connsiteX9" fmla="*/ 46459 w 182212"/>
                <a:gd name="connsiteY9" fmla="*/ 12450 h 431779"/>
                <a:gd name="connsiteX10" fmla="*/ 34392 w 182212"/>
                <a:gd name="connsiteY10" fmla="*/ 380495 h 431779"/>
                <a:gd name="connsiteX11" fmla="*/ 73609 w 182212"/>
                <a:gd name="connsiteY11" fmla="*/ 422729 h 431779"/>
                <a:gd name="connsiteX12" fmla="*/ 76626 w 182212"/>
                <a:gd name="connsiteY12" fmla="*/ 428763 h 431779"/>
                <a:gd name="connsiteX13" fmla="*/ 73609 w 182212"/>
                <a:gd name="connsiteY13" fmla="*/ 431780 h 431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2212" h="431779">
                  <a:moveTo>
                    <a:pt x="73609" y="431780"/>
                  </a:moveTo>
                  <a:cubicBezTo>
                    <a:pt x="73609" y="431780"/>
                    <a:pt x="73609" y="431780"/>
                    <a:pt x="73609" y="431780"/>
                  </a:cubicBezTo>
                  <a:cubicBezTo>
                    <a:pt x="52492" y="425746"/>
                    <a:pt x="37408" y="407646"/>
                    <a:pt x="25341" y="383512"/>
                  </a:cubicBezTo>
                  <a:cubicBezTo>
                    <a:pt x="-16893" y="293009"/>
                    <a:pt x="-1810" y="96920"/>
                    <a:pt x="37408" y="3400"/>
                  </a:cubicBezTo>
                  <a:lnTo>
                    <a:pt x="37408" y="3400"/>
                  </a:lnTo>
                  <a:lnTo>
                    <a:pt x="37408" y="3400"/>
                  </a:lnTo>
                  <a:cubicBezTo>
                    <a:pt x="40425" y="383"/>
                    <a:pt x="67576" y="-11684"/>
                    <a:pt x="179196" y="39601"/>
                  </a:cubicBezTo>
                  <a:cubicBezTo>
                    <a:pt x="182213" y="39601"/>
                    <a:pt x="182213" y="45634"/>
                    <a:pt x="182213" y="45634"/>
                  </a:cubicBezTo>
                  <a:cubicBezTo>
                    <a:pt x="182213" y="48651"/>
                    <a:pt x="176179" y="48651"/>
                    <a:pt x="176179" y="48651"/>
                  </a:cubicBezTo>
                  <a:cubicBezTo>
                    <a:pt x="82660" y="6417"/>
                    <a:pt x="52492" y="9433"/>
                    <a:pt x="46459" y="12450"/>
                  </a:cubicBezTo>
                  <a:cubicBezTo>
                    <a:pt x="7241" y="105970"/>
                    <a:pt x="-4826" y="293009"/>
                    <a:pt x="34392" y="380495"/>
                  </a:cubicBezTo>
                  <a:cubicBezTo>
                    <a:pt x="46459" y="404629"/>
                    <a:pt x="58526" y="419713"/>
                    <a:pt x="73609" y="422729"/>
                  </a:cubicBezTo>
                  <a:cubicBezTo>
                    <a:pt x="76626" y="422729"/>
                    <a:pt x="79643" y="425746"/>
                    <a:pt x="76626" y="428763"/>
                  </a:cubicBezTo>
                  <a:cubicBezTo>
                    <a:pt x="79643" y="428763"/>
                    <a:pt x="76626" y="431780"/>
                    <a:pt x="73609" y="431780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C116C8AD-742D-4A2A-8D54-64A03C187A57}"/>
                </a:ext>
              </a:extLst>
            </p:cNvPr>
            <p:cNvSpPr/>
            <p:nvPr/>
          </p:nvSpPr>
          <p:spPr>
            <a:xfrm>
              <a:off x="3908555" y="7542968"/>
              <a:ext cx="109020" cy="350329"/>
            </a:xfrm>
            <a:custGeom>
              <a:avLst/>
              <a:gdLst>
                <a:gd name="connsiteX0" fmla="*/ 99553 w 109020"/>
                <a:gd name="connsiteY0" fmla="*/ 63738 h 350329"/>
                <a:gd name="connsiteX1" fmla="*/ 81453 w 109020"/>
                <a:gd name="connsiteY1" fmla="*/ 45637 h 350329"/>
                <a:gd name="connsiteX2" fmla="*/ 63352 w 109020"/>
                <a:gd name="connsiteY2" fmla="*/ 6420 h 350329"/>
                <a:gd name="connsiteX3" fmla="*/ 27151 w 109020"/>
                <a:gd name="connsiteY3" fmla="*/ 15469 h 350329"/>
                <a:gd name="connsiteX4" fmla="*/ 21117 w 109020"/>
                <a:gd name="connsiteY4" fmla="*/ 57704 h 350329"/>
                <a:gd name="connsiteX5" fmla="*/ 0 w 109020"/>
                <a:gd name="connsiteY5" fmla="*/ 81839 h 350329"/>
                <a:gd name="connsiteX6" fmla="*/ 3017 w 109020"/>
                <a:gd name="connsiteY6" fmla="*/ 311112 h 350329"/>
                <a:gd name="connsiteX7" fmla="*/ 42235 w 109020"/>
                <a:gd name="connsiteY7" fmla="*/ 350330 h 350329"/>
                <a:gd name="connsiteX8" fmla="*/ 102570 w 109020"/>
                <a:gd name="connsiteY8" fmla="*/ 277928 h 350329"/>
                <a:gd name="connsiteX9" fmla="*/ 99553 w 109020"/>
                <a:gd name="connsiteY9" fmla="*/ 63738 h 350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020" h="350329">
                  <a:moveTo>
                    <a:pt x="99553" y="63738"/>
                  </a:moveTo>
                  <a:cubicBezTo>
                    <a:pt x="96536" y="54687"/>
                    <a:pt x="87486" y="48654"/>
                    <a:pt x="81453" y="45637"/>
                  </a:cubicBezTo>
                  <a:cubicBezTo>
                    <a:pt x="78436" y="30553"/>
                    <a:pt x="72402" y="18486"/>
                    <a:pt x="63352" y="6420"/>
                  </a:cubicBezTo>
                  <a:cubicBezTo>
                    <a:pt x="54302" y="-5648"/>
                    <a:pt x="33184" y="386"/>
                    <a:pt x="27151" y="15469"/>
                  </a:cubicBezTo>
                  <a:cubicBezTo>
                    <a:pt x="24134" y="30553"/>
                    <a:pt x="24134" y="42621"/>
                    <a:pt x="21117" y="57704"/>
                  </a:cubicBezTo>
                  <a:cubicBezTo>
                    <a:pt x="9050" y="57704"/>
                    <a:pt x="0" y="66755"/>
                    <a:pt x="0" y="81839"/>
                  </a:cubicBezTo>
                  <a:cubicBezTo>
                    <a:pt x="0" y="148207"/>
                    <a:pt x="3017" y="244743"/>
                    <a:pt x="3017" y="311112"/>
                  </a:cubicBezTo>
                  <a:cubicBezTo>
                    <a:pt x="3017" y="326196"/>
                    <a:pt x="33184" y="350330"/>
                    <a:pt x="42235" y="350330"/>
                  </a:cubicBezTo>
                  <a:cubicBezTo>
                    <a:pt x="81453" y="350330"/>
                    <a:pt x="99553" y="317145"/>
                    <a:pt x="102570" y="277928"/>
                  </a:cubicBezTo>
                  <a:cubicBezTo>
                    <a:pt x="108603" y="226643"/>
                    <a:pt x="114637" y="118040"/>
                    <a:pt x="99553" y="63738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706BC713-2DC3-43E9-9C59-BC1EA60877B1}"/>
                </a:ext>
              </a:extLst>
            </p:cNvPr>
            <p:cNvSpPr/>
            <p:nvPr/>
          </p:nvSpPr>
          <p:spPr>
            <a:xfrm>
              <a:off x="3965736" y="7542968"/>
              <a:ext cx="105723" cy="350329"/>
            </a:xfrm>
            <a:custGeom>
              <a:avLst/>
              <a:gdLst>
                <a:gd name="connsiteX0" fmla="*/ 9188 w 105723"/>
                <a:gd name="connsiteY0" fmla="*/ 63738 h 350329"/>
                <a:gd name="connsiteX1" fmla="*/ 27288 w 105723"/>
                <a:gd name="connsiteY1" fmla="*/ 45637 h 350329"/>
                <a:gd name="connsiteX2" fmla="*/ 45389 w 105723"/>
                <a:gd name="connsiteY2" fmla="*/ 6420 h 350329"/>
                <a:gd name="connsiteX3" fmla="*/ 78573 w 105723"/>
                <a:gd name="connsiteY3" fmla="*/ 15469 h 350329"/>
                <a:gd name="connsiteX4" fmla="*/ 84607 w 105723"/>
                <a:gd name="connsiteY4" fmla="*/ 57704 h 350329"/>
                <a:gd name="connsiteX5" fmla="*/ 105724 w 105723"/>
                <a:gd name="connsiteY5" fmla="*/ 81839 h 350329"/>
                <a:gd name="connsiteX6" fmla="*/ 102707 w 105723"/>
                <a:gd name="connsiteY6" fmla="*/ 311112 h 350329"/>
                <a:gd name="connsiteX7" fmla="*/ 66506 w 105723"/>
                <a:gd name="connsiteY7" fmla="*/ 350330 h 350329"/>
                <a:gd name="connsiteX8" fmla="*/ 9188 w 105723"/>
                <a:gd name="connsiteY8" fmla="*/ 277928 h 350329"/>
                <a:gd name="connsiteX9" fmla="*/ 9188 w 105723"/>
                <a:gd name="connsiteY9" fmla="*/ 63738 h 350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5723" h="350329">
                  <a:moveTo>
                    <a:pt x="9188" y="63738"/>
                  </a:moveTo>
                  <a:cubicBezTo>
                    <a:pt x="12204" y="54687"/>
                    <a:pt x="18238" y="48654"/>
                    <a:pt x="27288" y="45637"/>
                  </a:cubicBezTo>
                  <a:cubicBezTo>
                    <a:pt x="30305" y="30553"/>
                    <a:pt x="36338" y="18486"/>
                    <a:pt x="45389" y="6420"/>
                  </a:cubicBezTo>
                  <a:cubicBezTo>
                    <a:pt x="54439" y="-5648"/>
                    <a:pt x="75556" y="386"/>
                    <a:pt x="78573" y="15469"/>
                  </a:cubicBezTo>
                  <a:cubicBezTo>
                    <a:pt x="81590" y="30553"/>
                    <a:pt x="81590" y="42621"/>
                    <a:pt x="84607" y="57704"/>
                  </a:cubicBezTo>
                  <a:cubicBezTo>
                    <a:pt x="93657" y="57704"/>
                    <a:pt x="105724" y="66755"/>
                    <a:pt x="105724" y="81839"/>
                  </a:cubicBezTo>
                  <a:cubicBezTo>
                    <a:pt x="105724" y="148207"/>
                    <a:pt x="102707" y="244743"/>
                    <a:pt x="102707" y="311112"/>
                  </a:cubicBezTo>
                  <a:cubicBezTo>
                    <a:pt x="102707" y="326196"/>
                    <a:pt x="75556" y="350330"/>
                    <a:pt x="66506" y="350330"/>
                  </a:cubicBezTo>
                  <a:cubicBezTo>
                    <a:pt x="27288" y="350330"/>
                    <a:pt x="12204" y="317145"/>
                    <a:pt x="9188" y="277928"/>
                  </a:cubicBezTo>
                  <a:cubicBezTo>
                    <a:pt x="137" y="226643"/>
                    <a:pt x="-5896" y="118040"/>
                    <a:pt x="9188" y="63738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37" name="图形 1">
            <a:extLst>
              <a:ext uri="{FF2B5EF4-FFF2-40B4-BE49-F238E27FC236}">
                <a16:creationId xmlns:a16="http://schemas.microsoft.com/office/drawing/2014/main" id="{7A354E43-853B-495C-A7DA-877F73975F4A}"/>
              </a:ext>
            </a:extLst>
          </p:cNvPr>
          <p:cNvGrpSpPr/>
          <p:nvPr/>
        </p:nvGrpSpPr>
        <p:grpSpPr>
          <a:xfrm>
            <a:off x="5965986" y="2128757"/>
            <a:ext cx="4096759" cy="4729243"/>
            <a:chOff x="5965986" y="7806848"/>
            <a:chExt cx="4096759" cy="4729243"/>
          </a:xfrm>
        </p:grpSpPr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2DA55AC8-44B2-440B-8F42-6ED1F35B710A}"/>
                </a:ext>
              </a:extLst>
            </p:cNvPr>
            <p:cNvSpPr/>
            <p:nvPr/>
          </p:nvSpPr>
          <p:spPr>
            <a:xfrm>
              <a:off x="7064211" y="8139164"/>
              <a:ext cx="390170" cy="1221828"/>
            </a:xfrm>
            <a:custGeom>
              <a:avLst/>
              <a:gdLst>
                <a:gd name="connsiteX0" fmla="*/ 226132 w 390170"/>
                <a:gd name="connsiteY0" fmla="*/ 1205196 h 1221828"/>
                <a:gd name="connsiteX1" fmla="*/ 367920 w 390170"/>
                <a:gd name="connsiteY1" fmla="*/ 1036257 h 1221828"/>
                <a:gd name="connsiteX2" fmla="*/ 211048 w 390170"/>
                <a:gd name="connsiteY2" fmla="*/ 544525 h 1221828"/>
                <a:gd name="connsiteX3" fmla="*/ 147696 w 390170"/>
                <a:gd name="connsiteY3" fmla="*/ 7542 h 1221828"/>
                <a:gd name="connsiteX4" fmla="*/ 8925 w 390170"/>
                <a:gd name="connsiteY4" fmla="*/ 1508 h 1221828"/>
                <a:gd name="connsiteX5" fmla="*/ 2892 w 390170"/>
                <a:gd name="connsiteY5" fmla="*/ 559609 h 1221828"/>
                <a:gd name="connsiteX6" fmla="*/ 226132 w 390170"/>
                <a:gd name="connsiteY6" fmla="*/ 1205196 h 1221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0170" h="1221828">
                  <a:moveTo>
                    <a:pt x="226132" y="1205196"/>
                  </a:moveTo>
                  <a:cubicBezTo>
                    <a:pt x="419205" y="1259497"/>
                    <a:pt x="404121" y="1175028"/>
                    <a:pt x="367920" y="1036257"/>
                  </a:cubicBezTo>
                  <a:cubicBezTo>
                    <a:pt x="328702" y="891453"/>
                    <a:pt x="211048" y="577710"/>
                    <a:pt x="211048" y="544525"/>
                  </a:cubicBezTo>
                  <a:cubicBezTo>
                    <a:pt x="189931" y="438939"/>
                    <a:pt x="147696" y="7542"/>
                    <a:pt x="147696" y="7542"/>
                  </a:cubicBezTo>
                  <a:cubicBezTo>
                    <a:pt x="114512" y="-4525"/>
                    <a:pt x="8925" y="1508"/>
                    <a:pt x="8925" y="1508"/>
                  </a:cubicBezTo>
                  <a:cubicBezTo>
                    <a:pt x="8925" y="1508"/>
                    <a:pt x="-6159" y="408771"/>
                    <a:pt x="2892" y="559609"/>
                  </a:cubicBezTo>
                  <a:cubicBezTo>
                    <a:pt x="5908" y="628995"/>
                    <a:pt x="33059" y="1147877"/>
                    <a:pt x="226132" y="1205196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9" name="图形 1">
              <a:extLst>
                <a:ext uri="{FF2B5EF4-FFF2-40B4-BE49-F238E27FC236}">
                  <a16:creationId xmlns:a16="http://schemas.microsoft.com/office/drawing/2014/main" id="{F15F50D1-A36F-4D70-BC98-F7A13544408E}"/>
                </a:ext>
              </a:extLst>
            </p:cNvPr>
            <p:cNvGrpSpPr/>
            <p:nvPr/>
          </p:nvGrpSpPr>
          <p:grpSpPr>
            <a:xfrm>
              <a:off x="7050523" y="7806848"/>
              <a:ext cx="268322" cy="388950"/>
              <a:chOff x="7050523" y="7806848"/>
              <a:chExt cx="268322" cy="388950"/>
            </a:xfrm>
          </p:grpSpPr>
          <p:grpSp>
            <p:nvGrpSpPr>
              <p:cNvPr id="74" name="图形 1">
                <a:extLst>
                  <a:ext uri="{FF2B5EF4-FFF2-40B4-BE49-F238E27FC236}">
                    <a16:creationId xmlns:a16="http://schemas.microsoft.com/office/drawing/2014/main" id="{140C702B-CFEE-4ADA-AF52-88F798CF9AEF}"/>
                  </a:ext>
                </a:extLst>
              </p:cNvPr>
              <p:cNvGrpSpPr/>
              <p:nvPr/>
            </p:nvGrpSpPr>
            <p:grpSpPr>
              <a:xfrm>
                <a:off x="7060920" y="7806848"/>
                <a:ext cx="257926" cy="388950"/>
                <a:chOff x="7060920" y="7806848"/>
                <a:chExt cx="257926" cy="388950"/>
              </a:xfrm>
            </p:grpSpPr>
            <p:sp>
              <p:nvSpPr>
                <p:cNvPr id="77" name="任意多边形: 形状 76">
                  <a:extLst>
                    <a:ext uri="{FF2B5EF4-FFF2-40B4-BE49-F238E27FC236}">
                      <a16:creationId xmlns:a16="http://schemas.microsoft.com/office/drawing/2014/main" id="{596A9BC4-B963-44E6-A26C-1B3180083DD3}"/>
                    </a:ext>
                  </a:extLst>
                </p:cNvPr>
                <p:cNvSpPr/>
                <p:nvPr/>
              </p:nvSpPr>
              <p:spPr>
                <a:xfrm>
                  <a:off x="7060920" y="7816791"/>
                  <a:ext cx="257926" cy="379007"/>
                </a:xfrm>
                <a:custGeom>
                  <a:avLst/>
                  <a:gdLst>
                    <a:gd name="connsiteX0" fmla="*/ 3166 w 257926"/>
                    <a:gd name="connsiteY0" fmla="*/ 203211 h 379007"/>
                    <a:gd name="connsiteX1" fmla="*/ 24284 w 257926"/>
                    <a:gd name="connsiteY1" fmla="*/ 344999 h 379007"/>
                    <a:gd name="connsiteX2" fmla="*/ 126854 w 257926"/>
                    <a:gd name="connsiteY2" fmla="*/ 375166 h 379007"/>
                    <a:gd name="connsiteX3" fmla="*/ 253558 w 257926"/>
                    <a:gd name="connsiteY3" fmla="*/ 236396 h 379007"/>
                    <a:gd name="connsiteX4" fmla="*/ 220373 w 257926"/>
                    <a:gd name="connsiteY4" fmla="*/ 215278 h 379007"/>
                    <a:gd name="connsiteX5" fmla="*/ 154004 w 257926"/>
                    <a:gd name="connsiteY5" fmla="*/ 263546 h 379007"/>
                    <a:gd name="connsiteX6" fmla="*/ 160038 w 257926"/>
                    <a:gd name="connsiteY6" fmla="*/ 64440 h 379007"/>
                    <a:gd name="connsiteX7" fmla="*/ 135904 w 257926"/>
                    <a:gd name="connsiteY7" fmla="*/ 40306 h 379007"/>
                    <a:gd name="connsiteX8" fmla="*/ 129870 w 257926"/>
                    <a:gd name="connsiteY8" fmla="*/ 88574 h 379007"/>
                    <a:gd name="connsiteX9" fmla="*/ 123837 w 257926"/>
                    <a:gd name="connsiteY9" fmla="*/ 151926 h 379007"/>
                    <a:gd name="connsiteX10" fmla="*/ 108753 w 257926"/>
                    <a:gd name="connsiteY10" fmla="*/ 70474 h 379007"/>
                    <a:gd name="connsiteX11" fmla="*/ 96686 w 257926"/>
                    <a:gd name="connsiteY11" fmla="*/ 13155 h 379007"/>
                    <a:gd name="connsiteX12" fmla="*/ 72552 w 257926"/>
                    <a:gd name="connsiteY12" fmla="*/ 1088 h 379007"/>
                    <a:gd name="connsiteX13" fmla="*/ 54451 w 257926"/>
                    <a:gd name="connsiteY13" fmla="*/ 28239 h 379007"/>
                    <a:gd name="connsiteX14" fmla="*/ 51435 w 257926"/>
                    <a:gd name="connsiteY14" fmla="*/ 25222 h 379007"/>
                    <a:gd name="connsiteX15" fmla="*/ 39367 w 257926"/>
                    <a:gd name="connsiteY15" fmla="*/ 22205 h 379007"/>
                    <a:gd name="connsiteX16" fmla="*/ 33334 w 257926"/>
                    <a:gd name="connsiteY16" fmla="*/ 73490 h 379007"/>
                    <a:gd name="connsiteX17" fmla="*/ 36351 w 257926"/>
                    <a:gd name="connsiteY17" fmla="*/ 103658 h 379007"/>
                    <a:gd name="connsiteX18" fmla="*/ 33334 w 257926"/>
                    <a:gd name="connsiteY18" fmla="*/ 97624 h 379007"/>
                    <a:gd name="connsiteX19" fmla="*/ 15234 w 257926"/>
                    <a:gd name="connsiteY19" fmla="*/ 88574 h 379007"/>
                    <a:gd name="connsiteX20" fmla="*/ 3166 w 257926"/>
                    <a:gd name="connsiteY20" fmla="*/ 203211 h 3790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57926" h="379007">
                      <a:moveTo>
                        <a:pt x="3166" y="203211"/>
                      </a:moveTo>
                      <a:cubicBezTo>
                        <a:pt x="6183" y="248462"/>
                        <a:pt x="-8900" y="308798"/>
                        <a:pt x="24284" y="344999"/>
                      </a:cubicBezTo>
                      <a:cubicBezTo>
                        <a:pt x="45401" y="369133"/>
                        <a:pt x="96686" y="387234"/>
                        <a:pt x="126854" y="375166"/>
                      </a:cubicBezTo>
                      <a:cubicBezTo>
                        <a:pt x="172105" y="360082"/>
                        <a:pt x="190205" y="278630"/>
                        <a:pt x="253558" y="236396"/>
                      </a:cubicBezTo>
                      <a:cubicBezTo>
                        <a:pt x="268641" y="227345"/>
                        <a:pt x="241491" y="203211"/>
                        <a:pt x="220373" y="215278"/>
                      </a:cubicBezTo>
                      <a:cubicBezTo>
                        <a:pt x="193222" y="230362"/>
                        <a:pt x="169088" y="245446"/>
                        <a:pt x="154004" y="263546"/>
                      </a:cubicBezTo>
                      <a:cubicBezTo>
                        <a:pt x="150988" y="197178"/>
                        <a:pt x="175122" y="133825"/>
                        <a:pt x="160038" y="64440"/>
                      </a:cubicBezTo>
                      <a:cubicBezTo>
                        <a:pt x="157021" y="52373"/>
                        <a:pt x="147971" y="25222"/>
                        <a:pt x="135904" y="40306"/>
                      </a:cubicBezTo>
                      <a:cubicBezTo>
                        <a:pt x="126854" y="49357"/>
                        <a:pt x="129870" y="73490"/>
                        <a:pt x="129870" y="88574"/>
                      </a:cubicBezTo>
                      <a:cubicBezTo>
                        <a:pt x="126854" y="109692"/>
                        <a:pt x="123837" y="130809"/>
                        <a:pt x="123837" y="151926"/>
                      </a:cubicBezTo>
                      <a:cubicBezTo>
                        <a:pt x="117803" y="124776"/>
                        <a:pt x="114786" y="97624"/>
                        <a:pt x="108753" y="70474"/>
                      </a:cubicBezTo>
                      <a:cubicBezTo>
                        <a:pt x="105737" y="52373"/>
                        <a:pt x="105737" y="28239"/>
                        <a:pt x="96686" y="13155"/>
                      </a:cubicBezTo>
                      <a:cubicBezTo>
                        <a:pt x="90653" y="1088"/>
                        <a:pt x="81602" y="-1929"/>
                        <a:pt x="72552" y="1088"/>
                      </a:cubicBezTo>
                      <a:cubicBezTo>
                        <a:pt x="63502" y="4105"/>
                        <a:pt x="57468" y="16172"/>
                        <a:pt x="54451" y="28239"/>
                      </a:cubicBezTo>
                      <a:cubicBezTo>
                        <a:pt x="54451" y="28239"/>
                        <a:pt x="54451" y="28239"/>
                        <a:pt x="51435" y="25222"/>
                      </a:cubicBezTo>
                      <a:cubicBezTo>
                        <a:pt x="51435" y="22205"/>
                        <a:pt x="39367" y="19189"/>
                        <a:pt x="39367" y="22205"/>
                      </a:cubicBezTo>
                      <a:cubicBezTo>
                        <a:pt x="27301" y="34273"/>
                        <a:pt x="30318" y="52373"/>
                        <a:pt x="33334" y="73490"/>
                      </a:cubicBezTo>
                      <a:cubicBezTo>
                        <a:pt x="33334" y="82541"/>
                        <a:pt x="36351" y="91591"/>
                        <a:pt x="36351" y="103658"/>
                      </a:cubicBezTo>
                      <a:cubicBezTo>
                        <a:pt x="36351" y="100641"/>
                        <a:pt x="33334" y="97624"/>
                        <a:pt x="33334" y="97624"/>
                      </a:cubicBezTo>
                      <a:cubicBezTo>
                        <a:pt x="27301" y="91591"/>
                        <a:pt x="21267" y="85558"/>
                        <a:pt x="15234" y="88574"/>
                      </a:cubicBezTo>
                      <a:cubicBezTo>
                        <a:pt x="-5884" y="88574"/>
                        <a:pt x="150" y="176060"/>
                        <a:pt x="3166" y="203211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: 形状 77">
                  <a:extLst>
                    <a:ext uri="{FF2B5EF4-FFF2-40B4-BE49-F238E27FC236}">
                      <a16:creationId xmlns:a16="http://schemas.microsoft.com/office/drawing/2014/main" id="{47AAF1CA-3E18-49B0-BBB2-31DB5B63A39B}"/>
                    </a:ext>
                  </a:extLst>
                </p:cNvPr>
                <p:cNvSpPr/>
                <p:nvPr/>
              </p:nvSpPr>
              <p:spPr>
                <a:xfrm>
                  <a:off x="7145538" y="8071287"/>
                  <a:ext cx="48268" cy="51285"/>
                </a:xfrm>
                <a:custGeom>
                  <a:avLst/>
                  <a:gdLst>
                    <a:gd name="connsiteX0" fmla="*/ 6034 w 48268"/>
                    <a:gd name="connsiteY0" fmla="*/ 51285 h 51285"/>
                    <a:gd name="connsiteX1" fmla="*/ 6034 w 48268"/>
                    <a:gd name="connsiteY1" fmla="*/ 51285 h 51285"/>
                    <a:gd name="connsiteX2" fmla="*/ 0 w 48268"/>
                    <a:gd name="connsiteY2" fmla="*/ 45251 h 51285"/>
                    <a:gd name="connsiteX3" fmla="*/ 42235 w 48268"/>
                    <a:gd name="connsiteY3" fmla="*/ 0 h 51285"/>
                    <a:gd name="connsiteX4" fmla="*/ 48268 w 48268"/>
                    <a:gd name="connsiteY4" fmla="*/ 6034 h 51285"/>
                    <a:gd name="connsiteX5" fmla="*/ 42235 w 48268"/>
                    <a:gd name="connsiteY5" fmla="*/ 12067 h 51285"/>
                    <a:gd name="connsiteX6" fmla="*/ 9050 w 48268"/>
                    <a:gd name="connsiteY6" fmla="*/ 45251 h 51285"/>
                    <a:gd name="connsiteX7" fmla="*/ 6034 w 48268"/>
                    <a:gd name="connsiteY7" fmla="*/ 51285 h 51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8268" h="51285">
                      <a:moveTo>
                        <a:pt x="6034" y="51285"/>
                      </a:moveTo>
                      <a:cubicBezTo>
                        <a:pt x="6034" y="51285"/>
                        <a:pt x="6034" y="51285"/>
                        <a:pt x="6034" y="51285"/>
                      </a:cubicBezTo>
                      <a:cubicBezTo>
                        <a:pt x="3017" y="51285"/>
                        <a:pt x="0" y="48268"/>
                        <a:pt x="0" y="45251"/>
                      </a:cubicBezTo>
                      <a:cubicBezTo>
                        <a:pt x="3017" y="15084"/>
                        <a:pt x="30168" y="3017"/>
                        <a:pt x="42235" y="0"/>
                      </a:cubicBezTo>
                      <a:cubicBezTo>
                        <a:pt x="45251" y="0"/>
                        <a:pt x="48268" y="3017"/>
                        <a:pt x="48268" y="6034"/>
                      </a:cubicBezTo>
                      <a:cubicBezTo>
                        <a:pt x="48268" y="9050"/>
                        <a:pt x="45251" y="12067"/>
                        <a:pt x="42235" y="12067"/>
                      </a:cubicBezTo>
                      <a:cubicBezTo>
                        <a:pt x="42235" y="12067"/>
                        <a:pt x="12067" y="15084"/>
                        <a:pt x="9050" y="45251"/>
                      </a:cubicBezTo>
                      <a:cubicBezTo>
                        <a:pt x="12067" y="51285"/>
                        <a:pt x="9050" y="51285"/>
                        <a:pt x="6034" y="51285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9" name="任意多边形: 形状 78">
                  <a:extLst>
                    <a:ext uri="{FF2B5EF4-FFF2-40B4-BE49-F238E27FC236}">
                      <a16:creationId xmlns:a16="http://schemas.microsoft.com/office/drawing/2014/main" id="{7071E341-2EA0-4CEC-AE1B-F2F1CA4164AA}"/>
                    </a:ext>
                  </a:extLst>
                </p:cNvPr>
                <p:cNvSpPr/>
                <p:nvPr/>
              </p:nvSpPr>
              <p:spPr>
                <a:xfrm>
                  <a:off x="7109337" y="7806848"/>
                  <a:ext cx="90502" cy="164886"/>
                </a:xfrm>
                <a:custGeom>
                  <a:avLst/>
                  <a:gdLst>
                    <a:gd name="connsiteX0" fmla="*/ 72403 w 90502"/>
                    <a:gd name="connsiteY0" fmla="*/ 164887 h 164886"/>
                    <a:gd name="connsiteX1" fmla="*/ 66369 w 90502"/>
                    <a:gd name="connsiteY1" fmla="*/ 158853 h 164886"/>
                    <a:gd name="connsiteX2" fmla="*/ 36201 w 90502"/>
                    <a:gd name="connsiteY2" fmla="*/ 14049 h 164886"/>
                    <a:gd name="connsiteX3" fmla="*/ 21117 w 90502"/>
                    <a:gd name="connsiteY3" fmla="*/ 11032 h 164886"/>
                    <a:gd name="connsiteX4" fmla="*/ 12067 w 90502"/>
                    <a:gd name="connsiteY4" fmla="*/ 29132 h 164886"/>
                    <a:gd name="connsiteX5" fmla="*/ 6033 w 90502"/>
                    <a:gd name="connsiteY5" fmla="*/ 35166 h 164886"/>
                    <a:gd name="connsiteX6" fmla="*/ 6033 w 90502"/>
                    <a:gd name="connsiteY6" fmla="*/ 35166 h 164886"/>
                    <a:gd name="connsiteX7" fmla="*/ 0 w 90502"/>
                    <a:gd name="connsiteY7" fmla="*/ 29132 h 164886"/>
                    <a:gd name="connsiteX8" fmla="*/ 15084 w 90502"/>
                    <a:gd name="connsiteY8" fmla="*/ 1981 h 164886"/>
                    <a:gd name="connsiteX9" fmla="*/ 42235 w 90502"/>
                    <a:gd name="connsiteY9" fmla="*/ 4998 h 164886"/>
                    <a:gd name="connsiteX10" fmla="*/ 69386 w 90502"/>
                    <a:gd name="connsiteY10" fmla="*/ 107568 h 164886"/>
                    <a:gd name="connsiteX11" fmla="*/ 78436 w 90502"/>
                    <a:gd name="connsiteY11" fmla="*/ 47233 h 164886"/>
                    <a:gd name="connsiteX12" fmla="*/ 84469 w 90502"/>
                    <a:gd name="connsiteY12" fmla="*/ 41199 h 164886"/>
                    <a:gd name="connsiteX13" fmla="*/ 90503 w 90502"/>
                    <a:gd name="connsiteY13" fmla="*/ 47233 h 164886"/>
                    <a:gd name="connsiteX14" fmla="*/ 75419 w 90502"/>
                    <a:gd name="connsiteY14" fmla="*/ 155836 h 164886"/>
                    <a:gd name="connsiteX15" fmla="*/ 72403 w 90502"/>
                    <a:gd name="connsiteY15" fmla="*/ 164887 h 164886"/>
                    <a:gd name="connsiteX16" fmla="*/ 72403 w 90502"/>
                    <a:gd name="connsiteY16" fmla="*/ 164887 h 164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90502" h="164886">
                      <a:moveTo>
                        <a:pt x="72403" y="164887"/>
                      </a:moveTo>
                      <a:cubicBezTo>
                        <a:pt x="69386" y="164887"/>
                        <a:pt x="66369" y="161870"/>
                        <a:pt x="66369" y="158853"/>
                      </a:cubicBezTo>
                      <a:cubicBezTo>
                        <a:pt x="57319" y="95501"/>
                        <a:pt x="45251" y="23099"/>
                        <a:pt x="36201" y="14049"/>
                      </a:cubicBezTo>
                      <a:cubicBezTo>
                        <a:pt x="33185" y="11032"/>
                        <a:pt x="27151" y="11032"/>
                        <a:pt x="21117" y="11032"/>
                      </a:cubicBezTo>
                      <a:cubicBezTo>
                        <a:pt x="15084" y="14049"/>
                        <a:pt x="12067" y="20082"/>
                        <a:pt x="12067" y="29132"/>
                      </a:cubicBezTo>
                      <a:cubicBezTo>
                        <a:pt x="12067" y="32149"/>
                        <a:pt x="9050" y="35166"/>
                        <a:pt x="6033" y="35166"/>
                      </a:cubicBezTo>
                      <a:cubicBezTo>
                        <a:pt x="6033" y="35166"/>
                        <a:pt x="6033" y="35166"/>
                        <a:pt x="6033" y="35166"/>
                      </a:cubicBezTo>
                      <a:cubicBezTo>
                        <a:pt x="3017" y="35166"/>
                        <a:pt x="0" y="32149"/>
                        <a:pt x="0" y="29132"/>
                      </a:cubicBezTo>
                      <a:cubicBezTo>
                        <a:pt x="0" y="17065"/>
                        <a:pt x="6033" y="4998"/>
                        <a:pt x="15084" y="1981"/>
                      </a:cubicBezTo>
                      <a:cubicBezTo>
                        <a:pt x="24134" y="-1035"/>
                        <a:pt x="33185" y="-1035"/>
                        <a:pt x="42235" y="4998"/>
                      </a:cubicBezTo>
                      <a:cubicBezTo>
                        <a:pt x="54302" y="11032"/>
                        <a:pt x="63352" y="62317"/>
                        <a:pt x="69386" y="107568"/>
                      </a:cubicBezTo>
                      <a:cubicBezTo>
                        <a:pt x="72403" y="77400"/>
                        <a:pt x="78436" y="50250"/>
                        <a:pt x="78436" y="47233"/>
                      </a:cubicBezTo>
                      <a:cubicBezTo>
                        <a:pt x="78436" y="44216"/>
                        <a:pt x="81452" y="41199"/>
                        <a:pt x="84469" y="41199"/>
                      </a:cubicBezTo>
                      <a:cubicBezTo>
                        <a:pt x="87486" y="41199"/>
                        <a:pt x="90503" y="44216"/>
                        <a:pt x="90503" y="47233"/>
                      </a:cubicBezTo>
                      <a:cubicBezTo>
                        <a:pt x="90503" y="47233"/>
                        <a:pt x="78436" y="116618"/>
                        <a:pt x="75419" y="155836"/>
                      </a:cubicBezTo>
                      <a:cubicBezTo>
                        <a:pt x="78436" y="161870"/>
                        <a:pt x="75419" y="164887"/>
                        <a:pt x="72403" y="164887"/>
                      </a:cubicBezTo>
                      <a:cubicBezTo>
                        <a:pt x="72403" y="164887"/>
                        <a:pt x="72403" y="164887"/>
                        <a:pt x="72403" y="164887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77287053-E12B-43F0-A365-994360629016}"/>
                  </a:ext>
                </a:extLst>
              </p:cNvPr>
              <p:cNvSpPr/>
              <p:nvPr/>
            </p:nvSpPr>
            <p:spPr>
              <a:xfrm>
                <a:off x="7050523" y="7888019"/>
                <a:ext cx="61509" cy="128966"/>
              </a:xfrm>
              <a:custGeom>
                <a:avLst/>
                <a:gdLst>
                  <a:gd name="connsiteX0" fmla="*/ 55797 w 61509"/>
                  <a:gd name="connsiteY0" fmla="*/ 128967 h 128966"/>
                  <a:gd name="connsiteX1" fmla="*/ 49764 w 61509"/>
                  <a:gd name="connsiteY1" fmla="*/ 125950 h 128966"/>
                  <a:gd name="connsiteX2" fmla="*/ 43730 w 61509"/>
                  <a:gd name="connsiteY2" fmla="*/ 71648 h 128966"/>
                  <a:gd name="connsiteX3" fmla="*/ 40714 w 61509"/>
                  <a:gd name="connsiteY3" fmla="*/ 32430 h 128966"/>
                  <a:gd name="connsiteX4" fmla="*/ 31663 w 61509"/>
                  <a:gd name="connsiteY4" fmla="*/ 14330 h 128966"/>
                  <a:gd name="connsiteX5" fmla="*/ 22613 w 61509"/>
                  <a:gd name="connsiteY5" fmla="*/ 14330 h 128966"/>
                  <a:gd name="connsiteX6" fmla="*/ 13563 w 61509"/>
                  <a:gd name="connsiteY6" fmla="*/ 113883 h 128966"/>
                  <a:gd name="connsiteX7" fmla="*/ 7529 w 61509"/>
                  <a:gd name="connsiteY7" fmla="*/ 119916 h 128966"/>
                  <a:gd name="connsiteX8" fmla="*/ 1496 w 61509"/>
                  <a:gd name="connsiteY8" fmla="*/ 113883 h 128966"/>
                  <a:gd name="connsiteX9" fmla="*/ 16579 w 61509"/>
                  <a:gd name="connsiteY9" fmla="*/ 2262 h 128966"/>
                  <a:gd name="connsiteX10" fmla="*/ 34680 w 61509"/>
                  <a:gd name="connsiteY10" fmla="*/ 2262 h 128966"/>
                  <a:gd name="connsiteX11" fmla="*/ 49764 w 61509"/>
                  <a:gd name="connsiteY11" fmla="*/ 29413 h 128966"/>
                  <a:gd name="connsiteX12" fmla="*/ 52781 w 61509"/>
                  <a:gd name="connsiteY12" fmla="*/ 71648 h 128966"/>
                  <a:gd name="connsiteX13" fmla="*/ 55797 w 61509"/>
                  <a:gd name="connsiteY13" fmla="*/ 122933 h 128966"/>
                  <a:gd name="connsiteX14" fmla="*/ 55797 w 61509"/>
                  <a:gd name="connsiteY14" fmla="*/ 128967 h 128966"/>
                  <a:gd name="connsiteX15" fmla="*/ 55797 w 61509"/>
                  <a:gd name="connsiteY15" fmla="*/ 128967 h 128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1509" h="128966">
                    <a:moveTo>
                      <a:pt x="55797" y="128967"/>
                    </a:moveTo>
                    <a:cubicBezTo>
                      <a:pt x="52781" y="128967"/>
                      <a:pt x="49764" y="125950"/>
                      <a:pt x="49764" y="125950"/>
                    </a:cubicBezTo>
                    <a:cubicBezTo>
                      <a:pt x="46747" y="116899"/>
                      <a:pt x="46747" y="92765"/>
                      <a:pt x="43730" y="71648"/>
                    </a:cubicBezTo>
                    <a:cubicBezTo>
                      <a:pt x="43730" y="53548"/>
                      <a:pt x="40714" y="38464"/>
                      <a:pt x="40714" y="32430"/>
                    </a:cubicBezTo>
                    <a:cubicBezTo>
                      <a:pt x="37697" y="23380"/>
                      <a:pt x="34680" y="17346"/>
                      <a:pt x="31663" y="14330"/>
                    </a:cubicBezTo>
                    <a:cubicBezTo>
                      <a:pt x="31663" y="14330"/>
                      <a:pt x="28646" y="11313"/>
                      <a:pt x="22613" y="14330"/>
                    </a:cubicBezTo>
                    <a:cubicBezTo>
                      <a:pt x="13563" y="17346"/>
                      <a:pt x="10546" y="65615"/>
                      <a:pt x="13563" y="113883"/>
                    </a:cubicBezTo>
                    <a:cubicBezTo>
                      <a:pt x="13563" y="116899"/>
                      <a:pt x="10546" y="119916"/>
                      <a:pt x="7529" y="119916"/>
                    </a:cubicBezTo>
                    <a:cubicBezTo>
                      <a:pt x="4512" y="119916"/>
                      <a:pt x="1496" y="116899"/>
                      <a:pt x="1496" y="113883"/>
                    </a:cubicBezTo>
                    <a:cubicBezTo>
                      <a:pt x="-1521" y="83715"/>
                      <a:pt x="-1521" y="11313"/>
                      <a:pt x="16579" y="2262"/>
                    </a:cubicBezTo>
                    <a:cubicBezTo>
                      <a:pt x="25630" y="-754"/>
                      <a:pt x="31663" y="-754"/>
                      <a:pt x="34680" y="2262"/>
                    </a:cubicBezTo>
                    <a:cubicBezTo>
                      <a:pt x="40714" y="5279"/>
                      <a:pt x="46747" y="14330"/>
                      <a:pt x="49764" y="29413"/>
                    </a:cubicBezTo>
                    <a:cubicBezTo>
                      <a:pt x="49764" y="38464"/>
                      <a:pt x="52781" y="53548"/>
                      <a:pt x="52781" y="71648"/>
                    </a:cubicBezTo>
                    <a:cubicBezTo>
                      <a:pt x="52781" y="92765"/>
                      <a:pt x="55797" y="113883"/>
                      <a:pt x="55797" y="122933"/>
                    </a:cubicBezTo>
                    <a:cubicBezTo>
                      <a:pt x="64847" y="125950"/>
                      <a:pt x="61831" y="128967"/>
                      <a:pt x="55797" y="128967"/>
                    </a:cubicBezTo>
                    <a:cubicBezTo>
                      <a:pt x="58814" y="128967"/>
                      <a:pt x="58814" y="128967"/>
                      <a:pt x="55797" y="12896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F9F81BD9-B7DA-4F20-B028-7FCD661A8FC0}"/>
                  </a:ext>
                </a:extLst>
              </p:cNvPr>
              <p:cNvSpPr/>
              <p:nvPr/>
            </p:nvSpPr>
            <p:spPr>
              <a:xfrm>
                <a:off x="7085522" y="7819647"/>
                <a:ext cx="64283" cy="179238"/>
              </a:xfrm>
              <a:custGeom>
                <a:avLst/>
                <a:gdLst>
                  <a:gd name="connsiteX0" fmla="*/ 60017 w 64283"/>
                  <a:gd name="connsiteY0" fmla="*/ 179238 h 179238"/>
                  <a:gd name="connsiteX1" fmla="*/ 53983 w 64283"/>
                  <a:gd name="connsiteY1" fmla="*/ 173205 h 179238"/>
                  <a:gd name="connsiteX2" fmla="*/ 44933 w 64283"/>
                  <a:gd name="connsiteY2" fmla="*/ 112870 h 179238"/>
                  <a:gd name="connsiteX3" fmla="*/ 44933 w 64283"/>
                  <a:gd name="connsiteY3" fmla="*/ 100802 h 179238"/>
                  <a:gd name="connsiteX4" fmla="*/ 38899 w 64283"/>
                  <a:gd name="connsiteY4" fmla="*/ 34434 h 179238"/>
                  <a:gd name="connsiteX5" fmla="*/ 23816 w 64283"/>
                  <a:gd name="connsiteY5" fmla="*/ 16333 h 179238"/>
                  <a:gd name="connsiteX6" fmla="*/ 17782 w 64283"/>
                  <a:gd name="connsiteY6" fmla="*/ 16333 h 179238"/>
                  <a:gd name="connsiteX7" fmla="*/ 14765 w 64283"/>
                  <a:gd name="connsiteY7" fmla="*/ 76669 h 179238"/>
                  <a:gd name="connsiteX8" fmla="*/ 8732 w 64283"/>
                  <a:gd name="connsiteY8" fmla="*/ 82702 h 179238"/>
                  <a:gd name="connsiteX9" fmla="*/ 2698 w 64283"/>
                  <a:gd name="connsiteY9" fmla="*/ 76669 h 179238"/>
                  <a:gd name="connsiteX10" fmla="*/ 8732 w 64283"/>
                  <a:gd name="connsiteY10" fmla="*/ 4266 h 179238"/>
                  <a:gd name="connsiteX11" fmla="*/ 23816 w 64283"/>
                  <a:gd name="connsiteY11" fmla="*/ 1250 h 179238"/>
                  <a:gd name="connsiteX12" fmla="*/ 47950 w 64283"/>
                  <a:gd name="connsiteY12" fmla="*/ 25383 h 179238"/>
                  <a:gd name="connsiteX13" fmla="*/ 53983 w 64283"/>
                  <a:gd name="connsiteY13" fmla="*/ 94769 h 179238"/>
                  <a:gd name="connsiteX14" fmla="*/ 53983 w 64283"/>
                  <a:gd name="connsiteY14" fmla="*/ 106836 h 179238"/>
                  <a:gd name="connsiteX15" fmla="*/ 63034 w 64283"/>
                  <a:gd name="connsiteY15" fmla="*/ 167171 h 179238"/>
                  <a:gd name="connsiteX16" fmla="*/ 60017 w 64283"/>
                  <a:gd name="connsiteY16" fmla="*/ 179238 h 179238"/>
                  <a:gd name="connsiteX17" fmla="*/ 60017 w 64283"/>
                  <a:gd name="connsiteY17" fmla="*/ 179238 h 179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4283" h="179238">
                    <a:moveTo>
                      <a:pt x="60017" y="179238"/>
                    </a:moveTo>
                    <a:cubicBezTo>
                      <a:pt x="57000" y="179238"/>
                      <a:pt x="53983" y="176221"/>
                      <a:pt x="53983" y="173205"/>
                    </a:cubicBezTo>
                    <a:cubicBezTo>
                      <a:pt x="53983" y="170188"/>
                      <a:pt x="44933" y="121920"/>
                      <a:pt x="44933" y="112870"/>
                    </a:cubicBezTo>
                    <a:cubicBezTo>
                      <a:pt x="44933" y="109853"/>
                      <a:pt x="44933" y="106836"/>
                      <a:pt x="44933" y="100802"/>
                    </a:cubicBezTo>
                    <a:cubicBezTo>
                      <a:pt x="44933" y="82702"/>
                      <a:pt x="44933" y="43484"/>
                      <a:pt x="38899" y="34434"/>
                    </a:cubicBezTo>
                    <a:cubicBezTo>
                      <a:pt x="35883" y="25383"/>
                      <a:pt x="29849" y="19350"/>
                      <a:pt x="23816" y="16333"/>
                    </a:cubicBezTo>
                    <a:cubicBezTo>
                      <a:pt x="20799" y="16333"/>
                      <a:pt x="20799" y="16333"/>
                      <a:pt x="17782" y="16333"/>
                    </a:cubicBezTo>
                    <a:cubicBezTo>
                      <a:pt x="14765" y="19350"/>
                      <a:pt x="11749" y="49518"/>
                      <a:pt x="14765" y="76669"/>
                    </a:cubicBezTo>
                    <a:cubicBezTo>
                      <a:pt x="14765" y="79685"/>
                      <a:pt x="11749" y="82702"/>
                      <a:pt x="8732" y="82702"/>
                    </a:cubicBezTo>
                    <a:cubicBezTo>
                      <a:pt x="5715" y="82702"/>
                      <a:pt x="2698" y="79685"/>
                      <a:pt x="2698" y="76669"/>
                    </a:cubicBezTo>
                    <a:cubicBezTo>
                      <a:pt x="-319" y="58568"/>
                      <a:pt x="-3335" y="16333"/>
                      <a:pt x="8732" y="4266"/>
                    </a:cubicBezTo>
                    <a:cubicBezTo>
                      <a:pt x="11749" y="1250"/>
                      <a:pt x="17782" y="-1767"/>
                      <a:pt x="23816" y="1250"/>
                    </a:cubicBezTo>
                    <a:cubicBezTo>
                      <a:pt x="35883" y="4266"/>
                      <a:pt x="44933" y="16333"/>
                      <a:pt x="47950" y="25383"/>
                    </a:cubicBezTo>
                    <a:cubicBezTo>
                      <a:pt x="50967" y="34434"/>
                      <a:pt x="53983" y="67618"/>
                      <a:pt x="53983" y="94769"/>
                    </a:cubicBezTo>
                    <a:cubicBezTo>
                      <a:pt x="53983" y="100802"/>
                      <a:pt x="53983" y="103819"/>
                      <a:pt x="53983" y="106836"/>
                    </a:cubicBezTo>
                    <a:cubicBezTo>
                      <a:pt x="53983" y="115886"/>
                      <a:pt x="60017" y="152088"/>
                      <a:pt x="63034" y="167171"/>
                    </a:cubicBezTo>
                    <a:cubicBezTo>
                      <a:pt x="66050" y="176221"/>
                      <a:pt x="63034" y="179238"/>
                      <a:pt x="60017" y="179238"/>
                    </a:cubicBezTo>
                    <a:cubicBezTo>
                      <a:pt x="60017" y="179238"/>
                      <a:pt x="60017" y="179238"/>
                      <a:pt x="60017" y="17923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5864B39F-BC93-4A7A-987C-A6478490B1A7}"/>
                </a:ext>
              </a:extLst>
            </p:cNvPr>
            <p:cNvSpPr/>
            <p:nvPr/>
          </p:nvSpPr>
          <p:spPr>
            <a:xfrm>
              <a:off x="7106321" y="9026945"/>
              <a:ext cx="446575" cy="584993"/>
            </a:xfrm>
            <a:custGeom>
              <a:avLst/>
              <a:gdLst>
                <a:gd name="connsiteX0" fmla="*/ 0 w 446575"/>
                <a:gd name="connsiteY0" fmla="*/ 100207 h 584993"/>
                <a:gd name="connsiteX1" fmla="*/ 331844 w 446575"/>
                <a:gd name="connsiteY1" fmla="*/ 582889 h 584993"/>
                <a:gd name="connsiteX2" fmla="*/ 446480 w 446575"/>
                <a:gd name="connsiteY2" fmla="*/ 441102 h 584993"/>
                <a:gd name="connsiteX3" fmla="*/ 380111 w 446575"/>
                <a:gd name="connsiteY3" fmla="*/ 655 h 584993"/>
                <a:gd name="connsiteX4" fmla="*/ 0 w 446575"/>
                <a:gd name="connsiteY4" fmla="*/ 100207 h 584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6575" h="584993">
                  <a:moveTo>
                    <a:pt x="0" y="100207"/>
                  </a:moveTo>
                  <a:cubicBezTo>
                    <a:pt x="0" y="100207"/>
                    <a:pt x="81452" y="622107"/>
                    <a:pt x="331844" y="582889"/>
                  </a:cubicBezTo>
                  <a:cubicBezTo>
                    <a:pt x="380111" y="576856"/>
                    <a:pt x="449497" y="510487"/>
                    <a:pt x="446480" y="441102"/>
                  </a:cubicBezTo>
                  <a:cubicBezTo>
                    <a:pt x="443464" y="263113"/>
                    <a:pt x="380111" y="655"/>
                    <a:pt x="380111" y="655"/>
                  </a:cubicBezTo>
                  <a:cubicBezTo>
                    <a:pt x="380111" y="655"/>
                    <a:pt x="177989" y="-14429"/>
                    <a:pt x="0" y="100207"/>
                  </a:cubicBez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53ED0E65-DBE9-4EB8-B10C-E2BA7F5D909D}"/>
                </a:ext>
              </a:extLst>
            </p:cNvPr>
            <p:cNvSpPr/>
            <p:nvPr/>
          </p:nvSpPr>
          <p:spPr>
            <a:xfrm>
              <a:off x="5965986" y="12174080"/>
              <a:ext cx="4096759" cy="362011"/>
            </a:xfrm>
            <a:custGeom>
              <a:avLst/>
              <a:gdLst>
                <a:gd name="connsiteX0" fmla="*/ 4096760 w 4096759"/>
                <a:gd name="connsiteY0" fmla="*/ 343910 h 362011"/>
                <a:gd name="connsiteX1" fmla="*/ 0 w 4096759"/>
                <a:gd name="connsiteY1" fmla="*/ 362011 h 362011"/>
                <a:gd name="connsiteX2" fmla="*/ 654637 w 4096759"/>
                <a:gd name="connsiteY2" fmla="*/ 18101 h 362011"/>
                <a:gd name="connsiteX3" fmla="*/ 3445140 w 4096759"/>
                <a:gd name="connsiteY3" fmla="*/ 0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6759" h="362011">
                  <a:moveTo>
                    <a:pt x="4096760" y="343910"/>
                  </a:moveTo>
                  <a:lnTo>
                    <a:pt x="0" y="362011"/>
                  </a:lnTo>
                  <a:lnTo>
                    <a:pt x="654637" y="18101"/>
                  </a:lnTo>
                  <a:lnTo>
                    <a:pt x="3445140" y="0"/>
                  </a:ln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4EA7C782-6031-4C96-980E-BB450EABD3E1}"/>
                </a:ext>
              </a:extLst>
            </p:cNvPr>
            <p:cNvSpPr/>
            <p:nvPr/>
          </p:nvSpPr>
          <p:spPr>
            <a:xfrm>
              <a:off x="6461906" y="10771287"/>
              <a:ext cx="2716929" cy="1638233"/>
            </a:xfrm>
            <a:custGeom>
              <a:avLst/>
              <a:gdLst>
                <a:gd name="connsiteX0" fmla="*/ 831454 w 2716929"/>
                <a:gd name="connsiteY0" fmla="*/ 21118 h 1638233"/>
                <a:gd name="connsiteX1" fmla="*/ 1845 w 2716929"/>
                <a:gd name="connsiteY1" fmla="*/ 467598 h 1638233"/>
                <a:gd name="connsiteX2" fmla="*/ 394024 w 2716929"/>
                <a:gd name="connsiteY2" fmla="*/ 1529498 h 1638233"/>
                <a:gd name="connsiteX3" fmla="*/ 581063 w 2716929"/>
                <a:gd name="connsiteY3" fmla="*/ 1553631 h 1638233"/>
                <a:gd name="connsiteX4" fmla="*/ 369890 w 2716929"/>
                <a:gd name="connsiteY4" fmla="*/ 699889 h 1638233"/>
                <a:gd name="connsiteX5" fmla="*/ 1374471 w 2716929"/>
                <a:gd name="connsiteY5" fmla="*/ 443464 h 1638233"/>
                <a:gd name="connsiteX6" fmla="*/ 1655030 w 2716929"/>
                <a:gd name="connsiteY6" fmla="*/ 1604917 h 1638233"/>
                <a:gd name="connsiteX7" fmla="*/ 2710896 w 2716929"/>
                <a:gd name="connsiteY7" fmla="*/ 1592850 h 1638233"/>
                <a:gd name="connsiteX8" fmla="*/ 2716929 w 2716929"/>
                <a:gd name="connsiteY8" fmla="*/ 1460112 h 1638233"/>
                <a:gd name="connsiteX9" fmla="*/ 1989890 w 2716929"/>
                <a:gd name="connsiteY9" fmla="*/ 1369609 h 1638233"/>
                <a:gd name="connsiteX10" fmla="*/ 1839052 w 2716929"/>
                <a:gd name="connsiteY10" fmla="*/ 0 h 1638233"/>
                <a:gd name="connsiteX11" fmla="*/ 831454 w 2716929"/>
                <a:gd name="connsiteY11" fmla="*/ 21118 h 1638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16929" h="1638233">
                  <a:moveTo>
                    <a:pt x="831454" y="21118"/>
                  </a:moveTo>
                  <a:cubicBezTo>
                    <a:pt x="831454" y="21118"/>
                    <a:pt x="22963" y="310727"/>
                    <a:pt x="1845" y="467598"/>
                  </a:cubicBezTo>
                  <a:cubicBezTo>
                    <a:pt x="-31339" y="714972"/>
                    <a:pt x="394024" y="1529498"/>
                    <a:pt x="394024" y="1529498"/>
                  </a:cubicBezTo>
                  <a:lnTo>
                    <a:pt x="581063" y="1553631"/>
                  </a:lnTo>
                  <a:cubicBezTo>
                    <a:pt x="581063" y="1553631"/>
                    <a:pt x="363857" y="796424"/>
                    <a:pt x="369890" y="699889"/>
                  </a:cubicBezTo>
                  <a:cubicBezTo>
                    <a:pt x="375923" y="561118"/>
                    <a:pt x="1359387" y="473632"/>
                    <a:pt x="1374471" y="443464"/>
                  </a:cubicBezTo>
                  <a:cubicBezTo>
                    <a:pt x="1380505" y="428380"/>
                    <a:pt x="1474024" y="1445028"/>
                    <a:pt x="1655030" y="1604917"/>
                  </a:cubicBezTo>
                  <a:cubicBezTo>
                    <a:pt x="1745533" y="1686369"/>
                    <a:pt x="2710896" y="1592850"/>
                    <a:pt x="2710896" y="1592850"/>
                  </a:cubicBezTo>
                  <a:lnTo>
                    <a:pt x="2716929" y="1460112"/>
                  </a:lnTo>
                  <a:lnTo>
                    <a:pt x="1989890" y="1369609"/>
                  </a:lnTo>
                  <a:cubicBezTo>
                    <a:pt x="1989890" y="1369609"/>
                    <a:pt x="1863186" y="54302"/>
                    <a:pt x="1839052" y="0"/>
                  </a:cubicBezTo>
                  <a:cubicBezTo>
                    <a:pt x="1154248" y="33185"/>
                    <a:pt x="831454" y="21118"/>
                    <a:pt x="831454" y="21118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4C8BBABA-BBB4-4FA1-93AB-8E03DBBA8E17}"/>
                </a:ext>
              </a:extLst>
            </p:cNvPr>
            <p:cNvSpPr/>
            <p:nvPr/>
          </p:nvSpPr>
          <p:spPr>
            <a:xfrm>
              <a:off x="6533137" y="10774304"/>
              <a:ext cx="1978994" cy="1562681"/>
            </a:xfrm>
            <a:custGeom>
              <a:avLst/>
              <a:gdLst>
                <a:gd name="connsiteX0" fmla="*/ 760223 w 1978994"/>
                <a:gd name="connsiteY0" fmla="*/ 18101 h 1562681"/>
                <a:gd name="connsiteX1" fmla="*/ 0 w 1978994"/>
                <a:gd name="connsiteY1" fmla="*/ 307710 h 1562681"/>
                <a:gd name="connsiteX2" fmla="*/ 346927 w 1978994"/>
                <a:gd name="connsiteY2" fmla="*/ 699889 h 1562681"/>
                <a:gd name="connsiteX3" fmla="*/ 1224804 w 1978994"/>
                <a:gd name="connsiteY3" fmla="*/ 558101 h 1562681"/>
                <a:gd name="connsiteX4" fmla="*/ 1484246 w 1978994"/>
                <a:gd name="connsiteY4" fmla="*/ 1562681 h 1562681"/>
                <a:gd name="connsiteX5" fmla="*/ 1978994 w 1978994"/>
                <a:gd name="connsiteY5" fmla="*/ 1318324 h 1562681"/>
                <a:gd name="connsiteX6" fmla="*/ 1773854 w 1978994"/>
                <a:gd name="connsiteY6" fmla="*/ 0 h 1562681"/>
                <a:gd name="connsiteX7" fmla="*/ 760223 w 1978994"/>
                <a:gd name="connsiteY7" fmla="*/ 18101 h 1562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78994" h="1562681">
                  <a:moveTo>
                    <a:pt x="760223" y="18101"/>
                  </a:moveTo>
                  <a:cubicBezTo>
                    <a:pt x="760223" y="18101"/>
                    <a:pt x="355977" y="114637"/>
                    <a:pt x="0" y="307710"/>
                  </a:cubicBezTo>
                  <a:cubicBezTo>
                    <a:pt x="54301" y="452514"/>
                    <a:pt x="190056" y="636537"/>
                    <a:pt x="346927" y="699889"/>
                  </a:cubicBezTo>
                  <a:cubicBezTo>
                    <a:pt x="606368" y="618436"/>
                    <a:pt x="1209720" y="588268"/>
                    <a:pt x="1224804" y="558101"/>
                  </a:cubicBezTo>
                  <a:cubicBezTo>
                    <a:pt x="1239888" y="527933"/>
                    <a:pt x="1363575" y="1143352"/>
                    <a:pt x="1484246" y="1562681"/>
                  </a:cubicBezTo>
                  <a:cubicBezTo>
                    <a:pt x="1623016" y="1532514"/>
                    <a:pt x="1752737" y="1448045"/>
                    <a:pt x="1978994" y="1318324"/>
                  </a:cubicBezTo>
                  <a:cubicBezTo>
                    <a:pt x="1915643" y="1125251"/>
                    <a:pt x="1816089" y="96537"/>
                    <a:pt x="1773854" y="0"/>
                  </a:cubicBezTo>
                  <a:cubicBezTo>
                    <a:pt x="1083017" y="30168"/>
                    <a:pt x="760223" y="18101"/>
                    <a:pt x="760223" y="18101"/>
                  </a:cubicBez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C969B7EE-7DC8-4BA4-92B8-3A766CCC8C54}"/>
                </a:ext>
              </a:extLst>
            </p:cNvPr>
            <p:cNvSpPr/>
            <p:nvPr/>
          </p:nvSpPr>
          <p:spPr>
            <a:xfrm>
              <a:off x="7715398" y="10916092"/>
              <a:ext cx="45831" cy="422346"/>
            </a:xfrm>
            <a:custGeom>
              <a:avLst/>
              <a:gdLst>
                <a:gd name="connsiteX0" fmla="*/ 39526 w 45831"/>
                <a:gd name="connsiteY0" fmla="*/ 422346 h 422346"/>
                <a:gd name="connsiteX1" fmla="*/ 33492 w 45831"/>
                <a:gd name="connsiteY1" fmla="*/ 419329 h 422346"/>
                <a:gd name="connsiteX2" fmla="*/ 3325 w 45831"/>
                <a:gd name="connsiteY2" fmla="*/ 6033 h 422346"/>
                <a:gd name="connsiteX3" fmla="*/ 9358 w 45831"/>
                <a:gd name="connsiteY3" fmla="*/ 0 h 422346"/>
                <a:gd name="connsiteX4" fmla="*/ 9358 w 45831"/>
                <a:gd name="connsiteY4" fmla="*/ 0 h 422346"/>
                <a:gd name="connsiteX5" fmla="*/ 15392 w 45831"/>
                <a:gd name="connsiteY5" fmla="*/ 6033 h 422346"/>
                <a:gd name="connsiteX6" fmla="*/ 42542 w 45831"/>
                <a:gd name="connsiteY6" fmla="*/ 413296 h 422346"/>
                <a:gd name="connsiteX7" fmla="*/ 39526 w 45831"/>
                <a:gd name="connsiteY7" fmla="*/ 422346 h 422346"/>
                <a:gd name="connsiteX8" fmla="*/ 39526 w 45831"/>
                <a:gd name="connsiteY8" fmla="*/ 422346 h 422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831" h="422346">
                  <a:moveTo>
                    <a:pt x="39526" y="422346"/>
                  </a:moveTo>
                  <a:cubicBezTo>
                    <a:pt x="36509" y="422346"/>
                    <a:pt x="36509" y="422346"/>
                    <a:pt x="33492" y="419329"/>
                  </a:cubicBezTo>
                  <a:cubicBezTo>
                    <a:pt x="-14776" y="304692"/>
                    <a:pt x="3325" y="18100"/>
                    <a:pt x="3325" y="6033"/>
                  </a:cubicBezTo>
                  <a:cubicBezTo>
                    <a:pt x="3325" y="3016"/>
                    <a:pt x="6341" y="0"/>
                    <a:pt x="9358" y="0"/>
                  </a:cubicBezTo>
                  <a:cubicBezTo>
                    <a:pt x="9358" y="0"/>
                    <a:pt x="9358" y="0"/>
                    <a:pt x="9358" y="0"/>
                  </a:cubicBezTo>
                  <a:cubicBezTo>
                    <a:pt x="12375" y="0"/>
                    <a:pt x="15392" y="3016"/>
                    <a:pt x="15392" y="6033"/>
                  </a:cubicBezTo>
                  <a:cubicBezTo>
                    <a:pt x="15392" y="9050"/>
                    <a:pt x="-5725" y="301676"/>
                    <a:pt x="42542" y="413296"/>
                  </a:cubicBezTo>
                  <a:cubicBezTo>
                    <a:pt x="48576" y="419329"/>
                    <a:pt x="45559" y="422346"/>
                    <a:pt x="39526" y="422346"/>
                  </a:cubicBezTo>
                  <a:cubicBezTo>
                    <a:pt x="42542" y="422346"/>
                    <a:pt x="42542" y="422346"/>
                    <a:pt x="39526" y="422346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1D64FD34-198C-449C-BB34-5D152B527EC0}"/>
                </a:ext>
              </a:extLst>
            </p:cNvPr>
            <p:cNvSpPr/>
            <p:nvPr/>
          </p:nvSpPr>
          <p:spPr>
            <a:xfrm>
              <a:off x="7613136" y="10846706"/>
              <a:ext cx="123687" cy="331843"/>
            </a:xfrm>
            <a:custGeom>
              <a:avLst/>
              <a:gdLst>
                <a:gd name="connsiteX0" fmla="*/ 114637 w 123687"/>
                <a:gd name="connsiteY0" fmla="*/ 331844 h 331843"/>
                <a:gd name="connsiteX1" fmla="*/ 111620 w 123687"/>
                <a:gd name="connsiteY1" fmla="*/ 331844 h 331843"/>
                <a:gd name="connsiteX2" fmla="*/ 33185 w 123687"/>
                <a:gd name="connsiteY2" fmla="*/ 271508 h 331843"/>
                <a:gd name="connsiteX3" fmla="*/ 0 w 123687"/>
                <a:gd name="connsiteY3" fmla="*/ 6034 h 331843"/>
                <a:gd name="connsiteX4" fmla="*/ 6034 w 123687"/>
                <a:gd name="connsiteY4" fmla="*/ 0 h 331843"/>
                <a:gd name="connsiteX5" fmla="*/ 12067 w 123687"/>
                <a:gd name="connsiteY5" fmla="*/ 6034 h 331843"/>
                <a:gd name="connsiteX6" fmla="*/ 45251 w 123687"/>
                <a:gd name="connsiteY6" fmla="*/ 265475 h 331843"/>
                <a:gd name="connsiteX7" fmla="*/ 120670 w 123687"/>
                <a:gd name="connsiteY7" fmla="*/ 322794 h 331843"/>
                <a:gd name="connsiteX8" fmla="*/ 123687 w 123687"/>
                <a:gd name="connsiteY8" fmla="*/ 331844 h 331843"/>
                <a:gd name="connsiteX9" fmla="*/ 114637 w 123687"/>
                <a:gd name="connsiteY9" fmla="*/ 331844 h 33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687" h="331843">
                  <a:moveTo>
                    <a:pt x="114637" y="331844"/>
                  </a:moveTo>
                  <a:cubicBezTo>
                    <a:pt x="114637" y="331844"/>
                    <a:pt x="111620" y="331844"/>
                    <a:pt x="111620" y="331844"/>
                  </a:cubicBezTo>
                  <a:cubicBezTo>
                    <a:pt x="105587" y="328827"/>
                    <a:pt x="45251" y="286592"/>
                    <a:pt x="33185" y="271508"/>
                  </a:cubicBezTo>
                  <a:cubicBezTo>
                    <a:pt x="21118" y="256425"/>
                    <a:pt x="3017" y="48268"/>
                    <a:pt x="0" y="6034"/>
                  </a:cubicBezTo>
                  <a:cubicBezTo>
                    <a:pt x="0" y="3017"/>
                    <a:pt x="3017" y="0"/>
                    <a:pt x="6034" y="0"/>
                  </a:cubicBezTo>
                  <a:cubicBezTo>
                    <a:pt x="9050" y="0"/>
                    <a:pt x="12067" y="3017"/>
                    <a:pt x="12067" y="6034"/>
                  </a:cubicBezTo>
                  <a:cubicBezTo>
                    <a:pt x="21118" y="99554"/>
                    <a:pt x="36201" y="253408"/>
                    <a:pt x="45251" y="265475"/>
                  </a:cubicBezTo>
                  <a:cubicBezTo>
                    <a:pt x="54302" y="277542"/>
                    <a:pt x="102570" y="310727"/>
                    <a:pt x="120670" y="322794"/>
                  </a:cubicBezTo>
                  <a:cubicBezTo>
                    <a:pt x="123687" y="325811"/>
                    <a:pt x="123687" y="328827"/>
                    <a:pt x="123687" y="331844"/>
                  </a:cubicBezTo>
                  <a:cubicBezTo>
                    <a:pt x="117654" y="331844"/>
                    <a:pt x="114637" y="331844"/>
                    <a:pt x="114637" y="331844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CDD571A5-4CD5-4357-9B82-BD56319F5E0D}"/>
                </a:ext>
              </a:extLst>
            </p:cNvPr>
            <p:cNvSpPr/>
            <p:nvPr/>
          </p:nvSpPr>
          <p:spPr>
            <a:xfrm>
              <a:off x="7646321" y="9226706"/>
              <a:ext cx="247374" cy="255529"/>
            </a:xfrm>
            <a:custGeom>
              <a:avLst/>
              <a:gdLst>
                <a:gd name="connsiteX0" fmla="*/ 0 w 247374"/>
                <a:gd name="connsiteY0" fmla="*/ 39218 h 255529"/>
                <a:gd name="connsiteX1" fmla="*/ 6033 w 247374"/>
                <a:gd name="connsiteY1" fmla="*/ 211173 h 255529"/>
                <a:gd name="connsiteX2" fmla="*/ 247374 w 247374"/>
                <a:gd name="connsiteY2" fmla="*/ 202123 h 255529"/>
                <a:gd name="connsiteX3" fmla="*/ 232290 w 247374"/>
                <a:gd name="connsiteY3" fmla="*/ 0 h 255529"/>
                <a:gd name="connsiteX4" fmla="*/ 0 w 247374"/>
                <a:gd name="connsiteY4" fmla="*/ 39218 h 255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374" h="255529">
                  <a:moveTo>
                    <a:pt x="0" y="39218"/>
                  </a:moveTo>
                  <a:cubicBezTo>
                    <a:pt x="0" y="39218"/>
                    <a:pt x="6033" y="138771"/>
                    <a:pt x="6033" y="211173"/>
                  </a:cubicBezTo>
                  <a:cubicBezTo>
                    <a:pt x="6033" y="211173"/>
                    <a:pt x="99553" y="316760"/>
                    <a:pt x="247374" y="202123"/>
                  </a:cubicBezTo>
                  <a:cubicBezTo>
                    <a:pt x="247374" y="141788"/>
                    <a:pt x="235307" y="63352"/>
                    <a:pt x="232290" y="0"/>
                  </a:cubicBezTo>
                  <a:cubicBezTo>
                    <a:pt x="235307" y="0"/>
                    <a:pt x="54302" y="51285"/>
                    <a:pt x="0" y="39218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AFC378FA-6F8A-492F-A701-7C32F0CCE5F3}"/>
                </a:ext>
              </a:extLst>
            </p:cNvPr>
            <p:cNvSpPr/>
            <p:nvPr/>
          </p:nvSpPr>
          <p:spPr>
            <a:xfrm>
              <a:off x="7278768" y="9389611"/>
              <a:ext cx="1070457" cy="1476101"/>
            </a:xfrm>
            <a:custGeom>
              <a:avLst/>
              <a:gdLst>
                <a:gd name="connsiteX0" fmla="*/ 633027 w 1070457"/>
                <a:gd name="connsiteY0" fmla="*/ 0 h 1476101"/>
                <a:gd name="connsiteX1" fmla="*/ 346435 w 1070457"/>
                <a:gd name="connsiteY1" fmla="*/ 0 h 1476101"/>
                <a:gd name="connsiteX2" fmla="*/ 59843 w 1070457"/>
                <a:gd name="connsiteY2" fmla="*/ 75419 h 1476101"/>
                <a:gd name="connsiteX3" fmla="*/ 2524 w 1070457"/>
                <a:gd name="connsiteY3" fmla="*/ 1426927 h 1476101"/>
                <a:gd name="connsiteX4" fmla="*/ 1070457 w 1070457"/>
                <a:gd name="connsiteY4" fmla="*/ 1429944 h 1476101"/>
                <a:gd name="connsiteX5" fmla="*/ 931686 w 1070457"/>
                <a:gd name="connsiteY5" fmla="*/ 60335 h 1476101"/>
                <a:gd name="connsiteX6" fmla="*/ 633027 w 1070457"/>
                <a:gd name="connsiteY6" fmla="*/ 0 h 147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0457" h="1476101">
                  <a:moveTo>
                    <a:pt x="633027" y="0"/>
                  </a:moveTo>
                  <a:cubicBezTo>
                    <a:pt x="633027" y="0"/>
                    <a:pt x="461072" y="54301"/>
                    <a:pt x="346435" y="0"/>
                  </a:cubicBezTo>
                  <a:cubicBezTo>
                    <a:pt x="346435" y="0"/>
                    <a:pt x="96044" y="57318"/>
                    <a:pt x="59843" y="75419"/>
                  </a:cubicBezTo>
                  <a:cubicBezTo>
                    <a:pt x="23642" y="93520"/>
                    <a:pt x="-9543" y="1360559"/>
                    <a:pt x="2524" y="1426927"/>
                  </a:cubicBezTo>
                  <a:cubicBezTo>
                    <a:pt x="2524" y="1426927"/>
                    <a:pt x="497273" y="1535531"/>
                    <a:pt x="1070457" y="1429944"/>
                  </a:cubicBezTo>
                  <a:cubicBezTo>
                    <a:pt x="1070457" y="1076983"/>
                    <a:pt x="982971" y="78436"/>
                    <a:pt x="931686" y="60335"/>
                  </a:cubicBezTo>
                  <a:cubicBezTo>
                    <a:pt x="832133" y="30168"/>
                    <a:pt x="633027" y="0"/>
                    <a:pt x="633027" y="0"/>
                  </a:cubicBez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A1F90D16-AB6B-40AC-A99E-60368EB64463}"/>
                </a:ext>
              </a:extLst>
            </p:cNvPr>
            <p:cNvSpPr/>
            <p:nvPr/>
          </p:nvSpPr>
          <p:spPr>
            <a:xfrm>
              <a:off x="7281293" y="9509032"/>
              <a:ext cx="52534" cy="547283"/>
            </a:xfrm>
            <a:custGeom>
              <a:avLst/>
              <a:gdLst>
                <a:gd name="connsiteX0" fmla="*/ 6034 w 52534"/>
                <a:gd name="connsiteY0" fmla="*/ 547283 h 547283"/>
                <a:gd name="connsiteX1" fmla="*/ 6034 w 52534"/>
                <a:gd name="connsiteY1" fmla="*/ 547283 h 547283"/>
                <a:gd name="connsiteX2" fmla="*/ 0 w 52534"/>
                <a:gd name="connsiteY2" fmla="*/ 541250 h 547283"/>
                <a:gd name="connsiteX3" fmla="*/ 42235 w 52534"/>
                <a:gd name="connsiteY3" fmla="*/ 4267 h 547283"/>
                <a:gd name="connsiteX4" fmla="*/ 48268 w 52534"/>
                <a:gd name="connsiteY4" fmla="*/ 1250 h 547283"/>
                <a:gd name="connsiteX5" fmla="*/ 51285 w 52534"/>
                <a:gd name="connsiteY5" fmla="*/ 7283 h 547283"/>
                <a:gd name="connsiteX6" fmla="*/ 9050 w 52534"/>
                <a:gd name="connsiteY6" fmla="*/ 541250 h 547283"/>
                <a:gd name="connsiteX7" fmla="*/ 6034 w 52534"/>
                <a:gd name="connsiteY7" fmla="*/ 547283 h 547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534" h="547283">
                  <a:moveTo>
                    <a:pt x="6034" y="547283"/>
                  </a:moveTo>
                  <a:lnTo>
                    <a:pt x="6034" y="547283"/>
                  </a:lnTo>
                  <a:cubicBezTo>
                    <a:pt x="3017" y="547283"/>
                    <a:pt x="0" y="544266"/>
                    <a:pt x="0" y="541250"/>
                  </a:cubicBezTo>
                  <a:cubicBezTo>
                    <a:pt x="0" y="520132"/>
                    <a:pt x="36201" y="43484"/>
                    <a:pt x="42235" y="4267"/>
                  </a:cubicBezTo>
                  <a:cubicBezTo>
                    <a:pt x="42235" y="1250"/>
                    <a:pt x="45251" y="-1767"/>
                    <a:pt x="48268" y="1250"/>
                  </a:cubicBezTo>
                  <a:cubicBezTo>
                    <a:pt x="51285" y="1250"/>
                    <a:pt x="54302" y="4267"/>
                    <a:pt x="51285" y="7283"/>
                  </a:cubicBezTo>
                  <a:cubicBezTo>
                    <a:pt x="42235" y="46501"/>
                    <a:pt x="9050" y="538233"/>
                    <a:pt x="9050" y="541250"/>
                  </a:cubicBezTo>
                  <a:cubicBezTo>
                    <a:pt x="12067" y="547283"/>
                    <a:pt x="9050" y="547283"/>
                    <a:pt x="6034" y="547283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BA2ABB1A-5E39-4ECE-B8FD-0C33757B47C7}"/>
                </a:ext>
              </a:extLst>
            </p:cNvPr>
            <p:cNvSpPr/>
            <p:nvPr/>
          </p:nvSpPr>
          <p:spPr>
            <a:xfrm>
              <a:off x="9079282" y="12134400"/>
              <a:ext cx="488782" cy="256463"/>
            </a:xfrm>
            <a:custGeom>
              <a:avLst/>
              <a:gdLst>
                <a:gd name="connsiteX0" fmla="*/ 69386 w 488782"/>
                <a:gd name="connsiteY0" fmla="*/ 229737 h 256463"/>
                <a:gd name="connsiteX1" fmla="*/ 0 w 488782"/>
                <a:gd name="connsiteY1" fmla="*/ 118116 h 256463"/>
                <a:gd name="connsiteX2" fmla="*/ 66369 w 488782"/>
                <a:gd name="connsiteY2" fmla="*/ 463 h 256463"/>
                <a:gd name="connsiteX3" fmla="*/ 488715 w 488782"/>
                <a:gd name="connsiteY3" fmla="*/ 205602 h 256463"/>
                <a:gd name="connsiteX4" fmla="*/ 69386 w 488782"/>
                <a:gd name="connsiteY4" fmla="*/ 229737 h 25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8782" h="256463">
                  <a:moveTo>
                    <a:pt x="69386" y="229737"/>
                  </a:moveTo>
                  <a:cubicBezTo>
                    <a:pt x="36201" y="196552"/>
                    <a:pt x="0" y="127166"/>
                    <a:pt x="0" y="118116"/>
                  </a:cubicBezTo>
                  <a:cubicBezTo>
                    <a:pt x="0" y="118116"/>
                    <a:pt x="39218" y="-8588"/>
                    <a:pt x="66369" y="463"/>
                  </a:cubicBezTo>
                  <a:cubicBezTo>
                    <a:pt x="93520" y="9513"/>
                    <a:pt x="494748" y="184485"/>
                    <a:pt x="488715" y="205602"/>
                  </a:cubicBezTo>
                  <a:cubicBezTo>
                    <a:pt x="452514" y="311189"/>
                    <a:pt x="171955" y="217669"/>
                    <a:pt x="69386" y="229737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B7713E13-D56F-4F4F-8607-6672E59A38C8}"/>
                </a:ext>
              </a:extLst>
            </p:cNvPr>
            <p:cNvSpPr/>
            <p:nvPr/>
          </p:nvSpPr>
          <p:spPr>
            <a:xfrm>
              <a:off x="6547641" y="12242504"/>
              <a:ext cx="499179" cy="186128"/>
            </a:xfrm>
            <a:custGeom>
              <a:avLst/>
              <a:gdLst>
                <a:gd name="connsiteX0" fmla="*/ 353540 w 499179"/>
                <a:gd name="connsiteY0" fmla="*/ 3979 h 186128"/>
                <a:gd name="connsiteX1" fmla="*/ 489295 w 499179"/>
                <a:gd name="connsiteY1" fmla="*/ 61298 h 186128"/>
                <a:gd name="connsiteX2" fmla="*/ 486278 w 499179"/>
                <a:gd name="connsiteY2" fmla="*/ 169900 h 186128"/>
                <a:gd name="connsiteX3" fmla="*/ 580 w 499179"/>
                <a:gd name="connsiteY3" fmla="*/ 178951 h 186128"/>
                <a:gd name="connsiteX4" fmla="*/ 353540 w 499179"/>
                <a:gd name="connsiteY4" fmla="*/ 3979 h 186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9179" h="186128">
                  <a:moveTo>
                    <a:pt x="353540" y="3979"/>
                  </a:moveTo>
                  <a:cubicBezTo>
                    <a:pt x="362591" y="-17138"/>
                    <a:pt x="486278" y="52247"/>
                    <a:pt x="489295" y="61298"/>
                  </a:cubicBezTo>
                  <a:cubicBezTo>
                    <a:pt x="489295" y="61298"/>
                    <a:pt x="513429" y="163868"/>
                    <a:pt x="486278" y="169900"/>
                  </a:cubicBezTo>
                  <a:cubicBezTo>
                    <a:pt x="459127" y="175934"/>
                    <a:pt x="3596" y="197052"/>
                    <a:pt x="580" y="178951"/>
                  </a:cubicBezTo>
                  <a:cubicBezTo>
                    <a:pt x="-14504" y="61298"/>
                    <a:pt x="269071" y="64314"/>
                    <a:pt x="353540" y="3979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48C6FE33-0B2E-469D-AE55-1F7D581E57D9}"/>
                </a:ext>
              </a:extLst>
            </p:cNvPr>
            <p:cNvSpPr/>
            <p:nvPr/>
          </p:nvSpPr>
          <p:spPr>
            <a:xfrm>
              <a:off x="7902745" y="9103019"/>
              <a:ext cx="69385" cy="135754"/>
            </a:xfrm>
            <a:custGeom>
              <a:avLst/>
              <a:gdLst>
                <a:gd name="connsiteX0" fmla="*/ 69386 w 69385"/>
                <a:gd name="connsiteY0" fmla="*/ 0 h 135754"/>
                <a:gd name="connsiteX1" fmla="*/ 3017 w 69385"/>
                <a:gd name="connsiteY1" fmla="*/ 135754 h 135754"/>
                <a:gd name="connsiteX2" fmla="*/ 0 w 69385"/>
                <a:gd name="connsiteY2" fmla="*/ 51285 h 135754"/>
                <a:gd name="connsiteX3" fmla="*/ 69386 w 69385"/>
                <a:gd name="connsiteY3" fmla="*/ 0 h 13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385" h="135754">
                  <a:moveTo>
                    <a:pt x="69386" y="0"/>
                  </a:moveTo>
                  <a:cubicBezTo>
                    <a:pt x="69386" y="0"/>
                    <a:pt x="54302" y="117653"/>
                    <a:pt x="3017" y="135754"/>
                  </a:cubicBezTo>
                  <a:lnTo>
                    <a:pt x="0" y="51285"/>
                  </a:lnTo>
                  <a:lnTo>
                    <a:pt x="69386" y="0"/>
                  </a:lnTo>
                  <a:close/>
                </a:path>
              </a:pathLst>
            </a:custGeom>
            <a:solidFill>
              <a:srgbClr val="664241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96FDBB97-F718-4646-B1E8-604D8D1D459C}"/>
                </a:ext>
              </a:extLst>
            </p:cNvPr>
            <p:cNvSpPr/>
            <p:nvPr/>
          </p:nvSpPr>
          <p:spPr>
            <a:xfrm>
              <a:off x="7518060" y="8897879"/>
              <a:ext cx="101557" cy="235319"/>
            </a:xfrm>
            <a:custGeom>
              <a:avLst/>
              <a:gdLst>
                <a:gd name="connsiteX0" fmla="*/ 7590 w 101557"/>
                <a:gd name="connsiteY0" fmla="*/ 0 h 235319"/>
                <a:gd name="connsiteX1" fmla="*/ 46808 w 101557"/>
                <a:gd name="connsiteY1" fmla="*/ 232290 h 235319"/>
                <a:gd name="connsiteX2" fmla="*/ 101110 w 101557"/>
                <a:gd name="connsiteY2" fmla="*/ 15084 h 235319"/>
                <a:gd name="connsiteX3" fmla="*/ 7590 w 101557"/>
                <a:gd name="connsiteY3" fmla="*/ 0 h 235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557" h="235319">
                  <a:moveTo>
                    <a:pt x="7590" y="0"/>
                  </a:moveTo>
                  <a:cubicBezTo>
                    <a:pt x="7590" y="0"/>
                    <a:pt x="-25594" y="193072"/>
                    <a:pt x="46808" y="232290"/>
                  </a:cubicBezTo>
                  <a:cubicBezTo>
                    <a:pt x="110160" y="265475"/>
                    <a:pt x="101110" y="15084"/>
                    <a:pt x="101110" y="15084"/>
                  </a:cubicBezTo>
                  <a:lnTo>
                    <a:pt x="7590" y="0"/>
                  </a:lnTo>
                  <a:close/>
                </a:path>
              </a:pathLst>
            </a:custGeom>
            <a:solidFill>
              <a:srgbClr val="664241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13D1F32F-338E-47F3-BE03-AF0F9C246ACA}"/>
                </a:ext>
              </a:extLst>
            </p:cNvPr>
            <p:cNvSpPr/>
            <p:nvPr/>
          </p:nvSpPr>
          <p:spPr>
            <a:xfrm>
              <a:off x="7553189" y="8761244"/>
              <a:ext cx="418941" cy="562595"/>
            </a:xfrm>
            <a:custGeom>
              <a:avLst/>
              <a:gdLst>
                <a:gd name="connsiteX0" fmla="*/ 11679 w 418941"/>
                <a:gd name="connsiteY0" fmla="*/ 178869 h 562595"/>
                <a:gd name="connsiteX1" fmla="*/ 8662 w 418941"/>
                <a:gd name="connsiteY1" fmla="*/ 426244 h 562595"/>
                <a:gd name="connsiteX2" fmla="*/ 165534 w 418941"/>
                <a:gd name="connsiteY2" fmla="*/ 561998 h 562595"/>
                <a:gd name="connsiteX3" fmla="*/ 379724 w 418941"/>
                <a:gd name="connsiteY3" fmla="*/ 423227 h 562595"/>
                <a:gd name="connsiteX4" fmla="*/ 418942 w 418941"/>
                <a:gd name="connsiteY4" fmla="*/ 199987 h 562595"/>
                <a:gd name="connsiteX5" fmla="*/ 210785 w 418941"/>
                <a:gd name="connsiteY5" fmla="*/ 881 h 562595"/>
                <a:gd name="connsiteX6" fmla="*/ 11679 w 418941"/>
                <a:gd name="connsiteY6" fmla="*/ 178869 h 562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941" h="562595">
                  <a:moveTo>
                    <a:pt x="11679" y="178869"/>
                  </a:moveTo>
                  <a:cubicBezTo>
                    <a:pt x="11679" y="178869"/>
                    <a:pt x="-12455" y="353842"/>
                    <a:pt x="8662" y="426244"/>
                  </a:cubicBezTo>
                  <a:cubicBezTo>
                    <a:pt x="26763" y="492613"/>
                    <a:pt x="114249" y="555964"/>
                    <a:pt x="165534" y="561998"/>
                  </a:cubicBezTo>
                  <a:cubicBezTo>
                    <a:pt x="231903" y="568032"/>
                    <a:pt x="349556" y="528814"/>
                    <a:pt x="379724" y="423227"/>
                  </a:cubicBezTo>
                  <a:cubicBezTo>
                    <a:pt x="400841" y="350825"/>
                    <a:pt x="418942" y="251272"/>
                    <a:pt x="418942" y="199987"/>
                  </a:cubicBezTo>
                  <a:cubicBezTo>
                    <a:pt x="418942" y="106467"/>
                    <a:pt x="391791" y="28031"/>
                    <a:pt x="210785" y="881"/>
                  </a:cubicBezTo>
                  <a:cubicBezTo>
                    <a:pt x="126316" y="-11187"/>
                    <a:pt x="29780" y="103450"/>
                    <a:pt x="11679" y="178869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C5B73581-F547-4A9A-8276-0323546B666A}"/>
                </a:ext>
              </a:extLst>
            </p:cNvPr>
            <p:cNvSpPr/>
            <p:nvPr/>
          </p:nvSpPr>
          <p:spPr>
            <a:xfrm>
              <a:off x="7685539" y="9021566"/>
              <a:ext cx="57318" cy="135754"/>
            </a:xfrm>
            <a:custGeom>
              <a:avLst/>
              <a:gdLst>
                <a:gd name="connsiteX0" fmla="*/ 33184 w 57318"/>
                <a:gd name="connsiteY0" fmla="*/ 135754 h 135754"/>
                <a:gd name="connsiteX1" fmla="*/ 6033 w 57318"/>
                <a:gd name="connsiteY1" fmla="*/ 129721 h 135754"/>
                <a:gd name="connsiteX2" fmla="*/ 0 w 57318"/>
                <a:gd name="connsiteY2" fmla="*/ 117654 h 135754"/>
                <a:gd name="connsiteX3" fmla="*/ 18100 w 57318"/>
                <a:gd name="connsiteY3" fmla="*/ 6034 h 135754"/>
                <a:gd name="connsiteX4" fmla="*/ 24134 w 57318"/>
                <a:gd name="connsiteY4" fmla="*/ 0 h 135754"/>
                <a:gd name="connsiteX5" fmla="*/ 30168 w 57318"/>
                <a:gd name="connsiteY5" fmla="*/ 6034 h 135754"/>
                <a:gd name="connsiteX6" fmla="*/ 12067 w 57318"/>
                <a:gd name="connsiteY6" fmla="*/ 117654 h 135754"/>
                <a:gd name="connsiteX7" fmla="*/ 12067 w 57318"/>
                <a:gd name="connsiteY7" fmla="*/ 120670 h 135754"/>
                <a:gd name="connsiteX8" fmla="*/ 51285 w 57318"/>
                <a:gd name="connsiteY8" fmla="*/ 123687 h 135754"/>
                <a:gd name="connsiteX9" fmla="*/ 57318 w 57318"/>
                <a:gd name="connsiteY9" fmla="*/ 129721 h 135754"/>
                <a:gd name="connsiteX10" fmla="*/ 51285 w 57318"/>
                <a:gd name="connsiteY10" fmla="*/ 135754 h 135754"/>
                <a:gd name="connsiteX11" fmla="*/ 33184 w 57318"/>
                <a:gd name="connsiteY11" fmla="*/ 135754 h 13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318" h="135754">
                  <a:moveTo>
                    <a:pt x="33184" y="135754"/>
                  </a:moveTo>
                  <a:cubicBezTo>
                    <a:pt x="24134" y="135754"/>
                    <a:pt x="12067" y="135754"/>
                    <a:pt x="6033" y="129721"/>
                  </a:cubicBezTo>
                  <a:cubicBezTo>
                    <a:pt x="3016" y="126704"/>
                    <a:pt x="0" y="123687"/>
                    <a:pt x="0" y="117654"/>
                  </a:cubicBezTo>
                  <a:cubicBezTo>
                    <a:pt x="0" y="96537"/>
                    <a:pt x="18100" y="9050"/>
                    <a:pt x="18100" y="6034"/>
                  </a:cubicBezTo>
                  <a:cubicBezTo>
                    <a:pt x="18100" y="3017"/>
                    <a:pt x="21117" y="0"/>
                    <a:pt x="24134" y="0"/>
                  </a:cubicBezTo>
                  <a:cubicBezTo>
                    <a:pt x="27151" y="0"/>
                    <a:pt x="30168" y="3017"/>
                    <a:pt x="30168" y="6034"/>
                  </a:cubicBezTo>
                  <a:cubicBezTo>
                    <a:pt x="30168" y="6034"/>
                    <a:pt x="12067" y="96537"/>
                    <a:pt x="12067" y="117654"/>
                  </a:cubicBezTo>
                  <a:cubicBezTo>
                    <a:pt x="12067" y="117654"/>
                    <a:pt x="12067" y="120670"/>
                    <a:pt x="12067" y="120670"/>
                  </a:cubicBezTo>
                  <a:cubicBezTo>
                    <a:pt x="18100" y="126704"/>
                    <a:pt x="39218" y="123687"/>
                    <a:pt x="51285" y="123687"/>
                  </a:cubicBezTo>
                  <a:cubicBezTo>
                    <a:pt x="54302" y="123687"/>
                    <a:pt x="57318" y="126704"/>
                    <a:pt x="57318" y="129721"/>
                  </a:cubicBezTo>
                  <a:cubicBezTo>
                    <a:pt x="57318" y="132738"/>
                    <a:pt x="54302" y="135754"/>
                    <a:pt x="51285" y="135754"/>
                  </a:cubicBezTo>
                  <a:cubicBezTo>
                    <a:pt x="51285" y="135754"/>
                    <a:pt x="42234" y="135754"/>
                    <a:pt x="33184" y="135754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5AF2ABA9-1314-4894-B386-B194301F95C7}"/>
                </a:ext>
              </a:extLst>
            </p:cNvPr>
            <p:cNvSpPr/>
            <p:nvPr/>
          </p:nvSpPr>
          <p:spPr>
            <a:xfrm>
              <a:off x="7618578" y="8999857"/>
              <a:ext cx="40578" cy="40401"/>
            </a:xfrm>
            <a:custGeom>
              <a:avLst/>
              <a:gdLst>
                <a:gd name="connsiteX0" fmla="*/ 39809 w 40578"/>
                <a:gd name="connsiteY0" fmla="*/ 24726 h 40401"/>
                <a:gd name="connsiteX1" fmla="*/ 15676 w 40578"/>
                <a:gd name="connsiteY1" fmla="*/ 39810 h 40401"/>
                <a:gd name="connsiteX2" fmla="*/ 592 w 40578"/>
                <a:gd name="connsiteY2" fmla="*/ 15675 h 40401"/>
                <a:gd name="connsiteX3" fmla="*/ 24726 w 40578"/>
                <a:gd name="connsiteY3" fmla="*/ 592 h 40401"/>
                <a:gd name="connsiteX4" fmla="*/ 39809 w 40578"/>
                <a:gd name="connsiteY4" fmla="*/ 24726 h 4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0401">
                  <a:moveTo>
                    <a:pt x="39809" y="24726"/>
                  </a:moveTo>
                  <a:cubicBezTo>
                    <a:pt x="36793" y="33776"/>
                    <a:pt x="27742" y="42827"/>
                    <a:pt x="15676" y="39810"/>
                  </a:cubicBezTo>
                  <a:cubicBezTo>
                    <a:pt x="6625" y="36793"/>
                    <a:pt x="-2425" y="27743"/>
                    <a:pt x="592" y="15675"/>
                  </a:cubicBezTo>
                  <a:cubicBezTo>
                    <a:pt x="3608" y="6625"/>
                    <a:pt x="12659" y="-2425"/>
                    <a:pt x="24726" y="592"/>
                  </a:cubicBezTo>
                  <a:cubicBezTo>
                    <a:pt x="36793" y="3609"/>
                    <a:pt x="42826" y="12659"/>
                    <a:pt x="39809" y="24726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C1A74BE3-5614-4F53-B76E-F29800EEFC28}"/>
                </a:ext>
              </a:extLst>
            </p:cNvPr>
            <p:cNvSpPr/>
            <p:nvPr/>
          </p:nvSpPr>
          <p:spPr>
            <a:xfrm>
              <a:off x="7799584" y="9017958"/>
              <a:ext cx="40578" cy="40401"/>
            </a:xfrm>
            <a:custGeom>
              <a:avLst/>
              <a:gdLst>
                <a:gd name="connsiteX0" fmla="*/ 39809 w 40578"/>
                <a:gd name="connsiteY0" fmla="*/ 24726 h 40401"/>
                <a:gd name="connsiteX1" fmla="*/ 15676 w 40578"/>
                <a:gd name="connsiteY1" fmla="*/ 39810 h 40401"/>
                <a:gd name="connsiteX2" fmla="*/ 592 w 40578"/>
                <a:gd name="connsiteY2" fmla="*/ 15676 h 40401"/>
                <a:gd name="connsiteX3" fmla="*/ 24726 w 40578"/>
                <a:gd name="connsiteY3" fmla="*/ 592 h 40401"/>
                <a:gd name="connsiteX4" fmla="*/ 39809 w 40578"/>
                <a:gd name="connsiteY4" fmla="*/ 24726 h 4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0401">
                  <a:moveTo>
                    <a:pt x="39809" y="24726"/>
                  </a:moveTo>
                  <a:cubicBezTo>
                    <a:pt x="36793" y="33776"/>
                    <a:pt x="27742" y="42826"/>
                    <a:pt x="15676" y="39810"/>
                  </a:cubicBezTo>
                  <a:cubicBezTo>
                    <a:pt x="6625" y="36793"/>
                    <a:pt x="-2425" y="27742"/>
                    <a:pt x="592" y="15676"/>
                  </a:cubicBezTo>
                  <a:cubicBezTo>
                    <a:pt x="3608" y="6625"/>
                    <a:pt x="12659" y="-2425"/>
                    <a:pt x="24726" y="592"/>
                  </a:cubicBezTo>
                  <a:cubicBezTo>
                    <a:pt x="36793" y="3608"/>
                    <a:pt x="42826" y="15676"/>
                    <a:pt x="39809" y="24726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1766732B-146B-42AE-BCEF-E974BF196737}"/>
                </a:ext>
              </a:extLst>
            </p:cNvPr>
            <p:cNvSpPr/>
            <p:nvPr/>
          </p:nvSpPr>
          <p:spPr>
            <a:xfrm>
              <a:off x="7592773" y="8952181"/>
              <a:ext cx="90998" cy="33184"/>
            </a:xfrm>
            <a:custGeom>
              <a:avLst/>
              <a:gdLst>
                <a:gd name="connsiteX0" fmla="*/ 8296 w 90998"/>
                <a:gd name="connsiteY0" fmla="*/ 33184 h 33184"/>
                <a:gd name="connsiteX1" fmla="*/ 2263 w 90998"/>
                <a:gd name="connsiteY1" fmla="*/ 30168 h 33184"/>
                <a:gd name="connsiteX2" fmla="*/ 2263 w 90998"/>
                <a:gd name="connsiteY2" fmla="*/ 18100 h 33184"/>
                <a:gd name="connsiteX3" fmla="*/ 86732 w 90998"/>
                <a:gd name="connsiteY3" fmla="*/ 9050 h 33184"/>
                <a:gd name="connsiteX4" fmla="*/ 89749 w 90998"/>
                <a:gd name="connsiteY4" fmla="*/ 21117 h 33184"/>
                <a:gd name="connsiteX5" fmla="*/ 77682 w 90998"/>
                <a:gd name="connsiteY5" fmla="*/ 24134 h 33184"/>
                <a:gd name="connsiteX6" fmla="*/ 11313 w 90998"/>
                <a:gd name="connsiteY6" fmla="*/ 30168 h 33184"/>
                <a:gd name="connsiteX7" fmla="*/ 8296 w 90998"/>
                <a:gd name="connsiteY7" fmla="*/ 33184 h 33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3184">
                  <a:moveTo>
                    <a:pt x="8296" y="33184"/>
                  </a:moveTo>
                  <a:cubicBezTo>
                    <a:pt x="5279" y="33184"/>
                    <a:pt x="5279" y="33184"/>
                    <a:pt x="2263" y="30168"/>
                  </a:cubicBezTo>
                  <a:cubicBezTo>
                    <a:pt x="-754" y="27151"/>
                    <a:pt x="-754" y="21117"/>
                    <a:pt x="2263" y="18100"/>
                  </a:cubicBezTo>
                  <a:cubicBezTo>
                    <a:pt x="29413" y="-9050"/>
                    <a:pt x="68631" y="0"/>
                    <a:pt x="86732" y="9050"/>
                  </a:cubicBezTo>
                  <a:cubicBezTo>
                    <a:pt x="89749" y="12067"/>
                    <a:pt x="92766" y="15084"/>
                    <a:pt x="89749" y="21117"/>
                  </a:cubicBezTo>
                  <a:cubicBezTo>
                    <a:pt x="86732" y="24134"/>
                    <a:pt x="83715" y="27151"/>
                    <a:pt x="77682" y="24134"/>
                  </a:cubicBezTo>
                  <a:cubicBezTo>
                    <a:pt x="74665" y="24134"/>
                    <a:pt x="38464" y="3017"/>
                    <a:pt x="11313" y="30168"/>
                  </a:cubicBezTo>
                  <a:cubicBezTo>
                    <a:pt x="14330" y="30168"/>
                    <a:pt x="11313" y="33184"/>
                    <a:pt x="8296" y="33184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BEFBEF9B-DE08-4C80-AE23-BD7C1D4D25B8}"/>
                </a:ext>
              </a:extLst>
            </p:cNvPr>
            <p:cNvSpPr/>
            <p:nvPr/>
          </p:nvSpPr>
          <p:spPr>
            <a:xfrm>
              <a:off x="7780825" y="8953186"/>
              <a:ext cx="90998" cy="35195"/>
            </a:xfrm>
            <a:custGeom>
              <a:avLst/>
              <a:gdLst>
                <a:gd name="connsiteX0" fmla="*/ 85719 w 90998"/>
                <a:gd name="connsiteY0" fmla="*/ 35196 h 35195"/>
                <a:gd name="connsiteX1" fmla="*/ 79686 w 90998"/>
                <a:gd name="connsiteY1" fmla="*/ 32179 h 35195"/>
                <a:gd name="connsiteX2" fmla="*/ 13317 w 90998"/>
                <a:gd name="connsiteY2" fmla="*/ 26145 h 35195"/>
                <a:gd name="connsiteX3" fmla="*/ 1250 w 90998"/>
                <a:gd name="connsiteY3" fmla="*/ 23128 h 35195"/>
                <a:gd name="connsiteX4" fmla="*/ 4267 w 90998"/>
                <a:gd name="connsiteY4" fmla="*/ 11062 h 35195"/>
                <a:gd name="connsiteX5" fmla="*/ 88736 w 90998"/>
                <a:gd name="connsiteY5" fmla="*/ 20112 h 35195"/>
                <a:gd name="connsiteX6" fmla="*/ 88736 w 90998"/>
                <a:gd name="connsiteY6" fmla="*/ 32179 h 35195"/>
                <a:gd name="connsiteX7" fmla="*/ 85719 w 90998"/>
                <a:gd name="connsiteY7" fmla="*/ 35196 h 3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5195">
                  <a:moveTo>
                    <a:pt x="85719" y="35196"/>
                  </a:moveTo>
                  <a:cubicBezTo>
                    <a:pt x="82702" y="35196"/>
                    <a:pt x="82702" y="35196"/>
                    <a:pt x="79686" y="32179"/>
                  </a:cubicBezTo>
                  <a:cubicBezTo>
                    <a:pt x="79686" y="32179"/>
                    <a:pt x="49518" y="2011"/>
                    <a:pt x="13317" y="26145"/>
                  </a:cubicBezTo>
                  <a:cubicBezTo>
                    <a:pt x="10300" y="29162"/>
                    <a:pt x="4267" y="26145"/>
                    <a:pt x="1250" y="23128"/>
                  </a:cubicBezTo>
                  <a:cubicBezTo>
                    <a:pt x="-1767" y="20112"/>
                    <a:pt x="1250" y="14078"/>
                    <a:pt x="4267" y="11062"/>
                  </a:cubicBezTo>
                  <a:cubicBezTo>
                    <a:pt x="40468" y="-13073"/>
                    <a:pt x="76669" y="8045"/>
                    <a:pt x="88736" y="20112"/>
                  </a:cubicBezTo>
                  <a:cubicBezTo>
                    <a:pt x="91752" y="23128"/>
                    <a:pt x="91752" y="29162"/>
                    <a:pt x="88736" y="32179"/>
                  </a:cubicBezTo>
                  <a:cubicBezTo>
                    <a:pt x="88736" y="35196"/>
                    <a:pt x="85719" y="35196"/>
                    <a:pt x="85719" y="35196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0B360CCD-1BED-4651-8F2E-6FB2804BEC82}"/>
                </a:ext>
              </a:extLst>
            </p:cNvPr>
            <p:cNvSpPr/>
            <p:nvPr/>
          </p:nvSpPr>
          <p:spPr>
            <a:xfrm>
              <a:off x="7650092" y="9268941"/>
              <a:ext cx="229769" cy="60335"/>
            </a:xfrm>
            <a:custGeom>
              <a:avLst/>
              <a:gdLst>
                <a:gd name="connsiteX0" fmla="*/ 80698 w 229769"/>
                <a:gd name="connsiteY0" fmla="*/ 60335 h 60335"/>
                <a:gd name="connsiteX1" fmla="*/ 80698 w 229769"/>
                <a:gd name="connsiteY1" fmla="*/ 60335 h 60335"/>
                <a:gd name="connsiteX2" fmla="*/ 2262 w 229769"/>
                <a:gd name="connsiteY2" fmla="*/ 33184 h 60335"/>
                <a:gd name="connsiteX3" fmla="*/ 2262 w 229769"/>
                <a:gd name="connsiteY3" fmla="*/ 24134 h 60335"/>
                <a:gd name="connsiteX4" fmla="*/ 11313 w 229769"/>
                <a:gd name="connsiteY4" fmla="*/ 24134 h 60335"/>
                <a:gd name="connsiteX5" fmla="*/ 80698 w 229769"/>
                <a:gd name="connsiteY5" fmla="*/ 48268 h 60335"/>
                <a:gd name="connsiteX6" fmla="*/ 80698 w 229769"/>
                <a:gd name="connsiteY6" fmla="*/ 48268 h 60335"/>
                <a:gd name="connsiteX7" fmla="*/ 219469 w 229769"/>
                <a:gd name="connsiteY7" fmla="*/ 0 h 60335"/>
                <a:gd name="connsiteX8" fmla="*/ 228519 w 229769"/>
                <a:gd name="connsiteY8" fmla="*/ 3016 h 60335"/>
                <a:gd name="connsiteX9" fmla="*/ 225503 w 229769"/>
                <a:gd name="connsiteY9" fmla="*/ 12067 h 60335"/>
                <a:gd name="connsiteX10" fmla="*/ 80698 w 229769"/>
                <a:gd name="connsiteY10" fmla="*/ 60335 h 60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9769" h="60335">
                  <a:moveTo>
                    <a:pt x="80698" y="60335"/>
                  </a:moveTo>
                  <a:cubicBezTo>
                    <a:pt x="80698" y="60335"/>
                    <a:pt x="80698" y="60335"/>
                    <a:pt x="80698" y="60335"/>
                  </a:cubicBezTo>
                  <a:cubicBezTo>
                    <a:pt x="38463" y="60335"/>
                    <a:pt x="5279" y="33184"/>
                    <a:pt x="2262" y="33184"/>
                  </a:cubicBezTo>
                  <a:cubicBezTo>
                    <a:pt x="-754" y="30168"/>
                    <a:pt x="-754" y="27151"/>
                    <a:pt x="2262" y="24134"/>
                  </a:cubicBezTo>
                  <a:cubicBezTo>
                    <a:pt x="5279" y="21117"/>
                    <a:pt x="8296" y="21117"/>
                    <a:pt x="11313" y="24134"/>
                  </a:cubicBezTo>
                  <a:cubicBezTo>
                    <a:pt x="11313" y="24134"/>
                    <a:pt x="41480" y="48268"/>
                    <a:pt x="80698" y="48268"/>
                  </a:cubicBezTo>
                  <a:cubicBezTo>
                    <a:pt x="80698" y="48268"/>
                    <a:pt x="80698" y="48268"/>
                    <a:pt x="80698" y="48268"/>
                  </a:cubicBezTo>
                  <a:cubicBezTo>
                    <a:pt x="128966" y="48268"/>
                    <a:pt x="216453" y="0"/>
                    <a:pt x="219469" y="0"/>
                  </a:cubicBezTo>
                  <a:cubicBezTo>
                    <a:pt x="222486" y="0"/>
                    <a:pt x="225503" y="0"/>
                    <a:pt x="228519" y="3016"/>
                  </a:cubicBezTo>
                  <a:cubicBezTo>
                    <a:pt x="231536" y="6033"/>
                    <a:pt x="228519" y="9050"/>
                    <a:pt x="225503" y="12067"/>
                  </a:cubicBezTo>
                  <a:cubicBezTo>
                    <a:pt x="222486" y="12067"/>
                    <a:pt x="131983" y="60335"/>
                    <a:pt x="80698" y="60335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314C30CE-90DF-43ED-99CD-63E32DB4D280}"/>
                </a:ext>
              </a:extLst>
            </p:cNvPr>
            <p:cNvSpPr/>
            <p:nvPr/>
          </p:nvSpPr>
          <p:spPr>
            <a:xfrm>
              <a:off x="7899728" y="8786259"/>
              <a:ext cx="111933" cy="265474"/>
            </a:xfrm>
            <a:custGeom>
              <a:avLst/>
              <a:gdLst>
                <a:gd name="connsiteX0" fmla="*/ 0 w 111933"/>
                <a:gd name="connsiteY0" fmla="*/ 126704 h 265474"/>
                <a:gd name="connsiteX1" fmla="*/ 48268 w 111933"/>
                <a:gd name="connsiteY1" fmla="*/ 265475 h 265474"/>
                <a:gd name="connsiteX2" fmla="*/ 105587 w 111933"/>
                <a:gd name="connsiteY2" fmla="*/ 165922 h 265474"/>
                <a:gd name="connsiteX3" fmla="*/ 48268 w 111933"/>
                <a:gd name="connsiteY3" fmla="*/ 0 h 265474"/>
                <a:gd name="connsiteX4" fmla="*/ 0 w 111933"/>
                <a:gd name="connsiteY4" fmla="*/ 126704 h 26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933" h="265474">
                  <a:moveTo>
                    <a:pt x="0" y="126704"/>
                  </a:moveTo>
                  <a:cubicBezTo>
                    <a:pt x="0" y="126704"/>
                    <a:pt x="54302" y="235307"/>
                    <a:pt x="48268" y="265475"/>
                  </a:cubicBezTo>
                  <a:cubicBezTo>
                    <a:pt x="48268" y="265475"/>
                    <a:pt x="90503" y="220223"/>
                    <a:pt x="105587" y="165922"/>
                  </a:cubicBezTo>
                  <a:cubicBezTo>
                    <a:pt x="120670" y="108603"/>
                    <a:pt x="111620" y="15084"/>
                    <a:pt x="48268" y="0"/>
                  </a:cubicBezTo>
                  <a:cubicBezTo>
                    <a:pt x="45251" y="0"/>
                    <a:pt x="39218" y="108603"/>
                    <a:pt x="0" y="126704"/>
                  </a:cubicBezTo>
                  <a:close/>
                </a:path>
              </a:pathLst>
            </a:custGeom>
            <a:solidFill>
              <a:srgbClr val="664241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C2FC2529-2A3A-4017-A469-B4AB89EB0FE6}"/>
                </a:ext>
              </a:extLst>
            </p:cNvPr>
            <p:cNvSpPr/>
            <p:nvPr/>
          </p:nvSpPr>
          <p:spPr>
            <a:xfrm>
              <a:off x="7444198" y="8672148"/>
              <a:ext cx="512481" cy="244594"/>
            </a:xfrm>
            <a:custGeom>
              <a:avLst/>
              <a:gdLst>
                <a:gd name="connsiteX0" fmla="*/ 455530 w 512481"/>
                <a:gd name="connsiteY0" fmla="*/ 240815 h 244594"/>
                <a:gd name="connsiteX1" fmla="*/ 334860 w 512481"/>
                <a:gd name="connsiteY1" fmla="*/ 201597 h 244594"/>
                <a:gd name="connsiteX2" fmla="*/ 0 w 512481"/>
                <a:gd name="connsiteY2" fmla="*/ 216681 h 244594"/>
                <a:gd name="connsiteX3" fmla="*/ 90503 w 512481"/>
                <a:gd name="connsiteY3" fmla="*/ 132212 h 244594"/>
                <a:gd name="connsiteX4" fmla="*/ 184022 w 512481"/>
                <a:gd name="connsiteY4" fmla="*/ 32659 h 244594"/>
                <a:gd name="connsiteX5" fmla="*/ 383128 w 512481"/>
                <a:gd name="connsiteY5" fmla="*/ 17575 h 244594"/>
                <a:gd name="connsiteX6" fmla="*/ 503799 w 512481"/>
                <a:gd name="connsiteY6" fmla="*/ 111095 h 244594"/>
                <a:gd name="connsiteX7" fmla="*/ 455530 w 512481"/>
                <a:gd name="connsiteY7" fmla="*/ 240815 h 244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2481" h="244594">
                  <a:moveTo>
                    <a:pt x="455530" y="240815"/>
                  </a:moveTo>
                  <a:cubicBezTo>
                    <a:pt x="455530" y="240815"/>
                    <a:pt x="362011" y="201597"/>
                    <a:pt x="334860" y="201597"/>
                  </a:cubicBezTo>
                  <a:cubicBezTo>
                    <a:pt x="235307" y="204614"/>
                    <a:pt x="147821" y="286067"/>
                    <a:pt x="0" y="216681"/>
                  </a:cubicBezTo>
                  <a:cubicBezTo>
                    <a:pt x="0" y="216681"/>
                    <a:pt x="63352" y="198580"/>
                    <a:pt x="90503" y="132212"/>
                  </a:cubicBezTo>
                  <a:cubicBezTo>
                    <a:pt x="90503" y="132212"/>
                    <a:pt x="93519" y="56793"/>
                    <a:pt x="184022" y="32659"/>
                  </a:cubicBezTo>
                  <a:cubicBezTo>
                    <a:pt x="274525" y="8525"/>
                    <a:pt x="313743" y="-18626"/>
                    <a:pt x="383128" y="17575"/>
                  </a:cubicBezTo>
                  <a:cubicBezTo>
                    <a:pt x="452514" y="56793"/>
                    <a:pt x="497765" y="74893"/>
                    <a:pt x="503799" y="111095"/>
                  </a:cubicBezTo>
                  <a:cubicBezTo>
                    <a:pt x="500782" y="114111"/>
                    <a:pt x="546033" y="228748"/>
                    <a:pt x="455530" y="240815"/>
                  </a:cubicBezTo>
                  <a:close/>
                </a:path>
              </a:pathLst>
            </a:custGeom>
            <a:solidFill>
              <a:srgbClr val="664241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4DF32CD0-F144-4DC7-ADB5-484BD47BBBA8}"/>
                </a:ext>
              </a:extLst>
            </p:cNvPr>
            <p:cNvSpPr/>
            <p:nvPr/>
          </p:nvSpPr>
          <p:spPr>
            <a:xfrm>
              <a:off x="7931572" y="9021378"/>
              <a:ext cx="77799" cy="109341"/>
            </a:xfrm>
            <a:custGeom>
              <a:avLst/>
              <a:gdLst>
                <a:gd name="connsiteX0" fmla="*/ 13408 w 77799"/>
                <a:gd name="connsiteY0" fmla="*/ 15272 h 109341"/>
                <a:gd name="connsiteX1" fmla="*/ 70727 w 77799"/>
                <a:gd name="connsiteY1" fmla="*/ 6222 h 109341"/>
                <a:gd name="connsiteX2" fmla="*/ 13408 w 77799"/>
                <a:gd name="connsiteY2" fmla="*/ 105775 h 109341"/>
                <a:gd name="connsiteX3" fmla="*/ 13408 w 77799"/>
                <a:gd name="connsiteY3" fmla="*/ 15272 h 109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99" h="109341">
                  <a:moveTo>
                    <a:pt x="13408" y="15272"/>
                  </a:moveTo>
                  <a:cubicBezTo>
                    <a:pt x="13408" y="15272"/>
                    <a:pt x="46592" y="-11879"/>
                    <a:pt x="70727" y="6222"/>
                  </a:cubicBezTo>
                  <a:cubicBezTo>
                    <a:pt x="94861" y="24322"/>
                    <a:pt x="52626" y="129909"/>
                    <a:pt x="13408" y="105775"/>
                  </a:cubicBezTo>
                  <a:cubicBezTo>
                    <a:pt x="-16760" y="87675"/>
                    <a:pt x="13408" y="15272"/>
                    <a:pt x="13408" y="15272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947B53CB-39DE-4CB5-AC80-2168B2944E3C}"/>
                </a:ext>
              </a:extLst>
            </p:cNvPr>
            <p:cNvSpPr/>
            <p:nvPr/>
          </p:nvSpPr>
          <p:spPr>
            <a:xfrm>
              <a:off x="7656125" y="9203326"/>
              <a:ext cx="119916" cy="32430"/>
            </a:xfrm>
            <a:custGeom>
              <a:avLst/>
              <a:gdLst>
                <a:gd name="connsiteX0" fmla="*/ 65615 w 119916"/>
                <a:gd name="connsiteY0" fmla="*/ 32430 h 32430"/>
                <a:gd name="connsiteX1" fmla="*/ 2262 w 119916"/>
                <a:gd name="connsiteY1" fmla="*/ 11313 h 32430"/>
                <a:gd name="connsiteX2" fmla="*/ 2262 w 119916"/>
                <a:gd name="connsiteY2" fmla="*/ 2263 h 32430"/>
                <a:gd name="connsiteX3" fmla="*/ 11313 w 119916"/>
                <a:gd name="connsiteY3" fmla="*/ 2263 h 32430"/>
                <a:gd name="connsiteX4" fmla="*/ 113883 w 119916"/>
                <a:gd name="connsiteY4" fmla="*/ 11313 h 32430"/>
                <a:gd name="connsiteX5" fmla="*/ 119916 w 119916"/>
                <a:gd name="connsiteY5" fmla="*/ 14330 h 32430"/>
                <a:gd name="connsiteX6" fmla="*/ 116899 w 119916"/>
                <a:gd name="connsiteY6" fmla="*/ 20363 h 32430"/>
                <a:gd name="connsiteX7" fmla="*/ 65615 w 119916"/>
                <a:gd name="connsiteY7" fmla="*/ 32430 h 32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916" h="32430">
                  <a:moveTo>
                    <a:pt x="65615" y="32430"/>
                  </a:moveTo>
                  <a:cubicBezTo>
                    <a:pt x="44497" y="32430"/>
                    <a:pt x="20363" y="29413"/>
                    <a:pt x="2262" y="11313"/>
                  </a:cubicBezTo>
                  <a:cubicBezTo>
                    <a:pt x="-754" y="8296"/>
                    <a:pt x="-754" y="5280"/>
                    <a:pt x="2262" y="2263"/>
                  </a:cubicBezTo>
                  <a:cubicBezTo>
                    <a:pt x="5279" y="-754"/>
                    <a:pt x="8296" y="-754"/>
                    <a:pt x="11313" y="2263"/>
                  </a:cubicBezTo>
                  <a:cubicBezTo>
                    <a:pt x="50531" y="32430"/>
                    <a:pt x="113883" y="11313"/>
                    <a:pt x="113883" y="11313"/>
                  </a:cubicBezTo>
                  <a:cubicBezTo>
                    <a:pt x="116899" y="11313"/>
                    <a:pt x="119916" y="11313"/>
                    <a:pt x="119916" y="14330"/>
                  </a:cubicBezTo>
                  <a:cubicBezTo>
                    <a:pt x="119916" y="17347"/>
                    <a:pt x="119916" y="20363"/>
                    <a:pt x="116899" y="20363"/>
                  </a:cubicBezTo>
                  <a:cubicBezTo>
                    <a:pt x="113883" y="23380"/>
                    <a:pt x="92765" y="32430"/>
                    <a:pt x="65615" y="32430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37CA5DF2-8B43-4990-A825-123BBF527CCB}"/>
                </a:ext>
              </a:extLst>
            </p:cNvPr>
            <p:cNvSpPr/>
            <p:nvPr/>
          </p:nvSpPr>
          <p:spPr>
            <a:xfrm>
              <a:off x="8112785" y="9694583"/>
              <a:ext cx="385686" cy="1227877"/>
            </a:xfrm>
            <a:custGeom>
              <a:avLst/>
              <a:gdLst>
                <a:gd name="connsiteX0" fmla="*/ 164038 w 385686"/>
                <a:gd name="connsiteY0" fmla="*/ 17821 h 1227877"/>
                <a:gd name="connsiteX1" fmla="*/ 22251 w 385686"/>
                <a:gd name="connsiteY1" fmla="*/ 186760 h 1227877"/>
                <a:gd name="connsiteX2" fmla="*/ 176106 w 385686"/>
                <a:gd name="connsiteY2" fmla="*/ 681509 h 1227877"/>
                <a:gd name="connsiteX3" fmla="*/ 236441 w 385686"/>
                <a:gd name="connsiteY3" fmla="*/ 1218492 h 1227877"/>
                <a:gd name="connsiteX4" fmla="*/ 375211 w 385686"/>
                <a:gd name="connsiteY4" fmla="*/ 1227542 h 1227877"/>
                <a:gd name="connsiteX5" fmla="*/ 384262 w 385686"/>
                <a:gd name="connsiteY5" fmla="*/ 669442 h 1227877"/>
                <a:gd name="connsiteX6" fmla="*/ 164038 w 385686"/>
                <a:gd name="connsiteY6" fmla="*/ 17821 h 1227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686" h="1227877">
                  <a:moveTo>
                    <a:pt x="164038" y="17821"/>
                  </a:moveTo>
                  <a:cubicBezTo>
                    <a:pt x="-29034" y="-39497"/>
                    <a:pt x="-13950" y="47989"/>
                    <a:pt x="22251" y="186760"/>
                  </a:cubicBezTo>
                  <a:cubicBezTo>
                    <a:pt x="58452" y="331565"/>
                    <a:pt x="176106" y="645308"/>
                    <a:pt x="176106" y="681509"/>
                  </a:cubicBezTo>
                  <a:cubicBezTo>
                    <a:pt x="197223" y="787095"/>
                    <a:pt x="236441" y="1218492"/>
                    <a:pt x="236441" y="1218492"/>
                  </a:cubicBezTo>
                  <a:cubicBezTo>
                    <a:pt x="269625" y="1230559"/>
                    <a:pt x="375211" y="1227542"/>
                    <a:pt x="375211" y="1227542"/>
                  </a:cubicBezTo>
                  <a:cubicBezTo>
                    <a:pt x="375211" y="1227542"/>
                    <a:pt x="390295" y="820280"/>
                    <a:pt x="384262" y="669442"/>
                  </a:cubicBezTo>
                  <a:cubicBezTo>
                    <a:pt x="378228" y="594023"/>
                    <a:pt x="357111" y="75141"/>
                    <a:pt x="164038" y="17821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07595CC7-3F93-439F-B13A-AFA0341C17CC}"/>
                </a:ext>
              </a:extLst>
            </p:cNvPr>
            <p:cNvSpPr/>
            <p:nvPr/>
          </p:nvSpPr>
          <p:spPr>
            <a:xfrm>
              <a:off x="8040870" y="9444825"/>
              <a:ext cx="419976" cy="584993"/>
            </a:xfrm>
            <a:custGeom>
              <a:avLst/>
              <a:gdLst>
                <a:gd name="connsiteX0" fmla="*/ 419976 w 419976"/>
                <a:gd name="connsiteY0" fmla="*/ 484786 h 584993"/>
                <a:gd name="connsiteX1" fmla="*/ 91150 w 419976"/>
                <a:gd name="connsiteY1" fmla="*/ 2105 h 584993"/>
                <a:gd name="connsiteX2" fmla="*/ 39864 w 419976"/>
                <a:gd name="connsiteY2" fmla="*/ 584339 h 584993"/>
                <a:gd name="connsiteX3" fmla="*/ 419976 w 419976"/>
                <a:gd name="connsiteY3" fmla="*/ 484786 h 584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9976" h="584993">
                  <a:moveTo>
                    <a:pt x="419976" y="484786"/>
                  </a:moveTo>
                  <a:cubicBezTo>
                    <a:pt x="419976" y="484786"/>
                    <a:pt x="341540" y="-37113"/>
                    <a:pt x="91150" y="2105"/>
                  </a:cubicBezTo>
                  <a:cubicBezTo>
                    <a:pt x="-77789" y="26238"/>
                    <a:pt x="39864" y="584339"/>
                    <a:pt x="39864" y="584339"/>
                  </a:cubicBezTo>
                  <a:cubicBezTo>
                    <a:pt x="39864" y="584339"/>
                    <a:pt x="241988" y="599423"/>
                    <a:pt x="419976" y="484786"/>
                  </a:cubicBez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6" name="图形 1">
              <a:extLst>
                <a:ext uri="{FF2B5EF4-FFF2-40B4-BE49-F238E27FC236}">
                  <a16:creationId xmlns:a16="http://schemas.microsoft.com/office/drawing/2014/main" id="{43F7E36E-CF1B-436D-97E4-0ECC580E9A03}"/>
                </a:ext>
              </a:extLst>
            </p:cNvPr>
            <p:cNvGrpSpPr/>
            <p:nvPr/>
          </p:nvGrpSpPr>
          <p:grpSpPr>
            <a:xfrm>
              <a:off x="8286391" y="10900337"/>
              <a:ext cx="230265" cy="392849"/>
              <a:chOff x="8286391" y="10900337"/>
              <a:chExt cx="230265" cy="392849"/>
            </a:xfrm>
          </p:grpSpPr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64A23B38-3F4C-4E80-BA2D-C7F2C93E6C49}"/>
                  </a:ext>
                </a:extLst>
              </p:cNvPr>
              <p:cNvSpPr/>
              <p:nvPr/>
            </p:nvSpPr>
            <p:spPr>
              <a:xfrm>
                <a:off x="8286391" y="10949276"/>
                <a:ext cx="65851" cy="233783"/>
              </a:xfrm>
              <a:custGeom>
                <a:avLst/>
                <a:gdLst>
                  <a:gd name="connsiteX0" fmla="*/ 65852 w 65851"/>
                  <a:gd name="connsiteY0" fmla="*/ 0 h 233783"/>
                  <a:gd name="connsiteX1" fmla="*/ 2500 w 65851"/>
                  <a:gd name="connsiteY1" fmla="*/ 96537 h 233783"/>
                  <a:gd name="connsiteX2" fmla="*/ 32668 w 65851"/>
                  <a:gd name="connsiteY2" fmla="*/ 229274 h 233783"/>
                  <a:gd name="connsiteX3" fmla="*/ 59818 w 65851"/>
                  <a:gd name="connsiteY3" fmla="*/ 205140 h 233783"/>
                  <a:gd name="connsiteX4" fmla="*/ 65852 w 65851"/>
                  <a:gd name="connsiteY4" fmla="*/ 0 h 233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851" h="233783">
                    <a:moveTo>
                      <a:pt x="65852" y="0"/>
                    </a:moveTo>
                    <a:cubicBezTo>
                      <a:pt x="65852" y="0"/>
                      <a:pt x="8534" y="54302"/>
                      <a:pt x="2500" y="96537"/>
                    </a:cubicBezTo>
                    <a:cubicBezTo>
                      <a:pt x="-3533" y="138771"/>
                      <a:pt x="-517" y="211173"/>
                      <a:pt x="32668" y="229274"/>
                    </a:cubicBezTo>
                    <a:cubicBezTo>
                      <a:pt x="65852" y="247375"/>
                      <a:pt x="59818" y="205140"/>
                      <a:pt x="59818" y="205140"/>
                    </a:cubicBezTo>
                    <a:lnTo>
                      <a:pt x="65852" y="0"/>
                    </a:lnTo>
                    <a:close/>
                  </a:path>
                </a:pathLst>
              </a:custGeom>
              <a:solidFill>
                <a:srgbClr val="F49F84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65A12D7D-F4D7-462C-8160-726326520D59}"/>
                  </a:ext>
                </a:extLst>
              </p:cNvPr>
              <p:cNvSpPr/>
              <p:nvPr/>
            </p:nvSpPr>
            <p:spPr>
              <a:xfrm>
                <a:off x="8315809" y="10900337"/>
                <a:ext cx="200847" cy="392849"/>
              </a:xfrm>
              <a:custGeom>
                <a:avLst/>
                <a:gdLst>
                  <a:gd name="connsiteX0" fmla="*/ 157104 w 200847"/>
                  <a:gd name="connsiteY0" fmla="*/ 6704 h 392849"/>
                  <a:gd name="connsiteX1" fmla="*/ 33417 w 200847"/>
                  <a:gd name="connsiteY1" fmla="*/ 6704 h 392849"/>
                  <a:gd name="connsiteX2" fmla="*/ 233 w 200847"/>
                  <a:gd name="connsiteY2" fmla="*/ 275195 h 392849"/>
                  <a:gd name="connsiteX3" fmla="*/ 27384 w 200847"/>
                  <a:gd name="connsiteY3" fmla="*/ 344581 h 392849"/>
                  <a:gd name="connsiteX4" fmla="*/ 39451 w 200847"/>
                  <a:gd name="connsiteY4" fmla="*/ 326481 h 392849"/>
                  <a:gd name="connsiteX5" fmla="*/ 48501 w 200847"/>
                  <a:gd name="connsiteY5" fmla="*/ 281229 h 392849"/>
                  <a:gd name="connsiteX6" fmla="*/ 63585 w 200847"/>
                  <a:gd name="connsiteY6" fmla="*/ 341564 h 392849"/>
                  <a:gd name="connsiteX7" fmla="*/ 102803 w 200847"/>
                  <a:gd name="connsiteY7" fmla="*/ 392850 h 392849"/>
                  <a:gd name="connsiteX8" fmla="*/ 120903 w 200847"/>
                  <a:gd name="connsiteY8" fmla="*/ 365698 h 392849"/>
                  <a:gd name="connsiteX9" fmla="*/ 135987 w 200847"/>
                  <a:gd name="connsiteY9" fmla="*/ 368715 h 392849"/>
                  <a:gd name="connsiteX10" fmla="*/ 154088 w 200847"/>
                  <a:gd name="connsiteY10" fmla="*/ 293296 h 392849"/>
                  <a:gd name="connsiteX11" fmla="*/ 154088 w 200847"/>
                  <a:gd name="connsiteY11" fmla="*/ 235978 h 392849"/>
                  <a:gd name="connsiteX12" fmla="*/ 193306 w 200847"/>
                  <a:gd name="connsiteY12" fmla="*/ 290279 h 392849"/>
                  <a:gd name="connsiteX13" fmla="*/ 199339 w 200847"/>
                  <a:gd name="connsiteY13" fmla="*/ 235978 h 392849"/>
                  <a:gd name="connsiteX14" fmla="*/ 184255 w 200847"/>
                  <a:gd name="connsiteY14" fmla="*/ 136425 h 392849"/>
                  <a:gd name="connsiteX15" fmla="*/ 181238 w 200847"/>
                  <a:gd name="connsiteY15" fmla="*/ 39888 h 392849"/>
                  <a:gd name="connsiteX16" fmla="*/ 157104 w 200847"/>
                  <a:gd name="connsiteY16" fmla="*/ 6704 h 392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00847" h="392849">
                    <a:moveTo>
                      <a:pt x="157104" y="6704"/>
                    </a:moveTo>
                    <a:cubicBezTo>
                      <a:pt x="117887" y="-8380"/>
                      <a:pt x="30400" y="6704"/>
                      <a:pt x="33417" y="6704"/>
                    </a:cubicBezTo>
                    <a:cubicBezTo>
                      <a:pt x="24367" y="94190"/>
                      <a:pt x="-2784" y="187710"/>
                      <a:pt x="233" y="275195"/>
                    </a:cubicBezTo>
                    <a:cubicBezTo>
                      <a:pt x="233" y="290279"/>
                      <a:pt x="233" y="350614"/>
                      <a:pt x="27384" y="344581"/>
                    </a:cubicBezTo>
                    <a:cubicBezTo>
                      <a:pt x="36434" y="341564"/>
                      <a:pt x="39451" y="335531"/>
                      <a:pt x="39451" y="326481"/>
                    </a:cubicBezTo>
                    <a:cubicBezTo>
                      <a:pt x="42468" y="311397"/>
                      <a:pt x="45484" y="296313"/>
                      <a:pt x="48501" y="281229"/>
                    </a:cubicBezTo>
                    <a:cubicBezTo>
                      <a:pt x="51517" y="302347"/>
                      <a:pt x="57551" y="320447"/>
                      <a:pt x="63585" y="341564"/>
                    </a:cubicBezTo>
                    <a:cubicBezTo>
                      <a:pt x="69618" y="356648"/>
                      <a:pt x="84702" y="392850"/>
                      <a:pt x="102803" y="392850"/>
                    </a:cubicBezTo>
                    <a:cubicBezTo>
                      <a:pt x="114870" y="392850"/>
                      <a:pt x="117887" y="380782"/>
                      <a:pt x="120903" y="365698"/>
                    </a:cubicBezTo>
                    <a:cubicBezTo>
                      <a:pt x="123920" y="371732"/>
                      <a:pt x="129953" y="371732"/>
                      <a:pt x="135987" y="368715"/>
                    </a:cubicBezTo>
                    <a:cubicBezTo>
                      <a:pt x="154088" y="356648"/>
                      <a:pt x="154088" y="314414"/>
                      <a:pt x="154088" y="293296"/>
                    </a:cubicBezTo>
                    <a:cubicBezTo>
                      <a:pt x="154088" y="275195"/>
                      <a:pt x="154088" y="257096"/>
                      <a:pt x="154088" y="235978"/>
                    </a:cubicBezTo>
                    <a:cubicBezTo>
                      <a:pt x="163138" y="269162"/>
                      <a:pt x="175205" y="302347"/>
                      <a:pt x="193306" y="290279"/>
                    </a:cubicBezTo>
                    <a:cubicBezTo>
                      <a:pt x="205372" y="281229"/>
                      <a:pt x="199339" y="248045"/>
                      <a:pt x="199339" y="235978"/>
                    </a:cubicBezTo>
                    <a:cubicBezTo>
                      <a:pt x="196322" y="202793"/>
                      <a:pt x="187272" y="169609"/>
                      <a:pt x="184255" y="136425"/>
                    </a:cubicBezTo>
                    <a:cubicBezTo>
                      <a:pt x="181238" y="103241"/>
                      <a:pt x="184255" y="73073"/>
                      <a:pt x="181238" y="39888"/>
                    </a:cubicBezTo>
                    <a:cubicBezTo>
                      <a:pt x="184255" y="24805"/>
                      <a:pt x="181238" y="18771"/>
                      <a:pt x="157104" y="6704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7DB8A4C5-F0F7-43AA-928C-68A67DC39023}"/>
                  </a:ext>
                </a:extLst>
              </p:cNvPr>
              <p:cNvSpPr/>
              <p:nvPr/>
            </p:nvSpPr>
            <p:spPr>
              <a:xfrm>
                <a:off x="8405811" y="11110932"/>
                <a:ext cx="38915" cy="170187"/>
              </a:xfrm>
              <a:custGeom>
                <a:avLst/>
                <a:gdLst>
                  <a:gd name="connsiteX0" fmla="*/ 33918 w 38915"/>
                  <a:gd name="connsiteY0" fmla="*/ 170188 h 170187"/>
                  <a:gd name="connsiteX1" fmla="*/ 27884 w 38915"/>
                  <a:gd name="connsiteY1" fmla="*/ 167171 h 170187"/>
                  <a:gd name="connsiteX2" fmla="*/ 733 w 38915"/>
                  <a:gd name="connsiteY2" fmla="*/ 4266 h 170187"/>
                  <a:gd name="connsiteX3" fmla="*/ 6767 w 38915"/>
                  <a:gd name="connsiteY3" fmla="*/ 1250 h 170187"/>
                  <a:gd name="connsiteX4" fmla="*/ 9784 w 38915"/>
                  <a:gd name="connsiteY4" fmla="*/ 7283 h 170187"/>
                  <a:gd name="connsiteX5" fmla="*/ 36934 w 38915"/>
                  <a:gd name="connsiteY5" fmla="*/ 164155 h 170187"/>
                  <a:gd name="connsiteX6" fmla="*/ 33918 w 38915"/>
                  <a:gd name="connsiteY6" fmla="*/ 170188 h 170187"/>
                  <a:gd name="connsiteX7" fmla="*/ 33918 w 38915"/>
                  <a:gd name="connsiteY7" fmla="*/ 170188 h 170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915" h="170187">
                    <a:moveTo>
                      <a:pt x="33918" y="170188"/>
                    </a:moveTo>
                    <a:cubicBezTo>
                      <a:pt x="30901" y="170188"/>
                      <a:pt x="27884" y="167171"/>
                      <a:pt x="27884" y="167171"/>
                    </a:cubicBezTo>
                    <a:cubicBezTo>
                      <a:pt x="27884" y="161138"/>
                      <a:pt x="-5300" y="40467"/>
                      <a:pt x="733" y="4266"/>
                    </a:cubicBezTo>
                    <a:cubicBezTo>
                      <a:pt x="733" y="1250"/>
                      <a:pt x="3750" y="-1767"/>
                      <a:pt x="6767" y="1250"/>
                    </a:cubicBezTo>
                    <a:cubicBezTo>
                      <a:pt x="9784" y="1250"/>
                      <a:pt x="12801" y="4266"/>
                      <a:pt x="9784" y="7283"/>
                    </a:cubicBezTo>
                    <a:cubicBezTo>
                      <a:pt x="3750" y="40467"/>
                      <a:pt x="36934" y="164155"/>
                      <a:pt x="36934" y="164155"/>
                    </a:cubicBezTo>
                    <a:cubicBezTo>
                      <a:pt x="39951" y="164155"/>
                      <a:pt x="39951" y="167171"/>
                      <a:pt x="33918" y="170188"/>
                    </a:cubicBezTo>
                    <a:cubicBezTo>
                      <a:pt x="33918" y="170188"/>
                      <a:pt x="33918" y="170188"/>
                      <a:pt x="33918" y="1701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285ACA3C-953C-4A78-8C65-80380580D02A}"/>
                  </a:ext>
                </a:extLst>
              </p:cNvPr>
              <p:cNvSpPr/>
              <p:nvPr/>
            </p:nvSpPr>
            <p:spPr>
              <a:xfrm>
                <a:off x="8463863" y="11085030"/>
                <a:ext cx="15083" cy="66369"/>
              </a:xfrm>
              <a:custGeom>
                <a:avLst/>
                <a:gdLst>
                  <a:gd name="connsiteX0" fmla="*/ 9050 w 15083"/>
                  <a:gd name="connsiteY0" fmla="*/ 66369 h 66369"/>
                  <a:gd name="connsiteX1" fmla="*/ 3016 w 15083"/>
                  <a:gd name="connsiteY1" fmla="*/ 60335 h 66369"/>
                  <a:gd name="connsiteX2" fmla="*/ 0 w 15083"/>
                  <a:gd name="connsiteY2" fmla="*/ 6034 h 66369"/>
                  <a:gd name="connsiteX3" fmla="*/ 6033 w 15083"/>
                  <a:gd name="connsiteY3" fmla="*/ 0 h 66369"/>
                  <a:gd name="connsiteX4" fmla="*/ 12067 w 15083"/>
                  <a:gd name="connsiteY4" fmla="*/ 6034 h 66369"/>
                  <a:gd name="connsiteX5" fmla="*/ 15084 w 15083"/>
                  <a:gd name="connsiteY5" fmla="*/ 60335 h 66369"/>
                  <a:gd name="connsiteX6" fmla="*/ 9050 w 15083"/>
                  <a:gd name="connsiteY6" fmla="*/ 66369 h 66369"/>
                  <a:gd name="connsiteX7" fmla="*/ 9050 w 15083"/>
                  <a:gd name="connsiteY7" fmla="*/ 66369 h 66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083" h="66369">
                    <a:moveTo>
                      <a:pt x="9050" y="66369"/>
                    </a:moveTo>
                    <a:cubicBezTo>
                      <a:pt x="6033" y="66369"/>
                      <a:pt x="3016" y="63352"/>
                      <a:pt x="3016" y="60335"/>
                    </a:cubicBezTo>
                    <a:lnTo>
                      <a:pt x="0" y="6034"/>
                    </a:lnTo>
                    <a:cubicBezTo>
                      <a:pt x="0" y="3017"/>
                      <a:pt x="3016" y="0"/>
                      <a:pt x="6033" y="0"/>
                    </a:cubicBezTo>
                    <a:cubicBezTo>
                      <a:pt x="9050" y="0"/>
                      <a:pt x="12067" y="3017"/>
                      <a:pt x="12067" y="6034"/>
                    </a:cubicBezTo>
                    <a:lnTo>
                      <a:pt x="15084" y="60335"/>
                    </a:lnTo>
                    <a:cubicBezTo>
                      <a:pt x="15084" y="63352"/>
                      <a:pt x="12067" y="66369"/>
                      <a:pt x="9050" y="66369"/>
                    </a:cubicBezTo>
                    <a:lnTo>
                      <a:pt x="9050" y="66369"/>
                    </a:lnTo>
                    <a:close/>
                  </a:path>
                </a:pathLst>
              </a:custGeom>
              <a:solidFill>
                <a:srgbClr val="E87952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223220D7-C97B-406F-95A9-8A541C39074A}"/>
                  </a:ext>
                </a:extLst>
              </p:cNvPr>
              <p:cNvSpPr/>
              <p:nvPr/>
            </p:nvSpPr>
            <p:spPr>
              <a:xfrm>
                <a:off x="8364310" y="11039778"/>
                <a:ext cx="105586" cy="21117"/>
              </a:xfrm>
              <a:custGeom>
                <a:avLst/>
                <a:gdLst>
                  <a:gd name="connsiteX0" fmla="*/ 57318 w 105586"/>
                  <a:gd name="connsiteY0" fmla="*/ 21118 h 21117"/>
                  <a:gd name="connsiteX1" fmla="*/ 3016 w 105586"/>
                  <a:gd name="connsiteY1" fmla="*/ 9051 h 21117"/>
                  <a:gd name="connsiteX2" fmla="*/ 0 w 105586"/>
                  <a:gd name="connsiteY2" fmla="*/ 3017 h 21117"/>
                  <a:gd name="connsiteX3" fmla="*/ 6033 w 105586"/>
                  <a:gd name="connsiteY3" fmla="*/ 0 h 21117"/>
                  <a:gd name="connsiteX4" fmla="*/ 99553 w 105586"/>
                  <a:gd name="connsiteY4" fmla="*/ 0 h 21117"/>
                  <a:gd name="connsiteX5" fmla="*/ 105587 w 105586"/>
                  <a:gd name="connsiteY5" fmla="*/ 3017 h 21117"/>
                  <a:gd name="connsiteX6" fmla="*/ 102570 w 105586"/>
                  <a:gd name="connsiteY6" fmla="*/ 9051 h 21117"/>
                  <a:gd name="connsiteX7" fmla="*/ 57318 w 105586"/>
                  <a:gd name="connsiteY7" fmla="*/ 21118 h 21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5586" h="21117">
                    <a:moveTo>
                      <a:pt x="57318" y="21118"/>
                    </a:moveTo>
                    <a:cubicBezTo>
                      <a:pt x="27151" y="21118"/>
                      <a:pt x="3016" y="12068"/>
                      <a:pt x="3016" y="9051"/>
                    </a:cubicBezTo>
                    <a:cubicBezTo>
                      <a:pt x="0" y="9051"/>
                      <a:pt x="0" y="3017"/>
                      <a:pt x="0" y="3017"/>
                    </a:cubicBezTo>
                    <a:cubicBezTo>
                      <a:pt x="0" y="0"/>
                      <a:pt x="6033" y="0"/>
                      <a:pt x="6033" y="0"/>
                    </a:cubicBezTo>
                    <a:cubicBezTo>
                      <a:pt x="6033" y="0"/>
                      <a:pt x="51285" y="21118"/>
                      <a:pt x="99553" y="0"/>
                    </a:cubicBezTo>
                    <a:cubicBezTo>
                      <a:pt x="102570" y="0"/>
                      <a:pt x="105587" y="0"/>
                      <a:pt x="105587" y="3017"/>
                    </a:cubicBezTo>
                    <a:cubicBezTo>
                      <a:pt x="105587" y="6034"/>
                      <a:pt x="105587" y="9051"/>
                      <a:pt x="102570" y="9051"/>
                    </a:cubicBezTo>
                    <a:cubicBezTo>
                      <a:pt x="90503" y="18101"/>
                      <a:pt x="72402" y="21118"/>
                      <a:pt x="57318" y="21118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B61F8118-65C7-4D59-A4C6-0230EA5F3944}"/>
                  </a:ext>
                </a:extLst>
              </p:cNvPr>
              <p:cNvSpPr/>
              <p:nvPr/>
            </p:nvSpPr>
            <p:spPr>
              <a:xfrm>
                <a:off x="8313253" y="10996294"/>
                <a:ext cx="60106" cy="260691"/>
              </a:xfrm>
              <a:custGeom>
                <a:avLst/>
                <a:gdLst>
                  <a:gd name="connsiteX0" fmla="*/ 29939 w 60106"/>
                  <a:gd name="connsiteY0" fmla="*/ 260691 h 260691"/>
                  <a:gd name="connsiteX1" fmla="*/ 20889 w 60106"/>
                  <a:gd name="connsiteY1" fmla="*/ 257674 h 260691"/>
                  <a:gd name="connsiteX2" fmla="*/ 17872 w 60106"/>
                  <a:gd name="connsiteY2" fmla="*/ 4267 h 260691"/>
                  <a:gd name="connsiteX3" fmla="*/ 23905 w 60106"/>
                  <a:gd name="connsiteY3" fmla="*/ 1250 h 260691"/>
                  <a:gd name="connsiteX4" fmla="*/ 26922 w 60106"/>
                  <a:gd name="connsiteY4" fmla="*/ 7284 h 260691"/>
                  <a:gd name="connsiteX5" fmla="*/ 26922 w 60106"/>
                  <a:gd name="connsiteY5" fmla="*/ 251641 h 260691"/>
                  <a:gd name="connsiteX6" fmla="*/ 29939 w 60106"/>
                  <a:gd name="connsiteY6" fmla="*/ 251641 h 260691"/>
                  <a:gd name="connsiteX7" fmla="*/ 48039 w 60106"/>
                  <a:gd name="connsiteY7" fmla="*/ 194322 h 260691"/>
                  <a:gd name="connsiteX8" fmla="*/ 45023 w 60106"/>
                  <a:gd name="connsiteY8" fmla="*/ 103819 h 260691"/>
                  <a:gd name="connsiteX9" fmla="*/ 51056 w 60106"/>
                  <a:gd name="connsiteY9" fmla="*/ 97786 h 260691"/>
                  <a:gd name="connsiteX10" fmla="*/ 57090 w 60106"/>
                  <a:gd name="connsiteY10" fmla="*/ 103819 h 260691"/>
                  <a:gd name="connsiteX11" fmla="*/ 60107 w 60106"/>
                  <a:gd name="connsiteY11" fmla="*/ 188289 h 260691"/>
                  <a:gd name="connsiteX12" fmla="*/ 60107 w 60106"/>
                  <a:gd name="connsiteY12" fmla="*/ 191306 h 260691"/>
                  <a:gd name="connsiteX13" fmla="*/ 35973 w 60106"/>
                  <a:gd name="connsiteY13" fmla="*/ 257674 h 260691"/>
                  <a:gd name="connsiteX14" fmla="*/ 29939 w 60106"/>
                  <a:gd name="connsiteY14" fmla="*/ 260691 h 260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0106" h="260691">
                    <a:moveTo>
                      <a:pt x="29939" y="260691"/>
                    </a:moveTo>
                    <a:cubicBezTo>
                      <a:pt x="26922" y="260691"/>
                      <a:pt x="23905" y="260691"/>
                      <a:pt x="20889" y="257674"/>
                    </a:cubicBezTo>
                    <a:cubicBezTo>
                      <a:pt x="-3245" y="239574"/>
                      <a:pt x="-9279" y="140021"/>
                      <a:pt x="17872" y="4267"/>
                    </a:cubicBezTo>
                    <a:cubicBezTo>
                      <a:pt x="17872" y="1250"/>
                      <a:pt x="20889" y="-1767"/>
                      <a:pt x="23905" y="1250"/>
                    </a:cubicBezTo>
                    <a:cubicBezTo>
                      <a:pt x="26922" y="1250"/>
                      <a:pt x="29939" y="4267"/>
                      <a:pt x="26922" y="7284"/>
                    </a:cubicBezTo>
                    <a:cubicBezTo>
                      <a:pt x="-3245" y="155105"/>
                      <a:pt x="11838" y="239574"/>
                      <a:pt x="26922" y="251641"/>
                    </a:cubicBezTo>
                    <a:cubicBezTo>
                      <a:pt x="26922" y="251641"/>
                      <a:pt x="29939" y="251641"/>
                      <a:pt x="29939" y="251641"/>
                    </a:cubicBezTo>
                    <a:cubicBezTo>
                      <a:pt x="45023" y="245607"/>
                      <a:pt x="48039" y="209406"/>
                      <a:pt x="48039" y="194322"/>
                    </a:cubicBezTo>
                    <a:cubicBezTo>
                      <a:pt x="42006" y="176222"/>
                      <a:pt x="42006" y="115887"/>
                      <a:pt x="45023" y="103819"/>
                    </a:cubicBezTo>
                    <a:cubicBezTo>
                      <a:pt x="45023" y="100803"/>
                      <a:pt x="48039" y="97786"/>
                      <a:pt x="51056" y="97786"/>
                    </a:cubicBezTo>
                    <a:cubicBezTo>
                      <a:pt x="54073" y="97786"/>
                      <a:pt x="57090" y="100803"/>
                      <a:pt x="57090" y="103819"/>
                    </a:cubicBezTo>
                    <a:cubicBezTo>
                      <a:pt x="54073" y="133987"/>
                      <a:pt x="57090" y="179238"/>
                      <a:pt x="60107" y="188289"/>
                    </a:cubicBezTo>
                    <a:cubicBezTo>
                      <a:pt x="60107" y="188289"/>
                      <a:pt x="60107" y="191306"/>
                      <a:pt x="60107" y="191306"/>
                    </a:cubicBezTo>
                    <a:cubicBezTo>
                      <a:pt x="60107" y="197339"/>
                      <a:pt x="60107" y="248624"/>
                      <a:pt x="35973" y="257674"/>
                    </a:cubicBezTo>
                    <a:cubicBezTo>
                      <a:pt x="32956" y="260691"/>
                      <a:pt x="29939" y="260691"/>
                      <a:pt x="29939" y="260691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0A0A2CFF-82D4-432C-97CD-D55ED9FC7113}"/>
                </a:ext>
              </a:extLst>
            </p:cNvPr>
            <p:cNvSpPr/>
            <p:nvPr/>
          </p:nvSpPr>
          <p:spPr>
            <a:xfrm>
              <a:off x="8034181" y="9437879"/>
              <a:ext cx="236609" cy="594301"/>
            </a:xfrm>
            <a:custGeom>
              <a:avLst/>
              <a:gdLst>
                <a:gd name="connsiteX0" fmla="*/ 40520 w 236609"/>
                <a:gd name="connsiteY0" fmla="*/ 594302 h 594301"/>
                <a:gd name="connsiteX1" fmla="*/ 40520 w 236609"/>
                <a:gd name="connsiteY1" fmla="*/ 588269 h 594301"/>
                <a:gd name="connsiteX2" fmla="*/ 1302 w 236609"/>
                <a:gd name="connsiteY2" fmla="*/ 214190 h 594301"/>
                <a:gd name="connsiteX3" fmla="*/ 43537 w 236609"/>
                <a:gd name="connsiteY3" fmla="*/ 33184 h 594301"/>
                <a:gd name="connsiteX4" fmla="*/ 94822 w 236609"/>
                <a:gd name="connsiteY4" fmla="*/ 0 h 594301"/>
                <a:gd name="connsiteX5" fmla="*/ 100855 w 236609"/>
                <a:gd name="connsiteY5" fmla="*/ 6033 h 594301"/>
                <a:gd name="connsiteX6" fmla="*/ 94822 w 236609"/>
                <a:gd name="connsiteY6" fmla="*/ 12067 h 594301"/>
                <a:gd name="connsiteX7" fmla="*/ 49570 w 236609"/>
                <a:gd name="connsiteY7" fmla="*/ 42235 h 594301"/>
                <a:gd name="connsiteX8" fmla="*/ 10352 w 236609"/>
                <a:gd name="connsiteY8" fmla="*/ 214190 h 594301"/>
                <a:gd name="connsiteX9" fmla="*/ 49570 w 236609"/>
                <a:gd name="connsiteY9" fmla="*/ 582235 h 594301"/>
                <a:gd name="connsiteX10" fmla="*/ 230576 w 236609"/>
                <a:gd name="connsiteY10" fmla="*/ 564134 h 594301"/>
                <a:gd name="connsiteX11" fmla="*/ 236609 w 236609"/>
                <a:gd name="connsiteY11" fmla="*/ 567151 h 594301"/>
                <a:gd name="connsiteX12" fmla="*/ 233593 w 236609"/>
                <a:gd name="connsiteY12" fmla="*/ 573185 h 594301"/>
                <a:gd name="connsiteX13" fmla="*/ 43537 w 236609"/>
                <a:gd name="connsiteY13" fmla="*/ 591285 h 594301"/>
                <a:gd name="connsiteX14" fmla="*/ 40520 w 236609"/>
                <a:gd name="connsiteY14" fmla="*/ 594302 h 59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6609" h="594301">
                  <a:moveTo>
                    <a:pt x="40520" y="594302"/>
                  </a:moveTo>
                  <a:lnTo>
                    <a:pt x="40520" y="588269"/>
                  </a:lnTo>
                  <a:cubicBezTo>
                    <a:pt x="40520" y="585252"/>
                    <a:pt x="13369" y="407263"/>
                    <a:pt x="1302" y="214190"/>
                  </a:cubicBezTo>
                  <a:cubicBezTo>
                    <a:pt x="-4732" y="132738"/>
                    <a:pt x="10352" y="72403"/>
                    <a:pt x="43537" y="33184"/>
                  </a:cubicBezTo>
                  <a:cubicBezTo>
                    <a:pt x="67671" y="3017"/>
                    <a:pt x="94822" y="0"/>
                    <a:pt x="94822" y="0"/>
                  </a:cubicBezTo>
                  <a:cubicBezTo>
                    <a:pt x="97838" y="0"/>
                    <a:pt x="100855" y="3017"/>
                    <a:pt x="100855" y="6033"/>
                  </a:cubicBezTo>
                  <a:cubicBezTo>
                    <a:pt x="100855" y="9050"/>
                    <a:pt x="97838" y="12067"/>
                    <a:pt x="94822" y="12067"/>
                  </a:cubicBezTo>
                  <a:cubicBezTo>
                    <a:pt x="94822" y="12067"/>
                    <a:pt x="70687" y="15084"/>
                    <a:pt x="49570" y="42235"/>
                  </a:cubicBezTo>
                  <a:cubicBezTo>
                    <a:pt x="28453" y="66369"/>
                    <a:pt x="4319" y="117654"/>
                    <a:pt x="10352" y="214190"/>
                  </a:cubicBezTo>
                  <a:cubicBezTo>
                    <a:pt x="19403" y="386145"/>
                    <a:pt x="43537" y="552067"/>
                    <a:pt x="49570" y="582235"/>
                  </a:cubicBezTo>
                  <a:cubicBezTo>
                    <a:pt x="73704" y="582235"/>
                    <a:pt x="188341" y="576201"/>
                    <a:pt x="230576" y="564134"/>
                  </a:cubicBezTo>
                  <a:cubicBezTo>
                    <a:pt x="233593" y="564134"/>
                    <a:pt x="236609" y="564134"/>
                    <a:pt x="236609" y="567151"/>
                  </a:cubicBezTo>
                  <a:cubicBezTo>
                    <a:pt x="236609" y="570168"/>
                    <a:pt x="236609" y="573185"/>
                    <a:pt x="233593" y="573185"/>
                  </a:cubicBezTo>
                  <a:cubicBezTo>
                    <a:pt x="182307" y="588269"/>
                    <a:pt x="49570" y="591285"/>
                    <a:pt x="43537" y="591285"/>
                  </a:cubicBezTo>
                  <a:lnTo>
                    <a:pt x="40520" y="594302"/>
                  </a:ln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518987883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EBEA712D-3BB0-4964-8196-C5A8E5D45BC2}"/>
              </a:ext>
            </a:extLst>
          </p:cNvPr>
          <p:cNvGrpSpPr/>
          <p:nvPr/>
        </p:nvGrpSpPr>
        <p:grpSpPr>
          <a:xfrm>
            <a:off x="5686038" y="2387688"/>
            <a:ext cx="4499172" cy="4470312"/>
            <a:chOff x="13856645" y="8065779"/>
            <a:chExt cx="4499172" cy="4470312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0D3F9C43-F98D-49A2-B3EB-CA04B54FD1A3}"/>
                </a:ext>
              </a:extLst>
            </p:cNvPr>
            <p:cNvSpPr/>
            <p:nvPr/>
          </p:nvSpPr>
          <p:spPr>
            <a:xfrm>
              <a:off x="14171572" y="8906168"/>
              <a:ext cx="1259118" cy="312509"/>
            </a:xfrm>
            <a:custGeom>
              <a:avLst/>
              <a:gdLst>
                <a:gd name="connsiteX0" fmla="*/ 1227822 w 1259118"/>
                <a:gd name="connsiteY0" fmla="*/ 169700 h 312509"/>
                <a:gd name="connsiteX1" fmla="*/ 1080001 w 1259118"/>
                <a:gd name="connsiteY1" fmla="*/ 6796 h 312509"/>
                <a:gd name="connsiteX2" fmla="*/ 570168 w 1259118"/>
                <a:gd name="connsiteY2" fmla="*/ 97298 h 312509"/>
                <a:gd name="connsiteX3" fmla="*/ 27152 w 1259118"/>
                <a:gd name="connsiteY3" fmla="*/ 88248 h 312509"/>
                <a:gd name="connsiteX4" fmla="*/ 0 w 1259118"/>
                <a:gd name="connsiteY4" fmla="*/ 224002 h 312509"/>
                <a:gd name="connsiteX5" fmla="*/ 552068 w 1259118"/>
                <a:gd name="connsiteY5" fmla="*/ 305455 h 312509"/>
                <a:gd name="connsiteX6" fmla="*/ 1227822 w 1259118"/>
                <a:gd name="connsiteY6" fmla="*/ 169700 h 312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9118" h="312509">
                  <a:moveTo>
                    <a:pt x="1227822" y="169700"/>
                  </a:moveTo>
                  <a:cubicBezTo>
                    <a:pt x="1309275" y="-14322"/>
                    <a:pt x="1221788" y="-8288"/>
                    <a:pt x="1080001" y="6796"/>
                  </a:cubicBezTo>
                  <a:cubicBezTo>
                    <a:pt x="932180" y="24896"/>
                    <a:pt x="606369" y="100315"/>
                    <a:pt x="570168" y="97298"/>
                  </a:cubicBezTo>
                  <a:cubicBezTo>
                    <a:pt x="461565" y="106349"/>
                    <a:pt x="27152" y="88248"/>
                    <a:pt x="27152" y="88248"/>
                  </a:cubicBezTo>
                  <a:cubicBezTo>
                    <a:pt x="9051" y="118416"/>
                    <a:pt x="0" y="224002"/>
                    <a:pt x="0" y="224002"/>
                  </a:cubicBezTo>
                  <a:cubicBezTo>
                    <a:pt x="0" y="224002"/>
                    <a:pt x="401230" y="293388"/>
                    <a:pt x="552068" y="305455"/>
                  </a:cubicBezTo>
                  <a:cubicBezTo>
                    <a:pt x="630504" y="308472"/>
                    <a:pt x="1146369" y="353723"/>
                    <a:pt x="1227822" y="169700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F133B80B-9338-4E5D-A1C6-FA9FA9A2567D}"/>
                </a:ext>
              </a:extLst>
            </p:cNvPr>
            <p:cNvGrpSpPr/>
            <p:nvPr/>
          </p:nvGrpSpPr>
          <p:grpSpPr>
            <a:xfrm>
              <a:off x="13856645" y="8868678"/>
              <a:ext cx="388263" cy="263109"/>
              <a:chOff x="13856645" y="8868678"/>
              <a:chExt cx="388263" cy="263109"/>
            </a:xfrm>
          </p:grpSpPr>
          <p:grpSp>
            <p:nvGrpSpPr>
              <p:cNvPr id="39" name="图形 1">
                <a:extLst>
                  <a:ext uri="{FF2B5EF4-FFF2-40B4-BE49-F238E27FC236}">
                    <a16:creationId xmlns:a16="http://schemas.microsoft.com/office/drawing/2014/main" id="{0403DEB2-AE91-4FF7-B350-2F9CE62F1FFA}"/>
                  </a:ext>
                </a:extLst>
              </p:cNvPr>
              <p:cNvGrpSpPr/>
              <p:nvPr/>
            </p:nvGrpSpPr>
            <p:grpSpPr>
              <a:xfrm>
                <a:off x="13856645" y="8868678"/>
                <a:ext cx="388263" cy="263109"/>
                <a:chOff x="13856645" y="8868678"/>
                <a:chExt cx="388263" cy="263109"/>
              </a:xfrm>
            </p:grpSpPr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AE1DCB5B-72B9-4AB8-8CAE-5F013811866A}"/>
                    </a:ext>
                  </a:extLst>
                </p:cNvPr>
                <p:cNvSpPr/>
                <p:nvPr/>
              </p:nvSpPr>
              <p:spPr>
                <a:xfrm>
                  <a:off x="13857060" y="8868678"/>
                  <a:ext cx="387848" cy="263109"/>
                </a:xfrm>
                <a:custGeom>
                  <a:avLst/>
                  <a:gdLst>
                    <a:gd name="connsiteX0" fmla="*/ 199875 w 387848"/>
                    <a:gd name="connsiteY0" fmla="*/ 252442 h 263109"/>
                    <a:gd name="connsiteX1" fmla="*/ 341663 w 387848"/>
                    <a:gd name="connsiteY1" fmla="*/ 249425 h 263109"/>
                    <a:gd name="connsiteX2" fmla="*/ 386915 w 387848"/>
                    <a:gd name="connsiteY2" fmla="*/ 149872 h 263109"/>
                    <a:gd name="connsiteX3" fmla="*/ 266244 w 387848"/>
                    <a:gd name="connsiteY3" fmla="*/ 5067 h 263109"/>
                    <a:gd name="connsiteX4" fmla="*/ 239093 w 387848"/>
                    <a:gd name="connsiteY4" fmla="*/ 35235 h 263109"/>
                    <a:gd name="connsiteX5" fmla="*/ 278311 w 387848"/>
                    <a:gd name="connsiteY5" fmla="*/ 107637 h 263109"/>
                    <a:gd name="connsiteX6" fmla="*/ 82222 w 387848"/>
                    <a:gd name="connsiteY6" fmla="*/ 77469 h 263109"/>
                    <a:gd name="connsiteX7" fmla="*/ 55071 w 387848"/>
                    <a:gd name="connsiteY7" fmla="*/ 98587 h 263109"/>
                    <a:gd name="connsiteX8" fmla="*/ 100322 w 387848"/>
                    <a:gd name="connsiteY8" fmla="*/ 110654 h 263109"/>
                    <a:gd name="connsiteX9" fmla="*/ 160658 w 387848"/>
                    <a:gd name="connsiteY9" fmla="*/ 125738 h 263109"/>
                    <a:gd name="connsiteX10" fmla="*/ 76188 w 387848"/>
                    <a:gd name="connsiteY10" fmla="*/ 128755 h 263109"/>
                    <a:gd name="connsiteX11" fmla="*/ 15853 w 387848"/>
                    <a:gd name="connsiteY11" fmla="*/ 131771 h 263109"/>
                    <a:gd name="connsiteX12" fmla="*/ 769 w 387848"/>
                    <a:gd name="connsiteY12" fmla="*/ 155905 h 263109"/>
                    <a:gd name="connsiteX13" fmla="*/ 24903 w 387848"/>
                    <a:gd name="connsiteY13" fmla="*/ 177023 h 263109"/>
                    <a:gd name="connsiteX14" fmla="*/ 21887 w 387848"/>
                    <a:gd name="connsiteY14" fmla="*/ 177023 h 263109"/>
                    <a:gd name="connsiteX15" fmla="*/ 15853 w 387848"/>
                    <a:gd name="connsiteY15" fmla="*/ 189090 h 263109"/>
                    <a:gd name="connsiteX16" fmla="*/ 64121 w 387848"/>
                    <a:gd name="connsiteY16" fmla="*/ 201157 h 263109"/>
                    <a:gd name="connsiteX17" fmla="*/ 94289 w 387848"/>
                    <a:gd name="connsiteY17" fmla="*/ 201157 h 263109"/>
                    <a:gd name="connsiteX18" fmla="*/ 88255 w 387848"/>
                    <a:gd name="connsiteY18" fmla="*/ 204174 h 263109"/>
                    <a:gd name="connsiteX19" fmla="*/ 76188 w 387848"/>
                    <a:gd name="connsiteY19" fmla="*/ 222274 h 263109"/>
                    <a:gd name="connsiteX20" fmla="*/ 199875 w 387848"/>
                    <a:gd name="connsiteY20" fmla="*/ 252442 h 263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87848" h="263109">
                      <a:moveTo>
                        <a:pt x="199875" y="252442"/>
                      </a:moveTo>
                      <a:cubicBezTo>
                        <a:pt x="245127" y="255459"/>
                        <a:pt x="302445" y="276576"/>
                        <a:pt x="341663" y="249425"/>
                      </a:cubicBezTo>
                      <a:cubicBezTo>
                        <a:pt x="368814" y="231324"/>
                        <a:pt x="392948" y="183056"/>
                        <a:pt x="386915" y="149872"/>
                      </a:cubicBezTo>
                      <a:cubicBezTo>
                        <a:pt x="377864" y="101604"/>
                        <a:pt x="299428" y="74453"/>
                        <a:pt x="266244" y="5067"/>
                      </a:cubicBezTo>
                      <a:cubicBezTo>
                        <a:pt x="257193" y="-10016"/>
                        <a:pt x="233060" y="11101"/>
                        <a:pt x="239093" y="35235"/>
                      </a:cubicBezTo>
                      <a:cubicBezTo>
                        <a:pt x="248144" y="62386"/>
                        <a:pt x="263227" y="89537"/>
                        <a:pt x="278311" y="107637"/>
                      </a:cubicBezTo>
                      <a:cubicBezTo>
                        <a:pt x="211942" y="101604"/>
                        <a:pt x="151607" y="68420"/>
                        <a:pt x="82222" y="77469"/>
                      </a:cubicBezTo>
                      <a:cubicBezTo>
                        <a:pt x="70155" y="77469"/>
                        <a:pt x="39987" y="83503"/>
                        <a:pt x="55071" y="98587"/>
                      </a:cubicBezTo>
                      <a:cubicBezTo>
                        <a:pt x="64121" y="107637"/>
                        <a:pt x="88255" y="107637"/>
                        <a:pt x="100322" y="110654"/>
                      </a:cubicBezTo>
                      <a:cubicBezTo>
                        <a:pt x="121439" y="116687"/>
                        <a:pt x="142557" y="119704"/>
                        <a:pt x="160658" y="125738"/>
                      </a:cubicBezTo>
                      <a:cubicBezTo>
                        <a:pt x="133506" y="125738"/>
                        <a:pt x="106355" y="128755"/>
                        <a:pt x="76188" y="128755"/>
                      </a:cubicBezTo>
                      <a:cubicBezTo>
                        <a:pt x="58087" y="128755"/>
                        <a:pt x="33953" y="125738"/>
                        <a:pt x="15853" y="131771"/>
                      </a:cubicBezTo>
                      <a:cubicBezTo>
                        <a:pt x="3786" y="134788"/>
                        <a:pt x="-2248" y="143839"/>
                        <a:pt x="769" y="155905"/>
                      </a:cubicBezTo>
                      <a:cubicBezTo>
                        <a:pt x="3786" y="167972"/>
                        <a:pt x="12836" y="170989"/>
                        <a:pt x="24903" y="177023"/>
                      </a:cubicBezTo>
                      <a:cubicBezTo>
                        <a:pt x="24903" y="177023"/>
                        <a:pt x="24903" y="177023"/>
                        <a:pt x="21887" y="177023"/>
                      </a:cubicBezTo>
                      <a:cubicBezTo>
                        <a:pt x="18870" y="177023"/>
                        <a:pt x="15853" y="186073"/>
                        <a:pt x="15853" y="189090"/>
                      </a:cubicBezTo>
                      <a:cubicBezTo>
                        <a:pt x="24903" y="204174"/>
                        <a:pt x="46020" y="201157"/>
                        <a:pt x="64121" y="201157"/>
                      </a:cubicBezTo>
                      <a:cubicBezTo>
                        <a:pt x="73171" y="201157"/>
                        <a:pt x="82222" y="201157"/>
                        <a:pt x="94289" y="201157"/>
                      </a:cubicBezTo>
                      <a:cubicBezTo>
                        <a:pt x="91272" y="201157"/>
                        <a:pt x="88255" y="201157"/>
                        <a:pt x="88255" y="204174"/>
                      </a:cubicBezTo>
                      <a:cubicBezTo>
                        <a:pt x="79205" y="207190"/>
                        <a:pt x="76188" y="213224"/>
                        <a:pt x="76188" y="222274"/>
                      </a:cubicBezTo>
                      <a:cubicBezTo>
                        <a:pt x="85239" y="246408"/>
                        <a:pt x="172725" y="249425"/>
                        <a:pt x="199875" y="252442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3" name="任意多边形: 形状 42">
                  <a:extLst>
                    <a:ext uri="{FF2B5EF4-FFF2-40B4-BE49-F238E27FC236}">
                      <a16:creationId xmlns:a16="http://schemas.microsoft.com/office/drawing/2014/main" id="{A0DD3B80-8E30-49C1-8379-B7B5DE069592}"/>
                    </a:ext>
                  </a:extLst>
                </p:cNvPr>
                <p:cNvSpPr/>
                <p:nvPr/>
              </p:nvSpPr>
              <p:spPr>
                <a:xfrm>
                  <a:off x="14129337" y="9000449"/>
                  <a:ext cx="46501" cy="54301"/>
                </a:xfrm>
                <a:custGeom>
                  <a:avLst/>
                  <a:gdLst>
                    <a:gd name="connsiteX0" fmla="*/ 39218 w 46501"/>
                    <a:gd name="connsiteY0" fmla="*/ 54302 h 54301"/>
                    <a:gd name="connsiteX1" fmla="*/ 39218 w 46501"/>
                    <a:gd name="connsiteY1" fmla="*/ 54302 h 54301"/>
                    <a:gd name="connsiteX2" fmla="*/ 0 w 46501"/>
                    <a:gd name="connsiteY2" fmla="*/ 6033 h 54301"/>
                    <a:gd name="connsiteX3" fmla="*/ 6034 w 46501"/>
                    <a:gd name="connsiteY3" fmla="*/ 0 h 54301"/>
                    <a:gd name="connsiteX4" fmla="*/ 6034 w 46501"/>
                    <a:gd name="connsiteY4" fmla="*/ 0 h 54301"/>
                    <a:gd name="connsiteX5" fmla="*/ 12067 w 46501"/>
                    <a:gd name="connsiteY5" fmla="*/ 6033 h 54301"/>
                    <a:gd name="connsiteX6" fmla="*/ 42234 w 46501"/>
                    <a:gd name="connsiteY6" fmla="*/ 42235 h 54301"/>
                    <a:gd name="connsiteX7" fmla="*/ 45251 w 46501"/>
                    <a:gd name="connsiteY7" fmla="*/ 48268 h 54301"/>
                    <a:gd name="connsiteX8" fmla="*/ 39218 w 46501"/>
                    <a:gd name="connsiteY8" fmla="*/ 54302 h 54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6501" h="54301">
                      <a:moveTo>
                        <a:pt x="39218" y="54302"/>
                      </a:moveTo>
                      <a:cubicBezTo>
                        <a:pt x="36201" y="54302"/>
                        <a:pt x="36201" y="54302"/>
                        <a:pt x="39218" y="54302"/>
                      </a:cubicBezTo>
                      <a:cubicBezTo>
                        <a:pt x="6034" y="45251"/>
                        <a:pt x="0" y="18101"/>
                        <a:pt x="0" y="6033"/>
                      </a:cubicBezTo>
                      <a:cubicBezTo>
                        <a:pt x="0" y="3017"/>
                        <a:pt x="3017" y="0"/>
                        <a:pt x="6034" y="0"/>
                      </a:cubicBezTo>
                      <a:lnTo>
                        <a:pt x="6034" y="0"/>
                      </a:lnTo>
                      <a:cubicBezTo>
                        <a:pt x="9051" y="0"/>
                        <a:pt x="12067" y="3017"/>
                        <a:pt x="12067" y="6033"/>
                      </a:cubicBezTo>
                      <a:cubicBezTo>
                        <a:pt x="12067" y="6033"/>
                        <a:pt x="12067" y="36201"/>
                        <a:pt x="42234" y="42235"/>
                      </a:cubicBezTo>
                      <a:cubicBezTo>
                        <a:pt x="45251" y="42235"/>
                        <a:pt x="48268" y="45251"/>
                        <a:pt x="45251" y="48268"/>
                      </a:cubicBezTo>
                      <a:cubicBezTo>
                        <a:pt x="42234" y="51285"/>
                        <a:pt x="39218" y="54302"/>
                        <a:pt x="39218" y="54302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34CEB94F-19C0-49BA-A325-E85B5A28E6FD}"/>
                    </a:ext>
                  </a:extLst>
                </p:cNvPr>
                <p:cNvSpPr/>
                <p:nvPr/>
              </p:nvSpPr>
              <p:spPr>
                <a:xfrm>
                  <a:off x="13856645" y="8966015"/>
                  <a:ext cx="170122" cy="82702"/>
                </a:xfrm>
                <a:custGeom>
                  <a:avLst/>
                  <a:gdLst>
                    <a:gd name="connsiteX0" fmla="*/ 28334 w 170122"/>
                    <a:gd name="connsiteY0" fmla="*/ 82702 h 82702"/>
                    <a:gd name="connsiteX1" fmla="*/ 28334 w 170122"/>
                    <a:gd name="connsiteY1" fmla="*/ 82702 h 82702"/>
                    <a:gd name="connsiteX2" fmla="*/ 1184 w 170122"/>
                    <a:gd name="connsiteY2" fmla="*/ 64601 h 82702"/>
                    <a:gd name="connsiteX3" fmla="*/ 7217 w 170122"/>
                    <a:gd name="connsiteY3" fmla="*/ 40467 h 82702"/>
                    <a:gd name="connsiteX4" fmla="*/ 112804 w 170122"/>
                    <a:gd name="connsiteY4" fmla="*/ 28400 h 82702"/>
                    <a:gd name="connsiteX5" fmla="*/ 55486 w 170122"/>
                    <a:gd name="connsiteY5" fmla="*/ 10300 h 82702"/>
                    <a:gd name="connsiteX6" fmla="*/ 52469 w 170122"/>
                    <a:gd name="connsiteY6" fmla="*/ 4266 h 82702"/>
                    <a:gd name="connsiteX7" fmla="*/ 58502 w 170122"/>
                    <a:gd name="connsiteY7" fmla="*/ 1250 h 82702"/>
                    <a:gd name="connsiteX8" fmla="*/ 164088 w 170122"/>
                    <a:gd name="connsiteY8" fmla="*/ 28400 h 82702"/>
                    <a:gd name="connsiteX9" fmla="*/ 170122 w 170122"/>
                    <a:gd name="connsiteY9" fmla="*/ 34434 h 82702"/>
                    <a:gd name="connsiteX10" fmla="*/ 164088 w 170122"/>
                    <a:gd name="connsiteY10" fmla="*/ 40467 h 82702"/>
                    <a:gd name="connsiteX11" fmla="*/ 164088 w 170122"/>
                    <a:gd name="connsiteY11" fmla="*/ 40467 h 82702"/>
                    <a:gd name="connsiteX12" fmla="*/ 16267 w 170122"/>
                    <a:gd name="connsiteY12" fmla="*/ 49518 h 82702"/>
                    <a:gd name="connsiteX13" fmla="*/ 13250 w 170122"/>
                    <a:gd name="connsiteY13" fmla="*/ 61585 h 82702"/>
                    <a:gd name="connsiteX14" fmla="*/ 28334 w 170122"/>
                    <a:gd name="connsiteY14" fmla="*/ 70635 h 82702"/>
                    <a:gd name="connsiteX15" fmla="*/ 34368 w 170122"/>
                    <a:gd name="connsiteY15" fmla="*/ 76669 h 82702"/>
                    <a:gd name="connsiteX16" fmla="*/ 28334 w 170122"/>
                    <a:gd name="connsiteY16" fmla="*/ 82702 h 82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70122" h="82702">
                      <a:moveTo>
                        <a:pt x="28334" y="82702"/>
                      </a:moveTo>
                      <a:cubicBezTo>
                        <a:pt x="28334" y="82702"/>
                        <a:pt x="28334" y="82702"/>
                        <a:pt x="28334" y="82702"/>
                      </a:cubicBezTo>
                      <a:cubicBezTo>
                        <a:pt x="16267" y="79685"/>
                        <a:pt x="4201" y="73652"/>
                        <a:pt x="1184" y="64601"/>
                      </a:cubicBezTo>
                      <a:cubicBezTo>
                        <a:pt x="-1833" y="55551"/>
                        <a:pt x="1184" y="46501"/>
                        <a:pt x="7217" y="40467"/>
                      </a:cubicBezTo>
                      <a:cubicBezTo>
                        <a:pt x="16267" y="31417"/>
                        <a:pt x="67553" y="28400"/>
                        <a:pt x="112804" y="28400"/>
                      </a:cubicBezTo>
                      <a:cubicBezTo>
                        <a:pt x="82636" y="19350"/>
                        <a:pt x="55486" y="10300"/>
                        <a:pt x="55486" y="10300"/>
                      </a:cubicBezTo>
                      <a:cubicBezTo>
                        <a:pt x="52469" y="10300"/>
                        <a:pt x="49452" y="7283"/>
                        <a:pt x="52469" y="4266"/>
                      </a:cubicBezTo>
                      <a:cubicBezTo>
                        <a:pt x="52469" y="1250"/>
                        <a:pt x="55486" y="-1767"/>
                        <a:pt x="58502" y="1250"/>
                      </a:cubicBezTo>
                      <a:cubicBezTo>
                        <a:pt x="58502" y="1250"/>
                        <a:pt x="124871" y="22367"/>
                        <a:pt x="164088" y="28400"/>
                      </a:cubicBezTo>
                      <a:cubicBezTo>
                        <a:pt x="167105" y="28400"/>
                        <a:pt x="170122" y="31417"/>
                        <a:pt x="170122" y="34434"/>
                      </a:cubicBezTo>
                      <a:cubicBezTo>
                        <a:pt x="170122" y="37451"/>
                        <a:pt x="167105" y="40467"/>
                        <a:pt x="164088" y="40467"/>
                      </a:cubicBezTo>
                      <a:cubicBezTo>
                        <a:pt x="164088" y="40467"/>
                        <a:pt x="164088" y="40467"/>
                        <a:pt x="164088" y="40467"/>
                      </a:cubicBezTo>
                      <a:cubicBezTo>
                        <a:pt x="100737" y="40467"/>
                        <a:pt x="25318" y="43484"/>
                        <a:pt x="16267" y="49518"/>
                      </a:cubicBezTo>
                      <a:cubicBezTo>
                        <a:pt x="13250" y="52534"/>
                        <a:pt x="10234" y="58568"/>
                        <a:pt x="13250" y="61585"/>
                      </a:cubicBezTo>
                      <a:cubicBezTo>
                        <a:pt x="16267" y="67618"/>
                        <a:pt x="22301" y="70635"/>
                        <a:pt x="28334" y="70635"/>
                      </a:cubicBezTo>
                      <a:cubicBezTo>
                        <a:pt x="31351" y="70635"/>
                        <a:pt x="34368" y="73652"/>
                        <a:pt x="34368" y="76669"/>
                      </a:cubicBezTo>
                      <a:cubicBezTo>
                        <a:pt x="34368" y="79685"/>
                        <a:pt x="31351" y="82702"/>
                        <a:pt x="28334" y="82702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8472C02A-8AC0-4EE8-886D-B45C4BA38F41}"/>
                  </a:ext>
                </a:extLst>
              </p:cNvPr>
              <p:cNvSpPr/>
              <p:nvPr/>
            </p:nvSpPr>
            <p:spPr>
              <a:xfrm>
                <a:off x="13931998" y="9066818"/>
                <a:ext cx="130970" cy="60335"/>
              </a:xfrm>
              <a:custGeom>
                <a:avLst/>
                <a:gdLst>
                  <a:gd name="connsiteX0" fmla="*/ 109853 w 130970"/>
                  <a:gd name="connsiteY0" fmla="*/ 60335 h 60335"/>
                  <a:gd name="connsiteX1" fmla="*/ 109853 w 130970"/>
                  <a:gd name="connsiteY1" fmla="*/ 60335 h 60335"/>
                  <a:gd name="connsiteX2" fmla="*/ 1250 w 130970"/>
                  <a:gd name="connsiteY2" fmla="*/ 30168 h 60335"/>
                  <a:gd name="connsiteX3" fmla="*/ 4267 w 130970"/>
                  <a:gd name="connsiteY3" fmla="*/ 12067 h 60335"/>
                  <a:gd name="connsiteX4" fmla="*/ 31417 w 130970"/>
                  <a:gd name="connsiteY4" fmla="*/ 0 h 60335"/>
                  <a:gd name="connsiteX5" fmla="*/ 73652 w 130970"/>
                  <a:gd name="connsiteY5" fmla="*/ 3017 h 60335"/>
                  <a:gd name="connsiteX6" fmla="*/ 124937 w 130970"/>
                  <a:gd name="connsiteY6" fmla="*/ 6034 h 60335"/>
                  <a:gd name="connsiteX7" fmla="*/ 130971 w 130970"/>
                  <a:gd name="connsiteY7" fmla="*/ 12067 h 60335"/>
                  <a:gd name="connsiteX8" fmla="*/ 124937 w 130970"/>
                  <a:gd name="connsiteY8" fmla="*/ 18101 h 60335"/>
                  <a:gd name="connsiteX9" fmla="*/ 70636 w 130970"/>
                  <a:gd name="connsiteY9" fmla="*/ 15084 h 60335"/>
                  <a:gd name="connsiteX10" fmla="*/ 31417 w 130970"/>
                  <a:gd name="connsiteY10" fmla="*/ 12067 h 60335"/>
                  <a:gd name="connsiteX11" fmla="*/ 13317 w 130970"/>
                  <a:gd name="connsiteY11" fmla="*/ 18101 h 60335"/>
                  <a:gd name="connsiteX12" fmla="*/ 13317 w 130970"/>
                  <a:gd name="connsiteY12" fmla="*/ 27151 h 60335"/>
                  <a:gd name="connsiteX13" fmla="*/ 112870 w 130970"/>
                  <a:gd name="connsiteY13" fmla="*/ 48268 h 60335"/>
                  <a:gd name="connsiteX14" fmla="*/ 118903 w 130970"/>
                  <a:gd name="connsiteY14" fmla="*/ 54302 h 60335"/>
                  <a:gd name="connsiteX15" fmla="*/ 109853 w 130970"/>
                  <a:gd name="connsiteY15" fmla="*/ 60335 h 60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0970" h="60335">
                    <a:moveTo>
                      <a:pt x="109853" y="60335"/>
                    </a:moveTo>
                    <a:cubicBezTo>
                      <a:pt x="109853" y="60335"/>
                      <a:pt x="109853" y="60335"/>
                      <a:pt x="109853" y="60335"/>
                    </a:cubicBezTo>
                    <a:cubicBezTo>
                      <a:pt x="79686" y="57319"/>
                      <a:pt x="7284" y="51285"/>
                      <a:pt x="1250" y="30168"/>
                    </a:cubicBezTo>
                    <a:cubicBezTo>
                      <a:pt x="-1767" y="21118"/>
                      <a:pt x="1250" y="15084"/>
                      <a:pt x="4267" y="12067"/>
                    </a:cubicBezTo>
                    <a:cubicBezTo>
                      <a:pt x="10300" y="6034"/>
                      <a:pt x="19350" y="3017"/>
                      <a:pt x="31417" y="0"/>
                    </a:cubicBezTo>
                    <a:cubicBezTo>
                      <a:pt x="40468" y="0"/>
                      <a:pt x="55552" y="0"/>
                      <a:pt x="73652" y="3017"/>
                    </a:cubicBezTo>
                    <a:cubicBezTo>
                      <a:pt x="94769" y="6034"/>
                      <a:pt x="115887" y="6034"/>
                      <a:pt x="124937" y="6034"/>
                    </a:cubicBezTo>
                    <a:cubicBezTo>
                      <a:pt x="127954" y="6034"/>
                      <a:pt x="130971" y="9050"/>
                      <a:pt x="130971" y="12067"/>
                    </a:cubicBezTo>
                    <a:cubicBezTo>
                      <a:pt x="130971" y="15084"/>
                      <a:pt x="127954" y="18101"/>
                      <a:pt x="124937" y="18101"/>
                    </a:cubicBezTo>
                    <a:cubicBezTo>
                      <a:pt x="115887" y="18101"/>
                      <a:pt x="91752" y="18101"/>
                      <a:pt x="70636" y="15084"/>
                    </a:cubicBezTo>
                    <a:cubicBezTo>
                      <a:pt x="52535" y="15084"/>
                      <a:pt x="37451" y="12067"/>
                      <a:pt x="31417" y="12067"/>
                    </a:cubicBezTo>
                    <a:cubicBezTo>
                      <a:pt x="22367" y="12067"/>
                      <a:pt x="16333" y="15084"/>
                      <a:pt x="13317" y="18101"/>
                    </a:cubicBezTo>
                    <a:cubicBezTo>
                      <a:pt x="13317" y="18101"/>
                      <a:pt x="10300" y="21118"/>
                      <a:pt x="13317" y="27151"/>
                    </a:cubicBezTo>
                    <a:cubicBezTo>
                      <a:pt x="16333" y="36201"/>
                      <a:pt x="61585" y="45251"/>
                      <a:pt x="112870" y="48268"/>
                    </a:cubicBezTo>
                    <a:cubicBezTo>
                      <a:pt x="115887" y="48268"/>
                      <a:pt x="118903" y="51285"/>
                      <a:pt x="118903" y="54302"/>
                    </a:cubicBezTo>
                    <a:cubicBezTo>
                      <a:pt x="115887" y="57319"/>
                      <a:pt x="112870" y="60335"/>
                      <a:pt x="109853" y="60335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DE85F950-46DB-46DF-B609-BCE5CC0F1670}"/>
                  </a:ext>
                </a:extLst>
              </p:cNvPr>
              <p:cNvSpPr/>
              <p:nvPr/>
            </p:nvSpPr>
            <p:spPr>
              <a:xfrm>
                <a:off x="13872913" y="9026350"/>
                <a:ext cx="174972" cy="52534"/>
              </a:xfrm>
              <a:custGeom>
                <a:avLst/>
                <a:gdLst>
                  <a:gd name="connsiteX0" fmla="*/ 72402 w 174972"/>
                  <a:gd name="connsiteY0" fmla="*/ 52534 h 52534"/>
                  <a:gd name="connsiteX1" fmla="*/ 72402 w 174972"/>
                  <a:gd name="connsiteY1" fmla="*/ 52534 h 52534"/>
                  <a:gd name="connsiteX2" fmla="*/ 3017 w 174972"/>
                  <a:gd name="connsiteY2" fmla="*/ 37451 h 52534"/>
                  <a:gd name="connsiteX3" fmla="*/ 0 w 174972"/>
                  <a:gd name="connsiteY3" fmla="*/ 22367 h 52534"/>
                  <a:gd name="connsiteX4" fmla="*/ 27151 w 174972"/>
                  <a:gd name="connsiteY4" fmla="*/ 1250 h 52534"/>
                  <a:gd name="connsiteX5" fmla="*/ 96537 w 174972"/>
                  <a:gd name="connsiteY5" fmla="*/ 4266 h 52534"/>
                  <a:gd name="connsiteX6" fmla="*/ 108604 w 174972"/>
                  <a:gd name="connsiteY6" fmla="*/ 4266 h 52534"/>
                  <a:gd name="connsiteX7" fmla="*/ 168939 w 174972"/>
                  <a:gd name="connsiteY7" fmla="*/ 4266 h 52534"/>
                  <a:gd name="connsiteX8" fmla="*/ 168939 w 174972"/>
                  <a:gd name="connsiteY8" fmla="*/ 4266 h 52534"/>
                  <a:gd name="connsiteX9" fmla="*/ 174973 w 174972"/>
                  <a:gd name="connsiteY9" fmla="*/ 10300 h 52534"/>
                  <a:gd name="connsiteX10" fmla="*/ 168939 w 174972"/>
                  <a:gd name="connsiteY10" fmla="*/ 16333 h 52534"/>
                  <a:gd name="connsiteX11" fmla="*/ 108604 w 174972"/>
                  <a:gd name="connsiteY11" fmla="*/ 16333 h 52534"/>
                  <a:gd name="connsiteX12" fmla="*/ 96537 w 174972"/>
                  <a:gd name="connsiteY12" fmla="*/ 16333 h 52534"/>
                  <a:gd name="connsiteX13" fmla="*/ 30168 w 174972"/>
                  <a:gd name="connsiteY13" fmla="*/ 13317 h 52534"/>
                  <a:gd name="connsiteX14" fmla="*/ 9051 w 174972"/>
                  <a:gd name="connsiteY14" fmla="*/ 25383 h 52534"/>
                  <a:gd name="connsiteX15" fmla="*/ 9051 w 174972"/>
                  <a:gd name="connsiteY15" fmla="*/ 31417 h 52534"/>
                  <a:gd name="connsiteX16" fmla="*/ 69386 w 174972"/>
                  <a:gd name="connsiteY16" fmla="*/ 40467 h 52534"/>
                  <a:gd name="connsiteX17" fmla="*/ 75419 w 174972"/>
                  <a:gd name="connsiteY17" fmla="*/ 46501 h 52534"/>
                  <a:gd name="connsiteX18" fmla="*/ 72402 w 174972"/>
                  <a:gd name="connsiteY18" fmla="*/ 52534 h 52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74972" h="52534">
                    <a:moveTo>
                      <a:pt x="72402" y="52534"/>
                    </a:moveTo>
                    <a:cubicBezTo>
                      <a:pt x="72402" y="52534"/>
                      <a:pt x="72402" y="52534"/>
                      <a:pt x="72402" y="52534"/>
                    </a:cubicBezTo>
                    <a:cubicBezTo>
                      <a:pt x="54302" y="52534"/>
                      <a:pt x="9051" y="49518"/>
                      <a:pt x="3017" y="37451"/>
                    </a:cubicBezTo>
                    <a:cubicBezTo>
                      <a:pt x="0" y="31417"/>
                      <a:pt x="0" y="28400"/>
                      <a:pt x="0" y="22367"/>
                    </a:cubicBezTo>
                    <a:cubicBezTo>
                      <a:pt x="3017" y="13317"/>
                      <a:pt x="18101" y="4266"/>
                      <a:pt x="27151" y="1250"/>
                    </a:cubicBezTo>
                    <a:cubicBezTo>
                      <a:pt x="39218" y="-1767"/>
                      <a:pt x="69386" y="1250"/>
                      <a:pt x="96537" y="4266"/>
                    </a:cubicBezTo>
                    <a:cubicBezTo>
                      <a:pt x="102570" y="4266"/>
                      <a:pt x="105587" y="4266"/>
                      <a:pt x="108604" y="4266"/>
                    </a:cubicBezTo>
                    <a:cubicBezTo>
                      <a:pt x="117653" y="4266"/>
                      <a:pt x="153855" y="4266"/>
                      <a:pt x="168939" y="4266"/>
                    </a:cubicBezTo>
                    <a:cubicBezTo>
                      <a:pt x="168939" y="4266"/>
                      <a:pt x="168939" y="4266"/>
                      <a:pt x="168939" y="4266"/>
                    </a:cubicBezTo>
                    <a:cubicBezTo>
                      <a:pt x="171956" y="4266"/>
                      <a:pt x="174973" y="7283"/>
                      <a:pt x="174973" y="10300"/>
                    </a:cubicBezTo>
                    <a:cubicBezTo>
                      <a:pt x="174973" y="13317"/>
                      <a:pt x="171956" y="16333"/>
                      <a:pt x="168939" y="16333"/>
                    </a:cubicBezTo>
                    <a:cubicBezTo>
                      <a:pt x="165922" y="16333"/>
                      <a:pt x="117653" y="19350"/>
                      <a:pt x="108604" y="16333"/>
                    </a:cubicBezTo>
                    <a:cubicBezTo>
                      <a:pt x="105587" y="16333"/>
                      <a:pt x="102570" y="16333"/>
                      <a:pt x="96537" y="16333"/>
                    </a:cubicBezTo>
                    <a:cubicBezTo>
                      <a:pt x="78436" y="13317"/>
                      <a:pt x="42234" y="10300"/>
                      <a:pt x="30168" y="13317"/>
                    </a:cubicBezTo>
                    <a:cubicBezTo>
                      <a:pt x="21118" y="16333"/>
                      <a:pt x="12067" y="22367"/>
                      <a:pt x="9051" y="25383"/>
                    </a:cubicBezTo>
                    <a:cubicBezTo>
                      <a:pt x="9051" y="28400"/>
                      <a:pt x="9051" y="28400"/>
                      <a:pt x="9051" y="31417"/>
                    </a:cubicBezTo>
                    <a:cubicBezTo>
                      <a:pt x="12067" y="37451"/>
                      <a:pt x="39218" y="40467"/>
                      <a:pt x="69386" y="40467"/>
                    </a:cubicBezTo>
                    <a:cubicBezTo>
                      <a:pt x="72402" y="40467"/>
                      <a:pt x="75419" y="43484"/>
                      <a:pt x="75419" y="46501"/>
                    </a:cubicBezTo>
                    <a:cubicBezTo>
                      <a:pt x="78436" y="49518"/>
                      <a:pt x="75419" y="52534"/>
                      <a:pt x="72402" y="5253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1AFD8932-60E2-4AE7-AEDD-3DD9FC80E5D7}"/>
                </a:ext>
              </a:extLst>
            </p:cNvPr>
            <p:cNvSpPr/>
            <p:nvPr/>
          </p:nvSpPr>
          <p:spPr>
            <a:xfrm>
              <a:off x="16333460" y="8888067"/>
              <a:ext cx="1259118" cy="312509"/>
            </a:xfrm>
            <a:custGeom>
              <a:avLst/>
              <a:gdLst>
                <a:gd name="connsiteX0" fmla="*/ 31297 w 1259118"/>
                <a:gd name="connsiteY0" fmla="*/ 169701 h 312509"/>
                <a:gd name="connsiteX1" fmla="*/ 179118 w 1259118"/>
                <a:gd name="connsiteY1" fmla="*/ 6796 h 312509"/>
                <a:gd name="connsiteX2" fmla="*/ 688950 w 1259118"/>
                <a:gd name="connsiteY2" fmla="*/ 97298 h 312509"/>
                <a:gd name="connsiteX3" fmla="*/ 1231967 w 1259118"/>
                <a:gd name="connsiteY3" fmla="*/ 88248 h 312509"/>
                <a:gd name="connsiteX4" fmla="*/ 1259119 w 1259118"/>
                <a:gd name="connsiteY4" fmla="*/ 224002 h 312509"/>
                <a:gd name="connsiteX5" fmla="*/ 707051 w 1259118"/>
                <a:gd name="connsiteY5" fmla="*/ 305455 h 312509"/>
                <a:gd name="connsiteX6" fmla="*/ 31297 w 1259118"/>
                <a:gd name="connsiteY6" fmla="*/ 169701 h 312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9118" h="312509">
                  <a:moveTo>
                    <a:pt x="31297" y="169701"/>
                  </a:moveTo>
                  <a:cubicBezTo>
                    <a:pt x="-50156" y="-14322"/>
                    <a:pt x="37331" y="-8288"/>
                    <a:pt x="179118" y="6796"/>
                  </a:cubicBezTo>
                  <a:cubicBezTo>
                    <a:pt x="326939" y="24896"/>
                    <a:pt x="652750" y="100315"/>
                    <a:pt x="688950" y="97298"/>
                  </a:cubicBezTo>
                  <a:cubicBezTo>
                    <a:pt x="797554" y="106349"/>
                    <a:pt x="1231967" y="88248"/>
                    <a:pt x="1231967" y="88248"/>
                  </a:cubicBezTo>
                  <a:cubicBezTo>
                    <a:pt x="1250068" y="118416"/>
                    <a:pt x="1259119" y="224002"/>
                    <a:pt x="1259119" y="224002"/>
                  </a:cubicBezTo>
                  <a:cubicBezTo>
                    <a:pt x="1259119" y="224002"/>
                    <a:pt x="857889" y="293388"/>
                    <a:pt x="707051" y="305455"/>
                  </a:cubicBezTo>
                  <a:cubicBezTo>
                    <a:pt x="628615" y="308472"/>
                    <a:pt x="112750" y="353723"/>
                    <a:pt x="31297" y="169701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C34B02F5-B0A4-4DD3-BDEF-BB093A1FBAFD}"/>
                </a:ext>
              </a:extLst>
            </p:cNvPr>
            <p:cNvGrpSpPr/>
            <p:nvPr/>
          </p:nvGrpSpPr>
          <p:grpSpPr>
            <a:xfrm>
              <a:off x="17513208" y="8853594"/>
              <a:ext cx="394296" cy="262327"/>
              <a:chOff x="17513208" y="8853594"/>
              <a:chExt cx="394296" cy="262327"/>
            </a:xfrm>
          </p:grpSpPr>
          <p:grpSp>
            <p:nvGrpSpPr>
              <p:cNvPr id="33" name="图形 1">
                <a:extLst>
                  <a:ext uri="{FF2B5EF4-FFF2-40B4-BE49-F238E27FC236}">
                    <a16:creationId xmlns:a16="http://schemas.microsoft.com/office/drawing/2014/main" id="{BE2AB767-6530-46ED-9ECA-308FD8776857}"/>
                  </a:ext>
                </a:extLst>
              </p:cNvPr>
              <p:cNvGrpSpPr/>
              <p:nvPr/>
            </p:nvGrpSpPr>
            <p:grpSpPr>
              <a:xfrm>
                <a:off x="17513208" y="8853594"/>
                <a:ext cx="394296" cy="262327"/>
                <a:chOff x="17513208" y="8853594"/>
                <a:chExt cx="394296" cy="262327"/>
              </a:xfrm>
            </p:grpSpPr>
            <p:sp>
              <p:nvSpPr>
                <p:cNvPr id="36" name="任意多边形: 形状 35">
                  <a:extLst>
                    <a:ext uri="{FF2B5EF4-FFF2-40B4-BE49-F238E27FC236}">
                      <a16:creationId xmlns:a16="http://schemas.microsoft.com/office/drawing/2014/main" id="{54286EC0-B7BD-48E8-BB25-2D8D586AE372}"/>
                    </a:ext>
                  </a:extLst>
                </p:cNvPr>
                <p:cNvSpPr/>
                <p:nvPr/>
              </p:nvSpPr>
              <p:spPr>
                <a:xfrm>
                  <a:off x="17513208" y="8853594"/>
                  <a:ext cx="387848" cy="262327"/>
                </a:xfrm>
                <a:custGeom>
                  <a:avLst/>
                  <a:gdLst>
                    <a:gd name="connsiteX0" fmla="*/ 311661 w 387848"/>
                    <a:gd name="connsiteY0" fmla="*/ 222274 h 262327"/>
                    <a:gd name="connsiteX1" fmla="*/ 299593 w 387848"/>
                    <a:gd name="connsiteY1" fmla="*/ 204174 h 262327"/>
                    <a:gd name="connsiteX2" fmla="*/ 293559 w 387848"/>
                    <a:gd name="connsiteY2" fmla="*/ 201157 h 262327"/>
                    <a:gd name="connsiteX3" fmla="*/ 323727 w 387848"/>
                    <a:gd name="connsiteY3" fmla="*/ 201157 h 262327"/>
                    <a:gd name="connsiteX4" fmla="*/ 371996 w 387848"/>
                    <a:gd name="connsiteY4" fmla="*/ 189090 h 262327"/>
                    <a:gd name="connsiteX5" fmla="*/ 365962 w 387848"/>
                    <a:gd name="connsiteY5" fmla="*/ 177023 h 262327"/>
                    <a:gd name="connsiteX6" fmla="*/ 362945 w 387848"/>
                    <a:gd name="connsiteY6" fmla="*/ 177023 h 262327"/>
                    <a:gd name="connsiteX7" fmla="*/ 387080 w 387848"/>
                    <a:gd name="connsiteY7" fmla="*/ 155905 h 262327"/>
                    <a:gd name="connsiteX8" fmla="*/ 371996 w 387848"/>
                    <a:gd name="connsiteY8" fmla="*/ 131771 h 262327"/>
                    <a:gd name="connsiteX9" fmla="*/ 311661 w 387848"/>
                    <a:gd name="connsiteY9" fmla="*/ 128755 h 262327"/>
                    <a:gd name="connsiteX10" fmla="*/ 227190 w 387848"/>
                    <a:gd name="connsiteY10" fmla="*/ 125738 h 262327"/>
                    <a:gd name="connsiteX11" fmla="*/ 287526 w 387848"/>
                    <a:gd name="connsiteY11" fmla="*/ 110654 h 262327"/>
                    <a:gd name="connsiteX12" fmla="*/ 332777 w 387848"/>
                    <a:gd name="connsiteY12" fmla="*/ 98587 h 262327"/>
                    <a:gd name="connsiteX13" fmla="*/ 305627 w 387848"/>
                    <a:gd name="connsiteY13" fmla="*/ 77469 h 262327"/>
                    <a:gd name="connsiteX14" fmla="*/ 109538 w 387848"/>
                    <a:gd name="connsiteY14" fmla="*/ 107637 h 262327"/>
                    <a:gd name="connsiteX15" fmla="*/ 148755 w 387848"/>
                    <a:gd name="connsiteY15" fmla="*/ 35235 h 262327"/>
                    <a:gd name="connsiteX16" fmla="*/ 121604 w 387848"/>
                    <a:gd name="connsiteY16" fmla="*/ 5067 h 262327"/>
                    <a:gd name="connsiteX17" fmla="*/ 934 w 387848"/>
                    <a:gd name="connsiteY17" fmla="*/ 149872 h 262327"/>
                    <a:gd name="connsiteX18" fmla="*/ 46186 w 387848"/>
                    <a:gd name="connsiteY18" fmla="*/ 249425 h 262327"/>
                    <a:gd name="connsiteX19" fmla="*/ 187973 w 387848"/>
                    <a:gd name="connsiteY19" fmla="*/ 252442 h 262327"/>
                    <a:gd name="connsiteX20" fmla="*/ 311661 w 387848"/>
                    <a:gd name="connsiteY20" fmla="*/ 222274 h 262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87848" h="262327">
                      <a:moveTo>
                        <a:pt x="311661" y="222274"/>
                      </a:moveTo>
                      <a:cubicBezTo>
                        <a:pt x="311661" y="213224"/>
                        <a:pt x="308643" y="207190"/>
                        <a:pt x="299593" y="204174"/>
                      </a:cubicBezTo>
                      <a:cubicBezTo>
                        <a:pt x="296577" y="204174"/>
                        <a:pt x="293559" y="201157"/>
                        <a:pt x="293559" y="201157"/>
                      </a:cubicBezTo>
                      <a:cubicBezTo>
                        <a:pt x="302609" y="201157"/>
                        <a:pt x="311661" y="201157"/>
                        <a:pt x="323727" y="201157"/>
                      </a:cubicBezTo>
                      <a:cubicBezTo>
                        <a:pt x="344845" y="201157"/>
                        <a:pt x="362945" y="204174"/>
                        <a:pt x="371996" y="189090"/>
                      </a:cubicBezTo>
                      <a:cubicBezTo>
                        <a:pt x="371996" y="186073"/>
                        <a:pt x="368978" y="177023"/>
                        <a:pt x="365962" y="177023"/>
                      </a:cubicBezTo>
                      <a:cubicBezTo>
                        <a:pt x="365962" y="177023"/>
                        <a:pt x="365962" y="177023"/>
                        <a:pt x="362945" y="177023"/>
                      </a:cubicBezTo>
                      <a:cubicBezTo>
                        <a:pt x="375012" y="174006"/>
                        <a:pt x="384062" y="167972"/>
                        <a:pt x="387080" y="155905"/>
                      </a:cubicBezTo>
                      <a:cubicBezTo>
                        <a:pt x="390096" y="146855"/>
                        <a:pt x="384062" y="137805"/>
                        <a:pt x="371996" y="131771"/>
                      </a:cubicBezTo>
                      <a:cubicBezTo>
                        <a:pt x="353895" y="125738"/>
                        <a:pt x="329761" y="128755"/>
                        <a:pt x="311661" y="128755"/>
                      </a:cubicBezTo>
                      <a:cubicBezTo>
                        <a:pt x="284510" y="128755"/>
                        <a:pt x="257358" y="125738"/>
                        <a:pt x="227190" y="125738"/>
                      </a:cubicBezTo>
                      <a:cubicBezTo>
                        <a:pt x="248308" y="119704"/>
                        <a:pt x="269426" y="116687"/>
                        <a:pt x="287526" y="110654"/>
                      </a:cubicBezTo>
                      <a:cubicBezTo>
                        <a:pt x="299593" y="107637"/>
                        <a:pt x="323727" y="107637"/>
                        <a:pt x="332777" y="98587"/>
                      </a:cubicBezTo>
                      <a:cubicBezTo>
                        <a:pt x="347861" y="83503"/>
                        <a:pt x="317693" y="77469"/>
                        <a:pt x="305627" y="77469"/>
                      </a:cubicBezTo>
                      <a:cubicBezTo>
                        <a:pt x="236242" y="71436"/>
                        <a:pt x="175907" y="104621"/>
                        <a:pt x="109538" y="107637"/>
                      </a:cubicBezTo>
                      <a:cubicBezTo>
                        <a:pt x="124622" y="89537"/>
                        <a:pt x="136688" y="62386"/>
                        <a:pt x="148755" y="35235"/>
                      </a:cubicBezTo>
                      <a:cubicBezTo>
                        <a:pt x="157805" y="11101"/>
                        <a:pt x="130656" y="-10016"/>
                        <a:pt x="121604" y="5067"/>
                      </a:cubicBezTo>
                      <a:cubicBezTo>
                        <a:pt x="85403" y="71436"/>
                        <a:pt x="9984" y="101604"/>
                        <a:pt x="934" y="149872"/>
                      </a:cubicBezTo>
                      <a:cubicBezTo>
                        <a:pt x="-5100" y="183056"/>
                        <a:pt x="19035" y="228307"/>
                        <a:pt x="46186" y="249425"/>
                      </a:cubicBezTo>
                      <a:cubicBezTo>
                        <a:pt x="85403" y="276576"/>
                        <a:pt x="142721" y="252442"/>
                        <a:pt x="187973" y="252442"/>
                      </a:cubicBezTo>
                      <a:cubicBezTo>
                        <a:pt x="221158" y="246408"/>
                        <a:pt x="308643" y="240375"/>
                        <a:pt x="311661" y="222274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7" name="任意多边形: 形状 36">
                  <a:extLst>
                    <a:ext uri="{FF2B5EF4-FFF2-40B4-BE49-F238E27FC236}">
                      <a16:creationId xmlns:a16="http://schemas.microsoft.com/office/drawing/2014/main" id="{012ACD24-DD6F-467B-824F-DB0BF7409DA7}"/>
                    </a:ext>
                  </a:extLst>
                </p:cNvPr>
                <p:cNvSpPr/>
                <p:nvPr/>
              </p:nvSpPr>
              <p:spPr>
                <a:xfrm>
                  <a:off x="17589561" y="8982349"/>
                  <a:ext cx="45794" cy="51284"/>
                </a:xfrm>
                <a:custGeom>
                  <a:avLst/>
                  <a:gdLst>
                    <a:gd name="connsiteX0" fmla="*/ 6033 w 45794"/>
                    <a:gd name="connsiteY0" fmla="*/ 51285 h 51284"/>
                    <a:gd name="connsiteX1" fmla="*/ 0 w 45794"/>
                    <a:gd name="connsiteY1" fmla="*/ 48268 h 51284"/>
                    <a:gd name="connsiteX2" fmla="*/ 3017 w 45794"/>
                    <a:gd name="connsiteY2" fmla="*/ 42234 h 51284"/>
                    <a:gd name="connsiteX3" fmla="*/ 33185 w 45794"/>
                    <a:gd name="connsiteY3" fmla="*/ 6033 h 51284"/>
                    <a:gd name="connsiteX4" fmla="*/ 39218 w 45794"/>
                    <a:gd name="connsiteY4" fmla="*/ 0 h 51284"/>
                    <a:gd name="connsiteX5" fmla="*/ 39218 w 45794"/>
                    <a:gd name="connsiteY5" fmla="*/ 0 h 51284"/>
                    <a:gd name="connsiteX6" fmla="*/ 45250 w 45794"/>
                    <a:gd name="connsiteY6" fmla="*/ 6033 h 51284"/>
                    <a:gd name="connsiteX7" fmla="*/ 6033 w 45794"/>
                    <a:gd name="connsiteY7" fmla="*/ 51285 h 51284"/>
                    <a:gd name="connsiteX8" fmla="*/ 6033 w 45794"/>
                    <a:gd name="connsiteY8" fmla="*/ 51285 h 512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5794" h="51284">
                      <a:moveTo>
                        <a:pt x="6033" y="51285"/>
                      </a:moveTo>
                      <a:cubicBezTo>
                        <a:pt x="3017" y="51285"/>
                        <a:pt x="0" y="48268"/>
                        <a:pt x="0" y="48268"/>
                      </a:cubicBezTo>
                      <a:cubicBezTo>
                        <a:pt x="0" y="45251"/>
                        <a:pt x="0" y="42234"/>
                        <a:pt x="3017" y="42234"/>
                      </a:cubicBezTo>
                      <a:cubicBezTo>
                        <a:pt x="33185" y="33184"/>
                        <a:pt x="33185" y="6033"/>
                        <a:pt x="33185" y="6033"/>
                      </a:cubicBezTo>
                      <a:cubicBezTo>
                        <a:pt x="33185" y="3016"/>
                        <a:pt x="36201" y="0"/>
                        <a:pt x="39218" y="0"/>
                      </a:cubicBezTo>
                      <a:lnTo>
                        <a:pt x="39218" y="0"/>
                      </a:lnTo>
                      <a:cubicBezTo>
                        <a:pt x="42234" y="0"/>
                        <a:pt x="45250" y="3016"/>
                        <a:pt x="45250" y="6033"/>
                      </a:cubicBezTo>
                      <a:cubicBezTo>
                        <a:pt x="48268" y="18100"/>
                        <a:pt x="39218" y="45251"/>
                        <a:pt x="6033" y="51285"/>
                      </a:cubicBezTo>
                      <a:cubicBezTo>
                        <a:pt x="9050" y="51285"/>
                        <a:pt x="9050" y="51285"/>
                        <a:pt x="6033" y="51285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8" name="任意多边形: 形状 37">
                  <a:extLst>
                    <a:ext uri="{FF2B5EF4-FFF2-40B4-BE49-F238E27FC236}">
                      <a16:creationId xmlns:a16="http://schemas.microsoft.com/office/drawing/2014/main" id="{22DC349D-67A1-4997-AB29-B8A8ABC3BFDB}"/>
                    </a:ext>
                  </a:extLst>
                </p:cNvPr>
                <p:cNvSpPr/>
                <p:nvPr/>
              </p:nvSpPr>
              <p:spPr>
                <a:xfrm>
                  <a:off x="17737382" y="8946147"/>
                  <a:ext cx="170121" cy="84469"/>
                </a:xfrm>
                <a:custGeom>
                  <a:avLst/>
                  <a:gdLst>
                    <a:gd name="connsiteX0" fmla="*/ 141788 w 170121"/>
                    <a:gd name="connsiteY0" fmla="*/ 84469 h 84469"/>
                    <a:gd name="connsiteX1" fmla="*/ 135754 w 170121"/>
                    <a:gd name="connsiteY1" fmla="*/ 78436 h 84469"/>
                    <a:gd name="connsiteX2" fmla="*/ 141788 w 170121"/>
                    <a:gd name="connsiteY2" fmla="*/ 72403 h 84469"/>
                    <a:gd name="connsiteX3" fmla="*/ 156872 w 170121"/>
                    <a:gd name="connsiteY3" fmla="*/ 63352 h 84469"/>
                    <a:gd name="connsiteX4" fmla="*/ 153854 w 170121"/>
                    <a:gd name="connsiteY4" fmla="*/ 48268 h 84469"/>
                    <a:gd name="connsiteX5" fmla="*/ 6034 w 170121"/>
                    <a:gd name="connsiteY5" fmla="*/ 39218 h 84469"/>
                    <a:gd name="connsiteX6" fmla="*/ 6034 w 170121"/>
                    <a:gd name="connsiteY6" fmla="*/ 39218 h 84469"/>
                    <a:gd name="connsiteX7" fmla="*/ 0 w 170121"/>
                    <a:gd name="connsiteY7" fmla="*/ 33185 h 84469"/>
                    <a:gd name="connsiteX8" fmla="*/ 6034 w 170121"/>
                    <a:gd name="connsiteY8" fmla="*/ 27151 h 84469"/>
                    <a:gd name="connsiteX9" fmla="*/ 111620 w 170121"/>
                    <a:gd name="connsiteY9" fmla="*/ 0 h 84469"/>
                    <a:gd name="connsiteX10" fmla="*/ 117654 w 170121"/>
                    <a:gd name="connsiteY10" fmla="*/ 3017 h 84469"/>
                    <a:gd name="connsiteX11" fmla="*/ 114637 w 170121"/>
                    <a:gd name="connsiteY11" fmla="*/ 9050 h 84469"/>
                    <a:gd name="connsiteX12" fmla="*/ 57319 w 170121"/>
                    <a:gd name="connsiteY12" fmla="*/ 27151 h 84469"/>
                    <a:gd name="connsiteX13" fmla="*/ 162906 w 170121"/>
                    <a:gd name="connsiteY13" fmla="*/ 39218 h 84469"/>
                    <a:gd name="connsiteX14" fmla="*/ 168938 w 170121"/>
                    <a:gd name="connsiteY14" fmla="*/ 63352 h 84469"/>
                    <a:gd name="connsiteX15" fmla="*/ 141788 w 170121"/>
                    <a:gd name="connsiteY15" fmla="*/ 84469 h 84469"/>
                    <a:gd name="connsiteX16" fmla="*/ 141788 w 170121"/>
                    <a:gd name="connsiteY16" fmla="*/ 84469 h 844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70121" h="84469">
                      <a:moveTo>
                        <a:pt x="141788" y="84469"/>
                      </a:moveTo>
                      <a:cubicBezTo>
                        <a:pt x="138770" y="84469"/>
                        <a:pt x="135754" y="81453"/>
                        <a:pt x="135754" y="78436"/>
                      </a:cubicBezTo>
                      <a:cubicBezTo>
                        <a:pt x="135754" y="75419"/>
                        <a:pt x="138770" y="72403"/>
                        <a:pt x="141788" y="72403"/>
                      </a:cubicBezTo>
                      <a:cubicBezTo>
                        <a:pt x="150838" y="72403"/>
                        <a:pt x="156872" y="66369"/>
                        <a:pt x="156872" y="63352"/>
                      </a:cubicBezTo>
                      <a:cubicBezTo>
                        <a:pt x="159888" y="57319"/>
                        <a:pt x="156872" y="54302"/>
                        <a:pt x="153854" y="48268"/>
                      </a:cubicBezTo>
                      <a:cubicBezTo>
                        <a:pt x="144804" y="42235"/>
                        <a:pt x="72403" y="39218"/>
                        <a:pt x="6034" y="39218"/>
                      </a:cubicBezTo>
                      <a:lnTo>
                        <a:pt x="6034" y="39218"/>
                      </a:lnTo>
                      <a:cubicBezTo>
                        <a:pt x="3016" y="39218"/>
                        <a:pt x="0" y="36201"/>
                        <a:pt x="0" y="33185"/>
                      </a:cubicBezTo>
                      <a:cubicBezTo>
                        <a:pt x="0" y="30168"/>
                        <a:pt x="3016" y="27151"/>
                        <a:pt x="6034" y="27151"/>
                      </a:cubicBezTo>
                      <a:cubicBezTo>
                        <a:pt x="45251" y="21118"/>
                        <a:pt x="111620" y="0"/>
                        <a:pt x="111620" y="0"/>
                      </a:cubicBezTo>
                      <a:cubicBezTo>
                        <a:pt x="114637" y="0"/>
                        <a:pt x="117654" y="0"/>
                        <a:pt x="117654" y="3017"/>
                      </a:cubicBezTo>
                      <a:cubicBezTo>
                        <a:pt x="117654" y="6034"/>
                        <a:pt x="117654" y="9050"/>
                        <a:pt x="114637" y="9050"/>
                      </a:cubicBezTo>
                      <a:cubicBezTo>
                        <a:pt x="111620" y="9050"/>
                        <a:pt x="87487" y="18101"/>
                        <a:pt x="57319" y="27151"/>
                      </a:cubicBezTo>
                      <a:cubicBezTo>
                        <a:pt x="102571" y="27151"/>
                        <a:pt x="153854" y="30168"/>
                        <a:pt x="162906" y="39218"/>
                      </a:cubicBezTo>
                      <a:cubicBezTo>
                        <a:pt x="168938" y="48268"/>
                        <a:pt x="171956" y="57319"/>
                        <a:pt x="168938" y="63352"/>
                      </a:cubicBezTo>
                      <a:cubicBezTo>
                        <a:pt x="162906" y="75419"/>
                        <a:pt x="153854" y="81453"/>
                        <a:pt x="141788" y="84469"/>
                      </a:cubicBezTo>
                      <a:cubicBezTo>
                        <a:pt x="141788" y="84469"/>
                        <a:pt x="141788" y="84469"/>
                        <a:pt x="141788" y="84469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6AC24930-3CF9-48E7-A91C-4D329752D3D7}"/>
                  </a:ext>
                </a:extLst>
              </p:cNvPr>
              <p:cNvSpPr/>
              <p:nvPr/>
            </p:nvSpPr>
            <p:spPr>
              <a:xfrm>
                <a:off x="17704199" y="9045700"/>
                <a:ext cx="130969" cy="60335"/>
              </a:xfrm>
              <a:custGeom>
                <a:avLst/>
                <a:gdLst>
                  <a:gd name="connsiteX0" fmla="*/ 18100 w 130969"/>
                  <a:gd name="connsiteY0" fmla="*/ 60335 h 60335"/>
                  <a:gd name="connsiteX1" fmla="*/ 12066 w 130969"/>
                  <a:gd name="connsiteY1" fmla="*/ 54302 h 60335"/>
                  <a:gd name="connsiteX2" fmla="*/ 18100 w 130969"/>
                  <a:gd name="connsiteY2" fmla="*/ 48268 h 60335"/>
                  <a:gd name="connsiteX3" fmla="*/ 117653 w 130969"/>
                  <a:gd name="connsiteY3" fmla="*/ 27151 h 60335"/>
                  <a:gd name="connsiteX4" fmla="*/ 117653 w 130969"/>
                  <a:gd name="connsiteY4" fmla="*/ 18101 h 60335"/>
                  <a:gd name="connsiteX5" fmla="*/ 99553 w 130969"/>
                  <a:gd name="connsiteY5" fmla="*/ 12067 h 60335"/>
                  <a:gd name="connsiteX6" fmla="*/ 60335 w 130969"/>
                  <a:gd name="connsiteY6" fmla="*/ 15084 h 60335"/>
                  <a:gd name="connsiteX7" fmla="*/ 6032 w 130969"/>
                  <a:gd name="connsiteY7" fmla="*/ 18101 h 60335"/>
                  <a:gd name="connsiteX8" fmla="*/ 0 w 130969"/>
                  <a:gd name="connsiteY8" fmla="*/ 12067 h 60335"/>
                  <a:gd name="connsiteX9" fmla="*/ 6032 w 130969"/>
                  <a:gd name="connsiteY9" fmla="*/ 6033 h 60335"/>
                  <a:gd name="connsiteX10" fmla="*/ 57317 w 130969"/>
                  <a:gd name="connsiteY10" fmla="*/ 3017 h 60335"/>
                  <a:gd name="connsiteX11" fmla="*/ 99553 w 130969"/>
                  <a:gd name="connsiteY11" fmla="*/ 0 h 60335"/>
                  <a:gd name="connsiteX12" fmla="*/ 126702 w 130969"/>
                  <a:gd name="connsiteY12" fmla="*/ 12067 h 60335"/>
                  <a:gd name="connsiteX13" fmla="*/ 129720 w 130969"/>
                  <a:gd name="connsiteY13" fmla="*/ 30168 h 60335"/>
                  <a:gd name="connsiteX14" fmla="*/ 18100 w 130969"/>
                  <a:gd name="connsiteY14" fmla="*/ 60335 h 60335"/>
                  <a:gd name="connsiteX15" fmla="*/ 18100 w 130969"/>
                  <a:gd name="connsiteY15" fmla="*/ 60335 h 60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0969" h="60335">
                    <a:moveTo>
                      <a:pt x="18100" y="60335"/>
                    </a:moveTo>
                    <a:cubicBezTo>
                      <a:pt x="15084" y="60335"/>
                      <a:pt x="12066" y="57319"/>
                      <a:pt x="12066" y="54302"/>
                    </a:cubicBezTo>
                    <a:cubicBezTo>
                      <a:pt x="12066" y="51285"/>
                      <a:pt x="15084" y="48268"/>
                      <a:pt x="18100" y="48268"/>
                    </a:cubicBezTo>
                    <a:cubicBezTo>
                      <a:pt x="69385" y="45251"/>
                      <a:pt x="114637" y="33185"/>
                      <a:pt x="117653" y="27151"/>
                    </a:cubicBezTo>
                    <a:cubicBezTo>
                      <a:pt x="117653" y="21117"/>
                      <a:pt x="117653" y="21117"/>
                      <a:pt x="117653" y="18101"/>
                    </a:cubicBezTo>
                    <a:cubicBezTo>
                      <a:pt x="114637" y="15084"/>
                      <a:pt x="108603" y="12067"/>
                      <a:pt x="99553" y="12067"/>
                    </a:cubicBezTo>
                    <a:cubicBezTo>
                      <a:pt x="93519" y="12067"/>
                      <a:pt x="75419" y="12067"/>
                      <a:pt x="60335" y="15084"/>
                    </a:cubicBezTo>
                    <a:cubicBezTo>
                      <a:pt x="39218" y="18101"/>
                      <a:pt x="15084" y="18101"/>
                      <a:pt x="6032" y="18101"/>
                    </a:cubicBezTo>
                    <a:cubicBezTo>
                      <a:pt x="3016" y="18101"/>
                      <a:pt x="0" y="15084"/>
                      <a:pt x="0" y="12067"/>
                    </a:cubicBezTo>
                    <a:cubicBezTo>
                      <a:pt x="0" y="9050"/>
                      <a:pt x="3016" y="6033"/>
                      <a:pt x="6032" y="6033"/>
                    </a:cubicBezTo>
                    <a:cubicBezTo>
                      <a:pt x="15084" y="6033"/>
                      <a:pt x="36200" y="6033"/>
                      <a:pt x="57317" y="3017"/>
                    </a:cubicBezTo>
                    <a:cubicBezTo>
                      <a:pt x="75419" y="3017"/>
                      <a:pt x="90503" y="0"/>
                      <a:pt x="99553" y="0"/>
                    </a:cubicBezTo>
                    <a:cubicBezTo>
                      <a:pt x="114637" y="0"/>
                      <a:pt x="123686" y="3017"/>
                      <a:pt x="126702" y="12067"/>
                    </a:cubicBezTo>
                    <a:cubicBezTo>
                      <a:pt x="129720" y="15084"/>
                      <a:pt x="132736" y="21117"/>
                      <a:pt x="129720" y="30168"/>
                    </a:cubicBezTo>
                    <a:cubicBezTo>
                      <a:pt x="120670" y="51285"/>
                      <a:pt x="48267" y="60335"/>
                      <a:pt x="18100" y="60335"/>
                    </a:cubicBezTo>
                    <a:lnTo>
                      <a:pt x="18100" y="60335"/>
                    </a:lnTo>
                    <a:close/>
                  </a:path>
                </a:pathLst>
              </a:custGeom>
              <a:solidFill>
                <a:srgbClr val="E87952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98857495-119B-47C6-A406-BC3E2C4D4899}"/>
                  </a:ext>
                </a:extLst>
              </p:cNvPr>
              <p:cNvSpPr/>
              <p:nvPr/>
            </p:nvSpPr>
            <p:spPr>
              <a:xfrm>
                <a:off x="17716265" y="9008250"/>
                <a:ext cx="176954" cy="52534"/>
              </a:xfrm>
              <a:custGeom>
                <a:avLst/>
                <a:gdLst>
                  <a:gd name="connsiteX0" fmla="*/ 102571 w 176954"/>
                  <a:gd name="connsiteY0" fmla="*/ 52534 h 52534"/>
                  <a:gd name="connsiteX1" fmla="*/ 96537 w 176954"/>
                  <a:gd name="connsiteY1" fmla="*/ 46501 h 52534"/>
                  <a:gd name="connsiteX2" fmla="*/ 102571 w 176954"/>
                  <a:gd name="connsiteY2" fmla="*/ 40468 h 52534"/>
                  <a:gd name="connsiteX3" fmla="*/ 162906 w 176954"/>
                  <a:gd name="connsiteY3" fmla="*/ 31417 h 52534"/>
                  <a:gd name="connsiteX4" fmla="*/ 162906 w 176954"/>
                  <a:gd name="connsiteY4" fmla="*/ 25384 h 52534"/>
                  <a:gd name="connsiteX5" fmla="*/ 144804 w 176954"/>
                  <a:gd name="connsiteY5" fmla="*/ 13317 h 52534"/>
                  <a:gd name="connsiteX6" fmla="*/ 78437 w 176954"/>
                  <a:gd name="connsiteY6" fmla="*/ 16333 h 52534"/>
                  <a:gd name="connsiteX7" fmla="*/ 66369 w 176954"/>
                  <a:gd name="connsiteY7" fmla="*/ 16333 h 52534"/>
                  <a:gd name="connsiteX8" fmla="*/ 6034 w 176954"/>
                  <a:gd name="connsiteY8" fmla="*/ 16333 h 52534"/>
                  <a:gd name="connsiteX9" fmla="*/ 0 w 176954"/>
                  <a:gd name="connsiteY9" fmla="*/ 10300 h 52534"/>
                  <a:gd name="connsiteX10" fmla="*/ 6034 w 176954"/>
                  <a:gd name="connsiteY10" fmla="*/ 4267 h 52534"/>
                  <a:gd name="connsiteX11" fmla="*/ 6034 w 176954"/>
                  <a:gd name="connsiteY11" fmla="*/ 4267 h 52534"/>
                  <a:gd name="connsiteX12" fmla="*/ 66369 w 176954"/>
                  <a:gd name="connsiteY12" fmla="*/ 4267 h 52534"/>
                  <a:gd name="connsiteX13" fmla="*/ 78437 w 176954"/>
                  <a:gd name="connsiteY13" fmla="*/ 4267 h 52534"/>
                  <a:gd name="connsiteX14" fmla="*/ 147822 w 176954"/>
                  <a:gd name="connsiteY14" fmla="*/ 1250 h 52534"/>
                  <a:gd name="connsiteX15" fmla="*/ 174972 w 176954"/>
                  <a:gd name="connsiteY15" fmla="*/ 22367 h 52534"/>
                  <a:gd name="connsiteX16" fmla="*/ 171956 w 176954"/>
                  <a:gd name="connsiteY16" fmla="*/ 37451 h 52534"/>
                  <a:gd name="connsiteX17" fmla="*/ 102571 w 176954"/>
                  <a:gd name="connsiteY17" fmla="*/ 52534 h 52534"/>
                  <a:gd name="connsiteX18" fmla="*/ 102571 w 176954"/>
                  <a:gd name="connsiteY18" fmla="*/ 52534 h 52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76954" h="52534">
                    <a:moveTo>
                      <a:pt x="102571" y="52534"/>
                    </a:moveTo>
                    <a:cubicBezTo>
                      <a:pt x="99553" y="52534"/>
                      <a:pt x="96537" y="49518"/>
                      <a:pt x="96537" y="46501"/>
                    </a:cubicBezTo>
                    <a:cubicBezTo>
                      <a:pt x="96537" y="43484"/>
                      <a:pt x="99553" y="40468"/>
                      <a:pt x="102571" y="40468"/>
                    </a:cubicBezTo>
                    <a:cubicBezTo>
                      <a:pt x="132738" y="40468"/>
                      <a:pt x="159888" y="34434"/>
                      <a:pt x="162906" y="31417"/>
                    </a:cubicBezTo>
                    <a:cubicBezTo>
                      <a:pt x="162906" y="31417"/>
                      <a:pt x="162906" y="28400"/>
                      <a:pt x="162906" y="25384"/>
                    </a:cubicBezTo>
                    <a:cubicBezTo>
                      <a:pt x="159888" y="19350"/>
                      <a:pt x="150838" y="13317"/>
                      <a:pt x="144804" y="13317"/>
                    </a:cubicBezTo>
                    <a:cubicBezTo>
                      <a:pt x="135754" y="10300"/>
                      <a:pt x="96537" y="16333"/>
                      <a:pt x="78437" y="16333"/>
                    </a:cubicBezTo>
                    <a:cubicBezTo>
                      <a:pt x="72403" y="16333"/>
                      <a:pt x="69385" y="16333"/>
                      <a:pt x="66369" y="16333"/>
                    </a:cubicBezTo>
                    <a:cubicBezTo>
                      <a:pt x="57319" y="16333"/>
                      <a:pt x="6034" y="16333"/>
                      <a:pt x="6034" y="16333"/>
                    </a:cubicBezTo>
                    <a:cubicBezTo>
                      <a:pt x="3018" y="16333"/>
                      <a:pt x="0" y="13317"/>
                      <a:pt x="0" y="10300"/>
                    </a:cubicBezTo>
                    <a:cubicBezTo>
                      <a:pt x="0" y="7283"/>
                      <a:pt x="3018" y="4267"/>
                      <a:pt x="6034" y="4267"/>
                    </a:cubicBezTo>
                    <a:lnTo>
                      <a:pt x="6034" y="4267"/>
                    </a:lnTo>
                    <a:cubicBezTo>
                      <a:pt x="21118" y="4267"/>
                      <a:pt x="57319" y="7283"/>
                      <a:pt x="66369" y="4267"/>
                    </a:cubicBezTo>
                    <a:cubicBezTo>
                      <a:pt x="69385" y="4267"/>
                      <a:pt x="72403" y="4267"/>
                      <a:pt x="78437" y="4267"/>
                    </a:cubicBezTo>
                    <a:cubicBezTo>
                      <a:pt x="105587" y="1250"/>
                      <a:pt x="135754" y="-1767"/>
                      <a:pt x="147822" y="1250"/>
                    </a:cubicBezTo>
                    <a:cubicBezTo>
                      <a:pt x="159888" y="4267"/>
                      <a:pt x="171956" y="10300"/>
                      <a:pt x="174972" y="22367"/>
                    </a:cubicBezTo>
                    <a:cubicBezTo>
                      <a:pt x="177990" y="28400"/>
                      <a:pt x="177990" y="34434"/>
                      <a:pt x="171956" y="37451"/>
                    </a:cubicBezTo>
                    <a:cubicBezTo>
                      <a:pt x="165922" y="49518"/>
                      <a:pt x="120670" y="52534"/>
                      <a:pt x="102571" y="52534"/>
                    </a:cubicBezTo>
                    <a:lnTo>
                      <a:pt x="102571" y="52534"/>
                    </a:lnTo>
                    <a:close/>
                  </a:path>
                </a:pathLst>
              </a:custGeom>
              <a:solidFill>
                <a:srgbClr val="E87952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1A3DEEE1-D3E2-4C88-89BF-5FBE8F9F4E9F}"/>
                </a:ext>
              </a:extLst>
            </p:cNvPr>
            <p:cNvSpPr/>
            <p:nvPr/>
          </p:nvSpPr>
          <p:spPr>
            <a:xfrm>
              <a:off x="14259059" y="12174080"/>
              <a:ext cx="4096759" cy="362011"/>
            </a:xfrm>
            <a:custGeom>
              <a:avLst/>
              <a:gdLst>
                <a:gd name="connsiteX0" fmla="*/ 4096760 w 4096759"/>
                <a:gd name="connsiteY0" fmla="*/ 343910 h 362011"/>
                <a:gd name="connsiteX1" fmla="*/ 0 w 4096759"/>
                <a:gd name="connsiteY1" fmla="*/ 362011 h 362011"/>
                <a:gd name="connsiteX2" fmla="*/ 654636 w 4096759"/>
                <a:gd name="connsiteY2" fmla="*/ 18101 h 362011"/>
                <a:gd name="connsiteX3" fmla="*/ 3442122 w 4096759"/>
                <a:gd name="connsiteY3" fmla="*/ 0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6759" h="362011">
                  <a:moveTo>
                    <a:pt x="4096760" y="343910"/>
                  </a:moveTo>
                  <a:lnTo>
                    <a:pt x="0" y="362011"/>
                  </a:lnTo>
                  <a:lnTo>
                    <a:pt x="654636" y="18101"/>
                  </a:lnTo>
                  <a:lnTo>
                    <a:pt x="3442122" y="0"/>
                  </a:ln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0484F9A2-DDD7-4740-AA14-3A5C32F8D4E7}"/>
                </a:ext>
              </a:extLst>
            </p:cNvPr>
            <p:cNvSpPr/>
            <p:nvPr/>
          </p:nvSpPr>
          <p:spPr>
            <a:xfrm>
              <a:off x="14946752" y="10164918"/>
              <a:ext cx="2356216" cy="2072514"/>
            </a:xfrm>
            <a:custGeom>
              <a:avLst/>
              <a:gdLst>
                <a:gd name="connsiteX0" fmla="*/ 467725 w 2356216"/>
                <a:gd name="connsiteY0" fmla="*/ 21118 h 2072514"/>
                <a:gd name="connsiteX1" fmla="*/ 127 w 2356216"/>
                <a:gd name="connsiteY1" fmla="*/ 962347 h 2072514"/>
                <a:gd name="connsiteX2" fmla="*/ 374205 w 2356216"/>
                <a:gd name="connsiteY2" fmla="*/ 2042347 h 2072514"/>
                <a:gd name="connsiteX3" fmla="*/ 549178 w 2356216"/>
                <a:gd name="connsiteY3" fmla="*/ 2072514 h 2072514"/>
                <a:gd name="connsiteX4" fmla="*/ 374205 w 2356216"/>
                <a:gd name="connsiteY4" fmla="*/ 1037766 h 2072514"/>
                <a:gd name="connsiteX5" fmla="*/ 1010742 w 2356216"/>
                <a:gd name="connsiteY5" fmla="*/ 443464 h 2072514"/>
                <a:gd name="connsiteX6" fmla="*/ 2190295 w 2356216"/>
                <a:gd name="connsiteY6" fmla="*/ 2072514 h 2072514"/>
                <a:gd name="connsiteX7" fmla="*/ 2356217 w 2356216"/>
                <a:gd name="connsiteY7" fmla="*/ 2048381 h 2072514"/>
                <a:gd name="connsiteX8" fmla="*/ 1478340 w 2356216"/>
                <a:gd name="connsiteY8" fmla="*/ 0 h 2072514"/>
                <a:gd name="connsiteX9" fmla="*/ 467725 w 2356216"/>
                <a:gd name="connsiteY9" fmla="*/ 21118 h 2072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56216" h="2072514">
                  <a:moveTo>
                    <a:pt x="467725" y="21118"/>
                  </a:moveTo>
                  <a:cubicBezTo>
                    <a:pt x="467725" y="21118"/>
                    <a:pt x="-8923" y="802458"/>
                    <a:pt x="127" y="962347"/>
                  </a:cubicBezTo>
                  <a:cubicBezTo>
                    <a:pt x="15211" y="1212738"/>
                    <a:pt x="374205" y="2042347"/>
                    <a:pt x="374205" y="2042347"/>
                  </a:cubicBezTo>
                  <a:lnTo>
                    <a:pt x="549178" y="2072514"/>
                  </a:lnTo>
                  <a:cubicBezTo>
                    <a:pt x="549178" y="2072514"/>
                    <a:pt x="368172" y="1134302"/>
                    <a:pt x="374205" y="1037766"/>
                  </a:cubicBezTo>
                  <a:cubicBezTo>
                    <a:pt x="380239" y="898995"/>
                    <a:pt x="995658" y="473632"/>
                    <a:pt x="1010742" y="443464"/>
                  </a:cubicBezTo>
                  <a:cubicBezTo>
                    <a:pt x="1025826" y="413296"/>
                    <a:pt x="2190295" y="2072514"/>
                    <a:pt x="2190295" y="2072514"/>
                  </a:cubicBezTo>
                  <a:lnTo>
                    <a:pt x="2356217" y="2048381"/>
                  </a:lnTo>
                  <a:cubicBezTo>
                    <a:pt x="2356217" y="2048381"/>
                    <a:pt x="1523591" y="96537"/>
                    <a:pt x="1478340" y="0"/>
                  </a:cubicBezTo>
                  <a:cubicBezTo>
                    <a:pt x="790519" y="33185"/>
                    <a:pt x="467725" y="21118"/>
                    <a:pt x="467725" y="21118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06404966-9D08-4B83-BC9A-E3E7472890F8}"/>
                </a:ext>
              </a:extLst>
            </p:cNvPr>
            <p:cNvSpPr/>
            <p:nvPr/>
          </p:nvSpPr>
          <p:spPr>
            <a:xfrm>
              <a:off x="14886544" y="10167935"/>
              <a:ext cx="2081564" cy="1212737"/>
            </a:xfrm>
            <a:custGeom>
              <a:avLst/>
              <a:gdLst>
                <a:gd name="connsiteX0" fmla="*/ 527933 w 2081564"/>
                <a:gd name="connsiteY0" fmla="*/ 18101 h 1212737"/>
                <a:gd name="connsiteX1" fmla="*/ 0 w 2081564"/>
                <a:gd name="connsiteY1" fmla="*/ 962346 h 1212737"/>
                <a:gd name="connsiteX2" fmla="*/ 512849 w 2081564"/>
                <a:gd name="connsiteY2" fmla="*/ 1107151 h 1212737"/>
                <a:gd name="connsiteX3" fmla="*/ 989497 w 2081564"/>
                <a:gd name="connsiteY3" fmla="*/ 558101 h 1212737"/>
                <a:gd name="connsiteX4" fmla="*/ 1544581 w 2081564"/>
                <a:gd name="connsiteY4" fmla="*/ 1212738 h 1212737"/>
                <a:gd name="connsiteX5" fmla="*/ 2081564 w 2081564"/>
                <a:gd name="connsiteY5" fmla="*/ 1089051 h 1212737"/>
                <a:gd name="connsiteX6" fmla="*/ 1538548 w 2081564"/>
                <a:gd name="connsiteY6" fmla="*/ 0 h 1212737"/>
                <a:gd name="connsiteX7" fmla="*/ 527933 w 2081564"/>
                <a:gd name="connsiteY7" fmla="*/ 18101 h 12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81564" h="1212737">
                  <a:moveTo>
                    <a:pt x="527933" y="18101"/>
                  </a:moveTo>
                  <a:cubicBezTo>
                    <a:pt x="527933" y="18101"/>
                    <a:pt x="105587" y="606369"/>
                    <a:pt x="0" y="962346"/>
                  </a:cubicBezTo>
                  <a:cubicBezTo>
                    <a:pt x="120670" y="995531"/>
                    <a:pt x="256425" y="1055866"/>
                    <a:pt x="512849" y="1107151"/>
                  </a:cubicBezTo>
                  <a:cubicBezTo>
                    <a:pt x="633520" y="983464"/>
                    <a:pt x="974413" y="588268"/>
                    <a:pt x="989497" y="558101"/>
                  </a:cubicBezTo>
                  <a:cubicBezTo>
                    <a:pt x="1004581" y="527933"/>
                    <a:pt x="1544581" y="1212738"/>
                    <a:pt x="1544581" y="1212738"/>
                  </a:cubicBezTo>
                  <a:cubicBezTo>
                    <a:pt x="1544581" y="1212738"/>
                    <a:pt x="1810056" y="1167486"/>
                    <a:pt x="2081564" y="1089051"/>
                  </a:cubicBezTo>
                  <a:cubicBezTo>
                    <a:pt x="2018212" y="895978"/>
                    <a:pt x="1583799" y="96537"/>
                    <a:pt x="1538548" y="0"/>
                  </a:cubicBezTo>
                  <a:cubicBezTo>
                    <a:pt x="850727" y="30168"/>
                    <a:pt x="527933" y="18101"/>
                    <a:pt x="527933" y="18101"/>
                  </a:cubicBezTo>
                  <a:close/>
                </a:path>
              </a:pathLst>
            </a:custGeom>
            <a:solidFill>
              <a:srgbClr val="F1DDBA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82CBD2D2-1168-44E3-9A9D-4ED907B23499}"/>
                </a:ext>
              </a:extLst>
            </p:cNvPr>
            <p:cNvSpPr/>
            <p:nvPr/>
          </p:nvSpPr>
          <p:spPr>
            <a:xfrm>
              <a:off x="15839533" y="10309723"/>
              <a:ext cx="43791" cy="422346"/>
            </a:xfrm>
            <a:custGeom>
              <a:avLst/>
              <a:gdLst>
                <a:gd name="connsiteX0" fmla="*/ 39525 w 43791"/>
                <a:gd name="connsiteY0" fmla="*/ 422346 h 422346"/>
                <a:gd name="connsiteX1" fmla="*/ 33492 w 43791"/>
                <a:gd name="connsiteY1" fmla="*/ 419329 h 422346"/>
                <a:gd name="connsiteX2" fmla="*/ 3325 w 43791"/>
                <a:gd name="connsiteY2" fmla="*/ 6033 h 422346"/>
                <a:gd name="connsiteX3" fmla="*/ 9358 w 43791"/>
                <a:gd name="connsiteY3" fmla="*/ 0 h 422346"/>
                <a:gd name="connsiteX4" fmla="*/ 9358 w 43791"/>
                <a:gd name="connsiteY4" fmla="*/ 0 h 422346"/>
                <a:gd name="connsiteX5" fmla="*/ 15392 w 43791"/>
                <a:gd name="connsiteY5" fmla="*/ 6033 h 422346"/>
                <a:gd name="connsiteX6" fmla="*/ 42542 w 43791"/>
                <a:gd name="connsiteY6" fmla="*/ 413296 h 422346"/>
                <a:gd name="connsiteX7" fmla="*/ 39525 w 43791"/>
                <a:gd name="connsiteY7" fmla="*/ 422346 h 422346"/>
                <a:gd name="connsiteX8" fmla="*/ 39525 w 43791"/>
                <a:gd name="connsiteY8" fmla="*/ 422346 h 422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791" h="422346">
                  <a:moveTo>
                    <a:pt x="39525" y="422346"/>
                  </a:moveTo>
                  <a:cubicBezTo>
                    <a:pt x="36508" y="422346"/>
                    <a:pt x="36508" y="422346"/>
                    <a:pt x="33492" y="419329"/>
                  </a:cubicBezTo>
                  <a:cubicBezTo>
                    <a:pt x="-14776" y="304693"/>
                    <a:pt x="3325" y="18101"/>
                    <a:pt x="3325" y="6033"/>
                  </a:cubicBezTo>
                  <a:cubicBezTo>
                    <a:pt x="3325" y="3017"/>
                    <a:pt x="6341" y="0"/>
                    <a:pt x="9358" y="0"/>
                  </a:cubicBezTo>
                  <a:cubicBezTo>
                    <a:pt x="9358" y="0"/>
                    <a:pt x="9358" y="0"/>
                    <a:pt x="9358" y="0"/>
                  </a:cubicBezTo>
                  <a:cubicBezTo>
                    <a:pt x="12375" y="0"/>
                    <a:pt x="15392" y="3017"/>
                    <a:pt x="15392" y="6033"/>
                  </a:cubicBezTo>
                  <a:cubicBezTo>
                    <a:pt x="15392" y="9050"/>
                    <a:pt x="-5726" y="301676"/>
                    <a:pt x="42542" y="413296"/>
                  </a:cubicBezTo>
                  <a:cubicBezTo>
                    <a:pt x="45559" y="419329"/>
                    <a:pt x="42542" y="422346"/>
                    <a:pt x="39525" y="422346"/>
                  </a:cubicBezTo>
                  <a:cubicBezTo>
                    <a:pt x="39525" y="422346"/>
                    <a:pt x="39525" y="422346"/>
                    <a:pt x="39525" y="422346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58B070E2-531F-45C6-B0CB-9968108AC02E}"/>
                </a:ext>
              </a:extLst>
            </p:cNvPr>
            <p:cNvSpPr/>
            <p:nvPr/>
          </p:nvSpPr>
          <p:spPr>
            <a:xfrm>
              <a:off x="15734254" y="10240337"/>
              <a:ext cx="123687" cy="331843"/>
            </a:xfrm>
            <a:custGeom>
              <a:avLst/>
              <a:gdLst>
                <a:gd name="connsiteX0" fmla="*/ 114637 w 123687"/>
                <a:gd name="connsiteY0" fmla="*/ 331844 h 331843"/>
                <a:gd name="connsiteX1" fmla="*/ 111620 w 123687"/>
                <a:gd name="connsiteY1" fmla="*/ 331844 h 331843"/>
                <a:gd name="connsiteX2" fmla="*/ 33185 w 123687"/>
                <a:gd name="connsiteY2" fmla="*/ 271508 h 331843"/>
                <a:gd name="connsiteX3" fmla="*/ 0 w 123687"/>
                <a:gd name="connsiteY3" fmla="*/ 6034 h 331843"/>
                <a:gd name="connsiteX4" fmla="*/ 6033 w 123687"/>
                <a:gd name="connsiteY4" fmla="*/ 0 h 331843"/>
                <a:gd name="connsiteX5" fmla="*/ 6033 w 123687"/>
                <a:gd name="connsiteY5" fmla="*/ 0 h 331843"/>
                <a:gd name="connsiteX6" fmla="*/ 12067 w 123687"/>
                <a:gd name="connsiteY6" fmla="*/ 6034 h 331843"/>
                <a:gd name="connsiteX7" fmla="*/ 45251 w 123687"/>
                <a:gd name="connsiteY7" fmla="*/ 265475 h 331843"/>
                <a:gd name="connsiteX8" fmla="*/ 120670 w 123687"/>
                <a:gd name="connsiteY8" fmla="*/ 322794 h 331843"/>
                <a:gd name="connsiteX9" fmla="*/ 123687 w 123687"/>
                <a:gd name="connsiteY9" fmla="*/ 331844 h 331843"/>
                <a:gd name="connsiteX10" fmla="*/ 114637 w 123687"/>
                <a:gd name="connsiteY10" fmla="*/ 331844 h 33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687" h="331843">
                  <a:moveTo>
                    <a:pt x="114637" y="331844"/>
                  </a:moveTo>
                  <a:cubicBezTo>
                    <a:pt x="114637" y="331844"/>
                    <a:pt x="111620" y="331844"/>
                    <a:pt x="111620" y="331844"/>
                  </a:cubicBezTo>
                  <a:cubicBezTo>
                    <a:pt x="105587" y="328828"/>
                    <a:pt x="45251" y="286592"/>
                    <a:pt x="33185" y="271508"/>
                  </a:cubicBezTo>
                  <a:cubicBezTo>
                    <a:pt x="21117" y="256425"/>
                    <a:pt x="3017" y="48268"/>
                    <a:pt x="0" y="6034"/>
                  </a:cubicBezTo>
                  <a:cubicBezTo>
                    <a:pt x="0" y="3017"/>
                    <a:pt x="3017" y="0"/>
                    <a:pt x="6033" y="0"/>
                  </a:cubicBezTo>
                  <a:cubicBezTo>
                    <a:pt x="6033" y="0"/>
                    <a:pt x="6033" y="0"/>
                    <a:pt x="6033" y="0"/>
                  </a:cubicBezTo>
                  <a:cubicBezTo>
                    <a:pt x="9050" y="0"/>
                    <a:pt x="12067" y="3017"/>
                    <a:pt x="12067" y="6034"/>
                  </a:cubicBezTo>
                  <a:cubicBezTo>
                    <a:pt x="21117" y="99554"/>
                    <a:pt x="36201" y="253409"/>
                    <a:pt x="45251" y="265475"/>
                  </a:cubicBezTo>
                  <a:cubicBezTo>
                    <a:pt x="54301" y="277542"/>
                    <a:pt x="102570" y="310727"/>
                    <a:pt x="120670" y="322794"/>
                  </a:cubicBezTo>
                  <a:cubicBezTo>
                    <a:pt x="123687" y="325811"/>
                    <a:pt x="123687" y="328828"/>
                    <a:pt x="123687" y="331844"/>
                  </a:cubicBezTo>
                  <a:cubicBezTo>
                    <a:pt x="117653" y="331844"/>
                    <a:pt x="114637" y="331844"/>
                    <a:pt x="114637" y="331844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C44B35A5-4DF9-4A65-ABE1-506E7A872819}"/>
                </a:ext>
              </a:extLst>
            </p:cNvPr>
            <p:cNvSpPr/>
            <p:nvPr/>
          </p:nvSpPr>
          <p:spPr>
            <a:xfrm>
              <a:off x="15767439" y="8620338"/>
              <a:ext cx="247373" cy="255529"/>
            </a:xfrm>
            <a:custGeom>
              <a:avLst/>
              <a:gdLst>
                <a:gd name="connsiteX0" fmla="*/ 0 w 247373"/>
                <a:gd name="connsiteY0" fmla="*/ 39218 h 255529"/>
                <a:gd name="connsiteX1" fmla="*/ 6033 w 247373"/>
                <a:gd name="connsiteY1" fmla="*/ 211173 h 255529"/>
                <a:gd name="connsiteX2" fmla="*/ 247374 w 247373"/>
                <a:gd name="connsiteY2" fmla="*/ 202123 h 255529"/>
                <a:gd name="connsiteX3" fmla="*/ 232290 w 247373"/>
                <a:gd name="connsiteY3" fmla="*/ 0 h 255529"/>
                <a:gd name="connsiteX4" fmla="*/ 0 w 247373"/>
                <a:gd name="connsiteY4" fmla="*/ 39218 h 255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373" h="255529">
                  <a:moveTo>
                    <a:pt x="0" y="39218"/>
                  </a:moveTo>
                  <a:cubicBezTo>
                    <a:pt x="0" y="39218"/>
                    <a:pt x="6033" y="138771"/>
                    <a:pt x="6033" y="211173"/>
                  </a:cubicBezTo>
                  <a:cubicBezTo>
                    <a:pt x="6033" y="211173"/>
                    <a:pt x="99553" y="316760"/>
                    <a:pt x="247374" y="202123"/>
                  </a:cubicBezTo>
                  <a:cubicBezTo>
                    <a:pt x="247374" y="141788"/>
                    <a:pt x="235307" y="63352"/>
                    <a:pt x="232290" y="0"/>
                  </a:cubicBezTo>
                  <a:cubicBezTo>
                    <a:pt x="235307" y="0"/>
                    <a:pt x="54301" y="51285"/>
                    <a:pt x="0" y="39218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86264517-40E9-4917-A47E-9457ACA75008}"/>
                </a:ext>
              </a:extLst>
            </p:cNvPr>
            <p:cNvSpPr/>
            <p:nvPr/>
          </p:nvSpPr>
          <p:spPr>
            <a:xfrm>
              <a:off x="15399886" y="8780225"/>
              <a:ext cx="1070456" cy="1476101"/>
            </a:xfrm>
            <a:custGeom>
              <a:avLst/>
              <a:gdLst>
                <a:gd name="connsiteX0" fmla="*/ 633027 w 1070456"/>
                <a:gd name="connsiteY0" fmla="*/ 0 h 1476101"/>
                <a:gd name="connsiteX1" fmla="*/ 346435 w 1070456"/>
                <a:gd name="connsiteY1" fmla="*/ 0 h 1476101"/>
                <a:gd name="connsiteX2" fmla="*/ 59842 w 1070456"/>
                <a:gd name="connsiteY2" fmla="*/ 75419 h 1476101"/>
                <a:gd name="connsiteX3" fmla="*/ 2524 w 1070456"/>
                <a:gd name="connsiteY3" fmla="*/ 1426928 h 1476101"/>
                <a:gd name="connsiteX4" fmla="*/ 1070457 w 1070456"/>
                <a:gd name="connsiteY4" fmla="*/ 1429944 h 1476101"/>
                <a:gd name="connsiteX5" fmla="*/ 931686 w 1070456"/>
                <a:gd name="connsiteY5" fmla="*/ 60335 h 1476101"/>
                <a:gd name="connsiteX6" fmla="*/ 633027 w 1070456"/>
                <a:gd name="connsiteY6" fmla="*/ 0 h 147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0456" h="1476101">
                  <a:moveTo>
                    <a:pt x="633027" y="0"/>
                  </a:moveTo>
                  <a:cubicBezTo>
                    <a:pt x="633027" y="0"/>
                    <a:pt x="461071" y="54302"/>
                    <a:pt x="346435" y="0"/>
                  </a:cubicBezTo>
                  <a:cubicBezTo>
                    <a:pt x="346435" y="0"/>
                    <a:pt x="96044" y="57319"/>
                    <a:pt x="59842" y="75419"/>
                  </a:cubicBezTo>
                  <a:cubicBezTo>
                    <a:pt x="23641" y="93520"/>
                    <a:pt x="-9543" y="1360559"/>
                    <a:pt x="2524" y="1426928"/>
                  </a:cubicBezTo>
                  <a:cubicBezTo>
                    <a:pt x="2524" y="1426928"/>
                    <a:pt x="497273" y="1535531"/>
                    <a:pt x="1070457" y="1429944"/>
                  </a:cubicBezTo>
                  <a:cubicBezTo>
                    <a:pt x="1070457" y="1076984"/>
                    <a:pt x="982971" y="78436"/>
                    <a:pt x="931686" y="60335"/>
                  </a:cubicBezTo>
                  <a:cubicBezTo>
                    <a:pt x="832133" y="33185"/>
                    <a:pt x="633027" y="0"/>
                    <a:pt x="633027" y="0"/>
                  </a:cubicBezTo>
                  <a:close/>
                </a:path>
              </a:pathLst>
            </a:custGeom>
            <a:solidFill>
              <a:srgbClr val="70868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AC4EE68-FA9D-4A02-9F65-E965004798E1}"/>
                </a:ext>
              </a:extLst>
            </p:cNvPr>
            <p:cNvSpPr/>
            <p:nvPr/>
          </p:nvSpPr>
          <p:spPr>
            <a:xfrm>
              <a:off x="15102958" y="8835868"/>
              <a:ext cx="580061" cy="393854"/>
            </a:xfrm>
            <a:custGeom>
              <a:avLst/>
              <a:gdLst>
                <a:gd name="connsiteX0" fmla="*/ 58111 w 580061"/>
                <a:gd name="connsiteY0" fmla="*/ 393855 h 393854"/>
                <a:gd name="connsiteX1" fmla="*/ 580010 w 580061"/>
                <a:gd name="connsiteY1" fmla="*/ 131397 h 393854"/>
                <a:gd name="connsiteX2" fmla="*/ 9843 w 580061"/>
                <a:gd name="connsiteY2" fmla="*/ 4693 h 393854"/>
                <a:gd name="connsiteX3" fmla="*/ 58111 w 580061"/>
                <a:gd name="connsiteY3" fmla="*/ 393855 h 393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061" h="393854">
                  <a:moveTo>
                    <a:pt x="58111" y="393855"/>
                  </a:moveTo>
                  <a:cubicBezTo>
                    <a:pt x="58111" y="393855"/>
                    <a:pt x="586044" y="381788"/>
                    <a:pt x="580010" y="131397"/>
                  </a:cubicBezTo>
                  <a:cubicBezTo>
                    <a:pt x="576993" y="-37542"/>
                    <a:pt x="9843" y="4693"/>
                    <a:pt x="9843" y="4693"/>
                  </a:cubicBezTo>
                  <a:cubicBezTo>
                    <a:pt x="9843" y="4693"/>
                    <a:pt x="-32392" y="200782"/>
                    <a:pt x="58111" y="393855"/>
                  </a:cubicBezTo>
                  <a:close/>
                </a:path>
              </a:pathLst>
            </a:custGeom>
            <a:solidFill>
              <a:srgbClr val="70868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7EDA4513-D556-4006-A86E-FC2004D62397}"/>
                </a:ext>
              </a:extLst>
            </p:cNvPr>
            <p:cNvSpPr/>
            <p:nvPr/>
          </p:nvSpPr>
          <p:spPr>
            <a:xfrm>
              <a:off x="15402410" y="8902663"/>
              <a:ext cx="52534" cy="547283"/>
            </a:xfrm>
            <a:custGeom>
              <a:avLst/>
              <a:gdLst>
                <a:gd name="connsiteX0" fmla="*/ 6033 w 52534"/>
                <a:gd name="connsiteY0" fmla="*/ 547283 h 547283"/>
                <a:gd name="connsiteX1" fmla="*/ 6033 w 52534"/>
                <a:gd name="connsiteY1" fmla="*/ 547283 h 547283"/>
                <a:gd name="connsiteX2" fmla="*/ 0 w 52534"/>
                <a:gd name="connsiteY2" fmla="*/ 541250 h 547283"/>
                <a:gd name="connsiteX3" fmla="*/ 42234 w 52534"/>
                <a:gd name="connsiteY3" fmla="*/ 4267 h 547283"/>
                <a:gd name="connsiteX4" fmla="*/ 48268 w 52534"/>
                <a:gd name="connsiteY4" fmla="*/ 1250 h 547283"/>
                <a:gd name="connsiteX5" fmla="*/ 51284 w 52534"/>
                <a:gd name="connsiteY5" fmla="*/ 7283 h 547283"/>
                <a:gd name="connsiteX6" fmla="*/ 9050 w 52534"/>
                <a:gd name="connsiteY6" fmla="*/ 541250 h 547283"/>
                <a:gd name="connsiteX7" fmla="*/ 6033 w 52534"/>
                <a:gd name="connsiteY7" fmla="*/ 547283 h 547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534" h="547283">
                  <a:moveTo>
                    <a:pt x="6033" y="547283"/>
                  </a:moveTo>
                  <a:cubicBezTo>
                    <a:pt x="6033" y="547283"/>
                    <a:pt x="6033" y="547283"/>
                    <a:pt x="6033" y="547283"/>
                  </a:cubicBezTo>
                  <a:cubicBezTo>
                    <a:pt x="3017" y="547283"/>
                    <a:pt x="0" y="544266"/>
                    <a:pt x="0" y="541250"/>
                  </a:cubicBezTo>
                  <a:cubicBezTo>
                    <a:pt x="0" y="520132"/>
                    <a:pt x="36201" y="43484"/>
                    <a:pt x="42234" y="4267"/>
                  </a:cubicBezTo>
                  <a:cubicBezTo>
                    <a:pt x="42234" y="1250"/>
                    <a:pt x="45251" y="-1767"/>
                    <a:pt x="48268" y="1250"/>
                  </a:cubicBezTo>
                  <a:cubicBezTo>
                    <a:pt x="51284" y="1250"/>
                    <a:pt x="54301" y="4267"/>
                    <a:pt x="51284" y="7283"/>
                  </a:cubicBezTo>
                  <a:cubicBezTo>
                    <a:pt x="42234" y="46501"/>
                    <a:pt x="9050" y="538233"/>
                    <a:pt x="9050" y="541250"/>
                  </a:cubicBezTo>
                  <a:cubicBezTo>
                    <a:pt x="12067" y="547283"/>
                    <a:pt x="9050" y="547283"/>
                    <a:pt x="6033" y="547283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B55FBF31-D594-498F-A76C-08BB2E70A20A}"/>
                </a:ext>
              </a:extLst>
            </p:cNvPr>
            <p:cNvSpPr/>
            <p:nvPr/>
          </p:nvSpPr>
          <p:spPr>
            <a:xfrm>
              <a:off x="16138204" y="8832903"/>
              <a:ext cx="588223" cy="430004"/>
            </a:xfrm>
            <a:custGeom>
              <a:avLst/>
              <a:gdLst>
                <a:gd name="connsiteX0" fmla="*/ 582530 w 588223"/>
                <a:gd name="connsiteY0" fmla="*/ 19725 h 430004"/>
                <a:gd name="connsiteX1" fmla="*/ 3313 w 588223"/>
                <a:gd name="connsiteY1" fmla="*/ 146429 h 430004"/>
                <a:gd name="connsiteX2" fmla="*/ 513145 w 588223"/>
                <a:gd name="connsiteY2" fmla="*/ 430004 h 430004"/>
                <a:gd name="connsiteX3" fmla="*/ 582530 w 588223"/>
                <a:gd name="connsiteY3" fmla="*/ 19725 h 430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223" h="430004">
                  <a:moveTo>
                    <a:pt x="582530" y="19725"/>
                  </a:moveTo>
                  <a:cubicBezTo>
                    <a:pt x="582530" y="19725"/>
                    <a:pt x="48564" y="-73795"/>
                    <a:pt x="3313" y="146429"/>
                  </a:cubicBezTo>
                  <a:cubicBezTo>
                    <a:pt x="-47972" y="393803"/>
                    <a:pt x="513145" y="430004"/>
                    <a:pt x="513145" y="430004"/>
                  </a:cubicBezTo>
                  <a:cubicBezTo>
                    <a:pt x="513145" y="430004"/>
                    <a:pt x="612698" y="230898"/>
                    <a:pt x="582530" y="19725"/>
                  </a:cubicBezTo>
                  <a:close/>
                </a:path>
              </a:pathLst>
            </a:custGeom>
            <a:solidFill>
              <a:srgbClr val="70868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EA055CE8-1051-4C42-903E-B8890269EF4B}"/>
                </a:ext>
              </a:extLst>
            </p:cNvPr>
            <p:cNvSpPr/>
            <p:nvPr/>
          </p:nvSpPr>
          <p:spPr>
            <a:xfrm>
              <a:off x="16292355" y="9137970"/>
              <a:ext cx="408512" cy="133986"/>
            </a:xfrm>
            <a:custGeom>
              <a:avLst/>
              <a:gdLst>
                <a:gd name="connsiteX0" fmla="*/ 358994 w 408512"/>
                <a:gd name="connsiteY0" fmla="*/ 133987 h 133986"/>
                <a:gd name="connsiteX1" fmla="*/ 355977 w 408512"/>
                <a:gd name="connsiteY1" fmla="*/ 133987 h 133986"/>
                <a:gd name="connsiteX2" fmla="*/ 3017 w 408512"/>
                <a:gd name="connsiteY2" fmla="*/ 58568 h 133986"/>
                <a:gd name="connsiteX3" fmla="*/ 0 w 408512"/>
                <a:gd name="connsiteY3" fmla="*/ 52534 h 133986"/>
                <a:gd name="connsiteX4" fmla="*/ 6033 w 408512"/>
                <a:gd name="connsiteY4" fmla="*/ 49518 h 133986"/>
                <a:gd name="connsiteX5" fmla="*/ 352960 w 408512"/>
                <a:gd name="connsiteY5" fmla="*/ 124937 h 133986"/>
                <a:gd name="connsiteX6" fmla="*/ 398212 w 408512"/>
                <a:gd name="connsiteY6" fmla="*/ 4266 h 133986"/>
                <a:gd name="connsiteX7" fmla="*/ 404246 w 408512"/>
                <a:gd name="connsiteY7" fmla="*/ 1250 h 133986"/>
                <a:gd name="connsiteX8" fmla="*/ 407263 w 408512"/>
                <a:gd name="connsiteY8" fmla="*/ 7283 h 133986"/>
                <a:gd name="connsiteX9" fmla="*/ 358994 w 408512"/>
                <a:gd name="connsiteY9" fmla="*/ 133987 h 133986"/>
                <a:gd name="connsiteX10" fmla="*/ 358994 w 408512"/>
                <a:gd name="connsiteY10" fmla="*/ 133987 h 133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08512" h="133986">
                  <a:moveTo>
                    <a:pt x="358994" y="133987"/>
                  </a:moveTo>
                  <a:lnTo>
                    <a:pt x="355977" y="133987"/>
                  </a:lnTo>
                  <a:cubicBezTo>
                    <a:pt x="352960" y="133987"/>
                    <a:pt x="174972" y="121920"/>
                    <a:pt x="3017" y="58568"/>
                  </a:cubicBezTo>
                  <a:cubicBezTo>
                    <a:pt x="0" y="58568"/>
                    <a:pt x="0" y="55551"/>
                    <a:pt x="0" y="52534"/>
                  </a:cubicBezTo>
                  <a:cubicBezTo>
                    <a:pt x="0" y="49518"/>
                    <a:pt x="3017" y="49518"/>
                    <a:pt x="6033" y="49518"/>
                  </a:cubicBezTo>
                  <a:cubicBezTo>
                    <a:pt x="159888" y="106836"/>
                    <a:pt x="325810" y="121920"/>
                    <a:pt x="352960" y="124937"/>
                  </a:cubicBezTo>
                  <a:cubicBezTo>
                    <a:pt x="358994" y="112870"/>
                    <a:pt x="386145" y="58568"/>
                    <a:pt x="398212" y="4266"/>
                  </a:cubicBezTo>
                  <a:cubicBezTo>
                    <a:pt x="398212" y="1250"/>
                    <a:pt x="401229" y="-1767"/>
                    <a:pt x="404246" y="1250"/>
                  </a:cubicBezTo>
                  <a:cubicBezTo>
                    <a:pt x="407263" y="1250"/>
                    <a:pt x="410280" y="4266"/>
                    <a:pt x="407263" y="7283"/>
                  </a:cubicBezTo>
                  <a:cubicBezTo>
                    <a:pt x="392179" y="70635"/>
                    <a:pt x="358994" y="133987"/>
                    <a:pt x="358994" y="133987"/>
                  </a:cubicBezTo>
                  <a:lnTo>
                    <a:pt x="358994" y="133987"/>
                  </a:ln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86BD5BA0-C783-49D4-84BB-88E47C2694FE}"/>
                </a:ext>
              </a:extLst>
            </p:cNvPr>
            <p:cNvSpPr/>
            <p:nvPr/>
          </p:nvSpPr>
          <p:spPr>
            <a:xfrm>
              <a:off x="17121128" y="12164068"/>
              <a:ext cx="481117" cy="192502"/>
            </a:xfrm>
            <a:custGeom>
              <a:avLst/>
              <a:gdLst>
                <a:gd name="connsiteX0" fmla="*/ 145639 w 481117"/>
                <a:gd name="connsiteY0" fmla="*/ 3979 h 192502"/>
                <a:gd name="connsiteX1" fmla="*/ 9885 w 481117"/>
                <a:gd name="connsiteY1" fmla="*/ 61297 h 192502"/>
                <a:gd name="connsiteX2" fmla="*/ 12902 w 481117"/>
                <a:gd name="connsiteY2" fmla="*/ 169901 h 192502"/>
                <a:gd name="connsiteX3" fmla="*/ 480500 w 481117"/>
                <a:gd name="connsiteY3" fmla="*/ 188001 h 192502"/>
                <a:gd name="connsiteX4" fmla="*/ 145639 w 481117"/>
                <a:gd name="connsiteY4" fmla="*/ 3979 h 192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1117" h="192502">
                  <a:moveTo>
                    <a:pt x="145639" y="3979"/>
                  </a:moveTo>
                  <a:cubicBezTo>
                    <a:pt x="136589" y="-17139"/>
                    <a:pt x="12902" y="52246"/>
                    <a:pt x="9885" y="61297"/>
                  </a:cubicBezTo>
                  <a:cubicBezTo>
                    <a:pt x="9885" y="61297"/>
                    <a:pt x="-14249" y="163867"/>
                    <a:pt x="12902" y="169901"/>
                  </a:cubicBezTo>
                  <a:cubicBezTo>
                    <a:pt x="40053" y="175934"/>
                    <a:pt x="477483" y="203084"/>
                    <a:pt x="480500" y="188001"/>
                  </a:cubicBezTo>
                  <a:cubicBezTo>
                    <a:pt x="495584" y="97498"/>
                    <a:pt x="230109" y="64314"/>
                    <a:pt x="145639" y="3979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9C3DF916-AFC3-42AE-9548-A04BA7BFE62A}"/>
                </a:ext>
              </a:extLst>
            </p:cNvPr>
            <p:cNvSpPr/>
            <p:nvPr/>
          </p:nvSpPr>
          <p:spPr>
            <a:xfrm>
              <a:off x="15054494" y="12164068"/>
              <a:ext cx="448304" cy="192502"/>
            </a:xfrm>
            <a:custGeom>
              <a:avLst/>
              <a:gdLst>
                <a:gd name="connsiteX0" fmla="*/ 302665 w 448304"/>
                <a:gd name="connsiteY0" fmla="*/ 3979 h 192502"/>
                <a:gd name="connsiteX1" fmla="*/ 438419 w 448304"/>
                <a:gd name="connsiteY1" fmla="*/ 61297 h 192502"/>
                <a:gd name="connsiteX2" fmla="*/ 435402 w 448304"/>
                <a:gd name="connsiteY2" fmla="*/ 169901 h 192502"/>
                <a:gd name="connsiteX3" fmla="*/ 989 w 448304"/>
                <a:gd name="connsiteY3" fmla="*/ 188001 h 192502"/>
                <a:gd name="connsiteX4" fmla="*/ 302665 w 448304"/>
                <a:gd name="connsiteY4" fmla="*/ 3979 h 192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8304" h="192502">
                  <a:moveTo>
                    <a:pt x="302665" y="3979"/>
                  </a:moveTo>
                  <a:cubicBezTo>
                    <a:pt x="311715" y="-17139"/>
                    <a:pt x="435402" y="52246"/>
                    <a:pt x="438419" y="61297"/>
                  </a:cubicBezTo>
                  <a:cubicBezTo>
                    <a:pt x="438419" y="61297"/>
                    <a:pt x="462553" y="163867"/>
                    <a:pt x="435402" y="169901"/>
                  </a:cubicBezTo>
                  <a:cubicBezTo>
                    <a:pt x="408252" y="175934"/>
                    <a:pt x="4006" y="203084"/>
                    <a:pt x="989" y="188001"/>
                  </a:cubicBezTo>
                  <a:cubicBezTo>
                    <a:pt x="-17112" y="97498"/>
                    <a:pt x="218195" y="64314"/>
                    <a:pt x="302665" y="3979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54000377-E5E7-4394-A995-DD6B2516FA70}"/>
                </a:ext>
              </a:extLst>
            </p:cNvPr>
            <p:cNvSpPr/>
            <p:nvPr/>
          </p:nvSpPr>
          <p:spPr>
            <a:xfrm>
              <a:off x="15676936" y="8496650"/>
              <a:ext cx="69385" cy="135754"/>
            </a:xfrm>
            <a:custGeom>
              <a:avLst/>
              <a:gdLst>
                <a:gd name="connsiteX0" fmla="*/ 0 w 69385"/>
                <a:gd name="connsiteY0" fmla="*/ 0 h 135754"/>
                <a:gd name="connsiteX1" fmla="*/ 66368 w 69385"/>
                <a:gd name="connsiteY1" fmla="*/ 135754 h 135754"/>
                <a:gd name="connsiteX2" fmla="*/ 69385 w 69385"/>
                <a:gd name="connsiteY2" fmla="*/ 51285 h 135754"/>
                <a:gd name="connsiteX3" fmla="*/ 0 w 69385"/>
                <a:gd name="connsiteY3" fmla="*/ 0 h 13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385" h="135754">
                  <a:moveTo>
                    <a:pt x="0" y="0"/>
                  </a:moveTo>
                  <a:cubicBezTo>
                    <a:pt x="0" y="0"/>
                    <a:pt x="15084" y="117653"/>
                    <a:pt x="66368" y="135754"/>
                  </a:cubicBezTo>
                  <a:lnTo>
                    <a:pt x="69385" y="512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228475BA-9F9C-4131-8613-3C47F215188E}"/>
                </a:ext>
              </a:extLst>
            </p:cNvPr>
            <p:cNvSpPr/>
            <p:nvPr/>
          </p:nvSpPr>
          <p:spPr>
            <a:xfrm>
              <a:off x="16032466" y="8291510"/>
              <a:ext cx="101557" cy="235319"/>
            </a:xfrm>
            <a:custGeom>
              <a:avLst/>
              <a:gdLst>
                <a:gd name="connsiteX0" fmla="*/ 93967 w 101557"/>
                <a:gd name="connsiteY0" fmla="*/ 0 h 235319"/>
                <a:gd name="connsiteX1" fmla="*/ 54748 w 101557"/>
                <a:gd name="connsiteY1" fmla="*/ 232290 h 235319"/>
                <a:gd name="connsiteX2" fmla="*/ 447 w 101557"/>
                <a:gd name="connsiteY2" fmla="*/ 15084 h 235319"/>
                <a:gd name="connsiteX3" fmla="*/ 93967 w 101557"/>
                <a:gd name="connsiteY3" fmla="*/ 0 h 235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557" h="235319">
                  <a:moveTo>
                    <a:pt x="93967" y="0"/>
                  </a:moveTo>
                  <a:cubicBezTo>
                    <a:pt x="93967" y="0"/>
                    <a:pt x="127151" y="193073"/>
                    <a:pt x="54748" y="232290"/>
                  </a:cubicBezTo>
                  <a:cubicBezTo>
                    <a:pt x="-8603" y="265475"/>
                    <a:pt x="447" y="15084"/>
                    <a:pt x="447" y="15084"/>
                  </a:cubicBezTo>
                  <a:lnTo>
                    <a:pt x="93967" y="0"/>
                  </a:ln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B8CEF890-5593-4316-B25F-C4A26C1B53F4}"/>
                </a:ext>
              </a:extLst>
            </p:cNvPr>
            <p:cNvSpPr/>
            <p:nvPr/>
          </p:nvSpPr>
          <p:spPr>
            <a:xfrm>
              <a:off x="15679952" y="8154876"/>
              <a:ext cx="418942" cy="562595"/>
            </a:xfrm>
            <a:custGeom>
              <a:avLst/>
              <a:gdLst>
                <a:gd name="connsiteX0" fmla="*/ 407263 w 418942"/>
                <a:gd name="connsiteY0" fmla="*/ 178870 h 562595"/>
                <a:gd name="connsiteX1" fmla="*/ 410280 w 418942"/>
                <a:gd name="connsiteY1" fmla="*/ 426244 h 562595"/>
                <a:gd name="connsiteX2" fmla="*/ 253409 w 418942"/>
                <a:gd name="connsiteY2" fmla="*/ 561998 h 562595"/>
                <a:gd name="connsiteX3" fmla="*/ 39218 w 418942"/>
                <a:gd name="connsiteY3" fmla="*/ 423227 h 562595"/>
                <a:gd name="connsiteX4" fmla="*/ 0 w 418942"/>
                <a:gd name="connsiteY4" fmla="*/ 199987 h 562595"/>
                <a:gd name="connsiteX5" fmla="*/ 208157 w 418942"/>
                <a:gd name="connsiteY5" fmla="*/ 881 h 562595"/>
                <a:gd name="connsiteX6" fmla="*/ 407263 w 418942"/>
                <a:gd name="connsiteY6" fmla="*/ 178870 h 562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942" h="562595">
                  <a:moveTo>
                    <a:pt x="407263" y="178870"/>
                  </a:moveTo>
                  <a:cubicBezTo>
                    <a:pt x="407263" y="178870"/>
                    <a:pt x="431397" y="353842"/>
                    <a:pt x="410280" y="426244"/>
                  </a:cubicBezTo>
                  <a:cubicBezTo>
                    <a:pt x="392179" y="492613"/>
                    <a:pt x="304693" y="555965"/>
                    <a:pt x="253409" y="561998"/>
                  </a:cubicBezTo>
                  <a:cubicBezTo>
                    <a:pt x="187039" y="568032"/>
                    <a:pt x="69386" y="528814"/>
                    <a:pt x="39218" y="423227"/>
                  </a:cubicBezTo>
                  <a:cubicBezTo>
                    <a:pt x="18101" y="350825"/>
                    <a:pt x="0" y="251272"/>
                    <a:pt x="0" y="199987"/>
                  </a:cubicBezTo>
                  <a:cubicBezTo>
                    <a:pt x="0" y="106467"/>
                    <a:pt x="27152" y="28032"/>
                    <a:pt x="208157" y="881"/>
                  </a:cubicBezTo>
                  <a:cubicBezTo>
                    <a:pt x="289609" y="-11186"/>
                    <a:pt x="386146" y="103451"/>
                    <a:pt x="407263" y="178870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56FD1E9E-F36D-4AB1-AE0D-B0BCF329B3C2}"/>
                </a:ext>
              </a:extLst>
            </p:cNvPr>
            <p:cNvSpPr/>
            <p:nvPr/>
          </p:nvSpPr>
          <p:spPr>
            <a:xfrm>
              <a:off x="15903193" y="8412181"/>
              <a:ext cx="57318" cy="138771"/>
            </a:xfrm>
            <a:custGeom>
              <a:avLst/>
              <a:gdLst>
                <a:gd name="connsiteX0" fmla="*/ 27151 w 57318"/>
                <a:gd name="connsiteY0" fmla="*/ 138771 h 138771"/>
                <a:gd name="connsiteX1" fmla="*/ 6033 w 57318"/>
                <a:gd name="connsiteY1" fmla="*/ 135754 h 138771"/>
                <a:gd name="connsiteX2" fmla="*/ 0 w 57318"/>
                <a:gd name="connsiteY2" fmla="*/ 129721 h 138771"/>
                <a:gd name="connsiteX3" fmla="*/ 6033 w 57318"/>
                <a:gd name="connsiteY3" fmla="*/ 123687 h 138771"/>
                <a:gd name="connsiteX4" fmla="*/ 45251 w 57318"/>
                <a:gd name="connsiteY4" fmla="*/ 120670 h 138771"/>
                <a:gd name="connsiteX5" fmla="*/ 45251 w 57318"/>
                <a:gd name="connsiteY5" fmla="*/ 117654 h 138771"/>
                <a:gd name="connsiteX6" fmla="*/ 27151 w 57318"/>
                <a:gd name="connsiteY6" fmla="*/ 6033 h 138771"/>
                <a:gd name="connsiteX7" fmla="*/ 33184 w 57318"/>
                <a:gd name="connsiteY7" fmla="*/ 0 h 138771"/>
                <a:gd name="connsiteX8" fmla="*/ 39218 w 57318"/>
                <a:gd name="connsiteY8" fmla="*/ 6033 h 138771"/>
                <a:gd name="connsiteX9" fmla="*/ 57318 w 57318"/>
                <a:gd name="connsiteY9" fmla="*/ 117654 h 138771"/>
                <a:gd name="connsiteX10" fmla="*/ 51284 w 57318"/>
                <a:gd name="connsiteY10" fmla="*/ 129721 h 138771"/>
                <a:gd name="connsiteX11" fmla="*/ 27151 w 57318"/>
                <a:gd name="connsiteY11" fmla="*/ 138771 h 138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318" h="138771">
                  <a:moveTo>
                    <a:pt x="27151" y="138771"/>
                  </a:moveTo>
                  <a:cubicBezTo>
                    <a:pt x="18100" y="138771"/>
                    <a:pt x="9050" y="135754"/>
                    <a:pt x="6033" y="135754"/>
                  </a:cubicBezTo>
                  <a:cubicBezTo>
                    <a:pt x="3016" y="135754"/>
                    <a:pt x="0" y="132738"/>
                    <a:pt x="0" y="129721"/>
                  </a:cubicBezTo>
                  <a:cubicBezTo>
                    <a:pt x="0" y="126704"/>
                    <a:pt x="3016" y="123687"/>
                    <a:pt x="6033" y="123687"/>
                  </a:cubicBezTo>
                  <a:cubicBezTo>
                    <a:pt x="18100" y="126704"/>
                    <a:pt x="39218" y="126704"/>
                    <a:pt x="45251" y="120670"/>
                  </a:cubicBezTo>
                  <a:cubicBezTo>
                    <a:pt x="45251" y="120670"/>
                    <a:pt x="45251" y="117654"/>
                    <a:pt x="45251" y="117654"/>
                  </a:cubicBezTo>
                  <a:cubicBezTo>
                    <a:pt x="45251" y="99553"/>
                    <a:pt x="27151" y="9050"/>
                    <a:pt x="27151" y="6033"/>
                  </a:cubicBezTo>
                  <a:cubicBezTo>
                    <a:pt x="27151" y="3017"/>
                    <a:pt x="27151" y="0"/>
                    <a:pt x="33184" y="0"/>
                  </a:cubicBezTo>
                  <a:cubicBezTo>
                    <a:pt x="36201" y="0"/>
                    <a:pt x="39218" y="0"/>
                    <a:pt x="39218" y="6033"/>
                  </a:cubicBezTo>
                  <a:cubicBezTo>
                    <a:pt x="39218" y="9050"/>
                    <a:pt x="57318" y="99553"/>
                    <a:pt x="57318" y="117654"/>
                  </a:cubicBezTo>
                  <a:cubicBezTo>
                    <a:pt x="57318" y="123687"/>
                    <a:pt x="54301" y="126704"/>
                    <a:pt x="51284" y="129721"/>
                  </a:cubicBezTo>
                  <a:cubicBezTo>
                    <a:pt x="48267" y="138771"/>
                    <a:pt x="39218" y="138771"/>
                    <a:pt x="27151" y="138771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E13ADF53-B51A-4504-890A-5534F0A13239}"/>
                </a:ext>
              </a:extLst>
            </p:cNvPr>
            <p:cNvSpPr/>
            <p:nvPr/>
          </p:nvSpPr>
          <p:spPr>
            <a:xfrm>
              <a:off x="15990679" y="8393489"/>
              <a:ext cx="39809" cy="40401"/>
            </a:xfrm>
            <a:custGeom>
              <a:avLst/>
              <a:gdLst>
                <a:gd name="connsiteX0" fmla="*/ 0 w 39809"/>
                <a:gd name="connsiteY0" fmla="*/ 24726 h 40401"/>
                <a:gd name="connsiteX1" fmla="*/ 24134 w 39809"/>
                <a:gd name="connsiteY1" fmla="*/ 39809 h 40401"/>
                <a:gd name="connsiteX2" fmla="*/ 39218 w 39809"/>
                <a:gd name="connsiteY2" fmla="*/ 15676 h 40401"/>
                <a:gd name="connsiteX3" fmla="*/ 15084 w 39809"/>
                <a:gd name="connsiteY3" fmla="*/ 592 h 40401"/>
                <a:gd name="connsiteX4" fmla="*/ 0 w 39809"/>
                <a:gd name="connsiteY4" fmla="*/ 24726 h 4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09" h="40401">
                  <a:moveTo>
                    <a:pt x="0" y="24726"/>
                  </a:moveTo>
                  <a:cubicBezTo>
                    <a:pt x="3017" y="33776"/>
                    <a:pt x="12067" y="42826"/>
                    <a:pt x="24134" y="39809"/>
                  </a:cubicBezTo>
                  <a:cubicBezTo>
                    <a:pt x="33185" y="36793"/>
                    <a:pt x="42234" y="27742"/>
                    <a:pt x="39218" y="15676"/>
                  </a:cubicBezTo>
                  <a:cubicBezTo>
                    <a:pt x="36201" y="6625"/>
                    <a:pt x="27151" y="-2425"/>
                    <a:pt x="15084" y="592"/>
                  </a:cubicBezTo>
                  <a:cubicBezTo>
                    <a:pt x="6033" y="3608"/>
                    <a:pt x="0" y="12659"/>
                    <a:pt x="0" y="24726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354DFBDD-4DCE-4AEB-A48C-908D5440C904}"/>
                </a:ext>
              </a:extLst>
            </p:cNvPr>
            <p:cNvSpPr/>
            <p:nvPr/>
          </p:nvSpPr>
          <p:spPr>
            <a:xfrm>
              <a:off x="15809673" y="8411589"/>
              <a:ext cx="39809" cy="40401"/>
            </a:xfrm>
            <a:custGeom>
              <a:avLst/>
              <a:gdLst>
                <a:gd name="connsiteX0" fmla="*/ 0 w 39809"/>
                <a:gd name="connsiteY0" fmla="*/ 24726 h 40401"/>
                <a:gd name="connsiteX1" fmla="*/ 24134 w 39809"/>
                <a:gd name="connsiteY1" fmla="*/ 39810 h 40401"/>
                <a:gd name="connsiteX2" fmla="*/ 39218 w 39809"/>
                <a:gd name="connsiteY2" fmla="*/ 15675 h 40401"/>
                <a:gd name="connsiteX3" fmla="*/ 15084 w 39809"/>
                <a:gd name="connsiteY3" fmla="*/ 592 h 40401"/>
                <a:gd name="connsiteX4" fmla="*/ 0 w 39809"/>
                <a:gd name="connsiteY4" fmla="*/ 24726 h 4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09" h="40401">
                  <a:moveTo>
                    <a:pt x="0" y="24726"/>
                  </a:moveTo>
                  <a:cubicBezTo>
                    <a:pt x="3017" y="33776"/>
                    <a:pt x="12067" y="42827"/>
                    <a:pt x="24134" y="39810"/>
                  </a:cubicBezTo>
                  <a:cubicBezTo>
                    <a:pt x="33185" y="36793"/>
                    <a:pt x="42234" y="27743"/>
                    <a:pt x="39218" y="15675"/>
                  </a:cubicBezTo>
                  <a:cubicBezTo>
                    <a:pt x="36201" y="6625"/>
                    <a:pt x="27151" y="-2425"/>
                    <a:pt x="15084" y="592"/>
                  </a:cubicBezTo>
                  <a:cubicBezTo>
                    <a:pt x="6033" y="3609"/>
                    <a:pt x="0" y="15675"/>
                    <a:pt x="0" y="24726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557E7555-3017-46CC-AB0A-192FE811B885}"/>
                </a:ext>
              </a:extLst>
            </p:cNvPr>
            <p:cNvSpPr/>
            <p:nvPr/>
          </p:nvSpPr>
          <p:spPr>
            <a:xfrm>
              <a:off x="15962278" y="8345812"/>
              <a:ext cx="90998" cy="33184"/>
            </a:xfrm>
            <a:custGeom>
              <a:avLst/>
              <a:gdLst>
                <a:gd name="connsiteX0" fmla="*/ 85719 w 90998"/>
                <a:gd name="connsiteY0" fmla="*/ 33185 h 33184"/>
                <a:gd name="connsiteX1" fmla="*/ 79685 w 90998"/>
                <a:gd name="connsiteY1" fmla="*/ 30168 h 33184"/>
                <a:gd name="connsiteX2" fmla="*/ 13317 w 90998"/>
                <a:gd name="connsiteY2" fmla="*/ 24134 h 33184"/>
                <a:gd name="connsiteX3" fmla="*/ 1250 w 90998"/>
                <a:gd name="connsiteY3" fmla="*/ 21117 h 33184"/>
                <a:gd name="connsiteX4" fmla="*/ 4266 w 90998"/>
                <a:gd name="connsiteY4" fmla="*/ 9050 h 33184"/>
                <a:gd name="connsiteX5" fmla="*/ 88736 w 90998"/>
                <a:gd name="connsiteY5" fmla="*/ 18101 h 33184"/>
                <a:gd name="connsiteX6" fmla="*/ 88736 w 90998"/>
                <a:gd name="connsiteY6" fmla="*/ 30168 h 33184"/>
                <a:gd name="connsiteX7" fmla="*/ 85719 w 90998"/>
                <a:gd name="connsiteY7" fmla="*/ 33185 h 33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3184">
                  <a:moveTo>
                    <a:pt x="85719" y="33185"/>
                  </a:moveTo>
                  <a:cubicBezTo>
                    <a:pt x="82702" y="33185"/>
                    <a:pt x="82702" y="33185"/>
                    <a:pt x="79685" y="30168"/>
                  </a:cubicBezTo>
                  <a:cubicBezTo>
                    <a:pt x="52534" y="3017"/>
                    <a:pt x="16333" y="24134"/>
                    <a:pt x="13317" y="24134"/>
                  </a:cubicBezTo>
                  <a:cubicBezTo>
                    <a:pt x="10300" y="27151"/>
                    <a:pt x="4266" y="24134"/>
                    <a:pt x="1250" y="21117"/>
                  </a:cubicBezTo>
                  <a:cubicBezTo>
                    <a:pt x="-1767" y="18101"/>
                    <a:pt x="1250" y="12067"/>
                    <a:pt x="4266" y="9050"/>
                  </a:cubicBezTo>
                  <a:cubicBezTo>
                    <a:pt x="22366" y="0"/>
                    <a:pt x="61585" y="-9050"/>
                    <a:pt x="88736" y="18101"/>
                  </a:cubicBezTo>
                  <a:cubicBezTo>
                    <a:pt x="91752" y="21117"/>
                    <a:pt x="91752" y="27151"/>
                    <a:pt x="88736" y="30168"/>
                  </a:cubicBezTo>
                  <a:cubicBezTo>
                    <a:pt x="88736" y="30168"/>
                    <a:pt x="88736" y="33185"/>
                    <a:pt x="85719" y="33185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885A6A8-AD00-43EE-8BDE-A245FD13AF4B}"/>
                </a:ext>
              </a:extLst>
            </p:cNvPr>
            <p:cNvSpPr/>
            <p:nvPr/>
          </p:nvSpPr>
          <p:spPr>
            <a:xfrm>
              <a:off x="15777243" y="8346119"/>
              <a:ext cx="90998" cy="35894"/>
            </a:xfrm>
            <a:custGeom>
              <a:avLst/>
              <a:gdLst>
                <a:gd name="connsiteX0" fmla="*/ 8296 w 90998"/>
                <a:gd name="connsiteY0" fmla="*/ 35894 h 35894"/>
                <a:gd name="connsiteX1" fmla="*/ 2263 w 90998"/>
                <a:gd name="connsiteY1" fmla="*/ 32878 h 35894"/>
                <a:gd name="connsiteX2" fmla="*/ 2263 w 90998"/>
                <a:gd name="connsiteY2" fmla="*/ 20810 h 35894"/>
                <a:gd name="connsiteX3" fmla="*/ 86732 w 90998"/>
                <a:gd name="connsiteY3" fmla="*/ 11760 h 35894"/>
                <a:gd name="connsiteX4" fmla="*/ 89749 w 90998"/>
                <a:gd name="connsiteY4" fmla="*/ 23827 h 35894"/>
                <a:gd name="connsiteX5" fmla="*/ 77682 w 90998"/>
                <a:gd name="connsiteY5" fmla="*/ 26844 h 35894"/>
                <a:gd name="connsiteX6" fmla="*/ 11313 w 90998"/>
                <a:gd name="connsiteY6" fmla="*/ 32878 h 35894"/>
                <a:gd name="connsiteX7" fmla="*/ 8296 w 90998"/>
                <a:gd name="connsiteY7" fmla="*/ 35894 h 3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5894">
                  <a:moveTo>
                    <a:pt x="8296" y="35894"/>
                  </a:moveTo>
                  <a:cubicBezTo>
                    <a:pt x="5280" y="35894"/>
                    <a:pt x="5280" y="35894"/>
                    <a:pt x="2263" y="32878"/>
                  </a:cubicBezTo>
                  <a:cubicBezTo>
                    <a:pt x="-754" y="29861"/>
                    <a:pt x="-754" y="23827"/>
                    <a:pt x="2263" y="20810"/>
                  </a:cubicBezTo>
                  <a:cubicBezTo>
                    <a:pt x="14330" y="5726"/>
                    <a:pt x="50531" y="-12374"/>
                    <a:pt x="86732" y="11760"/>
                  </a:cubicBezTo>
                  <a:cubicBezTo>
                    <a:pt x="89749" y="14777"/>
                    <a:pt x="92766" y="17794"/>
                    <a:pt x="89749" y="23827"/>
                  </a:cubicBezTo>
                  <a:cubicBezTo>
                    <a:pt x="86732" y="26844"/>
                    <a:pt x="83715" y="29861"/>
                    <a:pt x="77682" y="26844"/>
                  </a:cubicBezTo>
                  <a:cubicBezTo>
                    <a:pt x="41480" y="2710"/>
                    <a:pt x="14330" y="32878"/>
                    <a:pt x="11313" y="32878"/>
                  </a:cubicBezTo>
                  <a:cubicBezTo>
                    <a:pt x="11313" y="35894"/>
                    <a:pt x="8296" y="35894"/>
                    <a:pt x="8296" y="35894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9E57BDE6-5F6D-40B6-AAD3-6691A0AEF883}"/>
                </a:ext>
              </a:extLst>
            </p:cNvPr>
            <p:cNvSpPr/>
            <p:nvPr/>
          </p:nvSpPr>
          <p:spPr>
            <a:xfrm>
              <a:off x="15770455" y="8659555"/>
              <a:ext cx="228519" cy="63352"/>
            </a:xfrm>
            <a:custGeom>
              <a:avLst/>
              <a:gdLst>
                <a:gd name="connsiteX0" fmla="*/ 147822 w 228519"/>
                <a:gd name="connsiteY0" fmla="*/ 63352 h 63352"/>
                <a:gd name="connsiteX1" fmla="*/ 3017 w 228519"/>
                <a:gd name="connsiteY1" fmla="*/ 12067 h 63352"/>
                <a:gd name="connsiteX2" fmla="*/ 0 w 228519"/>
                <a:gd name="connsiteY2" fmla="*/ 3017 h 63352"/>
                <a:gd name="connsiteX3" fmla="*/ 9051 w 228519"/>
                <a:gd name="connsiteY3" fmla="*/ 0 h 63352"/>
                <a:gd name="connsiteX4" fmla="*/ 147822 w 228519"/>
                <a:gd name="connsiteY4" fmla="*/ 48268 h 63352"/>
                <a:gd name="connsiteX5" fmla="*/ 147822 w 228519"/>
                <a:gd name="connsiteY5" fmla="*/ 48268 h 63352"/>
                <a:gd name="connsiteX6" fmla="*/ 217207 w 228519"/>
                <a:gd name="connsiteY6" fmla="*/ 24134 h 63352"/>
                <a:gd name="connsiteX7" fmla="*/ 226257 w 228519"/>
                <a:gd name="connsiteY7" fmla="*/ 24134 h 63352"/>
                <a:gd name="connsiteX8" fmla="*/ 226257 w 228519"/>
                <a:gd name="connsiteY8" fmla="*/ 33185 h 63352"/>
                <a:gd name="connsiteX9" fmla="*/ 147822 w 228519"/>
                <a:gd name="connsiteY9" fmla="*/ 63352 h 63352"/>
                <a:gd name="connsiteX10" fmla="*/ 147822 w 228519"/>
                <a:gd name="connsiteY10" fmla="*/ 63352 h 63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8519" h="63352">
                  <a:moveTo>
                    <a:pt x="147822" y="63352"/>
                  </a:moveTo>
                  <a:cubicBezTo>
                    <a:pt x="96537" y="63352"/>
                    <a:pt x="9051" y="15084"/>
                    <a:pt x="3017" y="12067"/>
                  </a:cubicBezTo>
                  <a:cubicBezTo>
                    <a:pt x="0" y="9050"/>
                    <a:pt x="0" y="6034"/>
                    <a:pt x="0" y="3017"/>
                  </a:cubicBezTo>
                  <a:cubicBezTo>
                    <a:pt x="3017" y="0"/>
                    <a:pt x="6034" y="0"/>
                    <a:pt x="9051" y="0"/>
                  </a:cubicBezTo>
                  <a:cubicBezTo>
                    <a:pt x="9051" y="0"/>
                    <a:pt x="99554" y="48268"/>
                    <a:pt x="147822" y="48268"/>
                  </a:cubicBezTo>
                  <a:cubicBezTo>
                    <a:pt x="147822" y="48268"/>
                    <a:pt x="147822" y="48268"/>
                    <a:pt x="147822" y="48268"/>
                  </a:cubicBezTo>
                  <a:cubicBezTo>
                    <a:pt x="187039" y="48268"/>
                    <a:pt x="217207" y="24134"/>
                    <a:pt x="217207" y="24134"/>
                  </a:cubicBezTo>
                  <a:cubicBezTo>
                    <a:pt x="220224" y="21118"/>
                    <a:pt x="223241" y="21118"/>
                    <a:pt x="226257" y="24134"/>
                  </a:cubicBezTo>
                  <a:cubicBezTo>
                    <a:pt x="229274" y="27151"/>
                    <a:pt x="229274" y="30168"/>
                    <a:pt x="226257" y="33185"/>
                  </a:cubicBezTo>
                  <a:cubicBezTo>
                    <a:pt x="223241" y="36201"/>
                    <a:pt x="190056" y="63352"/>
                    <a:pt x="147822" y="63352"/>
                  </a:cubicBezTo>
                  <a:cubicBezTo>
                    <a:pt x="147822" y="63352"/>
                    <a:pt x="147822" y="63352"/>
                    <a:pt x="147822" y="63352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0363A634-6BF6-4B16-BC09-A5E74BBECF0E}"/>
                </a:ext>
              </a:extLst>
            </p:cNvPr>
            <p:cNvSpPr/>
            <p:nvPr/>
          </p:nvSpPr>
          <p:spPr>
            <a:xfrm>
              <a:off x="15640422" y="8179890"/>
              <a:ext cx="111933" cy="265474"/>
            </a:xfrm>
            <a:custGeom>
              <a:avLst/>
              <a:gdLst>
                <a:gd name="connsiteX0" fmla="*/ 111933 w 111933"/>
                <a:gd name="connsiteY0" fmla="*/ 126704 h 265474"/>
                <a:gd name="connsiteX1" fmla="*/ 63665 w 111933"/>
                <a:gd name="connsiteY1" fmla="*/ 265475 h 265474"/>
                <a:gd name="connsiteX2" fmla="*/ 6347 w 111933"/>
                <a:gd name="connsiteY2" fmla="*/ 165922 h 265474"/>
                <a:gd name="connsiteX3" fmla="*/ 63665 w 111933"/>
                <a:gd name="connsiteY3" fmla="*/ 0 h 265474"/>
                <a:gd name="connsiteX4" fmla="*/ 111933 w 111933"/>
                <a:gd name="connsiteY4" fmla="*/ 126704 h 26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933" h="265474">
                  <a:moveTo>
                    <a:pt x="111933" y="126704"/>
                  </a:moveTo>
                  <a:cubicBezTo>
                    <a:pt x="111933" y="126704"/>
                    <a:pt x="57631" y="235307"/>
                    <a:pt x="63665" y="265475"/>
                  </a:cubicBezTo>
                  <a:cubicBezTo>
                    <a:pt x="63665" y="265475"/>
                    <a:pt x="21430" y="220224"/>
                    <a:pt x="6347" y="165922"/>
                  </a:cubicBezTo>
                  <a:cubicBezTo>
                    <a:pt x="-8737" y="108604"/>
                    <a:pt x="313" y="15084"/>
                    <a:pt x="63665" y="0"/>
                  </a:cubicBezTo>
                  <a:cubicBezTo>
                    <a:pt x="63665" y="0"/>
                    <a:pt x="72715" y="108604"/>
                    <a:pt x="111933" y="126704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ED00A5E9-09ED-47C2-B7B3-F387A3FBA101}"/>
                </a:ext>
              </a:extLst>
            </p:cNvPr>
            <p:cNvSpPr/>
            <p:nvPr/>
          </p:nvSpPr>
          <p:spPr>
            <a:xfrm>
              <a:off x="15693141" y="8065779"/>
              <a:ext cx="433892" cy="346401"/>
            </a:xfrm>
            <a:custGeom>
              <a:avLst/>
              <a:gdLst>
                <a:gd name="connsiteX0" fmla="*/ 59213 w 433892"/>
                <a:gd name="connsiteY0" fmla="*/ 240815 h 346401"/>
                <a:gd name="connsiteX1" fmla="*/ 179884 w 433892"/>
                <a:gd name="connsiteY1" fmla="*/ 201597 h 346401"/>
                <a:gd name="connsiteX2" fmla="*/ 418208 w 433892"/>
                <a:gd name="connsiteY2" fmla="*/ 346402 h 346401"/>
                <a:gd name="connsiteX3" fmla="*/ 421224 w 433892"/>
                <a:gd name="connsiteY3" fmla="*/ 180480 h 346401"/>
                <a:gd name="connsiteX4" fmla="*/ 330722 w 433892"/>
                <a:gd name="connsiteY4" fmla="*/ 32659 h 346401"/>
                <a:gd name="connsiteX5" fmla="*/ 131615 w 433892"/>
                <a:gd name="connsiteY5" fmla="*/ 17575 h 346401"/>
                <a:gd name="connsiteX6" fmla="*/ 10945 w 433892"/>
                <a:gd name="connsiteY6" fmla="*/ 111094 h 346401"/>
                <a:gd name="connsiteX7" fmla="*/ 59213 w 433892"/>
                <a:gd name="connsiteY7" fmla="*/ 240815 h 34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3892" h="346401">
                  <a:moveTo>
                    <a:pt x="59213" y="240815"/>
                  </a:moveTo>
                  <a:cubicBezTo>
                    <a:pt x="59213" y="240815"/>
                    <a:pt x="152732" y="201597"/>
                    <a:pt x="179884" y="201597"/>
                  </a:cubicBezTo>
                  <a:cubicBezTo>
                    <a:pt x="279436" y="204614"/>
                    <a:pt x="433291" y="273999"/>
                    <a:pt x="418208" y="346402"/>
                  </a:cubicBezTo>
                  <a:cubicBezTo>
                    <a:pt x="418208" y="346402"/>
                    <a:pt x="451392" y="243832"/>
                    <a:pt x="421224" y="180480"/>
                  </a:cubicBezTo>
                  <a:cubicBezTo>
                    <a:pt x="421224" y="180480"/>
                    <a:pt x="421224" y="56793"/>
                    <a:pt x="330722" y="32659"/>
                  </a:cubicBezTo>
                  <a:cubicBezTo>
                    <a:pt x="240219" y="8525"/>
                    <a:pt x="201000" y="-18626"/>
                    <a:pt x="131615" y="17575"/>
                  </a:cubicBezTo>
                  <a:cubicBezTo>
                    <a:pt x="62229" y="56793"/>
                    <a:pt x="16978" y="74893"/>
                    <a:pt x="10945" y="111094"/>
                  </a:cubicBezTo>
                  <a:cubicBezTo>
                    <a:pt x="10945" y="114111"/>
                    <a:pt x="-34306" y="228748"/>
                    <a:pt x="59213" y="240815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7E2B710C-D50E-4311-8A05-AF6523B4CED6}"/>
                </a:ext>
              </a:extLst>
            </p:cNvPr>
            <p:cNvSpPr/>
            <p:nvPr/>
          </p:nvSpPr>
          <p:spPr>
            <a:xfrm>
              <a:off x="15639695" y="8415009"/>
              <a:ext cx="77799" cy="109342"/>
            </a:xfrm>
            <a:custGeom>
              <a:avLst/>
              <a:gdLst>
                <a:gd name="connsiteX0" fmla="*/ 64392 w 77799"/>
                <a:gd name="connsiteY0" fmla="*/ 15273 h 109342"/>
                <a:gd name="connsiteX1" fmla="*/ 7073 w 77799"/>
                <a:gd name="connsiteY1" fmla="*/ 6222 h 109342"/>
                <a:gd name="connsiteX2" fmla="*/ 64392 w 77799"/>
                <a:gd name="connsiteY2" fmla="*/ 105775 h 109342"/>
                <a:gd name="connsiteX3" fmla="*/ 64392 w 77799"/>
                <a:gd name="connsiteY3" fmla="*/ 15273 h 10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99" h="109342">
                  <a:moveTo>
                    <a:pt x="64392" y="15273"/>
                  </a:moveTo>
                  <a:cubicBezTo>
                    <a:pt x="64392" y="15273"/>
                    <a:pt x="31207" y="-11879"/>
                    <a:pt x="7073" y="6222"/>
                  </a:cubicBezTo>
                  <a:cubicBezTo>
                    <a:pt x="-17061" y="24323"/>
                    <a:pt x="25173" y="129909"/>
                    <a:pt x="64392" y="105775"/>
                  </a:cubicBezTo>
                  <a:cubicBezTo>
                    <a:pt x="94559" y="87675"/>
                    <a:pt x="64392" y="15273"/>
                    <a:pt x="64392" y="15273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728AAAB1-FD18-4A9C-8FA5-E2943E753AB4}"/>
                </a:ext>
              </a:extLst>
            </p:cNvPr>
            <p:cNvSpPr/>
            <p:nvPr/>
          </p:nvSpPr>
          <p:spPr>
            <a:xfrm>
              <a:off x="15871775" y="8599974"/>
              <a:ext cx="121165" cy="29413"/>
            </a:xfrm>
            <a:custGeom>
              <a:avLst/>
              <a:gdLst>
                <a:gd name="connsiteX0" fmla="*/ 55551 w 121165"/>
                <a:gd name="connsiteY0" fmla="*/ 29413 h 29413"/>
                <a:gd name="connsiteX1" fmla="*/ 4266 w 121165"/>
                <a:gd name="connsiteY1" fmla="*/ 20363 h 29413"/>
                <a:gd name="connsiteX2" fmla="*/ 1250 w 121165"/>
                <a:gd name="connsiteY2" fmla="*/ 14330 h 29413"/>
                <a:gd name="connsiteX3" fmla="*/ 7283 w 121165"/>
                <a:gd name="connsiteY3" fmla="*/ 11313 h 29413"/>
                <a:gd name="connsiteX4" fmla="*/ 109852 w 121165"/>
                <a:gd name="connsiteY4" fmla="*/ 2263 h 29413"/>
                <a:gd name="connsiteX5" fmla="*/ 118903 w 121165"/>
                <a:gd name="connsiteY5" fmla="*/ 2263 h 29413"/>
                <a:gd name="connsiteX6" fmla="*/ 118903 w 121165"/>
                <a:gd name="connsiteY6" fmla="*/ 11313 h 29413"/>
                <a:gd name="connsiteX7" fmla="*/ 55551 w 121165"/>
                <a:gd name="connsiteY7" fmla="*/ 29413 h 29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165" h="29413">
                  <a:moveTo>
                    <a:pt x="55551" y="29413"/>
                  </a:moveTo>
                  <a:cubicBezTo>
                    <a:pt x="28400" y="29413"/>
                    <a:pt x="7283" y="23380"/>
                    <a:pt x="4266" y="20363"/>
                  </a:cubicBezTo>
                  <a:cubicBezTo>
                    <a:pt x="1250" y="20363"/>
                    <a:pt x="-1767" y="17347"/>
                    <a:pt x="1250" y="14330"/>
                  </a:cubicBezTo>
                  <a:cubicBezTo>
                    <a:pt x="1250" y="11313"/>
                    <a:pt x="4266" y="8296"/>
                    <a:pt x="7283" y="11313"/>
                  </a:cubicBezTo>
                  <a:cubicBezTo>
                    <a:pt x="7283" y="11313"/>
                    <a:pt x="70635" y="32430"/>
                    <a:pt x="109852" y="2263"/>
                  </a:cubicBezTo>
                  <a:cubicBezTo>
                    <a:pt x="112869" y="-754"/>
                    <a:pt x="115886" y="-754"/>
                    <a:pt x="118903" y="2263"/>
                  </a:cubicBezTo>
                  <a:cubicBezTo>
                    <a:pt x="121920" y="5280"/>
                    <a:pt x="121920" y="8296"/>
                    <a:pt x="118903" y="11313"/>
                  </a:cubicBezTo>
                  <a:cubicBezTo>
                    <a:pt x="100802" y="23380"/>
                    <a:pt x="76669" y="29413"/>
                    <a:pt x="55551" y="29413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45" name="图形 1">
            <a:extLst>
              <a:ext uri="{FF2B5EF4-FFF2-40B4-BE49-F238E27FC236}">
                <a16:creationId xmlns:a16="http://schemas.microsoft.com/office/drawing/2014/main" id="{E6859540-6372-4BD6-A151-952106F7C194}"/>
              </a:ext>
            </a:extLst>
          </p:cNvPr>
          <p:cNvGrpSpPr/>
          <p:nvPr/>
        </p:nvGrpSpPr>
        <p:grpSpPr>
          <a:xfrm>
            <a:off x="1887938" y="4405375"/>
            <a:ext cx="4263864" cy="2452787"/>
            <a:chOff x="10058545" y="10083466"/>
            <a:chExt cx="4263864" cy="2452787"/>
          </a:xfrm>
        </p:grpSpPr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8FD652A5-9AA3-40C9-9A62-DEF117752E0D}"/>
                </a:ext>
              </a:extLst>
            </p:cNvPr>
            <p:cNvSpPr/>
            <p:nvPr/>
          </p:nvSpPr>
          <p:spPr>
            <a:xfrm>
              <a:off x="10346321" y="10860196"/>
              <a:ext cx="1141482" cy="270913"/>
            </a:xfrm>
            <a:custGeom>
              <a:avLst/>
              <a:gdLst>
                <a:gd name="connsiteX0" fmla="*/ 1110167 w 1141482"/>
                <a:gd name="connsiteY0" fmla="*/ 155449 h 270913"/>
                <a:gd name="connsiteX1" fmla="*/ 980447 w 1141482"/>
                <a:gd name="connsiteY1" fmla="*/ 4611 h 270913"/>
                <a:gd name="connsiteX2" fmla="*/ 515866 w 1141482"/>
                <a:gd name="connsiteY2" fmla="*/ 70980 h 270913"/>
                <a:gd name="connsiteX3" fmla="*/ 27151 w 1141482"/>
                <a:gd name="connsiteY3" fmla="*/ 46845 h 270913"/>
                <a:gd name="connsiteX4" fmla="*/ 0 w 1141482"/>
                <a:gd name="connsiteY4" fmla="*/ 167516 h 270913"/>
                <a:gd name="connsiteX5" fmla="*/ 497765 w 1141482"/>
                <a:gd name="connsiteY5" fmla="*/ 255002 h 270913"/>
                <a:gd name="connsiteX6" fmla="*/ 1110167 w 1141482"/>
                <a:gd name="connsiteY6" fmla="*/ 155449 h 270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1482" h="270913">
                  <a:moveTo>
                    <a:pt x="1110167" y="155449"/>
                  </a:moveTo>
                  <a:cubicBezTo>
                    <a:pt x="1188603" y="-7456"/>
                    <a:pt x="1110167" y="-7456"/>
                    <a:pt x="980447" y="4611"/>
                  </a:cubicBezTo>
                  <a:cubicBezTo>
                    <a:pt x="844693" y="16678"/>
                    <a:pt x="549051" y="77013"/>
                    <a:pt x="515866" y="70980"/>
                  </a:cubicBezTo>
                  <a:cubicBezTo>
                    <a:pt x="416313" y="73996"/>
                    <a:pt x="27151" y="46845"/>
                    <a:pt x="27151" y="46845"/>
                  </a:cubicBezTo>
                  <a:cubicBezTo>
                    <a:pt x="9050" y="73996"/>
                    <a:pt x="0" y="167516"/>
                    <a:pt x="0" y="167516"/>
                  </a:cubicBezTo>
                  <a:cubicBezTo>
                    <a:pt x="0" y="167516"/>
                    <a:pt x="362011" y="239918"/>
                    <a:pt x="497765" y="255002"/>
                  </a:cubicBezTo>
                  <a:cubicBezTo>
                    <a:pt x="564134" y="264052"/>
                    <a:pt x="1031732" y="318354"/>
                    <a:pt x="1110167" y="155449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7" name="图形 1">
              <a:extLst>
                <a:ext uri="{FF2B5EF4-FFF2-40B4-BE49-F238E27FC236}">
                  <a16:creationId xmlns:a16="http://schemas.microsoft.com/office/drawing/2014/main" id="{59311679-19FB-4EBC-B1CC-FBD087867454}"/>
                </a:ext>
              </a:extLst>
            </p:cNvPr>
            <p:cNvGrpSpPr/>
            <p:nvPr/>
          </p:nvGrpSpPr>
          <p:grpSpPr>
            <a:xfrm>
              <a:off x="10058545" y="10795938"/>
              <a:ext cx="354400" cy="236357"/>
              <a:chOff x="10058545" y="10795938"/>
              <a:chExt cx="354400" cy="236357"/>
            </a:xfrm>
          </p:grpSpPr>
          <p:grpSp>
            <p:nvGrpSpPr>
              <p:cNvPr id="93" name="图形 1">
                <a:extLst>
                  <a:ext uri="{FF2B5EF4-FFF2-40B4-BE49-F238E27FC236}">
                    <a16:creationId xmlns:a16="http://schemas.microsoft.com/office/drawing/2014/main" id="{22368443-BF3A-4B8F-96CE-CB0EAE0CE936}"/>
                  </a:ext>
                </a:extLst>
              </p:cNvPr>
              <p:cNvGrpSpPr/>
              <p:nvPr/>
            </p:nvGrpSpPr>
            <p:grpSpPr>
              <a:xfrm>
                <a:off x="10058545" y="10795938"/>
                <a:ext cx="354400" cy="236357"/>
                <a:chOff x="10058545" y="10795938"/>
                <a:chExt cx="354400" cy="236357"/>
              </a:xfrm>
            </p:grpSpPr>
            <p:sp>
              <p:nvSpPr>
                <p:cNvPr id="96" name="任意多边形: 形状 95">
                  <a:extLst>
                    <a:ext uri="{FF2B5EF4-FFF2-40B4-BE49-F238E27FC236}">
                      <a16:creationId xmlns:a16="http://schemas.microsoft.com/office/drawing/2014/main" id="{D681DDEF-7462-4FC0-A7B6-0D5D8B9F4B53}"/>
                    </a:ext>
                  </a:extLst>
                </p:cNvPr>
                <p:cNvSpPr/>
                <p:nvPr/>
              </p:nvSpPr>
              <p:spPr>
                <a:xfrm>
                  <a:off x="10068779" y="10795938"/>
                  <a:ext cx="344167" cy="236357"/>
                </a:xfrm>
                <a:custGeom>
                  <a:avLst/>
                  <a:gdLst>
                    <a:gd name="connsiteX0" fmla="*/ 168939 w 344167"/>
                    <a:gd name="connsiteY0" fmla="*/ 222723 h 236357"/>
                    <a:gd name="connsiteX1" fmla="*/ 298660 w 344167"/>
                    <a:gd name="connsiteY1" fmla="*/ 225740 h 236357"/>
                    <a:gd name="connsiteX2" fmla="*/ 343911 w 344167"/>
                    <a:gd name="connsiteY2" fmla="*/ 138253 h 236357"/>
                    <a:gd name="connsiteX3" fmla="*/ 238325 w 344167"/>
                    <a:gd name="connsiteY3" fmla="*/ 5516 h 236357"/>
                    <a:gd name="connsiteX4" fmla="*/ 214190 w 344167"/>
                    <a:gd name="connsiteY4" fmla="*/ 32667 h 236357"/>
                    <a:gd name="connsiteX5" fmla="*/ 247375 w 344167"/>
                    <a:gd name="connsiteY5" fmla="*/ 99036 h 236357"/>
                    <a:gd name="connsiteX6" fmla="*/ 72403 w 344167"/>
                    <a:gd name="connsiteY6" fmla="*/ 65851 h 236357"/>
                    <a:gd name="connsiteX7" fmla="*/ 48268 w 344167"/>
                    <a:gd name="connsiteY7" fmla="*/ 83952 h 236357"/>
                    <a:gd name="connsiteX8" fmla="*/ 90503 w 344167"/>
                    <a:gd name="connsiteY8" fmla="*/ 96019 h 236357"/>
                    <a:gd name="connsiteX9" fmla="*/ 144805 w 344167"/>
                    <a:gd name="connsiteY9" fmla="*/ 111103 h 236357"/>
                    <a:gd name="connsiteX10" fmla="*/ 69386 w 344167"/>
                    <a:gd name="connsiteY10" fmla="*/ 111103 h 236357"/>
                    <a:gd name="connsiteX11" fmla="*/ 15084 w 344167"/>
                    <a:gd name="connsiteY11" fmla="*/ 114120 h 236357"/>
                    <a:gd name="connsiteX12" fmla="*/ 0 w 344167"/>
                    <a:gd name="connsiteY12" fmla="*/ 135237 h 236357"/>
                    <a:gd name="connsiteX13" fmla="*/ 21118 w 344167"/>
                    <a:gd name="connsiteY13" fmla="*/ 153337 h 236357"/>
                    <a:gd name="connsiteX14" fmla="*/ 18101 w 344167"/>
                    <a:gd name="connsiteY14" fmla="*/ 153337 h 236357"/>
                    <a:gd name="connsiteX15" fmla="*/ 12068 w 344167"/>
                    <a:gd name="connsiteY15" fmla="*/ 162388 h 236357"/>
                    <a:gd name="connsiteX16" fmla="*/ 57319 w 344167"/>
                    <a:gd name="connsiteY16" fmla="*/ 174455 h 236357"/>
                    <a:gd name="connsiteX17" fmla="*/ 84470 w 344167"/>
                    <a:gd name="connsiteY17" fmla="*/ 174455 h 236357"/>
                    <a:gd name="connsiteX18" fmla="*/ 78436 w 344167"/>
                    <a:gd name="connsiteY18" fmla="*/ 177472 h 236357"/>
                    <a:gd name="connsiteX19" fmla="*/ 66369 w 344167"/>
                    <a:gd name="connsiteY19" fmla="*/ 192555 h 236357"/>
                    <a:gd name="connsiteX20" fmla="*/ 168939 w 344167"/>
                    <a:gd name="connsiteY20" fmla="*/ 222723 h 2363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44167" h="236357">
                      <a:moveTo>
                        <a:pt x="168939" y="222723"/>
                      </a:moveTo>
                      <a:cubicBezTo>
                        <a:pt x="211173" y="225740"/>
                        <a:pt x="262458" y="249874"/>
                        <a:pt x="298660" y="225740"/>
                      </a:cubicBezTo>
                      <a:cubicBezTo>
                        <a:pt x="322794" y="210656"/>
                        <a:pt x="346927" y="168421"/>
                        <a:pt x="343911" y="138253"/>
                      </a:cubicBezTo>
                      <a:cubicBezTo>
                        <a:pt x="337877" y="96019"/>
                        <a:pt x="268492" y="65851"/>
                        <a:pt x="238325" y="5516"/>
                      </a:cubicBezTo>
                      <a:cubicBezTo>
                        <a:pt x="232291" y="-9568"/>
                        <a:pt x="208157" y="8533"/>
                        <a:pt x="214190" y="32667"/>
                      </a:cubicBezTo>
                      <a:cubicBezTo>
                        <a:pt x="223241" y="59818"/>
                        <a:pt x="235308" y="83952"/>
                        <a:pt x="247375" y="99036"/>
                      </a:cubicBezTo>
                      <a:cubicBezTo>
                        <a:pt x="187039" y="93002"/>
                        <a:pt x="132738" y="59818"/>
                        <a:pt x="72403" y="65851"/>
                      </a:cubicBezTo>
                      <a:cubicBezTo>
                        <a:pt x="63352" y="65851"/>
                        <a:pt x="33185" y="71885"/>
                        <a:pt x="48268" y="83952"/>
                      </a:cubicBezTo>
                      <a:cubicBezTo>
                        <a:pt x="57319" y="93002"/>
                        <a:pt x="78436" y="93002"/>
                        <a:pt x="90503" y="96019"/>
                      </a:cubicBezTo>
                      <a:cubicBezTo>
                        <a:pt x="108604" y="102053"/>
                        <a:pt x="126704" y="105070"/>
                        <a:pt x="144805" y="111103"/>
                      </a:cubicBezTo>
                      <a:cubicBezTo>
                        <a:pt x="120670" y="111103"/>
                        <a:pt x="93520" y="111103"/>
                        <a:pt x="69386" y="111103"/>
                      </a:cubicBezTo>
                      <a:cubicBezTo>
                        <a:pt x="54302" y="111103"/>
                        <a:pt x="33185" y="108086"/>
                        <a:pt x="15084" y="114120"/>
                      </a:cubicBezTo>
                      <a:cubicBezTo>
                        <a:pt x="3017" y="117136"/>
                        <a:pt x="0" y="126186"/>
                        <a:pt x="0" y="135237"/>
                      </a:cubicBezTo>
                      <a:cubicBezTo>
                        <a:pt x="3017" y="144287"/>
                        <a:pt x="12068" y="150321"/>
                        <a:pt x="21118" y="153337"/>
                      </a:cubicBezTo>
                      <a:cubicBezTo>
                        <a:pt x="21118" y="153337"/>
                        <a:pt x="21118" y="153337"/>
                        <a:pt x="18101" y="153337"/>
                      </a:cubicBezTo>
                      <a:cubicBezTo>
                        <a:pt x="15084" y="153337"/>
                        <a:pt x="12068" y="162388"/>
                        <a:pt x="12068" y="162388"/>
                      </a:cubicBezTo>
                      <a:cubicBezTo>
                        <a:pt x="21118" y="174455"/>
                        <a:pt x="39218" y="174455"/>
                        <a:pt x="57319" y="174455"/>
                      </a:cubicBezTo>
                      <a:cubicBezTo>
                        <a:pt x="66369" y="174455"/>
                        <a:pt x="75419" y="174455"/>
                        <a:pt x="84470" y="174455"/>
                      </a:cubicBezTo>
                      <a:cubicBezTo>
                        <a:pt x="81453" y="174455"/>
                        <a:pt x="81453" y="174455"/>
                        <a:pt x="78436" y="177472"/>
                      </a:cubicBezTo>
                      <a:cubicBezTo>
                        <a:pt x="72403" y="180489"/>
                        <a:pt x="66369" y="186522"/>
                        <a:pt x="66369" y="192555"/>
                      </a:cubicBezTo>
                      <a:cubicBezTo>
                        <a:pt x="66369" y="210656"/>
                        <a:pt x="144805" y="219706"/>
                        <a:pt x="168939" y="222723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7" name="任意多边形: 形状 96">
                  <a:extLst>
                    <a:ext uri="{FF2B5EF4-FFF2-40B4-BE49-F238E27FC236}">
                      <a16:creationId xmlns:a16="http://schemas.microsoft.com/office/drawing/2014/main" id="{C0E2A772-B9B9-47FC-AA17-455AA3C8B0F1}"/>
                    </a:ext>
                  </a:extLst>
                </p:cNvPr>
                <p:cNvSpPr/>
                <p:nvPr/>
              </p:nvSpPr>
              <p:spPr>
                <a:xfrm>
                  <a:off x="10304086" y="10910058"/>
                  <a:ext cx="40467" cy="51285"/>
                </a:xfrm>
                <a:custGeom>
                  <a:avLst/>
                  <a:gdLst>
                    <a:gd name="connsiteX0" fmla="*/ 36201 w 40467"/>
                    <a:gd name="connsiteY0" fmla="*/ 51285 h 51285"/>
                    <a:gd name="connsiteX1" fmla="*/ 36201 w 40467"/>
                    <a:gd name="connsiteY1" fmla="*/ 51285 h 51285"/>
                    <a:gd name="connsiteX2" fmla="*/ 0 w 40467"/>
                    <a:gd name="connsiteY2" fmla="*/ 6034 h 51285"/>
                    <a:gd name="connsiteX3" fmla="*/ 6033 w 40467"/>
                    <a:gd name="connsiteY3" fmla="*/ 0 h 51285"/>
                    <a:gd name="connsiteX4" fmla="*/ 6033 w 40467"/>
                    <a:gd name="connsiteY4" fmla="*/ 0 h 51285"/>
                    <a:gd name="connsiteX5" fmla="*/ 12067 w 40467"/>
                    <a:gd name="connsiteY5" fmla="*/ 6034 h 51285"/>
                    <a:gd name="connsiteX6" fmla="*/ 36201 w 40467"/>
                    <a:gd name="connsiteY6" fmla="*/ 39218 h 51285"/>
                    <a:gd name="connsiteX7" fmla="*/ 39218 w 40467"/>
                    <a:gd name="connsiteY7" fmla="*/ 45251 h 51285"/>
                    <a:gd name="connsiteX8" fmla="*/ 36201 w 40467"/>
                    <a:gd name="connsiteY8" fmla="*/ 51285 h 51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0467" h="51285">
                      <a:moveTo>
                        <a:pt x="36201" y="51285"/>
                      </a:moveTo>
                      <a:cubicBezTo>
                        <a:pt x="36201" y="51285"/>
                        <a:pt x="36201" y="51285"/>
                        <a:pt x="36201" y="51285"/>
                      </a:cubicBezTo>
                      <a:cubicBezTo>
                        <a:pt x="6033" y="42234"/>
                        <a:pt x="0" y="18101"/>
                        <a:pt x="0" y="6034"/>
                      </a:cubicBezTo>
                      <a:cubicBezTo>
                        <a:pt x="0" y="3017"/>
                        <a:pt x="3017" y="0"/>
                        <a:pt x="6033" y="0"/>
                      </a:cubicBezTo>
                      <a:cubicBezTo>
                        <a:pt x="6033" y="0"/>
                        <a:pt x="6033" y="0"/>
                        <a:pt x="6033" y="0"/>
                      </a:cubicBezTo>
                      <a:cubicBezTo>
                        <a:pt x="9050" y="0"/>
                        <a:pt x="12067" y="3017"/>
                        <a:pt x="12067" y="6034"/>
                      </a:cubicBezTo>
                      <a:cubicBezTo>
                        <a:pt x="12067" y="6034"/>
                        <a:pt x="12067" y="33185"/>
                        <a:pt x="36201" y="39218"/>
                      </a:cubicBezTo>
                      <a:cubicBezTo>
                        <a:pt x="39218" y="39218"/>
                        <a:pt x="42234" y="42234"/>
                        <a:pt x="39218" y="45251"/>
                      </a:cubicBezTo>
                      <a:cubicBezTo>
                        <a:pt x="42234" y="48268"/>
                        <a:pt x="39218" y="51285"/>
                        <a:pt x="36201" y="51285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" name="任意多边形: 形状 97">
                  <a:extLst>
                    <a:ext uri="{FF2B5EF4-FFF2-40B4-BE49-F238E27FC236}">
                      <a16:creationId xmlns:a16="http://schemas.microsoft.com/office/drawing/2014/main" id="{03F059D0-C574-4905-8788-8DCA3E73CD41}"/>
                    </a:ext>
                  </a:extLst>
                </p:cNvPr>
                <p:cNvSpPr/>
                <p:nvPr/>
              </p:nvSpPr>
              <p:spPr>
                <a:xfrm>
                  <a:off x="10058545" y="10866574"/>
                  <a:ext cx="158055" cy="79685"/>
                </a:xfrm>
                <a:custGeom>
                  <a:avLst/>
                  <a:gdLst>
                    <a:gd name="connsiteX0" fmla="*/ 25317 w 158055"/>
                    <a:gd name="connsiteY0" fmla="*/ 79686 h 79685"/>
                    <a:gd name="connsiteX1" fmla="*/ 25317 w 158055"/>
                    <a:gd name="connsiteY1" fmla="*/ 79686 h 79685"/>
                    <a:gd name="connsiteX2" fmla="*/ 1184 w 158055"/>
                    <a:gd name="connsiteY2" fmla="*/ 61585 h 79685"/>
                    <a:gd name="connsiteX3" fmla="*/ 7217 w 158055"/>
                    <a:gd name="connsiteY3" fmla="*/ 37450 h 79685"/>
                    <a:gd name="connsiteX4" fmla="*/ 97720 w 158055"/>
                    <a:gd name="connsiteY4" fmla="*/ 28400 h 79685"/>
                    <a:gd name="connsiteX5" fmla="*/ 49452 w 158055"/>
                    <a:gd name="connsiteY5" fmla="*/ 13317 h 79685"/>
                    <a:gd name="connsiteX6" fmla="*/ 46435 w 158055"/>
                    <a:gd name="connsiteY6" fmla="*/ 4267 h 79685"/>
                    <a:gd name="connsiteX7" fmla="*/ 55485 w 158055"/>
                    <a:gd name="connsiteY7" fmla="*/ 1250 h 79685"/>
                    <a:gd name="connsiteX8" fmla="*/ 152022 w 158055"/>
                    <a:gd name="connsiteY8" fmla="*/ 31417 h 79685"/>
                    <a:gd name="connsiteX9" fmla="*/ 158055 w 158055"/>
                    <a:gd name="connsiteY9" fmla="*/ 37450 h 79685"/>
                    <a:gd name="connsiteX10" fmla="*/ 152022 w 158055"/>
                    <a:gd name="connsiteY10" fmla="*/ 43484 h 79685"/>
                    <a:gd name="connsiteX11" fmla="*/ 19284 w 158055"/>
                    <a:gd name="connsiteY11" fmla="*/ 46501 h 79685"/>
                    <a:gd name="connsiteX12" fmla="*/ 16267 w 158055"/>
                    <a:gd name="connsiteY12" fmla="*/ 58568 h 79685"/>
                    <a:gd name="connsiteX13" fmla="*/ 31351 w 158055"/>
                    <a:gd name="connsiteY13" fmla="*/ 67618 h 79685"/>
                    <a:gd name="connsiteX14" fmla="*/ 37385 w 158055"/>
                    <a:gd name="connsiteY14" fmla="*/ 73652 h 79685"/>
                    <a:gd name="connsiteX15" fmla="*/ 25317 w 158055"/>
                    <a:gd name="connsiteY15" fmla="*/ 79686 h 79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58055" h="79685">
                      <a:moveTo>
                        <a:pt x="25317" y="79686"/>
                      </a:moveTo>
                      <a:cubicBezTo>
                        <a:pt x="25317" y="79686"/>
                        <a:pt x="25317" y="79686"/>
                        <a:pt x="25317" y="79686"/>
                      </a:cubicBezTo>
                      <a:cubicBezTo>
                        <a:pt x="13250" y="76669"/>
                        <a:pt x="4201" y="70635"/>
                        <a:pt x="1184" y="61585"/>
                      </a:cubicBezTo>
                      <a:cubicBezTo>
                        <a:pt x="-1833" y="52534"/>
                        <a:pt x="1184" y="46501"/>
                        <a:pt x="7217" y="37450"/>
                      </a:cubicBezTo>
                      <a:cubicBezTo>
                        <a:pt x="16267" y="28400"/>
                        <a:pt x="58502" y="28400"/>
                        <a:pt x="97720" y="28400"/>
                      </a:cubicBezTo>
                      <a:cubicBezTo>
                        <a:pt x="73586" y="19350"/>
                        <a:pt x="49452" y="13317"/>
                        <a:pt x="49452" y="13317"/>
                      </a:cubicBezTo>
                      <a:cubicBezTo>
                        <a:pt x="46435" y="13317"/>
                        <a:pt x="43418" y="10300"/>
                        <a:pt x="46435" y="4267"/>
                      </a:cubicBezTo>
                      <a:cubicBezTo>
                        <a:pt x="46435" y="1250"/>
                        <a:pt x="49452" y="-1767"/>
                        <a:pt x="55485" y="1250"/>
                      </a:cubicBezTo>
                      <a:cubicBezTo>
                        <a:pt x="55485" y="1250"/>
                        <a:pt x="115820" y="22366"/>
                        <a:pt x="152022" y="31417"/>
                      </a:cubicBezTo>
                      <a:cubicBezTo>
                        <a:pt x="155039" y="31417"/>
                        <a:pt x="158055" y="34434"/>
                        <a:pt x="158055" y="37450"/>
                      </a:cubicBezTo>
                      <a:cubicBezTo>
                        <a:pt x="158055" y="40467"/>
                        <a:pt x="155039" y="43484"/>
                        <a:pt x="152022" y="43484"/>
                      </a:cubicBezTo>
                      <a:cubicBezTo>
                        <a:pt x="94703" y="40467"/>
                        <a:pt x="28334" y="40467"/>
                        <a:pt x="19284" y="46501"/>
                      </a:cubicBezTo>
                      <a:cubicBezTo>
                        <a:pt x="16267" y="49518"/>
                        <a:pt x="13250" y="52534"/>
                        <a:pt x="16267" y="58568"/>
                      </a:cubicBezTo>
                      <a:cubicBezTo>
                        <a:pt x="16267" y="61585"/>
                        <a:pt x="22301" y="67618"/>
                        <a:pt x="31351" y="67618"/>
                      </a:cubicBezTo>
                      <a:cubicBezTo>
                        <a:pt x="34368" y="67618"/>
                        <a:pt x="37385" y="70635"/>
                        <a:pt x="37385" y="73652"/>
                      </a:cubicBezTo>
                      <a:cubicBezTo>
                        <a:pt x="31351" y="79686"/>
                        <a:pt x="28334" y="79686"/>
                        <a:pt x="25317" y="79686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C5A17FDA-F6E3-4AE1-ADE2-7049F61A42C0}"/>
                  </a:ext>
                </a:extLst>
              </p:cNvPr>
              <p:cNvSpPr/>
              <p:nvPr/>
            </p:nvSpPr>
            <p:spPr>
              <a:xfrm>
                <a:off x="10124848" y="10964359"/>
                <a:ext cx="118903" cy="57319"/>
              </a:xfrm>
              <a:custGeom>
                <a:avLst/>
                <a:gdLst>
                  <a:gd name="connsiteX0" fmla="*/ 100802 w 118903"/>
                  <a:gd name="connsiteY0" fmla="*/ 57319 h 57319"/>
                  <a:gd name="connsiteX1" fmla="*/ 100802 w 118903"/>
                  <a:gd name="connsiteY1" fmla="*/ 57319 h 57319"/>
                  <a:gd name="connsiteX2" fmla="*/ 1250 w 118903"/>
                  <a:gd name="connsiteY2" fmla="*/ 27152 h 57319"/>
                  <a:gd name="connsiteX3" fmla="*/ 4266 w 118903"/>
                  <a:gd name="connsiteY3" fmla="*/ 9051 h 57319"/>
                  <a:gd name="connsiteX4" fmla="*/ 31417 w 118903"/>
                  <a:gd name="connsiteY4" fmla="*/ 0 h 57319"/>
                  <a:gd name="connsiteX5" fmla="*/ 31417 w 118903"/>
                  <a:gd name="connsiteY5" fmla="*/ 0 h 57319"/>
                  <a:gd name="connsiteX6" fmla="*/ 67618 w 118903"/>
                  <a:gd name="connsiteY6" fmla="*/ 3017 h 57319"/>
                  <a:gd name="connsiteX7" fmla="*/ 112869 w 118903"/>
                  <a:gd name="connsiteY7" fmla="*/ 6034 h 57319"/>
                  <a:gd name="connsiteX8" fmla="*/ 112869 w 118903"/>
                  <a:gd name="connsiteY8" fmla="*/ 6034 h 57319"/>
                  <a:gd name="connsiteX9" fmla="*/ 118903 w 118903"/>
                  <a:gd name="connsiteY9" fmla="*/ 12068 h 57319"/>
                  <a:gd name="connsiteX10" fmla="*/ 112869 w 118903"/>
                  <a:gd name="connsiteY10" fmla="*/ 18101 h 57319"/>
                  <a:gd name="connsiteX11" fmla="*/ 64601 w 118903"/>
                  <a:gd name="connsiteY11" fmla="*/ 15084 h 57319"/>
                  <a:gd name="connsiteX12" fmla="*/ 28400 w 118903"/>
                  <a:gd name="connsiteY12" fmla="*/ 12068 h 57319"/>
                  <a:gd name="connsiteX13" fmla="*/ 28400 w 118903"/>
                  <a:gd name="connsiteY13" fmla="*/ 12068 h 57319"/>
                  <a:gd name="connsiteX14" fmla="*/ 10300 w 118903"/>
                  <a:gd name="connsiteY14" fmla="*/ 15084 h 57319"/>
                  <a:gd name="connsiteX15" fmla="*/ 10300 w 118903"/>
                  <a:gd name="connsiteY15" fmla="*/ 21118 h 57319"/>
                  <a:gd name="connsiteX16" fmla="*/ 97785 w 118903"/>
                  <a:gd name="connsiteY16" fmla="*/ 45251 h 57319"/>
                  <a:gd name="connsiteX17" fmla="*/ 103819 w 118903"/>
                  <a:gd name="connsiteY17" fmla="*/ 51285 h 57319"/>
                  <a:gd name="connsiteX18" fmla="*/ 100802 w 118903"/>
                  <a:gd name="connsiteY18" fmla="*/ 57319 h 57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8903" h="57319">
                    <a:moveTo>
                      <a:pt x="100802" y="57319"/>
                    </a:moveTo>
                    <a:cubicBezTo>
                      <a:pt x="100802" y="57319"/>
                      <a:pt x="100802" y="57319"/>
                      <a:pt x="100802" y="57319"/>
                    </a:cubicBezTo>
                    <a:cubicBezTo>
                      <a:pt x="73652" y="54302"/>
                      <a:pt x="7283" y="45251"/>
                      <a:pt x="1250" y="27152"/>
                    </a:cubicBezTo>
                    <a:cubicBezTo>
                      <a:pt x="-1767" y="18101"/>
                      <a:pt x="1250" y="12068"/>
                      <a:pt x="4266" y="9051"/>
                    </a:cubicBezTo>
                    <a:cubicBezTo>
                      <a:pt x="10300" y="3017"/>
                      <a:pt x="16333" y="0"/>
                      <a:pt x="31417" y="0"/>
                    </a:cubicBezTo>
                    <a:cubicBezTo>
                      <a:pt x="31417" y="0"/>
                      <a:pt x="31417" y="0"/>
                      <a:pt x="31417" y="0"/>
                    </a:cubicBezTo>
                    <a:cubicBezTo>
                      <a:pt x="37450" y="0"/>
                      <a:pt x="52534" y="3017"/>
                      <a:pt x="67618" y="3017"/>
                    </a:cubicBezTo>
                    <a:cubicBezTo>
                      <a:pt x="85719" y="6034"/>
                      <a:pt x="106836" y="6034"/>
                      <a:pt x="112869" y="6034"/>
                    </a:cubicBezTo>
                    <a:cubicBezTo>
                      <a:pt x="112869" y="6034"/>
                      <a:pt x="112869" y="6034"/>
                      <a:pt x="112869" y="6034"/>
                    </a:cubicBezTo>
                    <a:cubicBezTo>
                      <a:pt x="115886" y="6034"/>
                      <a:pt x="118903" y="9051"/>
                      <a:pt x="118903" y="12068"/>
                    </a:cubicBezTo>
                    <a:cubicBezTo>
                      <a:pt x="118903" y="15084"/>
                      <a:pt x="115886" y="18101"/>
                      <a:pt x="112869" y="18101"/>
                    </a:cubicBezTo>
                    <a:cubicBezTo>
                      <a:pt x="103819" y="18101"/>
                      <a:pt x="82702" y="15084"/>
                      <a:pt x="64601" y="15084"/>
                    </a:cubicBezTo>
                    <a:cubicBezTo>
                      <a:pt x="49517" y="12068"/>
                      <a:pt x="34433" y="12068"/>
                      <a:pt x="28400" y="12068"/>
                    </a:cubicBezTo>
                    <a:lnTo>
                      <a:pt x="28400" y="12068"/>
                    </a:lnTo>
                    <a:cubicBezTo>
                      <a:pt x="19350" y="12068"/>
                      <a:pt x="13317" y="15084"/>
                      <a:pt x="10300" y="15084"/>
                    </a:cubicBezTo>
                    <a:cubicBezTo>
                      <a:pt x="10300" y="15084"/>
                      <a:pt x="7283" y="18101"/>
                      <a:pt x="10300" y="21118"/>
                    </a:cubicBezTo>
                    <a:cubicBezTo>
                      <a:pt x="13317" y="27152"/>
                      <a:pt x="52534" y="39218"/>
                      <a:pt x="97785" y="45251"/>
                    </a:cubicBezTo>
                    <a:cubicBezTo>
                      <a:pt x="100802" y="45251"/>
                      <a:pt x="103819" y="48268"/>
                      <a:pt x="103819" y="51285"/>
                    </a:cubicBezTo>
                    <a:cubicBezTo>
                      <a:pt x="106836" y="54302"/>
                      <a:pt x="103819" y="57319"/>
                      <a:pt x="100802" y="5731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74742EB4-0450-452D-A862-876F7130FCFE}"/>
                  </a:ext>
                </a:extLst>
              </p:cNvPr>
              <p:cNvSpPr/>
              <p:nvPr/>
            </p:nvSpPr>
            <p:spPr>
              <a:xfrm>
                <a:off x="10072550" y="10927337"/>
                <a:ext cx="162150" cy="49090"/>
              </a:xfrm>
              <a:custGeom>
                <a:avLst/>
                <a:gdLst>
                  <a:gd name="connsiteX0" fmla="*/ 65615 w 162150"/>
                  <a:gd name="connsiteY0" fmla="*/ 49091 h 49090"/>
                  <a:gd name="connsiteX1" fmla="*/ 65615 w 162150"/>
                  <a:gd name="connsiteY1" fmla="*/ 49091 h 49090"/>
                  <a:gd name="connsiteX2" fmla="*/ 2263 w 162150"/>
                  <a:gd name="connsiteY2" fmla="*/ 34007 h 49090"/>
                  <a:gd name="connsiteX3" fmla="*/ 2263 w 162150"/>
                  <a:gd name="connsiteY3" fmla="*/ 18923 h 49090"/>
                  <a:gd name="connsiteX4" fmla="*/ 29413 w 162150"/>
                  <a:gd name="connsiteY4" fmla="*/ 822 h 49090"/>
                  <a:gd name="connsiteX5" fmla="*/ 92766 w 162150"/>
                  <a:gd name="connsiteY5" fmla="*/ 6855 h 49090"/>
                  <a:gd name="connsiteX6" fmla="*/ 101815 w 162150"/>
                  <a:gd name="connsiteY6" fmla="*/ 6855 h 49090"/>
                  <a:gd name="connsiteX7" fmla="*/ 156118 w 162150"/>
                  <a:gd name="connsiteY7" fmla="*/ 6855 h 49090"/>
                  <a:gd name="connsiteX8" fmla="*/ 156118 w 162150"/>
                  <a:gd name="connsiteY8" fmla="*/ 6855 h 49090"/>
                  <a:gd name="connsiteX9" fmla="*/ 162151 w 162150"/>
                  <a:gd name="connsiteY9" fmla="*/ 12889 h 49090"/>
                  <a:gd name="connsiteX10" fmla="*/ 156118 w 162150"/>
                  <a:gd name="connsiteY10" fmla="*/ 18923 h 49090"/>
                  <a:gd name="connsiteX11" fmla="*/ 101815 w 162150"/>
                  <a:gd name="connsiteY11" fmla="*/ 18923 h 49090"/>
                  <a:gd name="connsiteX12" fmla="*/ 92766 w 162150"/>
                  <a:gd name="connsiteY12" fmla="*/ 18923 h 49090"/>
                  <a:gd name="connsiteX13" fmla="*/ 32430 w 162150"/>
                  <a:gd name="connsiteY13" fmla="*/ 12889 h 49090"/>
                  <a:gd name="connsiteX14" fmla="*/ 14330 w 162150"/>
                  <a:gd name="connsiteY14" fmla="*/ 24956 h 49090"/>
                  <a:gd name="connsiteX15" fmla="*/ 14330 w 162150"/>
                  <a:gd name="connsiteY15" fmla="*/ 27973 h 49090"/>
                  <a:gd name="connsiteX16" fmla="*/ 68632 w 162150"/>
                  <a:gd name="connsiteY16" fmla="*/ 40040 h 49090"/>
                  <a:gd name="connsiteX17" fmla="*/ 74665 w 162150"/>
                  <a:gd name="connsiteY17" fmla="*/ 46074 h 49090"/>
                  <a:gd name="connsiteX18" fmla="*/ 65615 w 162150"/>
                  <a:gd name="connsiteY18" fmla="*/ 49091 h 49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2150" h="49090">
                    <a:moveTo>
                      <a:pt x="65615" y="49091"/>
                    </a:moveTo>
                    <a:lnTo>
                      <a:pt x="65615" y="49091"/>
                    </a:lnTo>
                    <a:cubicBezTo>
                      <a:pt x="47514" y="49091"/>
                      <a:pt x="8297" y="43057"/>
                      <a:pt x="2263" y="34007"/>
                    </a:cubicBezTo>
                    <a:cubicBezTo>
                      <a:pt x="-754" y="27973"/>
                      <a:pt x="-754" y="24956"/>
                      <a:pt x="2263" y="18923"/>
                    </a:cubicBezTo>
                    <a:cubicBezTo>
                      <a:pt x="5280" y="9872"/>
                      <a:pt x="17347" y="3839"/>
                      <a:pt x="29413" y="822"/>
                    </a:cubicBezTo>
                    <a:cubicBezTo>
                      <a:pt x="38464" y="-2195"/>
                      <a:pt x="68632" y="3839"/>
                      <a:pt x="92766" y="6855"/>
                    </a:cubicBezTo>
                    <a:cubicBezTo>
                      <a:pt x="98799" y="6855"/>
                      <a:pt x="101815" y="6855"/>
                      <a:pt x="101815" y="6855"/>
                    </a:cubicBezTo>
                    <a:cubicBezTo>
                      <a:pt x="107849" y="6855"/>
                      <a:pt x="144051" y="6855"/>
                      <a:pt x="156118" y="6855"/>
                    </a:cubicBezTo>
                    <a:lnTo>
                      <a:pt x="156118" y="6855"/>
                    </a:lnTo>
                    <a:cubicBezTo>
                      <a:pt x="159135" y="6855"/>
                      <a:pt x="162151" y="9872"/>
                      <a:pt x="162151" y="12889"/>
                    </a:cubicBezTo>
                    <a:cubicBezTo>
                      <a:pt x="162151" y="15906"/>
                      <a:pt x="159135" y="18923"/>
                      <a:pt x="156118" y="18923"/>
                    </a:cubicBezTo>
                    <a:cubicBezTo>
                      <a:pt x="153101" y="18923"/>
                      <a:pt x="110866" y="18923"/>
                      <a:pt x="101815" y="18923"/>
                    </a:cubicBezTo>
                    <a:cubicBezTo>
                      <a:pt x="98799" y="18923"/>
                      <a:pt x="95782" y="18923"/>
                      <a:pt x="92766" y="18923"/>
                    </a:cubicBezTo>
                    <a:cubicBezTo>
                      <a:pt x="77682" y="15906"/>
                      <a:pt x="41480" y="12889"/>
                      <a:pt x="32430" y="12889"/>
                    </a:cubicBezTo>
                    <a:cubicBezTo>
                      <a:pt x="23380" y="12889"/>
                      <a:pt x="17347" y="18923"/>
                      <a:pt x="14330" y="24956"/>
                    </a:cubicBezTo>
                    <a:cubicBezTo>
                      <a:pt x="14330" y="24956"/>
                      <a:pt x="14330" y="27973"/>
                      <a:pt x="14330" y="27973"/>
                    </a:cubicBezTo>
                    <a:cubicBezTo>
                      <a:pt x="17347" y="30990"/>
                      <a:pt x="41480" y="37023"/>
                      <a:pt x="68632" y="40040"/>
                    </a:cubicBezTo>
                    <a:cubicBezTo>
                      <a:pt x="71648" y="40040"/>
                      <a:pt x="74665" y="43057"/>
                      <a:pt x="74665" y="46074"/>
                    </a:cubicBezTo>
                    <a:cubicBezTo>
                      <a:pt x="71648" y="46074"/>
                      <a:pt x="68632" y="49091"/>
                      <a:pt x="65615" y="49091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2DFF0707-F6AD-4227-97F1-3225C56A61A4}"/>
                </a:ext>
              </a:extLst>
            </p:cNvPr>
            <p:cNvSpPr/>
            <p:nvPr/>
          </p:nvSpPr>
          <p:spPr>
            <a:xfrm>
              <a:off x="11231444" y="10807667"/>
              <a:ext cx="471458" cy="331665"/>
            </a:xfrm>
            <a:custGeom>
              <a:avLst/>
              <a:gdLst>
                <a:gd name="connsiteX0" fmla="*/ 68173 w 471458"/>
                <a:gd name="connsiteY0" fmla="*/ 331665 h 331665"/>
                <a:gd name="connsiteX1" fmla="*/ 469402 w 471458"/>
                <a:gd name="connsiteY1" fmla="*/ 78258 h 331665"/>
                <a:gd name="connsiteX2" fmla="*/ 1804 w 471458"/>
                <a:gd name="connsiteY2" fmla="*/ 36022 h 331665"/>
                <a:gd name="connsiteX3" fmla="*/ 68173 w 471458"/>
                <a:gd name="connsiteY3" fmla="*/ 331665 h 331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458" h="331665">
                  <a:moveTo>
                    <a:pt x="68173" y="331665"/>
                  </a:moveTo>
                  <a:cubicBezTo>
                    <a:pt x="249179" y="289431"/>
                    <a:pt x="496552" y="220045"/>
                    <a:pt x="469402" y="78258"/>
                  </a:cubicBezTo>
                  <a:cubicBezTo>
                    <a:pt x="448285" y="-24313"/>
                    <a:pt x="179793" y="-12245"/>
                    <a:pt x="1804" y="36022"/>
                  </a:cubicBezTo>
                  <a:cubicBezTo>
                    <a:pt x="-4229" y="111441"/>
                    <a:pt x="1804" y="253229"/>
                    <a:pt x="68173" y="331665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CE2EB068-1649-4195-8C49-3DD235573A65}"/>
                </a:ext>
              </a:extLst>
            </p:cNvPr>
            <p:cNvSpPr/>
            <p:nvPr/>
          </p:nvSpPr>
          <p:spPr>
            <a:xfrm>
              <a:off x="10225650" y="12098661"/>
              <a:ext cx="4096759" cy="362011"/>
            </a:xfrm>
            <a:custGeom>
              <a:avLst/>
              <a:gdLst>
                <a:gd name="connsiteX0" fmla="*/ 0 w 4096759"/>
                <a:gd name="connsiteY0" fmla="*/ 346927 h 362011"/>
                <a:gd name="connsiteX1" fmla="*/ 4096760 w 4096759"/>
                <a:gd name="connsiteY1" fmla="*/ 362011 h 362011"/>
                <a:gd name="connsiteX2" fmla="*/ 3442123 w 4096759"/>
                <a:gd name="connsiteY2" fmla="*/ 18101 h 362011"/>
                <a:gd name="connsiteX3" fmla="*/ 654637 w 4096759"/>
                <a:gd name="connsiteY3" fmla="*/ 0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6759" h="362011">
                  <a:moveTo>
                    <a:pt x="0" y="346927"/>
                  </a:moveTo>
                  <a:lnTo>
                    <a:pt x="4096760" y="362011"/>
                  </a:lnTo>
                  <a:lnTo>
                    <a:pt x="3442123" y="18101"/>
                  </a:lnTo>
                  <a:lnTo>
                    <a:pt x="654637" y="0"/>
                  </a:ln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C1145A74-2106-40B5-9D7E-64A2DBA212C6}"/>
                </a:ext>
              </a:extLst>
            </p:cNvPr>
            <p:cNvSpPr/>
            <p:nvPr/>
          </p:nvSpPr>
          <p:spPr>
            <a:xfrm>
              <a:off x="11866768" y="10373075"/>
              <a:ext cx="244357" cy="362011"/>
            </a:xfrm>
            <a:custGeom>
              <a:avLst/>
              <a:gdLst>
                <a:gd name="connsiteX0" fmla="*/ 244358 w 244357"/>
                <a:gd name="connsiteY0" fmla="*/ 0 h 362011"/>
                <a:gd name="connsiteX1" fmla="*/ 123687 w 244357"/>
                <a:gd name="connsiteY1" fmla="*/ 355977 h 362011"/>
                <a:gd name="connsiteX2" fmla="*/ 45251 w 244357"/>
                <a:gd name="connsiteY2" fmla="*/ 362011 h 362011"/>
                <a:gd name="connsiteX3" fmla="*/ 0 w 244357"/>
                <a:gd name="connsiteY3" fmla="*/ 247374 h 362011"/>
                <a:gd name="connsiteX4" fmla="*/ 90503 w 244357"/>
                <a:gd name="connsiteY4" fmla="*/ 111620 h 362011"/>
                <a:gd name="connsiteX5" fmla="*/ 244358 w 244357"/>
                <a:gd name="connsiteY5" fmla="*/ 0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4357" h="362011">
                  <a:moveTo>
                    <a:pt x="244358" y="0"/>
                  </a:moveTo>
                  <a:cubicBezTo>
                    <a:pt x="244358" y="0"/>
                    <a:pt x="244358" y="181006"/>
                    <a:pt x="123687" y="355977"/>
                  </a:cubicBezTo>
                  <a:lnTo>
                    <a:pt x="45251" y="362011"/>
                  </a:lnTo>
                  <a:lnTo>
                    <a:pt x="0" y="247374"/>
                  </a:lnTo>
                  <a:lnTo>
                    <a:pt x="90503" y="111620"/>
                  </a:lnTo>
                  <a:lnTo>
                    <a:pt x="244358" y="0"/>
                  </a:ln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0AE8DB4E-2FF7-4750-95BF-A00CEB0BD4B4}"/>
                </a:ext>
              </a:extLst>
            </p:cNvPr>
            <p:cNvSpPr/>
            <p:nvPr/>
          </p:nvSpPr>
          <p:spPr>
            <a:xfrm>
              <a:off x="11353422" y="11634080"/>
              <a:ext cx="913497" cy="654637"/>
            </a:xfrm>
            <a:custGeom>
              <a:avLst/>
              <a:gdLst>
                <a:gd name="connsiteX0" fmla="*/ 778821 w 913497"/>
                <a:gd name="connsiteY0" fmla="*/ 0 h 654637"/>
                <a:gd name="connsiteX1" fmla="*/ 118150 w 913497"/>
                <a:gd name="connsiteY1" fmla="*/ 0 h 654637"/>
                <a:gd name="connsiteX2" fmla="*/ 497 w 913497"/>
                <a:gd name="connsiteY2" fmla="*/ 455531 h 654637"/>
                <a:gd name="connsiteX3" fmla="*/ 465077 w 913497"/>
                <a:gd name="connsiteY3" fmla="*/ 654637 h 654637"/>
                <a:gd name="connsiteX4" fmla="*/ 911559 w 913497"/>
                <a:gd name="connsiteY4" fmla="*/ 380112 h 654637"/>
                <a:gd name="connsiteX5" fmla="*/ 778821 w 913497"/>
                <a:gd name="connsiteY5" fmla="*/ 0 h 654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3497" h="654637">
                  <a:moveTo>
                    <a:pt x="778821" y="0"/>
                  </a:moveTo>
                  <a:lnTo>
                    <a:pt x="118150" y="0"/>
                  </a:lnTo>
                  <a:cubicBezTo>
                    <a:pt x="118150" y="0"/>
                    <a:pt x="21614" y="301676"/>
                    <a:pt x="497" y="455531"/>
                  </a:cubicBezTo>
                  <a:cubicBezTo>
                    <a:pt x="-17604" y="606369"/>
                    <a:pt x="465077" y="654637"/>
                    <a:pt x="465077" y="654637"/>
                  </a:cubicBezTo>
                  <a:cubicBezTo>
                    <a:pt x="465077" y="654637"/>
                    <a:pt x="947759" y="518883"/>
                    <a:pt x="911559" y="380112"/>
                  </a:cubicBezTo>
                  <a:cubicBezTo>
                    <a:pt x="881391" y="262458"/>
                    <a:pt x="778821" y="0"/>
                    <a:pt x="778821" y="0"/>
                  </a:cubicBezTo>
                  <a:close/>
                </a:path>
              </a:pathLst>
            </a:custGeom>
            <a:solidFill>
              <a:srgbClr val="D1615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8157A617-3270-451E-94F9-18ADB21B9E58}"/>
                </a:ext>
              </a:extLst>
            </p:cNvPr>
            <p:cNvSpPr/>
            <p:nvPr/>
          </p:nvSpPr>
          <p:spPr>
            <a:xfrm>
              <a:off x="11809449" y="11826244"/>
              <a:ext cx="1086257" cy="543998"/>
            </a:xfrm>
            <a:custGeom>
              <a:avLst/>
              <a:gdLst>
                <a:gd name="connsiteX0" fmla="*/ 0 w 1086257"/>
                <a:gd name="connsiteY0" fmla="*/ 441356 h 543998"/>
                <a:gd name="connsiteX1" fmla="*/ 947262 w 1086257"/>
                <a:gd name="connsiteY1" fmla="*/ 543926 h 543998"/>
                <a:gd name="connsiteX2" fmla="*/ 1037765 w 1086257"/>
                <a:gd name="connsiteY2" fmla="*/ 347836 h 543998"/>
                <a:gd name="connsiteX3" fmla="*/ 1037765 w 1086257"/>
                <a:gd name="connsiteY3" fmla="*/ 347836 h 543998"/>
                <a:gd name="connsiteX4" fmla="*/ 1040782 w 1086257"/>
                <a:gd name="connsiteY4" fmla="*/ 245266 h 543998"/>
                <a:gd name="connsiteX5" fmla="*/ 126704 w 1086257"/>
                <a:gd name="connsiteY5" fmla="*/ 909 h 543998"/>
                <a:gd name="connsiteX6" fmla="*/ 0 w 1086257"/>
                <a:gd name="connsiteY6" fmla="*/ 441356 h 543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6257" h="543998">
                  <a:moveTo>
                    <a:pt x="0" y="441356"/>
                  </a:moveTo>
                  <a:cubicBezTo>
                    <a:pt x="0" y="441356"/>
                    <a:pt x="690838" y="534876"/>
                    <a:pt x="947262" y="543926"/>
                  </a:cubicBezTo>
                  <a:cubicBezTo>
                    <a:pt x="1055866" y="546942"/>
                    <a:pt x="1034748" y="456440"/>
                    <a:pt x="1037765" y="347836"/>
                  </a:cubicBezTo>
                  <a:lnTo>
                    <a:pt x="1037765" y="347836"/>
                  </a:lnTo>
                  <a:cubicBezTo>
                    <a:pt x="1040782" y="245266"/>
                    <a:pt x="1143352" y="257333"/>
                    <a:pt x="1040782" y="245266"/>
                  </a:cubicBezTo>
                  <a:cubicBezTo>
                    <a:pt x="488715" y="103478"/>
                    <a:pt x="171956" y="9960"/>
                    <a:pt x="126704" y="909"/>
                  </a:cubicBezTo>
                  <a:cubicBezTo>
                    <a:pt x="9050" y="-23225"/>
                    <a:pt x="0" y="441356"/>
                    <a:pt x="0" y="441356"/>
                  </a:cubicBezTo>
                  <a:close/>
                </a:path>
              </a:pathLst>
            </a:custGeom>
            <a:solidFill>
              <a:srgbClr val="D1615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2BAA2ACF-8EA7-4A43-8EB8-594FA4286854}"/>
                </a:ext>
              </a:extLst>
            </p:cNvPr>
            <p:cNvSpPr/>
            <p:nvPr/>
          </p:nvSpPr>
          <p:spPr>
            <a:xfrm>
              <a:off x="11376132" y="10757819"/>
              <a:ext cx="811961" cy="1033232"/>
            </a:xfrm>
            <a:custGeom>
              <a:avLst/>
              <a:gdLst>
                <a:gd name="connsiteX0" fmla="*/ 768178 w 811961"/>
                <a:gd name="connsiteY0" fmla="*/ 387546 h 1033232"/>
                <a:gd name="connsiteX1" fmla="*/ 753094 w 811961"/>
                <a:gd name="connsiteY1" fmla="*/ 67770 h 1033232"/>
                <a:gd name="connsiteX2" fmla="*/ 388066 w 811961"/>
                <a:gd name="connsiteY2" fmla="*/ 4418 h 1033232"/>
                <a:gd name="connsiteX3" fmla="*/ 89407 w 811961"/>
                <a:gd name="connsiteY3" fmla="*/ 103970 h 1033232"/>
                <a:gd name="connsiteX4" fmla="*/ 50189 w 811961"/>
                <a:gd name="connsiteY4" fmla="*/ 646987 h 1033232"/>
                <a:gd name="connsiteX5" fmla="*/ 29072 w 811961"/>
                <a:gd name="connsiteY5" fmla="*/ 1030116 h 1033232"/>
                <a:gd name="connsiteX6" fmla="*/ 807396 w 811961"/>
                <a:gd name="connsiteY6" fmla="*/ 1008998 h 1033232"/>
                <a:gd name="connsiteX7" fmla="*/ 768178 w 811961"/>
                <a:gd name="connsiteY7" fmla="*/ 387546 h 1033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1961" h="1033232">
                  <a:moveTo>
                    <a:pt x="768178" y="387546"/>
                  </a:moveTo>
                  <a:cubicBezTo>
                    <a:pt x="777228" y="357378"/>
                    <a:pt x="870748" y="131121"/>
                    <a:pt x="753094" y="67770"/>
                  </a:cubicBezTo>
                  <a:cubicBezTo>
                    <a:pt x="650525" y="13468"/>
                    <a:pt x="505720" y="-10666"/>
                    <a:pt x="388066" y="4418"/>
                  </a:cubicBezTo>
                  <a:cubicBezTo>
                    <a:pt x="258346" y="19502"/>
                    <a:pt x="128625" y="40618"/>
                    <a:pt x="89407" y="103970"/>
                  </a:cubicBezTo>
                  <a:cubicBezTo>
                    <a:pt x="-22213" y="287993"/>
                    <a:pt x="-22213" y="450898"/>
                    <a:pt x="50189" y="646987"/>
                  </a:cubicBezTo>
                  <a:cubicBezTo>
                    <a:pt x="71307" y="704305"/>
                    <a:pt x="44156" y="879278"/>
                    <a:pt x="29072" y="1030116"/>
                  </a:cubicBezTo>
                  <a:cubicBezTo>
                    <a:pt x="29072" y="1030116"/>
                    <a:pt x="418234" y="1045200"/>
                    <a:pt x="807396" y="1008998"/>
                  </a:cubicBezTo>
                  <a:cubicBezTo>
                    <a:pt x="777228" y="791792"/>
                    <a:pt x="762144" y="408663"/>
                    <a:pt x="768178" y="387546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2AF37C92-CE25-4436-857D-0911DDE7B556}"/>
                </a:ext>
              </a:extLst>
            </p:cNvPr>
            <p:cNvSpPr/>
            <p:nvPr/>
          </p:nvSpPr>
          <p:spPr>
            <a:xfrm>
              <a:off x="11655594" y="10581136"/>
              <a:ext cx="304692" cy="222050"/>
            </a:xfrm>
            <a:custGeom>
              <a:avLst/>
              <a:gdLst>
                <a:gd name="connsiteX0" fmla="*/ 54302 w 304692"/>
                <a:gd name="connsiteY0" fmla="*/ 60431 h 222050"/>
                <a:gd name="connsiteX1" fmla="*/ 0 w 304692"/>
                <a:gd name="connsiteY1" fmla="*/ 199202 h 222050"/>
                <a:gd name="connsiteX2" fmla="*/ 304693 w 304692"/>
                <a:gd name="connsiteY2" fmla="*/ 184118 h 222050"/>
                <a:gd name="connsiteX3" fmla="*/ 253408 w 304692"/>
                <a:gd name="connsiteY3" fmla="*/ 96 h 222050"/>
                <a:gd name="connsiteX4" fmla="*/ 54302 w 304692"/>
                <a:gd name="connsiteY4" fmla="*/ 60431 h 22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692" h="222050">
                  <a:moveTo>
                    <a:pt x="54302" y="60431"/>
                  </a:moveTo>
                  <a:cubicBezTo>
                    <a:pt x="54302" y="60431"/>
                    <a:pt x="60335" y="169034"/>
                    <a:pt x="0" y="199202"/>
                  </a:cubicBezTo>
                  <a:cubicBezTo>
                    <a:pt x="0" y="199202"/>
                    <a:pt x="177989" y="259537"/>
                    <a:pt x="304693" y="184118"/>
                  </a:cubicBezTo>
                  <a:cubicBezTo>
                    <a:pt x="250392" y="141883"/>
                    <a:pt x="253408" y="60431"/>
                    <a:pt x="253408" y="96"/>
                  </a:cubicBezTo>
                  <a:cubicBezTo>
                    <a:pt x="256425" y="-2921"/>
                    <a:pt x="108604" y="66464"/>
                    <a:pt x="54302" y="60431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1DC1CFA2-0EE4-4005-8197-9C6E7CF8F6BC}"/>
                </a:ext>
              </a:extLst>
            </p:cNvPr>
            <p:cNvSpPr/>
            <p:nvPr/>
          </p:nvSpPr>
          <p:spPr>
            <a:xfrm>
              <a:off x="11377235" y="10858773"/>
              <a:ext cx="100371" cy="549050"/>
            </a:xfrm>
            <a:custGeom>
              <a:avLst/>
              <a:gdLst>
                <a:gd name="connsiteX0" fmla="*/ 55120 w 100371"/>
                <a:gd name="connsiteY0" fmla="*/ 549051 h 549050"/>
                <a:gd name="connsiteX1" fmla="*/ 49086 w 100371"/>
                <a:gd name="connsiteY1" fmla="*/ 546034 h 549050"/>
                <a:gd name="connsiteX2" fmla="*/ 34002 w 100371"/>
                <a:gd name="connsiteY2" fmla="*/ 491732 h 549050"/>
                <a:gd name="connsiteX3" fmla="*/ 818 w 100371"/>
                <a:gd name="connsiteY3" fmla="*/ 343911 h 549050"/>
                <a:gd name="connsiteX4" fmla="*/ 88304 w 100371"/>
                <a:gd name="connsiteY4" fmla="*/ 3017 h 549050"/>
                <a:gd name="connsiteX5" fmla="*/ 97354 w 100371"/>
                <a:gd name="connsiteY5" fmla="*/ 0 h 549050"/>
                <a:gd name="connsiteX6" fmla="*/ 100371 w 100371"/>
                <a:gd name="connsiteY6" fmla="*/ 9051 h 549050"/>
                <a:gd name="connsiteX7" fmla="*/ 12885 w 100371"/>
                <a:gd name="connsiteY7" fmla="*/ 343911 h 549050"/>
                <a:gd name="connsiteX8" fmla="*/ 46070 w 100371"/>
                <a:gd name="connsiteY8" fmla="*/ 491732 h 549050"/>
                <a:gd name="connsiteX9" fmla="*/ 61154 w 100371"/>
                <a:gd name="connsiteY9" fmla="*/ 546034 h 549050"/>
                <a:gd name="connsiteX10" fmla="*/ 55120 w 100371"/>
                <a:gd name="connsiteY10" fmla="*/ 549051 h 549050"/>
                <a:gd name="connsiteX11" fmla="*/ 55120 w 100371"/>
                <a:gd name="connsiteY11" fmla="*/ 549051 h 54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371" h="549050">
                  <a:moveTo>
                    <a:pt x="55120" y="549051"/>
                  </a:moveTo>
                  <a:cubicBezTo>
                    <a:pt x="52103" y="549051"/>
                    <a:pt x="49086" y="546034"/>
                    <a:pt x="49086" y="546034"/>
                  </a:cubicBezTo>
                  <a:cubicBezTo>
                    <a:pt x="43053" y="527933"/>
                    <a:pt x="40036" y="509833"/>
                    <a:pt x="34002" y="491732"/>
                  </a:cubicBezTo>
                  <a:cubicBezTo>
                    <a:pt x="18918" y="440447"/>
                    <a:pt x="3834" y="389163"/>
                    <a:pt x="818" y="343911"/>
                  </a:cubicBezTo>
                  <a:cubicBezTo>
                    <a:pt x="-5216" y="220224"/>
                    <a:pt x="21935" y="105587"/>
                    <a:pt x="88304" y="3017"/>
                  </a:cubicBezTo>
                  <a:cubicBezTo>
                    <a:pt x="91321" y="0"/>
                    <a:pt x="94337" y="0"/>
                    <a:pt x="97354" y="0"/>
                  </a:cubicBezTo>
                  <a:cubicBezTo>
                    <a:pt x="100371" y="3017"/>
                    <a:pt x="100371" y="6034"/>
                    <a:pt x="100371" y="9051"/>
                  </a:cubicBezTo>
                  <a:cubicBezTo>
                    <a:pt x="37019" y="111620"/>
                    <a:pt x="6851" y="223241"/>
                    <a:pt x="12885" y="343911"/>
                  </a:cubicBezTo>
                  <a:cubicBezTo>
                    <a:pt x="15902" y="389163"/>
                    <a:pt x="30986" y="440447"/>
                    <a:pt x="46070" y="491732"/>
                  </a:cubicBezTo>
                  <a:cubicBezTo>
                    <a:pt x="52103" y="509833"/>
                    <a:pt x="58137" y="527933"/>
                    <a:pt x="61154" y="546034"/>
                  </a:cubicBezTo>
                  <a:cubicBezTo>
                    <a:pt x="61154" y="543017"/>
                    <a:pt x="58137" y="546034"/>
                    <a:pt x="55120" y="549051"/>
                  </a:cubicBezTo>
                  <a:cubicBezTo>
                    <a:pt x="55120" y="549051"/>
                    <a:pt x="55120" y="549051"/>
                    <a:pt x="55120" y="549051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D8DB640A-DC4B-46C1-8394-4256BACC01E9}"/>
                </a:ext>
              </a:extLst>
            </p:cNvPr>
            <p:cNvSpPr/>
            <p:nvPr/>
          </p:nvSpPr>
          <p:spPr>
            <a:xfrm>
              <a:off x="11495706" y="11293379"/>
              <a:ext cx="396444" cy="36008"/>
            </a:xfrm>
            <a:custGeom>
              <a:avLst/>
              <a:gdLst>
                <a:gd name="connsiteX0" fmla="*/ 6033 w 396444"/>
                <a:gd name="connsiteY0" fmla="*/ 36009 h 36008"/>
                <a:gd name="connsiteX1" fmla="*/ 0 w 396444"/>
                <a:gd name="connsiteY1" fmla="*/ 32992 h 36008"/>
                <a:gd name="connsiteX2" fmla="*/ 3017 w 396444"/>
                <a:gd name="connsiteY2" fmla="*/ 26959 h 36008"/>
                <a:gd name="connsiteX3" fmla="*/ 392179 w 396444"/>
                <a:gd name="connsiteY3" fmla="*/ 14892 h 36008"/>
                <a:gd name="connsiteX4" fmla="*/ 395196 w 396444"/>
                <a:gd name="connsiteY4" fmla="*/ 20925 h 36008"/>
                <a:gd name="connsiteX5" fmla="*/ 389162 w 396444"/>
                <a:gd name="connsiteY5" fmla="*/ 23942 h 36008"/>
                <a:gd name="connsiteX6" fmla="*/ 6033 w 396444"/>
                <a:gd name="connsiteY6" fmla="*/ 36009 h 36008"/>
                <a:gd name="connsiteX7" fmla="*/ 6033 w 396444"/>
                <a:gd name="connsiteY7" fmla="*/ 36009 h 36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6444" h="36008">
                  <a:moveTo>
                    <a:pt x="6033" y="36009"/>
                  </a:moveTo>
                  <a:cubicBezTo>
                    <a:pt x="3017" y="36009"/>
                    <a:pt x="3017" y="36009"/>
                    <a:pt x="0" y="32992"/>
                  </a:cubicBezTo>
                  <a:cubicBezTo>
                    <a:pt x="0" y="29976"/>
                    <a:pt x="0" y="26959"/>
                    <a:pt x="3017" y="26959"/>
                  </a:cubicBezTo>
                  <a:cubicBezTo>
                    <a:pt x="87486" y="-3209"/>
                    <a:pt x="292625" y="-9243"/>
                    <a:pt x="392179" y="14892"/>
                  </a:cubicBezTo>
                  <a:cubicBezTo>
                    <a:pt x="395196" y="14892"/>
                    <a:pt x="398212" y="17908"/>
                    <a:pt x="395196" y="20925"/>
                  </a:cubicBezTo>
                  <a:cubicBezTo>
                    <a:pt x="395196" y="23942"/>
                    <a:pt x="392179" y="26959"/>
                    <a:pt x="389162" y="23942"/>
                  </a:cubicBezTo>
                  <a:cubicBezTo>
                    <a:pt x="295642" y="-192"/>
                    <a:pt x="90503" y="5841"/>
                    <a:pt x="6033" y="36009"/>
                  </a:cubicBezTo>
                  <a:cubicBezTo>
                    <a:pt x="9050" y="36009"/>
                    <a:pt x="6033" y="36009"/>
                    <a:pt x="6033" y="36009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3CA7980D-2BFA-4E6A-B15E-43F99FCC75A9}"/>
                </a:ext>
              </a:extLst>
            </p:cNvPr>
            <p:cNvSpPr/>
            <p:nvPr/>
          </p:nvSpPr>
          <p:spPr>
            <a:xfrm>
              <a:off x="11631461" y="10765254"/>
              <a:ext cx="355977" cy="63351"/>
            </a:xfrm>
            <a:custGeom>
              <a:avLst/>
              <a:gdLst>
                <a:gd name="connsiteX0" fmla="*/ 36201 w 355977"/>
                <a:gd name="connsiteY0" fmla="*/ 9050 h 63351"/>
                <a:gd name="connsiteX1" fmla="*/ 331844 w 355977"/>
                <a:gd name="connsiteY1" fmla="*/ 0 h 63351"/>
                <a:gd name="connsiteX2" fmla="*/ 355977 w 355977"/>
                <a:gd name="connsiteY2" fmla="*/ 9050 h 63351"/>
                <a:gd name="connsiteX3" fmla="*/ 168939 w 355977"/>
                <a:gd name="connsiteY3" fmla="*/ 63351 h 63351"/>
                <a:gd name="connsiteX4" fmla="*/ 0 w 355977"/>
                <a:gd name="connsiteY4" fmla="*/ 15084 h 63351"/>
                <a:gd name="connsiteX5" fmla="*/ 36201 w 355977"/>
                <a:gd name="connsiteY5" fmla="*/ 9050 h 63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5977" h="63351">
                  <a:moveTo>
                    <a:pt x="36201" y="9050"/>
                  </a:moveTo>
                  <a:cubicBezTo>
                    <a:pt x="36201" y="9050"/>
                    <a:pt x="147821" y="66368"/>
                    <a:pt x="331844" y="0"/>
                  </a:cubicBezTo>
                  <a:lnTo>
                    <a:pt x="355977" y="9050"/>
                  </a:lnTo>
                  <a:cubicBezTo>
                    <a:pt x="355977" y="9050"/>
                    <a:pt x="277541" y="63351"/>
                    <a:pt x="168939" y="63351"/>
                  </a:cubicBezTo>
                  <a:cubicBezTo>
                    <a:pt x="66368" y="63351"/>
                    <a:pt x="0" y="15084"/>
                    <a:pt x="0" y="15084"/>
                  </a:cubicBezTo>
                  <a:cubicBezTo>
                    <a:pt x="0" y="15084"/>
                    <a:pt x="15084" y="9050"/>
                    <a:pt x="36201" y="9050"/>
                  </a:cubicBez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C8597B88-2D2A-4E92-B5BF-0B1A915A11E3}"/>
                </a:ext>
              </a:extLst>
            </p:cNvPr>
            <p:cNvSpPr/>
            <p:nvPr/>
          </p:nvSpPr>
          <p:spPr>
            <a:xfrm>
              <a:off x="13500994" y="12118179"/>
              <a:ext cx="571119" cy="246922"/>
            </a:xfrm>
            <a:custGeom>
              <a:avLst/>
              <a:gdLst>
                <a:gd name="connsiteX0" fmla="*/ 293483 w 571119"/>
                <a:gd name="connsiteY0" fmla="*/ 197689 h 246922"/>
                <a:gd name="connsiteX1" fmla="*/ 40075 w 571119"/>
                <a:gd name="connsiteY1" fmla="*/ 218806 h 246922"/>
                <a:gd name="connsiteX2" fmla="*/ 858 w 571119"/>
                <a:gd name="connsiteY2" fmla="*/ 92103 h 246922"/>
                <a:gd name="connsiteX3" fmla="*/ 199964 w 571119"/>
                <a:gd name="connsiteY3" fmla="*/ 83052 h 246922"/>
                <a:gd name="connsiteX4" fmla="*/ 266332 w 571119"/>
                <a:gd name="connsiteY4" fmla="*/ 1600 h 246922"/>
                <a:gd name="connsiteX5" fmla="*/ 571025 w 571119"/>
                <a:gd name="connsiteY5" fmla="*/ 230874 h 246922"/>
                <a:gd name="connsiteX6" fmla="*/ 293483 w 571119"/>
                <a:gd name="connsiteY6" fmla="*/ 197689 h 246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119" h="246922">
                  <a:moveTo>
                    <a:pt x="293483" y="197689"/>
                  </a:moveTo>
                  <a:cubicBezTo>
                    <a:pt x="209014" y="197689"/>
                    <a:pt x="52142" y="215790"/>
                    <a:pt x="40075" y="218806"/>
                  </a:cubicBezTo>
                  <a:cubicBezTo>
                    <a:pt x="21974" y="224840"/>
                    <a:pt x="-5176" y="98136"/>
                    <a:pt x="858" y="92103"/>
                  </a:cubicBezTo>
                  <a:cubicBezTo>
                    <a:pt x="12925" y="70985"/>
                    <a:pt x="196947" y="92103"/>
                    <a:pt x="199964" y="83052"/>
                  </a:cubicBezTo>
                  <a:cubicBezTo>
                    <a:pt x="199964" y="83052"/>
                    <a:pt x="242199" y="-13484"/>
                    <a:pt x="266332" y="1600"/>
                  </a:cubicBezTo>
                  <a:cubicBezTo>
                    <a:pt x="290467" y="13667"/>
                    <a:pt x="577059" y="215790"/>
                    <a:pt x="571025" y="230874"/>
                  </a:cubicBezTo>
                  <a:cubicBezTo>
                    <a:pt x="543875" y="279141"/>
                    <a:pt x="396053" y="203722"/>
                    <a:pt x="293483" y="197689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D9AE0267-FEE1-40AD-AFC8-9D3AA21C9237}"/>
                </a:ext>
              </a:extLst>
            </p:cNvPr>
            <p:cNvSpPr/>
            <p:nvPr/>
          </p:nvSpPr>
          <p:spPr>
            <a:xfrm>
              <a:off x="12623788" y="12063735"/>
              <a:ext cx="1095269" cy="306434"/>
            </a:xfrm>
            <a:custGeom>
              <a:avLst/>
              <a:gdLst>
                <a:gd name="connsiteX0" fmla="*/ 144991 w 1095269"/>
                <a:gd name="connsiteY0" fmla="*/ 306435 h 306434"/>
                <a:gd name="connsiteX1" fmla="*/ 1095270 w 1095269"/>
                <a:gd name="connsiteY1" fmla="*/ 276267 h 306434"/>
                <a:gd name="connsiteX2" fmla="*/ 1065102 w 1095269"/>
                <a:gd name="connsiteY2" fmla="*/ 137496 h 306434"/>
                <a:gd name="connsiteX3" fmla="*/ 226443 w 1095269"/>
                <a:gd name="connsiteY3" fmla="*/ 4759 h 306434"/>
                <a:gd name="connsiteX4" fmla="*/ 186 w 1095269"/>
                <a:gd name="connsiteY4" fmla="*/ 110345 h 306434"/>
                <a:gd name="connsiteX5" fmla="*/ 3203 w 1095269"/>
                <a:gd name="connsiteY5" fmla="*/ 173697 h 306434"/>
                <a:gd name="connsiteX6" fmla="*/ 144991 w 1095269"/>
                <a:gd name="connsiteY6" fmla="*/ 306435 h 306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5269" h="306434">
                  <a:moveTo>
                    <a:pt x="144991" y="306435"/>
                  </a:moveTo>
                  <a:lnTo>
                    <a:pt x="1095270" y="276267"/>
                  </a:lnTo>
                  <a:lnTo>
                    <a:pt x="1065102" y="137496"/>
                  </a:lnTo>
                  <a:lnTo>
                    <a:pt x="226443" y="4759"/>
                  </a:lnTo>
                  <a:cubicBezTo>
                    <a:pt x="135941" y="-13342"/>
                    <a:pt x="-5847" y="19843"/>
                    <a:pt x="186" y="110345"/>
                  </a:cubicBezTo>
                  <a:lnTo>
                    <a:pt x="3203" y="173697"/>
                  </a:lnTo>
                  <a:cubicBezTo>
                    <a:pt x="9236" y="249116"/>
                    <a:pt x="72589" y="306435"/>
                    <a:pt x="144991" y="306435"/>
                  </a:cubicBezTo>
                  <a:close/>
                </a:path>
              </a:pathLst>
            </a:custGeom>
            <a:solidFill>
              <a:srgbClr val="D1615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41B6C7AF-32B4-4804-8A68-1965169985AC}"/>
                </a:ext>
              </a:extLst>
            </p:cNvPr>
            <p:cNvSpPr/>
            <p:nvPr/>
          </p:nvSpPr>
          <p:spPr>
            <a:xfrm>
              <a:off x="12182278" y="11895289"/>
              <a:ext cx="99036" cy="28400"/>
            </a:xfrm>
            <a:custGeom>
              <a:avLst/>
              <a:gdLst>
                <a:gd name="connsiteX0" fmla="*/ 94769 w 99036"/>
                <a:gd name="connsiteY0" fmla="*/ 28400 h 28400"/>
                <a:gd name="connsiteX1" fmla="*/ 94769 w 99036"/>
                <a:gd name="connsiteY1" fmla="*/ 28400 h 28400"/>
                <a:gd name="connsiteX2" fmla="*/ 4267 w 99036"/>
                <a:gd name="connsiteY2" fmla="*/ 10300 h 28400"/>
                <a:gd name="connsiteX3" fmla="*/ 1250 w 99036"/>
                <a:gd name="connsiteY3" fmla="*/ 4266 h 28400"/>
                <a:gd name="connsiteX4" fmla="*/ 7284 w 99036"/>
                <a:gd name="connsiteY4" fmla="*/ 1250 h 28400"/>
                <a:gd name="connsiteX5" fmla="*/ 94769 w 99036"/>
                <a:gd name="connsiteY5" fmla="*/ 19350 h 28400"/>
                <a:gd name="connsiteX6" fmla="*/ 97786 w 99036"/>
                <a:gd name="connsiteY6" fmla="*/ 25383 h 28400"/>
                <a:gd name="connsiteX7" fmla="*/ 94769 w 99036"/>
                <a:gd name="connsiteY7" fmla="*/ 28400 h 28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036" h="28400">
                  <a:moveTo>
                    <a:pt x="94769" y="28400"/>
                  </a:moveTo>
                  <a:cubicBezTo>
                    <a:pt x="94769" y="28400"/>
                    <a:pt x="94769" y="28400"/>
                    <a:pt x="94769" y="28400"/>
                  </a:cubicBezTo>
                  <a:lnTo>
                    <a:pt x="4267" y="10300"/>
                  </a:lnTo>
                  <a:cubicBezTo>
                    <a:pt x="1250" y="10300"/>
                    <a:pt x="-1767" y="7283"/>
                    <a:pt x="1250" y="4266"/>
                  </a:cubicBezTo>
                  <a:cubicBezTo>
                    <a:pt x="1250" y="1250"/>
                    <a:pt x="4267" y="-1767"/>
                    <a:pt x="7284" y="1250"/>
                  </a:cubicBezTo>
                  <a:lnTo>
                    <a:pt x="94769" y="19350"/>
                  </a:lnTo>
                  <a:cubicBezTo>
                    <a:pt x="97786" y="19350"/>
                    <a:pt x="100803" y="22366"/>
                    <a:pt x="97786" y="25383"/>
                  </a:cubicBezTo>
                  <a:cubicBezTo>
                    <a:pt x="100803" y="25383"/>
                    <a:pt x="97786" y="28400"/>
                    <a:pt x="94769" y="28400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4AAB0268-86CE-44E5-A726-022C87815D24}"/>
                </a:ext>
              </a:extLst>
            </p:cNvPr>
            <p:cNvSpPr/>
            <p:nvPr/>
          </p:nvSpPr>
          <p:spPr>
            <a:xfrm>
              <a:off x="10642980" y="11796806"/>
              <a:ext cx="1210609" cy="552246"/>
            </a:xfrm>
            <a:custGeom>
              <a:avLst/>
              <a:gdLst>
                <a:gd name="connsiteX0" fmla="*/ 967362 w 1210609"/>
                <a:gd name="connsiteY0" fmla="*/ 552247 h 552246"/>
                <a:gd name="connsiteX1" fmla="*/ 137754 w 1210609"/>
                <a:gd name="connsiteY1" fmla="*/ 395375 h 552246"/>
                <a:gd name="connsiteX2" fmla="*/ 8033 w 1210609"/>
                <a:gd name="connsiteY2" fmla="*/ 144984 h 552246"/>
                <a:gd name="connsiteX3" fmla="*/ 8033 w 1210609"/>
                <a:gd name="connsiteY3" fmla="*/ 144984 h 552246"/>
                <a:gd name="connsiteX4" fmla="*/ 240323 w 1210609"/>
                <a:gd name="connsiteY4" fmla="*/ 3196 h 552246"/>
                <a:gd name="connsiteX5" fmla="*/ 1184570 w 1210609"/>
                <a:gd name="connsiteY5" fmla="*/ 178168 h 552246"/>
                <a:gd name="connsiteX6" fmla="*/ 967362 w 1210609"/>
                <a:gd name="connsiteY6" fmla="*/ 552247 h 552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0609" h="552246">
                  <a:moveTo>
                    <a:pt x="967362" y="552247"/>
                  </a:moveTo>
                  <a:lnTo>
                    <a:pt x="137754" y="395375"/>
                  </a:lnTo>
                  <a:cubicBezTo>
                    <a:pt x="35184" y="359173"/>
                    <a:pt x="-22134" y="250571"/>
                    <a:pt x="8033" y="144984"/>
                  </a:cubicBezTo>
                  <a:lnTo>
                    <a:pt x="8033" y="144984"/>
                  </a:lnTo>
                  <a:cubicBezTo>
                    <a:pt x="38201" y="45430"/>
                    <a:pt x="137754" y="-14905"/>
                    <a:pt x="240323" y="3196"/>
                  </a:cubicBezTo>
                  <a:cubicBezTo>
                    <a:pt x="545016" y="60514"/>
                    <a:pt x="1142335" y="172135"/>
                    <a:pt x="1184570" y="178168"/>
                  </a:cubicBezTo>
                  <a:cubicBezTo>
                    <a:pt x="1305240" y="193251"/>
                    <a:pt x="967362" y="552247"/>
                    <a:pt x="967362" y="552247"/>
                  </a:cubicBezTo>
                  <a:close/>
                </a:path>
              </a:pathLst>
            </a:custGeom>
            <a:solidFill>
              <a:srgbClr val="D1615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AB1FF482-1089-4428-AD8F-EC5E0DE0ED86}"/>
                </a:ext>
              </a:extLst>
            </p:cNvPr>
            <p:cNvSpPr/>
            <p:nvPr/>
          </p:nvSpPr>
          <p:spPr>
            <a:xfrm>
              <a:off x="11502932" y="12215836"/>
              <a:ext cx="524003" cy="320417"/>
            </a:xfrm>
            <a:custGeom>
              <a:avLst/>
              <a:gdLst>
                <a:gd name="connsiteX0" fmla="*/ 261266 w 524003"/>
                <a:gd name="connsiteY0" fmla="*/ 202602 h 320417"/>
                <a:gd name="connsiteX1" fmla="*/ 10875 w 524003"/>
                <a:gd name="connsiteY1" fmla="*/ 151317 h 320417"/>
                <a:gd name="connsiteX2" fmla="*/ 10875 w 524003"/>
                <a:gd name="connsiteY2" fmla="*/ 15563 h 320417"/>
                <a:gd name="connsiteX3" fmla="*/ 206965 w 524003"/>
                <a:gd name="connsiteY3" fmla="*/ 63831 h 320417"/>
                <a:gd name="connsiteX4" fmla="*/ 297468 w 524003"/>
                <a:gd name="connsiteY4" fmla="*/ 3496 h 320417"/>
                <a:gd name="connsiteX5" fmla="*/ 523725 w 524003"/>
                <a:gd name="connsiteY5" fmla="*/ 311206 h 320417"/>
                <a:gd name="connsiteX6" fmla="*/ 261266 w 524003"/>
                <a:gd name="connsiteY6" fmla="*/ 202602 h 320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4003" h="320417">
                  <a:moveTo>
                    <a:pt x="261266" y="202602"/>
                  </a:moveTo>
                  <a:cubicBezTo>
                    <a:pt x="179813" y="181484"/>
                    <a:pt x="22942" y="151317"/>
                    <a:pt x="10875" y="151317"/>
                  </a:cubicBezTo>
                  <a:cubicBezTo>
                    <a:pt x="-10242" y="151317"/>
                    <a:pt x="4842" y="21597"/>
                    <a:pt x="10875" y="15563"/>
                  </a:cubicBezTo>
                  <a:cubicBezTo>
                    <a:pt x="28975" y="479"/>
                    <a:pt x="200931" y="69865"/>
                    <a:pt x="206965" y="63831"/>
                  </a:cubicBezTo>
                  <a:cubicBezTo>
                    <a:pt x="206965" y="63831"/>
                    <a:pt x="276350" y="-17621"/>
                    <a:pt x="297468" y="3496"/>
                  </a:cubicBezTo>
                  <a:cubicBezTo>
                    <a:pt x="318584" y="24613"/>
                    <a:pt x="532775" y="299139"/>
                    <a:pt x="523725" y="311206"/>
                  </a:cubicBezTo>
                  <a:cubicBezTo>
                    <a:pt x="478473" y="353440"/>
                    <a:pt x="360819" y="238804"/>
                    <a:pt x="261266" y="202602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26E7CD0E-8E37-4EB8-AF12-8CAC29285B3C}"/>
                </a:ext>
              </a:extLst>
            </p:cNvPr>
            <p:cNvSpPr/>
            <p:nvPr/>
          </p:nvSpPr>
          <p:spPr>
            <a:xfrm>
              <a:off x="10650751" y="11839337"/>
              <a:ext cx="1004843" cy="573067"/>
            </a:xfrm>
            <a:custGeom>
              <a:avLst/>
              <a:gdLst>
                <a:gd name="connsiteX0" fmla="*/ 235570 w 1004843"/>
                <a:gd name="connsiteY0" fmla="*/ 14967 h 573067"/>
                <a:gd name="connsiteX1" fmla="*/ 1004843 w 1004843"/>
                <a:gd name="connsiteY1" fmla="*/ 416196 h 573067"/>
                <a:gd name="connsiteX2" fmla="*/ 986743 w 1004843"/>
                <a:gd name="connsiteY2" fmla="*/ 573067 h 573067"/>
                <a:gd name="connsiteX3" fmla="*/ 102832 w 1004843"/>
                <a:gd name="connsiteY3" fmla="*/ 328711 h 573067"/>
                <a:gd name="connsiteX4" fmla="*/ 18363 w 1004843"/>
                <a:gd name="connsiteY4" fmla="*/ 123570 h 573067"/>
                <a:gd name="connsiteX5" fmla="*/ 51547 w 1004843"/>
                <a:gd name="connsiteY5" fmla="*/ 66252 h 573067"/>
                <a:gd name="connsiteX6" fmla="*/ 235570 w 1004843"/>
                <a:gd name="connsiteY6" fmla="*/ 14967 h 573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4843" h="573067">
                  <a:moveTo>
                    <a:pt x="235570" y="14967"/>
                  </a:moveTo>
                  <a:lnTo>
                    <a:pt x="1004843" y="416196"/>
                  </a:lnTo>
                  <a:lnTo>
                    <a:pt x="986743" y="573067"/>
                  </a:lnTo>
                  <a:lnTo>
                    <a:pt x="102832" y="328711"/>
                  </a:lnTo>
                  <a:cubicBezTo>
                    <a:pt x="15347" y="304576"/>
                    <a:pt x="-26888" y="205023"/>
                    <a:pt x="18363" y="123570"/>
                  </a:cubicBezTo>
                  <a:lnTo>
                    <a:pt x="51547" y="66252"/>
                  </a:lnTo>
                  <a:cubicBezTo>
                    <a:pt x="87749" y="5917"/>
                    <a:pt x="169201" y="-18217"/>
                    <a:pt x="235570" y="14967"/>
                  </a:cubicBezTo>
                  <a:close/>
                </a:path>
              </a:pathLst>
            </a:custGeom>
            <a:solidFill>
              <a:srgbClr val="D1615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070C4BDE-6741-43BA-9EC5-3BA5D19812CC}"/>
                </a:ext>
              </a:extLst>
            </p:cNvPr>
            <p:cNvSpPr/>
            <p:nvPr/>
          </p:nvSpPr>
          <p:spPr>
            <a:xfrm>
              <a:off x="10949673" y="11887488"/>
              <a:ext cx="711955" cy="374078"/>
            </a:xfrm>
            <a:custGeom>
              <a:avLst/>
              <a:gdLst>
                <a:gd name="connsiteX0" fmla="*/ 705922 w 711955"/>
                <a:gd name="connsiteY0" fmla="*/ 374078 h 374078"/>
                <a:gd name="connsiteX1" fmla="*/ 705922 w 711955"/>
                <a:gd name="connsiteY1" fmla="*/ 374078 h 374078"/>
                <a:gd name="connsiteX2" fmla="*/ 3017 w 711955"/>
                <a:gd name="connsiteY2" fmla="*/ 9051 h 374078"/>
                <a:gd name="connsiteX3" fmla="*/ 0 w 711955"/>
                <a:gd name="connsiteY3" fmla="*/ 3017 h 374078"/>
                <a:gd name="connsiteX4" fmla="*/ 6034 w 711955"/>
                <a:gd name="connsiteY4" fmla="*/ 0 h 374078"/>
                <a:gd name="connsiteX5" fmla="*/ 708939 w 711955"/>
                <a:gd name="connsiteY5" fmla="*/ 365028 h 374078"/>
                <a:gd name="connsiteX6" fmla="*/ 711956 w 711955"/>
                <a:gd name="connsiteY6" fmla="*/ 371062 h 374078"/>
                <a:gd name="connsiteX7" fmla="*/ 705922 w 711955"/>
                <a:gd name="connsiteY7" fmla="*/ 374078 h 374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1955" h="374078">
                  <a:moveTo>
                    <a:pt x="705922" y="374078"/>
                  </a:moveTo>
                  <a:cubicBezTo>
                    <a:pt x="702905" y="374078"/>
                    <a:pt x="702905" y="374078"/>
                    <a:pt x="705922" y="374078"/>
                  </a:cubicBezTo>
                  <a:lnTo>
                    <a:pt x="3017" y="9051"/>
                  </a:lnTo>
                  <a:cubicBezTo>
                    <a:pt x="0" y="9051"/>
                    <a:pt x="0" y="3017"/>
                    <a:pt x="0" y="3017"/>
                  </a:cubicBezTo>
                  <a:cubicBezTo>
                    <a:pt x="0" y="0"/>
                    <a:pt x="6034" y="0"/>
                    <a:pt x="6034" y="0"/>
                  </a:cubicBezTo>
                  <a:lnTo>
                    <a:pt x="708939" y="365028"/>
                  </a:lnTo>
                  <a:cubicBezTo>
                    <a:pt x="711956" y="365028"/>
                    <a:pt x="711956" y="371062"/>
                    <a:pt x="711956" y="371062"/>
                  </a:cubicBezTo>
                  <a:cubicBezTo>
                    <a:pt x="708939" y="374078"/>
                    <a:pt x="705922" y="374078"/>
                    <a:pt x="705922" y="374078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CECA298A-71FC-420B-8744-AFA060F4351A}"/>
                </a:ext>
              </a:extLst>
            </p:cNvPr>
            <p:cNvSpPr/>
            <p:nvPr/>
          </p:nvSpPr>
          <p:spPr>
            <a:xfrm>
              <a:off x="11268200" y="11871155"/>
              <a:ext cx="126186" cy="31417"/>
            </a:xfrm>
            <a:custGeom>
              <a:avLst/>
              <a:gdLst>
                <a:gd name="connsiteX0" fmla="*/ 121920 w 126186"/>
                <a:gd name="connsiteY0" fmla="*/ 31417 h 31417"/>
                <a:gd name="connsiteX1" fmla="*/ 121920 w 126186"/>
                <a:gd name="connsiteY1" fmla="*/ 31417 h 31417"/>
                <a:gd name="connsiteX2" fmla="*/ 4267 w 126186"/>
                <a:gd name="connsiteY2" fmla="*/ 10300 h 31417"/>
                <a:gd name="connsiteX3" fmla="*/ 1250 w 126186"/>
                <a:gd name="connsiteY3" fmla="*/ 4267 h 31417"/>
                <a:gd name="connsiteX4" fmla="*/ 7283 w 126186"/>
                <a:gd name="connsiteY4" fmla="*/ 1250 h 31417"/>
                <a:gd name="connsiteX5" fmla="*/ 121920 w 126186"/>
                <a:gd name="connsiteY5" fmla="*/ 22367 h 31417"/>
                <a:gd name="connsiteX6" fmla="*/ 124937 w 126186"/>
                <a:gd name="connsiteY6" fmla="*/ 28400 h 31417"/>
                <a:gd name="connsiteX7" fmla="*/ 121920 w 126186"/>
                <a:gd name="connsiteY7" fmla="*/ 31417 h 31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186" h="31417">
                  <a:moveTo>
                    <a:pt x="121920" y="31417"/>
                  </a:moveTo>
                  <a:cubicBezTo>
                    <a:pt x="121920" y="31417"/>
                    <a:pt x="121920" y="31417"/>
                    <a:pt x="121920" y="31417"/>
                  </a:cubicBezTo>
                  <a:lnTo>
                    <a:pt x="4267" y="10300"/>
                  </a:lnTo>
                  <a:cubicBezTo>
                    <a:pt x="1250" y="10300"/>
                    <a:pt x="-1767" y="7284"/>
                    <a:pt x="1250" y="4267"/>
                  </a:cubicBezTo>
                  <a:cubicBezTo>
                    <a:pt x="1250" y="1250"/>
                    <a:pt x="4267" y="-1767"/>
                    <a:pt x="7283" y="1250"/>
                  </a:cubicBezTo>
                  <a:lnTo>
                    <a:pt x="121920" y="22367"/>
                  </a:lnTo>
                  <a:cubicBezTo>
                    <a:pt x="124937" y="22367"/>
                    <a:pt x="127953" y="25384"/>
                    <a:pt x="124937" y="28400"/>
                  </a:cubicBezTo>
                  <a:cubicBezTo>
                    <a:pt x="124937" y="28400"/>
                    <a:pt x="124937" y="31417"/>
                    <a:pt x="121920" y="31417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FCBC7110-4341-436E-A774-40C5A670102F}"/>
                </a:ext>
              </a:extLst>
            </p:cNvPr>
            <p:cNvSpPr/>
            <p:nvPr/>
          </p:nvSpPr>
          <p:spPr>
            <a:xfrm>
              <a:off x="11527435" y="10083797"/>
              <a:ext cx="318598" cy="583582"/>
            </a:xfrm>
            <a:custGeom>
              <a:avLst/>
              <a:gdLst>
                <a:gd name="connsiteX0" fmla="*/ 233746 w 318598"/>
                <a:gd name="connsiteY0" fmla="*/ 316429 h 583582"/>
                <a:gd name="connsiteX1" fmla="*/ 282015 w 318598"/>
                <a:gd name="connsiteY1" fmla="*/ 174641 h 583582"/>
                <a:gd name="connsiteX2" fmla="*/ 318216 w 318598"/>
                <a:gd name="connsiteY2" fmla="*/ 8719 h 583582"/>
                <a:gd name="connsiteX3" fmla="*/ 1456 w 318598"/>
                <a:gd name="connsiteY3" fmla="*/ 228943 h 583582"/>
                <a:gd name="connsiteX4" fmla="*/ 176428 w 318598"/>
                <a:gd name="connsiteY4" fmla="*/ 569836 h 583582"/>
                <a:gd name="connsiteX5" fmla="*/ 233746 w 318598"/>
                <a:gd name="connsiteY5" fmla="*/ 316429 h 583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8598" h="583582">
                  <a:moveTo>
                    <a:pt x="233746" y="316429"/>
                  </a:moveTo>
                  <a:cubicBezTo>
                    <a:pt x="242797" y="265143"/>
                    <a:pt x="257881" y="219892"/>
                    <a:pt x="282015" y="174641"/>
                  </a:cubicBezTo>
                  <a:cubicBezTo>
                    <a:pt x="306148" y="126372"/>
                    <a:pt x="321232" y="8719"/>
                    <a:pt x="318216" y="8719"/>
                  </a:cubicBezTo>
                  <a:cubicBezTo>
                    <a:pt x="206596" y="-30499"/>
                    <a:pt x="22573" y="66037"/>
                    <a:pt x="1456" y="228943"/>
                  </a:cubicBezTo>
                  <a:cubicBezTo>
                    <a:pt x="-7595" y="295311"/>
                    <a:pt x="22573" y="542686"/>
                    <a:pt x="176428" y="569836"/>
                  </a:cubicBezTo>
                  <a:cubicBezTo>
                    <a:pt x="272965" y="648272"/>
                    <a:pt x="227713" y="367713"/>
                    <a:pt x="233746" y="316429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64FFEE16-8879-43BE-A45C-0651356406EE}"/>
                </a:ext>
              </a:extLst>
            </p:cNvPr>
            <p:cNvSpPr/>
            <p:nvPr/>
          </p:nvSpPr>
          <p:spPr>
            <a:xfrm>
              <a:off x="11596429" y="10136887"/>
              <a:ext cx="418159" cy="562314"/>
            </a:xfrm>
            <a:custGeom>
              <a:avLst/>
              <a:gdLst>
                <a:gd name="connsiteX0" fmla="*/ 7881 w 418159"/>
                <a:gd name="connsiteY0" fmla="*/ 181886 h 562314"/>
                <a:gd name="connsiteX1" fmla="*/ 19948 w 418159"/>
                <a:gd name="connsiteY1" fmla="*/ 435294 h 562314"/>
                <a:gd name="connsiteX2" fmla="*/ 167769 w 418159"/>
                <a:gd name="connsiteY2" fmla="*/ 561998 h 562314"/>
                <a:gd name="connsiteX3" fmla="*/ 381959 w 418159"/>
                <a:gd name="connsiteY3" fmla="*/ 420210 h 562314"/>
                <a:gd name="connsiteX4" fmla="*/ 418159 w 418159"/>
                <a:gd name="connsiteY4" fmla="*/ 196970 h 562314"/>
                <a:gd name="connsiteX5" fmla="*/ 206986 w 418159"/>
                <a:gd name="connsiteY5" fmla="*/ 880 h 562314"/>
                <a:gd name="connsiteX6" fmla="*/ 7881 w 418159"/>
                <a:gd name="connsiteY6" fmla="*/ 181886 h 562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159" h="562314">
                  <a:moveTo>
                    <a:pt x="7881" y="181886"/>
                  </a:moveTo>
                  <a:cubicBezTo>
                    <a:pt x="7881" y="181886"/>
                    <a:pt x="-16254" y="368925"/>
                    <a:pt x="19948" y="435294"/>
                  </a:cubicBezTo>
                  <a:cubicBezTo>
                    <a:pt x="56148" y="501663"/>
                    <a:pt x="116483" y="558981"/>
                    <a:pt x="167769" y="561998"/>
                  </a:cubicBezTo>
                  <a:cubicBezTo>
                    <a:pt x="234138" y="568032"/>
                    <a:pt x="345757" y="486579"/>
                    <a:pt x="381959" y="420210"/>
                  </a:cubicBezTo>
                  <a:cubicBezTo>
                    <a:pt x="418159" y="353842"/>
                    <a:pt x="418159" y="248255"/>
                    <a:pt x="418159" y="196970"/>
                  </a:cubicBezTo>
                  <a:cubicBezTo>
                    <a:pt x="415143" y="103450"/>
                    <a:pt x="387992" y="25015"/>
                    <a:pt x="206986" y="880"/>
                  </a:cubicBezTo>
                  <a:cubicBezTo>
                    <a:pt x="119500" y="-11186"/>
                    <a:pt x="25981" y="103450"/>
                    <a:pt x="7881" y="181886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AAE22704-46C7-4207-937C-7B2885CD2F1E}"/>
                </a:ext>
              </a:extLst>
            </p:cNvPr>
            <p:cNvSpPr/>
            <p:nvPr/>
          </p:nvSpPr>
          <p:spPr>
            <a:xfrm>
              <a:off x="11731013" y="10401993"/>
              <a:ext cx="54302" cy="130969"/>
            </a:xfrm>
            <a:custGeom>
              <a:avLst/>
              <a:gdLst>
                <a:gd name="connsiteX0" fmla="*/ 30168 w 54302"/>
                <a:gd name="connsiteY0" fmla="*/ 130970 h 130969"/>
                <a:gd name="connsiteX1" fmla="*/ 6034 w 54302"/>
                <a:gd name="connsiteY1" fmla="*/ 124936 h 130969"/>
                <a:gd name="connsiteX2" fmla="*/ 0 w 54302"/>
                <a:gd name="connsiteY2" fmla="*/ 112869 h 130969"/>
                <a:gd name="connsiteX3" fmla="*/ 27151 w 54302"/>
                <a:gd name="connsiteY3" fmla="*/ 4266 h 130969"/>
                <a:gd name="connsiteX4" fmla="*/ 33185 w 54302"/>
                <a:gd name="connsiteY4" fmla="*/ 1250 h 130969"/>
                <a:gd name="connsiteX5" fmla="*/ 36201 w 54302"/>
                <a:gd name="connsiteY5" fmla="*/ 7283 h 130969"/>
                <a:gd name="connsiteX6" fmla="*/ 9051 w 54302"/>
                <a:gd name="connsiteY6" fmla="*/ 112869 h 130969"/>
                <a:gd name="connsiteX7" fmla="*/ 9051 w 54302"/>
                <a:gd name="connsiteY7" fmla="*/ 115886 h 130969"/>
                <a:gd name="connsiteX8" fmla="*/ 48268 w 54302"/>
                <a:gd name="connsiteY8" fmla="*/ 115886 h 130969"/>
                <a:gd name="connsiteX9" fmla="*/ 54302 w 54302"/>
                <a:gd name="connsiteY9" fmla="*/ 121920 h 130969"/>
                <a:gd name="connsiteX10" fmla="*/ 48268 w 54302"/>
                <a:gd name="connsiteY10" fmla="*/ 127953 h 130969"/>
                <a:gd name="connsiteX11" fmla="*/ 30168 w 54302"/>
                <a:gd name="connsiteY11" fmla="*/ 130970 h 130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302" h="130969">
                  <a:moveTo>
                    <a:pt x="30168" y="130970"/>
                  </a:moveTo>
                  <a:cubicBezTo>
                    <a:pt x="21118" y="130970"/>
                    <a:pt x="12067" y="130970"/>
                    <a:pt x="6034" y="124936"/>
                  </a:cubicBezTo>
                  <a:cubicBezTo>
                    <a:pt x="3017" y="121920"/>
                    <a:pt x="0" y="118903"/>
                    <a:pt x="0" y="112869"/>
                  </a:cubicBezTo>
                  <a:cubicBezTo>
                    <a:pt x="0" y="91752"/>
                    <a:pt x="27151" y="7283"/>
                    <a:pt x="27151" y="4266"/>
                  </a:cubicBezTo>
                  <a:cubicBezTo>
                    <a:pt x="27151" y="1250"/>
                    <a:pt x="30168" y="-1767"/>
                    <a:pt x="33185" y="1250"/>
                  </a:cubicBezTo>
                  <a:cubicBezTo>
                    <a:pt x="36201" y="1250"/>
                    <a:pt x="39218" y="4266"/>
                    <a:pt x="36201" y="7283"/>
                  </a:cubicBezTo>
                  <a:cubicBezTo>
                    <a:pt x="30168" y="31417"/>
                    <a:pt x="9051" y="94769"/>
                    <a:pt x="9051" y="112869"/>
                  </a:cubicBezTo>
                  <a:cubicBezTo>
                    <a:pt x="9051" y="112869"/>
                    <a:pt x="9051" y="115886"/>
                    <a:pt x="9051" y="115886"/>
                  </a:cubicBezTo>
                  <a:cubicBezTo>
                    <a:pt x="15084" y="121920"/>
                    <a:pt x="36201" y="118903"/>
                    <a:pt x="48268" y="115886"/>
                  </a:cubicBezTo>
                  <a:cubicBezTo>
                    <a:pt x="51285" y="115886"/>
                    <a:pt x="54302" y="115886"/>
                    <a:pt x="54302" y="121920"/>
                  </a:cubicBezTo>
                  <a:cubicBezTo>
                    <a:pt x="54302" y="124936"/>
                    <a:pt x="54302" y="127953"/>
                    <a:pt x="48268" y="127953"/>
                  </a:cubicBezTo>
                  <a:cubicBezTo>
                    <a:pt x="51285" y="130970"/>
                    <a:pt x="39218" y="130970"/>
                    <a:pt x="30168" y="130970"/>
                  </a:cubicBezTo>
                  <a:close/>
                </a:path>
              </a:pathLst>
            </a:custGeom>
            <a:solidFill>
              <a:srgbClr val="E58777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388C2683-344D-4199-B5C1-3B46A0868826}"/>
                </a:ext>
              </a:extLst>
            </p:cNvPr>
            <p:cNvSpPr/>
            <p:nvPr/>
          </p:nvSpPr>
          <p:spPr>
            <a:xfrm>
              <a:off x="11712913" y="10584248"/>
              <a:ext cx="105586" cy="54301"/>
            </a:xfrm>
            <a:custGeom>
              <a:avLst/>
              <a:gdLst>
                <a:gd name="connsiteX0" fmla="*/ 105587 w 105586"/>
                <a:gd name="connsiteY0" fmla="*/ 0 h 54301"/>
                <a:gd name="connsiteX1" fmla="*/ 0 w 105586"/>
                <a:gd name="connsiteY1" fmla="*/ 0 h 54301"/>
                <a:gd name="connsiteX2" fmla="*/ 51285 w 105586"/>
                <a:gd name="connsiteY2" fmla="*/ 54301 h 54301"/>
                <a:gd name="connsiteX3" fmla="*/ 105587 w 105586"/>
                <a:gd name="connsiteY3" fmla="*/ 0 h 5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586" h="54301">
                  <a:moveTo>
                    <a:pt x="105587" y="0"/>
                  </a:moveTo>
                  <a:cubicBezTo>
                    <a:pt x="51285" y="24134"/>
                    <a:pt x="0" y="0"/>
                    <a:pt x="0" y="0"/>
                  </a:cubicBezTo>
                  <a:cubicBezTo>
                    <a:pt x="0" y="0"/>
                    <a:pt x="15084" y="54301"/>
                    <a:pt x="51285" y="54301"/>
                  </a:cubicBezTo>
                  <a:cubicBezTo>
                    <a:pt x="90503" y="51284"/>
                    <a:pt x="105587" y="0"/>
                    <a:pt x="105587" y="0"/>
                  </a:cubicBezTo>
                  <a:close/>
                </a:path>
              </a:pathLst>
            </a:custGeom>
            <a:solidFill>
              <a:srgbClr val="FFFFFF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1ABAC277-5863-43AE-AEE8-9EF3A9C55B53}"/>
                </a:ext>
              </a:extLst>
            </p:cNvPr>
            <p:cNvSpPr/>
            <p:nvPr/>
          </p:nvSpPr>
          <p:spPr>
            <a:xfrm>
              <a:off x="11658020" y="10375500"/>
              <a:ext cx="40578" cy="40578"/>
            </a:xfrm>
            <a:custGeom>
              <a:avLst/>
              <a:gdLst>
                <a:gd name="connsiteX0" fmla="*/ 39809 w 40578"/>
                <a:gd name="connsiteY0" fmla="*/ 24726 h 40578"/>
                <a:gd name="connsiteX1" fmla="*/ 15676 w 40578"/>
                <a:gd name="connsiteY1" fmla="*/ 39810 h 40578"/>
                <a:gd name="connsiteX2" fmla="*/ 592 w 40578"/>
                <a:gd name="connsiteY2" fmla="*/ 15675 h 40578"/>
                <a:gd name="connsiteX3" fmla="*/ 24725 w 40578"/>
                <a:gd name="connsiteY3" fmla="*/ 592 h 40578"/>
                <a:gd name="connsiteX4" fmla="*/ 39809 w 40578"/>
                <a:gd name="connsiteY4" fmla="*/ 24726 h 40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0578">
                  <a:moveTo>
                    <a:pt x="39809" y="24726"/>
                  </a:moveTo>
                  <a:cubicBezTo>
                    <a:pt x="36793" y="36793"/>
                    <a:pt x="27742" y="42827"/>
                    <a:pt x="15676" y="39810"/>
                  </a:cubicBezTo>
                  <a:cubicBezTo>
                    <a:pt x="6626" y="36793"/>
                    <a:pt x="-2425" y="27743"/>
                    <a:pt x="592" y="15675"/>
                  </a:cubicBezTo>
                  <a:cubicBezTo>
                    <a:pt x="3609" y="6625"/>
                    <a:pt x="12659" y="-2425"/>
                    <a:pt x="24725" y="592"/>
                  </a:cubicBezTo>
                  <a:cubicBezTo>
                    <a:pt x="36793" y="3608"/>
                    <a:pt x="42826" y="15675"/>
                    <a:pt x="39809" y="24726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BA96DC72-CED7-4C01-9482-8FDEF67F99A1}"/>
                </a:ext>
              </a:extLst>
            </p:cNvPr>
            <p:cNvSpPr/>
            <p:nvPr/>
          </p:nvSpPr>
          <p:spPr>
            <a:xfrm>
              <a:off x="11847898" y="10381533"/>
              <a:ext cx="40578" cy="40578"/>
            </a:xfrm>
            <a:custGeom>
              <a:avLst/>
              <a:gdLst>
                <a:gd name="connsiteX0" fmla="*/ 39987 w 40578"/>
                <a:gd name="connsiteY0" fmla="*/ 24725 h 40578"/>
                <a:gd name="connsiteX1" fmla="*/ 15852 w 40578"/>
                <a:gd name="connsiteY1" fmla="*/ 39809 h 40578"/>
                <a:gd name="connsiteX2" fmla="*/ 768 w 40578"/>
                <a:gd name="connsiteY2" fmla="*/ 15676 h 40578"/>
                <a:gd name="connsiteX3" fmla="*/ 24903 w 40578"/>
                <a:gd name="connsiteY3" fmla="*/ 592 h 40578"/>
                <a:gd name="connsiteX4" fmla="*/ 39987 w 40578"/>
                <a:gd name="connsiteY4" fmla="*/ 24725 h 40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0578">
                  <a:moveTo>
                    <a:pt x="39987" y="24725"/>
                  </a:moveTo>
                  <a:cubicBezTo>
                    <a:pt x="36970" y="36793"/>
                    <a:pt x="27920" y="42826"/>
                    <a:pt x="15852" y="39809"/>
                  </a:cubicBezTo>
                  <a:cubicBezTo>
                    <a:pt x="3785" y="36793"/>
                    <a:pt x="-2248" y="27742"/>
                    <a:pt x="768" y="15676"/>
                  </a:cubicBezTo>
                  <a:cubicBezTo>
                    <a:pt x="3785" y="6626"/>
                    <a:pt x="12836" y="-2425"/>
                    <a:pt x="24903" y="592"/>
                  </a:cubicBezTo>
                  <a:cubicBezTo>
                    <a:pt x="33953" y="3609"/>
                    <a:pt x="43004" y="15676"/>
                    <a:pt x="39987" y="24725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8E9602CE-FD3E-4FEC-B3D3-019494F834E9}"/>
                </a:ext>
              </a:extLst>
            </p:cNvPr>
            <p:cNvSpPr/>
            <p:nvPr/>
          </p:nvSpPr>
          <p:spPr>
            <a:xfrm>
              <a:off x="11635232" y="10326315"/>
              <a:ext cx="90998" cy="34692"/>
            </a:xfrm>
            <a:custGeom>
              <a:avLst/>
              <a:gdLst>
                <a:gd name="connsiteX0" fmla="*/ 8296 w 90998"/>
                <a:gd name="connsiteY0" fmla="*/ 34692 h 34692"/>
                <a:gd name="connsiteX1" fmla="*/ 2262 w 90998"/>
                <a:gd name="connsiteY1" fmla="*/ 31676 h 34692"/>
                <a:gd name="connsiteX2" fmla="*/ 2262 w 90998"/>
                <a:gd name="connsiteY2" fmla="*/ 19609 h 34692"/>
                <a:gd name="connsiteX3" fmla="*/ 86732 w 90998"/>
                <a:gd name="connsiteY3" fmla="*/ 7542 h 34692"/>
                <a:gd name="connsiteX4" fmla="*/ 89749 w 90998"/>
                <a:gd name="connsiteY4" fmla="*/ 16593 h 34692"/>
                <a:gd name="connsiteX5" fmla="*/ 80698 w 90998"/>
                <a:gd name="connsiteY5" fmla="*/ 19609 h 34692"/>
                <a:gd name="connsiteX6" fmla="*/ 14330 w 90998"/>
                <a:gd name="connsiteY6" fmla="*/ 25643 h 34692"/>
                <a:gd name="connsiteX7" fmla="*/ 8296 w 90998"/>
                <a:gd name="connsiteY7" fmla="*/ 34692 h 34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4692">
                  <a:moveTo>
                    <a:pt x="8296" y="34692"/>
                  </a:moveTo>
                  <a:cubicBezTo>
                    <a:pt x="5279" y="34692"/>
                    <a:pt x="5279" y="34692"/>
                    <a:pt x="2262" y="31676"/>
                  </a:cubicBezTo>
                  <a:cubicBezTo>
                    <a:pt x="-754" y="28659"/>
                    <a:pt x="-754" y="22626"/>
                    <a:pt x="2262" y="19609"/>
                  </a:cubicBezTo>
                  <a:cubicBezTo>
                    <a:pt x="29414" y="-10559"/>
                    <a:pt x="68631" y="1509"/>
                    <a:pt x="86732" y="7542"/>
                  </a:cubicBezTo>
                  <a:cubicBezTo>
                    <a:pt x="89749" y="10559"/>
                    <a:pt x="92765" y="13576"/>
                    <a:pt x="89749" y="16593"/>
                  </a:cubicBezTo>
                  <a:cubicBezTo>
                    <a:pt x="86732" y="19609"/>
                    <a:pt x="83715" y="22626"/>
                    <a:pt x="80698" y="19609"/>
                  </a:cubicBezTo>
                  <a:cubicBezTo>
                    <a:pt x="77681" y="19609"/>
                    <a:pt x="38464" y="-1508"/>
                    <a:pt x="14330" y="25643"/>
                  </a:cubicBezTo>
                  <a:cubicBezTo>
                    <a:pt x="11313" y="34692"/>
                    <a:pt x="8296" y="34692"/>
                    <a:pt x="8296" y="34692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2686E2A3-7C83-4456-AA20-0DE6CF225DD6}"/>
                </a:ext>
              </a:extLst>
            </p:cNvPr>
            <p:cNvSpPr/>
            <p:nvPr/>
          </p:nvSpPr>
          <p:spPr>
            <a:xfrm>
              <a:off x="11820266" y="10328130"/>
              <a:ext cx="90998" cy="35894"/>
            </a:xfrm>
            <a:custGeom>
              <a:avLst/>
              <a:gdLst>
                <a:gd name="connsiteX0" fmla="*/ 85719 w 90998"/>
                <a:gd name="connsiteY0" fmla="*/ 35894 h 35894"/>
                <a:gd name="connsiteX1" fmla="*/ 79686 w 90998"/>
                <a:gd name="connsiteY1" fmla="*/ 32877 h 35894"/>
                <a:gd name="connsiteX2" fmla="*/ 13317 w 90998"/>
                <a:gd name="connsiteY2" fmla="*/ 26844 h 35894"/>
                <a:gd name="connsiteX3" fmla="*/ 1250 w 90998"/>
                <a:gd name="connsiteY3" fmla="*/ 23827 h 35894"/>
                <a:gd name="connsiteX4" fmla="*/ 4267 w 90998"/>
                <a:gd name="connsiteY4" fmla="*/ 11760 h 35894"/>
                <a:gd name="connsiteX5" fmla="*/ 88736 w 90998"/>
                <a:gd name="connsiteY5" fmla="*/ 20810 h 35894"/>
                <a:gd name="connsiteX6" fmla="*/ 88736 w 90998"/>
                <a:gd name="connsiteY6" fmla="*/ 32877 h 35894"/>
                <a:gd name="connsiteX7" fmla="*/ 85719 w 90998"/>
                <a:gd name="connsiteY7" fmla="*/ 35894 h 3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5894">
                  <a:moveTo>
                    <a:pt x="85719" y="35894"/>
                  </a:moveTo>
                  <a:cubicBezTo>
                    <a:pt x="82703" y="35894"/>
                    <a:pt x="82703" y="35894"/>
                    <a:pt x="79686" y="32877"/>
                  </a:cubicBezTo>
                  <a:cubicBezTo>
                    <a:pt x="79686" y="32877"/>
                    <a:pt x="49518" y="2710"/>
                    <a:pt x="13317" y="26844"/>
                  </a:cubicBezTo>
                  <a:cubicBezTo>
                    <a:pt x="10300" y="29861"/>
                    <a:pt x="4267" y="26844"/>
                    <a:pt x="1250" y="23827"/>
                  </a:cubicBezTo>
                  <a:cubicBezTo>
                    <a:pt x="-1767" y="20810"/>
                    <a:pt x="1250" y="14777"/>
                    <a:pt x="4267" y="11760"/>
                  </a:cubicBezTo>
                  <a:cubicBezTo>
                    <a:pt x="40468" y="-12374"/>
                    <a:pt x="76669" y="5727"/>
                    <a:pt x="88736" y="20810"/>
                  </a:cubicBezTo>
                  <a:cubicBezTo>
                    <a:pt x="91752" y="23827"/>
                    <a:pt x="91752" y="29861"/>
                    <a:pt x="88736" y="32877"/>
                  </a:cubicBezTo>
                  <a:cubicBezTo>
                    <a:pt x="88736" y="32877"/>
                    <a:pt x="88736" y="35894"/>
                    <a:pt x="85719" y="35894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49F14036-97CF-4695-9184-935379CC376F}"/>
                </a:ext>
              </a:extLst>
            </p:cNvPr>
            <p:cNvSpPr/>
            <p:nvPr/>
          </p:nvSpPr>
          <p:spPr>
            <a:xfrm>
              <a:off x="11576931" y="10087378"/>
              <a:ext cx="271819" cy="273629"/>
            </a:xfrm>
            <a:custGeom>
              <a:avLst/>
              <a:gdLst>
                <a:gd name="connsiteX0" fmla="*/ 268720 w 271819"/>
                <a:gd name="connsiteY0" fmla="*/ 2121 h 273629"/>
                <a:gd name="connsiteX1" fmla="*/ 235535 w 271819"/>
                <a:gd name="connsiteY1" fmla="*/ 146926 h 273629"/>
                <a:gd name="connsiteX2" fmla="*/ 228 w 271819"/>
                <a:gd name="connsiteY2" fmla="*/ 273629 h 273629"/>
                <a:gd name="connsiteX3" fmla="*/ 268720 w 271819"/>
                <a:gd name="connsiteY3" fmla="*/ 2121 h 273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819" h="273629">
                  <a:moveTo>
                    <a:pt x="268720" y="2121"/>
                  </a:moveTo>
                  <a:cubicBezTo>
                    <a:pt x="268720" y="2121"/>
                    <a:pt x="286820" y="107707"/>
                    <a:pt x="235535" y="146926"/>
                  </a:cubicBezTo>
                  <a:cubicBezTo>
                    <a:pt x="235535" y="146926"/>
                    <a:pt x="27379" y="189160"/>
                    <a:pt x="228" y="273629"/>
                  </a:cubicBezTo>
                  <a:cubicBezTo>
                    <a:pt x="228" y="273629"/>
                    <a:pt x="-17872" y="-28047"/>
                    <a:pt x="268720" y="2121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DAA48D1A-B5AD-4C12-9A6A-DBA4C9D32789}"/>
                </a:ext>
              </a:extLst>
            </p:cNvPr>
            <p:cNvSpPr/>
            <p:nvPr/>
          </p:nvSpPr>
          <p:spPr>
            <a:xfrm>
              <a:off x="11812466" y="10089499"/>
              <a:ext cx="294002" cy="347382"/>
            </a:xfrm>
            <a:custGeom>
              <a:avLst/>
              <a:gdLst>
                <a:gd name="connsiteX0" fmla="*/ 0 w 294002"/>
                <a:gd name="connsiteY0" fmla="*/ 144805 h 347382"/>
                <a:gd name="connsiteX1" fmla="*/ 138771 w 294002"/>
                <a:gd name="connsiteY1" fmla="*/ 199106 h 347382"/>
                <a:gd name="connsiteX2" fmla="*/ 196089 w 294002"/>
                <a:gd name="connsiteY2" fmla="*/ 316760 h 347382"/>
                <a:gd name="connsiteX3" fmla="*/ 283575 w 294002"/>
                <a:gd name="connsiteY3" fmla="*/ 337877 h 347382"/>
                <a:gd name="connsiteX4" fmla="*/ 30168 w 294002"/>
                <a:gd name="connsiteY4" fmla="*/ 0 h 347382"/>
                <a:gd name="connsiteX5" fmla="*/ 0 w 294002"/>
                <a:gd name="connsiteY5" fmla="*/ 144805 h 347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002" h="347382">
                  <a:moveTo>
                    <a:pt x="0" y="144805"/>
                  </a:moveTo>
                  <a:cubicBezTo>
                    <a:pt x="0" y="144805"/>
                    <a:pt x="90503" y="193073"/>
                    <a:pt x="138771" y="199106"/>
                  </a:cubicBezTo>
                  <a:cubicBezTo>
                    <a:pt x="190056" y="205140"/>
                    <a:pt x="196089" y="316760"/>
                    <a:pt x="196089" y="316760"/>
                  </a:cubicBezTo>
                  <a:cubicBezTo>
                    <a:pt x="196089" y="316760"/>
                    <a:pt x="268491" y="368045"/>
                    <a:pt x="283575" y="337877"/>
                  </a:cubicBezTo>
                  <a:cubicBezTo>
                    <a:pt x="316760" y="271508"/>
                    <a:pt x="280558" y="0"/>
                    <a:pt x="30168" y="0"/>
                  </a:cubicBezTo>
                  <a:cubicBezTo>
                    <a:pt x="33185" y="0"/>
                    <a:pt x="24134" y="138771"/>
                    <a:pt x="0" y="144805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8B0FDBBE-E5CF-44EA-B9D9-10477E0628C9}"/>
                </a:ext>
              </a:extLst>
            </p:cNvPr>
            <p:cNvSpPr/>
            <p:nvPr/>
          </p:nvSpPr>
          <p:spPr>
            <a:xfrm>
              <a:off x="11806432" y="10083466"/>
              <a:ext cx="153854" cy="208156"/>
            </a:xfrm>
            <a:custGeom>
              <a:avLst/>
              <a:gdLst>
                <a:gd name="connsiteX0" fmla="*/ 147821 w 153854"/>
                <a:gd name="connsiteY0" fmla="*/ 208156 h 208156"/>
                <a:gd name="connsiteX1" fmla="*/ 147821 w 153854"/>
                <a:gd name="connsiteY1" fmla="*/ 208156 h 208156"/>
                <a:gd name="connsiteX2" fmla="*/ 51285 w 153854"/>
                <a:gd name="connsiteY2" fmla="*/ 174972 h 208156"/>
                <a:gd name="connsiteX3" fmla="*/ 6034 w 153854"/>
                <a:gd name="connsiteY3" fmla="*/ 150838 h 208156"/>
                <a:gd name="connsiteX4" fmla="*/ 0 w 153854"/>
                <a:gd name="connsiteY4" fmla="*/ 147821 h 208156"/>
                <a:gd name="connsiteX5" fmla="*/ 3017 w 153854"/>
                <a:gd name="connsiteY5" fmla="*/ 141787 h 208156"/>
                <a:gd name="connsiteX6" fmla="*/ 21118 w 153854"/>
                <a:gd name="connsiteY6" fmla="*/ 117653 h 208156"/>
                <a:gd name="connsiteX7" fmla="*/ 30168 w 153854"/>
                <a:gd name="connsiteY7" fmla="*/ 78436 h 208156"/>
                <a:gd name="connsiteX8" fmla="*/ 33185 w 153854"/>
                <a:gd name="connsiteY8" fmla="*/ 42234 h 208156"/>
                <a:gd name="connsiteX9" fmla="*/ 36201 w 153854"/>
                <a:gd name="connsiteY9" fmla="*/ 6033 h 208156"/>
                <a:gd name="connsiteX10" fmla="*/ 42234 w 153854"/>
                <a:gd name="connsiteY10" fmla="*/ 0 h 208156"/>
                <a:gd name="connsiteX11" fmla="*/ 48268 w 153854"/>
                <a:gd name="connsiteY11" fmla="*/ 6033 h 208156"/>
                <a:gd name="connsiteX12" fmla="*/ 45251 w 153854"/>
                <a:gd name="connsiteY12" fmla="*/ 42234 h 208156"/>
                <a:gd name="connsiteX13" fmla="*/ 42234 w 153854"/>
                <a:gd name="connsiteY13" fmla="*/ 81452 h 208156"/>
                <a:gd name="connsiteX14" fmla="*/ 30168 w 153854"/>
                <a:gd name="connsiteY14" fmla="*/ 123687 h 208156"/>
                <a:gd name="connsiteX15" fmla="*/ 15084 w 153854"/>
                <a:gd name="connsiteY15" fmla="*/ 144804 h 208156"/>
                <a:gd name="connsiteX16" fmla="*/ 54302 w 153854"/>
                <a:gd name="connsiteY16" fmla="*/ 165922 h 208156"/>
                <a:gd name="connsiteX17" fmla="*/ 147821 w 153854"/>
                <a:gd name="connsiteY17" fmla="*/ 196089 h 208156"/>
                <a:gd name="connsiteX18" fmla="*/ 153855 w 153854"/>
                <a:gd name="connsiteY18" fmla="*/ 202122 h 208156"/>
                <a:gd name="connsiteX19" fmla="*/ 147821 w 153854"/>
                <a:gd name="connsiteY19" fmla="*/ 208156 h 20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3854" h="208156">
                  <a:moveTo>
                    <a:pt x="147821" y="208156"/>
                  </a:moveTo>
                  <a:cubicBezTo>
                    <a:pt x="147821" y="208156"/>
                    <a:pt x="147821" y="208156"/>
                    <a:pt x="147821" y="208156"/>
                  </a:cubicBezTo>
                  <a:cubicBezTo>
                    <a:pt x="111620" y="202122"/>
                    <a:pt x="75419" y="187039"/>
                    <a:pt x="51285" y="174972"/>
                  </a:cubicBezTo>
                  <a:cubicBezTo>
                    <a:pt x="24135" y="162905"/>
                    <a:pt x="6034" y="150838"/>
                    <a:pt x="6034" y="150838"/>
                  </a:cubicBezTo>
                  <a:lnTo>
                    <a:pt x="0" y="147821"/>
                  </a:lnTo>
                  <a:lnTo>
                    <a:pt x="3017" y="141787"/>
                  </a:lnTo>
                  <a:cubicBezTo>
                    <a:pt x="9051" y="135754"/>
                    <a:pt x="15084" y="126703"/>
                    <a:pt x="21118" y="117653"/>
                  </a:cubicBezTo>
                  <a:cubicBezTo>
                    <a:pt x="27151" y="105587"/>
                    <a:pt x="30168" y="90503"/>
                    <a:pt x="30168" y="78436"/>
                  </a:cubicBezTo>
                  <a:cubicBezTo>
                    <a:pt x="30168" y="72402"/>
                    <a:pt x="30168" y="57318"/>
                    <a:pt x="33185" y="42234"/>
                  </a:cubicBezTo>
                  <a:cubicBezTo>
                    <a:pt x="33185" y="27151"/>
                    <a:pt x="33185" y="12067"/>
                    <a:pt x="36201" y="6033"/>
                  </a:cubicBezTo>
                  <a:cubicBezTo>
                    <a:pt x="36201" y="3017"/>
                    <a:pt x="39218" y="0"/>
                    <a:pt x="42234" y="0"/>
                  </a:cubicBezTo>
                  <a:cubicBezTo>
                    <a:pt x="45251" y="0"/>
                    <a:pt x="48268" y="3017"/>
                    <a:pt x="48268" y="6033"/>
                  </a:cubicBezTo>
                  <a:cubicBezTo>
                    <a:pt x="48268" y="12067"/>
                    <a:pt x="48268" y="27151"/>
                    <a:pt x="45251" y="42234"/>
                  </a:cubicBezTo>
                  <a:cubicBezTo>
                    <a:pt x="45251" y="57318"/>
                    <a:pt x="45251" y="72402"/>
                    <a:pt x="42234" y="81452"/>
                  </a:cubicBezTo>
                  <a:cubicBezTo>
                    <a:pt x="39218" y="96536"/>
                    <a:pt x="39218" y="111620"/>
                    <a:pt x="30168" y="123687"/>
                  </a:cubicBezTo>
                  <a:cubicBezTo>
                    <a:pt x="27151" y="129720"/>
                    <a:pt x="21118" y="138771"/>
                    <a:pt x="15084" y="144804"/>
                  </a:cubicBezTo>
                  <a:cubicBezTo>
                    <a:pt x="21118" y="147821"/>
                    <a:pt x="36201" y="156871"/>
                    <a:pt x="54302" y="165922"/>
                  </a:cubicBezTo>
                  <a:cubicBezTo>
                    <a:pt x="78436" y="177989"/>
                    <a:pt x="114637" y="193072"/>
                    <a:pt x="147821" y="196089"/>
                  </a:cubicBezTo>
                  <a:cubicBezTo>
                    <a:pt x="150838" y="196089"/>
                    <a:pt x="153855" y="199106"/>
                    <a:pt x="153855" y="202122"/>
                  </a:cubicBezTo>
                  <a:cubicBezTo>
                    <a:pt x="153855" y="208156"/>
                    <a:pt x="150838" y="208156"/>
                    <a:pt x="147821" y="208156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05BA023F-D160-478D-A78F-62D1131F418B}"/>
                </a:ext>
              </a:extLst>
            </p:cNvPr>
            <p:cNvSpPr/>
            <p:nvPr/>
          </p:nvSpPr>
          <p:spPr>
            <a:xfrm>
              <a:off x="11695567" y="10628250"/>
              <a:ext cx="220718" cy="79684"/>
            </a:xfrm>
            <a:custGeom>
              <a:avLst/>
              <a:gdLst>
                <a:gd name="connsiteX0" fmla="*/ 71648 w 220718"/>
                <a:gd name="connsiteY0" fmla="*/ 79685 h 79684"/>
                <a:gd name="connsiteX1" fmla="*/ 2262 w 220718"/>
                <a:gd name="connsiteY1" fmla="*/ 52534 h 79684"/>
                <a:gd name="connsiteX2" fmla="*/ 2262 w 220718"/>
                <a:gd name="connsiteY2" fmla="*/ 43484 h 79684"/>
                <a:gd name="connsiteX3" fmla="*/ 11313 w 220718"/>
                <a:gd name="connsiteY3" fmla="*/ 43484 h 79684"/>
                <a:gd name="connsiteX4" fmla="*/ 80698 w 220718"/>
                <a:gd name="connsiteY4" fmla="*/ 67618 h 79684"/>
                <a:gd name="connsiteX5" fmla="*/ 210419 w 220718"/>
                <a:gd name="connsiteY5" fmla="*/ 1250 h 79684"/>
                <a:gd name="connsiteX6" fmla="*/ 219469 w 220718"/>
                <a:gd name="connsiteY6" fmla="*/ 4266 h 79684"/>
                <a:gd name="connsiteX7" fmla="*/ 216452 w 220718"/>
                <a:gd name="connsiteY7" fmla="*/ 13317 h 79684"/>
                <a:gd name="connsiteX8" fmla="*/ 80698 w 220718"/>
                <a:gd name="connsiteY8" fmla="*/ 79685 h 79684"/>
                <a:gd name="connsiteX9" fmla="*/ 71648 w 220718"/>
                <a:gd name="connsiteY9" fmla="*/ 79685 h 79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718" h="79684">
                  <a:moveTo>
                    <a:pt x="71648" y="79685"/>
                  </a:moveTo>
                  <a:cubicBezTo>
                    <a:pt x="32430" y="79685"/>
                    <a:pt x="5279" y="52534"/>
                    <a:pt x="2262" y="52534"/>
                  </a:cubicBezTo>
                  <a:cubicBezTo>
                    <a:pt x="-754" y="49517"/>
                    <a:pt x="-754" y="46501"/>
                    <a:pt x="2262" y="43484"/>
                  </a:cubicBezTo>
                  <a:cubicBezTo>
                    <a:pt x="5279" y="40467"/>
                    <a:pt x="8296" y="40467"/>
                    <a:pt x="11313" y="43484"/>
                  </a:cubicBezTo>
                  <a:cubicBezTo>
                    <a:pt x="11313" y="43484"/>
                    <a:pt x="41480" y="73652"/>
                    <a:pt x="80698" y="67618"/>
                  </a:cubicBezTo>
                  <a:cubicBezTo>
                    <a:pt x="119916" y="61585"/>
                    <a:pt x="210419" y="1250"/>
                    <a:pt x="210419" y="1250"/>
                  </a:cubicBezTo>
                  <a:cubicBezTo>
                    <a:pt x="213435" y="-1767"/>
                    <a:pt x="216452" y="1250"/>
                    <a:pt x="219469" y="4266"/>
                  </a:cubicBezTo>
                  <a:cubicBezTo>
                    <a:pt x="222486" y="7283"/>
                    <a:pt x="219469" y="10300"/>
                    <a:pt x="216452" y="13317"/>
                  </a:cubicBezTo>
                  <a:cubicBezTo>
                    <a:pt x="213435" y="16333"/>
                    <a:pt x="122932" y="76669"/>
                    <a:pt x="80698" y="79685"/>
                  </a:cubicBezTo>
                  <a:cubicBezTo>
                    <a:pt x="77681" y="76669"/>
                    <a:pt x="74665" y="79685"/>
                    <a:pt x="71648" y="79685"/>
                  </a:cubicBezTo>
                  <a:close/>
                </a:path>
              </a:pathLst>
            </a:custGeom>
            <a:solidFill>
              <a:srgbClr val="E58777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F5E13ECA-11D1-4168-90EA-FA720EFDB267}"/>
                </a:ext>
              </a:extLst>
            </p:cNvPr>
            <p:cNvSpPr/>
            <p:nvPr/>
          </p:nvSpPr>
          <p:spPr>
            <a:xfrm>
              <a:off x="11974030" y="10392723"/>
              <a:ext cx="78108" cy="112851"/>
            </a:xfrm>
            <a:custGeom>
              <a:avLst/>
              <a:gdLst>
                <a:gd name="connsiteX0" fmla="*/ 13408 w 78108"/>
                <a:gd name="connsiteY0" fmla="*/ 16553 h 112851"/>
                <a:gd name="connsiteX1" fmla="*/ 70726 w 78108"/>
                <a:gd name="connsiteY1" fmla="*/ 7503 h 112851"/>
                <a:gd name="connsiteX2" fmla="*/ 13408 w 78108"/>
                <a:gd name="connsiteY2" fmla="*/ 110072 h 112851"/>
                <a:gd name="connsiteX3" fmla="*/ 13408 w 78108"/>
                <a:gd name="connsiteY3" fmla="*/ 16553 h 112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108" h="112851">
                  <a:moveTo>
                    <a:pt x="13408" y="16553"/>
                  </a:moveTo>
                  <a:cubicBezTo>
                    <a:pt x="13408" y="16553"/>
                    <a:pt x="46592" y="-13615"/>
                    <a:pt x="70726" y="7503"/>
                  </a:cubicBezTo>
                  <a:cubicBezTo>
                    <a:pt x="94861" y="25604"/>
                    <a:pt x="55642" y="131190"/>
                    <a:pt x="13408" y="110072"/>
                  </a:cubicBezTo>
                  <a:cubicBezTo>
                    <a:pt x="-16760" y="88955"/>
                    <a:pt x="13408" y="16553"/>
                    <a:pt x="13408" y="16553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D37F5E65-2E9D-4553-A6CA-D76117446ED9}"/>
                </a:ext>
              </a:extLst>
            </p:cNvPr>
            <p:cNvSpPr/>
            <p:nvPr/>
          </p:nvSpPr>
          <p:spPr>
            <a:xfrm>
              <a:off x="11543975" y="10270505"/>
              <a:ext cx="144804" cy="162905"/>
            </a:xfrm>
            <a:custGeom>
              <a:avLst/>
              <a:gdLst>
                <a:gd name="connsiteX0" fmla="*/ 6033 w 144804"/>
                <a:gd name="connsiteY0" fmla="*/ 162906 h 162905"/>
                <a:gd name="connsiteX1" fmla="*/ 6033 w 144804"/>
                <a:gd name="connsiteY1" fmla="*/ 162906 h 162905"/>
                <a:gd name="connsiteX2" fmla="*/ 0 w 144804"/>
                <a:gd name="connsiteY2" fmla="*/ 156872 h 162905"/>
                <a:gd name="connsiteX3" fmla="*/ 138770 w 144804"/>
                <a:gd name="connsiteY3" fmla="*/ 0 h 162905"/>
                <a:gd name="connsiteX4" fmla="*/ 144804 w 144804"/>
                <a:gd name="connsiteY4" fmla="*/ 3017 h 162905"/>
                <a:gd name="connsiteX5" fmla="*/ 141787 w 144804"/>
                <a:gd name="connsiteY5" fmla="*/ 9051 h 162905"/>
                <a:gd name="connsiteX6" fmla="*/ 12067 w 144804"/>
                <a:gd name="connsiteY6" fmla="*/ 156872 h 162905"/>
                <a:gd name="connsiteX7" fmla="*/ 6033 w 144804"/>
                <a:gd name="connsiteY7" fmla="*/ 162906 h 162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804" h="162905">
                  <a:moveTo>
                    <a:pt x="6033" y="162906"/>
                  </a:moveTo>
                  <a:cubicBezTo>
                    <a:pt x="6033" y="162906"/>
                    <a:pt x="6033" y="162906"/>
                    <a:pt x="6033" y="162906"/>
                  </a:cubicBezTo>
                  <a:cubicBezTo>
                    <a:pt x="3016" y="162906"/>
                    <a:pt x="0" y="159889"/>
                    <a:pt x="0" y="156872"/>
                  </a:cubicBezTo>
                  <a:cubicBezTo>
                    <a:pt x="24134" y="30168"/>
                    <a:pt x="138770" y="0"/>
                    <a:pt x="138770" y="0"/>
                  </a:cubicBezTo>
                  <a:cubicBezTo>
                    <a:pt x="141787" y="0"/>
                    <a:pt x="144804" y="0"/>
                    <a:pt x="144804" y="3017"/>
                  </a:cubicBezTo>
                  <a:cubicBezTo>
                    <a:pt x="144804" y="6034"/>
                    <a:pt x="144804" y="9051"/>
                    <a:pt x="141787" y="9051"/>
                  </a:cubicBezTo>
                  <a:cubicBezTo>
                    <a:pt x="141787" y="9051"/>
                    <a:pt x="36201" y="39218"/>
                    <a:pt x="12067" y="156872"/>
                  </a:cubicBezTo>
                  <a:cubicBezTo>
                    <a:pt x="12067" y="162906"/>
                    <a:pt x="9050" y="162906"/>
                    <a:pt x="6033" y="162906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CA99B2A9-2F75-4062-8C7A-E2E457F924C5}"/>
                </a:ext>
              </a:extLst>
            </p:cNvPr>
            <p:cNvSpPr/>
            <p:nvPr/>
          </p:nvSpPr>
          <p:spPr>
            <a:xfrm>
              <a:off x="11905986" y="10216203"/>
              <a:ext cx="109852" cy="184022"/>
            </a:xfrm>
            <a:custGeom>
              <a:avLst/>
              <a:gdLst>
                <a:gd name="connsiteX0" fmla="*/ 105587 w 109852"/>
                <a:gd name="connsiteY0" fmla="*/ 184023 h 184022"/>
                <a:gd name="connsiteX1" fmla="*/ 99553 w 109852"/>
                <a:gd name="connsiteY1" fmla="*/ 177989 h 184022"/>
                <a:gd name="connsiteX2" fmla="*/ 54301 w 109852"/>
                <a:gd name="connsiteY2" fmla="*/ 72402 h 184022"/>
                <a:gd name="connsiteX3" fmla="*/ 0 w 109852"/>
                <a:gd name="connsiteY3" fmla="*/ 6034 h 184022"/>
                <a:gd name="connsiteX4" fmla="*/ 3016 w 109852"/>
                <a:gd name="connsiteY4" fmla="*/ 0 h 184022"/>
                <a:gd name="connsiteX5" fmla="*/ 9050 w 109852"/>
                <a:gd name="connsiteY5" fmla="*/ 3017 h 184022"/>
                <a:gd name="connsiteX6" fmla="*/ 57318 w 109852"/>
                <a:gd name="connsiteY6" fmla="*/ 66369 h 184022"/>
                <a:gd name="connsiteX7" fmla="*/ 108603 w 109852"/>
                <a:gd name="connsiteY7" fmla="*/ 177989 h 184022"/>
                <a:gd name="connsiteX8" fmla="*/ 105587 w 109852"/>
                <a:gd name="connsiteY8" fmla="*/ 184023 h 184022"/>
                <a:gd name="connsiteX9" fmla="*/ 105587 w 109852"/>
                <a:gd name="connsiteY9" fmla="*/ 184023 h 184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852" h="184022">
                  <a:moveTo>
                    <a:pt x="105587" y="184023"/>
                  </a:moveTo>
                  <a:cubicBezTo>
                    <a:pt x="102570" y="184023"/>
                    <a:pt x="99553" y="181006"/>
                    <a:pt x="99553" y="177989"/>
                  </a:cubicBezTo>
                  <a:cubicBezTo>
                    <a:pt x="99553" y="165922"/>
                    <a:pt x="90503" y="99553"/>
                    <a:pt x="54301" y="72402"/>
                  </a:cubicBezTo>
                  <a:cubicBezTo>
                    <a:pt x="21117" y="48268"/>
                    <a:pt x="3016" y="6034"/>
                    <a:pt x="0" y="6034"/>
                  </a:cubicBezTo>
                  <a:cubicBezTo>
                    <a:pt x="0" y="3017"/>
                    <a:pt x="0" y="0"/>
                    <a:pt x="3016" y="0"/>
                  </a:cubicBezTo>
                  <a:cubicBezTo>
                    <a:pt x="6033" y="0"/>
                    <a:pt x="9050" y="0"/>
                    <a:pt x="9050" y="3017"/>
                  </a:cubicBezTo>
                  <a:cubicBezTo>
                    <a:pt x="9050" y="3017"/>
                    <a:pt x="27151" y="42234"/>
                    <a:pt x="57318" y="66369"/>
                  </a:cubicBezTo>
                  <a:cubicBezTo>
                    <a:pt x="96536" y="93520"/>
                    <a:pt x="105587" y="165922"/>
                    <a:pt x="108603" y="177989"/>
                  </a:cubicBezTo>
                  <a:cubicBezTo>
                    <a:pt x="111620" y="181006"/>
                    <a:pt x="108603" y="184023"/>
                    <a:pt x="105587" y="184023"/>
                  </a:cubicBezTo>
                  <a:cubicBezTo>
                    <a:pt x="105587" y="184023"/>
                    <a:pt x="105587" y="184023"/>
                    <a:pt x="105587" y="184023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4DEAAC08-EFD5-4AC7-AE95-16E988C72FA9}"/>
                </a:ext>
              </a:extLst>
            </p:cNvPr>
            <p:cNvSpPr/>
            <p:nvPr/>
          </p:nvSpPr>
          <p:spPr>
            <a:xfrm>
              <a:off x="12101590" y="10849149"/>
              <a:ext cx="1140820" cy="284148"/>
            </a:xfrm>
            <a:custGeom>
              <a:avLst/>
              <a:gdLst>
                <a:gd name="connsiteX0" fmla="*/ 27636 w 1140820"/>
                <a:gd name="connsiteY0" fmla="*/ 154429 h 284148"/>
                <a:gd name="connsiteX1" fmla="*/ 163391 w 1140820"/>
                <a:gd name="connsiteY1" fmla="*/ 6608 h 284148"/>
                <a:gd name="connsiteX2" fmla="*/ 624955 w 1140820"/>
                <a:gd name="connsiteY2" fmla="*/ 88060 h 284148"/>
                <a:gd name="connsiteX3" fmla="*/ 1116687 w 1140820"/>
                <a:gd name="connsiteY3" fmla="*/ 79010 h 284148"/>
                <a:gd name="connsiteX4" fmla="*/ 1140821 w 1140820"/>
                <a:gd name="connsiteY4" fmla="*/ 202697 h 284148"/>
                <a:gd name="connsiteX5" fmla="*/ 640038 w 1140820"/>
                <a:gd name="connsiteY5" fmla="*/ 275099 h 284148"/>
                <a:gd name="connsiteX6" fmla="*/ 27636 w 1140820"/>
                <a:gd name="connsiteY6" fmla="*/ 154429 h 284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0820" h="284148">
                  <a:moveTo>
                    <a:pt x="27636" y="154429"/>
                  </a:moveTo>
                  <a:cubicBezTo>
                    <a:pt x="-44766" y="-11493"/>
                    <a:pt x="33669" y="-8476"/>
                    <a:pt x="163391" y="6608"/>
                  </a:cubicBezTo>
                  <a:cubicBezTo>
                    <a:pt x="299145" y="21691"/>
                    <a:pt x="594787" y="91076"/>
                    <a:pt x="624955" y="88060"/>
                  </a:cubicBezTo>
                  <a:cubicBezTo>
                    <a:pt x="724508" y="94093"/>
                    <a:pt x="1116687" y="79010"/>
                    <a:pt x="1116687" y="79010"/>
                  </a:cubicBezTo>
                  <a:cubicBezTo>
                    <a:pt x="1131771" y="106160"/>
                    <a:pt x="1140821" y="202697"/>
                    <a:pt x="1140821" y="202697"/>
                  </a:cubicBezTo>
                  <a:cubicBezTo>
                    <a:pt x="1140821" y="202697"/>
                    <a:pt x="778809" y="266048"/>
                    <a:pt x="640038" y="275099"/>
                  </a:cubicBezTo>
                  <a:cubicBezTo>
                    <a:pt x="570653" y="281132"/>
                    <a:pt x="100039" y="323367"/>
                    <a:pt x="27636" y="154429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88AF74CA-CF7D-482F-9FCE-DF7A695D59F9}"/>
                </a:ext>
              </a:extLst>
            </p:cNvPr>
            <p:cNvSpPr/>
            <p:nvPr/>
          </p:nvSpPr>
          <p:spPr>
            <a:xfrm>
              <a:off x="11964805" y="10795194"/>
              <a:ext cx="408778" cy="389389"/>
            </a:xfrm>
            <a:custGeom>
              <a:avLst/>
              <a:gdLst>
                <a:gd name="connsiteX0" fmla="*/ 408779 w 408778"/>
                <a:gd name="connsiteY0" fmla="*/ 30395 h 389389"/>
                <a:gd name="connsiteX1" fmla="*/ 10566 w 408778"/>
                <a:gd name="connsiteY1" fmla="*/ 78663 h 389389"/>
                <a:gd name="connsiteX2" fmla="*/ 318276 w 408778"/>
                <a:gd name="connsiteY2" fmla="*/ 389390 h 389389"/>
                <a:gd name="connsiteX3" fmla="*/ 408779 w 408778"/>
                <a:gd name="connsiteY3" fmla="*/ 30395 h 38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778" h="389389">
                  <a:moveTo>
                    <a:pt x="408779" y="30395"/>
                  </a:moveTo>
                  <a:cubicBezTo>
                    <a:pt x="236823" y="-32957"/>
                    <a:pt x="52800" y="12295"/>
                    <a:pt x="10566" y="78663"/>
                  </a:cubicBezTo>
                  <a:cubicBezTo>
                    <a:pt x="-43735" y="166150"/>
                    <a:pt x="119169" y="341121"/>
                    <a:pt x="318276" y="389390"/>
                  </a:cubicBezTo>
                  <a:cubicBezTo>
                    <a:pt x="372577" y="341121"/>
                    <a:pt x="405762" y="132965"/>
                    <a:pt x="408779" y="30395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7BF13B51-8739-4681-BF0B-EFEA3E78E708}"/>
                </a:ext>
              </a:extLst>
            </p:cNvPr>
            <p:cNvSpPr/>
            <p:nvPr/>
          </p:nvSpPr>
          <p:spPr>
            <a:xfrm>
              <a:off x="11954357" y="10896742"/>
              <a:ext cx="384274" cy="293874"/>
            </a:xfrm>
            <a:custGeom>
              <a:avLst/>
              <a:gdLst>
                <a:gd name="connsiteX0" fmla="*/ 328724 w 384274"/>
                <a:gd name="connsiteY0" fmla="*/ 293875 h 293874"/>
                <a:gd name="connsiteX1" fmla="*/ 328724 w 384274"/>
                <a:gd name="connsiteY1" fmla="*/ 293875 h 293874"/>
                <a:gd name="connsiteX2" fmla="*/ 14980 w 384274"/>
                <a:gd name="connsiteY2" fmla="*/ 73652 h 293874"/>
                <a:gd name="connsiteX3" fmla="*/ 2913 w 384274"/>
                <a:gd name="connsiteY3" fmla="*/ 4267 h 293874"/>
                <a:gd name="connsiteX4" fmla="*/ 8947 w 384274"/>
                <a:gd name="connsiteY4" fmla="*/ 1250 h 293874"/>
                <a:gd name="connsiteX5" fmla="*/ 11964 w 384274"/>
                <a:gd name="connsiteY5" fmla="*/ 7283 h 293874"/>
                <a:gd name="connsiteX6" fmla="*/ 24031 w 384274"/>
                <a:gd name="connsiteY6" fmla="*/ 67618 h 293874"/>
                <a:gd name="connsiteX7" fmla="*/ 325707 w 384274"/>
                <a:gd name="connsiteY7" fmla="*/ 281808 h 293874"/>
                <a:gd name="connsiteX8" fmla="*/ 373975 w 384274"/>
                <a:gd name="connsiteY8" fmla="*/ 152088 h 293874"/>
                <a:gd name="connsiteX9" fmla="*/ 380008 w 384274"/>
                <a:gd name="connsiteY9" fmla="*/ 149071 h 293874"/>
                <a:gd name="connsiteX10" fmla="*/ 383025 w 384274"/>
                <a:gd name="connsiteY10" fmla="*/ 155105 h 293874"/>
                <a:gd name="connsiteX11" fmla="*/ 328724 w 384274"/>
                <a:gd name="connsiteY11" fmla="*/ 293875 h 293874"/>
                <a:gd name="connsiteX12" fmla="*/ 328724 w 384274"/>
                <a:gd name="connsiteY12" fmla="*/ 293875 h 293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4274" h="293874">
                  <a:moveTo>
                    <a:pt x="328724" y="293875"/>
                  </a:moveTo>
                  <a:lnTo>
                    <a:pt x="328724" y="293875"/>
                  </a:lnTo>
                  <a:cubicBezTo>
                    <a:pt x="229170" y="269741"/>
                    <a:pt x="66265" y="164155"/>
                    <a:pt x="14980" y="73652"/>
                  </a:cubicBezTo>
                  <a:cubicBezTo>
                    <a:pt x="-104" y="46501"/>
                    <a:pt x="-3120" y="22366"/>
                    <a:pt x="2913" y="4267"/>
                  </a:cubicBezTo>
                  <a:cubicBezTo>
                    <a:pt x="2913" y="1250"/>
                    <a:pt x="5930" y="-1767"/>
                    <a:pt x="8947" y="1250"/>
                  </a:cubicBezTo>
                  <a:cubicBezTo>
                    <a:pt x="11964" y="1250"/>
                    <a:pt x="11964" y="4267"/>
                    <a:pt x="11964" y="7283"/>
                  </a:cubicBezTo>
                  <a:cubicBezTo>
                    <a:pt x="5930" y="25383"/>
                    <a:pt x="8947" y="46501"/>
                    <a:pt x="24031" y="67618"/>
                  </a:cubicBezTo>
                  <a:cubicBezTo>
                    <a:pt x="72299" y="155105"/>
                    <a:pt x="229170" y="257674"/>
                    <a:pt x="325707" y="281808"/>
                  </a:cubicBezTo>
                  <a:cubicBezTo>
                    <a:pt x="331740" y="278791"/>
                    <a:pt x="352858" y="257674"/>
                    <a:pt x="373975" y="152088"/>
                  </a:cubicBezTo>
                  <a:cubicBezTo>
                    <a:pt x="373975" y="149071"/>
                    <a:pt x="376991" y="146054"/>
                    <a:pt x="380008" y="149071"/>
                  </a:cubicBezTo>
                  <a:cubicBezTo>
                    <a:pt x="383025" y="149071"/>
                    <a:pt x="386042" y="152088"/>
                    <a:pt x="383025" y="155105"/>
                  </a:cubicBezTo>
                  <a:cubicBezTo>
                    <a:pt x="361907" y="278791"/>
                    <a:pt x="334757" y="293875"/>
                    <a:pt x="328724" y="293875"/>
                  </a:cubicBezTo>
                  <a:lnTo>
                    <a:pt x="328724" y="293875"/>
                  </a:ln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4" name="图形 1">
              <a:extLst>
                <a:ext uri="{FF2B5EF4-FFF2-40B4-BE49-F238E27FC236}">
                  <a16:creationId xmlns:a16="http://schemas.microsoft.com/office/drawing/2014/main" id="{49799B70-3F21-4D73-86C7-3DD8211C7E99}"/>
                </a:ext>
              </a:extLst>
            </p:cNvPr>
            <p:cNvGrpSpPr/>
            <p:nvPr/>
          </p:nvGrpSpPr>
          <p:grpSpPr>
            <a:xfrm>
              <a:off x="13175104" y="10817466"/>
              <a:ext cx="355082" cy="234380"/>
              <a:chOff x="13175104" y="10817466"/>
              <a:chExt cx="355082" cy="234380"/>
            </a:xfrm>
          </p:grpSpPr>
          <p:grpSp>
            <p:nvGrpSpPr>
              <p:cNvPr id="87" name="图形 1">
                <a:extLst>
                  <a:ext uri="{FF2B5EF4-FFF2-40B4-BE49-F238E27FC236}">
                    <a16:creationId xmlns:a16="http://schemas.microsoft.com/office/drawing/2014/main" id="{435EDCDA-8BF3-4265-8BD5-2219BCD182D3}"/>
                  </a:ext>
                </a:extLst>
              </p:cNvPr>
              <p:cNvGrpSpPr/>
              <p:nvPr/>
            </p:nvGrpSpPr>
            <p:grpSpPr>
              <a:xfrm>
                <a:off x="13175104" y="10817466"/>
                <a:ext cx="355082" cy="233881"/>
                <a:chOff x="13175104" y="10817466"/>
                <a:chExt cx="355082" cy="233881"/>
              </a:xfrm>
            </p:grpSpPr>
            <p:sp>
              <p:nvSpPr>
                <p:cNvPr id="90" name="任意多边形: 形状 89">
                  <a:extLst>
                    <a:ext uri="{FF2B5EF4-FFF2-40B4-BE49-F238E27FC236}">
                      <a16:creationId xmlns:a16="http://schemas.microsoft.com/office/drawing/2014/main" id="{D2A708F6-5B83-4233-9309-7F6CA044A915}"/>
                    </a:ext>
                  </a:extLst>
                </p:cNvPr>
                <p:cNvSpPr/>
                <p:nvPr/>
              </p:nvSpPr>
              <p:spPr>
                <a:xfrm>
                  <a:off x="13175104" y="10817466"/>
                  <a:ext cx="345633" cy="233881"/>
                </a:xfrm>
                <a:custGeom>
                  <a:avLst/>
                  <a:gdLst>
                    <a:gd name="connsiteX0" fmla="*/ 275463 w 345633"/>
                    <a:gd name="connsiteY0" fmla="*/ 204213 h 233881"/>
                    <a:gd name="connsiteX1" fmla="*/ 266413 w 345633"/>
                    <a:gd name="connsiteY1" fmla="*/ 189129 h 233881"/>
                    <a:gd name="connsiteX2" fmla="*/ 260379 w 345633"/>
                    <a:gd name="connsiteY2" fmla="*/ 186112 h 233881"/>
                    <a:gd name="connsiteX3" fmla="*/ 287530 w 345633"/>
                    <a:gd name="connsiteY3" fmla="*/ 186112 h 233881"/>
                    <a:gd name="connsiteX4" fmla="*/ 332781 w 345633"/>
                    <a:gd name="connsiteY4" fmla="*/ 174045 h 233881"/>
                    <a:gd name="connsiteX5" fmla="*/ 326748 w 345633"/>
                    <a:gd name="connsiteY5" fmla="*/ 161977 h 233881"/>
                    <a:gd name="connsiteX6" fmla="*/ 323731 w 345633"/>
                    <a:gd name="connsiteY6" fmla="*/ 161977 h 233881"/>
                    <a:gd name="connsiteX7" fmla="*/ 344849 w 345633"/>
                    <a:gd name="connsiteY7" fmla="*/ 143878 h 233881"/>
                    <a:gd name="connsiteX8" fmla="*/ 332781 w 345633"/>
                    <a:gd name="connsiteY8" fmla="*/ 122760 h 233881"/>
                    <a:gd name="connsiteX9" fmla="*/ 278480 w 345633"/>
                    <a:gd name="connsiteY9" fmla="*/ 119743 h 233881"/>
                    <a:gd name="connsiteX10" fmla="*/ 203061 w 345633"/>
                    <a:gd name="connsiteY10" fmla="*/ 116726 h 233881"/>
                    <a:gd name="connsiteX11" fmla="*/ 257362 w 345633"/>
                    <a:gd name="connsiteY11" fmla="*/ 101642 h 233881"/>
                    <a:gd name="connsiteX12" fmla="*/ 299598 w 345633"/>
                    <a:gd name="connsiteY12" fmla="*/ 89575 h 233881"/>
                    <a:gd name="connsiteX13" fmla="*/ 275463 w 345633"/>
                    <a:gd name="connsiteY13" fmla="*/ 71475 h 233881"/>
                    <a:gd name="connsiteX14" fmla="*/ 97474 w 345633"/>
                    <a:gd name="connsiteY14" fmla="*/ 98626 h 233881"/>
                    <a:gd name="connsiteX15" fmla="*/ 133676 w 345633"/>
                    <a:gd name="connsiteY15" fmla="*/ 32257 h 233881"/>
                    <a:gd name="connsiteX16" fmla="*/ 109541 w 345633"/>
                    <a:gd name="connsiteY16" fmla="*/ 5106 h 233881"/>
                    <a:gd name="connsiteX17" fmla="*/ 938 w 345633"/>
                    <a:gd name="connsiteY17" fmla="*/ 134827 h 233881"/>
                    <a:gd name="connsiteX18" fmla="*/ 43173 w 345633"/>
                    <a:gd name="connsiteY18" fmla="*/ 222313 h 233881"/>
                    <a:gd name="connsiteX19" fmla="*/ 172893 w 345633"/>
                    <a:gd name="connsiteY19" fmla="*/ 225330 h 233881"/>
                    <a:gd name="connsiteX20" fmla="*/ 275463 w 345633"/>
                    <a:gd name="connsiteY20" fmla="*/ 204213 h 233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45633" h="233881">
                      <a:moveTo>
                        <a:pt x="275463" y="204213"/>
                      </a:moveTo>
                      <a:cubicBezTo>
                        <a:pt x="275463" y="198179"/>
                        <a:pt x="272446" y="192145"/>
                        <a:pt x="266413" y="189129"/>
                      </a:cubicBezTo>
                      <a:cubicBezTo>
                        <a:pt x="263396" y="189129"/>
                        <a:pt x="263396" y="186112"/>
                        <a:pt x="260379" y="186112"/>
                      </a:cubicBezTo>
                      <a:cubicBezTo>
                        <a:pt x="269430" y="186112"/>
                        <a:pt x="278480" y="186112"/>
                        <a:pt x="287530" y="186112"/>
                      </a:cubicBezTo>
                      <a:cubicBezTo>
                        <a:pt x="305631" y="186112"/>
                        <a:pt x="323731" y="186112"/>
                        <a:pt x="332781" y="174045"/>
                      </a:cubicBezTo>
                      <a:cubicBezTo>
                        <a:pt x="332781" y="174045"/>
                        <a:pt x="329765" y="164994"/>
                        <a:pt x="326748" y="161977"/>
                      </a:cubicBezTo>
                      <a:cubicBezTo>
                        <a:pt x="326748" y="161977"/>
                        <a:pt x="326748" y="161977"/>
                        <a:pt x="323731" y="161977"/>
                      </a:cubicBezTo>
                      <a:cubicBezTo>
                        <a:pt x="332781" y="158961"/>
                        <a:pt x="341832" y="152928"/>
                        <a:pt x="344849" y="143878"/>
                      </a:cubicBezTo>
                      <a:cubicBezTo>
                        <a:pt x="347865" y="134827"/>
                        <a:pt x="341832" y="125777"/>
                        <a:pt x="332781" y="122760"/>
                      </a:cubicBezTo>
                      <a:cubicBezTo>
                        <a:pt x="317697" y="116726"/>
                        <a:pt x="296581" y="119743"/>
                        <a:pt x="278480" y="119743"/>
                      </a:cubicBezTo>
                      <a:cubicBezTo>
                        <a:pt x="254346" y="119743"/>
                        <a:pt x="227195" y="116726"/>
                        <a:pt x="203061" y="116726"/>
                      </a:cubicBezTo>
                      <a:cubicBezTo>
                        <a:pt x="221162" y="110693"/>
                        <a:pt x="239262" y="107676"/>
                        <a:pt x="257362" y="101642"/>
                      </a:cubicBezTo>
                      <a:cubicBezTo>
                        <a:pt x="269430" y="98626"/>
                        <a:pt x="290547" y="98626"/>
                        <a:pt x="299598" y="89575"/>
                      </a:cubicBezTo>
                      <a:cubicBezTo>
                        <a:pt x="311664" y="77509"/>
                        <a:pt x="284514" y="71475"/>
                        <a:pt x="275463" y="71475"/>
                      </a:cubicBezTo>
                      <a:cubicBezTo>
                        <a:pt x="212111" y="65442"/>
                        <a:pt x="157809" y="95609"/>
                        <a:pt x="97474" y="98626"/>
                      </a:cubicBezTo>
                      <a:cubicBezTo>
                        <a:pt x="109541" y="83542"/>
                        <a:pt x="124625" y="59408"/>
                        <a:pt x="133676" y="32257"/>
                      </a:cubicBezTo>
                      <a:cubicBezTo>
                        <a:pt x="139709" y="11139"/>
                        <a:pt x="115575" y="-9977"/>
                        <a:pt x="109541" y="5106"/>
                      </a:cubicBezTo>
                      <a:cubicBezTo>
                        <a:pt x="79374" y="65442"/>
                        <a:pt x="6971" y="92592"/>
                        <a:pt x="938" y="134827"/>
                      </a:cubicBezTo>
                      <a:cubicBezTo>
                        <a:pt x="-5095" y="164994"/>
                        <a:pt x="19038" y="207229"/>
                        <a:pt x="43173" y="222313"/>
                      </a:cubicBezTo>
                      <a:cubicBezTo>
                        <a:pt x="79374" y="246447"/>
                        <a:pt x="130659" y="225330"/>
                        <a:pt x="172893" y="225330"/>
                      </a:cubicBezTo>
                      <a:cubicBezTo>
                        <a:pt x="194011" y="228347"/>
                        <a:pt x="272446" y="222313"/>
                        <a:pt x="275463" y="204213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1" name="任意多边形: 形状 90">
                  <a:extLst>
                    <a:ext uri="{FF2B5EF4-FFF2-40B4-BE49-F238E27FC236}">
                      <a16:creationId xmlns:a16="http://schemas.microsoft.com/office/drawing/2014/main" id="{8C443AEF-D079-4C2C-A203-DFCE6DEF62C8}"/>
                    </a:ext>
                  </a:extLst>
                </p:cNvPr>
                <p:cNvSpPr/>
                <p:nvPr/>
              </p:nvSpPr>
              <p:spPr>
                <a:xfrm>
                  <a:off x="13239393" y="10937209"/>
                  <a:ext cx="42234" cy="48268"/>
                </a:xfrm>
                <a:custGeom>
                  <a:avLst/>
                  <a:gdLst>
                    <a:gd name="connsiteX0" fmla="*/ 6034 w 42234"/>
                    <a:gd name="connsiteY0" fmla="*/ 48268 h 48268"/>
                    <a:gd name="connsiteX1" fmla="*/ 0 w 42234"/>
                    <a:gd name="connsiteY1" fmla="*/ 45251 h 48268"/>
                    <a:gd name="connsiteX2" fmla="*/ 3017 w 42234"/>
                    <a:gd name="connsiteY2" fmla="*/ 39218 h 48268"/>
                    <a:gd name="connsiteX3" fmla="*/ 30168 w 42234"/>
                    <a:gd name="connsiteY3" fmla="*/ 6034 h 48268"/>
                    <a:gd name="connsiteX4" fmla="*/ 36201 w 42234"/>
                    <a:gd name="connsiteY4" fmla="*/ 0 h 48268"/>
                    <a:gd name="connsiteX5" fmla="*/ 36201 w 42234"/>
                    <a:gd name="connsiteY5" fmla="*/ 0 h 48268"/>
                    <a:gd name="connsiteX6" fmla="*/ 42234 w 42234"/>
                    <a:gd name="connsiteY6" fmla="*/ 6034 h 48268"/>
                    <a:gd name="connsiteX7" fmla="*/ 6034 w 42234"/>
                    <a:gd name="connsiteY7" fmla="*/ 48268 h 48268"/>
                    <a:gd name="connsiteX8" fmla="*/ 6034 w 42234"/>
                    <a:gd name="connsiteY8" fmla="*/ 48268 h 482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2234" h="48268">
                      <a:moveTo>
                        <a:pt x="6034" y="48268"/>
                      </a:moveTo>
                      <a:cubicBezTo>
                        <a:pt x="3017" y="48268"/>
                        <a:pt x="0" y="45251"/>
                        <a:pt x="0" y="45251"/>
                      </a:cubicBezTo>
                      <a:cubicBezTo>
                        <a:pt x="0" y="42234"/>
                        <a:pt x="0" y="39218"/>
                        <a:pt x="3017" y="39218"/>
                      </a:cubicBezTo>
                      <a:cubicBezTo>
                        <a:pt x="30168" y="33185"/>
                        <a:pt x="30168" y="6034"/>
                        <a:pt x="30168" y="6034"/>
                      </a:cubicBezTo>
                      <a:cubicBezTo>
                        <a:pt x="30168" y="3017"/>
                        <a:pt x="33185" y="0"/>
                        <a:pt x="36201" y="0"/>
                      </a:cubicBezTo>
                      <a:lnTo>
                        <a:pt x="36201" y="0"/>
                      </a:lnTo>
                      <a:cubicBezTo>
                        <a:pt x="39218" y="0"/>
                        <a:pt x="42234" y="3017"/>
                        <a:pt x="42234" y="6034"/>
                      </a:cubicBezTo>
                      <a:cubicBezTo>
                        <a:pt x="42234" y="15084"/>
                        <a:pt x="36201" y="39218"/>
                        <a:pt x="6034" y="48268"/>
                      </a:cubicBezTo>
                      <a:cubicBezTo>
                        <a:pt x="6034" y="48268"/>
                        <a:pt x="6034" y="48268"/>
                        <a:pt x="6034" y="48268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2" name="任意多边形: 形状 91">
                  <a:extLst>
                    <a:ext uri="{FF2B5EF4-FFF2-40B4-BE49-F238E27FC236}">
                      <a16:creationId xmlns:a16="http://schemas.microsoft.com/office/drawing/2014/main" id="{41F15C76-67A0-43DD-8554-1F8EC861161F}"/>
                    </a:ext>
                  </a:extLst>
                </p:cNvPr>
                <p:cNvSpPr/>
                <p:nvPr/>
              </p:nvSpPr>
              <p:spPr>
                <a:xfrm>
                  <a:off x="13375147" y="10897991"/>
                  <a:ext cx="155038" cy="81451"/>
                </a:xfrm>
                <a:custGeom>
                  <a:avLst/>
                  <a:gdLst>
                    <a:gd name="connsiteX0" fmla="*/ 126704 w 155038"/>
                    <a:gd name="connsiteY0" fmla="*/ 81452 h 81451"/>
                    <a:gd name="connsiteX1" fmla="*/ 120670 w 155038"/>
                    <a:gd name="connsiteY1" fmla="*/ 75419 h 81451"/>
                    <a:gd name="connsiteX2" fmla="*/ 126704 w 155038"/>
                    <a:gd name="connsiteY2" fmla="*/ 69385 h 81451"/>
                    <a:gd name="connsiteX3" fmla="*/ 141788 w 155038"/>
                    <a:gd name="connsiteY3" fmla="*/ 60335 h 81451"/>
                    <a:gd name="connsiteX4" fmla="*/ 138771 w 155038"/>
                    <a:gd name="connsiteY4" fmla="*/ 48268 h 81451"/>
                    <a:gd name="connsiteX5" fmla="*/ 6034 w 155038"/>
                    <a:gd name="connsiteY5" fmla="*/ 39218 h 81451"/>
                    <a:gd name="connsiteX6" fmla="*/ 6034 w 155038"/>
                    <a:gd name="connsiteY6" fmla="*/ 39218 h 81451"/>
                    <a:gd name="connsiteX7" fmla="*/ 0 w 155038"/>
                    <a:gd name="connsiteY7" fmla="*/ 33185 h 81451"/>
                    <a:gd name="connsiteX8" fmla="*/ 6034 w 155038"/>
                    <a:gd name="connsiteY8" fmla="*/ 27151 h 81451"/>
                    <a:gd name="connsiteX9" fmla="*/ 102570 w 155038"/>
                    <a:gd name="connsiteY9" fmla="*/ 0 h 81451"/>
                    <a:gd name="connsiteX10" fmla="*/ 108604 w 155038"/>
                    <a:gd name="connsiteY10" fmla="*/ 3017 h 81451"/>
                    <a:gd name="connsiteX11" fmla="*/ 105587 w 155038"/>
                    <a:gd name="connsiteY11" fmla="*/ 9050 h 81451"/>
                    <a:gd name="connsiteX12" fmla="*/ 57318 w 155038"/>
                    <a:gd name="connsiteY12" fmla="*/ 24134 h 81451"/>
                    <a:gd name="connsiteX13" fmla="*/ 147821 w 155038"/>
                    <a:gd name="connsiteY13" fmla="*/ 36201 h 81451"/>
                    <a:gd name="connsiteX14" fmla="*/ 153855 w 155038"/>
                    <a:gd name="connsiteY14" fmla="*/ 60335 h 81451"/>
                    <a:gd name="connsiteX15" fmla="*/ 126704 w 155038"/>
                    <a:gd name="connsiteY15" fmla="*/ 81452 h 81451"/>
                    <a:gd name="connsiteX16" fmla="*/ 126704 w 155038"/>
                    <a:gd name="connsiteY16" fmla="*/ 81452 h 81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5038" h="81451">
                      <a:moveTo>
                        <a:pt x="126704" y="81452"/>
                      </a:moveTo>
                      <a:cubicBezTo>
                        <a:pt x="123687" y="81452"/>
                        <a:pt x="120670" y="78436"/>
                        <a:pt x="120670" y="75419"/>
                      </a:cubicBezTo>
                      <a:cubicBezTo>
                        <a:pt x="120670" y="72402"/>
                        <a:pt x="123687" y="69385"/>
                        <a:pt x="126704" y="69385"/>
                      </a:cubicBezTo>
                      <a:cubicBezTo>
                        <a:pt x="132737" y="69385"/>
                        <a:pt x="138771" y="63352"/>
                        <a:pt x="141788" y="60335"/>
                      </a:cubicBezTo>
                      <a:cubicBezTo>
                        <a:pt x="144805" y="57318"/>
                        <a:pt x="141788" y="51284"/>
                        <a:pt x="138771" y="48268"/>
                      </a:cubicBezTo>
                      <a:cubicBezTo>
                        <a:pt x="132737" y="42234"/>
                        <a:pt x="63352" y="39218"/>
                        <a:pt x="6034" y="39218"/>
                      </a:cubicBezTo>
                      <a:lnTo>
                        <a:pt x="6034" y="39218"/>
                      </a:lnTo>
                      <a:cubicBezTo>
                        <a:pt x="3017" y="39218"/>
                        <a:pt x="0" y="36201"/>
                        <a:pt x="0" y="33185"/>
                      </a:cubicBezTo>
                      <a:cubicBezTo>
                        <a:pt x="0" y="30168"/>
                        <a:pt x="3017" y="27151"/>
                        <a:pt x="6034" y="27151"/>
                      </a:cubicBezTo>
                      <a:cubicBezTo>
                        <a:pt x="42234" y="21117"/>
                        <a:pt x="102570" y="3017"/>
                        <a:pt x="102570" y="0"/>
                      </a:cubicBezTo>
                      <a:cubicBezTo>
                        <a:pt x="105587" y="0"/>
                        <a:pt x="108604" y="0"/>
                        <a:pt x="108604" y="3017"/>
                      </a:cubicBezTo>
                      <a:cubicBezTo>
                        <a:pt x="108604" y="6033"/>
                        <a:pt x="108604" y="9050"/>
                        <a:pt x="105587" y="9050"/>
                      </a:cubicBezTo>
                      <a:cubicBezTo>
                        <a:pt x="105587" y="9050"/>
                        <a:pt x="81453" y="18101"/>
                        <a:pt x="57318" y="24134"/>
                      </a:cubicBezTo>
                      <a:cubicBezTo>
                        <a:pt x="96537" y="24134"/>
                        <a:pt x="141788" y="27151"/>
                        <a:pt x="147821" y="36201"/>
                      </a:cubicBezTo>
                      <a:cubicBezTo>
                        <a:pt x="153855" y="42234"/>
                        <a:pt x="156872" y="51284"/>
                        <a:pt x="153855" y="60335"/>
                      </a:cubicBezTo>
                      <a:cubicBezTo>
                        <a:pt x="147821" y="72402"/>
                        <a:pt x="138771" y="81452"/>
                        <a:pt x="126704" y="81452"/>
                      </a:cubicBezTo>
                      <a:cubicBezTo>
                        <a:pt x="126704" y="81452"/>
                        <a:pt x="126704" y="81452"/>
                        <a:pt x="126704" y="81452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830CD60A-6715-4747-9C4B-D14EE16EF1D7}"/>
                  </a:ext>
                </a:extLst>
              </p:cNvPr>
              <p:cNvSpPr/>
              <p:nvPr/>
            </p:nvSpPr>
            <p:spPr>
              <a:xfrm>
                <a:off x="13338947" y="10994527"/>
                <a:ext cx="115886" cy="57319"/>
              </a:xfrm>
              <a:custGeom>
                <a:avLst/>
                <a:gdLst>
                  <a:gd name="connsiteX0" fmla="*/ 18100 w 115886"/>
                  <a:gd name="connsiteY0" fmla="*/ 57319 h 57319"/>
                  <a:gd name="connsiteX1" fmla="*/ 12067 w 115886"/>
                  <a:gd name="connsiteY1" fmla="*/ 51285 h 57319"/>
                  <a:gd name="connsiteX2" fmla="*/ 18100 w 115886"/>
                  <a:gd name="connsiteY2" fmla="*/ 45251 h 57319"/>
                  <a:gd name="connsiteX3" fmla="*/ 105587 w 115886"/>
                  <a:gd name="connsiteY3" fmla="*/ 24135 h 57319"/>
                  <a:gd name="connsiteX4" fmla="*/ 105587 w 115886"/>
                  <a:gd name="connsiteY4" fmla="*/ 18101 h 57319"/>
                  <a:gd name="connsiteX5" fmla="*/ 90503 w 115886"/>
                  <a:gd name="connsiteY5" fmla="*/ 12068 h 57319"/>
                  <a:gd name="connsiteX6" fmla="*/ 54301 w 115886"/>
                  <a:gd name="connsiteY6" fmla="*/ 15084 h 57319"/>
                  <a:gd name="connsiteX7" fmla="*/ 6033 w 115886"/>
                  <a:gd name="connsiteY7" fmla="*/ 18101 h 57319"/>
                  <a:gd name="connsiteX8" fmla="*/ 0 w 115886"/>
                  <a:gd name="connsiteY8" fmla="*/ 12068 h 57319"/>
                  <a:gd name="connsiteX9" fmla="*/ 6033 w 115886"/>
                  <a:gd name="connsiteY9" fmla="*/ 6034 h 57319"/>
                  <a:gd name="connsiteX10" fmla="*/ 51284 w 115886"/>
                  <a:gd name="connsiteY10" fmla="*/ 3017 h 57319"/>
                  <a:gd name="connsiteX11" fmla="*/ 87486 w 115886"/>
                  <a:gd name="connsiteY11" fmla="*/ 0 h 57319"/>
                  <a:gd name="connsiteX12" fmla="*/ 111620 w 115886"/>
                  <a:gd name="connsiteY12" fmla="*/ 9051 h 57319"/>
                  <a:gd name="connsiteX13" fmla="*/ 114637 w 115886"/>
                  <a:gd name="connsiteY13" fmla="*/ 27152 h 57319"/>
                  <a:gd name="connsiteX14" fmla="*/ 18100 w 115886"/>
                  <a:gd name="connsiteY14" fmla="*/ 57319 h 57319"/>
                  <a:gd name="connsiteX15" fmla="*/ 18100 w 115886"/>
                  <a:gd name="connsiteY15" fmla="*/ 57319 h 57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5886" h="57319">
                    <a:moveTo>
                      <a:pt x="18100" y="57319"/>
                    </a:moveTo>
                    <a:cubicBezTo>
                      <a:pt x="15084" y="57319"/>
                      <a:pt x="12067" y="54302"/>
                      <a:pt x="12067" y="51285"/>
                    </a:cubicBezTo>
                    <a:cubicBezTo>
                      <a:pt x="12067" y="48268"/>
                      <a:pt x="15084" y="45251"/>
                      <a:pt x="18100" y="45251"/>
                    </a:cubicBezTo>
                    <a:cubicBezTo>
                      <a:pt x="63351" y="42235"/>
                      <a:pt x="105587" y="33185"/>
                      <a:pt x="105587" y="24135"/>
                    </a:cubicBezTo>
                    <a:cubicBezTo>
                      <a:pt x="105587" y="18101"/>
                      <a:pt x="105587" y="18101"/>
                      <a:pt x="105587" y="18101"/>
                    </a:cubicBezTo>
                    <a:cubicBezTo>
                      <a:pt x="102570" y="15084"/>
                      <a:pt x="96536" y="12068"/>
                      <a:pt x="90503" y="12068"/>
                    </a:cubicBezTo>
                    <a:cubicBezTo>
                      <a:pt x="84469" y="12068"/>
                      <a:pt x="69385" y="12068"/>
                      <a:pt x="54301" y="15084"/>
                    </a:cubicBezTo>
                    <a:cubicBezTo>
                      <a:pt x="33184" y="18101"/>
                      <a:pt x="15084" y="18101"/>
                      <a:pt x="6033" y="18101"/>
                    </a:cubicBezTo>
                    <a:cubicBezTo>
                      <a:pt x="3016" y="18101"/>
                      <a:pt x="0" y="15084"/>
                      <a:pt x="0" y="12068"/>
                    </a:cubicBezTo>
                    <a:cubicBezTo>
                      <a:pt x="0" y="9051"/>
                      <a:pt x="3016" y="6034"/>
                      <a:pt x="6033" y="6034"/>
                    </a:cubicBezTo>
                    <a:cubicBezTo>
                      <a:pt x="12067" y="6034"/>
                      <a:pt x="33184" y="6034"/>
                      <a:pt x="51284" y="3017"/>
                    </a:cubicBezTo>
                    <a:cubicBezTo>
                      <a:pt x="66368" y="3017"/>
                      <a:pt x="81452" y="0"/>
                      <a:pt x="87486" y="0"/>
                    </a:cubicBezTo>
                    <a:cubicBezTo>
                      <a:pt x="99553" y="0"/>
                      <a:pt x="108603" y="3017"/>
                      <a:pt x="111620" y="9051"/>
                    </a:cubicBezTo>
                    <a:cubicBezTo>
                      <a:pt x="114637" y="12068"/>
                      <a:pt x="117653" y="18101"/>
                      <a:pt x="114637" y="27152"/>
                    </a:cubicBezTo>
                    <a:cubicBezTo>
                      <a:pt x="111620" y="48268"/>
                      <a:pt x="48267" y="54302"/>
                      <a:pt x="18100" y="57319"/>
                    </a:cubicBezTo>
                    <a:lnTo>
                      <a:pt x="18100" y="57319"/>
                    </a:lnTo>
                    <a:close/>
                  </a:path>
                </a:pathLst>
              </a:custGeom>
              <a:solidFill>
                <a:srgbClr val="E58777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B7598D05-B5DE-41DA-96EC-128B4928698E}"/>
                  </a:ext>
                </a:extLst>
              </p:cNvPr>
              <p:cNvSpPr/>
              <p:nvPr/>
            </p:nvSpPr>
            <p:spPr>
              <a:xfrm>
                <a:off x="13354031" y="10960094"/>
                <a:ext cx="162150" cy="49517"/>
              </a:xfrm>
              <a:custGeom>
                <a:avLst/>
                <a:gdLst>
                  <a:gd name="connsiteX0" fmla="*/ 93519 w 162150"/>
                  <a:gd name="connsiteY0" fmla="*/ 49517 h 49517"/>
                  <a:gd name="connsiteX1" fmla="*/ 87486 w 162150"/>
                  <a:gd name="connsiteY1" fmla="*/ 43484 h 49517"/>
                  <a:gd name="connsiteX2" fmla="*/ 93519 w 162150"/>
                  <a:gd name="connsiteY2" fmla="*/ 37450 h 49517"/>
                  <a:gd name="connsiteX3" fmla="*/ 147821 w 162150"/>
                  <a:gd name="connsiteY3" fmla="*/ 28400 h 49517"/>
                  <a:gd name="connsiteX4" fmla="*/ 147821 w 162150"/>
                  <a:gd name="connsiteY4" fmla="*/ 25383 h 49517"/>
                  <a:gd name="connsiteX5" fmla="*/ 129720 w 162150"/>
                  <a:gd name="connsiteY5" fmla="*/ 13317 h 49517"/>
                  <a:gd name="connsiteX6" fmla="*/ 69385 w 162150"/>
                  <a:gd name="connsiteY6" fmla="*/ 16333 h 49517"/>
                  <a:gd name="connsiteX7" fmla="*/ 60335 w 162150"/>
                  <a:gd name="connsiteY7" fmla="*/ 16333 h 49517"/>
                  <a:gd name="connsiteX8" fmla="*/ 6033 w 162150"/>
                  <a:gd name="connsiteY8" fmla="*/ 16333 h 49517"/>
                  <a:gd name="connsiteX9" fmla="*/ 0 w 162150"/>
                  <a:gd name="connsiteY9" fmla="*/ 10300 h 49517"/>
                  <a:gd name="connsiteX10" fmla="*/ 6033 w 162150"/>
                  <a:gd name="connsiteY10" fmla="*/ 4266 h 49517"/>
                  <a:gd name="connsiteX11" fmla="*/ 60335 w 162150"/>
                  <a:gd name="connsiteY11" fmla="*/ 4266 h 49517"/>
                  <a:gd name="connsiteX12" fmla="*/ 69385 w 162150"/>
                  <a:gd name="connsiteY12" fmla="*/ 4266 h 49517"/>
                  <a:gd name="connsiteX13" fmla="*/ 132737 w 162150"/>
                  <a:gd name="connsiteY13" fmla="*/ 1250 h 49517"/>
                  <a:gd name="connsiteX14" fmla="*/ 159888 w 162150"/>
                  <a:gd name="connsiteY14" fmla="*/ 19350 h 49517"/>
                  <a:gd name="connsiteX15" fmla="*/ 159888 w 162150"/>
                  <a:gd name="connsiteY15" fmla="*/ 34433 h 49517"/>
                  <a:gd name="connsiteX16" fmla="*/ 93519 w 162150"/>
                  <a:gd name="connsiteY16" fmla="*/ 49517 h 49517"/>
                  <a:gd name="connsiteX17" fmla="*/ 93519 w 162150"/>
                  <a:gd name="connsiteY17" fmla="*/ 49517 h 49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2150" h="49517">
                    <a:moveTo>
                      <a:pt x="93519" y="49517"/>
                    </a:moveTo>
                    <a:cubicBezTo>
                      <a:pt x="90503" y="49517"/>
                      <a:pt x="87486" y="46501"/>
                      <a:pt x="87486" y="43484"/>
                    </a:cubicBezTo>
                    <a:cubicBezTo>
                      <a:pt x="87486" y="40467"/>
                      <a:pt x="90503" y="37450"/>
                      <a:pt x="93519" y="37450"/>
                    </a:cubicBezTo>
                    <a:cubicBezTo>
                      <a:pt x="120670" y="37450"/>
                      <a:pt x="144804" y="31417"/>
                      <a:pt x="147821" y="28400"/>
                    </a:cubicBezTo>
                    <a:cubicBezTo>
                      <a:pt x="147821" y="28400"/>
                      <a:pt x="147821" y="25383"/>
                      <a:pt x="147821" y="25383"/>
                    </a:cubicBezTo>
                    <a:cubicBezTo>
                      <a:pt x="144804" y="19350"/>
                      <a:pt x="138770" y="16333"/>
                      <a:pt x="129720" y="13317"/>
                    </a:cubicBezTo>
                    <a:cubicBezTo>
                      <a:pt x="120670" y="10300"/>
                      <a:pt x="84469" y="16333"/>
                      <a:pt x="69385" y="16333"/>
                    </a:cubicBezTo>
                    <a:cubicBezTo>
                      <a:pt x="63351" y="16333"/>
                      <a:pt x="60335" y="16333"/>
                      <a:pt x="60335" y="16333"/>
                    </a:cubicBezTo>
                    <a:cubicBezTo>
                      <a:pt x="51284" y="16333"/>
                      <a:pt x="6033" y="16333"/>
                      <a:pt x="6033" y="16333"/>
                    </a:cubicBezTo>
                    <a:cubicBezTo>
                      <a:pt x="3016" y="16333"/>
                      <a:pt x="0" y="13317"/>
                      <a:pt x="0" y="10300"/>
                    </a:cubicBezTo>
                    <a:cubicBezTo>
                      <a:pt x="0" y="7283"/>
                      <a:pt x="3016" y="4266"/>
                      <a:pt x="6033" y="4266"/>
                    </a:cubicBezTo>
                    <a:cubicBezTo>
                      <a:pt x="18100" y="4266"/>
                      <a:pt x="54301" y="7283"/>
                      <a:pt x="60335" y="4266"/>
                    </a:cubicBezTo>
                    <a:cubicBezTo>
                      <a:pt x="63351" y="4266"/>
                      <a:pt x="66368" y="4266"/>
                      <a:pt x="69385" y="4266"/>
                    </a:cubicBezTo>
                    <a:cubicBezTo>
                      <a:pt x="93519" y="1250"/>
                      <a:pt x="123686" y="-1767"/>
                      <a:pt x="132737" y="1250"/>
                    </a:cubicBezTo>
                    <a:cubicBezTo>
                      <a:pt x="141787" y="4266"/>
                      <a:pt x="153854" y="10300"/>
                      <a:pt x="159888" y="19350"/>
                    </a:cubicBezTo>
                    <a:cubicBezTo>
                      <a:pt x="162905" y="25383"/>
                      <a:pt x="162905" y="28400"/>
                      <a:pt x="159888" y="34433"/>
                    </a:cubicBezTo>
                    <a:cubicBezTo>
                      <a:pt x="147821" y="46501"/>
                      <a:pt x="108603" y="49517"/>
                      <a:pt x="93519" y="49517"/>
                    </a:cubicBezTo>
                    <a:cubicBezTo>
                      <a:pt x="93519" y="49517"/>
                      <a:pt x="93519" y="49517"/>
                      <a:pt x="93519" y="49517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CDB03BBD-F9B1-434D-8207-4BF568654711}"/>
                </a:ext>
              </a:extLst>
            </p:cNvPr>
            <p:cNvSpPr/>
            <p:nvPr/>
          </p:nvSpPr>
          <p:spPr>
            <a:xfrm>
              <a:off x="11842161" y="10717331"/>
              <a:ext cx="290081" cy="512345"/>
            </a:xfrm>
            <a:custGeom>
              <a:avLst/>
              <a:gdLst>
                <a:gd name="connsiteX0" fmla="*/ 281031 w 290081"/>
                <a:gd name="connsiteY0" fmla="*/ 322447 h 512345"/>
                <a:gd name="connsiteX1" fmla="*/ 244830 w 290081"/>
                <a:gd name="connsiteY1" fmla="*/ 289263 h 512345"/>
                <a:gd name="connsiteX2" fmla="*/ 250863 w 290081"/>
                <a:gd name="connsiteY2" fmla="*/ 198760 h 512345"/>
                <a:gd name="connsiteX3" fmla="*/ 253880 w 290081"/>
                <a:gd name="connsiteY3" fmla="*/ 132391 h 512345"/>
                <a:gd name="connsiteX4" fmla="*/ 196562 w 290081"/>
                <a:gd name="connsiteY4" fmla="*/ 53955 h 512345"/>
                <a:gd name="connsiteX5" fmla="*/ 175444 w 290081"/>
                <a:gd name="connsiteY5" fmla="*/ 11721 h 512345"/>
                <a:gd name="connsiteX6" fmla="*/ 72875 w 290081"/>
                <a:gd name="connsiteY6" fmla="*/ 8704 h 512345"/>
                <a:gd name="connsiteX7" fmla="*/ 63825 w 290081"/>
                <a:gd name="connsiteY7" fmla="*/ 17755 h 512345"/>
                <a:gd name="connsiteX8" fmla="*/ 60808 w 290081"/>
                <a:gd name="connsiteY8" fmla="*/ 23788 h 512345"/>
                <a:gd name="connsiteX9" fmla="*/ 6505 w 290081"/>
                <a:gd name="connsiteY9" fmla="*/ 102224 h 512345"/>
                <a:gd name="connsiteX10" fmla="*/ 30640 w 290081"/>
                <a:gd name="connsiteY10" fmla="*/ 159542 h 512345"/>
                <a:gd name="connsiteX11" fmla="*/ 18573 w 290081"/>
                <a:gd name="connsiteY11" fmla="*/ 213844 h 512345"/>
                <a:gd name="connsiteX12" fmla="*/ 473 w 290081"/>
                <a:gd name="connsiteY12" fmla="*/ 259096 h 512345"/>
                <a:gd name="connsiteX13" fmla="*/ 48741 w 290081"/>
                <a:gd name="connsiteY13" fmla="*/ 316414 h 512345"/>
                <a:gd name="connsiteX14" fmla="*/ 27623 w 290081"/>
                <a:gd name="connsiteY14" fmla="*/ 406917 h 512345"/>
                <a:gd name="connsiteX15" fmla="*/ 115109 w 290081"/>
                <a:gd name="connsiteY15" fmla="*/ 455185 h 512345"/>
                <a:gd name="connsiteX16" fmla="*/ 217679 w 290081"/>
                <a:gd name="connsiteY16" fmla="*/ 503452 h 512345"/>
                <a:gd name="connsiteX17" fmla="*/ 247846 w 290081"/>
                <a:gd name="connsiteY17" fmla="*/ 452168 h 512345"/>
                <a:gd name="connsiteX18" fmla="*/ 241813 w 290081"/>
                <a:gd name="connsiteY18" fmla="*/ 418984 h 512345"/>
                <a:gd name="connsiteX19" fmla="*/ 265947 w 290081"/>
                <a:gd name="connsiteY19" fmla="*/ 394850 h 512345"/>
                <a:gd name="connsiteX20" fmla="*/ 290082 w 290081"/>
                <a:gd name="connsiteY20" fmla="*/ 352614 h 512345"/>
                <a:gd name="connsiteX21" fmla="*/ 281031 w 290081"/>
                <a:gd name="connsiteY21" fmla="*/ 322447 h 512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0081" h="512345">
                  <a:moveTo>
                    <a:pt x="281031" y="322447"/>
                  </a:moveTo>
                  <a:cubicBezTo>
                    <a:pt x="271981" y="310380"/>
                    <a:pt x="259914" y="298313"/>
                    <a:pt x="244830" y="289263"/>
                  </a:cubicBezTo>
                  <a:cubicBezTo>
                    <a:pt x="229746" y="256079"/>
                    <a:pt x="232762" y="225911"/>
                    <a:pt x="250863" y="198760"/>
                  </a:cubicBezTo>
                  <a:cubicBezTo>
                    <a:pt x="256897" y="174626"/>
                    <a:pt x="271981" y="159542"/>
                    <a:pt x="253880" y="132391"/>
                  </a:cubicBezTo>
                  <a:cubicBezTo>
                    <a:pt x="232762" y="105241"/>
                    <a:pt x="211646" y="90157"/>
                    <a:pt x="196562" y="53955"/>
                  </a:cubicBezTo>
                  <a:cubicBezTo>
                    <a:pt x="190528" y="35855"/>
                    <a:pt x="196562" y="26805"/>
                    <a:pt x="175444" y="11721"/>
                  </a:cubicBezTo>
                  <a:cubicBezTo>
                    <a:pt x="145277" y="-6380"/>
                    <a:pt x="103042" y="-346"/>
                    <a:pt x="72875" y="8704"/>
                  </a:cubicBezTo>
                  <a:cubicBezTo>
                    <a:pt x="66841" y="8704"/>
                    <a:pt x="63825" y="11721"/>
                    <a:pt x="63825" y="17755"/>
                  </a:cubicBezTo>
                  <a:cubicBezTo>
                    <a:pt x="63825" y="20771"/>
                    <a:pt x="60808" y="20771"/>
                    <a:pt x="60808" y="23788"/>
                  </a:cubicBezTo>
                  <a:cubicBezTo>
                    <a:pt x="48741" y="56972"/>
                    <a:pt x="3489" y="63006"/>
                    <a:pt x="6505" y="102224"/>
                  </a:cubicBezTo>
                  <a:cubicBezTo>
                    <a:pt x="6505" y="138425"/>
                    <a:pt x="21589" y="132391"/>
                    <a:pt x="30640" y="159542"/>
                  </a:cubicBezTo>
                  <a:cubicBezTo>
                    <a:pt x="39690" y="180660"/>
                    <a:pt x="36673" y="186693"/>
                    <a:pt x="18573" y="213844"/>
                  </a:cubicBezTo>
                  <a:cubicBezTo>
                    <a:pt x="9522" y="228928"/>
                    <a:pt x="-2544" y="237978"/>
                    <a:pt x="473" y="259096"/>
                  </a:cubicBezTo>
                  <a:cubicBezTo>
                    <a:pt x="9522" y="289263"/>
                    <a:pt x="42707" y="283229"/>
                    <a:pt x="48741" y="316414"/>
                  </a:cubicBezTo>
                  <a:cubicBezTo>
                    <a:pt x="54774" y="346581"/>
                    <a:pt x="15556" y="373732"/>
                    <a:pt x="27623" y="406917"/>
                  </a:cubicBezTo>
                  <a:cubicBezTo>
                    <a:pt x="42707" y="446134"/>
                    <a:pt x="87958" y="434067"/>
                    <a:pt x="115109" y="455185"/>
                  </a:cubicBezTo>
                  <a:cubicBezTo>
                    <a:pt x="145277" y="479319"/>
                    <a:pt x="163377" y="533620"/>
                    <a:pt x="217679" y="503452"/>
                  </a:cubicBezTo>
                  <a:cubicBezTo>
                    <a:pt x="235779" y="494403"/>
                    <a:pt x="247846" y="473285"/>
                    <a:pt x="247846" y="452168"/>
                  </a:cubicBezTo>
                  <a:cubicBezTo>
                    <a:pt x="247846" y="446134"/>
                    <a:pt x="241813" y="425017"/>
                    <a:pt x="241813" y="418984"/>
                  </a:cubicBezTo>
                  <a:cubicBezTo>
                    <a:pt x="244830" y="406917"/>
                    <a:pt x="250863" y="406917"/>
                    <a:pt x="265947" y="394850"/>
                  </a:cubicBezTo>
                  <a:cubicBezTo>
                    <a:pt x="278014" y="382782"/>
                    <a:pt x="290082" y="373732"/>
                    <a:pt x="290082" y="352614"/>
                  </a:cubicBezTo>
                  <a:cubicBezTo>
                    <a:pt x="290082" y="334515"/>
                    <a:pt x="287065" y="331498"/>
                    <a:pt x="281031" y="322447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C8F411A9-5AA5-471D-8882-701F8857379F}"/>
                </a:ext>
              </a:extLst>
            </p:cNvPr>
            <p:cNvSpPr/>
            <p:nvPr/>
          </p:nvSpPr>
          <p:spPr>
            <a:xfrm>
              <a:off x="11902754" y="10682203"/>
              <a:ext cx="113908" cy="52883"/>
            </a:xfrm>
            <a:custGeom>
              <a:avLst/>
              <a:gdLst>
                <a:gd name="connsiteX0" fmla="*/ 99768 w 113908"/>
                <a:gd name="connsiteY0" fmla="*/ 4615 h 52883"/>
                <a:gd name="connsiteX1" fmla="*/ 21332 w 113908"/>
                <a:gd name="connsiteY1" fmla="*/ 7632 h 52883"/>
                <a:gd name="connsiteX2" fmla="*/ 6248 w 113908"/>
                <a:gd name="connsiteY2" fmla="*/ 43833 h 52883"/>
                <a:gd name="connsiteX3" fmla="*/ 18316 w 113908"/>
                <a:gd name="connsiteY3" fmla="*/ 52884 h 52883"/>
                <a:gd name="connsiteX4" fmla="*/ 93735 w 113908"/>
                <a:gd name="connsiteY4" fmla="*/ 52884 h 52883"/>
                <a:gd name="connsiteX5" fmla="*/ 108818 w 113908"/>
                <a:gd name="connsiteY5" fmla="*/ 40816 h 52883"/>
                <a:gd name="connsiteX6" fmla="*/ 99768 w 113908"/>
                <a:gd name="connsiteY6" fmla="*/ 4615 h 52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908" h="52883">
                  <a:moveTo>
                    <a:pt x="99768" y="4615"/>
                  </a:moveTo>
                  <a:cubicBezTo>
                    <a:pt x="78651" y="-4435"/>
                    <a:pt x="45466" y="1598"/>
                    <a:pt x="21332" y="7632"/>
                  </a:cubicBezTo>
                  <a:cubicBezTo>
                    <a:pt x="6248" y="10648"/>
                    <a:pt x="-8836" y="31766"/>
                    <a:pt x="6248" y="43833"/>
                  </a:cubicBezTo>
                  <a:cubicBezTo>
                    <a:pt x="9265" y="49867"/>
                    <a:pt x="12282" y="52884"/>
                    <a:pt x="18316" y="52884"/>
                  </a:cubicBezTo>
                  <a:cubicBezTo>
                    <a:pt x="42449" y="49867"/>
                    <a:pt x="66583" y="49867"/>
                    <a:pt x="93735" y="52884"/>
                  </a:cubicBezTo>
                  <a:cubicBezTo>
                    <a:pt x="102785" y="52884"/>
                    <a:pt x="108818" y="46850"/>
                    <a:pt x="108818" y="40816"/>
                  </a:cubicBezTo>
                  <a:cubicBezTo>
                    <a:pt x="117868" y="28749"/>
                    <a:pt x="114851" y="13665"/>
                    <a:pt x="99768" y="4615"/>
                  </a:cubicBezTo>
                  <a:close/>
                </a:path>
              </a:pathLst>
            </a:custGeom>
            <a:solidFill>
              <a:srgbClr val="7F95BC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491485686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374BAB3A-09C3-4676-987B-F3E47359685D}"/>
              </a:ext>
            </a:extLst>
          </p:cNvPr>
          <p:cNvGrpSpPr/>
          <p:nvPr/>
        </p:nvGrpSpPr>
        <p:grpSpPr>
          <a:xfrm>
            <a:off x="1903665" y="2228309"/>
            <a:ext cx="3813200" cy="4629691"/>
            <a:chOff x="18805316" y="7906400"/>
            <a:chExt cx="3813200" cy="4629691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1C018A1E-AE70-496D-B41B-C7569A344BDD}"/>
                </a:ext>
              </a:extLst>
            </p:cNvPr>
            <p:cNvSpPr/>
            <p:nvPr/>
          </p:nvSpPr>
          <p:spPr>
            <a:xfrm>
              <a:off x="21142299" y="8205533"/>
              <a:ext cx="353671" cy="1107988"/>
            </a:xfrm>
            <a:custGeom>
              <a:avLst/>
              <a:gdLst>
                <a:gd name="connsiteX0" fmla="*/ 206145 w 353671"/>
                <a:gd name="connsiteY0" fmla="*/ 1093576 h 1107988"/>
                <a:gd name="connsiteX1" fmla="*/ 332850 w 353671"/>
                <a:gd name="connsiteY1" fmla="*/ 939721 h 1107988"/>
                <a:gd name="connsiteX2" fmla="*/ 188044 w 353671"/>
                <a:gd name="connsiteY2" fmla="*/ 493240 h 1107988"/>
                <a:gd name="connsiteX3" fmla="*/ 127709 w 353671"/>
                <a:gd name="connsiteY3" fmla="*/ 7542 h 1107988"/>
                <a:gd name="connsiteX4" fmla="*/ 4022 w 353671"/>
                <a:gd name="connsiteY4" fmla="*/ 1508 h 1107988"/>
                <a:gd name="connsiteX5" fmla="*/ 4022 w 353671"/>
                <a:gd name="connsiteY5" fmla="*/ 505308 h 1107988"/>
                <a:gd name="connsiteX6" fmla="*/ 206145 w 353671"/>
                <a:gd name="connsiteY6" fmla="*/ 1093576 h 1107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3671" h="1107988">
                  <a:moveTo>
                    <a:pt x="206145" y="1093576"/>
                  </a:moveTo>
                  <a:cubicBezTo>
                    <a:pt x="381117" y="1141844"/>
                    <a:pt x="366033" y="1063408"/>
                    <a:pt x="332850" y="939721"/>
                  </a:cubicBezTo>
                  <a:cubicBezTo>
                    <a:pt x="296648" y="806984"/>
                    <a:pt x="188044" y="526425"/>
                    <a:pt x="188044" y="493240"/>
                  </a:cubicBezTo>
                  <a:cubicBezTo>
                    <a:pt x="166928" y="396704"/>
                    <a:pt x="127709" y="7542"/>
                    <a:pt x="127709" y="7542"/>
                  </a:cubicBezTo>
                  <a:cubicBezTo>
                    <a:pt x="97541" y="-4525"/>
                    <a:pt x="4022" y="1508"/>
                    <a:pt x="4022" y="1508"/>
                  </a:cubicBezTo>
                  <a:cubicBezTo>
                    <a:pt x="4022" y="1508"/>
                    <a:pt x="-5028" y="369553"/>
                    <a:pt x="4022" y="505308"/>
                  </a:cubicBezTo>
                  <a:cubicBezTo>
                    <a:pt x="1006" y="574693"/>
                    <a:pt x="28156" y="1045307"/>
                    <a:pt x="206145" y="1093576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" name="图形 1">
              <a:extLst>
                <a:ext uri="{FF2B5EF4-FFF2-40B4-BE49-F238E27FC236}">
                  <a16:creationId xmlns:a16="http://schemas.microsoft.com/office/drawing/2014/main" id="{C3BAF113-1049-439E-897E-1B6971B148E1}"/>
                </a:ext>
              </a:extLst>
            </p:cNvPr>
            <p:cNvGrpSpPr/>
            <p:nvPr/>
          </p:nvGrpSpPr>
          <p:grpSpPr>
            <a:xfrm>
              <a:off x="21123070" y="7906400"/>
              <a:ext cx="240964" cy="351588"/>
              <a:chOff x="21123070" y="7906400"/>
              <a:chExt cx="240964" cy="351588"/>
            </a:xfrm>
          </p:grpSpPr>
          <p:grpSp>
            <p:nvGrpSpPr>
              <p:cNvPr id="41" name="图形 1">
                <a:extLst>
                  <a:ext uri="{FF2B5EF4-FFF2-40B4-BE49-F238E27FC236}">
                    <a16:creationId xmlns:a16="http://schemas.microsoft.com/office/drawing/2014/main" id="{54AE4175-996F-407A-99CB-C52D50895E97}"/>
                  </a:ext>
                </a:extLst>
              </p:cNvPr>
              <p:cNvGrpSpPr/>
              <p:nvPr/>
            </p:nvGrpSpPr>
            <p:grpSpPr>
              <a:xfrm>
                <a:off x="21129729" y="7906400"/>
                <a:ext cx="234305" cy="351588"/>
                <a:chOff x="21129729" y="7906400"/>
                <a:chExt cx="234305" cy="351588"/>
              </a:xfrm>
            </p:grpSpPr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8C05CEFE-642F-44DF-9D86-961C11465248}"/>
                    </a:ext>
                  </a:extLst>
                </p:cNvPr>
                <p:cNvSpPr/>
                <p:nvPr/>
              </p:nvSpPr>
              <p:spPr>
                <a:xfrm>
                  <a:off x="21129729" y="7915004"/>
                  <a:ext cx="234305" cy="342985"/>
                </a:xfrm>
                <a:custGeom>
                  <a:avLst/>
                  <a:gdLst>
                    <a:gd name="connsiteX0" fmla="*/ 1508 w 234305"/>
                    <a:gd name="connsiteY0" fmla="*/ 186451 h 342985"/>
                    <a:gd name="connsiteX1" fmla="*/ 22626 w 234305"/>
                    <a:gd name="connsiteY1" fmla="*/ 313155 h 342985"/>
                    <a:gd name="connsiteX2" fmla="*/ 116145 w 234305"/>
                    <a:gd name="connsiteY2" fmla="*/ 340306 h 342985"/>
                    <a:gd name="connsiteX3" fmla="*/ 230781 w 234305"/>
                    <a:gd name="connsiteY3" fmla="*/ 213602 h 342985"/>
                    <a:gd name="connsiteX4" fmla="*/ 200614 w 234305"/>
                    <a:gd name="connsiteY4" fmla="*/ 192485 h 342985"/>
                    <a:gd name="connsiteX5" fmla="*/ 140279 w 234305"/>
                    <a:gd name="connsiteY5" fmla="*/ 237736 h 342985"/>
                    <a:gd name="connsiteX6" fmla="*/ 143297 w 234305"/>
                    <a:gd name="connsiteY6" fmla="*/ 59747 h 342985"/>
                    <a:gd name="connsiteX7" fmla="*/ 122179 w 234305"/>
                    <a:gd name="connsiteY7" fmla="*/ 38630 h 342985"/>
                    <a:gd name="connsiteX8" fmla="*/ 116145 w 234305"/>
                    <a:gd name="connsiteY8" fmla="*/ 80864 h 342985"/>
                    <a:gd name="connsiteX9" fmla="*/ 110111 w 234305"/>
                    <a:gd name="connsiteY9" fmla="*/ 138183 h 342985"/>
                    <a:gd name="connsiteX10" fmla="*/ 98045 w 234305"/>
                    <a:gd name="connsiteY10" fmla="*/ 62764 h 342985"/>
                    <a:gd name="connsiteX11" fmla="*/ 85977 w 234305"/>
                    <a:gd name="connsiteY11" fmla="*/ 11479 h 342985"/>
                    <a:gd name="connsiteX12" fmla="*/ 61844 w 234305"/>
                    <a:gd name="connsiteY12" fmla="*/ 2429 h 342985"/>
                    <a:gd name="connsiteX13" fmla="*/ 46760 w 234305"/>
                    <a:gd name="connsiteY13" fmla="*/ 26563 h 342985"/>
                    <a:gd name="connsiteX14" fmla="*/ 43744 w 234305"/>
                    <a:gd name="connsiteY14" fmla="*/ 23546 h 342985"/>
                    <a:gd name="connsiteX15" fmla="*/ 31676 w 234305"/>
                    <a:gd name="connsiteY15" fmla="*/ 20529 h 342985"/>
                    <a:gd name="connsiteX16" fmla="*/ 25642 w 234305"/>
                    <a:gd name="connsiteY16" fmla="*/ 65780 h 342985"/>
                    <a:gd name="connsiteX17" fmla="*/ 28660 w 234305"/>
                    <a:gd name="connsiteY17" fmla="*/ 92931 h 342985"/>
                    <a:gd name="connsiteX18" fmla="*/ 25642 w 234305"/>
                    <a:gd name="connsiteY18" fmla="*/ 86898 h 342985"/>
                    <a:gd name="connsiteX19" fmla="*/ 7542 w 234305"/>
                    <a:gd name="connsiteY19" fmla="*/ 77848 h 342985"/>
                    <a:gd name="connsiteX20" fmla="*/ 1508 w 234305"/>
                    <a:gd name="connsiteY20" fmla="*/ 186451 h 3429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34305" h="342985">
                      <a:moveTo>
                        <a:pt x="1508" y="186451"/>
                      </a:moveTo>
                      <a:cubicBezTo>
                        <a:pt x="4524" y="228686"/>
                        <a:pt x="-7541" y="282987"/>
                        <a:pt x="22626" y="313155"/>
                      </a:cubicBezTo>
                      <a:cubicBezTo>
                        <a:pt x="43744" y="334272"/>
                        <a:pt x="88995" y="349356"/>
                        <a:pt x="116145" y="340306"/>
                      </a:cubicBezTo>
                      <a:cubicBezTo>
                        <a:pt x="158380" y="325222"/>
                        <a:pt x="173464" y="252820"/>
                        <a:pt x="230781" y="213602"/>
                      </a:cubicBezTo>
                      <a:cubicBezTo>
                        <a:pt x="242849" y="204551"/>
                        <a:pt x="221732" y="183434"/>
                        <a:pt x="200614" y="192485"/>
                      </a:cubicBezTo>
                      <a:cubicBezTo>
                        <a:pt x="176480" y="204551"/>
                        <a:pt x="152346" y="222652"/>
                        <a:pt x="140279" y="237736"/>
                      </a:cubicBezTo>
                      <a:cubicBezTo>
                        <a:pt x="137263" y="177401"/>
                        <a:pt x="158380" y="120082"/>
                        <a:pt x="143297" y="59747"/>
                      </a:cubicBezTo>
                      <a:cubicBezTo>
                        <a:pt x="140279" y="50697"/>
                        <a:pt x="131229" y="23546"/>
                        <a:pt x="122179" y="38630"/>
                      </a:cubicBezTo>
                      <a:cubicBezTo>
                        <a:pt x="116145" y="47680"/>
                        <a:pt x="116145" y="68797"/>
                        <a:pt x="116145" y="80864"/>
                      </a:cubicBezTo>
                      <a:cubicBezTo>
                        <a:pt x="113129" y="98965"/>
                        <a:pt x="113129" y="120082"/>
                        <a:pt x="110111" y="138183"/>
                      </a:cubicBezTo>
                      <a:cubicBezTo>
                        <a:pt x="107095" y="114049"/>
                        <a:pt x="101061" y="89914"/>
                        <a:pt x="98045" y="62764"/>
                      </a:cubicBezTo>
                      <a:cubicBezTo>
                        <a:pt x="95027" y="47680"/>
                        <a:pt x="95027" y="26563"/>
                        <a:pt x="85977" y="11479"/>
                      </a:cubicBezTo>
                      <a:cubicBezTo>
                        <a:pt x="79943" y="2429"/>
                        <a:pt x="70894" y="-3605"/>
                        <a:pt x="61844" y="2429"/>
                      </a:cubicBezTo>
                      <a:cubicBezTo>
                        <a:pt x="52794" y="5445"/>
                        <a:pt x="49776" y="14495"/>
                        <a:pt x="46760" y="26563"/>
                      </a:cubicBezTo>
                      <a:cubicBezTo>
                        <a:pt x="46760" y="26563"/>
                        <a:pt x="46760" y="26563"/>
                        <a:pt x="43744" y="23546"/>
                      </a:cubicBezTo>
                      <a:cubicBezTo>
                        <a:pt x="43744" y="23546"/>
                        <a:pt x="34692" y="20529"/>
                        <a:pt x="31676" y="20529"/>
                      </a:cubicBezTo>
                      <a:cubicBezTo>
                        <a:pt x="19608" y="32596"/>
                        <a:pt x="25642" y="47680"/>
                        <a:pt x="25642" y="65780"/>
                      </a:cubicBezTo>
                      <a:cubicBezTo>
                        <a:pt x="25642" y="74831"/>
                        <a:pt x="28660" y="83881"/>
                        <a:pt x="28660" y="92931"/>
                      </a:cubicBezTo>
                      <a:cubicBezTo>
                        <a:pt x="28660" y="89914"/>
                        <a:pt x="25642" y="89914"/>
                        <a:pt x="25642" y="86898"/>
                      </a:cubicBezTo>
                      <a:cubicBezTo>
                        <a:pt x="22626" y="80864"/>
                        <a:pt x="16592" y="77848"/>
                        <a:pt x="7542" y="77848"/>
                      </a:cubicBezTo>
                      <a:cubicBezTo>
                        <a:pt x="-4525" y="80864"/>
                        <a:pt x="1508" y="162317"/>
                        <a:pt x="1508" y="186451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4B1D5E5F-98F0-4FF8-946E-58A49598E63D}"/>
                    </a:ext>
                  </a:extLst>
                </p:cNvPr>
                <p:cNvSpPr/>
                <p:nvPr/>
              </p:nvSpPr>
              <p:spPr>
                <a:xfrm>
                  <a:off x="21206656" y="8146706"/>
                  <a:ext cx="45251" cy="48268"/>
                </a:xfrm>
                <a:custGeom>
                  <a:avLst/>
                  <a:gdLst>
                    <a:gd name="connsiteX0" fmla="*/ 6034 w 45251"/>
                    <a:gd name="connsiteY0" fmla="*/ 48268 h 48268"/>
                    <a:gd name="connsiteX1" fmla="*/ 6034 w 45251"/>
                    <a:gd name="connsiteY1" fmla="*/ 48268 h 48268"/>
                    <a:gd name="connsiteX2" fmla="*/ 0 w 45251"/>
                    <a:gd name="connsiteY2" fmla="*/ 42235 h 48268"/>
                    <a:gd name="connsiteX3" fmla="*/ 39218 w 45251"/>
                    <a:gd name="connsiteY3" fmla="*/ 0 h 48268"/>
                    <a:gd name="connsiteX4" fmla="*/ 45251 w 45251"/>
                    <a:gd name="connsiteY4" fmla="*/ 6034 h 48268"/>
                    <a:gd name="connsiteX5" fmla="*/ 39218 w 45251"/>
                    <a:gd name="connsiteY5" fmla="*/ 12067 h 48268"/>
                    <a:gd name="connsiteX6" fmla="*/ 9050 w 45251"/>
                    <a:gd name="connsiteY6" fmla="*/ 42235 h 48268"/>
                    <a:gd name="connsiteX7" fmla="*/ 6034 w 45251"/>
                    <a:gd name="connsiteY7" fmla="*/ 48268 h 482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5251" h="48268">
                      <a:moveTo>
                        <a:pt x="6034" y="48268"/>
                      </a:moveTo>
                      <a:cubicBezTo>
                        <a:pt x="6034" y="48268"/>
                        <a:pt x="6034" y="48268"/>
                        <a:pt x="6034" y="48268"/>
                      </a:cubicBezTo>
                      <a:cubicBezTo>
                        <a:pt x="3016" y="48268"/>
                        <a:pt x="0" y="45251"/>
                        <a:pt x="0" y="42235"/>
                      </a:cubicBezTo>
                      <a:cubicBezTo>
                        <a:pt x="3016" y="12067"/>
                        <a:pt x="27152" y="3017"/>
                        <a:pt x="39218" y="0"/>
                      </a:cubicBezTo>
                      <a:cubicBezTo>
                        <a:pt x="42235" y="0"/>
                        <a:pt x="45251" y="3017"/>
                        <a:pt x="45251" y="6034"/>
                      </a:cubicBezTo>
                      <a:cubicBezTo>
                        <a:pt x="45251" y="9050"/>
                        <a:pt x="42235" y="12067"/>
                        <a:pt x="39218" y="12067"/>
                      </a:cubicBezTo>
                      <a:cubicBezTo>
                        <a:pt x="39218" y="12067"/>
                        <a:pt x="12068" y="15084"/>
                        <a:pt x="9050" y="42235"/>
                      </a:cubicBezTo>
                      <a:cubicBezTo>
                        <a:pt x="12068" y="45251"/>
                        <a:pt x="9050" y="48268"/>
                        <a:pt x="6034" y="48268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EB147070-DB73-4B0E-9766-95646357BA37}"/>
                    </a:ext>
                  </a:extLst>
                </p:cNvPr>
                <p:cNvSpPr/>
                <p:nvPr/>
              </p:nvSpPr>
              <p:spPr>
                <a:xfrm>
                  <a:off x="21176488" y="7906400"/>
                  <a:ext cx="78435" cy="149802"/>
                </a:xfrm>
                <a:custGeom>
                  <a:avLst/>
                  <a:gdLst>
                    <a:gd name="connsiteX0" fmla="*/ 63351 w 78435"/>
                    <a:gd name="connsiteY0" fmla="*/ 149803 h 149802"/>
                    <a:gd name="connsiteX1" fmla="*/ 57319 w 78435"/>
                    <a:gd name="connsiteY1" fmla="*/ 143769 h 149802"/>
                    <a:gd name="connsiteX2" fmla="*/ 30168 w 78435"/>
                    <a:gd name="connsiteY2" fmla="*/ 14049 h 149802"/>
                    <a:gd name="connsiteX3" fmla="*/ 18100 w 78435"/>
                    <a:gd name="connsiteY3" fmla="*/ 11032 h 149802"/>
                    <a:gd name="connsiteX4" fmla="*/ 12068 w 78435"/>
                    <a:gd name="connsiteY4" fmla="*/ 26116 h 149802"/>
                    <a:gd name="connsiteX5" fmla="*/ 6034 w 78435"/>
                    <a:gd name="connsiteY5" fmla="*/ 32149 h 149802"/>
                    <a:gd name="connsiteX6" fmla="*/ 6034 w 78435"/>
                    <a:gd name="connsiteY6" fmla="*/ 32149 h 149802"/>
                    <a:gd name="connsiteX7" fmla="*/ 0 w 78435"/>
                    <a:gd name="connsiteY7" fmla="*/ 26116 h 149802"/>
                    <a:gd name="connsiteX8" fmla="*/ 12068 w 78435"/>
                    <a:gd name="connsiteY8" fmla="*/ 1982 h 149802"/>
                    <a:gd name="connsiteX9" fmla="*/ 36201 w 78435"/>
                    <a:gd name="connsiteY9" fmla="*/ 4999 h 149802"/>
                    <a:gd name="connsiteX10" fmla="*/ 60335 w 78435"/>
                    <a:gd name="connsiteY10" fmla="*/ 92484 h 149802"/>
                    <a:gd name="connsiteX11" fmla="*/ 66369 w 78435"/>
                    <a:gd name="connsiteY11" fmla="*/ 41200 h 149802"/>
                    <a:gd name="connsiteX12" fmla="*/ 72403 w 78435"/>
                    <a:gd name="connsiteY12" fmla="*/ 35166 h 149802"/>
                    <a:gd name="connsiteX13" fmla="*/ 78435 w 78435"/>
                    <a:gd name="connsiteY13" fmla="*/ 41200 h 149802"/>
                    <a:gd name="connsiteX14" fmla="*/ 66369 w 78435"/>
                    <a:gd name="connsiteY14" fmla="*/ 140753 h 149802"/>
                    <a:gd name="connsiteX15" fmla="*/ 63351 w 78435"/>
                    <a:gd name="connsiteY15" fmla="*/ 149803 h 149802"/>
                    <a:gd name="connsiteX16" fmla="*/ 63351 w 78435"/>
                    <a:gd name="connsiteY16" fmla="*/ 149803 h 149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78435" h="149802">
                      <a:moveTo>
                        <a:pt x="63351" y="149803"/>
                      </a:moveTo>
                      <a:cubicBezTo>
                        <a:pt x="60335" y="149803"/>
                        <a:pt x="57319" y="146786"/>
                        <a:pt x="57319" y="143769"/>
                      </a:cubicBezTo>
                      <a:cubicBezTo>
                        <a:pt x="51285" y="86451"/>
                        <a:pt x="36201" y="20082"/>
                        <a:pt x="30168" y="14049"/>
                      </a:cubicBezTo>
                      <a:cubicBezTo>
                        <a:pt x="27152" y="11032"/>
                        <a:pt x="21118" y="11032"/>
                        <a:pt x="18100" y="11032"/>
                      </a:cubicBezTo>
                      <a:cubicBezTo>
                        <a:pt x="15084" y="14049"/>
                        <a:pt x="12068" y="20082"/>
                        <a:pt x="12068" y="26116"/>
                      </a:cubicBezTo>
                      <a:cubicBezTo>
                        <a:pt x="12068" y="29132"/>
                        <a:pt x="9050" y="32149"/>
                        <a:pt x="6034" y="32149"/>
                      </a:cubicBezTo>
                      <a:cubicBezTo>
                        <a:pt x="6034" y="32149"/>
                        <a:pt x="6034" y="32149"/>
                        <a:pt x="6034" y="32149"/>
                      </a:cubicBezTo>
                      <a:cubicBezTo>
                        <a:pt x="3016" y="32149"/>
                        <a:pt x="0" y="29132"/>
                        <a:pt x="0" y="26116"/>
                      </a:cubicBezTo>
                      <a:cubicBezTo>
                        <a:pt x="0" y="14049"/>
                        <a:pt x="6034" y="4999"/>
                        <a:pt x="12068" y="1982"/>
                      </a:cubicBezTo>
                      <a:cubicBezTo>
                        <a:pt x="18100" y="-1035"/>
                        <a:pt x="27152" y="-1035"/>
                        <a:pt x="36201" y="4999"/>
                      </a:cubicBezTo>
                      <a:cubicBezTo>
                        <a:pt x="45251" y="11032"/>
                        <a:pt x="54301" y="53267"/>
                        <a:pt x="60335" y="92484"/>
                      </a:cubicBezTo>
                      <a:cubicBezTo>
                        <a:pt x="63351" y="65334"/>
                        <a:pt x="66369" y="44216"/>
                        <a:pt x="66369" y="41200"/>
                      </a:cubicBezTo>
                      <a:cubicBezTo>
                        <a:pt x="66369" y="38183"/>
                        <a:pt x="69385" y="35166"/>
                        <a:pt x="72403" y="35166"/>
                      </a:cubicBezTo>
                      <a:cubicBezTo>
                        <a:pt x="75419" y="35166"/>
                        <a:pt x="78435" y="38183"/>
                        <a:pt x="78435" y="41200"/>
                      </a:cubicBezTo>
                      <a:cubicBezTo>
                        <a:pt x="78435" y="41200"/>
                        <a:pt x="66369" y="104551"/>
                        <a:pt x="66369" y="140753"/>
                      </a:cubicBezTo>
                      <a:cubicBezTo>
                        <a:pt x="69385" y="149803"/>
                        <a:pt x="66369" y="149803"/>
                        <a:pt x="63351" y="149803"/>
                      </a:cubicBezTo>
                      <a:lnTo>
                        <a:pt x="63351" y="149803"/>
                      </a:lnTo>
                      <a:close/>
                    </a:path>
                  </a:pathLst>
                </a:custGeom>
                <a:solidFill>
                  <a:srgbClr val="E58777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CC89FE28-1137-4A6B-BE59-11651A6FD572}"/>
                  </a:ext>
                </a:extLst>
              </p:cNvPr>
              <p:cNvSpPr/>
              <p:nvPr/>
            </p:nvSpPr>
            <p:spPr>
              <a:xfrm>
                <a:off x="21123070" y="7984555"/>
                <a:ext cx="54601" cy="116899"/>
              </a:xfrm>
              <a:custGeom>
                <a:avLst/>
                <a:gdLst>
                  <a:gd name="connsiteX0" fmla="*/ 47384 w 54601"/>
                  <a:gd name="connsiteY0" fmla="*/ 116899 h 116899"/>
                  <a:gd name="connsiteX1" fmla="*/ 41350 w 54601"/>
                  <a:gd name="connsiteY1" fmla="*/ 113883 h 116899"/>
                  <a:gd name="connsiteX2" fmla="*/ 35318 w 54601"/>
                  <a:gd name="connsiteY2" fmla="*/ 65614 h 116899"/>
                  <a:gd name="connsiteX3" fmla="*/ 32301 w 54601"/>
                  <a:gd name="connsiteY3" fmla="*/ 29413 h 116899"/>
                  <a:gd name="connsiteX4" fmla="*/ 26267 w 54601"/>
                  <a:gd name="connsiteY4" fmla="*/ 14330 h 116899"/>
                  <a:gd name="connsiteX5" fmla="*/ 20235 w 54601"/>
                  <a:gd name="connsiteY5" fmla="*/ 14330 h 116899"/>
                  <a:gd name="connsiteX6" fmla="*/ 14201 w 54601"/>
                  <a:gd name="connsiteY6" fmla="*/ 104832 h 116899"/>
                  <a:gd name="connsiteX7" fmla="*/ 8167 w 54601"/>
                  <a:gd name="connsiteY7" fmla="*/ 110866 h 116899"/>
                  <a:gd name="connsiteX8" fmla="*/ 2133 w 54601"/>
                  <a:gd name="connsiteY8" fmla="*/ 104832 h 116899"/>
                  <a:gd name="connsiteX9" fmla="*/ 17217 w 54601"/>
                  <a:gd name="connsiteY9" fmla="*/ 2263 h 116899"/>
                  <a:gd name="connsiteX10" fmla="*/ 35318 w 54601"/>
                  <a:gd name="connsiteY10" fmla="*/ 2263 h 116899"/>
                  <a:gd name="connsiteX11" fmla="*/ 47384 w 54601"/>
                  <a:gd name="connsiteY11" fmla="*/ 26396 h 116899"/>
                  <a:gd name="connsiteX12" fmla="*/ 50402 w 54601"/>
                  <a:gd name="connsiteY12" fmla="*/ 62598 h 116899"/>
                  <a:gd name="connsiteX13" fmla="*/ 53418 w 54601"/>
                  <a:gd name="connsiteY13" fmla="*/ 107849 h 116899"/>
                  <a:gd name="connsiteX14" fmla="*/ 47384 w 54601"/>
                  <a:gd name="connsiteY14" fmla="*/ 116899 h 116899"/>
                  <a:gd name="connsiteX15" fmla="*/ 47384 w 54601"/>
                  <a:gd name="connsiteY15" fmla="*/ 116899 h 116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4601" h="116899">
                    <a:moveTo>
                      <a:pt x="47384" y="116899"/>
                    </a:moveTo>
                    <a:cubicBezTo>
                      <a:pt x="44368" y="116899"/>
                      <a:pt x="41350" y="113883"/>
                      <a:pt x="41350" y="113883"/>
                    </a:cubicBezTo>
                    <a:cubicBezTo>
                      <a:pt x="38334" y="104832"/>
                      <a:pt x="38334" y="83715"/>
                      <a:pt x="35318" y="65614"/>
                    </a:cubicBezTo>
                    <a:cubicBezTo>
                      <a:pt x="35318" y="50531"/>
                      <a:pt x="32301" y="35447"/>
                      <a:pt x="32301" y="29413"/>
                    </a:cubicBezTo>
                    <a:cubicBezTo>
                      <a:pt x="32301" y="20363"/>
                      <a:pt x="29285" y="14330"/>
                      <a:pt x="26267" y="14330"/>
                    </a:cubicBezTo>
                    <a:cubicBezTo>
                      <a:pt x="26267" y="14330"/>
                      <a:pt x="23251" y="14330"/>
                      <a:pt x="20235" y="14330"/>
                    </a:cubicBezTo>
                    <a:cubicBezTo>
                      <a:pt x="14201" y="17347"/>
                      <a:pt x="11183" y="59581"/>
                      <a:pt x="14201" y="104832"/>
                    </a:cubicBezTo>
                    <a:cubicBezTo>
                      <a:pt x="14201" y="107849"/>
                      <a:pt x="11183" y="110866"/>
                      <a:pt x="8167" y="110866"/>
                    </a:cubicBezTo>
                    <a:cubicBezTo>
                      <a:pt x="5151" y="110866"/>
                      <a:pt x="2133" y="107849"/>
                      <a:pt x="2133" y="104832"/>
                    </a:cubicBezTo>
                    <a:cubicBezTo>
                      <a:pt x="-883" y="77682"/>
                      <a:pt x="-3901" y="11313"/>
                      <a:pt x="17217" y="2263"/>
                    </a:cubicBezTo>
                    <a:cubicBezTo>
                      <a:pt x="26267" y="-754"/>
                      <a:pt x="32301" y="-754"/>
                      <a:pt x="35318" y="2263"/>
                    </a:cubicBezTo>
                    <a:cubicBezTo>
                      <a:pt x="41350" y="5279"/>
                      <a:pt x="47384" y="14330"/>
                      <a:pt x="47384" y="26396"/>
                    </a:cubicBezTo>
                    <a:cubicBezTo>
                      <a:pt x="47384" y="32430"/>
                      <a:pt x="50402" y="47514"/>
                      <a:pt x="50402" y="62598"/>
                    </a:cubicBezTo>
                    <a:cubicBezTo>
                      <a:pt x="50402" y="80698"/>
                      <a:pt x="53418" y="101815"/>
                      <a:pt x="53418" y="107849"/>
                    </a:cubicBezTo>
                    <a:cubicBezTo>
                      <a:pt x="56434" y="110866"/>
                      <a:pt x="53418" y="113883"/>
                      <a:pt x="47384" y="116899"/>
                    </a:cubicBezTo>
                    <a:cubicBezTo>
                      <a:pt x="50402" y="116899"/>
                      <a:pt x="50402" y="116899"/>
                      <a:pt x="47384" y="116899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44996D2E-5A55-40C2-BAB8-A29A466CD828}"/>
                  </a:ext>
                </a:extLst>
              </p:cNvPr>
              <p:cNvSpPr/>
              <p:nvPr/>
            </p:nvSpPr>
            <p:spPr>
              <a:xfrm>
                <a:off x="21149656" y="7922216"/>
                <a:ext cx="61200" cy="161138"/>
              </a:xfrm>
              <a:custGeom>
                <a:avLst/>
                <a:gdLst>
                  <a:gd name="connsiteX0" fmla="*/ 53984 w 61200"/>
                  <a:gd name="connsiteY0" fmla="*/ 161138 h 161138"/>
                  <a:gd name="connsiteX1" fmla="*/ 47950 w 61200"/>
                  <a:gd name="connsiteY1" fmla="*/ 155105 h 161138"/>
                  <a:gd name="connsiteX2" fmla="*/ 38900 w 61200"/>
                  <a:gd name="connsiteY2" fmla="*/ 100803 h 161138"/>
                  <a:gd name="connsiteX3" fmla="*/ 38900 w 61200"/>
                  <a:gd name="connsiteY3" fmla="*/ 91752 h 161138"/>
                  <a:gd name="connsiteX4" fmla="*/ 32866 w 61200"/>
                  <a:gd name="connsiteY4" fmla="*/ 31417 h 161138"/>
                  <a:gd name="connsiteX5" fmla="*/ 17783 w 61200"/>
                  <a:gd name="connsiteY5" fmla="*/ 16333 h 161138"/>
                  <a:gd name="connsiteX6" fmla="*/ 14765 w 61200"/>
                  <a:gd name="connsiteY6" fmla="*/ 16333 h 161138"/>
                  <a:gd name="connsiteX7" fmla="*/ 14765 w 61200"/>
                  <a:gd name="connsiteY7" fmla="*/ 70635 h 161138"/>
                  <a:gd name="connsiteX8" fmla="*/ 8733 w 61200"/>
                  <a:gd name="connsiteY8" fmla="*/ 76669 h 161138"/>
                  <a:gd name="connsiteX9" fmla="*/ 2699 w 61200"/>
                  <a:gd name="connsiteY9" fmla="*/ 70635 h 161138"/>
                  <a:gd name="connsiteX10" fmla="*/ 8733 w 61200"/>
                  <a:gd name="connsiteY10" fmla="*/ 4267 h 161138"/>
                  <a:gd name="connsiteX11" fmla="*/ 23817 w 61200"/>
                  <a:gd name="connsiteY11" fmla="*/ 1250 h 161138"/>
                  <a:gd name="connsiteX12" fmla="*/ 44932 w 61200"/>
                  <a:gd name="connsiteY12" fmla="*/ 25384 h 161138"/>
                  <a:gd name="connsiteX13" fmla="*/ 50966 w 61200"/>
                  <a:gd name="connsiteY13" fmla="*/ 88736 h 161138"/>
                  <a:gd name="connsiteX14" fmla="*/ 50966 w 61200"/>
                  <a:gd name="connsiteY14" fmla="*/ 97786 h 161138"/>
                  <a:gd name="connsiteX15" fmla="*/ 60016 w 61200"/>
                  <a:gd name="connsiteY15" fmla="*/ 152088 h 161138"/>
                  <a:gd name="connsiteX16" fmla="*/ 53984 w 61200"/>
                  <a:gd name="connsiteY16" fmla="*/ 161138 h 161138"/>
                  <a:gd name="connsiteX17" fmla="*/ 53984 w 61200"/>
                  <a:gd name="connsiteY17" fmla="*/ 161138 h 161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1200" h="161138">
                    <a:moveTo>
                      <a:pt x="53984" y="161138"/>
                    </a:moveTo>
                    <a:cubicBezTo>
                      <a:pt x="50966" y="161138"/>
                      <a:pt x="47950" y="158121"/>
                      <a:pt x="47950" y="155105"/>
                    </a:cubicBezTo>
                    <a:cubicBezTo>
                      <a:pt x="47950" y="152088"/>
                      <a:pt x="38900" y="109853"/>
                      <a:pt x="38900" y="100803"/>
                    </a:cubicBezTo>
                    <a:cubicBezTo>
                      <a:pt x="38900" y="97786"/>
                      <a:pt x="38900" y="94769"/>
                      <a:pt x="38900" y="91752"/>
                    </a:cubicBezTo>
                    <a:cubicBezTo>
                      <a:pt x="38900" y="76669"/>
                      <a:pt x="35882" y="40468"/>
                      <a:pt x="32866" y="31417"/>
                    </a:cubicBezTo>
                    <a:cubicBezTo>
                      <a:pt x="29849" y="25384"/>
                      <a:pt x="23817" y="16333"/>
                      <a:pt x="17783" y="16333"/>
                    </a:cubicBezTo>
                    <a:cubicBezTo>
                      <a:pt x="17783" y="16333"/>
                      <a:pt x="14765" y="16333"/>
                      <a:pt x="14765" y="16333"/>
                    </a:cubicBezTo>
                    <a:cubicBezTo>
                      <a:pt x="11749" y="19350"/>
                      <a:pt x="11749" y="46501"/>
                      <a:pt x="14765" y="70635"/>
                    </a:cubicBezTo>
                    <a:cubicBezTo>
                      <a:pt x="14765" y="73652"/>
                      <a:pt x="11749" y="76669"/>
                      <a:pt x="8733" y="76669"/>
                    </a:cubicBezTo>
                    <a:cubicBezTo>
                      <a:pt x="5715" y="76669"/>
                      <a:pt x="2699" y="73652"/>
                      <a:pt x="2699" y="70635"/>
                    </a:cubicBezTo>
                    <a:cubicBezTo>
                      <a:pt x="-319" y="52534"/>
                      <a:pt x="-3335" y="13317"/>
                      <a:pt x="8733" y="4267"/>
                    </a:cubicBezTo>
                    <a:cubicBezTo>
                      <a:pt x="11749" y="1250"/>
                      <a:pt x="17783" y="-1767"/>
                      <a:pt x="23817" y="1250"/>
                    </a:cubicBezTo>
                    <a:cubicBezTo>
                      <a:pt x="32866" y="4267"/>
                      <a:pt x="41916" y="13317"/>
                      <a:pt x="44932" y="25384"/>
                    </a:cubicBezTo>
                    <a:cubicBezTo>
                      <a:pt x="47950" y="34434"/>
                      <a:pt x="50966" y="64602"/>
                      <a:pt x="50966" y="88736"/>
                    </a:cubicBezTo>
                    <a:cubicBezTo>
                      <a:pt x="50966" y="94769"/>
                      <a:pt x="50966" y="97786"/>
                      <a:pt x="50966" y="97786"/>
                    </a:cubicBezTo>
                    <a:cubicBezTo>
                      <a:pt x="50966" y="103819"/>
                      <a:pt x="57000" y="140021"/>
                      <a:pt x="60016" y="152088"/>
                    </a:cubicBezTo>
                    <a:cubicBezTo>
                      <a:pt x="63034" y="155105"/>
                      <a:pt x="60016" y="158121"/>
                      <a:pt x="53984" y="161138"/>
                    </a:cubicBezTo>
                    <a:cubicBezTo>
                      <a:pt x="57000" y="161138"/>
                      <a:pt x="57000" y="161138"/>
                      <a:pt x="53984" y="161138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90059017-A396-42BE-AC58-4FE715945310}"/>
                </a:ext>
              </a:extLst>
            </p:cNvPr>
            <p:cNvSpPr/>
            <p:nvPr/>
          </p:nvSpPr>
          <p:spPr>
            <a:xfrm>
              <a:off x="21197606" y="9048717"/>
              <a:ext cx="369686" cy="474910"/>
            </a:xfrm>
            <a:custGeom>
              <a:avLst/>
              <a:gdLst>
                <a:gd name="connsiteX0" fmla="*/ 0 w 369686"/>
                <a:gd name="connsiteY0" fmla="*/ 117653 h 474910"/>
                <a:gd name="connsiteX1" fmla="*/ 319776 w 369686"/>
                <a:gd name="connsiteY1" fmla="*/ 467597 h 474910"/>
                <a:gd name="connsiteX2" fmla="*/ 280558 w 369686"/>
                <a:gd name="connsiteY2" fmla="*/ 0 h 474910"/>
                <a:gd name="connsiteX3" fmla="*/ 0 w 369686"/>
                <a:gd name="connsiteY3" fmla="*/ 117653 h 47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9686" h="474910">
                  <a:moveTo>
                    <a:pt x="0" y="117653"/>
                  </a:moveTo>
                  <a:cubicBezTo>
                    <a:pt x="75419" y="289609"/>
                    <a:pt x="184022" y="518883"/>
                    <a:pt x="319776" y="467597"/>
                  </a:cubicBezTo>
                  <a:cubicBezTo>
                    <a:pt x="416313" y="431397"/>
                    <a:pt x="355977" y="165922"/>
                    <a:pt x="280558" y="0"/>
                  </a:cubicBezTo>
                  <a:cubicBezTo>
                    <a:pt x="205139" y="6033"/>
                    <a:pt x="66369" y="39218"/>
                    <a:pt x="0" y="117653"/>
                  </a:cubicBezTo>
                  <a:close/>
                </a:path>
              </a:pathLst>
            </a:custGeom>
            <a:solidFill>
              <a:srgbClr val="D1615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B2D4B39D-E522-4F0D-824D-6FA2B5E06AF3}"/>
                </a:ext>
              </a:extLst>
            </p:cNvPr>
            <p:cNvSpPr/>
            <p:nvPr/>
          </p:nvSpPr>
          <p:spPr>
            <a:xfrm>
              <a:off x="18805316" y="12174080"/>
              <a:ext cx="3529608" cy="362011"/>
            </a:xfrm>
            <a:custGeom>
              <a:avLst/>
              <a:gdLst>
                <a:gd name="connsiteX0" fmla="*/ 0 w 3529608"/>
                <a:gd name="connsiteY0" fmla="*/ 343910 h 362011"/>
                <a:gd name="connsiteX1" fmla="*/ 3529609 w 3529608"/>
                <a:gd name="connsiteY1" fmla="*/ 362011 h 362011"/>
                <a:gd name="connsiteX2" fmla="*/ 2965475 w 3529608"/>
                <a:gd name="connsiteY2" fmla="*/ 18101 h 362011"/>
                <a:gd name="connsiteX3" fmla="*/ 564133 w 3529608"/>
                <a:gd name="connsiteY3" fmla="*/ 0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9608" h="362011">
                  <a:moveTo>
                    <a:pt x="0" y="343910"/>
                  </a:moveTo>
                  <a:lnTo>
                    <a:pt x="3529609" y="362011"/>
                  </a:lnTo>
                  <a:lnTo>
                    <a:pt x="2965475" y="18101"/>
                  </a:lnTo>
                  <a:lnTo>
                    <a:pt x="564133" y="0"/>
                  </a:ln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3B1859B2-1791-454D-ADDD-C5EB3A326882}"/>
                </a:ext>
              </a:extLst>
            </p:cNvPr>
            <p:cNvSpPr/>
            <p:nvPr/>
          </p:nvSpPr>
          <p:spPr>
            <a:xfrm>
              <a:off x="21360331" y="12083817"/>
              <a:ext cx="413837" cy="280785"/>
            </a:xfrm>
            <a:custGeom>
              <a:avLst/>
              <a:gdLst>
                <a:gd name="connsiteX0" fmla="*/ 175152 w 413837"/>
                <a:gd name="connsiteY0" fmla="*/ 126464 h 280785"/>
                <a:gd name="connsiteX1" fmla="*/ 129901 w 413837"/>
                <a:gd name="connsiteY1" fmla="*/ 5794 h 280785"/>
                <a:gd name="connsiteX2" fmla="*/ 179 w 413837"/>
                <a:gd name="connsiteY2" fmla="*/ 17861 h 280785"/>
                <a:gd name="connsiteX3" fmla="*/ 30346 w 413837"/>
                <a:gd name="connsiteY3" fmla="*/ 159649 h 280785"/>
                <a:gd name="connsiteX4" fmla="*/ 33364 w 413837"/>
                <a:gd name="connsiteY4" fmla="*/ 268251 h 280785"/>
                <a:gd name="connsiteX5" fmla="*/ 413475 w 413837"/>
                <a:gd name="connsiteY5" fmla="*/ 274285 h 280785"/>
                <a:gd name="connsiteX6" fmla="*/ 175152 w 413837"/>
                <a:gd name="connsiteY6" fmla="*/ 126464 h 28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3837" h="280785">
                  <a:moveTo>
                    <a:pt x="175152" y="126464"/>
                  </a:moveTo>
                  <a:cubicBezTo>
                    <a:pt x="166100" y="105346"/>
                    <a:pt x="135933" y="14844"/>
                    <a:pt x="129901" y="5794"/>
                  </a:cubicBezTo>
                  <a:cubicBezTo>
                    <a:pt x="117833" y="-9290"/>
                    <a:pt x="3197" y="8811"/>
                    <a:pt x="179" y="17861"/>
                  </a:cubicBezTo>
                  <a:cubicBezTo>
                    <a:pt x="-2837" y="41994"/>
                    <a:pt x="33364" y="153615"/>
                    <a:pt x="30346" y="159649"/>
                  </a:cubicBezTo>
                  <a:cubicBezTo>
                    <a:pt x="30346" y="159649"/>
                    <a:pt x="6213" y="262218"/>
                    <a:pt x="33364" y="268251"/>
                  </a:cubicBezTo>
                  <a:cubicBezTo>
                    <a:pt x="60514" y="274285"/>
                    <a:pt x="410459" y="289369"/>
                    <a:pt x="413475" y="274285"/>
                  </a:cubicBezTo>
                  <a:cubicBezTo>
                    <a:pt x="422525" y="216967"/>
                    <a:pt x="259621" y="186799"/>
                    <a:pt x="175152" y="126464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8BD85C29-DC34-4866-A29D-E9309F65E3F7}"/>
                </a:ext>
              </a:extLst>
            </p:cNvPr>
            <p:cNvSpPr/>
            <p:nvPr/>
          </p:nvSpPr>
          <p:spPr>
            <a:xfrm>
              <a:off x="19332625" y="12086457"/>
              <a:ext cx="408099" cy="278145"/>
            </a:xfrm>
            <a:custGeom>
              <a:avLst/>
              <a:gdLst>
                <a:gd name="connsiteX0" fmla="*/ 238947 w 408099"/>
                <a:gd name="connsiteY0" fmla="*/ 123825 h 278145"/>
                <a:gd name="connsiteX1" fmla="*/ 278165 w 408099"/>
                <a:gd name="connsiteY1" fmla="*/ 9187 h 278145"/>
                <a:gd name="connsiteX2" fmla="*/ 407887 w 408099"/>
                <a:gd name="connsiteY2" fmla="*/ 9187 h 278145"/>
                <a:gd name="connsiteX3" fmla="*/ 383751 w 408099"/>
                <a:gd name="connsiteY3" fmla="*/ 157009 h 278145"/>
                <a:gd name="connsiteX4" fmla="*/ 380735 w 408099"/>
                <a:gd name="connsiteY4" fmla="*/ 265612 h 278145"/>
                <a:gd name="connsiteX5" fmla="*/ 624 w 408099"/>
                <a:gd name="connsiteY5" fmla="*/ 271646 h 278145"/>
                <a:gd name="connsiteX6" fmla="*/ 238947 w 408099"/>
                <a:gd name="connsiteY6" fmla="*/ 123825 h 278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099" h="278145">
                  <a:moveTo>
                    <a:pt x="238947" y="123825"/>
                  </a:moveTo>
                  <a:cubicBezTo>
                    <a:pt x="247997" y="102707"/>
                    <a:pt x="269115" y="21255"/>
                    <a:pt x="278165" y="9187"/>
                  </a:cubicBezTo>
                  <a:cubicBezTo>
                    <a:pt x="290232" y="-5896"/>
                    <a:pt x="407887" y="138"/>
                    <a:pt x="407887" y="9187"/>
                  </a:cubicBezTo>
                  <a:cubicBezTo>
                    <a:pt x="410903" y="33322"/>
                    <a:pt x="380735" y="150976"/>
                    <a:pt x="383751" y="157009"/>
                  </a:cubicBezTo>
                  <a:cubicBezTo>
                    <a:pt x="383751" y="157009"/>
                    <a:pt x="407887" y="259579"/>
                    <a:pt x="380735" y="265612"/>
                  </a:cubicBezTo>
                  <a:cubicBezTo>
                    <a:pt x="353584" y="271646"/>
                    <a:pt x="3640" y="286730"/>
                    <a:pt x="624" y="271646"/>
                  </a:cubicBezTo>
                  <a:cubicBezTo>
                    <a:pt x="-11444" y="214328"/>
                    <a:pt x="154478" y="184160"/>
                    <a:pt x="238947" y="123825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2E61C9D0-CE46-4AC2-820A-75CB6A3C6F67}"/>
                </a:ext>
              </a:extLst>
            </p:cNvPr>
            <p:cNvSpPr/>
            <p:nvPr/>
          </p:nvSpPr>
          <p:spPr>
            <a:xfrm>
              <a:off x="22181069" y="9533021"/>
              <a:ext cx="437447" cy="929484"/>
            </a:xfrm>
            <a:custGeom>
              <a:avLst/>
              <a:gdLst>
                <a:gd name="connsiteX0" fmla="*/ 0 w 437447"/>
                <a:gd name="connsiteY0" fmla="*/ 7428 h 929484"/>
                <a:gd name="connsiteX1" fmla="*/ 349945 w 437447"/>
                <a:gd name="connsiteY1" fmla="*/ 170333 h 929484"/>
                <a:gd name="connsiteX2" fmla="*/ 371061 w 437447"/>
                <a:gd name="connsiteY2" fmla="*/ 616813 h 929484"/>
                <a:gd name="connsiteX3" fmla="*/ 328828 w 437447"/>
                <a:gd name="connsiteY3" fmla="*/ 921506 h 929484"/>
                <a:gd name="connsiteX4" fmla="*/ 39218 w 437447"/>
                <a:gd name="connsiteY4" fmla="*/ 770668 h 929484"/>
                <a:gd name="connsiteX5" fmla="*/ 78437 w 437447"/>
                <a:gd name="connsiteY5" fmla="*/ 251786 h 929484"/>
                <a:gd name="connsiteX6" fmla="*/ 0 w 437447"/>
                <a:gd name="connsiteY6" fmla="*/ 7428 h 929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7447" h="929484">
                  <a:moveTo>
                    <a:pt x="0" y="7428"/>
                  </a:moveTo>
                  <a:cubicBezTo>
                    <a:pt x="0" y="7428"/>
                    <a:pt x="159888" y="-52907"/>
                    <a:pt x="349945" y="170333"/>
                  </a:cubicBezTo>
                  <a:cubicBezTo>
                    <a:pt x="470616" y="309104"/>
                    <a:pt x="455532" y="517260"/>
                    <a:pt x="371061" y="616813"/>
                  </a:cubicBezTo>
                  <a:cubicBezTo>
                    <a:pt x="283576" y="716367"/>
                    <a:pt x="253409" y="827986"/>
                    <a:pt x="328828" y="921506"/>
                  </a:cubicBezTo>
                  <a:cubicBezTo>
                    <a:pt x="328828" y="921506"/>
                    <a:pt x="57319" y="981841"/>
                    <a:pt x="39218" y="770668"/>
                  </a:cubicBezTo>
                  <a:cubicBezTo>
                    <a:pt x="30168" y="683182"/>
                    <a:pt x="144804" y="384523"/>
                    <a:pt x="78437" y="251786"/>
                  </a:cubicBezTo>
                  <a:cubicBezTo>
                    <a:pt x="15084" y="122065"/>
                    <a:pt x="0" y="7428"/>
                    <a:pt x="0" y="7428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449A4FB0-7996-4E6E-966B-3077FF334B86}"/>
                </a:ext>
              </a:extLst>
            </p:cNvPr>
            <p:cNvSpPr/>
            <p:nvPr/>
          </p:nvSpPr>
          <p:spPr>
            <a:xfrm>
              <a:off x="19574590" y="9745589"/>
              <a:ext cx="1972959" cy="2407374"/>
            </a:xfrm>
            <a:custGeom>
              <a:avLst/>
              <a:gdLst>
                <a:gd name="connsiteX0" fmla="*/ 1297207 w 1972959"/>
                <a:gd name="connsiteY0" fmla="*/ 177989 h 2407374"/>
                <a:gd name="connsiteX1" fmla="*/ 772290 w 1972959"/>
                <a:gd name="connsiteY1" fmla="*/ 0 h 2407374"/>
                <a:gd name="connsiteX2" fmla="*/ 491731 w 1972959"/>
                <a:gd name="connsiteY2" fmla="*/ 365028 h 2407374"/>
                <a:gd name="connsiteX3" fmla="*/ 0 w 1972959"/>
                <a:gd name="connsiteY3" fmla="*/ 2407375 h 2407374"/>
                <a:gd name="connsiteX4" fmla="*/ 177988 w 1972959"/>
                <a:gd name="connsiteY4" fmla="*/ 2407375 h 2407374"/>
                <a:gd name="connsiteX5" fmla="*/ 956311 w 1972959"/>
                <a:gd name="connsiteY5" fmla="*/ 564134 h 2407374"/>
                <a:gd name="connsiteX6" fmla="*/ 1779888 w 1972959"/>
                <a:gd name="connsiteY6" fmla="*/ 2398324 h 2407374"/>
                <a:gd name="connsiteX7" fmla="*/ 1972960 w 1972959"/>
                <a:gd name="connsiteY7" fmla="*/ 2398324 h 2407374"/>
                <a:gd name="connsiteX8" fmla="*/ 1405809 w 1972959"/>
                <a:gd name="connsiteY8" fmla="*/ 289609 h 2407374"/>
                <a:gd name="connsiteX9" fmla="*/ 1297207 w 1972959"/>
                <a:gd name="connsiteY9" fmla="*/ 177989 h 240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2959" h="2407374">
                  <a:moveTo>
                    <a:pt x="1297207" y="177989"/>
                  </a:moveTo>
                  <a:lnTo>
                    <a:pt x="772290" y="0"/>
                  </a:lnTo>
                  <a:cubicBezTo>
                    <a:pt x="772290" y="0"/>
                    <a:pt x="549049" y="144805"/>
                    <a:pt x="491731" y="365028"/>
                  </a:cubicBezTo>
                  <a:cubicBezTo>
                    <a:pt x="455530" y="512849"/>
                    <a:pt x="0" y="2407375"/>
                    <a:pt x="0" y="2407375"/>
                  </a:cubicBezTo>
                  <a:lnTo>
                    <a:pt x="177988" y="2407375"/>
                  </a:lnTo>
                  <a:lnTo>
                    <a:pt x="956311" y="564134"/>
                  </a:lnTo>
                  <a:lnTo>
                    <a:pt x="1779888" y="2398324"/>
                  </a:lnTo>
                  <a:lnTo>
                    <a:pt x="1972960" y="2398324"/>
                  </a:lnTo>
                  <a:cubicBezTo>
                    <a:pt x="1972960" y="2398324"/>
                    <a:pt x="1438993" y="428380"/>
                    <a:pt x="1405809" y="289609"/>
                  </a:cubicBezTo>
                  <a:cubicBezTo>
                    <a:pt x="1372626" y="171956"/>
                    <a:pt x="1297207" y="177989"/>
                    <a:pt x="1297207" y="177989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271CA411-8806-4A00-816E-6444909BFC5E}"/>
                </a:ext>
              </a:extLst>
            </p:cNvPr>
            <p:cNvSpPr/>
            <p:nvPr/>
          </p:nvSpPr>
          <p:spPr>
            <a:xfrm>
              <a:off x="20506767" y="10113634"/>
              <a:ext cx="850726" cy="2033295"/>
            </a:xfrm>
            <a:custGeom>
              <a:avLst/>
              <a:gdLst>
                <a:gd name="connsiteX0" fmla="*/ 844693 w 850726"/>
                <a:gd name="connsiteY0" fmla="*/ 2033296 h 2033295"/>
                <a:gd name="connsiteX1" fmla="*/ 838659 w 850726"/>
                <a:gd name="connsiteY1" fmla="*/ 2030279 h 2033295"/>
                <a:gd name="connsiteX2" fmla="*/ 15084 w 850726"/>
                <a:gd name="connsiteY2" fmla="*/ 196089 h 2033295"/>
                <a:gd name="connsiteX3" fmla="*/ 15084 w 850726"/>
                <a:gd name="connsiteY3" fmla="*/ 193072 h 2033295"/>
                <a:gd name="connsiteX4" fmla="*/ 0 w 850726"/>
                <a:gd name="connsiteY4" fmla="*/ 6033 h 2033295"/>
                <a:gd name="connsiteX5" fmla="*/ 6034 w 850726"/>
                <a:gd name="connsiteY5" fmla="*/ 0 h 2033295"/>
                <a:gd name="connsiteX6" fmla="*/ 12068 w 850726"/>
                <a:gd name="connsiteY6" fmla="*/ 6033 h 2033295"/>
                <a:gd name="connsiteX7" fmla="*/ 27152 w 850726"/>
                <a:gd name="connsiteY7" fmla="*/ 190056 h 2033295"/>
                <a:gd name="connsiteX8" fmla="*/ 850727 w 850726"/>
                <a:gd name="connsiteY8" fmla="*/ 2021229 h 2033295"/>
                <a:gd name="connsiteX9" fmla="*/ 844693 w 850726"/>
                <a:gd name="connsiteY9" fmla="*/ 2033296 h 2033295"/>
                <a:gd name="connsiteX10" fmla="*/ 844693 w 850726"/>
                <a:gd name="connsiteY10" fmla="*/ 2033296 h 203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0726" h="2033295">
                  <a:moveTo>
                    <a:pt x="844693" y="2033296"/>
                  </a:moveTo>
                  <a:cubicBezTo>
                    <a:pt x="841677" y="2033296"/>
                    <a:pt x="841677" y="2033296"/>
                    <a:pt x="838659" y="2030279"/>
                  </a:cubicBezTo>
                  <a:lnTo>
                    <a:pt x="15084" y="196089"/>
                  </a:lnTo>
                  <a:cubicBezTo>
                    <a:pt x="15084" y="196089"/>
                    <a:pt x="15084" y="196089"/>
                    <a:pt x="15084" y="193072"/>
                  </a:cubicBezTo>
                  <a:lnTo>
                    <a:pt x="0" y="6033"/>
                  </a:lnTo>
                  <a:cubicBezTo>
                    <a:pt x="0" y="3017"/>
                    <a:pt x="3018" y="0"/>
                    <a:pt x="6034" y="0"/>
                  </a:cubicBezTo>
                  <a:cubicBezTo>
                    <a:pt x="9050" y="0"/>
                    <a:pt x="12068" y="3017"/>
                    <a:pt x="12068" y="6033"/>
                  </a:cubicBezTo>
                  <a:lnTo>
                    <a:pt x="27152" y="190056"/>
                  </a:lnTo>
                  <a:lnTo>
                    <a:pt x="850727" y="2021229"/>
                  </a:lnTo>
                  <a:cubicBezTo>
                    <a:pt x="850727" y="2027262"/>
                    <a:pt x="850727" y="2033296"/>
                    <a:pt x="844693" y="2033296"/>
                  </a:cubicBezTo>
                  <a:cubicBezTo>
                    <a:pt x="847711" y="2033296"/>
                    <a:pt x="844693" y="2033296"/>
                    <a:pt x="844693" y="2033296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817934D2-1C5C-4B2C-B01E-9C3EE660E444}"/>
                </a:ext>
              </a:extLst>
            </p:cNvPr>
            <p:cNvSpPr/>
            <p:nvPr/>
          </p:nvSpPr>
          <p:spPr>
            <a:xfrm>
              <a:off x="20268445" y="9291606"/>
              <a:ext cx="1472525" cy="809800"/>
            </a:xfrm>
            <a:custGeom>
              <a:avLst/>
              <a:gdLst>
                <a:gd name="connsiteX0" fmla="*/ 1167485 w 1472525"/>
                <a:gd name="connsiteY0" fmla="*/ 746609 h 809800"/>
                <a:gd name="connsiteX1" fmla="*/ 1466145 w 1472525"/>
                <a:gd name="connsiteY1" fmla="*/ 631971 h 809800"/>
                <a:gd name="connsiteX2" fmla="*/ 1411843 w 1472525"/>
                <a:gd name="connsiteY2" fmla="*/ 266944 h 809800"/>
                <a:gd name="connsiteX3" fmla="*/ 1221788 w 1472525"/>
                <a:gd name="connsiteY3" fmla="*/ 16552 h 809800"/>
                <a:gd name="connsiteX4" fmla="*/ 696871 w 1472525"/>
                <a:gd name="connsiteY4" fmla="*/ 152307 h 809800"/>
                <a:gd name="connsiteX5" fmla="*/ 0 w 1472525"/>
                <a:gd name="connsiteY5" fmla="*/ 523369 h 809800"/>
                <a:gd name="connsiteX6" fmla="*/ 717988 w 1472525"/>
                <a:gd name="connsiteY6" fmla="*/ 806944 h 809800"/>
                <a:gd name="connsiteX7" fmla="*/ 1167485 w 1472525"/>
                <a:gd name="connsiteY7" fmla="*/ 746609 h 80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2525" h="809800">
                  <a:moveTo>
                    <a:pt x="1167485" y="746609"/>
                  </a:moveTo>
                  <a:cubicBezTo>
                    <a:pt x="1200670" y="746609"/>
                    <a:pt x="1445027" y="761692"/>
                    <a:pt x="1466145" y="631971"/>
                  </a:cubicBezTo>
                  <a:cubicBezTo>
                    <a:pt x="1484244" y="517335"/>
                    <a:pt x="1463129" y="372531"/>
                    <a:pt x="1411843" y="266944"/>
                  </a:cubicBezTo>
                  <a:cubicBezTo>
                    <a:pt x="1354524" y="149290"/>
                    <a:pt x="1294189" y="34653"/>
                    <a:pt x="1221788" y="16552"/>
                  </a:cubicBezTo>
                  <a:cubicBezTo>
                    <a:pt x="1010615" y="-28699"/>
                    <a:pt x="856759" y="19569"/>
                    <a:pt x="696871" y="152307"/>
                  </a:cubicBezTo>
                  <a:cubicBezTo>
                    <a:pt x="648603" y="191525"/>
                    <a:pt x="208155" y="282028"/>
                    <a:pt x="0" y="523369"/>
                  </a:cubicBezTo>
                  <a:cubicBezTo>
                    <a:pt x="0" y="523369"/>
                    <a:pt x="283574" y="843144"/>
                    <a:pt x="717988" y="806944"/>
                  </a:cubicBezTo>
                  <a:cubicBezTo>
                    <a:pt x="908044" y="704374"/>
                    <a:pt x="1143351" y="746609"/>
                    <a:pt x="1167485" y="746609"/>
                  </a:cubicBezTo>
                  <a:close/>
                </a:path>
              </a:pathLst>
            </a:custGeom>
            <a:solidFill>
              <a:srgbClr val="D1615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D066AB81-4506-4FBE-AC98-F0A3E4D8C794}"/>
                </a:ext>
              </a:extLst>
            </p:cNvPr>
            <p:cNvSpPr/>
            <p:nvPr/>
          </p:nvSpPr>
          <p:spPr>
            <a:xfrm>
              <a:off x="21769123" y="9192740"/>
              <a:ext cx="565852" cy="383211"/>
            </a:xfrm>
            <a:custGeom>
              <a:avLst/>
              <a:gdLst>
                <a:gd name="connsiteX0" fmla="*/ 261108 w 565852"/>
                <a:gd name="connsiteY0" fmla="*/ 248157 h 383211"/>
                <a:gd name="connsiteX1" fmla="*/ 411946 w 565852"/>
                <a:gd name="connsiteY1" fmla="*/ 248157 h 383211"/>
                <a:gd name="connsiteX2" fmla="*/ 565802 w 565852"/>
                <a:gd name="connsiteY2" fmla="*/ 239106 h 383211"/>
                <a:gd name="connsiteX3" fmla="*/ 306359 w 565852"/>
                <a:gd name="connsiteY3" fmla="*/ 782 h 383211"/>
                <a:gd name="connsiteX4" fmla="*/ 46919 w 565852"/>
                <a:gd name="connsiteY4" fmla="*/ 272291 h 383211"/>
                <a:gd name="connsiteX5" fmla="*/ 28817 w 565852"/>
                <a:gd name="connsiteY5" fmla="*/ 380894 h 383211"/>
                <a:gd name="connsiteX6" fmla="*/ 261108 w 565852"/>
                <a:gd name="connsiteY6" fmla="*/ 248157 h 38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5852" h="383211">
                  <a:moveTo>
                    <a:pt x="261108" y="248157"/>
                  </a:moveTo>
                  <a:cubicBezTo>
                    <a:pt x="312393" y="239106"/>
                    <a:pt x="360660" y="242123"/>
                    <a:pt x="411946" y="248157"/>
                  </a:cubicBezTo>
                  <a:cubicBezTo>
                    <a:pt x="466247" y="254190"/>
                    <a:pt x="565802" y="239106"/>
                    <a:pt x="565802" y="239106"/>
                  </a:cubicBezTo>
                  <a:cubicBezTo>
                    <a:pt x="568818" y="118436"/>
                    <a:pt x="436079" y="-11285"/>
                    <a:pt x="306359" y="782"/>
                  </a:cubicBezTo>
                  <a:cubicBezTo>
                    <a:pt x="239990" y="6816"/>
                    <a:pt x="52952" y="36983"/>
                    <a:pt x="46919" y="272291"/>
                  </a:cubicBezTo>
                  <a:cubicBezTo>
                    <a:pt x="1667" y="389944"/>
                    <a:pt x="-22467" y="386927"/>
                    <a:pt x="28817" y="380894"/>
                  </a:cubicBezTo>
                  <a:cubicBezTo>
                    <a:pt x="71052" y="371843"/>
                    <a:pt x="209822" y="257207"/>
                    <a:pt x="261108" y="248157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3F5330ED-4BBB-475F-900D-7060D880D4D6}"/>
                </a:ext>
              </a:extLst>
            </p:cNvPr>
            <p:cNvSpPr/>
            <p:nvPr/>
          </p:nvSpPr>
          <p:spPr>
            <a:xfrm>
              <a:off x="21744325" y="9265444"/>
              <a:ext cx="558450" cy="431449"/>
            </a:xfrm>
            <a:custGeom>
              <a:avLst/>
              <a:gdLst>
                <a:gd name="connsiteX0" fmla="*/ 313058 w 558450"/>
                <a:gd name="connsiteY0" fmla="*/ 480 h 431449"/>
                <a:gd name="connsiteX1" fmla="*/ 77751 w 558450"/>
                <a:gd name="connsiteY1" fmla="*/ 90983 h 431449"/>
                <a:gd name="connsiteX2" fmla="*/ 2332 w 558450"/>
                <a:gd name="connsiteY2" fmla="*/ 271988 h 431449"/>
                <a:gd name="connsiteX3" fmla="*/ 207472 w 558450"/>
                <a:gd name="connsiteY3" fmla="*/ 428860 h 431449"/>
                <a:gd name="connsiteX4" fmla="*/ 430711 w 558450"/>
                <a:gd name="connsiteY4" fmla="*/ 392659 h 431449"/>
                <a:gd name="connsiteX5" fmla="*/ 548365 w 558450"/>
                <a:gd name="connsiteY5" fmla="*/ 130201 h 431449"/>
                <a:gd name="connsiteX6" fmla="*/ 313058 w 558450"/>
                <a:gd name="connsiteY6" fmla="*/ 480 h 431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8450" h="431449">
                  <a:moveTo>
                    <a:pt x="313058" y="480"/>
                  </a:moveTo>
                  <a:cubicBezTo>
                    <a:pt x="313058" y="480"/>
                    <a:pt x="129035" y="36681"/>
                    <a:pt x="77751" y="90983"/>
                  </a:cubicBezTo>
                  <a:cubicBezTo>
                    <a:pt x="26466" y="145284"/>
                    <a:pt x="-9736" y="223720"/>
                    <a:pt x="2332" y="271988"/>
                  </a:cubicBezTo>
                  <a:cubicBezTo>
                    <a:pt x="17416" y="338357"/>
                    <a:pt x="132053" y="413776"/>
                    <a:pt x="207472" y="428860"/>
                  </a:cubicBezTo>
                  <a:cubicBezTo>
                    <a:pt x="282891" y="440927"/>
                    <a:pt x="382443" y="407742"/>
                    <a:pt x="430711" y="392659"/>
                  </a:cubicBezTo>
                  <a:cubicBezTo>
                    <a:pt x="518197" y="359474"/>
                    <a:pt x="584567" y="311206"/>
                    <a:pt x="548365" y="130201"/>
                  </a:cubicBezTo>
                  <a:cubicBezTo>
                    <a:pt x="530265" y="45731"/>
                    <a:pt x="391493" y="-5554"/>
                    <a:pt x="313058" y="480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0A408E7E-0E14-43FB-A537-7E1879F8D80A}"/>
                </a:ext>
              </a:extLst>
            </p:cNvPr>
            <p:cNvSpPr/>
            <p:nvPr/>
          </p:nvSpPr>
          <p:spPr>
            <a:xfrm>
              <a:off x="21899100" y="9437879"/>
              <a:ext cx="128115" cy="69385"/>
            </a:xfrm>
            <a:custGeom>
              <a:avLst/>
              <a:gdLst>
                <a:gd name="connsiteX0" fmla="*/ 19511 w 128115"/>
                <a:gd name="connsiteY0" fmla="*/ 69386 h 69385"/>
                <a:gd name="connsiteX1" fmla="*/ 13479 w 128115"/>
                <a:gd name="connsiteY1" fmla="*/ 66369 h 69385"/>
                <a:gd name="connsiteX2" fmla="*/ 1411 w 128115"/>
                <a:gd name="connsiteY2" fmla="*/ 18100 h 69385"/>
                <a:gd name="connsiteX3" fmla="*/ 10461 w 128115"/>
                <a:gd name="connsiteY3" fmla="*/ 9050 h 69385"/>
                <a:gd name="connsiteX4" fmla="*/ 122081 w 128115"/>
                <a:gd name="connsiteY4" fmla="*/ 0 h 69385"/>
                <a:gd name="connsiteX5" fmla="*/ 122081 w 128115"/>
                <a:gd name="connsiteY5" fmla="*/ 0 h 69385"/>
                <a:gd name="connsiteX6" fmla="*/ 128115 w 128115"/>
                <a:gd name="connsiteY6" fmla="*/ 6033 h 69385"/>
                <a:gd name="connsiteX7" fmla="*/ 122081 w 128115"/>
                <a:gd name="connsiteY7" fmla="*/ 12067 h 69385"/>
                <a:gd name="connsiteX8" fmla="*/ 13479 w 128115"/>
                <a:gd name="connsiteY8" fmla="*/ 21117 h 69385"/>
                <a:gd name="connsiteX9" fmla="*/ 10461 w 128115"/>
                <a:gd name="connsiteY9" fmla="*/ 24134 h 69385"/>
                <a:gd name="connsiteX10" fmla="*/ 22529 w 128115"/>
                <a:gd name="connsiteY10" fmla="*/ 63352 h 69385"/>
                <a:gd name="connsiteX11" fmla="*/ 19511 w 128115"/>
                <a:gd name="connsiteY11" fmla="*/ 69386 h 69385"/>
                <a:gd name="connsiteX12" fmla="*/ 19511 w 128115"/>
                <a:gd name="connsiteY12" fmla="*/ 69386 h 69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8115" h="69385">
                  <a:moveTo>
                    <a:pt x="19511" y="69386"/>
                  </a:moveTo>
                  <a:cubicBezTo>
                    <a:pt x="16495" y="69386"/>
                    <a:pt x="16495" y="69386"/>
                    <a:pt x="13479" y="66369"/>
                  </a:cubicBezTo>
                  <a:cubicBezTo>
                    <a:pt x="10461" y="60336"/>
                    <a:pt x="-4623" y="33184"/>
                    <a:pt x="1411" y="18100"/>
                  </a:cubicBezTo>
                  <a:cubicBezTo>
                    <a:pt x="4427" y="12067"/>
                    <a:pt x="7445" y="9050"/>
                    <a:pt x="10461" y="9050"/>
                  </a:cubicBezTo>
                  <a:cubicBezTo>
                    <a:pt x="28563" y="3017"/>
                    <a:pt x="119065" y="0"/>
                    <a:pt x="122081" y="0"/>
                  </a:cubicBezTo>
                  <a:lnTo>
                    <a:pt x="122081" y="0"/>
                  </a:lnTo>
                  <a:cubicBezTo>
                    <a:pt x="125098" y="0"/>
                    <a:pt x="128115" y="3017"/>
                    <a:pt x="128115" y="6033"/>
                  </a:cubicBezTo>
                  <a:cubicBezTo>
                    <a:pt x="128115" y="9050"/>
                    <a:pt x="125098" y="12067"/>
                    <a:pt x="122081" y="12067"/>
                  </a:cubicBezTo>
                  <a:cubicBezTo>
                    <a:pt x="97948" y="12067"/>
                    <a:pt x="28563" y="15084"/>
                    <a:pt x="13479" y="21117"/>
                  </a:cubicBezTo>
                  <a:cubicBezTo>
                    <a:pt x="13479" y="21117"/>
                    <a:pt x="10461" y="21117"/>
                    <a:pt x="10461" y="24134"/>
                  </a:cubicBezTo>
                  <a:cubicBezTo>
                    <a:pt x="7445" y="30168"/>
                    <a:pt x="16495" y="51285"/>
                    <a:pt x="22529" y="63352"/>
                  </a:cubicBezTo>
                  <a:cubicBezTo>
                    <a:pt x="25545" y="63352"/>
                    <a:pt x="25545" y="66369"/>
                    <a:pt x="19511" y="69386"/>
                  </a:cubicBezTo>
                  <a:cubicBezTo>
                    <a:pt x="19511" y="69386"/>
                    <a:pt x="19511" y="69386"/>
                    <a:pt x="19511" y="69386"/>
                  </a:cubicBezTo>
                  <a:close/>
                </a:path>
              </a:pathLst>
            </a:custGeom>
            <a:solidFill>
              <a:srgbClr val="E58777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369287B4-10AA-41F3-A1B7-F3EF0ADE9B28}"/>
                </a:ext>
              </a:extLst>
            </p:cNvPr>
            <p:cNvSpPr/>
            <p:nvPr/>
          </p:nvSpPr>
          <p:spPr>
            <a:xfrm>
              <a:off x="21987998" y="9341343"/>
              <a:ext cx="39217" cy="39217"/>
            </a:xfrm>
            <a:custGeom>
              <a:avLst/>
              <a:gdLst>
                <a:gd name="connsiteX0" fmla="*/ 21116 w 39217"/>
                <a:gd name="connsiteY0" fmla="*/ 39218 h 39217"/>
                <a:gd name="connsiteX1" fmla="*/ 0 w 39217"/>
                <a:gd name="connsiteY1" fmla="*/ 21117 h 39217"/>
                <a:gd name="connsiteX2" fmla="*/ 18100 w 39217"/>
                <a:gd name="connsiteY2" fmla="*/ 0 h 39217"/>
                <a:gd name="connsiteX3" fmla="*/ 39218 w 39217"/>
                <a:gd name="connsiteY3" fmla="*/ 18101 h 39217"/>
                <a:gd name="connsiteX4" fmla="*/ 21116 w 39217"/>
                <a:gd name="connsiteY4" fmla="*/ 39218 h 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17" h="39217">
                  <a:moveTo>
                    <a:pt x="21116" y="39218"/>
                  </a:moveTo>
                  <a:cubicBezTo>
                    <a:pt x="9050" y="39218"/>
                    <a:pt x="0" y="33185"/>
                    <a:pt x="0" y="21117"/>
                  </a:cubicBezTo>
                  <a:cubicBezTo>
                    <a:pt x="0" y="9050"/>
                    <a:pt x="6032" y="0"/>
                    <a:pt x="18100" y="0"/>
                  </a:cubicBezTo>
                  <a:cubicBezTo>
                    <a:pt x="30168" y="0"/>
                    <a:pt x="39218" y="6033"/>
                    <a:pt x="39218" y="18101"/>
                  </a:cubicBezTo>
                  <a:cubicBezTo>
                    <a:pt x="39218" y="30168"/>
                    <a:pt x="33184" y="39218"/>
                    <a:pt x="21116" y="39218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7C3B6786-5B2D-4A8D-8B47-C6F99F37C216}"/>
                </a:ext>
              </a:extLst>
            </p:cNvPr>
            <p:cNvSpPr/>
            <p:nvPr/>
          </p:nvSpPr>
          <p:spPr>
            <a:xfrm>
              <a:off x="22042299" y="9522349"/>
              <a:ext cx="39217" cy="39217"/>
            </a:xfrm>
            <a:custGeom>
              <a:avLst/>
              <a:gdLst>
                <a:gd name="connsiteX0" fmla="*/ 21118 w 39217"/>
                <a:gd name="connsiteY0" fmla="*/ 39218 h 39217"/>
                <a:gd name="connsiteX1" fmla="*/ 0 w 39217"/>
                <a:gd name="connsiteY1" fmla="*/ 21118 h 39217"/>
                <a:gd name="connsiteX2" fmla="*/ 18100 w 39217"/>
                <a:gd name="connsiteY2" fmla="*/ 0 h 39217"/>
                <a:gd name="connsiteX3" fmla="*/ 39218 w 39217"/>
                <a:gd name="connsiteY3" fmla="*/ 18101 h 39217"/>
                <a:gd name="connsiteX4" fmla="*/ 21118 w 39217"/>
                <a:gd name="connsiteY4" fmla="*/ 39218 h 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17" h="39217">
                  <a:moveTo>
                    <a:pt x="21118" y="39218"/>
                  </a:moveTo>
                  <a:cubicBezTo>
                    <a:pt x="9050" y="39218"/>
                    <a:pt x="0" y="33185"/>
                    <a:pt x="0" y="21118"/>
                  </a:cubicBezTo>
                  <a:cubicBezTo>
                    <a:pt x="0" y="9050"/>
                    <a:pt x="6034" y="0"/>
                    <a:pt x="18100" y="0"/>
                  </a:cubicBezTo>
                  <a:cubicBezTo>
                    <a:pt x="30168" y="0"/>
                    <a:pt x="39218" y="6034"/>
                    <a:pt x="39218" y="18101"/>
                  </a:cubicBezTo>
                  <a:cubicBezTo>
                    <a:pt x="39218" y="30168"/>
                    <a:pt x="33184" y="39218"/>
                    <a:pt x="21118" y="39218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6B72944A-6BBA-4E0A-AEDA-4462D363018E}"/>
                </a:ext>
              </a:extLst>
            </p:cNvPr>
            <p:cNvSpPr/>
            <p:nvPr/>
          </p:nvSpPr>
          <p:spPr>
            <a:xfrm>
              <a:off x="22028982" y="9306909"/>
              <a:ext cx="47385" cy="82702"/>
            </a:xfrm>
            <a:custGeom>
              <a:avLst/>
              <a:gdLst>
                <a:gd name="connsiteX0" fmla="*/ 40467 w 47385"/>
                <a:gd name="connsiteY0" fmla="*/ 82702 h 82702"/>
                <a:gd name="connsiteX1" fmla="*/ 40467 w 47385"/>
                <a:gd name="connsiteY1" fmla="*/ 82702 h 82702"/>
                <a:gd name="connsiteX2" fmla="*/ 31417 w 47385"/>
                <a:gd name="connsiteY2" fmla="*/ 73652 h 82702"/>
                <a:gd name="connsiteX3" fmla="*/ 4267 w 47385"/>
                <a:gd name="connsiteY3" fmla="*/ 13317 h 82702"/>
                <a:gd name="connsiteX4" fmla="*/ 1249 w 47385"/>
                <a:gd name="connsiteY4" fmla="*/ 4266 h 82702"/>
                <a:gd name="connsiteX5" fmla="*/ 10299 w 47385"/>
                <a:gd name="connsiteY5" fmla="*/ 1249 h 82702"/>
                <a:gd name="connsiteX6" fmla="*/ 46501 w 47385"/>
                <a:gd name="connsiteY6" fmla="*/ 79685 h 82702"/>
                <a:gd name="connsiteX7" fmla="*/ 40467 w 47385"/>
                <a:gd name="connsiteY7" fmla="*/ 82702 h 8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385" h="82702">
                  <a:moveTo>
                    <a:pt x="40467" y="82702"/>
                  </a:moveTo>
                  <a:cubicBezTo>
                    <a:pt x="40467" y="82702"/>
                    <a:pt x="40467" y="82702"/>
                    <a:pt x="40467" y="82702"/>
                  </a:cubicBezTo>
                  <a:cubicBezTo>
                    <a:pt x="34435" y="82702"/>
                    <a:pt x="31417" y="76668"/>
                    <a:pt x="31417" y="73652"/>
                  </a:cubicBezTo>
                  <a:cubicBezTo>
                    <a:pt x="31417" y="70635"/>
                    <a:pt x="37451" y="28401"/>
                    <a:pt x="4267" y="13317"/>
                  </a:cubicBezTo>
                  <a:cubicBezTo>
                    <a:pt x="1249" y="10300"/>
                    <a:pt x="-1767" y="7283"/>
                    <a:pt x="1249" y="4266"/>
                  </a:cubicBezTo>
                  <a:cubicBezTo>
                    <a:pt x="4267" y="1249"/>
                    <a:pt x="7283" y="-1767"/>
                    <a:pt x="10299" y="1249"/>
                  </a:cubicBezTo>
                  <a:cubicBezTo>
                    <a:pt x="46501" y="16333"/>
                    <a:pt x="49518" y="58568"/>
                    <a:pt x="46501" y="79685"/>
                  </a:cubicBezTo>
                  <a:cubicBezTo>
                    <a:pt x="46501" y="79685"/>
                    <a:pt x="43485" y="82702"/>
                    <a:pt x="40467" y="82702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7212039B-FF95-443D-87DC-2C3F011FA82E}"/>
                </a:ext>
              </a:extLst>
            </p:cNvPr>
            <p:cNvSpPr/>
            <p:nvPr/>
          </p:nvSpPr>
          <p:spPr>
            <a:xfrm>
              <a:off x="22097354" y="9483885"/>
              <a:ext cx="40525" cy="86731"/>
            </a:xfrm>
            <a:custGeom>
              <a:avLst/>
              <a:gdLst>
                <a:gd name="connsiteX0" fmla="*/ 23380 w 40525"/>
                <a:gd name="connsiteY0" fmla="*/ 86732 h 86731"/>
                <a:gd name="connsiteX1" fmla="*/ 20364 w 40525"/>
                <a:gd name="connsiteY1" fmla="*/ 86732 h 86731"/>
                <a:gd name="connsiteX2" fmla="*/ 17346 w 40525"/>
                <a:gd name="connsiteY2" fmla="*/ 77681 h 86731"/>
                <a:gd name="connsiteX3" fmla="*/ 2262 w 40525"/>
                <a:gd name="connsiteY3" fmla="*/ 14330 h 86731"/>
                <a:gd name="connsiteX4" fmla="*/ 2262 w 40525"/>
                <a:gd name="connsiteY4" fmla="*/ 2262 h 86731"/>
                <a:gd name="connsiteX5" fmla="*/ 14330 w 40525"/>
                <a:gd name="connsiteY5" fmla="*/ 2262 h 86731"/>
                <a:gd name="connsiteX6" fmla="*/ 32430 w 40525"/>
                <a:gd name="connsiteY6" fmla="*/ 86732 h 86731"/>
                <a:gd name="connsiteX7" fmla="*/ 23380 w 40525"/>
                <a:gd name="connsiteY7" fmla="*/ 86732 h 8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525" h="86731">
                  <a:moveTo>
                    <a:pt x="23380" y="86732"/>
                  </a:moveTo>
                  <a:cubicBezTo>
                    <a:pt x="23380" y="86732"/>
                    <a:pt x="20364" y="86732"/>
                    <a:pt x="20364" y="86732"/>
                  </a:cubicBezTo>
                  <a:cubicBezTo>
                    <a:pt x="17346" y="83715"/>
                    <a:pt x="14330" y="80698"/>
                    <a:pt x="17346" y="77681"/>
                  </a:cubicBezTo>
                  <a:cubicBezTo>
                    <a:pt x="17346" y="74665"/>
                    <a:pt x="35447" y="38464"/>
                    <a:pt x="2262" y="14330"/>
                  </a:cubicBezTo>
                  <a:cubicBezTo>
                    <a:pt x="-754" y="11313"/>
                    <a:pt x="-754" y="5279"/>
                    <a:pt x="2262" y="2262"/>
                  </a:cubicBezTo>
                  <a:cubicBezTo>
                    <a:pt x="5280" y="-754"/>
                    <a:pt x="11314" y="-754"/>
                    <a:pt x="14330" y="2262"/>
                  </a:cubicBezTo>
                  <a:cubicBezTo>
                    <a:pt x="50531" y="29414"/>
                    <a:pt x="41481" y="68631"/>
                    <a:pt x="32430" y="86732"/>
                  </a:cubicBezTo>
                  <a:cubicBezTo>
                    <a:pt x="26398" y="86732"/>
                    <a:pt x="23380" y="86732"/>
                    <a:pt x="23380" y="86732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3311B2A9-5640-4517-941F-77E20FB50934}"/>
                </a:ext>
              </a:extLst>
            </p:cNvPr>
            <p:cNvSpPr/>
            <p:nvPr/>
          </p:nvSpPr>
          <p:spPr>
            <a:xfrm>
              <a:off x="22012106" y="9234621"/>
              <a:ext cx="322819" cy="217919"/>
            </a:xfrm>
            <a:custGeom>
              <a:avLst/>
              <a:gdLst>
                <a:gd name="connsiteX0" fmla="*/ 322819 w 322819"/>
                <a:gd name="connsiteY0" fmla="*/ 197225 h 217919"/>
                <a:gd name="connsiteX1" fmla="*/ 193097 w 322819"/>
                <a:gd name="connsiteY1" fmla="*/ 203258 h 217919"/>
                <a:gd name="connsiteX2" fmla="*/ 26 w 322819"/>
                <a:gd name="connsiteY2" fmla="*/ 19236 h 217919"/>
                <a:gd name="connsiteX3" fmla="*/ 322819 w 322819"/>
                <a:gd name="connsiteY3" fmla="*/ 197225 h 217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2819" h="217919">
                  <a:moveTo>
                    <a:pt x="322819" y="197225"/>
                  </a:moveTo>
                  <a:cubicBezTo>
                    <a:pt x="322819" y="197225"/>
                    <a:pt x="244382" y="239459"/>
                    <a:pt x="193097" y="203258"/>
                  </a:cubicBezTo>
                  <a:cubicBezTo>
                    <a:pt x="193097" y="203258"/>
                    <a:pt x="87510" y="19236"/>
                    <a:pt x="26" y="19236"/>
                  </a:cubicBezTo>
                  <a:cubicBezTo>
                    <a:pt x="-2992" y="19236"/>
                    <a:pt x="262484" y="-86350"/>
                    <a:pt x="322819" y="197225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7F1BD5B0-9719-4EDF-9FB3-36EC2C078F18}"/>
                </a:ext>
              </a:extLst>
            </p:cNvPr>
            <p:cNvSpPr/>
            <p:nvPr/>
          </p:nvSpPr>
          <p:spPr>
            <a:xfrm>
              <a:off x="22099028" y="9431846"/>
              <a:ext cx="245046" cy="273201"/>
            </a:xfrm>
            <a:custGeom>
              <a:avLst/>
              <a:gdLst>
                <a:gd name="connsiteX0" fmla="*/ 106175 w 245046"/>
                <a:gd name="connsiteY0" fmla="*/ 6033 h 273201"/>
                <a:gd name="connsiteX1" fmla="*/ 100143 w 245046"/>
                <a:gd name="connsiteY1" fmla="*/ 156872 h 273201"/>
                <a:gd name="connsiteX2" fmla="*/ 6622 w 245046"/>
                <a:gd name="connsiteY2" fmla="*/ 250391 h 273201"/>
                <a:gd name="connsiteX3" fmla="*/ 18690 w 245046"/>
                <a:gd name="connsiteY3" fmla="*/ 271508 h 273201"/>
                <a:gd name="connsiteX4" fmla="*/ 238913 w 245046"/>
                <a:gd name="connsiteY4" fmla="*/ 0 h 273201"/>
                <a:gd name="connsiteX5" fmla="*/ 106175 w 245046"/>
                <a:gd name="connsiteY5" fmla="*/ 6033 h 27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046" h="273201">
                  <a:moveTo>
                    <a:pt x="106175" y="6033"/>
                  </a:moveTo>
                  <a:cubicBezTo>
                    <a:pt x="106175" y="6033"/>
                    <a:pt x="91091" y="105587"/>
                    <a:pt x="100143" y="156872"/>
                  </a:cubicBezTo>
                  <a:cubicBezTo>
                    <a:pt x="112209" y="208156"/>
                    <a:pt x="6622" y="250391"/>
                    <a:pt x="6622" y="250391"/>
                  </a:cubicBezTo>
                  <a:cubicBezTo>
                    <a:pt x="6622" y="250391"/>
                    <a:pt x="-14495" y="280558"/>
                    <a:pt x="18690" y="271508"/>
                  </a:cubicBezTo>
                  <a:cubicBezTo>
                    <a:pt x="94109" y="253408"/>
                    <a:pt x="281149" y="190056"/>
                    <a:pt x="238913" y="0"/>
                  </a:cubicBezTo>
                  <a:cubicBezTo>
                    <a:pt x="235897" y="0"/>
                    <a:pt x="118243" y="27151"/>
                    <a:pt x="106175" y="6033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92A5F43A-664F-4442-A18C-FABB1AF953C5}"/>
                </a:ext>
              </a:extLst>
            </p:cNvPr>
            <p:cNvSpPr/>
            <p:nvPr/>
          </p:nvSpPr>
          <p:spPr>
            <a:xfrm>
              <a:off x="22188611" y="9425812"/>
              <a:ext cx="104078" cy="165921"/>
            </a:xfrm>
            <a:custGeom>
              <a:avLst/>
              <a:gdLst>
                <a:gd name="connsiteX0" fmla="*/ 10559 w 104078"/>
                <a:gd name="connsiteY0" fmla="*/ 165921 h 165921"/>
                <a:gd name="connsiteX1" fmla="*/ 4525 w 104078"/>
                <a:gd name="connsiteY1" fmla="*/ 159888 h 165921"/>
                <a:gd name="connsiteX2" fmla="*/ 4525 w 104078"/>
                <a:gd name="connsiteY2" fmla="*/ 57319 h 165921"/>
                <a:gd name="connsiteX3" fmla="*/ 13575 w 104078"/>
                <a:gd name="connsiteY3" fmla="*/ 6033 h 165921"/>
                <a:gd name="connsiteX4" fmla="*/ 16591 w 104078"/>
                <a:gd name="connsiteY4" fmla="*/ 0 h 165921"/>
                <a:gd name="connsiteX5" fmla="*/ 22625 w 104078"/>
                <a:gd name="connsiteY5" fmla="*/ 3016 h 165921"/>
                <a:gd name="connsiteX6" fmla="*/ 98044 w 104078"/>
                <a:gd name="connsiteY6" fmla="*/ 6033 h 165921"/>
                <a:gd name="connsiteX7" fmla="*/ 104078 w 104078"/>
                <a:gd name="connsiteY7" fmla="*/ 9050 h 165921"/>
                <a:gd name="connsiteX8" fmla="*/ 101062 w 104078"/>
                <a:gd name="connsiteY8" fmla="*/ 15084 h 165921"/>
                <a:gd name="connsiteX9" fmla="*/ 25643 w 104078"/>
                <a:gd name="connsiteY9" fmla="*/ 15084 h 165921"/>
                <a:gd name="connsiteX10" fmla="*/ 19609 w 104078"/>
                <a:gd name="connsiteY10" fmla="*/ 57319 h 165921"/>
                <a:gd name="connsiteX11" fmla="*/ 19609 w 104078"/>
                <a:gd name="connsiteY11" fmla="*/ 156871 h 165921"/>
                <a:gd name="connsiteX12" fmla="*/ 10559 w 104078"/>
                <a:gd name="connsiteY12" fmla="*/ 165921 h 165921"/>
                <a:gd name="connsiteX13" fmla="*/ 10559 w 104078"/>
                <a:gd name="connsiteY13" fmla="*/ 165921 h 165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4078" h="165921">
                  <a:moveTo>
                    <a:pt x="10559" y="165921"/>
                  </a:moveTo>
                  <a:cubicBezTo>
                    <a:pt x="7541" y="165921"/>
                    <a:pt x="4525" y="162905"/>
                    <a:pt x="4525" y="159888"/>
                  </a:cubicBezTo>
                  <a:cubicBezTo>
                    <a:pt x="-1508" y="129721"/>
                    <a:pt x="-1508" y="96536"/>
                    <a:pt x="4525" y="57319"/>
                  </a:cubicBezTo>
                  <a:cubicBezTo>
                    <a:pt x="7541" y="27151"/>
                    <a:pt x="13575" y="9050"/>
                    <a:pt x="13575" y="6033"/>
                  </a:cubicBezTo>
                  <a:lnTo>
                    <a:pt x="16591" y="0"/>
                  </a:lnTo>
                  <a:lnTo>
                    <a:pt x="22625" y="3016"/>
                  </a:lnTo>
                  <a:cubicBezTo>
                    <a:pt x="31675" y="6033"/>
                    <a:pt x="70895" y="12067"/>
                    <a:pt x="98044" y="6033"/>
                  </a:cubicBezTo>
                  <a:cubicBezTo>
                    <a:pt x="101062" y="6033"/>
                    <a:pt x="104078" y="6033"/>
                    <a:pt x="104078" y="9050"/>
                  </a:cubicBezTo>
                  <a:cubicBezTo>
                    <a:pt x="104078" y="12067"/>
                    <a:pt x="104078" y="15084"/>
                    <a:pt x="101062" y="15084"/>
                  </a:cubicBezTo>
                  <a:cubicBezTo>
                    <a:pt x="76927" y="21117"/>
                    <a:pt x="43743" y="18100"/>
                    <a:pt x="25643" y="15084"/>
                  </a:cubicBezTo>
                  <a:cubicBezTo>
                    <a:pt x="22625" y="24134"/>
                    <a:pt x="19609" y="39218"/>
                    <a:pt x="19609" y="57319"/>
                  </a:cubicBezTo>
                  <a:cubicBezTo>
                    <a:pt x="13575" y="93519"/>
                    <a:pt x="13575" y="129721"/>
                    <a:pt x="19609" y="156871"/>
                  </a:cubicBezTo>
                  <a:cubicBezTo>
                    <a:pt x="16591" y="162905"/>
                    <a:pt x="13575" y="165921"/>
                    <a:pt x="10559" y="165921"/>
                  </a:cubicBezTo>
                  <a:cubicBezTo>
                    <a:pt x="10559" y="165921"/>
                    <a:pt x="10559" y="165921"/>
                    <a:pt x="10559" y="165921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98F36540-335C-4BC8-AAAE-ACCCC7DD7064}"/>
                </a:ext>
              </a:extLst>
            </p:cNvPr>
            <p:cNvSpPr/>
            <p:nvPr/>
          </p:nvSpPr>
          <p:spPr>
            <a:xfrm>
              <a:off x="21625979" y="9458996"/>
              <a:ext cx="271515" cy="283575"/>
            </a:xfrm>
            <a:custGeom>
              <a:avLst/>
              <a:gdLst>
                <a:gd name="connsiteX0" fmla="*/ 147828 w 271515"/>
                <a:gd name="connsiteY0" fmla="*/ 6034 h 283575"/>
                <a:gd name="connsiteX1" fmla="*/ 8 w 271515"/>
                <a:gd name="connsiteY1" fmla="*/ 0 h 283575"/>
                <a:gd name="connsiteX2" fmla="*/ 111626 w 271515"/>
                <a:gd name="connsiteY2" fmla="*/ 283575 h 283575"/>
                <a:gd name="connsiteX3" fmla="*/ 271516 w 271515"/>
                <a:gd name="connsiteY3" fmla="*/ 174973 h 283575"/>
                <a:gd name="connsiteX4" fmla="*/ 147828 w 271515"/>
                <a:gd name="connsiteY4" fmla="*/ 6034 h 28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1515" h="283575">
                  <a:moveTo>
                    <a:pt x="147828" y="6034"/>
                  </a:moveTo>
                  <a:cubicBezTo>
                    <a:pt x="147828" y="6034"/>
                    <a:pt x="45259" y="45251"/>
                    <a:pt x="8" y="0"/>
                  </a:cubicBezTo>
                  <a:cubicBezTo>
                    <a:pt x="8" y="0"/>
                    <a:pt x="-3010" y="187039"/>
                    <a:pt x="111626" y="283575"/>
                  </a:cubicBezTo>
                  <a:cubicBezTo>
                    <a:pt x="135762" y="217207"/>
                    <a:pt x="214197" y="196089"/>
                    <a:pt x="271516" y="174973"/>
                  </a:cubicBezTo>
                  <a:cubicBezTo>
                    <a:pt x="268498" y="177989"/>
                    <a:pt x="156878" y="60335"/>
                    <a:pt x="147828" y="6034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257E72D4-8688-4A1B-BBAA-034E47FBAA1A}"/>
                </a:ext>
              </a:extLst>
            </p:cNvPr>
            <p:cNvSpPr/>
            <p:nvPr/>
          </p:nvSpPr>
          <p:spPr>
            <a:xfrm>
              <a:off x="21735595" y="9468047"/>
              <a:ext cx="127960" cy="193072"/>
            </a:xfrm>
            <a:custGeom>
              <a:avLst/>
              <a:gdLst>
                <a:gd name="connsiteX0" fmla="*/ 119665 w 127960"/>
                <a:gd name="connsiteY0" fmla="*/ 193072 h 193072"/>
                <a:gd name="connsiteX1" fmla="*/ 116649 w 127960"/>
                <a:gd name="connsiteY1" fmla="*/ 193072 h 193072"/>
                <a:gd name="connsiteX2" fmla="*/ 8044 w 127960"/>
                <a:gd name="connsiteY2" fmla="*/ 84469 h 193072"/>
                <a:gd name="connsiteX3" fmla="*/ 8044 w 127960"/>
                <a:gd name="connsiteY3" fmla="*/ 3016 h 193072"/>
                <a:gd name="connsiteX4" fmla="*/ 17094 w 127960"/>
                <a:gd name="connsiteY4" fmla="*/ 0 h 193072"/>
                <a:gd name="connsiteX5" fmla="*/ 20112 w 127960"/>
                <a:gd name="connsiteY5" fmla="*/ 9050 h 193072"/>
                <a:gd name="connsiteX6" fmla="*/ 20112 w 127960"/>
                <a:gd name="connsiteY6" fmla="*/ 81452 h 193072"/>
                <a:gd name="connsiteX7" fmla="*/ 125699 w 127960"/>
                <a:gd name="connsiteY7" fmla="*/ 184022 h 193072"/>
                <a:gd name="connsiteX8" fmla="*/ 125699 w 127960"/>
                <a:gd name="connsiteY8" fmla="*/ 193072 h 193072"/>
                <a:gd name="connsiteX9" fmla="*/ 119665 w 127960"/>
                <a:gd name="connsiteY9" fmla="*/ 193072 h 193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960" h="193072">
                  <a:moveTo>
                    <a:pt x="119665" y="193072"/>
                  </a:moveTo>
                  <a:cubicBezTo>
                    <a:pt x="119665" y="193072"/>
                    <a:pt x="116649" y="193072"/>
                    <a:pt x="116649" y="193072"/>
                  </a:cubicBezTo>
                  <a:cubicBezTo>
                    <a:pt x="113631" y="190056"/>
                    <a:pt x="26146" y="123686"/>
                    <a:pt x="8044" y="84469"/>
                  </a:cubicBezTo>
                  <a:cubicBezTo>
                    <a:pt x="-10055" y="45251"/>
                    <a:pt x="8044" y="3016"/>
                    <a:pt x="8044" y="3016"/>
                  </a:cubicBezTo>
                  <a:cubicBezTo>
                    <a:pt x="8044" y="0"/>
                    <a:pt x="14078" y="0"/>
                    <a:pt x="17094" y="0"/>
                  </a:cubicBezTo>
                  <a:cubicBezTo>
                    <a:pt x="20112" y="0"/>
                    <a:pt x="20112" y="6033"/>
                    <a:pt x="20112" y="9050"/>
                  </a:cubicBezTo>
                  <a:cubicBezTo>
                    <a:pt x="20112" y="9050"/>
                    <a:pt x="2010" y="48267"/>
                    <a:pt x="20112" y="81452"/>
                  </a:cubicBezTo>
                  <a:cubicBezTo>
                    <a:pt x="38212" y="117653"/>
                    <a:pt x="122681" y="184022"/>
                    <a:pt x="125699" y="184022"/>
                  </a:cubicBezTo>
                  <a:cubicBezTo>
                    <a:pt x="128715" y="187039"/>
                    <a:pt x="128715" y="190056"/>
                    <a:pt x="125699" y="193072"/>
                  </a:cubicBezTo>
                  <a:cubicBezTo>
                    <a:pt x="125699" y="193072"/>
                    <a:pt x="122681" y="193072"/>
                    <a:pt x="119665" y="193072"/>
                  </a:cubicBezTo>
                  <a:close/>
                </a:path>
              </a:pathLst>
            </a:custGeom>
            <a:solidFill>
              <a:srgbClr val="E58777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ED9E8D5C-73B4-42E2-89C4-19CD45242006}"/>
                </a:ext>
              </a:extLst>
            </p:cNvPr>
            <p:cNvSpPr/>
            <p:nvPr/>
          </p:nvSpPr>
          <p:spPr>
            <a:xfrm>
              <a:off x="20958032" y="9284545"/>
              <a:ext cx="536465" cy="165401"/>
            </a:xfrm>
            <a:custGeom>
              <a:avLst/>
              <a:gdLst>
                <a:gd name="connsiteX0" fmla="*/ 7283 w 536465"/>
                <a:gd name="connsiteY0" fmla="*/ 165401 h 165401"/>
                <a:gd name="connsiteX1" fmla="*/ 1249 w 536465"/>
                <a:gd name="connsiteY1" fmla="*/ 162384 h 165401"/>
                <a:gd name="connsiteX2" fmla="*/ 4267 w 536465"/>
                <a:gd name="connsiteY2" fmla="*/ 153334 h 165401"/>
                <a:gd name="connsiteX3" fmla="*/ 49518 w 536465"/>
                <a:gd name="connsiteY3" fmla="*/ 120150 h 165401"/>
                <a:gd name="connsiteX4" fmla="*/ 179239 w 536465"/>
                <a:gd name="connsiteY4" fmla="*/ 41714 h 165401"/>
                <a:gd name="connsiteX5" fmla="*/ 532200 w 536465"/>
                <a:gd name="connsiteY5" fmla="*/ 17580 h 165401"/>
                <a:gd name="connsiteX6" fmla="*/ 535216 w 536465"/>
                <a:gd name="connsiteY6" fmla="*/ 23613 h 165401"/>
                <a:gd name="connsiteX7" fmla="*/ 529182 w 536465"/>
                <a:gd name="connsiteY7" fmla="*/ 26630 h 165401"/>
                <a:gd name="connsiteX8" fmla="*/ 182255 w 536465"/>
                <a:gd name="connsiteY8" fmla="*/ 50764 h 165401"/>
                <a:gd name="connsiteX9" fmla="*/ 52535 w 536465"/>
                <a:gd name="connsiteY9" fmla="*/ 129200 h 165401"/>
                <a:gd name="connsiteX10" fmla="*/ 4267 w 536465"/>
                <a:gd name="connsiteY10" fmla="*/ 162384 h 165401"/>
                <a:gd name="connsiteX11" fmla="*/ 7283 w 536465"/>
                <a:gd name="connsiteY11" fmla="*/ 165401 h 165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6465" h="165401">
                  <a:moveTo>
                    <a:pt x="7283" y="165401"/>
                  </a:moveTo>
                  <a:cubicBezTo>
                    <a:pt x="4267" y="165401"/>
                    <a:pt x="4267" y="165401"/>
                    <a:pt x="1249" y="162384"/>
                  </a:cubicBezTo>
                  <a:cubicBezTo>
                    <a:pt x="-1767" y="159368"/>
                    <a:pt x="1249" y="156351"/>
                    <a:pt x="4267" y="153334"/>
                  </a:cubicBezTo>
                  <a:cubicBezTo>
                    <a:pt x="19351" y="144284"/>
                    <a:pt x="34435" y="132217"/>
                    <a:pt x="49518" y="120150"/>
                  </a:cubicBezTo>
                  <a:cubicBezTo>
                    <a:pt x="91752" y="89982"/>
                    <a:pt x="137003" y="56798"/>
                    <a:pt x="179239" y="41714"/>
                  </a:cubicBezTo>
                  <a:cubicBezTo>
                    <a:pt x="293875" y="-3537"/>
                    <a:pt x="411530" y="-12588"/>
                    <a:pt x="532200" y="17580"/>
                  </a:cubicBezTo>
                  <a:cubicBezTo>
                    <a:pt x="535216" y="17580"/>
                    <a:pt x="538232" y="20597"/>
                    <a:pt x="535216" y="23613"/>
                  </a:cubicBezTo>
                  <a:cubicBezTo>
                    <a:pt x="535216" y="26630"/>
                    <a:pt x="532200" y="29647"/>
                    <a:pt x="529182" y="26630"/>
                  </a:cubicBezTo>
                  <a:cubicBezTo>
                    <a:pt x="411530" y="-3537"/>
                    <a:pt x="293875" y="5513"/>
                    <a:pt x="182255" y="50764"/>
                  </a:cubicBezTo>
                  <a:cubicBezTo>
                    <a:pt x="140021" y="68865"/>
                    <a:pt x="94770" y="99032"/>
                    <a:pt x="52535" y="129200"/>
                  </a:cubicBezTo>
                  <a:cubicBezTo>
                    <a:pt x="37451" y="141267"/>
                    <a:pt x="19351" y="153334"/>
                    <a:pt x="4267" y="162384"/>
                  </a:cubicBezTo>
                  <a:cubicBezTo>
                    <a:pt x="7283" y="165401"/>
                    <a:pt x="7283" y="165401"/>
                    <a:pt x="7283" y="165401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283AF388-45BF-4187-B667-856547345C33}"/>
                </a:ext>
              </a:extLst>
            </p:cNvPr>
            <p:cNvSpPr/>
            <p:nvPr/>
          </p:nvSpPr>
          <p:spPr>
            <a:xfrm>
              <a:off x="21054478" y="9478773"/>
              <a:ext cx="144377" cy="375418"/>
            </a:xfrm>
            <a:custGeom>
              <a:avLst/>
              <a:gdLst>
                <a:gd name="connsiteX0" fmla="*/ 140111 w 144377"/>
                <a:gd name="connsiteY0" fmla="*/ 375419 h 375418"/>
                <a:gd name="connsiteX1" fmla="*/ 134079 w 144377"/>
                <a:gd name="connsiteY1" fmla="*/ 369385 h 375418"/>
                <a:gd name="connsiteX2" fmla="*/ 1340 w 144377"/>
                <a:gd name="connsiteY2" fmla="*/ 10391 h 375418"/>
                <a:gd name="connsiteX3" fmla="*/ 1340 w 144377"/>
                <a:gd name="connsiteY3" fmla="*/ 1341 h 375418"/>
                <a:gd name="connsiteX4" fmla="*/ 10390 w 144377"/>
                <a:gd name="connsiteY4" fmla="*/ 1341 h 375418"/>
                <a:gd name="connsiteX5" fmla="*/ 143129 w 144377"/>
                <a:gd name="connsiteY5" fmla="*/ 366369 h 375418"/>
                <a:gd name="connsiteX6" fmla="*/ 140111 w 144377"/>
                <a:gd name="connsiteY6" fmla="*/ 375419 h 375418"/>
                <a:gd name="connsiteX7" fmla="*/ 140111 w 144377"/>
                <a:gd name="connsiteY7" fmla="*/ 375419 h 375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377" h="375418">
                  <a:moveTo>
                    <a:pt x="140111" y="375419"/>
                  </a:moveTo>
                  <a:cubicBezTo>
                    <a:pt x="137095" y="375419"/>
                    <a:pt x="134079" y="372402"/>
                    <a:pt x="134079" y="369385"/>
                  </a:cubicBezTo>
                  <a:cubicBezTo>
                    <a:pt x="125027" y="269832"/>
                    <a:pt x="55642" y="76760"/>
                    <a:pt x="1340" y="10391"/>
                  </a:cubicBezTo>
                  <a:cubicBezTo>
                    <a:pt x="-1676" y="7374"/>
                    <a:pt x="1340" y="4358"/>
                    <a:pt x="1340" y="1341"/>
                  </a:cubicBezTo>
                  <a:cubicBezTo>
                    <a:pt x="4356" y="-1676"/>
                    <a:pt x="7374" y="1341"/>
                    <a:pt x="10390" y="1341"/>
                  </a:cubicBezTo>
                  <a:cubicBezTo>
                    <a:pt x="64692" y="70726"/>
                    <a:pt x="137095" y="266815"/>
                    <a:pt x="143129" y="366369"/>
                  </a:cubicBezTo>
                  <a:cubicBezTo>
                    <a:pt x="146145" y="372402"/>
                    <a:pt x="143129" y="375419"/>
                    <a:pt x="140111" y="375419"/>
                  </a:cubicBezTo>
                  <a:lnTo>
                    <a:pt x="140111" y="375419"/>
                  </a:ln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A961D14E-1977-4A10-A633-8FBA08CFDE36}"/>
                </a:ext>
              </a:extLst>
            </p:cNvPr>
            <p:cNvSpPr/>
            <p:nvPr/>
          </p:nvSpPr>
          <p:spPr>
            <a:xfrm>
              <a:off x="21608460" y="9437879"/>
              <a:ext cx="129144" cy="334860"/>
            </a:xfrm>
            <a:custGeom>
              <a:avLst/>
              <a:gdLst>
                <a:gd name="connsiteX0" fmla="*/ 26576 w 129144"/>
                <a:gd name="connsiteY0" fmla="*/ 30168 h 334860"/>
                <a:gd name="connsiteX1" fmla="*/ 129145 w 129144"/>
                <a:gd name="connsiteY1" fmla="*/ 307709 h 334860"/>
                <a:gd name="connsiteX2" fmla="*/ 129145 w 129144"/>
                <a:gd name="connsiteY2" fmla="*/ 334860 h 334860"/>
                <a:gd name="connsiteX3" fmla="*/ 17526 w 129144"/>
                <a:gd name="connsiteY3" fmla="*/ 174972 h 334860"/>
                <a:gd name="connsiteX4" fmla="*/ 8475 w 129144"/>
                <a:gd name="connsiteY4" fmla="*/ 0 h 334860"/>
                <a:gd name="connsiteX5" fmla="*/ 26576 w 129144"/>
                <a:gd name="connsiteY5" fmla="*/ 30168 h 334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144" h="334860">
                  <a:moveTo>
                    <a:pt x="26576" y="30168"/>
                  </a:moveTo>
                  <a:cubicBezTo>
                    <a:pt x="26576" y="30168"/>
                    <a:pt x="8475" y="153854"/>
                    <a:pt x="129145" y="307709"/>
                  </a:cubicBezTo>
                  <a:lnTo>
                    <a:pt x="129145" y="334860"/>
                  </a:lnTo>
                  <a:cubicBezTo>
                    <a:pt x="129145" y="334860"/>
                    <a:pt x="50710" y="277542"/>
                    <a:pt x="17526" y="174972"/>
                  </a:cubicBezTo>
                  <a:cubicBezTo>
                    <a:pt x="-15659" y="78435"/>
                    <a:pt x="8475" y="0"/>
                    <a:pt x="8475" y="0"/>
                  </a:cubicBezTo>
                  <a:cubicBezTo>
                    <a:pt x="8475" y="0"/>
                    <a:pt x="17526" y="9050"/>
                    <a:pt x="26576" y="30168"/>
                  </a:cubicBez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DF6AA9CA-F45B-48B0-B944-0E2852DE58D7}"/>
                </a:ext>
              </a:extLst>
            </p:cNvPr>
            <p:cNvSpPr/>
            <p:nvPr/>
          </p:nvSpPr>
          <p:spPr>
            <a:xfrm>
              <a:off x="22005589" y="9655014"/>
              <a:ext cx="117451" cy="69998"/>
            </a:xfrm>
            <a:custGeom>
              <a:avLst/>
              <a:gdLst>
                <a:gd name="connsiteX0" fmla="*/ 87995 w 117451"/>
                <a:gd name="connsiteY0" fmla="*/ 71 h 69998"/>
                <a:gd name="connsiteX1" fmla="*/ 115145 w 117451"/>
                <a:gd name="connsiteY1" fmla="*/ 51357 h 69998"/>
                <a:gd name="connsiteX2" fmla="*/ 508 w 117451"/>
                <a:gd name="connsiteY2" fmla="*/ 30239 h 69998"/>
                <a:gd name="connsiteX3" fmla="*/ 87995 w 117451"/>
                <a:gd name="connsiteY3" fmla="*/ 71 h 69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451" h="69998">
                  <a:moveTo>
                    <a:pt x="87995" y="71"/>
                  </a:moveTo>
                  <a:cubicBezTo>
                    <a:pt x="87995" y="71"/>
                    <a:pt x="127213" y="21189"/>
                    <a:pt x="115145" y="51357"/>
                  </a:cubicBezTo>
                  <a:cubicBezTo>
                    <a:pt x="106095" y="81524"/>
                    <a:pt x="-8541" y="75490"/>
                    <a:pt x="508" y="30239"/>
                  </a:cubicBezTo>
                  <a:cubicBezTo>
                    <a:pt x="9558" y="-2946"/>
                    <a:pt x="87995" y="71"/>
                    <a:pt x="87995" y="71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71F205E0-90B1-42A1-A56E-7DB029F2BDED}"/>
                </a:ext>
              </a:extLst>
            </p:cNvPr>
            <p:cNvSpPr/>
            <p:nvPr/>
          </p:nvSpPr>
          <p:spPr>
            <a:xfrm>
              <a:off x="21991014" y="9248625"/>
              <a:ext cx="228519" cy="192271"/>
            </a:xfrm>
            <a:custGeom>
              <a:avLst/>
              <a:gdLst>
                <a:gd name="connsiteX0" fmla="*/ 217207 w 228519"/>
                <a:gd name="connsiteY0" fmla="*/ 192271 h 192271"/>
                <a:gd name="connsiteX1" fmla="*/ 214189 w 228519"/>
                <a:gd name="connsiteY1" fmla="*/ 189254 h 192271"/>
                <a:gd name="connsiteX2" fmla="*/ 129720 w 228519"/>
                <a:gd name="connsiteY2" fmla="*/ 77634 h 192271"/>
                <a:gd name="connsiteX3" fmla="*/ 6034 w 228519"/>
                <a:gd name="connsiteY3" fmla="*/ 14282 h 192271"/>
                <a:gd name="connsiteX4" fmla="*/ 0 w 228519"/>
                <a:gd name="connsiteY4" fmla="*/ 8249 h 192271"/>
                <a:gd name="connsiteX5" fmla="*/ 6034 w 228519"/>
                <a:gd name="connsiteY5" fmla="*/ 2215 h 192271"/>
                <a:gd name="connsiteX6" fmla="*/ 141788 w 228519"/>
                <a:gd name="connsiteY6" fmla="*/ 71601 h 192271"/>
                <a:gd name="connsiteX7" fmla="*/ 226257 w 228519"/>
                <a:gd name="connsiteY7" fmla="*/ 183221 h 192271"/>
                <a:gd name="connsiteX8" fmla="*/ 226257 w 228519"/>
                <a:gd name="connsiteY8" fmla="*/ 192271 h 192271"/>
                <a:gd name="connsiteX9" fmla="*/ 217207 w 228519"/>
                <a:gd name="connsiteY9" fmla="*/ 192271 h 192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519" h="192271">
                  <a:moveTo>
                    <a:pt x="217207" y="192271"/>
                  </a:moveTo>
                  <a:cubicBezTo>
                    <a:pt x="214189" y="192271"/>
                    <a:pt x="214189" y="192271"/>
                    <a:pt x="214189" y="189254"/>
                  </a:cubicBezTo>
                  <a:cubicBezTo>
                    <a:pt x="214189" y="189254"/>
                    <a:pt x="168938" y="134953"/>
                    <a:pt x="129720" y="77634"/>
                  </a:cubicBezTo>
                  <a:cubicBezTo>
                    <a:pt x="96537" y="32383"/>
                    <a:pt x="63351" y="2215"/>
                    <a:pt x="6034" y="14282"/>
                  </a:cubicBezTo>
                  <a:cubicBezTo>
                    <a:pt x="3016" y="14282"/>
                    <a:pt x="0" y="11266"/>
                    <a:pt x="0" y="8249"/>
                  </a:cubicBezTo>
                  <a:cubicBezTo>
                    <a:pt x="0" y="5232"/>
                    <a:pt x="3016" y="2215"/>
                    <a:pt x="6034" y="2215"/>
                  </a:cubicBezTo>
                  <a:cubicBezTo>
                    <a:pt x="75419" y="-9851"/>
                    <a:pt x="111620" y="29366"/>
                    <a:pt x="141788" y="71601"/>
                  </a:cubicBezTo>
                  <a:cubicBezTo>
                    <a:pt x="181006" y="128919"/>
                    <a:pt x="226257" y="180204"/>
                    <a:pt x="226257" y="183221"/>
                  </a:cubicBezTo>
                  <a:cubicBezTo>
                    <a:pt x="229273" y="186238"/>
                    <a:pt x="229273" y="189254"/>
                    <a:pt x="226257" y="192271"/>
                  </a:cubicBezTo>
                  <a:cubicBezTo>
                    <a:pt x="217207" y="192271"/>
                    <a:pt x="217207" y="192271"/>
                    <a:pt x="217207" y="192271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0C8A9D8D-6D26-46CA-8C99-457A606E14B6}"/>
                </a:ext>
              </a:extLst>
            </p:cNvPr>
            <p:cNvSpPr/>
            <p:nvPr/>
          </p:nvSpPr>
          <p:spPr>
            <a:xfrm>
              <a:off x="21826178" y="9454730"/>
              <a:ext cx="32565" cy="91752"/>
            </a:xfrm>
            <a:custGeom>
              <a:avLst/>
              <a:gdLst>
                <a:gd name="connsiteX0" fmla="*/ 29082 w 32565"/>
                <a:gd name="connsiteY0" fmla="*/ 91752 h 91752"/>
                <a:gd name="connsiteX1" fmla="*/ 26066 w 32565"/>
                <a:gd name="connsiteY1" fmla="*/ 91752 h 91752"/>
                <a:gd name="connsiteX2" fmla="*/ 1930 w 32565"/>
                <a:gd name="connsiteY2" fmla="*/ 4266 h 91752"/>
                <a:gd name="connsiteX3" fmla="*/ 7964 w 32565"/>
                <a:gd name="connsiteY3" fmla="*/ 1249 h 91752"/>
                <a:gd name="connsiteX4" fmla="*/ 10982 w 32565"/>
                <a:gd name="connsiteY4" fmla="*/ 7283 h 91752"/>
                <a:gd name="connsiteX5" fmla="*/ 29082 w 32565"/>
                <a:gd name="connsiteY5" fmla="*/ 82702 h 91752"/>
                <a:gd name="connsiteX6" fmla="*/ 29082 w 32565"/>
                <a:gd name="connsiteY6" fmla="*/ 91752 h 91752"/>
                <a:gd name="connsiteX7" fmla="*/ 29082 w 32565"/>
                <a:gd name="connsiteY7" fmla="*/ 91752 h 91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565" h="91752">
                  <a:moveTo>
                    <a:pt x="29082" y="91752"/>
                  </a:moveTo>
                  <a:cubicBezTo>
                    <a:pt x="29082" y="91752"/>
                    <a:pt x="26066" y="91752"/>
                    <a:pt x="26066" y="91752"/>
                  </a:cubicBezTo>
                  <a:cubicBezTo>
                    <a:pt x="-10136" y="64601"/>
                    <a:pt x="1930" y="7283"/>
                    <a:pt x="1930" y="4266"/>
                  </a:cubicBezTo>
                  <a:cubicBezTo>
                    <a:pt x="1930" y="1249"/>
                    <a:pt x="4948" y="-1767"/>
                    <a:pt x="7964" y="1249"/>
                  </a:cubicBezTo>
                  <a:cubicBezTo>
                    <a:pt x="10982" y="1249"/>
                    <a:pt x="13998" y="4266"/>
                    <a:pt x="10982" y="7283"/>
                  </a:cubicBezTo>
                  <a:cubicBezTo>
                    <a:pt x="10982" y="7283"/>
                    <a:pt x="-1086" y="58568"/>
                    <a:pt x="29082" y="82702"/>
                  </a:cubicBezTo>
                  <a:cubicBezTo>
                    <a:pt x="32098" y="85719"/>
                    <a:pt x="32098" y="88736"/>
                    <a:pt x="29082" y="91752"/>
                  </a:cubicBezTo>
                  <a:cubicBezTo>
                    <a:pt x="35116" y="91752"/>
                    <a:pt x="32098" y="91752"/>
                    <a:pt x="29082" y="91752"/>
                  </a:cubicBezTo>
                  <a:close/>
                </a:path>
              </a:pathLst>
            </a:custGeom>
            <a:solidFill>
              <a:srgbClr val="E58777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7D1B2776-C5C2-4D8D-991F-D8048EEE60A4}"/>
                </a:ext>
              </a:extLst>
            </p:cNvPr>
            <p:cNvSpPr/>
            <p:nvPr/>
          </p:nvSpPr>
          <p:spPr>
            <a:xfrm>
              <a:off x="21507906" y="9958727"/>
              <a:ext cx="480091" cy="1126302"/>
            </a:xfrm>
            <a:custGeom>
              <a:avLst/>
              <a:gdLst>
                <a:gd name="connsiteX0" fmla="*/ 45677 w 480091"/>
                <a:gd name="connsiteY0" fmla="*/ 64403 h 1126302"/>
                <a:gd name="connsiteX1" fmla="*/ 229699 w 480091"/>
                <a:gd name="connsiteY1" fmla="*/ 142839 h 1126302"/>
                <a:gd name="connsiteX2" fmla="*/ 308136 w 480091"/>
                <a:gd name="connsiteY2" fmla="*/ 604403 h 1126302"/>
                <a:gd name="connsiteX3" fmla="*/ 480091 w 480091"/>
                <a:gd name="connsiteY3" fmla="*/ 1062951 h 1126302"/>
                <a:gd name="connsiteX4" fmla="*/ 371487 w 480091"/>
                <a:gd name="connsiteY4" fmla="*/ 1126302 h 1126302"/>
                <a:gd name="connsiteX5" fmla="*/ 136180 w 480091"/>
                <a:gd name="connsiteY5" fmla="*/ 679822 h 1126302"/>
                <a:gd name="connsiteX6" fmla="*/ 45677 w 480091"/>
                <a:gd name="connsiteY6" fmla="*/ 64403 h 1126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0091" h="1126302">
                  <a:moveTo>
                    <a:pt x="45677" y="64403"/>
                  </a:moveTo>
                  <a:cubicBezTo>
                    <a:pt x="178415" y="-62301"/>
                    <a:pt x="199531" y="16135"/>
                    <a:pt x="229699" y="142839"/>
                  </a:cubicBezTo>
                  <a:cubicBezTo>
                    <a:pt x="259866" y="275577"/>
                    <a:pt x="293052" y="577253"/>
                    <a:pt x="308136" y="604403"/>
                  </a:cubicBezTo>
                  <a:cubicBezTo>
                    <a:pt x="335285" y="697923"/>
                    <a:pt x="480091" y="1062951"/>
                    <a:pt x="480091" y="1062951"/>
                  </a:cubicBezTo>
                  <a:cubicBezTo>
                    <a:pt x="458974" y="1087085"/>
                    <a:pt x="371487" y="1126302"/>
                    <a:pt x="371487" y="1126302"/>
                  </a:cubicBezTo>
                  <a:cubicBezTo>
                    <a:pt x="371487" y="1126302"/>
                    <a:pt x="190481" y="806526"/>
                    <a:pt x="136180" y="679822"/>
                  </a:cubicBezTo>
                  <a:cubicBezTo>
                    <a:pt x="109028" y="619487"/>
                    <a:pt x="-87061" y="191107"/>
                    <a:pt x="45677" y="64403"/>
                  </a:cubicBezTo>
                  <a:close/>
                </a:path>
              </a:pathLst>
            </a:custGeom>
            <a:solidFill>
              <a:srgbClr val="F5A39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D412B14B-C36B-4EF7-B3E9-E1A7CAC60D8B}"/>
                </a:ext>
              </a:extLst>
            </p:cNvPr>
            <p:cNvSpPr/>
            <p:nvPr/>
          </p:nvSpPr>
          <p:spPr>
            <a:xfrm>
              <a:off x="21433890" y="9834628"/>
              <a:ext cx="370147" cy="409306"/>
            </a:xfrm>
            <a:custGeom>
              <a:avLst/>
              <a:gdLst>
                <a:gd name="connsiteX0" fmla="*/ 370084 w 370147"/>
                <a:gd name="connsiteY0" fmla="*/ 360457 h 409306"/>
                <a:gd name="connsiteX1" fmla="*/ 192096 w 370147"/>
                <a:gd name="connsiteY1" fmla="*/ 1463 h 409306"/>
                <a:gd name="connsiteX2" fmla="*/ 2039 w 370147"/>
                <a:gd name="connsiteY2" fmla="*/ 396659 h 409306"/>
                <a:gd name="connsiteX3" fmla="*/ 370084 w 370147"/>
                <a:gd name="connsiteY3" fmla="*/ 360457 h 409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147" h="409306">
                  <a:moveTo>
                    <a:pt x="370084" y="360457"/>
                  </a:moveTo>
                  <a:cubicBezTo>
                    <a:pt x="373102" y="179452"/>
                    <a:pt x="267515" y="19564"/>
                    <a:pt x="192096" y="1463"/>
                  </a:cubicBezTo>
                  <a:cubicBezTo>
                    <a:pt x="89526" y="-19654"/>
                    <a:pt x="-16061" y="191519"/>
                    <a:pt x="2039" y="396659"/>
                  </a:cubicBezTo>
                  <a:cubicBezTo>
                    <a:pt x="65392" y="429843"/>
                    <a:pt x="273548" y="390625"/>
                    <a:pt x="370084" y="360457"/>
                  </a:cubicBezTo>
                  <a:close/>
                </a:path>
              </a:pathLst>
            </a:custGeom>
            <a:solidFill>
              <a:srgbClr val="D16156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55D32928-50E8-464A-9D7D-2AFDEE014C95}"/>
                </a:ext>
              </a:extLst>
            </p:cNvPr>
            <p:cNvSpPr/>
            <p:nvPr/>
          </p:nvSpPr>
          <p:spPr>
            <a:xfrm>
              <a:off x="21428745" y="9827041"/>
              <a:ext cx="173105" cy="419329"/>
            </a:xfrm>
            <a:custGeom>
              <a:avLst/>
              <a:gdLst>
                <a:gd name="connsiteX0" fmla="*/ 64503 w 173105"/>
                <a:gd name="connsiteY0" fmla="*/ 419329 h 419329"/>
                <a:gd name="connsiteX1" fmla="*/ 1152 w 173105"/>
                <a:gd name="connsiteY1" fmla="*/ 407263 h 419329"/>
                <a:gd name="connsiteX2" fmla="*/ 1152 w 173105"/>
                <a:gd name="connsiteY2" fmla="*/ 407263 h 419329"/>
                <a:gd name="connsiteX3" fmla="*/ 1152 w 173105"/>
                <a:gd name="connsiteY3" fmla="*/ 404246 h 419329"/>
                <a:gd name="connsiteX4" fmla="*/ 103720 w 173105"/>
                <a:gd name="connsiteY4" fmla="*/ 36201 h 419329"/>
                <a:gd name="connsiteX5" fmla="*/ 167073 w 173105"/>
                <a:gd name="connsiteY5" fmla="*/ 0 h 419329"/>
                <a:gd name="connsiteX6" fmla="*/ 167073 w 173105"/>
                <a:gd name="connsiteY6" fmla="*/ 0 h 419329"/>
                <a:gd name="connsiteX7" fmla="*/ 173105 w 173105"/>
                <a:gd name="connsiteY7" fmla="*/ 6033 h 419329"/>
                <a:gd name="connsiteX8" fmla="*/ 167073 w 173105"/>
                <a:gd name="connsiteY8" fmla="*/ 12067 h 419329"/>
                <a:gd name="connsiteX9" fmla="*/ 112770 w 173105"/>
                <a:gd name="connsiteY9" fmla="*/ 42234 h 419329"/>
                <a:gd name="connsiteX10" fmla="*/ 13218 w 173105"/>
                <a:gd name="connsiteY10" fmla="*/ 398212 h 419329"/>
                <a:gd name="connsiteX11" fmla="*/ 151990 w 173105"/>
                <a:gd name="connsiteY11" fmla="*/ 401229 h 419329"/>
                <a:gd name="connsiteX12" fmla="*/ 158022 w 173105"/>
                <a:gd name="connsiteY12" fmla="*/ 407263 h 419329"/>
                <a:gd name="connsiteX13" fmla="*/ 151990 w 173105"/>
                <a:gd name="connsiteY13" fmla="*/ 413296 h 419329"/>
                <a:gd name="connsiteX14" fmla="*/ 64503 w 173105"/>
                <a:gd name="connsiteY14" fmla="*/ 419329 h 419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3105" h="419329">
                  <a:moveTo>
                    <a:pt x="64503" y="419329"/>
                  </a:moveTo>
                  <a:cubicBezTo>
                    <a:pt x="13218" y="419329"/>
                    <a:pt x="4168" y="407263"/>
                    <a:pt x="1152" y="407263"/>
                  </a:cubicBezTo>
                  <a:lnTo>
                    <a:pt x="1152" y="407263"/>
                  </a:lnTo>
                  <a:lnTo>
                    <a:pt x="1152" y="404246"/>
                  </a:lnTo>
                  <a:cubicBezTo>
                    <a:pt x="-7900" y="304693"/>
                    <a:pt x="37351" y="114637"/>
                    <a:pt x="103720" y="36201"/>
                  </a:cubicBezTo>
                  <a:cubicBezTo>
                    <a:pt x="124838" y="12067"/>
                    <a:pt x="145956" y="0"/>
                    <a:pt x="167073" y="0"/>
                  </a:cubicBezTo>
                  <a:cubicBezTo>
                    <a:pt x="167073" y="0"/>
                    <a:pt x="167073" y="0"/>
                    <a:pt x="167073" y="0"/>
                  </a:cubicBezTo>
                  <a:cubicBezTo>
                    <a:pt x="170089" y="0"/>
                    <a:pt x="173105" y="3017"/>
                    <a:pt x="173105" y="6033"/>
                  </a:cubicBezTo>
                  <a:cubicBezTo>
                    <a:pt x="173105" y="9050"/>
                    <a:pt x="170089" y="12067"/>
                    <a:pt x="167073" y="12067"/>
                  </a:cubicBezTo>
                  <a:cubicBezTo>
                    <a:pt x="148972" y="12067"/>
                    <a:pt x="130872" y="24134"/>
                    <a:pt x="112770" y="42234"/>
                  </a:cubicBezTo>
                  <a:cubicBezTo>
                    <a:pt x="46403" y="117653"/>
                    <a:pt x="4168" y="298659"/>
                    <a:pt x="13218" y="398212"/>
                  </a:cubicBezTo>
                  <a:cubicBezTo>
                    <a:pt x="19251" y="401229"/>
                    <a:pt x="46403" y="413296"/>
                    <a:pt x="151990" y="401229"/>
                  </a:cubicBezTo>
                  <a:cubicBezTo>
                    <a:pt x="155006" y="401229"/>
                    <a:pt x="158022" y="404246"/>
                    <a:pt x="158022" y="407263"/>
                  </a:cubicBezTo>
                  <a:cubicBezTo>
                    <a:pt x="158022" y="410280"/>
                    <a:pt x="155006" y="413296"/>
                    <a:pt x="151990" y="413296"/>
                  </a:cubicBezTo>
                  <a:cubicBezTo>
                    <a:pt x="112770" y="419329"/>
                    <a:pt x="85621" y="419329"/>
                    <a:pt x="64503" y="419329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F0D27A15-51E8-48B9-A4D6-D86F184DFBF9}"/>
                </a:ext>
              </a:extLst>
            </p:cNvPr>
            <p:cNvGrpSpPr/>
            <p:nvPr/>
          </p:nvGrpSpPr>
          <p:grpSpPr>
            <a:xfrm>
              <a:off x="21877122" y="10994083"/>
              <a:ext cx="238285" cy="329271"/>
              <a:chOff x="21877122" y="10994083"/>
              <a:chExt cx="238285" cy="329271"/>
            </a:xfrm>
          </p:grpSpPr>
          <p:grpSp>
            <p:nvGrpSpPr>
              <p:cNvPr id="35" name="图形 1">
                <a:extLst>
                  <a:ext uri="{FF2B5EF4-FFF2-40B4-BE49-F238E27FC236}">
                    <a16:creationId xmlns:a16="http://schemas.microsoft.com/office/drawing/2014/main" id="{6E18160D-E1C3-4C69-A95C-B172EB038DF0}"/>
                  </a:ext>
                </a:extLst>
              </p:cNvPr>
              <p:cNvGrpSpPr/>
              <p:nvPr/>
            </p:nvGrpSpPr>
            <p:grpSpPr>
              <a:xfrm>
                <a:off x="21877122" y="10994083"/>
                <a:ext cx="238285" cy="329271"/>
                <a:chOff x="21877122" y="10994083"/>
                <a:chExt cx="238285" cy="329271"/>
              </a:xfrm>
            </p:grpSpPr>
            <p:sp>
              <p:nvSpPr>
                <p:cNvPr id="38" name="任意多边形: 形状 37">
                  <a:extLst>
                    <a:ext uri="{FF2B5EF4-FFF2-40B4-BE49-F238E27FC236}">
                      <a16:creationId xmlns:a16="http://schemas.microsoft.com/office/drawing/2014/main" id="{9FE0CCEB-7A0B-47B4-A51C-7A8D75637BA8}"/>
                    </a:ext>
                  </a:extLst>
                </p:cNvPr>
                <p:cNvSpPr/>
                <p:nvPr/>
              </p:nvSpPr>
              <p:spPr>
                <a:xfrm>
                  <a:off x="21877122" y="10994083"/>
                  <a:ext cx="238285" cy="326254"/>
                </a:xfrm>
                <a:custGeom>
                  <a:avLst/>
                  <a:gdLst>
                    <a:gd name="connsiteX0" fmla="*/ 104842 w 238285"/>
                    <a:gd name="connsiteY0" fmla="*/ 281003 h 326254"/>
                    <a:gd name="connsiteX1" fmla="*/ 116908 w 238285"/>
                    <a:gd name="connsiteY1" fmla="*/ 265919 h 326254"/>
                    <a:gd name="connsiteX2" fmla="*/ 116908 w 238285"/>
                    <a:gd name="connsiteY2" fmla="*/ 259885 h 326254"/>
                    <a:gd name="connsiteX3" fmla="*/ 125960 w 238285"/>
                    <a:gd name="connsiteY3" fmla="*/ 284020 h 326254"/>
                    <a:gd name="connsiteX4" fmla="*/ 153109 w 238285"/>
                    <a:gd name="connsiteY4" fmla="*/ 323237 h 326254"/>
                    <a:gd name="connsiteX5" fmla="*/ 162159 w 238285"/>
                    <a:gd name="connsiteY5" fmla="*/ 314188 h 326254"/>
                    <a:gd name="connsiteX6" fmla="*/ 162159 w 238285"/>
                    <a:gd name="connsiteY6" fmla="*/ 311171 h 326254"/>
                    <a:gd name="connsiteX7" fmla="*/ 186295 w 238285"/>
                    <a:gd name="connsiteY7" fmla="*/ 326254 h 326254"/>
                    <a:gd name="connsiteX8" fmla="*/ 201379 w 238285"/>
                    <a:gd name="connsiteY8" fmla="*/ 305137 h 326254"/>
                    <a:gd name="connsiteX9" fmla="*/ 186295 w 238285"/>
                    <a:gd name="connsiteY9" fmla="*/ 253852 h 326254"/>
                    <a:gd name="connsiteX10" fmla="*/ 162159 w 238285"/>
                    <a:gd name="connsiteY10" fmla="*/ 181449 h 326254"/>
                    <a:gd name="connsiteX11" fmla="*/ 195345 w 238285"/>
                    <a:gd name="connsiteY11" fmla="*/ 229718 h 326254"/>
                    <a:gd name="connsiteX12" fmla="*/ 219478 w 238285"/>
                    <a:gd name="connsiteY12" fmla="*/ 265919 h 326254"/>
                    <a:gd name="connsiteX13" fmla="*/ 228528 w 238285"/>
                    <a:gd name="connsiteY13" fmla="*/ 235752 h 326254"/>
                    <a:gd name="connsiteX14" fmla="*/ 141043 w 238285"/>
                    <a:gd name="connsiteY14" fmla="*/ 78880 h 326254"/>
                    <a:gd name="connsiteX15" fmla="*/ 213445 w 238285"/>
                    <a:gd name="connsiteY15" fmla="*/ 90947 h 326254"/>
                    <a:gd name="connsiteX16" fmla="*/ 231546 w 238285"/>
                    <a:gd name="connsiteY16" fmla="*/ 60779 h 326254"/>
                    <a:gd name="connsiteX17" fmla="*/ 71656 w 238285"/>
                    <a:gd name="connsiteY17" fmla="*/ 444 h 326254"/>
                    <a:gd name="connsiteX18" fmla="*/ 2271 w 238285"/>
                    <a:gd name="connsiteY18" fmla="*/ 69830 h 326254"/>
                    <a:gd name="connsiteX19" fmla="*/ 44507 w 238285"/>
                    <a:gd name="connsiteY19" fmla="*/ 190500 h 326254"/>
                    <a:gd name="connsiteX20" fmla="*/ 104842 w 238285"/>
                    <a:gd name="connsiteY20" fmla="*/ 281003 h 3262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38285" h="326254">
                      <a:moveTo>
                        <a:pt x="104842" y="281003"/>
                      </a:moveTo>
                      <a:cubicBezTo>
                        <a:pt x="110876" y="281003"/>
                        <a:pt x="116908" y="274969"/>
                        <a:pt x="116908" y="265919"/>
                      </a:cubicBezTo>
                      <a:cubicBezTo>
                        <a:pt x="116908" y="262902"/>
                        <a:pt x="116908" y="259885"/>
                        <a:pt x="116908" y="259885"/>
                      </a:cubicBezTo>
                      <a:cubicBezTo>
                        <a:pt x="119926" y="268936"/>
                        <a:pt x="122942" y="274969"/>
                        <a:pt x="125960" y="284020"/>
                      </a:cubicBezTo>
                      <a:cubicBezTo>
                        <a:pt x="131992" y="299104"/>
                        <a:pt x="138026" y="317204"/>
                        <a:pt x="153109" y="323237"/>
                      </a:cubicBezTo>
                      <a:cubicBezTo>
                        <a:pt x="156127" y="323237"/>
                        <a:pt x="162159" y="317204"/>
                        <a:pt x="162159" y="314188"/>
                      </a:cubicBezTo>
                      <a:cubicBezTo>
                        <a:pt x="162159" y="314188"/>
                        <a:pt x="162159" y="311171"/>
                        <a:pt x="162159" y="311171"/>
                      </a:cubicBezTo>
                      <a:cubicBezTo>
                        <a:pt x="168193" y="320221"/>
                        <a:pt x="177243" y="326254"/>
                        <a:pt x="186295" y="326254"/>
                      </a:cubicBezTo>
                      <a:cubicBezTo>
                        <a:pt x="195345" y="326254"/>
                        <a:pt x="201379" y="317204"/>
                        <a:pt x="201379" y="305137"/>
                      </a:cubicBezTo>
                      <a:cubicBezTo>
                        <a:pt x="201379" y="287036"/>
                        <a:pt x="192327" y="268936"/>
                        <a:pt x="186295" y="253852"/>
                      </a:cubicBezTo>
                      <a:cubicBezTo>
                        <a:pt x="177243" y="229718"/>
                        <a:pt x="171211" y="205584"/>
                        <a:pt x="162159" y="181449"/>
                      </a:cubicBezTo>
                      <a:cubicBezTo>
                        <a:pt x="174227" y="196533"/>
                        <a:pt x="183277" y="214634"/>
                        <a:pt x="195345" y="229718"/>
                      </a:cubicBezTo>
                      <a:cubicBezTo>
                        <a:pt x="201379" y="238769"/>
                        <a:pt x="210429" y="259885"/>
                        <a:pt x="219478" y="265919"/>
                      </a:cubicBezTo>
                      <a:cubicBezTo>
                        <a:pt x="234562" y="274969"/>
                        <a:pt x="231546" y="244802"/>
                        <a:pt x="228528" y="235752"/>
                      </a:cubicBezTo>
                      <a:cubicBezTo>
                        <a:pt x="213445" y="175416"/>
                        <a:pt x="168193" y="133182"/>
                        <a:pt x="141043" y="78880"/>
                      </a:cubicBezTo>
                      <a:cubicBezTo>
                        <a:pt x="159143" y="84914"/>
                        <a:pt x="186295" y="90947"/>
                        <a:pt x="213445" y="90947"/>
                      </a:cubicBezTo>
                      <a:cubicBezTo>
                        <a:pt x="234562" y="90947"/>
                        <a:pt x="246630" y="60779"/>
                        <a:pt x="231546" y="60779"/>
                      </a:cubicBezTo>
                      <a:cubicBezTo>
                        <a:pt x="162159" y="51729"/>
                        <a:pt x="113892" y="-5589"/>
                        <a:pt x="71656" y="444"/>
                      </a:cubicBezTo>
                      <a:cubicBezTo>
                        <a:pt x="41489" y="6478"/>
                        <a:pt x="8305" y="39662"/>
                        <a:pt x="2271" y="69830"/>
                      </a:cubicBezTo>
                      <a:cubicBezTo>
                        <a:pt x="-9795" y="112064"/>
                        <a:pt x="29423" y="154299"/>
                        <a:pt x="44507" y="190500"/>
                      </a:cubicBezTo>
                      <a:cubicBezTo>
                        <a:pt x="56573" y="211617"/>
                        <a:pt x="86740" y="284020"/>
                        <a:pt x="104842" y="281003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9" name="任意多边形: 形状 38">
                  <a:extLst>
                    <a:ext uri="{FF2B5EF4-FFF2-40B4-BE49-F238E27FC236}">
                      <a16:creationId xmlns:a16="http://schemas.microsoft.com/office/drawing/2014/main" id="{042BFDD7-30A6-43A1-A158-58C6F6D10393}"/>
                    </a:ext>
                  </a:extLst>
                </p:cNvPr>
                <p:cNvSpPr/>
                <p:nvPr/>
              </p:nvSpPr>
              <p:spPr>
                <a:xfrm>
                  <a:off x="21944422" y="11059555"/>
                  <a:ext cx="58659" cy="31508"/>
                </a:xfrm>
                <a:custGeom>
                  <a:avLst/>
                  <a:gdLst>
                    <a:gd name="connsiteX0" fmla="*/ 40558 w 58659"/>
                    <a:gd name="connsiteY0" fmla="*/ 31508 h 31508"/>
                    <a:gd name="connsiteX1" fmla="*/ 1340 w 58659"/>
                    <a:gd name="connsiteY1" fmla="*/ 10391 h 31508"/>
                    <a:gd name="connsiteX2" fmla="*/ 1340 w 58659"/>
                    <a:gd name="connsiteY2" fmla="*/ 1341 h 31508"/>
                    <a:gd name="connsiteX3" fmla="*/ 10390 w 58659"/>
                    <a:gd name="connsiteY3" fmla="*/ 1341 h 31508"/>
                    <a:gd name="connsiteX4" fmla="*/ 49608 w 58659"/>
                    <a:gd name="connsiteY4" fmla="*/ 13408 h 31508"/>
                    <a:gd name="connsiteX5" fmla="*/ 58660 w 58659"/>
                    <a:gd name="connsiteY5" fmla="*/ 16425 h 31508"/>
                    <a:gd name="connsiteX6" fmla="*/ 55642 w 58659"/>
                    <a:gd name="connsiteY6" fmla="*/ 25475 h 31508"/>
                    <a:gd name="connsiteX7" fmla="*/ 40558 w 58659"/>
                    <a:gd name="connsiteY7" fmla="*/ 31508 h 31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8659" h="31508">
                      <a:moveTo>
                        <a:pt x="40558" y="31508"/>
                      </a:moveTo>
                      <a:cubicBezTo>
                        <a:pt x="28492" y="31508"/>
                        <a:pt x="13408" y="25475"/>
                        <a:pt x="1340" y="10391"/>
                      </a:cubicBezTo>
                      <a:cubicBezTo>
                        <a:pt x="-1676" y="7375"/>
                        <a:pt x="1340" y="4358"/>
                        <a:pt x="1340" y="1341"/>
                      </a:cubicBezTo>
                      <a:cubicBezTo>
                        <a:pt x="4356" y="-1676"/>
                        <a:pt x="7374" y="1341"/>
                        <a:pt x="10390" y="1341"/>
                      </a:cubicBezTo>
                      <a:cubicBezTo>
                        <a:pt x="25474" y="22459"/>
                        <a:pt x="49608" y="16425"/>
                        <a:pt x="49608" y="13408"/>
                      </a:cubicBezTo>
                      <a:cubicBezTo>
                        <a:pt x="52626" y="13408"/>
                        <a:pt x="55642" y="13408"/>
                        <a:pt x="58660" y="16425"/>
                      </a:cubicBezTo>
                      <a:cubicBezTo>
                        <a:pt x="58660" y="19442"/>
                        <a:pt x="58660" y="22459"/>
                        <a:pt x="55642" y="25475"/>
                      </a:cubicBezTo>
                      <a:cubicBezTo>
                        <a:pt x="52626" y="31508"/>
                        <a:pt x="46592" y="31508"/>
                        <a:pt x="40558" y="31508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0" name="任意多边形: 形状 39">
                  <a:extLst>
                    <a:ext uri="{FF2B5EF4-FFF2-40B4-BE49-F238E27FC236}">
                      <a16:creationId xmlns:a16="http://schemas.microsoft.com/office/drawing/2014/main" id="{BBA22267-0091-460A-A02A-F35E82ED6642}"/>
                    </a:ext>
                  </a:extLst>
                </p:cNvPr>
                <p:cNvSpPr/>
                <p:nvPr/>
              </p:nvSpPr>
              <p:spPr>
                <a:xfrm>
                  <a:off x="22033249" y="11172516"/>
                  <a:ext cx="70725" cy="150837"/>
                </a:xfrm>
                <a:custGeom>
                  <a:avLst/>
                  <a:gdLst>
                    <a:gd name="connsiteX0" fmla="*/ 27150 w 70725"/>
                    <a:gd name="connsiteY0" fmla="*/ 150838 h 150837"/>
                    <a:gd name="connsiteX1" fmla="*/ 27150 w 70725"/>
                    <a:gd name="connsiteY1" fmla="*/ 150838 h 150837"/>
                    <a:gd name="connsiteX2" fmla="*/ 3016 w 70725"/>
                    <a:gd name="connsiteY2" fmla="*/ 135754 h 150837"/>
                    <a:gd name="connsiteX3" fmla="*/ 6032 w 70725"/>
                    <a:gd name="connsiteY3" fmla="*/ 126703 h 150837"/>
                    <a:gd name="connsiteX4" fmla="*/ 15084 w 70725"/>
                    <a:gd name="connsiteY4" fmla="*/ 129720 h 150837"/>
                    <a:gd name="connsiteX5" fmla="*/ 27150 w 70725"/>
                    <a:gd name="connsiteY5" fmla="*/ 138770 h 150837"/>
                    <a:gd name="connsiteX6" fmla="*/ 27150 w 70725"/>
                    <a:gd name="connsiteY6" fmla="*/ 138770 h 150837"/>
                    <a:gd name="connsiteX7" fmla="*/ 36200 w 70725"/>
                    <a:gd name="connsiteY7" fmla="*/ 132737 h 150837"/>
                    <a:gd name="connsiteX8" fmla="*/ 0 w 70725"/>
                    <a:gd name="connsiteY8" fmla="*/ 6033 h 150837"/>
                    <a:gd name="connsiteX9" fmla="*/ 3016 w 70725"/>
                    <a:gd name="connsiteY9" fmla="*/ 0 h 150837"/>
                    <a:gd name="connsiteX10" fmla="*/ 12066 w 70725"/>
                    <a:gd name="connsiteY10" fmla="*/ 3016 h 150837"/>
                    <a:gd name="connsiteX11" fmla="*/ 69385 w 70725"/>
                    <a:gd name="connsiteY11" fmla="*/ 84469 h 150837"/>
                    <a:gd name="connsiteX12" fmla="*/ 69385 w 70725"/>
                    <a:gd name="connsiteY12" fmla="*/ 93519 h 150837"/>
                    <a:gd name="connsiteX13" fmla="*/ 60335 w 70725"/>
                    <a:gd name="connsiteY13" fmla="*/ 93519 h 150837"/>
                    <a:gd name="connsiteX14" fmla="*/ 30168 w 70725"/>
                    <a:gd name="connsiteY14" fmla="*/ 51284 h 150837"/>
                    <a:gd name="connsiteX15" fmla="*/ 48267 w 70725"/>
                    <a:gd name="connsiteY15" fmla="*/ 141787 h 150837"/>
                    <a:gd name="connsiteX16" fmla="*/ 27150 w 70725"/>
                    <a:gd name="connsiteY16" fmla="*/ 150838 h 150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70725" h="150837">
                      <a:moveTo>
                        <a:pt x="27150" y="150838"/>
                      </a:moveTo>
                      <a:lnTo>
                        <a:pt x="27150" y="150838"/>
                      </a:lnTo>
                      <a:cubicBezTo>
                        <a:pt x="18100" y="150838"/>
                        <a:pt x="9050" y="144804"/>
                        <a:pt x="3016" y="135754"/>
                      </a:cubicBezTo>
                      <a:cubicBezTo>
                        <a:pt x="0" y="132737"/>
                        <a:pt x="3016" y="129720"/>
                        <a:pt x="6032" y="126703"/>
                      </a:cubicBezTo>
                      <a:cubicBezTo>
                        <a:pt x="9050" y="126703"/>
                        <a:pt x="12066" y="126703"/>
                        <a:pt x="15084" y="129720"/>
                      </a:cubicBezTo>
                      <a:cubicBezTo>
                        <a:pt x="18100" y="135754"/>
                        <a:pt x="24134" y="138770"/>
                        <a:pt x="27150" y="138770"/>
                      </a:cubicBezTo>
                      <a:lnTo>
                        <a:pt x="27150" y="138770"/>
                      </a:lnTo>
                      <a:cubicBezTo>
                        <a:pt x="33184" y="138770"/>
                        <a:pt x="36200" y="135754"/>
                        <a:pt x="36200" y="132737"/>
                      </a:cubicBezTo>
                      <a:cubicBezTo>
                        <a:pt x="39218" y="123686"/>
                        <a:pt x="21116" y="60335"/>
                        <a:pt x="0" y="6033"/>
                      </a:cubicBezTo>
                      <a:cubicBezTo>
                        <a:pt x="0" y="3016"/>
                        <a:pt x="0" y="0"/>
                        <a:pt x="3016" y="0"/>
                      </a:cubicBezTo>
                      <a:cubicBezTo>
                        <a:pt x="6032" y="0"/>
                        <a:pt x="9050" y="0"/>
                        <a:pt x="12066" y="3016"/>
                      </a:cubicBezTo>
                      <a:cubicBezTo>
                        <a:pt x="30168" y="36201"/>
                        <a:pt x="69385" y="84469"/>
                        <a:pt x="69385" y="84469"/>
                      </a:cubicBezTo>
                      <a:cubicBezTo>
                        <a:pt x="72401" y="87486"/>
                        <a:pt x="69385" y="90503"/>
                        <a:pt x="69385" y="93519"/>
                      </a:cubicBezTo>
                      <a:cubicBezTo>
                        <a:pt x="66367" y="96536"/>
                        <a:pt x="63351" y="93519"/>
                        <a:pt x="60335" y="93519"/>
                      </a:cubicBezTo>
                      <a:cubicBezTo>
                        <a:pt x="60335" y="93519"/>
                        <a:pt x="45251" y="72402"/>
                        <a:pt x="30168" y="51284"/>
                      </a:cubicBezTo>
                      <a:cubicBezTo>
                        <a:pt x="42234" y="90503"/>
                        <a:pt x="54301" y="132737"/>
                        <a:pt x="48267" y="141787"/>
                      </a:cubicBezTo>
                      <a:cubicBezTo>
                        <a:pt x="42234" y="147821"/>
                        <a:pt x="36200" y="150838"/>
                        <a:pt x="27150" y="150838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3016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518D8626-3BC2-4A86-A777-9DE3601BDF89}"/>
                  </a:ext>
                </a:extLst>
              </p:cNvPr>
              <p:cNvSpPr/>
              <p:nvPr/>
            </p:nvSpPr>
            <p:spPr>
              <a:xfrm>
                <a:off x="21921629" y="11160449"/>
                <a:ext cx="77681" cy="120670"/>
              </a:xfrm>
              <a:custGeom>
                <a:avLst/>
                <a:gdLst>
                  <a:gd name="connsiteX0" fmla="*/ 60335 w 77681"/>
                  <a:gd name="connsiteY0" fmla="*/ 120670 h 120670"/>
                  <a:gd name="connsiteX1" fmla="*/ 0 w 77681"/>
                  <a:gd name="connsiteY1" fmla="*/ 36201 h 120670"/>
                  <a:gd name="connsiteX2" fmla="*/ 3016 w 77681"/>
                  <a:gd name="connsiteY2" fmla="*/ 27152 h 120670"/>
                  <a:gd name="connsiteX3" fmla="*/ 12066 w 77681"/>
                  <a:gd name="connsiteY3" fmla="*/ 30168 h 120670"/>
                  <a:gd name="connsiteX4" fmla="*/ 60335 w 77681"/>
                  <a:gd name="connsiteY4" fmla="*/ 105587 h 120670"/>
                  <a:gd name="connsiteX5" fmla="*/ 60335 w 77681"/>
                  <a:gd name="connsiteY5" fmla="*/ 105587 h 120670"/>
                  <a:gd name="connsiteX6" fmla="*/ 66369 w 77681"/>
                  <a:gd name="connsiteY6" fmla="*/ 102571 h 120670"/>
                  <a:gd name="connsiteX7" fmla="*/ 66369 w 77681"/>
                  <a:gd name="connsiteY7" fmla="*/ 84470 h 120670"/>
                  <a:gd name="connsiteX8" fmla="*/ 51285 w 77681"/>
                  <a:gd name="connsiteY8" fmla="*/ 51285 h 120670"/>
                  <a:gd name="connsiteX9" fmla="*/ 33184 w 77681"/>
                  <a:gd name="connsiteY9" fmla="*/ 6034 h 120670"/>
                  <a:gd name="connsiteX10" fmla="*/ 36201 w 77681"/>
                  <a:gd name="connsiteY10" fmla="*/ 0 h 120670"/>
                  <a:gd name="connsiteX11" fmla="*/ 42234 w 77681"/>
                  <a:gd name="connsiteY11" fmla="*/ 3017 h 120670"/>
                  <a:gd name="connsiteX12" fmla="*/ 60335 w 77681"/>
                  <a:gd name="connsiteY12" fmla="*/ 45251 h 120670"/>
                  <a:gd name="connsiteX13" fmla="*/ 75419 w 77681"/>
                  <a:gd name="connsiteY13" fmla="*/ 78436 h 120670"/>
                  <a:gd name="connsiteX14" fmla="*/ 75419 w 77681"/>
                  <a:gd name="connsiteY14" fmla="*/ 105587 h 120670"/>
                  <a:gd name="connsiteX15" fmla="*/ 60335 w 77681"/>
                  <a:gd name="connsiteY15" fmla="*/ 120670 h 120670"/>
                  <a:gd name="connsiteX16" fmla="*/ 60335 w 77681"/>
                  <a:gd name="connsiteY16" fmla="*/ 120670 h 120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7681" h="120670">
                    <a:moveTo>
                      <a:pt x="60335" y="120670"/>
                    </a:moveTo>
                    <a:cubicBezTo>
                      <a:pt x="39218" y="120670"/>
                      <a:pt x="12066" y="63352"/>
                      <a:pt x="0" y="36201"/>
                    </a:cubicBezTo>
                    <a:cubicBezTo>
                      <a:pt x="0" y="33185"/>
                      <a:pt x="0" y="30168"/>
                      <a:pt x="3016" y="27152"/>
                    </a:cubicBezTo>
                    <a:cubicBezTo>
                      <a:pt x="6034" y="27152"/>
                      <a:pt x="9050" y="27152"/>
                      <a:pt x="12066" y="30168"/>
                    </a:cubicBezTo>
                    <a:cubicBezTo>
                      <a:pt x="30168" y="72403"/>
                      <a:pt x="51285" y="105587"/>
                      <a:pt x="60335" y="105587"/>
                    </a:cubicBezTo>
                    <a:lnTo>
                      <a:pt x="60335" y="105587"/>
                    </a:lnTo>
                    <a:cubicBezTo>
                      <a:pt x="66369" y="105587"/>
                      <a:pt x="66369" y="102571"/>
                      <a:pt x="66369" y="102571"/>
                    </a:cubicBezTo>
                    <a:cubicBezTo>
                      <a:pt x="69385" y="99554"/>
                      <a:pt x="69385" y="93520"/>
                      <a:pt x="66369" y="84470"/>
                    </a:cubicBezTo>
                    <a:cubicBezTo>
                      <a:pt x="63351" y="78436"/>
                      <a:pt x="57317" y="66369"/>
                      <a:pt x="51285" y="51285"/>
                    </a:cubicBezTo>
                    <a:cubicBezTo>
                      <a:pt x="42234" y="33185"/>
                      <a:pt x="33184" y="15084"/>
                      <a:pt x="33184" y="6034"/>
                    </a:cubicBezTo>
                    <a:cubicBezTo>
                      <a:pt x="33184" y="3017"/>
                      <a:pt x="33184" y="0"/>
                      <a:pt x="36201" y="0"/>
                    </a:cubicBezTo>
                    <a:cubicBezTo>
                      <a:pt x="39218" y="0"/>
                      <a:pt x="42234" y="0"/>
                      <a:pt x="42234" y="3017"/>
                    </a:cubicBezTo>
                    <a:cubicBezTo>
                      <a:pt x="45251" y="9051"/>
                      <a:pt x="51285" y="30168"/>
                      <a:pt x="60335" y="45251"/>
                    </a:cubicBezTo>
                    <a:cubicBezTo>
                      <a:pt x="66369" y="60335"/>
                      <a:pt x="72401" y="72403"/>
                      <a:pt x="75419" y="78436"/>
                    </a:cubicBezTo>
                    <a:cubicBezTo>
                      <a:pt x="78435" y="90503"/>
                      <a:pt x="78435" y="99554"/>
                      <a:pt x="75419" y="105587"/>
                    </a:cubicBezTo>
                    <a:cubicBezTo>
                      <a:pt x="75419" y="114637"/>
                      <a:pt x="69385" y="120670"/>
                      <a:pt x="60335" y="120670"/>
                    </a:cubicBezTo>
                    <a:cubicBezTo>
                      <a:pt x="60335" y="120670"/>
                      <a:pt x="60335" y="120670"/>
                      <a:pt x="60335" y="12067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101BA139-406E-408D-BF8C-B40C2678120C}"/>
                  </a:ext>
                </a:extLst>
              </p:cNvPr>
              <p:cNvSpPr/>
              <p:nvPr/>
            </p:nvSpPr>
            <p:spPr>
              <a:xfrm>
                <a:off x="21994030" y="11166483"/>
                <a:ext cx="54303" cy="156871"/>
              </a:xfrm>
              <a:custGeom>
                <a:avLst/>
                <a:gdLst>
                  <a:gd name="connsiteX0" fmla="*/ 39219 w 54303"/>
                  <a:gd name="connsiteY0" fmla="*/ 156872 h 156871"/>
                  <a:gd name="connsiteX1" fmla="*/ 36201 w 54303"/>
                  <a:gd name="connsiteY1" fmla="*/ 156872 h 156871"/>
                  <a:gd name="connsiteX2" fmla="*/ 0 w 54303"/>
                  <a:gd name="connsiteY2" fmla="*/ 102570 h 156871"/>
                  <a:gd name="connsiteX3" fmla="*/ 3018 w 54303"/>
                  <a:gd name="connsiteY3" fmla="*/ 93520 h 156871"/>
                  <a:gd name="connsiteX4" fmla="*/ 12068 w 54303"/>
                  <a:gd name="connsiteY4" fmla="*/ 96537 h 156871"/>
                  <a:gd name="connsiteX5" fmla="*/ 39219 w 54303"/>
                  <a:gd name="connsiteY5" fmla="*/ 144804 h 156871"/>
                  <a:gd name="connsiteX6" fmla="*/ 42235 w 54303"/>
                  <a:gd name="connsiteY6" fmla="*/ 144804 h 156871"/>
                  <a:gd name="connsiteX7" fmla="*/ 48269 w 54303"/>
                  <a:gd name="connsiteY7" fmla="*/ 123687 h 156871"/>
                  <a:gd name="connsiteX8" fmla="*/ 24136 w 54303"/>
                  <a:gd name="connsiteY8" fmla="*/ 69385 h 156871"/>
                  <a:gd name="connsiteX9" fmla="*/ 18102 w 54303"/>
                  <a:gd name="connsiteY9" fmla="*/ 60335 h 156871"/>
                  <a:gd name="connsiteX10" fmla="*/ 0 w 54303"/>
                  <a:gd name="connsiteY10" fmla="*/ 6034 h 156871"/>
                  <a:gd name="connsiteX11" fmla="*/ 3018 w 54303"/>
                  <a:gd name="connsiteY11" fmla="*/ 0 h 156871"/>
                  <a:gd name="connsiteX12" fmla="*/ 9052 w 54303"/>
                  <a:gd name="connsiteY12" fmla="*/ 3017 h 156871"/>
                  <a:gd name="connsiteX13" fmla="*/ 27152 w 54303"/>
                  <a:gd name="connsiteY13" fmla="*/ 54301 h 156871"/>
                  <a:gd name="connsiteX14" fmla="*/ 30168 w 54303"/>
                  <a:gd name="connsiteY14" fmla="*/ 63352 h 156871"/>
                  <a:gd name="connsiteX15" fmla="*/ 54303 w 54303"/>
                  <a:gd name="connsiteY15" fmla="*/ 120670 h 156871"/>
                  <a:gd name="connsiteX16" fmla="*/ 45251 w 54303"/>
                  <a:gd name="connsiteY16" fmla="*/ 150838 h 156871"/>
                  <a:gd name="connsiteX17" fmla="*/ 39219 w 54303"/>
                  <a:gd name="connsiteY17" fmla="*/ 156872 h 156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4303" h="156871">
                    <a:moveTo>
                      <a:pt x="39219" y="156872"/>
                    </a:moveTo>
                    <a:cubicBezTo>
                      <a:pt x="39219" y="156872"/>
                      <a:pt x="36201" y="156872"/>
                      <a:pt x="36201" y="156872"/>
                    </a:cubicBezTo>
                    <a:cubicBezTo>
                      <a:pt x="24136" y="153855"/>
                      <a:pt x="6034" y="117653"/>
                      <a:pt x="0" y="102570"/>
                    </a:cubicBezTo>
                    <a:cubicBezTo>
                      <a:pt x="0" y="99553"/>
                      <a:pt x="0" y="96537"/>
                      <a:pt x="3018" y="93520"/>
                    </a:cubicBezTo>
                    <a:cubicBezTo>
                      <a:pt x="6034" y="93520"/>
                      <a:pt x="9052" y="93520"/>
                      <a:pt x="12068" y="96537"/>
                    </a:cubicBezTo>
                    <a:cubicBezTo>
                      <a:pt x="21118" y="120670"/>
                      <a:pt x="33185" y="144804"/>
                      <a:pt x="39219" y="144804"/>
                    </a:cubicBezTo>
                    <a:cubicBezTo>
                      <a:pt x="39219" y="144804"/>
                      <a:pt x="42235" y="144804"/>
                      <a:pt x="42235" y="144804"/>
                    </a:cubicBezTo>
                    <a:cubicBezTo>
                      <a:pt x="45251" y="141788"/>
                      <a:pt x="48269" y="132737"/>
                      <a:pt x="48269" y="123687"/>
                    </a:cubicBezTo>
                    <a:cubicBezTo>
                      <a:pt x="48269" y="114637"/>
                      <a:pt x="33185" y="84469"/>
                      <a:pt x="24136" y="69385"/>
                    </a:cubicBezTo>
                    <a:cubicBezTo>
                      <a:pt x="21118" y="66369"/>
                      <a:pt x="21118" y="60335"/>
                      <a:pt x="18102" y="60335"/>
                    </a:cubicBezTo>
                    <a:cubicBezTo>
                      <a:pt x="15084" y="51285"/>
                      <a:pt x="0" y="9050"/>
                      <a:pt x="0" y="6034"/>
                    </a:cubicBezTo>
                    <a:cubicBezTo>
                      <a:pt x="0" y="3017"/>
                      <a:pt x="0" y="0"/>
                      <a:pt x="3018" y="0"/>
                    </a:cubicBezTo>
                    <a:cubicBezTo>
                      <a:pt x="6034" y="0"/>
                      <a:pt x="9052" y="0"/>
                      <a:pt x="9052" y="3017"/>
                    </a:cubicBezTo>
                    <a:cubicBezTo>
                      <a:pt x="12068" y="15084"/>
                      <a:pt x="24136" y="48268"/>
                      <a:pt x="27152" y="54301"/>
                    </a:cubicBezTo>
                    <a:cubicBezTo>
                      <a:pt x="27152" y="57318"/>
                      <a:pt x="30168" y="60335"/>
                      <a:pt x="30168" y="63352"/>
                    </a:cubicBezTo>
                    <a:cubicBezTo>
                      <a:pt x="42235" y="87486"/>
                      <a:pt x="54303" y="111620"/>
                      <a:pt x="54303" y="120670"/>
                    </a:cubicBezTo>
                    <a:cubicBezTo>
                      <a:pt x="54303" y="129720"/>
                      <a:pt x="54303" y="144804"/>
                      <a:pt x="45251" y="150838"/>
                    </a:cubicBezTo>
                    <a:cubicBezTo>
                      <a:pt x="45251" y="153855"/>
                      <a:pt x="42235" y="156872"/>
                      <a:pt x="39219" y="156872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47" name="图形 1">
            <a:extLst>
              <a:ext uri="{FF2B5EF4-FFF2-40B4-BE49-F238E27FC236}">
                <a16:creationId xmlns:a16="http://schemas.microsoft.com/office/drawing/2014/main" id="{A498DB6D-3F94-43C4-B8AC-401675990B01}"/>
              </a:ext>
            </a:extLst>
          </p:cNvPr>
          <p:cNvGrpSpPr/>
          <p:nvPr/>
        </p:nvGrpSpPr>
        <p:grpSpPr>
          <a:xfrm>
            <a:off x="6830033" y="1341018"/>
            <a:ext cx="2802568" cy="5516982"/>
            <a:chOff x="23731684" y="7019109"/>
            <a:chExt cx="2802568" cy="5516982"/>
          </a:xfrm>
        </p:grpSpPr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E3687FAE-5E84-40AA-9A96-53547D4D4BA3}"/>
                </a:ext>
              </a:extLst>
            </p:cNvPr>
            <p:cNvSpPr/>
            <p:nvPr/>
          </p:nvSpPr>
          <p:spPr>
            <a:xfrm>
              <a:off x="23731684" y="12174080"/>
              <a:ext cx="2802568" cy="362011"/>
            </a:xfrm>
            <a:custGeom>
              <a:avLst/>
              <a:gdLst>
                <a:gd name="connsiteX0" fmla="*/ 0 w 2802568"/>
                <a:gd name="connsiteY0" fmla="*/ 343910 h 362011"/>
                <a:gd name="connsiteX1" fmla="*/ 2802569 w 2802568"/>
                <a:gd name="connsiteY1" fmla="*/ 362011 h 362011"/>
                <a:gd name="connsiteX2" fmla="*/ 2356089 w 2802568"/>
                <a:gd name="connsiteY2" fmla="*/ 18101 h 362011"/>
                <a:gd name="connsiteX3" fmla="*/ 446480 w 2802568"/>
                <a:gd name="connsiteY3" fmla="*/ 0 h 362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2568" h="362011">
                  <a:moveTo>
                    <a:pt x="0" y="343910"/>
                  </a:moveTo>
                  <a:lnTo>
                    <a:pt x="2802569" y="362011"/>
                  </a:lnTo>
                  <a:lnTo>
                    <a:pt x="2356089" y="18101"/>
                  </a:lnTo>
                  <a:lnTo>
                    <a:pt x="446480" y="0"/>
                  </a:ln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D1EFA95D-D9F0-4853-B2B3-3B89516CC2D6}"/>
                </a:ext>
              </a:extLst>
            </p:cNvPr>
            <p:cNvSpPr/>
            <p:nvPr/>
          </p:nvSpPr>
          <p:spPr>
            <a:xfrm>
              <a:off x="24333111" y="10756203"/>
              <a:ext cx="1148294" cy="675754"/>
            </a:xfrm>
            <a:custGeom>
              <a:avLst/>
              <a:gdLst>
                <a:gd name="connsiteX0" fmla="*/ 1148294 w 1148294"/>
                <a:gd name="connsiteY0" fmla="*/ 675754 h 675754"/>
                <a:gd name="connsiteX1" fmla="*/ 4942 w 1148294"/>
                <a:gd name="connsiteY1" fmla="*/ 521900 h 675754"/>
                <a:gd name="connsiteX2" fmla="*/ 116562 w 1148294"/>
                <a:gd name="connsiteY2" fmla="*/ 0 h 675754"/>
                <a:gd name="connsiteX3" fmla="*/ 629411 w 1148294"/>
                <a:gd name="connsiteY3" fmla="*/ 18101 h 675754"/>
                <a:gd name="connsiteX4" fmla="*/ 469523 w 1148294"/>
                <a:gd name="connsiteY4" fmla="*/ 374078 h 675754"/>
                <a:gd name="connsiteX5" fmla="*/ 1109077 w 1148294"/>
                <a:gd name="connsiteY5" fmla="*/ 482682 h 675754"/>
                <a:gd name="connsiteX6" fmla="*/ 1148294 w 1148294"/>
                <a:gd name="connsiteY6" fmla="*/ 675754 h 67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8294" h="675754">
                  <a:moveTo>
                    <a:pt x="1148294" y="675754"/>
                  </a:moveTo>
                  <a:cubicBezTo>
                    <a:pt x="1148294" y="675754"/>
                    <a:pt x="47177" y="666704"/>
                    <a:pt x="4942" y="521900"/>
                  </a:cubicBezTo>
                  <a:cubicBezTo>
                    <a:pt x="-28242" y="404246"/>
                    <a:pt x="116562" y="0"/>
                    <a:pt x="116562" y="0"/>
                  </a:cubicBezTo>
                  <a:lnTo>
                    <a:pt x="629411" y="18101"/>
                  </a:lnTo>
                  <a:cubicBezTo>
                    <a:pt x="629411" y="18101"/>
                    <a:pt x="475557" y="301676"/>
                    <a:pt x="469523" y="374078"/>
                  </a:cubicBezTo>
                  <a:cubicBezTo>
                    <a:pt x="463490" y="446481"/>
                    <a:pt x="1109077" y="482682"/>
                    <a:pt x="1109077" y="482682"/>
                  </a:cubicBezTo>
                  <a:lnTo>
                    <a:pt x="1148294" y="675754"/>
                  </a:ln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FDB52885-F391-4209-9DAA-8CFCDA977CD1}"/>
                </a:ext>
              </a:extLst>
            </p:cNvPr>
            <p:cNvSpPr/>
            <p:nvPr/>
          </p:nvSpPr>
          <p:spPr>
            <a:xfrm>
              <a:off x="25288332" y="10807488"/>
              <a:ext cx="504522" cy="1517429"/>
            </a:xfrm>
            <a:custGeom>
              <a:avLst/>
              <a:gdLst>
                <a:gd name="connsiteX0" fmla="*/ 171956 w 504522"/>
                <a:gd name="connsiteY0" fmla="*/ 1517430 h 1517429"/>
                <a:gd name="connsiteX1" fmla="*/ 497765 w 504522"/>
                <a:gd name="connsiteY1" fmla="*/ 491731 h 1517429"/>
                <a:gd name="connsiteX2" fmla="*/ 473632 w 504522"/>
                <a:gd name="connsiteY2" fmla="*/ 0 h 1517429"/>
                <a:gd name="connsiteX3" fmla="*/ 114637 w 504522"/>
                <a:gd name="connsiteY3" fmla="*/ 123687 h 1517429"/>
                <a:gd name="connsiteX4" fmla="*/ 144804 w 504522"/>
                <a:gd name="connsiteY4" fmla="*/ 470615 h 1517429"/>
                <a:gd name="connsiteX5" fmla="*/ 0 w 504522"/>
                <a:gd name="connsiteY5" fmla="*/ 1499329 h 1517429"/>
                <a:gd name="connsiteX6" fmla="*/ 171956 w 504522"/>
                <a:gd name="connsiteY6" fmla="*/ 1517430 h 151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4522" h="1517429">
                  <a:moveTo>
                    <a:pt x="171956" y="1517430"/>
                  </a:moveTo>
                  <a:cubicBezTo>
                    <a:pt x="171956" y="1517430"/>
                    <a:pt x="473632" y="600335"/>
                    <a:pt x="497765" y="491731"/>
                  </a:cubicBezTo>
                  <a:cubicBezTo>
                    <a:pt x="521899" y="380112"/>
                    <a:pt x="473632" y="0"/>
                    <a:pt x="473632" y="0"/>
                  </a:cubicBezTo>
                  <a:lnTo>
                    <a:pt x="114637" y="123687"/>
                  </a:lnTo>
                  <a:cubicBezTo>
                    <a:pt x="114637" y="123687"/>
                    <a:pt x="150838" y="410280"/>
                    <a:pt x="144804" y="470615"/>
                  </a:cubicBezTo>
                  <a:cubicBezTo>
                    <a:pt x="138772" y="524916"/>
                    <a:pt x="21118" y="1351508"/>
                    <a:pt x="0" y="1499329"/>
                  </a:cubicBezTo>
                  <a:lnTo>
                    <a:pt x="171956" y="1517430"/>
                  </a:ln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E0ED6690-6EB7-422E-BCB9-A14089E8B596}"/>
                </a:ext>
              </a:extLst>
            </p:cNvPr>
            <p:cNvSpPr/>
            <p:nvPr/>
          </p:nvSpPr>
          <p:spPr>
            <a:xfrm>
              <a:off x="24344086" y="9980896"/>
              <a:ext cx="1489890" cy="1198351"/>
            </a:xfrm>
            <a:custGeom>
              <a:avLst/>
              <a:gdLst>
                <a:gd name="connsiteX0" fmla="*/ 1345474 w 1489890"/>
                <a:gd name="connsiteY0" fmla="*/ 21117 h 1198351"/>
                <a:gd name="connsiteX1" fmla="*/ 1484246 w 1489890"/>
                <a:gd name="connsiteY1" fmla="*/ 1137318 h 1198351"/>
                <a:gd name="connsiteX2" fmla="*/ 1004581 w 1489890"/>
                <a:gd name="connsiteY2" fmla="*/ 1191620 h 1198351"/>
                <a:gd name="connsiteX3" fmla="*/ 859777 w 1489890"/>
                <a:gd name="connsiteY3" fmla="*/ 449497 h 1198351"/>
                <a:gd name="connsiteX4" fmla="*/ 570168 w 1489890"/>
                <a:gd name="connsiteY4" fmla="*/ 1122234 h 1198351"/>
                <a:gd name="connsiteX5" fmla="*/ 0 w 1489890"/>
                <a:gd name="connsiteY5" fmla="*/ 998547 h 1198351"/>
                <a:gd name="connsiteX6" fmla="*/ 334860 w 1489890"/>
                <a:gd name="connsiteY6" fmla="*/ 0 h 1198351"/>
                <a:gd name="connsiteX7" fmla="*/ 1345474 w 1489890"/>
                <a:gd name="connsiteY7" fmla="*/ 21117 h 1198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9890" h="1198351">
                  <a:moveTo>
                    <a:pt x="1345474" y="21117"/>
                  </a:moveTo>
                  <a:cubicBezTo>
                    <a:pt x="1345474" y="21117"/>
                    <a:pt x="1523464" y="1034748"/>
                    <a:pt x="1484246" y="1137318"/>
                  </a:cubicBezTo>
                  <a:cubicBezTo>
                    <a:pt x="1369610" y="1212737"/>
                    <a:pt x="1152403" y="1200670"/>
                    <a:pt x="1004581" y="1191620"/>
                  </a:cubicBezTo>
                  <a:cubicBezTo>
                    <a:pt x="1010615" y="1095083"/>
                    <a:pt x="874860" y="479665"/>
                    <a:pt x="859777" y="449497"/>
                  </a:cubicBezTo>
                  <a:cubicBezTo>
                    <a:pt x="844693" y="419329"/>
                    <a:pt x="570168" y="1122234"/>
                    <a:pt x="570168" y="1122234"/>
                  </a:cubicBezTo>
                  <a:cubicBezTo>
                    <a:pt x="570168" y="1122234"/>
                    <a:pt x="174972" y="1067933"/>
                    <a:pt x="0" y="998547"/>
                  </a:cubicBezTo>
                  <a:cubicBezTo>
                    <a:pt x="30168" y="853743"/>
                    <a:pt x="289608" y="96536"/>
                    <a:pt x="334860" y="0"/>
                  </a:cubicBezTo>
                  <a:cubicBezTo>
                    <a:pt x="1022682" y="33184"/>
                    <a:pt x="1345474" y="21117"/>
                    <a:pt x="1345474" y="21117"/>
                  </a:cubicBezTo>
                  <a:close/>
                </a:path>
              </a:pathLst>
            </a:custGeom>
            <a:solidFill>
              <a:srgbClr val="6C5D6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7FDB374D-688B-4569-8E6E-C63266F95DD0}"/>
                </a:ext>
              </a:extLst>
            </p:cNvPr>
            <p:cNvSpPr/>
            <p:nvPr/>
          </p:nvSpPr>
          <p:spPr>
            <a:xfrm>
              <a:off x="25194813" y="10122684"/>
              <a:ext cx="66369" cy="313742"/>
            </a:xfrm>
            <a:custGeom>
              <a:avLst/>
              <a:gdLst>
                <a:gd name="connsiteX0" fmla="*/ 6034 w 66369"/>
                <a:gd name="connsiteY0" fmla="*/ 313743 h 313742"/>
                <a:gd name="connsiteX1" fmla="*/ 6034 w 66369"/>
                <a:gd name="connsiteY1" fmla="*/ 313743 h 313742"/>
                <a:gd name="connsiteX2" fmla="*/ 0 w 66369"/>
                <a:gd name="connsiteY2" fmla="*/ 304693 h 313742"/>
                <a:gd name="connsiteX3" fmla="*/ 54301 w 66369"/>
                <a:gd name="connsiteY3" fmla="*/ 6034 h 313742"/>
                <a:gd name="connsiteX4" fmla="*/ 60335 w 66369"/>
                <a:gd name="connsiteY4" fmla="*/ 0 h 313742"/>
                <a:gd name="connsiteX5" fmla="*/ 60335 w 66369"/>
                <a:gd name="connsiteY5" fmla="*/ 0 h 313742"/>
                <a:gd name="connsiteX6" fmla="*/ 66369 w 66369"/>
                <a:gd name="connsiteY6" fmla="*/ 6034 h 313742"/>
                <a:gd name="connsiteX7" fmla="*/ 12066 w 66369"/>
                <a:gd name="connsiteY7" fmla="*/ 307710 h 313742"/>
                <a:gd name="connsiteX8" fmla="*/ 6034 w 66369"/>
                <a:gd name="connsiteY8" fmla="*/ 313743 h 313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369" h="313742">
                  <a:moveTo>
                    <a:pt x="6034" y="313743"/>
                  </a:moveTo>
                  <a:cubicBezTo>
                    <a:pt x="6034" y="313743"/>
                    <a:pt x="6034" y="313743"/>
                    <a:pt x="6034" y="313743"/>
                  </a:cubicBezTo>
                  <a:cubicBezTo>
                    <a:pt x="0" y="310727"/>
                    <a:pt x="0" y="307710"/>
                    <a:pt x="0" y="304693"/>
                  </a:cubicBezTo>
                  <a:cubicBezTo>
                    <a:pt x="48267" y="193072"/>
                    <a:pt x="54301" y="9051"/>
                    <a:pt x="54301" y="6034"/>
                  </a:cubicBezTo>
                  <a:cubicBezTo>
                    <a:pt x="54301" y="3017"/>
                    <a:pt x="57317" y="0"/>
                    <a:pt x="60335" y="0"/>
                  </a:cubicBezTo>
                  <a:lnTo>
                    <a:pt x="60335" y="0"/>
                  </a:lnTo>
                  <a:cubicBezTo>
                    <a:pt x="63351" y="0"/>
                    <a:pt x="66369" y="3017"/>
                    <a:pt x="66369" y="6034"/>
                  </a:cubicBezTo>
                  <a:cubicBezTo>
                    <a:pt x="66369" y="9051"/>
                    <a:pt x="60335" y="193072"/>
                    <a:pt x="12066" y="307710"/>
                  </a:cubicBezTo>
                  <a:cubicBezTo>
                    <a:pt x="12066" y="310727"/>
                    <a:pt x="9050" y="313743"/>
                    <a:pt x="6034" y="313743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C36242E5-0065-4A22-AA80-C7840D2C9CB4}"/>
                </a:ext>
              </a:extLst>
            </p:cNvPr>
            <p:cNvSpPr/>
            <p:nvPr/>
          </p:nvSpPr>
          <p:spPr>
            <a:xfrm>
              <a:off x="25221963" y="10053298"/>
              <a:ext cx="153855" cy="304692"/>
            </a:xfrm>
            <a:custGeom>
              <a:avLst/>
              <a:gdLst>
                <a:gd name="connsiteX0" fmla="*/ 6034 w 153855"/>
                <a:gd name="connsiteY0" fmla="*/ 304693 h 304692"/>
                <a:gd name="connsiteX1" fmla="*/ 0 w 153855"/>
                <a:gd name="connsiteY1" fmla="*/ 298659 h 304692"/>
                <a:gd name="connsiteX2" fmla="*/ 6034 w 153855"/>
                <a:gd name="connsiteY2" fmla="*/ 292625 h 304692"/>
                <a:gd name="connsiteX3" fmla="*/ 108604 w 153855"/>
                <a:gd name="connsiteY3" fmla="*/ 265475 h 304692"/>
                <a:gd name="connsiteX4" fmla="*/ 141788 w 153855"/>
                <a:gd name="connsiteY4" fmla="*/ 6033 h 304692"/>
                <a:gd name="connsiteX5" fmla="*/ 147822 w 153855"/>
                <a:gd name="connsiteY5" fmla="*/ 0 h 304692"/>
                <a:gd name="connsiteX6" fmla="*/ 153856 w 153855"/>
                <a:gd name="connsiteY6" fmla="*/ 6033 h 304692"/>
                <a:gd name="connsiteX7" fmla="*/ 120670 w 153855"/>
                <a:gd name="connsiteY7" fmla="*/ 271508 h 304692"/>
                <a:gd name="connsiteX8" fmla="*/ 6034 w 153855"/>
                <a:gd name="connsiteY8" fmla="*/ 304693 h 304692"/>
                <a:gd name="connsiteX9" fmla="*/ 6034 w 153855"/>
                <a:gd name="connsiteY9" fmla="*/ 304693 h 304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3855" h="304692">
                  <a:moveTo>
                    <a:pt x="6034" y="304693"/>
                  </a:moveTo>
                  <a:cubicBezTo>
                    <a:pt x="3018" y="304693"/>
                    <a:pt x="0" y="301676"/>
                    <a:pt x="0" y="298659"/>
                  </a:cubicBezTo>
                  <a:cubicBezTo>
                    <a:pt x="0" y="295642"/>
                    <a:pt x="3018" y="292625"/>
                    <a:pt x="6034" y="292625"/>
                  </a:cubicBezTo>
                  <a:cubicBezTo>
                    <a:pt x="51285" y="286592"/>
                    <a:pt x="102571" y="271508"/>
                    <a:pt x="108604" y="265475"/>
                  </a:cubicBezTo>
                  <a:cubicBezTo>
                    <a:pt x="117654" y="253408"/>
                    <a:pt x="132738" y="99553"/>
                    <a:pt x="141788" y="6033"/>
                  </a:cubicBezTo>
                  <a:cubicBezTo>
                    <a:pt x="141788" y="3017"/>
                    <a:pt x="144806" y="0"/>
                    <a:pt x="147822" y="0"/>
                  </a:cubicBezTo>
                  <a:cubicBezTo>
                    <a:pt x="150838" y="0"/>
                    <a:pt x="153856" y="3017"/>
                    <a:pt x="153856" y="6033"/>
                  </a:cubicBezTo>
                  <a:cubicBezTo>
                    <a:pt x="150838" y="48268"/>
                    <a:pt x="129722" y="256425"/>
                    <a:pt x="120670" y="271508"/>
                  </a:cubicBezTo>
                  <a:cubicBezTo>
                    <a:pt x="105587" y="289609"/>
                    <a:pt x="21118" y="304693"/>
                    <a:pt x="6034" y="304693"/>
                  </a:cubicBezTo>
                  <a:cubicBezTo>
                    <a:pt x="6034" y="304693"/>
                    <a:pt x="6034" y="304693"/>
                    <a:pt x="6034" y="304693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ECA4D297-51D5-41C0-903A-94FC0728E61A}"/>
                </a:ext>
              </a:extLst>
            </p:cNvPr>
            <p:cNvSpPr/>
            <p:nvPr/>
          </p:nvSpPr>
          <p:spPr>
            <a:xfrm>
              <a:off x="25287497" y="12230437"/>
              <a:ext cx="481117" cy="192503"/>
            </a:xfrm>
            <a:custGeom>
              <a:avLst/>
              <a:gdLst>
                <a:gd name="connsiteX0" fmla="*/ 145639 w 481117"/>
                <a:gd name="connsiteY0" fmla="*/ 3979 h 192503"/>
                <a:gd name="connsiteX1" fmla="*/ 9885 w 481117"/>
                <a:gd name="connsiteY1" fmla="*/ 61297 h 192503"/>
                <a:gd name="connsiteX2" fmla="*/ 12903 w 481117"/>
                <a:gd name="connsiteY2" fmla="*/ 169900 h 192503"/>
                <a:gd name="connsiteX3" fmla="*/ 480501 w 481117"/>
                <a:gd name="connsiteY3" fmla="*/ 188001 h 192503"/>
                <a:gd name="connsiteX4" fmla="*/ 145639 w 481117"/>
                <a:gd name="connsiteY4" fmla="*/ 3979 h 19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1117" h="192503">
                  <a:moveTo>
                    <a:pt x="145639" y="3979"/>
                  </a:moveTo>
                  <a:cubicBezTo>
                    <a:pt x="136589" y="-17138"/>
                    <a:pt x="12903" y="52247"/>
                    <a:pt x="9885" y="61297"/>
                  </a:cubicBezTo>
                  <a:cubicBezTo>
                    <a:pt x="9885" y="61297"/>
                    <a:pt x="-14249" y="163868"/>
                    <a:pt x="12903" y="169900"/>
                  </a:cubicBezTo>
                  <a:cubicBezTo>
                    <a:pt x="40052" y="175934"/>
                    <a:pt x="477483" y="203085"/>
                    <a:pt x="480501" y="188001"/>
                  </a:cubicBezTo>
                  <a:cubicBezTo>
                    <a:pt x="495584" y="97498"/>
                    <a:pt x="230110" y="64314"/>
                    <a:pt x="145639" y="3979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78B9BBCF-DE04-4033-A7E5-0E951119DF59}"/>
                </a:ext>
              </a:extLst>
            </p:cNvPr>
            <p:cNvSpPr/>
            <p:nvPr/>
          </p:nvSpPr>
          <p:spPr>
            <a:xfrm>
              <a:off x="25427000" y="11180738"/>
              <a:ext cx="485954" cy="268323"/>
            </a:xfrm>
            <a:custGeom>
              <a:avLst/>
              <a:gdLst>
                <a:gd name="connsiteX0" fmla="*/ 81555 w 485954"/>
                <a:gd name="connsiteY0" fmla="*/ 242170 h 268323"/>
                <a:gd name="connsiteX1" fmla="*/ 104 w 485954"/>
                <a:gd name="connsiteY1" fmla="*/ 112449 h 268323"/>
                <a:gd name="connsiteX2" fmla="*/ 72505 w 485954"/>
                <a:gd name="connsiteY2" fmla="*/ 829 h 268323"/>
                <a:gd name="connsiteX3" fmla="*/ 485802 w 485954"/>
                <a:gd name="connsiteY3" fmla="*/ 224069 h 268323"/>
                <a:gd name="connsiteX4" fmla="*/ 81555 w 485954"/>
                <a:gd name="connsiteY4" fmla="*/ 242170 h 268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954" h="268323">
                  <a:moveTo>
                    <a:pt x="81555" y="242170"/>
                  </a:moveTo>
                  <a:cubicBezTo>
                    <a:pt x="60439" y="260270"/>
                    <a:pt x="-2914" y="121499"/>
                    <a:pt x="104" y="112449"/>
                  </a:cubicBezTo>
                  <a:cubicBezTo>
                    <a:pt x="104" y="112449"/>
                    <a:pt x="45356" y="-11238"/>
                    <a:pt x="72505" y="829"/>
                  </a:cubicBezTo>
                  <a:cubicBezTo>
                    <a:pt x="99657" y="9879"/>
                    <a:pt x="494852" y="202952"/>
                    <a:pt x="485802" y="224069"/>
                  </a:cubicBezTo>
                  <a:cubicBezTo>
                    <a:pt x="443566" y="323622"/>
                    <a:pt x="193176" y="221052"/>
                    <a:pt x="81555" y="242170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2A7855C2-44C0-468F-82CD-5C07287DD10F}"/>
                </a:ext>
              </a:extLst>
            </p:cNvPr>
            <p:cNvSpPr/>
            <p:nvPr/>
          </p:nvSpPr>
          <p:spPr>
            <a:xfrm>
              <a:off x="25007773" y="8409164"/>
              <a:ext cx="247374" cy="255529"/>
            </a:xfrm>
            <a:custGeom>
              <a:avLst/>
              <a:gdLst>
                <a:gd name="connsiteX0" fmla="*/ 0 w 247374"/>
                <a:gd name="connsiteY0" fmla="*/ 39218 h 255529"/>
                <a:gd name="connsiteX1" fmla="*/ 6034 w 247374"/>
                <a:gd name="connsiteY1" fmla="*/ 211173 h 255529"/>
                <a:gd name="connsiteX2" fmla="*/ 247375 w 247374"/>
                <a:gd name="connsiteY2" fmla="*/ 202123 h 255529"/>
                <a:gd name="connsiteX3" fmla="*/ 232291 w 247374"/>
                <a:gd name="connsiteY3" fmla="*/ 0 h 255529"/>
                <a:gd name="connsiteX4" fmla="*/ 0 w 247374"/>
                <a:gd name="connsiteY4" fmla="*/ 39218 h 255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374" h="255529">
                  <a:moveTo>
                    <a:pt x="0" y="39218"/>
                  </a:moveTo>
                  <a:cubicBezTo>
                    <a:pt x="0" y="39218"/>
                    <a:pt x="6034" y="138771"/>
                    <a:pt x="6034" y="211173"/>
                  </a:cubicBezTo>
                  <a:cubicBezTo>
                    <a:pt x="6034" y="211173"/>
                    <a:pt x="99553" y="316760"/>
                    <a:pt x="247375" y="202123"/>
                  </a:cubicBezTo>
                  <a:cubicBezTo>
                    <a:pt x="247375" y="141788"/>
                    <a:pt x="235307" y="63352"/>
                    <a:pt x="232291" y="0"/>
                  </a:cubicBezTo>
                  <a:cubicBezTo>
                    <a:pt x="235307" y="0"/>
                    <a:pt x="54301" y="51285"/>
                    <a:pt x="0" y="39218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9898F125-BD12-43BF-B2AF-94A4BA1260C2}"/>
                </a:ext>
              </a:extLst>
            </p:cNvPr>
            <p:cNvSpPr/>
            <p:nvPr/>
          </p:nvSpPr>
          <p:spPr>
            <a:xfrm>
              <a:off x="24640222" y="8569052"/>
              <a:ext cx="1070456" cy="1476101"/>
            </a:xfrm>
            <a:custGeom>
              <a:avLst/>
              <a:gdLst>
                <a:gd name="connsiteX0" fmla="*/ 633026 w 1070456"/>
                <a:gd name="connsiteY0" fmla="*/ 0 h 1476101"/>
                <a:gd name="connsiteX1" fmla="*/ 346434 w 1070456"/>
                <a:gd name="connsiteY1" fmla="*/ 0 h 1476101"/>
                <a:gd name="connsiteX2" fmla="*/ 59842 w 1070456"/>
                <a:gd name="connsiteY2" fmla="*/ 75419 h 1476101"/>
                <a:gd name="connsiteX3" fmla="*/ 2525 w 1070456"/>
                <a:gd name="connsiteY3" fmla="*/ 1426928 h 1476101"/>
                <a:gd name="connsiteX4" fmla="*/ 1070456 w 1070456"/>
                <a:gd name="connsiteY4" fmla="*/ 1429944 h 1476101"/>
                <a:gd name="connsiteX5" fmla="*/ 931686 w 1070456"/>
                <a:gd name="connsiteY5" fmla="*/ 60335 h 1476101"/>
                <a:gd name="connsiteX6" fmla="*/ 633026 w 1070456"/>
                <a:gd name="connsiteY6" fmla="*/ 0 h 147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0456" h="1476101">
                  <a:moveTo>
                    <a:pt x="633026" y="0"/>
                  </a:moveTo>
                  <a:cubicBezTo>
                    <a:pt x="633026" y="0"/>
                    <a:pt x="461071" y="54302"/>
                    <a:pt x="346434" y="0"/>
                  </a:cubicBezTo>
                  <a:cubicBezTo>
                    <a:pt x="346434" y="0"/>
                    <a:pt x="96043" y="57319"/>
                    <a:pt x="59842" y="75419"/>
                  </a:cubicBezTo>
                  <a:cubicBezTo>
                    <a:pt x="23640" y="93520"/>
                    <a:pt x="-9543" y="1360559"/>
                    <a:pt x="2525" y="1426928"/>
                  </a:cubicBezTo>
                  <a:cubicBezTo>
                    <a:pt x="2525" y="1426928"/>
                    <a:pt x="497272" y="1535531"/>
                    <a:pt x="1070456" y="1429944"/>
                  </a:cubicBezTo>
                  <a:cubicBezTo>
                    <a:pt x="1070456" y="1076984"/>
                    <a:pt x="982972" y="78436"/>
                    <a:pt x="931686" y="60335"/>
                  </a:cubicBezTo>
                  <a:cubicBezTo>
                    <a:pt x="832134" y="33185"/>
                    <a:pt x="633026" y="0"/>
                    <a:pt x="633026" y="0"/>
                  </a:cubicBez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0917EB4F-FB9A-4E73-A3B3-45FB0E2C767A}"/>
                </a:ext>
              </a:extLst>
            </p:cNvPr>
            <p:cNvSpPr/>
            <p:nvPr/>
          </p:nvSpPr>
          <p:spPr>
            <a:xfrm>
              <a:off x="24917271" y="8285477"/>
              <a:ext cx="69385" cy="135754"/>
            </a:xfrm>
            <a:custGeom>
              <a:avLst/>
              <a:gdLst>
                <a:gd name="connsiteX0" fmla="*/ 0 w 69385"/>
                <a:gd name="connsiteY0" fmla="*/ 0 h 135754"/>
                <a:gd name="connsiteX1" fmla="*/ 66369 w 69385"/>
                <a:gd name="connsiteY1" fmla="*/ 135754 h 135754"/>
                <a:gd name="connsiteX2" fmla="*/ 69385 w 69385"/>
                <a:gd name="connsiteY2" fmla="*/ 51285 h 135754"/>
                <a:gd name="connsiteX3" fmla="*/ 0 w 69385"/>
                <a:gd name="connsiteY3" fmla="*/ 0 h 13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385" h="135754">
                  <a:moveTo>
                    <a:pt x="0" y="0"/>
                  </a:moveTo>
                  <a:cubicBezTo>
                    <a:pt x="0" y="0"/>
                    <a:pt x="15084" y="117653"/>
                    <a:pt x="66369" y="135754"/>
                  </a:cubicBezTo>
                  <a:lnTo>
                    <a:pt x="69385" y="512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977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0DD087B8-A32A-4747-9D31-5A3EE8CC327E}"/>
                </a:ext>
              </a:extLst>
            </p:cNvPr>
            <p:cNvSpPr/>
            <p:nvPr/>
          </p:nvSpPr>
          <p:spPr>
            <a:xfrm>
              <a:off x="25272801" y="8080337"/>
              <a:ext cx="101557" cy="235319"/>
            </a:xfrm>
            <a:custGeom>
              <a:avLst/>
              <a:gdLst>
                <a:gd name="connsiteX0" fmla="*/ 93968 w 101557"/>
                <a:gd name="connsiteY0" fmla="*/ 0 h 235319"/>
                <a:gd name="connsiteX1" fmla="*/ 54748 w 101557"/>
                <a:gd name="connsiteY1" fmla="*/ 232290 h 235319"/>
                <a:gd name="connsiteX2" fmla="*/ 447 w 101557"/>
                <a:gd name="connsiteY2" fmla="*/ 15084 h 235319"/>
                <a:gd name="connsiteX3" fmla="*/ 93968 w 101557"/>
                <a:gd name="connsiteY3" fmla="*/ 0 h 235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557" h="235319">
                  <a:moveTo>
                    <a:pt x="93968" y="0"/>
                  </a:moveTo>
                  <a:cubicBezTo>
                    <a:pt x="93968" y="0"/>
                    <a:pt x="127151" y="193073"/>
                    <a:pt x="54748" y="232290"/>
                  </a:cubicBezTo>
                  <a:cubicBezTo>
                    <a:pt x="-8603" y="265475"/>
                    <a:pt x="447" y="15084"/>
                    <a:pt x="447" y="15084"/>
                  </a:cubicBezTo>
                  <a:lnTo>
                    <a:pt x="93968" y="0"/>
                  </a:lnTo>
                  <a:close/>
                </a:path>
              </a:pathLst>
            </a:custGeom>
            <a:solidFill>
              <a:srgbClr val="D3977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3D94F34F-FBD1-4D96-AD3C-859B51F602F2}"/>
                </a:ext>
              </a:extLst>
            </p:cNvPr>
            <p:cNvSpPr/>
            <p:nvPr/>
          </p:nvSpPr>
          <p:spPr>
            <a:xfrm>
              <a:off x="24920287" y="7943681"/>
              <a:ext cx="418942" cy="562616"/>
            </a:xfrm>
            <a:custGeom>
              <a:avLst/>
              <a:gdLst>
                <a:gd name="connsiteX0" fmla="*/ 407263 w 418942"/>
                <a:gd name="connsiteY0" fmla="*/ 178891 h 562616"/>
                <a:gd name="connsiteX1" fmla="*/ 410280 w 418942"/>
                <a:gd name="connsiteY1" fmla="*/ 426265 h 562616"/>
                <a:gd name="connsiteX2" fmla="*/ 253409 w 418942"/>
                <a:gd name="connsiteY2" fmla="*/ 562020 h 562616"/>
                <a:gd name="connsiteX3" fmla="*/ 39219 w 418942"/>
                <a:gd name="connsiteY3" fmla="*/ 423248 h 562616"/>
                <a:gd name="connsiteX4" fmla="*/ 0 w 418942"/>
                <a:gd name="connsiteY4" fmla="*/ 200008 h 562616"/>
                <a:gd name="connsiteX5" fmla="*/ 208157 w 418942"/>
                <a:gd name="connsiteY5" fmla="*/ 902 h 562616"/>
                <a:gd name="connsiteX6" fmla="*/ 407263 w 418942"/>
                <a:gd name="connsiteY6" fmla="*/ 178891 h 562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942" h="562616">
                  <a:moveTo>
                    <a:pt x="407263" y="178891"/>
                  </a:moveTo>
                  <a:cubicBezTo>
                    <a:pt x="407263" y="178891"/>
                    <a:pt x="431398" y="353863"/>
                    <a:pt x="410280" y="426265"/>
                  </a:cubicBezTo>
                  <a:cubicBezTo>
                    <a:pt x="392179" y="492634"/>
                    <a:pt x="304694" y="555986"/>
                    <a:pt x="253409" y="562020"/>
                  </a:cubicBezTo>
                  <a:cubicBezTo>
                    <a:pt x="187039" y="568053"/>
                    <a:pt x="69387" y="528835"/>
                    <a:pt x="39219" y="423248"/>
                  </a:cubicBezTo>
                  <a:cubicBezTo>
                    <a:pt x="18102" y="350846"/>
                    <a:pt x="0" y="251293"/>
                    <a:pt x="0" y="200008"/>
                  </a:cubicBezTo>
                  <a:cubicBezTo>
                    <a:pt x="0" y="106489"/>
                    <a:pt x="27152" y="28053"/>
                    <a:pt x="208157" y="902"/>
                  </a:cubicBezTo>
                  <a:cubicBezTo>
                    <a:pt x="289610" y="-11165"/>
                    <a:pt x="386147" y="100455"/>
                    <a:pt x="407263" y="178891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B148EF6F-A8CA-4DAB-BF7E-3D81400DC20B}"/>
                </a:ext>
              </a:extLst>
            </p:cNvPr>
            <p:cNvSpPr/>
            <p:nvPr/>
          </p:nvSpPr>
          <p:spPr>
            <a:xfrm>
              <a:off x="25143528" y="8201008"/>
              <a:ext cx="57319" cy="138771"/>
            </a:xfrm>
            <a:custGeom>
              <a:avLst/>
              <a:gdLst>
                <a:gd name="connsiteX0" fmla="*/ 27152 w 57319"/>
                <a:gd name="connsiteY0" fmla="*/ 138771 h 138771"/>
                <a:gd name="connsiteX1" fmla="*/ 6034 w 57319"/>
                <a:gd name="connsiteY1" fmla="*/ 135754 h 138771"/>
                <a:gd name="connsiteX2" fmla="*/ 0 w 57319"/>
                <a:gd name="connsiteY2" fmla="*/ 129721 h 138771"/>
                <a:gd name="connsiteX3" fmla="*/ 6034 w 57319"/>
                <a:gd name="connsiteY3" fmla="*/ 123687 h 138771"/>
                <a:gd name="connsiteX4" fmla="*/ 45251 w 57319"/>
                <a:gd name="connsiteY4" fmla="*/ 120670 h 138771"/>
                <a:gd name="connsiteX5" fmla="*/ 45251 w 57319"/>
                <a:gd name="connsiteY5" fmla="*/ 117654 h 138771"/>
                <a:gd name="connsiteX6" fmla="*/ 27152 w 57319"/>
                <a:gd name="connsiteY6" fmla="*/ 6033 h 138771"/>
                <a:gd name="connsiteX7" fmla="*/ 33184 w 57319"/>
                <a:gd name="connsiteY7" fmla="*/ 0 h 138771"/>
                <a:gd name="connsiteX8" fmla="*/ 39218 w 57319"/>
                <a:gd name="connsiteY8" fmla="*/ 6033 h 138771"/>
                <a:gd name="connsiteX9" fmla="*/ 57319 w 57319"/>
                <a:gd name="connsiteY9" fmla="*/ 117654 h 138771"/>
                <a:gd name="connsiteX10" fmla="*/ 51285 w 57319"/>
                <a:gd name="connsiteY10" fmla="*/ 129721 h 138771"/>
                <a:gd name="connsiteX11" fmla="*/ 27152 w 57319"/>
                <a:gd name="connsiteY11" fmla="*/ 138771 h 138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319" h="138771">
                  <a:moveTo>
                    <a:pt x="27152" y="138771"/>
                  </a:moveTo>
                  <a:cubicBezTo>
                    <a:pt x="18100" y="138771"/>
                    <a:pt x="9050" y="135754"/>
                    <a:pt x="6034" y="135754"/>
                  </a:cubicBezTo>
                  <a:cubicBezTo>
                    <a:pt x="3016" y="135754"/>
                    <a:pt x="0" y="132738"/>
                    <a:pt x="0" y="129721"/>
                  </a:cubicBezTo>
                  <a:cubicBezTo>
                    <a:pt x="0" y="126704"/>
                    <a:pt x="3016" y="123687"/>
                    <a:pt x="6034" y="123687"/>
                  </a:cubicBezTo>
                  <a:cubicBezTo>
                    <a:pt x="18100" y="126704"/>
                    <a:pt x="39218" y="126704"/>
                    <a:pt x="45251" y="120670"/>
                  </a:cubicBezTo>
                  <a:cubicBezTo>
                    <a:pt x="45251" y="120670"/>
                    <a:pt x="45251" y="117654"/>
                    <a:pt x="45251" y="117654"/>
                  </a:cubicBezTo>
                  <a:cubicBezTo>
                    <a:pt x="45251" y="99553"/>
                    <a:pt x="27152" y="9050"/>
                    <a:pt x="27152" y="6033"/>
                  </a:cubicBezTo>
                  <a:cubicBezTo>
                    <a:pt x="27152" y="3017"/>
                    <a:pt x="27152" y="0"/>
                    <a:pt x="33184" y="0"/>
                  </a:cubicBezTo>
                  <a:cubicBezTo>
                    <a:pt x="36201" y="0"/>
                    <a:pt x="39218" y="0"/>
                    <a:pt x="39218" y="6033"/>
                  </a:cubicBezTo>
                  <a:cubicBezTo>
                    <a:pt x="39218" y="9050"/>
                    <a:pt x="57319" y="99553"/>
                    <a:pt x="57319" y="117654"/>
                  </a:cubicBezTo>
                  <a:cubicBezTo>
                    <a:pt x="57319" y="123687"/>
                    <a:pt x="54301" y="126704"/>
                    <a:pt x="51285" y="129721"/>
                  </a:cubicBezTo>
                  <a:cubicBezTo>
                    <a:pt x="48267" y="138771"/>
                    <a:pt x="39218" y="138771"/>
                    <a:pt x="27152" y="138771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AE88A9F6-EA4E-4134-AFFC-E149D271816E}"/>
                </a:ext>
              </a:extLst>
            </p:cNvPr>
            <p:cNvSpPr/>
            <p:nvPr/>
          </p:nvSpPr>
          <p:spPr>
            <a:xfrm>
              <a:off x="25231014" y="8182316"/>
              <a:ext cx="39809" cy="40401"/>
            </a:xfrm>
            <a:custGeom>
              <a:avLst/>
              <a:gdLst>
                <a:gd name="connsiteX0" fmla="*/ 0 w 39809"/>
                <a:gd name="connsiteY0" fmla="*/ 24726 h 40401"/>
                <a:gd name="connsiteX1" fmla="*/ 24134 w 39809"/>
                <a:gd name="connsiteY1" fmla="*/ 39809 h 40401"/>
                <a:gd name="connsiteX2" fmla="*/ 39218 w 39809"/>
                <a:gd name="connsiteY2" fmla="*/ 15676 h 40401"/>
                <a:gd name="connsiteX3" fmla="*/ 15084 w 39809"/>
                <a:gd name="connsiteY3" fmla="*/ 592 h 40401"/>
                <a:gd name="connsiteX4" fmla="*/ 0 w 39809"/>
                <a:gd name="connsiteY4" fmla="*/ 24726 h 4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09" h="40401">
                  <a:moveTo>
                    <a:pt x="0" y="24726"/>
                  </a:moveTo>
                  <a:cubicBezTo>
                    <a:pt x="3016" y="33776"/>
                    <a:pt x="12066" y="42826"/>
                    <a:pt x="24134" y="39809"/>
                  </a:cubicBezTo>
                  <a:cubicBezTo>
                    <a:pt x="33184" y="36793"/>
                    <a:pt x="42234" y="27742"/>
                    <a:pt x="39218" y="15676"/>
                  </a:cubicBezTo>
                  <a:cubicBezTo>
                    <a:pt x="36200" y="6625"/>
                    <a:pt x="27150" y="-2425"/>
                    <a:pt x="15084" y="592"/>
                  </a:cubicBezTo>
                  <a:cubicBezTo>
                    <a:pt x="6032" y="3608"/>
                    <a:pt x="0" y="12659"/>
                    <a:pt x="0" y="24726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05B94DD0-CFAA-44FE-AD92-93934B0C0A09}"/>
                </a:ext>
              </a:extLst>
            </p:cNvPr>
            <p:cNvSpPr/>
            <p:nvPr/>
          </p:nvSpPr>
          <p:spPr>
            <a:xfrm>
              <a:off x="25050009" y="8200416"/>
              <a:ext cx="39809" cy="40401"/>
            </a:xfrm>
            <a:custGeom>
              <a:avLst/>
              <a:gdLst>
                <a:gd name="connsiteX0" fmla="*/ 0 w 39809"/>
                <a:gd name="connsiteY0" fmla="*/ 24726 h 40401"/>
                <a:gd name="connsiteX1" fmla="*/ 24134 w 39809"/>
                <a:gd name="connsiteY1" fmla="*/ 39810 h 40401"/>
                <a:gd name="connsiteX2" fmla="*/ 39218 w 39809"/>
                <a:gd name="connsiteY2" fmla="*/ 15675 h 40401"/>
                <a:gd name="connsiteX3" fmla="*/ 15084 w 39809"/>
                <a:gd name="connsiteY3" fmla="*/ 592 h 40401"/>
                <a:gd name="connsiteX4" fmla="*/ 0 w 39809"/>
                <a:gd name="connsiteY4" fmla="*/ 24726 h 4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09" h="40401">
                  <a:moveTo>
                    <a:pt x="0" y="24726"/>
                  </a:moveTo>
                  <a:cubicBezTo>
                    <a:pt x="3016" y="33776"/>
                    <a:pt x="12066" y="42827"/>
                    <a:pt x="24134" y="39810"/>
                  </a:cubicBezTo>
                  <a:cubicBezTo>
                    <a:pt x="33184" y="36793"/>
                    <a:pt x="42234" y="27743"/>
                    <a:pt x="39218" y="15675"/>
                  </a:cubicBezTo>
                  <a:cubicBezTo>
                    <a:pt x="36200" y="6625"/>
                    <a:pt x="27150" y="-2425"/>
                    <a:pt x="15084" y="592"/>
                  </a:cubicBezTo>
                  <a:cubicBezTo>
                    <a:pt x="6032" y="3609"/>
                    <a:pt x="0" y="15675"/>
                    <a:pt x="0" y="24726"/>
                  </a:cubicBezTo>
                  <a:close/>
                </a:path>
              </a:pathLst>
            </a:custGeom>
            <a:solidFill>
              <a:srgbClr val="38333D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6D5213A8-A37A-45F9-8B45-19B064ABA5D3}"/>
                </a:ext>
              </a:extLst>
            </p:cNvPr>
            <p:cNvSpPr/>
            <p:nvPr/>
          </p:nvSpPr>
          <p:spPr>
            <a:xfrm>
              <a:off x="25202614" y="8131622"/>
              <a:ext cx="90998" cy="33184"/>
            </a:xfrm>
            <a:custGeom>
              <a:avLst/>
              <a:gdLst>
                <a:gd name="connsiteX0" fmla="*/ 85718 w 90998"/>
                <a:gd name="connsiteY0" fmla="*/ 33184 h 33184"/>
                <a:gd name="connsiteX1" fmla="*/ 79684 w 90998"/>
                <a:gd name="connsiteY1" fmla="*/ 30167 h 33184"/>
                <a:gd name="connsiteX2" fmla="*/ 13317 w 90998"/>
                <a:gd name="connsiteY2" fmla="*/ 24134 h 33184"/>
                <a:gd name="connsiteX3" fmla="*/ 1249 w 90998"/>
                <a:gd name="connsiteY3" fmla="*/ 21118 h 33184"/>
                <a:gd name="connsiteX4" fmla="*/ 4265 w 90998"/>
                <a:gd name="connsiteY4" fmla="*/ 9050 h 33184"/>
                <a:gd name="connsiteX5" fmla="*/ 88736 w 90998"/>
                <a:gd name="connsiteY5" fmla="*/ 18101 h 33184"/>
                <a:gd name="connsiteX6" fmla="*/ 88736 w 90998"/>
                <a:gd name="connsiteY6" fmla="*/ 30167 h 33184"/>
                <a:gd name="connsiteX7" fmla="*/ 85718 w 90998"/>
                <a:gd name="connsiteY7" fmla="*/ 33184 h 33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3184">
                  <a:moveTo>
                    <a:pt x="85718" y="33184"/>
                  </a:moveTo>
                  <a:cubicBezTo>
                    <a:pt x="82702" y="33184"/>
                    <a:pt x="82702" y="33184"/>
                    <a:pt x="79684" y="30167"/>
                  </a:cubicBezTo>
                  <a:cubicBezTo>
                    <a:pt x="52535" y="3017"/>
                    <a:pt x="16333" y="24134"/>
                    <a:pt x="13317" y="24134"/>
                  </a:cubicBezTo>
                  <a:cubicBezTo>
                    <a:pt x="10299" y="27151"/>
                    <a:pt x="4265" y="24134"/>
                    <a:pt x="1249" y="21118"/>
                  </a:cubicBezTo>
                  <a:cubicBezTo>
                    <a:pt x="-1767" y="18101"/>
                    <a:pt x="1249" y="12067"/>
                    <a:pt x="4265" y="9050"/>
                  </a:cubicBezTo>
                  <a:cubicBezTo>
                    <a:pt x="22367" y="0"/>
                    <a:pt x="61584" y="-9050"/>
                    <a:pt x="88736" y="18101"/>
                  </a:cubicBezTo>
                  <a:cubicBezTo>
                    <a:pt x="91752" y="21118"/>
                    <a:pt x="91752" y="27151"/>
                    <a:pt x="88736" y="30167"/>
                  </a:cubicBezTo>
                  <a:cubicBezTo>
                    <a:pt x="88736" y="33184"/>
                    <a:pt x="85718" y="33184"/>
                    <a:pt x="85718" y="33184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40A99315-9080-474A-8969-6113A7787EDD}"/>
                </a:ext>
              </a:extLst>
            </p:cNvPr>
            <p:cNvSpPr/>
            <p:nvPr/>
          </p:nvSpPr>
          <p:spPr>
            <a:xfrm>
              <a:off x="25017578" y="8134946"/>
              <a:ext cx="90998" cy="35894"/>
            </a:xfrm>
            <a:custGeom>
              <a:avLst/>
              <a:gdLst>
                <a:gd name="connsiteX0" fmla="*/ 8295 w 90998"/>
                <a:gd name="connsiteY0" fmla="*/ 35894 h 35894"/>
                <a:gd name="connsiteX1" fmla="*/ 2263 w 90998"/>
                <a:gd name="connsiteY1" fmla="*/ 32878 h 35894"/>
                <a:gd name="connsiteX2" fmla="*/ 2263 w 90998"/>
                <a:gd name="connsiteY2" fmla="*/ 20810 h 35894"/>
                <a:gd name="connsiteX3" fmla="*/ 86732 w 90998"/>
                <a:gd name="connsiteY3" fmla="*/ 11760 h 35894"/>
                <a:gd name="connsiteX4" fmla="*/ 89748 w 90998"/>
                <a:gd name="connsiteY4" fmla="*/ 23827 h 35894"/>
                <a:gd name="connsiteX5" fmla="*/ 77682 w 90998"/>
                <a:gd name="connsiteY5" fmla="*/ 26844 h 35894"/>
                <a:gd name="connsiteX6" fmla="*/ 11313 w 90998"/>
                <a:gd name="connsiteY6" fmla="*/ 32878 h 35894"/>
                <a:gd name="connsiteX7" fmla="*/ 8295 w 90998"/>
                <a:gd name="connsiteY7" fmla="*/ 35894 h 3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998" h="35894">
                  <a:moveTo>
                    <a:pt x="8295" y="35894"/>
                  </a:moveTo>
                  <a:cubicBezTo>
                    <a:pt x="5279" y="35894"/>
                    <a:pt x="5279" y="35894"/>
                    <a:pt x="2263" y="32878"/>
                  </a:cubicBezTo>
                  <a:cubicBezTo>
                    <a:pt x="-754" y="29861"/>
                    <a:pt x="-754" y="23827"/>
                    <a:pt x="2263" y="20810"/>
                  </a:cubicBezTo>
                  <a:cubicBezTo>
                    <a:pt x="14329" y="5726"/>
                    <a:pt x="50531" y="-12374"/>
                    <a:pt x="86732" y="11760"/>
                  </a:cubicBezTo>
                  <a:cubicBezTo>
                    <a:pt x="89748" y="14777"/>
                    <a:pt x="92766" y="17794"/>
                    <a:pt x="89748" y="23827"/>
                  </a:cubicBezTo>
                  <a:cubicBezTo>
                    <a:pt x="86732" y="26844"/>
                    <a:pt x="83714" y="29861"/>
                    <a:pt x="77682" y="26844"/>
                  </a:cubicBezTo>
                  <a:cubicBezTo>
                    <a:pt x="41481" y="2710"/>
                    <a:pt x="14329" y="32878"/>
                    <a:pt x="11313" y="32878"/>
                  </a:cubicBezTo>
                  <a:cubicBezTo>
                    <a:pt x="11313" y="35894"/>
                    <a:pt x="8295" y="35894"/>
                    <a:pt x="8295" y="35894"/>
                  </a:cubicBezTo>
                  <a:close/>
                </a:path>
              </a:pathLst>
            </a:custGeom>
            <a:solidFill>
              <a:srgbClr val="664540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736F401D-9C38-4C5F-87DD-AC45AC7D5554}"/>
                </a:ext>
              </a:extLst>
            </p:cNvPr>
            <p:cNvSpPr/>
            <p:nvPr/>
          </p:nvSpPr>
          <p:spPr>
            <a:xfrm>
              <a:off x="25010789" y="8448382"/>
              <a:ext cx="228520" cy="63352"/>
            </a:xfrm>
            <a:custGeom>
              <a:avLst/>
              <a:gdLst>
                <a:gd name="connsiteX0" fmla="*/ 147822 w 228520"/>
                <a:gd name="connsiteY0" fmla="*/ 63352 h 63352"/>
                <a:gd name="connsiteX1" fmla="*/ 3018 w 228520"/>
                <a:gd name="connsiteY1" fmla="*/ 12067 h 63352"/>
                <a:gd name="connsiteX2" fmla="*/ 0 w 228520"/>
                <a:gd name="connsiteY2" fmla="*/ 3017 h 63352"/>
                <a:gd name="connsiteX3" fmla="*/ 9052 w 228520"/>
                <a:gd name="connsiteY3" fmla="*/ 0 h 63352"/>
                <a:gd name="connsiteX4" fmla="*/ 147822 w 228520"/>
                <a:gd name="connsiteY4" fmla="*/ 48268 h 63352"/>
                <a:gd name="connsiteX5" fmla="*/ 147822 w 228520"/>
                <a:gd name="connsiteY5" fmla="*/ 48268 h 63352"/>
                <a:gd name="connsiteX6" fmla="*/ 217207 w 228520"/>
                <a:gd name="connsiteY6" fmla="*/ 24134 h 63352"/>
                <a:gd name="connsiteX7" fmla="*/ 226257 w 228520"/>
                <a:gd name="connsiteY7" fmla="*/ 24134 h 63352"/>
                <a:gd name="connsiteX8" fmla="*/ 226257 w 228520"/>
                <a:gd name="connsiteY8" fmla="*/ 33185 h 63352"/>
                <a:gd name="connsiteX9" fmla="*/ 147822 w 228520"/>
                <a:gd name="connsiteY9" fmla="*/ 63352 h 63352"/>
                <a:gd name="connsiteX10" fmla="*/ 147822 w 228520"/>
                <a:gd name="connsiteY10" fmla="*/ 63352 h 63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8520" h="63352">
                  <a:moveTo>
                    <a:pt x="147822" y="63352"/>
                  </a:moveTo>
                  <a:cubicBezTo>
                    <a:pt x="96537" y="63352"/>
                    <a:pt x="9052" y="15084"/>
                    <a:pt x="3018" y="12067"/>
                  </a:cubicBezTo>
                  <a:cubicBezTo>
                    <a:pt x="0" y="9050"/>
                    <a:pt x="0" y="6034"/>
                    <a:pt x="0" y="3017"/>
                  </a:cubicBezTo>
                  <a:cubicBezTo>
                    <a:pt x="3018" y="0"/>
                    <a:pt x="6034" y="0"/>
                    <a:pt x="9052" y="0"/>
                  </a:cubicBezTo>
                  <a:cubicBezTo>
                    <a:pt x="9052" y="0"/>
                    <a:pt x="99555" y="48268"/>
                    <a:pt x="147822" y="48268"/>
                  </a:cubicBezTo>
                  <a:cubicBezTo>
                    <a:pt x="147822" y="48268"/>
                    <a:pt x="147822" y="48268"/>
                    <a:pt x="147822" y="48268"/>
                  </a:cubicBezTo>
                  <a:cubicBezTo>
                    <a:pt x="187039" y="48268"/>
                    <a:pt x="217207" y="24134"/>
                    <a:pt x="217207" y="24134"/>
                  </a:cubicBezTo>
                  <a:cubicBezTo>
                    <a:pt x="220225" y="21118"/>
                    <a:pt x="223241" y="21118"/>
                    <a:pt x="226257" y="24134"/>
                  </a:cubicBezTo>
                  <a:cubicBezTo>
                    <a:pt x="229275" y="27151"/>
                    <a:pt x="229275" y="30168"/>
                    <a:pt x="226257" y="33185"/>
                  </a:cubicBezTo>
                  <a:cubicBezTo>
                    <a:pt x="223241" y="36201"/>
                    <a:pt x="190057" y="63352"/>
                    <a:pt x="147822" y="63352"/>
                  </a:cubicBezTo>
                  <a:cubicBezTo>
                    <a:pt x="147822" y="63352"/>
                    <a:pt x="147822" y="63352"/>
                    <a:pt x="147822" y="63352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4954A837-DAE5-45FF-AC0F-E1568EE16EC8}"/>
                </a:ext>
              </a:extLst>
            </p:cNvPr>
            <p:cNvSpPr/>
            <p:nvPr/>
          </p:nvSpPr>
          <p:spPr>
            <a:xfrm>
              <a:off x="24880757" y="7968717"/>
              <a:ext cx="111933" cy="265474"/>
            </a:xfrm>
            <a:custGeom>
              <a:avLst/>
              <a:gdLst>
                <a:gd name="connsiteX0" fmla="*/ 111933 w 111933"/>
                <a:gd name="connsiteY0" fmla="*/ 126704 h 265474"/>
                <a:gd name="connsiteX1" fmla="*/ 63666 w 111933"/>
                <a:gd name="connsiteY1" fmla="*/ 265475 h 265474"/>
                <a:gd name="connsiteX2" fmla="*/ 6347 w 111933"/>
                <a:gd name="connsiteY2" fmla="*/ 165922 h 265474"/>
                <a:gd name="connsiteX3" fmla="*/ 63666 w 111933"/>
                <a:gd name="connsiteY3" fmla="*/ 0 h 265474"/>
                <a:gd name="connsiteX4" fmla="*/ 111933 w 111933"/>
                <a:gd name="connsiteY4" fmla="*/ 126704 h 26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933" h="265474">
                  <a:moveTo>
                    <a:pt x="111933" y="126704"/>
                  </a:moveTo>
                  <a:cubicBezTo>
                    <a:pt x="111933" y="126704"/>
                    <a:pt x="57632" y="235307"/>
                    <a:pt x="63666" y="265475"/>
                  </a:cubicBezTo>
                  <a:cubicBezTo>
                    <a:pt x="63666" y="265475"/>
                    <a:pt x="21430" y="220224"/>
                    <a:pt x="6347" y="165922"/>
                  </a:cubicBezTo>
                  <a:cubicBezTo>
                    <a:pt x="-8737" y="108604"/>
                    <a:pt x="313" y="15084"/>
                    <a:pt x="63666" y="0"/>
                  </a:cubicBezTo>
                  <a:cubicBezTo>
                    <a:pt x="63666" y="0"/>
                    <a:pt x="69698" y="105587"/>
                    <a:pt x="111933" y="126704"/>
                  </a:cubicBezTo>
                  <a:close/>
                </a:path>
              </a:pathLst>
            </a:custGeom>
            <a:solidFill>
              <a:srgbClr val="D3977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61A1EB61-A2E7-42B1-B919-28FDDBA8468E}"/>
                </a:ext>
              </a:extLst>
            </p:cNvPr>
            <p:cNvSpPr/>
            <p:nvPr/>
          </p:nvSpPr>
          <p:spPr>
            <a:xfrm>
              <a:off x="24933477" y="7854606"/>
              <a:ext cx="433891" cy="346401"/>
            </a:xfrm>
            <a:custGeom>
              <a:avLst/>
              <a:gdLst>
                <a:gd name="connsiteX0" fmla="*/ 59212 w 433891"/>
                <a:gd name="connsiteY0" fmla="*/ 240815 h 346401"/>
                <a:gd name="connsiteX1" fmla="*/ 179883 w 433891"/>
                <a:gd name="connsiteY1" fmla="*/ 201597 h 346401"/>
                <a:gd name="connsiteX2" fmla="*/ 418208 w 433891"/>
                <a:gd name="connsiteY2" fmla="*/ 346402 h 346401"/>
                <a:gd name="connsiteX3" fmla="*/ 421224 w 433891"/>
                <a:gd name="connsiteY3" fmla="*/ 180480 h 346401"/>
                <a:gd name="connsiteX4" fmla="*/ 330721 w 433891"/>
                <a:gd name="connsiteY4" fmla="*/ 32659 h 346401"/>
                <a:gd name="connsiteX5" fmla="*/ 131615 w 433891"/>
                <a:gd name="connsiteY5" fmla="*/ 17575 h 346401"/>
                <a:gd name="connsiteX6" fmla="*/ 10945 w 433891"/>
                <a:gd name="connsiteY6" fmla="*/ 111094 h 346401"/>
                <a:gd name="connsiteX7" fmla="*/ 59212 w 433891"/>
                <a:gd name="connsiteY7" fmla="*/ 240815 h 34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3891" h="346401">
                  <a:moveTo>
                    <a:pt x="59212" y="240815"/>
                  </a:moveTo>
                  <a:cubicBezTo>
                    <a:pt x="59212" y="240815"/>
                    <a:pt x="152731" y="201597"/>
                    <a:pt x="179883" y="201597"/>
                  </a:cubicBezTo>
                  <a:cubicBezTo>
                    <a:pt x="279436" y="204614"/>
                    <a:pt x="433291" y="273999"/>
                    <a:pt x="418208" y="346402"/>
                  </a:cubicBezTo>
                  <a:cubicBezTo>
                    <a:pt x="418208" y="346402"/>
                    <a:pt x="451391" y="243832"/>
                    <a:pt x="421224" y="180480"/>
                  </a:cubicBezTo>
                  <a:cubicBezTo>
                    <a:pt x="421224" y="180480"/>
                    <a:pt x="421224" y="56793"/>
                    <a:pt x="330721" y="32659"/>
                  </a:cubicBezTo>
                  <a:cubicBezTo>
                    <a:pt x="240218" y="8525"/>
                    <a:pt x="201001" y="-18626"/>
                    <a:pt x="131615" y="17575"/>
                  </a:cubicBezTo>
                  <a:cubicBezTo>
                    <a:pt x="62229" y="56793"/>
                    <a:pt x="16977" y="74893"/>
                    <a:pt x="10945" y="111094"/>
                  </a:cubicBezTo>
                  <a:cubicBezTo>
                    <a:pt x="10945" y="114111"/>
                    <a:pt x="-34306" y="228748"/>
                    <a:pt x="59212" y="240815"/>
                  </a:cubicBezTo>
                  <a:close/>
                </a:path>
              </a:pathLst>
            </a:custGeom>
            <a:solidFill>
              <a:srgbClr val="D39778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0E9B13E0-4318-4DBC-BCC7-1C29C9C913A3}"/>
                </a:ext>
              </a:extLst>
            </p:cNvPr>
            <p:cNvSpPr/>
            <p:nvPr/>
          </p:nvSpPr>
          <p:spPr>
            <a:xfrm>
              <a:off x="24880030" y="8200819"/>
              <a:ext cx="77800" cy="109341"/>
            </a:xfrm>
            <a:custGeom>
              <a:avLst/>
              <a:gdLst>
                <a:gd name="connsiteX0" fmla="*/ 64392 w 77800"/>
                <a:gd name="connsiteY0" fmla="*/ 15272 h 109341"/>
                <a:gd name="connsiteX1" fmla="*/ 7073 w 77800"/>
                <a:gd name="connsiteY1" fmla="*/ 6222 h 109341"/>
                <a:gd name="connsiteX2" fmla="*/ 64392 w 77800"/>
                <a:gd name="connsiteY2" fmla="*/ 105775 h 109341"/>
                <a:gd name="connsiteX3" fmla="*/ 64392 w 77800"/>
                <a:gd name="connsiteY3" fmla="*/ 15272 h 109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00" h="109341">
                  <a:moveTo>
                    <a:pt x="64392" y="15272"/>
                  </a:moveTo>
                  <a:cubicBezTo>
                    <a:pt x="64392" y="15272"/>
                    <a:pt x="31207" y="-11878"/>
                    <a:pt x="7073" y="6222"/>
                  </a:cubicBezTo>
                  <a:cubicBezTo>
                    <a:pt x="-17061" y="24323"/>
                    <a:pt x="25173" y="129909"/>
                    <a:pt x="64392" y="105775"/>
                  </a:cubicBezTo>
                  <a:cubicBezTo>
                    <a:pt x="94560" y="90691"/>
                    <a:pt x="64392" y="15272"/>
                    <a:pt x="64392" y="15272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ABA70388-DBB1-4EFC-8B2E-5DE556BC2853}"/>
                </a:ext>
              </a:extLst>
            </p:cNvPr>
            <p:cNvSpPr/>
            <p:nvPr/>
          </p:nvSpPr>
          <p:spPr>
            <a:xfrm>
              <a:off x="25112111" y="8388801"/>
              <a:ext cx="121165" cy="29413"/>
            </a:xfrm>
            <a:custGeom>
              <a:avLst/>
              <a:gdLst>
                <a:gd name="connsiteX0" fmla="*/ 55551 w 121165"/>
                <a:gd name="connsiteY0" fmla="*/ 29413 h 29413"/>
                <a:gd name="connsiteX1" fmla="*/ 4265 w 121165"/>
                <a:gd name="connsiteY1" fmla="*/ 20363 h 29413"/>
                <a:gd name="connsiteX2" fmla="*/ 1249 w 121165"/>
                <a:gd name="connsiteY2" fmla="*/ 14330 h 29413"/>
                <a:gd name="connsiteX3" fmla="*/ 7283 w 121165"/>
                <a:gd name="connsiteY3" fmla="*/ 11313 h 29413"/>
                <a:gd name="connsiteX4" fmla="*/ 109852 w 121165"/>
                <a:gd name="connsiteY4" fmla="*/ 2263 h 29413"/>
                <a:gd name="connsiteX5" fmla="*/ 118904 w 121165"/>
                <a:gd name="connsiteY5" fmla="*/ 2263 h 29413"/>
                <a:gd name="connsiteX6" fmla="*/ 118904 w 121165"/>
                <a:gd name="connsiteY6" fmla="*/ 11313 h 29413"/>
                <a:gd name="connsiteX7" fmla="*/ 55551 w 121165"/>
                <a:gd name="connsiteY7" fmla="*/ 29413 h 29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165" h="29413">
                  <a:moveTo>
                    <a:pt x="55551" y="29413"/>
                  </a:moveTo>
                  <a:cubicBezTo>
                    <a:pt x="28401" y="29413"/>
                    <a:pt x="7283" y="23380"/>
                    <a:pt x="4265" y="20363"/>
                  </a:cubicBezTo>
                  <a:cubicBezTo>
                    <a:pt x="1249" y="20363"/>
                    <a:pt x="-1767" y="17347"/>
                    <a:pt x="1249" y="14330"/>
                  </a:cubicBezTo>
                  <a:cubicBezTo>
                    <a:pt x="1249" y="11313"/>
                    <a:pt x="4265" y="8296"/>
                    <a:pt x="7283" y="11313"/>
                  </a:cubicBezTo>
                  <a:cubicBezTo>
                    <a:pt x="7283" y="11313"/>
                    <a:pt x="70634" y="32430"/>
                    <a:pt x="109852" y="2263"/>
                  </a:cubicBezTo>
                  <a:cubicBezTo>
                    <a:pt x="112870" y="-754"/>
                    <a:pt x="115886" y="-754"/>
                    <a:pt x="118904" y="2263"/>
                  </a:cubicBezTo>
                  <a:cubicBezTo>
                    <a:pt x="121920" y="5280"/>
                    <a:pt x="121920" y="8296"/>
                    <a:pt x="118904" y="11313"/>
                  </a:cubicBezTo>
                  <a:cubicBezTo>
                    <a:pt x="100802" y="23380"/>
                    <a:pt x="76668" y="29413"/>
                    <a:pt x="55551" y="29413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1F5A865A-15DF-415A-8CD7-471F8DE03538}"/>
                </a:ext>
              </a:extLst>
            </p:cNvPr>
            <p:cNvSpPr/>
            <p:nvPr/>
          </p:nvSpPr>
          <p:spPr>
            <a:xfrm>
              <a:off x="25434904" y="11171534"/>
              <a:ext cx="351193" cy="151820"/>
            </a:xfrm>
            <a:custGeom>
              <a:avLst/>
              <a:gdLst>
                <a:gd name="connsiteX0" fmla="*/ 342144 w 351193"/>
                <a:gd name="connsiteY0" fmla="*/ 151820 h 151820"/>
                <a:gd name="connsiteX1" fmla="*/ 254657 w 351193"/>
                <a:gd name="connsiteY1" fmla="*/ 106569 h 151820"/>
                <a:gd name="connsiteX2" fmla="*/ 227507 w 351193"/>
                <a:gd name="connsiteY2" fmla="*/ 91485 h 151820"/>
                <a:gd name="connsiteX3" fmla="*/ 64601 w 351193"/>
                <a:gd name="connsiteY3" fmla="*/ 10032 h 151820"/>
                <a:gd name="connsiteX4" fmla="*/ 10300 w 351193"/>
                <a:gd name="connsiteY4" fmla="*/ 64333 h 151820"/>
                <a:gd name="connsiteX5" fmla="*/ 4266 w 351193"/>
                <a:gd name="connsiteY5" fmla="*/ 67350 h 151820"/>
                <a:gd name="connsiteX6" fmla="*/ 1250 w 351193"/>
                <a:gd name="connsiteY6" fmla="*/ 61317 h 151820"/>
                <a:gd name="connsiteX7" fmla="*/ 61585 w 351193"/>
                <a:gd name="connsiteY7" fmla="*/ 982 h 151820"/>
                <a:gd name="connsiteX8" fmla="*/ 236557 w 351193"/>
                <a:gd name="connsiteY8" fmla="*/ 82434 h 151820"/>
                <a:gd name="connsiteX9" fmla="*/ 263709 w 351193"/>
                <a:gd name="connsiteY9" fmla="*/ 97518 h 151820"/>
                <a:gd name="connsiteX10" fmla="*/ 351194 w 351193"/>
                <a:gd name="connsiteY10" fmla="*/ 142769 h 151820"/>
                <a:gd name="connsiteX11" fmla="*/ 342144 w 351193"/>
                <a:gd name="connsiteY11" fmla="*/ 151820 h 15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1193" h="151820">
                  <a:moveTo>
                    <a:pt x="342144" y="151820"/>
                  </a:moveTo>
                  <a:cubicBezTo>
                    <a:pt x="342144" y="151820"/>
                    <a:pt x="278792" y="118636"/>
                    <a:pt x="254657" y="106569"/>
                  </a:cubicBezTo>
                  <a:cubicBezTo>
                    <a:pt x="248625" y="103552"/>
                    <a:pt x="239573" y="100535"/>
                    <a:pt x="227507" y="91485"/>
                  </a:cubicBezTo>
                  <a:cubicBezTo>
                    <a:pt x="191306" y="70367"/>
                    <a:pt x="76669" y="10032"/>
                    <a:pt x="64601" y="10032"/>
                  </a:cubicBezTo>
                  <a:cubicBezTo>
                    <a:pt x="22368" y="28133"/>
                    <a:pt x="10300" y="64333"/>
                    <a:pt x="10300" y="64333"/>
                  </a:cubicBezTo>
                  <a:cubicBezTo>
                    <a:pt x="10300" y="67350"/>
                    <a:pt x="7284" y="70367"/>
                    <a:pt x="4266" y="67350"/>
                  </a:cubicBezTo>
                  <a:cubicBezTo>
                    <a:pt x="1250" y="67350"/>
                    <a:pt x="-1768" y="64333"/>
                    <a:pt x="1250" y="61317"/>
                  </a:cubicBezTo>
                  <a:cubicBezTo>
                    <a:pt x="1250" y="58300"/>
                    <a:pt x="16334" y="22099"/>
                    <a:pt x="61585" y="982"/>
                  </a:cubicBezTo>
                  <a:cubicBezTo>
                    <a:pt x="73651" y="-5052"/>
                    <a:pt x="115887" y="16066"/>
                    <a:pt x="236557" y="82434"/>
                  </a:cubicBezTo>
                  <a:cubicBezTo>
                    <a:pt x="248625" y="88468"/>
                    <a:pt x="257675" y="94501"/>
                    <a:pt x="263709" y="97518"/>
                  </a:cubicBezTo>
                  <a:cubicBezTo>
                    <a:pt x="287842" y="109585"/>
                    <a:pt x="351194" y="142769"/>
                    <a:pt x="351194" y="142769"/>
                  </a:cubicBezTo>
                  <a:lnTo>
                    <a:pt x="342144" y="151820"/>
                  </a:ln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5673ED67-0030-4A0F-B785-621B8B899B82}"/>
                </a:ext>
              </a:extLst>
            </p:cNvPr>
            <p:cNvSpPr/>
            <p:nvPr/>
          </p:nvSpPr>
          <p:spPr>
            <a:xfrm>
              <a:off x="25412020" y="11413857"/>
              <a:ext cx="340893" cy="36200"/>
            </a:xfrm>
            <a:custGeom>
              <a:avLst/>
              <a:gdLst>
                <a:gd name="connsiteX0" fmla="*/ 331844 w 340893"/>
                <a:gd name="connsiteY0" fmla="*/ 36201 h 36200"/>
                <a:gd name="connsiteX1" fmla="*/ 331844 w 340893"/>
                <a:gd name="connsiteY1" fmla="*/ 36201 h 36200"/>
                <a:gd name="connsiteX2" fmla="*/ 138770 w 340893"/>
                <a:gd name="connsiteY2" fmla="*/ 12067 h 36200"/>
                <a:gd name="connsiteX3" fmla="*/ 138770 w 340893"/>
                <a:gd name="connsiteY3" fmla="*/ 12067 h 36200"/>
                <a:gd name="connsiteX4" fmla="*/ 6032 w 340893"/>
                <a:gd name="connsiteY4" fmla="*/ 18100 h 36200"/>
                <a:gd name="connsiteX5" fmla="*/ 0 w 340893"/>
                <a:gd name="connsiteY5" fmla="*/ 12067 h 36200"/>
                <a:gd name="connsiteX6" fmla="*/ 6032 w 340893"/>
                <a:gd name="connsiteY6" fmla="*/ 6033 h 36200"/>
                <a:gd name="connsiteX7" fmla="*/ 141786 w 340893"/>
                <a:gd name="connsiteY7" fmla="*/ 0 h 36200"/>
                <a:gd name="connsiteX8" fmla="*/ 141786 w 340893"/>
                <a:gd name="connsiteY8" fmla="*/ 0 h 36200"/>
                <a:gd name="connsiteX9" fmla="*/ 334860 w 340893"/>
                <a:gd name="connsiteY9" fmla="*/ 24134 h 36200"/>
                <a:gd name="connsiteX10" fmla="*/ 340894 w 340893"/>
                <a:gd name="connsiteY10" fmla="*/ 30168 h 36200"/>
                <a:gd name="connsiteX11" fmla="*/ 331844 w 340893"/>
                <a:gd name="connsiteY11" fmla="*/ 36201 h 3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0893" h="36200">
                  <a:moveTo>
                    <a:pt x="331844" y="36201"/>
                  </a:moveTo>
                  <a:cubicBezTo>
                    <a:pt x="331844" y="36201"/>
                    <a:pt x="331844" y="36201"/>
                    <a:pt x="331844" y="36201"/>
                  </a:cubicBezTo>
                  <a:cubicBezTo>
                    <a:pt x="271508" y="27151"/>
                    <a:pt x="150838" y="12067"/>
                    <a:pt x="138770" y="12067"/>
                  </a:cubicBezTo>
                  <a:lnTo>
                    <a:pt x="138770" y="12067"/>
                  </a:lnTo>
                  <a:cubicBezTo>
                    <a:pt x="123686" y="12067"/>
                    <a:pt x="6032" y="18100"/>
                    <a:pt x="6032" y="18100"/>
                  </a:cubicBezTo>
                  <a:cubicBezTo>
                    <a:pt x="3016" y="18100"/>
                    <a:pt x="0" y="15084"/>
                    <a:pt x="0" y="12067"/>
                  </a:cubicBezTo>
                  <a:cubicBezTo>
                    <a:pt x="0" y="9050"/>
                    <a:pt x="3016" y="6033"/>
                    <a:pt x="6032" y="6033"/>
                  </a:cubicBezTo>
                  <a:cubicBezTo>
                    <a:pt x="12066" y="6033"/>
                    <a:pt x="123686" y="0"/>
                    <a:pt x="141786" y="0"/>
                  </a:cubicBezTo>
                  <a:lnTo>
                    <a:pt x="141786" y="0"/>
                  </a:lnTo>
                  <a:cubicBezTo>
                    <a:pt x="159888" y="0"/>
                    <a:pt x="328826" y="24134"/>
                    <a:pt x="334860" y="24134"/>
                  </a:cubicBezTo>
                  <a:cubicBezTo>
                    <a:pt x="337876" y="24134"/>
                    <a:pt x="340894" y="27151"/>
                    <a:pt x="340894" y="30168"/>
                  </a:cubicBezTo>
                  <a:cubicBezTo>
                    <a:pt x="337876" y="33184"/>
                    <a:pt x="334860" y="36201"/>
                    <a:pt x="331844" y="36201"/>
                  </a:cubicBezTo>
                  <a:close/>
                </a:path>
              </a:pathLst>
            </a:custGeom>
            <a:solidFill>
              <a:srgbClr val="E87952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DFE4A186-EF45-4A1B-B12F-06B74F913F44}"/>
                </a:ext>
              </a:extLst>
            </p:cNvPr>
            <p:cNvSpPr/>
            <p:nvPr/>
          </p:nvSpPr>
          <p:spPr>
            <a:xfrm>
              <a:off x="25819725" y="11386408"/>
              <a:ext cx="112232" cy="92898"/>
            </a:xfrm>
            <a:custGeom>
              <a:avLst/>
              <a:gdLst>
                <a:gd name="connsiteX0" fmla="*/ 90060 w 112232"/>
                <a:gd name="connsiteY0" fmla="*/ 9349 h 92898"/>
                <a:gd name="connsiteX1" fmla="*/ 8607 w 112232"/>
                <a:gd name="connsiteY1" fmla="*/ 12366 h 92898"/>
                <a:gd name="connsiteX2" fmla="*/ 29725 w 112232"/>
                <a:gd name="connsiteY2" fmla="*/ 75717 h 92898"/>
                <a:gd name="connsiteX3" fmla="*/ 108160 w 112232"/>
                <a:gd name="connsiteY3" fmla="*/ 78734 h 92898"/>
                <a:gd name="connsiteX4" fmla="*/ 90060 w 112232"/>
                <a:gd name="connsiteY4" fmla="*/ 9349 h 9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232" h="92898">
                  <a:moveTo>
                    <a:pt x="90060" y="9349"/>
                  </a:moveTo>
                  <a:cubicBezTo>
                    <a:pt x="90060" y="6332"/>
                    <a:pt x="26707" y="-11769"/>
                    <a:pt x="8607" y="12366"/>
                  </a:cubicBezTo>
                  <a:cubicBezTo>
                    <a:pt x="-9494" y="36500"/>
                    <a:pt x="2573" y="60633"/>
                    <a:pt x="29725" y="75717"/>
                  </a:cubicBezTo>
                  <a:cubicBezTo>
                    <a:pt x="50841" y="87785"/>
                    <a:pt x="90060" y="105885"/>
                    <a:pt x="108160" y="78734"/>
                  </a:cubicBezTo>
                  <a:cubicBezTo>
                    <a:pt x="117210" y="57617"/>
                    <a:pt x="111176" y="27450"/>
                    <a:pt x="90060" y="9349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202E9290-BDD4-40E5-B360-0C938A538A59}"/>
                </a:ext>
              </a:extLst>
            </p:cNvPr>
            <p:cNvSpPr/>
            <p:nvPr/>
          </p:nvSpPr>
          <p:spPr>
            <a:xfrm>
              <a:off x="24419470" y="7344089"/>
              <a:ext cx="727087" cy="1188772"/>
            </a:xfrm>
            <a:custGeom>
              <a:avLst/>
              <a:gdLst>
                <a:gd name="connsiteX0" fmla="*/ 356012 w 727087"/>
                <a:gd name="connsiteY0" fmla="*/ 1098260 h 1188772"/>
                <a:gd name="connsiteX1" fmla="*/ 244392 w 727087"/>
                <a:gd name="connsiteY1" fmla="*/ 437589 h 1188772"/>
                <a:gd name="connsiteX2" fmla="*/ 727074 w 727087"/>
                <a:gd name="connsiteY2" fmla="*/ 108762 h 1188772"/>
                <a:gd name="connsiteX3" fmla="*/ 672772 w 727087"/>
                <a:gd name="connsiteY3" fmla="*/ 3176 h 1188772"/>
                <a:gd name="connsiteX4" fmla="*/ 39253 w 727087"/>
                <a:gd name="connsiteY4" fmla="*/ 313902 h 1188772"/>
                <a:gd name="connsiteX5" fmla="*/ 33219 w 727087"/>
                <a:gd name="connsiteY5" fmla="*/ 1001723 h 1188772"/>
                <a:gd name="connsiteX6" fmla="*/ 356012 w 727087"/>
                <a:gd name="connsiteY6" fmla="*/ 1098260 h 1188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7087" h="1188772">
                  <a:moveTo>
                    <a:pt x="356012" y="1098260"/>
                  </a:moveTo>
                  <a:cubicBezTo>
                    <a:pt x="337913" y="959489"/>
                    <a:pt x="244392" y="437589"/>
                    <a:pt x="244392" y="437589"/>
                  </a:cubicBezTo>
                  <a:cubicBezTo>
                    <a:pt x="244392" y="437589"/>
                    <a:pt x="730091" y="117813"/>
                    <a:pt x="727074" y="108762"/>
                  </a:cubicBezTo>
                  <a:cubicBezTo>
                    <a:pt x="699924" y="27310"/>
                    <a:pt x="718024" y="-11908"/>
                    <a:pt x="672772" y="3176"/>
                  </a:cubicBezTo>
                  <a:cubicBezTo>
                    <a:pt x="660706" y="6192"/>
                    <a:pt x="259476" y="93678"/>
                    <a:pt x="39253" y="313902"/>
                  </a:cubicBezTo>
                  <a:cubicBezTo>
                    <a:pt x="-18065" y="371221"/>
                    <a:pt x="-5999" y="817701"/>
                    <a:pt x="33219" y="1001723"/>
                  </a:cubicBezTo>
                  <a:cubicBezTo>
                    <a:pt x="51320" y="1104293"/>
                    <a:pt x="380146" y="1306416"/>
                    <a:pt x="356012" y="1098260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8895E6E2-1B51-4003-8FE1-ED596173B583}"/>
                </a:ext>
              </a:extLst>
            </p:cNvPr>
            <p:cNvSpPr/>
            <p:nvPr/>
          </p:nvSpPr>
          <p:spPr>
            <a:xfrm>
              <a:off x="24410455" y="8195435"/>
              <a:ext cx="468427" cy="581774"/>
            </a:xfrm>
            <a:custGeom>
              <a:avLst/>
              <a:gdLst>
                <a:gd name="connsiteX0" fmla="*/ 0 w 468427"/>
                <a:gd name="connsiteY0" fmla="*/ 138311 h 581774"/>
                <a:gd name="connsiteX1" fmla="*/ 274524 w 468427"/>
                <a:gd name="connsiteY1" fmla="*/ 581774 h 581774"/>
                <a:gd name="connsiteX2" fmla="*/ 467598 w 468427"/>
                <a:gd name="connsiteY2" fmla="*/ 485238 h 581774"/>
                <a:gd name="connsiteX3" fmla="*/ 395195 w 468427"/>
                <a:gd name="connsiteY3" fmla="*/ 2557 h 581774"/>
                <a:gd name="connsiteX4" fmla="*/ 0 w 468427"/>
                <a:gd name="connsiteY4" fmla="*/ 138311 h 58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8427" h="581774">
                  <a:moveTo>
                    <a:pt x="0" y="138311"/>
                  </a:moveTo>
                  <a:cubicBezTo>
                    <a:pt x="63351" y="358534"/>
                    <a:pt x="135754" y="461104"/>
                    <a:pt x="274524" y="581774"/>
                  </a:cubicBezTo>
                  <a:cubicBezTo>
                    <a:pt x="325810" y="557640"/>
                    <a:pt x="467598" y="539540"/>
                    <a:pt x="467598" y="485238"/>
                  </a:cubicBezTo>
                  <a:cubicBezTo>
                    <a:pt x="473632" y="313283"/>
                    <a:pt x="446480" y="159428"/>
                    <a:pt x="395195" y="2557"/>
                  </a:cubicBezTo>
                  <a:cubicBezTo>
                    <a:pt x="304692" y="-15544"/>
                    <a:pt x="105587" y="65908"/>
                    <a:pt x="0" y="138311"/>
                  </a:cubicBez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73C0266C-DCD9-4370-A21D-A2EC0CF572B9}"/>
                </a:ext>
              </a:extLst>
            </p:cNvPr>
            <p:cNvSpPr/>
            <p:nvPr/>
          </p:nvSpPr>
          <p:spPr>
            <a:xfrm>
              <a:off x="25203863" y="7329164"/>
              <a:ext cx="657322" cy="1296879"/>
            </a:xfrm>
            <a:custGeom>
              <a:avLst/>
              <a:gdLst>
                <a:gd name="connsiteX0" fmla="*/ 524917 w 657322"/>
                <a:gd name="connsiteY0" fmla="*/ 1212737 h 1296879"/>
                <a:gd name="connsiteX1" fmla="*/ 259441 w 657322"/>
                <a:gd name="connsiteY1" fmla="*/ 1055866 h 1296879"/>
                <a:gd name="connsiteX2" fmla="*/ 386145 w 657322"/>
                <a:gd name="connsiteY2" fmla="*/ 509832 h 1296879"/>
                <a:gd name="connsiteX3" fmla="*/ 0 w 657322"/>
                <a:gd name="connsiteY3" fmla="*/ 129721 h 1296879"/>
                <a:gd name="connsiteX4" fmla="*/ 45251 w 657322"/>
                <a:gd name="connsiteY4" fmla="*/ 0 h 1296879"/>
                <a:gd name="connsiteX5" fmla="*/ 639553 w 657322"/>
                <a:gd name="connsiteY5" fmla="*/ 446481 h 1296879"/>
                <a:gd name="connsiteX6" fmla="*/ 524917 w 657322"/>
                <a:gd name="connsiteY6" fmla="*/ 1212737 h 1296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7322" h="1296879">
                  <a:moveTo>
                    <a:pt x="524917" y="1212737"/>
                  </a:moveTo>
                  <a:cubicBezTo>
                    <a:pt x="410279" y="1411844"/>
                    <a:pt x="223241" y="1215754"/>
                    <a:pt x="259441" y="1055866"/>
                  </a:cubicBezTo>
                  <a:cubicBezTo>
                    <a:pt x="295642" y="898995"/>
                    <a:pt x="355977" y="606368"/>
                    <a:pt x="386145" y="509832"/>
                  </a:cubicBezTo>
                  <a:cubicBezTo>
                    <a:pt x="352961" y="398212"/>
                    <a:pt x="0" y="129721"/>
                    <a:pt x="0" y="129721"/>
                  </a:cubicBezTo>
                  <a:cubicBezTo>
                    <a:pt x="27152" y="99553"/>
                    <a:pt x="45251" y="0"/>
                    <a:pt x="45251" y="0"/>
                  </a:cubicBezTo>
                  <a:cubicBezTo>
                    <a:pt x="45251" y="0"/>
                    <a:pt x="552067" y="310726"/>
                    <a:pt x="639553" y="446481"/>
                  </a:cubicBezTo>
                  <a:cubicBezTo>
                    <a:pt x="684805" y="518883"/>
                    <a:pt x="642570" y="1004581"/>
                    <a:pt x="524917" y="1212737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42991041-441E-41DA-B03C-A3DEDE55A25A}"/>
                </a:ext>
              </a:extLst>
            </p:cNvPr>
            <p:cNvSpPr/>
            <p:nvPr/>
          </p:nvSpPr>
          <p:spPr>
            <a:xfrm>
              <a:off x="25404090" y="8213648"/>
              <a:ext cx="454410" cy="563561"/>
            </a:xfrm>
            <a:custGeom>
              <a:avLst/>
              <a:gdLst>
                <a:gd name="connsiteX0" fmla="*/ 454410 w 454410"/>
                <a:gd name="connsiteY0" fmla="*/ 174399 h 563561"/>
                <a:gd name="connsiteX1" fmla="*/ 188936 w 454410"/>
                <a:gd name="connsiteY1" fmla="*/ 563561 h 563561"/>
                <a:gd name="connsiteX2" fmla="*/ 23014 w 454410"/>
                <a:gd name="connsiteY2" fmla="*/ 476075 h 563561"/>
                <a:gd name="connsiteX3" fmla="*/ 38098 w 454410"/>
                <a:gd name="connsiteY3" fmla="*/ 2444 h 563561"/>
                <a:gd name="connsiteX4" fmla="*/ 454410 w 454410"/>
                <a:gd name="connsiteY4" fmla="*/ 174399 h 563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4410" h="563561">
                  <a:moveTo>
                    <a:pt x="454410" y="174399"/>
                  </a:moveTo>
                  <a:cubicBezTo>
                    <a:pt x="388041" y="391606"/>
                    <a:pt x="279439" y="530377"/>
                    <a:pt x="188936" y="563561"/>
                  </a:cubicBezTo>
                  <a:cubicBezTo>
                    <a:pt x="134633" y="560544"/>
                    <a:pt x="35080" y="566578"/>
                    <a:pt x="23014" y="476075"/>
                  </a:cubicBezTo>
                  <a:cubicBezTo>
                    <a:pt x="-1122" y="322221"/>
                    <a:pt x="-19221" y="138198"/>
                    <a:pt x="38098" y="2444"/>
                  </a:cubicBezTo>
                  <a:cubicBezTo>
                    <a:pt x="122567" y="-18673"/>
                    <a:pt x="351840" y="101997"/>
                    <a:pt x="454410" y="174399"/>
                  </a:cubicBezTo>
                  <a:close/>
                </a:path>
              </a:pathLst>
            </a:custGeom>
            <a:solidFill>
              <a:srgbClr val="F6EBE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F3C5237F-D40B-4AEC-981E-DD9DC5C90FAC}"/>
                </a:ext>
              </a:extLst>
            </p:cNvPr>
            <p:cNvSpPr/>
            <p:nvPr/>
          </p:nvSpPr>
          <p:spPr>
            <a:xfrm>
              <a:off x="25390147" y="8208564"/>
              <a:ext cx="223994" cy="460041"/>
            </a:xfrm>
            <a:custGeom>
              <a:avLst/>
              <a:gdLst>
                <a:gd name="connsiteX0" fmla="*/ 30923 w 223994"/>
                <a:gd name="connsiteY0" fmla="*/ 460042 h 460041"/>
                <a:gd name="connsiteX1" fmla="*/ 24889 w 223994"/>
                <a:gd name="connsiteY1" fmla="*/ 457025 h 460041"/>
                <a:gd name="connsiteX2" fmla="*/ 42988 w 223994"/>
                <a:gd name="connsiteY2" fmla="*/ 4511 h 460041"/>
                <a:gd name="connsiteX3" fmla="*/ 42988 w 223994"/>
                <a:gd name="connsiteY3" fmla="*/ 4511 h 460041"/>
                <a:gd name="connsiteX4" fmla="*/ 42988 w 223994"/>
                <a:gd name="connsiteY4" fmla="*/ 4511 h 460041"/>
                <a:gd name="connsiteX5" fmla="*/ 220978 w 223994"/>
                <a:gd name="connsiteY5" fmla="*/ 49763 h 460041"/>
                <a:gd name="connsiteX6" fmla="*/ 223994 w 223994"/>
                <a:gd name="connsiteY6" fmla="*/ 55796 h 460041"/>
                <a:gd name="connsiteX7" fmla="*/ 217962 w 223994"/>
                <a:gd name="connsiteY7" fmla="*/ 58813 h 460041"/>
                <a:gd name="connsiteX8" fmla="*/ 52040 w 223994"/>
                <a:gd name="connsiteY8" fmla="*/ 13561 h 460041"/>
                <a:gd name="connsiteX9" fmla="*/ 36956 w 223994"/>
                <a:gd name="connsiteY9" fmla="*/ 457025 h 460041"/>
                <a:gd name="connsiteX10" fmla="*/ 30923 w 223994"/>
                <a:gd name="connsiteY10" fmla="*/ 460042 h 460041"/>
                <a:gd name="connsiteX11" fmla="*/ 30923 w 223994"/>
                <a:gd name="connsiteY11" fmla="*/ 460042 h 460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3994" h="460041">
                  <a:moveTo>
                    <a:pt x="30923" y="460042"/>
                  </a:moveTo>
                  <a:cubicBezTo>
                    <a:pt x="27905" y="460042"/>
                    <a:pt x="24889" y="457025"/>
                    <a:pt x="24889" y="457025"/>
                  </a:cubicBezTo>
                  <a:cubicBezTo>
                    <a:pt x="-2263" y="360489"/>
                    <a:pt x="-20363" y="152332"/>
                    <a:pt x="42988" y="4511"/>
                  </a:cubicBezTo>
                  <a:lnTo>
                    <a:pt x="42988" y="4511"/>
                  </a:lnTo>
                  <a:lnTo>
                    <a:pt x="42988" y="4511"/>
                  </a:lnTo>
                  <a:cubicBezTo>
                    <a:pt x="46006" y="1494"/>
                    <a:pt x="76174" y="-16606"/>
                    <a:pt x="220978" y="49763"/>
                  </a:cubicBezTo>
                  <a:cubicBezTo>
                    <a:pt x="223994" y="49763"/>
                    <a:pt x="223994" y="55796"/>
                    <a:pt x="223994" y="55796"/>
                  </a:cubicBezTo>
                  <a:cubicBezTo>
                    <a:pt x="223994" y="58813"/>
                    <a:pt x="217962" y="58813"/>
                    <a:pt x="217962" y="58813"/>
                  </a:cubicBezTo>
                  <a:cubicBezTo>
                    <a:pt x="97292" y="4511"/>
                    <a:pt x="61090" y="10545"/>
                    <a:pt x="52040" y="13561"/>
                  </a:cubicBezTo>
                  <a:cubicBezTo>
                    <a:pt x="-8295" y="158366"/>
                    <a:pt x="9805" y="363506"/>
                    <a:pt x="36956" y="457025"/>
                  </a:cubicBezTo>
                  <a:cubicBezTo>
                    <a:pt x="36956" y="457025"/>
                    <a:pt x="33939" y="460042"/>
                    <a:pt x="30923" y="460042"/>
                  </a:cubicBezTo>
                  <a:cubicBezTo>
                    <a:pt x="30923" y="460042"/>
                    <a:pt x="30923" y="460042"/>
                    <a:pt x="30923" y="460042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726BDF84-E1E6-4E98-BEFD-167784F6FD7A}"/>
                </a:ext>
              </a:extLst>
            </p:cNvPr>
            <p:cNvSpPr/>
            <p:nvPr/>
          </p:nvSpPr>
          <p:spPr>
            <a:xfrm>
              <a:off x="25065093" y="7019109"/>
              <a:ext cx="135407" cy="442792"/>
            </a:xfrm>
            <a:custGeom>
              <a:avLst/>
              <a:gdLst>
                <a:gd name="connsiteX0" fmla="*/ 123686 w 135407"/>
                <a:gd name="connsiteY0" fmla="*/ 77765 h 442792"/>
                <a:gd name="connsiteX1" fmla="*/ 99553 w 135407"/>
                <a:gd name="connsiteY1" fmla="*/ 56647 h 442792"/>
                <a:gd name="connsiteX2" fmla="*/ 75419 w 135407"/>
                <a:gd name="connsiteY2" fmla="*/ 8379 h 442792"/>
                <a:gd name="connsiteX3" fmla="*/ 33184 w 135407"/>
                <a:gd name="connsiteY3" fmla="*/ 20446 h 442792"/>
                <a:gd name="connsiteX4" fmla="*/ 27150 w 135407"/>
                <a:gd name="connsiteY4" fmla="*/ 71731 h 442792"/>
                <a:gd name="connsiteX5" fmla="*/ 0 w 135407"/>
                <a:gd name="connsiteY5" fmla="*/ 101898 h 442792"/>
                <a:gd name="connsiteX6" fmla="*/ 3016 w 135407"/>
                <a:gd name="connsiteY6" fmla="*/ 391507 h 442792"/>
                <a:gd name="connsiteX7" fmla="*/ 51283 w 135407"/>
                <a:gd name="connsiteY7" fmla="*/ 442792 h 442792"/>
                <a:gd name="connsiteX8" fmla="*/ 126702 w 135407"/>
                <a:gd name="connsiteY8" fmla="*/ 349273 h 442792"/>
                <a:gd name="connsiteX9" fmla="*/ 123686 w 135407"/>
                <a:gd name="connsiteY9" fmla="*/ 77765 h 44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407" h="442792">
                  <a:moveTo>
                    <a:pt x="123686" y="77765"/>
                  </a:moveTo>
                  <a:cubicBezTo>
                    <a:pt x="120670" y="65697"/>
                    <a:pt x="111619" y="56647"/>
                    <a:pt x="99553" y="56647"/>
                  </a:cubicBezTo>
                  <a:cubicBezTo>
                    <a:pt x="93519" y="38547"/>
                    <a:pt x="87485" y="23463"/>
                    <a:pt x="75419" y="8379"/>
                  </a:cubicBezTo>
                  <a:cubicBezTo>
                    <a:pt x="63351" y="-6705"/>
                    <a:pt x="36200" y="-671"/>
                    <a:pt x="33184" y="20446"/>
                  </a:cubicBezTo>
                  <a:cubicBezTo>
                    <a:pt x="30168" y="38547"/>
                    <a:pt x="27150" y="56647"/>
                    <a:pt x="27150" y="71731"/>
                  </a:cubicBezTo>
                  <a:cubicBezTo>
                    <a:pt x="15084" y="71731"/>
                    <a:pt x="0" y="83798"/>
                    <a:pt x="0" y="101898"/>
                  </a:cubicBezTo>
                  <a:cubicBezTo>
                    <a:pt x="0" y="186368"/>
                    <a:pt x="3016" y="307038"/>
                    <a:pt x="3016" y="391507"/>
                  </a:cubicBezTo>
                  <a:cubicBezTo>
                    <a:pt x="3016" y="409608"/>
                    <a:pt x="39218" y="442792"/>
                    <a:pt x="51283" y="442792"/>
                  </a:cubicBezTo>
                  <a:cubicBezTo>
                    <a:pt x="102569" y="442792"/>
                    <a:pt x="123686" y="403574"/>
                    <a:pt x="126702" y="349273"/>
                  </a:cubicBezTo>
                  <a:cubicBezTo>
                    <a:pt x="135754" y="282904"/>
                    <a:pt x="141786" y="144133"/>
                    <a:pt x="123686" y="77765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4E9BACAE-385D-4B70-8704-90BEAC277480}"/>
                </a:ext>
              </a:extLst>
            </p:cNvPr>
            <p:cNvSpPr/>
            <p:nvPr/>
          </p:nvSpPr>
          <p:spPr>
            <a:xfrm>
              <a:off x="25134477" y="7019109"/>
              <a:ext cx="129720" cy="442792"/>
            </a:xfrm>
            <a:custGeom>
              <a:avLst/>
              <a:gdLst>
                <a:gd name="connsiteX0" fmla="*/ 12066 w 129720"/>
                <a:gd name="connsiteY0" fmla="*/ 77765 h 442792"/>
                <a:gd name="connsiteX1" fmla="*/ 36202 w 129720"/>
                <a:gd name="connsiteY1" fmla="*/ 56647 h 442792"/>
                <a:gd name="connsiteX2" fmla="*/ 57318 w 129720"/>
                <a:gd name="connsiteY2" fmla="*/ 8379 h 442792"/>
                <a:gd name="connsiteX3" fmla="*/ 99553 w 129720"/>
                <a:gd name="connsiteY3" fmla="*/ 20446 h 442792"/>
                <a:gd name="connsiteX4" fmla="*/ 105587 w 129720"/>
                <a:gd name="connsiteY4" fmla="*/ 71731 h 442792"/>
                <a:gd name="connsiteX5" fmla="*/ 129721 w 129720"/>
                <a:gd name="connsiteY5" fmla="*/ 101898 h 442792"/>
                <a:gd name="connsiteX6" fmla="*/ 126705 w 129720"/>
                <a:gd name="connsiteY6" fmla="*/ 391507 h 442792"/>
                <a:gd name="connsiteX7" fmla="*/ 78435 w 129720"/>
                <a:gd name="connsiteY7" fmla="*/ 442792 h 442792"/>
                <a:gd name="connsiteX8" fmla="*/ 6034 w 129720"/>
                <a:gd name="connsiteY8" fmla="*/ 349273 h 442792"/>
                <a:gd name="connsiteX9" fmla="*/ 12066 w 129720"/>
                <a:gd name="connsiteY9" fmla="*/ 77765 h 44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9720" h="442792">
                  <a:moveTo>
                    <a:pt x="12066" y="77765"/>
                  </a:moveTo>
                  <a:cubicBezTo>
                    <a:pt x="15084" y="65697"/>
                    <a:pt x="24134" y="56647"/>
                    <a:pt x="36202" y="56647"/>
                  </a:cubicBezTo>
                  <a:cubicBezTo>
                    <a:pt x="42234" y="38547"/>
                    <a:pt x="48268" y="23463"/>
                    <a:pt x="57318" y="8379"/>
                  </a:cubicBezTo>
                  <a:cubicBezTo>
                    <a:pt x="69385" y="-6705"/>
                    <a:pt x="96537" y="-671"/>
                    <a:pt x="99553" y="20446"/>
                  </a:cubicBezTo>
                  <a:cubicBezTo>
                    <a:pt x="102569" y="38547"/>
                    <a:pt x="105587" y="56647"/>
                    <a:pt x="105587" y="71731"/>
                  </a:cubicBezTo>
                  <a:cubicBezTo>
                    <a:pt x="117653" y="71731"/>
                    <a:pt x="129721" y="83798"/>
                    <a:pt x="129721" y="101898"/>
                  </a:cubicBezTo>
                  <a:cubicBezTo>
                    <a:pt x="129721" y="186368"/>
                    <a:pt x="126705" y="307038"/>
                    <a:pt x="126705" y="391507"/>
                  </a:cubicBezTo>
                  <a:cubicBezTo>
                    <a:pt x="126705" y="409608"/>
                    <a:pt x="90503" y="442792"/>
                    <a:pt x="78435" y="442792"/>
                  </a:cubicBezTo>
                  <a:cubicBezTo>
                    <a:pt x="30168" y="442792"/>
                    <a:pt x="9050" y="403574"/>
                    <a:pt x="6034" y="349273"/>
                  </a:cubicBezTo>
                  <a:cubicBezTo>
                    <a:pt x="0" y="282904"/>
                    <a:pt x="-6034" y="144133"/>
                    <a:pt x="12066" y="77765"/>
                  </a:cubicBezTo>
                  <a:close/>
                </a:path>
              </a:pathLst>
            </a:custGeom>
            <a:solidFill>
              <a:srgbClr val="F49F84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05FD211F-E917-4D9D-AD7D-0D0B98546A72}"/>
                </a:ext>
              </a:extLst>
            </p:cNvPr>
            <p:cNvSpPr/>
            <p:nvPr/>
          </p:nvSpPr>
          <p:spPr>
            <a:xfrm>
              <a:off x="24642746" y="8691490"/>
              <a:ext cx="52533" cy="547283"/>
            </a:xfrm>
            <a:custGeom>
              <a:avLst/>
              <a:gdLst>
                <a:gd name="connsiteX0" fmla="*/ 6032 w 52533"/>
                <a:gd name="connsiteY0" fmla="*/ 547283 h 547283"/>
                <a:gd name="connsiteX1" fmla="*/ 6032 w 52533"/>
                <a:gd name="connsiteY1" fmla="*/ 547283 h 547283"/>
                <a:gd name="connsiteX2" fmla="*/ 0 w 52533"/>
                <a:gd name="connsiteY2" fmla="*/ 541250 h 547283"/>
                <a:gd name="connsiteX3" fmla="*/ 42234 w 52533"/>
                <a:gd name="connsiteY3" fmla="*/ 4267 h 547283"/>
                <a:gd name="connsiteX4" fmla="*/ 48267 w 52533"/>
                <a:gd name="connsiteY4" fmla="*/ 1250 h 547283"/>
                <a:gd name="connsiteX5" fmla="*/ 51283 w 52533"/>
                <a:gd name="connsiteY5" fmla="*/ 7283 h 547283"/>
                <a:gd name="connsiteX6" fmla="*/ 9050 w 52533"/>
                <a:gd name="connsiteY6" fmla="*/ 541250 h 547283"/>
                <a:gd name="connsiteX7" fmla="*/ 6032 w 52533"/>
                <a:gd name="connsiteY7" fmla="*/ 547283 h 547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533" h="547283">
                  <a:moveTo>
                    <a:pt x="6032" y="547283"/>
                  </a:moveTo>
                  <a:cubicBezTo>
                    <a:pt x="6032" y="547283"/>
                    <a:pt x="6032" y="547283"/>
                    <a:pt x="6032" y="547283"/>
                  </a:cubicBezTo>
                  <a:cubicBezTo>
                    <a:pt x="3016" y="547283"/>
                    <a:pt x="0" y="544266"/>
                    <a:pt x="0" y="541250"/>
                  </a:cubicBezTo>
                  <a:cubicBezTo>
                    <a:pt x="0" y="520132"/>
                    <a:pt x="36200" y="43484"/>
                    <a:pt x="42234" y="4267"/>
                  </a:cubicBezTo>
                  <a:cubicBezTo>
                    <a:pt x="42234" y="1250"/>
                    <a:pt x="45251" y="-1767"/>
                    <a:pt x="48267" y="1250"/>
                  </a:cubicBezTo>
                  <a:cubicBezTo>
                    <a:pt x="51283" y="1250"/>
                    <a:pt x="54301" y="4267"/>
                    <a:pt x="51283" y="7283"/>
                  </a:cubicBezTo>
                  <a:cubicBezTo>
                    <a:pt x="42234" y="46501"/>
                    <a:pt x="9050" y="538233"/>
                    <a:pt x="9050" y="541250"/>
                  </a:cubicBezTo>
                  <a:cubicBezTo>
                    <a:pt x="12066" y="547283"/>
                    <a:pt x="9050" y="547283"/>
                    <a:pt x="6032" y="547283"/>
                  </a:cubicBezTo>
                  <a:close/>
                </a:path>
              </a:pathLst>
            </a:custGeom>
            <a:solidFill>
              <a:srgbClr val="38343B"/>
            </a:solidFill>
            <a:ln w="30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842433512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图形 1">
            <a:extLst>
              <a:ext uri="{FF2B5EF4-FFF2-40B4-BE49-F238E27FC236}">
                <a16:creationId xmlns:a16="http://schemas.microsoft.com/office/drawing/2014/main" id="{C4220F68-B32F-423B-8B09-E3E75FE87C34}"/>
              </a:ext>
            </a:extLst>
          </p:cNvPr>
          <p:cNvGrpSpPr/>
          <p:nvPr/>
        </p:nvGrpSpPr>
        <p:grpSpPr>
          <a:xfrm>
            <a:off x="2321590" y="1896354"/>
            <a:ext cx="2842255" cy="4894945"/>
            <a:chOff x="2882028" y="1955348"/>
            <a:chExt cx="2842255" cy="4894945"/>
          </a:xfrm>
        </p:grpSpPr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AA939FDE-74FB-47D7-93AB-9B636ADBF131}"/>
                </a:ext>
              </a:extLst>
            </p:cNvPr>
            <p:cNvSpPr/>
            <p:nvPr/>
          </p:nvSpPr>
          <p:spPr>
            <a:xfrm>
              <a:off x="3223156" y="3964343"/>
              <a:ext cx="1390908" cy="2525950"/>
            </a:xfrm>
            <a:custGeom>
              <a:avLst/>
              <a:gdLst>
                <a:gd name="connsiteX0" fmla="*/ 621818 w 1390908"/>
                <a:gd name="connsiteY0" fmla="*/ 0 h 2525950"/>
                <a:gd name="connsiteX1" fmla="*/ 1273388 w 1390908"/>
                <a:gd name="connsiteY1" fmla="*/ 0 h 2525950"/>
                <a:gd name="connsiteX2" fmla="*/ 1389421 w 1390908"/>
                <a:gd name="connsiteY2" fmla="*/ 449256 h 2525950"/>
                <a:gd name="connsiteX3" fmla="*/ 1258512 w 1390908"/>
                <a:gd name="connsiteY3" fmla="*/ 2496199 h 2525950"/>
                <a:gd name="connsiteX4" fmla="*/ 1103802 w 1390908"/>
                <a:gd name="connsiteY4" fmla="*/ 2525951 h 2525950"/>
                <a:gd name="connsiteX5" fmla="*/ 937190 w 1390908"/>
                <a:gd name="connsiteY5" fmla="*/ 797355 h 2525950"/>
                <a:gd name="connsiteX6" fmla="*/ 868760 w 1390908"/>
                <a:gd name="connsiteY6" fmla="*/ 1588760 h 2525950"/>
                <a:gd name="connsiteX7" fmla="*/ 856860 w 1390908"/>
                <a:gd name="connsiteY7" fmla="*/ 1639339 h 2525950"/>
                <a:gd name="connsiteX8" fmla="*/ 101157 w 1390908"/>
                <a:gd name="connsiteY8" fmla="*/ 2222480 h 2525950"/>
                <a:gd name="connsiteX9" fmla="*/ 0 w 1390908"/>
                <a:gd name="connsiteY9" fmla="*/ 2082645 h 2525950"/>
                <a:gd name="connsiteX10" fmla="*/ 547438 w 1390908"/>
                <a:gd name="connsiteY10" fmla="*/ 1576860 h 2525950"/>
                <a:gd name="connsiteX11" fmla="*/ 487934 w 1390908"/>
                <a:gd name="connsiteY11" fmla="*/ 413554 h 2525950"/>
                <a:gd name="connsiteX12" fmla="*/ 621818 w 1390908"/>
                <a:gd name="connsiteY12" fmla="*/ 0 h 252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90908" h="2525950">
                  <a:moveTo>
                    <a:pt x="621818" y="0"/>
                  </a:moveTo>
                  <a:lnTo>
                    <a:pt x="1273388" y="0"/>
                  </a:lnTo>
                  <a:cubicBezTo>
                    <a:pt x="1273388" y="0"/>
                    <a:pt x="1368595" y="297521"/>
                    <a:pt x="1389421" y="449256"/>
                  </a:cubicBezTo>
                  <a:cubicBezTo>
                    <a:pt x="1407273" y="598017"/>
                    <a:pt x="1258512" y="2496199"/>
                    <a:pt x="1258512" y="2496199"/>
                  </a:cubicBezTo>
                  <a:lnTo>
                    <a:pt x="1103802" y="2525951"/>
                  </a:lnTo>
                  <a:lnTo>
                    <a:pt x="937190" y="797355"/>
                  </a:lnTo>
                  <a:lnTo>
                    <a:pt x="868760" y="1588760"/>
                  </a:lnTo>
                  <a:cubicBezTo>
                    <a:pt x="865785" y="1606612"/>
                    <a:pt x="868760" y="1627438"/>
                    <a:pt x="856860" y="1639339"/>
                  </a:cubicBezTo>
                  <a:cubicBezTo>
                    <a:pt x="714050" y="1829752"/>
                    <a:pt x="101157" y="2222480"/>
                    <a:pt x="101157" y="2222480"/>
                  </a:cubicBezTo>
                  <a:lnTo>
                    <a:pt x="0" y="2082645"/>
                  </a:lnTo>
                  <a:lnTo>
                    <a:pt x="547438" y="1576860"/>
                  </a:lnTo>
                  <a:cubicBezTo>
                    <a:pt x="547438" y="1576860"/>
                    <a:pt x="493884" y="479008"/>
                    <a:pt x="487934" y="413554"/>
                  </a:cubicBezTo>
                  <a:cubicBezTo>
                    <a:pt x="479008" y="288595"/>
                    <a:pt x="621818" y="0"/>
                    <a:pt x="621818" y="0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24B0B933-E437-4008-A44C-254ABE066666}"/>
                </a:ext>
              </a:extLst>
            </p:cNvPr>
            <p:cNvSpPr/>
            <p:nvPr/>
          </p:nvSpPr>
          <p:spPr>
            <a:xfrm>
              <a:off x="3398693" y="3964343"/>
              <a:ext cx="1451900" cy="1324898"/>
            </a:xfrm>
            <a:custGeom>
              <a:avLst/>
              <a:gdLst>
                <a:gd name="connsiteX0" fmla="*/ 1451901 w 1451900"/>
                <a:gd name="connsiteY0" fmla="*/ 1261488 h 1324898"/>
                <a:gd name="connsiteX1" fmla="*/ 1166281 w 1451900"/>
                <a:gd name="connsiteY1" fmla="*/ 199339 h 1324898"/>
                <a:gd name="connsiteX2" fmla="*/ 1157355 w 1451900"/>
                <a:gd name="connsiteY2" fmla="*/ 169587 h 1324898"/>
                <a:gd name="connsiteX3" fmla="*/ 1097851 w 1451900"/>
                <a:gd name="connsiteY3" fmla="*/ 17851 h 1324898"/>
                <a:gd name="connsiteX4" fmla="*/ 443306 w 1451900"/>
                <a:gd name="connsiteY4" fmla="*/ 0 h 1324898"/>
                <a:gd name="connsiteX5" fmla="*/ 371901 w 1451900"/>
                <a:gd name="connsiteY5" fmla="*/ 101157 h 1324898"/>
                <a:gd name="connsiteX6" fmla="*/ 357025 w 1451900"/>
                <a:gd name="connsiteY6" fmla="*/ 124959 h 1324898"/>
                <a:gd name="connsiteX7" fmla="*/ 357025 w 1451900"/>
                <a:gd name="connsiteY7" fmla="*/ 124959 h 1324898"/>
                <a:gd name="connsiteX8" fmla="*/ 196364 w 1451900"/>
                <a:gd name="connsiteY8" fmla="*/ 452232 h 1324898"/>
                <a:gd name="connsiteX9" fmla="*/ 184463 w 1451900"/>
                <a:gd name="connsiteY9" fmla="*/ 479008 h 1324898"/>
                <a:gd name="connsiteX10" fmla="*/ 0 w 1451900"/>
                <a:gd name="connsiteY10" fmla="*/ 1187108 h 1324898"/>
                <a:gd name="connsiteX11" fmla="*/ 1451901 w 1451900"/>
                <a:gd name="connsiteY11" fmla="*/ 1261488 h 1324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1900" h="1324898">
                  <a:moveTo>
                    <a:pt x="1451901" y="1261488"/>
                  </a:moveTo>
                  <a:cubicBezTo>
                    <a:pt x="1392397" y="1157355"/>
                    <a:pt x="1187107" y="273719"/>
                    <a:pt x="1166281" y="199339"/>
                  </a:cubicBezTo>
                  <a:cubicBezTo>
                    <a:pt x="1163306" y="190413"/>
                    <a:pt x="1160331" y="178512"/>
                    <a:pt x="1157355" y="169587"/>
                  </a:cubicBezTo>
                  <a:cubicBezTo>
                    <a:pt x="1127603" y="68430"/>
                    <a:pt x="1097851" y="17851"/>
                    <a:pt x="1097851" y="17851"/>
                  </a:cubicBezTo>
                  <a:cubicBezTo>
                    <a:pt x="1097851" y="17851"/>
                    <a:pt x="815207" y="38678"/>
                    <a:pt x="443306" y="0"/>
                  </a:cubicBezTo>
                  <a:cubicBezTo>
                    <a:pt x="419504" y="29752"/>
                    <a:pt x="395702" y="65455"/>
                    <a:pt x="371901" y="101157"/>
                  </a:cubicBezTo>
                  <a:cubicBezTo>
                    <a:pt x="365950" y="110083"/>
                    <a:pt x="360000" y="119008"/>
                    <a:pt x="357025" y="124959"/>
                  </a:cubicBezTo>
                  <a:lnTo>
                    <a:pt x="357025" y="124959"/>
                  </a:lnTo>
                  <a:cubicBezTo>
                    <a:pt x="297521" y="223141"/>
                    <a:pt x="243967" y="336198"/>
                    <a:pt x="196364" y="452232"/>
                  </a:cubicBezTo>
                  <a:cubicBezTo>
                    <a:pt x="193388" y="461157"/>
                    <a:pt x="190413" y="470083"/>
                    <a:pt x="184463" y="479008"/>
                  </a:cubicBezTo>
                  <a:cubicBezTo>
                    <a:pt x="133884" y="606942"/>
                    <a:pt x="0" y="1187108"/>
                    <a:pt x="0" y="1187108"/>
                  </a:cubicBezTo>
                  <a:cubicBezTo>
                    <a:pt x="2975" y="1193058"/>
                    <a:pt x="758678" y="1437025"/>
                    <a:pt x="1451901" y="1261488"/>
                  </a:cubicBezTo>
                  <a:close/>
                </a:path>
              </a:pathLst>
            </a:custGeom>
            <a:solidFill>
              <a:srgbClr val="D1615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4" name="图形 1">
              <a:extLst>
                <a:ext uri="{FF2B5EF4-FFF2-40B4-BE49-F238E27FC236}">
                  <a16:creationId xmlns:a16="http://schemas.microsoft.com/office/drawing/2014/main" id="{C4220F68-B32F-423B-8B09-E3E75FE87C34}"/>
                </a:ext>
              </a:extLst>
            </p:cNvPr>
            <p:cNvGrpSpPr/>
            <p:nvPr/>
          </p:nvGrpSpPr>
          <p:grpSpPr>
            <a:xfrm>
              <a:off x="4234726" y="6405872"/>
              <a:ext cx="589333" cy="444421"/>
              <a:chOff x="4234726" y="6405872"/>
              <a:chExt cx="589333" cy="444421"/>
            </a:xfrm>
          </p:grpSpPr>
          <p:grpSp>
            <p:nvGrpSpPr>
              <p:cNvPr id="85" name="图形 1">
                <a:extLst>
                  <a:ext uri="{FF2B5EF4-FFF2-40B4-BE49-F238E27FC236}">
                    <a16:creationId xmlns:a16="http://schemas.microsoft.com/office/drawing/2014/main" id="{C4220F68-B32F-423B-8B09-E3E75FE87C34}"/>
                  </a:ext>
                </a:extLst>
              </p:cNvPr>
              <p:cNvGrpSpPr/>
              <p:nvPr/>
            </p:nvGrpSpPr>
            <p:grpSpPr>
              <a:xfrm>
                <a:off x="4234726" y="6418888"/>
                <a:ext cx="589333" cy="431404"/>
                <a:chOff x="4234726" y="6418888"/>
                <a:chExt cx="589333" cy="431404"/>
              </a:xfrm>
            </p:grpSpPr>
            <p:sp>
              <p:nvSpPr>
                <p:cNvPr id="86" name="任意多边形: 形状 85">
                  <a:extLst>
                    <a:ext uri="{FF2B5EF4-FFF2-40B4-BE49-F238E27FC236}">
                      <a16:creationId xmlns:a16="http://schemas.microsoft.com/office/drawing/2014/main" id="{CBB6374B-D442-45D4-A908-DF7D1BD73F11}"/>
                    </a:ext>
                  </a:extLst>
                </p:cNvPr>
                <p:cNvSpPr/>
                <p:nvPr/>
              </p:nvSpPr>
              <p:spPr>
                <a:xfrm>
                  <a:off x="4234726" y="6653930"/>
                  <a:ext cx="589333" cy="196363"/>
                </a:xfrm>
                <a:custGeom>
                  <a:avLst/>
                  <a:gdLst>
                    <a:gd name="connsiteX0" fmla="*/ 374876 w 589333"/>
                    <a:gd name="connsiteY0" fmla="*/ 196364 h 196363"/>
                    <a:gd name="connsiteX1" fmla="*/ 11901 w 589333"/>
                    <a:gd name="connsiteY1" fmla="*/ 190413 h 196363"/>
                    <a:gd name="connsiteX2" fmla="*/ 0 w 589333"/>
                    <a:gd name="connsiteY2" fmla="*/ 178512 h 196363"/>
                    <a:gd name="connsiteX3" fmla="*/ 11901 w 589333"/>
                    <a:gd name="connsiteY3" fmla="*/ 166612 h 196363"/>
                    <a:gd name="connsiteX4" fmla="*/ 422479 w 589333"/>
                    <a:gd name="connsiteY4" fmla="*/ 172562 h 196363"/>
                    <a:gd name="connsiteX5" fmla="*/ 556364 w 589333"/>
                    <a:gd name="connsiteY5" fmla="*/ 107108 h 196363"/>
                    <a:gd name="connsiteX6" fmla="*/ 568264 w 589333"/>
                    <a:gd name="connsiteY6" fmla="*/ 11901 h 196363"/>
                    <a:gd name="connsiteX7" fmla="*/ 577190 w 589333"/>
                    <a:gd name="connsiteY7" fmla="*/ 0 h 196363"/>
                    <a:gd name="connsiteX8" fmla="*/ 589091 w 589333"/>
                    <a:gd name="connsiteY8" fmla="*/ 8926 h 196363"/>
                    <a:gd name="connsiteX9" fmla="*/ 577190 w 589333"/>
                    <a:gd name="connsiteY9" fmla="*/ 113058 h 196363"/>
                    <a:gd name="connsiteX10" fmla="*/ 422479 w 589333"/>
                    <a:gd name="connsiteY10" fmla="*/ 193388 h 196363"/>
                    <a:gd name="connsiteX11" fmla="*/ 374876 w 589333"/>
                    <a:gd name="connsiteY11" fmla="*/ 196364 h 196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89333" h="196363">
                      <a:moveTo>
                        <a:pt x="374876" y="196364"/>
                      </a:moveTo>
                      <a:cubicBezTo>
                        <a:pt x="246942" y="196364"/>
                        <a:pt x="14876" y="190413"/>
                        <a:pt x="11901" y="190413"/>
                      </a:cubicBezTo>
                      <a:cubicBezTo>
                        <a:pt x="5950" y="190413"/>
                        <a:pt x="0" y="184463"/>
                        <a:pt x="0" y="178512"/>
                      </a:cubicBezTo>
                      <a:cubicBezTo>
                        <a:pt x="0" y="172562"/>
                        <a:pt x="5950" y="169587"/>
                        <a:pt x="11901" y="166612"/>
                      </a:cubicBezTo>
                      <a:cubicBezTo>
                        <a:pt x="14876" y="166612"/>
                        <a:pt x="324298" y="175537"/>
                        <a:pt x="422479" y="172562"/>
                      </a:cubicBezTo>
                      <a:cubicBezTo>
                        <a:pt x="473058" y="172562"/>
                        <a:pt x="538512" y="151736"/>
                        <a:pt x="556364" y="107108"/>
                      </a:cubicBezTo>
                      <a:cubicBezTo>
                        <a:pt x="571240" y="65454"/>
                        <a:pt x="568264" y="11901"/>
                        <a:pt x="568264" y="11901"/>
                      </a:cubicBezTo>
                      <a:cubicBezTo>
                        <a:pt x="568264" y="5950"/>
                        <a:pt x="571240" y="0"/>
                        <a:pt x="577190" y="0"/>
                      </a:cubicBezTo>
                      <a:cubicBezTo>
                        <a:pt x="583140" y="0"/>
                        <a:pt x="589091" y="2975"/>
                        <a:pt x="589091" y="8926"/>
                      </a:cubicBezTo>
                      <a:cubicBezTo>
                        <a:pt x="589091" y="11901"/>
                        <a:pt x="592066" y="68430"/>
                        <a:pt x="577190" y="113058"/>
                      </a:cubicBezTo>
                      <a:cubicBezTo>
                        <a:pt x="556364" y="169587"/>
                        <a:pt x="481983" y="193388"/>
                        <a:pt x="422479" y="193388"/>
                      </a:cubicBezTo>
                      <a:cubicBezTo>
                        <a:pt x="410578" y="196364"/>
                        <a:pt x="392727" y="196364"/>
                        <a:pt x="374876" y="196364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7" name="任意多边形: 形状 86">
                  <a:extLst>
                    <a:ext uri="{FF2B5EF4-FFF2-40B4-BE49-F238E27FC236}">
                      <a16:creationId xmlns:a16="http://schemas.microsoft.com/office/drawing/2014/main" id="{FAD42F20-209E-45D8-962F-1B2ED77C0706}"/>
                    </a:ext>
                  </a:extLst>
                </p:cNvPr>
                <p:cNvSpPr/>
                <p:nvPr/>
              </p:nvSpPr>
              <p:spPr>
                <a:xfrm>
                  <a:off x="4350759" y="6722359"/>
                  <a:ext cx="23801" cy="113057"/>
                </a:xfrm>
                <a:custGeom>
                  <a:avLst/>
                  <a:gdLst>
                    <a:gd name="connsiteX0" fmla="*/ 11901 w 23801"/>
                    <a:gd name="connsiteY0" fmla="*/ 113058 h 113057"/>
                    <a:gd name="connsiteX1" fmla="*/ 0 w 23801"/>
                    <a:gd name="connsiteY1" fmla="*/ 101157 h 113057"/>
                    <a:gd name="connsiteX2" fmla="*/ 0 w 23801"/>
                    <a:gd name="connsiteY2" fmla="*/ 11901 h 113057"/>
                    <a:gd name="connsiteX3" fmla="*/ 11901 w 23801"/>
                    <a:gd name="connsiteY3" fmla="*/ 0 h 113057"/>
                    <a:gd name="connsiteX4" fmla="*/ 23802 w 23801"/>
                    <a:gd name="connsiteY4" fmla="*/ 11901 h 113057"/>
                    <a:gd name="connsiteX5" fmla="*/ 23802 w 23801"/>
                    <a:gd name="connsiteY5" fmla="*/ 101157 h 113057"/>
                    <a:gd name="connsiteX6" fmla="*/ 11901 w 23801"/>
                    <a:gd name="connsiteY6" fmla="*/ 113058 h 113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801" h="113057">
                      <a:moveTo>
                        <a:pt x="11901" y="113058"/>
                      </a:moveTo>
                      <a:cubicBezTo>
                        <a:pt x="5950" y="113058"/>
                        <a:pt x="0" y="107107"/>
                        <a:pt x="0" y="101157"/>
                      </a:cubicBezTo>
                      <a:lnTo>
                        <a:pt x="0" y="11901"/>
                      </a:lnTo>
                      <a:cubicBezTo>
                        <a:pt x="0" y="5950"/>
                        <a:pt x="5950" y="0"/>
                        <a:pt x="11901" y="0"/>
                      </a:cubicBezTo>
                      <a:cubicBezTo>
                        <a:pt x="17851" y="0"/>
                        <a:pt x="23802" y="5950"/>
                        <a:pt x="23802" y="11901"/>
                      </a:cubicBezTo>
                      <a:lnTo>
                        <a:pt x="23802" y="101157"/>
                      </a:lnTo>
                      <a:cubicBezTo>
                        <a:pt x="23802" y="107107"/>
                        <a:pt x="17851" y="113058"/>
                        <a:pt x="11901" y="113058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8" name="任意多边形: 形状 87">
                  <a:extLst>
                    <a:ext uri="{FF2B5EF4-FFF2-40B4-BE49-F238E27FC236}">
                      <a16:creationId xmlns:a16="http://schemas.microsoft.com/office/drawing/2014/main" id="{9FDDEFB6-055E-467D-AB7B-C39C4917EF09}"/>
                    </a:ext>
                  </a:extLst>
                </p:cNvPr>
                <p:cNvSpPr/>
                <p:nvPr/>
              </p:nvSpPr>
              <p:spPr>
                <a:xfrm>
                  <a:off x="4567949" y="6722359"/>
                  <a:ext cx="23801" cy="127933"/>
                </a:xfrm>
                <a:custGeom>
                  <a:avLst/>
                  <a:gdLst>
                    <a:gd name="connsiteX0" fmla="*/ 11901 w 23801"/>
                    <a:gd name="connsiteY0" fmla="*/ 127934 h 127933"/>
                    <a:gd name="connsiteX1" fmla="*/ 0 w 23801"/>
                    <a:gd name="connsiteY1" fmla="*/ 116033 h 127933"/>
                    <a:gd name="connsiteX2" fmla="*/ 0 w 23801"/>
                    <a:gd name="connsiteY2" fmla="*/ 11901 h 127933"/>
                    <a:gd name="connsiteX3" fmla="*/ 11901 w 23801"/>
                    <a:gd name="connsiteY3" fmla="*/ 0 h 127933"/>
                    <a:gd name="connsiteX4" fmla="*/ 23802 w 23801"/>
                    <a:gd name="connsiteY4" fmla="*/ 11901 h 127933"/>
                    <a:gd name="connsiteX5" fmla="*/ 23802 w 23801"/>
                    <a:gd name="connsiteY5" fmla="*/ 116033 h 127933"/>
                    <a:gd name="connsiteX6" fmla="*/ 11901 w 23801"/>
                    <a:gd name="connsiteY6" fmla="*/ 127934 h 127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801" h="127933">
                      <a:moveTo>
                        <a:pt x="11901" y="127934"/>
                      </a:moveTo>
                      <a:cubicBezTo>
                        <a:pt x="5951" y="127934"/>
                        <a:pt x="0" y="121983"/>
                        <a:pt x="0" y="116033"/>
                      </a:cubicBezTo>
                      <a:lnTo>
                        <a:pt x="0" y="11901"/>
                      </a:lnTo>
                      <a:cubicBezTo>
                        <a:pt x="0" y="5950"/>
                        <a:pt x="5951" y="0"/>
                        <a:pt x="11901" y="0"/>
                      </a:cubicBezTo>
                      <a:cubicBezTo>
                        <a:pt x="17851" y="0"/>
                        <a:pt x="23802" y="5950"/>
                        <a:pt x="23802" y="11901"/>
                      </a:cubicBezTo>
                      <a:lnTo>
                        <a:pt x="23802" y="116033"/>
                      </a:lnTo>
                      <a:cubicBezTo>
                        <a:pt x="23802" y="121983"/>
                        <a:pt x="17851" y="127934"/>
                        <a:pt x="11901" y="127934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9" name="任意多边形: 形状 88">
                  <a:extLst>
                    <a:ext uri="{FF2B5EF4-FFF2-40B4-BE49-F238E27FC236}">
                      <a16:creationId xmlns:a16="http://schemas.microsoft.com/office/drawing/2014/main" id="{424EA154-9467-4F46-8603-E43C95F55667}"/>
                    </a:ext>
                  </a:extLst>
                </p:cNvPr>
                <p:cNvSpPr/>
                <p:nvPr/>
              </p:nvSpPr>
              <p:spPr>
                <a:xfrm>
                  <a:off x="4707784" y="6722359"/>
                  <a:ext cx="26776" cy="113057"/>
                </a:xfrm>
                <a:custGeom>
                  <a:avLst/>
                  <a:gdLst>
                    <a:gd name="connsiteX0" fmla="*/ 14876 w 26776"/>
                    <a:gd name="connsiteY0" fmla="*/ 113058 h 113057"/>
                    <a:gd name="connsiteX1" fmla="*/ 2975 w 26776"/>
                    <a:gd name="connsiteY1" fmla="*/ 101157 h 113057"/>
                    <a:gd name="connsiteX2" fmla="*/ 0 w 26776"/>
                    <a:gd name="connsiteY2" fmla="*/ 11901 h 113057"/>
                    <a:gd name="connsiteX3" fmla="*/ 11901 w 26776"/>
                    <a:gd name="connsiteY3" fmla="*/ 0 h 113057"/>
                    <a:gd name="connsiteX4" fmla="*/ 23802 w 26776"/>
                    <a:gd name="connsiteY4" fmla="*/ 11901 h 113057"/>
                    <a:gd name="connsiteX5" fmla="*/ 26777 w 26776"/>
                    <a:gd name="connsiteY5" fmla="*/ 101157 h 113057"/>
                    <a:gd name="connsiteX6" fmla="*/ 14876 w 26776"/>
                    <a:gd name="connsiteY6" fmla="*/ 113058 h 113057"/>
                    <a:gd name="connsiteX7" fmla="*/ 14876 w 26776"/>
                    <a:gd name="connsiteY7" fmla="*/ 113058 h 113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776" h="113057">
                      <a:moveTo>
                        <a:pt x="14876" y="113058"/>
                      </a:moveTo>
                      <a:cubicBezTo>
                        <a:pt x="8925" y="113058"/>
                        <a:pt x="2975" y="107107"/>
                        <a:pt x="2975" y="101157"/>
                      </a:cubicBezTo>
                      <a:lnTo>
                        <a:pt x="0" y="11901"/>
                      </a:lnTo>
                      <a:cubicBezTo>
                        <a:pt x="0" y="5950"/>
                        <a:pt x="5950" y="0"/>
                        <a:pt x="11901" y="0"/>
                      </a:cubicBezTo>
                      <a:cubicBezTo>
                        <a:pt x="17851" y="0"/>
                        <a:pt x="23802" y="5950"/>
                        <a:pt x="23802" y="11901"/>
                      </a:cubicBezTo>
                      <a:lnTo>
                        <a:pt x="26777" y="101157"/>
                      </a:lnTo>
                      <a:cubicBezTo>
                        <a:pt x="26777" y="107107"/>
                        <a:pt x="20826" y="113058"/>
                        <a:pt x="14876" y="113058"/>
                      </a:cubicBezTo>
                      <a:cubicBezTo>
                        <a:pt x="14876" y="113058"/>
                        <a:pt x="14876" y="113058"/>
                        <a:pt x="14876" y="113058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0" name="任意多边形: 形状 89">
                  <a:extLst>
                    <a:ext uri="{FF2B5EF4-FFF2-40B4-BE49-F238E27FC236}">
                      <a16:creationId xmlns:a16="http://schemas.microsoft.com/office/drawing/2014/main" id="{B3D007B0-6CF4-4E2A-81F9-3BF93AF7BDC6}"/>
                    </a:ext>
                  </a:extLst>
                </p:cNvPr>
                <p:cNvSpPr/>
                <p:nvPr/>
              </p:nvSpPr>
              <p:spPr>
                <a:xfrm>
                  <a:off x="4291255" y="6653930"/>
                  <a:ext cx="464132" cy="113411"/>
                </a:xfrm>
                <a:custGeom>
                  <a:avLst/>
                  <a:gdLst>
                    <a:gd name="connsiteX0" fmla="*/ 8925 w 464132"/>
                    <a:gd name="connsiteY0" fmla="*/ 98182 h 113411"/>
                    <a:gd name="connsiteX1" fmla="*/ 0 w 464132"/>
                    <a:gd name="connsiteY1" fmla="*/ 56529 h 113411"/>
                    <a:gd name="connsiteX2" fmla="*/ 56529 w 464132"/>
                    <a:gd name="connsiteY2" fmla="*/ 0 h 113411"/>
                    <a:gd name="connsiteX3" fmla="*/ 232066 w 464132"/>
                    <a:gd name="connsiteY3" fmla="*/ 0 h 113411"/>
                    <a:gd name="connsiteX4" fmla="*/ 383801 w 464132"/>
                    <a:gd name="connsiteY4" fmla="*/ 20826 h 113411"/>
                    <a:gd name="connsiteX5" fmla="*/ 464132 w 464132"/>
                    <a:gd name="connsiteY5" fmla="*/ 41653 h 113411"/>
                    <a:gd name="connsiteX6" fmla="*/ 455206 w 464132"/>
                    <a:gd name="connsiteY6" fmla="*/ 98182 h 113411"/>
                    <a:gd name="connsiteX7" fmla="*/ 8925 w 464132"/>
                    <a:gd name="connsiteY7" fmla="*/ 98182 h 1134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4132" h="113411">
                      <a:moveTo>
                        <a:pt x="8925" y="98182"/>
                      </a:moveTo>
                      <a:cubicBezTo>
                        <a:pt x="0" y="92232"/>
                        <a:pt x="0" y="56529"/>
                        <a:pt x="0" y="56529"/>
                      </a:cubicBezTo>
                      <a:lnTo>
                        <a:pt x="56529" y="0"/>
                      </a:lnTo>
                      <a:lnTo>
                        <a:pt x="232066" y="0"/>
                      </a:lnTo>
                      <a:lnTo>
                        <a:pt x="383801" y="20826"/>
                      </a:lnTo>
                      <a:lnTo>
                        <a:pt x="464132" y="41653"/>
                      </a:lnTo>
                      <a:cubicBezTo>
                        <a:pt x="464132" y="41653"/>
                        <a:pt x="461157" y="95207"/>
                        <a:pt x="455206" y="98182"/>
                      </a:cubicBezTo>
                      <a:cubicBezTo>
                        <a:pt x="449256" y="101157"/>
                        <a:pt x="196364" y="130909"/>
                        <a:pt x="8925" y="98182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1" name="任意多边形: 形状 90">
                  <a:extLst>
                    <a:ext uri="{FF2B5EF4-FFF2-40B4-BE49-F238E27FC236}">
                      <a16:creationId xmlns:a16="http://schemas.microsoft.com/office/drawing/2014/main" id="{FE6DBAFD-BEA2-44B5-B394-111FBF0A8906}"/>
                    </a:ext>
                  </a:extLst>
                </p:cNvPr>
                <p:cNvSpPr/>
                <p:nvPr/>
              </p:nvSpPr>
              <p:spPr>
                <a:xfrm>
                  <a:off x="4283259" y="6418888"/>
                  <a:ext cx="472128" cy="297520"/>
                </a:xfrm>
                <a:custGeom>
                  <a:avLst/>
                  <a:gdLst>
                    <a:gd name="connsiteX0" fmla="*/ 22872 w 472128"/>
                    <a:gd name="connsiteY0" fmla="*/ 17851 h 297520"/>
                    <a:gd name="connsiteX1" fmla="*/ 222211 w 472128"/>
                    <a:gd name="connsiteY1" fmla="*/ 0 h 297520"/>
                    <a:gd name="connsiteX2" fmla="*/ 281715 w 472128"/>
                    <a:gd name="connsiteY2" fmla="*/ 139835 h 297520"/>
                    <a:gd name="connsiteX3" fmla="*/ 472128 w 472128"/>
                    <a:gd name="connsiteY3" fmla="*/ 276694 h 297520"/>
                    <a:gd name="connsiteX4" fmla="*/ 207335 w 472128"/>
                    <a:gd name="connsiteY4" fmla="*/ 297521 h 297520"/>
                    <a:gd name="connsiteX5" fmla="*/ 5021 w 472128"/>
                    <a:gd name="connsiteY5" fmla="*/ 291570 h 297520"/>
                    <a:gd name="connsiteX6" fmla="*/ 2045 w 472128"/>
                    <a:gd name="connsiteY6" fmla="*/ 169587 h 297520"/>
                    <a:gd name="connsiteX7" fmla="*/ 22872 w 472128"/>
                    <a:gd name="connsiteY7" fmla="*/ 17851 h 297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72128" h="297520">
                      <a:moveTo>
                        <a:pt x="22872" y="17851"/>
                      </a:moveTo>
                      <a:cubicBezTo>
                        <a:pt x="22872" y="17851"/>
                        <a:pt x="177583" y="32727"/>
                        <a:pt x="222211" y="0"/>
                      </a:cubicBezTo>
                      <a:cubicBezTo>
                        <a:pt x="222211" y="0"/>
                        <a:pt x="207335" y="107107"/>
                        <a:pt x="281715" y="139835"/>
                      </a:cubicBezTo>
                      <a:cubicBezTo>
                        <a:pt x="356095" y="172562"/>
                        <a:pt x="469153" y="208264"/>
                        <a:pt x="472128" y="276694"/>
                      </a:cubicBezTo>
                      <a:cubicBezTo>
                        <a:pt x="472128" y="276694"/>
                        <a:pt x="344194" y="297521"/>
                        <a:pt x="207335" y="297521"/>
                      </a:cubicBezTo>
                      <a:cubicBezTo>
                        <a:pt x="127004" y="297521"/>
                        <a:pt x="28822" y="285620"/>
                        <a:pt x="5021" y="291570"/>
                      </a:cubicBezTo>
                      <a:cubicBezTo>
                        <a:pt x="5021" y="291570"/>
                        <a:pt x="-3905" y="208264"/>
                        <a:pt x="2045" y="169587"/>
                      </a:cubicBezTo>
                      <a:cubicBezTo>
                        <a:pt x="7996" y="121983"/>
                        <a:pt x="22872" y="17851"/>
                        <a:pt x="22872" y="17851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2" name="任意多边形: 形状 91">
                  <a:extLst>
                    <a:ext uri="{FF2B5EF4-FFF2-40B4-BE49-F238E27FC236}">
                      <a16:creationId xmlns:a16="http://schemas.microsoft.com/office/drawing/2014/main" id="{B0100417-2B18-48EA-BD03-A35A0C608E94}"/>
                    </a:ext>
                  </a:extLst>
                </p:cNvPr>
                <p:cNvSpPr/>
                <p:nvPr/>
              </p:nvSpPr>
              <p:spPr>
                <a:xfrm>
                  <a:off x="4445192" y="6477618"/>
                  <a:ext cx="81878" cy="42426"/>
                </a:xfrm>
                <a:custGeom>
                  <a:avLst/>
                  <a:gdLst>
                    <a:gd name="connsiteX0" fmla="*/ 15650 w 81878"/>
                    <a:gd name="connsiteY0" fmla="*/ 42427 h 42426"/>
                    <a:gd name="connsiteX1" fmla="*/ 774 w 81878"/>
                    <a:gd name="connsiteY1" fmla="*/ 30526 h 42426"/>
                    <a:gd name="connsiteX2" fmla="*/ 12675 w 81878"/>
                    <a:gd name="connsiteY2" fmla="*/ 12675 h 42426"/>
                    <a:gd name="connsiteX3" fmla="*/ 63253 w 81878"/>
                    <a:gd name="connsiteY3" fmla="*/ 774 h 42426"/>
                    <a:gd name="connsiteX4" fmla="*/ 81104 w 81878"/>
                    <a:gd name="connsiteY4" fmla="*/ 12675 h 42426"/>
                    <a:gd name="connsiteX5" fmla="*/ 69204 w 81878"/>
                    <a:gd name="connsiteY5" fmla="*/ 30526 h 42426"/>
                    <a:gd name="connsiteX6" fmla="*/ 18625 w 81878"/>
                    <a:gd name="connsiteY6" fmla="*/ 42427 h 42426"/>
                    <a:gd name="connsiteX7" fmla="*/ 15650 w 81878"/>
                    <a:gd name="connsiteY7" fmla="*/ 42427 h 424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878" h="42426">
                      <a:moveTo>
                        <a:pt x="15650" y="42427"/>
                      </a:moveTo>
                      <a:cubicBezTo>
                        <a:pt x="9700" y="42427"/>
                        <a:pt x="3749" y="36476"/>
                        <a:pt x="774" y="30526"/>
                      </a:cubicBezTo>
                      <a:cubicBezTo>
                        <a:pt x="-2201" y="21600"/>
                        <a:pt x="3749" y="15650"/>
                        <a:pt x="12675" y="12675"/>
                      </a:cubicBezTo>
                      <a:lnTo>
                        <a:pt x="63253" y="774"/>
                      </a:lnTo>
                      <a:cubicBezTo>
                        <a:pt x="72179" y="-2201"/>
                        <a:pt x="78129" y="3749"/>
                        <a:pt x="81104" y="12675"/>
                      </a:cubicBezTo>
                      <a:cubicBezTo>
                        <a:pt x="84080" y="21600"/>
                        <a:pt x="78129" y="27551"/>
                        <a:pt x="69204" y="30526"/>
                      </a:cubicBezTo>
                      <a:lnTo>
                        <a:pt x="18625" y="42427"/>
                      </a:lnTo>
                      <a:cubicBezTo>
                        <a:pt x="18625" y="42427"/>
                        <a:pt x="18625" y="42427"/>
                        <a:pt x="15650" y="4242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3" name="任意多边形: 形状 92">
                  <a:extLst>
                    <a:ext uri="{FF2B5EF4-FFF2-40B4-BE49-F238E27FC236}">
                      <a16:creationId xmlns:a16="http://schemas.microsoft.com/office/drawing/2014/main" id="{46808C90-D47D-4013-BB75-2F66F9CF0104}"/>
                    </a:ext>
                  </a:extLst>
                </p:cNvPr>
                <p:cNvSpPr/>
                <p:nvPr/>
              </p:nvSpPr>
              <p:spPr>
                <a:xfrm>
                  <a:off x="4466018" y="6513321"/>
                  <a:ext cx="81878" cy="42426"/>
                </a:xfrm>
                <a:custGeom>
                  <a:avLst/>
                  <a:gdLst>
                    <a:gd name="connsiteX0" fmla="*/ 15650 w 81878"/>
                    <a:gd name="connsiteY0" fmla="*/ 42427 h 42426"/>
                    <a:gd name="connsiteX1" fmla="*/ 774 w 81878"/>
                    <a:gd name="connsiteY1" fmla="*/ 30526 h 42426"/>
                    <a:gd name="connsiteX2" fmla="*/ 12675 w 81878"/>
                    <a:gd name="connsiteY2" fmla="*/ 12675 h 42426"/>
                    <a:gd name="connsiteX3" fmla="*/ 63253 w 81878"/>
                    <a:gd name="connsiteY3" fmla="*/ 774 h 42426"/>
                    <a:gd name="connsiteX4" fmla="*/ 81105 w 81878"/>
                    <a:gd name="connsiteY4" fmla="*/ 12675 h 42426"/>
                    <a:gd name="connsiteX5" fmla="*/ 69204 w 81878"/>
                    <a:gd name="connsiteY5" fmla="*/ 30526 h 42426"/>
                    <a:gd name="connsiteX6" fmla="*/ 18625 w 81878"/>
                    <a:gd name="connsiteY6" fmla="*/ 42427 h 42426"/>
                    <a:gd name="connsiteX7" fmla="*/ 15650 w 81878"/>
                    <a:gd name="connsiteY7" fmla="*/ 42427 h 424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878" h="42426">
                      <a:moveTo>
                        <a:pt x="15650" y="42427"/>
                      </a:moveTo>
                      <a:cubicBezTo>
                        <a:pt x="9700" y="42427"/>
                        <a:pt x="3749" y="36476"/>
                        <a:pt x="774" y="30526"/>
                      </a:cubicBezTo>
                      <a:cubicBezTo>
                        <a:pt x="-2201" y="21600"/>
                        <a:pt x="3749" y="15650"/>
                        <a:pt x="12675" y="12675"/>
                      </a:cubicBezTo>
                      <a:lnTo>
                        <a:pt x="63253" y="774"/>
                      </a:lnTo>
                      <a:cubicBezTo>
                        <a:pt x="72179" y="-2201"/>
                        <a:pt x="78129" y="3749"/>
                        <a:pt x="81105" y="12675"/>
                      </a:cubicBezTo>
                      <a:cubicBezTo>
                        <a:pt x="84080" y="21600"/>
                        <a:pt x="78129" y="27551"/>
                        <a:pt x="69204" y="30526"/>
                      </a:cubicBezTo>
                      <a:lnTo>
                        <a:pt x="18625" y="42427"/>
                      </a:lnTo>
                      <a:cubicBezTo>
                        <a:pt x="18625" y="42427"/>
                        <a:pt x="15650" y="42427"/>
                        <a:pt x="15650" y="4242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4" name="任意多边形: 形状 93">
                  <a:extLst>
                    <a:ext uri="{FF2B5EF4-FFF2-40B4-BE49-F238E27FC236}">
                      <a16:creationId xmlns:a16="http://schemas.microsoft.com/office/drawing/2014/main" id="{3BB091E5-E20C-452C-B891-16CA8EBEB4A4}"/>
                    </a:ext>
                  </a:extLst>
                </p:cNvPr>
                <p:cNvSpPr/>
                <p:nvPr/>
              </p:nvSpPr>
              <p:spPr>
                <a:xfrm>
                  <a:off x="4498745" y="6546048"/>
                  <a:ext cx="81878" cy="42426"/>
                </a:xfrm>
                <a:custGeom>
                  <a:avLst/>
                  <a:gdLst>
                    <a:gd name="connsiteX0" fmla="*/ 15650 w 81878"/>
                    <a:gd name="connsiteY0" fmla="*/ 42427 h 42426"/>
                    <a:gd name="connsiteX1" fmla="*/ 774 w 81878"/>
                    <a:gd name="connsiteY1" fmla="*/ 30526 h 42426"/>
                    <a:gd name="connsiteX2" fmla="*/ 12675 w 81878"/>
                    <a:gd name="connsiteY2" fmla="*/ 12675 h 42426"/>
                    <a:gd name="connsiteX3" fmla="*/ 63253 w 81878"/>
                    <a:gd name="connsiteY3" fmla="*/ 774 h 42426"/>
                    <a:gd name="connsiteX4" fmla="*/ 81105 w 81878"/>
                    <a:gd name="connsiteY4" fmla="*/ 12675 h 42426"/>
                    <a:gd name="connsiteX5" fmla="*/ 69204 w 81878"/>
                    <a:gd name="connsiteY5" fmla="*/ 30526 h 42426"/>
                    <a:gd name="connsiteX6" fmla="*/ 18625 w 81878"/>
                    <a:gd name="connsiteY6" fmla="*/ 42427 h 42426"/>
                    <a:gd name="connsiteX7" fmla="*/ 15650 w 81878"/>
                    <a:gd name="connsiteY7" fmla="*/ 42427 h 424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878" h="42426">
                      <a:moveTo>
                        <a:pt x="15650" y="42427"/>
                      </a:moveTo>
                      <a:cubicBezTo>
                        <a:pt x="9699" y="42427"/>
                        <a:pt x="3749" y="36477"/>
                        <a:pt x="774" y="30526"/>
                      </a:cubicBezTo>
                      <a:cubicBezTo>
                        <a:pt x="-2201" y="21601"/>
                        <a:pt x="3749" y="15650"/>
                        <a:pt x="12675" y="12675"/>
                      </a:cubicBezTo>
                      <a:lnTo>
                        <a:pt x="63253" y="774"/>
                      </a:lnTo>
                      <a:cubicBezTo>
                        <a:pt x="72179" y="-2201"/>
                        <a:pt x="78129" y="3749"/>
                        <a:pt x="81105" y="12675"/>
                      </a:cubicBezTo>
                      <a:cubicBezTo>
                        <a:pt x="84080" y="21601"/>
                        <a:pt x="78129" y="27551"/>
                        <a:pt x="69204" y="30526"/>
                      </a:cubicBezTo>
                      <a:lnTo>
                        <a:pt x="18625" y="42427"/>
                      </a:lnTo>
                      <a:cubicBezTo>
                        <a:pt x="15650" y="42427"/>
                        <a:pt x="15650" y="42427"/>
                        <a:pt x="15650" y="42427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8068C0F9-DB59-46F8-91FA-F766DB0F9569}"/>
                  </a:ext>
                </a:extLst>
              </p:cNvPr>
              <p:cNvSpPr/>
              <p:nvPr/>
            </p:nvSpPr>
            <p:spPr>
              <a:xfrm>
                <a:off x="4291255" y="6405872"/>
                <a:ext cx="227231" cy="45743"/>
              </a:xfrm>
              <a:custGeom>
                <a:avLst/>
                <a:gdLst>
                  <a:gd name="connsiteX0" fmla="*/ 62479 w 227231"/>
                  <a:gd name="connsiteY0" fmla="*/ 45744 h 45743"/>
                  <a:gd name="connsiteX1" fmla="*/ 14876 w 227231"/>
                  <a:gd name="connsiteY1" fmla="*/ 45744 h 45743"/>
                  <a:gd name="connsiteX2" fmla="*/ 0 w 227231"/>
                  <a:gd name="connsiteY2" fmla="*/ 30868 h 45743"/>
                  <a:gd name="connsiteX3" fmla="*/ 14876 w 227231"/>
                  <a:gd name="connsiteY3" fmla="*/ 15992 h 45743"/>
                  <a:gd name="connsiteX4" fmla="*/ 208264 w 227231"/>
                  <a:gd name="connsiteY4" fmla="*/ 1116 h 45743"/>
                  <a:gd name="connsiteX5" fmla="*/ 226116 w 227231"/>
                  <a:gd name="connsiteY5" fmla="*/ 10041 h 45743"/>
                  <a:gd name="connsiteX6" fmla="*/ 217190 w 227231"/>
                  <a:gd name="connsiteY6" fmla="*/ 27893 h 45743"/>
                  <a:gd name="connsiteX7" fmla="*/ 62479 w 227231"/>
                  <a:gd name="connsiteY7" fmla="*/ 45744 h 45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7231" h="45743">
                    <a:moveTo>
                      <a:pt x="62479" y="45744"/>
                    </a:moveTo>
                    <a:cubicBezTo>
                      <a:pt x="35702" y="45744"/>
                      <a:pt x="14876" y="45744"/>
                      <a:pt x="14876" y="45744"/>
                    </a:cubicBezTo>
                    <a:cubicBezTo>
                      <a:pt x="5950" y="45744"/>
                      <a:pt x="0" y="36818"/>
                      <a:pt x="0" y="30868"/>
                    </a:cubicBezTo>
                    <a:cubicBezTo>
                      <a:pt x="0" y="21942"/>
                      <a:pt x="8925" y="15992"/>
                      <a:pt x="14876" y="15992"/>
                    </a:cubicBezTo>
                    <a:cubicBezTo>
                      <a:pt x="14876" y="15992"/>
                      <a:pt x="148760" y="21942"/>
                      <a:pt x="208264" y="1116"/>
                    </a:cubicBezTo>
                    <a:cubicBezTo>
                      <a:pt x="217190" y="-1859"/>
                      <a:pt x="223141" y="1116"/>
                      <a:pt x="226116" y="10041"/>
                    </a:cubicBezTo>
                    <a:cubicBezTo>
                      <a:pt x="229091" y="18967"/>
                      <a:pt x="226116" y="24917"/>
                      <a:pt x="217190" y="27893"/>
                    </a:cubicBezTo>
                    <a:cubicBezTo>
                      <a:pt x="178512" y="42769"/>
                      <a:pt x="107107" y="45744"/>
                      <a:pt x="62479" y="45744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6" name="图形 1">
              <a:extLst>
                <a:ext uri="{FF2B5EF4-FFF2-40B4-BE49-F238E27FC236}">
                  <a16:creationId xmlns:a16="http://schemas.microsoft.com/office/drawing/2014/main" id="{C4220F68-B32F-423B-8B09-E3E75FE87C34}"/>
                </a:ext>
              </a:extLst>
            </p:cNvPr>
            <p:cNvGrpSpPr/>
            <p:nvPr/>
          </p:nvGrpSpPr>
          <p:grpSpPr>
            <a:xfrm>
              <a:off x="2882028" y="6005066"/>
              <a:ext cx="512946" cy="622086"/>
              <a:chOff x="2882028" y="6005066"/>
              <a:chExt cx="512946" cy="622086"/>
            </a:xfrm>
          </p:grpSpPr>
          <p:grpSp>
            <p:nvGrpSpPr>
              <p:cNvPr id="97" name="图形 1">
                <a:extLst>
                  <a:ext uri="{FF2B5EF4-FFF2-40B4-BE49-F238E27FC236}">
                    <a16:creationId xmlns:a16="http://schemas.microsoft.com/office/drawing/2014/main" id="{C4220F68-B32F-423B-8B09-E3E75FE87C34}"/>
                  </a:ext>
                </a:extLst>
              </p:cNvPr>
              <p:cNvGrpSpPr/>
              <p:nvPr/>
            </p:nvGrpSpPr>
            <p:grpSpPr>
              <a:xfrm>
                <a:off x="2882028" y="6020210"/>
                <a:ext cx="512946" cy="606942"/>
                <a:chOff x="2882028" y="6020210"/>
                <a:chExt cx="512946" cy="606942"/>
              </a:xfrm>
            </p:grpSpPr>
            <p:sp>
              <p:nvSpPr>
                <p:cNvPr id="98" name="任意多边形: 形状 97">
                  <a:extLst>
                    <a:ext uri="{FF2B5EF4-FFF2-40B4-BE49-F238E27FC236}">
                      <a16:creationId xmlns:a16="http://schemas.microsoft.com/office/drawing/2014/main" id="{7A48D077-D3CA-4EC8-A2AD-416173467EDA}"/>
                    </a:ext>
                  </a:extLst>
                </p:cNvPr>
                <p:cNvSpPr/>
                <p:nvPr/>
              </p:nvSpPr>
              <p:spPr>
                <a:xfrm>
                  <a:off x="2882028" y="6217595"/>
                  <a:ext cx="512946" cy="409557"/>
                </a:xfrm>
                <a:custGeom>
                  <a:avLst/>
                  <a:gdLst>
                    <a:gd name="connsiteX0" fmla="*/ 391706 w 512946"/>
                    <a:gd name="connsiteY0" fmla="*/ 409558 h 409557"/>
                    <a:gd name="connsiteX1" fmla="*/ 260797 w 512946"/>
                    <a:gd name="connsiteY1" fmla="*/ 338153 h 409557"/>
                    <a:gd name="connsiteX2" fmla="*/ 1954 w 512946"/>
                    <a:gd name="connsiteY2" fmla="*/ 16830 h 409557"/>
                    <a:gd name="connsiteX3" fmla="*/ 4930 w 512946"/>
                    <a:gd name="connsiteY3" fmla="*/ 1954 h 409557"/>
                    <a:gd name="connsiteX4" fmla="*/ 19806 w 512946"/>
                    <a:gd name="connsiteY4" fmla="*/ 4929 h 409557"/>
                    <a:gd name="connsiteX5" fmla="*/ 278648 w 512946"/>
                    <a:gd name="connsiteY5" fmla="*/ 326252 h 409557"/>
                    <a:gd name="connsiteX6" fmla="*/ 415508 w 512946"/>
                    <a:gd name="connsiteY6" fmla="*/ 388731 h 409557"/>
                    <a:gd name="connsiteX7" fmla="*/ 495839 w 512946"/>
                    <a:gd name="connsiteY7" fmla="*/ 335178 h 409557"/>
                    <a:gd name="connsiteX8" fmla="*/ 510715 w 512946"/>
                    <a:gd name="connsiteY8" fmla="*/ 335178 h 409557"/>
                    <a:gd name="connsiteX9" fmla="*/ 510715 w 512946"/>
                    <a:gd name="connsiteY9" fmla="*/ 350054 h 409557"/>
                    <a:gd name="connsiteX10" fmla="*/ 421458 w 512946"/>
                    <a:gd name="connsiteY10" fmla="*/ 406582 h 409557"/>
                    <a:gd name="connsiteX11" fmla="*/ 391706 w 512946"/>
                    <a:gd name="connsiteY11" fmla="*/ 409558 h 409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12946" h="409557">
                      <a:moveTo>
                        <a:pt x="391706" y="409558"/>
                      </a:moveTo>
                      <a:cubicBezTo>
                        <a:pt x="344103" y="409558"/>
                        <a:pt x="293525" y="373855"/>
                        <a:pt x="260797" y="338153"/>
                      </a:cubicBezTo>
                      <a:cubicBezTo>
                        <a:pt x="192368" y="260797"/>
                        <a:pt x="4930" y="19805"/>
                        <a:pt x="1954" y="16830"/>
                      </a:cubicBezTo>
                      <a:cubicBezTo>
                        <a:pt x="-1021" y="10880"/>
                        <a:pt x="-1021" y="4929"/>
                        <a:pt x="4930" y="1954"/>
                      </a:cubicBezTo>
                      <a:cubicBezTo>
                        <a:pt x="10880" y="-1021"/>
                        <a:pt x="16830" y="-1021"/>
                        <a:pt x="19806" y="4929"/>
                      </a:cubicBezTo>
                      <a:cubicBezTo>
                        <a:pt x="22781" y="7905"/>
                        <a:pt x="210219" y="251872"/>
                        <a:pt x="278648" y="326252"/>
                      </a:cubicBezTo>
                      <a:cubicBezTo>
                        <a:pt x="311376" y="364930"/>
                        <a:pt x="367905" y="403607"/>
                        <a:pt x="415508" y="388731"/>
                      </a:cubicBezTo>
                      <a:cubicBezTo>
                        <a:pt x="457161" y="373855"/>
                        <a:pt x="495839" y="338153"/>
                        <a:pt x="495839" y="335178"/>
                      </a:cubicBezTo>
                      <a:cubicBezTo>
                        <a:pt x="501789" y="332202"/>
                        <a:pt x="507739" y="332202"/>
                        <a:pt x="510715" y="335178"/>
                      </a:cubicBezTo>
                      <a:cubicBezTo>
                        <a:pt x="513690" y="338153"/>
                        <a:pt x="513690" y="347078"/>
                        <a:pt x="510715" y="350054"/>
                      </a:cubicBezTo>
                      <a:cubicBezTo>
                        <a:pt x="507739" y="353029"/>
                        <a:pt x="466086" y="391706"/>
                        <a:pt x="421458" y="406582"/>
                      </a:cubicBezTo>
                      <a:cubicBezTo>
                        <a:pt x="412533" y="409558"/>
                        <a:pt x="400632" y="409558"/>
                        <a:pt x="391706" y="409558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9" name="任意多边形: 形状 98">
                  <a:extLst>
                    <a:ext uri="{FF2B5EF4-FFF2-40B4-BE49-F238E27FC236}">
                      <a16:creationId xmlns:a16="http://schemas.microsoft.com/office/drawing/2014/main" id="{3A8FD31B-2FFF-4C3C-93D3-3348C74B5466}"/>
                    </a:ext>
                  </a:extLst>
                </p:cNvPr>
                <p:cNvSpPr/>
                <p:nvPr/>
              </p:nvSpPr>
              <p:spPr>
                <a:xfrm>
                  <a:off x="2962081" y="6247070"/>
                  <a:ext cx="87768" cy="76611"/>
                </a:xfrm>
                <a:custGeom>
                  <a:avLst/>
                  <a:gdLst>
                    <a:gd name="connsiteX0" fmla="*/ 11157 w 87768"/>
                    <a:gd name="connsiteY0" fmla="*/ 76611 h 76611"/>
                    <a:gd name="connsiteX1" fmla="*/ 2231 w 87768"/>
                    <a:gd name="connsiteY1" fmla="*/ 73636 h 76611"/>
                    <a:gd name="connsiteX2" fmla="*/ 2231 w 87768"/>
                    <a:gd name="connsiteY2" fmla="*/ 58760 h 76611"/>
                    <a:gd name="connsiteX3" fmla="*/ 70661 w 87768"/>
                    <a:gd name="connsiteY3" fmla="*/ 2231 h 76611"/>
                    <a:gd name="connsiteX4" fmla="*/ 85537 w 87768"/>
                    <a:gd name="connsiteY4" fmla="*/ 2231 h 76611"/>
                    <a:gd name="connsiteX5" fmla="*/ 85537 w 87768"/>
                    <a:gd name="connsiteY5" fmla="*/ 17107 h 76611"/>
                    <a:gd name="connsiteX6" fmla="*/ 17107 w 87768"/>
                    <a:gd name="connsiteY6" fmla="*/ 73636 h 76611"/>
                    <a:gd name="connsiteX7" fmla="*/ 11157 w 87768"/>
                    <a:gd name="connsiteY7" fmla="*/ 76611 h 76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7768" h="76611">
                      <a:moveTo>
                        <a:pt x="11157" y="76611"/>
                      </a:moveTo>
                      <a:cubicBezTo>
                        <a:pt x="8182" y="76611"/>
                        <a:pt x="5207" y="76611"/>
                        <a:pt x="2231" y="73636"/>
                      </a:cubicBezTo>
                      <a:cubicBezTo>
                        <a:pt x="-744" y="67686"/>
                        <a:pt x="-744" y="61735"/>
                        <a:pt x="2231" y="58760"/>
                      </a:cubicBezTo>
                      <a:lnTo>
                        <a:pt x="70661" y="2231"/>
                      </a:lnTo>
                      <a:cubicBezTo>
                        <a:pt x="76612" y="-744"/>
                        <a:pt x="82562" y="-744"/>
                        <a:pt x="85537" y="2231"/>
                      </a:cubicBezTo>
                      <a:cubicBezTo>
                        <a:pt x="88512" y="8182"/>
                        <a:pt x="88512" y="14132"/>
                        <a:pt x="85537" y="17107"/>
                      </a:cubicBezTo>
                      <a:lnTo>
                        <a:pt x="17107" y="73636"/>
                      </a:lnTo>
                      <a:cubicBezTo>
                        <a:pt x="17107" y="76611"/>
                        <a:pt x="14132" y="76611"/>
                        <a:pt x="11157" y="76611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0" name="任意多边形: 形状 99">
                  <a:extLst>
                    <a:ext uri="{FF2B5EF4-FFF2-40B4-BE49-F238E27FC236}">
                      <a16:creationId xmlns:a16="http://schemas.microsoft.com/office/drawing/2014/main" id="{1A86A195-8E54-4D57-8163-984083BC424D}"/>
                    </a:ext>
                  </a:extLst>
                </p:cNvPr>
                <p:cNvSpPr/>
                <p:nvPr/>
              </p:nvSpPr>
              <p:spPr>
                <a:xfrm>
                  <a:off x="3090015" y="6413681"/>
                  <a:ext cx="99669" cy="85537"/>
                </a:xfrm>
                <a:custGeom>
                  <a:avLst/>
                  <a:gdLst>
                    <a:gd name="connsiteX0" fmla="*/ 11157 w 99669"/>
                    <a:gd name="connsiteY0" fmla="*/ 85537 h 85537"/>
                    <a:gd name="connsiteX1" fmla="*/ 2231 w 99669"/>
                    <a:gd name="connsiteY1" fmla="*/ 82562 h 85537"/>
                    <a:gd name="connsiteX2" fmla="*/ 2231 w 99669"/>
                    <a:gd name="connsiteY2" fmla="*/ 67686 h 85537"/>
                    <a:gd name="connsiteX3" fmla="*/ 82562 w 99669"/>
                    <a:gd name="connsiteY3" fmla="*/ 2232 h 85537"/>
                    <a:gd name="connsiteX4" fmla="*/ 97438 w 99669"/>
                    <a:gd name="connsiteY4" fmla="*/ 2232 h 85537"/>
                    <a:gd name="connsiteX5" fmla="*/ 97438 w 99669"/>
                    <a:gd name="connsiteY5" fmla="*/ 17108 h 85537"/>
                    <a:gd name="connsiteX6" fmla="*/ 17107 w 99669"/>
                    <a:gd name="connsiteY6" fmla="*/ 82562 h 85537"/>
                    <a:gd name="connsiteX7" fmla="*/ 11157 w 99669"/>
                    <a:gd name="connsiteY7" fmla="*/ 85537 h 855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9669" h="85537">
                      <a:moveTo>
                        <a:pt x="11157" y="85537"/>
                      </a:moveTo>
                      <a:cubicBezTo>
                        <a:pt x="8182" y="85537"/>
                        <a:pt x="5207" y="85537"/>
                        <a:pt x="2231" y="82562"/>
                      </a:cubicBezTo>
                      <a:cubicBezTo>
                        <a:pt x="-744" y="76612"/>
                        <a:pt x="-744" y="70661"/>
                        <a:pt x="2231" y="67686"/>
                      </a:cubicBezTo>
                      <a:lnTo>
                        <a:pt x="82562" y="2232"/>
                      </a:lnTo>
                      <a:cubicBezTo>
                        <a:pt x="88512" y="-744"/>
                        <a:pt x="94463" y="-744"/>
                        <a:pt x="97438" y="2232"/>
                      </a:cubicBezTo>
                      <a:cubicBezTo>
                        <a:pt x="100413" y="8182"/>
                        <a:pt x="100413" y="14132"/>
                        <a:pt x="97438" y="17108"/>
                      </a:cubicBezTo>
                      <a:lnTo>
                        <a:pt x="17107" y="82562"/>
                      </a:lnTo>
                      <a:cubicBezTo>
                        <a:pt x="14132" y="85537"/>
                        <a:pt x="11157" y="85537"/>
                        <a:pt x="11157" y="85537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1" name="任意多边形: 形状 100">
                  <a:extLst>
                    <a:ext uri="{FF2B5EF4-FFF2-40B4-BE49-F238E27FC236}">
                      <a16:creationId xmlns:a16="http://schemas.microsoft.com/office/drawing/2014/main" id="{3730B060-0FA6-4B3D-91B0-003B6E92ADFD}"/>
                    </a:ext>
                  </a:extLst>
                </p:cNvPr>
                <p:cNvSpPr/>
                <p:nvPr/>
              </p:nvSpPr>
              <p:spPr>
                <a:xfrm>
                  <a:off x="3191172" y="6520789"/>
                  <a:ext cx="84793" cy="79586"/>
                </a:xfrm>
                <a:custGeom>
                  <a:avLst/>
                  <a:gdLst>
                    <a:gd name="connsiteX0" fmla="*/ 11157 w 84793"/>
                    <a:gd name="connsiteY0" fmla="*/ 79587 h 79586"/>
                    <a:gd name="connsiteX1" fmla="*/ 2231 w 84793"/>
                    <a:gd name="connsiteY1" fmla="*/ 76612 h 79586"/>
                    <a:gd name="connsiteX2" fmla="*/ 2231 w 84793"/>
                    <a:gd name="connsiteY2" fmla="*/ 61736 h 79586"/>
                    <a:gd name="connsiteX3" fmla="*/ 67686 w 84793"/>
                    <a:gd name="connsiteY3" fmla="*/ 2232 h 79586"/>
                    <a:gd name="connsiteX4" fmla="*/ 82562 w 84793"/>
                    <a:gd name="connsiteY4" fmla="*/ 2232 h 79586"/>
                    <a:gd name="connsiteX5" fmla="*/ 82562 w 84793"/>
                    <a:gd name="connsiteY5" fmla="*/ 17108 h 79586"/>
                    <a:gd name="connsiteX6" fmla="*/ 17107 w 84793"/>
                    <a:gd name="connsiteY6" fmla="*/ 76612 h 79586"/>
                    <a:gd name="connsiteX7" fmla="*/ 11157 w 84793"/>
                    <a:gd name="connsiteY7" fmla="*/ 79587 h 795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4793" h="79586">
                      <a:moveTo>
                        <a:pt x="11157" y="79587"/>
                      </a:moveTo>
                      <a:cubicBezTo>
                        <a:pt x="8182" y="79587"/>
                        <a:pt x="5207" y="79587"/>
                        <a:pt x="2231" y="76612"/>
                      </a:cubicBezTo>
                      <a:cubicBezTo>
                        <a:pt x="-744" y="70661"/>
                        <a:pt x="-744" y="64711"/>
                        <a:pt x="2231" y="61736"/>
                      </a:cubicBezTo>
                      <a:lnTo>
                        <a:pt x="67686" y="2232"/>
                      </a:lnTo>
                      <a:cubicBezTo>
                        <a:pt x="73636" y="-744"/>
                        <a:pt x="79587" y="-744"/>
                        <a:pt x="82562" y="2232"/>
                      </a:cubicBezTo>
                      <a:cubicBezTo>
                        <a:pt x="85537" y="8182"/>
                        <a:pt x="85537" y="14132"/>
                        <a:pt x="82562" y="17108"/>
                      </a:cubicBezTo>
                      <a:lnTo>
                        <a:pt x="17107" y="76612"/>
                      </a:lnTo>
                      <a:cubicBezTo>
                        <a:pt x="17107" y="79587"/>
                        <a:pt x="14132" y="79587"/>
                        <a:pt x="11157" y="79587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2" name="任意多边形: 形状 101">
                  <a:extLst>
                    <a:ext uri="{FF2B5EF4-FFF2-40B4-BE49-F238E27FC236}">
                      <a16:creationId xmlns:a16="http://schemas.microsoft.com/office/drawing/2014/main" id="{125B843B-2C8A-428B-9CED-44137AC239E0}"/>
                    </a:ext>
                  </a:extLst>
                </p:cNvPr>
                <p:cNvSpPr/>
                <p:nvPr/>
              </p:nvSpPr>
              <p:spPr>
                <a:xfrm>
                  <a:off x="2988114" y="6186822"/>
                  <a:ext cx="336198" cy="378042"/>
                </a:xfrm>
                <a:custGeom>
                  <a:avLst/>
                  <a:gdLst>
                    <a:gd name="connsiteX0" fmla="*/ 0 w 336198"/>
                    <a:gd name="connsiteY0" fmla="*/ 32727 h 378042"/>
                    <a:gd name="connsiteX1" fmla="*/ 26777 w 336198"/>
                    <a:gd name="connsiteY1" fmla="*/ 0 h 378042"/>
                    <a:gd name="connsiteX2" fmla="*/ 107107 w 336198"/>
                    <a:gd name="connsiteY2" fmla="*/ 8926 h 378042"/>
                    <a:gd name="connsiteX3" fmla="*/ 220165 w 336198"/>
                    <a:gd name="connsiteY3" fmla="*/ 145785 h 378042"/>
                    <a:gd name="connsiteX4" fmla="*/ 300496 w 336198"/>
                    <a:gd name="connsiteY4" fmla="*/ 273719 h 378042"/>
                    <a:gd name="connsiteX5" fmla="*/ 336198 w 336198"/>
                    <a:gd name="connsiteY5" fmla="*/ 348099 h 378042"/>
                    <a:gd name="connsiteX6" fmla="*/ 285620 w 336198"/>
                    <a:gd name="connsiteY6" fmla="*/ 377851 h 378042"/>
                    <a:gd name="connsiteX7" fmla="*/ 0 w 336198"/>
                    <a:gd name="connsiteY7" fmla="*/ 32727 h 3780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6198" h="378042">
                      <a:moveTo>
                        <a:pt x="0" y="32727"/>
                      </a:moveTo>
                      <a:cubicBezTo>
                        <a:pt x="0" y="20826"/>
                        <a:pt x="26777" y="0"/>
                        <a:pt x="26777" y="0"/>
                      </a:cubicBezTo>
                      <a:lnTo>
                        <a:pt x="107107" y="8926"/>
                      </a:lnTo>
                      <a:lnTo>
                        <a:pt x="220165" y="145785"/>
                      </a:lnTo>
                      <a:lnTo>
                        <a:pt x="300496" y="273719"/>
                      </a:lnTo>
                      <a:lnTo>
                        <a:pt x="336198" y="348099"/>
                      </a:lnTo>
                      <a:cubicBezTo>
                        <a:pt x="336198" y="348099"/>
                        <a:pt x="291570" y="380827"/>
                        <a:pt x="285620" y="377851"/>
                      </a:cubicBezTo>
                      <a:cubicBezTo>
                        <a:pt x="279669" y="371901"/>
                        <a:pt x="95207" y="196363"/>
                        <a:pt x="0" y="32727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3" name="任意多边形: 形状 102">
                  <a:extLst>
                    <a:ext uri="{FF2B5EF4-FFF2-40B4-BE49-F238E27FC236}">
                      <a16:creationId xmlns:a16="http://schemas.microsoft.com/office/drawing/2014/main" id="{1C8A5574-0569-462D-9253-F4835EF15FCA}"/>
                    </a:ext>
                  </a:extLst>
                </p:cNvPr>
                <p:cNvSpPr/>
                <p:nvPr/>
              </p:nvSpPr>
              <p:spPr>
                <a:xfrm>
                  <a:off x="3014891" y="6020210"/>
                  <a:ext cx="360000" cy="514710"/>
                </a:xfrm>
                <a:custGeom>
                  <a:avLst/>
                  <a:gdLst>
                    <a:gd name="connsiteX0" fmla="*/ 220165 w 360000"/>
                    <a:gd name="connsiteY0" fmla="*/ 0 h 514710"/>
                    <a:gd name="connsiteX1" fmla="*/ 360000 w 360000"/>
                    <a:gd name="connsiteY1" fmla="*/ 142810 h 514710"/>
                    <a:gd name="connsiteX2" fmla="*/ 291570 w 360000"/>
                    <a:gd name="connsiteY2" fmla="*/ 279670 h 514710"/>
                    <a:gd name="connsiteX3" fmla="*/ 309421 w 360000"/>
                    <a:gd name="connsiteY3" fmla="*/ 514711 h 514710"/>
                    <a:gd name="connsiteX4" fmla="*/ 124959 w 360000"/>
                    <a:gd name="connsiteY4" fmla="*/ 324298 h 514710"/>
                    <a:gd name="connsiteX5" fmla="*/ 0 w 360000"/>
                    <a:gd name="connsiteY5" fmla="*/ 166612 h 514710"/>
                    <a:gd name="connsiteX6" fmla="*/ 92231 w 360000"/>
                    <a:gd name="connsiteY6" fmla="*/ 86281 h 514710"/>
                    <a:gd name="connsiteX7" fmla="*/ 220165 w 360000"/>
                    <a:gd name="connsiteY7" fmla="*/ 0 h 5147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60000" h="514710">
                      <a:moveTo>
                        <a:pt x="220165" y="0"/>
                      </a:moveTo>
                      <a:cubicBezTo>
                        <a:pt x="220165" y="0"/>
                        <a:pt x="309421" y="127934"/>
                        <a:pt x="360000" y="142810"/>
                      </a:cubicBezTo>
                      <a:cubicBezTo>
                        <a:pt x="360000" y="142810"/>
                        <a:pt x="267769" y="199339"/>
                        <a:pt x="291570" y="279670"/>
                      </a:cubicBezTo>
                      <a:cubicBezTo>
                        <a:pt x="315372" y="360000"/>
                        <a:pt x="357025" y="467107"/>
                        <a:pt x="309421" y="514711"/>
                      </a:cubicBezTo>
                      <a:cubicBezTo>
                        <a:pt x="309421" y="514711"/>
                        <a:pt x="211240" y="431405"/>
                        <a:pt x="124959" y="324298"/>
                      </a:cubicBezTo>
                      <a:cubicBezTo>
                        <a:pt x="74380" y="261818"/>
                        <a:pt x="17851" y="178512"/>
                        <a:pt x="0" y="166612"/>
                      </a:cubicBezTo>
                      <a:cubicBezTo>
                        <a:pt x="0" y="166612"/>
                        <a:pt x="59504" y="107108"/>
                        <a:pt x="92231" y="86281"/>
                      </a:cubicBezTo>
                      <a:cubicBezTo>
                        <a:pt x="130909" y="56529"/>
                        <a:pt x="220165" y="0"/>
                        <a:pt x="220165" y="0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4" name="任意多边形: 形状 103">
                  <a:extLst>
                    <a:ext uri="{FF2B5EF4-FFF2-40B4-BE49-F238E27FC236}">
                      <a16:creationId xmlns:a16="http://schemas.microsoft.com/office/drawing/2014/main" id="{5845CCDA-7FD6-42EF-BCF6-DF214BD563E9}"/>
                    </a:ext>
                  </a:extLst>
                </p:cNvPr>
                <p:cNvSpPr/>
                <p:nvPr/>
              </p:nvSpPr>
              <p:spPr>
                <a:xfrm>
                  <a:off x="3267515" y="6168703"/>
                  <a:ext cx="71941" cy="59772"/>
                </a:xfrm>
                <a:custGeom>
                  <a:avLst/>
                  <a:gdLst>
                    <a:gd name="connsiteX0" fmla="*/ 56797 w 71941"/>
                    <a:gd name="connsiteY0" fmla="*/ 59772 h 59772"/>
                    <a:gd name="connsiteX1" fmla="*/ 47872 w 71941"/>
                    <a:gd name="connsiteY1" fmla="*/ 56797 h 59772"/>
                    <a:gd name="connsiteX2" fmla="*/ 6219 w 71941"/>
                    <a:gd name="connsiteY2" fmla="*/ 27045 h 59772"/>
                    <a:gd name="connsiteX3" fmla="*/ 3243 w 71941"/>
                    <a:gd name="connsiteY3" fmla="*/ 6218 h 59772"/>
                    <a:gd name="connsiteX4" fmla="*/ 24070 w 71941"/>
                    <a:gd name="connsiteY4" fmla="*/ 3244 h 59772"/>
                    <a:gd name="connsiteX5" fmla="*/ 65723 w 71941"/>
                    <a:gd name="connsiteY5" fmla="*/ 32996 h 59772"/>
                    <a:gd name="connsiteX6" fmla="*/ 68698 w 71941"/>
                    <a:gd name="connsiteY6" fmla="*/ 53822 h 59772"/>
                    <a:gd name="connsiteX7" fmla="*/ 56797 w 71941"/>
                    <a:gd name="connsiteY7" fmla="*/ 59772 h 597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1941" h="59772">
                      <a:moveTo>
                        <a:pt x="56797" y="59772"/>
                      </a:moveTo>
                      <a:cubicBezTo>
                        <a:pt x="53822" y="59772"/>
                        <a:pt x="50847" y="59772"/>
                        <a:pt x="47872" y="56797"/>
                      </a:cubicBezTo>
                      <a:lnTo>
                        <a:pt x="6219" y="27045"/>
                      </a:lnTo>
                      <a:cubicBezTo>
                        <a:pt x="268" y="21094"/>
                        <a:pt x="-2707" y="12169"/>
                        <a:pt x="3243" y="6218"/>
                      </a:cubicBezTo>
                      <a:cubicBezTo>
                        <a:pt x="9194" y="268"/>
                        <a:pt x="18120" y="-2707"/>
                        <a:pt x="24070" y="3244"/>
                      </a:cubicBezTo>
                      <a:lnTo>
                        <a:pt x="65723" y="32996"/>
                      </a:lnTo>
                      <a:cubicBezTo>
                        <a:pt x="71673" y="38946"/>
                        <a:pt x="74648" y="47872"/>
                        <a:pt x="68698" y="53822"/>
                      </a:cubicBezTo>
                      <a:cubicBezTo>
                        <a:pt x="65723" y="56797"/>
                        <a:pt x="59772" y="59772"/>
                        <a:pt x="56797" y="59772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5" name="任意多边形: 形状 104">
                  <a:extLst>
                    <a:ext uri="{FF2B5EF4-FFF2-40B4-BE49-F238E27FC236}">
                      <a16:creationId xmlns:a16="http://schemas.microsoft.com/office/drawing/2014/main" id="{F2DA215E-F6D7-4B27-BFD6-F943332AA47F}"/>
                    </a:ext>
                  </a:extLst>
                </p:cNvPr>
                <p:cNvSpPr/>
                <p:nvPr/>
              </p:nvSpPr>
              <p:spPr>
                <a:xfrm>
                  <a:off x="3249664" y="6207380"/>
                  <a:ext cx="71941" cy="59772"/>
                </a:xfrm>
                <a:custGeom>
                  <a:avLst/>
                  <a:gdLst>
                    <a:gd name="connsiteX0" fmla="*/ 56797 w 71941"/>
                    <a:gd name="connsiteY0" fmla="*/ 59772 h 59772"/>
                    <a:gd name="connsiteX1" fmla="*/ 47872 w 71941"/>
                    <a:gd name="connsiteY1" fmla="*/ 56797 h 59772"/>
                    <a:gd name="connsiteX2" fmla="*/ 6219 w 71941"/>
                    <a:gd name="connsiteY2" fmla="*/ 27045 h 59772"/>
                    <a:gd name="connsiteX3" fmla="*/ 3244 w 71941"/>
                    <a:gd name="connsiteY3" fmla="*/ 6219 h 59772"/>
                    <a:gd name="connsiteX4" fmla="*/ 24070 w 71941"/>
                    <a:gd name="connsiteY4" fmla="*/ 3244 h 59772"/>
                    <a:gd name="connsiteX5" fmla="*/ 65723 w 71941"/>
                    <a:gd name="connsiteY5" fmla="*/ 32996 h 59772"/>
                    <a:gd name="connsiteX6" fmla="*/ 68698 w 71941"/>
                    <a:gd name="connsiteY6" fmla="*/ 53822 h 59772"/>
                    <a:gd name="connsiteX7" fmla="*/ 56797 w 71941"/>
                    <a:gd name="connsiteY7" fmla="*/ 59772 h 597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1941" h="59772">
                      <a:moveTo>
                        <a:pt x="56797" y="59772"/>
                      </a:moveTo>
                      <a:cubicBezTo>
                        <a:pt x="53822" y="59772"/>
                        <a:pt x="50847" y="59772"/>
                        <a:pt x="47872" y="56797"/>
                      </a:cubicBezTo>
                      <a:lnTo>
                        <a:pt x="6219" y="27045"/>
                      </a:lnTo>
                      <a:cubicBezTo>
                        <a:pt x="268" y="21095"/>
                        <a:pt x="-2707" y="12169"/>
                        <a:pt x="3244" y="6219"/>
                      </a:cubicBezTo>
                      <a:cubicBezTo>
                        <a:pt x="9194" y="268"/>
                        <a:pt x="18120" y="-2707"/>
                        <a:pt x="24070" y="3244"/>
                      </a:cubicBezTo>
                      <a:lnTo>
                        <a:pt x="65723" y="32996"/>
                      </a:lnTo>
                      <a:cubicBezTo>
                        <a:pt x="71673" y="38946"/>
                        <a:pt x="74648" y="47872"/>
                        <a:pt x="68698" y="53822"/>
                      </a:cubicBezTo>
                      <a:cubicBezTo>
                        <a:pt x="65723" y="56797"/>
                        <a:pt x="62748" y="59772"/>
                        <a:pt x="56797" y="59772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6" name="任意多边形: 形状 105">
                  <a:extLst>
                    <a:ext uri="{FF2B5EF4-FFF2-40B4-BE49-F238E27FC236}">
                      <a16:creationId xmlns:a16="http://schemas.microsoft.com/office/drawing/2014/main" id="{724521E1-AEED-46BA-81E8-5D301E3A4BF6}"/>
                    </a:ext>
                  </a:extLst>
                </p:cNvPr>
                <p:cNvSpPr/>
                <p:nvPr/>
              </p:nvSpPr>
              <p:spPr>
                <a:xfrm>
                  <a:off x="3246689" y="6252008"/>
                  <a:ext cx="71941" cy="59772"/>
                </a:xfrm>
                <a:custGeom>
                  <a:avLst/>
                  <a:gdLst>
                    <a:gd name="connsiteX0" fmla="*/ 56797 w 71941"/>
                    <a:gd name="connsiteY0" fmla="*/ 59772 h 59772"/>
                    <a:gd name="connsiteX1" fmla="*/ 47872 w 71941"/>
                    <a:gd name="connsiteY1" fmla="*/ 56797 h 59772"/>
                    <a:gd name="connsiteX2" fmla="*/ 6219 w 71941"/>
                    <a:gd name="connsiteY2" fmla="*/ 27045 h 59772"/>
                    <a:gd name="connsiteX3" fmla="*/ 3243 w 71941"/>
                    <a:gd name="connsiteY3" fmla="*/ 6219 h 59772"/>
                    <a:gd name="connsiteX4" fmla="*/ 24070 w 71941"/>
                    <a:gd name="connsiteY4" fmla="*/ 3244 h 59772"/>
                    <a:gd name="connsiteX5" fmla="*/ 65723 w 71941"/>
                    <a:gd name="connsiteY5" fmla="*/ 32996 h 59772"/>
                    <a:gd name="connsiteX6" fmla="*/ 68698 w 71941"/>
                    <a:gd name="connsiteY6" fmla="*/ 53822 h 59772"/>
                    <a:gd name="connsiteX7" fmla="*/ 56797 w 71941"/>
                    <a:gd name="connsiteY7" fmla="*/ 59772 h 597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1941" h="59772">
                      <a:moveTo>
                        <a:pt x="56797" y="59772"/>
                      </a:moveTo>
                      <a:cubicBezTo>
                        <a:pt x="53822" y="59772"/>
                        <a:pt x="50847" y="59772"/>
                        <a:pt x="47872" y="56797"/>
                      </a:cubicBezTo>
                      <a:lnTo>
                        <a:pt x="6219" y="27045"/>
                      </a:lnTo>
                      <a:cubicBezTo>
                        <a:pt x="268" y="21095"/>
                        <a:pt x="-2707" y="12169"/>
                        <a:pt x="3243" y="6219"/>
                      </a:cubicBezTo>
                      <a:cubicBezTo>
                        <a:pt x="9194" y="268"/>
                        <a:pt x="18120" y="-2707"/>
                        <a:pt x="24070" y="3244"/>
                      </a:cubicBezTo>
                      <a:lnTo>
                        <a:pt x="65723" y="32996"/>
                      </a:lnTo>
                      <a:cubicBezTo>
                        <a:pt x="71673" y="38946"/>
                        <a:pt x="74648" y="47872"/>
                        <a:pt x="68698" y="53822"/>
                      </a:cubicBezTo>
                      <a:cubicBezTo>
                        <a:pt x="65723" y="59772"/>
                        <a:pt x="59772" y="59772"/>
                        <a:pt x="56797" y="59772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4B9321FD-437F-4AAB-84CB-B92C7937200D}"/>
                  </a:ext>
                </a:extLst>
              </p:cNvPr>
              <p:cNvSpPr/>
              <p:nvPr/>
            </p:nvSpPr>
            <p:spPr>
              <a:xfrm>
                <a:off x="3219912" y="6005066"/>
                <a:ext cx="171022" cy="172830"/>
              </a:xfrm>
              <a:custGeom>
                <a:avLst/>
                <a:gdLst>
                  <a:gd name="connsiteX0" fmla="*/ 154979 w 171022"/>
                  <a:gd name="connsiteY0" fmla="*/ 172830 h 172830"/>
                  <a:gd name="connsiteX1" fmla="*/ 149029 w 171022"/>
                  <a:gd name="connsiteY1" fmla="*/ 169855 h 172830"/>
                  <a:gd name="connsiteX2" fmla="*/ 3244 w 171022"/>
                  <a:gd name="connsiteY2" fmla="*/ 24070 h 172830"/>
                  <a:gd name="connsiteX3" fmla="*/ 6219 w 171022"/>
                  <a:gd name="connsiteY3" fmla="*/ 3244 h 172830"/>
                  <a:gd name="connsiteX4" fmla="*/ 27045 w 171022"/>
                  <a:gd name="connsiteY4" fmla="*/ 6218 h 172830"/>
                  <a:gd name="connsiteX5" fmla="*/ 163905 w 171022"/>
                  <a:gd name="connsiteY5" fmla="*/ 146054 h 172830"/>
                  <a:gd name="connsiteX6" fmla="*/ 169855 w 171022"/>
                  <a:gd name="connsiteY6" fmla="*/ 166880 h 172830"/>
                  <a:gd name="connsiteX7" fmla="*/ 154979 w 171022"/>
                  <a:gd name="connsiteY7" fmla="*/ 172830 h 17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1022" h="172830">
                    <a:moveTo>
                      <a:pt x="154979" y="172830"/>
                    </a:moveTo>
                    <a:cubicBezTo>
                      <a:pt x="152004" y="172830"/>
                      <a:pt x="149029" y="172830"/>
                      <a:pt x="149029" y="169855"/>
                    </a:cubicBezTo>
                    <a:cubicBezTo>
                      <a:pt x="89524" y="137128"/>
                      <a:pt x="6219" y="27045"/>
                      <a:pt x="3244" y="24070"/>
                    </a:cubicBezTo>
                    <a:cubicBezTo>
                      <a:pt x="-2707" y="18120"/>
                      <a:pt x="268" y="9194"/>
                      <a:pt x="6219" y="3244"/>
                    </a:cubicBezTo>
                    <a:cubicBezTo>
                      <a:pt x="12169" y="-2707"/>
                      <a:pt x="21095" y="268"/>
                      <a:pt x="27045" y="6218"/>
                    </a:cubicBezTo>
                    <a:cubicBezTo>
                      <a:pt x="27045" y="6218"/>
                      <a:pt x="107376" y="113326"/>
                      <a:pt x="163905" y="146054"/>
                    </a:cubicBezTo>
                    <a:cubicBezTo>
                      <a:pt x="169855" y="149028"/>
                      <a:pt x="172830" y="157954"/>
                      <a:pt x="169855" y="166880"/>
                    </a:cubicBezTo>
                    <a:cubicBezTo>
                      <a:pt x="166880" y="169855"/>
                      <a:pt x="160929" y="172830"/>
                      <a:pt x="154979" y="172830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8" name="图形 1">
              <a:extLst>
                <a:ext uri="{FF2B5EF4-FFF2-40B4-BE49-F238E27FC236}">
                  <a16:creationId xmlns:a16="http://schemas.microsoft.com/office/drawing/2014/main" id="{C4220F68-B32F-423B-8B09-E3E75FE87C34}"/>
                </a:ext>
              </a:extLst>
            </p:cNvPr>
            <p:cNvGrpSpPr/>
            <p:nvPr/>
          </p:nvGrpSpPr>
          <p:grpSpPr>
            <a:xfrm>
              <a:off x="5402943" y="3396078"/>
              <a:ext cx="321340" cy="216553"/>
              <a:chOff x="5402943" y="3396078"/>
              <a:chExt cx="321340" cy="216553"/>
            </a:xfrm>
          </p:grpSpPr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2CEAF14D-09A8-459B-ADE1-3DC3E107E51A}"/>
                  </a:ext>
                </a:extLst>
              </p:cNvPr>
              <p:cNvSpPr/>
              <p:nvPr/>
            </p:nvSpPr>
            <p:spPr>
              <a:xfrm>
                <a:off x="5402943" y="3396078"/>
                <a:ext cx="320159" cy="216553"/>
              </a:xfrm>
              <a:custGeom>
                <a:avLst/>
                <a:gdLst>
                  <a:gd name="connsiteX0" fmla="*/ 218229 w 320159"/>
                  <a:gd name="connsiteY0" fmla="*/ 199339 h 216553"/>
                  <a:gd name="connsiteX1" fmla="*/ 149799 w 320159"/>
                  <a:gd name="connsiteY1" fmla="*/ 208264 h 216553"/>
                  <a:gd name="connsiteX2" fmla="*/ 39716 w 320159"/>
                  <a:gd name="connsiteY2" fmla="*/ 202314 h 216553"/>
                  <a:gd name="connsiteX3" fmla="*/ 4014 w 320159"/>
                  <a:gd name="connsiteY3" fmla="*/ 130909 h 216553"/>
                  <a:gd name="connsiteX4" fmla="*/ 6989 w 320159"/>
                  <a:gd name="connsiteY4" fmla="*/ 127934 h 216553"/>
                  <a:gd name="connsiteX5" fmla="*/ 6989 w 320159"/>
                  <a:gd name="connsiteY5" fmla="*/ 124959 h 216553"/>
                  <a:gd name="connsiteX6" fmla="*/ 143849 w 320159"/>
                  <a:gd name="connsiteY6" fmla="*/ 0 h 216553"/>
                  <a:gd name="connsiteX7" fmla="*/ 152774 w 320159"/>
                  <a:gd name="connsiteY7" fmla="*/ 14876 h 216553"/>
                  <a:gd name="connsiteX8" fmla="*/ 96245 w 320159"/>
                  <a:gd name="connsiteY8" fmla="*/ 80331 h 216553"/>
                  <a:gd name="connsiteX9" fmla="*/ 259882 w 320159"/>
                  <a:gd name="connsiteY9" fmla="*/ 35703 h 216553"/>
                  <a:gd name="connsiteX10" fmla="*/ 280708 w 320159"/>
                  <a:gd name="connsiteY10" fmla="*/ 53554 h 216553"/>
                  <a:gd name="connsiteX11" fmla="*/ 242030 w 320159"/>
                  <a:gd name="connsiteY11" fmla="*/ 68430 h 216553"/>
                  <a:gd name="connsiteX12" fmla="*/ 191452 w 320159"/>
                  <a:gd name="connsiteY12" fmla="*/ 86281 h 216553"/>
                  <a:gd name="connsiteX13" fmla="*/ 259882 w 320159"/>
                  <a:gd name="connsiteY13" fmla="*/ 83306 h 216553"/>
                  <a:gd name="connsiteX14" fmla="*/ 307485 w 320159"/>
                  <a:gd name="connsiteY14" fmla="*/ 83306 h 216553"/>
                  <a:gd name="connsiteX15" fmla="*/ 319386 w 320159"/>
                  <a:gd name="connsiteY15" fmla="*/ 104132 h 216553"/>
                  <a:gd name="connsiteX16" fmla="*/ 298559 w 320159"/>
                  <a:gd name="connsiteY16" fmla="*/ 124959 h 216553"/>
                  <a:gd name="connsiteX17" fmla="*/ 301535 w 320159"/>
                  <a:gd name="connsiteY17" fmla="*/ 124959 h 216553"/>
                  <a:gd name="connsiteX18" fmla="*/ 301535 w 320159"/>
                  <a:gd name="connsiteY18" fmla="*/ 130909 h 216553"/>
                  <a:gd name="connsiteX19" fmla="*/ 262857 w 320159"/>
                  <a:gd name="connsiteY19" fmla="*/ 151735 h 216553"/>
                  <a:gd name="connsiteX20" fmla="*/ 239055 w 320159"/>
                  <a:gd name="connsiteY20" fmla="*/ 154711 h 216553"/>
                  <a:gd name="connsiteX21" fmla="*/ 245006 w 320159"/>
                  <a:gd name="connsiteY21" fmla="*/ 157686 h 216553"/>
                  <a:gd name="connsiteX22" fmla="*/ 253931 w 320159"/>
                  <a:gd name="connsiteY22" fmla="*/ 172562 h 216553"/>
                  <a:gd name="connsiteX23" fmla="*/ 218229 w 320159"/>
                  <a:gd name="connsiteY23" fmla="*/ 199339 h 216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20159" h="216553">
                    <a:moveTo>
                      <a:pt x="218229" y="199339"/>
                    </a:moveTo>
                    <a:cubicBezTo>
                      <a:pt x="194427" y="202314"/>
                      <a:pt x="170625" y="205289"/>
                      <a:pt x="149799" y="208264"/>
                    </a:cubicBezTo>
                    <a:cubicBezTo>
                      <a:pt x="111121" y="214215"/>
                      <a:pt x="72444" y="226116"/>
                      <a:pt x="39716" y="202314"/>
                    </a:cubicBezTo>
                    <a:cubicBezTo>
                      <a:pt x="18890" y="187438"/>
                      <a:pt x="-10862" y="160661"/>
                      <a:pt x="4014" y="130909"/>
                    </a:cubicBezTo>
                    <a:cubicBezTo>
                      <a:pt x="4014" y="127934"/>
                      <a:pt x="6989" y="127934"/>
                      <a:pt x="6989" y="127934"/>
                    </a:cubicBezTo>
                    <a:cubicBezTo>
                      <a:pt x="6989" y="127934"/>
                      <a:pt x="6989" y="127934"/>
                      <a:pt x="6989" y="124959"/>
                    </a:cubicBezTo>
                    <a:cubicBezTo>
                      <a:pt x="27815" y="56529"/>
                      <a:pt x="90295" y="0"/>
                      <a:pt x="143849" y="0"/>
                    </a:cubicBezTo>
                    <a:cubicBezTo>
                      <a:pt x="146824" y="0"/>
                      <a:pt x="155749" y="11901"/>
                      <a:pt x="152774" y="14876"/>
                    </a:cubicBezTo>
                    <a:cubicBezTo>
                      <a:pt x="134923" y="38678"/>
                      <a:pt x="96245" y="50579"/>
                      <a:pt x="96245" y="80331"/>
                    </a:cubicBezTo>
                    <a:cubicBezTo>
                      <a:pt x="152774" y="71405"/>
                      <a:pt x="203353" y="35703"/>
                      <a:pt x="259882" y="35703"/>
                    </a:cubicBezTo>
                    <a:cubicBezTo>
                      <a:pt x="268807" y="35703"/>
                      <a:pt x="292609" y="38678"/>
                      <a:pt x="280708" y="53554"/>
                    </a:cubicBezTo>
                    <a:cubicBezTo>
                      <a:pt x="271783" y="62479"/>
                      <a:pt x="253931" y="65455"/>
                      <a:pt x="242030" y="68430"/>
                    </a:cubicBezTo>
                    <a:cubicBezTo>
                      <a:pt x="224179" y="74380"/>
                      <a:pt x="209303" y="80331"/>
                      <a:pt x="191452" y="86281"/>
                    </a:cubicBezTo>
                    <a:cubicBezTo>
                      <a:pt x="215254" y="86281"/>
                      <a:pt x="236080" y="83306"/>
                      <a:pt x="259882" y="83306"/>
                    </a:cubicBezTo>
                    <a:cubicBezTo>
                      <a:pt x="274758" y="83306"/>
                      <a:pt x="295584" y="77355"/>
                      <a:pt x="307485" y="83306"/>
                    </a:cubicBezTo>
                    <a:cubicBezTo>
                      <a:pt x="316411" y="86281"/>
                      <a:pt x="322361" y="95207"/>
                      <a:pt x="319386" y="104132"/>
                    </a:cubicBezTo>
                    <a:cubicBezTo>
                      <a:pt x="316411" y="113058"/>
                      <a:pt x="307485" y="121983"/>
                      <a:pt x="298559" y="124959"/>
                    </a:cubicBezTo>
                    <a:cubicBezTo>
                      <a:pt x="298559" y="124959"/>
                      <a:pt x="298559" y="124959"/>
                      <a:pt x="301535" y="124959"/>
                    </a:cubicBezTo>
                    <a:cubicBezTo>
                      <a:pt x="301535" y="124959"/>
                      <a:pt x="304510" y="127934"/>
                      <a:pt x="301535" y="130909"/>
                    </a:cubicBezTo>
                    <a:cubicBezTo>
                      <a:pt x="292609" y="145785"/>
                      <a:pt x="280708" y="148760"/>
                      <a:pt x="262857" y="151735"/>
                    </a:cubicBezTo>
                    <a:cubicBezTo>
                      <a:pt x="253931" y="151735"/>
                      <a:pt x="247981" y="154711"/>
                      <a:pt x="239055" y="154711"/>
                    </a:cubicBezTo>
                    <a:cubicBezTo>
                      <a:pt x="242030" y="154711"/>
                      <a:pt x="242030" y="154711"/>
                      <a:pt x="245006" y="157686"/>
                    </a:cubicBezTo>
                    <a:cubicBezTo>
                      <a:pt x="250956" y="160661"/>
                      <a:pt x="256906" y="166612"/>
                      <a:pt x="253931" y="172562"/>
                    </a:cubicBezTo>
                    <a:cubicBezTo>
                      <a:pt x="245006" y="199339"/>
                      <a:pt x="227154" y="199339"/>
                      <a:pt x="218229" y="199339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AE1FC084-AB07-4D35-953B-DF8639BFF9FA}"/>
                  </a:ext>
                </a:extLst>
              </p:cNvPr>
              <p:cNvSpPr/>
              <p:nvPr/>
            </p:nvSpPr>
            <p:spPr>
              <a:xfrm>
                <a:off x="5460511" y="3500211"/>
                <a:ext cx="41652" cy="56528"/>
              </a:xfrm>
              <a:custGeom>
                <a:avLst/>
                <a:gdLst>
                  <a:gd name="connsiteX0" fmla="*/ 5951 w 41652"/>
                  <a:gd name="connsiteY0" fmla="*/ 56529 h 56528"/>
                  <a:gd name="connsiteX1" fmla="*/ 0 w 41652"/>
                  <a:gd name="connsiteY1" fmla="*/ 53554 h 56528"/>
                  <a:gd name="connsiteX2" fmla="*/ 2975 w 41652"/>
                  <a:gd name="connsiteY2" fmla="*/ 44628 h 56528"/>
                  <a:gd name="connsiteX3" fmla="*/ 29752 w 41652"/>
                  <a:gd name="connsiteY3" fmla="*/ 5950 h 56528"/>
                  <a:gd name="connsiteX4" fmla="*/ 35703 w 41652"/>
                  <a:gd name="connsiteY4" fmla="*/ 0 h 56528"/>
                  <a:gd name="connsiteX5" fmla="*/ 35703 w 41652"/>
                  <a:gd name="connsiteY5" fmla="*/ 0 h 56528"/>
                  <a:gd name="connsiteX6" fmla="*/ 41653 w 41652"/>
                  <a:gd name="connsiteY6" fmla="*/ 5950 h 56528"/>
                  <a:gd name="connsiteX7" fmla="*/ 5951 w 41652"/>
                  <a:gd name="connsiteY7" fmla="*/ 56529 h 56528"/>
                  <a:gd name="connsiteX8" fmla="*/ 5951 w 41652"/>
                  <a:gd name="connsiteY8" fmla="*/ 56529 h 56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652" h="56528">
                    <a:moveTo>
                      <a:pt x="5951" y="56529"/>
                    </a:moveTo>
                    <a:cubicBezTo>
                      <a:pt x="2975" y="56529"/>
                      <a:pt x="0" y="56529"/>
                      <a:pt x="0" y="53554"/>
                    </a:cubicBezTo>
                    <a:cubicBezTo>
                      <a:pt x="0" y="50579"/>
                      <a:pt x="0" y="47603"/>
                      <a:pt x="2975" y="44628"/>
                    </a:cubicBezTo>
                    <a:cubicBezTo>
                      <a:pt x="26777" y="35703"/>
                      <a:pt x="29752" y="5950"/>
                      <a:pt x="29752" y="5950"/>
                    </a:cubicBezTo>
                    <a:cubicBezTo>
                      <a:pt x="29752" y="2975"/>
                      <a:pt x="32727" y="0"/>
                      <a:pt x="35703" y="0"/>
                    </a:cubicBezTo>
                    <a:cubicBezTo>
                      <a:pt x="35703" y="0"/>
                      <a:pt x="35703" y="0"/>
                      <a:pt x="35703" y="0"/>
                    </a:cubicBezTo>
                    <a:cubicBezTo>
                      <a:pt x="38678" y="0"/>
                      <a:pt x="41653" y="2975"/>
                      <a:pt x="41653" y="5950"/>
                    </a:cubicBezTo>
                    <a:cubicBezTo>
                      <a:pt x="41653" y="8926"/>
                      <a:pt x="38678" y="44628"/>
                      <a:pt x="5951" y="56529"/>
                    </a:cubicBezTo>
                    <a:cubicBezTo>
                      <a:pt x="5951" y="56529"/>
                      <a:pt x="5951" y="56529"/>
                      <a:pt x="5951" y="56529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D96B5F03-B05F-4F12-9E63-E81C8AF83E94}"/>
                  </a:ext>
                </a:extLst>
              </p:cNvPr>
              <p:cNvSpPr/>
              <p:nvPr/>
            </p:nvSpPr>
            <p:spPr>
              <a:xfrm>
                <a:off x="5585470" y="3452607"/>
                <a:ext cx="138813" cy="95206"/>
              </a:xfrm>
              <a:custGeom>
                <a:avLst/>
                <a:gdLst>
                  <a:gd name="connsiteX0" fmla="*/ 17851 w 138813"/>
                  <a:gd name="connsiteY0" fmla="*/ 95207 h 95206"/>
                  <a:gd name="connsiteX1" fmla="*/ 11901 w 138813"/>
                  <a:gd name="connsiteY1" fmla="*/ 89256 h 95206"/>
                  <a:gd name="connsiteX2" fmla="*/ 17851 w 138813"/>
                  <a:gd name="connsiteY2" fmla="*/ 83306 h 95206"/>
                  <a:gd name="connsiteX3" fmla="*/ 113058 w 138813"/>
                  <a:gd name="connsiteY3" fmla="*/ 68430 h 95206"/>
                  <a:gd name="connsiteX4" fmla="*/ 127934 w 138813"/>
                  <a:gd name="connsiteY4" fmla="*/ 56529 h 95206"/>
                  <a:gd name="connsiteX5" fmla="*/ 124959 w 138813"/>
                  <a:gd name="connsiteY5" fmla="*/ 44628 h 95206"/>
                  <a:gd name="connsiteX6" fmla="*/ 5950 w 138813"/>
                  <a:gd name="connsiteY6" fmla="*/ 47603 h 95206"/>
                  <a:gd name="connsiteX7" fmla="*/ 0 w 138813"/>
                  <a:gd name="connsiteY7" fmla="*/ 41653 h 95206"/>
                  <a:gd name="connsiteX8" fmla="*/ 2975 w 138813"/>
                  <a:gd name="connsiteY8" fmla="*/ 35702 h 95206"/>
                  <a:gd name="connsiteX9" fmla="*/ 92231 w 138813"/>
                  <a:gd name="connsiteY9" fmla="*/ 0 h 95206"/>
                  <a:gd name="connsiteX10" fmla="*/ 101157 w 138813"/>
                  <a:gd name="connsiteY10" fmla="*/ 2975 h 95206"/>
                  <a:gd name="connsiteX11" fmla="*/ 98182 w 138813"/>
                  <a:gd name="connsiteY11" fmla="*/ 11901 h 95206"/>
                  <a:gd name="connsiteX12" fmla="*/ 50578 w 138813"/>
                  <a:gd name="connsiteY12" fmla="*/ 32727 h 95206"/>
                  <a:gd name="connsiteX13" fmla="*/ 133884 w 138813"/>
                  <a:gd name="connsiteY13" fmla="*/ 38678 h 95206"/>
                  <a:gd name="connsiteX14" fmla="*/ 136859 w 138813"/>
                  <a:gd name="connsiteY14" fmla="*/ 62479 h 95206"/>
                  <a:gd name="connsiteX15" fmla="*/ 113058 w 138813"/>
                  <a:gd name="connsiteY15" fmla="*/ 83306 h 95206"/>
                  <a:gd name="connsiteX16" fmla="*/ 17851 w 138813"/>
                  <a:gd name="connsiteY16" fmla="*/ 95207 h 95206"/>
                  <a:gd name="connsiteX17" fmla="*/ 17851 w 138813"/>
                  <a:gd name="connsiteY17" fmla="*/ 95207 h 95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38813" h="95206">
                    <a:moveTo>
                      <a:pt x="17851" y="95207"/>
                    </a:moveTo>
                    <a:cubicBezTo>
                      <a:pt x="14876" y="95207"/>
                      <a:pt x="11901" y="92231"/>
                      <a:pt x="11901" y="89256"/>
                    </a:cubicBezTo>
                    <a:cubicBezTo>
                      <a:pt x="11901" y="86281"/>
                      <a:pt x="14876" y="83306"/>
                      <a:pt x="17851" y="83306"/>
                    </a:cubicBezTo>
                    <a:cubicBezTo>
                      <a:pt x="17851" y="83306"/>
                      <a:pt x="98182" y="74380"/>
                      <a:pt x="113058" y="68430"/>
                    </a:cubicBezTo>
                    <a:cubicBezTo>
                      <a:pt x="119008" y="65454"/>
                      <a:pt x="124959" y="62479"/>
                      <a:pt x="127934" y="56529"/>
                    </a:cubicBezTo>
                    <a:cubicBezTo>
                      <a:pt x="127934" y="53554"/>
                      <a:pt x="127934" y="47603"/>
                      <a:pt x="124959" y="44628"/>
                    </a:cubicBezTo>
                    <a:cubicBezTo>
                      <a:pt x="119008" y="38678"/>
                      <a:pt x="56529" y="41653"/>
                      <a:pt x="5950" y="47603"/>
                    </a:cubicBezTo>
                    <a:cubicBezTo>
                      <a:pt x="2975" y="47603"/>
                      <a:pt x="0" y="44628"/>
                      <a:pt x="0" y="41653"/>
                    </a:cubicBezTo>
                    <a:cubicBezTo>
                      <a:pt x="0" y="38678"/>
                      <a:pt x="0" y="35702"/>
                      <a:pt x="2975" y="35702"/>
                    </a:cubicBezTo>
                    <a:cubicBezTo>
                      <a:pt x="35702" y="26777"/>
                      <a:pt x="92231" y="0"/>
                      <a:pt x="92231" y="0"/>
                    </a:cubicBezTo>
                    <a:cubicBezTo>
                      <a:pt x="95207" y="0"/>
                      <a:pt x="98182" y="0"/>
                      <a:pt x="101157" y="2975"/>
                    </a:cubicBezTo>
                    <a:cubicBezTo>
                      <a:pt x="101157" y="5950"/>
                      <a:pt x="101157" y="8926"/>
                      <a:pt x="98182" y="11901"/>
                    </a:cubicBezTo>
                    <a:cubicBezTo>
                      <a:pt x="98182" y="11901"/>
                      <a:pt x="74380" y="23802"/>
                      <a:pt x="50578" y="32727"/>
                    </a:cubicBezTo>
                    <a:cubicBezTo>
                      <a:pt x="89256" y="29752"/>
                      <a:pt x="127934" y="29752"/>
                      <a:pt x="133884" y="38678"/>
                    </a:cubicBezTo>
                    <a:cubicBezTo>
                      <a:pt x="139835" y="44628"/>
                      <a:pt x="139835" y="53554"/>
                      <a:pt x="136859" y="62479"/>
                    </a:cubicBezTo>
                    <a:cubicBezTo>
                      <a:pt x="133884" y="71405"/>
                      <a:pt x="124959" y="80330"/>
                      <a:pt x="113058" y="83306"/>
                    </a:cubicBezTo>
                    <a:cubicBezTo>
                      <a:pt x="98182" y="86281"/>
                      <a:pt x="20826" y="95207"/>
                      <a:pt x="17851" y="95207"/>
                    </a:cubicBezTo>
                    <a:cubicBezTo>
                      <a:pt x="17851" y="95207"/>
                      <a:pt x="17851" y="95207"/>
                      <a:pt x="17851" y="9520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AA672F88-B63E-402D-9666-DF2424908D50}"/>
                  </a:ext>
                </a:extLst>
              </p:cNvPr>
              <p:cNvSpPr/>
              <p:nvPr/>
            </p:nvSpPr>
            <p:spPr>
              <a:xfrm>
                <a:off x="5573569" y="3519805"/>
                <a:ext cx="135053" cy="51810"/>
              </a:xfrm>
              <a:custGeom>
                <a:avLst/>
                <a:gdLst>
                  <a:gd name="connsiteX0" fmla="*/ 0 w 135053"/>
                  <a:gd name="connsiteY0" fmla="*/ 51811 h 51810"/>
                  <a:gd name="connsiteX1" fmla="*/ 0 w 135053"/>
                  <a:gd name="connsiteY1" fmla="*/ 39910 h 51810"/>
                  <a:gd name="connsiteX2" fmla="*/ 62479 w 135053"/>
                  <a:gd name="connsiteY2" fmla="*/ 36935 h 51810"/>
                  <a:gd name="connsiteX3" fmla="*/ 119008 w 135053"/>
                  <a:gd name="connsiteY3" fmla="*/ 25034 h 51810"/>
                  <a:gd name="connsiteX4" fmla="*/ 119008 w 135053"/>
                  <a:gd name="connsiteY4" fmla="*/ 10158 h 51810"/>
                  <a:gd name="connsiteX5" fmla="*/ 121983 w 135053"/>
                  <a:gd name="connsiteY5" fmla="*/ 1232 h 51810"/>
                  <a:gd name="connsiteX6" fmla="*/ 130909 w 135053"/>
                  <a:gd name="connsiteY6" fmla="*/ 4208 h 51810"/>
                  <a:gd name="connsiteX7" fmla="*/ 127934 w 135053"/>
                  <a:gd name="connsiteY7" fmla="*/ 33960 h 51810"/>
                  <a:gd name="connsiteX8" fmla="*/ 62479 w 135053"/>
                  <a:gd name="connsiteY8" fmla="*/ 48836 h 51810"/>
                  <a:gd name="connsiteX9" fmla="*/ 0 w 135053"/>
                  <a:gd name="connsiteY9" fmla="*/ 51811 h 51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5053" h="51810">
                    <a:moveTo>
                      <a:pt x="0" y="51811"/>
                    </a:moveTo>
                    <a:lnTo>
                      <a:pt x="0" y="39910"/>
                    </a:lnTo>
                    <a:cubicBezTo>
                      <a:pt x="0" y="39910"/>
                      <a:pt x="50578" y="36935"/>
                      <a:pt x="62479" y="36935"/>
                    </a:cubicBezTo>
                    <a:cubicBezTo>
                      <a:pt x="74380" y="36935"/>
                      <a:pt x="113058" y="30984"/>
                      <a:pt x="119008" y="25034"/>
                    </a:cubicBezTo>
                    <a:cubicBezTo>
                      <a:pt x="124959" y="22059"/>
                      <a:pt x="119008" y="10158"/>
                      <a:pt x="119008" y="10158"/>
                    </a:cubicBezTo>
                    <a:cubicBezTo>
                      <a:pt x="116033" y="7183"/>
                      <a:pt x="119008" y="4208"/>
                      <a:pt x="121983" y="1232"/>
                    </a:cubicBezTo>
                    <a:cubicBezTo>
                      <a:pt x="124959" y="-1743"/>
                      <a:pt x="127934" y="1232"/>
                      <a:pt x="130909" y="4208"/>
                    </a:cubicBezTo>
                    <a:cubicBezTo>
                      <a:pt x="133884" y="10158"/>
                      <a:pt x="139835" y="25034"/>
                      <a:pt x="127934" y="33960"/>
                    </a:cubicBezTo>
                    <a:cubicBezTo>
                      <a:pt x="116033" y="42885"/>
                      <a:pt x="71405" y="48836"/>
                      <a:pt x="62479" y="48836"/>
                    </a:cubicBezTo>
                    <a:cubicBezTo>
                      <a:pt x="50578" y="48836"/>
                      <a:pt x="0" y="51811"/>
                      <a:pt x="0" y="51811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254D270E-96F5-491B-B32A-293471DD3676}"/>
                </a:ext>
              </a:extLst>
            </p:cNvPr>
            <p:cNvSpPr/>
            <p:nvPr/>
          </p:nvSpPr>
          <p:spPr>
            <a:xfrm>
              <a:off x="4038362" y="2803918"/>
              <a:ext cx="303471" cy="318441"/>
            </a:xfrm>
            <a:custGeom>
              <a:avLst/>
              <a:gdLst>
                <a:gd name="connsiteX0" fmla="*/ 249917 w 303471"/>
                <a:gd name="connsiteY0" fmla="*/ 59598 h 318441"/>
                <a:gd name="connsiteX1" fmla="*/ 303471 w 303471"/>
                <a:gd name="connsiteY1" fmla="*/ 196458 h 318441"/>
                <a:gd name="connsiteX2" fmla="*/ 190413 w 303471"/>
                <a:gd name="connsiteY2" fmla="*/ 318441 h 318441"/>
                <a:gd name="connsiteX3" fmla="*/ 0 w 303471"/>
                <a:gd name="connsiteY3" fmla="*/ 181582 h 318441"/>
                <a:gd name="connsiteX4" fmla="*/ 50579 w 303471"/>
                <a:gd name="connsiteY4" fmla="*/ 94 h 318441"/>
                <a:gd name="connsiteX5" fmla="*/ 249917 w 303471"/>
                <a:gd name="connsiteY5" fmla="*/ 59598 h 31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3471" h="318441">
                  <a:moveTo>
                    <a:pt x="249917" y="59598"/>
                  </a:moveTo>
                  <a:cubicBezTo>
                    <a:pt x="249917" y="59598"/>
                    <a:pt x="243967" y="166706"/>
                    <a:pt x="303471" y="196458"/>
                  </a:cubicBezTo>
                  <a:lnTo>
                    <a:pt x="190413" y="318441"/>
                  </a:lnTo>
                  <a:cubicBezTo>
                    <a:pt x="190413" y="318441"/>
                    <a:pt x="53554" y="211334"/>
                    <a:pt x="0" y="181582"/>
                  </a:cubicBezTo>
                  <a:cubicBezTo>
                    <a:pt x="53554" y="139929"/>
                    <a:pt x="50579" y="59598"/>
                    <a:pt x="50579" y="94"/>
                  </a:cubicBezTo>
                  <a:cubicBezTo>
                    <a:pt x="53554" y="-2881"/>
                    <a:pt x="199339" y="65549"/>
                    <a:pt x="249917" y="59598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B661C50B-E257-4C93-BF1F-8B08C0C647EA}"/>
                </a:ext>
              </a:extLst>
            </p:cNvPr>
            <p:cNvSpPr/>
            <p:nvPr/>
          </p:nvSpPr>
          <p:spPr>
            <a:xfrm>
              <a:off x="4312385" y="3013654"/>
              <a:ext cx="1117630" cy="745103"/>
            </a:xfrm>
            <a:custGeom>
              <a:avLst/>
              <a:gdLst>
                <a:gd name="connsiteX0" fmla="*/ 392423 w 1117630"/>
                <a:gd name="connsiteY0" fmla="*/ 212837 h 745103"/>
                <a:gd name="connsiteX1" fmla="*/ 627465 w 1117630"/>
                <a:gd name="connsiteY1" fmla="*/ 471680 h 745103"/>
                <a:gd name="connsiteX2" fmla="*/ 1097548 w 1117630"/>
                <a:gd name="connsiteY2" fmla="*/ 462755 h 745103"/>
                <a:gd name="connsiteX3" fmla="*/ 1115399 w 1117630"/>
                <a:gd name="connsiteY3" fmla="*/ 608540 h 745103"/>
                <a:gd name="connsiteX4" fmla="*/ 570936 w 1117630"/>
                <a:gd name="connsiteY4" fmla="*/ 727548 h 745103"/>
                <a:gd name="connsiteX5" fmla="*/ 47299 w 1117630"/>
                <a:gd name="connsiteY5" fmla="*/ 305069 h 745103"/>
                <a:gd name="connsiteX6" fmla="*/ 35399 w 1117630"/>
                <a:gd name="connsiteY6" fmla="*/ 16474 h 745103"/>
                <a:gd name="connsiteX7" fmla="*/ 392423 w 1117630"/>
                <a:gd name="connsiteY7" fmla="*/ 212837 h 745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17630" h="745103">
                  <a:moveTo>
                    <a:pt x="392423" y="212837"/>
                  </a:moveTo>
                  <a:cubicBezTo>
                    <a:pt x="454903" y="275317"/>
                    <a:pt x="562010" y="406226"/>
                    <a:pt x="627465" y="471680"/>
                  </a:cubicBezTo>
                  <a:cubicBezTo>
                    <a:pt x="704820" y="492507"/>
                    <a:pt x="1052919" y="376474"/>
                    <a:pt x="1097548" y="462755"/>
                  </a:cubicBezTo>
                  <a:cubicBezTo>
                    <a:pt x="1115399" y="537135"/>
                    <a:pt x="1121349" y="549036"/>
                    <a:pt x="1115399" y="608540"/>
                  </a:cubicBezTo>
                  <a:cubicBezTo>
                    <a:pt x="1115399" y="703746"/>
                    <a:pt x="779200" y="781102"/>
                    <a:pt x="570936" y="727548"/>
                  </a:cubicBezTo>
                  <a:cubicBezTo>
                    <a:pt x="460853" y="697796"/>
                    <a:pt x="151432" y="403250"/>
                    <a:pt x="47299" y="305069"/>
                  </a:cubicBezTo>
                  <a:cubicBezTo>
                    <a:pt x="-15180" y="245565"/>
                    <a:pt x="-12205" y="61102"/>
                    <a:pt x="35399" y="16474"/>
                  </a:cubicBezTo>
                  <a:cubicBezTo>
                    <a:pt x="115729" y="-48981"/>
                    <a:pt x="273415" y="93829"/>
                    <a:pt x="392423" y="212837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4149DAEF-2615-4CD1-8DEF-D30162D0C2F3}"/>
                </a:ext>
              </a:extLst>
            </p:cNvPr>
            <p:cNvSpPr/>
            <p:nvPr/>
          </p:nvSpPr>
          <p:spPr>
            <a:xfrm>
              <a:off x="4519113" y="3085424"/>
              <a:ext cx="100963" cy="545695"/>
            </a:xfrm>
            <a:custGeom>
              <a:avLst/>
              <a:gdLst>
                <a:gd name="connsiteX0" fmla="*/ 45860 w 100963"/>
                <a:gd name="connsiteY0" fmla="*/ 545695 h 545695"/>
                <a:gd name="connsiteX1" fmla="*/ 45860 w 100963"/>
                <a:gd name="connsiteY1" fmla="*/ 545695 h 545695"/>
                <a:gd name="connsiteX2" fmla="*/ 39910 w 100963"/>
                <a:gd name="connsiteY2" fmla="*/ 539745 h 545695"/>
                <a:gd name="connsiteX3" fmla="*/ 54786 w 100963"/>
                <a:gd name="connsiteY3" fmla="*/ 486191 h 545695"/>
                <a:gd name="connsiteX4" fmla="*/ 87513 w 100963"/>
                <a:gd name="connsiteY4" fmla="*/ 340406 h 545695"/>
                <a:gd name="connsiteX5" fmla="*/ 1232 w 100963"/>
                <a:gd name="connsiteY5" fmla="*/ 10158 h 545695"/>
                <a:gd name="connsiteX6" fmla="*/ 4208 w 100963"/>
                <a:gd name="connsiteY6" fmla="*/ 1232 h 545695"/>
                <a:gd name="connsiteX7" fmla="*/ 13133 w 100963"/>
                <a:gd name="connsiteY7" fmla="*/ 4208 h 545695"/>
                <a:gd name="connsiteX8" fmla="*/ 99414 w 100963"/>
                <a:gd name="connsiteY8" fmla="*/ 340406 h 545695"/>
                <a:gd name="connsiteX9" fmla="*/ 66687 w 100963"/>
                <a:gd name="connsiteY9" fmla="*/ 486191 h 545695"/>
                <a:gd name="connsiteX10" fmla="*/ 51811 w 100963"/>
                <a:gd name="connsiteY10" fmla="*/ 539745 h 545695"/>
                <a:gd name="connsiteX11" fmla="*/ 45860 w 100963"/>
                <a:gd name="connsiteY11" fmla="*/ 545695 h 545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963" h="545695">
                  <a:moveTo>
                    <a:pt x="45860" y="545695"/>
                  </a:moveTo>
                  <a:cubicBezTo>
                    <a:pt x="45860" y="545695"/>
                    <a:pt x="45860" y="545695"/>
                    <a:pt x="45860" y="545695"/>
                  </a:cubicBezTo>
                  <a:cubicBezTo>
                    <a:pt x="42885" y="545695"/>
                    <a:pt x="39910" y="542720"/>
                    <a:pt x="39910" y="539745"/>
                  </a:cubicBezTo>
                  <a:cubicBezTo>
                    <a:pt x="45860" y="521894"/>
                    <a:pt x="48836" y="504042"/>
                    <a:pt x="54786" y="486191"/>
                  </a:cubicBezTo>
                  <a:cubicBezTo>
                    <a:pt x="69662" y="435613"/>
                    <a:pt x="84538" y="385034"/>
                    <a:pt x="87513" y="340406"/>
                  </a:cubicBezTo>
                  <a:cubicBezTo>
                    <a:pt x="93464" y="221398"/>
                    <a:pt x="66687" y="111315"/>
                    <a:pt x="1232" y="10158"/>
                  </a:cubicBezTo>
                  <a:cubicBezTo>
                    <a:pt x="-1743" y="7183"/>
                    <a:pt x="1232" y="4208"/>
                    <a:pt x="4208" y="1232"/>
                  </a:cubicBezTo>
                  <a:cubicBezTo>
                    <a:pt x="7183" y="-1743"/>
                    <a:pt x="10158" y="1232"/>
                    <a:pt x="13133" y="4208"/>
                  </a:cubicBezTo>
                  <a:cubicBezTo>
                    <a:pt x="78588" y="108340"/>
                    <a:pt x="108340" y="221398"/>
                    <a:pt x="99414" y="340406"/>
                  </a:cubicBezTo>
                  <a:cubicBezTo>
                    <a:pt x="96439" y="385034"/>
                    <a:pt x="81563" y="438588"/>
                    <a:pt x="66687" y="486191"/>
                  </a:cubicBezTo>
                  <a:cubicBezTo>
                    <a:pt x="60736" y="504042"/>
                    <a:pt x="54786" y="521894"/>
                    <a:pt x="51811" y="539745"/>
                  </a:cubicBezTo>
                  <a:cubicBezTo>
                    <a:pt x="51811" y="545695"/>
                    <a:pt x="48836" y="545695"/>
                    <a:pt x="45860" y="545695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08FABC88-2D1A-48B5-84CB-40E4330D89E5}"/>
                </a:ext>
              </a:extLst>
            </p:cNvPr>
            <p:cNvSpPr/>
            <p:nvPr/>
          </p:nvSpPr>
          <p:spPr>
            <a:xfrm>
              <a:off x="3725584" y="2988475"/>
              <a:ext cx="923176" cy="1204766"/>
            </a:xfrm>
            <a:custGeom>
              <a:avLst/>
              <a:gdLst>
                <a:gd name="connsiteX0" fmla="*/ 71787 w 923176"/>
                <a:gd name="connsiteY0" fmla="*/ 380826 h 1204766"/>
                <a:gd name="connsiteX1" fmla="*/ 71787 w 923176"/>
                <a:gd name="connsiteY1" fmla="*/ 116033 h 1204766"/>
                <a:gd name="connsiteX2" fmla="*/ 327655 w 923176"/>
                <a:gd name="connsiteY2" fmla="*/ 0 h 1204766"/>
                <a:gd name="connsiteX3" fmla="*/ 595423 w 923176"/>
                <a:gd name="connsiteY3" fmla="*/ 5950 h 1204766"/>
                <a:gd name="connsiteX4" fmla="*/ 919721 w 923176"/>
                <a:gd name="connsiteY4" fmla="*/ 484959 h 1204766"/>
                <a:gd name="connsiteX5" fmla="*/ 889969 w 923176"/>
                <a:gd name="connsiteY5" fmla="*/ 711074 h 1204766"/>
                <a:gd name="connsiteX6" fmla="*/ 833440 w 923176"/>
                <a:gd name="connsiteY6" fmla="*/ 1145455 h 1204766"/>
                <a:gd name="connsiteX7" fmla="*/ 45010 w 923176"/>
                <a:gd name="connsiteY7" fmla="*/ 1139504 h 1204766"/>
                <a:gd name="connsiteX8" fmla="*/ 71787 w 923176"/>
                <a:gd name="connsiteY8" fmla="*/ 380826 h 120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3176" h="1204766">
                  <a:moveTo>
                    <a:pt x="71787" y="380826"/>
                  </a:moveTo>
                  <a:cubicBezTo>
                    <a:pt x="39060" y="294546"/>
                    <a:pt x="12283" y="199339"/>
                    <a:pt x="71787" y="116033"/>
                  </a:cubicBezTo>
                  <a:cubicBezTo>
                    <a:pt x="122365" y="47603"/>
                    <a:pt x="250299" y="11901"/>
                    <a:pt x="327655" y="0"/>
                  </a:cubicBezTo>
                  <a:cubicBezTo>
                    <a:pt x="327655" y="0"/>
                    <a:pt x="598399" y="11901"/>
                    <a:pt x="595423" y="5950"/>
                  </a:cubicBezTo>
                  <a:cubicBezTo>
                    <a:pt x="845341" y="11901"/>
                    <a:pt x="943522" y="279669"/>
                    <a:pt x="919721" y="484959"/>
                  </a:cubicBezTo>
                  <a:cubicBezTo>
                    <a:pt x="910795" y="562314"/>
                    <a:pt x="892944" y="633719"/>
                    <a:pt x="889969" y="711074"/>
                  </a:cubicBezTo>
                  <a:cubicBezTo>
                    <a:pt x="886993" y="785455"/>
                    <a:pt x="973274" y="963967"/>
                    <a:pt x="833440" y="1145455"/>
                  </a:cubicBezTo>
                  <a:cubicBezTo>
                    <a:pt x="824514" y="1157355"/>
                    <a:pt x="479390" y="1276364"/>
                    <a:pt x="45010" y="1139504"/>
                  </a:cubicBezTo>
                  <a:cubicBezTo>
                    <a:pt x="-97800" y="987769"/>
                    <a:pt x="152117" y="589091"/>
                    <a:pt x="71787" y="380826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2573461B-679E-4D64-82EE-2F2BE4619209}"/>
                </a:ext>
              </a:extLst>
            </p:cNvPr>
            <p:cNvSpPr/>
            <p:nvPr/>
          </p:nvSpPr>
          <p:spPr>
            <a:xfrm>
              <a:off x="4588775" y="3175913"/>
              <a:ext cx="63984" cy="734876"/>
            </a:xfrm>
            <a:custGeom>
              <a:avLst/>
              <a:gdLst>
                <a:gd name="connsiteX0" fmla="*/ 26777 w 63984"/>
                <a:gd name="connsiteY0" fmla="*/ 734876 h 734876"/>
                <a:gd name="connsiteX1" fmla="*/ 20826 w 63984"/>
                <a:gd name="connsiteY1" fmla="*/ 728926 h 734876"/>
                <a:gd name="connsiteX2" fmla="*/ 44628 w 63984"/>
                <a:gd name="connsiteY2" fmla="*/ 318347 h 734876"/>
                <a:gd name="connsiteX3" fmla="*/ 53554 w 63984"/>
                <a:gd name="connsiteY3" fmla="*/ 255868 h 734876"/>
                <a:gd name="connsiteX4" fmla="*/ 0 w 63984"/>
                <a:gd name="connsiteY4" fmla="*/ 5950 h 734876"/>
                <a:gd name="connsiteX5" fmla="*/ 2975 w 63984"/>
                <a:gd name="connsiteY5" fmla="*/ 0 h 734876"/>
                <a:gd name="connsiteX6" fmla="*/ 8925 w 63984"/>
                <a:gd name="connsiteY6" fmla="*/ 2975 h 734876"/>
                <a:gd name="connsiteX7" fmla="*/ 62479 w 63984"/>
                <a:gd name="connsiteY7" fmla="*/ 258843 h 734876"/>
                <a:gd name="connsiteX8" fmla="*/ 53554 w 63984"/>
                <a:gd name="connsiteY8" fmla="*/ 321322 h 734876"/>
                <a:gd name="connsiteX9" fmla="*/ 29752 w 63984"/>
                <a:gd name="connsiteY9" fmla="*/ 728926 h 734876"/>
                <a:gd name="connsiteX10" fmla="*/ 26777 w 63984"/>
                <a:gd name="connsiteY10" fmla="*/ 734876 h 734876"/>
                <a:gd name="connsiteX11" fmla="*/ 26777 w 63984"/>
                <a:gd name="connsiteY11" fmla="*/ 734876 h 734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3984" h="734876">
                  <a:moveTo>
                    <a:pt x="26777" y="734876"/>
                  </a:moveTo>
                  <a:cubicBezTo>
                    <a:pt x="23802" y="734876"/>
                    <a:pt x="20826" y="731901"/>
                    <a:pt x="20826" y="728926"/>
                  </a:cubicBezTo>
                  <a:cubicBezTo>
                    <a:pt x="5950" y="609917"/>
                    <a:pt x="29752" y="434380"/>
                    <a:pt x="44628" y="318347"/>
                  </a:cubicBezTo>
                  <a:cubicBezTo>
                    <a:pt x="47603" y="294546"/>
                    <a:pt x="50578" y="273719"/>
                    <a:pt x="53554" y="255868"/>
                  </a:cubicBezTo>
                  <a:cubicBezTo>
                    <a:pt x="65454" y="154711"/>
                    <a:pt x="2975" y="5950"/>
                    <a:pt x="0" y="5950"/>
                  </a:cubicBezTo>
                  <a:cubicBezTo>
                    <a:pt x="0" y="2975"/>
                    <a:pt x="0" y="0"/>
                    <a:pt x="2975" y="0"/>
                  </a:cubicBezTo>
                  <a:cubicBezTo>
                    <a:pt x="5950" y="0"/>
                    <a:pt x="8925" y="0"/>
                    <a:pt x="8925" y="2975"/>
                  </a:cubicBezTo>
                  <a:cubicBezTo>
                    <a:pt x="11901" y="8926"/>
                    <a:pt x="74380" y="154711"/>
                    <a:pt x="62479" y="258843"/>
                  </a:cubicBezTo>
                  <a:cubicBezTo>
                    <a:pt x="59504" y="276694"/>
                    <a:pt x="56529" y="297521"/>
                    <a:pt x="53554" y="321322"/>
                  </a:cubicBezTo>
                  <a:cubicBezTo>
                    <a:pt x="38678" y="437356"/>
                    <a:pt x="17851" y="612893"/>
                    <a:pt x="29752" y="728926"/>
                  </a:cubicBezTo>
                  <a:cubicBezTo>
                    <a:pt x="32727" y="731901"/>
                    <a:pt x="32727" y="734876"/>
                    <a:pt x="26777" y="734876"/>
                  </a:cubicBezTo>
                  <a:cubicBezTo>
                    <a:pt x="26777" y="734876"/>
                    <a:pt x="26777" y="734876"/>
                    <a:pt x="26777" y="734876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173DE701-2C7E-4AA6-B03E-4543905A3957}"/>
                </a:ext>
              </a:extLst>
            </p:cNvPr>
            <p:cNvSpPr/>
            <p:nvPr/>
          </p:nvSpPr>
          <p:spPr>
            <a:xfrm>
              <a:off x="4009190" y="2934818"/>
              <a:ext cx="389982" cy="128780"/>
            </a:xfrm>
            <a:custGeom>
              <a:avLst/>
              <a:gdLst>
                <a:gd name="connsiteX0" fmla="*/ 389172 w 389982"/>
                <a:gd name="connsiteY0" fmla="*/ 74483 h 128780"/>
                <a:gd name="connsiteX1" fmla="*/ 368346 w 389982"/>
                <a:gd name="connsiteY1" fmla="*/ 9028 h 128780"/>
                <a:gd name="connsiteX2" fmla="*/ 356445 w 389982"/>
                <a:gd name="connsiteY2" fmla="*/ 3078 h 128780"/>
                <a:gd name="connsiteX3" fmla="*/ 47023 w 389982"/>
                <a:gd name="connsiteY3" fmla="*/ 103 h 128780"/>
                <a:gd name="connsiteX4" fmla="*/ 2395 w 389982"/>
                <a:gd name="connsiteY4" fmla="*/ 74483 h 128780"/>
                <a:gd name="connsiteX5" fmla="*/ 11321 w 389982"/>
                <a:gd name="connsiteY5" fmla="*/ 95309 h 128780"/>
                <a:gd name="connsiteX6" fmla="*/ 383222 w 389982"/>
                <a:gd name="connsiteY6" fmla="*/ 95309 h 128780"/>
                <a:gd name="connsiteX7" fmla="*/ 389172 w 389982"/>
                <a:gd name="connsiteY7" fmla="*/ 74483 h 128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9982" h="128780">
                  <a:moveTo>
                    <a:pt x="389172" y="74483"/>
                  </a:moveTo>
                  <a:cubicBezTo>
                    <a:pt x="383222" y="50681"/>
                    <a:pt x="377271" y="29855"/>
                    <a:pt x="368346" y="9028"/>
                  </a:cubicBezTo>
                  <a:cubicBezTo>
                    <a:pt x="365370" y="6053"/>
                    <a:pt x="359420" y="103"/>
                    <a:pt x="356445" y="3078"/>
                  </a:cubicBezTo>
                  <a:cubicBezTo>
                    <a:pt x="252313" y="17954"/>
                    <a:pt x="148180" y="29855"/>
                    <a:pt x="47023" y="103"/>
                  </a:cubicBezTo>
                  <a:cubicBezTo>
                    <a:pt x="35122" y="-2872"/>
                    <a:pt x="11321" y="59607"/>
                    <a:pt x="2395" y="74483"/>
                  </a:cubicBezTo>
                  <a:cubicBezTo>
                    <a:pt x="-3555" y="83409"/>
                    <a:pt x="2395" y="92334"/>
                    <a:pt x="11321" y="95309"/>
                  </a:cubicBezTo>
                  <a:cubicBezTo>
                    <a:pt x="133304" y="139938"/>
                    <a:pt x="261238" y="139938"/>
                    <a:pt x="383222" y="95309"/>
                  </a:cubicBezTo>
                  <a:cubicBezTo>
                    <a:pt x="386197" y="89359"/>
                    <a:pt x="392147" y="83409"/>
                    <a:pt x="389172" y="74483"/>
                  </a:cubicBezTo>
                  <a:close/>
                </a:path>
              </a:pathLst>
            </a:custGeom>
            <a:solidFill>
              <a:srgbClr val="D1615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E1960EA5-481D-49E4-83DA-88E7B4DAA31C}"/>
                </a:ext>
              </a:extLst>
            </p:cNvPr>
            <p:cNvSpPr/>
            <p:nvPr/>
          </p:nvSpPr>
          <p:spPr>
            <a:xfrm>
              <a:off x="4269928" y="3074756"/>
              <a:ext cx="102428" cy="1121652"/>
            </a:xfrm>
            <a:custGeom>
              <a:avLst/>
              <a:gdLst>
                <a:gd name="connsiteX0" fmla="*/ 9426 w 102428"/>
                <a:gd name="connsiteY0" fmla="*/ 1121653 h 1121652"/>
                <a:gd name="connsiteX1" fmla="*/ 3475 w 102428"/>
                <a:gd name="connsiteY1" fmla="*/ 1115702 h 1121652"/>
                <a:gd name="connsiteX2" fmla="*/ 57029 w 102428"/>
                <a:gd name="connsiteY2" fmla="*/ 684297 h 1121652"/>
                <a:gd name="connsiteX3" fmla="*/ 83806 w 102428"/>
                <a:gd name="connsiteY3" fmla="*/ 550413 h 1121652"/>
                <a:gd name="connsiteX4" fmla="*/ 45128 w 102428"/>
                <a:gd name="connsiteY4" fmla="*/ 5950 h 1121652"/>
                <a:gd name="connsiteX5" fmla="*/ 48104 w 102428"/>
                <a:gd name="connsiteY5" fmla="*/ 0 h 1121652"/>
                <a:gd name="connsiteX6" fmla="*/ 54054 w 102428"/>
                <a:gd name="connsiteY6" fmla="*/ 2975 h 1121652"/>
                <a:gd name="connsiteX7" fmla="*/ 92732 w 102428"/>
                <a:gd name="connsiteY7" fmla="*/ 550413 h 1121652"/>
                <a:gd name="connsiteX8" fmla="*/ 65955 w 102428"/>
                <a:gd name="connsiteY8" fmla="*/ 684297 h 1121652"/>
                <a:gd name="connsiteX9" fmla="*/ 12401 w 102428"/>
                <a:gd name="connsiteY9" fmla="*/ 1112727 h 1121652"/>
                <a:gd name="connsiteX10" fmla="*/ 9426 w 102428"/>
                <a:gd name="connsiteY10" fmla="*/ 1121653 h 1121652"/>
                <a:gd name="connsiteX11" fmla="*/ 9426 w 102428"/>
                <a:gd name="connsiteY11" fmla="*/ 1121653 h 112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428" h="1121652">
                  <a:moveTo>
                    <a:pt x="9426" y="1121653"/>
                  </a:moveTo>
                  <a:cubicBezTo>
                    <a:pt x="6451" y="1121653"/>
                    <a:pt x="3475" y="1118678"/>
                    <a:pt x="3475" y="1115702"/>
                  </a:cubicBezTo>
                  <a:cubicBezTo>
                    <a:pt x="-11401" y="996694"/>
                    <a:pt x="24302" y="830083"/>
                    <a:pt x="57029" y="684297"/>
                  </a:cubicBezTo>
                  <a:cubicBezTo>
                    <a:pt x="65955" y="636694"/>
                    <a:pt x="77856" y="592066"/>
                    <a:pt x="83806" y="550413"/>
                  </a:cubicBezTo>
                  <a:cubicBezTo>
                    <a:pt x="116533" y="374876"/>
                    <a:pt x="45128" y="8926"/>
                    <a:pt x="45128" y="5950"/>
                  </a:cubicBezTo>
                  <a:cubicBezTo>
                    <a:pt x="45128" y="2975"/>
                    <a:pt x="45128" y="0"/>
                    <a:pt x="48104" y="0"/>
                  </a:cubicBezTo>
                  <a:cubicBezTo>
                    <a:pt x="51079" y="0"/>
                    <a:pt x="54054" y="0"/>
                    <a:pt x="54054" y="2975"/>
                  </a:cubicBezTo>
                  <a:cubicBezTo>
                    <a:pt x="54054" y="5950"/>
                    <a:pt x="128434" y="374876"/>
                    <a:pt x="92732" y="550413"/>
                  </a:cubicBezTo>
                  <a:cubicBezTo>
                    <a:pt x="83806" y="592066"/>
                    <a:pt x="74880" y="636694"/>
                    <a:pt x="65955" y="684297"/>
                  </a:cubicBezTo>
                  <a:cubicBezTo>
                    <a:pt x="33228" y="830083"/>
                    <a:pt x="-2475" y="996694"/>
                    <a:pt x="12401" y="1112727"/>
                  </a:cubicBezTo>
                  <a:cubicBezTo>
                    <a:pt x="15376" y="1118678"/>
                    <a:pt x="12401" y="1121653"/>
                    <a:pt x="9426" y="1121653"/>
                  </a:cubicBezTo>
                  <a:cubicBezTo>
                    <a:pt x="9426" y="1121653"/>
                    <a:pt x="9426" y="1121653"/>
                    <a:pt x="9426" y="1121653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20" name="图形 1">
              <a:extLst>
                <a:ext uri="{FF2B5EF4-FFF2-40B4-BE49-F238E27FC236}">
                  <a16:creationId xmlns:a16="http://schemas.microsoft.com/office/drawing/2014/main" id="{C4220F68-B32F-423B-8B09-E3E75FE87C34}"/>
                </a:ext>
              </a:extLst>
            </p:cNvPr>
            <p:cNvGrpSpPr/>
            <p:nvPr/>
          </p:nvGrpSpPr>
          <p:grpSpPr>
            <a:xfrm>
              <a:off x="3426750" y="3999250"/>
              <a:ext cx="188157" cy="292365"/>
              <a:chOff x="3426750" y="3999250"/>
              <a:chExt cx="188157" cy="292365"/>
            </a:xfrm>
          </p:grpSpPr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1FCD78AF-9879-47A2-9434-F05C6A74AC09}"/>
                  </a:ext>
                </a:extLst>
              </p:cNvPr>
              <p:cNvSpPr/>
              <p:nvPr/>
            </p:nvSpPr>
            <p:spPr>
              <a:xfrm>
                <a:off x="3426750" y="3999250"/>
                <a:ext cx="180206" cy="286414"/>
              </a:xfrm>
              <a:custGeom>
                <a:avLst/>
                <a:gdLst>
                  <a:gd name="connsiteX0" fmla="*/ 25496 w 180206"/>
                  <a:gd name="connsiteY0" fmla="*/ 18646 h 286414"/>
                  <a:gd name="connsiteX1" fmla="*/ 16571 w 180206"/>
                  <a:gd name="connsiteY1" fmla="*/ 24596 h 286414"/>
                  <a:gd name="connsiteX2" fmla="*/ 7645 w 180206"/>
                  <a:gd name="connsiteY2" fmla="*/ 173357 h 286414"/>
                  <a:gd name="connsiteX3" fmla="*/ 79050 w 180206"/>
                  <a:gd name="connsiteY3" fmla="*/ 280464 h 286414"/>
                  <a:gd name="connsiteX4" fmla="*/ 87976 w 180206"/>
                  <a:gd name="connsiteY4" fmla="*/ 268564 h 286414"/>
                  <a:gd name="connsiteX5" fmla="*/ 73100 w 180206"/>
                  <a:gd name="connsiteY5" fmla="*/ 232861 h 286414"/>
                  <a:gd name="connsiteX6" fmla="*/ 99876 w 180206"/>
                  <a:gd name="connsiteY6" fmla="*/ 268564 h 286414"/>
                  <a:gd name="connsiteX7" fmla="*/ 126653 w 180206"/>
                  <a:gd name="connsiteY7" fmla="*/ 286415 h 286414"/>
                  <a:gd name="connsiteX8" fmla="*/ 135579 w 180206"/>
                  <a:gd name="connsiteY8" fmla="*/ 271539 h 286414"/>
                  <a:gd name="connsiteX9" fmla="*/ 138554 w 180206"/>
                  <a:gd name="connsiteY9" fmla="*/ 274514 h 286414"/>
                  <a:gd name="connsiteX10" fmla="*/ 147480 w 180206"/>
                  <a:gd name="connsiteY10" fmla="*/ 256663 h 286414"/>
                  <a:gd name="connsiteX11" fmla="*/ 99876 w 180206"/>
                  <a:gd name="connsiteY11" fmla="*/ 113853 h 286414"/>
                  <a:gd name="connsiteX12" fmla="*/ 141529 w 180206"/>
                  <a:gd name="connsiteY12" fmla="*/ 137654 h 286414"/>
                  <a:gd name="connsiteX13" fmla="*/ 162356 w 180206"/>
                  <a:gd name="connsiteY13" fmla="*/ 182283 h 286414"/>
                  <a:gd name="connsiteX14" fmla="*/ 180207 w 180206"/>
                  <a:gd name="connsiteY14" fmla="*/ 152530 h 286414"/>
                  <a:gd name="connsiteX15" fmla="*/ 165331 w 180206"/>
                  <a:gd name="connsiteY15" fmla="*/ 98977 h 286414"/>
                  <a:gd name="connsiteX16" fmla="*/ 129628 w 180206"/>
                  <a:gd name="connsiteY16" fmla="*/ 30547 h 286414"/>
                  <a:gd name="connsiteX17" fmla="*/ 25496 w 180206"/>
                  <a:gd name="connsiteY17" fmla="*/ 18646 h 286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80206" h="286414">
                    <a:moveTo>
                      <a:pt x="25496" y="18646"/>
                    </a:moveTo>
                    <a:cubicBezTo>
                      <a:pt x="22521" y="18646"/>
                      <a:pt x="16571" y="18646"/>
                      <a:pt x="16571" y="24596"/>
                    </a:cubicBezTo>
                    <a:cubicBezTo>
                      <a:pt x="1695" y="66249"/>
                      <a:pt x="-7231" y="128729"/>
                      <a:pt x="7645" y="173357"/>
                    </a:cubicBezTo>
                    <a:cubicBezTo>
                      <a:pt x="19546" y="203109"/>
                      <a:pt x="64174" y="280464"/>
                      <a:pt x="79050" y="280464"/>
                    </a:cubicBezTo>
                    <a:cubicBezTo>
                      <a:pt x="82025" y="280464"/>
                      <a:pt x="87976" y="271539"/>
                      <a:pt x="87976" y="268564"/>
                    </a:cubicBezTo>
                    <a:cubicBezTo>
                      <a:pt x="87976" y="262613"/>
                      <a:pt x="76075" y="241787"/>
                      <a:pt x="73100" y="232861"/>
                    </a:cubicBezTo>
                    <a:cubicBezTo>
                      <a:pt x="82025" y="244762"/>
                      <a:pt x="87976" y="259638"/>
                      <a:pt x="99876" y="268564"/>
                    </a:cubicBezTo>
                    <a:cubicBezTo>
                      <a:pt x="108802" y="277489"/>
                      <a:pt x="117728" y="286415"/>
                      <a:pt x="126653" y="286415"/>
                    </a:cubicBezTo>
                    <a:cubicBezTo>
                      <a:pt x="138554" y="286415"/>
                      <a:pt x="135579" y="280464"/>
                      <a:pt x="135579" y="271539"/>
                    </a:cubicBezTo>
                    <a:cubicBezTo>
                      <a:pt x="135579" y="271539"/>
                      <a:pt x="138554" y="274514"/>
                      <a:pt x="138554" y="274514"/>
                    </a:cubicBezTo>
                    <a:cubicBezTo>
                      <a:pt x="141529" y="277489"/>
                      <a:pt x="144504" y="259638"/>
                      <a:pt x="147480" y="256663"/>
                    </a:cubicBezTo>
                    <a:cubicBezTo>
                      <a:pt x="165331" y="241787"/>
                      <a:pt x="73100" y="143605"/>
                      <a:pt x="99876" y="113853"/>
                    </a:cubicBezTo>
                    <a:cubicBezTo>
                      <a:pt x="105827" y="116828"/>
                      <a:pt x="129628" y="125754"/>
                      <a:pt x="141529" y="137654"/>
                    </a:cubicBezTo>
                    <a:cubicBezTo>
                      <a:pt x="144504" y="173357"/>
                      <a:pt x="159381" y="182283"/>
                      <a:pt x="162356" y="182283"/>
                    </a:cubicBezTo>
                    <a:cubicBezTo>
                      <a:pt x="168306" y="182283"/>
                      <a:pt x="180207" y="155506"/>
                      <a:pt x="180207" y="152530"/>
                    </a:cubicBezTo>
                    <a:cubicBezTo>
                      <a:pt x="174257" y="116828"/>
                      <a:pt x="180207" y="125754"/>
                      <a:pt x="165331" y="98977"/>
                    </a:cubicBezTo>
                    <a:cubicBezTo>
                      <a:pt x="153430" y="78150"/>
                      <a:pt x="141529" y="54349"/>
                      <a:pt x="129628" y="30547"/>
                    </a:cubicBezTo>
                    <a:cubicBezTo>
                      <a:pt x="111777" y="-11106"/>
                      <a:pt x="58224" y="-5156"/>
                      <a:pt x="25496" y="18646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31B30DA0-7BC1-4549-A074-D8F638A81C9B}"/>
                  </a:ext>
                </a:extLst>
              </p:cNvPr>
              <p:cNvSpPr/>
              <p:nvPr/>
            </p:nvSpPr>
            <p:spPr>
              <a:xfrm>
                <a:off x="3471841" y="4169632"/>
                <a:ext cx="105922" cy="121983"/>
              </a:xfrm>
              <a:custGeom>
                <a:avLst/>
                <a:gdLst>
                  <a:gd name="connsiteX0" fmla="*/ 84538 w 105922"/>
                  <a:gd name="connsiteY0" fmla="*/ 121983 h 121983"/>
                  <a:gd name="connsiteX1" fmla="*/ 51811 w 105922"/>
                  <a:gd name="connsiteY1" fmla="*/ 101157 h 121983"/>
                  <a:gd name="connsiteX2" fmla="*/ 1232 w 105922"/>
                  <a:gd name="connsiteY2" fmla="*/ 32727 h 121983"/>
                  <a:gd name="connsiteX3" fmla="*/ 4208 w 105922"/>
                  <a:gd name="connsiteY3" fmla="*/ 23802 h 121983"/>
                  <a:gd name="connsiteX4" fmla="*/ 13133 w 105922"/>
                  <a:gd name="connsiteY4" fmla="*/ 26777 h 121983"/>
                  <a:gd name="connsiteX5" fmla="*/ 63712 w 105922"/>
                  <a:gd name="connsiteY5" fmla="*/ 92231 h 121983"/>
                  <a:gd name="connsiteX6" fmla="*/ 90489 w 105922"/>
                  <a:gd name="connsiteY6" fmla="*/ 110083 h 121983"/>
                  <a:gd name="connsiteX7" fmla="*/ 96439 w 105922"/>
                  <a:gd name="connsiteY7" fmla="*/ 107107 h 121983"/>
                  <a:gd name="connsiteX8" fmla="*/ 72637 w 105922"/>
                  <a:gd name="connsiteY8" fmla="*/ 80330 h 121983"/>
                  <a:gd name="connsiteX9" fmla="*/ 16108 w 105922"/>
                  <a:gd name="connsiteY9" fmla="*/ 5950 h 121983"/>
                  <a:gd name="connsiteX10" fmla="*/ 19084 w 105922"/>
                  <a:gd name="connsiteY10" fmla="*/ 0 h 121983"/>
                  <a:gd name="connsiteX11" fmla="*/ 25034 w 105922"/>
                  <a:gd name="connsiteY11" fmla="*/ 2975 h 121983"/>
                  <a:gd name="connsiteX12" fmla="*/ 78588 w 105922"/>
                  <a:gd name="connsiteY12" fmla="*/ 71405 h 121983"/>
                  <a:gd name="connsiteX13" fmla="*/ 105365 w 105922"/>
                  <a:gd name="connsiteY13" fmla="*/ 110083 h 121983"/>
                  <a:gd name="connsiteX14" fmla="*/ 84538 w 105922"/>
                  <a:gd name="connsiteY14" fmla="*/ 121983 h 121983"/>
                  <a:gd name="connsiteX15" fmla="*/ 84538 w 105922"/>
                  <a:gd name="connsiteY15" fmla="*/ 121983 h 121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5922" h="121983">
                    <a:moveTo>
                      <a:pt x="84538" y="121983"/>
                    </a:moveTo>
                    <a:cubicBezTo>
                      <a:pt x="72637" y="121983"/>
                      <a:pt x="60736" y="113058"/>
                      <a:pt x="51811" y="101157"/>
                    </a:cubicBezTo>
                    <a:cubicBezTo>
                      <a:pt x="33960" y="83306"/>
                      <a:pt x="1232" y="35702"/>
                      <a:pt x="1232" y="32727"/>
                    </a:cubicBezTo>
                    <a:cubicBezTo>
                      <a:pt x="-1743" y="29752"/>
                      <a:pt x="1232" y="26777"/>
                      <a:pt x="4208" y="23802"/>
                    </a:cubicBezTo>
                    <a:cubicBezTo>
                      <a:pt x="7183" y="20826"/>
                      <a:pt x="10158" y="23802"/>
                      <a:pt x="13133" y="26777"/>
                    </a:cubicBezTo>
                    <a:cubicBezTo>
                      <a:pt x="13133" y="26777"/>
                      <a:pt x="45860" y="77355"/>
                      <a:pt x="63712" y="92231"/>
                    </a:cubicBezTo>
                    <a:cubicBezTo>
                      <a:pt x="69662" y="98182"/>
                      <a:pt x="81563" y="110083"/>
                      <a:pt x="90489" y="110083"/>
                    </a:cubicBezTo>
                    <a:cubicBezTo>
                      <a:pt x="90489" y="110083"/>
                      <a:pt x="93464" y="110083"/>
                      <a:pt x="96439" y="107107"/>
                    </a:cubicBezTo>
                    <a:cubicBezTo>
                      <a:pt x="93464" y="101157"/>
                      <a:pt x="81563" y="92231"/>
                      <a:pt x="72637" y="80330"/>
                    </a:cubicBezTo>
                    <a:cubicBezTo>
                      <a:pt x="48836" y="56529"/>
                      <a:pt x="22059" y="29752"/>
                      <a:pt x="16108" y="5950"/>
                    </a:cubicBezTo>
                    <a:cubicBezTo>
                      <a:pt x="16108" y="2975"/>
                      <a:pt x="16108" y="0"/>
                      <a:pt x="19084" y="0"/>
                    </a:cubicBezTo>
                    <a:cubicBezTo>
                      <a:pt x="22059" y="0"/>
                      <a:pt x="25034" y="0"/>
                      <a:pt x="25034" y="2975"/>
                    </a:cubicBezTo>
                    <a:cubicBezTo>
                      <a:pt x="30984" y="23802"/>
                      <a:pt x="57761" y="50578"/>
                      <a:pt x="78588" y="71405"/>
                    </a:cubicBezTo>
                    <a:cubicBezTo>
                      <a:pt x="99414" y="95207"/>
                      <a:pt x="108340" y="104132"/>
                      <a:pt x="105365" y="110083"/>
                    </a:cubicBezTo>
                    <a:cubicBezTo>
                      <a:pt x="96439" y="116033"/>
                      <a:pt x="93464" y="119008"/>
                      <a:pt x="84538" y="121983"/>
                    </a:cubicBezTo>
                    <a:cubicBezTo>
                      <a:pt x="87513" y="121983"/>
                      <a:pt x="84538" y="121983"/>
                      <a:pt x="84538" y="121983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958E20F9-038C-4639-A517-DEBBE6A64A57}"/>
                  </a:ext>
                </a:extLst>
              </p:cNvPr>
              <p:cNvSpPr/>
              <p:nvPr/>
            </p:nvSpPr>
            <p:spPr>
              <a:xfrm>
                <a:off x="3516868" y="4073193"/>
                <a:ext cx="98039" cy="197596"/>
              </a:xfrm>
              <a:custGeom>
                <a:avLst/>
                <a:gdLst>
                  <a:gd name="connsiteX0" fmla="*/ 48436 w 98039"/>
                  <a:gd name="connsiteY0" fmla="*/ 197596 h 197596"/>
                  <a:gd name="connsiteX1" fmla="*/ 45461 w 98039"/>
                  <a:gd name="connsiteY1" fmla="*/ 197596 h 197596"/>
                  <a:gd name="connsiteX2" fmla="*/ 39511 w 98039"/>
                  <a:gd name="connsiteY2" fmla="*/ 191646 h 197596"/>
                  <a:gd name="connsiteX3" fmla="*/ 45461 w 98039"/>
                  <a:gd name="connsiteY3" fmla="*/ 185695 h 197596"/>
                  <a:gd name="connsiteX4" fmla="*/ 45461 w 98039"/>
                  <a:gd name="connsiteY4" fmla="*/ 185695 h 197596"/>
                  <a:gd name="connsiteX5" fmla="*/ 51412 w 98039"/>
                  <a:gd name="connsiteY5" fmla="*/ 182720 h 197596"/>
                  <a:gd name="connsiteX6" fmla="*/ 54387 w 98039"/>
                  <a:gd name="connsiteY6" fmla="*/ 170819 h 197596"/>
                  <a:gd name="connsiteX7" fmla="*/ 36536 w 98039"/>
                  <a:gd name="connsiteY7" fmla="*/ 138092 h 197596"/>
                  <a:gd name="connsiteX8" fmla="*/ 833 w 98039"/>
                  <a:gd name="connsiteY8" fmla="*/ 75613 h 197596"/>
                  <a:gd name="connsiteX9" fmla="*/ 3808 w 98039"/>
                  <a:gd name="connsiteY9" fmla="*/ 39910 h 197596"/>
                  <a:gd name="connsiteX10" fmla="*/ 9759 w 98039"/>
                  <a:gd name="connsiteY10" fmla="*/ 36935 h 197596"/>
                  <a:gd name="connsiteX11" fmla="*/ 54387 w 98039"/>
                  <a:gd name="connsiteY11" fmla="*/ 63712 h 197596"/>
                  <a:gd name="connsiteX12" fmla="*/ 57362 w 98039"/>
                  <a:gd name="connsiteY12" fmla="*/ 66687 h 197596"/>
                  <a:gd name="connsiteX13" fmla="*/ 72238 w 98039"/>
                  <a:gd name="connsiteY13" fmla="*/ 105365 h 197596"/>
                  <a:gd name="connsiteX14" fmla="*/ 81164 w 98039"/>
                  <a:gd name="connsiteY14" fmla="*/ 93464 h 197596"/>
                  <a:gd name="connsiteX15" fmla="*/ 60337 w 98039"/>
                  <a:gd name="connsiteY15" fmla="*/ 10158 h 197596"/>
                  <a:gd name="connsiteX16" fmla="*/ 63312 w 98039"/>
                  <a:gd name="connsiteY16" fmla="*/ 1232 h 197596"/>
                  <a:gd name="connsiteX17" fmla="*/ 72238 w 98039"/>
                  <a:gd name="connsiteY17" fmla="*/ 4208 h 197596"/>
                  <a:gd name="connsiteX18" fmla="*/ 93065 w 98039"/>
                  <a:gd name="connsiteY18" fmla="*/ 99414 h 197596"/>
                  <a:gd name="connsiteX19" fmla="*/ 72238 w 98039"/>
                  <a:gd name="connsiteY19" fmla="*/ 117265 h 197596"/>
                  <a:gd name="connsiteX20" fmla="*/ 48436 w 98039"/>
                  <a:gd name="connsiteY20" fmla="*/ 72637 h 197596"/>
                  <a:gd name="connsiteX21" fmla="*/ 18684 w 98039"/>
                  <a:gd name="connsiteY21" fmla="*/ 51811 h 197596"/>
                  <a:gd name="connsiteX22" fmla="*/ 18684 w 98039"/>
                  <a:gd name="connsiteY22" fmla="*/ 78588 h 197596"/>
                  <a:gd name="connsiteX23" fmla="*/ 51412 w 98039"/>
                  <a:gd name="connsiteY23" fmla="*/ 138092 h 197596"/>
                  <a:gd name="connsiteX24" fmla="*/ 72238 w 98039"/>
                  <a:gd name="connsiteY24" fmla="*/ 176769 h 197596"/>
                  <a:gd name="connsiteX25" fmla="*/ 63312 w 98039"/>
                  <a:gd name="connsiteY25" fmla="*/ 197596 h 197596"/>
                  <a:gd name="connsiteX26" fmla="*/ 48436 w 98039"/>
                  <a:gd name="connsiteY26" fmla="*/ 197596 h 197596"/>
                  <a:gd name="connsiteX27" fmla="*/ 72238 w 98039"/>
                  <a:gd name="connsiteY27" fmla="*/ 105365 h 197596"/>
                  <a:gd name="connsiteX28" fmla="*/ 72238 w 98039"/>
                  <a:gd name="connsiteY28" fmla="*/ 105365 h 197596"/>
                  <a:gd name="connsiteX29" fmla="*/ 72238 w 98039"/>
                  <a:gd name="connsiteY29" fmla="*/ 105365 h 197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98039" h="197596">
                    <a:moveTo>
                      <a:pt x="48436" y="197596"/>
                    </a:moveTo>
                    <a:cubicBezTo>
                      <a:pt x="45461" y="197596"/>
                      <a:pt x="45461" y="197596"/>
                      <a:pt x="45461" y="197596"/>
                    </a:cubicBezTo>
                    <a:cubicBezTo>
                      <a:pt x="42486" y="197596"/>
                      <a:pt x="39511" y="194621"/>
                      <a:pt x="39511" y="191646"/>
                    </a:cubicBezTo>
                    <a:cubicBezTo>
                      <a:pt x="39511" y="188670"/>
                      <a:pt x="42486" y="185695"/>
                      <a:pt x="45461" y="185695"/>
                    </a:cubicBezTo>
                    <a:lnTo>
                      <a:pt x="45461" y="185695"/>
                    </a:lnTo>
                    <a:cubicBezTo>
                      <a:pt x="45461" y="185695"/>
                      <a:pt x="48436" y="185695"/>
                      <a:pt x="51412" y="182720"/>
                    </a:cubicBezTo>
                    <a:cubicBezTo>
                      <a:pt x="54387" y="179745"/>
                      <a:pt x="54387" y="176769"/>
                      <a:pt x="54387" y="170819"/>
                    </a:cubicBezTo>
                    <a:cubicBezTo>
                      <a:pt x="54387" y="161893"/>
                      <a:pt x="45461" y="152968"/>
                      <a:pt x="36536" y="138092"/>
                    </a:cubicBezTo>
                    <a:cubicBezTo>
                      <a:pt x="24635" y="123216"/>
                      <a:pt x="9759" y="102389"/>
                      <a:pt x="833" y="75613"/>
                    </a:cubicBezTo>
                    <a:cubicBezTo>
                      <a:pt x="-2142" y="60737"/>
                      <a:pt x="3808" y="39910"/>
                      <a:pt x="3808" y="39910"/>
                    </a:cubicBezTo>
                    <a:cubicBezTo>
                      <a:pt x="3808" y="36935"/>
                      <a:pt x="6783" y="36935"/>
                      <a:pt x="9759" y="36935"/>
                    </a:cubicBezTo>
                    <a:cubicBezTo>
                      <a:pt x="24635" y="33960"/>
                      <a:pt x="48436" y="54786"/>
                      <a:pt x="54387" y="63712"/>
                    </a:cubicBezTo>
                    <a:cubicBezTo>
                      <a:pt x="54387" y="63712"/>
                      <a:pt x="54387" y="66687"/>
                      <a:pt x="57362" y="66687"/>
                    </a:cubicBezTo>
                    <a:cubicBezTo>
                      <a:pt x="66288" y="96439"/>
                      <a:pt x="69263" y="102389"/>
                      <a:pt x="72238" y="105365"/>
                    </a:cubicBezTo>
                    <a:cubicBezTo>
                      <a:pt x="72238" y="105365"/>
                      <a:pt x="75213" y="105365"/>
                      <a:pt x="81164" y="93464"/>
                    </a:cubicBezTo>
                    <a:cubicBezTo>
                      <a:pt x="93065" y="69662"/>
                      <a:pt x="69263" y="25034"/>
                      <a:pt x="60337" y="10158"/>
                    </a:cubicBezTo>
                    <a:cubicBezTo>
                      <a:pt x="57362" y="7183"/>
                      <a:pt x="60337" y="4208"/>
                      <a:pt x="63312" y="1232"/>
                    </a:cubicBezTo>
                    <a:cubicBezTo>
                      <a:pt x="66288" y="-1743"/>
                      <a:pt x="69263" y="1232"/>
                      <a:pt x="72238" y="4208"/>
                    </a:cubicBezTo>
                    <a:cubicBezTo>
                      <a:pt x="75213" y="7183"/>
                      <a:pt x="110916" y="66687"/>
                      <a:pt x="93065" y="99414"/>
                    </a:cubicBezTo>
                    <a:cubicBezTo>
                      <a:pt x="87114" y="108340"/>
                      <a:pt x="81164" y="117265"/>
                      <a:pt x="72238" y="117265"/>
                    </a:cubicBezTo>
                    <a:cubicBezTo>
                      <a:pt x="60337" y="117265"/>
                      <a:pt x="54387" y="102389"/>
                      <a:pt x="48436" y="72637"/>
                    </a:cubicBezTo>
                    <a:cubicBezTo>
                      <a:pt x="39511" y="63712"/>
                      <a:pt x="24635" y="54786"/>
                      <a:pt x="18684" y="51811"/>
                    </a:cubicBezTo>
                    <a:cubicBezTo>
                      <a:pt x="18684" y="60737"/>
                      <a:pt x="15709" y="72637"/>
                      <a:pt x="18684" y="78588"/>
                    </a:cubicBezTo>
                    <a:cubicBezTo>
                      <a:pt x="24635" y="102389"/>
                      <a:pt x="39511" y="120241"/>
                      <a:pt x="51412" y="138092"/>
                    </a:cubicBezTo>
                    <a:cubicBezTo>
                      <a:pt x="63312" y="152968"/>
                      <a:pt x="72238" y="164869"/>
                      <a:pt x="72238" y="176769"/>
                    </a:cubicBezTo>
                    <a:cubicBezTo>
                      <a:pt x="72238" y="185695"/>
                      <a:pt x="69263" y="194621"/>
                      <a:pt x="63312" y="197596"/>
                    </a:cubicBezTo>
                    <a:cubicBezTo>
                      <a:pt x="57362" y="197596"/>
                      <a:pt x="51412" y="197596"/>
                      <a:pt x="48436" y="197596"/>
                    </a:cubicBezTo>
                    <a:close/>
                    <a:moveTo>
                      <a:pt x="72238" y="105365"/>
                    </a:moveTo>
                    <a:lnTo>
                      <a:pt x="72238" y="105365"/>
                    </a:lnTo>
                    <a:lnTo>
                      <a:pt x="72238" y="105365"/>
                    </a:lnTo>
                    <a:close/>
                  </a:path>
                </a:pathLst>
              </a:custGeom>
              <a:solidFill>
                <a:srgbClr val="E58777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DE9174C3-B86E-405B-887D-036C9C911691}"/>
                </a:ext>
              </a:extLst>
            </p:cNvPr>
            <p:cNvSpPr/>
            <p:nvPr/>
          </p:nvSpPr>
          <p:spPr>
            <a:xfrm>
              <a:off x="3248586" y="3018559"/>
              <a:ext cx="810318" cy="1058841"/>
            </a:xfrm>
            <a:custGeom>
              <a:avLst/>
              <a:gdLst>
                <a:gd name="connsiteX0" fmla="*/ 649942 w 810318"/>
                <a:gd name="connsiteY0" fmla="*/ 359668 h 1058841"/>
                <a:gd name="connsiteX1" fmla="*/ 266140 w 810318"/>
                <a:gd name="connsiteY1" fmla="*/ 523304 h 1058841"/>
                <a:gd name="connsiteX2" fmla="*/ 322669 w 810318"/>
                <a:gd name="connsiteY2" fmla="*/ 1020163 h 1058841"/>
                <a:gd name="connsiteX3" fmla="*/ 173909 w 810318"/>
                <a:gd name="connsiteY3" fmla="*/ 1058841 h 1058841"/>
                <a:gd name="connsiteX4" fmla="*/ 51925 w 810318"/>
                <a:gd name="connsiteY4" fmla="*/ 315040 h 1058841"/>
                <a:gd name="connsiteX5" fmla="*/ 533909 w 810318"/>
                <a:gd name="connsiteY5" fmla="*/ 38345 h 1058841"/>
                <a:gd name="connsiteX6" fmla="*/ 795727 w 810318"/>
                <a:gd name="connsiteY6" fmla="*/ 29420 h 1058841"/>
                <a:gd name="connsiteX7" fmla="*/ 649942 w 810318"/>
                <a:gd name="connsiteY7" fmla="*/ 359668 h 1058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0318" h="1058841">
                  <a:moveTo>
                    <a:pt x="649942" y="359668"/>
                  </a:moveTo>
                  <a:cubicBezTo>
                    <a:pt x="581512" y="413221"/>
                    <a:pt x="340520" y="490577"/>
                    <a:pt x="266140" y="523304"/>
                  </a:cubicBezTo>
                  <a:cubicBezTo>
                    <a:pt x="281016" y="573882"/>
                    <a:pt x="403000" y="936858"/>
                    <a:pt x="322669" y="1020163"/>
                  </a:cubicBezTo>
                  <a:cubicBezTo>
                    <a:pt x="295892" y="1038015"/>
                    <a:pt x="236388" y="1055866"/>
                    <a:pt x="173909" y="1058841"/>
                  </a:cubicBezTo>
                  <a:cubicBezTo>
                    <a:pt x="81677" y="1005287"/>
                    <a:pt x="-84934" y="466775"/>
                    <a:pt x="51925" y="315040"/>
                  </a:cubicBezTo>
                  <a:cubicBezTo>
                    <a:pt x="96553" y="264461"/>
                    <a:pt x="367297" y="106775"/>
                    <a:pt x="533909" y="38345"/>
                  </a:cubicBezTo>
                  <a:cubicBezTo>
                    <a:pt x="611264" y="5618"/>
                    <a:pt x="763000" y="-24134"/>
                    <a:pt x="795727" y="29420"/>
                  </a:cubicBezTo>
                  <a:cubicBezTo>
                    <a:pt x="849281" y="118676"/>
                    <a:pt x="745149" y="285288"/>
                    <a:pt x="649942" y="359668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310ADEFF-29E1-4B56-AC6C-1F3879847641}"/>
                </a:ext>
              </a:extLst>
            </p:cNvPr>
            <p:cNvSpPr/>
            <p:nvPr/>
          </p:nvSpPr>
          <p:spPr>
            <a:xfrm>
              <a:off x="3508775" y="3098558"/>
              <a:ext cx="556382" cy="446280"/>
            </a:xfrm>
            <a:custGeom>
              <a:avLst/>
              <a:gdLst>
                <a:gd name="connsiteX0" fmla="*/ 5950 w 556382"/>
                <a:gd name="connsiteY0" fmla="*/ 446281 h 446280"/>
                <a:gd name="connsiteX1" fmla="*/ 0 w 556382"/>
                <a:gd name="connsiteY1" fmla="*/ 443306 h 446280"/>
                <a:gd name="connsiteX2" fmla="*/ 2975 w 556382"/>
                <a:gd name="connsiteY2" fmla="*/ 437355 h 446280"/>
                <a:gd name="connsiteX3" fmla="*/ 285620 w 556382"/>
                <a:gd name="connsiteY3" fmla="*/ 324298 h 446280"/>
                <a:gd name="connsiteX4" fmla="*/ 481984 w 556382"/>
                <a:gd name="connsiteY4" fmla="*/ 163636 h 446280"/>
                <a:gd name="connsiteX5" fmla="*/ 544463 w 556382"/>
                <a:gd name="connsiteY5" fmla="*/ 5950 h 446280"/>
                <a:gd name="connsiteX6" fmla="*/ 550413 w 556382"/>
                <a:gd name="connsiteY6" fmla="*/ 0 h 446280"/>
                <a:gd name="connsiteX7" fmla="*/ 550413 w 556382"/>
                <a:gd name="connsiteY7" fmla="*/ 0 h 446280"/>
                <a:gd name="connsiteX8" fmla="*/ 556364 w 556382"/>
                <a:gd name="connsiteY8" fmla="*/ 5950 h 446280"/>
                <a:gd name="connsiteX9" fmla="*/ 490909 w 556382"/>
                <a:gd name="connsiteY9" fmla="*/ 172562 h 446280"/>
                <a:gd name="connsiteX10" fmla="*/ 291570 w 556382"/>
                <a:gd name="connsiteY10" fmla="*/ 333223 h 446280"/>
                <a:gd name="connsiteX11" fmla="*/ 5950 w 556382"/>
                <a:gd name="connsiteY11" fmla="*/ 446281 h 446280"/>
                <a:gd name="connsiteX12" fmla="*/ 5950 w 556382"/>
                <a:gd name="connsiteY12" fmla="*/ 446281 h 446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6382" h="446280">
                  <a:moveTo>
                    <a:pt x="5950" y="446281"/>
                  </a:moveTo>
                  <a:cubicBezTo>
                    <a:pt x="2975" y="446281"/>
                    <a:pt x="0" y="443306"/>
                    <a:pt x="0" y="443306"/>
                  </a:cubicBezTo>
                  <a:cubicBezTo>
                    <a:pt x="0" y="440331"/>
                    <a:pt x="0" y="437355"/>
                    <a:pt x="2975" y="437355"/>
                  </a:cubicBezTo>
                  <a:cubicBezTo>
                    <a:pt x="2975" y="437355"/>
                    <a:pt x="151736" y="398678"/>
                    <a:pt x="285620" y="324298"/>
                  </a:cubicBezTo>
                  <a:cubicBezTo>
                    <a:pt x="342149" y="294546"/>
                    <a:pt x="443306" y="205289"/>
                    <a:pt x="481984" y="163636"/>
                  </a:cubicBezTo>
                  <a:cubicBezTo>
                    <a:pt x="547438" y="95207"/>
                    <a:pt x="544463" y="5950"/>
                    <a:pt x="544463" y="5950"/>
                  </a:cubicBezTo>
                  <a:cubicBezTo>
                    <a:pt x="544463" y="2975"/>
                    <a:pt x="547438" y="0"/>
                    <a:pt x="550413" y="0"/>
                  </a:cubicBezTo>
                  <a:cubicBezTo>
                    <a:pt x="550413" y="0"/>
                    <a:pt x="550413" y="0"/>
                    <a:pt x="550413" y="0"/>
                  </a:cubicBezTo>
                  <a:cubicBezTo>
                    <a:pt x="553388" y="0"/>
                    <a:pt x="556364" y="2975"/>
                    <a:pt x="556364" y="5950"/>
                  </a:cubicBezTo>
                  <a:cubicBezTo>
                    <a:pt x="556364" y="8926"/>
                    <a:pt x="559339" y="101157"/>
                    <a:pt x="490909" y="172562"/>
                  </a:cubicBezTo>
                  <a:cubicBezTo>
                    <a:pt x="452231" y="214215"/>
                    <a:pt x="348099" y="303471"/>
                    <a:pt x="291570" y="333223"/>
                  </a:cubicBezTo>
                  <a:cubicBezTo>
                    <a:pt x="157686" y="407603"/>
                    <a:pt x="8926" y="446281"/>
                    <a:pt x="5950" y="446281"/>
                  </a:cubicBezTo>
                  <a:cubicBezTo>
                    <a:pt x="8926" y="446281"/>
                    <a:pt x="8926" y="446281"/>
                    <a:pt x="5950" y="446281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5ABB6C1E-A98A-4D69-ACC8-43EC01C5667A}"/>
                </a:ext>
              </a:extLst>
            </p:cNvPr>
            <p:cNvSpPr/>
            <p:nvPr/>
          </p:nvSpPr>
          <p:spPr>
            <a:xfrm>
              <a:off x="4276379" y="2740676"/>
              <a:ext cx="145784" cy="200195"/>
            </a:xfrm>
            <a:custGeom>
              <a:avLst/>
              <a:gdLst>
                <a:gd name="connsiteX0" fmla="*/ 145785 w 145784"/>
                <a:gd name="connsiteY0" fmla="*/ 857 h 200195"/>
                <a:gd name="connsiteX1" fmla="*/ 107107 w 145784"/>
                <a:gd name="connsiteY1" fmla="*/ 185319 h 200195"/>
                <a:gd name="connsiteX2" fmla="*/ 44628 w 145784"/>
                <a:gd name="connsiteY2" fmla="*/ 200196 h 200195"/>
                <a:gd name="connsiteX3" fmla="*/ 0 w 145784"/>
                <a:gd name="connsiteY3" fmla="*/ 104989 h 200195"/>
                <a:gd name="connsiteX4" fmla="*/ 145785 w 145784"/>
                <a:gd name="connsiteY4" fmla="*/ 857 h 200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784" h="200195">
                  <a:moveTo>
                    <a:pt x="145785" y="857"/>
                  </a:moveTo>
                  <a:lnTo>
                    <a:pt x="107107" y="185319"/>
                  </a:lnTo>
                  <a:lnTo>
                    <a:pt x="44628" y="200196"/>
                  </a:lnTo>
                  <a:lnTo>
                    <a:pt x="0" y="104989"/>
                  </a:lnTo>
                  <a:cubicBezTo>
                    <a:pt x="0" y="104989"/>
                    <a:pt x="50578" y="-11044"/>
                    <a:pt x="145785" y="857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B5DADCBA-607B-405C-96EF-30ACDF57124F}"/>
                </a:ext>
              </a:extLst>
            </p:cNvPr>
            <p:cNvSpPr/>
            <p:nvPr/>
          </p:nvSpPr>
          <p:spPr>
            <a:xfrm>
              <a:off x="3889602" y="2589797"/>
              <a:ext cx="240991" cy="357024"/>
            </a:xfrm>
            <a:custGeom>
              <a:avLst/>
              <a:gdLst>
                <a:gd name="connsiteX0" fmla="*/ 0 w 240991"/>
                <a:gd name="connsiteY0" fmla="*/ 0 h 357024"/>
                <a:gd name="connsiteX1" fmla="*/ 119008 w 240991"/>
                <a:gd name="connsiteY1" fmla="*/ 351074 h 357024"/>
                <a:gd name="connsiteX2" fmla="*/ 196364 w 240991"/>
                <a:gd name="connsiteY2" fmla="*/ 357025 h 357024"/>
                <a:gd name="connsiteX3" fmla="*/ 240992 w 240991"/>
                <a:gd name="connsiteY3" fmla="*/ 243967 h 357024"/>
                <a:gd name="connsiteX4" fmla="*/ 151736 w 240991"/>
                <a:gd name="connsiteY4" fmla="*/ 110083 h 357024"/>
                <a:gd name="connsiteX5" fmla="*/ 0 w 240991"/>
                <a:gd name="connsiteY5" fmla="*/ 0 h 35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0991" h="357024">
                  <a:moveTo>
                    <a:pt x="0" y="0"/>
                  </a:moveTo>
                  <a:cubicBezTo>
                    <a:pt x="0" y="0"/>
                    <a:pt x="0" y="178512"/>
                    <a:pt x="119008" y="351074"/>
                  </a:cubicBezTo>
                  <a:lnTo>
                    <a:pt x="196364" y="357025"/>
                  </a:lnTo>
                  <a:lnTo>
                    <a:pt x="240992" y="243967"/>
                  </a:lnTo>
                  <a:lnTo>
                    <a:pt x="151736" y="1100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4ED5F099-3864-4E5F-8D58-EE7B255E1DF0}"/>
                </a:ext>
              </a:extLst>
            </p:cNvPr>
            <p:cNvSpPr/>
            <p:nvPr/>
          </p:nvSpPr>
          <p:spPr>
            <a:xfrm>
              <a:off x="4148068" y="2301529"/>
              <a:ext cx="313526" cy="575544"/>
            </a:xfrm>
            <a:custGeom>
              <a:avLst/>
              <a:gdLst>
                <a:gd name="connsiteX0" fmla="*/ 140212 w 313526"/>
                <a:gd name="connsiteY0" fmla="*/ 561987 h 575544"/>
                <a:gd name="connsiteX1" fmla="*/ 312774 w 313526"/>
                <a:gd name="connsiteY1" fmla="*/ 225789 h 575544"/>
                <a:gd name="connsiteX2" fmla="*/ 377 w 313526"/>
                <a:gd name="connsiteY2" fmla="*/ 8599 h 575544"/>
                <a:gd name="connsiteX3" fmla="*/ 36080 w 313526"/>
                <a:gd name="connsiteY3" fmla="*/ 172235 h 575544"/>
                <a:gd name="connsiteX4" fmla="*/ 83683 w 313526"/>
                <a:gd name="connsiteY4" fmla="*/ 312070 h 575544"/>
                <a:gd name="connsiteX5" fmla="*/ 140212 w 313526"/>
                <a:gd name="connsiteY5" fmla="*/ 561987 h 575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3526" h="575544">
                  <a:moveTo>
                    <a:pt x="140212" y="561987"/>
                  </a:moveTo>
                  <a:cubicBezTo>
                    <a:pt x="291948" y="532235"/>
                    <a:pt x="318724" y="288268"/>
                    <a:pt x="312774" y="225789"/>
                  </a:cubicBezTo>
                  <a:cubicBezTo>
                    <a:pt x="291948" y="65128"/>
                    <a:pt x="113435" y="-30079"/>
                    <a:pt x="377" y="8599"/>
                  </a:cubicBezTo>
                  <a:cubicBezTo>
                    <a:pt x="-2598" y="8599"/>
                    <a:pt x="12278" y="124632"/>
                    <a:pt x="36080" y="172235"/>
                  </a:cubicBezTo>
                  <a:cubicBezTo>
                    <a:pt x="56906" y="216863"/>
                    <a:pt x="74757" y="264467"/>
                    <a:pt x="83683" y="312070"/>
                  </a:cubicBezTo>
                  <a:cubicBezTo>
                    <a:pt x="92609" y="362648"/>
                    <a:pt x="45005" y="639343"/>
                    <a:pt x="140212" y="561987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3E93696F-D0CD-4FE1-BA12-CFB8C89D767A}"/>
                </a:ext>
              </a:extLst>
            </p:cNvPr>
            <p:cNvSpPr/>
            <p:nvPr/>
          </p:nvSpPr>
          <p:spPr>
            <a:xfrm>
              <a:off x="3984808" y="2356863"/>
              <a:ext cx="412400" cy="554568"/>
            </a:xfrm>
            <a:custGeom>
              <a:avLst/>
              <a:gdLst>
                <a:gd name="connsiteX0" fmla="*/ 404628 w 412400"/>
                <a:gd name="connsiteY0" fmla="*/ 179381 h 554568"/>
                <a:gd name="connsiteX1" fmla="*/ 392727 w 412400"/>
                <a:gd name="connsiteY1" fmla="*/ 429298 h 554568"/>
                <a:gd name="connsiteX2" fmla="*/ 246942 w 412400"/>
                <a:gd name="connsiteY2" fmla="*/ 554257 h 554568"/>
                <a:gd name="connsiteX3" fmla="*/ 35703 w 412400"/>
                <a:gd name="connsiteY3" fmla="*/ 414422 h 554568"/>
                <a:gd name="connsiteX4" fmla="*/ 0 w 412400"/>
                <a:gd name="connsiteY4" fmla="*/ 194257 h 554568"/>
                <a:gd name="connsiteX5" fmla="*/ 208264 w 412400"/>
                <a:gd name="connsiteY5" fmla="*/ 868 h 554568"/>
                <a:gd name="connsiteX6" fmla="*/ 404628 w 412400"/>
                <a:gd name="connsiteY6" fmla="*/ 179381 h 55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400" h="554568">
                  <a:moveTo>
                    <a:pt x="404628" y="179381"/>
                  </a:moveTo>
                  <a:cubicBezTo>
                    <a:pt x="404628" y="179381"/>
                    <a:pt x="428430" y="363843"/>
                    <a:pt x="392727" y="429298"/>
                  </a:cubicBezTo>
                  <a:cubicBezTo>
                    <a:pt x="357025" y="494753"/>
                    <a:pt x="297521" y="551281"/>
                    <a:pt x="246942" y="554257"/>
                  </a:cubicBezTo>
                  <a:cubicBezTo>
                    <a:pt x="181488" y="560207"/>
                    <a:pt x="71405" y="479877"/>
                    <a:pt x="35703" y="414422"/>
                  </a:cubicBezTo>
                  <a:cubicBezTo>
                    <a:pt x="0" y="348967"/>
                    <a:pt x="0" y="244835"/>
                    <a:pt x="0" y="194257"/>
                  </a:cubicBezTo>
                  <a:cubicBezTo>
                    <a:pt x="2975" y="102025"/>
                    <a:pt x="29752" y="24670"/>
                    <a:pt x="208264" y="868"/>
                  </a:cubicBezTo>
                  <a:cubicBezTo>
                    <a:pt x="291570" y="-11033"/>
                    <a:pt x="383802" y="102025"/>
                    <a:pt x="404628" y="179381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44CC5509-115A-4772-ACC7-C87D01B54832}"/>
                </a:ext>
              </a:extLst>
            </p:cNvPr>
            <p:cNvSpPr/>
            <p:nvPr/>
          </p:nvSpPr>
          <p:spPr>
            <a:xfrm>
              <a:off x="4204974" y="2619549"/>
              <a:ext cx="53553" cy="127933"/>
            </a:xfrm>
            <a:custGeom>
              <a:avLst/>
              <a:gdLst>
                <a:gd name="connsiteX0" fmla="*/ 29752 w 53553"/>
                <a:gd name="connsiteY0" fmla="*/ 127934 h 127933"/>
                <a:gd name="connsiteX1" fmla="*/ 5950 w 53553"/>
                <a:gd name="connsiteY1" fmla="*/ 124959 h 127933"/>
                <a:gd name="connsiteX2" fmla="*/ 0 w 53553"/>
                <a:gd name="connsiteY2" fmla="*/ 119008 h 127933"/>
                <a:gd name="connsiteX3" fmla="*/ 5950 w 53553"/>
                <a:gd name="connsiteY3" fmla="*/ 113058 h 127933"/>
                <a:gd name="connsiteX4" fmla="*/ 44628 w 53553"/>
                <a:gd name="connsiteY4" fmla="*/ 113058 h 127933"/>
                <a:gd name="connsiteX5" fmla="*/ 44628 w 53553"/>
                <a:gd name="connsiteY5" fmla="*/ 110083 h 127933"/>
                <a:gd name="connsiteX6" fmla="*/ 17851 w 53553"/>
                <a:gd name="connsiteY6" fmla="*/ 5950 h 127933"/>
                <a:gd name="connsiteX7" fmla="*/ 20826 w 53553"/>
                <a:gd name="connsiteY7" fmla="*/ 0 h 127933"/>
                <a:gd name="connsiteX8" fmla="*/ 26777 w 53553"/>
                <a:gd name="connsiteY8" fmla="*/ 2975 h 127933"/>
                <a:gd name="connsiteX9" fmla="*/ 53554 w 53553"/>
                <a:gd name="connsiteY9" fmla="*/ 110083 h 127933"/>
                <a:gd name="connsiteX10" fmla="*/ 47603 w 53553"/>
                <a:gd name="connsiteY10" fmla="*/ 121983 h 127933"/>
                <a:gd name="connsiteX11" fmla="*/ 29752 w 53553"/>
                <a:gd name="connsiteY11" fmla="*/ 127934 h 127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553" h="127933">
                  <a:moveTo>
                    <a:pt x="29752" y="127934"/>
                  </a:moveTo>
                  <a:cubicBezTo>
                    <a:pt x="17851" y="127934"/>
                    <a:pt x="8925" y="124959"/>
                    <a:pt x="5950" y="124959"/>
                  </a:cubicBezTo>
                  <a:cubicBezTo>
                    <a:pt x="2975" y="124959"/>
                    <a:pt x="0" y="121983"/>
                    <a:pt x="0" y="119008"/>
                  </a:cubicBezTo>
                  <a:cubicBezTo>
                    <a:pt x="0" y="116033"/>
                    <a:pt x="2975" y="113058"/>
                    <a:pt x="5950" y="113058"/>
                  </a:cubicBezTo>
                  <a:cubicBezTo>
                    <a:pt x="17851" y="116033"/>
                    <a:pt x="38678" y="116033"/>
                    <a:pt x="44628" y="113058"/>
                  </a:cubicBezTo>
                  <a:cubicBezTo>
                    <a:pt x="44628" y="113058"/>
                    <a:pt x="44628" y="110083"/>
                    <a:pt x="44628" y="110083"/>
                  </a:cubicBezTo>
                  <a:cubicBezTo>
                    <a:pt x="44628" y="95207"/>
                    <a:pt x="23802" y="29752"/>
                    <a:pt x="17851" y="5950"/>
                  </a:cubicBezTo>
                  <a:cubicBezTo>
                    <a:pt x="17851" y="2975"/>
                    <a:pt x="17851" y="0"/>
                    <a:pt x="20826" y="0"/>
                  </a:cubicBezTo>
                  <a:cubicBezTo>
                    <a:pt x="23802" y="0"/>
                    <a:pt x="26777" y="0"/>
                    <a:pt x="26777" y="2975"/>
                  </a:cubicBezTo>
                  <a:cubicBezTo>
                    <a:pt x="26777" y="5950"/>
                    <a:pt x="53554" y="89256"/>
                    <a:pt x="53554" y="110083"/>
                  </a:cubicBezTo>
                  <a:cubicBezTo>
                    <a:pt x="53554" y="116033"/>
                    <a:pt x="50578" y="119008"/>
                    <a:pt x="47603" y="121983"/>
                  </a:cubicBezTo>
                  <a:cubicBezTo>
                    <a:pt x="47603" y="124959"/>
                    <a:pt x="38678" y="127934"/>
                    <a:pt x="29752" y="127934"/>
                  </a:cubicBezTo>
                  <a:close/>
                </a:path>
              </a:pathLst>
            </a:custGeom>
            <a:solidFill>
              <a:srgbClr val="E58777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0E917800-38D4-421D-9A3A-D1EFC2748DAE}"/>
                </a:ext>
              </a:extLst>
            </p:cNvPr>
            <p:cNvSpPr/>
            <p:nvPr/>
          </p:nvSpPr>
          <p:spPr>
            <a:xfrm>
              <a:off x="4178197" y="2795087"/>
              <a:ext cx="104132" cy="53553"/>
            </a:xfrm>
            <a:custGeom>
              <a:avLst/>
              <a:gdLst>
                <a:gd name="connsiteX0" fmla="*/ 0 w 104132"/>
                <a:gd name="connsiteY0" fmla="*/ 0 h 53553"/>
                <a:gd name="connsiteX1" fmla="*/ 104132 w 104132"/>
                <a:gd name="connsiteY1" fmla="*/ 0 h 53553"/>
                <a:gd name="connsiteX2" fmla="*/ 53554 w 104132"/>
                <a:gd name="connsiteY2" fmla="*/ 53554 h 53553"/>
                <a:gd name="connsiteX3" fmla="*/ 0 w 104132"/>
                <a:gd name="connsiteY3" fmla="*/ 0 h 5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132" h="53553">
                  <a:moveTo>
                    <a:pt x="0" y="0"/>
                  </a:moveTo>
                  <a:cubicBezTo>
                    <a:pt x="53554" y="23802"/>
                    <a:pt x="104132" y="0"/>
                    <a:pt x="104132" y="0"/>
                  </a:cubicBezTo>
                  <a:cubicBezTo>
                    <a:pt x="104132" y="0"/>
                    <a:pt x="89256" y="53554"/>
                    <a:pt x="53554" y="53554"/>
                  </a:cubicBezTo>
                  <a:cubicBezTo>
                    <a:pt x="11901" y="5355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4E477521-8259-45F5-9A87-31A5FE4EF9AA}"/>
                </a:ext>
              </a:extLst>
            </p:cNvPr>
            <p:cNvSpPr/>
            <p:nvPr/>
          </p:nvSpPr>
          <p:spPr>
            <a:xfrm>
              <a:off x="4293472" y="2592189"/>
              <a:ext cx="40193" cy="40019"/>
            </a:xfrm>
            <a:custGeom>
              <a:avLst/>
              <a:gdLst>
                <a:gd name="connsiteX0" fmla="*/ 758 w 40193"/>
                <a:gd name="connsiteY0" fmla="*/ 24385 h 40019"/>
                <a:gd name="connsiteX1" fmla="*/ 24560 w 40193"/>
                <a:gd name="connsiteY1" fmla="*/ 39261 h 40019"/>
                <a:gd name="connsiteX2" fmla="*/ 39436 w 40193"/>
                <a:gd name="connsiteY2" fmla="*/ 15460 h 40019"/>
                <a:gd name="connsiteX3" fmla="*/ 15634 w 40193"/>
                <a:gd name="connsiteY3" fmla="*/ 584 h 40019"/>
                <a:gd name="connsiteX4" fmla="*/ 758 w 40193"/>
                <a:gd name="connsiteY4" fmla="*/ 24385 h 4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93" h="40019">
                  <a:moveTo>
                    <a:pt x="758" y="24385"/>
                  </a:moveTo>
                  <a:cubicBezTo>
                    <a:pt x="3733" y="36286"/>
                    <a:pt x="12659" y="42236"/>
                    <a:pt x="24560" y="39261"/>
                  </a:cubicBezTo>
                  <a:cubicBezTo>
                    <a:pt x="36461" y="36286"/>
                    <a:pt x="42411" y="27360"/>
                    <a:pt x="39436" y="15460"/>
                  </a:cubicBezTo>
                  <a:cubicBezTo>
                    <a:pt x="36461" y="6534"/>
                    <a:pt x="27535" y="-2392"/>
                    <a:pt x="15634" y="584"/>
                  </a:cubicBezTo>
                  <a:cubicBezTo>
                    <a:pt x="3733" y="3559"/>
                    <a:pt x="-2217" y="12484"/>
                    <a:pt x="758" y="24385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60D5A2E2-0B1D-4F23-B502-E0E0B0BB20B9}"/>
                </a:ext>
              </a:extLst>
            </p:cNvPr>
            <p:cNvSpPr/>
            <p:nvPr/>
          </p:nvSpPr>
          <p:spPr>
            <a:xfrm>
              <a:off x="4109009" y="2598139"/>
              <a:ext cx="40194" cy="40019"/>
            </a:xfrm>
            <a:custGeom>
              <a:avLst/>
              <a:gdLst>
                <a:gd name="connsiteX0" fmla="*/ 758 w 40194"/>
                <a:gd name="connsiteY0" fmla="*/ 24385 h 40019"/>
                <a:gd name="connsiteX1" fmla="*/ 24560 w 40194"/>
                <a:gd name="connsiteY1" fmla="*/ 39261 h 40019"/>
                <a:gd name="connsiteX2" fmla="*/ 39436 w 40194"/>
                <a:gd name="connsiteY2" fmla="*/ 15460 h 40019"/>
                <a:gd name="connsiteX3" fmla="*/ 15634 w 40194"/>
                <a:gd name="connsiteY3" fmla="*/ 584 h 40019"/>
                <a:gd name="connsiteX4" fmla="*/ 758 w 40194"/>
                <a:gd name="connsiteY4" fmla="*/ 24385 h 4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94" h="40019">
                  <a:moveTo>
                    <a:pt x="758" y="24385"/>
                  </a:moveTo>
                  <a:cubicBezTo>
                    <a:pt x="3733" y="36286"/>
                    <a:pt x="12659" y="42236"/>
                    <a:pt x="24560" y="39261"/>
                  </a:cubicBezTo>
                  <a:cubicBezTo>
                    <a:pt x="36461" y="36286"/>
                    <a:pt x="42411" y="27360"/>
                    <a:pt x="39436" y="15460"/>
                  </a:cubicBezTo>
                  <a:cubicBezTo>
                    <a:pt x="36461" y="6534"/>
                    <a:pt x="27535" y="-2392"/>
                    <a:pt x="15634" y="584"/>
                  </a:cubicBezTo>
                  <a:cubicBezTo>
                    <a:pt x="3733" y="3559"/>
                    <a:pt x="-2217" y="12484"/>
                    <a:pt x="758" y="24385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DB3580C2-569F-4DF8-8721-6DC46DD17C3C}"/>
                </a:ext>
              </a:extLst>
            </p:cNvPr>
            <p:cNvSpPr/>
            <p:nvPr/>
          </p:nvSpPr>
          <p:spPr>
            <a:xfrm>
              <a:off x="4269196" y="2548144"/>
              <a:ext cx="89744" cy="29752"/>
            </a:xfrm>
            <a:custGeom>
              <a:avLst/>
              <a:gdLst>
                <a:gd name="connsiteX0" fmla="*/ 81563 w 89744"/>
                <a:gd name="connsiteY0" fmla="*/ 29752 h 29752"/>
                <a:gd name="connsiteX1" fmla="*/ 75613 w 89744"/>
                <a:gd name="connsiteY1" fmla="*/ 26777 h 29752"/>
                <a:gd name="connsiteX2" fmla="*/ 10158 w 89744"/>
                <a:gd name="connsiteY2" fmla="*/ 20826 h 29752"/>
                <a:gd name="connsiteX3" fmla="*/ 1232 w 89744"/>
                <a:gd name="connsiteY3" fmla="*/ 17851 h 29752"/>
                <a:gd name="connsiteX4" fmla="*/ 4208 w 89744"/>
                <a:gd name="connsiteY4" fmla="*/ 8926 h 29752"/>
                <a:gd name="connsiteX5" fmla="*/ 87513 w 89744"/>
                <a:gd name="connsiteY5" fmla="*/ 17851 h 29752"/>
                <a:gd name="connsiteX6" fmla="*/ 87513 w 89744"/>
                <a:gd name="connsiteY6" fmla="*/ 29752 h 29752"/>
                <a:gd name="connsiteX7" fmla="*/ 81563 w 89744"/>
                <a:gd name="connsiteY7" fmla="*/ 29752 h 29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29752">
                  <a:moveTo>
                    <a:pt x="81563" y="29752"/>
                  </a:moveTo>
                  <a:cubicBezTo>
                    <a:pt x="78588" y="29752"/>
                    <a:pt x="78588" y="29752"/>
                    <a:pt x="75613" y="26777"/>
                  </a:cubicBezTo>
                  <a:cubicBezTo>
                    <a:pt x="51811" y="0"/>
                    <a:pt x="13133" y="17851"/>
                    <a:pt x="10158" y="20826"/>
                  </a:cubicBezTo>
                  <a:cubicBezTo>
                    <a:pt x="7183" y="23802"/>
                    <a:pt x="1232" y="20826"/>
                    <a:pt x="1232" y="17851"/>
                  </a:cubicBezTo>
                  <a:cubicBezTo>
                    <a:pt x="-1743" y="14876"/>
                    <a:pt x="1232" y="8926"/>
                    <a:pt x="4208" y="8926"/>
                  </a:cubicBezTo>
                  <a:cubicBezTo>
                    <a:pt x="22059" y="0"/>
                    <a:pt x="60736" y="-8926"/>
                    <a:pt x="87513" y="17851"/>
                  </a:cubicBezTo>
                  <a:cubicBezTo>
                    <a:pt x="90489" y="20826"/>
                    <a:pt x="90489" y="26777"/>
                    <a:pt x="87513" y="29752"/>
                  </a:cubicBezTo>
                  <a:cubicBezTo>
                    <a:pt x="84538" y="26777"/>
                    <a:pt x="81563" y="29752"/>
                    <a:pt x="81563" y="29752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70D6A3E6-5014-4B44-A227-267B8F0D607B}"/>
                </a:ext>
              </a:extLst>
            </p:cNvPr>
            <p:cNvSpPr/>
            <p:nvPr/>
          </p:nvSpPr>
          <p:spPr>
            <a:xfrm>
              <a:off x="4080759" y="2543186"/>
              <a:ext cx="89744" cy="34710"/>
            </a:xfrm>
            <a:custGeom>
              <a:avLst/>
              <a:gdLst>
                <a:gd name="connsiteX0" fmla="*/ 8182 w 89744"/>
                <a:gd name="connsiteY0" fmla="*/ 34711 h 34710"/>
                <a:gd name="connsiteX1" fmla="*/ 2231 w 89744"/>
                <a:gd name="connsiteY1" fmla="*/ 31736 h 34710"/>
                <a:gd name="connsiteX2" fmla="*/ 2231 w 89744"/>
                <a:gd name="connsiteY2" fmla="*/ 19835 h 34710"/>
                <a:gd name="connsiteX3" fmla="*/ 85537 w 89744"/>
                <a:gd name="connsiteY3" fmla="*/ 10909 h 34710"/>
                <a:gd name="connsiteX4" fmla="*/ 88512 w 89744"/>
                <a:gd name="connsiteY4" fmla="*/ 22810 h 34710"/>
                <a:gd name="connsiteX5" fmla="*/ 76612 w 89744"/>
                <a:gd name="connsiteY5" fmla="*/ 25785 h 34710"/>
                <a:gd name="connsiteX6" fmla="*/ 11157 w 89744"/>
                <a:gd name="connsiteY6" fmla="*/ 31736 h 34710"/>
                <a:gd name="connsiteX7" fmla="*/ 8182 w 89744"/>
                <a:gd name="connsiteY7" fmla="*/ 34711 h 3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4710">
                  <a:moveTo>
                    <a:pt x="8182" y="34711"/>
                  </a:moveTo>
                  <a:cubicBezTo>
                    <a:pt x="5207" y="34711"/>
                    <a:pt x="5207" y="34711"/>
                    <a:pt x="2231" y="31736"/>
                  </a:cubicBezTo>
                  <a:cubicBezTo>
                    <a:pt x="-744" y="28760"/>
                    <a:pt x="-744" y="22810"/>
                    <a:pt x="2231" y="19835"/>
                  </a:cubicBezTo>
                  <a:cubicBezTo>
                    <a:pt x="14132" y="7934"/>
                    <a:pt x="49835" y="-12893"/>
                    <a:pt x="85537" y="10909"/>
                  </a:cubicBezTo>
                  <a:cubicBezTo>
                    <a:pt x="88512" y="13884"/>
                    <a:pt x="91488" y="16859"/>
                    <a:pt x="88512" y="22810"/>
                  </a:cubicBezTo>
                  <a:cubicBezTo>
                    <a:pt x="85537" y="25785"/>
                    <a:pt x="82562" y="28760"/>
                    <a:pt x="76612" y="25785"/>
                  </a:cubicBezTo>
                  <a:cubicBezTo>
                    <a:pt x="40909" y="1983"/>
                    <a:pt x="14132" y="31736"/>
                    <a:pt x="11157" y="31736"/>
                  </a:cubicBezTo>
                  <a:cubicBezTo>
                    <a:pt x="14132" y="34711"/>
                    <a:pt x="11157" y="34711"/>
                    <a:pt x="8182" y="34711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D14C8FEC-B004-4CFA-9AC5-3A1336007775}"/>
                </a:ext>
              </a:extLst>
            </p:cNvPr>
            <p:cNvSpPr/>
            <p:nvPr/>
          </p:nvSpPr>
          <p:spPr>
            <a:xfrm>
              <a:off x="4145388" y="2305061"/>
              <a:ext cx="268187" cy="269860"/>
            </a:xfrm>
            <a:custGeom>
              <a:avLst/>
              <a:gdLst>
                <a:gd name="connsiteX0" fmla="*/ 3057 w 268187"/>
                <a:gd name="connsiteY0" fmla="*/ 2091 h 269860"/>
                <a:gd name="connsiteX1" fmla="*/ 35784 w 268187"/>
                <a:gd name="connsiteY1" fmla="*/ 144901 h 269860"/>
                <a:gd name="connsiteX2" fmla="*/ 267850 w 268187"/>
                <a:gd name="connsiteY2" fmla="*/ 269860 h 269860"/>
                <a:gd name="connsiteX3" fmla="*/ 3057 w 268187"/>
                <a:gd name="connsiteY3" fmla="*/ 2091 h 269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187" h="269860">
                  <a:moveTo>
                    <a:pt x="3057" y="2091"/>
                  </a:moveTo>
                  <a:cubicBezTo>
                    <a:pt x="3057" y="2091"/>
                    <a:pt x="-14795" y="106224"/>
                    <a:pt x="35784" y="144901"/>
                  </a:cubicBezTo>
                  <a:cubicBezTo>
                    <a:pt x="35784" y="144901"/>
                    <a:pt x="241073" y="186554"/>
                    <a:pt x="267850" y="269860"/>
                  </a:cubicBezTo>
                  <a:cubicBezTo>
                    <a:pt x="267850" y="269860"/>
                    <a:pt x="288676" y="-27661"/>
                    <a:pt x="3057" y="2091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3179F596-6534-41A1-BF0B-B6EEADE67571}"/>
                </a:ext>
              </a:extLst>
            </p:cNvPr>
            <p:cNvSpPr/>
            <p:nvPr/>
          </p:nvSpPr>
          <p:spPr>
            <a:xfrm>
              <a:off x="3891219" y="2307153"/>
              <a:ext cx="289952" cy="342597"/>
            </a:xfrm>
            <a:custGeom>
              <a:avLst/>
              <a:gdLst>
                <a:gd name="connsiteX0" fmla="*/ 289953 w 289952"/>
                <a:gd name="connsiteY0" fmla="*/ 142810 h 342597"/>
                <a:gd name="connsiteX1" fmla="*/ 153093 w 289952"/>
                <a:gd name="connsiteY1" fmla="*/ 196364 h 342597"/>
                <a:gd name="connsiteX2" fmla="*/ 96564 w 289952"/>
                <a:gd name="connsiteY2" fmla="*/ 312397 h 342597"/>
                <a:gd name="connsiteX3" fmla="*/ 10283 w 289952"/>
                <a:gd name="connsiteY3" fmla="*/ 333223 h 342597"/>
                <a:gd name="connsiteX4" fmla="*/ 260201 w 289952"/>
                <a:gd name="connsiteY4" fmla="*/ 0 h 342597"/>
                <a:gd name="connsiteX5" fmla="*/ 289953 w 289952"/>
                <a:gd name="connsiteY5" fmla="*/ 142810 h 34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952" h="342597">
                  <a:moveTo>
                    <a:pt x="289953" y="142810"/>
                  </a:moveTo>
                  <a:cubicBezTo>
                    <a:pt x="289953" y="142810"/>
                    <a:pt x="200696" y="190413"/>
                    <a:pt x="153093" y="196364"/>
                  </a:cubicBezTo>
                  <a:cubicBezTo>
                    <a:pt x="102515" y="202314"/>
                    <a:pt x="96564" y="312397"/>
                    <a:pt x="96564" y="312397"/>
                  </a:cubicBezTo>
                  <a:cubicBezTo>
                    <a:pt x="96564" y="312397"/>
                    <a:pt x="25159" y="362975"/>
                    <a:pt x="10283" y="333223"/>
                  </a:cubicBezTo>
                  <a:cubicBezTo>
                    <a:pt x="-22444" y="267769"/>
                    <a:pt x="13258" y="0"/>
                    <a:pt x="260201" y="0"/>
                  </a:cubicBezTo>
                  <a:cubicBezTo>
                    <a:pt x="257225" y="0"/>
                    <a:pt x="266151" y="139835"/>
                    <a:pt x="289953" y="142810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3CB4F8FE-0405-4467-86A5-A2F96E01E729}"/>
                </a:ext>
              </a:extLst>
            </p:cNvPr>
            <p:cNvSpPr/>
            <p:nvPr/>
          </p:nvSpPr>
          <p:spPr>
            <a:xfrm>
              <a:off x="4082990" y="2839715"/>
              <a:ext cx="216446" cy="77355"/>
            </a:xfrm>
            <a:custGeom>
              <a:avLst/>
              <a:gdLst>
                <a:gd name="connsiteX0" fmla="*/ 145785 w 216446"/>
                <a:gd name="connsiteY0" fmla="*/ 77355 h 77355"/>
                <a:gd name="connsiteX1" fmla="*/ 136860 w 216446"/>
                <a:gd name="connsiteY1" fmla="*/ 77355 h 77355"/>
                <a:gd name="connsiteX2" fmla="*/ 2975 w 216446"/>
                <a:gd name="connsiteY2" fmla="*/ 11901 h 77355"/>
                <a:gd name="connsiteX3" fmla="*/ 0 w 216446"/>
                <a:gd name="connsiteY3" fmla="*/ 2975 h 77355"/>
                <a:gd name="connsiteX4" fmla="*/ 8926 w 216446"/>
                <a:gd name="connsiteY4" fmla="*/ 0 h 77355"/>
                <a:gd name="connsiteX5" fmla="*/ 136860 w 216446"/>
                <a:gd name="connsiteY5" fmla="*/ 65455 h 77355"/>
                <a:gd name="connsiteX6" fmla="*/ 205289 w 216446"/>
                <a:gd name="connsiteY6" fmla="*/ 41653 h 77355"/>
                <a:gd name="connsiteX7" fmla="*/ 214215 w 216446"/>
                <a:gd name="connsiteY7" fmla="*/ 41653 h 77355"/>
                <a:gd name="connsiteX8" fmla="*/ 214215 w 216446"/>
                <a:gd name="connsiteY8" fmla="*/ 50579 h 77355"/>
                <a:gd name="connsiteX9" fmla="*/ 145785 w 216446"/>
                <a:gd name="connsiteY9" fmla="*/ 77355 h 77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446" h="77355">
                  <a:moveTo>
                    <a:pt x="145785" y="77355"/>
                  </a:moveTo>
                  <a:cubicBezTo>
                    <a:pt x="142810" y="77355"/>
                    <a:pt x="139835" y="77355"/>
                    <a:pt x="136860" y="77355"/>
                  </a:cubicBezTo>
                  <a:cubicBezTo>
                    <a:pt x="95207" y="71405"/>
                    <a:pt x="5950" y="11901"/>
                    <a:pt x="2975" y="11901"/>
                  </a:cubicBezTo>
                  <a:cubicBezTo>
                    <a:pt x="0" y="8926"/>
                    <a:pt x="0" y="5950"/>
                    <a:pt x="0" y="2975"/>
                  </a:cubicBezTo>
                  <a:cubicBezTo>
                    <a:pt x="2975" y="0"/>
                    <a:pt x="5950" y="0"/>
                    <a:pt x="8926" y="0"/>
                  </a:cubicBezTo>
                  <a:cubicBezTo>
                    <a:pt x="8926" y="0"/>
                    <a:pt x="101157" y="59504"/>
                    <a:pt x="136860" y="65455"/>
                  </a:cubicBezTo>
                  <a:cubicBezTo>
                    <a:pt x="172562" y="71405"/>
                    <a:pt x="205289" y="41653"/>
                    <a:pt x="205289" y="41653"/>
                  </a:cubicBezTo>
                  <a:cubicBezTo>
                    <a:pt x="208265" y="38678"/>
                    <a:pt x="211240" y="38678"/>
                    <a:pt x="214215" y="41653"/>
                  </a:cubicBezTo>
                  <a:cubicBezTo>
                    <a:pt x="217190" y="44628"/>
                    <a:pt x="217190" y="47603"/>
                    <a:pt x="214215" y="50579"/>
                  </a:cubicBezTo>
                  <a:cubicBezTo>
                    <a:pt x="211240" y="50579"/>
                    <a:pt x="181488" y="77355"/>
                    <a:pt x="145785" y="77355"/>
                  </a:cubicBezTo>
                  <a:close/>
                </a:path>
              </a:pathLst>
            </a:custGeom>
            <a:solidFill>
              <a:srgbClr val="E58777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6C828D7D-9AA8-436B-9FEE-C504B050BDEA}"/>
                </a:ext>
              </a:extLst>
            </p:cNvPr>
            <p:cNvSpPr/>
            <p:nvPr/>
          </p:nvSpPr>
          <p:spPr>
            <a:xfrm>
              <a:off x="3947776" y="2606200"/>
              <a:ext cx="75710" cy="111296"/>
            </a:xfrm>
            <a:custGeom>
              <a:avLst/>
              <a:gdLst>
                <a:gd name="connsiteX0" fmla="*/ 63810 w 75710"/>
                <a:gd name="connsiteY0" fmla="*/ 16325 h 111296"/>
                <a:gd name="connsiteX1" fmla="*/ 7281 w 75710"/>
                <a:gd name="connsiteY1" fmla="*/ 7399 h 111296"/>
                <a:gd name="connsiteX2" fmla="*/ 63810 w 75710"/>
                <a:gd name="connsiteY2" fmla="*/ 108556 h 111296"/>
                <a:gd name="connsiteX3" fmla="*/ 63810 w 75710"/>
                <a:gd name="connsiteY3" fmla="*/ 16325 h 111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710" h="111296">
                  <a:moveTo>
                    <a:pt x="63810" y="16325"/>
                  </a:moveTo>
                  <a:cubicBezTo>
                    <a:pt x="63810" y="16325"/>
                    <a:pt x="31082" y="-13427"/>
                    <a:pt x="7281" y="7399"/>
                  </a:cubicBezTo>
                  <a:cubicBezTo>
                    <a:pt x="-16521" y="25250"/>
                    <a:pt x="22157" y="129383"/>
                    <a:pt x="63810" y="108556"/>
                  </a:cubicBezTo>
                  <a:cubicBezTo>
                    <a:pt x="90586" y="87730"/>
                    <a:pt x="63810" y="16325"/>
                    <a:pt x="63810" y="16325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965648AA-377D-4F3B-9460-2C6027AC3141}"/>
                </a:ext>
              </a:extLst>
            </p:cNvPr>
            <p:cNvSpPr/>
            <p:nvPr/>
          </p:nvSpPr>
          <p:spPr>
            <a:xfrm>
              <a:off x="4301923" y="2487408"/>
              <a:ext cx="144042" cy="161893"/>
            </a:xfrm>
            <a:custGeom>
              <a:avLst/>
              <a:gdLst>
                <a:gd name="connsiteX0" fmla="*/ 138092 w 144042"/>
                <a:gd name="connsiteY0" fmla="*/ 161894 h 161893"/>
                <a:gd name="connsiteX1" fmla="*/ 132141 w 144042"/>
                <a:gd name="connsiteY1" fmla="*/ 155943 h 161893"/>
                <a:gd name="connsiteX2" fmla="*/ 4208 w 144042"/>
                <a:gd name="connsiteY2" fmla="*/ 10158 h 161893"/>
                <a:gd name="connsiteX3" fmla="*/ 1232 w 144042"/>
                <a:gd name="connsiteY3" fmla="*/ 4208 h 161893"/>
                <a:gd name="connsiteX4" fmla="*/ 7183 w 144042"/>
                <a:gd name="connsiteY4" fmla="*/ 1232 h 161893"/>
                <a:gd name="connsiteX5" fmla="*/ 144042 w 144042"/>
                <a:gd name="connsiteY5" fmla="*/ 155943 h 161893"/>
                <a:gd name="connsiteX6" fmla="*/ 138092 w 144042"/>
                <a:gd name="connsiteY6" fmla="*/ 161894 h 161893"/>
                <a:gd name="connsiteX7" fmla="*/ 138092 w 144042"/>
                <a:gd name="connsiteY7" fmla="*/ 161894 h 161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042" h="161893">
                  <a:moveTo>
                    <a:pt x="138092" y="161894"/>
                  </a:moveTo>
                  <a:cubicBezTo>
                    <a:pt x="135117" y="161894"/>
                    <a:pt x="132141" y="158918"/>
                    <a:pt x="132141" y="155943"/>
                  </a:cubicBezTo>
                  <a:cubicBezTo>
                    <a:pt x="108340" y="36935"/>
                    <a:pt x="4208" y="10158"/>
                    <a:pt x="4208" y="10158"/>
                  </a:cubicBezTo>
                  <a:cubicBezTo>
                    <a:pt x="1232" y="10158"/>
                    <a:pt x="-1743" y="7183"/>
                    <a:pt x="1232" y="4208"/>
                  </a:cubicBezTo>
                  <a:cubicBezTo>
                    <a:pt x="1232" y="1232"/>
                    <a:pt x="4208" y="-1743"/>
                    <a:pt x="7183" y="1232"/>
                  </a:cubicBezTo>
                  <a:cubicBezTo>
                    <a:pt x="7183" y="1232"/>
                    <a:pt x="120241" y="30984"/>
                    <a:pt x="144042" y="155943"/>
                  </a:cubicBezTo>
                  <a:cubicBezTo>
                    <a:pt x="144042" y="155943"/>
                    <a:pt x="144042" y="158918"/>
                    <a:pt x="138092" y="161894"/>
                  </a:cubicBezTo>
                  <a:cubicBezTo>
                    <a:pt x="141067" y="161894"/>
                    <a:pt x="138092" y="161894"/>
                    <a:pt x="138092" y="161894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EFC9EFD3-DA6D-46FD-8BC2-828D9ADCCD25}"/>
                </a:ext>
              </a:extLst>
            </p:cNvPr>
            <p:cNvSpPr/>
            <p:nvPr/>
          </p:nvSpPr>
          <p:spPr>
            <a:xfrm>
              <a:off x="4321007" y="2902194"/>
              <a:ext cx="233603" cy="401652"/>
            </a:xfrm>
            <a:custGeom>
              <a:avLst/>
              <a:gdLst>
                <a:gd name="connsiteX0" fmla="*/ 32727 w 233603"/>
                <a:gd name="connsiteY0" fmla="*/ 0 h 401652"/>
                <a:gd name="connsiteX1" fmla="*/ 205289 w 233603"/>
                <a:gd name="connsiteY1" fmla="*/ 190413 h 401652"/>
                <a:gd name="connsiteX2" fmla="*/ 223141 w 233603"/>
                <a:gd name="connsiteY2" fmla="*/ 380826 h 401652"/>
                <a:gd name="connsiteX3" fmla="*/ 178512 w 233603"/>
                <a:gd name="connsiteY3" fmla="*/ 380826 h 401652"/>
                <a:gd name="connsiteX4" fmla="*/ 104132 w 233603"/>
                <a:gd name="connsiteY4" fmla="*/ 401653 h 401652"/>
                <a:gd name="connsiteX5" fmla="*/ 62479 w 233603"/>
                <a:gd name="connsiteY5" fmla="*/ 374876 h 401652"/>
                <a:gd name="connsiteX6" fmla="*/ 0 w 233603"/>
                <a:gd name="connsiteY6" fmla="*/ 35702 h 401652"/>
                <a:gd name="connsiteX7" fmla="*/ 32727 w 233603"/>
                <a:gd name="connsiteY7" fmla="*/ 0 h 40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3603" h="401652">
                  <a:moveTo>
                    <a:pt x="32727" y="0"/>
                  </a:moveTo>
                  <a:cubicBezTo>
                    <a:pt x="32727" y="0"/>
                    <a:pt x="169587" y="89256"/>
                    <a:pt x="205289" y="190413"/>
                  </a:cubicBezTo>
                  <a:cubicBezTo>
                    <a:pt x="240992" y="294545"/>
                    <a:pt x="238017" y="371901"/>
                    <a:pt x="223141" y="380826"/>
                  </a:cubicBezTo>
                  <a:cubicBezTo>
                    <a:pt x="211240" y="389752"/>
                    <a:pt x="196364" y="371901"/>
                    <a:pt x="178512" y="380826"/>
                  </a:cubicBezTo>
                  <a:cubicBezTo>
                    <a:pt x="160661" y="389752"/>
                    <a:pt x="116033" y="401653"/>
                    <a:pt x="104132" y="401653"/>
                  </a:cubicBezTo>
                  <a:cubicBezTo>
                    <a:pt x="89256" y="401653"/>
                    <a:pt x="56529" y="386777"/>
                    <a:pt x="62479" y="374876"/>
                  </a:cubicBezTo>
                  <a:cubicBezTo>
                    <a:pt x="68430" y="362975"/>
                    <a:pt x="23802" y="62479"/>
                    <a:pt x="0" y="35702"/>
                  </a:cubicBezTo>
                  <a:lnTo>
                    <a:pt x="32727" y="0"/>
                  </a:ln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5E17A252-EF70-4274-92A7-CCDA43DEB6F9}"/>
                </a:ext>
              </a:extLst>
            </p:cNvPr>
            <p:cNvSpPr/>
            <p:nvPr/>
          </p:nvSpPr>
          <p:spPr>
            <a:xfrm>
              <a:off x="4366379" y="2935665"/>
              <a:ext cx="145041" cy="261074"/>
            </a:xfrm>
            <a:custGeom>
              <a:avLst/>
              <a:gdLst>
                <a:gd name="connsiteX0" fmla="*/ 139091 w 145041"/>
                <a:gd name="connsiteY0" fmla="*/ 261074 h 261074"/>
                <a:gd name="connsiteX1" fmla="*/ 133141 w 145041"/>
                <a:gd name="connsiteY1" fmla="*/ 255124 h 261074"/>
                <a:gd name="connsiteX2" fmla="*/ 2231 w 145041"/>
                <a:gd name="connsiteY2" fmla="*/ 11157 h 261074"/>
                <a:gd name="connsiteX3" fmla="*/ 2231 w 145041"/>
                <a:gd name="connsiteY3" fmla="*/ 2231 h 261074"/>
                <a:gd name="connsiteX4" fmla="*/ 11157 w 145041"/>
                <a:gd name="connsiteY4" fmla="*/ 2231 h 261074"/>
                <a:gd name="connsiteX5" fmla="*/ 145041 w 145041"/>
                <a:gd name="connsiteY5" fmla="*/ 252149 h 261074"/>
                <a:gd name="connsiteX6" fmla="*/ 139091 w 145041"/>
                <a:gd name="connsiteY6" fmla="*/ 261074 h 261074"/>
                <a:gd name="connsiteX7" fmla="*/ 139091 w 145041"/>
                <a:gd name="connsiteY7" fmla="*/ 261074 h 261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041" h="261074">
                  <a:moveTo>
                    <a:pt x="139091" y="261074"/>
                  </a:moveTo>
                  <a:cubicBezTo>
                    <a:pt x="136116" y="261074"/>
                    <a:pt x="133141" y="258099"/>
                    <a:pt x="133141" y="255124"/>
                  </a:cubicBezTo>
                  <a:cubicBezTo>
                    <a:pt x="127190" y="142066"/>
                    <a:pt x="5207" y="11157"/>
                    <a:pt x="2231" y="11157"/>
                  </a:cubicBezTo>
                  <a:cubicBezTo>
                    <a:pt x="-744" y="8182"/>
                    <a:pt x="-744" y="5207"/>
                    <a:pt x="2231" y="2231"/>
                  </a:cubicBezTo>
                  <a:cubicBezTo>
                    <a:pt x="5207" y="-744"/>
                    <a:pt x="8182" y="-744"/>
                    <a:pt x="11157" y="2231"/>
                  </a:cubicBezTo>
                  <a:cubicBezTo>
                    <a:pt x="17107" y="8182"/>
                    <a:pt x="139091" y="136116"/>
                    <a:pt x="145041" y="252149"/>
                  </a:cubicBezTo>
                  <a:cubicBezTo>
                    <a:pt x="145041" y="258099"/>
                    <a:pt x="142066" y="261074"/>
                    <a:pt x="139091" y="261074"/>
                  </a:cubicBezTo>
                  <a:cubicBezTo>
                    <a:pt x="139091" y="261074"/>
                    <a:pt x="139091" y="261074"/>
                    <a:pt x="139091" y="261074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F8029F31-28ED-40C5-86A1-3674D0C0A9FE}"/>
                </a:ext>
              </a:extLst>
            </p:cNvPr>
            <p:cNvSpPr/>
            <p:nvPr/>
          </p:nvSpPr>
          <p:spPr>
            <a:xfrm>
              <a:off x="4307757" y="2886734"/>
              <a:ext cx="102506" cy="76932"/>
            </a:xfrm>
            <a:custGeom>
              <a:avLst/>
              <a:gdLst>
                <a:gd name="connsiteX0" fmla="*/ 102507 w 102506"/>
                <a:gd name="connsiteY0" fmla="*/ 15460 h 76932"/>
                <a:gd name="connsiteX1" fmla="*/ 84655 w 102506"/>
                <a:gd name="connsiteY1" fmla="*/ 584 h 76932"/>
                <a:gd name="connsiteX2" fmla="*/ 10275 w 102506"/>
                <a:gd name="connsiteY2" fmla="*/ 24385 h 76932"/>
                <a:gd name="connsiteX3" fmla="*/ 4325 w 102506"/>
                <a:gd name="connsiteY3" fmla="*/ 51162 h 76932"/>
                <a:gd name="connsiteX4" fmla="*/ 22176 w 102506"/>
                <a:gd name="connsiteY4" fmla="*/ 74964 h 76932"/>
                <a:gd name="connsiteX5" fmla="*/ 87631 w 102506"/>
                <a:gd name="connsiteY5" fmla="*/ 54137 h 76932"/>
                <a:gd name="connsiteX6" fmla="*/ 96556 w 102506"/>
                <a:gd name="connsiteY6" fmla="*/ 39261 h 76932"/>
                <a:gd name="connsiteX7" fmla="*/ 102507 w 102506"/>
                <a:gd name="connsiteY7" fmla="*/ 15460 h 7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506" h="76932">
                  <a:moveTo>
                    <a:pt x="102507" y="15460"/>
                  </a:moveTo>
                  <a:cubicBezTo>
                    <a:pt x="102507" y="6534"/>
                    <a:pt x="93581" y="-2392"/>
                    <a:pt x="84655" y="584"/>
                  </a:cubicBezTo>
                  <a:cubicBezTo>
                    <a:pt x="60854" y="9509"/>
                    <a:pt x="34077" y="15460"/>
                    <a:pt x="10275" y="24385"/>
                  </a:cubicBezTo>
                  <a:cubicBezTo>
                    <a:pt x="-1626" y="27360"/>
                    <a:pt x="-1626" y="45212"/>
                    <a:pt x="4325" y="51162"/>
                  </a:cubicBezTo>
                  <a:cubicBezTo>
                    <a:pt x="-7576" y="60088"/>
                    <a:pt x="7300" y="83889"/>
                    <a:pt x="22176" y="74964"/>
                  </a:cubicBezTo>
                  <a:cubicBezTo>
                    <a:pt x="43002" y="63063"/>
                    <a:pt x="63829" y="57112"/>
                    <a:pt x="87631" y="54137"/>
                  </a:cubicBezTo>
                  <a:cubicBezTo>
                    <a:pt x="96556" y="54137"/>
                    <a:pt x="99531" y="45212"/>
                    <a:pt x="96556" y="39261"/>
                  </a:cubicBezTo>
                  <a:cubicBezTo>
                    <a:pt x="99531" y="30336"/>
                    <a:pt x="102507" y="24385"/>
                    <a:pt x="102507" y="15460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44" name="图形 1">
              <a:extLst>
                <a:ext uri="{FF2B5EF4-FFF2-40B4-BE49-F238E27FC236}">
                  <a16:creationId xmlns:a16="http://schemas.microsoft.com/office/drawing/2014/main" id="{C4220F68-B32F-423B-8B09-E3E75FE87C34}"/>
                </a:ext>
              </a:extLst>
            </p:cNvPr>
            <p:cNvGrpSpPr/>
            <p:nvPr/>
          </p:nvGrpSpPr>
          <p:grpSpPr>
            <a:xfrm>
              <a:off x="3870111" y="1955348"/>
              <a:ext cx="544359" cy="577920"/>
              <a:chOff x="3870111" y="1955348"/>
              <a:chExt cx="544359" cy="577920"/>
            </a:xfrm>
          </p:grpSpPr>
          <p:grpSp>
            <p:nvGrpSpPr>
              <p:cNvPr id="145" name="图形 1">
                <a:extLst>
                  <a:ext uri="{FF2B5EF4-FFF2-40B4-BE49-F238E27FC236}">
                    <a16:creationId xmlns:a16="http://schemas.microsoft.com/office/drawing/2014/main" id="{C4220F68-B32F-423B-8B09-E3E75FE87C34}"/>
                  </a:ext>
                </a:extLst>
              </p:cNvPr>
              <p:cNvGrpSpPr/>
              <p:nvPr/>
            </p:nvGrpSpPr>
            <p:grpSpPr>
              <a:xfrm>
                <a:off x="3871007" y="1955348"/>
                <a:ext cx="533305" cy="577920"/>
                <a:chOff x="3871007" y="1955348"/>
                <a:chExt cx="533305" cy="577920"/>
              </a:xfrm>
            </p:grpSpPr>
            <p:sp>
              <p:nvSpPr>
                <p:cNvPr id="146" name="任意多边形: 形状 145">
                  <a:extLst>
                    <a:ext uri="{FF2B5EF4-FFF2-40B4-BE49-F238E27FC236}">
                      <a16:creationId xmlns:a16="http://schemas.microsoft.com/office/drawing/2014/main" id="{F486AEF1-3877-4893-BC4E-BBE24E051817}"/>
                    </a:ext>
                  </a:extLst>
                </p:cNvPr>
                <p:cNvSpPr/>
                <p:nvPr/>
              </p:nvSpPr>
              <p:spPr>
                <a:xfrm>
                  <a:off x="3871007" y="2114913"/>
                  <a:ext cx="533305" cy="418354"/>
                </a:xfrm>
                <a:custGeom>
                  <a:avLst/>
                  <a:gdLst>
                    <a:gd name="connsiteX0" fmla="*/ 357769 w 533305"/>
                    <a:gd name="connsiteY0" fmla="*/ 49429 h 418354"/>
                    <a:gd name="connsiteX1" fmla="*/ 164380 w 533305"/>
                    <a:gd name="connsiteY1" fmla="*/ 7776 h 418354"/>
                    <a:gd name="connsiteX2" fmla="*/ 3719 w 533305"/>
                    <a:gd name="connsiteY2" fmla="*/ 326124 h 418354"/>
                    <a:gd name="connsiteX3" fmla="*/ 744 w 533305"/>
                    <a:gd name="connsiteY3" fmla="*/ 409429 h 418354"/>
                    <a:gd name="connsiteX4" fmla="*/ 3719 w 533305"/>
                    <a:gd name="connsiteY4" fmla="*/ 415380 h 418354"/>
                    <a:gd name="connsiteX5" fmla="*/ 9669 w 533305"/>
                    <a:gd name="connsiteY5" fmla="*/ 418355 h 418354"/>
                    <a:gd name="connsiteX6" fmla="*/ 342892 w 533305"/>
                    <a:gd name="connsiteY6" fmla="*/ 361826 h 418354"/>
                    <a:gd name="connsiteX7" fmla="*/ 530331 w 533305"/>
                    <a:gd name="connsiteY7" fmla="*/ 275545 h 418354"/>
                    <a:gd name="connsiteX8" fmla="*/ 533306 w 533305"/>
                    <a:gd name="connsiteY8" fmla="*/ 266619 h 418354"/>
                    <a:gd name="connsiteX9" fmla="*/ 357769 w 533305"/>
                    <a:gd name="connsiteY9" fmla="*/ 49429 h 4183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33305" h="418354">
                      <a:moveTo>
                        <a:pt x="357769" y="49429"/>
                      </a:moveTo>
                      <a:cubicBezTo>
                        <a:pt x="313140" y="19677"/>
                        <a:pt x="206033" y="-16025"/>
                        <a:pt x="164380" y="7776"/>
                      </a:cubicBezTo>
                      <a:cubicBezTo>
                        <a:pt x="51322" y="79181"/>
                        <a:pt x="18595" y="216041"/>
                        <a:pt x="3719" y="326124"/>
                      </a:cubicBezTo>
                      <a:cubicBezTo>
                        <a:pt x="-2231" y="367776"/>
                        <a:pt x="744" y="406454"/>
                        <a:pt x="744" y="409429"/>
                      </a:cubicBezTo>
                      <a:cubicBezTo>
                        <a:pt x="744" y="412405"/>
                        <a:pt x="744" y="412405"/>
                        <a:pt x="3719" y="415380"/>
                      </a:cubicBezTo>
                      <a:cubicBezTo>
                        <a:pt x="6694" y="415380"/>
                        <a:pt x="6694" y="418355"/>
                        <a:pt x="9669" y="418355"/>
                      </a:cubicBezTo>
                      <a:cubicBezTo>
                        <a:pt x="140579" y="409429"/>
                        <a:pt x="265537" y="385628"/>
                        <a:pt x="342892" y="361826"/>
                      </a:cubicBezTo>
                      <a:cubicBezTo>
                        <a:pt x="470826" y="323148"/>
                        <a:pt x="524380" y="278520"/>
                        <a:pt x="530331" y="275545"/>
                      </a:cubicBezTo>
                      <a:cubicBezTo>
                        <a:pt x="533306" y="272570"/>
                        <a:pt x="533306" y="269595"/>
                        <a:pt x="533306" y="266619"/>
                      </a:cubicBezTo>
                      <a:cubicBezTo>
                        <a:pt x="533306" y="263644"/>
                        <a:pt x="491653" y="132735"/>
                        <a:pt x="357769" y="49429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7" name="任意多边形: 形状 146">
                  <a:extLst>
                    <a:ext uri="{FF2B5EF4-FFF2-40B4-BE49-F238E27FC236}">
                      <a16:creationId xmlns:a16="http://schemas.microsoft.com/office/drawing/2014/main" id="{50A9DDF6-193D-4EFF-9A7A-36642F1D05FD}"/>
                    </a:ext>
                  </a:extLst>
                </p:cNvPr>
                <p:cNvSpPr/>
                <p:nvPr/>
              </p:nvSpPr>
              <p:spPr>
                <a:xfrm>
                  <a:off x="3900222" y="1958323"/>
                  <a:ext cx="204325" cy="204325"/>
                </a:xfrm>
                <a:custGeom>
                  <a:avLst/>
                  <a:gdLst>
                    <a:gd name="connsiteX0" fmla="*/ 161942 w 204325"/>
                    <a:gd name="connsiteY0" fmla="*/ 21557 h 204325"/>
                    <a:gd name="connsiteX1" fmla="*/ 87562 w 204325"/>
                    <a:gd name="connsiteY1" fmla="*/ 731 h 204325"/>
                    <a:gd name="connsiteX2" fmla="*/ 1281 w 204325"/>
                    <a:gd name="connsiteY2" fmla="*/ 116764 h 204325"/>
                    <a:gd name="connsiteX3" fmla="*/ 117314 w 204325"/>
                    <a:gd name="connsiteY3" fmla="*/ 203045 h 204325"/>
                    <a:gd name="connsiteX4" fmla="*/ 132190 w 204325"/>
                    <a:gd name="connsiteY4" fmla="*/ 200069 h 204325"/>
                    <a:gd name="connsiteX5" fmla="*/ 182768 w 204325"/>
                    <a:gd name="connsiteY5" fmla="*/ 164367 h 204325"/>
                    <a:gd name="connsiteX6" fmla="*/ 203595 w 204325"/>
                    <a:gd name="connsiteY6" fmla="*/ 89987 h 204325"/>
                    <a:gd name="connsiteX7" fmla="*/ 161942 w 204325"/>
                    <a:gd name="connsiteY7" fmla="*/ 21557 h 204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4325" h="204325">
                      <a:moveTo>
                        <a:pt x="161942" y="21557"/>
                      </a:moveTo>
                      <a:cubicBezTo>
                        <a:pt x="141116" y="3706"/>
                        <a:pt x="114339" y="-2245"/>
                        <a:pt x="87562" y="731"/>
                      </a:cubicBezTo>
                      <a:cubicBezTo>
                        <a:pt x="31033" y="6681"/>
                        <a:pt x="-7645" y="60235"/>
                        <a:pt x="1281" y="116764"/>
                      </a:cubicBezTo>
                      <a:cubicBezTo>
                        <a:pt x="10206" y="173293"/>
                        <a:pt x="60785" y="211970"/>
                        <a:pt x="117314" y="203045"/>
                      </a:cubicBezTo>
                      <a:cubicBezTo>
                        <a:pt x="123264" y="203045"/>
                        <a:pt x="129215" y="200069"/>
                        <a:pt x="132190" y="200069"/>
                      </a:cubicBezTo>
                      <a:cubicBezTo>
                        <a:pt x="153016" y="194119"/>
                        <a:pt x="170868" y="182218"/>
                        <a:pt x="182768" y="164367"/>
                      </a:cubicBezTo>
                      <a:cubicBezTo>
                        <a:pt x="200620" y="143540"/>
                        <a:pt x="206570" y="116764"/>
                        <a:pt x="203595" y="89987"/>
                      </a:cubicBezTo>
                      <a:cubicBezTo>
                        <a:pt x="197644" y="63210"/>
                        <a:pt x="185744" y="39408"/>
                        <a:pt x="161942" y="21557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E11173DB-4A4E-4997-9A1A-BB4BD0942C5A}"/>
                    </a:ext>
                  </a:extLst>
                </p:cNvPr>
                <p:cNvSpPr/>
                <p:nvPr/>
              </p:nvSpPr>
              <p:spPr>
                <a:xfrm>
                  <a:off x="3894822" y="1955348"/>
                  <a:ext cx="215676" cy="214945"/>
                </a:xfrm>
                <a:custGeom>
                  <a:avLst/>
                  <a:gdLst>
                    <a:gd name="connsiteX0" fmla="*/ 107838 w 215676"/>
                    <a:gd name="connsiteY0" fmla="*/ 214945 h 214945"/>
                    <a:gd name="connsiteX1" fmla="*/ 731 w 215676"/>
                    <a:gd name="connsiteY1" fmla="*/ 122714 h 214945"/>
                    <a:gd name="connsiteX2" fmla="*/ 21557 w 215676"/>
                    <a:gd name="connsiteY2" fmla="*/ 42383 h 214945"/>
                    <a:gd name="connsiteX3" fmla="*/ 92962 w 215676"/>
                    <a:gd name="connsiteY3" fmla="*/ 731 h 214945"/>
                    <a:gd name="connsiteX4" fmla="*/ 173293 w 215676"/>
                    <a:gd name="connsiteY4" fmla="*/ 21557 h 214945"/>
                    <a:gd name="connsiteX5" fmla="*/ 173293 w 215676"/>
                    <a:gd name="connsiteY5" fmla="*/ 21557 h 214945"/>
                    <a:gd name="connsiteX6" fmla="*/ 214945 w 215676"/>
                    <a:gd name="connsiteY6" fmla="*/ 92962 h 214945"/>
                    <a:gd name="connsiteX7" fmla="*/ 194119 w 215676"/>
                    <a:gd name="connsiteY7" fmla="*/ 173293 h 214945"/>
                    <a:gd name="connsiteX8" fmla="*/ 140565 w 215676"/>
                    <a:gd name="connsiteY8" fmla="*/ 211970 h 214945"/>
                    <a:gd name="connsiteX9" fmla="*/ 122714 w 215676"/>
                    <a:gd name="connsiteY9" fmla="*/ 214945 h 214945"/>
                    <a:gd name="connsiteX10" fmla="*/ 107838 w 215676"/>
                    <a:gd name="connsiteY10" fmla="*/ 214945 h 214945"/>
                    <a:gd name="connsiteX11" fmla="*/ 107838 w 215676"/>
                    <a:gd name="connsiteY11" fmla="*/ 9656 h 214945"/>
                    <a:gd name="connsiteX12" fmla="*/ 95937 w 215676"/>
                    <a:gd name="connsiteY12" fmla="*/ 9656 h 214945"/>
                    <a:gd name="connsiteX13" fmla="*/ 30483 w 215676"/>
                    <a:gd name="connsiteY13" fmla="*/ 48334 h 214945"/>
                    <a:gd name="connsiteX14" fmla="*/ 12631 w 215676"/>
                    <a:gd name="connsiteY14" fmla="*/ 119739 h 214945"/>
                    <a:gd name="connsiteX15" fmla="*/ 122714 w 215676"/>
                    <a:gd name="connsiteY15" fmla="*/ 203045 h 214945"/>
                    <a:gd name="connsiteX16" fmla="*/ 137590 w 215676"/>
                    <a:gd name="connsiteY16" fmla="*/ 200069 h 214945"/>
                    <a:gd name="connsiteX17" fmla="*/ 185193 w 215676"/>
                    <a:gd name="connsiteY17" fmla="*/ 167342 h 214945"/>
                    <a:gd name="connsiteX18" fmla="*/ 203045 w 215676"/>
                    <a:gd name="connsiteY18" fmla="*/ 95937 h 214945"/>
                    <a:gd name="connsiteX19" fmla="*/ 164367 w 215676"/>
                    <a:gd name="connsiteY19" fmla="*/ 30483 h 214945"/>
                    <a:gd name="connsiteX20" fmla="*/ 164367 w 215676"/>
                    <a:gd name="connsiteY20" fmla="*/ 30483 h 214945"/>
                    <a:gd name="connsiteX21" fmla="*/ 107838 w 215676"/>
                    <a:gd name="connsiteY21" fmla="*/ 9656 h 214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15676" h="214945">
                      <a:moveTo>
                        <a:pt x="107838" y="214945"/>
                      </a:moveTo>
                      <a:cubicBezTo>
                        <a:pt x="54284" y="214945"/>
                        <a:pt x="9656" y="176268"/>
                        <a:pt x="731" y="122714"/>
                      </a:cubicBezTo>
                      <a:cubicBezTo>
                        <a:pt x="-2245" y="92962"/>
                        <a:pt x="3706" y="66185"/>
                        <a:pt x="21557" y="42383"/>
                      </a:cubicBezTo>
                      <a:cubicBezTo>
                        <a:pt x="39408" y="18582"/>
                        <a:pt x="63210" y="3706"/>
                        <a:pt x="92962" y="731"/>
                      </a:cubicBezTo>
                      <a:cubicBezTo>
                        <a:pt x="122714" y="-2245"/>
                        <a:pt x="149491" y="3706"/>
                        <a:pt x="173293" y="21557"/>
                      </a:cubicBezTo>
                      <a:lnTo>
                        <a:pt x="173293" y="21557"/>
                      </a:lnTo>
                      <a:cubicBezTo>
                        <a:pt x="197094" y="39408"/>
                        <a:pt x="211970" y="63210"/>
                        <a:pt x="214945" y="92962"/>
                      </a:cubicBezTo>
                      <a:cubicBezTo>
                        <a:pt x="217921" y="122714"/>
                        <a:pt x="211970" y="149491"/>
                        <a:pt x="194119" y="173293"/>
                      </a:cubicBezTo>
                      <a:cubicBezTo>
                        <a:pt x="179243" y="191144"/>
                        <a:pt x="161392" y="203045"/>
                        <a:pt x="140565" y="211970"/>
                      </a:cubicBezTo>
                      <a:cubicBezTo>
                        <a:pt x="134615" y="214945"/>
                        <a:pt x="128664" y="214945"/>
                        <a:pt x="122714" y="214945"/>
                      </a:cubicBezTo>
                      <a:cubicBezTo>
                        <a:pt x="116764" y="214945"/>
                        <a:pt x="110813" y="214945"/>
                        <a:pt x="107838" y="214945"/>
                      </a:cubicBezTo>
                      <a:close/>
                      <a:moveTo>
                        <a:pt x="107838" y="9656"/>
                      </a:moveTo>
                      <a:cubicBezTo>
                        <a:pt x="104863" y="9656"/>
                        <a:pt x="98912" y="9656"/>
                        <a:pt x="95937" y="9656"/>
                      </a:cubicBezTo>
                      <a:cubicBezTo>
                        <a:pt x="69160" y="12631"/>
                        <a:pt x="45359" y="27507"/>
                        <a:pt x="30483" y="48334"/>
                      </a:cubicBezTo>
                      <a:cubicBezTo>
                        <a:pt x="15607" y="69160"/>
                        <a:pt x="6681" y="92962"/>
                        <a:pt x="12631" y="119739"/>
                      </a:cubicBezTo>
                      <a:cubicBezTo>
                        <a:pt x="18582" y="173293"/>
                        <a:pt x="69160" y="208995"/>
                        <a:pt x="122714" y="203045"/>
                      </a:cubicBezTo>
                      <a:cubicBezTo>
                        <a:pt x="128664" y="203045"/>
                        <a:pt x="131640" y="200069"/>
                        <a:pt x="137590" y="200069"/>
                      </a:cubicBezTo>
                      <a:cubicBezTo>
                        <a:pt x="158416" y="194119"/>
                        <a:pt x="173293" y="182218"/>
                        <a:pt x="185193" y="167342"/>
                      </a:cubicBezTo>
                      <a:cubicBezTo>
                        <a:pt x="200069" y="146516"/>
                        <a:pt x="208995" y="122714"/>
                        <a:pt x="203045" y="95937"/>
                      </a:cubicBezTo>
                      <a:cubicBezTo>
                        <a:pt x="200069" y="69160"/>
                        <a:pt x="185193" y="48334"/>
                        <a:pt x="164367" y="30483"/>
                      </a:cubicBezTo>
                      <a:lnTo>
                        <a:pt x="164367" y="30483"/>
                      </a:lnTo>
                      <a:cubicBezTo>
                        <a:pt x="149491" y="15607"/>
                        <a:pt x="128664" y="9656"/>
                        <a:pt x="107838" y="9656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25543B43-331B-41D3-9E52-E5D8FE299E71}"/>
                  </a:ext>
                </a:extLst>
              </p:cNvPr>
              <p:cNvSpPr/>
              <p:nvPr/>
            </p:nvSpPr>
            <p:spPr>
              <a:xfrm>
                <a:off x="3871751" y="2319053"/>
                <a:ext cx="514710" cy="157685"/>
              </a:xfrm>
              <a:custGeom>
                <a:avLst/>
                <a:gdLst>
                  <a:gd name="connsiteX0" fmla="*/ 0 w 514710"/>
                  <a:gd name="connsiteY0" fmla="*/ 157686 h 157685"/>
                  <a:gd name="connsiteX1" fmla="*/ 0 w 514710"/>
                  <a:gd name="connsiteY1" fmla="*/ 145785 h 157685"/>
                  <a:gd name="connsiteX2" fmla="*/ 508760 w 514710"/>
                  <a:gd name="connsiteY2" fmla="*/ 0 h 157685"/>
                  <a:gd name="connsiteX3" fmla="*/ 514711 w 514710"/>
                  <a:gd name="connsiteY3" fmla="*/ 8926 h 157685"/>
                  <a:gd name="connsiteX4" fmla="*/ 0 w 514710"/>
                  <a:gd name="connsiteY4" fmla="*/ 157686 h 157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4710" h="157685">
                    <a:moveTo>
                      <a:pt x="0" y="157686"/>
                    </a:moveTo>
                    <a:lnTo>
                      <a:pt x="0" y="145785"/>
                    </a:lnTo>
                    <a:cubicBezTo>
                      <a:pt x="2975" y="145785"/>
                      <a:pt x="362975" y="113058"/>
                      <a:pt x="508760" y="0"/>
                    </a:cubicBezTo>
                    <a:lnTo>
                      <a:pt x="514711" y="8926"/>
                    </a:lnTo>
                    <a:cubicBezTo>
                      <a:pt x="365950" y="124959"/>
                      <a:pt x="14876" y="157686"/>
                      <a:pt x="0" y="157686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E17789B0-813B-4CA1-9706-9363D81662CF}"/>
                  </a:ext>
                </a:extLst>
              </p:cNvPr>
              <p:cNvSpPr/>
              <p:nvPr/>
            </p:nvSpPr>
            <p:spPr>
              <a:xfrm>
                <a:off x="3870111" y="2383276"/>
                <a:ext cx="544359" cy="149992"/>
              </a:xfrm>
              <a:custGeom>
                <a:avLst/>
                <a:gdLst>
                  <a:gd name="connsiteX0" fmla="*/ 19491 w 544359"/>
                  <a:gd name="connsiteY0" fmla="*/ 149993 h 149992"/>
                  <a:gd name="connsiteX1" fmla="*/ 7590 w 544359"/>
                  <a:gd name="connsiteY1" fmla="*/ 149993 h 149992"/>
                  <a:gd name="connsiteX2" fmla="*/ 4615 w 544359"/>
                  <a:gd name="connsiteY2" fmla="*/ 149993 h 149992"/>
                  <a:gd name="connsiteX3" fmla="*/ 4615 w 544359"/>
                  <a:gd name="connsiteY3" fmla="*/ 147017 h 149992"/>
                  <a:gd name="connsiteX4" fmla="*/ 7590 w 544359"/>
                  <a:gd name="connsiteY4" fmla="*/ 25034 h 149992"/>
                  <a:gd name="connsiteX5" fmla="*/ 13540 w 544359"/>
                  <a:gd name="connsiteY5" fmla="*/ 19084 h 149992"/>
                  <a:gd name="connsiteX6" fmla="*/ 19491 w 544359"/>
                  <a:gd name="connsiteY6" fmla="*/ 25034 h 149992"/>
                  <a:gd name="connsiteX7" fmla="*/ 16515 w 544359"/>
                  <a:gd name="connsiteY7" fmla="*/ 138092 h 149992"/>
                  <a:gd name="connsiteX8" fmla="*/ 534201 w 544359"/>
                  <a:gd name="connsiteY8" fmla="*/ 1232 h 149992"/>
                  <a:gd name="connsiteX9" fmla="*/ 543127 w 544359"/>
                  <a:gd name="connsiteY9" fmla="*/ 4208 h 149992"/>
                  <a:gd name="connsiteX10" fmla="*/ 540152 w 544359"/>
                  <a:gd name="connsiteY10" fmla="*/ 13133 h 149992"/>
                  <a:gd name="connsiteX11" fmla="*/ 19491 w 544359"/>
                  <a:gd name="connsiteY11" fmla="*/ 149993 h 149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44359" h="149992">
                    <a:moveTo>
                      <a:pt x="19491" y="149993"/>
                    </a:moveTo>
                    <a:cubicBezTo>
                      <a:pt x="10565" y="149993"/>
                      <a:pt x="7590" y="149993"/>
                      <a:pt x="7590" y="149993"/>
                    </a:cubicBezTo>
                    <a:lnTo>
                      <a:pt x="4615" y="149993"/>
                    </a:lnTo>
                    <a:lnTo>
                      <a:pt x="4615" y="147017"/>
                    </a:lnTo>
                    <a:cubicBezTo>
                      <a:pt x="-7286" y="111315"/>
                      <a:pt x="7590" y="30984"/>
                      <a:pt x="7590" y="25034"/>
                    </a:cubicBezTo>
                    <a:cubicBezTo>
                      <a:pt x="7590" y="22059"/>
                      <a:pt x="10565" y="19084"/>
                      <a:pt x="13540" y="19084"/>
                    </a:cubicBezTo>
                    <a:cubicBezTo>
                      <a:pt x="16515" y="19084"/>
                      <a:pt x="19491" y="22059"/>
                      <a:pt x="19491" y="25034"/>
                    </a:cubicBezTo>
                    <a:cubicBezTo>
                      <a:pt x="19491" y="25034"/>
                      <a:pt x="7590" y="102389"/>
                      <a:pt x="16515" y="138092"/>
                    </a:cubicBezTo>
                    <a:cubicBezTo>
                      <a:pt x="49243" y="138092"/>
                      <a:pt x="293210" y="138092"/>
                      <a:pt x="534201" y="1232"/>
                    </a:cubicBezTo>
                    <a:cubicBezTo>
                      <a:pt x="537177" y="-1743"/>
                      <a:pt x="540152" y="1232"/>
                      <a:pt x="543127" y="4208"/>
                    </a:cubicBezTo>
                    <a:cubicBezTo>
                      <a:pt x="546102" y="7183"/>
                      <a:pt x="543127" y="10158"/>
                      <a:pt x="540152" y="13133"/>
                    </a:cubicBezTo>
                    <a:cubicBezTo>
                      <a:pt x="305111" y="141067"/>
                      <a:pt x="73044" y="149993"/>
                      <a:pt x="19491" y="14999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51" name="图形 1">
              <a:extLst>
                <a:ext uri="{FF2B5EF4-FFF2-40B4-BE49-F238E27FC236}">
                  <a16:creationId xmlns:a16="http://schemas.microsoft.com/office/drawing/2014/main" id="{C4220F68-B32F-423B-8B09-E3E75FE87C34}"/>
                </a:ext>
              </a:extLst>
            </p:cNvPr>
            <p:cNvGrpSpPr/>
            <p:nvPr/>
          </p:nvGrpSpPr>
          <p:grpSpPr>
            <a:xfrm>
              <a:off x="3318362" y="2879595"/>
              <a:ext cx="813306" cy="272516"/>
              <a:chOff x="3318362" y="2879595"/>
              <a:chExt cx="813306" cy="272516"/>
            </a:xfrm>
          </p:grpSpPr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4433A489-EFB0-4F08-93EE-F397EEADA211}"/>
                  </a:ext>
                </a:extLst>
              </p:cNvPr>
              <p:cNvSpPr/>
              <p:nvPr/>
            </p:nvSpPr>
            <p:spPr>
              <a:xfrm>
                <a:off x="3318362" y="2879595"/>
                <a:ext cx="813306" cy="272516"/>
              </a:xfrm>
              <a:custGeom>
                <a:avLst/>
                <a:gdLst>
                  <a:gd name="connsiteX0" fmla="*/ 559339 w 813306"/>
                  <a:gd name="connsiteY0" fmla="*/ 10698 h 272516"/>
                  <a:gd name="connsiteX1" fmla="*/ 782479 w 813306"/>
                  <a:gd name="connsiteY1" fmla="*/ 91029 h 272516"/>
                  <a:gd name="connsiteX2" fmla="*/ 776529 w 813306"/>
                  <a:gd name="connsiteY2" fmla="*/ 180285 h 272516"/>
                  <a:gd name="connsiteX3" fmla="*/ 764628 w 813306"/>
                  <a:gd name="connsiteY3" fmla="*/ 189211 h 272516"/>
                  <a:gd name="connsiteX4" fmla="*/ 752727 w 813306"/>
                  <a:gd name="connsiteY4" fmla="*/ 189211 h 272516"/>
                  <a:gd name="connsiteX5" fmla="*/ 354050 w 813306"/>
                  <a:gd name="connsiteY5" fmla="*/ 147558 h 272516"/>
                  <a:gd name="connsiteX6" fmla="*/ 20826 w 813306"/>
                  <a:gd name="connsiteY6" fmla="*/ 272516 h 272516"/>
                  <a:gd name="connsiteX7" fmla="*/ 8926 w 813306"/>
                  <a:gd name="connsiteY7" fmla="*/ 260616 h 272516"/>
                  <a:gd name="connsiteX8" fmla="*/ 0 w 813306"/>
                  <a:gd name="connsiteY8" fmla="*/ 156483 h 272516"/>
                  <a:gd name="connsiteX9" fmla="*/ 17851 w 813306"/>
                  <a:gd name="connsiteY9" fmla="*/ 138632 h 272516"/>
                  <a:gd name="connsiteX10" fmla="*/ 330248 w 813306"/>
                  <a:gd name="connsiteY10" fmla="*/ 25574 h 272516"/>
                  <a:gd name="connsiteX11" fmla="*/ 559339 w 813306"/>
                  <a:gd name="connsiteY11" fmla="*/ 10698 h 272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13306" h="272516">
                    <a:moveTo>
                      <a:pt x="559339" y="10698"/>
                    </a:moveTo>
                    <a:cubicBezTo>
                      <a:pt x="639669" y="28549"/>
                      <a:pt x="714050" y="58301"/>
                      <a:pt x="782479" y="91029"/>
                    </a:cubicBezTo>
                    <a:cubicBezTo>
                      <a:pt x="830083" y="111855"/>
                      <a:pt x="818182" y="129707"/>
                      <a:pt x="776529" y="180285"/>
                    </a:cubicBezTo>
                    <a:cubicBezTo>
                      <a:pt x="773554" y="186235"/>
                      <a:pt x="770579" y="189211"/>
                      <a:pt x="764628" y="189211"/>
                    </a:cubicBezTo>
                    <a:cubicBezTo>
                      <a:pt x="761653" y="192186"/>
                      <a:pt x="755703" y="192186"/>
                      <a:pt x="752727" y="189211"/>
                    </a:cubicBezTo>
                    <a:cubicBezTo>
                      <a:pt x="645620" y="132682"/>
                      <a:pt x="505785" y="85078"/>
                      <a:pt x="354050" y="147558"/>
                    </a:cubicBezTo>
                    <a:cubicBezTo>
                      <a:pt x="240992" y="195161"/>
                      <a:pt x="136860" y="260616"/>
                      <a:pt x="20826" y="272516"/>
                    </a:cubicBezTo>
                    <a:cubicBezTo>
                      <a:pt x="11901" y="272516"/>
                      <a:pt x="5950" y="269541"/>
                      <a:pt x="8926" y="260616"/>
                    </a:cubicBezTo>
                    <a:cubicBezTo>
                      <a:pt x="17851" y="227888"/>
                      <a:pt x="2975" y="186235"/>
                      <a:pt x="0" y="156483"/>
                    </a:cubicBezTo>
                    <a:cubicBezTo>
                      <a:pt x="0" y="147558"/>
                      <a:pt x="8926" y="138632"/>
                      <a:pt x="17851" y="138632"/>
                    </a:cubicBezTo>
                    <a:cubicBezTo>
                      <a:pt x="121984" y="123756"/>
                      <a:pt x="229091" y="61277"/>
                      <a:pt x="330248" y="25574"/>
                    </a:cubicBezTo>
                    <a:cubicBezTo>
                      <a:pt x="410579" y="-7153"/>
                      <a:pt x="487934" y="-4178"/>
                      <a:pt x="559339" y="10698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7FA892BB-A3A5-4CC4-9D02-6C1819A67248}"/>
                  </a:ext>
                </a:extLst>
              </p:cNvPr>
              <p:cNvSpPr/>
              <p:nvPr/>
            </p:nvSpPr>
            <p:spPr>
              <a:xfrm>
                <a:off x="3351089" y="3006326"/>
                <a:ext cx="17537" cy="145785"/>
              </a:xfrm>
              <a:custGeom>
                <a:avLst/>
                <a:gdLst>
                  <a:gd name="connsiteX0" fmla="*/ 11901 w 17537"/>
                  <a:gd name="connsiteY0" fmla="*/ 145785 h 145785"/>
                  <a:gd name="connsiteX1" fmla="*/ 11901 w 17537"/>
                  <a:gd name="connsiteY1" fmla="*/ 145785 h 145785"/>
                  <a:gd name="connsiteX2" fmla="*/ 5950 w 17537"/>
                  <a:gd name="connsiteY2" fmla="*/ 139835 h 145785"/>
                  <a:gd name="connsiteX3" fmla="*/ 0 w 17537"/>
                  <a:gd name="connsiteY3" fmla="*/ 5950 h 145785"/>
                  <a:gd name="connsiteX4" fmla="*/ 2975 w 17537"/>
                  <a:gd name="connsiteY4" fmla="*/ 0 h 145785"/>
                  <a:gd name="connsiteX5" fmla="*/ 8926 w 17537"/>
                  <a:gd name="connsiteY5" fmla="*/ 2975 h 145785"/>
                  <a:gd name="connsiteX6" fmla="*/ 14876 w 17537"/>
                  <a:gd name="connsiteY6" fmla="*/ 139835 h 145785"/>
                  <a:gd name="connsiteX7" fmla="*/ 11901 w 17537"/>
                  <a:gd name="connsiteY7" fmla="*/ 145785 h 145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537" h="145785">
                    <a:moveTo>
                      <a:pt x="11901" y="145785"/>
                    </a:moveTo>
                    <a:cubicBezTo>
                      <a:pt x="11901" y="145785"/>
                      <a:pt x="11901" y="145785"/>
                      <a:pt x="11901" y="145785"/>
                    </a:cubicBezTo>
                    <a:cubicBezTo>
                      <a:pt x="8926" y="145785"/>
                      <a:pt x="5950" y="142810"/>
                      <a:pt x="5950" y="139835"/>
                    </a:cubicBezTo>
                    <a:cubicBezTo>
                      <a:pt x="5950" y="139835"/>
                      <a:pt x="8926" y="53554"/>
                      <a:pt x="0" y="5950"/>
                    </a:cubicBezTo>
                    <a:cubicBezTo>
                      <a:pt x="0" y="2975"/>
                      <a:pt x="0" y="0"/>
                      <a:pt x="2975" y="0"/>
                    </a:cubicBezTo>
                    <a:cubicBezTo>
                      <a:pt x="5950" y="0"/>
                      <a:pt x="8926" y="0"/>
                      <a:pt x="8926" y="2975"/>
                    </a:cubicBezTo>
                    <a:cubicBezTo>
                      <a:pt x="20826" y="53554"/>
                      <a:pt x="17851" y="136859"/>
                      <a:pt x="14876" y="139835"/>
                    </a:cubicBezTo>
                    <a:cubicBezTo>
                      <a:pt x="17851" y="145785"/>
                      <a:pt x="14876" y="145785"/>
                      <a:pt x="11901" y="145785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32119583-0277-4673-A409-585FF47F11F5}"/>
                  </a:ext>
                </a:extLst>
              </p:cNvPr>
              <p:cNvSpPr/>
              <p:nvPr/>
            </p:nvSpPr>
            <p:spPr>
              <a:xfrm>
                <a:off x="3392742" y="2997401"/>
                <a:ext cx="17537" cy="145785"/>
              </a:xfrm>
              <a:custGeom>
                <a:avLst/>
                <a:gdLst>
                  <a:gd name="connsiteX0" fmla="*/ 11901 w 17537"/>
                  <a:gd name="connsiteY0" fmla="*/ 145785 h 145785"/>
                  <a:gd name="connsiteX1" fmla="*/ 11901 w 17537"/>
                  <a:gd name="connsiteY1" fmla="*/ 145785 h 145785"/>
                  <a:gd name="connsiteX2" fmla="*/ 5950 w 17537"/>
                  <a:gd name="connsiteY2" fmla="*/ 139835 h 145785"/>
                  <a:gd name="connsiteX3" fmla="*/ 0 w 17537"/>
                  <a:gd name="connsiteY3" fmla="*/ 5950 h 145785"/>
                  <a:gd name="connsiteX4" fmla="*/ 2975 w 17537"/>
                  <a:gd name="connsiteY4" fmla="*/ 0 h 145785"/>
                  <a:gd name="connsiteX5" fmla="*/ 8926 w 17537"/>
                  <a:gd name="connsiteY5" fmla="*/ 2975 h 145785"/>
                  <a:gd name="connsiteX6" fmla="*/ 14876 w 17537"/>
                  <a:gd name="connsiteY6" fmla="*/ 139835 h 145785"/>
                  <a:gd name="connsiteX7" fmla="*/ 11901 w 17537"/>
                  <a:gd name="connsiteY7" fmla="*/ 145785 h 145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537" h="145785">
                    <a:moveTo>
                      <a:pt x="11901" y="145785"/>
                    </a:moveTo>
                    <a:cubicBezTo>
                      <a:pt x="11901" y="145785"/>
                      <a:pt x="11901" y="145785"/>
                      <a:pt x="11901" y="145785"/>
                    </a:cubicBezTo>
                    <a:cubicBezTo>
                      <a:pt x="8926" y="145785"/>
                      <a:pt x="5950" y="142810"/>
                      <a:pt x="5950" y="139835"/>
                    </a:cubicBezTo>
                    <a:cubicBezTo>
                      <a:pt x="5950" y="139835"/>
                      <a:pt x="8926" y="53554"/>
                      <a:pt x="0" y="5950"/>
                    </a:cubicBezTo>
                    <a:cubicBezTo>
                      <a:pt x="0" y="2975"/>
                      <a:pt x="0" y="0"/>
                      <a:pt x="2975" y="0"/>
                    </a:cubicBezTo>
                    <a:cubicBezTo>
                      <a:pt x="5950" y="0"/>
                      <a:pt x="8926" y="0"/>
                      <a:pt x="8926" y="2975"/>
                    </a:cubicBezTo>
                    <a:cubicBezTo>
                      <a:pt x="20826" y="53554"/>
                      <a:pt x="17851" y="136860"/>
                      <a:pt x="14876" y="139835"/>
                    </a:cubicBezTo>
                    <a:cubicBezTo>
                      <a:pt x="17851" y="142810"/>
                      <a:pt x="14876" y="145785"/>
                      <a:pt x="11901" y="145785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44A0249C-26F4-4900-AB19-968C0D9A2E8C}"/>
                </a:ext>
              </a:extLst>
            </p:cNvPr>
            <p:cNvSpPr/>
            <p:nvPr/>
          </p:nvSpPr>
          <p:spPr>
            <a:xfrm>
              <a:off x="4011585" y="2902194"/>
              <a:ext cx="233603" cy="401652"/>
            </a:xfrm>
            <a:custGeom>
              <a:avLst/>
              <a:gdLst>
                <a:gd name="connsiteX0" fmla="*/ 32727 w 233603"/>
                <a:gd name="connsiteY0" fmla="*/ 0 h 401652"/>
                <a:gd name="connsiteX1" fmla="*/ 205289 w 233603"/>
                <a:gd name="connsiteY1" fmla="*/ 190413 h 401652"/>
                <a:gd name="connsiteX2" fmla="*/ 223141 w 233603"/>
                <a:gd name="connsiteY2" fmla="*/ 380826 h 401652"/>
                <a:gd name="connsiteX3" fmla="*/ 178512 w 233603"/>
                <a:gd name="connsiteY3" fmla="*/ 380826 h 401652"/>
                <a:gd name="connsiteX4" fmla="*/ 104132 w 233603"/>
                <a:gd name="connsiteY4" fmla="*/ 401653 h 401652"/>
                <a:gd name="connsiteX5" fmla="*/ 62479 w 233603"/>
                <a:gd name="connsiteY5" fmla="*/ 374876 h 401652"/>
                <a:gd name="connsiteX6" fmla="*/ 0 w 233603"/>
                <a:gd name="connsiteY6" fmla="*/ 35702 h 401652"/>
                <a:gd name="connsiteX7" fmla="*/ 32727 w 233603"/>
                <a:gd name="connsiteY7" fmla="*/ 0 h 40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3603" h="401652">
                  <a:moveTo>
                    <a:pt x="32727" y="0"/>
                  </a:moveTo>
                  <a:cubicBezTo>
                    <a:pt x="32727" y="0"/>
                    <a:pt x="169587" y="89256"/>
                    <a:pt x="205289" y="190413"/>
                  </a:cubicBezTo>
                  <a:cubicBezTo>
                    <a:pt x="240992" y="294545"/>
                    <a:pt x="238017" y="371901"/>
                    <a:pt x="223141" y="380826"/>
                  </a:cubicBezTo>
                  <a:cubicBezTo>
                    <a:pt x="211240" y="389752"/>
                    <a:pt x="196364" y="371901"/>
                    <a:pt x="178512" y="380826"/>
                  </a:cubicBezTo>
                  <a:cubicBezTo>
                    <a:pt x="160661" y="389752"/>
                    <a:pt x="116033" y="401653"/>
                    <a:pt x="104132" y="401653"/>
                  </a:cubicBezTo>
                  <a:cubicBezTo>
                    <a:pt x="89256" y="401653"/>
                    <a:pt x="56529" y="386777"/>
                    <a:pt x="62479" y="374876"/>
                  </a:cubicBezTo>
                  <a:cubicBezTo>
                    <a:pt x="68430" y="362975"/>
                    <a:pt x="23802" y="62479"/>
                    <a:pt x="0" y="35702"/>
                  </a:cubicBezTo>
                  <a:lnTo>
                    <a:pt x="32727" y="0"/>
                  </a:ln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970C458A-1F9A-4F58-BB16-8A5576F6D923}"/>
                </a:ext>
              </a:extLst>
            </p:cNvPr>
            <p:cNvSpPr/>
            <p:nvPr/>
          </p:nvSpPr>
          <p:spPr>
            <a:xfrm>
              <a:off x="4053982" y="2935665"/>
              <a:ext cx="145041" cy="261074"/>
            </a:xfrm>
            <a:custGeom>
              <a:avLst/>
              <a:gdLst>
                <a:gd name="connsiteX0" fmla="*/ 139091 w 145041"/>
                <a:gd name="connsiteY0" fmla="*/ 261074 h 261074"/>
                <a:gd name="connsiteX1" fmla="*/ 133141 w 145041"/>
                <a:gd name="connsiteY1" fmla="*/ 255124 h 261074"/>
                <a:gd name="connsiteX2" fmla="*/ 2231 w 145041"/>
                <a:gd name="connsiteY2" fmla="*/ 11157 h 261074"/>
                <a:gd name="connsiteX3" fmla="*/ 2231 w 145041"/>
                <a:gd name="connsiteY3" fmla="*/ 2231 h 261074"/>
                <a:gd name="connsiteX4" fmla="*/ 11157 w 145041"/>
                <a:gd name="connsiteY4" fmla="*/ 2231 h 261074"/>
                <a:gd name="connsiteX5" fmla="*/ 145041 w 145041"/>
                <a:gd name="connsiteY5" fmla="*/ 252149 h 261074"/>
                <a:gd name="connsiteX6" fmla="*/ 139091 w 145041"/>
                <a:gd name="connsiteY6" fmla="*/ 261074 h 261074"/>
                <a:gd name="connsiteX7" fmla="*/ 139091 w 145041"/>
                <a:gd name="connsiteY7" fmla="*/ 261074 h 261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041" h="261074">
                  <a:moveTo>
                    <a:pt x="139091" y="261074"/>
                  </a:moveTo>
                  <a:cubicBezTo>
                    <a:pt x="136116" y="261074"/>
                    <a:pt x="133141" y="258099"/>
                    <a:pt x="133141" y="255124"/>
                  </a:cubicBezTo>
                  <a:cubicBezTo>
                    <a:pt x="127190" y="142066"/>
                    <a:pt x="5207" y="11157"/>
                    <a:pt x="2231" y="11157"/>
                  </a:cubicBezTo>
                  <a:cubicBezTo>
                    <a:pt x="-744" y="8182"/>
                    <a:pt x="-744" y="5207"/>
                    <a:pt x="2231" y="2231"/>
                  </a:cubicBezTo>
                  <a:cubicBezTo>
                    <a:pt x="5207" y="-744"/>
                    <a:pt x="8182" y="-744"/>
                    <a:pt x="11157" y="2231"/>
                  </a:cubicBezTo>
                  <a:cubicBezTo>
                    <a:pt x="17107" y="8182"/>
                    <a:pt x="139091" y="136116"/>
                    <a:pt x="145041" y="252149"/>
                  </a:cubicBezTo>
                  <a:cubicBezTo>
                    <a:pt x="145041" y="258099"/>
                    <a:pt x="142066" y="261074"/>
                    <a:pt x="139091" y="261074"/>
                  </a:cubicBezTo>
                  <a:cubicBezTo>
                    <a:pt x="139091" y="261074"/>
                    <a:pt x="139091" y="261074"/>
                    <a:pt x="139091" y="261074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442D6BB2-72CC-449E-8F83-23836C1E6BFF}"/>
                </a:ext>
              </a:extLst>
            </p:cNvPr>
            <p:cNvSpPr/>
            <p:nvPr/>
          </p:nvSpPr>
          <p:spPr>
            <a:xfrm>
              <a:off x="3995360" y="2886734"/>
              <a:ext cx="102506" cy="76932"/>
            </a:xfrm>
            <a:custGeom>
              <a:avLst/>
              <a:gdLst>
                <a:gd name="connsiteX0" fmla="*/ 102506 w 102506"/>
                <a:gd name="connsiteY0" fmla="*/ 15460 h 76932"/>
                <a:gd name="connsiteX1" fmla="*/ 84655 w 102506"/>
                <a:gd name="connsiteY1" fmla="*/ 584 h 76932"/>
                <a:gd name="connsiteX2" fmla="*/ 10275 w 102506"/>
                <a:gd name="connsiteY2" fmla="*/ 24385 h 76932"/>
                <a:gd name="connsiteX3" fmla="*/ 4325 w 102506"/>
                <a:gd name="connsiteY3" fmla="*/ 51162 h 76932"/>
                <a:gd name="connsiteX4" fmla="*/ 22176 w 102506"/>
                <a:gd name="connsiteY4" fmla="*/ 74964 h 76932"/>
                <a:gd name="connsiteX5" fmla="*/ 87630 w 102506"/>
                <a:gd name="connsiteY5" fmla="*/ 54137 h 76932"/>
                <a:gd name="connsiteX6" fmla="*/ 96556 w 102506"/>
                <a:gd name="connsiteY6" fmla="*/ 39261 h 76932"/>
                <a:gd name="connsiteX7" fmla="*/ 102506 w 102506"/>
                <a:gd name="connsiteY7" fmla="*/ 15460 h 7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506" h="76932">
                  <a:moveTo>
                    <a:pt x="102506" y="15460"/>
                  </a:moveTo>
                  <a:cubicBezTo>
                    <a:pt x="102506" y="6534"/>
                    <a:pt x="93581" y="-2392"/>
                    <a:pt x="84655" y="584"/>
                  </a:cubicBezTo>
                  <a:cubicBezTo>
                    <a:pt x="60854" y="9509"/>
                    <a:pt x="34077" y="15460"/>
                    <a:pt x="10275" y="24385"/>
                  </a:cubicBezTo>
                  <a:cubicBezTo>
                    <a:pt x="-1626" y="27360"/>
                    <a:pt x="-1626" y="45212"/>
                    <a:pt x="4325" y="51162"/>
                  </a:cubicBezTo>
                  <a:cubicBezTo>
                    <a:pt x="-7576" y="60088"/>
                    <a:pt x="7300" y="83889"/>
                    <a:pt x="22176" y="74964"/>
                  </a:cubicBezTo>
                  <a:cubicBezTo>
                    <a:pt x="43002" y="63063"/>
                    <a:pt x="63829" y="57112"/>
                    <a:pt x="87630" y="54137"/>
                  </a:cubicBezTo>
                  <a:cubicBezTo>
                    <a:pt x="96556" y="54137"/>
                    <a:pt x="99531" y="45212"/>
                    <a:pt x="96556" y="39261"/>
                  </a:cubicBezTo>
                  <a:cubicBezTo>
                    <a:pt x="99531" y="30336"/>
                    <a:pt x="102506" y="24385"/>
                    <a:pt x="102506" y="15460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289" name="图形 1">
            <a:extLst>
              <a:ext uri="{FF2B5EF4-FFF2-40B4-BE49-F238E27FC236}">
                <a16:creationId xmlns:a16="http://schemas.microsoft.com/office/drawing/2014/main" id="{C4220F68-B32F-423B-8B09-E3E75FE87C34}"/>
              </a:ext>
            </a:extLst>
          </p:cNvPr>
          <p:cNvGrpSpPr/>
          <p:nvPr/>
        </p:nvGrpSpPr>
        <p:grpSpPr>
          <a:xfrm>
            <a:off x="5068128" y="1989950"/>
            <a:ext cx="5095541" cy="4798373"/>
            <a:chOff x="5628566" y="2048944"/>
            <a:chExt cx="5095541" cy="4798373"/>
          </a:xfrm>
        </p:grpSpPr>
        <p:grpSp>
          <p:nvGrpSpPr>
            <p:cNvPr id="290" name="图形 1">
              <a:extLst>
                <a:ext uri="{FF2B5EF4-FFF2-40B4-BE49-F238E27FC236}">
                  <a16:creationId xmlns:a16="http://schemas.microsoft.com/office/drawing/2014/main" id="{C4220F68-B32F-423B-8B09-E3E75FE87C34}"/>
                </a:ext>
              </a:extLst>
            </p:cNvPr>
            <p:cNvGrpSpPr/>
            <p:nvPr/>
          </p:nvGrpSpPr>
          <p:grpSpPr>
            <a:xfrm>
              <a:off x="8395870" y="5698888"/>
              <a:ext cx="518856" cy="362038"/>
              <a:chOff x="8395870" y="5698888"/>
              <a:chExt cx="518856" cy="362038"/>
            </a:xfrm>
          </p:grpSpPr>
          <p:sp>
            <p:nvSpPr>
              <p:cNvPr id="291" name="任意多边形: 形状 290">
                <a:extLst>
                  <a:ext uri="{FF2B5EF4-FFF2-40B4-BE49-F238E27FC236}">
                    <a16:creationId xmlns:a16="http://schemas.microsoft.com/office/drawing/2014/main" id="{A9C9B2EA-6F87-4207-83E7-41AA64973683}"/>
                  </a:ext>
                </a:extLst>
              </p:cNvPr>
              <p:cNvSpPr/>
              <p:nvPr/>
            </p:nvSpPr>
            <p:spPr>
              <a:xfrm>
                <a:off x="8405966" y="5698888"/>
                <a:ext cx="196363" cy="220165"/>
              </a:xfrm>
              <a:custGeom>
                <a:avLst/>
                <a:gdLst>
                  <a:gd name="connsiteX0" fmla="*/ 0 w 196363"/>
                  <a:gd name="connsiteY0" fmla="*/ 178512 h 220165"/>
                  <a:gd name="connsiteX1" fmla="*/ 20826 w 196363"/>
                  <a:gd name="connsiteY1" fmla="*/ 0 h 220165"/>
                  <a:gd name="connsiteX2" fmla="*/ 196363 w 196363"/>
                  <a:gd name="connsiteY2" fmla="*/ 5951 h 220165"/>
                  <a:gd name="connsiteX3" fmla="*/ 175537 w 196363"/>
                  <a:gd name="connsiteY3" fmla="*/ 193388 h 220165"/>
                  <a:gd name="connsiteX4" fmla="*/ 11901 w 196363"/>
                  <a:gd name="connsiteY4" fmla="*/ 220166 h 220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363" h="220165">
                    <a:moveTo>
                      <a:pt x="0" y="178512"/>
                    </a:moveTo>
                    <a:lnTo>
                      <a:pt x="20826" y="0"/>
                    </a:lnTo>
                    <a:lnTo>
                      <a:pt x="196363" y="5951"/>
                    </a:lnTo>
                    <a:lnTo>
                      <a:pt x="175537" y="193388"/>
                    </a:lnTo>
                    <a:lnTo>
                      <a:pt x="11901" y="220166"/>
                    </a:lnTo>
                    <a:close/>
                  </a:path>
                </a:pathLst>
              </a:custGeom>
              <a:solidFill>
                <a:srgbClr val="F49F84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2" name="任意多边形: 形状 291">
                <a:extLst>
                  <a:ext uri="{FF2B5EF4-FFF2-40B4-BE49-F238E27FC236}">
                    <a16:creationId xmlns:a16="http://schemas.microsoft.com/office/drawing/2014/main" id="{233191A9-2C7C-4739-9D6B-510351CB6ADE}"/>
                  </a:ext>
                </a:extLst>
              </p:cNvPr>
              <p:cNvSpPr/>
              <p:nvPr/>
            </p:nvSpPr>
            <p:spPr>
              <a:xfrm>
                <a:off x="8395870" y="5832772"/>
                <a:ext cx="518856" cy="178512"/>
              </a:xfrm>
              <a:custGeom>
                <a:avLst/>
                <a:gdLst>
                  <a:gd name="connsiteX0" fmla="*/ 10096 w 518856"/>
                  <a:gd name="connsiteY0" fmla="*/ 44628 h 178512"/>
                  <a:gd name="connsiteX1" fmla="*/ 197534 w 518856"/>
                  <a:gd name="connsiteY1" fmla="*/ 0 h 178512"/>
                  <a:gd name="connsiteX2" fmla="*/ 340344 w 518856"/>
                  <a:gd name="connsiteY2" fmla="*/ 89256 h 178512"/>
                  <a:gd name="connsiteX3" fmla="*/ 518856 w 518856"/>
                  <a:gd name="connsiteY3" fmla="*/ 178512 h 178512"/>
                  <a:gd name="connsiteX4" fmla="*/ 7121 w 518856"/>
                  <a:gd name="connsiteY4" fmla="*/ 166612 h 178512"/>
                  <a:gd name="connsiteX5" fmla="*/ 10096 w 518856"/>
                  <a:gd name="connsiteY5" fmla="*/ 44628 h 178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8856" h="178512">
                    <a:moveTo>
                      <a:pt x="10096" y="44628"/>
                    </a:moveTo>
                    <a:cubicBezTo>
                      <a:pt x="10096" y="44628"/>
                      <a:pt x="129104" y="68430"/>
                      <a:pt x="197534" y="0"/>
                    </a:cubicBezTo>
                    <a:cubicBezTo>
                      <a:pt x="197534" y="0"/>
                      <a:pt x="289765" y="80331"/>
                      <a:pt x="340344" y="89256"/>
                    </a:cubicBezTo>
                    <a:cubicBezTo>
                      <a:pt x="387947" y="101157"/>
                      <a:pt x="506956" y="101157"/>
                      <a:pt x="518856" y="178512"/>
                    </a:cubicBezTo>
                    <a:lnTo>
                      <a:pt x="7121" y="166612"/>
                    </a:lnTo>
                    <a:cubicBezTo>
                      <a:pt x="7121" y="166612"/>
                      <a:pt x="-10731" y="98182"/>
                      <a:pt x="10096" y="44628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3" name="任意多边形: 形状 292">
                <a:extLst>
                  <a:ext uri="{FF2B5EF4-FFF2-40B4-BE49-F238E27FC236}">
                    <a16:creationId xmlns:a16="http://schemas.microsoft.com/office/drawing/2014/main" id="{15BBA669-841F-4C24-BD82-0B7339AAE864}"/>
                  </a:ext>
                </a:extLst>
              </p:cNvPr>
              <p:cNvSpPr/>
              <p:nvPr/>
            </p:nvSpPr>
            <p:spPr>
              <a:xfrm rot="-5317608">
                <a:off x="8633627" y="5775136"/>
                <a:ext cx="47602" cy="511728"/>
              </a:xfrm>
              <a:custGeom>
                <a:avLst/>
                <a:gdLst>
                  <a:gd name="connsiteX0" fmla="*/ 0 w 47602"/>
                  <a:gd name="connsiteY0" fmla="*/ 0 h 511728"/>
                  <a:gd name="connsiteX1" fmla="*/ 47603 w 47602"/>
                  <a:gd name="connsiteY1" fmla="*/ 0 h 511728"/>
                  <a:gd name="connsiteX2" fmla="*/ 47603 w 47602"/>
                  <a:gd name="connsiteY2" fmla="*/ 511729 h 511728"/>
                  <a:gd name="connsiteX3" fmla="*/ 0 w 47602"/>
                  <a:gd name="connsiteY3" fmla="*/ 511729 h 511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02" h="511728">
                    <a:moveTo>
                      <a:pt x="0" y="0"/>
                    </a:moveTo>
                    <a:lnTo>
                      <a:pt x="47603" y="0"/>
                    </a:lnTo>
                    <a:lnTo>
                      <a:pt x="47603" y="511729"/>
                    </a:lnTo>
                    <a:lnTo>
                      <a:pt x="0" y="511729"/>
                    </a:lnTo>
                    <a:close/>
                  </a:path>
                </a:pathLst>
              </a:custGeom>
              <a:solidFill>
                <a:srgbClr val="38333D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4" name="任意多边形: 形状 293">
                <a:extLst>
                  <a:ext uri="{FF2B5EF4-FFF2-40B4-BE49-F238E27FC236}">
                    <a16:creationId xmlns:a16="http://schemas.microsoft.com/office/drawing/2014/main" id="{D02716BC-1036-420F-B595-DCE5442D37F1}"/>
                  </a:ext>
                </a:extLst>
              </p:cNvPr>
              <p:cNvSpPr/>
              <p:nvPr/>
            </p:nvSpPr>
            <p:spPr>
              <a:xfrm>
                <a:off x="8397040" y="5824591"/>
                <a:ext cx="198594" cy="61735"/>
              </a:xfrm>
              <a:custGeom>
                <a:avLst/>
                <a:gdLst>
                  <a:gd name="connsiteX0" fmla="*/ 47603 w 198594"/>
                  <a:gd name="connsiteY0" fmla="*/ 61735 h 61735"/>
                  <a:gd name="connsiteX1" fmla="*/ 5950 w 198594"/>
                  <a:gd name="connsiteY1" fmla="*/ 58760 h 61735"/>
                  <a:gd name="connsiteX2" fmla="*/ 0 w 198594"/>
                  <a:gd name="connsiteY2" fmla="*/ 52810 h 61735"/>
                  <a:gd name="connsiteX3" fmla="*/ 5950 w 198594"/>
                  <a:gd name="connsiteY3" fmla="*/ 46859 h 61735"/>
                  <a:gd name="connsiteX4" fmla="*/ 187438 w 198594"/>
                  <a:gd name="connsiteY4" fmla="*/ 2231 h 61735"/>
                  <a:gd name="connsiteX5" fmla="*/ 196363 w 198594"/>
                  <a:gd name="connsiteY5" fmla="*/ 2231 h 61735"/>
                  <a:gd name="connsiteX6" fmla="*/ 196363 w 198594"/>
                  <a:gd name="connsiteY6" fmla="*/ 11157 h 61735"/>
                  <a:gd name="connsiteX7" fmla="*/ 47603 w 198594"/>
                  <a:gd name="connsiteY7" fmla="*/ 61735 h 61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8594" h="61735">
                    <a:moveTo>
                      <a:pt x="47603" y="61735"/>
                    </a:moveTo>
                    <a:cubicBezTo>
                      <a:pt x="23802" y="61735"/>
                      <a:pt x="8926" y="58760"/>
                      <a:pt x="5950" y="58760"/>
                    </a:cubicBezTo>
                    <a:cubicBezTo>
                      <a:pt x="2975" y="58760"/>
                      <a:pt x="0" y="55785"/>
                      <a:pt x="0" y="52810"/>
                    </a:cubicBezTo>
                    <a:cubicBezTo>
                      <a:pt x="0" y="49835"/>
                      <a:pt x="2975" y="46859"/>
                      <a:pt x="5950" y="46859"/>
                    </a:cubicBezTo>
                    <a:cubicBezTo>
                      <a:pt x="5950" y="46859"/>
                      <a:pt x="113058" y="67686"/>
                      <a:pt x="187438" y="2231"/>
                    </a:cubicBezTo>
                    <a:cubicBezTo>
                      <a:pt x="190413" y="-744"/>
                      <a:pt x="193388" y="-744"/>
                      <a:pt x="196363" y="2231"/>
                    </a:cubicBezTo>
                    <a:cubicBezTo>
                      <a:pt x="199339" y="5207"/>
                      <a:pt x="199339" y="8182"/>
                      <a:pt x="196363" y="11157"/>
                    </a:cubicBezTo>
                    <a:cubicBezTo>
                      <a:pt x="148760" y="52810"/>
                      <a:pt x="89256" y="61735"/>
                      <a:pt x="47603" y="6173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5" name="任意多边形: 形状 294">
                <a:extLst>
                  <a:ext uri="{FF2B5EF4-FFF2-40B4-BE49-F238E27FC236}">
                    <a16:creationId xmlns:a16="http://schemas.microsoft.com/office/drawing/2014/main" id="{4A456940-B210-4D57-9887-54A205A85159}"/>
                  </a:ext>
                </a:extLst>
              </p:cNvPr>
              <p:cNvSpPr/>
              <p:nvPr/>
            </p:nvSpPr>
            <p:spPr>
              <a:xfrm>
                <a:off x="8597123" y="5854343"/>
                <a:ext cx="43140" cy="40908"/>
              </a:xfrm>
              <a:custGeom>
                <a:avLst/>
                <a:gdLst>
                  <a:gd name="connsiteX0" fmla="*/ 5206 w 43140"/>
                  <a:gd name="connsiteY0" fmla="*/ 40909 h 40908"/>
                  <a:gd name="connsiteX1" fmla="*/ 2232 w 43140"/>
                  <a:gd name="connsiteY1" fmla="*/ 37934 h 40908"/>
                  <a:gd name="connsiteX2" fmla="*/ 2232 w 43140"/>
                  <a:gd name="connsiteY2" fmla="*/ 29008 h 40908"/>
                  <a:gd name="connsiteX3" fmla="*/ 31984 w 43140"/>
                  <a:gd name="connsiteY3" fmla="*/ 2231 h 40908"/>
                  <a:gd name="connsiteX4" fmla="*/ 40909 w 43140"/>
                  <a:gd name="connsiteY4" fmla="*/ 2231 h 40908"/>
                  <a:gd name="connsiteX5" fmla="*/ 40909 w 43140"/>
                  <a:gd name="connsiteY5" fmla="*/ 11157 h 40908"/>
                  <a:gd name="connsiteX6" fmla="*/ 11157 w 43140"/>
                  <a:gd name="connsiteY6" fmla="*/ 37934 h 40908"/>
                  <a:gd name="connsiteX7" fmla="*/ 5206 w 43140"/>
                  <a:gd name="connsiteY7" fmla="*/ 40909 h 40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140" h="40908">
                    <a:moveTo>
                      <a:pt x="5206" y="40909"/>
                    </a:moveTo>
                    <a:cubicBezTo>
                      <a:pt x="2232" y="40909"/>
                      <a:pt x="2232" y="40909"/>
                      <a:pt x="2232" y="37934"/>
                    </a:cubicBezTo>
                    <a:cubicBezTo>
                      <a:pt x="-744" y="34959"/>
                      <a:pt x="-744" y="31983"/>
                      <a:pt x="2232" y="29008"/>
                    </a:cubicBezTo>
                    <a:lnTo>
                      <a:pt x="31984" y="2231"/>
                    </a:lnTo>
                    <a:cubicBezTo>
                      <a:pt x="34959" y="-744"/>
                      <a:pt x="37934" y="-744"/>
                      <a:pt x="40909" y="2231"/>
                    </a:cubicBezTo>
                    <a:cubicBezTo>
                      <a:pt x="43884" y="5207"/>
                      <a:pt x="43884" y="8182"/>
                      <a:pt x="40909" y="11157"/>
                    </a:cubicBezTo>
                    <a:lnTo>
                      <a:pt x="11157" y="37934"/>
                    </a:lnTo>
                    <a:cubicBezTo>
                      <a:pt x="8182" y="40909"/>
                      <a:pt x="5206" y="40909"/>
                      <a:pt x="5206" y="4090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6" name="任意多边形: 形状 295">
                <a:extLst>
                  <a:ext uri="{FF2B5EF4-FFF2-40B4-BE49-F238E27FC236}">
                    <a16:creationId xmlns:a16="http://schemas.microsoft.com/office/drawing/2014/main" id="{DCA9A23E-29DC-41FD-814F-74B14A4563C2}"/>
                  </a:ext>
                </a:extLst>
              </p:cNvPr>
              <p:cNvSpPr/>
              <p:nvPr/>
            </p:nvSpPr>
            <p:spPr>
              <a:xfrm>
                <a:off x="8635800" y="5884095"/>
                <a:ext cx="43140" cy="40908"/>
              </a:xfrm>
              <a:custGeom>
                <a:avLst/>
                <a:gdLst>
                  <a:gd name="connsiteX0" fmla="*/ 5207 w 43140"/>
                  <a:gd name="connsiteY0" fmla="*/ 40909 h 40908"/>
                  <a:gd name="connsiteX1" fmla="*/ 2231 w 43140"/>
                  <a:gd name="connsiteY1" fmla="*/ 37934 h 40908"/>
                  <a:gd name="connsiteX2" fmla="*/ 2231 w 43140"/>
                  <a:gd name="connsiteY2" fmla="*/ 29008 h 40908"/>
                  <a:gd name="connsiteX3" fmla="*/ 31983 w 43140"/>
                  <a:gd name="connsiteY3" fmla="*/ 2231 h 40908"/>
                  <a:gd name="connsiteX4" fmla="*/ 40909 w 43140"/>
                  <a:gd name="connsiteY4" fmla="*/ 2231 h 40908"/>
                  <a:gd name="connsiteX5" fmla="*/ 40909 w 43140"/>
                  <a:gd name="connsiteY5" fmla="*/ 11157 h 40908"/>
                  <a:gd name="connsiteX6" fmla="*/ 11157 w 43140"/>
                  <a:gd name="connsiteY6" fmla="*/ 37934 h 40908"/>
                  <a:gd name="connsiteX7" fmla="*/ 5207 w 43140"/>
                  <a:gd name="connsiteY7" fmla="*/ 40909 h 40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140" h="40908">
                    <a:moveTo>
                      <a:pt x="5207" y="40909"/>
                    </a:moveTo>
                    <a:cubicBezTo>
                      <a:pt x="2231" y="40909"/>
                      <a:pt x="2231" y="40909"/>
                      <a:pt x="2231" y="37934"/>
                    </a:cubicBezTo>
                    <a:cubicBezTo>
                      <a:pt x="-744" y="34959"/>
                      <a:pt x="-744" y="31983"/>
                      <a:pt x="2231" y="29008"/>
                    </a:cubicBezTo>
                    <a:lnTo>
                      <a:pt x="31983" y="2231"/>
                    </a:lnTo>
                    <a:cubicBezTo>
                      <a:pt x="34959" y="-744"/>
                      <a:pt x="37934" y="-744"/>
                      <a:pt x="40909" y="2231"/>
                    </a:cubicBezTo>
                    <a:cubicBezTo>
                      <a:pt x="43884" y="5207"/>
                      <a:pt x="43884" y="8182"/>
                      <a:pt x="40909" y="11157"/>
                    </a:cubicBezTo>
                    <a:lnTo>
                      <a:pt x="11157" y="37934"/>
                    </a:lnTo>
                    <a:cubicBezTo>
                      <a:pt x="8182" y="40909"/>
                      <a:pt x="8182" y="40909"/>
                      <a:pt x="5207" y="4090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97" name="任意多边形: 形状 296">
              <a:extLst>
                <a:ext uri="{FF2B5EF4-FFF2-40B4-BE49-F238E27FC236}">
                  <a16:creationId xmlns:a16="http://schemas.microsoft.com/office/drawing/2014/main" id="{305277C3-1548-4FF2-9298-760A28CF7659}"/>
                </a:ext>
              </a:extLst>
            </p:cNvPr>
            <p:cNvSpPr/>
            <p:nvPr/>
          </p:nvSpPr>
          <p:spPr>
            <a:xfrm>
              <a:off x="7774091" y="4041698"/>
              <a:ext cx="1151349" cy="1729765"/>
            </a:xfrm>
            <a:custGeom>
              <a:avLst/>
              <a:gdLst>
                <a:gd name="connsiteX0" fmla="*/ 18982 w 1151349"/>
                <a:gd name="connsiteY0" fmla="*/ 0 h 1729765"/>
                <a:gd name="connsiteX1" fmla="*/ 21957 w 1151349"/>
                <a:gd name="connsiteY1" fmla="*/ 333223 h 1729765"/>
                <a:gd name="connsiteX2" fmla="*/ 738982 w 1151349"/>
                <a:gd name="connsiteY2" fmla="*/ 794380 h 1729765"/>
                <a:gd name="connsiteX3" fmla="*/ 608073 w 1151349"/>
                <a:gd name="connsiteY3" fmla="*/ 1722645 h 1729765"/>
                <a:gd name="connsiteX4" fmla="*/ 893692 w 1151349"/>
                <a:gd name="connsiteY4" fmla="*/ 1719670 h 1729765"/>
                <a:gd name="connsiteX5" fmla="*/ 1149560 w 1151349"/>
                <a:gd name="connsiteY5" fmla="*/ 702149 h 1729765"/>
                <a:gd name="connsiteX6" fmla="*/ 506915 w 1151349"/>
                <a:gd name="connsiteY6" fmla="*/ 59504 h 1729765"/>
                <a:gd name="connsiteX7" fmla="*/ 18982 w 1151349"/>
                <a:gd name="connsiteY7" fmla="*/ 0 h 1729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1349" h="1729765">
                  <a:moveTo>
                    <a:pt x="18982" y="0"/>
                  </a:moveTo>
                  <a:cubicBezTo>
                    <a:pt x="18982" y="0"/>
                    <a:pt x="-25646" y="223141"/>
                    <a:pt x="21957" y="333223"/>
                  </a:cubicBezTo>
                  <a:cubicBezTo>
                    <a:pt x="66585" y="443306"/>
                    <a:pt x="712205" y="740827"/>
                    <a:pt x="738982" y="794380"/>
                  </a:cubicBezTo>
                  <a:cubicBezTo>
                    <a:pt x="765759" y="847934"/>
                    <a:pt x="608073" y="1722645"/>
                    <a:pt x="608073" y="1722645"/>
                  </a:cubicBezTo>
                  <a:cubicBezTo>
                    <a:pt x="608073" y="1722645"/>
                    <a:pt x="822287" y="1740496"/>
                    <a:pt x="893692" y="1719670"/>
                  </a:cubicBezTo>
                  <a:cubicBezTo>
                    <a:pt x="893692" y="1719670"/>
                    <a:pt x="1176337" y="841984"/>
                    <a:pt x="1149560" y="702149"/>
                  </a:cubicBezTo>
                  <a:cubicBezTo>
                    <a:pt x="1122784" y="562314"/>
                    <a:pt x="569395" y="74380"/>
                    <a:pt x="506915" y="59504"/>
                  </a:cubicBezTo>
                  <a:cubicBezTo>
                    <a:pt x="441461" y="47603"/>
                    <a:pt x="18982" y="0"/>
                    <a:pt x="18982" y="0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8" name="任意多边形: 形状 297">
              <a:extLst>
                <a:ext uri="{FF2B5EF4-FFF2-40B4-BE49-F238E27FC236}">
                  <a16:creationId xmlns:a16="http://schemas.microsoft.com/office/drawing/2014/main" id="{DEC18B53-6257-4B30-AD70-801E1CC145E1}"/>
                </a:ext>
              </a:extLst>
            </p:cNvPr>
            <p:cNvSpPr/>
            <p:nvPr/>
          </p:nvSpPr>
          <p:spPr>
            <a:xfrm>
              <a:off x="7921007" y="3113434"/>
              <a:ext cx="833057" cy="774320"/>
            </a:xfrm>
            <a:custGeom>
              <a:avLst/>
              <a:gdLst>
                <a:gd name="connsiteX0" fmla="*/ 410579 w 833057"/>
                <a:gd name="connsiteY0" fmla="*/ 0 h 774320"/>
                <a:gd name="connsiteX1" fmla="*/ 473058 w 833057"/>
                <a:gd name="connsiteY1" fmla="*/ 592066 h 774320"/>
                <a:gd name="connsiteX2" fmla="*/ 833058 w 833057"/>
                <a:gd name="connsiteY2" fmla="*/ 615868 h 774320"/>
                <a:gd name="connsiteX3" fmla="*/ 776529 w 833057"/>
                <a:gd name="connsiteY3" fmla="*/ 720000 h 774320"/>
                <a:gd name="connsiteX4" fmla="*/ 285620 w 833057"/>
                <a:gd name="connsiteY4" fmla="*/ 728926 h 774320"/>
                <a:gd name="connsiteX5" fmla="*/ 0 w 833057"/>
                <a:gd name="connsiteY5" fmla="*/ 83306 h 774320"/>
                <a:gd name="connsiteX6" fmla="*/ 410579 w 833057"/>
                <a:gd name="connsiteY6" fmla="*/ 0 h 77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3057" h="774320">
                  <a:moveTo>
                    <a:pt x="410579" y="0"/>
                  </a:moveTo>
                  <a:lnTo>
                    <a:pt x="473058" y="592066"/>
                  </a:lnTo>
                  <a:lnTo>
                    <a:pt x="833058" y="615868"/>
                  </a:lnTo>
                  <a:lnTo>
                    <a:pt x="776529" y="720000"/>
                  </a:lnTo>
                  <a:cubicBezTo>
                    <a:pt x="776529" y="720000"/>
                    <a:pt x="348099" y="836033"/>
                    <a:pt x="285620" y="728926"/>
                  </a:cubicBezTo>
                  <a:cubicBezTo>
                    <a:pt x="211239" y="595041"/>
                    <a:pt x="0" y="83306"/>
                    <a:pt x="0" y="83306"/>
                  </a:cubicBezTo>
                  <a:lnTo>
                    <a:pt x="410579" y="0"/>
                  </a:ln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9" name="任意多边形: 形状 298">
              <a:extLst>
                <a:ext uri="{FF2B5EF4-FFF2-40B4-BE49-F238E27FC236}">
                  <a16:creationId xmlns:a16="http://schemas.microsoft.com/office/drawing/2014/main" id="{D68B6511-9965-4F9F-A1A7-E0948AE3B1C2}"/>
                </a:ext>
              </a:extLst>
            </p:cNvPr>
            <p:cNvSpPr/>
            <p:nvPr/>
          </p:nvSpPr>
          <p:spPr>
            <a:xfrm>
              <a:off x="8646002" y="3723351"/>
              <a:ext cx="271769" cy="193941"/>
            </a:xfrm>
            <a:custGeom>
              <a:avLst/>
              <a:gdLst>
                <a:gd name="connsiteX0" fmla="*/ 21781 w 271769"/>
                <a:gd name="connsiteY0" fmla="*/ 35702 h 193941"/>
                <a:gd name="connsiteX1" fmla="*/ 27732 w 271769"/>
                <a:gd name="connsiteY1" fmla="*/ 35702 h 193941"/>
                <a:gd name="connsiteX2" fmla="*/ 54509 w 271769"/>
                <a:gd name="connsiteY2" fmla="*/ 11901 h 193941"/>
                <a:gd name="connsiteX3" fmla="*/ 78310 w 271769"/>
                <a:gd name="connsiteY3" fmla="*/ 0 h 193941"/>
                <a:gd name="connsiteX4" fmla="*/ 200294 w 271769"/>
                <a:gd name="connsiteY4" fmla="*/ 44628 h 193941"/>
                <a:gd name="connsiteX5" fmla="*/ 265748 w 271769"/>
                <a:gd name="connsiteY5" fmla="*/ 110083 h 193941"/>
                <a:gd name="connsiteX6" fmla="*/ 244922 w 271769"/>
                <a:gd name="connsiteY6" fmla="*/ 160661 h 193941"/>
                <a:gd name="connsiteX7" fmla="*/ 194343 w 271769"/>
                <a:gd name="connsiteY7" fmla="*/ 181488 h 193941"/>
                <a:gd name="connsiteX8" fmla="*/ 185417 w 271769"/>
                <a:gd name="connsiteY8" fmla="*/ 166612 h 193941"/>
                <a:gd name="connsiteX9" fmla="*/ 137814 w 271769"/>
                <a:gd name="connsiteY9" fmla="*/ 160661 h 193941"/>
                <a:gd name="connsiteX10" fmla="*/ 111037 w 271769"/>
                <a:gd name="connsiteY10" fmla="*/ 101157 h 193941"/>
                <a:gd name="connsiteX11" fmla="*/ 30707 w 271769"/>
                <a:gd name="connsiteY11" fmla="*/ 92231 h 193941"/>
                <a:gd name="connsiteX12" fmla="*/ 21781 w 271769"/>
                <a:gd name="connsiteY12" fmla="*/ 35702 h 193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1769" h="193941">
                  <a:moveTo>
                    <a:pt x="21781" y="35702"/>
                  </a:moveTo>
                  <a:cubicBezTo>
                    <a:pt x="24757" y="35702"/>
                    <a:pt x="27732" y="35702"/>
                    <a:pt x="27732" y="35702"/>
                  </a:cubicBezTo>
                  <a:cubicBezTo>
                    <a:pt x="30707" y="23802"/>
                    <a:pt x="39633" y="11901"/>
                    <a:pt x="54509" y="11901"/>
                  </a:cubicBezTo>
                  <a:cubicBezTo>
                    <a:pt x="60459" y="5950"/>
                    <a:pt x="66409" y="0"/>
                    <a:pt x="78310" y="0"/>
                  </a:cubicBezTo>
                  <a:cubicBezTo>
                    <a:pt x="114013" y="2975"/>
                    <a:pt x="170541" y="23802"/>
                    <a:pt x="200294" y="44628"/>
                  </a:cubicBezTo>
                  <a:cubicBezTo>
                    <a:pt x="230046" y="65454"/>
                    <a:pt x="244922" y="77355"/>
                    <a:pt x="265748" y="110083"/>
                  </a:cubicBezTo>
                  <a:cubicBezTo>
                    <a:pt x="280624" y="130909"/>
                    <a:pt x="265748" y="154711"/>
                    <a:pt x="244922" y="160661"/>
                  </a:cubicBezTo>
                  <a:cubicBezTo>
                    <a:pt x="244922" y="187438"/>
                    <a:pt x="212195" y="208264"/>
                    <a:pt x="194343" y="181488"/>
                  </a:cubicBezTo>
                  <a:cubicBezTo>
                    <a:pt x="191368" y="175537"/>
                    <a:pt x="188393" y="172562"/>
                    <a:pt x="185417" y="166612"/>
                  </a:cubicBezTo>
                  <a:cubicBezTo>
                    <a:pt x="173517" y="178512"/>
                    <a:pt x="146740" y="181488"/>
                    <a:pt x="137814" y="160661"/>
                  </a:cubicBezTo>
                  <a:cubicBezTo>
                    <a:pt x="128889" y="142810"/>
                    <a:pt x="125913" y="116033"/>
                    <a:pt x="111037" y="101157"/>
                  </a:cubicBezTo>
                  <a:cubicBezTo>
                    <a:pt x="93186" y="83306"/>
                    <a:pt x="51533" y="92231"/>
                    <a:pt x="30707" y="92231"/>
                  </a:cubicBezTo>
                  <a:cubicBezTo>
                    <a:pt x="-2020" y="98182"/>
                    <a:pt x="-13921" y="41653"/>
                    <a:pt x="21781" y="35702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00" name="图形 1">
              <a:extLst>
                <a:ext uri="{FF2B5EF4-FFF2-40B4-BE49-F238E27FC236}">
                  <a16:creationId xmlns:a16="http://schemas.microsoft.com/office/drawing/2014/main" id="{C4220F68-B32F-423B-8B09-E3E75FE87C34}"/>
                </a:ext>
              </a:extLst>
            </p:cNvPr>
            <p:cNvGrpSpPr/>
            <p:nvPr/>
          </p:nvGrpSpPr>
          <p:grpSpPr>
            <a:xfrm>
              <a:off x="5628566" y="3767738"/>
              <a:ext cx="5095541" cy="3079579"/>
              <a:chOff x="5628566" y="3767738"/>
              <a:chExt cx="5095541" cy="3079579"/>
            </a:xfrm>
          </p:grpSpPr>
          <p:sp>
            <p:nvSpPr>
              <p:cNvPr id="301" name="任意多边形: 形状 300">
                <a:extLst>
                  <a:ext uri="{FF2B5EF4-FFF2-40B4-BE49-F238E27FC236}">
                    <a16:creationId xmlns:a16="http://schemas.microsoft.com/office/drawing/2014/main" id="{2A76578B-EB93-4F99-879B-F6E8851AB497}"/>
                  </a:ext>
                </a:extLst>
              </p:cNvPr>
              <p:cNvSpPr/>
              <p:nvPr/>
            </p:nvSpPr>
            <p:spPr>
              <a:xfrm>
                <a:off x="6561338" y="4633764"/>
                <a:ext cx="919338" cy="95206"/>
              </a:xfrm>
              <a:custGeom>
                <a:avLst/>
                <a:gdLst>
                  <a:gd name="connsiteX0" fmla="*/ 919339 w 919338"/>
                  <a:gd name="connsiteY0" fmla="*/ 95207 h 95206"/>
                  <a:gd name="connsiteX1" fmla="*/ 47603 w 919338"/>
                  <a:gd name="connsiteY1" fmla="*/ 95207 h 95206"/>
                  <a:gd name="connsiteX2" fmla="*/ 0 w 919338"/>
                  <a:gd name="connsiteY2" fmla="*/ 47603 h 95206"/>
                  <a:gd name="connsiteX3" fmla="*/ 0 w 919338"/>
                  <a:gd name="connsiteY3" fmla="*/ 47603 h 95206"/>
                  <a:gd name="connsiteX4" fmla="*/ 47603 w 919338"/>
                  <a:gd name="connsiteY4" fmla="*/ 0 h 95206"/>
                  <a:gd name="connsiteX5" fmla="*/ 919339 w 919338"/>
                  <a:gd name="connsiteY5" fmla="*/ 0 h 95206"/>
                  <a:gd name="connsiteX6" fmla="*/ 919339 w 919338"/>
                  <a:gd name="connsiteY6" fmla="*/ 95207 h 95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9338" h="95206">
                    <a:moveTo>
                      <a:pt x="919339" y="95207"/>
                    </a:moveTo>
                    <a:lnTo>
                      <a:pt x="47603" y="95207"/>
                    </a:lnTo>
                    <a:cubicBezTo>
                      <a:pt x="20826" y="95207"/>
                      <a:pt x="0" y="74380"/>
                      <a:pt x="0" y="47603"/>
                    </a:cubicBezTo>
                    <a:lnTo>
                      <a:pt x="0" y="47603"/>
                    </a:lnTo>
                    <a:cubicBezTo>
                      <a:pt x="0" y="20827"/>
                      <a:pt x="20826" y="0"/>
                      <a:pt x="47603" y="0"/>
                    </a:cubicBezTo>
                    <a:lnTo>
                      <a:pt x="919339" y="0"/>
                    </a:lnTo>
                    <a:lnTo>
                      <a:pt x="919339" y="95207"/>
                    </a:lnTo>
                    <a:close/>
                  </a:path>
                </a:pathLst>
              </a:custGeom>
              <a:solidFill>
                <a:srgbClr val="D3977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2" name="任意多边形: 形状 301">
                <a:extLst>
                  <a:ext uri="{FF2B5EF4-FFF2-40B4-BE49-F238E27FC236}">
                    <a16:creationId xmlns:a16="http://schemas.microsoft.com/office/drawing/2014/main" id="{6435E5F2-83E4-4B0B-AB10-1A1791DC9D83}"/>
                  </a:ext>
                </a:extLst>
              </p:cNvPr>
              <p:cNvSpPr/>
              <p:nvPr/>
            </p:nvSpPr>
            <p:spPr>
              <a:xfrm>
                <a:off x="7421172" y="4583186"/>
                <a:ext cx="1886280" cy="1365619"/>
              </a:xfrm>
              <a:custGeom>
                <a:avLst/>
                <a:gdLst>
                  <a:gd name="connsiteX0" fmla="*/ 627769 w 1886280"/>
                  <a:gd name="connsiteY0" fmla="*/ 1365620 h 1365619"/>
                  <a:gd name="connsiteX1" fmla="*/ 1886281 w 1886280"/>
                  <a:gd name="connsiteY1" fmla="*/ 276694 h 1365619"/>
                  <a:gd name="connsiteX2" fmla="*/ 1862480 w 1886280"/>
                  <a:gd name="connsiteY2" fmla="*/ 246942 h 1365619"/>
                  <a:gd name="connsiteX3" fmla="*/ 642645 w 1886280"/>
                  <a:gd name="connsiteY3" fmla="*/ 1309091 h 1365619"/>
                  <a:gd name="connsiteX4" fmla="*/ 32727 w 1886280"/>
                  <a:gd name="connsiteY4" fmla="*/ 0 h 1365619"/>
                  <a:gd name="connsiteX5" fmla="*/ 0 w 1886280"/>
                  <a:gd name="connsiteY5" fmla="*/ 14876 h 136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86280" h="1365619">
                    <a:moveTo>
                      <a:pt x="627769" y="1365620"/>
                    </a:moveTo>
                    <a:lnTo>
                      <a:pt x="1886281" y="276694"/>
                    </a:lnTo>
                    <a:lnTo>
                      <a:pt x="1862480" y="246942"/>
                    </a:lnTo>
                    <a:lnTo>
                      <a:pt x="642645" y="1309091"/>
                    </a:lnTo>
                    <a:lnTo>
                      <a:pt x="32727" y="0"/>
                    </a:lnTo>
                    <a:lnTo>
                      <a:pt x="0" y="14876"/>
                    </a:ln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3" name="任意多边形: 形状 302">
                <a:extLst>
                  <a:ext uri="{FF2B5EF4-FFF2-40B4-BE49-F238E27FC236}">
                    <a16:creationId xmlns:a16="http://schemas.microsoft.com/office/drawing/2014/main" id="{BFF69E54-7998-4B17-A804-3BB268D1F2AD}"/>
                  </a:ext>
                </a:extLst>
              </p:cNvPr>
              <p:cNvSpPr/>
              <p:nvPr/>
            </p:nvSpPr>
            <p:spPr>
              <a:xfrm>
                <a:off x="7876379" y="4776574"/>
                <a:ext cx="1401322" cy="791404"/>
              </a:xfrm>
              <a:custGeom>
                <a:avLst/>
                <a:gdLst>
                  <a:gd name="connsiteX0" fmla="*/ 14876 w 1401322"/>
                  <a:gd name="connsiteY0" fmla="*/ 791405 h 791404"/>
                  <a:gd name="connsiteX1" fmla="*/ 1401322 w 1401322"/>
                  <a:gd name="connsiteY1" fmla="*/ 32727 h 791404"/>
                  <a:gd name="connsiteX2" fmla="*/ 1383471 w 1401322"/>
                  <a:gd name="connsiteY2" fmla="*/ 0 h 791404"/>
                  <a:gd name="connsiteX3" fmla="*/ 0 w 1401322"/>
                  <a:gd name="connsiteY3" fmla="*/ 758677 h 79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1322" h="791404">
                    <a:moveTo>
                      <a:pt x="14876" y="791405"/>
                    </a:moveTo>
                    <a:lnTo>
                      <a:pt x="1401322" y="32727"/>
                    </a:lnTo>
                    <a:lnTo>
                      <a:pt x="1383471" y="0"/>
                    </a:lnTo>
                    <a:lnTo>
                      <a:pt x="0" y="758677"/>
                    </a:ln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4" name="任意多边形: 形状 303">
                <a:extLst>
                  <a:ext uri="{FF2B5EF4-FFF2-40B4-BE49-F238E27FC236}">
                    <a16:creationId xmlns:a16="http://schemas.microsoft.com/office/drawing/2014/main" id="{CE0E5CBF-8F0C-419C-B3FF-3602A05E3F06}"/>
                  </a:ext>
                </a:extLst>
              </p:cNvPr>
              <p:cNvSpPr/>
              <p:nvPr/>
            </p:nvSpPr>
            <p:spPr>
              <a:xfrm>
                <a:off x="8159023" y="6049963"/>
                <a:ext cx="300495" cy="59504"/>
              </a:xfrm>
              <a:custGeom>
                <a:avLst/>
                <a:gdLst>
                  <a:gd name="connsiteX0" fmla="*/ 0 w 300495"/>
                  <a:gd name="connsiteY0" fmla="*/ 0 h 59504"/>
                  <a:gd name="connsiteX1" fmla="*/ 300496 w 300495"/>
                  <a:gd name="connsiteY1" fmla="*/ 0 h 59504"/>
                  <a:gd name="connsiteX2" fmla="*/ 300496 w 300495"/>
                  <a:gd name="connsiteY2" fmla="*/ 59504 h 59504"/>
                  <a:gd name="connsiteX3" fmla="*/ 0 w 300495"/>
                  <a:gd name="connsiteY3" fmla="*/ 59504 h 59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0495" h="59504">
                    <a:moveTo>
                      <a:pt x="0" y="0"/>
                    </a:moveTo>
                    <a:lnTo>
                      <a:pt x="300496" y="0"/>
                    </a:lnTo>
                    <a:lnTo>
                      <a:pt x="300496" y="59504"/>
                    </a:lnTo>
                    <a:lnTo>
                      <a:pt x="0" y="59504"/>
                    </a:lnTo>
                    <a:close/>
                  </a:path>
                </a:pathLst>
              </a:custGeom>
              <a:solidFill>
                <a:srgbClr val="D3977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5" name="任意多边形: 形状 304">
                <a:extLst>
                  <a:ext uri="{FF2B5EF4-FFF2-40B4-BE49-F238E27FC236}">
                    <a16:creationId xmlns:a16="http://schemas.microsoft.com/office/drawing/2014/main" id="{5C54F3EF-674A-4292-ABCD-CF2EBAB22305}"/>
                  </a:ext>
                </a:extLst>
              </p:cNvPr>
              <p:cNvSpPr/>
              <p:nvPr/>
            </p:nvSpPr>
            <p:spPr>
              <a:xfrm rot="-2236739">
                <a:off x="6742990" y="5511615"/>
                <a:ext cx="1088931" cy="35702"/>
              </a:xfrm>
              <a:custGeom>
                <a:avLst/>
                <a:gdLst>
                  <a:gd name="connsiteX0" fmla="*/ 0 w 1088931"/>
                  <a:gd name="connsiteY0" fmla="*/ 0 h 35702"/>
                  <a:gd name="connsiteX1" fmla="*/ 1088932 w 1088931"/>
                  <a:gd name="connsiteY1" fmla="*/ 0 h 35702"/>
                  <a:gd name="connsiteX2" fmla="*/ 1088932 w 1088931"/>
                  <a:gd name="connsiteY2" fmla="*/ 35703 h 35702"/>
                  <a:gd name="connsiteX3" fmla="*/ 0 w 1088931"/>
                  <a:gd name="connsiteY3" fmla="*/ 35703 h 35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8931" h="35702">
                    <a:moveTo>
                      <a:pt x="0" y="0"/>
                    </a:moveTo>
                    <a:lnTo>
                      <a:pt x="1088932" y="0"/>
                    </a:lnTo>
                    <a:lnTo>
                      <a:pt x="1088932" y="35703"/>
                    </a:lnTo>
                    <a:lnTo>
                      <a:pt x="0" y="35703"/>
                    </a:ln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306" name="图形 1">
                <a:extLst>
                  <a:ext uri="{FF2B5EF4-FFF2-40B4-BE49-F238E27FC236}">
                    <a16:creationId xmlns:a16="http://schemas.microsoft.com/office/drawing/2014/main" id="{C4220F68-B32F-423B-8B09-E3E75FE87C34}"/>
                  </a:ext>
                </a:extLst>
              </p:cNvPr>
              <p:cNvGrpSpPr/>
              <p:nvPr/>
            </p:nvGrpSpPr>
            <p:grpSpPr>
              <a:xfrm>
                <a:off x="5628566" y="4898558"/>
                <a:ext cx="2028102" cy="1948760"/>
                <a:chOff x="5628566" y="4898558"/>
                <a:chExt cx="2028102" cy="1948760"/>
              </a:xfrm>
            </p:grpSpPr>
            <p:sp>
              <p:nvSpPr>
                <p:cNvPr id="307" name="任意多边形: 形状 306">
                  <a:extLst>
                    <a:ext uri="{FF2B5EF4-FFF2-40B4-BE49-F238E27FC236}">
                      <a16:creationId xmlns:a16="http://schemas.microsoft.com/office/drawing/2014/main" id="{154A4185-BE59-4958-925E-EF5937D7046A}"/>
                    </a:ext>
                  </a:extLst>
                </p:cNvPr>
                <p:cNvSpPr/>
                <p:nvPr/>
              </p:nvSpPr>
              <p:spPr>
                <a:xfrm>
                  <a:off x="6632742" y="5085996"/>
                  <a:ext cx="35702" cy="847933"/>
                </a:xfrm>
                <a:custGeom>
                  <a:avLst/>
                  <a:gdLst>
                    <a:gd name="connsiteX0" fmla="*/ 0 w 35702"/>
                    <a:gd name="connsiteY0" fmla="*/ 0 h 847933"/>
                    <a:gd name="connsiteX1" fmla="*/ 35702 w 35702"/>
                    <a:gd name="connsiteY1" fmla="*/ 0 h 847933"/>
                    <a:gd name="connsiteX2" fmla="*/ 35702 w 35702"/>
                    <a:gd name="connsiteY2" fmla="*/ 847934 h 847933"/>
                    <a:gd name="connsiteX3" fmla="*/ 0 w 35702"/>
                    <a:gd name="connsiteY3" fmla="*/ 847934 h 847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702" h="847933">
                      <a:moveTo>
                        <a:pt x="0" y="0"/>
                      </a:moveTo>
                      <a:lnTo>
                        <a:pt x="35702" y="0"/>
                      </a:lnTo>
                      <a:lnTo>
                        <a:pt x="35702" y="847934"/>
                      </a:lnTo>
                      <a:lnTo>
                        <a:pt x="0" y="847934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08" name="任意多边形: 形状 307">
                  <a:extLst>
                    <a:ext uri="{FF2B5EF4-FFF2-40B4-BE49-F238E27FC236}">
                      <a16:creationId xmlns:a16="http://schemas.microsoft.com/office/drawing/2014/main" id="{79274DC7-0C11-4748-A112-F879AD78C7A8}"/>
                    </a:ext>
                  </a:extLst>
                </p:cNvPr>
                <p:cNvSpPr/>
                <p:nvPr/>
              </p:nvSpPr>
              <p:spPr>
                <a:xfrm rot="-2700000">
                  <a:off x="6332225" y="5212163"/>
                  <a:ext cx="35702" cy="847925"/>
                </a:xfrm>
                <a:custGeom>
                  <a:avLst/>
                  <a:gdLst>
                    <a:gd name="connsiteX0" fmla="*/ 0 w 35702"/>
                    <a:gd name="connsiteY0" fmla="*/ 0 h 847925"/>
                    <a:gd name="connsiteX1" fmla="*/ 35702 w 35702"/>
                    <a:gd name="connsiteY1" fmla="*/ 0 h 847925"/>
                    <a:gd name="connsiteX2" fmla="*/ 35702 w 35702"/>
                    <a:gd name="connsiteY2" fmla="*/ 847926 h 847925"/>
                    <a:gd name="connsiteX3" fmla="*/ 0 w 35702"/>
                    <a:gd name="connsiteY3" fmla="*/ 847926 h 847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702" h="847925">
                      <a:moveTo>
                        <a:pt x="0" y="0"/>
                      </a:moveTo>
                      <a:lnTo>
                        <a:pt x="35702" y="0"/>
                      </a:lnTo>
                      <a:lnTo>
                        <a:pt x="35702" y="847926"/>
                      </a:lnTo>
                      <a:lnTo>
                        <a:pt x="0" y="847926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09" name="任意多边形: 形状 308">
                  <a:extLst>
                    <a:ext uri="{FF2B5EF4-FFF2-40B4-BE49-F238E27FC236}">
                      <a16:creationId xmlns:a16="http://schemas.microsoft.com/office/drawing/2014/main" id="{8CE38301-5259-4133-9D57-DE031798050E}"/>
                    </a:ext>
                  </a:extLst>
                </p:cNvPr>
                <p:cNvSpPr/>
                <p:nvPr/>
              </p:nvSpPr>
              <p:spPr>
                <a:xfrm>
                  <a:off x="5802660" y="5919053"/>
                  <a:ext cx="847933" cy="35702"/>
                </a:xfrm>
                <a:custGeom>
                  <a:avLst/>
                  <a:gdLst>
                    <a:gd name="connsiteX0" fmla="*/ 0 w 847933"/>
                    <a:gd name="connsiteY0" fmla="*/ 0 h 35702"/>
                    <a:gd name="connsiteX1" fmla="*/ 847934 w 847933"/>
                    <a:gd name="connsiteY1" fmla="*/ 0 h 35702"/>
                    <a:gd name="connsiteX2" fmla="*/ 847934 w 847933"/>
                    <a:gd name="connsiteY2" fmla="*/ 35702 h 35702"/>
                    <a:gd name="connsiteX3" fmla="*/ 0 w 847933"/>
                    <a:gd name="connsiteY3" fmla="*/ 35702 h 35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47933" h="35702">
                      <a:moveTo>
                        <a:pt x="0" y="0"/>
                      </a:moveTo>
                      <a:lnTo>
                        <a:pt x="847934" y="0"/>
                      </a:lnTo>
                      <a:lnTo>
                        <a:pt x="847934" y="35702"/>
                      </a:lnTo>
                      <a:lnTo>
                        <a:pt x="0" y="35702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0" name="任意多边形: 形状 309">
                  <a:extLst>
                    <a:ext uri="{FF2B5EF4-FFF2-40B4-BE49-F238E27FC236}">
                      <a16:creationId xmlns:a16="http://schemas.microsoft.com/office/drawing/2014/main" id="{6A5E1507-6F64-474F-ADBF-6BCA1B6DA395}"/>
                    </a:ext>
                  </a:extLst>
                </p:cNvPr>
                <p:cNvSpPr/>
                <p:nvPr/>
              </p:nvSpPr>
              <p:spPr>
                <a:xfrm rot="-2700000">
                  <a:off x="5926566" y="6216842"/>
                  <a:ext cx="847925" cy="35702"/>
                </a:xfrm>
                <a:custGeom>
                  <a:avLst/>
                  <a:gdLst>
                    <a:gd name="connsiteX0" fmla="*/ 0 w 847925"/>
                    <a:gd name="connsiteY0" fmla="*/ 0 h 35702"/>
                    <a:gd name="connsiteX1" fmla="*/ 847926 w 847925"/>
                    <a:gd name="connsiteY1" fmla="*/ 0 h 35702"/>
                    <a:gd name="connsiteX2" fmla="*/ 847926 w 847925"/>
                    <a:gd name="connsiteY2" fmla="*/ 35702 h 35702"/>
                    <a:gd name="connsiteX3" fmla="*/ 0 w 847925"/>
                    <a:gd name="connsiteY3" fmla="*/ 35702 h 35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47925" h="35702">
                      <a:moveTo>
                        <a:pt x="0" y="0"/>
                      </a:moveTo>
                      <a:lnTo>
                        <a:pt x="847926" y="0"/>
                      </a:lnTo>
                      <a:lnTo>
                        <a:pt x="847926" y="35702"/>
                      </a:lnTo>
                      <a:lnTo>
                        <a:pt x="0" y="35702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1" name="任意多边形: 形状 310">
                  <a:extLst>
                    <a:ext uri="{FF2B5EF4-FFF2-40B4-BE49-F238E27FC236}">
                      <a16:creationId xmlns:a16="http://schemas.microsoft.com/office/drawing/2014/main" id="{66687E80-2CBF-4E62-9965-3468CB75B29C}"/>
                    </a:ext>
                  </a:extLst>
                </p:cNvPr>
                <p:cNvSpPr/>
                <p:nvPr/>
              </p:nvSpPr>
              <p:spPr>
                <a:xfrm>
                  <a:off x="6632742" y="5936905"/>
                  <a:ext cx="35702" cy="847933"/>
                </a:xfrm>
                <a:custGeom>
                  <a:avLst/>
                  <a:gdLst>
                    <a:gd name="connsiteX0" fmla="*/ 0 w 35702"/>
                    <a:gd name="connsiteY0" fmla="*/ 0 h 847933"/>
                    <a:gd name="connsiteX1" fmla="*/ 35702 w 35702"/>
                    <a:gd name="connsiteY1" fmla="*/ 0 h 847933"/>
                    <a:gd name="connsiteX2" fmla="*/ 35702 w 35702"/>
                    <a:gd name="connsiteY2" fmla="*/ 847934 h 847933"/>
                    <a:gd name="connsiteX3" fmla="*/ 0 w 35702"/>
                    <a:gd name="connsiteY3" fmla="*/ 847934 h 847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702" h="847933">
                      <a:moveTo>
                        <a:pt x="0" y="0"/>
                      </a:moveTo>
                      <a:lnTo>
                        <a:pt x="35702" y="0"/>
                      </a:lnTo>
                      <a:lnTo>
                        <a:pt x="35702" y="847934"/>
                      </a:lnTo>
                      <a:lnTo>
                        <a:pt x="0" y="847934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2" name="任意多边形: 形状 311">
                  <a:extLst>
                    <a:ext uri="{FF2B5EF4-FFF2-40B4-BE49-F238E27FC236}">
                      <a16:creationId xmlns:a16="http://schemas.microsoft.com/office/drawing/2014/main" id="{F2DCE1E9-33B6-4EF5-A66D-A3627AE5FB98}"/>
                    </a:ext>
                  </a:extLst>
                </p:cNvPr>
                <p:cNvSpPr/>
                <p:nvPr/>
              </p:nvSpPr>
              <p:spPr>
                <a:xfrm rot="-2700000">
                  <a:off x="6933480" y="5812390"/>
                  <a:ext cx="35702" cy="847925"/>
                </a:xfrm>
                <a:custGeom>
                  <a:avLst/>
                  <a:gdLst>
                    <a:gd name="connsiteX0" fmla="*/ 0 w 35702"/>
                    <a:gd name="connsiteY0" fmla="*/ 0 h 847925"/>
                    <a:gd name="connsiteX1" fmla="*/ 35702 w 35702"/>
                    <a:gd name="connsiteY1" fmla="*/ 0 h 847925"/>
                    <a:gd name="connsiteX2" fmla="*/ 35702 w 35702"/>
                    <a:gd name="connsiteY2" fmla="*/ 847926 h 847925"/>
                    <a:gd name="connsiteX3" fmla="*/ 0 w 35702"/>
                    <a:gd name="connsiteY3" fmla="*/ 847926 h 847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702" h="847925">
                      <a:moveTo>
                        <a:pt x="0" y="0"/>
                      </a:moveTo>
                      <a:lnTo>
                        <a:pt x="35702" y="0"/>
                      </a:lnTo>
                      <a:lnTo>
                        <a:pt x="35702" y="847926"/>
                      </a:lnTo>
                      <a:lnTo>
                        <a:pt x="0" y="847926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3" name="任意多边形: 形状 312">
                  <a:extLst>
                    <a:ext uri="{FF2B5EF4-FFF2-40B4-BE49-F238E27FC236}">
                      <a16:creationId xmlns:a16="http://schemas.microsoft.com/office/drawing/2014/main" id="{902538EC-32A8-4DBA-AE80-229F9629B92E}"/>
                    </a:ext>
                  </a:extLst>
                </p:cNvPr>
                <p:cNvSpPr/>
                <p:nvPr/>
              </p:nvSpPr>
              <p:spPr>
                <a:xfrm>
                  <a:off x="6650594" y="5919053"/>
                  <a:ext cx="847933" cy="35702"/>
                </a:xfrm>
                <a:custGeom>
                  <a:avLst/>
                  <a:gdLst>
                    <a:gd name="connsiteX0" fmla="*/ 0 w 847933"/>
                    <a:gd name="connsiteY0" fmla="*/ 0 h 35702"/>
                    <a:gd name="connsiteX1" fmla="*/ 847934 w 847933"/>
                    <a:gd name="connsiteY1" fmla="*/ 0 h 35702"/>
                    <a:gd name="connsiteX2" fmla="*/ 847934 w 847933"/>
                    <a:gd name="connsiteY2" fmla="*/ 35702 h 35702"/>
                    <a:gd name="connsiteX3" fmla="*/ 0 w 847933"/>
                    <a:gd name="connsiteY3" fmla="*/ 35702 h 35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47933" h="35702">
                      <a:moveTo>
                        <a:pt x="0" y="0"/>
                      </a:moveTo>
                      <a:lnTo>
                        <a:pt x="847934" y="0"/>
                      </a:lnTo>
                      <a:lnTo>
                        <a:pt x="847934" y="35702"/>
                      </a:lnTo>
                      <a:lnTo>
                        <a:pt x="0" y="35702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4" name="任意多边形: 形状 313">
                  <a:extLst>
                    <a:ext uri="{FF2B5EF4-FFF2-40B4-BE49-F238E27FC236}">
                      <a16:creationId xmlns:a16="http://schemas.microsoft.com/office/drawing/2014/main" id="{956648E7-034D-4E7A-8BEA-5F17A8F505EB}"/>
                    </a:ext>
                  </a:extLst>
                </p:cNvPr>
                <p:cNvSpPr/>
                <p:nvPr/>
              </p:nvSpPr>
              <p:spPr>
                <a:xfrm rot="-2701945">
                  <a:off x="6529028" y="5617815"/>
                  <a:ext cx="847925" cy="35702"/>
                </a:xfrm>
                <a:custGeom>
                  <a:avLst/>
                  <a:gdLst>
                    <a:gd name="connsiteX0" fmla="*/ 0 w 847925"/>
                    <a:gd name="connsiteY0" fmla="*/ 0 h 35702"/>
                    <a:gd name="connsiteX1" fmla="*/ 847926 w 847925"/>
                    <a:gd name="connsiteY1" fmla="*/ 0 h 35702"/>
                    <a:gd name="connsiteX2" fmla="*/ 847926 w 847925"/>
                    <a:gd name="connsiteY2" fmla="*/ 35702 h 35702"/>
                    <a:gd name="connsiteX3" fmla="*/ 0 w 847925"/>
                    <a:gd name="connsiteY3" fmla="*/ 35702 h 35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47925" h="35702">
                      <a:moveTo>
                        <a:pt x="0" y="0"/>
                      </a:moveTo>
                      <a:lnTo>
                        <a:pt x="847926" y="0"/>
                      </a:lnTo>
                      <a:lnTo>
                        <a:pt x="847926" y="35702"/>
                      </a:lnTo>
                      <a:lnTo>
                        <a:pt x="0" y="35702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5" name="任意多边形: 形状 314">
                  <a:extLst>
                    <a:ext uri="{FF2B5EF4-FFF2-40B4-BE49-F238E27FC236}">
                      <a16:creationId xmlns:a16="http://schemas.microsoft.com/office/drawing/2014/main" id="{957D95A7-77D3-4F1B-B91D-470E5FE982B7}"/>
                    </a:ext>
                  </a:extLst>
                </p:cNvPr>
                <p:cNvSpPr/>
                <p:nvPr/>
              </p:nvSpPr>
              <p:spPr>
                <a:xfrm>
                  <a:off x="5746131" y="5038392"/>
                  <a:ext cx="1808941" cy="1808925"/>
                </a:xfrm>
                <a:custGeom>
                  <a:avLst/>
                  <a:gdLst>
                    <a:gd name="connsiteX0" fmla="*/ 904463 w 1808941"/>
                    <a:gd name="connsiteY0" fmla="*/ 0 h 1808925"/>
                    <a:gd name="connsiteX1" fmla="*/ 0 w 1808941"/>
                    <a:gd name="connsiteY1" fmla="*/ 904463 h 1808925"/>
                    <a:gd name="connsiteX2" fmla="*/ 904463 w 1808941"/>
                    <a:gd name="connsiteY2" fmla="*/ 1808926 h 1808925"/>
                    <a:gd name="connsiteX3" fmla="*/ 1808926 w 1808941"/>
                    <a:gd name="connsiteY3" fmla="*/ 904463 h 1808925"/>
                    <a:gd name="connsiteX4" fmla="*/ 904463 w 1808941"/>
                    <a:gd name="connsiteY4" fmla="*/ 0 h 1808925"/>
                    <a:gd name="connsiteX5" fmla="*/ 904463 w 1808941"/>
                    <a:gd name="connsiteY5" fmla="*/ 1734546 h 1808925"/>
                    <a:gd name="connsiteX6" fmla="*/ 74380 w 1808941"/>
                    <a:gd name="connsiteY6" fmla="*/ 904463 h 1808925"/>
                    <a:gd name="connsiteX7" fmla="*/ 904463 w 1808941"/>
                    <a:gd name="connsiteY7" fmla="*/ 74380 h 1808925"/>
                    <a:gd name="connsiteX8" fmla="*/ 1734546 w 1808941"/>
                    <a:gd name="connsiteY8" fmla="*/ 904463 h 1808925"/>
                    <a:gd name="connsiteX9" fmla="*/ 904463 w 1808941"/>
                    <a:gd name="connsiteY9" fmla="*/ 1734546 h 1808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08941" h="1808925">
                      <a:moveTo>
                        <a:pt x="904463" y="0"/>
                      </a:moveTo>
                      <a:cubicBezTo>
                        <a:pt x="404628" y="0"/>
                        <a:pt x="0" y="404628"/>
                        <a:pt x="0" y="904463"/>
                      </a:cubicBezTo>
                      <a:cubicBezTo>
                        <a:pt x="0" y="1404297"/>
                        <a:pt x="404628" y="1808926"/>
                        <a:pt x="904463" y="1808926"/>
                      </a:cubicBezTo>
                      <a:cubicBezTo>
                        <a:pt x="1404297" y="1808926"/>
                        <a:pt x="1808926" y="1404297"/>
                        <a:pt x="1808926" y="904463"/>
                      </a:cubicBezTo>
                      <a:cubicBezTo>
                        <a:pt x="1811901" y="407603"/>
                        <a:pt x="1404297" y="0"/>
                        <a:pt x="904463" y="0"/>
                      </a:cubicBezTo>
                      <a:close/>
                      <a:moveTo>
                        <a:pt x="904463" y="1734546"/>
                      </a:moveTo>
                      <a:cubicBezTo>
                        <a:pt x="446281" y="1734546"/>
                        <a:pt x="74380" y="1362645"/>
                        <a:pt x="74380" y="904463"/>
                      </a:cubicBezTo>
                      <a:cubicBezTo>
                        <a:pt x="74380" y="446281"/>
                        <a:pt x="446281" y="74380"/>
                        <a:pt x="904463" y="74380"/>
                      </a:cubicBezTo>
                      <a:cubicBezTo>
                        <a:pt x="1362645" y="74380"/>
                        <a:pt x="1734546" y="446281"/>
                        <a:pt x="1734546" y="904463"/>
                      </a:cubicBezTo>
                      <a:cubicBezTo>
                        <a:pt x="1734546" y="1365620"/>
                        <a:pt x="1362645" y="1734546"/>
                        <a:pt x="904463" y="1734546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6" name="任意多边形: 形状 315">
                  <a:extLst>
                    <a:ext uri="{FF2B5EF4-FFF2-40B4-BE49-F238E27FC236}">
                      <a16:creationId xmlns:a16="http://schemas.microsoft.com/office/drawing/2014/main" id="{52C0CE89-FF98-43C4-AF2B-1AD203E7B81B}"/>
                    </a:ext>
                  </a:extLst>
                </p:cNvPr>
                <p:cNvSpPr/>
                <p:nvPr/>
              </p:nvSpPr>
              <p:spPr>
                <a:xfrm>
                  <a:off x="5628566" y="4898558"/>
                  <a:ext cx="2028102" cy="844958"/>
                </a:xfrm>
                <a:custGeom>
                  <a:avLst/>
                  <a:gdLst>
                    <a:gd name="connsiteX0" fmla="*/ 1994920 w 2028102"/>
                    <a:gd name="connsiteY0" fmla="*/ 844959 h 844958"/>
                    <a:gd name="connsiteX1" fmla="*/ 1959218 w 2028102"/>
                    <a:gd name="connsiteY1" fmla="*/ 815206 h 844958"/>
                    <a:gd name="connsiteX2" fmla="*/ 1016077 w 2028102"/>
                    <a:gd name="connsiteY2" fmla="*/ 74380 h 844958"/>
                    <a:gd name="connsiteX3" fmla="*/ 72937 w 2028102"/>
                    <a:gd name="connsiteY3" fmla="*/ 803306 h 844958"/>
                    <a:gd name="connsiteX4" fmla="*/ 28308 w 2028102"/>
                    <a:gd name="connsiteY4" fmla="*/ 830082 h 844958"/>
                    <a:gd name="connsiteX5" fmla="*/ 1532 w 2028102"/>
                    <a:gd name="connsiteY5" fmla="*/ 785454 h 844958"/>
                    <a:gd name="connsiteX6" fmla="*/ 1013102 w 2028102"/>
                    <a:gd name="connsiteY6" fmla="*/ 0 h 844958"/>
                    <a:gd name="connsiteX7" fmla="*/ 2027647 w 2028102"/>
                    <a:gd name="connsiteY7" fmla="*/ 797355 h 844958"/>
                    <a:gd name="connsiteX8" fmla="*/ 2000871 w 2028102"/>
                    <a:gd name="connsiteY8" fmla="*/ 839008 h 844958"/>
                    <a:gd name="connsiteX9" fmla="*/ 1994920 w 2028102"/>
                    <a:gd name="connsiteY9" fmla="*/ 844959 h 8449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28102" h="844958">
                      <a:moveTo>
                        <a:pt x="1994920" y="844959"/>
                      </a:moveTo>
                      <a:cubicBezTo>
                        <a:pt x="1977069" y="844959"/>
                        <a:pt x="1962193" y="833058"/>
                        <a:pt x="1959218" y="815206"/>
                      </a:cubicBezTo>
                      <a:cubicBezTo>
                        <a:pt x="1866986" y="386777"/>
                        <a:pt x="1468309" y="74380"/>
                        <a:pt x="1016077" y="74380"/>
                      </a:cubicBezTo>
                      <a:cubicBezTo>
                        <a:pt x="569796" y="74380"/>
                        <a:pt x="171118" y="380827"/>
                        <a:pt x="72937" y="803306"/>
                      </a:cubicBezTo>
                      <a:cubicBezTo>
                        <a:pt x="66986" y="824132"/>
                        <a:pt x="49135" y="836033"/>
                        <a:pt x="28308" y="830082"/>
                      </a:cubicBezTo>
                      <a:cubicBezTo>
                        <a:pt x="7482" y="824132"/>
                        <a:pt x="-4419" y="806281"/>
                        <a:pt x="1532" y="785454"/>
                      </a:cubicBezTo>
                      <a:cubicBezTo>
                        <a:pt x="108639" y="330248"/>
                        <a:pt x="534094" y="0"/>
                        <a:pt x="1013102" y="0"/>
                      </a:cubicBezTo>
                      <a:cubicBezTo>
                        <a:pt x="1498061" y="0"/>
                        <a:pt x="1926490" y="336198"/>
                        <a:pt x="2027647" y="797355"/>
                      </a:cubicBezTo>
                      <a:cubicBezTo>
                        <a:pt x="2030623" y="818182"/>
                        <a:pt x="2018722" y="836033"/>
                        <a:pt x="2000871" y="839008"/>
                      </a:cubicBezTo>
                      <a:cubicBezTo>
                        <a:pt x="1997895" y="844959"/>
                        <a:pt x="1994920" y="844959"/>
                        <a:pt x="1994920" y="844959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317" name="图形 1">
                <a:extLst>
                  <a:ext uri="{FF2B5EF4-FFF2-40B4-BE49-F238E27FC236}">
                    <a16:creationId xmlns:a16="http://schemas.microsoft.com/office/drawing/2014/main" id="{C4220F68-B32F-423B-8B09-E3E75FE87C34}"/>
                  </a:ext>
                </a:extLst>
              </p:cNvPr>
              <p:cNvGrpSpPr/>
              <p:nvPr/>
            </p:nvGrpSpPr>
            <p:grpSpPr>
              <a:xfrm>
                <a:off x="8696004" y="4898558"/>
                <a:ext cx="2028103" cy="1948760"/>
                <a:chOff x="8696004" y="4898558"/>
                <a:chExt cx="2028103" cy="1948760"/>
              </a:xfrm>
            </p:grpSpPr>
            <p:sp>
              <p:nvSpPr>
                <p:cNvPr id="318" name="任意多边形: 形状 317">
                  <a:extLst>
                    <a:ext uri="{FF2B5EF4-FFF2-40B4-BE49-F238E27FC236}">
                      <a16:creationId xmlns:a16="http://schemas.microsoft.com/office/drawing/2014/main" id="{E78AE379-E2D5-496D-8E00-B6CA973EA1BB}"/>
                    </a:ext>
                  </a:extLst>
                </p:cNvPr>
                <p:cNvSpPr/>
                <p:nvPr/>
              </p:nvSpPr>
              <p:spPr>
                <a:xfrm>
                  <a:off x="9700180" y="5085996"/>
                  <a:ext cx="35702" cy="847933"/>
                </a:xfrm>
                <a:custGeom>
                  <a:avLst/>
                  <a:gdLst>
                    <a:gd name="connsiteX0" fmla="*/ 0 w 35702"/>
                    <a:gd name="connsiteY0" fmla="*/ 0 h 847933"/>
                    <a:gd name="connsiteX1" fmla="*/ 35703 w 35702"/>
                    <a:gd name="connsiteY1" fmla="*/ 0 h 847933"/>
                    <a:gd name="connsiteX2" fmla="*/ 35703 w 35702"/>
                    <a:gd name="connsiteY2" fmla="*/ 847934 h 847933"/>
                    <a:gd name="connsiteX3" fmla="*/ 0 w 35702"/>
                    <a:gd name="connsiteY3" fmla="*/ 847934 h 847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702" h="847933">
                      <a:moveTo>
                        <a:pt x="0" y="0"/>
                      </a:moveTo>
                      <a:lnTo>
                        <a:pt x="35703" y="0"/>
                      </a:lnTo>
                      <a:lnTo>
                        <a:pt x="35703" y="847934"/>
                      </a:lnTo>
                      <a:lnTo>
                        <a:pt x="0" y="847934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9" name="任意多边形: 形状 318">
                  <a:extLst>
                    <a:ext uri="{FF2B5EF4-FFF2-40B4-BE49-F238E27FC236}">
                      <a16:creationId xmlns:a16="http://schemas.microsoft.com/office/drawing/2014/main" id="{995D70A1-7B9D-4E3D-8FC3-B6321496F7CA}"/>
                    </a:ext>
                  </a:extLst>
                </p:cNvPr>
                <p:cNvSpPr/>
                <p:nvPr/>
              </p:nvSpPr>
              <p:spPr>
                <a:xfrm rot="-2700000">
                  <a:off x="9399687" y="5212162"/>
                  <a:ext cx="35702" cy="847925"/>
                </a:xfrm>
                <a:custGeom>
                  <a:avLst/>
                  <a:gdLst>
                    <a:gd name="connsiteX0" fmla="*/ 0 w 35702"/>
                    <a:gd name="connsiteY0" fmla="*/ 0 h 847925"/>
                    <a:gd name="connsiteX1" fmla="*/ 35702 w 35702"/>
                    <a:gd name="connsiteY1" fmla="*/ 0 h 847925"/>
                    <a:gd name="connsiteX2" fmla="*/ 35702 w 35702"/>
                    <a:gd name="connsiteY2" fmla="*/ 847926 h 847925"/>
                    <a:gd name="connsiteX3" fmla="*/ 0 w 35702"/>
                    <a:gd name="connsiteY3" fmla="*/ 847926 h 847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702" h="847925">
                      <a:moveTo>
                        <a:pt x="0" y="0"/>
                      </a:moveTo>
                      <a:lnTo>
                        <a:pt x="35702" y="0"/>
                      </a:lnTo>
                      <a:lnTo>
                        <a:pt x="35702" y="847926"/>
                      </a:lnTo>
                      <a:lnTo>
                        <a:pt x="0" y="847926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0" name="任意多边形: 形状 319">
                  <a:extLst>
                    <a:ext uri="{FF2B5EF4-FFF2-40B4-BE49-F238E27FC236}">
                      <a16:creationId xmlns:a16="http://schemas.microsoft.com/office/drawing/2014/main" id="{CF1CEA74-56BA-45F8-9081-9BE140464CF7}"/>
                    </a:ext>
                  </a:extLst>
                </p:cNvPr>
                <p:cNvSpPr/>
                <p:nvPr/>
              </p:nvSpPr>
              <p:spPr>
                <a:xfrm>
                  <a:off x="8870098" y="5919053"/>
                  <a:ext cx="847933" cy="35702"/>
                </a:xfrm>
                <a:custGeom>
                  <a:avLst/>
                  <a:gdLst>
                    <a:gd name="connsiteX0" fmla="*/ 0 w 847933"/>
                    <a:gd name="connsiteY0" fmla="*/ 0 h 35702"/>
                    <a:gd name="connsiteX1" fmla="*/ 847934 w 847933"/>
                    <a:gd name="connsiteY1" fmla="*/ 0 h 35702"/>
                    <a:gd name="connsiteX2" fmla="*/ 847934 w 847933"/>
                    <a:gd name="connsiteY2" fmla="*/ 35702 h 35702"/>
                    <a:gd name="connsiteX3" fmla="*/ 0 w 847933"/>
                    <a:gd name="connsiteY3" fmla="*/ 35702 h 35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47933" h="35702">
                      <a:moveTo>
                        <a:pt x="0" y="0"/>
                      </a:moveTo>
                      <a:lnTo>
                        <a:pt x="847934" y="0"/>
                      </a:lnTo>
                      <a:lnTo>
                        <a:pt x="847934" y="35702"/>
                      </a:lnTo>
                      <a:lnTo>
                        <a:pt x="0" y="35702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1" name="任意多边形: 形状 320">
                  <a:extLst>
                    <a:ext uri="{FF2B5EF4-FFF2-40B4-BE49-F238E27FC236}">
                      <a16:creationId xmlns:a16="http://schemas.microsoft.com/office/drawing/2014/main" id="{B5F0D29C-12BD-47AA-AD65-042143549AD1}"/>
                    </a:ext>
                  </a:extLst>
                </p:cNvPr>
                <p:cNvSpPr/>
                <p:nvPr/>
              </p:nvSpPr>
              <p:spPr>
                <a:xfrm rot="-2700000">
                  <a:off x="8993924" y="6216502"/>
                  <a:ext cx="847925" cy="35702"/>
                </a:xfrm>
                <a:custGeom>
                  <a:avLst/>
                  <a:gdLst>
                    <a:gd name="connsiteX0" fmla="*/ 0 w 847925"/>
                    <a:gd name="connsiteY0" fmla="*/ 0 h 35702"/>
                    <a:gd name="connsiteX1" fmla="*/ 847926 w 847925"/>
                    <a:gd name="connsiteY1" fmla="*/ 0 h 35702"/>
                    <a:gd name="connsiteX2" fmla="*/ 847926 w 847925"/>
                    <a:gd name="connsiteY2" fmla="*/ 35702 h 35702"/>
                    <a:gd name="connsiteX3" fmla="*/ 0 w 847925"/>
                    <a:gd name="connsiteY3" fmla="*/ 35702 h 35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47925" h="35702">
                      <a:moveTo>
                        <a:pt x="0" y="0"/>
                      </a:moveTo>
                      <a:lnTo>
                        <a:pt x="847926" y="0"/>
                      </a:lnTo>
                      <a:lnTo>
                        <a:pt x="847926" y="35702"/>
                      </a:lnTo>
                      <a:lnTo>
                        <a:pt x="0" y="35702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2" name="任意多边形: 形状 321">
                  <a:extLst>
                    <a:ext uri="{FF2B5EF4-FFF2-40B4-BE49-F238E27FC236}">
                      <a16:creationId xmlns:a16="http://schemas.microsoft.com/office/drawing/2014/main" id="{7A1CF580-77B8-4B77-828D-473AF1EEEEF8}"/>
                    </a:ext>
                  </a:extLst>
                </p:cNvPr>
                <p:cNvSpPr/>
                <p:nvPr/>
              </p:nvSpPr>
              <p:spPr>
                <a:xfrm>
                  <a:off x="9700180" y="5936905"/>
                  <a:ext cx="35702" cy="847933"/>
                </a:xfrm>
                <a:custGeom>
                  <a:avLst/>
                  <a:gdLst>
                    <a:gd name="connsiteX0" fmla="*/ 0 w 35702"/>
                    <a:gd name="connsiteY0" fmla="*/ 0 h 847933"/>
                    <a:gd name="connsiteX1" fmla="*/ 35703 w 35702"/>
                    <a:gd name="connsiteY1" fmla="*/ 0 h 847933"/>
                    <a:gd name="connsiteX2" fmla="*/ 35703 w 35702"/>
                    <a:gd name="connsiteY2" fmla="*/ 847934 h 847933"/>
                    <a:gd name="connsiteX3" fmla="*/ 0 w 35702"/>
                    <a:gd name="connsiteY3" fmla="*/ 847934 h 847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702" h="847933">
                      <a:moveTo>
                        <a:pt x="0" y="0"/>
                      </a:moveTo>
                      <a:lnTo>
                        <a:pt x="35703" y="0"/>
                      </a:lnTo>
                      <a:lnTo>
                        <a:pt x="35703" y="847934"/>
                      </a:lnTo>
                      <a:lnTo>
                        <a:pt x="0" y="847934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3" name="任意多边形: 形状 322">
                  <a:extLst>
                    <a:ext uri="{FF2B5EF4-FFF2-40B4-BE49-F238E27FC236}">
                      <a16:creationId xmlns:a16="http://schemas.microsoft.com/office/drawing/2014/main" id="{8D52AA05-76BD-40DB-B99D-9A9CD1995192}"/>
                    </a:ext>
                  </a:extLst>
                </p:cNvPr>
                <p:cNvSpPr/>
                <p:nvPr/>
              </p:nvSpPr>
              <p:spPr>
                <a:xfrm rot="-2700000">
                  <a:off x="10000942" y="5812520"/>
                  <a:ext cx="35702" cy="847925"/>
                </a:xfrm>
                <a:custGeom>
                  <a:avLst/>
                  <a:gdLst>
                    <a:gd name="connsiteX0" fmla="*/ 0 w 35702"/>
                    <a:gd name="connsiteY0" fmla="*/ 0 h 847925"/>
                    <a:gd name="connsiteX1" fmla="*/ 35703 w 35702"/>
                    <a:gd name="connsiteY1" fmla="*/ 0 h 847925"/>
                    <a:gd name="connsiteX2" fmla="*/ 35703 w 35702"/>
                    <a:gd name="connsiteY2" fmla="*/ 847926 h 847925"/>
                    <a:gd name="connsiteX3" fmla="*/ 0 w 35702"/>
                    <a:gd name="connsiteY3" fmla="*/ 847926 h 847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702" h="847925">
                      <a:moveTo>
                        <a:pt x="0" y="0"/>
                      </a:moveTo>
                      <a:lnTo>
                        <a:pt x="35703" y="0"/>
                      </a:lnTo>
                      <a:lnTo>
                        <a:pt x="35703" y="847926"/>
                      </a:lnTo>
                      <a:lnTo>
                        <a:pt x="0" y="847926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4" name="任意多边形: 形状 323">
                  <a:extLst>
                    <a:ext uri="{FF2B5EF4-FFF2-40B4-BE49-F238E27FC236}">
                      <a16:creationId xmlns:a16="http://schemas.microsoft.com/office/drawing/2014/main" id="{B78A6BC2-A666-40E1-9F7F-31DC30069EAD}"/>
                    </a:ext>
                  </a:extLst>
                </p:cNvPr>
                <p:cNvSpPr/>
                <p:nvPr/>
              </p:nvSpPr>
              <p:spPr>
                <a:xfrm>
                  <a:off x="9718032" y="5919053"/>
                  <a:ext cx="847933" cy="35702"/>
                </a:xfrm>
                <a:custGeom>
                  <a:avLst/>
                  <a:gdLst>
                    <a:gd name="connsiteX0" fmla="*/ 0 w 847933"/>
                    <a:gd name="connsiteY0" fmla="*/ 0 h 35702"/>
                    <a:gd name="connsiteX1" fmla="*/ 847934 w 847933"/>
                    <a:gd name="connsiteY1" fmla="*/ 0 h 35702"/>
                    <a:gd name="connsiteX2" fmla="*/ 847934 w 847933"/>
                    <a:gd name="connsiteY2" fmla="*/ 35702 h 35702"/>
                    <a:gd name="connsiteX3" fmla="*/ 0 w 847933"/>
                    <a:gd name="connsiteY3" fmla="*/ 35702 h 35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47933" h="35702">
                      <a:moveTo>
                        <a:pt x="0" y="0"/>
                      </a:moveTo>
                      <a:lnTo>
                        <a:pt x="847934" y="0"/>
                      </a:lnTo>
                      <a:lnTo>
                        <a:pt x="847934" y="35702"/>
                      </a:lnTo>
                      <a:lnTo>
                        <a:pt x="0" y="35702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5" name="任意多边形: 形状 324">
                  <a:extLst>
                    <a:ext uri="{FF2B5EF4-FFF2-40B4-BE49-F238E27FC236}">
                      <a16:creationId xmlns:a16="http://schemas.microsoft.com/office/drawing/2014/main" id="{55197326-753C-4215-A430-7996EBEE8203}"/>
                    </a:ext>
                  </a:extLst>
                </p:cNvPr>
                <p:cNvSpPr/>
                <p:nvPr/>
              </p:nvSpPr>
              <p:spPr>
                <a:xfrm rot="-2701945">
                  <a:off x="9596406" y="5617602"/>
                  <a:ext cx="847925" cy="35702"/>
                </a:xfrm>
                <a:custGeom>
                  <a:avLst/>
                  <a:gdLst>
                    <a:gd name="connsiteX0" fmla="*/ 0 w 847925"/>
                    <a:gd name="connsiteY0" fmla="*/ 0 h 35702"/>
                    <a:gd name="connsiteX1" fmla="*/ 847926 w 847925"/>
                    <a:gd name="connsiteY1" fmla="*/ 0 h 35702"/>
                    <a:gd name="connsiteX2" fmla="*/ 847926 w 847925"/>
                    <a:gd name="connsiteY2" fmla="*/ 35702 h 35702"/>
                    <a:gd name="connsiteX3" fmla="*/ 0 w 847925"/>
                    <a:gd name="connsiteY3" fmla="*/ 35702 h 35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47925" h="35702">
                      <a:moveTo>
                        <a:pt x="0" y="0"/>
                      </a:moveTo>
                      <a:lnTo>
                        <a:pt x="847926" y="0"/>
                      </a:lnTo>
                      <a:lnTo>
                        <a:pt x="847926" y="35702"/>
                      </a:lnTo>
                      <a:lnTo>
                        <a:pt x="0" y="35702"/>
                      </a:ln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6" name="任意多边形: 形状 325">
                  <a:extLst>
                    <a:ext uri="{FF2B5EF4-FFF2-40B4-BE49-F238E27FC236}">
                      <a16:creationId xmlns:a16="http://schemas.microsoft.com/office/drawing/2014/main" id="{F5F76B5F-9170-4063-89F7-351D66712452}"/>
                    </a:ext>
                  </a:extLst>
                </p:cNvPr>
                <p:cNvSpPr/>
                <p:nvPr/>
              </p:nvSpPr>
              <p:spPr>
                <a:xfrm>
                  <a:off x="8813569" y="5038392"/>
                  <a:ext cx="1808941" cy="1808925"/>
                </a:xfrm>
                <a:custGeom>
                  <a:avLst/>
                  <a:gdLst>
                    <a:gd name="connsiteX0" fmla="*/ 904463 w 1808941"/>
                    <a:gd name="connsiteY0" fmla="*/ 0 h 1808925"/>
                    <a:gd name="connsiteX1" fmla="*/ 0 w 1808941"/>
                    <a:gd name="connsiteY1" fmla="*/ 904463 h 1808925"/>
                    <a:gd name="connsiteX2" fmla="*/ 904463 w 1808941"/>
                    <a:gd name="connsiteY2" fmla="*/ 1808926 h 1808925"/>
                    <a:gd name="connsiteX3" fmla="*/ 1808926 w 1808941"/>
                    <a:gd name="connsiteY3" fmla="*/ 904463 h 1808925"/>
                    <a:gd name="connsiteX4" fmla="*/ 904463 w 1808941"/>
                    <a:gd name="connsiteY4" fmla="*/ 0 h 1808925"/>
                    <a:gd name="connsiteX5" fmla="*/ 904463 w 1808941"/>
                    <a:gd name="connsiteY5" fmla="*/ 1734546 h 1808925"/>
                    <a:gd name="connsiteX6" fmla="*/ 74380 w 1808941"/>
                    <a:gd name="connsiteY6" fmla="*/ 904463 h 1808925"/>
                    <a:gd name="connsiteX7" fmla="*/ 904463 w 1808941"/>
                    <a:gd name="connsiteY7" fmla="*/ 74380 h 1808925"/>
                    <a:gd name="connsiteX8" fmla="*/ 1734546 w 1808941"/>
                    <a:gd name="connsiteY8" fmla="*/ 904463 h 1808925"/>
                    <a:gd name="connsiteX9" fmla="*/ 904463 w 1808941"/>
                    <a:gd name="connsiteY9" fmla="*/ 1734546 h 1808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08941" h="1808925">
                      <a:moveTo>
                        <a:pt x="904463" y="0"/>
                      </a:moveTo>
                      <a:cubicBezTo>
                        <a:pt x="404628" y="0"/>
                        <a:pt x="0" y="404628"/>
                        <a:pt x="0" y="904463"/>
                      </a:cubicBezTo>
                      <a:cubicBezTo>
                        <a:pt x="0" y="1404297"/>
                        <a:pt x="404628" y="1808926"/>
                        <a:pt x="904463" y="1808926"/>
                      </a:cubicBezTo>
                      <a:cubicBezTo>
                        <a:pt x="1404297" y="1808926"/>
                        <a:pt x="1808926" y="1404297"/>
                        <a:pt x="1808926" y="904463"/>
                      </a:cubicBezTo>
                      <a:cubicBezTo>
                        <a:pt x="1811901" y="407603"/>
                        <a:pt x="1404297" y="0"/>
                        <a:pt x="904463" y="0"/>
                      </a:cubicBezTo>
                      <a:close/>
                      <a:moveTo>
                        <a:pt x="904463" y="1734546"/>
                      </a:moveTo>
                      <a:cubicBezTo>
                        <a:pt x="446281" y="1734546"/>
                        <a:pt x="74380" y="1362645"/>
                        <a:pt x="74380" y="904463"/>
                      </a:cubicBezTo>
                      <a:cubicBezTo>
                        <a:pt x="74380" y="446281"/>
                        <a:pt x="446281" y="74380"/>
                        <a:pt x="904463" y="74380"/>
                      </a:cubicBezTo>
                      <a:cubicBezTo>
                        <a:pt x="1362645" y="74380"/>
                        <a:pt x="1734546" y="446281"/>
                        <a:pt x="1734546" y="904463"/>
                      </a:cubicBezTo>
                      <a:cubicBezTo>
                        <a:pt x="1734546" y="1365620"/>
                        <a:pt x="1362645" y="1734546"/>
                        <a:pt x="904463" y="1734546"/>
                      </a:cubicBezTo>
                      <a:close/>
                    </a:path>
                  </a:pathLst>
                </a:custGeom>
                <a:solidFill>
                  <a:srgbClr val="D3977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7" name="任意多边形: 形状 326">
                  <a:extLst>
                    <a:ext uri="{FF2B5EF4-FFF2-40B4-BE49-F238E27FC236}">
                      <a16:creationId xmlns:a16="http://schemas.microsoft.com/office/drawing/2014/main" id="{E2883CF2-2728-4952-AE71-48B5CF099164}"/>
                    </a:ext>
                  </a:extLst>
                </p:cNvPr>
                <p:cNvSpPr/>
                <p:nvPr/>
              </p:nvSpPr>
              <p:spPr>
                <a:xfrm>
                  <a:off x="8696004" y="4898558"/>
                  <a:ext cx="2028103" cy="844958"/>
                </a:xfrm>
                <a:custGeom>
                  <a:avLst/>
                  <a:gdLst>
                    <a:gd name="connsiteX0" fmla="*/ 1994920 w 2028103"/>
                    <a:gd name="connsiteY0" fmla="*/ 844959 h 844958"/>
                    <a:gd name="connsiteX1" fmla="*/ 1959218 w 2028103"/>
                    <a:gd name="connsiteY1" fmla="*/ 815206 h 844958"/>
                    <a:gd name="connsiteX2" fmla="*/ 1016077 w 2028103"/>
                    <a:gd name="connsiteY2" fmla="*/ 74380 h 844958"/>
                    <a:gd name="connsiteX3" fmla="*/ 72937 w 2028103"/>
                    <a:gd name="connsiteY3" fmla="*/ 803306 h 844958"/>
                    <a:gd name="connsiteX4" fmla="*/ 28309 w 2028103"/>
                    <a:gd name="connsiteY4" fmla="*/ 830082 h 844958"/>
                    <a:gd name="connsiteX5" fmla="*/ 1532 w 2028103"/>
                    <a:gd name="connsiteY5" fmla="*/ 785454 h 844958"/>
                    <a:gd name="connsiteX6" fmla="*/ 1013102 w 2028103"/>
                    <a:gd name="connsiteY6" fmla="*/ 0 h 844958"/>
                    <a:gd name="connsiteX7" fmla="*/ 2027648 w 2028103"/>
                    <a:gd name="connsiteY7" fmla="*/ 797355 h 844958"/>
                    <a:gd name="connsiteX8" fmla="*/ 2000871 w 2028103"/>
                    <a:gd name="connsiteY8" fmla="*/ 839008 h 844958"/>
                    <a:gd name="connsiteX9" fmla="*/ 1994920 w 2028103"/>
                    <a:gd name="connsiteY9" fmla="*/ 844959 h 8449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28103" h="844958">
                      <a:moveTo>
                        <a:pt x="1994920" y="844959"/>
                      </a:moveTo>
                      <a:cubicBezTo>
                        <a:pt x="1977069" y="844959"/>
                        <a:pt x="1962193" y="833058"/>
                        <a:pt x="1959218" y="815206"/>
                      </a:cubicBezTo>
                      <a:cubicBezTo>
                        <a:pt x="1866987" y="386777"/>
                        <a:pt x="1468309" y="74380"/>
                        <a:pt x="1016077" y="74380"/>
                      </a:cubicBezTo>
                      <a:cubicBezTo>
                        <a:pt x="569796" y="74380"/>
                        <a:pt x="171119" y="380827"/>
                        <a:pt x="72937" y="803306"/>
                      </a:cubicBezTo>
                      <a:cubicBezTo>
                        <a:pt x="66987" y="824132"/>
                        <a:pt x="49135" y="836033"/>
                        <a:pt x="28309" y="830082"/>
                      </a:cubicBezTo>
                      <a:cubicBezTo>
                        <a:pt x="7482" y="824132"/>
                        <a:pt x="-4419" y="806281"/>
                        <a:pt x="1532" y="785454"/>
                      </a:cubicBezTo>
                      <a:cubicBezTo>
                        <a:pt x="108639" y="330248"/>
                        <a:pt x="534094" y="0"/>
                        <a:pt x="1013102" y="0"/>
                      </a:cubicBezTo>
                      <a:cubicBezTo>
                        <a:pt x="1498061" y="0"/>
                        <a:pt x="1926491" y="336198"/>
                        <a:pt x="2027648" y="797355"/>
                      </a:cubicBezTo>
                      <a:cubicBezTo>
                        <a:pt x="2030623" y="818182"/>
                        <a:pt x="2018722" y="836033"/>
                        <a:pt x="2000871" y="839008"/>
                      </a:cubicBezTo>
                      <a:cubicBezTo>
                        <a:pt x="1997896" y="844959"/>
                        <a:pt x="1994920" y="844959"/>
                        <a:pt x="1994920" y="844959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328" name="任意多边形: 形状 327">
                <a:extLst>
                  <a:ext uri="{FF2B5EF4-FFF2-40B4-BE49-F238E27FC236}">
                    <a16:creationId xmlns:a16="http://schemas.microsoft.com/office/drawing/2014/main" id="{71CC827E-B1A3-48DE-B2B1-6462727287E1}"/>
                  </a:ext>
                </a:extLst>
              </p:cNvPr>
              <p:cNvSpPr/>
              <p:nvPr/>
            </p:nvSpPr>
            <p:spPr>
              <a:xfrm>
                <a:off x="6778527" y="5800045"/>
                <a:ext cx="1481708" cy="529642"/>
              </a:xfrm>
              <a:custGeom>
                <a:avLst/>
                <a:gdLst>
                  <a:gd name="connsiteX0" fmla="*/ 1216860 w 1481708"/>
                  <a:gd name="connsiteY0" fmla="*/ 0 h 529642"/>
                  <a:gd name="connsiteX1" fmla="*/ 86281 w 1481708"/>
                  <a:gd name="connsiteY1" fmla="*/ 17851 h 529642"/>
                  <a:gd name="connsiteX2" fmla="*/ 0 w 1481708"/>
                  <a:gd name="connsiteY2" fmla="*/ 107107 h 529642"/>
                  <a:gd name="connsiteX3" fmla="*/ 83306 w 1481708"/>
                  <a:gd name="connsiteY3" fmla="*/ 193388 h 529642"/>
                  <a:gd name="connsiteX4" fmla="*/ 958017 w 1481708"/>
                  <a:gd name="connsiteY4" fmla="*/ 232066 h 529642"/>
                  <a:gd name="connsiteX5" fmla="*/ 955042 w 1481708"/>
                  <a:gd name="connsiteY5" fmla="*/ 270744 h 529642"/>
                  <a:gd name="connsiteX6" fmla="*/ 1222810 w 1481708"/>
                  <a:gd name="connsiteY6" fmla="*/ 529587 h 529642"/>
                  <a:gd name="connsiteX7" fmla="*/ 1481653 w 1481708"/>
                  <a:gd name="connsiteY7" fmla="*/ 261818 h 529642"/>
                  <a:gd name="connsiteX8" fmla="*/ 1216860 w 1481708"/>
                  <a:gd name="connsiteY8" fmla="*/ 0 h 529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1708" h="529642">
                    <a:moveTo>
                      <a:pt x="1216860" y="0"/>
                    </a:moveTo>
                    <a:lnTo>
                      <a:pt x="86281" y="17851"/>
                    </a:lnTo>
                    <a:cubicBezTo>
                      <a:pt x="38678" y="17851"/>
                      <a:pt x="0" y="59504"/>
                      <a:pt x="0" y="107107"/>
                    </a:cubicBezTo>
                    <a:cubicBezTo>
                      <a:pt x="0" y="151735"/>
                      <a:pt x="35703" y="190413"/>
                      <a:pt x="83306" y="193388"/>
                    </a:cubicBezTo>
                    <a:lnTo>
                      <a:pt x="958017" y="232066"/>
                    </a:lnTo>
                    <a:cubicBezTo>
                      <a:pt x="955042" y="243967"/>
                      <a:pt x="955042" y="255868"/>
                      <a:pt x="955042" y="270744"/>
                    </a:cubicBezTo>
                    <a:cubicBezTo>
                      <a:pt x="958017" y="416529"/>
                      <a:pt x="1077025" y="532562"/>
                      <a:pt x="1222810" y="529587"/>
                    </a:cubicBezTo>
                    <a:cubicBezTo>
                      <a:pt x="1368595" y="526612"/>
                      <a:pt x="1484628" y="407603"/>
                      <a:pt x="1481653" y="261818"/>
                    </a:cubicBezTo>
                    <a:cubicBezTo>
                      <a:pt x="1484628" y="116033"/>
                      <a:pt x="1362645" y="0"/>
                      <a:pt x="1216860" y="0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9" name="任意多边形: 形状 328">
                <a:extLst>
                  <a:ext uri="{FF2B5EF4-FFF2-40B4-BE49-F238E27FC236}">
                    <a16:creationId xmlns:a16="http://schemas.microsoft.com/office/drawing/2014/main" id="{40F6922A-A858-41CF-9227-B3367B9DAB01}"/>
                  </a:ext>
                </a:extLst>
              </p:cNvPr>
              <p:cNvSpPr/>
              <p:nvPr/>
            </p:nvSpPr>
            <p:spPr>
              <a:xfrm>
                <a:off x="8385139" y="6038062"/>
                <a:ext cx="392727" cy="95206"/>
              </a:xfrm>
              <a:custGeom>
                <a:avLst/>
                <a:gdLst>
                  <a:gd name="connsiteX0" fmla="*/ 345124 w 392727"/>
                  <a:gd name="connsiteY0" fmla="*/ 95207 h 95206"/>
                  <a:gd name="connsiteX1" fmla="*/ 47603 w 392727"/>
                  <a:gd name="connsiteY1" fmla="*/ 95207 h 95206"/>
                  <a:gd name="connsiteX2" fmla="*/ 0 w 392727"/>
                  <a:gd name="connsiteY2" fmla="*/ 47603 h 95206"/>
                  <a:gd name="connsiteX3" fmla="*/ 0 w 392727"/>
                  <a:gd name="connsiteY3" fmla="*/ 47603 h 95206"/>
                  <a:gd name="connsiteX4" fmla="*/ 47603 w 392727"/>
                  <a:gd name="connsiteY4" fmla="*/ 0 h 95206"/>
                  <a:gd name="connsiteX5" fmla="*/ 345124 w 392727"/>
                  <a:gd name="connsiteY5" fmla="*/ 0 h 95206"/>
                  <a:gd name="connsiteX6" fmla="*/ 392728 w 392727"/>
                  <a:gd name="connsiteY6" fmla="*/ 47603 h 95206"/>
                  <a:gd name="connsiteX7" fmla="*/ 392728 w 392727"/>
                  <a:gd name="connsiteY7" fmla="*/ 47603 h 95206"/>
                  <a:gd name="connsiteX8" fmla="*/ 345124 w 392727"/>
                  <a:gd name="connsiteY8" fmla="*/ 95207 h 95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2727" h="95206">
                    <a:moveTo>
                      <a:pt x="345124" y="95207"/>
                    </a:moveTo>
                    <a:lnTo>
                      <a:pt x="47603" y="95207"/>
                    </a:lnTo>
                    <a:cubicBezTo>
                      <a:pt x="20827" y="95207"/>
                      <a:pt x="0" y="74380"/>
                      <a:pt x="0" y="47603"/>
                    </a:cubicBezTo>
                    <a:lnTo>
                      <a:pt x="0" y="47603"/>
                    </a:lnTo>
                    <a:cubicBezTo>
                      <a:pt x="0" y="20826"/>
                      <a:pt x="20827" y="0"/>
                      <a:pt x="47603" y="0"/>
                    </a:cubicBezTo>
                    <a:lnTo>
                      <a:pt x="345124" y="0"/>
                    </a:lnTo>
                    <a:cubicBezTo>
                      <a:pt x="371901" y="0"/>
                      <a:pt x="392728" y="20826"/>
                      <a:pt x="392728" y="47603"/>
                    </a:cubicBezTo>
                    <a:lnTo>
                      <a:pt x="392728" y="47603"/>
                    </a:lnTo>
                    <a:cubicBezTo>
                      <a:pt x="392728" y="74380"/>
                      <a:pt x="371901" y="95207"/>
                      <a:pt x="345124" y="95207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0" name="任意多边形: 形状 329">
                <a:extLst>
                  <a:ext uri="{FF2B5EF4-FFF2-40B4-BE49-F238E27FC236}">
                    <a16:creationId xmlns:a16="http://schemas.microsoft.com/office/drawing/2014/main" id="{349727BD-180F-41DC-AEE7-EF9DE0FC66C0}"/>
                  </a:ext>
                </a:extLst>
              </p:cNvPr>
              <p:cNvSpPr/>
              <p:nvPr/>
            </p:nvSpPr>
            <p:spPr>
              <a:xfrm>
                <a:off x="7843651" y="5907152"/>
                <a:ext cx="315372" cy="315372"/>
              </a:xfrm>
              <a:custGeom>
                <a:avLst/>
                <a:gdLst>
                  <a:gd name="connsiteX0" fmla="*/ 315372 w 315372"/>
                  <a:gd name="connsiteY0" fmla="*/ 157686 h 315372"/>
                  <a:gd name="connsiteX1" fmla="*/ 157686 w 315372"/>
                  <a:gd name="connsiteY1" fmla="*/ 0 h 315372"/>
                  <a:gd name="connsiteX2" fmla="*/ 0 w 315372"/>
                  <a:gd name="connsiteY2" fmla="*/ 157686 h 315372"/>
                  <a:gd name="connsiteX3" fmla="*/ 157686 w 315372"/>
                  <a:gd name="connsiteY3" fmla="*/ 315372 h 315372"/>
                  <a:gd name="connsiteX4" fmla="*/ 315372 w 315372"/>
                  <a:gd name="connsiteY4" fmla="*/ 157686 h 315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5372" h="315372">
                    <a:moveTo>
                      <a:pt x="315372" y="157686"/>
                    </a:moveTo>
                    <a:cubicBezTo>
                      <a:pt x="315372" y="71405"/>
                      <a:pt x="243967" y="0"/>
                      <a:pt x="157686" y="0"/>
                    </a:cubicBezTo>
                    <a:cubicBezTo>
                      <a:pt x="71405" y="0"/>
                      <a:pt x="0" y="71405"/>
                      <a:pt x="0" y="157686"/>
                    </a:cubicBezTo>
                    <a:cubicBezTo>
                      <a:pt x="0" y="243967"/>
                      <a:pt x="71405" y="315372"/>
                      <a:pt x="157686" y="315372"/>
                    </a:cubicBezTo>
                    <a:cubicBezTo>
                      <a:pt x="243967" y="315372"/>
                      <a:pt x="315372" y="246942"/>
                      <a:pt x="315372" y="157686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1" name="任意多边形: 形状 330">
                <a:extLst>
                  <a:ext uri="{FF2B5EF4-FFF2-40B4-BE49-F238E27FC236}">
                    <a16:creationId xmlns:a16="http://schemas.microsoft.com/office/drawing/2014/main" id="{E7EED2EC-1F74-40EB-90E3-E850D6AF2010}"/>
                  </a:ext>
                </a:extLst>
              </p:cNvPr>
              <p:cNvSpPr/>
              <p:nvPr/>
            </p:nvSpPr>
            <p:spPr>
              <a:xfrm>
                <a:off x="8989106" y="4008971"/>
                <a:ext cx="734875" cy="1921983"/>
              </a:xfrm>
              <a:custGeom>
                <a:avLst/>
                <a:gdLst>
                  <a:gd name="connsiteX0" fmla="*/ 702149 w 734875"/>
                  <a:gd name="connsiteY0" fmla="*/ 1921983 h 1921983"/>
                  <a:gd name="connsiteX1" fmla="*/ 734876 w 734875"/>
                  <a:gd name="connsiteY1" fmla="*/ 1907107 h 1921983"/>
                  <a:gd name="connsiteX2" fmla="*/ 32727 w 734875"/>
                  <a:gd name="connsiteY2" fmla="*/ 0 h 1921983"/>
                  <a:gd name="connsiteX3" fmla="*/ 0 w 734875"/>
                  <a:gd name="connsiteY3" fmla="*/ 14876 h 1921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4875" h="1921983">
                    <a:moveTo>
                      <a:pt x="702149" y="1921983"/>
                    </a:moveTo>
                    <a:lnTo>
                      <a:pt x="734876" y="1907107"/>
                    </a:lnTo>
                    <a:lnTo>
                      <a:pt x="32727" y="0"/>
                    </a:lnTo>
                    <a:lnTo>
                      <a:pt x="0" y="14876"/>
                    </a:ln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2" name="任意多边形: 形状 331">
                <a:extLst>
                  <a:ext uri="{FF2B5EF4-FFF2-40B4-BE49-F238E27FC236}">
                    <a16:creationId xmlns:a16="http://schemas.microsoft.com/office/drawing/2014/main" id="{156780EE-55B9-4411-B441-881040DB319D}"/>
                  </a:ext>
                </a:extLst>
              </p:cNvPr>
              <p:cNvSpPr/>
              <p:nvPr/>
            </p:nvSpPr>
            <p:spPr>
              <a:xfrm>
                <a:off x="8770790" y="3870986"/>
                <a:ext cx="281920" cy="180870"/>
              </a:xfrm>
              <a:custGeom>
                <a:avLst/>
                <a:gdLst>
                  <a:gd name="connsiteX0" fmla="*/ 254018 w 281920"/>
                  <a:gd name="connsiteY0" fmla="*/ 179638 h 180870"/>
                  <a:gd name="connsiteX1" fmla="*/ 277820 w 281920"/>
                  <a:gd name="connsiteY1" fmla="*/ 161787 h 180870"/>
                  <a:gd name="connsiteX2" fmla="*/ 262944 w 281920"/>
                  <a:gd name="connsiteY2" fmla="*/ 114183 h 180870"/>
                  <a:gd name="connsiteX3" fmla="*/ 51704 w 281920"/>
                  <a:gd name="connsiteY3" fmla="*/ 4101 h 180870"/>
                  <a:gd name="connsiteX4" fmla="*/ 4101 w 281920"/>
                  <a:gd name="connsiteY4" fmla="*/ 18977 h 180870"/>
                  <a:gd name="connsiteX5" fmla="*/ 18977 w 281920"/>
                  <a:gd name="connsiteY5" fmla="*/ 66580 h 180870"/>
                  <a:gd name="connsiteX6" fmla="*/ 230217 w 281920"/>
                  <a:gd name="connsiteY6" fmla="*/ 176663 h 180870"/>
                  <a:gd name="connsiteX7" fmla="*/ 254018 w 281920"/>
                  <a:gd name="connsiteY7" fmla="*/ 179638 h 180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1920" h="180870">
                    <a:moveTo>
                      <a:pt x="254018" y="179638"/>
                    </a:moveTo>
                    <a:cubicBezTo>
                      <a:pt x="262944" y="176663"/>
                      <a:pt x="271869" y="170712"/>
                      <a:pt x="277820" y="161787"/>
                    </a:cubicBezTo>
                    <a:cubicBezTo>
                      <a:pt x="286745" y="143935"/>
                      <a:pt x="280795" y="123109"/>
                      <a:pt x="262944" y="114183"/>
                    </a:cubicBezTo>
                    <a:lnTo>
                      <a:pt x="51704" y="4101"/>
                    </a:lnTo>
                    <a:cubicBezTo>
                      <a:pt x="33853" y="-4825"/>
                      <a:pt x="13026" y="1125"/>
                      <a:pt x="4101" y="18977"/>
                    </a:cubicBezTo>
                    <a:cubicBezTo>
                      <a:pt x="-4825" y="36828"/>
                      <a:pt x="1125" y="57654"/>
                      <a:pt x="18977" y="66580"/>
                    </a:cubicBezTo>
                    <a:lnTo>
                      <a:pt x="230217" y="176663"/>
                    </a:lnTo>
                    <a:cubicBezTo>
                      <a:pt x="236167" y="179638"/>
                      <a:pt x="245093" y="182613"/>
                      <a:pt x="254018" y="179638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3" name="任意多边形: 形状 332">
                <a:extLst>
                  <a:ext uri="{FF2B5EF4-FFF2-40B4-BE49-F238E27FC236}">
                    <a16:creationId xmlns:a16="http://schemas.microsoft.com/office/drawing/2014/main" id="{1D7550EE-40FB-41CA-BCD1-CB71C526381E}"/>
                  </a:ext>
                </a:extLst>
              </p:cNvPr>
              <p:cNvSpPr/>
              <p:nvPr/>
            </p:nvSpPr>
            <p:spPr>
              <a:xfrm>
                <a:off x="7705480" y="6131956"/>
                <a:ext cx="380475" cy="182419"/>
              </a:xfrm>
              <a:custGeom>
                <a:avLst/>
                <a:gdLst>
                  <a:gd name="connsiteX0" fmla="*/ 319659 w 380475"/>
                  <a:gd name="connsiteY0" fmla="*/ 179824 h 182419"/>
                  <a:gd name="connsiteX1" fmla="*/ 34039 w 380475"/>
                  <a:gd name="connsiteY1" fmla="*/ 93544 h 182419"/>
                  <a:gd name="connsiteX2" fmla="*/ 1312 w 380475"/>
                  <a:gd name="connsiteY2" fmla="*/ 34040 h 182419"/>
                  <a:gd name="connsiteX3" fmla="*/ 1312 w 380475"/>
                  <a:gd name="connsiteY3" fmla="*/ 34040 h 182419"/>
                  <a:gd name="connsiteX4" fmla="*/ 60816 w 380475"/>
                  <a:gd name="connsiteY4" fmla="*/ 1312 h 182419"/>
                  <a:gd name="connsiteX5" fmla="*/ 346436 w 380475"/>
                  <a:gd name="connsiteY5" fmla="*/ 87593 h 182419"/>
                  <a:gd name="connsiteX6" fmla="*/ 379163 w 380475"/>
                  <a:gd name="connsiteY6" fmla="*/ 147097 h 182419"/>
                  <a:gd name="connsiteX7" fmla="*/ 379163 w 380475"/>
                  <a:gd name="connsiteY7" fmla="*/ 147097 h 182419"/>
                  <a:gd name="connsiteX8" fmla="*/ 319659 w 380475"/>
                  <a:gd name="connsiteY8" fmla="*/ 179824 h 182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0475" h="182419">
                    <a:moveTo>
                      <a:pt x="319659" y="179824"/>
                    </a:moveTo>
                    <a:lnTo>
                      <a:pt x="34039" y="93544"/>
                    </a:lnTo>
                    <a:cubicBezTo>
                      <a:pt x="10237" y="84618"/>
                      <a:pt x="-4639" y="57841"/>
                      <a:pt x="1312" y="34040"/>
                    </a:cubicBezTo>
                    <a:lnTo>
                      <a:pt x="1312" y="34040"/>
                    </a:lnTo>
                    <a:cubicBezTo>
                      <a:pt x="10237" y="10238"/>
                      <a:pt x="37015" y="-4638"/>
                      <a:pt x="60816" y="1312"/>
                    </a:cubicBezTo>
                    <a:lnTo>
                      <a:pt x="346436" y="87593"/>
                    </a:lnTo>
                    <a:cubicBezTo>
                      <a:pt x="370238" y="96519"/>
                      <a:pt x="385114" y="123296"/>
                      <a:pt x="379163" y="147097"/>
                    </a:cubicBezTo>
                    <a:lnTo>
                      <a:pt x="379163" y="147097"/>
                    </a:lnTo>
                    <a:cubicBezTo>
                      <a:pt x="370238" y="173874"/>
                      <a:pt x="343461" y="188750"/>
                      <a:pt x="319659" y="179824"/>
                    </a:cubicBezTo>
                    <a:close/>
                  </a:path>
                </a:pathLst>
              </a:custGeom>
              <a:solidFill>
                <a:srgbClr val="D3977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4" name="任意多边形: 形状 333">
                <a:extLst>
                  <a:ext uri="{FF2B5EF4-FFF2-40B4-BE49-F238E27FC236}">
                    <a16:creationId xmlns:a16="http://schemas.microsoft.com/office/drawing/2014/main" id="{64BF6F72-48E5-4282-A3B9-0CE19177DD0A}"/>
                  </a:ext>
                </a:extLst>
              </p:cNvPr>
              <p:cNvSpPr/>
              <p:nvPr/>
            </p:nvSpPr>
            <p:spPr>
              <a:xfrm>
                <a:off x="8628865" y="3767738"/>
                <a:ext cx="283126" cy="225280"/>
              </a:xfrm>
              <a:custGeom>
                <a:avLst/>
                <a:gdLst>
                  <a:gd name="connsiteX0" fmla="*/ 202555 w 283126"/>
                  <a:gd name="connsiteY0" fmla="*/ 220406 h 225280"/>
                  <a:gd name="connsiteX1" fmla="*/ 18092 w 283126"/>
                  <a:gd name="connsiteY1" fmla="*/ 110324 h 225280"/>
                  <a:gd name="connsiteX2" fmla="*/ 6192 w 283126"/>
                  <a:gd name="connsiteY2" fmla="*/ 62720 h 225280"/>
                  <a:gd name="connsiteX3" fmla="*/ 32968 w 283126"/>
                  <a:gd name="connsiteY3" fmla="*/ 18092 h 225280"/>
                  <a:gd name="connsiteX4" fmla="*/ 80572 w 283126"/>
                  <a:gd name="connsiteY4" fmla="*/ 6191 h 225280"/>
                  <a:gd name="connsiteX5" fmla="*/ 265035 w 283126"/>
                  <a:gd name="connsiteY5" fmla="*/ 116274 h 225280"/>
                  <a:gd name="connsiteX6" fmla="*/ 276935 w 283126"/>
                  <a:gd name="connsiteY6" fmla="*/ 163877 h 225280"/>
                  <a:gd name="connsiteX7" fmla="*/ 250158 w 283126"/>
                  <a:gd name="connsiteY7" fmla="*/ 208506 h 225280"/>
                  <a:gd name="connsiteX8" fmla="*/ 202555 w 283126"/>
                  <a:gd name="connsiteY8" fmla="*/ 220406 h 225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3126" h="225280">
                    <a:moveTo>
                      <a:pt x="202555" y="220406"/>
                    </a:moveTo>
                    <a:lnTo>
                      <a:pt x="18092" y="110324"/>
                    </a:lnTo>
                    <a:cubicBezTo>
                      <a:pt x="241" y="101398"/>
                      <a:pt x="-5709" y="77596"/>
                      <a:pt x="6192" y="62720"/>
                    </a:cubicBezTo>
                    <a:lnTo>
                      <a:pt x="32968" y="18092"/>
                    </a:lnTo>
                    <a:cubicBezTo>
                      <a:pt x="41894" y="241"/>
                      <a:pt x="65696" y="-5709"/>
                      <a:pt x="80572" y="6191"/>
                    </a:cubicBezTo>
                    <a:lnTo>
                      <a:pt x="265035" y="116274"/>
                    </a:lnTo>
                    <a:cubicBezTo>
                      <a:pt x="282886" y="125200"/>
                      <a:pt x="288836" y="149001"/>
                      <a:pt x="276935" y="163877"/>
                    </a:cubicBezTo>
                    <a:lnTo>
                      <a:pt x="250158" y="208506"/>
                    </a:lnTo>
                    <a:cubicBezTo>
                      <a:pt x="241233" y="226357"/>
                      <a:pt x="217431" y="229332"/>
                      <a:pt x="202555" y="22040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5" name="任意多边形: 形状 334">
                <a:extLst>
                  <a:ext uri="{FF2B5EF4-FFF2-40B4-BE49-F238E27FC236}">
                    <a16:creationId xmlns:a16="http://schemas.microsoft.com/office/drawing/2014/main" id="{D5F5FDCF-A82D-4396-A131-A99285B1FA6B}"/>
                  </a:ext>
                </a:extLst>
              </p:cNvPr>
              <p:cNvSpPr/>
              <p:nvPr/>
            </p:nvSpPr>
            <p:spPr>
              <a:xfrm>
                <a:off x="6561338" y="4365996"/>
                <a:ext cx="92231" cy="362975"/>
              </a:xfrm>
              <a:custGeom>
                <a:avLst/>
                <a:gdLst>
                  <a:gd name="connsiteX0" fmla="*/ 92231 w 92231"/>
                  <a:gd name="connsiteY0" fmla="*/ 362975 h 362975"/>
                  <a:gd name="connsiteX1" fmla="*/ 0 w 92231"/>
                  <a:gd name="connsiteY1" fmla="*/ 362975 h 362975"/>
                  <a:gd name="connsiteX2" fmla="*/ 0 w 92231"/>
                  <a:gd name="connsiteY2" fmla="*/ 44628 h 362975"/>
                  <a:gd name="connsiteX3" fmla="*/ 44628 w 92231"/>
                  <a:gd name="connsiteY3" fmla="*/ 0 h 362975"/>
                  <a:gd name="connsiteX4" fmla="*/ 44628 w 92231"/>
                  <a:gd name="connsiteY4" fmla="*/ 0 h 362975"/>
                  <a:gd name="connsiteX5" fmla="*/ 89256 w 92231"/>
                  <a:gd name="connsiteY5" fmla="*/ 44628 h 362975"/>
                  <a:gd name="connsiteX6" fmla="*/ 89256 w 92231"/>
                  <a:gd name="connsiteY6" fmla="*/ 362975 h 362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231" h="362975">
                    <a:moveTo>
                      <a:pt x="92231" y="362975"/>
                    </a:moveTo>
                    <a:lnTo>
                      <a:pt x="0" y="362975"/>
                    </a:lnTo>
                    <a:lnTo>
                      <a:pt x="0" y="44628"/>
                    </a:lnTo>
                    <a:cubicBezTo>
                      <a:pt x="0" y="17851"/>
                      <a:pt x="20826" y="0"/>
                      <a:pt x="44628" y="0"/>
                    </a:cubicBezTo>
                    <a:lnTo>
                      <a:pt x="44628" y="0"/>
                    </a:lnTo>
                    <a:cubicBezTo>
                      <a:pt x="71405" y="0"/>
                      <a:pt x="89256" y="20827"/>
                      <a:pt x="89256" y="44628"/>
                    </a:cubicBezTo>
                    <a:lnTo>
                      <a:pt x="89256" y="362975"/>
                    </a:lnTo>
                    <a:close/>
                  </a:path>
                </a:pathLst>
              </a:custGeom>
              <a:solidFill>
                <a:srgbClr val="D3977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36" name="任意多边形: 形状 335">
              <a:extLst>
                <a:ext uri="{FF2B5EF4-FFF2-40B4-BE49-F238E27FC236}">
                  <a16:creationId xmlns:a16="http://schemas.microsoft.com/office/drawing/2014/main" id="{4B0F8F5C-4E6A-44DE-86E8-DD3A7437BB2C}"/>
                </a:ext>
              </a:extLst>
            </p:cNvPr>
            <p:cNvSpPr/>
            <p:nvPr/>
          </p:nvSpPr>
          <p:spPr>
            <a:xfrm>
              <a:off x="8233404" y="3675748"/>
              <a:ext cx="193388" cy="136859"/>
            </a:xfrm>
            <a:custGeom>
              <a:avLst/>
              <a:gdLst>
                <a:gd name="connsiteX0" fmla="*/ 157686 w 193388"/>
                <a:gd name="connsiteY0" fmla="*/ 0 h 136859"/>
                <a:gd name="connsiteX1" fmla="*/ 0 w 193388"/>
                <a:gd name="connsiteY1" fmla="*/ 83306 h 136859"/>
                <a:gd name="connsiteX2" fmla="*/ 41653 w 193388"/>
                <a:gd name="connsiteY2" fmla="*/ 136859 h 136859"/>
                <a:gd name="connsiteX3" fmla="*/ 193388 w 193388"/>
                <a:gd name="connsiteY3" fmla="*/ 38678 h 136859"/>
                <a:gd name="connsiteX4" fmla="*/ 157686 w 193388"/>
                <a:gd name="connsiteY4" fmla="*/ 0 h 13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388" h="136859">
                  <a:moveTo>
                    <a:pt x="157686" y="0"/>
                  </a:moveTo>
                  <a:cubicBezTo>
                    <a:pt x="157686" y="0"/>
                    <a:pt x="113058" y="65454"/>
                    <a:pt x="0" y="83306"/>
                  </a:cubicBezTo>
                  <a:lnTo>
                    <a:pt x="41653" y="136859"/>
                  </a:lnTo>
                  <a:cubicBezTo>
                    <a:pt x="41653" y="136859"/>
                    <a:pt x="163636" y="95207"/>
                    <a:pt x="193388" y="38678"/>
                  </a:cubicBezTo>
                  <a:cubicBezTo>
                    <a:pt x="193388" y="38678"/>
                    <a:pt x="178512" y="0"/>
                    <a:pt x="157686" y="0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7" name="任意多边形: 形状 336">
              <a:extLst>
                <a:ext uri="{FF2B5EF4-FFF2-40B4-BE49-F238E27FC236}">
                  <a16:creationId xmlns:a16="http://schemas.microsoft.com/office/drawing/2014/main" id="{4E04C756-6195-40A3-89F1-44C521EFC206}"/>
                </a:ext>
              </a:extLst>
            </p:cNvPr>
            <p:cNvSpPr/>
            <p:nvPr/>
          </p:nvSpPr>
          <p:spPr>
            <a:xfrm>
              <a:off x="8672068" y="3745511"/>
              <a:ext cx="244800" cy="207194"/>
            </a:xfrm>
            <a:custGeom>
              <a:avLst/>
              <a:gdLst>
                <a:gd name="connsiteX0" fmla="*/ 239682 w 244800"/>
                <a:gd name="connsiteY0" fmla="*/ 111724 h 207194"/>
                <a:gd name="connsiteX1" fmla="*/ 198029 w 244800"/>
                <a:gd name="connsiteY1" fmla="*/ 84947 h 207194"/>
                <a:gd name="connsiteX2" fmla="*/ 37368 w 244800"/>
                <a:gd name="connsiteY2" fmla="*/ 7592 h 207194"/>
                <a:gd name="connsiteX3" fmla="*/ 16542 w 244800"/>
                <a:gd name="connsiteY3" fmla="*/ 150402 h 207194"/>
                <a:gd name="connsiteX4" fmla="*/ 96872 w 244800"/>
                <a:gd name="connsiteY4" fmla="*/ 200980 h 207194"/>
                <a:gd name="connsiteX5" fmla="*/ 70095 w 244800"/>
                <a:gd name="connsiteY5" fmla="*/ 147426 h 207194"/>
                <a:gd name="connsiteX6" fmla="*/ 76046 w 244800"/>
                <a:gd name="connsiteY6" fmla="*/ 84947 h 207194"/>
                <a:gd name="connsiteX7" fmla="*/ 129599 w 244800"/>
                <a:gd name="connsiteY7" fmla="*/ 84947 h 207194"/>
                <a:gd name="connsiteX8" fmla="*/ 218856 w 244800"/>
                <a:gd name="connsiteY8" fmla="*/ 132550 h 207194"/>
                <a:gd name="connsiteX9" fmla="*/ 239682 w 244800"/>
                <a:gd name="connsiteY9" fmla="*/ 111724 h 207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4800" h="207194">
                  <a:moveTo>
                    <a:pt x="239682" y="111724"/>
                  </a:moveTo>
                  <a:cubicBezTo>
                    <a:pt x="227781" y="99823"/>
                    <a:pt x="212905" y="90898"/>
                    <a:pt x="198029" y="84947"/>
                  </a:cubicBezTo>
                  <a:cubicBezTo>
                    <a:pt x="183153" y="7592"/>
                    <a:pt x="99847" y="-13235"/>
                    <a:pt x="37368" y="7592"/>
                  </a:cubicBezTo>
                  <a:cubicBezTo>
                    <a:pt x="-25111" y="25443"/>
                    <a:pt x="7616" y="132550"/>
                    <a:pt x="16542" y="150402"/>
                  </a:cubicBezTo>
                  <a:cubicBezTo>
                    <a:pt x="28443" y="174203"/>
                    <a:pt x="58195" y="224782"/>
                    <a:pt x="96872" y="200980"/>
                  </a:cubicBezTo>
                  <a:cubicBezTo>
                    <a:pt x="87947" y="186104"/>
                    <a:pt x="70095" y="162302"/>
                    <a:pt x="70095" y="147426"/>
                  </a:cubicBezTo>
                  <a:cubicBezTo>
                    <a:pt x="70095" y="129575"/>
                    <a:pt x="61170" y="93873"/>
                    <a:pt x="76046" y="84947"/>
                  </a:cubicBezTo>
                  <a:cubicBezTo>
                    <a:pt x="84971" y="78997"/>
                    <a:pt x="111748" y="81972"/>
                    <a:pt x="129599" y="84947"/>
                  </a:cubicBezTo>
                  <a:cubicBezTo>
                    <a:pt x="162327" y="90898"/>
                    <a:pt x="198029" y="111724"/>
                    <a:pt x="218856" y="132550"/>
                  </a:cubicBezTo>
                  <a:cubicBezTo>
                    <a:pt x="233732" y="147426"/>
                    <a:pt x="254558" y="126600"/>
                    <a:pt x="239682" y="111724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8" name="任意多边形: 形状 337">
              <a:extLst>
                <a:ext uri="{FF2B5EF4-FFF2-40B4-BE49-F238E27FC236}">
                  <a16:creationId xmlns:a16="http://schemas.microsoft.com/office/drawing/2014/main" id="{69A6AAF4-5462-4F14-B957-9A3BA05C8982}"/>
                </a:ext>
              </a:extLst>
            </p:cNvPr>
            <p:cNvSpPr/>
            <p:nvPr/>
          </p:nvSpPr>
          <p:spPr>
            <a:xfrm>
              <a:off x="8731185" y="3806657"/>
              <a:ext cx="40731" cy="145784"/>
            </a:xfrm>
            <a:custGeom>
              <a:avLst/>
              <a:gdLst>
                <a:gd name="connsiteX0" fmla="*/ 37756 w 40731"/>
                <a:gd name="connsiteY0" fmla="*/ 145785 h 145784"/>
                <a:gd name="connsiteX1" fmla="*/ 31806 w 40731"/>
                <a:gd name="connsiteY1" fmla="*/ 142810 h 145784"/>
                <a:gd name="connsiteX2" fmla="*/ 10979 w 40731"/>
                <a:gd name="connsiteY2" fmla="*/ 20826 h 145784"/>
                <a:gd name="connsiteX3" fmla="*/ 34781 w 40731"/>
                <a:gd name="connsiteY3" fmla="*/ 0 h 145784"/>
                <a:gd name="connsiteX4" fmla="*/ 40731 w 40731"/>
                <a:gd name="connsiteY4" fmla="*/ 2975 h 145784"/>
                <a:gd name="connsiteX5" fmla="*/ 37756 w 40731"/>
                <a:gd name="connsiteY5" fmla="*/ 8925 h 145784"/>
                <a:gd name="connsiteX6" fmla="*/ 16930 w 40731"/>
                <a:gd name="connsiteY6" fmla="*/ 26777 h 145784"/>
                <a:gd name="connsiteX7" fmla="*/ 37756 w 40731"/>
                <a:gd name="connsiteY7" fmla="*/ 136859 h 145784"/>
                <a:gd name="connsiteX8" fmla="*/ 37756 w 40731"/>
                <a:gd name="connsiteY8" fmla="*/ 145785 h 145784"/>
                <a:gd name="connsiteX9" fmla="*/ 37756 w 40731"/>
                <a:gd name="connsiteY9" fmla="*/ 145785 h 145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731" h="145784">
                  <a:moveTo>
                    <a:pt x="37756" y="145785"/>
                  </a:moveTo>
                  <a:cubicBezTo>
                    <a:pt x="34781" y="145785"/>
                    <a:pt x="34781" y="145785"/>
                    <a:pt x="31806" y="142810"/>
                  </a:cubicBezTo>
                  <a:cubicBezTo>
                    <a:pt x="28831" y="139835"/>
                    <a:pt x="-21748" y="62479"/>
                    <a:pt x="10979" y="20826"/>
                  </a:cubicBezTo>
                  <a:cubicBezTo>
                    <a:pt x="16930" y="11901"/>
                    <a:pt x="22880" y="5950"/>
                    <a:pt x="34781" y="0"/>
                  </a:cubicBezTo>
                  <a:cubicBezTo>
                    <a:pt x="37756" y="0"/>
                    <a:pt x="40731" y="0"/>
                    <a:pt x="40731" y="2975"/>
                  </a:cubicBezTo>
                  <a:cubicBezTo>
                    <a:pt x="40731" y="5950"/>
                    <a:pt x="40731" y="8925"/>
                    <a:pt x="37756" y="8925"/>
                  </a:cubicBezTo>
                  <a:cubicBezTo>
                    <a:pt x="28831" y="11901"/>
                    <a:pt x="22880" y="17851"/>
                    <a:pt x="16930" y="26777"/>
                  </a:cubicBezTo>
                  <a:cubicBezTo>
                    <a:pt x="-9847" y="62479"/>
                    <a:pt x="37756" y="136859"/>
                    <a:pt x="37756" y="136859"/>
                  </a:cubicBezTo>
                  <a:cubicBezTo>
                    <a:pt x="40731" y="139835"/>
                    <a:pt x="37756" y="142810"/>
                    <a:pt x="37756" y="145785"/>
                  </a:cubicBezTo>
                  <a:cubicBezTo>
                    <a:pt x="40731" y="145785"/>
                    <a:pt x="37756" y="145785"/>
                    <a:pt x="37756" y="145785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9" name="任意多边形: 形状 338">
              <a:extLst>
                <a:ext uri="{FF2B5EF4-FFF2-40B4-BE49-F238E27FC236}">
                  <a16:creationId xmlns:a16="http://schemas.microsoft.com/office/drawing/2014/main" id="{D72C355A-E49C-4C7A-A34A-5DFFC19BE391}"/>
                </a:ext>
              </a:extLst>
            </p:cNvPr>
            <p:cNvSpPr/>
            <p:nvPr/>
          </p:nvSpPr>
          <p:spPr>
            <a:xfrm>
              <a:off x="8831420" y="3782855"/>
              <a:ext cx="84421" cy="104132"/>
            </a:xfrm>
            <a:custGeom>
              <a:avLst/>
              <a:gdLst>
                <a:gd name="connsiteX0" fmla="*/ 71405 w 84421"/>
                <a:gd name="connsiteY0" fmla="*/ 104132 h 104132"/>
                <a:gd name="connsiteX1" fmla="*/ 68430 w 84421"/>
                <a:gd name="connsiteY1" fmla="*/ 104132 h 104132"/>
                <a:gd name="connsiteX2" fmla="*/ 68430 w 84421"/>
                <a:gd name="connsiteY2" fmla="*/ 95207 h 104132"/>
                <a:gd name="connsiteX3" fmla="*/ 74380 w 84421"/>
                <a:gd name="connsiteY3" fmla="*/ 71405 h 104132"/>
                <a:gd name="connsiteX4" fmla="*/ 2975 w 84421"/>
                <a:gd name="connsiteY4" fmla="*/ 8926 h 104132"/>
                <a:gd name="connsiteX5" fmla="*/ 0 w 84421"/>
                <a:gd name="connsiteY5" fmla="*/ 2975 h 104132"/>
                <a:gd name="connsiteX6" fmla="*/ 5951 w 84421"/>
                <a:gd name="connsiteY6" fmla="*/ 0 h 104132"/>
                <a:gd name="connsiteX7" fmla="*/ 83306 w 84421"/>
                <a:gd name="connsiteY7" fmla="*/ 71405 h 104132"/>
                <a:gd name="connsiteX8" fmla="*/ 74380 w 84421"/>
                <a:gd name="connsiteY8" fmla="*/ 104132 h 104132"/>
                <a:gd name="connsiteX9" fmla="*/ 71405 w 84421"/>
                <a:gd name="connsiteY9" fmla="*/ 104132 h 10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421" h="104132">
                  <a:moveTo>
                    <a:pt x="71405" y="104132"/>
                  </a:moveTo>
                  <a:cubicBezTo>
                    <a:pt x="71405" y="104132"/>
                    <a:pt x="68430" y="104132"/>
                    <a:pt x="68430" y="104132"/>
                  </a:cubicBezTo>
                  <a:cubicBezTo>
                    <a:pt x="65455" y="101157"/>
                    <a:pt x="65455" y="98182"/>
                    <a:pt x="68430" y="95207"/>
                  </a:cubicBezTo>
                  <a:cubicBezTo>
                    <a:pt x="74380" y="86281"/>
                    <a:pt x="77356" y="80330"/>
                    <a:pt x="74380" y="71405"/>
                  </a:cubicBezTo>
                  <a:cubicBezTo>
                    <a:pt x="68430" y="38678"/>
                    <a:pt x="5951" y="8926"/>
                    <a:pt x="2975" y="8926"/>
                  </a:cubicBezTo>
                  <a:cubicBezTo>
                    <a:pt x="0" y="8926"/>
                    <a:pt x="0" y="2975"/>
                    <a:pt x="0" y="2975"/>
                  </a:cubicBezTo>
                  <a:cubicBezTo>
                    <a:pt x="0" y="0"/>
                    <a:pt x="5951" y="0"/>
                    <a:pt x="5951" y="0"/>
                  </a:cubicBezTo>
                  <a:cubicBezTo>
                    <a:pt x="8926" y="0"/>
                    <a:pt x="74380" y="32727"/>
                    <a:pt x="83306" y="71405"/>
                  </a:cubicBezTo>
                  <a:cubicBezTo>
                    <a:pt x="86281" y="83306"/>
                    <a:pt x="83306" y="95207"/>
                    <a:pt x="74380" y="104132"/>
                  </a:cubicBezTo>
                  <a:cubicBezTo>
                    <a:pt x="77356" y="101157"/>
                    <a:pt x="74380" y="104132"/>
                    <a:pt x="71405" y="104132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0" name="任意多边形: 形状 339">
              <a:extLst>
                <a:ext uri="{FF2B5EF4-FFF2-40B4-BE49-F238E27FC236}">
                  <a16:creationId xmlns:a16="http://schemas.microsoft.com/office/drawing/2014/main" id="{88A9AC8D-A2F3-4BA3-BA3C-3E6827104CFF}"/>
                </a:ext>
              </a:extLst>
            </p:cNvPr>
            <p:cNvSpPr/>
            <p:nvPr/>
          </p:nvSpPr>
          <p:spPr>
            <a:xfrm>
              <a:off x="8182210" y="3696415"/>
              <a:ext cx="215444" cy="214533"/>
            </a:xfrm>
            <a:custGeom>
              <a:avLst/>
              <a:gdLst>
                <a:gd name="connsiteX0" fmla="*/ 170202 w 215444"/>
                <a:gd name="connsiteY0" fmla="*/ 35862 h 214533"/>
                <a:gd name="connsiteX1" fmla="*/ 196978 w 215444"/>
                <a:gd name="connsiteY1" fmla="*/ 187597 h 214533"/>
                <a:gd name="connsiteX2" fmla="*/ 45243 w 215444"/>
                <a:gd name="connsiteY2" fmla="*/ 178672 h 214533"/>
                <a:gd name="connsiteX3" fmla="*/ 18466 w 215444"/>
                <a:gd name="connsiteY3" fmla="*/ 26936 h 214533"/>
                <a:gd name="connsiteX4" fmla="*/ 170202 w 215444"/>
                <a:gd name="connsiteY4" fmla="*/ 35862 h 214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5444" h="214533">
                  <a:moveTo>
                    <a:pt x="170202" y="35862"/>
                  </a:moveTo>
                  <a:cubicBezTo>
                    <a:pt x="217805" y="80490"/>
                    <a:pt x="229706" y="145945"/>
                    <a:pt x="196978" y="187597"/>
                  </a:cubicBezTo>
                  <a:cubicBezTo>
                    <a:pt x="161276" y="226275"/>
                    <a:pt x="92846" y="223300"/>
                    <a:pt x="45243" y="178672"/>
                  </a:cubicBezTo>
                  <a:cubicBezTo>
                    <a:pt x="-2360" y="134044"/>
                    <a:pt x="-14261" y="68589"/>
                    <a:pt x="18466" y="26936"/>
                  </a:cubicBezTo>
                  <a:cubicBezTo>
                    <a:pt x="54168" y="-11742"/>
                    <a:pt x="122598" y="-8766"/>
                    <a:pt x="170202" y="35862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1" name="任意多边形: 形状 340">
              <a:extLst>
                <a:ext uri="{FF2B5EF4-FFF2-40B4-BE49-F238E27FC236}">
                  <a16:creationId xmlns:a16="http://schemas.microsoft.com/office/drawing/2014/main" id="{BFCFD450-6C26-468F-95F8-BDBB7FAE683A}"/>
                </a:ext>
              </a:extLst>
            </p:cNvPr>
            <p:cNvSpPr/>
            <p:nvPr/>
          </p:nvSpPr>
          <p:spPr>
            <a:xfrm>
              <a:off x="8041089" y="2336905"/>
              <a:ext cx="67954" cy="144764"/>
            </a:xfrm>
            <a:custGeom>
              <a:avLst/>
              <a:gdLst>
                <a:gd name="connsiteX0" fmla="*/ 55455 w 67954"/>
                <a:gd name="connsiteY0" fmla="*/ 62479 h 144764"/>
                <a:gd name="connsiteX1" fmla="*/ 61405 w 67954"/>
                <a:gd name="connsiteY1" fmla="*/ 53554 h 144764"/>
                <a:gd name="connsiteX2" fmla="*/ 64381 w 67954"/>
                <a:gd name="connsiteY2" fmla="*/ 14876 h 144764"/>
                <a:gd name="connsiteX3" fmla="*/ 43554 w 67954"/>
                <a:gd name="connsiteY3" fmla="*/ 0 h 144764"/>
                <a:gd name="connsiteX4" fmla="*/ 28678 w 67954"/>
                <a:gd name="connsiteY4" fmla="*/ 5950 h 144764"/>
                <a:gd name="connsiteX5" fmla="*/ 1901 w 67954"/>
                <a:gd name="connsiteY5" fmla="*/ 83306 h 144764"/>
                <a:gd name="connsiteX6" fmla="*/ 13802 w 67954"/>
                <a:gd name="connsiteY6" fmla="*/ 142810 h 144764"/>
                <a:gd name="connsiteX7" fmla="*/ 43554 w 67954"/>
                <a:gd name="connsiteY7" fmla="*/ 139835 h 144764"/>
                <a:gd name="connsiteX8" fmla="*/ 58430 w 67954"/>
                <a:gd name="connsiteY8" fmla="*/ 110083 h 144764"/>
                <a:gd name="connsiteX9" fmla="*/ 67356 w 67954"/>
                <a:gd name="connsiteY9" fmla="*/ 77355 h 144764"/>
                <a:gd name="connsiteX10" fmla="*/ 55455 w 67954"/>
                <a:gd name="connsiteY10" fmla="*/ 62479 h 144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954" h="144764">
                  <a:moveTo>
                    <a:pt x="55455" y="62479"/>
                  </a:moveTo>
                  <a:cubicBezTo>
                    <a:pt x="55455" y="56529"/>
                    <a:pt x="58430" y="56529"/>
                    <a:pt x="61405" y="53554"/>
                  </a:cubicBezTo>
                  <a:cubicBezTo>
                    <a:pt x="73306" y="38678"/>
                    <a:pt x="64381" y="29752"/>
                    <a:pt x="64381" y="14876"/>
                  </a:cubicBezTo>
                  <a:cubicBezTo>
                    <a:pt x="64381" y="2975"/>
                    <a:pt x="52480" y="0"/>
                    <a:pt x="43554" y="0"/>
                  </a:cubicBezTo>
                  <a:cubicBezTo>
                    <a:pt x="37604" y="0"/>
                    <a:pt x="31653" y="0"/>
                    <a:pt x="28678" y="5950"/>
                  </a:cubicBezTo>
                  <a:cubicBezTo>
                    <a:pt x="13802" y="32727"/>
                    <a:pt x="1901" y="53554"/>
                    <a:pt x="1901" y="83306"/>
                  </a:cubicBezTo>
                  <a:cubicBezTo>
                    <a:pt x="1901" y="107107"/>
                    <a:pt x="-7024" y="130909"/>
                    <a:pt x="13802" y="142810"/>
                  </a:cubicBezTo>
                  <a:cubicBezTo>
                    <a:pt x="19753" y="145785"/>
                    <a:pt x="37604" y="145785"/>
                    <a:pt x="43554" y="139835"/>
                  </a:cubicBezTo>
                  <a:cubicBezTo>
                    <a:pt x="55455" y="133884"/>
                    <a:pt x="52480" y="113058"/>
                    <a:pt x="58430" y="110083"/>
                  </a:cubicBezTo>
                  <a:cubicBezTo>
                    <a:pt x="61405" y="98182"/>
                    <a:pt x="70331" y="92231"/>
                    <a:pt x="67356" y="77355"/>
                  </a:cubicBezTo>
                  <a:cubicBezTo>
                    <a:pt x="61405" y="71405"/>
                    <a:pt x="55455" y="68430"/>
                    <a:pt x="55455" y="62479"/>
                  </a:cubicBezTo>
                  <a:close/>
                </a:path>
              </a:pathLst>
            </a:custGeom>
            <a:solidFill>
              <a:srgbClr val="664241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2" name="图形 1">
              <a:extLst>
                <a:ext uri="{FF2B5EF4-FFF2-40B4-BE49-F238E27FC236}">
                  <a16:creationId xmlns:a16="http://schemas.microsoft.com/office/drawing/2014/main" id="{C4220F68-B32F-423B-8B09-E3E75FE87C34}"/>
                </a:ext>
              </a:extLst>
            </p:cNvPr>
            <p:cNvGrpSpPr/>
            <p:nvPr/>
          </p:nvGrpSpPr>
          <p:grpSpPr>
            <a:xfrm>
              <a:off x="7749273" y="5773268"/>
              <a:ext cx="499879" cy="530277"/>
              <a:chOff x="7749273" y="5773268"/>
              <a:chExt cx="499879" cy="530277"/>
            </a:xfrm>
          </p:grpSpPr>
          <p:sp>
            <p:nvSpPr>
              <p:cNvPr id="343" name="任意多边形: 形状 342">
                <a:extLst>
                  <a:ext uri="{FF2B5EF4-FFF2-40B4-BE49-F238E27FC236}">
                    <a16:creationId xmlns:a16="http://schemas.microsoft.com/office/drawing/2014/main" id="{959337E7-87BC-48EF-854F-FBA9FE70B45F}"/>
                  </a:ext>
                </a:extLst>
              </p:cNvPr>
              <p:cNvSpPr/>
              <p:nvPr/>
            </p:nvSpPr>
            <p:spPr>
              <a:xfrm>
                <a:off x="7804974" y="5773268"/>
                <a:ext cx="211239" cy="267768"/>
              </a:xfrm>
              <a:custGeom>
                <a:avLst/>
                <a:gdLst>
                  <a:gd name="connsiteX0" fmla="*/ 2975 w 211239"/>
                  <a:gd name="connsiteY0" fmla="*/ 196364 h 267768"/>
                  <a:gd name="connsiteX1" fmla="*/ 47603 w 211239"/>
                  <a:gd name="connsiteY1" fmla="*/ 0 h 267768"/>
                  <a:gd name="connsiteX2" fmla="*/ 211240 w 211239"/>
                  <a:gd name="connsiteY2" fmla="*/ 59504 h 267768"/>
                  <a:gd name="connsiteX3" fmla="*/ 166612 w 211239"/>
                  <a:gd name="connsiteY3" fmla="*/ 267769 h 267768"/>
                  <a:gd name="connsiteX4" fmla="*/ 0 w 211239"/>
                  <a:gd name="connsiteY4" fmla="*/ 240992 h 267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239" h="267768">
                    <a:moveTo>
                      <a:pt x="2975" y="196364"/>
                    </a:moveTo>
                    <a:lnTo>
                      <a:pt x="47603" y="0"/>
                    </a:lnTo>
                    <a:lnTo>
                      <a:pt x="211240" y="59504"/>
                    </a:lnTo>
                    <a:lnTo>
                      <a:pt x="166612" y="267769"/>
                    </a:lnTo>
                    <a:lnTo>
                      <a:pt x="0" y="240992"/>
                    </a:lnTo>
                    <a:close/>
                  </a:path>
                </a:pathLst>
              </a:custGeom>
              <a:solidFill>
                <a:srgbClr val="F49F84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4" name="任意多边形: 形状 343">
                <a:extLst>
                  <a:ext uri="{FF2B5EF4-FFF2-40B4-BE49-F238E27FC236}">
                    <a16:creationId xmlns:a16="http://schemas.microsoft.com/office/drawing/2014/main" id="{4597D474-5420-45C5-A817-6634E1C14F32}"/>
                  </a:ext>
                </a:extLst>
              </p:cNvPr>
              <p:cNvSpPr/>
              <p:nvPr/>
            </p:nvSpPr>
            <p:spPr>
              <a:xfrm>
                <a:off x="7766296" y="5969632"/>
                <a:ext cx="482855" cy="288594"/>
              </a:xfrm>
              <a:custGeom>
                <a:avLst/>
                <a:gdLst>
                  <a:gd name="connsiteX0" fmla="*/ 41653 w 482855"/>
                  <a:gd name="connsiteY0" fmla="*/ 0 h 288594"/>
                  <a:gd name="connsiteX1" fmla="*/ 235041 w 482855"/>
                  <a:gd name="connsiteY1" fmla="*/ 14876 h 288594"/>
                  <a:gd name="connsiteX2" fmla="*/ 339173 w 482855"/>
                  <a:gd name="connsiteY2" fmla="*/ 145785 h 288594"/>
                  <a:gd name="connsiteX3" fmla="*/ 481983 w 482855"/>
                  <a:gd name="connsiteY3" fmla="*/ 288595 h 288594"/>
                  <a:gd name="connsiteX4" fmla="*/ 0 w 482855"/>
                  <a:gd name="connsiteY4" fmla="*/ 113058 h 288594"/>
                  <a:gd name="connsiteX5" fmla="*/ 41653 w 482855"/>
                  <a:gd name="connsiteY5" fmla="*/ 0 h 288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2855" h="288594">
                    <a:moveTo>
                      <a:pt x="41653" y="0"/>
                    </a:moveTo>
                    <a:cubicBezTo>
                      <a:pt x="41653" y="0"/>
                      <a:pt x="145785" y="59504"/>
                      <a:pt x="235041" y="14876"/>
                    </a:cubicBezTo>
                    <a:cubicBezTo>
                      <a:pt x="235041" y="14876"/>
                      <a:pt x="297521" y="119008"/>
                      <a:pt x="339173" y="145785"/>
                    </a:cubicBezTo>
                    <a:cubicBezTo>
                      <a:pt x="380826" y="172562"/>
                      <a:pt x="493884" y="211240"/>
                      <a:pt x="481983" y="288595"/>
                    </a:cubicBezTo>
                    <a:lnTo>
                      <a:pt x="0" y="113058"/>
                    </a:lnTo>
                    <a:cubicBezTo>
                      <a:pt x="0" y="113058"/>
                      <a:pt x="2975" y="44628"/>
                      <a:pt x="41653" y="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5" name="任意多边形: 形状 344">
                <a:extLst>
                  <a:ext uri="{FF2B5EF4-FFF2-40B4-BE49-F238E27FC236}">
                    <a16:creationId xmlns:a16="http://schemas.microsoft.com/office/drawing/2014/main" id="{FE1DE46F-E9FC-46A0-BE4F-B88E50C4EF7F}"/>
                  </a:ext>
                </a:extLst>
              </p:cNvPr>
              <p:cNvSpPr/>
              <p:nvPr/>
            </p:nvSpPr>
            <p:spPr>
              <a:xfrm rot="-4204421">
                <a:off x="7974125" y="5938111"/>
                <a:ext cx="47601" cy="511718"/>
              </a:xfrm>
              <a:custGeom>
                <a:avLst/>
                <a:gdLst>
                  <a:gd name="connsiteX0" fmla="*/ 0 w 47601"/>
                  <a:gd name="connsiteY0" fmla="*/ 0 h 511718"/>
                  <a:gd name="connsiteX1" fmla="*/ 47602 w 47601"/>
                  <a:gd name="connsiteY1" fmla="*/ 0 h 511718"/>
                  <a:gd name="connsiteX2" fmla="*/ 47602 w 47601"/>
                  <a:gd name="connsiteY2" fmla="*/ 511718 h 511718"/>
                  <a:gd name="connsiteX3" fmla="*/ 0 w 47601"/>
                  <a:gd name="connsiteY3" fmla="*/ 511718 h 511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01" h="511718">
                    <a:moveTo>
                      <a:pt x="0" y="0"/>
                    </a:moveTo>
                    <a:lnTo>
                      <a:pt x="47602" y="0"/>
                    </a:lnTo>
                    <a:lnTo>
                      <a:pt x="47602" y="511718"/>
                    </a:lnTo>
                    <a:lnTo>
                      <a:pt x="0" y="511718"/>
                    </a:lnTo>
                    <a:close/>
                  </a:path>
                </a:pathLst>
              </a:custGeom>
              <a:solidFill>
                <a:srgbClr val="38333D"/>
              </a:solidFill>
              <a:ln w="297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6" name="任意多边形: 形状 345">
                <a:extLst>
                  <a:ext uri="{FF2B5EF4-FFF2-40B4-BE49-F238E27FC236}">
                    <a16:creationId xmlns:a16="http://schemas.microsoft.com/office/drawing/2014/main" id="{D0D2CE6B-23E0-431D-A2AB-A966791471E2}"/>
                  </a:ext>
                </a:extLst>
              </p:cNvPr>
              <p:cNvSpPr/>
              <p:nvPr/>
            </p:nvSpPr>
            <p:spPr>
              <a:xfrm>
                <a:off x="7801999" y="5963682"/>
                <a:ext cx="205289" cy="41652"/>
              </a:xfrm>
              <a:custGeom>
                <a:avLst/>
                <a:gdLst>
                  <a:gd name="connsiteX0" fmla="*/ 124959 w 205289"/>
                  <a:gd name="connsiteY0" fmla="*/ 41653 h 41652"/>
                  <a:gd name="connsiteX1" fmla="*/ 2975 w 205289"/>
                  <a:gd name="connsiteY1" fmla="*/ 11901 h 41652"/>
                  <a:gd name="connsiteX2" fmla="*/ 0 w 205289"/>
                  <a:gd name="connsiteY2" fmla="*/ 2975 h 41652"/>
                  <a:gd name="connsiteX3" fmla="*/ 8926 w 205289"/>
                  <a:gd name="connsiteY3" fmla="*/ 0 h 41652"/>
                  <a:gd name="connsiteX4" fmla="*/ 196363 w 205289"/>
                  <a:gd name="connsiteY4" fmla="*/ 14876 h 41652"/>
                  <a:gd name="connsiteX5" fmla="*/ 205289 w 205289"/>
                  <a:gd name="connsiteY5" fmla="*/ 17851 h 41652"/>
                  <a:gd name="connsiteX6" fmla="*/ 202314 w 205289"/>
                  <a:gd name="connsiteY6" fmla="*/ 26777 h 41652"/>
                  <a:gd name="connsiteX7" fmla="*/ 124959 w 205289"/>
                  <a:gd name="connsiteY7" fmla="*/ 41653 h 41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5289" h="41652">
                    <a:moveTo>
                      <a:pt x="124959" y="41653"/>
                    </a:moveTo>
                    <a:cubicBezTo>
                      <a:pt x="59504" y="41653"/>
                      <a:pt x="5950" y="11901"/>
                      <a:pt x="2975" y="11901"/>
                    </a:cubicBezTo>
                    <a:cubicBezTo>
                      <a:pt x="0" y="8926"/>
                      <a:pt x="0" y="5950"/>
                      <a:pt x="0" y="2975"/>
                    </a:cubicBezTo>
                    <a:cubicBezTo>
                      <a:pt x="2975" y="0"/>
                      <a:pt x="5950" y="0"/>
                      <a:pt x="8926" y="0"/>
                    </a:cubicBezTo>
                    <a:cubicBezTo>
                      <a:pt x="8926" y="0"/>
                      <a:pt x="104132" y="53554"/>
                      <a:pt x="196363" y="14876"/>
                    </a:cubicBezTo>
                    <a:cubicBezTo>
                      <a:pt x="199339" y="14876"/>
                      <a:pt x="202314" y="14876"/>
                      <a:pt x="205289" y="17851"/>
                    </a:cubicBezTo>
                    <a:cubicBezTo>
                      <a:pt x="205289" y="20826"/>
                      <a:pt x="205289" y="23802"/>
                      <a:pt x="202314" y="26777"/>
                    </a:cubicBezTo>
                    <a:cubicBezTo>
                      <a:pt x="175537" y="38678"/>
                      <a:pt x="148760" y="41653"/>
                      <a:pt x="124959" y="416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7" name="任意多边形: 形状 346">
                <a:extLst>
                  <a:ext uri="{FF2B5EF4-FFF2-40B4-BE49-F238E27FC236}">
                    <a16:creationId xmlns:a16="http://schemas.microsoft.com/office/drawing/2014/main" id="{FDBED578-BC88-4679-B425-35ACFA6D96AB}"/>
                  </a:ext>
                </a:extLst>
              </p:cNvPr>
              <p:cNvSpPr/>
              <p:nvPr/>
            </p:nvSpPr>
            <p:spPr>
              <a:xfrm>
                <a:off x="7983486" y="6020210"/>
                <a:ext cx="47603" cy="29752"/>
              </a:xfrm>
              <a:custGeom>
                <a:avLst/>
                <a:gdLst>
                  <a:gd name="connsiteX0" fmla="*/ 5951 w 47603"/>
                  <a:gd name="connsiteY0" fmla="*/ 29752 h 29752"/>
                  <a:gd name="connsiteX1" fmla="*/ 0 w 47603"/>
                  <a:gd name="connsiteY1" fmla="*/ 26777 h 29752"/>
                  <a:gd name="connsiteX2" fmla="*/ 2975 w 47603"/>
                  <a:gd name="connsiteY2" fmla="*/ 17851 h 29752"/>
                  <a:gd name="connsiteX3" fmla="*/ 38678 w 47603"/>
                  <a:gd name="connsiteY3" fmla="*/ 0 h 29752"/>
                  <a:gd name="connsiteX4" fmla="*/ 47603 w 47603"/>
                  <a:gd name="connsiteY4" fmla="*/ 2975 h 29752"/>
                  <a:gd name="connsiteX5" fmla="*/ 44628 w 47603"/>
                  <a:gd name="connsiteY5" fmla="*/ 11901 h 29752"/>
                  <a:gd name="connsiteX6" fmla="*/ 5951 w 47603"/>
                  <a:gd name="connsiteY6" fmla="*/ 29752 h 29752"/>
                  <a:gd name="connsiteX7" fmla="*/ 5951 w 47603"/>
                  <a:gd name="connsiteY7" fmla="*/ 29752 h 29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603" h="29752">
                    <a:moveTo>
                      <a:pt x="5951" y="29752"/>
                    </a:moveTo>
                    <a:cubicBezTo>
                      <a:pt x="2975" y="29752"/>
                      <a:pt x="2975" y="29752"/>
                      <a:pt x="0" y="26777"/>
                    </a:cubicBezTo>
                    <a:cubicBezTo>
                      <a:pt x="0" y="23802"/>
                      <a:pt x="0" y="20826"/>
                      <a:pt x="2975" y="17851"/>
                    </a:cubicBezTo>
                    <a:lnTo>
                      <a:pt x="38678" y="0"/>
                    </a:lnTo>
                    <a:cubicBezTo>
                      <a:pt x="41653" y="0"/>
                      <a:pt x="44628" y="0"/>
                      <a:pt x="47603" y="2975"/>
                    </a:cubicBezTo>
                    <a:cubicBezTo>
                      <a:pt x="47603" y="5950"/>
                      <a:pt x="47603" y="8926"/>
                      <a:pt x="44628" y="11901"/>
                    </a:cubicBezTo>
                    <a:lnTo>
                      <a:pt x="5951" y="29752"/>
                    </a:lnTo>
                    <a:cubicBezTo>
                      <a:pt x="8926" y="29752"/>
                      <a:pt x="8926" y="29752"/>
                      <a:pt x="5951" y="2975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8" name="任意多边形: 形状 347">
                <a:extLst>
                  <a:ext uri="{FF2B5EF4-FFF2-40B4-BE49-F238E27FC236}">
                    <a16:creationId xmlns:a16="http://schemas.microsoft.com/office/drawing/2014/main" id="{635D3A79-8E93-498B-BA5E-8A684F34E9AD}"/>
                  </a:ext>
                </a:extLst>
              </p:cNvPr>
              <p:cNvSpPr/>
              <p:nvPr/>
            </p:nvSpPr>
            <p:spPr>
              <a:xfrm>
                <a:off x="8013238" y="6061864"/>
                <a:ext cx="47603" cy="29752"/>
              </a:xfrm>
              <a:custGeom>
                <a:avLst/>
                <a:gdLst>
                  <a:gd name="connsiteX0" fmla="*/ 5951 w 47603"/>
                  <a:gd name="connsiteY0" fmla="*/ 29752 h 29752"/>
                  <a:gd name="connsiteX1" fmla="*/ 0 w 47603"/>
                  <a:gd name="connsiteY1" fmla="*/ 26777 h 29752"/>
                  <a:gd name="connsiteX2" fmla="*/ 2975 w 47603"/>
                  <a:gd name="connsiteY2" fmla="*/ 17851 h 29752"/>
                  <a:gd name="connsiteX3" fmla="*/ 38678 w 47603"/>
                  <a:gd name="connsiteY3" fmla="*/ 0 h 29752"/>
                  <a:gd name="connsiteX4" fmla="*/ 47603 w 47603"/>
                  <a:gd name="connsiteY4" fmla="*/ 2975 h 29752"/>
                  <a:gd name="connsiteX5" fmla="*/ 44628 w 47603"/>
                  <a:gd name="connsiteY5" fmla="*/ 11901 h 29752"/>
                  <a:gd name="connsiteX6" fmla="*/ 5951 w 47603"/>
                  <a:gd name="connsiteY6" fmla="*/ 29752 h 29752"/>
                  <a:gd name="connsiteX7" fmla="*/ 5951 w 47603"/>
                  <a:gd name="connsiteY7" fmla="*/ 29752 h 29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603" h="29752">
                    <a:moveTo>
                      <a:pt x="5951" y="29752"/>
                    </a:moveTo>
                    <a:cubicBezTo>
                      <a:pt x="2975" y="29752"/>
                      <a:pt x="2975" y="29752"/>
                      <a:pt x="0" y="26777"/>
                    </a:cubicBezTo>
                    <a:cubicBezTo>
                      <a:pt x="0" y="23801"/>
                      <a:pt x="0" y="20826"/>
                      <a:pt x="2975" y="17851"/>
                    </a:cubicBezTo>
                    <a:lnTo>
                      <a:pt x="38678" y="0"/>
                    </a:lnTo>
                    <a:cubicBezTo>
                      <a:pt x="41653" y="0"/>
                      <a:pt x="44628" y="0"/>
                      <a:pt x="47603" y="2975"/>
                    </a:cubicBezTo>
                    <a:cubicBezTo>
                      <a:pt x="47603" y="5950"/>
                      <a:pt x="47603" y="8925"/>
                      <a:pt x="44628" y="11901"/>
                    </a:cubicBezTo>
                    <a:lnTo>
                      <a:pt x="5951" y="29752"/>
                    </a:lnTo>
                    <a:cubicBezTo>
                      <a:pt x="8926" y="26777"/>
                      <a:pt x="5951" y="29752"/>
                      <a:pt x="5951" y="29752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49" name="任意多边形: 形状 348">
              <a:extLst>
                <a:ext uri="{FF2B5EF4-FFF2-40B4-BE49-F238E27FC236}">
                  <a16:creationId xmlns:a16="http://schemas.microsoft.com/office/drawing/2014/main" id="{BF5C3820-912D-4D48-8EAB-897FF2012E2F}"/>
                </a:ext>
              </a:extLst>
            </p:cNvPr>
            <p:cNvSpPr/>
            <p:nvPr/>
          </p:nvSpPr>
          <p:spPr>
            <a:xfrm>
              <a:off x="7242196" y="4139880"/>
              <a:ext cx="1209635" cy="1756340"/>
            </a:xfrm>
            <a:custGeom>
              <a:avLst/>
              <a:gdLst>
                <a:gd name="connsiteX0" fmla="*/ 24265 w 1209635"/>
                <a:gd name="connsiteY0" fmla="*/ 0 h 1756340"/>
                <a:gd name="connsiteX1" fmla="*/ 27240 w 1209635"/>
                <a:gd name="connsiteY1" fmla="*/ 333223 h 1756340"/>
                <a:gd name="connsiteX2" fmla="*/ 776993 w 1209635"/>
                <a:gd name="connsiteY2" fmla="*/ 728926 h 1756340"/>
                <a:gd name="connsiteX3" fmla="*/ 538976 w 1209635"/>
                <a:gd name="connsiteY3" fmla="*/ 1704794 h 1756340"/>
                <a:gd name="connsiteX4" fmla="*/ 818645 w 1209635"/>
                <a:gd name="connsiteY4" fmla="*/ 1752397 h 1756340"/>
                <a:gd name="connsiteX5" fmla="*/ 1208398 w 1209635"/>
                <a:gd name="connsiteY5" fmla="*/ 621818 h 1756340"/>
                <a:gd name="connsiteX6" fmla="*/ 622282 w 1209635"/>
                <a:gd name="connsiteY6" fmla="*/ 50578 h 1756340"/>
                <a:gd name="connsiteX7" fmla="*/ 24265 w 1209635"/>
                <a:gd name="connsiteY7" fmla="*/ 0 h 1756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9635" h="1756340">
                  <a:moveTo>
                    <a:pt x="24265" y="0"/>
                  </a:moveTo>
                  <a:cubicBezTo>
                    <a:pt x="24265" y="0"/>
                    <a:pt x="-32264" y="196364"/>
                    <a:pt x="27240" y="333223"/>
                  </a:cubicBezTo>
                  <a:cubicBezTo>
                    <a:pt x="101620" y="511735"/>
                    <a:pt x="750216" y="675372"/>
                    <a:pt x="776993" y="728926"/>
                  </a:cubicBezTo>
                  <a:cubicBezTo>
                    <a:pt x="803769" y="782479"/>
                    <a:pt x="538976" y="1704794"/>
                    <a:pt x="538976" y="1704794"/>
                  </a:cubicBezTo>
                  <a:cubicBezTo>
                    <a:pt x="538976" y="1704794"/>
                    <a:pt x="747241" y="1773223"/>
                    <a:pt x="818645" y="1752397"/>
                  </a:cubicBezTo>
                  <a:cubicBezTo>
                    <a:pt x="818645" y="1752397"/>
                    <a:pt x="1235174" y="758678"/>
                    <a:pt x="1208398" y="621818"/>
                  </a:cubicBezTo>
                  <a:cubicBezTo>
                    <a:pt x="1181621" y="481983"/>
                    <a:pt x="687736" y="65454"/>
                    <a:pt x="622282" y="50578"/>
                  </a:cubicBezTo>
                  <a:cubicBezTo>
                    <a:pt x="562777" y="32727"/>
                    <a:pt x="24265" y="0"/>
                    <a:pt x="24265" y="0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0" name="任意多边形: 形状 349">
              <a:extLst>
                <a:ext uri="{FF2B5EF4-FFF2-40B4-BE49-F238E27FC236}">
                  <a16:creationId xmlns:a16="http://schemas.microsoft.com/office/drawing/2014/main" id="{7FCC4F50-1578-4FB0-950C-C9D5A2E1C0B4}"/>
                </a:ext>
              </a:extLst>
            </p:cNvPr>
            <p:cNvSpPr/>
            <p:nvPr/>
          </p:nvSpPr>
          <p:spPr>
            <a:xfrm>
              <a:off x="7709767" y="2583847"/>
              <a:ext cx="252892" cy="259534"/>
            </a:xfrm>
            <a:custGeom>
              <a:avLst/>
              <a:gdLst>
                <a:gd name="connsiteX0" fmla="*/ 252893 w 252892"/>
                <a:gd name="connsiteY0" fmla="*/ 50578 h 259534"/>
                <a:gd name="connsiteX1" fmla="*/ 238017 w 252892"/>
                <a:gd name="connsiteY1" fmla="*/ 220165 h 259534"/>
                <a:gd name="connsiteX2" fmla="*/ 0 w 252892"/>
                <a:gd name="connsiteY2" fmla="*/ 199339 h 259534"/>
                <a:gd name="connsiteX3" fmla="*/ 23802 w 252892"/>
                <a:gd name="connsiteY3" fmla="*/ 0 h 259534"/>
                <a:gd name="connsiteX4" fmla="*/ 252893 w 252892"/>
                <a:gd name="connsiteY4" fmla="*/ 50578 h 259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892" h="259534">
                  <a:moveTo>
                    <a:pt x="252893" y="50578"/>
                  </a:moveTo>
                  <a:cubicBezTo>
                    <a:pt x="252893" y="50578"/>
                    <a:pt x="240992" y="148760"/>
                    <a:pt x="238017" y="220165"/>
                  </a:cubicBezTo>
                  <a:cubicBezTo>
                    <a:pt x="238017" y="220165"/>
                    <a:pt x="142810" y="321322"/>
                    <a:pt x="0" y="199339"/>
                  </a:cubicBezTo>
                  <a:cubicBezTo>
                    <a:pt x="2975" y="139835"/>
                    <a:pt x="17851" y="62479"/>
                    <a:pt x="23802" y="0"/>
                  </a:cubicBezTo>
                  <a:cubicBezTo>
                    <a:pt x="23802" y="0"/>
                    <a:pt x="202314" y="59504"/>
                    <a:pt x="252893" y="50578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1" name="任意多边形: 形状 350">
              <a:extLst>
                <a:ext uri="{FF2B5EF4-FFF2-40B4-BE49-F238E27FC236}">
                  <a16:creationId xmlns:a16="http://schemas.microsoft.com/office/drawing/2014/main" id="{EB4C98A2-FE9A-45F8-9A68-55DE39804AF9}"/>
                </a:ext>
              </a:extLst>
            </p:cNvPr>
            <p:cNvSpPr/>
            <p:nvPr/>
          </p:nvSpPr>
          <p:spPr>
            <a:xfrm>
              <a:off x="7224808" y="2747483"/>
              <a:ext cx="1106259" cy="1459128"/>
            </a:xfrm>
            <a:custGeom>
              <a:avLst/>
              <a:gdLst>
                <a:gd name="connsiteX0" fmla="*/ 487934 w 1106259"/>
                <a:gd name="connsiteY0" fmla="*/ 0 h 1459128"/>
                <a:gd name="connsiteX1" fmla="*/ 725951 w 1106259"/>
                <a:gd name="connsiteY1" fmla="*/ 20826 h 1459128"/>
                <a:gd name="connsiteX2" fmla="*/ 1038347 w 1106259"/>
                <a:gd name="connsiteY2" fmla="*/ 145785 h 1459128"/>
                <a:gd name="connsiteX3" fmla="*/ 1103802 w 1106259"/>
                <a:gd name="connsiteY3" fmla="*/ 1374546 h 1459128"/>
                <a:gd name="connsiteX4" fmla="*/ 0 w 1106259"/>
                <a:gd name="connsiteY4" fmla="*/ 1410248 h 1459128"/>
                <a:gd name="connsiteX5" fmla="*/ 193388 w 1106259"/>
                <a:gd name="connsiteY5" fmla="*/ 80331 h 1459128"/>
                <a:gd name="connsiteX6" fmla="*/ 487934 w 1106259"/>
                <a:gd name="connsiteY6" fmla="*/ 0 h 1459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6259" h="1459128">
                  <a:moveTo>
                    <a:pt x="487934" y="0"/>
                  </a:moveTo>
                  <a:cubicBezTo>
                    <a:pt x="487934" y="0"/>
                    <a:pt x="609917" y="101157"/>
                    <a:pt x="725951" y="20826"/>
                  </a:cubicBezTo>
                  <a:cubicBezTo>
                    <a:pt x="725951" y="20826"/>
                    <a:pt x="1014546" y="113058"/>
                    <a:pt x="1038347" y="145785"/>
                  </a:cubicBezTo>
                  <a:cubicBezTo>
                    <a:pt x="1062149" y="178512"/>
                    <a:pt x="1118678" y="1309091"/>
                    <a:pt x="1103802" y="1374546"/>
                  </a:cubicBezTo>
                  <a:cubicBezTo>
                    <a:pt x="1103802" y="1374546"/>
                    <a:pt x="559339" y="1538182"/>
                    <a:pt x="0" y="1410248"/>
                  </a:cubicBezTo>
                  <a:cubicBezTo>
                    <a:pt x="14876" y="1062149"/>
                    <a:pt x="151736" y="110083"/>
                    <a:pt x="193388" y="80331"/>
                  </a:cubicBezTo>
                  <a:cubicBezTo>
                    <a:pt x="235042" y="53554"/>
                    <a:pt x="487934" y="0"/>
                    <a:pt x="487934" y="0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2" name="任意多边形: 形状 351">
              <a:extLst>
                <a:ext uri="{FF2B5EF4-FFF2-40B4-BE49-F238E27FC236}">
                  <a16:creationId xmlns:a16="http://schemas.microsoft.com/office/drawing/2014/main" id="{B99AEFAF-F065-49CD-8B10-2FEA2B0E5438}"/>
                </a:ext>
              </a:extLst>
            </p:cNvPr>
            <p:cNvSpPr/>
            <p:nvPr/>
          </p:nvSpPr>
          <p:spPr>
            <a:xfrm>
              <a:off x="7986461" y="2910708"/>
              <a:ext cx="410582" cy="569477"/>
            </a:xfrm>
            <a:custGeom>
              <a:avLst/>
              <a:gdLst>
                <a:gd name="connsiteX0" fmla="*/ 0 w 410582"/>
                <a:gd name="connsiteY0" fmla="*/ 529999 h 569477"/>
                <a:gd name="connsiteX1" fmla="*/ 246942 w 410582"/>
                <a:gd name="connsiteY1" fmla="*/ 412 h 569477"/>
                <a:gd name="connsiteX2" fmla="*/ 410579 w 410582"/>
                <a:gd name="connsiteY2" fmla="*/ 550825 h 569477"/>
                <a:gd name="connsiteX3" fmla="*/ 0 w 410582"/>
                <a:gd name="connsiteY3" fmla="*/ 529999 h 569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582" h="569477">
                  <a:moveTo>
                    <a:pt x="0" y="529999"/>
                  </a:moveTo>
                  <a:cubicBezTo>
                    <a:pt x="0" y="529999"/>
                    <a:pt x="104132" y="15288"/>
                    <a:pt x="246942" y="412"/>
                  </a:cubicBezTo>
                  <a:cubicBezTo>
                    <a:pt x="413554" y="-17439"/>
                    <a:pt x="410579" y="550825"/>
                    <a:pt x="410579" y="550825"/>
                  </a:cubicBezTo>
                  <a:cubicBezTo>
                    <a:pt x="410579" y="550825"/>
                    <a:pt x="193388" y="604379"/>
                    <a:pt x="0" y="529999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3" name="任意多边形: 形状 352">
              <a:extLst>
                <a:ext uri="{FF2B5EF4-FFF2-40B4-BE49-F238E27FC236}">
                  <a16:creationId xmlns:a16="http://schemas.microsoft.com/office/drawing/2014/main" id="{2855AE12-A196-46C7-8600-1712F7FF37B6}"/>
                </a:ext>
              </a:extLst>
            </p:cNvPr>
            <p:cNvSpPr/>
            <p:nvPr/>
          </p:nvSpPr>
          <p:spPr>
            <a:xfrm>
              <a:off x="8260180" y="2887318"/>
              <a:ext cx="29752" cy="541487"/>
            </a:xfrm>
            <a:custGeom>
              <a:avLst/>
              <a:gdLst>
                <a:gd name="connsiteX0" fmla="*/ 23802 w 29752"/>
                <a:gd name="connsiteY0" fmla="*/ 541488 h 541487"/>
                <a:gd name="connsiteX1" fmla="*/ 17851 w 29752"/>
                <a:gd name="connsiteY1" fmla="*/ 535537 h 541487"/>
                <a:gd name="connsiteX2" fmla="*/ 0 w 29752"/>
                <a:gd name="connsiteY2" fmla="*/ 5950 h 541487"/>
                <a:gd name="connsiteX3" fmla="*/ 5950 w 29752"/>
                <a:gd name="connsiteY3" fmla="*/ 0 h 541487"/>
                <a:gd name="connsiteX4" fmla="*/ 11901 w 29752"/>
                <a:gd name="connsiteY4" fmla="*/ 5950 h 541487"/>
                <a:gd name="connsiteX5" fmla="*/ 29752 w 29752"/>
                <a:gd name="connsiteY5" fmla="*/ 535537 h 541487"/>
                <a:gd name="connsiteX6" fmla="*/ 23802 w 29752"/>
                <a:gd name="connsiteY6" fmla="*/ 541488 h 541487"/>
                <a:gd name="connsiteX7" fmla="*/ 23802 w 29752"/>
                <a:gd name="connsiteY7" fmla="*/ 541488 h 54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752" h="541487">
                  <a:moveTo>
                    <a:pt x="23802" y="541488"/>
                  </a:moveTo>
                  <a:cubicBezTo>
                    <a:pt x="20826" y="541488"/>
                    <a:pt x="17851" y="538512"/>
                    <a:pt x="17851" y="535537"/>
                  </a:cubicBezTo>
                  <a:cubicBezTo>
                    <a:pt x="17851" y="529587"/>
                    <a:pt x="5950" y="44628"/>
                    <a:pt x="0" y="5950"/>
                  </a:cubicBezTo>
                  <a:cubicBezTo>
                    <a:pt x="0" y="2975"/>
                    <a:pt x="2975" y="0"/>
                    <a:pt x="5950" y="0"/>
                  </a:cubicBezTo>
                  <a:cubicBezTo>
                    <a:pt x="8926" y="0"/>
                    <a:pt x="11901" y="2975"/>
                    <a:pt x="11901" y="5950"/>
                  </a:cubicBezTo>
                  <a:cubicBezTo>
                    <a:pt x="17851" y="44628"/>
                    <a:pt x="29752" y="514711"/>
                    <a:pt x="29752" y="535537"/>
                  </a:cubicBezTo>
                  <a:cubicBezTo>
                    <a:pt x="29752" y="538512"/>
                    <a:pt x="26777" y="541488"/>
                    <a:pt x="23802" y="541488"/>
                  </a:cubicBezTo>
                  <a:cubicBezTo>
                    <a:pt x="23802" y="541488"/>
                    <a:pt x="23802" y="541488"/>
                    <a:pt x="23802" y="541488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4" name="任意多边形: 形状 353">
              <a:extLst>
                <a:ext uri="{FF2B5EF4-FFF2-40B4-BE49-F238E27FC236}">
                  <a16:creationId xmlns:a16="http://schemas.microsoft.com/office/drawing/2014/main" id="{8AB8100E-2C4F-43D6-B55C-EDAC414C8D11}"/>
                </a:ext>
              </a:extLst>
            </p:cNvPr>
            <p:cNvSpPr/>
            <p:nvPr/>
          </p:nvSpPr>
          <p:spPr>
            <a:xfrm>
              <a:off x="7587784" y="2333929"/>
              <a:ext cx="151735" cy="270743"/>
            </a:xfrm>
            <a:custGeom>
              <a:avLst/>
              <a:gdLst>
                <a:gd name="connsiteX0" fmla="*/ 0 w 151735"/>
                <a:gd name="connsiteY0" fmla="*/ 8926 h 270743"/>
                <a:gd name="connsiteX1" fmla="*/ 130909 w 151735"/>
                <a:gd name="connsiteY1" fmla="*/ 270744 h 270743"/>
                <a:gd name="connsiteX2" fmla="*/ 151735 w 151735"/>
                <a:gd name="connsiteY2" fmla="*/ 0 h 270743"/>
                <a:gd name="connsiteX3" fmla="*/ 0 w 151735"/>
                <a:gd name="connsiteY3" fmla="*/ 8926 h 270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735" h="270743">
                  <a:moveTo>
                    <a:pt x="0" y="8926"/>
                  </a:moveTo>
                  <a:cubicBezTo>
                    <a:pt x="0" y="8926"/>
                    <a:pt x="80330" y="249917"/>
                    <a:pt x="130909" y="270744"/>
                  </a:cubicBezTo>
                  <a:lnTo>
                    <a:pt x="151735" y="0"/>
                  </a:lnTo>
                  <a:lnTo>
                    <a:pt x="0" y="8926"/>
                  </a:lnTo>
                  <a:close/>
                </a:path>
              </a:pathLst>
            </a:custGeom>
            <a:solidFill>
              <a:srgbClr val="664241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5" name="任意多边形: 形状 354">
              <a:extLst>
                <a:ext uri="{FF2B5EF4-FFF2-40B4-BE49-F238E27FC236}">
                  <a16:creationId xmlns:a16="http://schemas.microsoft.com/office/drawing/2014/main" id="{D499B0EE-1722-473B-AF2D-A8C9D8026FAB}"/>
                </a:ext>
              </a:extLst>
            </p:cNvPr>
            <p:cNvSpPr/>
            <p:nvPr/>
          </p:nvSpPr>
          <p:spPr>
            <a:xfrm>
              <a:off x="7665139" y="2142668"/>
              <a:ext cx="406800" cy="554384"/>
            </a:xfrm>
            <a:custGeom>
              <a:avLst/>
              <a:gdLst>
                <a:gd name="connsiteX0" fmla="*/ 401653 w 406800"/>
                <a:gd name="connsiteY0" fmla="*/ 182335 h 554384"/>
                <a:gd name="connsiteX1" fmla="*/ 395703 w 406800"/>
                <a:gd name="connsiteY1" fmla="*/ 426302 h 554384"/>
                <a:gd name="connsiteX2" fmla="*/ 235042 w 406800"/>
                <a:gd name="connsiteY2" fmla="*/ 554236 h 554384"/>
                <a:gd name="connsiteX3" fmla="*/ 29752 w 406800"/>
                <a:gd name="connsiteY3" fmla="*/ 408451 h 554384"/>
                <a:gd name="connsiteX4" fmla="*/ 0 w 406800"/>
                <a:gd name="connsiteY4" fmla="*/ 188286 h 554384"/>
                <a:gd name="connsiteX5" fmla="*/ 214215 w 406800"/>
                <a:gd name="connsiteY5" fmla="*/ 848 h 554384"/>
                <a:gd name="connsiteX6" fmla="*/ 401653 w 406800"/>
                <a:gd name="connsiteY6" fmla="*/ 182335 h 55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6800" h="554384">
                  <a:moveTo>
                    <a:pt x="401653" y="182335"/>
                  </a:moveTo>
                  <a:cubicBezTo>
                    <a:pt x="401653" y="182335"/>
                    <a:pt x="416529" y="354897"/>
                    <a:pt x="395703" y="426302"/>
                  </a:cubicBezTo>
                  <a:cubicBezTo>
                    <a:pt x="374876" y="488782"/>
                    <a:pt x="285620" y="551261"/>
                    <a:pt x="235042" y="554236"/>
                  </a:cubicBezTo>
                  <a:cubicBezTo>
                    <a:pt x="169587" y="557211"/>
                    <a:pt x="56529" y="515559"/>
                    <a:pt x="29752" y="408451"/>
                  </a:cubicBezTo>
                  <a:cubicBezTo>
                    <a:pt x="11901" y="337046"/>
                    <a:pt x="0" y="238864"/>
                    <a:pt x="0" y="188286"/>
                  </a:cubicBezTo>
                  <a:cubicBezTo>
                    <a:pt x="5950" y="96055"/>
                    <a:pt x="32727" y="18699"/>
                    <a:pt x="214215" y="848"/>
                  </a:cubicBezTo>
                  <a:cubicBezTo>
                    <a:pt x="297521" y="-11053"/>
                    <a:pt x="386777" y="104980"/>
                    <a:pt x="401653" y="182335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6" name="任意多边形: 形状 355">
              <a:extLst>
                <a:ext uri="{FF2B5EF4-FFF2-40B4-BE49-F238E27FC236}">
                  <a16:creationId xmlns:a16="http://schemas.microsoft.com/office/drawing/2014/main" id="{F5D6CB28-CA1C-4FB6-8C28-4D6303752D01}"/>
                </a:ext>
              </a:extLst>
            </p:cNvPr>
            <p:cNvSpPr/>
            <p:nvPr/>
          </p:nvSpPr>
          <p:spPr>
            <a:xfrm>
              <a:off x="7878121" y="2402359"/>
              <a:ext cx="57761" cy="130909"/>
            </a:xfrm>
            <a:custGeom>
              <a:avLst/>
              <a:gdLst>
                <a:gd name="connsiteX0" fmla="*/ 30984 w 57761"/>
                <a:gd name="connsiteY0" fmla="*/ 130909 h 130909"/>
                <a:gd name="connsiteX1" fmla="*/ 4208 w 57761"/>
                <a:gd name="connsiteY1" fmla="*/ 127934 h 130909"/>
                <a:gd name="connsiteX2" fmla="*/ 1232 w 57761"/>
                <a:gd name="connsiteY2" fmla="*/ 121983 h 130909"/>
                <a:gd name="connsiteX3" fmla="*/ 7183 w 57761"/>
                <a:gd name="connsiteY3" fmla="*/ 119008 h 130909"/>
                <a:gd name="connsiteX4" fmla="*/ 45860 w 57761"/>
                <a:gd name="connsiteY4" fmla="*/ 119008 h 130909"/>
                <a:gd name="connsiteX5" fmla="*/ 45860 w 57761"/>
                <a:gd name="connsiteY5" fmla="*/ 116033 h 130909"/>
                <a:gd name="connsiteX6" fmla="*/ 33960 w 57761"/>
                <a:gd name="connsiteY6" fmla="*/ 5950 h 130909"/>
                <a:gd name="connsiteX7" fmla="*/ 39910 w 57761"/>
                <a:gd name="connsiteY7" fmla="*/ 0 h 130909"/>
                <a:gd name="connsiteX8" fmla="*/ 45860 w 57761"/>
                <a:gd name="connsiteY8" fmla="*/ 5950 h 130909"/>
                <a:gd name="connsiteX9" fmla="*/ 57761 w 57761"/>
                <a:gd name="connsiteY9" fmla="*/ 116033 h 130909"/>
                <a:gd name="connsiteX10" fmla="*/ 51811 w 57761"/>
                <a:gd name="connsiteY10" fmla="*/ 127934 h 130909"/>
                <a:gd name="connsiteX11" fmla="*/ 30984 w 57761"/>
                <a:gd name="connsiteY11" fmla="*/ 130909 h 13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761" h="130909">
                  <a:moveTo>
                    <a:pt x="30984" y="130909"/>
                  </a:moveTo>
                  <a:cubicBezTo>
                    <a:pt x="19084" y="130909"/>
                    <a:pt x="7183" y="127934"/>
                    <a:pt x="4208" y="127934"/>
                  </a:cubicBezTo>
                  <a:cubicBezTo>
                    <a:pt x="1232" y="127934"/>
                    <a:pt x="-1743" y="124959"/>
                    <a:pt x="1232" y="121983"/>
                  </a:cubicBezTo>
                  <a:cubicBezTo>
                    <a:pt x="1232" y="119008"/>
                    <a:pt x="4208" y="116033"/>
                    <a:pt x="7183" y="119008"/>
                  </a:cubicBezTo>
                  <a:cubicBezTo>
                    <a:pt x="19084" y="121983"/>
                    <a:pt x="39910" y="124959"/>
                    <a:pt x="45860" y="119008"/>
                  </a:cubicBezTo>
                  <a:cubicBezTo>
                    <a:pt x="45860" y="119008"/>
                    <a:pt x="45860" y="116033"/>
                    <a:pt x="45860" y="116033"/>
                  </a:cubicBezTo>
                  <a:cubicBezTo>
                    <a:pt x="45860" y="98182"/>
                    <a:pt x="33960" y="5950"/>
                    <a:pt x="33960" y="5950"/>
                  </a:cubicBezTo>
                  <a:cubicBezTo>
                    <a:pt x="33960" y="2975"/>
                    <a:pt x="36935" y="0"/>
                    <a:pt x="39910" y="0"/>
                  </a:cubicBezTo>
                  <a:cubicBezTo>
                    <a:pt x="42885" y="0"/>
                    <a:pt x="45860" y="2975"/>
                    <a:pt x="45860" y="5950"/>
                  </a:cubicBezTo>
                  <a:cubicBezTo>
                    <a:pt x="45860" y="8926"/>
                    <a:pt x="57761" y="98182"/>
                    <a:pt x="57761" y="116033"/>
                  </a:cubicBezTo>
                  <a:cubicBezTo>
                    <a:pt x="57761" y="121983"/>
                    <a:pt x="54786" y="124959"/>
                    <a:pt x="51811" y="127934"/>
                  </a:cubicBezTo>
                  <a:cubicBezTo>
                    <a:pt x="48836" y="130909"/>
                    <a:pt x="39910" y="130909"/>
                    <a:pt x="30984" y="130909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7" name="任意多边形: 形状 356">
              <a:extLst>
                <a:ext uri="{FF2B5EF4-FFF2-40B4-BE49-F238E27FC236}">
                  <a16:creationId xmlns:a16="http://schemas.microsoft.com/office/drawing/2014/main" id="{FE932654-D383-421D-8F40-33EE830CA7D5}"/>
                </a:ext>
              </a:extLst>
            </p:cNvPr>
            <p:cNvSpPr/>
            <p:nvPr/>
          </p:nvSpPr>
          <p:spPr>
            <a:xfrm>
              <a:off x="7970827" y="2377799"/>
              <a:ext cx="40194" cy="40194"/>
            </a:xfrm>
            <a:custGeom>
              <a:avLst/>
              <a:gdLst>
                <a:gd name="connsiteX0" fmla="*/ 758 w 40194"/>
                <a:gd name="connsiteY0" fmla="*/ 24560 h 40194"/>
                <a:gd name="connsiteX1" fmla="*/ 24560 w 40194"/>
                <a:gd name="connsiteY1" fmla="*/ 39436 h 40194"/>
                <a:gd name="connsiteX2" fmla="*/ 39436 w 40194"/>
                <a:gd name="connsiteY2" fmla="*/ 15634 h 40194"/>
                <a:gd name="connsiteX3" fmla="*/ 15634 w 40194"/>
                <a:gd name="connsiteY3" fmla="*/ 758 h 40194"/>
                <a:gd name="connsiteX4" fmla="*/ 758 w 40194"/>
                <a:gd name="connsiteY4" fmla="*/ 24560 h 4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94" h="40194">
                  <a:moveTo>
                    <a:pt x="758" y="24560"/>
                  </a:moveTo>
                  <a:cubicBezTo>
                    <a:pt x="3734" y="36461"/>
                    <a:pt x="12659" y="42411"/>
                    <a:pt x="24560" y="39436"/>
                  </a:cubicBezTo>
                  <a:cubicBezTo>
                    <a:pt x="36461" y="36461"/>
                    <a:pt x="42411" y="27535"/>
                    <a:pt x="39436" y="15634"/>
                  </a:cubicBezTo>
                  <a:cubicBezTo>
                    <a:pt x="36461" y="3733"/>
                    <a:pt x="27535" y="-2217"/>
                    <a:pt x="15634" y="758"/>
                  </a:cubicBezTo>
                  <a:cubicBezTo>
                    <a:pt x="3734" y="3733"/>
                    <a:pt x="-2217" y="15634"/>
                    <a:pt x="758" y="24560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8" name="任意多边形: 形状 357">
              <a:extLst>
                <a:ext uri="{FF2B5EF4-FFF2-40B4-BE49-F238E27FC236}">
                  <a16:creationId xmlns:a16="http://schemas.microsoft.com/office/drawing/2014/main" id="{2919C20A-7B9B-4727-8F9D-15DC6FEA044C}"/>
                </a:ext>
              </a:extLst>
            </p:cNvPr>
            <p:cNvSpPr/>
            <p:nvPr/>
          </p:nvSpPr>
          <p:spPr>
            <a:xfrm>
              <a:off x="7792315" y="2389700"/>
              <a:ext cx="40194" cy="40194"/>
            </a:xfrm>
            <a:custGeom>
              <a:avLst/>
              <a:gdLst>
                <a:gd name="connsiteX0" fmla="*/ 758 w 40194"/>
                <a:gd name="connsiteY0" fmla="*/ 24560 h 40194"/>
                <a:gd name="connsiteX1" fmla="*/ 24560 w 40194"/>
                <a:gd name="connsiteY1" fmla="*/ 39436 h 40194"/>
                <a:gd name="connsiteX2" fmla="*/ 39436 w 40194"/>
                <a:gd name="connsiteY2" fmla="*/ 15634 h 40194"/>
                <a:gd name="connsiteX3" fmla="*/ 15634 w 40194"/>
                <a:gd name="connsiteY3" fmla="*/ 758 h 40194"/>
                <a:gd name="connsiteX4" fmla="*/ 758 w 40194"/>
                <a:gd name="connsiteY4" fmla="*/ 24560 h 4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94" h="40194">
                  <a:moveTo>
                    <a:pt x="758" y="24560"/>
                  </a:moveTo>
                  <a:cubicBezTo>
                    <a:pt x="3734" y="36461"/>
                    <a:pt x="12659" y="42411"/>
                    <a:pt x="24560" y="39436"/>
                  </a:cubicBezTo>
                  <a:cubicBezTo>
                    <a:pt x="36461" y="36461"/>
                    <a:pt x="42411" y="27535"/>
                    <a:pt x="39436" y="15634"/>
                  </a:cubicBezTo>
                  <a:cubicBezTo>
                    <a:pt x="36461" y="3733"/>
                    <a:pt x="27535" y="-2217"/>
                    <a:pt x="15634" y="758"/>
                  </a:cubicBezTo>
                  <a:cubicBezTo>
                    <a:pt x="3734" y="3733"/>
                    <a:pt x="-2217" y="15634"/>
                    <a:pt x="758" y="24560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9" name="任意多边形: 形状 358">
              <a:extLst>
                <a:ext uri="{FF2B5EF4-FFF2-40B4-BE49-F238E27FC236}">
                  <a16:creationId xmlns:a16="http://schemas.microsoft.com/office/drawing/2014/main" id="{F9D13AB8-29AB-4CFF-A71E-4ADC62F45698}"/>
                </a:ext>
              </a:extLst>
            </p:cNvPr>
            <p:cNvSpPr/>
            <p:nvPr/>
          </p:nvSpPr>
          <p:spPr>
            <a:xfrm>
              <a:off x="7946551" y="2334280"/>
              <a:ext cx="89744" cy="32377"/>
            </a:xfrm>
            <a:custGeom>
              <a:avLst/>
              <a:gdLst>
                <a:gd name="connsiteX0" fmla="*/ 81563 w 89744"/>
                <a:gd name="connsiteY0" fmla="*/ 32377 h 32377"/>
                <a:gd name="connsiteX1" fmla="*/ 75612 w 89744"/>
                <a:gd name="connsiteY1" fmla="*/ 29402 h 32377"/>
                <a:gd name="connsiteX2" fmla="*/ 10158 w 89744"/>
                <a:gd name="connsiteY2" fmla="*/ 20476 h 32377"/>
                <a:gd name="connsiteX3" fmla="*/ 1232 w 89744"/>
                <a:gd name="connsiteY3" fmla="*/ 17501 h 32377"/>
                <a:gd name="connsiteX4" fmla="*/ 4208 w 89744"/>
                <a:gd name="connsiteY4" fmla="*/ 8575 h 32377"/>
                <a:gd name="connsiteX5" fmla="*/ 87514 w 89744"/>
                <a:gd name="connsiteY5" fmla="*/ 20476 h 32377"/>
                <a:gd name="connsiteX6" fmla="*/ 87514 w 89744"/>
                <a:gd name="connsiteY6" fmla="*/ 32377 h 32377"/>
                <a:gd name="connsiteX7" fmla="*/ 81563 w 89744"/>
                <a:gd name="connsiteY7" fmla="*/ 32377 h 32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2377">
                  <a:moveTo>
                    <a:pt x="81563" y="32377"/>
                  </a:moveTo>
                  <a:cubicBezTo>
                    <a:pt x="78588" y="32377"/>
                    <a:pt x="78588" y="32377"/>
                    <a:pt x="75612" y="29402"/>
                  </a:cubicBezTo>
                  <a:cubicBezTo>
                    <a:pt x="51811" y="2625"/>
                    <a:pt x="10158" y="20476"/>
                    <a:pt x="10158" y="20476"/>
                  </a:cubicBezTo>
                  <a:cubicBezTo>
                    <a:pt x="7183" y="23452"/>
                    <a:pt x="1232" y="20476"/>
                    <a:pt x="1232" y="17501"/>
                  </a:cubicBezTo>
                  <a:cubicBezTo>
                    <a:pt x="-1743" y="14526"/>
                    <a:pt x="1232" y="8575"/>
                    <a:pt x="4208" y="8575"/>
                  </a:cubicBezTo>
                  <a:cubicBezTo>
                    <a:pt x="22059" y="-350"/>
                    <a:pt x="60736" y="-9276"/>
                    <a:pt x="87514" y="20476"/>
                  </a:cubicBezTo>
                  <a:cubicBezTo>
                    <a:pt x="90488" y="23452"/>
                    <a:pt x="90488" y="29402"/>
                    <a:pt x="87514" y="32377"/>
                  </a:cubicBezTo>
                  <a:cubicBezTo>
                    <a:pt x="84538" y="32377"/>
                    <a:pt x="84538" y="32377"/>
                    <a:pt x="81563" y="32377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0" name="任意多边形: 形状 359">
              <a:extLst>
                <a:ext uri="{FF2B5EF4-FFF2-40B4-BE49-F238E27FC236}">
                  <a16:creationId xmlns:a16="http://schemas.microsoft.com/office/drawing/2014/main" id="{8EE37956-3DA1-419B-90E1-E0EAD5B4A13A}"/>
                </a:ext>
              </a:extLst>
            </p:cNvPr>
            <p:cNvSpPr/>
            <p:nvPr/>
          </p:nvSpPr>
          <p:spPr>
            <a:xfrm>
              <a:off x="7761089" y="2328148"/>
              <a:ext cx="88512" cy="32558"/>
            </a:xfrm>
            <a:custGeom>
              <a:avLst/>
              <a:gdLst>
                <a:gd name="connsiteX0" fmla="*/ 8182 w 88512"/>
                <a:gd name="connsiteY0" fmla="*/ 32559 h 32558"/>
                <a:gd name="connsiteX1" fmla="*/ 2232 w 88512"/>
                <a:gd name="connsiteY1" fmla="*/ 29583 h 32558"/>
                <a:gd name="connsiteX2" fmla="*/ 2232 w 88512"/>
                <a:gd name="connsiteY2" fmla="*/ 17683 h 32558"/>
                <a:gd name="connsiteX3" fmla="*/ 85537 w 88512"/>
                <a:gd name="connsiteY3" fmla="*/ 11732 h 32558"/>
                <a:gd name="connsiteX4" fmla="*/ 88512 w 88512"/>
                <a:gd name="connsiteY4" fmla="*/ 23633 h 32558"/>
                <a:gd name="connsiteX5" fmla="*/ 76612 w 88512"/>
                <a:gd name="connsiteY5" fmla="*/ 26608 h 32558"/>
                <a:gd name="connsiteX6" fmla="*/ 11157 w 88512"/>
                <a:gd name="connsiteY6" fmla="*/ 29583 h 32558"/>
                <a:gd name="connsiteX7" fmla="*/ 8182 w 88512"/>
                <a:gd name="connsiteY7" fmla="*/ 32559 h 32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12" h="32558">
                  <a:moveTo>
                    <a:pt x="8182" y="32559"/>
                  </a:moveTo>
                  <a:cubicBezTo>
                    <a:pt x="5207" y="32559"/>
                    <a:pt x="5207" y="32559"/>
                    <a:pt x="2232" y="29583"/>
                  </a:cubicBezTo>
                  <a:cubicBezTo>
                    <a:pt x="-744" y="26608"/>
                    <a:pt x="-744" y="20658"/>
                    <a:pt x="2232" y="17683"/>
                  </a:cubicBezTo>
                  <a:cubicBezTo>
                    <a:pt x="17108" y="5782"/>
                    <a:pt x="49835" y="-12070"/>
                    <a:pt x="85537" y="11732"/>
                  </a:cubicBezTo>
                  <a:cubicBezTo>
                    <a:pt x="88512" y="14707"/>
                    <a:pt x="88512" y="17683"/>
                    <a:pt x="88512" y="23633"/>
                  </a:cubicBezTo>
                  <a:cubicBezTo>
                    <a:pt x="85537" y="26608"/>
                    <a:pt x="82562" y="26608"/>
                    <a:pt x="76612" y="26608"/>
                  </a:cubicBezTo>
                  <a:cubicBezTo>
                    <a:pt x="40909" y="2807"/>
                    <a:pt x="14132" y="29583"/>
                    <a:pt x="11157" y="29583"/>
                  </a:cubicBezTo>
                  <a:cubicBezTo>
                    <a:pt x="11157" y="32559"/>
                    <a:pt x="8182" y="32559"/>
                    <a:pt x="8182" y="32559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1" name="任意多边形: 形状 360">
              <a:extLst>
                <a:ext uri="{FF2B5EF4-FFF2-40B4-BE49-F238E27FC236}">
                  <a16:creationId xmlns:a16="http://schemas.microsoft.com/office/drawing/2014/main" id="{2E76FC94-3962-4DAC-90DF-A2C8E032A49D}"/>
                </a:ext>
              </a:extLst>
            </p:cNvPr>
            <p:cNvSpPr/>
            <p:nvPr/>
          </p:nvSpPr>
          <p:spPr>
            <a:xfrm>
              <a:off x="7745469" y="2634425"/>
              <a:ext cx="221487" cy="68429"/>
            </a:xfrm>
            <a:custGeom>
              <a:avLst/>
              <a:gdLst>
                <a:gd name="connsiteX0" fmla="*/ 145785 w 221487"/>
                <a:gd name="connsiteY0" fmla="*/ 68430 h 68429"/>
                <a:gd name="connsiteX1" fmla="*/ 142810 w 221487"/>
                <a:gd name="connsiteY1" fmla="*/ 68430 h 68429"/>
                <a:gd name="connsiteX2" fmla="*/ 2975 w 221487"/>
                <a:gd name="connsiteY2" fmla="*/ 11901 h 68429"/>
                <a:gd name="connsiteX3" fmla="*/ 0 w 221487"/>
                <a:gd name="connsiteY3" fmla="*/ 2975 h 68429"/>
                <a:gd name="connsiteX4" fmla="*/ 8926 w 221487"/>
                <a:gd name="connsiteY4" fmla="*/ 0 h 68429"/>
                <a:gd name="connsiteX5" fmla="*/ 142810 w 221487"/>
                <a:gd name="connsiteY5" fmla="*/ 53554 h 68429"/>
                <a:gd name="connsiteX6" fmla="*/ 211240 w 221487"/>
                <a:gd name="connsiteY6" fmla="*/ 32727 h 68429"/>
                <a:gd name="connsiteX7" fmla="*/ 220166 w 221487"/>
                <a:gd name="connsiteY7" fmla="*/ 32727 h 68429"/>
                <a:gd name="connsiteX8" fmla="*/ 220166 w 221487"/>
                <a:gd name="connsiteY8" fmla="*/ 41653 h 68429"/>
                <a:gd name="connsiteX9" fmla="*/ 145785 w 221487"/>
                <a:gd name="connsiteY9" fmla="*/ 68430 h 6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1487" h="68429">
                  <a:moveTo>
                    <a:pt x="145785" y="68430"/>
                  </a:moveTo>
                  <a:cubicBezTo>
                    <a:pt x="145785" y="68430"/>
                    <a:pt x="142810" y="68430"/>
                    <a:pt x="142810" y="68430"/>
                  </a:cubicBezTo>
                  <a:cubicBezTo>
                    <a:pt x="92232" y="65455"/>
                    <a:pt x="5951" y="14876"/>
                    <a:pt x="2975" y="11901"/>
                  </a:cubicBezTo>
                  <a:cubicBezTo>
                    <a:pt x="0" y="8926"/>
                    <a:pt x="0" y="5950"/>
                    <a:pt x="0" y="2975"/>
                  </a:cubicBezTo>
                  <a:cubicBezTo>
                    <a:pt x="2975" y="0"/>
                    <a:pt x="5951" y="0"/>
                    <a:pt x="8926" y="0"/>
                  </a:cubicBezTo>
                  <a:cubicBezTo>
                    <a:pt x="8926" y="0"/>
                    <a:pt x="95207" y="53554"/>
                    <a:pt x="142810" y="53554"/>
                  </a:cubicBezTo>
                  <a:cubicBezTo>
                    <a:pt x="181488" y="53554"/>
                    <a:pt x="211240" y="32727"/>
                    <a:pt x="211240" y="32727"/>
                  </a:cubicBezTo>
                  <a:cubicBezTo>
                    <a:pt x="214215" y="29752"/>
                    <a:pt x="217190" y="32727"/>
                    <a:pt x="220166" y="32727"/>
                  </a:cubicBezTo>
                  <a:cubicBezTo>
                    <a:pt x="223141" y="35702"/>
                    <a:pt x="220166" y="38678"/>
                    <a:pt x="220166" y="41653"/>
                  </a:cubicBezTo>
                  <a:cubicBezTo>
                    <a:pt x="217190" y="44628"/>
                    <a:pt x="184463" y="68430"/>
                    <a:pt x="145785" y="68430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2" name="任意多边形: 形状 361">
              <a:extLst>
                <a:ext uri="{FF2B5EF4-FFF2-40B4-BE49-F238E27FC236}">
                  <a16:creationId xmlns:a16="http://schemas.microsoft.com/office/drawing/2014/main" id="{BCFE4E25-3745-410F-A8F7-472C99479006}"/>
                </a:ext>
              </a:extLst>
            </p:cNvPr>
            <p:cNvSpPr/>
            <p:nvPr/>
          </p:nvSpPr>
          <p:spPr>
            <a:xfrm>
              <a:off x="7620588" y="2366903"/>
              <a:ext cx="76443" cy="110294"/>
            </a:xfrm>
            <a:custGeom>
              <a:avLst/>
              <a:gdLst>
                <a:gd name="connsiteX0" fmla="*/ 65377 w 76443"/>
                <a:gd name="connsiteY0" fmla="*/ 17605 h 110294"/>
                <a:gd name="connsiteX1" fmla="*/ 8849 w 76443"/>
                <a:gd name="connsiteY1" fmla="*/ 5704 h 110294"/>
                <a:gd name="connsiteX2" fmla="*/ 62402 w 76443"/>
                <a:gd name="connsiteY2" fmla="*/ 106861 h 110294"/>
                <a:gd name="connsiteX3" fmla="*/ 65377 w 76443"/>
                <a:gd name="connsiteY3" fmla="*/ 17605 h 110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443" h="110294">
                  <a:moveTo>
                    <a:pt x="65377" y="17605"/>
                  </a:moveTo>
                  <a:cubicBezTo>
                    <a:pt x="65377" y="17605"/>
                    <a:pt x="32650" y="-12147"/>
                    <a:pt x="8849" y="5704"/>
                  </a:cubicBezTo>
                  <a:cubicBezTo>
                    <a:pt x="-17928" y="23555"/>
                    <a:pt x="20749" y="130663"/>
                    <a:pt x="62402" y="106861"/>
                  </a:cubicBezTo>
                  <a:cubicBezTo>
                    <a:pt x="92154" y="91985"/>
                    <a:pt x="65377" y="17605"/>
                    <a:pt x="65377" y="17605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3" name="任意多边形: 形状 362">
              <a:extLst>
                <a:ext uri="{FF2B5EF4-FFF2-40B4-BE49-F238E27FC236}">
                  <a16:creationId xmlns:a16="http://schemas.microsoft.com/office/drawing/2014/main" id="{AE87F2AA-8A07-485A-91E5-C055216BF977}"/>
                </a:ext>
              </a:extLst>
            </p:cNvPr>
            <p:cNvSpPr/>
            <p:nvPr/>
          </p:nvSpPr>
          <p:spPr>
            <a:xfrm>
              <a:off x="7628265" y="2080116"/>
              <a:ext cx="485813" cy="322242"/>
            </a:xfrm>
            <a:custGeom>
              <a:avLst/>
              <a:gdLst>
                <a:gd name="connsiteX0" fmla="*/ 4147 w 485813"/>
                <a:gd name="connsiteY0" fmla="*/ 238937 h 322242"/>
                <a:gd name="connsiteX1" fmla="*/ 57701 w 485813"/>
                <a:gd name="connsiteY1" fmla="*/ 322243 h 322242"/>
                <a:gd name="connsiteX2" fmla="*/ 108279 w 485813"/>
                <a:gd name="connsiteY2" fmla="*/ 203235 h 322242"/>
                <a:gd name="connsiteX3" fmla="*/ 117205 w 485813"/>
                <a:gd name="connsiteY3" fmla="*/ 200259 h 322242"/>
                <a:gd name="connsiteX4" fmla="*/ 194560 w 485813"/>
                <a:gd name="connsiteY4" fmla="*/ 176458 h 322242"/>
                <a:gd name="connsiteX5" fmla="*/ 206461 w 485813"/>
                <a:gd name="connsiteY5" fmla="*/ 173482 h 322242"/>
                <a:gd name="connsiteX6" fmla="*/ 242164 w 485813"/>
                <a:gd name="connsiteY6" fmla="*/ 194309 h 322242"/>
                <a:gd name="connsiteX7" fmla="*/ 260015 w 485813"/>
                <a:gd name="connsiteY7" fmla="*/ 185383 h 322242"/>
                <a:gd name="connsiteX8" fmla="*/ 310593 w 485813"/>
                <a:gd name="connsiteY8" fmla="*/ 203235 h 322242"/>
                <a:gd name="connsiteX9" fmla="*/ 346296 w 485813"/>
                <a:gd name="connsiteY9" fmla="*/ 212160 h 322242"/>
                <a:gd name="connsiteX10" fmla="*/ 358197 w 485813"/>
                <a:gd name="connsiteY10" fmla="*/ 212160 h 322242"/>
                <a:gd name="connsiteX11" fmla="*/ 370097 w 485813"/>
                <a:gd name="connsiteY11" fmla="*/ 209185 h 322242"/>
                <a:gd name="connsiteX12" fmla="*/ 379023 w 485813"/>
                <a:gd name="connsiteY12" fmla="*/ 215135 h 322242"/>
                <a:gd name="connsiteX13" fmla="*/ 384973 w 485813"/>
                <a:gd name="connsiteY13" fmla="*/ 221086 h 322242"/>
                <a:gd name="connsiteX14" fmla="*/ 390924 w 485813"/>
                <a:gd name="connsiteY14" fmla="*/ 224061 h 322242"/>
                <a:gd name="connsiteX15" fmla="*/ 396874 w 485813"/>
                <a:gd name="connsiteY15" fmla="*/ 227036 h 322242"/>
                <a:gd name="connsiteX16" fmla="*/ 402825 w 485813"/>
                <a:gd name="connsiteY16" fmla="*/ 235962 h 322242"/>
                <a:gd name="connsiteX17" fmla="*/ 420676 w 485813"/>
                <a:gd name="connsiteY17" fmla="*/ 256788 h 322242"/>
                <a:gd name="connsiteX18" fmla="*/ 447453 w 485813"/>
                <a:gd name="connsiteY18" fmla="*/ 268689 h 322242"/>
                <a:gd name="connsiteX19" fmla="*/ 462329 w 485813"/>
                <a:gd name="connsiteY19" fmla="*/ 322243 h 322242"/>
                <a:gd name="connsiteX20" fmla="*/ 471255 w 485813"/>
                <a:gd name="connsiteY20" fmla="*/ 292491 h 322242"/>
                <a:gd name="connsiteX21" fmla="*/ 480180 w 485813"/>
                <a:gd name="connsiteY21" fmla="*/ 289516 h 322242"/>
                <a:gd name="connsiteX22" fmla="*/ 462329 w 485813"/>
                <a:gd name="connsiteY22" fmla="*/ 200259 h 322242"/>
                <a:gd name="connsiteX23" fmla="*/ 462329 w 485813"/>
                <a:gd name="connsiteY23" fmla="*/ 113978 h 322242"/>
                <a:gd name="connsiteX24" fmla="*/ 138031 w 485813"/>
                <a:gd name="connsiteY24" fmla="*/ 920 h 322242"/>
                <a:gd name="connsiteX25" fmla="*/ 123155 w 485813"/>
                <a:gd name="connsiteY25" fmla="*/ 18772 h 322242"/>
                <a:gd name="connsiteX26" fmla="*/ 93403 w 485813"/>
                <a:gd name="connsiteY26" fmla="*/ 39598 h 322242"/>
                <a:gd name="connsiteX27" fmla="*/ 81502 w 485813"/>
                <a:gd name="connsiteY27" fmla="*/ 36623 h 322242"/>
                <a:gd name="connsiteX28" fmla="*/ 63651 w 485813"/>
                <a:gd name="connsiteY28" fmla="*/ 75301 h 322242"/>
                <a:gd name="connsiteX29" fmla="*/ 4147 w 485813"/>
                <a:gd name="connsiteY29" fmla="*/ 238937 h 32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85813" h="322242">
                  <a:moveTo>
                    <a:pt x="4147" y="238937"/>
                  </a:moveTo>
                  <a:cubicBezTo>
                    <a:pt x="16048" y="292491"/>
                    <a:pt x="57701" y="322243"/>
                    <a:pt x="57701" y="322243"/>
                  </a:cubicBezTo>
                  <a:cubicBezTo>
                    <a:pt x="51750" y="292491"/>
                    <a:pt x="108279" y="203235"/>
                    <a:pt x="108279" y="203235"/>
                  </a:cubicBezTo>
                  <a:cubicBezTo>
                    <a:pt x="108279" y="203235"/>
                    <a:pt x="111254" y="203235"/>
                    <a:pt x="117205" y="200259"/>
                  </a:cubicBezTo>
                  <a:cubicBezTo>
                    <a:pt x="143982" y="200259"/>
                    <a:pt x="170758" y="191334"/>
                    <a:pt x="194560" y="176458"/>
                  </a:cubicBezTo>
                  <a:cubicBezTo>
                    <a:pt x="197536" y="176458"/>
                    <a:pt x="203486" y="173482"/>
                    <a:pt x="206461" y="173482"/>
                  </a:cubicBezTo>
                  <a:cubicBezTo>
                    <a:pt x="212412" y="185383"/>
                    <a:pt x="224312" y="197284"/>
                    <a:pt x="242164" y="194309"/>
                  </a:cubicBezTo>
                  <a:cubicBezTo>
                    <a:pt x="251089" y="194309"/>
                    <a:pt x="254064" y="185383"/>
                    <a:pt x="260015" y="185383"/>
                  </a:cubicBezTo>
                  <a:cubicBezTo>
                    <a:pt x="280841" y="179433"/>
                    <a:pt x="292742" y="194309"/>
                    <a:pt x="310593" y="203235"/>
                  </a:cubicBezTo>
                  <a:cubicBezTo>
                    <a:pt x="319519" y="209185"/>
                    <a:pt x="334395" y="212160"/>
                    <a:pt x="346296" y="212160"/>
                  </a:cubicBezTo>
                  <a:cubicBezTo>
                    <a:pt x="349271" y="212160"/>
                    <a:pt x="355221" y="209185"/>
                    <a:pt x="358197" y="212160"/>
                  </a:cubicBezTo>
                  <a:cubicBezTo>
                    <a:pt x="364147" y="209185"/>
                    <a:pt x="367122" y="209185"/>
                    <a:pt x="370097" y="209185"/>
                  </a:cubicBezTo>
                  <a:cubicBezTo>
                    <a:pt x="373073" y="212160"/>
                    <a:pt x="376048" y="212160"/>
                    <a:pt x="379023" y="215135"/>
                  </a:cubicBezTo>
                  <a:cubicBezTo>
                    <a:pt x="381998" y="215135"/>
                    <a:pt x="381998" y="218111"/>
                    <a:pt x="384973" y="221086"/>
                  </a:cubicBezTo>
                  <a:cubicBezTo>
                    <a:pt x="387949" y="221086"/>
                    <a:pt x="387949" y="221086"/>
                    <a:pt x="390924" y="224061"/>
                  </a:cubicBezTo>
                  <a:cubicBezTo>
                    <a:pt x="393899" y="224061"/>
                    <a:pt x="396874" y="227036"/>
                    <a:pt x="396874" y="227036"/>
                  </a:cubicBezTo>
                  <a:cubicBezTo>
                    <a:pt x="399849" y="230011"/>
                    <a:pt x="399849" y="232987"/>
                    <a:pt x="402825" y="235962"/>
                  </a:cubicBezTo>
                  <a:cubicBezTo>
                    <a:pt x="408775" y="244887"/>
                    <a:pt x="411750" y="250838"/>
                    <a:pt x="420676" y="256788"/>
                  </a:cubicBezTo>
                  <a:cubicBezTo>
                    <a:pt x="426626" y="262739"/>
                    <a:pt x="438527" y="265714"/>
                    <a:pt x="447453" y="268689"/>
                  </a:cubicBezTo>
                  <a:cubicBezTo>
                    <a:pt x="462329" y="286540"/>
                    <a:pt x="468279" y="304392"/>
                    <a:pt x="462329" y="322243"/>
                  </a:cubicBezTo>
                  <a:cubicBezTo>
                    <a:pt x="462329" y="322243"/>
                    <a:pt x="465304" y="310342"/>
                    <a:pt x="471255" y="292491"/>
                  </a:cubicBezTo>
                  <a:cubicBezTo>
                    <a:pt x="474229" y="295466"/>
                    <a:pt x="477205" y="295466"/>
                    <a:pt x="480180" y="289516"/>
                  </a:cubicBezTo>
                  <a:cubicBezTo>
                    <a:pt x="498031" y="262739"/>
                    <a:pt x="468279" y="232987"/>
                    <a:pt x="462329" y="200259"/>
                  </a:cubicBezTo>
                  <a:cubicBezTo>
                    <a:pt x="459353" y="185383"/>
                    <a:pt x="468279" y="128854"/>
                    <a:pt x="462329" y="113978"/>
                  </a:cubicBezTo>
                  <a:cubicBezTo>
                    <a:pt x="456379" y="96127"/>
                    <a:pt x="146957" y="-10980"/>
                    <a:pt x="138031" y="920"/>
                  </a:cubicBezTo>
                  <a:cubicBezTo>
                    <a:pt x="135056" y="6871"/>
                    <a:pt x="129106" y="12821"/>
                    <a:pt x="123155" y="18772"/>
                  </a:cubicBezTo>
                  <a:cubicBezTo>
                    <a:pt x="111254" y="24722"/>
                    <a:pt x="102329" y="30673"/>
                    <a:pt x="93403" y="39598"/>
                  </a:cubicBezTo>
                  <a:cubicBezTo>
                    <a:pt x="93403" y="36623"/>
                    <a:pt x="99354" y="24722"/>
                    <a:pt x="81502" y="36623"/>
                  </a:cubicBezTo>
                  <a:cubicBezTo>
                    <a:pt x="66626" y="45549"/>
                    <a:pt x="60676" y="60425"/>
                    <a:pt x="63651" y="75301"/>
                  </a:cubicBezTo>
                  <a:cubicBezTo>
                    <a:pt x="4147" y="99102"/>
                    <a:pt x="-7754" y="182408"/>
                    <a:pt x="4147" y="238937"/>
                  </a:cubicBezTo>
                  <a:close/>
                </a:path>
              </a:pathLst>
            </a:custGeom>
            <a:solidFill>
              <a:srgbClr val="664241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4" name="任意多边形: 形状 363">
              <a:extLst>
                <a:ext uri="{FF2B5EF4-FFF2-40B4-BE49-F238E27FC236}">
                  <a16:creationId xmlns:a16="http://schemas.microsoft.com/office/drawing/2014/main" id="{795BBA28-9506-4137-A7C5-F6B32EA0C8C9}"/>
                </a:ext>
              </a:extLst>
            </p:cNvPr>
            <p:cNvSpPr/>
            <p:nvPr/>
          </p:nvSpPr>
          <p:spPr>
            <a:xfrm>
              <a:off x="7826544" y="2584591"/>
              <a:ext cx="112313" cy="37933"/>
            </a:xfrm>
            <a:custGeom>
              <a:avLst/>
              <a:gdLst>
                <a:gd name="connsiteX0" fmla="*/ 79587 w 112313"/>
                <a:gd name="connsiteY0" fmla="*/ 37934 h 37933"/>
                <a:gd name="connsiteX1" fmla="*/ 2231 w 112313"/>
                <a:gd name="connsiteY1" fmla="*/ 11157 h 37933"/>
                <a:gd name="connsiteX2" fmla="*/ 2231 w 112313"/>
                <a:gd name="connsiteY2" fmla="*/ 2231 h 37933"/>
                <a:gd name="connsiteX3" fmla="*/ 11157 w 112313"/>
                <a:gd name="connsiteY3" fmla="*/ 2231 h 37933"/>
                <a:gd name="connsiteX4" fmla="*/ 106363 w 112313"/>
                <a:gd name="connsiteY4" fmla="*/ 23058 h 37933"/>
                <a:gd name="connsiteX5" fmla="*/ 112314 w 112313"/>
                <a:gd name="connsiteY5" fmla="*/ 29008 h 37933"/>
                <a:gd name="connsiteX6" fmla="*/ 106363 w 112313"/>
                <a:gd name="connsiteY6" fmla="*/ 34959 h 37933"/>
                <a:gd name="connsiteX7" fmla="*/ 79587 w 112313"/>
                <a:gd name="connsiteY7" fmla="*/ 37934 h 37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313" h="37933">
                  <a:moveTo>
                    <a:pt x="79587" y="37934"/>
                  </a:moveTo>
                  <a:cubicBezTo>
                    <a:pt x="55785" y="37934"/>
                    <a:pt x="23058" y="31983"/>
                    <a:pt x="2231" y="11157"/>
                  </a:cubicBezTo>
                  <a:cubicBezTo>
                    <a:pt x="-744" y="8182"/>
                    <a:pt x="-744" y="5207"/>
                    <a:pt x="2231" y="2231"/>
                  </a:cubicBezTo>
                  <a:cubicBezTo>
                    <a:pt x="5207" y="-744"/>
                    <a:pt x="8182" y="-744"/>
                    <a:pt x="11157" y="2231"/>
                  </a:cubicBezTo>
                  <a:cubicBezTo>
                    <a:pt x="43884" y="34959"/>
                    <a:pt x="106363" y="23058"/>
                    <a:pt x="106363" y="23058"/>
                  </a:cubicBezTo>
                  <a:cubicBezTo>
                    <a:pt x="109339" y="23058"/>
                    <a:pt x="112314" y="23058"/>
                    <a:pt x="112314" y="29008"/>
                  </a:cubicBezTo>
                  <a:cubicBezTo>
                    <a:pt x="112314" y="31983"/>
                    <a:pt x="112314" y="34959"/>
                    <a:pt x="106363" y="34959"/>
                  </a:cubicBezTo>
                  <a:cubicBezTo>
                    <a:pt x="106363" y="37934"/>
                    <a:pt x="94463" y="37934"/>
                    <a:pt x="79587" y="37934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5" name="任意多边形: 形状 364">
              <a:extLst>
                <a:ext uri="{FF2B5EF4-FFF2-40B4-BE49-F238E27FC236}">
                  <a16:creationId xmlns:a16="http://schemas.microsoft.com/office/drawing/2014/main" id="{BAEC8464-E788-4D30-A74C-5A545BE0BCF8}"/>
                </a:ext>
              </a:extLst>
            </p:cNvPr>
            <p:cNvSpPr/>
            <p:nvPr/>
          </p:nvSpPr>
          <p:spPr>
            <a:xfrm>
              <a:off x="7680015" y="2747483"/>
              <a:ext cx="303470" cy="80792"/>
            </a:xfrm>
            <a:custGeom>
              <a:avLst/>
              <a:gdLst>
                <a:gd name="connsiteX0" fmla="*/ 32727 w 303470"/>
                <a:gd name="connsiteY0" fmla="*/ 0 h 80792"/>
                <a:gd name="connsiteX1" fmla="*/ 154711 w 303470"/>
                <a:gd name="connsiteY1" fmla="*/ 50579 h 80792"/>
                <a:gd name="connsiteX2" fmla="*/ 267769 w 303470"/>
                <a:gd name="connsiteY2" fmla="*/ 20826 h 80792"/>
                <a:gd name="connsiteX3" fmla="*/ 303471 w 303470"/>
                <a:gd name="connsiteY3" fmla="*/ 32727 h 80792"/>
                <a:gd name="connsiteX4" fmla="*/ 154711 w 303470"/>
                <a:gd name="connsiteY4" fmla="*/ 80331 h 80792"/>
                <a:gd name="connsiteX5" fmla="*/ 0 w 303470"/>
                <a:gd name="connsiteY5" fmla="*/ 8926 h 80792"/>
                <a:gd name="connsiteX6" fmla="*/ 32727 w 303470"/>
                <a:gd name="connsiteY6" fmla="*/ 0 h 8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3470" h="80792">
                  <a:moveTo>
                    <a:pt x="32727" y="0"/>
                  </a:moveTo>
                  <a:cubicBezTo>
                    <a:pt x="32727" y="0"/>
                    <a:pt x="101157" y="47603"/>
                    <a:pt x="154711" y="50579"/>
                  </a:cubicBezTo>
                  <a:cubicBezTo>
                    <a:pt x="211240" y="56529"/>
                    <a:pt x="267769" y="20826"/>
                    <a:pt x="267769" y="20826"/>
                  </a:cubicBezTo>
                  <a:lnTo>
                    <a:pt x="303471" y="32727"/>
                  </a:lnTo>
                  <a:cubicBezTo>
                    <a:pt x="303471" y="32727"/>
                    <a:pt x="220166" y="86281"/>
                    <a:pt x="154711" y="80331"/>
                  </a:cubicBezTo>
                  <a:cubicBezTo>
                    <a:pt x="89256" y="74380"/>
                    <a:pt x="0" y="8926"/>
                    <a:pt x="0" y="8926"/>
                  </a:cubicBezTo>
                  <a:lnTo>
                    <a:pt x="32727" y="0"/>
                  </a:ln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6" name="任意多边形: 形状 365">
              <a:extLst>
                <a:ext uri="{FF2B5EF4-FFF2-40B4-BE49-F238E27FC236}">
                  <a16:creationId xmlns:a16="http://schemas.microsoft.com/office/drawing/2014/main" id="{BF1CF2CC-2865-40C7-97C6-EDD8F741FF8D}"/>
                </a:ext>
              </a:extLst>
            </p:cNvPr>
            <p:cNvSpPr/>
            <p:nvPr/>
          </p:nvSpPr>
          <p:spPr>
            <a:xfrm>
              <a:off x="8115139" y="4378640"/>
              <a:ext cx="341425" cy="731156"/>
            </a:xfrm>
            <a:custGeom>
              <a:avLst/>
              <a:gdLst>
                <a:gd name="connsiteX0" fmla="*/ 252149 w 341425"/>
                <a:gd name="connsiteY0" fmla="*/ 731157 h 731156"/>
                <a:gd name="connsiteX1" fmla="*/ 252149 w 341425"/>
                <a:gd name="connsiteY1" fmla="*/ 731157 h 731156"/>
                <a:gd name="connsiteX2" fmla="*/ 246199 w 341425"/>
                <a:gd name="connsiteY2" fmla="*/ 725207 h 731156"/>
                <a:gd name="connsiteX3" fmla="*/ 329504 w 341425"/>
                <a:gd name="connsiteY3" fmla="*/ 383058 h 731156"/>
                <a:gd name="connsiteX4" fmla="*/ 2231 w 341425"/>
                <a:gd name="connsiteY4" fmla="*/ 11157 h 731156"/>
                <a:gd name="connsiteX5" fmla="*/ 2231 w 341425"/>
                <a:gd name="connsiteY5" fmla="*/ 2231 h 731156"/>
                <a:gd name="connsiteX6" fmla="*/ 11157 w 341425"/>
                <a:gd name="connsiteY6" fmla="*/ 2231 h 731156"/>
                <a:gd name="connsiteX7" fmla="*/ 341405 w 341425"/>
                <a:gd name="connsiteY7" fmla="*/ 383058 h 731156"/>
                <a:gd name="connsiteX8" fmla="*/ 255124 w 341425"/>
                <a:gd name="connsiteY8" fmla="*/ 728182 h 731156"/>
                <a:gd name="connsiteX9" fmla="*/ 252149 w 341425"/>
                <a:gd name="connsiteY9" fmla="*/ 731157 h 731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1425" h="731156">
                  <a:moveTo>
                    <a:pt x="252149" y="731157"/>
                  </a:moveTo>
                  <a:cubicBezTo>
                    <a:pt x="252149" y="731157"/>
                    <a:pt x="249173" y="731157"/>
                    <a:pt x="252149" y="731157"/>
                  </a:cubicBezTo>
                  <a:cubicBezTo>
                    <a:pt x="249173" y="731157"/>
                    <a:pt x="246199" y="728182"/>
                    <a:pt x="246199" y="725207"/>
                  </a:cubicBezTo>
                  <a:cubicBezTo>
                    <a:pt x="246199" y="722232"/>
                    <a:pt x="326529" y="457438"/>
                    <a:pt x="329504" y="383058"/>
                  </a:cubicBezTo>
                  <a:cubicBezTo>
                    <a:pt x="332479" y="323554"/>
                    <a:pt x="94463" y="94463"/>
                    <a:pt x="2231" y="11157"/>
                  </a:cubicBezTo>
                  <a:cubicBezTo>
                    <a:pt x="-744" y="8182"/>
                    <a:pt x="-744" y="5207"/>
                    <a:pt x="2231" y="2231"/>
                  </a:cubicBezTo>
                  <a:cubicBezTo>
                    <a:pt x="5207" y="-744"/>
                    <a:pt x="8182" y="-744"/>
                    <a:pt x="11157" y="2231"/>
                  </a:cubicBezTo>
                  <a:cubicBezTo>
                    <a:pt x="26033" y="14132"/>
                    <a:pt x="344380" y="305703"/>
                    <a:pt x="341405" y="383058"/>
                  </a:cubicBezTo>
                  <a:cubicBezTo>
                    <a:pt x="338430" y="460413"/>
                    <a:pt x="261075" y="716281"/>
                    <a:pt x="255124" y="728182"/>
                  </a:cubicBezTo>
                  <a:cubicBezTo>
                    <a:pt x="255124" y="728182"/>
                    <a:pt x="255124" y="731157"/>
                    <a:pt x="252149" y="731157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7" name="任意多边形: 形状 366">
              <a:extLst>
                <a:ext uri="{FF2B5EF4-FFF2-40B4-BE49-F238E27FC236}">
                  <a16:creationId xmlns:a16="http://schemas.microsoft.com/office/drawing/2014/main" id="{C1CFF6D3-1F04-45E3-A0D9-7507F31B191D}"/>
                </a:ext>
              </a:extLst>
            </p:cNvPr>
            <p:cNvSpPr/>
            <p:nvPr/>
          </p:nvSpPr>
          <p:spPr>
            <a:xfrm>
              <a:off x="7421172" y="3196739"/>
              <a:ext cx="991112" cy="833057"/>
            </a:xfrm>
            <a:custGeom>
              <a:avLst/>
              <a:gdLst>
                <a:gd name="connsiteX0" fmla="*/ 303471 w 991112"/>
                <a:gd name="connsiteY0" fmla="*/ 0 h 833057"/>
                <a:gd name="connsiteX1" fmla="*/ 502810 w 991112"/>
                <a:gd name="connsiteY1" fmla="*/ 526612 h 833057"/>
                <a:gd name="connsiteX2" fmla="*/ 987769 w 991112"/>
                <a:gd name="connsiteY2" fmla="*/ 758678 h 833057"/>
                <a:gd name="connsiteX3" fmla="*/ 871736 w 991112"/>
                <a:gd name="connsiteY3" fmla="*/ 833058 h 833057"/>
                <a:gd name="connsiteX4" fmla="*/ 258843 w 991112"/>
                <a:gd name="connsiteY4" fmla="*/ 696198 h 833057"/>
                <a:gd name="connsiteX5" fmla="*/ 0 w 991112"/>
                <a:gd name="connsiteY5" fmla="*/ 121984 h 833057"/>
                <a:gd name="connsiteX6" fmla="*/ 303471 w 991112"/>
                <a:gd name="connsiteY6" fmla="*/ 0 h 833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1112" h="833057">
                  <a:moveTo>
                    <a:pt x="303471" y="0"/>
                  </a:moveTo>
                  <a:lnTo>
                    <a:pt x="502810" y="526612"/>
                  </a:lnTo>
                  <a:cubicBezTo>
                    <a:pt x="502810" y="526612"/>
                    <a:pt x="865785" y="651570"/>
                    <a:pt x="987769" y="758678"/>
                  </a:cubicBezTo>
                  <a:cubicBezTo>
                    <a:pt x="1014546" y="782479"/>
                    <a:pt x="871736" y="833058"/>
                    <a:pt x="871736" y="833058"/>
                  </a:cubicBezTo>
                  <a:cubicBezTo>
                    <a:pt x="871736" y="833058"/>
                    <a:pt x="333223" y="794380"/>
                    <a:pt x="258843" y="696198"/>
                  </a:cubicBezTo>
                  <a:cubicBezTo>
                    <a:pt x="184463" y="595041"/>
                    <a:pt x="0" y="121984"/>
                    <a:pt x="0" y="121984"/>
                  </a:cubicBezTo>
                  <a:lnTo>
                    <a:pt x="303471" y="0"/>
                  </a:ln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8" name="任意多边形: 形状 367">
              <a:extLst>
                <a:ext uri="{FF2B5EF4-FFF2-40B4-BE49-F238E27FC236}">
                  <a16:creationId xmlns:a16="http://schemas.microsoft.com/office/drawing/2014/main" id="{C15900FB-4A4F-420E-A7AE-5D5CE6A207FE}"/>
                </a:ext>
              </a:extLst>
            </p:cNvPr>
            <p:cNvSpPr/>
            <p:nvPr/>
          </p:nvSpPr>
          <p:spPr>
            <a:xfrm>
              <a:off x="7357272" y="2821715"/>
              <a:ext cx="432825" cy="595190"/>
            </a:xfrm>
            <a:custGeom>
              <a:avLst/>
              <a:gdLst>
                <a:gd name="connsiteX0" fmla="*/ 49024 w 432825"/>
                <a:gd name="connsiteY0" fmla="*/ 595190 h 595190"/>
                <a:gd name="connsiteX1" fmla="*/ 57950 w 432825"/>
                <a:gd name="connsiteY1" fmla="*/ 9074 h 595190"/>
                <a:gd name="connsiteX2" fmla="*/ 432825 w 432825"/>
                <a:gd name="connsiteY2" fmla="*/ 443455 h 595190"/>
                <a:gd name="connsiteX3" fmla="*/ 49024 w 432825"/>
                <a:gd name="connsiteY3" fmla="*/ 595190 h 59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825" h="595190">
                  <a:moveTo>
                    <a:pt x="49024" y="595190"/>
                  </a:moveTo>
                  <a:cubicBezTo>
                    <a:pt x="49024" y="595190"/>
                    <a:pt x="-67009" y="83455"/>
                    <a:pt x="57950" y="9074"/>
                  </a:cubicBezTo>
                  <a:cubicBezTo>
                    <a:pt x="200760" y="-74231"/>
                    <a:pt x="432825" y="443455"/>
                    <a:pt x="432825" y="443455"/>
                  </a:cubicBezTo>
                  <a:cubicBezTo>
                    <a:pt x="432825" y="443455"/>
                    <a:pt x="275140" y="595190"/>
                    <a:pt x="49024" y="595190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9" name="任意多边形: 形状 368">
              <a:extLst>
                <a:ext uri="{FF2B5EF4-FFF2-40B4-BE49-F238E27FC236}">
                  <a16:creationId xmlns:a16="http://schemas.microsoft.com/office/drawing/2014/main" id="{A98EC28A-9787-4A6A-A15A-D032BBE2B6A1}"/>
                </a:ext>
              </a:extLst>
            </p:cNvPr>
            <p:cNvSpPr/>
            <p:nvPr/>
          </p:nvSpPr>
          <p:spPr>
            <a:xfrm>
              <a:off x="7367618" y="2826496"/>
              <a:ext cx="440330" cy="596359"/>
            </a:xfrm>
            <a:custGeom>
              <a:avLst/>
              <a:gdLst>
                <a:gd name="connsiteX0" fmla="*/ 53554 w 440330"/>
                <a:gd name="connsiteY0" fmla="*/ 596359 h 596359"/>
                <a:gd name="connsiteX1" fmla="*/ 41653 w 440330"/>
                <a:gd name="connsiteY1" fmla="*/ 596359 h 596359"/>
                <a:gd name="connsiteX2" fmla="*/ 38678 w 440330"/>
                <a:gd name="connsiteY2" fmla="*/ 596359 h 596359"/>
                <a:gd name="connsiteX3" fmla="*/ 38678 w 440330"/>
                <a:gd name="connsiteY3" fmla="*/ 593384 h 596359"/>
                <a:gd name="connsiteX4" fmla="*/ 0 w 440330"/>
                <a:gd name="connsiteY4" fmla="*/ 358343 h 596359"/>
                <a:gd name="connsiteX5" fmla="*/ 5950 w 440330"/>
                <a:gd name="connsiteY5" fmla="*/ 352392 h 596359"/>
                <a:gd name="connsiteX6" fmla="*/ 11901 w 440330"/>
                <a:gd name="connsiteY6" fmla="*/ 358343 h 596359"/>
                <a:gd name="connsiteX7" fmla="*/ 50578 w 440330"/>
                <a:gd name="connsiteY7" fmla="*/ 587433 h 596359"/>
                <a:gd name="connsiteX8" fmla="*/ 59504 w 440330"/>
                <a:gd name="connsiteY8" fmla="*/ 587433 h 596359"/>
                <a:gd name="connsiteX9" fmla="*/ 425455 w 440330"/>
                <a:gd name="connsiteY9" fmla="*/ 441648 h 596359"/>
                <a:gd name="connsiteX10" fmla="*/ 255868 w 440330"/>
                <a:gd name="connsiteY10" fmla="*/ 138177 h 596359"/>
                <a:gd name="connsiteX11" fmla="*/ 59504 w 440330"/>
                <a:gd name="connsiteY11" fmla="*/ 10243 h 596359"/>
                <a:gd name="connsiteX12" fmla="*/ 53554 w 440330"/>
                <a:gd name="connsiteY12" fmla="*/ 7268 h 596359"/>
                <a:gd name="connsiteX13" fmla="*/ 56529 w 440330"/>
                <a:gd name="connsiteY13" fmla="*/ 1318 h 596359"/>
                <a:gd name="connsiteX14" fmla="*/ 264794 w 440330"/>
                <a:gd name="connsiteY14" fmla="*/ 132227 h 596359"/>
                <a:gd name="connsiteX15" fmla="*/ 437355 w 440330"/>
                <a:gd name="connsiteY15" fmla="*/ 438673 h 596359"/>
                <a:gd name="connsiteX16" fmla="*/ 440331 w 440330"/>
                <a:gd name="connsiteY16" fmla="*/ 441648 h 596359"/>
                <a:gd name="connsiteX17" fmla="*/ 437355 w 440330"/>
                <a:gd name="connsiteY17" fmla="*/ 444623 h 596359"/>
                <a:gd name="connsiteX18" fmla="*/ 53554 w 440330"/>
                <a:gd name="connsiteY18" fmla="*/ 596359 h 596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40330" h="596359">
                  <a:moveTo>
                    <a:pt x="53554" y="596359"/>
                  </a:moveTo>
                  <a:cubicBezTo>
                    <a:pt x="50578" y="596359"/>
                    <a:pt x="44628" y="596359"/>
                    <a:pt x="41653" y="596359"/>
                  </a:cubicBezTo>
                  <a:lnTo>
                    <a:pt x="38678" y="596359"/>
                  </a:lnTo>
                  <a:lnTo>
                    <a:pt x="38678" y="593384"/>
                  </a:lnTo>
                  <a:cubicBezTo>
                    <a:pt x="38678" y="590409"/>
                    <a:pt x="5950" y="411896"/>
                    <a:pt x="0" y="358343"/>
                  </a:cubicBezTo>
                  <a:cubicBezTo>
                    <a:pt x="0" y="355367"/>
                    <a:pt x="2975" y="352392"/>
                    <a:pt x="5950" y="352392"/>
                  </a:cubicBezTo>
                  <a:cubicBezTo>
                    <a:pt x="8926" y="352392"/>
                    <a:pt x="11901" y="355367"/>
                    <a:pt x="11901" y="358343"/>
                  </a:cubicBezTo>
                  <a:cubicBezTo>
                    <a:pt x="17851" y="408921"/>
                    <a:pt x="44628" y="560657"/>
                    <a:pt x="50578" y="587433"/>
                  </a:cubicBezTo>
                  <a:cubicBezTo>
                    <a:pt x="53554" y="587433"/>
                    <a:pt x="56529" y="587433"/>
                    <a:pt x="59504" y="587433"/>
                  </a:cubicBezTo>
                  <a:cubicBezTo>
                    <a:pt x="249918" y="587433"/>
                    <a:pt x="401653" y="462475"/>
                    <a:pt x="425455" y="441648"/>
                  </a:cubicBezTo>
                  <a:cubicBezTo>
                    <a:pt x="413554" y="417847"/>
                    <a:pt x="342149" y="278012"/>
                    <a:pt x="255868" y="138177"/>
                  </a:cubicBezTo>
                  <a:cubicBezTo>
                    <a:pt x="163636" y="-10583"/>
                    <a:pt x="59504" y="10243"/>
                    <a:pt x="59504" y="10243"/>
                  </a:cubicBezTo>
                  <a:cubicBezTo>
                    <a:pt x="56529" y="10243"/>
                    <a:pt x="53554" y="10243"/>
                    <a:pt x="53554" y="7268"/>
                  </a:cubicBezTo>
                  <a:cubicBezTo>
                    <a:pt x="53554" y="4293"/>
                    <a:pt x="53554" y="1318"/>
                    <a:pt x="56529" y="1318"/>
                  </a:cubicBezTo>
                  <a:cubicBezTo>
                    <a:pt x="62480" y="1318"/>
                    <a:pt x="169587" y="-22484"/>
                    <a:pt x="264794" y="132227"/>
                  </a:cubicBezTo>
                  <a:cubicBezTo>
                    <a:pt x="360000" y="283962"/>
                    <a:pt x="437355" y="438673"/>
                    <a:pt x="437355" y="438673"/>
                  </a:cubicBezTo>
                  <a:lnTo>
                    <a:pt x="440331" y="441648"/>
                  </a:lnTo>
                  <a:lnTo>
                    <a:pt x="437355" y="444623"/>
                  </a:lnTo>
                  <a:cubicBezTo>
                    <a:pt x="425455" y="447599"/>
                    <a:pt x="261818" y="596359"/>
                    <a:pt x="53554" y="596359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0" name="任意多边形: 形状 369">
              <a:extLst>
                <a:ext uri="{FF2B5EF4-FFF2-40B4-BE49-F238E27FC236}">
                  <a16:creationId xmlns:a16="http://schemas.microsoft.com/office/drawing/2014/main" id="{AD45C751-01AB-4B9F-A5DE-239314D86BCA}"/>
                </a:ext>
              </a:extLst>
            </p:cNvPr>
            <p:cNvSpPr/>
            <p:nvPr/>
          </p:nvSpPr>
          <p:spPr>
            <a:xfrm>
              <a:off x="8623155" y="3744177"/>
              <a:ext cx="110083" cy="104132"/>
            </a:xfrm>
            <a:custGeom>
              <a:avLst/>
              <a:gdLst>
                <a:gd name="connsiteX0" fmla="*/ 74380 w 110083"/>
                <a:gd name="connsiteY0" fmla="*/ 86281 h 104132"/>
                <a:gd name="connsiteX1" fmla="*/ 0 w 110083"/>
                <a:gd name="connsiteY1" fmla="*/ 104132 h 104132"/>
                <a:gd name="connsiteX2" fmla="*/ 14876 w 110083"/>
                <a:gd name="connsiteY2" fmla="*/ 8926 h 104132"/>
                <a:gd name="connsiteX3" fmla="*/ 74380 w 110083"/>
                <a:gd name="connsiteY3" fmla="*/ 0 h 104132"/>
                <a:gd name="connsiteX4" fmla="*/ 110083 w 110083"/>
                <a:gd name="connsiteY4" fmla="*/ 20827 h 10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083" h="104132">
                  <a:moveTo>
                    <a:pt x="74380" y="86281"/>
                  </a:moveTo>
                  <a:lnTo>
                    <a:pt x="0" y="104132"/>
                  </a:lnTo>
                  <a:lnTo>
                    <a:pt x="14876" y="8926"/>
                  </a:lnTo>
                  <a:lnTo>
                    <a:pt x="74380" y="0"/>
                  </a:lnTo>
                  <a:lnTo>
                    <a:pt x="110083" y="20827"/>
                  </a:ln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1" name="任意多边形: 形状 370">
              <a:extLst>
                <a:ext uri="{FF2B5EF4-FFF2-40B4-BE49-F238E27FC236}">
                  <a16:creationId xmlns:a16="http://schemas.microsoft.com/office/drawing/2014/main" id="{473C30A0-C818-4BFB-A688-E0193EA545A1}"/>
                </a:ext>
              </a:extLst>
            </p:cNvPr>
            <p:cNvSpPr/>
            <p:nvPr/>
          </p:nvSpPr>
          <p:spPr>
            <a:xfrm>
              <a:off x="8527949" y="3979219"/>
              <a:ext cx="523636" cy="125337"/>
            </a:xfrm>
            <a:custGeom>
              <a:avLst/>
              <a:gdLst>
                <a:gd name="connsiteX0" fmla="*/ 35702 w 523636"/>
                <a:gd name="connsiteY0" fmla="*/ 124959 h 125337"/>
                <a:gd name="connsiteX1" fmla="*/ 38678 w 523636"/>
                <a:gd name="connsiteY1" fmla="*/ 124959 h 125337"/>
                <a:gd name="connsiteX2" fmla="*/ 490909 w 523636"/>
                <a:gd name="connsiteY2" fmla="*/ 71405 h 125337"/>
                <a:gd name="connsiteX3" fmla="*/ 523637 w 523636"/>
                <a:gd name="connsiteY3" fmla="*/ 32727 h 125337"/>
                <a:gd name="connsiteX4" fmla="*/ 484959 w 523636"/>
                <a:gd name="connsiteY4" fmla="*/ 0 h 125337"/>
                <a:gd name="connsiteX5" fmla="*/ 32727 w 523636"/>
                <a:gd name="connsiteY5" fmla="*/ 53554 h 125337"/>
                <a:gd name="connsiteX6" fmla="*/ 0 w 523636"/>
                <a:gd name="connsiteY6" fmla="*/ 92231 h 125337"/>
                <a:gd name="connsiteX7" fmla="*/ 35702 w 523636"/>
                <a:gd name="connsiteY7" fmla="*/ 124959 h 125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3636" h="125337">
                  <a:moveTo>
                    <a:pt x="35702" y="124959"/>
                  </a:moveTo>
                  <a:cubicBezTo>
                    <a:pt x="35702" y="124959"/>
                    <a:pt x="38678" y="124959"/>
                    <a:pt x="38678" y="124959"/>
                  </a:cubicBezTo>
                  <a:lnTo>
                    <a:pt x="490909" y="71405"/>
                  </a:lnTo>
                  <a:cubicBezTo>
                    <a:pt x="511735" y="68430"/>
                    <a:pt x="523637" y="50579"/>
                    <a:pt x="523637" y="32727"/>
                  </a:cubicBezTo>
                  <a:cubicBezTo>
                    <a:pt x="520661" y="11901"/>
                    <a:pt x="502810" y="0"/>
                    <a:pt x="484959" y="0"/>
                  </a:cubicBezTo>
                  <a:lnTo>
                    <a:pt x="32727" y="53554"/>
                  </a:lnTo>
                  <a:cubicBezTo>
                    <a:pt x="11901" y="56529"/>
                    <a:pt x="0" y="74380"/>
                    <a:pt x="0" y="92231"/>
                  </a:cubicBezTo>
                  <a:cubicBezTo>
                    <a:pt x="2975" y="113058"/>
                    <a:pt x="17851" y="127934"/>
                    <a:pt x="35702" y="124959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2" name="任意多边形: 形状 371">
              <a:extLst>
                <a:ext uri="{FF2B5EF4-FFF2-40B4-BE49-F238E27FC236}">
                  <a16:creationId xmlns:a16="http://schemas.microsoft.com/office/drawing/2014/main" id="{C7317AAD-7C90-4941-81A5-C09AE378E13B}"/>
                </a:ext>
              </a:extLst>
            </p:cNvPr>
            <p:cNvSpPr/>
            <p:nvPr/>
          </p:nvSpPr>
          <p:spPr>
            <a:xfrm>
              <a:off x="8238901" y="3996618"/>
              <a:ext cx="433189" cy="182392"/>
            </a:xfrm>
            <a:custGeom>
              <a:avLst/>
              <a:gdLst>
                <a:gd name="connsiteX0" fmla="*/ 405081 w 433189"/>
                <a:gd name="connsiteY0" fmla="*/ 122436 h 182392"/>
                <a:gd name="connsiteX1" fmla="*/ 51031 w 433189"/>
                <a:gd name="connsiteY1" fmla="*/ 181940 h 182392"/>
                <a:gd name="connsiteX2" fmla="*/ 9378 w 433189"/>
                <a:gd name="connsiteY2" fmla="*/ 152188 h 182392"/>
                <a:gd name="connsiteX3" fmla="*/ 452 w 433189"/>
                <a:gd name="connsiteY3" fmla="*/ 101609 h 182392"/>
                <a:gd name="connsiteX4" fmla="*/ 30205 w 433189"/>
                <a:gd name="connsiteY4" fmla="*/ 59957 h 182392"/>
                <a:gd name="connsiteX5" fmla="*/ 384254 w 433189"/>
                <a:gd name="connsiteY5" fmla="*/ 452 h 182392"/>
                <a:gd name="connsiteX6" fmla="*/ 425907 w 433189"/>
                <a:gd name="connsiteY6" fmla="*/ 30204 h 182392"/>
                <a:gd name="connsiteX7" fmla="*/ 431857 w 433189"/>
                <a:gd name="connsiteY7" fmla="*/ 83758 h 182392"/>
                <a:gd name="connsiteX8" fmla="*/ 405081 w 433189"/>
                <a:gd name="connsiteY8" fmla="*/ 122436 h 182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189" h="182392">
                  <a:moveTo>
                    <a:pt x="405081" y="122436"/>
                  </a:moveTo>
                  <a:lnTo>
                    <a:pt x="51031" y="181940"/>
                  </a:lnTo>
                  <a:cubicBezTo>
                    <a:pt x="33180" y="184915"/>
                    <a:pt x="12353" y="173014"/>
                    <a:pt x="9378" y="152188"/>
                  </a:cubicBezTo>
                  <a:lnTo>
                    <a:pt x="452" y="101609"/>
                  </a:lnTo>
                  <a:cubicBezTo>
                    <a:pt x="-2523" y="83758"/>
                    <a:pt x="9378" y="62932"/>
                    <a:pt x="30205" y="59957"/>
                  </a:cubicBezTo>
                  <a:lnTo>
                    <a:pt x="384254" y="452"/>
                  </a:lnTo>
                  <a:cubicBezTo>
                    <a:pt x="402105" y="-2523"/>
                    <a:pt x="422932" y="9378"/>
                    <a:pt x="425907" y="30204"/>
                  </a:cubicBezTo>
                  <a:lnTo>
                    <a:pt x="431857" y="83758"/>
                  </a:lnTo>
                  <a:cubicBezTo>
                    <a:pt x="437808" y="101609"/>
                    <a:pt x="422932" y="119461"/>
                    <a:pt x="405081" y="122436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73" name="图形 1">
              <a:extLst>
                <a:ext uri="{FF2B5EF4-FFF2-40B4-BE49-F238E27FC236}">
                  <a16:creationId xmlns:a16="http://schemas.microsoft.com/office/drawing/2014/main" id="{C4220F68-B32F-423B-8B09-E3E75FE87C34}"/>
                </a:ext>
              </a:extLst>
            </p:cNvPr>
            <p:cNvGrpSpPr/>
            <p:nvPr/>
          </p:nvGrpSpPr>
          <p:grpSpPr>
            <a:xfrm>
              <a:off x="8255579" y="3919465"/>
              <a:ext cx="318164" cy="294748"/>
              <a:chOff x="8255579" y="3919465"/>
              <a:chExt cx="318164" cy="294748"/>
            </a:xfrm>
          </p:grpSpPr>
          <p:sp>
            <p:nvSpPr>
              <p:cNvPr id="374" name="任意多边形: 形状 373">
                <a:extLst>
                  <a:ext uri="{FF2B5EF4-FFF2-40B4-BE49-F238E27FC236}">
                    <a16:creationId xmlns:a16="http://schemas.microsoft.com/office/drawing/2014/main" id="{B252F3D6-A1D1-4BA8-B455-F1B7B7EFB60D}"/>
                  </a:ext>
                </a:extLst>
              </p:cNvPr>
              <p:cNvSpPr/>
              <p:nvPr/>
            </p:nvSpPr>
            <p:spPr>
              <a:xfrm>
                <a:off x="8255579" y="3919465"/>
                <a:ext cx="304736" cy="294748"/>
              </a:xfrm>
              <a:custGeom>
                <a:avLst/>
                <a:gdLst>
                  <a:gd name="connsiteX0" fmla="*/ 10551 w 304736"/>
                  <a:gd name="connsiteY0" fmla="*/ 113308 h 294748"/>
                  <a:gd name="connsiteX1" fmla="*/ 64105 w 304736"/>
                  <a:gd name="connsiteY1" fmla="*/ 202564 h 294748"/>
                  <a:gd name="connsiteX2" fmla="*/ 96832 w 304736"/>
                  <a:gd name="connsiteY2" fmla="*/ 282895 h 294748"/>
                  <a:gd name="connsiteX3" fmla="*/ 150386 w 304736"/>
                  <a:gd name="connsiteY3" fmla="*/ 273969 h 294748"/>
                  <a:gd name="connsiteX4" fmla="*/ 189064 w 304736"/>
                  <a:gd name="connsiteY4" fmla="*/ 288845 h 294748"/>
                  <a:gd name="connsiteX5" fmla="*/ 212865 w 304736"/>
                  <a:gd name="connsiteY5" fmla="*/ 265043 h 294748"/>
                  <a:gd name="connsiteX6" fmla="*/ 260469 w 304736"/>
                  <a:gd name="connsiteY6" fmla="*/ 235291 h 294748"/>
                  <a:gd name="connsiteX7" fmla="*/ 296171 w 304736"/>
                  <a:gd name="connsiteY7" fmla="*/ 223391 h 294748"/>
                  <a:gd name="connsiteX8" fmla="*/ 281295 w 304736"/>
                  <a:gd name="connsiteY8" fmla="*/ 160911 h 294748"/>
                  <a:gd name="connsiteX9" fmla="*/ 105758 w 304736"/>
                  <a:gd name="connsiteY9" fmla="*/ 250 h 294748"/>
                  <a:gd name="connsiteX10" fmla="*/ 7576 w 304736"/>
                  <a:gd name="connsiteY10" fmla="*/ 59754 h 294748"/>
                  <a:gd name="connsiteX11" fmla="*/ 10551 w 304736"/>
                  <a:gd name="connsiteY11" fmla="*/ 113308 h 294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4736" h="294748">
                    <a:moveTo>
                      <a:pt x="10551" y="113308"/>
                    </a:moveTo>
                    <a:cubicBezTo>
                      <a:pt x="28403" y="143060"/>
                      <a:pt x="49229" y="172812"/>
                      <a:pt x="64105" y="202564"/>
                    </a:cubicBezTo>
                    <a:cubicBezTo>
                      <a:pt x="81956" y="235291"/>
                      <a:pt x="73031" y="253143"/>
                      <a:pt x="96832" y="282895"/>
                    </a:cubicBezTo>
                    <a:cubicBezTo>
                      <a:pt x="114683" y="303721"/>
                      <a:pt x="138485" y="294796"/>
                      <a:pt x="150386" y="273969"/>
                    </a:cubicBezTo>
                    <a:cubicBezTo>
                      <a:pt x="162287" y="291820"/>
                      <a:pt x="171213" y="294796"/>
                      <a:pt x="189064" y="288845"/>
                    </a:cubicBezTo>
                    <a:cubicBezTo>
                      <a:pt x="197989" y="285870"/>
                      <a:pt x="212865" y="270994"/>
                      <a:pt x="212865" y="265043"/>
                    </a:cubicBezTo>
                    <a:cubicBezTo>
                      <a:pt x="224766" y="279919"/>
                      <a:pt x="263444" y="259093"/>
                      <a:pt x="260469" y="235291"/>
                    </a:cubicBezTo>
                    <a:cubicBezTo>
                      <a:pt x="275345" y="244217"/>
                      <a:pt x="290221" y="229341"/>
                      <a:pt x="296171" y="223391"/>
                    </a:cubicBezTo>
                    <a:cubicBezTo>
                      <a:pt x="319973" y="196614"/>
                      <a:pt x="287245" y="175787"/>
                      <a:pt x="281295" y="160911"/>
                    </a:cubicBezTo>
                    <a:cubicBezTo>
                      <a:pt x="230717" y="80581"/>
                      <a:pt x="168237" y="44878"/>
                      <a:pt x="105758" y="250"/>
                    </a:cubicBezTo>
                    <a:cubicBezTo>
                      <a:pt x="108733" y="-2725"/>
                      <a:pt x="31378" y="21077"/>
                      <a:pt x="7576" y="59754"/>
                    </a:cubicBezTo>
                    <a:cubicBezTo>
                      <a:pt x="-4325" y="83556"/>
                      <a:pt x="-1349" y="89506"/>
                      <a:pt x="10551" y="113308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5" name="任意多边形: 形状 374">
                <a:extLst>
                  <a:ext uri="{FF2B5EF4-FFF2-40B4-BE49-F238E27FC236}">
                    <a16:creationId xmlns:a16="http://schemas.microsoft.com/office/drawing/2014/main" id="{E9131ABE-06C4-4FF9-BEA5-E735EB03B09B}"/>
                  </a:ext>
                </a:extLst>
              </p:cNvPr>
              <p:cNvSpPr/>
              <p:nvPr/>
            </p:nvSpPr>
            <p:spPr>
              <a:xfrm>
                <a:off x="8475139" y="4006739"/>
                <a:ext cx="98605" cy="153966"/>
              </a:xfrm>
              <a:custGeom>
                <a:avLst/>
                <a:gdLst>
                  <a:gd name="connsiteX0" fmla="*/ 43884 w 98605"/>
                  <a:gd name="connsiteY0" fmla="*/ 153967 h 153966"/>
                  <a:gd name="connsiteX1" fmla="*/ 43884 w 98605"/>
                  <a:gd name="connsiteY1" fmla="*/ 153967 h 153966"/>
                  <a:gd name="connsiteX2" fmla="*/ 37934 w 98605"/>
                  <a:gd name="connsiteY2" fmla="*/ 148017 h 153966"/>
                  <a:gd name="connsiteX3" fmla="*/ 43884 w 98605"/>
                  <a:gd name="connsiteY3" fmla="*/ 142066 h 153966"/>
                  <a:gd name="connsiteX4" fmla="*/ 46860 w 98605"/>
                  <a:gd name="connsiteY4" fmla="*/ 142066 h 153966"/>
                  <a:gd name="connsiteX5" fmla="*/ 82562 w 98605"/>
                  <a:gd name="connsiteY5" fmla="*/ 130165 h 153966"/>
                  <a:gd name="connsiteX6" fmla="*/ 85537 w 98605"/>
                  <a:gd name="connsiteY6" fmla="*/ 112314 h 153966"/>
                  <a:gd name="connsiteX7" fmla="*/ 2232 w 98605"/>
                  <a:gd name="connsiteY7" fmla="*/ 11157 h 153966"/>
                  <a:gd name="connsiteX8" fmla="*/ 2232 w 98605"/>
                  <a:gd name="connsiteY8" fmla="*/ 2231 h 153966"/>
                  <a:gd name="connsiteX9" fmla="*/ 11157 w 98605"/>
                  <a:gd name="connsiteY9" fmla="*/ 2231 h 153966"/>
                  <a:gd name="connsiteX10" fmla="*/ 97438 w 98605"/>
                  <a:gd name="connsiteY10" fmla="*/ 109339 h 153966"/>
                  <a:gd name="connsiteX11" fmla="*/ 91488 w 98605"/>
                  <a:gd name="connsiteY11" fmla="*/ 136116 h 153966"/>
                  <a:gd name="connsiteX12" fmla="*/ 43884 w 98605"/>
                  <a:gd name="connsiteY12" fmla="*/ 153967 h 153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8605" h="153966">
                    <a:moveTo>
                      <a:pt x="43884" y="153967"/>
                    </a:moveTo>
                    <a:cubicBezTo>
                      <a:pt x="43884" y="153967"/>
                      <a:pt x="43884" y="153967"/>
                      <a:pt x="43884" y="153967"/>
                    </a:cubicBezTo>
                    <a:cubicBezTo>
                      <a:pt x="37934" y="153967"/>
                      <a:pt x="37934" y="150992"/>
                      <a:pt x="37934" y="148017"/>
                    </a:cubicBezTo>
                    <a:cubicBezTo>
                      <a:pt x="37934" y="145041"/>
                      <a:pt x="40909" y="142066"/>
                      <a:pt x="43884" y="142066"/>
                    </a:cubicBezTo>
                    <a:cubicBezTo>
                      <a:pt x="43884" y="142066"/>
                      <a:pt x="43884" y="142066"/>
                      <a:pt x="46860" y="142066"/>
                    </a:cubicBezTo>
                    <a:cubicBezTo>
                      <a:pt x="55785" y="142066"/>
                      <a:pt x="73636" y="139091"/>
                      <a:pt x="82562" y="130165"/>
                    </a:cubicBezTo>
                    <a:cubicBezTo>
                      <a:pt x="85537" y="124215"/>
                      <a:pt x="88512" y="121240"/>
                      <a:pt x="85537" y="112314"/>
                    </a:cubicBezTo>
                    <a:cubicBezTo>
                      <a:pt x="76612" y="70661"/>
                      <a:pt x="5207" y="11157"/>
                      <a:pt x="2232" y="11157"/>
                    </a:cubicBezTo>
                    <a:cubicBezTo>
                      <a:pt x="-744" y="8182"/>
                      <a:pt x="-744" y="5207"/>
                      <a:pt x="2232" y="2231"/>
                    </a:cubicBezTo>
                    <a:cubicBezTo>
                      <a:pt x="5207" y="-744"/>
                      <a:pt x="8182" y="-744"/>
                      <a:pt x="11157" y="2231"/>
                    </a:cubicBezTo>
                    <a:cubicBezTo>
                      <a:pt x="14132" y="5207"/>
                      <a:pt x="88512" y="64711"/>
                      <a:pt x="97438" y="109339"/>
                    </a:cubicBezTo>
                    <a:cubicBezTo>
                      <a:pt x="100413" y="121240"/>
                      <a:pt x="97438" y="130165"/>
                      <a:pt x="91488" y="136116"/>
                    </a:cubicBezTo>
                    <a:cubicBezTo>
                      <a:pt x="76612" y="153967"/>
                      <a:pt x="52810" y="153967"/>
                      <a:pt x="43884" y="153967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6" name="任意多边形: 形状 375">
                <a:extLst>
                  <a:ext uri="{FF2B5EF4-FFF2-40B4-BE49-F238E27FC236}">
                    <a16:creationId xmlns:a16="http://schemas.microsoft.com/office/drawing/2014/main" id="{56C3E2ED-9B50-4BFA-8216-C4E245046D6E}"/>
                  </a:ext>
                </a:extLst>
              </p:cNvPr>
              <p:cNvSpPr/>
              <p:nvPr/>
            </p:nvSpPr>
            <p:spPr>
              <a:xfrm>
                <a:off x="8394065" y="4126747"/>
                <a:ext cx="96438" cy="36934"/>
              </a:xfrm>
              <a:custGeom>
                <a:avLst/>
                <a:gdLst>
                  <a:gd name="connsiteX0" fmla="*/ 5950 w 96438"/>
                  <a:gd name="connsiteY0" fmla="*/ 36935 h 36934"/>
                  <a:gd name="connsiteX1" fmla="*/ 0 w 96438"/>
                  <a:gd name="connsiteY1" fmla="*/ 30984 h 36934"/>
                  <a:gd name="connsiteX2" fmla="*/ 5950 w 96438"/>
                  <a:gd name="connsiteY2" fmla="*/ 25034 h 36934"/>
                  <a:gd name="connsiteX3" fmla="*/ 86281 w 96438"/>
                  <a:gd name="connsiteY3" fmla="*/ 1232 h 36934"/>
                  <a:gd name="connsiteX4" fmla="*/ 95207 w 96438"/>
                  <a:gd name="connsiteY4" fmla="*/ 4208 h 36934"/>
                  <a:gd name="connsiteX5" fmla="*/ 92232 w 96438"/>
                  <a:gd name="connsiteY5" fmla="*/ 13133 h 36934"/>
                  <a:gd name="connsiteX6" fmla="*/ 5950 w 96438"/>
                  <a:gd name="connsiteY6" fmla="*/ 36935 h 36934"/>
                  <a:gd name="connsiteX7" fmla="*/ 5950 w 96438"/>
                  <a:gd name="connsiteY7" fmla="*/ 36935 h 36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6438" h="36934">
                    <a:moveTo>
                      <a:pt x="5950" y="36935"/>
                    </a:moveTo>
                    <a:cubicBezTo>
                      <a:pt x="2975" y="36935"/>
                      <a:pt x="0" y="33960"/>
                      <a:pt x="0" y="30984"/>
                    </a:cubicBezTo>
                    <a:cubicBezTo>
                      <a:pt x="0" y="28009"/>
                      <a:pt x="0" y="25034"/>
                      <a:pt x="5950" y="25034"/>
                    </a:cubicBezTo>
                    <a:cubicBezTo>
                      <a:pt x="23802" y="22059"/>
                      <a:pt x="74380" y="10158"/>
                      <a:pt x="86281" y="1232"/>
                    </a:cubicBezTo>
                    <a:cubicBezTo>
                      <a:pt x="89256" y="-1743"/>
                      <a:pt x="92232" y="1232"/>
                      <a:pt x="95207" y="4208"/>
                    </a:cubicBezTo>
                    <a:cubicBezTo>
                      <a:pt x="98182" y="7183"/>
                      <a:pt x="95207" y="10158"/>
                      <a:pt x="92232" y="13133"/>
                    </a:cubicBezTo>
                    <a:cubicBezTo>
                      <a:pt x="74380" y="22059"/>
                      <a:pt x="8926" y="36935"/>
                      <a:pt x="5950" y="36935"/>
                    </a:cubicBezTo>
                    <a:cubicBezTo>
                      <a:pt x="5950" y="36935"/>
                      <a:pt x="5950" y="36935"/>
                      <a:pt x="5950" y="36935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77" name="图形 1">
              <a:extLst>
                <a:ext uri="{FF2B5EF4-FFF2-40B4-BE49-F238E27FC236}">
                  <a16:creationId xmlns:a16="http://schemas.microsoft.com/office/drawing/2014/main" id="{C4220F68-B32F-423B-8B09-E3E75FE87C34}"/>
                </a:ext>
              </a:extLst>
            </p:cNvPr>
            <p:cNvGrpSpPr/>
            <p:nvPr/>
          </p:nvGrpSpPr>
          <p:grpSpPr>
            <a:xfrm>
              <a:off x="7578039" y="2048944"/>
              <a:ext cx="537267" cy="633084"/>
              <a:chOff x="7578039" y="2048944"/>
              <a:chExt cx="537267" cy="633084"/>
            </a:xfrm>
          </p:grpSpPr>
          <p:sp>
            <p:nvSpPr>
              <p:cNvPr id="378" name="任意多边形: 形状 377">
                <a:extLst>
                  <a:ext uri="{FF2B5EF4-FFF2-40B4-BE49-F238E27FC236}">
                    <a16:creationId xmlns:a16="http://schemas.microsoft.com/office/drawing/2014/main" id="{9932BDDB-C4BF-4ACE-8A67-DCF7C8F5EFCA}"/>
                  </a:ext>
                </a:extLst>
              </p:cNvPr>
              <p:cNvSpPr/>
              <p:nvPr/>
            </p:nvSpPr>
            <p:spPr>
              <a:xfrm>
                <a:off x="7680015" y="2325885"/>
                <a:ext cx="119338" cy="356143"/>
              </a:xfrm>
              <a:custGeom>
                <a:avLst/>
                <a:gdLst>
                  <a:gd name="connsiteX0" fmla="*/ 56529 w 119338"/>
                  <a:gd name="connsiteY0" fmla="*/ 11019 h 356143"/>
                  <a:gd name="connsiteX1" fmla="*/ 110083 w 119338"/>
                  <a:gd name="connsiteY1" fmla="*/ 332342 h 356143"/>
                  <a:gd name="connsiteX2" fmla="*/ 119008 w 119338"/>
                  <a:gd name="connsiteY2" fmla="*/ 356143 h 356143"/>
                  <a:gd name="connsiteX3" fmla="*/ 0 w 119338"/>
                  <a:gd name="connsiteY3" fmla="*/ 37796 h 356143"/>
                  <a:gd name="connsiteX4" fmla="*/ 56529 w 119338"/>
                  <a:gd name="connsiteY4" fmla="*/ 11019 h 356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9338" h="356143">
                    <a:moveTo>
                      <a:pt x="56529" y="11019"/>
                    </a:moveTo>
                    <a:cubicBezTo>
                      <a:pt x="56529" y="11019"/>
                      <a:pt x="41653" y="231185"/>
                      <a:pt x="110083" y="332342"/>
                    </a:cubicBezTo>
                    <a:cubicBezTo>
                      <a:pt x="121984" y="353168"/>
                      <a:pt x="119008" y="356143"/>
                      <a:pt x="119008" y="356143"/>
                    </a:cubicBezTo>
                    <a:cubicBezTo>
                      <a:pt x="5950" y="287714"/>
                      <a:pt x="0" y="37796"/>
                      <a:pt x="0" y="37796"/>
                    </a:cubicBezTo>
                    <a:cubicBezTo>
                      <a:pt x="0" y="37796"/>
                      <a:pt x="26777" y="-24683"/>
                      <a:pt x="56529" y="11019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9" name="任意多边形: 形状 378">
                <a:extLst>
                  <a:ext uri="{FF2B5EF4-FFF2-40B4-BE49-F238E27FC236}">
                    <a16:creationId xmlns:a16="http://schemas.microsoft.com/office/drawing/2014/main" id="{CFDFD896-6B98-4064-9A22-46D2A77A6D6C}"/>
                  </a:ext>
                </a:extLst>
              </p:cNvPr>
              <p:cNvSpPr/>
              <p:nvPr/>
            </p:nvSpPr>
            <p:spPr>
              <a:xfrm>
                <a:off x="7587784" y="2366657"/>
                <a:ext cx="121983" cy="181487"/>
              </a:xfrm>
              <a:custGeom>
                <a:avLst/>
                <a:gdLst>
                  <a:gd name="connsiteX0" fmla="*/ 121983 w 121983"/>
                  <a:gd name="connsiteY0" fmla="*/ 151736 h 181487"/>
                  <a:gd name="connsiteX1" fmla="*/ 20826 w 121983"/>
                  <a:gd name="connsiteY1" fmla="*/ 0 h 181487"/>
                  <a:gd name="connsiteX2" fmla="*/ 0 w 121983"/>
                  <a:gd name="connsiteY2" fmla="*/ 23802 h 181487"/>
                  <a:gd name="connsiteX3" fmla="*/ 121983 w 121983"/>
                  <a:gd name="connsiteY3" fmla="*/ 181488 h 181487"/>
                  <a:gd name="connsiteX4" fmla="*/ 121983 w 121983"/>
                  <a:gd name="connsiteY4" fmla="*/ 151736 h 181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983" h="181487">
                    <a:moveTo>
                      <a:pt x="121983" y="151736"/>
                    </a:moveTo>
                    <a:cubicBezTo>
                      <a:pt x="121983" y="151736"/>
                      <a:pt x="44628" y="113058"/>
                      <a:pt x="20826" y="0"/>
                    </a:cubicBezTo>
                    <a:lnTo>
                      <a:pt x="0" y="23802"/>
                    </a:lnTo>
                    <a:cubicBezTo>
                      <a:pt x="0" y="23802"/>
                      <a:pt x="32727" y="160661"/>
                      <a:pt x="121983" y="181488"/>
                    </a:cubicBezTo>
                    <a:lnTo>
                      <a:pt x="121983" y="151736"/>
                    </a:lnTo>
                    <a:close/>
                  </a:path>
                </a:pathLst>
              </a:custGeom>
              <a:solidFill>
                <a:srgbClr val="7F95BC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0" name="任意多边形: 形状 379">
                <a:extLst>
                  <a:ext uri="{FF2B5EF4-FFF2-40B4-BE49-F238E27FC236}">
                    <a16:creationId xmlns:a16="http://schemas.microsoft.com/office/drawing/2014/main" id="{A7856481-ED39-4D10-9E92-74172599E687}"/>
                  </a:ext>
                </a:extLst>
              </p:cNvPr>
              <p:cNvSpPr/>
              <p:nvPr/>
            </p:nvSpPr>
            <p:spPr>
              <a:xfrm>
                <a:off x="7578039" y="2048944"/>
                <a:ext cx="537267" cy="374241"/>
              </a:xfrm>
              <a:custGeom>
                <a:avLst/>
                <a:gdLst>
                  <a:gd name="connsiteX0" fmla="*/ 21646 w 537267"/>
                  <a:gd name="connsiteY0" fmla="*/ 374242 h 374241"/>
                  <a:gd name="connsiteX1" fmla="*/ 21646 w 537267"/>
                  <a:gd name="connsiteY1" fmla="*/ 374242 h 374241"/>
                  <a:gd name="connsiteX2" fmla="*/ 21646 w 537267"/>
                  <a:gd name="connsiteY2" fmla="*/ 374242 h 374241"/>
                  <a:gd name="connsiteX3" fmla="*/ 66274 w 537267"/>
                  <a:gd name="connsiteY3" fmla="*/ 311762 h 374241"/>
                  <a:gd name="connsiteX4" fmla="*/ 75199 w 537267"/>
                  <a:gd name="connsiteY4" fmla="*/ 311762 h 374241"/>
                  <a:gd name="connsiteX5" fmla="*/ 158505 w 537267"/>
                  <a:gd name="connsiteY5" fmla="*/ 293911 h 374241"/>
                  <a:gd name="connsiteX6" fmla="*/ 530406 w 537267"/>
                  <a:gd name="connsiteY6" fmla="*/ 279035 h 374241"/>
                  <a:gd name="connsiteX7" fmla="*/ 366770 w 537267"/>
                  <a:gd name="connsiteY7" fmla="*/ 11266 h 374241"/>
                  <a:gd name="connsiteX8" fmla="*/ 182307 w 537267"/>
                  <a:gd name="connsiteY8" fmla="*/ 11266 h 374241"/>
                  <a:gd name="connsiteX9" fmla="*/ 36522 w 537267"/>
                  <a:gd name="connsiteY9" fmla="*/ 127300 h 374241"/>
                  <a:gd name="connsiteX10" fmla="*/ 21646 w 537267"/>
                  <a:gd name="connsiteY10" fmla="*/ 374242 h 374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37267" h="374241">
                    <a:moveTo>
                      <a:pt x="21646" y="374242"/>
                    </a:moveTo>
                    <a:cubicBezTo>
                      <a:pt x="21646" y="374242"/>
                      <a:pt x="21646" y="374242"/>
                      <a:pt x="21646" y="374242"/>
                    </a:cubicBezTo>
                    <a:cubicBezTo>
                      <a:pt x="21646" y="374242"/>
                      <a:pt x="21646" y="374242"/>
                      <a:pt x="21646" y="374242"/>
                    </a:cubicBezTo>
                    <a:cubicBezTo>
                      <a:pt x="24621" y="365316"/>
                      <a:pt x="36522" y="314738"/>
                      <a:pt x="66274" y="311762"/>
                    </a:cubicBezTo>
                    <a:cubicBezTo>
                      <a:pt x="69249" y="311762"/>
                      <a:pt x="72224" y="311762"/>
                      <a:pt x="75199" y="311762"/>
                    </a:cubicBezTo>
                    <a:cubicBezTo>
                      <a:pt x="113877" y="320688"/>
                      <a:pt x="84125" y="359366"/>
                      <a:pt x="158505" y="293911"/>
                    </a:cubicBezTo>
                    <a:cubicBezTo>
                      <a:pt x="268588" y="192754"/>
                      <a:pt x="530406" y="279035"/>
                      <a:pt x="530406" y="279035"/>
                    </a:cubicBezTo>
                    <a:cubicBezTo>
                      <a:pt x="563133" y="127300"/>
                      <a:pt x="473877" y="35068"/>
                      <a:pt x="366770" y="11266"/>
                    </a:cubicBezTo>
                    <a:cubicBezTo>
                      <a:pt x="310241" y="-634"/>
                      <a:pt x="244786" y="-6585"/>
                      <a:pt x="182307" y="11266"/>
                    </a:cubicBezTo>
                    <a:cubicBezTo>
                      <a:pt x="125778" y="26143"/>
                      <a:pt x="72224" y="61845"/>
                      <a:pt x="36522" y="127300"/>
                    </a:cubicBezTo>
                    <a:cubicBezTo>
                      <a:pt x="-31908" y="261184"/>
                      <a:pt x="15695" y="365316"/>
                      <a:pt x="21646" y="374242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1" name="任意多边形: 形状 380">
                <a:extLst>
                  <a:ext uri="{FF2B5EF4-FFF2-40B4-BE49-F238E27FC236}">
                    <a16:creationId xmlns:a16="http://schemas.microsoft.com/office/drawing/2014/main" id="{076E90F9-1C13-4605-AE1A-BF0B6D360AE9}"/>
                  </a:ext>
                </a:extLst>
              </p:cNvPr>
              <p:cNvSpPr/>
              <p:nvPr/>
            </p:nvSpPr>
            <p:spPr>
              <a:xfrm>
                <a:off x="7678848" y="2472953"/>
                <a:ext cx="57696" cy="54364"/>
              </a:xfrm>
              <a:custGeom>
                <a:avLst/>
                <a:gdLst>
                  <a:gd name="connsiteX0" fmla="*/ 51745 w 57696"/>
                  <a:gd name="connsiteY0" fmla="*/ 9736 h 54364"/>
                  <a:gd name="connsiteX1" fmla="*/ 57696 w 57696"/>
                  <a:gd name="connsiteY1" fmla="*/ 27588 h 54364"/>
                  <a:gd name="connsiteX2" fmla="*/ 51745 w 57696"/>
                  <a:gd name="connsiteY2" fmla="*/ 42464 h 54364"/>
                  <a:gd name="connsiteX3" fmla="*/ 21993 w 57696"/>
                  <a:gd name="connsiteY3" fmla="*/ 54365 h 54364"/>
                  <a:gd name="connsiteX4" fmla="*/ 10093 w 57696"/>
                  <a:gd name="connsiteY4" fmla="*/ 45439 h 54364"/>
                  <a:gd name="connsiteX5" fmla="*/ 1167 w 57696"/>
                  <a:gd name="connsiteY5" fmla="*/ 21637 h 54364"/>
                  <a:gd name="connsiteX6" fmla="*/ 7117 w 57696"/>
                  <a:gd name="connsiteY6" fmla="*/ 6761 h 54364"/>
                  <a:gd name="connsiteX7" fmla="*/ 39845 w 57696"/>
                  <a:gd name="connsiteY7" fmla="*/ 811 h 54364"/>
                  <a:gd name="connsiteX8" fmla="*/ 51745 w 57696"/>
                  <a:gd name="connsiteY8" fmla="*/ 9736 h 5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696" h="54364">
                    <a:moveTo>
                      <a:pt x="51745" y="9736"/>
                    </a:moveTo>
                    <a:cubicBezTo>
                      <a:pt x="51745" y="15687"/>
                      <a:pt x="54721" y="21637"/>
                      <a:pt x="57696" y="27588"/>
                    </a:cubicBezTo>
                    <a:cubicBezTo>
                      <a:pt x="57696" y="33538"/>
                      <a:pt x="57696" y="39489"/>
                      <a:pt x="51745" y="42464"/>
                    </a:cubicBezTo>
                    <a:cubicBezTo>
                      <a:pt x="42820" y="48414"/>
                      <a:pt x="30919" y="54365"/>
                      <a:pt x="21993" y="54365"/>
                    </a:cubicBezTo>
                    <a:cubicBezTo>
                      <a:pt x="16043" y="54365"/>
                      <a:pt x="13068" y="51389"/>
                      <a:pt x="10093" y="45439"/>
                    </a:cubicBezTo>
                    <a:cubicBezTo>
                      <a:pt x="7117" y="39489"/>
                      <a:pt x="4142" y="30563"/>
                      <a:pt x="1167" y="21637"/>
                    </a:cubicBezTo>
                    <a:cubicBezTo>
                      <a:pt x="-1808" y="15687"/>
                      <a:pt x="1167" y="9736"/>
                      <a:pt x="7117" y="6761"/>
                    </a:cubicBezTo>
                    <a:cubicBezTo>
                      <a:pt x="16043" y="3786"/>
                      <a:pt x="27944" y="-2164"/>
                      <a:pt x="39845" y="811"/>
                    </a:cubicBezTo>
                    <a:cubicBezTo>
                      <a:pt x="48771" y="3786"/>
                      <a:pt x="51745" y="6761"/>
                      <a:pt x="51745" y="9736"/>
                    </a:cubicBezTo>
                    <a:close/>
                  </a:path>
                </a:pathLst>
              </a:custGeom>
              <a:solidFill>
                <a:srgbClr val="718AAF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2" name="任意多边形: 形状 381">
                <a:extLst>
                  <a:ext uri="{FF2B5EF4-FFF2-40B4-BE49-F238E27FC236}">
                    <a16:creationId xmlns:a16="http://schemas.microsoft.com/office/drawing/2014/main" id="{35320BEE-7570-4508-92B7-9F3E2C7A8A40}"/>
                  </a:ext>
                </a:extLst>
              </p:cNvPr>
              <p:cNvSpPr/>
              <p:nvPr/>
            </p:nvSpPr>
            <p:spPr>
              <a:xfrm>
                <a:off x="7578039" y="2060211"/>
                <a:ext cx="182306" cy="362975"/>
              </a:xfrm>
              <a:custGeom>
                <a:avLst/>
                <a:gdLst>
                  <a:gd name="connsiteX0" fmla="*/ 21646 w 182306"/>
                  <a:gd name="connsiteY0" fmla="*/ 362975 h 362975"/>
                  <a:gd name="connsiteX1" fmla="*/ 21646 w 182306"/>
                  <a:gd name="connsiteY1" fmla="*/ 362975 h 362975"/>
                  <a:gd name="connsiteX2" fmla="*/ 66274 w 182306"/>
                  <a:gd name="connsiteY2" fmla="*/ 300496 h 362975"/>
                  <a:gd name="connsiteX3" fmla="*/ 182307 w 182306"/>
                  <a:gd name="connsiteY3" fmla="*/ 0 h 362975"/>
                  <a:gd name="connsiteX4" fmla="*/ 36522 w 182306"/>
                  <a:gd name="connsiteY4" fmla="*/ 116033 h 362975"/>
                  <a:gd name="connsiteX5" fmla="*/ 21646 w 182306"/>
                  <a:gd name="connsiteY5" fmla="*/ 362975 h 362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306" h="362975">
                    <a:moveTo>
                      <a:pt x="21646" y="362975"/>
                    </a:moveTo>
                    <a:lnTo>
                      <a:pt x="21646" y="362975"/>
                    </a:lnTo>
                    <a:cubicBezTo>
                      <a:pt x="24621" y="354050"/>
                      <a:pt x="36522" y="303471"/>
                      <a:pt x="66274" y="300496"/>
                    </a:cubicBezTo>
                    <a:cubicBezTo>
                      <a:pt x="51398" y="184463"/>
                      <a:pt x="140654" y="56529"/>
                      <a:pt x="182307" y="0"/>
                    </a:cubicBezTo>
                    <a:cubicBezTo>
                      <a:pt x="125778" y="14876"/>
                      <a:pt x="72224" y="50579"/>
                      <a:pt x="36522" y="116033"/>
                    </a:cubicBezTo>
                    <a:cubicBezTo>
                      <a:pt x="-31908" y="249917"/>
                      <a:pt x="15695" y="354050"/>
                      <a:pt x="21646" y="362975"/>
                    </a:cubicBezTo>
                    <a:close/>
                  </a:path>
                </a:pathLst>
              </a:custGeom>
              <a:solidFill>
                <a:srgbClr val="718AAF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3" name="任意多边形: 形状 382">
                <a:extLst>
                  <a:ext uri="{FF2B5EF4-FFF2-40B4-BE49-F238E27FC236}">
                    <a16:creationId xmlns:a16="http://schemas.microsoft.com/office/drawing/2014/main" id="{8659F7E7-C60D-422F-8C28-A754298AFBA6}"/>
                  </a:ext>
                </a:extLst>
              </p:cNvPr>
              <p:cNvSpPr/>
              <p:nvPr/>
            </p:nvSpPr>
            <p:spPr>
              <a:xfrm>
                <a:off x="7700841" y="2208971"/>
                <a:ext cx="41653" cy="65454"/>
              </a:xfrm>
              <a:custGeom>
                <a:avLst/>
                <a:gdLst>
                  <a:gd name="connsiteX0" fmla="*/ 0 w 41653"/>
                  <a:gd name="connsiteY0" fmla="*/ 32727 h 65454"/>
                  <a:gd name="connsiteX1" fmla="*/ 20827 w 41653"/>
                  <a:gd name="connsiteY1" fmla="*/ 65455 h 65454"/>
                  <a:gd name="connsiteX2" fmla="*/ 41653 w 41653"/>
                  <a:gd name="connsiteY2" fmla="*/ 32727 h 65454"/>
                  <a:gd name="connsiteX3" fmla="*/ 20827 w 41653"/>
                  <a:gd name="connsiteY3" fmla="*/ 0 h 65454"/>
                  <a:gd name="connsiteX4" fmla="*/ 0 w 41653"/>
                  <a:gd name="connsiteY4" fmla="*/ 32727 h 65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53" h="65454">
                    <a:moveTo>
                      <a:pt x="0" y="32727"/>
                    </a:moveTo>
                    <a:cubicBezTo>
                      <a:pt x="0" y="50578"/>
                      <a:pt x="8926" y="65455"/>
                      <a:pt x="20827" y="65455"/>
                    </a:cubicBezTo>
                    <a:cubicBezTo>
                      <a:pt x="32727" y="65455"/>
                      <a:pt x="41653" y="50578"/>
                      <a:pt x="41653" y="32727"/>
                    </a:cubicBezTo>
                    <a:cubicBezTo>
                      <a:pt x="41653" y="14876"/>
                      <a:pt x="32727" y="0"/>
                      <a:pt x="20827" y="0"/>
                    </a:cubicBezTo>
                    <a:cubicBezTo>
                      <a:pt x="8926" y="0"/>
                      <a:pt x="0" y="14876"/>
                      <a:pt x="0" y="32727"/>
                    </a:cubicBezTo>
                    <a:close/>
                  </a:path>
                </a:pathLst>
              </a:custGeom>
              <a:solidFill>
                <a:srgbClr val="718AAF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4" name="任意多边形: 形状 383">
                <a:extLst>
                  <a:ext uri="{FF2B5EF4-FFF2-40B4-BE49-F238E27FC236}">
                    <a16:creationId xmlns:a16="http://schemas.microsoft.com/office/drawing/2014/main" id="{DDFBA1EE-A995-469C-B390-E1C9B88F9FB1}"/>
                  </a:ext>
                </a:extLst>
              </p:cNvPr>
              <p:cNvSpPr/>
              <p:nvPr/>
            </p:nvSpPr>
            <p:spPr>
              <a:xfrm>
                <a:off x="8031850" y="2179914"/>
                <a:ext cx="55007" cy="58114"/>
              </a:xfrm>
              <a:custGeom>
                <a:avLst/>
                <a:gdLst>
                  <a:gd name="connsiteX0" fmla="*/ 11140 w 55007"/>
                  <a:gd name="connsiteY0" fmla="*/ 40958 h 58114"/>
                  <a:gd name="connsiteX1" fmla="*/ 49818 w 55007"/>
                  <a:gd name="connsiteY1" fmla="*/ 55834 h 58114"/>
                  <a:gd name="connsiteX2" fmla="*/ 43868 w 55007"/>
                  <a:gd name="connsiteY2" fmla="*/ 17156 h 58114"/>
                  <a:gd name="connsiteX3" fmla="*/ 5190 w 55007"/>
                  <a:gd name="connsiteY3" fmla="*/ 2280 h 58114"/>
                  <a:gd name="connsiteX4" fmla="*/ 11140 w 55007"/>
                  <a:gd name="connsiteY4" fmla="*/ 40958 h 58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007" h="58114">
                    <a:moveTo>
                      <a:pt x="11140" y="40958"/>
                    </a:moveTo>
                    <a:cubicBezTo>
                      <a:pt x="23041" y="55834"/>
                      <a:pt x="40892" y="61784"/>
                      <a:pt x="49818" y="55834"/>
                    </a:cubicBezTo>
                    <a:cubicBezTo>
                      <a:pt x="58744" y="49883"/>
                      <a:pt x="55768" y="32032"/>
                      <a:pt x="43868" y="17156"/>
                    </a:cubicBezTo>
                    <a:cubicBezTo>
                      <a:pt x="31967" y="2280"/>
                      <a:pt x="14115" y="-3670"/>
                      <a:pt x="5190" y="2280"/>
                    </a:cubicBezTo>
                    <a:cubicBezTo>
                      <a:pt x="-3736" y="8231"/>
                      <a:pt x="-761" y="26082"/>
                      <a:pt x="11140" y="40958"/>
                    </a:cubicBezTo>
                    <a:close/>
                  </a:path>
                </a:pathLst>
              </a:custGeom>
              <a:solidFill>
                <a:srgbClr val="718AAF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85" name="任意多边形: 形状 384">
              <a:extLst>
                <a:ext uri="{FF2B5EF4-FFF2-40B4-BE49-F238E27FC236}">
                  <a16:creationId xmlns:a16="http://schemas.microsoft.com/office/drawing/2014/main" id="{F4721155-492C-4120-BF14-57F2FA3EF637}"/>
                </a:ext>
              </a:extLst>
            </p:cNvPr>
            <p:cNvSpPr/>
            <p:nvPr/>
          </p:nvSpPr>
          <p:spPr>
            <a:xfrm>
              <a:off x="8257205" y="4633764"/>
              <a:ext cx="226115" cy="291570"/>
            </a:xfrm>
            <a:custGeom>
              <a:avLst/>
              <a:gdLst>
                <a:gd name="connsiteX0" fmla="*/ 226115 w 226115"/>
                <a:gd name="connsiteY0" fmla="*/ 145785 h 291570"/>
                <a:gd name="connsiteX1" fmla="*/ 113057 w 226115"/>
                <a:gd name="connsiteY1" fmla="*/ 291570 h 291570"/>
                <a:gd name="connsiteX2" fmla="*/ 0 w 226115"/>
                <a:gd name="connsiteY2" fmla="*/ 145785 h 291570"/>
                <a:gd name="connsiteX3" fmla="*/ 113057 w 226115"/>
                <a:gd name="connsiteY3" fmla="*/ 0 h 291570"/>
                <a:gd name="connsiteX4" fmla="*/ 226115 w 226115"/>
                <a:gd name="connsiteY4" fmla="*/ 145785 h 291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6115" h="291570">
                  <a:moveTo>
                    <a:pt x="226115" y="145785"/>
                  </a:moveTo>
                  <a:cubicBezTo>
                    <a:pt x="226115" y="226116"/>
                    <a:pt x="175537" y="291570"/>
                    <a:pt x="113057" y="291570"/>
                  </a:cubicBezTo>
                  <a:cubicBezTo>
                    <a:pt x="50578" y="291570"/>
                    <a:pt x="0" y="226116"/>
                    <a:pt x="0" y="145785"/>
                  </a:cubicBezTo>
                  <a:cubicBezTo>
                    <a:pt x="0" y="65455"/>
                    <a:pt x="50578" y="0"/>
                    <a:pt x="113057" y="0"/>
                  </a:cubicBezTo>
                  <a:cubicBezTo>
                    <a:pt x="175537" y="2975"/>
                    <a:pt x="226115" y="65455"/>
                    <a:pt x="226115" y="145785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6" name="任意多边形: 形状 385">
              <a:extLst>
                <a:ext uri="{FF2B5EF4-FFF2-40B4-BE49-F238E27FC236}">
                  <a16:creationId xmlns:a16="http://schemas.microsoft.com/office/drawing/2014/main" id="{5CA86500-355A-4E24-98FE-4B998C63E2D1}"/>
                </a:ext>
              </a:extLst>
            </p:cNvPr>
            <p:cNvSpPr/>
            <p:nvPr/>
          </p:nvSpPr>
          <p:spPr>
            <a:xfrm>
              <a:off x="7625846" y="3735092"/>
              <a:ext cx="215444" cy="214533"/>
            </a:xfrm>
            <a:custGeom>
              <a:avLst/>
              <a:gdLst>
                <a:gd name="connsiteX0" fmla="*/ 170202 w 215444"/>
                <a:gd name="connsiteY0" fmla="*/ 35862 h 214533"/>
                <a:gd name="connsiteX1" fmla="*/ 196979 w 215444"/>
                <a:gd name="connsiteY1" fmla="*/ 187597 h 214533"/>
                <a:gd name="connsiteX2" fmla="*/ 45243 w 215444"/>
                <a:gd name="connsiteY2" fmla="*/ 178672 h 214533"/>
                <a:gd name="connsiteX3" fmla="*/ 18466 w 215444"/>
                <a:gd name="connsiteY3" fmla="*/ 26936 h 214533"/>
                <a:gd name="connsiteX4" fmla="*/ 170202 w 215444"/>
                <a:gd name="connsiteY4" fmla="*/ 35862 h 214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5444" h="214533">
                  <a:moveTo>
                    <a:pt x="170202" y="35862"/>
                  </a:moveTo>
                  <a:cubicBezTo>
                    <a:pt x="217805" y="80490"/>
                    <a:pt x="229706" y="145945"/>
                    <a:pt x="196979" y="187597"/>
                  </a:cubicBezTo>
                  <a:cubicBezTo>
                    <a:pt x="161276" y="226275"/>
                    <a:pt x="92846" y="223300"/>
                    <a:pt x="45243" y="178672"/>
                  </a:cubicBezTo>
                  <a:cubicBezTo>
                    <a:pt x="-2360" y="134044"/>
                    <a:pt x="-14261" y="68589"/>
                    <a:pt x="18466" y="26936"/>
                  </a:cubicBezTo>
                  <a:cubicBezTo>
                    <a:pt x="54169" y="-11741"/>
                    <a:pt x="122598" y="-8766"/>
                    <a:pt x="170202" y="35862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7" name="任意多边形: 形状 386">
              <a:extLst>
                <a:ext uri="{FF2B5EF4-FFF2-40B4-BE49-F238E27FC236}">
                  <a16:creationId xmlns:a16="http://schemas.microsoft.com/office/drawing/2014/main" id="{C1123B10-EB7A-44DD-9DD6-F759C09A3BAF}"/>
                </a:ext>
              </a:extLst>
            </p:cNvPr>
            <p:cNvSpPr/>
            <p:nvPr/>
          </p:nvSpPr>
          <p:spPr>
            <a:xfrm>
              <a:off x="8726150" y="4612528"/>
              <a:ext cx="228390" cy="289415"/>
            </a:xfrm>
            <a:custGeom>
              <a:avLst/>
              <a:gdLst>
                <a:gd name="connsiteX0" fmla="*/ 227253 w 228390"/>
                <a:gd name="connsiteY0" fmla="*/ 131319 h 289415"/>
                <a:gd name="connsiteX1" fmla="*/ 129071 w 228390"/>
                <a:gd name="connsiteY1" fmla="*/ 289005 h 289415"/>
                <a:gd name="connsiteX2" fmla="*/ 1137 w 228390"/>
                <a:gd name="connsiteY2" fmla="*/ 158096 h 289415"/>
                <a:gd name="connsiteX3" fmla="*/ 99319 w 228390"/>
                <a:gd name="connsiteY3" fmla="*/ 410 h 289415"/>
                <a:gd name="connsiteX4" fmla="*/ 227253 w 228390"/>
                <a:gd name="connsiteY4" fmla="*/ 131319 h 289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390" h="289415">
                  <a:moveTo>
                    <a:pt x="227253" y="131319"/>
                  </a:moveTo>
                  <a:cubicBezTo>
                    <a:pt x="236179" y="211650"/>
                    <a:pt x="191551" y="280080"/>
                    <a:pt x="129071" y="289005"/>
                  </a:cubicBezTo>
                  <a:cubicBezTo>
                    <a:pt x="66592" y="294956"/>
                    <a:pt x="10063" y="235452"/>
                    <a:pt x="1137" y="158096"/>
                  </a:cubicBezTo>
                  <a:cubicBezTo>
                    <a:pt x="-7788" y="77766"/>
                    <a:pt x="36840" y="9336"/>
                    <a:pt x="99319" y="410"/>
                  </a:cubicBezTo>
                  <a:cubicBezTo>
                    <a:pt x="161799" y="-5540"/>
                    <a:pt x="218327" y="53964"/>
                    <a:pt x="227253" y="131319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8" name="任意多边形: 形状 387">
              <a:extLst>
                <a:ext uri="{FF2B5EF4-FFF2-40B4-BE49-F238E27FC236}">
                  <a16:creationId xmlns:a16="http://schemas.microsoft.com/office/drawing/2014/main" id="{D98FF92B-38E2-42FC-BDB9-8AA281E51370}"/>
                </a:ext>
              </a:extLst>
            </p:cNvPr>
            <p:cNvSpPr/>
            <p:nvPr/>
          </p:nvSpPr>
          <p:spPr>
            <a:xfrm>
              <a:off x="7994824" y="4743847"/>
              <a:ext cx="309984" cy="163636"/>
            </a:xfrm>
            <a:custGeom>
              <a:avLst/>
              <a:gdLst>
                <a:gd name="connsiteX0" fmla="*/ 292134 w 309984"/>
                <a:gd name="connsiteY0" fmla="*/ 0 h 163636"/>
                <a:gd name="connsiteX1" fmla="*/ 563 w 309984"/>
                <a:gd name="connsiteY1" fmla="*/ 107107 h 163636"/>
                <a:gd name="connsiteX2" fmla="*/ 21390 w 309984"/>
                <a:gd name="connsiteY2" fmla="*/ 163636 h 163636"/>
                <a:gd name="connsiteX3" fmla="*/ 309985 w 309984"/>
                <a:gd name="connsiteY3" fmla="*/ 68430 h 163636"/>
                <a:gd name="connsiteX4" fmla="*/ 292134 w 309984"/>
                <a:gd name="connsiteY4" fmla="*/ 0 h 163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984" h="163636">
                  <a:moveTo>
                    <a:pt x="292134" y="0"/>
                  </a:moveTo>
                  <a:cubicBezTo>
                    <a:pt x="292134" y="0"/>
                    <a:pt x="193952" y="62479"/>
                    <a:pt x="563" y="107107"/>
                  </a:cubicBezTo>
                  <a:cubicBezTo>
                    <a:pt x="563" y="107107"/>
                    <a:pt x="-5387" y="139835"/>
                    <a:pt x="21390" y="163636"/>
                  </a:cubicBezTo>
                  <a:cubicBezTo>
                    <a:pt x="21390" y="163636"/>
                    <a:pt x="262382" y="119008"/>
                    <a:pt x="309985" y="68430"/>
                  </a:cubicBezTo>
                  <a:lnTo>
                    <a:pt x="292134" y="0"/>
                  </a:ln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9" name="任意多边形: 形状 388">
              <a:extLst>
                <a:ext uri="{FF2B5EF4-FFF2-40B4-BE49-F238E27FC236}">
                  <a16:creationId xmlns:a16="http://schemas.microsoft.com/office/drawing/2014/main" id="{A4C43076-5136-4170-8247-271D8A14C1DF}"/>
                </a:ext>
              </a:extLst>
            </p:cNvPr>
            <p:cNvSpPr/>
            <p:nvPr/>
          </p:nvSpPr>
          <p:spPr>
            <a:xfrm>
              <a:off x="8491460" y="4755748"/>
              <a:ext cx="301282" cy="121983"/>
            </a:xfrm>
            <a:custGeom>
              <a:avLst/>
              <a:gdLst>
                <a:gd name="connsiteX0" fmla="*/ 787 w 301282"/>
                <a:gd name="connsiteY0" fmla="*/ 62480 h 121983"/>
                <a:gd name="connsiteX1" fmla="*/ 292357 w 301282"/>
                <a:gd name="connsiteY1" fmla="*/ 0 h 121983"/>
                <a:gd name="connsiteX2" fmla="*/ 301283 w 301282"/>
                <a:gd name="connsiteY2" fmla="*/ 50579 h 121983"/>
                <a:gd name="connsiteX3" fmla="*/ 24589 w 301282"/>
                <a:gd name="connsiteY3" fmla="*/ 121984 h 121983"/>
                <a:gd name="connsiteX4" fmla="*/ 787 w 301282"/>
                <a:gd name="connsiteY4" fmla="*/ 62480 h 121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1282" h="121983">
                  <a:moveTo>
                    <a:pt x="787" y="62480"/>
                  </a:moveTo>
                  <a:cubicBezTo>
                    <a:pt x="787" y="62480"/>
                    <a:pt x="179299" y="62480"/>
                    <a:pt x="292357" y="0"/>
                  </a:cubicBezTo>
                  <a:lnTo>
                    <a:pt x="301283" y="50579"/>
                  </a:lnTo>
                  <a:cubicBezTo>
                    <a:pt x="301283" y="50579"/>
                    <a:pt x="229878" y="121984"/>
                    <a:pt x="24589" y="121984"/>
                  </a:cubicBezTo>
                  <a:cubicBezTo>
                    <a:pt x="24589" y="121984"/>
                    <a:pt x="-5164" y="92232"/>
                    <a:pt x="787" y="62480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0" name="任意多边形: 形状 389">
              <a:extLst>
                <a:ext uri="{FF2B5EF4-FFF2-40B4-BE49-F238E27FC236}">
                  <a16:creationId xmlns:a16="http://schemas.microsoft.com/office/drawing/2014/main" id="{186FFCAF-F5AF-4C46-B8FC-940C235771F8}"/>
                </a:ext>
              </a:extLst>
            </p:cNvPr>
            <p:cNvSpPr/>
            <p:nvPr/>
          </p:nvSpPr>
          <p:spPr>
            <a:xfrm>
              <a:off x="7757371" y="3693599"/>
              <a:ext cx="193388" cy="136859"/>
            </a:xfrm>
            <a:custGeom>
              <a:avLst/>
              <a:gdLst>
                <a:gd name="connsiteX0" fmla="*/ 157686 w 193388"/>
                <a:gd name="connsiteY0" fmla="*/ 0 h 136859"/>
                <a:gd name="connsiteX1" fmla="*/ 0 w 193388"/>
                <a:gd name="connsiteY1" fmla="*/ 83306 h 136859"/>
                <a:gd name="connsiteX2" fmla="*/ 41653 w 193388"/>
                <a:gd name="connsiteY2" fmla="*/ 136859 h 136859"/>
                <a:gd name="connsiteX3" fmla="*/ 193388 w 193388"/>
                <a:gd name="connsiteY3" fmla="*/ 38678 h 136859"/>
                <a:gd name="connsiteX4" fmla="*/ 157686 w 193388"/>
                <a:gd name="connsiteY4" fmla="*/ 0 h 13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388" h="136859">
                  <a:moveTo>
                    <a:pt x="157686" y="0"/>
                  </a:moveTo>
                  <a:cubicBezTo>
                    <a:pt x="157686" y="0"/>
                    <a:pt x="113058" y="65454"/>
                    <a:pt x="0" y="83306"/>
                  </a:cubicBezTo>
                  <a:lnTo>
                    <a:pt x="41653" y="136859"/>
                  </a:lnTo>
                  <a:cubicBezTo>
                    <a:pt x="41653" y="136859"/>
                    <a:pt x="163636" y="95207"/>
                    <a:pt x="193388" y="38678"/>
                  </a:cubicBezTo>
                  <a:cubicBezTo>
                    <a:pt x="193388" y="38678"/>
                    <a:pt x="175537" y="0"/>
                    <a:pt x="157686" y="0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712982280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任意多边形: 形状 88">
            <a:extLst>
              <a:ext uri="{FF2B5EF4-FFF2-40B4-BE49-F238E27FC236}">
                <a16:creationId xmlns:a16="http://schemas.microsoft.com/office/drawing/2014/main" id="{A0F2F055-F1EE-404C-AA6F-2A6723E6C03B}"/>
              </a:ext>
            </a:extLst>
          </p:cNvPr>
          <p:cNvSpPr/>
          <p:nvPr/>
        </p:nvSpPr>
        <p:spPr>
          <a:xfrm>
            <a:off x="8019399" y="6627171"/>
            <a:ext cx="385733" cy="230829"/>
          </a:xfrm>
          <a:custGeom>
            <a:avLst/>
            <a:gdLst>
              <a:gd name="connsiteX0" fmla="*/ 105620 w 385733"/>
              <a:gd name="connsiteY0" fmla="*/ 0 h 230829"/>
              <a:gd name="connsiteX1" fmla="*/ 260330 w 385733"/>
              <a:gd name="connsiteY1" fmla="*/ 121983 h 230829"/>
              <a:gd name="connsiteX2" fmla="*/ 69917 w 385733"/>
              <a:gd name="connsiteY2" fmla="*/ 74380 h 230829"/>
              <a:gd name="connsiteX3" fmla="*/ 1488 w 385733"/>
              <a:gd name="connsiteY3" fmla="*/ 50578 h 230829"/>
              <a:gd name="connsiteX4" fmla="*/ 7438 w 385733"/>
              <a:gd name="connsiteY4" fmla="*/ 154711 h 230829"/>
              <a:gd name="connsiteX5" fmla="*/ 233554 w 385733"/>
              <a:gd name="connsiteY5" fmla="*/ 226115 h 230829"/>
              <a:gd name="connsiteX6" fmla="*/ 367438 w 385733"/>
              <a:gd name="connsiteY6" fmla="*/ 226115 h 230829"/>
              <a:gd name="connsiteX7" fmla="*/ 373389 w 385733"/>
              <a:gd name="connsiteY7" fmla="*/ 172562 h 230829"/>
              <a:gd name="connsiteX8" fmla="*/ 105620 w 385733"/>
              <a:gd name="connsiteY8" fmla="*/ 0 h 23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5733" h="230829">
                <a:moveTo>
                  <a:pt x="105620" y="0"/>
                </a:moveTo>
                <a:cubicBezTo>
                  <a:pt x="105620" y="0"/>
                  <a:pt x="275206" y="110083"/>
                  <a:pt x="260330" y="121983"/>
                </a:cubicBezTo>
                <a:cubicBezTo>
                  <a:pt x="248430" y="136859"/>
                  <a:pt x="69917" y="74380"/>
                  <a:pt x="69917" y="74380"/>
                </a:cubicBezTo>
                <a:lnTo>
                  <a:pt x="1488" y="50578"/>
                </a:lnTo>
                <a:cubicBezTo>
                  <a:pt x="1488" y="50578"/>
                  <a:pt x="-4463" y="130909"/>
                  <a:pt x="7438" y="154711"/>
                </a:cubicBezTo>
                <a:cubicBezTo>
                  <a:pt x="78843" y="190413"/>
                  <a:pt x="162149" y="214215"/>
                  <a:pt x="233554" y="226115"/>
                </a:cubicBezTo>
                <a:cubicBezTo>
                  <a:pt x="278182" y="235041"/>
                  <a:pt x="358513" y="229091"/>
                  <a:pt x="367438" y="226115"/>
                </a:cubicBezTo>
                <a:cubicBezTo>
                  <a:pt x="376364" y="223141"/>
                  <a:pt x="400165" y="199339"/>
                  <a:pt x="373389" y="172562"/>
                </a:cubicBezTo>
                <a:cubicBezTo>
                  <a:pt x="310909" y="110083"/>
                  <a:pt x="105620" y="0"/>
                  <a:pt x="105620" y="0"/>
                </a:cubicBezTo>
                <a:close/>
              </a:path>
            </a:pathLst>
          </a:custGeom>
          <a:solidFill>
            <a:srgbClr val="38333D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0" name="任意多边形: 形状 89">
            <a:extLst>
              <a:ext uri="{FF2B5EF4-FFF2-40B4-BE49-F238E27FC236}">
                <a16:creationId xmlns:a16="http://schemas.microsoft.com/office/drawing/2014/main" id="{7B9F7CFB-00C4-4FB1-9BE3-46A8730FFD3F}"/>
              </a:ext>
            </a:extLst>
          </p:cNvPr>
          <p:cNvSpPr/>
          <p:nvPr/>
        </p:nvSpPr>
        <p:spPr>
          <a:xfrm>
            <a:off x="8020886" y="6508163"/>
            <a:ext cx="260137" cy="247942"/>
          </a:xfrm>
          <a:custGeom>
            <a:avLst/>
            <a:gdLst>
              <a:gd name="connsiteX0" fmla="*/ 119008 w 260137"/>
              <a:gd name="connsiteY0" fmla="*/ 0 h 247942"/>
              <a:gd name="connsiteX1" fmla="*/ 104132 w 260137"/>
              <a:gd name="connsiteY1" fmla="*/ 121983 h 247942"/>
              <a:gd name="connsiteX2" fmla="*/ 258842 w 260137"/>
              <a:gd name="connsiteY2" fmla="*/ 243967 h 247942"/>
              <a:gd name="connsiteX3" fmla="*/ 26777 w 260137"/>
              <a:gd name="connsiteY3" fmla="*/ 202314 h 247942"/>
              <a:gd name="connsiteX4" fmla="*/ 0 w 260137"/>
              <a:gd name="connsiteY4" fmla="*/ 172562 h 247942"/>
              <a:gd name="connsiteX5" fmla="*/ 0 w 260137"/>
              <a:gd name="connsiteY5" fmla="*/ 41653 h 247942"/>
              <a:gd name="connsiteX6" fmla="*/ 119008 w 260137"/>
              <a:gd name="connsiteY6" fmla="*/ 0 h 2479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137" h="247942">
                <a:moveTo>
                  <a:pt x="119008" y="0"/>
                </a:moveTo>
                <a:lnTo>
                  <a:pt x="104132" y="121983"/>
                </a:lnTo>
                <a:cubicBezTo>
                  <a:pt x="104132" y="121983"/>
                  <a:pt x="276694" y="223141"/>
                  <a:pt x="258842" y="243967"/>
                </a:cubicBezTo>
                <a:cubicBezTo>
                  <a:pt x="246942" y="258843"/>
                  <a:pt x="95206" y="229091"/>
                  <a:pt x="26777" y="202314"/>
                </a:cubicBezTo>
                <a:cubicBezTo>
                  <a:pt x="2975" y="193388"/>
                  <a:pt x="0" y="172562"/>
                  <a:pt x="0" y="172562"/>
                </a:cubicBezTo>
                <a:lnTo>
                  <a:pt x="0" y="41653"/>
                </a:lnTo>
                <a:lnTo>
                  <a:pt x="119008" y="0"/>
                </a:lnTo>
                <a:close/>
              </a:path>
            </a:pathLst>
          </a:custGeom>
          <a:solidFill>
            <a:srgbClr val="F5A398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7" name="任意多边形: 形状 86">
            <a:extLst>
              <a:ext uri="{FF2B5EF4-FFF2-40B4-BE49-F238E27FC236}">
                <a16:creationId xmlns:a16="http://schemas.microsoft.com/office/drawing/2014/main" id="{27A16E85-AF75-4310-A167-C10A04C25D8F}"/>
              </a:ext>
            </a:extLst>
          </p:cNvPr>
          <p:cNvSpPr/>
          <p:nvPr/>
        </p:nvSpPr>
        <p:spPr>
          <a:xfrm>
            <a:off x="6860556" y="6264196"/>
            <a:ext cx="200863" cy="403022"/>
          </a:xfrm>
          <a:custGeom>
            <a:avLst/>
            <a:gdLst>
              <a:gd name="connsiteX0" fmla="*/ 184462 w 200863"/>
              <a:gd name="connsiteY0" fmla="*/ 59504 h 403022"/>
              <a:gd name="connsiteX1" fmla="*/ 169586 w 200863"/>
              <a:gd name="connsiteY1" fmla="*/ 255868 h 403022"/>
              <a:gd name="connsiteX2" fmla="*/ 101157 w 200863"/>
              <a:gd name="connsiteY2" fmla="*/ 71405 h 403022"/>
              <a:gd name="connsiteX3" fmla="*/ 83305 w 200863"/>
              <a:gd name="connsiteY3" fmla="*/ 0 h 403022"/>
              <a:gd name="connsiteX4" fmla="*/ 0 w 200863"/>
              <a:gd name="connsiteY4" fmla="*/ 62479 h 403022"/>
              <a:gd name="connsiteX5" fmla="*/ 68429 w 200863"/>
              <a:gd name="connsiteY5" fmla="*/ 288595 h 403022"/>
              <a:gd name="connsiteX6" fmla="*/ 145785 w 200863"/>
              <a:gd name="connsiteY6" fmla="*/ 398678 h 403022"/>
              <a:gd name="connsiteX7" fmla="*/ 196364 w 200863"/>
              <a:gd name="connsiteY7" fmla="*/ 371901 h 403022"/>
              <a:gd name="connsiteX8" fmla="*/ 184462 w 200863"/>
              <a:gd name="connsiteY8" fmla="*/ 59504 h 403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0863" h="403022">
                <a:moveTo>
                  <a:pt x="184462" y="59504"/>
                </a:moveTo>
                <a:cubicBezTo>
                  <a:pt x="184462" y="59504"/>
                  <a:pt x="187438" y="258843"/>
                  <a:pt x="169586" y="255868"/>
                </a:cubicBezTo>
                <a:cubicBezTo>
                  <a:pt x="151736" y="252893"/>
                  <a:pt x="101157" y="71405"/>
                  <a:pt x="101157" y="71405"/>
                </a:cubicBezTo>
                <a:lnTo>
                  <a:pt x="83305" y="0"/>
                </a:lnTo>
                <a:cubicBezTo>
                  <a:pt x="83305" y="0"/>
                  <a:pt x="14876" y="41653"/>
                  <a:pt x="0" y="62479"/>
                </a:cubicBezTo>
                <a:cubicBezTo>
                  <a:pt x="8925" y="139835"/>
                  <a:pt x="38677" y="223141"/>
                  <a:pt x="68429" y="288595"/>
                </a:cubicBezTo>
                <a:cubicBezTo>
                  <a:pt x="86281" y="330248"/>
                  <a:pt x="136860" y="395702"/>
                  <a:pt x="145785" y="398678"/>
                </a:cubicBezTo>
                <a:cubicBezTo>
                  <a:pt x="154710" y="404628"/>
                  <a:pt x="187438" y="410578"/>
                  <a:pt x="196364" y="371901"/>
                </a:cubicBezTo>
                <a:cubicBezTo>
                  <a:pt x="211240" y="291570"/>
                  <a:pt x="184462" y="59504"/>
                  <a:pt x="184462" y="59504"/>
                </a:cubicBezTo>
                <a:close/>
              </a:path>
            </a:pathLst>
          </a:custGeom>
          <a:solidFill>
            <a:srgbClr val="38333D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8" name="任意多边形: 形状 87">
            <a:extLst>
              <a:ext uri="{FF2B5EF4-FFF2-40B4-BE49-F238E27FC236}">
                <a16:creationId xmlns:a16="http://schemas.microsoft.com/office/drawing/2014/main" id="{973D3F3F-D35C-4FAD-9FE4-5E5C97F73E07}"/>
              </a:ext>
            </a:extLst>
          </p:cNvPr>
          <p:cNvSpPr/>
          <p:nvPr/>
        </p:nvSpPr>
        <p:spPr>
          <a:xfrm>
            <a:off x="6930746" y="6192791"/>
            <a:ext cx="221379" cy="327305"/>
          </a:xfrm>
          <a:custGeom>
            <a:avLst/>
            <a:gdLst>
              <a:gd name="connsiteX0" fmla="*/ 221380 w 221379"/>
              <a:gd name="connsiteY0" fmla="*/ 74380 h 327305"/>
              <a:gd name="connsiteX1" fmla="*/ 114272 w 221379"/>
              <a:gd name="connsiteY1" fmla="*/ 130909 h 327305"/>
              <a:gd name="connsiteX2" fmla="*/ 99396 w 221379"/>
              <a:gd name="connsiteY2" fmla="*/ 327273 h 327305"/>
              <a:gd name="connsiteX3" fmla="*/ 1214 w 221379"/>
              <a:gd name="connsiteY3" fmla="*/ 113058 h 327305"/>
              <a:gd name="connsiteX4" fmla="*/ 13115 w 221379"/>
              <a:gd name="connsiteY4" fmla="*/ 74380 h 327305"/>
              <a:gd name="connsiteX5" fmla="*/ 120223 w 221379"/>
              <a:gd name="connsiteY5" fmla="*/ 0 h 327305"/>
              <a:gd name="connsiteX6" fmla="*/ 221380 w 221379"/>
              <a:gd name="connsiteY6" fmla="*/ 74380 h 327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1379" h="327305">
                <a:moveTo>
                  <a:pt x="221380" y="74380"/>
                </a:moveTo>
                <a:lnTo>
                  <a:pt x="114272" y="130909"/>
                </a:lnTo>
                <a:cubicBezTo>
                  <a:pt x="114272" y="130909"/>
                  <a:pt x="126174" y="330248"/>
                  <a:pt x="99396" y="327273"/>
                </a:cubicBezTo>
                <a:cubicBezTo>
                  <a:pt x="78570" y="327273"/>
                  <a:pt x="19066" y="184463"/>
                  <a:pt x="1214" y="113058"/>
                </a:cubicBezTo>
                <a:cubicBezTo>
                  <a:pt x="-4736" y="89256"/>
                  <a:pt x="13115" y="74380"/>
                  <a:pt x="13115" y="74380"/>
                </a:cubicBezTo>
                <a:lnTo>
                  <a:pt x="120223" y="0"/>
                </a:lnTo>
                <a:lnTo>
                  <a:pt x="221380" y="74380"/>
                </a:lnTo>
                <a:close/>
              </a:path>
            </a:pathLst>
          </a:custGeom>
          <a:solidFill>
            <a:srgbClr val="F5A398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D389A230-112C-4BA5-BECF-B597405894CD}"/>
              </a:ext>
            </a:extLst>
          </p:cNvPr>
          <p:cNvSpPr/>
          <p:nvPr/>
        </p:nvSpPr>
        <p:spPr>
          <a:xfrm>
            <a:off x="7006341" y="4136923"/>
            <a:ext cx="1345957" cy="2442644"/>
          </a:xfrm>
          <a:custGeom>
            <a:avLst/>
            <a:gdLst>
              <a:gd name="connsiteX0" fmla="*/ 577190 w 1345957"/>
              <a:gd name="connsiteY0" fmla="*/ 0 h 2442644"/>
              <a:gd name="connsiteX1" fmla="*/ 1228760 w 1345957"/>
              <a:gd name="connsiteY1" fmla="*/ 0 h 2442644"/>
              <a:gd name="connsiteX2" fmla="*/ 1344794 w 1345957"/>
              <a:gd name="connsiteY2" fmla="*/ 449256 h 2442644"/>
              <a:gd name="connsiteX3" fmla="*/ 1169256 w 1345957"/>
              <a:gd name="connsiteY3" fmla="*/ 2424794 h 2442644"/>
              <a:gd name="connsiteX4" fmla="*/ 975867 w 1345957"/>
              <a:gd name="connsiteY4" fmla="*/ 2442645 h 2442644"/>
              <a:gd name="connsiteX5" fmla="*/ 895537 w 1345957"/>
              <a:gd name="connsiteY5" fmla="*/ 791405 h 2442644"/>
              <a:gd name="connsiteX6" fmla="*/ 806281 w 1345957"/>
              <a:gd name="connsiteY6" fmla="*/ 1713719 h 2442644"/>
              <a:gd name="connsiteX7" fmla="*/ 101157 w 1345957"/>
              <a:gd name="connsiteY7" fmla="*/ 2219504 h 2442644"/>
              <a:gd name="connsiteX8" fmla="*/ 0 w 1345957"/>
              <a:gd name="connsiteY8" fmla="*/ 2035041 h 2442644"/>
              <a:gd name="connsiteX9" fmla="*/ 481984 w 1345957"/>
              <a:gd name="connsiteY9" fmla="*/ 1615537 h 2442644"/>
              <a:gd name="connsiteX10" fmla="*/ 446281 w 1345957"/>
              <a:gd name="connsiteY10" fmla="*/ 404628 h 2442644"/>
              <a:gd name="connsiteX11" fmla="*/ 577190 w 1345957"/>
              <a:gd name="connsiteY11" fmla="*/ 0 h 2442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45957" h="2442644">
                <a:moveTo>
                  <a:pt x="577190" y="0"/>
                </a:moveTo>
                <a:lnTo>
                  <a:pt x="1228760" y="0"/>
                </a:lnTo>
                <a:cubicBezTo>
                  <a:pt x="1228760" y="0"/>
                  <a:pt x="1323967" y="297521"/>
                  <a:pt x="1344794" y="449256"/>
                </a:cubicBezTo>
                <a:cubicBezTo>
                  <a:pt x="1362644" y="598017"/>
                  <a:pt x="1169256" y="2424794"/>
                  <a:pt x="1169256" y="2424794"/>
                </a:cubicBezTo>
                <a:lnTo>
                  <a:pt x="975867" y="2442645"/>
                </a:lnTo>
                <a:lnTo>
                  <a:pt x="895537" y="791405"/>
                </a:lnTo>
                <a:cubicBezTo>
                  <a:pt x="895537" y="791405"/>
                  <a:pt x="812231" y="1698843"/>
                  <a:pt x="806281" y="1713719"/>
                </a:cubicBezTo>
                <a:lnTo>
                  <a:pt x="101157" y="2219504"/>
                </a:lnTo>
                <a:lnTo>
                  <a:pt x="0" y="2035041"/>
                </a:lnTo>
                <a:lnTo>
                  <a:pt x="481984" y="1615537"/>
                </a:lnTo>
                <a:cubicBezTo>
                  <a:pt x="481984" y="1615537"/>
                  <a:pt x="452232" y="467108"/>
                  <a:pt x="446281" y="404628"/>
                </a:cubicBezTo>
                <a:cubicBezTo>
                  <a:pt x="437356" y="288595"/>
                  <a:pt x="577190" y="0"/>
                  <a:pt x="577190" y="0"/>
                </a:cubicBezTo>
                <a:close/>
              </a:path>
            </a:pathLst>
          </a:custGeom>
          <a:solidFill>
            <a:srgbClr val="F6EBEB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61A712D5-7FFD-463F-B48B-4EEA4072B3A1}"/>
              </a:ext>
            </a:extLst>
          </p:cNvPr>
          <p:cNvSpPr/>
          <p:nvPr/>
        </p:nvSpPr>
        <p:spPr>
          <a:xfrm>
            <a:off x="7103200" y="4514774"/>
            <a:ext cx="846281" cy="1850578"/>
          </a:xfrm>
          <a:custGeom>
            <a:avLst/>
            <a:gdLst>
              <a:gd name="connsiteX0" fmla="*/ 4297 w 846281"/>
              <a:gd name="connsiteY0" fmla="*/ 1850578 h 1850578"/>
              <a:gd name="connsiteX1" fmla="*/ 1322 w 846281"/>
              <a:gd name="connsiteY1" fmla="*/ 1847603 h 1850578"/>
              <a:gd name="connsiteX2" fmla="*/ 1322 w 846281"/>
              <a:gd name="connsiteY2" fmla="*/ 1838678 h 1850578"/>
              <a:gd name="connsiteX3" fmla="*/ 703471 w 846281"/>
              <a:gd name="connsiteY3" fmla="*/ 1332893 h 1850578"/>
              <a:gd name="connsiteX4" fmla="*/ 792727 w 846281"/>
              <a:gd name="connsiteY4" fmla="*/ 413554 h 1850578"/>
              <a:gd name="connsiteX5" fmla="*/ 834380 w 846281"/>
              <a:gd name="connsiteY5" fmla="*/ 5950 h 1850578"/>
              <a:gd name="connsiteX6" fmla="*/ 840331 w 846281"/>
              <a:gd name="connsiteY6" fmla="*/ 0 h 1850578"/>
              <a:gd name="connsiteX7" fmla="*/ 846281 w 846281"/>
              <a:gd name="connsiteY7" fmla="*/ 5950 h 1850578"/>
              <a:gd name="connsiteX8" fmla="*/ 804628 w 846281"/>
              <a:gd name="connsiteY8" fmla="*/ 413554 h 1850578"/>
              <a:gd name="connsiteX9" fmla="*/ 715372 w 846281"/>
              <a:gd name="connsiteY9" fmla="*/ 1338843 h 1850578"/>
              <a:gd name="connsiteX10" fmla="*/ 715372 w 846281"/>
              <a:gd name="connsiteY10" fmla="*/ 1341818 h 1850578"/>
              <a:gd name="connsiteX11" fmla="*/ 715372 w 846281"/>
              <a:gd name="connsiteY11" fmla="*/ 1341818 h 1850578"/>
              <a:gd name="connsiteX12" fmla="*/ 10248 w 846281"/>
              <a:gd name="connsiteY12" fmla="*/ 1847603 h 1850578"/>
              <a:gd name="connsiteX13" fmla="*/ 4297 w 846281"/>
              <a:gd name="connsiteY13" fmla="*/ 1850578 h 1850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46281" h="1850578">
                <a:moveTo>
                  <a:pt x="4297" y="1850578"/>
                </a:moveTo>
                <a:cubicBezTo>
                  <a:pt x="1322" y="1850578"/>
                  <a:pt x="1322" y="1850578"/>
                  <a:pt x="1322" y="1847603"/>
                </a:cubicBezTo>
                <a:cubicBezTo>
                  <a:pt x="-1652" y="1844628"/>
                  <a:pt x="1322" y="1841653"/>
                  <a:pt x="1322" y="1838678"/>
                </a:cubicBezTo>
                <a:lnTo>
                  <a:pt x="703471" y="1332893"/>
                </a:lnTo>
                <a:cubicBezTo>
                  <a:pt x="709422" y="1297190"/>
                  <a:pt x="762975" y="717025"/>
                  <a:pt x="792727" y="413554"/>
                </a:cubicBezTo>
                <a:lnTo>
                  <a:pt x="834380" y="5950"/>
                </a:lnTo>
                <a:cubicBezTo>
                  <a:pt x="834380" y="2975"/>
                  <a:pt x="837355" y="0"/>
                  <a:pt x="840331" y="0"/>
                </a:cubicBezTo>
                <a:cubicBezTo>
                  <a:pt x="843306" y="0"/>
                  <a:pt x="846281" y="2975"/>
                  <a:pt x="846281" y="5950"/>
                </a:cubicBezTo>
                <a:lnTo>
                  <a:pt x="804628" y="413554"/>
                </a:lnTo>
                <a:cubicBezTo>
                  <a:pt x="795703" y="505785"/>
                  <a:pt x="721322" y="1320992"/>
                  <a:pt x="715372" y="1338843"/>
                </a:cubicBezTo>
                <a:lnTo>
                  <a:pt x="715372" y="1341818"/>
                </a:lnTo>
                <a:lnTo>
                  <a:pt x="715372" y="1341818"/>
                </a:lnTo>
                <a:lnTo>
                  <a:pt x="10248" y="1847603"/>
                </a:lnTo>
                <a:cubicBezTo>
                  <a:pt x="7273" y="1850578"/>
                  <a:pt x="4297" y="1850578"/>
                  <a:pt x="4297" y="1850578"/>
                </a:cubicBezTo>
                <a:close/>
              </a:path>
            </a:pathLst>
          </a:custGeom>
          <a:solidFill>
            <a:srgbClr val="38343B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1E1494FE-2A59-4A80-854D-B70246A13B25}"/>
              </a:ext>
            </a:extLst>
          </p:cNvPr>
          <p:cNvSpPr/>
          <p:nvPr/>
        </p:nvSpPr>
        <p:spPr>
          <a:xfrm>
            <a:off x="7455597" y="4288659"/>
            <a:ext cx="175537" cy="184462"/>
          </a:xfrm>
          <a:custGeom>
            <a:avLst/>
            <a:gdLst>
              <a:gd name="connsiteX0" fmla="*/ 5950 w 175537"/>
              <a:gd name="connsiteY0" fmla="*/ 184463 h 184462"/>
              <a:gd name="connsiteX1" fmla="*/ 0 w 175537"/>
              <a:gd name="connsiteY1" fmla="*/ 181488 h 184462"/>
              <a:gd name="connsiteX2" fmla="*/ 2975 w 175537"/>
              <a:gd name="connsiteY2" fmla="*/ 175537 h 184462"/>
              <a:gd name="connsiteX3" fmla="*/ 166612 w 175537"/>
              <a:gd name="connsiteY3" fmla="*/ 2975 h 184462"/>
              <a:gd name="connsiteX4" fmla="*/ 172562 w 175537"/>
              <a:gd name="connsiteY4" fmla="*/ 0 h 184462"/>
              <a:gd name="connsiteX5" fmla="*/ 175537 w 175537"/>
              <a:gd name="connsiteY5" fmla="*/ 5951 h 184462"/>
              <a:gd name="connsiteX6" fmla="*/ 5950 w 175537"/>
              <a:gd name="connsiteY6" fmla="*/ 184463 h 184462"/>
              <a:gd name="connsiteX7" fmla="*/ 5950 w 175537"/>
              <a:gd name="connsiteY7" fmla="*/ 184463 h 184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5537" h="184462">
                <a:moveTo>
                  <a:pt x="5950" y="184463"/>
                </a:moveTo>
                <a:cubicBezTo>
                  <a:pt x="2975" y="184463"/>
                  <a:pt x="0" y="181488"/>
                  <a:pt x="0" y="181488"/>
                </a:cubicBezTo>
                <a:cubicBezTo>
                  <a:pt x="0" y="178512"/>
                  <a:pt x="0" y="175537"/>
                  <a:pt x="2975" y="175537"/>
                </a:cubicBezTo>
                <a:cubicBezTo>
                  <a:pt x="113057" y="145785"/>
                  <a:pt x="163636" y="5951"/>
                  <a:pt x="166612" y="2975"/>
                </a:cubicBezTo>
                <a:cubicBezTo>
                  <a:pt x="166612" y="0"/>
                  <a:pt x="169586" y="0"/>
                  <a:pt x="172562" y="0"/>
                </a:cubicBezTo>
                <a:cubicBezTo>
                  <a:pt x="175537" y="0"/>
                  <a:pt x="175537" y="2975"/>
                  <a:pt x="175537" y="5951"/>
                </a:cubicBezTo>
                <a:cubicBezTo>
                  <a:pt x="172562" y="11901"/>
                  <a:pt x="121984" y="151736"/>
                  <a:pt x="5950" y="184463"/>
                </a:cubicBezTo>
                <a:cubicBezTo>
                  <a:pt x="5950" y="184463"/>
                  <a:pt x="5950" y="184463"/>
                  <a:pt x="5950" y="184463"/>
                </a:cubicBezTo>
                <a:close/>
              </a:path>
            </a:pathLst>
          </a:custGeom>
          <a:solidFill>
            <a:srgbClr val="38343B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7447AC1B-CA55-4195-A0BE-A3CF8B768906}"/>
              </a:ext>
            </a:extLst>
          </p:cNvPr>
          <p:cNvSpPr/>
          <p:nvPr/>
        </p:nvSpPr>
        <p:spPr>
          <a:xfrm>
            <a:off x="8166671" y="4285683"/>
            <a:ext cx="169587" cy="190413"/>
          </a:xfrm>
          <a:custGeom>
            <a:avLst/>
            <a:gdLst>
              <a:gd name="connsiteX0" fmla="*/ 163636 w 169587"/>
              <a:gd name="connsiteY0" fmla="*/ 190413 h 190413"/>
              <a:gd name="connsiteX1" fmla="*/ 163636 w 169587"/>
              <a:gd name="connsiteY1" fmla="*/ 190413 h 190413"/>
              <a:gd name="connsiteX2" fmla="*/ 0 w 169587"/>
              <a:gd name="connsiteY2" fmla="*/ 8926 h 190413"/>
              <a:gd name="connsiteX3" fmla="*/ 2975 w 169587"/>
              <a:gd name="connsiteY3" fmla="*/ 0 h 190413"/>
              <a:gd name="connsiteX4" fmla="*/ 11901 w 169587"/>
              <a:gd name="connsiteY4" fmla="*/ 2975 h 190413"/>
              <a:gd name="connsiteX5" fmla="*/ 166612 w 169587"/>
              <a:gd name="connsiteY5" fmla="*/ 178512 h 190413"/>
              <a:gd name="connsiteX6" fmla="*/ 169587 w 169587"/>
              <a:gd name="connsiteY6" fmla="*/ 184463 h 190413"/>
              <a:gd name="connsiteX7" fmla="*/ 163636 w 169587"/>
              <a:gd name="connsiteY7" fmla="*/ 190413 h 190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9587" h="190413">
                <a:moveTo>
                  <a:pt x="163636" y="190413"/>
                </a:moveTo>
                <a:cubicBezTo>
                  <a:pt x="160661" y="190413"/>
                  <a:pt x="160661" y="190413"/>
                  <a:pt x="163636" y="190413"/>
                </a:cubicBezTo>
                <a:cubicBezTo>
                  <a:pt x="83305" y="157686"/>
                  <a:pt x="2975" y="14876"/>
                  <a:pt x="0" y="8926"/>
                </a:cubicBezTo>
                <a:cubicBezTo>
                  <a:pt x="0" y="5951"/>
                  <a:pt x="0" y="2975"/>
                  <a:pt x="2975" y="0"/>
                </a:cubicBezTo>
                <a:cubicBezTo>
                  <a:pt x="5951" y="0"/>
                  <a:pt x="8925" y="0"/>
                  <a:pt x="11901" y="2975"/>
                </a:cubicBezTo>
                <a:cubicBezTo>
                  <a:pt x="11901" y="2975"/>
                  <a:pt x="92232" y="148760"/>
                  <a:pt x="166612" y="178512"/>
                </a:cubicBezTo>
                <a:cubicBezTo>
                  <a:pt x="169587" y="178512"/>
                  <a:pt x="169587" y="181488"/>
                  <a:pt x="169587" y="184463"/>
                </a:cubicBezTo>
                <a:cubicBezTo>
                  <a:pt x="166612" y="190413"/>
                  <a:pt x="163636" y="190413"/>
                  <a:pt x="163636" y="190413"/>
                </a:cubicBezTo>
                <a:close/>
              </a:path>
            </a:pathLst>
          </a:custGeom>
          <a:solidFill>
            <a:srgbClr val="38343B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C6475898-2B8A-46F7-893E-3095DC582A86}"/>
              </a:ext>
            </a:extLst>
          </p:cNvPr>
          <p:cNvSpPr/>
          <p:nvPr/>
        </p:nvSpPr>
        <p:spPr>
          <a:xfrm>
            <a:off x="8106546" y="3192470"/>
            <a:ext cx="919786" cy="632056"/>
          </a:xfrm>
          <a:custGeom>
            <a:avLst/>
            <a:gdLst>
              <a:gd name="connsiteX0" fmla="*/ 152357 w 919786"/>
              <a:gd name="connsiteY0" fmla="*/ 25115 h 632056"/>
              <a:gd name="connsiteX1" fmla="*/ 568885 w 919786"/>
              <a:gd name="connsiteY1" fmla="*/ 435693 h 632056"/>
              <a:gd name="connsiteX2" fmla="*/ 872357 w 919786"/>
              <a:gd name="connsiteY2" fmla="*/ 99495 h 632056"/>
              <a:gd name="connsiteX3" fmla="*/ 905085 w 919786"/>
              <a:gd name="connsiteY3" fmla="*/ 206602 h 632056"/>
              <a:gd name="connsiteX4" fmla="*/ 565911 w 919786"/>
              <a:gd name="connsiteY4" fmla="*/ 632057 h 632056"/>
              <a:gd name="connsiteX5" fmla="*/ 18473 w 919786"/>
              <a:gd name="connsiteY5" fmla="*/ 307759 h 632056"/>
              <a:gd name="connsiteX6" fmla="*/ 152357 w 919786"/>
              <a:gd name="connsiteY6" fmla="*/ 25115 h 632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9786" h="632056">
                <a:moveTo>
                  <a:pt x="152357" y="25115"/>
                </a:moveTo>
                <a:cubicBezTo>
                  <a:pt x="232687" y="105445"/>
                  <a:pt x="568885" y="435693"/>
                  <a:pt x="568885" y="435693"/>
                </a:cubicBezTo>
                <a:cubicBezTo>
                  <a:pt x="568885" y="435693"/>
                  <a:pt x="869382" y="93544"/>
                  <a:pt x="872357" y="99495"/>
                </a:cubicBezTo>
                <a:cubicBezTo>
                  <a:pt x="911034" y="156024"/>
                  <a:pt x="937812" y="185776"/>
                  <a:pt x="905085" y="206602"/>
                </a:cubicBezTo>
                <a:cubicBezTo>
                  <a:pt x="896158" y="212553"/>
                  <a:pt x="723596" y="632057"/>
                  <a:pt x="565911" y="632057"/>
                </a:cubicBezTo>
                <a:cubicBezTo>
                  <a:pt x="500456" y="632057"/>
                  <a:pt x="113679" y="420817"/>
                  <a:pt x="18473" y="307759"/>
                </a:cubicBezTo>
                <a:cubicBezTo>
                  <a:pt x="-35081" y="245280"/>
                  <a:pt x="33349" y="-93894"/>
                  <a:pt x="152357" y="25115"/>
                </a:cubicBezTo>
                <a:close/>
              </a:path>
            </a:pathLst>
          </a:custGeom>
          <a:solidFill>
            <a:srgbClr val="F5A398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925B72AC-2588-44F7-A8E1-13AA1948DC37}"/>
              </a:ext>
            </a:extLst>
          </p:cNvPr>
          <p:cNvSpPr/>
          <p:nvPr/>
        </p:nvSpPr>
        <p:spPr>
          <a:xfrm>
            <a:off x="8011960" y="2886459"/>
            <a:ext cx="145785" cy="200216"/>
          </a:xfrm>
          <a:custGeom>
            <a:avLst/>
            <a:gdLst>
              <a:gd name="connsiteX0" fmla="*/ 145786 w 145785"/>
              <a:gd name="connsiteY0" fmla="*/ 877 h 200216"/>
              <a:gd name="connsiteX1" fmla="*/ 107108 w 145785"/>
              <a:gd name="connsiteY1" fmla="*/ 185340 h 200216"/>
              <a:gd name="connsiteX2" fmla="*/ 44628 w 145785"/>
              <a:gd name="connsiteY2" fmla="*/ 200216 h 200216"/>
              <a:gd name="connsiteX3" fmla="*/ 0 w 145785"/>
              <a:gd name="connsiteY3" fmla="*/ 105010 h 200216"/>
              <a:gd name="connsiteX4" fmla="*/ 145786 w 145785"/>
              <a:gd name="connsiteY4" fmla="*/ 877 h 200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785" h="200216">
                <a:moveTo>
                  <a:pt x="145786" y="877"/>
                </a:moveTo>
                <a:lnTo>
                  <a:pt x="107108" y="185340"/>
                </a:lnTo>
                <a:lnTo>
                  <a:pt x="44628" y="200216"/>
                </a:lnTo>
                <a:lnTo>
                  <a:pt x="0" y="105010"/>
                </a:lnTo>
                <a:cubicBezTo>
                  <a:pt x="0" y="102034"/>
                  <a:pt x="50579" y="-11023"/>
                  <a:pt x="145786" y="877"/>
                </a:cubicBezTo>
                <a:close/>
              </a:path>
            </a:pathLst>
          </a:custGeom>
          <a:solidFill>
            <a:srgbClr val="F1DDBA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B938F22C-8197-4575-AD9B-9247CF0330A8}"/>
              </a:ext>
            </a:extLst>
          </p:cNvPr>
          <p:cNvSpPr/>
          <p:nvPr/>
        </p:nvSpPr>
        <p:spPr>
          <a:xfrm>
            <a:off x="7625183" y="2735601"/>
            <a:ext cx="240991" cy="357024"/>
          </a:xfrm>
          <a:custGeom>
            <a:avLst/>
            <a:gdLst>
              <a:gd name="connsiteX0" fmla="*/ 0 w 240991"/>
              <a:gd name="connsiteY0" fmla="*/ 0 h 357024"/>
              <a:gd name="connsiteX1" fmla="*/ 119008 w 240991"/>
              <a:gd name="connsiteY1" fmla="*/ 351074 h 357024"/>
              <a:gd name="connsiteX2" fmla="*/ 196364 w 240991"/>
              <a:gd name="connsiteY2" fmla="*/ 357025 h 357024"/>
              <a:gd name="connsiteX3" fmla="*/ 240992 w 240991"/>
              <a:gd name="connsiteY3" fmla="*/ 243967 h 357024"/>
              <a:gd name="connsiteX4" fmla="*/ 151736 w 240991"/>
              <a:gd name="connsiteY4" fmla="*/ 110083 h 357024"/>
              <a:gd name="connsiteX5" fmla="*/ 0 w 240991"/>
              <a:gd name="connsiteY5" fmla="*/ 0 h 357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0991" h="357024">
                <a:moveTo>
                  <a:pt x="0" y="0"/>
                </a:moveTo>
                <a:cubicBezTo>
                  <a:pt x="0" y="0"/>
                  <a:pt x="0" y="178512"/>
                  <a:pt x="119008" y="351074"/>
                </a:cubicBezTo>
                <a:lnTo>
                  <a:pt x="196364" y="357025"/>
                </a:lnTo>
                <a:lnTo>
                  <a:pt x="240992" y="243967"/>
                </a:lnTo>
                <a:lnTo>
                  <a:pt x="151736" y="110083"/>
                </a:lnTo>
                <a:lnTo>
                  <a:pt x="0" y="0"/>
                </a:lnTo>
                <a:close/>
              </a:path>
            </a:pathLst>
          </a:custGeom>
          <a:solidFill>
            <a:srgbClr val="F1DDBA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AD7A3A69-5AE4-42B5-B306-8469E37B91AF}"/>
              </a:ext>
            </a:extLst>
          </p:cNvPr>
          <p:cNvSpPr/>
          <p:nvPr/>
        </p:nvSpPr>
        <p:spPr>
          <a:xfrm>
            <a:off x="8023894" y="3165564"/>
            <a:ext cx="419470" cy="435821"/>
          </a:xfrm>
          <a:custGeom>
            <a:avLst/>
            <a:gdLst>
              <a:gd name="connsiteX0" fmla="*/ 139802 w 419470"/>
              <a:gd name="connsiteY0" fmla="*/ 435821 h 435821"/>
              <a:gd name="connsiteX1" fmla="*/ 17818 w 419470"/>
              <a:gd name="connsiteY1" fmla="*/ 31193 h 435821"/>
              <a:gd name="connsiteX2" fmla="*/ 419471 w 419470"/>
              <a:gd name="connsiteY2" fmla="*/ 203755 h 435821"/>
              <a:gd name="connsiteX3" fmla="*/ 139802 w 419470"/>
              <a:gd name="connsiteY3" fmla="*/ 435821 h 435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9470" h="435821">
                <a:moveTo>
                  <a:pt x="139802" y="435821"/>
                </a:moveTo>
                <a:cubicBezTo>
                  <a:pt x="11868" y="310863"/>
                  <a:pt x="-26810" y="96648"/>
                  <a:pt x="17818" y="31193"/>
                </a:cubicBezTo>
                <a:cubicBezTo>
                  <a:pt x="71372" y="-55088"/>
                  <a:pt x="291537" y="49045"/>
                  <a:pt x="419471" y="203755"/>
                </a:cubicBezTo>
                <a:cubicBezTo>
                  <a:pt x="398645" y="275160"/>
                  <a:pt x="229058" y="388218"/>
                  <a:pt x="139802" y="435821"/>
                </a:cubicBezTo>
                <a:close/>
              </a:path>
            </a:pathLst>
          </a:custGeom>
          <a:solidFill>
            <a:srgbClr val="D16156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E746FA4C-B75E-41AA-8B72-DC085C543499}"/>
              </a:ext>
            </a:extLst>
          </p:cNvPr>
          <p:cNvSpPr/>
          <p:nvPr/>
        </p:nvSpPr>
        <p:spPr>
          <a:xfrm>
            <a:off x="7555226" y="3120996"/>
            <a:ext cx="797802" cy="962461"/>
          </a:xfrm>
          <a:custGeom>
            <a:avLst/>
            <a:gdLst>
              <a:gd name="connsiteX0" fmla="*/ 43181 w 797802"/>
              <a:gd name="connsiteY0" fmla="*/ 382208 h 962461"/>
              <a:gd name="connsiteX1" fmla="*/ 58057 w 797802"/>
              <a:gd name="connsiteY1" fmla="*/ 66836 h 962461"/>
              <a:gd name="connsiteX2" fmla="*/ 418057 w 797802"/>
              <a:gd name="connsiteY2" fmla="*/ 4357 h 962461"/>
              <a:gd name="connsiteX3" fmla="*/ 709627 w 797802"/>
              <a:gd name="connsiteY3" fmla="*/ 102539 h 962461"/>
              <a:gd name="connsiteX4" fmla="*/ 748305 w 797802"/>
              <a:gd name="connsiteY4" fmla="*/ 638076 h 962461"/>
              <a:gd name="connsiteX5" fmla="*/ 706652 w 797802"/>
              <a:gd name="connsiteY5" fmla="*/ 956423 h 962461"/>
              <a:gd name="connsiteX6" fmla="*/ 46156 w 797802"/>
              <a:gd name="connsiteY6" fmla="*/ 941547 h 962461"/>
              <a:gd name="connsiteX7" fmla="*/ 43181 w 797802"/>
              <a:gd name="connsiteY7" fmla="*/ 382208 h 962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97802" h="962461">
                <a:moveTo>
                  <a:pt x="43181" y="382208"/>
                </a:moveTo>
                <a:cubicBezTo>
                  <a:pt x="34255" y="352456"/>
                  <a:pt x="-57976" y="129316"/>
                  <a:pt x="58057" y="66836"/>
                </a:cubicBezTo>
                <a:cubicBezTo>
                  <a:pt x="159213" y="13283"/>
                  <a:pt x="302024" y="-10519"/>
                  <a:pt x="418057" y="4357"/>
                </a:cubicBezTo>
                <a:cubicBezTo>
                  <a:pt x="545990" y="19233"/>
                  <a:pt x="673925" y="40059"/>
                  <a:pt x="709627" y="102539"/>
                </a:cubicBezTo>
                <a:cubicBezTo>
                  <a:pt x="819710" y="284026"/>
                  <a:pt x="819710" y="444688"/>
                  <a:pt x="748305" y="638076"/>
                </a:cubicBezTo>
                <a:cubicBezTo>
                  <a:pt x="727478" y="694605"/>
                  <a:pt x="721528" y="825514"/>
                  <a:pt x="706652" y="956423"/>
                </a:cubicBezTo>
                <a:cubicBezTo>
                  <a:pt x="706652" y="956423"/>
                  <a:pt x="429957" y="977250"/>
                  <a:pt x="46156" y="941547"/>
                </a:cubicBezTo>
                <a:cubicBezTo>
                  <a:pt x="75908" y="727332"/>
                  <a:pt x="49131" y="406010"/>
                  <a:pt x="43181" y="382208"/>
                </a:cubicBezTo>
                <a:close/>
              </a:path>
            </a:pathLst>
          </a:custGeom>
          <a:solidFill>
            <a:srgbClr val="D16156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4AE2AF41-4F36-4C11-9687-E77C096D7C84}"/>
              </a:ext>
            </a:extLst>
          </p:cNvPr>
          <p:cNvSpPr/>
          <p:nvPr/>
        </p:nvSpPr>
        <p:spPr>
          <a:xfrm>
            <a:off x="7886625" y="2444357"/>
            <a:ext cx="313526" cy="576508"/>
          </a:xfrm>
          <a:custGeom>
            <a:avLst/>
            <a:gdLst>
              <a:gd name="connsiteX0" fmla="*/ 140211 w 313526"/>
              <a:gd name="connsiteY0" fmla="*/ 561987 h 576508"/>
              <a:gd name="connsiteX1" fmla="*/ 312774 w 313526"/>
              <a:gd name="connsiteY1" fmla="*/ 225789 h 576508"/>
              <a:gd name="connsiteX2" fmla="*/ 377 w 313526"/>
              <a:gd name="connsiteY2" fmla="*/ 8599 h 576508"/>
              <a:gd name="connsiteX3" fmla="*/ 36079 w 313526"/>
              <a:gd name="connsiteY3" fmla="*/ 172235 h 576508"/>
              <a:gd name="connsiteX4" fmla="*/ 83683 w 313526"/>
              <a:gd name="connsiteY4" fmla="*/ 312070 h 576508"/>
              <a:gd name="connsiteX5" fmla="*/ 140211 w 313526"/>
              <a:gd name="connsiteY5" fmla="*/ 561987 h 576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3526" h="576508">
                <a:moveTo>
                  <a:pt x="140211" y="561987"/>
                </a:moveTo>
                <a:cubicBezTo>
                  <a:pt x="291947" y="532235"/>
                  <a:pt x="318724" y="288268"/>
                  <a:pt x="312774" y="225789"/>
                </a:cubicBezTo>
                <a:cubicBezTo>
                  <a:pt x="291947" y="65128"/>
                  <a:pt x="113435" y="-30079"/>
                  <a:pt x="377" y="8599"/>
                </a:cubicBezTo>
                <a:cubicBezTo>
                  <a:pt x="-2598" y="8599"/>
                  <a:pt x="12278" y="124632"/>
                  <a:pt x="36079" y="172235"/>
                </a:cubicBezTo>
                <a:cubicBezTo>
                  <a:pt x="56906" y="216863"/>
                  <a:pt x="74757" y="264466"/>
                  <a:pt x="83683" y="312070"/>
                </a:cubicBezTo>
                <a:cubicBezTo>
                  <a:pt x="89633" y="365624"/>
                  <a:pt x="42030" y="642318"/>
                  <a:pt x="140211" y="561987"/>
                </a:cubicBezTo>
                <a:close/>
              </a:path>
            </a:pathLst>
          </a:custGeom>
          <a:solidFill>
            <a:srgbClr val="F1DDBA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C9B0DC5F-A49C-487A-AD22-696445F629AE}"/>
              </a:ext>
            </a:extLst>
          </p:cNvPr>
          <p:cNvSpPr/>
          <p:nvPr/>
        </p:nvSpPr>
        <p:spPr>
          <a:xfrm>
            <a:off x="7720390" y="2499691"/>
            <a:ext cx="412400" cy="554568"/>
          </a:xfrm>
          <a:custGeom>
            <a:avLst/>
            <a:gdLst>
              <a:gd name="connsiteX0" fmla="*/ 404628 w 412400"/>
              <a:gd name="connsiteY0" fmla="*/ 179381 h 554568"/>
              <a:gd name="connsiteX1" fmla="*/ 392728 w 412400"/>
              <a:gd name="connsiteY1" fmla="*/ 429298 h 554568"/>
              <a:gd name="connsiteX2" fmla="*/ 246942 w 412400"/>
              <a:gd name="connsiteY2" fmla="*/ 554257 h 554568"/>
              <a:gd name="connsiteX3" fmla="*/ 35703 w 412400"/>
              <a:gd name="connsiteY3" fmla="*/ 414422 h 554568"/>
              <a:gd name="connsiteX4" fmla="*/ 0 w 412400"/>
              <a:gd name="connsiteY4" fmla="*/ 194257 h 554568"/>
              <a:gd name="connsiteX5" fmla="*/ 208264 w 412400"/>
              <a:gd name="connsiteY5" fmla="*/ 868 h 554568"/>
              <a:gd name="connsiteX6" fmla="*/ 404628 w 412400"/>
              <a:gd name="connsiteY6" fmla="*/ 179381 h 554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2400" h="554568">
                <a:moveTo>
                  <a:pt x="404628" y="179381"/>
                </a:moveTo>
                <a:cubicBezTo>
                  <a:pt x="404628" y="179381"/>
                  <a:pt x="428430" y="363843"/>
                  <a:pt x="392728" y="429298"/>
                </a:cubicBezTo>
                <a:cubicBezTo>
                  <a:pt x="357025" y="494753"/>
                  <a:pt x="297521" y="551281"/>
                  <a:pt x="246942" y="554257"/>
                </a:cubicBezTo>
                <a:cubicBezTo>
                  <a:pt x="181488" y="560207"/>
                  <a:pt x="71405" y="479877"/>
                  <a:pt x="35703" y="414422"/>
                </a:cubicBezTo>
                <a:cubicBezTo>
                  <a:pt x="0" y="348967"/>
                  <a:pt x="0" y="244835"/>
                  <a:pt x="0" y="194257"/>
                </a:cubicBezTo>
                <a:cubicBezTo>
                  <a:pt x="2975" y="102025"/>
                  <a:pt x="29752" y="24670"/>
                  <a:pt x="208264" y="868"/>
                </a:cubicBezTo>
                <a:cubicBezTo>
                  <a:pt x="294545" y="-11033"/>
                  <a:pt x="386777" y="102025"/>
                  <a:pt x="404628" y="179381"/>
                </a:cubicBezTo>
                <a:close/>
              </a:path>
            </a:pathLst>
          </a:custGeom>
          <a:solidFill>
            <a:srgbClr val="F5A398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F6E24FA4-97BF-40C3-B46E-F061AA03132D}"/>
              </a:ext>
            </a:extLst>
          </p:cNvPr>
          <p:cNvSpPr/>
          <p:nvPr/>
        </p:nvSpPr>
        <p:spPr>
          <a:xfrm>
            <a:off x="7940555" y="2765353"/>
            <a:ext cx="53554" cy="127933"/>
          </a:xfrm>
          <a:custGeom>
            <a:avLst/>
            <a:gdLst>
              <a:gd name="connsiteX0" fmla="*/ 29752 w 53554"/>
              <a:gd name="connsiteY0" fmla="*/ 127934 h 127933"/>
              <a:gd name="connsiteX1" fmla="*/ 5951 w 53554"/>
              <a:gd name="connsiteY1" fmla="*/ 124959 h 127933"/>
              <a:gd name="connsiteX2" fmla="*/ 0 w 53554"/>
              <a:gd name="connsiteY2" fmla="*/ 119008 h 127933"/>
              <a:gd name="connsiteX3" fmla="*/ 5951 w 53554"/>
              <a:gd name="connsiteY3" fmla="*/ 113058 h 127933"/>
              <a:gd name="connsiteX4" fmla="*/ 44628 w 53554"/>
              <a:gd name="connsiteY4" fmla="*/ 113058 h 127933"/>
              <a:gd name="connsiteX5" fmla="*/ 44628 w 53554"/>
              <a:gd name="connsiteY5" fmla="*/ 110083 h 127933"/>
              <a:gd name="connsiteX6" fmla="*/ 17851 w 53554"/>
              <a:gd name="connsiteY6" fmla="*/ 5950 h 127933"/>
              <a:gd name="connsiteX7" fmla="*/ 20827 w 53554"/>
              <a:gd name="connsiteY7" fmla="*/ 0 h 127933"/>
              <a:gd name="connsiteX8" fmla="*/ 26777 w 53554"/>
              <a:gd name="connsiteY8" fmla="*/ 2975 h 127933"/>
              <a:gd name="connsiteX9" fmla="*/ 53554 w 53554"/>
              <a:gd name="connsiteY9" fmla="*/ 110083 h 127933"/>
              <a:gd name="connsiteX10" fmla="*/ 47603 w 53554"/>
              <a:gd name="connsiteY10" fmla="*/ 121983 h 127933"/>
              <a:gd name="connsiteX11" fmla="*/ 29752 w 53554"/>
              <a:gd name="connsiteY11" fmla="*/ 127934 h 127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554" h="127933">
                <a:moveTo>
                  <a:pt x="29752" y="127934"/>
                </a:moveTo>
                <a:cubicBezTo>
                  <a:pt x="17851" y="127934"/>
                  <a:pt x="8926" y="124959"/>
                  <a:pt x="5951" y="124959"/>
                </a:cubicBezTo>
                <a:cubicBezTo>
                  <a:pt x="2975" y="124959"/>
                  <a:pt x="0" y="121983"/>
                  <a:pt x="0" y="119008"/>
                </a:cubicBezTo>
                <a:cubicBezTo>
                  <a:pt x="0" y="116033"/>
                  <a:pt x="2975" y="113058"/>
                  <a:pt x="5951" y="113058"/>
                </a:cubicBezTo>
                <a:cubicBezTo>
                  <a:pt x="17851" y="116033"/>
                  <a:pt x="38678" y="116033"/>
                  <a:pt x="44628" y="113058"/>
                </a:cubicBezTo>
                <a:cubicBezTo>
                  <a:pt x="44628" y="113058"/>
                  <a:pt x="44628" y="110083"/>
                  <a:pt x="44628" y="110083"/>
                </a:cubicBezTo>
                <a:cubicBezTo>
                  <a:pt x="44628" y="95207"/>
                  <a:pt x="23802" y="29752"/>
                  <a:pt x="17851" y="5950"/>
                </a:cubicBezTo>
                <a:cubicBezTo>
                  <a:pt x="17851" y="2975"/>
                  <a:pt x="17851" y="0"/>
                  <a:pt x="20827" y="0"/>
                </a:cubicBezTo>
                <a:cubicBezTo>
                  <a:pt x="23802" y="0"/>
                  <a:pt x="26777" y="0"/>
                  <a:pt x="26777" y="2975"/>
                </a:cubicBezTo>
                <a:cubicBezTo>
                  <a:pt x="26777" y="5950"/>
                  <a:pt x="53554" y="89256"/>
                  <a:pt x="53554" y="110083"/>
                </a:cubicBezTo>
                <a:cubicBezTo>
                  <a:pt x="53554" y="116033"/>
                  <a:pt x="50579" y="119008"/>
                  <a:pt x="47603" y="121983"/>
                </a:cubicBezTo>
                <a:cubicBezTo>
                  <a:pt x="47603" y="124959"/>
                  <a:pt x="38678" y="127934"/>
                  <a:pt x="29752" y="127934"/>
                </a:cubicBezTo>
                <a:close/>
              </a:path>
            </a:pathLst>
          </a:custGeom>
          <a:solidFill>
            <a:srgbClr val="E58777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CB7DC4E7-80E9-4AF7-A921-EEED77DF8C45}"/>
              </a:ext>
            </a:extLst>
          </p:cNvPr>
          <p:cNvSpPr/>
          <p:nvPr/>
        </p:nvSpPr>
        <p:spPr>
          <a:xfrm>
            <a:off x="7913779" y="2940890"/>
            <a:ext cx="104132" cy="53553"/>
          </a:xfrm>
          <a:custGeom>
            <a:avLst/>
            <a:gdLst>
              <a:gd name="connsiteX0" fmla="*/ 0 w 104132"/>
              <a:gd name="connsiteY0" fmla="*/ 0 h 53553"/>
              <a:gd name="connsiteX1" fmla="*/ 104132 w 104132"/>
              <a:gd name="connsiteY1" fmla="*/ 0 h 53553"/>
              <a:gd name="connsiteX2" fmla="*/ 53553 w 104132"/>
              <a:gd name="connsiteY2" fmla="*/ 53554 h 53553"/>
              <a:gd name="connsiteX3" fmla="*/ 0 w 104132"/>
              <a:gd name="connsiteY3" fmla="*/ 0 h 53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132" h="53553">
                <a:moveTo>
                  <a:pt x="0" y="0"/>
                </a:moveTo>
                <a:cubicBezTo>
                  <a:pt x="53553" y="23802"/>
                  <a:pt x="104132" y="0"/>
                  <a:pt x="104132" y="0"/>
                </a:cubicBezTo>
                <a:cubicBezTo>
                  <a:pt x="104132" y="0"/>
                  <a:pt x="89256" y="53554"/>
                  <a:pt x="53553" y="53554"/>
                </a:cubicBezTo>
                <a:cubicBezTo>
                  <a:pt x="11901" y="50578"/>
                  <a:pt x="0" y="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49020BFC-51C9-4FBE-9B0A-33864B6FD06D}"/>
              </a:ext>
            </a:extLst>
          </p:cNvPr>
          <p:cNvSpPr/>
          <p:nvPr/>
        </p:nvSpPr>
        <p:spPr>
          <a:xfrm>
            <a:off x="8029812" y="2735017"/>
            <a:ext cx="39436" cy="40019"/>
          </a:xfrm>
          <a:custGeom>
            <a:avLst/>
            <a:gdLst>
              <a:gd name="connsiteX0" fmla="*/ 0 w 39436"/>
              <a:gd name="connsiteY0" fmla="*/ 24385 h 40019"/>
              <a:gd name="connsiteX1" fmla="*/ 23802 w 39436"/>
              <a:gd name="connsiteY1" fmla="*/ 39261 h 40019"/>
              <a:gd name="connsiteX2" fmla="*/ 38678 w 39436"/>
              <a:gd name="connsiteY2" fmla="*/ 15460 h 40019"/>
              <a:gd name="connsiteX3" fmla="*/ 14876 w 39436"/>
              <a:gd name="connsiteY3" fmla="*/ 584 h 40019"/>
              <a:gd name="connsiteX4" fmla="*/ 0 w 39436"/>
              <a:gd name="connsiteY4" fmla="*/ 24385 h 4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36" h="40019">
                <a:moveTo>
                  <a:pt x="0" y="24385"/>
                </a:moveTo>
                <a:cubicBezTo>
                  <a:pt x="2975" y="36286"/>
                  <a:pt x="11901" y="42237"/>
                  <a:pt x="23802" y="39261"/>
                </a:cubicBezTo>
                <a:cubicBezTo>
                  <a:pt x="35703" y="36286"/>
                  <a:pt x="41653" y="27360"/>
                  <a:pt x="38678" y="15460"/>
                </a:cubicBezTo>
                <a:cubicBezTo>
                  <a:pt x="35703" y="6534"/>
                  <a:pt x="26777" y="-2392"/>
                  <a:pt x="14876" y="584"/>
                </a:cubicBezTo>
                <a:cubicBezTo>
                  <a:pt x="5951" y="3559"/>
                  <a:pt x="0" y="15460"/>
                  <a:pt x="0" y="24385"/>
                </a:cubicBezTo>
                <a:close/>
              </a:path>
            </a:pathLst>
          </a:custGeom>
          <a:solidFill>
            <a:srgbClr val="38333D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CAEFB12B-C615-4B9A-B27E-817DF265EE56}"/>
              </a:ext>
            </a:extLst>
          </p:cNvPr>
          <p:cNvSpPr/>
          <p:nvPr/>
        </p:nvSpPr>
        <p:spPr>
          <a:xfrm>
            <a:off x="7844591" y="2740793"/>
            <a:ext cx="40193" cy="40194"/>
          </a:xfrm>
          <a:custGeom>
            <a:avLst/>
            <a:gdLst>
              <a:gd name="connsiteX0" fmla="*/ 758 w 40193"/>
              <a:gd name="connsiteY0" fmla="*/ 24560 h 40194"/>
              <a:gd name="connsiteX1" fmla="*/ 24560 w 40193"/>
              <a:gd name="connsiteY1" fmla="*/ 39436 h 40194"/>
              <a:gd name="connsiteX2" fmla="*/ 39436 w 40193"/>
              <a:gd name="connsiteY2" fmla="*/ 15634 h 40194"/>
              <a:gd name="connsiteX3" fmla="*/ 15634 w 40193"/>
              <a:gd name="connsiteY3" fmla="*/ 758 h 40194"/>
              <a:gd name="connsiteX4" fmla="*/ 758 w 40193"/>
              <a:gd name="connsiteY4" fmla="*/ 24560 h 40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193" h="40194">
                <a:moveTo>
                  <a:pt x="758" y="24560"/>
                </a:moveTo>
                <a:cubicBezTo>
                  <a:pt x="3733" y="36461"/>
                  <a:pt x="12659" y="42411"/>
                  <a:pt x="24560" y="39436"/>
                </a:cubicBezTo>
                <a:cubicBezTo>
                  <a:pt x="36460" y="36461"/>
                  <a:pt x="42411" y="27535"/>
                  <a:pt x="39436" y="15634"/>
                </a:cubicBezTo>
                <a:cubicBezTo>
                  <a:pt x="36460" y="3733"/>
                  <a:pt x="27535" y="-2217"/>
                  <a:pt x="15634" y="758"/>
                </a:cubicBezTo>
                <a:cubicBezTo>
                  <a:pt x="3733" y="3733"/>
                  <a:pt x="-2217" y="15634"/>
                  <a:pt x="758" y="24560"/>
                </a:cubicBezTo>
                <a:close/>
              </a:path>
            </a:pathLst>
          </a:custGeom>
          <a:solidFill>
            <a:srgbClr val="38333D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6B2A93CD-8C3D-4181-AB36-548E717C29C6}"/>
              </a:ext>
            </a:extLst>
          </p:cNvPr>
          <p:cNvSpPr/>
          <p:nvPr/>
        </p:nvSpPr>
        <p:spPr>
          <a:xfrm>
            <a:off x="8004778" y="2690973"/>
            <a:ext cx="89744" cy="29752"/>
          </a:xfrm>
          <a:custGeom>
            <a:avLst/>
            <a:gdLst>
              <a:gd name="connsiteX0" fmla="*/ 81562 w 89744"/>
              <a:gd name="connsiteY0" fmla="*/ 29752 h 29752"/>
              <a:gd name="connsiteX1" fmla="*/ 75613 w 89744"/>
              <a:gd name="connsiteY1" fmla="*/ 26777 h 29752"/>
              <a:gd name="connsiteX2" fmla="*/ 10158 w 89744"/>
              <a:gd name="connsiteY2" fmla="*/ 20826 h 29752"/>
              <a:gd name="connsiteX3" fmla="*/ 1232 w 89744"/>
              <a:gd name="connsiteY3" fmla="*/ 17851 h 29752"/>
              <a:gd name="connsiteX4" fmla="*/ 4208 w 89744"/>
              <a:gd name="connsiteY4" fmla="*/ 8926 h 29752"/>
              <a:gd name="connsiteX5" fmla="*/ 87513 w 89744"/>
              <a:gd name="connsiteY5" fmla="*/ 17851 h 29752"/>
              <a:gd name="connsiteX6" fmla="*/ 87513 w 89744"/>
              <a:gd name="connsiteY6" fmla="*/ 29752 h 29752"/>
              <a:gd name="connsiteX7" fmla="*/ 81562 w 89744"/>
              <a:gd name="connsiteY7" fmla="*/ 29752 h 29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744" h="29752">
                <a:moveTo>
                  <a:pt x="81562" y="29752"/>
                </a:moveTo>
                <a:cubicBezTo>
                  <a:pt x="78588" y="29752"/>
                  <a:pt x="78588" y="29752"/>
                  <a:pt x="75613" y="26777"/>
                </a:cubicBezTo>
                <a:cubicBezTo>
                  <a:pt x="51810" y="0"/>
                  <a:pt x="13133" y="17851"/>
                  <a:pt x="10158" y="20826"/>
                </a:cubicBezTo>
                <a:cubicBezTo>
                  <a:pt x="7182" y="23802"/>
                  <a:pt x="1232" y="20826"/>
                  <a:pt x="1232" y="17851"/>
                </a:cubicBezTo>
                <a:cubicBezTo>
                  <a:pt x="-1743" y="14876"/>
                  <a:pt x="1232" y="8926"/>
                  <a:pt x="4208" y="8926"/>
                </a:cubicBezTo>
                <a:cubicBezTo>
                  <a:pt x="22058" y="0"/>
                  <a:pt x="60737" y="-8926"/>
                  <a:pt x="87513" y="17851"/>
                </a:cubicBezTo>
                <a:cubicBezTo>
                  <a:pt x="90489" y="20826"/>
                  <a:pt x="90489" y="26777"/>
                  <a:pt x="87513" y="29752"/>
                </a:cubicBezTo>
                <a:cubicBezTo>
                  <a:pt x="84538" y="29752"/>
                  <a:pt x="84538" y="29752"/>
                  <a:pt x="81562" y="29752"/>
                </a:cubicBezTo>
                <a:close/>
              </a:path>
            </a:pathLst>
          </a:custGeom>
          <a:solidFill>
            <a:srgbClr val="664540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A9CB3360-F5D4-4809-9219-7AE0B6365B04}"/>
              </a:ext>
            </a:extLst>
          </p:cNvPr>
          <p:cNvSpPr/>
          <p:nvPr/>
        </p:nvSpPr>
        <p:spPr>
          <a:xfrm>
            <a:off x="7819316" y="2688989"/>
            <a:ext cx="89744" cy="34710"/>
          </a:xfrm>
          <a:custGeom>
            <a:avLst/>
            <a:gdLst>
              <a:gd name="connsiteX0" fmla="*/ 8182 w 89744"/>
              <a:gd name="connsiteY0" fmla="*/ 34711 h 34710"/>
              <a:gd name="connsiteX1" fmla="*/ 2232 w 89744"/>
              <a:gd name="connsiteY1" fmla="*/ 31736 h 34710"/>
              <a:gd name="connsiteX2" fmla="*/ 2232 w 89744"/>
              <a:gd name="connsiteY2" fmla="*/ 19835 h 34710"/>
              <a:gd name="connsiteX3" fmla="*/ 85538 w 89744"/>
              <a:gd name="connsiteY3" fmla="*/ 10909 h 34710"/>
              <a:gd name="connsiteX4" fmla="*/ 88512 w 89744"/>
              <a:gd name="connsiteY4" fmla="*/ 22810 h 34710"/>
              <a:gd name="connsiteX5" fmla="*/ 76612 w 89744"/>
              <a:gd name="connsiteY5" fmla="*/ 25785 h 34710"/>
              <a:gd name="connsiteX6" fmla="*/ 11158 w 89744"/>
              <a:gd name="connsiteY6" fmla="*/ 31736 h 34710"/>
              <a:gd name="connsiteX7" fmla="*/ 8182 w 89744"/>
              <a:gd name="connsiteY7" fmla="*/ 34711 h 34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744" h="34710">
                <a:moveTo>
                  <a:pt x="8182" y="34711"/>
                </a:moveTo>
                <a:cubicBezTo>
                  <a:pt x="5207" y="34711"/>
                  <a:pt x="5207" y="34711"/>
                  <a:pt x="2232" y="31736"/>
                </a:cubicBezTo>
                <a:cubicBezTo>
                  <a:pt x="-744" y="28760"/>
                  <a:pt x="-744" y="22810"/>
                  <a:pt x="2232" y="19835"/>
                </a:cubicBezTo>
                <a:cubicBezTo>
                  <a:pt x="14132" y="7934"/>
                  <a:pt x="49835" y="-12893"/>
                  <a:pt x="85538" y="10909"/>
                </a:cubicBezTo>
                <a:cubicBezTo>
                  <a:pt x="88512" y="13884"/>
                  <a:pt x="91488" y="16860"/>
                  <a:pt x="88512" y="22810"/>
                </a:cubicBezTo>
                <a:cubicBezTo>
                  <a:pt x="85538" y="25785"/>
                  <a:pt x="82562" y="28760"/>
                  <a:pt x="76612" y="25785"/>
                </a:cubicBezTo>
                <a:cubicBezTo>
                  <a:pt x="40910" y="1983"/>
                  <a:pt x="14132" y="31736"/>
                  <a:pt x="11158" y="31736"/>
                </a:cubicBezTo>
                <a:cubicBezTo>
                  <a:pt x="11158" y="31736"/>
                  <a:pt x="8182" y="34711"/>
                  <a:pt x="8182" y="34711"/>
                </a:cubicBezTo>
                <a:close/>
              </a:path>
            </a:pathLst>
          </a:custGeom>
          <a:solidFill>
            <a:srgbClr val="664540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33E0C148-5D77-4D6D-B3F8-83CFD3741599}"/>
              </a:ext>
            </a:extLst>
          </p:cNvPr>
          <p:cNvSpPr/>
          <p:nvPr/>
        </p:nvSpPr>
        <p:spPr>
          <a:xfrm>
            <a:off x="7883945" y="2450865"/>
            <a:ext cx="267849" cy="269860"/>
          </a:xfrm>
          <a:custGeom>
            <a:avLst/>
            <a:gdLst>
              <a:gd name="connsiteX0" fmla="*/ 3057 w 267849"/>
              <a:gd name="connsiteY0" fmla="*/ 2091 h 269860"/>
              <a:gd name="connsiteX1" fmla="*/ 35784 w 267849"/>
              <a:gd name="connsiteY1" fmla="*/ 144901 h 269860"/>
              <a:gd name="connsiteX2" fmla="*/ 267850 w 267849"/>
              <a:gd name="connsiteY2" fmla="*/ 269860 h 269860"/>
              <a:gd name="connsiteX3" fmla="*/ 3057 w 267849"/>
              <a:gd name="connsiteY3" fmla="*/ 2091 h 26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7849" h="269860">
                <a:moveTo>
                  <a:pt x="3057" y="2091"/>
                </a:moveTo>
                <a:cubicBezTo>
                  <a:pt x="3057" y="2091"/>
                  <a:pt x="-14795" y="106224"/>
                  <a:pt x="35784" y="144901"/>
                </a:cubicBezTo>
                <a:cubicBezTo>
                  <a:pt x="35784" y="144901"/>
                  <a:pt x="241073" y="186554"/>
                  <a:pt x="267850" y="269860"/>
                </a:cubicBezTo>
                <a:cubicBezTo>
                  <a:pt x="264874" y="269860"/>
                  <a:pt x="285701" y="-27661"/>
                  <a:pt x="3057" y="2091"/>
                </a:cubicBezTo>
                <a:close/>
              </a:path>
            </a:pathLst>
          </a:custGeom>
          <a:solidFill>
            <a:srgbClr val="F1DDBA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DB827FD3-9BCD-43CB-8231-DB548828ED7F}"/>
              </a:ext>
            </a:extLst>
          </p:cNvPr>
          <p:cNvSpPr/>
          <p:nvPr/>
        </p:nvSpPr>
        <p:spPr>
          <a:xfrm>
            <a:off x="7626801" y="2452956"/>
            <a:ext cx="289952" cy="342597"/>
          </a:xfrm>
          <a:custGeom>
            <a:avLst/>
            <a:gdLst>
              <a:gd name="connsiteX0" fmla="*/ 289953 w 289952"/>
              <a:gd name="connsiteY0" fmla="*/ 142810 h 342597"/>
              <a:gd name="connsiteX1" fmla="*/ 153093 w 289952"/>
              <a:gd name="connsiteY1" fmla="*/ 196364 h 342597"/>
              <a:gd name="connsiteX2" fmla="*/ 96564 w 289952"/>
              <a:gd name="connsiteY2" fmla="*/ 312397 h 342597"/>
              <a:gd name="connsiteX3" fmla="*/ 10283 w 289952"/>
              <a:gd name="connsiteY3" fmla="*/ 333223 h 342597"/>
              <a:gd name="connsiteX4" fmla="*/ 260201 w 289952"/>
              <a:gd name="connsiteY4" fmla="*/ 0 h 342597"/>
              <a:gd name="connsiteX5" fmla="*/ 289953 w 289952"/>
              <a:gd name="connsiteY5" fmla="*/ 142810 h 342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9952" h="342597">
                <a:moveTo>
                  <a:pt x="289953" y="142810"/>
                </a:moveTo>
                <a:cubicBezTo>
                  <a:pt x="289953" y="142810"/>
                  <a:pt x="200696" y="190413"/>
                  <a:pt x="153093" y="196364"/>
                </a:cubicBezTo>
                <a:cubicBezTo>
                  <a:pt x="102514" y="202314"/>
                  <a:pt x="96564" y="312397"/>
                  <a:pt x="96564" y="312397"/>
                </a:cubicBezTo>
                <a:cubicBezTo>
                  <a:pt x="96564" y="312397"/>
                  <a:pt x="25159" y="362975"/>
                  <a:pt x="10283" y="333223"/>
                </a:cubicBezTo>
                <a:cubicBezTo>
                  <a:pt x="-22444" y="267769"/>
                  <a:pt x="13258" y="0"/>
                  <a:pt x="260201" y="0"/>
                </a:cubicBezTo>
                <a:cubicBezTo>
                  <a:pt x="260201" y="0"/>
                  <a:pt x="266150" y="136860"/>
                  <a:pt x="289953" y="142810"/>
                </a:cubicBezTo>
                <a:close/>
              </a:path>
            </a:pathLst>
          </a:custGeom>
          <a:solidFill>
            <a:srgbClr val="F1DDBA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CC24323C-502F-454D-9579-0A0E63C03C13}"/>
              </a:ext>
            </a:extLst>
          </p:cNvPr>
          <p:cNvSpPr/>
          <p:nvPr/>
        </p:nvSpPr>
        <p:spPr>
          <a:xfrm>
            <a:off x="7773944" y="2449981"/>
            <a:ext cx="150082" cy="205289"/>
          </a:xfrm>
          <a:custGeom>
            <a:avLst/>
            <a:gdLst>
              <a:gd name="connsiteX0" fmla="*/ 5951 w 150082"/>
              <a:gd name="connsiteY0" fmla="*/ 205289 h 205289"/>
              <a:gd name="connsiteX1" fmla="*/ 0 w 150082"/>
              <a:gd name="connsiteY1" fmla="*/ 199339 h 205289"/>
              <a:gd name="connsiteX2" fmla="*/ 5951 w 150082"/>
              <a:gd name="connsiteY2" fmla="*/ 193388 h 205289"/>
              <a:gd name="connsiteX3" fmla="*/ 98182 w 150082"/>
              <a:gd name="connsiteY3" fmla="*/ 163636 h 205289"/>
              <a:gd name="connsiteX4" fmla="*/ 136860 w 150082"/>
              <a:gd name="connsiteY4" fmla="*/ 142810 h 205289"/>
              <a:gd name="connsiteX5" fmla="*/ 121984 w 150082"/>
              <a:gd name="connsiteY5" fmla="*/ 121983 h 205289"/>
              <a:gd name="connsiteX6" fmla="*/ 110083 w 150082"/>
              <a:gd name="connsiteY6" fmla="*/ 80331 h 205289"/>
              <a:gd name="connsiteX7" fmla="*/ 107108 w 150082"/>
              <a:gd name="connsiteY7" fmla="*/ 41653 h 205289"/>
              <a:gd name="connsiteX8" fmla="*/ 104132 w 150082"/>
              <a:gd name="connsiteY8" fmla="*/ 5950 h 205289"/>
              <a:gd name="connsiteX9" fmla="*/ 110083 w 150082"/>
              <a:gd name="connsiteY9" fmla="*/ 0 h 205289"/>
              <a:gd name="connsiteX10" fmla="*/ 116034 w 150082"/>
              <a:gd name="connsiteY10" fmla="*/ 5950 h 205289"/>
              <a:gd name="connsiteX11" fmla="*/ 119008 w 150082"/>
              <a:gd name="connsiteY11" fmla="*/ 44628 h 205289"/>
              <a:gd name="connsiteX12" fmla="*/ 121984 w 150082"/>
              <a:gd name="connsiteY12" fmla="*/ 80331 h 205289"/>
              <a:gd name="connsiteX13" fmla="*/ 130910 w 150082"/>
              <a:gd name="connsiteY13" fmla="*/ 119008 h 205289"/>
              <a:gd name="connsiteX14" fmla="*/ 148760 w 150082"/>
              <a:gd name="connsiteY14" fmla="*/ 142810 h 205289"/>
              <a:gd name="connsiteX15" fmla="*/ 148760 w 150082"/>
              <a:gd name="connsiteY15" fmla="*/ 145785 h 205289"/>
              <a:gd name="connsiteX16" fmla="*/ 145786 w 150082"/>
              <a:gd name="connsiteY16" fmla="*/ 148760 h 205289"/>
              <a:gd name="connsiteX17" fmla="*/ 101158 w 150082"/>
              <a:gd name="connsiteY17" fmla="*/ 172562 h 205289"/>
              <a:gd name="connsiteX18" fmla="*/ 5951 w 150082"/>
              <a:gd name="connsiteY18" fmla="*/ 205289 h 205289"/>
              <a:gd name="connsiteX19" fmla="*/ 5951 w 150082"/>
              <a:gd name="connsiteY19" fmla="*/ 205289 h 205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50082" h="205289">
                <a:moveTo>
                  <a:pt x="5951" y="205289"/>
                </a:moveTo>
                <a:cubicBezTo>
                  <a:pt x="2975" y="205289"/>
                  <a:pt x="0" y="202314"/>
                  <a:pt x="0" y="199339"/>
                </a:cubicBezTo>
                <a:cubicBezTo>
                  <a:pt x="0" y="196364"/>
                  <a:pt x="2975" y="193388"/>
                  <a:pt x="5951" y="193388"/>
                </a:cubicBezTo>
                <a:cubicBezTo>
                  <a:pt x="38678" y="187438"/>
                  <a:pt x="74380" y="172562"/>
                  <a:pt x="98182" y="163636"/>
                </a:cubicBezTo>
                <a:cubicBezTo>
                  <a:pt x="116034" y="154711"/>
                  <a:pt x="127934" y="148760"/>
                  <a:pt x="136860" y="142810"/>
                </a:cubicBezTo>
                <a:cubicBezTo>
                  <a:pt x="130910" y="136860"/>
                  <a:pt x="124959" y="130909"/>
                  <a:pt x="121984" y="121983"/>
                </a:cubicBezTo>
                <a:cubicBezTo>
                  <a:pt x="116034" y="107107"/>
                  <a:pt x="113058" y="92231"/>
                  <a:pt x="110083" y="80331"/>
                </a:cubicBezTo>
                <a:cubicBezTo>
                  <a:pt x="110083" y="74380"/>
                  <a:pt x="110083" y="59504"/>
                  <a:pt x="107108" y="41653"/>
                </a:cubicBezTo>
                <a:cubicBezTo>
                  <a:pt x="107108" y="26777"/>
                  <a:pt x="107108" y="11901"/>
                  <a:pt x="104132" y="5950"/>
                </a:cubicBezTo>
                <a:cubicBezTo>
                  <a:pt x="104132" y="2975"/>
                  <a:pt x="107108" y="0"/>
                  <a:pt x="110083" y="0"/>
                </a:cubicBezTo>
                <a:cubicBezTo>
                  <a:pt x="113058" y="0"/>
                  <a:pt x="116034" y="2975"/>
                  <a:pt x="116034" y="5950"/>
                </a:cubicBezTo>
                <a:cubicBezTo>
                  <a:pt x="116034" y="11901"/>
                  <a:pt x="116034" y="26777"/>
                  <a:pt x="119008" y="44628"/>
                </a:cubicBezTo>
                <a:cubicBezTo>
                  <a:pt x="119008" y="59504"/>
                  <a:pt x="119008" y="74380"/>
                  <a:pt x="121984" y="80331"/>
                </a:cubicBezTo>
                <a:cubicBezTo>
                  <a:pt x="124959" y="95207"/>
                  <a:pt x="124959" y="107107"/>
                  <a:pt x="130910" y="119008"/>
                </a:cubicBezTo>
                <a:cubicBezTo>
                  <a:pt x="133884" y="127934"/>
                  <a:pt x="142810" y="133884"/>
                  <a:pt x="148760" y="142810"/>
                </a:cubicBezTo>
                <a:cubicBezTo>
                  <a:pt x="148760" y="142810"/>
                  <a:pt x="151736" y="145785"/>
                  <a:pt x="148760" y="145785"/>
                </a:cubicBezTo>
                <a:cubicBezTo>
                  <a:pt x="148760" y="148760"/>
                  <a:pt x="148760" y="148760"/>
                  <a:pt x="145786" y="148760"/>
                </a:cubicBezTo>
                <a:cubicBezTo>
                  <a:pt x="145786" y="148760"/>
                  <a:pt x="127934" y="160661"/>
                  <a:pt x="101158" y="172562"/>
                </a:cubicBezTo>
                <a:cubicBezTo>
                  <a:pt x="77356" y="184463"/>
                  <a:pt x="41654" y="199339"/>
                  <a:pt x="5951" y="205289"/>
                </a:cubicBezTo>
                <a:cubicBezTo>
                  <a:pt x="5951" y="205289"/>
                  <a:pt x="5951" y="205289"/>
                  <a:pt x="5951" y="205289"/>
                </a:cubicBezTo>
                <a:close/>
              </a:path>
            </a:pathLst>
          </a:custGeom>
          <a:solidFill>
            <a:srgbClr val="6C5D68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3F872B5B-A1F7-44B9-A954-C7E02BA0A834}"/>
              </a:ext>
            </a:extLst>
          </p:cNvPr>
          <p:cNvSpPr/>
          <p:nvPr/>
        </p:nvSpPr>
        <p:spPr>
          <a:xfrm>
            <a:off x="7776919" y="2946840"/>
            <a:ext cx="303471" cy="318347"/>
          </a:xfrm>
          <a:custGeom>
            <a:avLst/>
            <a:gdLst>
              <a:gd name="connsiteX0" fmla="*/ 249917 w 303471"/>
              <a:gd name="connsiteY0" fmla="*/ 59504 h 318347"/>
              <a:gd name="connsiteX1" fmla="*/ 303471 w 303471"/>
              <a:gd name="connsiteY1" fmla="*/ 196364 h 318347"/>
              <a:gd name="connsiteX2" fmla="*/ 190413 w 303471"/>
              <a:gd name="connsiteY2" fmla="*/ 318347 h 318347"/>
              <a:gd name="connsiteX3" fmla="*/ 0 w 303471"/>
              <a:gd name="connsiteY3" fmla="*/ 181488 h 318347"/>
              <a:gd name="connsiteX4" fmla="*/ 50579 w 303471"/>
              <a:gd name="connsiteY4" fmla="*/ 0 h 318347"/>
              <a:gd name="connsiteX5" fmla="*/ 249917 w 303471"/>
              <a:gd name="connsiteY5" fmla="*/ 59504 h 318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3471" h="318347">
                <a:moveTo>
                  <a:pt x="249917" y="59504"/>
                </a:moveTo>
                <a:cubicBezTo>
                  <a:pt x="249917" y="59504"/>
                  <a:pt x="243967" y="166612"/>
                  <a:pt x="303471" y="196364"/>
                </a:cubicBezTo>
                <a:lnTo>
                  <a:pt x="190413" y="318347"/>
                </a:lnTo>
                <a:cubicBezTo>
                  <a:pt x="190413" y="318347"/>
                  <a:pt x="53554" y="211240"/>
                  <a:pt x="0" y="181488"/>
                </a:cubicBezTo>
                <a:cubicBezTo>
                  <a:pt x="53554" y="139835"/>
                  <a:pt x="50579" y="59504"/>
                  <a:pt x="50579" y="0"/>
                </a:cubicBezTo>
                <a:cubicBezTo>
                  <a:pt x="50579" y="0"/>
                  <a:pt x="196364" y="68430"/>
                  <a:pt x="249917" y="59504"/>
                </a:cubicBezTo>
                <a:close/>
              </a:path>
            </a:pathLst>
          </a:custGeom>
          <a:solidFill>
            <a:srgbClr val="F5A398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5307628C-F06D-479D-931D-33364A8A2702}"/>
              </a:ext>
            </a:extLst>
          </p:cNvPr>
          <p:cNvSpPr/>
          <p:nvPr/>
        </p:nvSpPr>
        <p:spPr>
          <a:xfrm>
            <a:off x="7818572" y="2985518"/>
            <a:ext cx="216446" cy="77355"/>
          </a:xfrm>
          <a:custGeom>
            <a:avLst/>
            <a:gdLst>
              <a:gd name="connsiteX0" fmla="*/ 145786 w 216446"/>
              <a:gd name="connsiteY0" fmla="*/ 77355 h 77355"/>
              <a:gd name="connsiteX1" fmla="*/ 136860 w 216446"/>
              <a:gd name="connsiteY1" fmla="*/ 77355 h 77355"/>
              <a:gd name="connsiteX2" fmla="*/ 2975 w 216446"/>
              <a:gd name="connsiteY2" fmla="*/ 11901 h 77355"/>
              <a:gd name="connsiteX3" fmla="*/ 0 w 216446"/>
              <a:gd name="connsiteY3" fmla="*/ 2975 h 77355"/>
              <a:gd name="connsiteX4" fmla="*/ 8926 w 216446"/>
              <a:gd name="connsiteY4" fmla="*/ 0 h 77355"/>
              <a:gd name="connsiteX5" fmla="*/ 136860 w 216446"/>
              <a:gd name="connsiteY5" fmla="*/ 65454 h 77355"/>
              <a:gd name="connsiteX6" fmla="*/ 205290 w 216446"/>
              <a:gd name="connsiteY6" fmla="*/ 41653 h 77355"/>
              <a:gd name="connsiteX7" fmla="*/ 214215 w 216446"/>
              <a:gd name="connsiteY7" fmla="*/ 41653 h 77355"/>
              <a:gd name="connsiteX8" fmla="*/ 214215 w 216446"/>
              <a:gd name="connsiteY8" fmla="*/ 50578 h 77355"/>
              <a:gd name="connsiteX9" fmla="*/ 145786 w 216446"/>
              <a:gd name="connsiteY9" fmla="*/ 77355 h 77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6446" h="77355">
                <a:moveTo>
                  <a:pt x="145786" y="77355"/>
                </a:moveTo>
                <a:cubicBezTo>
                  <a:pt x="142810" y="77355"/>
                  <a:pt x="139835" y="77355"/>
                  <a:pt x="136860" y="77355"/>
                </a:cubicBezTo>
                <a:cubicBezTo>
                  <a:pt x="95207" y="71405"/>
                  <a:pt x="5951" y="11901"/>
                  <a:pt x="2975" y="11901"/>
                </a:cubicBezTo>
                <a:cubicBezTo>
                  <a:pt x="0" y="8926"/>
                  <a:pt x="0" y="5950"/>
                  <a:pt x="0" y="2975"/>
                </a:cubicBezTo>
                <a:cubicBezTo>
                  <a:pt x="2975" y="0"/>
                  <a:pt x="5951" y="0"/>
                  <a:pt x="8926" y="0"/>
                </a:cubicBezTo>
                <a:cubicBezTo>
                  <a:pt x="8926" y="0"/>
                  <a:pt x="101158" y="59504"/>
                  <a:pt x="136860" y="65454"/>
                </a:cubicBezTo>
                <a:cubicBezTo>
                  <a:pt x="172563" y="71405"/>
                  <a:pt x="205290" y="41653"/>
                  <a:pt x="205290" y="41653"/>
                </a:cubicBezTo>
                <a:cubicBezTo>
                  <a:pt x="208264" y="38678"/>
                  <a:pt x="211240" y="38678"/>
                  <a:pt x="214215" y="41653"/>
                </a:cubicBezTo>
                <a:cubicBezTo>
                  <a:pt x="217191" y="44628"/>
                  <a:pt x="217191" y="47603"/>
                  <a:pt x="214215" y="50578"/>
                </a:cubicBezTo>
                <a:cubicBezTo>
                  <a:pt x="211240" y="50578"/>
                  <a:pt x="184463" y="77355"/>
                  <a:pt x="145786" y="77355"/>
                </a:cubicBezTo>
                <a:close/>
              </a:path>
            </a:pathLst>
          </a:custGeom>
          <a:solidFill>
            <a:srgbClr val="E58777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FE706B1C-046B-4180-807B-FB20F45C1734}"/>
              </a:ext>
            </a:extLst>
          </p:cNvPr>
          <p:cNvSpPr/>
          <p:nvPr/>
        </p:nvSpPr>
        <p:spPr>
          <a:xfrm>
            <a:off x="8254695" y="3216352"/>
            <a:ext cx="100963" cy="545695"/>
          </a:xfrm>
          <a:custGeom>
            <a:avLst/>
            <a:gdLst>
              <a:gd name="connsiteX0" fmla="*/ 45861 w 100963"/>
              <a:gd name="connsiteY0" fmla="*/ 545695 h 545695"/>
              <a:gd name="connsiteX1" fmla="*/ 45861 w 100963"/>
              <a:gd name="connsiteY1" fmla="*/ 545695 h 545695"/>
              <a:gd name="connsiteX2" fmla="*/ 39910 w 100963"/>
              <a:gd name="connsiteY2" fmla="*/ 539745 h 545695"/>
              <a:gd name="connsiteX3" fmla="*/ 54786 w 100963"/>
              <a:gd name="connsiteY3" fmla="*/ 486191 h 545695"/>
              <a:gd name="connsiteX4" fmla="*/ 87513 w 100963"/>
              <a:gd name="connsiteY4" fmla="*/ 340406 h 545695"/>
              <a:gd name="connsiteX5" fmla="*/ 1232 w 100963"/>
              <a:gd name="connsiteY5" fmla="*/ 10158 h 545695"/>
              <a:gd name="connsiteX6" fmla="*/ 4208 w 100963"/>
              <a:gd name="connsiteY6" fmla="*/ 1232 h 545695"/>
              <a:gd name="connsiteX7" fmla="*/ 13133 w 100963"/>
              <a:gd name="connsiteY7" fmla="*/ 4208 h 545695"/>
              <a:gd name="connsiteX8" fmla="*/ 99414 w 100963"/>
              <a:gd name="connsiteY8" fmla="*/ 340406 h 545695"/>
              <a:gd name="connsiteX9" fmla="*/ 66687 w 100963"/>
              <a:gd name="connsiteY9" fmla="*/ 486191 h 545695"/>
              <a:gd name="connsiteX10" fmla="*/ 51811 w 100963"/>
              <a:gd name="connsiteY10" fmla="*/ 539745 h 545695"/>
              <a:gd name="connsiteX11" fmla="*/ 45861 w 100963"/>
              <a:gd name="connsiteY11" fmla="*/ 545695 h 545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0963" h="545695">
                <a:moveTo>
                  <a:pt x="45861" y="545695"/>
                </a:moveTo>
                <a:cubicBezTo>
                  <a:pt x="45861" y="545695"/>
                  <a:pt x="45861" y="545695"/>
                  <a:pt x="45861" y="545695"/>
                </a:cubicBezTo>
                <a:cubicBezTo>
                  <a:pt x="42885" y="545695"/>
                  <a:pt x="39910" y="542720"/>
                  <a:pt x="39910" y="539745"/>
                </a:cubicBezTo>
                <a:cubicBezTo>
                  <a:pt x="45861" y="521893"/>
                  <a:pt x="48836" y="504042"/>
                  <a:pt x="54786" y="486191"/>
                </a:cubicBezTo>
                <a:cubicBezTo>
                  <a:pt x="69662" y="435613"/>
                  <a:pt x="84538" y="385034"/>
                  <a:pt x="87513" y="340406"/>
                </a:cubicBezTo>
                <a:cubicBezTo>
                  <a:pt x="93464" y="221398"/>
                  <a:pt x="66687" y="111315"/>
                  <a:pt x="1232" y="10158"/>
                </a:cubicBezTo>
                <a:cubicBezTo>
                  <a:pt x="-1743" y="7183"/>
                  <a:pt x="1232" y="4208"/>
                  <a:pt x="4208" y="1232"/>
                </a:cubicBezTo>
                <a:cubicBezTo>
                  <a:pt x="7183" y="-1743"/>
                  <a:pt x="10158" y="1232"/>
                  <a:pt x="13133" y="4208"/>
                </a:cubicBezTo>
                <a:cubicBezTo>
                  <a:pt x="78588" y="108340"/>
                  <a:pt x="108340" y="221398"/>
                  <a:pt x="99414" y="340406"/>
                </a:cubicBezTo>
                <a:cubicBezTo>
                  <a:pt x="96439" y="385034"/>
                  <a:pt x="81563" y="438588"/>
                  <a:pt x="66687" y="486191"/>
                </a:cubicBezTo>
                <a:cubicBezTo>
                  <a:pt x="60737" y="504042"/>
                  <a:pt x="54786" y="521893"/>
                  <a:pt x="51811" y="539745"/>
                </a:cubicBezTo>
                <a:cubicBezTo>
                  <a:pt x="51811" y="545695"/>
                  <a:pt x="48836" y="545695"/>
                  <a:pt x="45861" y="545695"/>
                </a:cubicBezTo>
                <a:close/>
              </a:path>
            </a:pathLst>
          </a:custGeom>
          <a:solidFill>
            <a:srgbClr val="38343B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11BA8CCF-65F4-4861-A9A3-3DB46327DAEB}"/>
              </a:ext>
            </a:extLst>
          </p:cNvPr>
          <p:cNvSpPr/>
          <p:nvPr/>
        </p:nvSpPr>
        <p:spPr>
          <a:xfrm>
            <a:off x="7845349" y="3649179"/>
            <a:ext cx="389751" cy="35513"/>
          </a:xfrm>
          <a:custGeom>
            <a:avLst/>
            <a:gdLst>
              <a:gd name="connsiteX0" fmla="*/ 386777 w 389751"/>
              <a:gd name="connsiteY0" fmla="*/ 35513 h 35513"/>
              <a:gd name="connsiteX1" fmla="*/ 386777 w 389751"/>
              <a:gd name="connsiteY1" fmla="*/ 35513 h 35513"/>
              <a:gd name="connsiteX2" fmla="*/ 5950 w 389751"/>
              <a:gd name="connsiteY2" fmla="*/ 23612 h 35513"/>
              <a:gd name="connsiteX3" fmla="*/ 0 w 389751"/>
              <a:gd name="connsiteY3" fmla="*/ 20637 h 35513"/>
              <a:gd name="connsiteX4" fmla="*/ 2974 w 389751"/>
              <a:gd name="connsiteY4" fmla="*/ 14687 h 35513"/>
              <a:gd name="connsiteX5" fmla="*/ 386777 w 389751"/>
              <a:gd name="connsiteY5" fmla="*/ 26587 h 35513"/>
              <a:gd name="connsiteX6" fmla="*/ 389751 w 389751"/>
              <a:gd name="connsiteY6" fmla="*/ 32538 h 35513"/>
              <a:gd name="connsiteX7" fmla="*/ 386777 w 389751"/>
              <a:gd name="connsiteY7" fmla="*/ 35513 h 35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9751" h="35513">
                <a:moveTo>
                  <a:pt x="386777" y="35513"/>
                </a:moveTo>
                <a:cubicBezTo>
                  <a:pt x="383801" y="35513"/>
                  <a:pt x="383801" y="35513"/>
                  <a:pt x="386777" y="35513"/>
                </a:cubicBezTo>
                <a:cubicBezTo>
                  <a:pt x="303471" y="5761"/>
                  <a:pt x="104132" y="-189"/>
                  <a:pt x="5950" y="23612"/>
                </a:cubicBezTo>
                <a:cubicBezTo>
                  <a:pt x="2974" y="23612"/>
                  <a:pt x="0" y="23612"/>
                  <a:pt x="0" y="20637"/>
                </a:cubicBezTo>
                <a:cubicBezTo>
                  <a:pt x="0" y="17662"/>
                  <a:pt x="0" y="14687"/>
                  <a:pt x="2974" y="14687"/>
                </a:cubicBezTo>
                <a:cubicBezTo>
                  <a:pt x="101157" y="-9115"/>
                  <a:pt x="303471" y="-3165"/>
                  <a:pt x="386777" y="26587"/>
                </a:cubicBezTo>
                <a:cubicBezTo>
                  <a:pt x="389751" y="26587"/>
                  <a:pt x="389751" y="29563"/>
                  <a:pt x="389751" y="32538"/>
                </a:cubicBezTo>
                <a:cubicBezTo>
                  <a:pt x="389751" y="35513"/>
                  <a:pt x="386777" y="35513"/>
                  <a:pt x="386777" y="35513"/>
                </a:cubicBezTo>
                <a:close/>
              </a:path>
            </a:pathLst>
          </a:custGeom>
          <a:solidFill>
            <a:srgbClr val="38343B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34F9150E-5F94-4AEE-AA99-9C3A25683B13}"/>
              </a:ext>
            </a:extLst>
          </p:cNvPr>
          <p:cNvSpPr/>
          <p:nvPr/>
        </p:nvSpPr>
        <p:spPr>
          <a:xfrm>
            <a:off x="7683358" y="2752003"/>
            <a:ext cx="75709" cy="111296"/>
          </a:xfrm>
          <a:custGeom>
            <a:avLst/>
            <a:gdLst>
              <a:gd name="connsiteX0" fmla="*/ 63809 w 75709"/>
              <a:gd name="connsiteY0" fmla="*/ 16325 h 111296"/>
              <a:gd name="connsiteX1" fmla="*/ 7280 w 75709"/>
              <a:gd name="connsiteY1" fmla="*/ 7399 h 111296"/>
              <a:gd name="connsiteX2" fmla="*/ 63809 w 75709"/>
              <a:gd name="connsiteY2" fmla="*/ 108556 h 111296"/>
              <a:gd name="connsiteX3" fmla="*/ 63809 w 75709"/>
              <a:gd name="connsiteY3" fmla="*/ 16325 h 111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709" h="111296">
                <a:moveTo>
                  <a:pt x="63809" y="16325"/>
                </a:moveTo>
                <a:cubicBezTo>
                  <a:pt x="63809" y="16325"/>
                  <a:pt x="31082" y="-13427"/>
                  <a:pt x="7280" y="7399"/>
                </a:cubicBezTo>
                <a:cubicBezTo>
                  <a:pt x="-16521" y="25251"/>
                  <a:pt x="22156" y="129383"/>
                  <a:pt x="63809" y="108556"/>
                </a:cubicBezTo>
                <a:cubicBezTo>
                  <a:pt x="90586" y="87730"/>
                  <a:pt x="63809" y="16325"/>
                  <a:pt x="63809" y="16325"/>
                </a:cubicBezTo>
                <a:close/>
              </a:path>
            </a:pathLst>
          </a:custGeom>
          <a:solidFill>
            <a:srgbClr val="F5A398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49FEB523-24F2-42C5-A2B6-152B64DA0F01}"/>
              </a:ext>
            </a:extLst>
          </p:cNvPr>
          <p:cNvSpPr/>
          <p:nvPr/>
        </p:nvSpPr>
        <p:spPr>
          <a:xfrm>
            <a:off x="8040480" y="2633211"/>
            <a:ext cx="144042" cy="158918"/>
          </a:xfrm>
          <a:custGeom>
            <a:avLst/>
            <a:gdLst>
              <a:gd name="connsiteX0" fmla="*/ 138092 w 144042"/>
              <a:gd name="connsiteY0" fmla="*/ 158918 h 158918"/>
              <a:gd name="connsiteX1" fmla="*/ 132142 w 144042"/>
              <a:gd name="connsiteY1" fmla="*/ 155943 h 158918"/>
              <a:gd name="connsiteX2" fmla="*/ 4207 w 144042"/>
              <a:gd name="connsiteY2" fmla="*/ 10158 h 158918"/>
              <a:gd name="connsiteX3" fmla="*/ 1232 w 144042"/>
              <a:gd name="connsiteY3" fmla="*/ 4208 h 158918"/>
              <a:gd name="connsiteX4" fmla="*/ 7183 w 144042"/>
              <a:gd name="connsiteY4" fmla="*/ 1232 h 158918"/>
              <a:gd name="connsiteX5" fmla="*/ 144043 w 144042"/>
              <a:gd name="connsiteY5" fmla="*/ 155943 h 158918"/>
              <a:gd name="connsiteX6" fmla="*/ 138092 w 144042"/>
              <a:gd name="connsiteY6" fmla="*/ 158918 h 158918"/>
              <a:gd name="connsiteX7" fmla="*/ 138092 w 144042"/>
              <a:gd name="connsiteY7" fmla="*/ 158918 h 158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4042" h="158918">
                <a:moveTo>
                  <a:pt x="138092" y="158918"/>
                </a:moveTo>
                <a:cubicBezTo>
                  <a:pt x="135116" y="158918"/>
                  <a:pt x="132142" y="155943"/>
                  <a:pt x="132142" y="155943"/>
                </a:cubicBezTo>
                <a:cubicBezTo>
                  <a:pt x="108340" y="36935"/>
                  <a:pt x="4207" y="10158"/>
                  <a:pt x="4207" y="10158"/>
                </a:cubicBezTo>
                <a:cubicBezTo>
                  <a:pt x="1232" y="10158"/>
                  <a:pt x="-1742" y="7183"/>
                  <a:pt x="1232" y="4208"/>
                </a:cubicBezTo>
                <a:cubicBezTo>
                  <a:pt x="1232" y="1232"/>
                  <a:pt x="4207" y="-1743"/>
                  <a:pt x="7183" y="1232"/>
                </a:cubicBezTo>
                <a:cubicBezTo>
                  <a:pt x="7183" y="1232"/>
                  <a:pt x="120240" y="30984"/>
                  <a:pt x="144043" y="155943"/>
                </a:cubicBezTo>
                <a:cubicBezTo>
                  <a:pt x="144043" y="155943"/>
                  <a:pt x="141067" y="158918"/>
                  <a:pt x="138092" y="158918"/>
                </a:cubicBezTo>
                <a:cubicBezTo>
                  <a:pt x="138092" y="158918"/>
                  <a:pt x="138092" y="158918"/>
                  <a:pt x="138092" y="158918"/>
                </a:cubicBezTo>
                <a:close/>
              </a:path>
            </a:pathLst>
          </a:custGeom>
          <a:solidFill>
            <a:srgbClr val="6C5D68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5CF4CC7B-406D-499B-B3CB-54F757614E6F}"/>
              </a:ext>
            </a:extLst>
          </p:cNvPr>
          <p:cNvSpPr/>
          <p:nvPr/>
        </p:nvSpPr>
        <p:spPr>
          <a:xfrm>
            <a:off x="7717415" y="2580890"/>
            <a:ext cx="107107" cy="181487"/>
          </a:xfrm>
          <a:custGeom>
            <a:avLst/>
            <a:gdLst>
              <a:gd name="connsiteX0" fmla="*/ 5951 w 107107"/>
              <a:gd name="connsiteY0" fmla="*/ 181488 h 181487"/>
              <a:gd name="connsiteX1" fmla="*/ 5951 w 107107"/>
              <a:gd name="connsiteY1" fmla="*/ 181488 h 181487"/>
              <a:gd name="connsiteX2" fmla="*/ 0 w 107107"/>
              <a:gd name="connsiteY2" fmla="*/ 175537 h 181487"/>
              <a:gd name="connsiteX3" fmla="*/ 50579 w 107107"/>
              <a:gd name="connsiteY3" fmla="*/ 65455 h 181487"/>
              <a:gd name="connsiteX4" fmla="*/ 98182 w 107107"/>
              <a:gd name="connsiteY4" fmla="*/ 2975 h 181487"/>
              <a:gd name="connsiteX5" fmla="*/ 104132 w 107107"/>
              <a:gd name="connsiteY5" fmla="*/ 0 h 181487"/>
              <a:gd name="connsiteX6" fmla="*/ 107108 w 107107"/>
              <a:gd name="connsiteY6" fmla="*/ 5950 h 181487"/>
              <a:gd name="connsiteX7" fmla="*/ 53554 w 107107"/>
              <a:gd name="connsiteY7" fmla="*/ 71405 h 181487"/>
              <a:gd name="connsiteX8" fmla="*/ 8926 w 107107"/>
              <a:gd name="connsiteY8" fmla="*/ 175537 h 181487"/>
              <a:gd name="connsiteX9" fmla="*/ 5951 w 107107"/>
              <a:gd name="connsiteY9" fmla="*/ 181488 h 181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107" h="181487">
                <a:moveTo>
                  <a:pt x="5951" y="181488"/>
                </a:moveTo>
                <a:cubicBezTo>
                  <a:pt x="5951" y="181488"/>
                  <a:pt x="5951" y="181488"/>
                  <a:pt x="5951" y="181488"/>
                </a:cubicBezTo>
                <a:cubicBezTo>
                  <a:pt x="2975" y="181488"/>
                  <a:pt x="0" y="178512"/>
                  <a:pt x="0" y="175537"/>
                </a:cubicBezTo>
                <a:cubicBezTo>
                  <a:pt x="0" y="160661"/>
                  <a:pt x="11901" y="92231"/>
                  <a:pt x="50579" y="65455"/>
                </a:cubicBezTo>
                <a:cubicBezTo>
                  <a:pt x="80331" y="44628"/>
                  <a:pt x="98182" y="2975"/>
                  <a:pt x="98182" y="2975"/>
                </a:cubicBezTo>
                <a:cubicBezTo>
                  <a:pt x="98182" y="0"/>
                  <a:pt x="104132" y="0"/>
                  <a:pt x="104132" y="0"/>
                </a:cubicBezTo>
                <a:cubicBezTo>
                  <a:pt x="107108" y="0"/>
                  <a:pt x="107108" y="5950"/>
                  <a:pt x="107108" y="5950"/>
                </a:cubicBezTo>
                <a:cubicBezTo>
                  <a:pt x="107108" y="8926"/>
                  <a:pt x="86281" y="47603"/>
                  <a:pt x="53554" y="71405"/>
                </a:cubicBezTo>
                <a:cubicBezTo>
                  <a:pt x="17851" y="95207"/>
                  <a:pt x="8926" y="160661"/>
                  <a:pt x="8926" y="175537"/>
                </a:cubicBezTo>
                <a:cubicBezTo>
                  <a:pt x="11901" y="178512"/>
                  <a:pt x="8926" y="181488"/>
                  <a:pt x="5951" y="181488"/>
                </a:cubicBezTo>
                <a:close/>
              </a:path>
            </a:pathLst>
          </a:custGeom>
          <a:solidFill>
            <a:srgbClr val="6C5D68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731896A8-48FE-4EA7-AA82-4E3018527F3F}"/>
              </a:ext>
            </a:extLst>
          </p:cNvPr>
          <p:cNvSpPr/>
          <p:nvPr/>
        </p:nvSpPr>
        <p:spPr>
          <a:xfrm>
            <a:off x="7753118" y="3131303"/>
            <a:ext cx="351074" cy="151735"/>
          </a:xfrm>
          <a:custGeom>
            <a:avLst/>
            <a:gdLst>
              <a:gd name="connsiteX0" fmla="*/ 315372 w 351074"/>
              <a:gd name="connsiteY0" fmla="*/ 5950 h 151735"/>
              <a:gd name="connsiteX1" fmla="*/ 214214 w 351074"/>
              <a:gd name="connsiteY1" fmla="*/ 119008 h 151735"/>
              <a:gd name="connsiteX2" fmla="*/ 23801 w 351074"/>
              <a:gd name="connsiteY2" fmla="*/ 0 h 151735"/>
              <a:gd name="connsiteX3" fmla="*/ 0 w 351074"/>
              <a:gd name="connsiteY3" fmla="*/ 8926 h 151735"/>
              <a:gd name="connsiteX4" fmla="*/ 217190 w 351074"/>
              <a:gd name="connsiteY4" fmla="*/ 151736 h 151735"/>
              <a:gd name="connsiteX5" fmla="*/ 351074 w 351074"/>
              <a:gd name="connsiteY5" fmla="*/ 14876 h 151735"/>
              <a:gd name="connsiteX6" fmla="*/ 315372 w 351074"/>
              <a:gd name="connsiteY6" fmla="*/ 5950 h 15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074" h="151735">
                <a:moveTo>
                  <a:pt x="315372" y="5950"/>
                </a:moveTo>
                <a:lnTo>
                  <a:pt x="214214" y="119008"/>
                </a:lnTo>
                <a:cubicBezTo>
                  <a:pt x="214214" y="119008"/>
                  <a:pt x="86281" y="20826"/>
                  <a:pt x="23801" y="0"/>
                </a:cubicBezTo>
                <a:lnTo>
                  <a:pt x="0" y="8926"/>
                </a:lnTo>
                <a:lnTo>
                  <a:pt x="217190" y="151736"/>
                </a:lnTo>
                <a:lnTo>
                  <a:pt x="351074" y="14876"/>
                </a:lnTo>
                <a:cubicBezTo>
                  <a:pt x="351074" y="11901"/>
                  <a:pt x="336198" y="8926"/>
                  <a:pt x="315372" y="5950"/>
                </a:cubicBezTo>
                <a:close/>
              </a:path>
            </a:pathLst>
          </a:custGeom>
          <a:solidFill>
            <a:srgbClr val="F6EBEB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62400670-4B5E-456B-B705-B77C01CD4A04}"/>
              </a:ext>
            </a:extLst>
          </p:cNvPr>
          <p:cNvSpPr/>
          <p:nvPr/>
        </p:nvSpPr>
        <p:spPr>
          <a:xfrm>
            <a:off x="7488325" y="4035766"/>
            <a:ext cx="871735" cy="264089"/>
          </a:xfrm>
          <a:custGeom>
            <a:avLst/>
            <a:gdLst>
              <a:gd name="connsiteX0" fmla="*/ 113057 w 871735"/>
              <a:gd name="connsiteY0" fmla="*/ 0 h 264089"/>
              <a:gd name="connsiteX1" fmla="*/ 0 w 871735"/>
              <a:gd name="connsiteY1" fmla="*/ 178512 h 264089"/>
              <a:gd name="connsiteX2" fmla="*/ 871735 w 871735"/>
              <a:gd name="connsiteY2" fmla="*/ 202314 h 264089"/>
              <a:gd name="connsiteX3" fmla="*/ 770578 w 871735"/>
              <a:gd name="connsiteY3" fmla="*/ 44628 h 264089"/>
              <a:gd name="connsiteX4" fmla="*/ 113057 w 871735"/>
              <a:gd name="connsiteY4" fmla="*/ 0 h 264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1735" h="264089">
                <a:moveTo>
                  <a:pt x="113057" y="0"/>
                </a:moveTo>
                <a:lnTo>
                  <a:pt x="0" y="178512"/>
                </a:lnTo>
                <a:cubicBezTo>
                  <a:pt x="0" y="178512"/>
                  <a:pt x="479008" y="354050"/>
                  <a:pt x="871735" y="202314"/>
                </a:cubicBezTo>
                <a:lnTo>
                  <a:pt x="770578" y="44628"/>
                </a:lnTo>
                <a:cubicBezTo>
                  <a:pt x="770578" y="38678"/>
                  <a:pt x="205289" y="20827"/>
                  <a:pt x="113057" y="0"/>
                </a:cubicBezTo>
                <a:close/>
              </a:path>
            </a:pathLst>
          </a:custGeom>
          <a:solidFill>
            <a:srgbClr val="D16156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FC58DD19-3507-447D-BAE7-DD7E668EA4B4}"/>
              </a:ext>
            </a:extLst>
          </p:cNvPr>
          <p:cNvSpPr/>
          <p:nvPr/>
        </p:nvSpPr>
        <p:spPr>
          <a:xfrm>
            <a:off x="7747167" y="3045022"/>
            <a:ext cx="233603" cy="401652"/>
          </a:xfrm>
          <a:custGeom>
            <a:avLst/>
            <a:gdLst>
              <a:gd name="connsiteX0" fmla="*/ 32727 w 233603"/>
              <a:gd name="connsiteY0" fmla="*/ 0 h 401652"/>
              <a:gd name="connsiteX1" fmla="*/ 205289 w 233603"/>
              <a:gd name="connsiteY1" fmla="*/ 190413 h 401652"/>
              <a:gd name="connsiteX2" fmla="*/ 223141 w 233603"/>
              <a:gd name="connsiteY2" fmla="*/ 380826 h 401652"/>
              <a:gd name="connsiteX3" fmla="*/ 178512 w 233603"/>
              <a:gd name="connsiteY3" fmla="*/ 380826 h 401652"/>
              <a:gd name="connsiteX4" fmla="*/ 104132 w 233603"/>
              <a:gd name="connsiteY4" fmla="*/ 401653 h 401652"/>
              <a:gd name="connsiteX5" fmla="*/ 62480 w 233603"/>
              <a:gd name="connsiteY5" fmla="*/ 374876 h 401652"/>
              <a:gd name="connsiteX6" fmla="*/ 0 w 233603"/>
              <a:gd name="connsiteY6" fmla="*/ 35702 h 401652"/>
              <a:gd name="connsiteX7" fmla="*/ 32727 w 233603"/>
              <a:gd name="connsiteY7" fmla="*/ 0 h 401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3603" h="401652">
                <a:moveTo>
                  <a:pt x="32727" y="0"/>
                </a:moveTo>
                <a:cubicBezTo>
                  <a:pt x="32727" y="0"/>
                  <a:pt x="169587" y="89256"/>
                  <a:pt x="205289" y="190413"/>
                </a:cubicBezTo>
                <a:cubicBezTo>
                  <a:pt x="240992" y="294545"/>
                  <a:pt x="238017" y="371901"/>
                  <a:pt x="223141" y="380826"/>
                </a:cubicBezTo>
                <a:cubicBezTo>
                  <a:pt x="211240" y="389752"/>
                  <a:pt x="196364" y="371901"/>
                  <a:pt x="178512" y="380826"/>
                </a:cubicBezTo>
                <a:cubicBezTo>
                  <a:pt x="157687" y="389752"/>
                  <a:pt x="116033" y="401653"/>
                  <a:pt x="104132" y="401653"/>
                </a:cubicBezTo>
                <a:cubicBezTo>
                  <a:pt x="89256" y="401653"/>
                  <a:pt x="56529" y="386777"/>
                  <a:pt x="62480" y="374876"/>
                </a:cubicBezTo>
                <a:cubicBezTo>
                  <a:pt x="68430" y="362975"/>
                  <a:pt x="23802" y="62479"/>
                  <a:pt x="0" y="35702"/>
                </a:cubicBezTo>
                <a:lnTo>
                  <a:pt x="32727" y="0"/>
                </a:lnTo>
                <a:close/>
              </a:path>
            </a:pathLst>
          </a:custGeom>
          <a:solidFill>
            <a:srgbClr val="F1DDBA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598EB234-F352-41E2-BE72-DA96EACD8BDA}"/>
              </a:ext>
            </a:extLst>
          </p:cNvPr>
          <p:cNvSpPr/>
          <p:nvPr/>
        </p:nvSpPr>
        <p:spPr>
          <a:xfrm>
            <a:off x="7789564" y="3081469"/>
            <a:ext cx="145042" cy="261074"/>
          </a:xfrm>
          <a:custGeom>
            <a:avLst/>
            <a:gdLst>
              <a:gd name="connsiteX0" fmla="*/ 139091 w 145042"/>
              <a:gd name="connsiteY0" fmla="*/ 261074 h 261074"/>
              <a:gd name="connsiteX1" fmla="*/ 133140 w 145042"/>
              <a:gd name="connsiteY1" fmla="*/ 255124 h 261074"/>
              <a:gd name="connsiteX2" fmla="*/ 2232 w 145042"/>
              <a:gd name="connsiteY2" fmla="*/ 11157 h 261074"/>
              <a:gd name="connsiteX3" fmla="*/ 2232 w 145042"/>
              <a:gd name="connsiteY3" fmla="*/ 2231 h 261074"/>
              <a:gd name="connsiteX4" fmla="*/ 11158 w 145042"/>
              <a:gd name="connsiteY4" fmla="*/ 2231 h 261074"/>
              <a:gd name="connsiteX5" fmla="*/ 145042 w 145042"/>
              <a:gd name="connsiteY5" fmla="*/ 252149 h 261074"/>
              <a:gd name="connsiteX6" fmla="*/ 139091 w 145042"/>
              <a:gd name="connsiteY6" fmla="*/ 261074 h 261074"/>
              <a:gd name="connsiteX7" fmla="*/ 139091 w 145042"/>
              <a:gd name="connsiteY7" fmla="*/ 261074 h 261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5042" h="261074">
                <a:moveTo>
                  <a:pt x="139091" y="261074"/>
                </a:moveTo>
                <a:cubicBezTo>
                  <a:pt x="136116" y="261074"/>
                  <a:pt x="133140" y="258099"/>
                  <a:pt x="133140" y="255124"/>
                </a:cubicBezTo>
                <a:cubicBezTo>
                  <a:pt x="127191" y="142066"/>
                  <a:pt x="5207" y="11157"/>
                  <a:pt x="2232" y="11157"/>
                </a:cubicBezTo>
                <a:cubicBezTo>
                  <a:pt x="-744" y="8182"/>
                  <a:pt x="-744" y="5207"/>
                  <a:pt x="2232" y="2231"/>
                </a:cubicBezTo>
                <a:cubicBezTo>
                  <a:pt x="5207" y="-744"/>
                  <a:pt x="8182" y="-744"/>
                  <a:pt x="11158" y="2231"/>
                </a:cubicBezTo>
                <a:cubicBezTo>
                  <a:pt x="17108" y="8182"/>
                  <a:pt x="139091" y="136116"/>
                  <a:pt x="145042" y="252149"/>
                </a:cubicBezTo>
                <a:cubicBezTo>
                  <a:pt x="145042" y="258099"/>
                  <a:pt x="142067" y="261074"/>
                  <a:pt x="139091" y="261074"/>
                </a:cubicBezTo>
                <a:cubicBezTo>
                  <a:pt x="139091" y="261074"/>
                  <a:pt x="139091" y="261074"/>
                  <a:pt x="139091" y="261074"/>
                </a:cubicBezTo>
                <a:close/>
              </a:path>
            </a:pathLst>
          </a:custGeom>
          <a:solidFill>
            <a:srgbClr val="6C5D68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55DA957F-0F30-48F3-AB8C-F1B1E0187D95}"/>
              </a:ext>
            </a:extLst>
          </p:cNvPr>
          <p:cNvSpPr/>
          <p:nvPr/>
        </p:nvSpPr>
        <p:spPr>
          <a:xfrm>
            <a:off x="7730942" y="3032538"/>
            <a:ext cx="102505" cy="76932"/>
          </a:xfrm>
          <a:custGeom>
            <a:avLst/>
            <a:gdLst>
              <a:gd name="connsiteX0" fmla="*/ 102506 w 102505"/>
              <a:gd name="connsiteY0" fmla="*/ 15460 h 76932"/>
              <a:gd name="connsiteX1" fmla="*/ 84655 w 102505"/>
              <a:gd name="connsiteY1" fmla="*/ 584 h 76932"/>
              <a:gd name="connsiteX2" fmla="*/ 10275 w 102505"/>
              <a:gd name="connsiteY2" fmla="*/ 24385 h 76932"/>
              <a:gd name="connsiteX3" fmla="*/ 4325 w 102505"/>
              <a:gd name="connsiteY3" fmla="*/ 51162 h 76932"/>
              <a:gd name="connsiteX4" fmla="*/ 22176 w 102505"/>
              <a:gd name="connsiteY4" fmla="*/ 74964 h 76932"/>
              <a:gd name="connsiteX5" fmla="*/ 87630 w 102505"/>
              <a:gd name="connsiteY5" fmla="*/ 54137 h 76932"/>
              <a:gd name="connsiteX6" fmla="*/ 96556 w 102505"/>
              <a:gd name="connsiteY6" fmla="*/ 39261 h 76932"/>
              <a:gd name="connsiteX7" fmla="*/ 102506 w 102505"/>
              <a:gd name="connsiteY7" fmla="*/ 15460 h 7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505" h="76932">
                <a:moveTo>
                  <a:pt x="102506" y="15460"/>
                </a:moveTo>
                <a:cubicBezTo>
                  <a:pt x="102506" y="6534"/>
                  <a:pt x="93581" y="-2392"/>
                  <a:pt x="84655" y="584"/>
                </a:cubicBezTo>
                <a:cubicBezTo>
                  <a:pt x="60853" y="9509"/>
                  <a:pt x="34077" y="15460"/>
                  <a:pt x="10275" y="24385"/>
                </a:cubicBezTo>
                <a:cubicBezTo>
                  <a:pt x="-1626" y="27360"/>
                  <a:pt x="-1626" y="45212"/>
                  <a:pt x="4325" y="51162"/>
                </a:cubicBezTo>
                <a:cubicBezTo>
                  <a:pt x="-7576" y="60088"/>
                  <a:pt x="7300" y="83889"/>
                  <a:pt x="22176" y="74964"/>
                </a:cubicBezTo>
                <a:cubicBezTo>
                  <a:pt x="43002" y="63063"/>
                  <a:pt x="63829" y="57113"/>
                  <a:pt x="87630" y="54137"/>
                </a:cubicBezTo>
                <a:cubicBezTo>
                  <a:pt x="96556" y="54137"/>
                  <a:pt x="99532" y="45212"/>
                  <a:pt x="96556" y="39261"/>
                </a:cubicBezTo>
                <a:cubicBezTo>
                  <a:pt x="102506" y="30336"/>
                  <a:pt x="102506" y="24385"/>
                  <a:pt x="102506" y="15460"/>
                </a:cubicBezTo>
                <a:close/>
              </a:path>
            </a:pathLst>
          </a:custGeom>
          <a:solidFill>
            <a:srgbClr val="7F95BC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ED9FECAD-DB0A-4199-9815-2CD192817ACA}"/>
              </a:ext>
            </a:extLst>
          </p:cNvPr>
          <p:cNvSpPr/>
          <p:nvPr/>
        </p:nvSpPr>
        <p:spPr>
          <a:xfrm>
            <a:off x="8059564" y="3045022"/>
            <a:ext cx="233603" cy="401652"/>
          </a:xfrm>
          <a:custGeom>
            <a:avLst/>
            <a:gdLst>
              <a:gd name="connsiteX0" fmla="*/ 32727 w 233603"/>
              <a:gd name="connsiteY0" fmla="*/ 0 h 401652"/>
              <a:gd name="connsiteX1" fmla="*/ 205289 w 233603"/>
              <a:gd name="connsiteY1" fmla="*/ 190413 h 401652"/>
              <a:gd name="connsiteX2" fmla="*/ 223141 w 233603"/>
              <a:gd name="connsiteY2" fmla="*/ 380826 h 401652"/>
              <a:gd name="connsiteX3" fmla="*/ 178512 w 233603"/>
              <a:gd name="connsiteY3" fmla="*/ 380826 h 401652"/>
              <a:gd name="connsiteX4" fmla="*/ 104132 w 233603"/>
              <a:gd name="connsiteY4" fmla="*/ 401653 h 401652"/>
              <a:gd name="connsiteX5" fmla="*/ 62480 w 233603"/>
              <a:gd name="connsiteY5" fmla="*/ 374876 h 401652"/>
              <a:gd name="connsiteX6" fmla="*/ 0 w 233603"/>
              <a:gd name="connsiteY6" fmla="*/ 35702 h 401652"/>
              <a:gd name="connsiteX7" fmla="*/ 32727 w 233603"/>
              <a:gd name="connsiteY7" fmla="*/ 0 h 401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3603" h="401652">
                <a:moveTo>
                  <a:pt x="32727" y="0"/>
                </a:moveTo>
                <a:cubicBezTo>
                  <a:pt x="32727" y="0"/>
                  <a:pt x="169587" y="89256"/>
                  <a:pt x="205289" y="190413"/>
                </a:cubicBezTo>
                <a:cubicBezTo>
                  <a:pt x="240992" y="294545"/>
                  <a:pt x="238017" y="371901"/>
                  <a:pt x="223141" y="380826"/>
                </a:cubicBezTo>
                <a:cubicBezTo>
                  <a:pt x="211240" y="389752"/>
                  <a:pt x="196364" y="371901"/>
                  <a:pt x="178512" y="380826"/>
                </a:cubicBezTo>
                <a:cubicBezTo>
                  <a:pt x="157687" y="389752"/>
                  <a:pt x="116033" y="401653"/>
                  <a:pt x="104132" y="401653"/>
                </a:cubicBezTo>
                <a:cubicBezTo>
                  <a:pt x="89256" y="401653"/>
                  <a:pt x="56529" y="386777"/>
                  <a:pt x="62480" y="374876"/>
                </a:cubicBezTo>
                <a:cubicBezTo>
                  <a:pt x="68430" y="362975"/>
                  <a:pt x="23802" y="62479"/>
                  <a:pt x="0" y="35702"/>
                </a:cubicBezTo>
                <a:lnTo>
                  <a:pt x="32727" y="0"/>
                </a:lnTo>
                <a:close/>
              </a:path>
            </a:pathLst>
          </a:custGeom>
          <a:solidFill>
            <a:srgbClr val="F1DDBA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8" name="任意多边形: 形状 37">
            <a:extLst>
              <a:ext uri="{FF2B5EF4-FFF2-40B4-BE49-F238E27FC236}">
                <a16:creationId xmlns:a16="http://schemas.microsoft.com/office/drawing/2014/main" id="{0725F902-E429-42EB-97E2-9CA50B99E9BD}"/>
              </a:ext>
            </a:extLst>
          </p:cNvPr>
          <p:cNvSpPr/>
          <p:nvPr/>
        </p:nvSpPr>
        <p:spPr>
          <a:xfrm>
            <a:off x="8101960" y="3081469"/>
            <a:ext cx="145042" cy="261074"/>
          </a:xfrm>
          <a:custGeom>
            <a:avLst/>
            <a:gdLst>
              <a:gd name="connsiteX0" fmla="*/ 139091 w 145042"/>
              <a:gd name="connsiteY0" fmla="*/ 261074 h 261074"/>
              <a:gd name="connsiteX1" fmla="*/ 133140 w 145042"/>
              <a:gd name="connsiteY1" fmla="*/ 255124 h 261074"/>
              <a:gd name="connsiteX2" fmla="*/ 2232 w 145042"/>
              <a:gd name="connsiteY2" fmla="*/ 11157 h 261074"/>
              <a:gd name="connsiteX3" fmla="*/ 2232 w 145042"/>
              <a:gd name="connsiteY3" fmla="*/ 2231 h 261074"/>
              <a:gd name="connsiteX4" fmla="*/ 11158 w 145042"/>
              <a:gd name="connsiteY4" fmla="*/ 2231 h 261074"/>
              <a:gd name="connsiteX5" fmla="*/ 145042 w 145042"/>
              <a:gd name="connsiteY5" fmla="*/ 252149 h 261074"/>
              <a:gd name="connsiteX6" fmla="*/ 139091 w 145042"/>
              <a:gd name="connsiteY6" fmla="*/ 261074 h 261074"/>
              <a:gd name="connsiteX7" fmla="*/ 139091 w 145042"/>
              <a:gd name="connsiteY7" fmla="*/ 261074 h 261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5042" h="261074">
                <a:moveTo>
                  <a:pt x="139091" y="261074"/>
                </a:moveTo>
                <a:cubicBezTo>
                  <a:pt x="136116" y="261074"/>
                  <a:pt x="133140" y="258099"/>
                  <a:pt x="133140" y="255124"/>
                </a:cubicBezTo>
                <a:cubicBezTo>
                  <a:pt x="127191" y="142066"/>
                  <a:pt x="5207" y="11157"/>
                  <a:pt x="2232" y="11157"/>
                </a:cubicBezTo>
                <a:cubicBezTo>
                  <a:pt x="-744" y="8182"/>
                  <a:pt x="-744" y="5207"/>
                  <a:pt x="2232" y="2231"/>
                </a:cubicBezTo>
                <a:cubicBezTo>
                  <a:pt x="5207" y="-744"/>
                  <a:pt x="8182" y="-744"/>
                  <a:pt x="11158" y="2231"/>
                </a:cubicBezTo>
                <a:cubicBezTo>
                  <a:pt x="17108" y="8182"/>
                  <a:pt x="139091" y="136116"/>
                  <a:pt x="145042" y="252149"/>
                </a:cubicBezTo>
                <a:cubicBezTo>
                  <a:pt x="145042" y="258099"/>
                  <a:pt x="142067" y="261074"/>
                  <a:pt x="139091" y="261074"/>
                </a:cubicBezTo>
                <a:cubicBezTo>
                  <a:pt x="139091" y="261074"/>
                  <a:pt x="139091" y="261074"/>
                  <a:pt x="139091" y="261074"/>
                </a:cubicBezTo>
                <a:close/>
              </a:path>
            </a:pathLst>
          </a:custGeom>
          <a:solidFill>
            <a:srgbClr val="6C5D68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5D2C2D48-B252-4B7D-915D-D4B967E469AC}"/>
              </a:ext>
            </a:extLst>
          </p:cNvPr>
          <p:cNvSpPr/>
          <p:nvPr/>
        </p:nvSpPr>
        <p:spPr>
          <a:xfrm>
            <a:off x="8043339" y="3032538"/>
            <a:ext cx="102505" cy="76932"/>
          </a:xfrm>
          <a:custGeom>
            <a:avLst/>
            <a:gdLst>
              <a:gd name="connsiteX0" fmla="*/ 102506 w 102505"/>
              <a:gd name="connsiteY0" fmla="*/ 15460 h 76932"/>
              <a:gd name="connsiteX1" fmla="*/ 84655 w 102505"/>
              <a:gd name="connsiteY1" fmla="*/ 584 h 76932"/>
              <a:gd name="connsiteX2" fmla="*/ 10275 w 102505"/>
              <a:gd name="connsiteY2" fmla="*/ 24385 h 76932"/>
              <a:gd name="connsiteX3" fmla="*/ 4325 w 102505"/>
              <a:gd name="connsiteY3" fmla="*/ 51162 h 76932"/>
              <a:gd name="connsiteX4" fmla="*/ 22176 w 102505"/>
              <a:gd name="connsiteY4" fmla="*/ 74964 h 76932"/>
              <a:gd name="connsiteX5" fmla="*/ 87630 w 102505"/>
              <a:gd name="connsiteY5" fmla="*/ 54137 h 76932"/>
              <a:gd name="connsiteX6" fmla="*/ 96556 w 102505"/>
              <a:gd name="connsiteY6" fmla="*/ 39261 h 76932"/>
              <a:gd name="connsiteX7" fmla="*/ 102506 w 102505"/>
              <a:gd name="connsiteY7" fmla="*/ 15460 h 7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505" h="76932">
                <a:moveTo>
                  <a:pt x="102506" y="15460"/>
                </a:moveTo>
                <a:cubicBezTo>
                  <a:pt x="102506" y="6534"/>
                  <a:pt x="93581" y="-2392"/>
                  <a:pt x="84655" y="584"/>
                </a:cubicBezTo>
                <a:cubicBezTo>
                  <a:pt x="60853" y="9509"/>
                  <a:pt x="34077" y="15460"/>
                  <a:pt x="10275" y="24385"/>
                </a:cubicBezTo>
                <a:cubicBezTo>
                  <a:pt x="-1626" y="27360"/>
                  <a:pt x="-1626" y="45212"/>
                  <a:pt x="4325" y="51162"/>
                </a:cubicBezTo>
                <a:cubicBezTo>
                  <a:pt x="-7576" y="60088"/>
                  <a:pt x="7300" y="83889"/>
                  <a:pt x="22176" y="74964"/>
                </a:cubicBezTo>
                <a:cubicBezTo>
                  <a:pt x="43002" y="63063"/>
                  <a:pt x="63829" y="57113"/>
                  <a:pt x="87630" y="54137"/>
                </a:cubicBezTo>
                <a:cubicBezTo>
                  <a:pt x="96556" y="54137"/>
                  <a:pt x="99532" y="45212"/>
                  <a:pt x="96556" y="39261"/>
                </a:cubicBezTo>
                <a:cubicBezTo>
                  <a:pt x="102506" y="30336"/>
                  <a:pt x="102506" y="24385"/>
                  <a:pt x="102506" y="15460"/>
                </a:cubicBezTo>
                <a:close/>
              </a:path>
            </a:pathLst>
          </a:custGeom>
          <a:solidFill>
            <a:srgbClr val="7F95BC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82" name="图形 1">
            <a:extLst>
              <a:ext uri="{FF2B5EF4-FFF2-40B4-BE49-F238E27FC236}">
                <a16:creationId xmlns:a16="http://schemas.microsoft.com/office/drawing/2014/main" id="{B9DAB008-1AFF-41F5-98E8-3085EF2FE4EC}"/>
              </a:ext>
            </a:extLst>
          </p:cNvPr>
          <p:cNvGrpSpPr/>
          <p:nvPr/>
        </p:nvGrpSpPr>
        <p:grpSpPr>
          <a:xfrm>
            <a:off x="7629751" y="2322047"/>
            <a:ext cx="644737" cy="324297"/>
            <a:chOff x="16419789" y="2313103"/>
            <a:chExt cx="644737" cy="324297"/>
          </a:xfrm>
        </p:grpSpPr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1D9A4CC3-0E0A-4D35-8188-51F78DBC23CE}"/>
                </a:ext>
              </a:extLst>
            </p:cNvPr>
            <p:cNvSpPr/>
            <p:nvPr/>
          </p:nvSpPr>
          <p:spPr>
            <a:xfrm>
              <a:off x="16419789" y="2327877"/>
              <a:ext cx="533973" cy="309523"/>
            </a:xfrm>
            <a:custGeom>
              <a:avLst/>
              <a:gdLst>
                <a:gd name="connsiteX0" fmla="*/ 150143 w 533973"/>
                <a:gd name="connsiteY0" fmla="*/ 205392 h 309523"/>
                <a:gd name="connsiteX1" fmla="*/ 4358 w 533973"/>
                <a:gd name="connsiteY1" fmla="*/ 309524 h 309523"/>
                <a:gd name="connsiteX2" fmla="*/ 156094 w 533973"/>
                <a:gd name="connsiteY2" fmla="*/ 20929 h 309523"/>
                <a:gd name="connsiteX3" fmla="*/ 533945 w 533973"/>
                <a:gd name="connsiteY3" fmla="*/ 128036 h 309523"/>
                <a:gd name="connsiteX4" fmla="*/ 150143 w 533973"/>
                <a:gd name="connsiteY4" fmla="*/ 205392 h 309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973" h="309523">
                  <a:moveTo>
                    <a:pt x="150143" y="205392"/>
                  </a:moveTo>
                  <a:cubicBezTo>
                    <a:pt x="114440" y="235144"/>
                    <a:pt x="43036" y="255970"/>
                    <a:pt x="4358" y="309524"/>
                  </a:cubicBezTo>
                  <a:cubicBezTo>
                    <a:pt x="4358" y="309524"/>
                    <a:pt x="-40270" y="89359"/>
                    <a:pt x="156094" y="20929"/>
                  </a:cubicBezTo>
                  <a:cubicBezTo>
                    <a:pt x="316755" y="-35600"/>
                    <a:pt x="471465" y="29854"/>
                    <a:pt x="533945" y="128036"/>
                  </a:cubicBezTo>
                  <a:cubicBezTo>
                    <a:pt x="536920" y="128036"/>
                    <a:pt x="310804" y="71507"/>
                    <a:pt x="150143" y="205392"/>
                  </a:cubicBezTo>
                  <a:close/>
                </a:path>
              </a:pathLst>
            </a:custGeom>
            <a:solidFill>
              <a:srgbClr val="D1615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E43B6FA5-573B-4171-80FB-1CA627BC853F}"/>
                </a:ext>
              </a:extLst>
            </p:cNvPr>
            <p:cNvSpPr/>
            <p:nvPr/>
          </p:nvSpPr>
          <p:spPr>
            <a:xfrm>
              <a:off x="16558032" y="2364507"/>
              <a:ext cx="506494" cy="213389"/>
            </a:xfrm>
            <a:custGeom>
              <a:avLst/>
              <a:gdLst>
                <a:gd name="connsiteX0" fmla="*/ 0 w 506494"/>
                <a:gd name="connsiteY0" fmla="*/ 183637 h 213389"/>
                <a:gd name="connsiteX1" fmla="*/ 214214 w 506494"/>
                <a:gd name="connsiteY1" fmla="*/ 46778 h 213389"/>
                <a:gd name="connsiteX2" fmla="*/ 502810 w 506494"/>
                <a:gd name="connsiteY2" fmla="*/ 58678 h 213389"/>
                <a:gd name="connsiteX3" fmla="*/ 401653 w 506494"/>
                <a:gd name="connsiteY3" fmla="*/ 213389 h 213389"/>
                <a:gd name="connsiteX4" fmla="*/ 0 w 506494"/>
                <a:gd name="connsiteY4" fmla="*/ 183637 h 213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6494" h="213389">
                  <a:moveTo>
                    <a:pt x="0" y="183637"/>
                  </a:moveTo>
                  <a:cubicBezTo>
                    <a:pt x="0" y="183637"/>
                    <a:pt x="74380" y="109257"/>
                    <a:pt x="214214" y="46778"/>
                  </a:cubicBezTo>
                  <a:cubicBezTo>
                    <a:pt x="360000" y="-21652"/>
                    <a:pt x="476033" y="-12727"/>
                    <a:pt x="502810" y="58678"/>
                  </a:cubicBezTo>
                  <a:cubicBezTo>
                    <a:pt x="529586" y="130083"/>
                    <a:pt x="401653" y="213389"/>
                    <a:pt x="401653" y="213389"/>
                  </a:cubicBezTo>
                  <a:cubicBezTo>
                    <a:pt x="401653" y="213389"/>
                    <a:pt x="258842" y="76530"/>
                    <a:pt x="0" y="183637"/>
                  </a:cubicBezTo>
                  <a:close/>
                </a:path>
              </a:pathLst>
            </a:custGeom>
            <a:solidFill>
              <a:srgbClr val="D1615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6A67FC79-714A-4165-AC6B-BABD7CD42E6A}"/>
                </a:ext>
              </a:extLst>
            </p:cNvPr>
            <p:cNvSpPr/>
            <p:nvPr/>
          </p:nvSpPr>
          <p:spPr>
            <a:xfrm>
              <a:off x="16540180" y="2313103"/>
              <a:ext cx="56528" cy="53553"/>
            </a:xfrm>
            <a:custGeom>
              <a:avLst/>
              <a:gdLst>
                <a:gd name="connsiteX0" fmla="*/ 0 w 56528"/>
                <a:gd name="connsiteY0" fmla="*/ 26777 h 53553"/>
                <a:gd name="connsiteX1" fmla="*/ 29752 w 56528"/>
                <a:gd name="connsiteY1" fmla="*/ 0 h 53553"/>
                <a:gd name="connsiteX2" fmla="*/ 56529 w 56528"/>
                <a:gd name="connsiteY2" fmla="*/ 26777 h 53553"/>
                <a:gd name="connsiteX3" fmla="*/ 26777 w 56528"/>
                <a:gd name="connsiteY3" fmla="*/ 53554 h 53553"/>
                <a:gd name="connsiteX4" fmla="*/ 0 w 56528"/>
                <a:gd name="connsiteY4" fmla="*/ 26777 h 5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528" h="53553">
                  <a:moveTo>
                    <a:pt x="0" y="26777"/>
                  </a:moveTo>
                  <a:cubicBezTo>
                    <a:pt x="0" y="11901"/>
                    <a:pt x="11901" y="0"/>
                    <a:pt x="29752" y="0"/>
                  </a:cubicBezTo>
                  <a:cubicBezTo>
                    <a:pt x="44628" y="0"/>
                    <a:pt x="56529" y="11901"/>
                    <a:pt x="56529" y="26777"/>
                  </a:cubicBezTo>
                  <a:cubicBezTo>
                    <a:pt x="56529" y="41653"/>
                    <a:pt x="44628" y="53554"/>
                    <a:pt x="26777" y="53554"/>
                  </a:cubicBezTo>
                  <a:cubicBezTo>
                    <a:pt x="11901" y="53554"/>
                    <a:pt x="0" y="41653"/>
                    <a:pt x="0" y="26777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83" name="任意多边形: 形状 82">
            <a:extLst>
              <a:ext uri="{FF2B5EF4-FFF2-40B4-BE49-F238E27FC236}">
                <a16:creationId xmlns:a16="http://schemas.microsoft.com/office/drawing/2014/main" id="{1DA69314-1EDC-49FE-9D3E-7EE2DD01596A}"/>
              </a:ext>
            </a:extLst>
          </p:cNvPr>
          <p:cNvSpPr/>
          <p:nvPr/>
        </p:nvSpPr>
        <p:spPr>
          <a:xfrm>
            <a:off x="7760721" y="2360590"/>
            <a:ext cx="519605" cy="232200"/>
          </a:xfrm>
          <a:custGeom>
            <a:avLst/>
            <a:gdLst>
              <a:gd name="connsiteX0" fmla="*/ 408926 w 519605"/>
              <a:gd name="connsiteY0" fmla="*/ 232201 h 232200"/>
              <a:gd name="connsiteX1" fmla="*/ 402975 w 519605"/>
              <a:gd name="connsiteY1" fmla="*/ 229226 h 232200"/>
              <a:gd name="connsiteX2" fmla="*/ 402975 w 519605"/>
              <a:gd name="connsiteY2" fmla="*/ 220300 h 232200"/>
              <a:gd name="connsiteX3" fmla="*/ 507108 w 519605"/>
              <a:gd name="connsiteY3" fmla="*/ 83441 h 232200"/>
              <a:gd name="connsiteX4" fmla="*/ 447603 w 519605"/>
              <a:gd name="connsiteY4" fmla="*/ 20961 h 232200"/>
              <a:gd name="connsiteX5" fmla="*/ 10249 w 519605"/>
              <a:gd name="connsiteY5" fmla="*/ 196498 h 232200"/>
              <a:gd name="connsiteX6" fmla="*/ 1322 w 519605"/>
              <a:gd name="connsiteY6" fmla="*/ 196498 h 232200"/>
              <a:gd name="connsiteX7" fmla="*/ 1322 w 519605"/>
              <a:gd name="connsiteY7" fmla="*/ 187573 h 232200"/>
              <a:gd name="connsiteX8" fmla="*/ 450579 w 519605"/>
              <a:gd name="connsiteY8" fmla="*/ 9060 h 232200"/>
              <a:gd name="connsiteX9" fmla="*/ 519008 w 519605"/>
              <a:gd name="connsiteY9" fmla="*/ 80465 h 232200"/>
              <a:gd name="connsiteX10" fmla="*/ 411901 w 519605"/>
              <a:gd name="connsiteY10" fmla="*/ 226250 h 232200"/>
              <a:gd name="connsiteX11" fmla="*/ 408926 w 519605"/>
              <a:gd name="connsiteY11" fmla="*/ 232201 h 23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9605" h="232200">
                <a:moveTo>
                  <a:pt x="408926" y="232201"/>
                </a:moveTo>
                <a:cubicBezTo>
                  <a:pt x="405951" y="232201"/>
                  <a:pt x="405951" y="232201"/>
                  <a:pt x="402975" y="229226"/>
                </a:cubicBezTo>
                <a:cubicBezTo>
                  <a:pt x="400000" y="226250"/>
                  <a:pt x="402975" y="223275"/>
                  <a:pt x="402975" y="220300"/>
                </a:cubicBezTo>
                <a:cubicBezTo>
                  <a:pt x="477355" y="166746"/>
                  <a:pt x="510083" y="122118"/>
                  <a:pt x="507108" y="83441"/>
                </a:cubicBezTo>
                <a:cubicBezTo>
                  <a:pt x="504132" y="50713"/>
                  <a:pt x="468430" y="29887"/>
                  <a:pt x="447603" y="20961"/>
                </a:cubicBezTo>
                <a:cubicBezTo>
                  <a:pt x="316694" y="-32593"/>
                  <a:pt x="13223" y="196498"/>
                  <a:pt x="10249" y="196498"/>
                </a:cubicBezTo>
                <a:cubicBezTo>
                  <a:pt x="7273" y="199474"/>
                  <a:pt x="4298" y="196498"/>
                  <a:pt x="1322" y="196498"/>
                </a:cubicBezTo>
                <a:cubicBezTo>
                  <a:pt x="-1653" y="193523"/>
                  <a:pt x="1322" y="190548"/>
                  <a:pt x="1322" y="187573"/>
                </a:cubicBezTo>
                <a:cubicBezTo>
                  <a:pt x="13223" y="178647"/>
                  <a:pt x="313719" y="-47469"/>
                  <a:pt x="450579" y="9060"/>
                </a:cubicBezTo>
                <a:cubicBezTo>
                  <a:pt x="492232" y="26912"/>
                  <a:pt x="516034" y="50713"/>
                  <a:pt x="519008" y="80465"/>
                </a:cubicBezTo>
                <a:cubicBezTo>
                  <a:pt x="524959" y="122118"/>
                  <a:pt x="486282" y="172697"/>
                  <a:pt x="411901" y="226250"/>
                </a:cubicBezTo>
                <a:cubicBezTo>
                  <a:pt x="408926" y="232201"/>
                  <a:pt x="408926" y="232201"/>
                  <a:pt x="408926" y="232201"/>
                </a:cubicBezTo>
                <a:close/>
              </a:path>
            </a:pathLst>
          </a:custGeom>
          <a:solidFill>
            <a:srgbClr val="38343B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4" name="任意多边形: 形状 53">
            <a:extLst>
              <a:ext uri="{FF2B5EF4-FFF2-40B4-BE49-F238E27FC236}">
                <a16:creationId xmlns:a16="http://schemas.microsoft.com/office/drawing/2014/main" id="{E3F93534-3E9E-4F02-8A38-E9CB4D8B7941}"/>
              </a:ext>
            </a:extLst>
          </p:cNvPr>
          <p:cNvSpPr/>
          <p:nvPr/>
        </p:nvSpPr>
        <p:spPr>
          <a:xfrm>
            <a:off x="8967003" y="3169981"/>
            <a:ext cx="110364" cy="298278"/>
          </a:xfrm>
          <a:custGeom>
            <a:avLst/>
            <a:gdLst>
              <a:gd name="connsiteX0" fmla="*/ 0 w 110364"/>
              <a:gd name="connsiteY0" fmla="*/ 5950 h 298278"/>
              <a:gd name="connsiteX1" fmla="*/ 17851 w 110364"/>
              <a:gd name="connsiteY1" fmla="*/ 282645 h 298278"/>
              <a:gd name="connsiteX2" fmla="*/ 65453 w 110364"/>
              <a:gd name="connsiteY2" fmla="*/ 297521 h 298278"/>
              <a:gd name="connsiteX3" fmla="*/ 110081 w 110364"/>
              <a:gd name="connsiteY3" fmla="*/ 276694 h 298278"/>
              <a:gd name="connsiteX4" fmla="*/ 92231 w 110364"/>
              <a:gd name="connsiteY4" fmla="*/ 0 h 298278"/>
              <a:gd name="connsiteX5" fmla="*/ 47603 w 110364"/>
              <a:gd name="connsiteY5" fmla="*/ 23802 h 298278"/>
              <a:gd name="connsiteX6" fmla="*/ 0 w 110364"/>
              <a:gd name="connsiteY6" fmla="*/ 5950 h 298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0364" h="298278">
                <a:moveTo>
                  <a:pt x="0" y="5950"/>
                </a:moveTo>
                <a:lnTo>
                  <a:pt x="17851" y="282645"/>
                </a:lnTo>
                <a:cubicBezTo>
                  <a:pt x="17851" y="294546"/>
                  <a:pt x="38677" y="300496"/>
                  <a:pt x="65453" y="297521"/>
                </a:cubicBezTo>
                <a:cubicBezTo>
                  <a:pt x="92231" y="294546"/>
                  <a:pt x="113057" y="285620"/>
                  <a:pt x="110081" y="276694"/>
                </a:cubicBezTo>
                <a:lnTo>
                  <a:pt x="92231" y="0"/>
                </a:lnTo>
                <a:cubicBezTo>
                  <a:pt x="92231" y="11901"/>
                  <a:pt x="71404" y="23802"/>
                  <a:pt x="47603" y="23802"/>
                </a:cubicBezTo>
                <a:cubicBezTo>
                  <a:pt x="20825" y="26777"/>
                  <a:pt x="0" y="17851"/>
                  <a:pt x="0" y="5950"/>
                </a:cubicBezTo>
                <a:close/>
              </a:path>
            </a:pathLst>
          </a:custGeom>
          <a:solidFill>
            <a:srgbClr val="38333D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5" name="任意多边形: 形状 54">
            <a:extLst>
              <a:ext uri="{FF2B5EF4-FFF2-40B4-BE49-F238E27FC236}">
                <a16:creationId xmlns:a16="http://schemas.microsoft.com/office/drawing/2014/main" id="{324D9098-BD65-41BE-B6A5-5222D9822552}"/>
              </a:ext>
            </a:extLst>
          </p:cNvPr>
          <p:cNvSpPr/>
          <p:nvPr/>
        </p:nvSpPr>
        <p:spPr>
          <a:xfrm>
            <a:off x="8611259" y="1912386"/>
            <a:ext cx="703270" cy="819322"/>
          </a:xfrm>
          <a:custGeom>
            <a:avLst/>
            <a:gdLst>
              <a:gd name="connsiteX0" fmla="*/ 557057 w 703270"/>
              <a:gd name="connsiteY0" fmla="*/ 750250 h 819322"/>
              <a:gd name="connsiteX1" fmla="*/ 372594 w 703270"/>
              <a:gd name="connsiteY1" fmla="*/ 818679 h 819322"/>
              <a:gd name="connsiteX2" fmla="*/ 694 w 703270"/>
              <a:gd name="connsiteY2" fmla="*/ 470580 h 819322"/>
              <a:gd name="connsiteX3" fmla="*/ 84000 w 703270"/>
              <a:gd name="connsiteY3" fmla="*/ 164134 h 819322"/>
              <a:gd name="connsiteX4" fmla="*/ 324991 w 703270"/>
              <a:gd name="connsiteY4" fmla="*/ 497 h 819322"/>
              <a:gd name="connsiteX5" fmla="*/ 583834 w 703270"/>
              <a:gd name="connsiteY5" fmla="*/ 134382 h 819322"/>
              <a:gd name="connsiteX6" fmla="*/ 702843 w 703270"/>
              <a:gd name="connsiteY6" fmla="*/ 428927 h 819322"/>
              <a:gd name="connsiteX7" fmla="*/ 557057 w 703270"/>
              <a:gd name="connsiteY7" fmla="*/ 750250 h 819322"/>
              <a:gd name="connsiteX8" fmla="*/ 194081 w 703270"/>
              <a:gd name="connsiteY8" fmla="*/ 74878 h 819322"/>
              <a:gd name="connsiteX9" fmla="*/ 101850 w 703270"/>
              <a:gd name="connsiteY9" fmla="*/ 179010 h 819322"/>
              <a:gd name="connsiteX10" fmla="*/ 21519 w 703270"/>
              <a:gd name="connsiteY10" fmla="*/ 473555 h 819322"/>
              <a:gd name="connsiteX11" fmla="*/ 372594 w 703270"/>
              <a:gd name="connsiteY11" fmla="*/ 800828 h 819322"/>
              <a:gd name="connsiteX12" fmla="*/ 682016 w 703270"/>
              <a:gd name="connsiteY12" fmla="*/ 434878 h 819322"/>
              <a:gd name="connsiteX13" fmla="*/ 565982 w 703270"/>
              <a:gd name="connsiteY13" fmla="*/ 152233 h 819322"/>
              <a:gd name="connsiteX14" fmla="*/ 324991 w 703270"/>
              <a:gd name="connsiteY14" fmla="*/ 24299 h 819322"/>
              <a:gd name="connsiteX15" fmla="*/ 194081 w 703270"/>
              <a:gd name="connsiteY15" fmla="*/ 74878 h 819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03270" h="819322">
                <a:moveTo>
                  <a:pt x="557057" y="750250"/>
                </a:moveTo>
                <a:cubicBezTo>
                  <a:pt x="503503" y="788927"/>
                  <a:pt x="441025" y="815704"/>
                  <a:pt x="372594" y="818679"/>
                </a:cubicBezTo>
                <a:cubicBezTo>
                  <a:pt x="179205" y="830580"/>
                  <a:pt x="12594" y="675869"/>
                  <a:pt x="694" y="470580"/>
                </a:cubicBezTo>
                <a:cubicBezTo>
                  <a:pt x="-5257" y="372398"/>
                  <a:pt x="27470" y="256365"/>
                  <a:pt x="84000" y="164134"/>
                </a:cubicBezTo>
                <a:cubicBezTo>
                  <a:pt x="149453" y="62977"/>
                  <a:pt x="232760" y="3473"/>
                  <a:pt x="324991" y="497"/>
                </a:cubicBezTo>
                <a:cubicBezTo>
                  <a:pt x="414247" y="-5453"/>
                  <a:pt x="506478" y="42150"/>
                  <a:pt x="583834" y="134382"/>
                </a:cubicBezTo>
                <a:cubicBezTo>
                  <a:pt x="652264" y="217688"/>
                  <a:pt x="696892" y="327770"/>
                  <a:pt x="702843" y="428927"/>
                </a:cubicBezTo>
                <a:cubicBezTo>
                  <a:pt x="708793" y="559836"/>
                  <a:pt x="652264" y="678845"/>
                  <a:pt x="557057" y="750250"/>
                </a:cubicBezTo>
                <a:close/>
                <a:moveTo>
                  <a:pt x="194081" y="74878"/>
                </a:moveTo>
                <a:cubicBezTo>
                  <a:pt x="161355" y="101654"/>
                  <a:pt x="128628" y="134382"/>
                  <a:pt x="101850" y="179010"/>
                </a:cubicBezTo>
                <a:cubicBezTo>
                  <a:pt x="45321" y="268266"/>
                  <a:pt x="15570" y="375373"/>
                  <a:pt x="21519" y="473555"/>
                </a:cubicBezTo>
                <a:cubicBezTo>
                  <a:pt x="33421" y="663969"/>
                  <a:pt x="191107" y="812729"/>
                  <a:pt x="372594" y="800828"/>
                </a:cubicBezTo>
                <a:cubicBezTo>
                  <a:pt x="554082" y="788927"/>
                  <a:pt x="693917" y="625291"/>
                  <a:pt x="682016" y="434878"/>
                </a:cubicBezTo>
                <a:cubicBezTo>
                  <a:pt x="676065" y="339671"/>
                  <a:pt x="634413" y="235539"/>
                  <a:pt x="565982" y="152233"/>
                </a:cubicBezTo>
                <a:cubicBezTo>
                  <a:pt x="494578" y="65952"/>
                  <a:pt x="408296" y="18349"/>
                  <a:pt x="324991" y="24299"/>
                </a:cubicBezTo>
                <a:cubicBezTo>
                  <a:pt x="280363" y="27274"/>
                  <a:pt x="235735" y="45126"/>
                  <a:pt x="194081" y="74878"/>
                </a:cubicBezTo>
                <a:close/>
              </a:path>
            </a:pathLst>
          </a:custGeom>
          <a:solidFill>
            <a:srgbClr val="7F95BC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7" name="任意多边形: 形状 56">
            <a:extLst>
              <a:ext uri="{FF2B5EF4-FFF2-40B4-BE49-F238E27FC236}">
                <a16:creationId xmlns:a16="http://schemas.microsoft.com/office/drawing/2014/main" id="{2BDA3F14-ABA5-4D6D-83D4-EA26B6672B9B}"/>
              </a:ext>
            </a:extLst>
          </p:cNvPr>
          <p:cNvSpPr/>
          <p:nvPr/>
        </p:nvSpPr>
        <p:spPr>
          <a:xfrm>
            <a:off x="8856920" y="2693948"/>
            <a:ext cx="258843" cy="497429"/>
          </a:xfrm>
          <a:custGeom>
            <a:avLst/>
            <a:gdLst>
              <a:gd name="connsiteX0" fmla="*/ 0 w 258843"/>
              <a:gd name="connsiteY0" fmla="*/ 17851 h 497429"/>
              <a:gd name="connsiteX1" fmla="*/ 130908 w 258843"/>
              <a:gd name="connsiteY1" fmla="*/ 35703 h 497429"/>
              <a:gd name="connsiteX2" fmla="*/ 258843 w 258843"/>
              <a:gd name="connsiteY2" fmla="*/ 0 h 497429"/>
              <a:gd name="connsiteX3" fmla="*/ 181487 w 258843"/>
              <a:gd name="connsiteY3" fmla="*/ 124959 h 497429"/>
              <a:gd name="connsiteX4" fmla="*/ 202314 w 258843"/>
              <a:gd name="connsiteY4" fmla="*/ 473058 h 497429"/>
              <a:gd name="connsiteX5" fmla="*/ 157686 w 258843"/>
              <a:gd name="connsiteY5" fmla="*/ 496860 h 497429"/>
              <a:gd name="connsiteX6" fmla="*/ 110083 w 258843"/>
              <a:gd name="connsiteY6" fmla="*/ 476033 h 497429"/>
              <a:gd name="connsiteX7" fmla="*/ 89256 w 258843"/>
              <a:gd name="connsiteY7" fmla="*/ 127934 h 497429"/>
              <a:gd name="connsiteX8" fmla="*/ 0 w 258843"/>
              <a:gd name="connsiteY8" fmla="*/ 17851 h 497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8843" h="497429">
                <a:moveTo>
                  <a:pt x="0" y="17851"/>
                </a:moveTo>
                <a:lnTo>
                  <a:pt x="130908" y="35703"/>
                </a:lnTo>
                <a:lnTo>
                  <a:pt x="258843" y="0"/>
                </a:lnTo>
                <a:lnTo>
                  <a:pt x="181487" y="124959"/>
                </a:lnTo>
                <a:lnTo>
                  <a:pt x="202314" y="473058"/>
                </a:lnTo>
                <a:cubicBezTo>
                  <a:pt x="202314" y="484959"/>
                  <a:pt x="181487" y="496860"/>
                  <a:pt x="157686" y="496860"/>
                </a:cubicBezTo>
                <a:cubicBezTo>
                  <a:pt x="130908" y="499835"/>
                  <a:pt x="110083" y="490909"/>
                  <a:pt x="110083" y="476033"/>
                </a:cubicBezTo>
                <a:lnTo>
                  <a:pt x="89256" y="127934"/>
                </a:lnTo>
                <a:lnTo>
                  <a:pt x="0" y="17851"/>
                </a:lnTo>
                <a:close/>
              </a:path>
            </a:pathLst>
          </a:custGeom>
          <a:solidFill>
            <a:srgbClr val="7F95BC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8B711F53-54ED-4DFF-9B55-BFE0B6332245}"/>
              </a:ext>
            </a:extLst>
          </p:cNvPr>
          <p:cNvSpPr/>
          <p:nvPr/>
        </p:nvSpPr>
        <p:spPr>
          <a:xfrm>
            <a:off x="9651300" y="2583865"/>
            <a:ext cx="226114" cy="226115"/>
          </a:xfrm>
          <a:custGeom>
            <a:avLst/>
            <a:gdLst>
              <a:gd name="connsiteX0" fmla="*/ 0 w 226114"/>
              <a:gd name="connsiteY0" fmla="*/ 113058 h 226115"/>
              <a:gd name="connsiteX1" fmla="*/ 47603 w 226114"/>
              <a:gd name="connsiteY1" fmla="*/ 205289 h 226115"/>
              <a:gd name="connsiteX2" fmla="*/ 74380 w 226114"/>
              <a:gd name="connsiteY2" fmla="*/ 220165 h 226115"/>
              <a:gd name="connsiteX3" fmla="*/ 113057 w 226114"/>
              <a:gd name="connsiteY3" fmla="*/ 226116 h 226115"/>
              <a:gd name="connsiteX4" fmla="*/ 226115 w 226114"/>
              <a:gd name="connsiteY4" fmla="*/ 113058 h 226115"/>
              <a:gd name="connsiteX5" fmla="*/ 121983 w 226114"/>
              <a:gd name="connsiteY5" fmla="*/ 0 h 226115"/>
              <a:gd name="connsiteX6" fmla="*/ 113057 w 226114"/>
              <a:gd name="connsiteY6" fmla="*/ 0 h 226115"/>
              <a:gd name="connsiteX7" fmla="*/ 77355 w 226114"/>
              <a:gd name="connsiteY7" fmla="*/ 5950 h 226115"/>
              <a:gd name="connsiteX8" fmla="*/ 0 w 226114"/>
              <a:gd name="connsiteY8" fmla="*/ 113058 h 226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6114" h="226115">
                <a:moveTo>
                  <a:pt x="0" y="113058"/>
                </a:moveTo>
                <a:cubicBezTo>
                  <a:pt x="0" y="151736"/>
                  <a:pt x="17851" y="184463"/>
                  <a:pt x="47603" y="205289"/>
                </a:cubicBezTo>
                <a:cubicBezTo>
                  <a:pt x="56528" y="211240"/>
                  <a:pt x="65453" y="217190"/>
                  <a:pt x="74380" y="220165"/>
                </a:cubicBezTo>
                <a:cubicBezTo>
                  <a:pt x="86280" y="226116"/>
                  <a:pt x="101156" y="226116"/>
                  <a:pt x="113057" y="226116"/>
                </a:cubicBezTo>
                <a:cubicBezTo>
                  <a:pt x="175536" y="226116"/>
                  <a:pt x="226115" y="175537"/>
                  <a:pt x="226115" y="113058"/>
                </a:cubicBezTo>
                <a:cubicBezTo>
                  <a:pt x="226115" y="53554"/>
                  <a:pt x="178512" y="2975"/>
                  <a:pt x="121983" y="0"/>
                </a:cubicBezTo>
                <a:cubicBezTo>
                  <a:pt x="119008" y="0"/>
                  <a:pt x="116032" y="0"/>
                  <a:pt x="113057" y="0"/>
                </a:cubicBezTo>
                <a:cubicBezTo>
                  <a:pt x="101156" y="0"/>
                  <a:pt x="89256" y="2975"/>
                  <a:pt x="77355" y="5950"/>
                </a:cubicBezTo>
                <a:cubicBezTo>
                  <a:pt x="32727" y="17851"/>
                  <a:pt x="0" y="62479"/>
                  <a:pt x="0" y="113058"/>
                </a:cubicBezTo>
                <a:close/>
              </a:path>
            </a:pathLst>
          </a:custGeom>
          <a:solidFill>
            <a:srgbClr val="F1DDBA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05218D51-281E-4C24-8844-D1782F097F81}"/>
              </a:ext>
            </a:extLst>
          </p:cNvPr>
          <p:cNvSpPr/>
          <p:nvPr/>
        </p:nvSpPr>
        <p:spPr>
          <a:xfrm>
            <a:off x="9698903" y="2583865"/>
            <a:ext cx="129537" cy="220165"/>
          </a:xfrm>
          <a:custGeom>
            <a:avLst/>
            <a:gdLst>
              <a:gd name="connsiteX0" fmla="*/ 26778 w 129537"/>
              <a:gd name="connsiteY0" fmla="*/ 220165 h 220165"/>
              <a:gd name="connsiteX1" fmla="*/ 101158 w 129537"/>
              <a:gd name="connsiteY1" fmla="*/ 130909 h 220165"/>
              <a:gd name="connsiteX2" fmla="*/ 127934 w 129537"/>
              <a:gd name="connsiteY2" fmla="*/ 98182 h 220165"/>
              <a:gd name="connsiteX3" fmla="*/ 74380 w 129537"/>
              <a:gd name="connsiteY3" fmla="*/ 0 h 220165"/>
              <a:gd name="connsiteX4" fmla="*/ 65455 w 129537"/>
              <a:gd name="connsiteY4" fmla="*/ 0 h 220165"/>
              <a:gd name="connsiteX5" fmla="*/ 29752 w 129537"/>
              <a:gd name="connsiteY5" fmla="*/ 5950 h 220165"/>
              <a:gd name="connsiteX6" fmla="*/ 32727 w 129537"/>
              <a:gd name="connsiteY6" fmla="*/ 8926 h 220165"/>
              <a:gd name="connsiteX7" fmla="*/ 92231 w 129537"/>
              <a:gd name="connsiteY7" fmla="*/ 56529 h 220165"/>
              <a:gd name="connsiteX8" fmla="*/ 53553 w 129537"/>
              <a:gd name="connsiteY8" fmla="*/ 124959 h 220165"/>
              <a:gd name="connsiteX9" fmla="*/ 17851 w 129537"/>
              <a:gd name="connsiteY9" fmla="*/ 157686 h 220165"/>
              <a:gd name="connsiteX10" fmla="*/ 0 w 129537"/>
              <a:gd name="connsiteY10" fmla="*/ 208265 h 220165"/>
              <a:gd name="connsiteX11" fmla="*/ 26778 w 129537"/>
              <a:gd name="connsiteY11" fmla="*/ 220165 h 220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9537" h="220165">
                <a:moveTo>
                  <a:pt x="26778" y="220165"/>
                </a:moveTo>
                <a:cubicBezTo>
                  <a:pt x="14876" y="175537"/>
                  <a:pt x="65455" y="151736"/>
                  <a:pt x="101158" y="130909"/>
                </a:cubicBezTo>
                <a:cubicBezTo>
                  <a:pt x="116034" y="121983"/>
                  <a:pt x="121983" y="116033"/>
                  <a:pt x="127934" y="98182"/>
                </a:cubicBezTo>
                <a:cubicBezTo>
                  <a:pt x="136859" y="56529"/>
                  <a:pt x="107107" y="23802"/>
                  <a:pt x="74380" y="0"/>
                </a:cubicBezTo>
                <a:cubicBezTo>
                  <a:pt x="71406" y="0"/>
                  <a:pt x="68429" y="0"/>
                  <a:pt x="65455" y="0"/>
                </a:cubicBezTo>
                <a:cubicBezTo>
                  <a:pt x="53553" y="0"/>
                  <a:pt x="41654" y="2975"/>
                  <a:pt x="29752" y="5950"/>
                </a:cubicBezTo>
                <a:cubicBezTo>
                  <a:pt x="29752" y="5950"/>
                  <a:pt x="32727" y="8926"/>
                  <a:pt x="32727" y="8926"/>
                </a:cubicBezTo>
                <a:cubicBezTo>
                  <a:pt x="53553" y="20826"/>
                  <a:pt x="80331" y="35703"/>
                  <a:pt x="92231" y="56529"/>
                </a:cubicBezTo>
                <a:cubicBezTo>
                  <a:pt x="121983" y="110083"/>
                  <a:pt x="71406" y="110083"/>
                  <a:pt x="53553" y="124959"/>
                </a:cubicBezTo>
                <a:cubicBezTo>
                  <a:pt x="38677" y="136860"/>
                  <a:pt x="26778" y="142810"/>
                  <a:pt x="17851" y="157686"/>
                </a:cubicBezTo>
                <a:cubicBezTo>
                  <a:pt x="5951" y="172562"/>
                  <a:pt x="0" y="190413"/>
                  <a:pt x="0" y="208265"/>
                </a:cubicBezTo>
                <a:cubicBezTo>
                  <a:pt x="8925" y="211240"/>
                  <a:pt x="17851" y="217190"/>
                  <a:pt x="26778" y="220165"/>
                </a:cubicBezTo>
                <a:close/>
              </a:path>
            </a:pathLst>
          </a:custGeom>
          <a:solidFill>
            <a:srgbClr val="7F95BC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89CF96A7-E20A-440E-841C-03E8878CECF5}"/>
              </a:ext>
            </a:extLst>
          </p:cNvPr>
          <p:cNvSpPr/>
          <p:nvPr/>
        </p:nvSpPr>
        <p:spPr>
          <a:xfrm>
            <a:off x="8954327" y="3258761"/>
            <a:ext cx="155485" cy="184080"/>
          </a:xfrm>
          <a:custGeom>
            <a:avLst/>
            <a:gdLst>
              <a:gd name="connsiteX0" fmla="*/ 107881 w 155485"/>
              <a:gd name="connsiteY0" fmla="*/ 3451 h 184080"/>
              <a:gd name="connsiteX1" fmla="*/ 774 w 155485"/>
              <a:gd name="connsiteY1" fmla="*/ 62955 h 184080"/>
              <a:gd name="connsiteX2" fmla="*/ 42428 w 155485"/>
              <a:gd name="connsiteY2" fmla="*/ 178988 h 184080"/>
              <a:gd name="connsiteX3" fmla="*/ 134658 w 155485"/>
              <a:gd name="connsiteY3" fmla="*/ 173038 h 184080"/>
              <a:gd name="connsiteX4" fmla="*/ 155485 w 155485"/>
              <a:gd name="connsiteY4" fmla="*/ 140311 h 184080"/>
              <a:gd name="connsiteX5" fmla="*/ 149534 w 155485"/>
              <a:gd name="connsiteY5" fmla="*/ 122459 h 184080"/>
              <a:gd name="connsiteX6" fmla="*/ 149534 w 155485"/>
              <a:gd name="connsiteY6" fmla="*/ 104608 h 184080"/>
              <a:gd name="connsiteX7" fmla="*/ 140609 w 155485"/>
              <a:gd name="connsiteY7" fmla="*/ 92707 h 184080"/>
              <a:gd name="connsiteX8" fmla="*/ 137633 w 155485"/>
              <a:gd name="connsiteY8" fmla="*/ 71881 h 184080"/>
              <a:gd name="connsiteX9" fmla="*/ 134658 w 155485"/>
              <a:gd name="connsiteY9" fmla="*/ 54030 h 184080"/>
              <a:gd name="connsiteX10" fmla="*/ 122757 w 155485"/>
              <a:gd name="connsiteY10" fmla="*/ 42129 h 184080"/>
              <a:gd name="connsiteX11" fmla="*/ 107881 w 155485"/>
              <a:gd name="connsiteY11" fmla="*/ 3451 h 18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5485" h="184080">
                <a:moveTo>
                  <a:pt x="107881" y="3451"/>
                </a:moveTo>
                <a:cubicBezTo>
                  <a:pt x="93005" y="-11425"/>
                  <a:pt x="36477" y="24278"/>
                  <a:pt x="774" y="62955"/>
                </a:cubicBezTo>
                <a:cubicBezTo>
                  <a:pt x="-5177" y="68906"/>
                  <a:pt x="24575" y="173038"/>
                  <a:pt x="42428" y="178988"/>
                </a:cubicBezTo>
                <a:cubicBezTo>
                  <a:pt x="69203" y="190889"/>
                  <a:pt x="125733" y="178988"/>
                  <a:pt x="134658" y="173038"/>
                </a:cubicBezTo>
                <a:cubicBezTo>
                  <a:pt x="149534" y="164112"/>
                  <a:pt x="155485" y="155187"/>
                  <a:pt x="155485" y="140311"/>
                </a:cubicBezTo>
                <a:cubicBezTo>
                  <a:pt x="155485" y="125435"/>
                  <a:pt x="152509" y="131385"/>
                  <a:pt x="149534" y="122459"/>
                </a:cubicBezTo>
                <a:cubicBezTo>
                  <a:pt x="149534" y="113534"/>
                  <a:pt x="152509" y="110559"/>
                  <a:pt x="149534" y="104608"/>
                </a:cubicBezTo>
                <a:cubicBezTo>
                  <a:pt x="146560" y="98658"/>
                  <a:pt x="143584" y="95683"/>
                  <a:pt x="140609" y="92707"/>
                </a:cubicBezTo>
                <a:cubicBezTo>
                  <a:pt x="134658" y="77831"/>
                  <a:pt x="134658" y="89732"/>
                  <a:pt x="137633" y="71881"/>
                </a:cubicBezTo>
                <a:cubicBezTo>
                  <a:pt x="137633" y="65930"/>
                  <a:pt x="137633" y="59980"/>
                  <a:pt x="134658" y="54030"/>
                </a:cubicBezTo>
                <a:cubicBezTo>
                  <a:pt x="131684" y="48079"/>
                  <a:pt x="128708" y="45104"/>
                  <a:pt x="122757" y="42129"/>
                </a:cubicBezTo>
                <a:cubicBezTo>
                  <a:pt x="125733" y="24278"/>
                  <a:pt x="119782" y="12377"/>
                  <a:pt x="107881" y="3451"/>
                </a:cubicBezTo>
                <a:close/>
              </a:path>
            </a:pathLst>
          </a:custGeom>
          <a:solidFill>
            <a:srgbClr val="F5A398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2B2CF951-1B5B-4B2F-B8F3-E1DE4A350935}"/>
              </a:ext>
            </a:extLst>
          </p:cNvPr>
          <p:cNvSpPr/>
          <p:nvPr/>
        </p:nvSpPr>
        <p:spPr>
          <a:xfrm>
            <a:off x="8949150" y="3202708"/>
            <a:ext cx="107691" cy="130144"/>
          </a:xfrm>
          <a:custGeom>
            <a:avLst/>
            <a:gdLst>
              <a:gd name="connsiteX0" fmla="*/ 92232 w 107691"/>
              <a:gd name="connsiteY0" fmla="*/ 0 h 130144"/>
              <a:gd name="connsiteX1" fmla="*/ 29752 w 107691"/>
              <a:gd name="connsiteY1" fmla="*/ 26777 h 130144"/>
              <a:gd name="connsiteX2" fmla="*/ 0 w 107691"/>
              <a:gd name="connsiteY2" fmla="*/ 124959 h 130144"/>
              <a:gd name="connsiteX3" fmla="*/ 29752 w 107691"/>
              <a:gd name="connsiteY3" fmla="*/ 121983 h 130144"/>
              <a:gd name="connsiteX4" fmla="*/ 44628 w 107691"/>
              <a:gd name="connsiteY4" fmla="*/ 119008 h 130144"/>
              <a:gd name="connsiteX5" fmla="*/ 62480 w 107691"/>
              <a:gd name="connsiteY5" fmla="*/ 92231 h 130144"/>
              <a:gd name="connsiteX6" fmla="*/ 71406 w 107691"/>
              <a:gd name="connsiteY6" fmla="*/ 59504 h 130144"/>
              <a:gd name="connsiteX7" fmla="*/ 92232 w 107691"/>
              <a:gd name="connsiteY7" fmla="*/ 44628 h 130144"/>
              <a:gd name="connsiteX8" fmla="*/ 107109 w 107691"/>
              <a:gd name="connsiteY8" fmla="*/ 20826 h 130144"/>
              <a:gd name="connsiteX9" fmla="*/ 92232 w 107691"/>
              <a:gd name="connsiteY9" fmla="*/ 0 h 130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691" h="130144">
                <a:moveTo>
                  <a:pt x="92232" y="0"/>
                </a:moveTo>
                <a:cubicBezTo>
                  <a:pt x="68429" y="2975"/>
                  <a:pt x="44628" y="2975"/>
                  <a:pt x="29752" y="26777"/>
                </a:cubicBezTo>
                <a:cubicBezTo>
                  <a:pt x="14876" y="50579"/>
                  <a:pt x="0" y="92231"/>
                  <a:pt x="0" y="124959"/>
                </a:cubicBezTo>
                <a:cubicBezTo>
                  <a:pt x="0" y="136859"/>
                  <a:pt x="23801" y="124959"/>
                  <a:pt x="29752" y="121983"/>
                </a:cubicBezTo>
                <a:cubicBezTo>
                  <a:pt x="35703" y="124959"/>
                  <a:pt x="41654" y="121983"/>
                  <a:pt x="44628" y="119008"/>
                </a:cubicBezTo>
                <a:cubicBezTo>
                  <a:pt x="50579" y="110083"/>
                  <a:pt x="56530" y="101157"/>
                  <a:pt x="62480" y="92231"/>
                </a:cubicBezTo>
                <a:cubicBezTo>
                  <a:pt x="65455" y="83306"/>
                  <a:pt x="65455" y="68430"/>
                  <a:pt x="71406" y="59504"/>
                </a:cubicBezTo>
                <a:cubicBezTo>
                  <a:pt x="74380" y="50579"/>
                  <a:pt x="86282" y="50579"/>
                  <a:pt x="92232" y="44628"/>
                </a:cubicBezTo>
                <a:cubicBezTo>
                  <a:pt x="101158" y="38678"/>
                  <a:pt x="104132" y="29752"/>
                  <a:pt x="107109" y="20826"/>
                </a:cubicBezTo>
                <a:cubicBezTo>
                  <a:pt x="110083" y="8926"/>
                  <a:pt x="101158" y="0"/>
                  <a:pt x="92232" y="0"/>
                </a:cubicBezTo>
                <a:close/>
              </a:path>
            </a:pathLst>
          </a:custGeom>
          <a:solidFill>
            <a:srgbClr val="F5A398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69631DB5-5123-4125-AA33-AF77E22E3C2A}"/>
              </a:ext>
            </a:extLst>
          </p:cNvPr>
          <p:cNvSpPr/>
          <p:nvPr/>
        </p:nvSpPr>
        <p:spPr>
          <a:xfrm>
            <a:off x="8974605" y="3247161"/>
            <a:ext cx="139414" cy="199514"/>
          </a:xfrm>
          <a:custGeom>
            <a:avLst/>
            <a:gdLst>
              <a:gd name="connsiteX0" fmla="*/ 60827 w 139414"/>
              <a:gd name="connsiteY0" fmla="*/ 199515 h 199514"/>
              <a:gd name="connsiteX1" fmla="*/ 37026 w 139414"/>
              <a:gd name="connsiteY1" fmla="*/ 196539 h 199514"/>
              <a:gd name="connsiteX2" fmla="*/ 31075 w 139414"/>
              <a:gd name="connsiteY2" fmla="*/ 190589 h 199514"/>
              <a:gd name="connsiteX3" fmla="*/ 37026 w 139414"/>
              <a:gd name="connsiteY3" fmla="*/ 184639 h 199514"/>
              <a:gd name="connsiteX4" fmla="*/ 108430 w 139414"/>
              <a:gd name="connsiteY4" fmla="*/ 175713 h 199514"/>
              <a:gd name="connsiteX5" fmla="*/ 123306 w 139414"/>
              <a:gd name="connsiteY5" fmla="*/ 131085 h 199514"/>
              <a:gd name="connsiteX6" fmla="*/ 123306 w 139414"/>
              <a:gd name="connsiteY6" fmla="*/ 125134 h 199514"/>
              <a:gd name="connsiteX7" fmla="*/ 126282 w 139414"/>
              <a:gd name="connsiteY7" fmla="*/ 110258 h 199514"/>
              <a:gd name="connsiteX8" fmla="*/ 114380 w 139414"/>
              <a:gd name="connsiteY8" fmla="*/ 95382 h 199514"/>
              <a:gd name="connsiteX9" fmla="*/ 111406 w 139414"/>
              <a:gd name="connsiteY9" fmla="*/ 89432 h 199514"/>
              <a:gd name="connsiteX10" fmla="*/ 111406 w 139414"/>
              <a:gd name="connsiteY10" fmla="*/ 62655 h 199514"/>
              <a:gd name="connsiteX11" fmla="*/ 99504 w 139414"/>
              <a:gd name="connsiteY11" fmla="*/ 53729 h 199514"/>
              <a:gd name="connsiteX12" fmla="*/ 96530 w 139414"/>
              <a:gd name="connsiteY12" fmla="*/ 50754 h 199514"/>
              <a:gd name="connsiteX13" fmla="*/ 96530 w 139414"/>
              <a:gd name="connsiteY13" fmla="*/ 44804 h 199514"/>
              <a:gd name="connsiteX14" fmla="*/ 96530 w 139414"/>
              <a:gd name="connsiteY14" fmla="*/ 26953 h 199514"/>
              <a:gd name="connsiteX15" fmla="*/ 78677 w 139414"/>
              <a:gd name="connsiteY15" fmla="*/ 12077 h 199514"/>
              <a:gd name="connsiteX16" fmla="*/ 10248 w 139414"/>
              <a:gd name="connsiteY16" fmla="*/ 47779 h 199514"/>
              <a:gd name="connsiteX17" fmla="*/ 1323 w 139414"/>
              <a:gd name="connsiteY17" fmla="*/ 47779 h 199514"/>
              <a:gd name="connsiteX18" fmla="*/ 1323 w 139414"/>
              <a:gd name="connsiteY18" fmla="*/ 38853 h 199514"/>
              <a:gd name="connsiteX19" fmla="*/ 78677 w 139414"/>
              <a:gd name="connsiteY19" fmla="*/ 176 h 199514"/>
              <a:gd name="connsiteX20" fmla="*/ 105455 w 139414"/>
              <a:gd name="connsiteY20" fmla="*/ 21002 h 199514"/>
              <a:gd name="connsiteX21" fmla="*/ 108430 w 139414"/>
              <a:gd name="connsiteY21" fmla="*/ 41829 h 199514"/>
              <a:gd name="connsiteX22" fmla="*/ 120331 w 139414"/>
              <a:gd name="connsiteY22" fmla="*/ 53729 h 199514"/>
              <a:gd name="connsiteX23" fmla="*/ 123306 w 139414"/>
              <a:gd name="connsiteY23" fmla="*/ 83482 h 199514"/>
              <a:gd name="connsiteX24" fmla="*/ 138182 w 139414"/>
              <a:gd name="connsiteY24" fmla="*/ 104308 h 199514"/>
              <a:gd name="connsiteX25" fmla="*/ 135207 w 139414"/>
              <a:gd name="connsiteY25" fmla="*/ 125134 h 199514"/>
              <a:gd name="connsiteX26" fmla="*/ 114380 w 139414"/>
              <a:gd name="connsiteY26" fmla="*/ 181663 h 199514"/>
              <a:gd name="connsiteX27" fmla="*/ 60827 w 139414"/>
              <a:gd name="connsiteY27" fmla="*/ 199515 h 199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39414" h="199514">
                <a:moveTo>
                  <a:pt x="60827" y="199515"/>
                </a:moveTo>
                <a:cubicBezTo>
                  <a:pt x="48925" y="199515"/>
                  <a:pt x="37026" y="196539"/>
                  <a:pt x="37026" y="196539"/>
                </a:cubicBezTo>
                <a:cubicBezTo>
                  <a:pt x="34049" y="196539"/>
                  <a:pt x="31075" y="193564"/>
                  <a:pt x="31075" y="190589"/>
                </a:cubicBezTo>
                <a:cubicBezTo>
                  <a:pt x="31075" y="187614"/>
                  <a:pt x="34049" y="184639"/>
                  <a:pt x="37026" y="184639"/>
                </a:cubicBezTo>
                <a:cubicBezTo>
                  <a:pt x="37026" y="184639"/>
                  <a:pt x="78677" y="190589"/>
                  <a:pt x="108430" y="175713"/>
                </a:cubicBezTo>
                <a:cubicBezTo>
                  <a:pt x="135207" y="160837"/>
                  <a:pt x="123306" y="134060"/>
                  <a:pt x="123306" y="131085"/>
                </a:cubicBezTo>
                <a:cubicBezTo>
                  <a:pt x="123306" y="128110"/>
                  <a:pt x="123306" y="128110"/>
                  <a:pt x="123306" y="125134"/>
                </a:cubicBezTo>
                <a:cubicBezTo>
                  <a:pt x="126282" y="119184"/>
                  <a:pt x="129256" y="113234"/>
                  <a:pt x="126282" y="110258"/>
                </a:cubicBezTo>
                <a:cubicBezTo>
                  <a:pt x="123306" y="101333"/>
                  <a:pt x="114380" y="95382"/>
                  <a:pt x="114380" y="95382"/>
                </a:cubicBezTo>
                <a:cubicBezTo>
                  <a:pt x="111406" y="95382"/>
                  <a:pt x="111406" y="92407"/>
                  <a:pt x="111406" y="89432"/>
                </a:cubicBezTo>
                <a:cubicBezTo>
                  <a:pt x="114380" y="77531"/>
                  <a:pt x="114380" y="68605"/>
                  <a:pt x="111406" y="62655"/>
                </a:cubicBezTo>
                <a:cubicBezTo>
                  <a:pt x="108430" y="53729"/>
                  <a:pt x="99504" y="53729"/>
                  <a:pt x="99504" y="53729"/>
                </a:cubicBezTo>
                <a:cubicBezTo>
                  <a:pt x="96530" y="53729"/>
                  <a:pt x="96530" y="50754"/>
                  <a:pt x="96530" y="50754"/>
                </a:cubicBezTo>
                <a:cubicBezTo>
                  <a:pt x="96530" y="47779"/>
                  <a:pt x="96530" y="47779"/>
                  <a:pt x="96530" y="44804"/>
                </a:cubicBezTo>
                <a:cubicBezTo>
                  <a:pt x="99504" y="41829"/>
                  <a:pt x="99504" y="35878"/>
                  <a:pt x="96530" y="26953"/>
                </a:cubicBezTo>
                <a:cubicBezTo>
                  <a:pt x="93553" y="18027"/>
                  <a:pt x="84628" y="12077"/>
                  <a:pt x="78677" y="12077"/>
                </a:cubicBezTo>
                <a:cubicBezTo>
                  <a:pt x="66778" y="9101"/>
                  <a:pt x="31075" y="32903"/>
                  <a:pt x="10248" y="47779"/>
                </a:cubicBezTo>
                <a:cubicBezTo>
                  <a:pt x="7274" y="50754"/>
                  <a:pt x="4297" y="47779"/>
                  <a:pt x="1323" y="47779"/>
                </a:cubicBezTo>
                <a:cubicBezTo>
                  <a:pt x="-1653" y="44804"/>
                  <a:pt x="1323" y="41829"/>
                  <a:pt x="1323" y="38853"/>
                </a:cubicBezTo>
                <a:cubicBezTo>
                  <a:pt x="10248" y="32903"/>
                  <a:pt x="57851" y="-2800"/>
                  <a:pt x="78677" y="176"/>
                </a:cubicBezTo>
                <a:cubicBezTo>
                  <a:pt x="90579" y="176"/>
                  <a:pt x="99504" y="9101"/>
                  <a:pt x="105455" y="21002"/>
                </a:cubicBezTo>
                <a:cubicBezTo>
                  <a:pt x="108430" y="26953"/>
                  <a:pt x="111406" y="35878"/>
                  <a:pt x="108430" y="41829"/>
                </a:cubicBezTo>
                <a:cubicBezTo>
                  <a:pt x="111406" y="44804"/>
                  <a:pt x="117355" y="47779"/>
                  <a:pt x="120331" y="53729"/>
                </a:cubicBezTo>
                <a:cubicBezTo>
                  <a:pt x="126282" y="62655"/>
                  <a:pt x="126282" y="71581"/>
                  <a:pt x="123306" y="83482"/>
                </a:cubicBezTo>
                <a:cubicBezTo>
                  <a:pt x="129256" y="86457"/>
                  <a:pt x="135207" y="92407"/>
                  <a:pt x="138182" y="104308"/>
                </a:cubicBezTo>
                <a:cubicBezTo>
                  <a:pt x="141158" y="110258"/>
                  <a:pt x="138182" y="119184"/>
                  <a:pt x="135207" y="125134"/>
                </a:cubicBezTo>
                <a:cubicBezTo>
                  <a:pt x="141158" y="140011"/>
                  <a:pt x="141158" y="166787"/>
                  <a:pt x="114380" y="181663"/>
                </a:cubicBezTo>
                <a:cubicBezTo>
                  <a:pt x="99504" y="199515"/>
                  <a:pt x="78677" y="199515"/>
                  <a:pt x="60827" y="199515"/>
                </a:cubicBezTo>
                <a:close/>
              </a:path>
            </a:pathLst>
          </a:custGeom>
          <a:solidFill>
            <a:srgbClr val="E58777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4" name="任意多边形: 形状 43">
            <a:extLst>
              <a:ext uri="{FF2B5EF4-FFF2-40B4-BE49-F238E27FC236}">
                <a16:creationId xmlns:a16="http://schemas.microsoft.com/office/drawing/2014/main" id="{A8360A07-4BFF-4CF1-8929-0967994BDD2D}"/>
              </a:ext>
            </a:extLst>
          </p:cNvPr>
          <p:cNvSpPr/>
          <p:nvPr/>
        </p:nvSpPr>
        <p:spPr>
          <a:xfrm>
            <a:off x="7643449" y="3226438"/>
            <a:ext cx="1371156" cy="402926"/>
          </a:xfrm>
          <a:custGeom>
            <a:avLst/>
            <a:gdLst>
              <a:gd name="connsiteX0" fmla="*/ 70991 w 1371156"/>
              <a:gd name="connsiteY0" fmla="*/ 214287 h 402926"/>
              <a:gd name="connsiteX1" fmla="*/ 225702 w 1371156"/>
              <a:gd name="connsiteY1" fmla="*/ 17923 h 402926"/>
              <a:gd name="connsiteX2" fmla="*/ 779091 w 1371156"/>
              <a:gd name="connsiteY2" fmla="*/ 181560 h 402926"/>
              <a:gd name="connsiteX3" fmla="*/ 1323554 w 1371156"/>
              <a:gd name="connsiteY3" fmla="*/ 92303 h 402926"/>
              <a:gd name="connsiteX4" fmla="*/ 1371157 w 1371156"/>
              <a:gd name="connsiteY4" fmla="*/ 214287 h 402926"/>
              <a:gd name="connsiteX5" fmla="*/ 817768 w 1371156"/>
              <a:gd name="connsiteY5" fmla="*/ 401725 h 402926"/>
              <a:gd name="connsiteX6" fmla="*/ 70991 w 1371156"/>
              <a:gd name="connsiteY6" fmla="*/ 214287 h 402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71156" h="402926">
                <a:moveTo>
                  <a:pt x="70991" y="214287"/>
                </a:moveTo>
                <a:cubicBezTo>
                  <a:pt x="-71819" y="104204"/>
                  <a:pt x="11487" y="-53482"/>
                  <a:pt x="225702" y="17923"/>
                </a:cubicBezTo>
                <a:cubicBezTo>
                  <a:pt x="344710" y="59576"/>
                  <a:pt x="749339" y="169659"/>
                  <a:pt x="779091" y="181560"/>
                </a:cubicBezTo>
                <a:cubicBezTo>
                  <a:pt x="835620" y="166683"/>
                  <a:pt x="1323554" y="92303"/>
                  <a:pt x="1323554" y="92303"/>
                </a:cubicBezTo>
                <a:cubicBezTo>
                  <a:pt x="1350330" y="116105"/>
                  <a:pt x="1371157" y="214287"/>
                  <a:pt x="1371157" y="214287"/>
                </a:cubicBezTo>
                <a:cubicBezTo>
                  <a:pt x="1371157" y="214287"/>
                  <a:pt x="933801" y="383874"/>
                  <a:pt x="817768" y="401725"/>
                </a:cubicBezTo>
                <a:cubicBezTo>
                  <a:pt x="749339" y="410651"/>
                  <a:pt x="270330" y="371973"/>
                  <a:pt x="70991" y="214287"/>
                </a:cubicBezTo>
                <a:close/>
              </a:path>
            </a:pathLst>
          </a:custGeom>
          <a:solidFill>
            <a:srgbClr val="F5A398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5" name="任意多边形: 形状 44">
            <a:extLst>
              <a:ext uri="{FF2B5EF4-FFF2-40B4-BE49-F238E27FC236}">
                <a16:creationId xmlns:a16="http://schemas.microsoft.com/office/drawing/2014/main" id="{48A87E1C-20FD-4A8A-92D7-CC458C6A5E54}"/>
              </a:ext>
            </a:extLst>
          </p:cNvPr>
          <p:cNvSpPr/>
          <p:nvPr/>
        </p:nvSpPr>
        <p:spPr>
          <a:xfrm>
            <a:off x="7556405" y="3167263"/>
            <a:ext cx="430376" cy="392469"/>
          </a:xfrm>
          <a:custGeom>
            <a:avLst/>
            <a:gdLst>
              <a:gd name="connsiteX0" fmla="*/ 324647 w 430376"/>
              <a:gd name="connsiteY0" fmla="*/ 392470 h 392469"/>
              <a:gd name="connsiteX1" fmla="*/ 349 w 430376"/>
              <a:gd name="connsiteY1" fmla="*/ 97924 h 392469"/>
              <a:gd name="connsiteX2" fmla="*/ 428779 w 430376"/>
              <a:gd name="connsiteY2" fmla="*/ 47346 h 392469"/>
              <a:gd name="connsiteX3" fmla="*/ 324647 w 430376"/>
              <a:gd name="connsiteY3" fmla="*/ 392470 h 392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376" h="392469">
                <a:moveTo>
                  <a:pt x="324647" y="392470"/>
                </a:moveTo>
                <a:cubicBezTo>
                  <a:pt x="155060" y="335941"/>
                  <a:pt x="-8576" y="175280"/>
                  <a:pt x="349" y="97924"/>
                </a:cubicBezTo>
                <a:cubicBezTo>
                  <a:pt x="12250" y="-3233"/>
                  <a:pt x="244316" y="-35960"/>
                  <a:pt x="428779" y="47346"/>
                </a:cubicBezTo>
                <a:cubicBezTo>
                  <a:pt x="440679" y="118751"/>
                  <a:pt x="384151" y="312139"/>
                  <a:pt x="324647" y="392470"/>
                </a:cubicBezTo>
                <a:close/>
              </a:path>
            </a:pathLst>
          </a:custGeom>
          <a:solidFill>
            <a:srgbClr val="D16156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6" name="任意多边形: 形状 45">
            <a:extLst>
              <a:ext uri="{FF2B5EF4-FFF2-40B4-BE49-F238E27FC236}">
                <a16:creationId xmlns:a16="http://schemas.microsoft.com/office/drawing/2014/main" id="{6341752A-94EB-42DD-8C7F-42CF6BF71B0B}"/>
              </a:ext>
            </a:extLst>
          </p:cNvPr>
          <p:cNvSpPr/>
          <p:nvPr/>
        </p:nvSpPr>
        <p:spPr>
          <a:xfrm>
            <a:off x="7604357" y="3161817"/>
            <a:ext cx="385425" cy="403866"/>
          </a:xfrm>
          <a:custGeom>
            <a:avLst/>
            <a:gdLst>
              <a:gd name="connsiteX0" fmla="*/ 276694 w 385425"/>
              <a:gd name="connsiteY0" fmla="*/ 403867 h 403866"/>
              <a:gd name="connsiteX1" fmla="*/ 273718 w 385425"/>
              <a:gd name="connsiteY1" fmla="*/ 403867 h 403866"/>
              <a:gd name="connsiteX2" fmla="*/ 2975 w 385425"/>
              <a:gd name="connsiteY2" fmla="*/ 320561 h 403866"/>
              <a:gd name="connsiteX3" fmla="*/ 0 w 385425"/>
              <a:gd name="connsiteY3" fmla="*/ 314611 h 403866"/>
              <a:gd name="connsiteX4" fmla="*/ 5950 w 385425"/>
              <a:gd name="connsiteY4" fmla="*/ 311635 h 403866"/>
              <a:gd name="connsiteX5" fmla="*/ 270744 w 385425"/>
              <a:gd name="connsiteY5" fmla="*/ 391966 h 403866"/>
              <a:gd name="connsiteX6" fmla="*/ 374876 w 385425"/>
              <a:gd name="connsiteY6" fmla="*/ 52792 h 403866"/>
              <a:gd name="connsiteX7" fmla="*/ 92232 w 385425"/>
              <a:gd name="connsiteY7" fmla="*/ 14115 h 403866"/>
              <a:gd name="connsiteX8" fmla="*/ 86281 w 385425"/>
              <a:gd name="connsiteY8" fmla="*/ 11139 h 403866"/>
              <a:gd name="connsiteX9" fmla="*/ 89256 w 385425"/>
              <a:gd name="connsiteY9" fmla="*/ 5189 h 403866"/>
              <a:gd name="connsiteX10" fmla="*/ 380826 w 385425"/>
              <a:gd name="connsiteY10" fmla="*/ 46842 h 403866"/>
              <a:gd name="connsiteX11" fmla="*/ 383801 w 385425"/>
              <a:gd name="connsiteY11" fmla="*/ 46842 h 403866"/>
              <a:gd name="connsiteX12" fmla="*/ 383801 w 385425"/>
              <a:gd name="connsiteY12" fmla="*/ 49817 h 403866"/>
              <a:gd name="connsiteX13" fmla="*/ 276694 w 385425"/>
              <a:gd name="connsiteY13" fmla="*/ 403867 h 403866"/>
              <a:gd name="connsiteX14" fmla="*/ 276694 w 385425"/>
              <a:gd name="connsiteY14" fmla="*/ 403867 h 403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85425" h="403866">
                <a:moveTo>
                  <a:pt x="276694" y="403867"/>
                </a:moveTo>
                <a:lnTo>
                  <a:pt x="273718" y="403867"/>
                </a:lnTo>
                <a:cubicBezTo>
                  <a:pt x="264793" y="400892"/>
                  <a:pt x="86281" y="365189"/>
                  <a:pt x="2975" y="320561"/>
                </a:cubicBezTo>
                <a:cubicBezTo>
                  <a:pt x="0" y="320561"/>
                  <a:pt x="0" y="314611"/>
                  <a:pt x="0" y="314611"/>
                </a:cubicBezTo>
                <a:cubicBezTo>
                  <a:pt x="0" y="311635"/>
                  <a:pt x="5950" y="311635"/>
                  <a:pt x="5950" y="311635"/>
                </a:cubicBezTo>
                <a:cubicBezTo>
                  <a:pt x="80330" y="350313"/>
                  <a:pt x="243966" y="386015"/>
                  <a:pt x="270744" y="391966"/>
                </a:cubicBezTo>
                <a:cubicBezTo>
                  <a:pt x="348099" y="281883"/>
                  <a:pt x="374876" y="85520"/>
                  <a:pt x="374876" y="52792"/>
                </a:cubicBezTo>
                <a:cubicBezTo>
                  <a:pt x="342149" y="34941"/>
                  <a:pt x="190413" y="-6712"/>
                  <a:pt x="92232" y="14115"/>
                </a:cubicBezTo>
                <a:cubicBezTo>
                  <a:pt x="89256" y="14115"/>
                  <a:pt x="86281" y="14115"/>
                  <a:pt x="86281" y="11139"/>
                </a:cubicBezTo>
                <a:cubicBezTo>
                  <a:pt x="86281" y="8164"/>
                  <a:pt x="86281" y="5189"/>
                  <a:pt x="89256" y="5189"/>
                </a:cubicBezTo>
                <a:cubicBezTo>
                  <a:pt x="193388" y="-15637"/>
                  <a:pt x="354049" y="31966"/>
                  <a:pt x="380826" y="46842"/>
                </a:cubicBezTo>
                <a:lnTo>
                  <a:pt x="383801" y="46842"/>
                </a:lnTo>
                <a:lnTo>
                  <a:pt x="383801" y="49817"/>
                </a:lnTo>
                <a:cubicBezTo>
                  <a:pt x="392727" y="76594"/>
                  <a:pt x="365950" y="287834"/>
                  <a:pt x="276694" y="403867"/>
                </a:cubicBezTo>
                <a:lnTo>
                  <a:pt x="276694" y="403867"/>
                </a:lnTo>
                <a:close/>
              </a:path>
            </a:pathLst>
          </a:custGeom>
          <a:solidFill>
            <a:srgbClr val="38343B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10B462C1-233D-4416-87EE-4A75A0D2E5EC}"/>
              </a:ext>
            </a:extLst>
          </p:cNvPr>
          <p:cNvSpPr/>
          <p:nvPr/>
        </p:nvSpPr>
        <p:spPr>
          <a:xfrm>
            <a:off x="8413613" y="3312791"/>
            <a:ext cx="556364" cy="101156"/>
          </a:xfrm>
          <a:custGeom>
            <a:avLst/>
            <a:gdLst>
              <a:gd name="connsiteX0" fmla="*/ 5951 w 556364"/>
              <a:gd name="connsiteY0" fmla="*/ 101157 h 101156"/>
              <a:gd name="connsiteX1" fmla="*/ 0 w 556364"/>
              <a:gd name="connsiteY1" fmla="*/ 95207 h 101156"/>
              <a:gd name="connsiteX2" fmla="*/ 5951 w 556364"/>
              <a:gd name="connsiteY2" fmla="*/ 89256 h 101156"/>
              <a:gd name="connsiteX3" fmla="*/ 550413 w 556364"/>
              <a:gd name="connsiteY3" fmla="*/ 0 h 101156"/>
              <a:gd name="connsiteX4" fmla="*/ 556364 w 556364"/>
              <a:gd name="connsiteY4" fmla="*/ 5950 h 101156"/>
              <a:gd name="connsiteX5" fmla="*/ 550413 w 556364"/>
              <a:gd name="connsiteY5" fmla="*/ 11901 h 101156"/>
              <a:gd name="connsiteX6" fmla="*/ 5951 w 556364"/>
              <a:gd name="connsiteY6" fmla="*/ 101157 h 101156"/>
              <a:gd name="connsiteX7" fmla="*/ 5951 w 556364"/>
              <a:gd name="connsiteY7" fmla="*/ 101157 h 101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364" h="101156">
                <a:moveTo>
                  <a:pt x="5951" y="101157"/>
                </a:moveTo>
                <a:cubicBezTo>
                  <a:pt x="2975" y="101157"/>
                  <a:pt x="0" y="98182"/>
                  <a:pt x="0" y="95207"/>
                </a:cubicBezTo>
                <a:cubicBezTo>
                  <a:pt x="0" y="92231"/>
                  <a:pt x="2975" y="89256"/>
                  <a:pt x="5951" y="89256"/>
                </a:cubicBezTo>
                <a:lnTo>
                  <a:pt x="550413" y="0"/>
                </a:lnTo>
                <a:cubicBezTo>
                  <a:pt x="553390" y="0"/>
                  <a:pt x="556364" y="2975"/>
                  <a:pt x="556364" y="5950"/>
                </a:cubicBezTo>
                <a:cubicBezTo>
                  <a:pt x="556364" y="8926"/>
                  <a:pt x="553390" y="11901"/>
                  <a:pt x="550413" y="11901"/>
                </a:cubicBezTo>
                <a:lnTo>
                  <a:pt x="5951" y="101157"/>
                </a:lnTo>
                <a:cubicBezTo>
                  <a:pt x="8926" y="101157"/>
                  <a:pt x="8926" y="101157"/>
                  <a:pt x="5951" y="101157"/>
                </a:cubicBezTo>
                <a:close/>
              </a:path>
            </a:pathLst>
          </a:custGeom>
          <a:solidFill>
            <a:srgbClr val="E58777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8" name="任意多边形: 形状 47">
            <a:extLst>
              <a:ext uri="{FF2B5EF4-FFF2-40B4-BE49-F238E27FC236}">
                <a16:creationId xmlns:a16="http://schemas.microsoft.com/office/drawing/2014/main" id="{73274CEC-F885-4694-BF5A-5E8E2A3EEB7C}"/>
              </a:ext>
            </a:extLst>
          </p:cNvPr>
          <p:cNvSpPr/>
          <p:nvPr/>
        </p:nvSpPr>
        <p:spPr>
          <a:xfrm>
            <a:off x="8255928" y="3434774"/>
            <a:ext cx="761652" cy="202314"/>
          </a:xfrm>
          <a:custGeom>
            <a:avLst/>
            <a:gdLst>
              <a:gd name="connsiteX0" fmla="*/ 190413 w 761652"/>
              <a:gd name="connsiteY0" fmla="*/ 202314 h 202314"/>
              <a:gd name="connsiteX1" fmla="*/ 5951 w 761652"/>
              <a:gd name="connsiteY1" fmla="*/ 187438 h 202314"/>
              <a:gd name="connsiteX2" fmla="*/ 0 w 761652"/>
              <a:gd name="connsiteY2" fmla="*/ 181488 h 202314"/>
              <a:gd name="connsiteX3" fmla="*/ 5951 w 761652"/>
              <a:gd name="connsiteY3" fmla="*/ 175537 h 202314"/>
              <a:gd name="connsiteX4" fmla="*/ 217190 w 761652"/>
              <a:gd name="connsiteY4" fmla="*/ 187438 h 202314"/>
              <a:gd name="connsiteX5" fmla="*/ 752727 w 761652"/>
              <a:gd name="connsiteY5" fmla="*/ 0 h 202314"/>
              <a:gd name="connsiteX6" fmla="*/ 761652 w 761652"/>
              <a:gd name="connsiteY6" fmla="*/ 2975 h 202314"/>
              <a:gd name="connsiteX7" fmla="*/ 758678 w 761652"/>
              <a:gd name="connsiteY7" fmla="*/ 11901 h 202314"/>
              <a:gd name="connsiteX8" fmla="*/ 220165 w 761652"/>
              <a:gd name="connsiteY8" fmla="*/ 202314 h 202314"/>
              <a:gd name="connsiteX9" fmla="*/ 190413 w 761652"/>
              <a:gd name="connsiteY9" fmla="*/ 202314 h 202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61652" h="202314">
                <a:moveTo>
                  <a:pt x="190413" y="202314"/>
                </a:moveTo>
                <a:cubicBezTo>
                  <a:pt x="124959" y="202314"/>
                  <a:pt x="11901" y="187438"/>
                  <a:pt x="5951" y="187438"/>
                </a:cubicBezTo>
                <a:cubicBezTo>
                  <a:pt x="2975" y="187438"/>
                  <a:pt x="0" y="184463"/>
                  <a:pt x="0" y="181488"/>
                </a:cubicBezTo>
                <a:cubicBezTo>
                  <a:pt x="0" y="178512"/>
                  <a:pt x="2975" y="175537"/>
                  <a:pt x="5951" y="175537"/>
                </a:cubicBezTo>
                <a:cubicBezTo>
                  <a:pt x="8925" y="175537"/>
                  <a:pt x="169587" y="196364"/>
                  <a:pt x="217190" y="187438"/>
                </a:cubicBezTo>
                <a:cubicBezTo>
                  <a:pt x="291570" y="175537"/>
                  <a:pt x="749752" y="0"/>
                  <a:pt x="752727" y="0"/>
                </a:cubicBezTo>
                <a:cubicBezTo>
                  <a:pt x="755703" y="0"/>
                  <a:pt x="758678" y="0"/>
                  <a:pt x="761652" y="2975"/>
                </a:cubicBezTo>
                <a:cubicBezTo>
                  <a:pt x="761652" y="5950"/>
                  <a:pt x="761652" y="8926"/>
                  <a:pt x="758678" y="11901"/>
                </a:cubicBezTo>
                <a:cubicBezTo>
                  <a:pt x="740827" y="17851"/>
                  <a:pt x="294545" y="190413"/>
                  <a:pt x="220165" y="202314"/>
                </a:cubicBezTo>
                <a:cubicBezTo>
                  <a:pt x="214215" y="202314"/>
                  <a:pt x="202314" y="202314"/>
                  <a:pt x="190413" y="202314"/>
                </a:cubicBezTo>
                <a:close/>
              </a:path>
            </a:pathLst>
          </a:custGeom>
          <a:solidFill>
            <a:srgbClr val="E58777"/>
          </a:solidFill>
          <a:ln w="29744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91" name="图形 1">
            <a:extLst>
              <a:ext uri="{FF2B5EF4-FFF2-40B4-BE49-F238E27FC236}">
                <a16:creationId xmlns:a16="http://schemas.microsoft.com/office/drawing/2014/main" id="{8AEB76D0-0705-403C-8BE7-F411A0E87654}"/>
              </a:ext>
            </a:extLst>
          </p:cNvPr>
          <p:cNvGrpSpPr/>
          <p:nvPr/>
        </p:nvGrpSpPr>
        <p:grpSpPr>
          <a:xfrm>
            <a:off x="2144853" y="2453967"/>
            <a:ext cx="4040330" cy="4405270"/>
            <a:chOff x="10934891" y="2445023"/>
            <a:chExt cx="4040330" cy="4405270"/>
          </a:xfrm>
        </p:grpSpPr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A2D9D001-AC81-4C6B-ACD9-BA40FE15ABC6}"/>
                </a:ext>
              </a:extLst>
            </p:cNvPr>
            <p:cNvSpPr/>
            <p:nvPr/>
          </p:nvSpPr>
          <p:spPr>
            <a:xfrm>
              <a:off x="10934891" y="6493269"/>
              <a:ext cx="4040330" cy="357024"/>
            </a:xfrm>
            <a:custGeom>
              <a:avLst/>
              <a:gdLst>
                <a:gd name="connsiteX0" fmla="*/ 0 w 4040330"/>
                <a:gd name="connsiteY0" fmla="*/ 339173 h 357024"/>
                <a:gd name="connsiteX1" fmla="*/ 4040330 w 4040330"/>
                <a:gd name="connsiteY1" fmla="*/ 357025 h 357024"/>
                <a:gd name="connsiteX2" fmla="*/ 3394711 w 4040330"/>
                <a:gd name="connsiteY2" fmla="*/ 17851 h 357024"/>
                <a:gd name="connsiteX3" fmla="*/ 645619 w 4040330"/>
                <a:gd name="connsiteY3" fmla="*/ 0 h 35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40330" h="357024">
                  <a:moveTo>
                    <a:pt x="0" y="339173"/>
                  </a:moveTo>
                  <a:lnTo>
                    <a:pt x="4040330" y="357025"/>
                  </a:lnTo>
                  <a:lnTo>
                    <a:pt x="3394711" y="17851"/>
                  </a:lnTo>
                  <a:lnTo>
                    <a:pt x="645619" y="0"/>
                  </a:lnTo>
                  <a:close/>
                </a:path>
              </a:pathLst>
            </a:custGeom>
            <a:solidFill>
              <a:srgbClr val="F6EBE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1ECAF952-3819-455E-BB0C-F623C4A6A220}"/>
                </a:ext>
              </a:extLst>
            </p:cNvPr>
            <p:cNvSpPr/>
            <p:nvPr/>
          </p:nvSpPr>
          <p:spPr>
            <a:xfrm>
              <a:off x="13788114" y="3592442"/>
              <a:ext cx="267979" cy="669445"/>
            </a:xfrm>
            <a:custGeom>
              <a:avLst/>
              <a:gdLst>
                <a:gd name="connsiteX0" fmla="*/ 0 w 267979"/>
                <a:gd name="connsiteY0" fmla="*/ 0 h 669445"/>
                <a:gd name="connsiteX1" fmla="*/ 11901 w 267979"/>
                <a:gd name="connsiteY1" fmla="*/ 392727 h 669445"/>
                <a:gd name="connsiteX2" fmla="*/ 205289 w 267979"/>
                <a:gd name="connsiteY2" fmla="*/ 669422 h 669445"/>
                <a:gd name="connsiteX3" fmla="*/ 243967 w 267979"/>
                <a:gd name="connsiteY3" fmla="*/ 29752 h 669445"/>
                <a:gd name="connsiteX4" fmla="*/ 0 w 267979"/>
                <a:gd name="connsiteY4" fmla="*/ 0 h 669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79" h="669445">
                  <a:moveTo>
                    <a:pt x="0" y="0"/>
                  </a:moveTo>
                  <a:lnTo>
                    <a:pt x="11901" y="392727"/>
                  </a:lnTo>
                  <a:cubicBezTo>
                    <a:pt x="11901" y="392727"/>
                    <a:pt x="95207" y="672397"/>
                    <a:pt x="205289" y="669422"/>
                  </a:cubicBezTo>
                  <a:cubicBezTo>
                    <a:pt x="318347" y="666446"/>
                    <a:pt x="243967" y="29752"/>
                    <a:pt x="243967" y="2975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26435084-20AF-44A3-8604-C49D0E34497E}"/>
                </a:ext>
              </a:extLst>
            </p:cNvPr>
            <p:cNvSpPr/>
            <p:nvPr/>
          </p:nvSpPr>
          <p:spPr>
            <a:xfrm>
              <a:off x="11973238" y="4511781"/>
              <a:ext cx="2323762" cy="2043966"/>
            </a:xfrm>
            <a:custGeom>
              <a:avLst/>
              <a:gdLst>
                <a:gd name="connsiteX0" fmla="*/ 1862480 w 2323762"/>
                <a:gd name="connsiteY0" fmla="*/ 20826 h 2043966"/>
                <a:gd name="connsiteX1" fmla="*/ 2323637 w 2323762"/>
                <a:gd name="connsiteY1" fmla="*/ 949091 h 2043966"/>
                <a:gd name="connsiteX2" fmla="*/ 1954711 w 2323762"/>
                <a:gd name="connsiteY2" fmla="*/ 2014215 h 2043966"/>
                <a:gd name="connsiteX3" fmla="*/ 1782149 w 2323762"/>
                <a:gd name="connsiteY3" fmla="*/ 2043967 h 2043966"/>
                <a:gd name="connsiteX4" fmla="*/ 1954711 w 2323762"/>
                <a:gd name="connsiteY4" fmla="*/ 1023471 h 2043966"/>
                <a:gd name="connsiteX5" fmla="*/ 1326942 w 2323762"/>
                <a:gd name="connsiteY5" fmla="*/ 437355 h 2043966"/>
                <a:gd name="connsiteX6" fmla="*/ 163636 w 2323762"/>
                <a:gd name="connsiteY6" fmla="*/ 2043967 h 2043966"/>
                <a:gd name="connsiteX7" fmla="*/ 0 w 2323762"/>
                <a:gd name="connsiteY7" fmla="*/ 2020165 h 2043966"/>
                <a:gd name="connsiteX8" fmla="*/ 865785 w 2323762"/>
                <a:gd name="connsiteY8" fmla="*/ 0 h 2043966"/>
                <a:gd name="connsiteX9" fmla="*/ 1862480 w 2323762"/>
                <a:gd name="connsiteY9" fmla="*/ 20826 h 204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23762" h="2043966">
                  <a:moveTo>
                    <a:pt x="1862480" y="20826"/>
                  </a:moveTo>
                  <a:cubicBezTo>
                    <a:pt x="1862480" y="20826"/>
                    <a:pt x="2332562" y="791405"/>
                    <a:pt x="2323637" y="949091"/>
                  </a:cubicBezTo>
                  <a:cubicBezTo>
                    <a:pt x="2308761" y="1196033"/>
                    <a:pt x="1954711" y="2014215"/>
                    <a:pt x="1954711" y="2014215"/>
                  </a:cubicBezTo>
                  <a:lnTo>
                    <a:pt x="1782149" y="2043967"/>
                  </a:lnTo>
                  <a:cubicBezTo>
                    <a:pt x="1782149" y="2043967"/>
                    <a:pt x="1960661" y="1118678"/>
                    <a:pt x="1954711" y="1023471"/>
                  </a:cubicBezTo>
                  <a:cubicBezTo>
                    <a:pt x="1948760" y="886612"/>
                    <a:pt x="1341818" y="467107"/>
                    <a:pt x="1326942" y="437355"/>
                  </a:cubicBezTo>
                  <a:cubicBezTo>
                    <a:pt x="1312066" y="407603"/>
                    <a:pt x="163636" y="2043967"/>
                    <a:pt x="163636" y="2043967"/>
                  </a:cubicBezTo>
                  <a:lnTo>
                    <a:pt x="0" y="2020165"/>
                  </a:lnTo>
                  <a:cubicBezTo>
                    <a:pt x="0" y="2020165"/>
                    <a:pt x="821157" y="95207"/>
                    <a:pt x="865785" y="0"/>
                  </a:cubicBezTo>
                  <a:cubicBezTo>
                    <a:pt x="1544132" y="32727"/>
                    <a:pt x="1862480" y="20826"/>
                    <a:pt x="1862480" y="20826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5868DCE2-2CC4-4295-B6B8-20543667C72E}"/>
                </a:ext>
              </a:extLst>
            </p:cNvPr>
            <p:cNvSpPr/>
            <p:nvPr/>
          </p:nvSpPr>
          <p:spPr>
            <a:xfrm>
              <a:off x="12303486" y="4514756"/>
              <a:ext cx="2052892" cy="1196033"/>
            </a:xfrm>
            <a:custGeom>
              <a:avLst/>
              <a:gdLst>
                <a:gd name="connsiteX0" fmla="*/ 1532231 w 2052892"/>
                <a:gd name="connsiteY0" fmla="*/ 17851 h 1196033"/>
                <a:gd name="connsiteX1" fmla="*/ 2052893 w 2052892"/>
                <a:gd name="connsiteY1" fmla="*/ 949091 h 1196033"/>
                <a:gd name="connsiteX2" fmla="*/ 1547108 w 2052892"/>
                <a:gd name="connsiteY2" fmla="*/ 1091901 h 1196033"/>
                <a:gd name="connsiteX3" fmla="*/ 1077024 w 2052892"/>
                <a:gd name="connsiteY3" fmla="*/ 550413 h 1196033"/>
                <a:gd name="connsiteX4" fmla="*/ 529586 w 2052892"/>
                <a:gd name="connsiteY4" fmla="*/ 1196033 h 1196033"/>
                <a:gd name="connsiteX5" fmla="*/ 0 w 2052892"/>
                <a:gd name="connsiteY5" fmla="*/ 1074050 h 1196033"/>
                <a:gd name="connsiteX6" fmla="*/ 535537 w 2052892"/>
                <a:gd name="connsiteY6" fmla="*/ 0 h 1196033"/>
                <a:gd name="connsiteX7" fmla="*/ 1532231 w 2052892"/>
                <a:gd name="connsiteY7" fmla="*/ 17851 h 1196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52892" h="1196033">
                  <a:moveTo>
                    <a:pt x="1532231" y="17851"/>
                  </a:moveTo>
                  <a:cubicBezTo>
                    <a:pt x="1532231" y="17851"/>
                    <a:pt x="1948760" y="598017"/>
                    <a:pt x="2052893" y="949091"/>
                  </a:cubicBezTo>
                  <a:cubicBezTo>
                    <a:pt x="1933884" y="981818"/>
                    <a:pt x="1800000" y="1041323"/>
                    <a:pt x="1547108" y="1091901"/>
                  </a:cubicBezTo>
                  <a:cubicBezTo>
                    <a:pt x="1428099" y="969917"/>
                    <a:pt x="1091900" y="580165"/>
                    <a:pt x="1077024" y="550413"/>
                  </a:cubicBezTo>
                  <a:cubicBezTo>
                    <a:pt x="1062148" y="520661"/>
                    <a:pt x="529586" y="1196033"/>
                    <a:pt x="529586" y="1196033"/>
                  </a:cubicBezTo>
                  <a:cubicBezTo>
                    <a:pt x="529586" y="1196033"/>
                    <a:pt x="267769" y="1151405"/>
                    <a:pt x="0" y="1074050"/>
                  </a:cubicBezTo>
                  <a:cubicBezTo>
                    <a:pt x="62480" y="883637"/>
                    <a:pt x="490909" y="95207"/>
                    <a:pt x="535537" y="0"/>
                  </a:cubicBezTo>
                  <a:cubicBezTo>
                    <a:pt x="1213884" y="29752"/>
                    <a:pt x="1532231" y="17851"/>
                    <a:pt x="1532231" y="17851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0164AF5D-C90A-4985-93A7-A9E3A84DD63E}"/>
                </a:ext>
              </a:extLst>
            </p:cNvPr>
            <p:cNvSpPr/>
            <p:nvPr/>
          </p:nvSpPr>
          <p:spPr>
            <a:xfrm>
              <a:off x="13371585" y="4654591"/>
              <a:ext cx="42925" cy="416528"/>
            </a:xfrm>
            <a:custGeom>
              <a:avLst/>
              <a:gdLst>
                <a:gd name="connsiteX0" fmla="*/ 5951 w 42925"/>
                <a:gd name="connsiteY0" fmla="*/ 416529 h 416528"/>
                <a:gd name="connsiteX1" fmla="*/ 5951 w 42925"/>
                <a:gd name="connsiteY1" fmla="*/ 416529 h 416528"/>
                <a:gd name="connsiteX2" fmla="*/ 0 w 42925"/>
                <a:gd name="connsiteY2" fmla="*/ 407603 h 416528"/>
                <a:gd name="connsiteX3" fmla="*/ 26777 w 42925"/>
                <a:gd name="connsiteY3" fmla="*/ 5950 h 416528"/>
                <a:gd name="connsiteX4" fmla="*/ 32727 w 42925"/>
                <a:gd name="connsiteY4" fmla="*/ 0 h 416528"/>
                <a:gd name="connsiteX5" fmla="*/ 38677 w 42925"/>
                <a:gd name="connsiteY5" fmla="*/ 5950 h 416528"/>
                <a:gd name="connsiteX6" fmla="*/ 8925 w 42925"/>
                <a:gd name="connsiteY6" fmla="*/ 413554 h 416528"/>
                <a:gd name="connsiteX7" fmla="*/ 5951 w 42925"/>
                <a:gd name="connsiteY7" fmla="*/ 416529 h 416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925" h="416528">
                  <a:moveTo>
                    <a:pt x="5951" y="416529"/>
                  </a:moveTo>
                  <a:cubicBezTo>
                    <a:pt x="5951" y="416529"/>
                    <a:pt x="5951" y="416529"/>
                    <a:pt x="5951" y="416529"/>
                  </a:cubicBezTo>
                  <a:cubicBezTo>
                    <a:pt x="0" y="413554"/>
                    <a:pt x="0" y="410578"/>
                    <a:pt x="0" y="407603"/>
                  </a:cubicBezTo>
                  <a:cubicBezTo>
                    <a:pt x="47603" y="297521"/>
                    <a:pt x="29752" y="8925"/>
                    <a:pt x="26777" y="5950"/>
                  </a:cubicBezTo>
                  <a:cubicBezTo>
                    <a:pt x="26777" y="2975"/>
                    <a:pt x="29752" y="0"/>
                    <a:pt x="32727" y="0"/>
                  </a:cubicBezTo>
                  <a:cubicBezTo>
                    <a:pt x="35703" y="0"/>
                    <a:pt x="38677" y="2975"/>
                    <a:pt x="38677" y="5950"/>
                  </a:cubicBezTo>
                  <a:cubicBezTo>
                    <a:pt x="38677" y="17851"/>
                    <a:pt x="59504" y="300496"/>
                    <a:pt x="8925" y="413554"/>
                  </a:cubicBezTo>
                  <a:cubicBezTo>
                    <a:pt x="11901" y="416529"/>
                    <a:pt x="8925" y="416529"/>
                    <a:pt x="5951" y="416529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07ECB10C-B0EA-4411-99E1-AB101CA3BE4D}"/>
                </a:ext>
              </a:extLst>
            </p:cNvPr>
            <p:cNvSpPr/>
            <p:nvPr/>
          </p:nvSpPr>
          <p:spPr>
            <a:xfrm>
              <a:off x="13400105" y="4583186"/>
              <a:ext cx="123216" cy="330247"/>
            </a:xfrm>
            <a:custGeom>
              <a:avLst/>
              <a:gdLst>
                <a:gd name="connsiteX0" fmla="*/ 7183 w 123216"/>
                <a:gd name="connsiteY0" fmla="*/ 330248 h 330247"/>
                <a:gd name="connsiteX1" fmla="*/ 1232 w 123216"/>
                <a:gd name="connsiteY1" fmla="*/ 327273 h 330247"/>
                <a:gd name="connsiteX2" fmla="*/ 4208 w 123216"/>
                <a:gd name="connsiteY2" fmla="*/ 318347 h 330247"/>
                <a:gd name="connsiteX3" fmla="*/ 78588 w 123216"/>
                <a:gd name="connsiteY3" fmla="*/ 261818 h 330247"/>
                <a:gd name="connsiteX4" fmla="*/ 111315 w 123216"/>
                <a:gd name="connsiteY4" fmla="*/ 5950 h 330247"/>
                <a:gd name="connsiteX5" fmla="*/ 117265 w 123216"/>
                <a:gd name="connsiteY5" fmla="*/ 0 h 330247"/>
                <a:gd name="connsiteX6" fmla="*/ 123216 w 123216"/>
                <a:gd name="connsiteY6" fmla="*/ 5950 h 330247"/>
                <a:gd name="connsiteX7" fmla="*/ 90489 w 123216"/>
                <a:gd name="connsiteY7" fmla="*/ 267769 h 330247"/>
                <a:gd name="connsiteX8" fmla="*/ 13133 w 123216"/>
                <a:gd name="connsiteY8" fmla="*/ 327273 h 330247"/>
                <a:gd name="connsiteX9" fmla="*/ 7183 w 123216"/>
                <a:gd name="connsiteY9" fmla="*/ 330248 h 330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216" h="330247">
                  <a:moveTo>
                    <a:pt x="7183" y="330248"/>
                  </a:moveTo>
                  <a:cubicBezTo>
                    <a:pt x="4208" y="330248"/>
                    <a:pt x="4208" y="330248"/>
                    <a:pt x="1232" y="327273"/>
                  </a:cubicBezTo>
                  <a:cubicBezTo>
                    <a:pt x="-1743" y="324298"/>
                    <a:pt x="1232" y="321322"/>
                    <a:pt x="4208" y="318347"/>
                  </a:cubicBezTo>
                  <a:cubicBezTo>
                    <a:pt x="22059" y="306446"/>
                    <a:pt x="69662" y="273719"/>
                    <a:pt x="78588" y="261818"/>
                  </a:cubicBezTo>
                  <a:cubicBezTo>
                    <a:pt x="87513" y="249917"/>
                    <a:pt x="102389" y="98182"/>
                    <a:pt x="111315" y="5950"/>
                  </a:cubicBezTo>
                  <a:cubicBezTo>
                    <a:pt x="111315" y="2975"/>
                    <a:pt x="114290" y="0"/>
                    <a:pt x="117265" y="0"/>
                  </a:cubicBezTo>
                  <a:cubicBezTo>
                    <a:pt x="120241" y="0"/>
                    <a:pt x="123216" y="2975"/>
                    <a:pt x="123216" y="5950"/>
                  </a:cubicBezTo>
                  <a:cubicBezTo>
                    <a:pt x="120241" y="47603"/>
                    <a:pt x="99414" y="252893"/>
                    <a:pt x="90489" y="267769"/>
                  </a:cubicBezTo>
                  <a:cubicBezTo>
                    <a:pt x="78588" y="282645"/>
                    <a:pt x="19084" y="321322"/>
                    <a:pt x="13133" y="327273"/>
                  </a:cubicBezTo>
                  <a:cubicBezTo>
                    <a:pt x="10158" y="330248"/>
                    <a:pt x="7183" y="330248"/>
                    <a:pt x="7183" y="330248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8AEF5BEB-4C00-4D42-AEC0-358D4DC8EFA0}"/>
                </a:ext>
              </a:extLst>
            </p:cNvPr>
            <p:cNvSpPr/>
            <p:nvPr/>
          </p:nvSpPr>
          <p:spPr>
            <a:xfrm>
              <a:off x="13240676" y="2988475"/>
              <a:ext cx="243966" cy="252010"/>
            </a:xfrm>
            <a:custGeom>
              <a:avLst/>
              <a:gdLst>
                <a:gd name="connsiteX0" fmla="*/ 243966 w 243966"/>
                <a:gd name="connsiteY0" fmla="*/ 38678 h 252010"/>
                <a:gd name="connsiteX1" fmla="*/ 238017 w 243966"/>
                <a:gd name="connsiteY1" fmla="*/ 208264 h 252010"/>
                <a:gd name="connsiteX2" fmla="*/ 0 w 243966"/>
                <a:gd name="connsiteY2" fmla="*/ 199339 h 252010"/>
                <a:gd name="connsiteX3" fmla="*/ 14876 w 243966"/>
                <a:gd name="connsiteY3" fmla="*/ 0 h 252010"/>
                <a:gd name="connsiteX4" fmla="*/ 243966 w 243966"/>
                <a:gd name="connsiteY4" fmla="*/ 38678 h 252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966" h="252010">
                  <a:moveTo>
                    <a:pt x="243966" y="38678"/>
                  </a:moveTo>
                  <a:cubicBezTo>
                    <a:pt x="243966" y="38678"/>
                    <a:pt x="238017" y="136860"/>
                    <a:pt x="238017" y="208264"/>
                  </a:cubicBezTo>
                  <a:cubicBezTo>
                    <a:pt x="238017" y="208264"/>
                    <a:pt x="145785" y="312397"/>
                    <a:pt x="0" y="199339"/>
                  </a:cubicBezTo>
                  <a:cubicBezTo>
                    <a:pt x="0" y="139835"/>
                    <a:pt x="11901" y="62479"/>
                    <a:pt x="14876" y="0"/>
                  </a:cubicBezTo>
                  <a:cubicBezTo>
                    <a:pt x="14876" y="0"/>
                    <a:pt x="193388" y="50579"/>
                    <a:pt x="243966" y="38678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937289F3-28B2-445A-999A-ADB1D5979CCD}"/>
                </a:ext>
              </a:extLst>
            </p:cNvPr>
            <p:cNvSpPr/>
            <p:nvPr/>
          </p:nvSpPr>
          <p:spPr>
            <a:xfrm>
              <a:off x="12794395" y="3146161"/>
              <a:ext cx="1055586" cy="1458745"/>
            </a:xfrm>
            <a:custGeom>
              <a:avLst/>
              <a:gdLst>
                <a:gd name="connsiteX0" fmla="*/ 431405 w 1055586"/>
                <a:gd name="connsiteY0" fmla="*/ 0 h 1458745"/>
                <a:gd name="connsiteX1" fmla="*/ 714050 w 1055586"/>
                <a:gd name="connsiteY1" fmla="*/ 0 h 1458745"/>
                <a:gd name="connsiteX2" fmla="*/ 1005620 w 1055586"/>
                <a:gd name="connsiteY2" fmla="*/ 127934 h 1458745"/>
                <a:gd name="connsiteX3" fmla="*/ 1053223 w 1055586"/>
                <a:gd name="connsiteY3" fmla="*/ 1410248 h 1458745"/>
                <a:gd name="connsiteX4" fmla="*/ 0 w 1055586"/>
                <a:gd name="connsiteY4" fmla="*/ 1413223 h 1458745"/>
                <a:gd name="connsiteX5" fmla="*/ 157686 w 1055586"/>
                <a:gd name="connsiteY5" fmla="*/ 101157 h 1458745"/>
                <a:gd name="connsiteX6" fmla="*/ 431405 w 1055586"/>
                <a:gd name="connsiteY6" fmla="*/ 0 h 1458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5586" h="1458745">
                  <a:moveTo>
                    <a:pt x="431405" y="0"/>
                  </a:moveTo>
                  <a:cubicBezTo>
                    <a:pt x="431405" y="0"/>
                    <a:pt x="600991" y="53554"/>
                    <a:pt x="714050" y="0"/>
                  </a:cubicBezTo>
                  <a:cubicBezTo>
                    <a:pt x="714050" y="0"/>
                    <a:pt x="981818" y="95207"/>
                    <a:pt x="1005620" y="127934"/>
                  </a:cubicBezTo>
                  <a:cubicBezTo>
                    <a:pt x="1029422" y="157686"/>
                    <a:pt x="1065124" y="1344794"/>
                    <a:pt x="1053223" y="1410248"/>
                  </a:cubicBezTo>
                  <a:cubicBezTo>
                    <a:pt x="1053223" y="1410248"/>
                    <a:pt x="565289" y="1517355"/>
                    <a:pt x="0" y="1413223"/>
                  </a:cubicBezTo>
                  <a:cubicBezTo>
                    <a:pt x="0" y="1065124"/>
                    <a:pt x="116033" y="133884"/>
                    <a:pt x="157686" y="101157"/>
                  </a:cubicBezTo>
                  <a:cubicBezTo>
                    <a:pt x="196364" y="71405"/>
                    <a:pt x="431405" y="0"/>
                    <a:pt x="431405" y="0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BDC13FC4-C68E-4F04-9E7E-AC13B40B6E11}"/>
                </a:ext>
              </a:extLst>
            </p:cNvPr>
            <p:cNvSpPr/>
            <p:nvPr/>
          </p:nvSpPr>
          <p:spPr>
            <a:xfrm>
              <a:off x="13645908" y="3233891"/>
              <a:ext cx="439726" cy="596567"/>
            </a:xfrm>
            <a:custGeom>
              <a:avLst/>
              <a:gdLst>
                <a:gd name="connsiteX0" fmla="*/ 61875 w 439726"/>
                <a:gd name="connsiteY0" fmla="*/ 596568 h 596567"/>
                <a:gd name="connsiteX1" fmla="*/ 49974 w 439726"/>
                <a:gd name="connsiteY1" fmla="*/ 10452 h 596567"/>
                <a:gd name="connsiteX2" fmla="*/ 439726 w 439726"/>
                <a:gd name="connsiteY2" fmla="*/ 432931 h 596567"/>
                <a:gd name="connsiteX3" fmla="*/ 61875 w 439726"/>
                <a:gd name="connsiteY3" fmla="*/ 596568 h 59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9726" h="596567">
                  <a:moveTo>
                    <a:pt x="61875" y="596568"/>
                  </a:moveTo>
                  <a:cubicBezTo>
                    <a:pt x="61875" y="596568"/>
                    <a:pt x="-69034" y="87808"/>
                    <a:pt x="49974" y="10452"/>
                  </a:cubicBezTo>
                  <a:cubicBezTo>
                    <a:pt x="189809" y="-78804"/>
                    <a:pt x="439726" y="432931"/>
                    <a:pt x="439726" y="432931"/>
                  </a:cubicBezTo>
                  <a:cubicBezTo>
                    <a:pt x="439726" y="432931"/>
                    <a:pt x="270139" y="578717"/>
                    <a:pt x="61875" y="596568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1BA8350D-213C-4C63-9E2B-997EA0AEC11F}"/>
                </a:ext>
              </a:extLst>
            </p:cNvPr>
            <p:cNvSpPr/>
            <p:nvPr/>
          </p:nvSpPr>
          <p:spPr>
            <a:xfrm>
              <a:off x="13791090" y="3268144"/>
              <a:ext cx="51810" cy="538512"/>
            </a:xfrm>
            <a:custGeom>
              <a:avLst/>
              <a:gdLst>
                <a:gd name="connsiteX0" fmla="*/ 47603 w 51810"/>
                <a:gd name="connsiteY0" fmla="*/ 538512 h 538512"/>
                <a:gd name="connsiteX1" fmla="*/ 41653 w 51810"/>
                <a:gd name="connsiteY1" fmla="*/ 532562 h 538512"/>
                <a:gd name="connsiteX2" fmla="*/ 0 w 51810"/>
                <a:gd name="connsiteY2" fmla="*/ 5950 h 538512"/>
                <a:gd name="connsiteX3" fmla="*/ 2975 w 51810"/>
                <a:gd name="connsiteY3" fmla="*/ 0 h 538512"/>
                <a:gd name="connsiteX4" fmla="*/ 8925 w 51810"/>
                <a:gd name="connsiteY4" fmla="*/ 2975 h 538512"/>
                <a:gd name="connsiteX5" fmla="*/ 50578 w 51810"/>
                <a:gd name="connsiteY5" fmla="*/ 532562 h 538512"/>
                <a:gd name="connsiteX6" fmla="*/ 47603 w 51810"/>
                <a:gd name="connsiteY6" fmla="*/ 538512 h 538512"/>
                <a:gd name="connsiteX7" fmla="*/ 47603 w 51810"/>
                <a:gd name="connsiteY7" fmla="*/ 538512 h 538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810" h="538512">
                  <a:moveTo>
                    <a:pt x="47603" y="538512"/>
                  </a:moveTo>
                  <a:cubicBezTo>
                    <a:pt x="44628" y="538512"/>
                    <a:pt x="41653" y="535537"/>
                    <a:pt x="41653" y="532562"/>
                  </a:cubicBezTo>
                  <a:cubicBezTo>
                    <a:pt x="41653" y="526612"/>
                    <a:pt x="5950" y="44628"/>
                    <a:pt x="0" y="5950"/>
                  </a:cubicBezTo>
                  <a:cubicBezTo>
                    <a:pt x="0" y="2975"/>
                    <a:pt x="0" y="0"/>
                    <a:pt x="2975" y="0"/>
                  </a:cubicBezTo>
                  <a:cubicBezTo>
                    <a:pt x="5950" y="0"/>
                    <a:pt x="8925" y="0"/>
                    <a:pt x="8925" y="2975"/>
                  </a:cubicBezTo>
                  <a:cubicBezTo>
                    <a:pt x="17851" y="41653"/>
                    <a:pt x="50578" y="511736"/>
                    <a:pt x="50578" y="532562"/>
                  </a:cubicBezTo>
                  <a:cubicBezTo>
                    <a:pt x="53553" y="535537"/>
                    <a:pt x="50578" y="538512"/>
                    <a:pt x="47603" y="538512"/>
                  </a:cubicBezTo>
                  <a:cubicBezTo>
                    <a:pt x="47603" y="538512"/>
                    <a:pt x="47603" y="538512"/>
                    <a:pt x="47603" y="538512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45FAA17E-8B7B-435F-9CFC-213D6600EB8A}"/>
                </a:ext>
              </a:extLst>
            </p:cNvPr>
            <p:cNvSpPr/>
            <p:nvPr/>
          </p:nvSpPr>
          <p:spPr>
            <a:xfrm>
              <a:off x="12831586" y="3635112"/>
              <a:ext cx="399297" cy="97373"/>
            </a:xfrm>
            <a:custGeom>
              <a:avLst/>
              <a:gdLst>
                <a:gd name="connsiteX0" fmla="*/ 376363 w 399297"/>
                <a:gd name="connsiteY0" fmla="*/ 1958 h 97373"/>
                <a:gd name="connsiteX1" fmla="*/ 13388 w 399297"/>
                <a:gd name="connsiteY1" fmla="*/ 67413 h 97373"/>
                <a:gd name="connsiteX2" fmla="*/ 13388 w 399297"/>
                <a:gd name="connsiteY2" fmla="*/ 97165 h 97373"/>
                <a:gd name="connsiteX3" fmla="*/ 391240 w 399297"/>
                <a:gd name="connsiteY3" fmla="*/ 28735 h 97373"/>
                <a:gd name="connsiteX4" fmla="*/ 376363 w 399297"/>
                <a:gd name="connsiteY4" fmla="*/ 1958 h 97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297" h="97373">
                  <a:moveTo>
                    <a:pt x="376363" y="1958"/>
                  </a:moveTo>
                  <a:cubicBezTo>
                    <a:pt x="278182" y="64438"/>
                    <a:pt x="126446" y="55512"/>
                    <a:pt x="13388" y="67413"/>
                  </a:cubicBezTo>
                  <a:cubicBezTo>
                    <a:pt x="-4463" y="70388"/>
                    <a:pt x="-4463" y="100140"/>
                    <a:pt x="13388" y="97165"/>
                  </a:cubicBezTo>
                  <a:cubicBezTo>
                    <a:pt x="135372" y="85264"/>
                    <a:pt x="287107" y="94190"/>
                    <a:pt x="391240" y="28735"/>
                  </a:cubicBezTo>
                  <a:cubicBezTo>
                    <a:pt x="409091" y="16834"/>
                    <a:pt x="394215" y="-6967"/>
                    <a:pt x="376363" y="1958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4FBD3719-2B07-4B69-9BC7-5C33D1A382EC}"/>
                </a:ext>
              </a:extLst>
            </p:cNvPr>
            <p:cNvSpPr/>
            <p:nvPr/>
          </p:nvSpPr>
          <p:spPr>
            <a:xfrm>
              <a:off x="13190098" y="2860541"/>
              <a:ext cx="65454" cy="139834"/>
            </a:xfrm>
            <a:custGeom>
              <a:avLst/>
              <a:gdLst>
                <a:gd name="connsiteX0" fmla="*/ 0 w 65454"/>
                <a:gd name="connsiteY0" fmla="*/ 0 h 139834"/>
                <a:gd name="connsiteX1" fmla="*/ 56529 w 65454"/>
                <a:gd name="connsiteY1" fmla="*/ 139835 h 139834"/>
                <a:gd name="connsiteX2" fmla="*/ 65455 w 65454"/>
                <a:gd name="connsiteY2" fmla="*/ 56529 h 139834"/>
                <a:gd name="connsiteX3" fmla="*/ 0 w 65454"/>
                <a:gd name="connsiteY3" fmla="*/ 0 h 13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454" h="139834">
                  <a:moveTo>
                    <a:pt x="0" y="0"/>
                  </a:moveTo>
                  <a:cubicBezTo>
                    <a:pt x="0" y="0"/>
                    <a:pt x="5951" y="116033"/>
                    <a:pt x="56529" y="139835"/>
                  </a:cubicBezTo>
                  <a:lnTo>
                    <a:pt x="65455" y="565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4241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44F30306-E31B-438C-B83F-545878B8D78F}"/>
                </a:ext>
              </a:extLst>
            </p:cNvPr>
            <p:cNvSpPr/>
            <p:nvPr/>
          </p:nvSpPr>
          <p:spPr>
            <a:xfrm>
              <a:off x="13544675" y="2687979"/>
              <a:ext cx="103180" cy="228603"/>
            </a:xfrm>
            <a:custGeom>
              <a:avLst/>
              <a:gdLst>
                <a:gd name="connsiteX0" fmla="*/ 100629 w 103180"/>
                <a:gd name="connsiteY0" fmla="*/ 0 h 228603"/>
                <a:gd name="connsiteX1" fmla="*/ 44100 w 103180"/>
                <a:gd name="connsiteY1" fmla="*/ 226116 h 228603"/>
                <a:gd name="connsiteX2" fmla="*/ 5422 w 103180"/>
                <a:gd name="connsiteY2" fmla="*/ 8926 h 228603"/>
                <a:gd name="connsiteX3" fmla="*/ 100629 w 103180"/>
                <a:gd name="connsiteY3" fmla="*/ 0 h 228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180" h="228603">
                  <a:moveTo>
                    <a:pt x="100629" y="0"/>
                  </a:moveTo>
                  <a:cubicBezTo>
                    <a:pt x="100629" y="0"/>
                    <a:pt x="121455" y="193388"/>
                    <a:pt x="44100" y="226116"/>
                  </a:cubicBezTo>
                  <a:cubicBezTo>
                    <a:pt x="-21354" y="255868"/>
                    <a:pt x="5422" y="8926"/>
                    <a:pt x="5422" y="8926"/>
                  </a:cubicBezTo>
                  <a:lnTo>
                    <a:pt x="100629" y="0"/>
                  </a:lnTo>
                  <a:close/>
                </a:path>
              </a:pathLst>
            </a:custGeom>
            <a:solidFill>
              <a:srgbClr val="664241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CB6977C1-49DC-4180-9677-27FB0D25928E}"/>
                </a:ext>
              </a:extLst>
            </p:cNvPr>
            <p:cNvSpPr/>
            <p:nvPr/>
          </p:nvSpPr>
          <p:spPr>
            <a:xfrm>
              <a:off x="13198565" y="2538744"/>
              <a:ext cx="407722" cy="553993"/>
            </a:xfrm>
            <a:custGeom>
              <a:avLst/>
              <a:gdLst>
                <a:gd name="connsiteX0" fmla="*/ 405086 w 407722"/>
                <a:gd name="connsiteY0" fmla="*/ 187913 h 553993"/>
                <a:gd name="connsiteX1" fmla="*/ 390210 w 407722"/>
                <a:gd name="connsiteY1" fmla="*/ 431879 h 553993"/>
                <a:gd name="connsiteX2" fmla="*/ 226574 w 407722"/>
                <a:gd name="connsiteY2" fmla="*/ 553863 h 553993"/>
                <a:gd name="connsiteX3" fmla="*/ 24260 w 407722"/>
                <a:gd name="connsiteY3" fmla="*/ 402127 h 553993"/>
                <a:gd name="connsiteX4" fmla="*/ 459 w 407722"/>
                <a:gd name="connsiteY4" fmla="*/ 181962 h 553993"/>
                <a:gd name="connsiteX5" fmla="*/ 220624 w 407722"/>
                <a:gd name="connsiteY5" fmla="*/ 475 h 553993"/>
                <a:gd name="connsiteX6" fmla="*/ 405086 w 407722"/>
                <a:gd name="connsiteY6" fmla="*/ 187913 h 553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7722" h="553993">
                  <a:moveTo>
                    <a:pt x="405086" y="187913"/>
                  </a:moveTo>
                  <a:cubicBezTo>
                    <a:pt x="405086" y="187913"/>
                    <a:pt x="416988" y="360474"/>
                    <a:pt x="390210" y="431879"/>
                  </a:cubicBezTo>
                  <a:cubicBezTo>
                    <a:pt x="369384" y="494359"/>
                    <a:pt x="277153" y="553863"/>
                    <a:pt x="226574" y="553863"/>
                  </a:cubicBezTo>
                  <a:cubicBezTo>
                    <a:pt x="161120" y="556838"/>
                    <a:pt x="48062" y="509235"/>
                    <a:pt x="24260" y="402127"/>
                  </a:cubicBezTo>
                  <a:cubicBezTo>
                    <a:pt x="9384" y="330722"/>
                    <a:pt x="-2516" y="229565"/>
                    <a:pt x="459" y="181962"/>
                  </a:cubicBezTo>
                  <a:cubicBezTo>
                    <a:pt x="6409" y="89731"/>
                    <a:pt x="39136" y="15351"/>
                    <a:pt x="220624" y="475"/>
                  </a:cubicBezTo>
                  <a:cubicBezTo>
                    <a:pt x="303930" y="-8451"/>
                    <a:pt x="390210" y="110557"/>
                    <a:pt x="405086" y="187913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6E9E2321-9780-49E7-B4ED-58EBAF013F8A}"/>
                </a:ext>
              </a:extLst>
            </p:cNvPr>
            <p:cNvSpPr/>
            <p:nvPr/>
          </p:nvSpPr>
          <p:spPr>
            <a:xfrm>
              <a:off x="13412006" y="2801037"/>
              <a:ext cx="61214" cy="130909"/>
            </a:xfrm>
            <a:custGeom>
              <a:avLst/>
              <a:gdLst>
                <a:gd name="connsiteX0" fmla="*/ 30985 w 61214"/>
                <a:gd name="connsiteY0" fmla="*/ 130909 h 130909"/>
                <a:gd name="connsiteX1" fmla="*/ 4208 w 61214"/>
                <a:gd name="connsiteY1" fmla="*/ 127934 h 130909"/>
                <a:gd name="connsiteX2" fmla="*/ 1232 w 61214"/>
                <a:gd name="connsiteY2" fmla="*/ 121983 h 130909"/>
                <a:gd name="connsiteX3" fmla="*/ 7183 w 61214"/>
                <a:gd name="connsiteY3" fmla="*/ 119008 h 130909"/>
                <a:gd name="connsiteX4" fmla="*/ 45861 w 61214"/>
                <a:gd name="connsiteY4" fmla="*/ 119008 h 130909"/>
                <a:gd name="connsiteX5" fmla="*/ 48836 w 61214"/>
                <a:gd name="connsiteY5" fmla="*/ 116033 h 130909"/>
                <a:gd name="connsiteX6" fmla="*/ 39911 w 61214"/>
                <a:gd name="connsiteY6" fmla="*/ 5950 h 130909"/>
                <a:gd name="connsiteX7" fmla="*/ 45861 w 61214"/>
                <a:gd name="connsiteY7" fmla="*/ 0 h 130909"/>
                <a:gd name="connsiteX8" fmla="*/ 51811 w 61214"/>
                <a:gd name="connsiteY8" fmla="*/ 5950 h 130909"/>
                <a:gd name="connsiteX9" fmla="*/ 60737 w 61214"/>
                <a:gd name="connsiteY9" fmla="*/ 119008 h 130909"/>
                <a:gd name="connsiteX10" fmla="*/ 54787 w 61214"/>
                <a:gd name="connsiteY10" fmla="*/ 130909 h 130909"/>
                <a:gd name="connsiteX11" fmla="*/ 30985 w 61214"/>
                <a:gd name="connsiteY11" fmla="*/ 130909 h 13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214" h="130909">
                  <a:moveTo>
                    <a:pt x="30985" y="130909"/>
                  </a:moveTo>
                  <a:cubicBezTo>
                    <a:pt x="19084" y="130909"/>
                    <a:pt x="7183" y="127934"/>
                    <a:pt x="4208" y="127934"/>
                  </a:cubicBezTo>
                  <a:cubicBezTo>
                    <a:pt x="1232" y="127934"/>
                    <a:pt x="-1743" y="124959"/>
                    <a:pt x="1232" y="121983"/>
                  </a:cubicBezTo>
                  <a:cubicBezTo>
                    <a:pt x="1232" y="119008"/>
                    <a:pt x="4208" y="116033"/>
                    <a:pt x="7183" y="119008"/>
                  </a:cubicBezTo>
                  <a:cubicBezTo>
                    <a:pt x="19084" y="121983"/>
                    <a:pt x="39911" y="124959"/>
                    <a:pt x="45861" y="119008"/>
                  </a:cubicBezTo>
                  <a:cubicBezTo>
                    <a:pt x="45861" y="119008"/>
                    <a:pt x="48836" y="116033"/>
                    <a:pt x="48836" y="116033"/>
                  </a:cubicBezTo>
                  <a:cubicBezTo>
                    <a:pt x="48836" y="98182"/>
                    <a:pt x="39911" y="5950"/>
                    <a:pt x="39911" y="5950"/>
                  </a:cubicBezTo>
                  <a:cubicBezTo>
                    <a:pt x="39911" y="2975"/>
                    <a:pt x="42885" y="0"/>
                    <a:pt x="45861" y="0"/>
                  </a:cubicBezTo>
                  <a:cubicBezTo>
                    <a:pt x="48836" y="0"/>
                    <a:pt x="51811" y="2975"/>
                    <a:pt x="51811" y="5950"/>
                  </a:cubicBezTo>
                  <a:cubicBezTo>
                    <a:pt x="51811" y="8926"/>
                    <a:pt x="63712" y="98182"/>
                    <a:pt x="60737" y="119008"/>
                  </a:cubicBezTo>
                  <a:cubicBezTo>
                    <a:pt x="60737" y="124959"/>
                    <a:pt x="57761" y="127934"/>
                    <a:pt x="54787" y="130909"/>
                  </a:cubicBezTo>
                  <a:cubicBezTo>
                    <a:pt x="45861" y="127934"/>
                    <a:pt x="36935" y="130909"/>
                    <a:pt x="30985" y="130909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ACBEDEE0-2284-49C8-BD56-B3B756E340CA}"/>
                </a:ext>
              </a:extLst>
            </p:cNvPr>
            <p:cNvSpPr/>
            <p:nvPr/>
          </p:nvSpPr>
          <p:spPr>
            <a:xfrm>
              <a:off x="13504886" y="2779452"/>
              <a:ext cx="37044" cy="37218"/>
            </a:xfrm>
            <a:custGeom>
              <a:avLst/>
              <a:gdLst>
                <a:gd name="connsiteX0" fmla="*/ 584 w 37044"/>
                <a:gd name="connsiteY0" fmla="*/ 21585 h 37218"/>
                <a:gd name="connsiteX1" fmla="*/ 21410 w 37044"/>
                <a:gd name="connsiteY1" fmla="*/ 36461 h 37218"/>
                <a:gd name="connsiteX2" fmla="*/ 36286 w 37044"/>
                <a:gd name="connsiteY2" fmla="*/ 15634 h 37218"/>
                <a:gd name="connsiteX3" fmla="*/ 15460 w 37044"/>
                <a:gd name="connsiteY3" fmla="*/ 758 h 37218"/>
                <a:gd name="connsiteX4" fmla="*/ 584 w 37044"/>
                <a:gd name="connsiteY4" fmla="*/ 21585 h 37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44" h="37218">
                  <a:moveTo>
                    <a:pt x="584" y="21585"/>
                  </a:moveTo>
                  <a:cubicBezTo>
                    <a:pt x="3559" y="33486"/>
                    <a:pt x="12484" y="39436"/>
                    <a:pt x="21410" y="36461"/>
                  </a:cubicBezTo>
                  <a:cubicBezTo>
                    <a:pt x="33311" y="33486"/>
                    <a:pt x="39261" y="24560"/>
                    <a:pt x="36286" y="15634"/>
                  </a:cubicBezTo>
                  <a:cubicBezTo>
                    <a:pt x="33311" y="3733"/>
                    <a:pt x="24385" y="-2217"/>
                    <a:pt x="15460" y="758"/>
                  </a:cubicBezTo>
                  <a:cubicBezTo>
                    <a:pt x="6534" y="3733"/>
                    <a:pt x="-2392" y="12659"/>
                    <a:pt x="584" y="21585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88E50CC9-8C76-4F7F-AC03-7905B6DCDFCD}"/>
                </a:ext>
              </a:extLst>
            </p:cNvPr>
            <p:cNvSpPr/>
            <p:nvPr/>
          </p:nvSpPr>
          <p:spPr>
            <a:xfrm>
              <a:off x="13323982" y="2788378"/>
              <a:ext cx="36461" cy="37218"/>
            </a:xfrm>
            <a:custGeom>
              <a:avLst/>
              <a:gdLst>
                <a:gd name="connsiteX0" fmla="*/ 0 w 36461"/>
                <a:gd name="connsiteY0" fmla="*/ 21585 h 37218"/>
                <a:gd name="connsiteX1" fmla="*/ 20827 w 36461"/>
                <a:gd name="connsiteY1" fmla="*/ 36461 h 37218"/>
                <a:gd name="connsiteX2" fmla="*/ 35703 w 36461"/>
                <a:gd name="connsiteY2" fmla="*/ 15634 h 37218"/>
                <a:gd name="connsiteX3" fmla="*/ 14876 w 36461"/>
                <a:gd name="connsiteY3" fmla="*/ 758 h 37218"/>
                <a:gd name="connsiteX4" fmla="*/ 0 w 36461"/>
                <a:gd name="connsiteY4" fmla="*/ 21585 h 37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1" h="37218">
                  <a:moveTo>
                    <a:pt x="0" y="21585"/>
                  </a:moveTo>
                  <a:cubicBezTo>
                    <a:pt x="2975" y="33486"/>
                    <a:pt x="11901" y="39436"/>
                    <a:pt x="20827" y="36461"/>
                  </a:cubicBezTo>
                  <a:cubicBezTo>
                    <a:pt x="32727" y="33486"/>
                    <a:pt x="38678" y="24560"/>
                    <a:pt x="35703" y="15634"/>
                  </a:cubicBezTo>
                  <a:cubicBezTo>
                    <a:pt x="32727" y="3733"/>
                    <a:pt x="23802" y="-2217"/>
                    <a:pt x="14876" y="758"/>
                  </a:cubicBezTo>
                  <a:cubicBezTo>
                    <a:pt x="5951" y="758"/>
                    <a:pt x="0" y="9684"/>
                    <a:pt x="0" y="21585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AA24C4AD-9AE7-46D3-812A-D43401C16CAB}"/>
                </a:ext>
              </a:extLst>
            </p:cNvPr>
            <p:cNvSpPr/>
            <p:nvPr/>
          </p:nvSpPr>
          <p:spPr>
            <a:xfrm>
              <a:off x="13480436" y="2731292"/>
              <a:ext cx="89744" cy="34042"/>
            </a:xfrm>
            <a:custGeom>
              <a:avLst/>
              <a:gdLst>
                <a:gd name="connsiteX0" fmla="*/ 81563 w 89744"/>
                <a:gd name="connsiteY0" fmla="*/ 34043 h 34042"/>
                <a:gd name="connsiteX1" fmla="*/ 75613 w 89744"/>
                <a:gd name="connsiteY1" fmla="*/ 31068 h 34042"/>
                <a:gd name="connsiteX2" fmla="*/ 10158 w 89744"/>
                <a:gd name="connsiteY2" fmla="*/ 19167 h 34042"/>
                <a:gd name="connsiteX3" fmla="*/ 1232 w 89744"/>
                <a:gd name="connsiteY3" fmla="*/ 16192 h 34042"/>
                <a:gd name="connsiteX4" fmla="*/ 4207 w 89744"/>
                <a:gd name="connsiteY4" fmla="*/ 7266 h 34042"/>
                <a:gd name="connsiteX5" fmla="*/ 87513 w 89744"/>
                <a:gd name="connsiteY5" fmla="*/ 22142 h 34042"/>
                <a:gd name="connsiteX6" fmla="*/ 87513 w 89744"/>
                <a:gd name="connsiteY6" fmla="*/ 34043 h 34042"/>
                <a:gd name="connsiteX7" fmla="*/ 81563 w 89744"/>
                <a:gd name="connsiteY7" fmla="*/ 34043 h 34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4042">
                  <a:moveTo>
                    <a:pt x="81563" y="34043"/>
                  </a:moveTo>
                  <a:cubicBezTo>
                    <a:pt x="78587" y="34043"/>
                    <a:pt x="78587" y="34043"/>
                    <a:pt x="75613" y="31068"/>
                  </a:cubicBezTo>
                  <a:cubicBezTo>
                    <a:pt x="51810" y="1316"/>
                    <a:pt x="10158" y="19167"/>
                    <a:pt x="10158" y="19167"/>
                  </a:cubicBezTo>
                  <a:cubicBezTo>
                    <a:pt x="7182" y="22142"/>
                    <a:pt x="1232" y="19167"/>
                    <a:pt x="1232" y="16192"/>
                  </a:cubicBezTo>
                  <a:cubicBezTo>
                    <a:pt x="-1743" y="13216"/>
                    <a:pt x="1232" y="7266"/>
                    <a:pt x="4207" y="7266"/>
                  </a:cubicBezTo>
                  <a:cubicBezTo>
                    <a:pt x="22058" y="-1660"/>
                    <a:pt x="63711" y="-7610"/>
                    <a:pt x="87513" y="22142"/>
                  </a:cubicBezTo>
                  <a:cubicBezTo>
                    <a:pt x="90489" y="25117"/>
                    <a:pt x="90489" y="31068"/>
                    <a:pt x="87513" y="34043"/>
                  </a:cubicBezTo>
                  <a:cubicBezTo>
                    <a:pt x="84538" y="34043"/>
                    <a:pt x="84538" y="34043"/>
                    <a:pt x="81563" y="34043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5693129D-496B-415A-B3F6-441D86B6219D}"/>
                </a:ext>
              </a:extLst>
            </p:cNvPr>
            <p:cNvSpPr/>
            <p:nvPr/>
          </p:nvSpPr>
          <p:spPr>
            <a:xfrm>
              <a:off x="13294974" y="2721614"/>
              <a:ext cx="88512" cy="31820"/>
            </a:xfrm>
            <a:custGeom>
              <a:avLst/>
              <a:gdLst>
                <a:gd name="connsiteX0" fmla="*/ 8182 w 88512"/>
                <a:gd name="connsiteY0" fmla="*/ 31820 h 31820"/>
                <a:gd name="connsiteX1" fmla="*/ 2232 w 88512"/>
                <a:gd name="connsiteY1" fmla="*/ 28845 h 31820"/>
                <a:gd name="connsiteX2" fmla="*/ 2232 w 88512"/>
                <a:gd name="connsiteY2" fmla="*/ 16944 h 31820"/>
                <a:gd name="connsiteX3" fmla="*/ 85537 w 88512"/>
                <a:gd name="connsiteY3" fmla="*/ 13969 h 31820"/>
                <a:gd name="connsiteX4" fmla="*/ 88512 w 88512"/>
                <a:gd name="connsiteY4" fmla="*/ 25870 h 31820"/>
                <a:gd name="connsiteX5" fmla="*/ 76612 w 88512"/>
                <a:gd name="connsiteY5" fmla="*/ 28845 h 31820"/>
                <a:gd name="connsiteX6" fmla="*/ 11157 w 88512"/>
                <a:gd name="connsiteY6" fmla="*/ 31820 h 31820"/>
                <a:gd name="connsiteX7" fmla="*/ 8182 w 88512"/>
                <a:gd name="connsiteY7" fmla="*/ 31820 h 3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12" h="31820">
                  <a:moveTo>
                    <a:pt x="8182" y="31820"/>
                  </a:moveTo>
                  <a:cubicBezTo>
                    <a:pt x="5207" y="31820"/>
                    <a:pt x="5207" y="31820"/>
                    <a:pt x="2232" y="28845"/>
                  </a:cubicBezTo>
                  <a:cubicBezTo>
                    <a:pt x="-744" y="25870"/>
                    <a:pt x="-744" y="19919"/>
                    <a:pt x="2232" y="16944"/>
                  </a:cubicBezTo>
                  <a:cubicBezTo>
                    <a:pt x="17108" y="5043"/>
                    <a:pt x="52810" y="-12808"/>
                    <a:pt x="85537" y="13969"/>
                  </a:cubicBezTo>
                  <a:cubicBezTo>
                    <a:pt x="88512" y="16944"/>
                    <a:pt x="88512" y="19919"/>
                    <a:pt x="88512" y="25870"/>
                  </a:cubicBezTo>
                  <a:cubicBezTo>
                    <a:pt x="85537" y="28845"/>
                    <a:pt x="82562" y="28845"/>
                    <a:pt x="76612" y="28845"/>
                  </a:cubicBezTo>
                  <a:cubicBezTo>
                    <a:pt x="43884" y="5043"/>
                    <a:pt x="14132" y="31820"/>
                    <a:pt x="11157" y="31820"/>
                  </a:cubicBezTo>
                  <a:cubicBezTo>
                    <a:pt x="11157" y="31820"/>
                    <a:pt x="11157" y="31820"/>
                    <a:pt x="8182" y="31820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45BA9EC4-1EAE-4EF7-A08D-ACD1B40C1BFB}"/>
                </a:ext>
              </a:extLst>
            </p:cNvPr>
            <p:cNvSpPr/>
            <p:nvPr/>
          </p:nvSpPr>
          <p:spPr>
            <a:xfrm>
              <a:off x="13270429" y="3027153"/>
              <a:ext cx="224462" cy="71405"/>
            </a:xfrm>
            <a:custGeom>
              <a:avLst/>
              <a:gdLst>
                <a:gd name="connsiteX0" fmla="*/ 148760 w 224462"/>
                <a:gd name="connsiteY0" fmla="*/ 71405 h 71405"/>
                <a:gd name="connsiteX1" fmla="*/ 142810 w 224462"/>
                <a:gd name="connsiteY1" fmla="*/ 71405 h 71405"/>
                <a:gd name="connsiteX2" fmla="*/ 2975 w 224462"/>
                <a:gd name="connsiteY2" fmla="*/ 11901 h 71405"/>
                <a:gd name="connsiteX3" fmla="*/ 0 w 224462"/>
                <a:gd name="connsiteY3" fmla="*/ 2975 h 71405"/>
                <a:gd name="connsiteX4" fmla="*/ 8925 w 224462"/>
                <a:gd name="connsiteY4" fmla="*/ 0 h 71405"/>
                <a:gd name="connsiteX5" fmla="*/ 142810 w 224462"/>
                <a:gd name="connsiteY5" fmla="*/ 56529 h 71405"/>
                <a:gd name="connsiteX6" fmla="*/ 148760 w 224462"/>
                <a:gd name="connsiteY6" fmla="*/ 56529 h 71405"/>
                <a:gd name="connsiteX7" fmla="*/ 214214 w 224462"/>
                <a:gd name="connsiteY7" fmla="*/ 35703 h 71405"/>
                <a:gd name="connsiteX8" fmla="*/ 223141 w 224462"/>
                <a:gd name="connsiteY8" fmla="*/ 35703 h 71405"/>
                <a:gd name="connsiteX9" fmla="*/ 223141 w 224462"/>
                <a:gd name="connsiteY9" fmla="*/ 44628 h 71405"/>
                <a:gd name="connsiteX10" fmla="*/ 148760 w 224462"/>
                <a:gd name="connsiteY10" fmla="*/ 71405 h 71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462" h="71405">
                  <a:moveTo>
                    <a:pt x="148760" y="71405"/>
                  </a:moveTo>
                  <a:cubicBezTo>
                    <a:pt x="145785" y="71405"/>
                    <a:pt x="145785" y="71405"/>
                    <a:pt x="142810" y="71405"/>
                  </a:cubicBezTo>
                  <a:cubicBezTo>
                    <a:pt x="92232" y="68430"/>
                    <a:pt x="8925" y="14876"/>
                    <a:pt x="2975" y="11901"/>
                  </a:cubicBezTo>
                  <a:cubicBezTo>
                    <a:pt x="0" y="8926"/>
                    <a:pt x="0" y="5950"/>
                    <a:pt x="0" y="2975"/>
                  </a:cubicBezTo>
                  <a:cubicBezTo>
                    <a:pt x="2975" y="0"/>
                    <a:pt x="5950" y="0"/>
                    <a:pt x="8925" y="0"/>
                  </a:cubicBezTo>
                  <a:cubicBezTo>
                    <a:pt x="8925" y="0"/>
                    <a:pt x="95206" y="53554"/>
                    <a:pt x="142810" y="56529"/>
                  </a:cubicBezTo>
                  <a:cubicBezTo>
                    <a:pt x="145785" y="56529"/>
                    <a:pt x="145785" y="56529"/>
                    <a:pt x="148760" y="56529"/>
                  </a:cubicBezTo>
                  <a:cubicBezTo>
                    <a:pt x="184462" y="56529"/>
                    <a:pt x="214214" y="35703"/>
                    <a:pt x="214214" y="35703"/>
                  </a:cubicBezTo>
                  <a:cubicBezTo>
                    <a:pt x="217190" y="32727"/>
                    <a:pt x="220165" y="35703"/>
                    <a:pt x="223141" y="35703"/>
                  </a:cubicBezTo>
                  <a:cubicBezTo>
                    <a:pt x="226116" y="38678"/>
                    <a:pt x="223141" y="41653"/>
                    <a:pt x="223141" y="44628"/>
                  </a:cubicBezTo>
                  <a:cubicBezTo>
                    <a:pt x="217190" y="50579"/>
                    <a:pt x="187438" y="71405"/>
                    <a:pt x="148760" y="71405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7288313F-A236-4978-8B26-4ADEA14FBC15}"/>
                </a:ext>
              </a:extLst>
            </p:cNvPr>
            <p:cNvSpPr/>
            <p:nvPr/>
          </p:nvSpPr>
          <p:spPr>
            <a:xfrm>
              <a:off x="13165533" y="2548144"/>
              <a:ext cx="110845" cy="261818"/>
            </a:xfrm>
            <a:custGeom>
              <a:avLst/>
              <a:gdLst>
                <a:gd name="connsiteX0" fmla="*/ 110845 w 110845"/>
                <a:gd name="connsiteY0" fmla="*/ 127934 h 261818"/>
                <a:gd name="connsiteX1" fmla="*/ 54317 w 110845"/>
                <a:gd name="connsiteY1" fmla="*/ 261818 h 261818"/>
                <a:gd name="connsiteX2" fmla="*/ 3739 w 110845"/>
                <a:gd name="connsiteY2" fmla="*/ 160661 h 261818"/>
                <a:gd name="connsiteX3" fmla="*/ 72168 w 110845"/>
                <a:gd name="connsiteY3" fmla="*/ 0 h 261818"/>
                <a:gd name="connsiteX4" fmla="*/ 110845 w 110845"/>
                <a:gd name="connsiteY4" fmla="*/ 127934 h 261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845" h="261818">
                  <a:moveTo>
                    <a:pt x="110845" y="127934"/>
                  </a:moveTo>
                  <a:cubicBezTo>
                    <a:pt x="110845" y="127934"/>
                    <a:pt x="48367" y="232066"/>
                    <a:pt x="54317" y="261818"/>
                  </a:cubicBezTo>
                  <a:cubicBezTo>
                    <a:pt x="54317" y="261818"/>
                    <a:pt x="15639" y="217190"/>
                    <a:pt x="3739" y="160661"/>
                  </a:cubicBezTo>
                  <a:cubicBezTo>
                    <a:pt x="-8163" y="101157"/>
                    <a:pt x="6713" y="11901"/>
                    <a:pt x="72168" y="0"/>
                  </a:cubicBezTo>
                  <a:cubicBezTo>
                    <a:pt x="72168" y="0"/>
                    <a:pt x="72168" y="107107"/>
                    <a:pt x="110845" y="127934"/>
                  </a:cubicBezTo>
                  <a:close/>
                </a:path>
              </a:pathLst>
            </a:custGeom>
            <a:solidFill>
              <a:srgbClr val="664241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EDB4ABE3-086F-4169-A159-D5575D627CCF}"/>
                </a:ext>
              </a:extLst>
            </p:cNvPr>
            <p:cNvSpPr/>
            <p:nvPr/>
          </p:nvSpPr>
          <p:spPr>
            <a:xfrm>
              <a:off x="13223426" y="2445023"/>
              <a:ext cx="487332" cy="262796"/>
            </a:xfrm>
            <a:custGeom>
              <a:avLst/>
              <a:gdLst>
                <a:gd name="connsiteX0" fmla="*/ 52952 w 487332"/>
                <a:gd name="connsiteY0" fmla="*/ 231055 h 262796"/>
                <a:gd name="connsiteX1" fmla="*/ 174936 w 487332"/>
                <a:gd name="connsiteY1" fmla="*/ 201303 h 262796"/>
                <a:gd name="connsiteX2" fmla="*/ 487332 w 487332"/>
                <a:gd name="connsiteY2" fmla="*/ 210229 h 262796"/>
                <a:gd name="connsiteX3" fmla="*/ 136258 w 487332"/>
                <a:gd name="connsiteY3" fmla="*/ 4940 h 262796"/>
                <a:gd name="connsiteX4" fmla="*/ 14275 w 487332"/>
                <a:gd name="connsiteY4" fmla="*/ 103121 h 262796"/>
                <a:gd name="connsiteX5" fmla="*/ 52952 w 487332"/>
                <a:gd name="connsiteY5" fmla="*/ 231055 h 262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332" h="262796">
                  <a:moveTo>
                    <a:pt x="52952" y="231055"/>
                  </a:moveTo>
                  <a:cubicBezTo>
                    <a:pt x="52952" y="231055"/>
                    <a:pt x="148159" y="198328"/>
                    <a:pt x="174936" y="201303"/>
                  </a:cubicBezTo>
                  <a:cubicBezTo>
                    <a:pt x="273118" y="210229"/>
                    <a:pt x="389151" y="329237"/>
                    <a:pt x="487332" y="210229"/>
                  </a:cubicBezTo>
                  <a:cubicBezTo>
                    <a:pt x="448655" y="109072"/>
                    <a:pt x="299895" y="-27788"/>
                    <a:pt x="136258" y="4940"/>
                  </a:cubicBezTo>
                  <a:cubicBezTo>
                    <a:pt x="58903" y="22791"/>
                    <a:pt x="20226" y="67419"/>
                    <a:pt x="14275" y="103121"/>
                  </a:cubicBezTo>
                  <a:cubicBezTo>
                    <a:pt x="14275" y="103121"/>
                    <a:pt x="-36304" y="213204"/>
                    <a:pt x="52952" y="231055"/>
                  </a:cubicBezTo>
                  <a:close/>
                </a:path>
              </a:pathLst>
            </a:custGeom>
            <a:solidFill>
              <a:srgbClr val="664241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2079EB7E-8554-4974-A106-27B121990742}"/>
                </a:ext>
              </a:extLst>
            </p:cNvPr>
            <p:cNvSpPr/>
            <p:nvPr/>
          </p:nvSpPr>
          <p:spPr>
            <a:xfrm>
              <a:off x="13154057" y="2777482"/>
              <a:ext cx="74807" cy="112510"/>
            </a:xfrm>
            <a:custGeom>
              <a:avLst/>
              <a:gdLst>
                <a:gd name="connsiteX0" fmla="*/ 65793 w 74807"/>
                <a:gd name="connsiteY0" fmla="*/ 17605 h 112510"/>
                <a:gd name="connsiteX1" fmla="*/ 9264 w 74807"/>
                <a:gd name="connsiteY1" fmla="*/ 5704 h 112510"/>
                <a:gd name="connsiteX2" fmla="*/ 59843 w 74807"/>
                <a:gd name="connsiteY2" fmla="*/ 109836 h 112510"/>
                <a:gd name="connsiteX3" fmla="*/ 65793 w 74807"/>
                <a:gd name="connsiteY3" fmla="*/ 17605 h 11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807" h="112510">
                  <a:moveTo>
                    <a:pt x="65793" y="17605"/>
                  </a:moveTo>
                  <a:cubicBezTo>
                    <a:pt x="65793" y="17605"/>
                    <a:pt x="36041" y="-12147"/>
                    <a:pt x="9264" y="5704"/>
                  </a:cubicBezTo>
                  <a:cubicBezTo>
                    <a:pt x="-17512" y="23555"/>
                    <a:pt x="18190" y="130663"/>
                    <a:pt x="59843" y="109836"/>
                  </a:cubicBezTo>
                  <a:cubicBezTo>
                    <a:pt x="89595" y="89010"/>
                    <a:pt x="65793" y="17605"/>
                    <a:pt x="65793" y="17605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2E16DA26-9607-4073-AB4F-FD74C988E10A}"/>
                </a:ext>
              </a:extLst>
            </p:cNvPr>
            <p:cNvSpPr/>
            <p:nvPr/>
          </p:nvSpPr>
          <p:spPr>
            <a:xfrm>
              <a:off x="13213488" y="2568971"/>
              <a:ext cx="71816" cy="232066"/>
            </a:xfrm>
            <a:custGeom>
              <a:avLst/>
              <a:gdLst>
                <a:gd name="connsiteX0" fmla="*/ 6362 w 71816"/>
                <a:gd name="connsiteY0" fmla="*/ 232066 h 232066"/>
                <a:gd name="connsiteX1" fmla="*/ 6362 w 71816"/>
                <a:gd name="connsiteY1" fmla="*/ 232066 h 232066"/>
                <a:gd name="connsiteX2" fmla="*/ 412 w 71816"/>
                <a:gd name="connsiteY2" fmla="*/ 226116 h 232066"/>
                <a:gd name="connsiteX3" fmla="*/ 50990 w 71816"/>
                <a:gd name="connsiteY3" fmla="*/ 113058 h 232066"/>
                <a:gd name="connsiteX4" fmla="*/ 6362 w 71816"/>
                <a:gd name="connsiteY4" fmla="*/ 68430 h 232066"/>
                <a:gd name="connsiteX5" fmla="*/ 9337 w 71816"/>
                <a:gd name="connsiteY5" fmla="*/ 2975 h 232066"/>
                <a:gd name="connsiteX6" fmla="*/ 18263 w 71816"/>
                <a:gd name="connsiteY6" fmla="*/ 0 h 232066"/>
                <a:gd name="connsiteX7" fmla="*/ 21238 w 71816"/>
                <a:gd name="connsiteY7" fmla="*/ 8926 h 232066"/>
                <a:gd name="connsiteX8" fmla="*/ 18263 w 71816"/>
                <a:gd name="connsiteY8" fmla="*/ 65455 h 232066"/>
                <a:gd name="connsiteX9" fmla="*/ 62891 w 71816"/>
                <a:gd name="connsiteY9" fmla="*/ 107107 h 232066"/>
                <a:gd name="connsiteX10" fmla="*/ 71817 w 71816"/>
                <a:gd name="connsiteY10" fmla="*/ 110083 h 232066"/>
                <a:gd name="connsiteX11" fmla="*/ 65866 w 71816"/>
                <a:gd name="connsiteY11" fmla="*/ 116033 h 232066"/>
                <a:gd name="connsiteX12" fmla="*/ 12313 w 71816"/>
                <a:gd name="connsiteY12" fmla="*/ 232066 h 232066"/>
                <a:gd name="connsiteX13" fmla="*/ 6362 w 71816"/>
                <a:gd name="connsiteY13" fmla="*/ 232066 h 232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1816" h="232066">
                  <a:moveTo>
                    <a:pt x="6362" y="232066"/>
                  </a:moveTo>
                  <a:cubicBezTo>
                    <a:pt x="6362" y="232066"/>
                    <a:pt x="6362" y="232066"/>
                    <a:pt x="6362" y="232066"/>
                  </a:cubicBezTo>
                  <a:cubicBezTo>
                    <a:pt x="3387" y="232066"/>
                    <a:pt x="412" y="229091"/>
                    <a:pt x="412" y="226116"/>
                  </a:cubicBezTo>
                  <a:cubicBezTo>
                    <a:pt x="9337" y="175537"/>
                    <a:pt x="39089" y="127934"/>
                    <a:pt x="50990" y="113058"/>
                  </a:cubicBezTo>
                  <a:cubicBezTo>
                    <a:pt x="39089" y="107107"/>
                    <a:pt x="18263" y="92231"/>
                    <a:pt x="6362" y="68430"/>
                  </a:cubicBezTo>
                  <a:cubicBezTo>
                    <a:pt x="-2563" y="47603"/>
                    <a:pt x="-2563" y="26777"/>
                    <a:pt x="9337" y="2975"/>
                  </a:cubicBezTo>
                  <a:cubicBezTo>
                    <a:pt x="9337" y="0"/>
                    <a:pt x="15288" y="0"/>
                    <a:pt x="18263" y="0"/>
                  </a:cubicBezTo>
                  <a:cubicBezTo>
                    <a:pt x="21238" y="0"/>
                    <a:pt x="21238" y="5950"/>
                    <a:pt x="21238" y="8926"/>
                  </a:cubicBezTo>
                  <a:cubicBezTo>
                    <a:pt x="12313" y="29752"/>
                    <a:pt x="12313" y="47603"/>
                    <a:pt x="18263" y="65455"/>
                  </a:cubicBezTo>
                  <a:cubicBezTo>
                    <a:pt x="30164" y="95207"/>
                    <a:pt x="62891" y="107107"/>
                    <a:pt x="62891" y="107107"/>
                  </a:cubicBezTo>
                  <a:lnTo>
                    <a:pt x="71817" y="110083"/>
                  </a:lnTo>
                  <a:lnTo>
                    <a:pt x="65866" y="116033"/>
                  </a:lnTo>
                  <a:cubicBezTo>
                    <a:pt x="65866" y="116033"/>
                    <a:pt x="21238" y="172562"/>
                    <a:pt x="12313" y="232066"/>
                  </a:cubicBezTo>
                  <a:cubicBezTo>
                    <a:pt x="12313" y="229091"/>
                    <a:pt x="9337" y="232066"/>
                    <a:pt x="6362" y="232066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E58416F1-F6A9-42EA-810D-507A946BEE21}"/>
                </a:ext>
              </a:extLst>
            </p:cNvPr>
            <p:cNvSpPr/>
            <p:nvPr/>
          </p:nvSpPr>
          <p:spPr>
            <a:xfrm>
              <a:off x="13389437" y="2621431"/>
              <a:ext cx="189669" cy="36795"/>
            </a:xfrm>
            <a:custGeom>
              <a:avLst/>
              <a:gdLst>
                <a:gd name="connsiteX0" fmla="*/ 187438 w 189669"/>
                <a:gd name="connsiteY0" fmla="*/ 36796 h 36795"/>
                <a:gd name="connsiteX1" fmla="*/ 184462 w 189669"/>
                <a:gd name="connsiteY1" fmla="*/ 36796 h 36795"/>
                <a:gd name="connsiteX2" fmla="*/ 8925 w 189669"/>
                <a:gd name="connsiteY2" fmla="*/ 30845 h 36795"/>
                <a:gd name="connsiteX3" fmla="*/ 0 w 189669"/>
                <a:gd name="connsiteY3" fmla="*/ 27870 h 36795"/>
                <a:gd name="connsiteX4" fmla="*/ 2975 w 189669"/>
                <a:gd name="connsiteY4" fmla="*/ 18944 h 36795"/>
                <a:gd name="connsiteX5" fmla="*/ 187438 w 189669"/>
                <a:gd name="connsiteY5" fmla="*/ 24895 h 36795"/>
                <a:gd name="connsiteX6" fmla="*/ 187438 w 189669"/>
                <a:gd name="connsiteY6" fmla="*/ 33820 h 36795"/>
                <a:gd name="connsiteX7" fmla="*/ 187438 w 189669"/>
                <a:gd name="connsiteY7" fmla="*/ 36796 h 36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669" h="36795">
                  <a:moveTo>
                    <a:pt x="187438" y="36796"/>
                  </a:moveTo>
                  <a:cubicBezTo>
                    <a:pt x="187438" y="36796"/>
                    <a:pt x="184462" y="36796"/>
                    <a:pt x="184462" y="36796"/>
                  </a:cubicBezTo>
                  <a:cubicBezTo>
                    <a:pt x="121984" y="-10808"/>
                    <a:pt x="11901" y="30845"/>
                    <a:pt x="8925" y="30845"/>
                  </a:cubicBezTo>
                  <a:cubicBezTo>
                    <a:pt x="5950" y="30845"/>
                    <a:pt x="2975" y="30845"/>
                    <a:pt x="0" y="27870"/>
                  </a:cubicBezTo>
                  <a:cubicBezTo>
                    <a:pt x="0" y="24895"/>
                    <a:pt x="0" y="21920"/>
                    <a:pt x="2975" y="18944"/>
                  </a:cubicBezTo>
                  <a:cubicBezTo>
                    <a:pt x="8925" y="15969"/>
                    <a:pt x="121984" y="-25684"/>
                    <a:pt x="187438" y="24895"/>
                  </a:cubicBezTo>
                  <a:cubicBezTo>
                    <a:pt x="190413" y="27870"/>
                    <a:pt x="190413" y="30845"/>
                    <a:pt x="187438" y="33820"/>
                  </a:cubicBezTo>
                  <a:cubicBezTo>
                    <a:pt x="190413" y="36796"/>
                    <a:pt x="190413" y="36796"/>
                    <a:pt x="187438" y="36796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981F84B0-0BAF-48EE-93E7-5BAC9D80E934}"/>
                </a:ext>
              </a:extLst>
            </p:cNvPr>
            <p:cNvSpPr/>
            <p:nvPr/>
          </p:nvSpPr>
          <p:spPr>
            <a:xfrm>
              <a:off x="13380511" y="2985500"/>
              <a:ext cx="117265" cy="29752"/>
            </a:xfrm>
            <a:custGeom>
              <a:avLst/>
              <a:gdLst>
                <a:gd name="connsiteX0" fmla="*/ 71406 w 117265"/>
                <a:gd name="connsiteY0" fmla="*/ 29752 h 29752"/>
                <a:gd name="connsiteX1" fmla="*/ 2975 w 117265"/>
                <a:gd name="connsiteY1" fmla="*/ 11901 h 29752"/>
                <a:gd name="connsiteX2" fmla="*/ 0 w 117265"/>
                <a:gd name="connsiteY2" fmla="*/ 2975 h 29752"/>
                <a:gd name="connsiteX3" fmla="*/ 8926 w 117265"/>
                <a:gd name="connsiteY3" fmla="*/ 0 h 29752"/>
                <a:gd name="connsiteX4" fmla="*/ 107108 w 117265"/>
                <a:gd name="connsiteY4" fmla="*/ 5950 h 29752"/>
                <a:gd name="connsiteX5" fmla="*/ 116034 w 117265"/>
                <a:gd name="connsiteY5" fmla="*/ 8926 h 29752"/>
                <a:gd name="connsiteX6" fmla="*/ 113058 w 117265"/>
                <a:gd name="connsiteY6" fmla="*/ 17851 h 29752"/>
                <a:gd name="connsiteX7" fmla="*/ 71406 w 117265"/>
                <a:gd name="connsiteY7" fmla="*/ 29752 h 29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265" h="29752">
                  <a:moveTo>
                    <a:pt x="71406" y="29752"/>
                  </a:moveTo>
                  <a:cubicBezTo>
                    <a:pt x="35703" y="29752"/>
                    <a:pt x="5951" y="11901"/>
                    <a:pt x="2975" y="11901"/>
                  </a:cubicBezTo>
                  <a:cubicBezTo>
                    <a:pt x="0" y="8926"/>
                    <a:pt x="0" y="5950"/>
                    <a:pt x="0" y="2975"/>
                  </a:cubicBezTo>
                  <a:cubicBezTo>
                    <a:pt x="2975" y="0"/>
                    <a:pt x="5951" y="0"/>
                    <a:pt x="8926" y="0"/>
                  </a:cubicBezTo>
                  <a:cubicBezTo>
                    <a:pt x="8926" y="0"/>
                    <a:pt x="68430" y="32727"/>
                    <a:pt x="107108" y="5950"/>
                  </a:cubicBezTo>
                  <a:cubicBezTo>
                    <a:pt x="110083" y="2975"/>
                    <a:pt x="113058" y="5950"/>
                    <a:pt x="116034" y="8926"/>
                  </a:cubicBezTo>
                  <a:cubicBezTo>
                    <a:pt x="119008" y="11901"/>
                    <a:pt x="116034" y="14876"/>
                    <a:pt x="113058" y="17851"/>
                  </a:cubicBezTo>
                  <a:cubicBezTo>
                    <a:pt x="101158" y="23802"/>
                    <a:pt x="86282" y="29752"/>
                    <a:pt x="71406" y="29752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3E1E613F-A593-42C1-A7C1-1314CC979246}"/>
                </a:ext>
              </a:extLst>
            </p:cNvPr>
            <p:cNvSpPr/>
            <p:nvPr/>
          </p:nvSpPr>
          <p:spPr>
            <a:xfrm>
              <a:off x="12873376" y="3503186"/>
              <a:ext cx="278044" cy="810841"/>
            </a:xfrm>
            <a:custGeom>
              <a:avLst/>
              <a:gdLst>
                <a:gd name="connsiteX0" fmla="*/ 245317 w 278044"/>
                <a:gd name="connsiteY0" fmla="*/ 0 h 810841"/>
                <a:gd name="connsiteX1" fmla="*/ 278044 w 278044"/>
                <a:gd name="connsiteY1" fmla="*/ 514711 h 810841"/>
                <a:gd name="connsiteX2" fmla="*/ 102507 w 278044"/>
                <a:gd name="connsiteY2" fmla="*/ 809256 h 810841"/>
                <a:gd name="connsiteX3" fmla="*/ 1349 w 278044"/>
                <a:gd name="connsiteY3" fmla="*/ 95207 h 810841"/>
                <a:gd name="connsiteX4" fmla="*/ 245317 w 278044"/>
                <a:gd name="connsiteY4" fmla="*/ 0 h 810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044" h="810841">
                  <a:moveTo>
                    <a:pt x="245317" y="0"/>
                  </a:moveTo>
                  <a:lnTo>
                    <a:pt x="278044" y="514711"/>
                  </a:lnTo>
                  <a:cubicBezTo>
                    <a:pt x="278044" y="514711"/>
                    <a:pt x="224490" y="836033"/>
                    <a:pt x="102507" y="809256"/>
                  </a:cubicBezTo>
                  <a:cubicBezTo>
                    <a:pt x="-19477" y="782479"/>
                    <a:pt x="1349" y="95207"/>
                    <a:pt x="1349" y="95207"/>
                  </a:cubicBezTo>
                  <a:lnTo>
                    <a:pt x="245317" y="0"/>
                  </a:ln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F73833FF-CC44-41A5-83A5-1DCFCB9C6A61}"/>
                </a:ext>
              </a:extLst>
            </p:cNvPr>
            <p:cNvSpPr/>
            <p:nvPr/>
          </p:nvSpPr>
          <p:spPr>
            <a:xfrm>
              <a:off x="12794380" y="3223504"/>
              <a:ext cx="413568" cy="571492"/>
            </a:xfrm>
            <a:custGeom>
              <a:avLst/>
              <a:gdLst>
                <a:gd name="connsiteX0" fmla="*/ 15 w 413568"/>
                <a:gd name="connsiteY0" fmla="*/ 544475 h 571492"/>
                <a:gd name="connsiteX1" fmla="*/ 217205 w 413568"/>
                <a:gd name="connsiteY1" fmla="*/ 12 h 571492"/>
                <a:gd name="connsiteX2" fmla="*/ 413569 w 413568"/>
                <a:gd name="connsiteY2" fmla="*/ 541500 h 571492"/>
                <a:gd name="connsiteX3" fmla="*/ 15 w 413568"/>
                <a:gd name="connsiteY3" fmla="*/ 544475 h 571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3568" h="571492">
                  <a:moveTo>
                    <a:pt x="15" y="544475"/>
                  </a:moveTo>
                  <a:cubicBezTo>
                    <a:pt x="15" y="544475"/>
                    <a:pt x="-5936" y="2987"/>
                    <a:pt x="217205" y="12"/>
                  </a:cubicBezTo>
                  <a:cubicBezTo>
                    <a:pt x="383817" y="-2963"/>
                    <a:pt x="413569" y="541500"/>
                    <a:pt x="413569" y="541500"/>
                  </a:cubicBezTo>
                  <a:cubicBezTo>
                    <a:pt x="413569" y="541500"/>
                    <a:pt x="199354" y="606954"/>
                    <a:pt x="15" y="544475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698B9CCB-9BF2-4037-9192-0287BB8B4482}"/>
                </a:ext>
              </a:extLst>
            </p:cNvPr>
            <p:cNvSpPr/>
            <p:nvPr/>
          </p:nvSpPr>
          <p:spPr>
            <a:xfrm>
              <a:off x="12937320" y="3756078"/>
              <a:ext cx="648785" cy="582240"/>
            </a:xfrm>
            <a:custGeom>
              <a:avLst/>
              <a:gdLst>
                <a:gd name="connsiteX0" fmla="*/ 571125 w 648785"/>
                <a:gd name="connsiteY0" fmla="*/ 0 h 582240"/>
                <a:gd name="connsiteX1" fmla="*/ 17737 w 648785"/>
                <a:gd name="connsiteY1" fmla="*/ 392727 h 582240"/>
                <a:gd name="connsiteX2" fmla="*/ 127820 w 648785"/>
                <a:gd name="connsiteY2" fmla="*/ 577190 h 582240"/>
                <a:gd name="connsiteX3" fmla="*/ 648481 w 648785"/>
                <a:gd name="connsiteY3" fmla="*/ 121983 h 582240"/>
                <a:gd name="connsiteX4" fmla="*/ 571125 w 648785"/>
                <a:gd name="connsiteY4" fmla="*/ 0 h 58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785" h="582240">
                  <a:moveTo>
                    <a:pt x="571125" y="0"/>
                  </a:moveTo>
                  <a:cubicBezTo>
                    <a:pt x="571125" y="0"/>
                    <a:pt x="56414" y="309422"/>
                    <a:pt x="17737" y="392727"/>
                  </a:cubicBezTo>
                  <a:cubicBezTo>
                    <a:pt x="-23916" y="476033"/>
                    <a:pt x="5836" y="609917"/>
                    <a:pt x="127820" y="577190"/>
                  </a:cubicBezTo>
                  <a:cubicBezTo>
                    <a:pt x="249802" y="544463"/>
                    <a:pt x="639555" y="127934"/>
                    <a:pt x="648481" y="121983"/>
                  </a:cubicBezTo>
                  <a:cubicBezTo>
                    <a:pt x="654431" y="116033"/>
                    <a:pt x="571125" y="0"/>
                    <a:pt x="571125" y="0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81D38A7E-F220-4D9E-ACED-7302683F61BF}"/>
                </a:ext>
              </a:extLst>
            </p:cNvPr>
            <p:cNvSpPr/>
            <p:nvPr/>
          </p:nvSpPr>
          <p:spPr>
            <a:xfrm>
              <a:off x="13042081" y="3983937"/>
              <a:ext cx="107596" cy="81562"/>
            </a:xfrm>
            <a:custGeom>
              <a:avLst/>
              <a:gdLst>
                <a:gd name="connsiteX0" fmla="*/ 5207 w 107596"/>
                <a:gd name="connsiteY0" fmla="*/ 81563 h 81562"/>
                <a:gd name="connsiteX1" fmla="*/ 2232 w 107596"/>
                <a:gd name="connsiteY1" fmla="*/ 78588 h 81562"/>
                <a:gd name="connsiteX2" fmla="*/ 2232 w 107596"/>
                <a:gd name="connsiteY2" fmla="*/ 69662 h 81562"/>
                <a:gd name="connsiteX3" fmla="*/ 97439 w 107596"/>
                <a:gd name="connsiteY3" fmla="*/ 1232 h 81562"/>
                <a:gd name="connsiteX4" fmla="*/ 106364 w 107596"/>
                <a:gd name="connsiteY4" fmla="*/ 4208 h 81562"/>
                <a:gd name="connsiteX5" fmla="*/ 103388 w 107596"/>
                <a:gd name="connsiteY5" fmla="*/ 13133 h 81562"/>
                <a:gd name="connsiteX6" fmla="*/ 8182 w 107596"/>
                <a:gd name="connsiteY6" fmla="*/ 81563 h 81562"/>
                <a:gd name="connsiteX7" fmla="*/ 5207 w 107596"/>
                <a:gd name="connsiteY7" fmla="*/ 81563 h 81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596" h="81562">
                  <a:moveTo>
                    <a:pt x="5207" y="81563"/>
                  </a:moveTo>
                  <a:cubicBezTo>
                    <a:pt x="5207" y="81563"/>
                    <a:pt x="2232" y="81563"/>
                    <a:pt x="2232" y="78588"/>
                  </a:cubicBezTo>
                  <a:cubicBezTo>
                    <a:pt x="-744" y="75613"/>
                    <a:pt x="-744" y="72637"/>
                    <a:pt x="2232" y="69662"/>
                  </a:cubicBezTo>
                  <a:cubicBezTo>
                    <a:pt x="20083" y="51811"/>
                    <a:pt x="94463" y="1232"/>
                    <a:pt x="97439" y="1232"/>
                  </a:cubicBezTo>
                  <a:cubicBezTo>
                    <a:pt x="100413" y="-1743"/>
                    <a:pt x="103388" y="1232"/>
                    <a:pt x="106364" y="4208"/>
                  </a:cubicBezTo>
                  <a:cubicBezTo>
                    <a:pt x="109339" y="7183"/>
                    <a:pt x="106364" y="10158"/>
                    <a:pt x="103388" y="13133"/>
                  </a:cubicBezTo>
                  <a:cubicBezTo>
                    <a:pt x="103388" y="13133"/>
                    <a:pt x="26033" y="63712"/>
                    <a:pt x="8182" y="81563"/>
                  </a:cubicBezTo>
                  <a:cubicBezTo>
                    <a:pt x="8182" y="81563"/>
                    <a:pt x="5207" y="81563"/>
                    <a:pt x="5207" y="81563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D170DC20-94C9-4E06-A29C-21D2B5A5F57F}"/>
                </a:ext>
              </a:extLst>
            </p:cNvPr>
            <p:cNvSpPr/>
            <p:nvPr/>
          </p:nvSpPr>
          <p:spPr>
            <a:xfrm>
              <a:off x="13498775" y="3753103"/>
              <a:ext cx="536313" cy="537611"/>
            </a:xfrm>
            <a:custGeom>
              <a:avLst/>
              <a:gdLst>
                <a:gd name="connsiteX0" fmla="*/ 66198 w 536313"/>
                <a:gd name="connsiteY0" fmla="*/ 0 h 537611"/>
                <a:gd name="connsiteX1" fmla="*/ 521405 w 536313"/>
                <a:gd name="connsiteY1" fmla="*/ 348099 h 537611"/>
                <a:gd name="connsiteX2" fmla="*/ 423223 w 536313"/>
                <a:gd name="connsiteY2" fmla="*/ 532562 h 537611"/>
                <a:gd name="connsiteX3" fmla="*/ 743 w 536313"/>
                <a:gd name="connsiteY3" fmla="*/ 124959 h 537611"/>
                <a:gd name="connsiteX4" fmla="*/ 66198 w 536313"/>
                <a:gd name="connsiteY4" fmla="*/ 0 h 537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6313" h="537611">
                  <a:moveTo>
                    <a:pt x="66198" y="0"/>
                  </a:moveTo>
                  <a:cubicBezTo>
                    <a:pt x="66198" y="0"/>
                    <a:pt x="482727" y="261818"/>
                    <a:pt x="521405" y="348099"/>
                  </a:cubicBezTo>
                  <a:cubicBezTo>
                    <a:pt x="557108" y="431405"/>
                    <a:pt x="530331" y="565289"/>
                    <a:pt x="423223" y="532562"/>
                  </a:cubicBezTo>
                  <a:cubicBezTo>
                    <a:pt x="313140" y="499835"/>
                    <a:pt x="6694" y="127934"/>
                    <a:pt x="743" y="124959"/>
                  </a:cubicBezTo>
                  <a:cubicBezTo>
                    <a:pt x="-8182" y="116033"/>
                    <a:pt x="66198" y="0"/>
                    <a:pt x="66198" y="0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A42298C6-FBE2-4974-A568-5E6D261A9C35}"/>
                </a:ext>
              </a:extLst>
            </p:cNvPr>
            <p:cNvSpPr/>
            <p:nvPr/>
          </p:nvSpPr>
          <p:spPr>
            <a:xfrm>
              <a:off x="13833486" y="3926409"/>
              <a:ext cx="99669" cy="76611"/>
            </a:xfrm>
            <a:custGeom>
              <a:avLst/>
              <a:gdLst>
                <a:gd name="connsiteX0" fmla="*/ 88512 w 99669"/>
                <a:gd name="connsiteY0" fmla="*/ 76612 h 76611"/>
                <a:gd name="connsiteX1" fmla="*/ 85537 w 99669"/>
                <a:gd name="connsiteY1" fmla="*/ 73636 h 76611"/>
                <a:gd name="connsiteX2" fmla="*/ 2232 w 99669"/>
                <a:gd name="connsiteY2" fmla="*/ 11157 h 76611"/>
                <a:gd name="connsiteX3" fmla="*/ 2232 w 99669"/>
                <a:gd name="connsiteY3" fmla="*/ 2231 h 76611"/>
                <a:gd name="connsiteX4" fmla="*/ 11157 w 99669"/>
                <a:gd name="connsiteY4" fmla="*/ 2231 h 76611"/>
                <a:gd name="connsiteX5" fmla="*/ 97438 w 99669"/>
                <a:gd name="connsiteY5" fmla="*/ 67686 h 76611"/>
                <a:gd name="connsiteX6" fmla="*/ 97438 w 99669"/>
                <a:gd name="connsiteY6" fmla="*/ 76612 h 76611"/>
                <a:gd name="connsiteX7" fmla="*/ 88512 w 99669"/>
                <a:gd name="connsiteY7" fmla="*/ 76612 h 7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669" h="76611">
                  <a:moveTo>
                    <a:pt x="88512" y="76612"/>
                  </a:moveTo>
                  <a:cubicBezTo>
                    <a:pt x="88512" y="76612"/>
                    <a:pt x="85537" y="76612"/>
                    <a:pt x="85537" y="73636"/>
                  </a:cubicBezTo>
                  <a:cubicBezTo>
                    <a:pt x="70661" y="55785"/>
                    <a:pt x="2232" y="11157"/>
                    <a:pt x="2232" y="11157"/>
                  </a:cubicBezTo>
                  <a:cubicBezTo>
                    <a:pt x="-744" y="8182"/>
                    <a:pt x="-744" y="5207"/>
                    <a:pt x="2232" y="2231"/>
                  </a:cubicBezTo>
                  <a:cubicBezTo>
                    <a:pt x="5207" y="-744"/>
                    <a:pt x="8181" y="-744"/>
                    <a:pt x="11157" y="2231"/>
                  </a:cubicBezTo>
                  <a:cubicBezTo>
                    <a:pt x="14132" y="5207"/>
                    <a:pt x="79587" y="49835"/>
                    <a:pt x="97438" y="67686"/>
                  </a:cubicBezTo>
                  <a:cubicBezTo>
                    <a:pt x="100413" y="70661"/>
                    <a:pt x="100413" y="73636"/>
                    <a:pt x="97438" y="76612"/>
                  </a:cubicBezTo>
                  <a:cubicBezTo>
                    <a:pt x="91488" y="76612"/>
                    <a:pt x="88512" y="76612"/>
                    <a:pt x="88512" y="76612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9BE43A0E-5267-4D8E-BAF4-5FAFB8D3AD00}"/>
                </a:ext>
              </a:extLst>
            </p:cNvPr>
            <p:cNvSpPr/>
            <p:nvPr/>
          </p:nvSpPr>
          <p:spPr>
            <a:xfrm>
              <a:off x="13005635" y="3217566"/>
              <a:ext cx="208264" cy="577190"/>
            </a:xfrm>
            <a:custGeom>
              <a:avLst/>
              <a:gdLst>
                <a:gd name="connsiteX0" fmla="*/ 71405 w 208264"/>
                <a:gd name="connsiteY0" fmla="*/ 577190 h 577190"/>
                <a:gd name="connsiteX1" fmla="*/ 65454 w 208264"/>
                <a:gd name="connsiteY1" fmla="*/ 571240 h 577190"/>
                <a:gd name="connsiteX2" fmla="*/ 71405 w 208264"/>
                <a:gd name="connsiteY2" fmla="*/ 565289 h 577190"/>
                <a:gd name="connsiteX3" fmla="*/ 196363 w 208264"/>
                <a:gd name="connsiteY3" fmla="*/ 541488 h 577190"/>
                <a:gd name="connsiteX4" fmla="*/ 145785 w 208264"/>
                <a:gd name="connsiteY4" fmla="*/ 199339 h 577190"/>
                <a:gd name="connsiteX5" fmla="*/ 5950 w 208264"/>
                <a:gd name="connsiteY5" fmla="*/ 11901 h 577190"/>
                <a:gd name="connsiteX6" fmla="*/ 0 w 208264"/>
                <a:gd name="connsiteY6" fmla="*/ 5950 h 577190"/>
                <a:gd name="connsiteX7" fmla="*/ 5950 w 208264"/>
                <a:gd name="connsiteY7" fmla="*/ 0 h 577190"/>
                <a:gd name="connsiteX8" fmla="*/ 154710 w 208264"/>
                <a:gd name="connsiteY8" fmla="*/ 196364 h 577190"/>
                <a:gd name="connsiteX9" fmla="*/ 208264 w 208264"/>
                <a:gd name="connsiteY9" fmla="*/ 544463 h 577190"/>
                <a:gd name="connsiteX10" fmla="*/ 208264 w 208264"/>
                <a:gd name="connsiteY10" fmla="*/ 547438 h 577190"/>
                <a:gd name="connsiteX11" fmla="*/ 205289 w 208264"/>
                <a:gd name="connsiteY11" fmla="*/ 547438 h 577190"/>
                <a:gd name="connsiteX12" fmla="*/ 71405 w 208264"/>
                <a:gd name="connsiteY12" fmla="*/ 577190 h 577190"/>
                <a:gd name="connsiteX13" fmla="*/ 71405 w 208264"/>
                <a:gd name="connsiteY13" fmla="*/ 577190 h 57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8264" h="577190">
                  <a:moveTo>
                    <a:pt x="71405" y="577190"/>
                  </a:moveTo>
                  <a:cubicBezTo>
                    <a:pt x="68429" y="577190"/>
                    <a:pt x="65454" y="574215"/>
                    <a:pt x="65454" y="571240"/>
                  </a:cubicBezTo>
                  <a:cubicBezTo>
                    <a:pt x="65454" y="568264"/>
                    <a:pt x="68429" y="565289"/>
                    <a:pt x="71405" y="565289"/>
                  </a:cubicBezTo>
                  <a:cubicBezTo>
                    <a:pt x="124958" y="562314"/>
                    <a:pt x="181487" y="544463"/>
                    <a:pt x="196363" y="541488"/>
                  </a:cubicBezTo>
                  <a:cubicBezTo>
                    <a:pt x="193388" y="514711"/>
                    <a:pt x="175537" y="357025"/>
                    <a:pt x="145785" y="199339"/>
                  </a:cubicBezTo>
                  <a:cubicBezTo>
                    <a:pt x="113057" y="29752"/>
                    <a:pt x="5950" y="11901"/>
                    <a:pt x="5950" y="11901"/>
                  </a:cubicBezTo>
                  <a:cubicBezTo>
                    <a:pt x="2974" y="11901"/>
                    <a:pt x="0" y="8926"/>
                    <a:pt x="0" y="5950"/>
                  </a:cubicBezTo>
                  <a:cubicBezTo>
                    <a:pt x="0" y="2975"/>
                    <a:pt x="2974" y="0"/>
                    <a:pt x="5950" y="0"/>
                  </a:cubicBezTo>
                  <a:cubicBezTo>
                    <a:pt x="11901" y="0"/>
                    <a:pt x="119008" y="20826"/>
                    <a:pt x="154710" y="196364"/>
                  </a:cubicBezTo>
                  <a:cubicBezTo>
                    <a:pt x="187438" y="371901"/>
                    <a:pt x="205289" y="541488"/>
                    <a:pt x="208264" y="544463"/>
                  </a:cubicBezTo>
                  <a:lnTo>
                    <a:pt x="208264" y="547438"/>
                  </a:lnTo>
                  <a:lnTo>
                    <a:pt x="205289" y="547438"/>
                  </a:lnTo>
                  <a:cubicBezTo>
                    <a:pt x="202314" y="550413"/>
                    <a:pt x="136859" y="574215"/>
                    <a:pt x="71405" y="577190"/>
                  </a:cubicBezTo>
                  <a:cubicBezTo>
                    <a:pt x="71405" y="577190"/>
                    <a:pt x="71405" y="577190"/>
                    <a:pt x="71405" y="577190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F0F42CD6-1B50-4D48-9C9D-D30430A4063F}"/>
                </a:ext>
              </a:extLst>
            </p:cNvPr>
            <p:cNvSpPr/>
            <p:nvPr/>
          </p:nvSpPr>
          <p:spPr>
            <a:xfrm>
              <a:off x="11677832" y="6483394"/>
              <a:ext cx="474742" cy="189852"/>
            </a:xfrm>
            <a:custGeom>
              <a:avLst/>
              <a:gdLst>
                <a:gd name="connsiteX0" fmla="*/ 331109 w 474742"/>
                <a:gd name="connsiteY0" fmla="*/ 3924 h 189852"/>
                <a:gd name="connsiteX1" fmla="*/ 464993 w 474742"/>
                <a:gd name="connsiteY1" fmla="*/ 60453 h 189852"/>
                <a:gd name="connsiteX2" fmla="*/ 462018 w 474742"/>
                <a:gd name="connsiteY2" fmla="*/ 167560 h 189852"/>
                <a:gd name="connsiteX3" fmla="*/ 861 w 474742"/>
                <a:gd name="connsiteY3" fmla="*/ 185412 h 189852"/>
                <a:gd name="connsiteX4" fmla="*/ 331109 w 474742"/>
                <a:gd name="connsiteY4" fmla="*/ 3924 h 189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742" h="189852">
                  <a:moveTo>
                    <a:pt x="331109" y="3924"/>
                  </a:moveTo>
                  <a:cubicBezTo>
                    <a:pt x="340034" y="-16902"/>
                    <a:pt x="462018" y="51527"/>
                    <a:pt x="464993" y="60453"/>
                  </a:cubicBezTo>
                  <a:cubicBezTo>
                    <a:pt x="464993" y="60453"/>
                    <a:pt x="488795" y="161610"/>
                    <a:pt x="462018" y="167560"/>
                  </a:cubicBezTo>
                  <a:cubicBezTo>
                    <a:pt x="435241" y="173511"/>
                    <a:pt x="3836" y="200288"/>
                    <a:pt x="861" y="185412"/>
                  </a:cubicBezTo>
                  <a:cubicBezTo>
                    <a:pt x="-16991" y="96156"/>
                    <a:pt x="247803" y="63428"/>
                    <a:pt x="331109" y="3924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C2E18D91-E5F5-4C85-80D0-332514EC4B15}"/>
                </a:ext>
              </a:extLst>
            </p:cNvPr>
            <p:cNvSpPr/>
            <p:nvPr/>
          </p:nvSpPr>
          <p:spPr>
            <a:xfrm>
              <a:off x="13748613" y="6483394"/>
              <a:ext cx="441845" cy="189852"/>
            </a:xfrm>
            <a:custGeom>
              <a:avLst/>
              <a:gdLst>
                <a:gd name="connsiteX0" fmla="*/ 143633 w 441845"/>
                <a:gd name="connsiteY0" fmla="*/ 3924 h 189852"/>
                <a:gd name="connsiteX1" fmla="*/ 9749 w 441845"/>
                <a:gd name="connsiteY1" fmla="*/ 60453 h 189852"/>
                <a:gd name="connsiteX2" fmla="*/ 12724 w 441845"/>
                <a:gd name="connsiteY2" fmla="*/ 167560 h 189852"/>
                <a:gd name="connsiteX3" fmla="*/ 441154 w 441845"/>
                <a:gd name="connsiteY3" fmla="*/ 185412 h 189852"/>
                <a:gd name="connsiteX4" fmla="*/ 143633 w 441845"/>
                <a:gd name="connsiteY4" fmla="*/ 3924 h 189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1845" h="189852">
                  <a:moveTo>
                    <a:pt x="143633" y="3924"/>
                  </a:moveTo>
                  <a:cubicBezTo>
                    <a:pt x="134708" y="-16902"/>
                    <a:pt x="12724" y="51527"/>
                    <a:pt x="9749" y="60453"/>
                  </a:cubicBezTo>
                  <a:cubicBezTo>
                    <a:pt x="9749" y="60453"/>
                    <a:pt x="-14052" y="161610"/>
                    <a:pt x="12724" y="167560"/>
                  </a:cubicBezTo>
                  <a:cubicBezTo>
                    <a:pt x="39501" y="173511"/>
                    <a:pt x="438179" y="200288"/>
                    <a:pt x="441154" y="185412"/>
                  </a:cubicBezTo>
                  <a:cubicBezTo>
                    <a:pt x="456030" y="96156"/>
                    <a:pt x="226939" y="63428"/>
                    <a:pt x="143633" y="3924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AF6633C1-05B8-4E55-98A3-9BD329160E82}"/>
                </a:ext>
              </a:extLst>
            </p:cNvPr>
            <p:cNvSpPr/>
            <p:nvPr/>
          </p:nvSpPr>
          <p:spPr>
            <a:xfrm>
              <a:off x="13463817" y="3508756"/>
              <a:ext cx="108594" cy="345504"/>
            </a:xfrm>
            <a:custGeom>
              <a:avLst/>
              <a:gdLst>
                <a:gd name="connsiteX0" fmla="*/ 98181 w 108594"/>
                <a:gd name="connsiteY0" fmla="*/ 62860 h 345504"/>
                <a:gd name="connsiteX1" fmla="*/ 80330 w 108594"/>
                <a:gd name="connsiteY1" fmla="*/ 45009 h 345504"/>
                <a:gd name="connsiteX2" fmla="*/ 62480 w 108594"/>
                <a:gd name="connsiteY2" fmla="*/ 6331 h 345504"/>
                <a:gd name="connsiteX3" fmla="*/ 26777 w 108594"/>
                <a:gd name="connsiteY3" fmla="*/ 15257 h 345504"/>
                <a:gd name="connsiteX4" fmla="*/ 20826 w 108594"/>
                <a:gd name="connsiteY4" fmla="*/ 56909 h 345504"/>
                <a:gd name="connsiteX5" fmla="*/ 0 w 108594"/>
                <a:gd name="connsiteY5" fmla="*/ 80711 h 345504"/>
                <a:gd name="connsiteX6" fmla="*/ 2975 w 108594"/>
                <a:gd name="connsiteY6" fmla="*/ 306827 h 345504"/>
                <a:gd name="connsiteX7" fmla="*/ 41653 w 108594"/>
                <a:gd name="connsiteY7" fmla="*/ 345505 h 345504"/>
                <a:gd name="connsiteX8" fmla="*/ 101157 w 108594"/>
                <a:gd name="connsiteY8" fmla="*/ 274100 h 345504"/>
                <a:gd name="connsiteX9" fmla="*/ 98181 w 108594"/>
                <a:gd name="connsiteY9" fmla="*/ 62860 h 345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594" h="345504">
                  <a:moveTo>
                    <a:pt x="98181" y="62860"/>
                  </a:moveTo>
                  <a:cubicBezTo>
                    <a:pt x="95206" y="53934"/>
                    <a:pt x="86281" y="47984"/>
                    <a:pt x="80330" y="45009"/>
                  </a:cubicBezTo>
                  <a:cubicBezTo>
                    <a:pt x="77356" y="30133"/>
                    <a:pt x="71405" y="18232"/>
                    <a:pt x="62480" y="6331"/>
                  </a:cubicBezTo>
                  <a:cubicBezTo>
                    <a:pt x="53553" y="-5570"/>
                    <a:pt x="32727" y="381"/>
                    <a:pt x="26777" y="15257"/>
                  </a:cubicBezTo>
                  <a:cubicBezTo>
                    <a:pt x="23801" y="30133"/>
                    <a:pt x="23801" y="42033"/>
                    <a:pt x="20826" y="56909"/>
                  </a:cubicBezTo>
                  <a:cubicBezTo>
                    <a:pt x="8925" y="56909"/>
                    <a:pt x="0" y="65835"/>
                    <a:pt x="0" y="80711"/>
                  </a:cubicBezTo>
                  <a:cubicBezTo>
                    <a:pt x="0" y="146166"/>
                    <a:pt x="2975" y="241372"/>
                    <a:pt x="2975" y="306827"/>
                  </a:cubicBezTo>
                  <a:cubicBezTo>
                    <a:pt x="2975" y="321703"/>
                    <a:pt x="32727" y="345505"/>
                    <a:pt x="41653" y="345505"/>
                  </a:cubicBezTo>
                  <a:cubicBezTo>
                    <a:pt x="80330" y="345505"/>
                    <a:pt x="98181" y="312777"/>
                    <a:pt x="101157" y="274100"/>
                  </a:cubicBezTo>
                  <a:cubicBezTo>
                    <a:pt x="110082" y="223521"/>
                    <a:pt x="113057" y="116413"/>
                    <a:pt x="98181" y="62860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48F8A95B-82FB-4878-A862-65532CDAB631}"/>
                </a:ext>
              </a:extLst>
            </p:cNvPr>
            <p:cNvSpPr/>
            <p:nvPr/>
          </p:nvSpPr>
          <p:spPr>
            <a:xfrm>
              <a:off x="13522174" y="3508756"/>
              <a:ext cx="105279" cy="345504"/>
            </a:xfrm>
            <a:custGeom>
              <a:avLst/>
              <a:gdLst>
                <a:gd name="connsiteX0" fmla="*/ 10072 w 105279"/>
                <a:gd name="connsiteY0" fmla="*/ 62860 h 345504"/>
                <a:gd name="connsiteX1" fmla="*/ 27923 w 105279"/>
                <a:gd name="connsiteY1" fmla="*/ 45009 h 345504"/>
                <a:gd name="connsiteX2" fmla="*/ 45775 w 105279"/>
                <a:gd name="connsiteY2" fmla="*/ 6331 h 345504"/>
                <a:gd name="connsiteX3" fmla="*/ 78502 w 105279"/>
                <a:gd name="connsiteY3" fmla="*/ 15257 h 345504"/>
                <a:gd name="connsiteX4" fmla="*/ 84452 w 105279"/>
                <a:gd name="connsiteY4" fmla="*/ 56909 h 345504"/>
                <a:gd name="connsiteX5" fmla="*/ 105279 w 105279"/>
                <a:gd name="connsiteY5" fmla="*/ 80711 h 345504"/>
                <a:gd name="connsiteX6" fmla="*/ 102304 w 105279"/>
                <a:gd name="connsiteY6" fmla="*/ 306827 h 345504"/>
                <a:gd name="connsiteX7" fmla="*/ 66601 w 105279"/>
                <a:gd name="connsiteY7" fmla="*/ 345505 h 345504"/>
                <a:gd name="connsiteX8" fmla="*/ 10072 w 105279"/>
                <a:gd name="connsiteY8" fmla="*/ 274100 h 345504"/>
                <a:gd name="connsiteX9" fmla="*/ 10072 w 105279"/>
                <a:gd name="connsiteY9" fmla="*/ 62860 h 345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5279" h="345504">
                  <a:moveTo>
                    <a:pt x="10072" y="62860"/>
                  </a:moveTo>
                  <a:cubicBezTo>
                    <a:pt x="13047" y="53934"/>
                    <a:pt x="18998" y="47984"/>
                    <a:pt x="27923" y="45009"/>
                  </a:cubicBezTo>
                  <a:cubicBezTo>
                    <a:pt x="30899" y="30133"/>
                    <a:pt x="36849" y="18232"/>
                    <a:pt x="45775" y="6331"/>
                  </a:cubicBezTo>
                  <a:cubicBezTo>
                    <a:pt x="54700" y="-5570"/>
                    <a:pt x="75527" y="381"/>
                    <a:pt x="78502" y="15257"/>
                  </a:cubicBezTo>
                  <a:cubicBezTo>
                    <a:pt x="81477" y="30133"/>
                    <a:pt x="81477" y="42033"/>
                    <a:pt x="84452" y="56909"/>
                  </a:cubicBezTo>
                  <a:cubicBezTo>
                    <a:pt x="93378" y="56909"/>
                    <a:pt x="105279" y="65835"/>
                    <a:pt x="105279" y="80711"/>
                  </a:cubicBezTo>
                  <a:cubicBezTo>
                    <a:pt x="105279" y="146166"/>
                    <a:pt x="102304" y="241372"/>
                    <a:pt x="102304" y="306827"/>
                  </a:cubicBezTo>
                  <a:cubicBezTo>
                    <a:pt x="102304" y="321703"/>
                    <a:pt x="75527" y="345505"/>
                    <a:pt x="66601" y="345505"/>
                  </a:cubicBezTo>
                  <a:cubicBezTo>
                    <a:pt x="27923" y="345505"/>
                    <a:pt x="13047" y="312777"/>
                    <a:pt x="10072" y="274100"/>
                  </a:cubicBezTo>
                  <a:cubicBezTo>
                    <a:pt x="-1829" y="223521"/>
                    <a:pt x="-4804" y="116413"/>
                    <a:pt x="10072" y="62860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134" name="图片 133">
            <a:extLst>
              <a:ext uri="{FF2B5EF4-FFF2-40B4-BE49-F238E27FC236}">
                <a16:creationId xmlns:a16="http://schemas.microsoft.com/office/drawing/2014/main" id="{0FDE7A71-E93B-426C-AD9B-D5E9243F1F1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413" t="20309" r="22695" b="15571"/>
          <a:stretch>
            <a:fillRect/>
          </a:stretch>
        </p:blipFill>
        <p:spPr>
          <a:xfrm>
            <a:off x="8629014" y="1920510"/>
            <a:ext cx="670220" cy="793550"/>
          </a:xfrm>
          <a:custGeom>
            <a:avLst/>
            <a:gdLst>
              <a:gd name="connsiteX0" fmla="*/ 321121 w 663673"/>
              <a:gd name="connsiteY0" fmla="*/ 12 h 793550"/>
              <a:gd name="connsiteX1" fmla="*/ 663673 w 663673"/>
              <a:gd name="connsiteY1" fmla="*/ 391961 h 793550"/>
              <a:gd name="connsiteX2" fmla="*/ 321121 w 663673"/>
              <a:gd name="connsiteY2" fmla="*/ 793436 h 793550"/>
              <a:gd name="connsiteX3" fmla="*/ 0 w 663673"/>
              <a:gd name="connsiteY3" fmla="*/ 382437 h 793550"/>
              <a:gd name="connsiteX4" fmla="*/ 321121 w 663673"/>
              <a:gd name="connsiteY4" fmla="*/ 12 h 79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3673" h="793550">
                <a:moveTo>
                  <a:pt x="321121" y="12"/>
                </a:moveTo>
                <a:cubicBezTo>
                  <a:pt x="462689" y="1599"/>
                  <a:pt x="663673" y="172863"/>
                  <a:pt x="663673" y="391961"/>
                </a:cubicBezTo>
                <a:cubicBezTo>
                  <a:pt x="663673" y="611059"/>
                  <a:pt x="579371" y="787879"/>
                  <a:pt x="321121" y="793436"/>
                </a:cubicBezTo>
                <a:cubicBezTo>
                  <a:pt x="62871" y="798993"/>
                  <a:pt x="0" y="601535"/>
                  <a:pt x="0" y="382437"/>
                </a:cubicBezTo>
                <a:cubicBezTo>
                  <a:pt x="0" y="163339"/>
                  <a:pt x="179553" y="-1575"/>
                  <a:pt x="321121" y="12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31999294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8C05E1A5-3A6F-4705-BE18-160052189967}"/>
              </a:ext>
            </a:extLst>
          </p:cNvPr>
          <p:cNvGrpSpPr/>
          <p:nvPr/>
        </p:nvGrpSpPr>
        <p:grpSpPr>
          <a:xfrm>
            <a:off x="6096000" y="2384020"/>
            <a:ext cx="3347107" cy="4407279"/>
            <a:chOff x="22686957" y="2443014"/>
            <a:chExt cx="3347107" cy="4407279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0C1E500D-937E-4C87-8E69-515B6C4C8732}"/>
                </a:ext>
              </a:extLst>
            </p:cNvPr>
            <p:cNvSpPr/>
            <p:nvPr/>
          </p:nvSpPr>
          <p:spPr>
            <a:xfrm>
              <a:off x="24113060" y="4462992"/>
              <a:ext cx="1828772" cy="2247465"/>
            </a:xfrm>
            <a:custGeom>
              <a:avLst/>
              <a:gdLst>
                <a:gd name="connsiteX0" fmla="*/ 421501 w 1828772"/>
                <a:gd name="connsiteY0" fmla="*/ 36888 h 2247465"/>
                <a:gd name="connsiteX1" fmla="*/ 1995 w 1828772"/>
                <a:gd name="connsiteY1" fmla="*/ 1155565 h 2247465"/>
                <a:gd name="connsiteX2" fmla="*/ 263815 w 1828772"/>
                <a:gd name="connsiteY2" fmla="*/ 2238541 h 2247465"/>
                <a:gd name="connsiteX3" fmla="*/ 421501 w 1828772"/>
                <a:gd name="connsiteY3" fmla="*/ 2247466 h 2247465"/>
                <a:gd name="connsiteX4" fmla="*/ 379847 w 1828772"/>
                <a:gd name="connsiteY4" fmla="*/ 1176392 h 2247465"/>
                <a:gd name="connsiteX5" fmla="*/ 888608 w 1828772"/>
                <a:gd name="connsiteY5" fmla="*/ 492094 h 2247465"/>
                <a:gd name="connsiteX6" fmla="*/ 769600 w 1828772"/>
                <a:gd name="connsiteY6" fmla="*/ 1363830 h 2247465"/>
                <a:gd name="connsiteX7" fmla="*/ 1712739 w 1828772"/>
                <a:gd name="connsiteY7" fmla="*/ 2179037 h 2247465"/>
                <a:gd name="connsiteX8" fmla="*/ 1828773 w 1828772"/>
                <a:gd name="connsiteY8" fmla="*/ 2074904 h 2247465"/>
                <a:gd name="connsiteX9" fmla="*/ 1198029 w 1828772"/>
                <a:gd name="connsiteY9" fmla="*/ 1286475 h 2247465"/>
                <a:gd name="connsiteX10" fmla="*/ 1439022 w 1828772"/>
                <a:gd name="connsiteY10" fmla="*/ 24987 h 2247465"/>
                <a:gd name="connsiteX11" fmla="*/ 421501 w 1828772"/>
                <a:gd name="connsiteY11" fmla="*/ 36888 h 2247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28772" h="2247465">
                  <a:moveTo>
                    <a:pt x="421501" y="36888"/>
                  </a:moveTo>
                  <a:cubicBezTo>
                    <a:pt x="421501" y="36888"/>
                    <a:pt x="-33706" y="861020"/>
                    <a:pt x="1995" y="1155565"/>
                  </a:cubicBezTo>
                  <a:cubicBezTo>
                    <a:pt x="31747" y="1411433"/>
                    <a:pt x="263815" y="2238541"/>
                    <a:pt x="263815" y="2238541"/>
                  </a:cubicBezTo>
                  <a:lnTo>
                    <a:pt x="421501" y="2247466"/>
                  </a:lnTo>
                  <a:cubicBezTo>
                    <a:pt x="421501" y="2247466"/>
                    <a:pt x="376872" y="1268623"/>
                    <a:pt x="379847" y="1176392"/>
                  </a:cubicBezTo>
                  <a:cubicBezTo>
                    <a:pt x="385798" y="1045483"/>
                    <a:pt x="873732" y="521846"/>
                    <a:pt x="888608" y="492094"/>
                  </a:cubicBezTo>
                  <a:cubicBezTo>
                    <a:pt x="903484" y="462342"/>
                    <a:pt x="713070" y="1209119"/>
                    <a:pt x="769600" y="1363830"/>
                  </a:cubicBezTo>
                  <a:cubicBezTo>
                    <a:pt x="820177" y="1497714"/>
                    <a:pt x="1712739" y="2179037"/>
                    <a:pt x="1712739" y="2179037"/>
                  </a:cubicBezTo>
                  <a:lnTo>
                    <a:pt x="1828773" y="2074904"/>
                  </a:lnTo>
                  <a:cubicBezTo>
                    <a:pt x="1828773" y="2074904"/>
                    <a:pt x="1192078" y="1381681"/>
                    <a:pt x="1198029" y="1286475"/>
                  </a:cubicBezTo>
                  <a:cubicBezTo>
                    <a:pt x="1203980" y="1140689"/>
                    <a:pt x="1522327" y="155896"/>
                    <a:pt x="1439022" y="24987"/>
                  </a:cubicBezTo>
                  <a:cubicBezTo>
                    <a:pt x="796376" y="-37493"/>
                    <a:pt x="421501" y="36888"/>
                    <a:pt x="421501" y="36888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DF84E6BE-AFDF-42F4-AA4D-92071CAF874D}"/>
                </a:ext>
              </a:extLst>
            </p:cNvPr>
            <p:cNvSpPr/>
            <p:nvPr/>
          </p:nvSpPr>
          <p:spPr>
            <a:xfrm>
              <a:off x="24041915" y="4464010"/>
              <a:ext cx="1526615" cy="1301297"/>
            </a:xfrm>
            <a:custGeom>
              <a:avLst/>
              <a:gdLst>
                <a:gd name="connsiteX0" fmla="*/ 492646 w 1526615"/>
                <a:gd name="connsiteY0" fmla="*/ 35870 h 1301297"/>
                <a:gd name="connsiteX1" fmla="*/ 1737 w 1526615"/>
                <a:gd name="connsiteY1" fmla="*/ 1121821 h 1301297"/>
                <a:gd name="connsiteX2" fmla="*/ 519422 w 1526615"/>
                <a:gd name="connsiteY2" fmla="*/ 1199176 h 1301297"/>
                <a:gd name="connsiteX3" fmla="*/ 959754 w 1526615"/>
                <a:gd name="connsiteY3" fmla="*/ 491077 h 1301297"/>
                <a:gd name="connsiteX4" fmla="*/ 760414 w 1526615"/>
                <a:gd name="connsiteY4" fmla="*/ 1276531 h 1301297"/>
                <a:gd name="connsiteX5" fmla="*/ 1373306 w 1526615"/>
                <a:gd name="connsiteY5" fmla="*/ 1228928 h 1301297"/>
                <a:gd name="connsiteX6" fmla="*/ 1507191 w 1526615"/>
                <a:gd name="connsiteY6" fmla="*/ 26945 h 1301297"/>
                <a:gd name="connsiteX7" fmla="*/ 492646 w 1526615"/>
                <a:gd name="connsiteY7" fmla="*/ 35870 h 1301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6615" h="1301297">
                  <a:moveTo>
                    <a:pt x="492646" y="35870"/>
                  </a:moveTo>
                  <a:cubicBezTo>
                    <a:pt x="492646" y="35870"/>
                    <a:pt x="-33966" y="827275"/>
                    <a:pt x="1737" y="1121821"/>
                  </a:cubicBezTo>
                  <a:cubicBezTo>
                    <a:pt x="174298" y="1187275"/>
                    <a:pt x="358762" y="1199176"/>
                    <a:pt x="519422" y="1199176"/>
                  </a:cubicBezTo>
                  <a:cubicBezTo>
                    <a:pt x="525372" y="1068267"/>
                    <a:pt x="944878" y="520829"/>
                    <a:pt x="959754" y="491077"/>
                  </a:cubicBezTo>
                  <a:cubicBezTo>
                    <a:pt x="974630" y="461325"/>
                    <a:pt x="703885" y="1121821"/>
                    <a:pt x="760414" y="1276531"/>
                  </a:cubicBezTo>
                  <a:cubicBezTo>
                    <a:pt x="903224" y="1324134"/>
                    <a:pt x="1185869" y="1300333"/>
                    <a:pt x="1373306" y="1228928"/>
                  </a:cubicBezTo>
                  <a:cubicBezTo>
                    <a:pt x="1379257" y="1083143"/>
                    <a:pt x="1590496" y="157853"/>
                    <a:pt x="1507191" y="26945"/>
                  </a:cubicBezTo>
                  <a:cubicBezTo>
                    <a:pt x="867521" y="-38510"/>
                    <a:pt x="492646" y="35870"/>
                    <a:pt x="492646" y="35870"/>
                  </a:cubicBezTo>
                  <a:close/>
                </a:path>
              </a:pathLst>
            </a:custGeom>
            <a:solidFill>
              <a:srgbClr val="F6EBE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5B66C8F7-F8C8-43C7-86F9-32C457BEE62F}"/>
                </a:ext>
              </a:extLst>
            </p:cNvPr>
            <p:cNvSpPr/>
            <p:nvPr/>
          </p:nvSpPr>
          <p:spPr>
            <a:xfrm>
              <a:off x="23403982" y="3575700"/>
              <a:ext cx="996325" cy="793853"/>
            </a:xfrm>
            <a:custGeom>
              <a:avLst/>
              <a:gdLst>
                <a:gd name="connsiteX0" fmla="*/ 975867 w 996325"/>
                <a:gd name="connsiteY0" fmla="*/ 266659 h 793853"/>
                <a:gd name="connsiteX1" fmla="*/ 904462 w 996325"/>
                <a:gd name="connsiteY1" fmla="*/ 1866 h 793853"/>
                <a:gd name="connsiteX2" fmla="*/ 669422 w 996325"/>
                <a:gd name="connsiteY2" fmla="*/ 272610 h 793853"/>
                <a:gd name="connsiteX3" fmla="*/ 529586 w 996325"/>
                <a:gd name="connsiteY3" fmla="*/ 555254 h 793853"/>
                <a:gd name="connsiteX4" fmla="*/ 2974 w 996325"/>
                <a:gd name="connsiteY4" fmla="*/ 522527 h 793853"/>
                <a:gd name="connsiteX5" fmla="*/ 0 w 996325"/>
                <a:gd name="connsiteY5" fmla="*/ 653436 h 793853"/>
                <a:gd name="connsiteX6" fmla="*/ 651569 w 996325"/>
                <a:gd name="connsiteY6" fmla="*/ 790296 h 793853"/>
                <a:gd name="connsiteX7" fmla="*/ 975867 w 996325"/>
                <a:gd name="connsiteY7" fmla="*/ 266659 h 79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6325" h="793853">
                  <a:moveTo>
                    <a:pt x="975867" y="266659"/>
                  </a:moveTo>
                  <a:cubicBezTo>
                    <a:pt x="1026446" y="138725"/>
                    <a:pt x="975867" y="-18960"/>
                    <a:pt x="904462" y="1866"/>
                  </a:cubicBezTo>
                  <a:cubicBezTo>
                    <a:pt x="821156" y="25668"/>
                    <a:pt x="722975" y="114924"/>
                    <a:pt x="669422" y="272610"/>
                  </a:cubicBezTo>
                  <a:cubicBezTo>
                    <a:pt x="636693" y="364841"/>
                    <a:pt x="544462" y="558230"/>
                    <a:pt x="529586" y="555254"/>
                  </a:cubicBezTo>
                  <a:cubicBezTo>
                    <a:pt x="523636" y="555254"/>
                    <a:pt x="2974" y="522527"/>
                    <a:pt x="2974" y="522527"/>
                  </a:cubicBezTo>
                  <a:cubicBezTo>
                    <a:pt x="2974" y="579056"/>
                    <a:pt x="0" y="653436"/>
                    <a:pt x="0" y="653436"/>
                  </a:cubicBezTo>
                  <a:cubicBezTo>
                    <a:pt x="0" y="653436"/>
                    <a:pt x="580165" y="820048"/>
                    <a:pt x="651569" y="790296"/>
                  </a:cubicBezTo>
                  <a:cubicBezTo>
                    <a:pt x="740825" y="748643"/>
                    <a:pt x="910413" y="430296"/>
                    <a:pt x="975867" y="266659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85EB2AEC-082E-44FD-B592-10DD08936C33}"/>
                </a:ext>
              </a:extLst>
            </p:cNvPr>
            <p:cNvGrpSpPr/>
            <p:nvPr/>
          </p:nvGrpSpPr>
          <p:grpSpPr>
            <a:xfrm>
              <a:off x="24073404" y="6648723"/>
              <a:ext cx="469090" cy="198595"/>
              <a:chOff x="24073404" y="6648723"/>
              <a:chExt cx="469090" cy="198595"/>
            </a:xfrm>
          </p:grpSpPr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0791102B-5CE9-4691-BC86-C8E89D73FE07}"/>
                  </a:ext>
                </a:extLst>
              </p:cNvPr>
              <p:cNvSpPr/>
              <p:nvPr/>
            </p:nvSpPr>
            <p:spPr>
              <a:xfrm>
                <a:off x="24073404" y="6653930"/>
                <a:ext cx="469090" cy="151735"/>
              </a:xfrm>
              <a:custGeom>
                <a:avLst/>
                <a:gdLst>
                  <a:gd name="connsiteX0" fmla="*/ 461157 w 469090"/>
                  <a:gd name="connsiteY0" fmla="*/ 44628 h 151735"/>
                  <a:gd name="connsiteX1" fmla="*/ 285619 w 469090"/>
                  <a:gd name="connsiteY1" fmla="*/ 0 h 151735"/>
                  <a:gd name="connsiteX2" fmla="*/ 160660 w 469090"/>
                  <a:gd name="connsiteY2" fmla="*/ 77356 h 151735"/>
                  <a:gd name="connsiteX3" fmla="*/ 0 w 469090"/>
                  <a:gd name="connsiteY3" fmla="*/ 151736 h 151735"/>
                  <a:gd name="connsiteX4" fmla="*/ 461157 w 469090"/>
                  <a:gd name="connsiteY4" fmla="*/ 151736 h 151735"/>
                  <a:gd name="connsiteX5" fmla="*/ 461157 w 469090"/>
                  <a:gd name="connsiteY5" fmla="*/ 44628 h 151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9090" h="151735">
                    <a:moveTo>
                      <a:pt x="461157" y="44628"/>
                    </a:moveTo>
                    <a:cubicBezTo>
                      <a:pt x="461157" y="44628"/>
                      <a:pt x="345123" y="62480"/>
                      <a:pt x="285619" y="0"/>
                    </a:cubicBezTo>
                    <a:cubicBezTo>
                      <a:pt x="285619" y="0"/>
                      <a:pt x="202314" y="68430"/>
                      <a:pt x="160660" y="77356"/>
                    </a:cubicBezTo>
                    <a:cubicBezTo>
                      <a:pt x="119008" y="86281"/>
                      <a:pt x="14876" y="83306"/>
                      <a:pt x="0" y="151736"/>
                    </a:cubicBezTo>
                    <a:lnTo>
                      <a:pt x="461157" y="151736"/>
                    </a:lnTo>
                    <a:cubicBezTo>
                      <a:pt x="461157" y="151736"/>
                      <a:pt x="479008" y="95207"/>
                      <a:pt x="461157" y="44628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ECF807A2-80D2-42F6-801A-ED2622912808}"/>
                  </a:ext>
                </a:extLst>
              </p:cNvPr>
              <p:cNvSpPr/>
              <p:nvPr/>
            </p:nvSpPr>
            <p:spPr>
              <a:xfrm>
                <a:off x="24073404" y="6805665"/>
                <a:ext cx="461157" cy="41652"/>
              </a:xfrm>
              <a:custGeom>
                <a:avLst/>
                <a:gdLst>
                  <a:gd name="connsiteX0" fmla="*/ 0 w 461157"/>
                  <a:gd name="connsiteY0" fmla="*/ 0 h 41652"/>
                  <a:gd name="connsiteX1" fmla="*/ 461157 w 461157"/>
                  <a:gd name="connsiteY1" fmla="*/ 0 h 41652"/>
                  <a:gd name="connsiteX2" fmla="*/ 461157 w 461157"/>
                  <a:gd name="connsiteY2" fmla="*/ 41653 h 41652"/>
                  <a:gd name="connsiteX3" fmla="*/ 0 w 461157"/>
                  <a:gd name="connsiteY3" fmla="*/ 41653 h 41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1157" h="41652">
                    <a:moveTo>
                      <a:pt x="0" y="0"/>
                    </a:moveTo>
                    <a:lnTo>
                      <a:pt x="461157" y="0"/>
                    </a:lnTo>
                    <a:lnTo>
                      <a:pt x="461157" y="41653"/>
                    </a:lnTo>
                    <a:lnTo>
                      <a:pt x="0" y="41653"/>
                    </a:lnTo>
                    <a:close/>
                  </a:path>
                </a:pathLst>
              </a:custGeom>
              <a:solidFill>
                <a:srgbClr val="38333D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8DF566B5-5955-48E2-96D6-FFF01EF1A9F4}"/>
                  </a:ext>
                </a:extLst>
              </p:cNvPr>
              <p:cNvSpPr/>
              <p:nvPr/>
            </p:nvSpPr>
            <p:spPr>
              <a:xfrm>
                <a:off x="24350841" y="6648723"/>
                <a:ext cx="189670" cy="58760"/>
              </a:xfrm>
              <a:custGeom>
                <a:avLst/>
                <a:gdLst>
                  <a:gd name="connsiteX0" fmla="*/ 148017 w 189670"/>
                  <a:gd name="connsiteY0" fmla="*/ 58760 h 58760"/>
                  <a:gd name="connsiteX1" fmla="*/ 2231 w 189670"/>
                  <a:gd name="connsiteY1" fmla="*/ 11157 h 58760"/>
                  <a:gd name="connsiteX2" fmla="*/ 2231 w 189670"/>
                  <a:gd name="connsiteY2" fmla="*/ 2231 h 58760"/>
                  <a:gd name="connsiteX3" fmla="*/ 11158 w 189670"/>
                  <a:gd name="connsiteY3" fmla="*/ 2231 h 58760"/>
                  <a:gd name="connsiteX4" fmla="*/ 183720 w 189670"/>
                  <a:gd name="connsiteY4" fmla="*/ 43884 h 58760"/>
                  <a:gd name="connsiteX5" fmla="*/ 189670 w 189670"/>
                  <a:gd name="connsiteY5" fmla="*/ 49835 h 58760"/>
                  <a:gd name="connsiteX6" fmla="*/ 183720 w 189670"/>
                  <a:gd name="connsiteY6" fmla="*/ 55785 h 58760"/>
                  <a:gd name="connsiteX7" fmla="*/ 148017 w 189670"/>
                  <a:gd name="connsiteY7" fmla="*/ 58760 h 58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9670" h="58760">
                    <a:moveTo>
                      <a:pt x="148017" y="58760"/>
                    </a:moveTo>
                    <a:cubicBezTo>
                      <a:pt x="109339" y="58760"/>
                      <a:pt x="46859" y="52810"/>
                      <a:pt x="2231" y="11157"/>
                    </a:cubicBezTo>
                    <a:cubicBezTo>
                      <a:pt x="-744" y="8182"/>
                      <a:pt x="-744" y="5207"/>
                      <a:pt x="2231" y="2231"/>
                    </a:cubicBezTo>
                    <a:cubicBezTo>
                      <a:pt x="5207" y="-744"/>
                      <a:pt x="8182" y="-744"/>
                      <a:pt x="11158" y="2231"/>
                    </a:cubicBezTo>
                    <a:cubicBezTo>
                      <a:pt x="76611" y="58760"/>
                      <a:pt x="180743" y="43884"/>
                      <a:pt x="183720" y="43884"/>
                    </a:cubicBezTo>
                    <a:cubicBezTo>
                      <a:pt x="186694" y="43884"/>
                      <a:pt x="189670" y="46859"/>
                      <a:pt x="189670" y="49835"/>
                    </a:cubicBezTo>
                    <a:cubicBezTo>
                      <a:pt x="189670" y="52810"/>
                      <a:pt x="186694" y="55785"/>
                      <a:pt x="183720" y="55785"/>
                    </a:cubicBezTo>
                    <a:cubicBezTo>
                      <a:pt x="180743" y="55785"/>
                      <a:pt x="168844" y="58760"/>
                      <a:pt x="148017" y="58760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A3E14FB7-E6C7-4192-9B50-AA05969C9FDC}"/>
                  </a:ext>
                </a:extLst>
              </p:cNvPr>
              <p:cNvSpPr/>
              <p:nvPr/>
            </p:nvSpPr>
            <p:spPr>
              <a:xfrm>
                <a:off x="24321089" y="6672525"/>
                <a:ext cx="37190" cy="37933"/>
              </a:xfrm>
              <a:custGeom>
                <a:avLst/>
                <a:gdLst>
                  <a:gd name="connsiteX0" fmla="*/ 29008 w 37190"/>
                  <a:gd name="connsiteY0" fmla="*/ 37934 h 37933"/>
                  <a:gd name="connsiteX1" fmla="*/ 26034 w 37190"/>
                  <a:gd name="connsiteY1" fmla="*/ 34959 h 37933"/>
                  <a:gd name="connsiteX2" fmla="*/ 2231 w 37190"/>
                  <a:gd name="connsiteY2" fmla="*/ 11157 h 37933"/>
                  <a:gd name="connsiteX3" fmla="*/ 2231 w 37190"/>
                  <a:gd name="connsiteY3" fmla="*/ 2231 h 37933"/>
                  <a:gd name="connsiteX4" fmla="*/ 11158 w 37190"/>
                  <a:gd name="connsiteY4" fmla="*/ 2231 h 37933"/>
                  <a:gd name="connsiteX5" fmla="*/ 34959 w 37190"/>
                  <a:gd name="connsiteY5" fmla="*/ 26033 h 37933"/>
                  <a:gd name="connsiteX6" fmla="*/ 34959 w 37190"/>
                  <a:gd name="connsiteY6" fmla="*/ 34959 h 37933"/>
                  <a:gd name="connsiteX7" fmla="*/ 29008 w 37190"/>
                  <a:gd name="connsiteY7" fmla="*/ 37934 h 37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190" h="37933">
                    <a:moveTo>
                      <a:pt x="29008" y="37934"/>
                    </a:moveTo>
                    <a:cubicBezTo>
                      <a:pt x="29008" y="37934"/>
                      <a:pt x="26034" y="37934"/>
                      <a:pt x="26034" y="34959"/>
                    </a:cubicBezTo>
                    <a:lnTo>
                      <a:pt x="2231" y="11157"/>
                    </a:lnTo>
                    <a:cubicBezTo>
                      <a:pt x="-744" y="8182"/>
                      <a:pt x="-744" y="5207"/>
                      <a:pt x="2231" y="2231"/>
                    </a:cubicBezTo>
                    <a:cubicBezTo>
                      <a:pt x="5207" y="-744"/>
                      <a:pt x="8182" y="-744"/>
                      <a:pt x="11158" y="2231"/>
                    </a:cubicBezTo>
                    <a:lnTo>
                      <a:pt x="34959" y="26033"/>
                    </a:lnTo>
                    <a:cubicBezTo>
                      <a:pt x="37934" y="29008"/>
                      <a:pt x="37934" y="31983"/>
                      <a:pt x="34959" y="34959"/>
                    </a:cubicBezTo>
                    <a:cubicBezTo>
                      <a:pt x="29008" y="37934"/>
                      <a:pt x="29008" y="37934"/>
                      <a:pt x="29008" y="37934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F379FBF3-1AD1-4D38-89D8-46DA4177BC7D}"/>
                  </a:ext>
                </a:extLst>
              </p:cNvPr>
              <p:cNvSpPr/>
              <p:nvPr/>
            </p:nvSpPr>
            <p:spPr>
              <a:xfrm>
                <a:off x="24282412" y="6699301"/>
                <a:ext cx="37190" cy="37933"/>
              </a:xfrm>
              <a:custGeom>
                <a:avLst/>
                <a:gdLst>
                  <a:gd name="connsiteX0" fmla="*/ 29008 w 37190"/>
                  <a:gd name="connsiteY0" fmla="*/ 37934 h 37933"/>
                  <a:gd name="connsiteX1" fmla="*/ 26032 w 37190"/>
                  <a:gd name="connsiteY1" fmla="*/ 34959 h 37933"/>
                  <a:gd name="connsiteX2" fmla="*/ 2231 w 37190"/>
                  <a:gd name="connsiteY2" fmla="*/ 11157 h 37933"/>
                  <a:gd name="connsiteX3" fmla="*/ 2231 w 37190"/>
                  <a:gd name="connsiteY3" fmla="*/ 2232 h 37933"/>
                  <a:gd name="connsiteX4" fmla="*/ 11156 w 37190"/>
                  <a:gd name="connsiteY4" fmla="*/ 2232 h 37933"/>
                  <a:gd name="connsiteX5" fmla="*/ 34959 w 37190"/>
                  <a:gd name="connsiteY5" fmla="*/ 26033 h 37933"/>
                  <a:gd name="connsiteX6" fmla="*/ 34959 w 37190"/>
                  <a:gd name="connsiteY6" fmla="*/ 34959 h 37933"/>
                  <a:gd name="connsiteX7" fmla="*/ 29008 w 37190"/>
                  <a:gd name="connsiteY7" fmla="*/ 37934 h 37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190" h="37933">
                    <a:moveTo>
                      <a:pt x="29008" y="37934"/>
                    </a:moveTo>
                    <a:cubicBezTo>
                      <a:pt x="29008" y="37934"/>
                      <a:pt x="26032" y="37934"/>
                      <a:pt x="26032" y="34959"/>
                    </a:cubicBezTo>
                    <a:lnTo>
                      <a:pt x="2231" y="11157"/>
                    </a:lnTo>
                    <a:cubicBezTo>
                      <a:pt x="-744" y="8182"/>
                      <a:pt x="-744" y="5206"/>
                      <a:pt x="2231" y="2232"/>
                    </a:cubicBezTo>
                    <a:cubicBezTo>
                      <a:pt x="5207" y="-744"/>
                      <a:pt x="8182" y="-744"/>
                      <a:pt x="11156" y="2232"/>
                    </a:cubicBezTo>
                    <a:lnTo>
                      <a:pt x="34959" y="26033"/>
                    </a:lnTo>
                    <a:cubicBezTo>
                      <a:pt x="37934" y="29008"/>
                      <a:pt x="37934" y="31984"/>
                      <a:pt x="34959" y="34959"/>
                    </a:cubicBezTo>
                    <a:cubicBezTo>
                      <a:pt x="31983" y="37934"/>
                      <a:pt x="31983" y="37934"/>
                      <a:pt x="29008" y="37934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图形 1">
              <a:extLst>
                <a:ext uri="{FF2B5EF4-FFF2-40B4-BE49-F238E27FC236}">
                  <a16:creationId xmlns:a16="http://schemas.microsoft.com/office/drawing/2014/main" id="{6BBAA49F-A5A2-4316-B180-F8335794E510}"/>
                </a:ext>
              </a:extLst>
            </p:cNvPr>
            <p:cNvGrpSpPr/>
            <p:nvPr/>
          </p:nvGrpSpPr>
          <p:grpSpPr>
            <a:xfrm>
              <a:off x="25766295" y="6499219"/>
              <a:ext cx="267768" cy="351074"/>
              <a:chOff x="25766295" y="6499219"/>
              <a:chExt cx="267768" cy="351074"/>
            </a:xfrm>
          </p:grpSpPr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E937F3D5-8910-4396-B7D9-2BC7586F23EA}"/>
                  </a:ext>
                </a:extLst>
              </p:cNvPr>
              <p:cNvSpPr/>
              <p:nvPr/>
            </p:nvSpPr>
            <p:spPr>
              <a:xfrm>
                <a:off x="25766295" y="6502194"/>
                <a:ext cx="232067" cy="332892"/>
              </a:xfrm>
              <a:custGeom>
                <a:avLst/>
                <a:gdLst>
                  <a:gd name="connsiteX0" fmla="*/ 139835 w 232067"/>
                  <a:gd name="connsiteY0" fmla="*/ 0 h 332892"/>
                  <a:gd name="connsiteX1" fmla="*/ 14876 w 232067"/>
                  <a:gd name="connsiteY1" fmla="*/ 130909 h 332892"/>
                  <a:gd name="connsiteX2" fmla="*/ 20827 w 232067"/>
                  <a:gd name="connsiteY2" fmla="*/ 276694 h 332892"/>
                  <a:gd name="connsiteX3" fmla="*/ 0 w 232067"/>
                  <a:gd name="connsiteY3" fmla="*/ 330248 h 332892"/>
                  <a:gd name="connsiteX4" fmla="*/ 74380 w 232067"/>
                  <a:gd name="connsiteY4" fmla="*/ 330248 h 332892"/>
                  <a:gd name="connsiteX5" fmla="*/ 232068 w 232067"/>
                  <a:gd name="connsiteY5" fmla="*/ 47603 h 332892"/>
                  <a:gd name="connsiteX6" fmla="*/ 139835 w 232067"/>
                  <a:gd name="connsiteY6" fmla="*/ 0 h 332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2067" h="332892">
                    <a:moveTo>
                      <a:pt x="139835" y="0"/>
                    </a:moveTo>
                    <a:cubicBezTo>
                      <a:pt x="139835" y="0"/>
                      <a:pt x="98183" y="110083"/>
                      <a:pt x="14876" y="130909"/>
                    </a:cubicBezTo>
                    <a:cubicBezTo>
                      <a:pt x="14876" y="130909"/>
                      <a:pt x="32728" y="235042"/>
                      <a:pt x="20827" y="276694"/>
                    </a:cubicBezTo>
                    <a:cubicBezTo>
                      <a:pt x="17852" y="291570"/>
                      <a:pt x="8927" y="309422"/>
                      <a:pt x="0" y="330248"/>
                    </a:cubicBezTo>
                    <a:cubicBezTo>
                      <a:pt x="38679" y="336198"/>
                      <a:pt x="74380" y="330248"/>
                      <a:pt x="74380" y="330248"/>
                    </a:cubicBezTo>
                    <a:lnTo>
                      <a:pt x="232068" y="47603"/>
                    </a:lnTo>
                    <a:cubicBezTo>
                      <a:pt x="232068" y="50579"/>
                      <a:pt x="190414" y="5951"/>
                      <a:pt x="139835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BDCC16A1-F6AD-445D-8D8A-533E4CF30F7C}"/>
                  </a:ext>
                </a:extLst>
              </p:cNvPr>
              <p:cNvSpPr/>
              <p:nvPr/>
            </p:nvSpPr>
            <p:spPr>
              <a:xfrm>
                <a:off x="25831750" y="6552773"/>
                <a:ext cx="202313" cy="297520"/>
              </a:xfrm>
              <a:custGeom>
                <a:avLst/>
                <a:gdLst>
                  <a:gd name="connsiteX0" fmla="*/ 0 w 202313"/>
                  <a:gd name="connsiteY0" fmla="*/ 297521 h 297520"/>
                  <a:gd name="connsiteX1" fmla="*/ 166613 w 202313"/>
                  <a:gd name="connsiteY1" fmla="*/ 0 h 297520"/>
                  <a:gd name="connsiteX2" fmla="*/ 202314 w 202313"/>
                  <a:gd name="connsiteY2" fmla="*/ 20826 h 297520"/>
                  <a:gd name="connsiteX3" fmla="*/ 47604 w 202313"/>
                  <a:gd name="connsiteY3" fmla="*/ 297521 h 297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2313" h="297520">
                    <a:moveTo>
                      <a:pt x="0" y="297521"/>
                    </a:moveTo>
                    <a:lnTo>
                      <a:pt x="166613" y="0"/>
                    </a:lnTo>
                    <a:lnTo>
                      <a:pt x="202314" y="20826"/>
                    </a:lnTo>
                    <a:lnTo>
                      <a:pt x="47604" y="297521"/>
                    </a:lnTo>
                    <a:close/>
                  </a:path>
                </a:pathLst>
              </a:custGeom>
              <a:solidFill>
                <a:srgbClr val="38333D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2F45B4B2-A7CD-412A-A8B8-74A70319113C}"/>
                  </a:ext>
                </a:extLst>
              </p:cNvPr>
              <p:cNvSpPr/>
              <p:nvPr/>
            </p:nvSpPr>
            <p:spPr>
              <a:xfrm>
                <a:off x="25775222" y="6499219"/>
                <a:ext cx="133884" cy="139834"/>
              </a:xfrm>
              <a:custGeom>
                <a:avLst/>
                <a:gdLst>
                  <a:gd name="connsiteX0" fmla="*/ 5949 w 133884"/>
                  <a:gd name="connsiteY0" fmla="*/ 139835 h 139834"/>
                  <a:gd name="connsiteX1" fmla="*/ 0 w 133884"/>
                  <a:gd name="connsiteY1" fmla="*/ 136859 h 139834"/>
                  <a:gd name="connsiteX2" fmla="*/ 2974 w 133884"/>
                  <a:gd name="connsiteY2" fmla="*/ 130909 h 139834"/>
                  <a:gd name="connsiteX3" fmla="*/ 124957 w 133884"/>
                  <a:gd name="connsiteY3" fmla="*/ 2975 h 139834"/>
                  <a:gd name="connsiteX4" fmla="*/ 130908 w 133884"/>
                  <a:gd name="connsiteY4" fmla="*/ 0 h 139834"/>
                  <a:gd name="connsiteX5" fmla="*/ 133884 w 133884"/>
                  <a:gd name="connsiteY5" fmla="*/ 5950 h 139834"/>
                  <a:gd name="connsiteX6" fmla="*/ 5949 w 133884"/>
                  <a:gd name="connsiteY6" fmla="*/ 139835 h 139834"/>
                  <a:gd name="connsiteX7" fmla="*/ 5949 w 133884"/>
                  <a:gd name="connsiteY7" fmla="*/ 139835 h 139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3884" h="139834">
                    <a:moveTo>
                      <a:pt x="5949" y="139835"/>
                    </a:moveTo>
                    <a:cubicBezTo>
                      <a:pt x="2974" y="139835"/>
                      <a:pt x="2974" y="139835"/>
                      <a:pt x="0" y="136859"/>
                    </a:cubicBezTo>
                    <a:cubicBezTo>
                      <a:pt x="0" y="133884"/>
                      <a:pt x="0" y="130909"/>
                      <a:pt x="2974" y="130909"/>
                    </a:cubicBezTo>
                    <a:cubicBezTo>
                      <a:pt x="86280" y="104132"/>
                      <a:pt x="124957" y="2975"/>
                      <a:pt x="124957" y="2975"/>
                    </a:cubicBezTo>
                    <a:cubicBezTo>
                      <a:pt x="124957" y="0"/>
                      <a:pt x="127934" y="0"/>
                      <a:pt x="130908" y="0"/>
                    </a:cubicBezTo>
                    <a:cubicBezTo>
                      <a:pt x="133884" y="0"/>
                      <a:pt x="133884" y="2975"/>
                      <a:pt x="133884" y="5950"/>
                    </a:cubicBezTo>
                    <a:cubicBezTo>
                      <a:pt x="133884" y="8926"/>
                      <a:pt x="95205" y="110083"/>
                      <a:pt x="5949" y="139835"/>
                    </a:cubicBezTo>
                    <a:cubicBezTo>
                      <a:pt x="5949" y="139835"/>
                      <a:pt x="5949" y="139835"/>
                      <a:pt x="5949" y="13983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4EEE6BF8-36DB-4E08-8AC6-806B60490494}"/>
                  </a:ext>
                </a:extLst>
              </p:cNvPr>
              <p:cNvSpPr/>
              <p:nvPr/>
            </p:nvSpPr>
            <p:spPr>
              <a:xfrm>
                <a:off x="25781171" y="6662855"/>
                <a:ext cx="41653" cy="17850"/>
              </a:xfrm>
              <a:custGeom>
                <a:avLst/>
                <a:gdLst>
                  <a:gd name="connsiteX0" fmla="*/ 5951 w 41653"/>
                  <a:gd name="connsiteY0" fmla="*/ 17851 h 17850"/>
                  <a:gd name="connsiteX1" fmla="*/ 0 w 41653"/>
                  <a:gd name="connsiteY1" fmla="*/ 14876 h 17850"/>
                  <a:gd name="connsiteX2" fmla="*/ 2976 w 41653"/>
                  <a:gd name="connsiteY2" fmla="*/ 8926 h 17850"/>
                  <a:gd name="connsiteX3" fmla="*/ 35703 w 41653"/>
                  <a:gd name="connsiteY3" fmla="*/ 0 h 17850"/>
                  <a:gd name="connsiteX4" fmla="*/ 41654 w 41653"/>
                  <a:gd name="connsiteY4" fmla="*/ 2975 h 17850"/>
                  <a:gd name="connsiteX5" fmla="*/ 38679 w 41653"/>
                  <a:gd name="connsiteY5" fmla="*/ 8926 h 17850"/>
                  <a:gd name="connsiteX6" fmla="*/ 5951 w 41653"/>
                  <a:gd name="connsiteY6" fmla="*/ 17851 h 17850"/>
                  <a:gd name="connsiteX7" fmla="*/ 5951 w 41653"/>
                  <a:gd name="connsiteY7" fmla="*/ 17851 h 17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3" h="17850">
                    <a:moveTo>
                      <a:pt x="5951" y="17851"/>
                    </a:moveTo>
                    <a:cubicBezTo>
                      <a:pt x="2976" y="17851"/>
                      <a:pt x="0" y="14876"/>
                      <a:pt x="0" y="14876"/>
                    </a:cubicBezTo>
                    <a:cubicBezTo>
                      <a:pt x="0" y="11901"/>
                      <a:pt x="0" y="8926"/>
                      <a:pt x="2976" y="8926"/>
                    </a:cubicBezTo>
                    <a:lnTo>
                      <a:pt x="35703" y="0"/>
                    </a:lnTo>
                    <a:cubicBezTo>
                      <a:pt x="38679" y="0"/>
                      <a:pt x="41654" y="0"/>
                      <a:pt x="41654" y="2975"/>
                    </a:cubicBezTo>
                    <a:cubicBezTo>
                      <a:pt x="41654" y="5950"/>
                      <a:pt x="41654" y="8926"/>
                      <a:pt x="38679" y="8926"/>
                    </a:cubicBezTo>
                    <a:lnTo>
                      <a:pt x="5951" y="17851"/>
                    </a:lnTo>
                    <a:cubicBezTo>
                      <a:pt x="5951" y="17851"/>
                      <a:pt x="5951" y="17851"/>
                      <a:pt x="5951" y="17851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A9D3D6CC-89D2-4AC7-827C-350B58B6094F}"/>
                  </a:ext>
                </a:extLst>
              </p:cNvPr>
              <p:cNvSpPr/>
              <p:nvPr/>
            </p:nvSpPr>
            <p:spPr>
              <a:xfrm>
                <a:off x="25784148" y="6704508"/>
                <a:ext cx="41651" cy="17851"/>
              </a:xfrm>
              <a:custGeom>
                <a:avLst/>
                <a:gdLst>
                  <a:gd name="connsiteX0" fmla="*/ 5951 w 41651"/>
                  <a:gd name="connsiteY0" fmla="*/ 17851 h 17851"/>
                  <a:gd name="connsiteX1" fmla="*/ 0 w 41651"/>
                  <a:gd name="connsiteY1" fmla="*/ 14876 h 17851"/>
                  <a:gd name="connsiteX2" fmla="*/ 2974 w 41651"/>
                  <a:gd name="connsiteY2" fmla="*/ 8926 h 17851"/>
                  <a:gd name="connsiteX3" fmla="*/ 35703 w 41651"/>
                  <a:gd name="connsiteY3" fmla="*/ 0 h 17851"/>
                  <a:gd name="connsiteX4" fmla="*/ 41652 w 41651"/>
                  <a:gd name="connsiteY4" fmla="*/ 2975 h 17851"/>
                  <a:gd name="connsiteX5" fmla="*/ 38677 w 41651"/>
                  <a:gd name="connsiteY5" fmla="*/ 8926 h 17851"/>
                  <a:gd name="connsiteX6" fmla="*/ 5951 w 41651"/>
                  <a:gd name="connsiteY6" fmla="*/ 17851 h 17851"/>
                  <a:gd name="connsiteX7" fmla="*/ 5951 w 41651"/>
                  <a:gd name="connsiteY7" fmla="*/ 17851 h 1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1" h="17851">
                    <a:moveTo>
                      <a:pt x="5951" y="17851"/>
                    </a:moveTo>
                    <a:cubicBezTo>
                      <a:pt x="2974" y="17851"/>
                      <a:pt x="0" y="14876"/>
                      <a:pt x="0" y="14876"/>
                    </a:cubicBezTo>
                    <a:cubicBezTo>
                      <a:pt x="0" y="11901"/>
                      <a:pt x="0" y="8926"/>
                      <a:pt x="2974" y="8926"/>
                    </a:cubicBezTo>
                    <a:lnTo>
                      <a:pt x="35703" y="0"/>
                    </a:lnTo>
                    <a:cubicBezTo>
                      <a:pt x="38677" y="0"/>
                      <a:pt x="41652" y="0"/>
                      <a:pt x="41652" y="2975"/>
                    </a:cubicBezTo>
                    <a:cubicBezTo>
                      <a:pt x="41652" y="5950"/>
                      <a:pt x="41652" y="8926"/>
                      <a:pt x="38677" y="8926"/>
                    </a:cubicBezTo>
                    <a:lnTo>
                      <a:pt x="5951" y="17851"/>
                    </a:lnTo>
                    <a:cubicBezTo>
                      <a:pt x="8925" y="17851"/>
                      <a:pt x="5951" y="17851"/>
                      <a:pt x="5951" y="17851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977FBBE9-E359-4F01-B297-AF0BCFD3BAB7}"/>
                </a:ext>
              </a:extLst>
            </p:cNvPr>
            <p:cNvSpPr/>
            <p:nvPr/>
          </p:nvSpPr>
          <p:spPr>
            <a:xfrm>
              <a:off x="24939188" y="4618888"/>
              <a:ext cx="67408" cy="345123"/>
            </a:xfrm>
            <a:custGeom>
              <a:avLst/>
              <a:gdLst>
                <a:gd name="connsiteX0" fmla="*/ 62480 w 67408"/>
                <a:gd name="connsiteY0" fmla="*/ 345124 h 345123"/>
                <a:gd name="connsiteX1" fmla="*/ 56530 w 67408"/>
                <a:gd name="connsiteY1" fmla="*/ 342149 h 345123"/>
                <a:gd name="connsiteX2" fmla="*/ 0 w 67408"/>
                <a:gd name="connsiteY2" fmla="*/ 5951 h 345123"/>
                <a:gd name="connsiteX3" fmla="*/ 5951 w 67408"/>
                <a:gd name="connsiteY3" fmla="*/ 0 h 345123"/>
                <a:gd name="connsiteX4" fmla="*/ 11902 w 67408"/>
                <a:gd name="connsiteY4" fmla="*/ 5951 h 345123"/>
                <a:gd name="connsiteX5" fmla="*/ 65455 w 67408"/>
                <a:gd name="connsiteY5" fmla="*/ 336198 h 345123"/>
                <a:gd name="connsiteX6" fmla="*/ 62480 w 67408"/>
                <a:gd name="connsiteY6" fmla="*/ 345124 h 345123"/>
                <a:gd name="connsiteX7" fmla="*/ 62480 w 67408"/>
                <a:gd name="connsiteY7" fmla="*/ 345124 h 345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408" h="345123">
                  <a:moveTo>
                    <a:pt x="62480" y="345124"/>
                  </a:moveTo>
                  <a:cubicBezTo>
                    <a:pt x="59504" y="345124"/>
                    <a:pt x="59504" y="345124"/>
                    <a:pt x="56530" y="342149"/>
                  </a:cubicBezTo>
                  <a:cubicBezTo>
                    <a:pt x="8925" y="232066"/>
                    <a:pt x="0" y="17851"/>
                    <a:pt x="0" y="5951"/>
                  </a:cubicBezTo>
                  <a:cubicBezTo>
                    <a:pt x="0" y="2975"/>
                    <a:pt x="2976" y="0"/>
                    <a:pt x="5951" y="0"/>
                  </a:cubicBezTo>
                  <a:cubicBezTo>
                    <a:pt x="8925" y="0"/>
                    <a:pt x="11902" y="2975"/>
                    <a:pt x="11902" y="5951"/>
                  </a:cubicBezTo>
                  <a:cubicBezTo>
                    <a:pt x="11902" y="8926"/>
                    <a:pt x="20827" y="229091"/>
                    <a:pt x="65455" y="336198"/>
                  </a:cubicBezTo>
                  <a:cubicBezTo>
                    <a:pt x="68429" y="339174"/>
                    <a:pt x="68429" y="342149"/>
                    <a:pt x="62480" y="345124"/>
                  </a:cubicBezTo>
                  <a:cubicBezTo>
                    <a:pt x="65455" y="345124"/>
                    <a:pt x="65455" y="345124"/>
                    <a:pt x="62480" y="345124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9BD03813-FECB-47E4-A434-C8415F325B74}"/>
                </a:ext>
              </a:extLst>
            </p:cNvPr>
            <p:cNvSpPr/>
            <p:nvPr/>
          </p:nvSpPr>
          <p:spPr>
            <a:xfrm>
              <a:off x="24835056" y="4556409"/>
              <a:ext cx="145785" cy="339173"/>
            </a:xfrm>
            <a:custGeom>
              <a:avLst/>
              <a:gdLst>
                <a:gd name="connsiteX0" fmla="*/ 139835 w 145785"/>
                <a:gd name="connsiteY0" fmla="*/ 333223 h 339173"/>
                <a:gd name="connsiteX1" fmla="*/ 136861 w 145785"/>
                <a:gd name="connsiteY1" fmla="*/ 333223 h 339173"/>
                <a:gd name="connsiteX2" fmla="*/ 32728 w 145785"/>
                <a:gd name="connsiteY2" fmla="*/ 258843 h 339173"/>
                <a:gd name="connsiteX3" fmla="*/ 0 w 145785"/>
                <a:gd name="connsiteY3" fmla="*/ 5950 h 339173"/>
                <a:gd name="connsiteX4" fmla="*/ 5951 w 145785"/>
                <a:gd name="connsiteY4" fmla="*/ 0 h 339173"/>
                <a:gd name="connsiteX5" fmla="*/ 11902 w 145785"/>
                <a:gd name="connsiteY5" fmla="*/ 5950 h 339173"/>
                <a:gd name="connsiteX6" fmla="*/ 41654 w 145785"/>
                <a:gd name="connsiteY6" fmla="*/ 255868 h 339173"/>
                <a:gd name="connsiteX7" fmla="*/ 142810 w 145785"/>
                <a:gd name="connsiteY7" fmla="*/ 330248 h 339173"/>
                <a:gd name="connsiteX8" fmla="*/ 145786 w 145785"/>
                <a:gd name="connsiteY8" fmla="*/ 339174 h 339173"/>
                <a:gd name="connsiteX9" fmla="*/ 139835 w 145785"/>
                <a:gd name="connsiteY9" fmla="*/ 333223 h 339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5785" h="339173">
                  <a:moveTo>
                    <a:pt x="139835" y="333223"/>
                  </a:moveTo>
                  <a:cubicBezTo>
                    <a:pt x="139835" y="333223"/>
                    <a:pt x="136861" y="333223"/>
                    <a:pt x="136861" y="333223"/>
                  </a:cubicBezTo>
                  <a:cubicBezTo>
                    <a:pt x="127934" y="327273"/>
                    <a:pt x="44628" y="270744"/>
                    <a:pt x="32728" y="258843"/>
                  </a:cubicBezTo>
                  <a:cubicBezTo>
                    <a:pt x="20827" y="243967"/>
                    <a:pt x="2976" y="44628"/>
                    <a:pt x="0" y="5950"/>
                  </a:cubicBezTo>
                  <a:cubicBezTo>
                    <a:pt x="0" y="2975"/>
                    <a:pt x="2976" y="0"/>
                    <a:pt x="5951" y="0"/>
                  </a:cubicBezTo>
                  <a:cubicBezTo>
                    <a:pt x="8925" y="0"/>
                    <a:pt x="11902" y="2975"/>
                    <a:pt x="11902" y="5950"/>
                  </a:cubicBezTo>
                  <a:cubicBezTo>
                    <a:pt x="20827" y="95207"/>
                    <a:pt x="35703" y="243967"/>
                    <a:pt x="41654" y="255868"/>
                  </a:cubicBezTo>
                  <a:cubicBezTo>
                    <a:pt x="47604" y="264793"/>
                    <a:pt x="107109" y="303471"/>
                    <a:pt x="142810" y="330248"/>
                  </a:cubicBezTo>
                  <a:cubicBezTo>
                    <a:pt x="145786" y="333223"/>
                    <a:pt x="145786" y="336198"/>
                    <a:pt x="145786" y="339174"/>
                  </a:cubicBezTo>
                  <a:cubicBezTo>
                    <a:pt x="142810" y="330248"/>
                    <a:pt x="142810" y="333223"/>
                    <a:pt x="139835" y="333223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704A91D-29D6-4DD7-87F0-CCCB90E64F44}"/>
                </a:ext>
              </a:extLst>
            </p:cNvPr>
            <p:cNvSpPr/>
            <p:nvPr/>
          </p:nvSpPr>
          <p:spPr>
            <a:xfrm>
              <a:off x="24052577" y="3290720"/>
              <a:ext cx="392083" cy="564101"/>
            </a:xfrm>
            <a:custGeom>
              <a:avLst/>
              <a:gdLst>
                <a:gd name="connsiteX0" fmla="*/ 389751 w 392083"/>
                <a:gd name="connsiteY0" fmla="*/ 560565 h 564101"/>
                <a:gd name="connsiteX1" fmla="*/ 288595 w 392083"/>
                <a:gd name="connsiteY1" fmla="*/ 4202 h 564101"/>
                <a:gd name="connsiteX2" fmla="*/ 0 w 392083"/>
                <a:gd name="connsiteY2" fmla="*/ 480235 h 564101"/>
                <a:gd name="connsiteX3" fmla="*/ 389751 w 392083"/>
                <a:gd name="connsiteY3" fmla="*/ 560565 h 564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2083" h="564101">
                  <a:moveTo>
                    <a:pt x="389751" y="560565"/>
                  </a:moveTo>
                  <a:cubicBezTo>
                    <a:pt x="389751" y="560565"/>
                    <a:pt x="416529" y="51805"/>
                    <a:pt x="288595" y="4202"/>
                  </a:cubicBezTo>
                  <a:cubicBezTo>
                    <a:pt x="136859" y="-52327"/>
                    <a:pt x="0" y="480235"/>
                    <a:pt x="0" y="480235"/>
                  </a:cubicBezTo>
                  <a:cubicBezTo>
                    <a:pt x="0" y="480235"/>
                    <a:pt x="187438" y="584367"/>
                    <a:pt x="389751" y="560565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00B2FD75-A9E7-49C7-B80C-EF043E6830D6}"/>
                </a:ext>
              </a:extLst>
            </p:cNvPr>
            <p:cNvSpPr/>
            <p:nvPr/>
          </p:nvSpPr>
          <p:spPr>
            <a:xfrm>
              <a:off x="24531585" y="2979549"/>
              <a:ext cx="246943" cy="263626"/>
            </a:xfrm>
            <a:custGeom>
              <a:avLst/>
              <a:gdLst>
                <a:gd name="connsiteX0" fmla="*/ 0 w 246943"/>
                <a:gd name="connsiteY0" fmla="*/ 77355 h 263626"/>
                <a:gd name="connsiteX1" fmla="*/ 26778 w 246943"/>
                <a:gd name="connsiteY1" fmla="*/ 238017 h 263626"/>
                <a:gd name="connsiteX2" fmla="*/ 246944 w 246943"/>
                <a:gd name="connsiteY2" fmla="*/ 187438 h 263626"/>
                <a:gd name="connsiteX3" fmla="*/ 196365 w 246943"/>
                <a:gd name="connsiteY3" fmla="*/ 0 h 263626"/>
                <a:gd name="connsiteX4" fmla="*/ 0 w 246943"/>
                <a:gd name="connsiteY4" fmla="*/ 77355 h 263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943" h="263626">
                  <a:moveTo>
                    <a:pt x="0" y="77355"/>
                  </a:moveTo>
                  <a:cubicBezTo>
                    <a:pt x="0" y="77355"/>
                    <a:pt x="14876" y="172562"/>
                    <a:pt x="26778" y="238017"/>
                  </a:cubicBezTo>
                  <a:cubicBezTo>
                    <a:pt x="26778" y="238017"/>
                    <a:pt x="130910" y="321322"/>
                    <a:pt x="246944" y="187438"/>
                  </a:cubicBezTo>
                  <a:cubicBezTo>
                    <a:pt x="235042" y="130909"/>
                    <a:pt x="211241" y="59504"/>
                    <a:pt x="196365" y="0"/>
                  </a:cubicBezTo>
                  <a:cubicBezTo>
                    <a:pt x="196365" y="2975"/>
                    <a:pt x="50579" y="77355"/>
                    <a:pt x="0" y="77355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206AC96E-BA35-4F6C-B136-FD1D1E32C1C3}"/>
                </a:ext>
              </a:extLst>
            </p:cNvPr>
            <p:cNvSpPr/>
            <p:nvPr/>
          </p:nvSpPr>
          <p:spPr>
            <a:xfrm>
              <a:off x="24742825" y="2824839"/>
              <a:ext cx="57191" cy="145785"/>
            </a:xfrm>
            <a:custGeom>
              <a:avLst/>
              <a:gdLst>
                <a:gd name="connsiteX0" fmla="*/ 56528 w 57191"/>
                <a:gd name="connsiteY0" fmla="*/ 0 h 145785"/>
                <a:gd name="connsiteX1" fmla="*/ 17851 w 57191"/>
                <a:gd name="connsiteY1" fmla="*/ 145785 h 145785"/>
                <a:gd name="connsiteX2" fmla="*/ 0 w 57191"/>
                <a:gd name="connsiteY2" fmla="*/ 65455 h 145785"/>
                <a:gd name="connsiteX3" fmla="*/ 56528 w 57191"/>
                <a:gd name="connsiteY3" fmla="*/ 0 h 145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91" h="145785">
                  <a:moveTo>
                    <a:pt x="56528" y="0"/>
                  </a:moveTo>
                  <a:cubicBezTo>
                    <a:pt x="56528" y="0"/>
                    <a:pt x="65455" y="116033"/>
                    <a:pt x="17851" y="145785"/>
                  </a:cubicBezTo>
                  <a:lnTo>
                    <a:pt x="0" y="65455"/>
                  </a:lnTo>
                  <a:lnTo>
                    <a:pt x="56528" y="0"/>
                  </a:ln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9A5906B6-EE14-43F8-BE71-417F5C6F51B1}"/>
                </a:ext>
              </a:extLst>
            </p:cNvPr>
            <p:cNvSpPr/>
            <p:nvPr/>
          </p:nvSpPr>
          <p:spPr>
            <a:xfrm>
              <a:off x="24326297" y="2708806"/>
              <a:ext cx="117143" cy="221441"/>
            </a:xfrm>
            <a:custGeom>
              <a:avLst/>
              <a:gdLst>
                <a:gd name="connsiteX0" fmla="*/ 0 w 117143"/>
                <a:gd name="connsiteY0" fmla="*/ 2975 h 221441"/>
                <a:gd name="connsiteX1" fmla="*/ 83305 w 117143"/>
                <a:gd name="connsiteY1" fmla="*/ 220165 h 221441"/>
                <a:gd name="connsiteX2" fmla="*/ 95207 w 117143"/>
                <a:gd name="connsiteY2" fmla="*/ 0 h 221441"/>
                <a:gd name="connsiteX3" fmla="*/ 0 w 117143"/>
                <a:gd name="connsiteY3" fmla="*/ 2975 h 221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143" h="221441">
                  <a:moveTo>
                    <a:pt x="0" y="2975"/>
                  </a:moveTo>
                  <a:cubicBezTo>
                    <a:pt x="0" y="2975"/>
                    <a:pt x="5951" y="196364"/>
                    <a:pt x="83305" y="220165"/>
                  </a:cubicBezTo>
                  <a:cubicBezTo>
                    <a:pt x="151735" y="240992"/>
                    <a:pt x="95207" y="0"/>
                    <a:pt x="95207" y="0"/>
                  </a:cubicBezTo>
                  <a:lnTo>
                    <a:pt x="0" y="2975"/>
                  </a:ln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21A6384F-B78E-4C3F-8C1F-2197AA2906B1}"/>
                </a:ext>
              </a:extLst>
            </p:cNvPr>
            <p:cNvSpPr/>
            <p:nvPr/>
          </p:nvSpPr>
          <p:spPr>
            <a:xfrm>
              <a:off x="24373899" y="2538464"/>
              <a:ext cx="408719" cy="551807"/>
            </a:xfrm>
            <a:custGeom>
              <a:avLst/>
              <a:gdLst>
                <a:gd name="connsiteX0" fmla="*/ 0 w 408719"/>
                <a:gd name="connsiteY0" fmla="*/ 209019 h 551807"/>
                <a:gd name="connsiteX1" fmla="*/ 44628 w 408719"/>
                <a:gd name="connsiteY1" fmla="*/ 450011 h 551807"/>
                <a:gd name="connsiteX2" fmla="*/ 223141 w 408719"/>
                <a:gd name="connsiteY2" fmla="*/ 551168 h 551807"/>
                <a:gd name="connsiteX3" fmla="*/ 407604 w 408719"/>
                <a:gd name="connsiteY3" fmla="*/ 354804 h 551807"/>
                <a:gd name="connsiteX4" fmla="*/ 398678 w 408719"/>
                <a:gd name="connsiteY4" fmla="*/ 152490 h 551807"/>
                <a:gd name="connsiteX5" fmla="*/ 157686 w 408719"/>
                <a:gd name="connsiteY5" fmla="*/ 755 h 551807"/>
                <a:gd name="connsiteX6" fmla="*/ 0 w 408719"/>
                <a:gd name="connsiteY6" fmla="*/ 209019 h 55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719" h="551807">
                  <a:moveTo>
                    <a:pt x="0" y="209019"/>
                  </a:moveTo>
                  <a:cubicBezTo>
                    <a:pt x="0" y="209019"/>
                    <a:pt x="20827" y="378606"/>
                    <a:pt x="44628" y="450011"/>
                  </a:cubicBezTo>
                  <a:cubicBezTo>
                    <a:pt x="71406" y="521416"/>
                    <a:pt x="172562" y="557119"/>
                    <a:pt x="223141" y="551168"/>
                  </a:cubicBezTo>
                  <a:cubicBezTo>
                    <a:pt x="288595" y="545218"/>
                    <a:pt x="401653" y="479763"/>
                    <a:pt x="407604" y="354804"/>
                  </a:cubicBezTo>
                  <a:cubicBezTo>
                    <a:pt x="410578" y="280424"/>
                    <a:pt x="407604" y="200094"/>
                    <a:pt x="398678" y="152490"/>
                  </a:cubicBezTo>
                  <a:cubicBezTo>
                    <a:pt x="380826" y="63234"/>
                    <a:pt x="339174" y="-8171"/>
                    <a:pt x="157686" y="755"/>
                  </a:cubicBezTo>
                  <a:cubicBezTo>
                    <a:pt x="74380" y="755"/>
                    <a:pt x="5951" y="128689"/>
                    <a:pt x="0" y="209019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D40F9234-3D7E-407A-9126-57C5E0EE907F}"/>
                </a:ext>
              </a:extLst>
            </p:cNvPr>
            <p:cNvSpPr/>
            <p:nvPr/>
          </p:nvSpPr>
          <p:spPr>
            <a:xfrm>
              <a:off x="24525636" y="2795087"/>
              <a:ext cx="68429" cy="133884"/>
            </a:xfrm>
            <a:custGeom>
              <a:avLst/>
              <a:gdLst>
                <a:gd name="connsiteX0" fmla="*/ 26776 w 68429"/>
                <a:gd name="connsiteY0" fmla="*/ 133884 h 133884"/>
                <a:gd name="connsiteX1" fmla="*/ 14876 w 68429"/>
                <a:gd name="connsiteY1" fmla="*/ 130909 h 133884"/>
                <a:gd name="connsiteX2" fmla="*/ 5949 w 68429"/>
                <a:gd name="connsiteY2" fmla="*/ 119008 h 133884"/>
                <a:gd name="connsiteX3" fmla="*/ 0 w 68429"/>
                <a:gd name="connsiteY3" fmla="*/ 5950 h 133884"/>
                <a:gd name="connsiteX4" fmla="*/ 5949 w 68429"/>
                <a:gd name="connsiteY4" fmla="*/ 0 h 133884"/>
                <a:gd name="connsiteX5" fmla="*/ 11900 w 68429"/>
                <a:gd name="connsiteY5" fmla="*/ 5950 h 133884"/>
                <a:gd name="connsiteX6" fmla="*/ 17851 w 68429"/>
                <a:gd name="connsiteY6" fmla="*/ 116033 h 133884"/>
                <a:gd name="connsiteX7" fmla="*/ 20825 w 68429"/>
                <a:gd name="connsiteY7" fmla="*/ 119008 h 133884"/>
                <a:gd name="connsiteX8" fmla="*/ 59504 w 68429"/>
                <a:gd name="connsiteY8" fmla="*/ 113058 h 133884"/>
                <a:gd name="connsiteX9" fmla="*/ 68429 w 68429"/>
                <a:gd name="connsiteY9" fmla="*/ 116033 h 133884"/>
                <a:gd name="connsiteX10" fmla="*/ 65453 w 68429"/>
                <a:gd name="connsiteY10" fmla="*/ 124959 h 133884"/>
                <a:gd name="connsiteX11" fmla="*/ 26776 w 68429"/>
                <a:gd name="connsiteY11" fmla="*/ 133884 h 13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429" h="133884">
                  <a:moveTo>
                    <a:pt x="26776" y="133884"/>
                  </a:moveTo>
                  <a:cubicBezTo>
                    <a:pt x="20825" y="133884"/>
                    <a:pt x="17851" y="133884"/>
                    <a:pt x="14876" y="130909"/>
                  </a:cubicBezTo>
                  <a:cubicBezTo>
                    <a:pt x="11900" y="127934"/>
                    <a:pt x="8925" y="124959"/>
                    <a:pt x="5949" y="119008"/>
                  </a:cubicBezTo>
                  <a:cubicBezTo>
                    <a:pt x="2974" y="98182"/>
                    <a:pt x="0" y="11901"/>
                    <a:pt x="0" y="5950"/>
                  </a:cubicBezTo>
                  <a:cubicBezTo>
                    <a:pt x="0" y="2975"/>
                    <a:pt x="2974" y="0"/>
                    <a:pt x="5949" y="0"/>
                  </a:cubicBezTo>
                  <a:cubicBezTo>
                    <a:pt x="8925" y="0"/>
                    <a:pt x="11900" y="2975"/>
                    <a:pt x="11900" y="5950"/>
                  </a:cubicBezTo>
                  <a:cubicBezTo>
                    <a:pt x="11900" y="5950"/>
                    <a:pt x="11900" y="98182"/>
                    <a:pt x="17851" y="116033"/>
                  </a:cubicBezTo>
                  <a:cubicBezTo>
                    <a:pt x="17851" y="116033"/>
                    <a:pt x="17851" y="119008"/>
                    <a:pt x="20825" y="119008"/>
                  </a:cubicBezTo>
                  <a:cubicBezTo>
                    <a:pt x="26776" y="121984"/>
                    <a:pt x="47603" y="119008"/>
                    <a:pt x="59504" y="113058"/>
                  </a:cubicBezTo>
                  <a:cubicBezTo>
                    <a:pt x="62479" y="113058"/>
                    <a:pt x="65453" y="113058"/>
                    <a:pt x="68429" y="116033"/>
                  </a:cubicBezTo>
                  <a:cubicBezTo>
                    <a:pt x="68429" y="119008"/>
                    <a:pt x="68429" y="121984"/>
                    <a:pt x="65453" y="124959"/>
                  </a:cubicBezTo>
                  <a:cubicBezTo>
                    <a:pt x="59504" y="124959"/>
                    <a:pt x="41652" y="133884"/>
                    <a:pt x="26776" y="133884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8E54B357-C67D-40DF-8B57-28D9F1C8BCBD}"/>
                </a:ext>
              </a:extLst>
            </p:cNvPr>
            <p:cNvSpPr/>
            <p:nvPr/>
          </p:nvSpPr>
          <p:spPr>
            <a:xfrm>
              <a:off x="24442328" y="2786161"/>
              <a:ext cx="38679" cy="38677"/>
            </a:xfrm>
            <a:custGeom>
              <a:avLst/>
              <a:gdLst>
                <a:gd name="connsiteX0" fmla="*/ 38679 w 38679"/>
                <a:gd name="connsiteY0" fmla="*/ 20826 h 38677"/>
                <a:gd name="connsiteX1" fmla="*/ 17852 w 38679"/>
                <a:gd name="connsiteY1" fmla="*/ 38678 h 38677"/>
                <a:gd name="connsiteX2" fmla="*/ 0 w 38679"/>
                <a:gd name="connsiteY2" fmla="*/ 17851 h 38677"/>
                <a:gd name="connsiteX3" fmla="*/ 20827 w 38679"/>
                <a:gd name="connsiteY3" fmla="*/ 0 h 38677"/>
                <a:gd name="connsiteX4" fmla="*/ 38679 w 38679"/>
                <a:gd name="connsiteY4" fmla="*/ 20826 h 3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679" h="38677">
                  <a:moveTo>
                    <a:pt x="38679" y="20826"/>
                  </a:moveTo>
                  <a:cubicBezTo>
                    <a:pt x="38679" y="32727"/>
                    <a:pt x="29752" y="38678"/>
                    <a:pt x="17852" y="38678"/>
                  </a:cubicBezTo>
                  <a:cubicBezTo>
                    <a:pt x="5951" y="38678"/>
                    <a:pt x="0" y="29752"/>
                    <a:pt x="0" y="17851"/>
                  </a:cubicBezTo>
                  <a:cubicBezTo>
                    <a:pt x="0" y="5950"/>
                    <a:pt x="8927" y="0"/>
                    <a:pt x="20827" y="0"/>
                  </a:cubicBezTo>
                  <a:cubicBezTo>
                    <a:pt x="29752" y="2975"/>
                    <a:pt x="38679" y="11901"/>
                    <a:pt x="38679" y="20826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0BDC7DC2-6C5B-45CB-88D5-36F69E16F2DE}"/>
                </a:ext>
              </a:extLst>
            </p:cNvPr>
            <p:cNvSpPr/>
            <p:nvPr/>
          </p:nvSpPr>
          <p:spPr>
            <a:xfrm>
              <a:off x="24620841" y="2771285"/>
              <a:ext cx="38679" cy="38677"/>
            </a:xfrm>
            <a:custGeom>
              <a:avLst/>
              <a:gdLst>
                <a:gd name="connsiteX0" fmla="*/ 38679 w 38679"/>
                <a:gd name="connsiteY0" fmla="*/ 20826 h 38677"/>
                <a:gd name="connsiteX1" fmla="*/ 17852 w 38679"/>
                <a:gd name="connsiteY1" fmla="*/ 38678 h 38677"/>
                <a:gd name="connsiteX2" fmla="*/ 0 w 38679"/>
                <a:gd name="connsiteY2" fmla="*/ 17851 h 38677"/>
                <a:gd name="connsiteX3" fmla="*/ 20827 w 38679"/>
                <a:gd name="connsiteY3" fmla="*/ 0 h 38677"/>
                <a:gd name="connsiteX4" fmla="*/ 38679 w 38679"/>
                <a:gd name="connsiteY4" fmla="*/ 20826 h 3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679" h="38677">
                  <a:moveTo>
                    <a:pt x="38679" y="20826"/>
                  </a:moveTo>
                  <a:cubicBezTo>
                    <a:pt x="38679" y="32727"/>
                    <a:pt x="29752" y="38678"/>
                    <a:pt x="17852" y="38678"/>
                  </a:cubicBezTo>
                  <a:cubicBezTo>
                    <a:pt x="5951" y="38678"/>
                    <a:pt x="0" y="29752"/>
                    <a:pt x="0" y="17851"/>
                  </a:cubicBezTo>
                  <a:cubicBezTo>
                    <a:pt x="0" y="5950"/>
                    <a:pt x="8927" y="0"/>
                    <a:pt x="20827" y="0"/>
                  </a:cubicBezTo>
                  <a:cubicBezTo>
                    <a:pt x="32728" y="0"/>
                    <a:pt x="38679" y="8926"/>
                    <a:pt x="38679" y="20826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689084B-5488-48C9-A7D8-D7EBE8D11B9B}"/>
                </a:ext>
              </a:extLst>
            </p:cNvPr>
            <p:cNvSpPr/>
            <p:nvPr/>
          </p:nvSpPr>
          <p:spPr>
            <a:xfrm>
              <a:off x="24411344" y="2738507"/>
              <a:ext cx="87513" cy="41703"/>
            </a:xfrm>
            <a:custGeom>
              <a:avLst/>
              <a:gdLst>
                <a:gd name="connsiteX0" fmla="*/ 7183 w 87513"/>
                <a:gd name="connsiteY0" fmla="*/ 41704 h 41703"/>
                <a:gd name="connsiteX1" fmla="*/ 4208 w 87513"/>
                <a:gd name="connsiteY1" fmla="*/ 41704 h 41703"/>
                <a:gd name="connsiteX2" fmla="*/ 1232 w 87513"/>
                <a:gd name="connsiteY2" fmla="*/ 29803 h 41703"/>
                <a:gd name="connsiteX3" fmla="*/ 81563 w 87513"/>
                <a:gd name="connsiteY3" fmla="*/ 3026 h 41703"/>
                <a:gd name="connsiteX4" fmla="*/ 87514 w 87513"/>
                <a:gd name="connsiteY4" fmla="*/ 11951 h 41703"/>
                <a:gd name="connsiteX5" fmla="*/ 78588 w 87513"/>
                <a:gd name="connsiteY5" fmla="*/ 17902 h 41703"/>
                <a:gd name="connsiteX6" fmla="*/ 16108 w 87513"/>
                <a:gd name="connsiteY6" fmla="*/ 35753 h 41703"/>
                <a:gd name="connsiteX7" fmla="*/ 7183 w 87513"/>
                <a:gd name="connsiteY7" fmla="*/ 41704 h 41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513" h="41703">
                  <a:moveTo>
                    <a:pt x="7183" y="41704"/>
                  </a:moveTo>
                  <a:cubicBezTo>
                    <a:pt x="7183" y="41704"/>
                    <a:pt x="4208" y="41704"/>
                    <a:pt x="4208" y="41704"/>
                  </a:cubicBezTo>
                  <a:cubicBezTo>
                    <a:pt x="1232" y="38728"/>
                    <a:pt x="-1742" y="35753"/>
                    <a:pt x="1232" y="29803"/>
                  </a:cubicBezTo>
                  <a:cubicBezTo>
                    <a:pt x="22059" y="-2925"/>
                    <a:pt x="63712" y="-2925"/>
                    <a:pt x="81563" y="3026"/>
                  </a:cubicBezTo>
                  <a:cubicBezTo>
                    <a:pt x="84539" y="3026"/>
                    <a:pt x="87514" y="8976"/>
                    <a:pt x="87514" y="11951"/>
                  </a:cubicBezTo>
                  <a:cubicBezTo>
                    <a:pt x="87514" y="14927"/>
                    <a:pt x="81563" y="17902"/>
                    <a:pt x="78588" y="17902"/>
                  </a:cubicBezTo>
                  <a:cubicBezTo>
                    <a:pt x="75612" y="17902"/>
                    <a:pt x="33960" y="6001"/>
                    <a:pt x="16108" y="35753"/>
                  </a:cubicBezTo>
                  <a:cubicBezTo>
                    <a:pt x="13134" y="41704"/>
                    <a:pt x="10159" y="41704"/>
                    <a:pt x="7183" y="41704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14912E9A-A19A-459D-8451-A4CBBA01B27F}"/>
                </a:ext>
              </a:extLst>
            </p:cNvPr>
            <p:cNvSpPr/>
            <p:nvPr/>
          </p:nvSpPr>
          <p:spPr>
            <a:xfrm>
              <a:off x="24591833" y="2707984"/>
              <a:ext cx="88512" cy="33548"/>
            </a:xfrm>
            <a:custGeom>
              <a:avLst/>
              <a:gdLst>
                <a:gd name="connsiteX0" fmla="*/ 8183 w 88512"/>
                <a:gd name="connsiteY0" fmla="*/ 33549 h 33548"/>
                <a:gd name="connsiteX1" fmla="*/ 2232 w 88512"/>
                <a:gd name="connsiteY1" fmla="*/ 30574 h 33548"/>
                <a:gd name="connsiteX2" fmla="*/ 2232 w 88512"/>
                <a:gd name="connsiteY2" fmla="*/ 18673 h 33548"/>
                <a:gd name="connsiteX3" fmla="*/ 85538 w 88512"/>
                <a:gd name="connsiteY3" fmla="*/ 12722 h 33548"/>
                <a:gd name="connsiteX4" fmla="*/ 88512 w 88512"/>
                <a:gd name="connsiteY4" fmla="*/ 24623 h 33548"/>
                <a:gd name="connsiteX5" fmla="*/ 76612 w 88512"/>
                <a:gd name="connsiteY5" fmla="*/ 27599 h 33548"/>
                <a:gd name="connsiteX6" fmla="*/ 11157 w 88512"/>
                <a:gd name="connsiteY6" fmla="*/ 33549 h 33548"/>
                <a:gd name="connsiteX7" fmla="*/ 8183 w 88512"/>
                <a:gd name="connsiteY7" fmla="*/ 33549 h 3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512" h="33548">
                  <a:moveTo>
                    <a:pt x="8183" y="33549"/>
                  </a:moveTo>
                  <a:cubicBezTo>
                    <a:pt x="5207" y="33549"/>
                    <a:pt x="5207" y="33549"/>
                    <a:pt x="2232" y="30574"/>
                  </a:cubicBezTo>
                  <a:cubicBezTo>
                    <a:pt x="-744" y="27599"/>
                    <a:pt x="-744" y="21648"/>
                    <a:pt x="2232" y="18673"/>
                  </a:cubicBezTo>
                  <a:cubicBezTo>
                    <a:pt x="34959" y="-11079"/>
                    <a:pt x="70662" y="822"/>
                    <a:pt x="85538" y="12722"/>
                  </a:cubicBezTo>
                  <a:cubicBezTo>
                    <a:pt x="88512" y="15698"/>
                    <a:pt x="88512" y="18673"/>
                    <a:pt x="88512" y="24623"/>
                  </a:cubicBezTo>
                  <a:cubicBezTo>
                    <a:pt x="85538" y="27599"/>
                    <a:pt x="82563" y="27599"/>
                    <a:pt x="76612" y="27599"/>
                  </a:cubicBezTo>
                  <a:cubicBezTo>
                    <a:pt x="76612" y="27599"/>
                    <a:pt x="40910" y="3797"/>
                    <a:pt x="11157" y="33549"/>
                  </a:cubicBezTo>
                  <a:cubicBezTo>
                    <a:pt x="11157" y="30574"/>
                    <a:pt x="8183" y="33549"/>
                    <a:pt x="8183" y="33549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8225C764-D6ED-4503-BD64-63330282A661}"/>
                </a:ext>
              </a:extLst>
            </p:cNvPr>
            <p:cNvSpPr/>
            <p:nvPr/>
          </p:nvSpPr>
          <p:spPr>
            <a:xfrm>
              <a:off x="24516709" y="2998144"/>
              <a:ext cx="231323" cy="94462"/>
            </a:xfrm>
            <a:custGeom>
              <a:avLst/>
              <a:gdLst>
                <a:gd name="connsiteX0" fmla="*/ 68431 w 231323"/>
                <a:gd name="connsiteY0" fmla="*/ 94463 h 94462"/>
                <a:gd name="connsiteX1" fmla="*/ 2976 w 231323"/>
                <a:gd name="connsiteY1" fmla="*/ 79587 h 94462"/>
                <a:gd name="connsiteX2" fmla="*/ 0 w 231323"/>
                <a:gd name="connsiteY2" fmla="*/ 70661 h 94462"/>
                <a:gd name="connsiteX3" fmla="*/ 8927 w 231323"/>
                <a:gd name="connsiteY3" fmla="*/ 67686 h 94462"/>
                <a:gd name="connsiteX4" fmla="*/ 95207 w 231323"/>
                <a:gd name="connsiteY4" fmla="*/ 76612 h 94462"/>
                <a:gd name="connsiteX5" fmla="*/ 220166 w 231323"/>
                <a:gd name="connsiteY5" fmla="*/ 2231 h 94462"/>
                <a:gd name="connsiteX6" fmla="*/ 229091 w 231323"/>
                <a:gd name="connsiteY6" fmla="*/ 2231 h 94462"/>
                <a:gd name="connsiteX7" fmla="*/ 229091 w 231323"/>
                <a:gd name="connsiteY7" fmla="*/ 11157 h 94462"/>
                <a:gd name="connsiteX8" fmla="*/ 98183 w 231323"/>
                <a:gd name="connsiteY8" fmla="*/ 88512 h 94462"/>
                <a:gd name="connsiteX9" fmla="*/ 68431 w 231323"/>
                <a:gd name="connsiteY9" fmla="*/ 94463 h 9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1323" h="94462">
                  <a:moveTo>
                    <a:pt x="68431" y="94463"/>
                  </a:moveTo>
                  <a:cubicBezTo>
                    <a:pt x="32728" y="94463"/>
                    <a:pt x="2976" y="82562"/>
                    <a:pt x="2976" y="79587"/>
                  </a:cubicBezTo>
                  <a:cubicBezTo>
                    <a:pt x="0" y="79587"/>
                    <a:pt x="0" y="73636"/>
                    <a:pt x="0" y="70661"/>
                  </a:cubicBezTo>
                  <a:cubicBezTo>
                    <a:pt x="0" y="67686"/>
                    <a:pt x="5951" y="67686"/>
                    <a:pt x="8927" y="67686"/>
                  </a:cubicBezTo>
                  <a:cubicBezTo>
                    <a:pt x="8927" y="67686"/>
                    <a:pt x="50579" y="85537"/>
                    <a:pt x="95207" y="76612"/>
                  </a:cubicBezTo>
                  <a:cubicBezTo>
                    <a:pt x="148760" y="67686"/>
                    <a:pt x="220166" y="2231"/>
                    <a:pt x="220166" y="2231"/>
                  </a:cubicBezTo>
                  <a:cubicBezTo>
                    <a:pt x="223141" y="-744"/>
                    <a:pt x="226117" y="-744"/>
                    <a:pt x="229091" y="2231"/>
                  </a:cubicBezTo>
                  <a:cubicBezTo>
                    <a:pt x="232068" y="5207"/>
                    <a:pt x="232068" y="8182"/>
                    <a:pt x="229091" y="11157"/>
                  </a:cubicBezTo>
                  <a:cubicBezTo>
                    <a:pt x="226117" y="14132"/>
                    <a:pt x="154711" y="76612"/>
                    <a:pt x="98183" y="88512"/>
                  </a:cubicBezTo>
                  <a:cubicBezTo>
                    <a:pt x="86282" y="94463"/>
                    <a:pt x="77356" y="94463"/>
                    <a:pt x="68431" y="94463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25E5245D-2C9F-49C2-AD7B-375B70CB1DF0}"/>
                </a:ext>
              </a:extLst>
            </p:cNvPr>
            <p:cNvSpPr/>
            <p:nvPr/>
          </p:nvSpPr>
          <p:spPr>
            <a:xfrm>
              <a:off x="24692247" y="2521368"/>
              <a:ext cx="98412" cy="255867"/>
            </a:xfrm>
            <a:custGeom>
              <a:avLst/>
              <a:gdLst>
                <a:gd name="connsiteX0" fmla="*/ 0 w 98412"/>
                <a:gd name="connsiteY0" fmla="*/ 130909 h 255867"/>
                <a:gd name="connsiteX1" fmla="*/ 74380 w 98412"/>
                <a:gd name="connsiteY1" fmla="*/ 255868 h 255867"/>
                <a:gd name="connsiteX2" fmla="*/ 98181 w 98412"/>
                <a:gd name="connsiteY2" fmla="*/ 145785 h 255867"/>
                <a:gd name="connsiteX3" fmla="*/ 23801 w 98412"/>
                <a:gd name="connsiteY3" fmla="*/ 0 h 255867"/>
                <a:gd name="connsiteX4" fmla="*/ 0 w 98412"/>
                <a:gd name="connsiteY4" fmla="*/ 130909 h 255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412" h="255867">
                  <a:moveTo>
                    <a:pt x="0" y="130909"/>
                  </a:moveTo>
                  <a:cubicBezTo>
                    <a:pt x="0" y="130909"/>
                    <a:pt x="74380" y="226116"/>
                    <a:pt x="74380" y="255868"/>
                  </a:cubicBezTo>
                  <a:cubicBezTo>
                    <a:pt x="74380" y="255868"/>
                    <a:pt x="101158" y="232066"/>
                    <a:pt x="98181" y="145785"/>
                  </a:cubicBezTo>
                  <a:cubicBezTo>
                    <a:pt x="95207" y="86281"/>
                    <a:pt x="89256" y="2975"/>
                    <a:pt x="23801" y="0"/>
                  </a:cubicBezTo>
                  <a:cubicBezTo>
                    <a:pt x="20827" y="0"/>
                    <a:pt x="35703" y="107107"/>
                    <a:pt x="0" y="130909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45966FD7-7AD2-407A-BF5E-3131313C339B}"/>
                </a:ext>
              </a:extLst>
            </p:cNvPr>
            <p:cNvSpPr/>
            <p:nvPr/>
          </p:nvSpPr>
          <p:spPr>
            <a:xfrm>
              <a:off x="24257867" y="2443014"/>
              <a:ext cx="478985" cy="287642"/>
            </a:xfrm>
            <a:custGeom>
              <a:avLst/>
              <a:gdLst>
                <a:gd name="connsiteX0" fmla="*/ 434379 w 478985"/>
                <a:gd name="connsiteY0" fmla="*/ 209262 h 287642"/>
                <a:gd name="connsiteX1" fmla="*/ 309420 w 478985"/>
                <a:gd name="connsiteY1" fmla="*/ 197361 h 287642"/>
                <a:gd name="connsiteX2" fmla="*/ 0 w 478985"/>
                <a:gd name="connsiteY2" fmla="*/ 247940 h 287642"/>
                <a:gd name="connsiteX3" fmla="*/ 321322 w 478985"/>
                <a:gd name="connsiteY3" fmla="*/ 998 h 287642"/>
                <a:gd name="connsiteX4" fmla="*/ 455206 w 478985"/>
                <a:gd name="connsiteY4" fmla="*/ 81328 h 287642"/>
                <a:gd name="connsiteX5" fmla="*/ 434379 w 478985"/>
                <a:gd name="connsiteY5" fmla="*/ 209262 h 287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8985" h="287642">
                  <a:moveTo>
                    <a:pt x="434379" y="209262"/>
                  </a:moveTo>
                  <a:cubicBezTo>
                    <a:pt x="434379" y="209262"/>
                    <a:pt x="336198" y="191411"/>
                    <a:pt x="309420" y="197361"/>
                  </a:cubicBezTo>
                  <a:cubicBezTo>
                    <a:pt x="214213" y="221163"/>
                    <a:pt x="113057" y="352072"/>
                    <a:pt x="0" y="247940"/>
                  </a:cubicBezTo>
                  <a:cubicBezTo>
                    <a:pt x="23801" y="140833"/>
                    <a:pt x="154709" y="-13878"/>
                    <a:pt x="321322" y="998"/>
                  </a:cubicBezTo>
                  <a:cubicBezTo>
                    <a:pt x="401653" y="6948"/>
                    <a:pt x="443305" y="48601"/>
                    <a:pt x="455206" y="81328"/>
                  </a:cubicBezTo>
                  <a:cubicBezTo>
                    <a:pt x="455206" y="78353"/>
                    <a:pt x="520661" y="179510"/>
                    <a:pt x="434379" y="209262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2014B033-5F35-411F-81DD-41492FC4F0CE}"/>
                </a:ext>
              </a:extLst>
            </p:cNvPr>
            <p:cNvSpPr/>
            <p:nvPr/>
          </p:nvSpPr>
          <p:spPr>
            <a:xfrm>
              <a:off x="24758326" y="2738927"/>
              <a:ext cx="67880" cy="111664"/>
            </a:xfrm>
            <a:custGeom>
              <a:avLst/>
              <a:gdLst>
                <a:gd name="connsiteX0" fmla="*/ 2350 w 67880"/>
                <a:gd name="connsiteY0" fmla="*/ 23432 h 111664"/>
                <a:gd name="connsiteX1" fmla="*/ 55904 w 67880"/>
                <a:gd name="connsiteY1" fmla="*/ 2606 h 111664"/>
                <a:gd name="connsiteX2" fmla="*/ 20203 w 67880"/>
                <a:gd name="connsiteY2" fmla="*/ 109713 h 111664"/>
                <a:gd name="connsiteX3" fmla="*/ 2350 w 67880"/>
                <a:gd name="connsiteY3" fmla="*/ 23432 h 111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80" h="111664">
                  <a:moveTo>
                    <a:pt x="2350" y="23432"/>
                  </a:moveTo>
                  <a:cubicBezTo>
                    <a:pt x="2350" y="23432"/>
                    <a:pt x="29128" y="-9295"/>
                    <a:pt x="55904" y="2606"/>
                  </a:cubicBezTo>
                  <a:cubicBezTo>
                    <a:pt x="82681" y="17482"/>
                    <a:pt x="61854" y="127564"/>
                    <a:pt x="20203" y="109713"/>
                  </a:cubicBezTo>
                  <a:cubicBezTo>
                    <a:pt x="-9549" y="100787"/>
                    <a:pt x="2350" y="23432"/>
                    <a:pt x="2350" y="23432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1326825E-6AD9-4717-B811-6465962BD526}"/>
                </a:ext>
              </a:extLst>
            </p:cNvPr>
            <p:cNvSpPr/>
            <p:nvPr/>
          </p:nvSpPr>
          <p:spPr>
            <a:xfrm>
              <a:off x="24256634" y="3101533"/>
              <a:ext cx="1304373" cy="1578842"/>
            </a:xfrm>
            <a:custGeom>
              <a:avLst/>
              <a:gdLst>
                <a:gd name="connsiteX0" fmla="*/ 521895 w 1304373"/>
                <a:gd name="connsiteY0" fmla="*/ 0 h 1578842"/>
                <a:gd name="connsiteX1" fmla="*/ 254126 w 1304373"/>
                <a:gd name="connsiteY1" fmla="*/ 53554 h 1578842"/>
                <a:gd name="connsiteX2" fmla="*/ 1234 w 1304373"/>
                <a:gd name="connsiteY2" fmla="*/ 229091 h 1578842"/>
                <a:gd name="connsiteX3" fmla="*/ 185695 w 1304373"/>
                <a:gd name="connsiteY3" fmla="*/ 1547108 h 1578842"/>
                <a:gd name="connsiteX4" fmla="*/ 1304374 w 1304373"/>
                <a:gd name="connsiteY4" fmla="*/ 1547108 h 1578842"/>
                <a:gd name="connsiteX5" fmla="*/ 798589 w 1304373"/>
                <a:gd name="connsiteY5" fmla="*/ 38678 h 1578842"/>
                <a:gd name="connsiteX6" fmla="*/ 521895 w 1304373"/>
                <a:gd name="connsiteY6" fmla="*/ 0 h 1578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04373" h="1578842">
                  <a:moveTo>
                    <a:pt x="521895" y="0"/>
                  </a:moveTo>
                  <a:cubicBezTo>
                    <a:pt x="521895" y="0"/>
                    <a:pt x="373134" y="83306"/>
                    <a:pt x="254126" y="53554"/>
                  </a:cubicBezTo>
                  <a:cubicBezTo>
                    <a:pt x="254126" y="53554"/>
                    <a:pt x="19084" y="196364"/>
                    <a:pt x="1234" y="229091"/>
                  </a:cubicBezTo>
                  <a:cubicBezTo>
                    <a:pt x="-16619" y="261818"/>
                    <a:pt x="164870" y="1487603"/>
                    <a:pt x="185695" y="1547108"/>
                  </a:cubicBezTo>
                  <a:cubicBezTo>
                    <a:pt x="185695" y="1547108"/>
                    <a:pt x="694456" y="1618513"/>
                    <a:pt x="1304374" y="1547108"/>
                  </a:cubicBezTo>
                  <a:cubicBezTo>
                    <a:pt x="1173464" y="615868"/>
                    <a:pt x="843217" y="62479"/>
                    <a:pt x="798589" y="38678"/>
                  </a:cubicBezTo>
                  <a:cubicBezTo>
                    <a:pt x="756935" y="17851"/>
                    <a:pt x="521895" y="0"/>
                    <a:pt x="521895" y="0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F4101894-77C3-4E28-9216-143B74E55AB4}"/>
                </a:ext>
              </a:extLst>
            </p:cNvPr>
            <p:cNvSpPr/>
            <p:nvPr/>
          </p:nvSpPr>
          <p:spPr>
            <a:xfrm>
              <a:off x="24251916" y="3324673"/>
              <a:ext cx="110083" cy="696198"/>
            </a:xfrm>
            <a:custGeom>
              <a:avLst/>
              <a:gdLst>
                <a:gd name="connsiteX0" fmla="*/ 104132 w 110083"/>
                <a:gd name="connsiteY0" fmla="*/ 696198 h 696198"/>
                <a:gd name="connsiteX1" fmla="*/ 98181 w 110083"/>
                <a:gd name="connsiteY1" fmla="*/ 690248 h 696198"/>
                <a:gd name="connsiteX2" fmla="*/ 0 w 110083"/>
                <a:gd name="connsiteY2" fmla="*/ 5950 h 696198"/>
                <a:gd name="connsiteX3" fmla="*/ 5951 w 110083"/>
                <a:gd name="connsiteY3" fmla="*/ 0 h 696198"/>
                <a:gd name="connsiteX4" fmla="*/ 5951 w 110083"/>
                <a:gd name="connsiteY4" fmla="*/ 0 h 696198"/>
                <a:gd name="connsiteX5" fmla="*/ 11900 w 110083"/>
                <a:gd name="connsiteY5" fmla="*/ 5950 h 696198"/>
                <a:gd name="connsiteX6" fmla="*/ 110083 w 110083"/>
                <a:gd name="connsiteY6" fmla="*/ 690248 h 696198"/>
                <a:gd name="connsiteX7" fmla="*/ 104132 w 110083"/>
                <a:gd name="connsiteY7" fmla="*/ 696198 h 696198"/>
                <a:gd name="connsiteX8" fmla="*/ 104132 w 110083"/>
                <a:gd name="connsiteY8" fmla="*/ 696198 h 69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083" h="696198">
                  <a:moveTo>
                    <a:pt x="104132" y="696198"/>
                  </a:moveTo>
                  <a:cubicBezTo>
                    <a:pt x="101156" y="696198"/>
                    <a:pt x="98181" y="693223"/>
                    <a:pt x="98181" y="690248"/>
                  </a:cubicBezTo>
                  <a:cubicBezTo>
                    <a:pt x="95207" y="663471"/>
                    <a:pt x="0" y="44628"/>
                    <a:pt x="0" y="5950"/>
                  </a:cubicBezTo>
                  <a:cubicBezTo>
                    <a:pt x="0" y="2975"/>
                    <a:pt x="2974" y="0"/>
                    <a:pt x="5951" y="0"/>
                  </a:cubicBezTo>
                  <a:cubicBezTo>
                    <a:pt x="5951" y="0"/>
                    <a:pt x="5951" y="0"/>
                    <a:pt x="5951" y="0"/>
                  </a:cubicBezTo>
                  <a:cubicBezTo>
                    <a:pt x="8925" y="0"/>
                    <a:pt x="11900" y="2975"/>
                    <a:pt x="11900" y="5950"/>
                  </a:cubicBezTo>
                  <a:cubicBezTo>
                    <a:pt x="11900" y="44628"/>
                    <a:pt x="107107" y="684298"/>
                    <a:pt x="110083" y="690248"/>
                  </a:cubicBezTo>
                  <a:cubicBezTo>
                    <a:pt x="110083" y="693223"/>
                    <a:pt x="107107" y="696198"/>
                    <a:pt x="104132" y="696198"/>
                  </a:cubicBezTo>
                  <a:cubicBezTo>
                    <a:pt x="104132" y="696198"/>
                    <a:pt x="104132" y="696198"/>
                    <a:pt x="104132" y="696198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B0C2FC81-50E6-4E92-A343-EFCB6AA31889}"/>
                </a:ext>
              </a:extLst>
            </p:cNvPr>
            <p:cNvSpPr/>
            <p:nvPr/>
          </p:nvSpPr>
          <p:spPr>
            <a:xfrm>
              <a:off x="24513734" y="2971368"/>
              <a:ext cx="114380" cy="40909"/>
            </a:xfrm>
            <a:custGeom>
              <a:avLst/>
              <a:gdLst>
                <a:gd name="connsiteX0" fmla="*/ 35703 w 114380"/>
                <a:gd name="connsiteY0" fmla="*/ 40909 h 40909"/>
                <a:gd name="connsiteX1" fmla="*/ 2974 w 114380"/>
                <a:gd name="connsiteY1" fmla="*/ 34959 h 40909"/>
                <a:gd name="connsiteX2" fmla="*/ 0 w 114380"/>
                <a:gd name="connsiteY2" fmla="*/ 26033 h 40909"/>
                <a:gd name="connsiteX3" fmla="*/ 8925 w 114380"/>
                <a:gd name="connsiteY3" fmla="*/ 23058 h 40909"/>
                <a:gd name="connsiteX4" fmla="*/ 104132 w 114380"/>
                <a:gd name="connsiteY4" fmla="*/ 2231 h 40909"/>
                <a:gd name="connsiteX5" fmla="*/ 113057 w 114380"/>
                <a:gd name="connsiteY5" fmla="*/ 2231 h 40909"/>
                <a:gd name="connsiteX6" fmla="*/ 113057 w 114380"/>
                <a:gd name="connsiteY6" fmla="*/ 11157 h 40909"/>
                <a:gd name="connsiteX7" fmla="*/ 35703 w 114380"/>
                <a:gd name="connsiteY7" fmla="*/ 40909 h 4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380" h="40909">
                  <a:moveTo>
                    <a:pt x="35703" y="40909"/>
                  </a:moveTo>
                  <a:cubicBezTo>
                    <a:pt x="23801" y="40909"/>
                    <a:pt x="14876" y="37934"/>
                    <a:pt x="2974" y="34959"/>
                  </a:cubicBezTo>
                  <a:cubicBezTo>
                    <a:pt x="0" y="34959"/>
                    <a:pt x="0" y="29008"/>
                    <a:pt x="0" y="26033"/>
                  </a:cubicBezTo>
                  <a:cubicBezTo>
                    <a:pt x="0" y="23058"/>
                    <a:pt x="5951" y="23058"/>
                    <a:pt x="8925" y="23058"/>
                  </a:cubicBezTo>
                  <a:cubicBezTo>
                    <a:pt x="50579" y="43884"/>
                    <a:pt x="104132" y="2231"/>
                    <a:pt x="104132" y="2231"/>
                  </a:cubicBezTo>
                  <a:cubicBezTo>
                    <a:pt x="107107" y="-744"/>
                    <a:pt x="110083" y="-744"/>
                    <a:pt x="113057" y="2231"/>
                  </a:cubicBezTo>
                  <a:cubicBezTo>
                    <a:pt x="116034" y="5207"/>
                    <a:pt x="113057" y="8182"/>
                    <a:pt x="113057" y="11157"/>
                  </a:cubicBezTo>
                  <a:cubicBezTo>
                    <a:pt x="110083" y="14132"/>
                    <a:pt x="74380" y="40909"/>
                    <a:pt x="35703" y="40909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0BDF9F41-6831-4DCB-82E7-C9732CDE7B07}"/>
                </a:ext>
              </a:extLst>
            </p:cNvPr>
            <p:cNvSpPr/>
            <p:nvPr/>
          </p:nvSpPr>
          <p:spPr>
            <a:xfrm rot="-10800000">
              <a:off x="25676249" y="6813335"/>
              <a:ext cx="187438" cy="35702"/>
            </a:xfrm>
            <a:custGeom>
              <a:avLst/>
              <a:gdLst>
                <a:gd name="connsiteX0" fmla="*/ 0 w 187438"/>
                <a:gd name="connsiteY0" fmla="*/ 0 h 35702"/>
                <a:gd name="connsiteX1" fmla="*/ 187438 w 187438"/>
                <a:gd name="connsiteY1" fmla="*/ 0 h 35702"/>
                <a:gd name="connsiteX2" fmla="*/ 187438 w 187438"/>
                <a:gd name="connsiteY2" fmla="*/ 35702 h 35702"/>
                <a:gd name="connsiteX3" fmla="*/ 0 w 187438"/>
                <a:gd name="connsiteY3" fmla="*/ 35702 h 35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438" h="35702">
                  <a:moveTo>
                    <a:pt x="0" y="0"/>
                  </a:moveTo>
                  <a:lnTo>
                    <a:pt x="187438" y="0"/>
                  </a:lnTo>
                  <a:lnTo>
                    <a:pt x="187438" y="35702"/>
                  </a:lnTo>
                  <a:lnTo>
                    <a:pt x="0" y="35702"/>
                  </a:ln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3E00EE6A-434B-496B-9A55-752A482AB49C}"/>
                </a:ext>
              </a:extLst>
            </p:cNvPr>
            <p:cNvSpPr/>
            <p:nvPr/>
          </p:nvSpPr>
          <p:spPr>
            <a:xfrm>
              <a:off x="25674065" y="6749136"/>
              <a:ext cx="178512" cy="65454"/>
            </a:xfrm>
            <a:custGeom>
              <a:avLst/>
              <a:gdLst>
                <a:gd name="connsiteX0" fmla="*/ 0 w 178512"/>
                <a:gd name="connsiteY0" fmla="*/ 65454 h 65454"/>
                <a:gd name="connsiteX1" fmla="*/ 29752 w 178512"/>
                <a:gd name="connsiteY1" fmla="*/ 11901 h 65454"/>
                <a:gd name="connsiteX2" fmla="*/ 178512 w 178512"/>
                <a:gd name="connsiteY2" fmla="*/ 0 h 65454"/>
                <a:gd name="connsiteX3" fmla="*/ 178512 w 178512"/>
                <a:gd name="connsiteY3" fmla="*/ 65454 h 65454"/>
                <a:gd name="connsiteX4" fmla="*/ 0 w 178512"/>
                <a:gd name="connsiteY4" fmla="*/ 65454 h 65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512" h="65454">
                  <a:moveTo>
                    <a:pt x="0" y="65454"/>
                  </a:moveTo>
                  <a:cubicBezTo>
                    <a:pt x="0" y="65454"/>
                    <a:pt x="11902" y="17851"/>
                    <a:pt x="29752" y="11901"/>
                  </a:cubicBezTo>
                  <a:cubicBezTo>
                    <a:pt x="44628" y="5950"/>
                    <a:pt x="178512" y="0"/>
                    <a:pt x="178512" y="0"/>
                  </a:cubicBezTo>
                  <a:lnTo>
                    <a:pt x="178512" y="65454"/>
                  </a:lnTo>
                  <a:lnTo>
                    <a:pt x="0" y="65454"/>
                  </a:ln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446F249D-81E2-4B59-A504-556C3CCD5C22}"/>
                </a:ext>
              </a:extLst>
            </p:cNvPr>
            <p:cNvSpPr/>
            <p:nvPr/>
          </p:nvSpPr>
          <p:spPr>
            <a:xfrm>
              <a:off x="24687040" y="2568971"/>
              <a:ext cx="32103" cy="89256"/>
            </a:xfrm>
            <a:custGeom>
              <a:avLst/>
              <a:gdLst>
                <a:gd name="connsiteX0" fmla="*/ 5207 w 32103"/>
                <a:gd name="connsiteY0" fmla="*/ 89256 h 89256"/>
                <a:gd name="connsiteX1" fmla="*/ 2232 w 32103"/>
                <a:gd name="connsiteY1" fmla="*/ 89256 h 89256"/>
                <a:gd name="connsiteX2" fmla="*/ 2232 w 32103"/>
                <a:gd name="connsiteY2" fmla="*/ 80331 h 89256"/>
                <a:gd name="connsiteX3" fmla="*/ 20083 w 32103"/>
                <a:gd name="connsiteY3" fmla="*/ 5950 h 89256"/>
                <a:gd name="connsiteX4" fmla="*/ 26034 w 32103"/>
                <a:gd name="connsiteY4" fmla="*/ 0 h 89256"/>
                <a:gd name="connsiteX5" fmla="*/ 26034 w 32103"/>
                <a:gd name="connsiteY5" fmla="*/ 0 h 89256"/>
                <a:gd name="connsiteX6" fmla="*/ 31984 w 32103"/>
                <a:gd name="connsiteY6" fmla="*/ 5950 h 89256"/>
                <a:gd name="connsiteX7" fmla="*/ 11157 w 32103"/>
                <a:gd name="connsiteY7" fmla="*/ 89256 h 89256"/>
                <a:gd name="connsiteX8" fmla="*/ 5207 w 32103"/>
                <a:gd name="connsiteY8" fmla="*/ 89256 h 89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103" h="89256">
                  <a:moveTo>
                    <a:pt x="5207" y="89256"/>
                  </a:moveTo>
                  <a:cubicBezTo>
                    <a:pt x="5207" y="89256"/>
                    <a:pt x="2232" y="89256"/>
                    <a:pt x="2232" y="89256"/>
                  </a:cubicBezTo>
                  <a:cubicBezTo>
                    <a:pt x="-744" y="86281"/>
                    <a:pt x="-744" y="83306"/>
                    <a:pt x="2232" y="80331"/>
                  </a:cubicBezTo>
                  <a:cubicBezTo>
                    <a:pt x="23057" y="56529"/>
                    <a:pt x="20083" y="5950"/>
                    <a:pt x="20083" y="5950"/>
                  </a:cubicBezTo>
                  <a:cubicBezTo>
                    <a:pt x="20083" y="2975"/>
                    <a:pt x="23057" y="0"/>
                    <a:pt x="26034" y="0"/>
                  </a:cubicBezTo>
                  <a:cubicBezTo>
                    <a:pt x="26034" y="0"/>
                    <a:pt x="26034" y="0"/>
                    <a:pt x="26034" y="0"/>
                  </a:cubicBezTo>
                  <a:cubicBezTo>
                    <a:pt x="29008" y="0"/>
                    <a:pt x="31984" y="2975"/>
                    <a:pt x="31984" y="5950"/>
                  </a:cubicBezTo>
                  <a:cubicBezTo>
                    <a:pt x="31984" y="8926"/>
                    <a:pt x="34959" y="62479"/>
                    <a:pt x="11157" y="89256"/>
                  </a:cubicBezTo>
                  <a:cubicBezTo>
                    <a:pt x="8181" y="89256"/>
                    <a:pt x="5207" y="89256"/>
                    <a:pt x="5207" y="89256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101DCBB0-CA81-4780-A148-31E046BFF390}"/>
                </a:ext>
              </a:extLst>
            </p:cNvPr>
            <p:cNvSpPr/>
            <p:nvPr/>
          </p:nvSpPr>
          <p:spPr>
            <a:xfrm>
              <a:off x="24251916" y="2557070"/>
              <a:ext cx="160660" cy="139834"/>
            </a:xfrm>
            <a:custGeom>
              <a:avLst/>
              <a:gdLst>
                <a:gd name="connsiteX0" fmla="*/ 5951 w 160660"/>
                <a:gd name="connsiteY0" fmla="*/ 139835 h 139834"/>
                <a:gd name="connsiteX1" fmla="*/ 5951 w 160660"/>
                <a:gd name="connsiteY1" fmla="*/ 139835 h 139834"/>
                <a:gd name="connsiteX2" fmla="*/ 0 w 160660"/>
                <a:gd name="connsiteY2" fmla="*/ 130909 h 139834"/>
                <a:gd name="connsiteX3" fmla="*/ 154711 w 160660"/>
                <a:gd name="connsiteY3" fmla="*/ 0 h 139834"/>
                <a:gd name="connsiteX4" fmla="*/ 160660 w 160660"/>
                <a:gd name="connsiteY4" fmla="*/ 2975 h 139834"/>
                <a:gd name="connsiteX5" fmla="*/ 157686 w 160660"/>
                <a:gd name="connsiteY5" fmla="*/ 8926 h 139834"/>
                <a:gd name="connsiteX6" fmla="*/ 8925 w 160660"/>
                <a:gd name="connsiteY6" fmla="*/ 136860 h 139834"/>
                <a:gd name="connsiteX7" fmla="*/ 5951 w 160660"/>
                <a:gd name="connsiteY7" fmla="*/ 139835 h 13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60" h="139834">
                  <a:moveTo>
                    <a:pt x="5951" y="139835"/>
                  </a:moveTo>
                  <a:cubicBezTo>
                    <a:pt x="5951" y="139835"/>
                    <a:pt x="5951" y="139835"/>
                    <a:pt x="5951" y="139835"/>
                  </a:cubicBezTo>
                  <a:cubicBezTo>
                    <a:pt x="0" y="136860"/>
                    <a:pt x="0" y="133884"/>
                    <a:pt x="0" y="130909"/>
                  </a:cubicBezTo>
                  <a:cubicBezTo>
                    <a:pt x="47603" y="35703"/>
                    <a:pt x="151735" y="0"/>
                    <a:pt x="154711" y="0"/>
                  </a:cubicBezTo>
                  <a:cubicBezTo>
                    <a:pt x="157686" y="0"/>
                    <a:pt x="160660" y="0"/>
                    <a:pt x="160660" y="2975"/>
                  </a:cubicBezTo>
                  <a:cubicBezTo>
                    <a:pt x="160660" y="5950"/>
                    <a:pt x="160660" y="8926"/>
                    <a:pt x="157686" y="8926"/>
                  </a:cubicBezTo>
                  <a:cubicBezTo>
                    <a:pt x="157686" y="8926"/>
                    <a:pt x="53553" y="44628"/>
                    <a:pt x="8925" y="136860"/>
                  </a:cubicBezTo>
                  <a:cubicBezTo>
                    <a:pt x="8925" y="136860"/>
                    <a:pt x="8925" y="139835"/>
                    <a:pt x="5951" y="139835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1" name="图形 1">
              <a:extLst>
                <a:ext uri="{FF2B5EF4-FFF2-40B4-BE49-F238E27FC236}">
                  <a16:creationId xmlns:a16="http://schemas.microsoft.com/office/drawing/2014/main" id="{DBF49746-7BA5-47ED-A894-35C8B0358364}"/>
                </a:ext>
              </a:extLst>
            </p:cNvPr>
            <p:cNvGrpSpPr/>
            <p:nvPr/>
          </p:nvGrpSpPr>
          <p:grpSpPr>
            <a:xfrm>
              <a:off x="24445305" y="3458031"/>
              <a:ext cx="357396" cy="483551"/>
              <a:chOff x="24445305" y="3458031"/>
              <a:chExt cx="357396" cy="483551"/>
            </a:xfrm>
          </p:grpSpPr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E208893B-A256-4CE2-AC1E-E1A05EB25F6E}"/>
                  </a:ext>
                </a:extLst>
              </p:cNvPr>
              <p:cNvSpPr/>
              <p:nvPr/>
            </p:nvSpPr>
            <p:spPr>
              <a:xfrm>
                <a:off x="24469106" y="3472962"/>
                <a:ext cx="320493" cy="443586"/>
              </a:xfrm>
              <a:custGeom>
                <a:avLst/>
                <a:gdLst>
                  <a:gd name="connsiteX0" fmla="*/ 29752 w 320493"/>
                  <a:gd name="connsiteY0" fmla="*/ 354521 h 443586"/>
                  <a:gd name="connsiteX1" fmla="*/ 107107 w 320493"/>
                  <a:gd name="connsiteY1" fmla="*/ 330719 h 443586"/>
                  <a:gd name="connsiteX2" fmla="*/ 136859 w 320493"/>
                  <a:gd name="connsiteY2" fmla="*/ 372372 h 443586"/>
                  <a:gd name="connsiteX3" fmla="*/ 181487 w 320493"/>
                  <a:gd name="connsiteY3" fmla="*/ 381298 h 443586"/>
                  <a:gd name="connsiteX4" fmla="*/ 220166 w 320493"/>
                  <a:gd name="connsiteY4" fmla="*/ 354521 h 443586"/>
                  <a:gd name="connsiteX5" fmla="*/ 229091 w 320493"/>
                  <a:gd name="connsiteY5" fmla="*/ 297992 h 443586"/>
                  <a:gd name="connsiteX6" fmla="*/ 202314 w 320493"/>
                  <a:gd name="connsiteY6" fmla="*/ 250389 h 443586"/>
                  <a:gd name="connsiteX7" fmla="*/ 157686 w 320493"/>
                  <a:gd name="connsiteY7" fmla="*/ 238488 h 443586"/>
                  <a:gd name="connsiteX8" fmla="*/ 121983 w 320493"/>
                  <a:gd name="connsiteY8" fmla="*/ 250389 h 443586"/>
                  <a:gd name="connsiteX9" fmla="*/ 119008 w 320493"/>
                  <a:gd name="connsiteY9" fmla="*/ 181959 h 443586"/>
                  <a:gd name="connsiteX10" fmla="*/ 166611 w 320493"/>
                  <a:gd name="connsiteY10" fmla="*/ 158157 h 443586"/>
                  <a:gd name="connsiteX11" fmla="*/ 175538 w 320493"/>
                  <a:gd name="connsiteY11" fmla="*/ 113529 h 443586"/>
                  <a:gd name="connsiteX12" fmla="*/ 154711 w 320493"/>
                  <a:gd name="connsiteY12" fmla="*/ 80802 h 443586"/>
                  <a:gd name="connsiteX13" fmla="*/ 119008 w 320493"/>
                  <a:gd name="connsiteY13" fmla="*/ 74851 h 443586"/>
                  <a:gd name="connsiteX14" fmla="*/ 86282 w 320493"/>
                  <a:gd name="connsiteY14" fmla="*/ 95678 h 443586"/>
                  <a:gd name="connsiteX15" fmla="*/ 77355 w 320493"/>
                  <a:gd name="connsiteY15" fmla="*/ 143281 h 443586"/>
                  <a:gd name="connsiteX16" fmla="*/ 0 w 320493"/>
                  <a:gd name="connsiteY16" fmla="*/ 143281 h 443586"/>
                  <a:gd name="connsiteX17" fmla="*/ 11902 w 320493"/>
                  <a:gd name="connsiteY17" fmla="*/ 74851 h 443586"/>
                  <a:gd name="connsiteX18" fmla="*/ 50579 w 320493"/>
                  <a:gd name="connsiteY18" fmla="*/ 30223 h 443586"/>
                  <a:gd name="connsiteX19" fmla="*/ 113057 w 320493"/>
                  <a:gd name="connsiteY19" fmla="*/ 3446 h 443586"/>
                  <a:gd name="connsiteX20" fmla="*/ 217190 w 320493"/>
                  <a:gd name="connsiteY20" fmla="*/ 24273 h 443586"/>
                  <a:gd name="connsiteX21" fmla="*/ 261818 w 320493"/>
                  <a:gd name="connsiteY21" fmla="*/ 89727 h 443586"/>
                  <a:gd name="connsiteX22" fmla="*/ 217190 w 320493"/>
                  <a:gd name="connsiteY22" fmla="*/ 190884 h 443586"/>
                  <a:gd name="connsiteX23" fmla="*/ 282645 w 320493"/>
                  <a:gd name="connsiteY23" fmla="*/ 214686 h 443586"/>
                  <a:gd name="connsiteX24" fmla="*/ 318347 w 320493"/>
                  <a:gd name="connsiteY24" fmla="*/ 277165 h 443586"/>
                  <a:gd name="connsiteX25" fmla="*/ 294546 w 320493"/>
                  <a:gd name="connsiteY25" fmla="*/ 381298 h 443586"/>
                  <a:gd name="connsiteX26" fmla="*/ 199339 w 320493"/>
                  <a:gd name="connsiteY26" fmla="*/ 440802 h 443586"/>
                  <a:gd name="connsiteX27" fmla="*/ 95207 w 320493"/>
                  <a:gd name="connsiteY27" fmla="*/ 425926 h 443586"/>
                  <a:gd name="connsiteX28" fmla="*/ 29752 w 320493"/>
                  <a:gd name="connsiteY28" fmla="*/ 354521 h 443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20493" h="443586">
                    <a:moveTo>
                      <a:pt x="29752" y="354521"/>
                    </a:moveTo>
                    <a:lnTo>
                      <a:pt x="107107" y="330719"/>
                    </a:lnTo>
                    <a:cubicBezTo>
                      <a:pt x="113057" y="351546"/>
                      <a:pt x="121983" y="366422"/>
                      <a:pt x="136859" y="372372"/>
                    </a:cubicBezTo>
                    <a:cubicBezTo>
                      <a:pt x="148760" y="381298"/>
                      <a:pt x="163636" y="384273"/>
                      <a:pt x="181487" y="381298"/>
                    </a:cubicBezTo>
                    <a:cubicBezTo>
                      <a:pt x="199339" y="378323"/>
                      <a:pt x="211239" y="369397"/>
                      <a:pt x="220166" y="354521"/>
                    </a:cubicBezTo>
                    <a:cubicBezTo>
                      <a:pt x="229091" y="339645"/>
                      <a:pt x="232066" y="321794"/>
                      <a:pt x="229091" y="297992"/>
                    </a:cubicBezTo>
                    <a:cubicBezTo>
                      <a:pt x="226115" y="277165"/>
                      <a:pt x="217190" y="262289"/>
                      <a:pt x="202314" y="250389"/>
                    </a:cubicBezTo>
                    <a:cubicBezTo>
                      <a:pt x="187438" y="241463"/>
                      <a:pt x="172562" y="235513"/>
                      <a:pt x="157686" y="238488"/>
                    </a:cubicBezTo>
                    <a:cubicBezTo>
                      <a:pt x="145786" y="241463"/>
                      <a:pt x="133884" y="244438"/>
                      <a:pt x="121983" y="250389"/>
                    </a:cubicBezTo>
                    <a:lnTo>
                      <a:pt x="119008" y="181959"/>
                    </a:lnTo>
                    <a:cubicBezTo>
                      <a:pt x="142810" y="178984"/>
                      <a:pt x="157686" y="170058"/>
                      <a:pt x="166611" y="158157"/>
                    </a:cubicBezTo>
                    <a:cubicBezTo>
                      <a:pt x="175538" y="146256"/>
                      <a:pt x="178512" y="131380"/>
                      <a:pt x="175538" y="113529"/>
                    </a:cubicBezTo>
                    <a:cubicBezTo>
                      <a:pt x="172562" y="98653"/>
                      <a:pt x="166611" y="86752"/>
                      <a:pt x="154711" y="80802"/>
                    </a:cubicBezTo>
                    <a:cubicBezTo>
                      <a:pt x="145786" y="74851"/>
                      <a:pt x="130910" y="71876"/>
                      <a:pt x="119008" y="74851"/>
                    </a:cubicBezTo>
                    <a:cubicBezTo>
                      <a:pt x="104132" y="77827"/>
                      <a:pt x="92231" y="83777"/>
                      <a:pt x="86282" y="95678"/>
                    </a:cubicBezTo>
                    <a:cubicBezTo>
                      <a:pt x="77355" y="107579"/>
                      <a:pt x="74380" y="122455"/>
                      <a:pt x="77355" y="143281"/>
                    </a:cubicBezTo>
                    <a:lnTo>
                      <a:pt x="0" y="143281"/>
                    </a:lnTo>
                    <a:cubicBezTo>
                      <a:pt x="0" y="116504"/>
                      <a:pt x="5951" y="92703"/>
                      <a:pt x="11902" y="74851"/>
                    </a:cubicBezTo>
                    <a:cubicBezTo>
                      <a:pt x="20827" y="57000"/>
                      <a:pt x="32727" y="42124"/>
                      <a:pt x="50579" y="30223"/>
                    </a:cubicBezTo>
                    <a:cubicBezTo>
                      <a:pt x="68429" y="18322"/>
                      <a:pt x="89256" y="9397"/>
                      <a:pt x="113057" y="3446"/>
                    </a:cubicBezTo>
                    <a:cubicBezTo>
                      <a:pt x="154711" y="-5479"/>
                      <a:pt x="187438" y="3446"/>
                      <a:pt x="217190" y="24273"/>
                    </a:cubicBezTo>
                    <a:cubicBezTo>
                      <a:pt x="240991" y="42124"/>
                      <a:pt x="255867" y="62951"/>
                      <a:pt x="261818" y="89727"/>
                    </a:cubicBezTo>
                    <a:cubicBezTo>
                      <a:pt x="267769" y="128405"/>
                      <a:pt x="252893" y="161132"/>
                      <a:pt x="217190" y="190884"/>
                    </a:cubicBezTo>
                    <a:cubicBezTo>
                      <a:pt x="243967" y="190884"/>
                      <a:pt x="264794" y="199810"/>
                      <a:pt x="282645" y="214686"/>
                    </a:cubicBezTo>
                    <a:cubicBezTo>
                      <a:pt x="300495" y="229562"/>
                      <a:pt x="312397" y="250389"/>
                      <a:pt x="318347" y="277165"/>
                    </a:cubicBezTo>
                    <a:cubicBezTo>
                      <a:pt x="324298" y="315843"/>
                      <a:pt x="318347" y="348570"/>
                      <a:pt x="294546" y="381298"/>
                    </a:cubicBezTo>
                    <a:cubicBezTo>
                      <a:pt x="270743" y="414025"/>
                      <a:pt x="240991" y="431876"/>
                      <a:pt x="199339" y="440802"/>
                    </a:cubicBezTo>
                    <a:cubicBezTo>
                      <a:pt x="160662" y="446752"/>
                      <a:pt x="124959" y="443777"/>
                      <a:pt x="95207" y="425926"/>
                    </a:cubicBezTo>
                    <a:cubicBezTo>
                      <a:pt x="62479" y="417000"/>
                      <a:pt x="41654" y="390223"/>
                      <a:pt x="29752" y="3545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E892693D-F058-4C0E-A899-ECBFCC00D668}"/>
                  </a:ext>
                </a:extLst>
              </p:cNvPr>
              <p:cNvSpPr/>
              <p:nvPr/>
            </p:nvSpPr>
            <p:spPr>
              <a:xfrm>
                <a:off x="24445305" y="3458031"/>
                <a:ext cx="357396" cy="483551"/>
              </a:xfrm>
              <a:custGeom>
                <a:avLst/>
                <a:gdLst>
                  <a:gd name="connsiteX0" fmla="*/ 133884 w 357396"/>
                  <a:gd name="connsiteY0" fmla="*/ 24328 h 483551"/>
                  <a:gd name="connsiteX1" fmla="*/ 238017 w 357396"/>
                  <a:gd name="connsiteY1" fmla="*/ 45154 h 483551"/>
                  <a:gd name="connsiteX2" fmla="*/ 282645 w 357396"/>
                  <a:gd name="connsiteY2" fmla="*/ 110609 h 483551"/>
                  <a:gd name="connsiteX3" fmla="*/ 238017 w 357396"/>
                  <a:gd name="connsiteY3" fmla="*/ 211766 h 483551"/>
                  <a:gd name="connsiteX4" fmla="*/ 303471 w 357396"/>
                  <a:gd name="connsiteY4" fmla="*/ 235568 h 483551"/>
                  <a:gd name="connsiteX5" fmla="*/ 339172 w 357396"/>
                  <a:gd name="connsiteY5" fmla="*/ 298047 h 483551"/>
                  <a:gd name="connsiteX6" fmla="*/ 315371 w 357396"/>
                  <a:gd name="connsiteY6" fmla="*/ 402179 h 483551"/>
                  <a:gd name="connsiteX7" fmla="*/ 220164 w 357396"/>
                  <a:gd name="connsiteY7" fmla="*/ 461683 h 483551"/>
                  <a:gd name="connsiteX8" fmla="*/ 116032 w 357396"/>
                  <a:gd name="connsiteY8" fmla="*/ 446807 h 483551"/>
                  <a:gd name="connsiteX9" fmla="*/ 53553 w 357396"/>
                  <a:gd name="connsiteY9" fmla="*/ 366477 h 483551"/>
                  <a:gd name="connsiteX10" fmla="*/ 130908 w 357396"/>
                  <a:gd name="connsiteY10" fmla="*/ 342675 h 483551"/>
                  <a:gd name="connsiteX11" fmla="*/ 160660 w 357396"/>
                  <a:gd name="connsiteY11" fmla="*/ 384328 h 483551"/>
                  <a:gd name="connsiteX12" fmla="*/ 205288 w 357396"/>
                  <a:gd name="connsiteY12" fmla="*/ 393254 h 483551"/>
                  <a:gd name="connsiteX13" fmla="*/ 243967 w 357396"/>
                  <a:gd name="connsiteY13" fmla="*/ 366477 h 483551"/>
                  <a:gd name="connsiteX14" fmla="*/ 252893 w 357396"/>
                  <a:gd name="connsiteY14" fmla="*/ 309948 h 483551"/>
                  <a:gd name="connsiteX15" fmla="*/ 226115 w 357396"/>
                  <a:gd name="connsiteY15" fmla="*/ 262345 h 483551"/>
                  <a:gd name="connsiteX16" fmla="*/ 181487 w 357396"/>
                  <a:gd name="connsiteY16" fmla="*/ 250444 h 483551"/>
                  <a:gd name="connsiteX17" fmla="*/ 145784 w 357396"/>
                  <a:gd name="connsiteY17" fmla="*/ 262345 h 483551"/>
                  <a:gd name="connsiteX18" fmla="*/ 142810 w 357396"/>
                  <a:gd name="connsiteY18" fmla="*/ 193915 h 483551"/>
                  <a:gd name="connsiteX19" fmla="*/ 145784 w 357396"/>
                  <a:gd name="connsiteY19" fmla="*/ 193915 h 483551"/>
                  <a:gd name="connsiteX20" fmla="*/ 190412 w 357396"/>
                  <a:gd name="connsiteY20" fmla="*/ 170113 h 483551"/>
                  <a:gd name="connsiteX21" fmla="*/ 199339 w 357396"/>
                  <a:gd name="connsiteY21" fmla="*/ 125485 h 483551"/>
                  <a:gd name="connsiteX22" fmla="*/ 178512 w 357396"/>
                  <a:gd name="connsiteY22" fmla="*/ 92758 h 483551"/>
                  <a:gd name="connsiteX23" fmla="*/ 142810 w 357396"/>
                  <a:gd name="connsiteY23" fmla="*/ 86807 h 483551"/>
                  <a:gd name="connsiteX24" fmla="*/ 110083 w 357396"/>
                  <a:gd name="connsiteY24" fmla="*/ 107634 h 483551"/>
                  <a:gd name="connsiteX25" fmla="*/ 101156 w 357396"/>
                  <a:gd name="connsiteY25" fmla="*/ 155237 h 483551"/>
                  <a:gd name="connsiteX26" fmla="*/ 23801 w 357396"/>
                  <a:gd name="connsiteY26" fmla="*/ 155237 h 483551"/>
                  <a:gd name="connsiteX27" fmla="*/ 35703 w 357396"/>
                  <a:gd name="connsiteY27" fmla="*/ 86807 h 483551"/>
                  <a:gd name="connsiteX28" fmla="*/ 74380 w 357396"/>
                  <a:gd name="connsiteY28" fmla="*/ 42179 h 483551"/>
                  <a:gd name="connsiteX29" fmla="*/ 133884 w 357396"/>
                  <a:gd name="connsiteY29" fmla="*/ 24328 h 483551"/>
                  <a:gd name="connsiteX30" fmla="*/ 133884 w 357396"/>
                  <a:gd name="connsiteY30" fmla="*/ 24328 h 483551"/>
                  <a:gd name="connsiteX31" fmla="*/ 130908 w 357396"/>
                  <a:gd name="connsiteY31" fmla="*/ 3502 h 483551"/>
                  <a:gd name="connsiteX32" fmla="*/ 59504 w 357396"/>
                  <a:gd name="connsiteY32" fmla="*/ 33254 h 483551"/>
                  <a:gd name="connsiteX33" fmla="*/ 14876 w 357396"/>
                  <a:gd name="connsiteY33" fmla="*/ 86807 h 483551"/>
                  <a:gd name="connsiteX34" fmla="*/ 0 w 357396"/>
                  <a:gd name="connsiteY34" fmla="*/ 161187 h 483551"/>
                  <a:gd name="connsiteX35" fmla="*/ 5951 w 357396"/>
                  <a:gd name="connsiteY35" fmla="*/ 176064 h 483551"/>
                  <a:gd name="connsiteX36" fmla="*/ 20827 w 357396"/>
                  <a:gd name="connsiteY36" fmla="*/ 182014 h 483551"/>
                  <a:gd name="connsiteX37" fmla="*/ 98181 w 357396"/>
                  <a:gd name="connsiteY37" fmla="*/ 182014 h 483551"/>
                  <a:gd name="connsiteX38" fmla="*/ 101156 w 357396"/>
                  <a:gd name="connsiteY38" fmla="*/ 182014 h 483551"/>
                  <a:gd name="connsiteX39" fmla="*/ 113057 w 357396"/>
                  <a:gd name="connsiteY39" fmla="*/ 176064 h 483551"/>
                  <a:gd name="connsiteX40" fmla="*/ 119008 w 357396"/>
                  <a:gd name="connsiteY40" fmla="*/ 161187 h 483551"/>
                  <a:gd name="connsiteX41" fmla="*/ 124959 w 357396"/>
                  <a:gd name="connsiteY41" fmla="*/ 128460 h 483551"/>
                  <a:gd name="connsiteX42" fmla="*/ 145784 w 357396"/>
                  <a:gd name="connsiteY42" fmla="*/ 116559 h 483551"/>
                  <a:gd name="connsiteX43" fmla="*/ 166611 w 357396"/>
                  <a:gd name="connsiteY43" fmla="*/ 119535 h 483551"/>
                  <a:gd name="connsiteX44" fmla="*/ 178512 w 357396"/>
                  <a:gd name="connsiteY44" fmla="*/ 137386 h 483551"/>
                  <a:gd name="connsiteX45" fmla="*/ 172562 w 357396"/>
                  <a:gd name="connsiteY45" fmla="*/ 164163 h 483551"/>
                  <a:gd name="connsiteX46" fmla="*/ 139835 w 357396"/>
                  <a:gd name="connsiteY46" fmla="*/ 179039 h 483551"/>
                  <a:gd name="connsiteX47" fmla="*/ 136859 w 357396"/>
                  <a:gd name="connsiteY47" fmla="*/ 179039 h 483551"/>
                  <a:gd name="connsiteX48" fmla="*/ 136859 w 357396"/>
                  <a:gd name="connsiteY48" fmla="*/ 179039 h 483551"/>
                  <a:gd name="connsiteX49" fmla="*/ 119008 w 357396"/>
                  <a:gd name="connsiteY49" fmla="*/ 199865 h 483551"/>
                  <a:gd name="connsiteX50" fmla="*/ 121983 w 357396"/>
                  <a:gd name="connsiteY50" fmla="*/ 268295 h 483551"/>
                  <a:gd name="connsiteX51" fmla="*/ 130908 w 357396"/>
                  <a:gd name="connsiteY51" fmla="*/ 286146 h 483551"/>
                  <a:gd name="connsiteX52" fmla="*/ 145784 w 357396"/>
                  <a:gd name="connsiteY52" fmla="*/ 289121 h 483551"/>
                  <a:gd name="connsiteX53" fmla="*/ 151735 w 357396"/>
                  <a:gd name="connsiteY53" fmla="*/ 286146 h 483551"/>
                  <a:gd name="connsiteX54" fmla="*/ 184463 w 357396"/>
                  <a:gd name="connsiteY54" fmla="*/ 274245 h 483551"/>
                  <a:gd name="connsiteX55" fmla="*/ 211239 w 357396"/>
                  <a:gd name="connsiteY55" fmla="*/ 280196 h 483551"/>
                  <a:gd name="connsiteX56" fmla="*/ 229091 w 357396"/>
                  <a:gd name="connsiteY56" fmla="*/ 312923 h 483551"/>
                  <a:gd name="connsiteX57" fmla="*/ 223141 w 357396"/>
                  <a:gd name="connsiteY57" fmla="*/ 354576 h 483551"/>
                  <a:gd name="connsiteX58" fmla="*/ 196363 w 357396"/>
                  <a:gd name="connsiteY58" fmla="*/ 372427 h 483551"/>
                  <a:gd name="connsiteX59" fmla="*/ 166611 w 357396"/>
                  <a:gd name="connsiteY59" fmla="*/ 366477 h 483551"/>
                  <a:gd name="connsiteX60" fmla="*/ 145784 w 357396"/>
                  <a:gd name="connsiteY60" fmla="*/ 333750 h 483551"/>
                  <a:gd name="connsiteX61" fmla="*/ 121983 w 357396"/>
                  <a:gd name="connsiteY61" fmla="*/ 318874 h 483551"/>
                  <a:gd name="connsiteX62" fmla="*/ 119008 w 357396"/>
                  <a:gd name="connsiteY62" fmla="*/ 318874 h 483551"/>
                  <a:gd name="connsiteX63" fmla="*/ 41652 w 357396"/>
                  <a:gd name="connsiteY63" fmla="*/ 342675 h 483551"/>
                  <a:gd name="connsiteX64" fmla="*/ 26776 w 357396"/>
                  <a:gd name="connsiteY64" fmla="*/ 369452 h 483551"/>
                  <a:gd name="connsiteX65" fmla="*/ 98181 w 357396"/>
                  <a:gd name="connsiteY65" fmla="*/ 461683 h 483551"/>
                  <a:gd name="connsiteX66" fmla="*/ 217190 w 357396"/>
                  <a:gd name="connsiteY66" fmla="*/ 479535 h 483551"/>
                  <a:gd name="connsiteX67" fmla="*/ 327273 w 357396"/>
                  <a:gd name="connsiteY67" fmla="*/ 411105 h 483551"/>
                  <a:gd name="connsiteX68" fmla="*/ 354049 w 357396"/>
                  <a:gd name="connsiteY68" fmla="*/ 289121 h 483551"/>
                  <a:gd name="connsiteX69" fmla="*/ 312397 w 357396"/>
                  <a:gd name="connsiteY69" fmla="*/ 214741 h 483551"/>
                  <a:gd name="connsiteX70" fmla="*/ 273719 w 357396"/>
                  <a:gd name="connsiteY70" fmla="*/ 193915 h 483551"/>
                  <a:gd name="connsiteX71" fmla="*/ 297521 w 357396"/>
                  <a:gd name="connsiteY71" fmla="*/ 101683 h 483551"/>
                  <a:gd name="connsiteX72" fmla="*/ 246942 w 357396"/>
                  <a:gd name="connsiteY72" fmla="*/ 21353 h 483551"/>
                  <a:gd name="connsiteX73" fmla="*/ 130908 w 357396"/>
                  <a:gd name="connsiteY73" fmla="*/ 3502 h 483551"/>
                  <a:gd name="connsiteX74" fmla="*/ 130908 w 357396"/>
                  <a:gd name="connsiteY74" fmla="*/ 3502 h 483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357396" h="483551">
                    <a:moveTo>
                      <a:pt x="133884" y="24328"/>
                    </a:moveTo>
                    <a:cubicBezTo>
                      <a:pt x="175536" y="15402"/>
                      <a:pt x="208264" y="24328"/>
                      <a:pt x="238017" y="45154"/>
                    </a:cubicBezTo>
                    <a:cubicBezTo>
                      <a:pt x="261818" y="63006"/>
                      <a:pt x="276694" y="83832"/>
                      <a:pt x="282645" y="110609"/>
                    </a:cubicBezTo>
                    <a:cubicBezTo>
                      <a:pt x="288595" y="149287"/>
                      <a:pt x="273719" y="182014"/>
                      <a:pt x="238017" y="211766"/>
                    </a:cubicBezTo>
                    <a:cubicBezTo>
                      <a:pt x="264792" y="211766"/>
                      <a:pt x="285619" y="220692"/>
                      <a:pt x="303471" y="235568"/>
                    </a:cubicBezTo>
                    <a:cubicBezTo>
                      <a:pt x="321322" y="250444"/>
                      <a:pt x="333224" y="271270"/>
                      <a:pt x="339172" y="298047"/>
                    </a:cubicBezTo>
                    <a:cubicBezTo>
                      <a:pt x="345123" y="336725"/>
                      <a:pt x="339172" y="369452"/>
                      <a:pt x="315371" y="402179"/>
                    </a:cubicBezTo>
                    <a:cubicBezTo>
                      <a:pt x="291570" y="434906"/>
                      <a:pt x="261818" y="452758"/>
                      <a:pt x="220164" y="461683"/>
                    </a:cubicBezTo>
                    <a:cubicBezTo>
                      <a:pt x="181487" y="467634"/>
                      <a:pt x="145784" y="464658"/>
                      <a:pt x="116032" y="446807"/>
                    </a:cubicBezTo>
                    <a:cubicBezTo>
                      <a:pt x="86280" y="428956"/>
                      <a:pt x="65455" y="402179"/>
                      <a:pt x="53553" y="366477"/>
                    </a:cubicBezTo>
                    <a:lnTo>
                      <a:pt x="130908" y="342675"/>
                    </a:lnTo>
                    <a:cubicBezTo>
                      <a:pt x="136859" y="363502"/>
                      <a:pt x="145784" y="378378"/>
                      <a:pt x="160660" y="384328"/>
                    </a:cubicBezTo>
                    <a:cubicBezTo>
                      <a:pt x="172562" y="393254"/>
                      <a:pt x="187438" y="396229"/>
                      <a:pt x="205288" y="393254"/>
                    </a:cubicBezTo>
                    <a:cubicBezTo>
                      <a:pt x="223141" y="390278"/>
                      <a:pt x="235040" y="381353"/>
                      <a:pt x="243967" y="366477"/>
                    </a:cubicBezTo>
                    <a:cubicBezTo>
                      <a:pt x="252893" y="351601"/>
                      <a:pt x="255867" y="333750"/>
                      <a:pt x="252893" y="309948"/>
                    </a:cubicBezTo>
                    <a:cubicBezTo>
                      <a:pt x="249916" y="289121"/>
                      <a:pt x="240991" y="274245"/>
                      <a:pt x="226115" y="262345"/>
                    </a:cubicBezTo>
                    <a:cubicBezTo>
                      <a:pt x="211239" y="253419"/>
                      <a:pt x="196363" y="247469"/>
                      <a:pt x="181487" y="250444"/>
                    </a:cubicBezTo>
                    <a:cubicBezTo>
                      <a:pt x="169587" y="253419"/>
                      <a:pt x="157686" y="256394"/>
                      <a:pt x="145784" y="262345"/>
                    </a:cubicBezTo>
                    <a:lnTo>
                      <a:pt x="142810" y="193915"/>
                    </a:lnTo>
                    <a:cubicBezTo>
                      <a:pt x="142810" y="193915"/>
                      <a:pt x="145784" y="193915"/>
                      <a:pt x="145784" y="193915"/>
                    </a:cubicBezTo>
                    <a:cubicBezTo>
                      <a:pt x="166611" y="190940"/>
                      <a:pt x="181487" y="182014"/>
                      <a:pt x="190412" y="170113"/>
                    </a:cubicBezTo>
                    <a:cubicBezTo>
                      <a:pt x="199339" y="158212"/>
                      <a:pt x="202314" y="143336"/>
                      <a:pt x="199339" y="125485"/>
                    </a:cubicBezTo>
                    <a:cubicBezTo>
                      <a:pt x="196363" y="110609"/>
                      <a:pt x="190412" y="98708"/>
                      <a:pt x="178512" y="92758"/>
                    </a:cubicBezTo>
                    <a:cubicBezTo>
                      <a:pt x="169587" y="86807"/>
                      <a:pt x="154711" y="83832"/>
                      <a:pt x="142810" y="86807"/>
                    </a:cubicBezTo>
                    <a:cubicBezTo>
                      <a:pt x="127934" y="89782"/>
                      <a:pt x="116032" y="95733"/>
                      <a:pt x="110083" y="107634"/>
                    </a:cubicBezTo>
                    <a:cubicBezTo>
                      <a:pt x="101156" y="119535"/>
                      <a:pt x="98181" y="134411"/>
                      <a:pt x="101156" y="155237"/>
                    </a:cubicBezTo>
                    <a:lnTo>
                      <a:pt x="23801" y="155237"/>
                    </a:lnTo>
                    <a:cubicBezTo>
                      <a:pt x="23801" y="128460"/>
                      <a:pt x="29752" y="104659"/>
                      <a:pt x="35703" y="86807"/>
                    </a:cubicBezTo>
                    <a:cubicBezTo>
                      <a:pt x="44628" y="68956"/>
                      <a:pt x="56528" y="54080"/>
                      <a:pt x="74380" y="42179"/>
                    </a:cubicBezTo>
                    <a:cubicBezTo>
                      <a:pt x="89256" y="36229"/>
                      <a:pt x="110083" y="27303"/>
                      <a:pt x="133884" y="24328"/>
                    </a:cubicBezTo>
                    <a:lnTo>
                      <a:pt x="133884" y="24328"/>
                    </a:lnTo>
                    <a:close/>
                    <a:moveTo>
                      <a:pt x="130908" y="3502"/>
                    </a:moveTo>
                    <a:cubicBezTo>
                      <a:pt x="104132" y="9452"/>
                      <a:pt x="80331" y="18378"/>
                      <a:pt x="59504" y="33254"/>
                    </a:cubicBezTo>
                    <a:cubicBezTo>
                      <a:pt x="38677" y="48130"/>
                      <a:pt x="23801" y="65981"/>
                      <a:pt x="14876" y="86807"/>
                    </a:cubicBezTo>
                    <a:cubicBezTo>
                      <a:pt x="5951" y="107634"/>
                      <a:pt x="0" y="131435"/>
                      <a:pt x="0" y="161187"/>
                    </a:cubicBezTo>
                    <a:cubicBezTo>
                      <a:pt x="0" y="167138"/>
                      <a:pt x="2974" y="173088"/>
                      <a:pt x="5951" y="176064"/>
                    </a:cubicBezTo>
                    <a:cubicBezTo>
                      <a:pt x="8925" y="179039"/>
                      <a:pt x="14876" y="182014"/>
                      <a:pt x="20827" y="182014"/>
                    </a:cubicBezTo>
                    <a:lnTo>
                      <a:pt x="98181" y="182014"/>
                    </a:lnTo>
                    <a:cubicBezTo>
                      <a:pt x="98181" y="182014"/>
                      <a:pt x="101156" y="182014"/>
                      <a:pt x="101156" y="182014"/>
                    </a:cubicBezTo>
                    <a:cubicBezTo>
                      <a:pt x="104132" y="182014"/>
                      <a:pt x="110083" y="179039"/>
                      <a:pt x="113057" y="176064"/>
                    </a:cubicBezTo>
                    <a:cubicBezTo>
                      <a:pt x="116032" y="173088"/>
                      <a:pt x="119008" y="167138"/>
                      <a:pt x="119008" y="161187"/>
                    </a:cubicBezTo>
                    <a:cubicBezTo>
                      <a:pt x="119008" y="146311"/>
                      <a:pt x="119008" y="134411"/>
                      <a:pt x="124959" y="128460"/>
                    </a:cubicBezTo>
                    <a:cubicBezTo>
                      <a:pt x="130908" y="122510"/>
                      <a:pt x="136859" y="116559"/>
                      <a:pt x="145784" y="116559"/>
                    </a:cubicBezTo>
                    <a:cubicBezTo>
                      <a:pt x="157686" y="113584"/>
                      <a:pt x="163636" y="116559"/>
                      <a:pt x="166611" y="119535"/>
                    </a:cubicBezTo>
                    <a:cubicBezTo>
                      <a:pt x="169587" y="122510"/>
                      <a:pt x="175536" y="125485"/>
                      <a:pt x="178512" y="137386"/>
                    </a:cubicBezTo>
                    <a:cubicBezTo>
                      <a:pt x="181487" y="149287"/>
                      <a:pt x="178512" y="158212"/>
                      <a:pt x="172562" y="164163"/>
                    </a:cubicBezTo>
                    <a:cubicBezTo>
                      <a:pt x="166611" y="173088"/>
                      <a:pt x="154711" y="176064"/>
                      <a:pt x="139835" y="179039"/>
                    </a:cubicBezTo>
                    <a:lnTo>
                      <a:pt x="136859" y="179039"/>
                    </a:lnTo>
                    <a:cubicBezTo>
                      <a:pt x="136859" y="179039"/>
                      <a:pt x="136859" y="179039"/>
                      <a:pt x="136859" y="179039"/>
                    </a:cubicBezTo>
                    <a:cubicBezTo>
                      <a:pt x="127934" y="182014"/>
                      <a:pt x="119008" y="190940"/>
                      <a:pt x="119008" y="199865"/>
                    </a:cubicBezTo>
                    <a:lnTo>
                      <a:pt x="121983" y="268295"/>
                    </a:lnTo>
                    <a:cubicBezTo>
                      <a:pt x="121983" y="274245"/>
                      <a:pt x="124959" y="280196"/>
                      <a:pt x="130908" y="286146"/>
                    </a:cubicBezTo>
                    <a:cubicBezTo>
                      <a:pt x="133884" y="289121"/>
                      <a:pt x="139835" y="289121"/>
                      <a:pt x="145784" y="289121"/>
                    </a:cubicBezTo>
                    <a:cubicBezTo>
                      <a:pt x="148760" y="289121"/>
                      <a:pt x="148760" y="289121"/>
                      <a:pt x="151735" y="286146"/>
                    </a:cubicBezTo>
                    <a:cubicBezTo>
                      <a:pt x="163636" y="280196"/>
                      <a:pt x="175536" y="277221"/>
                      <a:pt x="184463" y="274245"/>
                    </a:cubicBezTo>
                    <a:cubicBezTo>
                      <a:pt x="193388" y="271270"/>
                      <a:pt x="205288" y="274245"/>
                      <a:pt x="211239" y="280196"/>
                    </a:cubicBezTo>
                    <a:cubicBezTo>
                      <a:pt x="220164" y="286146"/>
                      <a:pt x="226115" y="298047"/>
                      <a:pt x="229091" y="312923"/>
                    </a:cubicBezTo>
                    <a:cubicBezTo>
                      <a:pt x="232066" y="330774"/>
                      <a:pt x="229091" y="342675"/>
                      <a:pt x="223141" y="354576"/>
                    </a:cubicBezTo>
                    <a:cubicBezTo>
                      <a:pt x="217190" y="363502"/>
                      <a:pt x="208264" y="369452"/>
                      <a:pt x="196363" y="372427"/>
                    </a:cubicBezTo>
                    <a:cubicBezTo>
                      <a:pt x="184463" y="375402"/>
                      <a:pt x="175536" y="372427"/>
                      <a:pt x="166611" y="366477"/>
                    </a:cubicBezTo>
                    <a:cubicBezTo>
                      <a:pt x="157686" y="360526"/>
                      <a:pt x="151735" y="348626"/>
                      <a:pt x="145784" y="333750"/>
                    </a:cubicBezTo>
                    <a:cubicBezTo>
                      <a:pt x="142810" y="324824"/>
                      <a:pt x="130908" y="318874"/>
                      <a:pt x="121983" y="318874"/>
                    </a:cubicBezTo>
                    <a:cubicBezTo>
                      <a:pt x="121983" y="318874"/>
                      <a:pt x="119008" y="318874"/>
                      <a:pt x="119008" y="318874"/>
                    </a:cubicBezTo>
                    <a:lnTo>
                      <a:pt x="41652" y="342675"/>
                    </a:lnTo>
                    <a:cubicBezTo>
                      <a:pt x="29752" y="345650"/>
                      <a:pt x="23801" y="357551"/>
                      <a:pt x="26776" y="369452"/>
                    </a:cubicBezTo>
                    <a:cubicBezTo>
                      <a:pt x="38677" y="411105"/>
                      <a:pt x="62479" y="440857"/>
                      <a:pt x="98181" y="461683"/>
                    </a:cubicBezTo>
                    <a:cubicBezTo>
                      <a:pt x="133884" y="482510"/>
                      <a:pt x="172562" y="488460"/>
                      <a:pt x="217190" y="479535"/>
                    </a:cubicBezTo>
                    <a:cubicBezTo>
                      <a:pt x="264792" y="470609"/>
                      <a:pt x="300495" y="446807"/>
                      <a:pt x="327273" y="411105"/>
                    </a:cubicBezTo>
                    <a:cubicBezTo>
                      <a:pt x="354049" y="375402"/>
                      <a:pt x="362976" y="333750"/>
                      <a:pt x="354049" y="289121"/>
                    </a:cubicBezTo>
                    <a:cubicBezTo>
                      <a:pt x="348100" y="259369"/>
                      <a:pt x="333224" y="232592"/>
                      <a:pt x="312397" y="214741"/>
                    </a:cubicBezTo>
                    <a:cubicBezTo>
                      <a:pt x="300495" y="205816"/>
                      <a:pt x="288595" y="196890"/>
                      <a:pt x="273719" y="193915"/>
                    </a:cubicBezTo>
                    <a:cubicBezTo>
                      <a:pt x="294544" y="167138"/>
                      <a:pt x="303471" y="134411"/>
                      <a:pt x="297521" y="101683"/>
                    </a:cubicBezTo>
                    <a:cubicBezTo>
                      <a:pt x="291570" y="68956"/>
                      <a:pt x="273719" y="42179"/>
                      <a:pt x="246942" y="21353"/>
                    </a:cubicBezTo>
                    <a:cubicBezTo>
                      <a:pt x="217190" y="3502"/>
                      <a:pt x="178512" y="-5424"/>
                      <a:pt x="130908" y="3502"/>
                    </a:cubicBezTo>
                    <a:lnTo>
                      <a:pt x="130908" y="3502"/>
                    </a:lnTo>
                    <a:close/>
                  </a:path>
                </a:pathLst>
              </a:custGeom>
              <a:solidFill>
                <a:srgbClr val="D16156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2" name="图形 1">
              <a:extLst>
                <a:ext uri="{FF2B5EF4-FFF2-40B4-BE49-F238E27FC236}">
                  <a16:creationId xmlns:a16="http://schemas.microsoft.com/office/drawing/2014/main" id="{03FA9DD5-6663-411A-93DE-9A06C9B20316}"/>
                </a:ext>
              </a:extLst>
            </p:cNvPr>
            <p:cNvGrpSpPr/>
            <p:nvPr/>
          </p:nvGrpSpPr>
          <p:grpSpPr>
            <a:xfrm>
              <a:off x="22686957" y="4565335"/>
              <a:ext cx="782480" cy="788429"/>
              <a:chOff x="22686957" y="4565335"/>
              <a:chExt cx="782480" cy="788429"/>
            </a:xfrm>
          </p:grpSpPr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F4153CF9-2710-4E6C-942C-5A38B1F288AF}"/>
                  </a:ext>
                </a:extLst>
              </p:cNvPr>
              <p:cNvSpPr/>
              <p:nvPr/>
            </p:nvSpPr>
            <p:spPr>
              <a:xfrm>
                <a:off x="22686957" y="4565335"/>
                <a:ext cx="782480" cy="785454"/>
              </a:xfrm>
              <a:custGeom>
                <a:avLst/>
                <a:gdLst>
                  <a:gd name="connsiteX0" fmla="*/ 0 w 782480"/>
                  <a:gd name="connsiteY0" fmla="*/ 392727 h 785454"/>
                  <a:gd name="connsiteX1" fmla="*/ 59504 w 782480"/>
                  <a:gd name="connsiteY1" fmla="*/ 598017 h 785454"/>
                  <a:gd name="connsiteX2" fmla="*/ 74380 w 782480"/>
                  <a:gd name="connsiteY2" fmla="*/ 621818 h 785454"/>
                  <a:gd name="connsiteX3" fmla="*/ 348100 w 782480"/>
                  <a:gd name="connsiteY3" fmla="*/ 782479 h 785454"/>
                  <a:gd name="connsiteX4" fmla="*/ 386777 w 782480"/>
                  <a:gd name="connsiteY4" fmla="*/ 785454 h 785454"/>
                  <a:gd name="connsiteX5" fmla="*/ 392728 w 782480"/>
                  <a:gd name="connsiteY5" fmla="*/ 785454 h 785454"/>
                  <a:gd name="connsiteX6" fmla="*/ 675372 w 782480"/>
                  <a:gd name="connsiteY6" fmla="*/ 663471 h 785454"/>
                  <a:gd name="connsiteX7" fmla="*/ 696199 w 782480"/>
                  <a:gd name="connsiteY7" fmla="*/ 639669 h 785454"/>
                  <a:gd name="connsiteX8" fmla="*/ 782481 w 782480"/>
                  <a:gd name="connsiteY8" fmla="*/ 392727 h 785454"/>
                  <a:gd name="connsiteX9" fmla="*/ 782481 w 782480"/>
                  <a:gd name="connsiteY9" fmla="*/ 377851 h 785454"/>
                  <a:gd name="connsiteX10" fmla="*/ 779505 w 782480"/>
                  <a:gd name="connsiteY10" fmla="*/ 342149 h 785454"/>
                  <a:gd name="connsiteX11" fmla="*/ 702150 w 782480"/>
                  <a:gd name="connsiteY11" fmla="*/ 154711 h 785454"/>
                  <a:gd name="connsiteX12" fmla="*/ 681323 w 782480"/>
                  <a:gd name="connsiteY12" fmla="*/ 127934 h 785454"/>
                  <a:gd name="connsiteX13" fmla="*/ 517687 w 782480"/>
                  <a:gd name="connsiteY13" fmla="*/ 20826 h 785454"/>
                  <a:gd name="connsiteX14" fmla="*/ 476033 w 782480"/>
                  <a:gd name="connsiteY14" fmla="*/ 8925 h 785454"/>
                  <a:gd name="connsiteX15" fmla="*/ 392728 w 782480"/>
                  <a:gd name="connsiteY15" fmla="*/ 0 h 785454"/>
                  <a:gd name="connsiteX16" fmla="*/ 309422 w 782480"/>
                  <a:gd name="connsiteY16" fmla="*/ 8925 h 785454"/>
                  <a:gd name="connsiteX17" fmla="*/ 267769 w 782480"/>
                  <a:gd name="connsiteY17" fmla="*/ 20826 h 785454"/>
                  <a:gd name="connsiteX18" fmla="*/ 23803 w 782480"/>
                  <a:gd name="connsiteY18" fmla="*/ 264793 h 785454"/>
                  <a:gd name="connsiteX19" fmla="*/ 14876 w 782480"/>
                  <a:gd name="connsiteY19" fmla="*/ 300496 h 785454"/>
                  <a:gd name="connsiteX20" fmla="*/ 0 w 782480"/>
                  <a:gd name="connsiteY20" fmla="*/ 392727 h 785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82480" h="785454">
                    <a:moveTo>
                      <a:pt x="0" y="392727"/>
                    </a:moveTo>
                    <a:cubicBezTo>
                      <a:pt x="0" y="467107"/>
                      <a:pt x="20827" y="538512"/>
                      <a:pt x="59504" y="598017"/>
                    </a:cubicBezTo>
                    <a:cubicBezTo>
                      <a:pt x="65455" y="606942"/>
                      <a:pt x="71406" y="615868"/>
                      <a:pt x="74380" y="621818"/>
                    </a:cubicBezTo>
                    <a:cubicBezTo>
                      <a:pt x="136861" y="708099"/>
                      <a:pt x="235042" y="770578"/>
                      <a:pt x="348100" y="782479"/>
                    </a:cubicBezTo>
                    <a:cubicBezTo>
                      <a:pt x="360001" y="782479"/>
                      <a:pt x="371901" y="785454"/>
                      <a:pt x="386777" y="785454"/>
                    </a:cubicBezTo>
                    <a:cubicBezTo>
                      <a:pt x="389753" y="785454"/>
                      <a:pt x="389753" y="785454"/>
                      <a:pt x="392728" y="785454"/>
                    </a:cubicBezTo>
                    <a:cubicBezTo>
                      <a:pt x="502811" y="785454"/>
                      <a:pt x="603968" y="737851"/>
                      <a:pt x="675372" y="663471"/>
                    </a:cubicBezTo>
                    <a:cubicBezTo>
                      <a:pt x="684298" y="654545"/>
                      <a:pt x="690248" y="648595"/>
                      <a:pt x="696199" y="639669"/>
                    </a:cubicBezTo>
                    <a:cubicBezTo>
                      <a:pt x="749752" y="571240"/>
                      <a:pt x="782481" y="487934"/>
                      <a:pt x="782481" y="392727"/>
                    </a:cubicBezTo>
                    <a:cubicBezTo>
                      <a:pt x="782481" y="386777"/>
                      <a:pt x="782481" y="383801"/>
                      <a:pt x="782481" y="377851"/>
                    </a:cubicBezTo>
                    <a:cubicBezTo>
                      <a:pt x="782481" y="365950"/>
                      <a:pt x="782481" y="354049"/>
                      <a:pt x="779505" y="342149"/>
                    </a:cubicBezTo>
                    <a:cubicBezTo>
                      <a:pt x="770579" y="273719"/>
                      <a:pt x="743802" y="208264"/>
                      <a:pt x="702150" y="154711"/>
                    </a:cubicBezTo>
                    <a:cubicBezTo>
                      <a:pt x="696199" y="145785"/>
                      <a:pt x="687274" y="136859"/>
                      <a:pt x="681323" y="127934"/>
                    </a:cubicBezTo>
                    <a:cubicBezTo>
                      <a:pt x="636695" y="80330"/>
                      <a:pt x="580165" y="41653"/>
                      <a:pt x="517687" y="20826"/>
                    </a:cubicBezTo>
                    <a:cubicBezTo>
                      <a:pt x="502811" y="14876"/>
                      <a:pt x="490909" y="11901"/>
                      <a:pt x="476033" y="8925"/>
                    </a:cubicBezTo>
                    <a:cubicBezTo>
                      <a:pt x="449257" y="2975"/>
                      <a:pt x="422480" y="0"/>
                      <a:pt x="392728" y="0"/>
                    </a:cubicBezTo>
                    <a:cubicBezTo>
                      <a:pt x="362976" y="0"/>
                      <a:pt x="336200" y="2975"/>
                      <a:pt x="309422" y="8925"/>
                    </a:cubicBezTo>
                    <a:cubicBezTo>
                      <a:pt x="294546" y="11901"/>
                      <a:pt x="279670" y="14876"/>
                      <a:pt x="267769" y="20826"/>
                    </a:cubicBezTo>
                    <a:cubicBezTo>
                      <a:pt x="154711" y="59504"/>
                      <a:pt x="62480" y="148760"/>
                      <a:pt x="23803" y="264793"/>
                    </a:cubicBezTo>
                    <a:cubicBezTo>
                      <a:pt x="20827" y="276694"/>
                      <a:pt x="17852" y="288595"/>
                      <a:pt x="14876" y="300496"/>
                    </a:cubicBezTo>
                    <a:cubicBezTo>
                      <a:pt x="2976" y="327273"/>
                      <a:pt x="0" y="360000"/>
                      <a:pt x="0" y="392727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BD5488B4-E927-4A3C-AB42-4018B408C4A7}"/>
                  </a:ext>
                </a:extLst>
              </p:cNvPr>
              <p:cNvSpPr/>
              <p:nvPr/>
            </p:nvSpPr>
            <p:spPr>
              <a:xfrm>
                <a:off x="22698858" y="4577235"/>
                <a:ext cx="770579" cy="776529"/>
              </a:xfrm>
              <a:custGeom>
                <a:avLst/>
                <a:gdLst>
                  <a:gd name="connsiteX0" fmla="*/ 47603 w 770579"/>
                  <a:gd name="connsiteY0" fmla="*/ 586116 h 776529"/>
                  <a:gd name="connsiteX1" fmla="*/ 62479 w 770579"/>
                  <a:gd name="connsiteY1" fmla="*/ 609917 h 776529"/>
                  <a:gd name="connsiteX2" fmla="*/ 300495 w 770579"/>
                  <a:gd name="connsiteY2" fmla="*/ 419504 h 776529"/>
                  <a:gd name="connsiteX3" fmla="*/ 342149 w 770579"/>
                  <a:gd name="connsiteY3" fmla="*/ 392727 h 776529"/>
                  <a:gd name="connsiteX4" fmla="*/ 470082 w 770579"/>
                  <a:gd name="connsiteY4" fmla="*/ 226116 h 776529"/>
                  <a:gd name="connsiteX5" fmla="*/ 562315 w 770579"/>
                  <a:gd name="connsiteY5" fmla="*/ 252893 h 776529"/>
                  <a:gd name="connsiteX6" fmla="*/ 562315 w 770579"/>
                  <a:gd name="connsiteY6" fmla="*/ 365951 h 776529"/>
                  <a:gd name="connsiteX7" fmla="*/ 336198 w 770579"/>
                  <a:gd name="connsiteY7" fmla="*/ 773554 h 776529"/>
                  <a:gd name="connsiteX8" fmla="*/ 374875 w 770579"/>
                  <a:gd name="connsiteY8" fmla="*/ 776529 h 776529"/>
                  <a:gd name="connsiteX9" fmla="*/ 592067 w 770579"/>
                  <a:gd name="connsiteY9" fmla="*/ 371901 h 776529"/>
                  <a:gd name="connsiteX10" fmla="*/ 592067 w 770579"/>
                  <a:gd name="connsiteY10" fmla="*/ 267769 h 776529"/>
                  <a:gd name="connsiteX11" fmla="*/ 630744 w 770579"/>
                  <a:gd name="connsiteY11" fmla="*/ 285620 h 776529"/>
                  <a:gd name="connsiteX12" fmla="*/ 663471 w 770579"/>
                  <a:gd name="connsiteY12" fmla="*/ 657521 h 776529"/>
                  <a:gd name="connsiteX13" fmla="*/ 684298 w 770579"/>
                  <a:gd name="connsiteY13" fmla="*/ 633719 h 776529"/>
                  <a:gd name="connsiteX14" fmla="*/ 657520 w 770579"/>
                  <a:gd name="connsiteY14" fmla="*/ 300496 h 776529"/>
                  <a:gd name="connsiteX15" fmla="*/ 770579 w 770579"/>
                  <a:gd name="connsiteY15" fmla="*/ 371901 h 776529"/>
                  <a:gd name="connsiteX16" fmla="*/ 767603 w 770579"/>
                  <a:gd name="connsiteY16" fmla="*/ 336198 h 776529"/>
                  <a:gd name="connsiteX17" fmla="*/ 660496 w 770579"/>
                  <a:gd name="connsiteY17" fmla="*/ 270744 h 776529"/>
                  <a:gd name="connsiteX18" fmla="*/ 690248 w 770579"/>
                  <a:gd name="connsiteY18" fmla="*/ 148760 h 776529"/>
                  <a:gd name="connsiteX19" fmla="*/ 669422 w 770579"/>
                  <a:gd name="connsiteY19" fmla="*/ 121984 h 776529"/>
                  <a:gd name="connsiteX20" fmla="*/ 633719 w 770579"/>
                  <a:gd name="connsiteY20" fmla="*/ 255868 h 776529"/>
                  <a:gd name="connsiteX21" fmla="*/ 586116 w 770579"/>
                  <a:gd name="connsiteY21" fmla="*/ 235041 h 776529"/>
                  <a:gd name="connsiteX22" fmla="*/ 502811 w 770579"/>
                  <a:gd name="connsiteY22" fmla="*/ 11901 h 776529"/>
                  <a:gd name="connsiteX23" fmla="*/ 461157 w 770579"/>
                  <a:gd name="connsiteY23" fmla="*/ 0 h 776529"/>
                  <a:gd name="connsiteX24" fmla="*/ 461157 w 770579"/>
                  <a:gd name="connsiteY24" fmla="*/ 0 h 776529"/>
                  <a:gd name="connsiteX25" fmla="*/ 556364 w 770579"/>
                  <a:gd name="connsiteY25" fmla="*/ 223141 h 776529"/>
                  <a:gd name="connsiteX26" fmla="*/ 470082 w 770579"/>
                  <a:gd name="connsiteY26" fmla="*/ 199339 h 776529"/>
                  <a:gd name="connsiteX27" fmla="*/ 467108 w 770579"/>
                  <a:gd name="connsiteY27" fmla="*/ 178512 h 776529"/>
                  <a:gd name="connsiteX28" fmla="*/ 294546 w 770579"/>
                  <a:gd name="connsiteY28" fmla="*/ 0 h 776529"/>
                  <a:gd name="connsiteX29" fmla="*/ 252893 w 770579"/>
                  <a:gd name="connsiteY29" fmla="*/ 11901 h 776529"/>
                  <a:gd name="connsiteX30" fmla="*/ 440330 w 770579"/>
                  <a:gd name="connsiteY30" fmla="*/ 184463 h 776529"/>
                  <a:gd name="connsiteX31" fmla="*/ 440330 w 770579"/>
                  <a:gd name="connsiteY31" fmla="*/ 196364 h 776529"/>
                  <a:gd name="connsiteX32" fmla="*/ 8925 w 770579"/>
                  <a:gd name="connsiteY32" fmla="*/ 255868 h 776529"/>
                  <a:gd name="connsiteX33" fmla="*/ 0 w 770579"/>
                  <a:gd name="connsiteY33" fmla="*/ 291570 h 776529"/>
                  <a:gd name="connsiteX34" fmla="*/ 229091 w 770579"/>
                  <a:gd name="connsiteY34" fmla="*/ 226116 h 776529"/>
                  <a:gd name="connsiteX35" fmla="*/ 440330 w 770579"/>
                  <a:gd name="connsiteY35" fmla="*/ 226116 h 776529"/>
                  <a:gd name="connsiteX36" fmla="*/ 324298 w 770579"/>
                  <a:gd name="connsiteY36" fmla="*/ 374876 h 776529"/>
                  <a:gd name="connsiteX37" fmla="*/ 282645 w 770579"/>
                  <a:gd name="connsiteY37" fmla="*/ 401653 h 776529"/>
                  <a:gd name="connsiteX38" fmla="*/ 47603 w 770579"/>
                  <a:gd name="connsiteY38" fmla="*/ 586116 h 776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770579" h="776529">
                    <a:moveTo>
                      <a:pt x="47603" y="586116"/>
                    </a:moveTo>
                    <a:cubicBezTo>
                      <a:pt x="53553" y="595041"/>
                      <a:pt x="59504" y="603967"/>
                      <a:pt x="62479" y="609917"/>
                    </a:cubicBezTo>
                    <a:cubicBezTo>
                      <a:pt x="124959" y="535537"/>
                      <a:pt x="211239" y="479008"/>
                      <a:pt x="300495" y="419504"/>
                    </a:cubicBezTo>
                    <a:lnTo>
                      <a:pt x="342149" y="392727"/>
                    </a:lnTo>
                    <a:cubicBezTo>
                      <a:pt x="431405" y="333223"/>
                      <a:pt x="464132" y="273719"/>
                      <a:pt x="470082" y="226116"/>
                    </a:cubicBezTo>
                    <a:cubicBezTo>
                      <a:pt x="502811" y="232066"/>
                      <a:pt x="532563" y="240992"/>
                      <a:pt x="562315" y="252893"/>
                    </a:cubicBezTo>
                    <a:cubicBezTo>
                      <a:pt x="565289" y="288595"/>
                      <a:pt x="568264" y="324298"/>
                      <a:pt x="562315" y="365951"/>
                    </a:cubicBezTo>
                    <a:cubicBezTo>
                      <a:pt x="547439" y="508761"/>
                      <a:pt x="470082" y="645620"/>
                      <a:pt x="336198" y="773554"/>
                    </a:cubicBezTo>
                    <a:cubicBezTo>
                      <a:pt x="348100" y="773554"/>
                      <a:pt x="359999" y="776529"/>
                      <a:pt x="374875" y="776529"/>
                    </a:cubicBezTo>
                    <a:cubicBezTo>
                      <a:pt x="502811" y="648595"/>
                      <a:pt x="574215" y="514711"/>
                      <a:pt x="592067" y="371901"/>
                    </a:cubicBezTo>
                    <a:cubicBezTo>
                      <a:pt x="595041" y="336198"/>
                      <a:pt x="595041" y="300496"/>
                      <a:pt x="592067" y="267769"/>
                    </a:cubicBezTo>
                    <a:cubicBezTo>
                      <a:pt x="603967" y="273719"/>
                      <a:pt x="618843" y="279669"/>
                      <a:pt x="630744" y="285620"/>
                    </a:cubicBezTo>
                    <a:cubicBezTo>
                      <a:pt x="615868" y="386777"/>
                      <a:pt x="618843" y="514711"/>
                      <a:pt x="663471" y="657521"/>
                    </a:cubicBezTo>
                    <a:cubicBezTo>
                      <a:pt x="672396" y="648595"/>
                      <a:pt x="678347" y="642645"/>
                      <a:pt x="684298" y="633719"/>
                    </a:cubicBezTo>
                    <a:cubicBezTo>
                      <a:pt x="645620" y="508761"/>
                      <a:pt x="645620" y="392727"/>
                      <a:pt x="657520" y="300496"/>
                    </a:cubicBezTo>
                    <a:cubicBezTo>
                      <a:pt x="696199" y="321322"/>
                      <a:pt x="734876" y="345124"/>
                      <a:pt x="770579" y="371901"/>
                    </a:cubicBezTo>
                    <a:cubicBezTo>
                      <a:pt x="770579" y="360000"/>
                      <a:pt x="770579" y="348099"/>
                      <a:pt x="767603" y="336198"/>
                    </a:cubicBezTo>
                    <a:cubicBezTo>
                      <a:pt x="731900" y="312397"/>
                      <a:pt x="696199" y="288595"/>
                      <a:pt x="660496" y="270744"/>
                    </a:cubicBezTo>
                    <a:cubicBezTo>
                      <a:pt x="669422" y="220165"/>
                      <a:pt x="681323" y="178512"/>
                      <a:pt x="690248" y="148760"/>
                    </a:cubicBezTo>
                    <a:cubicBezTo>
                      <a:pt x="684298" y="139835"/>
                      <a:pt x="675372" y="130909"/>
                      <a:pt x="669422" y="121984"/>
                    </a:cubicBezTo>
                    <a:cubicBezTo>
                      <a:pt x="657520" y="154711"/>
                      <a:pt x="645620" y="199339"/>
                      <a:pt x="633719" y="255868"/>
                    </a:cubicBezTo>
                    <a:cubicBezTo>
                      <a:pt x="618843" y="249917"/>
                      <a:pt x="600992" y="240992"/>
                      <a:pt x="586116" y="235041"/>
                    </a:cubicBezTo>
                    <a:cubicBezTo>
                      <a:pt x="571240" y="130909"/>
                      <a:pt x="529586" y="53554"/>
                      <a:pt x="502811" y="11901"/>
                    </a:cubicBezTo>
                    <a:cubicBezTo>
                      <a:pt x="487935" y="5951"/>
                      <a:pt x="476033" y="2975"/>
                      <a:pt x="461157" y="0"/>
                    </a:cubicBezTo>
                    <a:lnTo>
                      <a:pt x="461157" y="0"/>
                    </a:lnTo>
                    <a:cubicBezTo>
                      <a:pt x="461157" y="0"/>
                      <a:pt x="532563" y="89256"/>
                      <a:pt x="556364" y="223141"/>
                    </a:cubicBezTo>
                    <a:cubicBezTo>
                      <a:pt x="526612" y="214215"/>
                      <a:pt x="496860" y="205289"/>
                      <a:pt x="470082" y="199339"/>
                    </a:cubicBezTo>
                    <a:cubicBezTo>
                      <a:pt x="470082" y="190413"/>
                      <a:pt x="470082" y="184463"/>
                      <a:pt x="467108" y="178512"/>
                    </a:cubicBezTo>
                    <a:cubicBezTo>
                      <a:pt x="452232" y="101157"/>
                      <a:pt x="377852" y="38678"/>
                      <a:pt x="294546" y="0"/>
                    </a:cubicBezTo>
                    <a:cubicBezTo>
                      <a:pt x="279670" y="2975"/>
                      <a:pt x="264794" y="5951"/>
                      <a:pt x="252893" y="11901"/>
                    </a:cubicBezTo>
                    <a:cubicBezTo>
                      <a:pt x="354050" y="50579"/>
                      <a:pt x="425454" y="116033"/>
                      <a:pt x="440330" y="184463"/>
                    </a:cubicBezTo>
                    <a:cubicBezTo>
                      <a:pt x="440330" y="187438"/>
                      <a:pt x="440330" y="193388"/>
                      <a:pt x="440330" y="196364"/>
                    </a:cubicBezTo>
                    <a:cubicBezTo>
                      <a:pt x="261818" y="169587"/>
                      <a:pt x="104132" y="214215"/>
                      <a:pt x="8925" y="255868"/>
                    </a:cubicBezTo>
                    <a:cubicBezTo>
                      <a:pt x="5951" y="267769"/>
                      <a:pt x="2974" y="279669"/>
                      <a:pt x="0" y="291570"/>
                    </a:cubicBezTo>
                    <a:cubicBezTo>
                      <a:pt x="53553" y="267769"/>
                      <a:pt x="133884" y="238017"/>
                      <a:pt x="229091" y="226116"/>
                    </a:cubicBezTo>
                    <a:cubicBezTo>
                      <a:pt x="300495" y="217190"/>
                      <a:pt x="371901" y="217190"/>
                      <a:pt x="440330" y="226116"/>
                    </a:cubicBezTo>
                    <a:cubicBezTo>
                      <a:pt x="434379" y="276694"/>
                      <a:pt x="392728" y="327273"/>
                      <a:pt x="324298" y="374876"/>
                    </a:cubicBezTo>
                    <a:lnTo>
                      <a:pt x="282645" y="401653"/>
                    </a:lnTo>
                    <a:cubicBezTo>
                      <a:pt x="199339" y="452232"/>
                      <a:pt x="110083" y="511736"/>
                      <a:pt x="47603" y="586116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2310237F-1BB8-4220-A19A-51332DD6FF51}"/>
                </a:ext>
              </a:extLst>
            </p:cNvPr>
            <p:cNvSpPr/>
            <p:nvPr/>
          </p:nvSpPr>
          <p:spPr>
            <a:xfrm>
              <a:off x="24314395" y="3476409"/>
              <a:ext cx="806282" cy="856859"/>
            </a:xfrm>
            <a:custGeom>
              <a:avLst/>
              <a:gdLst>
                <a:gd name="connsiteX0" fmla="*/ 529586 w 806282"/>
                <a:gd name="connsiteY0" fmla="*/ 0 h 856859"/>
                <a:gd name="connsiteX1" fmla="*/ 458183 w 806282"/>
                <a:gd name="connsiteY1" fmla="*/ 523636 h 856859"/>
                <a:gd name="connsiteX2" fmla="*/ 0 w 806282"/>
                <a:gd name="connsiteY2" fmla="*/ 734876 h 856859"/>
                <a:gd name="connsiteX3" fmla="*/ 92232 w 806282"/>
                <a:gd name="connsiteY3" fmla="*/ 856860 h 856859"/>
                <a:gd name="connsiteX4" fmla="*/ 693223 w 806282"/>
                <a:gd name="connsiteY4" fmla="*/ 630744 h 856859"/>
                <a:gd name="connsiteX5" fmla="*/ 806282 w 806282"/>
                <a:gd name="connsiteY5" fmla="*/ 50579 h 856859"/>
                <a:gd name="connsiteX6" fmla="*/ 529586 w 806282"/>
                <a:gd name="connsiteY6" fmla="*/ 0 h 85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6282" h="856859">
                  <a:moveTo>
                    <a:pt x="529586" y="0"/>
                  </a:moveTo>
                  <a:lnTo>
                    <a:pt x="458183" y="523636"/>
                  </a:lnTo>
                  <a:lnTo>
                    <a:pt x="0" y="734876"/>
                  </a:lnTo>
                  <a:lnTo>
                    <a:pt x="92232" y="856860"/>
                  </a:lnTo>
                  <a:cubicBezTo>
                    <a:pt x="92232" y="856860"/>
                    <a:pt x="606943" y="717025"/>
                    <a:pt x="693223" y="630744"/>
                  </a:cubicBezTo>
                  <a:cubicBezTo>
                    <a:pt x="779505" y="544463"/>
                    <a:pt x="806282" y="50579"/>
                    <a:pt x="806282" y="50579"/>
                  </a:cubicBezTo>
                  <a:lnTo>
                    <a:pt x="529586" y="0"/>
                  </a:ln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21F62784-3899-4126-A008-F65D9D744D90}"/>
                </a:ext>
              </a:extLst>
            </p:cNvPr>
            <p:cNvGrpSpPr/>
            <p:nvPr/>
          </p:nvGrpSpPr>
          <p:grpSpPr>
            <a:xfrm>
              <a:off x="24079355" y="4193331"/>
              <a:ext cx="350284" cy="277849"/>
              <a:chOff x="24079355" y="4193331"/>
              <a:chExt cx="350284" cy="277849"/>
            </a:xfrm>
          </p:grpSpPr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BCE4E5DF-3CF5-4EB1-9691-82BFDE80D7CC}"/>
                  </a:ext>
                </a:extLst>
              </p:cNvPr>
              <p:cNvSpPr/>
              <p:nvPr/>
            </p:nvSpPr>
            <p:spPr>
              <a:xfrm>
                <a:off x="24080332" y="4193331"/>
                <a:ext cx="349307" cy="277849"/>
              </a:xfrm>
              <a:custGeom>
                <a:avLst/>
                <a:gdLst>
                  <a:gd name="connsiteX0" fmla="*/ 347121 w 349307"/>
                  <a:gd name="connsiteY0" fmla="*/ 98284 h 277849"/>
                  <a:gd name="connsiteX1" fmla="*/ 272741 w 349307"/>
                  <a:gd name="connsiteY1" fmla="*/ 103 h 277849"/>
                  <a:gd name="connsiteX2" fmla="*/ 46626 w 349307"/>
                  <a:gd name="connsiteY2" fmla="*/ 107210 h 277849"/>
                  <a:gd name="connsiteX3" fmla="*/ 4972 w 349307"/>
                  <a:gd name="connsiteY3" fmla="*/ 166714 h 277849"/>
                  <a:gd name="connsiteX4" fmla="*/ 25799 w 349307"/>
                  <a:gd name="connsiteY4" fmla="*/ 169689 h 277849"/>
                  <a:gd name="connsiteX5" fmla="*/ 67452 w 349307"/>
                  <a:gd name="connsiteY5" fmla="*/ 154813 h 277849"/>
                  <a:gd name="connsiteX6" fmla="*/ 25799 w 349307"/>
                  <a:gd name="connsiteY6" fmla="*/ 196466 h 277849"/>
                  <a:gd name="connsiteX7" fmla="*/ 4972 w 349307"/>
                  <a:gd name="connsiteY7" fmla="*/ 255970 h 277849"/>
                  <a:gd name="connsiteX8" fmla="*/ 34724 w 349307"/>
                  <a:gd name="connsiteY8" fmla="*/ 255970 h 277849"/>
                  <a:gd name="connsiteX9" fmla="*/ 40675 w 349307"/>
                  <a:gd name="connsiteY9" fmla="*/ 270846 h 277849"/>
                  <a:gd name="connsiteX10" fmla="*/ 109104 w 349307"/>
                  <a:gd name="connsiteY10" fmla="*/ 247045 h 277849"/>
                  <a:gd name="connsiteX11" fmla="*/ 153732 w 349307"/>
                  <a:gd name="connsiteY11" fmla="*/ 217292 h 277849"/>
                  <a:gd name="connsiteX12" fmla="*/ 129931 w 349307"/>
                  <a:gd name="connsiteY12" fmla="*/ 276797 h 277849"/>
                  <a:gd name="connsiteX13" fmla="*/ 177535 w 349307"/>
                  <a:gd name="connsiteY13" fmla="*/ 252995 h 277849"/>
                  <a:gd name="connsiteX14" fmla="*/ 248939 w 349307"/>
                  <a:gd name="connsiteY14" fmla="*/ 190516 h 277849"/>
                  <a:gd name="connsiteX15" fmla="*/ 326296 w 349307"/>
                  <a:gd name="connsiteY15" fmla="*/ 139937 h 277849"/>
                  <a:gd name="connsiteX16" fmla="*/ 347121 w 349307"/>
                  <a:gd name="connsiteY16" fmla="*/ 98284 h 277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49307" h="277849">
                    <a:moveTo>
                      <a:pt x="347121" y="98284"/>
                    </a:moveTo>
                    <a:cubicBezTo>
                      <a:pt x="341172" y="59607"/>
                      <a:pt x="272741" y="-2873"/>
                      <a:pt x="272741" y="103"/>
                    </a:cubicBezTo>
                    <a:cubicBezTo>
                      <a:pt x="198360" y="35805"/>
                      <a:pt x="118031" y="62582"/>
                      <a:pt x="46626" y="107210"/>
                    </a:cubicBezTo>
                    <a:cubicBezTo>
                      <a:pt x="34724" y="113160"/>
                      <a:pt x="-15853" y="145887"/>
                      <a:pt x="4972" y="166714"/>
                    </a:cubicBezTo>
                    <a:cubicBezTo>
                      <a:pt x="10923" y="172664"/>
                      <a:pt x="16874" y="169689"/>
                      <a:pt x="25799" y="169689"/>
                    </a:cubicBezTo>
                    <a:cubicBezTo>
                      <a:pt x="40675" y="166714"/>
                      <a:pt x="52576" y="160763"/>
                      <a:pt x="67452" y="154813"/>
                    </a:cubicBezTo>
                    <a:cubicBezTo>
                      <a:pt x="52576" y="166714"/>
                      <a:pt x="37700" y="181590"/>
                      <a:pt x="25799" y="196466"/>
                    </a:cubicBezTo>
                    <a:cubicBezTo>
                      <a:pt x="16874" y="208367"/>
                      <a:pt x="-6928" y="238119"/>
                      <a:pt x="4972" y="255970"/>
                    </a:cubicBezTo>
                    <a:cubicBezTo>
                      <a:pt x="10923" y="264896"/>
                      <a:pt x="22824" y="264896"/>
                      <a:pt x="34724" y="255970"/>
                    </a:cubicBezTo>
                    <a:cubicBezTo>
                      <a:pt x="31750" y="261921"/>
                      <a:pt x="34724" y="267871"/>
                      <a:pt x="40675" y="270846"/>
                    </a:cubicBezTo>
                    <a:cubicBezTo>
                      <a:pt x="58527" y="279772"/>
                      <a:pt x="94228" y="255970"/>
                      <a:pt x="109104" y="247045"/>
                    </a:cubicBezTo>
                    <a:cubicBezTo>
                      <a:pt x="123980" y="238119"/>
                      <a:pt x="138856" y="226218"/>
                      <a:pt x="153732" y="217292"/>
                    </a:cubicBezTo>
                    <a:cubicBezTo>
                      <a:pt x="132907" y="241094"/>
                      <a:pt x="109104" y="267871"/>
                      <a:pt x="129931" y="276797"/>
                    </a:cubicBezTo>
                    <a:cubicBezTo>
                      <a:pt x="144807" y="282747"/>
                      <a:pt x="168608" y="261921"/>
                      <a:pt x="177535" y="252995"/>
                    </a:cubicBezTo>
                    <a:cubicBezTo>
                      <a:pt x="201337" y="232168"/>
                      <a:pt x="225138" y="211342"/>
                      <a:pt x="248939" y="190516"/>
                    </a:cubicBezTo>
                    <a:cubicBezTo>
                      <a:pt x="272741" y="172664"/>
                      <a:pt x="299518" y="157788"/>
                      <a:pt x="326296" y="139937"/>
                    </a:cubicBezTo>
                    <a:cubicBezTo>
                      <a:pt x="347121" y="128036"/>
                      <a:pt x="353072" y="122086"/>
                      <a:pt x="347121" y="98284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626F794D-3960-42DA-8137-F4C63B9E61E2}"/>
                  </a:ext>
                </a:extLst>
              </p:cNvPr>
              <p:cNvSpPr/>
              <p:nvPr/>
            </p:nvSpPr>
            <p:spPr>
              <a:xfrm>
                <a:off x="24079355" y="4249962"/>
                <a:ext cx="142809" cy="121983"/>
              </a:xfrm>
              <a:custGeom>
                <a:avLst/>
                <a:gdLst>
                  <a:gd name="connsiteX0" fmla="*/ 20825 w 142809"/>
                  <a:gd name="connsiteY0" fmla="*/ 121984 h 121983"/>
                  <a:gd name="connsiteX1" fmla="*/ 5949 w 142809"/>
                  <a:gd name="connsiteY1" fmla="*/ 116033 h 121983"/>
                  <a:gd name="connsiteX2" fmla="*/ 0 w 142809"/>
                  <a:gd name="connsiteY2" fmla="*/ 101157 h 121983"/>
                  <a:gd name="connsiteX3" fmla="*/ 136859 w 142809"/>
                  <a:gd name="connsiteY3" fmla="*/ 0 h 121983"/>
                  <a:gd name="connsiteX4" fmla="*/ 142810 w 142809"/>
                  <a:gd name="connsiteY4" fmla="*/ 2975 h 121983"/>
                  <a:gd name="connsiteX5" fmla="*/ 139833 w 142809"/>
                  <a:gd name="connsiteY5" fmla="*/ 8926 h 121983"/>
                  <a:gd name="connsiteX6" fmla="*/ 8925 w 142809"/>
                  <a:gd name="connsiteY6" fmla="*/ 101157 h 121983"/>
                  <a:gd name="connsiteX7" fmla="*/ 11900 w 142809"/>
                  <a:gd name="connsiteY7" fmla="*/ 104132 h 121983"/>
                  <a:gd name="connsiteX8" fmla="*/ 65453 w 142809"/>
                  <a:gd name="connsiteY8" fmla="*/ 89256 h 121983"/>
                  <a:gd name="connsiteX9" fmla="*/ 136859 w 142809"/>
                  <a:gd name="connsiteY9" fmla="*/ 47603 h 121983"/>
                  <a:gd name="connsiteX10" fmla="*/ 142810 w 142809"/>
                  <a:gd name="connsiteY10" fmla="*/ 53554 h 121983"/>
                  <a:gd name="connsiteX11" fmla="*/ 136859 w 142809"/>
                  <a:gd name="connsiteY11" fmla="*/ 59504 h 121983"/>
                  <a:gd name="connsiteX12" fmla="*/ 71404 w 142809"/>
                  <a:gd name="connsiteY12" fmla="*/ 98182 h 121983"/>
                  <a:gd name="connsiteX13" fmla="*/ 20825 w 142809"/>
                  <a:gd name="connsiteY13" fmla="*/ 121984 h 121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2809" h="121983">
                    <a:moveTo>
                      <a:pt x="20825" y="121984"/>
                    </a:moveTo>
                    <a:cubicBezTo>
                      <a:pt x="14876" y="121984"/>
                      <a:pt x="8925" y="121984"/>
                      <a:pt x="5949" y="116033"/>
                    </a:cubicBezTo>
                    <a:cubicBezTo>
                      <a:pt x="0" y="113058"/>
                      <a:pt x="0" y="107108"/>
                      <a:pt x="0" y="101157"/>
                    </a:cubicBezTo>
                    <a:cubicBezTo>
                      <a:pt x="2974" y="74380"/>
                      <a:pt x="59504" y="32727"/>
                      <a:pt x="136859" y="0"/>
                    </a:cubicBezTo>
                    <a:cubicBezTo>
                      <a:pt x="139833" y="0"/>
                      <a:pt x="142810" y="0"/>
                      <a:pt x="142810" y="2975"/>
                    </a:cubicBezTo>
                    <a:cubicBezTo>
                      <a:pt x="142810" y="5951"/>
                      <a:pt x="142810" y="8926"/>
                      <a:pt x="139833" y="8926"/>
                    </a:cubicBezTo>
                    <a:cubicBezTo>
                      <a:pt x="53553" y="47603"/>
                      <a:pt x="11900" y="86281"/>
                      <a:pt x="8925" y="101157"/>
                    </a:cubicBezTo>
                    <a:cubicBezTo>
                      <a:pt x="8925" y="104132"/>
                      <a:pt x="8925" y="104132"/>
                      <a:pt x="11900" y="104132"/>
                    </a:cubicBezTo>
                    <a:cubicBezTo>
                      <a:pt x="23801" y="113058"/>
                      <a:pt x="56528" y="95207"/>
                      <a:pt x="65453" y="89256"/>
                    </a:cubicBezTo>
                    <a:cubicBezTo>
                      <a:pt x="77355" y="80331"/>
                      <a:pt x="124957" y="47603"/>
                      <a:pt x="136859" y="47603"/>
                    </a:cubicBezTo>
                    <a:cubicBezTo>
                      <a:pt x="139833" y="47603"/>
                      <a:pt x="142810" y="50579"/>
                      <a:pt x="142810" y="53554"/>
                    </a:cubicBezTo>
                    <a:cubicBezTo>
                      <a:pt x="142810" y="56529"/>
                      <a:pt x="139833" y="59504"/>
                      <a:pt x="136859" y="59504"/>
                    </a:cubicBezTo>
                    <a:cubicBezTo>
                      <a:pt x="130908" y="59504"/>
                      <a:pt x="98181" y="80331"/>
                      <a:pt x="71404" y="98182"/>
                    </a:cubicBezTo>
                    <a:cubicBezTo>
                      <a:pt x="68429" y="104132"/>
                      <a:pt x="41652" y="121984"/>
                      <a:pt x="20825" y="121984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0EDB17AB-3AE3-4CD3-A248-EA9A6AAB7604}"/>
                  </a:ext>
                </a:extLst>
              </p:cNvPr>
              <p:cNvSpPr/>
              <p:nvPr/>
            </p:nvSpPr>
            <p:spPr>
              <a:xfrm>
                <a:off x="24109850" y="4345169"/>
                <a:ext cx="127189" cy="113057"/>
              </a:xfrm>
              <a:custGeom>
                <a:avLst/>
                <a:gdLst>
                  <a:gd name="connsiteX0" fmla="*/ 5205 w 127189"/>
                  <a:gd name="connsiteY0" fmla="*/ 113058 h 113057"/>
                  <a:gd name="connsiteX1" fmla="*/ 2231 w 127189"/>
                  <a:gd name="connsiteY1" fmla="*/ 113058 h 113057"/>
                  <a:gd name="connsiteX2" fmla="*/ 2231 w 127189"/>
                  <a:gd name="connsiteY2" fmla="*/ 104132 h 113057"/>
                  <a:gd name="connsiteX3" fmla="*/ 121239 w 127189"/>
                  <a:gd name="connsiteY3" fmla="*/ 0 h 113057"/>
                  <a:gd name="connsiteX4" fmla="*/ 127190 w 127189"/>
                  <a:gd name="connsiteY4" fmla="*/ 2975 h 113057"/>
                  <a:gd name="connsiteX5" fmla="*/ 124214 w 127189"/>
                  <a:gd name="connsiteY5" fmla="*/ 8925 h 113057"/>
                  <a:gd name="connsiteX6" fmla="*/ 11156 w 127189"/>
                  <a:gd name="connsiteY6" fmla="*/ 110083 h 113057"/>
                  <a:gd name="connsiteX7" fmla="*/ 5205 w 127189"/>
                  <a:gd name="connsiteY7" fmla="*/ 113058 h 113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189" h="113057">
                    <a:moveTo>
                      <a:pt x="5205" y="113058"/>
                    </a:moveTo>
                    <a:cubicBezTo>
                      <a:pt x="5205" y="113058"/>
                      <a:pt x="2231" y="113058"/>
                      <a:pt x="2231" y="113058"/>
                    </a:cubicBezTo>
                    <a:cubicBezTo>
                      <a:pt x="-744" y="110083"/>
                      <a:pt x="-744" y="107107"/>
                      <a:pt x="2231" y="104132"/>
                    </a:cubicBezTo>
                    <a:cubicBezTo>
                      <a:pt x="5205" y="101157"/>
                      <a:pt x="88513" y="11901"/>
                      <a:pt x="121239" y="0"/>
                    </a:cubicBezTo>
                    <a:cubicBezTo>
                      <a:pt x="124214" y="0"/>
                      <a:pt x="127190" y="0"/>
                      <a:pt x="127190" y="2975"/>
                    </a:cubicBezTo>
                    <a:cubicBezTo>
                      <a:pt x="127190" y="5950"/>
                      <a:pt x="127190" y="8925"/>
                      <a:pt x="124214" y="8925"/>
                    </a:cubicBezTo>
                    <a:cubicBezTo>
                      <a:pt x="94462" y="20826"/>
                      <a:pt x="11156" y="110083"/>
                      <a:pt x="11156" y="110083"/>
                    </a:cubicBezTo>
                    <a:cubicBezTo>
                      <a:pt x="8182" y="110083"/>
                      <a:pt x="8182" y="113058"/>
                      <a:pt x="5205" y="113058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5D39BE8F-6B2A-4D87-9922-2CA2EB8E100B}"/>
                  </a:ext>
                </a:extLst>
              </p:cNvPr>
              <p:cNvSpPr/>
              <p:nvPr/>
            </p:nvSpPr>
            <p:spPr>
              <a:xfrm>
                <a:off x="24229768" y="4376574"/>
                <a:ext cx="53222" cy="42975"/>
              </a:xfrm>
              <a:custGeom>
                <a:avLst/>
                <a:gdLst>
                  <a:gd name="connsiteX0" fmla="*/ 7273 w 53222"/>
                  <a:gd name="connsiteY0" fmla="*/ 42975 h 42975"/>
                  <a:gd name="connsiteX1" fmla="*/ 1322 w 53222"/>
                  <a:gd name="connsiteY1" fmla="*/ 40000 h 42975"/>
                  <a:gd name="connsiteX2" fmla="*/ 1322 w 53222"/>
                  <a:gd name="connsiteY2" fmla="*/ 31074 h 42975"/>
                  <a:gd name="connsiteX3" fmla="*/ 42976 w 53222"/>
                  <a:gd name="connsiteY3" fmla="*/ 1322 h 42975"/>
                  <a:gd name="connsiteX4" fmla="*/ 51901 w 53222"/>
                  <a:gd name="connsiteY4" fmla="*/ 1322 h 42975"/>
                  <a:gd name="connsiteX5" fmla="*/ 51901 w 53222"/>
                  <a:gd name="connsiteY5" fmla="*/ 10248 h 42975"/>
                  <a:gd name="connsiteX6" fmla="*/ 10247 w 53222"/>
                  <a:gd name="connsiteY6" fmla="*/ 40000 h 42975"/>
                  <a:gd name="connsiteX7" fmla="*/ 7273 w 53222"/>
                  <a:gd name="connsiteY7" fmla="*/ 42975 h 42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3222" h="42975">
                    <a:moveTo>
                      <a:pt x="7273" y="42975"/>
                    </a:moveTo>
                    <a:cubicBezTo>
                      <a:pt x="4296" y="42975"/>
                      <a:pt x="4296" y="42975"/>
                      <a:pt x="1322" y="40000"/>
                    </a:cubicBezTo>
                    <a:cubicBezTo>
                      <a:pt x="-1652" y="37025"/>
                      <a:pt x="1322" y="34050"/>
                      <a:pt x="1322" y="31074"/>
                    </a:cubicBezTo>
                    <a:lnTo>
                      <a:pt x="42976" y="1322"/>
                    </a:lnTo>
                    <a:cubicBezTo>
                      <a:pt x="45950" y="-1653"/>
                      <a:pt x="48925" y="1322"/>
                      <a:pt x="51901" y="1322"/>
                    </a:cubicBezTo>
                    <a:cubicBezTo>
                      <a:pt x="54875" y="4297"/>
                      <a:pt x="51901" y="7273"/>
                      <a:pt x="51901" y="10248"/>
                    </a:cubicBezTo>
                    <a:lnTo>
                      <a:pt x="10247" y="40000"/>
                    </a:lnTo>
                    <a:cubicBezTo>
                      <a:pt x="7273" y="40000"/>
                      <a:pt x="7273" y="42975"/>
                      <a:pt x="7273" y="42975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A00D59F7-565D-4CC3-9EB7-BB7345CC4617}"/>
                  </a:ext>
                </a:extLst>
              </p:cNvPr>
              <p:cNvSpPr/>
              <p:nvPr/>
            </p:nvSpPr>
            <p:spPr>
              <a:xfrm>
                <a:off x="24263816" y="4273764"/>
                <a:ext cx="61736" cy="92231"/>
              </a:xfrm>
              <a:custGeom>
                <a:avLst/>
                <a:gdLst>
                  <a:gd name="connsiteX0" fmla="*/ 53555 w 61736"/>
                  <a:gd name="connsiteY0" fmla="*/ 89256 h 92231"/>
                  <a:gd name="connsiteX1" fmla="*/ 50579 w 61736"/>
                  <a:gd name="connsiteY1" fmla="*/ 89256 h 92231"/>
                  <a:gd name="connsiteX2" fmla="*/ 0 w 61736"/>
                  <a:gd name="connsiteY2" fmla="*/ 5950 h 92231"/>
                  <a:gd name="connsiteX3" fmla="*/ 5951 w 61736"/>
                  <a:gd name="connsiteY3" fmla="*/ 0 h 92231"/>
                  <a:gd name="connsiteX4" fmla="*/ 11902 w 61736"/>
                  <a:gd name="connsiteY4" fmla="*/ 5950 h 92231"/>
                  <a:gd name="connsiteX5" fmla="*/ 59504 w 61736"/>
                  <a:gd name="connsiteY5" fmla="*/ 83306 h 92231"/>
                  <a:gd name="connsiteX6" fmla="*/ 59504 w 61736"/>
                  <a:gd name="connsiteY6" fmla="*/ 92231 h 92231"/>
                  <a:gd name="connsiteX7" fmla="*/ 53555 w 61736"/>
                  <a:gd name="connsiteY7" fmla="*/ 89256 h 92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1736" h="92231">
                    <a:moveTo>
                      <a:pt x="53555" y="89256"/>
                    </a:moveTo>
                    <a:cubicBezTo>
                      <a:pt x="53555" y="89256"/>
                      <a:pt x="50579" y="89256"/>
                      <a:pt x="50579" y="89256"/>
                    </a:cubicBezTo>
                    <a:cubicBezTo>
                      <a:pt x="5951" y="59504"/>
                      <a:pt x="0" y="5950"/>
                      <a:pt x="0" y="5950"/>
                    </a:cubicBezTo>
                    <a:cubicBezTo>
                      <a:pt x="0" y="2975"/>
                      <a:pt x="2976" y="0"/>
                      <a:pt x="5951" y="0"/>
                    </a:cubicBezTo>
                    <a:cubicBezTo>
                      <a:pt x="8927" y="0"/>
                      <a:pt x="11902" y="2975"/>
                      <a:pt x="11902" y="5950"/>
                    </a:cubicBezTo>
                    <a:cubicBezTo>
                      <a:pt x="11902" y="5950"/>
                      <a:pt x="17852" y="53554"/>
                      <a:pt x="59504" y="83306"/>
                    </a:cubicBezTo>
                    <a:cubicBezTo>
                      <a:pt x="62480" y="86281"/>
                      <a:pt x="62480" y="89256"/>
                      <a:pt x="59504" y="92231"/>
                    </a:cubicBezTo>
                    <a:cubicBezTo>
                      <a:pt x="56530" y="89256"/>
                      <a:pt x="53555" y="89256"/>
                      <a:pt x="53555" y="8925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7E7CCBB9-3E7F-4C3B-B9DE-4EA16B43242F}"/>
                </a:ext>
              </a:extLst>
            </p:cNvPr>
            <p:cNvSpPr/>
            <p:nvPr/>
          </p:nvSpPr>
          <p:spPr>
            <a:xfrm>
              <a:off x="24766627" y="3476409"/>
              <a:ext cx="83305" cy="553388"/>
            </a:xfrm>
            <a:custGeom>
              <a:avLst/>
              <a:gdLst>
                <a:gd name="connsiteX0" fmla="*/ 65455 w 83305"/>
                <a:gd name="connsiteY0" fmla="*/ 553389 h 553388"/>
                <a:gd name="connsiteX1" fmla="*/ 65455 w 83305"/>
                <a:gd name="connsiteY1" fmla="*/ 553389 h 553388"/>
                <a:gd name="connsiteX2" fmla="*/ 2974 w 83305"/>
                <a:gd name="connsiteY2" fmla="*/ 529587 h 553388"/>
                <a:gd name="connsiteX3" fmla="*/ 0 w 83305"/>
                <a:gd name="connsiteY3" fmla="*/ 523636 h 553388"/>
                <a:gd name="connsiteX4" fmla="*/ 71406 w 83305"/>
                <a:gd name="connsiteY4" fmla="*/ 0 h 553388"/>
                <a:gd name="connsiteX5" fmla="*/ 83305 w 83305"/>
                <a:gd name="connsiteY5" fmla="*/ 0 h 553388"/>
                <a:gd name="connsiteX6" fmla="*/ 11902 w 83305"/>
                <a:gd name="connsiteY6" fmla="*/ 520661 h 553388"/>
                <a:gd name="connsiteX7" fmla="*/ 65455 w 83305"/>
                <a:gd name="connsiteY7" fmla="*/ 544463 h 553388"/>
                <a:gd name="connsiteX8" fmla="*/ 68429 w 83305"/>
                <a:gd name="connsiteY8" fmla="*/ 550413 h 553388"/>
                <a:gd name="connsiteX9" fmla="*/ 65455 w 83305"/>
                <a:gd name="connsiteY9" fmla="*/ 553389 h 553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305" h="553388">
                  <a:moveTo>
                    <a:pt x="65455" y="553389"/>
                  </a:moveTo>
                  <a:cubicBezTo>
                    <a:pt x="65455" y="553389"/>
                    <a:pt x="65455" y="553389"/>
                    <a:pt x="65455" y="553389"/>
                  </a:cubicBezTo>
                  <a:cubicBezTo>
                    <a:pt x="44628" y="547438"/>
                    <a:pt x="5951" y="529587"/>
                    <a:pt x="2974" y="529587"/>
                  </a:cubicBezTo>
                  <a:cubicBezTo>
                    <a:pt x="0" y="529587"/>
                    <a:pt x="0" y="526612"/>
                    <a:pt x="0" y="523636"/>
                  </a:cubicBezTo>
                  <a:lnTo>
                    <a:pt x="71406" y="0"/>
                  </a:lnTo>
                  <a:lnTo>
                    <a:pt x="83305" y="0"/>
                  </a:lnTo>
                  <a:lnTo>
                    <a:pt x="11902" y="520661"/>
                  </a:lnTo>
                  <a:cubicBezTo>
                    <a:pt x="20827" y="526612"/>
                    <a:pt x="50579" y="538512"/>
                    <a:pt x="65455" y="544463"/>
                  </a:cubicBezTo>
                  <a:cubicBezTo>
                    <a:pt x="68429" y="544463"/>
                    <a:pt x="71406" y="547438"/>
                    <a:pt x="68429" y="550413"/>
                  </a:cubicBezTo>
                  <a:cubicBezTo>
                    <a:pt x="68429" y="553389"/>
                    <a:pt x="68429" y="553389"/>
                    <a:pt x="65455" y="553389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F162C103-083A-4B1D-BB4D-94C795E97FD9}"/>
                </a:ext>
              </a:extLst>
            </p:cNvPr>
            <p:cNvSpPr/>
            <p:nvPr/>
          </p:nvSpPr>
          <p:spPr>
            <a:xfrm>
              <a:off x="24766627" y="3133077"/>
              <a:ext cx="393941" cy="564242"/>
            </a:xfrm>
            <a:custGeom>
              <a:avLst/>
              <a:gdLst>
                <a:gd name="connsiteX0" fmla="*/ 392728 w 393941"/>
                <a:gd name="connsiteY0" fmla="*/ 560522 h 564242"/>
                <a:gd name="connsiteX1" fmla="*/ 282645 w 393941"/>
                <a:gd name="connsiteY1" fmla="*/ 4158 h 564242"/>
                <a:gd name="connsiteX2" fmla="*/ 0 w 393941"/>
                <a:gd name="connsiteY2" fmla="*/ 486142 h 564242"/>
                <a:gd name="connsiteX3" fmla="*/ 392728 w 393941"/>
                <a:gd name="connsiteY3" fmla="*/ 560522 h 564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941" h="564242">
                  <a:moveTo>
                    <a:pt x="392728" y="560522"/>
                  </a:moveTo>
                  <a:cubicBezTo>
                    <a:pt x="392728" y="560522"/>
                    <a:pt x="413554" y="51762"/>
                    <a:pt x="282645" y="4158"/>
                  </a:cubicBezTo>
                  <a:cubicBezTo>
                    <a:pt x="130910" y="-52371"/>
                    <a:pt x="0" y="486142"/>
                    <a:pt x="0" y="486142"/>
                  </a:cubicBezTo>
                  <a:cubicBezTo>
                    <a:pt x="0" y="486142"/>
                    <a:pt x="193388" y="584324"/>
                    <a:pt x="392728" y="560522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8E82D52D-D99B-4B74-89B1-EBA7DB74A6F9}"/>
                </a:ext>
              </a:extLst>
            </p:cNvPr>
            <p:cNvSpPr/>
            <p:nvPr/>
          </p:nvSpPr>
          <p:spPr>
            <a:xfrm>
              <a:off x="24760676" y="3131285"/>
              <a:ext cx="403884" cy="577190"/>
            </a:xfrm>
            <a:custGeom>
              <a:avLst/>
              <a:gdLst>
                <a:gd name="connsiteX0" fmla="*/ 315373 w 403884"/>
                <a:gd name="connsiteY0" fmla="*/ 577190 h 577190"/>
                <a:gd name="connsiteX1" fmla="*/ 2976 w 403884"/>
                <a:gd name="connsiteY1" fmla="*/ 490909 h 577190"/>
                <a:gd name="connsiteX2" fmla="*/ 0 w 403884"/>
                <a:gd name="connsiteY2" fmla="*/ 487934 h 577190"/>
                <a:gd name="connsiteX3" fmla="*/ 0 w 403884"/>
                <a:gd name="connsiteY3" fmla="*/ 484959 h 577190"/>
                <a:gd name="connsiteX4" fmla="*/ 110083 w 403884"/>
                <a:gd name="connsiteY4" fmla="*/ 163636 h 577190"/>
                <a:gd name="connsiteX5" fmla="*/ 285621 w 403884"/>
                <a:gd name="connsiteY5" fmla="*/ 0 h 577190"/>
                <a:gd name="connsiteX6" fmla="*/ 291570 w 403884"/>
                <a:gd name="connsiteY6" fmla="*/ 5950 h 577190"/>
                <a:gd name="connsiteX7" fmla="*/ 285621 w 403884"/>
                <a:gd name="connsiteY7" fmla="*/ 11901 h 577190"/>
                <a:gd name="connsiteX8" fmla="*/ 285621 w 403884"/>
                <a:gd name="connsiteY8" fmla="*/ 11901 h 577190"/>
                <a:gd name="connsiteX9" fmla="*/ 119008 w 403884"/>
                <a:gd name="connsiteY9" fmla="*/ 166612 h 577190"/>
                <a:gd name="connsiteX10" fmla="*/ 8925 w 403884"/>
                <a:gd name="connsiteY10" fmla="*/ 484959 h 577190"/>
                <a:gd name="connsiteX11" fmla="*/ 389753 w 403884"/>
                <a:gd name="connsiteY11" fmla="*/ 559339 h 577190"/>
                <a:gd name="connsiteX12" fmla="*/ 380826 w 403884"/>
                <a:gd name="connsiteY12" fmla="*/ 279669 h 577190"/>
                <a:gd name="connsiteX13" fmla="*/ 386777 w 403884"/>
                <a:gd name="connsiteY13" fmla="*/ 273719 h 577190"/>
                <a:gd name="connsiteX14" fmla="*/ 392728 w 403884"/>
                <a:gd name="connsiteY14" fmla="*/ 279669 h 577190"/>
                <a:gd name="connsiteX15" fmla="*/ 401653 w 403884"/>
                <a:gd name="connsiteY15" fmla="*/ 568264 h 577190"/>
                <a:gd name="connsiteX16" fmla="*/ 401653 w 403884"/>
                <a:gd name="connsiteY16" fmla="*/ 571240 h 577190"/>
                <a:gd name="connsiteX17" fmla="*/ 398678 w 403884"/>
                <a:gd name="connsiteY17" fmla="*/ 571240 h 577190"/>
                <a:gd name="connsiteX18" fmla="*/ 315373 w 403884"/>
                <a:gd name="connsiteY18" fmla="*/ 577190 h 57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03884" h="577190">
                  <a:moveTo>
                    <a:pt x="315373" y="577190"/>
                  </a:moveTo>
                  <a:cubicBezTo>
                    <a:pt x="160662" y="577190"/>
                    <a:pt x="5951" y="490909"/>
                    <a:pt x="2976" y="490909"/>
                  </a:cubicBezTo>
                  <a:lnTo>
                    <a:pt x="0" y="487934"/>
                  </a:lnTo>
                  <a:lnTo>
                    <a:pt x="0" y="484959"/>
                  </a:lnTo>
                  <a:cubicBezTo>
                    <a:pt x="0" y="481984"/>
                    <a:pt x="47604" y="324298"/>
                    <a:pt x="110083" y="163636"/>
                  </a:cubicBezTo>
                  <a:cubicBezTo>
                    <a:pt x="175538" y="0"/>
                    <a:pt x="282645" y="0"/>
                    <a:pt x="285621" y="0"/>
                  </a:cubicBezTo>
                  <a:cubicBezTo>
                    <a:pt x="288595" y="0"/>
                    <a:pt x="291570" y="2975"/>
                    <a:pt x="291570" y="5950"/>
                  </a:cubicBezTo>
                  <a:cubicBezTo>
                    <a:pt x="291570" y="8926"/>
                    <a:pt x="288595" y="11901"/>
                    <a:pt x="285621" y="11901"/>
                  </a:cubicBezTo>
                  <a:cubicBezTo>
                    <a:pt x="285621" y="11901"/>
                    <a:pt x="285621" y="11901"/>
                    <a:pt x="285621" y="11901"/>
                  </a:cubicBezTo>
                  <a:cubicBezTo>
                    <a:pt x="279670" y="11901"/>
                    <a:pt x="181489" y="14876"/>
                    <a:pt x="119008" y="166612"/>
                  </a:cubicBezTo>
                  <a:cubicBezTo>
                    <a:pt x="62480" y="312397"/>
                    <a:pt x="17852" y="458182"/>
                    <a:pt x="8925" y="484959"/>
                  </a:cubicBezTo>
                  <a:cubicBezTo>
                    <a:pt x="38677" y="499835"/>
                    <a:pt x="229091" y="595041"/>
                    <a:pt x="389753" y="559339"/>
                  </a:cubicBezTo>
                  <a:cubicBezTo>
                    <a:pt x="389753" y="532562"/>
                    <a:pt x="395702" y="380827"/>
                    <a:pt x="380826" y="279669"/>
                  </a:cubicBezTo>
                  <a:cubicBezTo>
                    <a:pt x="380826" y="276694"/>
                    <a:pt x="383802" y="273719"/>
                    <a:pt x="386777" y="273719"/>
                  </a:cubicBezTo>
                  <a:cubicBezTo>
                    <a:pt x="389753" y="273719"/>
                    <a:pt x="392728" y="276694"/>
                    <a:pt x="392728" y="279669"/>
                  </a:cubicBezTo>
                  <a:cubicBezTo>
                    <a:pt x="410578" y="392727"/>
                    <a:pt x="401653" y="565289"/>
                    <a:pt x="401653" y="568264"/>
                  </a:cubicBezTo>
                  <a:lnTo>
                    <a:pt x="401653" y="571240"/>
                  </a:lnTo>
                  <a:lnTo>
                    <a:pt x="398678" y="571240"/>
                  </a:lnTo>
                  <a:cubicBezTo>
                    <a:pt x="371901" y="574215"/>
                    <a:pt x="345125" y="577190"/>
                    <a:pt x="315373" y="577190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8" name="图形 1">
              <a:extLst>
                <a:ext uri="{FF2B5EF4-FFF2-40B4-BE49-F238E27FC236}">
                  <a16:creationId xmlns:a16="http://schemas.microsoft.com/office/drawing/2014/main" id="{0FD0DCBF-392F-49D7-B831-E715E6E7EBBB}"/>
                </a:ext>
              </a:extLst>
            </p:cNvPr>
            <p:cNvGrpSpPr/>
            <p:nvPr/>
          </p:nvGrpSpPr>
          <p:grpSpPr>
            <a:xfrm>
              <a:off x="23097537" y="3988871"/>
              <a:ext cx="375008" cy="240636"/>
              <a:chOff x="23097537" y="3988871"/>
              <a:chExt cx="375008" cy="240636"/>
            </a:xfrm>
          </p:grpSpPr>
          <p:grpSp>
            <p:nvGrpSpPr>
              <p:cNvPr id="41" name="图形 1">
                <a:extLst>
                  <a:ext uri="{FF2B5EF4-FFF2-40B4-BE49-F238E27FC236}">
                    <a16:creationId xmlns:a16="http://schemas.microsoft.com/office/drawing/2014/main" id="{E626370F-FBB1-4B91-BBEB-9D9211E92EF7}"/>
                  </a:ext>
                </a:extLst>
              </p:cNvPr>
              <p:cNvGrpSpPr/>
              <p:nvPr/>
            </p:nvGrpSpPr>
            <p:grpSpPr>
              <a:xfrm>
                <a:off x="23097537" y="3988871"/>
                <a:ext cx="375008" cy="240636"/>
                <a:chOff x="23097537" y="3988871"/>
                <a:chExt cx="375008" cy="240636"/>
              </a:xfrm>
            </p:grpSpPr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2FEDC890-FAD5-49D1-8234-DEA48D6903DB}"/>
                    </a:ext>
                  </a:extLst>
                </p:cNvPr>
                <p:cNvSpPr/>
                <p:nvPr/>
              </p:nvSpPr>
              <p:spPr>
                <a:xfrm>
                  <a:off x="23103485" y="3988871"/>
                  <a:ext cx="369059" cy="240636"/>
                </a:xfrm>
                <a:custGeom>
                  <a:avLst/>
                  <a:gdLst>
                    <a:gd name="connsiteX0" fmla="*/ 154711 w 369059"/>
                    <a:gd name="connsiteY0" fmla="*/ 198613 h 240636"/>
                    <a:gd name="connsiteX1" fmla="*/ 291572 w 369059"/>
                    <a:gd name="connsiteY1" fmla="*/ 237290 h 240636"/>
                    <a:gd name="connsiteX2" fmla="*/ 368926 w 369059"/>
                    <a:gd name="connsiteY2" fmla="*/ 159935 h 240636"/>
                    <a:gd name="connsiteX3" fmla="*/ 365952 w 369059"/>
                    <a:gd name="connsiteY3" fmla="*/ 156960 h 240636"/>
                    <a:gd name="connsiteX4" fmla="*/ 365952 w 369059"/>
                    <a:gd name="connsiteY4" fmla="*/ 153984 h 240636"/>
                    <a:gd name="connsiteX5" fmla="*/ 240993 w 369059"/>
                    <a:gd name="connsiteY5" fmla="*/ 5224 h 240636"/>
                    <a:gd name="connsiteX6" fmla="*/ 229091 w 369059"/>
                    <a:gd name="connsiteY6" fmla="*/ 34976 h 240636"/>
                    <a:gd name="connsiteX7" fmla="*/ 276696 w 369059"/>
                    <a:gd name="connsiteY7" fmla="*/ 88530 h 240636"/>
                    <a:gd name="connsiteX8" fmla="*/ 101158 w 369059"/>
                    <a:gd name="connsiteY8" fmla="*/ 2249 h 240636"/>
                    <a:gd name="connsiteX9" fmla="*/ 68431 w 369059"/>
                    <a:gd name="connsiteY9" fmla="*/ 14150 h 240636"/>
                    <a:gd name="connsiteX10" fmla="*/ 107109 w 369059"/>
                    <a:gd name="connsiteY10" fmla="*/ 40927 h 240636"/>
                    <a:gd name="connsiteX11" fmla="*/ 160662 w 369059"/>
                    <a:gd name="connsiteY11" fmla="*/ 73654 h 240636"/>
                    <a:gd name="connsiteX12" fmla="*/ 80331 w 369059"/>
                    <a:gd name="connsiteY12" fmla="*/ 52827 h 240636"/>
                    <a:gd name="connsiteX13" fmla="*/ 23803 w 369059"/>
                    <a:gd name="connsiteY13" fmla="*/ 37951 h 240636"/>
                    <a:gd name="connsiteX14" fmla="*/ 0 w 369059"/>
                    <a:gd name="connsiteY14" fmla="*/ 55803 h 240636"/>
                    <a:gd name="connsiteX15" fmla="*/ 14876 w 369059"/>
                    <a:gd name="connsiteY15" fmla="*/ 82579 h 240636"/>
                    <a:gd name="connsiteX16" fmla="*/ 11902 w 369059"/>
                    <a:gd name="connsiteY16" fmla="*/ 82579 h 240636"/>
                    <a:gd name="connsiteX17" fmla="*/ 2976 w 369059"/>
                    <a:gd name="connsiteY17" fmla="*/ 91505 h 240636"/>
                    <a:gd name="connsiteX18" fmla="*/ 44628 w 369059"/>
                    <a:gd name="connsiteY18" fmla="*/ 118282 h 240636"/>
                    <a:gd name="connsiteX19" fmla="*/ 71406 w 369059"/>
                    <a:gd name="connsiteY19" fmla="*/ 127208 h 240636"/>
                    <a:gd name="connsiteX20" fmla="*/ 62480 w 369059"/>
                    <a:gd name="connsiteY20" fmla="*/ 127208 h 240636"/>
                    <a:gd name="connsiteX21" fmla="*/ 44628 w 369059"/>
                    <a:gd name="connsiteY21" fmla="*/ 139108 h 240636"/>
                    <a:gd name="connsiteX22" fmla="*/ 154711 w 369059"/>
                    <a:gd name="connsiteY22" fmla="*/ 198613 h 240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369059" h="240636">
                      <a:moveTo>
                        <a:pt x="154711" y="198613"/>
                      </a:moveTo>
                      <a:cubicBezTo>
                        <a:pt x="196365" y="213489"/>
                        <a:pt x="243967" y="252166"/>
                        <a:pt x="291572" y="237290"/>
                      </a:cubicBezTo>
                      <a:cubicBezTo>
                        <a:pt x="324298" y="228365"/>
                        <a:pt x="371901" y="189687"/>
                        <a:pt x="368926" y="159935"/>
                      </a:cubicBezTo>
                      <a:cubicBezTo>
                        <a:pt x="368926" y="156960"/>
                        <a:pt x="365952" y="156960"/>
                        <a:pt x="365952" y="156960"/>
                      </a:cubicBezTo>
                      <a:cubicBezTo>
                        <a:pt x="365952" y="156960"/>
                        <a:pt x="365952" y="156960"/>
                        <a:pt x="365952" y="153984"/>
                      </a:cubicBezTo>
                      <a:cubicBezTo>
                        <a:pt x="371901" y="82579"/>
                        <a:pt x="306448" y="20100"/>
                        <a:pt x="240993" y="5224"/>
                      </a:cubicBezTo>
                      <a:cubicBezTo>
                        <a:pt x="235042" y="5224"/>
                        <a:pt x="217192" y="26051"/>
                        <a:pt x="229091" y="34976"/>
                      </a:cubicBezTo>
                      <a:cubicBezTo>
                        <a:pt x="252893" y="52827"/>
                        <a:pt x="270745" y="67703"/>
                        <a:pt x="276696" y="88530"/>
                      </a:cubicBezTo>
                      <a:cubicBezTo>
                        <a:pt x="214215" y="64728"/>
                        <a:pt x="169587" y="17125"/>
                        <a:pt x="101158" y="2249"/>
                      </a:cubicBezTo>
                      <a:cubicBezTo>
                        <a:pt x="89256" y="-726"/>
                        <a:pt x="59504" y="-3701"/>
                        <a:pt x="68431" y="14150"/>
                      </a:cubicBezTo>
                      <a:cubicBezTo>
                        <a:pt x="74380" y="26051"/>
                        <a:pt x="95207" y="32001"/>
                        <a:pt x="107109" y="40927"/>
                      </a:cubicBezTo>
                      <a:cubicBezTo>
                        <a:pt x="124959" y="52827"/>
                        <a:pt x="142811" y="61753"/>
                        <a:pt x="160662" y="73654"/>
                      </a:cubicBezTo>
                      <a:cubicBezTo>
                        <a:pt x="133884" y="67703"/>
                        <a:pt x="107109" y="58778"/>
                        <a:pt x="80331" y="52827"/>
                      </a:cubicBezTo>
                      <a:cubicBezTo>
                        <a:pt x="62480" y="46877"/>
                        <a:pt x="41654" y="37951"/>
                        <a:pt x="23803" y="37951"/>
                      </a:cubicBezTo>
                      <a:cubicBezTo>
                        <a:pt x="11902" y="37951"/>
                        <a:pt x="2976" y="46877"/>
                        <a:pt x="0" y="55803"/>
                      </a:cubicBezTo>
                      <a:cubicBezTo>
                        <a:pt x="0" y="67703"/>
                        <a:pt x="5951" y="73654"/>
                        <a:pt x="14876" y="82579"/>
                      </a:cubicBezTo>
                      <a:cubicBezTo>
                        <a:pt x="14876" y="82579"/>
                        <a:pt x="11902" y="82579"/>
                        <a:pt x="11902" y="82579"/>
                      </a:cubicBezTo>
                      <a:cubicBezTo>
                        <a:pt x="8927" y="82579"/>
                        <a:pt x="2976" y="91505"/>
                        <a:pt x="2976" y="91505"/>
                      </a:cubicBezTo>
                      <a:cubicBezTo>
                        <a:pt x="8927" y="106381"/>
                        <a:pt x="26778" y="112332"/>
                        <a:pt x="44628" y="118282"/>
                      </a:cubicBezTo>
                      <a:cubicBezTo>
                        <a:pt x="53555" y="121257"/>
                        <a:pt x="62480" y="124232"/>
                        <a:pt x="71406" y="127208"/>
                      </a:cubicBezTo>
                      <a:cubicBezTo>
                        <a:pt x="68431" y="127208"/>
                        <a:pt x="65455" y="127208"/>
                        <a:pt x="62480" y="127208"/>
                      </a:cubicBezTo>
                      <a:cubicBezTo>
                        <a:pt x="53555" y="127208"/>
                        <a:pt x="47604" y="133158"/>
                        <a:pt x="44628" y="139108"/>
                      </a:cubicBezTo>
                      <a:cubicBezTo>
                        <a:pt x="47604" y="159935"/>
                        <a:pt x="127935" y="189687"/>
                        <a:pt x="154711" y="198613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F32278B4-37C4-48CA-A28F-6DFD42CD48DE}"/>
                    </a:ext>
                  </a:extLst>
                </p:cNvPr>
                <p:cNvSpPr/>
                <p:nvPr/>
              </p:nvSpPr>
              <p:spPr>
                <a:xfrm>
                  <a:off x="23360535" y="4098227"/>
                  <a:ext cx="28571" cy="59504"/>
                </a:xfrm>
                <a:custGeom>
                  <a:avLst/>
                  <a:gdLst>
                    <a:gd name="connsiteX0" fmla="*/ 25595 w 28571"/>
                    <a:gd name="connsiteY0" fmla="*/ 59504 h 59504"/>
                    <a:gd name="connsiteX1" fmla="*/ 25595 w 28571"/>
                    <a:gd name="connsiteY1" fmla="*/ 59504 h 59504"/>
                    <a:gd name="connsiteX2" fmla="*/ 1794 w 28571"/>
                    <a:gd name="connsiteY2" fmla="*/ 2975 h 59504"/>
                    <a:gd name="connsiteX3" fmla="*/ 7745 w 28571"/>
                    <a:gd name="connsiteY3" fmla="*/ 0 h 59504"/>
                    <a:gd name="connsiteX4" fmla="*/ 10719 w 28571"/>
                    <a:gd name="connsiteY4" fmla="*/ 5951 h 59504"/>
                    <a:gd name="connsiteX5" fmla="*/ 25595 w 28571"/>
                    <a:gd name="connsiteY5" fmla="*/ 50579 h 59504"/>
                    <a:gd name="connsiteX6" fmla="*/ 28571 w 28571"/>
                    <a:gd name="connsiteY6" fmla="*/ 59504 h 59504"/>
                    <a:gd name="connsiteX7" fmla="*/ 25595 w 28571"/>
                    <a:gd name="connsiteY7" fmla="*/ 59504 h 59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8571" h="59504">
                      <a:moveTo>
                        <a:pt x="25595" y="59504"/>
                      </a:moveTo>
                      <a:cubicBezTo>
                        <a:pt x="25595" y="59504"/>
                        <a:pt x="25595" y="59504"/>
                        <a:pt x="25595" y="59504"/>
                      </a:cubicBezTo>
                      <a:cubicBezTo>
                        <a:pt x="-4157" y="41653"/>
                        <a:pt x="-1181" y="14876"/>
                        <a:pt x="1794" y="2975"/>
                      </a:cubicBezTo>
                      <a:cubicBezTo>
                        <a:pt x="1794" y="0"/>
                        <a:pt x="4770" y="0"/>
                        <a:pt x="7745" y="0"/>
                      </a:cubicBezTo>
                      <a:cubicBezTo>
                        <a:pt x="10719" y="0"/>
                        <a:pt x="10719" y="2975"/>
                        <a:pt x="10719" y="5951"/>
                      </a:cubicBezTo>
                      <a:cubicBezTo>
                        <a:pt x="10719" y="5951"/>
                        <a:pt x="1794" y="32727"/>
                        <a:pt x="25595" y="50579"/>
                      </a:cubicBezTo>
                      <a:cubicBezTo>
                        <a:pt x="28571" y="53554"/>
                        <a:pt x="28571" y="56529"/>
                        <a:pt x="28571" y="59504"/>
                      </a:cubicBezTo>
                      <a:cubicBezTo>
                        <a:pt x="28571" y="59504"/>
                        <a:pt x="28571" y="59504"/>
                        <a:pt x="25595" y="59504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538CCADA-937C-420F-881B-359A317135A0}"/>
                    </a:ext>
                  </a:extLst>
                </p:cNvPr>
                <p:cNvSpPr/>
                <p:nvPr/>
              </p:nvSpPr>
              <p:spPr>
                <a:xfrm>
                  <a:off x="23097537" y="3994839"/>
                  <a:ext cx="175536" cy="73636"/>
                </a:xfrm>
                <a:custGeom>
                  <a:avLst/>
                  <a:gdLst>
                    <a:gd name="connsiteX0" fmla="*/ 20825 w 175536"/>
                    <a:gd name="connsiteY0" fmla="*/ 73636 h 73636"/>
                    <a:gd name="connsiteX1" fmla="*/ 20825 w 175536"/>
                    <a:gd name="connsiteY1" fmla="*/ 73636 h 73636"/>
                    <a:gd name="connsiteX2" fmla="*/ 0 w 175536"/>
                    <a:gd name="connsiteY2" fmla="*/ 49835 h 73636"/>
                    <a:gd name="connsiteX3" fmla="*/ 14876 w 175536"/>
                    <a:gd name="connsiteY3" fmla="*/ 29008 h 73636"/>
                    <a:gd name="connsiteX4" fmla="*/ 121983 w 175536"/>
                    <a:gd name="connsiteY4" fmla="*/ 46859 h 73636"/>
                    <a:gd name="connsiteX5" fmla="*/ 71404 w 175536"/>
                    <a:gd name="connsiteY5" fmla="*/ 11157 h 73636"/>
                    <a:gd name="connsiteX6" fmla="*/ 71404 w 175536"/>
                    <a:gd name="connsiteY6" fmla="*/ 2231 h 73636"/>
                    <a:gd name="connsiteX7" fmla="*/ 80329 w 175536"/>
                    <a:gd name="connsiteY7" fmla="*/ 2231 h 73636"/>
                    <a:gd name="connsiteX8" fmla="*/ 172562 w 175536"/>
                    <a:gd name="connsiteY8" fmla="*/ 58760 h 73636"/>
                    <a:gd name="connsiteX9" fmla="*/ 175536 w 175536"/>
                    <a:gd name="connsiteY9" fmla="*/ 64711 h 73636"/>
                    <a:gd name="connsiteX10" fmla="*/ 169585 w 175536"/>
                    <a:gd name="connsiteY10" fmla="*/ 67686 h 73636"/>
                    <a:gd name="connsiteX11" fmla="*/ 26776 w 175536"/>
                    <a:gd name="connsiteY11" fmla="*/ 34959 h 73636"/>
                    <a:gd name="connsiteX12" fmla="*/ 17851 w 175536"/>
                    <a:gd name="connsiteY12" fmla="*/ 46859 h 73636"/>
                    <a:gd name="connsiteX13" fmla="*/ 29752 w 175536"/>
                    <a:gd name="connsiteY13" fmla="*/ 61736 h 73636"/>
                    <a:gd name="connsiteX14" fmla="*/ 32727 w 175536"/>
                    <a:gd name="connsiteY14" fmla="*/ 67686 h 73636"/>
                    <a:gd name="connsiteX15" fmla="*/ 20825 w 175536"/>
                    <a:gd name="connsiteY15" fmla="*/ 73636 h 73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75536" h="73636">
                      <a:moveTo>
                        <a:pt x="20825" y="73636"/>
                      </a:moveTo>
                      <a:cubicBezTo>
                        <a:pt x="20825" y="73636"/>
                        <a:pt x="20825" y="73636"/>
                        <a:pt x="20825" y="73636"/>
                      </a:cubicBezTo>
                      <a:cubicBezTo>
                        <a:pt x="8925" y="67686"/>
                        <a:pt x="0" y="58760"/>
                        <a:pt x="0" y="49835"/>
                      </a:cubicBezTo>
                      <a:cubicBezTo>
                        <a:pt x="0" y="40909"/>
                        <a:pt x="5949" y="31983"/>
                        <a:pt x="14876" y="29008"/>
                      </a:cubicBezTo>
                      <a:cubicBezTo>
                        <a:pt x="26776" y="23058"/>
                        <a:pt x="80329" y="34959"/>
                        <a:pt x="121983" y="46859"/>
                      </a:cubicBezTo>
                      <a:cubicBezTo>
                        <a:pt x="95205" y="29008"/>
                        <a:pt x="71404" y="14132"/>
                        <a:pt x="71404" y="11157"/>
                      </a:cubicBezTo>
                      <a:cubicBezTo>
                        <a:pt x="68429" y="8182"/>
                        <a:pt x="68429" y="5207"/>
                        <a:pt x="71404" y="2231"/>
                      </a:cubicBezTo>
                      <a:cubicBezTo>
                        <a:pt x="74380" y="-744"/>
                        <a:pt x="77355" y="-744"/>
                        <a:pt x="80329" y="2231"/>
                      </a:cubicBezTo>
                      <a:cubicBezTo>
                        <a:pt x="80329" y="2231"/>
                        <a:pt x="136859" y="40909"/>
                        <a:pt x="172562" y="58760"/>
                      </a:cubicBezTo>
                      <a:cubicBezTo>
                        <a:pt x="175536" y="58760"/>
                        <a:pt x="175536" y="61736"/>
                        <a:pt x="175536" y="64711"/>
                      </a:cubicBezTo>
                      <a:cubicBezTo>
                        <a:pt x="175536" y="67686"/>
                        <a:pt x="172562" y="67686"/>
                        <a:pt x="169585" y="67686"/>
                      </a:cubicBezTo>
                      <a:cubicBezTo>
                        <a:pt x="107107" y="46859"/>
                        <a:pt x="35701" y="29008"/>
                        <a:pt x="26776" y="34959"/>
                      </a:cubicBezTo>
                      <a:cubicBezTo>
                        <a:pt x="23801" y="37934"/>
                        <a:pt x="17851" y="40909"/>
                        <a:pt x="17851" y="46859"/>
                      </a:cubicBezTo>
                      <a:cubicBezTo>
                        <a:pt x="17851" y="52810"/>
                        <a:pt x="23801" y="58760"/>
                        <a:pt x="29752" y="61736"/>
                      </a:cubicBezTo>
                      <a:cubicBezTo>
                        <a:pt x="32727" y="61736"/>
                        <a:pt x="32727" y="67686"/>
                        <a:pt x="32727" y="67686"/>
                      </a:cubicBezTo>
                      <a:cubicBezTo>
                        <a:pt x="26776" y="73636"/>
                        <a:pt x="23801" y="73636"/>
                        <a:pt x="20825" y="73636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B2E82F71-2448-473D-9A16-8E97428C5E5C}"/>
                  </a:ext>
                </a:extLst>
              </p:cNvPr>
              <p:cNvSpPr/>
              <p:nvPr/>
            </p:nvSpPr>
            <p:spPr>
              <a:xfrm>
                <a:off x="23148020" y="4105198"/>
                <a:ext cx="131003" cy="82284"/>
              </a:xfrm>
              <a:custGeom>
                <a:avLst/>
                <a:gdLst>
                  <a:gd name="connsiteX0" fmla="*/ 95301 w 131003"/>
                  <a:gd name="connsiteY0" fmla="*/ 82285 h 82284"/>
                  <a:gd name="connsiteX1" fmla="*/ 95301 w 131003"/>
                  <a:gd name="connsiteY1" fmla="*/ 82285 h 82284"/>
                  <a:gd name="connsiteX2" fmla="*/ 94 w 131003"/>
                  <a:gd name="connsiteY2" fmla="*/ 19805 h 82284"/>
                  <a:gd name="connsiteX3" fmla="*/ 9021 w 131003"/>
                  <a:gd name="connsiteY3" fmla="*/ 4929 h 82284"/>
                  <a:gd name="connsiteX4" fmla="*/ 38773 w 131003"/>
                  <a:gd name="connsiteY4" fmla="*/ 1954 h 82284"/>
                  <a:gd name="connsiteX5" fmla="*/ 77450 w 131003"/>
                  <a:gd name="connsiteY5" fmla="*/ 16830 h 82284"/>
                  <a:gd name="connsiteX6" fmla="*/ 125053 w 131003"/>
                  <a:gd name="connsiteY6" fmla="*/ 34681 h 82284"/>
                  <a:gd name="connsiteX7" fmla="*/ 131004 w 131003"/>
                  <a:gd name="connsiteY7" fmla="*/ 40632 h 82284"/>
                  <a:gd name="connsiteX8" fmla="*/ 125053 w 131003"/>
                  <a:gd name="connsiteY8" fmla="*/ 46582 h 82284"/>
                  <a:gd name="connsiteX9" fmla="*/ 74474 w 131003"/>
                  <a:gd name="connsiteY9" fmla="*/ 28731 h 82284"/>
                  <a:gd name="connsiteX10" fmla="*/ 38773 w 131003"/>
                  <a:gd name="connsiteY10" fmla="*/ 13855 h 82284"/>
                  <a:gd name="connsiteX11" fmla="*/ 17946 w 131003"/>
                  <a:gd name="connsiteY11" fmla="*/ 13855 h 82284"/>
                  <a:gd name="connsiteX12" fmla="*/ 14970 w 131003"/>
                  <a:gd name="connsiteY12" fmla="*/ 22781 h 82284"/>
                  <a:gd name="connsiteX13" fmla="*/ 101252 w 131003"/>
                  <a:gd name="connsiteY13" fmla="*/ 73359 h 82284"/>
                  <a:gd name="connsiteX14" fmla="*/ 104226 w 131003"/>
                  <a:gd name="connsiteY14" fmla="*/ 79310 h 82284"/>
                  <a:gd name="connsiteX15" fmla="*/ 95301 w 131003"/>
                  <a:gd name="connsiteY15" fmla="*/ 82285 h 82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1003" h="82284">
                    <a:moveTo>
                      <a:pt x="95301" y="82285"/>
                    </a:moveTo>
                    <a:cubicBezTo>
                      <a:pt x="95301" y="82285"/>
                      <a:pt x="95301" y="82285"/>
                      <a:pt x="95301" y="82285"/>
                    </a:cubicBezTo>
                    <a:cubicBezTo>
                      <a:pt x="65549" y="70384"/>
                      <a:pt x="-2881" y="43607"/>
                      <a:pt x="94" y="19805"/>
                    </a:cubicBezTo>
                    <a:cubicBezTo>
                      <a:pt x="94" y="10880"/>
                      <a:pt x="6045" y="4929"/>
                      <a:pt x="9021" y="4929"/>
                    </a:cubicBezTo>
                    <a:cubicBezTo>
                      <a:pt x="14970" y="-1021"/>
                      <a:pt x="26872" y="-1021"/>
                      <a:pt x="38773" y="1954"/>
                    </a:cubicBezTo>
                    <a:cubicBezTo>
                      <a:pt x="47698" y="4929"/>
                      <a:pt x="59598" y="10880"/>
                      <a:pt x="77450" y="16830"/>
                    </a:cubicBezTo>
                    <a:cubicBezTo>
                      <a:pt x="95301" y="25756"/>
                      <a:pt x="119102" y="31706"/>
                      <a:pt x="125053" y="34681"/>
                    </a:cubicBezTo>
                    <a:cubicBezTo>
                      <a:pt x="128029" y="34681"/>
                      <a:pt x="131004" y="37657"/>
                      <a:pt x="131004" y="40632"/>
                    </a:cubicBezTo>
                    <a:cubicBezTo>
                      <a:pt x="131004" y="43607"/>
                      <a:pt x="128029" y="46582"/>
                      <a:pt x="125053" y="46582"/>
                    </a:cubicBezTo>
                    <a:cubicBezTo>
                      <a:pt x="116128" y="43607"/>
                      <a:pt x="95301" y="37657"/>
                      <a:pt x="74474" y="28731"/>
                    </a:cubicBezTo>
                    <a:cubicBezTo>
                      <a:pt x="59598" y="22781"/>
                      <a:pt x="44722" y="16830"/>
                      <a:pt x="38773" y="13855"/>
                    </a:cubicBezTo>
                    <a:cubicBezTo>
                      <a:pt x="29846" y="10880"/>
                      <a:pt x="20921" y="10880"/>
                      <a:pt x="17946" y="13855"/>
                    </a:cubicBezTo>
                    <a:cubicBezTo>
                      <a:pt x="14970" y="16830"/>
                      <a:pt x="14970" y="16830"/>
                      <a:pt x="14970" y="22781"/>
                    </a:cubicBezTo>
                    <a:cubicBezTo>
                      <a:pt x="14970" y="31706"/>
                      <a:pt x="53649" y="55508"/>
                      <a:pt x="101252" y="73359"/>
                    </a:cubicBezTo>
                    <a:cubicBezTo>
                      <a:pt x="104226" y="73359"/>
                      <a:pt x="104226" y="76334"/>
                      <a:pt x="104226" y="79310"/>
                    </a:cubicBezTo>
                    <a:cubicBezTo>
                      <a:pt x="98277" y="82285"/>
                      <a:pt x="98277" y="82285"/>
                      <a:pt x="95301" y="82285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36AD1404-5938-4D83-B3AC-00764BBBB18E}"/>
                  </a:ext>
                </a:extLst>
              </p:cNvPr>
              <p:cNvSpPr/>
              <p:nvPr/>
            </p:nvSpPr>
            <p:spPr>
              <a:xfrm>
                <a:off x="23103485" y="4053599"/>
                <a:ext cx="173795" cy="62479"/>
              </a:xfrm>
              <a:custGeom>
                <a:avLst/>
                <a:gdLst>
                  <a:gd name="connsiteX0" fmla="*/ 62480 w 173795"/>
                  <a:gd name="connsiteY0" fmla="*/ 62479 h 62479"/>
                  <a:gd name="connsiteX1" fmla="*/ 62480 w 173795"/>
                  <a:gd name="connsiteY1" fmla="*/ 62479 h 62479"/>
                  <a:gd name="connsiteX2" fmla="*/ 0 w 173795"/>
                  <a:gd name="connsiteY2" fmla="*/ 26777 h 62479"/>
                  <a:gd name="connsiteX3" fmla="*/ 2976 w 173795"/>
                  <a:gd name="connsiteY3" fmla="*/ 11901 h 62479"/>
                  <a:gd name="connsiteX4" fmla="*/ 35703 w 173795"/>
                  <a:gd name="connsiteY4" fmla="*/ 0 h 62479"/>
                  <a:gd name="connsiteX5" fmla="*/ 101158 w 173795"/>
                  <a:gd name="connsiteY5" fmla="*/ 23802 h 62479"/>
                  <a:gd name="connsiteX6" fmla="*/ 113059 w 173795"/>
                  <a:gd name="connsiteY6" fmla="*/ 29752 h 62479"/>
                  <a:gd name="connsiteX7" fmla="*/ 169587 w 173795"/>
                  <a:gd name="connsiteY7" fmla="*/ 47603 h 62479"/>
                  <a:gd name="connsiteX8" fmla="*/ 172563 w 173795"/>
                  <a:gd name="connsiteY8" fmla="*/ 53554 h 62479"/>
                  <a:gd name="connsiteX9" fmla="*/ 166613 w 173795"/>
                  <a:gd name="connsiteY9" fmla="*/ 56529 h 62479"/>
                  <a:gd name="connsiteX10" fmla="*/ 107109 w 173795"/>
                  <a:gd name="connsiteY10" fmla="*/ 38678 h 62479"/>
                  <a:gd name="connsiteX11" fmla="*/ 95207 w 173795"/>
                  <a:gd name="connsiteY11" fmla="*/ 32727 h 62479"/>
                  <a:gd name="connsiteX12" fmla="*/ 32728 w 173795"/>
                  <a:gd name="connsiteY12" fmla="*/ 8926 h 62479"/>
                  <a:gd name="connsiteX13" fmla="*/ 8927 w 173795"/>
                  <a:gd name="connsiteY13" fmla="*/ 14876 h 62479"/>
                  <a:gd name="connsiteX14" fmla="*/ 8927 w 173795"/>
                  <a:gd name="connsiteY14" fmla="*/ 20827 h 62479"/>
                  <a:gd name="connsiteX15" fmla="*/ 62480 w 173795"/>
                  <a:gd name="connsiteY15" fmla="*/ 47603 h 62479"/>
                  <a:gd name="connsiteX16" fmla="*/ 65455 w 173795"/>
                  <a:gd name="connsiteY16" fmla="*/ 53554 h 62479"/>
                  <a:gd name="connsiteX17" fmla="*/ 62480 w 173795"/>
                  <a:gd name="connsiteY17" fmla="*/ 62479 h 6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3795" h="62479">
                    <a:moveTo>
                      <a:pt x="62480" y="62479"/>
                    </a:moveTo>
                    <a:cubicBezTo>
                      <a:pt x="62480" y="62479"/>
                      <a:pt x="62480" y="62479"/>
                      <a:pt x="62480" y="62479"/>
                    </a:cubicBezTo>
                    <a:cubicBezTo>
                      <a:pt x="44628" y="56529"/>
                      <a:pt x="2976" y="41653"/>
                      <a:pt x="0" y="26777"/>
                    </a:cubicBezTo>
                    <a:cubicBezTo>
                      <a:pt x="0" y="20827"/>
                      <a:pt x="0" y="17851"/>
                      <a:pt x="2976" y="11901"/>
                    </a:cubicBezTo>
                    <a:cubicBezTo>
                      <a:pt x="8927" y="2975"/>
                      <a:pt x="23803" y="0"/>
                      <a:pt x="35703" y="0"/>
                    </a:cubicBezTo>
                    <a:cubicBezTo>
                      <a:pt x="47604" y="0"/>
                      <a:pt x="74380" y="11901"/>
                      <a:pt x="101158" y="23802"/>
                    </a:cubicBezTo>
                    <a:cubicBezTo>
                      <a:pt x="107109" y="26777"/>
                      <a:pt x="110083" y="26777"/>
                      <a:pt x="113059" y="29752"/>
                    </a:cubicBezTo>
                    <a:cubicBezTo>
                      <a:pt x="119008" y="32727"/>
                      <a:pt x="157687" y="41653"/>
                      <a:pt x="169587" y="47603"/>
                    </a:cubicBezTo>
                    <a:cubicBezTo>
                      <a:pt x="172563" y="47603"/>
                      <a:pt x="175538" y="50579"/>
                      <a:pt x="172563" y="53554"/>
                    </a:cubicBezTo>
                    <a:cubicBezTo>
                      <a:pt x="172563" y="56529"/>
                      <a:pt x="169587" y="59504"/>
                      <a:pt x="166613" y="56529"/>
                    </a:cubicBezTo>
                    <a:cubicBezTo>
                      <a:pt x="163636" y="56529"/>
                      <a:pt x="116034" y="44628"/>
                      <a:pt x="107109" y="38678"/>
                    </a:cubicBezTo>
                    <a:cubicBezTo>
                      <a:pt x="104132" y="38678"/>
                      <a:pt x="101158" y="35703"/>
                      <a:pt x="95207" y="32727"/>
                    </a:cubicBezTo>
                    <a:cubicBezTo>
                      <a:pt x="77356" y="26777"/>
                      <a:pt x="44628" y="11901"/>
                      <a:pt x="32728" y="8926"/>
                    </a:cubicBezTo>
                    <a:cubicBezTo>
                      <a:pt x="23803" y="8926"/>
                      <a:pt x="11902" y="11901"/>
                      <a:pt x="8927" y="14876"/>
                    </a:cubicBezTo>
                    <a:cubicBezTo>
                      <a:pt x="8927" y="14876"/>
                      <a:pt x="5951" y="17851"/>
                      <a:pt x="8927" y="20827"/>
                    </a:cubicBezTo>
                    <a:cubicBezTo>
                      <a:pt x="8927" y="26777"/>
                      <a:pt x="35703" y="38678"/>
                      <a:pt x="62480" y="47603"/>
                    </a:cubicBezTo>
                    <a:cubicBezTo>
                      <a:pt x="65455" y="47603"/>
                      <a:pt x="65455" y="50579"/>
                      <a:pt x="65455" y="53554"/>
                    </a:cubicBezTo>
                    <a:cubicBezTo>
                      <a:pt x="65455" y="62479"/>
                      <a:pt x="65455" y="62479"/>
                      <a:pt x="62480" y="62479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6362B1C5-1E47-48AA-B56D-5A9108970A66}"/>
                </a:ext>
              </a:extLst>
            </p:cNvPr>
            <p:cNvSpPr/>
            <p:nvPr/>
          </p:nvSpPr>
          <p:spPr>
            <a:xfrm>
              <a:off x="24013729" y="5536337"/>
              <a:ext cx="588897" cy="136369"/>
            </a:xfrm>
            <a:custGeom>
              <a:avLst/>
              <a:gdLst>
                <a:gd name="connsiteX0" fmla="*/ 550584 w 588897"/>
                <a:gd name="connsiteY0" fmla="*/ 52469 h 136369"/>
                <a:gd name="connsiteX1" fmla="*/ 47773 w 588897"/>
                <a:gd name="connsiteY1" fmla="*/ 1890 h 136369"/>
                <a:gd name="connsiteX2" fmla="*/ 26946 w 588897"/>
                <a:gd name="connsiteY2" fmla="*/ 79246 h 136369"/>
                <a:gd name="connsiteX3" fmla="*/ 553558 w 588897"/>
                <a:gd name="connsiteY3" fmla="*/ 132799 h 136369"/>
                <a:gd name="connsiteX4" fmla="*/ 550584 w 588897"/>
                <a:gd name="connsiteY4" fmla="*/ 52469 h 1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8897" h="136369">
                  <a:moveTo>
                    <a:pt x="550584" y="52469"/>
                  </a:moveTo>
                  <a:cubicBezTo>
                    <a:pt x="378022" y="64370"/>
                    <a:pt x="211409" y="46518"/>
                    <a:pt x="47773" y="1890"/>
                  </a:cubicBezTo>
                  <a:cubicBezTo>
                    <a:pt x="170" y="-12986"/>
                    <a:pt x="-20656" y="64370"/>
                    <a:pt x="26946" y="79246"/>
                  </a:cubicBezTo>
                  <a:cubicBezTo>
                    <a:pt x="199510" y="126849"/>
                    <a:pt x="375046" y="144700"/>
                    <a:pt x="553558" y="132799"/>
                  </a:cubicBezTo>
                  <a:cubicBezTo>
                    <a:pt x="601162" y="129824"/>
                    <a:pt x="601162" y="49494"/>
                    <a:pt x="550584" y="52469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1D6F5642-00E3-47E2-B448-3857BB6540E7}"/>
                </a:ext>
              </a:extLst>
            </p:cNvPr>
            <p:cNvSpPr/>
            <p:nvPr/>
          </p:nvSpPr>
          <p:spPr>
            <a:xfrm>
              <a:off x="24767293" y="5637430"/>
              <a:ext cx="674875" cy="149695"/>
            </a:xfrm>
            <a:custGeom>
              <a:avLst/>
              <a:gdLst>
                <a:gd name="connsiteX0" fmla="*/ 627102 w 674875"/>
                <a:gd name="connsiteY0" fmla="*/ 1954 h 149695"/>
                <a:gd name="connsiteX1" fmla="*/ 49913 w 674875"/>
                <a:gd name="connsiteY1" fmla="*/ 58483 h 149695"/>
                <a:gd name="connsiteX2" fmla="*/ 29086 w 674875"/>
                <a:gd name="connsiteY2" fmla="*/ 135838 h 149695"/>
                <a:gd name="connsiteX3" fmla="*/ 647929 w 674875"/>
                <a:gd name="connsiteY3" fmla="*/ 79309 h 149695"/>
                <a:gd name="connsiteX4" fmla="*/ 627102 w 674875"/>
                <a:gd name="connsiteY4" fmla="*/ 1954 h 149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875" h="149695">
                  <a:moveTo>
                    <a:pt x="627102" y="1954"/>
                  </a:moveTo>
                  <a:cubicBezTo>
                    <a:pt x="439664" y="64433"/>
                    <a:pt x="246276" y="85260"/>
                    <a:pt x="49913" y="58483"/>
                  </a:cubicBezTo>
                  <a:cubicBezTo>
                    <a:pt x="-666" y="52533"/>
                    <a:pt x="-21493" y="126913"/>
                    <a:pt x="29086" y="135838"/>
                  </a:cubicBezTo>
                  <a:cubicBezTo>
                    <a:pt x="240325" y="165590"/>
                    <a:pt x="445615" y="147739"/>
                    <a:pt x="647929" y="79309"/>
                  </a:cubicBezTo>
                  <a:cubicBezTo>
                    <a:pt x="695533" y="61458"/>
                    <a:pt x="674706" y="-12922"/>
                    <a:pt x="627102" y="1954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6" name="图形 1">
            <a:extLst>
              <a:ext uri="{FF2B5EF4-FFF2-40B4-BE49-F238E27FC236}">
                <a16:creationId xmlns:a16="http://schemas.microsoft.com/office/drawing/2014/main" id="{2D49327A-58FF-4893-84C9-2FF49B60A070}"/>
              </a:ext>
            </a:extLst>
          </p:cNvPr>
          <p:cNvGrpSpPr/>
          <p:nvPr/>
        </p:nvGrpSpPr>
        <p:grpSpPr>
          <a:xfrm>
            <a:off x="3081423" y="2544901"/>
            <a:ext cx="2732723" cy="4245161"/>
            <a:chOff x="19672380" y="2603895"/>
            <a:chExt cx="2732723" cy="4245161"/>
          </a:xfrm>
        </p:grpSpPr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5DC5793E-F6C9-4D9C-974D-B6933A060BF9}"/>
                </a:ext>
              </a:extLst>
            </p:cNvPr>
            <p:cNvSpPr/>
            <p:nvPr/>
          </p:nvSpPr>
          <p:spPr>
            <a:xfrm>
              <a:off x="20800677" y="4476078"/>
              <a:ext cx="102977" cy="99947"/>
            </a:xfrm>
            <a:custGeom>
              <a:avLst/>
              <a:gdLst>
                <a:gd name="connsiteX0" fmla="*/ 83305 w 102977"/>
                <a:gd name="connsiteY0" fmla="*/ 0 h 99947"/>
                <a:gd name="connsiteX1" fmla="*/ 101156 w 102977"/>
                <a:gd name="connsiteY1" fmla="*/ 86281 h 99947"/>
                <a:gd name="connsiteX2" fmla="*/ 8925 w 102977"/>
                <a:gd name="connsiteY2" fmla="*/ 92231 h 99947"/>
                <a:gd name="connsiteX3" fmla="*/ 0 w 102977"/>
                <a:gd name="connsiteY3" fmla="*/ 8925 h 99947"/>
                <a:gd name="connsiteX4" fmla="*/ 83305 w 102977"/>
                <a:gd name="connsiteY4" fmla="*/ 0 h 9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977" h="99947">
                  <a:moveTo>
                    <a:pt x="83305" y="0"/>
                  </a:moveTo>
                  <a:cubicBezTo>
                    <a:pt x="83305" y="0"/>
                    <a:pt x="110083" y="62479"/>
                    <a:pt x="101156" y="86281"/>
                  </a:cubicBezTo>
                  <a:cubicBezTo>
                    <a:pt x="92231" y="113058"/>
                    <a:pt x="8925" y="92231"/>
                    <a:pt x="8925" y="92231"/>
                  </a:cubicBezTo>
                  <a:lnTo>
                    <a:pt x="0" y="8925"/>
                  </a:lnTo>
                  <a:lnTo>
                    <a:pt x="83305" y="0"/>
                  </a:ln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DD944A92-7579-40B9-898B-94E1B04AEF7C}"/>
                </a:ext>
              </a:extLst>
            </p:cNvPr>
            <p:cNvSpPr/>
            <p:nvPr/>
          </p:nvSpPr>
          <p:spPr>
            <a:xfrm>
              <a:off x="20480880" y="3370406"/>
              <a:ext cx="409052" cy="1140303"/>
            </a:xfrm>
            <a:custGeom>
              <a:avLst/>
              <a:gdLst>
                <a:gd name="connsiteX0" fmla="*/ 4423 w 409052"/>
                <a:gd name="connsiteY0" fmla="*/ 352945 h 1140303"/>
                <a:gd name="connsiteX1" fmla="*/ 114507 w 409052"/>
                <a:gd name="connsiteY1" fmla="*/ 1871 h 1140303"/>
                <a:gd name="connsiteX2" fmla="*/ 251367 w 409052"/>
                <a:gd name="connsiteY2" fmla="*/ 397573 h 1140303"/>
                <a:gd name="connsiteX3" fmla="*/ 287068 w 409052"/>
                <a:gd name="connsiteY3" fmla="*/ 701044 h 1140303"/>
                <a:gd name="connsiteX4" fmla="*/ 409053 w 409052"/>
                <a:gd name="connsiteY4" fmla="*/ 1114598 h 1140303"/>
                <a:gd name="connsiteX5" fmla="*/ 295995 w 409052"/>
                <a:gd name="connsiteY5" fmla="*/ 1138400 h 1140303"/>
                <a:gd name="connsiteX6" fmla="*/ 126408 w 409052"/>
                <a:gd name="connsiteY6" fmla="*/ 814102 h 1140303"/>
                <a:gd name="connsiteX7" fmla="*/ 4423 w 409052"/>
                <a:gd name="connsiteY7" fmla="*/ 352945 h 1140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9052" h="1140303">
                  <a:moveTo>
                    <a:pt x="4423" y="352945"/>
                  </a:moveTo>
                  <a:cubicBezTo>
                    <a:pt x="-19378" y="242862"/>
                    <a:pt x="57979" y="-24906"/>
                    <a:pt x="114507" y="1871"/>
                  </a:cubicBezTo>
                  <a:cubicBezTo>
                    <a:pt x="179961" y="31623"/>
                    <a:pt x="239466" y="230962"/>
                    <a:pt x="251367" y="397573"/>
                  </a:cubicBezTo>
                  <a:cubicBezTo>
                    <a:pt x="257316" y="477904"/>
                    <a:pt x="254342" y="626664"/>
                    <a:pt x="287068" y="701044"/>
                  </a:cubicBezTo>
                  <a:cubicBezTo>
                    <a:pt x="316820" y="763524"/>
                    <a:pt x="409053" y="1114598"/>
                    <a:pt x="409053" y="1114598"/>
                  </a:cubicBezTo>
                  <a:cubicBezTo>
                    <a:pt x="370375" y="1150300"/>
                    <a:pt x="295995" y="1138400"/>
                    <a:pt x="295995" y="1138400"/>
                  </a:cubicBezTo>
                  <a:cubicBezTo>
                    <a:pt x="295995" y="1138400"/>
                    <a:pt x="159135" y="867656"/>
                    <a:pt x="126408" y="814102"/>
                  </a:cubicBezTo>
                  <a:cubicBezTo>
                    <a:pt x="87731" y="745672"/>
                    <a:pt x="34176" y="492780"/>
                    <a:pt x="4423" y="352945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9" name="图形 1">
              <a:extLst>
                <a:ext uri="{FF2B5EF4-FFF2-40B4-BE49-F238E27FC236}">
                  <a16:creationId xmlns:a16="http://schemas.microsoft.com/office/drawing/2014/main" id="{9346159A-F554-43F7-85EC-AF484AD1F8B4}"/>
                </a:ext>
              </a:extLst>
            </p:cNvPr>
            <p:cNvGrpSpPr/>
            <p:nvPr/>
          </p:nvGrpSpPr>
          <p:grpSpPr>
            <a:xfrm>
              <a:off x="19713239" y="6499219"/>
              <a:ext cx="385732" cy="349837"/>
              <a:chOff x="19713239" y="6499219"/>
              <a:chExt cx="385732" cy="349837"/>
            </a:xfrm>
          </p:grpSpPr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AC59C97A-DE59-4CEF-97C8-1A8FCE737116}"/>
                  </a:ext>
                </a:extLst>
              </p:cNvPr>
              <p:cNvSpPr/>
              <p:nvPr/>
            </p:nvSpPr>
            <p:spPr>
              <a:xfrm>
                <a:off x="19713239" y="6618227"/>
                <a:ext cx="385732" cy="230829"/>
              </a:xfrm>
              <a:custGeom>
                <a:avLst/>
                <a:gdLst>
                  <a:gd name="connsiteX0" fmla="*/ 105620 w 385732"/>
                  <a:gd name="connsiteY0" fmla="*/ 0 h 230829"/>
                  <a:gd name="connsiteX1" fmla="*/ 260331 w 385732"/>
                  <a:gd name="connsiteY1" fmla="*/ 121983 h 230829"/>
                  <a:gd name="connsiteX2" fmla="*/ 69917 w 385732"/>
                  <a:gd name="connsiteY2" fmla="*/ 74380 h 230829"/>
                  <a:gd name="connsiteX3" fmla="*/ 1488 w 385732"/>
                  <a:gd name="connsiteY3" fmla="*/ 50578 h 230829"/>
                  <a:gd name="connsiteX4" fmla="*/ 7438 w 385732"/>
                  <a:gd name="connsiteY4" fmla="*/ 154711 h 230829"/>
                  <a:gd name="connsiteX5" fmla="*/ 233553 w 385732"/>
                  <a:gd name="connsiteY5" fmla="*/ 226115 h 230829"/>
                  <a:gd name="connsiteX6" fmla="*/ 367438 w 385732"/>
                  <a:gd name="connsiteY6" fmla="*/ 226115 h 230829"/>
                  <a:gd name="connsiteX7" fmla="*/ 373389 w 385732"/>
                  <a:gd name="connsiteY7" fmla="*/ 172562 h 230829"/>
                  <a:gd name="connsiteX8" fmla="*/ 105620 w 385732"/>
                  <a:gd name="connsiteY8" fmla="*/ 0 h 230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5732" h="230829">
                    <a:moveTo>
                      <a:pt x="105620" y="0"/>
                    </a:moveTo>
                    <a:cubicBezTo>
                      <a:pt x="105620" y="0"/>
                      <a:pt x="275207" y="110083"/>
                      <a:pt x="260331" y="121983"/>
                    </a:cubicBezTo>
                    <a:cubicBezTo>
                      <a:pt x="248429" y="136859"/>
                      <a:pt x="69917" y="74380"/>
                      <a:pt x="69917" y="74380"/>
                    </a:cubicBezTo>
                    <a:lnTo>
                      <a:pt x="1488" y="50578"/>
                    </a:lnTo>
                    <a:cubicBezTo>
                      <a:pt x="1488" y="50578"/>
                      <a:pt x="-4463" y="130909"/>
                      <a:pt x="7438" y="154711"/>
                    </a:cubicBezTo>
                    <a:cubicBezTo>
                      <a:pt x="78842" y="190413"/>
                      <a:pt x="162148" y="214215"/>
                      <a:pt x="233553" y="226115"/>
                    </a:cubicBezTo>
                    <a:cubicBezTo>
                      <a:pt x="278182" y="235041"/>
                      <a:pt x="358513" y="229091"/>
                      <a:pt x="367438" y="226115"/>
                    </a:cubicBezTo>
                    <a:cubicBezTo>
                      <a:pt x="376363" y="223141"/>
                      <a:pt x="400164" y="199339"/>
                      <a:pt x="373389" y="172562"/>
                    </a:cubicBezTo>
                    <a:cubicBezTo>
                      <a:pt x="313884" y="110083"/>
                      <a:pt x="105620" y="0"/>
                      <a:pt x="105620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A8B9A109-7EAB-4A9A-B499-7E8D0B385D3C}"/>
                  </a:ext>
                </a:extLst>
              </p:cNvPr>
              <p:cNvSpPr/>
              <p:nvPr/>
            </p:nvSpPr>
            <p:spPr>
              <a:xfrm>
                <a:off x="19714726" y="6499219"/>
                <a:ext cx="260138" cy="247942"/>
              </a:xfrm>
              <a:custGeom>
                <a:avLst/>
                <a:gdLst>
                  <a:gd name="connsiteX0" fmla="*/ 119008 w 260138"/>
                  <a:gd name="connsiteY0" fmla="*/ 0 h 247942"/>
                  <a:gd name="connsiteX1" fmla="*/ 104132 w 260138"/>
                  <a:gd name="connsiteY1" fmla="*/ 121983 h 247942"/>
                  <a:gd name="connsiteX2" fmla="*/ 258843 w 260138"/>
                  <a:gd name="connsiteY2" fmla="*/ 243967 h 247942"/>
                  <a:gd name="connsiteX3" fmla="*/ 26776 w 260138"/>
                  <a:gd name="connsiteY3" fmla="*/ 202314 h 247942"/>
                  <a:gd name="connsiteX4" fmla="*/ 0 w 260138"/>
                  <a:gd name="connsiteY4" fmla="*/ 172562 h 247942"/>
                  <a:gd name="connsiteX5" fmla="*/ 0 w 260138"/>
                  <a:gd name="connsiteY5" fmla="*/ 41653 h 247942"/>
                  <a:gd name="connsiteX6" fmla="*/ 119008 w 260138"/>
                  <a:gd name="connsiteY6" fmla="*/ 0 h 247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0138" h="247942">
                    <a:moveTo>
                      <a:pt x="119008" y="0"/>
                    </a:moveTo>
                    <a:lnTo>
                      <a:pt x="104132" y="121983"/>
                    </a:lnTo>
                    <a:cubicBezTo>
                      <a:pt x="104132" y="121983"/>
                      <a:pt x="276694" y="223141"/>
                      <a:pt x="258843" y="243967"/>
                    </a:cubicBezTo>
                    <a:cubicBezTo>
                      <a:pt x="246942" y="258843"/>
                      <a:pt x="95207" y="229091"/>
                      <a:pt x="26776" y="202314"/>
                    </a:cubicBezTo>
                    <a:cubicBezTo>
                      <a:pt x="2974" y="193388"/>
                      <a:pt x="0" y="172562"/>
                      <a:pt x="0" y="172562"/>
                    </a:cubicBezTo>
                    <a:lnTo>
                      <a:pt x="0" y="41653"/>
                    </a:lnTo>
                    <a:lnTo>
                      <a:pt x="119008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0" name="图形 1">
              <a:extLst>
                <a:ext uri="{FF2B5EF4-FFF2-40B4-BE49-F238E27FC236}">
                  <a16:creationId xmlns:a16="http://schemas.microsoft.com/office/drawing/2014/main" id="{DE21B907-B3A9-434F-B9FF-9BCC6EA6ABC6}"/>
                </a:ext>
              </a:extLst>
            </p:cNvPr>
            <p:cNvGrpSpPr/>
            <p:nvPr/>
          </p:nvGrpSpPr>
          <p:grpSpPr>
            <a:xfrm>
              <a:off x="20406461" y="6499219"/>
              <a:ext cx="385733" cy="349837"/>
              <a:chOff x="20406461" y="6499219"/>
              <a:chExt cx="385733" cy="349837"/>
            </a:xfrm>
          </p:grpSpPr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4690C7E0-5DE0-4267-9F11-ADA12F3FC314}"/>
                  </a:ext>
                </a:extLst>
              </p:cNvPr>
              <p:cNvSpPr/>
              <p:nvPr/>
            </p:nvSpPr>
            <p:spPr>
              <a:xfrm>
                <a:off x="20406461" y="6618227"/>
                <a:ext cx="385733" cy="230829"/>
              </a:xfrm>
              <a:custGeom>
                <a:avLst/>
                <a:gdLst>
                  <a:gd name="connsiteX0" fmla="*/ 105620 w 385733"/>
                  <a:gd name="connsiteY0" fmla="*/ 0 h 230829"/>
                  <a:gd name="connsiteX1" fmla="*/ 260331 w 385733"/>
                  <a:gd name="connsiteY1" fmla="*/ 121983 h 230829"/>
                  <a:gd name="connsiteX2" fmla="*/ 69917 w 385733"/>
                  <a:gd name="connsiteY2" fmla="*/ 74380 h 230829"/>
                  <a:gd name="connsiteX3" fmla="*/ 1488 w 385733"/>
                  <a:gd name="connsiteY3" fmla="*/ 50578 h 230829"/>
                  <a:gd name="connsiteX4" fmla="*/ 7438 w 385733"/>
                  <a:gd name="connsiteY4" fmla="*/ 154711 h 230829"/>
                  <a:gd name="connsiteX5" fmla="*/ 233553 w 385733"/>
                  <a:gd name="connsiteY5" fmla="*/ 226115 h 230829"/>
                  <a:gd name="connsiteX6" fmla="*/ 367438 w 385733"/>
                  <a:gd name="connsiteY6" fmla="*/ 226115 h 230829"/>
                  <a:gd name="connsiteX7" fmla="*/ 373389 w 385733"/>
                  <a:gd name="connsiteY7" fmla="*/ 172562 h 230829"/>
                  <a:gd name="connsiteX8" fmla="*/ 105620 w 385733"/>
                  <a:gd name="connsiteY8" fmla="*/ 0 h 230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5733" h="230829">
                    <a:moveTo>
                      <a:pt x="105620" y="0"/>
                    </a:moveTo>
                    <a:cubicBezTo>
                      <a:pt x="105620" y="0"/>
                      <a:pt x="275207" y="110083"/>
                      <a:pt x="260331" y="121983"/>
                    </a:cubicBezTo>
                    <a:cubicBezTo>
                      <a:pt x="248429" y="136859"/>
                      <a:pt x="69917" y="74380"/>
                      <a:pt x="69917" y="74380"/>
                    </a:cubicBezTo>
                    <a:lnTo>
                      <a:pt x="1488" y="50578"/>
                    </a:lnTo>
                    <a:cubicBezTo>
                      <a:pt x="1488" y="50578"/>
                      <a:pt x="-4463" y="130909"/>
                      <a:pt x="7438" y="154711"/>
                    </a:cubicBezTo>
                    <a:cubicBezTo>
                      <a:pt x="78842" y="190413"/>
                      <a:pt x="162150" y="214215"/>
                      <a:pt x="233553" y="226115"/>
                    </a:cubicBezTo>
                    <a:cubicBezTo>
                      <a:pt x="278182" y="235041"/>
                      <a:pt x="358513" y="229091"/>
                      <a:pt x="367438" y="226115"/>
                    </a:cubicBezTo>
                    <a:cubicBezTo>
                      <a:pt x="376363" y="223141"/>
                      <a:pt x="400166" y="199339"/>
                      <a:pt x="373389" y="172562"/>
                    </a:cubicBezTo>
                    <a:cubicBezTo>
                      <a:pt x="313884" y="110083"/>
                      <a:pt x="105620" y="0"/>
                      <a:pt x="105620" y="0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64285A83-4A03-4F6A-8BEE-BA2EE69D3229}"/>
                  </a:ext>
                </a:extLst>
              </p:cNvPr>
              <p:cNvSpPr/>
              <p:nvPr/>
            </p:nvSpPr>
            <p:spPr>
              <a:xfrm>
                <a:off x="20407949" y="6499219"/>
                <a:ext cx="260138" cy="247942"/>
              </a:xfrm>
              <a:custGeom>
                <a:avLst/>
                <a:gdLst>
                  <a:gd name="connsiteX0" fmla="*/ 119008 w 260138"/>
                  <a:gd name="connsiteY0" fmla="*/ 0 h 247942"/>
                  <a:gd name="connsiteX1" fmla="*/ 104132 w 260138"/>
                  <a:gd name="connsiteY1" fmla="*/ 121983 h 247942"/>
                  <a:gd name="connsiteX2" fmla="*/ 258843 w 260138"/>
                  <a:gd name="connsiteY2" fmla="*/ 243967 h 247942"/>
                  <a:gd name="connsiteX3" fmla="*/ 26778 w 260138"/>
                  <a:gd name="connsiteY3" fmla="*/ 202314 h 247942"/>
                  <a:gd name="connsiteX4" fmla="*/ 0 w 260138"/>
                  <a:gd name="connsiteY4" fmla="*/ 172562 h 247942"/>
                  <a:gd name="connsiteX5" fmla="*/ 0 w 260138"/>
                  <a:gd name="connsiteY5" fmla="*/ 41653 h 247942"/>
                  <a:gd name="connsiteX6" fmla="*/ 119008 w 260138"/>
                  <a:gd name="connsiteY6" fmla="*/ 0 h 247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0138" h="247942">
                    <a:moveTo>
                      <a:pt x="119008" y="0"/>
                    </a:moveTo>
                    <a:lnTo>
                      <a:pt x="104132" y="121983"/>
                    </a:lnTo>
                    <a:cubicBezTo>
                      <a:pt x="104132" y="121983"/>
                      <a:pt x="276694" y="223141"/>
                      <a:pt x="258843" y="243967"/>
                    </a:cubicBezTo>
                    <a:cubicBezTo>
                      <a:pt x="246942" y="258843"/>
                      <a:pt x="95207" y="229091"/>
                      <a:pt x="26778" y="202314"/>
                    </a:cubicBezTo>
                    <a:cubicBezTo>
                      <a:pt x="2974" y="193388"/>
                      <a:pt x="0" y="172562"/>
                      <a:pt x="0" y="172562"/>
                    </a:cubicBezTo>
                    <a:lnTo>
                      <a:pt x="0" y="41653"/>
                    </a:lnTo>
                    <a:lnTo>
                      <a:pt x="119008" y="0"/>
                    </a:lnTo>
                    <a:close/>
                  </a:path>
                </a:pathLst>
              </a:custGeom>
              <a:solidFill>
                <a:srgbClr val="F5A39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0C448B63-09D0-4C8E-89CF-8D298F6BE7B8}"/>
                </a:ext>
              </a:extLst>
            </p:cNvPr>
            <p:cNvSpPr/>
            <p:nvPr/>
          </p:nvSpPr>
          <p:spPr>
            <a:xfrm>
              <a:off x="19672380" y="4101202"/>
              <a:ext cx="964659" cy="2463471"/>
            </a:xfrm>
            <a:custGeom>
              <a:avLst/>
              <a:gdLst>
                <a:gd name="connsiteX0" fmla="*/ 170279 w 964659"/>
                <a:gd name="connsiteY0" fmla="*/ 0 h 2463471"/>
                <a:gd name="connsiteX1" fmla="*/ 786148 w 964659"/>
                <a:gd name="connsiteY1" fmla="*/ 0 h 2463471"/>
                <a:gd name="connsiteX2" fmla="*/ 902180 w 964659"/>
                <a:gd name="connsiteY2" fmla="*/ 449256 h 2463471"/>
                <a:gd name="connsiteX3" fmla="*/ 964660 w 964659"/>
                <a:gd name="connsiteY3" fmla="*/ 1529257 h 2463471"/>
                <a:gd name="connsiteX4" fmla="*/ 884329 w 964659"/>
                <a:gd name="connsiteY4" fmla="*/ 2463471 h 2463471"/>
                <a:gd name="connsiteX5" fmla="*/ 708791 w 964659"/>
                <a:gd name="connsiteY5" fmla="*/ 2463471 h 2463471"/>
                <a:gd name="connsiteX6" fmla="*/ 652263 w 964659"/>
                <a:gd name="connsiteY6" fmla="*/ 1567934 h 2463471"/>
                <a:gd name="connsiteX7" fmla="*/ 494578 w 964659"/>
                <a:gd name="connsiteY7" fmla="*/ 844959 h 2463471"/>
                <a:gd name="connsiteX8" fmla="*/ 432097 w 964659"/>
                <a:gd name="connsiteY8" fmla="*/ 1550083 h 2463471"/>
                <a:gd name="connsiteX9" fmla="*/ 197057 w 964659"/>
                <a:gd name="connsiteY9" fmla="*/ 2454546 h 2463471"/>
                <a:gd name="connsiteX10" fmla="*/ 6643 w 964659"/>
                <a:gd name="connsiteY10" fmla="*/ 2454546 h 2463471"/>
                <a:gd name="connsiteX11" fmla="*/ 72098 w 964659"/>
                <a:gd name="connsiteY11" fmla="*/ 1541157 h 2463471"/>
                <a:gd name="connsiteX12" fmla="*/ 692 w 964659"/>
                <a:gd name="connsiteY12" fmla="*/ 410579 h 2463471"/>
                <a:gd name="connsiteX13" fmla="*/ 170279 w 964659"/>
                <a:gd name="connsiteY13" fmla="*/ 0 h 246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4659" h="2463471">
                  <a:moveTo>
                    <a:pt x="170279" y="0"/>
                  </a:moveTo>
                  <a:lnTo>
                    <a:pt x="786148" y="0"/>
                  </a:lnTo>
                  <a:cubicBezTo>
                    <a:pt x="786148" y="0"/>
                    <a:pt x="881355" y="297521"/>
                    <a:pt x="902180" y="449256"/>
                  </a:cubicBezTo>
                  <a:cubicBezTo>
                    <a:pt x="911107" y="523637"/>
                    <a:pt x="964660" y="1529257"/>
                    <a:pt x="964660" y="1529257"/>
                  </a:cubicBezTo>
                  <a:lnTo>
                    <a:pt x="884329" y="2463471"/>
                  </a:lnTo>
                  <a:lnTo>
                    <a:pt x="708791" y="2463471"/>
                  </a:lnTo>
                  <a:lnTo>
                    <a:pt x="652263" y="1567934"/>
                  </a:lnTo>
                  <a:lnTo>
                    <a:pt x="494578" y="844959"/>
                  </a:lnTo>
                  <a:lnTo>
                    <a:pt x="432097" y="1550083"/>
                  </a:lnTo>
                  <a:lnTo>
                    <a:pt x="197057" y="2454546"/>
                  </a:lnTo>
                  <a:lnTo>
                    <a:pt x="6643" y="2454546"/>
                  </a:lnTo>
                  <a:lnTo>
                    <a:pt x="72098" y="1541157"/>
                  </a:lnTo>
                  <a:cubicBezTo>
                    <a:pt x="72098" y="1541157"/>
                    <a:pt x="-8233" y="496860"/>
                    <a:pt x="692" y="410579"/>
                  </a:cubicBezTo>
                  <a:cubicBezTo>
                    <a:pt x="15568" y="288595"/>
                    <a:pt x="170279" y="0"/>
                    <a:pt x="170279" y="0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53B09DC8-3AC3-48C3-94AE-FFDD608162D1}"/>
                </a:ext>
              </a:extLst>
            </p:cNvPr>
            <p:cNvSpPr/>
            <p:nvPr/>
          </p:nvSpPr>
          <p:spPr>
            <a:xfrm>
              <a:off x="19863487" y="4479054"/>
              <a:ext cx="309420" cy="2079669"/>
            </a:xfrm>
            <a:custGeom>
              <a:avLst/>
              <a:gdLst>
                <a:gd name="connsiteX0" fmla="*/ 5951 w 309420"/>
                <a:gd name="connsiteY0" fmla="*/ 2079670 h 2079669"/>
                <a:gd name="connsiteX1" fmla="*/ 5951 w 309420"/>
                <a:gd name="connsiteY1" fmla="*/ 2079670 h 2079669"/>
                <a:gd name="connsiteX2" fmla="*/ 0 w 309420"/>
                <a:gd name="connsiteY2" fmla="*/ 2073719 h 2079669"/>
                <a:gd name="connsiteX3" fmla="*/ 235040 w 309420"/>
                <a:gd name="connsiteY3" fmla="*/ 1169256 h 2079669"/>
                <a:gd name="connsiteX4" fmla="*/ 297521 w 309420"/>
                <a:gd name="connsiteY4" fmla="*/ 464132 h 2079669"/>
                <a:gd name="connsiteX5" fmla="*/ 297521 w 309420"/>
                <a:gd name="connsiteY5" fmla="*/ 5950 h 2079669"/>
                <a:gd name="connsiteX6" fmla="*/ 303471 w 309420"/>
                <a:gd name="connsiteY6" fmla="*/ 0 h 2079669"/>
                <a:gd name="connsiteX7" fmla="*/ 309420 w 309420"/>
                <a:gd name="connsiteY7" fmla="*/ 5950 h 2079669"/>
                <a:gd name="connsiteX8" fmla="*/ 309420 w 309420"/>
                <a:gd name="connsiteY8" fmla="*/ 464132 h 2079669"/>
                <a:gd name="connsiteX9" fmla="*/ 246942 w 309420"/>
                <a:gd name="connsiteY9" fmla="*/ 1169256 h 2079669"/>
                <a:gd name="connsiteX10" fmla="*/ 11900 w 309420"/>
                <a:gd name="connsiteY10" fmla="*/ 2073719 h 2079669"/>
                <a:gd name="connsiteX11" fmla="*/ 5951 w 309420"/>
                <a:gd name="connsiteY11" fmla="*/ 2079670 h 2079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9420" h="2079669">
                  <a:moveTo>
                    <a:pt x="5951" y="2079670"/>
                  </a:moveTo>
                  <a:cubicBezTo>
                    <a:pt x="5951" y="2079670"/>
                    <a:pt x="5951" y="2079670"/>
                    <a:pt x="5951" y="2079670"/>
                  </a:cubicBezTo>
                  <a:cubicBezTo>
                    <a:pt x="2974" y="2079670"/>
                    <a:pt x="0" y="2076694"/>
                    <a:pt x="0" y="2073719"/>
                  </a:cubicBezTo>
                  <a:lnTo>
                    <a:pt x="235040" y="1169256"/>
                  </a:lnTo>
                  <a:lnTo>
                    <a:pt x="297521" y="464132"/>
                  </a:lnTo>
                  <a:lnTo>
                    <a:pt x="297521" y="5950"/>
                  </a:lnTo>
                  <a:cubicBezTo>
                    <a:pt x="297521" y="2975"/>
                    <a:pt x="300495" y="0"/>
                    <a:pt x="303471" y="0"/>
                  </a:cubicBezTo>
                  <a:cubicBezTo>
                    <a:pt x="306446" y="0"/>
                    <a:pt x="309420" y="2975"/>
                    <a:pt x="309420" y="5950"/>
                  </a:cubicBezTo>
                  <a:lnTo>
                    <a:pt x="309420" y="464132"/>
                  </a:lnTo>
                  <a:lnTo>
                    <a:pt x="246942" y="1169256"/>
                  </a:lnTo>
                  <a:lnTo>
                    <a:pt x="11900" y="2073719"/>
                  </a:lnTo>
                  <a:cubicBezTo>
                    <a:pt x="11900" y="2076694"/>
                    <a:pt x="8925" y="2079670"/>
                    <a:pt x="5951" y="2079670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267E2D7A-2760-4BAE-B046-0A90FD9680E3}"/>
                </a:ext>
              </a:extLst>
            </p:cNvPr>
            <p:cNvSpPr/>
            <p:nvPr/>
          </p:nvSpPr>
          <p:spPr>
            <a:xfrm>
              <a:off x="19815882" y="3245644"/>
              <a:ext cx="858491" cy="1013243"/>
            </a:xfrm>
            <a:custGeom>
              <a:avLst/>
              <a:gdLst>
                <a:gd name="connsiteX0" fmla="*/ 107109 w 858491"/>
                <a:gd name="connsiteY0" fmla="*/ 340847 h 1013243"/>
                <a:gd name="connsiteX1" fmla="*/ 169587 w 858491"/>
                <a:gd name="connsiteY1" fmla="*/ 31426 h 1013243"/>
                <a:gd name="connsiteX2" fmla="*/ 535537 w 858491"/>
                <a:gd name="connsiteY2" fmla="*/ 22500 h 1013243"/>
                <a:gd name="connsiteX3" fmla="*/ 809257 w 858491"/>
                <a:gd name="connsiteY3" fmla="*/ 165310 h 1013243"/>
                <a:gd name="connsiteX4" fmla="*/ 767605 w 858491"/>
                <a:gd name="connsiteY4" fmla="*/ 697872 h 1013243"/>
                <a:gd name="connsiteX5" fmla="*/ 699174 w 858491"/>
                <a:gd name="connsiteY5" fmla="*/ 1013244 h 1013243"/>
                <a:gd name="connsiteX6" fmla="*/ 0 w 858491"/>
                <a:gd name="connsiteY6" fmla="*/ 894236 h 1013243"/>
                <a:gd name="connsiteX7" fmla="*/ 107109 w 858491"/>
                <a:gd name="connsiteY7" fmla="*/ 340847 h 1013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8491" h="1013243">
                  <a:moveTo>
                    <a:pt x="107109" y="340847"/>
                  </a:moveTo>
                  <a:cubicBezTo>
                    <a:pt x="101158" y="308120"/>
                    <a:pt x="44628" y="76054"/>
                    <a:pt x="169587" y="31426"/>
                  </a:cubicBezTo>
                  <a:cubicBezTo>
                    <a:pt x="276696" y="-7252"/>
                    <a:pt x="422480" y="-10227"/>
                    <a:pt x="535537" y="22500"/>
                  </a:cubicBezTo>
                  <a:cubicBezTo>
                    <a:pt x="660496" y="58203"/>
                    <a:pt x="782481" y="96880"/>
                    <a:pt x="809257" y="165310"/>
                  </a:cubicBezTo>
                  <a:cubicBezTo>
                    <a:pt x="889588" y="361674"/>
                    <a:pt x="868761" y="519360"/>
                    <a:pt x="767605" y="697872"/>
                  </a:cubicBezTo>
                  <a:cubicBezTo>
                    <a:pt x="737853" y="751426"/>
                    <a:pt x="693225" y="879360"/>
                    <a:pt x="699174" y="1013244"/>
                  </a:cubicBezTo>
                  <a:cubicBezTo>
                    <a:pt x="699174" y="1013244"/>
                    <a:pt x="374877" y="986467"/>
                    <a:pt x="0" y="894236"/>
                  </a:cubicBezTo>
                  <a:cubicBezTo>
                    <a:pt x="83307" y="697872"/>
                    <a:pt x="110083" y="364649"/>
                    <a:pt x="107109" y="340847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F9112169-4861-431C-A99C-3BDDD176A653}"/>
                </a:ext>
              </a:extLst>
            </p:cNvPr>
            <p:cNvSpPr/>
            <p:nvPr/>
          </p:nvSpPr>
          <p:spPr>
            <a:xfrm>
              <a:off x="20131255" y="2940872"/>
              <a:ext cx="270743" cy="288595"/>
            </a:xfrm>
            <a:custGeom>
              <a:avLst/>
              <a:gdLst>
                <a:gd name="connsiteX0" fmla="*/ 270743 w 270743"/>
                <a:gd name="connsiteY0" fmla="*/ 288595 h 288595"/>
                <a:gd name="connsiteX1" fmla="*/ 0 w 270743"/>
                <a:gd name="connsiteY1" fmla="*/ 255868 h 288595"/>
                <a:gd name="connsiteX2" fmla="*/ 2974 w 270743"/>
                <a:gd name="connsiteY2" fmla="*/ 116033 h 288595"/>
                <a:gd name="connsiteX3" fmla="*/ 23801 w 270743"/>
                <a:gd name="connsiteY3" fmla="*/ 8926 h 288595"/>
                <a:gd name="connsiteX4" fmla="*/ 95207 w 270743"/>
                <a:gd name="connsiteY4" fmla="*/ 0 h 288595"/>
                <a:gd name="connsiteX5" fmla="*/ 240991 w 270743"/>
                <a:gd name="connsiteY5" fmla="*/ 104132 h 288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0743" h="288595">
                  <a:moveTo>
                    <a:pt x="270743" y="288595"/>
                  </a:moveTo>
                  <a:lnTo>
                    <a:pt x="0" y="255868"/>
                  </a:lnTo>
                  <a:lnTo>
                    <a:pt x="2974" y="116033"/>
                  </a:lnTo>
                  <a:lnTo>
                    <a:pt x="23801" y="8926"/>
                  </a:lnTo>
                  <a:lnTo>
                    <a:pt x="95207" y="0"/>
                  </a:lnTo>
                  <a:lnTo>
                    <a:pt x="240991" y="104132"/>
                  </a:ln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DDC39E5B-876E-42C9-A2B3-AC2DF055CB88}"/>
                </a:ext>
              </a:extLst>
            </p:cNvPr>
            <p:cNvSpPr/>
            <p:nvPr/>
          </p:nvSpPr>
          <p:spPr>
            <a:xfrm>
              <a:off x="20336336" y="2603895"/>
              <a:ext cx="416736" cy="654609"/>
            </a:xfrm>
            <a:custGeom>
              <a:avLst/>
              <a:gdLst>
                <a:gd name="connsiteX0" fmla="*/ 207 w 416736"/>
                <a:gd name="connsiteY0" fmla="*/ 616646 h 654609"/>
                <a:gd name="connsiteX1" fmla="*/ 416736 w 416736"/>
                <a:gd name="connsiteY1" fmla="*/ 607720 h 654609"/>
                <a:gd name="connsiteX2" fmla="*/ 321531 w 416736"/>
                <a:gd name="connsiteY2" fmla="*/ 200117 h 654609"/>
                <a:gd name="connsiteX3" fmla="*/ 24011 w 416736"/>
                <a:gd name="connsiteY3" fmla="*/ 3753 h 654609"/>
                <a:gd name="connsiteX4" fmla="*/ 41861 w 416736"/>
                <a:gd name="connsiteY4" fmla="*/ 155489 h 654609"/>
                <a:gd name="connsiteX5" fmla="*/ 65662 w 416736"/>
                <a:gd name="connsiteY5" fmla="*/ 301274 h 654609"/>
                <a:gd name="connsiteX6" fmla="*/ 41861 w 416736"/>
                <a:gd name="connsiteY6" fmla="*/ 455985 h 654609"/>
                <a:gd name="connsiteX7" fmla="*/ 207 w 416736"/>
                <a:gd name="connsiteY7" fmla="*/ 616646 h 654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6736" h="654609">
                  <a:moveTo>
                    <a:pt x="207" y="616646"/>
                  </a:moveTo>
                  <a:cubicBezTo>
                    <a:pt x="3184" y="667225"/>
                    <a:pt x="309630" y="670200"/>
                    <a:pt x="416736" y="607720"/>
                  </a:cubicBezTo>
                  <a:cubicBezTo>
                    <a:pt x="318555" y="435158"/>
                    <a:pt x="327480" y="265572"/>
                    <a:pt x="321531" y="200117"/>
                  </a:cubicBezTo>
                  <a:cubicBezTo>
                    <a:pt x="309630" y="72183"/>
                    <a:pt x="140043" y="-20048"/>
                    <a:pt x="24011" y="3753"/>
                  </a:cubicBezTo>
                  <a:cubicBezTo>
                    <a:pt x="21034" y="3753"/>
                    <a:pt x="26985" y="101935"/>
                    <a:pt x="41861" y="155489"/>
                  </a:cubicBezTo>
                  <a:cubicBezTo>
                    <a:pt x="56737" y="203092"/>
                    <a:pt x="65662" y="250696"/>
                    <a:pt x="65662" y="301274"/>
                  </a:cubicBezTo>
                  <a:cubicBezTo>
                    <a:pt x="65662" y="354828"/>
                    <a:pt x="53763" y="405406"/>
                    <a:pt x="41861" y="455985"/>
                  </a:cubicBezTo>
                  <a:cubicBezTo>
                    <a:pt x="26985" y="497638"/>
                    <a:pt x="-2767" y="574993"/>
                    <a:pt x="207" y="616646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F4CF5532-6AA0-4504-995B-8AF6322451EA}"/>
                </a:ext>
              </a:extLst>
            </p:cNvPr>
            <p:cNvSpPr/>
            <p:nvPr/>
          </p:nvSpPr>
          <p:spPr>
            <a:xfrm>
              <a:off x="20154708" y="2646236"/>
              <a:ext cx="410926" cy="553610"/>
            </a:xfrm>
            <a:custGeom>
              <a:avLst/>
              <a:gdLst>
                <a:gd name="connsiteX0" fmla="*/ 410927 w 410926"/>
                <a:gd name="connsiteY0" fmla="*/ 205379 h 553610"/>
                <a:gd name="connsiteX1" fmla="*/ 363324 w 410926"/>
                <a:gd name="connsiteY1" fmla="*/ 449346 h 553610"/>
                <a:gd name="connsiteX2" fmla="*/ 202662 w 410926"/>
                <a:gd name="connsiteY2" fmla="*/ 553478 h 553610"/>
                <a:gd name="connsiteX3" fmla="*/ 15225 w 410926"/>
                <a:gd name="connsiteY3" fmla="*/ 383891 h 553610"/>
                <a:gd name="connsiteX4" fmla="*/ 12250 w 410926"/>
                <a:gd name="connsiteY4" fmla="*/ 160751 h 553610"/>
                <a:gd name="connsiteX5" fmla="*/ 247290 w 410926"/>
                <a:gd name="connsiteY5" fmla="*/ 90 h 553610"/>
                <a:gd name="connsiteX6" fmla="*/ 410927 w 410926"/>
                <a:gd name="connsiteY6" fmla="*/ 205379 h 553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0926" h="553610">
                  <a:moveTo>
                    <a:pt x="410927" y="205379"/>
                  </a:moveTo>
                  <a:cubicBezTo>
                    <a:pt x="410927" y="205379"/>
                    <a:pt x="407952" y="389842"/>
                    <a:pt x="363324" y="449346"/>
                  </a:cubicBezTo>
                  <a:cubicBezTo>
                    <a:pt x="318696" y="508850"/>
                    <a:pt x="250267" y="556453"/>
                    <a:pt x="202662" y="553478"/>
                  </a:cubicBezTo>
                  <a:cubicBezTo>
                    <a:pt x="137207" y="547528"/>
                    <a:pt x="42002" y="452321"/>
                    <a:pt x="15225" y="383891"/>
                  </a:cubicBezTo>
                  <a:cubicBezTo>
                    <a:pt x="-11553" y="315462"/>
                    <a:pt x="3323" y="211329"/>
                    <a:pt x="12250" y="160751"/>
                  </a:cubicBezTo>
                  <a:cubicBezTo>
                    <a:pt x="27126" y="68519"/>
                    <a:pt x="65804" y="-2885"/>
                    <a:pt x="247290" y="90"/>
                  </a:cubicBezTo>
                  <a:cubicBezTo>
                    <a:pt x="330596" y="90"/>
                    <a:pt x="404976" y="125048"/>
                    <a:pt x="410927" y="205379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F24830EA-F658-4CFB-B66C-E922526A1A10}"/>
                </a:ext>
              </a:extLst>
            </p:cNvPr>
            <p:cNvSpPr/>
            <p:nvPr/>
          </p:nvSpPr>
          <p:spPr>
            <a:xfrm>
              <a:off x="20356138" y="2911120"/>
              <a:ext cx="61129" cy="127933"/>
            </a:xfrm>
            <a:custGeom>
              <a:avLst/>
              <a:gdLst>
                <a:gd name="connsiteX0" fmla="*/ 36935 w 61129"/>
                <a:gd name="connsiteY0" fmla="*/ 127934 h 127933"/>
                <a:gd name="connsiteX1" fmla="*/ 4208 w 61129"/>
                <a:gd name="connsiteY1" fmla="*/ 121983 h 127933"/>
                <a:gd name="connsiteX2" fmla="*/ 1232 w 61129"/>
                <a:gd name="connsiteY2" fmla="*/ 116033 h 127933"/>
                <a:gd name="connsiteX3" fmla="*/ 7183 w 61129"/>
                <a:gd name="connsiteY3" fmla="*/ 113058 h 127933"/>
                <a:gd name="connsiteX4" fmla="*/ 45860 w 61129"/>
                <a:gd name="connsiteY4" fmla="*/ 116033 h 127933"/>
                <a:gd name="connsiteX5" fmla="*/ 48836 w 61129"/>
                <a:gd name="connsiteY5" fmla="*/ 113058 h 127933"/>
                <a:gd name="connsiteX6" fmla="*/ 36935 w 61129"/>
                <a:gd name="connsiteY6" fmla="*/ 5950 h 127933"/>
                <a:gd name="connsiteX7" fmla="*/ 42886 w 61129"/>
                <a:gd name="connsiteY7" fmla="*/ 0 h 127933"/>
                <a:gd name="connsiteX8" fmla="*/ 48836 w 61129"/>
                <a:gd name="connsiteY8" fmla="*/ 5950 h 127933"/>
                <a:gd name="connsiteX9" fmla="*/ 60736 w 61129"/>
                <a:gd name="connsiteY9" fmla="*/ 116033 h 127933"/>
                <a:gd name="connsiteX10" fmla="*/ 54785 w 61129"/>
                <a:gd name="connsiteY10" fmla="*/ 127934 h 127933"/>
                <a:gd name="connsiteX11" fmla="*/ 36935 w 61129"/>
                <a:gd name="connsiteY11" fmla="*/ 127934 h 127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29" h="127933">
                  <a:moveTo>
                    <a:pt x="36935" y="127934"/>
                  </a:moveTo>
                  <a:cubicBezTo>
                    <a:pt x="22059" y="127934"/>
                    <a:pt x="7183" y="121983"/>
                    <a:pt x="4208" y="121983"/>
                  </a:cubicBezTo>
                  <a:cubicBezTo>
                    <a:pt x="1232" y="121983"/>
                    <a:pt x="-1742" y="119008"/>
                    <a:pt x="1232" y="116033"/>
                  </a:cubicBezTo>
                  <a:cubicBezTo>
                    <a:pt x="1232" y="113058"/>
                    <a:pt x="4208" y="110083"/>
                    <a:pt x="7183" y="113058"/>
                  </a:cubicBezTo>
                  <a:cubicBezTo>
                    <a:pt x="19084" y="116033"/>
                    <a:pt x="39909" y="121983"/>
                    <a:pt x="45860" y="116033"/>
                  </a:cubicBezTo>
                  <a:cubicBezTo>
                    <a:pt x="45860" y="116033"/>
                    <a:pt x="48836" y="113058"/>
                    <a:pt x="48836" y="113058"/>
                  </a:cubicBezTo>
                  <a:cubicBezTo>
                    <a:pt x="51811" y="98182"/>
                    <a:pt x="42886" y="32727"/>
                    <a:pt x="36935" y="5950"/>
                  </a:cubicBezTo>
                  <a:cubicBezTo>
                    <a:pt x="36935" y="2975"/>
                    <a:pt x="39909" y="0"/>
                    <a:pt x="42886" y="0"/>
                  </a:cubicBezTo>
                  <a:cubicBezTo>
                    <a:pt x="45860" y="0"/>
                    <a:pt x="48836" y="2975"/>
                    <a:pt x="48836" y="5950"/>
                  </a:cubicBezTo>
                  <a:cubicBezTo>
                    <a:pt x="48836" y="8926"/>
                    <a:pt x="63712" y="95207"/>
                    <a:pt x="60736" y="116033"/>
                  </a:cubicBezTo>
                  <a:cubicBezTo>
                    <a:pt x="60736" y="121983"/>
                    <a:pt x="57762" y="124959"/>
                    <a:pt x="54785" y="127934"/>
                  </a:cubicBezTo>
                  <a:cubicBezTo>
                    <a:pt x="48836" y="124959"/>
                    <a:pt x="42886" y="127934"/>
                    <a:pt x="36935" y="127934"/>
                  </a:cubicBezTo>
                  <a:close/>
                </a:path>
              </a:pathLst>
            </a:custGeom>
            <a:solidFill>
              <a:srgbClr val="E58777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3B72D6C2-B758-4726-A49F-FD3BE1B69A73}"/>
                </a:ext>
              </a:extLst>
            </p:cNvPr>
            <p:cNvSpPr/>
            <p:nvPr/>
          </p:nvSpPr>
          <p:spPr>
            <a:xfrm>
              <a:off x="20318693" y="3077731"/>
              <a:ext cx="101157" cy="59990"/>
            </a:xfrm>
            <a:custGeom>
              <a:avLst/>
              <a:gdLst>
                <a:gd name="connsiteX0" fmla="*/ 0 w 101157"/>
                <a:gd name="connsiteY0" fmla="*/ 0 h 59990"/>
                <a:gd name="connsiteX1" fmla="*/ 101158 w 101157"/>
                <a:gd name="connsiteY1" fmla="*/ 14876 h 59990"/>
                <a:gd name="connsiteX2" fmla="*/ 44628 w 101157"/>
                <a:gd name="connsiteY2" fmla="*/ 59504 h 59990"/>
                <a:gd name="connsiteX3" fmla="*/ 0 w 101157"/>
                <a:gd name="connsiteY3" fmla="*/ 0 h 59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157" h="59990">
                  <a:moveTo>
                    <a:pt x="0" y="0"/>
                  </a:moveTo>
                  <a:cubicBezTo>
                    <a:pt x="50579" y="29752"/>
                    <a:pt x="101158" y="14876"/>
                    <a:pt x="101158" y="14876"/>
                  </a:cubicBezTo>
                  <a:cubicBezTo>
                    <a:pt x="101158" y="14876"/>
                    <a:pt x="80331" y="65455"/>
                    <a:pt x="44628" y="59504"/>
                  </a:cubicBezTo>
                  <a:cubicBezTo>
                    <a:pt x="5951" y="5355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013D6B90-4D2D-466E-9C9F-5C6526EE1B5D}"/>
                </a:ext>
              </a:extLst>
            </p:cNvPr>
            <p:cNvSpPr/>
            <p:nvPr/>
          </p:nvSpPr>
          <p:spPr>
            <a:xfrm>
              <a:off x="20461502" y="2896244"/>
              <a:ext cx="38677" cy="38677"/>
            </a:xfrm>
            <a:custGeom>
              <a:avLst/>
              <a:gdLst>
                <a:gd name="connsiteX0" fmla="*/ 0 w 38677"/>
                <a:gd name="connsiteY0" fmla="*/ 20826 h 38677"/>
                <a:gd name="connsiteX1" fmla="*/ 20827 w 38677"/>
                <a:gd name="connsiteY1" fmla="*/ 38678 h 38677"/>
                <a:gd name="connsiteX2" fmla="*/ 38677 w 38677"/>
                <a:gd name="connsiteY2" fmla="*/ 17851 h 38677"/>
                <a:gd name="connsiteX3" fmla="*/ 17852 w 38677"/>
                <a:gd name="connsiteY3" fmla="*/ 0 h 38677"/>
                <a:gd name="connsiteX4" fmla="*/ 0 w 38677"/>
                <a:gd name="connsiteY4" fmla="*/ 20826 h 3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677" h="38677">
                  <a:moveTo>
                    <a:pt x="0" y="20826"/>
                  </a:moveTo>
                  <a:cubicBezTo>
                    <a:pt x="0" y="32727"/>
                    <a:pt x="8925" y="38678"/>
                    <a:pt x="20827" y="38678"/>
                  </a:cubicBezTo>
                  <a:cubicBezTo>
                    <a:pt x="32728" y="38678"/>
                    <a:pt x="38677" y="29752"/>
                    <a:pt x="38677" y="17851"/>
                  </a:cubicBezTo>
                  <a:cubicBezTo>
                    <a:pt x="38677" y="5950"/>
                    <a:pt x="29752" y="0"/>
                    <a:pt x="17852" y="0"/>
                  </a:cubicBezTo>
                  <a:cubicBezTo>
                    <a:pt x="8925" y="0"/>
                    <a:pt x="0" y="8926"/>
                    <a:pt x="0" y="20826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5ACDF8A5-A6DC-48A9-A1CC-777F418404AC}"/>
                </a:ext>
              </a:extLst>
            </p:cNvPr>
            <p:cNvSpPr/>
            <p:nvPr/>
          </p:nvSpPr>
          <p:spPr>
            <a:xfrm>
              <a:off x="20277039" y="2872442"/>
              <a:ext cx="38679" cy="38677"/>
            </a:xfrm>
            <a:custGeom>
              <a:avLst/>
              <a:gdLst>
                <a:gd name="connsiteX0" fmla="*/ 0 w 38679"/>
                <a:gd name="connsiteY0" fmla="*/ 20826 h 38677"/>
                <a:gd name="connsiteX1" fmla="*/ 20827 w 38679"/>
                <a:gd name="connsiteY1" fmla="*/ 38678 h 38677"/>
                <a:gd name="connsiteX2" fmla="*/ 38679 w 38679"/>
                <a:gd name="connsiteY2" fmla="*/ 17851 h 38677"/>
                <a:gd name="connsiteX3" fmla="*/ 17852 w 38679"/>
                <a:gd name="connsiteY3" fmla="*/ 0 h 38677"/>
                <a:gd name="connsiteX4" fmla="*/ 0 w 38679"/>
                <a:gd name="connsiteY4" fmla="*/ 20826 h 3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679" h="38677">
                  <a:moveTo>
                    <a:pt x="0" y="20826"/>
                  </a:moveTo>
                  <a:cubicBezTo>
                    <a:pt x="0" y="32727"/>
                    <a:pt x="8927" y="38678"/>
                    <a:pt x="20827" y="38678"/>
                  </a:cubicBezTo>
                  <a:cubicBezTo>
                    <a:pt x="32728" y="38678"/>
                    <a:pt x="38679" y="29752"/>
                    <a:pt x="38679" y="17851"/>
                  </a:cubicBezTo>
                  <a:cubicBezTo>
                    <a:pt x="38679" y="5950"/>
                    <a:pt x="29752" y="0"/>
                    <a:pt x="17852" y="0"/>
                  </a:cubicBezTo>
                  <a:cubicBezTo>
                    <a:pt x="8927" y="2975"/>
                    <a:pt x="0" y="11901"/>
                    <a:pt x="0" y="20826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E7C6C49D-1792-4D2C-8C7F-CBD2683DD67A}"/>
                </a:ext>
              </a:extLst>
            </p:cNvPr>
            <p:cNvSpPr/>
            <p:nvPr/>
          </p:nvSpPr>
          <p:spPr>
            <a:xfrm>
              <a:off x="20446626" y="2844888"/>
              <a:ext cx="87513" cy="39454"/>
            </a:xfrm>
            <a:custGeom>
              <a:avLst/>
              <a:gdLst>
                <a:gd name="connsiteX0" fmla="*/ 77356 w 87513"/>
                <a:gd name="connsiteY0" fmla="*/ 39455 h 39454"/>
                <a:gd name="connsiteX1" fmla="*/ 71406 w 87513"/>
                <a:gd name="connsiteY1" fmla="*/ 36480 h 39454"/>
                <a:gd name="connsiteX2" fmla="*/ 8925 w 87513"/>
                <a:gd name="connsiteY2" fmla="*/ 18628 h 39454"/>
                <a:gd name="connsiteX3" fmla="*/ 0 w 87513"/>
                <a:gd name="connsiteY3" fmla="*/ 12678 h 39454"/>
                <a:gd name="connsiteX4" fmla="*/ 5951 w 87513"/>
                <a:gd name="connsiteY4" fmla="*/ 3752 h 39454"/>
                <a:gd name="connsiteX5" fmla="*/ 86282 w 87513"/>
                <a:gd name="connsiteY5" fmla="*/ 27554 h 39454"/>
                <a:gd name="connsiteX6" fmla="*/ 83305 w 87513"/>
                <a:gd name="connsiteY6" fmla="*/ 39455 h 39454"/>
                <a:gd name="connsiteX7" fmla="*/ 77356 w 87513"/>
                <a:gd name="connsiteY7" fmla="*/ 39455 h 39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513" h="39454">
                  <a:moveTo>
                    <a:pt x="77356" y="39455"/>
                  </a:moveTo>
                  <a:cubicBezTo>
                    <a:pt x="74380" y="39455"/>
                    <a:pt x="71406" y="39455"/>
                    <a:pt x="71406" y="36480"/>
                  </a:cubicBezTo>
                  <a:cubicBezTo>
                    <a:pt x="50579" y="6728"/>
                    <a:pt x="8925" y="18628"/>
                    <a:pt x="8925" y="18628"/>
                  </a:cubicBezTo>
                  <a:cubicBezTo>
                    <a:pt x="5951" y="18628"/>
                    <a:pt x="0" y="18628"/>
                    <a:pt x="0" y="12678"/>
                  </a:cubicBezTo>
                  <a:cubicBezTo>
                    <a:pt x="0" y="9703"/>
                    <a:pt x="0" y="3752"/>
                    <a:pt x="5951" y="3752"/>
                  </a:cubicBezTo>
                  <a:cubicBezTo>
                    <a:pt x="23801" y="-2198"/>
                    <a:pt x="65455" y="-5173"/>
                    <a:pt x="86282" y="27554"/>
                  </a:cubicBezTo>
                  <a:cubicBezTo>
                    <a:pt x="89256" y="30529"/>
                    <a:pt x="86282" y="36480"/>
                    <a:pt x="83305" y="39455"/>
                  </a:cubicBezTo>
                  <a:cubicBezTo>
                    <a:pt x="80331" y="39455"/>
                    <a:pt x="80331" y="39455"/>
                    <a:pt x="77356" y="39455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A9BA1A31-79A2-4374-AA7F-3AE93B395B99}"/>
                </a:ext>
              </a:extLst>
            </p:cNvPr>
            <p:cNvSpPr/>
            <p:nvPr/>
          </p:nvSpPr>
          <p:spPr>
            <a:xfrm>
              <a:off x="20257235" y="2817586"/>
              <a:ext cx="90466" cy="34029"/>
            </a:xfrm>
            <a:custGeom>
              <a:avLst/>
              <a:gdLst>
                <a:gd name="connsiteX0" fmla="*/ 85259 w 90466"/>
                <a:gd name="connsiteY0" fmla="*/ 34029 h 34029"/>
                <a:gd name="connsiteX1" fmla="*/ 79308 w 90466"/>
                <a:gd name="connsiteY1" fmla="*/ 31054 h 34029"/>
                <a:gd name="connsiteX2" fmla="*/ 13855 w 90466"/>
                <a:gd name="connsiteY2" fmla="*/ 28079 h 34029"/>
                <a:gd name="connsiteX3" fmla="*/ 1954 w 90466"/>
                <a:gd name="connsiteY3" fmla="*/ 25104 h 34029"/>
                <a:gd name="connsiteX4" fmla="*/ 4928 w 90466"/>
                <a:gd name="connsiteY4" fmla="*/ 13203 h 34029"/>
                <a:gd name="connsiteX5" fmla="*/ 88236 w 90466"/>
                <a:gd name="connsiteY5" fmla="*/ 16178 h 34029"/>
                <a:gd name="connsiteX6" fmla="*/ 88236 w 90466"/>
                <a:gd name="connsiteY6" fmla="*/ 28079 h 34029"/>
                <a:gd name="connsiteX7" fmla="*/ 85259 w 90466"/>
                <a:gd name="connsiteY7" fmla="*/ 34029 h 34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466" h="34029">
                  <a:moveTo>
                    <a:pt x="85259" y="34029"/>
                  </a:moveTo>
                  <a:cubicBezTo>
                    <a:pt x="82285" y="34029"/>
                    <a:pt x="82285" y="34029"/>
                    <a:pt x="79308" y="31054"/>
                  </a:cubicBezTo>
                  <a:cubicBezTo>
                    <a:pt x="49556" y="4277"/>
                    <a:pt x="16830" y="28079"/>
                    <a:pt x="13855" y="28079"/>
                  </a:cubicBezTo>
                  <a:cubicBezTo>
                    <a:pt x="10879" y="31054"/>
                    <a:pt x="4928" y="31054"/>
                    <a:pt x="1954" y="25104"/>
                  </a:cubicBezTo>
                  <a:cubicBezTo>
                    <a:pt x="-1021" y="22128"/>
                    <a:pt x="-1021" y="16178"/>
                    <a:pt x="4928" y="13203"/>
                  </a:cubicBezTo>
                  <a:cubicBezTo>
                    <a:pt x="19804" y="1302"/>
                    <a:pt x="55507" y="-10599"/>
                    <a:pt x="88236" y="16178"/>
                  </a:cubicBezTo>
                  <a:cubicBezTo>
                    <a:pt x="91210" y="19153"/>
                    <a:pt x="91210" y="25104"/>
                    <a:pt x="88236" y="28079"/>
                  </a:cubicBezTo>
                  <a:cubicBezTo>
                    <a:pt x="88236" y="34029"/>
                    <a:pt x="85259" y="34029"/>
                    <a:pt x="85259" y="34029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61027B78-D5BE-4D24-9543-E15ED8179E41}"/>
                </a:ext>
              </a:extLst>
            </p:cNvPr>
            <p:cNvSpPr/>
            <p:nvPr/>
          </p:nvSpPr>
          <p:spPr>
            <a:xfrm>
              <a:off x="20347655" y="2607649"/>
              <a:ext cx="242287" cy="285619"/>
            </a:xfrm>
            <a:custGeom>
              <a:avLst/>
              <a:gdLst>
                <a:gd name="connsiteX0" fmla="*/ 9715 w 242287"/>
                <a:gd name="connsiteY0" fmla="*/ 0 h 285619"/>
                <a:gd name="connsiteX1" fmla="*/ 24591 w 242287"/>
                <a:gd name="connsiteY1" fmla="*/ 127934 h 285619"/>
                <a:gd name="connsiteX2" fmla="*/ 235832 w 242287"/>
                <a:gd name="connsiteY2" fmla="*/ 285620 h 285619"/>
                <a:gd name="connsiteX3" fmla="*/ 9715 w 242287"/>
                <a:gd name="connsiteY3" fmla="*/ 0 h 285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287" h="285619">
                  <a:moveTo>
                    <a:pt x="9715" y="0"/>
                  </a:moveTo>
                  <a:cubicBezTo>
                    <a:pt x="9715" y="0"/>
                    <a:pt x="-20037" y="83306"/>
                    <a:pt x="24591" y="127934"/>
                  </a:cubicBezTo>
                  <a:cubicBezTo>
                    <a:pt x="24591" y="127934"/>
                    <a:pt x="220956" y="199339"/>
                    <a:pt x="235832" y="285620"/>
                  </a:cubicBezTo>
                  <a:cubicBezTo>
                    <a:pt x="238806" y="285620"/>
                    <a:pt x="295336" y="11901"/>
                    <a:pt x="9715" y="0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F48C8D11-3CA3-47F8-92BC-A67773A5DF6F}"/>
                </a:ext>
              </a:extLst>
            </p:cNvPr>
            <p:cNvSpPr/>
            <p:nvPr/>
          </p:nvSpPr>
          <p:spPr>
            <a:xfrm>
              <a:off x="20131255" y="2607345"/>
              <a:ext cx="243967" cy="275412"/>
            </a:xfrm>
            <a:custGeom>
              <a:avLst/>
              <a:gdLst>
                <a:gd name="connsiteX0" fmla="*/ 243967 w 243967"/>
                <a:gd name="connsiteY0" fmla="*/ 128237 h 275412"/>
                <a:gd name="connsiteX1" fmla="*/ 98181 w 243967"/>
                <a:gd name="connsiteY1" fmla="*/ 157989 h 275412"/>
                <a:gd name="connsiteX2" fmla="*/ 23801 w 243967"/>
                <a:gd name="connsiteY2" fmla="*/ 265097 h 275412"/>
                <a:gd name="connsiteX3" fmla="*/ 0 w 243967"/>
                <a:gd name="connsiteY3" fmla="*/ 259146 h 275412"/>
                <a:gd name="connsiteX4" fmla="*/ 226115 w 243967"/>
                <a:gd name="connsiteY4" fmla="*/ 303 h 275412"/>
                <a:gd name="connsiteX5" fmla="*/ 243967 w 243967"/>
                <a:gd name="connsiteY5" fmla="*/ 128237 h 275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967" h="275412">
                  <a:moveTo>
                    <a:pt x="243967" y="128237"/>
                  </a:moveTo>
                  <a:cubicBezTo>
                    <a:pt x="243967" y="128237"/>
                    <a:pt x="148760" y="160965"/>
                    <a:pt x="98181" y="157989"/>
                  </a:cubicBezTo>
                  <a:cubicBezTo>
                    <a:pt x="47603" y="155014"/>
                    <a:pt x="23801" y="265097"/>
                    <a:pt x="23801" y="265097"/>
                  </a:cubicBezTo>
                  <a:cubicBezTo>
                    <a:pt x="23801" y="265097"/>
                    <a:pt x="0" y="291874"/>
                    <a:pt x="0" y="259146"/>
                  </a:cubicBezTo>
                  <a:cubicBezTo>
                    <a:pt x="2974" y="181791"/>
                    <a:pt x="32727" y="-8622"/>
                    <a:pt x="226115" y="303"/>
                  </a:cubicBezTo>
                  <a:cubicBezTo>
                    <a:pt x="226115" y="303"/>
                    <a:pt x="220164" y="119312"/>
                    <a:pt x="243967" y="128237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29FFE3AE-2A64-465C-BFF4-765A2F02388F}"/>
                </a:ext>
              </a:extLst>
            </p:cNvPr>
            <p:cNvSpPr/>
            <p:nvPr/>
          </p:nvSpPr>
          <p:spPr>
            <a:xfrm>
              <a:off x="20223486" y="2604673"/>
              <a:ext cx="151736" cy="169586"/>
            </a:xfrm>
            <a:custGeom>
              <a:avLst/>
              <a:gdLst>
                <a:gd name="connsiteX0" fmla="*/ 5951 w 151736"/>
                <a:gd name="connsiteY0" fmla="*/ 169587 h 169586"/>
                <a:gd name="connsiteX1" fmla="*/ 0 w 151736"/>
                <a:gd name="connsiteY1" fmla="*/ 163636 h 169586"/>
                <a:gd name="connsiteX2" fmla="*/ 5951 w 151736"/>
                <a:gd name="connsiteY2" fmla="*/ 157686 h 169586"/>
                <a:gd name="connsiteX3" fmla="*/ 5951 w 151736"/>
                <a:gd name="connsiteY3" fmla="*/ 157686 h 169586"/>
                <a:gd name="connsiteX4" fmla="*/ 5951 w 151736"/>
                <a:gd name="connsiteY4" fmla="*/ 157686 h 169586"/>
                <a:gd name="connsiteX5" fmla="*/ 101158 w 151736"/>
                <a:gd name="connsiteY5" fmla="*/ 139835 h 169586"/>
                <a:gd name="connsiteX6" fmla="*/ 139835 w 151736"/>
                <a:gd name="connsiteY6" fmla="*/ 124959 h 169586"/>
                <a:gd name="connsiteX7" fmla="*/ 127934 w 151736"/>
                <a:gd name="connsiteY7" fmla="*/ 104132 h 169586"/>
                <a:gd name="connsiteX8" fmla="*/ 121985 w 151736"/>
                <a:gd name="connsiteY8" fmla="*/ 59504 h 169586"/>
                <a:gd name="connsiteX9" fmla="*/ 121985 w 151736"/>
                <a:gd name="connsiteY9" fmla="*/ 32727 h 169586"/>
                <a:gd name="connsiteX10" fmla="*/ 121985 w 151736"/>
                <a:gd name="connsiteY10" fmla="*/ 5950 h 169586"/>
                <a:gd name="connsiteX11" fmla="*/ 127934 w 151736"/>
                <a:gd name="connsiteY11" fmla="*/ 0 h 169586"/>
                <a:gd name="connsiteX12" fmla="*/ 127934 w 151736"/>
                <a:gd name="connsiteY12" fmla="*/ 0 h 169586"/>
                <a:gd name="connsiteX13" fmla="*/ 133884 w 151736"/>
                <a:gd name="connsiteY13" fmla="*/ 5950 h 169586"/>
                <a:gd name="connsiteX14" fmla="*/ 133884 w 151736"/>
                <a:gd name="connsiteY14" fmla="*/ 32727 h 169586"/>
                <a:gd name="connsiteX15" fmla="*/ 133884 w 151736"/>
                <a:gd name="connsiteY15" fmla="*/ 59504 h 169586"/>
                <a:gd name="connsiteX16" fmla="*/ 136861 w 151736"/>
                <a:gd name="connsiteY16" fmla="*/ 101157 h 169586"/>
                <a:gd name="connsiteX17" fmla="*/ 151737 w 151736"/>
                <a:gd name="connsiteY17" fmla="*/ 124959 h 169586"/>
                <a:gd name="connsiteX18" fmla="*/ 151737 w 151736"/>
                <a:gd name="connsiteY18" fmla="*/ 130909 h 169586"/>
                <a:gd name="connsiteX19" fmla="*/ 148760 w 151736"/>
                <a:gd name="connsiteY19" fmla="*/ 133884 h 169586"/>
                <a:gd name="connsiteX20" fmla="*/ 101158 w 151736"/>
                <a:gd name="connsiteY20" fmla="*/ 151736 h 169586"/>
                <a:gd name="connsiteX21" fmla="*/ 5951 w 151736"/>
                <a:gd name="connsiteY21" fmla="*/ 169587 h 169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1736" h="169586">
                  <a:moveTo>
                    <a:pt x="5951" y="169587"/>
                  </a:moveTo>
                  <a:cubicBezTo>
                    <a:pt x="2976" y="169587"/>
                    <a:pt x="0" y="166612"/>
                    <a:pt x="0" y="163636"/>
                  </a:cubicBezTo>
                  <a:cubicBezTo>
                    <a:pt x="0" y="160661"/>
                    <a:pt x="2976" y="157686"/>
                    <a:pt x="5951" y="157686"/>
                  </a:cubicBezTo>
                  <a:lnTo>
                    <a:pt x="5951" y="157686"/>
                  </a:lnTo>
                  <a:cubicBezTo>
                    <a:pt x="5951" y="157686"/>
                    <a:pt x="5951" y="157686"/>
                    <a:pt x="5951" y="157686"/>
                  </a:cubicBezTo>
                  <a:cubicBezTo>
                    <a:pt x="41654" y="157686"/>
                    <a:pt x="77356" y="148760"/>
                    <a:pt x="101158" y="139835"/>
                  </a:cubicBezTo>
                  <a:cubicBezTo>
                    <a:pt x="119008" y="133884"/>
                    <a:pt x="133884" y="127934"/>
                    <a:pt x="139835" y="124959"/>
                  </a:cubicBezTo>
                  <a:cubicBezTo>
                    <a:pt x="136861" y="119008"/>
                    <a:pt x="130910" y="110083"/>
                    <a:pt x="127934" y="104132"/>
                  </a:cubicBezTo>
                  <a:cubicBezTo>
                    <a:pt x="121985" y="89256"/>
                    <a:pt x="121985" y="74380"/>
                    <a:pt x="121985" y="59504"/>
                  </a:cubicBezTo>
                  <a:cubicBezTo>
                    <a:pt x="121985" y="53554"/>
                    <a:pt x="121985" y="41653"/>
                    <a:pt x="121985" y="32727"/>
                  </a:cubicBezTo>
                  <a:cubicBezTo>
                    <a:pt x="121985" y="20826"/>
                    <a:pt x="121985" y="11901"/>
                    <a:pt x="121985" y="5950"/>
                  </a:cubicBezTo>
                  <a:cubicBezTo>
                    <a:pt x="121985" y="2975"/>
                    <a:pt x="124959" y="0"/>
                    <a:pt x="127934" y="0"/>
                  </a:cubicBezTo>
                  <a:lnTo>
                    <a:pt x="127934" y="0"/>
                  </a:lnTo>
                  <a:cubicBezTo>
                    <a:pt x="130910" y="0"/>
                    <a:pt x="133884" y="2975"/>
                    <a:pt x="133884" y="5950"/>
                  </a:cubicBezTo>
                  <a:cubicBezTo>
                    <a:pt x="133884" y="11901"/>
                    <a:pt x="133884" y="23802"/>
                    <a:pt x="133884" y="32727"/>
                  </a:cubicBezTo>
                  <a:cubicBezTo>
                    <a:pt x="133884" y="44628"/>
                    <a:pt x="133884" y="53554"/>
                    <a:pt x="133884" y="59504"/>
                  </a:cubicBezTo>
                  <a:cubicBezTo>
                    <a:pt x="133884" y="74380"/>
                    <a:pt x="133884" y="86281"/>
                    <a:pt x="136861" y="101157"/>
                  </a:cubicBezTo>
                  <a:cubicBezTo>
                    <a:pt x="139835" y="110083"/>
                    <a:pt x="145786" y="119008"/>
                    <a:pt x="151737" y="124959"/>
                  </a:cubicBezTo>
                  <a:cubicBezTo>
                    <a:pt x="151737" y="124959"/>
                    <a:pt x="151737" y="127934"/>
                    <a:pt x="151737" y="130909"/>
                  </a:cubicBezTo>
                  <a:cubicBezTo>
                    <a:pt x="151737" y="133884"/>
                    <a:pt x="148760" y="133884"/>
                    <a:pt x="148760" y="133884"/>
                  </a:cubicBezTo>
                  <a:cubicBezTo>
                    <a:pt x="148760" y="133884"/>
                    <a:pt x="127934" y="142810"/>
                    <a:pt x="101158" y="151736"/>
                  </a:cubicBezTo>
                  <a:cubicBezTo>
                    <a:pt x="80331" y="160661"/>
                    <a:pt x="41654" y="169587"/>
                    <a:pt x="5951" y="169587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0D97F4E4-6E51-4C37-B655-AAA663F45BF3}"/>
                </a:ext>
              </a:extLst>
            </p:cNvPr>
            <p:cNvSpPr/>
            <p:nvPr/>
          </p:nvSpPr>
          <p:spPr>
            <a:xfrm>
              <a:off x="20158031" y="3071781"/>
              <a:ext cx="294546" cy="237705"/>
            </a:xfrm>
            <a:custGeom>
              <a:avLst/>
              <a:gdLst>
                <a:gd name="connsiteX0" fmla="*/ 261820 w 294546"/>
                <a:gd name="connsiteY0" fmla="*/ 89256 h 237705"/>
                <a:gd name="connsiteX1" fmla="*/ 294546 w 294546"/>
                <a:gd name="connsiteY1" fmla="*/ 232066 h 237705"/>
                <a:gd name="connsiteX2" fmla="*/ 0 w 294546"/>
                <a:gd name="connsiteY2" fmla="*/ 172562 h 237705"/>
                <a:gd name="connsiteX3" fmla="*/ 77356 w 294546"/>
                <a:gd name="connsiteY3" fmla="*/ 0 h 237705"/>
                <a:gd name="connsiteX4" fmla="*/ 261820 w 294546"/>
                <a:gd name="connsiteY4" fmla="*/ 89256 h 237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546" h="237705">
                  <a:moveTo>
                    <a:pt x="261820" y="89256"/>
                  </a:moveTo>
                  <a:cubicBezTo>
                    <a:pt x="261820" y="89256"/>
                    <a:pt x="240993" y="196364"/>
                    <a:pt x="294546" y="232066"/>
                  </a:cubicBezTo>
                  <a:cubicBezTo>
                    <a:pt x="294546" y="232066"/>
                    <a:pt x="113059" y="264793"/>
                    <a:pt x="0" y="172562"/>
                  </a:cubicBezTo>
                  <a:cubicBezTo>
                    <a:pt x="59504" y="139835"/>
                    <a:pt x="68431" y="59504"/>
                    <a:pt x="77356" y="0"/>
                  </a:cubicBezTo>
                  <a:cubicBezTo>
                    <a:pt x="77356" y="0"/>
                    <a:pt x="211241" y="86281"/>
                    <a:pt x="261820" y="89256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7E37BD71-79D8-4886-B9E4-E4422FE44301}"/>
                </a:ext>
              </a:extLst>
            </p:cNvPr>
            <p:cNvSpPr/>
            <p:nvPr/>
          </p:nvSpPr>
          <p:spPr>
            <a:xfrm>
              <a:off x="20215304" y="3105252"/>
              <a:ext cx="211728" cy="100413"/>
            </a:xfrm>
            <a:custGeom>
              <a:avLst/>
              <a:gdLst>
                <a:gd name="connsiteX0" fmla="*/ 148017 w 211728"/>
                <a:gd name="connsiteY0" fmla="*/ 100413 h 100413"/>
                <a:gd name="connsiteX1" fmla="*/ 124215 w 211728"/>
                <a:gd name="connsiteY1" fmla="*/ 97438 h 100413"/>
                <a:gd name="connsiteX2" fmla="*/ 2231 w 211728"/>
                <a:gd name="connsiteY2" fmla="*/ 11157 h 100413"/>
                <a:gd name="connsiteX3" fmla="*/ 2231 w 211728"/>
                <a:gd name="connsiteY3" fmla="*/ 2231 h 100413"/>
                <a:gd name="connsiteX4" fmla="*/ 11158 w 211728"/>
                <a:gd name="connsiteY4" fmla="*/ 2231 h 100413"/>
                <a:gd name="connsiteX5" fmla="*/ 130166 w 211728"/>
                <a:gd name="connsiteY5" fmla="*/ 85537 h 100413"/>
                <a:gd name="connsiteX6" fmla="*/ 201570 w 211728"/>
                <a:gd name="connsiteY6" fmla="*/ 73636 h 100413"/>
                <a:gd name="connsiteX7" fmla="*/ 210495 w 211728"/>
                <a:gd name="connsiteY7" fmla="*/ 76612 h 100413"/>
                <a:gd name="connsiteX8" fmla="*/ 207521 w 211728"/>
                <a:gd name="connsiteY8" fmla="*/ 85537 h 100413"/>
                <a:gd name="connsiteX9" fmla="*/ 148017 w 211728"/>
                <a:gd name="connsiteY9" fmla="*/ 100413 h 100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1728" h="100413">
                  <a:moveTo>
                    <a:pt x="148017" y="100413"/>
                  </a:moveTo>
                  <a:cubicBezTo>
                    <a:pt x="142066" y="100413"/>
                    <a:pt x="133141" y="100413"/>
                    <a:pt x="124215" y="97438"/>
                  </a:cubicBezTo>
                  <a:cubicBezTo>
                    <a:pt x="85538" y="85537"/>
                    <a:pt x="5207" y="14132"/>
                    <a:pt x="2231" y="11157"/>
                  </a:cubicBezTo>
                  <a:cubicBezTo>
                    <a:pt x="-744" y="8182"/>
                    <a:pt x="-744" y="5207"/>
                    <a:pt x="2231" y="2231"/>
                  </a:cubicBezTo>
                  <a:cubicBezTo>
                    <a:pt x="5207" y="-744"/>
                    <a:pt x="8182" y="-744"/>
                    <a:pt x="11158" y="2231"/>
                  </a:cubicBezTo>
                  <a:cubicBezTo>
                    <a:pt x="11158" y="2231"/>
                    <a:pt x="91487" y="73636"/>
                    <a:pt x="130166" y="85537"/>
                  </a:cubicBezTo>
                  <a:cubicBezTo>
                    <a:pt x="165867" y="94463"/>
                    <a:pt x="201570" y="73636"/>
                    <a:pt x="201570" y="73636"/>
                  </a:cubicBezTo>
                  <a:cubicBezTo>
                    <a:pt x="204546" y="70661"/>
                    <a:pt x="207521" y="73636"/>
                    <a:pt x="210495" y="76612"/>
                  </a:cubicBezTo>
                  <a:cubicBezTo>
                    <a:pt x="213472" y="79587"/>
                    <a:pt x="210495" y="82562"/>
                    <a:pt x="207521" y="85537"/>
                  </a:cubicBezTo>
                  <a:cubicBezTo>
                    <a:pt x="204546" y="82562"/>
                    <a:pt x="180743" y="100413"/>
                    <a:pt x="148017" y="100413"/>
                  </a:cubicBezTo>
                  <a:close/>
                </a:path>
              </a:pathLst>
            </a:custGeom>
            <a:solidFill>
              <a:srgbClr val="E58777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4A4C63B3-31F1-49BF-88E2-B1024BCED226}"/>
                </a:ext>
              </a:extLst>
            </p:cNvPr>
            <p:cNvSpPr/>
            <p:nvPr/>
          </p:nvSpPr>
          <p:spPr>
            <a:xfrm>
              <a:off x="20574560" y="3405004"/>
              <a:ext cx="99505" cy="541487"/>
            </a:xfrm>
            <a:custGeom>
              <a:avLst/>
              <a:gdLst>
                <a:gd name="connsiteX0" fmla="*/ 5951 w 99505"/>
                <a:gd name="connsiteY0" fmla="*/ 541488 h 541487"/>
                <a:gd name="connsiteX1" fmla="*/ 5951 w 99505"/>
                <a:gd name="connsiteY1" fmla="*/ 541488 h 541487"/>
                <a:gd name="connsiteX2" fmla="*/ 0 w 99505"/>
                <a:gd name="connsiteY2" fmla="*/ 532562 h 541487"/>
                <a:gd name="connsiteX3" fmla="*/ 23803 w 99505"/>
                <a:gd name="connsiteY3" fmla="*/ 481984 h 541487"/>
                <a:gd name="connsiteX4" fmla="*/ 77356 w 99505"/>
                <a:gd name="connsiteY4" fmla="*/ 345124 h 541487"/>
                <a:gd name="connsiteX5" fmla="*/ 41654 w 99505"/>
                <a:gd name="connsiteY5" fmla="*/ 5950 h 541487"/>
                <a:gd name="connsiteX6" fmla="*/ 44628 w 99505"/>
                <a:gd name="connsiteY6" fmla="*/ 0 h 541487"/>
                <a:gd name="connsiteX7" fmla="*/ 50579 w 99505"/>
                <a:gd name="connsiteY7" fmla="*/ 2975 h 541487"/>
                <a:gd name="connsiteX8" fmla="*/ 86282 w 99505"/>
                <a:gd name="connsiteY8" fmla="*/ 351074 h 541487"/>
                <a:gd name="connsiteX9" fmla="*/ 32728 w 99505"/>
                <a:gd name="connsiteY9" fmla="*/ 490909 h 541487"/>
                <a:gd name="connsiteX10" fmla="*/ 8927 w 99505"/>
                <a:gd name="connsiteY10" fmla="*/ 541488 h 541487"/>
                <a:gd name="connsiteX11" fmla="*/ 5951 w 99505"/>
                <a:gd name="connsiteY11" fmla="*/ 541488 h 54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505" h="541487">
                  <a:moveTo>
                    <a:pt x="5951" y="541488"/>
                  </a:moveTo>
                  <a:cubicBezTo>
                    <a:pt x="5951" y="541488"/>
                    <a:pt x="5951" y="541488"/>
                    <a:pt x="5951" y="541488"/>
                  </a:cubicBezTo>
                  <a:cubicBezTo>
                    <a:pt x="0" y="538512"/>
                    <a:pt x="0" y="535537"/>
                    <a:pt x="0" y="532562"/>
                  </a:cubicBezTo>
                  <a:cubicBezTo>
                    <a:pt x="5951" y="517686"/>
                    <a:pt x="14876" y="499835"/>
                    <a:pt x="23803" y="481984"/>
                  </a:cubicBezTo>
                  <a:cubicBezTo>
                    <a:pt x="44628" y="434380"/>
                    <a:pt x="68431" y="386777"/>
                    <a:pt x="77356" y="345124"/>
                  </a:cubicBezTo>
                  <a:cubicBezTo>
                    <a:pt x="101158" y="229091"/>
                    <a:pt x="89256" y="113058"/>
                    <a:pt x="41654" y="5950"/>
                  </a:cubicBezTo>
                  <a:cubicBezTo>
                    <a:pt x="41654" y="2975"/>
                    <a:pt x="41654" y="0"/>
                    <a:pt x="44628" y="0"/>
                  </a:cubicBezTo>
                  <a:cubicBezTo>
                    <a:pt x="47604" y="0"/>
                    <a:pt x="50579" y="0"/>
                    <a:pt x="50579" y="2975"/>
                  </a:cubicBezTo>
                  <a:cubicBezTo>
                    <a:pt x="98183" y="116033"/>
                    <a:pt x="113059" y="232066"/>
                    <a:pt x="86282" y="351074"/>
                  </a:cubicBezTo>
                  <a:cubicBezTo>
                    <a:pt x="77356" y="395702"/>
                    <a:pt x="53555" y="443306"/>
                    <a:pt x="32728" y="490909"/>
                  </a:cubicBezTo>
                  <a:cubicBezTo>
                    <a:pt x="23803" y="508760"/>
                    <a:pt x="14876" y="526612"/>
                    <a:pt x="8927" y="541488"/>
                  </a:cubicBezTo>
                  <a:cubicBezTo>
                    <a:pt x="11902" y="541488"/>
                    <a:pt x="8927" y="541488"/>
                    <a:pt x="5951" y="541488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C3073A0C-CDD2-41B9-87FC-3D0EE836A344}"/>
                </a:ext>
              </a:extLst>
            </p:cNvPr>
            <p:cNvSpPr/>
            <p:nvPr/>
          </p:nvSpPr>
          <p:spPr>
            <a:xfrm>
              <a:off x="20143155" y="3781475"/>
              <a:ext cx="386776" cy="78735"/>
            </a:xfrm>
            <a:custGeom>
              <a:avLst/>
              <a:gdLst>
                <a:gd name="connsiteX0" fmla="*/ 380828 w 386776"/>
                <a:gd name="connsiteY0" fmla="*/ 78736 h 78735"/>
                <a:gd name="connsiteX1" fmla="*/ 380828 w 386776"/>
                <a:gd name="connsiteY1" fmla="*/ 78736 h 78735"/>
                <a:gd name="connsiteX2" fmla="*/ 5951 w 386776"/>
                <a:gd name="connsiteY2" fmla="*/ 13281 h 78735"/>
                <a:gd name="connsiteX3" fmla="*/ 0 w 386776"/>
                <a:gd name="connsiteY3" fmla="*/ 7331 h 78735"/>
                <a:gd name="connsiteX4" fmla="*/ 5951 w 386776"/>
                <a:gd name="connsiteY4" fmla="*/ 1380 h 78735"/>
                <a:gd name="connsiteX5" fmla="*/ 383802 w 386776"/>
                <a:gd name="connsiteY5" fmla="*/ 69810 h 78735"/>
                <a:gd name="connsiteX6" fmla="*/ 386777 w 386776"/>
                <a:gd name="connsiteY6" fmla="*/ 75760 h 78735"/>
                <a:gd name="connsiteX7" fmla="*/ 380828 w 386776"/>
                <a:gd name="connsiteY7" fmla="*/ 78736 h 78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6776" h="78735">
                  <a:moveTo>
                    <a:pt x="380828" y="78736"/>
                  </a:moveTo>
                  <a:cubicBezTo>
                    <a:pt x="380828" y="78736"/>
                    <a:pt x="377852" y="78736"/>
                    <a:pt x="380828" y="78736"/>
                  </a:cubicBezTo>
                  <a:cubicBezTo>
                    <a:pt x="303471" y="37083"/>
                    <a:pt x="104132" y="1380"/>
                    <a:pt x="5951" y="13281"/>
                  </a:cubicBezTo>
                  <a:cubicBezTo>
                    <a:pt x="2976" y="13281"/>
                    <a:pt x="0" y="10306"/>
                    <a:pt x="0" y="7331"/>
                  </a:cubicBezTo>
                  <a:cubicBezTo>
                    <a:pt x="0" y="4355"/>
                    <a:pt x="2976" y="1380"/>
                    <a:pt x="5951" y="1380"/>
                  </a:cubicBezTo>
                  <a:cubicBezTo>
                    <a:pt x="107109" y="-7545"/>
                    <a:pt x="306448" y="28157"/>
                    <a:pt x="383802" y="69810"/>
                  </a:cubicBezTo>
                  <a:cubicBezTo>
                    <a:pt x="386777" y="69810"/>
                    <a:pt x="386777" y="75760"/>
                    <a:pt x="386777" y="75760"/>
                  </a:cubicBezTo>
                  <a:cubicBezTo>
                    <a:pt x="383802" y="78736"/>
                    <a:pt x="383802" y="78736"/>
                    <a:pt x="380828" y="78736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D6D0DD1B-9126-4EF9-946F-9C8BBD6D566E}"/>
                </a:ext>
              </a:extLst>
            </p:cNvPr>
            <p:cNvSpPr/>
            <p:nvPr/>
          </p:nvSpPr>
          <p:spPr>
            <a:xfrm>
              <a:off x="20074726" y="2934921"/>
              <a:ext cx="157685" cy="288595"/>
            </a:xfrm>
            <a:custGeom>
              <a:avLst/>
              <a:gdLst>
                <a:gd name="connsiteX0" fmla="*/ 83305 w 157685"/>
                <a:gd name="connsiteY0" fmla="*/ 35703 h 288595"/>
                <a:gd name="connsiteX1" fmla="*/ 157686 w 157685"/>
                <a:gd name="connsiteY1" fmla="*/ 288595 h 288595"/>
                <a:gd name="connsiteX2" fmla="*/ 0 w 157685"/>
                <a:gd name="connsiteY2" fmla="*/ 258843 h 288595"/>
                <a:gd name="connsiteX3" fmla="*/ 44628 w 157685"/>
                <a:gd name="connsiteY3" fmla="*/ 0 h 288595"/>
                <a:gd name="connsiteX4" fmla="*/ 83305 w 157685"/>
                <a:gd name="connsiteY4" fmla="*/ 35703 h 288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685" h="288595">
                  <a:moveTo>
                    <a:pt x="83305" y="35703"/>
                  </a:moveTo>
                  <a:cubicBezTo>
                    <a:pt x="83305" y="35703"/>
                    <a:pt x="86282" y="226116"/>
                    <a:pt x="157686" y="288595"/>
                  </a:cubicBezTo>
                  <a:cubicBezTo>
                    <a:pt x="157686" y="288595"/>
                    <a:pt x="50579" y="288595"/>
                    <a:pt x="0" y="258843"/>
                  </a:cubicBezTo>
                  <a:lnTo>
                    <a:pt x="44628" y="0"/>
                  </a:lnTo>
                  <a:lnTo>
                    <a:pt x="83305" y="35703"/>
                  </a:ln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0B952099-9B92-4A7D-8B95-128414A47D09}"/>
                </a:ext>
              </a:extLst>
            </p:cNvPr>
            <p:cNvSpPr/>
            <p:nvPr/>
          </p:nvSpPr>
          <p:spPr>
            <a:xfrm>
              <a:off x="20113970" y="2859639"/>
              <a:ext cx="71236" cy="112936"/>
            </a:xfrm>
            <a:custGeom>
              <a:avLst/>
              <a:gdLst>
                <a:gd name="connsiteX0" fmla="*/ 67864 w 71236"/>
                <a:gd name="connsiteY0" fmla="*/ 21728 h 112936"/>
                <a:gd name="connsiteX1" fmla="*/ 11334 w 71236"/>
                <a:gd name="connsiteY1" fmla="*/ 3877 h 112936"/>
                <a:gd name="connsiteX2" fmla="*/ 50011 w 71236"/>
                <a:gd name="connsiteY2" fmla="*/ 110985 h 112936"/>
                <a:gd name="connsiteX3" fmla="*/ 67864 w 71236"/>
                <a:gd name="connsiteY3" fmla="*/ 21728 h 1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236" h="112936">
                  <a:moveTo>
                    <a:pt x="67864" y="21728"/>
                  </a:moveTo>
                  <a:cubicBezTo>
                    <a:pt x="67864" y="21728"/>
                    <a:pt x="41086" y="-10999"/>
                    <a:pt x="11334" y="3877"/>
                  </a:cubicBezTo>
                  <a:cubicBezTo>
                    <a:pt x="-15444" y="18753"/>
                    <a:pt x="8359" y="128836"/>
                    <a:pt x="50011" y="110985"/>
                  </a:cubicBezTo>
                  <a:cubicBezTo>
                    <a:pt x="82740" y="96109"/>
                    <a:pt x="67864" y="21728"/>
                    <a:pt x="67864" y="21728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70BB3122-173E-4748-9702-2E1A3323CFEC}"/>
                </a:ext>
              </a:extLst>
            </p:cNvPr>
            <p:cNvSpPr/>
            <p:nvPr/>
          </p:nvSpPr>
          <p:spPr>
            <a:xfrm>
              <a:off x="20491254" y="2789136"/>
              <a:ext cx="121984" cy="181487"/>
            </a:xfrm>
            <a:custGeom>
              <a:avLst/>
              <a:gdLst>
                <a:gd name="connsiteX0" fmla="*/ 113057 w 121984"/>
                <a:gd name="connsiteY0" fmla="*/ 181488 h 181487"/>
                <a:gd name="connsiteX1" fmla="*/ 107109 w 121984"/>
                <a:gd name="connsiteY1" fmla="*/ 175537 h 181487"/>
                <a:gd name="connsiteX2" fmla="*/ 2976 w 121984"/>
                <a:gd name="connsiteY2" fmla="*/ 11901 h 181487"/>
                <a:gd name="connsiteX3" fmla="*/ 0 w 121984"/>
                <a:gd name="connsiteY3" fmla="*/ 2975 h 181487"/>
                <a:gd name="connsiteX4" fmla="*/ 8925 w 121984"/>
                <a:gd name="connsiteY4" fmla="*/ 0 h 181487"/>
                <a:gd name="connsiteX5" fmla="*/ 121985 w 121984"/>
                <a:gd name="connsiteY5" fmla="*/ 175537 h 181487"/>
                <a:gd name="connsiteX6" fmla="*/ 113057 w 121984"/>
                <a:gd name="connsiteY6" fmla="*/ 181488 h 181487"/>
                <a:gd name="connsiteX7" fmla="*/ 113057 w 121984"/>
                <a:gd name="connsiteY7" fmla="*/ 181488 h 18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84" h="181487">
                  <a:moveTo>
                    <a:pt x="113057" y="181488"/>
                  </a:moveTo>
                  <a:cubicBezTo>
                    <a:pt x="110083" y="181488"/>
                    <a:pt x="107109" y="178512"/>
                    <a:pt x="107109" y="175537"/>
                  </a:cubicBezTo>
                  <a:cubicBezTo>
                    <a:pt x="101158" y="56529"/>
                    <a:pt x="2976" y="11901"/>
                    <a:pt x="2976" y="11901"/>
                  </a:cubicBezTo>
                  <a:cubicBezTo>
                    <a:pt x="0" y="11901"/>
                    <a:pt x="0" y="5950"/>
                    <a:pt x="0" y="2975"/>
                  </a:cubicBezTo>
                  <a:cubicBezTo>
                    <a:pt x="0" y="0"/>
                    <a:pt x="5951" y="0"/>
                    <a:pt x="8925" y="0"/>
                  </a:cubicBezTo>
                  <a:cubicBezTo>
                    <a:pt x="8925" y="0"/>
                    <a:pt x="116034" y="47603"/>
                    <a:pt x="121985" y="175537"/>
                  </a:cubicBezTo>
                  <a:cubicBezTo>
                    <a:pt x="119008" y="178512"/>
                    <a:pt x="116034" y="181488"/>
                    <a:pt x="113057" y="181488"/>
                  </a:cubicBezTo>
                  <a:cubicBezTo>
                    <a:pt x="113057" y="181488"/>
                    <a:pt x="113057" y="181488"/>
                    <a:pt x="113057" y="181488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77019AF9-1038-469F-8026-C9FE64E1C5F9}"/>
                </a:ext>
              </a:extLst>
            </p:cNvPr>
            <p:cNvSpPr/>
            <p:nvPr/>
          </p:nvSpPr>
          <p:spPr>
            <a:xfrm>
              <a:off x="20622164" y="3015252"/>
              <a:ext cx="63801" cy="187437"/>
            </a:xfrm>
            <a:custGeom>
              <a:avLst/>
              <a:gdLst>
                <a:gd name="connsiteX0" fmla="*/ 59504 w 63801"/>
                <a:gd name="connsiteY0" fmla="*/ 187438 h 187437"/>
                <a:gd name="connsiteX1" fmla="*/ 53553 w 63801"/>
                <a:gd name="connsiteY1" fmla="*/ 184463 h 187437"/>
                <a:gd name="connsiteX2" fmla="*/ 0 w 63801"/>
                <a:gd name="connsiteY2" fmla="*/ 5950 h 187437"/>
                <a:gd name="connsiteX3" fmla="*/ 5951 w 63801"/>
                <a:gd name="connsiteY3" fmla="*/ 0 h 187437"/>
                <a:gd name="connsiteX4" fmla="*/ 11900 w 63801"/>
                <a:gd name="connsiteY4" fmla="*/ 5950 h 187437"/>
                <a:gd name="connsiteX5" fmla="*/ 62479 w 63801"/>
                <a:gd name="connsiteY5" fmla="*/ 178512 h 187437"/>
                <a:gd name="connsiteX6" fmla="*/ 62479 w 63801"/>
                <a:gd name="connsiteY6" fmla="*/ 187438 h 187437"/>
                <a:gd name="connsiteX7" fmla="*/ 59504 w 63801"/>
                <a:gd name="connsiteY7" fmla="*/ 187438 h 187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801" h="187437">
                  <a:moveTo>
                    <a:pt x="59504" y="187438"/>
                  </a:moveTo>
                  <a:cubicBezTo>
                    <a:pt x="56528" y="187438"/>
                    <a:pt x="56528" y="187438"/>
                    <a:pt x="53553" y="184463"/>
                  </a:cubicBezTo>
                  <a:cubicBezTo>
                    <a:pt x="5951" y="121983"/>
                    <a:pt x="0" y="11901"/>
                    <a:pt x="0" y="5950"/>
                  </a:cubicBezTo>
                  <a:cubicBezTo>
                    <a:pt x="0" y="2975"/>
                    <a:pt x="2974" y="0"/>
                    <a:pt x="5951" y="0"/>
                  </a:cubicBezTo>
                  <a:cubicBezTo>
                    <a:pt x="8925" y="0"/>
                    <a:pt x="11900" y="2975"/>
                    <a:pt x="11900" y="5950"/>
                  </a:cubicBezTo>
                  <a:cubicBezTo>
                    <a:pt x="11900" y="5950"/>
                    <a:pt x="20827" y="119008"/>
                    <a:pt x="62479" y="178512"/>
                  </a:cubicBezTo>
                  <a:cubicBezTo>
                    <a:pt x="65455" y="181488"/>
                    <a:pt x="62479" y="184463"/>
                    <a:pt x="62479" y="187438"/>
                  </a:cubicBezTo>
                  <a:cubicBezTo>
                    <a:pt x="62479" y="187438"/>
                    <a:pt x="62479" y="187438"/>
                    <a:pt x="59504" y="187438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1D6E4707-1E9A-4FF7-BD31-7009D00C542F}"/>
                </a:ext>
              </a:extLst>
            </p:cNvPr>
            <p:cNvSpPr/>
            <p:nvPr/>
          </p:nvSpPr>
          <p:spPr>
            <a:xfrm>
              <a:off x="20586461" y="3086657"/>
              <a:ext cx="58760" cy="130909"/>
            </a:xfrm>
            <a:custGeom>
              <a:avLst/>
              <a:gdLst>
                <a:gd name="connsiteX0" fmla="*/ 50579 w 58760"/>
                <a:gd name="connsiteY0" fmla="*/ 130909 h 130909"/>
                <a:gd name="connsiteX1" fmla="*/ 47603 w 58760"/>
                <a:gd name="connsiteY1" fmla="*/ 127934 h 130909"/>
                <a:gd name="connsiteX2" fmla="*/ 0 w 58760"/>
                <a:gd name="connsiteY2" fmla="*/ 5950 h 130909"/>
                <a:gd name="connsiteX3" fmla="*/ 5951 w 58760"/>
                <a:gd name="connsiteY3" fmla="*/ 0 h 130909"/>
                <a:gd name="connsiteX4" fmla="*/ 11902 w 58760"/>
                <a:gd name="connsiteY4" fmla="*/ 5950 h 130909"/>
                <a:gd name="connsiteX5" fmla="*/ 56530 w 58760"/>
                <a:gd name="connsiteY5" fmla="*/ 121984 h 130909"/>
                <a:gd name="connsiteX6" fmla="*/ 56530 w 58760"/>
                <a:gd name="connsiteY6" fmla="*/ 130909 h 130909"/>
                <a:gd name="connsiteX7" fmla="*/ 50579 w 58760"/>
                <a:gd name="connsiteY7" fmla="*/ 130909 h 130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760" h="130909">
                  <a:moveTo>
                    <a:pt x="50579" y="130909"/>
                  </a:moveTo>
                  <a:cubicBezTo>
                    <a:pt x="50579" y="130909"/>
                    <a:pt x="47603" y="130909"/>
                    <a:pt x="47603" y="127934"/>
                  </a:cubicBezTo>
                  <a:cubicBezTo>
                    <a:pt x="17851" y="98182"/>
                    <a:pt x="0" y="8926"/>
                    <a:pt x="0" y="5950"/>
                  </a:cubicBezTo>
                  <a:cubicBezTo>
                    <a:pt x="0" y="2975"/>
                    <a:pt x="0" y="0"/>
                    <a:pt x="5951" y="0"/>
                  </a:cubicBezTo>
                  <a:cubicBezTo>
                    <a:pt x="8925" y="0"/>
                    <a:pt x="11902" y="0"/>
                    <a:pt x="11902" y="5950"/>
                  </a:cubicBezTo>
                  <a:cubicBezTo>
                    <a:pt x="11902" y="5950"/>
                    <a:pt x="29752" y="95207"/>
                    <a:pt x="56530" y="121984"/>
                  </a:cubicBezTo>
                  <a:cubicBezTo>
                    <a:pt x="59504" y="124959"/>
                    <a:pt x="59504" y="127934"/>
                    <a:pt x="56530" y="130909"/>
                  </a:cubicBezTo>
                  <a:cubicBezTo>
                    <a:pt x="53553" y="130909"/>
                    <a:pt x="50579" y="130909"/>
                    <a:pt x="50579" y="130909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8C900CC2-4006-468C-8DAB-F1F7D607C1F0}"/>
                </a:ext>
              </a:extLst>
            </p:cNvPr>
            <p:cNvSpPr/>
            <p:nvPr/>
          </p:nvSpPr>
          <p:spPr>
            <a:xfrm>
              <a:off x="20158013" y="2961698"/>
              <a:ext cx="81671" cy="267768"/>
            </a:xfrm>
            <a:custGeom>
              <a:avLst/>
              <a:gdLst>
                <a:gd name="connsiteX0" fmla="*/ 74398 w 81671"/>
                <a:gd name="connsiteY0" fmla="*/ 267769 h 267768"/>
                <a:gd name="connsiteX1" fmla="*/ 68449 w 81671"/>
                <a:gd name="connsiteY1" fmla="*/ 264793 h 267768"/>
                <a:gd name="connsiteX2" fmla="*/ 18 w 81671"/>
                <a:gd name="connsiteY2" fmla="*/ 5950 h 267768"/>
                <a:gd name="connsiteX3" fmla="*/ 5968 w 81671"/>
                <a:gd name="connsiteY3" fmla="*/ 0 h 267768"/>
                <a:gd name="connsiteX4" fmla="*/ 5968 w 81671"/>
                <a:gd name="connsiteY4" fmla="*/ 0 h 267768"/>
                <a:gd name="connsiteX5" fmla="*/ 11919 w 81671"/>
                <a:gd name="connsiteY5" fmla="*/ 5950 h 267768"/>
                <a:gd name="connsiteX6" fmla="*/ 80349 w 81671"/>
                <a:gd name="connsiteY6" fmla="*/ 258843 h 267768"/>
                <a:gd name="connsiteX7" fmla="*/ 80349 w 81671"/>
                <a:gd name="connsiteY7" fmla="*/ 267769 h 267768"/>
                <a:gd name="connsiteX8" fmla="*/ 74398 w 81671"/>
                <a:gd name="connsiteY8" fmla="*/ 267769 h 267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1671" h="267768">
                  <a:moveTo>
                    <a:pt x="74398" y="267769"/>
                  </a:moveTo>
                  <a:cubicBezTo>
                    <a:pt x="71423" y="267769"/>
                    <a:pt x="71423" y="267769"/>
                    <a:pt x="68449" y="264793"/>
                  </a:cubicBezTo>
                  <a:cubicBezTo>
                    <a:pt x="-2957" y="160661"/>
                    <a:pt x="18" y="11901"/>
                    <a:pt x="18" y="5950"/>
                  </a:cubicBezTo>
                  <a:cubicBezTo>
                    <a:pt x="18" y="2975"/>
                    <a:pt x="2994" y="0"/>
                    <a:pt x="5968" y="0"/>
                  </a:cubicBezTo>
                  <a:cubicBezTo>
                    <a:pt x="5968" y="0"/>
                    <a:pt x="5968" y="0"/>
                    <a:pt x="5968" y="0"/>
                  </a:cubicBezTo>
                  <a:cubicBezTo>
                    <a:pt x="8945" y="0"/>
                    <a:pt x="11919" y="2975"/>
                    <a:pt x="11919" y="5950"/>
                  </a:cubicBezTo>
                  <a:cubicBezTo>
                    <a:pt x="11919" y="8926"/>
                    <a:pt x="8945" y="154711"/>
                    <a:pt x="80349" y="258843"/>
                  </a:cubicBezTo>
                  <a:cubicBezTo>
                    <a:pt x="83325" y="261818"/>
                    <a:pt x="80349" y="264793"/>
                    <a:pt x="80349" y="267769"/>
                  </a:cubicBezTo>
                  <a:cubicBezTo>
                    <a:pt x="77374" y="267769"/>
                    <a:pt x="77374" y="267769"/>
                    <a:pt x="74398" y="267769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6AA4E0AC-E5E4-4E75-9D6E-204ED6F0CC36}"/>
                </a:ext>
              </a:extLst>
            </p:cNvPr>
            <p:cNvSpPr/>
            <p:nvPr/>
          </p:nvSpPr>
          <p:spPr>
            <a:xfrm>
              <a:off x="20152082" y="2708806"/>
              <a:ext cx="133884" cy="163636"/>
            </a:xfrm>
            <a:custGeom>
              <a:avLst/>
              <a:gdLst>
                <a:gd name="connsiteX0" fmla="*/ 5949 w 133884"/>
                <a:gd name="connsiteY0" fmla="*/ 163636 h 163636"/>
                <a:gd name="connsiteX1" fmla="*/ 5949 w 133884"/>
                <a:gd name="connsiteY1" fmla="*/ 163636 h 163636"/>
                <a:gd name="connsiteX2" fmla="*/ 0 w 133884"/>
                <a:gd name="connsiteY2" fmla="*/ 157686 h 163636"/>
                <a:gd name="connsiteX3" fmla="*/ 65453 w 133884"/>
                <a:gd name="connsiteY3" fmla="*/ 56529 h 163636"/>
                <a:gd name="connsiteX4" fmla="*/ 121983 w 133884"/>
                <a:gd name="connsiteY4" fmla="*/ 2975 h 163636"/>
                <a:gd name="connsiteX5" fmla="*/ 130908 w 133884"/>
                <a:gd name="connsiteY5" fmla="*/ 0 h 163636"/>
                <a:gd name="connsiteX6" fmla="*/ 133884 w 133884"/>
                <a:gd name="connsiteY6" fmla="*/ 8926 h 163636"/>
                <a:gd name="connsiteX7" fmla="*/ 71404 w 133884"/>
                <a:gd name="connsiteY7" fmla="*/ 65454 h 163636"/>
                <a:gd name="connsiteX8" fmla="*/ 11900 w 133884"/>
                <a:gd name="connsiteY8" fmla="*/ 160661 h 163636"/>
                <a:gd name="connsiteX9" fmla="*/ 5949 w 133884"/>
                <a:gd name="connsiteY9" fmla="*/ 163636 h 163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3884" h="163636">
                  <a:moveTo>
                    <a:pt x="5949" y="163636"/>
                  </a:moveTo>
                  <a:cubicBezTo>
                    <a:pt x="5949" y="163636"/>
                    <a:pt x="5949" y="163636"/>
                    <a:pt x="5949" y="163636"/>
                  </a:cubicBezTo>
                  <a:cubicBezTo>
                    <a:pt x="0" y="163636"/>
                    <a:pt x="0" y="160661"/>
                    <a:pt x="0" y="157686"/>
                  </a:cubicBezTo>
                  <a:cubicBezTo>
                    <a:pt x="2974" y="145785"/>
                    <a:pt x="23801" y="77355"/>
                    <a:pt x="65453" y="56529"/>
                  </a:cubicBezTo>
                  <a:cubicBezTo>
                    <a:pt x="98181" y="38678"/>
                    <a:pt x="121983" y="2975"/>
                    <a:pt x="121983" y="2975"/>
                  </a:cubicBezTo>
                  <a:cubicBezTo>
                    <a:pt x="124957" y="0"/>
                    <a:pt x="127934" y="0"/>
                    <a:pt x="130908" y="0"/>
                  </a:cubicBezTo>
                  <a:cubicBezTo>
                    <a:pt x="133884" y="2975"/>
                    <a:pt x="133884" y="5950"/>
                    <a:pt x="133884" y="8926"/>
                  </a:cubicBezTo>
                  <a:cubicBezTo>
                    <a:pt x="133884" y="11901"/>
                    <a:pt x="107107" y="47603"/>
                    <a:pt x="71404" y="65454"/>
                  </a:cubicBezTo>
                  <a:cubicBezTo>
                    <a:pt x="41652" y="80330"/>
                    <a:pt x="20825" y="124959"/>
                    <a:pt x="11900" y="160661"/>
                  </a:cubicBezTo>
                  <a:cubicBezTo>
                    <a:pt x="11900" y="160661"/>
                    <a:pt x="8925" y="163636"/>
                    <a:pt x="5949" y="163636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F3DEEB8B-2796-49E8-9BDE-17744424E868}"/>
                </a:ext>
              </a:extLst>
            </p:cNvPr>
            <p:cNvSpPr/>
            <p:nvPr/>
          </p:nvSpPr>
          <p:spPr>
            <a:xfrm>
              <a:off x="20131255" y="3244343"/>
              <a:ext cx="348099" cy="86931"/>
            </a:xfrm>
            <a:custGeom>
              <a:avLst/>
              <a:gdLst>
                <a:gd name="connsiteX0" fmla="*/ 312397 w 348099"/>
                <a:gd name="connsiteY0" fmla="*/ 50578 h 86931"/>
                <a:gd name="connsiteX1" fmla="*/ 26776 w 348099"/>
                <a:gd name="connsiteY1" fmla="*/ 0 h 86931"/>
                <a:gd name="connsiteX2" fmla="*/ 0 w 348099"/>
                <a:gd name="connsiteY2" fmla="*/ 2975 h 86931"/>
                <a:gd name="connsiteX3" fmla="*/ 175536 w 348099"/>
                <a:gd name="connsiteY3" fmla="*/ 83306 h 86931"/>
                <a:gd name="connsiteX4" fmla="*/ 348100 w 348099"/>
                <a:gd name="connsiteY4" fmla="*/ 62479 h 86931"/>
                <a:gd name="connsiteX5" fmla="*/ 312397 w 348099"/>
                <a:gd name="connsiteY5" fmla="*/ 50578 h 8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8099" h="86931">
                  <a:moveTo>
                    <a:pt x="312397" y="50578"/>
                  </a:moveTo>
                  <a:cubicBezTo>
                    <a:pt x="312397" y="50578"/>
                    <a:pt x="193388" y="89256"/>
                    <a:pt x="26776" y="0"/>
                  </a:cubicBezTo>
                  <a:lnTo>
                    <a:pt x="0" y="2975"/>
                  </a:lnTo>
                  <a:cubicBezTo>
                    <a:pt x="0" y="2975"/>
                    <a:pt x="68429" y="68430"/>
                    <a:pt x="175536" y="83306"/>
                  </a:cubicBezTo>
                  <a:cubicBezTo>
                    <a:pt x="276694" y="98182"/>
                    <a:pt x="348100" y="62479"/>
                    <a:pt x="348100" y="62479"/>
                  </a:cubicBezTo>
                  <a:cubicBezTo>
                    <a:pt x="348100" y="62479"/>
                    <a:pt x="333224" y="53554"/>
                    <a:pt x="312397" y="50578"/>
                  </a:cubicBezTo>
                  <a:close/>
                </a:path>
              </a:pathLst>
            </a:custGeom>
            <a:solidFill>
              <a:srgbClr val="F6EBE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8" name="图形 1">
              <a:extLst>
                <a:ext uri="{FF2B5EF4-FFF2-40B4-BE49-F238E27FC236}">
                  <a16:creationId xmlns:a16="http://schemas.microsoft.com/office/drawing/2014/main" id="{E742DCE2-26C2-41C3-AB0C-3B1AAC8B66B6}"/>
                </a:ext>
              </a:extLst>
            </p:cNvPr>
            <p:cNvGrpSpPr/>
            <p:nvPr/>
          </p:nvGrpSpPr>
          <p:grpSpPr>
            <a:xfrm>
              <a:off x="20635647" y="4219064"/>
              <a:ext cx="1336184" cy="2396281"/>
              <a:chOff x="20635647" y="4219064"/>
              <a:chExt cx="1336184" cy="2396281"/>
            </a:xfrm>
          </p:grpSpPr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F1236478-E292-4387-A10D-103CC5B2E15E}"/>
                  </a:ext>
                </a:extLst>
              </p:cNvPr>
              <p:cNvSpPr/>
              <p:nvPr/>
            </p:nvSpPr>
            <p:spPr>
              <a:xfrm>
                <a:off x="20767948" y="4499880"/>
                <a:ext cx="859835" cy="1907107"/>
              </a:xfrm>
              <a:custGeom>
                <a:avLst/>
                <a:gdLst>
                  <a:gd name="connsiteX0" fmla="*/ 779505 w 859835"/>
                  <a:gd name="connsiteY0" fmla="*/ 1907107 h 1907107"/>
                  <a:gd name="connsiteX1" fmla="*/ 859835 w 859835"/>
                  <a:gd name="connsiteY1" fmla="*/ 1877355 h 1907107"/>
                  <a:gd name="connsiteX2" fmla="*/ 80331 w 859835"/>
                  <a:gd name="connsiteY2" fmla="*/ 0 h 1907107"/>
                  <a:gd name="connsiteX3" fmla="*/ 0 w 859835"/>
                  <a:gd name="connsiteY3" fmla="*/ 29752 h 1907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9835" h="1907107">
                    <a:moveTo>
                      <a:pt x="779505" y="1907107"/>
                    </a:moveTo>
                    <a:lnTo>
                      <a:pt x="859835" y="1877355"/>
                    </a:lnTo>
                    <a:lnTo>
                      <a:pt x="80331" y="0"/>
                    </a:lnTo>
                    <a:lnTo>
                      <a:pt x="0" y="29752"/>
                    </a:ln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68B0140E-B43B-4111-B5B3-E2AFDFF0FA20}"/>
                  </a:ext>
                </a:extLst>
              </p:cNvPr>
              <p:cNvSpPr/>
              <p:nvPr/>
            </p:nvSpPr>
            <p:spPr>
              <a:xfrm>
                <a:off x="21513559" y="6295737"/>
                <a:ext cx="458272" cy="319607"/>
              </a:xfrm>
              <a:custGeom>
                <a:avLst/>
                <a:gdLst>
                  <a:gd name="connsiteX0" fmla="*/ 295712 w 458272"/>
                  <a:gd name="connsiteY0" fmla="*/ 319514 h 319607"/>
                  <a:gd name="connsiteX1" fmla="*/ 450423 w 458272"/>
                  <a:gd name="connsiteY1" fmla="*/ 185630 h 319607"/>
                  <a:gd name="connsiteX2" fmla="*/ 450423 w 458272"/>
                  <a:gd name="connsiteY2" fmla="*/ 75547 h 319607"/>
                  <a:gd name="connsiteX3" fmla="*/ 146952 w 458272"/>
                  <a:gd name="connsiteY3" fmla="*/ 81498 h 319607"/>
                  <a:gd name="connsiteX4" fmla="*/ 99349 w 458272"/>
                  <a:gd name="connsiteY4" fmla="*/ 7118 h 319607"/>
                  <a:gd name="connsiteX5" fmla="*/ 84473 w 458272"/>
                  <a:gd name="connsiteY5" fmla="*/ 1167 h 319607"/>
                  <a:gd name="connsiteX6" fmla="*/ 7118 w 458272"/>
                  <a:gd name="connsiteY6" fmla="*/ 33895 h 319607"/>
                  <a:gd name="connsiteX7" fmla="*/ 1168 w 458272"/>
                  <a:gd name="connsiteY7" fmla="*/ 48771 h 319607"/>
                  <a:gd name="connsiteX8" fmla="*/ 21994 w 458272"/>
                  <a:gd name="connsiteY8" fmla="*/ 102324 h 319607"/>
                  <a:gd name="connsiteX9" fmla="*/ 27943 w 458272"/>
                  <a:gd name="connsiteY9" fmla="*/ 120176 h 319607"/>
                  <a:gd name="connsiteX10" fmla="*/ 295712 w 458272"/>
                  <a:gd name="connsiteY10" fmla="*/ 319514 h 319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58272" h="319607">
                    <a:moveTo>
                      <a:pt x="295712" y="319514"/>
                    </a:moveTo>
                    <a:cubicBezTo>
                      <a:pt x="381994" y="322490"/>
                      <a:pt x="432573" y="254060"/>
                      <a:pt x="450423" y="185630"/>
                    </a:cubicBezTo>
                    <a:cubicBezTo>
                      <a:pt x="462325" y="143977"/>
                      <a:pt x="459348" y="102324"/>
                      <a:pt x="450423" y="75547"/>
                    </a:cubicBezTo>
                    <a:cubicBezTo>
                      <a:pt x="417697" y="4143"/>
                      <a:pt x="167779" y="87448"/>
                      <a:pt x="146952" y="81498"/>
                    </a:cubicBezTo>
                    <a:cubicBezTo>
                      <a:pt x="132076" y="75547"/>
                      <a:pt x="108274" y="27944"/>
                      <a:pt x="99349" y="7118"/>
                    </a:cubicBezTo>
                    <a:cubicBezTo>
                      <a:pt x="96375" y="1167"/>
                      <a:pt x="90424" y="-1808"/>
                      <a:pt x="84473" y="1167"/>
                    </a:cubicBezTo>
                    <a:lnTo>
                      <a:pt x="7118" y="33895"/>
                    </a:lnTo>
                    <a:cubicBezTo>
                      <a:pt x="1168" y="36870"/>
                      <a:pt x="-1809" y="42820"/>
                      <a:pt x="1168" y="48771"/>
                    </a:cubicBezTo>
                    <a:cubicBezTo>
                      <a:pt x="7118" y="60671"/>
                      <a:pt x="13067" y="81498"/>
                      <a:pt x="21994" y="102324"/>
                    </a:cubicBezTo>
                    <a:cubicBezTo>
                      <a:pt x="24969" y="108275"/>
                      <a:pt x="24969" y="114225"/>
                      <a:pt x="27943" y="120176"/>
                    </a:cubicBezTo>
                    <a:cubicBezTo>
                      <a:pt x="39845" y="158853"/>
                      <a:pt x="135052" y="313564"/>
                      <a:pt x="295712" y="319514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C781E28C-A438-473C-86E8-5F52FD591C3E}"/>
                  </a:ext>
                </a:extLst>
              </p:cNvPr>
              <p:cNvSpPr/>
              <p:nvPr/>
            </p:nvSpPr>
            <p:spPr>
              <a:xfrm>
                <a:off x="20635647" y="4219064"/>
                <a:ext cx="272137" cy="457901"/>
              </a:xfrm>
              <a:custGeom>
                <a:avLst/>
                <a:gdLst>
                  <a:gd name="connsiteX0" fmla="*/ 7344 w 272137"/>
                  <a:gd name="connsiteY0" fmla="*/ 96353 h 457901"/>
                  <a:gd name="connsiteX1" fmla="*/ 165030 w 272137"/>
                  <a:gd name="connsiteY1" fmla="*/ 432552 h 457901"/>
                  <a:gd name="connsiteX2" fmla="*/ 200733 w 272137"/>
                  <a:gd name="connsiteY2" fmla="*/ 456353 h 457901"/>
                  <a:gd name="connsiteX3" fmla="*/ 260237 w 272137"/>
                  <a:gd name="connsiteY3" fmla="*/ 432552 h 457901"/>
                  <a:gd name="connsiteX4" fmla="*/ 269162 w 272137"/>
                  <a:gd name="connsiteY4" fmla="*/ 387923 h 457901"/>
                  <a:gd name="connsiteX5" fmla="*/ 150154 w 272137"/>
                  <a:gd name="connsiteY5" fmla="*/ 39824 h 457901"/>
                  <a:gd name="connsiteX6" fmla="*/ 108500 w 272137"/>
                  <a:gd name="connsiteY6" fmla="*/ 1147 h 457901"/>
                  <a:gd name="connsiteX7" fmla="*/ 13293 w 272137"/>
                  <a:gd name="connsiteY7" fmla="*/ 39824 h 457901"/>
                  <a:gd name="connsiteX8" fmla="*/ 7344 w 272137"/>
                  <a:gd name="connsiteY8" fmla="*/ 96353 h 457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2137" h="457901">
                    <a:moveTo>
                      <a:pt x="7344" y="96353"/>
                    </a:moveTo>
                    <a:lnTo>
                      <a:pt x="165030" y="432552"/>
                    </a:lnTo>
                    <a:cubicBezTo>
                      <a:pt x="173955" y="450403"/>
                      <a:pt x="191806" y="462304"/>
                      <a:pt x="200733" y="456353"/>
                    </a:cubicBezTo>
                    <a:lnTo>
                      <a:pt x="260237" y="432552"/>
                    </a:lnTo>
                    <a:cubicBezTo>
                      <a:pt x="272137" y="426601"/>
                      <a:pt x="275113" y="408750"/>
                      <a:pt x="269162" y="387923"/>
                    </a:cubicBezTo>
                    <a:lnTo>
                      <a:pt x="150154" y="39824"/>
                    </a:lnTo>
                    <a:cubicBezTo>
                      <a:pt x="141229" y="13047"/>
                      <a:pt x="123376" y="-4804"/>
                      <a:pt x="108500" y="1147"/>
                    </a:cubicBezTo>
                    <a:lnTo>
                      <a:pt x="13293" y="39824"/>
                    </a:lnTo>
                    <a:cubicBezTo>
                      <a:pt x="-1583" y="45775"/>
                      <a:pt x="-4557" y="72552"/>
                      <a:pt x="7344" y="963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BC9C83B2-1182-4A57-8165-F547606A8B1E}"/>
                  </a:ext>
                </a:extLst>
              </p:cNvPr>
              <p:cNvSpPr/>
              <p:nvPr/>
            </p:nvSpPr>
            <p:spPr>
              <a:xfrm>
                <a:off x="21535553" y="6395087"/>
                <a:ext cx="428428" cy="220258"/>
              </a:xfrm>
              <a:custGeom>
                <a:avLst/>
                <a:gdLst>
                  <a:gd name="connsiteX0" fmla="*/ 273718 w 428428"/>
                  <a:gd name="connsiteY0" fmla="*/ 220165 h 220258"/>
                  <a:gd name="connsiteX1" fmla="*/ 428429 w 428428"/>
                  <a:gd name="connsiteY1" fmla="*/ 86281 h 220258"/>
                  <a:gd name="connsiteX2" fmla="*/ 395702 w 428428"/>
                  <a:gd name="connsiteY2" fmla="*/ 92231 h 220258"/>
                  <a:gd name="connsiteX3" fmla="*/ 0 w 428428"/>
                  <a:gd name="connsiteY3" fmla="*/ 0 h 220258"/>
                  <a:gd name="connsiteX4" fmla="*/ 5949 w 428428"/>
                  <a:gd name="connsiteY4" fmla="*/ 17851 h 220258"/>
                  <a:gd name="connsiteX5" fmla="*/ 273718 w 428428"/>
                  <a:gd name="connsiteY5" fmla="*/ 220165 h 220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8428" h="220258">
                    <a:moveTo>
                      <a:pt x="273718" y="220165"/>
                    </a:moveTo>
                    <a:cubicBezTo>
                      <a:pt x="359999" y="223141"/>
                      <a:pt x="410578" y="154711"/>
                      <a:pt x="428429" y="86281"/>
                    </a:cubicBezTo>
                    <a:cubicBezTo>
                      <a:pt x="419503" y="86281"/>
                      <a:pt x="407602" y="86281"/>
                      <a:pt x="395702" y="92231"/>
                    </a:cubicBezTo>
                    <a:cubicBezTo>
                      <a:pt x="264792" y="142810"/>
                      <a:pt x="107107" y="136859"/>
                      <a:pt x="0" y="0"/>
                    </a:cubicBezTo>
                    <a:cubicBezTo>
                      <a:pt x="2974" y="5950"/>
                      <a:pt x="2974" y="11901"/>
                      <a:pt x="5949" y="17851"/>
                    </a:cubicBezTo>
                    <a:cubicBezTo>
                      <a:pt x="17851" y="59504"/>
                      <a:pt x="113057" y="214215"/>
                      <a:pt x="273718" y="220165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9" name="图形 1">
              <a:extLst>
                <a:ext uri="{FF2B5EF4-FFF2-40B4-BE49-F238E27FC236}">
                  <a16:creationId xmlns:a16="http://schemas.microsoft.com/office/drawing/2014/main" id="{C5DDD16E-8C48-43B0-B538-0CD0DEDAE2BE}"/>
                </a:ext>
              </a:extLst>
            </p:cNvPr>
            <p:cNvGrpSpPr/>
            <p:nvPr/>
          </p:nvGrpSpPr>
          <p:grpSpPr>
            <a:xfrm>
              <a:off x="22141703" y="6427814"/>
              <a:ext cx="263400" cy="416528"/>
              <a:chOff x="22141703" y="6427814"/>
              <a:chExt cx="263400" cy="416528"/>
            </a:xfrm>
          </p:grpSpPr>
          <p:grpSp>
            <p:nvGrpSpPr>
              <p:cNvPr id="118" name="图形 1">
                <a:extLst>
                  <a:ext uri="{FF2B5EF4-FFF2-40B4-BE49-F238E27FC236}">
                    <a16:creationId xmlns:a16="http://schemas.microsoft.com/office/drawing/2014/main" id="{0C6DA0A0-532B-4FEA-907D-BADA03C2313B}"/>
                  </a:ext>
                </a:extLst>
              </p:cNvPr>
              <p:cNvGrpSpPr/>
              <p:nvPr/>
            </p:nvGrpSpPr>
            <p:grpSpPr>
              <a:xfrm>
                <a:off x="22145470" y="6427814"/>
                <a:ext cx="255867" cy="255867"/>
                <a:chOff x="22145470" y="6427814"/>
                <a:chExt cx="255867" cy="255867"/>
              </a:xfrm>
            </p:grpSpPr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83D94003-A0D4-4B23-BDB7-E4567A5465FC}"/>
                    </a:ext>
                  </a:extLst>
                </p:cNvPr>
                <p:cNvSpPr/>
                <p:nvPr/>
              </p:nvSpPr>
              <p:spPr>
                <a:xfrm>
                  <a:off x="22145470" y="6427814"/>
                  <a:ext cx="255867" cy="255867"/>
                </a:xfrm>
                <a:custGeom>
                  <a:avLst/>
                  <a:gdLst>
                    <a:gd name="connsiteX0" fmla="*/ 0 w 255867"/>
                    <a:gd name="connsiteY0" fmla="*/ 127934 h 255867"/>
                    <a:gd name="connsiteX1" fmla="*/ 127934 w 255867"/>
                    <a:gd name="connsiteY1" fmla="*/ 255868 h 255867"/>
                    <a:gd name="connsiteX2" fmla="*/ 255867 w 255867"/>
                    <a:gd name="connsiteY2" fmla="*/ 127934 h 255867"/>
                    <a:gd name="connsiteX3" fmla="*/ 127934 w 255867"/>
                    <a:gd name="connsiteY3" fmla="*/ 0 h 255867"/>
                    <a:gd name="connsiteX4" fmla="*/ 0 w 255867"/>
                    <a:gd name="connsiteY4" fmla="*/ 127934 h 2558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5867" h="255867">
                      <a:moveTo>
                        <a:pt x="0" y="127934"/>
                      </a:moveTo>
                      <a:cubicBezTo>
                        <a:pt x="0" y="199339"/>
                        <a:pt x="56528" y="255868"/>
                        <a:pt x="127934" y="255868"/>
                      </a:cubicBezTo>
                      <a:cubicBezTo>
                        <a:pt x="199337" y="255868"/>
                        <a:pt x="255867" y="199339"/>
                        <a:pt x="255867" y="127934"/>
                      </a:cubicBezTo>
                      <a:cubicBezTo>
                        <a:pt x="255867" y="56529"/>
                        <a:pt x="199337" y="0"/>
                        <a:pt x="127934" y="0"/>
                      </a:cubicBezTo>
                      <a:cubicBezTo>
                        <a:pt x="56528" y="0"/>
                        <a:pt x="0" y="56529"/>
                        <a:pt x="0" y="127934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21" name="图形 1">
                  <a:extLst>
                    <a:ext uri="{FF2B5EF4-FFF2-40B4-BE49-F238E27FC236}">
                      <a16:creationId xmlns:a16="http://schemas.microsoft.com/office/drawing/2014/main" id="{2C1DB287-3440-4DE9-8899-58279CC65DDD}"/>
                    </a:ext>
                  </a:extLst>
                </p:cNvPr>
                <p:cNvGrpSpPr/>
                <p:nvPr/>
              </p:nvGrpSpPr>
              <p:grpSpPr>
                <a:xfrm>
                  <a:off x="22158858" y="6445665"/>
                  <a:ext cx="217189" cy="220374"/>
                  <a:chOff x="22158858" y="6445665"/>
                  <a:chExt cx="217189" cy="220374"/>
                </a:xfrm>
                <a:solidFill>
                  <a:srgbClr val="E5D8D8"/>
                </a:solidFill>
              </p:grpSpPr>
              <p:sp>
                <p:nvSpPr>
                  <p:cNvPr id="122" name="任意多边形: 形状 121">
                    <a:extLst>
                      <a:ext uri="{FF2B5EF4-FFF2-40B4-BE49-F238E27FC236}">
                        <a16:creationId xmlns:a16="http://schemas.microsoft.com/office/drawing/2014/main" id="{D3BF1A51-8289-48D9-B923-092AC7277384}"/>
                      </a:ext>
                    </a:extLst>
                  </p:cNvPr>
                  <p:cNvSpPr/>
                  <p:nvPr/>
                </p:nvSpPr>
                <p:spPr>
                  <a:xfrm>
                    <a:off x="22260015" y="6445665"/>
                    <a:ext cx="26777" cy="26776"/>
                  </a:xfrm>
                  <a:custGeom>
                    <a:avLst/>
                    <a:gdLst>
                      <a:gd name="connsiteX0" fmla="*/ 13389 w 26777"/>
                      <a:gd name="connsiteY0" fmla="*/ 0 h 26776"/>
                      <a:gd name="connsiteX1" fmla="*/ 13389 w 26777"/>
                      <a:gd name="connsiteY1" fmla="*/ 26777 h 26776"/>
                      <a:gd name="connsiteX2" fmla="*/ 13389 w 26777"/>
                      <a:gd name="connsiteY2" fmla="*/ 0 h 26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776">
                        <a:moveTo>
                          <a:pt x="13389" y="0"/>
                        </a:moveTo>
                        <a:cubicBezTo>
                          <a:pt x="31240" y="0"/>
                          <a:pt x="31240" y="26777"/>
                          <a:pt x="13389" y="26777"/>
                        </a:cubicBezTo>
                        <a:cubicBezTo>
                          <a:pt x="-4463" y="26777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" name="任意多边形: 形状 122">
                    <a:extLst>
                      <a:ext uri="{FF2B5EF4-FFF2-40B4-BE49-F238E27FC236}">
                        <a16:creationId xmlns:a16="http://schemas.microsoft.com/office/drawing/2014/main" id="{596E678D-32BF-4219-BFE2-C71154A93BE3}"/>
                      </a:ext>
                    </a:extLst>
                  </p:cNvPr>
                  <p:cNvSpPr/>
                  <p:nvPr/>
                </p:nvSpPr>
                <p:spPr>
                  <a:xfrm>
                    <a:off x="22316544" y="6466491"/>
                    <a:ext cx="26777" cy="26777"/>
                  </a:xfrm>
                  <a:custGeom>
                    <a:avLst/>
                    <a:gdLst>
                      <a:gd name="connsiteX0" fmla="*/ 13388 w 26777"/>
                      <a:gd name="connsiteY0" fmla="*/ 0 h 26777"/>
                      <a:gd name="connsiteX1" fmla="*/ 13388 w 26777"/>
                      <a:gd name="connsiteY1" fmla="*/ 26777 h 26777"/>
                      <a:gd name="connsiteX2" fmla="*/ 13388 w 26777"/>
                      <a:gd name="connsiteY2" fmla="*/ 0 h 267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777">
                        <a:moveTo>
                          <a:pt x="13388" y="0"/>
                        </a:moveTo>
                        <a:cubicBezTo>
                          <a:pt x="31240" y="0"/>
                          <a:pt x="31240" y="26777"/>
                          <a:pt x="13388" y="26777"/>
                        </a:cubicBezTo>
                        <a:cubicBezTo>
                          <a:pt x="-4463" y="26777"/>
                          <a:pt x="-4463" y="0"/>
                          <a:pt x="13388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" name="任意多边形: 形状 123">
                    <a:extLst>
                      <a:ext uri="{FF2B5EF4-FFF2-40B4-BE49-F238E27FC236}">
                        <a16:creationId xmlns:a16="http://schemas.microsoft.com/office/drawing/2014/main" id="{C762377F-DC12-4966-9C58-35D6B2FFC336}"/>
                      </a:ext>
                    </a:extLst>
                  </p:cNvPr>
                  <p:cNvSpPr/>
                  <p:nvPr/>
                </p:nvSpPr>
                <p:spPr>
                  <a:xfrm>
                    <a:off x="22343321" y="6508145"/>
                    <a:ext cx="26775" cy="26985"/>
                  </a:xfrm>
                  <a:custGeom>
                    <a:avLst/>
                    <a:gdLst>
                      <a:gd name="connsiteX0" fmla="*/ 13388 w 26775"/>
                      <a:gd name="connsiteY0" fmla="*/ 0 h 26985"/>
                      <a:gd name="connsiteX1" fmla="*/ 13388 w 26775"/>
                      <a:gd name="connsiteY1" fmla="*/ 26777 h 26985"/>
                      <a:gd name="connsiteX2" fmla="*/ 13388 w 26775"/>
                      <a:gd name="connsiteY2" fmla="*/ 0 h 269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5" h="26985">
                        <a:moveTo>
                          <a:pt x="13388" y="0"/>
                        </a:moveTo>
                        <a:cubicBezTo>
                          <a:pt x="31238" y="0"/>
                          <a:pt x="31238" y="26777"/>
                          <a:pt x="13388" y="26777"/>
                        </a:cubicBezTo>
                        <a:cubicBezTo>
                          <a:pt x="-4463" y="29752"/>
                          <a:pt x="-4463" y="0"/>
                          <a:pt x="13388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" name="任意多边形: 形状 124">
                    <a:extLst>
                      <a:ext uri="{FF2B5EF4-FFF2-40B4-BE49-F238E27FC236}">
                        <a16:creationId xmlns:a16="http://schemas.microsoft.com/office/drawing/2014/main" id="{72B22A06-21DB-45D7-89F1-1B835A0A909E}"/>
                      </a:ext>
                    </a:extLst>
                  </p:cNvPr>
                  <p:cNvSpPr/>
                  <p:nvPr/>
                </p:nvSpPr>
                <p:spPr>
                  <a:xfrm>
                    <a:off x="22349271" y="6561698"/>
                    <a:ext cx="26777" cy="26986"/>
                  </a:xfrm>
                  <a:custGeom>
                    <a:avLst/>
                    <a:gdLst>
                      <a:gd name="connsiteX0" fmla="*/ 13389 w 26777"/>
                      <a:gd name="connsiteY0" fmla="*/ 0 h 26986"/>
                      <a:gd name="connsiteX1" fmla="*/ 13389 w 26777"/>
                      <a:gd name="connsiteY1" fmla="*/ 26777 h 26986"/>
                      <a:gd name="connsiteX2" fmla="*/ 13389 w 26777"/>
                      <a:gd name="connsiteY2" fmla="*/ 0 h 269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986">
                        <a:moveTo>
                          <a:pt x="13389" y="0"/>
                        </a:moveTo>
                        <a:cubicBezTo>
                          <a:pt x="31240" y="0"/>
                          <a:pt x="31240" y="26777"/>
                          <a:pt x="13389" y="26777"/>
                        </a:cubicBezTo>
                        <a:cubicBezTo>
                          <a:pt x="-4463" y="29752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" name="任意多边形: 形状 125">
                    <a:extLst>
                      <a:ext uri="{FF2B5EF4-FFF2-40B4-BE49-F238E27FC236}">
                        <a16:creationId xmlns:a16="http://schemas.microsoft.com/office/drawing/2014/main" id="{64E69DFB-D6B1-4045-BB11-A8DF7C9D22EB}"/>
                      </a:ext>
                    </a:extLst>
                  </p:cNvPr>
                  <p:cNvSpPr/>
                  <p:nvPr/>
                </p:nvSpPr>
                <p:spPr>
                  <a:xfrm>
                    <a:off x="22322495" y="6615252"/>
                    <a:ext cx="26777" cy="26777"/>
                  </a:xfrm>
                  <a:custGeom>
                    <a:avLst/>
                    <a:gdLst>
                      <a:gd name="connsiteX0" fmla="*/ 13388 w 26777"/>
                      <a:gd name="connsiteY0" fmla="*/ 0 h 26777"/>
                      <a:gd name="connsiteX1" fmla="*/ 13388 w 26777"/>
                      <a:gd name="connsiteY1" fmla="*/ 26777 h 26777"/>
                      <a:gd name="connsiteX2" fmla="*/ 13388 w 26777"/>
                      <a:gd name="connsiteY2" fmla="*/ 0 h 267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777">
                        <a:moveTo>
                          <a:pt x="13388" y="0"/>
                        </a:moveTo>
                        <a:cubicBezTo>
                          <a:pt x="31240" y="0"/>
                          <a:pt x="31240" y="26777"/>
                          <a:pt x="13388" y="26777"/>
                        </a:cubicBezTo>
                        <a:cubicBezTo>
                          <a:pt x="-4463" y="26777"/>
                          <a:pt x="-4463" y="0"/>
                          <a:pt x="13388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" name="任意多边形: 形状 126">
                    <a:extLst>
                      <a:ext uri="{FF2B5EF4-FFF2-40B4-BE49-F238E27FC236}">
                        <a16:creationId xmlns:a16="http://schemas.microsoft.com/office/drawing/2014/main" id="{AE51ED60-5F1A-4688-ACD7-BB1D5B75695F}"/>
                      </a:ext>
                    </a:extLst>
                  </p:cNvPr>
                  <p:cNvSpPr/>
                  <p:nvPr/>
                </p:nvSpPr>
                <p:spPr>
                  <a:xfrm>
                    <a:off x="22277867" y="6639053"/>
                    <a:ext cx="26777" cy="26985"/>
                  </a:xfrm>
                  <a:custGeom>
                    <a:avLst/>
                    <a:gdLst>
                      <a:gd name="connsiteX0" fmla="*/ 13388 w 26777"/>
                      <a:gd name="connsiteY0" fmla="*/ 0 h 26985"/>
                      <a:gd name="connsiteX1" fmla="*/ 13388 w 26777"/>
                      <a:gd name="connsiteY1" fmla="*/ 26777 h 26985"/>
                      <a:gd name="connsiteX2" fmla="*/ 13388 w 26777"/>
                      <a:gd name="connsiteY2" fmla="*/ 0 h 269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985">
                        <a:moveTo>
                          <a:pt x="13388" y="0"/>
                        </a:moveTo>
                        <a:cubicBezTo>
                          <a:pt x="31240" y="0"/>
                          <a:pt x="31240" y="26777"/>
                          <a:pt x="13388" y="26777"/>
                        </a:cubicBezTo>
                        <a:cubicBezTo>
                          <a:pt x="-4463" y="29752"/>
                          <a:pt x="-4463" y="0"/>
                          <a:pt x="13388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" name="任意多边形: 形状 127">
                    <a:extLst>
                      <a:ext uri="{FF2B5EF4-FFF2-40B4-BE49-F238E27FC236}">
                        <a16:creationId xmlns:a16="http://schemas.microsoft.com/office/drawing/2014/main" id="{10520159-093C-424A-AC69-3EFF21C1583F}"/>
                      </a:ext>
                    </a:extLst>
                  </p:cNvPr>
                  <p:cNvSpPr/>
                  <p:nvPr/>
                </p:nvSpPr>
                <p:spPr>
                  <a:xfrm>
                    <a:off x="22221337" y="6636078"/>
                    <a:ext cx="26777" cy="26777"/>
                  </a:xfrm>
                  <a:custGeom>
                    <a:avLst/>
                    <a:gdLst>
                      <a:gd name="connsiteX0" fmla="*/ 13389 w 26777"/>
                      <a:gd name="connsiteY0" fmla="*/ 0 h 26777"/>
                      <a:gd name="connsiteX1" fmla="*/ 13389 w 26777"/>
                      <a:gd name="connsiteY1" fmla="*/ 26777 h 26777"/>
                      <a:gd name="connsiteX2" fmla="*/ 13389 w 26777"/>
                      <a:gd name="connsiteY2" fmla="*/ 0 h 267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777">
                        <a:moveTo>
                          <a:pt x="13389" y="0"/>
                        </a:moveTo>
                        <a:cubicBezTo>
                          <a:pt x="31240" y="0"/>
                          <a:pt x="31240" y="26777"/>
                          <a:pt x="13389" y="26777"/>
                        </a:cubicBezTo>
                        <a:cubicBezTo>
                          <a:pt x="-4463" y="26777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" name="任意多边形: 形状 128">
                    <a:extLst>
                      <a:ext uri="{FF2B5EF4-FFF2-40B4-BE49-F238E27FC236}">
                        <a16:creationId xmlns:a16="http://schemas.microsoft.com/office/drawing/2014/main" id="{EE93D6F8-D521-4F0F-B9CC-B70FB297F29D}"/>
                      </a:ext>
                    </a:extLst>
                  </p:cNvPr>
                  <p:cNvSpPr/>
                  <p:nvPr/>
                </p:nvSpPr>
                <p:spPr>
                  <a:xfrm>
                    <a:off x="22179685" y="6603351"/>
                    <a:ext cx="26775" cy="26776"/>
                  </a:xfrm>
                  <a:custGeom>
                    <a:avLst/>
                    <a:gdLst>
                      <a:gd name="connsiteX0" fmla="*/ 13388 w 26775"/>
                      <a:gd name="connsiteY0" fmla="*/ 0 h 26776"/>
                      <a:gd name="connsiteX1" fmla="*/ 13388 w 26775"/>
                      <a:gd name="connsiteY1" fmla="*/ 26777 h 26776"/>
                      <a:gd name="connsiteX2" fmla="*/ 13388 w 26775"/>
                      <a:gd name="connsiteY2" fmla="*/ 0 h 26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5" h="26776">
                        <a:moveTo>
                          <a:pt x="13388" y="0"/>
                        </a:moveTo>
                        <a:cubicBezTo>
                          <a:pt x="31238" y="0"/>
                          <a:pt x="31238" y="26777"/>
                          <a:pt x="13388" y="26777"/>
                        </a:cubicBezTo>
                        <a:cubicBezTo>
                          <a:pt x="-4463" y="26777"/>
                          <a:pt x="-4463" y="0"/>
                          <a:pt x="13388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" name="任意多边形: 形状 129">
                    <a:extLst>
                      <a:ext uri="{FF2B5EF4-FFF2-40B4-BE49-F238E27FC236}">
                        <a16:creationId xmlns:a16="http://schemas.microsoft.com/office/drawing/2014/main" id="{FB890A4E-93B2-489C-A40A-35334E51D1CD}"/>
                      </a:ext>
                    </a:extLst>
                  </p:cNvPr>
                  <p:cNvSpPr/>
                  <p:nvPr/>
                </p:nvSpPr>
                <p:spPr>
                  <a:xfrm>
                    <a:off x="22158858" y="6552773"/>
                    <a:ext cx="26777" cy="26776"/>
                  </a:xfrm>
                  <a:custGeom>
                    <a:avLst/>
                    <a:gdLst>
                      <a:gd name="connsiteX0" fmla="*/ 13388 w 26777"/>
                      <a:gd name="connsiteY0" fmla="*/ 0 h 26776"/>
                      <a:gd name="connsiteX1" fmla="*/ 13388 w 26777"/>
                      <a:gd name="connsiteY1" fmla="*/ 26777 h 26776"/>
                      <a:gd name="connsiteX2" fmla="*/ 13388 w 26777"/>
                      <a:gd name="connsiteY2" fmla="*/ 0 h 26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776">
                        <a:moveTo>
                          <a:pt x="13388" y="0"/>
                        </a:moveTo>
                        <a:cubicBezTo>
                          <a:pt x="31240" y="0"/>
                          <a:pt x="31240" y="26777"/>
                          <a:pt x="13388" y="26777"/>
                        </a:cubicBezTo>
                        <a:cubicBezTo>
                          <a:pt x="-4463" y="26777"/>
                          <a:pt x="-4463" y="0"/>
                          <a:pt x="13388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" name="任意多边形: 形状 130">
                    <a:extLst>
                      <a:ext uri="{FF2B5EF4-FFF2-40B4-BE49-F238E27FC236}">
                        <a16:creationId xmlns:a16="http://schemas.microsoft.com/office/drawing/2014/main" id="{83A0759C-B8FC-49E3-92DA-28AAF43A50D6}"/>
                      </a:ext>
                    </a:extLst>
                  </p:cNvPr>
                  <p:cNvSpPr/>
                  <p:nvPr/>
                </p:nvSpPr>
                <p:spPr>
                  <a:xfrm>
                    <a:off x="22176709" y="6511120"/>
                    <a:ext cx="26777" cy="26777"/>
                  </a:xfrm>
                  <a:custGeom>
                    <a:avLst/>
                    <a:gdLst>
                      <a:gd name="connsiteX0" fmla="*/ 13389 w 26777"/>
                      <a:gd name="connsiteY0" fmla="*/ 0 h 26777"/>
                      <a:gd name="connsiteX1" fmla="*/ 13389 w 26777"/>
                      <a:gd name="connsiteY1" fmla="*/ 26777 h 26777"/>
                      <a:gd name="connsiteX2" fmla="*/ 13389 w 26777"/>
                      <a:gd name="connsiteY2" fmla="*/ 0 h 267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777">
                        <a:moveTo>
                          <a:pt x="13389" y="0"/>
                        </a:moveTo>
                        <a:cubicBezTo>
                          <a:pt x="31240" y="0"/>
                          <a:pt x="31240" y="26777"/>
                          <a:pt x="13389" y="26777"/>
                        </a:cubicBezTo>
                        <a:cubicBezTo>
                          <a:pt x="-4463" y="26777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" name="任意多边形: 形状 131">
                    <a:extLst>
                      <a:ext uri="{FF2B5EF4-FFF2-40B4-BE49-F238E27FC236}">
                        <a16:creationId xmlns:a16="http://schemas.microsoft.com/office/drawing/2014/main" id="{B95E147E-8C72-400B-AA4E-98AF3F36C5FD}"/>
                      </a:ext>
                    </a:extLst>
                  </p:cNvPr>
                  <p:cNvSpPr/>
                  <p:nvPr/>
                </p:nvSpPr>
                <p:spPr>
                  <a:xfrm>
                    <a:off x="22209437" y="6466491"/>
                    <a:ext cx="26775" cy="26777"/>
                  </a:xfrm>
                  <a:custGeom>
                    <a:avLst/>
                    <a:gdLst>
                      <a:gd name="connsiteX0" fmla="*/ 13388 w 26775"/>
                      <a:gd name="connsiteY0" fmla="*/ 0 h 26777"/>
                      <a:gd name="connsiteX1" fmla="*/ 13388 w 26775"/>
                      <a:gd name="connsiteY1" fmla="*/ 26777 h 26777"/>
                      <a:gd name="connsiteX2" fmla="*/ 13388 w 26775"/>
                      <a:gd name="connsiteY2" fmla="*/ 0 h 267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5" h="26777">
                        <a:moveTo>
                          <a:pt x="13388" y="0"/>
                        </a:moveTo>
                        <a:cubicBezTo>
                          <a:pt x="31238" y="0"/>
                          <a:pt x="31238" y="26777"/>
                          <a:pt x="13388" y="26777"/>
                        </a:cubicBezTo>
                        <a:cubicBezTo>
                          <a:pt x="-4463" y="26777"/>
                          <a:pt x="-4463" y="0"/>
                          <a:pt x="13388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" name="任意多边形: 形状 132">
                    <a:extLst>
                      <a:ext uri="{FF2B5EF4-FFF2-40B4-BE49-F238E27FC236}">
                        <a16:creationId xmlns:a16="http://schemas.microsoft.com/office/drawing/2014/main" id="{3F673990-317B-44DF-8CA0-BD6F63C459B7}"/>
                      </a:ext>
                    </a:extLst>
                  </p:cNvPr>
                  <p:cNvSpPr/>
                  <p:nvPr/>
                </p:nvSpPr>
                <p:spPr>
                  <a:xfrm>
                    <a:off x="22277867" y="6493269"/>
                    <a:ext cx="26777" cy="26776"/>
                  </a:xfrm>
                  <a:custGeom>
                    <a:avLst/>
                    <a:gdLst>
                      <a:gd name="connsiteX0" fmla="*/ 13388 w 26777"/>
                      <a:gd name="connsiteY0" fmla="*/ 0 h 26776"/>
                      <a:gd name="connsiteX1" fmla="*/ 13388 w 26777"/>
                      <a:gd name="connsiteY1" fmla="*/ 26777 h 26776"/>
                      <a:gd name="connsiteX2" fmla="*/ 13388 w 26777"/>
                      <a:gd name="connsiteY2" fmla="*/ 0 h 26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776">
                        <a:moveTo>
                          <a:pt x="13388" y="0"/>
                        </a:moveTo>
                        <a:cubicBezTo>
                          <a:pt x="31240" y="0"/>
                          <a:pt x="31240" y="26777"/>
                          <a:pt x="13388" y="26777"/>
                        </a:cubicBezTo>
                        <a:cubicBezTo>
                          <a:pt x="-4463" y="26777"/>
                          <a:pt x="-4463" y="0"/>
                          <a:pt x="13388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" name="任意多边形: 形状 133">
                    <a:extLst>
                      <a:ext uri="{FF2B5EF4-FFF2-40B4-BE49-F238E27FC236}">
                        <a16:creationId xmlns:a16="http://schemas.microsoft.com/office/drawing/2014/main" id="{5AD6B008-B596-48AD-9CB3-75843A8BA509}"/>
                      </a:ext>
                    </a:extLst>
                  </p:cNvPr>
                  <p:cNvSpPr/>
                  <p:nvPr/>
                </p:nvSpPr>
                <p:spPr>
                  <a:xfrm>
                    <a:off x="22307619" y="6543847"/>
                    <a:ext cx="26777" cy="26776"/>
                  </a:xfrm>
                  <a:custGeom>
                    <a:avLst/>
                    <a:gdLst>
                      <a:gd name="connsiteX0" fmla="*/ 13388 w 26777"/>
                      <a:gd name="connsiteY0" fmla="*/ 0 h 26776"/>
                      <a:gd name="connsiteX1" fmla="*/ 13388 w 26777"/>
                      <a:gd name="connsiteY1" fmla="*/ 26777 h 26776"/>
                      <a:gd name="connsiteX2" fmla="*/ 13388 w 26777"/>
                      <a:gd name="connsiteY2" fmla="*/ 0 h 26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776">
                        <a:moveTo>
                          <a:pt x="13388" y="0"/>
                        </a:moveTo>
                        <a:cubicBezTo>
                          <a:pt x="31240" y="0"/>
                          <a:pt x="31240" y="26777"/>
                          <a:pt x="13388" y="26777"/>
                        </a:cubicBezTo>
                        <a:cubicBezTo>
                          <a:pt x="-4463" y="26777"/>
                          <a:pt x="-4463" y="0"/>
                          <a:pt x="13388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" name="任意多边形: 形状 134">
                    <a:extLst>
                      <a:ext uri="{FF2B5EF4-FFF2-40B4-BE49-F238E27FC236}">
                        <a16:creationId xmlns:a16="http://schemas.microsoft.com/office/drawing/2014/main" id="{9BE443D9-2786-440F-8CC8-73A83A154A2A}"/>
                      </a:ext>
                    </a:extLst>
                  </p:cNvPr>
                  <p:cNvSpPr/>
                  <p:nvPr/>
                </p:nvSpPr>
                <p:spPr>
                  <a:xfrm>
                    <a:off x="22283817" y="6594425"/>
                    <a:ext cx="26775" cy="26776"/>
                  </a:xfrm>
                  <a:custGeom>
                    <a:avLst/>
                    <a:gdLst>
                      <a:gd name="connsiteX0" fmla="*/ 13388 w 26775"/>
                      <a:gd name="connsiteY0" fmla="*/ 0 h 26776"/>
                      <a:gd name="connsiteX1" fmla="*/ 13388 w 26775"/>
                      <a:gd name="connsiteY1" fmla="*/ 26777 h 26776"/>
                      <a:gd name="connsiteX2" fmla="*/ 13388 w 26775"/>
                      <a:gd name="connsiteY2" fmla="*/ 0 h 26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5" h="26776">
                        <a:moveTo>
                          <a:pt x="13388" y="0"/>
                        </a:moveTo>
                        <a:cubicBezTo>
                          <a:pt x="31238" y="0"/>
                          <a:pt x="31238" y="26777"/>
                          <a:pt x="13388" y="26777"/>
                        </a:cubicBezTo>
                        <a:cubicBezTo>
                          <a:pt x="-4463" y="26777"/>
                          <a:pt x="-4463" y="0"/>
                          <a:pt x="13388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" name="任意多边形: 形状 135">
                    <a:extLst>
                      <a:ext uri="{FF2B5EF4-FFF2-40B4-BE49-F238E27FC236}">
                        <a16:creationId xmlns:a16="http://schemas.microsoft.com/office/drawing/2014/main" id="{20936E95-1581-4806-896A-DEB8CA4C53F7}"/>
                      </a:ext>
                    </a:extLst>
                  </p:cNvPr>
                  <p:cNvSpPr/>
                  <p:nvPr/>
                </p:nvSpPr>
                <p:spPr>
                  <a:xfrm>
                    <a:off x="22230263" y="6582525"/>
                    <a:ext cx="26777" cy="26985"/>
                  </a:xfrm>
                  <a:custGeom>
                    <a:avLst/>
                    <a:gdLst>
                      <a:gd name="connsiteX0" fmla="*/ 13389 w 26777"/>
                      <a:gd name="connsiteY0" fmla="*/ 0 h 26985"/>
                      <a:gd name="connsiteX1" fmla="*/ 13389 w 26777"/>
                      <a:gd name="connsiteY1" fmla="*/ 26777 h 26985"/>
                      <a:gd name="connsiteX2" fmla="*/ 13389 w 26777"/>
                      <a:gd name="connsiteY2" fmla="*/ 0 h 269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985">
                        <a:moveTo>
                          <a:pt x="13389" y="0"/>
                        </a:moveTo>
                        <a:cubicBezTo>
                          <a:pt x="31240" y="0"/>
                          <a:pt x="31240" y="26777"/>
                          <a:pt x="13389" y="26777"/>
                        </a:cubicBezTo>
                        <a:cubicBezTo>
                          <a:pt x="-4463" y="29752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" name="任意多边形: 形状 136">
                    <a:extLst>
                      <a:ext uri="{FF2B5EF4-FFF2-40B4-BE49-F238E27FC236}">
                        <a16:creationId xmlns:a16="http://schemas.microsoft.com/office/drawing/2014/main" id="{26953192-F64A-4257-ABBF-174F1F4ABF19}"/>
                      </a:ext>
                    </a:extLst>
                  </p:cNvPr>
                  <p:cNvSpPr/>
                  <p:nvPr/>
                </p:nvSpPr>
                <p:spPr>
                  <a:xfrm>
                    <a:off x="22224313" y="6534921"/>
                    <a:ext cx="26775" cy="26776"/>
                  </a:xfrm>
                  <a:custGeom>
                    <a:avLst/>
                    <a:gdLst>
                      <a:gd name="connsiteX0" fmla="*/ 13388 w 26775"/>
                      <a:gd name="connsiteY0" fmla="*/ 0 h 26776"/>
                      <a:gd name="connsiteX1" fmla="*/ 13388 w 26775"/>
                      <a:gd name="connsiteY1" fmla="*/ 26777 h 26776"/>
                      <a:gd name="connsiteX2" fmla="*/ 13388 w 26775"/>
                      <a:gd name="connsiteY2" fmla="*/ 0 h 26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5" h="26776">
                        <a:moveTo>
                          <a:pt x="13388" y="0"/>
                        </a:moveTo>
                        <a:cubicBezTo>
                          <a:pt x="31238" y="0"/>
                          <a:pt x="31238" y="26777"/>
                          <a:pt x="13388" y="26777"/>
                        </a:cubicBezTo>
                        <a:cubicBezTo>
                          <a:pt x="-4463" y="26777"/>
                          <a:pt x="-4463" y="0"/>
                          <a:pt x="13388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" name="任意多边形: 形状 137">
                    <a:extLst>
                      <a:ext uri="{FF2B5EF4-FFF2-40B4-BE49-F238E27FC236}">
                        <a16:creationId xmlns:a16="http://schemas.microsoft.com/office/drawing/2014/main" id="{117D3EF5-4160-45B7-8300-6F5A04D73097}"/>
                      </a:ext>
                    </a:extLst>
                  </p:cNvPr>
                  <p:cNvSpPr/>
                  <p:nvPr/>
                </p:nvSpPr>
                <p:spPr>
                  <a:xfrm>
                    <a:off x="22265965" y="6546822"/>
                    <a:ext cx="26777" cy="26777"/>
                  </a:xfrm>
                  <a:custGeom>
                    <a:avLst/>
                    <a:gdLst>
                      <a:gd name="connsiteX0" fmla="*/ 13389 w 26777"/>
                      <a:gd name="connsiteY0" fmla="*/ 0 h 26777"/>
                      <a:gd name="connsiteX1" fmla="*/ 13389 w 26777"/>
                      <a:gd name="connsiteY1" fmla="*/ 26777 h 26777"/>
                      <a:gd name="connsiteX2" fmla="*/ 13389 w 26777"/>
                      <a:gd name="connsiteY2" fmla="*/ 0 h 267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777">
                        <a:moveTo>
                          <a:pt x="13389" y="0"/>
                        </a:moveTo>
                        <a:cubicBezTo>
                          <a:pt x="31240" y="0"/>
                          <a:pt x="31240" y="26777"/>
                          <a:pt x="13389" y="26777"/>
                        </a:cubicBezTo>
                        <a:cubicBezTo>
                          <a:pt x="-4463" y="26777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7FEF025C-DF9A-4FF6-9FA5-CEE634AA6D67}"/>
                  </a:ext>
                </a:extLst>
              </p:cNvPr>
              <p:cNvSpPr/>
              <p:nvPr/>
            </p:nvSpPr>
            <p:spPr>
              <a:xfrm>
                <a:off x="22141703" y="6587359"/>
                <a:ext cx="263400" cy="256983"/>
              </a:xfrm>
              <a:custGeom>
                <a:avLst/>
                <a:gdLst>
                  <a:gd name="connsiteX0" fmla="*/ 253684 w 263400"/>
                  <a:gd name="connsiteY0" fmla="*/ 1116 h 256983"/>
                  <a:gd name="connsiteX1" fmla="*/ 235833 w 263400"/>
                  <a:gd name="connsiteY1" fmla="*/ 10041 h 256983"/>
                  <a:gd name="connsiteX2" fmla="*/ 131701 w 263400"/>
                  <a:gd name="connsiteY2" fmla="*/ 81446 h 256983"/>
                  <a:gd name="connsiteX3" fmla="*/ 27569 w 263400"/>
                  <a:gd name="connsiteY3" fmla="*/ 10041 h 256983"/>
                  <a:gd name="connsiteX4" fmla="*/ 9716 w 263400"/>
                  <a:gd name="connsiteY4" fmla="*/ 1116 h 256983"/>
                  <a:gd name="connsiteX5" fmla="*/ 791 w 263400"/>
                  <a:gd name="connsiteY5" fmla="*/ 18967 h 256983"/>
                  <a:gd name="connsiteX6" fmla="*/ 116825 w 263400"/>
                  <a:gd name="connsiteY6" fmla="*/ 108223 h 256983"/>
                  <a:gd name="connsiteX7" fmla="*/ 116825 w 263400"/>
                  <a:gd name="connsiteY7" fmla="*/ 242107 h 256983"/>
                  <a:gd name="connsiteX8" fmla="*/ 131701 w 263400"/>
                  <a:gd name="connsiteY8" fmla="*/ 256983 h 256983"/>
                  <a:gd name="connsiteX9" fmla="*/ 146577 w 263400"/>
                  <a:gd name="connsiteY9" fmla="*/ 242107 h 256983"/>
                  <a:gd name="connsiteX10" fmla="*/ 146577 w 263400"/>
                  <a:gd name="connsiteY10" fmla="*/ 108223 h 256983"/>
                  <a:gd name="connsiteX11" fmla="*/ 262609 w 263400"/>
                  <a:gd name="connsiteY11" fmla="*/ 18967 h 256983"/>
                  <a:gd name="connsiteX12" fmla="*/ 253684 w 263400"/>
                  <a:gd name="connsiteY12" fmla="*/ 1116 h 256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3400" h="256983">
                    <a:moveTo>
                      <a:pt x="253684" y="1116"/>
                    </a:moveTo>
                    <a:cubicBezTo>
                      <a:pt x="247733" y="-1860"/>
                      <a:pt x="238808" y="1116"/>
                      <a:pt x="235833" y="10041"/>
                    </a:cubicBezTo>
                    <a:cubicBezTo>
                      <a:pt x="217981" y="54670"/>
                      <a:pt x="176329" y="81446"/>
                      <a:pt x="131701" y="81446"/>
                    </a:cubicBezTo>
                    <a:cubicBezTo>
                      <a:pt x="84096" y="81446"/>
                      <a:pt x="42445" y="54670"/>
                      <a:pt x="27569" y="10041"/>
                    </a:cubicBezTo>
                    <a:cubicBezTo>
                      <a:pt x="24592" y="4091"/>
                      <a:pt x="15667" y="-1860"/>
                      <a:pt x="9716" y="1116"/>
                    </a:cubicBezTo>
                    <a:cubicBezTo>
                      <a:pt x="3767" y="4091"/>
                      <a:pt x="-2183" y="13016"/>
                      <a:pt x="791" y="18967"/>
                    </a:cubicBezTo>
                    <a:cubicBezTo>
                      <a:pt x="21618" y="69546"/>
                      <a:pt x="66246" y="102273"/>
                      <a:pt x="116825" y="108223"/>
                    </a:cubicBezTo>
                    <a:lnTo>
                      <a:pt x="116825" y="242107"/>
                    </a:lnTo>
                    <a:cubicBezTo>
                      <a:pt x="116825" y="251033"/>
                      <a:pt x="122776" y="256983"/>
                      <a:pt x="131701" y="256983"/>
                    </a:cubicBezTo>
                    <a:cubicBezTo>
                      <a:pt x="140626" y="256983"/>
                      <a:pt x="146577" y="251033"/>
                      <a:pt x="146577" y="242107"/>
                    </a:cubicBezTo>
                    <a:lnTo>
                      <a:pt x="146577" y="108223"/>
                    </a:lnTo>
                    <a:cubicBezTo>
                      <a:pt x="200130" y="102273"/>
                      <a:pt x="244758" y="69546"/>
                      <a:pt x="262609" y="18967"/>
                    </a:cubicBezTo>
                    <a:cubicBezTo>
                      <a:pt x="265585" y="13016"/>
                      <a:pt x="259634" y="4091"/>
                      <a:pt x="253684" y="1116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0" name="图形 1">
              <a:extLst>
                <a:ext uri="{FF2B5EF4-FFF2-40B4-BE49-F238E27FC236}">
                  <a16:creationId xmlns:a16="http://schemas.microsoft.com/office/drawing/2014/main" id="{BD6BDC5D-C4B4-4EB1-82D3-A8D516BF1394}"/>
                </a:ext>
              </a:extLst>
            </p:cNvPr>
            <p:cNvGrpSpPr/>
            <p:nvPr/>
          </p:nvGrpSpPr>
          <p:grpSpPr>
            <a:xfrm>
              <a:off x="20759276" y="4539301"/>
              <a:ext cx="123510" cy="153966"/>
              <a:chOff x="20759276" y="4539301"/>
              <a:chExt cx="123510" cy="153966"/>
            </a:xfrm>
          </p:grpSpPr>
          <p:grpSp>
            <p:nvGrpSpPr>
              <p:cNvPr id="113" name="图形 1">
                <a:extLst>
                  <a:ext uri="{FF2B5EF4-FFF2-40B4-BE49-F238E27FC236}">
                    <a16:creationId xmlns:a16="http://schemas.microsoft.com/office/drawing/2014/main" id="{330128D4-4002-4301-B547-03E3A594A5B4}"/>
                  </a:ext>
                </a:extLst>
              </p:cNvPr>
              <p:cNvGrpSpPr/>
              <p:nvPr/>
            </p:nvGrpSpPr>
            <p:grpSpPr>
              <a:xfrm>
                <a:off x="20764974" y="4545529"/>
                <a:ext cx="117812" cy="147739"/>
                <a:chOff x="20764974" y="4545529"/>
                <a:chExt cx="117812" cy="147739"/>
              </a:xfrm>
            </p:grpSpPr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D654DE49-0D2C-4133-8CB6-ABBA67537D55}"/>
                    </a:ext>
                  </a:extLst>
                </p:cNvPr>
                <p:cNvSpPr/>
                <p:nvPr/>
              </p:nvSpPr>
              <p:spPr>
                <a:xfrm>
                  <a:off x="20764974" y="4545529"/>
                  <a:ext cx="117812" cy="141789"/>
                </a:xfrm>
                <a:custGeom>
                  <a:avLst/>
                  <a:gdLst>
                    <a:gd name="connsiteX0" fmla="*/ 20827 w 117812"/>
                    <a:gd name="connsiteY0" fmla="*/ 10880 h 141789"/>
                    <a:gd name="connsiteX1" fmla="*/ 44628 w 117812"/>
                    <a:gd name="connsiteY1" fmla="*/ 1954 h 141789"/>
                    <a:gd name="connsiteX2" fmla="*/ 62479 w 117812"/>
                    <a:gd name="connsiteY2" fmla="*/ 4930 h 141789"/>
                    <a:gd name="connsiteX3" fmla="*/ 71406 w 117812"/>
                    <a:gd name="connsiteY3" fmla="*/ 22781 h 141789"/>
                    <a:gd name="connsiteX4" fmla="*/ 74380 w 117812"/>
                    <a:gd name="connsiteY4" fmla="*/ 25756 h 141789"/>
                    <a:gd name="connsiteX5" fmla="*/ 80331 w 117812"/>
                    <a:gd name="connsiteY5" fmla="*/ 49558 h 141789"/>
                    <a:gd name="connsiteX6" fmla="*/ 89256 w 117812"/>
                    <a:gd name="connsiteY6" fmla="*/ 52533 h 141789"/>
                    <a:gd name="connsiteX7" fmla="*/ 95207 w 117812"/>
                    <a:gd name="connsiteY7" fmla="*/ 76334 h 141789"/>
                    <a:gd name="connsiteX8" fmla="*/ 110083 w 117812"/>
                    <a:gd name="connsiteY8" fmla="*/ 79310 h 141789"/>
                    <a:gd name="connsiteX9" fmla="*/ 116034 w 117812"/>
                    <a:gd name="connsiteY9" fmla="*/ 106086 h 141789"/>
                    <a:gd name="connsiteX10" fmla="*/ 68429 w 117812"/>
                    <a:gd name="connsiteY10" fmla="*/ 135839 h 141789"/>
                    <a:gd name="connsiteX11" fmla="*/ 59504 w 117812"/>
                    <a:gd name="connsiteY11" fmla="*/ 141789 h 141789"/>
                    <a:gd name="connsiteX12" fmla="*/ 50579 w 117812"/>
                    <a:gd name="connsiteY12" fmla="*/ 141789 h 141789"/>
                    <a:gd name="connsiteX13" fmla="*/ 32727 w 117812"/>
                    <a:gd name="connsiteY13" fmla="*/ 115012 h 141789"/>
                    <a:gd name="connsiteX14" fmla="*/ 32727 w 117812"/>
                    <a:gd name="connsiteY14" fmla="*/ 112037 h 141789"/>
                    <a:gd name="connsiteX15" fmla="*/ 29752 w 117812"/>
                    <a:gd name="connsiteY15" fmla="*/ 112037 h 141789"/>
                    <a:gd name="connsiteX16" fmla="*/ 11902 w 117812"/>
                    <a:gd name="connsiteY16" fmla="*/ 85260 h 141789"/>
                    <a:gd name="connsiteX17" fmla="*/ 14876 w 117812"/>
                    <a:gd name="connsiteY17" fmla="*/ 73359 h 141789"/>
                    <a:gd name="connsiteX18" fmla="*/ 5951 w 117812"/>
                    <a:gd name="connsiteY18" fmla="*/ 55508 h 141789"/>
                    <a:gd name="connsiteX19" fmla="*/ 14876 w 117812"/>
                    <a:gd name="connsiteY19" fmla="*/ 40632 h 141789"/>
                    <a:gd name="connsiteX20" fmla="*/ 0 w 117812"/>
                    <a:gd name="connsiteY20" fmla="*/ 22781 h 141789"/>
                    <a:gd name="connsiteX21" fmla="*/ 20827 w 117812"/>
                    <a:gd name="connsiteY21" fmla="*/ 10880 h 141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17812" h="141789">
                      <a:moveTo>
                        <a:pt x="20827" y="10880"/>
                      </a:moveTo>
                      <a:cubicBezTo>
                        <a:pt x="26778" y="7905"/>
                        <a:pt x="38677" y="4930"/>
                        <a:pt x="44628" y="1954"/>
                      </a:cubicBezTo>
                      <a:cubicBezTo>
                        <a:pt x="50579" y="-1021"/>
                        <a:pt x="56530" y="-1021"/>
                        <a:pt x="62479" y="4930"/>
                      </a:cubicBezTo>
                      <a:cubicBezTo>
                        <a:pt x="68429" y="7905"/>
                        <a:pt x="71406" y="16830"/>
                        <a:pt x="71406" y="22781"/>
                      </a:cubicBezTo>
                      <a:cubicBezTo>
                        <a:pt x="71406" y="22781"/>
                        <a:pt x="74380" y="22781"/>
                        <a:pt x="74380" y="25756"/>
                      </a:cubicBezTo>
                      <a:cubicBezTo>
                        <a:pt x="80331" y="31706"/>
                        <a:pt x="80331" y="40632"/>
                        <a:pt x="80331" y="49558"/>
                      </a:cubicBezTo>
                      <a:cubicBezTo>
                        <a:pt x="83305" y="49558"/>
                        <a:pt x="86282" y="49558"/>
                        <a:pt x="89256" y="52533"/>
                      </a:cubicBezTo>
                      <a:cubicBezTo>
                        <a:pt x="95207" y="58483"/>
                        <a:pt x="98181" y="70384"/>
                        <a:pt x="95207" y="76334"/>
                      </a:cubicBezTo>
                      <a:cubicBezTo>
                        <a:pt x="101158" y="76334"/>
                        <a:pt x="104132" y="76334"/>
                        <a:pt x="110083" y="79310"/>
                      </a:cubicBezTo>
                      <a:cubicBezTo>
                        <a:pt x="119008" y="85260"/>
                        <a:pt x="119008" y="100136"/>
                        <a:pt x="116034" y="106086"/>
                      </a:cubicBezTo>
                      <a:cubicBezTo>
                        <a:pt x="107107" y="123938"/>
                        <a:pt x="86282" y="126913"/>
                        <a:pt x="68429" y="135839"/>
                      </a:cubicBezTo>
                      <a:cubicBezTo>
                        <a:pt x="65455" y="135839"/>
                        <a:pt x="62479" y="141789"/>
                        <a:pt x="59504" y="141789"/>
                      </a:cubicBezTo>
                      <a:cubicBezTo>
                        <a:pt x="56530" y="141789"/>
                        <a:pt x="53553" y="141789"/>
                        <a:pt x="50579" y="141789"/>
                      </a:cubicBezTo>
                      <a:cubicBezTo>
                        <a:pt x="41654" y="138814"/>
                        <a:pt x="32727" y="129888"/>
                        <a:pt x="32727" y="115012"/>
                      </a:cubicBezTo>
                      <a:cubicBezTo>
                        <a:pt x="32727" y="115012"/>
                        <a:pt x="32727" y="112037"/>
                        <a:pt x="32727" y="112037"/>
                      </a:cubicBezTo>
                      <a:cubicBezTo>
                        <a:pt x="32727" y="112037"/>
                        <a:pt x="29752" y="112037"/>
                        <a:pt x="29752" y="112037"/>
                      </a:cubicBezTo>
                      <a:cubicBezTo>
                        <a:pt x="20827" y="109062"/>
                        <a:pt x="11902" y="100136"/>
                        <a:pt x="11902" y="85260"/>
                      </a:cubicBezTo>
                      <a:cubicBezTo>
                        <a:pt x="11902" y="79310"/>
                        <a:pt x="11902" y="76334"/>
                        <a:pt x="14876" y="73359"/>
                      </a:cubicBezTo>
                      <a:cubicBezTo>
                        <a:pt x="11902" y="70384"/>
                        <a:pt x="5951" y="64434"/>
                        <a:pt x="5951" y="55508"/>
                      </a:cubicBezTo>
                      <a:cubicBezTo>
                        <a:pt x="5951" y="46582"/>
                        <a:pt x="8925" y="43607"/>
                        <a:pt x="14876" y="40632"/>
                      </a:cubicBezTo>
                      <a:cubicBezTo>
                        <a:pt x="8925" y="37657"/>
                        <a:pt x="0" y="31706"/>
                        <a:pt x="0" y="22781"/>
                      </a:cubicBezTo>
                      <a:cubicBezTo>
                        <a:pt x="0" y="19806"/>
                        <a:pt x="14876" y="13855"/>
                        <a:pt x="20827" y="10880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8565D1F2-33E5-45D9-B12F-663685104526}"/>
                    </a:ext>
                  </a:extLst>
                </p:cNvPr>
                <p:cNvSpPr/>
                <p:nvPr/>
              </p:nvSpPr>
              <p:spPr>
                <a:xfrm>
                  <a:off x="20772577" y="4592752"/>
                  <a:ext cx="103712" cy="100516"/>
                </a:xfrm>
                <a:custGeom>
                  <a:avLst/>
                  <a:gdLst>
                    <a:gd name="connsiteX0" fmla="*/ 42976 w 103712"/>
                    <a:gd name="connsiteY0" fmla="*/ 100516 h 100516"/>
                    <a:gd name="connsiteX1" fmla="*/ 34051 w 103712"/>
                    <a:gd name="connsiteY1" fmla="*/ 100516 h 100516"/>
                    <a:gd name="connsiteX2" fmla="*/ 22149 w 103712"/>
                    <a:gd name="connsiteY2" fmla="*/ 85640 h 100516"/>
                    <a:gd name="connsiteX3" fmla="*/ 22149 w 103712"/>
                    <a:gd name="connsiteY3" fmla="*/ 76715 h 100516"/>
                    <a:gd name="connsiteX4" fmla="*/ 1322 w 103712"/>
                    <a:gd name="connsiteY4" fmla="*/ 52913 h 100516"/>
                    <a:gd name="connsiteX5" fmla="*/ 31074 w 103712"/>
                    <a:gd name="connsiteY5" fmla="*/ 14235 h 100516"/>
                    <a:gd name="connsiteX6" fmla="*/ 81653 w 103712"/>
                    <a:gd name="connsiteY6" fmla="*/ 2334 h 100516"/>
                    <a:gd name="connsiteX7" fmla="*/ 96529 w 103712"/>
                    <a:gd name="connsiteY7" fmla="*/ 14235 h 100516"/>
                    <a:gd name="connsiteX8" fmla="*/ 99504 w 103712"/>
                    <a:gd name="connsiteY8" fmla="*/ 32087 h 100516"/>
                    <a:gd name="connsiteX9" fmla="*/ 93555 w 103712"/>
                    <a:gd name="connsiteY9" fmla="*/ 38037 h 100516"/>
                    <a:gd name="connsiteX10" fmla="*/ 37025 w 103712"/>
                    <a:gd name="connsiteY10" fmla="*/ 82665 h 100516"/>
                    <a:gd name="connsiteX11" fmla="*/ 42976 w 103712"/>
                    <a:gd name="connsiteY11" fmla="*/ 88615 h 100516"/>
                    <a:gd name="connsiteX12" fmla="*/ 93555 w 103712"/>
                    <a:gd name="connsiteY12" fmla="*/ 70764 h 100516"/>
                    <a:gd name="connsiteX13" fmla="*/ 102480 w 103712"/>
                    <a:gd name="connsiteY13" fmla="*/ 73739 h 100516"/>
                    <a:gd name="connsiteX14" fmla="*/ 99504 w 103712"/>
                    <a:gd name="connsiteY14" fmla="*/ 82665 h 100516"/>
                    <a:gd name="connsiteX15" fmla="*/ 42976 w 103712"/>
                    <a:gd name="connsiteY15" fmla="*/ 100516 h 100516"/>
                    <a:gd name="connsiteX16" fmla="*/ 72728 w 103712"/>
                    <a:gd name="connsiteY16" fmla="*/ 11260 h 100516"/>
                    <a:gd name="connsiteX17" fmla="*/ 37025 w 103712"/>
                    <a:gd name="connsiteY17" fmla="*/ 23161 h 100516"/>
                    <a:gd name="connsiteX18" fmla="*/ 13224 w 103712"/>
                    <a:gd name="connsiteY18" fmla="*/ 46963 h 100516"/>
                    <a:gd name="connsiteX19" fmla="*/ 25124 w 103712"/>
                    <a:gd name="connsiteY19" fmla="*/ 61839 h 100516"/>
                    <a:gd name="connsiteX20" fmla="*/ 87604 w 103712"/>
                    <a:gd name="connsiteY20" fmla="*/ 26136 h 100516"/>
                    <a:gd name="connsiteX21" fmla="*/ 87604 w 103712"/>
                    <a:gd name="connsiteY21" fmla="*/ 26136 h 100516"/>
                    <a:gd name="connsiteX22" fmla="*/ 84628 w 103712"/>
                    <a:gd name="connsiteY22" fmla="*/ 17210 h 100516"/>
                    <a:gd name="connsiteX23" fmla="*/ 78679 w 103712"/>
                    <a:gd name="connsiteY23" fmla="*/ 11260 h 100516"/>
                    <a:gd name="connsiteX24" fmla="*/ 72728 w 103712"/>
                    <a:gd name="connsiteY24" fmla="*/ 11260 h 1005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03712" h="100516">
                      <a:moveTo>
                        <a:pt x="42976" y="100516"/>
                      </a:moveTo>
                      <a:cubicBezTo>
                        <a:pt x="40000" y="100516"/>
                        <a:pt x="37025" y="100516"/>
                        <a:pt x="34051" y="100516"/>
                      </a:cubicBezTo>
                      <a:cubicBezTo>
                        <a:pt x="28100" y="97541"/>
                        <a:pt x="25124" y="94566"/>
                        <a:pt x="22149" y="85640"/>
                      </a:cubicBezTo>
                      <a:cubicBezTo>
                        <a:pt x="22149" y="82665"/>
                        <a:pt x="22149" y="79690"/>
                        <a:pt x="22149" y="76715"/>
                      </a:cubicBezTo>
                      <a:cubicBezTo>
                        <a:pt x="19175" y="73739"/>
                        <a:pt x="4299" y="67789"/>
                        <a:pt x="1322" y="52913"/>
                      </a:cubicBezTo>
                      <a:cubicBezTo>
                        <a:pt x="-4628" y="35062"/>
                        <a:pt x="10248" y="26136"/>
                        <a:pt x="31074" y="14235"/>
                      </a:cubicBezTo>
                      <a:cubicBezTo>
                        <a:pt x="51901" y="2334"/>
                        <a:pt x="69752" y="-3616"/>
                        <a:pt x="81653" y="2334"/>
                      </a:cubicBezTo>
                      <a:cubicBezTo>
                        <a:pt x="87604" y="5310"/>
                        <a:pt x="93555" y="8285"/>
                        <a:pt x="96529" y="14235"/>
                      </a:cubicBezTo>
                      <a:cubicBezTo>
                        <a:pt x="99504" y="20186"/>
                        <a:pt x="102480" y="29111"/>
                        <a:pt x="99504" y="32087"/>
                      </a:cubicBezTo>
                      <a:cubicBezTo>
                        <a:pt x="96529" y="38037"/>
                        <a:pt x="93555" y="38037"/>
                        <a:pt x="93555" y="38037"/>
                      </a:cubicBezTo>
                      <a:cubicBezTo>
                        <a:pt x="31074" y="58863"/>
                        <a:pt x="34051" y="73739"/>
                        <a:pt x="37025" y="82665"/>
                      </a:cubicBezTo>
                      <a:cubicBezTo>
                        <a:pt x="37025" y="85640"/>
                        <a:pt x="40000" y="88615"/>
                        <a:pt x="42976" y="88615"/>
                      </a:cubicBezTo>
                      <a:cubicBezTo>
                        <a:pt x="54876" y="91591"/>
                        <a:pt x="78679" y="79690"/>
                        <a:pt x="93555" y="70764"/>
                      </a:cubicBezTo>
                      <a:cubicBezTo>
                        <a:pt x="96529" y="67789"/>
                        <a:pt x="99504" y="70764"/>
                        <a:pt x="102480" y="73739"/>
                      </a:cubicBezTo>
                      <a:cubicBezTo>
                        <a:pt x="105455" y="76715"/>
                        <a:pt x="102480" y="79690"/>
                        <a:pt x="99504" y="82665"/>
                      </a:cubicBezTo>
                      <a:cubicBezTo>
                        <a:pt x="90579" y="82665"/>
                        <a:pt x="63803" y="100516"/>
                        <a:pt x="42976" y="100516"/>
                      </a:cubicBezTo>
                      <a:close/>
                      <a:moveTo>
                        <a:pt x="72728" y="11260"/>
                      </a:moveTo>
                      <a:cubicBezTo>
                        <a:pt x="66777" y="11260"/>
                        <a:pt x="54876" y="14235"/>
                        <a:pt x="37025" y="23161"/>
                      </a:cubicBezTo>
                      <a:cubicBezTo>
                        <a:pt x="16198" y="35062"/>
                        <a:pt x="10248" y="41012"/>
                        <a:pt x="13224" y="46963"/>
                      </a:cubicBezTo>
                      <a:cubicBezTo>
                        <a:pt x="16198" y="52913"/>
                        <a:pt x="22149" y="58863"/>
                        <a:pt x="25124" y="61839"/>
                      </a:cubicBezTo>
                      <a:cubicBezTo>
                        <a:pt x="31074" y="49938"/>
                        <a:pt x="48927" y="38037"/>
                        <a:pt x="87604" y="26136"/>
                      </a:cubicBezTo>
                      <a:lnTo>
                        <a:pt x="87604" y="26136"/>
                      </a:lnTo>
                      <a:cubicBezTo>
                        <a:pt x="87604" y="26136"/>
                        <a:pt x="87604" y="23161"/>
                        <a:pt x="84628" y="17210"/>
                      </a:cubicBezTo>
                      <a:cubicBezTo>
                        <a:pt x="81653" y="14235"/>
                        <a:pt x="81653" y="11260"/>
                        <a:pt x="78679" y="11260"/>
                      </a:cubicBezTo>
                      <a:cubicBezTo>
                        <a:pt x="75702" y="11260"/>
                        <a:pt x="72728" y="11260"/>
                        <a:pt x="72728" y="11260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1AD10F53-E153-4A61-8D5C-5EA0BDB2421D}"/>
                    </a:ext>
                  </a:extLst>
                </p:cNvPr>
                <p:cNvSpPr/>
                <p:nvPr/>
              </p:nvSpPr>
              <p:spPr>
                <a:xfrm>
                  <a:off x="20767471" y="4562359"/>
                  <a:ext cx="85738" cy="71405"/>
                </a:xfrm>
                <a:custGeom>
                  <a:avLst/>
                  <a:gdLst>
                    <a:gd name="connsiteX0" fmla="*/ 12379 w 85738"/>
                    <a:gd name="connsiteY0" fmla="*/ 71405 h 71405"/>
                    <a:gd name="connsiteX1" fmla="*/ 9404 w 85738"/>
                    <a:gd name="connsiteY1" fmla="*/ 68430 h 71405"/>
                    <a:gd name="connsiteX2" fmla="*/ 477 w 85738"/>
                    <a:gd name="connsiteY2" fmla="*/ 44628 h 71405"/>
                    <a:gd name="connsiteX3" fmla="*/ 12379 w 85738"/>
                    <a:gd name="connsiteY3" fmla="*/ 23802 h 71405"/>
                    <a:gd name="connsiteX4" fmla="*/ 68908 w 85738"/>
                    <a:gd name="connsiteY4" fmla="*/ 0 h 71405"/>
                    <a:gd name="connsiteX5" fmla="*/ 68908 w 85738"/>
                    <a:gd name="connsiteY5" fmla="*/ 0 h 71405"/>
                    <a:gd name="connsiteX6" fmla="*/ 80808 w 85738"/>
                    <a:gd name="connsiteY6" fmla="*/ 5951 h 71405"/>
                    <a:gd name="connsiteX7" fmla="*/ 83785 w 85738"/>
                    <a:gd name="connsiteY7" fmla="*/ 32727 h 71405"/>
                    <a:gd name="connsiteX8" fmla="*/ 74857 w 85738"/>
                    <a:gd name="connsiteY8" fmla="*/ 35703 h 71405"/>
                    <a:gd name="connsiteX9" fmla="*/ 71883 w 85738"/>
                    <a:gd name="connsiteY9" fmla="*/ 26777 h 71405"/>
                    <a:gd name="connsiteX10" fmla="*/ 68908 w 85738"/>
                    <a:gd name="connsiteY10" fmla="*/ 8926 h 71405"/>
                    <a:gd name="connsiteX11" fmla="*/ 65932 w 85738"/>
                    <a:gd name="connsiteY11" fmla="*/ 5951 h 71405"/>
                    <a:gd name="connsiteX12" fmla="*/ 65932 w 85738"/>
                    <a:gd name="connsiteY12" fmla="*/ 5951 h 71405"/>
                    <a:gd name="connsiteX13" fmla="*/ 15353 w 85738"/>
                    <a:gd name="connsiteY13" fmla="*/ 29752 h 71405"/>
                    <a:gd name="connsiteX14" fmla="*/ 9404 w 85738"/>
                    <a:gd name="connsiteY14" fmla="*/ 41653 h 71405"/>
                    <a:gd name="connsiteX15" fmla="*/ 15353 w 85738"/>
                    <a:gd name="connsiteY15" fmla="*/ 59504 h 71405"/>
                    <a:gd name="connsiteX16" fmla="*/ 15353 w 85738"/>
                    <a:gd name="connsiteY16" fmla="*/ 68430 h 71405"/>
                    <a:gd name="connsiteX17" fmla="*/ 12379 w 85738"/>
                    <a:gd name="connsiteY17" fmla="*/ 71405 h 71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85738" h="71405">
                      <a:moveTo>
                        <a:pt x="12379" y="71405"/>
                      </a:moveTo>
                      <a:cubicBezTo>
                        <a:pt x="9404" y="71405"/>
                        <a:pt x="9404" y="71405"/>
                        <a:pt x="9404" y="68430"/>
                      </a:cubicBezTo>
                      <a:cubicBezTo>
                        <a:pt x="9404" y="68430"/>
                        <a:pt x="-2497" y="56529"/>
                        <a:pt x="477" y="44628"/>
                      </a:cubicBezTo>
                      <a:cubicBezTo>
                        <a:pt x="477" y="35703"/>
                        <a:pt x="3454" y="29752"/>
                        <a:pt x="12379" y="23802"/>
                      </a:cubicBezTo>
                      <a:cubicBezTo>
                        <a:pt x="30229" y="8926"/>
                        <a:pt x="57007" y="0"/>
                        <a:pt x="68908" y="0"/>
                      </a:cubicBezTo>
                      <a:cubicBezTo>
                        <a:pt x="68908" y="0"/>
                        <a:pt x="68908" y="0"/>
                        <a:pt x="68908" y="0"/>
                      </a:cubicBezTo>
                      <a:cubicBezTo>
                        <a:pt x="71883" y="0"/>
                        <a:pt x="77834" y="2975"/>
                        <a:pt x="80808" y="5951"/>
                      </a:cubicBezTo>
                      <a:cubicBezTo>
                        <a:pt x="86759" y="14876"/>
                        <a:pt x="86759" y="26777"/>
                        <a:pt x="83785" y="32727"/>
                      </a:cubicBezTo>
                      <a:cubicBezTo>
                        <a:pt x="83785" y="35703"/>
                        <a:pt x="77834" y="35703"/>
                        <a:pt x="74857" y="35703"/>
                      </a:cubicBezTo>
                      <a:cubicBezTo>
                        <a:pt x="71883" y="35703"/>
                        <a:pt x="71883" y="29752"/>
                        <a:pt x="71883" y="26777"/>
                      </a:cubicBezTo>
                      <a:cubicBezTo>
                        <a:pt x="71883" y="23802"/>
                        <a:pt x="71883" y="14876"/>
                        <a:pt x="68908" y="8926"/>
                      </a:cubicBezTo>
                      <a:cubicBezTo>
                        <a:pt x="68908" y="5951"/>
                        <a:pt x="65932" y="5951"/>
                        <a:pt x="65932" y="5951"/>
                      </a:cubicBezTo>
                      <a:cubicBezTo>
                        <a:pt x="65932" y="5951"/>
                        <a:pt x="65932" y="5951"/>
                        <a:pt x="65932" y="5951"/>
                      </a:cubicBezTo>
                      <a:cubicBezTo>
                        <a:pt x="57007" y="5951"/>
                        <a:pt x="33206" y="11901"/>
                        <a:pt x="15353" y="29752"/>
                      </a:cubicBezTo>
                      <a:cubicBezTo>
                        <a:pt x="12379" y="32727"/>
                        <a:pt x="9404" y="35703"/>
                        <a:pt x="9404" y="41653"/>
                      </a:cubicBezTo>
                      <a:cubicBezTo>
                        <a:pt x="9404" y="50579"/>
                        <a:pt x="15353" y="59504"/>
                        <a:pt x="15353" y="59504"/>
                      </a:cubicBezTo>
                      <a:cubicBezTo>
                        <a:pt x="18330" y="62480"/>
                        <a:pt x="18330" y="65455"/>
                        <a:pt x="15353" y="68430"/>
                      </a:cubicBezTo>
                      <a:cubicBezTo>
                        <a:pt x="15353" y="71405"/>
                        <a:pt x="15353" y="71405"/>
                        <a:pt x="12379" y="71405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813A3688-37BD-4327-B6D6-69B154BCEA67}"/>
                  </a:ext>
                </a:extLst>
              </p:cNvPr>
              <p:cNvSpPr/>
              <p:nvPr/>
            </p:nvSpPr>
            <p:spPr>
              <a:xfrm>
                <a:off x="20759276" y="4539301"/>
                <a:ext cx="80078" cy="58760"/>
              </a:xfrm>
              <a:custGeom>
                <a:avLst/>
                <a:gdLst>
                  <a:gd name="connsiteX0" fmla="*/ 20574 w 80078"/>
                  <a:gd name="connsiteY0" fmla="*/ 58760 h 58760"/>
                  <a:gd name="connsiteX1" fmla="*/ 20574 w 80078"/>
                  <a:gd name="connsiteY1" fmla="*/ 58760 h 58760"/>
                  <a:gd name="connsiteX2" fmla="*/ 2723 w 80078"/>
                  <a:gd name="connsiteY2" fmla="*/ 26033 h 58760"/>
                  <a:gd name="connsiteX3" fmla="*/ 41401 w 80078"/>
                  <a:gd name="connsiteY3" fmla="*/ 2231 h 58760"/>
                  <a:gd name="connsiteX4" fmla="*/ 65202 w 80078"/>
                  <a:gd name="connsiteY4" fmla="*/ 2231 h 58760"/>
                  <a:gd name="connsiteX5" fmla="*/ 80078 w 80078"/>
                  <a:gd name="connsiteY5" fmla="*/ 26033 h 58760"/>
                  <a:gd name="connsiteX6" fmla="*/ 74127 w 80078"/>
                  <a:gd name="connsiteY6" fmla="*/ 31983 h 58760"/>
                  <a:gd name="connsiteX7" fmla="*/ 68176 w 80078"/>
                  <a:gd name="connsiteY7" fmla="*/ 26033 h 58760"/>
                  <a:gd name="connsiteX8" fmla="*/ 59251 w 80078"/>
                  <a:gd name="connsiteY8" fmla="*/ 11157 h 58760"/>
                  <a:gd name="connsiteX9" fmla="*/ 44375 w 80078"/>
                  <a:gd name="connsiteY9" fmla="*/ 11157 h 58760"/>
                  <a:gd name="connsiteX10" fmla="*/ 11649 w 80078"/>
                  <a:gd name="connsiteY10" fmla="*/ 29008 h 58760"/>
                  <a:gd name="connsiteX11" fmla="*/ 20574 w 80078"/>
                  <a:gd name="connsiteY11" fmla="*/ 43884 h 58760"/>
                  <a:gd name="connsiteX12" fmla="*/ 23548 w 80078"/>
                  <a:gd name="connsiteY12" fmla="*/ 52810 h 58760"/>
                  <a:gd name="connsiteX13" fmla="*/ 20574 w 80078"/>
                  <a:gd name="connsiteY13" fmla="*/ 58760 h 58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0078" h="58760">
                    <a:moveTo>
                      <a:pt x="20574" y="58760"/>
                    </a:moveTo>
                    <a:cubicBezTo>
                      <a:pt x="20574" y="58760"/>
                      <a:pt x="20574" y="58760"/>
                      <a:pt x="20574" y="58760"/>
                    </a:cubicBezTo>
                    <a:cubicBezTo>
                      <a:pt x="8672" y="52810"/>
                      <a:pt x="-6204" y="40909"/>
                      <a:pt x="2723" y="26033"/>
                    </a:cubicBezTo>
                    <a:cubicBezTo>
                      <a:pt x="8672" y="17107"/>
                      <a:pt x="29499" y="8182"/>
                      <a:pt x="41401" y="2231"/>
                    </a:cubicBezTo>
                    <a:cubicBezTo>
                      <a:pt x="53300" y="-744"/>
                      <a:pt x="62228" y="-744"/>
                      <a:pt x="65202" y="2231"/>
                    </a:cubicBezTo>
                    <a:cubicBezTo>
                      <a:pt x="80078" y="11157"/>
                      <a:pt x="80078" y="26033"/>
                      <a:pt x="80078" y="26033"/>
                    </a:cubicBezTo>
                    <a:cubicBezTo>
                      <a:pt x="80078" y="29008"/>
                      <a:pt x="77104" y="31983"/>
                      <a:pt x="74127" y="31983"/>
                    </a:cubicBezTo>
                    <a:cubicBezTo>
                      <a:pt x="71153" y="31983"/>
                      <a:pt x="68176" y="29008"/>
                      <a:pt x="68176" y="26033"/>
                    </a:cubicBezTo>
                    <a:cubicBezTo>
                      <a:pt x="68176" y="26033"/>
                      <a:pt x="68176" y="17107"/>
                      <a:pt x="59251" y="11157"/>
                    </a:cubicBezTo>
                    <a:cubicBezTo>
                      <a:pt x="59251" y="11157"/>
                      <a:pt x="53300" y="8182"/>
                      <a:pt x="44375" y="11157"/>
                    </a:cubicBezTo>
                    <a:cubicBezTo>
                      <a:pt x="29499" y="14132"/>
                      <a:pt x="14623" y="23058"/>
                      <a:pt x="11649" y="29008"/>
                    </a:cubicBezTo>
                    <a:cubicBezTo>
                      <a:pt x="8672" y="37934"/>
                      <a:pt x="20574" y="43884"/>
                      <a:pt x="20574" y="43884"/>
                    </a:cubicBezTo>
                    <a:cubicBezTo>
                      <a:pt x="23548" y="43884"/>
                      <a:pt x="23548" y="49835"/>
                      <a:pt x="23548" y="52810"/>
                    </a:cubicBezTo>
                    <a:cubicBezTo>
                      <a:pt x="26525" y="55785"/>
                      <a:pt x="23548" y="58760"/>
                      <a:pt x="20574" y="58760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1" name="图形 1">
              <a:extLst>
                <a:ext uri="{FF2B5EF4-FFF2-40B4-BE49-F238E27FC236}">
                  <a16:creationId xmlns:a16="http://schemas.microsoft.com/office/drawing/2014/main" id="{CBCFB264-3DA7-42C9-8999-07AAFE198B20}"/>
                </a:ext>
              </a:extLst>
            </p:cNvPr>
            <p:cNvGrpSpPr/>
            <p:nvPr/>
          </p:nvGrpSpPr>
          <p:grpSpPr>
            <a:xfrm>
              <a:off x="20834891" y="4514756"/>
              <a:ext cx="72892" cy="145785"/>
              <a:chOff x="20834891" y="4514756"/>
              <a:chExt cx="72892" cy="145785"/>
            </a:xfrm>
          </p:grpSpPr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3A5269FC-A2C9-4F5A-B15B-F71F80E38B17}"/>
                  </a:ext>
                </a:extLst>
              </p:cNvPr>
              <p:cNvSpPr/>
              <p:nvPr/>
            </p:nvSpPr>
            <p:spPr>
              <a:xfrm>
                <a:off x="20838703" y="4514756"/>
                <a:ext cx="69080" cy="139292"/>
              </a:xfrm>
              <a:custGeom>
                <a:avLst/>
                <a:gdLst>
                  <a:gd name="connsiteX0" fmla="*/ 69081 w 69080"/>
                  <a:gd name="connsiteY0" fmla="*/ 38678 h 139292"/>
                  <a:gd name="connsiteX1" fmla="*/ 57181 w 69080"/>
                  <a:gd name="connsiteY1" fmla="*/ 8926 h 139292"/>
                  <a:gd name="connsiteX2" fmla="*/ 33378 w 69080"/>
                  <a:gd name="connsiteY2" fmla="*/ 0 h 139292"/>
                  <a:gd name="connsiteX3" fmla="*/ 18502 w 69080"/>
                  <a:gd name="connsiteY3" fmla="*/ 44628 h 139292"/>
                  <a:gd name="connsiteX4" fmla="*/ 3626 w 69080"/>
                  <a:gd name="connsiteY4" fmla="*/ 119008 h 139292"/>
                  <a:gd name="connsiteX5" fmla="*/ 15527 w 69080"/>
                  <a:gd name="connsiteY5" fmla="*/ 136859 h 139292"/>
                  <a:gd name="connsiteX6" fmla="*/ 51230 w 69080"/>
                  <a:gd name="connsiteY6" fmla="*/ 101157 h 139292"/>
                  <a:gd name="connsiteX7" fmla="*/ 69081 w 69080"/>
                  <a:gd name="connsiteY7" fmla="*/ 38678 h 139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9080" h="139292">
                    <a:moveTo>
                      <a:pt x="69081" y="38678"/>
                    </a:moveTo>
                    <a:cubicBezTo>
                      <a:pt x="69081" y="29752"/>
                      <a:pt x="63130" y="17851"/>
                      <a:pt x="57181" y="8926"/>
                    </a:cubicBezTo>
                    <a:cubicBezTo>
                      <a:pt x="57181" y="8926"/>
                      <a:pt x="33378" y="0"/>
                      <a:pt x="33378" y="0"/>
                    </a:cubicBezTo>
                    <a:cubicBezTo>
                      <a:pt x="12553" y="8926"/>
                      <a:pt x="21478" y="32727"/>
                      <a:pt x="18502" y="44628"/>
                    </a:cubicBezTo>
                    <a:cubicBezTo>
                      <a:pt x="15527" y="62479"/>
                      <a:pt x="18502" y="104132"/>
                      <a:pt x="3626" y="119008"/>
                    </a:cubicBezTo>
                    <a:cubicBezTo>
                      <a:pt x="-5299" y="127934"/>
                      <a:pt x="3626" y="145785"/>
                      <a:pt x="15527" y="136859"/>
                    </a:cubicBezTo>
                    <a:cubicBezTo>
                      <a:pt x="30403" y="127934"/>
                      <a:pt x="42305" y="119008"/>
                      <a:pt x="51230" y="101157"/>
                    </a:cubicBezTo>
                    <a:cubicBezTo>
                      <a:pt x="60155" y="89256"/>
                      <a:pt x="69081" y="68430"/>
                      <a:pt x="69081" y="38678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5D00FCB2-6F48-4E3D-928C-6EB689ACBEE8}"/>
                  </a:ext>
                </a:extLst>
              </p:cNvPr>
              <p:cNvSpPr/>
              <p:nvPr/>
            </p:nvSpPr>
            <p:spPr>
              <a:xfrm>
                <a:off x="20834891" y="4568310"/>
                <a:ext cx="72892" cy="92231"/>
              </a:xfrm>
              <a:custGeom>
                <a:avLst/>
                <a:gdLst>
                  <a:gd name="connsiteX0" fmla="*/ 16365 w 72892"/>
                  <a:gd name="connsiteY0" fmla="*/ 92231 h 92231"/>
                  <a:gd name="connsiteX1" fmla="*/ 4463 w 72892"/>
                  <a:gd name="connsiteY1" fmla="*/ 86281 h 92231"/>
                  <a:gd name="connsiteX2" fmla="*/ 4463 w 72892"/>
                  <a:gd name="connsiteY2" fmla="*/ 62479 h 92231"/>
                  <a:gd name="connsiteX3" fmla="*/ 16365 w 72892"/>
                  <a:gd name="connsiteY3" fmla="*/ 5950 h 92231"/>
                  <a:gd name="connsiteX4" fmla="*/ 22314 w 72892"/>
                  <a:gd name="connsiteY4" fmla="*/ 0 h 92231"/>
                  <a:gd name="connsiteX5" fmla="*/ 28264 w 72892"/>
                  <a:gd name="connsiteY5" fmla="*/ 5950 h 92231"/>
                  <a:gd name="connsiteX6" fmla="*/ 13388 w 72892"/>
                  <a:gd name="connsiteY6" fmla="*/ 68430 h 92231"/>
                  <a:gd name="connsiteX7" fmla="*/ 10414 w 72892"/>
                  <a:gd name="connsiteY7" fmla="*/ 74380 h 92231"/>
                  <a:gd name="connsiteX8" fmla="*/ 25290 w 72892"/>
                  <a:gd name="connsiteY8" fmla="*/ 71405 h 92231"/>
                  <a:gd name="connsiteX9" fmla="*/ 60993 w 72892"/>
                  <a:gd name="connsiteY9" fmla="*/ 17851 h 92231"/>
                  <a:gd name="connsiteX10" fmla="*/ 66942 w 72892"/>
                  <a:gd name="connsiteY10" fmla="*/ 11901 h 92231"/>
                  <a:gd name="connsiteX11" fmla="*/ 72892 w 72892"/>
                  <a:gd name="connsiteY11" fmla="*/ 17851 h 92231"/>
                  <a:gd name="connsiteX12" fmla="*/ 34215 w 72892"/>
                  <a:gd name="connsiteY12" fmla="*/ 80330 h 92231"/>
                  <a:gd name="connsiteX13" fmla="*/ 16365 w 72892"/>
                  <a:gd name="connsiteY13" fmla="*/ 92231 h 92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892" h="92231">
                    <a:moveTo>
                      <a:pt x="16365" y="92231"/>
                    </a:moveTo>
                    <a:cubicBezTo>
                      <a:pt x="10414" y="92231"/>
                      <a:pt x="7438" y="89256"/>
                      <a:pt x="4463" y="86281"/>
                    </a:cubicBezTo>
                    <a:cubicBezTo>
                      <a:pt x="-1488" y="80330"/>
                      <a:pt x="-1488" y="74380"/>
                      <a:pt x="4463" y="62479"/>
                    </a:cubicBezTo>
                    <a:cubicBezTo>
                      <a:pt x="13388" y="50578"/>
                      <a:pt x="16365" y="17851"/>
                      <a:pt x="16365" y="5950"/>
                    </a:cubicBezTo>
                    <a:cubicBezTo>
                      <a:pt x="16365" y="2975"/>
                      <a:pt x="19339" y="0"/>
                      <a:pt x="22314" y="0"/>
                    </a:cubicBezTo>
                    <a:cubicBezTo>
                      <a:pt x="25290" y="0"/>
                      <a:pt x="28264" y="2975"/>
                      <a:pt x="28264" y="5950"/>
                    </a:cubicBezTo>
                    <a:cubicBezTo>
                      <a:pt x="28264" y="8925"/>
                      <a:pt x="25290" y="50578"/>
                      <a:pt x="13388" y="68430"/>
                    </a:cubicBezTo>
                    <a:cubicBezTo>
                      <a:pt x="13388" y="71405"/>
                      <a:pt x="10414" y="74380"/>
                      <a:pt x="10414" y="74380"/>
                    </a:cubicBezTo>
                    <a:cubicBezTo>
                      <a:pt x="13388" y="77355"/>
                      <a:pt x="19339" y="77355"/>
                      <a:pt x="25290" y="71405"/>
                    </a:cubicBezTo>
                    <a:cubicBezTo>
                      <a:pt x="34215" y="62479"/>
                      <a:pt x="58016" y="44628"/>
                      <a:pt x="60993" y="17851"/>
                    </a:cubicBezTo>
                    <a:cubicBezTo>
                      <a:pt x="60993" y="14876"/>
                      <a:pt x="63967" y="11901"/>
                      <a:pt x="66942" y="11901"/>
                    </a:cubicBezTo>
                    <a:cubicBezTo>
                      <a:pt x="69918" y="11901"/>
                      <a:pt x="72892" y="14876"/>
                      <a:pt x="72892" y="17851"/>
                    </a:cubicBezTo>
                    <a:cubicBezTo>
                      <a:pt x="69918" y="50578"/>
                      <a:pt x="46117" y="71405"/>
                      <a:pt x="34215" y="80330"/>
                    </a:cubicBezTo>
                    <a:cubicBezTo>
                      <a:pt x="28264" y="89256"/>
                      <a:pt x="22314" y="92231"/>
                      <a:pt x="16365" y="92231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2" name="图形 1">
              <a:extLst>
                <a:ext uri="{FF2B5EF4-FFF2-40B4-BE49-F238E27FC236}">
                  <a16:creationId xmlns:a16="http://schemas.microsoft.com/office/drawing/2014/main" id="{0C3FB48F-20A9-45BD-A86B-4CACF211BA64}"/>
                </a:ext>
              </a:extLst>
            </p:cNvPr>
            <p:cNvGrpSpPr/>
            <p:nvPr/>
          </p:nvGrpSpPr>
          <p:grpSpPr>
            <a:xfrm>
              <a:off x="20508244" y="4163226"/>
              <a:ext cx="286711" cy="150954"/>
              <a:chOff x="20508244" y="4163226"/>
              <a:chExt cx="286711" cy="150954"/>
            </a:xfrm>
          </p:grpSpPr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D8DE627A-7197-4A40-B40E-0D935D7BB811}"/>
                  </a:ext>
                </a:extLst>
              </p:cNvPr>
              <p:cNvSpPr/>
              <p:nvPr/>
            </p:nvSpPr>
            <p:spPr>
              <a:xfrm>
                <a:off x="20508244" y="4164714"/>
                <a:ext cx="286711" cy="149467"/>
              </a:xfrm>
              <a:custGeom>
                <a:avLst/>
                <a:gdLst>
                  <a:gd name="connsiteX0" fmla="*/ 33589 w 286711"/>
                  <a:gd name="connsiteY0" fmla="*/ 115001 h 149467"/>
                  <a:gd name="connsiteX1" fmla="*/ 102019 w 286711"/>
                  <a:gd name="connsiteY1" fmla="*/ 126902 h 149467"/>
                  <a:gd name="connsiteX2" fmla="*/ 170448 w 286711"/>
                  <a:gd name="connsiteY2" fmla="*/ 144753 h 149467"/>
                  <a:gd name="connsiteX3" fmla="*/ 209127 w 286711"/>
                  <a:gd name="connsiteY3" fmla="*/ 144753 h 149467"/>
                  <a:gd name="connsiteX4" fmla="*/ 173425 w 286711"/>
                  <a:gd name="connsiteY4" fmla="*/ 112026 h 149467"/>
                  <a:gd name="connsiteX5" fmla="*/ 212102 w 286711"/>
                  <a:gd name="connsiteY5" fmla="*/ 117976 h 149467"/>
                  <a:gd name="connsiteX6" fmla="*/ 265655 w 286711"/>
                  <a:gd name="connsiteY6" fmla="*/ 112026 h 149467"/>
                  <a:gd name="connsiteX7" fmla="*/ 265655 w 286711"/>
                  <a:gd name="connsiteY7" fmla="*/ 100125 h 149467"/>
                  <a:gd name="connsiteX8" fmla="*/ 286482 w 286711"/>
                  <a:gd name="connsiteY8" fmla="*/ 91199 h 149467"/>
                  <a:gd name="connsiteX9" fmla="*/ 253756 w 286711"/>
                  <a:gd name="connsiteY9" fmla="*/ 58472 h 149467"/>
                  <a:gd name="connsiteX10" fmla="*/ 212102 w 286711"/>
                  <a:gd name="connsiteY10" fmla="*/ 43596 h 149467"/>
                  <a:gd name="connsiteX11" fmla="*/ 244828 w 286711"/>
                  <a:gd name="connsiteY11" fmla="*/ 40621 h 149467"/>
                  <a:gd name="connsiteX12" fmla="*/ 256730 w 286711"/>
                  <a:gd name="connsiteY12" fmla="*/ 31695 h 149467"/>
                  <a:gd name="connsiteX13" fmla="*/ 209127 w 286711"/>
                  <a:gd name="connsiteY13" fmla="*/ 4918 h 149467"/>
                  <a:gd name="connsiteX14" fmla="*/ 21688 w 286711"/>
                  <a:gd name="connsiteY14" fmla="*/ 1943 h 149467"/>
                  <a:gd name="connsiteX15" fmla="*/ 863 w 286711"/>
                  <a:gd name="connsiteY15" fmla="*/ 91199 h 149467"/>
                  <a:gd name="connsiteX16" fmla="*/ 33589 w 286711"/>
                  <a:gd name="connsiteY16" fmla="*/ 115001 h 149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6711" h="149467">
                    <a:moveTo>
                      <a:pt x="33589" y="115001"/>
                    </a:moveTo>
                    <a:cubicBezTo>
                      <a:pt x="57391" y="117976"/>
                      <a:pt x="78218" y="120951"/>
                      <a:pt x="102019" y="126902"/>
                    </a:cubicBezTo>
                    <a:cubicBezTo>
                      <a:pt x="125820" y="132852"/>
                      <a:pt x="146647" y="141778"/>
                      <a:pt x="170448" y="144753"/>
                    </a:cubicBezTo>
                    <a:cubicBezTo>
                      <a:pt x="179375" y="147728"/>
                      <a:pt x="203177" y="153679"/>
                      <a:pt x="209127" y="144753"/>
                    </a:cubicBezTo>
                    <a:cubicBezTo>
                      <a:pt x="221027" y="132852"/>
                      <a:pt x="197226" y="120951"/>
                      <a:pt x="173425" y="112026"/>
                    </a:cubicBezTo>
                    <a:cubicBezTo>
                      <a:pt x="185324" y="115001"/>
                      <a:pt x="200200" y="117976"/>
                      <a:pt x="212102" y="117976"/>
                    </a:cubicBezTo>
                    <a:cubicBezTo>
                      <a:pt x="224003" y="120951"/>
                      <a:pt x="256730" y="123926"/>
                      <a:pt x="265655" y="112026"/>
                    </a:cubicBezTo>
                    <a:cubicBezTo>
                      <a:pt x="268632" y="109050"/>
                      <a:pt x="268632" y="103100"/>
                      <a:pt x="265655" y="100125"/>
                    </a:cubicBezTo>
                    <a:cubicBezTo>
                      <a:pt x="277557" y="100125"/>
                      <a:pt x="286482" y="97150"/>
                      <a:pt x="286482" y="91199"/>
                    </a:cubicBezTo>
                    <a:cubicBezTo>
                      <a:pt x="289457" y="76323"/>
                      <a:pt x="262681" y="61447"/>
                      <a:pt x="253756" y="58472"/>
                    </a:cubicBezTo>
                    <a:cubicBezTo>
                      <a:pt x="241854" y="52521"/>
                      <a:pt x="226978" y="46571"/>
                      <a:pt x="212102" y="43596"/>
                    </a:cubicBezTo>
                    <a:cubicBezTo>
                      <a:pt x="224003" y="43596"/>
                      <a:pt x="232929" y="43596"/>
                      <a:pt x="244828" y="40621"/>
                    </a:cubicBezTo>
                    <a:cubicBezTo>
                      <a:pt x="250779" y="40621"/>
                      <a:pt x="256730" y="40621"/>
                      <a:pt x="256730" y="31695"/>
                    </a:cubicBezTo>
                    <a:cubicBezTo>
                      <a:pt x="262681" y="10869"/>
                      <a:pt x="218053" y="7893"/>
                      <a:pt x="209127" y="4918"/>
                    </a:cubicBezTo>
                    <a:cubicBezTo>
                      <a:pt x="146647" y="-4007"/>
                      <a:pt x="84168" y="1943"/>
                      <a:pt x="21688" y="1943"/>
                    </a:cubicBezTo>
                    <a:cubicBezTo>
                      <a:pt x="21688" y="-1032"/>
                      <a:pt x="-5088" y="61447"/>
                      <a:pt x="863" y="91199"/>
                    </a:cubicBezTo>
                    <a:cubicBezTo>
                      <a:pt x="12763" y="112026"/>
                      <a:pt x="15739" y="112026"/>
                      <a:pt x="33589" y="115001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5BB61D0C-A7FB-44A7-8D8B-8C7E67E0F546}"/>
                  </a:ext>
                </a:extLst>
              </p:cNvPr>
              <p:cNvSpPr/>
              <p:nvPr/>
            </p:nvSpPr>
            <p:spPr>
              <a:xfrm>
                <a:off x="20640015" y="4163226"/>
                <a:ext cx="133140" cy="51034"/>
              </a:xfrm>
              <a:custGeom>
                <a:avLst/>
                <a:gdLst>
                  <a:gd name="connsiteX0" fmla="*/ 98181 w 133140"/>
                  <a:gd name="connsiteY0" fmla="*/ 51034 h 51034"/>
                  <a:gd name="connsiteX1" fmla="*/ 83305 w 133140"/>
                  <a:gd name="connsiteY1" fmla="*/ 51034 h 51034"/>
                  <a:gd name="connsiteX2" fmla="*/ 26778 w 133140"/>
                  <a:gd name="connsiteY2" fmla="*/ 45084 h 51034"/>
                  <a:gd name="connsiteX3" fmla="*/ 17852 w 133140"/>
                  <a:gd name="connsiteY3" fmla="*/ 42108 h 51034"/>
                  <a:gd name="connsiteX4" fmla="*/ 20827 w 133140"/>
                  <a:gd name="connsiteY4" fmla="*/ 36158 h 51034"/>
                  <a:gd name="connsiteX5" fmla="*/ 83305 w 133140"/>
                  <a:gd name="connsiteY5" fmla="*/ 42108 h 51034"/>
                  <a:gd name="connsiteX6" fmla="*/ 121985 w 133140"/>
                  <a:gd name="connsiteY6" fmla="*/ 36158 h 51034"/>
                  <a:gd name="connsiteX7" fmla="*/ 5951 w 133140"/>
                  <a:gd name="connsiteY7" fmla="*/ 12356 h 51034"/>
                  <a:gd name="connsiteX8" fmla="*/ 5951 w 133140"/>
                  <a:gd name="connsiteY8" fmla="*/ 12356 h 51034"/>
                  <a:gd name="connsiteX9" fmla="*/ 0 w 133140"/>
                  <a:gd name="connsiteY9" fmla="*/ 6406 h 51034"/>
                  <a:gd name="connsiteX10" fmla="*/ 5951 w 133140"/>
                  <a:gd name="connsiteY10" fmla="*/ 456 h 51034"/>
                  <a:gd name="connsiteX11" fmla="*/ 130910 w 133140"/>
                  <a:gd name="connsiteY11" fmla="*/ 27232 h 51034"/>
                  <a:gd name="connsiteX12" fmla="*/ 130910 w 133140"/>
                  <a:gd name="connsiteY12" fmla="*/ 39133 h 51034"/>
                  <a:gd name="connsiteX13" fmla="*/ 98181 w 133140"/>
                  <a:gd name="connsiteY13" fmla="*/ 51034 h 51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3140" h="51034">
                    <a:moveTo>
                      <a:pt x="98181" y="51034"/>
                    </a:moveTo>
                    <a:cubicBezTo>
                      <a:pt x="92232" y="51034"/>
                      <a:pt x="86282" y="51034"/>
                      <a:pt x="83305" y="51034"/>
                    </a:cubicBezTo>
                    <a:cubicBezTo>
                      <a:pt x="59504" y="45084"/>
                      <a:pt x="32728" y="42108"/>
                      <a:pt x="26778" y="45084"/>
                    </a:cubicBezTo>
                    <a:cubicBezTo>
                      <a:pt x="23801" y="45084"/>
                      <a:pt x="20827" y="45084"/>
                      <a:pt x="17852" y="42108"/>
                    </a:cubicBezTo>
                    <a:cubicBezTo>
                      <a:pt x="17852" y="39133"/>
                      <a:pt x="17852" y="36158"/>
                      <a:pt x="20827" y="36158"/>
                    </a:cubicBezTo>
                    <a:cubicBezTo>
                      <a:pt x="29752" y="33183"/>
                      <a:pt x="68429" y="39133"/>
                      <a:pt x="83305" y="42108"/>
                    </a:cubicBezTo>
                    <a:cubicBezTo>
                      <a:pt x="95207" y="42108"/>
                      <a:pt x="119008" y="45084"/>
                      <a:pt x="121985" y="36158"/>
                    </a:cubicBezTo>
                    <a:cubicBezTo>
                      <a:pt x="116034" y="24257"/>
                      <a:pt x="74380" y="12356"/>
                      <a:pt x="5951" y="12356"/>
                    </a:cubicBezTo>
                    <a:cubicBezTo>
                      <a:pt x="5951" y="12356"/>
                      <a:pt x="5951" y="12356"/>
                      <a:pt x="5951" y="12356"/>
                    </a:cubicBezTo>
                    <a:cubicBezTo>
                      <a:pt x="2976" y="12356"/>
                      <a:pt x="0" y="9381"/>
                      <a:pt x="0" y="6406"/>
                    </a:cubicBezTo>
                    <a:cubicBezTo>
                      <a:pt x="0" y="3431"/>
                      <a:pt x="2976" y="456"/>
                      <a:pt x="5951" y="456"/>
                    </a:cubicBezTo>
                    <a:cubicBezTo>
                      <a:pt x="68429" y="-2520"/>
                      <a:pt x="121985" y="9381"/>
                      <a:pt x="130910" y="27232"/>
                    </a:cubicBezTo>
                    <a:cubicBezTo>
                      <a:pt x="133884" y="30208"/>
                      <a:pt x="133884" y="36158"/>
                      <a:pt x="130910" y="39133"/>
                    </a:cubicBezTo>
                    <a:cubicBezTo>
                      <a:pt x="127934" y="51034"/>
                      <a:pt x="110083" y="51034"/>
                      <a:pt x="98181" y="51034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49C35BBB-903A-496A-98D9-E0E0574E6008}"/>
                  </a:ext>
                </a:extLst>
              </p:cNvPr>
              <p:cNvSpPr/>
              <p:nvPr/>
            </p:nvSpPr>
            <p:spPr>
              <a:xfrm>
                <a:off x="20657867" y="4229136"/>
                <a:ext cx="124957" cy="44628"/>
              </a:xfrm>
              <a:custGeom>
                <a:avLst/>
                <a:gdLst>
                  <a:gd name="connsiteX0" fmla="*/ 119008 w 124957"/>
                  <a:gd name="connsiteY0" fmla="*/ 44628 h 44628"/>
                  <a:gd name="connsiteX1" fmla="*/ 119008 w 124957"/>
                  <a:gd name="connsiteY1" fmla="*/ 44628 h 44628"/>
                  <a:gd name="connsiteX2" fmla="*/ 8925 w 124957"/>
                  <a:gd name="connsiteY2" fmla="*/ 11901 h 44628"/>
                  <a:gd name="connsiteX3" fmla="*/ 5949 w 124957"/>
                  <a:gd name="connsiteY3" fmla="*/ 11901 h 44628"/>
                  <a:gd name="connsiteX4" fmla="*/ 0 w 124957"/>
                  <a:gd name="connsiteY4" fmla="*/ 5950 h 44628"/>
                  <a:gd name="connsiteX5" fmla="*/ 5949 w 124957"/>
                  <a:gd name="connsiteY5" fmla="*/ 0 h 44628"/>
                  <a:gd name="connsiteX6" fmla="*/ 8925 w 124957"/>
                  <a:gd name="connsiteY6" fmla="*/ 0 h 44628"/>
                  <a:gd name="connsiteX7" fmla="*/ 121983 w 124957"/>
                  <a:gd name="connsiteY7" fmla="*/ 35702 h 44628"/>
                  <a:gd name="connsiteX8" fmla="*/ 124957 w 124957"/>
                  <a:gd name="connsiteY8" fmla="*/ 44628 h 44628"/>
                  <a:gd name="connsiteX9" fmla="*/ 119008 w 124957"/>
                  <a:gd name="connsiteY9" fmla="*/ 44628 h 4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4957" h="44628">
                    <a:moveTo>
                      <a:pt x="119008" y="44628"/>
                    </a:moveTo>
                    <a:cubicBezTo>
                      <a:pt x="119008" y="44628"/>
                      <a:pt x="119008" y="44628"/>
                      <a:pt x="119008" y="44628"/>
                    </a:cubicBezTo>
                    <a:cubicBezTo>
                      <a:pt x="95205" y="35702"/>
                      <a:pt x="32727" y="11901"/>
                      <a:pt x="8925" y="11901"/>
                    </a:cubicBezTo>
                    <a:cubicBezTo>
                      <a:pt x="8925" y="11901"/>
                      <a:pt x="8925" y="11901"/>
                      <a:pt x="5949" y="11901"/>
                    </a:cubicBezTo>
                    <a:cubicBezTo>
                      <a:pt x="2974" y="11901"/>
                      <a:pt x="0" y="8926"/>
                      <a:pt x="0" y="5950"/>
                    </a:cubicBezTo>
                    <a:cubicBezTo>
                      <a:pt x="0" y="2975"/>
                      <a:pt x="2974" y="0"/>
                      <a:pt x="5949" y="0"/>
                    </a:cubicBezTo>
                    <a:cubicBezTo>
                      <a:pt x="5949" y="0"/>
                      <a:pt x="5949" y="0"/>
                      <a:pt x="8925" y="0"/>
                    </a:cubicBezTo>
                    <a:cubicBezTo>
                      <a:pt x="38677" y="0"/>
                      <a:pt x="116032" y="32727"/>
                      <a:pt x="121983" y="35702"/>
                    </a:cubicBezTo>
                    <a:cubicBezTo>
                      <a:pt x="124957" y="35702"/>
                      <a:pt x="124957" y="41653"/>
                      <a:pt x="124957" y="44628"/>
                    </a:cubicBezTo>
                    <a:cubicBezTo>
                      <a:pt x="124957" y="44628"/>
                      <a:pt x="121983" y="44628"/>
                      <a:pt x="119008" y="44628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39E0A2AC-48C9-4FDE-B7E0-53719C327CC0}"/>
                  </a:ext>
                </a:extLst>
              </p:cNvPr>
              <p:cNvSpPr/>
              <p:nvPr/>
            </p:nvSpPr>
            <p:spPr>
              <a:xfrm>
                <a:off x="20640015" y="4267814"/>
                <a:ext cx="50578" cy="17851"/>
              </a:xfrm>
              <a:custGeom>
                <a:avLst/>
                <a:gdLst>
                  <a:gd name="connsiteX0" fmla="*/ 44628 w 50578"/>
                  <a:gd name="connsiteY0" fmla="*/ 17851 h 17851"/>
                  <a:gd name="connsiteX1" fmla="*/ 44628 w 50578"/>
                  <a:gd name="connsiteY1" fmla="*/ 17851 h 17851"/>
                  <a:gd name="connsiteX2" fmla="*/ 5951 w 50578"/>
                  <a:gd name="connsiteY2" fmla="*/ 11901 h 17851"/>
                  <a:gd name="connsiteX3" fmla="*/ 0 w 50578"/>
                  <a:gd name="connsiteY3" fmla="*/ 5950 h 17851"/>
                  <a:gd name="connsiteX4" fmla="*/ 5951 w 50578"/>
                  <a:gd name="connsiteY4" fmla="*/ 0 h 17851"/>
                  <a:gd name="connsiteX5" fmla="*/ 44628 w 50578"/>
                  <a:gd name="connsiteY5" fmla="*/ 5950 h 17851"/>
                  <a:gd name="connsiteX6" fmla="*/ 50579 w 50578"/>
                  <a:gd name="connsiteY6" fmla="*/ 11901 h 17851"/>
                  <a:gd name="connsiteX7" fmla="*/ 44628 w 50578"/>
                  <a:gd name="connsiteY7" fmla="*/ 17851 h 1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578" h="17851">
                    <a:moveTo>
                      <a:pt x="44628" y="17851"/>
                    </a:moveTo>
                    <a:cubicBezTo>
                      <a:pt x="44628" y="17851"/>
                      <a:pt x="41654" y="17851"/>
                      <a:pt x="44628" y="17851"/>
                    </a:cubicBezTo>
                    <a:lnTo>
                      <a:pt x="5951" y="11901"/>
                    </a:lnTo>
                    <a:cubicBezTo>
                      <a:pt x="2976" y="11901"/>
                      <a:pt x="0" y="8925"/>
                      <a:pt x="0" y="5950"/>
                    </a:cubicBezTo>
                    <a:cubicBezTo>
                      <a:pt x="0" y="2975"/>
                      <a:pt x="2976" y="0"/>
                      <a:pt x="5951" y="0"/>
                    </a:cubicBezTo>
                    <a:lnTo>
                      <a:pt x="44628" y="5950"/>
                    </a:lnTo>
                    <a:cubicBezTo>
                      <a:pt x="47604" y="5950"/>
                      <a:pt x="50579" y="8925"/>
                      <a:pt x="50579" y="11901"/>
                    </a:cubicBezTo>
                    <a:cubicBezTo>
                      <a:pt x="47604" y="17851"/>
                      <a:pt x="47604" y="17851"/>
                      <a:pt x="44628" y="17851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F51CF49E-D1F6-4614-B6E8-DB395ABF4B50}"/>
                  </a:ext>
                </a:extLst>
              </p:cNvPr>
              <p:cNvSpPr/>
              <p:nvPr/>
            </p:nvSpPr>
            <p:spPr>
              <a:xfrm>
                <a:off x="20607288" y="4193434"/>
                <a:ext cx="21235" cy="80330"/>
              </a:xfrm>
              <a:custGeom>
                <a:avLst/>
                <a:gdLst>
                  <a:gd name="connsiteX0" fmla="*/ 5951 w 21235"/>
                  <a:gd name="connsiteY0" fmla="*/ 80330 h 80330"/>
                  <a:gd name="connsiteX1" fmla="*/ 5951 w 21235"/>
                  <a:gd name="connsiteY1" fmla="*/ 80330 h 80330"/>
                  <a:gd name="connsiteX2" fmla="*/ 0 w 21235"/>
                  <a:gd name="connsiteY2" fmla="*/ 71405 h 80330"/>
                  <a:gd name="connsiteX3" fmla="*/ 8925 w 21235"/>
                  <a:gd name="connsiteY3" fmla="*/ 5950 h 80330"/>
                  <a:gd name="connsiteX4" fmla="*/ 11900 w 21235"/>
                  <a:gd name="connsiteY4" fmla="*/ 0 h 80330"/>
                  <a:gd name="connsiteX5" fmla="*/ 17851 w 21235"/>
                  <a:gd name="connsiteY5" fmla="*/ 2975 h 80330"/>
                  <a:gd name="connsiteX6" fmla="*/ 8925 w 21235"/>
                  <a:gd name="connsiteY6" fmla="*/ 77355 h 80330"/>
                  <a:gd name="connsiteX7" fmla="*/ 5951 w 21235"/>
                  <a:gd name="connsiteY7" fmla="*/ 80330 h 80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235" h="80330">
                    <a:moveTo>
                      <a:pt x="5951" y="80330"/>
                    </a:moveTo>
                    <a:cubicBezTo>
                      <a:pt x="2974" y="80330"/>
                      <a:pt x="2974" y="80330"/>
                      <a:pt x="5951" y="80330"/>
                    </a:cubicBezTo>
                    <a:cubicBezTo>
                      <a:pt x="0" y="77355"/>
                      <a:pt x="0" y="74380"/>
                      <a:pt x="0" y="71405"/>
                    </a:cubicBezTo>
                    <a:cubicBezTo>
                      <a:pt x="17851" y="38678"/>
                      <a:pt x="8925" y="5950"/>
                      <a:pt x="8925" y="5950"/>
                    </a:cubicBezTo>
                    <a:cubicBezTo>
                      <a:pt x="8925" y="2975"/>
                      <a:pt x="8925" y="0"/>
                      <a:pt x="11900" y="0"/>
                    </a:cubicBezTo>
                    <a:cubicBezTo>
                      <a:pt x="14876" y="0"/>
                      <a:pt x="17851" y="0"/>
                      <a:pt x="17851" y="2975"/>
                    </a:cubicBezTo>
                    <a:cubicBezTo>
                      <a:pt x="17851" y="5950"/>
                      <a:pt x="29752" y="41653"/>
                      <a:pt x="8925" y="77355"/>
                    </a:cubicBezTo>
                    <a:cubicBezTo>
                      <a:pt x="8925" y="80330"/>
                      <a:pt x="5951" y="80330"/>
                      <a:pt x="5951" y="80330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7E83BE77-1C98-42FE-816E-EDABF2C75102}"/>
                </a:ext>
              </a:extLst>
            </p:cNvPr>
            <p:cNvSpPr/>
            <p:nvPr/>
          </p:nvSpPr>
          <p:spPr>
            <a:xfrm>
              <a:off x="19880956" y="3266731"/>
              <a:ext cx="675753" cy="1033810"/>
            </a:xfrm>
            <a:custGeom>
              <a:avLst/>
              <a:gdLst>
                <a:gd name="connsiteX0" fmla="*/ 381 w 675753"/>
                <a:gd name="connsiteY0" fmla="*/ 239430 h 1033810"/>
                <a:gd name="connsiteX1" fmla="*/ 164017 w 675753"/>
                <a:gd name="connsiteY1" fmla="*/ 1413 h 1033810"/>
                <a:gd name="connsiteX2" fmla="*/ 238397 w 675753"/>
                <a:gd name="connsiteY2" fmla="*/ 673810 h 1033810"/>
                <a:gd name="connsiteX3" fmla="*/ 675753 w 675753"/>
                <a:gd name="connsiteY3" fmla="*/ 896951 h 1033810"/>
                <a:gd name="connsiteX4" fmla="*/ 643027 w 675753"/>
                <a:gd name="connsiteY4" fmla="*/ 1033810 h 1033810"/>
                <a:gd name="connsiteX5" fmla="*/ 30133 w 675753"/>
                <a:gd name="connsiteY5" fmla="*/ 754141 h 1033810"/>
                <a:gd name="connsiteX6" fmla="*/ 381 w 675753"/>
                <a:gd name="connsiteY6" fmla="*/ 239430 h 103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5753" h="1033810">
                  <a:moveTo>
                    <a:pt x="381" y="239430"/>
                  </a:moveTo>
                  <a:cubicBezTo>
                    <a:pt x="3357" y="90670"/>
                    <a:pt x="89637" y="-13463"/>
                    <a:pt x="164017" y="1413"/>
                  </a:cubicBezTo>
                  <a:cubicBezTo>
                    <a:pt x="253273" y="22240"/>
                    <a:pt x="217571" y="650008"/>
                    <a:pt x="238397" y="673810"/>
                  </a:cubicBezTo>
                  <a:cubicBezTo>
                    <a:pt x="259224" y="733314"/>
                    <a:pt x="675753" y="896951"/>
                    <a:pt x="675753" y="896951"/>
                  </a:cubicBezTo>
                  <a:cubicBezTo>
                    <a:pt x="660877" y="923727"/>
                    <a:pt x="643027" y="1033810"/>
                    <a:pt x="643027" y="1033810"/>
                  </a:cubicBezTo>
                  <a:cubicBezTo>
                    <a:pt x="643027" y="1033810"/>
                    <a:pt x="56910" y="828521"/>
                    <a:pt x="30133" y="754141"/>
                  </a:cubicBezTo>
                  <a:cubicBezTo>
                    <a:pt x="12282" y="691661"/>
                    <a:pt x="-2594" y="438769"/>
                    <a:pt x="381" y="239430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3E7112E1-6B8A-4101-8BE1-5FC0139BB147}"/>
                </a:ext>
              </a:extLst>
            </p:cNvPr>
            <p:cNvSpPr/>
            <p:nvPr/>
          </p:nvSpPr>
          <p:spPr>
            <a:xfrm>
              <a:off x="20011014" y="3260962"/>
              <a:ext cx="554620" cy="908670"/>
            </a:xfrm>
            <a:custGeom>
              <a:avLst/>
              <a:gdLst>
                <a:gd name="connsiteX0" fmla="*/ 548670 w 554620"/>
                <a:gd name="connsiteY0" fmla="*/ 908670 h 908670"/>
                <a:gd name="connsiteX1" fmla="*/ 548670 w 554620"/>
                <a:gd name="connsiteY1" fmla="*/ 908670 h 908670"/>
                <a:gd name="connsiteX2" fmla="*/ 105365 w 554620"/>
                <a:gd name="connsiteY2" fmla="*/ 682555 h 908670"/>
                <a:gd name="connsiteX3" fmla="*/ 105365 w 554620"/>
                <a:gd name="connsiteY3" fmla="*/ 605199 h 908670"/>
                <a:gd name="connsiteX4" fmla="*/ 4207 w 554620"/>
                <a:gd name="connsiteY4" fmla="*/ 10158 h 908670"/>
                <a:gd name="connsiteX5" fmla="*/ 1233 w 554620"/>
                <a:gd name="connsiteY5" fmla="*/ 4208 h 908670"/>
                <a:gd name="connsiteX6" fmla="*/ 7184 w 554620"/>
                <a:gd name="connsiteY6" fmla="*/ 1232 h 908670"/>
                <a:gd name="connsiteX7" fmla="*/ 117265 w 554620"/>
                <a:gd name="connsiteY7" fmla="*/ 608175 h 908670"/>
                <a:gd name="connsiteX8" fmla="*/ 117265 w 554620"/>
                <a:gd name="connsiteY8" fmla="*/ 679580 h 908670"/>
                <a:gd name="connsiteX9" fmla="*/ 551646 w 554620"/>
                <a:gd name="connsiteY9" fmla="*/ 899745 h 908670"/>
                <a:gd name="connsiteX10" fmla="*/ 554621 w 554620"/>
                <a:gd name="connsiteY10" fmla="*/ 905695 h 908670"/>
                <a:gd name="connsiteX11" fmla="*/ 548670 w 554620"/>
                <a:gd name="connsiteY11" fmla="*/ 908670 h 908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4620" h="908670">
                  <a:moveTo>
                    <a:pt x="548670" y="908670"/>
                  </a:moveTo>
                  <a:cubicBezTo>
                    <a:pt x="548670" y="908670"/>
                    <a:pt x="548670" y="908670"/>
                    <a:pt x="548670" y="908670"/>
                  </a:cubicBezTo>
                  <a:cubicBezTo>
                    <a:pt x="474290" y="875943"/>
                    <a:pt x="117265" y="718257"/>
                    <a:pt x="105365" y="682555"/>
                  </a:cubicBezTo>
                  <a:cubicBezTo>
                    <a:pt x="102389" y="676604"/>
                    <a:pt x="105365" y="655778"/>
                    <a:pt x="105365" y="605199"/>
                  </a:cubicBezTo>
                  <a:cubicBezTo>
                    <a:pt x="111316" y="447513"/>
                    <a:pt x="129166" y="33960"/>
                    <a:pt x="4207" y="10158"/>
                  </a:cubicBezTo>
                  <a:cubicBezTo>
                    <a:pt x="1233" y="10158"/>
                    <a:pt x="-1743" y="7183"/>
                    <a:pt x="1233" y="4208"/>
                  </a:cubicBezTo>
                  <a:cubicBezTo>
                    <a:pt x="1233" y="1232"/>
                    <a:pt x="4207" y="-1743"/>
                    <a:pt x="7184" y="1232"/>
                  </a:cubicBezTo>
                  <a:cubicBezTo>
                    <a:pt x="141068" y="28009"/>
                    <a:pt x="123216" y="435612"/>
                    <a:pt x="117265" y="608175"/>
                  </a:cubicBezTo>
                  <a:cubicBezTo>
                    <a:pt x="117265" y="643877"/>
                    <a:pt x="114290" y="676604"/>
                    <a:pt x="117265" y="679580"/>
                  </a:cubicBezTo>
                  <a:cubicBezTo>
                    <a:pt x="126192" y="703381"/>
                    <a:pt x="388010" y="825365"/>
                    <a:pt x="551646" y="899745"/>
                  </a:cubicBezTo>
                  <a:cubicBezTo>
                    <a:pt x="554621" y="899745"/>
                    <a:pt x="554621" y="905695"/>
                    <a:pt x="554621" y="905695"/>
                  </a:cubicBezTo>
                  <a:cubicBezTo>
                    <a:pt x="554621" y="908670"/>
                    <a:pt x="551646" y="908670"/>
                    <a:pt x="548670" y="908670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D897AA73-C9E4-4A9B-9D64-3087C27818A2}"/>
                </a:ext>
              </a:extLst>
            </p:cNvPr>
            <p:cNvSpPr/>
            <p:nvPr/>
          </p:nvSpPr>
          <p:spPr>
            <a:xfrm>
              <a:off x="19884313" y="3794756"/>
              <a:ext cx="523635" cy="467107"/>
            </a:xfrm>
            <a:custGeom>
              <a:avLst/>
              <a:gdLst>
                <a:gd name="connsiteX0" fmla="*/ 517685 w 523635"/>
                <a:gd name="connsiteY0" fmla="*/ 467107 h 467107"/>
                <a:gd name="connsiteX1" fmla="*/ 517685 w 523635"/>
                <a:gd name="connsiteY1" fmla="*/ 467107 h 467107"/>
                <a:gd name="connsiteX2" fmla="*/ 29752 w 523635"/>
                <a:gd name="connsiteY2" fmla="*/ 232066 h 467107"/>
                <a:gd name="connsiteX3" fmla="*/ 0 w 523635"/>
                <a:gd name="connsiteY3" fmla="*/ 5950 h 467107"/>
                <a:gd name="connsiteX4" fmla="*/ 5949 w 523635"/>
                <a:gd name="connsiteY4" fmla="*/ 0 h 467107"/>
                <a:gd name="connsiteX5" fmla="*/ 5949 w 523635"/>
                <a:gd name="connsiteY5" fmla="*/ 0 h 467107"/>
                <a:gd name="connsiteX6" fmla="*/ 11900 w 523635"/>
                <a:gd name="connsiteY6" fmla="*/ 5950 h 467107"/>
                <a:gd name="connsiteX7" fmla="*/ 35701 w 523635"/>
                <a:gd name="connsiteY7" fmla="*/ 223141 h 467107"/>
                <a:gd name="connsiteX8" fmla="*/ 520661 w 523635"/>
                <a:gd name="connsiteY8" fmla="*/ 458182 h 467107"/>
                <a:gd name="connsiteX9" fmla="*/ 523636 w 523635"/>
                <a:gd name="connsiteY9" fmla="*/ 464132 h 467107"/>
                <a:gd name="connsiteX10" fmla="*/ 517685 w 523635"/>
                <a:gd name="connsiteY10" fmla="*/ 467107 h 467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3635" h="467107">
                  <a:moveTo>
                    <a:pt x="517685" y="467107"/>
                  </a:moveTo>
                  <a:cubicBezTo>
                    <a:pt x="514710" y="467107"/>
                    <a:pt x="514710" y="467107"/>
                    <a:pt x="517685" y="467107"/>
                  </a:cubicBezTo>
                  <a:cubicBezTo>
                    <a:pt x="499834" y="461157"/>
                    <a:pt x="119008" y="294546"/>
                    <a:pt x="29752" y="232066"/>
                  </a:cubicBezTo>
                  <a:cubicBezTo>
                    <a:pt x="0" y="211240"/>
                    <a:pt x="0" y="41653"/>
                    <a:pt x="0" y="5950"/>
                  </a:cubicBezTo>
                  <a:cubicBezTo>
                    <a:pt x="0" y="2975"/>
                    <a:pt x="2974" y="0"/>
                    <a:pt x="5949" y="0"/>
                  </a:cubicBezTo>
                  <a:lnTo>
                    <a:pt x="5949" y="0"/>
                  </a:lnTo>
                  <a:cubicBezTo>
                    <a:pt x="8925" y="0"/>
                    <a:pt x="11900" y="2975"/>
                    <a:pt x="11900" y="5950"/>
                  </a:cubicBezTo>
                  <a:cubicBezTo>
                    <a:pt x="11900" y="83306"/>
                    <a:pt x="17851" y="208264"/>
                    <a:pt x="35701" y="223141"/>
                  </a:cubicBezTo>
                  <a:cubicBezTo>
                    <a:pt x="124957" y="285620"/>
                    <a:pt x="517685" y="455206"/>
                    <a:pt x="520661" y="458182"/>
                  </a:cubicBezTo>
                  <a:cubicBezTo>
                    <a:pt x="523636" y="458182"/>
                    <a:pt x="523636" y="461157"/>
                    <a:pt x="523636" y="464132"/>
                  </a:cubicBezTo>
                  <a:cubicBezTo>
                    <a:pt x="520661" y="467107"/>
                    <a:pt x="517685" y="467107"/>
                    <a:pt x="517685" y="467107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190060157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DD25CC02-3DEC-438B-B267-AD11783865E3}"/>
              </a:ext>
            </a:extLst>
          </p:cNvPr>
          <p:cNvGrpSpPr/>
          <p:nvPr/>
        </p:nvGrpSpPr>
        <p:grpSpPr>
          <a:xfrm>
            <a:off x="1065298" y="1796610"/>
            <a:ext cx="5601202" cy="5061389"/>
            <a:chOff x="2215672" y="7447746"/>
            <a:chExt cx="5601202" cy="5061389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D8726CB3-722B-4C18-8D3C-AD238D29D5AD}"/>
                </a:ext>
              </a:extLst>
            </p:cNvPr>
            <p:cNvSpPr/>
            <p:nvPr/>
          </p:nvSpPr>
          <p:spPr>
            <a:xfrm>
              <a:off x="4487618" y="11905157"/>
              <a:ext cx="2186776" cy="563317"/>
            </a:xfrm>
            <a:custGeom>
              <a:avLst/>
              <a:gdLst>
                <a:gd name="connsiteX0" fmla="*/ 2186777 w 2186776"/>
                <a:gd name="connsiteY0" fmla="*/ 547450 h 563317"/>
                <a:gd name="connsiteX1" fmla="*/ 1121653 w 2186776"/>
                <a:gd name="connsiteY1" fmla="*/ 12 h 563317"/>
                <a:gd name="connsiteX2" fmla="*/ 0 w 2186776"/>
                <a:gd name="connsiteY2" fmla="*/ 547450 h 563317"/>
                <a:gd name="connsiteX3" fmla="*/ 2186777 w 2186776"/>
                <a:gd name="connsiteY3" fmla="*/ 547450 h 563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6776" h="563317">
                  <a:moveTo>
                    <a:pt x="2186777" y="547450"/>
                  </a:moveTo>
                  <a:cubicBezTo>
                    <a:pt x="2186777" y="547450"/>
                    <a:pt x="1585785" y="-2963"/>
                    <a:pt x="1121653" y="12"/>
                  </a:cubicBezTo>
                  <a:cubicBezTo>
                    <a:pt x="657521" y="2987"/>
                    <a:pt x="0" y="547450"/>
                    <a:pt x="0" y="547450"/>
                  </a:cubicBezTo>
                  <a:cubicBezTo>
                    <a:pt x="0" y="547450"/>
                    <a:pt x="1758347" y="583153"/>
                    <a:pt x="2186777" y="547450"/>
                  </a:cubicBezTo>
                  <a:close/>
                </a:path>
              </a:pathLst>
            </a:custGeom>
            <a:solidFill>
              <a:srgbClr val="F6EBE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4E4AE369-60CE-440D-AAC8-1B5ECE6E6EDC}"/>
                </a:ext>
              </a:extLst>
            </p:cNvPr>
            <p:cNvSpPr/>
            <p:nvPr/>
          </p:nvSpPr>
          <p:spPr>
            <a:xfrm>
              <a:off x="5954395" y="11988475"/>
              <a:ext cx="1862479" cy="480330"/>
            </a:xfrm>
            <a:custGeom>
              <a:avLst/>
              <a:gdLst>
                <a:gd name="connsiteX0" fmla="*/ 1862480 w 1862479"/>
                <a:gd name="connsiteY0" fmla="*/ 467108 h 480330"/>
                <a:gd name="connsiteX1" fmla="*/ 955042 w 1862479"/>
                <a:gd name="connsiteY1" fmla="*/ 0 h 480330"/>
                <a:gd name="connsiteX2" fmla="*/ 0 w 1862479"/>
                <a:gd name="connsiteY2" fmla="*/ 467108 h 480330"/>
                <a:gd name="connsiteX3" fmla="*/ 1862480 w 1862479"/>
                <a:gd name="connsiteY3" fmla="*/ 467108 h 480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2479" h="480330">
                  <a:moveTo>
                    <a:pt x="1862480" y="467108"/>
                  </a:moveTo>
                  <a:cubicBezTo>
                    <a:pt x="1862480" y="467108"/>
                    <a:pt x="1350744" y="0"/>
                    <a:pt x="955042" y="0"/>
                  </a:cubicBezTo>
                  <a:cubicBezTo>
                    <a:pt x="559339" y="2975"/>
                    <a:pt x="0" y="467108"/>
                    <a:pt x="0" y="467108"/>
                  </a:cubicBezTo>
                  <a:cubicBezTo>
                    <a:pt x="0" y="467108"/>
                    <a:pt x="1496529" y="496860"/>
                    <a:pt x="1862480" y="467108"/>
                  </a:cubicBezTo>
                  <a:close/>
                </a:path>
              </a:pathLst>
            </a:custGeom>
            <a:solidFill>
              <a:srgbClr val="F6EBE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E6F910BF-5A3A-4940-8911-C2B4647D3773}"/>
                </a:ext>
              </a:extLst>
            </p:cNvPr>
            <p:cNvSpPr/>
            <p:nvPr/>
          </p:nvSpPr>
          <p:spPr>
            <a:xfrm>
              <a:off x="3026262" y="12155086"/>
              <a:ext cx="2752596" cy="354049"/>
            </a:xfrm>
            <a:custGeom>
              <a:avLst/>
              <a:gdLst>
                <a:gd name="connsiteX0" fmla="*/ 744332 w 2752596"/>
                <a:gd name="connsiteY0" fmla="*/ 354049 h 354049"/>
                <a:gd name="connsiteX1" fmla="*/ 2752596 w 2752596"/>
                <a:gd name="connsiteY1" fmla="*/ 354049 h 354049"/>
                <a:gd name="connsiteX2" fmla="*/ 2752596 w 2752596"/>
                <a:gd name="connsiteY2" fmla="*/ 294545 h 354049"/>
                <a:gd name="connsiteX3" fmla="*/ 744332 w 2752596"/>
                <a:gd name="connsiteY3" fmla="*/ 294545 h 354049"/>
                <a:gd name="connsiteX4" fmla="*/ 321852 w 2752596"/>
                <a:gd name="connsiteY4" fmla="*/ 199339 h 354049"/>
                <a:gd name="connsiteX5" fmla="*/ 6480 w 2752596"/>
                <a:gd name="connsiteY5" fmla="*/ 0 h 354049"/>
                <a:gd name="connsiteX6" fmla="*/ 6480 w 2752596"/>
                <a:gd name="connsiteY6" fmla="*/ 0 h 354049"/>
                <a:gd name="connsiteX7" fmla="*/ 30282 w 2752596"/>
                <a:gd name="connsiteY7" fmla="*/ 86281 h 354049"/>
                <a:gd name="connsiteX8" fmla="*/ 295076 w 2752596"/>
                <a:gd name="connsiteY8" fmla="*/ 252893 h 354049"/>
                <a:gd name="connsiteX9" fmla="*/ 744332 w 2752596"/>
                <a:gd name="connsiteY9" fmla="*/ 354049 h 35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52596" h="354049">
                  <a:moveTo>
                    <a:pt x="744332" y="354049"/>
                  </a:moveTo>
                  <a:lnTo>
                    <a:pt x="2752596" y="354049"/>
                  </a:lnTo>
                  <a:lnTo>
                    <a:pt x="2752596" y="294545"/>
                  </a:lnTo>
                  <a:lnTo>
                    <a:pt x="744332" y="294545"/>
                  </a:lnTo>
                  <a:cubicBezTo>
                    <a:pt x="598547" y="294545"/>
                    <a:pt x="449786" y="270744"/>
                    <a:pt x="321852" y="199339"/>
                  </a:cubicBezTo>
                  <a:cubicBezTo>
                    <a:pt x="241522" y="154711"/>
                    <a:pt x="6480" y="0"/>
                    <a:pt x="6480" y="0"/>
                  </a:cubicBezTo>
                  <a:lnTo>
                    <a:pt x="6480" y="0"/>
                  </a:lnTo>
                  <a:cubicBezTo>
                    <a:pt x="-8396" y="29752"/>
                    <a:pt x="3505" y="68430"/>
                    <a:pt x="30282" y="86281"/>
                  </a:cubicBezTo>
                  <a:cubicBezTo>
                    <a:pt x="30282" y="86281"/>
                    <a:pt x="226646" y="217191"/>
                    <a:pt x="295076" y="252893"/>
                  </a:cubicBezTo>
                  <a:cubicBezTo>
                    <a:pt x="431935" y="327273"/>
                    <a:pt x="589621" y="354049"/>
                    <a:pt x="744332" y="354049"/>
                  </a:cubicBezTo>
                  <a:close/>
                </a:path>
              </a:pathLst>
            </a:custGeom>
            <a:solidFill>
              <a:srgbClr val="C45651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711B1E4F-4FFF-435A-A841-62A4436ECCF4}"/>
                </a:ext>
              </a:extLst>
            </p:cNvPr>
            <p:cNvSpPr/>
            <p:nvPr/>
          </p:nvSpPr>
          <p:spPr>
            <a:xfrm>
              <a:off x="4008632" y="9944508"/>
              <a:ext cx="1603614" cy="2240330"/>
            </a:xfrm>
            <a:custGeom>
              <a:avLst/>
              <a:gdLst>
                <a:gd name="connsiteX0" fmla="*/ 318325 w 1603614"/>
                <a:gd name="connsiteY0" fmla="*/ 20826 h 2240330"/>
                <a:gd name="connsiteX1" fmla="*/ 2953 w 1603614"/>
                <a:gd name="connsiteY1" fmla="*/ 1383471 h 2240330"/>
                <a:gd name="connsiteX2" fmla="*/ 151713 w 1603614"/>
                <a:gd name="connsiteY2" fmla="*/ 2240330 h 2240330"/>
                <a:gd name="connsiteX3" fmla="*/ 440308 w 1603614"/>
                <a:gd name="connsiteY3" fmla="*/ 2240330 h 2240330"/>
                <a:gd name="connsiteX4" fmla="*/ 395680 w 1603614"/>
                <a:gd name="connsiteY4" fmla="*/ 1407272 h 2240330"/>
                <a:gd name="connsiteX5" fmla="*/ 803284 w 1603614"/>
                <a:gd name="connsiteY5" fmla="*/ 490909 h 2240330"/>
                <a:gd name="connsiteX6" fmla="*/ 850887 w 1603614"/>
                <a:gd name="connsiteY6" fmla="*/ 1306116 h 2240330"/>
                <a:gd name="connsiteX7" fmla="*/ 895515 w 1603614"/>
                <a:gd name="connsiteY7" fmla="*/ 1445951 h 2240330"/>
                <a:gd name="connsiteX8" fmla="*/ 1323945 w 1603614"/>
                <a:gd name="connsiteY8" fmla="*/ 2219504 h 2240330"/>
                <a:gd name="connsiteX9" fmla="*/ 1603614 w 1603614"/>
                <a:gd name="connsiteY9" fmla="*/ 2207603 h 2240330"/>
                <a:gd name="connsiteX10" fmla="*/ 1297168 w 1603614"/>
                <a:gd name="connsiteY10" fmla="*/ 1329917 h 2240330"/>
                <a:gd name="connsiteX11" fmla="*/ 1315019 w 1603614"/>
                <a:gd name="connsiteY11" fmla="*/ 0 h 2240330"/>
                <a:gd name="connsiteX12" fmla="*/ 318325 w 1603614"/>
                <a:gd name="connsiteY12" fmla="*/ 20826 h 2240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03614" h="2240330">
                  <a:moveTo>
                    <a:pt x="318325" y="20826"/>
                  </a:moveTo>
                  <a:cubicBezTo>
                    <a:pt x="318325" y="20826"/>
                    <a:pt x="-35725" y="1080000"/>
                    <a:pt x="2953" y="1383471"/>
                  </a:cubicBezTo>
                  <a:cubicBezTo>
                    <a:pt x="32705" y="1648264"/>
                    <a:pt x="151713" y="2240330"/>
                    <a:pt x="151713" y="2240330"/>
                  </a:cubicBezTo>
                  <a:lnTo>
                    <a:pt x="440308" y="2240330"/>
                  </a:lnTo>
                  <a:cubicBezTo>
                    <a:pt x="440308" y="2240330"/>
                    <a:pt x="389730" y="1502479"/>
                    <a:pt x="395680" y="1407272"/>
                  </a:cubicBezTo>
                  <a:cubicBezTo>
                    <a:pt x="401631" y="1270413"/>
                    <a:pt x="788408" y="520661"/>
                    <a:pt x="803284" y="490909"/>
                  </a:cubicBezTo>
                  <a:cubicBezTo>
                    <a:pt x="815184" y="467107"/>
                    <a:pt x="821135" y="1151404"/>
                    <a:pt x="850887" y="1306116"/>
                  </a:cubicBezTo>
                  <a:cubicBezTo>
                    <a:pt x="859812" y="1359669"/>
                    <a:pt x="865763" y="1401323"/>
                    <a:pt x="895515" y="1445951"/>
                  </a:cubicBezTo>
                  <a:lnTo>
                    <a:pt x="1323945" y="2219504"/>
                  </a:lnTo>
                  <a:lnTo>
                    <a:pt x="1603614" y="2207603"/>
                  </a:lnTo>
                  <a:cubicBezTo>
                    <a:pt x="1603614" y="2207603"/>
                    <a:pt x="1320969" y="1440000"/>
                    <a:pt x="1297168" y="1329917"/>
                  </a:cubicBezTo>
                  <a:cubicBezTo>
                    <a:pt x="1264441" y="1184132"/>
                    <a:pt x="1359647" y="95206"/>
                    <a:pt x="1315019" y="0"/>
                  </a:cubicBezTo>
                  <a:cubicBezTo>
                    <a:pt x="633697" y="32727"/>
                    <a:pt x="318325" y="20826"/>
                    <a:pt x="318325" y="20826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F4833356-C7D3-4472-83D6-3B885ABC8EBC}"/>
                </a:ext>
              </a:extLst>
            </p:cNvPr>
            <p:cNvSpPr/>
            <p:nvPr/>
          </p:nvSpPr>
          <p:spPr>
            <a:xfrm>
              <a:off x="4749436" y="10090293"/>
              <a:ext cx="68429" cy="354049"/>
            </a:xfrm>
            <a:custGeom>
              <a:avLst/>
              <a:gdLst>
                <a:gd name="connsiteX0" fmla="*/ 62480 w 68429"/>
                <a:gd name="connsiteY0" fmla="*/ 354049 h 354049"/>
                <a:gd name="connsiteX1" fmla="*/ 56529 w 68429"/>
                <a:gd name="connsiteY1" fmla="*/ 351074 h 354049"/>
                <a:gd name="connsiteX2" fmla="*/ 0 w 68429"/>
                <a:gd name="connsiteY2" fmla="*/ 5951 h 354049"/>
                <a:gd name="connsiteX3" fmla="*/ 5951 w 68429"/>
                <a:gd name="connsiteY3" fmla="*/ 0 h 354049"/>
                <a:gd name="connsiteX4" fmla="*/ 11901 w 68429"/>
                <a:gd name="connsiteY4" fmla="*/ 5951 h 354049"/>
                <a:gd name="connsiteX5" fmla="*/ 68430 w 68429"/>
                <a:gd name="connsiteY5" fmla="*/ 348100 h 354049"/>
                <a:gd name="connsiteX6" fmla="*/ 62480 w 68429"/>
                <a:gd name="connsiteY6" fmla="*/ 354049 h 354049"/>
                <a:gd name="connsiteX7" fmla="*/ 62480 w 68429"/>
                <a:gd name="connsiteY7" fmla="*/ 354049 h 35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429" h="354049">
                  <a:moveTo>
                    <a:pt x="62480" y="354049"/>
                  </a:moveTo>
                  <a:cubicBezTo>
                    <a:pt x="59504" y="354049"/>
                    <a:pt x="59504" y="354049"/>
                    <a:pt x="56529" y="351074"/>
                  </a:cubicBezTo>
                  <a:cubicBezTo>
                    <a:pt x="8926" y="238017"/>
                    <a:pt x="0" y="14876"/>
                    <a:pt x="0" y="5951"/>
                  </a:cubicBezTo>
                  <a:cubicBezTo>
                    <a:pt x="0" y="2975"/>
                    <a:pt x="2975" y="0"/>
                    <a:pt x="5951" y="0"/>
                  </a:cubicBezTo>
                  <a:cubicBezTo>
                    <a:pt x="8926" y="0"/>
                    <a:pt x="11901" y="2975"/>
                    <a:pt x="11901" y="5951"/>
                  </a:cubicBezTo>
                  <a:cubicBezTo>
                    <a:pt x="11901" y="8925"/>
                    <a:pt x="20827" y="238017"/>
                    <a:pt x="68430" y="348100"/>
                  </a:cubicBezTo>
                  <a:cubicBezTo>
                    <a:pt x="68430" y="348100"/>
                    <a:pt x="65455" y="351074"/>
                    <a:pt x="62480" y="354049"/>
                  </a:cubicBezTo>
                  <a:cubicBezTo>
                    <a:pt x="62480" y="354049"/>
                    <a:pt x="62480" y="354049"/>
                    <a:pt x="62480" y="354049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0E57CAED-EF05-4F89-9CFB-02DB046871EE}"/>
                </a:ext>
              </a:extLst>
            </p:cNvPr>
            <p:cNvSpPr/>
            <p:nvPr/>
          </p:nvSpPr>
          <p:spPr>
            <a:xfrm>
              <a:off x="4639354" y="10021864"/>
              <a:ext cx="151735" cy="345123"/>
            </a:xfrm>
            <a:custGeom>
              <a:avLst/>
              <a:gdLst>
                <a:gd name="connsiteX0" fmla="*/ 142810 w 151735"/>
                <a:gd name="connsiteY0" fmla="*/ 345123 h 345123"/>
                <a:gd name="connsiteX1" fmla="*/ 139835 w 151735"/>
                <a:gd name="connsiteY1" fmla="*/ 345123 h 345123"/>
                <a:gd name="connsiteX2" fmla="*/ 32727 w 151735"/>
                <a:gd name="connsiteY2" fmla="*/ 267769 h 345123"/>
                <a:gd name="connsiteX3" fmla="*/ 0 w 151735"/>
                <a:gd name="connsiteY3" fmla="*/ 5950 h 345123"/>
                <a:gd name="connsiteX4" fmla="*/ 5950 w 151735"/>
                <a:gd name="connsiteY4" fmla="*/ 0 h 345123"/>
                <a:gd name="connsiteX5" fmla="*/ 11901 w 151735"/>
                <a:gd name="connsiteY5" fmla="*/ 5950 h 345123"/>
                <a:gd name="connsiteX6" fmla="*/ 44628 w 151735"/>
                <a:gd name="connsiteY6" fmla="*/ 261818 h 345123"/>
                <a:gd name="connsiteX7" fmla="*/ 148760 w 151735"/>
                <a:gd name="connsiteY7" fmla="*/ 336198 h 345123"/>
                <a:gd name="connsiteX8" fmla="*/ 151736 w 151735"/>
                <a:gd name="connsiteY8" fmla="*/ 345123 h 345123"/>
                <a:gd name="connsiteX9" fmla="*/ 142810 w 151735"/>
                <a:gd name="connsiteY9" fmla="*/ 345123 h 345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1735" h="345123">
                  <a:moveTo>
                    <a:pt x="142810" y="345123"/>
                  </a:moveTo>
                  <a:cubicBezTo>
                    <a:pt x="142810" y="345123"/>
                    <a:pt x="139835" y="345123"/>
                    <a:pt x="139835" y="345123"/>
                  </a:cubicBezTo>
                  <a:cubicBezTo>
                    <a:pt x="130909" y="339173"/>
                    <a:pt x="44628" y="282645"/>
                    <a:pt x="32727" y="267769"/>
                  </a:cubicBezTo>
                  <a:cubicBezTo>
                    <a:pt x="20826" y="252893"/>
                    <a:pt x="2975" y="47603"/>
                    <a:pt x="0" y="5950"/>
                  </a:cubicBezTo>
                  <a:cubicBezTo>
                    <a:pt x="0" y="2974"/>
                    <a:pt x="2975" y="0"/>
                    <a:pt x="5950" y="0"/>
                  </a:cubicBezTo>
                  <a:cubicBezTo>
                    <a:pt x="8926" y="0"/>
                    <a:pt x="11901" y="2974"/>
                    <a:pt x="11901" y="5950"/>
                  </a:cubicBezTo>
                  <a:cubicBezTo>
                    <a:pt x="20826" y="98181"/>
                    <a:pt x="35702" y="249917"/>
                    <a:pt x="44628" y="261818"/>
                  </a:cubicBezTo>
                  <a:cubicBezTo>
                    <a:pt x="53554" y="270743"/>
                    <a:pt x="110083" y="312397"/>
                    <a:pt x="148760" y="336198"/>
                  </a:cubicBezTo>
                  <a:cubicBezTo>
                    <a:pt x="151736" y="339173"/>
                    <a:pt x="151736" y="342149"/>
                    <a:pt x="151736" y="345123"/>
                  </a:cubicBezTo>
                  <a:cubicBezTo>
                    <a:pt x="145785" y="342149"/>
                    <a:pt x="145785" y="345123"/>
                    <a:pt x="142810" y="345123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" name="图形 1">
              <a:extLst>
                <a:ext uri="{FF2B5EF4-FFF2-40B4-BE49-F238E27FC236}">
                  <a16:creationId xmlns:a16="http://schemas.microsoft.com/office/drawing/2014/main" id="{CA412D87-8DD3-4A9C-A63D-E3FBBD7E5300}"/>
                </a:ext>
              </a:extLst>
            </p:cNvPr>
            <p:cNvGrpSpPr/>
            <p:nvPr/>
          </p:nvGrpSpPr>
          <p:grpSpPr>
            <a:xfrm>
              <a:off x="5157040" y="12125334"/>
              <a:ext cx="483966" cy="330248"/>
              <a:chOff x="5157040" y="12125334"/>
              <a:chExt cx="483966" cy="330248"/>
            </a:xfrm>
          </p:grpSpPr>
          <p:grpSp>
            <p:nvGrpSpPr>
              <p:cNvPr id="75" name="图形 1">
                <a:extLst>
                  <a:ext uri="{FF2B5EF4-FFF2-40B4-BE49-F238E27FC236}">
                    <a16:creationId xmlns:a16="http://schemas.microsoft.com/office/drawing/2014/main" id="{EB121059-29C1-44AD-BBB3-795BF3DFDE6E}"/>
                  </a:ext>
                </a:extLst>
              </p:cNvPr>
              <p:cNvGrpSpPr/>
              <p:nvPr/>
            </p:nvGrpSpPr>
            <p:grpSpPr>
              <a:xfrm>
                <a:off x="5157040" y="12256243"/>
                <a:ext cx="483966" cy="199339"/>
                <a:chOff x="5157040" y="12256243"/>
                <a:chExt cx="483966" cy="199339"/>
              </a:xfrm>
            </p:grpSpPr>
            <p:sp>
              <p:nvSpPr>
                <p:cNvPr id="77" name="任意多边形: 形状 76">
                  <a:extLst>
                    <a:ext uri="{FF2B5EF4-FFF2-40B4-BE49-F238E27FC236}">
                      <a16:creationId xmlns:a16="http://schemas.microsoft.com/office/drawing/2014/main" id="{EDEC56CB-473D-464F-8C28-5BD5BBC5D89D}"/>
                    </a:ext>
                  </a:extLst>
                </p:cNvPr>
                <p:cNvSpPr/>
                <p:nvPr/>
              </p:nvSpPr>
              <p:spPr>
                <a:xfrm>
                  <a:off x="5157040" y="12256243"/>
                  <a:ext cx="483966" cy="157686"/>
                </a:xfrm>
                <a:custGeom>
                  <a:avLst/>
                  <a:gdLst>
                    <a:gd name="connsiteX0" fmla="*/ 476033 w 483966"/>
                    <a:gd name="connsiteY0" fmla="*/ 44628 h 157686"/>
                    <a:gd name="connsiteX1" fmla="*/ 294546 w 483966"/>
                    <a:gd name="connsiteY1" fmla="*/ 0 h 157686"/>
                    <a:gd name="connsiteX2" fmla="*/ 163636 w 483966"/>
                    <a:gd name="connsiteY2" fmla="*/ 53554 h 157686"/>
                    <a:gd name="connsiteX3" fmla="*/ 0 w 483966"/>
                    <a:gd name="connsiteY3" fmla="*/ 157687 h 157686"/>
                    <a:gd name="connsiteX4" fmla="*/ 476033 w 483966"/>
                    <a:gd name="connsiteY4" fmla="*/ 157687 h 157686"/>
                    <a:gd name="connsiteX5" fmla="*/ 476033 w 483966"/>
                    <a:gd name="connsiteY5" fmla="*/ 44628 h 157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3966" h="157686">
                      <a:moveTo>
                        <a:pt x="476033" y="44628"/>
                      </a:moveTo>
                      <a:cubicBezTo>
                        <a:pt x="476033" y="44628"/>
                        <a:pt x="354050" y="62480"/>
                        <a:pt x="294546" y="0"/>
                      </a:cubicBezTo>
                      <a:cubicBezTo>
                        <a:pt x="294546" y="0"/>
                        <a:pt x="211240" y="35703"/>
                        <a:pt x="163636" y="53554"/>
                      </a:cubicBezTo>
                      <a:cubicBezTo>
                        <a:pt x="121983" y="68430"/>
                        <a:pt x="11901" y="86282"/>
                        <a:pt x="0" y="157687"/>
                      </a:cubicBezTo>
                      <a:lnTo>
                        <a:pt x="476033" y="157687"/>
                      </a:lnTo>
                      <a:cubicBezTo>
                        <a:pt x="476033" y="154711"/>
                        <a:pt x="493884" y="95207"/>
                        <a:pt x="476033" y="4462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8" name="任意多边形: 形状 77">
                  <a:extLst>
                    <a:ext uri="{FF2B5EF4-FFF2-40B4-BE49-F238E27FC236}">
                      <a16:creationId xmlns:a16="http://schemas.microsoft.com/office/drawing/2014/main" id="{30919CA7-4534-4793-A8BC-1E7B0D9C3159}"/>
                    </a:ext>
                  </a:extLst>
                </p:cNvPr>
                <p:cNvSpPr/>
                <p:nvPr/>
              </p:nvSpPr>
              <p:spPr>
                <a:xfrm>
                  <a:off x="5157040" y="12410954"/>
                  <a:ext cx="476033" cy="44628"/>
                </a:xfrm>
                <a:custGeom>
                  <a:avLst/>
                  <a:gdLst>
                    <a:gd name="connsiteX0" fmla="*/ 0 w 476033"/>
                    <a:gd name="connsiteY0" fmla="*/ 0 h 44628"/>
                    <a:gd name="connsiteX1" fmla="*/ 476033 w 476033"/>
                    <a:gd name="connsiteY1" fmla="*/ 0 h 44628"/>
                    <a:gd name="connsiteX2" fmla="*/ 476033 w 476033"/>
                    <a:gd name="connsiteY2" fmla="*/ 44628 h 44628"/>
                    <a:gd name="connsiteX3" fmla="*/ 0 w 476033"/>
                    <a:gd name="connsiteY3" fmla="*/ 44628 h 4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033" h="44628">
                      <a:moveTo>
                        <a:pt x="0" y="0"/>
                      </a:moveTo>
                      <a:lnTo>
                        <a:pt x="476033" y="0"/>
                      </a:lnTo>
                      <a:lnTo>
                        <a:pt x="476033" y="44628"/>
                      </a:lnTo>
                      <a:lnTo>
                        <a:pt x="0" y="44628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303EC87F-8924-47E1-8F21-3895B234A305}"/>
                  </a:ext>
                </a:extLst>
              </p:cNvPr>
              <p:cNvSpPr/>
              <p:nvPr/>
            </p:nvSpPr>
            <p:spPr>
              <a:xfrm>
                <a:off x="5302825" y="12125334"/>
                <a:ext cx="332892" cy="285620"/>
              </a:xfrm>
              <a:custGeom>
                <a:avLst/>
                <a:gdLst>
                  <a:gd name="connsiteX0" fmla="*/ 330248 w 332892"/>
                  <a:gd name="connsiteY0" fmla="*/ 285620 h 285620"/>
                  <a:gd name="connsiteX1" fmla="*/ 330248 w 332892"/>
                  <a:gd name="connsiteY1" fmla="*/ 0 h 285620"/>
                  <a:gd name="connsiteX2" fmla="*/ 0 w 332892"/>
                  <a:gd name="connsiteY2" fmla="*/ 17851 h 285620"/>
                  <a:gd name="connsiteX3" fmla="*/ 80330 w 332892"/>
                  <a:gd name="connsiteY3" fmla="*/ 184463 h 285620"/>
                  <a:gd name="connsiteX4" fmla="*/ 330248 w 332892"/>
                  <a:gd name="connsiteY4" fmla="*/ 285620 h 285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2892" h="285620">
                    <a:moveTo>
                      <a:pt x="330248" y="285620"/>
                    </a:moveTo>
                    <a:cubicBezTo>
                      <a:pt x="330248" y="285620"/>
                      <a:pt x="336198" y="187439"/>
                      <a:pt x="330248" y="0"/>
                    </a:cubicBezTo>
                    <a:lnTo>
                      <a:pt x="0" y="17851"/>
                    </a:lnTo>
                    <a:lnTo>
                      <a:pt x="80330" y="184463"/>
                    </a:lnTo>
                    <a:lnTo>
                      <a:pt x="330248" y="285620"/>
                    </a:lnTo>
                    <a:close/>
                  </a:path>
                </a:pathLst>
              </a:custGeom>
              <a:solidFill>
                <a:srgbClr val="6C5D6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图形 1">
              <a:extLst>
                <a:ext uri="{FF2B5EF4-FFF2-40B4-BE49-F238E27FC236}">
                  <a16:creationId xmlns:a16="http://schemas.microsoft.com/office/drawing/2014/main" id="{B059B18C-306E-49E3-A911-495475B8737F}"/>
                </a:ext>
              </a:extLst>
            </p:cNvPr>
            <p:cNvGrpSpPr/>
            <p:nvPr/>
          </p:nvGrpSpPr>
          <p:grpSpPr>
            <a:xfrm>
              <a:off x="3955056" y="12134260"/>
              <a:ext cx="512317" cy="321321"/>
              <a:chOff x="3955056" y="12134260"/>
              <a:chExt cx="512317" cy="321321"/>
            </a:xfrm>
          </p:grpSpPr>
          <p:grpSp>
            <p:nvGrpSpPr>
              <p:cNvPr id="71" name="图形 1">
                <a:extLst>
                  <a:ext uri="{FF2B5EF4-FFF2-40B4-BE49-F238E27FC236}">
                    <a16:creationId xmlns:a16="http://schemas.microsoft.com/office/drawing/2014/main" id="{1D926204-A985-405D-94FD-ECFA0B4937CE}"/>
                  </a:ext>
                </a:extLst>
              </p:cNvPr>
              <p:cNvGrpSpPr/>
              <p:nvPr/>
            </p:nvGrpSpPr>
            <p:grpSpPr>
              <a:xfrm>
                <a:off x="3955056" y="12256243"/>
                <a:ext cx="483966" cy="199339"/>
                <a:chOff x="3955056" y="12256243"/>
                <a:chExt cx="483966" cy="199339"/>
              </a:xfrm>
            </p:grpSpPr>
            <p:sp>
              <p:nvSpPr>
                <p:cNvPr id="73" name="任意多边形: 形状 72">
                  <a:extLst>
                    <a:ext uri="{FF2B5EF4-FFF2-40B4-BE49-F238E27FC236}">
                      <a16:creationId xmlns:a16="http://schemas.microsoft.com/office/drawing/2014/main" id="{93092C23-E7F5-4C1A-8AB2-17AC365EE3EE}"/>
                    </a:ext>
                  </a:extLst>
                </p:cNvPr>
                <p:cNvSpPr/>
                <p:nvPr/>
              </p:nvSpPr>
              <p:spPr>
                <a:xfrm>
                  <a:off x="3955056" y="12256243"/>
                  <a:ext cx="483966" cy="157686"/>
                </a:xfrm>
                <a:custGeom>
                  <a:avLst/>
                  <a:gdLst>
                    <a:gd name="connsiteX0" fmla="*/ 476033 w 483966"/>
                    <a:gd name="connsiteY0" fmla="*/ 44628 h 157686"/>
                    <a:gd name="connsiteX1" fmla="*/ 294546 w 483966"/>
                    <a:gd name="connsiteY1" fmla="*/ 0 h 157686"/>
                    <a:gd name="connsiteX2" fmla="*/ 163636 w 483966"/>
                    <a:gd name="connsiteY2" fmla="*/ 53554 h 157686"/>
                    <a:gd name="connsiteX3" fmla="*/ 0 w 483966"/>
                    <a:gd name="connsiteY3" fmla="*/ 157687 h 157686"/>
                    <a:gd name="connsiteX4" fmla="*/ 476033 w 483966"/>
                    <a:gd name="connsiteY4" fmla="*/ 157687 h 157686"/>
                    <a:gd name="connsiteX5" fmla="*/ 476033 w 483966"/>
                    <a:gd name="connsiteY5" fmla="*/ 44628 h 157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83966" h="157686">
                      <a:moveTo>
                        <a:pt x="476033" y="44628"/>
                      </a:moveTo>
                      <a:cubicBezTo>
                        <a:pt x="476033" y="44628"/>
                        <a:pt x="354050" y="62480"/>
                        <a:pt x="294546" y="0"/>
                      </a:cubicBezTo>
                      <a:cubicBezTo>
                        <a:pt x="294546" y="0"/>
                        <a:pt x="211240" y="35703"/>
                        <a:pt x="163636" y="53554"/>
                      </a:cubicBezTo>
                      <a:cubicBezTo>
                        <a:pt x="121983" y="68430"/>
                        <a:pt x="11901" y="86282"/>
                        <a:pt x="0" y="157687"/>
                      </a:cubicBezTo>
                      <a:lnTo>
                        <a:pt x="476033" y="157687"/>
                      </a:lnTo>
                      <a:cubicBezTo>
                        <a:pt x="476033" y="154711"/>
                        <a:pt x="493884" y="95207"/>
                        <a:pt x="476033" y="44628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4" name="任意多边形: 形状 73">
                  <a:extLst>
                    <a:ext uri="{FF2B5EF4-FFF2-40B4-BE49-F238E27FC236}">
                      <a16:creationId xmlns:a16="http://schemas.microsoft.com/office/drawing/2014/main" id="{F180AD04-6C9A-4FCC-B9C1-C29EB04108A1}"/>
                    </a:ext>
                  </a:extLst>
                </p:cNvPr>
                <p:cNvSpPr/>
                <p:nvPr/>
              </p:nvSpPr>
              <p:spPr>
                <a:xfrm>
                  <a:off x="3955056" y="12410954"/>
                  <a:ext cx="476033" cy="44628"/>
                </a:xfrm>
                <a:custGeom>
                  <a:avLst/>
                  <a:gdLst>
                    <a:gd name="connsiteX0" fmla="*/ 0 w 476033"/>
                    <a:gd name="connsiteY0" fmla="*/ 0 h 44628"/>
                    <a:gd name="connsiteX1" fmla="*/ 476033 w 476033"/>
                    <a:gd name="connsiteY1" fmla="*/ 0 h 44628"/>
                    <a:gd name="connsiteX2" fmla="*/ 476033 w 476033"/>
                    <a:gd name="connsiteY2" fmla="*/ 44628 h 44628"/>
                    <a:gd name="connsiteX3" fmla="*/ 0 w 476033"/>
                    <a:gd name="connsiteY3" fmla="*/ 44628 h 4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033" h="44628">
                      <a:moveTo>
                        <a:pt x="0" y="0"/>
                      </a:moveTo>
                      <a:lnTo>
                        <a:pt x="476033" y="0"/>
                      </a:lnTo>
                      <a:lnTo>
                        <a:pt x="476033" y="44628"/>
                      </a:lnTo>
                      <a:lnTo>
                        <a:pt x="0" y="44628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D52BB1CA-28ED-4D65-93FC-9B23277354ED}"/>
                  </a:ext>
                </a:extLst>
              </p:cNvPr>
              <p:cNvSpPr/>
              <p:nvPr/>
            </p:nvSpPr>
            <p:spPr>
              <a:xfrm>
                <a:off x="4136544" y="12134260"/>
                <a:ext cx="330829" cy="276693"/>
              </a:xfrm>
              <a:custGeom>
                <a:avLst/>
                <a:gdLst>
                  <a:gd name="connsiteX0" fmla="*/ 294546 w 330829"/>
                  <a:gd name="connsiteY0" fmla="*/ 276694 h 276693"/>
                  <a:gd name="connsiteX1" fmla="*/ 330248 w 330829"/>
                  <a:gd name="connsiteY1" fmla="*/ 0 h 276693"/>
                  <a:gd name="connsiteX2" fmla="*/ 0 w 330829"/>
                  <a:gd name="connsiteY2" fmla="*/ 17851 h 276693"/>
                  <a:gd name="connsiteX3" fmla="*/ 44628 w 330829"/>
                  <a:gd name="connsiteY3" fmla="*/ 175537 h 276693"/>
                  <a:gd name="connsiteX4" fmla="*/ 294546 w 330829"/>
                  <a:gd name="connsiteY4" fmla="*/ 276694 h 276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0829" h="276693">
                    <a:moveTo>
                      <a:pt x="294546" y="276694"/>
                    </a:moveTo>
                    <a:cubicBezTo>
                      <a:pt x="294546" y="276694"/>
                      <a:pt x="336198" y="187438"/>
                      <a:pt x="330248" y="0"/>
                    </a:cubicBezTo>
                    <a:lnTo>
                      <a:pt x="0" y="17851"/>
                    </a:lnTo>
                    <a:lnTo>
                      <a:pt x="44628" y="175537"/>
                    </a:lnTo>
                    <a:lnTo>
                      <a:pt x="294546" y="276694"/>
                    </a:lnTo>
                    <a:close/>
                  </a:path>
                </a:pathLst>
              </a:custGeom>
              <a:solidFill>
                <a:srgbClr val="6C5D6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ECA03374-80F1-4172-98AC-5DD2491D85D7}"/>
                </a:ext>
              </a:extLst>
            </p:cNvPr>
            <p:cNvSpPr/>
            <p:nvPr/>
          </p:nvSpPr>
          <p:spPr>
            <a:xfrm>
              <a:off x="3168435" y="9430601"/>
              <a:ext cx="265960" cy="206914"/>
            </a:xfrm>
            <a:custGeom>
              <a:avLst/>
              <a:gdLst>
                <a:gd name="connsiteX0" fmla="*/ 39845 w 265960"/>
                <a:gd name="connsiteY0" fmla="*/ 204486 h 206914"/>
                <a:gd name="connsiteX1" fmla="*/ 120175 w 265960"/>
                <a:gd name="connsiteY1" fmla="*/ 192584 h 206914"/>
                <a:gd name="connsiteX2" fmla="*/ 242159 w 265960"/>
                <a:gd name="connsiteY2" fmla="*/ 153907 h 206914"/>
                <a:gd name="connsiteX3" fmla="*/ 265961 w 265960"/>
                <a:gd name="connsiteY3" fmla="*/ 37874 h 206914"/>
                <a:gd name="connsiteX4" fmla="*/ 45795 w 265960"/>
                <a:gd name="connsiteY4" fmla="*/ 14072 h 206914"/>
                <a:gd name="connsiteX5" fmla="*/ 13068 w 265960"/>
                <a:gd name="connsiteY5" fmla="*/ 171758 h 206914"/>
                <a:gd name="connsiteX6" fmla="*/ 7118 w 265960"/>
                <a:gd name="connsiteY6" fmla="*/ 174734 h 206914"/>
                <a:gd name="connsiteX7" fmla="*/ 1167 w 265960"/>
                <a:gd name="connsiteY7" fmla="*/ 195560 h 206914"/>
                <a:gd name="connsiteX8" fmla="*/ 39845 w 265960"/>
                <a:gd name="connsiteY8" fmla="*/ 204486 h 206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5960" h="206914">
                  <a:moveTo>
                    <a:pt x="39845" y="204486"/>
                  </a:moveTo>
                  <a:cubicBezTo>
                    <a:pt x="66622" y="201510"/>
                    <a:pt x="93399" y="198535"/>
                    <a:pt x="120175" y="192584"/>
                  </a:cubicBezTo>
                  <a:cubicBezTo>
                    <a:pt x="161828" y="186634"/>
                    <a:pt x="212407" y="189610"/>
                    <a:pt x="242159" y="153907"/>
                  </a:cubicBezTo>
                  <a:cubicBezTo>
                    <a:pt x="260010" y="130106"/>
                    <a:pt x="265961" y="37874"/>
                    <a:pt x="265961" y="37874"/>
                  </a:cubicBezTo>
                  <a:cubicBezTo>
                    <a:pt x="239184" y="-12705"/>
                    <a:pt x="129101" y="-3779"/>
                    <a:pt x="45795" y="14072"/>
                  </a:cubicBezTo>
                  <a:cubicBezTo>
                    <a:pt x="10093" y="22998"/>
                    <a:pt x="4142" y="171758"/>
                    <a:pt x="13068" y="171758"/>
                  </a:cubicBezTo>
                  <a:cubicBezTo>
                    <a:pt x="10093" y="171758"/>
                    <a:pt x="10093" y="174734"/>
                    <a:pt x="7118" y="174734"/>
                  </a:cubicBezTo>
                  <a:cubicBezTo>
                    <a:pt x="1167" y="180684"/>
                    <a:pt x="-1808" y="186634"/>
                    <a:pt x="1167" y="195560"/>
                  </a:cubicBezTo>
                  <a:cubicBezTo>
                    <a:pt x="7118" y="210436"/>
                    <a:pt x="24969" y="207460"/>
                    <a:pt x="39845" y="204486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5D5E6ACF-8CF2-4119-9E71-5C12676580CD}"/>
                </a:ext>
              </a:extLst>
            </p:cNvPr>
            <p:cNvSpPr/>
            <p:nvPr/>
          </p:nvSpPr>
          <p:spPr>
            <a:xfrm>
              <a:off x="3400496" y="8569043"/>
              <a:ext cx="1205328" cy="1114421"/>
            </a:xfrm>
            <a:custGeom>
              <a:avLst/>
              <a:gdLst>
                <a:gd name="connsiteX0" fmla="*/ 1128775 w 1205328"/>
                <a:gd name="connsiteY0" fmla="*/ 6870 h 1114421"/>
                <a:gd name="connsiteX1" fmla="*/ 744974 w 1205328"/>
                <a:gd name="connsiteY1" fmla="*/ 337117 h 1114421"/>
                <a:gd name="connsiteX2" fmla="*/ 548610 w 1205328"/>
                <a:gd name="connsiteY2" fmla="*/ 744721 h 1114421"/>
                <a:gd name="connsiteX3" fmla="*/ 7122 w 1205328"/>
                <a:gd name="connsiteY3" fmla="*/ 860753 h 1114421"/>
                <a:gd name="connsiteX4" fmla="*/ 4147 w 1205328"/>
                <a:gd name="connsiteY4" fmla="*/ 1024390 h 1114421"/>
                <a:gd name="connsiteX5" fmla="*/ 736048 w 1205328"/>
                <a:gd name="connsiteY5" fmla="*/ 1051167 h 1114421"/>
                <a:gd name="connsiteX6" fmla="*/ 1128775 w 1205328"/>
                <a:gd name="connsiteY6" fmla="*/ 6870 h 1114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5328" h="1114421">
                  <a:moveTo>
                    <a:pt x="1128775" y="6870"/>
                  </a:moveTo>
                  <a:cubicBezTo>
                    <a:pt x="1006792" y="-46684"/>
                    <a:pt x="807453" y="227035"/>
                    <a:pt x="744974" y="337117"/>
                  </a:cubicBezTo>
                  <a:cubicBezTo>
                    <a:pt x="688445" y="435299"/>
                    <a:pt x="548610" y="744721"/>
                    <a:pt x="548610" y="744721"/>
                  </a:cubicBezTo>
                  <a:cubicBezTo>
                    <a:pt x="548610" y="744721"/>
                    <a:pt x="39850" y="753647"/>
                    <a:pt x="7122" y="860753"/>
                  </a:cubicBezTo>
                  <a:cubicBezTo>
                    <a:pt x="-1803" y="920258"/>
                    <a:pt x="-1803" y="985713"/>
                    <a:pt x="4147" y="1024390"/>
                  </a:cubicBezTo>
                  <a:cubicBezTo>
                    <a:pt x="111254" y="1173150"/>
                    <a:pt x="622990" y="1104721"/>
                    <a:pt x="736048" y="1051167"/>
                  </a:cubicBezTo>
                  <a:cubicBezTo>
                    <a:pt x="863982" y="997613"/>
                    <a:pt x="1402494" y="128853"/>
                    <a:pt x="1128775" y="6870"/>
                  </a:cubicBezTo>
                  <a:close/>
                </a:path>
              </a:pathLst>
            </a:custGeom>
            <a:solidFill>
              <a:srgbClr val="D1615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F0554A05-1929-4B32-9E5F-16EB3EB8577C}"/>
                </a:ext>
              </a:extLst>
            </p:cNvPr>
            <p:cNvSpPr/>
            <p:nvPr/>
          </p:nvSpPr>
          <p:spPr>
            <a:xfrm>
              <a:off x="4954726" y="8192111"/>
              <a:ext cx="65454" cy="136859"/>
            </a:xfrm>
            <a:custGeom>
              <a:avLst/>
              <a:gdLst>
                <a:gd name="connsiteX0" fmla="*/ 65455 w 65454"/>
                <a:gd name="connsiteY0" fmla="*/ 0 h 136859"/>
                <a:gd name="connsiteX1" fmla="*/ 2975 w 65454"/>
                <a:gd name="connsiteY1" fmla="*/ 136860 h 136859"/>
                <a:gd name="connsiteX2" fmla="*/ 0 w 65454"/>
                <a:gd name="connsiteY2" fmla="*/ 53554 h 136859"/>
                <a:gd name="connsiteX3" fmla="*/ 65455 w 65454"/>
                <a:gd name="connsiteY3" fmla="*/ 0 h 13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454" h="136859">
                  <a:moveTo>
                    <a:pt x="65455" y="0"/>
                  </a:moveTo>
                  <a:cubicBezTo>
                    <a:pt x="65455" y="0"/>
                    <a:pt x="53554" y="116033"/>
                    <a:pt x="2975" y="136860"/>
                  </a:cubicBezTo>
                  <a:lnTo>
                    <a:pt x="0" y="53554"/>
                  </a:lnTo>
                  <a:lnTo>
                    <a:pt x="65455" y="0"/>
                  </a:ln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AFA7D84-BFD3-4ECB-AF64-75D87A5C1419}"/>
                </a:ext>
              </a:extLst>
            </p:cNvPr>
            <p:cNvSpPr/>
            <p:nvPr/>
          </p:nvSpPr>
          <p:spPr>
            <a:xfrm>
              <a:off x="4570727" y="7992772"/>
              <a:ext cx="99284" cy="232045"/>
            </a:xfrm>
            <a:custGeom>
              <a:avLst/>
              <a:gdLst>
                <a:gd name="connsiteX0" fmla="*/ 6147 w 99284"/>
                <a:gd name="connsiteY0" fmla="*/ 0 h 232045"/>
                <a:gd name="connsiteX1" fmla="*/ 47800 w 99284"/>
                <a:gd name="connsiteY1" fmla="*/ 229091 h 232045"/>
                <a:gd name="connsiteX2" fmla="*/ 98378 w 99284"/>
                <a:gd name="connsiteY2" fmla="*/ 11901 h 232045"/>
                <a:gd name="connsiteX3" fmla="*/ 6147 w 99284"/>
                <a:gd name="connsiteY3" fmla="*/ 0 h 232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284" h="232045">
                  <a:moveTo>
                    <a:pt x="6147" y="0"/>
                  </a:moveTo>
                  <a:cubicBezTo>
                    <a:pt x="6147" y="0"/>
                    <a:pt x="-23605" y="190413"/>
                    <a:pt x="47800" y="229091"/>
                  </a:cubicBezTo>
                  <a:cubicBezTo>
                    <a:pt x="110279" y="261818"/>
                    <a:pt x="98378" y="11901"/>
                    <a:pt x="98378" y="11901"/>
                  </a:cubicBezTo>
                  <a:lnTo>
                    <a:pt x="6147" y="0"/>
                  </a:ln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B73BC916-5C2E-4CDB-AD38-DDC30832C121}"/>
                </a:ext>
              </a:extLst>
            </p:cNvPr>
            <p:cNvSpPr/>
            <p:nvPr/>
          </p:nvSpPr>
          <p:spPr>
            <a:xfrm>
              <a:off x="4606296" y="7858020"/>
              <a:ext cx="410909" cy="554844"/>
            </a:xfrm>
            <a:custGeom>
              <a:avLst/>
              <a:gdLst>
                <a:gd name="connsiteX0" fmla="*/ 9256 w 410909"/>
                <a:gd name="connsiteY0" fmla="*/ 179381 h 554844"/>
                <a:gd name="connsiteX1" fmla="*/ 9256 w 410909"/>
                <a:gd name="connsiteY1" fmla="*/ 423347 h 554844"/>
                <a:gd name="connsiteX2" fmla="*/ 163967 w 410909"/>
                <a:gd name="connsiteY2" fmla="*/ 554257 h 554844"/>
                <a:gd name="connsiteX3" fmla="*/ 375207 w 410909"/>
                <a:gd name="connsiteY3" fmla="*/ 414422 h 554844"/>
                <a:gd name="connsiteX4" fmla="*/ 410909 w 410909"/>
                <a:gd name="connsiteY4" fmla="*/ 194257 h 554844"/>
                <a:gd name="connsiteX5" fmla="*/ 202645 w 410909"/>
                <a:gd name="connsiteY5" fmla="*/ 868 h 554844"/>
                <a:gd name="connsiteX6" fmla="*/ 9256 w 410909"/>
                <a:gd name="connsiteY6" fmla="*/ 179381 h 55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0909" h="554844">
                  <a:moveTo>
                    <a:pt x="9256" y="179381"/>
                  </a:moveTo>
                  <a:cubicBezTo>
                    <a:pt x="9256" y="179381"/>
                    <a:pt x="-11570" y="351943"/>
                    <a:pt x="9256" y="423347"/>
                  </a:cubicBezTo>
                  <a:cubicBezTo>
                    <a:pt x="27108" y="488802"/>
                    <a:pt x="116364" y="551281"/>
                    <a:pt x="163967" y="554257"/>
                  </a:cubicBezTo>
                  <a:cubicBezTo>
                    <a:pt x="229422" y="560207"/>
                    <a:pt x="345455" y="521529"/>
                    <a:pt x="375207" y="414422"/>
                  </a:cubicBezTo>
                  <a:cubicBezTo>
                    <a:pt x="396033" y="343017"/>
                    <a:pt x="410909" y="244835"/>
                    <a:pt x="410909" y="194257"/>
                  </a:cubicBezTo>
                  <a:cubicBezTo>
                    <a:pt x="407934" y="102025"/>
                    <a:pt x="384132" y="24670"/>
                    <a:pt x="202645" y="868"/>
                  </a:cubicBezTo>
                  <a:cubicBezTo>
                    <a:pt x="119339" y="-11032"/>
                    <a:pt x="27108" y="102025"/>
                    <a:pt x="9256" y="179381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1793C62E-771B-40E4-A739-53ED2B4A134E}"/>
                </a:ext>
              </a:extLst>
            </p:cNvPr>
            <p:cNvSpPr/>
            <p:nvPr/>
          </p:nvSpPr>
          <p:spPr>
            <a:xfrm>
              <a:off x="4740511" y="8114756"/>
              <a:ext cx="56528" cy="133884"/>
            </a:xfrm>
            <a:custGeom>
              <a:avLst/>
              <a:gdLst>
                <a:gd name="connsiteX0" fmla="*/ 29752 w 56528"/>
                <a:gd name="connsiteY0" fmla="*/ 133884 h 133884"/>
                <a:gd name="connsiteX1" fmla="*/ 5950 w 56528"/>
                <a:gd name="connsiteY1" fmla="*/ 127934 h 133884"/>
                <a:gd name="connsiteX2" fmla="*/ 0 w 56528"/>
                <a:gd name="connsiteY2" fmla="*/ 116033 h 133884"/>
                <a:gd name="connsiteX3" fmla="*/ 14876 w 56528"/>
                <a:gd name="connsiteY3" fmla="*/ 5950 h 133884"/>
                <a:gd name="connsiteX4" fmla="*/ 20826 w 56528"/>
                <a:gd name="connsiteY4" fmla="*/ 0 h 133884"/>
                <a:gd name="connsiteX5" fmla="*/ 26777 w 56528"/>
                <a:gd name="connsiteY5" fmla="*/ 5950 h 133884"/>
                <a:gd name="connsiteX6" fmla="*/ 11901 w 56528"/>
                <a:gd name="connsiteY6" fmla="*/ 116033 h 133884"/>
                <a:gd name="connsiteX7" fmla="*/ 11901 w 56528"/>
                <a:gd name="connsiteY7" fmla="*/ 119008 h 133884"/>
                <a:gd name="connsiteX8" fmla="*/ 50578 w 56528"/>
                <a:gd name="connsiteY8" fmla="*/ 119008 h 133884"/>
                <a:gd name="connsiteX9" fmla="*/ 56529 w 56528"/>
                <a:gd name="connsiteY9" fmla="*/ 124959 h 133884"/>
                <a:gd name="connsiteX10" fmla="*/ 50578 w 56528"/>
                <a:gd name="connsiteY10" fmla="*/ 130909 h 133884"/>
                <a:gd name="connsiteX11" fmla="*/ 29752 w 56528"/>
                <a:gd name="connsiteY11" fmla="*/ 133884 h 13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528" h="133884">
                  <a:moveTo>
                    <a:pt x="29752" y="133884"/>
                  </a:moveTo>
                  <a:cubicBezTo>
                    <a:pt x="20826" y="133884"/>
                    <a:pt x="11901" y="133884"/>
                    <a:pt x="5950" y="127934"/>
                  </a:cubicBezTo>
                  <a:cubicBezTo>
                    <a:pt x="2975" y="124959"/>
                    <a:pt x="0" y="121983"/>
                    <a:pt x="0" y="116033"/>
                  </a:cubicBezTo>
                  <a:cubicBezTo>
                    <a:pt x="0" y="95207"/>
                    <a:pt x="14876" y="8925"/>
                    <a:pt x="14876" y="5950"/>
                  </a:cubicBezTo>
                  <a:cubicBezTo>
                    <a:pt x="14876" y="2975"/>
                    <a:pt x="17851" y="0"/>
                    <a:pt x="20826" y="0"/>
                  </a:cubicBezTo>
                  <a:cubicBezTo>
                    <a:pt x="23802" y="0"/>
                    <a:pt x="26777" y="2975"/>
                    <a:pt x="26777" y="5950"/>
                  </a:cubicBezTo>
                  <a:cubicBezTo>
                    <a:pt x="26777" y="5950"/>
                    <a:pt x="11901" y="95207"/>
                    <a:pt x="11901" y="116033"/>
                  </a:cubicBezTo>
                  <a:cubicBezTo>
                    <a:pt x="11901" y="116033"/>
                    <a:pt x="11901" y="119008"/>
                    <a:pt x="11901" y="119008"/>
                  </a:cubicBezTo>
                  <a:cubicBezTo>
                    <a:pt x="17851" y="124959"/>
                    <a:pt x="38678" y="121983"/>
                    <a:pt x="50578" y="119008"/>
                  </a:cubicBezTo>
                  <a:cubicBezTo>
                    <a:pt x="53554" y="119008"/>
                    <a:pt x="56529" y="119008"/>
                    <a:pt x="56529" y="124959"/>
                  </a:cubicBezTo>
                  <a:cubicBezTo>
                    <a:pt x="56529" y="127934"/>
                    <a:pt x="56529" y="130909"/>
                    <a:pt x="50578" y="130909"/>
                  </a:cubicBezTo>
                  <a:cubicBezTo>
                    <a:pt x="47603" y="130909"/>
                    <a:pt x="38678" y="133884"/>
                    <a:pt x="29752" y="133884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4B548345-8462-4F70-AB61-800695D485A9}"/>
                </a:ext>
              </a:extLst>
            </p:cNvPr>
            <p:cNvSpPr/>
            <p:nvPr/>
          </p:nvSpPr>
          <p:spPr>
            <a:xfrm>
              <a:off x="4668348" y="8093171"/>
              <a:ext cx="40194" cy="40194"/>
            </a:xfrm>
            <a:custGeom>
              <a:avLst/>
              <a:gdLst>
                <a:gd name="connsiteX0" fmla="*/ 39436 w 40194"/>
                <a:gd name="connsiteY0" fmla="*/ 24560 h 40194"/>
                <a:gd name="connsiteX1" fmla="*/ 15634 w 40194"/>
                <a:gd name="connsiteY1" fmla="*/ 39436 h 40194"/>
                <a:gd name="connsiteX2" fmla="*/ 758 w 40194"/>
                <a:gd name="connsiteY2" fmla="*/ 15634 h 40194"/>
                <a:gd name="connsiteX3" fmla="*/ 24560 w 40194"/>
                <a:gd name="connsiteY3" fmla="*/ 758 h 40194"/>
                <a:gd name="connsiteX4" fmla="*/ 39436 w 40194"/>
                <a:gd name="connsiteY4" fmla="*/ 24560 h 4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94" h="40194">
                  <a:moveTo>
                    <a:pt x="39436" y="24560"/>
                  </a:moveTo>
                  <a:cubicBezTo>
                    <a:pt x="36461" y="36461"/>
                    <a:pt x="27535" y="42411"/>
                    <a:pt x="15634" y="39436"/>
                  </a:cubicBezTo>
                  <a:cubicBezTo>
                    <a:pt x="3733" y="36461"/>
                    <a:pt x="-2217" y="27535"/>
                    <a:pt x="758" y="15634"/>
                  </a:cubicBezTo>
                  <a:cubicBezTo>
                    <a:pt x="3733" y="3733"/>
                    <a:pt x="12659" y="-2217"/>
                    <a:pt x="24560" y="758"/>
                  </a:cubicBezTo>
                  <a:cubicBezTo>
                    <a:pt x="36461" y="3733"/>
                    <a:pt x="42411" y="12659"/>
                    <a:pt x="39436" y="24560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89978C83-3A04-46E5-B258-CF148648436B}"/>
                </a:ext>
              </a:extLst>
            </p:cNvPr>
            <p:cNvSpPr/>
            <p:nvPr/>
          </p:nvSpPr>
          <p:spPr>
            <a:xfrm>
              <a:off x="4846860" y="8108047"/>
              <a:ext cx="40194" cy="40194"/>
            </a:xfrm>
            <a:custGeom>
              <a:avLst/>
              <a:gdLst>
                <a:gd name="connsiteX0" fmla="*/ 39436 w 40194"/>
                <a:gd name="connsiteY0" fmla="*/ 24560 h 40194"/>
                <a:gd name="connsiteX1" fmla="*/ 15634 w 40194"/>
                <a:gd name="connsiteY1" fmla="*/ 39436 h 40194"/>
                <a:gd name="connsiteX2" fmla="*/ 758 w 40194"/>
                <a:gd name="connsiteY2" fmla="*/ 15634 h 40194"/>
                <a:gd name="connsiteX3" fmla="*/ 24560 w 40194"/>
                <a:gd name="connsiteY3" fmla="*/ 758 h 40194"/>
                <a:gd name="connsiteX4" fmla="*/ 39436 w 40194"/>
                <a:gd name="connsiteY4" fmla="*/ 24560 h 4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94" h="40194">
                  <a:moveTo>
                    <a:pt x="39436" y="24560"/>
                  </a:moveTo>
                  <a:cubicBezTo>
                    <a:pt x="36461" y="36461"/>
                    <a:pt x="27535" y="42411"/>
                    <a:pt x="15634" y="39436"/>
                  </a:cubicBezTo>
                  <a:cubicBezTo>
                    <a:pt x="3733" y="36461"/>
                    <a:pt x="-2217" y="27535"/>
                    <a:pt x="758" y="15634"/>
                  </a:cubicBezTo>
                  <a:cubicBezTo>
                    <a:pt x="3733" y="3733"/>
                    <a:pt x="12659" y="-2217"/>
                    <a:pt x="24560" y="758"/>
                  </a:cubicBezTo>
                  <a:cubicBezTo>
                    <a:pt x="36461" y="3733"/>
                    <a:pt x="42411" y="15634"/>
                    <a:pt x="39436" y="24560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837B78E7-B940-4167-9275-D61FE43A5B03}"/>
                </a:ext>
              </a:extLst>
            </p:cNvPr>
            <p:cNvSpPr/>
            <p:nvPr/>
          </p:nvSpPr>
          <p:spPr>
            <a:xfrm>
              <a:off x="4646048" y="8045189"/>
              <a:ext cx="89744" cy="33863"/>
            </a:xfrm>
            <a:custGeom>
              <a:avLst/>
              <a:gdLst>
                <a:gd name="connsiteX0" fmla="*/ 8182 w 89744"/>
                <a:gd name="connsiteY0" fmla="*/ 33864 h 33863"/>
                <a:gd name="connsiteX1" fmla="*/ 2232 w 89744"/>
                <a:gd name="connsiteY1" fmla="*/ 30889 h 33863"/>
                <a:gd name="connsiteX2" fmla="*/ 2232 w 89744"/>
                <a:gd name="connsiteY2" fmla="*/ 18988 h 33863"/>
                <a:gd name="connsiteX3" fmla="*/ 85537 w 89744"/>
                <a:gd name="connsiteY3" fmla="*/ 10063 h 33863"/>
                <a:gd name="connsiteX4" fmla="*/ 88512 w 89744"/>
                <a:gd name="connsiteY4" fmla="*/ 18988 h 33863"/>
                <a:gd name="connsiteX5" fmla="*/ 79587 w 89744"/>
                <a:gd name="connsiteY5" fmla="*/ 21963 h 33863"/>
                <a:gd name="connsiteX6" fmla="*/ 14132 w 89744"/>
                <a:gd name="connsiteY6" fmla="*/ 27914 h 33863"/>
                <a:gd name="connsiteX7" fmla="*/ 8182 w 89744"/>
                <a:gd name="connsiteY7" fmla="*/ 33864 h 33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3863">
                  <a:moveTo>
                    <a:pt x="8182" y="33864"/>
                  </a:moveTo>
                  <a:cubicBezTo>
                    <a:pt x="5207" y="33864"/>
                    <a:pt x="5207" y="33864"/>
                    <a:pt x="2232" y="30889"/>
                  </a:cubicBezTo>
                  <a:cubicBezTo>
                    <a:pt x="-744" y="27914"/>
                    <a:pt x="-744" y="21963"/>
                    <a:pt x="2232" y="18988"/>
                  </a:cubicBezTo>
                  <a:cubicBezTo>
                    <a:pt x="29008" y="-10764"/>
                    <a:pt x="67686" y="1137"/>
                    <a:pt x="85537" y="10063"/>
                  </a:cubicBezTo>
                  <a:cubicBezTo>
                    <a:pt x="88512" y="13038"/>
                    <a:pt x="91488" y="16013"/>
                    <a:pt x="88512" y="18988"/>
                  </a:cubicBezTo>
                  <a:cubicBezTo>
                    <a:pt x="85537" y="21963"/>
                    <a:pt x="82562" y="24939"/>
                    <a:pt x="79587" y="21963"/>
                  </a:cubicBezTo>
                  <a:cubicBezTo>
                    <a:pt x="76612" y="21963"/>
                    <a:pt x="37934" y="1137"/>
                    <a:pt x="14132" y="27914"/>
                  </a:cubicBezTo>
                  <a:cubicBezTo>
                    <a:pt x="11157" y="30889"/>
                    <a:pt x="8182" y="33864"/>
                    <a:pt x="8182" y="33864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2FE0A2A3-C272-45C1-8819-D8B06740B208}"/>
                </a:ext>
              </a:extLst>
            </p:cNvPr>
            <p:cNvSpPr/>
            <p:nvPr/>
          </p:nvSpPr>
          <p:spPr>
            <a:xfrm>
              <a:off x="4828535" y="8043654"/>
              <a:ext cx="89744" cy="35399"/>
            </a:xfrm>
            <a:custGeom>
              <a:avLst/>
              <a:gdLst>
                <a:gd name="connsiteX0" fmla="*/ 84538 w 89744"/>
                <a:gd name="connsiteY0" fmla="*/ 35400 h 35399"/>
                <a:gd name="connsiteX1" fmla="*/ 78588 w 89744"/>
                <a:gd name="connsiteY1" fmla="*/ 32425 h 35399"/>
                <a:gd name="connsiteX2" fmla="*/ 13133 w 89744"/>
                <a:gd name="connsiteY2" fmla="*/ 26474 h 35399"/>
                <a:gd name="connsiteX3" fmla="*/ 1232 w 89744"/>
                <a:gd name="connsiteY3" fmla="*/ 23499 h 35399"/>
                <a:gd name="connsiteX4" fmla="*/ 4208 w 89744"/>
                <a:gd name="connsiteY4" fmla="*/ 11598 h 35399"/>
                <a:gd name="connsiteX5" fmla="*/ 87513 w 89744"/>
                <a:gd name="connsiteY5" fmla="*/ 20523 h 35399"/>
                <a:gd name="connsiteX6" fmla="*/ 87513 w 89744"/>
                <a:gd name="connsiteY6" fmla="*/ 32425 h 35399"/>
                <a:gd name="connsiteX7" fmla="*/ 84538 w 89744"/>
                <a:gd name="connsiteY7" fmla="*/ 35400 h 3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5399">
                  <a:moveTo>
                    <a:pt x="84538" y="35400"/>
                  </a:moveTo>
                  <a:cubicBezTo>
                    <a:pt x="81563" y="35400"/>
                    <a:pt x="81563" y="35400"/>
                    <a:pt x="78588" y="32425"/>
                  </a:cubicBezTo>
                  <a:cubicBezTo>
                    <a:pt x="78588" y="32425"/>
                    <a:pt x="48836" y="2673"/>
                    <a:pt x="13133" y="26474"/>
                  </a:cubicBezTo>
                  <a:cubicBezTo>
                    <a:pt x="10158" y="29449"/>
                    <a:pt x="4208" y="26474"/>
                    <a:pt x="1232" y="23499"/>
                  </a:cubicBezTo>
                  <a:cubicBezTo>
                    <a:pt x="-1743" y="20523"/>
                    <a:pt x="1232" y="14573"/>
                    <a:pt x="4208" y="11598"/>
                  </a:cubicBezTo>
                  <a:cubicBezTo>
                    <a:pt x="39910" y="-12204"/>
                    <a:pt x="75613" y="5647"/>
                    <a:pt x="87513" y="20523"/>
                  </a:cubicBezTo>
                  <a:cubicBezTo>
                    <a:pt x="90489" y="23499"/>
                    <a:pt x="90489" y="29449"/>
                    <a:pt x="87513" y="32425"/>
                  </a:cubicBezTo>
                  <a:cubicBezTo>
                    <a:pt x="87513" y="35400"/>
                    <a:pt x="87513" y="35400"/>
                    <a:pt x="84538" y="35400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99DD7964-CFAD-42AC-8004-3EED8F3AF51E}"/>
                </a:ext>
              </a:extLst>
            </p:cNvPr>
            <p:cNvSpPr/>
            <p:nvPr/>
          </p:nvSpPr>
          <p:spPr>
            <a:xfrm>
              <a:off x="4980180" y="8107357"/>
              <a:ext cx="77032" cy="111296"/>
            </a:xfrm>
            <a:custGeom>
              <a:avLst/>
              <a:gdLst>
                <a:gd name="connsiteX0" fmla="*/ 13223 w 77032"/>
                <a:gd name="connsiteY0" fmla="*/ 16325 h 111296"/>
                <a:gd name="connsiteX1" fmla="*/ 69752 w 77032"/>
                <a:gd name="connsiteY1" fmla="*/ 7399 h 111296"/>
                <a:gd name="connsiteX2" fmla="*/ 13223 w 77032"/>
                <a:gd name="connsiteY2" fmla="*/ 108556 h 111296"/>
                <a:gd name="connsiteX3" fmla="*/ 13223 w 77032"/>
                <a:gd name="connsiteY3" fmla="*/ 16325 h 111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032" h="111296">
                  <a:moveTo>
                    <a:pt x="13223" y="16325"/>
                  </a:moveTo>
                  <a:cubicBezTo>
                    <a:pt x="13223" y="16325"/>
                    <a:pt x="45950" y="-13427"/>
                    <a:pt x="69752" y="7399"/>
                  </a:cubicBezTo>
                  <a:cubicBezTo>
                    <a:pt x="93554" y="25250"/>
                    <a:pt x="54876" y="129383"/>
                    <a:pt x="13223" y="108556"/>
                  </a:cubicBezTo>
                  <a:cubicBezTo>
                    <a:pt x="-16529" y="87730"/>
                    <a:pt x="13223" y="16325"/>
                    <a:pt x="13223" y="16325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996BCD31-EEC0-4562-8E72-C8456DF4E72E}"/>
                </a:ext>
              </a:extLst>
            </p:cNvPr>
            <p:cNvSpPr/>
            <p:nvPr/>
          </p:nvSpPr>
          <p:spPr>
            <a:xfrm>
              <a:off x="4561472" y="7746896"/>
              <a:ext cx="500361" cy="394637"/>
            </a:xfrm>
            <a:custGeom>
              <a:avLst/>
              <a:gdLst>
                <a:gd name="connsiteX0" fmla="*/ 437882 w 500361"/>
                <a:gd name="connsiteY0" fmla="*/ 132819 h 394637"/>
                <a:gd name="connsiteX1" fmla="*/ 420031 w 500361"/>
                <a:gd name="connsiteY1" fmla="*/ 94141 h 394637"/>
                <a:gd name="connsiteX2" fmla="*/ 408130 w 500361"/>
                <a:gd name="connsiteY2" fmla="*/ 97117 h 394637"/>
                <a:gd name="connsiteX3" fmla="*/ 378378 w 500361"/>
                <a:gd name="connsiteY3" fmla="*/ 76290 h 394637"/>
                <a:gd name="connsiteX4" fmla="*/ 366477 w 500361"/>
                <a:gd name="connsiteY4" fmla="*/ 58439 h 394637"/>
                <a:gd name="connsiteX5" fmla="*/ 336725 w 500361"/>
                <a:gd name="connsiteY5" fmla="*/ 25712 h 394637"/>
                <a:gd name="connsiteX6" fmla="*/ 303997 w 500361"/>
                <a:gd name="connsiteY6" fmla="*/ 22736 h 394637"/>
                <a:gd name="connsiteX7" fmla="*/ 250444 w 500361"/>
                <a:gd name="connsiteY7" fmla="*/ 7860 h 394637"/>
                <a:gd name="connsiteX8" fmla="*/ 238543 w 500361"/>
                <a:gd name="connsiteY8" fmla="*/ 1910 h 394637"/>
                <a:gd name="connsiteX9" fmla="*/ 116560 w 500361"/>
                <a:gd name="connsiteY9" fmla="*/ 37612 h 394637"/>
                <a:gd name="connsiteX10" fmla="*/ 57055 w 500361"/>
                <a:gd name="connsiteY10" fmla="*/ 58439 h 394637"/>
                <a:gd name="connsiteX11" fmla="*/ 42179 w 500361"/>
                <a:gd name="connsiteY11" fmla="*/ 100092 h 394637"/>
                <a:gd name="connsiteX12" fmla="*/ 24328 w 500361"/>
                <a:gd name="connsiteY12" fmla="*/ 126869 h 394637"/>
                <a:gd name="connsiteX13" fmla="*/ 18378 w 500361"/>
                <a:gd name="connsiteY13" fmla="*/ 162571 h 394637"/>
                <a:gd name="connsiteX14" fmla="*/ 21353 w 500361"/>
                <a:gd name="connsiteY14" fmla="*/ 195299 h 394637"/>
                <a:gd name="connsiteX15" fmla="*/ 3502 w 500361"/>
                <a:gd name="connsiteY15" fmla="*/ 236951 h 394637"/>
                <a:gd name="connsiteX16" fmla="*/ 21353 w 500361"/>
                <a:gd name="connsiteY16" fmla="*/ 332158 h 394637"/>
                <a:gd name="connsiteX17" fmla="*/ 30279 w 500361"/>
                <a:gd name="connsiteY17" fmla="*/ 335133 h 394637"/>
                <a:gd name="connsiteX18" fmla="*/ 39204 w 500361"/>
                <a:gd name="connsiteY18" fmla="*/ 364885 h 394637"/>
                <a:gd name="connsiteX19" fmla="*/ 57055 w 500361"/>
                <a:gd name="connsiteY19" fmla="*/ 311331 h 394637"/>
                <a:gd name="connsiteX20" fmla="*/ 86807 w 500361"/>
                <a:gd name="connsiteY20" fmla="*/ 299431 h 394637"/>
                <a:gd name="connsiteX21" fmla="*/ 104659 w 500361"/>
                <a:gd name="connsiteY21" fmla="*/ 278604 h 394637"/>
                <a:gd name="connsiteX22" fmla="*/ 110609 w 500361"/>
                <a:gd name="connsiteY22" fmla="*/ 269679 h 394637"/>
                <a:gd name="connsiteX23" fmla="*/ 116560 w 500361"/>
                <a:gd name="connsiteY23" fmla="*/ 266703 h 394637"/>
                <a:gd name="connsiteX24" fmla="*/ 122510 w 500361"/>
                <a:gd name="connsiteY24" fmla="*/ 266703 h 394637"/>
                <a:gd name="connsiteX25" fmla="*/ 128460 w 500361"/>
                <a:gd name="connsiteY25" fmla="*/ 263728 h 394637"/>
                <a:gd name="connsiteX26" fmla="*/ 137386 w 500361"/>
                <a:gd name="connsiteY26" fmla="*/ 257778 h 394637"/>
                <a:gd name="connsiteX27" fmla="*/ 149287 w 500361"/>
                <a:gd name="connsiteY27" fmla="*/ 260753 h 394637"/>
                <a:gd name="connsiteX28" fmla="*/ 161188 w 500361"/>
                <a:gd name="connsiteY28" fmla="*/ 260753 h 394637"/>
                <a:gd name="connsiteX29" fmla="*/ 196890 w 500361"/>
                <a:gd name="connsiteY29" fmla="*/ 251827 h 394637"/>
                <a:gd name="connsiteX30" fmla="*/ 247468 w 500361"/>
                <a:gd name="connsiteY30" fmla="*/ 236951 h 394637"/>
                <a:gd name="connsiteX31" fmla="*/ 262345 w 500361"/>
                <a:gd name="connsiteY31" fmla="*/ 245877 h 394637"/>
                <a:gd name="connsiteX32" fmla="*/ 298047 w 500361"/>
                <a:gd name="connsiteY32" fmla="*/ 225051 h 394637"/>
                <a:gd name="connsiteX33" fmla="*/ 309948 w 500361"/>
                <a:gd name="connsiteY33" fmla="*/ 228026 h 394637"/>
                <a:gd name="connsiteX34" fmla="*/ 384328 w 500361"/>
                <a:gd name="connsiteY34" fmla="*/ 254803 h 394637"/>
                <a:gd name="connsiteX35" fmla="*/ 393254 w 500361"/>
                <a:gd name="connsiteY35" fmla="*/ 257778 h 394637"/>
                <a:gd name="connsiteX36" fmla="*/ 443832 w 500361"/>
                <a:gd name="connsiteY36" fmla="*/ 394637 h 394637"/>
                <a:gd name="connsiteX37" fmla="*/ 500361 w 500361"/>
                <a:gd name="connsiteY37" fmla="*/ 296455 h 394637"/>
                <a:gd name="connsiteX38" fmla="*/ 437882 w 500361"/>
                <a:gd name="connsiteY38" fmla="*/ 132819 h 394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00361" h="394637">
                  <a:moveTo>
                    <a:pt x="437882" y="132819"/>
                  </a:moveTo>
                  <a:cubicBezTo>
                    <a:pt x="437882" y="117943"/>
                    <a:pt x="434907" y="103067"/>
                    <a:pt x="420031" y="94141"/>
                  </a:cubicBezTo>
                  <a:cubicBezTo>
                    <a:pt x="405155" y="82241"/>
                    <a:pt x="408130" y="94141"/>
                    <a:pt x="408130" y="97117"/>
                  </a:cubicBezTo>
                  <a:cubicBezTo>
                    <a:pt x="399204" y="91166"/>
                    <a:pt x="390278" y="82241"/>
                    <a:pt x="378378" y="76290"/>
                  </a:cubicBezTo>
                  <a:cubicBezTo>
                    <a:pt x="372427" y="70340"/>
                    <a:pt x="369452" y="64389"/>
                    <a:pt x="366477" y="58439"/>
                  </a:cubicBezTo>
                  <a:cubicBezTo>
                    <a:pt x="357551" y="46538"/>
                    <a:pt x="351601" y="34637"/>
                    <a:pt x="336725" y="25712"/>
                  </a:cubicBezTo>
                  <a:cubicBezTo>
                    <a:pt x="324824" y="19761"/>
                    <a:pt x="315898" y="22736"/>
                    <a:pt x="303997" y="22736"/>
                  </a:cubicBezTo>
                  <a:cubicBezTo>
                    <a:pt x="283171" y="22736"/>
                    <a:pt x="268295" y="16786"/>
                    <a:pt x="250444" y="7860"/>
                  </a:cubicBezTo>
                  <a:cubicBezTo>
                    <a:pt x="247468" y="4885"/>
                    <a:pt x="241518" y="1910"/>
                    <a:pt x="238543" y="1910"/>
                  </a:cubicBezTo>
                  <a:cubicBezTo>
                    <a:pt x="193915" y="-9991"/>
                    <a:pt x="161188" y="37612"/>
                    <a:pt x="116560" y="37612"/>
                  </a:cubicBezTo>
                  <a:cubicBezTo>
                    <a:pt x="92758" y="37612"/>
                    <a:pt x="68956" y="34637"/>
                    <a:pt x="57055" y="58439"/>
                  </a:cubicBezTo>
                  <a:cubicBezTo>
                    <a:pt x="51105" y="73315"/>
                    <a:pt x="51105" y="85216"/>
                    <a:pt x="42179" y="100092"/>
                  </a:cubicBezTo>
                  <a:cubicBezTo>
                    <a:pt x="36229" y="109017"/>
                    <a:pt x="27303" y="117943"/>
                    <a:pt x="24328" y="126869"/>
                  </a:cubicBezTo>
                  <a:cubicBezTo>
                    <a:pt x="18378" y="135794"/>
                    <a:pt x="15402" y="150670"/>
                    <a:pt x="18378" y="162571"/>
                  </a:cubicBezTo>
                  <a:cubicBezTo>
                    <a:pt x="21353" y="180422"/>
                    <a:pt x="30279" y="180422"/>
                    <a:pt x="21353" y="195299"/>
                  </a:cubicBezTo>
                  <a:cubicBezTo>
                    <a:pt x="15402" y="210175"/>
                    <a:pt x="6477" y="222075"/>
                    <a:pt x="3502" y="236951"/>
                  </a:cubicBezTo>
                  <a:cubicBezTo>
                    <a:pt x="-5424" y="269679"/>
                    <a:pt x="3502" y="302406"/>
                    <a:pt x="21353" y="332158"/>
                  </a:cubicBezTo>
                  <a:cubicBezTo>
                    <a:pt x="24328" y="335133"/>
                    <a:pt x="27303" y="335133"/>
                    <a:pt x="30279" y="335133"/>
                  </a:cubicBezTo>
                  <a:cubicBezTo>
                    <a:pt x="33254" y="352985"/>
                    <a:pt x="39204" y="364885"/>
                    <a:pt x="39204" y="364885"/>
                  </a:cubicBezTo>
                  <a:cubicBezTo>
                    <a:pt x="36229" y="347034"/>
                    <a:pt x="42179" y="329183"/>
                    <a:pt x="57055" y="311331"/>
                  </a:cubicBezTo>
                  <a:cubicBezTo>
                    <a:pt x="65981" y="308356"/>
                    <a:pt x="77882" y="305381"/>
                    <a:pt x="86807" y="299431"/>
                  </a:cubicBezTo>
                  <a:cubicBezTo>
                    <a:pt x="95733" y="293480"/>
                    <a:pt x="98708" y="284555"/>
                    <a:pt x="104659" y="278604"/>
                  </a:cubicBezTo>
                  <a:cubicBezTo>
                    <a:pt x="104659" y="275629"/>
                    <a:pt x="107634" y="272654"/>
                    <a:pt x="110609" y="269679"/>
                  </a:cubicBezTo>
                  <a:cubicBezTo>
                    <a:pt x="113584" y="269679"/>
                    <a:pt x="116560" y="266703"/>
                    <a:pt x="116560" y="266703"/>
                  </a:cubicBezTo>
                  <a:cubicBezTo>
                    <a:pt x="119535" y="266703"/>
                    <a:pt x="119535" y="266703"/>
                    <a:pt x="122510" y="266703"/>
                  </a:cubicBezTo>
                  <a:cubicBezTo>
                    <a:pt x="125485" y="263728"/>
                    <a:pt x="125485" y="263728"/>
                    <a:pt x="128460" y="263728"/>
                  </a:cubicBezTo>
                  <a:cubicBezTo>
                    <a:pt x="131436" y="260753"/>
                    <a:pt x="134411" y="260753"/>
                    <a:pt x="137386" y="257778"/>
                  </a:cubicBezTo>
                  <a:cubicBezTo>
                    <a:pt x="140361" y="257778"/>
                    <a:pt x="146312" y="257778"/>
                    <a:pt x="149287" y="260753"/>
                  </a:cubicBezTo>
                  <a:cubicBezTo>
                    <a:pt x="152262" y="260753"/>
                    <a:pt x="158212" y="260753"/>
                    <a:pt x="161188" y="260753"/>
                  </a:cubicBezTo>
                  <a:cubicBezTo>
                    <a:pt x="173088" y="260753"/>
                    <a:pt x="184989" y="257778"/>
                    <a:pt x="196890" y="251827"/>
                  </a:cubicBezTo>
                  <a:cubicBezTo>
                    <a:pt x="214741" y="242902"/>
                    <a:pt x="223667" y="228026"/>
                    <a:pt x="247468" y="236951"/>
                  </a:cubicBezTo>
                  <a:cubicBezTo>
                    <a:pt x="253419" y="239927"/>
                    <a:pt x="256394" y="245877"/>
                    <a:pt x="262345" y="245877"/>
                  </a:cubicBezTo>
                  <a:cubicBezTo>
                    <a:pt x="277221" y="248852"/>
                    <a:pt x="289121" y="236951"/>
                    <a:pt x="298047" y="225051"/>
                  </a:cubicBezTo>
                  <a:cubicBezTo>
                    <a:pt x="301022" y="225051"/>
                    <a:pt x="306973" y="228026"/>
                    <a:pt x="309948" y="228026"/>
                  </a:cubicBezTo>
                  <a:cubicBezTo>
                    <a:pt x="330774" y="242902"/>
                    <a:pt x="357551" y="251827"/>
                    <a:pt x="384328" y="254803"/>
                  </a:cubicBezTo>
                  <a:cubicBezTo>
                    <a:pt x="390278" y="257778"/>
                    <a:pt x="393254" y="257778"/>
                    <a:pt x="393254" y="257778"/>
                  </a:cubicBezTo>
                  <a:cubicBezTo>
                    <a:pt x="393254" y="257778"/>
                    <a:pt x="449783" y="364885"/>
                    <a:pt x="443832" y="394637"/>
                  </a:cubicBezTo>
                  <a:cubicBezTo>
                    <a:pt x="443832" y="394637"/>
                    <a:pt x="485485" y="350009"/>
                    <a:pt x="500361" y="296455"/>
                  </a:cubicBezTo>
                  <a:cubicBezTo>
                    <a:pt x="500361" y="239927"/>
                    <a:pt x="494411" y="153645"/>
                    <a:pt x="437882" y="132819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DD5A807C-AB03-4152-A24C-8E156E9FE01B}"/>
                </a:ext>
              </a:extLst>
            </p:cNvPr>
            <p:cNvSpPr/>
            <p:nvPr/>
          </p:nvSpPr>
          <p:spPr>
            <a:xfrm>
              <a:off x="4938527" y="7994425"/>
              <a:ext cx="59083" cy="135206"/>
            </a:xfrm>
            <a:custGeom>
              <a:avLst/>
              <a:gdLst>
                <a:gd name="connsiteX0" fmla="*/ 54876 w 59083"/>
                <a:gd name="connsiteY0" fmla="*/ 135207 h 135206"/>
                <a:gd name="connsiteX1" fmla="*/ 48926 w 59083"/>
                <a:gd name="connsiteY1" fmla="*/ 129256 h 135206"/>
                <a:gd name="connsiteX2" fmla="*/ 1322 w 59083"/>
                <a:gd name="connsiteY2" fmla="*/ 10248 h 135206"/>
                <a:gd name="connsiteX3" fmla="*/ 1322 w 59083"/>
                <a:gd name="connsiteY3" fmla="*/ 1322 h 135206"/>
                <a:gd name="connsiteX4" fmla="*/ 10248 w 59083"/>
                <a:gd name="connsiteY4" fmla="*/ 1322 h 135206"/>
                <a:gd name="connsiteX5" fmla="*/ 57851 w 59083"/>
                <a:gd name="connsiteY5" fmla="*/ 123306 h 135206"/>
                <a:gd name="connsiteX6" fmla="*/ 54876 w 59083"/>
                <a:gd name="connsiteY6" fmla="*/ 135207 h 135206"/>
                <a:gd name="connsiteX7" fmla="*/ 54876 w 59083"/>
                <a:gd name="connsiteY7" fmla="*/ 135207 h 135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083" h="135206">
                  <a:moveTo>
                    <a:pt x="54876" y="135207"/>
                  </a:moveTo>
                  <a:cubicBezTo>
                    <a:pt x="51901" y="135207"/>
                    <a:pt x="48926" y="132231"/>
                    <a:pt x="48926" y="129256"/>
                  </a:cubicBezTo>
                  <a:cubicBezTo>
                    <a:pt x="42975" y="69752"/>
                    <a:pt x="1322" y="13223"/>
                    <a:pt x="1322" y="10248"/>
                  </a:cubicBezTo>
                  <a:cubicBezTo>
                    <a:pt x="-1653" y="7273"/>
                    <a:pt x="1322" y="4297"/>
                    <a:pt x="1322" y="1322"/>
                  </a:cubicBezTo>
                  <a:cubicBezTo>
                    <a:pt x="4297" y="-1653"/>
                    <a:pt x="7273" y="1322"/>
                    <a:pt x="10248" y="1322"/>
                  </a:cubicBezTo>
                  <a:cubicBezTo>
                    <a:pt x="13223" y="4297"/>
                    <a:pt x="54876" y="60827"/>
                    <a:pt x="57851" y="123306"/>
                  </a:cubicBezTo>
                  <a:cubicBezTo>
                    <a:pt x="60826" y="132231"/>
                    <a:pt x="57851" y="135207"/>
                    <a:pt x="54876" y="135207"/>
                  </a:cubicBezTo>
                  <a:cubicBezTo>
                    <a:pt x="54876" y="135207"/>
                    <a:pt x="54876" y="135207"/>
                    <a:pt x="54876" y="135207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40406F81-E1EA-431B-9084-28E27271088C}"/>
                </a:ext>
              </a:extLst>
            </p:cNvPr>
            <p:cNvSpPr/>
            <p:nvPr/>
          </p:nvSpPr>
          <p:spPr>
            <a:xfrm>
              <a:off x="4736303" y="8305913"/>
              <a:ext cx="113546" cy="31983"/>
            </a:xfrm>
            <a:custGeom>
              <a:avLst/>
              <a:gdLst>
                <a:gd name="connsiteX0" fmla="*/ 36935 w 113546"/>
                <a:gd name="connsiteY0" fmla="*/ 31984 h 31983"/>
                <a:gd name="connsiteX1" fmla="*/ 4208 w 113546"/>
                <a:gd name="connsiteY1" fmla="*/ 29008 h 31983"/>
                <a:gd name="connsiteX2" fmla="*/ 1232 w 113546"/>
                <a:gd name="connsiteY2" fmla="*/ 23058 h 31983"/>
                <a:gd name="connsiteX3" fmla="*/ 7183 w 113546"/>
                <a:gd name="connsiteY3" fmla="*/ 20083 h 31983"/>
                <a:gd name="connsiteX4" fmla="*/ 102389 w 113546"/>
                <a:gd name="connsiteY4" fmla="*/ 2232 h 31983"/>
                <a:gd name="connsiteX5" fmla="*/ 111315 w 113546"/>
                <a:gd name="connsiteY5" fmla="*/ 2232 h 31983"/>
                <a:gd name="connsiteX6" fmla="*/ 111315 w 113546"/>
                <a:gd name="connsiteY6" fmla="*/ 11157 h 31983"/>
                <a:gd name="connsiteX7" fmla="*/ 36935 w 113546"/>
                <a:gd name="connsiteY7" fmla="*/ 31984 h 31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46" h="31983">
                  <a:moveTo>
                    <a:pt x="36935" y="31984"/>
                  </a:moveTo>
                  <a:cubicBezTo>
                    <a:pt x="19084" y="31984"/>
                    <a:pt x="4208" y="29008"/>
                    <a:pt x="4208" y="29008"/>
                  </a:cubicBezTo>
                  <a:cubicBezTo>
                    <a:pt x="1232" y="29008"/>
                    <a:pt x="-1743" y="26033"/>
                    <a:pt x="1232" y="23058"/>
                  </a:cubicBezTo>
                  <a:cubicBezTo>
                    <a:pt x="1232" y="20083"/>
                    <a:pt x="4208" y="17108"/>
                    <a:pt x="7183" y="20083"/>
                  </a:cubicBezTo>
                  <a:cubicBezTo>
                    <a:pt x="7183" y="20083"/>
                    <a:pt x="69662" y="34959"/>
                    <a:pt x="102389" y="2232"/>
                  </a:cubicBezTo>
                  <a:cubicBezTo>
                    <a:pt x="105365" y="-744"/>
                    <a:pt x="108340" y="-744"/>
                    <a:pt x="111315" y="2232"/>
                  </a:cubicBezTo>
                  <a:cubicBezTo>
                    <a:pt x="114290" y="5206"/>
                    <a:pt x="114290" y="8182"/>
                    <a:pt x="111315" y="11157"/>
                  </a:cubicBezTo>
                  <a:cubicBezTo>
                    <a:pt x="90489" y="29008"/>
                    <a:pt x="60737" y="31984"/>
                    <a:pt x="36935" y="31984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BB61809E-8AE8-4ACA-96B8-49A717298AA5}"/>
                </a:ext>
              </a:extLst>
            </p:cNvPr>
            <p:cNvSpPr/>
            <p:nvPr/>
          </p:nvSpPr>
          <p:spPr>
            <a:xfrm>
              <a:off x="4698858" y="8323021"/>
              <a:ext cx="243966" cy="252009"/>
            </a:xfrm>
            <a:custGeom>
              <a:avLst/>
              <a:gdLst>
                <a:gd name="connsiteX0" fmla="*/ 0 w 243966"/>
                <a:gd name="connsiteY0" fmla="*/ 38677 h 252009"/>
                <a:gd name="connsiteX1" fmla="*/ 5950 w 243966"/>
                <a:gd name="connsiteY1" fmla="*/ 208264 h 252009"/>
                <a:gd name="connsiteX2" fmla="*/ 243967 w 243966"/>
                <a:gd name="connsiteY2" fmla="*/ 199339 h 252009"/>
                <a:gd name="connsiteX3" fmla="*/ 229091 w 243966"/>
                <a:gd name="connsiteY3" fmla="*/ 0 h 252009"/>
                <a:gd name="connsiteX4" fmla="*/ 0 w 243966"/>
                <a:gd name="connsiteY4" fmla="*/ 38677 h 25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966" h="252009">
                  <a:moveTo>
                    <a:pt x="0" y="38677"/>
                  </a:moveTo>
                  <a:cubicBezTo>
                    <a:pt x="0" y="38677"/>
                    <a:pt x="5950" y="136859"/>
                    <a:pt x="5950" y="208264"/>
                  </a:cubicBezTo>
                  <a:cubicBezTo>
                    <a:pt x="5950" y="208264"/>
                    <a:pt x="98182" y="312397"/>
                    <a:pt x="243967" y="199339"/>
                  </a:cubicBezTo>
                  <a:cubicBezTo>
                    <a:pt x="243967" y="139835"/>
                    <a:pt x="232066" y="62479"/>
                    <a:pt x="229091" y="0"/>
                  </a:cubicBezTo>
                  <a:cubicBezTo>
                    <a:pt x="229091" y="0"/>
                    <a:pt x="50578" y="50578"/>
                    <a:pt x="0" y="38677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449F56CA-B96B-41F8-BFA6-7E5F1D3CC8A6}"/>
                </a:ext>
              </a:extLst>
            </p:cNvPr>
            <p:cNvSpPr/>
            <p:nvPr/>
          </p:nvSpPr>
          <p:spPr>
            <a:xfrm>
              <a:off x="4615191" y="8504725"/>
              <a:ext cx="776889" cy="1533972"/>
            </a:xfrm>
            <a:custGeom>
              <a:avLst/>
              <a:gdLst>
                <a:gd name="connsiteX0" fmla="*/ 152097 w 776889"/>
                <a:gd name="connsiteY0" fmla="*/ 2758 h 1533972"/>
                <a:gd name="connsiteX1" fmla="*/ 651931 w 776889"/>
                <a:gd name="connsiteY1" fmla="*/ 71188 h 1533972"/>
                <a:gd name="connsiteX2" fmla="*/ 776890 w 776889"/>
                <a:gd name="connsiteY2" fmla="*/ 1466560 h 1533972"/>
                <a:gd name="connsiteX3" fmla="*/ 9287 w 776889"/>
                <a:gd name="connsiteY3" fmla="*/ 1520113 h 1533972"/>
                <a:gd name="connsiteX4" fmla="*/ 152097 w 776889"/>
                <a:gd name="connsiteY4" fmla="*/ 2758 h 1533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6889" h="1533972">
                  <a:moveTo>
                    <a:pt x="152097" y="2758"/>
                  </a:moveTo>
                  <a:cubicBezTo>
                    <a:pt x="152097" y="2758"/>
                    <a:pt x="455568" y="-21043"/>
                    <a:pt x="651931" y="71188"/>
                  </a:cubicBezTo>
                  <a:cubicBezTo>
                    <a:pt x="711435" y="97965"/>
                    <a:pt x="776890" y="1466560"/>
                    <a:pt x="776890" y="1466560"/>
                  </a:cubicBezTo>
                  <a:cubicBezTo>
                    <a:pt x="776890" y="1466560"/>
                    <a:pt x="285981" y="1570692"/>
                    <a:pt x="9287" y="1520113"/>
                  </a:cubicBezTo>
                  <a:cubicBezTo>
                    <a:pt x="12262" y="1520113"/>
                    <a:pt x="-59143" y="514494"/>
                    <a:pt x="152097" y="2758"/>
                  </a:cubicBezTo>
                  <a:close/>
                </a:path>
              </a:pathLst>
            </a:custGeom>
            <a:solidFill>
              <a:srgbClr val="D1615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9C309964-B807-406E-892C-189EEC5668F9}"/>
                </a:ext>
              </a:extLst>
            </p:cNvPr>
            <p:cNvSpPr/>
            <p:nvPr/>
          </p:nvSpPr>
          <p:spPr>
            <a:xfrm>
              <a:off x="4249602" y="8507483"/>
              <a:ext cx="517685" cy="1527671"/>
            </a:xfrm>
            <a:custGeom>
              <a:avLst/>
              <a:gdLst>
                <a:gd name="connsiteX0" fmla="*/ 517686 w 517685"/>
                <a:gd name="connsiteY0" fmla="*/ 0 h 1527671"/>
                <a:gd name="connsiteX1" fmla="*/ 374876 w 517685"/>
                <a:gd name="connsiteY1" fmla="*/ 1517355 h 1527671"/>
                <a:gd name="connsiteX2" fmla="*/ 0 w 517685"/>
                <a:gd name="connsiteY2" fmla="*/ 1511405 h 1527671"/>
                <a:gd name="connsiteX3" fmla="*/ 133884 w 517685"/>
                <a:gd name="connsiteY3" fmla="*/ 104132 h 1527671"/>
                <a:gd name="connsiteX4" fmla="*/ 517686 w 517685"/>
                <a:gd name="connsiteY4" fmla="*/ 0 h 152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7685" h="1527671">
                  <a:moveTo>
                    <a:pt x="517686" y="0"/>
                  </a:moveTo>
                  <a:cubicBezTo>
                    <a:pt x="517686" y="0"/>
                    <a:pt x="330248" y="717025"/>
                    <a:pt x="374876" y="1517355"/>
                  </a:cubicBezTo>
                  <a:cubicBezTo>
                    <a:pt x="374876" y="1517355"/>
                    <a:pt x="77355" y="1544133"/>
                    <a:pt x="0" y="1511405"/>
                  </a:cubicBezTo>
                  <a:cubicBezTo>
                    <a:pt x="0" y="1511405"/>
                    <a:pt x="89256" y="154711"/>
                    <a:pt x="133884" y="104132"/>
                  </a:cubicBezTo>
                  <a:cubicBezTo>
                    <a:pt x="181488" y="50578"/>
                    <a:pt x="517686" y="0"/>
                    <a:pt x="517686" y="0"/>
                  </a:cubicBezTo>
                  <a:close/>
                </a:path>
              </a:pathLst>
            </a:custGeom>
            <a:solidFill>
              <a:srgbClr val="D1615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FE5C2F58-E10F-46C0-815F-7658C8498B84}"/>
                </a:ext>
              </a:extLst>
            </p:cNvPr>
            <p:cNvSpPr/>
            <p:nvPr/>
          </p:nvSpPr>
          <p:spPr>
            <a:xfrm>
              <a:off x="4270428" y="8607408"/>
              <a:ext cx="120240" cy="1054455"/>
            </a:xfrm>
            <a:custGeom>
              <a:avLst/>
              <a:gdLst>
                <a:gd name="connsiteX0" fmla="*/ 5951 w 120240"/>
                <a:gd name="connsiteY0" fmla="*/ 1054456 h 1054455"/>
                <a:gd name="connsiteX1" fmla="*/ 5951 w 120240"/>
                <a:gd name="connsiteY1" fmla="*/ 1054456 h 1054455"/>
                <a:gd name="connsiteX2" fmla="*/ 0 w 120240"/>
                <a:gd name="connsiteY2" fmla="*/ 1048505 h 1054455"/>
                <a:gd name="connsiteX3" fmla="*/ 38678 w 120240"/>
                <a:gd name="connsiteY3" fmla="*/ 578423 h 1054455"/>
                <a:gd name="connsiteX4" fmla="*/ 110083 w 120240"/>
                <a:gd name="connsiteY4" fmla="*/ 4208 h 1054455"/>
                <a:gd name="connsiteX5" fmla="*/ 116033 w 120240"/>
                <a:gd name="connsiteY5" fmla="*/ 1232 h 1054455"/>
                <a:gd name="connsiteX6" fmla="*/ 119008 w 120240"/>
                <a:gd name="connsiteY6" fmla="*/ 7183 h 1054455"/>
                <a:gd name="connsiteX7" fmla="*/ 47603 w 120240"/>
                <a:gd name="connsiteY7" fmla="*/ 581398 h 1054455"/>
                <a:gd name="connsiteX8" fmla="*/ 8926 w 120240"/>
                <a:gd name="connsiteY8" fmla="*/ 1051480 h 1054455"/>
                <a:gd name="connsiteX9" fmla="*/ 5951 w 120240"/>
                <a:gd name="connsiteY9" fmla="*/ 1054456 h 1054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240" h="1054455">
                  <a:moveTo>
                    <a:pt x="5951" y="1054456"/>
                  </a:moveTo>
                  <a:cubicBezTo>
                    <a:pt x="5951" y="1054456"/>
                    <a:pt x="5951" y="1054456"/>
                    <a:pt x="5951" y="1054456"/>
                  </a:cubicBezTo>
                  <a:cubicBezTo>
                    <a:pt x="2975" y="1054456"/>
                    <a:pt x="0" y="1051480"/>
                    <a:pt x="0" y="1048505"/>
                  </a:cubicBezTo>
                  <a:cubicBezTo>
                    <a:pt x="0" y="1045530"/>
                    <a:pt x="29752" y="682555"/>
                    <a:pt x="38678" y="578423"/>
                  </a:cubicBezTo>
                  <a:cubicBezTo>
                    <a:pt x="41653" y="557596"/>
                    <a:pt x="104132" y="42885"/>
                    <a:pt x="110083" y="4208"/>
                  </a:cubicBezTo>
                  <a:cubicBezTo>
                    <a:pt x="110083" y="1232"/>
                    <a:pt x="113058" y="-1743"/>
                    <a:pt x="116033" y="1232"/>
                  </a:cubicBezTo>
                  <a:cubicBezTo>
                    <a:pt x="119008" y="1232"/>
                    <a:pt x="121983" y="4208"/>
                    <a:pt x="119008" y="7183"/>
                  </a:cubicBezTo>
                  <a:cubicBezTo>
                    <a:pt x="110083" y="45860"/>
                    <a:pt x="47603" y="575447"/>
                    <a:pt x="47603" y="581398"/>
                  </a:cubicBezTo>
                  <a:cubicBezTo>
                    <a:pt x="38678" y="685530"/>
                    <a:pt x="8926" y="1048505"/>
                    <a:pt x="8926" y="1051480"/>
                  </a:cubicBezTo>
                  <a:cubicBezTo>
                    <a:pt x="11901" y="1051480"/>
                    <a:pt x="8926" y="1054456"/>
                    <a:pt x="5951" y="1054456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0867E05E-D4B3-4CDC-AE1E-0383C6F1A72A}"/>
                </a:ext>
              </a:extLst>
            </p:cNvPr>
            <p:cNvSpPr/>
            <p:nvPr/>
          </p:nvSpPr>
          <p:spPr>
            <a:xfrm>
              <a:off x="4692908" y="8351540"/>
              <a:ext cx="239248" cy="66686"/>
            </a:xfrm>
            <a:custGeom>
              <a:avLst/>
              <a:gdLst>
                <a:gd name="connsiteX0" fmla="*/ 101157 w 239248"/>
                <a:gd name="connsiteY0" fmla="*/ 66687 h 66686"/>
                <a:gd name="connsiteX1" fmla="*/ 80330 w 239248"/>
                <a:gd name="connsiteY1" fmla="*/ 63712 h 66686"/>
                <a:gd name="connsiteX2" fmla="*/ 26777 w 239248"/>
                <a:gd name="connsiteY2" fmla="*/ 45861 h 66686"/>
                <a:gd name="connsiteX3" fmla="*/ 2975 w 239248"/>
                <a:gd name="connsiteY3" fmla="*/ 33959 h 66686"/>
                <a:gd name="connsiteX4" fmla="*/ 0 w 239248"/>
                <a:gd name="connsiteY4" fmla="*/ 25034 h 66686"/>
                <a:gd name="connsiteX5" fmla="*/ 8925 w 239248"/>
                <a:gd name="connsiteY5" fmla="*/ 22059 h 66686"/>
                <a:gd name="connsiteX6" fmla="*/ 17851 w 239248"/>
                <a:gd name="connsiteY6" fmla="*/ 28009 h 66686"/>
                <a:gd name="connsiteX7" fmla="*/ 23802 w 239248"/>
                <a:gd name="connsiteY7" fmla="*/ 28009 h 66686"/>
                <a:gd name="connsiteX8" fmla="*/ 32727 w 239248"/>
                <a:gd name="connsiteY8" fmla="*/ 33959 h 66686"/>
                <a:gd name="connsiteX9" fmla="*/ 80330 w 239248"/>
                <a:gd name="connsiteY9" fmla="*/ 51811 h 66686"/>
                <a:gd name="connsiteX10" fmla="*/ 92231 w 239248"/>
                <a:gd name="connsiteY10" fmla="*/ 51811 h 66686"/>
                <a:gd name="connsiteX11" fmla="*/ 181488 w 239248"/>
                <a:gd name="connsiteY11" fmla="*/ 25034 h 66686"/>
                <a:gd name="connsiteX12" fmla="*/ 229091 w 239248"/>
                <a:gd name="connsiteY12" fmla="*/ 1232 h 66686"/>
                <a:gd name="connsiteX13" fmla="*/ 238017 w 239248"/>
                <a:gd name="connsiteY13" fmla="*/ 4207 h 66686"/>
                <a:gd name="connsiteX14" fmla="*/ 235041 w 239248"/>
                <a:gd name="connsiteY14" fmla="*/ 13133 h 66686"/>
                <a:gd name="connsiteX15" fmla="*/ 187438 w 239248"/>
                <a:gd name="connsiteY15" fmla="*/ 36935 h 66686"/>
                <a:gd name="connsiteX16" fmla="*/ 116033 w 239248"/>
                <a:gd name="connsiteY16" fmla="*/ 63712 h 66686"/>
                <a:gd name="connsiteX17" fmla="*/ 101157 w 239248"/>
                <a:gd name="connsiteY17" fmla="*/ 66687 h 66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9248" h="66686">
                  <a:moveTo>
                    <a:pt x="101157" y="66687"/>
                  </a:moveTo>
                  <a:cubicBezTo>
                    <a:pt x="95207" y="66687"/>
                    <a:pt x="86281" y="66687"/>
                    <a:pt x="80330" y="63712"/>
                  </a:cubicBezTo>
                  <a:cubicBezTo>
                    <a:pt x="56529" y="60737"/>
                    <a:pt x="38678" y="51811"/>
                    <a:pt x="26777" y="45861"/>
                  </a:cubicBezTo>
                  <a:cubicBezTo>
                    <a:pt x="14876" y="39910"/>
                    <a:pt x="5950" y="33959"/>
                    <a:pt x="2975" y="33959"/>
                  </a:cubicBezTo>
                  <a:cubicBezTo>
                    <a:pt x="0" y="30985"/>
                    <a:pt x="0" y="28009"/>
                    <a:pt x="0" y="25034"/>
                  </a:cubicBezTo>
                  <a:cubicBezTo>
                    <a:pt x="2975" y="22059"/>
                    <a:pt x="5950" y="22059"/>
                    <a:pt x="8925" y="22059"/>
                  </a:cubicBezTo>
                  <a:cubicBezTo>
                    <a:pt x="8925" y="22059"/>
                    <a:pt x="11901" y="25034"/>
                    <a:pt x="17851" y="28009"/>
                  </a:cubicBezTo>
                  <a:cubicBezTo>
                    <a:pt x="20826" y="28009"/>
                    <a:pt x="20826" y="28009"/>
                    <a:pt x="23802" y="28009"/>
                  </a:cubicBezTo>
                  <a:cubicBezTo>
                    <a:pt x="23802" y="28009"/>
                    <a:pt x="26777" y="30985"/>
                    <a:pt x="32727" y="33959"/>
                  </a:cubicBezTo>
                  <a:cubicBezTo>
                    <a:pt x="47603" y="39910"/>
                    <a:pt x="65454" y="48835"/>
                    <a:pt x="80330" y="51811"/>
                  </a:cubicBezTo>
                  <a:cubicBezTo>
                    <a:pt x="83306" y="51811"/>
                    <a:pt x="89256" y="51811"/>
                    <a:pt x="92231" y="51811"/>
                  </a:cubicBezTo>
                  <a:cubicBezTo>
                    <a:pt x="116033" y="51811"/>
                    <a:pt x="151736" y="36935"/>
                    <a:pt x="181488" y="25034"/>
                  </a:cubicBezTo>
                  <a:cubicBezTo>
                    <a:pt x="208264" y="13133"/>
                    <a:pt x="229091" y="1232"/>
                    <a:pt x="229091" y="1232"/>
                  </a:cubicBezTo>
                  <a:cubicBezTo>
                    <a:pt x="232066" y="-1743"/>
                    <a:pt x="235041" y="1232"/>
                    <a:pt x="238017" y="4207"/>
                  </a:cubicBezTo>
                  <a:cubicBezTo>
                    <a:pt x="240992" y="7183"/>
                    <a:pt x="238017" y="10158"/>
                    <a:pt x="235041" y="13133"/>
                  </a:cubicBezTo>
                  <a:cubicBezTo>
                    <a:pt x="232066" y="13133"/>
                    <a:pt x="211240" y="25034"/>
                    <a:pt x="187438" y="36935"/>
                  </a:cubicBezTo>
                  <a:cubicBezTo>
                    <a:pt x="163636" y="48835"/>
                    <a:pt x="133884" y="60737"/>
                    <a:pt x="116033" y="63712"/>
                  </a:cubicBezTo>
                  <a:cubicBezTo>
                    <a:pt x="110083" y="66687"/>
                    <a:pt x="104132" y="66687"/>
                    <a:pt x="101157" y="66687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DCD0FE11-E515-4F04-8B79-AE3A6991378A}"/>
                </a:ext>
              </a:extLst>
            </p:cNvPr>
            <p:cNvSpPr/>
            <p:nvPr/>
          </p:nvSpPr>
          <p:spPr>
            <a:xfrm>
              <a:off x="5041007" y="9638061"/>
              <a:ext cx="210495" cy="240991"/>
            </a:xfrm>
            <a:custGeom>
              <a:avLst/>
              <a:gdLst>
                <a:gd name="connsiteX0" fmla="*/ 169587 w 210495"/>
                <a:gd name="connsiteY0" fmla="*/ 240992 h 240991"/>
                <a:gd name="connsiteX1" fmla="*/ 166612 w 210495"/>
                <a:gd name="connsiteY1" fmla="*/ 240992 h 240991"/>
                <a:gd name="connsiteX2" fmla="*/ 0 w 210495"/>
                <a:gd name="connsiteY2" fmla="*/ 35703 h 240991"/>
                <a:gd name="connsiteX3" fmla="*/ 2975 w 210495"/>
                <a:gd name="connsiteY3" fmla="*/ 29752 h 240991"/>
                <a:gd name="connsiteX4" fmla="*/ 53554 w 210495"/>
                <a:gd name="connsiteY4" fmla="*/ 0 h 240991"/>
                <a:gd name="connsiteX5" fmla="*/ 59504 w 210495"/>
                <a:gd name="connsiteY5" fmla="*/ 0 h 240991"/>
                <a:gd name="connsiteX6" fmla="*/ 62479 w 210495"/>
                <a:gd name="connsiteY6" fmla="*/ 2975 h 240991"/>
                <a:gd name="connsiteX7" fmla="*/ 208264 w 210495"/>
                <a:gd name="connsiteY7" fmla="*/ 190414 h 240991"/>
                <a:gd name="connsiteX8" fmla="*/ 208264 w 210495"/>
                <a:gd name="connsiteY8" fmla="*/ 196364 h 240991"/>
                <a:gd name="connsiteX9" fmla="*/ 175537 w 210495"/>
                <a:gd name="connsiteY9" fmla="*/ 240992 h 240991"/>
                <a:gd name="connsiteX10" fmla="*/ 169587 w 210495"/>
                <a:gd name="connsiteY10" fmla="*/ 240992 h 240991"/>
                <a:gd name="connsiteX11" fmla="*/ 169587 w 210495"/>
                <a:gd name="connsiteY11" fmla="*/ 240992 h 240991"/>
                <a:gd name="connsiteX12" fmla="*/ 14876 w 210495"/>
                <a:gd name="connsiteY12" fmla="*/ 35703 h 240991"/>
                <a:gd name="connsiteX13" fmla="*/ 169587 w 210495"/>
                <a:gd name="connsiteY13" fmla="*/ 229091 h 240991"/>
                <a:gd name="connsiteX14" fmla="*/ 196364 w 210495"/>
                <a:gd name="connsiteY14" fmla="*/ 193388 h 240991"/>
                <a:gd name="connsiteX15" fmla="*/ 53554 w 210495"/>
                <a:gd name="connsiteY15" fmla="*/ 11902 h 240991"/>
                <a:gd name="connsiteX16" fmla="*/ 14876 w 210495"/>
                <a:gd name="connsiteY16" fmla="*/ 35703 h 24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0495" h="240991">
                  <a:moveTo>
                    <a:pt x="169587" y="240992"/>
                  </a:moveTo>
                  <a:cubicBezTo>
                    <a:pt x="169587" y="240992"/>
                    <a:pt x="166612" y="240992"/>
                    <a:pt x="166612" y="240992"/>
                  </a:cubicBezTo>
                  <a:cubicBezTo>
                    <a:pt x="59504" y="157687"/>
                    <a:pt x="2975" y="38678"/>
                    <a:pt x="0" y="35703"/>
                  </a:cubicBezTo>
                  <a:cubicBezTo>
                    <a:pt x="0" y="32727"/>
                    <a:pt x="0" y="29752"/>
                    <a:pt x="2975" y="29752"/>
                  </a:cubicBezTo>
                  <a:lnTo>
                    <a:pt x="53554" y="0"/>
                  </a:lnTo>
                  <a:cubicBezTo>
                    <a:pt x="53554" y="0"/>
                    <a:pt x="56529" y="0"/>
                    <a:pt x="59504" y="0"/>
                  </a:cubicBezTo>
                  <a:cubicBezTo>
                    <a:pt x="62479" y="0"/>
                    <a:pt x="62479" y="2975"/>
                    <a:pt x="62479" y="2975"/>
                  </a:cubicBezTo>
                  <a:cubicBezTo>
                    <a:pt x="77355" y="53554"/>
                    <a:pt x="205289" y="190414"/>
                    <a:pt x="208264" y="190414"/>
                  </a:cubicBezTo>
                  <a:cubicBezTo>
                    <a:pt x="211240" y="193388"/>
                    <a:pt x="211240" y="196364"/>
                    <a:pt x="208264" y="196364"/>
                  </a:cubicBezTo>
                  <a:lnTo>
                    <a:pt x="175537" y="240992"/>
                  </a:lnTo>
                  <a:cubicBezTo>
                    <a:pt x="175537" y="240992"/>
                    <a:pt x="172562" y="240992"/>
                    <a:pt x="169587" y="240992"/>
                  </a:cubicBezTo>
                  <a:cubicBezTo>
                    <a:pt x="169587" y="240992"/>
                    <a:pt x="169587" y="240992"/>
                    <a:pt x="169587" y="240992"/>
                  </a:cubicBezTo>
                  <a:close/>
                  <a:moveTo>
                    <a:pt x="14876" y="35703"/>
                  </a:moveTo>
                  <a:cubicBezTo>
                    <a:pt x="26777" y="56530"/>
                    <a:pt x="80330" y="154711"/>
                    <a:pt x="169587" y="229091"/>
                  </a:cubicBezTo>
                  <a:lnTo>
                    <a:pt x="196364" y="193388"/>
                  </a:lnTo>
                  <a:cubicBezTo>
                    <a:pt x="175537" y="172563"/>
                    <a:pt x="77355" y="65455"/>
                    <a:pt x="53554" y="11902"/>
                  </a:cubicBezTo>
                  <a:lnTo>
                    <a:pt x="14876" y="35703"/>
                  </a:ln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B94B4564-C373-4935-AF84-E2CDA0C4D34B}"/>
                </a:ext>
              </a:extLst>
            </p:cNvPr>
            <p:cNvSpPr/>
            <p:nvPr/>
          </p:nvSpPr>
          <p:spPr>
            <a:xfrm>
              <a:off x="4266131" y="9664839"/>
              <a:ext cx="75702" cy="130908"/>
            </a:xfrm>
            <a:custGeom>
              <a:avLst/>
              <a:gdLst>
                <a:gd name="connsiteX0" fmla="*/ 7273 w 75702"/>
                <a:gd name="connsiteY0" fmla="*/ 130909 h 130908"/>
                <a:gd name="connsiteX1" fmla="*/ 1322 w 75702"/>
                <a:gd name="connsiteY1" fmla="*/ 127934 h 130908"/>
                <a:gd name="connsiteX2" fmla="*/ 4297 w 75702"/>
                <a:gd name="connsiteY2" fmla="*/ 121983 h 130908"/>
                <a:gd name="connsiteX3" fmla="*/ 66777 w 75702"/>
                <a:gd name="connsiteY3" fmla="*/ 68429 h 130908"/>
                <a:gd name="connsiteX4" fmla="*/ 66777 w 75702"/>
                <a:gd name="connsiteY4" fmla="*/ 20826 h 130908"/>
                <a:gd name="connsiteX5" fmla="*/ 10248 w 75702"/>
                <a:gd name="connsiteY5" fmla="*/ 80330 h 130908"/>
                <a:gd name="connsiteX6" fmla="*/ 1322 w 75702"/>
                <a:gd name="connsiteY6" fmla="*/ 80330 h 130908"/>
                <a:gd name="connsiteX7" fmla="*/ 1322 w 75702"/>
                <a:gd name="connsiteY7" fmla="*/ 71405 h 130908"/>
                <a:gd name="connsiteX8" fmla="*/ 66777 w 75702"/>
                <a:gd name="connsiteY8" fmla="*/ 2974 h 130908"/>
                <a:gd name="connsiteX9" fmla="*/ 72727 w 75702"/>
                <a:gd name="connsiteY9" fmla="*/ 0 h 130908"/>
                <a:gd name="connsiteX10" fmla="*/ 75702 w 75702"/>
                <a:gd name="connsiteY10" fmla="*/ 5950 h 130908"/>
                <a:gd name="connsiteX11" fmla="*/ 75702 w 75702"/>
                <a:gd name="connsiteY11" fmla="*/ 71405 h 130908"/>
                <a:gd name="connsiteX12" fmla="*/ 75702 w 75702"/>
                <a:gd name="connsiteY12" fmla="*/ 74380 h 130908"/>
                <a:gd name="connsiteX13" fmla="*/ 7273 w 75702"/>
                <a:gd name="connsiteY13" fmla="*/ 130909 h 130908"/>
                <a:gd name="connsiteX14" fmla="*/ 7273 w 75702"/>
                <a:gd name="connsiteY14" fmla="*/ 130909 h 130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5702" h="130908">
                  <a:moveTo>
                    <a:pt x="7273" y="130909"/>
                  </a:moveTo>
                  <a:cubicBezTo>
                    <a:pt x="4297" y="130909"/>
                    <a:pt x="4297" y="130909"/>
                    <a:pt x="1322" y="127934"/>
                  </a:cubicBezTo>
                  <a:cubicBezTo>
                    <a:pt x="1322" y="124958"/>
                    <a:pt x="1322" y="121983"/>
                    <a:pt x="4297" y="121983"/>
                  </a:cubicBezTo>
                  <a:cubicBezTo>
                    <a:pt x="31074" y="110082"/>
                    <a:pt x="60826" y="77355"/>
                    <a:pt x="66777" y="68429"/>
                  </a:cubicBezTo>
                  <a:lnTo>
                    <a:pt x="66777" y="20826"/>
                  </a:lnTo>
                  <a:cubicBezTo>
                    <a:pt x="54876" y="35702"/>
                    <a:pt x="31074" y="62479"/>
                    <a:pt x="10248" y="80330"/>
                  </a:cubicBezTo>
                  <a:cubicBezTo>
                    <a:pt x="7273" y="83305"/>
                    <a:pt x="4297" y="80330"/>
                    <a:pt x="1322" y="80330"/>
                  </a:cubicBezTo>
                  <a:cubicBezTo>
                    <a:pt x="-1653" y="77355"/>
                    <a:pt x="1322" y="74380"/>
                    <a:pt x="1322" y="71405"/>
                  </a:cubicBezTo>
                  <a:cubicBezTo>
                    <a:pt x="34050" y="47603"/>
                    <a:pt x="66777" y="2974"/>
                    <a:pt x="66777" y="2974"/>
                  </a:cubicBezTo>
                  <a:cubicBezTo>
                    <a:pt x="66777" y="0"/>
                    <a:pt x="69752" y="0"/>
                    <a:pt x="72727" y="0"/>
                  </a:cubicBezTo>
                  <a:cubicBezTo>
                    <a:pt x="75702" y="0"/>
                    <a:pt x="75702" y="2974"/>
                    <a:pt x="75702" y="5950"/>
                  </a:cubicBezTo>
                  <a:lnTo>
                    <a:pt x="75702" y="71405"/>
                  </a:lnTo>
                  <a:cubicBezTo>
                    <a:pt x="75702" y="71405"/>
                    <a:pt x="75702" y="74380"/>
                    <a:pt x="75702" y="74380"/>
                  </a:cubicBezTo>
                  <a:cubicBezTo>
                    <a:pt x="75702" y="74380"/>
                    <a:pt x="40000" y="116033"/>
                    <a:pt x="7273" y="130909"/>
                  </a:cubicBezTo>
                  <a:cubicBezTo>
                    <a:pt x="7273" y="130909"/>
                    <a:pt x="7273" y="130909"/>
                    <a:pt x="7273" y="130909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2" name="图形 1">
              <a:extLst>
                <a:ext uri="{FF2B5EF4-FFF2-40B4-BE49-F238E27FC236}">
                  <a16:creationId xmlns:a16="http://schemas.microsoft.com/office/drawing/2014/main" id="{8A150D6E-585B-4D0F-80BA-14389F94A500}"/>
                </a:ext>
              </a:extLst>
            </p:cNvPr>
            <p:cNvGrpSpPr/>
            <p:nvPr/>
          </p:nvGrpSpPr>
          <p:grpSpPr>
            <a:xfrm>
              <a:off x="4550098" y="7447746"/>
              <a:ext cx="532753" cy="565852"/>
              <a:chOff x="4550098" y="7447746"/>
              <a:chExt cx="532753" cy="565852"/>
            </a:xfrm>
          </p:grpSpPr>
          <p:grpSp>
            <p:nvGrpSpPr>
              <p:cNvPr id="65" name="图形 1">
                <a:extLst>
                  <a:ext uri="{FF2B5EF4-FFF2-40B4-BE49-F238E27FC236}">
                    <a16:creationId xmlns:a16="http://schemas.microsoft.com/office/drawing/2014/main" id="{B6CEBEE6-E460-4B06-8D67-3F97261B676D}"/>
                  </a:ext>
                </a:extLst>
              </p:cNvPr>
              <p:cNvGrpSpPr/>
              <p:nvPr/>
            </p:nvGrpSpPr>
            <p:grpSpPr>
              <a:xfrm>
                <a:off x="4550098" y="7447746"/>
                <a:ext cx="529586" cy="559634"/>
                <a:chOff x="4550098" y="7447746"/>
                <a:chExt cx="529586" cy="559634"/>
              </a:xfrm>
            </p:grpSpPr>
            <p:sp>
              <p:nvSpPr>
                <p:cNvPr id="68" name="任意多边形: 形状 67">
                  <a:extLst>
                    <a:ext uri="{FF2B5EF4-FFF2-40B4-BE49-F238E27FC236}">
                      <a16:creationId xmlns:a16="http://schemas.microsoft.com/office/drawing/2014/main" id="{CCD08714-C2F4-4236-A233-561D4BD356C6}"/>
                    </a:ext>
                  </a:extLst>
                </p:cNvPr>
                <p:cNvSpPr/>
                <p:nvPr/>
              </p:nvSpPr>
              <p:spPr>
                <a:xfrm>
                  <a:off x="4550098" y="7620711"/>
                  <a:ext cx="529586" cy="386669"/>
                </a:xfrm>
                <a:custGeom>
                  <a:avLst/>
                  <a:gdLst>
                    <a:gd name="connsiteX0" fmla="*/ 121983 w 529586"/>
                    <a:gd name="connsiteY0" fmla="*/ 86442 h 386669"/>
                    <a:gd name="connsiteX1" fmla="*/ 300496 w 529586"/>
                    <a:gd name="connsiteY1" fmla="*/ 3136 h 386669"/>
                    <a:gd name="connsiteX2" fmla="*/ 508760 w 529586"/>
                    <a:gd name="connsiteY2" fmla="*/ 276855 h 386669"/>
                    <a:gd name="connsiteX3" fmla="*/ 529587 w 529586"/>
                    <a:gd name="connsiteY3" fmla="*/ 357186 h 386669"/>
                    <a:gd name="connsiteX4" fmla="*/ 529587 w 529586"/>
                    <a:gd name="connsiteY4" fmla="*/ 363136 h 386669"/>
                    <a:gd name="connsiteX5" fmla="*/ 523636 w 529586"/>
                    <a:gd name="connsiteY5" fmla="*/ 366111 h 386669"/>
                    <a:gd name="connsiteX6" fmla="*/ 208264 w 529586"/>
                    <a:gd name="connsiteY6" fmla="*/ 383962 h 386669"/>
                    <a:gd name="connsiteX7" fmla="*/ 5950 w 529586"/>
                    <a:gd name="connsiteY7" fmla="*/ 345285 h 386669"/>
                    <a:gd name="connsiteX8" fmla="*/ 0 w 529586"/>
                    <a:gd name="connsiteY8" fmla="*/ 339334 h 386669"/>
                    <a:gd name="connsiteX9" fmla="*/ 121983 w 529586"/>
                    <a:gd name="connsiteY9" fmla="*/ 86442 h 386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29586" h="386669">
                      <a:moveTo>
                        <a:pt x="121983" y="86442"/>
                      </a:moveTo>
                      <a:cubicBezTo>
                        <a:pt x="160661" y="47764"/>
                        <a:pt x="255868" y="-14715"/>
                        <a:pt x="300496" y="3136"/>
                      </a:cubicBezTo>
                      <a:cubicBezTo>
                        <a:pt x="425455" y="47764"/>
                        <a:pt x="467107" y="175698"/>
                        <a:pt x="508760" y="276855"/>
                      </a:cubicBezTo>
                      <a:cubicBezTo>
                        <a:pt x="523636" y="315533"/>
                        <a:pt x="529587" y="354210"/>
                        <a:pt x="529587" y="357186"/>
                      </a:cubicBezTo>
                      <a:cubicBezTo>
                        <a:pt x="529587" y="360161"/>
                        <a:pt x="529587" y="360161"/>
                        <a:pt x="529587" y="363136"/>
                      </a:cubicBezTo>
                      <a:cubicBezTo>
                        <a:pt x="529587" y="366111"/>
                        <a:pt x="526612" y="366111"/>
                        <a:pt x="523636" y="366111"/>
                      </a:cubicBezTo>
                      <a:cubicBezTo>
                        <a:pt x="392727" y="386938"/>
                        <a:pt x="288595" y="389913"/>
                        <a:pt x="208264" y="383962"/>
                      </a:cubicBezTo>
                      <a:cubicBezTo>
                        <a:pt x="77355" y="375037"/>
                        <a:pt x="11901" y="345285"/>
                        <a:pt x="5950" y="345285"/>
                      </a:cubicBezTo>
                      <a:cubicBezTo>
                        <a:pt x="2975" y="345285"/>
                        <a:pt x="0" y="342310"/>
                        <a:pt x="0" y="339334"/>
                      </a:cubicBezTo>
                      <a:cubicBezTo>
                        <a:pt x="0" y="336359"/>
                        <a:pt x="11901" y="199500"/>
                        <a:pt x="121983" y="86442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9" name="任意多边形: 形状 68">
                  <a:extLst>
                    <a:ext uri="{FF2B5EF4-FFF2-40B4-BE49-F238E27FC236}">
                      <a16:creationId xmlns:a16="http://schemas.microsoft.com/office/drawing/2014/main" id="{1B1BD8D1-A172-45A8-955D-06B37E949279}"/>
                    </a:ext>
                  </a:extLst>
                </p:cNvPr>
                <p:cNvSpPr/>
                <p:nvPr/>
              </p:nvSpPr>
              <p:spPr>
                <a:xfrm>
                  <a:off x="4766724" y="7453694"/>
                  <a:ext cx="206419" cy="205855"/>
                </a:xfrm>
                <a:custGeom>
                  <a:avLst/>
                  <a:gdLst>
                    <a:gd name="connsiteX0" fmla="*/ 24365 w 206419"/>
                    <a:gd name="connsiteY0" fmla="*/ 36269 h 205855"/>
                    <a:gd name="connsiteX1" fmla="*/ 92795 w 206419"/>
                    <a:gd name="connsiteY1" fmla="*/ 566 h 205855"/>
                    <a:gd name="connsiteX2" fmla="*/ 205853 w 206419"/>
                    <a:gd name="connsiteY2" fmla="*/ 92798 h 205855"/>
                    <a:gd name="connsiteX3" fmla="*/ 113622 w 206419"/>
                    <a:gd name="connsiteY3" fmla="*/ 205856 h 205855"/>
                    <a:gd name="connsiteX4" fmla="*/ 95770 w 206419"/>
                    <a:gd name="connsiteY4" fmla="*/ 205856 h 205855"/>
                    <a:gd name="connsiteX5" fmla="*/ 36266 w 206419"/>
                    <a:gd name="connsiteY5" fmla="*/ 182054 h 205855"/>
                    <a:gd name="connsiteX6" fmla="*/ 564 w 206419"/>
                    <a:gd name="connsiteY6" fmla="*/ 113624 h 205855"/>
                    <a:gd name="connsiteX7" fmla="*/ 24365 w 206419"/>
                    <a:gd name="connsiteY7" fmla="*/ 36269 h 205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6419" h="205855">
                      <a:moveTo>
                        <a:pt x="24365" y="36269"/>
                      </a:moveTo>
                      <a:cubicBezTo>
                        <a:pt x="42217" y="15442"/>
                        <a:pt x="66018" y="566"/>
                        <a:pt x="92795" y="566"/>
                      </a:cubicBezTo>
                      <a:cubicBezTo>
                        <a:pt x="149324" y="-5384"/>
                        <a:pt x="199903" y="36269"/>
                        <a:pt x="205853" y="92798"/>
                      </a:cubicBezTo>
                      <a:cubicBezTo>
                        <a:pt x="211803" y="149326"/>
                        <a:pt x="170151" y="199905"/>
                        <a:pt x="113622" y="205856"/>
                      </a:cubicBezTo>
                      <a:cubicBezTo>
                        <a:pt x="107671" y="205856"/>
                        <a:pt x="101721" y="205856"/>
                        <a:pt x="95770" y="205856"/>
                      </a:cubicBezTo>
                      <a:cubicBezTo>
                        <a:pt x="74944" y="205856"/>
                        <a:pt x="54117" y="196930"/>
                        <a:pt x="36266" y="182054"/>
                      </a:cubicBezTo>
                      <a:cubicBezTo>
                        <a:pt x="15440" y="164202"/>
                        <a:pt x="564" y="140401"/>
                        <a:pt x="564" y="113624"/>
                      </a:cubicBezTo>
                      <a:cubicBezTo>
                        <a:pt x="-2412" y="83872"/>
                        <a:pt x="6514" y="57095"/>
                        <a:pt x="24365" y="36269"/>
                      </a:cubicBezTo>
                      <a:close/>
                    </a:path>
                  </a:pathLst>
                </a:custGeom>
                <a:solidFill>
                  <a:srgbClr val="7F95BC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: 形状 69">
                  <a:extLst>
                    <a:ext uri="{FF2B5EF4-FFF2-40B4-BE49-F238E27FC236}">
                      <a16:creationId xmlns:a16="http://schemas.microsoft.com/office/drawing/2014/main" id="{A8D45A7F-0AE4-477C-9AE6-686A945BDC8B}"/>
                    </a:ext>
                  </a:extLst>
                </p:cNvPr>
                <p:cNvSpPr/>
                <p:nvPr/>
              </p:nvSpPr>
              <p:spPr>
                <a:xfrm>
                  <a:off x="4760774" y="7447746"/>
                  <a:ext cx="215311" cy="214778"/>
                </a:xfrm>
                <a:custGeom>
                  <a:avLst/>
                  <a:gdLst>
                    <a:gd name="connsiteX0" fmla="*/ 107671 w 215311"/>
                    <a:gd name="connsiteY0" fmla="*/ 214779 h 214778"/>
                    <a:gd name="connsiteX1" fmla="*/ 101721 w 215311"/>
                    <a:gd name="connsiteY1" fmla="*/ 214779 h 214778"/>
                    <a:gd name="connsiteX2" fmla="*/ 39242 w 215311"/>
                    <a:gd name="connsiteY2" fmla="*/ 190977 h 214778"/>
                    <a:gd name="connsiteX3" fmla="*/ 564 w 215311"/>
                    <a:gd name="connsiteY3" fmla="*/ 119572 h 214778"/>
                    <a:gd name="connsiteX4" fmla="*/ 24366 w 215311"/>
                    <a:gd name="connsiteY4" fmla="*/ 39242 h 214778"/>
                    <a:gd name="connsiteX5" fmla="*/ 24366 w 215311"/>
                    <a:gd name="connsiteY5" fmla="*/ 39242 h 214778"/>
                    <a:gd name="connsiteX6" fmla="*/ 95771 w 215311"/>
                    <a:gd name="connsiteY6" fmla="*/ 564 h 214778"/>
                    <a:gd name="connsiteX7" fmla="*/ 176101 w 215311"/>
                    <a:gd name="connsiteY7" fmla="*/ 24365 h 214778"/>
                    <a:gd name="connsiteX8" fmla="*/ 214779 w 215311"/>
                    <a:gd name="connsiteY8" fmla="*/ 95770 h 214778"/>
                    <a:gd name="connsiteX9" fmla="*/ 119572 w 215311"/>
                    <a:gd name="connsiteY9" fmla="*/ 214779 h 214778"/>
                    <a:gd name="connsiteX10" fmla="*/ 107671 w 215311"/>
                    <a:gd name="connsiteY10" fmla="*/ 214779 h 214778"/>
                    <a:gd name="connsiteX11" fmla="*/ 33291 w 215311"/>
                    <a:gd name="connsiteY11" fmla="*/ 45192 h 214778"/>
                    <a:gd name="connsiteX12" fmla="*/ 12465 w 215311"/>
                    <a:gd name="connsiteY12" fmla="*/ 116597 h 214778"/>
                    <a:gd name="connsiteX13" fmla="*/ 48167 w 215311"/>
                    <a:gd name="connsiteY13" fmla="*/ 182052 h 214778"/>
                    <a:gd name="connsiteX14" fmla="*/ 104696 w 215311"/>
                    <a:gd name="connsiteY14" fmla="*/ 202878 h 214778"/>
                    <a:gd name="connsiteX15" fmla="*/ 119572 w 215311"/>
                    <a:gd name="connsiteY15" fmla="*/ 202878 h 214778"/>
                    <a:gd name="connsiteX16" fmla="*/ 205853 w 215311"/>
                    <a:gd name="connsiteY16" fmla="*/ 95770 h 214778"/>
                    <a:gd name="connsiteX17" fmla="*/ 170151 w 215311"/>
                    <a:gd name="connsiteY17" fmla="*/ 30316 h 214778"/>
                    <a:gd name="connsiteX18" fmla="*/ 98746 w 215311"/>
                    <a:gd name="connsiteY18" fmla="*/ 9489 h 214778"/>
                    <a:gd name="connsiteX19" fmla="*/ 33291 w 215311"/>
                    <a:gd name="connsiteY19" fmla="*/ 45192 h 214778"/>
                    <a:gd name="connsiteX20" fmla="*/ 33291 w 215311"/>
                    <a:gd name="connsiteY20" fmla="*/ 45192 h 214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15311" h="214778">
                      <a:moveTo>
                        <a:pt x="107671" y="214779"/>
                      </a:moveTo>
                      <a:cubicBezTo>
                        <a:pt x="104696" y="214779"/>
                        <a:pt x="101721" y="214779"/>
                        <a:pt x="101721" y="214779"/>
                      </a:cubicBezTo>
                      <a:cubicBezTo>
                        <a:pt x="77919" y="214779"/>
                        <a:pt x="57093" y="205853"/>
                        <a:pt x="39242" y="190977"/>
                      </a:cubicBezTo>
                      <a:cubicBezTo>
                        <a:pt x="18415" y="173126"/>
                        <a:pt x="3539" y="146349"/>
                        <a:pt x="564" y="119572"/>
                      </a:cubicBezTo>
                      <a:cubicBezTo>
                        <a:pt x="-2411" y="89820"/>
                        <a:pt x="6514" y="63043"/>
                        <a:pt x="24366" y="39242"/>
                      </a:cubicBezTo>
                      <a:lnTo>
                        <a:pt x="24366" y="39242"/>
                      </a:lnTo>
                      <a:cubicBezTo>
                        <a:pt x="42217" y="18415"/>
                        <a:pt x="68994" y="3539"/>
                        <a:pt x="95771" y="564"/>
                      </a:cubicBezTo>
                      <a:cubicBezTo>
                        <a:pt x="125523" y="-2411"/>
                        <a:pt x="152299" y="6514"/>
                        <a:pt x="176101" y="24365"/>
                      </a:cubicBezTo>
                      <a:cubicBezTo>
                        <a:pt x="199903" y="42217"/>
                        <a:pt x="211803" y="68994"/>
                        <a:pt x="214779" y="95770"/>
                      </a:cubicBezTo>
                      <a:cubicBezTo>
                        <a:pt x="220729" y="155274"/>
                        <a:pt x="176101" y="208828"/>
                        <a:pt x="119572" y="214779"/>
                      </a:cubicBezTo>
                      <a:cubicBezTo>
                        <a:pt x="116597" y="214779"/>
                        <a:pt x="110647" y="214779"/>
                        <a:pt x="107671" y="214779"/>
                      </a:cubicBezTo>
                      <a:close/>
                      <a:moveTo>
                        <a:pt x="33291" y="45192"/>
                      </a:moveTo>
                      <a:cubicBezTo>
                        <a:pt x="18415" y="66018"/>
                        <a:pt x="9489" y="89820"/>
                        <a:pt x="12465" y="116597"/>
                      </a:cubicBezTo>
                      <a:cubicBezTo>
                        <a:pt x="15440" y="143374"/>
                        <a:pt x="27341" y="164200"/>
                        <a:pt x="48167" y="182052"/>
                      </a:cubicBezTo>
                      <a:cubicBezTo>
                        <a:pt x="63043" y="193952"/>
                        <a:pt x="83870" y="202878"/>
                        <a:pt x="104696" y="202878"/>
                      </a:cubicBezTo>
                      <a:cubicBezTo>
                        <a:pt x="110647" y="202878"/>
                        <a:pt x="116597" y="202878"/>
                        <a:pt x="119572" y="202878"/>
                      </a:cubicBezTo>
                      <a:cubicBezTo>
                        <a:pt x="173126" y="196928"/>
                        <a:pt x="211803" y="149324"/>
                        <a:pt x="205853" y="95770"/>
                      </a:cubicBezTo>
                      <a:cubicBezTo>
                        <a:pt x="202878" y="68994"/>
                        <a:pt x="190977" y="48167"/>
                        <a:pt x="170151" y="30316"/>
                      </a:cubicBezTo>
                      <a:cubicBezTo>
                        <a:pt x="149324" y="12465"/>
                        <a:pt x="125523" y="6514"/>
                        <a:pt x="98746" y="9489"/>
                      </a:cubicBezTo>
                      <a:cubicBezTo>
                        <a:pt x="71969" y="15440"/>
                        <a:pt x="48167" y="27341"/>
                        <a:pt x="33291" y="45192"/>
                      </a:cubicBezTo>
                      <a:lnTo>
                        <a:pt x="33291" y="45192"/>
                      </a:lnTo>
                      <a:close/>
                    </a:path>
                  </a:pathLst>
                </a:custGeom>
                <a:solidFill>
                  <a:srgbClr val="F6EBEB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C93E8ADA-EA2B-4645-BD38-D710E6F7D2F1}"/>
                  </a:ext>
                </a:extLst>
              </p:cNvPr>
              <p:cNvSpPr/>
              <p:nvPr/>
            </p:nvSpPr>
            <p:spPr>
              <a:xfrm>
                <a:off x="4556048" y="7897566"/>
                <a:ext cx="511735" cy="53553"/>
              </a:xfrm>
              <a:custGeom>
                <a:avLst/>
                <a:gdLst>
                  <a:gd name="connsiteX0" fmla="*/ 288595 w 511735"/>
                  <a:gd name="connsiteY0" fmla="*/ 53554 h 53553"/>
                  <a:gd name="connsiteX1" fmla="*/ 0 w 511735"/>
                  <a:gd name="connsiteY1" fmla="*/ 8926 h 53553"/>
                  <a:gd name="connsiteX2" fmla="*/ 5951 w 511735"/>
                  <a:gd name="connsiteY2" fmla="*/ 0 h 53553"/>
                  <a:gd name="connsiteX3" fmla="*/ 508761 w 511735"/>
                  <a:gd name="connsiteY3" fmla="*/ 29752 h 53553"/>
                  <a:gd name="connsiteX4" fmla="*/ 511736 w 511735"/>
                  <a:gd name="connsiteY4" fmla="*/ 41653 h 53553"/>
                  <a:gd name="connsiteX5" fmla="*/ 288595 w 511735"/>
                  <a:gd name="connsiteY5" fmla="*/ 53554 h 53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1735" h="53553">
                    <a:moveTo>
                      <a:pt x="288595" y="53554"/>
                    </a:moveTo>
                    <a:cubicBezTo>
                      <a:pt x="190413" y="53554"/>
                      <a:pt x="77356" y="44628"/>
                      <a:pt x="0" y="8926"/>
                    </a:cubicBezTo>
                    <a:lnTo>
                      <a:pt x="5951" y="0"/>
                    </a:lnTo>
                    <a:cubicBezTo>
                      <a:pt x="172562" y="77355"/>
                      <a:pt x="505785" y="29752"/>
                      <a:pt x="508761" y="29752"/>
                    </a:cubicBezTo>
                    <a:lnTo>
                      <a:pt x="511736" y="41653"/>
                    </a:lnTo>
                    <a:cubicBezTo>
                      <a:pt x="505785" y="38678"/>
                      <a:pt x="407603" y="53554"/>
                      <a:pt x="288595" y="53554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F78CF655-EFBA-4DB9-8ECB-A1E0E3DB75AA}"/>
                  </a:ext>
                </a:extLst>
              </p:cNvPr>
              <p:cNvSpPr/>
              <p:nvPr/>
            </p:nvSpPr>
            <p:spPr>
              <a:xfrm>
                <a:off x="4551841" y="7867814"/>
                <a:ext cx="531010" cy="145784"/>
              </a:xfrm>
              <a:custGeom>
                <a:avLst/>
                <a:gdLst>
                  <a:gd name="connsiteX0" fmla="*/ 304704 w 531010"/>
                  <a:gd name="connsiteY0" fmla="*/ 145785 h 145784"/>
                  <a:gd name="connsiteX1" fmla="*/ 4208 w 531010"/>
                  <a:gd name="connsiteY1" fmla="*/ 104132 h 145784"/>
                  <a:gd name="connsiteX2" fmla="*/ 1232 w 531010"/>
                  <a:gd name="connsiteY2" fmla="*/ 98182 h 145784"/>
                  <a:gd name="connsiteX3" fmla="*/ 7183 w 531010"/>
                  <a:gd name="connsiteY3" fmla="*/ 95207 h 145784"/>
                  <a:gd name="connsiteX4" fmla="*/ 521894 w 531010"/>
                  <a:gd name="connsiteY4" fmla="*/ 113058 h 145784"/>
                  <a:gd name="connsiteX5" fmla="*/ 492141 w 531010"/>
                  <a:gd name="connsiteY5" fmla="*/ 5950 h 145784"/>
                  <a:gd name="connsiteX6" fmla="*/ 495117 w 531010"/>
                  <a:gd name="connsiteY6" fmla="*/ 0 h 145784"/>
                  <a:gd name="connsiteX7" fmla="*/ 501067 w 531010"/>
                  <a:gd name="connsiteY7" fmla="*/ 2975 h 145784"/>
                  <a:gd name="connsiteX8" fmla="*/ 530819 w 531010"/>
                  <a:gd name="connsiteY8" fmla="*/ 119008 h 145784"/>
                  <a:gd name="connsiteX9" fmla="*/ 530819 w 531010"/>
                  <a:gd name="connsiteY9" fmla="*/ 121983 h 145784"/>
                  <a:gd name="connsiteX10" fmla="*/ 527844 w 531010"/>
                  <a:gd name="connsiteY10" fmla="*/ 121983 h 145784"/>
                  <a:gd name="connsiteX11" fmla="*/ 304704 w 531010"/>
                  <a:gd name="connsiteY11" fmla="*/ 145785 h 145784"/>
                  <a:gd name="connsiteX12" fmla="*/ 524869 w 531010"/>
                  <a:gd name="connsiteY12" fmla="*/ 116033 h 145784"/>
                  <a:gd name="connsiteX13" fmla="*/ 524869 w 531010"/>
                  <a:gd name="connsiteY13" fmla="*/ 116033 h 145784"/>
                  <a:gd name="connsiteX14" fmla="*/ 524869 w 531010"/>
                  <a:gd name="connsiteY14" fmla="*/ 116033 h 145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31010" h="145784">
                    <a:moveTo>
                      <a:pt x="304704" y="145785"/>
                    </a:moveTo>
                    <a:cubicBezTo>
                      <a:pt x="218423" y="145785"/>
                      <a:pt x="114290" y="136859"/>
                      <a:pt x="4208" y="104132"/>
                    </a:cubicBezTo>
                    <a:cubicBezTo>
                      <a:pt x="1232" y="104132"/>
                      <a:pt x="-1743" y="101157"/>
                      <a:pt x="1232" y="98182"/>
                    </a:cubicBezTo>
                    <a:cubicBezTo>
                      <a:pt x="1232" y="95207"/>
                      <a:pt x="4208" y="92231"/>
                      <a:pt x="7183" y="95207"/>
                    </a:cubicBezTo>
                    <a:cubicBezTo>
                      <a:pt x="271976" y="172562"/>
                      <a:pt x="489166" y="121983"/>
                      <a:pt x="521894" y="113058"/>
                    </a:cubicBezTo>
                    <a:cubicBezTo>
                      <a:pt x="521894" y="77355"/>
                      <a:pt x="492141" y="5950"/>
                      <a:pt x="492141" y="5950"/>
                    </a:cubicBezTo>
                    <a:cubicBezTo>
                      <a:pt x="492141" y="2975"/>
                      <a:pt x="492141" y="0"/>
                      <a:pt x="495117" y="0"/>
                    </a:cubicBezTo>
                    <a:cubicBezTo>
                      <a:pt x="498092" y="0"/>
                      <a:pt x="501067" y="0"/>
                      <a:pt x="501067" y="2975"/>
                    </a:cubicBezTo>
                    <a:cubicBezTo>
                      <a:pt x="501067" y="5950"/>
                      <a:pt x="533794" y="83306"/>
                      <a:pt x="530819" y="119008"/>
                    </a:cubicBezTo>
                    <a:lnTo>
                      <a:pt x="530819" y="121983"/>
                    </a:lnTo>
                    <a:lnTo>
                      <a:pt x="527844" y="121983"/>
                    </a:lnTo>
                    <a:cubicBezTo>
                      <a:pt x="524869" y="121983"/>
                      <a:pt x="438588" y="145785"/>
                      <a:pt x="304704" y="145785"/>
                    </a:cubicBezTo>
                    <a:close/>
                    <a:moveTo>
                      <a:pt x="524869" y="116033"/>
                    </a:moveTo>
                    <a:lnTo>
                      <a:pt x="524869" y="116033"/>
                    </a:lnTo>
                    <a:lnTo>
                      <a:pt x="524869" y="116033"/>
                    </a:ln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EE41FF1D-9170-4CFB-927A-5E6B5DDDA640}"/>
                </a:ext>
              </a:extLst>
            </p:cNvPr>
            <p:cNvSpPr/>
            <p:nvPr/>
          </p:nvSpPr>
          <p:spPr>
            <a:xfrm>
              <a:off x="4621498" y="8504508"/>
              <a:ext cx="151740" cy="1526281"/>
            </a:xfrm>
            <a:custGeom>
              <a:avLst/>
              <a:gdLst>
                <a:gd name="connsiteX0" fmla="*/ 5955 w 151740"/>
                <a:gd name="connsiteY0" fmla="*/ 1526281 h 1526281"/>
                <a:gd name="connsiteX1" fmla="*/ 5 w 151740"/>
                <a:gd name="connsiteY1" fmla="*/ 1520330 h 1526281"/>
                <a:gd name="connsiteX2" fmla="*/ 142814 w 151740"/>
                <a:gd name="connsiteY2" fmla="*/ 2975 h 1526281"/>
                <a:gd name="connsiteX3" fmla="*/ 148765 w 151740"/>
                <a:gd name="connsiteY3" fmla="*/ 0 h 1526281"/>
                <a:gd name="connsiteX4" fmla="*/ 151740 w 151740"/>
                <a:gd name="connsiteY4" fmla="*/ 5950 h 1526281"/>
                <a:gd name="connsiteX5" fmla="*/ 8930 w 151740"/>
                <a:gd name="connsiteY5" fmla="*/ 1520330 h 1526281"/>
                <a:gd name="connsiteX6" fmla="*/ 5955 w 151740"/>
                <a:gd name="connsiteY6" fmla="*/ 1526281 h 1526281"/>
                <a:gd name="connsiteX7" fmla="*/ 5955 w 151740"/>
                <a:gd name="connsiteY7" fmla="*/ 1526281 h 152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740" h="1526281">
                  <a:moveTo>
                    <a:pt x="5955" y="1526281"/>
                  </a:moveTo>
                  <a:cubicBezTo>
                    <a:pt x="2980" y="1526281"/>
                    <a:pt x="5" y="1523306"/>
                    <a:pt x="5" y="1520330"/>
                  </a:cubicBezTo>
                  <a:cubicBezTo>
                    <a:pt x="5" y="1508430"/>
                    <a:pt x="-2971" y="434380"/>
                    <a:pt x="142814" y="2975"/>
                  </a:cubicBezTo>
                  <a:cubicBezTo>
                    <a:pt x="142814" y="0"/>
                    <a:pt x="145790" y="0"/>
                    <a:pt x="148765" y="0"/>
                  </a:cubicBezTo>
                  <a:cubicBezTo>
                    <a:pt x="151740" y="0"/>
                    <a:pt x="151740" y="2975"/>
                    <a:pt x="151740" y="5950"/>
                  </a:cubicBezTo>
                  <a:cubicBezTo>
                    <a:pt x="8930" y="437355"/>
                    <a:pt x="8930" y="1511405"/>
                    <a:pt x="8930" y="1520330"/>
                  </a:cubicBezTo>
                  <a:cubicBezTo>
                    <a:pt x="8930" y="1523306"/>
                    <a:pt x="8930" y="1526281"/>
                    <a:pt x="5955" y="1526281"/>
                  </a:cubicBezTo>
                  <a:cubicBezTo>
                    <a:pt x="5955" y="1526281"/>
                    <a:pt x="5955" y="1526281"/>
                    <a:pt x="5955" y="1526281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17061AF7-30D2-4E03-9046-6C7C4058A3B7}"/>
                </a:ext>
              </a:extLst>
            </p:cNvPr>
            <p:cNvSpPr/>
            <p:nvPr/>
          </p:nvSpPr>
          <p:spPr>
            <a:xfrm>
              <a:off x="4627332" y="8427050"/>
              <a:ext cx="392267" cy="128780"/>
            </a:xfrm>
            <a:custGeom>
              <a:avLst/>
              <a:gdLst>
                <a:gd name="connsiteX0" fmla="*/ 9046 w 392267"/>
                <a:gd name="connsiteY0" fmla="*/ 95309 h 128780"/>
                <a:gd name="connsiteX1" fmla="*/ 380947 w 392267"/>
                <a:gd name="connsiteY1" fmla="*/ 95309 h 128780"/>
                <a:gd name="connsiteX2" fmla="*/ 389873 w 392267"/>
                <a:gd name="connsiteY2" fmla="*/ 74483 h 128780"/>
                <a:gd name="connsiteX3" fmla="*/ 345244 w 392267"/>
                <a:gd name="connsiteY3" fmla="*/ 103 h 128780"/>
                <a:gd name="connsiteX4" fmla="*/ 35823 w 392267"/>
                <a:gd name="connsiteY4" fmla="*/ 3078 h 128780"/>
                <a:gd name="connsiteX5" fmla="*/ 23922 w 392267"/>
                <a:gd name="connsiteY5" fmla="*/ 9028 h 128780"/>
                <a:gd name="connsiteX6" fmla="*/ 3096 w 392267"/>
                <a:gd name="connsiteY6" fmla="*/ 74483 h 128780"/>
                <a:gd name="connsiteX7" fmla="*/ 9046 w 392267"/>
                <a:gd name="connsiteY7" fmla="*/ 95309 h 128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2267" h="128780">
                  <a:moveTo>
                    <a:pt x="9046" y="95309"/>
                  </a:moveTo>
                  <a:cubicBezTo>
                    <a:pt x="131030" y="139937"/>
                    <a:pt x="258964" y="139937"/>
                    <a:pt x="380947" y="95309"/>
                  </a:cubicBezTo>
                  <a:cubicBezTo>
                    <a:pt x="389873" y="92334"/>
                    <a:pt x="395823" y="83408"/>
                    <a:pt x="389873" y="74483"/>
                  </a:cubicBezTo>
                  <a:cubicBezTo>
                    <a:pt x="380947" y="59607"/>
                    <a:pt x="357145" y="-2873"/>
                    <a:pt x="345244" y="103"/>
                  </a:cubicBezTo>
                  <a:cubicBezTo>
                    <a:pt x="241112" y="29855"/>
                    <a:pt x="139955" y="17954"/>
                    <a:pt x="35823" y="3078"/>
                  </a:cubicBezTo>
                  <a:cubicBezTo>
                    <a:pt x="29873" y="3078"/>
                    <a:pt x="23922" y="6053"/>
                    <a:pt x="23922" y="9028"/>
                  </a:cubicBezTo>
                  <a:cubicBezTo>
                    <a:pt x="12021" y="29855"/>
                    <a:pt x="6071" y="50681"/>
                    <a:pt x="3096" y="74483"/>
                  </a:cubicBezTo>
                  <a:cubicBezTo>
                    <a:pt x="-2855" y="86384"/>
                    <a:pt x="121" y="92334"/>
                    <a:pt x="9046" y="95309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85431978-D71F-46F5-807C-83E8CFBE337A}"/>
                </a:ext>
              </a:extLst>
            </p:cNvPr>
            <p:cNvSpPr/>
            <p:nvPr/>
          </p:nvSpPr>
          <p:spPr>
            <a:xfrm>
              <a:off x="3377831" y="9391477"/>
              <a:ext cx="75368" cy="230525"/>
            </a:xfrm>
            <a:custGeom>
              <a:avLst/>
              <a:gdLst>
                <a:gd name="connsiteX0" fmla="*/ 8961 w 75368"/>
                <a:gd name="connsiteY0" fmla="*/ 20470 h 230525"/>
                <a:gd name="connsiteX1" fmla="*/ 65490 w 75368"/>
                <a:gd name="connsiteY1" fmla="*/ 35346 h 230525"/>
                <a:gd name="connsiteX2" fmla="*/ 74416 w 75368"/>
                <a:gd name="connsiteY2" fmla="*/ 193031 h 230525"/>
                <a:gd name="connsiteX3" fmla="*/ 17887 w 75368"/>
                <a:gd name="connsiteY3" fmla="*/ 207907 h 230525"/>
                <a:gd name="connsiteX4" fmla="*/ 8961 w 75368"/>
                <a:gd name="connsiteY4" fmla="*/ 20470 h 23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368" h="230525">
                  <a:moveTo>
                    <a:pt x="8961" y="20470"/>
                  </a:moveTo>
                  <a:cubicBezTo>
                    <a:pt x="20862" y="-15233"/>
                    <a:pt x="77391" y="-357"/>
                    <a:pt x="65490" y="35346"/>
                  </a:cubicBezTo>
                  <a:cubicBezTo>
                    <a:pt x="50614" y="88899"/>
                    <a:pt x="62515" y="142452"/>
                    <a:pt x="74416" y="193031"/>
                  </a:cubicBezTo>
                  <a:cubicBezTo>
                    <a:pt x="83342" y="231709"/>
                    <a:pt x="26813" y="246585"/>
                    <a:pt x="17887" y="207907"/>
                  </a:cubicBezTo>
                  <a:cubicBezTo>
                    <a:pt x="3011" y="145428"/>
                    <a:pt x="-8890" y="82948"/>
                    <a:pt x="8961" y="20470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C8EE6DBD-5C6B-403B-97C9-D901C614224C}"/>
                </a:ext>
              </a:extLst>
            </p:cNvPr>
            <p:cNvSpPr/>
            <p:nvPr/>
          </p:nvSpPr>
          <p:spPr>
            <a:xfrm>
              <a:off x="3814692" y="12155086"/>
              <a:ext cx="2752596" cy="354049"/>
            </a:xfrm>
            <a:custGeom>
              <a:avLst/>
              <a:gdLst>
                <a:gd name="connsiteX0" fmla="*/ 744332 w 2752596"/>
                <a:gd name="connsiteY0" fmla="*/ 354049 h 354049"/>
                <a:gd name="connsiteX1" fmla="*/ 2752596 w 2752596"/>
                <a:gd name="connsiteY1" fmla="*/ 354049 h 354049"/>
                <a:gd name="connsiteX2" fmla="*/ 2752596 w 2752596"/>
                <a:gd name="connsiteY2" fmla="*/ 294545 h 354049"/>
                <a:gd name="connsiteX3" fmla="*/ 744332 w 2752596"/>
                <a:gd name="connsiteY3" fmla="*/ 294545 h 354049"/>
                <a:gd name="connsiteX4" fmla="*/ 321852 w 2752596"/>
                <a:gd name="connsiteY4" fmla="*/ 199339 h 354049"/>
                <a:gd name="connsiteX5" fmla="*/ 6480 w 2752596"/>
                <a:gd name="connsiteY5" fmla="*/ 0 h 354049"/>
                <a:gd name="connsiteX6" fmla="*/ 6480 w 2752596"/>
                <a:gd name="connsiteY6" fmla="*/ 0 h 354049"/>
                <a:gd name="connsiteX7" fmla="*/ 30282 w 2752596"/>
                <a:gd name="connsiteY7" fmla="*/ 86281 h 354049"/>
                <a:gd name="connsiteX8" fmla="*/ 295076 w 2752596"/>
                <a:gd name="connsiteY8" fmla="*/ 252893 h 354049"/>
                <a:gd name="connsiteX9" fmla="*/ 744332 w 2752596"/>
                <a:gd name="connsiteY9" fmla="*/ 354049 h 35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52596" h="354049">
                  <a:moveTo>
                    <a:pt x="744332" y="354049"/>
                  </a:moveTo>
                  <a:lnTo>
                    <a:pt x="2752596" y="354049"/>
                  </a:lnTo>
                  <a:lnTo>
                    <a:pt x="2752596" y="294545"/>
                  </a:lnTo>
                  <a:lnTo>
                    <a:pt x="744332" y="294545"/>
                  </a:lnTo>
                  <a:cubicBezTo>
                    <a:pt x="598547" y="294545"/>
                    <a:pt x="449786" y="270744"/>
                    <a:pt x="321852" y="199339"/>
                  </a:cubicBezTo>
                  <a:cubicBezTo>
                    <a:pt x="241522" y="154711"/>
                    <a:pt x="6480" y="0"/>
                    <a:pt x="6480" y="0"/>
                  </a:cubicBezTo>
                  <a:lnTo>
                    <a:pt x="6480" y="0"/>
                  </a:lnTo>
                  <a:cubicBezTo>
                    <a:pt x="-8396" y="29752"/>
                    <a:pt x="3505" y="68430"/>
                    <a:pt x="30282" y="86281"/>
                  </a:cubicBezTo>
                  <a:cubicBezTo>
                    <a:pt x="30282" y="86281"/>
                    <a:pt x="226646" y="217191"/>
                    <a:pt x="295076" y="252893"/>
                  </a:cubicBezTo>
                  <a:cubicBezTo>
                    <a:pt x="431935" y="327273"/>
                    <a:pt x="589621" y="354049"/>
                    <a:pt x="744332" y="354049"/>
                  </a:cubicBezTo>
                  <a:close/>
                </a:path>
              </a:pathLst>
            </a:custGeom>
            <a:solidFill>
              <a:srgbClr val="D1615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7" name="图形 1">
              <a:extLst>
                <a:ext uri="{FF2B5EF4-FFF2-40B4-BE49-F238E27FC236}">
                  <a16:creationId xmlns:a16="http://schemas.microsoft.com/office/drawing/2014/main" id="{2A2CA6B8-D967-4667-8B87-7FF174507661}"/>
                </a:ext>
              </a:extLst>
            </p:cNvPr>
            <p:cNvGrpSpPr/>
            <p:nvPr/>
          </p:nvGrpSpPr>
          <p:grpSpPr>
            <a:xfrm>
              <a:off x="2215672" y="9271387"/>
              <a:ext cx="1142091" cy="2770641"/>
              <a:chOff x="2215672" y="9271387"/>
              <a:chExt cx="1142091" cy="2770641"/>
            </a:xfrm>
          </p:grpSpPr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75D6A417-7B53-4CA9-B5C7-6BB5793A9ED4}"/>
                  </a:ext>
                </a:extLst>
              </p:cNvPr>
              <p:cNvSpPr/>
              <p:nvPr/>
            </p:nvSpPr>
            <p:spPr>
              <a:xfrm>
                <a:off x="2321668" y="9385169"/>
                <a:ext cx="981818" cy="2656860"/>
              </a:xfrm>
              <a:custGeom>
                <a:avLst/>
                <a:gdLst>
                  <a:gd name="connsiteX0" fmla="*/ 0 w 981818"/>
                  <a:gd name="connsiteY0" fmla="*/ 2647934 h 2656860"/>
                  <a:gd name="connsiteX1" fmla="*/ 32727 w 981818"/>
                  <a:gd name="connsiteY1" fmla="*/ 2656860 h 2656860"/>
                  <a:gd name="connsiteX2" fmla="*/ 981818 w 981818"/>
                  <a:gd name="connsiteY2" fmla="*/ 20827 h 2656860"/>
                  <a:gd name="connsiteX3" fmla="*/ 925289 w 981818"/>
                  <a:gd name="connsiteY3" fmla="*/ 0 h 2656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81818" h="2656860">
                    <a:moveTo>
                      <a:pt x="0" y="2647934"/>
                    </a:moveTo>
                    <a:lnTo>
                      <a:pt x="32727" y="2656860"/>
                    </a:lnTo>
                    <a:lnTo>
                      <a:pt x="981818" y="20827"/>
                    </a:lnTo>
                    <a:lnTo>
                      <a:pt x="925289" y="0"/>
                    </a:lnTo>
                    <a:close/>
                  </a:path>
                </a:pathLst>
              </a:custGeom>
              <a:solidFill>
                <a:srgbClr val="F1DDB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23F2FCE3-5D45-43F5-B163-FB7FFE50ABEE}"/>
                  </a:ext>
                </a:extLst>
              </p:cNvPr>
              <p:cNvSpPr/>
              <p:nvPr/>
            </p:nvSpPr>
            <p:spPr>
              <a:xfrm>
                <a:off x="2215672" y="11599834"/>
                <a:ext cx="482735" cy="209017"/>
              </a:xfrm>
              <a:custGeom>
                <a:avLst/>
                <a:gdLst>
                  <a:gd name="connsiteX0" fmla="*/ 19715 w 482735"/>
                  <a:gd name="connsiteY0" fmla="*/ 58393 h 209017"/>
                  <a:gd name="connsiteX1" fmla="*/ 442194 w 482735"/>
                  <a:gd name="connsiteY1" fmla="*/ 207154 h 209017"/>
                  <a:gd name="connsiteX2" fmla="*/ 480872 w 482735"/>
                  <a:gd name="connsiteY2" fmla="*/ 189302 h 209017"/>
                  <a:gd name="connsiteX3" fmla="*/ 480872 w 482735"/>
                  <a:gd name="connsiteY3" fmla="*/ 189302 h 209017"/>
                  <a:gd name="connsiteX4" fmla="*/ 463021 w 482735"/>
                  <a:gd name="connsiteY4" fmla="*/ 150624 h 209017"/>
                  <a:gd name="connsiteX5" fmla="*/ 40542 w 482735"/>
                  <a:gd name="connsiteY5" fmla="*/ 1864 h 209017"/>
                  <a:gd name="connsiteX6" fmla="*/ 1864 w 482735"/>
                  <a:gd name="connsiteY6" fmla="*/ 19715 h 209017"/>
                  <a:gd name="connsiteX7" fmla="*/ 1864 w 482735"/>
                  <a:gd name="connsiteY7" fmla="*/ 19715 h 209017"/>
                  <a:gd name="connsiteX8" fmla="*/ 19715 w 482735"/>
                  <a:gd name="connsiteY8" fmla="*/ 58393 h 209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2735" h="209017">
                    <a:moveTo>
                      <a:pt x="19715" y="58393"/>
                    </a:moveTo>
                    <a:lnTo>
                      <a:pt x="442194" y="207154"/>
                    </a:lnTo>
                    <a:cubicBezTo>
                      <a:pt x="457070" y="213103"/>
                      <a:pt x="477897" y="204178"/>
                      <a:pt x="480872" y="189302"/>
                    </a:cubicBezTo>
                    <a:lnTo>
                      <a:pt x="480872" y="189302"/>
                    </a:lnTo>
                    <a:cubicBezTo>
                      <a:pt x="486823" y="174426"/>
                      <a:pt x="477897" y="153599"/>
                      <a:pt x="463021" y="150624"/>
                    </a:cubicBezTo>
                    <a:lnTo>
                      <a:pt x="40542" y="1864"/>
                    </a:lnTo>
                    <a:cubicBezTo>
                      <a:pt x="25666" y="-4086"/>
                      <a:pt x="4839" y="4839"/>
                      <a:pt x="1864" y="19715"/>
                    </a:cubicBezTo>
                    <a:lnTo>
                      <a:pt x="1864" y="19715"/>
                    </a:lnTo>
                    <a:cubicBezTo>
                      <a:pt x="-4087" y="34591"/>
                      <a:pt x="4839" y="52442"/>
                      <a:pt x="19715" y="58393"/>
                    </a:cubicBezTo>
                    <a:close/>
                  </a:path>
                </a:pathLst>
              </a:custGeom>
              <a:solidFill>
                <a:srgbClr val="F1DDB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7838FF56-427D-4C17-890D-8B07F68BBCD1}"/>
                  </a:ext>
                </a:extLst>
              </p:cNvPr>
              <p:cNvSpPr/>
              <p:nvPr/>
            </p:nvSpPr>
            <p:spPr>
              <a:xfrm>
                <a:off x="3128373" y="9271387"/>
                <a:ext cx="229390" cy="426902"/>
              </a:xfrm>
              <a:custGeom>
                <a:avLst/>
                <a:gdLst>
                  <a:gd name="connsiteX0" fmla="*/ 41229 w 229390"/>
                  <a:gd name="connsiteY0" fmla="*/ 423204 h 426902"/>
                  <a:gd name="connsiteX1" fmla="*/ 41229 w 229390"/>
                  <a:gd name="connsiteY1" fmla="*/ 423204 h 426902"/>
                  <a:gd name="connsiteX2" fmla="*/ 118584 w 229390"/>
                  <a:gd name="connsiteY2" fmla="*/ 384525 h 426902"/>
                  <a:gd name="connsiteX3" fmla="*/ 225691 w 229390"/>
                  <a:gd name="connsiteY3" fmla="*/ 81055 h 426902"/>
                  <a:gd name="connsiteX4" fmla="*/ 187014 w 229390"/>
                  <a:gd name="connsiteY4" fmla="*/ 3699 h 426902"/>
                  <a:gd name="connsiteX5" fmla="*/ 187014 w 229390"/>
                  <a:gd name="connsiteY5" fmla="*/ 3699 h 426902"/>
                  <a:gd name="connsiteX6" fmla="*/ 109659 w 229390"/>
                  <a:gd name="connsiteY6" fmla="*/ 42377 h 426902"/>
                  <a:gd name="connsiteX7" fmla="*/ 2551 w 229390"/>
                  <a:gd name="connsiteY7" fmla="*/ 345848 h 426902"/>
                  <a:gd name="connsiteX8" fmla="*/ 41229 w 229390"/>
                  <a:gd name="connsiteY8" fmla="*/ 423204 h 426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9390" h="426902">
                    <a:moveTo>
                      <a:pt x="41229" y="423204"/>
                    </a:moveTo>
                    <a:lnTo>
                      <a:pt x="41229" y="423204"/>
                    </a:lnTo>
                    <a:cubicBezTo>
                      <a:pt x="73956" y="435104"/>
                      <a:pt x="109659" y="417253"/>
                      <a:pt x="118584" y="384525"/>
                    </a:cubicBezTo>
                    <a:lnTo>
                      <a:pt x="225691" y="81055"/>
                    </a:lnTo>
                    <a:cubicBezTo>
                      <a:pt x="237592" y="48327"/>
                      <a:pt x="219741" y="12625"/>
                      <a:pt x="187014" y="3699"/>
                    </a:cubicBezTo>
                    <a:lnTo>
                      <a:pt x="187014" y="3699"/>
                    </a:lnTo>
                    <a:cubicBezTo>
                      <a:pt x="154287" y="-8202"/>
                      <a:pt x="118584" y="9650"/>
                      <a:pt x="109659" y="42377"/>
                    </a:cubicBezTo>
                    <a:lnTo>
                      <a:pt x="2551" y="345848"/>
                    </a:lnTo>
                    <a:cubicBezTo>
                      <a:pt x="-6375" y="378576"/>
                      <a:pt x="8501" y="414277"/>
                      <a:pt x="41229" y="423204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8" name="图形 1">
              <a:extLst>
                <a:ext uri="{FF2B5EF4-FFF2-40B4-BE49-F238E27FC236}">
                  <a16:creationId xmlns:a16="http://schemas.microsoft.com/office/drawing/2014/main" id="{098E0053-400D-4A5F-A986-5FBFED85FAF3}"/>
                </a:ext>
              </a:extLst>
            </p:cNvPr>
            <p:cNvGrpSpPr/>
            <p:nvPr/>
          </p:nvGrpSpPr>
          <p:grpSpPr>
            <a:xfrm>
              <a:off x="3107122" y="9431939"/>
              <a:ext cx="141733" cy="191246"/>
              <a:chOff x="3107122" y="9431939"/>
              <a:chExt cx="141733" cy="191246"/>
            </a:xfrm>
          </p:grpSpPr>
          <p:grpSp>
            <p:nvGrpSpPr>
              <p:cNvPr id="54" name="图形 1">
                <a:extLst>
                  <a:ext uri="{FF2B5EF4-FFF2-40B4-BE49-F238E27FC236}">
                    <a16:creationId xmlns:a16="http://schemas.microsoft.com/office/drawing/2014/main" id="{093EF1C8-B439-4EA5-8657-F4EB681BD425}"/>
                  </a:ext>
                </a:extLst>
              </p:cNvPr>
              <p:cNvGrpSpPr/>
              <p:nvPr/>
            </p:nvGrpSpPr>
            <p:grpSpPr>
              <a:xfrm>
                <a:off x="3107122" y="9431939"/>
                <a:ext cx="141733" cy="179345"/>
                <a:chOff x="3107122" y="9431939"/>
                <a:chExt cx="141733" cy="179345"/>
              </a:xfrm>
            </p:grpSpPr>
            <p:sp>
              <p:nvSpPr>
                <p:cNvPr id="56" name="任意多边形: 形状 55">
                  <a:extLst>
                    <a:ext uri="{FF2B5EF4-FFF2-40B4-BE49-F238E27FC236}">
                      <a16:creationId xmlns:a16="http://schemas.microsoft.com/office/drawing/2014/main" id="{447CCE45-BF7F-4558-8000-D627F5E0EAAF}"/>
                    </a:ext>
                  </a:extLst>
                </p:cNvPr>
                <p:cNvSpPr/>
                <p:nvPr/>
              </p:nvSpPr>
              <p:spPr>
                <a:xfrm>
                  <a:off x="3130166" y="9431939"/>
                  <a:ext cx="118690" cy="73413"/>
                </a:xfrm>
                <a:custGeom>
                  <a:avLst/>
                  <a:gdLst>
                    <a:gd name="connsiteX0" fmla="*/ 110841 w 118690"/>
                    <a:gd name="connsiteY0" fmla="*/ 27610 h 73413"/>
                    <a:gd name="connsiteX1" fmla="*/ 39436 w 118690"/>
                    <a:gd name="connsiteY1" fmla="*/ 3808 h 73413"/>
                    <a:gd name="connsiteX2" fmla="*/ 27535 w 118690"/>
                    <a:gd name="connsiteY2" fmla="*/ 833 h 73413"/>
                    <a:gd name="connsiteX3" fmla="*/ 15634 w 118690"/>
                    <a:gd name="connsiteY3" fmla="*/ 3808 h 73413"/>
                    <a:gd name="connsiteX4" fmla="*/ 758 w 118690"/>
                    <a:gd name="connsiteY4" fmla="*/ 42486 h 73413"/>
                    <a:gd name="connsiteX5" fmla="*/ 30510 w 118690"/>
                    <a:gd name="connsiteY5" fmla="*/ 63313 h 73413"/>
                    <a:gd name="connsiteX6" fmla="*/ 78114 w 118690"/>
                    <a:gd name="connsiteY6" fmla="*/ 72238 h 73413"/>
                    <a:gd name="connsiteX7" fmla="*/ 110841 w 118690"/>
                    <a:gd name="connsiteY7" fmla="*/ 63313 h 73413"/>
                    <a:gd name="connsiteX8" fmla="*/ 110841 w 118690"/>
                    <a:gd name="connsiteY8" fmla="*/ 27610 h 73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8690" h="73413">
                      <a:moveTo>
                        <a:pt x="110841" y="27610"/>
                      </a:moveTo>
                      <a:cubicBezTo>
                        <a:pt x="92990" y="9759"/>
                        <a:pt x="66213" y="9759"/>
                        <a:pt x="39436" y="3808"/>
                      </a:cubicBezTo>
                      <a:cubicBezTo>
                        <a:pt x="36461" y="3808"/>
                        <a:pt x="30510" y="-2142"/>
                        <a:pt x="27535" y="833"/>
                      </a:cubicBezTo>
                      <a:cubicBezTo>
                        <a:pt x="24560" y="833"/>
                        <a:pt x="18609" y="833"/>
                        <a:pt x="15634" y="3808"/>
                      </a:cubicBezTo>
                      <a:cubicBezTo>
                        <a:pt x="3733" y="9759"/>
                        <a:pt x="-2217" y="24635"/>
                        <a:pt x="758" y="42486"/>
                      </a:cubicBezTo>
                      <a:cubicBezTo>
                        <a:pt x="3733" y="60337"/>
                        <a:pt x="21585" y="60337"/>
                        <a:pt x="30510" y="63313"/>
                      </a:cubicBezTo>
                      <a:cubicBezTo>
                        <a:pt x="45386" y="66288"/>
                        <a:pt x="60262" y="69263"/>
                        <a:pt x="78114" y="72238"/>
                      </a:cubicBezTo>
                      <a:cubicBezTo>
                        <a:pt x="87039" y="72238"/>
                        <a:pt x="101915" y="78189"/>
                        <a:pt x="110841" y="63313"/>
                      </a:cubicBezTo>
                      <a:cubicBezTo>
                        <a:pt x="122742" y="51412"/>
                        <a:pt x="119766" y="36536"/>
                        <a:pt x="110841" y="27610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2345ADF1-55DF-4B05-9FB2-EFDF53024AF7}"/>
                    </a:ext>
                  </a:extLst>
                </p:cNvPr>
                <p:cNvSpPr/>
                <p:nvPr/>
              </p:nvSpPr>
              <p:spPr>
                <a:xfrm>
                  <a:off x="3115290" y="9474425"/>
                  <a:ext cx="116474" cy="72580"/>
                </a:xfrm>
                <a:custGeom>
                  <a:avLst/>
                  <a:gdLst>
                    <a:gd name="connsiteX0" fmla="*/ 110841 w 116474"/>
                    <a:gd name="connsiteY0" fmla="*/ 26778 h 72580"/>
                    <a:gd name="connsiteX1" fmla="*/ 33485 w 116474"/>
                    <a:gd name="connsiteY1" fmla="*/ 0 h 72580"/>
                    <a:gd name="connsiteX2" fmla="*/ 27535 w 116474"/>
                    <a:gd name="connsiteY2" fmla="*/ 0 h 72580"/>
                    <a:gd name="connsiteX3" fmla="*/ 15634 w 116474"/>
                    <a:gd name="connsiteY3" fmla="*/ 2975 h 72580"/>
                    <a:gd name="connsiteX4" fmla="*/ 758 w 116474"/>
                    <a:gd name="connsiteY4" fmla="*/ 41654 h 72580"/>
                    <a:gd name="connsiteX5" fmla="*/ 30510 w 116474"/>
                    <a:gd name="connsiteY5" fmla="*/ 62480 h 72580"/>
                    <a:gd name="connsiteX6" fmla="*/ 78114 w 116474"/>
                    <a:gd name="connsiteY6" fmla="*/ 71406 h 72580"/>
                    <a:gd name="connsiteX7" fmla="*/ 110841 w 116474"/>
                    <a:gd name="connsiteY7" fmla="*/ 62480 h 72580"/>
                    <a:gd name="connsiteX8" fmla="*/ 110841 w 116474"/>
                    <a:gd name="connsiteY8" fmla="*/ 26778 h 72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6474" h="72580">
                      <a:moveTo>
                        <a:pt x="110841" y="26778"/>
                      </a:moveTo>
                      <a:cubicBezTo>
                        <a:pt x="90014" y="-2974"/>
                        <a:pt x="60262" y="5951"/>
                        <a:pt x="33485" y="0"/>
                      </a:cubicBezTo>
                      <a:cubicBezTo>
                        <a:pt x="30510" y="0"/>
                        <a:pt x="30510" y="0"/>
                        <a:pt x="27535" y="0"/>
                      </a:cubicBezTo>
                      <a:cubicBezTo>
                        <a:pt x="24560" y="0"/>
                        <a:pt x="18609" y="0"/>
                        <a:pt x="15634" y="2975"/>
                      </a:cubicBezTo>
                      <a:cubicBezTo>
                        <a:pt x="3733" y="8926"/>
                        <a:pt x="-2217" y="23802"/>
                        <a:pt x="758" y="41654"/>
                      </a:cubicBezTo>
                      <a:cubicBezTo>
                        <a:pt x="3733" y="59504"/>
                        <a:pt x="21585" y="59504"/>
                        <a:pt x="30510" y="62480"/>
                      </a:cubicBezTo>
                      <a:cubicBezTo>
                        <a:pt x="45386" y="65455"/>
                        <a:pt x="60262" y="68430"/>
                        <a:pt x="78114" y="71406"/>
                      </a:cubicBezTo>
                      <a:cubicBezTo>
                        <a:pt x="87039" y="71406"/>
                        <a:pt x="101915" y="77356"/>
                        <a:pt x="110841" y="62480"/>
                      </a:cubicBezTo>
                      <a:cubicBezTo>
                        <a:pt x="119766" y="53554"/>
                        <a:pt x="116791" y="35703"/>
                        <a:pt x="110841" y="26778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851A1678-BB57-4E90-9349-E797475B5B7C}"/>
                    </a:ext>
                  </a:extLst>
                </p:cNvPr>
                <p:cNvSpPr/>
                <p:nvPr/>
              </p:nvSpPr>
              <p:spPr>
                <a:xfrm>
                  <a:off x="3121225" y="9519053"/>
                  <a:ext cx="100122" cy="66942"/>
                </a:xfrm>
                <a:custGeom>
                  <a:avLst/>
                  <a:gdLst>
                    <a:gd name="connsiteX0" fmla="*/ 93005 w 100122"/>
                    <a:gd name="connsiteY0" fmla="*/ 26778 h 66942"/>
                    <a:gd name="connsiteX1" fmla="*/ 27551 w 100122"/>
                    <a:gd name="connsiteY1" fmla="*/ 0 h 66942"/>
                    <a:gd name="connsiteX2" fmla="*/ 21600 w 100122"/>
                    <a:gd name="connsiteY2" fmla="*/ 0 h 66942"/>
                    <a:gd name="connsiteX3" fmla="*/ 12675 w 100122"/>
                    <a:gd name="connsiteY3" fmla="*/ 2975 h 66942"/>
                    <a:gd name="connsiteX4" fmla="*/ 774 w 100122"/>
                    <a:gd name="connsiteY4" fmla="*/ 35703 h 66942"/>
                    <a:gd name="connsiteX5" fmla="*/ 27551 w 100122"/>
                    <a:gd name="connsiteY5" fmla="*/ 56530 h 66942"/>
                    <a:gd name="connsiteX6" fmla="*/ 69204 w 100122"/>
                    <a:gd name="connsiteY6" fmla="*/ 65455 h 66942"/>
                    <a:gd name="connsiteX7" fmla="*/ 98956 w 100122"/>
                    <a:gd name="connsiteY7" fmla="*/ 59504 h 66942"/>
                    <a:gd name="connsiteX8" fmla="*/ 93005 w 100122"/>
                    <a:gd name="connsiteY8" fmla="*/ 26778 h 669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122" h="66942">
                      <a:moveTo>
                        <a:pt x="93005" y="26778"/>
                      </a:moveTo>
                      <a:cubicBezTo>
                        <a:pt x="75154" y="0"/>
                        <a:pt x="48377" y="5951"/>
                        <a:pt x="27551" y="0"/>
                      </a:cubicBezTo>
                      <a:cubicBezTo>
                        <a:pt x="24576" y="0"/>
                        <a:pt x="24576" y="0"/>
                        <a:pt x="21600" y="0"/>
                      </a:cubicBezTo>
                      <a:cubicBezTo>
                        <a:pt x="18625" y="0"/>
                        <a:pt x="15650" y="0"/>
                        <a:pt x="12675" y="2975"/>
                      </a:cubicBezTo>
                      <a:cubicBezTo>
                        <a:pt x="3749" y="8926"/>
                        <a:pt x="-2201" y="20827"/>
                        <a:pt x="774" y="35703"/>
                      </a:cubicBezTo>
                      <a:cubicBezTo>
                        <a:pt x="3749" y="50579"/>
                        <a:pt x="18625" y="53554"/>
                        <a:pt x="27551" y="56530"/>
                      </a:cubicBezTo>
                      <a:cubicBezTo>
                        <a:pt x="39452" y="59504"/>
                        <a:pt x="54328" y="62480"/>
                        <a:pt x="69204" y="65455"/>
                      </a:cubicBezTo>
                      <a:cubicBezTo>
                        <a:pt x="78129" y="65455"/>
                        <a:pt x="90030" y="71406"/>
                        <a:pt x="98956" y="59504"/>
                      </a:cubicBezTo>
                      <a:cubicBezTo>
                        <a:pt x="101931" y="47603"/>
                        <a:pt x="98956" y="35703"/>
                        <a:pt x="93005" y="26778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BF15D852-A877-43E0-9C67-1AA31A35B9B7}"/>
                    </a:ext>
                  </a:extLst>
                </p:cNvPr>
                <p:cNvSpPr/>
                <p:nvPr/>
              </p:nvSpPr>
              <p:spPr>
                <a:xfrm>
                  <a:off x="3124504" y="9563681"/>
                  <a:ext cx="87982" cy="47603"/>
                </a:xfrm>
                <a:custGeom>
                  <a:avLst/>
                  <a:gdLst>
                    <a:gd name="connsiteX0" fmla="*/ 86751 w 87982"/>
                    <a:gd name="connsiteY0" fmla="*/ 14876 h 47603"/>
                    <a:gd name="connsiteX1" fmla="*/ 27247 w 87982"/>
                    <a:gd name="connsiteY1" fmla="*/ 0 h 47603"/>
                    <a:gd name="connsiteX2" fmla="*/ 24271 w 87982"/>
                    <a:gd name="connsiteY2" fmla="*/ 0 h 47603"/>
                    <a:gd name="connsiteX3" fmla="*/ 15346 w 87982"/>
                    <a:gd name="connsiteY3" fmla="*/ 0 h 47603"/>
                    <a:gd name="connsiteX4" fmla="*/ 470 w 87982"/>
                    <a:gd name="connsiteY4" fmla="*/ 29752 h 47603"/>
                    <a:gd name="connsiteX5" fmla="*/ 27247 w 87982"/>
                    <a:gd name="connsiteY5" fmla="*/ 44628 h 47603"/>
                    <a:gd name="connsiteX6" fmla="*/ 59974 w 87982"/>
                    <a:gd name="connsiteY6" fmla="*/ 47603 h 47603"/>
                    <a:gd name="connsiteX7" fmla="*/ 83775 w 87982"/>
                    <a:gd name="connsiteY7" fmla="*/ 38678 h 47603"/>
                    <a:gd name="connsiteX8" fmla="*/ 86751 w 87982"/>
                    <a:gd name="connsiteY8" fmla="*/ 14876 h 47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7982" h="47603">
                      <a:moveTo>
                        <a:pt x="86751" y="14876"/>
                      </a:moveTo>
                      <a:cubicBezTo>
                        <a:pt x="74850" y="-2974"/>
                        <a:pt x="42123" y="5951"/>
                        <a:pt x="27247" y="0"/>
                      </a:cubicBezTo>
                      <a:cubicBezTo>
                        <a:pt x="27247" y="0"/>
                        <a:pt x="24271" y="0"/>
                        <a:pt x="24271" y="0"/>
                      </a:cubicBezTo>
                      <a:cubicBezTo>
                        <a:pt x="21296" y="0"/>
                        <a:pt x="18321" y="0"/>
                        <a:pt x="15346" y="0"/>
                      </a:cubicBezTo>
                      <a:cubicBezTo>
                        <a:pt x="9395" y="2975"/>
                        <a:pt x="-2506" y="17851"/>
                        <a:pt x="470" y="29752"/>
                      </a:cubicBezTo>
                      <a:cubicBezTo>
                        <a:pt x="3445" y="41654"/>
                        <a:pt x="21296" y="44628"/>
                        <a:pt x="27247" y="44628"/>
                      </a:cubicBezTo>
                      <a:cubicBezTo>
                        <a:pt x="36172" y="47603"/>
                        <a:pt x="51048" y="47603"/>
                        <a:pt x="59974" y="47603"/>
                      </a:cubicBezTo>
                      <a:cubicBezTo>
                        <a:pt x="65924" y="47603"/>
                        <a:pt x="77825" y="47603"/>
                        <a:pt x="83775" y="38678"/>
                      </a:cubicBezTo>
                      <a:cubicBezTo>
                        <a:pt x="86751" y="35703"/>
                        <a:pt x="89726" y="20827"/>
                        <a:pt x="86751" y="14876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F1563ECA-641E-4DB7-A1DE-7C994F554919}"/>
                    </a:ext>
                  </a:extLst>
                </p:cNvPr>
                <p:cNvSpPr/>
                <p:nvPr/>
              </p:nvSpPr>
              <p:spPr>
                <a:xfrm>
                  <a:off x="3107122" y="9432804"/>
                  <a:ext cx="132141" cy="116001"/>
                </a:xfrm>
                <a:custGeom>
                  <a:avLst/>
                  <a:gdLst>
                    <a:gd name="connsiteX0" fmla="*/ 89256 w 132141"/>
                    <a:gd name="connsiteY0" fmla="*/ 116002 h 116001"/>
                    <a:gd name="connsiteX1" fmla="*/ 47603 w 132141"/>
                    <a:gd name="connsiteY1" fmla="*/ 110052 h 116001"/>
                    <a:gd name="connsiteX2" fmla="*/ 0 w 132141"/>
                    <a:gd name="connsiteY2" fmla="*/ 71373 h 116001"/>
                    <a:gd name="connsiteX3" fmla="*/ 20826 w 132141"/>
                    <a:gd name="connsiteY3" fmla="*/ 35672 h 116001"/>
                    <a:gd name="connsiteX4" fmla="*/ 20826 w 132141"/>
                    <a:gd name="connsiteY4" fmla="*/ 23771 h 116001"/>
                    <a:gd name="connsiteX5" fmla="*/ 29752 w 132141"/>
                    <a:gd name="connsiteY5" fmla="*/ 5919 h 116001"/>
                    <a:gd name="connsiteX6" fmla="*/ 110083 w 132141"/>
                    <a:gd name="connsiteY6" fmla="*/ 8895 h 116001"/>
                    <a:gd name="connsiteX7" fmla="*/ 113058 w 132141"/>
                    <a:gd name="connsiteY7" fmla="*/ 14845 h 116001"/>
                    <a:gd name="connsiteX8" fmla="*/ 107107 w 132141"/>
                    <a:gd name="connsiteY8" fmla="*/ 17820 h 116001"/>
                    <a:gd name="connsiteX9" fmla="*/ 38678 w 132141"/>
                    <a:gd name="connsiteY9" fmla="*/ 11869 h 116001"/>
                    <a:gd name="connsiteX10" fmla="*/ 32727 w 132141"/>
                    <a:gd name="connsiteY10" fmla="*/ 20796 h 116001"/>
                    <a:gd name="connsiteX11" fmla="*/ 119008 w 132141"/>
                    <a:gd name="connsiteY11" fmla="*/ 59473 h 116001"/>
                    <a:gd name="connsiteX12" fmla="*/ 127934 w 132141"/>
                    <a:gd name="connsiteY12" fmla="*/ 65424 h 116001"/>
                    <a:gd name="connsiteX13" fmla="*/ 130909 w 132141"/>
                    <a:gd name="connsiteY13" fmla="*/ 89225 h 116001"/>
                    <a:gd name="connsiteX14" fmla="*/ 119008 w 132141"/>
                    <a:gd name="connsiteY14" fmla="*/ 107076 h 116001"/>
                    <a:gd name="connsiteX15" fmla="*/ 89256 w 132141"/>
                    <a:gd name="connsiteY15" fmla="*/ 116002 h 116001"/>
                    <a:gd name="connsiteX16" fmla="*/ 26777 w 132141"/>
                    <a:gd name="connsiteY16" fmla="*/ 47572 h 116001"/>
                    <a:gd name="connsiteX17" fmla="*/ 14876 w 132141"/>
                    <a:gd name="connsiteY17" fmla="*/ 74349 h 116001"/>
                    <a:gd name="connsiteX18" fmla="*/ 53554 w 132141"/>
                    <a:gd name="connsiteY18" fmla="*/ 101126 h 116001"/>
                    <a:gd name="connsiteX19" fmla="*/ 113058 w 132141"/>
                    <a:gd name="connsiteY19" fmla="*/ 101126 h 116001"/>
                    <a:gd name="connsiteX20" fmla="*/ 121983 w 132141"/>
                    <a:gd name="connsiteY20" fmla="*/ 89225 h 116001"/>
                    <a:gd name="connsiteX21" fmla="*/ 119008 w 132141"/>
                    <a:gd name="connsiteY21" fmla="*/ 74349 h 116001"/>
                    <a:gd name="connsiteX22" fmla="*/ 26777 w 132141"/>
                    <a:gd name="connsiteY22" fmla="*/ 47572 h 1160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32141" h="116001">
                      <a:moveTo>
                        <a:pt x="89256" y="116002"/>
                      </a:moveTo>
                      <a:cubicBezTo>
                        <a:pt x="77355" y="116002"/>
                        <a:pt x="65455" y="113027"/>
                        <a:pt x="47603" y="110052"/>
                      </a:cubicBezTo>
                      <a:cubicBezTo>
                        <a:pt x="20826" y="104101"/>
                        <a:pt x="0" y="95176"/>
                        <a:pt x="0" y="71373"/>
                      </a:cubicBezTo>
                      <a:cubicBezTo>
                        <a:pt x="0" y="53523"/>
                        <a:pt x="17851" y="35672"/>
                        <a:pt x="20826" y="35672"/>
                      </a:cubicBezTo>
                      <a:cubicBezTo>
                        <a:pt x="20826" y="32696"/>
                        <a:pt x="20826" y="26745"/>
                        <a:pt x="20826" y="23771"/>
                      </a:cubicBezTo>
                      <a:cubicBezTo>
                        <a:pt x="20826" y="14845"/>
                        <a:pt x="23802" y="8895"/>
                        <a:pt x="29752" y="5919"/>
                      </a:cubicBezTo>
                      <a:cubicBezTo>
                        <a:pt x="50579" y="-8957"/>
                        <a:pt x="104132" y="8895"/>
                        <a:pt x="110083" y="8895"/>
                      </a:cubicBezTo>
                      <a:cubicBezTo>
                        <a:pt x="113058" y="8895"/>
                        <a:pt x="116033" y="11869"/>
                        <a:pt x="113058" y="14845"/>
                      </a:cubicBezTo>
                      <a:cubicBezTo>
                        <a:pt x="113058" y="17820"/>
                        <a:pt x="110083" y="20796"/>
                        <a:pt x="107107" y="17820"/>
                      </a:cubicBezTo>
                      <a:cubicBezTo>
                        <a:pt x="92231" y="11869"/>
                        <a:pt x="50579" y="2944"/>
                        <a:pt x="38678" y="11869"/>
                      </a:cubicBezTo>
                      <a:cubicBezTo>
                        <a:pt x="35703" y="14845"/>
                        <a:pt x="32727" y="17820"/>
                        <a:pt x="32727" y="20796"/>
                      </a:cubicBezTo>
                      <a:cubicBezTo>
                        <a:pt x="32727" y="32696"/>
                        <a:pt x="32727" y="56497"/>
                        <a:pt x="119008" y="59473"/>
                      </a:cubicBezTo>
                      <a:cubicBezTo>
                        <a:pt x="119008" y="59473"/>
                        <a:pt x="124959" y="59473"/>
                        <a:pt x="127934" y="65424"/>
                      </a:cubicBezTo>
                      <a:cubicBezTo>
                        <a:pt x="130909" y="71373"/>
                        <a:pt x="133884" y="77324"/>
                        <a:pt x="130909" y="89225"/>
                      </a:cubicBezTo>
                      <a:cubicBezTo>
                        <a:pt x="127934" y="98151"/>
                        <a:pt x="124959" y="104101"/>
                        <a:pt x="119008" y="107076"/>
                      </a:cubicBezTo>
                      <a:cubicBezTo>
                        <a:pt x="110083" y="113027"/>
                        <a:pt x="101157" y="116002"/>
                        <a:pt x="89256" y="116002"/>
                      </a:cubicBezTo>
                      <a:close/>
                      <a:moveTo>
                        <a:pt x="26777" y="47572"/>
                      </a:moveTo>
                      <a:cubicBezTo>
                        <a:pt x="23802" y="50548"/>
                        <a:pt x="14876" y="62448"/>
                        <a:pt x="14876" y="74349"/>
                      </a:cubicBezTo>
                      <a:cubicBezTo>
                        <a:pt x="14876" y="86250"/>
                        <a:pt x="23802" y="92200"/>
                        <a:pt x="53554" y="101126"/>
                      </a:cubicBezTo>
                      <a:cubicBezTo>
                        <a:pt x="89256" y="110052"/>
                        <a:pt x="107107" y="107076"/>
                        <a:pt x="113058" y="101126"/>
                      </a:cubicBezTo>
                      <a:cubicBezTo>
                        <a:pt x="116033" y="98151"/>
                        <a:pt x="119008" y="95176"/>
                        <a:pt x="121983" y="89225"/>
                      </a:cubicBezTo>
                      <a:cubicBezTo>
                        <a:pt x="124959" y="80300"/>
                        <a:pt x="121983" y="74349"/>
                        <a:pt x="119008" y="74349"/>
                      </a:cubicBezTo>
                      <a:cubicBezTo>
                        <a:pt x="59504" y="71373"/>
                        <a:pt x="35703" y="59473"/>
                        <a:pt x="26777" y="47572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50B4359D-F9E0-4C9A-8619-0DBB1A683D12}"/>
                    </a:ext>
                  </a:extLst>
                </p:cNvPr>
                <p:cNvSpPr/>
                <p:nvPr/>
              </p:nvSpPr>
              <p:spPr>
                <a:xfrm>
                  <a:off x="3111027" y="9519053"/>
                  <a:ext cx="112396" cy="71405"/>
                </a:xfrm>
                <a:custGeom>
                  <a:avLst/>
                  <a:gdLst>
                    <a:gd name="connsiteX0" fmla="*/ 85351 w 112396"/>
                    <a:gd name="connsiteY0" fmla="*/ 71406 h 71405"/>
                    <a:gd name="connsiteX1" fmla="*/ 19897 w 112396"/>
                    <a:gd name="connsiteY1" fmla="*/ 56530 h 71405"/>
                    <a:gd name="connsiteX2" fmla="*/ 2045 w 112396"/>
                    <a:gd name="connsiteY2" fmla="*/ 35703 h 71405"/>
                    <a:gd name="connsiteX3" fmla="*/ 5021 w 112396"/>
                    <a:gd name="connsiteY3" fmla="*/ 2975 h 71405"/>
                    <a:gd name="connsiteX4" fmla="*/ 13946 w 112396"/>
                    <a:gd name="connsiteY4" fmla="*/ 0 h 71405"/>
                    <a:gd name="connsiteX5" fmla="*/ 16922 w 112396"/>
                    <a:gd name="connsiteY5" fmla="*/ 8926 h 71405"/>
                    <a:gd name="connsiteX6" fmla="*/ 13946 w 112396"/>
                    <a:gd name="connsiteY6" fmla="*/ 32727 h 71405"/>
                    <a:gd name="connsiteX7" fmla="*/ 25847 w 112396"/>
                    <a:gd name="connsiteY7" fmla="*/ 44628 h 71405"/>
                    <a:gd name="connsiteX8" fmla="*/ 97252 w 112396"/>
                    <a:gd name="connsiteY8" fmla="*/ 56530 h 71405"/>
                    <a:gd name="connsiteX9" fmla="*/ 100227 w 112396"/>
                    <a:gd name="connsiteY9" fmla="*/ 53554 h 71405"/>
                    <a:gd name="connsiteX10" fmla="*/ 97252 w 112396"/>
                    <a:gd name="connsiteY10" fmla="*/ 29752 h 71405"/>
                    <a:gd name="connsiteX11" fmla="*/ 97252 w 112396"/>
                    <a:gd name="connsiteY11" fmla="*/ 20827 h 71405"/>
                    <a:gd name="connsiteX12" fmla="*/ 106178 w 112396"/>
                    <a:gd name="connsiteY12" fmla="*/ 20827 h 71405"/>
                    <a:gd name="connsiteX13" fmla="*/ 109153 w 112396"/>
                    <a:gd name="connsiteY13" fmla="*/ 53554 h 71405"/>
                    <a:gd name="connsiteX14" fmla="*/ 100227 w 112396"/>
                    <a:gd name="connsiteY14" fmla="*/ 65455 h 71405"/>
                    <a:gd name="connsiteX15" fmla="*/ 85351 w 112396"/>
                    <a:gd name="connsiteY15" fmla="*/ 71406 h 71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2396" h="71405">
                      <a:moveTo>
                        <a:pt x="85351" y="71406"/>
                      </a:moveTo>
                      <a:cubicBezTo>
                        <a:pt x="67500" y="71406"/>
                        <a:pt x="40723" y="68430"/>
                        <a:pt x="19897" y="56530"/>
                      </a:cubicBezTo>
                      <a:cubicBezTo>
                        <a:pt x="10971" y="50579"/>
                        <a:pt x="5021" y="44628"/>
                        <a:pt x="2045" y="35703"/>
                      </a:cubicBezTo>
                      <a:cubicBezTo>
                        <a:pt x="-3905" y="20827"/>
                        <a:pt x="5021" y="2975"/>
                        <a:pt x="5021" y="2975"/>
                      </a:cubicBezTo>
                      <a:cubicBezTo>
                        <a:pt x="7996" y="0"/>
                        <a:pt x="10971" y="0"/>
                        <a:pt x="13946" y="0"/>
                      </a:cubicBezTo>
                      <a:cubicBezTo>
                        <a:pt x="16922" y="2975"/>
                        <a:pt x="16922" y="5951"/>
                        <a:pt x="16922" y="8926"/>
                      </a:cubicBezTo>
                      <a:cubicBezTo>
                        <a:pt x="16922" y="8926"/>
                        <a:pt x="10971" y="20827"/>
                        <a:pt x="13946" y="32727"/>
                      </a:cubicBezTo>
                      <a:cubicBezTo>
                        <a:pt x="16922" y="38678"/>
                        <a:pt x="19897" y="41654"/>
                        <a:pt x="25847" y="44628"/>
                      </a:cubicBezTo>
                      <a:cubicBezTo>
                        <a:pt x="55599" y="59504"/>
                        <a:pt x="88326" y="59504"/>
                        <a:pt x="97252" y="56530"/>
                      </a:cubicBezTo>
                      <a:cubicBezTo>
                        <a:pt x="97252" y="56530"/>
                        <a:pt x="100227" y="53554"/>
                        <a:pt x="100227" y="53554"/>
                      </a:cubicBezTo>
                      <a:cubicBezTo>
                        <a:pt x="103202" y="44628"/>
                        <a:pt x="100227" y="32727"/>
                        <a:pt x="97252" y="29752"/>
                      </a:cubicBezTo>
                      <a:cubicBezTo>
                        <a:pt x="94277" y="26778"/>
                        <a:pt x="94277" y="23802"/>
                        <a:pt x="97252" y="20827"/>
                      </a:cubicBezTo>
                      <a:cubicBezTo>
                        <a:pt x="100227" y="17851"/>
                        <a:pt x="103202" y="17851"/>
                        <a:pt x="106178" y="20827"/>
                      </a:cubicBezTo>
                      <a:cubicBezTo>
                        <a:pt x="112128" y="26778"/>
                        <a:pt x="115103" y="44628"/>
                        <a:pt x="109153" y="53554"/>
                      </a:cubicBezTo>
                      <a:cubicBezTo>
                        <a:pt x="106178" y="62480"/>
                        <a:pt x="103202" y="65455"/>
                        <a:pt x="100227" y="65455"/>
                      </a:cubicBezTo>
                      <a:cubicBezTo>
                        <a:pt x="97252" y="68430"/>
                        <a:pt x="91302" y="71406"/>
                        <a:pt x="85351" y="71406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9E4C96F6-C0B5-485B-9404-FE0202D11E72}"/>
                  </a:ext>
                </a:extLst>
              </p:cNvPr>
              <p:cNvSpPr/>
              <p:nvPr/>
            </p:nvSpPr>
            <p:spPr>
              <a:xfrm>
                <a:off x="3115677" y="9564425"/>
                <a:ext cx="99728" cy="58760"/>
              </a:xfrm>
              <a:custGeom>
                <a:avLst/>
                <a:gdLst>
                  <a:gd name="connsiteX0" fmla="*/ 62851 w 99728"/>
                  <a:gd name="connsiteY0" fmla="*/ 58760 h 58760"/>
                  <a:gd name="connsiteX1" fmla="*/ 62851 w 99728"/>
                  <a:gd name="connsiteY1" fmla="*/ 58760 h 58760"/>
                  <a:gd name="connsiteX2" fmla="*/ 6322 w 99728"/>
                  <a:gd name="connsiteY2" fmla="*/ 43884 h 58760"/>
                  <a:gd name="connsiteX3" fmla="*/ 15247 w 99728"/>
                  <a:gd name="connsiteY3" fmla="*/ 2232 h 58760"/>
                  <a:gd name="connsiteX4" fmla="*/ 24173 w 99728"/>
                  <a:gd name="connsiteY4" fmla="*/ 2232 h 58760"/>
                  <a:gd name="connsiteX5" fmla="*/ 24173 w 99728"/>
                  <a:gd name="connsiteY5" fmla="*/ 11158 h 58760"/>
                  <a:gd name="connsiteX6" fmla="*/ 15247 w 99728"/>
                  <a:gd name="connsiteY6" fmla="*/ 37934 h 58760"/>
                  <a:gd name="connsiteX7" fmla="*/ 62851 w 99728"/>
                  <a:gd name="connsiteY7" fmla="*/ 49835 h 58760"/>
                  <a:gd name="connsiteX8" fmla="*/ 83677 w 99728"/>
                  <a:gd name="connsiteY8" fmla="*/ 46860 h 58760"/>
                  <a:gd name="connsiteX9" fmla="*/ 89627 w 99728"/>
                  <a:gd name="connsiteY9" fmla="*/ 23058 h 58760"/>
                  <a:gd name="connsiteX10" fmla="*/ 92603 w 99728"/>
                  <a:gd name="connsiteY10" fmla="*/ 17108 h 58760"/>
                  <a:gd name="connsiteX11" fmla="*/ 98553 w 99728"/>
                  <a:gd name="connsiteY11" fmla="*/ 20083 h 58760"/>
                  <a:gd name="connsiteX12" fmla="*/ 89627 w 99728"/>
                  <a:gd name="connsiteY12" fmla="*/ 52810 h 58760"/>
                  <a:gd name="connsiteX13" fmla="*/ 62851 w 99728"/>
                  <a:gd name="connsiteY13" fmla="*/ 58760 h 58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9728" h="58760">
                    <a:moveTo>
                      <a:pt x="62851" y="58760"/>
                    </a:moveTo>
                    <a:cubicBezTo>
                      <a:pt x="62851" y="58760"/>
                      <a:pt x="62851" y="58760"/>
                      <a:pt x="62851" y="58760"/>
                    </a:cubicBezTo>
                    <a:cubicBezTo>
                      <a:pt x="42024" y="58760"/>
                      <a:pt x="12272" y="52810"/>
                      <a:pt x="6322" y="43884"/>
                    </a:cubicBezTo>
                    <a:cubicBezTo>
                      <a:pt x="-8554" y="29008"/>
                      <a:pt x="6322" y="8182"/>
                      <a:pt x="15247" y="2232"/>
                    </a:cubicBezTo>
                    <a:cubicBezTo>
                      <a:pt x="18222" y="-744"/>
                      <a:pt x="21198" y="-744"/>
                      <a:pt x="24173" y="2232"/>
                    </a:cubicBezTo>
                    <a:cubicBezTo>
                      <a:pt x="27148" y="5207"/>
                      <a:pt x="27148" y="8182"/>
                      <a:pt x="24173" y="11158"/>
                    </a:cubicBezTo>
                    <a:cubicBezTo>
                      <a:pt x="24173" y="11158"/>
                      <a:pt x="6322" y="26034"/>
                      <a:pt x="15247" y="37934"/>
                    </a:cubicBezTo>
                    <a:cubicBezTo>
                      <a:pt x="18222" y="40910"/>
                      <a:pt x="42024" y="49835"/>
                      <a:pt x="62851" y="49835"/>
                    </a:cubicBezTo>
                    <a:cubicBezTo>
                      <a:pt x="74751" y="49835"/>
                      <a:pt x="83677" y="46860"/>
                      <a:pt x="83677" y="46860"/>
                    </a:cubicBezTo>
                    <a:cubicBezTo>
                      <a:pt x="92603" y="37934"/>
                      <a:pt x="89627" y="23058"/>
                      <a:pt x="89627" y="23058"/>
                    </a:cubicBezTo>
                    <a:cubicBezTo>
                      <a:pt x="89627" y="20083"/>
                      <a:pt x="89627" y="17108"/>
                      <a:pt x="92603" y="17108"/>
                    </a:cubicBezTo>
                    <a:cubicBezTo>
                      <a:pt x="95578" y="17108"/>
                      <a:pt x="98553" y="17108"/>
                      <a:pt x="98553" y="20083"/>
                    </a:cubicBezTo>
                    <a:cubicBezTo>
                      <a:pt x="98553" y="20083"/>
                      <a:pt x="104503" y="40910"/>
                      <a:pt x="89627" y="52810"/>
                    </a:cubicBezTo>
                    <a:cubicBezTo>
                      <a:pt x="86652" y="55786"/>
                      <a:pt x="77727" y="58760"/>
                      <a:pt x="62851" y="5876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4572A000-5D94-4F6B-AF28-B73855EB144C}"/>
                </a:ext>
              </a:extLst>
            </p:cNvPr>
            <p:cNvSpPr/>
            <p:nvPr/>
          </p:nvSpPr>
          <p:spPr>
            <a:xfrm>
              <a:off x="3238360" y="9443221"/>
              <a:ext cx="136979" cy="105915"/>
            </a:xfrm>
            <a:custGeom>
              <a:avLst/>
              <a:gdLst>
                <a:gd name="connsiteX0" fmla="*/ 11573 w 136979"/>
                <a:gd name="connsiteY0" fmla="*/ 105584 h 105915"/>
                <a:gd name="connsiteX1" fmla="*/ 32399 w 136979"/>
                <a:gd name="connsiteY1" fmla="*/ 84758 h 105915"/>
                <a:gd name="connsiteX2" fmla="*/ 88928 w 136979"/>
                <a:gd name="connsiteY2" fmla="*/ 57981 h 105915"/>
                <a:gd name="connsiteX3" fmla="*/ 133556 w 136979"/>
                <a:gd name="connsiteY3" fmla="*/ 96659 h 105915"/>
                <a:gd name="connsiteX4" fmla="*/ 118680 w 136979"/>
                <a:gd name="connsiteY4" fmla="*/ 4427 h 105915"/>
                <a:gd name="connsiteX5" fmla="*/ 11573 w 136979"/>
                <a:gd name="connsiteY5" fmla="*/ 28229 h 105915"/>
                <a:gd name="connsiteX6" fmla="*/ 11573 w 136979"/>
                <a:gd name="connsiteY6" fmla="*/ 105584 h 105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979" h="105915">
                  <a:moveTo>
                    <a:pt x="11573" y="105584"/>
                  </a:moveTo>
                  <a:cubicBezTo>
                    <a:pt x="20498" y="108559"/>
                    <a:pt x="26449" y="90708"/>
                    <a:pt x="32399" y="84758"/>
                  </a:cubicBezTo>
                  <a:cubicBezTo>
                    <a:pt x="47275" y="66907"/>
                    <a:pt x="65127" y="55006"/>
                    <a:pt x="88928" y="57981"/>
                  </a:cubicBezTo>
                  <a:cubicBezTo>
                    <a:pt x="103804" y="57981"/>
                    <a:pt x="85953" y="90708"/>
                    <a:pt x="133556" y="96659"/>
                  </a:cubicBezTo>
                  <a:cubicBezTo>
                    <a:pt x="139507" y="96659"/>
                    <a:pt x="139507" y="10378"/>
                    <a:pt x="118680" y="4427"/>
                  </a:cubicBezTo>
                  <a:cubicBezTo>
                    <a:pt x="88928" y="-4498"/>
                    <a:pt x="32399" y="-1523"/>
                    <a:pt x="11573" y="28229"/>
                  </a:cubicBezTo>
                  <a:cubicBezTo>
                    <a:pt x="2647" y="37154"/>
                    <a:pt x="-9254" y="96659"/>
                    <a:pt x="11573" y="105584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7055E20E-BD2E-43E3-A16A-EA7D233F5242}"/>
                </a:ext>
              </a:extLst>
            </p:cNvPr>
            <p:cNvSpPr/>
            <p:nvPr/>
          </p:nvSpPr>
          <p:spPr>
            <a:xfrm>
              <a:off x="3230182" y="9436140"/>
              <a:ext cx="139990" cy="118615"/>
            </a:xfrm>
            <a:custGeom>
              <a:avLst/>
              <a:gdLst>
                <a:gd name="connsiteX0" fmla="*/ 19750 w 139990"/>
                <a:gd name="connsiteY0" fmla="*/ 118616 h 118615"/>
                <a:gd name="connsiteX1" fmla="*/ 4874 w 139990"/>
                <a:gd name="connsiteY1" fmla="*/ 109690 h 118615"/>
                <a:gd name="connsiteX2" fmla="*/ 16775 w 139990"/>
                <a:gd name="connsiteY2" fmla="*/ 29359 h 118615"/>
                <a:gd name="connsiteX3" fmla="*/ 129833 w 139990"/>
                <a:gd name="connsiteY3" fmla="*/ 2583 h 118615"/>
                <a:gd name="connsiteX4" fmla="*/ 132808 w 139990"/>
                <a:gd name="connsiteY4" fmla="*/ 8533 h 118615"/>
                <a:gd name="connsiteX5" fmla="*/ 126857 w 139990"/>
                <a:gd name="connsiteY5" fmla="*/ 11508 h 118615"/>
                <a:gd name="connsiteX6" fmla="*/ 25700 w 139990"/>
                <a:gd name="connsiteY6" fmla="*/ 32335 h 118615"/>
                <a:gd name="connsiteX7" fmla="*/ 16775 w 139990"/>
                <a:gd name="connsiteY7" fmla="*/ 100764 h 118615"/>
                <a:gd name="connsiteX8" fmla="*/ 22725 w 139990"/>
                <a:gd name="connsiteY8" fmla="*/ 103740 h 118615"/>
                <a:gd name="connsiteX9" fmla="*/ 37601 w 139990"/>
                <a:gd name="connsiteY9" fmla="*/ 88863 h 118615"/>
                <a:gd name="connsiteX10" fmla="*/ 97105 w 139990"/>
                <a:gd name="connsiteY10" fmla="*/ 53161 h 118615"/>
                <a:gd name="connsiteX11" fmla="*/ 100080 w 139990"/>
                <a:gd name="connsiteY11" fmla="*/ 53161 h 118615"/>
                <a:gd name="connsiteX12" fmla="*/ 106031 w 139990"/>
                <a:gd name="connsiteY12" fmla="*/ 56136 h 118615"/>
                <a:gd name="connsiteX13" fmla="*/ 135783 w 139990"/>
                <a:gd name="connsiteY13" fmla="*/ 88863 h 118615"/>
                <a:gd name="connsiteX14" fmla="*/ 138758 w 139990"/>
                <a:gd name="connsiteY14" fmla="*/ 94814 h 118615"/>
                <a:gd name="connsiteX15" fmla="*/ 132808 w 139990"/>
                <a:gd name="connsiteY15" fmla="*/ 97789 h 118615"/>
                <a:gd name="connsiteX16" fmla="*/ 97105 w 139990"/>
                <a:gd name="connsiteY16" fmla="*/ 62087 h 118615"/>
                <a:gd name="connsiteX17" fmla="*/ 46527 w 139990"/>
                <a:gd name="connsiteY17" fmla="*/ 94814 h 118615"/>
                <a:gd name="connsiteX18" fmla="*/ 19750 w 139990"/>
                <a:gd name="connsiteY18" fmla="*/ 118616 h 118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9990" h="118615">
                  <a:moveTo>
                    <a:pt x="19750" y="118616"/>
                  </a:moveTo>
                  <a:cubicBezTo>
                    <a:pt x="13799" y="118616"/>
                    <a:pt x="7849" y="115640"/>
                    <a:pt x="4874" y="109690"/>
                  </a:cubicBezTo>
                  <a:cubicBezTo>
                    <a:pt x="-4052" y="94814"/>
                    <a:pt x="-1077" y="59111"/>
                    <a:pt x="16775" y="29359"/>
                  </a:cubicBezTo>
                  <a:cubicBezTo>
                    <a:pt x="40576" y="-12293"/>
                    <a:pt x="123882" y="2583"/>
                    <a:pt x="129833" y="2583"/>
                  </a:cubicBezTo>
                  <a:cubicBezTo>
                    <a:pt x="132808" y="2583"/>
                    <a:pt x="135783" y="5558"/>
                    <a:pt x="132808" y="8533"/>
                  </a:cubicBezTo>
                  <a:cubicBezTo>
                    <a:pt x="132808" y="11508"/>
                    <a:pt x="129833" y="14483"/>
                    <a:pt x="126857" y="11508"/>
                  </a:cubicBezTo>
                  <a:cubicBezTo>
                    <a:pt x="126857" y="11508"/>
                    <a:pt x="46527" y="-3368"/>
                    <a:pt x="25700" y="32335"/>
                  </a:cubicBezTo>
                  <a:cubicBezTo>
                    <a:pt x="10824" y="59111"/>
                    <a:pt x="7849" y="88863"/>
                    <a:pt x="16775" y="100764"/>
                  </a:cubicBezTo>
                  <a:cubicBezTo>
                    <a:pt x="19750" y="103740"/>
                    <a:pt x="22725" y="103740"/>
                    <a:pt x="22725" y="103740"/>
                  </a:cubicBezTo>
                  <a:cubicBezTo>
                    <a:pt x="25700" y="103740"/>
                    <a:pt x="31651" y="97789"/>
                    <a:pt x="37601" y="88863"/>
                  </a:cubicBezTo>
                  <a:cubicBezTo>
                    <a:pt x="49502" y="73987"/>
                    <a:pt x="64378" y="53161"/>
                    <a:pt x="97105" y="53161"/>
                  </a:cubicBezTo>
                  <a:cubicBezTo>
                    <a:pt x="97105" y="53161"/>
                    <a:pt x="100080" y="53161"/>
                    <a:pt x="100080" y="53161"/>
                  </a:cubicBezTo>
                  <a:cubicBezTo>
                    <a:pt x="103056" y="53161"/>
                    <a:pt x="103056" y="53161"/>
                    <a:pt x="106031" y="56136"/>
                  </a:cubicBezTo>
                  <a:cubicBezTo>
                    <a:pt x="106031" y="56136"/>
                    <a:pt x="117932" y="82913"/>
                    <a:pt x="135783" y="88863"/>
                  </a:cubicBezTo>
                  <a:cubicBezTo>
                    <a:pt x="138758" y="88863"/>
                    <a:pt x="141733" y="91839"/>
                    <a:pt x="138758" y="94814"/>
                  </a:cubicBezTo>
                  <a:cubicBezTo>
                    <a:pt x="138758" y="97789"/>
                    <a:pt x="135783" y="100764"/>
                    <a:pt x="132808" y="97789"/>
                  </a:cubicBezTo>
                  <a:cubicBezTo>
                    <a:pt x="114957" y="91839"/>
                    <a:pt x="103056" y="71012"/>
                    <a:pt x="97105" y="62087"/>
                  </a:cubicBezTo>
                  <a:cubicBezTo>
                    <a:pt x="73304" y="62087"/>
                    <a:pt x="58428" y="79938"/>
                    <a:pt x="46527" y="94814"/>
                  </a:cubicBezTo>
                  <a:cubicBezTo>
                    <a:pt x="34626" y="109690"/>
                    <a:pt x="28675" y="118616"/>
                    <a:pt x="19750" y="118616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FD41FEE7-8919-4F50-800C-0F5300CE4477}"/>
                </a:ext>
              </a:extLst>
            </p:cNvPr>
            <p:cNvSpPr/>
            <p:nvPr/>
          </p:nvSpPr>
          <p:spPr>
            <a:xfrm>
              <a:off x="5261039" y="9607953"/>
              <a:ext cx="220298" cy="64566"/>
            </a:xfrm>
            <a:custGeom>
              <a:avLst/>
              <a:gdLst>
                <a:gd name="connsiteX0" fmla="*/ 220298 w 220298"/>
                <a:gd name="connsiteY0" fmla="*/ 15233 h 64566"/>
                <a:gd name="connsiteX1" fmla="*/ 77488 w 220298"/>
                <a:gd name="connsiteY1" fmla="*/ 3332 h 64566"/>
                <a:gd name="connsiteX2" fmla="*/ 133 w 220298"/>
                <a:gd name="connsiteY2" fmla="*/ 47960 h 64566"/>
                <a:gd name="connsiteX3" fmla="*/ 134017 w 220298"/>
                <a:gd name="connsiteY3" fmla="*/ 56886 h 64566"/>
                <a:gd name="connsiteX4" fmla="*/ 220298 w 220298"/>
                <a:gd name="connsiteY4" fmla="*/ 15233 h 64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0298" h="64566">
                  <a:moveTo>
                    <a:pt x="220298" y="15233"/>
                  </a:moveTo>
                  <a:cubicBezTo>
                    <a:pt x="220298" y="15233"/>
                    <a:pt x="110216" y="-8568"/>
                    <a:pt x="77488" y="3332"/>
                  </a:cubicBezTo>
                  <a:cubicBezTo>
                    <a:pt x="44761" y="15233"/>
                    <a:pt x="-2842" y="30109"/>
                    <a:pt x="133" y="47960"/>
                  </a:cubicBezTo>
                  <a:cubicBezTo>
                    <a:pt x="3108" y="92588"/>
                    <a:pt x="104265" y="30109"/>
                    <a:pt x="134017" y="56886"/>
                  </a:cubicBezTo>
                  <a:cubicBezTo>
                    <a:pt x="145918" y="68787"/>
                    <a:pt x="220298" y="15233"/>
                    <a:pt x="220298" y="15233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42" name="图形 1">
              <a:extLst>
                <a:ext uri="{FF2B5EF4-FFF2-40B4-BE49-F238E27FC236}">
                  <a16:creationId xmlns:a16="http://schemas.microsoft.com/office/drawing/2014/main" id="{E659D4FA-3DA5-4B8D-BFD8-8F6849D7E757}"/>
                </a:ext>
              </a:extLst>
            </p:cNvPr>
            <p:cNvGrpSpPr/>
            <p:nvPr/>
          </p:nvGrpSpPr>
          <p:grpSpPr>
            <a:xfrm>
              <a:off x="5241764" y="9562124"/>
              <a:ext cx="2042548" cy="2161556"/>
              <a:chOff x="5241764" y="9562124"/>
              <a:chExt cx="2042548" cy="2161556"/>
            </a:xfrm>
          </p:grpSpPr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4E970756-0501-41AE-AB9A-5DE2D299D7AA}"/>
                  </a:ext>
                </a:extLst>
              </p:cNvPr>
              <p:cNvSpPr/>
              <p:nvPr/>
            </p:nvSpPr>
            <p:spPr>
              <a:xfrm>
                <a:off x="5326627" y="9649963"/>
                <a:ext cx="1957685" cy="2073718"/>
              </a:xfrm>
              <a:custGeom>
                <a:avLst/>
                <a:gdLst>
                  <a:gd name="connsiteX0" fmla="*/ 1933885 w 1957685"/>
                  <a:gd name="connsiteY0" fmla="*/ 2073719 h 2073718"/>
                  <a:gd name="connsiteX1" fmla="*/ 1957686 w 1957685"/>
                  <a:gd name="connsiteY1" fmla="*/ 2052893 h 2073718"/>
                  <a:gd name="connsiteX2" fmla="*/ 44628 w 1957685"/>
                  <a:gd name="connsiteY2" fmla="*/ 0 h 2073718"/>
                  <a:gd name="connsiteX3" fmla="*/ 0 w 1957685"/>
                  <a:gd name="connsiteY3" fmla="*/ 41653 h 2073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57685" h="2073718">
                    <a:moveTo>
                      <a:pt x="1933885" y="2073719"/>
                    </a:moveTo>
                    <a:lnTo>
                      <a:pt x="1957686" y="2052893"/>
                    </a:lnTo>
                    <a:lnTo>
                      <a:pt x="44628" y="0"/>
                    </a:lnTo>
                    <a:lnTo>
                      <a:pt x="0" y="41653"/>
                    </a:lnTo>
                    <a:close/>
                  </a:path>
                </a:pathLst>
              </a:custGeom>
              <a:solidFill>
                <a:srgbClr val="F1DDB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8608E554-5B10-4811-A537-CCDEE4B21BE6}"/>
                  </a:ext>
                </a:extLst>
              </p:cNvPr>
              <p:cNvSpPr/>
              <p:nvPr/>
            </p:nvSpPr>
            <p:spPr>
              <a:xfrm>
                <a:off x="6835056" y="11268475"/>
                <a:ext cx="389752" cy="371901"/>
              </a:xfrm>
              <a:custGeom>
                <a:avLst/>
                <a:gdLst>
                  <a:gd name="connsiteX0" fmla="*/ 53554 w 389752"/>
                  <a:gd name="connsiteY0" fmla="*/ 362975 h 371901"/>
                  <a:gd name="connsiteX1" fmla="*/ 380827 w 389752"/>
                  <a:gd name="connsiteY1" fmla="*/ 53554 h 371901"/>
                  <a:gd name="connsiteX2" fmla="*/ 380827 w 389752"/>
                  <a:gd name="connsiteY2" fmla="*/ 8925 h 371901"/>
                  <a:gd name="connsiteX3" fmla="*/ 380827 w 389752"/>
                  <a:gd name="connsiteY3" fmla="*/ 8925 h 371901"/>
                  <a:gd name="connsiteX4" fmla="*/ 336199 w 389752"/>
                  <a:gd name="connsiteY4" fmla="*/ 8925 h 371901"/>
                  <a:gd name="connsiteX5" fmla="*/ 8926 w 389752"/>
                  <a:gd name="connsiteY5" fmla="*/ 318347 h 371901"/>
                  <a:gd name="connsiteX6" fmla="*/ 8926 w 389752"/>
                  <a:gd name="connsiteY6" fmla="*/ 362975 h 371901"/>
                  <a:gd name="connsiteX7" fmla="*/ 8926 w 389752"/>
                  <a:gd name="connsiteY7" fmla="*/ 362975 h 371901"/>
                  <a:gd name="connsiteX8" fmla="*/ 53554 w 389752"/>
                  <a:gd name="connsiteY8" fmla="*/ 362975 h 371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9752" h="371901">
                    <a:moveTo>
                      <a:pt x="53554" y="362975"/>
                    </a:moveTo>
                    <a:lnTo>
                      <a:pt x="380827" y="53554"/>
                    </a:lnTo>
                    <a:cubicBezTo>
                      <a:pt x="392727" y="41653"/>
                      <a:pt x="392727" y="20826"/>
                      <a:pt x="380827" y="8925"/>
                    </a:cubicBezTo>
                    <a:lnTo>
                      <a:pt x="380827" y="8925"/>
                    </a:lnTo>
                    <a:cubicBezTo>
                      <a:pt x="368926" y="-2975"/>
                      <a:pt x="348099" y="-2975"/>
                      <a:pt x="336199" y="8925"/>
                    </a:cubicBezTo>
                    <a:lnTo>
                      <a:pt x="8926" y="318347"/>
                    </a:lnTo>
                    <a:cubicBezTo>
                      <a:pt x="-2975" y="330248"/>
                      <a:pt x="-2975" y="351074"/>
                      <a:pt x="8926" y="362975"/>
                    </a:cubicBezTo>
                    <a:lnTo>
                      <a:pt x="8926" y="362975"/>
                    </a:lnTo>
                    <a:cubicBezTo>
                      <a:pt x="20826" y="374876"/>
                      <a:pt x="41653" y="374876"/>
                      <a:pt x="53554" y="362975"/>
                    </a:cubicBezTo>
                    <a:close/>
                  </a:path>
                </a:pathLst>
              </a:custGeom>
              <a:solidFill>
                <a:srgbClr val="F1DDB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9728C33B-FDAA-4A61-B0DC-5B45627E7165}"/>
                  </a:ext>
                </a:extLst>
              </p:cNvPr>
              <p:cNvSpPr/>
              <p:nvPr/>
            </p:nvSpPr>
            <p:spPr>
              <a:xfrm>
                <a:off x="5241764" y="9562124"/>
                <a:ext cx="345263" cy="357163"/>
              </a:xfrm>
              <a:custGeom>
                <a:avLst/>
                <a:gdLst>
                  <a:gd name="connsiteX0" fmla="*/ 325855 w 345263"/>
                  <a:gd name="connsiteY0" fmla="*/ 340731 h 357163"/>
                  <a:gd name="connsiteX1" fmla="*/ 325855 w 345263"/>
                  <a:gd name="connsiteY1" fmla="*/ 340731 h 357163"/>
                  <a:gd name="connsiteX2" fmla="*/ 328830 w 345263"/>
                  <a:gd name="connsiteY2" fmla="*/ 254449 h 357163"/>
                  <a:gd name="connsiteX3" fmla="*/ 105689 w 345263"/>
                  <a:gd name="connsiteY3" fmla="*/ 19408 h 357163"/>
                  <a:gd name="connsiteX4" fmla="*/ 19408 w 345263"/>
                  <a:gd name="connsiteY4" fmla="*/ 16433 h 357163"/>
                  <a:gd name="connsiteX5" fmla="*/ 19408 w 345263"/>
                  <a:gd name="connsiteY5" fmla="*/ 16433 h 357163"/>
                  <a:gd name="connsiteX6" fmla="*/ 16433 w 345263"/>
                  <a:gd name="connsiteY6" fmla="*/ 102715 h 357163"/>
                  <a:gd name="connsiteX7" fmla="*/ 239574 w 345263"/>
                  <a:gd name="connsiteY7" fmla="*/ 337756 h 357163"/>
                  <a:gd name="connsiteX8" fmla="*/ 325855 w 345263"/>
                  <a:gd name="connsiteY8" fmla="*/ 340731 h 357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5263" h="357163">
                    <a:moveTo>
                      <a:pt x="325855" y="340731"/>
                    </a:moveTo>
                    <a:lnTo>
                      <a:pt x="325855" y="340731"/>
                    </a:lnTo>
                    <a:cubicBezTo>
                      <a:pt x="349656" y="316929"/>
                      <a:pt x="352632" y="278252"/>
                      <a:pt x="328830" y="254449"/>
                    </a:cubicBezTo>
                    <a:lnTo>
                      <a:pt x="105689" y="19408"/>
                    </a:lnTo>
                    <a:cubicBezTo>
                      <a:pt x="81888" y="-4393"/>
                      <a:pt x="43210" y="-7368"/>
                      <a:pt x="19408" y="16433"/>
                    </a:cubicBezTo>
                    <a:lnTo>
                      <a:pt x="19408" y="16433"/>
                    </a:lnTo>
                    <a:cubicBezTo>
                      <a:pt x="-4393" y="40235"/>
                      <a:pt x="-7368" y="78912"/>
                      <a:pt x="16433" y="102715"/>
                    </a:cubicBezTo>
                    <a:lnTo>
                      <a:pt x="239574" y="337756"/>
                    </a:lnTo>
                    <a:cubicBezTo>
                      <a:pt x="263375" y="361557"/>
                      <a:pt x="302053" y="364532"/>
                      <a:pt x="325855" y="340731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3" name="图形 1">
              <a:extLst>
                <a:ext uri="{FF2B5EF4-FFF2-40B4-BE49-F238E27FC236}">
                  <a16:creationId xmlns:a16="http://schemas.microsoft.com/office/drawing/2014/main" id="{FF1DFA78-3CA4-4A7E-A19D-A5C214C0DE1C}"/>
                </a:ext>
              </a:extLst>
            </p:cNvPr>
            <p:cNvGrpSpPr/>
            <p:nvPr/>
          </p:nvGrpSpPr>
          <p:grpSpPr>
            <a:xfrm>
              <a:off x="5297618" y="9560588"/>
              <a:ext cx="359256" cy="309545"/>
              <a:chOff x="5297618" y="9560588"/>
              <a:chExt cx="359256" cy="309545"/>
            </a:xfrm>
          </p:grpSpPr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B7F4A9BD-F4C4-486F-8FA3-F946F0D79F2B}"/>
                  </a:ext>
                </a:extLst>
              </p:cNvPr>
              <p:cNvSpPr/>
              <p:nvPr/>
            </p:nvSpPr>
            <p:spPr>
              <a:xfrm>
                <a:off x="5301169" y="9560588"/>
                <a:ext cx="355705" cy="309545"/>
              </a:xfrm>
              <a:custGeom>
                <a:avLst/>
                <a:gdLst>
                  <a:gd name="connsiteX0" fmla="*/ 349756 w 355705"/>
                  <a:gd name="connsiteY0" fmla="*/ 95325 h 309545"/>
                  <a:gd name="connsiteX1" fmla="*/ 251574 w 355705"/>
                  <a:gd name="connsiteY1" fmla="*/ 119 h 309545"/>
                  <a:gd name="connsiteX2" fmla="*/ 37359 w 355705"/>
                  <a:gd name="connsiteY2" fmla="*/ 125077 h 309545"/>
                  <a:gd name="connsiteX3" fmla="*/ 4632 w 355705"/>
                  <a:gd name="connsiteY3" fmla="*/ 184581 h 309545"/>
                  <a:gd name="connsiteX4" fmla="*/ 40334 w 355705"/>
                  <a:gd name="connsiteY4" fmla="*/ 208383 h 309545"/>
                  <a:gd name="connsiteX5" fmla="*/ 81987 w 355705"/>
                  <a:gd name="connsiteY5" fmla="*/ 253011 h 309545"/>
                  <a:gd name="connsiteX6" fmla="*/ 99838 w 355705"/>
                  <a:gd name="connsiteY6" fmla="*/ 282763 h 309545"/>
                  <a:gd name="connsiteX7" fmla="*/ 144466 w 355705"/>
                  <a:gd name="connsiteY7" fmla="*/ 279788 h 309545"/>
                  <a:gd name="connsiteX8" fmla="*/ 198020 w 355705"/>
                  <a:gd name="connsiteY8" fmla="*/ 303589 h 309545"/>
                  <a:gd name="connsiteX9" fmla="*/ 251574 w 355705"/>
                  <a:gd name="connsiteY9" fmla="*/ 229209 h 309545"/>
                  <a:gd name="connsiteX10" fmla="*/ 331904 w 355705"/>
                  <a:gd name="connsiteY10" fmla="*/ 151853 h 309545"/>
                  <a:gd name="connsiteX11" fmla="*/ 349756 w 355705"/>
                  <a:gd name="connsiteY11" fmla="*/ 95325 h 30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5705" h="309545">
                    <a:moveTo>
                      <a:pt x="349756" y="95325"/>
                    </a:moveTo>
                    <a:cubicBezTo>
                      <a:pt x="334880" y="50697"/>
                      <a:pt x="251574" y="-2857"/>
                      <a:pt x="251574" y="119"/>
                    </a:cubicBezTo>
                    <a:cubicBezTo>
                      <a:pt x="171243" y="59623"/>
                      <a:pt x="108764" y="56647"/>
                      <a:pt x="37359" y="125077"/>
                    </a:cubicBezTo>
                    <a:cubicBezTo>
                      <a:pt x="25458" y="136977"/>
                      <a:pt x="-13220" y="151853"/>
                      <a:pt x="4632" y="184581"/>
                    </a:cubicBezTo>
                    <a:cubicBezTo>
                      <a:pt x="10582" y="193507"/>
                      <a:pt x="19508" y="211358"/>
                      <a:pt x="40334" y="208383"/>
                    </a:cubicBezTo>
                    <a:cubicBezTo>
                      <a:pt x="31409" y="232184"/>
                      <a:pt x="67111" y="261937"/>
                      <a:pt x="81987" y="253011"/>
                    </a:cubicBezTo>
                    <a:cubicBezTo>
                      <a:pt x="81987" y="261937"/>
                      <a:pt x="93888" y="279788"/>
                      <a:pt x="99838" y="282763"/>
                    </a:cubicBezTo>
                    <a:cubicBezTo>
                      <a:pt x="117689" y="291689"/>
                      <a:pt x="129590" y="294664"/>
                      <a:pt x="144466" y="279788"/>
                    </a:cubicBezTo>
                    <a:cubicBezTo>
                      <a:pt x="153392" y="303589"/>
                      <a:pt x="174218" y="318465"/>
                      <a:pt x="198020" y="303589"/>
                    </a:cubicBezTo>
                    <a:cubicBezTo>
                      <a:pt x="227772" y="279788"/>
                      <a:pt x="227772" y="258961"/>
                      <a:pt x="251574" y="229209"/>
                    </a:cubicBezTo>
                    <a:cubicBezTo>
                      <a:pt x="275375" y="202432"/>
                      <a:pt x="305127" y="178631"/>
                      <a:pt x="331904" y="151853"/>
                    </a:cubicBezTo>
                    <a:cubicBezTo>
                      <a:pt x="355706" y="128052"/>
                      <a:pt x="361656" y="122101"/>
                      <a:pt x="349756" y="95325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71366D40-D317-42A7-B9F5-BC2CA0F179C1}"/>
                  </a:ext>
                </a:extLst>
              </p:cNvPr>
              <p:cNvSpPr/>
              <p:nvPr/>
            </p:nvSpPr>
            <p:spPr>
              <a:xfrm>
                <a:off x="5297618" y="9629136"/>
                <a:ext cx="127190" cy="142809"/>
              </a:xfrm>
              <a:custGeom>
                <a:avLst/>
                <a:gdLst>
                  <a:gd name="connsiteX0" fmla="*/ 43884 w 127190"/>
                  <a:gd name="connsiteY0" fmla="*/ 142810 h 142809"/>
                  <a:gd name="connsiteX1" fmla="*/ 43884 w 127190"/>
                  <a:gd name="connsiteY1" fmla="*/ 142810 h 142809"/>
                  <a:gd name="connsiteX2" fmla="*/ 2231 w 127190"/>
                  <a:gd name="connsiteY2" fmla="*/ 116033 h 142809"/>
                  <a:gd name="connsiteX3" fmla="*/ 2231 w 127190"/>
                  <a:gd name="connsiteY3" fmla="*/ 86281 h 142809"/>
                  <a:gd name="connsiteX4" fmla="*/ 121240 w 127190"/>
                  <a:gd name="connsiteY4" fmla="*/ 0 h 142809"/>
                  <a:gd name="connsiteX5" fmla="*/ 127190 w 127190"/>
                  <a:gd name="connsiteY5" fmla="*/ 2975 h 142809"/>
                  <a:gd name="connsiteX6" fmla="*/ 124215 w 127190"/>
                  <a:gd name="connsiteY6" fmla="*/ 8925 h 142809"/>
                  <a:gd name="connsiteX7" fmla="*/ 11157 w 127190"/>
                  <a:gd name="connsiteY7" fmla="*/ 92232 h 142809"/>
                  <a:gd name="connsiteX8" fmla="*/ 11157 w 127190"/>
                  <a:gd name="connsiteY8" fmla="*/ 113057 h 142809"/>
                  <a:gd name="connsiteX9" fmla="*/ 46859 w 127190"/>
                  <a:gd name="connsiteY9" fmla="*/ 133884 h 142809"/>
                  <a:gd name="connsiteX10" fmla="*/ 49835 w 127190"/>
                  <a:gd name="connsiteY10" fmla="*/ 139835 h 142809"/>
                  <a:gd name="connsiteX11" fmla="*/ 43884 w 127190"/>
                  <a:gd name="connsiteY11" fmla="*/ 142810 h 142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7190" h="142809">
                    <a:moveTo>
                      <a:pt x="43884" y="142810"/>
                    </a:moveTo>
                    <a:cubicBezTo>
                      <a:pt x="43884" y="142810"/>
                      <a:pt x="43884" y="142810"/>
                      <a:pt x="43884" y="142810"/>
                    </a:cubicBezTo>
                    <a:cubicBezTo>
                      <a:pt x="40909" y="142810"/>
                      <a:pt x="11157" y="133884"/>
                      <a:pt x="2231" y="116033"/>
                    </a:cubicBezTo>
                    <a:cubicBezTo>
                      <a:pt x="-744" y="107108"/>
                      <a:pt x="-744" y="98181"/>
                      <a:pt x="2231" y="86281"/>
                    </a:cubicBezTo>
                    <a:cubicBezTo>
                      <a:pt x="23058" y="41653"/>
                      <a:pt x="115289" y="0"/>
                      <a:pt x="121240" y="0"/>
                    </a:cubicBezTo>
                    <a:cubicBezTo>
                      <a:pt x="124215" y="0"/>
                      <a:pt x="127190" y="0"/>
                      <a:pt x="127190" y="2975"/>
                    </a:cubicBezTo>
                    <a:cubicBezTo>
                      <a:pt x="127190" y="5951"/>
                      <a:pt x="127190" y="8925"/>
                      <a:pt x="124215" y="8925"/>
                    </a:cubicBezTo>
                    <a:cubicBezTo>
                      <a:pt x="124215" y="8925"/>
                      <a:pt x="31983" y="50579"/>
                      <a:pt x="11157" y="92232"/>
                    </a:cubicBezTo>
                    <a:cubicBezTo>
                      <a:pt x="8182" y="101157"/>
                      <a:pt x="8182" y="107108"/>
                      <a:pt x="11157" y="113057"/>
                    </a:cubicBezTo>
                    <a:cubicBezTo>
                      <a:pt x="20083" y="127934"/>
                      <a:pt x="43884" y="133884"/>
                      <a:pt x="46859" y="133884"/>
                    </a:cubicBezTo>
                    <a:cubicBezTo>
                      <a:pt x="49835" y="133884"/>
                      <a:pt x="52810" y="136860"/>
                      <a:pt x="49835" y="139835"/>
                    </a:cubicBezTo>
                    <a:cubicBezTo>
                      <a:pt x="49835" y="142810"/>
                      <a:pt x="46859" y="142810"/>
                      <a:pt x="43884" y="14281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B8E73F29-0BDA-483F-9995-8A03993E4BAC}"/>
                  </a:ext>
                </a:extLst>
              </p:cNvPr>
              <p:cNvSpPr/>
              <p:nvPr/>
            </p:nvSpPr>
            <p:spPr>
              <a:xfrm>
                <a:off x="5380924" y="9745913"/>
                <a:ext cx="91487" cy="61735"/>
              </a:xfrm>
              <a:custGeom>
                <a:avLst/>
                <a:gdLst>
                  <a:gd name="connsiteX0" fmla="*/ 85537 w 91487"/>
                  <a:gd name="connsiteY0" fmla="*/ 61736 h 61735"/>
                  <a:gd name="connsiteX1" fmla="*/ 85537 w 91487"/>
                  <a:gd name="connsiteY1" fmla="*/ 61736 h 61735"/>
                  <a:gd name="connsiteX2" fmla="*/ 2231 w 91487"/>
                  <a:gd name="connsiteY2" fmla="*/ 11157 h 61735"/>
                  <a:gd name="connsiteX3" fmla="*/ 2231 w 91487"/>
                  <a:gd name="connsiteY3" fmla="*/ 2232 h 61735"/>
                  <a:gd name="connsiteX4" fmla="*/ 11157 w 91487"/>
                  <a:gd name="connsiteY4" fmla="*/ 2232 h 61735"/>
                  <a:gd name="connsiteX5" fmla="*/ 88512 w 91487"/>
                  <a:gd name="connsiteY5" fmla="*/ 49835 h 61735"/>
                  <a:gd name="connsiteX6" fmla="*/ 91488 w 91487"/>
                  <a:gd name="connsiteY6" fmla="*/ 55785 h 61735"/>
                  <a:gd name="connsiteX7" fmla="*/ 85537 w 91487"/>
                  <a:gd name="connsiteY7" fmla="*/ 61736 h 61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487" h="61735">
                    <a:moveTo>
                      <a:pt x="85537" y="61736"/>
                    </a:moveTo>
                    <a:cubicBezTo>
                      <a:pt x="82562" y="61736"/>
                      <a:pt x="82562" y="61736"/>
                      <a:pt x="85537" y="61736"/>
                    </a:cubicBezTo>
                    <a:cubicBezTo>
                      <a:pt x="79587" y="58760"/>
                      <a:pt x="17107" y="29008"/>
                      <a:pt x="2231" y="11157"/>
                    </a:cubicBezTo>
                    <a:cubicBezTo>
                      <a:pt x="-744" y="8182"/>
                      <a:pt x="-744" y="5207"/>
                      <a:pt x="2231" y="2232"/>
                    </a:cubicBezTo>
                    <a:cubicBezTo>
                      <a:pt x="5207" y="-744"/>
                      <a:pt x="8182" y="-744"/>
                      <a:pt x="11157" y="2232"/>
                    </a:cubicBezTo>
                    <a:cubicBezTo>
                      <a:pt x="23058" y="14132"/>
                      <a:pt x="70661" y="40909"/>
                      <a:pt x="88512" y="49835"/>
                    </a:cubicBezTo>
                    <a:cubicBezTo>
                      <a:pt x="91488" y="49835"/>
                      <a:pt x="91488" y="55785"/>
                      <a:pt x="91488" y="55785"/>
                    </a:cubicBezTo>
                    <a:cubicBezTo>
                      <a:pt x="88512" y="61736"/>
                      <a:pt x="85537" y="61736"/>
                      <a:pt x="85537" y="61736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35A74B44-DD20-4E2B-8B7E-9C31846D5C8D}"/>
                </a:ext>
              </a:extLst>
            </p:cNvPr>
            <p:cNvSpPr/>
            <p:nvPr/>
          </p:nvSpPr>
          <p:spPr>
            <a:xfrm>
              <a:off x="5090730" y="8578919"/>
              <a:ext cx="1018400" cy="1130176"/>
            </a:xfrm>
            <a:custGeom>
              <a:avLst/>
              <a:gdLst>
                <a:gd name="connsiteX0" fmla="*/ 6806 w 1018400"/>
                <a:gd name="connsiteY0" fmla="*/ 74349 h 1130176"/>
                <a:gd name="connsiteX1" fmla="*/ 340029 w 1018400"/>
                <a:gd name="connsiteY1" fmla="*/ 455176 h 1130176"/>
                <a:gd name="connsiteX2" fmla="*/ 655401 w 1018400"/>
                <a:gd name="connsiteY2" fmla="*/ 618812 h 1130176"/>
                <a:gd name="connsiteX3" fmla="*/ 450112 w 1018400"/>
                <a:gd name="connsiteY3" fmla="*/ 1023441 h 1130176"/>
                <a:gd name="connsiteX4" fmla="*/ 545318 w 1018400"/>
                <a:gd name="connsiteY4" fmla="*/ 1127573 h 1130176"/>
                <a:gd name="connsiteX5" fmla="*/ 1018376 w 1018400"/>
                <a:gd name="connsiteY5" fmla="*/ 574184 h 1130176"/>
                <a:gd name="connsiteX6" fmla="*/ 6806 w 1018400"/>
                <a:gd name="connsiteY6" fmla="*/ 74349 h 1130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400" h="1130176">
                  <a:moveTo>
                    <a:pt x="6806" y="74349"/>
                  </a:moveTo>
                  <a:cubicBezTo>
                    <a:pt x="-46748" y="196333"/>
                    <a:pt x="229946" y="392696"/>
                    <a:pt x="340029" y="455176"/>
                  </a:cubicBezTo>
                  <a:cubicBezTo>
                    <a:pt x="438211" y="511705"/>
                    <a:pt x="655401" y="618812"/>
                    <a:pt x="655401" y="618812"/>
                  </a:cubicBezTo>
                  <a:cubicBezTo>
                    <a:pt x="655401" y="618812"/>
                    <a:pt x="387632" y="940134"/>
                    <a:pt x="450112" y="1023441"/>
                  </a:cubicBezTo>
                  <a:cubicBezTo>
                    <a:pt x="464988" y="1059143"/>
                    <a:pt x="479864" y="1071044"/>
                    <a:pt x="545318" y="1127573"/>
                  </a:cubicBezTo>
                  <a:cubicBezTo>
                    <a:pt x="756558" y="1169226"/>
                    <a:pt x="1021351" y="699143"/>
                    <a:pt x="1018376" y="574184"/>
                  </a:cubicBezTo>
                  <a:cubicBezTo>
                    <a:pt x="1009451" y="342118"/>
                    <a:pt x="128789" y="-196394"/>
                    <a:pt x="6806" y="74349"/>
                  </a:cubicBezTo>
                  <a:close/>
                </a:path>
              </a:pathLst>
            </a:custGeom>
            <a:solidFill>
              <a:srgbClr val="D1615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251F0020-A8FE-46EB-B19C-283DC834E4E8}"/>
                </a:ext>
              </a:extLst>
            </p:cNvPr>
            <p:cNvSpPr/>
            <p:nvPr/>
          </p:nvSpPr>
          <p:spPr>
            <a:xfrm>
              <a:off x="5090594" y="8590789"/>
              <a:ext cx="346115" cy="449255"/>
            </a:xfrm>
            <a:custGeom>
              <a:avLst/>
              <a:gdLst>
                <a:gd name="connsiteX0" fmla="*/ 340165 w 346115"/>
                <a:gd name="connsiteY0" fmla="*/ 449256 h 449255"/>
                <a:gd name="connsiteX1" fmla="*/ 340165 w 346115"/>
                <a:gd name="connsiteY1" fmla="*/ 449256 h 449255"/>
                <a:gd name="connsiteX2" fmla="*/ 48595 w 346115"/>
                <a:gd name="connsiteY2" fmla="*/ 214215 h 449255"/>
                <a:gd name="connsiteX3" fmla="*/ 3967 w 346115"/>
                <a:gd name="connsiteY3" fmla="*/ 65454 h 449255"/>
                <a:gd name="connsiteX4" fmla="*/ 57521 w 346115"/>
                <a:gd name="connsiteY4" fmla="*/ 0 h 449255"/>
                <a:gd name="connsiteX5" fmla="*/ 63471 w 346115"/>
                <a:gd name="connsiteY5" fmla="*/ 2975 h 449255"/>
                <a:gd name="connsiteX6" fmla="*/ 60496 w 346115"/>
                <a:gd name="connsiteY6" fmla="*/ 8925 h 449255"/>
                <a:gd name="connsiteX7" fmla="*/ 12892 w 346115"/>
                <a:gd name="connsiteY7" fmla="*/ 65454 h 449255"/>
                <a:gd name="connsiteX8" fmla="*/ 57521 w 346115"/>
                <a:gd name="connsiteY8" fmla="*/ 205289 h 449255"/>
                <a:gd name="connsiteX9" fmla="*/ 343140 w 346115"/>
                <a:gd name="connsiteY9" fmla="*/ 437355 h 449255"/>
                <a:gd name="connsiteX10" fmla="*/ 346116 w 346115"/>
                <a:gd name="connsiteY10" fmla="*/ 443306 h 449255"/>
                <a:gd name="connsiteX11" fmla="*/ 340165 w 346115"/>
                <a:gd name="connsiteY11" fmla="*/ 449256 h 449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6115" h="449255">
                  <a:moveTo>
                    <a:pt x="340165" y="449256"/>
                  </a:moveTo>
                  <a:cubicBezTo>
                    <a:pt x="340165" y="449256"/>
                    <a:pt x="337190" y="449256"/>
                    <a:pt x="340165" y="449256"/>
                  </a:cubicBezTo>
                  <a:cubicBezTo>
                    <a:pt x="337190" y="449256"/>
                    <a:pt x="152727" y="360000"/>
                    <a:pt x="48595" y="214215"/>
                  </a:cubicBezTo>
                  <a:cubicBezTo>
                    <a:pt x="6942" y="157686"/>
                    <a:pt x="-7934" y="107107"/>
                    <a:pt x="3967" y="65454"/>
                  </a:cubicBezTo>
                  <a:cubicBezTo>
                    <a:pt x="15868" y="20826"/>
                    <a:pt x="57521" y="2975"/>
                    <a:pt x="57521" y="0"/>
                  </a:cubicBezTo>
                  <a:cubicBezTo>
                    <a:pt x="60496" y="0"/>
                    <a:pt x="63471" y="0"/>
                    <a:pt x="63471" y="2975"/>
                  </a:cubicBezTo>
                  <a:cubicBezTo>
                    <a:pt x="63471" y="5950"/>
                    <a:pt x="63471" y="8925"/>
                    <a:pt x="60496" y="8925"/>
                  </a:cubicBezTo>
                  <a:cubicBezTo>
                    <a:pt x="60496" y="8925"/>
                    <a:pt x="24793" y="26777"/>
                    <a:pt x="12892" y="65454"/>
                  </a:cubicBezTo>
                  <a:cubicBezTo>
                    <a:pt x="3967" y="104132"/>
                    <a:pt x="15868" y="151735"/>
                    <a:pt x="57521" y="205289"/>
                  </a:cubicBezTo>
                  <a:cubicBezTo>
                    <a:pt x="161653" y="348099"/>
                    <a:pt x="340165" y="437355"/>
                    <a:pt x="343140" y="437355"/>
                  </a:cubicBezTo>
                  <a:cubicBezTo>
                    <a:pt x="346116" y="437355"/>
                    <a:pt x="346116" y="443306"/>
                    <a:pt x="346116" y="443306"/>
                  </a:cubicBezTo>
                  <a:cubicBezTo>
                    <a:pt x="343140" y="449256"/>
                    <a:pt x="343140" y="449256"/>
                    <a:pt x="340165" y="449256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1B1EA628-BEE7-4EA7-9689-9D8980F42E7B}"/>
                </a:ext>
              </a:extLst>
            </p:cNvPr>
            <p:cNvSpPr/>
            <p:nvPr/>
          </p:nvSpPr>
          <p:spPr>
            <a:xfrm>
              <a:off x="5743156" y="9148805"/>
              <a:ext cx="74380" cy="63801"/>
            </a:xfrm>
            <a:custGeom>
              <a:avLst/>
              <a:gdLst>
                <a:gd name="connsiteX0" fmla="*/ 50579 w 74380"/>
                <a:gd name="connsiteY0" fmla="*/ 63802 h 63801"/>
                <a:gd name="connsiteX1" fmla="*/ 2975 w 74380"/>
                <a:gd name="connsiteY1" fmla="*/ 54876 h 63801"/>
                <a:gd name="connsiteX2" fmla="*/ 0 w 74380"/>
                <a:gd name="connsiteY2" fmla="*/ 48926 h 63801"/>
                <a:gd name="connsiteX3" fmla="*/ 2975 w 74380"/>
                <a:gd name="connsiteY3" fmla="*/ 42975 h 63801"/>
                <a:gd name="connsiteX4" fmla="*/ 62479 w 74380"/>
                <a:gd name="connsiteY4" fmla="*/ 1322 h 63801"/>
                <a:gd name="connsiteX5" fmla="*/ 71405 w 74380"/>
                <a:gd name="connsiteY5" fmla="*/ 1322 h 63801"/>
                <a:gd name="connsiteX6" fmla="*/ 71405 w 74380"/>
                <a:gd name="connsiteY6" fmla="*/ 10248 h 63801"/>
                <a:gd name="connsiteX7" fmla="*/ 20827 w 74380"/>
                <a:gd name="connsiteY7" fmla="*/ 45950 h 63801"/>
                <a:gd name="connsiteX8" fmla="*/ 68430 w 74380"/>
                <a:gd name="connsiteY8" fmla="*/ 48926 h 63801"/>
                <a:gd name="connsiteX9" fmla="*/ 74380 w 74380"/>
                <a:gd name="connsiteY9" fmla="*/ 54876 h 63801"/>
                <a:gd name="connsiteX10" fmla="*/ 68430 w 74380"/>
                <a:gd name="connsiteY10" fmla="*/ 60826 h 63801"/>
                <a:gd name="connsiteX11" fmla="*/ 50579 w 74380"/>
                <a:gd name="connsiteY11" fmla="*/ 63802 h 63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380" h="63801">
                  <a:moveTo>
                    <a:pt x="50579" y="63802"/>
                  </a:moveTo>
                  <a:cubicBezTo>
                    <a:pt x="26777" y="63802"/>
                    <a:pt x="2975" y="54876"/>
                    <a:pt x="2975" y="54876"/>
                  </a:cubicBezTo>
                  <a:cubicBezTo>
                    <a:pt x="0" y="54876"/>
                    <a:pt x="0" y="51901"/>
                    <a:pt x="0" y="48926"/>
                  </a:cubicBezTo>
                  <a:cubicBezTo>
                    <a:pt x="0" y="45950"/>
                    <a:pt x="0" y="45950"/>
                    <a:pt x="2975" y="42975"/>
                  </a:cubicBezTo>
                  <a:cubicBezTo>
                    <a:pt x="2975" y="42975"/>
                    <a:pt x="41653" y="16198"/>
                    <a:pt x="62479" y="1322"/>
                  </a:cubicBezTo>
                  <a:cubicBezTo>
                    <a:pt x="65455" y="-1653"/>
                    <a:pt x="68430" y="1322"/>
                    <a:pt x="71405" y="1322"/>
                  </a:cubicBezTo>
                  <a:cubicBezTo>
                    <a:pt x="74380" y="4298"/>
                    <a:pt x="71405" y="7273"/>
                    <a:pt x="71405" y="10248"/>
                  </a:cubicBezTo>
                  <a:cubicBezTo>
                    <a:pt x="56529" y="22149"/>
                    <a:pt x="32727" y="37025"/>
                    <a:pt x="20827" y="45950"/>
                  </a:cubicBezTo>
                  <a:cubicBezTo>
                    <a:pt x="32727" y="48926"/>
                    <a:pt x="50579" y="51901"/>
                    <a:pt x="68430" y="48926"/>
                  </a:cubicBezTo>
                  <a:cubicBezTo>
                    <a:pt x="71405" y="48926"/>
                    <a:pt x="74380" y="51901"/>
                    <a:pt x="74380" y="54876"/>
                  </a:cubicBezTo>
                  <a:cubicBezTo>
                    <a:pt x="74380" y="57851"/>
                    <a:pt x="71405" y="60826"/>
                    <a:pt x="68430" y="60826"/>
                  </a:cubicBezTo>
                  <a:cubicBezTo>
                    <a:pt x="59504" y="63802"/>
                    <a:pt x="53554" y="63802"/>
                    <a:pt x="50579" y="63802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65B78B58-C018-45A1-BF5B-618B16796893}"/>
                </a:ext>
              </a:extLst>
            </p:cNvPr>
            <p:cNvSpPr/>
            <p:nvPr/>
          </p:nvSpPr>
          <p:spPr>
            <a:xfrm>
              <a:off x="5478866" y="9529489"/>
              <a:ext cx="197820" cy="238368"/>
            </a:xfrm>
            <a:custGeom>
              <a:avLst/>
              <a:gdLst>
                <a:gd name="connsiteX0" fmla="*/ 59000 w 197820"/>
                <a:gd name="connsiteY0" fmla="*/ 16341 h 238368"/>
                <a:gd name="connsiteX1" fmla="*/ 189909 w 197820"/>
                <a:gd name="connsiteY1" fmla="*/ 191878 h 238368"/>
                <a:gd name="connsiteX2" fmla="*/ 142306 w 197820"/>
                <a:gd name="connsiteY2" fmla="*/ 230556 h 238368"/>
                <a:gd name="connsiteX3" fmla="*/ 2471 w 197820"/>
                <a:gd name="connsiteY3" fmla="*/ 40143 h 238368"/>
                <a:gd name="connsiteX4" fmla="*/ 59000 w 197820"/>
                <a:gd name="connsiteY4" fmla="*/ 16341 h 238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820" h="238368">
                  <a:moveTo>
                    <a:pt x="59000" y="16341"/>
                  </a:moveTo>
                  <a:cubicBezTo>
                    <a:pt x="88752" y="84771"/>
                    <a:pt x="139331" y="141299"/>
                    <a:pt x="189909" y="191878"/>
                  </a:cubicBezTo>
                  <a:cubicBezTo>
                    <a:pt x="216686" y="218655"/>
                    <a:pt x="169083" y="254358"/>
                    <a:pt x="142306" y="230556"/>
                  </a:cubicBezTo>
                  <a:cubicBezTo>
                    <a:pt x="85777" y="174027"/>
                    <a:pt x="32223" y="114523"/>
                    <a:pt x="2471" y="40143"/>
                  </a:cubicBezTo>
                  <a:cubicBezTo>
                    <a:pt x="-12405" y="4440"/>
                    <a:pt x="44124" y="-16386"/>
                    <a:pt x="59000" y="16341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79" name="图形 1">
            <a:extLst>
              <a:ext uri="{FF2B5EF4-FFF2-40B4-BE49-F238E27FC236}">
                <a16:creationId xmlns:a16="http://schemas.microsoft.com/office/drawing/2014/main" id="{05E62469-6F7A-45A8-9F2D-F8FD119BA2AF}"/>
              </a:ext>
            </a:extLst>
          </p:cNvPr>
          <p:cNvGrpSpPr/>
          <p:nvPr/>
        </p:nvGrpSpPr>
        <p:grpSpPr>
          <a:xfrm>
            <a:off x="7105084" y="2569401"/>
            <a:ext cx="3119763" cy="4288599"/>
            <a:chOff x="8255458" y="8220537"/>
            <a:chExt cx="3119763" cy="4288599"/>
          </a:xfrm>
        </p:grpSpPr>
        <p:grpSp>
          <p:nvGrpSpPr>
            <p:cNvPr id="80" name="图形 1">
              <a:extLst>
                <a:ext uri="{FF2B5EF4-FFF2-40B4-BE49-F238E27FC236}">
                  <a16:creationId xmlns:a16="http://schemas.microsoft.com/office/drawing/2014/main" id="{D5DD6A99-AABE-4856-8633-FC602802F07A}"/>
                </a:ext>
              </a:extLst>
            </p:cNvPr>
            <p:cNvGrpSpPr/>
            <p:nvPr/>
          </p:nvGrpSpPr>
          <p:grpSpPr>
            <a:xfrm>
              <a:off x="8961162" y="8669059"/>
              <a:ext cx="349550" cy="232746"/>
              <a:chOff x="8961162" y="8669059"/>
              <a:chExt cx="349550" cy="232746"/>
            </a:xfrm>
          </p:grpSpPr>
          <p:grpSp>
            <p:nvGrpSpPr>
              <p:cNvPr id="139" name="图形 1">
                <a:extLst>
                  <a:ext uri="{FF2B5EF4-FFF2-40B4-BE49-F238E27FC236}">
                    <a16:creationId xmlns:a16="http://schemas.microsoft.com/office/drawing/2014/main" id="{DEDCEC25-CA87-4090-B92C-DA495EB81D9D}"/>
                  </a:ext>
                </a:extLst>
              </p:cNvPr>
              <p:cNvGrpSpPr/>
              <p:nvPr/>
            </p:nvGrpSpPr>
            <p:grpSpPr>
              <a:xfrm>
                <a:off x="8961162" y="8669059"/>
                <a:ext cx="349550" cy="232746"/>
                <a:chOff x="8961162" y="8669059"/>
                <a:chExt cx="349550" cy="232746"/>
              </a:xfrm>
            </p:grpSpPr>
            <p:sp>
              <p:nvSpPr>
                <p:cNvPr id="142" name="任意多边形: 形状 141">
                  <a:extLst>
                    <a:ext uri="{FF2B5EF4-FFF2-40B4-BE49-F238E27FC236}">
                      <a16:creationId xmlns:a16="http://schemas.microsoft.com/office/drawing/2014/main" id="{9A3E3455-B0BF-41F9-8062-5CA528056D9C}"/>
                    </a:ext>
                  </a:extLst>
                </p:cNvPr>
                <p:cNvSpPr/>
                <p:nvPr/>
              </p:nvSpPr>
              <p:spPr>
                <a:xfrm>
                  <a:off x="8970182" y="8669059"/>
                  <a:ext cx="340530" cy="232746"/>
                </a:xfrm>
                <a:custGeom>
                  <a:avLst/>
                  <a:gdLst>
                    <a:gd name="connsiteX0" fmla="*/ 170660 w 340530"/>
                    <a:gd name="connsiteY0" fmla="*/ 222226 h 232746"/>
                    <a:gd name="connsiteX1" fmla="*/ 298594 w 340530"/>
                    <a:gd name="connsiteY1" fmla="*/ 219251 h 232746"/>
                    <a:gd name="connsiteX2" fmla="*/ 340247 w 340530"/>
                    <a:gd name="connsiteY2" fmla="*/ 132970 h 232746"/>
                    <a:gd name="connsiteX3" fmla="*/ 233139 w 340530"/>
                    <a:gd name="connsiteY3" fmla="*/ 5036 h 232746"/>
                    <a:gd name="connsiteX4" fmla="*/ 209338 w 340530"/>
                    <a:gd name="connsiteY4" fmla="*/ 31813 h 232746"/>
                    <a:gd name="connsiteX5" fmla="*/ 245040 w 340530"/>
                    <a:gd name="connsiteY5" fmla="*/ 97268 h 232746"/>
                    <a:gd name="connsiteX6" fmla="*/ 69503 w 340530"/>
                    <a:gd name="connsiteY6" fmla="*/ 70491 h 232746"/>
                    <a:gd name="connsiteX7" fmla="*/ 45701 w 340530"/>
                    <a:gd name="connsiteY7" fmla="*/ 88342 h 232746"/>
                    <a:gd name="connsiteX8" fmla="*/ 87354 w 340530"/>
                    <a:gd name="connsiteY8" fmla="*/ 100243 h 232746"/>
                    <a:gd name="connsiteX9" fmla="*/ 140908 w 340530"/>
                    <a:gd name="connsiteY9" fmla="*/ 115119 h 232746"/>
                    <a:gd name="connsiteX10" fmla="*/ 66528 w 340530"/>
                    <a:gd name="connsiteY10" fmla="*/ 118094 h 232746"/>
                    <a:gd name="connsiteX11" fmla="*/ 12974 w 340530"/>
                    <a:gd name="connsiteY11" fmla="*/ 121069 h 232746"/>
                    <a:gd name="connsiteX12" fmla="*/ 1073 w 340530"/>
                    <a:gd name="connsiteY12" fmla="*/ 141896 h 232746"/>
                    <a:gd name="connsiteX13" fmla="*/ 21900 w 340530"/>
                    <a:gd name="connsiteY13" fmla="*/ 159747 h 232746"/>
                    <a:gd name="connsiteX14" fmla="*/ 18924 w 340530"/>
                    <a:gd name="connsiteY14" fmla="*/ 159747 h 232746"/>
                    <a:gd name="connsiteX15" fmla="*/ 12974 w 340530"/>
                    <a:gd name="connsiteY15" fmla="*/ 171648 h 232746"/>
                    <a:gd name="connsiteX16" fmla="*/ 57602 w 340530"/>
                    <a:gd name="connsiteY16" fmla="*/ 183548 h 232746"/>
                    <a:gd name="connsiteX17" fmla="*/ 84379 w 340530"/>
                    <a:gd name="connsiteY17" fmla="*/ 183548 h 232746"/>
                    <a:gd name="connsiteX18" fmla="*/ 78428 w 340530"/>
                    <a:gd name="connsiteY18" fmla="*/ 186524 h 232746"/>
                    <a:gd name="connsiteX19" fmla="*/ 69503 w 340530"/>
                    <a:gd name="connsiteY19" fmla="*/ 201400 h 232746"/>
                    <a:gd name="connsiteX20" fmla="*/ 170660 w 340530"/>
                    <a:gd name="connsiteY20" fmla="*/ 222226 h 232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40530" h="232746">
                      <a:moveTo>
                        <a:pt x="170660" y="222226"/>
                      </a:moveTo>
                      <a:cubicBezTo>
                        <a:pt x="212313" y="225202"/>
                        <a:pt x="262891" y="246028"/>
                        <a:pt x="298594" y="219251"/>
                      </a:cubicBezTo>
                      <a:cubicBezTo>
                        <a:pt x="322395" y="201400"/>
                        <a:pt x="343222" y="159747"/>
                        <a:pt x="340247" y="132970"/>
                      </a:cubicBezTo>
                      <a:cubicBezTo>
                        <a:pt x="331321" y="91317"/>
                        <a:pt x="262891" y="64540"/>
                        <a:pt x="233139" y="5036"/>
                      </a:cubicBezTo>
                      <a:cubicBezTo>
                        <a:pt x="227189" y="-9840"/>
                        <a:pt x="203387" y="10987"/>
                        <a:pt x="209338" y="31813"/>
                      </a:cubicBezTo>
                      <a:cubicBezTo>
                        <a:pt x="218263" y="58590"/>
                        <a:pt x="230164" y="82392"/>
                        <a:pt x="245040" y="97268"/>
                      </a:cubicBezTo>
                      <a:cubicBezTo>
                        <a:pt x="185536" y="91317"/>
                        <a:pt x="131982" y="64540"/>
                        <a:pt x="69503" y="70491"/>
                      </a:cubicBezTo>
                      <a:cubicBezTo>
                        <a:pt x="60577" y="70491"/>
                        <a:pt x="33800" y="76441"/>
                        <a:pt x="45701" y="88342"/>
                      </a:cubicBezTo>
                      <a:cubicBezTo>
                        <a:pt x="54627" y="97268"/>
                        <a:pt x="75453" y="97268"/>
                        <a:pt x="87354" y="100243"/>
                      </a:cubicBezTo>
                      <a:cubicBezTo>
                        <a:pt x="105205" y="106193"/>
                        <a:pt x="123056" y="109168"/>
                        <a:pt x="140908" y="115119"/>
                      </a:cubicBezTo>
                      <a:cubicBezTo>
                        <a:pt x="117106" y="115119"/>
                        <a:pt x="90329" y="118094"/>
                        <a:pt x="66528" y="118094"/>
                      </a:cubicBezTo>
                      <a:cubicBezTo>
                        <a:pt x="51652" y="118094"/>
                        <a:pt x="30825" y="115119"/>
                        <a:pt x="12974" y="121069"/>
                      </a:cubicBezTo>
                      <a:cubicBezTo>
                        <a:pt x="1073" y="124044"/>
                        <a:pt x="-1902" y="132970"/>
                        <a:pt x="1073" y="141896"/>
                      </a:cubicBezTo>
                      <a:cubicBezTo>
                        <a:pt x="4048" y="150821"/>
                        <a:pt x="12974" y="156772"/>
                        <a:pt x="21900" y="159747"/>
                      </a:cubicBezTo>
                      <a:cubicBezTo>
                        <a:pt x="21900" y="159747"/>
                        <a:pt x="21900" y="159747"/>
                        <a:pt x="18924" y="159747"/>
                      </a:cubicBezTo>
                      <a:cubicBezTo>
                        <a:pt x="15949" y="159747"/>
                        <a:pt x="12974" y="168672"/>
                        <a:pt x="12974" y="171648"/>
                      </a:cubicBezTo>
                      <a:cubicBezTo>
                        <a:pt x="21900" y="183548"/>
                        <a:pt x="39750" y="183548"/>
                        <a:pt x="57602" y="183548"/>
                      </a:cubicBezTo>
                      <a:cubicBezTo>
                        <a:pt x="66528" y="183548"/>
                        <a:pt x="75453" y="183548"/>
                        <a:pt x="84379" y="183548"/>
                      </a:cubicBezTo>
                      <a:cubicBezTo>
                        <a:pt x="81404" y="183548"/>
                        <a:pt x="81404" y="183548"/>
                        <a:pt x="78428" y="186524"/>
                      </a:cubicBezTo>
                      <a:cubicBezTo>
                        <a:pt x="72478" y="189499"/>
                        <a:pt x="66528" y="195450"/>
                        <a:pt x="69503" y="201400"/>
                      </a:cubicBezTo>
                      <a:cubicBezTo>
                        <a:pt x="66528" y="216276"/>
                        <a:pt x="143883" y="222226"/>
                        <a:pt x="170660" y="222226"/>
                      </a:cubicBezTo>
                      <a:close/>
                    </a:path>
                  </a:pathLst>
                </a:custGeom>
                <a:solidFill>
                  <a:srgbClr val="F5A39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3" name="任意多边形: 形状 142">
                  <a:extLst>
                    <a:ext uri="{FF2B5EF4-FFF2-40B4-BE49-F238E27FC236}">
                      <a16:creationId xmlns:a16="http://schemas.microsoft.com/office/drawing/2014/main" id="{A6AF5770-D03B-463C-A9FD-6602DDB936E0}"/>
                    </a:ext>
                  </a:extLst>
                </p:cNvPr>
                <p:cNvSpPr/>
                <p:nvPr/>
              </p:nvSpPr>
              <p:spPr>
                <a:xfrm>
                  <a:off x="9203321" y="8781202"/>
                  <a:ext cx="42885" cy="50578"/>
                </a:xfrm>
                <a:custGeom>
                  <a:avLst/>
                  <a:gdLst>
                    <a:gd name="connsiteX0" fmla="*/ 35703 w 42885"/>
                    <a:gd name="connsiteY0" fmla="*/ 50578 h 50578"/>
                    <a:gd name="connsiteX1" fmla="*/ 35703 w 42885"/>
                    <a:gd name="connsiteY1" fmla="*/ 50578 h 50578"/>
                    <a:gd name="connsiteX2" fmla="*/ 0 w 42885"/>
                    <a:gd name="connsiteY2" fmla="*/ 5950 h 50578"/>
                    <a:gd name="connsiteX3" fmla="*/ 5951 w 42885"/>
                    <a:gd name="connsiteY3" fmla="*/ 0 h 50578"/>
                    <a:gd name="connsiteX4" fmla="*/ 5951 w 42885"/>
                    <a:gd name="connsiteY4" fmla="*/ 0 h 50578"/>
                    <a:gd name="connsiteX5" fmla="*/ 11901 w 42885"/>
                    <a:gd name="connsiteY5" fmla="*/ 5950 h 50578"/>
                    <a:gd name="connsiteX6" fmla="*/ 38678 w 42885"/>
                    <a:gd name="connsiteY6" fmla="*/ 38678 h 50578"/>
                    <a:gd name="connsiteX7" fmla="*/ 41653 w 42885"/>
                    <a:gd name="connsiteY7" fmla="*/ 44628 h 50578"/>
                    <a:gd name="connsiteX8" fmla="*/ 35703 w 42885"/>
                    <a:gd name="connsiteY8" fmla="*/ 50578 h 50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2885" h="50578">
                      <a:moveTo>
                        <a:pt x="35703" y="50578"/>
                      </a:moveTo>
                      <a:cubicBezTo>
                        <a:pt x="32727" y="50578"/>
                        <a:pt x="32727" y="50578"/>
                        <a:pt x="35703" y="50578"/>
                      </a:cubicBezTo>
                      <a:cubicBezTo>
                        <a:pt x="5951" y="41653"/>
                        <a:pt x="0" y="17851"/>
                        <a:pt x="0" y="5950"/>
                      </a:cubicBezTo>
                      <a:cubicBezTo>
                        <a:pt x="0" y="2975"/>
                        <a:pt x="2975" y="0"/>
                        <a:pt x="5951" y="0"/>
                      </a:cubicBezTo>
                      <a:cubicBezTo>
                        <a:pt x="5951" y="0"/>
                        <a:pt x="5951" y="0"/>
                        <a:pt x="5951" y="0"/>
                      </a:cubicBezTo>
                      <a:cubicBezTo>
                        <a:pt x="8926" y="0"/>
                        <a:pt x="11901" y="2975"/>
                        <a:pt x="11901" y="5950"/>
                      </a:cubicBezTo>
                      <a:cubicBezTo>
                        <a:pt x="11901" y="5950"/>
                        <a:pt x="11901" y="32727"/>
                        <a:pt x="38678" y="38678"/>
                      </a:cubicBezTo>
                      <a:cubicBezTo>
                        <a:pt x="41653" y="38678"/>
                        <a:pt x="44628" y="41653"/>
                        <a:pt x="41653" y="44628"/>
                      </a:cubicBezTo>
                      <a:cubicBezTo>
                        <a:pt x="38678" y="50578"/>
                        <a:pt x="38678" y="50578"/>
                        <a:pt x="35703" y="50578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4" name="任意多边形: 形状 143">
                  <a:extLst>
                    <a:ext uri="{FF2B5EF4-FFF2-40B4-BE49-F238E27FC236}">
                      <a16:creationId xmlns:a16="http://schemas.microsoft.com/office/drawing/2014/main" id="{CA218BAC-C425-48B5-9133-2076145110B4}"/>
                    </a:ext>
                  </a:extLst>
                </p:cNvPr>
                <p:cNvSpPr/>
                <p:nvPr/>
              </p:nvSpPr>
              <p:spPr>
                <a:xfrm>
                  <a:off x="8961162" y="8750218"/>
                  <a:ext cx="152902" cy="78587"/>
                </a:xfrm>
                <a:custGeom>
                  <a:avLst/>
                  <a:gdLst>
                    <a:gd name="connsiteX0" fmla="*/ 24969 w 152902"/>
                    <a:gd name="connsiteY0" fmla="*/ 78588 h 78587"/>
                    <a:gd name="connsiteX1" fmla="*/ 24969 w 152902"/>
                    <a:gd name="connsiteY1" fmla="*/ 78588 h 78587"/>
                    <a:gd name="connsiteX2" fmla="*/ 1167 w 152902"/>
                    <a:gd name="connsiteY2" fmla="*/ 60737 h 78587"/>
                    <a:gd name="connsiteX3" fmla="*/ 7118 w 152902"/>
                    <a:gd name="connsiteY3" fmla="*/ 36935 h 78587"/>
                    <a:gd name="connsiteX4" fmla="*/ 96374 w 152902"/>
                    <a:gd name="connsiteY4" fmla="*/ 25034 h 78587"/>
                    <a:gd name="connsiteX5" fmla="*/ 48770 w 152902"/>
                    <a:gd name="connsiteY5" fmla="*/ 10158 h 78587"/>
                    <a:gd name="connsiteX6" fmla="*/ 45795 w 152902"/>
                    <a:gd name="connsiteY6" fmla="*/ 4208 h 78587"/>
                    <a:gd name="connsiteX7" fmla="*/ 51746 w 152902"/>
                    <a:gd name="connsiteY7" fmla="*/ 1232 h 78587"/>
                    <a:gd name="connsiteX8" fmla="*/ 146952 w 152902"/>
                    <a:gd name="connsiteY8" fmla="*/ 28009 h 78587"/>
                    <a:gd name="connsiteX9" fmla="*/ 152903 w 152902"/>
                    <a:gd name="connsiteY9" fmla="*/ 33960 h 78587"/>
                    <a:gd name="connsiteX10" fmla="*/ 146952 w 152902"/>
                    <a:gd name="connsiteY10" fmla="*/ 39910 h 78587"/>
                    <a:gd name="connsiteX11" fmla="*/ 16043 w 152902"/>
                    <a:gd name="connsiteY11" fmla="*/ 48836 h 78587"/>
                    <a:gd name="connsiteX12" fmla="*/ 13068 w 152902"/>
                    <a:gd name="connsiteY12" fmla="*/ 60737 h 78587"/>
                    <a:gd name="connsiteX13" fmla="*/ 27944 w 152902"/>
                    <a:gd name="connsiteY13" fmla="*/ 69662 h 78587"/>
                    <a:gd name="connsiteX14" fmla="*/ 33894 w 152902"/>
                    <a:gd name="connsiteY14" fmla="*/ 75613 h 78587"/>
                    <a:gd name="connsiteX15" fmla="*/ 24969 w 152902"/>
                    <a:gd name="connsiteY15" fmla="*/ 78588 h 78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52902" h="78587">
                      <a:moveTo>
                        <a:pt x="24969" y="78588"/>
                      </a:moveTo>
                      <a:cubicBezTo>
                        <a:pt x="24969" y="78588"/>
                        <a:pt x="24969" y="78588"/>
                        <a:pt x="24969" y="78588"/>
                      </a:cubicBezTo>
                      <a:cubicBezTo>
                        <a:pt x="13068" y="75613"/>
                        <a:pt x="4142" y="69662"/>
                        <a:pt x="1167" y="60737"/>
                      </a:cubicBezTo>
                      <a:cubicBezTo>
                        <a:pt x="-1808" y="51811"/>
                        <a:pt x="1167" y="45861"/>
                        <a:pt x="7118" y="36935"/>
                      </a:cubicBezTo>
                      <a:cubicBezTo>
                        <a:pt x="13068" y="28009"/>
                        <a:pt x="57696" y="25034"/>
                        <a:pt x="96374" y="25034"/>
                      </a:cubicBezTo>
                      <a:cubicBezTo>
                        <a:pt x="72572" y="19084"/>
                        <a:pt x="48770" y="10158"/>
                        <a:pt x="48770" y="10158"/>
                      </a:cubicBezTo>
                      <a:cubicBezTo>
                        <a:pt x="45795" y="10158"/>
                        <a:pt x="42820" y="7183"/>
                        <a:pt x="45795" y="4208"/>
                      </a:cubicBezTo>
                      <a:cubicBezTo>
                        <a:pt x="45795" y="1232"/>
                        <a:pt x="48770" y="-1743"/>
                        <a:pt x="51746" y="1232"/>
                      </a:cubicBezTo>
                      <a:cubicBezTo>
                        <a:pt x="51746" y="1232"/>
                        <a:pt x="111250" y="19084"/>
                        <a:pt x="146952" y="28009"/>
                      </a:cubicBezTo>
                      <a:cubicBezTo>
                        <a:pt x="149928" y="28009"/>
                        <a:pt x="152903" y="30985"/>
                        <a:pt x="152903" y="33960"/>
                      </a:cubicBezTo>
                      <a:cubicBezTo>
                        <a:pt x="152903" y="36935"/>
                        <a:pt x="149928" y="39910"/>
                        <a:pt x="146952" y="39910"/>
                      </a:cubicBezTo>
                      <a:cubicBezTo>
                        <a:pt x="90423" y="39910"/>
                        <a:pt x="24969" y="42885"/>
                        <a:pt x="16043" y="48836"/>
                      </a:cubicBezTo>
                      <a:cubicBezTo>
                        <a:pt x="13068" y="51811"/>
                        <a:pt x="10093" y="54786"/>
                        <a:pt x="13068" y="60737"/>
                      </a:cubicBezTo>
                      <a:cubicBezTo>
                        <a:pt x="16043" y="63712"/>
                        <a:pt x="19018" y="69662"/>
                        <a:pt x="27944" y="69662"/>
                      </a:cubicBezTo>
                      <a:cubicBezTo>
                        <a:pt x="30919" y="69662"/>
                        <a:pt x="33894" y="72637"/>
                        <a:pt x="33894" y="75613"/>
                      </a:cubicBezTo>
                      <a:cubicBezTo>
                        <a:pt x="30919" y="75613"/>
                        <a:pt x="27944" y="78588"/>
                        <a:pt x="24969" y="78588"/>
                      </a:cubicBezTo>
                      <a:close/>
                    </a:path>
                  </a:pathLst>
                </a:custGeom>
                <a:solidFill>
                  <a:srgbClr val="E58777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08110673-71D2-4F4D-BEC5-3AB21D6E86EC}"/>
                  </a:ext>
                </a:extLst>
              </p:cNvPr>
              <p:cNvSpPr/>
              <p:nvPr/>
            </p:nvSpPr>
            <p:spPr>
              <a:xfrm>
                <a:off x="9026551" y="8843682"/>
                <a:ext cx="114290" cy="53553"/>
              </a:xfrm>
              <a:custGeom>
                <a:avLst/>
                <a:gdLst>
                  <a:gd name="connsiteX0" fmla="*/ 99414 w 114290"/>
                  <a:gd name="connsiteY0" fmla="*/ 53553 h 53553"/>
                  <a:gd name="connsiteX1" fmla="*/ 99414 w 114290"/>
                  <a:gd name="connsiteY1" fmla="*/ 53553 h 53553"/>
                  <a:gd name="connsiteX2" fmla="*/ 1232 w 114290"/>
                  <a:gd name="connsiteY2" fmla="*/ 26777 h 53553"/>
                  <a:gd name="connsiteX3" fmla="*/ 4208 w 114290"/>
                  <a:gd name="connsiteY3" fmla="*/ 8925 h 53553"/>
                  <a:gd name="connsiteX4" fmla="*/ 28009 w 114290"/>
                  <a:gd name="connsiteY4" fmla="*/ 0 h 53553"/>
                  <a:gd name="connsiteX5" fmla="*/ 63712 w 114290"/>
                  <a:gd name="connsiteY5" fmla="*/ 2975 h 53553"/>
                  <a:gd name="connsiteX6" fmla="*/ 108340 w 114290"/>
                  <a:gd name="connsiteY6" fmla="*/ 5950 h 53553"/>
                  <a:gd name="connsiteX7" fmla="*/ 114290 w 114290"/>
                  <a:gd name="connsiteY7" fmla="*/ 11901 h 53553"/>
                  <a:gd name="connsiteX8" fmla="*/ 108340 w 114290"/>
                  <a:gd name="connsiteY8" fmla="*/ 17851 h 53553"/>
                  <a:gd name="connsiteX9" fmla="*/ 60737 w 114290"/>
                  <a:gd name="connsiteY9" fmla="*/ 14876 h 53553"/>
                  <a:gd name="connsiteX10" fmla="*/ 25034 w 114290"/>
                  <a:gd name="connsiteY10" fmla="*/ 11901 h 53553"/>
                  <a:gd name="connsiteX11" fmla="*/ 10158 w 114290"/>
                  <a:gd name="connsiteY11" fmla="*/ 17851 h 53553"/>
                  <a:gd name="connsiteX12" fmla="*/ 10158 w 114290"/>
                  <a:gd name="connsiteY12" fmla="*/ 23801 h 53553"/>
                  <a:gd name="connsiteX13" fmla="*/ 96439 w 114290"/>
                  <a:gd name="connsiteY13" fmla="*/ 44628 h 53553"/>
                  <a:gd name="connsiteX14" fmla="*/ 102389 w 114290"/>
                  <a:gd name="connsiteY14" fmla="*/ 50578 h 53553"/>
                  <a:gd name="connsiteX15" fmla="*/ 99414 w 114290"/>
                  <a:gd name="connsiteY15" fmla="*/ 53553 h 53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4290" h="53553">
                    <a:moveTo>
                      <a:pt x="99414" y="53553"/>
                    </a:moveTo>
                    <a:cubicBezTo>
                      <a:pt x="99414" y="53553"/>
                      <a:pt x="99414" y="53553"/>
                      <a:pt x="99414" y="53553"/>
                    </a:cubicBezTo>
                    <a:cubicBezTo>
                      <a:pt x="72637" y="50578"/>
                      <a:pt x="7183" y="44628"/>
                      <a:pt x="1232" y="26777"/>
                    </a:cubicBezTo>
                    <a:cubicBezTo>
                      <a:pt x="-1743" y="17851"/>
                      <a:pt x="1232" y="11901"/>
                      <a:pt x="4208" y="8925"/>
                    </a:cubicBezTo>
                    <a:cubicBezTo>
                      <a:pt x="7183" y="2975"/>
                      <a:pt x="16108" y="0"/>
                      <a:pt x="28009" y="0"/>
                    </a:cubicBezTo>
                    <a:cubicBezTo>
                      <a:pt x="33960" y="0"/>
                      <a:pt x="48836" y="0"/>
                      <a:pt x="63712" y="2975"/>
                    </a:cubicBezTo>
                    <a:cubicBezTo>
                      <a:pt x="81563" y="5950"/>
                      <a:pt x="102389" y="5950"/>
                      <a:pt x="108340" y="5950"/>
                    </a:cubicBezTo>
                    <a:cubicBezTo>
                      <a:pt x="111315" y="5950"/>
                      <a:pt x="114290" y="8925"/>
                      <a:pt x="114290" y="11901"/>
                    </a:cubicBezTo>
                    <a:cubicBezTo>
                      <a:pt x="114290" y="14876"/>
                      <a:pt x="111315" y="17851"/>
                      <a:pt x="108340" y="17851"/>
                    </a:cubicBezTo>
                    <a:cubicBezTo>
                      <a:pt x="99414" y="17851"/>
                      <a:pt x="78588" y="17851"/>
                      <a:pt x="60737" y="14876"/>
                    </a:cubicBezTo>
                    <a:cubicBezTo>
                      <a:pt x="45861" y="14876"/>
                      <a:pt x="30985" y="11901"/>
                      <a:pt x="25034" y="11901"/>
                    </a:cubicBezTo>
                    <a:cubicBezTo>
                      <a:pt x="16108" y="11901"/>
                      <a:pt x="10158" y="14876"/>
                      <a:pt x="10158" y="17851"/>
                    </a:cubicBezTo>
                    <a:cubicBezTo>
                      <a:pt x="10158" y="17851"/>
                      <a:pt x="7183" y="20826"/>
                      <a:pt x="10158" y="23801"/>
                    </a:cubicBezTo>
                    <a:cubicBezTo>
                      <a:pt x="13133" y="29752"/>
                      <a:pt x="51811" y="38677"/>
                      <a:pt x="96439" y="44628"/>
                    </a:cubicBezTo>
                    <a:cubicBezTo>
                      <a:pt x="99414" y="44628"/>
                      <a:pt x="102389" y="47603"/>
                      <a:pt x="102389" y="50578"/>
                    </a:cubicBezTo>
                    <a:cubicBezTo>
                      <a:pt x="105365" y="50578"/>
                      <a:pt x="102389" y="53553"/>
                      <a:pt x="99414" y="53553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F2A25785-37BD-4E28-A2B1-EF7B60BDB1F2}"/>
                  </a:ext>
                </a:extLst>
              </p:cNvPr>
              <p:cNvSpPr/>
              <p:nvPr/>
            </p:nvSpPr>
            <p:spPr>
              <a:xfrm>
                <a:off x="8974974" y="8806747"/>
                <a:ext cx="159917" cy="48835"/>
              </a:xfrm>
              <a:custGeom>
                <a:avLst/>
                <a:gdLst>
                  <a:gd name="connsiteX0" fmla="*/ 64711 w 159917"/>
                  <a:gd name="connsiteY0" fmla="*/ 48836 h 48835"/>
                  <a:gd name="connsiteX1" fmla="*/ 64711 w 159917"/>
                  <a:gd name="connsiteY1" fmla="*/ 48836 h 48835"/>
                  <a:gd name="connsiteX2" fmla="*/ 2232 w 159917"/>
                  <a:gd name="connsiteY2" fmla="*/ 33960 h 48835"/>
                  <a:gd name="connsiteX3" fmla="*/ 2232 w 159917"/>
                  <a:gd name="connsiteY3" fmla="*/ 19084 h 48835"/>
                  <a:gd name="connsiteX4" fmla="*/ 29008 w 159917"/>
                  <a:gd name="connsiteY4" fmla="*/ 1232 h 48835"/>
                  <a:gd name="connsiteX5" fmla="*/ 91488 w 159917"/>
                  <a:gd name="connsiteY5" fmla="*/ 4208 h 48835"/>
                  <a:gd name="connsiteX6" fmla="*/ 100413 w 159917"/>
                  <a:gd name="connsiteY6" fmla="*/ 4208 h 48835"/>
                  <a:gd name="connsiteX7" fmla="*/ 153967 w 159917"/>
                  <a:gd name="connsiteY7" fmla="*/ 4208 h 48835"/>
                  <a:gd name="connsiteX8" fmla="*/ 159918 w 159917"/>
                  <a:gd name="connsiteY8" fmla="*/ 10158 h 48835"/>
                  <a:gd name="connsiteX9" fmla="*/ 153967 w 159917"/>
                  <a:gd name="connsiteY9" fmla="*/ 16108 h 48835"/>
                  <a:gd name="connsiteX10" fmla="*/ 100413 w 159917"/>
                  <a:gd name="connsiteY10" fmla="*/ 16108 h 48835"/>
                  <a:gd name="connsiteX11" fmla="*/ 88512 w 159917"/>
                  <a:gd name="connsiteY11" fmla="*/ 16108 h 48835"/>
                  <a:gd name="connsiteX12" fmla="*/ 29008 w 159917"/>
                  <a:gd name="connsiteY12" fmla="*/ 13133 h 48835"/>
                  <a:gd name="connsiteX13" fmla="*/ 11157 w 159917"/>
                  <a:gd name="connsiteY13" fmla="*/ 25034 h 48835"/>
                  <a:gd name="connsiteX14" fmla="*/ 11157 w 159917"/>
                  <a:gd name="connsiteY14" fmla="*/ 28009 h 48835"/>
                  <a:gd name="connsiteX15" fmla="*/ 64711 w 159917"/>
                  <a:gd name="connsiteY15" fmla="*/ 36935 h 48835"/>
                  <a:gd name="connsiteX16" fmla="*/ 70661 w 159917"/>
                  <a:gd name="connsiteY16" fmla="*/ 42885 h 48835"/>
                  <a:gd name="connsiteX17" fmla="*/ 64711 w 159917"/>
                  <a:gd name="connsiteY17" fmla="*/ 48836 h 48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9917" h="48835">
                    <a:moveTo>
                      <a:pt x="64711" y="48836"/>
                    </a:moveTo>
                    <a:cubicBezTo>
                      <a:pt x="64711" y="48836"/>
                      <a:pt x="64711" y="48836"/>
                      <a:pt x="64711" y="48836"/>
                    </a:cubicBezTo>
                    <a:cubicBezTo>
                      <a:pt x="46860" y="48836"/>
                      <a:pt x="8182" y="45860"/>
                      <a:pt x="2232" y="33960"/>
                    </a:cubicBezTo>
                    <a:cubicBezTo>
                      <a:pt x="-744" y="30984"/>
                      <a:pt x="-744" y="25034"/>
                      <a:pt x="2232" y="19084"/>
                    </a:cubicBezTo>
                    <a:cubicBezTo>
                      <a:pt x="5206" y="10158"/>
                      <a:pt x="17108" y="4208"/>
                      <a:pt x="29008" y="1232"/>
                    </a:cubicBezTo>
                    <a:cubicBezTo>
                      <a:pt x="37934" y="-1743"/>
                      <a:pt x="64711" y="1232"/>
                      <a:pt x="91488" y="4208"/>
                    </a:cubicBezTo>
                    <a:cubicBezTo>
                      <a:pt x="97438" y="4208"/>
                      <a:pt x="100413" y="4208"/>
                      <a:pt x="100413" y="4208"/>
                    </a:cubicBezTo>
                    <a:cubicBezTo>
                      <a:pt x="106364" y="4208"/>
                      <a:pt x="142066" y="4208"/>
                      <a:pt x="153967" y="4208"/>
                    </a:cubicBezTo>
                    <a:cubicBezTo>
                      <a:pt x="156942" y="4208"/>
                      <a:pt x="159918" y="7183"/>
                      <a:pt x="159918" y="10158"/>
                    </a:cubicBezTo>
                    <a:cubicBezTo>
                      <a:pt x="159918" y="13133"/>
                      <a:pt x="156942" y="16108"/>
                      <a:pt x="153967" y="16108"/>
                    </a:cubicBezTo>
                    <a:cubicBezTo>
                      <a:pt x="150992" y="16108"/>
                      <a:pt x="106364" y="19084"/>
                      <a:pt x="100413" y="16108"/>
                    </a:cubicBezTo>
                    <a:cubicBezTo>
                      <a:pt x="97438" y="16108"/>
                      <a:pt x="94463" y="16108"/>
                      <a:pt x="88512" y="16108"/>
                    </a:cubicBezTo>
                    <a:cubicBezTo>
                      <a:pt x="73636" y="13133"/>
                      <a:pt x="37934" y="10158"/>
                      <a:pt x="29008" y="13133"/>
                    </a:cubicBezTo>
                    <a:cubicBezTo>
                      <a:pt x="20083" y="16108"/>
                      <a:pt x="14132" y="19084"/>
                      <a:pt x="11157" y="25034"/>
                    </a:cubicBezTo>
                    <a:cubicBezTo>
                      <a:pt x="11157" y="25034"/>
                      <a:pt x="11157" y="28009"/>
                      <a:pt x="11157" y="28009"/>
                    </a:cubicBezTo>
                    <a:cubicBezTo>
                      <a:pt x="14132" y="30984"/>
                      <a:pt x="40909" y="36935"/>
                      <a:pt x="64711" y="36935"/>
                    </a:cubicBezTo>
                    <a:cubicBezTo>
                      <a:pt x="67686" y="36935"/>
                      <a:pt x="70661" y="39910"/>
                      <a:pt x="70661" y="42885"/>
                    </a:cubicBezTo>
                    <a:cubicBezTo>
                      <a:pt x="70661" y="45860"/>
                      <a:pt x="67686" y="48836"/>
                      <a:pt x="64711" y="48836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49D3B8A2-BE07-480A-B8B9-D5A26B3F9B09}"/>
                </a:ext>
              </a:extLst>
            </p:cNvPr>
            <p:cNvSpPr/>
            <p:nvPr/>
          </p:nvSpPr>
          <p:spPr>
            <a:xfrm>
              <a:off x="9511580" y="9097671"/>
              <a:ext cx="649757" cy="793844"/>
            </a:xfrm>
            <a:custGeom>
              <a:avLst/>
              <a:gdLst>
                <a:gd name="connsiteX0" fmla="*/ 239179 w 649757"/>
                <a:gd name="connsiteY0" fmla="*/ 76259 h 793844"/>
                <a:gd name="connsiteX1" fmla="*/ 337361 w 649757"/>
                <a:gd name="connsiteY1" fmla="*/ 531466 h 793844"/>
                <a:gd name="connsiteX2" fmla="*/ 649757 w 649757"/>
                <a:gd name="connsiteY2" fmla="*/ 686177 h 793844"/>
                <a:gd name="connsiteX3" fmla="*/ 605129 w 649757"/>
                <a:gd name="connsiteY3" fmla="*/ 793283 h 793844"/>
                <a:gd name="connsiteX4" fmla="*/ 200501 w 649757"/>
                <a:gd name="connsiteY4" fmla="*/ 683201 h 793844"/>
                <a:gd name="connsiteX5" fmla="*/ 4137 w 649757"/>
                <a:gd name="connsiteY5" fmla="*/ 114937 h 793844"/>
                <a:gd name="connsiteX6" fmla="*/ 239179 w 649757"/>
                <a:gd name="connsiteY6" fmla="*/ 76259 h 79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9757" h="793844">
                  <a:moveTo>
                    <a:pt x="239179" y="76259"/>
                  </a:moveTo>
                  <a:cubicBezTo>
                    <a:pt x="271906" y="156589"/>
                    <a:pt x="301658" y="495763"/>
                    <a:pt x="337361" y="531466"/>
                  </a:cubicBezTo>
                  <a:cubicBezTo>
                    <a:pt x="387939" y="582044"/>
                    <a:pt x="649757" y="677251"/>
                    <a:pt x="649757" y="686177"/>
                  </a:cubicBezTo>
                  <a:cubicBezTo>
                    <a:pt x="646782" y="754606"/>
                    <a:pt x="652733" y="745681"/>
                    <a:pt x="605129" y="793283"/>
                  </a:cubicBezTo>
                  <a:cubicBezTo>
                    <a:pt x="599178" y="799234"/>
                    <a:pt x="289757" y="757581"/>
                    <a:pt x="200501" y="683201"/>
                  </a:cubicBezTo>
                  <a:cubicBezTo>
                    <a:pt x="111245" y="611797"/>
                    <a:pt x="63641" y="245846"/>
                    <a:pt x="4137" y="114937"/>
                  </a:cubicBezTo>
                  <a:cubicBezTo>
                    <a:pt x="-31565" y="37581"/>
                    <a:pt x="173724" y="-78452"/>
                    <a:pt x="239179" y="76259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47EA96B6-75A9-42EE-9DCC-F78159EC1116}"/>
                </a:ext>
              </a:extLst>
            </p:cNvPr>
            <p:cNvSpPr/>
            <p:nvPr/>
          </p:nvSpPr>
          <p:spPr>
            <a:xfrm>
              <a:off x="8367288" y="9876078"/>
              <a:ext cx="1369726" cy="2496199"/>
            </a:xfrm>
            <a:custGeom>
              <a:avLst/>
              <a:gdLst>
                <a:gd name="connsiteX0" fmla="*/ 600992 w 1369726"/>
                <a:gd name="connsiteY0" fmla="*/ 0 h 2496199"/>
                <a:gd name="connsiteX1" fmla="*/ 1252562 w 1369726"/>
                <a:gd name="connsiteY1" fmla="*/ 0 h 2496199"/>
                <a:gd name="connsiteX2" fmla="*/ 1368595 w 1369726"/>
                <a:gd name="connsiteY2" fmla="*/ 449256 h 2496199"/>
                <a:gd name="connsiteX3" fmla="*/ 1187107 w 1369726"/>
                <a:gd name="connsiteY3" fmla="*/ 2496199 h 2496199"/>
                <a:gd name="connsiteX4" fmla="*/ 1026446 w 1369726"/>
                <a:gd name="connsiteY4" fmla="*/ 2496199 h 2496199"/>
                <a:gd name="connsiteX5" fmla="*/ 919339 w 1369726"/>
                <a:gd name="connsiteY5" fmla="*/ 794381 h 2496199"/>
                <a:gd name="connsiteX6" fmla="*/ 833058 w 1369726"/>
                <a:gd name="connsiteY6" fmla="*/ 1689918 h 2496199"/>
                <a:gd name="connsiteX7" fmla="*/ 809256 w 1369726"/>
                <a:gd name="connsiteY7" fmla="*/ 1731571 h 2496199"/>
                <a:gd name="connsiteX8" fmla="*/ 101157 w 1369726"/>
                <a:gd name="connsiteY8" fmla="*/ 2210579 h 2496199"/>
                <a:gd name="connsiteX9" fmla="*/ 0 w 1369726"/>
                <a:gd name="connsiteY9" fmla="*/ 2097521 h 2496199"/>
                <a:gd name="connsiteX10" fmla="*/ 505785 w 1369726"/>
                <a:gd name="connsiteY10" fmla="*/ 1618513 h 2496199"/>
                <a:gd name="connsiteX11" fmla="*/ 470083 w 1369726"/>
                <a:gd name="connsiteY11" fmla="*/ 407604 h 2496199"/>
                <a:gd name="connsiteX12" fmla="*/ 600992 w 1369726"/>
                <a:gd name="connsiteY12" fmla="*/ 0 h 2496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69726" h="2496199">
                  <a:moveTo>
                    <a:pt x="600992" y="0"/>
                  </a:moveTo>
                  <a:lnTo>
                    <a:pt x="1252562" y="0"/>
                  </a:lnTo>
                  <a:cubicBezTo>
                    <a:pt x="1252562" y="0"/>
                    <a:pt x="1347769" y="297521"/>
                    <a:pt x="1368595" y="449256"/>
                  </a:cubicBezTo>
                  <a:cubicBezTo>
                    <a:pt x="1386446" y="598017"/>
                    <a:pt x="1187107" y="2496199"/>
                    <a:pt x="1187107" y="2496199"/>
                  </a:cubicBezTo>
                  <a:lnTo>
                    <a:pt x="1026446" y="2496199"/>
                  </a:lnTo>
                  <a:lnTo>
                    <a:pt x="919339" y="794381"/>
                  </a:lnTo>
                  <a:cubicBezTo>
                    <a:pt x="919339" y="794381"/>
                    <a:pt x="850909" y="1538182"/>
                    <a:pt x="833058" y="1689918"/>
                  </a:cubicBezTo>
                  <a:cubicBezTo>
                    <a:pt x="830082" y="1707769"/>
                    <a:pt x="821157" y="1722645"/>
                    <a:pt x="809256" y="1731571"/>
                  </a:cubicBezTo>
                  <a:lnTo>
                    <a:pt x="101157" y="2210579"/>
                  </a:lnTo>
                  <a:lnTo>
                    <a:pt x="0" y="2097521"/>
                  </a:lnTo>
                  <a:lnTo>
                    <a:pt x="505785" y="1618513"/>
                  </a:lnTo>
                  <a:cubicBezTo>
                    <a:pt x="505785" y="1618513"/>
                    <a:pt x="476033" y="470083"/>
                    <a:pt x="470083" y="407604"/>
                  </a:cubicBezTo>
                  <a:cubicBezTo>
                    <a:pt x="461157" y="288595"/>
                    <a:pt x="600992" y="0"/>
                    <a:pt x="600992" y="0"/>
                  </a:cubicBezTo>
                  <a:close/>
                </a:path>
              </a:pathLst>
            </a:custGeom>
            <a:solidFill>
              <a:srgbClr val="70868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9913ED0E-866B-4DAE-B63C-0A1C14CD951B}"/>
                </a:ext>
              </a:extLst>
            </p:cNvPr>
            <p:cNvSpPr/>
            <p:nvPr/>
          </p:nvSpPr>
          <p:spPr>
            <a:xfrm>
              <a:off x="9206296" y="10253930"/>
              <a:ext cx="127933" cy="1190082"/>
            </a:xfrm>
            <a:custGeom>
              <a:avLst/>
              <a:gdLst>
                <a:gd name="connsiteX0" fmla="*/ 5950 w 127933"/>
                <a:gd name="connsiteY0" fmla="*/ 1190083 h 1190082"/>
                <a:gd name="connsiteX1" fmla="*/ 5950 w 127933"/>
                <a:gd name="connsiteY1" fmla="*/ 1190083 h 1190082"/>
                <a:gd name="connsiteX2" fmla="*/ 0 w 127933"/>
                <a:gd name="connsiteY2" fmla="*/ 1181157 h 1190082"/>
                <a:gd name="connsiteX3" fmla="*/ 74380 w 127933"/>
                <a:gd name="connsiteY3" fmla="*/ 413554 h 1190082"/>
                <a:gd name="connsiteX4" fmla="*/ 116033 w 127933"/>
                <a:gd name="connsiteY4" fmla="*/ 5951 h 1190082"/>
                <a:gd name="connsiteX5" fmla="*/ 121984 w 127933"/>
                <a:gd name="connsiteY5" fmla="*/ 0 h 1190082"/>
                <a:gd name="connsiteX6" fmla="*/ 127934 w 127933"/>
                <a:gd name="connsiteY6" fmla="*/ 5951 h 1190082"/>
                <a:gd name="connsiteX7" fmla="*/ 86281 w 127933"/>
                <a:gd name="connsiteY7" fmla="*/ 413554 h 1190082"/>
                <a:gd name="connsiteX8" fmla="*/ 11901 w 127933"/>
                <a:gd name="connsiteY8" fmla="*/ 1184132 h 1190082"/>
                <a:gd name="connsiteX9" fmla="*/ 5950 w 127933"/>
                <a:gd name="connsiteY9" fmla="*/ 1190083 h 1190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933" h="1190082">
                  <a:moveTo>
                    <a:pt x="5950" y="1190083"/>
                  </a:moveTo>
                  <a:cubicBezTo>
                    <a:pt x="5950" y="1190083"/>
                    <a:pt x="2975" y="1190083"/>
                    <a:pt x="5950" y="1190083"/>
                  </a:cubicBezTo>
                  <a:cubicBezTo>
                    <a:pt x="0" y="1187107"/>
                    <a:pt x="0" y="1184132"/>
                    <a:pt x="0" y="1181157"/>
                  </a:cubicBezTo>
                  <a:cubicBezTo>
                    <a:pt x="5950" y="1163306"/>
                    <a:pt x="53554" y="621818"/>
                    <a:pt x="74380" y="413554"/>
                  </a:cubicBezTo>
                  <a:lnTo>
                    <a:pt x="116033" y="5951"/>
                  </a:lnTo>
                  <a:cubicBezTo>
                    <a:pt x="116033" y="2975"/>
                    <a:pt x="119008" y="0"/>
                    <a:pt x="121984" y="0"/>
                  </a:cubicBezTo>
                  <a:cubicBezTo>
                    <a:pt x="124959" y="0"/>
                    <a:pt x="127934" y="2975"/>
                    <a:pt x="127934" y="5951"/>
                  </a:cubicBezTo>
                  <a:lnTo>
                    <a:pt x="86281" y="413554"/>
                  </a:lnTo>
                  <a:cubicBezTo>
                    <a:pt x="80330" y="490909"/>
                    <a:pt x="17851" y="1166281"/>
                    <a:pt x="11901" y="1184132"/>
                  </a:cubicBezTo>
                  <a:cubicBezTo>
                    <a:pt x="8926" y="1187107"/>
                    <a:pt x="5950" y="1190083"/>
                    <a:pt x="5950" y="1190083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B15C652F-6B18-44A5-A9FD-403511A49DA0}"/>
                </a:ext>
              </a:extLst>
            </p:cNvPr>
            <p:cNvSpPr/>
            <p:nvPr/>
          </p:nvSpPr>
          <p:spPr>
            <a:xfrm>
              <a:off x="8986131" y="8555086"/>
              <a:ext cx="240991" cy="357024"/>
            </a:xfrm>
            <a:custGeom>
              <a:avLst/>
              <a:gdLst>
                <a:gd name="connsiteX0" fmla="*/ 0 w 240991"/>
                <a:gd name="connsiteY0" fmla="*/ 0 h 357024"/>
                <a:gd name="connsiteX1" fmla="*/ 119008 w 240991"/>
                <a:gd name="connsiteY1" fmla="*/ 351074 h 357024"/>
                <a:gd name="connsiteX2" fmla="*/ 196363 w 240991"/>
                <a:gd name="connsiteY2" fmla="*/ 357025 h 357024"/>
                <a:gd name="connsiteX3" fmla="*/ 240991 w 240991"/>
                <a:gd name="connsiteY3" fmla="*/ 243967 h 357024"/>
                <a:gd name="connsiteX4" fmla="*/ 151735 w 240991"/>
                <a:gd name="connsiteY4" fmla="*/ 110083 h 357024"/>
                <a:gd name="connsiteX5" fmla="*/ 0 w 240991"/>
                <a:gd name="connsiteY5" fmla="*/ 0 h 35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0991" h="357024">
                  <a:moveTo>
                    <a:pt x="0" y="0"/>
                  </a:moveTo>
                  <a:cubicBezTo>
                    <a:pt x="0" y="0"/>
                    <a:pt x="0" y="178512"/>
                    <a:pt x="119008" y="351074"/>
                  </a:cubicBezTo>
                  <a:lnTo>
                    <a:pt x="196363" y="357025"/>
                  </a:lnTo>
                  <a:lnTo>
                    <a:pt x="240991" y="243967"/>
                  </a:lnTo>
                  <a:lnTo>
                    <a:pt x="151735" y="1100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151BCBFE-64AB-4859-8CDB-9166F9744BE1}"/>
                </a:ext>
              </a:extLst>
            </p:cNvPr>
            <p:cNvSpPr/>
            <p:nvPr/>
          </p:nvSpPr>
          <p:spPr>
            <a:xfrm>
              <a:off x="9456625" y="8995421"/>
              <a:ext cx="392315" cy="410575"/>
            </a:xfrm>
            <a:custGeom>
              <a:avLst/>
              <a:gdLst>
                <a:gd name="connsiteX0" fmla="*/ 50167 w 392315"/>
                <a:gd name="connsiteY0" fmla="*/ 410575 h 410575"/>
                <a:gd name="connsiteX1" fmla="*/ 56117 w 392315"/>
                <a:gd name="connsiteY1" fmla="*/ 14872 h 410575"/>
                <a:gd name="connsiteX2" fmla="*/ 392316 w 392315"/>
                <a:gd name="connsiteY2" fmla="*/ 285616 h 410575"/>
                <a:gd name="connsiteX3" fmla="*/ 50167 w 392315"/>
                <a:gd name="connsiteY3" fmla="*/ 410575 h 410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2315" h="410575">
                  <a:moveTo>
                    <a:pt x="50167" y="410575"/>
                  </a:moveTo>
                  <a:cubicBezTo>
                    <a:pt x="-30164" y="249914"/>
                    <a:pt x="-3387" y="62476"/>
                    <a:pt x="56117" y="14872"/>
                  </a:cubicBezTo>
                  <a:cubicBezTo>
                    <a:pt x="136448" y="-47607"/>
                    <a:pt x="323886" y="95203"/>
                    <a:pt x="392316" y="285616"/>
                  </a:cubicBezTo>
                  <a:cubicBezTo>
                    <a:pt x="350662" y="345120"/>
                    <a:pt x="148348" y="395699"/>
                    <a:pt x="50167" y="410575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9A6CDBE4-13DD-4D3E-8367-A4A8D4022C92}"/>
                </a:ext>
              </a:extLst>
            </p:cNvPr>
            <p:cNvSpPr/>
            <p:nvPr/>
          </p:nvSpPr>
          <p:spPr>
            <a:xfrm>
              <a:off x="8913198" y="8943457"/>
              <a:ext cx="800777" cy="962461"/>
            </a:xfrm>
            <a:custGeom>
              <a:avLst/>
              <a:gdLst>
                <a:gd name="connsiteX0" fmla="*/ 43181 w 800777"/>
                <a:gd name="connsiteY0" fmla="*/ 382208 h 962461"/>
                <a:gd name="connsiteX1" fmla="*/ 58057 w 800777"/>
                <a:gd name="connsiteY1" fmla="*/ 66836 h 962461"/>
                <a:gd name="connsiteX2" fmla="*/ 418057 w 800777"/>
                <a:gd name="connsiteY2" fmla="*/ 4357 h 962461"/>
                <a:gd name="connsiteX3" fmla="*/ 712602 w 800777"/>
                <a:gd name="connsiteY3" fmla="*/ 102538 h 962461"/>
                <a:gd name="connsiteX4" fmla="*/ 751280 w 800777"/>
                <a:gd name="connsiteY4" fmla="*/ 638076 h 962461"/>
                <a:gd name="connsiteX5" fmla="*/ 709627 w 800777"/>
                <a:gd name="connsiteY5" fmla="*/ 956423 h 962461"/>
                <a:gd name="connsiteX6" fmla="*/ 49131 w 800777"/>
                <a:gd name="connsiteY6" fmla="*/ 941547 h 962461"/>
                <a:gd name="connsiteX7" fmla="*/ 43181 w 800777"/>
                <a:gd name="connsiteY7" fmla="*/ 382208 h 962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0777" h="962461">
                  <a:moveTo>
                    <a:pt x="43181" y="382208"/>
                  </a:moveTo>
                  <a:cubicBezTo>
                    <a:pt x="34255" y="352456"/>
                    <a:pt x="-57976" y="129315"/>
                    <a:pt x="58057" y="66836"/>
                  </a:cubicBezTo>
                  <a:cubicBezTo>
                    <a:pt x="159214" y="13282"/>
                    <a:pt x="302024" y="-10519"/>
                    <a:pt x="418057" y="4357"/>
                  </a:cubicBezTo>
                  <a:cubicBezTo>
                    <a:pt x="545991" y="19233"/>
                    <a:pt x="673925" y="40059"/>
                    <a:pt x="712602" y="102538"/>
                  </a:cubicBezTo>
                  <a:cubicBezTo>
                    <a:pt x="822685" y="284026"/>
                    <a:pt x="822685" y="444687"/>
                    <a:pt x="751280" y="638076"/>
                  </a:cubicBezTo>
                  <a:cubicBezTo>
                    <a:pt x="730453" y="694604"/>
                    <a:pt x="724503" y="825514"/>
                    <a:pt x="709627" y="956423"/>
                  </a:cubicBezTo>
                  <a:cubicBezTo>
                    <a:pt x="709627" y="956423"/>
                    <a:pt x="432933" y="977249"/>
                    <a:pt x="49131" y="941547"/>
                  </a:cubicBezTo>
                  <a:cubicBezTo>
                    <a:pt x="78883" y="727332"/>
                    <a:pt x="52106" y="403034"/>
                    <a:pt x="43181" y="382208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97B58C85-AD39-4491-84BC-07E4A7695CDC}"/>
                </a:ext>
              </a:extLst>
            </p:cNvPr>
            <p:cNvSpPr/>
            <p:nvPr/>
          </p:nvSpPr>
          <p:spPr>
            <a:xfrm>
              <a:off x="9244597" y="8265642"/>
              <a:ext cx="276962" cy="486256"/>
            </a:xfrm>
            <a:custGeom>
              <a:avLst/>
              <a:gdLst>
                <a:gd name="connsiteX0" fmla="*/ 128311 w 276962"/>
                <a:gd name="connsiteY0" fmla="*/ 473908 h 486256"/>
                <a:gd name="connsiteX1" fmla="*/ 274096 w 276962"/>
                <a:gd name="connsiteY1" fmla="*/ 223990 h 486256"/>
                <a:gd name="connsiteX2" fmla="*/ 377 w 276962"/>
                <a:gd name="connsiteY2" fmla="*/ 9776 h 486256"/>
                <a:gd name="connsiteX3" fmla="*/ 36080 w 276962"/>
                <a:gd name="connsiteY3" fmla="*/ 173412 h 486256"/>
                <a:gd name="connsiteX4" fmla="*/ 128311 w 276962"/>
                <a:gd name="connsiteY4" fmla="*/ 473908 h 486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962" h="486256">
                  <a:moveTo>
                    <a:pt x="128311" y="473908"/>
                  </a:moveTo>
                  <a:cubicBezTo>
                    <a:pt x="280047" y="444156"/>
                    <a:pt x="283022" y="286470"/>
                    <a:pt x="274096" y="223990"/>
                  </a:cubicBezTo>
                  <a:cubicBezTo>
                    <a:pt x="253270" y="63329"/>
                    <a:pt x="113435" y="-31877"/>
                    <a:pt x="377" y="9776"/>
                  </a:cubicBezTo>
                  <a:cubicBezTo>
                    <a:pt x="-2598" y="9776"/>
                    <a:pt x="12278" y="125808"/>
                    <a:pt x="36080" y="173412"/>
                  </a:cubicBezTo>
                  <a:cubicBezTo>
                    <a:pt x="59881" y="218040"/>
                    <a:pt x="30129" y="554239"/>
                    <a:pt x="128311" y="473908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64683BB5-27C8-4BC9-A95F-08E524400C28}"/>
                </a:ext>
              </a:extLst>
            </p:cNvPr>
            <p:cNvSpPr/>
            <p:nvPr/>
          </p:nvSpPr>
          <p:spPr>
            <a:xfrm>
              <a:off x="9081337" y="8322152"/>
              <a:ext cx="412399" cy="554568"/>
            </a:xfrm>
            <a:custGeom>
              <a:avLst/>
              <a:gdLst>
                <a:gd name="connsiteX0" fmla="*/ 404628 w 412399"/>
                <a:gd name="connsiteY0" fmla="*/ 179381 h 554568"/>
                <a:gd name="connsiteX1" fmla="*/ 392727 w 412399"/>
                <a:gd name="connsiteY1" fmla="*/ 429298 h 554568"/>
                <a:gd name="connsiteX2" fmla="*/ 246942 w 412399"/>
                <a:gd name="connsiteY2" fmla="*/ 554256 h 554568"/>
                <a:gd name="connsiteX3" fmla="*/ 35702 w 412399"/>
                <a:gd name="connsiteY3" fmla="*/ 414422 h 554568"/>
                <a:gd name="connsiteX4" fmla="*/ 0 w 412399"/>
                <a:gd name="connsiteY4" fmla="*/ 194257 h 554568"/>
                <a:gd name="connsiteX5" fmla="*/ 208264 w 412399"/>
                <a:gd name="connsiteY5" fmla="*/ 868 h 554568"/>
                <a:gd name="connsiteX6" fmla="*/ 404628 w 412399"/>
                <a:gd name="connsiteY6" fmla="*/ 179381 h 55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399" h="554568">
                  <a:moveTo>
                    <a:pt x="404628" y="179381"/>
                  </a:moveTo>
                  <a:cubicBezTo>
                    <a:pt x="404628" y="179381"/>
                    <a:pt x="428430" y="363843"/>
                    <a:pt x="392727" y="429298"/>
                  </a:cubicBezTo>
                  <a:cubicBezTo>
                    <a:pt x="357025" y="494752"/>
                    <a:pt x="297521" y="551282"/>
                    <a:pt x="246942" y="554256"/>
                  </a:cubicBezTo>
                  <a:cubicBezTo>
                    <a:pt x="181487" y="560207"/>
                    <a:pt x="71405" y="479876"/>
                    <a:pt x="35702" y="414422"/>
                  </a:cubicBezTo>
                  <a:cubicBezTo>
                    <a:pt x="0" y="348967"/>
                    <a:pt x="0" y="244835"/>
                    <a:pt x="0" y="194257"/>
                  </a:cubicBezTo>
                  <a:cubicBezTo>
                    <a:pt x="2975" y="102025"/>
                    <a:pt x="29752" y="24670"/>
                    <a:pt x="208264" y="868"/>
                  </a:cubicBezTo>
                  <a:cubicBezTo>
                    <a:pt x="291570" y="-11033"/>
                    <a:pt x="383801" y="102025"/>
                    <a:pt x="404628" y="179381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D335B3DF-60D5-4278-B37A-1C89AB9F416E}"/>
                </a:ext>
              </a:extLst>
            </p:cNvPr>
            <p:cNvSpPr/>
            <p:nvPr/>
          </p:nvSpPr>
          <p:spPr>
            <a:xfrm>
              <a:off x="9301503" y="8584838"/>
              <a:ext cx="53553" cy="127933"/>
            </a:xfrm>
            <a:custGeom>
              <a:avLst/>
              <a:gdLst>
                <a:gd name="connsiteX0" fmla="*/ 29752 w 53553"/>
                <a:gd name="connsiteY0" fmla="*/ 127934 h 127933"/>
                <a:gd name="connsiteX1" fmla="*/ 5950 w 53553"/>
                <a:gd name="connsiteY1" fmla="*/ 124959 h 127933"/>
                <a:gd name="connsiteX2" fmla="*/ 0 w 53553"/>
                <a:gd name="connsiteY2" fmla="*/ 119008 h 127933"/>
                <a:gd name="connsiteX3" fmla="*/ 5950 w 53553"/>
                <a:gd name="connsiteY3" fmla="*/ 113058 h 127933"/>
                <a:gd name="connsiteX4" fmla="*/ 44628 w 53553"/>
                <a:gd name="connsiteY4" fmla="*/ 113058 h 127933"/>
                <a:gd name="connsiteX5" fmla="*/ 44628 w 53553"/>
                <a:gd name="connsiteY5" fmla="*/ 110083 h 127933"/>
                <a:gd name="connsiteX6" fmla="*/ 17851 w 53553"/>
                <a:gd name="connsiteY6" fmla="*/ 5951 h 127933"/>
                <a:gd name="connsiteX7" fmla="*/ 20826 w 53553"/>
                <a:gd name="connsiteY7" fmla="*/ 0 h 127933"/>
                <a:gd name="connsiteX8" fmla="*/ 26777 w 53553"/>
                <a:gd name="connsiteY8" fmla="*/ 2975 h 127933"/>
                <a:gd name="connsiteX9" fmla="*/ 53554 w 53553"/>
                <a:gd name="connsiteY9" fmla="*/ 110083 h 127933"/>
                <a:gd name="connsiteX10" fmla="*/ 47603 w 53553"/>
                <a:gd name="connsiteY10" fmla="*/ 121984 h 127933"/>
                <a:gd name="connsiteX11" fmla="*/ 29752 w 53553"/>
                <a:gd name="connsiteY11" fmla="*/ 127934 h 127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553" h="127933">
                  <a:moveTo>
                    <a:pt x="29752" y="127934"/>
                  </a:moveTo>
                  <a:cubicBezTo>
                    <a:pt x="17851" y="127934"/>
                    <a:pt x="8926" y="124959"/>
                    <a:pt x="5950" y="124959"/>
                  </a:cubicBezTo>
                  <a:cubicBezTo>
                    <a:pt x="2975" y="124959"/>
                    <a:pt x="0" y="121984"/>
                    <a:pt x="0" y="119008"/>
                  </a:cubicBezTo>
                  <a:cubicBezTo>
                    <a:pt x="0" y="116033"/>
                    <a:pt x="2975" y="113058"/>
                    <a:pt x="5950" y="113058"/>
                  </a:cubicBezTo>
                  <a:cubicBezTo>
                    <a:pt x="17851" y="116033"/>
                    <a:pt x="38678" y="116033"/>
                    <a:pt x="44628" y="113058"/>
                  </a:cubicBezTo>
                  <a:cubicBezTo>
                    <a:pt x="44628" y="113058"/>
                    <a:pt x="44628" y="110083"/>
                    <a:pt x="44628" y="110083"/>
                  </a:cubicBezTo>
                  <a:cubicBezTo>
                    <a:pt x="44628" y="95207"/>
                    <a:pt x="23802" y="29752"/>
                    <a:pt x="17851" y="5951"/>
                  </a:cubicBezTo>
                  <a:cubicBezTo>
                    <a:pt x="17851" y="2975"/>
                    <a:pt x="17851" y="0"/>
                    <a:pt x="20826" y="0"/>
                  </a:cubicBezTo>
                  <a:cubicBezTo>
                    <a:pt x="23802" y="0"/>
                    <a:pt x="26777" y="0"/>
                    <a:pt x="26777" y="2975"/>
                  </a:cubicBezTo>
                  <a:cubicBezTo>
                    <a:pt x="26777" y="5951"/>
                    <a:pt x="53554" y="89256"/>
                    <a:pt x="53554" y="110083"/>
                  </a:cubicBezTo>
                  <a:cubicBezTo>
                    <a:pt x="53554" y="116033"/>
                    <a:pt x="50578" y="119008"/>
                    <a:pt x="47603" y="121984"/>
                  </a:cubicBezTo>
                  <a:cubicBezTo>
                    <a:pt x="47603" y="127934"/>
                    <a:pt x="38678" y="127934"/>
                    <a:pt x="29752" y="127934"/>
                  </a:cubicBezTo>
                  <a:close/>
                </a:path>
              </a:pathLst>
            </a:custGeom>
            <a:solidFill>
              <a:srgbClr val="E58777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513278AA-139E-42DA-8684-97BF2080D374}"/>
                </a:ext>
              </a:extLst>
            </p:cNvPr>
            <p:cNvSpPr/>
            <p:nvPr/>
          </p:nvSpPr>
          <p:spPr>
            <a:xfrm>
              <a:off x="9274726" y="8760376"/>
              <a:ext cx="104132" cy="53553"/>
            </a:xfrm>
            <a:custGeom>
              <a:avLst/>
              <a:gdLst>
                <a:gd name="connsiteX0" fmla="*/ 0 w 104132"/>
                <a:gd name="connsiteY0" fmla="*/ 0 h 53553"/>
                <a:gd name="connsiteX1" fmla="*/ 104132 w 104132"/>
                <a:gd name="connsiteY1" fmla="*/ 0 h 53553"/>
                <a:gd name="connsiteX2" fmla="*/ 53554 w 104132"/>
                <a:gd name="connsiteY2" fmla="*/ 53554 h 53553"/>
                <a:gd name="connsiteX3" fmla="*/ 0 w 104132"/>
                <a:gd name="connsiteY3" fmla="*/ 0 h 5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132" h="53553">
                  <a:moveTo>
                    <a:pt x="0" y="0"/>
                  </a:moveTo>
                  <a:cubicBezTo>
                    <a:pt x="53554" y="23802"/>
                    <a:pt x="104132" y="0"/>
                    <a:pt x="104132" y="0"/>
                  </a:cubicBezTo>
                  <a:cubicBezTo>
                    <a:pt x="104132" y="0"/>
                    <a:pt x="89256" y="53554"/>
                    <a:pt x="53554" y="53554"/>
                  </a:cubicBezTo>
                  <a:cubicBezTo>
                    <a:pt x="11901" y="5355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63415CBD-FF31-464C-B622-B2500A957A28}"/>
                </a:ext>
              </a:extLst>
            </p:cNvPr>
            <p:cNvSpPr/>
            <p:nvPr/>
          </p:nvSpPr>
          <p:spPr>
            <a:xfrm>
              <a:off x="9390001" y="8557478"/>
              <a:ext cx="40194" cy="40019"/>
            </a:xfrm>
            <a:custGeom>
              <a:avLst/>
              <a:gdLst>
                <a:gd name="connsiteX0" fmla="*/ 758 w 40194"/>
                <a:gd name="connsiteY0" fmla="*/ 24385 h 40019"/>
                <a:gd name="connsiteX1" fmla="*/ 24560 w 40194"/>
                <a:gd name="connsiteY1" fmla="*/ 39261 h 40019"/>
                <a:gd name="connsiteX2" fmla="*/ 39436 w 40194"/>
                <a:gd name="connsiteY2" fmla="*/ 15460 h 40019"/>
                <a:gd name="connsiteX3" fmla="*/ 15634 w 40194"/>
                <a:gd name="connsiteY3" fmla="*/ 584 h 40019"/>
                <a:gd name="connsiteX4" fmla="*/ 758 w 40194"/>
                <a:gd name="connsiteY4" fmla="*/ 24385 h 4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94" h="40019">
                  <a:moveTo>
                    <a:pt x="758" y="24385"/>
                  </a:moveTo>
                  <a:cubicBezTo>
                    <a:pt x="3733" y="36286"/>
                    <a:pt x="12659" y="42236"/>
                    <a:pt x="24560" y="39261"/>
                  </a:cubicBezTo>
                  <a:cubicBezTo>
                    <a:pt x="36460" y="36286"/>
                    <a:pt x="42411" y="27360"/>
                    <a:pt x="39436" y="15460"/>
                  </a:cubicBezTo>
                  <a:cubicBezTo>
                    <a:pt x="36460" y="6534"/>
                    <a:pt x="27535" y="-2392"/>
                    <a:pt x="15634" y="584"/>
                  </a:cubicBezTo>
                  <a:cubicBezTo>
                    <a:pt x="3733" y="3559"/>
                    <a:pt x="-2217" y="12484"/>
                    <a:pt x="758" y="24385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30B9F07C-F438-4946-A20C-BC04DBE8F1C2}"/>
                </a:ext>
              </a:extLst>
            </p:cNvPr>
            <p:cNvSpPr/>
            <p:nvPr/>
          </p:nvSpPr>
          <p:spPr>
            <a:xfrm>
              <a:off x="9205538" y="8563254"/>
              <a:ext cx="40194" cy="40019"/>
            </a:xfrm>
            <a:custGeom>
              <a:avLst/>
              <a:gdLst>
                <a:gd name="connsiteX0" fmla="*/ 758 w 40194"/>
                <a:gd name="connsiteY0" fmla="*/ 24560 h 40019"/>
                <a:gd name="connsiteX1" fmla="*/ 24560 w 40194"/>
                <a:gd name="connsiteY1" fmla="*/ 39436 h 40019"/>
                <a:gd name="connsiteX2" fmla="*/ 39436 w 40194"/>
                <a:gd name="connsiteY2" fmla="*/ 15634 h 40019"/>
                <a:gd name="connsiteX3" fmla="*/ 15634 w 40194"/>
                <a:gd name="connsiteY3" fmla="*/ 758 h 40019"/>
                <a:gd name="connsiteX4" fmla="*/ 758 w 40194"/>
                <a:gd name="connsiteY4" fmla="*/ 24560 h 4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94" h="40019">
                  <a:moveTo>
                    <a:pt x="758" y="24560"/>
                  </a:moveTo>
                  <a:cubicBezTo>
                    <a:pt x="3734" y="33486"/>
                    <a:pt x="12659" y="42411"/>
                    <a:pt x="24560" y="39436"/>
                  </a:cubicBezTo>
                  <a:cubicBezTo>
                    <a:pt x="36461" y="36460"/>
                    <a:pt x="42411" y="27535"/>
                    <a:pt x="39436" y="15634"/>
                  </a:cubicBezTo>
                  <a:cubicBezTo>
                    <a:pt x="36461" y="3733"/>
                    <a:pt x="27535" y="-2217"/>
                    <a:pt x="15634" y="758"/>
                  </a:cubicBezTo>
                  <a:cubicBezTo>
                    <a:pt x="3734" y="3733"/>
                    <a:pt x="-2217" y="12659"/>
                    <a:pt x="758" y="24560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653C399C-74AD-4CD8-BE2F-08E822857992}"/>
                </a:ext>
              </a:extLst>
            </p:cNvPr>
            <p:cNvSpPr/>
            <p:nvPr/>
          </p:nvSpPr>
          <p:spPr>
            <a:xfrm>
              <a:off x="9365725" y="8513434"/>
              <a:ext cx="89744" cy="29752"/>
            </a:xfrm>
            <a:custGeom>
              <a:avLst/>
              <a:gdLst>
                <a:gd name="connsiteX0" fmla="*/ 81563 w 89744"/>
                <a:gd name="connsiteY0" fmla="*/ 29752 h 29752"/>
                <a:gd name="connsiteX1" fmla="*/ 75612 w 89744"/>
                <a:gd name="connsiteY1" fmla="*/ 26777 h 29752"/>
                <a:gd name="connsiteX2" fmla="*/ 10158 w 89744"/>
                <a:gd name="connsiteY2" fmla="*/ 20826 h 29752"/>
                <a:gd name="connsiteX3" fmla="*/ 1232 w 89744"/>
                <a:gd name="connsiteY3" fmla="*/ 17851 h 29752"/>
                <a:gd name="connsiteX4" fmla="*/ 4208 w 89744"/>
                <a:gd name="connsiteY4" fmla="*/ 8926 h 29752"/>
                <a:gd name="connsiteX5" fmla="*/ 87514 w 89744"/>
                <a:gd name="connsiteY5" fmla="*/ 17851 h 29752"/>
                <a:gd name="connsiteX6" fmla="*/ 87514 w 89744"/>
                <a:gd name="connsiteY6" fmla="*/ 29752 h 29752"/>
                <a:gd name="connsiteX7" fmla="*/ 81563 w 89744"/>
                <a:gd name="connsiteY7" fmla="*/ 29752 h 29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29752">
                  <a:moveTo>
                    <a:pt x="81563" y="29752"/>
                  </a:moveTo>
                  <a:cubicBezTo>
                    <a:pt x="78588" y="29752"/>
                    <a:pt x="78588" y="29752"/>
                    <a:pt x="75612" y="26777"/>
                  </a:cubicBezTo>
                  <a:cubicBezTo>
                    <a:pt x="51811" y="0"/>
                    <a:pt x="13133" y="17851"/>
                    <a:pt x="10158" y="20826"/>
                  </a:cubicBezTo>
                  <a:cubicBezTo>
                    <a:pt x="7183" y="23802"/>
                    <a:pt x="1232" y="20826"/>
                    <a:pt x="1232" y="17851"/>
                  </a:cubicBezTo>
                  <a:cubicBezTo>
                    <a:pt x="-1743" y="14876"/>
                    <a:pt x="1232" y="8926"/>
                    <a:pt x="4208" y="8926"/>
                  </a:cubicBezTo>
                  <a:cubicBezTo>
                    <a:pt x="22059" y="0"/>
                    <a:pt x="60736" y="-8926"/>
                    <a:pt x="87514" y="17851"/>
                  </a:cubicBezTo>
                  <a:cubicBezTo>
                    <a:pt x="90488" y="20826"/>
                    <a:pt x="90488" y="26777"/>
                    <a:pt x="87514" y="29752"/>
                  </a:cubicBezTo>
                  <a:cubicBezTo>
                    <a:pt x="84538" y="26777"/>
                    <a:pt x="81563" y="29752"/>
                    <a:pt x="81563" y="29752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5A479EBA-1ED8-4100-9389-0E96EF3B603F}"/>
                </a:ext>
              </a:extLst>
            </p:cNvPr>
            <p:cNvSpPr/>
            <p:nvPr/>
          </p:nvSpPr>
          <p:spPr>
            <a:xfrm>
              <a:off x="9177288" y="8508475"/>
              <a:ext cx="89744" cy="34710"/>
            </a:xfrm>
            <a:custGeom>
              <a:avLst/>
              <a:gdLst>
                <a:gd name="connsiteX0" fmla="*/ 8182 w 89744"/>
                <a:gd name="connsiteY0" fmla="*/ 34711 h 34710"/>
                <a:gd name="connsiteX1" fmla="*/ 2232 w 89744"/>
                <a:gd name="connsiteY1" fmla="*/ 31735 h 34710"/>
                <a:gd name="connsiteX2" fmla="*/ 2232 w 89744"/>
                <a:gd name="connsiteY2" fmla="*/ 19835 h 34710"/>
                <a:gd name="connsiteX3" fmla="*/ 85537 w 89744"/>
                <a:gd name="connsiteY3" fmla="*/ 10909 h 34710"/>
                <a:gd name="connsiteX4" fmla="*/ 88512 w 89744"/>
                <a:gd name="connsiteY4" fmla="*/ 22810 h 34710"/>
                <a:gd name="connsiteX5" fmla="*/ 76612 w 89744"/>
                <a:gd name="connsiteY5" fmla="*/ 25785 h 34710"/>
                <a:gd name="connsiteX6" fmla="*/ 11157 w 89744"/>
                <a:gd name="connsiteY6" fmla="*/ 31735 h 34710"/>
                <a:gd name="connsiteX7" fmla="*/ 8182 w 89744"/>
                <a:gd name="connsiteY7" fmla="*/ 34711 h 3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4710">
                  <a:moveTo>
                    <a:pt x="8182" y="34711"/>
                  </a:moveTo>
                  <a:cubicBezTo>
                    <a:pt x="5206" y="34711"/>
                    <a:pt x="5206" y="34711"/>
                    <a:pt x="2232" y="31735"/>
                  </a:cubicBezTo>
                  <a:cubicBezTo>
                    <a:pt x="-744" y="28760"/>
                    <a:pt x="-744" y="22810"/>
                    <a:pt x="2232" y="19835"/>
                  </a:cubicBezTo>
                  <a:cubicBezTo>
                    <a:pt x="14132" y="7934"/>
                    <a:pt x="49835" y="-12893"/>
                    <a:pt x="85537" y="10909"/>
                  </a:cubicBezTo>
                  <a:cubicBezTo>
                    <a:pt x="88512" y="13884"/>
                    <a:pt x="91488" y="16859"/>
                    <a:pt x="88512" y="22810"/>
                  </a:cubicBezTo>
                  <a:cubicBezTo>
                    <a:pt x="85537" y="25785"/>
                    <a:pt x="82562" y="28760"/>
                    <a:pt x="76612" y="25785"/>
                  </a:cubicBezTo>
                  <a:cubicBezTo>
                    <a:pt x="40909" y="1983"/>
                    <a:pt x="14132" y="31735"/>
                    <a:pt x="11157" y="31735"/>
                  </a:cubicBezTo>
                  <a:cubicBezTo>
                    <a:pt x="14132" y="34711"/>
                    <a:pt x="11157" y="34711"/>
                    <a:pt x="8182" y="34711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740C0E46-2A02-4D45-B094-5FF9EEE358E2}"/>
                </a:ext>
              </a:extLst>
            </p:cNvPr>
            <p:cNvSpPr/>
            <p:nvPr/>
          </p:nvSpPr>
          <p:spPr>
            <a:xfrm>
              <a:off x="9241917" y="8272672"/>
              <a:ext cx="268187" cy="240761"/>
            </a:xfrm>
            <a:custGeom>
              <a:avLst/>
              <a:gdLst>
                <a:gd name="connsiteX0" fmla="*/ 3057 w 268187"/>
                <a:gd name="connsiteY0" fmla="*/ 2745 h 240761"/>
                <a:gd name="connsiteX1" fmla="*/ 35784 w 268187"/>
                <a:gd name="connsiteY1" fmla="*/ 145555 h 240761"/>
                <a:gd name="connsiteX2" fmla="*/ 267850 w 268187"/>
                <a:gd name="connsiteY2" fmla="*/ 240761 h 240761"/>
                <a:gd name="connsiteX3" fmla="*/ 3057 w 268187"/>
                <a:gd name="connsiteY3" fmla="*/ 2745 h 240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187" h="240761">
                  <a:moveTo>
                    <a:pt x="3057" y="2745"/>
                  </a:moveTo>
                  <a:cubicBezTo>
                    <a:pt x="3057" y="2745"/>
                    <a:pt x="-14795" y="106877"/>
                    <a:pt x="35784" y="145555"/>
                  </a:cubicBezTo>
                  <a:cubicBezTo>
                    <a:pt x="35784" y="145555"/>
                    <a:pt x="241073" y="160431"/>
                    <a:pt x="267850" y="240761"/>
                  </a:cubicBezTo>
                  <a:cubicBezTo>
                    <a:pt x="267850" y="240761"/>
                    <a:pt x="288676" y="-29983"/>
                    <a:pt x="3057" y="2745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D256A5AF-3DC5-4A22-95F5-3588B79CEF16}"/>
                </a:ext>
              </a:extLst>
            </p:cNvPr>
            <p:cNvSpPr/>
            <p:nvPr/>
          </p:nvSpPr>
          <p:spPr>
            <a:xfrm>
              <a:off x="8987748" y="8275417"/>
              <a:ext cx="289952" cy="342597"/>
            </a:xfrm>
            <a:custGeom>
              <a:avLst/>
              <a:gdLst>
                <a:gd name="connsiteX0" fmla="*/ 289953 w 289952"/>
                <a:gd name="connsiteY0" fmla="*/ 142810 h 342597"/>
                <a:gd name="connsiteX1" fmla="*/ 153093 w 289952"/>
                <a:gd name="connsiteY1" fmla="*/ 196364 h 342597"/>
                <a:gd name="connsiteX2" fmla="*/ 96564 w 289952"/>
                <a:gd name="connsiteY2" fmla="*/ 312397 h 342597"/>
                <a:gd name="connsiteX3" fmla="*/ 10283 w 289952"/>
                <a:gd name="connsiteY3" fmla="*/ 333223 h 342597"/>
                <a:gd name="connsiteX4" fmla="*/ 260201 w 289952"/>
                <a:gd name="connsiteY4" fmla="*/ 0 h 342597"/>
                <a:gd name="connsiteX5" fmla="*/ 289953 w 289952"/>
                <a:gd name="connsiteY5" fmla="*/ 142810 h 34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952" h="342597">
                  <a:moveTo>
                    <a:pt x="289953" y="142810"/>
                  </a:moveTo>
                  <a:cubicBezTo>
                    <a:pt x="289953" y="142810"/>
                    <a:pt x="200696" y="190413"/>
                    <a:pt x="153093" y="196364"/>
                  </a:cubicBezTo>
                  <a:cubicBezTo>
                    <a:pt x="102515" y="202314"/>
                    <a:pt x="96564" y="312397"/>
                    <a:pt x="96564" y="312397"/>
                  </a:cubicBezTo>
                  <a:cubicBezTo>
                    <a:pt x="96564" y="312397"/>
                    <a:pt x="25159" y="362975"/>
                    <a:pt x="10283" y="333223"/>
                  </a:cubicBezTo>
                  <a:cubicBezTo>
                    <a:pt x="-22444" y="267769"/>
                    <a:pt x="13259" y="0"/>
                    <a:pt x="260201" y="0"/>
                  </a:cubicBezTo>
                  <a:cubicBezTo>
                    <a:pt x="257226" y="0"/>
                    <a:pt x="266151" y="136860"/>
                    <a:pt x="289953" y="142810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EC1CFF5F-C782-4C72-9154-04082E7C586D}"/>
                </a:ext>
              </a:extLst>
            </p:cNvPr>
            <p:cNvSpPr/>
            <p:nvPr/>
          </p:nvSpPr>
          <p:spPr>
            <a:xfrm>
              <a:off x="9134891" y="8769207"/>
              <a:ext cx="303470" cy="318441"/>
            </a:xfrm>
            <a:custGeom>
              <a:avLst/>
              <a:gdLst>
                <a:gd name="connsiteX0" fmla="*/ 249917 w 303470"/>
                <a:gd name="connsiteY0" fmla="*/ 59598 h 318441"/>
                <a:gd name="connsiteX1" fmla="*/ 303471 w 303470"/>
                <a:gd name="connsiteY1" fmla="*/ 196458 h 318441"/>
                <a:gd name="connsiteX2" fmla="*/ 190413 w 303470"/>
                <a:gd name="connsiteY2" fmla="*/ 318441 h 318441"/>
                <a:gd name="connsiteX3" fmla="*/ 0 w 303470"/>
                <a:gd name="connsiteY3" fmla="*/ 181582 h 318441"/>
                <a:gd name="connsiteX4" fmla="*/ 50578 w 303470"/>
                <a:gd name="connsiteY4" fmla="*/ 94 h 318441"/>
                <a:gd name="connsiteX5" fmla="*/ 249917 w 303470"/>
                <a:gd name="connsiteY5" fmla="*/ 59598 h 31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3470" h="318441">
                  <a:moveTo>
                    <a:pt x="249917" y="59598"/>
                  </a:moveTo>
                  <a:cubicBezTo>
                    <a:pt x="249917" y="59598"/>
                    <a:pt x="243967" y="166706"/>
                    <a:pt x="303471" y="196458"/>
                  </a:cubicBezTo>
                  <a:lnTo>
                    <a:pt x="190413" y="318441"/>
                  </a:lnTo>
                  <a:cubicBezTo>
                    <a:pt x="190413" y="318441"/>
                    <a:pt x="53553" y="211334"/>
                    <a:pt x="0" y="181582"/>
                  </a:cubicBezTo>
                  <a:cubicBezTo>
                    <a:pt x="53553" y="139929"/>
                    <a:pt x="50578" y="59598"/>
                    <a:pt x="50578" y="94"/>
                  </a:cubicBezTo>
                  <a:cubicBezTo>
                    <a:pt x="53553" y="-2881"/>
                    <a:pt x="199339" y="65549"/>
                    <a:pt x="249917" y="59598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48CEDC52-A9BF-47AD-98CB-AEFA125DDDAD}"/>
                </a:ext>
              </a:extLst>
            </p:cNvPr>
            <p:cNvSpPr/>
            <p:nvPr/>
          </p:nvSpPr>
          <p:spPr>
            <a:xfrm>
              <a:off x="9179519" y="8805004"/>
              <a:ext cx="216445" cy="77355"/>
            </a:xfrm>
            <a:custGeom>
              <a:avLst/>
              <a:gdLst>
                <a:gd name="connsiteX0" fmla="*/ 145785 w 216445"/>
                <a:gd name="connsiteY0" fmla="*/ 77355 h 77355"/>
                <a:gd name="connsiteX1" fmla="*/ 136859 w 216445"/>
                <a:gd name="connsiteY1" fmla="*/ 77355 h 77355"/>
                <a:gd name="connsiteX2" fmla="*/ 2975 w 216445"/>
                <a:gd name="connsiteY2" fmla="*/ 11901 h 77355"/>
                <a:gd name="connsiteX3" fmla="*/ 0 w 216445"/>
                <a:gd name="connsiteY3" fmla="*/ 2975 h 77355"/>
                <a:gd name="connsiteX4" fmla="*/ 8925 w 216445"/>
                <a:gd name="connsiteY4" fmla="*/ 0 h 77355"/>
                <a:gd name="connsiteX5" fmla="*/ 136859 w 216445"/>
                <a:gd name="connsiteY5" fmla="*/ 65454 h 77355"/>
                <a:gd name="connsiteX6" fmla="*/ 205289 w 216445"/>
                <a:gd name="connsiteY6" fmla="*/ 41653 h 77355"/>
                <a:gd name="connsiteX7" fmla="*/ 214215 w 216445"/>
                <a:gd name="connsiteY7" fmla="*/ 41653 h 77355"/>
                <a:gd name="connsiteX8" fmla="*/ 214215 w 216445"/>
                <a:gd name="connsiteY8" fmla="*/ 50578 h 77355"/>
                <a:gd name="connsiteX9" fmla="*/ 145785 w 216445"/>
                <a:gd name="connsiteY9" fmla="*/ 77355 h 77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445" h="77355">
                  <a:moveTo>
                    <a:pt x="145785" y="77355"/>
                  </a:moveTo>
                  <a:cubicBezTo>
                    <a:pt x="142810" y="77355"/>
                    <a:pt x="139835" y="77355"/>
                    <a:pt x="136859" y="77355"/>
                  </a:cubicBezTo>
                  <a:cubicBezTo>
                    <a:pt x="95207" y="71405"/>
                    <a:pt x="5950" y="11901"/>
                    <a:pt x="2975" y="11901"/>
                  </a:cubicBezTo>
                  <a:cubicBezTo>
                    <a:pt x="0" y="8926"/>
                    <a:pt x="0" y="5950"/>
                    <a:pt x="0" y="2975"/>
                  </a:cubicBezTo>
                  <a:cubicBezTo>
                    <a:pt x="2975" y="0"/>
                    <a:pt x="5950" y="0"/>
                    <a:pt x="8925" y="0"/>
                  </a:cubicBezTo>
                  <a:cubicBezTo>
                    <a:pt x="8925" y="0"/>
                    <a:pt x="101157" y="59504"/>
                    <a:pt x="136859" y="65454"/>
                  </a:cubicBezTo>
                  <a:cubicBezTo>
                    <a:pt x="172562" y="71405"/>
                    <a:pt x="205289" y="41653"/>
                    <a:pt x="205289" y="41653"/>
                  </a:cubicBezTo>
                  <a:cubicBezTo>
                    <a:pt x="208264" y="38678"/>
                    <a:pt x="211239" y="38678"/>
                    <a:pt x="214215" y="41653"/>
                  </a:cubicBezTo>
                  <a:cubicBezTo>
                    <a:pt x="217190" y="44628"/>
                    <a:pt x="217190" y="47603"/>
                    <a:pt x="214215" y="50578"/>
                  </a:cubicBezTo>
                  <a:cubicBezTo>
                    <a:pt x="211239" y="50578"/>
                    <a:pt x="181487" y="77355"/>
                    <a:pt x="145785" y="77355"/>
                  </a:cubicBezTo>
                  <a:close/>
                </a:path>
              </a:pathLst>
            </a:custGeom>
            <a:solidFill>
              <a:srgbClr val="E58777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21225823-0611-43D2-9FCB-0D6EAA689606}"/>
                </a:ext>
              </a:extLst>
            </p:cNvPr>
            <p:cNvSpPr/>
            <p:nvPr/>
          </p:nvSpPr>
          <p:spPr>
            <a:xfrm>
              <a:off x="9615642" y="9038813"/>
              <a:ext cx="100963" cy="545695"/>
            </a:xfrm>
            <a:custGeom>
              <a:avLst/>
              <a:gdLst>
                <a:gd name="connsiteX0" fmla="*/ 45861 w 100963"/>
                <a:gd name="connsiteY0" fmla="*/ 545695 h 545695"/>
                <a:gd name="connsiteX1" fmla="*/ 45861 w 100963"/>
                <a:gd name="connsiteY1" fmla="*/ 545695 h 545695"/>
                <a:gd name="connsiteX2" fmla="*/ 39910 w 100963"/>
                <a:gd name="connsiteY2" fmla="*/ 539744 h 545695"/>
                <a:gd name="connsiteX3" fmla="*/ 54786 w 100963"/>
                <a:gd name="connsiteY3" fmla="*/ 486191 h 545695"/>
                <a:gd name="connsiteX4" fmla="*/ 87513 w 100963"/>
                <a:gd name="connsiteY4" fmla="*/ 340406 h 545695"/>
                <a:gd name="connsiteX5" fmla="*/ 1232 w 100963"/>
                <a:gd name="connsiteY5" fmla="*/ 10158 h 545695"/>
                <a:gd name="connsiteX6" fmla="*/ 4207 w 100963"/>
                <a:gd name="connsiteY6" fmla="*/ 1232 h 545695"/>
                <a:gd name="connsiteX7" fmla="*/ 13133 w 100963"/>
                <a:gd name="connsiteY7" fmla="*/ 4208 h 545695"/>
                <a:gd name="connsiteX8" fmla="*/ 99414 w 100963"/>
                <a:gd name="connsiteY8" fmla="*/ 340406 h 545695"/>
                <a:gd name="connsiteX9" fmla="*/ 66687 w 100963"/>
                <a:gd name="connsiteY9" fmla="*/ 486191 h 545695"/>
                <a:gd name="connsiteX10" fmla="*/ 51811 w 100963"/>
                <a:gd name="connsiteY10" fmla="*/ 539744 h 545695"/>
                <a:gd name="connsiteX11" fmla="*/ 45861 w 100963"/>
                <a:gd name="connsiteY11" fmla="*/ 545695 h 545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963" h="545695">
                  <a:moveTo>
                    <a:pt x="45861" y="545695"/>
                  </a:moveTo>
                  <a:cubicBezTo>
                    <a:pt x="45861" y="545695"/>
                    <a:pt x="45861" y="545695"/>
                    <a:pt x="45861" y="545695"/>
                  </a:cubicBezTo>
                  <a:cubicBezTo>
                    <a:pt x="42885" y="545695"/>
                    <a:pt x="39910" y="542720"/>
                    <a:pt x="39910" y="539744"/>
                  </a:cubicBezTo>
                  <a:cubicBezTo>
                    <a:pt x="45861" y="521894"/>
                    <a:pt x="48835" y="504042"/>
                    <a:pt x="54786" y="486191"/>
                  </a:cubicBezTo>
                  <a:cubicBezTo>
                    <a:pt x="69662" y="435612"/>
                    <a:pt x="84538" y="385034"/>
                    <a:pt x="87513" y="340406"/>
                  </a:cubicBezTo>
                  <a:cubicBezTo>
                    <a:pt x="93464" y="221398"/>
                    <a:pt x="66687" y="111315"/>
                    <a:pt x="1232" y="10158"/>
                  </a:cubicBezTo>
                  <a:cubicBezTo>
                    <a:pt x="-1743" y="7183"/>
                    <a:pt x="1232" y="4208"/>
                    <a:pt x="4207" y="1232"/>
                  </a:cubicBezTo>
                  <a:cubicBezTo>
                    <a:pt x="7183" y="-1743"/>
                    <a:pt x="10158" y="1232"/>
                    <a:pt x="13133" y="4208"/>
                  </a:cubicBezTo>
                  <a:cubicBezTo>
                    <a:pt x="78588" y="108340"/>
                    <a:pt x="108340" y="221398"/>
                    <a:pt x="99414" y="340406"/>
                  </a:cubicBezTo>
                  <a:cubicBezTo>
                    <a:pt x="96439" y="385034"/>
                    <a:pt x="81563" y="438588"/>
                    <a:pt x="66687" y="486191"/>
                  </a:cubicBezTo>
                  <a:cubicBezTo>
                    <a:pt x="60737" y="504042"/>
                    <a:pt x="54786" y="521894"/>
                    <a:pt x="51811" y="539744"/>
                  </a:cubicBezTo>
                  <a:cubicBezTo>
                    <a:pt x="51811" y="542720"/>
                    <a:pt x="48835" y="545695"/>
                    <a:pt x="45861" y="545695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19468BEE-535E-46E3-9D3C-9BB807F0DA00}"/>
                </a:ext>
              </a:extLst>
            </p:cNvPr>
            <p:cNvSpPr/>
            <p:nvPr/>
          </p:nvSpPr>
          <p:spPr>
            <a:xfrm>
              <a:off x="9203321" y="9471640"/>
              <a:ext cx="390984" cy="35512"/>
            </a:xfrm>
            <a:custGeom>
              <a:avLst/>
              <a:gdLst>
                <a:gd name="connsiteX0" fmla="*/ 386777 w 390984"/>
                <a:gd name="connsiteY0" fmla="*/ 35513 h 35512"/>
                <a:gd name="connsiteX1" fmla="*/ 386777 w 390984"/>
                <a:gd name="connsiteY1" fmla="*/ 35513 h 35512"/>
                <a:gd name="connsiteX2" fmla="*/ 5951 w 390984"/>
                <a:gd name="connsiteY2" fmla="*/ 23612 h 35512"/>
                <a:gd name="connsiteX3" fmla="*/ 0 w 390984"/>
                <a:gd name="connsiteY3" fmla="*/ 20637 h 35512"/>
                <a:gd name="connsiteX4" fmla="*/ 2975 w 390984"/>
                <a:gd name="connsiteY4" fmla="*/ 14687 h 35512"/>
                <a:gd name="connsiteX5" fmla="*/ 386777 w 390984"/>
                <a:gd name="connsiteY5" fmla="*/ 26588 h 35512"/>
                <a:gd name="connsiteX6" fmla="*/ 389752 w 390984"/>
                <a:gd name="connsiteY6" fmla="*/ 32538 h 35512"/>
                <a:gd name="connsiteX7" fmla="*/ 386777 w 390984"/>
                <a:gd name="connsiteY7" fmla="*/ 35513 h 35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984" h="35512">
                  <a:moveTo>
                    <a:pt x="386777" y="35513"/>
                  </a:moveTo>
                  <a:cubicBezTo>
                    <a:pt x="386777" y="35513"/>
                    <a:pt x="386777" y="35513"/>
                    <a:pt x="386777" y="35513"/>
                  </a:cubicBezTo>
                  <a:cubicBezTo>
                    <a:pt x="303471" y="5761"/>
                    <a:pt x="104132" y="-189"/>
                    <a:pt x="5951" y="23612"/>
                  </a:cubicBezTo>
                  <a:cubicBezTo>
                    <a:pt x="2975" y="23612"/>
                    <a:pt x="0" y="23612"/>
                    <a:pt x="0" y="20637"/>
                  </a:cubicBezTo>
                  <a:cubicBezTo>
                    <a:pt x="0" y="17661"/>
                    <a:pt x="0" y="14687"/>
                    <a:pt x="2975" y="14687"/>
                  </a:cubicBezTo>
                  <a:cubicBezTo>
                    <a:pt x="101157" y="-9115"/>
                    <a:pt x="303471" y="-3164"/>
                    <a:pt x="386777" y="26588"/>
                  </a:cubicBezTo>
                  <a:cubicBezTo>
                    <a:pt x="389752" y="26588"/>
                    <a:pt x="389752" y="29563"/>
                    <a:pt x="389752" y="32538"/>
                  </a:cubicBezTo>
                  <a:cubicBezTo>
                    <a:pt x="392728" y="32538"/>
                    <a:pt x="389752" y="35513"/>
                    <a:pt x="386777" y="35513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86FBCE9E-8D53-4CBB-9F7A-BF6E44D62099}"/>
                </a:ext>
              </a:extLst>
            </p:cNvPr>
            <p:cNvSpPr/>
            <p:nvPr/>
          </p:nvSpPr>
          <p:spPr>
            <a:xfrm>
              <a:off x="9044305" y="8571489"/>
              <a:ext cx="75710" cy="111297"/>
            </a:xfrm>
            <a:custGeom>
              <a:avLst/>
              <a:gdLst>
                <a:gd name="connsiteX0" fmla="*/ 63809 w 75710"/>
                <a:gd name="connsiteY0" fmla="*/ 16325 h 111297"/>
                <a:gd name="connsiteX1" fmla="*/ 7281 w 75710"/>
                <a:gd name="connsiteY1" fmla="*/ 7399 h 111297"/>
                <a:gd name="connsiteX2" fmla="*/ 63809 w 75710"/>
                <a:gd name="connsiteY2" fmla="*/ 108556 h 111297"/>
                <a:gd name="connsiteX3" fmla="*/ 63809 w 75710"/>
                <a:gd name="connsiteY3" fmla="*/ 16325 h 111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710" h="111297">
                  <a:moveTo>
                    <a:pt x="63809" y="16325"/>
                  </a:moveTo>
                  <a:cubicBezTo>
                    <a:pt x="63809" y="16325"/>
                    <a:pt x="31082" y="-13427"/>
                    <a:pt x="7281" y="7399"/>
                  </a:cubicBezTo>
                  <a:cubicBezTo>
                    <a:pt x="-16521" y="25251"/>
                    <a:pt x="22157" y="129383"/>
                    <a:pt x="63809" y="108556"/>
                  </a:cubicBezTo>
                  <a:cubicBezTo>
                    <a:pt x="90587" y="87730"/>
                    <a:pt x="63809" y="16325"/>
                    <a:pt x="63809" y="16325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932AC18E-2F9D-48DD-93B6-FA8802DFFF86}"/>
                </a:ext>
              </a:extLst>
            </p:cNvPr>
            <p:cNvSpPr/>
            <p:nvPr/>
          </p:nvSpPr>
          <p:spPr>
            <a:xfrm>
              <a:off x="9114064" y="8953764"/>
              <a:ext cx="351074" cy="151735"/>
            </a:xfrm>
            <a:custGeom>
              <a:avLst/>
              <a:gdLst>
                <a:gd name="connsiteX0" fmla="*/ 315372 w 351074"/>
                <a:gd name="connsiteY0" fmla="*/ 5950 h 151735"/>
                <a:gd name="connsiteX1" fmla="*/ 214215 w 351074"/>
                <a:gd name="connsiteY1" fmla="*/ 119008 h 151735"/>
                <a:gd name="connsiteX2" fmla="*/ 23802 w 351074"/>
                <a:gd name="connsiteY2" fmla="*/ 0 h 151735"/>
                <a:gd name="connsiteX3" fmla="*/ 0 w 351074"/>
                <a:gd name="connsiteY3" fmla="*/ 8926 h 151735"/>
                <a:gd name="connsiteX4" fmla="*/ 217190 w 351074"/>
                <a:gd name="connsiteY4" fmla="*/ 151735 h 151735"/>
                <a:gd name="connsiteX5" fmla="*/ 351074 w 351074"/>
                <a:gd name="connsiteY5" fmla="*/ 14876 h 151735"/>
                <a:gd name="connsiteX6" fmla="*/ 315372 w 351074"/>
                <a:gd name="connsiteY6" fmla="*/ 5950 h 15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1074" h="151735">
                  <a:moveTo>
                    <a:pt x="315372" y="5950"/>
                  </a:moveTo>
                  <a:lnTo>
                    <a:pt x="214215" y="119008"/>
                  </a:lnTo>
                  <a:cubicBezTo>
                    <a:pt x="214215" y="119008"/>
                    <a:pt x="86281" y="20826"/>
                    <a:pt x="23802" y="0"/>
                  </a:cubicBezTo>
                  <a:lnTo>
                    <a:pt x="0" y="8926"/>
                  </a:lnTo>
                  <a:lnTo>
                    <a:pt x="217190" y="151735"/>
                  </a:lnTo>
                  <a:lnTo>
                    <a:pt x="351074" y="14876"/>
                  </a:lnTo>
                  <a:cubicBezTo>
                    <a:pt x="351074" y="11901"/>
                    <a:pt x="336198" y="5950"/>
                    <a:pt x="315372" y="5950"/>
                  </a:cubicBezTo>
                  <a:close/>
                </a:path>
              </a:pathLst>
            </a:custGeom>
            <a:solidFill>
              <a:srgbClr val="D1615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F8EB9EC5-DD60-4844-82FD-C2E7690FE1D2}"/>
                </a:ext>
              </a:extLst>
            </p:cNvPr>
            <p:cNvSpPr/>
            <p:nvPr/>
          </p:nvSpPr>
          <p:spPr>
            <a:xfrm>
              <a:off x="9318122" y="9871871"/>
              <a:ext cx="307678" cy="28009"/>
            </a:xfrm>
            <a:custGeom>
              <a:avLst/>
              <a:gdLst>
                <a:gd name="connsiteX0" fmla="*/ 301728 w 307678"/>
                <a:gd name="connsiteY0" fmla="*/ 28009 h 28009"/>
                <a:gd name="connsiteX1" fmla="*/ 301728 w 307678"/>
                <a:gd name="connsiteY1" fmla="*/ 28009 h 28009"/>
                <a:gd name="connsiteX2" fmla="*/ 4207 w 307678"/>
                <a:gd name="connsiteY2" fmla="*/ 10158 h 28009"/>
                <a:gd name="connsiteX3" fmla="*/ 1232 w 307678"/>
                <a:gd name="connsiteY3" fmla="*/ 4207 h 28009"/>
                <a:gd name="connsiteX4" fmla="*/ 7183 w 307678"/>
                <a:gd name="connsiteY4" fmla="*/ 1232 h 28009"/>
                <a:gd name="connsiteX5" fmla="*/ 301728 w 307678"/>
                <a:gd name="connsiteY5" fmla="*/ 19083 h 28009"/>
                <a:gd name="connsiteX6" fmla="*/ 307679 w 307678"/>
                <a:gd name="connsiteY6" fmla="*/ 25034 h 28009"/>
                <a:gd name="connsiteX7" fmla="*/ 301728 w 307678"/>
                <a:gd name="connsiteY7" fmla="*/ 28009 h 28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678" h="28009">
                  <a:moveTo>
                    <a:pt x="301728" y="28009"/>
                  </a:moveTo>
                  <a:cubicBezTo>
                    <a:pt x="301728" y="28009"/>
                    <a:pt x="301728" y="28009"/>
                    <a:pt x="301728" y="28009"/>
                  </a:cubicBezTo>
                  <a:cubicBezTo>
                    <a:pt x="298753" y="28009"/>
                    <a:pt x="96439" y="25034"/>
                    <a:pt x="4207" y="10158"/>
                  </a:cubicBezTo>
                  <a:cubicBezTo>
                    <a:pt x="1232" y="10158"/>
                    <a:pt x="-1743" y="7182"/>
                    <a:pt x="1232" y="4207"/>
                  </a:cubicBezTo>
                  <a:cubicBezTo>
                    <a:pt x="1232" y="1232"/>
                    <a:pt x="4207" y="-1743"/>
                    <a:pt x="7183" y="1232"/>
                  </a:cubicBezTo>
                  <a:cubicBezTo>
                    <a:pt x="99414" y="19083"/>
                    <a:pt x="301728" y="19083"/>
                    <a:pt x="301728" y="19083"/>
                  </a:cubicBezTo>
                  <a:cubicBezTo>
                    <a:pt x="304703" y="19083"/>
                    <a:pt x="307679" y="22058"/>
                    <a:pt x="307679" y="25034"/>
                  </a:cubicBezTo>
                  <a:cubicBezTo>
                    <a:pt x="304703" y="28009"/>
                    <a:pt x="304703" y="28009"/>
                    <a:pt x="301728" y="28009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9E0533C2-D070-4C1D-A716-6F9351C4B4D2}"/>
                </a:ext>
              </a:extLst>
            </p:cNvPr>
            <p:cNvSpPr/>
            <p:nvPr/>
          </p:nvSpPr>
          <p:spPr>
            <a:xfrm>
              <a:off x="9108114" y="8867483"/>
              <a:ext cx="233603" cy="401652"/>
            </a:xfrm>
            <a:custGeom>
              <a:avLst/>
              <a:gdLst>
                <a:gd name="connsiteX0" fmla="*/ 32727 w 233603"/>
                <a:gd name="connsiteY0" fmla="*/ 0 h 401652"/>
                <a:gd name="connsiteX1" fmla="*/ 205290 w 233603"/>
                <a:gd name="connsiteY1" fmla="*/ 190414 h 401652"/>
                <a:gd name="connsiteX2" fmla="*/ 223141 w 233603"/>
                <a:gd name="connsiteY2" fmla="*/ 380827 h 401652"/>
                <a:gd name="connsiteX3" fmla="*/ 178512 w 233603"/>
                <a:gd name="connsiteY3" fmla="*/ 380827 h 401652"/>
                <a:gd name="connsiteX4" fmla="*/ 104132 w 233603"/>
                <a:gd name="connsiteY4" fmla="*/ 401653 h 401652"/>
                <a:gd name="connsiteX5" fmla="*/ 62480 w 233603"/>
                <a:gd name="connsiteY5" fmla="*/ 374876 h 401652"/>
                <a:gd name="connsiteX6" fmla="*/ 0 w 233603"/>
                <a:gd name="connsiteY6" fmla="*/ 35703 h 401652"/>
                <a:gd name="connsiteX7" fmla="*/ 32727 w 233603"/>
                <a:gd name="connsiteY7" fmla="*/ 0 h 40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3603" h="401652">
                  <a:moveTo>
                    <a:pt x="32727" y="0"/>
                  </a:moveTo>
                  <a:cubicBezTo>
                    <a:pt x="32727" y="0"/>
                    <a:pt x="169587" y="89256"/>
                    <a:pt x="205290" y="190414"/>
                  </a:cubicBezTo>
                  <a:cubicBezTo>
                    <a:pt x="240992" y="294546"/>
                    <a:pt x="238017" y="371901"/>
                    <a:pt x="223141" y="380827"/>
                  </a:cubicBezTo>
                  <a:cubicBezTo>
                    <a:pt x="211240" y="389752"/>
                    <a:pt x="196364" y="371901"/>
                    <a:pt x="178512" y="380827"/>
                  </a:cubicBezTo>
                  <a:cubicBezTo>
                    <a:pt x="160661" y="389752"/>
                    <a:pt x="116033" y="401653"/>
                    <a:pt x="104132" y="401653"/>
                  </a:cubicBezTo>
                  <a:cubicBezTo>
                    <a:pt x="89256" y="401653"/>
                    <a:pt x="56529" y="386777"/>
                    <a:pt x="62480" y="374876"/>
                  </a:cubicBezTo>
                  <a:cubicBezTo>
                    <a:pt x="68430" y="362976"/>
                    <a:pt x="23802" y="62480"/>
                    <a:pt x="0" y="35703"/>
                  </a:cubicBezTo>
                  <a:lnTo>
                    <a:pt x="32727" y="0"/>
                  </a:ln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38713E8E-F01D-4D92-9181-4D0AC273C681}"/>
                </a:ext>
              </a:extLst>
            </p:cNvPr>
            <p:cNvSpPr/>
            <p:nvPr/>
          </p:nvSpPr>
          <p:spPr>
            <a:xfrm>
              <a:off x="9150511" y="8900954"/>
              <a:ext cx="145041" cy="261074"/>
            </a:xfrm>
            <a:custGeom>
              <a:avLst/>
              <a:gdLst>
                <a:gd name="connsiteX0" fmla="*/ 139091 w 145041"/>
                <a:gd name="connsiteY0" fmla="*/ 261074 h 261074"/>
                <a:gd name="connsiteX1" fmla="*/ 133141 w 145041"/>
                <a:gd name="connsiteY1" fmla="*/ 255124 h 261074"/>
                <a:gd name="connsiteX2" fmla="*/ 2231 w 145041"/>
                <a:gd name="connsiteY2" fmla="*/ 11157 h 261074"/>
                <a:gd name="connsiteX3" fmla="*/ 2231 w 145041"/>
                <a:gd name="connsiteY3" fmla="*/ 2232 h 261074"/>
                <a:gd name="connsiteX4" fmla="*/ 11157 w 145041"/>
                <a:gd name="connsiteY4" fmla="*/ 2232 h 261074"/>
                <a:gd name="connsiteX5" fmla="*/ 145041 w 145041"/>
                <a:gd name="connsiteY5" fmla="*/ 252149 h 261074"/>
                <a:gd name="connsiteX6" fmla="*/ 139091 w 145041"/>
                <a:gd name="connsiteY6" fmla="*/ 261074 h 261074"/>
                <a:gd name="connsiteX7" fmla="*/ 139091 w 145041"/>
                <a:gd name="connsiteY7" fmla="*/ 261074 h 261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041" h="261074">
                  <a:moveTo>
                    <a:pt x="139091" y="261074"/>
                  </a:moveTo>
                  <a:cubicBezTo>
                    <a:pt x="136116" y="261074"/>
                    <a:pt x="133141" y="258099"/>
                    <a:pt x="133141" y="255124"/>
                  </a:cubicBezTo>
                  <a:cubicBezTo>
                    <a:pt x="127190" y="142066"/>
                    <a:pt x="5207" y="11157"/>
                    <a:pt x="2231" y="11157"/>
                  </a:cubicBezTo>
                  <a:cubicBezTo>
                    <a:pt x="-744" y="8182"/>
                    <a:pt x="-744" y="5206"/>
                    <a:pt x="2231" y="2232"/>
                  </a:cubicBezTo>
                  <a:cubicBezTo>
                    <a:pt x="5207" y="-744"/>
                    <a:pt x="8182" y="-744"/>
                    <a:pt x="11157" y="2232"/>
                  </a:cubicBezTo>
                  <a:cubicBezTo>
                    <a:pt x="17107" y="8182"/>
                    <a:pt x="139091" y="136116"/>
                    <a:pt x="145041" y="252149"/>
                  </a:cubicBezTo>
                  <a:cubicBezTo>
                    <a:pt x="145041" y="258099"/>
                    <a:pt x="142066" y="261074"/>
                    <a:pt x="139091" y="261074"/>
                  </a:cubicBezTo>
                  <a:cubicBezTo>
                    <a:pt x="139091" y="261074"/>
                    <a:pt x="139091" y="261074"/>
                    <a:pt x="139091" y="261074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694AE7AF-D1B0-40F4-AF3A-2AB1095D9162}"/>
                </a:ext>
              </a:extLst>
            </p:cNvPr>
            <p:cNvSpPr/>
            <p:nvPr/>
          </p:nvSpPr>
          <p:spPr>
            <a:xfrm>
              <a:off x="9091889" y="8852024"/>
              <a:ext cx="102506" cy="76932"/>
            </a:xfrm>
            <a:custGeom>
              <a:avLst/>
              <a:gdLst>
                <a:gd name="connsiteX0" fmla="*/ 102507 w 102506"/>
                <a:gd name="connsiteY0" fmla="*/ 15460 h 76932"/>
                <a:gd name="connsiteX1" fmla="*/ 84655 w 102506"/>
                <a:gd name="connsiteY1" fmla="*/ 583 h 76932"/>
                <a:gd name="connsiteX2" fmla="*/ 10275 w 102506"/>
                <a:gd name="connsiteY2" fmla="*/ 24385 h 76932"/>
                <a:gd name="connsiteX3" fmla="*/ 4325 w 102506"/>
                <a:gd name="connsiteY3" fmla="*/ 51162 h 76932"/>
                <a:gd name="connsiteX4" fmla="*/ 22176 w 102506"/>
                <a:gd name="connsiteY4" fmla="*/ 74964 h 76932"/>
                <a:gd name="connsiteX5" fmla="*/ 87631 w 102506"/>
                <a:gd name="connsiteY5" fmla="*/ 54137 h 76932"/>
                <a:gd name="connsiteX6" fmla="*/ 96556 w 102506"/>
                <a:gd name="connsiteY6" fmla="*/ 39261 h 76932"/>
                <a:gd name="connsiteX7" fmla="*/ 102507 w 102506"/>
                <a:gd name="connsiteY7" fmla="*/ 15460 h 7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506" h="76932">
                  <a:moveTo>
                    <a:pt x="102507" y="15460"/>
                  </a:moveTo>
                  <a:cubicBezTo>
                    <a:pt x="102507" y="6534"/>
                    <a:pt x="93581" y="-2391"/>
                    <a:pt x="84655" y="583"/>
                  </a:cubicBezTo>
                  <a:cubicBezTo>
                    <a:pt x="60854" y="9509"/>
                    <a:pt x="34077" y="15460"/>
                    <a:pt x="10275" y="24385"/>
                  </a:cubicBezTo>
                  <a:cubicBezTo>
                    <a:pt x="-1626" y="27361"/>
                    <a:pt x="-1626" y="45212"/>
                    <a:pt x="4325" y="51162"/>
                  </a:cubicBezTo>
                  <a:cubicBezTo>
                    <a:pt x="-7576" y="60088"/>
                    <a:pt x="7300" y="83889"/>
                    <a:pt x="22176" y="74964"/>
                  </a:cubicBezTo>
                  <a:cubicBezTo>
                    <a:pt x="43003" y="63063"/>
                    <a:pt x="63829" y="57113"/>
                    <a:pt x="87631" y="54137"/>
                  </a:cubicBezTo>
                  <a:cubicBezTo>
                    <a:pt x="96556" y="54137"/>
                    <a:pt x="99531" y="45212"/>
                    <a:pt x="96556" y="39261"/>
                  </a:cubicBezTo>
                  <a:cubicBezTo>
                    <a:pt x="99531" y="33311"/>
                    <a:pt x="102507" y="24385"/>
                    <a:pt x="102507" y="15460"/>
                  </a:cubicBezTo>
                  <a:close/>
                </a:path>
              </a:pathLst>
            </a:custGeom>
            <a:solidFill>
              <a:srgbClr val="D1615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3232E041-F7B7-4BC1-90B2-BBB5DC739906}"/>
                </a:ext>
              </a:extLst>
            </p:cNvPr>
            <p:cNvSpPr/>
            <p:nvPr/>
          </p:nvSpPr>
          <p:spPr>
            <a:xfrm>
              <a:off x="8867123" y="11491616"/>
              <a:ext cx="112313" cy="35701"/>
            </a:xfrm>
            <a:custGeom>
              <a:avLst/>
              <a:gdLst>
                <a:gd name="connsiteX0" fmla="*/ 107107 w 112313"/>
                <a:gd name="connsiteY0" fmla="*/ 35702 h 35701"/>
                <a:gd name="connsiteX1" fmla="*/ 104132 w 112313"/>
                <a:gd name="connsiteY1" fmla="*/ 35702 h 35701"/>
                <a:gd name="connsiteX2" fmla="*/ 5950 w 112313"/>
                <a:gd name="connsiteY2" fmla="*/ 11901 h 35701"/>
                <a:gd name="connsiteX3" fmla="*/ 0 w 112313"/>
                <a:gd name="connsiteY3" fmla="*/ 5950 h 35701"/>
                <a:gd name="connsiteX4" fmla="*/ 5950 w 112313"/>
                <a:gd name="connsiteY4" fmla="*/ 0 h 35701"/>
                <a:gd name="connsiteX5" fmla="*/ 110083 w 112313"/>
                <a:gd name="connsiteY5" fmla="*/ 26777 h 35701"/>
                <a:gd name="connsiteX6" fmla="*/ 110083 w 112313"/>
                <a:gd name="connsiteY6" fmla="*/ 35702 h 35701"/>
                <a:gd name="connsiteX7" fmla="*/ 107107 w 112313"/>
                <a:gd name="connsiteY7" fmla="*/ 35702 h 35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313" h="35701">
                  <a:moveTo>
                    <a:pt x="107107" y="35702"/>
                  </a:moveTo>
                  <a:cubicBezTo>
                    <a:pt x="107107" y="35702"/>
                    <a:pt x="104132" y="35702"/>
                    <a:pt x="104132" y="35702"/>
                  </a:cubicBezTo>
                  <a:cubicBezTo>
                    <a:pt x="77355" y="17851"/>
                    <a:pt x="5950" y="11901"/>
                    <a:pt x="5950" y="11901"/>
                  </a:cubicBezTo>
                  <a:cubicBezTo>
                    <a:pt x="2975" y="11901"/>
                    <a:pt x="0" y="8925"/>
                    <a:pt x="0" y="5950"/>
                  </a:cubicBezTo>
                  <a:cubicBezTo>
                    <a:pt x="0" y="2975"/>
                    <a:pt x="2975" y="0"/>
                    <a:pt x="5950" y="0"/>
                  </a:cubicBezTo>
                  <a:cubicBezTo>
                    <a:pt x="8925" y="0"/>
                    <a:pt x="80330" y="5950"/>
                    <a:pt x="110083" y="26777"/>
                  </a:cubicBezTo>
                  <a:cubicBezTo>
                    <a:pt x="113057" y="29752"/>
                    <a:pt x="113057" y="32727"/>
                    <a:pt x="110083" y="35702"/>
                  </a:cubicBezTo>
                  <a:cubicBezTo>
                    <a:pt x="110083" y="35702"/>
                    <a:pt x="110083" y="35702"/>
                    <a:pt x="107107" y="35702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8" name="图形 1">
              <a:extLst>
                <a:ext uri="{FF2B5EF4-FFF2-40B4-BE49-F238E27FC236}">
                  <a16:creationId xmlns:a16="http://schemas.microsoft.com/office/drawing/2014/main" id="{03BC02EE-C928-4363-B5AB-30C5981B22B9}"/>
                </a:ext>
              </a:extLst>
            </p:cNvPr>
            <p:cNvGrpSpPr/>
            <p:nvPr/>
          </p:nvGrpSpPr>
          <p:grpSpPr>
            <a:xfrm>
              <a:off x="8981668" y="8220537"/>
              <a:ext cx="610213" cy="519115"/>
              <a:chOff x="8981668" y="8220537"/>
              <a:chExt cx="610213" cy="519115"/>
            </a:xfrm>
          </p:grpSpPr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7EF06733-A391-4D96-A9FA-2286D918B9FD}"/>
                  </a:ext>
                </a:extLst>
              </p:cNvPr>
              <p:cNvSpPr/>
              <p:nvPr/>
            </p:nvSpPr>
            <p:spPr>
              <a:xfrm>
                <a:off x="8981668" y="8220537"/>
                <a:ext cx="560826" cy="519115"/>
              </a:xfrm>
              <a:custGeom>
                <a:avLst/>
                <a:gdLst>
                  <a:gd name="connsiteX0" fmla="*/ 25289 w 560826"/>
                  <a:gd name="connsiteY0" fmla="*/ 459508 h 519115"/>
                  <a:gd name="connsiteX1" fmla="*/ 46116 w 560826"/>
                  <a:gd name="connsiteY1" fmla="*/ 102484 h 519115"/>
                  <a:gd name="connsiteX2" fmla="*/ 358513 w 560826"/>
                  <a:gd name="connsiteY2" fmla="*/ 7277 h 519115"/>
                  <a:gd name="connsiteX3" fmla="*/ 560827 w 560826"/>
                  <a:gd name="connsiteY3" fmla="*/ 212566 h 519115"/>
                  <a:gd name="connsiteX4" fmla="*/ 227604 w 560826"/>
                  <a:gd name="connsiteY4" fmla="*/ 236368 h 519115"/>
                  <a:gd name="connsiteX5" fmla="*/ 177025 w 560826"/>
                  <a:gd name="connsiteY5" fmla="*/ 405955 h 519115"/>
                  <a:gd name="connsiteX6" fmla="*/ 87769 w 560826"/>
                  <a:gd name="connsiteY6" fmla="*/ 519013 h 519115"/>
                  <a:gd name="connsiteX7" fmla="*/ 25289 w 560826"/>
                  <a:gd name="connsiteY7" fmla="*/ 459508 h 519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0826" h="519115">
                    <a:moveTo>
                      <a:pt x="25289" y="459508"/>
                    </a:moveTo>
                    <a:cubicBezTo>
                      <a:pt x="-1488" y="402979"/>
                      <a:pt x="-22314" y="179839"/>
                      <a:pt x="46116" y="102484"/>
                    </a:cubicBezTo>
                    <a:cubicBezTo>
                      <a:pt x="108595" y="31078"/>
                      <a:pt x="218678" y="-19500"/>
                      <a:pt x="358513" y="7277"/>
                    </a:cubicBezTo>
                    <a:cubicBezTo>
                      <a:pt x="507273" y="37029"/>
                      <a:pt x="548926" y="138186"/>
                      <a:pt x="560827" y="212566"/>
                    </a:cubicBezTo>
                    <a:cubicBezTo>
                      <a:pt x="560827" y="212566"/>
                      <a:pt x="450744" y="185789"/>
                      <a:pt x="227604" y="236368"/>
                    </a:cubicBezTo>
                    <a:cubicBezTo>
                      <a:pt x="40165" y="292897"/>
                      <a:pt x="135372" y="370252"/>
                      <a:pt x="177025" y="405955"/>
                    </a:cubicBezTo>
                    <a:cubicBezTo>
                      <a:pt x="221653" y="441657"/>
                      <a:pt x="174050" y="516037"/>
                      <a:pt x="87769" y="519013"/>
                    </a:cubicBezTo>
                    <a:cubicBezTo>
                      <a:pt x="40165" y="521987"/>
                      <a:pt x="25289" y="459508"/>
                      <a:pt x="25289" y="459508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8B42D86E-E4CF-459D-BEF3-7C269A449302}"/>
                  </a:ext>
                </a:extLst>
              </p:cNvPr>
              <p:cNvSpPr/>
              <p:nvPr/>
            </p:nvSpPr>
            <p:spPr>
              <a:xfrm>
                <a:off x="9042660" y="8611616"/>
                <a:ext cx="83305" cy="83305"/>
              </a:xfrm>
              <a:custGeom>
                <a:avLst/>
                <a:gdLst>
                  <a:gd name="connsiteX0" fmla="*/ 83306 w 83305"/>
                  <a:gd name="connsiteY0" fmla="*/ 41653 h 83305"/>
                  <a:gd name="connsiteX1" fmla="*/ 41653 w 83305"/>
                  <a:gd name="connsiteY1" fmla="*/ 83306 h 83305"/>
                  <a:gd name="connsiteX2" fmla="*/ 0 w 83305"/>
                  <a:gd name="connsiteY2" fmla="*/ 41653 h 83305"/>
                  <a:gd name="connsiteX3" fmla="*/ 41653 w 83305"/>
                  <a:gd name="connsiteY3" fmla="*/ 0 h 83305"/>
                  <a:gd name="connsiteX4" fmla="*/ 83306 w 83305"/>
                  <a:gd name="connsiteY4" fmla="*/ 41653 h 83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305" h="83305">
                    <a:moveTo>
                      <a:pt x="83306" y="41653"/>
                    </a:moveTo>
                    <a:cubicBezTo>
                      <a:pt x="83306" y="62479"/>
                      <a:pt x="65454" y="83306"/>
                      <a:pt x="41653" y="83306"/>
                    </a:cubicBezTo>
                    <a:cubicBezTo>
                      <a:pt x="20826" y="83306"/>
                      <a:pt x="0" y="65454"/>
                      <a:pt x="0" y="41653"/>
                    </a:cubicBezTo>
                    <a:cubicBezTo>
                      <a:pt x="0" y="20826"/>
                      <a:pt x="17851" y="0"/>
                      <a:pt x="41653" y="0"/>
                    </a:cubicBezTo>
                    <a:cubicBezTo>
                      <a:pt x="62480" y="2975"/>
                      <a:pt x="83306" y="20826"/>
                      <a:pt x="83306" y="41653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D5D1F927-15E6-4853-8621-0C16835F22F7}"/>
                  </a:ext>
                </a:extLst>
              </p:cNvPr>
              <p:cNvSpPr/>
              <p:nvPr/>
            </p:nvSpPr>
            <p:spPr>
              <a:xfrm>
                <a:off x="9125966" y="8407046"/>
                <a:ext cx="465916" cy="94486"/>
              </a:xfrm>
              <a:custGeom>
                <a:avLst/>
                <a:gdLst>
                  <a:gd name="connsiteX0" fmla="*/ 0 w 465916"/>
                  <a:gd name="connsiteY0" fmla="*/ 91511 h 94486"/>
                  <a:gd name="connsiteX1" fmla="*/ 360000 w 465916"/>
                  <a:gd name="connsiteY1" fmla="*/ 94487 h 94486"/>
                  <a:gd name="connsiteX2" fmla="*/ 464132 w 465916"/>
                  <a:gd name="connsiteY2" fmla="*/ 32007 h 94486"/>
                  <a:gd name="connsiteX3" fmla="*/ 32727 w 465916"/>
                  <a:gd name="connsiteY3" fmla="*/ 70685 h 94486"/>
                  <a:gd name="connsiteX4" fmla="*/ 0 w 465916"/>
                  <a:gd name="connsiteY4" fmla="*/ 91511 h 94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916" h="94486">
                    <a:moveTo>
                      <a:pt x="0" y="91511"/>
                    </a:moveTo>
                    <a:cubicBezTo>
                      <a:pt x="0" y="91511"/>
                      <a:pt x="282645" y="-12621"/>
                      <a:pt x="360000" y="94487"/>
                    </a:cubicBezTo>
                    <a:cubicBezTo>
                      <a:pt x="360000" y="94487"/>
                      <a:pt x="481983" y="58784"/>
                      <a:pt x="464132" y="32007"/>
                    </a:cubicBezTo>
                    <a:cubicBezTo>
                      <a:pt x="446281" y="5231"/>
                      <a:pt x="303471" y="-39397"/>
                      <a:pt x="32727" y="70685"/>
                    </a:cubicBezTo>
                    <a:cubicBezTo>
                      <a:pt x="17851" y="76635"/>
                      <a:pt x="0" y="88536"/>
                      <a:pt x="0" y="91511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D6C6DB73-8D6F-4F92-916C-65BF6729D2EC}"/>
                </a:ext>
              </a:extLst>
            </p:cNvPr>
            <p:cNvSpPr/>
            <p:nvPr/>
          </p:nvSpPr>
          <p:spPr>
            <a:xfrm>
              <a:off x="10010692" y="8831781"/>
              <a:ext cx="1013455" cy="1143334"/>
            </a:xfrm>
            <a:custGeom>
              <a:avLst/>
              <a:gdLst>
                <a:gd name="connsiteX0" fmla="*/ 1013456 w 1013455"/>
                <a:gd name="connsiteY0" fmla="*/ 113058 h 1143334"/>
                <a:gd name="connsiteX1" fmla="*/ 885521 w 1013455"/>
                <a:gd name="connsiteY1" fmla="*/ 0 h 1143334"/>
                <a:gd name="connsiteX2" fmla="*/ 311307 w 1013455"/>
                <a:gd name="connsiteY2" fmla="*/ 699174 h 1143334"/>
                <a:gd name="connsiteX3" fmla="*/ 10810 w 1013455"/>
                <a:gd name="connsiteY3" fmla="*/ 1074049 h 1143334"/>
                <a:gd name="connsiteX4" fmla="*/ 13786 w 1013455"/>
                <a:gd name="connsiteY4" fmla="*/ 1133554 h 1143334"/>
                <a:gd name="connsiteX5" fmla="*/ 13786 w 1013455"/>
                <a:gd name="connsiteY5" fmla="*/ 1133554 h 1143334"/>
                <a:gd name="connsiteX6" fmla="*/ 70315 w 1013455"/>
                <a:gd name="connsiteY6" fmla="*/ 1130579 h 1143334"/>
                <a:gd name="connsiteX7" fmla="*/ 409488 w 1013455"/>
                <a:gd name="connsiteY7" fmla="*/ 785455 h 1143334"/>
                <a:gd name="connsiteX8" fmla="*/ 1013456 w 1013455"/>
                <a:gd name="connsiteY8" fmla="*/ 113058 h 114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3455" h="1143334">
                  <a:moveTo>
                    <a:pt x="1013456" y="113058"/>
                  </a:moveTo>
                  <a:cubicBezTo>
                    <a:pt x="1004529" y="50578"/>
                    <a:pt x="950976" y="2975"/>
                    <a:pt x="885521" y="0"/>
                  </a:cubicBezTo>
                  <a:cubicBezTo>
                    <a:pt x="885521" y="0"/>
                    <a:pt x="436266" y="505786"/>
                    <a:pt x="311307" y="699174"/>
                  </a:cubicBezTo>
                  <a:cubicBezTo>
                    <a:pt x="204199" y="862810"/>
                    <a:pt x="76265" y="1005620"/>
                    <a:pt x="10810" y="1074049"/>
                  </a:cubicBezTo>
                  <a:cubicBezTo>
                    <a:pt x="-4066" y="1091901"/>
                    <a:pt x="-4066" y="1118677"/>
                    <a:pt x="13786" y="1133554"/>
                  </a:cubicBezTo>
                  <a:lnTo>
                    <a:pt x="13786" y="1133554"/>
                  </a:lnTo>
                  <a:cubicBezTo>
                    <a:pt x="31637" y="1148430"/>
                    <a:pt x="55439" y="1145455"/>
                    <a:pt x="70315" y="1130579"/>
                  </a:cubicBezTo>
                  <a:cubicBezTo>
                    <a:pt x="135770" y="1056199"/>
                    <a:pt x="308331" y="862810"/>
                    <a:pt x="409488" y="785455"/>
                  </a:cubicBezTo>
                  <a:cubicBezTo>
                    <a:pt x="590976" y="645620"/>
                    <a:pt x="1013456" y="113058"/>
                    <a:pt x="1013456" y="113058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0" name="图形 1">
              <a:extLst>
                <a:ext uri="{FF2B5EF4-FFF2-40B4-BE49-F238E27FC236}">
                  <a16:creationId xmlns:a16="http://schemas.microsoft.com/office/drawing/2014/main" id="{1AB329F4-3E4F-4BC5-9A50-E5D666F9038F}"/>
                </a:ext>
              </a:extLst>
            </p:cNvPr>
            <p:cNvGrpSpPr/>
            <p:nvPr/>
          </p:nvGrpSpPr>
          <p:grpSpPr>
            <a:xfrm>
              <a:off x="11095552" y="9248310"/>
              <a:ext cx="279669" cy="282645"/>
              <a:chOff x="11095552" y="9248310"/>
              <a:chExt cx="279669" cy="282645"/>
            </a:xfrm>
          </p:grpSpPr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E9EF4013-61DE-472B-9E61-47352193E325}"/>
                  </a:ext>
                </a:extLst>
              </p:cNvPr>
              <p:cNvSpPr/>
              <p:nvPr/>
            </p:nvSpPr>
            <p:spPr>
              <a:xfrm>
                <a:off x="11095552" y="9248310"/>
                <a:ext cx="279669" cy="282645"/>
              </a:xfrm>
              <a:custGeom>
                <a:avLst/>
                <a:gdLst>
                  <a:gd name="connsiteX0" fmla="*/ 279669 w 279669"/>
                  <a:gd name="connsiteY0" fmla="*/ 142810 h 282645"/>
                  <a:gd name="connsiteX1" fmla="*/ 181488 w 279669"/>
                  <a:gd name="connsiteY1" fmla="*/ 276694 h 282645"/>
                  <a:gd name="connsiteX2" fmla="*/ 145785 w 279669"/>
                  <a:gd name="connsiteY2" fmla="*/ 282645 h 282645"/>
                  <a:gd name="connsiteX3" fmla="*/ 139835 w 279669"/>
                  <a:gd name="connsiteY3" fmla="*/ 282645 h 282645"/>
                  <a:gd name="connsiteX4" fmla="*/ 35703 w 279669"/>
                  <a:gd name="connsiteY4" fmla="*/ 238017 h 282645"/>
                  <a:gd name="connsiteX5" fmla="*/ 14876 w 279669"/>
                  <a:gd name="connsiteY5" fmla="*/ 208265 h 282645"/>
                  <a:gd name="connsiteX6" fmla="*/ 0 w 279669"/>
                  <a:gd name="connsiteY6" fmla="*/ 142810 h 282645"/>
                  <a:gd name="connsiteX7" fmla="*/ 80331 w 279669"/>
                  <a:gd name="connsiteY7" fmla="*/ 14876 h 282645"/>
                  <a:gd name="connsiteX8" fmla="*/ 116033 w 279669"/>
                  <a:gd name="connsiteY8" fmla="*/ 2975 h 282645"/>
                  <a:gd name="connsiteX9" fmla="*/ 142810 w 279669"/>
                  <a:gd name="connsiteY9" fmla="*/ 0 h 282645"/>
                  <a:gd name="connsiteX10" fmla="*/ 240992 w 279669"/>
                  <a:gd name="connsiteY10" fmla="*/ 38678 h 282645"/>
                  <a:gd name="connsiteX11" fmla="*/ 264793 w 279669"/>
                  <a:gd name="connsiteY11" fmla="*/ 68430 h 282645"/>
                  <a:gd name="connsiteX12" fmla="*/ 279669 w 279669"/>
                  <a:gd name="connsiteY12" fmla="*/ 142810 h 28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79669" h="282645">
                    <a:moveTo>
                      <a:pt x="279669" y="142810"/>
                    </a:moveTo>
                    <a:cubicBezTo>
                      <a:pt x="279669" y="205290"/>
                      <a:pt x="238017" y="258843"/>
                      <a:pt x="181488" y="276694"/>
                    </a:cubicBezTo>
                    <a:cubicBezTo>
                      <a:pt x="169587" y="279670"/>
                      <a:pt x="157686" y="282645"/>
                      <a:pt x="145785" y="282645"/>
                    </a:cubicBezTo>
                    <a:cubicBezTo>
                      <a:pt x="145785" y="282645"/>
                      <a:pt x="142810" y="282645"/>
                      <a:pt x="139835" y="282645"/>
                    </a:cubicBezTo>
                    <a:cubicBezTo>
                      <a:pt x="98181" y="282645"/>
                      <a:pt x="62480" y="264794"/>
                      <a:pt x="35703" y="238017"/>
                    </a:cubicBezTo>
                    <a:cubicBezTo>
                      <a:pt x="26777" y="229091"/>
                      <a:pt x="20827" y="220166"/>
                      <a:pt x="14876" y="208265"/>
                    </a:cubicBezTo>
                    <a:cubicBezTo>
                      <a:pt x="5951" y="190414"/>
                      <a:pt x="0" y="166611"/>
                      <a:pt x="0" y="142810"/>
                    </a:cubicBezTo>
                    <a:cubicBezTo>
                      <a:pt x="0" y="86281"/>
                      <a:pt x="32727" y="38678"/>
                      <a:pt x="80331" y="14876"/>
                    </a:cubicBezTo>
                    <a:cubicBezTo>
                      <a:pt x="92232" y="8926"/>
                      <a:pt x="104132" y="5950"/>
                      <a:pt x="116033" y="2975"/>
                    </a:cubicBezTo>
                    <a:cubicBezTo>
                      <a:pt x="124959" y="0"/>
                      <a:pt x="133884" y="0"/>
                      <a:pt x="142810" y="0"/>
                    </a:cubicBezTo>
                    <a:cubicBezTo>
                      <a:pt x="181488" y="0"/>
                      <a:pt x="214215" y="14876"/>
                      <a:pt x="240992" y="38678"/>
                    </a:cubicBezTo>
                    <a:cubicBezTo>
                      <a:pt x="249917" y="47603"/>
                      <a:pt x="258843" y="56529"/>
                      <a:pt x="264793" y="68430"/>
                    </a:cubicBezTo>
                    <a:cubicBezTo>
                      <a:pt x="273719" y="92231"/>
                      <a:pt x="279669" y="116033"/>
                      <a:pt x="279669" y="142810"/>
                    </a:cubicBezTo>
                    <a:close/>
                  </a:path>
                </a:pathLst>
              </a:custGeom>
              <a:solidFill>
                <a:srgbClr val="F1DDBA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C9B5CCF9-1EA7-4220-A212-427365A8A381}"/>
                  </a:ext>
                </a:extLst>
              </p:cNvPr>
              <p:cNvSpPr/>
              <p:nvPr/>
            </p:nvSpPr>
            <p:spPr>
              <a:xfrm>
                <a:off x="11110428" y="9251285"/>
                <a:ext cx="106310" cy="235041"/>
              </a:xfrm>
              <a:custGeom>
                <a:avLst/>
                <a:gdLst>
                  <a:gd name="connsiteX0" fmla="*/ 20827 w 106310"/>
                  <a:gd name="connsiteY0" fmla="*/ 235042 h 235041"/>
                  <a:gd name="connsiteX1" fmla="*/ 0 w 106310"/>
                  <a:gd name="connsiteY1" fmla="*/ 205290 h 235041"/>
                  <a:gd name="connsiteX2" fmla="*/ 65455 w 106310"/>
                  <a:gd name="connsiteY2" fmla="*/ 11901 h 235041"/>
                  <a:gd name="connsiteX3" fmla="*/ 101157 w 106310"/>
                  <a:gd name="connsiteY3" fmla="*/ 0 h 235041"/>
                  <a:gd name="connsiteX4" fmla="*/ 20827 w 106310"/>
                  <a:gd name="connsiteY4" fmla="*/ 235042 h 235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310" h="235041">
                    <a:moveTo>
                      <a:pt x="20827" y="235042"/>
                    </a:moveTo>
                    <a:cubicBezTo>
                      <a:pt x="11901" y="226115"/>
                      <a:pt x="5951" y="217190"/>
                      <a:pt x="0" y="205290"/>
                    </a:cubicBezTo>
                    <a:cubicBezTo>
                      <a:pt x="80331" y="145785"/>
                      <a:pt x="74380" y="56529"/>
                      <a:pt x="65455" y="11901"/>
                    </a:cubicBezTo>
                    <a:cubicBezTo>
                      <a:pt x="77356" y="5950"/>
                      <a:pt x="89256" y="2975"/>
                      <a:pt x="101157" y="0"/>
                    </a:cubicBezTo>
                    <a:cubicBezTo>
                      <a:pt x="110083" y="50578"/>
                      <a:pt x="119008" y="160661"/>
                      <a:pt x="20827" y="235042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3E99F18F-615B-4C59-904E-938E86FB1C9C}"/>
                  </a:ext>
                </a:extLst>
              </p:cNvPr>
              <p:cNvSpPr/>
              <p:nvPr/>
            </p:nvSpPr>
            <p:spPr>
              <a:xfrm>
                <a:off x="11239180" y="9289963"/>
                <a:ext cx="118190" cy="240991"/>
              </a:xfrm>
              <a:custGeom>
                <a:avLst/>
                <a:gdLst>
                  <a:gd name="connsiteX0" fmla="*/ 37860 w 118190"/>
                  <a:gd name="connsiteY0" fmla="*/ 235041 h 240991"/>
                  <a:gd name="connsiteX1" fmla="*/ 2157 w 118190"/>
                  <a:gd name="connsiteY1" fmla="*/ 240992 h 240991"/>
                  <a:gd name="connsiteX2" fmla="*/ 94389 w 118190"/>
                  <a:gd name="connsiteY2" fmla="*/ 0 h 240991"/>
                  <a:gd name="connsiteX3" fmla="*/ 118190 w 118190"/>
                  <a:gd name="connsiteY3" fmla="*/ 29752 h 240991"/>
                  <a:gd name="connsiteX4" fmla="*/ 37860 w 118190"/>
                  <a:gd name="connsiteY4" fmla="*/ 235041 h 240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190" h="240991">
                    <a:moveTo>
                      <a:pt x="37860" y="235041"/>
                    </a:moveTo>
                    <a:cubicBezTo>
                      <a:pt x="25959" y="238017"/>
                      <a:pt x="14058" y="240992"/>
                      <a:pt x="2157" y="240992"/>
                    </a:cubicBezTo>
                    <a:cubicBezTo>
                      <a:pt x="-12719" y="133884"/>
                      <a:pt x="52736" y="44628"/>
                      <a:pt x="94389" y="0"/>
                    </a:cubicBezTo>
                    <a:cubicBezTo>
                      <a:pt x="103314" y="8925"/>
                      <a:pt x="112240" y="17851"/>
                      <a:pt x="118190" y="29752"/>
                    </a:cubicBezTo>
                    <a:cubicBezTo>
                      <a:pt x="79513" y="71405"/>
                      <a:pt x="25959" y="148760"/>
                      <a:pt x="37860" y="235041"/>
                    </a:cubicBezTo>
                    <a:close/>
                  </a:path>
                </a:pathLst>
              </a:custGeom>
              <a:solidFill>
                <a:srgbClr val="D16156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1" name="图形 1">
              <a:extLst>
                <a:ext uri="{FF2B5EF4-FFF2-40B4-BE49-F238E27FC236}">
                  <a16:creationId xmlns:a16="http://schemas.microsoft.com/office/drawing/2014/main" id="{0D72712A-AF7E-40B1-9835-D58AE46A96E9}"/>
                </a:ext>
              </a:extLst>
            </p:cNvPr>
            <p:cNvGrpSpPr/>
            <p:nvPr/>
          </p:nvGrpSpPr>
          <p:grpSpPr>
            <a:xfrm>
              <a:off x="10032076" y="9727570"/>
              <a:ext cx="186962" cy="237763"/>
              <a:chOff x="10032076" y="9727570"/>
              <a:chExt cx="186962" cy="237763"/>
            </a:xfrm>
          </p:grpSpPr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0E75261A-301B-4023-96A3-A0E392EDB7E9}"/>
                  </a:ext>
                </a:extLst>
              </p:cNvPr>
              <p:cNvSpPr/>
              <p:nvPr/>
            </p:nvSpPr>
            <p:spPr>
              <a:xfrm>
                <a:off x="10032076" y="9785781"/>
                <a:ext cx="163104" cy="170628"/>
              </a:xfrm>
              <a:custGeom>
                <a:avLst/>
                <a:gdLst>
                  <a:gd name="connsiteX0" fmla="*/ 161989 w 163104"/>
                  <a:gd name="connsiteY0" fmla="*/ 21868 h 170628"/>
                  <a:gd name="connsiteX1" fmla="*/ 40006 w 163104"/>
                  <a:gd name="connsiteY1" fmla="*/ 4016 h 170628"/>
                  <a:gd name="connsiteX2" fmla="*/ 1327 w 163104"/>
                  <a:gd name="connsiteY2" fmla="*/ 120049 h 170628"/>
                  <a:gd name="connsiteX3" fmla="*/ 78683 w 163104"/>
                  <a:gd name="connsiteY3" fmla="*/ 170628 h 170628"/>
                  <a:gd name="connsiteX4" fmla="*/ 114386 w 163104"/>
                  <a:gd name="connsiteY4" fmla="*/ 158728 h 170628"/>
                  <a:gd name="connsiteX5" fmla="*/ 123311 w 163104"/>
                  <a:gd name="connsiteY5" fmla="*/ 140876 h 170628"/>
                  <a:gd name="connsiteX6" fmla="*/ 135212 w 163104"/>
                  <a:gd name="connsiteY6" fmla="*/ 126000 h 170628"/>
                  <a:gd name="connsiteX7" fmla="*/ 138187 w 163104"/>
                  <a:gd name="connsiteY7" fmla="*/ 111124 h 170628"/>
                  <a:gd name="connsiteX8" fmla="*/ 147113 w 163104"/>
                  <a:gd name="connsiteY8" fmla="*/ 90297 h 170628"/>
                  <a:gd name="connsiteX9" fmla="*/ 156039 w 163104"/>
                  <a:gd name="connsiteY9" fmla="*/ 75421 h 170628"/>
                  <a:gd name="connsiteX10" fmla="*/ 153063 w 163104"/>
                  <a:gd name="connsiteY10" fmla="*/ 57571 h 170628"/>
                  <a:gd name="connsiteX11" fmla="*/ 161989 w 163104"/>
                  <a:gd name="connsiteY11" fmla="*/ 21868 h 170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3104" h="170628">
                    <a:moveTo>
                      <a:pt x="161989" y="21868"/>
                    </a:moveTo>
                    <a:cubicBezTo>
                      <a:pt x="159014" y="1041"/>
                      <a:pt x="93559" y="-4909"/>
                      <a:pt x="40006" y="4016"/>
                    </a:cubicBezTo>
                    <a:cubicBezTo>
                      <a:pt x="31080" y="4016"/>
                      <a:pt x="-7598" y="105173"/>
                      <a:pt x="1327" y="120049"/>
                    </a:cubicBezTo>
                    <a:cubicBezTo>
                      <a:pt x="16203" y="143851"/>
                      <a:pt x="66782" y="170628"/>
                      <a:pt x="78683" y="170628"/>
                    </a:cubicBezTo>
                    <a:cubicBezTo>
                      <a:pt x="93559" y="170628"/>
                      <a:pt x="105460" y="170628"/>
                      <a:pt x="114386" y="158728"/>
                    </a:cubicBezTo>
                    <a:cubicBezTo>
                      <a:pt x="123311" y="146827"/>
                      <a:pt x="117361" y="146827"/>
                      <a:pt x="123311" y="140876"/>
                    </a:cubicBezTo>
                    <a:cubicBezTo>
                      <a:pt x="126286" y="134925"/>
                      <a:pt x="132237" y="134925"/>
                      <a:pt x="135212" y="126000"/>
                    </a:cubicBezTo>
                    <a:cubicBezTo>
                      <a:pt x="138187" y="120049"/>
                      <a:pt x="135212" y="117075"/>
                      <a:pt x="138187" y="111124"/>
                    </a:cubicBezTo>
                    <a:cubicBezTo>
                      <a:pt x="141163" y="96248"/>
                      <a:pt x="135212" y="105173"/>
                      <a:pt x="147113" y="90297"/>
                    </a:cubicBezTo>
                    <a:cubicBezTo>
                      <a:pt x="150088" y="87323"/>
                      <a:pt x="153063" y="81372"/>
                      <a:pt x="156039" y="75421"/>
                    </a:cubicBezTo>
                    <a:cubicBezTo>
                      <a:pt x="156039" y="69471"/>
                      <a:pt x="156039" y="63521"/>
                      <a:pt x="153063" y="57571"/>
                    </a:cubicBezTo>
                    <a:cubicBezTo>
                      <a:pt x="161989" y="51620"/>
                      <a:pt x="164964" y="36744"/>
                      <a:pt x="161989" y="21868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5EF50401-398B-40AA-8B59-A8E6781DDC92}"/>
                  </a:ext>
                </a:extLst>
              </p:cNvPr>
              <p:cNvSpPr/>
              <p:nvPr/>
            </p:nvSpPr>
            <p:spPr>
              <a:xfrm>
                <a:off x="10062212" y="9727570"/>
                <a:ext cx="156826" cy="87195"/>
              </a:xfrm>
              <a:custGeom>
                <a:avLst/>
                <a:gdLst>
                  <a:gd name="connsiteX0" fmla="*/ 149703 w 156826"/>
                  <a:gd name="connsiteY0" fmla="*/ 20574 h 87195"/>
                  <a:gd name="connsiteX1" fmla="*/ 84249 w 156826"/>
                  <a:gd name="connsiteY1" fmla="*/ 2722 h 87195"/>
                  <a:gd name="connsiteX2" fmla="*/ 943 w 156826"/>
                  <a:gd name="connsiteY2" fmla="*/ 62227 h 87195"/>
                  <a:gd name="connsiteX3" fmla="*/ 27721 w 156826"/>
                  <a:gd name="connsiteY3" fmla="*/ 80078 h 87195"/>
                  <a:gd name="connsiteX4" fmla="*/ 42597 w 156826"/>
                  <a:gd name="connsiteY4" fmla="*/ 86029 h 87195"/>
                  <a:gd name="connsiteX5" fmla="*/ 72349 w 156826"/>
                  <a:gd name="connsiteY5" fmla="*/ 74127 h 87195"/>
                  <a:gd name="connsiteX6" fmla="*/ 99125 w 156826"/>
                  <a:gd name="connsiteY6" fmla="*/ 53301 h 87195"/>
                  <a:gd name="connsiteX7" fmla="*/ 125902 w 156826"/>
                  <a:gd name="connsiteY7" fmla="*/ 53301 h 87195"/>
                  <a:gd name="connsiteX8" fmla="*/ 152679 w 156826"/>
                  <a:gd name="connsiteY8" fmla="*/ 44375 h 87195"/>
                  <a:gd name="connsiteX9" fmla="*/ 149703 w 156826"/>
                  <a:gd name="connsiteY9" fmla="*/ 20574 h 87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6826" h="87195">
                    <a:moveTo>
                      <a:pt x="149703" y="20574"/>
                    </a:moveTo>
                    <a:cubicBezTo>
                      <a:pt x="128877" y="8673"/>
                      <a:pt x="108051" y="-6203"/>
                      <a:pt x="84249" y="2722"/>
                    </a:cubicBezTo>
                    <a:cubicBezTo>
                      <a:pt x="57473" y="11649"/>
                      <a:pt x="18794" y="35450"/>
                      <a:pt x="943" y="62227"/>
                    </a:cubicBezTo>
                    <a:cubicBezTo>
                      <a:pt x="-5007" y="71153"/>
                      <a:pt x="18794" y="77103"/>
                      <a:pt x="27721" y="80078"/>
                    </a:cubicBezTo>
                    <a:cubicBezTo>
                      <a:pt x="30695" y="86029"/>
                      <a:pt x="36646" y="89003"/>
                      <a:pt x="42597" y="86029"/>
                    </a:cubicBezTo>
                    <a:cubicBezTo>
                      <a:pt x="51522" y="83053"/>
                      <a:pt x="63423" y="80078"/>
                      <a:pt x="72349" y="74127"/>
                    </a:cubicBezTo>
                    <a:cubicBezTo>
                      <a:pt x="81274" y="68177"/>
                      <a:pt x="90199" y="56277"/>
                      <a:pt x="99125" y="53301"/>
                    </a:cubicBezTo>
                    <a:cubicBezTo>
                      <a:pt x="108051" y="50326"/>
                      <a:pt x="116977" y="53301"/>
                      <a:pt x="125902" y="53301"/>
                    </a:cubicBezTo>
                    <a:cubicBezTo>
                      <a:pt x="134827" y="53301"/>
                      <a:pt x="143753" y="50326"/>
                      <a:pt x="152679" y="44375"/>
                    </a:cubicBezTo>
                    <a:cubicBezTo>
                      <a:pt x="158629" y="38425"/>
                      <a:pt x="158629" y="26525"/>
                      <a:pt x="149703" y="20574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5EB1EB2C-DDE5-4357-97C3-DE501194553C}"/>
                  </a:ext>
                </a:extLst>
              </p:cNvPr>
              <p:cNvSpPr/>
              <p:nvPr/>
            </p:nvSpPr>
            <p:spPr>
              <a:xfrm>
                <a:off x="10040098" y="9780872"/>
                <a:ext cx="166983" cy="184462"/>
              </a:xfrm>
              <a:custGeom>
                <a:avLst/>
                <a:gdLst>
                  <a:gd name="connsiteX0" fmla="*/ 79587 w 166983"/>
                  <a:gd name="connsiteY0" fmla="*/ 184462 h 184462"/>
                  <a:gd name="connsiteX1" fmla="*/ 70661 w 166983"/>
                  <a:gd name="connsiteY1" fmla="*/ 184462 h 184462"/>
                  <a:gd name="connsiteX2" fmla="*/ 2232 w 166983"/>
                  <a:gd name="connsiteY2" fmla="*/ 145785 h 184462"/>
                  <a:gd name="connsiteX3" fmla="*/ 2232 w 166983"/>
                  <a:gd name="connsiteY3" fmla="*/ 136860 h 184462"/>
                  <a:gd name="connsiteX4" fmla="*/ 11157 w 166983"/>
                  <a:gd name="connsiteY4" fmla="*/ 136860 h 184462"/>
                  <a:gd name="connsiteX5" fmla="*/ 73636 w 166983"/>
                  <a:gd name="connsiteY5" fmla="*/ 172562 h 184462"/>
                  <a:gd name="connsiteX6" fmla="*/ 112314 w 166983"/>
                  <a:gd name="connsiteY6" fmla="*/ 145785 h 184462"/>
                  <a:gd name="connsiteX7" fmla="*/ 115289 w 166983"/>
                  <a:gd name="connsiteY7" fmla="*/ 142810 h 184462"/>
                  <a:gd name="connsiteX8" fmla="*/ 127190 w 166983"/>
                  <a:gd name="connsiteY8" fmla="*/ 133884 h 184462"/>
                  <a:gd name="connsiteX9" fmla="*/ 127190 w 166983"/>
                  <a:gd name="connsiteY9" fmla="*/ 113057 h 184462"/>
                  <a:gd name="connsiteX10" fmla="*/ 130165 w 166983"/>
                  <a:gd name="connsiteY10" fmla="*/ 107108 h 184462"/>
                  <a:gd name="connsiteX11" fmla="*/ 145041 w 166983"/>
                  <a:gd name="connsiteY11" fmla="*/ 86281 h 184462"/>
                  <a:gd name="connsiteX12" fmla="*/ 142066 w 166983"/>
                  <a:gd name="connsiteY12" fmla="*/ 71405 h 184462"/>
                  <a:gd name="connsiteX13" fmla="*/ 142066 w 166983"/>
                  <a:gd name="connsiteY13" fmla="*/ 65454 h 184462"/>
                  <a:gd name="connsiteX14" fmla="*/ 145041 w 166983"/>
                  <a:gd name="connsiteY14" fmla="*/ 62480 h 184462"/>
                  <a:gd name="connsiteX15" fmla="*/ 153967 w 166983"/>
                  <a:gd name="connsiteY15" fmla="*/ 47603 h 184462"/>
                  <a:gd name="connsiteX16" fmla="*/ 148016 w 166983"/>
                  <a:gd name="connsiteY16" fmla="*/ 23801 h 184462"/>
                  <a:gd name="connsiteX17" fmla="*/ 70661 w 166983"/>
                  <a:gd name="connsiteY17" fmla="*/ 11901 h 184462"/>
                  <a:gd name="connsiteX18" fmla="*/ 64711 w 166983"/>
                  <a:gd name="connsiteY18" fmla="*/ 5950 h 184462"/>
                  <a:gd name="connsiteX19" fmla="*/ 70661 w 166983"/>
                  <a:gd name="connsiteY19" fmla="*/ 0 h 184462"/>
                  <a:gd name="connsiteX20" fmla="*/ 70661 w 166983"/>
                  <a:gd name="connsiteY20" fmla="*/ 0 h 184462"/>
                  <a:gd name="connsiteX21" fmla="*/ 156942 w 166983"/>
                  <a:gd name="connsiteY21" fmla="*/ 14876 h 184462"/>
                  <a:gd name="connsiteX22" fmla="*/ 165868 w 166983"/>
                  <a:gd name="connsiteY22" fmla="*/ 47603 h 184462"/>
                  <a:gd name="connsiteX23" fmla="*/ 153967 w 166983"/>
                  <a:gd name="connsiteY23" fmla="*/ 65454 h 184462"/>
                  <a:gd name="connsiteX24" fmla="*/ 156942 w 166983"/>
                  <a:gd name="connsiteY24" fmla="*/ 83305 h 184462"/>
                  <a:gd name="connsiteX25" fmla="*/ 139091 w 166983"/>
                  <a:gd name="connsiteY25" fmla="*/ 110082 h 184462"/>
                  <a:gd name="connsiteX26" fmla="*/ 139091 w 166983"/>
                  <a:gd name="connsiteY26" fmla="*/ 133884 h 184462"/>
                  <a:gd name="connsiteX27" fmla="*/ 121240 w 166983"/>
                  <a:gd name="connsiteY27" fmla="*/ 148760 h 184462"/>
                  <a:gd name="connsiteX28" fmla="*/ 79587 w 166983"/>
                  <a:gd name="connsiteY28" fmla="*/ 184462 h 184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66983" h="184462">
                    <a:moveTo>
                      <a:pt x="79587" y="184462"/>
                    </a:moveTo>
                    <a:cubicBezTo>
                      <a:pt x="76612" y="184462"/>
                      <a:pt x="73636" y="184462"/>
                      <a:pt x="70661" y="184462"/>
                    </a:cubicBezTo>
                    <a:cubicBezTo>
                      <a:pt x="34959" y="178512"/>
                      <a:pt x="5207" y="145785"/>
                      <a:pt x="2232" y="145785"/>
                    </a:cubicBezTo>
                    <a:cubicBezTo>
                      <a:pt x="-744" y="142810"/>
                      <a:pt x="-744" y="139834"/>
                      <a:pt x="2232" y="136860"/>
                    </a:cubicBezTo>
                    <a:cubicBezTo>
                      <a:pt x="5207" y="133884"/>
                      <a:pt x="8181" y="133884"/>
                      <a:pt x="11157" y="136860"/>
                    </a:cubicBezTo>
                    <a:cubicBezTo>
                      <a:pt x="11157" y="136860"/>
                      <a:pt x="40909" y="166612"/>
                      <a:pt x="73636" y="172562"/>
                    </a:cubicBezTo>
                    <a:cubicBezTo>
                      <a:pt x="103388" y="178512"/>
                      <a:pt x="112314" y="148760"/>
                      <a:pt x="112314" y="145785"/>
                    </a:cubicBezTo>
                    <a:cubicBezTo>
                      <a:pt x="112314" y="142810"/>
                      <a:pt x="115289" y="142810"/>
                      <a:pt x="115289" y="142810"/>
                    </a:cubicBezTo>
                    <a:cubicBezTo>
                      <a:pt x="121240" y="139834"/>
                      <a:pt x="127190" y="136860"/>
                      <a:pt x="127190" y="133884"/>
                    </a:cubicBezTo>
                    <a:cubicBezTo>
                      <a:pt x="130165" y="124958"/>
                      <a:pt x="127190" y="116033"/>
                      <a:pt x="127190" y="113057"/>
                    </a:cubicBezTo>
                    <a:cubicBezTo>
                      <a:pt x="127190" y="110082"/>
                      <a:pt x="127190" y="107108"/>
                      <a:pt x="130165" y="107108"/>
                    </a:cubicBezTo>
                    <a:cubicBezTo>
                      <a:pt x="139091" y="101157"/>
                      <a:pt x="145041" y="92232"/>
                      <a:pt x="145041" y="86281"/>
                    </a:cubicBezTo>
                    <a:cubicBezTo>
                      <a:pt x="145041" y="77356"/>
                      <a:pt x="142066" y="71405"/>
                      <a:pt x="142066" y="71405"/>
                    </a:cubicBezTo>
                    <a:cubicBezTo>
                      <a:pt x="142066" y="71405"/>
                      <a:pt x="142066" y="68429"/>
                      <a:pt x="142066" y="65454"/>
                    </a:cubicBezTo>
                    <a:cubicBezTo>
                      <a:pt x="142066" y="62480"/>
                      <a:pt x="145041" y="62480"/>
                      <a:pt x="145041" y="62480"/>
                    </a:cubicBezTo>
                    <a:cubicBezTo>
                      <a:pt x="148016" y="59504"/>
                      <a:pt x="153967" y="56529"/>
                      <a:pt x="153967" y="47603"/>
                    </a:cubicBezTo>
                    <a:cubicBezTo>
                      <a:pt x="156942" y="38677"/>
                      <a:pt x="153967" y="29752"/>
                      <a:pt x="148016" y="23801"/>
                    </a:cubicBezTo>
                    <a:cubicBezTo>
                      <a:pt x="139091" y="14876"/>
                      <a:pt x="97438" y="11901"/>
                      <a:pt x="70661" y="11901"/>
                    </a:cubicBezTo>
                    <a:cubicBezTo>
                      <a:pt x="67686" y="11901"/>
                      <a:pt x="64711" y="8925"/>
                      <a:pt x="64711" y="5950"/>
                    </a:cubicBezTo>
                    <a:cubicBezTo>
                      <a:pt x="64711" y="2975"/>
                      <a:pt x="67686" y="0"/>
                      <a:pt x="70661" y="0"/>
                    </a:cubicBezTo>
                    <a:cubicBezTo>
                      <a:pt x="70661" y="0"/>
                      <a:pt x="70661" y="0"/>
                      <a:pt x="70661" y="0"/>
                    </a:cubicBezTo>
                    <a:cubicBezTo>
                      <a:pt x="82562" y="0"/>
                      <a:pt x="142066" y="2975"/>
                      <a:pt x="156942" y="14876"/>
                    </a:cubicBezTo>
                    <a:cubicBezTo>
                      <a:pt x="165868" y="23801"/>
                      <a:pt x="168843" y="35702"/>
                      <a:pt x="165868" y="47603"/>
                    </a:cubicBezTo>
                    <a:cubicBezTo>
                      <a:pt x="162893" y="56529"/>
                      <a:pt x="159917" y="62480"/>
                      <a:pt x="153967" y="65454"/>
                    </a:cubicBezTo>
                    <a:cubicBezTo>
                      <a:pt x="156942" y="68429"/>
                      <a:pt x="156942" y="77356"/>
                      <a:pt x="156942" y="83305"/>
                    </a:cubicBezTo>
                    <a:cubicBezTo>
                      <a:pt x="156942" y="92232"/>
                      <a:pt x="150992" y="101157"/>
                      <a:pt x="139091" y="110082"/>
                    </a:cubicBezTo>
                    <a:cubicBezTo>
                      <a:pt x="142066" y="116033"/>
                      <a:pt x="142066" y="124958"/>
                      <a:pt x="139091" y="133884"/>
                    </a:cubicBezTo>
                    <a:cubicBezTo>
                      <a:pt x="136116" y="139834"/>
                      <a:pt x="130165" y="145785"/>
                      <a:pt x="121240" y="148760"/>
                    </a:cubicBezTo>
                    <a:cubicBezTo>
                      <a:pt x="118264" y="166612"/>
                      <a:pt x="103388" y="184462"/>
                      <a:pt x="79587" y="184462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B7116EB5-4A9E-4542-8A4A-2C2B12E466E9}"/>
                </a:ext>
              </a:extLst>
            </p:cNvPr>
            <p:cNvSpPr/>
            <p:nvPr/>
          </p:nvSpPr>
          <p:spPr>
            <a:xfrm>
              <a:off x="8941503" y="9224508"/>
              <a:ext cx="1172231" cy="705124"/>
            </a:xfrm>
            <a:custGeom>
              <a:avLst/>
              <a:gdLst>
                <a:gd name="connsiteX0" fmla="*/ 258843 w 1172231"/>
                <a:gd name="connsiteY0" fmla="*/ 0 h 705124"/>
                <a:gd name="connsiteX1" fmla="*/ 639669 w 1172231"/>
                <a:gd name="connsiteY1" fmla="*/ 336199 h 705124"/>
                <a:gd name="connsiteX2" fmla="*/ 1172231 w 1172231"/>
                <a:gd name="connsiteY2" fmla="*/ 568265 h 705124"/>
                <a:gd name="connsiteX3" fmla="*/ 1130579 w 1172231"/>
                <a:gd name="connsiteY3" fmla="*/ 705124 h 705124"/>
                <a:gd name="connsiteX4" fmla="*/ 467107 w 1172231"/>
                <a:gd name="connsiteY4" fmla="*/ 508761 h 705124"/>
                <a:gd name="connsiteX5" fmla="*/ 0 w 1172231"/>
                <a:gd name="connsiteY5" fmla="*/ 41653 h 705124"/>
                <a:gd name="connsiteX6" fmla="*/ 258843 w 1172231"/>
                <a:gd name="connsiteY6" fmla="*/ 0 h 70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72231" h="705124">
                  <a:moveTo>
                    <a:pt x="258843" y="0"/>
                  </a:moveTo>
                  <a:lnTo>
                    <a:pt x="639669" y="336199"/>
                  </a:lnTo>
                  <a:lnTo>
                    <a:pt x="1172231" y="568265"/>
                  </a:lnTo>
                  <a:lnTo>
                    <a:pt x="1130579" y="705124"/>
                  </a:lnTo>
                  <a:cubicBezTo>
                    <a:pt x="1130579" y="705124"/>
                    <a:pt x="571240" y="553389"/>
                    <a:pt x="467107" y="508761"/>
                  </a:cubicBezTo>
                  <a:cubicBezTo>
                    <a:pt x="362975" y="461157"/>
                    <a:pt x="0" y="41653"/>
                    <a:pt x="0" y="41653"/>
                  </a:cubicBezTo>
                  <a:lnTo>
                    <a:pt x="258843" y="0"/>
                  </a:ln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BBC445F9-F54C-4AE4-B264-B8B7DA166312}"/>
                </a:ext>
              </a:extLst>
            </p:cNvPr>
            <p:cNvSpPr/>
            <p:nvPr/>
          </p:nvSpPr>
          <p:spPr>
            <a:xfrm>
              <a:off x="9177288" y="9201450"/>
              <a:ext cx="936446" cy="591322"/>
            </a:xfrm>
            <a:custGeom>
              <a:avLst/>
              <a:gdLst>
                <a:gd name="connsiteX0" fmla="*/ 930495 w 936446"/>
                <a:gd name="connsiteY0" fmla="*/ 591322 h 591322"/>
                <a:gd name="connsiteX1" fmla="*/ 930495 w 936446"/>
                <a:gd name="connsiteY1" fmla="*/ 591322 h 591322"/>
                <a:gd name="connsiteX2" fmla="*/ 400909 w 936446"/>
                <a:gd name="connsiteY2" fmla="*/ 365206 h 591322"/>
                <a:gd name="connsiteX3" fmla="*/ 397934 w 936446"/>
                <a:gd name="connsiteY3" fmla="*/ 365206 h 591322"/>
                <a:gd name="connsiteX4" fmla="*/ 2232 w 936446"/>
                <a:gd name="connsiteY4" fmla="*/ 11157 h 591322"/>
                <a:gd name="connsiteX5" fmla="*/ 2232 w 936446"/>
                <a:gd name="connsiteY5" fmla="*/ 2231 h 591322"/>
                <a:gd name="connsiteX6" fmla="*/ 11157 w 936446"/>
                <a:gd name="connsiteY6" fmla="*/ 2231 h 591322"/>
                <a:gd name="connsiteX7" fmla="*/ 406859 w 936446"/>
                <a:gd name="connsiteY7" fmla="*/ 356281 h 591322"/>
                <a:gd name="connsiteX8" fmla="*/ 933471 w 936446"/>
                <a:gd name="connsiteY8" fmla="*/ 582397 h 591322"/>
                <a:gd name="connsiteX9" fmla="*/ 936446 w 936446"/>
                <a:gd name="connsiteY9" fmla="*/ 591322 h 591322"/>
                <a:gd name="connsiteX10" fmla="*/ 930495 w 936446"/>
                <a:gd name="connsiteY10" fmla="*/ 591322 h 591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36446" h="591322">
                  <a:moveTo>
                    <a:pt x="930495" y="591322"/>
                  </a:moveTo>
                  <a:cubicBezTo>
                    <a:pt x="930495" y="591322"/>
                    <a:pt x="930495" y="591322"/>
                    <a:pt x="930495" y="591322"/>
                  </a:cubicBezTo>
                  <a:cubicBezTo>
                    <a:pt x="680578" y="487190"/>
                    <a:pt x="403884" y="365206"/>
                    <a:pt x="400909" y="365206"/>
                  </a:cubicBezTo>
                  <a:cubicBezTo>
                    <a:pt x="400909" y="365206"/>
                    <a:pt x="400909" y="365206"/>
                    <a:pt x="397934" y="365206"/>
                  </a:cubicBezTo>
                  <a:cubicBezTo>
                    <a:pt x="317603" y="293802"/>
                    <a:pt x="5206" y="14132"/>
                    <a:pt x="2232" y="11157"/>
                  </a:cubicBezTo>
                  <a:cubicBezTo>
                    <a:pt x="-744" y="8182"/>
                    <a:pt x="-744" y="5207"/>
                    <a:pt x="2232" y="2231"/>
                  </a:cubicBezTo>
                  <a:cubicBezTo>
                    <a:pt x="5206" y="-744"/>
                    <a:pt x="8182" y="-744"/>
                    <a:pt x="11157" y="2231"/>
                  </a:cubicBezTo>
                  <a:cubicBezTo>
                    <a:pt x="14132" y="5207"/>
                    <a:pt x="323554" y="284876"/>
                    <a:pt x="406859" y="356281"/>
                  </a:cubicBezTo>
                  <a:cubicBezTo>
                    <a:pt x="424711" y="365206"/>
                    <a:pt x="692479" y="481239"/>
                    <a:pt x="933471" y="582397"/>
                  </a:cubicBezTo>
                  <a:cubicBezTo>
                    <a:pt x="936446" y="582397"/>
                    <a:pt x="936446" y="588347"/>
                    <a:pt x="936446" y="591322"/>
                  </a:cubicBezTo>
                  <a:cubicBezTo>
                    <a:pt x="936446" y="588347"/>
                    <a:pt x="933471" y="591322"/>
                    <a:pt x="930495" y="591322"/>
                  </a:cubicBezTo>
                  <a:close/>
                </a:path>
              </a:pathLst>
            </a:custGeom>
            <a:solidFill>
              <a:srgbClr val="E58777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58F5DDA5-BD7B-48CA-B6A8-D9A3AB708818}"/>
                </a:ext>
              </a:extLst>
            </p:cNvPr>
            <p:cNvSpPr/>
            <p:nvPr/>
          </p:nvSpPr>
          <p:spPr>
            <a:xfrm>
              <a:off x="8907884" y="9022416"/>
              <a:ext cx="402544" cy="452008"/>
            </a:xfrm>
            <a:custGeom>
              <a:avLst/>
              <a:gdLst>
                <a:gd name="connsiteX0" fmla="*/ 110974 w 402544"/>
                <a:gd name="connsiteY0" fmla="*/ 452009 h 452008"/>
                <a:gd name="connsiteX1" fmla="*/ 24693 w 402544"/>
                <a:gd name="connsiteY1" fmla="*/ 23579 h 452008"/>
                <a:gd name="connsiteX2" fmla="*/ 402545 w 402544"/>
                <a:gd name="connsiteY2" fmla="*/ 234819 h 452008"/>
                <a:gd name="connsiteX3" fmla="*/ 110974 w 402544"/>
                <a:gd name="connsiteY3" fmla="*/ 452009 h 452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544" h="452008">
                  <a:moveTo>
                    <a:pt x="110974" y="452009"/>
                  </a:moveTo>
                  <a:cubicBezTo>
                    <a:pt x="6842" y="306224"/>
                    <a:pt x="-28860" y="80108"/>
                    <a:pt x="24693" y="23579"/>
                  </a:cubicBezTo>
                  <a:cubicBezTo>
                    <a:pt x="93123" y="-50801"/>
                    <a:pt x="301388" y="59282"/>
                    <a:pt x="402545" y="234819"/>
                  </a:cubicBezTo>
                  <a:cubicBezTo>
                    <a:pt x="366842" y="300274"/>
                    <a:pt x="206181" y="422257"/>
                    <a:pt x="110974" y="452009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089E97B6-4A6D-4B97-BE4C-A6ED6BBB8D0D}"/>
                </a:ext>
              </a:extLst>
            </p:cNvPr>
            <p:cNvSpPr/>
            <p:nvPr/>
          </p:nvSpPr>
          <p:spPr>
            <a:xfrm>
              <a:off x="8935552" y="9012439"/>
              <a:ext cx="377851" cy="354879"/>
            </a:xfrm>
            <a:custGeom>
              <a:avLst/>
              <a:gdLst>
                <a:gd name="connsiteX0" fmla="*/ 273719 w 377851"/>
                <a:gd name="connsiteY0" fmla="*/ 354879 h 354879"/>
                <a:gd name="connsiteX1" fmla="*/ 267769 w 377851"/>
                <a:gd name="connsiteY1" fmla="*/ 351904 h 354879"/>
                <a:gd name="connsiteX2" fmla="*/ 267769 w 377851"/>
                <a:gd name="connsiteY2" fmla="*/ 342978 h 354879"/>
                <a:gd name="connsiteX3" fmla="*/ 365951 w 377851"/>
                <a:gd name="connsiteY3" fmla="*/ 241821 h 354879"/>
                <a:gd name="connsiteX4" fmla="*/ 160661 w 377851"/>
                <a:gd name="connsiteY4" fmla="*/ 42482 h 354879"/>
                <a:gd name="connsiteX5" fmla="*/ 151736 w 377851"/>
                <a:gd name="connsiteY5" fmla="*/ 39507 h 354879"/>
                <a:gd name="connsiteX6" fmla="*/ 8926 w 377851"/>
                <a:gd name="connsiteY6" fmla="*/ 24631 h 354879"/>
                <a:gd name="connsiteX7" fmla="*/ 0 w 377851"/>
                <a:gd name="connsiteY7" fmla="*/ 21656 h 354879"/>
                <a:gd name="connsiteX8" fmla="*/ 2975 w 377851"/>
                <a:gd name="connsiteY8" fmla="*/ 12730 h 354879"/>
                <a:gd name="connsiteX9" fmla="*/ 157686 w 377851"/>
                <a:gd name="connsiteY9" fmla="*/ 27606 h 354879"/>
                <a:gd name="connsiteX10" fmla="*/ 166612 w 377851"/>
                <a:gd name="connsiteY10" fmla="*/ 30582 h 354879"/>
                <a:gd name="connsiteX11" fmla="*/ 377852 w 377851"/>
                <a:gd name="connsiteY11" fmla="*/ 235871 h 354879"/>
                <a:gd name="connsiteX12" fmla="*/ 377852 w 377851"/>
                <a:gd name="connsiteY12" fmla="*/ 238846 h 354879"/>
                <a:gd name="connsiteX13" fmla="*/ 377852 w 377851"/>
                <a:gd name="connsiteY13" fmla="*/ 241821 h 354879"/>
                <a:gd name="connsiteX14" fmla="*/ 273719 w 377851"/>
                <a:gd name="connsiteY14" fmla="*/ 348929 h 354879"/>
                <a:gd name="connsiteX15" fmla="*/ 273719 w 377851"/>
                <a:gd name="connsiteY15" fmla="*/ 354879 h 354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7851" h="354879">
                  <a:moveTo>
                    <a:pt x="273719" y="354879"/>
                  </a:moveTo>
                  <a:cubicBezTo>
                    <a:pt x="270744" y="354879"/>
                    <a:pt x="270744" y="354879"/>
                    <a:pt x="267769" y="351904"/>
                  </a:cubicBezTo>
                  <a:cubicBezTo>
                    <a:pt x="264794" y="348929"/>
                    <a:pt x="267769" y="345953"/>
                    <a:pt x="267769" y="342978"/>
                  </a:cubicBezTo>
                  <a:cubicBezTo>
                    <a:pt x="327273" y="301325"/>
                    <a:pt x="354050" y="265623"/>
                    <a:pt x="365951" y="241821"/>
                  </a:cubicBezTo>
                  <a:cubicBezTo>
                    <a:pt x="351074" y="209094"/>
                    <a:pt x="252893" y="84135"/>
                    <a:pt x="160661" y="42482"/>
                  </a:cubicBezTo>
                  <a:cubicBezTo>
                    <a:pt x="157686" y="42482"/>
                    <a:pt x="154711" y="39507"/>
                    <a:pt x="151736" y="39507"/>
                  </a:cubicBezTo>
                  <a:cubicBezTo>
                    <a:pt x="121984" y="24631"/>
                    <a:pt x="59504" y="-2146"/>
                    <a:pt x="8926" y="24631"/>
                  </a:cubicBezTo>
                  <a:cubicBezTo>
                    <a:pt x="5951" y="24631"/>
                    <a:pt x="2975" y="24631"/>
                    <a:pt x="0" y="21656"/>
                  </a:cubicBezTo>
                  <a:cubicBezTo>
                    <a:pt x="0" y="18681"/>
                    <a:pt x="0" y="15706"/>
                    <a:pt x="2975" y="12730"/>
                  </a:cubicBezTo>
                  <a:cubicBezTo>
                    <a:pt x="59504" y="-17022"/>
                    <a:pt x="124959" y="12730"/>
                    <a:pt x="157686" y="27606"/>
                  </a:cubicBezTo>
                  <a:cubicBezTo>
                    <a:pt x="160661" y="27606"/>
                    <a:pt x="163636" y="30582"/>
                    <a:pt x="166612" y="30582"/>
                  </a:cubicBezTo>
                  <a:cubicBezTo>
                    <a:pt x="261818" y="72234"/>
                    <a:pt x="365951" y="206119"/>
                    <a:pt x="377852" y="235871"/>
                  </a:cubicBezTo>
                  <a:lnTo>
                    <a:pt x="377852" y="238846"/>
                  </a:lnTo>
                  <a:lnTo>
                    <a:pt x="377852" y="241821"/>
                  </a:lnTo>
                  <a:cubicBezTo>
                    <a:pt x="365951" y="265623"/>
                    <a:pt x="336198" y="307276"/>
                    <a:pt x="273719" y="348929"/>
                  </a:cubicBezTo>
                  <a:cubicBezTo>
                    <a:pt x="273719" y="354879"/>
                    <a:pt x="273719" y="354879"/>
                    <a:pt x="273719" y="354879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A8C51A17-1111-417F-B620-203A2591E77F}"/>
                </a:ext>
              </a:extLst>
            </p:cNvPr>
            <p:cNvSpPr/>
            <p:nvPr/>
          </p:nvSpPr>
          <p:spPr>
            <a:xfrm>
              <a:off x="9358032" y="11795086"/>
              <a:ext cx="258842" cy="612892"/>
            </a:xfrm>
            <a:custGeom>
              <a:avLst/>
              <a:gdLst>
                <a:gd name="connsiteX0" fmla="*/ 35702 w 258842"/>
                <a:gd name="connsiteY0" fmla="*/ 577191 h 612892"/>
                <a:gd name="connsiteX1" fmla="*/ 0 w 258842"/>
                <a:gd name="connsiteY1" fmla="*/ 17851 h 612892"/>
                <a:gd name="connsiteX2" fmla="*/ 258843 w 258842"/>
                <a:gd name="connsiteY2" fmla="*/ 0 h 612892"/>
                <a:gd name="connsiteX3" fmla="*/ 190413 w 258842"/>
                <a:gd name="connsiteY3" fmla="*/ 612893 h 612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8842" h="612892">
                  <a:moveTo>
                    <a:pt x="35702" y="577191"/>
                  </a:moveTo>
                  <a:lnTo>
                    <a:pt x="0" y="17851"/>
                  </a:lnTo>
                  <a:lnTo>
                    <a:pt x="258843" y="0"/>
                  </a:lnTo>
                  <a:lnTo>
                    <a:pt x="190413" y="612893"/>
                  </a:ln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7" name="图形 1">
              <a:extLst>
                <a:ext uri="{FF2B5EF4-FFF2-40B4-BE49-F238E27FC236}">
                  <a16:creationId xmlns:a16="http://schemas.microsoft.com/office/drawing/2014/main" id="{18F4B3B9-6CBB-47CC-A714-6C6FAE50F10B}"/>
                </a:ext>
              </a:extLst>
            </p:cNvPr>
            <p:cNvGrpSpPr/>
            <p:nvPr/>
          </p:nvGrpSpPr>
          <p:grpSpPr>
            <a:xfrm>
              <a:off x="9371030" y="12301615"/>
              <a:ext cx="433282" cy="207520"/>
              <a:chOff x="9371030" y="12301615"/>
              <a:chExt cx="433282" cy="207520"/>
            </a:xfrm>
          </p:grpSpPr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284ED5CE-D83B-4762-8FBC-6993C471C557}"/>
                  </a:ext>
                </a:extLst>
              </p:cNvPr>
              <p:cNvSpPr/>
              <p:nvPr/>
            </p:nvSpPr>
            <p:spPr>
              <a:xfrm>
                <a:off x="9371030" y="12312773"/>
                <a:ext cx="433282" cy="154710"/>
              </a:xfrm>
              <a:custGeom>
                <a:avLst/>
                <a:gdLst>
                  <a:gd name="connsiteX0" fmla="*/ 7828 w 433282"/>
                  <a:gd name="connsiteY0" fmla="*/ 44628 h 154710"/>
                  <a:gd name="connsiteX1" fmla="*/ 189315 w 433282"/>
                  <a:gd name="connsiteY1" fmla="*/ 0 h 154710"/>
                  <a:gd name="connsiteX2" fmla="*/ 320225 w 433282"/>
                  <a:gd name="connsiteY2" fmla="*/ 77355 h 154710"/>
                  <a:gd name="connsiteX3" fmla="*/ 433283 w 433282"/>
                  <a:gd name="connsiteY3" fmla="*/ 154710 h 154710"/>
                  <a:gd name="connsiteX4" fmla="*/ 10803 w 433282"/>
                  <a:gd name="connsiteY4" fmla="*/ 154710 h 154710"/>
                  <a:gd name="connsiteX5" fmla="*/ 7828 w 433282"/>
                  <a:gd name="connsiteY5" fmla="*/ 44628 h 154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3282" h="154710">
                    <a:moveTo>
                      <a:pt x="7828" y="44628"/>
                    </a:moveTo>
                    <a:cubicBezTo>
                      <a:pt x="7828" y="44628"/>
                      <a:pt x="129811" y="62479"/>
                      <a:pt x="189315" y="0"/>
                    </a:cubicBezTo>
                    <a:cubicBezTo>
                      <a:pt x="189315" y="0"/>
                      <a:pt x="275597" y="68429"/>
                      <a:pt x="320225" y="77355"/>
                    </a:cubicBezTo>
                    <a:cubicBezTo>
                      <a:pt x="364853" y="86281"/>
                      <a:pt x="418407" y="83305"/>
                      <a:pt x="433283" y="154710"/>
                    </a:cubicBezTo>
                    <a:lnTo>
                      <a:pt x="10803" y="154710"/>
                    </a:lnTo>
                    <a:cubicBezTo>
                      <a:pt x="7828" y="151735"/>
                      <a:pt x="-10023" y="92231"/>
                      <a:pt x="7828" y="44628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0A7EEE1E-C599-43C2-B22F-2A562FF9E0C8}"/>
                  </a:ext>
                </a:extLst>
              </p:cNvPr>
              <p:cNvSpPr/>
              <p:nvPr/>
            </p:nvSpPr>
            <p:spPr>
              <a:xfrm>
                <a:off x="9378858" y="12464508"/>
                <a:ext cx="422479" cy="44628"/>
              </a:xfrm>
              <a:custGeom>
                <a:avLst/>
                <a:gdLst>
                  <a:gd name="connsiteX0" fmla="*/ 0 w 422479"/>
                  <a:gd name="connsiteY0" fmla="*/ 0 h 44628"/>
                  <a:gd name="connsiteX1" fmla="*/ 422479 w 422479"/>
                  <a:gd name="connsiteY1" fmla="*/ 0 h 44628"/>
                  <a:gd name="connsiteX2" fmla="*/ 422479 w 422479"/>
                  <a:gd name="connsiteY2" fmla="*/ 44628 h 44628"/>
                  <a:gd name="connsiteX3" fmla="*/ 0 w 422479"/>
                  <a:gd name="connsiteY3" fmla="*/ 44628 h 4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479" h="44628">
                    <a:moveTo>
                      <a:pt x="0" y="0"/>
                    </a:moveTo>
                    <a:lnTo>
                      <a:pt x="422479" y="0"/>
                    </a:lnTo>
                    <a:lnTo>
                      <a:pt x="422479" y="44628"/>
                    </a:lnTo>
                    <a:lnTo>
                      <a:pt x="0" y="44628"/>
                    </a:lnTo>
                    <a:close/>
                  </a:path>
                </a:pathLst>
              </a:custGeom>
              <a:solidFill>
                <a:srgbClr val="38333D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806D8299-9EF8-4C2F-B5F1-DFB024FE3AF6}"/>
                  </a:ext>
                </a:extLst>
              </p:cNvPr>
              <p:cNvSpPr/>
              <p:nvPr/>
            </p:nvSpPr>
            <p:spPr>
              <a:xfrm>
                <a:off x="9372908" y="12301615"/>
                <a:ext cx="195619" cy="61735"/>
              </a:xfrm>
              <a:custGeom>
                <a:avLst/>
                <a:gdLst>
                  <a:gd name="connsiteX0" fmla="*/ 41653 w 195619"/>
                  <a:gd name="connsiteY0" fmla="*/ 61736 h 61735"/>
                  <a:gd name="connsiteX1" fmla="*/ 5950 w 195619"/>
                  <a:gd name="connsiteY1" fmla="*/ 58760 h 61735"/>
                  <a:gd name="connsiteX2" fmla="*/ 0 w 195619"/>
                  <a:gd name="connsiteY2" fmla="*/ 52810 h 61735"/>
                  <a:gd name="connsiteX3" fmla="*/ 5950 w 195619"/>
                  <a:gd name="connsiteY3" fmla="*/ 46860 h 61735"/>
                  <a:gd name="connsiteX4" fmla="*/ 184463 w 195619"/>
                  <a:gd name="connsiteY4" fmla="*/ 2232 h 61735"/>
                  <a:gd name="connsiteX5" fmla="*/ 193388 w 195619"/>
                  <a:gd name="connsiteY5" fmla="*/ 2232 h 61735"/>
                  <a:gd name="connsiteX6" fmla="*/ 193388 w 195619"/>
                  <a:gd name="connsiteY6" fmla="*/ 11158 h 61735"/>
                  <a:gd name="connsiteX7" fmla="*/ 41653 w 195619"/>
                  <a:gd name="connsiteY7" fmla="*/ 61736 h 61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619" h="61735">
                    <a:moveTo>
                      <a:pt x="41653" y="61736"/>
                    </a:moveTo>
                    <a:cubicBezTo>
                      <a:pt x="20826" y="61736"/>
                      <a:pt x="8925" y="58760"/>
                      <a:pt x="5950" y="58760"/>
                    </a:cubicBezTo>
                    <a:cubicBezTo>
                      <a:pt x="2975" y="58760"/>
                      <a:pt x="0" y="55786"/>
                      <a:pt x="0" y="52810"/>
                    </a:cubicBezTo>
                    <a:cubicBezTo>
                      <a:pt x="0" y="49835"/>
                      <a:pt x="2975" y="46860"/>
                      <a:pt x="5950" y="46860"/>
                    </a:cubicBezTo>
                    <a:cubicBezTo>
                      <a:pt x="5950" y="46860"/>
                      <a:pt x="116033" y="61736"/>
                      <a:pt x="184463" y="2232"/>
                    </a:cubicBezTo>
                    <a:cubicBezTo>
                      <a:pt x="187438" y="-744"/>
                      <a:pt x="190413" y="-744"/>
                      <a:pt x="193388" y="2232"/>
                    </a:cubicBezTo>
                    <a:cubicBezTo>
                      <a:pt x="196363" y="5207"/>
                      <a:pt x="196363" y="8182"/>
                      <a:pt x="193388" y="11158"/>
                    </a:cubicBezTo>
                    <a:cubicBezTo>
                      <a:pt x="145785" y="55786"/>
                      <a:pt x="80330" y="61736"/>
                      <a:pt x="41653" y="6173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B225D32A-EC4A-4B7F-BEE0-BC6AF7620FB8}"/>
                  </a:ext>
                </a:extLst>
              </p:cNvPr>
              <p:cNvSpPr/>
              <p:nvPr/>
            </p:nvSpPr>
            <p:spPr>
              <a:xfrm>
                <a:off x="9564065" y="12328392"/>
                <a:ext cx="40165" cy="40909"/>
              </a:xfrm>
              <a:custGeom>
                <a:avLst/>
                <a:gdLst>
                  <a:gd name="connsiteX0" fmla="*/ 5206 w 40165"/>
                  <a:gd name="connsiteY0" fmla="*/ 40909 h 40909"/>
                  <a:gd name="connsiteX1" fmla="*/ 2232 w 40165"/>
                  <a:gd name="connsiteY1" fmla="*/ 37934 h 40909"/>
                  <a:gd name="connsiteX2" fmla="*/ 2232 w 40165"/>
                  <a:gd name="connsiteY2" fmla="*/ 29008 h 40909"/>
                  <a:gd name="connsiteX3" fmla="*/ 29008 w 40165"/>
                  <a:gd name="connsiteY3" fmla="*/ 2231 h 40909"/>
                  <a:gd name="connsiteX4" fmla="*/ 37934 w 40165"/>
                  <a:gd name="connsiteY4" fmla="*/ 2231 h 40909"/>
                  <a:gd name="connsiteX5" fmla="*/ 37934 w 40165"/>
                  <a:gd name="connsiteY5" fmla="*/ 11157 h 40909"/>
                  <a:gd name="connsiteX6" fmla="*/ 11157 w 40165"/>
                  <a:gd name="connsiteY6" fmla="*/ 37934 h 40909"/>
                  <a:gd name="connsiteX7" fmla="*/ 5206 w 40165"/>
                  <a:gd name="connsiteY7" fmla="*/ 40909 h 40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165" h="40909">
                    <a:moveTo>
                      <a:pt x="5206" y="40909"/>
                    </a:moveTo>
                    <a:cubicBezTo>
                      <a:pt x="5206" y="40909"/>
                      <a:pt x="2232" y="40909"/>
                      <a:pt x="2232" y="37934"/>
                    </a:cubicBezTo>
                    <a:cubicBezTo>
                      <a:pt x="-744" y="34958"/>
                      <a:pt x="-744" y="31983"/>
                      <a:pt x="2232" y="29008"/>
                    </a:cubicBezTo>
                    <a:lnTo>
                      <a:pt x="29008" y="2231"/>
                    </a:lnTo>
                    <a:cubicBezTo>
                      <a:pt x="31984" y="-744"/>
                      <a:pt x="34959" y="-744"/>
                      <a:pt x="37934" y="2231"/>
                    </a:cubicBezTo>
                    <a:cubicBezTo>
                      <a:pt x="40909" y="5206"/>
                      <a:pt x="40909" y="8182"/>
                      <a:pt x="37934" y="11157"/>
                    </a:cubicBezTo>
                    <a:lnTo>
                      <a:pt x="11157" y="37934"/>
                    </a:lnTo>
                    <a:cubicBezTo>
                      <a:pt x="8182" y="37934"/>
                      <a:pt x="8182" y="40909"/>
                      <a:pt x="5206" y="4090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C6367FFF-0644-44F3-BD43-55FDE1F68F28}"/>
                  </a:ext>
                </a:extLst>
              </p:cNvPr>
              <p:cNvSpPr/>
              <p:nvPr/>
            </p:nvSpPr>
            <p:spPr>
              <a:xfrm>
                <a:off x="9602742" y="12352194"/>
                <a:ext cx="40165" cy="40908"/>
              </a:xfrm>
              <a:custGeom>
                <a:avLst/>
                <a:gdLst>
                  <a:gd name="connsiteX0" fmla="*/ 5207 w 40165"/>
                  <a:gd name="connsiteY0" fmla="*/ 40909 h 40908"/>
                  <a:gd name="connsiteX1" fmla="*/ 2231 w 40165"/>
                  <a:gd name="connsiteY1" fmla="*/ 37933 h 40908"/>
                  <a:gd name="connsiteX2" fmla="*/ 2231 w 40165"/>
                  <a:gd name="connsiteY2" fmla="*/ 29008 h 40908"/>
                  <a:gd name="connsiteX3" fmla="*/ 29008 w 40165"/>
                  <a:gd name="connsiteY3" fmla="*/ 2232 h 40908"/>
                  <a:gd name="connsiteX4" fmla="*/ 37934 w 40165"/>
                  <a:gd name="connsiteY4" fmla="*/ 2232 h 40908"/>
                  <a:gd name="connsiteX5" fmla="*/ 37934 w 40165"/>
                  <a:gd name="connsiteY5" fmla="*/ 11157 h 40908"/>
                  <a:gd name="connsiteX6" fmla="*/ 11157 w 40165"/>
                  <a:gd name="connsiteY6" fmla="*/ 37933 h 40908"/>
                  <a:gd name="connsiteX7" fmla="*/ 5207 w 40165"/>
                  <a:gd name="connsiteY7" fmla="*/ 40909 h 40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165" h="40908">
                    <a:moveTo>
                      <a:pt x="5207" y="40909"/>
                    </a:moveTo>
                    <a:cubicBezTo>
                      <a:pt x="5207" y="40909"/>
                      <a:pt x="2231" y="40909"/>
                      <a:pt x="2231" y="37933"/>
                    </a:cubicBezTo>
                    <a:cubicBezTo>
                      <a:pt x="-744" y="34959"/>
                      <a:pt x="-744" y="31984"/>
                      <a:pt x="2231" y="29008"/>
                    </a:cubicBezTo>
                    <a:lnTo>
                      <a:pt x="29008" y="2232"/>
                    </a:lnTo>
                    <a:cubicBezTo>
                      <a:pt x="31983" y="-744"/>
                      <a:pt x="34959" y="-744"/>
                      <a:pt x="37934" y="2232"/>
                    </a:cubicBezTo>
                    <a:cubicBezTo>
                      <a:pt x="40909" y="5207"/>
                      <a:pt x="40909" y="8181"/>
                      <a:pt x="37934" y="11157"/>
                    </a:cubicBezTo>
                    <a:lnTo>
                      <a:pt x="11157" y="37933"/>
                    </a:lnTo>
                    <a:cubicBezTo>
                      <a:pt x="8182" y="40909"/>
                      <a:pt x="5207" y="40909"/>
                      <a:pt x="5207" y="4090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3ADFE226-D09E-44C3-8E1F-81EA2BE1FC7E}"/>
                </a:ext>
              </a:extLst>
            </p:cNvPr>
            <p:cNvSpPr/>
            <p:nvPr/>
          </p:nvSpPr>
          <p:spPr>
            <a:xfrm>
              <a:off x="8367288" y="11533268"/>
              <a:ext cx="639669" cy="553388"/>
            </a:xfrm>
            <a:custGeom>
              <a:avLst/>
              <a:gdLst>
                <a:gd name="connsiteX0" fmla="*/ 0 w 639669"/>
                <a:gd name="connsiteY0" fmla="*/ 440330 h 553388"/>
                <a:gd name="connsiteX1" fmla="*/ 458182 w 639669"/>
                <a:gd name="connsiteY1" fmla="*/ 0 h 553388"/>
                <a:gd name="connsiteX2" fmla="*/ 639669 w 639669"/>
                <a:gd name="connsiteY2" fmla="*/ 196364 h 553388"/>
                <a:gd name="connsiteX3" fmla="*/ 101157 w 639669"/>
                <a:gd name="connsiteY3" fmla="*/ 553389 h 553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9669" h="553388">
                  <a:moveTo>
                    <a:pt x="0" y="440330"/>
                  </a:moveTo>
                  <a:lnTo>
                    <a:pt x="458182" y="0"/>
                  </a:lnTo>
                  <a:lnTo>
                    <a:pt x="639669" y="196364"/>
                  </a:lnTo>
                  <a:lnTo>
                    <a:pt x="101157" y="553389"/>
                  </a:ln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9" name="图形 1">
              <a:extLst>
                <a:ext uri="{FF2B5EF4-FFF2-40B4-BE49-F238E27FC236}">
                  <a16:creationId xmlns:a16="http://schemas.microsoft.com/office/drawing/2014/main" id="{D4D356DA-FF7A-49A0-A390-F381D9057E3E}"/>
                </a:ext>
              </a:extLst>
            </p:cNvPr>
            <p:cNvGrpSpPr/>
            <p:nvPr/>
          </p:nvGrpSpPr>
          <p:grpSpPr>
            <a:xfrm>
              <a:off x="8255458" y="11928970"/>
              <a:ext cx="268966" cy="449482"/>
              <a:chOff x="8255458" y="11928970"/>
              <a:chExt cx="268966" cy="449482"/>
            </a:xfrm>
          </p:grpSpPr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18B814C1-2318-48E4-A335-A5656330753B}"/>
                  </a:ext>
                </a:extLst>
              </p:cNvPr>
              <p:cNvSpPr/>
              <p:nvPr/>
            </p:nvSpPr>
            <p:spPr>
              <a:xfrm>
                <a:off x="8295750" y="11934921"/>
                <a:ext cx="228674" cy="425454"/>
              </a:xfrm>
              <a:custGeom>
                <a:avLst/>
                <a:gdLst>
                  <a:gd name="connsiteX0" fmla="*/ 95339 w 228674"/>
                  <a:gd name="connsiteY0" fmla="*/ 0 h 425454"/>
                  <a:gd name="connsiteX1" fmla="*/ 220298 w 228674"/>
                  <a:gd name="connsiteY1" fmla="*/ 139835 h 425454"/>
                  <a:gd name="connsiteX2" fmla="*/ 211372 w 228674"/>
                  <a:gd name="connsiteY2" fmla="*/ 291570 h 425454"/>
                  <a:gd name="connsiteX3" fmla="*/ 196496 w 228674"/>
                  <a:gd name="connsiteY3" fmla="*/ 425454 h 425454"/>
                  <a:gd name="connsiteX4" fmla="*/ 132 w 228674"/>
                  <a:gd name="connsiteY4" fmla="*/ 50579 h 425454"/>
                  <a:gd name="connsiteX5" fmla="*/ 95339 w 228674"/>
                  <a:gd name="connsiteY5" fmla="*/ 0 h 425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674" h="425454">
                    <a:moveTo>
                      <a:pt x="95339" y="0"/>
                    </a:moveTo>
                    <a:cubicBezTo>
                      <a:pt x="95339" y="0"/>
                      <a:pt x="136992" y="116033"/>
                      <a:pt x="220298" y="139835"/>
                    </a:cubicBezTo>
                    <a:cubicBezTo>
                      <a:pt x="220298" y="139835"/>
                      <a:pt x="199472" y="246942"/>
                      <a:pt x="211372" y="291570"/>
                    </a:cubicBezTo>
                    <a:cubicBezTo>
                      <a:pt x="223273" y="333224"/>
                      <a:pt x="250050" y="380826"/>
                      <a:pt x="196496" y="425454"/>
                    </a:cubicBezTo>
                    <a:lnTo>
                      <a:pt x="132" y="50579"/>
                    </a:lnTo>
                    <a:cubicBezTo>
                      <a:pt x="-2842" y="50579"/>
                      <a:pt x="44761" y="5951"/>
                      <a:pt x="95339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D1196799-A5DF-440E-B221-BA90EC70ED5A}"/>
                  </a:ext>
                </a:extLst>
              </p:cNvPr>
              <p:cNvSpPr/>
              <p:nvPr/>
            </p:nvSpPr>
            <p:spPr>
              <a:xfrm rot="-1672782">
                <a:off x="8351644" y="11970072"/>
                <a:ext cx="44626" cy="422464"/>
              </a:xfrm>
              <a:custGeom>
                <a:avLst/>
                <a:gdLst>
                  <a:gd name="connsiteX0" fmla="*/ 0 w 44626"/>
                  <a:gd name="connsiteY0" fmla="*/ 0 h 422464"/>
                  <a:gd name="connsiteX1" fmla="*/ 44627 w 44626"/>
                  <a:gd name="connsiteY1" fmla="*/ 0 h 422464"/>
                  <a:gd name="connsiteX2" fmla="*/ 44627 w 44626"/>
                  <a:gd name="connsiteY2" fmla="*/ 422465 h 422464"/>
                  <a:gd name="connsiteX3" fmla="*/ 0 w 44626"/>
                  <a:gd name="connsiteY3" fmla="*/ 422465 h 422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26" h="422464">
                    <a:moveTo>
                      <a:pt x="0" y="0"/>
                    </a:moveTo>
                    <a:lnTo>
                      <a:pt x="44627" y="0"/>
                    </a:lnTo>
                    <a:lnTo>
                      <a:pt x="44627" y="422465"/>
                    </a:lnTo>
                    <a:lnTo>
                      <a:pt x="0" y="422465"/>
                    </a:lnTo>
                    <a:close/>
                  </a:path>
                </a:pathLst>
              </a:custGeom>
              <a:solidFill>
                <a:srgbClr val="38333D"/>
              </a:solidFill>
              <a:ln w="297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2AAEBE5C-D43F-4F1F-A10F-0EB5C560A693}"/>
                  </a:ext>
                </a:extLst>
              </p:cNvPr>
              <p:cNvSpPr/>
              <p:nvPr/>
            </p:nvSpPr>
            <p:spPr>
              <a:xfrm>
                <a:off x="8385139" y="11928970"/>
                <a:ext cx="135116" cy="148760"/>
              </a:xfrm>
              <a:custGeom>
                <a:avLst/>
                <a:gdLst>
                  <a:gd name="connsiteX0" fmla="*/ 130909 w 135116"/>
                  <a:gd name="connsiteY0" fmla="*/ 148760 h 148760"/>
                  <a:gd name="connsiteX1" fmla="*/ 130909 w 135116"/>
                  <a:gd name="connsiteY1" fmla="*/ 148760 h 148760"/>
                  <a:gd name="connsiteX2" fmla="*/ 0 w 135116"/>
                  <a:gd name="connsiteY2" fmla="*/ 5951 h 148760"/>
                  <a:gd name="connsiteX3" fmla="*/ 2975 w 135116"/>
                  <a:gd name="connsiteY3" fmla="*/ 0 h 148760"/>
                  <a:gd name="connsiteX4" fmla="*/ 8926 w 135116"/>
                  <a:gd name="connsiteY4" fmla="*/ 2975 h 148760"/>
                  <a:gd name="connsiteX5" fmla="*/ 130909 w 135116"/>
                  <a:gd name="connsiteY5" fmla="*/ 139835 h 148760"/>
                  <a:gd name="connsiteX6" fmla="*/ 133884 w 135116"/>
                  <a:gd name="connsiteY6" fmla="*/ 145786 h 148760"/>
                  <a:gd name="connsiteX7" fmla="*/ 130909 w 135116"/>
                  <a:gd name="connsiteY7" fmla="*/ 148760 h 148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116" h="148760">
                    <a:moveTo>
                      <a:pt x="130909" y="148760"/>
                    </a:moveTo>
                    <a:cubicBezTo>
                      <a:pt x="130909" y="148760"/>
                      <a:pt x="130909" y="148760"/>
                      <a:pt x="130909" y="148760"/>
                    </a:cubicBezTo>
                    <a:cubicBezTo>
                      <a:pt x="41653" y="116034"/>
                      <a:pt x="2975" y="8926"/>
                      <a:pt x="0" y="5951"/>
                    </a:cubicBezTo>
                    <a:cubicBezTo>
                      <a:pt x="0" y="2975"/>
                      <a:pt x="0" y="0"/>
                      <a:pt x="2975" y="0"/>
                    </a:cubicBezTo>
                    <a:cubicBezTo>
                      <a:pt x="5951" y="0"/>
                      <a:pt x="8926" y="0"/>
                      <a:pt x="8926" y="2975"/>
                    </a:cubicBezTo>
                    <a:cubicBezTo>
                      <a:pt x="8926" y="2975"/>
                      <a:pt x="47603" y="107108"/>
                      <a:pt x="130909" y="139835"/>
                    </a:cubicBezTo>
                    <a:cubicBezTo>
                      <a:pt x="133884" y="139835"/>
                      <a:pt x="133884" y="142810"/>
                      <a:pt x="133884" y="145786"/>
                    </a:cubicBezTo>
                    <a:cubicBezTo>
                      <a:pt x="136860" y="148760"/>
                      <a:pt x="133884" y="148760"/>
                      <a:pt x="130909" y="148760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8DBD8996-B4DE-4634-92B7-013B23A721CF}"/>
                  </a:ext>
                </a:extLst>
              </p:cNvPr>
              <p:cNvSpPr/>
              <p:nvPr/>
            </p:nvSpPr>
            <p:spPr>
              <a:xfrm>
                <a:off x="8470188" y="12103276"/>
                <a:ext cx="47092" cy="19082"/>
              </a:xfrm>
              <a:custGeom>
                <a:avLst/>
                <a:gdLst>
                  <a:gd name="connsiteX0" fmla="*/ 39910 w 47092"/>
                  <a:gd name="connsiteY0" fmla="*/ 19083 h 19082"/>
                  <a:gd name="connsiteX1" fmla="*/ 39910 w 47092"/>
                  <a:gd name="connsiteY1" fmla="*/ 19083 h 19082"/>
                  <a:gd name="connsiteX2" fmla="*/ 4207 w 47092"/>
                  <a:gd name="connsiteY2" fmla="*/ 10158 h 19082"/>
                  <a:gd name="connsiteX3" fmla="*/ 1232 w 47092"/>
                  <a:gd name="connsiteY3" fmla="*/ 4207 h 19082"/>
                  <a:gd name="connsiteX4" fmla="*/ 7183 w 47092"/>
                  <a:gd name="connsiteY4" fmla="*/ 1232 h 19082"/>
                  <a:gd name="connsiteX5" fmla="*/ 42885 w 47092"/>
                  <a:gd name="connsiteY5" fmla="*/ 10158 h 19082"/>
                  <a:gd name="connsiteX6" fmla="*/ 45861 w 47092"/>
                  <a:gd name="connsiteY6" fmla="*/ 16109 h 19082"/>
                  <a:gd name="connsiteX7" fmla="*/ 39910 w 47092"/>
                  <a:gd name="connsiteY7" fmla="*/ 19083 h 1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092" h="19082">
                    <a:moveTo>
                      <a:pt x="39910" y="19083"/>
                    </a:moveTo>
                    <a:cubicBezTo>
                      <a:pt x="39910" y="19083"/>
                      <a:pt x="39910" y="19083"/>
                      <a:pt x="39910" y="19083"/>
                    </a:cubicBezTo>
                    <a:lnTo>
                      <a:pt x="4207" y="10158"/>
                    </a:lnTo>
                    <a:cubicBezTo>
                      <a:pt x="1232" y="10158"/>
                      <a:pt x="-1743" y="7182"/>
                      <a:pt x="1232" y="4207"/>
                    </a:cubicBezTo>
                    <a:cubicBezTo>
                      <a:pt x="1232" y="1232"/>
                      <a:pt x="4207" y="-1743"/>
                      <a:pt x="7183" y="1232"/>
                    </a:cubicBezTo>
                    <a:lnTo>
                      <a:pt x="42885" y="10158"/>
                    </a:lnTo>
                    <a:cubicBezTo>
                      <a:pt x="45861" y="10158"/>
                      <a:pt x="48835" y="13133"/>
                      <a:pt x="45861" y="16109"/>
                    </a:cubicBezTo>
                    <a:cubicBezTo>
                      <a:pt x="42885" y="16109"/>
                      <a:pt x="42885" y="19083"/>
                      <a:pt x="39910" y="1908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6C83DD9E-F6F2-40B4-983F-23B260466B5F}"/>
                  </a:ext>
                </a:extLst>
              </p:cNvPr>
              <p:cNvSpPr/>
              <p:nvPr/>
            </p:nvSpPr>
            <p:spPr>
              <a:xfrm>
                <a:off x="8464237" y="12147904"/>
                <a:ext cx="47092" cy="19082"/>
              </a:xfrm>
              <a:custGeom>
                <a:avLst/>
                <a:gdLst>
                  <a:gd name="connsiteX0" fmla="*/ 39910 w 47092"/>
                  <a:gd name="connsiteY0" fmla="*/ 19083 h 19082"/>
                  <a:gd name="connsiteX1" fmla="*/ 39910 w 47092"/>
                  <a:gd name="connsiteY1" fmla="*/ 19083 h 19082"/>
                  <a:gd name="connsiteX2" fmla="*/ 4207 w 47092"/>
                  <a:gd name="connsiteY2" fmla="*/ 10158 h 19082"/>
                  <a:gd name="connsiteX3" fmla="*/ 1232 w 47092"/>
                  <a:gd name="connsiteY3" fmla="*/ 4207 h 19082"/>
                  <a:gd name="connsiteX4" fmla="*/ 7183 w 47092"/>
                  <a:gd name="connsiteY4" fmla="*/ 1232 h 19082"/>
                  <a:gd name="connsiteX5" fmla="*/ 42885 w 47092"/>
                  <a:gd name="connsiteY5" fmla="*/ 10158 h 19082"/>
                  <a:gd name="connsiteX6" fmla="*/ 45861 w 47092"/>
                  <a:gd name="connsiteY6" fmla="*/ 16109 h 19082"/>
                  <a:gd name="connsiteX7" fmla="*/ 39910 w 47092"/>
                  <a:gd name="connsiteY7" fmla="*/ 19083 h 1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092" h="19082">
                    <a:moveTo>
                      <a:pt x="39910" y="19083"/>
                    </a:moveTo>
                    <a:cubicBezTo>
                      <a:pt x="39910" y="19083"/>
                      <a:pt x="39910" y="19083"/>
                      <a:pt x="39910" y="19083"/>
                    </a:cubicBezTo>
                    <a:lnTo>
                      <a:pt x="4207" y="10158"/>
                    </a:lnTo>
                    <a:cubicBezTo>
                      <a:pt x="1232" y="10158"/>
                      <a:pt x="-1743" y="7182"/>
                      <a:pt x="1232" y="4207"/>
                    </a:cubicBezTo>
                    <a:cubicBezTo>
                      <a:pt x="1232" y="1232"/>
                      <a:pt x="4207" y="-1743"/>
                      <a:pt x="7183" y="1232"/>
                    </a:cubicBezTo>
                    <a:lnTo>
                      <a:pt x="42885" y="10158"/>
                    </a:lnTo>
                    <a:cubicBezTo>
                      <a:pt x="45861" y="10158"/>
                      <a:pt x="48835" y="13133"/>
                      <a:pt x="45861" y="16109"/>
                    </a:cubicBezTo>
                    <a:cubicBezTo>
                      <a:pt x="45861" y="16109"/>
                      <a:pt x="42885" y="19083"/>
                      <a:pt x="39910" y="1908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0429004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41C4402D-FA69-4426-8FDE-9307C259D7E3}"/>
              </a:ext>
            </a:extLst>
          </p:cNvPr>
          <p:cNvGrpSpPr/>
          <p:nvPr/>
        </p:nvGrpSpPr>
        <p:grpSpPr>
          <a:xfrm>
            <a:off x="6679713" y="2035569"/>
            <a:ext cx="2475137" cy="4456224"/>
            <a:chOff x="15558242" y="8052911"/>
            <a:chExt cx="2475137" cy="4456224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F3A3AADD-D022-4EAE-8BB9-83159545A8A9}"/>
                </a:ext>
              </a:extLst>
            </p:cNvPr>
            <p:cNvSpPr/>
            <p:nvPr/>
          </p:nvSpPr>
          <p:spPr>
            <a:xfrm>
              <a:off x="17060842" y="8335891"/>
              <a:ext cx="477152" cy="853739"/>
            </a:xfrm>
            <a:custGeom>
              <a:avLst/>
              <a:gdLst>
                <a:gd name="connsiteX0" fmla="*/ 0 w 477152"/>
                <a:gd name="connsiteY0" fmla="*/ 76386 h 853739"/>
                <a:gd name="connsiteX1" fmla="*/ 368925 w 477152"/>
                <a:gd name="connsiteY1" fmla="*/ 64485 h 853739"/>
                <a:gd name="connsiteX2" fmla="*/ 404627 w 477152"/>
                <a:gd name="connsiteY2" fmla="*/ 540518 h 853739"/>
                <a:gd name="connsiteX3" fmla="*/ 368925 w 477152"/>
                <a:gd name="connsiteY3" fmla="*/ 843989 h 853739"/>
                <a:gd name="connsiteX4" fmla="*/ 80331 w 477152"/>
                <a:gd name="connsiteY4" fmla="*/ 701179 h 853739"/>
                <a:gd name="connsiteX5" fmla="*/ 107108 w 477152"/>
                <a:gd name="connsiteY5" fmla="*/ 189444 h 853739"/>
                <a:gd name="connsiteX6" fmla="*/ 0 w 477152"/>
                <a:gd name="connsiteY6" fmla="*/ 76386 h 853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7152" h="853739">
                  <a:moveTo>
                    <a:pt x="0" y="76386"/>
                  </a:moveTo>
                  <a:cubicBezTo>
                    <a:pt x="0" y="76386"/>
                    <a:pt x="116033" y="-87250"/>
                    <a:pt x="368925" y="64485"/>
                  </a:cubicBezTo>
                  <a:cubicBezTo>
                    <a:pt x="526612" y="156717"/>
                    <a:pt x="487935" y="439361"/>
                    <a:pt x="404627" y="540518"/>
                  </a:cubicBezTo>
                  <a:cubicBezTo>
                    <a:pt x="321322" y="641675"/>
                    <a:pt x="294545" y="751758"/>
                    <a:pt x="368925" y="843989"/>
                  </a:cubicBezTo>
                  <a:cubicBezTo>
                    <a:pt x="368925" y="843989"/>
                    <a:pt x="101157" y="909444"/>
                    <a:pt x="80331" y="701179"/>
                  </a:cubicBezTo>
                  <a:cubicBezTo>
                    <a:pt x="71405" y="614898"/>
                    <a:pt x="217190" y="284651"/>
                    <a:pt x="107108" y="189444"/>
                  </a:cubicBezTo>
                  <a:cubicBezTo>
                    <a:pt x="62480" y="147791"/>
                    <a:pt x="0" y="76386"/>
                    <a:pt x="0" y="76386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37F1E081-957C-4BFC-8832-0F0BA38E1DAA}"/>
                </a:ext>
              </a:extLst>
            </p:cNvPr>
            <p:cNvSpPr/>
            <p:nvPr/>
          </p:nvSpPr>
          <p:spPr>
            <a:xfrm>
              <a:off x="16369068" y="9676740"/>
              <a:ext cx="1379045" cy="2460495"/>
            </a:xfrm>
            <a:custGeom>
              <a:avLst/>
              <a:gdLst>
                <a:gd name="connsiteX0" fmla="*/ 778054 w 1379045"/>
                <a:gd name="connsiteY0" fmla="*/ 0 h 2460495"/>
                <a:gd name="connsiteX1" fmla="*/ 117559 w 1379045"/>
                <a:gd name="connsiteY1" fmla="*/ 0 h 2460495"/>
                <a:gd name="connsiteX2" fmla="*/ 1525 w 1379045"/>
                <a:gd name="connsiteY2" fmla="*/ 455206 h 2460495"/>
                <a:gd name="connsiteX3" fmla="*/ 180038 w 1379045"/>
                <a:gd name="connsiteY3" fmla="*/ 2460495 h 2460495"/>
                <a:gd name="connsiteX4" fmla="*/ 415080 w 1379045"/>
                <a:gd name="connsiteY4" fmla="*/ 2457521 h 2460495"/>
                <a:gd name="connsiteX5" fmla="*/ 456732 w 1379045"/>
                <a:gd name="connsiteY5" fmla="*/ 806281 h 2460495"/>
                <a:gd name="connsiteX6" fmla="*/ 540038 w 1379045"/>
                <a:gd name="connsiteY6" fmla="*/ 1698843 h 2460495"/>
                <a:gd name="connsiteX7" fmla="*/ 581690 w 1379045"/>
                <a:gd name="connsiteY7" fmla="*/ 1770248 h 2460495"/>
                <a:gd name="connsiteX8" fmla="*/ 1260037 w 1379045"/>
                <a:gd name="connsiteY8" fmla="*/ 2258182 h 2460495"/>
                <a:gd name="connsiteX9" fmla="*/ 1379046 w 1379045"/>
                <a:gd name="connsiteY9" fmla="*/ 2046942 h 2460495"/>
                <a:gd name="connsiteX10" fmla="*/ 876237 w 1379045"/>
                <a:gd name="connsiteY10" fmla="*/ 1615537 h 2460495"/>
                <a:gd name="connsiteX11" fmla="*/ 911939 w 1379045"/>
                <a:gd name="connsiteY11" fmla="*/ 416529 h 2460495"/>
                <a:gd name="connsiteX12" fmla="*/ 778054 w 1379045"/>
                <a:gd name="connsiteY12" fmla="*/ 0 h 2460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9045" h="2460495">
                  <a:moveTo>
                    <a:pt x="778054" y="0"/>
                  </a:moveTo>
                  <a:lnTo>
                    <a:pt x="117559" y="0"/>
                  </a:lnTo>
                  <a:cubicBezTo>
                    <a:pt x="117559" y="0"/>
                    <a:pt x="19377" y="303471"/>
                    <a:pt x="1525" y="455206"/>
                  </a:cubicBezTo>
                  <a:cubicBezTo>
                    <a:pt x="-19301" y="606942"/>
                    <a:pt x="180038" y="2460495"/>
                    <a:pt x="180038" y="2460495"/>
                  </a:cubicBezTo>
                  <a:lnTo>
                    <a:pt x="415080" y="2457521"/>
                  </a:lnTo>
                  <a:lnTo>
                    <a:pt x="456732" y="806281"/>
                  </a:lnTo>
                  <a:cubicBezTo>
                    <a:pt x="456732" y="806281"/>
                    <a:pt x="519212" y="1511405"/>
                    <a:pt x="540038" y="1698843"/>
                  </a:cubicBezTo>
                  <a:cubicBezTo>
                    <a:pt x="543013" y="1728595"/>
                    <a:pt x="557889" y="1752397"/>
                    <a:pt x="581690" y="1770248"/>
                  </a:cubicBezTo>
                  <a:lnTo>
                    <a:pt x="1260037" y="2258182"/>
                  </a:lnTo>
                  <a:lnTo>
                    <a:pt x="1379046" y="2046942"/>
                  </a:lnTo>
                  <a:lnTo>
                    <a:pt x="876237" y="1615537"/>
                  </a:lnTo>
                  <a:cubicBezTo>
                    <a:pt x="876237" y="1615537"/>
                    <a:pt x="905989" y="481983"/>
                    <a:pt x="911939" y="416529"/>
                  </a:cubicBezTo>
                  <a:cubicBezTo>
                    <a:pt x="920865" y="291570"/>
                    <a:pt x="778054" y="0"/>
                    <a:pt x="778054" y="0"/>
                  </a:cubicBezTo>
                  <a:close/>
                </a:path>
              </a:pathLst>
            </a:custGeom>
            <a:solidFill>
              <a:srgbClr val="F6EBE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6A157667-3306-4EF8-B4A8-548276BC8FEB}"/>
                </a:ext>
              </a:extLst>
            </p:cNvPr>
            <p:cNvSpPr/>
            <p:nvPr/>
          </p:nvSpPr>
          <p:spPr>
            <a:xfrm>
              <a:off x="16778197" y="10060541"/>
              <a:ext cx="856115" cy="1874380"/>
            </a:xfrm>
            <a:custGeom>
              <a:avLst/>
              <a:gdLst>
                <a:gd name="connsiteX0" fmla="*/ 850908 w 856115"/>
                <a:gd name="connsiteY0" fmla="*/ 1874380 h 1874380"/>
                <a:gd name="connsiteX1" fmla="*/ 847934 w 856115"/>
                <a:gd name="connsiteY1" fmla="*/ 1874380 h 1874380"/>
                <a:gd name="connsiteX2" fmla="*/ 169587 w 856115"/>
                <a:gd name="connsiteY2" fmla="*/ 1386447 h 1874380"/>
                <a:gd name="connsiteX3" fmla="*/ 124959 w 856115"/>
                <a:gd name="connsiteY3" fmla="*/ 1312066 h 1874380"/>
                <a:gd name="connsiteX4" fmla="*/ 41653 w 856115"/>
                <a:gd name="connsiteY4" fmla="*/ 419504 h 1874380"/>
                <a:gd name="connsiteX5" fmla="*/ 0 w 856115"/>
                <a:gd name="connsiteY5" fmla="*/ 5951 h 1874380"/>
                <a:gd name="connsiteX6" fmla="*/ 5951 w 856115"/>
                <a:gd name="connsiteY6" fmla="*/ 0 h 1874380"/>
                <a:gd name="connsiteX7" fmla="*/ 11901 w 856115"/>
                <a:gd name="connsiteY7" fmla="*/ 5951 h 1874380"/>
                <a:gd name="connsiteX8" fmla="*/ 53553 w 856115"/>
                <a:gd name="connsiteY8" fmla="*/ 419504 h 1874380"/>
                <a:gd name="connsiteX9" fmla="*/ 136860 w 856115"/>
                <a:gd name="connsiteY9" fmla="*/ 1312066 h 1874380"/>
                <a:gd name="connsiteX10" fmla="*/ 175537 w 856115"/>
                <a:gd name="connsiteY10" fmla="*/ 1377520 h 1874380"/>
                <a:gd name="connsiteX11" fmla="*/ 853885 w 856115"/>
                <a:gd name="connsiteY11" fmla="*/ 1865455 h 1874380"/>
                <a:gd name="connsiteX12" fmla="*/ 853885 w 856115"/>
                <a:gd name="connsiteY12" fmla="*/ 1874380 h 1874380"/>
                <a:gd name="connsiteX13" fmla="*/ 850908 w 856115"/>
                <a:gd name="connsiteY13" fmla="*/ 1874380 h 1874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56115" h="1874380">
                  <a:moveTo>
                    <a:pt x="850908" y="1874380"/>
                  </a:moveTo>
                  <a:cubicBezTo>
                    <a:pt x="850908" y="1874380"/>
                    <a:pt x="847934" y="1874380"/>
                    <a:pt x="847934" y="1874380"/>
                  </a:cubicBezTo>
                  <a:lnTo>
                    <a:pt x="169587" y="1386447"/>
                  </a:lnTo>
                  <a:cubicBezTo>
                    <a:pt x="145785" y="1368595"/>
                    <a:pt x="127934" y="1341818"/>
                    <a:pt x="124959" y="1312066"/>
                  </a:cubicBezTo>
                  <a:cubicBezTo>
                    <a:pt x="104132" y="1127603"/>
                    <a:pt x="41653" y="428430"/>
                    <a:pt x="41653" y="419504"/>
                  </a:cubicBezTo>
                  <a:lnTo>
                    <a:pt x="0" y="5951"/>
                  </a:lnTo>
                  <a:cubicBezTo>
                    <a:pt x="0" y="2975"/>
                    <a:pt x="2975" y="0"/>
                    <a:pt x="5951" y="0"/>
                  </a:cubicBezTo>
                  <a:cubicBezTo>
                    <a:pt x="8925" y="0"/>
                    <a:pt x="11901" y="2975"/>
                    <a:pt x="11901" y="5951"/>
                  </a:cubicBezTo>
                  <a:lnTo>
                    <a:pt x="53553" y="419504"/>
                  </a:lnTo>
                  <a:cubicBezTo>
                    <a:pt x="53553" y="425454"/>
                    <a:pt x="119008" y="1124628"/>
                    <a:pt x="136860" y="1312066"/>
                  </a:cubicBezTo>
                  <a:cubicBezTo>
                    <a:pt x="139835" y="1338843"/>
                    <a:pt x="154711" y="1362644"/>
                    <a:pt x="175537" y="1377520"/>
                  </a:cubicBezTo>
                  <a:lnTo>
                    <a:pt x="853885" y="1865455"/>
                  </a:lnTo>
                  <a:cubicBezTo>
                    <a:pt x="856859" y="1868429"/>
                    <a:pt x="856859" y="1871405"/>
                    <a:pt x="853885" y="1874380"/>
                  </a:cubicBezTo>
                  <a:cubicBezTo>
                    <a:pt x="856859" y="1874380"/>
                    <a:pt x="853885" y="1874380"/>
                    <a:pt x="850908" y="1874380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AD23E797-3BE9-4E3E-8378-B5F7AA8443E3}"/>
                </a:ext>
              </a:extLst>
            </p:cNvPr>
            <p:cNvSpPr/>
            <p:nvPr/>
          </p:nvSpPr>
          <p:spPr>
            <a:xfrm>
              <a:off x="17099519" y="9828475"/>
              <a:ext cx="176769" cy="187437"/>
            </a:xfrm>
            <a:custGeom>
              <a:avLst/>
              <a:gdLst>
                <a:gd name="connsiteX0" fmla="*/ 172563 w 176769"/>
                <a:gd name="connsiteY0" fmla="*/ 187438 h 187437"/>
                <a:gd name="connsiteX1" fmla="*/ 172563 w 176769"/>
                <a:gd name="connsiteY1" fmla="*/ 187438 h 187437"/>
                <a:gd name="connsiteX2" fmla="*/ 0 w 176769"/>
                <a:gd name="connsiteY2" fmla="*/ 5950 h 187437"/>
                <a:gd name="connsiteX3" fmla="*/ 2975 w 176769"/>
                <a:gd name="connsiteY3" fmla="*/ 0 h 187437"/>
                <a:gd name="connsiteX4" fmla="*/ 8926 w 176769"/>
                <a:gd name="connsiteY4" fmla="*/ 2974 h 187437"/>
                <a:gd name="connsiteX5" fmla="*/ 172563 w 176769"/>
                <a:gd name="connsiteY5" fmla="*/ 178512 h 187437"/>
                <a:gd name="connsiteX6" fmla="*/ 175538 w 176769"/>
                <a:gd name="connsiteY6" fmla="*/ 184462 h 187437"/>
                <a:gd name="connsiteX7" fmla="*/ 172563 w 176769"/>
                <a:gd name="connsiteY7" fmla="*/ 187438 h 187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769" h="187437">
                  <a:moveTo>
                    <a:pt x="172563" y="187438"/>
                  </a:moveTo>
                  <a:cubicBezTo>
                    <a:pt x="172563" y="187438"/>
                    <a:pt x="172563" y="187438"/>
                    <a:pt x="172563" y="187438"/>
                  </a:cubicBezTo>
                  <a:cubicBezTo>
                    <a:pt x="53554" y="154710"/>
                    <a:pt x="0" y="11901"/>
                    <a:pt x="0" y="5950"/>
                  </a:cubicBezTo>
                  <a:cubicBezTo>
                    <a:pt x="0" y="2974"/>
                    <a:pt x="0" y="0"/>
                    <a:pt x="2975" y="0"/>
                  </a:cubicBezTo>
                  <a:cubicBezTo>
                    <a:pt x="5951" y="0"/>
                    <a:pt x="8926" y="0"/>
                    <a:pt x="8926" y="2974"/>
                  </a:cubicBezTo>
                  <a:cubicBezTo>
                    <a:pt x="8926" y="2974"/>
                    <a:pt x="62480" y="145785"/>
                    <a:pt x="172563" y="178512"/>
                  </a:cubicBezTo>
                  <a:cubicBezTo>
                    <a:pt x="175538" y="178512"/>
                    <a:pt x="178512" y="181487"/>
                    <a:pt x="175538" y="184462"/>
                  </a:cubicBezTo>
                  <a:cubicBezTo>
                    <a:pt x="178512" y="187438"/>
                    <a:pt x="175538" y="187438"/>
                    <a:pt x="172563" y="187438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3E2980BD-6D37-4391-A3C0-9E2B490E9A5A}"/>
                </a:ext>
              </a:extLst>
            </p:cNvPr>
            <p:cNvSpPr/>
            <p:nvPr/>
          </p:nvSpPr>
          <p:spPr>
            <a:xfrm>
              <a:off x="16385469" y="9828475"/>
              <a:ext cx="172562" cy="190413"/>
            </a:xfrm>
            <a:custGeom>
              <a:avLst/>
              <a:gdLst>
                <a:gd name="connsiteX0" fmla="*/ 5951 w 172562"/>
                <a:gd name="connsiteY0" fmla="*/ 190413 h 190413"/>
                <a:gd name="connsiteX1" fmla="*/ 0 w 172562"/>
                <a:gd name="connsiteY1" fmla="*/ 187438 h 190413"/>
                <a:gd name="connsiteX2" fmla="*/ 2975 w 172562"/>
                <a:gd name="connsiteY2" fmla="*/ 181487 h 190413"/>
                <a:gd name="connsiteX3" fmla="*/ 160662 w 172562"/>
                <a:gd name="connsiteY3" fmla="*/ 2974 h 190413"/>
                <a:gd name="connsiteX4" fmla="*/ 169587 w 172562"/>
                <a:gd name="connsiteY4" fmla="*/ 0 h 190413"/>
                <a:gd name="connsiteX5" fmla="*/ 172563 w 172562"/>
                <a:gd name="connsiteY5" fmla="*/ 8925 h 190413"/>
                <a:gd name="connsiteX6" fmla="*/ 5951 w 172562"/>
                <a:gd name="connsiteY6" fmla="*/ 190413 h 190413"/>
                <a:gd name="connsiteX7" fmla="*/ 5951 w 172562"/>
                <a:gd name="connsiteY7" fmla="*/ 190413 h 190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2562" h="190413">
                  <a:moveTo>
                    <a:pt x="5951" y="190413"/>
                  </a:moveTo>
                  <a:cubicBezTo>
                    <a:pt x="2975" y="190413"/>
                    <a:pt x="2975" y="190413"/>
                    <a:pt x="0" y="187438"/>
                  </a:cubicBezTo>
                  <a:cubicBezTo>
                    <a:pt x="0" y="184462"/>
                    <a:pt x="0" y="181487"/>
                    <a:pt x="2975" y="181487"/>
                  </a:cubicBezTo>
                  <a:cubicBezTo>
                    <a:pt x="80331" y="148760"/>
                    <a:pt x="160662" y="2974"/>
                    <a:pt x="160662" y="2974"/>
                  </a:cubicBezTo>
                  <a:cubicBezTo>
                    <a:pt x="160662" y="0"/>
                    <a:pt x="166612" y="0"/>
                    <a:pt x="169587" y="0"/>
                  </a:cubicBezTo>
                  <a:cubicBezTo>
                    <a:pt x="172563" y="0"/>
                    <a:pt x="172563" y="5950"/>
                    <a:pt x="172563" y="8925"/>
                  </a:cubicBezTo>
                  <a:cubicBezTo>
                    <a:pt x="166612" y="14876"/>
                    <a:pt x="89256" y="157686"/>
                    <a:pt x="5951" y="190413"/>
                  </a:cubicBezTo>
                  <a:cubicBezTo>
                    <a:pt x="5951" y="190413"/>
                    <a:pt x="5951" y="190413"/>
                    <a:pt x="5951" y="190413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EBD0DB9B-3C05-4920-9609-C207847A594E}"/>
                </a:ext>
              </a:extLst>
            </p:cNvPr>
            <p:cNvSpPr/>
            <p:nvPr/>
          </p:nvSpPr>
          <p:spPr>
            <a:xfrm>
              <a:off x="15753637" y="8975324"/>
              <a:ext cx="778887" cy="755953"/>
            </a:xfrm>
            <a:custGeom>
              <a:avLst/>
              <a:gdLst>
                <a:gd name="connsiteX0" fmla="*/ 599106 w 778887"/>
                <a:gd name="connsiteY0" fmla="*/ 43895 h 755953"/>
                <a:gd name="connsiteX1" fmla="*/ 423568 w 778887"/>
                <a:gd name="connsiteY1" fmla="*/ 570507 h 755953"/>
                <a:gd name="connsiteX2" fmla="*/ 4064 w 778887"/>
                <a:gd name="connsiteY2" fmla="*/ 635961 h 755953"/>
                <a:gd name="connsiteX3" fmla="*/ 66543 w 778887"/>
                <a:gd name="connsiteY3" fmla="*/ 710341 h 755953"/>
                <a:gd name="connsiteX4" fmla="*/ 506874 w 778887"/>
                <a:gd name="connsiteY4" fmla="*/ 737118 h 755953"/>
                <a:gd name="connsiteX5" fmla="*/ 774643 w 778887"/>
                <a:gd name="connsiteY5" fmla="*/ 243234 h 755953"/>
                <a:gd name="connsiteX6" fmla="*/ 599106 w 778887"/>
                <a:gd name="connsiteY6" fmla="*/ 43895 h 755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8887" h="755953">
                  <a:moveTo>
                    <a:pt x="599106" y="43895"/>
                  </a:moveTo>
                  <a:cubicBezTo>
                    <a:pt x="551502" y="145052"/>
                    <a:pt x="423568" y="570507"/>
                    <a:pt x="423568" y="570507"/>
                  </a:cubicBezTo>
                  <a:cubicBezTo>
                    <a:pt x="423568" y="570507"/>
                    <a:pt x="7039" y="630011"/>
                    <a:pt x="4064" y="635961"/>
                  </a:cubicBezTo>
                  <a:cubicBezTo>
                    <a:pt x="-13787" y="701416"/>
                    <a:pt x="30841" y="701416"/>
                    <a:pt x="66543" y="710341"/>
                  </a:cubicBezTo>
                  <a:cubicBezTo>
                    <a:pt x="75469" y="713317"/>
                    <a:pt x="268857" y="790672"/>
                    <a:pt x="506874" y="737118"/>
                  </a:cubicBezTo>
                  <a:cubicBezTo>
                    <a:pt x="569353" y="722242"/>
                    <a:pt x="721088" y="380093"/>
                    <a:pt x="774643" y="243234"/>
                  </a:cubicBezTo>
                  <a:cubicBezTo>
                    <a:pt x="804395" y="165879"/>
                    <a:pt x="670510" y="-104865"/>
                    <a:pt x="599106" y="43895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931AC8C2-6FFF-4AFD-A8EE-59443C16F8C4}"/>
                </a:ext>
              </a:extLst>
            </p:cNvPr>
            <p:cNvSpPr/>
            <p:nvPr/>
          </p:nvSpPr>
          <p:spPr>
            <a:xfrm>
              <a:off x="16290263" y="8784155"/>
              <a:ext cx="385141" cy="401675"/>
            </a:xfrm>
            <a:custGeom>
              <a:avLst/>
              <a:gdLst>
                <a:gd name="connsiteX0" fmla="*/ 336198 w 385141"/>
                <a:gd name="connsiteY0" fmla="*/ 401675 h 401675"/>
                <a:gd name="connsiteX1" fmla="*/ 330248 w 385141"/>
                <a:gd name="connsiteY1" fmla="*/ 14898 h 401675"/>
                <a:gd name="connsiteX2" fmla="*/ 0 w 385141"/>
                <a:gd name="connsiteY2" fmla="*/ 279691 h 401675"/>
                <a:gd name="connsiteX3" fmla="*/ 336198 w 385141"/>
                <a:gd name="connsiteY3" fmla="*/ 401675 h 401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141" h="401675">
                  <a:moveTo>
                    <a:pt x="336198" y="401675"/>
                  </a:moveTo>
                  <a:cubicBezTo>
                    <a:pt x="413554" y="243989"/>
                    <a:pt x="389752" y="62501"/>
                    <a:pt x="330248" y="14898"/>
                  </a:cubicBezTo>
                  <a:cubicBezTo>
                    <a:pt x="249917" y="-47581"/>
                    <a:pt x="68429" y="95229"/>
                    <a:pt x="0" y="279691"/>
                  </a:cubicBezTo>
                  <a:cubicBezTo>
                    <a:pt x="41653" y="339196"/>
                    <a:pt x="240992" y="389774"/>
                    <a:pt x="336198" y="401675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01E2C501-E0E1-4C2B-83B7-C7E8E49B11AF}"/>
                </a:ext>
              </a:extLst>
            </p:cNvPr>
            <p:cNvSpPr/>
            <p:nvPr/>
          </p:nvSpPr>
          <p:spPr>
            <a:xfrm>
              <a:off x="16420963" y="8729242"/>
              <a:ext cx="857067" cy="1155714"/>
            </a:xfrm>
            <a:custGeom>
              <a:avLst/>
              <a:gdLst>
                <a:gd name="connsiteX0" fmla="*/ 29961 w 857067"/>
                <a:gd name="connsiteY0" fmla="*/ 641051 h 1155714"/>
                <a:gd name="connsiteX1" fmla="*/ 92440 w 857067"/>
                <a:gd name="connsiteY1" fmla="*/ 102539 h 1155714"/>
                <a:gd name="connsiteX2" fmla="*/ 381035 w 857067"/>
                <a:gd name="connsiteY2" fmla="*/ 4357 h 1155714"/>
                <a:gd name="connsiteX3" fmla="*/ 735085 w 857067"/>
                <a:gd name="connsiteY3" fmla="*/ 66836 h 1155714"/>
                <a:gd name="connsiteX4" fmla="*/ 749961 w 857067"/>
                <a:gd name="connsiteY4" fmla="*/ 376258 h 1155714"/>
                <a:gd name="connsiteX5" fmla="*/ 857068 w 857067"/>
                <a:gd name="connsiteY5" fmla="*/ 1072456 h 1155714"/>
                <a:gd name="connsiteX6" fmla="*/ 209 w 857067"/>
                <a:gd name="connsiteY6" fmla="*/ 1093283 h 1155714"/>
                <a:gd name="connsiteX7" fmla="*/ 29961 w 857067"/>
                <a:gd name="connsiteY7" fmla="*/ 641051 h 115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7067" h="1155714">
                  <a:moveTo>
                    <a:pt x="29961" y="641051"/>
                  </a:moveTo>
                  <a:cubicBezTo>
                    <a:pt x="35912" y="438737"/>
                    <a:pt x="-14667" y="281051"/>
                    <a:pt x="92440" y="102539"/>
                  </a:cubicBezTo>
                  <a:cubicBezTo>
                    <a:pt x="131118" y="40060"/>
                    <a:pt x="256077" y="19233"/>
                    <a:pt x="381035" y="4357"/>
                  </a:cubicBezTo>
                  <a:cubicBezTo>
                    <a:pt x="494093" y="-10519"/>
                    <a:pt x="633928" y="13283"/>
                    <a:pt x="735085" y="66836"/>
                  </a:cubicBezTo>
                  <a:cubicBezTo>
                    <a:pt x="848143" y="126341"/>
                    <a:pt x="749961" y="346506"/>
                    <a:pt x="749961" y="376258"/>
                  </a:cubicBezTo>
                  <a:cubicBezTo>
                    <a:pt x="744011" y="525018"/>
                    <a:pt x="857068" y="1072456"/>
                    <a:pt x="857068" y="1072456"/>
                  </a:cubicBezTo>
                  <a:cubicBezTo>
                    <a:pt x="857068" y="1072456"/>
                    <a:pt x="386986" y="1245018"/>
                    <a:pt x="209" y="1093283"/>
                  </a:cubicBezTo>
                  <a:cubicBezTo>
                    <a:pt x="-2767" y="1096258"/>
                    <a:pt x="26986" y="748159"/>
                    <a:pt x="29961" y="641051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AB5EF2D1-4E64-4EFE-B9F9-FE0D3463A585}"/>
                </a:ext>
              </a:extLst>
            </p:cNvPr>
            <p:cNvSpPr/>
            <p:nvPr/>
          </p:nvSpPr>
          <p:spPr>
            <a:xfrm>
              <a:off x="16694892" y="8561037"/>
              <a:ext cx="294545" cy="312396"/>
            </a:xfrm>
            <a:custGeom>
              <a:avLst/>
              <a:gdLst>
                <a:gd name="connsiteX0" fmla="*/ 50578 w 294545"/>
                <a:gd name="connsiteY0" fmla="*/ 59504 h 312396"/>
                <a:gd name="connsiteX1" fmla="*/ 0 w 294545"/>
                <a:gd name="connsiteY1" fmla="*/ 193388 h 312396"/>
                <a:gd name="connsiteX2" fmla="*/ 110082 w 294545"/>
                <a:gd name="connsiteY2" fmla="*/ 312397 h 312396"/>
                <a:gd name="connsiteX3" fmla="*/ 294545 w 294545"/>
                <a:gd name="connsiteY3" fmla="*/ 178512 h 312396"/>
                <a:gd name="connsiteX4" fmla="*/ 243966 w 294545"/>
                <a:gd name="connsiteY4" fmla="*/ 0 h 312396"/>
                <a:gd name="connsiteX5" fmla="*/ 50578 w 294545"/>
                <a:gd name="connsiteY5" fmla="*/ 59504 h 31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545" h="312396">
                  <a:moveTo>
                    <a:pt x="50578" y="59504"/>
                  </a:moveTo>
                  <a:cubicBezTo>
                    <a:pt x="50578" y="59504"/>
                    <a:pt x="56529" y="166611"/>
                    <a:pt x="0" y="193388"/>
                  </a:cubicBezTo>
                  <a:lnTo>
                    <a:pt x="110082" y="312397"/>
                  </a:lnTo>
                  <a:cubicBezTo>
                    <a:pt x="110082" y="312397"/>
                    <a:pt x="243966" y="208264"/>
                    <a:pt x="294545" y="178512"/>
                  </a:cubicBezTo>
                  <a:cubicBezTo>
                    <a:pt x="240991" y="136859"/>
                    <a:pt x="243966" y="59504"/>
                    <a:pt x="243966" y="0"/>
                  </a:cubicBezTo>
                  <a:cubicBezTo>
                    <a:pt x="243966" y="0"/>
                    <a:pt x="101157" y="65454"/>
                    <a:pt x="50578" y="59504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DB6319C4-3466-42B6-932A-8E9CE2CB3578}"/>
                </a:ext>
              </a:extLst>
            </p:cNvPr>
            <p:cNvSpPr/>
            <p:nvPr/>
          </p:nvSpPr>
          <p:spPr>
            <a:xfrm>
              <a:off x="16441999" y="8826574"/>
              <a:ext cx="76611" cy="603222"/>
            </a:xfrm>
            <a:custGeom>
              <a:avLst/>
              <a:gdLst>
                <a:gd name="connsiteX0" fmla="*/ 5950 w 76611"/>
                <a:gd name="connsiteY0" fmla="*/ 603223 h 603222"/>
                <a:gd name="connsiteX1" fmla="*/ 5950 w 76611"/>
                <a:gd name="connsiteY1" fmla="*/ 603223 h 603222"/>
                <a:gd name="connsiteX2" fmla="*/ 0 w 76611"/>
                <a:gd name="connsiteY2" fmla="*/ 597273 h 603222"/>
                <a:gd name="connsiteX3" fmla="*/ 2974 w 76611"/>
                <a:gd name="connsiteY3" fmla="*/ 522893 h 603222"/>
                <a:gd name="connsiteX4" fmla="*/ 65454 w 76611"/>
                <a:gd name="connsiteY4" fmla="*/ 2232 h 603222"/>
                <a:gd name="connsiteX5" fmla="*/ 74380 w 76611"/>
                <a:gd name="connsiteY5" fmla="*/ 2232 h 603222"/>
                <a:gd name="connsiteX6" fmla="*/ 74380 w 76611"/>
                <a:gd name="connsiteY6" fmla="*/ 11157 h 603222"/>
                <a:gd name="connsiteX7" fmla="*/ 14876 w 76611"/>
                <a:gd name="connsiteY7" fmla="*/ 525868 h 603222"/>
                <a:gd name="connsiteX8" fmla="*/ 11901 w 76611"/>
                <a:gd name="connsiteY8" fmla="*/ 600248 h 603222"/>
                <a:gd name="connsiteX9" fmla="*/ 5950 w 76611"/>
                <a:gd name="connsiteY9" fmla="*/ 603223 h 603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611" h="603222">
                  <a:moveTo>
                    <a:pt x="5950" y="603223"/>
                  </a:moveTo>
                  <a:cubicBezTo>
                    <a:pt x="5950" y="603223"/>
                    <a:pt x="5950" y="603223"/>
                    <a:pt x="5950" y="603223"/>
                  </a:cubicBezTo>
                  <a:cubicBezTo>
                    <a:pt x="2974" y="603223"/>
                    <a:pt x="0" y="600248"/>
                    <a:pt x="0" y="597273"/>
                  </a:cubicBezTo>
                  <a:cubicBezTo>
                    <a:pt x="0" y="576446"/>
                    <a:pt x="2974" y="552645"/>
                    <a:pt x="2974" y="522893"/>
                  </a:cubicBezTo>
                  <a:cubicBezTo>
                    <a:pt x="8925" y="356281"/>
                    <a:pt x="17851" y="73636"/>
                    <a:pt x="65454" y="2232"/>
                  </a:cubicBezTo>
                  <a:cubicBezTo>
                    <a:pt x="68429" y="-744"/>
                    <a:pt x="71405" y="-744"/>
                    <a:pt x="74380" y="2232"/>
                  </a:cubicBezTo>
                  <a:cubicBezTo>
                    <a:pt x="77355" y="5206"/>
                    <a:pt x="77355" y="8182"/>
                    <a:pt x="74380" y="11157"/>
                  </a:cubicBezTo>
                  <a:cubicBezTo>
                    <a:pt x="26777" y="79587"/>
                    <a:pt x="17851" y="371157"/>
                    <a:pt x="14876" y="525868"/>
                  </a:cubicBezTo>
                  <a:cubicBezTo>
                    <a:pt x="14876" y="555620"/>
                    <a:pt x="11901" y="582397"/>
                    <a:pt x="11901" y="600248"/>
                  </a:cubicBezTo>
                  <a:cubicBezTo>
                    <a:pt x="11901" y="600248"/>
                    <a:pt x="8925" y="603223"/>
                    <a:pt x="5950" y="603223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8B951314-96FC-4D32-A875-459389E67347}"/>
                </a:ext>
              </a:extLst>
            </p:cNvPr>
            <p:cNvSpPr/>
            <p:nvPr/>
          </p:nvSpPr>
          <p:spPr>
            <a:xfrm>
              <a:off x="16668114" y="8739550"/>
              <a:ext cx="345124" cy="148760"/>
            </a:xfrm>
            <a:custGeom>
              <a:avLst/>
              <a:gdLst>
                <a:gd name="connsiteX0" fmla="*/ 35703 w 345124"/>
                <a:gd name="connsiteY0" fmla="*/ 8925 h 148760"/>
                <a:gd name="connsiteX1" fmla="*/ 133884 w 345124"/>
                <a:gd name="connsiteY1" fmla="*/ 119008 h 148760"/>
                <a:gd name="connsiteX2" fmla="*/ 321323 w 345124"/>
                <a:gd name="connsiteY2" fmla="*/ 0 h 148760"/>
                <a:gd name="connsiteX3" fmla="*/ 345124 w 345124"/>
                <a:gd name="connsiteY3" fmla="*/ 8925 h 148760"/>
                <a:gd name="connsiteX4" fmla="*/ 133884 w 345124"/>
                <a:gd name="connsiteY4" fmla="*/ 148760 h 148760"/>
                <a:gd name="connsiteX5" fmla="*/ 0 w 345124"/>
                <a:gd name="connsiteY5" fmla="*/ 14876 h 148760"/>
                <a:gd name="connsiteX6" fmla="*/ 35703 w 345124"/>
                <a:gd name="connsiteY6" fmla="*/ 8925 h 148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5124" h="148760">
                  <a:moveTo>
                    <a:pt x="35703" y="8925"/>
                  </a:moveTo>
                  <a:lnTo>
                    <a:pt x="133884" y="119008"/>
                  </a:lnTo>
                  <a:cubicBezTo>
                    <a:pt x="133884" y="119008"/>
                    <a:pt x="261819" y="23801"/>
                    <a:pt x="321323" y="0"/>
                  </a:cubicBezTo>
                  <a:lnTo>
                    <a:pt x="345124" y="8925"/>
                  </a:lnTo>
                  <a:lnTo>
                    <a:pt x="133884" y="148760"/>
                  </a:lnTo>
                  <a:lnTo>
                    <a:pt x="0" y="14876"/>
                  </a:lnTo>
                  <a:cubicBezTo>
                    <a:pt x="0" y="14876"/>
                    <a:pt x="14876" y="8925"/>
                    <a:pt x="35703" y="8925"/>
                  </a:cubicBezTo>
                  <a:close/>
                </a:path>
              </a:pathLst>
            </a:custGeom>
            <a:solidFill>
              <a:srgbClr val="D1615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F4985427-1492-46A3-81CD-AD8922D34B71}"/>
                </a:ext>
              </a:extLst>
            </p:cNvPr>
            <p:cNvSpPr/>
            <p:nvPr/>
          </p:nvSpPr>
          <p:spPr>
            <a:xfrm>
              <a:off x="16510428" y="9644012"/>
              <a:ext cx="300496" cy="29752"/>
            </a:xfrm>
            <a:custGeom>
              <a:avLst/>
              <a:gdLst>
                <a:gd name="connsiteX0" fmla="*/ 5951 w 300496"/>
                <a:gd name="connsiteY0" fmla="*/ 29752 h 29752"/>
                <a:gd name="connsiteX1" fmla="*/ 0 w 300496"/>
                <a:gd name="connsiteY1" fmla="*/ 23801 h 29752"/>
                <a:gd name="connsiteX2" fmla="*/ 5951 w 300496"/>
                <a:gd name="connsiteY2" fmla="*/ 17851 h 29752"/>
                <a:gd name="connsiteX3" fmla="*/ 294545 w 300496"/>
                <a:gd name="connsiteY3" fmla="*/ 0 h 29752"/>
                <a:gd name="connsiteX4" fmla="*/ 300496 w 300496"/>
                <a:gd name="connsiteY4" fmla="*/ 2975 h 29752"/>
                <a:gd name="connsiteX5" fmla="*/ 297521 w 300496"/>
                <a:gd name="connsiteY5" fmla="*/ 8925 h 29752"/>
                <a:gd name="connsiteX6" fmla="*/ 5951 w 300496"/>
                <a:gd name="connsiteY6" fmla="*/ 29752 h 29752"/>
                <a:gd name="connsiteX7" fmla="*/ 5951 w 300496"/>
                <a:gd name="connsiteY7" fmla="*/ 29752 h 29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496" h="29752">
                  <a:moveTo>
                    <a:pt x="5951" y="29752"/>
                  </a:moveTo>
                  <a:cubicBezTo>
                    <a:pt x="2975" y="29752"/>
                    <a:pt x="0" y="26777"/>
                    <a:pt x="0" y="23801"/>
                  </a:cubicBezTo>
                  <a:cubicBezTo>
                    <a:pt x="0" y="20827"/>
                    <a:pt x="2975" y="17851"/>
                    <a:pt x="5951" y="17851"/>
                  </a:cubicBezTo>
                  <a:cubicBezTo>
                    <a:pt x="8925" y="17851"/>
                    <a:pt x="205289" y="14876"/>
                    <a:pt x="294545" y="0"/>
                  </a:cubicBezTo>
                  <a:cubicBezTo>
                    <a:pt x="297521" y="0"/>
                    <a:pt x="300496" y="0"/>
                    <a:pt x="300496" y="2975"/>
                  </a:cubicBezTo>
                  <a:cubicBezTo>
                    <a:pt x="300496" y="5951"/>
                    <a:pt x="300496" y="8925"/>
                    <a:pt x="297521" y="8925"/>
                  </a:cubicBezTo>
                  <a:cubicBezTo>
                    <a:pt x="208264" y="29752"/>
                    <a:pt x="8925" y="29752"/>
                    <a:pt x="5951" y="29752"/>
                  </a:cubicBezTo>
                  <a:cubicBezTo>
                    <a:pt x="5951" y="29752"/>
                    <a:pt x="5951" y="29752"/>
                    <a:pt x="5951" y="29752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8E585F4C-D97C-48B8-925F-8F95BCA63F77}"/>
                </a:ext>
              </a:extLst>
            </p:cNvPr>
            <p:cNvSpPr/>
            <p:nvPr/>
          </p:nvSpPr>
          <p:spPr>
            <a:xfrm>
              <a:off x="16575883" y="8944569"/>
              <a:ext cx="697946" cy="794650"/>
            </a:xfrm>
            <a:custGeom>
              <a:avLst/>
              <a:gdLst>
                <a:gd name="connsiteX0" fmla="*/ 648595 w 697946"/>
                <a:gd name="connsiteY0" fmla="*/ 59774 h 794650"/>
                <a:gd name="connsiteX1" fmla="*/ 425454 w 697946"/>
                <a:gd name="connsiteY1" fmla="*/ 160931 h 794650"/>
                <a:gd name="connsiteX2" fmla="*/ 419503 w 697946"/>
                <a:gd name="connsiteY2" fmla="*/ 568535 h 794650"/>
                <a:gd name="connsiteX3" fmla="*/ 0 w 697946"/>
                <a:gd name="connsiteY3" fmla="*/ 675642 h 794650"/>
                <a:gd name="connsiteX4" fmla="*/ 11901 w 697946"/>
                <a:gd name="connsiteY4" fmla="*/ 794650 h 794650"/>
                <a:gd name="connsiteX5" fmla="*/ 595041 w 697946"/>
                <a:gd name="connsiteY5" fmla="*/ 681592 h 794650"/>
                <a:gd name="connsiteX6" fmla="*/ 648595 w 697946"/>
                <a:gd name="connsiteY6" fmla="*/ 59774 h 79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7946" h="794650">
                  <a:moveTo>
                    <a:pt x="648595" y="59774"/>
                  </a:moveTo>
                  <a:cubicBezTo>
                    <a:pt x="529586" y="-71135"/>
                    <a:pt x="413554" y="35972"/>
                    <a:pt x="425454" y="160931"/>
                  </a:cubicBezTo>
                  <a:cubicBezTo>
                    <a:pt x="437355" y="285890"/>
                    <a:pt x="434379" y="541758"/>
                    <a:pt x="419503" y="568535"/>
                  </a:cubicBezTo>
                  <a:cubicBezTo>
                    <a:pt x="365950" y="592336"/>
                    <a:pt x="0" y="675642"/>
                    <a:pt x="0" y="675642"/>
                  </a:cubicBezTo>
                  <a:cubicBezTo>
                    <a:pt x="17851" y="699443"/>
                    <a:pt x="11901" y="794650"/>
                    <a:pt x="11901" y="794650"/>
                  </a:cubicBezTo>
                  <a:cubicBezTo>
                    <a:pt x="11901" y="794650"/>
                    <a:pt x="511735" y="779774"/>
                    <a:pt x="595041" y="681592"/>
                  </a:cubicBezTo>
                  <a:cubicBezTo>
                    <a:pt x="639669" y="628039"/>
                    <a:pt x="767603" y="190683"/>
                    <a:pt x="648595" y="59774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8298A418-4A77-4940-B41E-46AA63CC01B3}"/>
                </a:ext>
              </a:extLst>
            </p:cNvPr>
            <p:cNvSpPr/>
            <p:nvPr/>
          </p:nvSpPr>
          <p:spPr>
            <a:xfrm>
              <a:off x="16981473" y="8797591"/>
              <a:ext cx="359101" cy="415074"/>
            </a:xfrm>
            <a:custGeom>
              <a:avLst/>
              <a:gdLst>
                <a:gd name="connsiteX0" fmla="*/ 359037 w 359101"/>
                <a:gd name="connsiteY0" fmla="*/ 397165 h 415074"/>
                <a:gd name="connsiteX1" fmla="*/ 186476 w 359101"/>
                <a:gd name="connsiteY1" fmla="*/ 1463 h 415074"/>
                <a:gd name="connsiteX2" fmla="*/ 2013 w 359101"/>
                <a:gd name="connsiteY2" fmla="*/ 382289 h 415074"/>
                <a:gd name="connsiteX3" fmla="*/ 359037 w 359101"/>
                <a:gd name="connsiteY3" fmla="*/ 397165 h 41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9101" h="415074">
                  <a:moveTo>
                    <a:pt x="359037" y="397165"/>
                  </a:moveTo>
                  <a:cubicBezTo>
                    <a:pt x="362013" y="221628"/>
                    <a:pt x="260856" y="19314"/>
                    <a:pt x="186476" y="1463"/>
                  </a:cubicBezTo>
                  <a:cubicBezTo>
                    <a:pt x="88293" y="-19364"/>
                    <a:pt x="-15839" y="185925"/>
                    <a:pt x="2013" y="382289"/>
                  </a:cubicBezTo>
                  <a:cubicBezTo>
                    <a:pt x="67467" y="417991"/>
                    <a:pt x="266806" y="426917"/>
                    <a:pt x="359037" y="397165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CC887449-1A49-40DF-9476-7E88B912E606}"/>
                </a:ext>
              </a:extLst>
            </p:cNvPr>
            <p:cNvSpPr/>
            <p:nvPr/>
          </p:nvSpPr>
          <p:spPr>
            <a:xfrm>
              <a:off x="16978652" y="8793103"/>
              <a:ext cx="183346" cy="425454"/>
            </a:xfrm>
            <a:custGeom>
              <a:avLst/>
              <a:gdLst>
                <a:gd name="connsiteX0" fmla="*/ 147644 w 183346"/>
                <a:gd name="connsiteY0" fmla="*/ 425455 h 425454"/>
                <a:gd name="connsiteX1" fmla="*/ 147644 w 183346"/>
                <a:gd name="connsiteY1" fmla="*/ 425455 h 425454"/>
                <a:gd name="connsiteX2" fmla="*/ 4834 w 183346"/>
                <a:gd name="connsiteY2" fmla="*/ 395703 h 425454"/>
                <a:gd name="connsiteX3" fmla="*/ 1859 w 183346"/>
                <a:gd name="connsiteY3" fmla="*/ 392728 h 425454"/>
                <a:gd name="connsiteX4" fmla="*/ 55413 w 183346"/>
                <a:gd name="connsiteY4" fmla="*/ 107108 h 425454"/>
                <a:gd name="connsiteX5" fmla="*/ 61363 w 183346"/>
                <a:gd name="connsiteY5" fmla="*/ 98182 h 425454"/>
                <a:gd name="connsiteX6" fmla="*/ 177396 w 183346"/>
                <a:gd name="connsiteY6" fmla="*/ 0 h 425454"/>
                <a:gd name="connsiteX7" fmla="*/ 183346 w 183346"/>
                <a:gd name="connsiteY7" fmla="*/ 5951 h 425454"/>
                <a:gd name="connsiteX8" fmla="*/ 177396 w 183346"/>
                <a:gd name="connsiteY8" fmla="*/ 11901 h 425454"/>
                <a:gd name="connsiteX9" fmla="*/ 70289 w 183346"/>
                <a:gd name="connsiteY9" fmla="*/ 104132 h 425454"/>
                <a:gd name="connsiteX10" fmla="*/ 64338 w 183346"/>
                <a:gd name="connsiteY10" fmla="*/ 113058 h 425454"/>
                <a:gd name="connsiteX11" fmla="*/ 10785 w 183346"/>
                <a:gd name="connsiteY11" fmla="*/ 386777 h 425454"/>
                <a:gd name="connsiteX12" fmla="*/ 147644 w 183346"/>
                <a:gd name="connsiteY12" fmla="*/ 413554 h 425454"/>
                <a:gd name="connsiteX13" fmla="*/ 153594 w 183346"/>
                <a:gd name="connsiteY13" fmla="*/ 419504 h 425454"/>
                <a:gd name="connsiteX14" fmla="*/ 147644 w 183346"/>
                <a:gd name="connsiteY14" fmla="*/ 425455 h 425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3346" h="425454">
                  <a:moveTo>
                    <a:pt x="147644" y="425455"/>
                  </a:moveTo>
                  <a:cubicBezTo>
                    <a:pt x="147644" y="425455"/>
                    <a:pt x="147644" y="425455"/>
                    <a:pt x="147644" y="425455"/>
                  </a:cubicBezTo>
                  <a:cubicBezTo>
                    <a:pt x="73264" y="425455"/>
                    <a:pt x="28636" y="410579"/>
                    <a:pt x="4834" y="395703"/>
                  </a:cubicBezTo>
                  <a:cubicBezTo>
                    <a:pt x="4834" y="395703"/>
                    <a:pt x="1859" y="392728"/>
                    <a:pt x="1859" y="392728"/>
                  </a:cubicBezTo>
                  <a:cubicBezTo>
                    <a:pt x="-4091" y="362976"/>
                    <a:pt x="1859" y="196364"/>
                    <a:pt x="55413" y="107108"/>
                  </a:cubicBezTo>
                  <a:cubicBezTo>
                    <a:pt x="55413" y="104132"/>
                    <a:pt x="58388" y="101157"/>
                    <a:pt x="61363" y="98182"/>
                  </a:cubicBezTo>
                  <a:cubicBezTo>
                    <a:pt x="79214" y="68430"/>
                    <a:pt x="114917" y="8926"/>
                    <a:pt x="177396" y="0"/>
                  </a:cubicBezTo>
                  <a:cubicBezTo>
                    <a:pt x="180371" y="0"/>
                    <a:pt x="183346" y="2975"/>
                    <a:pt x="183346" y="5951"/>
                  </a:cubicBezTo>
                  <a:cubicBezTo>
                    <a:pt x="183346" y="8926"/>
                    <a:pt x="180371" y="11901"/>
                    <a:pt x="177396" y="11901"/>
                  </a:cubicBezTo>
                  <a:cubicBezTo>
                    <a:pt x="117892" y="17851"/>
                    <a:pt x="85165" y="77356"/>
                    <a:pt x="70289" y="104132"/>
                  </a:cubicBezTo>
                  <a:cubicBezTo>
                    <a:pt x="67313" y="107108"/>
                    <a:pt x="67313" y="110083"/>
                    <a:pt x="64338" y="113058"/>
                  </a:cubicBezTo>
                  <a:cubicBezTo>
                    <a:pt x="13760" y="196364"/>
                    <a:pt x="4834" y="354050"/>
                    <a:pt x="10785" y="386777"/>
                  </a:cubicBezTo>
                  <a:cubicBezTo>
                    <a:pt x="34586" y="398678"/>
                    <a:pt x="76239" y="413554"/>
                    <a:pt x="147644" y="413554"/>
                  </a:cubicBezTo>
                  <a:cubicBezTo>
                    <a:pt x="150619" y="413554"/>
                    <a:pt x="153594" y="416529"/>
                    <a:pt x="153594" y="419504"/>
                  </a:cubicBezTo>
                  <a:cubicBezTo>
                    <a:pt x="150619" y="422480"/>
                    <a:pt x="150619" y="425455"/>
                    <a:pt x="147644" y="425455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C0B141B1-921D-440D-BFE6-9E63FB853361}"/>
                </a:ext>
              </a:extLst>
            </p:cNvPr>
            <p:cNvSpPr/>
            <p:nvPr/>
          </p:nvSpPr>
          <p:spPr>
            <a:xfrm>
              <a:off x="15558242" y="9557669"/>
              <a:ext cx="334074" cy="193927"/>
            </a:xfrm>
            <a:custGeom>
              <a:avLst/>
              <a:gdLst>
                <a:gd name="connsiteX0" fmla="*/ 125080 w 334074"/>
                <a:gd name="connsiteY0" fmla="*/ 193451 h 193927"/>
                <a:gd name="connsiteX1" fmla="*/ 199460 w 334074"/>
                <a:gd name="connsiteY1" fmla="*/ 184525 h 193927"/>
                <a:gd name="connsiteX2" fmla="*/ 312517 w 334074"/>
                <a:gd name="connsiteY2" fmla="*/ 145848 h 193927"/>
                <a:gd name="connsiteX3" fmla="*/ 333344 w 334074"/>
                <a:gd name="connsiteY3" fmla="*/ 35765 h 193927"/>
                <a:gd name="connsiteX4" fmla="*/ 44749 w 334074"/>
                <a:gd name="connsiteY4" fmla="*/ 32790 h 193927"/>
                <a:gd name="connsiteX5" fmla="*/ 26897 w 334074"/>
                <a:gd name="connsiteY5" fmla="*/ 59567 h 193927"/>
                <a:gd name="connsiteX6" fmla="*/ 71525 w 334074"/>
                <a:gd name="connsiteY6" fmla="*/ 65517 h 193927"/>
                <a:gd name="connsiteX7" fmla="*/ 131030 w 334074"/>
                <a:gd name="connsiteY7" fmla="*/ 71467 h 193927"/>
                <a:gd name="connsiteX8" fmla="*/ 59625 w 334074"/>
                <a:gd name="connsiteY8" fmla="*/ 89319 h 193927"/>
                <a:gd name="connsiteX9" fmla="*/ 9046 w 334074"/>
                <a:gd name="connsiteY9" fmla="*/ 104195 h 193927"/>
                <a:gd name="connsiteX10" fmla="*/ 3096 w 334074"/>
                <a:gd name="connsiteY10" fmla="*/ 130972 h 193927"/>
                <a:gd name="connsiteX11" fmla="*/ 29873 w 334074"/>
                <a:gd name="connsiteY11" fmla="*/ 148823 h 193927"/>
                <a:gd name="connsiteX12" fmla="*/ 26897 w 334074"/>
                <a:gd name="connsiteY12" fmla="*/ 151798 h 193927"/>
                <a:gd name="connsiteX13" fmla="*/ 26897 w 334074"/>
                <a:gd name="connsiteY13" fmla="*/ 157748 h 193927"/>
                <a:gd name="connsiteX14" fmla="*/ 71525 w 334074"/>
                <a:gd name="connsiteY14" fmla="*/ 169649 h 193927"/>
                <a:gd name="connsiteX15" fmla="*/ 98302 w 334074"/>
                <a:gd name="connsiteY15" fmla="*/ 163699 h 193927"/>
                <a:gd name="connsiteX16" fmla="*/ 92352 w 334074"/>
                <a:gd name="connsiteY16" fmla="*/ 166674 h 193927"/>
                <a:gd name="connsiteX17" fmla="*/ 86401 w 334074"/>
                <a:gd name="connsiteY17" fmla="*/ 187500 h 193927"/>
                <a:gd name="connsiteX18" fmla="*/ 125080 w 334074"/>
                <a:gd name="connsiteY18" fmla="*/ 193451 h 193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074" h="193927">
                  <a:moveTo>
                    <a:pt x="125080" y="193451"/>
                  </a:moveTo>
                  <a:cubicBezTo>
                    <a:pt x="148881" y="190476"/>
                    <a:pt x="175658" y="187500"/>
                    <a:pt x="199460" y="184525"/>
                  </a:cubicBezTo>
                  <a:cubicBezTo>
                    <a:pt x="241113" y="178575"/>
                    <a:pt x="285741" y="181550"/>
                    <a:pt x="312517" y="145848"/>
                  </a:cubicBezTo>
                  <a:cubicBezTo>
                    <a:pt x="330369" y="122046"/>
                    <a:pt x="336319" y="38740"/>
                    <a:pt x="333344" y="35765"/>
                  </a:cubicBezTo>
                  <a:cubicBezTo>
                    <a:pt x="294666" y="-32665"/>
                    <a:pt x="101277" y="14939"/>
                    <a:pt x="44749" y="32790"/>
                  </a:cubicBezTo>
                  <a:cubicBezTo>
                    <a:pt x="35823" y="35765"/>
                    <a:pt x="9046" y="47666"/>
                    <a:pt x="26897" y="59567"/>
                  </a:cubicBezTo>
                  <a:cubicBezTo>
                    <a:pt x="38798" y="68492"/>
                    <a:pt x="59625" y="65517"/>
                    <a:pt x="71525" y="65517"/>
                  </a:cubicBezTo>
                  <a:cubicBezTo>
                    <a:pt x="92352" y="68492"/>
                    <a:pt x="110204" y="68492"/>
                    <a:pt x="131030" y="71467"/>
                  </a:cubicBezTo>
                  <a:cubicBezTo>
                    <a:pt x="107228" y="77418"/>
                    <a:pt x="83426" y="83368"/>
                    <a:pt x="59625" y="89319"/>
                  </a:cubicBezTo>
                  <a:cubicBezTo>
                    <a:pt x="44749" y="92294"/>
                    <a:pt x="23922" y="95269"/>
                    <a:pt x="9046" y="104195"/>
                  </a:cubicBezTo>
                  <a:cubicBezTo>
                    <a:pt x="121" y="110145"/>
                    <a:pt x="-2855" y="122046"/>
                    <a:pt x="3096" y="130972"/>
                  </a:cubicBezTo>
                  <a:cubicBezTo>
                    <a:pt x="9046" y="142872"/>
                    <a:pt x="17972" y="145848"/>
                    <a:pt x="29873" y="148823"/>
                  </a:cubicBezTo>
                  <a:cubicBezTo>
                    <a:pt x="29873" y="148823"/>
                    <a:pt x="29873" y="148823"/>
                    <a:pt x="26897" y="151798"/>
                  </a:cubicBezTo>
                  <a:cubicBezTo>
                    <a:pt x="26897" y="151798"/>
                    <a:pt x="26897" y="154773"/>
                    <a:pt x="26897" y="157748"/>
                  </a:cubicBezTo>
                  <a:cubicBezTo>
                    <a:pt x="38798" y="169649"/>
                    <a:pt x="53674" y="172624"/>
                    <a:pt x="71525" y="169649"/>
                  </a:cubicBezTo>
                  <a:cubicBezTo>
                    <a:pt x="80452" y="169649"/>
                    <a:pt x="89377" y="166674"/>
                    <a:pt x="98302" y="163699"/>
                  </a:cubicBezTo>
                  <a:cubicBezTo>
                    <a:pt x="95328" y="163699"/>
                    <a:pt x="95328" y="166674"/>
                    <a:pt x="92352" y="166674"/>
                  </a:cubicBezTo>
                  <a:cubicBezTo>
                    <a:pt x="86401" y="172624"/>
                    <a:pt x="83426" y="178575"/>
                    <a:pt x="86401" y="187500"/>
                  </a:cubicBezTo>
                  <a:cubicBezTo>
                    <a:pt x="95328" y="196426"/>
                    <a:pt x="113178" y="193451"/>
                    <a:pt x="125080" y="193451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B386350F-BF37-458C-9865-36DDD6509DF6}"/>
                </a:ext>
              </a:extLst>
            </p:cNvPr>
            <p:cNvSpPr/>
            <p:nvPr/>
          </p:nvSpPr>
          <p:spPr>
            <a:xfrm>
              <a:off x="15713401" y="9565693"/>
              <a:ext cx="140839" cy="102452"/>
            </a:xfrm>
            <a:custGeom>
              <a:avLst/>
              <a:gdLst>
                <a:gd name="connsiteX0" fmla="*/ 11573 w 140839"/>
                <a:gd name="connsiteY0" fmla="*/ 102121 h 102452"/>
                <a:gd name="connsiteX1" fmla="*/ 29425 w 140839"/>
                <a:gd name="connsiteY1" fmla="*/ 81295 h 102452"/>
                <a:gd name="connsiteX2" fmla="*/ 82978 w 140839"/>
                <a:gd name="connsiteY2" fmla="*/ 54518 h 102452"/>
                <a:gd name="connsiteX3" fmla="*/ 139507 w 140839"/>
                <a:gd name="connsiteY3" fmla="*/ 72369 h 102452"/>
                <a:gd name="connsiteX4" fmla="*/ 112730 w 140839"/>
                <a:gd name="connsiteY4" fmla="*/ 3939 h 102452"/>
                <a:gd name="connsiteX5" fmla="*/ 11573 w 140839"/>
                <a:gd name="connsiteY5" fmla="*/ 24766 h 102452"/>
                <a:gd name="connsiteX6" fmla="*/ 11573 w 140839"/>
                <a:gd name="connsiteY6" fmla="*/ 102121 h 10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839" h="102452">
                  <a:moveTo>
                    <a:pt x="11573" y="102121"/>
                  </a:moveTo>
                  <a:cubicBezTo>
                    <a:pt x="20498" y="105096"/>
                    <a:pt x="23474" y="87245"/>
                    <a:pt x="29425" y="81295"/>
                  </a:cubicBezTo>
                  <a:cubicBezTo>
                    <a:pt x="44301" y="63444"/>
                    <a:pt x="59177" y="54518"/>
                    <a:pt x="82978" y="54518"/>
                  </a:cubicBezTo>
                  <a:cubicBezTo>
                    <a:pt x="97854" y="54518"/>
                    <a:pt x="124631" y="69394"/>
                    <a:pt x="139507" y="72369"/>
                  </a:cubicBezTo>
                  <a:cubicBezTo>
                    <a:pt x="145457" y="72369"/>
                    <a:pt x="130581" y="9890"/>
                    <a:pt x="112730" y="3939"/>
                  </a:cubicBezTo>
                  <a:cubicBezTo>
                    <a:pt x="85953" y="-4986"/>
                    <a:pt x="32399" y="964"/>
                    <a:pt x="11573" y="24766"/>
                  </a:cubicBezTo>
                  <a:cubicBezTo>
                    <a:pt x="2647" y="36667"/>
                    <a:pt x="-9254" y="93196"/>
                    <a:pt x="11573" y="102121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1851F848-A85F-4596-93AB-F632103CC5FC}"/>
                </a:ext>
              </a:extLst>
            </p:cNvPr>
            <p:cNvSpPr/>
            <p:nvPr/>
          </p:nvSpPr>
          <p:spPr>
            <a:xfrm>
              <a:off x="15705077" y="9559618"/>
              <a:ext cx="134186" cy="114146"/>
            </a:xfrm>
            <a:custGeom>
              <a:avLst/>
              <a:gdLst>
                <a:gd name="connsiteX0" fmla="*/ 19897 w 134186"/>
                <a:gd name="connsiteY0" fmla="*/ 114146 h 114146"/>
                <a:gd name="connsiteX1" fmla="*/ 5021 w 134186"/>
                <a:gd name="connsiteY1" fmla="*/ 105221 h 114146"/>
                <a:gd name="connsiteX2" fmla="*/ 13946 w 134186"/>
                <a:gd name="connsiteY2" fmla="*/ 27866 h 114146"/>
                <a:gd name="connsiteX3" fmla="*/ 121054 w 134186"/>
                <a:gd name="connsiteY3" fmla="*/ 4063 h 114146"/>
                <a:gd name="connsiteX4" fmla="*/ 127005 w 134186"/>
                <a:gd name="connsiteY4" fmla="*/ 10014 h 114146"/>
                <a:gd name="connsiteX5" fmla="*/ 121054 w 134186"/>
                <a:gd name="connsiteY5" fmla="*/ 15965 h 114146"/>
                <a:gd name="connsiteX6" fmla="*/ 25847 w 134186"/>
                <a:gd name="connsiteY6" fmla="*/ 33815 h 114146"/>
                <a:gd name="connsiteX7" fmla="*/ 16922 w 134186"/>
                <a:gd name="connsiteY7" fmla="*/ 99270 h 114146"/>
                <a:gd name="connsiteX8" fmla="*/ 22872 w 134186"/>
                <a:gd name="connsiteY8" fmla="*/ 102246 h 114146"/>
                <a:gd name="connsiteX9" fmla="*/ 37748 w 134186"/>
                <a:gd name="connsiteY9" fmla="*/ 90345 h 114146"/>
                <a:gd name="connsiteX10" fmla="*/ 94277 w 134186"/>
                <a:gd name="connsiteY10" fmla="*/ 57618 h 114146"/>
                <a:gd name="connsiteX11" fmla="*/ 97253 w 134186"/>
                <a:gd name="connsiteY11" fmla="*/ 57618 h 114146"/>
                <a:gd name="connsiteX12" fmla="*/ 103202 w 134186"/>
                <a:gd name="connsiteY12" fmla="*/ 60593 h 114146"/>
                <a:gd name="connsiteX13" fmla="*/ 129979 w 134186"/>
                <a:gd name="connsiteY13" fmla="*/ 90345 h 114146"/>
                <a:gd name="connsiteX14" fmla="*/ 132955 w 134186"/>
                <a:gd name="connsiteY14" fmla="*/ 96295 h 114146"/>
                <a:gd name="connsiteX15" fmla="*/ 127005 w 134186"/>
                <a:gd name="connsiteY15" fmla="*/ 99270 h 114146"/>
                <a:gd name="connsiteX16" fmla="*/ 94277 w 134186"/>
                <a:gd name="connsiteY16" fmla="*/ 66543 h 114146"/>
                <a:gd name="connsiteX17" fmla="*/ 49649 w 134186"/>
                <a:gd name="connsiteY17" fmla="*/ 96295 h 114146"/>
                <a:gd name="connsiteX18" fmla="*/ 19897 w 134186"/>
                <a:gd name="connsiteY18" fmla="*/ 114146 h 114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4186" h="114146">
                  <a:moveTo>
                    <a:pt x="19897" y="114146"/>
                  </a:moveTo>
                  <a:cubicBezTo>
                    <a:pt x="13946" y="114146"/>
                    <a:pt x="7996" y="111171"/>
                    <a:pt x="5021" y="105221"/>
                  </a:cubicBezTo>
                  <a:cubicBezTo>
                    <a:pt x="-3905" y="90345"/>
                    <a:pt x="-930" y="57618"/>
                    <a:pt x="13946" y="27866"/>
                  </a:cubicBezTo>
                  <a:cubicBezTo>
                    <a:pt x="37748" y="-10813"/>
                    <a:pt x="118079" y="1089"/>
                    <a:pt x="121054" y="4063"/>
                  </a:cubicBezTo>
                  <a:cubicBezTo>
                    <a:pt x="124029" y="4063"/>
                    <a:pt x="127005" y="7039"/>
                    <a:pt x="127005" y="10014"/>
                  </a:cubicBezTo>
                  <a:cubicBezTo>
                    <a:pt x="127005" y="12989"/>
                    <a:pt x="124029" y="15965"/>
                    <a:pt x="121054" y="15965"/>
                  </a:cubicBezTo>
                  <a:cubicBezTo>
                    <a:pt x="121054" y="15965"/>
                    <a:pt x="46674" y="4063"/>
                    <a:pt x="25847" y="33815"/>
                  </a:cubicBezTo>
                  <a:cubicBezTo>
                    <a:pt x="10971" y="57618"/>
                    <a:pt x="7996" y="87370"/>
                    <a:pt x="16922" y="99270"/>
                  </a:cubicBezTo>
                  <a:cubicBezTo>
                    <a:pt x="19897" y="102246"/>
                    <a:pt x="19897" y="102246"/>
                    <a:pt x="22872" y="102246"/>
                  </a:cubicBezTo>
                  <a:cubicBezTo>
                    <a:pt x="25847" y="102246"/>
                    <a:pt x="31798" y="96295"/>
                    <a:pt x="37748" y="90345"/>
                  </a:cubicBezTo>
                  <a:cubicBezTo>
                    <a:pt x="49649" y="75469"/>
                    <a:pt x="64525" y="57618"/>
                    <a:pt x="94277" y="57618"/>
                  </a:cubicBezTo>
                  <a:cubicBezTo>
                    <a:pt x="94277" y="57618"/>
                    <a:pt x="97253" y="57618"/>
                    <a:pt x="97253" y="57618"/>
                  </a:cubicBezTo>
                  <a:cubicBezTo>
                    <a:pt x="100227" y="57618"/>
                    <a:pt x="100227" y="60593"/>
                    <a:pt x="103202" y="60593"/>
                  </a:cubicBezTo>
                  <a:cubicBezTo>
                    <a:pt x="103202" y="60593"/>
                    <a:pt x="112129" y="87370"/>
                    <a:pt x="129979" y="90345"/>
                  </a:cubicBezTo>
                  <a:cubicBezTo>
                    <a:pt x="132955" y="90345"/>
                    <a:pt x="135930" y="93320"/>
                    <a:pt x="132955" y="96295"/>
                  </a:cubicBezTo>
                  <a:cubicBezTo>
                    <a:pt x="132955" y="99270"/>
                    <a:pt x="129979" y="102246"/>
                    <a:pt x="127005" y="99270"/>
                  </a:cubicBezTo>
                  <a:cubicBezTo>
                    <a:pt x="109153" y="93320"/>
                    <a:pt x="97253" y="72494"/>
                    <a:pt x="94277" y="66543"/>
                  </a:cubicBezTo>
                  <a:cubicBezTo>
                    <a:pt x="70475" y="66543"/>
                    <a:pt x="58574" y="84394"/>
                    <a:pt x="49649" y="96295"/>
                  </a:cubicBezTo>
                  <a:cubicBezTo>
                    <a:pt x="34773" y="105221"/>
                    <a:pt x="28822" y="114146"/>
                    <a:pt x="19897" y="114146"/>
                  </a:cubicBezTo>
                  <a:close/>
                </a:path>
              </a:pathLst>
            </a:custGeom>
            <a:solidFill>
              <a:srgbClr val="E58777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1" name="图形 1">
              <a:extLst>
                <a:ext uri="{FF2B5EF4-FFF2-40B4-BE49-F238E27FC236}">
                  <a16:creationId xmlns:a16="http://schemas.microsoft.com/office/drawing/2014/main" id="{FC4BD8EF-9A5D-4582-8769-56EA7D31B8F2}"/>
                </a:ext>
              </a:extLst>
            </p:cNvPr>
            <p:cNvGrpSpPr/>
            <p:nvPr/>
          </p:nvGrpSpPr>
          <p:grpSpPr>
            <a:xfrm>
              <a:off x="16342450" y="9594312"/>
              <a:ext cx="304025" cy="210360"/>
              <a:chOff x="16342450" y="9594312"/>
              <a:chExt cx="304025" cy="210360"/>
            </a:xfrm>
          </p:grpSpPr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BBD7D21B-B958-43B7-841D-1884358F0467}"/>
                  </a:ext>
                </a:extLst>
              </p:cNvPr>
              <p:cNvSpPr/>
              <p:nvPr/>
            </p:nvSpPr>
            <p:spPr>
              <a:xfrm>
                <a:off x="16347805" y="9594312"/>
                <a:ext cx="298670" cy="201435"/>
              </a:xfrm>
              <a:custGeom>
                <a:avLst/>
                <a:gdLst>
                  <a:gd name="connsiteX0" fmla="*/ 278656 w 298670"/>
                  <a:gd name="connsiteY0" fmla="*/ 43749 h 201435"/>
                  <a:gd name="connsiteX1" fmla="*/ 272706 w 298670"/>
                  <a:gd name="connsiteY1" fmla="*/ 31849 h 201435"/>
                  <a:gd name="connsiteX2" fmla="*/ 115020 w 298670"/>
                  <a:gd name="connsiteY2" fmla="*/ 8047 h 201435"/>
                  <a:gd name="connsiteX3" fmla="*/ 34690 w 298670"/>
                  <a:gd name="connsiteY3" fmla="*/ 64576 h 201435"/>
                  <a:gd name="connsiteX4" fmla="*/ 13863 w 298670"/>
                  <a:gd name="connsiteY4" fmla="*/ 97303 h 201435"/>
                  <a:gd name="connsiteX5" fmla="*/ 19814 w 298670"/>
                  <a:gd name="connsiteY5" fmla="*/ 106229 h 201435"/>
                  <a:gd name="connsiteX6" fmla="*/ 37664 w 298670"/>
                  <a:gd name="connsiteY6" fmla="*/ 103253 h 201435"/>
                  <a:gd name="connsiteX7" fmla="*/ 10888 w 298670"/>
                  <a:gd name="connsiteY7" fmla="*/ 135981 h 201435"/>
                  <a:gd name="connsiteX8" fmla="*/ 1962 w 298670"/>
                  <a:gd name="connsiteY8" fmla="*/ 171684 h 201435"/>
                  <a:gd name="connsiteX9" fmla="*/ 22788 w 298670"/>
                  <a:gd name="connsiteY9" fmla="*/ 183584 h 201435"/>
                  <a:gd name="connsiteX10" fmla="*/ 22788 w 298670"/>
                  <a:gd name="connsiteY10" fmla="*/ 183584 h 201435"/>
                  <a:gd name="connsiteX11" fmla="*/ 25764 w 298670"/>
                  <a:gd name="connsiteY11" fmla="*/ 192510 h 201435"/>
                  <a:gd name="connsiteX12" fmla="*/ 94194 w 298670"/>
                  <a:gd name="connsiteY12" fmla="*/ 174659 h 201435"/>
                  <a:gd name="connsiteX13" fmla="*/ 97169 w 298670"/>
                  <a:gd name="connsiteY13" fmla="*/ 195485 h 201435"/>
                  <a:gd name="connsiteX14" fmla="*/ 109070 w 298670"/>
                  <a:gd name="connsiteY14" fmla="*/ 201436 h 201435"/>
                  <a:gd name="connsiteX15" fmla="*/ 195351 w 298670"/>
                  <a:gd name="connsiteY15" fmla="*/ 150857 h 201435"/>
                  <a:gd name="connsiteX16" fmla="*/ 266756 w 298670"/>
                  <a:gd name="connsiteY16" fmla="*/ 138956 h 201435"/>
                  <a:gd name="connsiteX17" fmla="*/ 278656 w 298670"/>
                  <a:gd name="connsiteY17" fmla="*/ 43749 h 201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98670" h="201435">
                    <a:moveTo>
                      <a:pt x="278656" y="43749"/>
                    </a:moveTo>
                    <a:cubicBezTo>
                      <a:pt x="278656" y="40775"/>
                      <a:pt x="275681" y="34824"/>
                      <a:pt x="272706" y="31849"/>
                    </a:cubicBezTo>
                    <a:cubicBezTo>
                      <a:pt x="234028" y="11023"/>
                      <a:pt x="156673" y="-12780"/>
                      <a:pt x="115020" y="8047"/>
                    </a:cubicBezTo>
                    <a:cubicBezTo>
                      <a:pt x="88243" y="22923"/>
                      <a:pt x="61467" y="46725"/>
                      <a:pt x="34690" y="64576"/>
                    </a:cubicBezTo>
                    <a:cubicBezTo>
                      <a:pt x="22788" y="73501"/>
                      <a:pt x="10888" y="79452"/>
                      <a:pt x="13863" y="97303"/>
                    </a:cubicBezTo>
                    <a:cubicBezTo>
                      <a:pt x="13863" y="100279"/>
                      <a:pt x="16839" y="103253"/>
                      <a:pt x="19814" y="106229"/>
                    </a:cubicBezTo>
                    <a:cubicBezTo>
                      <a:pt x="25764" y="106229"/>
                      <a:pt x="31715" y="106229"/>
                      <a:pt x="37664" y="103253"/>
                    </a:cubicBezTo>
                    <a:cubicBezTo>
                      <a:pt x="28739" y="115155"/>
                      <a:pt x="19814" y="127056"/>
                      <a:pt x="10888" y="135981"/>
                    </a:cubicBezTo>
                    <a:cubicBezTo>
                      <a:pt x="4938" y="144907"/>
                      <a:pt x="-3988" y="156808"/>
                      <a:pt x="1962" y="171684"/>
                    </a:cubicBezTo>
                    <a:cubicBezTo>
                      <a:pt x="7912" y="183584"/>
                      <a:pt x="13863" y="186560"/>
                      <a:pt x="22788" y="183584"/>
                    </a:cubicBezTo>
                    <a:cubicBezTo>
                      <a:pt x="22788" y="183584"/>
                      <a:pt x="22788" y="183584"/>
                      <a:pt x="22788" y="183584"/>
                    </a:cubicBezTo>
                    <a:cubicBezTo>
                      <a:pt x="22788" y="186560"/>
                      <a:pt x="22788" y="189535"/>
                      <a:pt x="25764" y="192510"/>
                    </a:cubicBezTo>
                    <a:cubicBezTo>
                      <a:pt x="43615" y="210361"/>
                      <a:pt x="70392" y="192510"/>
                      <a:pt x="94194" y="174659"/>
                    </a:cubicBezTo>
                    <a:cubicBezTo>
                      <a:pt x="94194" y="180609"/>
                      <a:pt x="94194" y="186560"/>
                      <a:pt x="97169" y="195485"/>
                    </a:cubicBezTo>
                    <a:cubicBezTo>
                      <a:pt x="100144" y="201436"/>
                      <a:pt x="103119" y="201436"/>
                      <a:pt x="109070" y="201436"/>
                    </a:cubicBezTo>
                    <a:cubicBezTo>
                      <a:pt x="141797" y="192510"/>
                      <a:pt x="162623" y="156808"/>
                      <a:pt x="195351" y="150857"/>
                    </a:cubicBezTo>
                    <a:cubicBezTo>
                      <a:pt x="219152" y="144907"/>
                      <a:pt x="242954" y="153832"/>
                      <a:pt x="266756" y="138956"/>
                    </a:cubicBezTo>
                    <a:cubicBezTo>
                      <a:pt x="305433" y="112180"/>
                      <a:pt x="308408" y="73501"/>
                      <a:pt x="278656" y="43749"/>
                    </a:cubicBezTo>
                    <a:close/>
                  </a:path>
                </a:pathLst>
              </a:custGeom>
              <a:solidFill>
                <a:srgbClr val="F5A39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1E8AB3B1-D517-4E08-A9E8-01B71CB82D8D}"/>
                  </a:ext>
                </a:extLst>
              </p:cNvPr>
              <p:cNvSpPr/>
              <p:nvPr/>
            </p:nvSpPr>
            <p:spPr>
              <a:xfrm>
                <a:off x="16351510" y="9595176"/>
                <a:ext cx="124447" cy="111315"/>
              </a:xfrm>
              <a:custGeom>
                <a:avLst/>
                <a:gdLst>
                  <a:gd name="connsiteX0" fmla="*/ 28009 w 124447"/>
                  <a:gd name="connsiteY0" fmla="*/ 108340 h 111315"/>
                  <a:gd name="connsiteX1" fmla="*/ 4207 w 124447"/>
                  <a:gd name="connsiteY1" fmla="*/ 102389 h 111315"/>
                  <a:gd name="connsiteX2" fmla="*/ 1232 w 124447"/>
                  <a:gd name="connsiteY2" fmla="*/ 90489 h 111315"/>
                  <a:gd name="connsiteX3" fmla="*/ 114290 w 124447"/>
                  <a:gd name="connsiteY3" fmla="*/ 1232 h 111315"/>
                  <a:gd name="connsiteX4" fmla="*/ 123215 w 124447"/>
                  <a:gd name="connsiteY4" fmla="*/ 4208 h 111315"/>
                  <a:gd name="connsiteX5" fmla="*/ 120241 w 124447"/>
                  <a:gd name="connsiteY5" fmla="*/ 13133 h 111315"/>
                  <a:gd name="connsiteX6" fmla="*/ 13133 w 124447"/>
                  <a:gd name="connsiteY6" fmla="*/ 93464 h 111315"/>
                  <a:gd name="connsiteX7" fmla="*/ 13133 w 124447"/>
                  <a:gd name="connsiteY7" fmla="*/ 96439 h 111315"/>
                  <a:gd name="connsiteX8" fmla="*/ 33959 w 124447"/>
                  <a:gd name="connsiteY8" fmla="*/ 99415 h 111315"/>
                  <a:gd name="connsiteX9" fmla="*/ 39910 w 124447"/>
                  <a:gd name="connsiteY9" fmla="*/ 105365 h 111315"/>
                  <a:gd name="connsiteX10" fmla="*/ 33959 w 124447"/>
                  <a:gd name="connsiteY10" fmla="*/ 111315 h 111315"/>
                  <a:gd name="connsiteX11" fmla="*/ 28009 w 124447"/>
                  <a:gd name="connsiteY11" fmla="*/ 108340 h 111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4447" h="111315">
                    <a:moveTo>
                      <a:pt x="28009" y="108340"/>
                    </a:moveTo>
                    <a:cubicBezTo>
                      <a:pt x="22058" y="108340"/>
                      <a:pt x="10158" y="108340"/>
                      <a:pt x="4207" y="102389"/>
                    </a:cubicBezTo>
                    <a:cubicBezTo>
                      <a:pt x="1232" y="99415"/>
                      <a:pt x="-1743" y="93464"/>
                      <a:pt x="1232" y="90489"/>
                    </a:cubicBezTo>
                    <a:cubicBezTo>
                      <a:pt x="4207" y="60737"/>
                      <a:pt x="96439" y="10159"/>
                      <a:pt x="114290" y="1232"/>
                    </a:cubicBezTo>
                    <a:cubicBezTo>
                      <a:pt x="117265" y="-1743"/>
                      <a:pt x="120241" y="1232"/>
                      <a:pt x="123215" y="4208"/>
                    </a:cubicBezTo>
                    <a:cubicBezTo>
                      <a:pt x="126191" y="7183"/>
                      <a:pt x="123215" y="10159"/>
                      <a:pt x="120241" y="13133"/>
                    </a:cubicBezTo>
                    <a:cubicBezTo>
                      <a:pt x="81563" y="33960"/>
                      <a:pt x="16109" y="75613"/>
                      <a:pt x="13133" y="93464"/>
                    </a:cubicBezTo>
                    <a:cubicBezTo>
                      <a:pt x="13133" y="96439"/>
                      <a:pt x="13133" y="96439"/>
                      <a:pt x="13133" y="96439"/>
                    </a:cubicBezTo>
                    <a:cubicBezTo>
                      <a:pt x="16109" y="99415"/>
                      <a:pt x="28009" y="99415"/>
                      <a:pt x="33959" y="99415"/>
                    </a:cubicBezTo>
                    <a:cubicBezTo>
                      <a:pt x="36934" y="99415"/>
                      <a:pt x="39910" y="102389"/>
                      <a:pt x="39910" y="105365"/>
                    </a:cubicBezTo>
                    <a:cubicBezTo>
                      <a:pt x="39910" y="108340"/>
                      <a:pt x="36934" y="111315"/>
                      <a:pt x="33959" y="111315"/>
                    </a:cubicBezTo>
                    <a:cubicBezTo>
                      <a:pt x="33959" y="108340"/>
                      <a:pt x="30985" y="108340"/>
                      <a:pt x="28009" y="108340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F4AE4FD0-2464-46C6-9782-7EE65F1A0045}"/>
                  </a:ext>
                </a:extLst>
              </p:cNvPr>
              <p:cNvSpPr/>
              <p:nvPr/>
            </p:nvSpPr>
            <p:spPr>
              <a:xfrm>
                <a:off x="16342450" y="9639714"/>
                <a:ext cx="126325" cy="144132"/>
              </a:xfrm>
              <a:custGeom>
                <a:avLst/>
                <a:gdLst>
                  <a:gd name="connsiteX0" fmla="*/ 28143 w 126325"/>
                  <a:gd name="connsiteY0" fmla="*/ 144133 h 144132"/>
                  <a:gd name="connsiteX1" fmla="*/ 28143 w 126325"/>
                  <a:gd name="connsiteY1" fmla="*/ 144133 h 144132"/>
                  <a:gd name="connsiteX2" fmla="*/ 1366 w 126325"/>
                  <a:gd name="connsiteY2" fmla="*/ 126281 h 144132"/>
                  <a:gd name="connsiteX3" fmla="*/ 19218 w 126325"/>
                  <a:gd name="connsiteY3" fmla="*/ 78678 h 144132"/>
                  <a:gd name="connsiteX4" fmla="*/ 22193 w 126325"/>
                  <a:gd name="connsiteY4" fmla="*/ 75703 h 144132"/>
                  <a:gd name="connsiteX5" fmla="*/ 108474 w 126325"/>
                  <a:gd name="connsiteY5" fmla="*/ 1322 h 144132"/>
                  <a:gd name="connsiteX6" fmla="*/ 117399 w 126325"/>
                  <a:gd name="connsiteY6" fmla="*/ 1322 h 144132"/>
                  <a:gd name="connsiteX7" fmla="*/ 117399 w 126325"/>
                  <a:gd name="connsiteY7" fmla="*/ 10249 h 144132"/>
                  <a:gd name="connsiteX8" fmla="*/ 34094 w 126325"/>
                  <a:gd name="connsiteY8" fmla="*/ 81653 h 144132"/>
                  <a:gd name="connsiteX9" fmla="*/ 31118 w 126325"/>
                  <a:gd name="connsiteY9" fmla="*/ 84629 h 144132"/>
                  <a:gd name="connsiteX10" fmla="*/ 13267 w 126325"/>
                  <a:gd name="connsiteY10" fmla="*/ 123306 h 144132"/>
                  <a:gd name="connsiteX11" fmla="*/ 25168 w 126325"/>
                  <a:gd name="connsiteY11" fmla="*/ 132231 h 144132"/>
                  <a:gd name="connsiteX12" fmla="*/ 117399 w 126325"/>
                  <a:gd name="connsiteY12" fmla="*/ 40001 h 144132"/>
                  <a:gd name="connsiteX13" fmla="*/ 126325 w 126325"/>
                  <a:gd name="connsiteY13" fmla="*/ 42975 h 144132"/>
                  <a:gd name="connsiteX14" fmla="*/ 123350 w 126325"/>
                  <a:gd name="connsiteY14" fmla="*/ 51901 h 144132"/>
                  <a:gd name="connsiteX15" fmla="*/ 34094 w 126325"/>
                  <a:gd name="connsiteY15" fmla="*/ 144133 h 144132"/>
                  <a:gd name="connsiteX16" fmla="*/ 28143 w 126325"/>
                  <a:gd name="connsiteY16" fmla="*/ 144133 h 144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6325" h="144132">
                    <a:moveTo>
                      <a:pt x="28143" y="144133"/>
                    </a:moveTo>
                    <a:cubicBezTo>
                      <a:pt x="28143" y="144133"/>
                      <a:pt x="25168" y="144133"/>
                      <a:pt x="28143" y="144133"/>
                    </a:cubicBezTo>
                    <a:cubicBezTo>
                      <a:pt x="13267" y="141157"/>
                      <a:pt x="4342" y="132231"/>
                      <a:pt x="1366" y="126281"/>
                    </a:cubicBezTo>
                    <a:cubicBezTo>
                      <a:pt x="-4584" y="111405"/>
                      <a:pt x="10292" y="90579"/>
                      <a:pt x="19218" y="78678"/>
                    </a:cubicBezTo>
                    <a:lnTo>
                      <a:pt x="22193" y="75703"/>
                    </a:lnTo>
                    <a:cubicBezTo>
                      <a:pt x="37069" y="54877"/>
                      <a:pt x="105498" y="4298"/>
                      <a:pt x="108474" y="1322"/>
                    </a:cubicBezTo>
                    <a:cubicBezTo>
                      <a:pt x="111449" y="-1653"/>
                      <a:pt x="114425" y="1322"/>
                      <a:pt x="117399" y="1322"/>
                    </a:cubicBezTo>
                    <a:cubicBezTo>
                      <a:pt x="120374" y="4298"/>
                      <a:pt x="117399" y="7273"/>
                      <a:pt x="117399" y="10249"/>
                    </a:cubicBezTo>
                    <a:cubicBezTo>
                      <a:pt x="117399" y="10249"/>
                      <a:pt x="48970" y="60827"/>
                      <a:pt x="34094" y="81653"/>
                    </a:cubicBezTo>
                    <a:lnTo>
                      <a:pt x="31118" y="84629"/>
                    </a:lnTo>
                    <a:cubicBezTo>
                      <a:pt x="22193" y="96529"/>
                      <a:pt x="10292" y="111405"/>
                      <a:pt x="13267" y="123306"/>
                    </a:cubicBezTo>
                    <a:cubicBezTo>
                      <a:pt x="13267" y="126281"/>
                      <a:pt x="19218" y="132231"/>
                      <a:pt x="25168" y="132231"/>
                    </a:cubicBezTo>
                    <a:cubicBezTo>
                      <a:pt x="37069" y="117355"/>
                      <a:pt x="84673" y="54877"/>
                      <a:pt x="117399" y="40001"/>
                    </a:cubicBezTo>
                    <a:cubicBezTo>
                      <a:pt x="120374" y="40001"/>
                      <a:pt x="123350" y="40001"/>
                      <a:pt x="126325" y="42975"/>
                    </a:cubicBezTo>
                    <a:cubicBezTo>
                      <a:pt x="126325" y="45950"/>
                      <a:pt x="126325" y="48926"/>
                      <a:pt x="123350" y="51901"/>
                    </a:cubicBezTo>
                    <a:cubicBezTo>
                      <a:pt x="90622" y="66777"/>
                      <a:pt x="34094" y="144133"/>
                      <a:pt x="34094" y="144133"/>
                    </a:cubicBezTo>
                    <a:cubicBezTo>
                      <a:pt x="31118" y="144133"/>
                      <a:pt x="28143" y="144133"/>
                      <a:pt x="28143" y="144133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8F4C810D-A972-450A-994A-295D11FC94D6}"/>
                  </a:ext>
                </a:extLst>
              </p:cNvPr>
              <p:cNvSpPr/>
              <p:nvPr/>
            </p:nvSpPr>
            <p:spPr>
              <a:xfrm>
                <a:off x="16364643" y="9700541"/>
                <a:ext cx="175537" cy="104132"/>
              </a:xfrm>
              <a:custGeom>
                <a:avLst/>
                <a:gdLst>
                  <a:gd name="connsiteX0" fmla="*/ 26777 w 175537"/>
                  <a:gd name="connsiteY0" fmla="*/ 101157 h 104132"/>
                  <a:gd name="connsiteX1" fmla="*/ 0 w 175537"/>
                  <a:gd name="connsiteY1" fmla="*/ 80331 h 104132"/>
                  <a:gd name="connsiteX2" fmla="*/ 5950 w 175537"/>
                  <a:gd name="connsiteY2" fmla="*/ 74380 h 104132"/>
                  <a:gd name="connsiteX3" fmla="*/ 11901 w 175537"/>
                  <a:gd name="connsiteY3" fmla="*/ 80331 h 104132"/>
                  <a:gd name="connsiteX4" fmla="*/ 32727 w 175537"/>
                  <a:gd name="connsiteY4" fmla="*/ 92232 h 104132"/>
                  <a:gd name="connsiteX5" fmla="*/ 74380 w 175537"/>
                  <a:gd name="connsiteY5" fmla="*/ 68430 h 104132"/>
                  <a:gd name="connsiteX6" fmla="*/ 121984 w 175537"/>
                  <a:gd name="connsiteY6" fmla="*/ 8926 h 104132"/>
                  <a:gd name="connsiteX7" fmla="*/ 169586 w 175537"/>
                  <a:gd name="connsiteY7" fmla="*/ 0 h 104132"/>
                  <a:gd name="connsiteX8" fmla="*/ 175537 w 175537"/>
                  <a:gd name="connsiteY8" fmla="*/ 5951 h 104132"/>
                  <a:gd name="connsiteX9" fmla="*/ 169586 w 175537"/>
                  <a:gd name="connsiteY9" fmla="*/ 11901 h 104132"/>
                  <a:gd name="connsiteX10" fmla="*/ 127934 w 175537"/>
                  <a:gd name="connsiteY10" fmla="*/ 20827 h 104132"/>
                  <a:gd name="connsiteX11" fmla="*/ 83305 w 175537"/>
                  <a:gd name="connsiteY11" fmla="*/ 77356 h 104132"/>
                  <a:gd name="connsiteX12" fmla="*/ 35702 w 175537"/>
                  <a:gd name="connsiteY12" fmla="*/ 104132 h 104132"/>
                  <a:gd name="connsiteX13" fmla="*/ 26777 w 175537"/>
                  <a:gd name="connsiteY13" fmla="*/ 101157 h 104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5537" h="104132">
                    <a:moveTo>
                      <a:pt x="26777" y="101157"/>
                    </a:moveTo>
                    <a:cubicBezTo>
                      <a:pt x="8925" y="101157"/>
                      <a:pt x="0" y="86281"/>
                      <a:pt x="0" y="80331"/>
                    </a:cubicBezTo>
                    <a:cubicBezTo>
                      <a:pt x="0" y="77356"/>
                      <a:pt x="0" y="74380"/>
                      <a:pt x="5950" y="74380"/>
                    </a:cubicBezTo>
                    <a:cubicBezTo>
                      <a:pt x="8925" y="74380"/>
                      <a:pt x="11901" y="74380"/>
                      <a:pt x="11901" y="80331"/>
                    </a:cubicBezTo>
                    <a:cubicBezTo>
                      <a:pt x="11901" y="83306"/>
                      <a:pt x="14876" y="95207"/>
                      <a:pt x="32727" y="92232"/>
                    </a:cubicBezTo>
                    <a:cubicBezTo>
                      <a:pt x="53553" y="89256"/>
                      <a:pt x="71405" y="68430"/>
                      <a:pt x="74380" y="68430"/>
                    </a:cubicBezTo>
                    <a:cubicBezTo>
                      <a:pt x="80330" y="59504"/>
                      <a:pt x="110082" y="17851"/>
                      <a:pt x="121984" y="8926"/>
                    </a:cubicBezTo>
                    <a:cubicBezTo>
                      <a:pt x="133884" y="2975"/>
                      <a:pt x="166612" y="0"/>
                      <a:pt x="169586" y="0"/>
                    </a:cubicBezTo>
                    <a:cubicBezTo>
                      <a:pt x="172562" y="0"/>
                      <a:pt x="175537" y="2975"/>
                      <a:pt x="175537" y="5951"/>
                    </a:cubicBezTo>
                    <a:cubicBezTo>
                      <a:pt x="175537" y="8926"/>
                      <a:pt x="172562" y="11901"/>
                      <a:pt x="169586" y="11901"/>
                    </a:cubicBezTo>
                    <a:cubicBezTo>
                      <a:pt x="160661" y="11901"/>
                      <a:pt x="136860" y="14876"/>
                      <a:pt x="127934" y="20827"/>
                    </a:cubicBezTo>
                    <a:cubicBezTo>
                      <a:pt x="119008" y="23802"/>
                      <a:pt x="95206" y="56529"/>
                      <a:pt x="83305" y="77356"/>
                    </a:cubicBezTo>
                    <a:cubicBezTo>
                      <a:pt x="80330" y="80331"/>
                      <a:pt x="59504" y="101157"/>
                      <a:pt x="35702" y="104132"/>
                    </a:cubicBezTo>
                    <a:cubicBezTo>
                      <a:pt x="29752" y="101157"/>
                      <a:pt x="29752" y="101157"/>
                      <a:pt x="26777" y="101157"/>
                    </a:cubicBezTo>
                    <a:close/>
                  </a:path>
                </a:pathLst>
              </a:custGeom>
              <a:solidFill>
                <a:srgbClr val="E58777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4CF4AA90-51A3-46CF-9370-FBCEBCA3C657}"/>
                </a:ext>
              </a:extLst>
            </p:cNvPr>
            <p:cNvSpPr/>
            <p:nvPr/>
          </p:nvSpPr>
          <p:spPr>
            <a:xfrm>
              <a:off x="16610887" y="8092167"/>
              <a:ext cx="283667" cy="582573"/>
            </a:xfrm>
            <a:custGeom>
              <a:avLst/>
              <a:gdLst>
                <a:gd name="connsiteX0" fmla="*/ 197062 w 283667"/>
                <a:gd name="connsiteY0" fmla="*/ 293332 h 582573"/>
                <a:gd name="connsiteX1" fmla="*/ 244666 w 283667"/>
                <a:gd name="connsiteY1" fmla="*/ 153498 h 582573"/>
                <a:gd name="connsiteX2" fmla="*/ 283343 w 283667"/>
                <a:gd name="connsiteY2" fmla="*/ 7713 h 582573"/>
                <a:gd name="connsiteX3" fmla="*/ 3674 w 283667"/>
                <a:gd name="connsiteY3" fmla="*/ 207052 h 582573"/>
                <a:gd name="connsiteX4" fmla="*/ 149459 w 283667"/>
                <a:gd name="connsiteY4" fmla="*/ 504572 h 582573"/>
                <a:gd name="connsiteX5" fmla="*/ 244666 w 283667"/>
                <a:gd name="connsiteY5" fmla="*/ 555151 h 582573"/>
                <a:gd name="connsiteX6" fmla="*/ 197062 w 283667"/>
                <a:gd name="connsiteY6" fmla="*/ 293332 h 582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3667" h="582573">
                  <a:moveTo>
                    <a:pt x="197062" y="293332"/>
                  </a:moveTo>
                  <a:cubicBezTo>
                    <a:pt x="205987" y="242754"/>
                    <a:pt x="220863" y="198126"/>
                    <a:pt x="244666" y="153498"/>
                  </a:cubicBezTo>
                  <a:cubicBezTo>
                    <a:pt x="268467" y="105894"/>
                    <a:pt x="286318" y="7713"/>
                    <a:pt x="283343" y="7713"/>
                  </a:cubicBezTo>
                  <a:cubicBezTo>
                    <a:pt x="173261" y="-30965"/>
                    <a:pt x="33426" y="82093"/>
                    <a:pt x="3674" y="207052"/>
                  </a:cubicBezTo>
                  <a:cubicBezTo>
                    <a:pt x="-11202" y="269531"/>
                    <a:pt x="15574" y="388539"/>
                    <a:pt x="149459" y="504572"/>
                  </a:cubicBezTo>
                  <a:cubicBezTo>
                    <a:pt x="244666" y="584903"/>
                    <a:pt x="232765" y="605729"/>
                    <a:pt x="244666" y="555151"/>
                  </a:cubicBezTo>
                  <a:cubicBezTo>
                    <a:pt x="250615" y="510523"/>
                    <a:pt x="188137" y="346886"/>
                    <a:pt x="197062" y="293332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22E1F2A9-D0C5-45E7-AEEC-F492EEABE6E3}"/>
                </a:ext>
              </a:extLst>
            </p:cNvPr>
            <p:cNvSpPr/>
            <p:nvPr/>
          </p:nvSpPr>
          <p:spPr>
            <a:xfrm>
              <a:off x="16642491" y="8128764"/>
              <a:ext cx="412399" cy="554568"/>
            </a:xfrm>
            <a:custGeom>
              <a:avLst/>
              <a:gdLst>
                <a:gd name="connsiteX0" fmla="*/ 7772 w 412399"/>
                <a:gd name="connsiteY0" fmla="*/ 179381 h 554568"/>
                <a:gd name="connsiteX1" fmla="*/ 19673 w 412399"/>
                <a:gd name="connsiteY1" fmla="*/ 429298 h 554568"/>
                <a:gd name="connsiteX2" fmla="*/ 165458 w 412399"/>
                <a:gd name="connsiteY2" fmla="*/ 554256 h 554568"/>
                <a:gd name="connsiteX3" fmla="*/ 376698 w 412399"/>
                <a:gd name="connsiteY3" fmla="*/ 414422 h 554568"/>
                <a:gd name="connsiteX4" fmla="*/ 412400 w 412399"/>
                <a:gd name="connsiteY4" fmla="*/ 194257 h 554568"/>
                <a:gd name="connsiteX5" fmla="*/ 204135 w 412399"/>
                <a:gd name="connsiteY5" fmla="*/ 868 h 554568"/>
                <a:gd name="connsiteX6" fmla="*/ 7772 w 412399"/>
                <a:gd name="connsiteY6" fmla="*/ 179381 h 55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399" h="554568">
                  <a:moveTo>
                    <a:pt x="7772" y="179381"/>
                  </a:moveTo>
                  <a:cubicBezTo>
                    <a:pt x="7772" y="179381"/>
                    <a:pt x="-16030" y="363843"/>
                    <a:pt x="19673" y="429298"/>
                  </a:cubicBezTo>
                  <a:cubicBezTo>
                    <a:pt x="55375" y="494752"/>
                    <a:pt x="114879" y="551282"/>
                    <a:pt x="165458" y="554256"/>
                  </a:cubicBezTo>
                  <a:cubicBezTo>
                    <a:pt x="230913" y="560207"/>
                    <a:pt x="340995" y="479876"/>
                    <a:pt x="376698" y="414422"/>
                  </a:cubicBezTo>
                  <a:cubicBezTo>
                    <a:pt x="412400" y="348967"/>
                    <a:pt x="412400" y="244835"/>
                    <a:pt x="412400" y="194257"/>
                  </a:cubicBezTo>
                  <a:cubicBezTo>
                    <a:pt x="409425" y="102025"/>
                    <a:pt x="382648" y="24670"/>
                    <a:pt x="204135" y="868"/>
                  </a:cubicBezTo>
                  <a:cubicBezTo>
                    <a:pt x="120830" y="-11033"/>
                    <a:pt x="28598" y="102025"/>
                    <a:pt x="7772" y="179381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E763184F-E741-4922-8FA0-925EAA049F30}"/>
                </a:ext>
              </a:extLst>
            </p:cNvPr>
            <p:cNvSpPr/>
            <p:nvPr/>
          </p:nvSpPr>
          <p:spPr>
            <a:xfrm>
              <a:off x="16775222" y="8390218"/>
              <a:ext cx="53554" cy="129166"/>
            </a:xfrm>
            <a:custGeom>
              <a:avLst/>
              <a:gdLst>
                <a:gd name="connsiteX0" fmla="*/ 29752 w 53554"/>
                <a:gd name="connsiteY0" fmla="*/ 129166 h 129166"/>
                <a:gd name="connsiteX1" fmla="*/ 5951 w 53554"/>
                <a:gd name="connsiteY1" fmla="*/ 123216 h 129166"/>
                <a:gd name="connsiteX2" fmla="*/ 0 w 53554"/>
                <a:gd name="connsiteY2" fmla="*/ 111315 h 129166"/>
                <a:gd name="connsiteX3" fmla="*/ 26777 w 53554"/>
                <a:gd name="connsiteY3" fmla="*/ 4208 h 129166"/>
                <a:gd name="connsiteX4" fmla="*/ 32727 w 53554"/>
                <a:gd name="connsiteY4" fmla="*/ 1232 h 129166"/>
                <a:gd name="connsiteX5" fmla="*/ 35703 w 53554"/>
                <a:gd name="connsiteY5" fmla="*/ 7183 h 129166"/>
                <a:gd name="connsiteX6" fmla="*/ 8926 w 53554"/>
                <a:gd name="connsiteY6" fmla="*/ 111315 h 129166"/>
                <a:gd name="connsiteX7" fmla="*/ 8926 w 53554"/>
                <a:gd name="connsiteY7" fmla="*/ 114290 h 129166"/>
                <a:gd name="connsiteX8" fmla="*/ 47603 w 53554"/>
                <a:gd name="connsiteY8" fmla="*/ 114290 h 129166"/>
                <a:gd name="connsiteX9" fmla="*/ 53554 w 53554"/>
                <a:gd name="connsiteY9" fmla="*/ 120241 h 129166"/>
                <a:gd name="connsiteX10" fmla="*/ 47603 w 53554"/>
                <a:gd name="connsiteY10" fmla="*/ 126191 h 129166"/>
                <a:gd name="connsiteX11" fmla="*/ 29752 w 53554"/>
                <a:gd name="connsiteY11" fmla="*/ 129166 h 129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554" h="129166">
                  <a:moveTo>
                    <a:pt x="29752" y="129166"/>
                  </a:moveTo>
                  <a:cubicBezTo>
                    <a:pt x="20827" y="129166"/>
                    <a:pt x="11901" y="129166"/>
                    <a:pt x="5951" y="123216"/>
                  </a:cubicBezTo>
                  <a:cubicBezTo>
                    <a:pt x="2975" y="120241"/>
                    <a:pt x="0" y="117266"/>
                    <a:pt x="0" y="111315"/>
                  </a:cubicBezTo>
                  <a:cubicBezTo>
                    <a:pt x="0" y="90488"/>
                    <a:pt x="26777" y="7183"/>
                    <a:pt x="26777" y="4208"/>
                  </a:cubicBezTo>
                  <a:cubicBezTo>
                    <a:pt x="26777" y="1232"/>
                    <a:pt x="29752" y="-1743"/>
                    <a:pt x="32727" y="1232"/>
                  </a:cubicBezTo>
                  <a:cubicBezTo>
                    <a:pt x="35703" y="1232"/>
                    <a:pt x="38678" y="4208"/>
                    <a:pt x="35703" y="7183"/>
                  </a:cubicBezTo>
                  <a:cubicBezTo>
                    <a:pt x="29752" y="30984"/>
                    <a:pt x="8926" y="93464"/>
                    <a:pt x="8926" y="111315"/>
                  </a:cubicBezTo>
                  <a:cubicBezTo>
                    <a:pt x="8926" y="111315"/>
                    <a:pt x="8926" y="114290"/>
                    <a:pt x="8926" y="114290"/>
                  </a:cubicBezTo>
                  <a:cubicBezTo>
                    <a:pt x="14876" y="120241"/>
                    <a:pt x="35703" y="117266"/>
                    <a:pt x="47603" y="114290"/>
                  </a:cubicBezTo>
                  <a:cubicBezTo>
                    <a:pt x="50579" y="114290"/>
                    <a:pt x="53554" y="114290"/>
                    <a:pt x="53554" y="120241"/>
                  </a:cubicBezTo>
                  <a:cubicBezTo>
                    <a:pt x="53554" y="123216"/>
                    <a:pt x="53554" y="126191"/>
                    <a:pt x="47603" y="126191"/>
                  </a:cubicBezTo>
                  <a:cubicBezTo>
                    <a:pt x="50579" y="126191"/>
                    <a:pt x="41653" y="129166"/>
                    <a:pt x="29752" y="129166"/>
                  </a:cubicBezTo>
                  <a:close/>
                </a:path>
              </a:pathLst>
            </a:custGeom>
            <a:solidFill>
              <a:srgbClr val="E58777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B4D85A20-3D39-4F83-B5B4-DFA39376AF6C}"/>
                </a:ext>
              </a:extLst>
            </p:cNvPr>
            <p:cNvSpPr/>
            <p:nvPr/>
          </p:nvSpPr>
          <p:spPr>
            <a:xfrm>
              <a:off x="16757370" y="8566987"/>
              <a:ext cx="104132" cy="53553"/>
            </a:xfrm>
            <a:custGeom>
              <a:avLst/>
              <a:gdLst>
                <a:gd name="connsiteX0" fmla="*/ 104132 w 104132"/>
                <a:gd name="connsiteY0" fmla="*/ 0 h 53553"/>
                <a:gd name="connsiteX1" fmla="*/ 0 w 104132"/>
                <a:gd name="connsiteY1" fmla="*/ 0 h 53553"/>
                <a:gd name="connsiteX2" fmla="*/ 50579 w 104132"/>
                <a:gd name="connsiteY2" fmla="*/ 53554 h 53553"/>
                <a:gd name="connsiteX3" fmla="*/ 104132 w 104132"/>
                <a:gd name="connsiteY3" fmla="*/ 0 h 5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132" h="53553">
                  <a:moveTo>
                    <a:pt x="104132" y="0"/>
                  </a:moveTo>
                  <a:cubicBezTo>
                    <a:pt x="50579" y="23802"/>
                    <a:pt x="0" y="0"/>
                    <a:pt x="0" y="0"/>
                  </a:cubicBezTo>
                  <a:cubicBezTo>
                    <a:pt x="0" y="0"/>
                    <a:pt x="14876" y="53554"/>
                    <a:pt x="50579" y="53554"/>
                  </a:cubicBezTo>
                  <a:cubicBezTo>
                    <a:pt x="92232" y="53554"/>
                    <a:pt x="104132" y="0"/>
                    <a:pt x="104132" y="0"/>
                  </a:cubicBezTo>
                  <a:close/>
                </a:path>
              </a:pathLst>
            </a:custGeom>
            <a:solidFill>
              <a:srgbClr val="FFFFFF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F4CD3064-E306-4DEA-BF13-1C4741251AF8}"/>
                </a:ext>
              </a:extLst>
            </p:cNvPr>
            <p:cNvSpPr/>
            <p:nvPr/>
          </p:nvSpPr>
          <p:spPr>
            <a:xfrm>
              <a:off x="16706208" y="8364090"/>
              <a:ext cx="39844" cy="40019"/>
            </a:xfrm>
            <a:custGeom>
              <a:avLst/>
              <a:gdLst>
                <a:gd name="connsiteX0" fmla="*/ 39261 w 39844"/>
                <a:gd name="connsiteY0" fmla="*/ 24385 h 40019"/>
                <a:gd name="connsiteX1" fmla="*/ 15460 w 39844"/>
                <a:gd name="connsiteY1" fmla="*/ 39261 h 40019"/>
                <a:gd name="connsiteX2" fmla="*/ 584 w 39844"/>
                <a:gd name="connsiteY2" fmla="*/ 15460 h 40019"/>
                <a:gd name="connsiteX3" fmla="*/ 24385 w 39844"/>
                <a:gd name="connsiteY3" fmla="*/ 584 h 40019"/>
                <a:gd name="connsiteX4" fmla="*/ 39261 w 39844"/>
                <a:gd name="connsiteY4" fmla="*/ 24385 h 4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44" h="40019">
                  <a:moveTo>
                    <a:pt x="39261" y="24385"/>
                  </a:moveTo>
                  <a:cubicBezTo>
                    <a:pt x="36286" y="36286"/>
                    <a:pt x="27360" y="42236"/>
                    <a:pt x="15460" y="39261"/>
                  </a:cubicBezTo>
                  <a:cubicBezTo>
                    <a:pt x="6534" y="36286"/>
                    <a:pt x="-2392" y="27360"/>
                    <a:pt x="584" y="15460"/>
                  </a:cubicBezTo>
                  <a:cubicBezTo>
                    <a:pt x="3559" y="6534"/>
                    <a:pt x="12484" y="-2392"/>
                    <a:pt x="24385" y="584"/>
                  </a:cubicBezTo>
                  <a:cubicBezTo>
                    <a:pt x="33311" y="3559"/>
                    <a:pt x="42236" y="12484"/>
                    <a:pt x="39261" y="24385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0B23310-3C69-4FDB-9E90-AFAA6B8CB54F}"/>
                </a:ext>
              </a:extLst>
            </p:cNvPr>
            <p:cNvSpPr/>
            <p:nvPr/>
          </p:nvSpPr>
          <p:spPr>
            <a:xfrm>
              <a:off x="16890671" y="8369866"/>
              <a:ext cx="40019" cy="40019"/>
            </a:xfrm>
            <a:custGeom>
              <a:avLst/>
              <a:gdLst>
                <a:gd name="connsiteX0" fmla="*/ 39262 w 40019"/>
                <a:gd name="connsiteY0" fmla="*/ 24560 h 40019"/>
                <a:gd name="connsiteX1" fmla="*/ 15459 w 40019"/>
                <a:gd name="connsiteY1" fmla="*/ 39436 h 40019"/>
                <a:gd name="connsiteX2" fmla="*/ 583 w 40019"/>
                <a:gd name="connsiteY2" fmla="*/ 15634 h 40019"/>
                <a:gd name="connsiteX3" fmla="*/ 24386 w 40019"/>
                <a:gd name="connsiteY3" fmla="*/ 758 h 40019"/>
                <a:gd name="connsiteX4" fmla="*/ 39262 w 40019"/>
                <a:gd name="connsiteY4" fmla="*/ 24560 h 4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19" h="40019">
                  <a:moveTo>
                    <a:pt x="39262" y="24560"/>
                  </a:moveTo>
                  <a:cubicBezTo>
                    <a:pt x="36286" y="33486"/>
                    <a:pt x="27361" y="42411"/>
                    <a:pt x="15459" y="39436"/>
                  </a:cubicBezTo>
                  <a:cubicBezTo>
                    <a:pt x="6534" y="36460"/>
                    <a:pt x="-2391" y="27535"/>
                    <a:pt x="583" y="15634"/>
                  </a:cubicBezTo>
                  <a:cubicBezTo>
                    <a:pt x="3559" y="3733"/>
                    <a:pt x="12485" y="-2217"/>
                    <a:pt x="24386" y="758"/>
                  </a:cubicBezTo>
                  <a:cubicBezTo>
                    <a:pt x="36286" y="3733"/>
                    <a:pt x="42237" y="12659"/>
                    <a:pt x="39262" y="24560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E7EA8DF-1D08-444D-8B6F-454E3438F21D}"/>
                </a:ext>
              </a:extLst>
            </p:cNvPr>
            <p:cNvSpPr/>
            <p:nvPr/>
          </p:nvSpPr>
          <p:spPr>
            <a:xfrm>
              <a:off x="16680759" y="8315933"/>
              <a:ext cx="89744" cy="33864"/>
            </a:xfrm>
            <a:custGeom>
              <a:avLst/>
              <a:gdLst>
                <a:gd name="connsiteX0" fmla="*/ 8182 w 89744"/>
                <a:gd name="connsiteY0" fmla="*/ 33864 h 33864"/>
                <a:gd name="connsiteX1" fmla="*/ 2231 w 89744"/>
                <a:gd name="connsiteY1" fmla="*/ 30889 h 33864"/>
                <a:gd name="connsiteX2" fmla="*/ 2231 w 89744"/>
                <a:gd name="connsiteY2" fmla="*/ 18988 h 33864"/>
                <a:gd name="connsiteX3" fmla="*/ 85537 w 89744"/>
                <a:gd name="connsiteY3" fmla="*/ 10062 h 33864"/>
                <a:gd name="connsiteX4" fmla="*/ 88513 w 89744"/>
                <a:gd name="connsiteY4" fmla="*/ 18988 h 33864"/>
                <a:gd name="connsiteX5" fmla="*/ 79586 w 89744"/>
                <a:gd name="connsiteY5" fmla="*/ 21964 h 33864"/>
                <a:gd name="connsiteX6" fmla="*/ 14132 w 89744"/>
                <a:gd name="connsiteY6" fmla="*/ 27914 h 33864"/>
                <a:gd name="connsiteX7" fmla="*/ 8182 w 89744"/>
                <a:gd name="connsiteY7" fmla="*/ 33864 h 33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3864">
                  <a:moveTo>
                    <a:pt x="8182" y="33864"/>
                  </a:moveTo>
                  <a:cubicBezTo>
                    <a:pt x="5206" y="33864"/>
                    <a:pt x="5206" y="33864"/>
                    <a:pt x="2231" y="30889"/>
                  </a:cubicBezTo>
                  <a:cubicBezTo>
                    <a:pt x="-744" y="27914"/>
                    <a:pt x="-744" y="21964"/>
                    <a:pt x="2231" y="18988"/>
                  </a:cubicBezTo>
                  <a:cubicBezTo>
                    <a:pt x="29008" y="-10764"/>
                    <a:pt x="67686" y="1137"/>
                    <a:pt x="85537" y="10062"/>
                  </a:cubicBezTo>
                  <a:cubicBezTo>
                    <a:pt x="88513" y="13038"/>
                    <a:pt x="91487" y="16013"/>
                    <a:pt x="88513" y="18988"/>
                  </a:cubicBezTo>
                  <a:cubicBezTo>
                    <a:pt x="85537" y="21964"/>
                    <a:pt x="82562" y="24938"/>
                    <a:pt x="79586" y="21964"/>
                  </a:cubicBezTo>
                  <a:cubicBezTo>
                    <a:pt x="76611" y="21964"/>
                    <a:pt x="37934" y="1137"/>
                    <a:pt x="14132" y="27914"/>
                  </a:cubicBezTo>
                  <a:cubicBezTo>
                    <a:pt x="14132" y="30889"/>
                    <a:pt x="11157" y="33864"/>
                    <a:pt x="8182" y="33864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D3E9AF44-7EDC-4181-95F3-41BB93470D4C}"/>
                </a:ext>
              </a:extLst>
            </p:cNvPr>
            <p:cNvSpPr/>
            <p:nvPr/>
          </p:nvSpPr>
          <p:spPr>
            <a:xfrm>
              <a:off x="16866221" y="8314397"/>
              <a:ext cx="89744" cy="35399"/>
            </a:xfrm>
            <a:custGeom>
              <a:avLst/>
              <a:gdLst>
                <a:gd name="connsiteX0" fmla="*/ 84538 w 89744"/>
                <a:gd name="connsiteY0" fmla="*/ 35400 h 35399"/>
                <a:gd name="connsiteX1" fmla="*/ 78588 w 89744"/>
                <a:gd name="connsiteY1" fmla="*/ 32424 h 35399"/>
                <a:gd name="connsiteX2" fmla="*/ 13133 w 89744"/>
                <a:gd name="connsiteY2" fmla="*/ 26474 h 35399"/>
                <a:gd name="connsiteX3" fmla="*/ 1232 w 89744"/>
                <a:gd name="connsiteY3" fmla="*/ 23499 h 35399"/>
                <a:gd name="connsiteX4" fmla="*/ 4208 w 89744"/>
                <a:gd name="connsiteY4" fmla="*/ 11598 h 35399"/>
                <a:gd name="connsiteX5" fmla="*/ 87513 w 89744"/>
                <a:gd name="connsiteY5" fmla="*/ 20524 h 35399"/>
                <a:gd name="connsiteX6" fmla="*/ 87513 w 89744"/>
                <a:gd name="connsiteY6" fmla="*/ 32424 h 35399"/>
                <a:gd name="connsiteX7" fmla="*/ 84538 w 89744"/>
                <a:gd name="connsiteY7" fmla="*/ 35400 h 3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5399">
                  <a:moveTo>
                    <a:pt x="84538" y="35400"/>
                  </a:moveTo>
                  <a:cubicBezTo>
                    <a:pt x="81563" y="35400"/>
                    <a:pt x="81563" y="35400"/>
                    <a:pt x="78588" y="32424"/>
                  </a:cubicBezTo>
                  <a:cubicBezTo>
                    <a:pt x="78588" y="32424"/>
                    <a:pt x="48836" y="2672"/>
                    <a:pt x="13133" y="26474"/>
                  </a:cubicBezTo>
                  <a:cubicBezTo>
                    <a:pt x="10158" y="29450"/>
                    <a:pt x="4208" y="26474"/>
                    <a:pt x="1232" y="23499"/>
                  </a:cubicBezTo>
                  <a:cubicBezTo>
                    <a:pt x="-1743" y="20524"/>
                    <a:pt x="1232" y="14573"/>
                    <a:pt x="4208" y="11598"/>
                  </a:cubicBezTo>
                  <a:cubicBezTo>
                    <a:pt x="39910" y="-12204"/>
                    <a:pt x="75613" y="5648"/>
                    <a:pt x="87513" y="20524"/>
                  </a:cubicBezTo>
                  <a:cubicBezTo>
                    <a:pt x="90489" y="23499"/>
                    <a:pt x="90489" y="29450"/>
                    <a:pt x="87513" y="32424"/>
                  </a:cubicBezTo>
                  <a:cubicBezTo>
                    <a:pt x="87513" y="35400"/>
                    <a:pt x="84538" y="35400"/>
                    <a:pt x="84538" y="35400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09DEB1DE-56F7-4FD1-9E29-31254630F02B}"/>
                </a:ext>
              </a:extLst>
            </p:cNvPr>
            <p:cNvSpPr/>
            <p:nvPr/>
          </p:nvSpPr>
          <p:spPr>
            <a:xfrm>
              <a:off x="16626241" y="8097217"/>
              <a:ext cx="270029" cy="252580"/>
            </a:xfrm>
            <a:custGeom>
              <a:avLst/>
              <a:gdLst>
                <a:gd name="connsiteX0" fmla="*/ 267989 w 270029"/>
                <a:gd name="connsiteY0" fmla="*/ 2663 h 252580"/>
                <a:gd name="connsiteX1" fmla="*/ 232287 w 270029"/>
                <a:gd name="connsiteY1" fmla="*/ 127622 h 252580"/>
                <a:gd name="connsiteX2" fmla="*/ 220 w 270029"/>
                <a:gd name="connsiteY2" fmla="*/ 252580 h 252580"/>
                <a:gd name="connsiteX3" fmla="*/ 267989 w 270029"/>
                <a:gd name="connsiteY3" fmla="*/ 2663 h 25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029" h="252580">
                  <a:moveTo>
                    <a:pt x="267989" y="2663"/>
                  </a:moveTo>
                  <a:cubicBezTo>
                    <a:pt x="267989" y="2663"/>
                    <a:pt x="282865" y="88944"/>
                    <a:pt x="232287" y="127622"/>
                  </a:cubicBezTo>
                  <a:cubicBezTo>
                    <a:pt x="232287" y="127622"/>
                    <a:pt x="26997" y="169274"/>
                    <a:pt x="220" y="252580"/>
                  </a:cubicBezTo>
                  <a:cubicBezTo>
                    <a:pt x="220" y="249605"/>
                    <a:pt x="-17631" y="-30064"/>
                    <a:pt x="267989" y="2663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9E026F3-C031-476A-861B-175A91126348}"/>
                </a:ext>
              </a:extLst>
            </p:cNvPr>
            <p:cNvSpPr/>
            <p:nvPr/>
          </p:nvSpPr>
          <p:spPr>
            <a:xfrm>
              <a:off x="16858528" y="8099880"/>
              <a:ext cx="253493" cy="322176"/>
            </a:xfrm>
            <a:custGeom>
              <a:avLst/>
              <a:gdLst>
                <a:gd name="connsiteX0" fmla="*/ 0 w 253493"/>
                <a:gd name="connsiteY0" fmla="*/ 124959 h 322176"/>
                <a:gd name="connsiteX1" fmla="*/ 136859 w 253493"/>
                <a:gd name="connsiteY1" fmla="*/ 178512 h 322176"/>
                <a:gd name="connsiteX2" fmla="*/ 193388 w 253493"/>
                <a:gd name="connsiteY2" fmla="*/ 294545 h 322176"/>
                <a:gd name="connsiteX3" fmla="*/ 252893 w 253493"/>
                <a:gd name="connsiteY3" fmla="*/ 309421 h 322176"/>
                <a:gd name="connsiteX4" fmla="*/ 32727 w 253493"/>
                <a:gd name="connsiteY4" fmla="*/ 0 h 322176"/>
                <a:gd name="connsiteX5" fmla="*/ 0 w 253493"/>
                <a:gd name="connsiteY5" fmla="*/ 124959 h 322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493" h="322176">
                  <a:moveTo>
                    <a:pt x="0" y="124959"/>
                  </a:moveTo>
                  <a:cubicBezTo>
                    <a:pt x="0" y="124959"/>
                    <a:pt x="89256" y="172562"/>
                    <a:pt x="136859" y="178512"/>
                  </a:cubicBezTo>
                  <a:cubicBezTo>
                    <a:pt x="187438" y="184463"/>
                    <a:pt x="193388" y="294545"/>
                    <a:pt x="193388" y="294545"/>
                  </a:cubicBezTo>
                  <a:cubicBezTo>
                    <a:pt x="193388" y="294545"/>
                    <a:pt x="249917" y="345124"/>
                    <a:pt x="252893" y="309421"/>
                  </a:cubicBezTo>
                  <a:cubicBezTo>
                    <a:pt x="258842" y="232066"/>
                    <a:pt x="223141" y="17851"/>
                    <a:pt x="32727" y="0"/>
                  </a:cubicBezTo>
                  <a:cubicBezTo>
                    <a:pt x="35702" y="0"/>
                    <a:pt x="23801" y="119008"/>
                    <a:pt x="0" y="124959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95862CBC-096A-4139-A6F0-0754EAD153A7}"/>
                </a:ext>
              </a:extLst>
            </p:cNvPr>
            <p:cNvSpPr/>
            <p:nvPr/>
          </p:nvSpPr>
          <p:spPr>
            <a:xfrm>
              <a:off x="16740263" y="8634095"/>
              <a:ext cx="182065" cy="54875"/>
            </a:xfrm>
            <a:custGeom>
              <a:avLst/>
              <a:gdLst>
                <a:gd name="connsiteX0" fmla="*/ 70661 w 182065"/>
                <a:gd name="connsiteY0" fmla="*/ 54876 h 54875"/>
                <a:gd name="connsiteX1" fmla="*/ 2231 w 182065"/>
                <a:gd name="connsiteY1" fmla="*/ 28099 h 54875"/>
                <a:gd name="connsiteX2" fmla="*/ 2231 w 182065"/>
                <a:gd name="connsiteY2" fmla="*/ 19173 h 54875"/>
                <a:gd name="connsiteX3" fmla="*/ 11157 w 182065"/>
                <a:gd name="connsiteY3" fmla="*/ 19173 h 54875"/>
                <a:gd name="connsiteX4" fmla="*/ 79586 w 182065"/>
                <a:gd name="connsiteY4" fmla="*/ 42975 h 54875"/>
                <a:gd name="connsiteX5" fmla="*/ 171818 w 182065"/>
                <a:gd name="connsiteY5" fmla="*/ 1322 h 54875"/>
                <a:gd name="connsiteX6" fmla="*/ 180743 w 182065"/>
                <a:gd name="connsiteY6" fmla="*/ 1322 h 54875"/>
                <a:gd name="connsiteX7" fmla="*/ 180743 w 182065"/>
                <a:gd name="connsiteY7" fmla="*/ 10248 h 54875"/>
                <a:gd name="connsiteX8" fmla="*/ 82562 w 182065"/>
                <a:gd name="connsiteY8" fmla="*/ 54876 h 54875"/>
                <a:gd name="connsiteX9" fmla="*/ 70661 w 182065"/>
                <a:gd name="connsiteY9" fmla="*/ 54876 h 5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2065" h="54875">
                  <a:moveTo>
                    <a:pt x="70661" y="54876"/>
                  </a:moveTo>
                  <a:cubicBezTo>
                    <a:pt x="31983" y="54876"/>
                    <a:pt x="5206" y="28099"/>
                    <a:pt x="2231" y="28099"/>
                  </a:cubicBezTo>
                  <a:cubicBezTo>
                    <a:pt x="-744" y="25124"/>
                    <a:pt x="-744" y="22149"/>
                    <a:pt x="2231" y="19173"/>
                  </a:cubicBezTo>
                  <a:cubicBezTo>
                    <a:pt x="5206" y="16198"/>
                    <a:pt x="8182" y="16198"/>
                    <a:pt x="11157" y="19173"/>
                  </a:cubicBezTo>
                  <a:cubicBezTo>
                    <a:pt x="11157" y="19173"/>
                    <a:pt x="43884" y="45950"/>
                    <a:pt x="79586" y="42975"/>
                  </a:cubicBezTo>
                  <a:cubicBezTo>
                    <a:pt x="118265" y="37025"/>
                    <a:pt x="171818" y="1322"/>
                    <a:pt x="171818" y="1322"/>
                  </a:cubicBezTo>
                  <a:cubicBezTo>
                    <a:pt x="174793" y="-1653"/>
                    <a:pt x="177769" y="1322"/>
                    <a:pt x="180743" y="1322"/>
                  </a:cubicBezTo>
                  <a:cubicBezTo>
                    <a:pt x="183719" y="4297"/>
                    <a:pt x="180743" y="7273"/>
                    <a:pt x="180743" y="10248"/>
                  </a:cubicBezTo>
                  <a:cubicBezTo>
                    <a:pt x="177769" y="13223"/>
                    <a:pt x="124215" y="48925"/>
                    <a:pt x="82562" y="54876"/>
                  </a:cubicBezTo>
                  <a:cubicBezTo>
                    <a:pt x="76611" y="54876"/>
                    <a:pt x="73637" y="54876"/>
                    <a:pt x="70661" y="54876"/>
                  </a:cubicBezTo>
                  <a:close/>
                </a:path>
              </a:pathLst>
            </a:custGeom>
            <a:solidFill>
              <a:srgbClr val="E58777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3" name="图形 1">
              <a:extLst>
                <a:ext uri="{FF2B5EF4-FFF2-40B4-BE49-F238E27FC236}">
                  <a16:creationId xmlns:a16="http://schemas.microsoft.com/office/drawing/2014/main" id="{D527A646-1875-4048-A14D-5D2098354FE7}"/>
                </a:ext>
              </a:extLst>
            </p:cNvPr>
            <p:cNvGrpSpPr/>
            <p:nvPr/>
          </p:nvGrpSpPr>
          <p:grpSpPr>
            <a:xfrm>
              <a:off x="16607699" y="8052911"/>
              <a:ext cx="536400" cy="591431"/>
              <a:chOff x="16607699" y="8052911"/>
              <a:chExt cx="536400" cy="591431"/>
            </a:xfrm>
          </p:grpSpPr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6D0E38FE-D12B-4F36-84FE-A3B88A269999}"/>
                  </a:ext>
                </a:extLst>
              </p:cNvPr>
              <p:cNvSpPr/>
              <p:nvPr/>
            </p:nvSpPr>
            <p:spPr>
              <a:xfrm>
                <a:off x="16914726" y="8329852"/>
                <a:ext cx="122314" cy="314490"/>
              </a:xfrm>
              <a:custGeom>
                <a:avLst/>
                <a:gdLst>
                  <a:gd name="connsiteX0" fmla="*/ 68760 w 122314"/>
                  <a:gd name="connsiteY0" fmla="*/ 11019 h 314490"/>
                  <a:gd name="connsiteX1" fmla="*/ 9256 w 122314"/>
                  <a:gd name="connsiteY1" fmla="*/ 290689 h 314490"/>
                  <a:gd name="connsiteX2" fmla="*/ 331 w 122314"/>
                  <a:gd name="connsiteY2" fmla="*/ 314490 h 314490"/>
                  <a:gd name="connsiteX3" fmla="*/ 122314 w 122314"/>
                  <a:gd name="connsiteY3" fmla="*/ 37796 h 314490"/>
                  <a:gd name="connsiteX4" fmla="*/ 68760 w 122314"/>
                  <a:gd name="connsiteY4" fmla="*/ 11019 h 314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314" h="314490">
                    <a:moveTo>
                      <a:pt x="68760" y="11019"/>
                    </a:moveTo>
                    <a:cubicBezTo>
                      <a:pt x="68760" y="11019"/>
                      <a:pt x="77686" y="189532"/>
                      <a:pt x="9256" y="290689"/>
                    </a:cubicBezTo>
                    <a:cubicBezTo>
                      <a:pt x="-2645" y="311515"/>
                      <a:pt x="331" y="314490"/>
                      <a:pt x="331" y="314490"/>
                    </a:cubicBezTo>
                    <a:cubicBezTo>
                      <a:pt x="113388" y="246061"/>
                      <a:pt x="122314" y="37796"/>
                      <a:pt x="122314" y="37796"/>
                    </a:cubicBezTo>
                    <a:cubicBezTo>
                      <a:pt x="122314" y="37796"/>
                      <a:pt x="101487" y="-24683"/>
                      <a:pt x="68760" y="11019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6D37BD46-F02A-4EE2-91AD-86D77A80D141}"/>
                  </a:ext>
                </a:extLst>
              </p:cNvPr>
              <p:cNvSpPr/>
              <p:nvPr/>
            </p:nvSpPr>
            <p:spPr>
              <a:xfrm>
                <a:off x="17022164" y="8373599"/>
                <a:ext cx="113057" cy="139834"/>
              </a:xfrm>
              <a:custGeom>
                <a:avLst/>
                <a:gdLst>
                  <a:gd name="connsiteX0" fmla="*/ 17851 w 113057"/>
                  <a:gd name="connsiteY0" fmla="*/ 98182 h 139834"/>
                  <a:gd name="connsiteX1" fmla="*/ 92231 w 113057"/>
                  <a:gd name="connsiteY1" fmla="*/ 0 h 139834"/>
                  <a:gd name="connsiteX2" fmla="*/ 113057 w 113057"/>
                  <a:gd name="connsiteY2" fmla="*/ 23802 h 139834"/>
                  <a:gd name="connsiteX3" fmla="*/ 0 w 113057"/>
                  <a:gd name="connsiteY3" fmla="*/ 139835 h 139834"/>
                  <a:gd name="connsiteX4" fmla="*/ 17851 w 113057"/>
                  <a:gd name="connsiteY4" fmla="*/ 98182 h 139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057" h="139834">
                    <a:moveTo>
                      <a:pt x="17851" y="98182"/>
                    </a:moveTo>
                    <a:cubicBezTo>
                      <a:pt x="17851" y="98182"/>
                      <a:pt x="86281" y="32727"/>
                      <a:pt x="92231" y="0"/>
                    </a:cubicBezTo>
                    <a:lnTo>
                      <a:pt x="113057" y="23802"/>
                    </a:lnTo>
                    <a:cubicBezTo>
                      <a:pt x="113057" y="23802"/>
                      <a:pt x="89256" y="119008"/>
                      <a:pt x="0" y="139835"/>
                    </a:cubicBezTo>
                    <a:lnTo>
                      <a:pt x="17851" y="98182"/>
                    </a:lnTo>
                    <a:close/>
                  </a:path>
                </a:pathLst>
              </a:custGeom>
              <a:solidFill>
                <a:srgbClr val="7F95BC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FFE754A9-D2E4-466D-A80B-BD69532A4660}"/>
                  </a:ext>
                </a:extLst>
              </p:cNvPr>
              <p:cNvSpPr/>
              <p:nvPr/>
            </p:nvSpPr>
            <p:spPr>
              <a:xfrm>
                <a:off x="16607699" y="8052911"/>
                <a:ext cx="536400" cy="374241"/>
              </a:xfrm>
              <a:custGeom>
                <a:avLst/>
                <a:gdLst>
                  <a:gd name="connsiteX0" fmla="*/ 515622 w 536400"/>
                  <a:gd name="connsiteY0" fmla="*/ 374242 h 374241"/>
                  <a:gd name="connsiteX1" fmla="*/ 515622 w 536400"/>
                  <a:gd name="connsiteY1" fmla="*/ 374242 h 374241"/>
                  <a:gd name="connsiteX2" fmla="*/ 515622 w 536400"/>
                  <a:gd name="connsiteY2" fmla="*/ 374242 h 374241"/>
                  <a:gd name="connsiteX3" fmla="*/ 470994 w 536400"/>
                  <a:gd name="connsiteY3" fmla="*/ 311762 h 374241"/>
                  <a:gd name="connsiteX4" fmla="*/ 462068 w 536400"/>
                  <a:gd name="connsiteY4" fmla="*/ 311762 h 374241"/>
                  <a:gd name="connsiteX5" fmla="*/ 378762 w 536400"/>
                  <a:gd name="connsiteY5" fmla="*/ 293911 h 374241"/>
                  <a:gd name="connsiteX6" fmla="*/ 6861 w 536400"/>
                  <a:gd name="connsiteY6" fmla="*/ 279035 h 374241"/>
                  <a:gd name="connsiteX7" fmla="*/ 170498 w 536400"/>
                  <a:gd name="connsiteY7" fmla="*/ 11266 h 374241"/>
                  <a:gd name="connsiteX8" fmla="*/ 354961 w 536400"/>
                  <a:gd name="connsiteY8" fmla="*/ 11266 h 374241"/>
                  <a:gd name="connsiteX9" fmla="*/ 500746 w 536400"/>
                  <a:gd name="connsiteY9" fmla="*/ 127300 h 374241"/>
                  <a:gd name="connsiteX10" fmla="*/ 515622 w 536400"/>
                  <a:gd name="connsiteY10" fmla="*/ 374242 h 374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36400" h="374241">
                    <a:moveTo>
                      <a:pt x="515622" y="374242"/>
                    </a:moveTo>
                    <a:cubicBezTo>
                      <a:pt x="515622" y="374242"/>
                      <a:pt x="512646" y="374242"/>
                      <a:pt x="515622" y="374242"/>
                    </a:cubicBezTo>
                    <a:cubicBezTo>
                      <a:pt x="512646" y="374242"/>
                      <a:pt x="512646" y="374242"/>
                      <a:pt x="515622" y="374242"/>
                    </a:cubicBezTo>
                    <a:cubicBezTo>
                      <a:pt x="512646" y="365316"/>
                      <a:pt x="500746" y="314738"/>
                      <a:pt x="470994" y="311762"/>
                    </a:cubicBezTo>
                    <a:cubicBezTo>
                      <a:pt x="468018" y="311762"/>
                      <a:pt x="465043" y="311762"/>
                      <a:pt x="462068" y="311762"/>
                    </a:cubicBezTo>
                    <a:cubicBezTo>
                      <a:pt x="423390" y="320688"/>
                      <a:pt x="453142" y="359366"/>
                      <a:pt x="378762" y="293911"/>
                    </a:cubicBezTo>
                    <a:cubicBezTo>
                      <a:pt x="268679" y="192754"/>
                      <a:pt x="6861" y="279035"/>
                      <a:pt x="6861" y="279035"/>
                    </a:cubicBezTo>
                    <a:cubicBezTo>
                      <a:pt x="-25866" y="127300"/>
                      <a:pt x="63390" y="35068"/>
                      <a:pt x="170498" y="11266"/>
                    </a:cubicBezTo>
                    <a:cubicBezTo>
                      <a:pt x="227026" y="-634"/>
                      <a:pt x="292481" y="-6585"/>
                      <a:pt x="354961" y="11266"/>
                    </a:cubicBezTo>
                    <a:cubicBezTo>
                      <a:pt x="411490" y="26142"/>
                      <a:pt x="465043" y="61845"/>
                      <a:pt x="500746" y="127300"/>
                    </a:cubicBezTo>
                    <a:cubicBezTo>
                      <a:pt x="569175" y="261184"/>
                      <a:pt x="518597" y="365316"/>
                      <a:pt x="515622" y="374242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FF58BFDB-E13D-4574-821E-B9AFDEA1E5A8}"/>
                  </a:ext>
                </a:extLst>
              </p:cNvPr>
              <p:cNvSpPr/>
              <p:nvPr/>
            </p:nvSpPr>
            <p:spPr>
              <a:xfrm>
                <a:off x="16983486" y="8479895"/>
                <a:ext cx="57696" cy="54364"/>
              </a:xfrm>
              <a:custGeom>
                <a:avLst/>
                <a:gdLst>
                  <a:gd name="connsiteX0" fmla="*/ 5951 w 57696"/>
                  <a:gd name="connsiteY0" fmla="*/ 9736 h 54364"/>
                  <a:gd name="connsiteX1" fmla="*/ 0 w 57696"/>
                  <a:gd name="connsiteY1" fmla="*/ 27588 h 54364"/>
                  <a:gd name="connsiteX2" fmla="*/ 5951 w 57696"/>
                  <a:gd name="connsiteY2" fmla="*/ 42464 h 54364"/>
                  <a:gd name="connsiteX3" fmla="*/ 35703 w 57696"/>
                  <a:gd name="connsiteY3" fmla="*/ 54365 h 54364"/>
                  <a:gd name="connsiteX4" fmla="*/ 47603 w 57696"/>
                  <a:gd name="connsiteY4" fmla="*/ 45439 h 54364"/>
                  <a:gd name="connsiteX5" fmla="*/ 56529 w 57696"/>
                  <a:gd name="connsiteY5" fmla="*/ 21638 h 54364"/>
                  <a:gd name="connsiteX6" fmla="*/ 50579 w 57696"/>
                  <a:gd name="connsiteY6" fmla="*/ 6762 h 54364"/>
                  <a:gd name="connsiteX7" fmla="*/ 17851 w 57696"/>
                  <a:gd name="connsiteY7" fmla="*/ 811 h 54364"/>
                  <a:gd name="connsiteX8" fmla="*/ 5951 w 57696"/>
                  <a:gd name="connsiteY8" fmla="*/ 9736 h 5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696" h="54364">
                    <a:moveTo>
                      <a:pt x="5951" y="9736"/>
                    </a:moveTo>
                    <a:cubicBezTo>
                      <a:pt x="5951" y="15687"/>
                      <a:pt x="2975" y="21638"/>
                      <a:pt x="0" y="27588"/>
                    </a:cubicBezTo>
                    <a:cubicBezTo>
                      <a:pt x="0" y="33538"/>
                      <a:pt x="0" y="39489"/>
                      <a:pt x="5951" y="42464"/>
                    </a:cubicBezTo>
                    <a:cubicBezTo>
                      <a:pt x="14876" y="48414"/>
                      <a:pt x="26777" y="54365"/>
                      <a:pt x="35703" y="54365"/>
                    </a:cubicBezTo>
                    <a:cubicBezTo>
                      <a:pt x="41653" y="54365"/>
                      <a:pt x="44628" y="51390"/>
                      <a:pt x="47603" y="45439"/>
                    </a:cubicBezTo>
                    <a:cubicBezTo>
                      <a:pt x="50579" y="39489"/>
                      <a:pt x="53554" y="30563"/>
                      <a:pt x="56529" y="21638"/>
                    </a:cubicBezTo>
                    <a:cubicBezTo>
                      <a:pt x="59504" y="15687"/>
                      <a:pt x="56529" y="9736"/>
                      <a:pt x="50579" y="6762"/>
                    </a:cubicBezTo>
                    <a:cubicBezTo>
                      <a:pt x="41653" y="3786"/>
                      <a:pt x="29752" y="-2164"/>
                      <a:pt x="17851" y="811"/>
                    </a:cubicBezTo>
                    <a:cubicBezTo>
                      <a:pt x="11901" y="811"/>
                      <a:pt x="5951" y="3786"/>
                      <a:pt x="5951" y="9736"/>
                    </a:cubicBezTo>
                    <a:close/>
                  </a:path>
                </a:pathLst>
              </a:custGeom>
              <a:solidFill>
                <a:srgbClr val="718AAF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34C52F1C-7051-4512-AD00-BC4A93A4D149}"/>
                  </a:ext>
                </a:extLst>
              </p:cNvPr>
              <p:cNvSpPr/>
              <p:nvPr/>
            </p:nvSpPr>
            <p:spPr>
              <a:xfrm>
                <a:off x="16962660" y="8064177"/>
                <a:ext cx="181439" cy="362975"/>
              </a:xfrm>
              <a:custGeom>
                <a:avLst/>
                <a:gdLst>
                  <a:gd name="connsiteX0" fmla="*/ 160661 w 181439"/>
                  <a:gd name="connsiteY0" fmla="*/ 362976 h 362975"/>
                  <a:gd name="connsiteX1" fmla="*/ 160661 w 181439"/>
                  <a:gd name="connsiteY1" fmla="*/ 362976 h 362975"/>
                  <a:gd name="connsiteX2" fmla="*/ 116033 w 181439"/>
                  <a:gd name="connsiteY2" fmla="*/ 300496 h 362975"/>
                  <a:gd name="connsiteX3" fmla="*/ 0 w 181439"/>
                  <a:gd name="connsiteY3" fmla="*/ 0 h 362975"/>
                  <a:gd name="connsiteX4" fmla="*/ 145785 w 181439"/>
                  <a:gd name="connsiteY4" fmla="*/ 116033 h 362975"/>
                  <a:gd name="connsiteX5" fmla="*/ 160661 w 181439"/>
                  <a:gd name="connsiteY5" fmla="*/ 362976 h 362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1439" h="362975">
                    <a:moveTo>
                      <a:pt x="160661" y="362976"/>
                    </a:moveTo>
                    <a:lnTo>
                      <a:pt x="160661" y="362976"/>
                    </a:lnTo>
                    <a:cubicBezTo>
                      <a:pt x="157686" y="354050"/>
                      <a:pt x="145785" y="303471"/>
                      <a:pt x="116033" y="300496"/>
                    </a:cubicBezTo>
                    <a:cubicBezTo>
                      <a:pt x="130909" y="184463"/>
                      <a:pt x="41653" y="56529"/>
                      <a:pt x="0" y="0"/>
                    </a:cubicBezTo>
                    <a:cubicBezTo>
                      <a:pt x="56529" y="14876"/>
                      <a:pt x="110082" y="50579"/>
                      <a:pt x="145785" y="116033"/>
                    </a:cubicBezTo>
                    <a:cubicBezTo>
                      <a:pt x="214214" y="249918"/>
                      <a:pt x="163636" y="354050"/>
                      <a:pt x="160661" y="362976"/>
                    </a:cubicBezTo>
                    <a:close/>
                  </a:path>
                </a:pathLst>
              </a:custGeom>
              <a:solidFill>
                <a:srgbClr val="718AAF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75E6F3F3-B30C-4990-A9D0-F5A02E9912A3}"/>
                  </a:ext>
                </a:extLst>
              </p:cNvPr>
              <p:cNvSpPr/>
              <p:nvPr/>
            </p:nvSpPr>
            <p:spPr>
              <a:xfrm>
                <a:off x="16980511" y="8215534"/>
                <a:ext cx="41653" cy="65833"/>
              </a:xfrm>
              <a:custGeom>
                <a:avLst/>
                <a:gdLst>
                  <a:gd name="connsiteX0" fmla="*/ 41654 w 41653"/>
                  <a:gd name="connsiteY0" fmla="*/ 33107 h 65833"/>
                  <a:gd name="connsiteX1" fmla="*/ 20827 w 41653"/>
                  <a:gd name="connsiteY1" fmla="*/ 65834 h 65833"/>
                  <a:gd name="connsiteX2" fmla="*/ 0 w 41653"/>
                  <a:gd name="connsiteY2" fmla="*/ 33107 h 65833"/>
                  <a:gd name="connsiteX3" fmla="*/ 20827 w 41653"/>
                  <a:gd name="connsiteY3" fmla="*/ 379 h 65833"/>
                  <a:gd name="connsiteX4" fmla="*/ 41654 w 41653"/>
                  <a:gd name="connsiteY4" fmla="*/ 33107 h 65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653" h="65833">
                    <a:moveTo>
                      <a:pt x="41654" y="33107"/>
                    </a:moveTo>
                    <a:cubicBezTo>
                      <a:pt x="41654" y="50958"/>
                      <a:pt x="32727" y="65834"/>
                      <a:pt x="20827" y="65834"/>
                    </a:cubicBezTo>
                    <a:cubicBezTo>
                      <a:pt x="8926" y="65834"/>
                      <a:pt x="0" y="50958"/>
                      <a:pt x="0" y="33107"/>
                    </a:cubicBezTo>
                    <a:cubicBezTo>
                      <a:pt x="0" y="15255"/>
                      <a:pt x="8926" y="379"/>
                      <a:pt x="20827" y="379"/>
                    </a:cubicBezTo>
                    <a:cubicBezTo>
                      <a:pt x="29752" y="-2596"/>
                      <a:pt x="41654" y="12280"/>
                      <a:pt x="41654" y="33107"/>
                    </a:cubicBezTo>
                    <a:close/>
                  </a:path>
                </a:pathLst>
              </a:custGeom>
              <a:solidFill>
                <a:srgbClr val="718AAF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B3108905-7899-415E-BE3F-AC50D6D3429A}"/>
                  </a:ext>
                </a:extLst>
              </p:cNvPr>
              <p:cNvSpPr/>
              <p:nvPr/>
            </p:nvSpPr>
            <p:spPr>
              <a:xfrm>
                <a:off x="16636148" y="8183881"/>
                <a:ext cx="53726" cy="58114"/>
              </a:xfrm>
              <a:custGeom>
                <a:avLst/>
                <a:gdLst>
                  <a:gd name="connsiteX0" fmla="*/ 43868 w 53726"/>
                  <a:gd name="connsiteY0" fmla="*/ 40958 h 58114"/>
                  <a:gd name="connsiteX1" fmla="*/ 5189 w 53726"/>
                  <a:gd name="connsiteY1" fmla="*/ 55834 h 58114"/>
                  <a:gd name="connsiteX2" fmla="*/ 11140 w 53726"/>
                  <a:gd name="connsiteY2" fmla="*/ 17156 h 58114"/>
                  <a:gd name="connsiteX3" fmla="*/ 49818 w 53726"/>
                  <a:gd name="connsiteY3" fmla="*/ 2280 h 58114"/>
                  <a:gd name="connsiteX4" fmla="*/ 43868 w 53726"/>
                  <a:gd name="connsiteY4" fmla="*/ 40958 h 58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726" h="58114">
                    <a:moveTo>
                      <a:pt x="43868" y="40958"/>
                    </a:moveTo>
                    <a:cubicBezTo>
                      <a:pt x="31966" y="55834"/>
                      <a:pt x="14116" y="61784"/>
                      <a:pt x="5189" y="55834"/>
                    </a:cubicBezTo>
                    <a:cubicBezTo>
                      <a:pt x="-3736" y="49884"/>
                      <a:pt x="-760" y="32032"/>
                      <a:pt x="11140" y="17156"/>
                    </a:cubicBezTo>
                    <a:cubicBezTo>
                      <a:pt x="23041" y="2280"/>
                      <a:pt x="40892" y="-3670"/>
                      <a:pt x="49818" y="2280"/>
                    </a:cubicBezTo>
                    <a:cubicBezTo>
                      <a:pt x="55768" y="8231"/>
                      <a:pt x="55768" y="26082"/>
                      <a:pt x="43868" y="40958"/>
                    </a:cubicBezTo>
                    <a:close/>
                  </a:path>
                </a:pathLst>
              </a:custGeom>
              <a:solidFill>
                <a:srgbClr val="718AAF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4" name="图形 1">
              <a:extLst>
                <a:ext uri="{FF2B5EF4-FFF2-40B4-BE49-F238E27FC236}">
                  <a16:creationId xmlns:a16="http://schemas.microsoft.com/office/drawing/2014/main" id="{A8C6E9B8-BC56-430C-9812-157F60793665}"/>
                </a:ext>
              </a:extLst>
            </p:cNvPr>
            <p:cNvGrpSpPr/>
            <p:nvPr/>
          </p:nvGrpSpPr>
          <p:grpSpPr>
            <a:xfrm>
              <a:off x="16382495" y="11954676"/>
              <a:ext cx="526611" cy="554459"/>
              <a:chOff x="16382495" y="11954676"/>
              <a:chExt cx="526611" cy="554459"/>
            </a:xfrm>
          </p:grpSpPr>
          <p:grpSp>
            <p:nvGrpSpPr>
              <p:cNvPr id="57" name="图形 1">
                <a:extLst>
                  <a:ext uri="{FF2B5EF4-FFF2-40B4-BE49-F238E27FC236}">
                    <a16:creationId xmlns:a16="http://schemas.microsoft.com/office/drawing/2014/main" id="{5AD74AFE-CD18-46A2-A8E9-C23F788F51CB}"/>
                  </a:ext>
                </a:extLst>
              </p:cNvPr>
              <p:cNvGrpSpPr/>
              <p:nvPr/>
            </p:nvGrpSpPr>
            <p:grpSpPr>
              <a:xfrm>
                <a:off x="16421172" y="12378227"/>
                <a:ext cx="130908" cy="130908"/>
                <a:chOff x="16421172" y="12378227"/>
                <a:chExt cx="130908" cy="130908"/>
              </a:xfrm>
            </p:grpSpPr>
            <p:sp>
              <p:nvSpPr>
                <p:cNvPr id="71" name="任意多边形: 形状 70">
                  <a:extLst>
                    <a:ext uri="{FF2B5EF4-FFF2-40B4-BE49-F238E27FC236}">
                      <a16:creationId xmlns:a16="http://schemas.microsoft.com/office/drawing/2014/main" id="{1742F4A5-14AD-47A9-B41D-DFA721AFC6F7}"/>
                    </a:ext>
                  </a:extLst>
                </p:cNvPr>
                <p:cNvSpPr/>
                <p:nvPr/>
              </p:nvSpPr>
              <p:spPr>
                <a:xfrm>
                  <a:off x="16421172" y="12378227"/>
                  <a:ext cx="130908" cy="130908"/>
                </a:xfrm>
                <a:custGeom>
                  <a:avLst/>
                  <a:gdLst>
                    <a:gd name="connsiteX0" fmla="*/ 130909 w 130908"/>
                    <a:gd name="connsiteY0" fmla="*/ 65455 h 130908"/>
                    <a:gd name="connsiteX1" fmla="*/ 65455 w 130908"/>
                    <a:gd name="connsiteY1" fmla="*/ 130909 h 130908"/>
                    <a:gd name="connsiteX2" fmla="*/ 0 w 130908"/>
                    <a:gd name="connsiteY2" fmla="*/ 65455 h 130908"/>
                    <a:gd name="connsiteX3" fmla="*/ 65455 w 130908"/>
                    <a:gd name="connsiteY3" fmla="*/ 0 h 130908"/>
                    <a:gd name="connsiteX4" fmla="*/ 130909 w 130908"/>
                    <a:gd name="connsiteY4" fmla="*/ 65455 h 1309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0908" h="130908">
                      <a:moveTo>
                        <a:pt x="130909" y="65455"/>
                      </a:moveTo>
                      <a:cubicBezTo>
                        <a:pt x="130909" y="101157"/>
                        <a:pt x="101157" y="130909"/>
                        <a:pt x="65455" y="130909"/>
                      </a:cubicBezTo>
                      <a:cubicBezTo>
                        <a:pt x="29752" y="130909"/>
                        <a:pt x="0" y="101157"/>
                        <a:pt x="0" y="65455"/>
                      </a:cubicBezTo>
                      <a:cubicBezTo>
                        <a:pt x="0" y="29752"/>
                        <a:pt x="29752" y="0"/>
                        <a:pt x="65455" y="0"/>
                      </a:cubicBezTo>
                      <a:cubicBezTo>
                        <a:pt x="101157" y="0"/>
                        <a:pt x="130909" y="29752"/>
                        <a:pt x="130909" y="65455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2" name="任意多边形: 形状 71">
                  <a:extLst>
                    <a:ext uri="{FF2B5EF4-FFF2-40B4-BE49-F238E27FC236}">
                      <a16:creationId xmlns:a16="http://schemas.microsoft.com/office/drawing/2014/main" id="{4937EC1F-F80C-45DE-B562-254EECE50A72}"/>
                    </a:ext>
                  </a:extLst>
                </p:cNvPr>
                <p:cNvSpPr/>
                <p:nvPr/>
              </p:nvSpPr>
              <p:spPr>
                <a:xfrm>
                  <a:off x="16456875" y="12413930"/>
                  <a:ext cx="59504" cy="59504"/>
                </a:xfrm>
                <a:custGeom>
                  <a:avLst/>
                  <a:gdLst>
                    <a:gd name="connsiteX0" fmla="*/ 59504 w 59504"/>
                    <a:gd name="connsiteY0" fmla="*/ 29752 h 59504"/>
                    <a:gd name="connsiteX1" fmla="*/ 29752 w 59504"/>
                    <a:gd name="connsiteY1" fmla="*/ 59504 h 59504"/>
                    <a:gd name="connsiteX2" fmla="*/ 0 w 59504"/>
                    <a:gd name="connsiteY2" fmla="*/ 29752 h 59504"/>
                    <a:gd name="connsiteX3" fmla="*/ 29752 w 59504"/>
                    <a:gd name="connsiteY3" fmla="*/ 0 h 59504"/>
                    <a:gd name="connsiteX4" fmla="*/ 59504 w 59504"/>
                    <a:gd name="connsiteY4" fmla="*/ 29752 h 59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504" h="59504">
                      <a:moveTo>
                        <a:pt x="59504" y="29752"/>
                      </a:moveTo>
                      <a:cubicBezTo>
                        <a:pt x="59504" y="44628"/>
                        <a:pt x="47603" y="59504"/>
                        <a:pt x="29752" y="59504"/>
                      </a:cubicBezTo>
                      <a:cubicBezTo>
                        <a:pt x="14876" y="59504"/>
                        <a:pt x="0" y="47603"/>
                        <a:pt x="0" y="29752"/>
                      </a:cubicBezTo>
                      <a:cubicBezTo>
                        <a:pt x="0" y="14876"/>
                        <a:pt x="11901" y="0"/>
                        <a:pt x="29752" y="0"/>
                      </a:cubicBezTo>
                      <a:cubicBezTo>
                        <a:pt x="47603" y="0"/>
                        <a:pt x="59504" y="14876"/>
                        <a:pt x="59504" y="29752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58" name="图形 1">
                <a:extLst>
                  <a:ext uri="{FF2B5EF4-FFF2-40B4-BE49-F238E27FC236}">
                    <a16:creationId xmlns:a16="http://schemas.microsoft.com/office/drawing/2014/main" id="{8A82B1C6-834F-4E5D-A4FF-20E19526ADF1}"/>
                  </a:ext>
                </a:extLst>
              </p:cNvPr>
              <p:cNvGrpSpPr/>
              <p:nvPr/>
            </p:nvGrpSpPr>
            <p:grpSpPr>
              <a:xfrm>
                <a:off x="16590759" y="12378227"/>
                <a:ext cx="130908" cy="130908"/>
                <a:chOff x="16590759" y="12378227"/>
                <a:chExt cx="130908" cy="130908"/>
              </a:xfrm>
            </p:grpSpPr>
            <p:sp>
              <p:nvSpPr>
                <p:cNvPr id="69" name="任意多边形: 形状 68">
                  <a:extLst>
                    <a:ext uri="{FF2B5EF4-FFF2-40B4-BE49-F238E27FC236}">
                      <a16:creationId xmlns:a16="http://schemas.microsoft.com/office/drawing/2014/main" id="{9A3EF5D0-D2A5-4DF4-A9A8-9BE1EEA8C82B}"/>
                    </a:ext>
                  </a:extLst>
                </p:cNvPr>
                <p:cNvSpPr/>
                <p:nvPr/>
              </p:nvSpPr>
              <p:spPr>
                <a:xfrm>
                  <a:off x="16590759" y="12378227"/>
                  <a:ext cx="130908" cy="130908"/>
                </a:xfrm>
                <a:custGeom>
                  <a:avLst/>
                  <a:gdLst>
                    <a:gd name="connsiteX0" fmla="*/ 130909 w 130908"/>
                    <a:gd name="connsiteY0" fmla="*/ 65455 h 130908"/>
                    <a:gd name="connsiteX1" fmla="*/ 65454 w 130908"/>
                    <a:gd name="connsiteY1" fmla="*/ 130909 h 130908"/>
                    <a:gd name="connsiteX2" fmla="*/ 0 w 130908"/>
                    <a:gd name="connsiteY2" fmla="*/ 65455 h 130908"/>
                    <a:gd name="connsiteX3" fmla="*/ 65454 w 130908"/>
                    <a:gd name="connsiteY3" fmla="*/ 0 h 130908"/>
                    <a:gd name="connsiteX4" fmla="*/ 130909 w 130908"/>
                    <a:gd name="connsiteY4" fmla="*/ 65455 h 1309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0908" h="130908">
                      <a:moveTo>
                        <a:pt x="130909" y="65455"/>
                      </a:moveTo>
                      <a:cubicBezTo>
                        <a:pt x="130909" y="101157"/>
                        <a:pt x="101157" y="130909"/>
                        <a:pt x="65454" y="130909"/>
                      </a:cubicBezTo>
                      <a:cubicBezTo>
                        <a:pt x="29752" y="130909"/>
                        <a:pt x="0" y="101157"/>
                        <a:pt x="0" y="65455"/>
                      </a:cubicBezTo>
                      <a:cubicBezTo>
                        <a:pt x="0" y="29752"/>
                        <a:pt x="29752" y="0"/>
                        <a:pt x="65454" y="0"/>
                      </a:cubicBezTo>
                      <a:cubicBezTo>
                        <a:pt x="104132" y="0"/>
                        <a:pt x="130909" y="29752"/>
                        <a:pt x="130909" y="65455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: 形状 69">
                  <a:extLst>
                    <a:ext uri="{FF2B5EF4-FFF2-40B4-BE49-F238E27FC236}">
                      <a16:creationId xmlns:a16="http://schemas.microsoft.com/office/drawing/2014/main" id="{F550531F-77CF-4B14-BD78-44E82A16C93F}"/>
                    </a:ext>
                  </a:extLst>
                </p:cNvPr>
                <p:cNvSpPr/>
                <p:nvPr/>
              </p:nvSpPr>
              <p:spPr>
                <a:xfrm>
                  <a:off x="16626461" y="12413930"/>
                  <a:ext cx="59504" cy="59504"/>
                </a:xfrm>
                <a:custGeom>
                  <a:avLst/>
                  <a:gdLst>
                    <a:gd name="connsiteX0" fmla="*/ 59504 w 59504"/>
                    <a:gd name="connsiteY0" fmla="*/ 29752 h 59504"/>
                    <a:gd name="connsiteX1" fmla="*/ 29752 w 59504"/>
                    <a:gd name="connsiteY1" fmla="*/ 59504 h 59504"/>
                    <a:gd name="connsiteX2" fmla="*/ 0 w 59504"/>
                    <a:gd name="connsiteY2" fmla="*/ 29752 h 59504"/>
                    <a:gd name="connsiteX3" fmla="*/ 29752 w 59504"/>
                    <a:gd name="connsiteY3" fmla="*/ 0 h 59504"/>
                    <a:gd name="connsiteX4" fmla="*/ 59504 w 59504"/>
                    <a:gd name="connsiteY4" fmla="*/ 29752 h 59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504" h="59504">
                      <a:moveTo>
                        <a:pt x="59504" y="29752"/>
                      </a:moveTo>
                      <a:cubicBezTo>
                        <a:pt x="59504" y="44628"/>
                        <a:pt x="47603" y="59504"/>
                        <a:pt x="29752" y="59504"/>
                      </a:cubicBezTo>
                      <a:cubicBezTo>
                        <a:pt x="14876" y="59504"/>
                        <a:pt x="0" y="47603"/>
                        <a:pt x="0" y="29752"/>
                      </a:cubicBezTo>
                      <a:cubicBezTo>
                        <a:pt x="0" y="14876"/>
                        <a:pt x="11901" y="0"/>
                        <a:pt x="29752" y="0"/>
                      </a:cubicBezTo>
                      <a:cubicBezTo>
                        <a:pt x="47603" y="0"/>
                        <a:pt x="59504" y="14876"/>
                        <a:pt x="59504" y="29752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59" name="图形 1">
                <a:extLst>
                  <a:ext uri="{FF2B5EF4-FFF2-40B4-BE49-F238E27FC236}">
                    <a16:creationId xmlns:a16="http://schemas.microsoft.com/office/drawing/2014/main" id="{6D29522F-7A65-4A8E-A2FF-4BBEAAEE818A}"/>
                  </a:ext>
                </a:extLst>
              </p:cNvPr>
              <p:cNvGrpSpPr/>
              <p:nvPr/>
            </p:nvGrpSpPr>
            <p:grpSpPr>
              <a:xfrm>
                <a:off x="16751420" y="12357401"/>
                <a:ext cx="130908" cy="130908"/>
                <a:chOff x="16751420" y="12357401"/>
                <a:chExt cx="130908" cy="130908"/>
              </a:xfrm>
            </p:grpSpPr>
            <p:sp>
              <p:nvSpPr>
                <p:cNvPr id="67" name="任意多边形: 形状 66">
                  <a:extLst>
                    <a:ext uri="{FF2B5EF4-FFF2-40B4-BE49-F238E27FC236}">
                      <a16:creationId xmlns:a16="http://schemas.microsoft.com/office/drawing/2014/main" id="{119E929F-5878-4626-8015-12521AF17926}"/>
                    </a:ext>
                  </a:extLst>
                </p:cNvPr>
                <p:cNvSpPr/>
                <p:nvPr/>
              </p:nvSpPr>
              <p:spPr>
                <a:xfrm>
                  <a:off x="16751420" y="12357401"/>
                  <a:ext cx="130908" cy="130908"/>
                </a:xfrm>
                <a:custGeom>
                  <a:avLst/>
                  <a:gdLst>
                    <a:gd name="connsiteX0" fmla="*/ 130909 w 130908"/>
                    <a:gd name="connsiteY0" fmla="*/ 65454 h 130908"/>
                    <a:gd name="connsiteX1" fmla="*/ 65454 w 130908"/>
                    <a:gd name="connsiteY1" fmla="*/ 130909 h 130908"/>
                    <a:gd name="connsiteX2" fmla="*/ 0 w 130908"/>
                    <a:gd name="connsiteY2" fmla="*/ 65454 h 130908"/>
                    <a:gd name="connsiteX3" fmla="*/ 65454 w 130908"/>
                    <a:gd name="connsiteY3" fmla="*/ 0 h 130908"/>
                    <a:gd name="connsiteX4" fmla="*/ 130909 w 130908"/>
                    <a:gd name="connsiteY4" fmla="*/ 65454 h 1309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0908" h="130908">
                      <a:moveTo>
                        <a:pt x="130909" y="65454"/>
                      </a:moveTo>
                      <a:cubicBezTo>
                        <a:pt x="130909" y="101157"/>
                        <a:pt x="101157" y="130909"/>
                        <a:pt x="65454" y="130909"/>
                      </a:cubicBezTo>
                      <a:cubicBezTo>
                        <a:pt x="29752" y="130909"/>
                        <a:pt x="0" y="101157"/>
                        <a:pt x="0" y="65454"/>
                      </a:cubicBezTo>
                      <a:cubicBezTo>
                        <a:pt x="0" y="29752"/>
                        <a:pt x="29752" y="0"/>
                        <a:pt x="65454" y="0"/>
                      </a:cubicBezTo>
                      <a:cubicBezTo>
                        <a:pt x="101157" y="0"/>
                        <a:pt x="130909" y="29752"/>
                        <a:pt x="130909" y="65454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8" name="任意多边形: 形状 67">
                  <a:extLst>
                    <a:ext uri="{FF2B5EF4-FFF2-40B4-BE49-F238E27FC236}">
                      <a16:creationId xmlns:a16="http://schemas.microsoft.com/office/drawing/2014/main" id="{C9579D53-6485-4F6D-83DE-3EACD533F3FB}"/>
                    </a:ext>
                  </a:extLst>
                </p:cNvPr>
                <p:cNvSpPr/>
                <p:nvPr/>
              </p:nvSpPr>
              <p:spPr>
                <a:xfrm>
                  <a:off x="16787122" y="12393103"/>
                  <a:ext cx="59504" cy="59504"/>
                </a:xfrm>
                <a:custGeom>
                  <a:avLst/>
                  <a:gdLst>
                    <a:gd name="connsiteX0" fmla="*/ 59504 w 59504"/>
                    <a:gd name="connsiteY0" fmla="*/ 29752 h 59504"/>
                    <a:gd name="connsiteX1" fmla="*/ 29752 w 59504"/>
                    <a:gd name="connsiteY1" fmla="*/ 59504 h 59504"/>
                    <a:gd name="connsiteX2" fmla="*/ 0 w 59504"/>
                    <a:gd name="connsiteY2" fmla="*/ 29752 h 59504"/>
                    <a:gd name="connsiteX3" fmla="*/ 29752 w 59504"/>
                    <a:gd name="connsiteY3" fmla="*/ 0 h 59504"/>
                    <a:gd name="connsiteX4" fmla="*/ 59504 w 59504"/>
                    <a:gd name="connsiteY4" fmla="*/ 29752 h 59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504" h="59504">
                      <a:moveTo>
                        <a:pt x="59504" y="29752"/>
                      </a:moveTo>
                      <a:cubicBezTo>
                        <a:pt x="59504" y="44628"/>
                        <a:pt x="47603" y="59504"/>
                        <a:pt x="29752" y="59504"/>
                      </a:cubicBezTo>
                      <a:cubicBezTo>
                        <a:pt x="14876" y="59504"/>
                        <a:pt x="0" y="47603"/>
                        <a:pt x="0" y="29752"/>
                      </a:cubicBezTo>
                      <a:cubicBezTo>
                        <a:pt x="0" y="14876"/>
                        <a:pt x="11902" y="0"/>
                        <a:pt x="29752" y="0"/>
                      </a:cubicBezTo>
                      <a:cubicBezTo>
                        <a:pt x="47603" y="0"/>
                        <a:pt x="59504" y="14876"/>
                        <a:pt x="59504" y="29752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F64C4C80-8B80-4B3F-BCF7-C0B1742AEC34}"/>
                  </a:ext>
                </a:extLst>
              </p:cNvPr>
              <p:cNvSpPr/>
              <p:nvPr/>
            </p:nvSpPr>
            <p:spPr>
              <a:xfrm>
                <a:off x="16382495" y="12294411"/>
                <a:ext cx="526611" cy="128211"/>
              </a:xfrm>
              <a:custGeom>
                <a:avLst/>
                <a:gdLst>
                  <a:gd name="connsiteX0" fmla="*/ 44628 w 526611"/>
                  <a:gd name="connsiteY0" fmla="*/ 42163 h 128211"/>
                  <a:gd name="connsiteX1" fmla="*/ 0 w 526611"/>
                  <a:gd name="connsiteY1" fmla="*/ 119518 h 128211"/>
                  <a:gd name="connsiteX2" fmla="*/ 526611 w 526611"/>
                  <a:gd name="connsiteY2" fmla="*/ 98692 h 128211"/>
                  <a:gd name="connsiteX3" fmla="*/ 440330 w 526611"/>
                  <a:gd name="connsiteY3" fmla="*/ 3485 h 128211"/>
                  <a:gd name="connsiteX4" fmla="*/ 44628 w 526611"/>
                  <a:gd name="connsiteY4" fmla="*/ 42163 h 128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6611" h="128211">
                    <a:moveTo>
                      <a:pt x="44628" y="42163"/>
                    </a:moveTo>
                    <a:cubicBezTo>
                      <a:pt x="44628" y="42163"/>
                      <a:pt x="2974" y="68939"/>
                      <a:pt x="0" y="119518"/>
                    </a:cubicBezTo>
                    <a:cubicBezTo>
                      <a:pt x="0" y="119518"/>
                      <a:pt x="365950" y="149270"/>
                      <a:pt x="526611" y="98692"/>
                    </a:cubicBezTo>
                    <a:cubicBezTo>
                      <a:pt x="526611" y="98692"/>
                      <a:pt x="511735" y="21336"/>
                      <a:pt x="440330" y="3485"/>
                    </a:cubicBezTo>
                    <a:cubicBezTo>
                      <a:pt x="368925" y="-14366"/>
                      <a:pt x="44628" y="42163"/>
                      <a:pt x="44628" y="42163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20816D94-E764-4FE3-A89E-61ED8B428F29}"/>
                  </a:ext>
                </a:extLst>
              </p:cNvPr>
              <p:cNvSpPr/>
              <p:nvPr/>
            </p:nvSpPr>
            <p:spPr>
              <a:xfrm>
                <a:off x="16457971" y="11990579"/>
                <a:ext cx="398730" cy="399548"/>
              </a:xfrm>
              <a:custGeom>
                <a:avLst/>
                <a:gdLst>
                  <a:gd name="connsiteX0" fmla="*/ 97086 w 398730"/>
                  <a:gd name="connsiteY0" fmla="*/ 51450 h 399548"/>
                  <a:gd name="connsiteX1" fmla="*/ 147664 w 398730"/>
                  <a:gd name="connsiteY1" fmla="*/ 191285 h 399548"/>
                  <a:gd name="connsiteX2" fmla="*/ 22705 w 398730"/>
                  <a:gd name="connsiteY2" fmla="*/ 244839 h 399548"/>
                  <a:gd name="connsiteX3" fmla="*/ 46507 w 398730"/>
                  <a:gd name="connsiteY3" fmla="*/ 399549 h 399548"/>
                  <a:gd name="connsiteX4" fmla="*/ 391631 w 398730"/>
                  <a:gd name="connsiteY4" fmla="*/ 345996 h 399548"/>
                  <a:gd name="connsiteX5" fmla="*/ 347003 w 398730"/>
                  <a:gd name="connsiteY5" fmla="*/ 45500 h 399548"/>
                  <a:gd name="connsiteX6" fmla="*/ 329151 w 398730"/>
                  <a:gd name="connsiteY6" fmla="*/ 24674 h 399548"/>
                  <a:gd name="connsiteX7" fmla="*/ 97086 w 398730"/>
                  <a:gd name="connsiteY7" fmla="*/ 51450 h 399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30" h="399548">
                    <a:moveTo>
                      <a:pt x="97086" y="51450"/>
                    </a:moveTo>
                    <a:cubicBezTo>
                      <a:pt x="97086" y="51450"/>
                      <a:pt x="123862" y="137731"/>
                      <a:pt x="147664" y="191285"/>
                    </a:cubicBezTo>
                    <a:cubicBezTo>
                      <a:pt x="147664" y="191285"/>
                      <a:pt x="88160" y="229963"/>
                      <a:pt x="22705" y="244839"/>
                    </a:cubicBezTo>
                    <a:cubicBezTo>
                      <a:pt x="-39774" y="256739"/>
                      <a:pt x="46507" y="399549"/>
                      <a:pt x="46507" y="399549"/>
                    </a:cubicBezTo>
                    <a:cubicBezTo>
                      <a:pt x="46507" y="399549"/>
                      <a:pt x="361879" y="387648"/>
                      <a:pt x="391631" y="345996"/>
                    </a:cubicBezTo>
                    <a:cubicBezTo>
                      <a:pt x="418407" y="310293"/>
                      <a:pt x="361879" y="105004"/>
                      <a:pt x="347003" y="45500"/>
                    </a:cubicBezTo>
                    <a:cubicBezTo>
                      <a:pt x="344027" y="36574"/>
                      <a:pt x="338077" y="27648"/>
                      <a:pt x="329151" y="24674"/>
                    </a:cubicBezTo>
                    <a:cubicBezTo>
                      <a:pt x="287499" y="6822"/>
                      <a:pt x="171466" y="-31856"/>
                      <a:pt x="97086" y="51450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1B89B0C6-A37F-43B7-A5EE-F962736CBEBB}"/>
                  </a:ext>
                </a:extLst>
              </p:cNvPr>
              <p:cNvSpPr/>
              <p:nvPr/>
            </p:nvSpPr>
            <p:spPr>
              <a:xfrm>
                <a:off x="16384713" y="12234445"/>
                <a:ext cx="211996" cy="154333"/>
              </a:xfrm>
              <a:custGeom>
                <a:avLst/>
                <a:gdLst>
                  <a:gd name="connsiteX0" fmla="*/ 211996 w 211996"/>
                  <a:gd name="connsiteY0" fmla="*/ 146758 h 154333"/>
                  <a:gd name="connsiteX1" fmla="*/ 63236 w 211996"/>
                  <a:gd name="connsiteY1" fmla="*/ 973 h 154333"/>
                  <a:gd name="connsiteX2" fmla="*/ 756 w 211996"/>
                  <a:gd name="connsiteY2" fmla="*/ 114030 h 154333"/>
                  <a:gd name="connsiteX3" fmla="*/ 24558 w 211996"/>
                  <a:gd name="connsiteY3" fmla="*/ 143782 h 154333"/>
                  <a:gd name="connsiteX4" fmla="*/ 211996 w 211996"/>
                  <a:gd name="connsiteY4" fmla="*/ 146758 h 154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996" h="154333">
                    <a:moveTo>
                      <a:pt x="211996" y="146758"/>
                    </a:moveTo>
                    <a:cubicBezTo>
                      <a:pt x="211996" y="146758"/>
                      <a:pt x="149517" y="-13903"/>
                      <a:pt x="63236" y="973"/>
                    </a:cubicBezTo>
                    <a:cubicBezTo>
                      <a:pt x="756" y="12873"/>
                      <a:pt x="-2218" y="78328"/>
                      <a:pt x="756" y="114030"/>
                    </a:cubicBezTo>
                    <a:cubicBezTo>
                      <a:pt x="756" y="125931"/>
                      <a:pt x="9682" y="137832"/>
                      <a:pt x="24558" y="143782"/>
                    </a:cubicBezTo>
                    <a:cubicBezTo>
                      <a:pt x="54310" y="155683"/>
                      <a:pt x="125715" y="158658"/>
                      <a:pt x="211996" y="146758"/>
                    </a:cubicBezTo>
                    <a:close/>
                  </a:path>
                </a:pathLst>
              </a:custGeom>
              <a:solidFill>
                <a:srgbClr val="718AAF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357C4F64-8EC2-4CF9-90E5-5DF08678C872}"/>
                  </a:ext>
                </a:extLst>
              </p:cNvPr>
              <p:cNvSpPr/>
              <p:nvPr/>
            </p:nvSpPr>
            <p:spPr>
              <a:xfrm>
                <a:off x="16517656" y="11954676"/>
                <a:ext cx="163893" cy="227187"/>
              </a:xfrm>
              <a:custGeom>
                <a:avLst/>
                <a:gdLst>
                  <a:gd name="connsiteX0" fmla="*/ 87979 w 163893"/>
                  <a:gd name="connsiteY0" fmla="*/ 227187 h 227187"/>
                  <a:gd name="connsiteX1" fmla="*/ 1698 w 163893"/>
                  <a:gd name="connsiteY1" fmla="*/ 66526 h 227187"/>
                  <a:gd name="connsiteX2" fmla="*/ 150458 w 163893"/>
                  <a:gd name="connsiteY2" fmla="*/ 4047 h 227187"/>
                  <a:gd name="connsiteX3" fmla="*/ 126657 w 163893"/>
                  <a:gd name="connsiteY3" fmla="*/ 227187 h 227187"/>
                  <a:gd name="connsiteX4" fmla="*/ 87979 w 163893"/>
                  <a:gd name="connsiteY4" fmla="*/ 227187 h 227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93" h="227187">
                    <a:moveTo>
                      <a:pt x="87979" y="227187"/>
                    </a:moveTo>
                    <a:cubicBezTo>
                      <a:pt x="87979" y="227187"/>
                      <a:pt x="19549" y="87353"/>
                      <a:pt x="1698" y="66526"/>
                    </a:cubicBezTo>
                    <a:cubicBezTo>
                      <a:pt x="-16153" y="48675"/>
                      <a:pt x="111781" y="-16779"/>
                      <a:pt x="150458" y="4047"/>
                    </a:cubicBezTo>
                    <a:cubicBezTo>
                      <a:pt x="189136" y="21898"/>
                      <a:pt x="132607" y="206361"/>
                      <a:pt x="126657" y="227187"/>
                    </a:cubicBezTo>
                    <a:lnTo>
                      <a:pt x="87979" y="227187"/>
                    </a:lnTo>
                    <a:close/>
                  </a:path>
                </a:pathLst>
              </a:custGeom>
              <a:solidFill>
                <a:srgbClr val="718AAF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7CE1C3B5-7E39-467A-B448-DE9F4CF79B68}"/>
                  </a:ext>
                </a:extLst>
              </p:cNvPr>
              <p:cNvSpPr/>
              <p:nvPr/>
            </p:nvSpPr>
            <p:spPr>
              <a:xfrm>
                <a:off x="16578274" y="12141698"/>
                <a:ext cx="179216" cy="60991"/>
              </a:xfrm>
              <a:custGeom>
                <a:avLst/>
                <a:gdLst>
                  <a:gd name="connsiteX0" fmla="*/ 158270 w 179216"/>
                  <a:gd name="connsiteY0" fmla="*/ 60992 h 60991"/>
                  <a:gd name="connsiteX1" fmla="*/ 149344 w 179216"/>
                  <a:gd name="connsiteY1" fmla="*/ 58016 h 60991"/>
                  <a:gd name="connsiteX2" fmla="*/ 24386 w 179216"/>
                  <a:gd name="connsiteY2" fmla="*/ 43140 h 60991"/>
                  <a:gd name="connsiteX3" fmla="*/ 583 w 179216"/>
                  <a:gd name="connsiteY3" fmla="*/ 28264 h 60991"/>
                  <a:gd name="connsiteX4" fmla="*/ 15459 w 179216"/>
                  <a:gd name="connsiteY4" fmla="*/ 4463 h 60991"/>
                  <a:gd name="connsiteX5" fmla="*/ 170171 w 179216"/>
                  <a:gd name="connsiteY5" fmla="*/ 22314 h 60991"/>
                  <a:gd name="connsiteX6" fmla="*/ 176121 w 179216"/>
                  <a:gd name="connsiteY6" fmla="*/ 49091 h 60991"/>
                  <a:gd name="connsiteX7" fmla="*/ 158270 w 179216"/>
                  <a:gd name="connsiteY7" fmla="*/ 60992 h 60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216" h="60991">
                    <a:moveTo>
                      <a:pt x="158270" y="60992"/>
                    </a:moveTo>
                    <a:cubicBezTo>
                      <a:pt x="155294" y="60992"/>
                      <a:pt x="152319" y="60992"/>
                      <a:pt x="149344" y="58016"/>
                    </a:cubicBezTo>
                    <a:cubicBezTo>
                      <a:pt x="110666" y="34215"/>
                      <a:pt x="45211" y="40165"/>
                      <a:pt x="24386" y="43140"/>
                    </a:cubicBezTo>
                    <a:cubicBezTo>
                      <a:pt x="12485" y="46116"/>
                      <a:pt x="3559" y="37190"/>
                      <a:pt x="583" y="28264"/>
                    </a:cubicBezTo>
                    <a:cubicBezTo>
                      <a:pt x="-2391" y="16364"/>
                      <a:pt x="6534" y="7438"/>
                      <a:pt x="15459" y="4463"/>
                    </a:cubicBezTo>
                    <a:cubicBezTo>
                      <a:pt x="18435" y="4463"/>
                      <a:pt x="107691" y="-13389"/>
                      <a:pt x="170171" y="22314"/>
                    </a:cubicBezTo>
                    <a:cubicBezTo>
                      <a:pt x="179096" y="28264"/>
                      <a:pt x="182071" y="40165"/>
                      <a:pt x="176121" y="49091"/>
                    </a:cubicBezTo>
                    <a:cubicBezTo>
                      <a:pt x="170171" y="55041"/>
                      <a:pt x="164220" y="60992"/>
                      <a:pt x="158270" y="60992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25DFA505-1CB7-41E4-A0D0-AC5982F120FB}"/>
                  </a:ext>
                </a:extLst>
              </p:cNvPr>
              <p:cNvSpPr/>
              <p:nvPr/>
            </p:nvSpPr>
            <p:spPr>
              <a:xfrm>
                <a:off x="16519233" y="12196619"/>
                <a:ext cx="84184" cy="89376"/>
              </a:xfrm>
              <a:custGeom>
                <a:avLst/>
                <a:gdLst>
                  <a:gd name="connsiteX0" fmla="*/ 65575 w 84184"/>
                  <a:gd name="connsiteY0" fmla="*/ 89376 h 89376"/>
                  <a:gd name="connsiteX1" fmla="*/ 47724 w 84184"/>
                  <a:gd name="connsiteY1" fmla="*/ 74500 h 89376"/>
                  <a:gd name="connsiteX2" fmla="*/ 9046 w 84184"/>
                  <a:gd name="connsiteY2" fmla="*/ 35823 h 89376"/>
                  <a:gd name="connsiteX3" fmla="*/ 3096 w 84184"/>
                  <a:gd name="connsiteY3" fmla="*/ 9046 h 89376"/>
                  <a:gd name="connsiteX4" fmla="*/ 29872 w 84184"/>
                  <a:gd name="connsiteY4" fmla="*/ 3096 h 89376"/>
                  <a:gd name="connsiteX5" fmla="*/ 83426 w 84184"/>
                  <a:gd name="connsiteY5" fmla="*/ 65575 h 89376"/>
                  <a:gd name="connsiteX6" fmla="*/ 68550 w 84184"/>
                  <a:gd name="connsiteY6" fmla="*/ 89376 h 89376"/>
                  <a:gd name="connsiteX7" fmla="*/ 65575 w 84184"/>
                  <a:gd name="connsiteY7" fmla="*/ 89376 h 89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184" h="89376">
                    <a:moveTo>
                      <a:pt x="65575" y="89376"/>
                    </a:moveTo>
                    <a:cubicBezTo>
                      <a:pt x="56650" y="89376"/>
                      <a:pt x="47724" y="83426"/>
                      <a:pt x="47724" y="74500"/>
                    </a:cubicBezTo>
                    <a:cubicBezTo>
                      <a:pt x="44748" y="62600"/>
                      <a:pt x="23922" y="44748"/>
                      <a:pt x="9046" y="35823"/>
                    </a:cubicBezTo>
                    <a:cubicBezTo>
                      <a:pt x="120" y="29872"/>
                      <a:pt x="-2854" y="17972"/>
                      <a:pt x="3096" y="9046"/>
                    </a:cubicBezTo>
                    <a:cubicBezTo>
                      <a:pt x="9046" y="120"/>
                      <a:pt x="20947" y="-2854"/>
                      <a:pt x="29872" y="3096"/>
                    </a:cubicBezTo>
                    <a:cubicBezTo>
                      <a:pt x="38798" y="9046"/>
                      <a:pt x="77476" y="35823"/>
                      <a:pt x="83426" y="65575"/>
                    </a:cubicBezTo>
                    <a:cubicBezTo>
                      <a:pt x="86402" y="77476"/>
                      <a:pt x="80451" y="86402"/>
                      <a:pt x="68550" y="89376"/>
                    </a:cubicBezTo>
                    <a:cubicBezTo>
                      <a:pt x="68550" y="89376"/>
                      <a:pt x="65575" y="89376"/>
                      <a:pt x="65575" y="89376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FD002C9F-F093-4756-BF0F-07FB51E5F032}"/>
                  </a:ext>
                </a:extLst>
              </p:cNvPr>
              <p:cNvSpPr/>
              <p:nvPr/>
            </p:nvSpPr>
            <p:spPr>
              <a:xfrm>
                <a:off x="16540760" y="12039423"/>
                <a:ext cx="157863" cy="62109"/>
              </a:xfrm>
              <a:custGeom>
                <a:avLst/>
                <a:gdLst>
                  <a:gd name="connsiteX0" fmla="*/ 20247 w 157863"/>
                  <a:gd name="connsiteY0" fmla="*/ 62110 h 62109"/>
                  <a:gd name="connsiteX1" fmla="*/ 2395 w 157863"/>
                  <a:gd name="connsiteY1" fmla="*/ 50209 h 62109"/>
                  <a:gd name="connsiteX2" fmla="*/ 11321 w 157863"/>
                  <a:gd name="connsiteY2" fmla="*/ 23431 h 62109"/>
                  <a:gd name="connsiteX3" fmla="*/ 142230 w 157863"/>
                  <a:gd name="connsiteY3" fmla="*/ 2605 h 62109"/>
                  <a:gd name="connsiteX4" fmla="*/ 157106 w 157863"/>
                  <a:gd name="connsiteY4" fmla="*/ 26407 h 62109"/>
                  <a:gd name="connsiteX5" fmla="*/ 133304 w 157863"/>
                  <a:gd name="connsiteY5" fmla="*/ 41283 h 62109"/>
                  <a:gd name="connsiteX6" fmla="*/ 26197 w 157863"/>
                  <a:gd name="connsiteY6" fmla="*/ 59134 h 62109"/>
                  <a:gd name="connsiteX7" fmla="*/ 20247 w 157863"/>
                  <a:gd name="connsiteY7" fmla="*/ 62110 h 62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863" h="62109">
                    <a:moveTo>
                      <a:pt x="20247" y="62110"/>
                    </a:moveTo>
                    <a:cubicBezTo>
                      <a:pt x="14296" y="62110"/>
                      <a:pt x="5371" y="59134"/>
                      <a:pt x="2395" y="50209"/>
                    </a:cubicBezTo>
                    <a:cubicBezTo>
                      <a:pt x="-3555" y="41283"/>
                      <a:pt x="2395" y="29382"/>
                      <a:pt x="11321" y="23431"/>
                    </a:cubicBezTo>
                    <a:cubicBezTo>
                      <a:pt x="14296" y="23431"/>
                      <a:pt x="79751" y="-9295"/>
                      <a:pt x="142230" y="2605"/>
                    </a:cubicBezTo>
                    <a:cubicBezTo>
                      <a:pt x="154131" y="5581"/>
                      <a:pt x="160081" y="14506"/>
                      <a:pt x="157106" y="26407"/>
                    </a:cubicBezTo>
                    <a:cubicBezTo>
                      <a:pt x="154131" y="38307"/>
                      <a:pt x="145205" y="44258"/>
                      <a:pt x="133304" y="41283"/>
                    </a:cubicBezTo>
                    <a:cubicBezTo>
                      <a:pt x="82725" y="32358"/>
                      <a:pt x="29172" y="59134"/>
                      <a:pt x="26197" y="59134"/>
                    </a:cubicBezTo>
                    <a:cubicBezTo>
                      <a:pt x="26197" y="62110"/>
                      <a:pt x="23221" y="62110"/>
                      <a:pt x="20247" y="62110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5" name="图形 1">
              <a:extLst>
                <a:ext uri="{FF2B5EF4-FFF2-40B4-BE49-F238E27FC236}">
                  <a16:creationId xmlns:a16="http://schemas.microsoft.com/office/drawing/2014/main" id="{B302541E-2224-45DB-8460-74CE8AE06923}"/>
                </a:ext>
              </a:extLst>
            </p:cNvPr>
            <p:cNvGrpSpPr/>
            <p:nvPr/>
          </p:nvGrpSpPr>
          <p:grpSpPr>
            <a:xfrm>
              <a:off x="17467178" y="11662223"/>
              <a:ext cx="566200" cy="584739"/>
              <a:chOff x="17467178" y="11662223"/>
              <a:chExt cx="566200" cy="584739"/>
            </a:xfrm>
          </p:grpSpPr>
          <p:grpSp>
            <p:nvGrpSpPr>
              <p:cNvPr id="41" name="图形 1">
                <a:extLst>
                  <a:ext uri="{FF2B5EF4-FFF2-40B4-BE49-F238E27FC236}">
                    <a16:creationId xmlns:a16="http://schemas.microsoft.com/office/drawing/2014/main" id="{4B11CDE5-69C8-4984-8F24-C6C681548509}"/>
                  </a:ext>
                </a:extLst>
              </p:cNvPr>
              <p:cNvGrpSpPr/>
              <p:nvPr/>
            </p:nvGrpSpPr>
            <p:grpSpPr>
              <a:xfrm>
                <a:off x="17674090" y="12116764"/>
                <a:ext cx="130197" cy="130198"/>
                <a:chOff x="17674090" y="12116764"/>
                <a:chExt cx="130197" cy="130198"/>
              </a:xfrm>
            </p:grpSpPr>
            <p:sp>
              <p:nvSpPr>
                <p:cNvPr id="55" name="任意多边形: 形状 54">
                  <a:extLst>
                    <a:ext uri="{FF2B5EF4-FFF2-40B4-BE49-F238E27FC236}">
                      <a16:creationId xmlns:a16="http://schemas.microsoft.com/office/drawing/2014/main" id="{8E7C64BF-0E27-42EA-8A8F-90A5D9A553D4}"/>
                    </a:ext>
                  </a:extLst>
                </p:cNvPr>
                <p:cNvSpPr/>
                <p:nvPr/>
              </p:nvSpPr>
              <p:spPr>
                <a:xfrm>
                  <a:off x="17674090" y="12116764"/>
                  <a:ext cx="130197" cy="130198"/>
                </a:xfrm>
                <a:custGeom>
                  <a:avLst/>
                  <a:gdLst>
                    <a:gd name="connsiteX0" fmla="*/ 112703 w 130197"/>
                    <a:gd name="connsiteY0" fmla="*/ 20471 h 130198"/>
                    <a:gd name="connsiteX1" fmla="*/ 109726 w 130197"/>
                    <a:gd name="connsiteY1" fmla="*/ 112702 h 130198"/>
                    <a:gd name="connsiteX2" fmla="*/ 17496 w 130197"/>
                    <a:gd name="connsiteY2" fmla="*/ 109727 h 130198"/>
                    <a:gd name="connsiteX3" fmla="*/ 20470 w 130197"/>
                    <a:gd name="connsiteY3" fmla="*/ 17496 h 130198"/>
                    <a:gd name="connsiteX4" fmla="*/ 112703 w 130197"/>
                    <a:gd name="connsiteY4" fmla="*/ 20471 h 13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0197" h="130198">
                      <a:moveTo>
                        <a:pt x="112703" y="20471"/>
                      </a:moveTo>
                      <a:cubicBezTo>
                        <a:pt x="136504" y="47248"/>
                        <a:pt x="136504" y="88901"/>
                        <a:pt x="109726" y="112702"/>
                      </a:cubicBezTo>
                      <a:cubicBezTo>
                        <a:pt x="82950" y="136505"/>
                        <a:pt x="41297" y="136505"/>
                        <a:pt x="17496" y="109727"/>
                      </a:cubicBezTo>
                      <a:cubicBezTo>
                        <a:pt x="-6306" y="82950"/>
                        <a:pt x="-6306" y="41298"/>
                        <a:pt x="20470" y="17496"/>
                      </a:cubicBezTo>
                      <a:cubicBezTo>
                        <a:pt x="47248" y="-6306"/>
                        <a:pt x="88899" y="-6306"/>
                        <a:pt x="112703" y="20471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6" name="任意多边形: 形状 55">
                  <a:extLst>
                    <a:ext uri="{FF2B5EF4-FFF2-40B4-BE49-F238E27FC236}">
                      <a16:creationId xmlns:a16="http://schemas.microsoft.com/office/drawing/2014/main" id="{8580181D-2DBE-4A70-8C29-EFA0503DCC9E}"/>
                    </a:ext>
                  </a:extLst>
                </p:cNvPr>
                <p:cNvSpPr/>
                <p:nvPr/>
              </p:nvSpPr>
              <p:spPr>
                <a:xfrm>
                  <a:off x="17707811" y="12151700"/>
                  <a:ext cx="59780" cy="58565"/>
                </a:xfrm>
                <a:custGeom>
                  <a:avLst/>
                  <a:gdLst>
                    <a:gd name="connsiteX0" fmla="*/ 52204 w 59780"/>
                    <a:gd name="connsiteY0" fmla="*/ 9337 h 58565"/>
                    <a:gd name="connsiteX1" fmla="*/ 49230 w 59780"/>
                    <a:gd name="connsiteY1" fmla="*/ 50990 h 58565"/>
                    <a:gd name="connsiteX2" fmla="*/ 7576 w 59780"/>
                    <a:gd name="connsiteY2" fmla="*/ 48015 h 58565"/>
                    <a:gd name="connsiteX3" fmla="*/ 10551 w 59780"/>
                    <a:gd name="connsiteY3" fmla="*/ 6362 h 58565"/>
                    <a:gd name="connsiteX4" fmla="*/ 52204 w 59780"/>
                    <a:gd name="connsiteY4" fmla="*/ 9337 h 585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780" h="58565">
                      <a:moveTo>
                        <a:pt x="52204" y="9337"/>
                      </a:moveTo>
                      <a:cubicBezTo>
                        <a:pt x="64106" y="21238"/>
                        <a:pt x="61130" y="39089"/>
                        <a:pt x="49230" y="50990"/>
                      </a:cubicBezTo>
                      <a:cubicBezTo>
                        <a:pt x="37328" y="62891"/>
                        <a:pt x="19478" y="59915"/>
                        <a:pt x="7576" y="48015"/>
                      </a:cubicBezTo>
                      <a:cubicBezTo>
                        <a:pt x="-4325" y="36114"/>
                        <a:pt x="-1349" y="18263"/>
                        <a:pt x="10551" y="6362"/>
                      </a:cubicBezTo>
                      <a:cubicBezTo>
                        <a:pt x="22452" y="-2563"/>
                        <a:pt x="40303" y="-2563"/>
                        <a:pt x="52204" y="9337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42" name="图形 1">
                <a:extLst>
                  <a:ext uri="{FF2B5EF4-FFF2-40B4-BE49-F238E27FC236}">
                    <a16:creationId xmlns:a16="http://schemas.microsoft.com/office/drawing/2014/main" id="{AA73254B-91F1-4CE4-9939-F7A6A4A6D2FF}"/>
                  </a:ext>
                </a:extLst>
              </p:cNvPr>
              <p:cNvGrpSpPr/>
              <p:nvPr/>
            </p:nvGrpSpPr>
            <p:grpSpPr>
              <a:xfrm>
                <a:off x="17799048" y="12002545"/>
                <a:ext cx="130199" cy="131359"/>
                <a:chOff x="17799048" y="12002545"/>
                <a:chExt cx="130199" cy="131359"/>
              </a:xfrm>
            </p:grpSpPr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A72581A7-7D88-4474-A192-716E2AD8AE16}"/>
                    </a:ext>
                  </a:extLst>
                </p:cNvPr>
                <p:cNvSpPr/>
                <p:nvPr/>
              </p:nvSpPr>
              <p:spPr>
                <a:xfrm>
                  <a:off x="17799048" y="12002545"/>
                  <a:ext cx="130199" cy="131359"/>
                </a:xfrm>
                <a:custGeom>
                  <a:avLst/>
                  <a:gdLst>
                    <a:gd name="connsiteX0" fmla="*/ 112702 w 130199"/>
                    <a:gd name="connsiteY0" fmla="*/ 21632 h 131359"/>
                    <a:gd name="connsiteX1" fmla="*/ 109728 w 130199"/>
                    <a:gd name="connsiteY1" fmla="*/ 113864 h 131359"/>
                    <a:gd name="connsiteX2" fmla="*/ 17497 w 130199"/>
                    <a:gd name="connsiteY2" fmla="*/ 110888 h 131359"/>
                    <a:gd name="connsiteX3" fmla="*/ 20471 w 130199"/>
                    <a:gd name="connsiteY3" fmla="*/ 18657 h 131359"/>
                    <a:gd name="connsiteX4" fmla="*/ 112702 w 130199"/>
                    <a:gd name="connsiteY4" fmla="*/ 21632 h 1313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0199" h="131359">
                      <a:moveTo>
                        <a:pt x="112702" y="21632"/>
                      </a:moveTo>
                      <a:cubicBezTo>
                        <a:pt x="136505" y="48409"/>
                        <a:pt x="136505" y="90061"/>
                        <a:pt x="109728" y="113864"/>
                      </a:cubicBezTo>
                      <a:cubicBezTo>
                        <a:pt x="82950" y="137665"/>
                        <a:pt x="41298" y="137665"/>
                        <a:pt x="17497" y="110888"/>
                      </a:cubicBezTo>
                      <a:cubicBezTo>
                        <a:pt x="-6306" y="84112"/>
                        <a:pt x="-6306" y="42459"/>
                        <a:pt x="20471" y="18657"/>
                      </a:cubicBezTo>
                      <a:cubicBezTo>
                        <a:pt x="47249" y="-8120"/>
                        <a:pt x="88901" y="-5145"/>
                        <a:pt x="112702" y="21632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4" name="任意多边形: 形状 53">
                  <a:extLst>
                    <a:ext uri="{FF2B5EF4-FFF2-40B4-BE49-F238E27FC236}">
                      <a16:creationId xmlns:a16="http://schemas.microsoft.com/office/drawing/2014/main" id="{E4809EA9-C64F-4035-9D5A-CD913CA64DC3}"/>
                    </a:ext>
                  </a:extLst>
                </p:cNvPr>
                <p:cNvSpPr/>
                <p:nvPr/>
              </p:nvSpPr>
              <p:spPr>
                <a:xfrm>
                  <a:off x="17832770" y="12037428"/>
                  <a:ext cx="59779" cy="59780"/>
                </a:xfrm>
                <a:custGeom>
                  <a:avLst/>
                  <a:gdLst>
                    <a:gd name="connsiteX0" fmla="*/ 52204 w 59779"/>
                    <a:gd name="connsiteY0" fmla="*/ 10551 h 59780"/>
                    <a:gd name="connsiteX1" fmla="*/ 49228 w 59779"/>
                    <a:gd name="connsiteY1" fmla="*/ 52205 h 59780"/>
                    <a:gd name="connsiteX2" fmla="*/ 7576 w 59779"/>
                    <a:gd name="connsiteY2" fmla="*/ 49229 h 59780"/>
                    <a:gd name="connsiteX3" fmla="*/ 10551 w 59779"/>
                    <a:gd name="connsiteY3" fmla="*/ 7577 h 59780"/>
                    <a:gd name="connsiteX4" fmla="*/ 52204 w 59779"/>
                    <a:gd name="connsiteY4" fmla="*/ 10551 h 597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779" h="59780">
                      <a:moveTo>
                        <a:pt x="52204" y="10551"/>
                      </a:moveTo>
                      <a:cubicBezTo>
                        <a:pt x="64104" y="22453"/>
                        <a:pt x="61130" y="40303"/>
                        <a:pt x="49228" y="52205"/>
                      </a:cubicBezTo>
                      <a:cubicBezTo>
                        <a:pt x="37328" y="64105"/>
                        <a:pt x="19476" y="61130"/>
                        <a:pt x="7576" y="49229"/>
                      </a:cubicBezTo>
                      <a:cubicBezTo>
                        <a:pt x="-4325" y="37329"/>
                        <a:pt x="-1349" y="19477"/>
                        <a:pt x="10551" y="7577"/>
                      </a:cubicBezTo>
                      <a:cubicBezTo>
                        <a:pt x="22452" y="-4325"/>
                        <a:pt x="40303" y="-1350"/>
                        <a:pt x="52204" y="10551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43" name="图形 1">
                <a:extLst>
                  <a:ext uri="{FF2B5EF4-FFF2-40B4-BE49-F238E27FC236}">
                    <a16:creationId xmlns:a16="http://schemas.microsoft.com/office/drawing/2014/main" id="{CD9668A3-D2EE-4E8C-8DAD-D37653C72E25}"/>
                  </a:ext>
                </a:extLst>
              </p:cNvPr>
              <p:cNvGrpSpPr/>
              <p:nvPr/>
            </p:nvGrpSpPr>
            <p:grpSpPr>
              <a:xfrm>
                <a:off x="17903180" y="11878748"/>
                <a:ext cx="130199" cy="130198"/>
                <a:chOff x="17903180" y="11878748"/>
                <a:chExt cx="130199" cy="130198"/>
              </a:xfrm>
            </p:grpSpPr>
            <p:sp>
              <p:nvSpPr>
                <p:cNvPr id="51" name="任意多边形: 形状 50">
                  <a:extLst>
                    <a:ext uri="{FF2B5EF4-FFF2-40B4-BE49-F238E27FC236}">
                      <a16:creationId xmlns:a16="http://schemas.microsoft.com/office/drawing/2014/main" id="{0DF81F6D-F0EE-4FE9-8BFC-9DEEAF3E96AB}"/>
                    </a:ext>
                  </a:extLst>
                </p:cNvPr>
                <p:cNvSpPr/>
                <p:nvPr/>
              </p:nvSpPr>
              <p:spPr>
                <a:xfrm>
                  <a:off x="17903180" y="11878748"/>
                  <a:ext cx="130199" cy="130198"/>
                </a:xfrm>
                <a:custGeom>
                  <a:avLst/>
                  <a:gdLst>
                    <a:gd name="connsiteX0" fmla="*/ 112702 w 130199"/>
                    <a:gd name="connsiteY0" fmla="*/ 20471 h 130198"/>
                    <a:gd name="connsiteX1" fmla="*/ 109728 w 130199"/>
                    <a:gd name="connsiteY1" fmla="*/ 112702 h 130198"/>
                    <a:gd name="connsiteX2" fmla="*/ 17497 w 130199"/>
                    <a:gd name="connsiteY2" fmla="*/ 109727 h 130198"/>
                    <a:gd name="connsiteX3" fmla="*/ 20471 w 130199"/>
                    <a:gd name="connsiteY3" fmla="*/ 17496 h 130198"/>
                    <a:gd name="connsiteX4" fmla="*/ 112702 w 130199"/>
                    <a:gd name="connsiteY4" fmla="*/ 20471 h 13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0199" h="130198">
                      <a:moveTo>
                        <a:pt x="112702" y="20471"/>
                      </a:moveTo>
                      <a:cubicBezTo>
                        <a:pt x="136505" y="47248"/>
                        <a:pt x="136505" y="88901"/>
                        <a:pt x="109728" y="112702"/>
                      </a:cubicBezTo>
                      <a:cubicBezTo>
                        <a:pt x="82950" y="136505"/>
                        <a:pt x="41298" y="136505"/>
                        <a:pt x="17497" y="109727"/>
                      </a:cubicBezTo>
                      <a:cubicBezTo>
                        <a:pt x="-6306" y="82950"/>
                        <a:pt x="-6306" y="41298"/>
                        <a:pt x="20471" y="17496"/>
                      </a:cubicBezTo>
                      <a:cubicBezTo>
                        <a:pt x="47249" y="-6306"/>
                        <a:pt x="88901" y="-6306"/>
                        <a:pt x="112702" y="20471"/>
                      </a:cubicBezTo>
                      <a:close/>
                    </a:path>
                  </a:pathLst>
                </a:custGeom>
                <a:solidFill>
                  <a:srgbClr val="38333D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15601B68-1965-475A-8C46-F401F8C54D12}"/>
                    </a:ext>
                  </a:extLst>
                </p:cNvPr>
                <p:cNvSpPr/>
                <p:nvPr/>
              </p:nvSpPr>
              <p:spPr>
                <a:xfrm>
                  <a:off x="17936902" y="11914436"/>
                  <a:ext cx="59779" cy="60788"/>
                </a:xfrm>
                <a:custGeom>
                  <a:avLst/>
                  <a:gdLst>
                    <a:gd name="connsiteX0" fmla="*/ 52204 w 59779"/>
                    <a:gd name="connsiteY0" fmla="*/ 11560 h 60788"/>
                    <a:gd name="connsiteX1" fmla="*/ 49228 w 59779"/>
                    <a:gd name="connsiteY1" fmla="*/ 53213 h 60788"/>
                    <a:gd name="connsiteX2" fmla="*/ 7576 w 59779"/>
                    <a:gd name="connsiteY2" fmla="*/ 50237 h 60788"/>
                    <a:gd name="connsiteX3" fmla="*/ 10551 w 59779"/>
                    <a:gd name="connsiteY3" fmla="*/ 8585 h 60788"/>
                    <a:gd name="connsiteX4" fmla="*/ 52204 w 59779"/>
                    <a:gd name="connsiteY4" fmla="*/ 11560 h 60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779" h="60788">
                      <a:moveTo>
                        <a:pt x="52204" y="11560"/>
                      </a:moveTo>
                      <a:cubicBezTo>
                        <a:pt x="64104" y="23461"/>
                        <a:pt x="61130" y="41312"/>
                        <a:pt x="49228" y="53213"/>
                      </a:cubicBezTo>
                      <a:cubicBezTo>
                        <a:pt x="37328" y="65113"/>
                        <a:pt x="19476" y="62138"/>
                        <a:pt x="7576" y="50237"/>
                      </a:cubicBezTo>
                      <a:cubicBezTo>
                        <a:pt x="-4325" y="38337"/>
                        <a:pt x="-1349" y="20485"/>
                        <a:pt x="10551" y="8585"/>
                      </a:cubicBezTo>
                      <a:cubicBezTo>
                        <a:pt x="22452" y="-3316"/>
                        <a:pt x="40303" y="-3316"/>
                        <a:pt x="52204" y="11560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C9B63099-712E-4F5F-86EF-1375C795D341}"/>
                  </a:ext>
                </a:extLst>
              </p:cNvPr>
              <p:cNvSpPr/>
              <p:nvPr/>
            </p:nvSpPr>
            <p:spPr>
              <a:xfrm>
                <a:off x="17620805" y="11838338"/>
                <a:ext cx="395076" cy="394104"/>
              </a:xfrm>
              <a:custGeom>
                <a:avLst/>
                <a:gdLst>
                  <a:gd name="connsiteX0" fmla="*/ 2351 w 395076"/>
                  <a:gd name="connsiteY0" fmla="*/ 304848 h 394104"/>
                  <a:gd name="connsiteX1" fmla="*/ 20202 w 395076"/>
                  <a:gd name="connsiteY1" fmla="*/ 394104 h 394104"/>
                  <a:gd name="connsiteX2" fmla="*/ 395077 w 395076"/>
                  <a:gd name="connsiteY2" fmla="*/ 25179 h 394104"/>
                  <a:gd name="connsiteX3" fmla="*/ 267143 w 395076"/>
                  <a:gd name="connsiteY3" fmla="*/ 13278 h 394104"/>
                  <a:gd name="connsiteX4" fmla="*/ 2351 w 395076"/>
                  <a:gd name="connsiteY4" fmla="*/ 304848 h 39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076" h="394104">
                    <a:moveTo>
                      <a:pt x="2351" y="304848"/>
                    </a:moveTo>
                    <a:cubicBezTo>
                      <a:pt x="2351" y="304848"/>
                      <a:pt x="-9550" y="352451"/>
                      <a:pt x="20202" y="394104"/>
                    </a:cubicBezTo>
                    <a:cubicBezTo>
                      <a:pt x="20202" y="394104"/>
                      <a:pt x="308797" y="167988"/>
                      <a:pt x="395077" y="25179"/>
                    </a:cubicBezTo>
                    <a:cubicBezTo>
                      <a:pt x="395077" y="25179"/>
                      <a:pt x="332598" y="-22425"/>
                      <a:pt x="267143" y="13278"/>
                    </a:cubicBezTo>
                    <a:cubicBezTo>
                      <a:pt x="201688" y="46005"/>
                      <a:pt x="2351" y="304848"/>
                      <a:pt x="2351" y="304848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DC9E3F22-E946-4DBC-B454-20F4DC79F22E}"/>
                  </a:ext>
                </a:extLst>
              </p:cNvPr>
              <p:cNvSpPr/>
              <p:nvPr/>
            </p:nvSpPr>
            <p:spPr>
              <a:xfrm>
                <a:off x="17516048" y="11662223"/>
                <a:ext cx="416644" cy="466086"/>
              </a:xfrm>
              <a:custGeom>
                <a:avLst/>
                <a:gdLst>
                  <a:gd name="connsiteX0" fmla="*/ 0 w 416644"/>
                  <a:gd name="connsiteY0" fmla="*/ 177491 h 466086"/>
                  <a:gd name="connsiteX1" fmla="*/ 130910 w 416644"/>
                  <a:gd name="connsiteY1" fmla="*/ 245922 h 466086"/>
                  <a:gd name="connsiteX2" fmla="*/ 74380 w 416644"/>
                  <a:gd name="connsiteY2" fmla="*/ 367905 h 466086"/>
                  <a:gd name="connsiteX3" fmla="*/ 196365 w 416644"/>
                  <a:gd name="connsiteY3" fmla="*/ 466087 h 466086"/>
                  <a:gd name="connsiteX4" fmla="*/ 416529 w 416644"/>
                  <a:gd name="connsiteY4" fmla="*/ 195343 h 466086"/>
                  <a:gd name="connsiteX5" fmla="*/ 181489 w 416644"/>
                  <a:gd name="connsiteY5" fmla="*/ 4930 h 466086"/>
                  <a:gd name="connsiteX6" fmla="*/ 154711 w 416644"/>
                  <a:gd name="connsiteY6" fmla="*/ 1954 h 466086"/>
                  <a:gd name="connsiteX7" fmla="*/ 0 w 416644"/>
                  <a:gd name="connsiteY7" fmla="*/ 177491 h 4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644" h="466086">
                    <a:moveTo>
                      <a:pt x="0" y="177491"/>
                    </a:moveTo>
                    <a:cubicBezTo>
                      <a:pt x="0" y="177491"/>
                      <a:pt x="80331" y="222120"/>
                      <a:pt x="130910" y="245922"/>
                    </a:cubicBezTo>
                    <a:cubicBezTo>
                      <a:pt x="130910" y="245922"/>
                      <a:pt x="113057" y="314351"/>
                      <a:pt x="74380" y="367905"/>
                    </a:cubicBezTo>
                    <a:cubicBezTo>
                      <a:pt x="35703" y="421459"/>
                      <a:pt x="196365" y="466087"/>
                      <a:pt x="196365" y="466087"/>
                    </a:cubicBezTo>
                    <a:cubicBezTo>
                      <a:pt x="196365" y="466087"/>
                      <a:pt x="422480" y="245922"/>
                      <a:pt x="416529" y="195343"/>
                    </a:cubicBezTo>
                    <a:cubicBezTo>
                      <a:pt x="410578" y="150715"/>
                      <a:pt x="232066" y="37657"/>
                      <a:pt x="181489" y="4930"/>
                    </a:cubicBezTo>
                    <a:cubicBezTo>
                      <a:pt x="172562" y="-1021"/>
                      <a:pt x="163636" y="-1021"/>
                      <a:pt x="154711" y="1954"/>
                    </a:cubicBezTo>
                    <a:cubicBezTo>
                      <a:pt x="113057" y="16830"/>
                      <a:pt x="0" y="67409"/>
                      <a:pt x="0" y="177491"/>
                    </a:cubicBezTo>
                    <a:close/>
                  </a:path>
                </a:pathLst>
              </a:custGeom>
              <a:solidFill>
                <a:srgbClr val="7F95BC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9224A9BC-FA18-4BE8-AC66-70064C2925E7}"/>
                  </a:ext>
                </a:extLst>
              </p:cNvPr>
              <p:cNvSpPr/>
              <p:nvPr/>
            </p:nvSpPr>
            <p:spPr>
              <a:xfrm>
                <a:off x="17553897" y="12026642"/>
                <a:ext cx="223968" cy="167242"/>
              </a:xfrm>
              <a:custGeom>
                <a:avLst/>
                <a:gdLst>
                  <a:gd name="connsiteX0" fmla="*/ 223968 w 223968"/>
                  <a:gd name="connsiteY0" fmla="*/ 36213 h 167242"/>
                  <a:gd name="connsiteX1" fmla="*/ 15704 w 223968"/>
                  <a:gd name="connsiteY1" fmla="*/ 30263 h 167242"/>
                  <a:gd name="connsiteX2" fmla="*/ 45456 w 223968"/>
                  <a:gd name="connsiteY2" fmla="*/ 158197 h 167242"/>
                  <a:gd name="connsiteX3" fmla="*/ 81159 w 223968"/>
                  <a:gd name="connsiteY3" fmla="*/ 164147 h 167242"/>
                  <a:gd name="connsiteX4" fmla="*/ 223968 w 223968"/>
                  <a:gd name="connsiteY4" fmla="*/ 36213 h 167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3968" h="167242">
                    <a:moveTo>
                      <a:pt x="223968" y="36213"/>
                    </a:moveTo>
                    <a:cubicBezTo>
                      <a:pt x="223968" y="36213"/>
                      <a:pt x="69259" y="-41142"/>
                      <a:pt x="15704" y="30263"/>
                    </a:cubicBezTo>
                    <a:cubicBezTo>
                      <a:pt x="-22973" y="80841"/>
                      <a:pt x="18680" y="134395"/>
                      <a:pt x="45456" y="158197"/>
                    </a:cubicBezTo>
                    <a:cubicBezTo>
                      <a:pt x="54383" y="167123"/>
                      <a:pt x="69259" y="170097"/>
                      <a:pt x="81159" y="164147"/>
                    </a:cubicBezTo>
                    <a:cubicBezTo>
                      <a:pt x="110911" y="146296"/>
                      <a:pt x="167441" y="101668"/>
                      <a:pt x="223968" y="36213"/>
                    </a:cubicBezTo>
                    <a:close/>
                  </a:path>
                </a:pathLst>
              </a:custGeom>
              <a:solidFill>
                <a:srgbClr val="718AAF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63C32CE0-5922-4452-9F05-02A6B6E6370E}"/>
                  </a:ext>
                </a:extLst>
              </p:cNvPr>
              <p:cNvSpPr/>
              <p:nvPr/>
            </p:nvSpPr>
            <p:spPr>
              <a:xfrm>
                <a:off x="17467178" y="11702268"/>
                <a:ext cx="206554" cy="205876"/>
              </a:xfrm>
              <a:custGeom>
                <a:avLst/>
                <a:gdLst>
                  <a:gd name="connsiteX0" fmla="*/ 179779 w 206554"/>
                  <a:gd name="connsiteY0" fmla="*/ 205877 h 205876"/>
                  <a:gd name="connsiteX1" fmla="*/ 7218 w 206554"/>
                  <a:gd name="connsiteY1" fmla="*/ 146373 h 205876"/>
                  <a:gd name="connsiteX2" fmla="*/ 72671 w 206554"/>
                  <a:gd name="connsiteY2" fmla="*/ 588 h 205876"/>
                  <a:gd name="connsiteX3" fmla="*/ 206555 w 206554"/>
                  <a:gd name="connsiteY3" fmla="*/ 182075 h 205876"/>
                  <a:gd name="connsiteX4" fmla="*/ 179779 w 206554"/>
                  <a:gd name="connsiteY4" fmla="*/ 205877 h 205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6554" h="205876">
                    <a:moveTo>
                      <a:pt x="179779" y="205877"/>
                    </a:moveTo>
                    <a:cubicBezTo>
                      <a:pt x="179779" y="205877"/>
                      <a:pt x="33993" y="146373"/>
                      <a:pt x="7218" y="146373"/>
                    </a:cubicBezTo>
                    <a:cubicBezTo>
                      <a:pt x="-19560" y="146373"/>
                      <a:pt x="33993" y="9513"/>
                      <a:pt x="72671" y="588"/>
                    </a:cubicBezTo>
                    <a:cubicBezTo>
                      <a:pt x="114324" y="-11314"/>
                      <a:pt x="197630" y="161249"/>
                      <a:pt x="206555" y="182075"/>
                    </a:cubicBezTo>
                    <a:lnTo>
                      <a:pt x="179779" y="205877"/>
                    </a:lnTo>
                    <a:close/>
                  </a:path>
                </a:pathLst>
              </a:custGeom>
              <a:solidFill>
                <a:srgbClr val="718AAF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071B873D-5C81-41C1-9063-FC95174F6149}"/>
                  </a:ext>
                </a:extLst>
              </p:cNvPr>
              <p:cNvSpPr/>
              <p:nvPr/>
            </p:nvSpPr>
            <p:spPr>
              <a:xfrm>
                <a:off x="17611816" y="11800453"/>
                <a:ext cx="154732" cy="120759"/>
              </a:xfrm>
              <a:custGeom>
                <a:avLst/>
                <a:gdLst>
                  <a:gd name="connsiteX0" fmla="*/ 14315 w 154732"/>
                  <a:gd name="connsiteY0" fmla="*/ 119592 h 120759"/>
                  <a:gd name="connsiteX1" fmla="*/ 8364 w 154732"/>
                  <a:gd name="connsiteY1" fmla="*/ 116617 h 120759"/>
                  <a:gd name="connsiteX2" fmla="*/ 5389 w 154732"/>
                  <a:gd name="connsiteY2" fmla="*/ 89840 h 120759"/>
                  <a:gd name="connsiteX3" fmla="*/ 130348 w 154732"/>
                  <a:gd name="connsiteY3" fmla="*/ 584 h 120759"/>
                  <a:gd name="connsiteX4" fmla="*/ 154150 w 154732"/>
                  <a:gd name="connsiteY4" fmla="*/ 15460 h 120759"/>
                  <a:gd name="connsiteX5" fmla="*/ 139274 w 154732"/>
                  <a:gd name="connsiteY5" fmla="*/ 39261 h 120759"/>
                  <a:gd name="connsiteX6" fmla="*/ 38116 w 154732"/>
                  <a:gd name="connsiteY6" fmla="*/ 113641 h 120759"/>
                  <a:gd name="connsiteX7" fmla="*/ 14315 w 154732"/>
                  <a:gd name="connsiteY7" fmla="*/ 119592 h 120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732" h="120759">
                    <a:moveTo>
                      <a:pt x="14315" y="119592"/>
                    </a:moveTo>
                    <a:cubicBezTo>
                      <a:pt x="11340" y="119592"/>
                      <a:pt x="11340" y="116617"/>
                      <a:pt x="8364" y="116617"/>
                    </a:cubicBezTo>
                    <a:cubicBezTo>
                      <a:pt x="-562" y="110667"/>
                      <a:pt x="-3536" y="98765"/>
                      <a:pt x="5389" y="89840"/>
                    </a:cubicBezTo>
                    <a:cubicBezTo>
                      <a:pt x="8364" y="86864"/>
                      <a:pt x="61917" y="12484"/>
                      <a:pt x="130348" y="584"/>
                    </a:cubicBezTo>
                    <a:cubicBezTo>
                      <a:pt x="142248" y="-2392"/>
                      <a:pt x="151173" y="6534"/>
                      <a:pt x="154150" y="15460"/>
                    </a:cubicBezTo>
                    <a:cubicBezTo>
                      <a:pt x="157124" y="27360"/>
                      <a:pt x="148199" y="36286"/>
                      <a:pt x="139274" y="39261"/>
                    </a:cubicBezTo>
                    <a:cubicBezTo>
                      <a:pt x="94645" y="48187"/>
                      <a:pt x="50017" y="95791"/>
                      <a:pt x="38116" y="113641"/>
                    </a:cubicBezTo>
                    <a:cubicBezTo>
                      <a:pt x="29191" y="119592"/>
                      <a:pt x="20265" y="122567"/>
                      <a:pt x="14315" y="119592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04687269-5006-4D38-A570-08285E529AD6}"/>
                  </a:ext>
                </a:extLst>
              </p:cNvPr>
              <p:cNvSpPr/>
              <p:nvPr/>
            </p:nvSpPr>
            <p:spPr>
              <a:xfrm>
                <a:off x="17601746" y="11956491"/>
                <a:ext cx="107811" cy="46980"/>
              </a:xfrm>
              <a:custGeom>
                <a:avLst/>
                <a:gdLst>
                  <a:gd name="connsiteX0" fmla="*/ 15460 w 107811"/>
                  <a:gd name="connsiteY0" fmla="*/ 40909 h 46980"/>
                  <a:gd name="connsiteX1" fmla="*/ 584 w 107811"/>
                  <a:gd name="connsiteY1" fmla="*/ 26033 h 46980"/>
                  <a:gd name="connsiteX2" fmla="*/ 15460 w 107811"/>
                  <a:gd name="connsiteY2" fmla="*/ 2231 h 46980"/>
                  <a:gd name="connsiteX3" fmla="*/ 98765 w 107811"/>
                  <a:gd name="connsiteY3" fmla="*/ 11157 h 46980"/>
                  <a:gd name="connsiteX4" fmla="*/ 104716 w 107811"/>
                  <a:gd name="connsiteY4" fmla="*/ 37934 h 46980"/>
                  <a:gd name="connsiteX5" fmla="*/ 77939 w 107811"/>
                  <a:gd name="connsiteY5" fmla="*/ 43885 h 46980"/>
                  <a:gd name="connsiteX6" fmla="*/ 24385 w 107811"/>
                  <a:gd name="connsiteY6" fmla="*/ 40909 h 46980"/>
                  <a:gd name="connsiteX7" fmla="*/ 15460 w 107811"/>
                  <a:gd name="connsiteY7" fmla="*/ 40909 h 46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811" h="46980">
                    <a:moveTo>
                      <a:pt x="15460" y="40909"/>
                    </a:moveTo>
                    <a:cubicBezTo>
                      <a:pt x="9509" y="37934"/>
                      <a:pt x="3558" y="31983"/>
                      <a:pt x="584" y="26033"/>
                    </a:cubicBezTo>
                    <a:cubicBezTo>
                      <a:pt x="-2392" y="14133"/>
                      <a:pt x="6535" y="5207"/>
                      <a:pt x="15460" y="2231"/>
                    </a:cubicBezTo>
                    <a:cubicBezTo>
                      <a:pt x="24385" y="2231"/>
                      <a:pt x="71988" y="-6694"/>
                      <a:pt x="98765" y="11157"/>
                    </a:cubicBezTo>
                    <a:cubicBezTo>
                      <a:pt x="107691" y="17107"/>
                      <a:pt x="110667" y="29009"/>
                      <a:pt x="104716" y="37934"/>
                    </a:cubicBezTo>
                    <a:cubicBezTo>
                      <a:pt x="98765" y="46859"/>
                      <a:pt x="86864" y="49835"/>
                      <a:pt x="77939" y="43885"/>
                    </a:cubicBezTo>
                    <a:cubicBezTo>
                      <a:pt x="66039" y="37934"/>
                      <a:pt x="39261" y="37934"/>
                      <a:pt x="24385" y="40909"/>
                    </a:cubicBezTo>
                    <a:cubicBezTo>
                      <a:pt x="21411" y="43885"/>
                      <a:pt x="18434" y="43885"/>
                      <a:pt x="15460" y="40909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15F86F35-BF0F-485A-B50B-9AC07E8A5954}"/>
                  </a:ext>
                </a:extLst>
              </p:cNvPr>
              <p:cNvSpPr/>
              <p:nvPr/>
            </p:nvSpPr>
            <p:spPr>
              <a:xfrm>
                <a:off x="17533900" y="11764163"/>
                <a:ext cx="87452" cy="129696"/>
              </a:xfrm>
              <a:custGeom>
                <a:avLst/>
                <a:gdLst>
                  <a:gd name="connsiteX0" fmla="*/ 14876 w 87452"/>
                  <a:gd name="connsiteY0" fmla="*/ 129106 h 129696"/>
                  <a:gd name="connsiteX1" fmla="*/ 0 w 87452"/>
                  <a:gd name="connsiteY1" fmla="*/ 105303 h 129696"/>
                  <a:gd name="connsiteX2" fmla="*/ 56528 w 87452"/>
                  <a:gd name="connsiteY2" fmla="*/ 4147 h 129696"/>
                  <a:gd name="connsiteX3" fmla="*/ 83305 w 87452"/>
                  <a:gd name="connsiteY3" fmla="*/ 7122 h 129696"/>
                  <a:gd name="connsiteX4" fmla="*/ 80329 w 87452"/>
                  <a:gd name="connsiteY4" fmla="*/ 33899 h 129696"/>
                  <a:gd name="connsiteX5" fmla="*/ 35701 w 87452"/>
                  <a:gd name="connsiteY5" fmla="*/ 117205 h 129696"/>
                  <a:gd name="connsiteX6" fmla="*/ 14876 w 87452"/>
                  <a:gd name="connsiteY6" fmla="*/ 129106 h 129696"/>
                  <a:gd name="connsiteX7" fmla="*/ 14876 w 87452"/>
                  <a:gd name="connsiteY7" fmla="*/ 129106 h 129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7452" h="129696">
                    <a:moveTo>
                      <a:pt x="14876" y="129106"/>
                    </a:moveTo>
                    <a:cubicBezTo>
                      <a:pt x="5949" y="126130"/>
                      <a:pt x="0" y="117205"/>
                      <a:pt x="0" y="105303"/>
                    </a:cubicBezTo>
                    <a:cubicBezTo>
                      <a:pt x="0" y="102329"/>
                      <a:pt x="17851" y="39849"/>
                      <a:pt x="56528" y="4147"/>
                    </a:cubicBezTo>
                    <a:cubicBezTo>
                      <a:pt x="65453" y="-1803"/>
                      <a:pt x="77355" y="-1803"/>
                      <a:pt x="83305" y="7122"/>
                    </a:cubicBezTo>
                    <a:cubicBezTo>
                      <a:pt x="89256" y="16047"/>
                      <a:pt x="89256" y="27949"/>
                      <a:pt x="80329" y="33899"/>
                    </a:cubicBezTo>
                    <a:cubicBezTo>
                      <a:pt x="50577" y="60675"/>
                      <a:pt x="35701" y="117205"/>
                      <a:pt x="35701" y="117205"/>
                    </a:cubicBezTo>
                    <a:cubicBezTo>
                      <a:pt x="35701" y="123155"/>
                      <a:pt x="26776" y="132081"/>
                      <a:pt x="14876" y="129106"/>
                    </a:cubicBezTo>
                    <a:cubicBezTo>
                      <a:pt x="14876" y="129106"/>
                      <a:pt x="14876" y="129106"/>
                      <a:pt x="14876" y="129106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CAB8C28E-B8DB-4D13-9BCA-223E5D8BD384}"/>
                </a:ext>
              </a:extLst>
            </p:cNvPr>
            <p:cNvSpPr/>
            <p:nvPr/>
          </p:nvSpPr>
          <p:spPr>
            <a:xfrm>
              <a:off x="17029767" y="8375125"/>
              <a:ext cx="77032" cy="111296"/>
            </a:xfrm>
            <a:custGeom>
              <a:avLst/>
              <a:gdLst>
                <a:gd name="connsiteX0" fmla="*/ 13223 w 77032"/>
                <a:gd name="connsiteY0" fmla="*/ 16325 h 111296"/>
                <a:gd name="connsiteX1" fmla="*/ 69752 w 77032"/>
                <a:gd name="connsiteY1" fmla="*/ 7399 h 111296"/>
                <a:gd name="connsiteX2" fmla="*/ 13223 w 77032"/>
                <a:gd name="connsiteY2" fmla="*/ 108556 h 111296"/>
                <a:gd name="connsiteX3" fmla="*/ 13223 w 77032"/>
                <a:gd name="connsiteY3" fmla="*/ 16325 h 111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032" h="111296">
                  <a:moveTo>
                    <a:pt x="13223" y="16325"/>
                  </a:moveTo>
                  <a:cubicBezTo>
                    <a:pt x="13223" y="16325"/>
                    <a:pt x="45951" y="-13427"/>
                    <a:pt x="69752" y="7399"/>
                  </a:cubicBezTo>
                  <a:cubicBezTo>
                    <a:pt x="93554" y="25250"/>
                    <a:pt x="54876" y="129383"/>
                    <a:pt x="13223" y="108556"/>
                  </a:cubicBezTo>
                  <a:cubicBezTo>
                    <a:pt x="-16529" y="90705"/>
                    <a:pt x="13223" y="16325"/>
                    <a:pt x="13223" y="16325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715B6D37-E3EB-41AA-B66B-0D9404B9C445}"/>
                </a:ext>
              </a:extLst>
            </p:cNvPr>
            <p:cNvSpPr/>
            <p:nvPr/>
          </p:nvSpPr>
          <p:spPr>
            <a:xfrm>
              <a:off x="17057351" y="9526011"/>
              <a:ext cx="173593" cy="169374"/>
            </a:xfrm>
            <a:custGeom>
              <a:avLst/>
              <a:gdLst>
                <a:gd name="connsiteX0" fmla="*/ 36218 w 173593"/>
                <a:gd name="connsiteY0" fmla="*/ 28745 h 169374"/>
                <a:gd name="connsiteX1" fmla="*/ 15391 w 173593"/>
                <a:gd name="connsiteY1" fmla="*/ 147754 h 169374"/>
                <a:gd name="connsiteX2" fmla="*/ 137375 w 173593"/>
                <a:gd name="connsiteY2" fmla="*/ 141803 h 169374"/>
                <a:gd name="connsiteX3" fmla="*/ 158202 w 173593"/>
                <a:gd name="connsiteY3" fmla="*/ 22795 h 169374"/>
                <a:gd name="connsiteX4" fmla="*/ 36218 w 173593"/>
                <a:gd name="connsiteY4" fmla="*/ 28745 h 169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593" h="169374">
                  <a:moveTo>
                    <a:pt x="36218" y="28745"/>
                  </a:moveTo>
                  <a:cubicBezTo>
                    <a:pt x="-2460" y="64448"/>
                    <a:pt x="-11385" y="118002"/>
                    <a:pt x="15391" y="147754"/>
                  </a:cubicBezTo>
                  <a:cubicBezTo>
                    <a:pt x="42168" y="177506"/>
                    <a:pt x="95722" y="177506"/>
                    <a:pt x="137375" y="141803"/>
                  </a:cubicBezTo>
                  <a:cubicBezTo>
                    <a:pt x="176052" y="106101"/>
                    <a:pt x="184979" y="52547"/>
                    <a:pt x="158202" y="22795"/>
                  </a:cubicBezTo>
                  <a:cubicBezTo>
                    <a:pt x="131424" y="-9932"/>
                    <a:pt x="77871" y="-6957"/>
                    <a:pt x="36218" y="28745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C8C4AC62-833A-4899-B216-87B52ED57D04}"/>
                </a:ext>
              </a:extLst>
            </p:cNvPr>
            <p:cNvSpPr/>
            <p:nvPr/>
          </p:nvSpPr>
          <p:spPr>
            <a:xfrm>
              <a:off x="16974561" y="9492276"/>
              <a:ext cx="151735" cy="107107"/>
            </a:xfrm>
            <a:custGeom>
              <a:avLst/>
              <a:gdLst>
                <a:gd name="connsiteX0" fmla="*/ 26777 w 151735"/>
                <a:gd name="connsiteY0" fmla="*/ 0 h 107107"/>
                <a:gd name="connsiteX1" fmla="*/ 151736 w 151735"/>
                <a:gd name="connsiteY1" fmla="*/ 65455 h 107107"/>
                <a:gd name="connsiteX2" fmla="*/ 119008 w 151735"/>
                <a:gd name="connsiteY2" fmla="*/ 107108 h 107107"/>
                <a:gd name="connsiteX3" fmla="*/ 0 w 151735"/>
                <a:gd name="connsiteY3" fmla="*/ 29752 h 107107"/>
                <a:gd name="connsiteX4" fmla="*/ 26777 w 151735"/>
                <a:gd name="connsiteY4" fmla="*/ 0 h 107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735" h="107107">
                  <a:moveTo>
                    <a:pt x="26777" y="0"/>
                  </a:moveTo>
                  <a:cubicBezTo>
                    <a:pt x="26777" y="0"/>
                    <a:pt x="62480" y="53554"/>
                    <a:pt x="151736" y="65455"/>
                  </a:cubicBezTo>
                  <a:lnTo>
                    <a:pt x="119008" y="107108"/>
                  </a:lnTo>
                  <a:cubicBezTo>
                    <a:pt x="119008" y="107108"/>
                    <a:pt x="20826" y="74380"/>
                    <a:pt x="0" y="29752"/>
                  </a:cubicBezTo>
                  <a:cubicBezTo>
                    <a:pt x="0" y="29752"/>
                    <a:pt x="11901" y="2975"/>
                    <a:pt x="26777" y="0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E239F04A-0432-408E-99E0-7E18BAB5678C}"/>
                </a:ext>
              </a:extLst>
            </p:cNvPr>
            <p:cNvSpPr/>
            <p:nvPr/>
          </p:nvSpPr>
          <p:spPr>
            <a:xfrm>
              <a:off x="16176690" y="9567664"/>
              <a:ext cx="173593" cy="169374"/>
            </a:xfrm>
            <a:custGeom>
              <a:avLst/>
              <a:gdLst>
                <a:gd name="connsiteX0" fmla="*/ 36218 w 173593"/>
                <a:gd name="connsiteY0" fmla="*/ 28745 h 169374"/>
                <a:gd name="connsiteX1" fmla="*/ 15391 w 173593"/>
                <a:gd name="connsiteY1" fmla="*/ 147753 h 169374"/>
                <a:gd name="connsiteX2" fmla="*/ 137375 w 173593"/>
                <a:gd name="connsiteY2" fmla="*/ 141803 h 169374"/>
                <a:gd name="connsiteX3" fmla="*/ 158202 w 173593"/>
                <a:gd name="connsiteY3" fmla="*/ 22795 h 169374"/>
                <a:gd name="connsiteX4" fmla="*/ 36218 w 173593"/>
                <a:gd name="connsiteY4" fmla="*/ 28745 h 169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593" h="169374">
                  <a:moveTo>
                    <a:pt x="36218" y="28745"/>
                  </a:moveTo>
                  <a:cubicBezTo>
                    <a:pt x="-2459" y="64448"/>
                    <a:pt x="-11386" y="118001"/>
                    <a:pt x="15391" y="147753"/>
                  </a:cubicBezTo>
                  <a:cubicBezTo>
                    <a:pt x="42169" y="177505"/>
                    <a:pt x="95722" y="177505"/>
                    <a:pt x="137375" y="141803"/>
                  </a:cubicBezTo>
                  <a:cubicBezTo>
                    <a:pt x="176053" y="106101"/>
                    <a:pt x="184978" y="52547"/>
                    <a:pt x="158202" y="22795"/>
                  </a:cubicBezTo>
                  <a:cubicBezTo>
                    <a:pt x="128450" y="-9932"/>
                    <a:pt x="74895" y="-6957"/>
                    <a:pt x="36218" y="28745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7FE90F21-2468-4B82-8259-66E4F798FE5F}"/>
                </a:ext>
              </a:extLst>
            </p:cNvPr>
            <p:cNvSpPr/>
            <p:nvPr/>
          </p:nvSpPr>
          <p:spPr>
            <a:xfrm>
              <a:off x="16147453" y="9521770"/>
              <a:ext cx="133884" cy="131166"/>
            </a:xfrm>
            <a:custGeom>
              <a:avLst/>
              <a:gdLst>
                <a:gd name="connsiteX0" fmla="*/ 38678 w 133884"/>
                <a:gd name="connsiteY0" fmla="*/ 258 h 131166"/>
                <a:gd name="connsiteX1" fmla="*/ 133884 w 133884"/>
                <a:gd name="connsiteY1" fmla="*/ 101415 h 131166"/>
                <a:gd name="connsiteX2" fmla="*/ 89256 w 133884"/>
                <a:gd name="connsiteY2" fmla="*/ 131167 h 131166"/>
                <a:gd name="connsiteX3" fmla="*/ 0 w 133884"/>
                <a:gd name="connsiteY3" fmla="*/ 18109 h 131166"/>
                <a:gd name="connsiteX4" fmla="*/ 38678 w 133884"/>
                <a:gd name="connsiteY4" fmla="*/ 258 h 131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884" h="131166">
                  <a:moveTo>
                    <a:pt x="38678" y="258"/>
                  </a:moveTo>
                  <a:cubicBezTo>
                    <a:pt x="38678" y="258"/>
                    <a:pt x="53554" y="59762"/>
                    <a:pt x="133884" y="101415"/>
                  </a:cubicBezTo>
                  <a:lnTo>
                    <a:pt x="89256" y="131167"/>
                  </a:lnTo>
                  <a:cubicBezTo>
                    <a:pt x="89256" y="131167"/>
                    <a:pt x="8926" y="68688"/>
                    <a:pt x="0" y="18109"/>
                  </a:cubicBezTo>
                  <a:cubicBezTo>
                    <a:pt x="0" y="21085"/>
                    <a:pt x="23802" y="-2717"/>
                    <a:pt x="38678" y="258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84" name="图形 1">
            <a:extLst>
              <a:ext uri="{FF2B5EF4-FFF2-40B4-BE49-F238E27FC236}">
                <a16:creationId xmlns:a16="http://schemas.microsoft.com/office/drawing/2014/main" id="{B3F80663-209C-428C-B453-BAC333071E40}"/>
              </a:ext>
            </a:extLst>
          </p:cNvPr>
          <p:cNvGrpSpPr/>
          <p:nvPr/>
        </p:nvGrpSpPr>
        <p:grpSpPr>
          <a:xfrm>
            <a:off x="3448759" y="1834598"/>
            <a:ext cx="3151859" cy="4660171"/>
            <a:chOff x="12327288" y="7851940"/>
            <a:chExt cx="3151859" cy="4660171"/>
          </a:xfrm>
        </p:grpSpPr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E286394D-E408-4CA8-9CC6-51FEB99C9C14}"/>
                </a:ext>
              </a:extLst>
            </p:cNvPr>
            <p:cNvSpPr/>
            <p:nvPr/>
          </p:nvSpPr>
          <p:spPr>
            <a:xfrm>
              <a:off x="13467280" y="8868211"/>
              <a:ext cx="529099" cy="1504903"/>
            </a:xfrm>
            <a:custGeom>
              <a:avLst/>
              <a:gdLst>
                <a:gd name="connsiteX0" fmla="*/ 5463 w 529099"/>
                <a:gd name="connsiteY0" fmla="*/ 442579 h 1504903"/>
                <a:gd name="connsiteX1" fmla="*/ 145298 w 529099"/>
                <a:gd name="connsiteY1" fmla="*/ 2248 h 1504903"/>
                <a:gd name="connsiteX2" fmla="*/ 317859 w 529099"/>
                <a:gd name="connsiteY2" fmla="*/ 502082 h 1504903"/>
                <a:gd name="connsiteX3" fmla="*/ 362487 w 529099"/>
                <a:gd name="connsiteY3" fmla="*/ 882909 h 1504903"/>
                <a:gd name="connsiteX4" fmla="*/ 529099 w 529099"/>
                <a:gd name="connsiteY4" fmla="*/ 1474975 h 1504903"/>
                <a:gd name="connsiteX5" fmla="*/ 389264 w 529099"/>
                <a:gd name="connsiteY5" fmla="*/ 1486876 h 1504903"/>
                <a:gd name="connsiteX6" fmla="*/ 163149 w 529099"/>
                <a:gd name="connsiteY6" fmla="*/ 1031670 h 1504903"/>
                <a:gd name="connsiteX7" fmla="*/ 5463 w 529099"/>
                <a:gd name="connsiteY7" fmla="*/ 442579 h 1504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9099" h="1504903">
                  <a:moveTo>
                    <a:pt x="5463" y="442579"/>
                  </a:moveTo>
                  <a:cubicBezTo>
                    <a:pt x="-24290" y="302744"/>
                    <a:pt x="73893" y="-30480"/>
                    <a:pt x="145298" y="2248"/>
                  </a:cubicBezTo>
                  <a:cubicBezTo>
                    <a:pt x="228603" y="40926"/>
                    <a:pt x="302983" y="293818"/>
                    <a:pt x="317859" y="502082"/>
                  </a:cubicBezTo>
                  <a:cubicBezTo>
                    <a:pt x="323810" y="600265"/>
                    <a:pt x="320835" y="790678"/>
                    <a:pt x="362487" y="882909"/>
                  </a:cubicBezTo>
                  <a:cubicBezTo>
                    <a:pt x="401166" y="963239"/>
                    <a:pt x="529099" y="1474975"/>
                    <a:pt x="529099" y="1474975"/>
                  </a:cubicBezTo>
                  <a:cubicBezTo>
                    <a:pt x="520174" y="1534479"/>
                    <a:pt x="389264" y="1486876"/>
                    <a:pt x="389264" y="1486876"/>
                  </a:cubicBezTo>
                  <a:cubicBezTo>
                    <a:pt x="389264" y="1486876"/>
                    <a:pt x="204802" y="1097124"/>
                    <a:pt x="163149" y="1031670"/>
                  </a:cubicBezTo>
                  <a:cubicBezTo>
                    <a:pt x="112570" y="936463"/>
                    <a:pt x="44141" y="618116"/>
                    <a:pt x="5463" y="442579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569A48BC-C851-4A88-A9B3-3DB9BF81EB62}"/>
                </a:ext>
              </a:extLst>
            </p:cNvPr>
            <p:cNvSpPr/>
            <p:nvPr/>
          </p:nvSpPr>
          <p:spPr>
            <a:xfrm>
              <a:off x="13407288" y="8756039"/>
              <a:ext cx="413553" cy="573547"/>
            </a:xfrm>
            <a:custGeom>
              <a:avLst/>
              <a:gdLst>
                <a:gd name="connsiteX0" fmla="*/ 0 w 413553"/>
                <a:gd name="connsiteY0" fmla="*/ 551774 h 573547"/>
                <a:gd name="connsiteX1" fmla="*/ 199338 w 413553"/>
                <a:gd name="connsiteY1" fmla="*/ 1361 h 573547"/>
                <a:gd name="connsiteX2" fmla="*/ 413554 w 413553"/>
                <a:gd name="connsiteY2" fmla="*/ 536898 h 573547"/>
                <a:gd name="connsiteX3" fmla="*/ 0 w 413553"/>
                <a:gd name="connsiteY3" fmla="*/ 551774 h 57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3553" h="573547">
                  <a:moveTo>
                    <a:pt x="0" y="551774"/>
                  </a:moveTo>
                  <a:cubicBezTo>
                    <a:pt x="0" y="551774"/>
                    <a:pt x="56529" y="28138"/>
                    <a:pt x="199338" y="1361"/>
                  </a:cubicBezTo>
                  <a:cubicBezTo>
                    <a:pt x="362975" y="-31366"/>
                    <a:pt x="413554" y="536898"/>
                    <a:pt x="413554" y="536898"/>
                  </a:cubicBezTo>
                  <a:cubicBezTo>
                    <a:pt x="413554" y="536898"/>
                    <a:pt x="202314" y="608304"/>
                    <a:pt x="0" y="551774"/>
                  </a:cubicBezTo>
                  <a:close/>
                </a:path>
              </a:pathLst>
            </a:custGeom>
            <a:solidFill>
              <a:srgbClr val="D1615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7" name="图形 1">
              <a:extLst>
                <a:ext uri="{FF2B5EF4-FFF2-40B4-BE49-F238E27FC236}">
                  <a16:creationId xmlns:a16="http://schemas.microsoft.com/office/drawing/2014/main" id="{0EBBCE53-4DA7-4666-B29C-56066AEE5D67}"/>
                </a:ext>
              </a:extLst>
            </p:cNvPr>
            <p:cNvGrpSpPr/>
            <p:nvPr/>
          </p:nvGrpSpPr>
          <p:grpSpPr>
            <a:xfrm>
              <a:off x="12346131" y="12172938"/>
              <a:ext cx="483966" cy="333223"/>
              <a:chOff x="12346131" y="12172938"/>
              <a:chExt cx="483966" cy="333223"/>
            </a:xfrm>
          </p:grpSpPr>
          <p:sp>
            <p:nvSpPr>
              <p:cNvPr id="164" name="任意多边形: 形状 163">
                <a:extLst>
                  <a:ext uri="{FF2B5EF4-FFF2-40B4-BE49-F238E27FC236}">
                    <a16:creationId xmlns:a16="http://schemas.microsoft.com/office/drawing/2014/main" id="{01471EFA-147D-433C-9773-E176211BD29B}"/>
                  </a:ext>
                </a:extLst>
              </p:cNvPr>
              <p:cNvSpPr/>
              <p:nvPr/>
            </p:nvSpPr>
            <p:spPr>
              <a:xfrm>
                <a:off x="12354064" y="12172938"/>
                <a:ext cx="208264" cy="217189"/>
              </a:xfrm>
              <a:custGeom>
                <a:avLst/>
                <a:gdLst>
                  <a:gd name="connsiteX0" fmla="*/ 0 w 208264"/>
                  <a:gd name="connsiteY0" fmla="*/ 178512 h 217189"/>
                  <a:gd name="connsiteX1" fmla="*/ 29752 w 208264"/>
                  <a:gd name="connsiteY1" fmla="*/ 0 h 217189"/>
                  <a:gd name="connsiteX2" fmla="*/ 208264 w 208264"/>
                  <a:gd name="connsiteY2" fmla="*/ 0 h 217189"/>
                  <a:gd name="connsiteX3" fmla="*/ 160662 w 208264"/>
                  <a:gd name="connsiteY3" fmla="*/ 190413 h 217189"/>
                  <a:gd name="connsiteX4" fmla="*/ 14876 w 208264"/>
                  <a:gd name="connsiteY4" fmla="*/ 217190 h 21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8264" h="217189">
                    <a:moveTo>
                      <a:pt x="0" y="178512"/>
                    </a:moveTo>
                    <a:lnTo>
                      <a:pt x="29752" y="0"/>
                    </a:lnTo>
                    <a:lnTo>
                      <a:pt x="208264" y="0"/>
                    </a:lnTo>
                    <a:lnTo>
                      <a:pt x="160662" y="190413"/>
                    </a:lnTo>
                    <a:lnTo>
                      <a:pt x="14876" y="217190"/>
                    </a:lnTo>
                    <a:close/>
                  </a:path>
                </a:pathLst>
              </a:custGeom>
              <a:solidFill>
                <a:srgbClr val="F49F84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613B9A15-4B38-44C3-945F-2DCB96F29010}"/>
                  </a:ext>
                </a:extLst>
              </p:cNvPr>
              <p:cNvSpPr/>
              <p:nvPr/>
            </p:nvSpPr>
            <p:spPr>
              <a:xfrm>
                <a:off x="12346131" y="12306822"/>
                <a:ext cx="483966" cy="154711"/>
              </a:xfrm>
              <a:custGeom>
                <a:avLst/>
                <a:gdLst>
                  <a:gd name="connsiteX0" fmla="*/ 7934 w 483966"/>
                  <a:gd name="connsiteY0" fmla="*/ 44628 h 154711"/>
                  <a:gd name="connsiteX1" fmla="*/ 189421 w 483966"/>
                  <a:gd name="connsiteY1" fmla="*/ 0 h 154711"/>
                  <a:gd name="connsiteX2" fmla="*/ 320330 w 483966"/>
                  <a:gd name="connsiteY2" fmla="*/ 77356 h 154711"/>
                  <a:gd name="connsiteX3" fmla="*/ 483967 w 483966"/>
                  <a:gd name="connsiteY3" fmla="*/ 154711 h 154711"/>
                  <a:gd name="connsiteX4" fmla="*/ 7934 w 483966"/>
                  <a:gd name="connsiteY4" fmla="*/ 154711 h 154711"/>
                  <a:gd name="connsiteX5" fmla="*/ 7934 w 483966"/>
                  <a:gd name="connsiteY5" fmla="*/ 44628 h 154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3966" h="154711">
                    <a:moveTo>
                      <a:pt x="7934" y="44628"/>
                    </a:moveTo>
                    <a:cubicBezTo>
                      <a:pt x="7934" y="44628"/>
                      <a:pt x="129917" y="62480"/>
                      <a:pt x="189421" y="0"/>
                    </a:cubicBezTo>
                    <a:cubicBezTo>
                      <a:pt x="189421" y="0"/>
                      <a:pt x="275702" y="68429"/>
                      <a:pt x="320330" y="77356"/>
                    </a:cubicBezTo>
                    <a:cubicBezTo>
                      <a:pt x="364958" y="86281"/>
                      <a:pt x="472066" y="83305"/>
                      <a:pt x="483967" y="154711"/>
                    </a:cubicBezTo>
                    <a:lnTo>
                      <a:pt x="7934" y="154711"/>
                    </a:lnTo>
                    <a:cubicBezTo>
                      <a:pt x="7934" y="154711"/>
                      <a:pt x="-9917" y="95207"/>
                      <a:pt x="7934" y="44628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69472D2F-A9B4-44A7-8F77-D8E04194D996}"/>
                  </a:ext>
                </a:extLst>
              </p:cNvPr>
              <p:cNvSpPr/>
              <p:nvPr/>
            </p:nvSpPr>
            <p:spPr>
              <a:xfrm>
                <a:off x="12354065" y="12461533"/>
                <a:ext cx="476033" cy="44628"/>
              </a:xfrm>
              <a:custGeom>
                <a:avLst/>
                <a:gdLst>
                  <a:gd name="connsiteX0" fmla="*/ 0 w 476033"/>
                  <a:gd name="connsiteY0" fmla="*/ 0 h 44628"/>
                  <a:gd name="connsiteX1" fmla="*/ 476033 w 476033"/>
                  <a:gd name="connsiteY1" fmla="*/ 0 h 44628"/>
                  <a:gd name="connsiteX2" fmla="*/ 476033 w 476033"/>
                  <a:gd name="connsiteY2" fmla="*/ 44628 h 44628"/>
                  <a:gd name="connsiteX3" fmla="*/ 0 w 476033"/>
                  <a:gd name="connsiteY3" fmla="*/ 44628 h 4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033" h="44628">
                    <a:moveTo>
                      <a:pt x="0" y="0"/>
                    </a:moveTo>
                    <a:lnTo>
                      <a:pt x="476033" y="0"/>
                    </a:lnTo>
                    <a:lnTo>
                      <a:pt x="476033" y="44628"/>
                    </a:lnTo>
                    <a:lnTo>
                      <a:pt x="0" y="44628"/>
                    </a:lnTo>
                    <a:close/>
                  </a:path>
                </a:pathLst>
              </a:custGeom>
              <a:solidFill>
                <a:srgbClr val="38333D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F7EC2A84-CDB0-40AE-BD3E-50C4251A4628}"/>
                  </a:ext>
                </a:extLst>
              </p:cNvPr>
              <p:cNvSpPr/>
              <p:nvPr/>
            </p:nvSpPr>
            <p:spPr>
              <a:xfrm>
                <a:off x="12348114" y="12298640"/>
                <a:ext cx="195619" cy="61734"/>
              </a:xfrm>
              <a:custGeom>
                <a:avLst/>
                <a:gdLst>
                  <a:gd name="connsiteX0" fmla="*/ 41653 w 195619"/>
                  <a:gd name="connsiteY0" fmla="*/ 61735 h 61734"/>
                  <a:gd name="connsiteX1" fmla="*/ 5950 w 195619"/>
                  <a:gd name="connsiteY1" fmla="*/ 58761 h 61734"/>
                  <a:gd name="connsiteX2" fmla="*/ 0 w 195619"/>
                  <a:gd name="connsiteY2" fmla="*/ 52810 h 61734"/>
                  <a:gd name="connsiteX3" fmla="*/ 5950 w 195619"/>
                  <a:gd name="connsiteY3" fmla="*/ 46859 h 61734"/>
                  <a:gd name="connsiteX4" fmla="*/ 184462 w 195619"/>
                  <a:gd name="connsiteY4" fmla="*/ 2231 h 61734"/>
                  <a:gd name="connsiteX5" fmla="*/ 193388 w 195619"/>
                  <a:gd name="connsiteY5" fmla="*/ 2231 h 61734"/>
                  <a:gd name="connsiteX6" fmla="*/ 193388 w 195619"/>
                  <a:gd name="connsiteY6" fmla="*/ 11157 h 61734"/>
                  <a:gd name="connsiteX7" fmla="*/ 41653 w 195619"/>
                  <a:gd name="connsiteY7" fmla="*/ 61735 h 61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619" h="61734">
                    <a:moveTo>
                      <a:pt x="41653" y="61735"/>
                    </a:moveTo>
                    <a:cubicBezTo>
                      <a:pt x="20826" y="61735"/>
                      <a:pt x="8925" y="58761"/>
                      <a:pt x="5950" y="58761"/>
                    </a:cubicBezTo>
                    <a:cubicBezTo>
                      <a:pt x="2975" y="58761"/>
                      <a:pt x="0" y="55785"/>
                      <a:pt x="0" y="52810"/>
                    </a:cubicBezTo>
                    <a:cubicBezTo>
                      <a:pt x="0" y="49834"/>
                      <a:pt x="2975" y="46859"/>
                      <a:pt x="5950" y="46859"/>
                    </a:cubicBezTo>
                    <a:cubicBezTo>
                      <a:pt x="5950" y="46859"/>
                      <a:pt x="116033" y="61735"/>
                      <a:pt x="184462" y="2231"/>
                    </a:cubicBezTo>
                    <a:cubicBezTo>
                      <a:pt x="187438" y="-744"/>
                      <a:pt x="190413" y="-744"/>
                      <a:pt x="193388" y="2231"/>
                    </a:cubicBezTo>
                    <a:cubicBezTo>
                      <a:pt x="196364" y="5206"/>
                      <a:pt x="196364" y="8182"/>
                      <a:pt x="193388" y="11157"/>
                    </a:cubicBezTo>
                    <a:cubicBezTo>
                      <a:pt x="145785" y="52810"/>
                      <a:pt x="80330" y="61735"/>
                      <a:pt x="41653" y="6173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8" name="任意多边形: 形状 167">
                <a:extLst>
                  <a:ext uri="{FF2B5EF4-FFF2-40B4-BE49-F238E27FC236}">
                    <a16:creationId xmlns:a16="http://schemas.microsoft.com/office/drawing/2014/main" id="{03B1DE64-4C13-4FDA-92EB-7276828659CE}"/>
                  </a:ext>
                </a:extLst>
              </p:cNvPr>
              <p:cNvSpPr/>
              <p:nvPr/>
            </p:nvSpPr>
            <p:spPr>
              <a:xfrm>
                <a:off x="12542247" y="12322442"/>
                <a:ext cx="40165" cy="40908"/>
              </a:xfrm>
              <a:custGeom>
                <a:avLst/>
                <a:gdLst>
                  <a:gd name="connsiteX0" fmla="*/ 5206 w 40165"/>
                  <a:gd name="connsiteY0" fmla="*/ 40909 h 40908"/>
                  <a:gd name="connsiteX1" fmla="*/ 2232 w 40165"/>
                  <a:gd name="connsiteY1" fmla="*/ 37933 h 40908"/>
                  <a:gd name="connsiteX2" fmla="*/ 2232 w 40165"/>
                  <a:gd name="connsiteY2" fmla="*/ 29008 h 40908"/>
                  <a:gd name="connsiteX3" fmla="*/ 29008 w 40165"/>
                  <a:gd name="connsiteY3" fmla="*/ 2232 h 40908"/>
                  <a:gd name="connsiteX4" fmla="*/ 37933 w 40165"/>
                  <a:gd name="connsiteY4" fmla="*/ 2232 h 40908"/>
                  <a:gd name="connsiteX5" fmla="*/ 37933 w 40165"/>
                  <a:gd name="connsiteY5" fmla="*/ 11157 h 40908"/>
                  <a:gd name="connsiteX6" fmla="*/ 11157 w 40165"/>
                  <a:gd name="connsiteY6" fmla="*/ 37933 h 40908"/>
                  <a:gd name="connsiteX7" fmla="*/ 5206 w 40165"/>
                  <a:gd name="connsiteY7" fmla="*/ 40909 h 40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165" h="40908">
                    <a:moveTo>
                      <a:pt x="5206" y="40909"/>
                    </a:moveTo>
                    <a:cubicBezTo>
                      <a:pt x="5206" y="40909"/>
                      <a:pt x="2232" y="40909"/>
                      <a:pt x="2232" y="37933"/>
                    </a:cubicBezTo>
                    <a:cubicBezTo>
                      <a:pt x="-744" y="34959"/>
                      <a:pt x="-744" y="31984"/>
                      <a:pt x="2232" y="29008"/>
                    </a:cubicBezTo>
                    <a:lnTo>
                      <a:pt x="29008" y="2232"/>
                    </a:lnTo>
                    <a:cubicBezTo>
                      <a:pt x="31984" y="-744"/>
                      <a:pt x="34958" y="-744"/>
                      <a:pt x="37933" y="2232"/>
                    </a:cubicBezTo>
                    <a:cubicBezTo>
                      <a:pt x="40909" y="5207"/>
                      <a:pt x="40909" y="8181"/>
                      <a:pt x="37933" y="11157"/>
                    </a:cubicBezTo>
                    <a:lnTo>
                      <a:pt x="11157" y="37933"/>
                    </a:lnTo>
                    <a:cubicBezTo>
                      <a:pt x="8181" y="40909"/>
                      <a:pt x="5206" y="40909"/>
                      <a:pt x="5206" y="4090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9" name="任意多边形: 形状 168">
                <a:extLst>
                  <a:ext uri="{FF2B5EF4-FFF2-40B4-BE49-F238E27FC236}">
                    <a16:creationId xmlns:a16="http://schemas.microsoft.com/office/drawing/2014/main" id="{0D9EA47E-3934-43D0-A6C4-8DA8A0FE9E89}"/>
                  </a:ext>
                </a:extLst>
              </p:cNvPr>
              <p:cNvSpPr/>
              <p:nvPr/>
            </p:nvSpPr>
            <p:spPr>
              <a:xfrm>
                <a:off x="12577949" y="12349219"/>
                <a:ext cx="37190" cy="40908"/>
              </a:xfrm>
              <a:custGeom>
                <a:avLst/>
                <a:gdLst>
                  <a:gd name="connsiteX0" fmla="*/ 5207 w 37190"/>
                  <a:gd name="connsiteY0" fmla="*/ 40909 h 40908"/>
                  <a:gd name="connsiteX1" fmla="*/ 2232 w 37190"/>
                  <a:gd name="connsiteY1" fmla="*/ 37934 h 40908"/>
                  <a:gd name="connsiteX2" fmla="*/ 2232 w 37190"/>
                  <a:gd name="connsiteY2" fmla="*/ 29008 h 40908"/>
                  <a:gd name="connsiteX3" fmla="*/ 26034 w 37190"/>
                  <a:gd name="connsiteY3" fmla="*/ 2232 h 40908"/>
                  <a:gd name="connsiteX4" fmla="*/ 34959 w 37190"/>
                  <a:gd name="connsiteY4" fmla="*/ 2232 h 40908"/>
                  <a:gd name="connsiteX5" fmla="*/ 34959 w 37190"/>
                  <a:gd name="connsiteY5" fmla="*/ 11157 h 40908"/>
                  <a:gd name="connsiteX6" fmla="*/ 11158 w 37190"/>
                  <a:gd name="connsiteY6" fmla="*/ 37934 h 40908"/>
                  <a:gd name="connsiteX7" fmla="*/ 5207 w 37190"/>
                  <a:gd name="connsiteY7" fmla="*/ 40909 h 40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190" h="40908">
                    <a:moveTo>
                      <a:pt x="5207" y="40909"/>
                    </a:moveTo>
                    <a:cubicBezTo>
                      <a:pt x="5207" y="40909"/>
                      <a:pt x="2232" y="40909"/>
                      <a:pt x="2232" y="37934"/>
                    </a:cubicBezTo>
                    <a:cubicBezTo>
                      <a:pt x="-744" y="34959"/>
                      <a:pt x="-744" y="31984"/>
                      <a:pt x="2232" y="29008"/>
                    </a:cubicBezTo>
                    <a:lnTo>
                      <a:pt x="26034" y="2232"/>
                    </a:lnTo>
                    <a:cubicBezTo>
                      <a:pt x="29008" y="-744"/>
                      <a:pt x="31984" y="-744"/>
                      <a:pt x="34959" y="2232"/>
                    </a:cubicBezTo>
                    <a:cubicBezTo>
                      <a:pt x="37934" y="5207"/>
                      <a:pt x="37934" y="8182"/>
                      <a:pt x="34959" y="11157"/>
                    </a:cubicBezTo>
                    <a:lnTo>
                      <a:pt x="11158" y="37934"/>
                    </a:lnTo>
                    <a:cubicBezTo>
                      <a:pt x="8182" y="40909"/>
                      <a:pt x="8182" y="40909"/>
                      <a:pt x="5207" y="4090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8" name="图形 1">
              <a:extLst>
                <a:ext uri="{FF2B5EF4-FFF2-40B4-BE49-F238E27FC236}">
                  <a16:creationId xmlns:a16="http://schemas.microsoft.com/office/drawing/2014/main" id="{E63C29A5-EB43-4608-A95C-846796269F96}"/>
                </a:ext>
              </a:extLst>
            </p:cNvPr>
            <p:cNvGrpSpPr/>
            <p:nvPr/>
          </p:nvGrpSpPr>
          <p:grpSpPr>
            <a:xfrm>
              <a:off x="13080015" y="12172938"/>
              <a:ext cx="484958" cy="333223"/>
              <a:chOff x="13080015" y="12172938"/>
              <a:chExt cx="484958" cy="333223"/>
            </a:xfrm>
          </p:grpSpPr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14F98641-1C72-4D3F-B55C-9CBAD5521FF4}"/>
                  </a:ext>
                </a:extLst>
              </p:cNvPr>
              <p:cNvSpPr/>
              <p:nvPr/>
            </p:nvSpPr>
            <p:spPr>
              <a:xfrm>
                <a:off x="13088941" y="12172938"/>
                <a:ext cx="205289" cy="217189"/>
              </a:xfrm>
              <a:custGeom>
                <a:avLst/>
                <a:gdLst>
                  <a:gd name="connsiteX0" fmla="*/ 0 w 205289"/>
                  <a:gd name="connsiteY0" fmla="*/ 178512 h 217189"/>
                  <a:gd name="connsiteX1" fmla="*/ 26777 w 205289"/>
                  <a:gd name="connsiteY1" fmla="*/ 0 h 217189"/>
                  <a:gd name="connsiteX2" fmla="*/ 205289 w 205289"/>
                  <a:gd name="connsiteY2" fmla="*/ 0 h 217189"/>
                  <a:gd name="connsiteX3" fmla="*/ 157686 w 205289"/>
                  <a:gd name="connsiteY3" fmla="*/ 190413 h 217189"/>
                  <a:gd name="connsiteX4" fmla="*/ 11901 w 205289"/>
                  <a:gd name="connsiteY4" fmla="*/ 217190 h 21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289" h="217189">
                    <a:moveTo>
                      <a:pt x="0" y="178512"/>
                    </a:moveTo>
                    <a:lnTo>
                      <a:pt x="26777" y="0"/>
                    </a:lnTo>
                    <a:lnTo>
                      <a:pt x="205289" y="0"/>
                    </a:lnTo>
                    <a:lnTo>
                      <a:pt x="157686" y="190413"/>
                    </a:lnTo>
                    <a:lnTo>
                      <a:pt x="11901" y="217190"/>
                    </a:lnTo>
                    <a:close/>
                  </a:path>
                </a:pathLst>
              </a:custGeom>
              <a:solidFill>
                <a:srgbClr val="F49F84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34DDB4A7-8732-48B9-963D-6E9E7E121089}"/>
                  </a:ext>
                </a:extLst>
              </p:cNvPr>
              <p:cNvSpPr/>
              <p:nvPr/>
            </p:nvSpPr>
            <p:spPr>
              <a:xfrm>
                <a:off x="13081007" y="12306822"/>
                <a:ext cx="483967" cy="154711"/>
              </a:xfrm>
              <a:custGeom>
                <a:avLst/>
                <a:gdLst>
                  <a:gd name="connsiteX0" fmla="*/ 7934 w 483967"/>
                  <a:gd name="connsiteY0" fmla="*/ 44628 h 154711"/>
                  <a:gd name="connsiteX1" fmla="*/ 189422 w 483967"/>
                  <a:gd name="connsiteY1" fmla="*/ 0 h 154711"/>
                  <a:gd name="connsiteX2" fmla="*/ 320331 w 483967"/>
                  <a:gd name="connsiteY2" fmla="*/ 77356 h 154711"/>
                  <a:gd name="connsiteX3" fmla="*/ 483967 w 483967"/>
                  <a:gd name="connsiteY3" fmla="*/ 154711 h 154711"/>
                  <a:gd name="connsiteX4" fmla="*/ 7934 w 483967"/>
                  <a:gd name="connsiteY4" fmla="*/ 154711 h 154711"/>
                  <a:gd name="connsiteX5" fmla="*/ 7934 w 483967"/>
                  <a:gd name="connsiteY5" fmla="*/ 44628 h 154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3967" h="154711">
                    <a:moveTo>
                      <a:pt x="7934" y="44628"/>
                    </a:moveTo>
                    <a:cubicBezTo>
                      <a:pt x="7934" y="44628"/>
                      <a:pt x="129918" y="62480"/>
                      <a:pt x="189422" y="0"/>
                    </a:cubicBezTo>
                    <a:cubicBezTo>
                      <a:pt x="189422" y="0"/>
                      <a:pt x="275703" y="68429"/>
                      <a:pt x="320331" y="77356"/>
                    </a:cubicBezTo>
                    <a:cubicBezTo>
                      <a:pt x="364959" y="86281"/>
                      <a:pt x="472066" y="83305"/>
                      <a:pt x="483967" y="154711"/>
                    </a:cubicBezTo>
                    <a:lnTo>
                      <a:pt x="7934" y="154711"/>
                    </a:lnTo>
                    <a:cubicBezTo>
                      <a:pt x="7934" y="154711"/>
                      <a:pt x="-9917" y="95207"/>
                      <a:pt x="7934" y="44628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682D5A88-C398-48C0-AD07-4E2F5B51337C}"/>
                  </a:ext>
                </a:extLst>
              </p:cNvPr>
              <p:cNvSpPr/>
              <p:nvPr/>
            </p:nvSpPr>
            <p:spPr>
              <a:xfrm>
                <a:off x="13088941" y="12461533"/>
                <a:ext cx="476033" cy="44628"/>
              </a:xfrm>
              <a:custGeom>
                <a:avLst/>
                <a:gdLst>
                  <a:gd name="connsiteX0" fmla="*/ 0 w 476033"/>
                  <a:gd name="connsiteY0" fmla="*/ 0 h 44628"/>
                  <a:gd name="connsiteX1" fmla="*/ 476033 w 476033"/>
                  <a:gd name="connsiteY1" fmla="*/ 0 h 44628"/>
                  <a:gd name="connsiteX2" fmla="*/ 476033 w 476033"/>
                  <a:gd name="connsiteY2" fmla="*/ 44628 h 44628"/>
                  <a:gd name="connsiteX3" fmla="*/ 0 w 476033"/>
                  <a:gd name="connsiteY3" fmla="*/ 44628 h 4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033" h="44628">
                    <a:moveTo>
                      <a:pt x="0" y="0"/>
                    </a:moveTo>
                    <a:lnTo>
                      <a:pt x="476033" y="0"/>
                    </a:lnTo>
                    <a:lnTo>
                      <a:pt x="476033" y="44628"/>
                    </a:lnTo>
                    <a:lnTo>
                      <a:pt x="0" y="44628"/>
                    </a:lnTo>
                    <a:close/>
                  </a:path>
                </a:pathLst>
              </a:custGeom>
              <a:solidFill>
                <a:srgbClr val="38333D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6691AA98-4E22-4537-A77C-EE1F3CCEB5A1}"/>
                  </a:ext>
                </a:extLst>
              </p:cNvPr>
              <p:cNvSpPr/>
              <p:nvPr/>
            </p:nvSpPr>
            <p:spPr>
              <a:xfrm>
                <a:off x="13080015" y="12298640"/>
                <a:ext cx="195619" cy="61734"/>
              </a:xfrm>
              <a:custGeom>
                <a:avLst/>
                <a:gdLst>
                  <a:gd name="connsiteX0" fmla="*/ 41653 w 195619"/>
                  <a:gd name="connsiteY0" fmla="*/ 61735 h 61734"/>
                  <a:gd name="connsiteX1" fmla="*/ 5950 w 195619"/>
                  <a:gd name="connsiteY1" fmla="*/ 58761 h 61734"/>
                  <a:gd name="connsiteX2" fmla="*/ 0 w 195619"/>
                  <a:gd name="connsiteY2" fmla="*/ 52810 h 61734"/>
                  <a:gd name="connsiteX3" fmla="*/ 5950 w 195619"/>
                  <a:gd name="connsiteY3" fmla="*/ 46859 h 61734"/>
                  <a:gd name="connsiteX4" fmla="*/ 184462 w 195619"/>
                  <a:gd name="connsiteY4" fmla="*/ 2231 h 61734"/>
                  <a:gd name="connsiteX5" fmla="*/ 193388 w 195619"/>
                  <a:gd name="connsiteY5" fmla="*/ 2231 h 61734"/>
                  <a:gd name="connsiteX6" fmla="*/ 193388 w 195619"/>
                  <a:gd name="connsiteY6" fmla="*/ 11157 h 61734"/>
                  <a:gd name="connsiteX7" fmla="*/ 41653 w 195619"/>
                  <a:gd name="connsiteY7" fmla="*/ 61735 h 61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619" h="61734">
                    <a:moveTo>
                      <a:pt x="41653" y="61735"/>
                    </a:moveTo>
                    <a:cubicBezTo>
                      <a:pt x="20826" y="61735"/>
                      <a:pt x="8925" y="58761"/>
                      <a:pt x="5950" y="58761"/>
                    </a:cubicBezTo>
                    <a:cubicBezTo>
                      <a:pt x="2974" y="58761"/>
                      <a:pt x="0" y="55785"/>
                      <a:pt x="0" y="52810"/>
                    </a:cubicBezTo>
                    <a:cubicBezTo>
                      <a:pt x="0" y="49834"/>
                      <a:pt x="2974" y="46859"/>
                      <a:pt x="5950" y="46859"/>
                    </a:cubicBezTo>
                    <a:cubicBezTo>
                      <a:pt x="5950" y="46859"/>
                      <a:pt x="116033" y="61735"/>
                      <a:pt x="184462" y="2231"/>
                    </a:cubicBezTo>
                    <a:cubicBezTo>
                      <a:pt x="187438" y="-744"/>
                      <a:pt x="190413" y="-744"/>
                      <a:pt x="193388" y="2231"/>
                    </a:cubicBezTo>
                    <a:cubicBezTo>
                      <a:pt x="196363" y="5206"/>
                      <a:pt x="196363" y="8182"/>
                      <a:pt x="193388" y="11157"/>
                    </a:cubicBezTo>
                    <a:cubicBezTo>
                      <a:pt x="145785" y="52810"/>
                      <a:pt x="83305" y="61735"/>
                      <a:pt x="41653" y="61735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3946DE60-BB3A-45D3-BFB7-574D48BC2456}"/>
                  </a:ext>
                </a:extLst>
              </p:cNvPr>
              <p:cNvSpPr/>
              <p:nvPr/>
            </p:nvSpPr>
            <p:spPr>
              <a:xfrm>
                <a:off x="13274148" y="12322442"/>
                <a:ext cx="40165" cy="40908"/>
              </a:xfrm>
              <a:custGeom>
                <a:avLst/>
                <a:gdLst>
                  <a:gd name="connsiteX0" fmla="*/ 5206 w 40165"/>
                  <a:gd name="connsiteY0" fmla="*/ 40909 h 40908"/>
                  <a:gd name="connsiteX1" fmla="*/ 2231 w 40165"/>
                  <a:gd name="connsiteY1" fmla="*/ 37933 h 40908"/>
                  <a:gd name="connsiteX2" fmla="*/ 2231 w 40165"/>
                  <a:gd name="connsiteY2" fmla="*/ 29008 h 40908"/>
                  <a:gd name="connsiteX3" fmla="*/ 29008 w 40165"/>
                  <a:gd name="connsiteY3" fmla="*/ 2232 h 40908"/>
                  <a:gd name="connsiteX4" fmla="*/ 37934 w 40165"/>
                  <a:gd name="connsiteY4" fmla="*/ 2232 h 40908"/>
                  <a:gd name="connsiteX5" fmla="*/ 37934 w 40165"/>
                  <a:gd name="connsiteY5" fmla="*/ 11157 h 40908"/>
                  <a:gd name="connsiteX6" fmla="*/ 11157 w 40165"/>
                  <a:gd name="connsiteY6" fmla="*/ 37933 h 40908"/>
                  <a:gd name="connsiteX7" fmla="*/ 5206 w 40165"/>
                  <a:gd name="connsiteY7" fmla="*/ 40909 h 40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165" h="40908">
                    <a:moveTo>
                      <a:pt x="5206" y="40909"/>
                    </a:moveTo>
                    <a:cubicBezTo>
                      <a:pt x="5206" y="40909"/>
                      <a:pt x="2231" y="40909"/>
                      <a:pt x="2231" y="37933"/>
                    </a:cubicBezTo>
                    <a:cubicBezTo>
                      <a:pt x="-744" y="34959"/>
                      <a:pt x="-744" y="31984"/>
                      <a:pt x="2231" y="29008"/>
                    </a:cubicBezTo>
                    <a:lnTo>
                      <a:pt x="29008" y="2232"/>
                    </a:lnTo>
                    <a:cubicBezTo>
                      <a:pt x="31983" y="-744"/>
                      <a:pt x="34958" y="-744"/>
                      <a:pt x="37934" y="2232"/>
                    </a:cubicBezTo>
                    <a:cubicBezTo>
                      <a:pt x="40909" y="5207"/>
                      <a:pt x="40909" y="8181"/>
                      <a:pt x="37934" y="11157"/>
                    </a:cubicBezTo>
                    <a:lnTo>
                      <a:pt x="11157" y="37933"/>
                    </a:lnTo>
                    <a:cubicBezTo>
                      <a:pt x="8182" y="40909"/>
                      <a:pt x="5206" y="40909"/>
                      <a:pt x="5206" y="4090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F6C4F29F-2F25-4BD8-8856-3BFA6A2B4818}"/>
                  </a:ext>
                </a:extLst>
              </p:cNvPr>
              <p:cNvSpPr/>
              <p:nvPr/>
            </p:nvSpPr>
            <p:spPr>
              <a:xfrm>
                <a:off x="13309850" y="12349219"/>
                <a:ext cx="37190" cy="40908"/>
              </a:xfrm>
              <a:custGeom>
                <a:avLst/>
                <a:gdLst>
                  <a:gd name="connsiteX0" fmla="*/ 5207 w 37190"/>
                  <a:gd name="connsiteY0" fmla="*/ 40909 h 40908"/>
                  <a:gd name="connsiteX1" fmla="*/ 2232 w 37190"/>
                  <a:gd name="connsiteY1" fmla="*/ 37934 h 40908"/>
                  <a:gd name="connsiteX2" fmla="*/ 2232 w 37190"/>
                  <a:gd name="connsiteY2" fmla="*/ 29008 h 40908"/>
                  <a:gd name="connsiteX3" fmla="*/ 26033 w 37190"/>
                  <a:gd name="connsiteY3" fmla="*/ 2232 h 40908"/>
                  <a:gd name="connsiteX4" fmla="*/ 34959 w 37190"/>
                  <a:gd name="connsiteY4" fmla="*/ 2232 h 40908"/>
                  <a:gd name="connsiteX5" fmla="*/ 34959 w 37190"/>
                  <a:gd name="connsiteY5" fmla="*/ 11157 h 40908"/>
                  <a:gd name="connsiteX6" fmla="*/ 11157 w 37190"/>
                  <a:gd name="connsiteY6" fmla="*/ 37934 h 40908"/>
                  <a:gd name="connsiteX7" fmla="*/ 5207 w 37190"/>
                  <a:gd name="connsiteY7" fmla="*/ 40909 h 40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190" h="40908">
                    <a:moveTo>
                      <a:pt x="5207" y="40909"/>
                    </a:moveTo>
                    <a:cubicBezTo>
                      <a:pt x="5207" y="40909"/>
                      <a:pt x="2232" y="40909"/>
                      <a:pt x="2232" y="37934"/>
                    </a:cubicBezTo>
                    <a:cubicBezTo>
                      <a:pt x="-744" y="34959"/>
                      <a:pt x="-744" y="31984"/>
                      <a:pt x="2232" y="29008"/>
                    </a:cubicBezTo>
                    <a:lnTo>
                      <a:pt x="26033" y="2232"/>
                    </a:lnTo>
                    <a:cubicBezTo>
                      <a:pt x="29008" y="-744"/>
                      <a:pt x="31984" y="-744"/>
                      <a:pt x="34959" y="2232"/>
                    </a:cubicBezTo>
                    <a:cubicBezTo>
                      <a:pt x="37934" y="5207"/>
                      <a:pt x="37934" y="8182"/>
                      <a:pt x="34959" y="11157"/>
                    </a:cubicBezTo>
                    <a:lnTo>
                      <a:pt x="11157" y="37934"/>
                    </a:lnTo>
                    <a:cubicBezTo>
                      <a:pt x="8182" y="40909"/>
                      <a:pt x="8182" y="40909"/>
                      <a:pt x="5207" y="4090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75B4411A-C576-4611-A8C0-4A6891363E3F}"/>
                </a:ext>
              </a:extLst>
            </p:cNvPr>
            <p:cNvSpPr/>
            <p:nvPr/>
          </p:nvSpPr>
          <p:spPr>
            <a:xfrm>
              <a:off x="12327288" y="9935582"/>
              <a:ext cx="1166272" cy="2320661"/>
            </a:xfrm>
            <a:custGeom>
              <a:avLst/>
              <a:gdLst>
                <a:gd name="connsiteX0" fmla="*/ 1059174 w 1166272"/>
                <a:gd name="connsiteY0" fmla="*/ 95207 h 2320661"/>
                <a:gd name="connsiteX1" fmla="*/ 1160331 w 1166272"/>
                <a:gd name="connsiteY1" fmla="*/ 1457851 h 2320661"/>
                <a:gd name="connsiteX2" fmla="*/ 1011570 w 1166272"/>
                <a:gd name="connsiteY2" fmla="*/ 2314711 h 2320661"/>
                <a:gd name="connsiteX3" fmla="*/ 722976 w 1166272"/>
                <a:gd name="connsiteY3" fmla="*/ 2314711 h 2320661"/>
                <a:gd name="connsiteX4" fmla="*/ 767604 w 1166272"/>
                <a:gd name="connsiteY4" fmla="*/ 1481653 h 2320661"/>
                <a:gd name="connsiteX5" fmla="*/ 577190 w 1166272"/>
                <a:gd name="connsiteY5" fmla="*/ 565289 h 2320661"/>
                <a:gd name="connsiteX6" fmla="*/ 496860 w 1166272"/>
                <a:gd name="connsiteY6" fmla="*/ 1508430 h 2320661"/>
                <a:gd name="connsiteX7" fmla="*/ 285620 w 1166272"/>
                <a:gd name="connsiteY7" fmla="*/ 2296860 h 2320661"/>
                <a:gd name="connsiteX8" fmla="*/ 0 w 1166272"/>
                <a:gd name="connsiteY8" fmla="*/ 2320661 h 2320661"/>
                <a:gd name="connsiteX9" fmla="*/ 107108 w 1166272"/>
                <a:gd name="connsiteY9" fmla="*/ 1487603 h 2320661"/>
                <a:gd name="connsiteX10" fmla="*/ 74380 w 1166272"/>
                <a:gd name="connsiteY10" fmla="*/ 0 h 2320661"/>
                <a:gd name="connsiteX11" fmla="*/ 1059174 w 1166272"/>
                <a:gd name="connsiteY11" fmla="*/ 95207 h 2320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6272" h="2320661">
                  <a:moveTo>
                    <a:pt x="1059174" y="95207"/>
                  </a:moveTo>
                  <a:cubicBezTo>
                    <a:pt x="1059174" y="95207"/>
                    <a:pt x="1196033" y="1154381"/>
                    <a:pt x="1160331" y="1457851"/>
                  </a:cubicBezTo>
                  <a:cubicBezTo>
                    <a:pt x="1130579" y="1722645"/>
                    <a:pt x="1011570" y="2314711"/>
                    <a:pt x="1011570" y="2314711"/>
                  </a:cubicBezTo>
                  <a:lnTo>
                    <a:pt x="722976" y="2314711"/>
                  </a:lnTo>
                  <a:cubicBezTo>
                    <a:pt x="722976" y="2314711"/>
                    <a:pt x="773554" y="1576860"/>
                    <a:pt x="767604" y="1481653"/>
                  </a:cubicBezTo>
                  <a:cubicBezTo>
                    <a:pt x="761653" y="1344794"/>
                    <a:pt x="589091" y="595041"/>
                    <a:pt x="577190" y="565289"/>
                  </a:cubicBezTo>
                  <a:cubicBezTo>
                    <a:pt x="562314" y="535537"/>
                    <a:pt x="496860" y="1508430"/>
                    <a:pt x="496860" y="1508430"/>
                  </a:cubicBezTo>
                  <a:lnTo>
                    <a:pt x="285620" y="2296860"/>
                  </a:lnTo>
                  <a:lnTo>
                    <a:pt x="0" y="2320661"/>
                  </a:lnTo>
                  <a:cubicBezTo>
                    <a:pt x="0" y="2320661"/>
                    <a:pt x="110083" y="1585786"/>
                    <a:pt x="107108" y="1487603"/>
                  </a:cubicBezTo>
                  <a:cubicBezTo>
                    <a:pt x="98182" y="1338843"/>
                    <a:pt x="0" y="116034"/>
                    <a:pt x="74380" y="0"/>
                  </a:cubicBezTo>
                  <a:cubicBezTo>
                    <a:pt x="749752" y="35703"/>
                    <a:pt x="1059174" y="95207"/>
                    <a:pt x="1059174" y="95207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AFDC4AB2-0F41-439C-A5BA-10A019565295}"/>
                </a:ext>
              </a:extLst>
            </p:cNvPr>
            <p:cNvSpPr/>
            <p:nvPr/>
          </p:nvSpPr>
          <p:spPr>
            <a:xfrm>
              <a:off x="12895552" y="10149797"/>
              <a:ext cx="68429" cy="357024"/>
            </a:xfrm>
            <a:custGeom>
              <a:avLst/>
              <a:gdLst>
                <a:gd name="connsiteX0" fmla="*/ 5951 w 68429"/>
                <a:gd name="connsiteY0" fmla="*/ 357025 h 357024"/>
                <a:gd name="connsiteX1" fmla="*/ 5951 w 68429"/>
                <a:gd name="connsiteY1" fmla="*/ 357025 h 357024"/>
                <a:gd name="connsiteX2" fmla="*/ 0 w 68429"/>
                <a:gd name="connsiteY2" fmla="*/ 348100 h 357024"/>
                <a:gd name="connsiteX3" fmla="*/ 56529 w 68429"/>
                <a:gd name="connsiteY3" fmla="*/ 5951 h 357024"/>
                <a:gd name="connsiteX4" fmla="*/ 62480 w 68429"/>
                <a:gd name="connsiteY4" fmla="*/ 0 h 357024"/>
                <a:gd name="connsiteX5" fmla="*/ 68429 w 68429"/>
                <a:gd name="connsiteY5" fmla="*/ 5951 h 357024"/>
                <a:gd name="connsiteX6" fmla="*/ 11901 w 68429"/>
                <a:gd name="connsiteY6" fmla="*/ 351074 h 357024"/>
                <a:gd name="connsiteX7" fmla="*/ 5951 w 68429"/>
                <a:gd name="connsiteY7" fmla="*/ 357025 h 35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429" h="357024">
                  <a:moveTo>
                    <a:pt x="5951" y="357025"/>
                  </a:moveTo>
                  <a:cubicBezTo>
                    <a:pt x="5951" y="357025"/>
                    <a:pt x="2975" y="357025"/>
                    <a:pt x="5951" y="357025"/>
                  </a:cubicBezTo>
                  <a:cubicBezTo>
                    <a:pt x="0" y="354049"/>
                    <a:pt x="0" y="351074"/>
                    <a:pt x="0" y="348100"/>
                  </a:cubicBezTo>
                  <a:cubicBezTo>
                    <a:pt x="47603" y="238017"/>
                    <a:pt x="56529" y="8925"/>
                    <a:pt x="56529" y="5951"/>
                  </a:cubicBezTo>
                  <a:cubicBezTo>
                    <a:pt x="56529" y="2975"/>
                    <a:pt x="59504" y="0"/>
                    <a:pt x="62480" y="0"/>
                  </a:cubicBezTo>
                  <a:cubicBezTo>
                    <a:pt x="65455" y="0"/>
                    <a:pt x="68429" y="2975"/>
                    <a:pt x="68429" y="5951"/>
                  </a:cubicBezTo>
                  <a:cubicBezTo>
                    <a:pt x="68429" y="14876"/>
                    <a:pt x="59504" y="238017"/>
                    <a:pt x="11901" y="351074"/>
                  </a:cubicBezTo>
                  <a:cubicBezTo>
                    <a:pt x="8925" y="357025"/>
                    <a:pt x="8925" y="357025"/>
                    <a:pt x="5951" y="357025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E11BCBEB-5311-44BF-BEAB-B11CC3F62F6B}"/>
                </a:ext>
              </a:extLst>
            </p:cNvPr>
            <p:cNvSpPr/>
            <p:nvPr/>
          </p:nvSpPr>
          <p:spPr>
            <a:xfrm>
              <a:off x="12921097" y="10084342"/>
              <a:ext cx="152968" cy="348099"/>
            </a:xfrm>
            <a:custGeom>
              <a:avLst/>
              <a:gdLst>
                <a:gd name="connsiteX0" fmla="*/ 7183 w 152968"/>
                <a:gd name="connsiteY0" fmla="*/ 348100 h 348099"/>
                <a:gd name="connsiteX1" fmla="*/ 1232 w 152968"/>
                <a:gd name="connsiteY1" fmla="*/ 345124 h 348099"/>
                <a:gd name="connsiteX2" fmla="*/ 4208 w 152968"/>
                <a:gd name="connsiteY2" fmla="*/ 336199 h 348099"/>
                <a:gd name="connsiteX3" fmla="*/ 108340 w 152968"/>
                <a:gd name="connsiteY3" fmla="*/ 261819 h 348099"/>
                <a:gd name="connsiteX4" fmla="*/ 141068 w 152968"/>
                <a:gd name="connsiteY4" fmla="*/ 5951 h 348099"/>
                <a:gd name="connsiteX5" fmla="*/ 147017 w 152968"/>
                <a:gd name="connsiteY5" fmla="*/ 0 h 348099"/>
                <a:gd name="connsiteX6" fmla="*/ 152968 w 152968"/>
                <a:gd name="connsiteY6" fmla="*/ 5951 h 348099"/>
                <a:gd name="connsiteX7" fmla="*/ 120241 w 152968"/>
                <a:gd name="connsiteY7" fmla="*/ 267769 h 348099"/>
                <a:gd name="connsiteX8" fmla="*/ 13133 w 152968"/>
                <a:gd name="connsiteY8" fmla="*/ 345124 h 348099"/>
                <a:gd name="connsiteX9" fmla="*/ 7183 w 152968"/>
                <a:gd name="connsiteY9" fmla="*/ 348100 h 34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968" h="348099">
                  <a:moveTo>
                    <a:pt x="7183" y="348100"/>
                  </a:moveTo>
                  <a:cubicBezTo>
                    <a:pt x="4208" y="348100"/>
                    <a:pt x="4208" y="348100"/>
                    <a:pt x="1232" y="345124"/>
                  </a:cubicBezTo>
                  <a:cubicBezTo>
                    <a:pt x="-1743" y="342149"/>
                    <a:pt x="1232" y="339174"/>
                    <a:pt x="4208" y="336199"/>
                  </a:cubicBezTo>
                  <a:cubicBezTo>
                    <a:pt x="42885" y="312397"/>
                    <a:pt x="99415" y="270744"/>
                    <a:pt x="108340" y="261819"/>
                  </a:cubicBezTo>
                  <a:cubicBezTo>
                    <a:pt x="117265" y="249918"/>
                    <a:pt x="132141" y="98182"/>
                    <a:pt x="141068" y="5951"/>
                  </a:cubicBezTo>
                  <a:cubicBezTo>
                    <a:pt x="141068" y="2975"/>
                    <a:pt x="144043" y="0"/>
                    <a:pt x="147017" y="0"/>
                  </a:cubicBezTo>
                  <a:cubicBezTo>
                    <a:pt x="149993" y="0"/>
                    <a:pt x="152968" y="2975"/>
                    <a:pt x="152968" y="5951"/>
                  </a:cubicBezTo>
                  <a:cubicBezTo>
                    <a:pt x="149993" y="47603"/>
                    <a:pt x="129167" y="252893"/>
                    <a:pt x="120241" y="267769"/>
                  </a:cubicBezTo>
                  <a:cubicBezTo>
                    <a:pt x="108340" y="282645"/>
                    <a:pt x="22059" y="339174"/>
                    <a:pt x="13133" y="345124"/>
                  </a:cubicBezTo>
                  <a:cubicBezTo>
                    <a:pt x="10159" y="348100"/>
                    <a:pt x="10159" y="348100"/>
                    <a:pt x="7183" y="348100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8A5DB8BD-437E-4142-822B-5A0AFFDC158E}"/>
                </a:ext>
              </a:extLst>
            </p:cNvPr>
            <p:cNvSpPr/>
            <p:nvPr/>
          </p:nvSpPr>
          <p:spPr>
            <a:xfrm>
              <a:off x="13133569" y="8367649"/>
              <a:ext cx="270743" cy="274542"/>
            </a:xfrm>
            <a:custGeom>
              <a:avLst/>
              <a:gdLst>
                <a:gd name="connsiteX0" fmla="*/ 270744 w 270743"/>
                <a:gd name="connsiteY0" fmla="*/ 83305 h 274542"/>
                <a:gd name="connsiteX1" fmla="*/ 232066 w 270743"/>
                <a:gd name="connsiteY1" fmla="*/ 249917 h 274542"/>
                <a:gd name="connsiteX2" fmla="*/ 0 w 270743"/>
                <a:gd name="connsiteY2" fmla="*/ 193388 h 274542"/>
                <a:gd name="connsiteX3" fmla="*/ 53553 w 270743"/>
                <a:gd name="connsiteY3" fmla="*/ 0 h 274542"/>
                <a:gd name="connsiteX4" fmla="*/ 270744 w 270743"/>
                <a:gd name="connsiteY4" fmla="*/ 83305 h 274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743" h="274542">
                  <a:moveTo>
                    <a:pt x="270744" y="83305"/>
                  </a:moveTo>
                  <a:cubicBezTo>
                    <a:pt x="270744" y="83305"/>
                    <a:pt x="243967" y="178512"/>
                    <a:pt x="232066" y="249917"/>
                  </a:cubicBezTo>
                  <a:cubicBezTo>
                    <a:pt x="232066" y="249917"/>
                    <a:pt x="121984" y="333223"/>
                    <a:pt x="0" y="193388"/>
                  </a:cubicBezTo>
                  <a:cubicBezTo>
                    <a:pt x="11901" y="133884"/>
                    <a:pt x="38677" y="62479"/>
                    <a:pt x="53553" y="0"/>
                  </a:cubicBezTo>
                  <a:cubicBezTo>
                    <a:pt x="53553" y="0"/>
                    <a:pt x="217190" y="83305"/>
                    <a:pt x="270744" y="83305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98921428-C395-424B-98AB-8397CDFD15D4}"/>
                </a:ext>
              </a:extLst>
            </p:cNvPr>
            <p:cNvSpPr/>
            <p:nvPr/>
          </p:nvSpPr>
          <p:spPr>
            <a:xfrm>
              <a:off x="13109104" y="8230789"/>
              <a:ext cx="57192" cy="145784"/>
            </a:xfrm>
            <a:custGeom>
              <a:avLst/>
              <a:gdLst>
                <a:gd name="connsiteX0" fmla="*/ 664 w 57192"/>
                <a:gd name="connsiteY0" fmla="*/ 0 h 145784"/>
                <a:gd name="connsiteX1" fmla="*/ 39341 w 57192"/>
                <a:gd name="connsiteY1" fmla="*/ 145785 h 145784"/>
                <a:gd name="connsiteX2" fmla="*/ 57193 w 57192"/>
                <a:gd name="connsiteY2" fmla="*/ 65454 h 145784"/>
                <a:gd name="connsiteX3" fmla="*/ 664 w 57192"/>
                <a:gd name="connsiteY3" fmla="*/ 0 h 145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92" h="145784">
                  <a:moveTo>
                    <a:pt x="664" y="0"/>
                  </a:moveTo>
                  <a:cubicBezTo>
                    <a:pt x="664" y="0"/>
                    <a:pt x="-8262" y="116033"/>
                    <a:pt x="39341" y="145785"/>
                  </a:cubicBezTo>
                  <a:lnTo>
                    <a:pt x="57193" y="65454"/>
                  </a:lnTo>
                  <a:lnTo>
                    <a:pt x="664" y="0"/>
                  </a:ln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5894B306-BA3B-4C33-9CFC-15CBCE020467}"/>
                </a:ext>
              </a:extLst>
            </p:cNvPr>
            <p:cNvSpPr/>
            <p:nvPr/>
          </p:nvSpPr>
          <p:spPr>
            <a:xfrm>
              <a:off x="13465681" y="8117731"/>
              <a:ext cx="117143" cy="221441"/>
            </a:xfrm>
            <a:custGeom>
              <a:avLst/>
              <a:gdLst>
                <a:gd name="connsiteX0" fmla="*/ 117144 w 117143"/>
                <a:gd name="connsiteY0" fmla="*/ 2975 h 221441"/>
                <a:gd name="connsiteX1" fmla="*/ 33838 w 117143"/>
                <a:gd name="connsiteY1" fmla="*/ 220166 h 221441"/>
                <a:gd name="connsiteX2" fmla="*/ 21937 w 117143"/>
                <a:gd name="connsiteY2" fmla="*/ 0 h 221441"/>
                <a:gd name="connsiteX3" fmla="*/ 117144 w 117143"/>
                <a:gd name="connsiteY3" fmla="*/ 2975 h 221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143" h="221441">
                  <a:moveTo>
                    <a:pt x="117144" y="2975"/>
                  </a:moveTo>
                  <a:cubicBezTo>
                    <a:pt x="117144" y="2975"/>
                    <a:pt x="111193" y="196364"/>
                    <a:pt x="33838" y="220166"/>
                  </a:cubicBezTo>
                  <a:cubicBezTo>
                    <a:pt x="-34592" y="240992"/>
                    <a:pt x="21937" y="0"/>
                    <a:pt x="21937" y="0"/>
                  </a:cubicBezTo>
                  <a:lnTo>
                    <a:pt x="117144" y="2975"/>
                  </a:ln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C28FCD6C-7D33-4BC3-BA5E-23E438B8A582}"/>
                </a:ext>
              </a:extLst>
            </p:cNvPr>
            <p:cNvSpPr/>
            <p:nvPr/>
          </p:nvSpPr>
          <p:spPr>
            <a:xfrm>
              <a:off x="13127498" y="7941439"/>
              <a:ext cx="407723" cy="554646"/>
            </a:xfrm>
            <a:custGeom>
              <a:avLst/>
              <a:gdLst>
                <a:gd name="connsiteX0" fmla="*/ 407724 w 407723"/>
                <a:gd name="connsiteY0" fmla="*/ 211994 h 554646"/>
                <a:gd name="connsiteX1" fmla="*/ 363096 w 407723"/>
                <a:gd name="connsiteY1" fmla="*/ 452986 h 554646"/>
                <a:gd name="connsiteX2" fmla="*/ 184583 w 407723"/>
                <a:gd name="connsiteY2" fmla="*/ 554143 h 554646"/>
                <a:gd name="connsiteX3" fmla="*/ 3096 w 407723"/>
                <a:gd name="connsiteY3" fmla="*/ 375631 h 554646"/>
                <a:gd name="connsiteX4" fmla="*/ 9046 w 407723"/>
                <a:gd name="connsiteY4" fmla="*/ 152490 h 554646"/>
                <a:gd name="connsiteX5" fmla="*/ 250038 w 407723"/>
                <a:gd name="connsiteY5" fmla="*/ 755 h 554646"/>
                <a:gd name="connsiteX6" fmla="*/ 407724 w 407723"/>
                <a:gd name="connsiteY6" fmla="*/ 211994 h 554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7723" h="554646">
                  <a:moveTo>
                    <a:pt x="407724" y="211994"/>
                  </a:moveTo>
                  <a:cubicBezTo>
                    <a:pt x="407724" y="211994"/>
                    <a:pt x="395823" y="384556"/>
                    <a:pt x="363096" y="452986"/>
                  </a:cubicBezTo>
                  <a:cubicBezTo>
                    <a:pt x="333344" y="512490"/>
                    <a:pt x="235162" y="560094"/>
                    <a:pt x="184583" y="554143"/>
                  </a:cubicBezTo>
                  <a:cubicBezTo>
                    <a:pt x="119128" y="548193"/>
                    <a:pt x="12022" y="485714"/>
                    <a:pt x="3096" y="375631"/>
                  </a:cubicBezTo>
                  <a:cubicBezTo>
                    <a:pt x="-2854" y="301251"/>
                    <a:pt x="120" y="203069"/>
                    <a:pt x="9046" y="152490"/>
                  </a:cubicBezTo>
                  <a:cubicBezTo>
                    <a:pt x="26898" y="63234"/>
                    <a:pt x="68550" y="-8171"/>
                    <a:pt x="250038" y="755"/>
                  </a:cubicBezTo>
                  <a:cubicBezTo>
                    <a:pt x="333344" y="6705"/>
                    <a:pt x="401773" y="134639"/>
                    <a:pt x="407724" y="211994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9A2220F2-ACBA-49CC-95C8-47BB0CA35B64}"/>
                </a:ext>
              </a:extLst>
            </p:cNvPr>
            <p:cNvSpPr/>
            <p:nvPr/>
          </p:nvSpPr>
          <p:spPr>
            <a:xfrm>
              <a:off x="13318032" y="8201037"/>
              <a:ext cx="68429" cy="133884"/>
            </a:xfrm>
            <a:custGeom>
              <a:avLst/>
              <a:gdLst>
                <a:gd name="connsiteX0" fmla="*/ 38677 w 68429"/>
                <a:gd name="connsiteY0" fmla="*/ 133884 h 133884"/>
                <a:gd name="connsiteX1" fmla="*/ 2974 w 68429"/>
                <a:gd name="connsiteY1" fmla="*/ 124959 h 133884"/>
                <a:gd name="connsiteX2" fmla="*/ 0 w 68429"/>
                <a:gd name="connsiteY2" fmla="*/ 116033 h 133884"/>
                <a:gd name="connsiteX3" fmla="*/ 8925 w 68429"/>
                <a:gd name="connsiteY3" fmla="*/ 113058 h 133884"/>
                <a:gd name="connsiteX4" fmla="*/ 47603 w 68429"/>
                <a:gd name="connsiteY4" fmla="*/ 119008 h 133884"/>
                <a:gd name="connsiteX5" fmla="*/ 50578 w 68429"/>
                <a:gd name="connsiteY5" fmla="*/ 116033 h 133884"/>
                <a:gd name="connsiteX6" fmla="*/ 56529 w 68429"/>
                <a:gd name="connsiteY6" fmla="*/ 5950 h 133884"/>
                <a:gd name="connsiteX7" fmla="*/ 62479 w 68429"/>
                <a:gd name="connsiteY7" fmla="*/ 0 h 133884"/>
                <a:gd name="connsiteX8" fmla="*/ 68429 w 68429"/>
                <a:gd name="connsiteY8" fmla="*/ 5950 h 133884"/>
                <a:gd name="connsiteX9" fmla="*/ 62479 w 68429"/>
                <a:gd name="connsiteY9" fmla="*/ 119008 h 133884"/>
                <a:gd name="connsiteX10" fmla="*/ 53553 w 68429"/>
                <a:gd name="connsiteY10" fmla="*/ 130909 h 133884"/>
                <a:gd name="connsiteX11" fmla="*/ 38677 w 68429"/>
                <a:gd name="connsiteY11" fmla="*/ 133884 h 13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429" h="133884">
                  <a:moveTo>
                    <a:pt x="38677" y="133884"/>
                  </a:moveTo>
                  <a:cubicBezTo>
                    <a:pt x="23801" y="133884"/>
                    <a:pt x="8925" y="127934"/>
                    <a:pt x="2974" y="124959"/>
                  </a:cubicBezTo>
                  <a:cubicBezTo>
                    <a:pt x="0" y="124959"/>
                    <a:pt x="0" y="119008"/>
                    <a:pt x="0" y="116033"/>
                  </a:cubicBezTo>
                  <a:cubicBezTo>
                    <a:pt x="0" y="113058"/>
                    <a:pt x="5950" y="113058"/>
                    <a:pt x="8925" y="113058"/>
                  </a:cubicBezTo>
                  <a:cubicBezTo>
                    <a:pt x="20826" y="119008"/>
                    <a:pt x="41653" y="121984"/>
                    <a:pt x="47603" y="119008"/>
                  </a:cubicBezTo>
                  <a:cubicBezTo>
                    <a:pt x="47603" y="119008"/>
                    <a:pt x="50578" y="119008"/>
                    <a:pt x="50578" y="116033"/>
                  </a:cubicBezTo>
                  <a:cubicBezTo>
                    <a:pt x="53553" y="98182"/>
                    <a:pt x="56529" y="5950"/>
                    <a:pt x="56529" y="5950"/>
                  </a:cubicBezTo>
                  <a:cubicBezTo>
                    <a:pt x="56529" y="2975"/>
                    <a:pt x="59504" y="0"/>
                    <a:pt x="62479" y="0"/>
                  </a:cubicBezTo>
                  <a:cubicBezTo>
                    <a:pt x="65454" y="0"/>
                    <a:pt x="68429" y="2975"/>
                    <a:pt x="68429" y="5950"/>
                  </a:cubicBezTo>
                  <a:cubicBezTo>
                    <a:pt x="68429" y="8926"/>
                    <a:pt x="68429" y="98182"/>
                    <a:pt x="62479" y="119008"/>
                  </a:cubicBezTo>
                  <a:cubicBezTo>
                    <a:pt x="62479" y="124959"/>
                    <a:pt x="59504" y="127934"/>
                    <a:pt x="53553" y="130909"/>
                  </a:cubicBezTo>
                  <a:cubicBezTo>
                    <a:pt x="47603" y="133884"/>
                    <a:pt x="44628" y="133884"/>
                    <a:pt x="38677" y="133884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D13AA65B-AB5E-4140-BFBD-CF0DEFF2C881}"/>
                </a:ext>
              </a:extLst>
            </p:cNvPr>
            <p:cNvSpPr/>
            <p:nvPr/>
          </p:nvSpPr>
          <p:spPr>
            <a:xfrm>
              <a:off x="13428114" y="8195087"/>
              <a:ext cx="38678" cy="38677"/>
            </a:xfrm>
            <a:custGeom>
              <a:avLst/>
              <a:gdLst>
                <a:gd name="connsiteX0" fmla="*/ 0 w 38678"/>
                <a:gd name="connsiteY0" fmla="*/ 20826 h 38677"/>
                <a:gd name="connsiteX1" fmla="*/ 20827 w 38678"/>
                <a:gd name="connsiteY1" fmla="*/ 38678 h 38677"/>
                <a:gd name="connsiteX2" fmla="*/ 38678 w 38678"/>
                <a:gd name="connsiteY2" fmla="*/ 17851 h 38677"/>
                <a:gd name="connsiteX3" fmla="*/ 17851 w 38678"/>
                <a:gd name="connsiteY3" fmla="*/ 0 h 38677"/>
                <a:gd name="connsiteX4" fmla="*/ 0 w 38678"/>
                <a:gd name="connsiteY4" fmla="*/ 20826 h 3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678" h="38677">
                  <a:moveTo>
                    <a:pt x="0" y="20826"/>
                  </a:moveTo>
                  <a:cubicBezTo>
                    <a:pt x="0" y="32727"/>
                    <a:pt x="8926" y="38678"/>
                    <a:pt x="20827" y="38678"/>
                  </a:cubicBezTo>
                  <a:cubicBezTo>
                    <a:pt x="32727" y="38678"/>
                    <a:pt x="38678" y="29752"/>
                    <a:pt x="38678" y="17851"/>
                  </a:cubicBezTo>
                  <a:cubicBezTo>
                    <a:pt x="38678" y="5950"/>
                    <a:pt x="29752" y="0"/>
                    <a:pt x="17851" y="0"/>
                  </a:cubicBezTo>
                  <a:cubicBezTo>
                    <a:pt x="8926" y="2975"/>
                    <a:pt x="0" y="11901"/>
                    <a:pt x="0" y="20826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056BC08F-C190-41A3-838E-B0B8135F51D7}"/>
                </a:ext>
              </a:extLst>
            </p:cNvPr>
            <p:cNvSpPr/>
            <p:nvPr/>
          </p:nvSpPr>
          <p:spPr>
            <a:xfrm>
              <a:off x="13249602" y="8180211"/>
              <a:ext cx="38678" cy="38677"/>
            </a:xfrm>
            <a:custGeom>
              <a:avLst/>
              <a:gdLst>
                <a:gd name="connsiteX0" fmla="*/ 0 w 38678"/>
                <a:gd name="connsiteY0" fmla="*/ 20826 h 38677"/>
                <a:gd name="connsiteX1" fmla="*/ 20827 w 38678"/>
                <a:gd name="connsiteY1" fmla="*/ 38678 h 38677"/>
                <a:gd name="connsiteX2" fmla="*/ 38678 w 38678"/>
                <a:gd name="connsiteY2" fmla="*/ 17851 h 38677"/>
                <a:gd name="connsiteX3" fmla="*/ 17851 w 38678"/>
                <a:gd name="connsiteY3" fmla="*/ 0 h 38677"/>
                <a:gd name="connsiteX4" fmla="*/ 0 w 38678"/>
                <a:gd name="connsiteY4" fmla="*/ 20826 h 3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678" h="38677">
                  <a:moveTo>
                    <a:pt x="0" y="20826"/>
                  </a:moveTo>
                  <a:cubicBezTo>
                    <a:pt x="0" y="32727"/>
                    <a:pt x="8926" y="38678"/>
                    <a:pt x="20827" y="38678"/>
                  </a:cubicBezTo>
                  <a:cubicBezTo>
                    <a:pt x="32727" y="38678"/>
                    <a:pt x="38678" y="29752"/>
                    <a:pt x="38678" y="17851"/>
                  </a:cubicBezTo>
                  <a:cubicBezTo>
                    <a:pt x="38678" y="5950"/>
                    <a:pt x="29752" y="0"/>
                    <a:pt x="17851" y="0"/>
                  </a:cubicBezTo>
                  <a:cubicBezTo>
                    <a:pt x="5951" y="0"/>
                    <a:pt x="0" y="8926"/>
                    <a:pt x="0" y="20826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DAF11D66-4FFD-4A33-A13F-E04176E95CF7}"/>
                </a:ext>
              </a:extLst>
            </p:cNvPr>
            <p:cNvSpPr/>
            <p:nvPr/>
          </p:nvSpPr>
          <p:spPr>
            <a:xfrm>
              <a:off x="13413238" y="8150408"/>
              <a:ext cx="87513" cy="41703"/>
            </a:xfrm>
            <a:custGeom>
              <a:avLst/>
              <a:gdLst>
                <a:gd name="connsiteX0" fmla="*/ 77356 w 87513"/>
                <a:gd name="connsiteY0" fmla="*/ 38729 h 41703"/>
                <a:gd name="connsiteX1" fmla="*/ 71405 w 87513"/>
                <a:gd name="connsiteY1" fmla="*/ 35753 h 41703"/>
                <a:gd name="connsiteX2" fmla="*/ 8926 w 87513"/>
                <a:gd name="connsiteY2" fmla="*/ 17902 h 41703"/>
                <a:gd name="connsiteX3" fmla="*/ 0 w 87513"/>
                <a:gd name="connsiteY3" fmla="*/ 11951 h 41703"/>
                <a:gd name="connsiteX4" fmla="*/ 5951 w 87513"/>
                <a:gd name="connsiteY4" fmla="*/ 3026 h 41703"/>
                <a:gd name="connsiteX5" fmla="*/ 86281 w 87513"/>
                <a:gd name="connsiteY5" fmla="*/ 29803 h 41703"/>
                <a:gd name="connsiteX6" fmla="*/ 83306 w 87513"/>
                <a:gd name="connsiteY6" fmla="*/ 41704 h 41703"/>
                <a:gd name="connsiteX7" fmla="*/ 77356 w 87513"/>
                <a:gd name="connsiteY7" fmla="*/ 38729 h 41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513" h="41703">
                  <a:moveTo>
                    <a:pt x="77356" y="38729"/>
                  </a:moveTo>
                  <a:cubicBezTo>
                    <a:pt x="74380" y="38729"/>
                    <a:pt x="71405" y="38729"/>
                    <a:pt x="71405" y="35753"/>
                  </a:cubicBezTo>
                  <a:cubicBezTo>
                    <a:pt x="50579" y="3026"/>
                    <a:pt x="8926" y="17902"/>
                    <a:pt x="8926" y="17902"/>
                  </a:cubicBezTo>
                  <a:cubicBezTo>
                    <a:pt x="5951" y="17902"/>
                    <a:pt x="0" y="17902"/>
                    <a:pt x="0" y="11951"/>
                  </a:cubicBezTo>
                  <a:cubicBezTo>
                    <a:pt x="0" y="8977"/>
                    <a:pt x="0" y="3026"/>
                    <a:pt x="5951" y="3026"/>
                  </a:cubicBezTo>
                  <a:cubicBezTo>
                    <a:pt x="23802" y="-2925"/>
                    <a:pt x="65455" y="-2925"/>
                    <a:pt x="86281" y="29803"/>
                  </a:cubicBezTo>
                  <a:cubicBezTo>
                    <a:pt x="89256" y="32778"/>
                    <a:pt x="86281" y="38729"/>
                    <a:pt x="83306" y="41704"/>
                  </a:cubicBezTo>
                  <a:cubicBezTo>
                    <a:pt x="80331" y="38729"/>
                    <a:pt x="80331" y="38729"/>
                    <a:pt x="77356" y="38729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8377D879-642D-4529-8EF9-66FE3BE45951}"/>
                </a:ext>
              </a:extLst>
            </p:cNvPr>
            <p:cNvSpPr/>
            <p:nvPr/>
          </p:nvSpPr>
          <p:spPr>
            <a:xfrm>
              <a:off x="13223846" y="8110959"/>
              <a:ext cx="90466" cy="36523"/>
            </a:xfrm>
            <a:custGeom>
              <a:avLst/>
              <a:gdLst>
                <a:gd name="connsiteX0" fmla="*/ 85260 w 90466"/>
                <a:gd name="connsiteY0" fmla="*/ 36524 h 36523"/>
                <a:gd name="connsiteX1" fmla="*/ 79310 w 90466"/>
                <a:gd name="connsiteY1" fmla="*/ 33549 h 36523"/>
                <a:gd name="connsiteX2" fmla="*/ 13855 w 90466"/>
                <a:gd name="connsiteY2" fmla="*/ 27598 h 36523"/>
                <a:gd name="connsiteX3" fmla="*/ 1954 w 90466"/>
                <a:gd name="connsiteY3" fmla="*/ 24623 h 36523"/>
                <a:gd name="connsiteX4" fmla="*/ 4930 w 90466"/>
                <a:gd name="connsiteY4" fmla="*/ 12722 h 36523"/>
                <a:gd name="connsiteX5" fmla="*/ 88235 w 90466"/>
                <a:gd name="connsiteY5" fmla="*/ 18673 h 36523"/>
                <a:gd name="connsiteX6" fmla="*/ 88235 w 90466"/>
                <a:gd name="connsiteY6" fmla="*/ 30574 h 36523"/>
                <a:gd name="connsiteX7" fmla="*/ 85260 w 90466"/>
                <a:gd name="connsiteY7" fmla="*/ 36524 h 36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466" h="36523">
                  <a:moveTo>
                    <a:pt x="85260" y="36524"/>
                  </a:moveTo>
                  <a:cubicBezTo>
                    <a:pt x="82284" y="36524"/>
                    <a:pt x="82284" y="36524"/>
                    <a:pt x="79310" y="33549"/>
                  </a:cubicBezTo>
                  <a:cubicBezTo>
                    <a:pt x="49558" y="3797"/>
                    <a:pt x="16830" y="27598"/>
                    <a:pt x="13855" y="27598"/>
                  </a:cubicBezTo>
                  <a:cubicBezTo>
                    <a:pt x="10880" y="30574"/>
                    <a:pt x="4930" y="27598"/>
                    <a:pt x="1954" y="24623"/>
                  </a:cubicBezTo>
                  <a:cubicBezTo>
                    <a:pt x="-1021" y="21648"/>
                    <a:pt x="-1021" y="15698"/>
                    <a:pt x="4930" y="12722"/>
                  </a:cubicBezTo>
                  <a:cubicBezTo>
                    <a:pt x="19806" y="822"/>
                    <a:pt x="58483" y="-11079"/>
                    <a:pt x="88235" y="18673"/>
                  </a:cubicBezTo>
                  <a:cubicBezTo>
                    <a:pt x="91211" y="21648"/>
                    <a:pt x="91211" y="27598"/>
                    <a:pt x="88235" y="30574"/>
                  </a:cubicBezTo>
                  <a:cubicBezTo>
                    <a:pt x="91211" y="36524"/>
                    <a:pt x="88235" y="36524"/>
                    <a:pt x="85260" y="36524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3C46F520-8D6D-4A53-9C7F-9A6E590E2AC5}"/>
                </a:ext>
              </a:extLst>
            </p:cNvPr>
            <p:cNvSpPr/>
            <p:nvPr/>
          </p:nvSpPr>
          <p:spPr>
            <a:xfrm>
              <a:off x="13164065" y="8407070"/>
              <a:ext cx="216445" cy="91487"/>
            </a:xfrm>
            <a:custGeom>
              <a:avLst/>
              <a:gdLst>
                <a:gd name="connsiteX0" fmla="*/ 153967 w 216445"/>
                <a:gd name="connsiteY0" fmla="*/ 91488 h 91487"/>
                <a:gd name="connsiteX1" fmla="*/ 133140 w 216445"/>
                <a:gd name="connsiteY1" fmla="*/ 88512 h 91487"/>
                <a:gd name="connsiteX2" fmla="*/ 2232 w 216445"/>
                <a:gd name="connsiteY2" fmla="*/ 11157 h 91487"/>
                <a:gd name="connsiteX3" fmla="*/ 2232 w 216445"/>
                <a:gd name="connsiteY3" fmla="*/ 2232 h 91487"/>
                <a:gd name="connsiteX4" fmla="*/ 11157 w 216445"/>
                <a:gd name="connsiteY4" fmla="*/ 2232 h 91487"/>
                <a:gd name="connsiteX5" fmla="*/ 136116 w 216445"/>
                <a:gd name="connsiteY5" fmla="*/ 76612 h 91487"/>
                <a:gd name="connsiteX6" fmla="*/ 207521 w 216445"/>
                <a:gd name="connsiteY6" fmla="*/ 64711 h 91487"/>
                <a:gd name="connsiteX7" fmla="*/ 216446 w 216445"/>
                <a:gd name="connsiteY7" fmla="*/ 67686 h 91487"/>
                <a:gd name="connsiteX8" fmla="*/ 213471 w 216445"/>
                <a:gd name="connsiteY8" fmla="*/ 76612 h 91487"/>
                <a:gd name="connsiteX9" fmla="*/ 153967 w 216445"/>
                <a:gd name="connsiteY9" fmla="*/ 91488 h 9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445" h="91487">
                  <a:moveTo>
                    <a:pt x="153967" y="91488"/>
                  </a:moveTo>
                  <a:cubicBezTo>
                    <a:pt x="148016" y="91488"/>
                    <a:pt x="139091" y="91488"/>
                    <a:pt x="133140" y="88512"/>
                  </a:cubicBezTo>
                  <a:cubicBezTo>
                    <a:pt x="82562" y="79587"/>
                    <a:pt x="8181" y="14132"/>
                    <a:pt x="2232" y="11157"/>
                  </a:cubicBezTo>
                  <a:cubicBezTo>
                    <a:pt x="-744" y="8182"/>
                    <a:pt x="-744" y="5207"/>
                    <a:pt x="2232" y="2232"/>
                  </a:cubicBezTo>
                  <a:cubicBezTo>
                    <a:pt x="5207" y="-744"/>
                    <a:pt x="8181" y="-744"/>
                    <a:pt x="11157" y="2232"/>
                  </a:cubicBezTo>
                  <a:cubicBezTo>
                    <a:pt x="11157" y="2232"/>
                    <a:pt x="88512" y="67686"/>
                    <a:pt x="136116" y="76612"/>
                  </a:cubicBezTo>
                  <a:cubicBezTo>
                    <a:pt x="171818" y="82562"/>
                    <a:pt x="207521" y="64711"/>
                    <a:pt x="207521" y="64711"/>
                  </a:cubicBezTo>
                  <a:cubicBezTo>
                    <a:pt x="210496" y="61736"/>
                    <a:pt x="213471" y="64711"/>
                    <a:pt x="216446" y="67686"/>
                  </a:cubicBezTo>
                  <a:cubicBezTo>
                    <a:pt x="216446" y="70661"/>
                    <a:pt x="216446" y="73636"/>
                    <a:pt x="213471" y="76612"/>
                  </a:cubicBezTo>
                  <a:cubicBezTo>
                    <a:pt x="213471" y="79587"/>
                    <a:pt x="186694" y="91488"/>
                    <a:pt x="153967" y="91488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EB146986-B888-43E3-80C7-AAD7BA3C8086}"/>
                </a:ext>
              </a:extLst>
            </p:cNvPr>
            <p:cNvSpPr/>
            <p:nvPr/>
          </p:nvSpPr>
          <p:spPr>
            <a:xfrm>
              <a:off x="13118462" y="7930293"/>
              <a:ext cx="98412" cy="255867"/>
            </a:xfrm>
            <a:custGeom>
              <a:avLst/>
              <a:gdLst>
                <a:gd name="connsiteX0" fmla="*/ 98412 w 98412"/>
                <a:gd name="connsiteY0" fmla="*/ 130909 h 255867"/>
                <a:gd name="connsiteX1" fmla="*/ 24032 w 98412"/>
                <a:gd name="connsiteY1" fmla="*/ 255868 h 255867"/>
                <a:gd name="connsiteX2" fmla="*/ 231 w 98412"/>
                <a:gd name="connsiteY2" fmla="*/ 145785 h 255867"/>
                <a:gd name="connsiteX3" fmla="*/ 77586 w 98412"/>
                <a:gd name="connsiteY3" fmla="*/ 0 h 255867"/>
                <a:gd name="connsiteX4" fmla="*/ 98412 w 98412"/>
                <a:gd name="connsiteY4" fmla="*/ 130909 h 255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412" h="255867">
                  <a:moveTo>
                    <a:pt x="98412" y="130909"/>
                  </a:moveTo>
                  <a:cubicBezTo>
                    <a:pt x="98412" y="130909"/>
                    <a:pt x="24032" y="226116"/>
                    <a:pt x="24032" y="255868"/>
                  </a:cubicBezTo>
                  <a:cubicBezTo>
                    <a:pt x="24032" y="255868"/>
                    <a:pt x="-2745" y="232066"/>
                    <a:pt x="231" y="145785"/>
                  </a:cubicBezTo>
                  <a:cubicBezTo>
                    <a:pt x="3206" y="86281"/>
                    <a:pt x="9156" y="2975"/>
                    <a:pt x="77586" y="0"/>
                  </a:cubicBezTo>
                  <a:cubicBezTo>
                    <a:pt x="77586" y="0"/>
                    <a:pt x="62710" y="104132"/>
                    <a:pt x="98412" y="130909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422466BE-7F7A-4766-B6BE-B8832D09B8E7}"/>
                </a:ext>
              </a:extLst>
            </p:cNvPr>
            <p:cNvSpPr/>
            <p:nvPr/>
          </p:nvSpPr>
          <p:spPr>
            <a:xfrm>
              <a:off x="13172269" y="7851940"/>
              <a:ext cx="478985" cy="287642"/>
            </a:xfrm>
            <a:custGeom>
              <a:avLst/>
              <a:gdLst>
                <a:gd name="connsiteX0" fmla="*/ 44606 w 478985"/>
                <a:gd name="connsiteY0" fmla="*/ 209262 h 287642"/>
                <a:gd name="connsiteX1" fmla="*/ 169565 w 478985"/>
                <a:gd name="connsiteY1" fmla="*/ 197361 h 287642"/>
                <a:gd name="connsiteX2" fmla="*/ 478986 w 478985"/>
                <a:gd name="connsiteY2" fmla="*/ 247940 h 287642"/>
                <a:gd name="connsiteX3" fmla="*/ 157664 w 478985"/>
                <a:gd name="connsiteY3" fmla="*/ 998 h 287642"/>
                <a:gd name="connsiteX4" fmla="*/ 23780 w 478985"/>
                <a:gd name="connsiteY4" fmla="*/ 81328 h 287642"/>
                <a:gd name="connsiteX5" fmla="*/ 44606 w 478985"/>
                <a:gd name="connsiteY5" fmla="*/ 209262 h 287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8985" h="287642">
                  <a:moveTo>
                    <a:pt x="44606" y="209262"/>
                  </a:moveTo>
                  <a:cubicBezTo>
                    <a:pt x="44606" y="209262"/>
                    <a:pt x="142788" y="191411"/>
                    <a:pt x="169565" y="197361"/>
                  </a:cubicBezTo>
                  <a:cubicBezTo>
                    <a:pt x="264772" y="221163"/>
                    <a:pt x="365928" y="352072"/>
                    <a:pt x="478986" y="247940"/>
                  </a:cubicBezTo>
                  <a:cubicBezTo>
                    <a:pt x="455185" y="140832"/>
                    <a:pt x="324276" y="-13878"/>
                    <a:pt x="157664" y="998"/>
                  </a:cubicBezTo>
                  <a:cubicBezTo>
                    <a:pt x="80308" y="6948"/>
                    <a:pt x="35680" y="48601"/>
                    <a:pt x="23780" y="81328"/>
                  </a:cubicBezTo>
                  <a:cubicBezTo>
                    <a:pt x="23780" y="78353"/>
                    <a:pt x="-41675" y="179510"/>
                    <a:pt x="44606" y="209262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0F9BCAFB-5756-4492-9F89-F091C9F3248F}"/>
                </a:ext>
              </a:extLst>
            </p:cNvPr>
            <p:cNvSpPr/>
            <p:nvPr/>
          </p:nvSpPr>
          <p:spPr>
            <a:xfrm>
              <a:off x="13082914" y="8147853"/>
              <a:ext cx="67881" cy="111664"/>
            </a:xfrm>
            <a:custGeom>
              <a:avLst/>
              <a:gdLst>
                <a:gd name="connsiteX0" fmla="*/ 65530 w 67881"/>
                <a:gd name="connsiteY0" fmla="*/ 23432 h 111664"/>
                <a:gd name="connsiteX1" fmla="*/ 11977 w 67881"/>
                <a:gd name="connsiteY1" fmla="*/ 2606 h 111664"/>
                <a:gd name="connsiteX2" fmla="*/ 47679 w 67881"/>
                <a:gd name="connsiteY2" fmla="*/ 109713 h 111664"/>
                <a:gd name="connsiteX3" fmla="*/ 65530 w 67881"/>
                <a:gd name="connsiteY3" fmla="*/ 23432 h 111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81" h="111664">
                  <a:moveTo>
                    <a:pt x="65530" y="23432"/>
                  </a:moveTo>
                  <a:cubicBezTo>
                    <a:pt x="65530" y="23432"/>
                    <a:pt x="38754" y="-9295"/>
                    <a:pt x="11977" y="2606"/>
                  </a:cubicBezTo>
                  <a:cubicBezTo>
                    <a:pt x="-14801" y="17482"/>
                    <a:pt x="6026" y="127564"/>
                    <a:pt x="47679" y="109713"/>
                  </a:cubicBezTo>
                  <a:cubicBezTo>
                    <a:pt x="77431" y="100788"/>
                    <a:pt x="65530" y="23432"/>
                    <a:pt x="65530" y="23432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AF2CF899-4D7B-449A-ACBC-B4822DA9CC9D}"/>
                </a:ext>
              </a:extLst>
            </p:cNvPr>
            <p:cNvSpPr/>
            <p:nvPr/>
          </p:nvSpPr>
          <p:spPr>
            <a:xfrm>
              <a:off x="12365966" y="8516409"/>
              <a:ext cx="1298035" cy="1573884"/>
            </a:xfrm>
            <a:custGeom>
              <a:avLst/>
              <a:gdLst>
                <a:gd name="connsiteX0" fmla="*/ 758678 w 1298035"/>
                <a:gd name="connsiteY0" fmla="*/ 0 h 1573884"/>
                <a:gd name="connsiteX1" fmla="*/ 1035372 w 1298035"/>
                <a:gd name="connsiteY1" fmla="*/ 56529 h 1573884"/>
                <a:gd name="connsiteX2" fmla="*/ 1297189 w 1298035"/>
                <a:gd name="connsiteY2" fmla="*/ 238017 h 1573884"/>
                <a:gd name="connsiteX3" fmla="*/ 1071074 w 1298035"/>
                <a:gd name="connsiteY3" fmla="*/ 1573884 h 1573884"/>
                <a:gd name="connsiteX4" fmla="*/ 0 w 1298035"/>
                <a:gd name="connsiteY4" fmla="*/ 1493553 h 1573884"/>
                <a:gd name="connsiteX5" fmla="*/ 470082 w 1298035"/>
                <a:gd name="connsiteY5" fmla="*/ 41653 h 1573884"/>
                <a:gd name="connsiteX6" fmla="*/ 758678 w 1298035"/>
                <a:gd name="connsiteY6" fmla="*/ 0 h 157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8035" h="1573884">
                  <a:moveTo>
                    <a:pt x="758678" y="0"/>
                  </a:moveTo>
                  <a:cubicBezTo>
                    <a:pt x="758678" y="0"/>
                    <a:pt x="913388" y="86281"/>
                    <a:pt x="1035372" y="56529"/>
                  </a:cubicBezTo>
                  <a:cubicBezTo>
                    <a:pt x="1035372" y="56529"/>
                    <a:pt x="1279339" y="202314"/>
                    <a:pt x="1297189" y="238017"/>
                  </a:cubicBezTo>
                  <a:cubicBezTo>
                    <a:pt x="1315041" y="273719"/>
                    <a:pt x="1044297" y="1428099"/>
                    <a:pt x="1071074" y="1573884"/>
                  </a:cubicBezTo>
                  <a:cubicBezTo>
                    <a:pt x="1071074" y="1573884"/>
                    <a:pt x="627768" y="1567933"/>
                    <a:pt x="0" y="1493553"/>
                  </a:cubicBezTo>
                  <a:cubicBezTo>
                    <a:pt x="133884" y="532562"/>
                    <a:pt x="425454" y="65454"/>
                    <a:pt x="470082" y="41653"/>
                  </a:cubicBezTo>
                  <a:cubicBezTo>
                    <a:pt x="517686" y="20826"/>
                    <a:pt x="758678" y="0"/>
                    <a:pt x="758678" y="0"/>
                  </a:cubicBezTo>
                  <a:close/>
                </a:path>
              </a:pathLst>
            </a:custGeom>
            <a:solidFill>
              <a:srgbClr val="D1615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49199B5C-82CF-45D4-A316-D98BBF4612EB}"/>
                </a:ext>
              </a:extLst>
            </p:cNvPr>
            <p:cNvSpPr/>
            <p:nvPr/>
          </p:nvSpPr>
          <p:spPr>
            <a:xfrm>
              <a:off x="13532246" y="8751450"/>
              <a:ext cx="133884" cy="672396"/>
            </a:xfrm>
            <a:custGeom>
              <a:avLst/>
              <a:gdLst>
                <a:gd name="connsiteX0" fmla="*/ 5951 w 133884"/>
                <a:gd name="connsiteY0" fmla="*/ 672397 h 672396"/>
                <a:gd name="connsiteX1" fmla="*/ 5951 w 133884"/>
                <a:gd name="connsiteY1" fmla="*/ 672397 h 672396"/>
                <a:gd name="connsiteX2" fmla="*/ 0 w 133884"/>
                <a:gd name="connsiteY2" fmla="*/ 666446 h 672396"/>
                <a:gd name="connsiteX3" fmla="*/ 121984 w 133884"/>
                <a:gd name="connsiteY3" fmla="*/ 5950 h 672396"/>
                <a:gd name="connsiteX4" fmla="*/ 127934 w 133884"/>
                <a:gd name="connsiteY4" fmla="*/ 0 h 672396"/>
                <a:gd name="connsiteX5" fmla="*/ 127934 w 133884"/>
                <a:gd name="connsiteY5" fmla="*/ 0 h 672396"/>
                <a:gd name="connsiteX6" fmla="*/ 133884 w 133884"/>
                <a:gd name="connsiteY6" fmla="*/ 5950 h 672396"/>
                <a:gd name="connsiteX7" fmla="*/ 11901 w 133884"/>
                <a:gd name="connsiteY7" fmla="*/ 669422 h 672396"/>
                <a:gd name="connsiteX8" fmla="*/ 5951 w 133884"/>
                <a:gd name="connsiteY8" fmla="*/ 672397 h 67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3884" h="672396">
                  <a:moveTo>
                    <a:pt x="5951" y="672397"/>
                  </a:moveTo>
                  <a:cubicBezTo>
                    <a:pt x="5951" y="672397"/>
                    <a:pt x="5951" y="672397"/>
                    <a:pt x="5951" y="672397"/>
                  </a:cubicBezTo>
                  <a:cubicBezTo>
                    <a:pt x="2975" y="672397"/>
                    <a:pt x="0" y="669422"/>
                    <a:pt x="0" y="666446"/>
                  </a:cubicBezTo>
                  <a:cubicBezTo>
                    <a:pt x="0" y="660496"/>
                    <a:pt x="121984" y="44628"/>
                    <a:pt x="121984" y="5950"/>
                  </a:cubicBezTo>
                  <a:cubicBezTo>
                    <a:pt x="121984" y="2975"/>
                    <a:pt x="124959" y="0"/>
                    <a:pt x="127934" y="0"/>
                  </a:cubicBezTo>
                  <a:cubicBezTo>
                    <a:pt x="127934" y="0"/>
                    <a:pt x="127934" y="0"/>
                    <a:pt x="127934" y="0"/>
                  </a:cubicBezTo>
                  <a:cubicBezTo>
                    <a:pt x="130909" y="0"/>
                    <a:pt x="133884" y="2975"/>
                    <a:pt x="133884" y="5950"/>
                  </a:cubicBezTo>
                  <a:cubicBezTo>
                    <a:pt x="133884" y="44628"/>
                    <a:pt x="17851" y="642645"/>
                    <a:pt x="11901" y="669422"/>
                  </a:cubicBezTo>
                  <a:cubicBezTo>
                    <a:pt x="11901" y="669422"/>
                    <a:pt x="8926" y="672397"/>
                    <a:pt x="5951" y="672397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569792F0-2C0C-431F-A959-B54DABF81849}"/>
                </a:ext>
              </a:extLst>
            </p:cNvPr>
            <p:cNvSpPr/>
            <p:nvPr/>
          </p:nvSpPr>
          <p:spPr>
            <a:xfrm>
              <a:off x="13280098" y="8380293"/>
              <a:ext cx="115289" cy="40908"/>
            </a:xfrm>
            <a:custGeom>
              <a:avLst/>
              <a:gdLst>
                <a:gd name="connsiteX0" fmla="*/ 79587 w 115289"/>
                <a:gd name="connsiteY0" fmla="*/ 40909 h 40908"/>
                <a:gd name="connsiteX1" fmla="*/ 2232 w 115289"/>
                <a:gd name="connsiteY1" fmla="*/ 11157 h 40908"/>
                <a:gd name="connsiteX2" fmla="*/ 2232 w 115289"/>
                <a:gd name="connsiteY2" fmla="*/ 2232 h 40908"/>
                <a:gd name="connsiteX3" fmla="*/ 11157 w 115289"/>
                <a:gd name="connsiteY3" fmla="*/ 2232 h 40908"/>
                <a:gd name="connsiteX4" fmla="*/ 106364 w 115289"/>
                <a:gd name="connsiteY4" fmla="*/ 23058 h 40908"/>
                <a:gd name="connsiteX5" fmla="*/ 115289 w 115289"/>
                <a:gd name="connsiteY5" fmla="*/ 26033 h 40908"/>
                <a:gd name="connsiteX6" fmla="*/ 112315 w 115289"/>
                <a:gd name="connsiteY6" fmla="*/ 34959 h 40908"/>
                <a:gd name="connsiteX7" fmla="*/ 79587 w 115289"/>
                <a:gd name="connsiteY7" fmla="*/ 40909 h 40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289" h="40908">
                  <a:moveTo>
                    <a:pt x="79587" y="40909"/>
                  </a:moveTo>
                  <a:cubicBezTo>
                    <a:pt x="40909" y="40909"/>
                    <a:pt x="5207" y="14132"/>
                    <a:pt x="2232" y="11157"/>
                  </a:cubicBezTo>
                  <a:cubicBezTo>
                    <a:pt x="-744" y="8182"/>
                    <a:pt x="-744" y="5206"/>
                    <a:pt x="2232" y="2232"/>
                  </a:cubicBezTo>
                  <a:cubicBezTo>
                    <a:pt x="5207" y="-744"/>
                    <a:pt x="8182" y="-744"/>
                    <a:pt x="11157" y="2232"/>
                  </a:cubicBezTo>
                  <a:cubicBezTo>
                    <a:pt x="11157" y="2232"/>
                    <a:pt x="64711" y="43884"/>
                    <a:pt x="106364" y="23058"/>
                  </a:cubicBezTo>
                  <a:cubicBezTo>
                    <a:pt x="109339" y="23058"/>
                    <a:pt x="112315" y="23058"/>
                    <a:pt x="115289" y="26033"/>
                  </a:cubicBezTo>
                  <a:cubicBezTo>
                    <a:pt x="115289" y="29008"/>
                    <a:pt x="115289" y="31984"/>
                    <a:pt x="112315" y="34959"/>
                  </a:cubicBezTo>
                  <a:cubicBezTo>
                    <a:pt x="100413" y="37934"/>
                    <a:pt x="88512" y="40909"/>
                    <a:pt x="79587" y="40909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8" name="图形 1">
              <a:extLst>
                <a:ext uri="{FF2B5EF4-FFF2-40B4-BE49-F238E27FC236}">
                  <a16:creationId xmlns:a16="http://schemas.microsoft.com/office/drawing/2014/main" id="{C2B17EE0-B02C-46B0-9626-F11B0E9BF7D3}"/>
                </a:ext>
              </a:extLst>
            </p:cNvPr>
            <p:cNvGrpSpPr/>
            <p:nvPr/>
          </p:nvGrpSpPr>
          <p:grpSpPr>
            <a:xfrm>
              <a:off x="13698003" y="9880882"/>
              <a:ext cx="1335646" cy="2402232"/>
              <a:chOff x="13698003" y="9880882"/>
              <a:chExt cx="1335646" cy="2402232"/>
            </a:xfrm>
          </p:grpSpPr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949C60AF-F354-4ADA-806A-648DE9666FB8}"/>
                  </a:ext>
                </a:extLst>
              </p:cNvPr>
              <p:cNvSpPr/>
              <p:nvPr/>
            </p:nvSpPr>
            <p:spPr>
              <a:xfrm>
                <a:off x="13829767" y="10167649"/>
                <a:ext cx="862809" cy="1904132"/>
              </a:xfrm>
              <a:custGeom>
                <a:avLst/>
                <a:gdLst>
                  <a:gd name="connsiteX0" fmla="*/ 779505 w 862809"/>
                  <a:gd name="connsiteY0" fmla="*/ 1904132 h 1904132"/>
                  <a:gd name="connsiteX1" fmla="*/ 862810 w 862809"/>
                  <a:gd name="connsiteY1" fmla="*/ 1874380 h 1904132"/>
                  <a:gd name="connsiteX2" fmla="*/ 80331 w 862809"/>
                  <a:gd name="connsiteY2" fmla="*/ 0 h 1904132"/>
                  <a:gd name="connsiteX3" fmla="*/ 0 w 862809"/>
                  <a:gd name="connsiteY3" fmla="*/ 29752 h 1904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62809" h="1904132">
                    <a:moveTo>
                      <a:pt x="779505" y="1904132"/>
                    </a:moveTo>
                    <a:lnTo>
                      <a:pt x="862810" y="1874380"/>
                    </a:lnTo>
                    <a:lnTo>
                      <a:pt x="80331" y="0"/>
                    </a:lnTo>
                    <a:lnTo>
                      <a:pt x="0" y="29752"/>
                    </a:ln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C2080221-BC90-4579-A242-740CBCEC585D}"/>
                  </a:ext>
                </a:extLst>
              </p:cNvPr>
              <p:cNvSpPr/>
              <p:nvPr/>
            </p:nvSpPr>
            <p:spPr>
              <a:xfrm>
                <a:off x="14575377" y="11963506"/>
                <a:ext cx="458272" cy="319608"/>
              </a:xfrm>
              <a:custGeom>
                <a:avLst/>
                <a:gdLst>
                  <a:gd name="connsiteX0" fmla="*/ 295713 w 458272"/>
                  <a:gd name="connsiteY0" fmla="*/ 319515 h 319608"/>
                  <a:gd name="connsiteX1" fmla="*/ 450424 w 458272"/>
                  <a:gd name="connsiteY1" fmla="*/ 185630 h 319608"/>
                  <a:gd name="connsiteX2" fmla="*/ 450424 w 458272"/>
                  <a:gd name="connsiteY2" fmla="*/ 75547 h 319608"/>
                  <a:gd name="connsiteX3" fmla="*/ 146952 w 458272"/>
                  <a:gd name="connsiteY3" fmla="*/ 81498 h 319608"/>
                  <a:gd name="connsiteX4" fmla="*/ 99349 w 458272"/>
                  <a:gd name="connsiteY4" fmla="*/ 7118 h 319608"/>
                  <a:gd name="connsiteX5" fmla="*/ 84473 w 458272"/>
                  <a:gd name="connsiteY5" fmla="*/ 1167 h 319608"/>
                  <a:gd name="connsiteX6" fmla="*/ 7118 w 458272"/>
                  <a:gd name="connsiteY6" fmla="*/ 33895 h 319608"/>
                  <a:gd name="connsiteX7" fmla="*/ 1167 w 458272"/>
                  <a:gd name="connsiteY7" fmla="*/ 48771 h 319608"/>
                  <a:gd name="connsiteX8" fmla="*/ 21994 w 458272"/>
                  <a:gd name="connsiteY8" fmla="*/ 102324 h 319608"/>
                  <a:gd name="connsiteX9" fmla="*/ 27944 w 458272"/>
                  <a:gd name="connsiteY9" fmla="*/ 120176 h 319608"/>
                  <a:gd name="connsiteX10" fmla="*/ 295713 w 458272"/>
                  <a:gd name="connsiteY10" fmla="*/ 319515 h 319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58272" h="319608">
                    <a:moveTo>
                      <a:pt x="295713" y="319515"/>
                    </a:moveTo>
                    <a:cubicBezTo>
                      <a:pt x="381993" y="322489"/>
                      <a:pt x="432572" y="254060"/>
                      <a:pt x="450424" y="185630"/>
                    </a:cubicBezTo>
                    <a:cubicBezTo>
                      <a:pt x="462324" y="143977"/>
                      <a:pt x="459349" y="102324"/>
                      <a:pt x="450424" y="75547"/>
                    </a:cubicBezTo>
                    <a:cubicBezTo>
                      <a:pt x="417696" y="4143"/>
                      <a:pt x="167779" y="87448"/>
                      <a:pt x="146952" y="81498"/>
                    </a:cubicBezTo>
                    <a:cubicBezTo>
                      <a:pt x="132076" y="75547"/>
                      <a:pt x="108275" y="27944"/>
                      <a:pt x="99349" y="7118"/>
                    </a:cubicBezTo>
                    <a:cubicBezTo>
                      <a:pt x="96374" y="1167"/>
                      <a:pt x="90423" y="-1808"/>
                      <a:pt x="84473" y="1167"/>
                    </a:cubicBezTo>
                    <a:lnTo>
                      <a:pt x="7118" y="33895"/>
                    </a:lnTo>
                    <a:cubicBezTo>
                      <a:pt x="1167" y="36870"/>
                      <a:pt x="-1808" y="42820"/>
                      <a:pt x="1167" y="48771"/>
                    </a:cubicBezTo>
                    <a:cubicBezTo>
                      <a:pt x="7118" y="60671"/>
                      <a:pt x="13068" y="81498"/>
                      <a:pt x="21994" y="102324"/>
                    </a:cubicBezTo>
                    <a:cubicBezTo>
                      <a:pt x="24969" y="108275"/>
                      <a:pt x="24969" y="114225"/>
                      <a:pt x="27944" y="120176"/>
                    </a:cubicBezTo>
                    <a:cubicBezTo>
                      <a:pt x="39845" y="155878"/>
                      <a:pt x="135052" y="313564"/>
                      <a:pt x="295713" y="319515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97A274F7-CD14-492F-AE13-C0E321014225}"/>
                  </a:ext>
                </a:extLst>
              </p:cNvPr>
              <p:cNvSpPr/>
              <p:nvPr/>
            </p:nvSpPr>
            <p:spPr>
              <a:xfrm>
                <a:off x="13698003" y="9880882"/>
                <a:ext cx="274573" cy="463851"/>
              </a:xfrm>
              <a:custGeom>
                <a:avLst/>
                <a:gdLst>
                  <a:gd name="connsiteX0" fmla="*/ 9780 w 274573"/>
                  <a:gd name="connsiteY0" fmla="*/ 102304 h 463851"/>
                  <a:gd name="connsiteX1" fmla="*/ 167467 w 274573"/>
                  <a:gd name="connsiteY1" fmla="*/ 438502 h 463851"/>
                  <a:gd name="connsiteX2" fmla="*/ 203169 w 274573"/>
                  <a:gd name="connsiteY2" fmla="*/ 462304 h 463851"/>
                  <a:gd name="connsiteX3" fmla="*/ 262673 w 274573"/>
                  <a:gd name="connsiteY3" fmla="*/ 438502 h 463851"/>
                  <a:gd name="connsiteX4" fmla="*/ 271599 w 274573"/>
                  <a:gd name="connsiteY4" fmla="*/ 393874 h 463851"/>
                  <a:gd name="connsiteX5" fmla="*/ 149615 w 274573"/>
                  <a:gd name="connsiteY5" fmla="*/ 39824 h 463851"/>
                  <a:gd name="connsiteX6" fmla="*/ 107963 w 274573"/>
                  <a:gd name="connsiteY6" fmla="*/ 1147 h 463851"/>
                  <a:gd name="connsiteX7" fmla="*/ 12756 w 274573"/>
                  <a:gd name="connsiteY7" fmla="*/ 39824 h 463851"/>
                  <a:gd name="connsiteX8" fmla="*/ 9780 w 274573"/>
                  <a:gd name="connsiteY8" fmla="*/ 102304 h 463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4573" h="463851">
                    <a:moveTo>
                      <a:pt x="9780" y="102304"/>
                    </a:moveTo>
                    <a:lnTo>
                      <a:pt x="167467" y="438502"/>
                    </a:lnTo>
                    <a:cubicBezTo>
                      <a:pt x="176392" y="456353"/>
                      <a:pt x="194243" y="468255"/>
                      <a:pt x="203169" y="462304"/>
                    </a:cubicBezTo>
                    <a:lnTo>
                      <a:pt x="262673" y="438502"/>
                    </a:lnTo>
                    <a:cubicBezTo>
                      <a:pt x="274574" y="432552"/>
                      <a:pt x="277549" y="414700"/>
                      <a:pt x="271599" y="393874"/>
                    </a:cubicBezTo>
                    <a:lnTo>
                      <a:pt x="149615" y="39824"/>
                    </a:lnTo>
                    <a:cubicBezTo>
                      <a:pt x="140690" y="13047"/>
                      <a:pt x="122839" y="-4804"/>
                      <a:pt x="107963" y="1147"/>
                    </a:cubicBezTo>
                    <a:lnTo>
                      <a:pt x="12756" y="39824"/>
                    </a:lnTo>
                    <a:cubicBezTo>
                      <a:pt x="-2120" y="48750"/>
                      <a:pt x="-5096" y="78502"/>
                      <a:pt x="9780" y="102304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B30D729E-A98F-4B31-925C-F573ED82F021}"/>
                  </a:ext>
                </a:extLst>
              </p:cNvPr>
              <p:cNvSpPr/>
              <p:nvPr/>
            </p:nvSpPr>
            <p:spPr>
              <a:xfrm>
                <a:off x="14597371" y="12062855"/>
                <a:ext cx="428429" cy="220259"/>
              </a:xfrm>
              <a:custGeom>
                <a:avLst/>
                <a:gdLst>
                  <a:gd name="connsiteX0" fmla="*/ 273718 w 428429"/>
                  <a:gd name="connsiteY0" fmla="*/ 220166 h 220259"/>
                  <a:gd name="connsiteX1" fmla="*/ 428430 w 428429"/>
                  <a:gd name="connsiteY1" fmla="*/ 86282 h 220259"/>
                  <a:gd name="connsiteX2" fmla="*/ 395702 w 428429"/>
                  <a:gd name="connsiteY2" fmla="*/ 92232 h 220259"/>
                  <a:gd name="connsiteX3" fmla="*/ 0 w 428429"/>
                  <a:gd name="connsiteY3" fmla="*/ 0 h 220259"/>
                  <a:gd name="connsiteX4" fmla="*/ 5950 w 428429"/>
                  <a:gd name="connsiteY4" fmla="*/ 17851 h 220259"/>
                  <a:gd name="connsiteX5" fmla="*/ 273718 w 428429"/>
                  <a:gd name="connsiteY5" fmla="*/ 220166 h 220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8429" h="220259">
                    <a:moveTo>
                      <a:pt x="273718" y="220166"/>
                    </a:moveTo>
                    <a:cubicBezTo>
                      <a:pt x="359999" y="223141"/>
                      <a:pt x="410578" y="154711"/>
                      <a:pt x="428430" y="86282"/>
                    </a:cubicBezTo>
                    <a:cubicBezTo>
                      <a:pt x="419503" y="86282"/>
                      <a:pt x="407603" y="86282"/>
                      <a:pt x="395702" y="92232"/>
                    </a:cubicBezTo>
                    <a:cubicBezTo>
                      <a:pt x="264793" y="142810"/>
                      <a:pt x="107107" y="136860"/>
                      <a:pt x="0" y="0"/>
                    </a:cubicBezTo>
                    <a:cubicBezTo>
                      <a:pt x="2974" y="5951"/>
                      <a:pt x="2974" y="11902"/>
                      <a:pt x="5950" y="17851"/>
                    </a:cubicBezTo>
                    <a:cubicBezTo>
                      <a:pt x="17851" y="56530"/>
                      <a:pt x="113057" y="214215"/>
                      <a:pt x="273718" y="220166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B7C3025D-0215-4904-BF8B-A6436276FB92}"/>
                  </a:ext>
                </a:extLst>
              </p:cNvPr>
              <p:cNvSpPr/>
              <p:nvPr/>
            </p:nvSpPr>
            <p:spPr>
              <a:xfrm>
                <a:off x="13698003" y="9917732"/>
                <a:ext cx="223995" cy="427002"/>
              </a:xfrm>
              <a:custGeom>
                <a:avLst/>
                <a:gdLst>
                  <a:gd name="connsiteX0" fmla="*/ 9780 w 223995"/>
                  <a:gd name="connsiteY0" fmla="*/ 65454 h 427002"/>
                  <a:gd name="connsiteX1" fmla="*/ 167467 w 223995"/>
                  <a:gd name="connsiteY1" fmla="*/ 401653 h 427002"/>
                  <a:gd name="connsiteX2" fmla="*/ 203169 w 223995"/>
                  <a:gd name="connsiteY2" fmla="*/ 425454 h 427002"/>
                  <a:gd name="connsiteX3" fmla="*/ 223995 w 223995"/>
                  <a:gd name="connsiteY3" fmla="*/ 416529 h 427002"/>
                  <a:gd name="connsiteX4" fmla="*/ 24656 w 223995"/>
                  <a:gd name="connsiteY4" fmla="*/ 0 h 427002"/>
                  <a:gd name="connsiteX5" fmla="*/ 12756 w 223995"/>
                  <a:gd name="connsiteY5" fmla="*/ 5950 h 427002"/>
                  <a:gd name="connsiteX6" fmla="*/ 9780 w 223995"/>
                  <a:gd name="connsiteY6" fmla="*/ 65454 h 427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3995" h="427002">
                    <a:moveTo>
                      <a:pt x="9780" y="65454"/>
                    </a:moveTo>
                    <a:lnTo>
                      <a:pt x="167467" y="401653"/>
                    </a:lnTo>
                    <a:cubicBezTo>
                      <a:pt x="176392" y="419503"/>
                      <a:pt x="194243" y="431405"/>
                      <a:pt x="203169" y="425454"/>
                    </a:cubicBezTo>
                    <a:lnTo>
                      <a:pt x="223995" y="416529"/>
                    </a:lnTo>
                    <a:lnTo>
                      <a:pt x="24656" y="0"/>
                    </a:lnTo>
                    <a:lnTo>
                      <a:pt x="12756" y="5950"/>
                    </a:lnTo>
                    <a:cubicBezTo>
                      <a:pt x="-2120" y="11901"/>
                      <a:pt x="-5096" y="41653"/>
                      <a:pt x="9780" y="65454"/>
                    </a:cubicBezTo>
                    <a:close/>
                  </a:path>
                </a:pathLst>
              </a:custGeom>
              <a:solidFill>
                <a:srgbClr val="38333D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9" name="图形 1">
              <a:extLst>
                <a:ext uri="{FF2B5EF4-FFF2-40B4-BE49-F238E27FC236}">
                  <a16:creationId xmlns:a16="http://schemas.microsoft.com/office/drawing/2014/main" id="{FA5E584B-C3DB-4F77-B6EB-7D774B4B1447}"/>
                </a:ext>
              </a:extLst>
            </p:cNvPr>
            <p:cNvGrpSpPr/>
            <p:nvPr/>
          </p:nvGrpSpPr>
          <p:grpSpPr>
            <a:xfrm>
              <a:off x="15215422" y="12092607"/>
              <a:ext cx="263725" cy="419504"/>
              <a:chOff x="15215422" y="12092607"/>
              <a:chExt cx="263725" cy="419504"/>
            </a:xfrm>
          </p:grpSpPr>
          <p:grpSp>
            <p:nvGrpSpPr>
              <p:cNvPr id="132" name="图形 1">
                <a:extLst>
                  <a:ext uri="{FF2B5EF4-FFF2-40B4-BE49-F238E27FC236}">
                    <a16:creationId xmlns:a16="http://schemas.microsoft.com/office/drawing/2014/main" id="{6B285198-06D8-4CD8-A6C0-FAABD8CD4617}"/>
                  </a:ext>
                </a:extLst>
              </p:cNvPr>
              <p:cNvGrpSpPr/>
              <p:nvPr/>
            </p:nvGrpSpPr>
            <p:grpSpPr>
              <a:xfrm>
                <a:off x="15219189" y="12092607"/>
                <a:ext cx="255867" cy="255867"/>
                <a:chOff x="15219189" y="12092607"/>
                <a:chExt cx="255867" cy="255867"/>
              </a:xfrm>
            </p:grpSpPr>
            <p:sp>
              <p:nvSpPr>
                <p:cNvPr id="134" name="任意多边形: 形状 133">
                  <a:extLst>
                    <a:ext uri="{FF2B5EF4-FFF2-40B4-BE49-F238E27FC236}">
                      <a16:creationId xmlns:a16="http://schemas.microsoft.com/office/drawing/2014/main" id="{CE4642D4-CE69-4B39-AD2F-A9854E3150FA}"/>
                    </a:ext>
                  </a:extLst>
                </p:cNvPr>
                <p:cNvSpPr/>
                <p:nvPr/>
              </p:nvSpPr>
              <p:spPr>
                <a:xfrm>
                  <a:off x="15219189" y="12092607"/>
                  <a:ext cx="255867" cy="255867"/>
                </a:xfrm>
                <a:custGeom>
                  <a:avLst/>
                  <a:gdLst>
                    <a:gd name="connsiteX0" fmla="*/ 0 w 255867"/>
                    <a:gd name="connsiteY0" fmla="*/ 127934 h 255867"/>
                    <a:gd name="connsiteX1" fmla="*/ 127934 w 255867"/>
                    <a:gd name="connsiteY1" fmla="*/ 255868 h 255867"/>
                    <a:gd name="connsiteX2" fmla="*/ 255868 w 255867"/>
                    <a:gd name="connsiteY2" fmla="*/ 127934 h 255867"/>
                    <a:gd name="connsiteX3" fmla="*/ 127934 w 255867"/>
                    <a:gd name="connsiteY3" fmla="*/ 0 h 255867"/>
                    <a:gd name="connsiteX4" fmla="*/ 0 w 255867"/>
                    <a:gd name="connsiteY4" fmla="*/ 127934 h 2558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5867" h="255867">
                      <a:moveTo>
                        <a:pt x="0" y="127934"/>
                      </a:moveTo>
                      <a:cubicBezTo>
                        <a:pt x="0" y="199339"/>
                        <a:pt x="56529" y="255868"/>
                        <a:pt x="127934" y="255868"/>
                      </a:cubicBezTo>
                      <a:cubicBezTo>
                        <a:pt x="199338" y="255868"/>
                        <a:pt x="255868" y="199339"/>
                        <a:pt x="255868" y="127934"/>
                      </a:cubicBezTo>
                      <a:cubicBezTo>
                        <a:pt x="255868" y="56530"/>
                        <a:pt x="199338" y="0"/>
                        <a:pt x="127934" y="0"/>
                      </a:cubicBezTo>
                      <a:cubicBezTo>
                        <a:pt x="56529" y="2975"/>
                        <a:pt x="0" y="59504"/>
                        <a:pt x="0" y="127934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35" name="图形 1">
                  <a:extLst>
                    <a:ext uri="{FF2B5EF4-FFF2-40B4-BE49-F238E27FC236}">
                      <a16:creationId xmlns:a16="http://schemas.microsoft.com/office/drawing/2014/main" id="{1E313D5E-CA8B-4605-B85B-04E4ADA0E876}"/>
                    </a:ext>
                  </a:extLst>
                </p:cNvPr>
                <p:cNvGrpSpPr/>
                <p:nvPr/>
              </p:nvGrpSpPr>
              <p:grpSpPr>
                <a:xfrm>
                  <a:off x="15232577" y="12110458"/>
                  <a:ext cx="217190" cy="223140"/>
                  <a:chOff x="15232577" y="12110458"/>
                  <a:chExt cx="217190" cy="223140"/>
                </a:xfrm>
                <a:solidFill>
                  <a:srgbClr val="E5D8D8"/>
                </a:solidFill>
              </p:grpSpPr>
              <p:sp>
                <p:nvSpPr>
                  <p:cNvPr id="136" name="任意多边形: 形状 135">
                    <a:extLst>
                      <a:ext uri="{FF2B5EF4-FFF2-40B4-BE49-F238E27FC236}">
                        <a16:creationId xmlns:a16="http://schemas.microsoft.com/office/drawing/2014/main" id="{A31C476D-102A-4CFA-A8DB-37C27582336C}"/>
                      </a:ext>
                    </a:extLst>
                  </p:cNvPr>
                  <p:cNvSpPr/>
                  <p:nvPr/>
                </p:nvSpPr>
                <p:spPr>
                  <a:xfrm>
                    <a:off x="15333734" y="12110458"/>
                    <a:ext cx="26777" cy="26776"/>
                  </a:xfrm>
                  <a:custGeom>
                    <a:avLst/>
                    <a:gdLst>
                      <a:gd name="connsiteX0" fmla="*/ 13389 w 26777"/>
                      <a:gd name="connsiteY0" fmla="*/ 0 h 26776"/>
                      <a:gd name="connsiteX1" fmla="*/ 13389 w 26777"/>
                      <a:gd name="connsiteY1" fmla="*/ 26777 h 26776"/>
                      <a:gd name="connsiteX2" fmla="*/ 13389 w 26777"/>
                      <a:gd name="connsiteY2" fmla="*/ 0 h 26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776">
                        <a:moveTo>
                          <a:pt x="13389" y="0"/>
                        </a:moveTo>
                        <a:cubicBezTo>
                          <a:pt x="31240" y="0"/>
                          <a:pt x="31240" y="26777"/>
                          <a:pt x="13389" y="26777"/>
                        </a:cubicBezTo>
                        <a:cubicBezTo>
                          <a:pt x="-4463" y="26777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" name="任意多边形: 形状 136">
                    <a:extLst>
                      <a:ext uri="{FF2B5EF4-FFF2-40B4-BE49-F238E27FC236}">
                        <a16:creationId xmlns:a16="http://schemas.microsoft.com/office/drawing/2014/main" id="{BF8081FB-B0BE-4C63-A380-E69747F0B962}"/>
                      </a:ext>
                    </a:extLst>
                  </p:cNvPr>
                  <p:cNvSpPr/>
                  <p:nvPr/>
                </p:nvSpPr>
                <p:spPr>
                  <a:xfrm>
                    <a:off x="15390263" y="12131285"/>
                    <a:ext cx="26776" cy="26985"/>
                  </a:xfrm>
                  <a:custGeom>
                    <a:avLst/>
                    <a:gdLst>
                      <a:gd name="connsiteX0" fmla="*/ 13388 w 26776"/>
                      <a:gd name="connsiteY0" fmla="*/ 0 h 26985"/>
                      <a:gd name="connsiteX1" fmla="*/ 13388 w 26776"/>
                      <a:gd name="connsiteY1" fmla="*/ 26777 h 26985"/>
                      <a:gd name="connsiteX2" fmla="*/ 13388 w 26776"/>
                      <a:gd name="connsiteY2" fmla="*/ 0 h 269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6" h="26985">
                        <a:moveTo>
                          <a:pt x="13388" y="0"/>
                        </a:moveTo>
                        <a:cubicBezTo>
                          <a:pt x="31239" y="0"/>
                          <a:pt x="31239" y="26777"/>
                          <a:pt x="13388" y="26777"/>
                        </a:cubicBezTo>
                        <a:cubicBezTo>
                          <a:pt x="-4463" y="29752"/>
                          <a:pt x="-4463" y="0"/>
                          <a:pt x="13388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" name="任意多边形: 形状 137">
                    <a:extLst>
                      <a:ext uri="{FF2B5EF4-FFF2-40B4-BE49-F238E27FC236}">
                        <a16:creationId xmlns:a16="http://schemas.microsoft.com/office/drawing/2014/main" id="{8CBE7B94-B06E-4B59-B92C-F922D8016EE7}"/>
                      </a:ext>
                    </a:extLst>
                  </p:cNvPr>
                  <p:cNvSpPr/>
                  <p:nvPr/>
                </p:nvSpPr>
                <p:spPr>
                  <a:xfrm>
                    <a:off x="15417040" y="12175913"/>
                    <a:ext cx="26776" cy="26776"/>
                  </a:xfrm>
                  <a:custGeom>
                    <a:avLst/>
                    <a:gdLst>
                      <a:gd name="connsiteX0" fmla="*/ 13389 w 26776"/>
                      <a:gd name="connsiteY0" fmla="*/ 0 h 26776"/>
                      <a:gd name="connsiteX1" fmla="*/ 13389 w 26776"/>
                      <a:gd name="connsiteY1" fmla="*/ 26777 h 26776"/>
                      <a:gd name="connsiteX2" fmla="*/ 13389 w 26776"/>
                      <a:gd name="connsiteY2" fmla="*/ 0 h 26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6" h="26776">
                        <a:moveTo>
                          <a:pt x="13389" y="0"/>
                        </a:moveTo>
                        <a:cubicBezTo>
                          <a:pt x="31239" y="0"/>
                          <a:pt x="31239" y="26777"/>
                          <a:pt x="13389" y="26777"/>
                        </a:cubicBezTo>
                        <a:cubicBezTo>
                          <a:pt x="-4463" y="26777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" name="任意多边形: 形状 138">
                    <a:extLst>
                      <a:ext uri="{FF2B5EF4-FFF2-40B4-BE49-F238E27FC236}">
                        <a16:creationId xmlns:a16="http://schemas.microsoft.com/office/drawing/2014/main" id="{B1B99E47-E9B3-460D-A970-05392BF162EA}"/>
                      </a:ext>
                    </a:extLst>
                  </p:cNvPr>
                  <p:cNvSpPr/>
                  <p:nvPr/>
                </p:nvSpPr>
                <p:spPr>
                  <a:xfrm>
                    <a:off x="15422990" y="12229467"/>
                    <a:ext cx="26777" cy="26776"/>
                  </a:xfrm>
                  <a:custGeom>
                    <a:avLst/>
                    <a:gdLst>
                      <a:gd name="connsiteX0" fmla="*/ 13389 w 26777"/>
                      <a:gd name="connsiteY0" fmla="*/ 0 h 26776"/>
                      <a:gd name="connsiteX1" fmla="*/ 13389 w 26777"/>
                      <a:gd name="connsiteY1" fmla="*/ 26777 h 26776"/>
                      <a:gd name="connsiteX2" fmla="*/ 13389 w 26777"/>
                      <a:gd name="connsiteY2" fmla="*/ 0 h 26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776">
                        <a:moveTo>
                          <a:pt x="13389" y="0"/>
                        </a:moveTo>
                        <a:cubicBezTo>
                          <a:pt x="31240" y="0"/>
                          <a:pt x="31240" y="26777"/>
                          <a:pt x="13389" y="26777"/>
                        </a:cubicBezTo>
                        <a:cubicBezTo>
                          <a:pt x="-4463" y="26777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" name="任意多边形: 形状 139">
                    <a:extLst>
                      <a:ext uri="{FF2B5EF4-FFF2-40B4-BE49-F238E27FC236}">
                        <a16:creationId xmlns:a16="http://schemas.microsoft.com/office/drawing/2014/main" id="{47F20580-5815-48C1-A813-1B1C5B68F8DE}"/>
                      </a:ext>
                    </a:extLst>
                  </p:cNvPr>
                  <p:cNvSpPr/>
                  <p:nvPr/>
                </p:nvSpPr>
                <p:spPr>
                  <a:xfrm>
                    <a:off x="15399189" y="12280045"/>
                    <a:ext cx="26777" cy="26776"/>
                  </a:xfrm>
                  <a:custGeom>
                    <a:avLst/>
                    <a:gdLst>
                      <a:gd name="connsiteX0" fmla="*/ 13389 w 26777"/>
                      <a:gd name="connsiteY0" fmla="*/ 0 h 26776"/>
                      <a:gd name="connsiteX1" fmla="*/ 13389 w 26777"/>
                      <a:gd name="connsiteY1" fmla="*/ 26777 h 26776"/>
                      <a:gd name="connsiteX2" fmla="*/ 13389 w 26777"/>
                      <a:gd name="connsiteY2" fmla="*/ 0 h 26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776">
                        <a:moveTo>
                          <a:pt x="13389" y="0"/>
                        </a:moveTo>
                        <a:cubicBezTo>
                          <a:pt x="31240" y="0"/>
                          <a:pt x="31240" y="26777"/>
                          <a:pt x="13389" y="26777"/>
                        </a:cubicBezTo>
                        <a:cubicBezTo>
                          <a:pt x="-4463" y="26777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" name="任意多边形: 形状 140">
                    <a:extLst>
                      <a:ext uri="{FF2B5EF4-FFF2-40B4-BE49-F238E27FC236}">
                        <a16:creationId xmlns:a16="http://schemas.microsoft.com/office/drawing/2014/main" id="{B55D98E0-6E13-495A-B02A-4E94F515590F}"/>
                      </a:ext>
                    </a:extLst>
                  </p:cNvPr>
                  <p:cNvSpPr/>
                  <p:nvPr/>
                </p:nvSpPr>
                <p:spPr>
                  <a:xfrm>
                    <a:off x="15351585" y="12306822"/>
                    <a:ext cx="26777" cy="26776"/>
                  </a:xfrm>
                  <a:custGeom>
                    <a:avLst/>
                    <a:gdLst>
                      <a:gd name="connsiteX0" fmla="*/ 13389 w 26777"/>
                      <a:gd name="connsiteY0" fmla="*/ 0 h 26776"/>
                      <a:gd name="connsiteX1" fmla="*/ 13389 w 26777"/>
                      <a:gd name="connsiteY1" fmla="*/ 26777 h 26776"/>
                      <a:gd name="connsiteX2" fmla="*/ 13389 w 26777"/>
                      <a:gd name="connsiteY2" fmla="*/ 0 h 26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776">
                        <a:moveTo>
                          <a:pt x="13389" y="0"/>
                        </a:moveTo>
                        <a:cubicBezTo>
                          <a:pt x="31240" y="0"/>
                          <a:pt x="31240" y="26777"/>
                          <a:pt x="13389" y="26777"/>
                        </a:cubicBezTo>
                        <a:cubicBezTo>
                          <a:pt x="-4463" y="26777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" name="任意多边形: 形状 141">
                    <a:extLst>
                      <a:ext uri="{FF2B5EF4-FFF2-40B4-BE49-F238E27FC236}">
                        <a16:creationId xmlns:a16="http://schemas.microsoft.com/office/drawing/2014/main" id="{EA03CA53-4D78-436E-9A05-F2D0DD863590}"/>
                      </a:ext>
                    </a:extLst>
                  </p:cNvPr>
                  <p:cNvSpPr/>
                  <p:nvPr/>
                </p:nvSpPr>
                <p:spPr>
                  <a:xfrm>
                    <a:off x="15295056" y="12300871"/>
                    <a:ext cx="26777" cy="26777"/>
                  </a:xfrm>
                  <a:custGeom>
                    <a:avLst/>
                    <a:gdLst>
                      <a:gd name="connsiteX0" fmla="*/ 13389 w 26777"/>
                      <a:gd name="connsiteY0" fmla="*/ 0 h 26777"/>
                      <a:gd name="connsiteX1" fmla="*/ 13389 w 26777"/>
                      <a:gd name="connsiteY1" fmla="*/ 26778 h 26777"/>
                      <a:gd name="connsiteX2" fmla="*/ 13389 w 26777"/>
                      <a:gd name="connsiteY2" fmla="*/ 0 h 267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777">
                        <a:moveTo>
                          <a:pt x="13389" y="0"/>
                        </a:moveTo>
                        <a:cubicBezTo>
                          <a:pt x="31240" y="0"/>
                          <a:pt x="31240" y="26778"/>
                          <a:pt x="13389" y="26778"/>
                        </a:cubicBezTo>
                        <a:cubicBezTo>
                          <a:pt x="-4463" y="26778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" name="任意多边形: 形状 142">
                    <a:extLst>
                      <a:ext uri="{FF2B5EF4-FFF2-40B4-BE49-F238E27FC236}">
                        <a16:creationId xmlns:a16="http://schemas.microsoft.com/office/drawing/2014/main" id="{645625D5-EAE9-49B0-B8BD-B885CAF97544}"/>
                      </a:ext>
                    </a:extLst>
                  </p:cNvPr>
                  <p:cNvSpPr/>
                  <p:nvPr/>
                </p:nvSpPr>
                <p:spPr>
                  <a:xfrm>
                    <a:off x="15253404" y="12268145"/>
                    <a:ext cx="26776" cy="26776"/>
                  </a:xfrm>
                  <a:custGeom>
                    <a:avLst/>
                    <a:gdLst>
                      <a:gd name="connsiteX0" fmla="*/ 13389 w 26776"/>
                      <a:gd name="connsiteY0" fmla="*/ 0 h 26776"/>
                      <a:gd name="connsiteX1" fmla="*/ 13389 w 26776"/>
                      <a:gd name="connsiteY1" fmla="*/ 26777 h 26776"/>
                      <a:gd name="connsiteX2" fmla="*/ 13389 w 26776"/>
                      <a:gd name="connsiteY2" fmla="*/ 0 h 26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6" h="26776">
                        <a:moveTo>
                          <a:pt x="13389" y="0"/>
                        </a:moveTo>
                        <a:cubicBezTo>
                          <a:pt x="31239" y="0"/>
                          <a:pt x="31239" y="26777"/>
                          <a:pt x="13389" y="26777"/>
                        </a:cubicBezTo>
                        <a:cubicBezTo>
                          <a:pt x="-4463" y="26777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" name="任意多边形: 形状 143">
                    <a:extLst>
                      <a:ext uri="{FF2B5EF4-FFF2-40B4-BE49-F238E27FC236}">
                        <a16:creationId xmlns:a16="http://schemas.microsoft.com/office/drawing/2014/main" id="{B231E33C-7449-49E2-A626-122015F86C4A}"/>
                      </a:ext>
                    </a:extLst>
                  </p:cNvPr>
                  <p:cNvSpPr/>
                  <p:nvPr/>
                </p:nvSpPr>
                <p:spPr>
                  <a:xfrm>
                    <a:off x="15232577" y="12217566"/>
                    <a:ext cx="26777" cy="26985"/>
                  </a:xfrm>
                  <a:custGeom>
                    <a:avLst/>
                    <a:gdLst>
                      <a:gd name="connsiteX0" fmla="*/ 13389 w 26777"/>
                      <a:gd name="connsiteY0" fmla="*/ 0 h 26985"/>
                      <a:gd name="connsiteX1" fmla="*/ 13389 w 26777"/>
                      <a:gd name="connsiteY1" fmla="*/ 26777 h 26985"/>
                      <a:gd name="connsiteX2" fmla="*/ 13389 w 26777"/>
                      <a:gd name="connsiteY2" fmla="*/ 0 h 269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985">
                        <a:moveTo>
                          <a:pt x="13389" y="0"/>
                        </a:moveTo>
                        <a:cubicBezTo>
                          <a:pt x="31240" y="0"/>
                          <a:pt x="31240" y="26777"/>
                          <a:pt x="13389" y="26777"/>
                        </a:cubicBezTo>
                        <a:cubicBezTo>
                          <a:pt x="-4463" y="29752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" name="任意多边形: 形状 144">
                    <a:extLst>
                      <a:ext uri="{FF2B5EF4-FFF2-40B4-BE49-F238E27FC236}">
                        <a16:creationId xmlns:a16="http://schemas.microsoft.com/office/drawing/2014/main" id="{E19F7243-B789-4DEC-9E1D-706613B5669B}"/>
                      </a:ext>
                    </a:extLst>
                  </p:cNvPr>
                  <p:cNvSpPr/>
                  <p:nvPr/>
                </p:nvSpPr>
                <p:spPr>
                  <a:xfrm>
                    <a:off x="15250428" y="12175913"/>
                    <a:ext cx="26777" cy="26985"/>
                  </a:xfrm>
                  <a:custGeom>
                    <a:avLst/>
                    <a:gdLst>
                      <a:gd name="connsiteX0" fmla="*/ 13389 w 26777"/>
                      <a:gd name="connsiteY0" fmla="*/ 0 h 26985"/>
                      <a:gd name="connsiteX1" fmla="*/ 13389 w 26777"/>
                      <a:gd name="connsiteY1" fmla="*/ 26777 h 26985"/>
                      <a:gd name="connsiteX2" fmla="*/ 13389 w 26777"/>
                      <a:gd name="connsiteY2" fmla="*/ 0 h 269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985">
                        <a:moveTo>
                          <a:pt x="13389" y="0"/>
                        </a:moveTo>
                        <a:cubicBezTo>
                          <a:pt x="31240" y="0"/>
                          <a:pt x="31240" y="26777"/>
                          <a:pt x="13389" y="26777"/>
                        </a:cubicBezTo>
                        <a:cubicBezTo>
                          <a:pt x="-4463" y="29752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" name="任意多边形: 形状 145">
                    <a:extLst>
                      <a:ext uri="{FF2B5EF4-FFF2-40B4-BE49-F238E27FC236}">
                        <a16:creationId xmlns:a16="http://schemas.microsoft.com/office/drawing/2014/main" id="{EDE2CD16-624B-4A2C-995D-D5FB1269F233}"/>
                      </a:ext>
                    </a:extLst>
                  </p:cNvPr>
                  <p:cNvSpPr/>
                  <p:nvPr/>
                </p:nvSpPr>
                <p:spPr>
                  <a:xfrm>
                    <a:off x="15283156" y="12131285"/>
                    <a:ext cx="26776" cy="26985"/>
                  </a:xfrm>
                  <a:custGeom>
                    <a:avLst/>
                    <a:gdLst>
                      <a:gd name="connsiteX0" fmla="*/ 13389 w 26776"/>
                      <a:gd name="connsiteY0" fmla="*/ 0 h 26985"/>
                      <a:gd name="connsiteX1" fmla="*/ 13389 w 26776"/>
                      <a:gd name="connsiteY1" fmla="*/ 26777 h 26985"/>
                      <a:gd name="connsiteX2" fmla="*/ 13389 w 26776"/>
                      <a:gd name="connsiteY2" fmla="*/ 0 h 269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6" h="26985">
                        <a:moveTo>
                          <a:pt x="13389" y="0"/>
                        </a:moveTo>
                        <a:cubicBezTo>
                          <a:pt x="31239" y="0"/>
                          <a:pt x="31239" y="26777"/>
                          <a:pt x="13389" y="26777"/>
                        </a:cubicBezTo>
                        <a:cubicBezTo>
                          <a:pt x="-4463" y="29752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" name="任意多边形: 形状 146">
                    <a:extLst>
                      <a:ext uri="{FF2B5EF4-FFF2-40B4-BE49-F238E27FC236}">
                        <a16:creationId xmlns:a16="http://schemas.microsoft.com/office/drawing/2014/main" id="{016D99F1-1362-47DD-B39B-704D30E3CEEC}"/>
                      </a:ext>
                    </a:extLst>
                  </p:cNvPr>
                  <p:cNvSpPr/>
                  <p:nvPr/>
                </p:nvSpPr>
                <p:spPr>
                  <a:xfrm>
                    <a:off x="15351585" y="12158062"/>
                    <a:ext cx="26777" cy="26985"/>
                  </a:xfrm>
                  <a:custGeom>
                    <a:avLst/>
                    <a:gdLst>
                      <a:gd name="connsiteX0" fmla="*/ 13389 w 26777"/>
                      <a:gd name="connsiteY0" fmla="*/ 0 h 26985"/>
                      <a:gd name="connsiteX1" fmla="*/ 13389 w 26777"/>
                      <a:gd name="connsiteY1" fmla="*/ 26777 h 26985"/>
                      <a:gd name="connsiteX2" fmla="*/ 13389 w 26777"/>
                      <a:gd name="connsiteY2" fmla="*/ 0 h 269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985">
                        <a:moveTo>
                          <a:pt x="13389" y="0"/>
                        </a:moveTo>
                        <a:cubicBezTo>
                          <a:pt x="31240" y="0"/>
                          <a:pt x="31240" y="26777"/>
                          <a:pt x="13389" y="26777"/>
                        </a:cubicBezTo>
                        <a:cubicBezTo>
                          <a:pt x="-4463" y="29752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8" name="任意多边形: 形状 147">
                    <a:extLst>
                      <a:ext uri="{FF2B5EF4-FFF2-40B4-BE49-F238E27FC236}">
                        <a16:creationId xmlns:a16="http://schemas.microsoft.com/office/drawing/2014/main" id="{CDC7CB52-F6EC-4E03-AF71-C526BA7EDA40}"/>
                      </a:ext>
                    </a:extLst>
                  </p:cNvPr>
                  <p:cNvSpPr/>
                  <p:nvPr/>
                </p:nvSpPr>
                <p:spPr>
                  <a:xfrm>
                    <a:off x="15381337" y="12208641"/>
                    <a:ext cx="26777" cy="26985"/>
                  </a:xfrm>
                  <a:custGeom>
                    <a:avLst/>
                    <a:gdLst>
                      <a:gd name="connsiteX0" fmla="*/ 13389 w 26777"/>
                      <a:gd name="connsiteY0" fmla="*/ 0 h 26985"/>
                      <a:gd name="connsiteX1" fmla="*/ 13389 w 26777"/>
                      <a:gd name="connsiteY1" fmla="*/ 26777 h 26985"/>
                      <a:gd name="connsiteX2" fmla="*/ 13389 w 26777"/>
                      <a:gd name="connsiteY2" fmla="*/ 0 h 269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985">
                        <a:moveTo>
                          <a:pt x="13389" y="0"/>
                        </a:moveTo>
                        <a:cubicBezTo>
                          <a:pt x="31240" y="0"/>
                          <a:pt x="31240" y="26777"/>
                          <a:pt x="13389" y="26777"/>
                        </a:cubicBezTo>
                        <a:cubicBezTo>
                          <a:pt x="-4463" y="29752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" name="任意多边形: 形状 148">
                    <a:extLst>
                      <a:ext uri="{FF2B5EF4-FFF2-40B4-BE49-F238E27FC236}">
                        <a16:creationId xmlns:a16="http://schemas.microsoft.com/office/drawing/2014/main" id="{A0FC9155-12AF-445A-BF67-80A9FF02F983}"/>
                      </a:ext>
                    </a:extLst>
                  </p:cNvPr>
                  <p:cNvSpPr/>
                  <p:nvPr/>
                </p:nvSpPr>
                <p:spPr>
                  <a:xfrm>
                    <a:off x="15357536" y="12262194"/>
                    <a:ext cx="26776" cy="26776"/>
                  </a:xfrm>
                  <a:custGeom>
                    <a:avLst/>
                    <a:gdLst>
                      <a:gd name="connsiteX0" fmla="*/ 13389 w 26776"/>
                      <a:gd name="connsiteY0" fmla="*/ 0 h 26776"/>
                      <a:gd name="connsiteX1" fmla="*/ 13389 w 26776"/>
                      <a:gd name="connsiteY1" fmla="*/ 26777 h 26776"/>
                      <a:gd name="connsiteX2" fmla="*/ 13389 w 26776"/>
                      <a:gd name="connsiteY2" fmla="*/ 0 h 26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6" h="26776">
                        <a:moveTo>
                          <a:pt x="13389" y="0"/>
                        </a:moveTo>
                        <a:cubicBezTo>
                          <a:pt x="31239" y="0"/>
                          <a:pt x="31239" y="26777"/>
                          <a:pt x="13389" y="26777"/>
                        </a:cubicBezTo>
                        <a:cubicBezTo>
                          <a:pt x="-4463" y="26777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" name="任意多边形: 形状 149">
                    <a:extLst>
                      <a:ext uri="{FF2B5EF4-FFF2-40B4-BE49-F238E27FC236}">
                        <a16:creationId xmlns:a16="http://schemas.microsoft.com/office/drawing/2014/main" id="{5A4E9F12-B555-4305-9684-F844B89C19A7}"/>
                      </a:ext>
                    </a:extLst>
                  </p:cNvPr>
                  <p:cNvSpPr/>
                  <p:nvPr/>
                </p:nvSpPr>
                <p:spPr>
                  <a:xfrm>
                    <a:off x="15303982" y="12250293"/>
                    <a:ext cx="26777" cy="26776"/>
                  </a:xfrm>
                  <a:custGeom>
                    <a:avLst/>
                    <a:gdLst>
                      <a:gd name="connsiteX0" fmla="*/ 13389 w 26777"/>
                      <a:gd name="connsiteY0" fmla="*/ 0 h 26776"/>
                      <a:gd name="connsiteX1" fmla="*/ 13389 w 26777"/>
                      <a:gd name="connsiteY1" fmla="*/ 26777 h 26776"/>
                      <a:gd name="connsiteX2" fmla="*/ 13389 w 26777"/>
                      <a:gd name="connsiteY2" fmla="*/ 0 h 26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776">
                        <a:moveTo>
                          <a:pt x="13389" y="0"/>
                        </a:moveTo>
                        <a:cubicBezTo>
                          <a:pt x="31240" y="0"/>
                          <a:pt x="31240" y="26777"/>
                          <a:pt x="13389" y="26777"/>
                        </a:cubicBezTo>
                        <a:cubicBezTo>
                          <a:pt x="-4463" y="26777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" name="任意多边形: 形状 150">
                    <a:extLst>
                      <a:ext uri="{FF2B5EF4-FFF2-40B4-BE49-F238E27FC236}">
                        <a16:creationId xmlns:a16="http://schemas.microsoft.com/office/drawing/2014/main" id="{9ABFD952-464B-4E88-BA1F-E2FDD317F508}"/>
                      </a:ext>
                    </a:extLst>
                  </p:cNvPr>
                  <p:cNvSpPr/>
                  <p:nvPr/>
                </p:nvSpPr>
                <p:spPr>
                  <a:xfrm>
                    <a:off x="15298032" y="12199714"/>
                    <a:ext cx="26776" cy="26985"/>
                  </a:xfrm>
                  <a:custGeom>
                    <a:avLst/>
                    <a:gdLst>
                      <a:gd name="connsiteX0" fmla="*/ 13389 w 26776"/>
                      <a:gd name="connsiteY0" fmla="*/ 0 h 26985"/>
                      <a:gd name="connsiteX1" fmla="*/ 13389 w 26776"/>
                      <a:gd name="connsiteY1" fmla="*/ 26777 h 26985"/>
                      <a:gd name="connsiteX2" fmla="*/ 13389 w 26776"/>
                      <a:gd name="connsiteY2" fmla="*/ 0 h 269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6" h="26985">
                        <a:moveTo>
                          <a:pt x="13389" y="0"/>
                        </a:moveTo>
                        <a:cubicBezTo>
                          <a:pt x="31239" y="0"/>
                          <a:pt x="31239" y="26777"/>
                          <a:pt x="13389" y="26777"/>
                        </a:cubicBezTo>
                        <a:cubicBezTo>
                          <a:pt x="-4463" y="29752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" name="任意多边形: 形状 151">
                    <a:extLst>
                      <a:ext uri="{FF2B5EF4-FFF2-40B4-BE49-F238E27FC236}">
                        <a16:creationId xmlns:a16="http://schemas.microsoft.com/office/drawing/2014/main" id="{B2E1E00C-7360-4323-B407-7F698A700BE0}"/>
                      </a:ext>
                    </a:extLst>
                  </p:cNvPr>
                  <p:cNvSpPr/>
                  <p:nvPr/>
                </p:nvSpPr>
                <p:spPr>
                  <a:xfrm>
                    <a:off x="15339685" y="12211615"/>
                    <a:ext cx="26777" cy="26777"/>
                  </a:xfrm>
                  <a:custGeom>
                    <a:avLst/>
                    <a:gdLst>
                      <a:gd name="connsiteX0" fmla="*/ 13389 w 26777"/>
                      <a:gd name="connsiteY0" fmla="*/ 0 h 26777"/>
                      <a:gd name="connsiteX1" fmla="*/ 13389 w 26777"/>
                      <a:gd name="connsiteY1" fmla="*/ 26778 h 26777"/>
                      <a:gd name="connsiteX2" fmla="*/ 13389 w 26777"/>
                      <a:gd name="connsiteY2" fmla="*/ 0 h 267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777" h="26777">
                        <a:moveTo>
                          <a:pt x="13389" y="0"/>
                        </a:moveTo>
                        <a:cubicBezTo>
                          <a:pt x="31240" y="0"/>
                          <a:pt x="31240" y="26778"/>
                          <a:pt x="13389" y="26778"/>
                        </a:cubicBezTo>
                        <a:cubicBezTo>
                          <a:pt x="-4463" y="26778"/>
                          <a:pt x="-4463" y="0"/>
                          <a:pt x="13389" y="0"/>
                        </a:cubicBezTo>
                        <a:close/>
                      </a:path>
                    </a:pathLst>
                  </a:custGeom>
                  <a:solidFill>
                    <a:srgbClr val="E5D8D8"/>
                  </a:solidFill>
                  <a:ln w="2974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8144B14E-D672-4F2D-86A4-31C45736411F}"/>
                  </a:ext>
                </a:extLst>
              </p:cNvPr>
              <p:cNvSpPr/>
              <p:nvPr/>
            </p:nvSpPr>
            <p:spPr>
              <a:xfrm>
                <a:off x="15215422" y="12255128"/>
                <a:ext cx="263725" cy="256983"/>
              </a:xfrm>
              <a:custGeom>
                <a:avLst/>
                <a:gdLst>
                  <a:gd name="connsiteX0" fmla="*/ 253684 w 263725"/>
                  <a:gd name="connsiteY0" fmla="*/ 1115 h 256983"/>
                  <a:gd name="connsiteX1" fmla="*/ 235833 w 263725"/>
                  <a:gd name="connsiteY1" fmla="*/ 10042 h 256983"/>
                  <a:gd name="connsiteX2" fmla="*/ 131700 w 263725"/>
                  <a:gd name="connsiteY2" fmla="*/ 81446 h 256983"/>
                  <a:gd name="connsiteX3" fmla="*/ 27568 w 263725"/>
                  <a:gd name="connsiteY3" fmla="*/ 10042 h 256983"/>
                  <a:gd name="connsiteX4" fmla="*/ 9717 w 263725"/>
                  <a:gd name="connsiteY4" fmla="*/ 1115 h 256983"/>
                  <a:gd name="connsiteX5" fmla="*/ 791 w 263725"/>
                  <a:gd name="connsiteY5" fmla="*/ 18967 h 256983"/>
                  <a:gd name="connsiteX6" fmla="*/ 116824 w 263725"/>
                  <a:gd name="connsiteY6" fmla="*/ 108223 h 256983"/>
                  <a:gd name="connsiteX7" fmla="*/ 116824 w 263725"/>
                  <a:gd name="connsiteY7" fmla="*/ 242107 h 256983"/>
                  <a:gd name="connsiteX8" fmla="*/ 131700 w 263725"/>
                  <a:gd name="connsiteY8" fmla="*/ 256983 h 256983"/>
                  <a:gd name="connsiteX9" fmla="*/ 146576 w 263725"/>
                  <a:gd name="connsiteY9" fmla="*/ 242107 h 256983"/>
                  <a:gd name="connsiteX10" fmla="*/ 146576 w 263725"/>
                  <a:gd name="connsiteY10" fmla="*/ 108223 h 256983"/>
                  <a:gd name="connsiteX11" fmla="*/ 262609 w 263725"/>
                  <a:gd name="connsiteY11" fmla="*/ 18967 h 256983"/>
                  <a:gd name="connsiteX12" fmla="*/ 253684 w 263725"/>
                  <a:gd name="connsiteY12" fmla="*/ 1115 h 256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3725" h="256983">
                    <a:moveTo>
                      <a:pt x="253684" y="1115"/>
                    </a:moveTo>
                    <a:cubicBezTo>
                      <a:pt x="247733" y="-1859"/>
                      <a:pt x="238808" y="1115"/>
                      <a:pt x="235833" y="10042"/>
                    </a:cubicBezTo>
                    <a:cubicBezTo>
                      <a:pt x="217981" y="54670"/>
                      <a:pt x="176328" y="81446"/>
                      <a:pt x="131700" y="81446"/>
                    </a:cubicBezTo>
                    <a:cubicBezTo>
                      <a:pt x="84097" y="81446"/>
                      <a:pt x="42444" y="54670"/>
                      <a:pt x="27568" y="10042"/>
                    </a:cubicBezTo>
                    <a:cubicBezTo>
                      <a:pt x="24593" y="4091"/>
                      <a:pt x="15667" y="-1859"/>
                      <a:pt x="9717" y="1115"/>
                    </a:cubicBezTo>
                    <a:cubicBezTo>
                      <a:pt x="3767" y="4091"/>
                      <a:pt x="-2184" y="13017"/>
                      <a:pt x="791" y="18967"/>
                    </a:cubicBezTo>
                    <a:cubicBezTo>
                      <a:pt x="21618" y="69546"/>
                      <a:pt x="66246" y="102273"/>
                      <a:pt x="116824" y="108223"/>
                    </a:cubicBezTo>
                    <a:lnTo>
                      <a:pt x="116824" y="242107"/>
                    </a:lnTo>
                    <a:cubicBezTo>
                      <a:pt x="116824" y="251033"/>
                      <a:pt x="122775" y="256983"/>
                      <a:pt x="131700" y="256983"/>
                    </a:cubicBezTo>
                    <a:cubicBezTo>
                      <a:pt x="140627" y="256983"/>
                      <a:pt x="146576" y="251033"/>
                      <a:pt x="146576" y="242107"/>
                    </a:cubicBezTo>
                    <a:lnTo>
                      <a:pt x="146576" y="108223"/>
                    </a:lnTo>
                    <a:cubicBezTo>
                      <a:pt x="200131" y="102273"/>
                      <a:pt x="244759" y="69546"/>
                      <a:pt x="262609" y="18967"/>
                    </a:cubicBezTo>
                    <a:cubicBezTo>
                      <a:pt x="265585" y="10042"/>
                      <a:pt x="262609" y="4091"/>
                      <a:pt x="253684" y="1115"/>
                    </a:cubicBezTo>
                    <a:close/>
                  </a:path>
                </a:pathLst>
              </a:custGeom>
              <a:solidFill>
                <a:srgbClr val="6C5D68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0" name="图形 1">
              <a:extLst>
                <a:ext uri="{FF2B5EF4-FFF2-40B4-BE49-F238E27FC236}">
                  <a16:creationId xmlns:a16="http://schemas.microsoft.com/office/drawing/2014/main" id="{D3B46CA2-3658-40D0-8047-E1FEC51BB669}"/>
                </a:ext>
              </a:extLst>
            </p:cNvPr>
            <p:cNvGrpSpPr/>
            <p:nvPr/>
          </p:nvGrpSpPr>
          <p:grpSpPr>
            <a:xfrm>
              <a:off x="13829767" y="10303393"/>
              <a:ext cx="184463" cy="185578"/>
              <a:chOff x="13829767" y="10303393"/>
              <a:chExt cx="184463" cy="185578"/>
            </a:xfrm>
          </p:grpSpPr>
          <p:grpSp>
            <p:nvGrpSpPr>
              <p:cNvPr id="124" name="图形 1">
                <a:extLst>
                  <a:ext uri="{FF2B5EF4-FFF2-40B4-BE49-F238E27FC236}">
                    <a16:creationId xmlns:a16="http://schemas.microsoft.com/office/drawing/2014/main" id="{A13D8579-1831-4B62-8631-176F499B81C8}"/>
                  </a:ext>
                </a:extLst>
              </p:cNvPr>
              <p:cNvGrpSpPr/>
              <p:nvPr/>
            </p:nvGrpSpPr>
            <p:grpSpPr>
              <a:xfrm>
                <a:off x="13838223" y="10309647"/>
                <a:ext cx="176006" cy="179323"/>
                <a:chOff x="13838223" y="10309647"/>
                <a:chExt cx="176006" cy="179323"/>
              </a:xfrm>
            </p:grpSpPr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076E85B9-1F00-4C4E-A1B8-E0521F6DE659}"/>
                    </a:ext>
                  </a:extLst>
                </p:cNvPr>
                <p:cNvSpPr/>
                <p:nvPr/>
              </p:nvSpPr>
              <p:spPr>
                <a:xfrm>
                  <a:off x="13914446" y="10383217"/>
                  <a:ext cx="99783" cy="105753"/>
                </a:xfrm>
                <a:custGeom>
                  <a:avLst/>
                  <a:gdLst>
                    <a:gd name="connsiteX0" fmla="*/ 99784 w 99783"/>
                    <a:gd name="connsiteY0" fmla="*/ 31374 h 105753"/>
                    <a:gd name="connsiteX1" fmla="*/ 52180 w 99783"/>
                    <a:gd name="connsiteY1" fmla="*/ 90878 h 105753"/>
                    <a:gd name="connsiteX2" fmla="*/ 46230 w 99783"/>
                    <a:gd name="connsiteY2" fmla="*/ 99804 h 105753"/>
                    <a:gd name="connsiteX3" fmla="*/ 34329 w 99783"/>
                    <a:gd name="connsiteY3" fmla="*/ 105754 h 105753"/>
                    <a:gd name="connsiteX4" fmla="*/ 1601 w 99783"/>
                    <a:gd name="connsiteY4" fmla="*/ 81952 h 105753"/>
                    <a:gd name="connsiteX5" fmla="*/ 16477 w 99783"/>
                    <a:gd name="connsiteY5" fmla="*/ 46250 h 105753"/>
                    <a:gd name="connsiteX6" fmla="*/ 49205 w 99783"/>
                    <a:gd name="connsiteY6" fmla="*/ 13522 h 105753"/>
                    <a:gd name="connsiteX7" fmla="*/ 81932 w 99783"/>
                    <a:gd name="connsiteY7" fmla="*/ 1622 h 105753"/>
                    <a:gd name="connsiteX8" fmla="*/ 99784 w 99783"/>
                    <a:gd name="connsiteY8" fmla="*/ 31374 h 105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9783" h="105753">
                      <a:moveTo>
                        <a:pt x="99784" y="31374"/>
                      </a:moveTo>
                      <a:cubicBezTo>
                        <a:pt x="96808" y="58150"/>
                        <a:pt x="73007" y="70052"/>
                        <a:pt x="52180" y="90878"/>
                      </a:cubicBezTo>
                      <a:cubicBezTo>
                        <a:pt x="49205" y="93853"/>
                        <a:pt x="46230" y="99804"/>
                        <a:pt x="46230" y="99804"/>
                      </a:cubicBezTo>
                      <a:cubicBezTo>
                        <a:pt x="43255" y="102778"/>
                        <a:pt x="40280" y="102778"/>
                        <a:pt x="34329" y="105754"/>
                      </a:cubicBezTo>
                      <a:cubicBezTo>
                        <a:pt x="22428" y="105754"/>
                        <a:pt x="7552" y="96828"/>
                        <a:pt x="1601" y="81952"/>
                      </a:cubicBezTo>
                      <a:cubicBezTo>
                        <a:pt x="-4348" y="64101"/>
                        <a:pt x="7552" y="55176"/>
                        <a:pt x="16477" y="46250"/>
                      </a:cubicBezTo>
                      <a:cubicBezTo>
                        <a:pt x="25404" y="34349"/>
                        <a:pt x="37304" y="22448"/>
                        <a:pt x="49205" y="13522"/>
                      </a:cubicBezTo>
                      <a:cubicBezTo>
                        <a:pt x="58131" y="7572"/>
                        <a:pt x="67056" y="-4328"/>
                        <a:pt x="81932" y="1622"/>
                      </a:cubicBezTo>
                      <a:cubicBezTo>
                        <a:pt x="90858" y="4597"/>
                        <a:pt x="99784" y="19473"/>
                        <a:pt x="99784" y="31374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426D5470-910A-4485-AAB8-4C42808587AE}"/>
                    </a:ext>
                  </a:extLst>
                </p:cNvPr>
                <p:cNvSpPr/>
                <p:nvPr/>
              </p:nvSpPr>
              <p:spPr>
                <a:xfrm>
                  <a:off x="13875769" y="10356440"/>
                  <a:ext cx="99783" cy="105754"/>
                </a:xfrm>
                <a:custGeom>
                  <a:avLst/>
                  <a:gdLst>
                    <a:gd name="connsiteX0" fmla="*/ 99783 w 99783"/>
                    <a:gd name="connsiteY0" fmla="*/ 31374 h 105754"/>
                    <a:gd name="connsiteX1" fmla="*/ 52181 w 99783"/>
                    <a:gd name="connsiteY1" fmla="*/ 96829 h 105754"/>
                    <a:gd name="connsiteX2" fmla="*/ 46230 w 99783"/>
                    <a:gd name="connsiteY2" fmla="*/ 99803 h 105754"/>
                    <a:gd name="connsiteX3" fmla="*/ 34329 w 99783"/>
                    <a:gd name="connsiteY3" fmla="*/ 105754 h 105754"/>
                    <a:gd name="connsiteX4" fmla="*/ 1602 w 99783"/>
                    <a:gd name="connsiteY4" fmla="*/ 81953 h 105754"/>
                    <a:gd name="connsiteX5" fmla="*/ 16478 w 99783"/>
                    <a:gd name="connsiteY5" fmla="*/ 46250 h 105754"/>
                    <a:gd name="connsiteX6" fmla="*/ 49205 w 99783"/>
                    <a:gd name="connsiteY6" fmla="*/ 13522 h 105754"/>
                    <a:gd name="connsiteX7" fmla="*/ 81933 w 99783"/>
                    <a:gd name="connsiteY7" fmla="*/ 1622 h 105754"/>
                    <a:gd name="connsiteX8" fmla="*/ 99783 w 99783"/>
                    <a:gd name="connsiteY8" fmla="*/ 31374 h 1057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9783" h="105754">
                      <a:moveTo>
                        <a:pt x="99783" y="31374"/>
                      </a:moveTo>
                      <a:cubicBezTo>
                        <a:pt x="99783" y="67077"/>
                        <a:pt x="70031" y="76002"/>
                        <a:pt x="52181" y="96829"/>
                      </a:cubicBezTo>
                      <a:cubicBezTo>
                        <a:pt x="49205" y="99803"/>
                        <a:pt x="49205" y="99803"/>
                        <a:pt x="46230" y="99803"/>
                      </a:cubicBezTo>
                      <a:cubicBezTo>
                        <a:pt x="43254" y="102779"/>
                        <a:pt x="40279" y="102779"/>
                        <a:pt x="34329" y="105754"/>
                      </a:cubicBezTo>
                      <a:cubicBezTo>
                        <a:pt x="22429" y="105754"/>
                        <a:pt x="7553" y="96829"/>
                        <a:pt x="1602" y="81953"/>
                      </a:cubicBezTo>
                      <a:cubicBezTo>
                        <a:pt x="-4349" y="64101"/>
                        <a:pt x="7553" y="55175"/>
                        <a:pt x="16478" y="46250"/>
                      </a:cubicBezTo>
                      <a:cubicBezTo>
                        <a:pt x="25403" y="34349"/>
                        <a:pt x="37305" y="22449"/>
                        <a:pt x="49205" y="13522"/>
                      </a:cubicBezTo>
                      <a:cubicBezTo>
                        <a:pt x="58131" y="7573"/>
                        <a:pt x="67057" y="-4329"/>
                        <a:pt x="81933" y="1622"/>
                      </a:cubicBezTo>
                      <a:cubicBezTo>
                        <a:pt x="93833" y="4597"/>
                        <a:pt x="99783" y="19473"/>
                        <a:pt x="99783" y="31374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25F86ACE-5F7C-4694-9435-EC21BB8CE0FC}"/>
                    </a:ext>
                  </a:extLst>
                </p:cNvPr>
                <p:cNvSpPr/>
                <p:nvPr/>
              </p:nvSpPr>
              <p:spPr>
                <a:xfrm>
                  <a:off x="13854922" y="10327719"/>
                  <a:ext cx="87903" cy="95797"/>
                </a:xfrm>
                <a:custGeom>
                  <a:avLst/>
                  <a:gdLst>
                    <a:gd name="connsiteX0" fmla="*/ 87903 w 87903"/>
                    <a:gd name="connsiteY0" fmla="*/ 30343 h 95797"/>
                    <a:gd name="connsiteX1" fmla="*/ 46250 w 87903"/>
                    <a:gd name="connsiteY1" fmla="*/ 89847 h 95797"/>
                    <a:gd name="connsiteX2" fmla="*/ 40300 w 87903"/>
                    <a:gd name="connsiteY2" fmla="*/ 92823 h 95797"/>
                    <a:gd name="connsiteX3" fmla="*/ 31374 w 87903"/>
                    <a:gd name="connsiteY3" fmla="*/ 95798 h 95797"/>
                    <a:gd name="connsiteX4" fmla="*/ 1621 w 87903"/>
                    <a:gd name="connsiteY4" fmla="*/ 74971 h 95797"/>
                    <a:gd name="connsiteX5" fmla="*/ 13523 w 87903"/>
                    <a:gd name="connsiteY5" fmla="*/ 42244 h 95797"/>
                    <a:gd name="connsiteX6" fmla="*/ 43275 w 87903"/>
                    <a:gd name="connsiteY6" fmla="*/ 12492 h 95797"/>
                    <a:gd name="connsiteX7" fmla="*/ 70052 w 87903"/>
                    <a:gd name="connsiteY7" fmla="*/ 591 h 95797"/>
                    <a:gd name="connsiteX8" fmla="*/ 87903 w 87903"/>
                    <a:gd name="connsiteY8" fmla="*/ 30343 h 957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7903" h="95797">
                      <a:moveTo>
                        <a:pt x="87903" y="30343"/>
                      </a:moveTo>
                      <a:cubicBezTo>
                        <a:pt x="87903" y="63071"/>
                        <a:pt x="64101" y="71996"/>
                        <a:pt x="46250" y="89847"/>
                      </a:cubicBezTo>
                      <a:cubicBezTo>
                        <a:pt x="46250" y="92823"/>
                        <a:pt x="43275" y="92823"/>
                        <a:pt x="40300" y="92823"/>
                      </a:cubicBezTo>
                      <a:cubicBezTo>
                        <a:pt x="37324" y="95798"/>
                        <a:pt x="34349" y="95798"/>
                        <a:pt x="31374" y="95798"/>
                      </a:cubicBezTo>
                      <a:cubicBezTo>
                        <a:pt x="22448" y="95798"/>
                        <a:pt x="7572" y="89847"/>
                        <a:pt x="1621" y="74971"/>
                      </a:cubicBezTo>
                      <a:cubicBezTo>
                        <a:pt x="-4328" y="60095"/>
                        <a:pt x="7572" y="51170"/>
                        <a:pt x="13523" y="42244"/>
                      </a:cubicBezTo>
                      <a:cubicBezTo>
                        <a:pt x="22448" y="30343"/>
                        <a:pt x="31374" y="21418"/>
                        <a:pt x="43275" y="12492"/>
                      </a:cubicBezTo>
                      <a:cubicBezTo>
                        <a:pt x="49225" y="6542"/>
                        <a:pt x="58151" y="-2384"/>
                        <a:pt x="70052" y="591"/>
                      </a:cubicBezTo>
                      <a:cubicBezTo>
                        <a:pt x="81952" y="6542"/>
                        <a:pt x="87903" y="18442"/>
                        <a:pt x="87903" y="30343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30274155-5108-4B75-8808-60FA8A59C253}"/>
                    </a:ext>
                  </a:extLst>
                </p:cNvPr>
                <p:cNvSpPr/>
                <p:nvPr/>
              </p:nvSpPr>
              <p:spPr>
                <a:xfrm>
                  <a:off x="13838223" y="10309647"/>
                  <a:ext cx="80799" cy="72215"/>
                </a:xfrm>
                <a:custGeom>
                  <a:avLst/>
                  <a:gdLst>
                    <a:gd name="connsiteX0" fmla="*/ 80800 w 80799"/>
                    <a:gd name="connsiteY0" fmla="*/ 21638 h 72215"/>
                    <a:gd name="connsiteX1" fmla="*/ 39147 w 80799"/>
                    <a:gd name="connsiteY1" fmla="*/ 66266 h 72215"/>
                    <a:gd name="connsiteX2" fmla="*/ 36172 w 80799"/>
                    <a:gd name="connsiteY2" fmla="*/ 69241 h 72215"/>
                    <a:gd name="connsiteX3" fmla="*/ 30222 w 80799"/>
                    <a:gd name="connsiteY3" fmla="*/ 72216 h 72215"/>
                    <a:gd name="connsiteX4" fmla="*/ 470 w 80799"/>
                    <a:gd name="connsiteY4" fmla="*/ 57340 h 72215"/>
                    <a:gd name="connsiteX5" fmla="*/ 15346 w 80799"/>
                    <a:gd name="connsiteY5" fmla="*/ 27588 h 72215"/>
                    <a:gd name="connsiteX6" fmla="*/ 39147 w 80799"/>
                    <a:gd name="connsiteY6" fmla="*/ 6762 h 72215"/>
                    <a:gd name="connsiteX7" fmla="*/ 62948 w 80799"/>
                    <a:gd name="connsiteY7" fmla="*/ 811 h 72215"/>
                    <a:gd name="connsiteX8" fmla="*/ 80800 w 80799"/>
                    <a:gd name="connsiteY8" fmla="*/ 21638 h 722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799" h="72215">
                      <a:moveTo>
                        <a:pt x="80800" y="21638"/>
                      </a:moveTo>
                      <a:cubicBezTo>
                        <a:pt x="80800" y="45439"/>
                        <a:pt x="51048" y="54365"/>
                        <a:pt x="39147" y="66266"/>
                      </a:cubicBezTo>
                      <a:cubicBezTo>
                        <a:pt x="39147" y="66266"/>
                        <a:pt x="36172" y="69241"/>
                        <a:pt x="36172" y="69241"/>
                      </a:cubicBezTo>
                      <a:cubicBezTo>
                        <a:pt x="33196" y="72216"/>
                        <a:pt x="33196" y="72216"/>
                        <a:pt x="30222" y="72216"/>
                      </a:cubicBezTo>
                      <a:cubicBezTo>
                        <a:pt x="21296" y="72216"/>
                        <a:pt x="3444" y="66266"/>
                        <a:pt x="470" y="57340"/>
                      </a:cubicBezTo>
                      <a:cubicBezTo>
                        <a:pt x="-2506" y="45439"/>
                        <a:pt x="9395" y="33538"/>
                        <a:pt x="15346" y="27588"/>
                      </a:cubicBezTo>
                      <a:cubicBezTo>
                        <a:pt x="21296" y="18662"/>
                        <a:pt x="33196" y="12712"/>
                        <a:pt x="39147" y="6762"/>
                      </a:cubicBezTo>
                      <a:cubicBezTo>
                        <a:pt x="45098" y="3786"/>
                        <a:pt x="54023" y="-2164"/>
                        <a:pt x="62948" y="811"/>
                      </a:cubicBezTo>
                      <a:cubicBezTo>
                        <a:pt x="68899" y="3786"/>
                        <a:pt x="80800" y="15687"/>
                        <a:pt x="80800" y="21638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9D68A09F-E956-4EEA-BD48-7A858AF02019}"/>
                    </a:ext>
                  </a:extLst>
                </p:cNvPr>
                <p:cNvSpPr/>
                <p:nvPr/>
              </p:nvSpPr>
              <p:spPr>
                <a:xfrm>
                  <a:off x="13875555" y="10349136"/>
                  <a:ext cx="131980" cy="139834"/>
                </a:xfrm>
                <a:custGeom>
                  <a:avLst/>
                  <a:gdLst>
                    <a:gd name="connsiteX0" fmla="*/ 64294 w 131980"/>
                    <a:gd name="connsiteY0" fmla="*/ 139834 h 139834"/>
                    <a:gd name="connsiteX1" fmla="*/ 64294 w 131980"/>
                    <a:gd name="connsiteY1" fmla="*/ 139834 h 139834"/>
                    <a:gd name="connsiteX2" fmla="*/ 46443 w 131980"/>
                    <a:gd name="connsiteY2" fmla="*/ 127934 h 139834"/>
                    <a:gd name="connsiteX3" fmla="*/ 40492 w 131980"/>
                    <a:gd name="connsiteY3" fmla="*/ 116033 h 139834"/>
                    <a:gd name="connsiteX4" fmla="*/ 4790 w 131980"/>
                    <a:gd name="connsiteY4" fmla="*/ 95206 h 139834"/>
                    <a:gd name="connsiteX5" fmla="*/ 22642 w 131980"/>
                    <a:gd name="connsiteY5" fmla="*/ 38677 h 139834"/>
                    <a:gd name="connsiteX6" fmla="*/ 79171 w 131980"/>
                    <a:gd name="connsiteY6" fmla="*/ 0 h 139834"/>
                    <a:gd name="connsiteX7" fmla="*/ 99996 w 131980"/>
                    <a:gd name="connsiteY7" fmla="*/ 8925 h 139834"/>
                    <a:gd name="connsiteX8" fmla="*/ 111898 w 131980"/>
                    <a:gd name="connsiteY8" fmla="*/ 29752 h 139834"/>
                    <a:gd name="connsiteX9" fmla="*/ 108923 w 131980"/>
                    <a:gd name="connsiteY9" fmla="*/ 38677 h 139834"/>
                    <a:gd name="connsiteX10" fmla="*/ 58344 w 131980"/>
                    <a:gd name="connsiteY10" fmla="*/ 119008 h 139834"/>
                    <a:gd name="connsiteX11" fmla="*/ 67270 w 131980"/>
                    <a:gd name="connsiteY11" fmla="*/ 124958 h 139834"/>
                    <a:gd name="connsiteX12" fmla="*/ 67270 w 131980"/>
                    <a:gd name="connsiteY12" fmla="*/ 124958 h 139834"/>
                    <a:gd name="connsiteX13" fmla="*/ 120823 w 131980"/>
                    <a:gd name="connsiteY13" fmla="*/ 80330 h 139834"/>
                    <a:gd name="connsiteX14" fmla="*/ 129749 w 131980"/>
                    <a:gd name="connsiteY14" fmla="*/ 80330 h 139834"/>
                    <a:gd name="connsiteX15" fmla="*/ 129749 w 131980"/>
                    <a:gd name="connsiteY15" fmla="*/ 89256 h 139834"/>
                    <a:gd name="connsiteX16" fmla="*/ 64294 w 131980"/>
                    <a:gd name="connsiteY16" fmla="*/ 139834 h 139834"/>
                    <a:gd name="connsiteX17" fmla="*/ 76195 w 131980"/>
                    <a:gd name="connsiteY17" fmla="*/ 17851 h 139834"/>
                    <a:gd name="connsiteX18" fmla="*/ 76195 w 131980"/>
                    <a:gd name="connsiteY18" fmla="*/ 17851 h 139834"/>
                    <a:gd name="connsiteX19" fmla="*/ 25616 w 131980"/>
                    <a:gd name="connsiteY19" fmla="*/ 50578 h 139834"/>
                    <a:gd name="connsiteX20" fmla="*/ 7766 w 131980"/>
                    <a:gd name="connsiteY20" fmla="*/ 92231 h 139834"/>
                    <a:gd name="connsiteX21" fmla="*/ 34542 w 131980"/>
                    <a:gd name="connsiteY21" fmla="*/ 107107 h 139834"/>
                    <a:gd name="connsiteX22" fmla="*/ 94047 w 131980"/>
                    <a:gd name="connsiteY22" fmla="*/ 32727 h 139834"/>
                    <a:gd name="connsiteX23" fmla="*/ 88096 w 131980"/>
                    <a:gd name="connsiteY23" fmla="*/ 20826 h 139834"/>
                    <a:gd name="connsiteX24" fmla="*/ 76195 w 131980"/>
                    <a:gd name="connsiteY24" fmla="*/ 17851 h 1398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31980" h="139834">
                      <a:moveTo>
                        <a:pt x="64294" y="139834"/>
                      </a:moveTo>
                      <a:cubicBezTo>
                        <a:pt x="61319" y="139834"/>
                        <a:pt x="61319" y="139834"/>
                        <a:pt x="64294" y="139834"/>
                      </a:cubicBezTo>
                      <a:cubicBezTo>
                        <a:pt x="55368" y="139834"/>
                        <a:pt x="49418" y="136859"/>
                        <a:pt x="46443" y="127934"/>
                      </a:cubicBezTo>
                      <a:cubicBezTo>
                        <a:pt x="43468" y="124958"/>
                        <a:pt x="40492" y="119008"/>
                        <a:pt x="40492" y="116033"/>
                      </a:cubicBezTo>
                      <a:cubicBezTo>
                        <a:pt x="37518" y="116033"/>
                        <a:pt x="13716" y="113057"/>
                        <a:pt x="4790" y="95206"/>
                      </a:cubicBezTo>
                      <a:cubicBezTo>
                        <a:pt x="-7110" y="77355"/>
                        <a:pt x="4790" y="59504"/>
                        <a:pt x="22642" y="38677"/>
                      </a:cubicBezTo>
                      <a:cubicBezTo>
                        <a:pt x="43468" y="14876"/>
                        <a:pt x="64294" y="2974"/>
                        <a:pt x="79171" y="0"/>
                      </a:cubicBezTo>
                      <a:cubicBezTo>
                        <a:pt x="88096" y="0"/>
                        <a:pt x="94047" y="2974"/>
                        <a:pt x="99996" y="8925"/>
                      </a:cubicBezTo>
                      <a:cubicBezTo>
                        <a:pt x="105947" y="14876"/>
                        <a:pt x="111898" y="23801"/>
                        <a:pt x="111898" y="29752"/>
                      </a:cubicBezTo>
                      <a:cubicBezTo>
                        <a:pt x="111898" y="35702"/>
                        <a:pt x="108923" y="38677"/>
                        <a:pt x="108923" y="38677"/>
                      </a:cubicBezTo>
                      <a:cubicBezTo>
                        <a:pt x="40492" y="92231"/>
                        <a:pt x="52394" y="110082"/>
                        <a:pt x="58344" y="119008"/>
                      </a:cubicBezTo>
                      <a:cubicBezTo>
                        <a:pt x="61319" y="121983"/>
                        <a:pt x="64294" y="124958"/>
                        <a:pt x="67270" y="124958"/>
                      </a:cubicBezTo>
                      <a:cubicBezTo>
                        <a:pt x="67270" y="124958"/>
                        <a:pt x="67270" y="124958"/>
                        <a:pt x="67270" y="124958"/>
                      </a:cubicBezTo>
                      <a:cubicBezTo>
                        <a:pt x="85120" y="124958"/>
                        <a:pt x="111898" y="92231"/>
                        <a:pt x="120823" y="80330"/>
                      </a:cubicBezTo>
                      <a:cubicBezTo>
                        <a:pt x="123799" y="77355"/>
                        <a:pt x="126774" y="77355"/>
                        <a:pt x="129749" y="80330"/>
                      </a:cubicBezTo>
                      <a:cubicBezTo>
                        <a:pt x="132724" y="83305"/>
                        <a:pt x="132724" y="86281"/>
                        <a:pt x="129749" y="89256"/>
                      </a:cubicBezTo>
                      <a:cubicBezTo>
                        <a:pt x="123799" y="98181"/>
                        <a:pt x="88096" y="139834"/>
                        <a:pt x="64294" y="139834"/>
                      </a:cubicBezTo>
                      <a:close/>
                      <a:moveTo>
                        <a:pt x="76195" y="17851"/>
                      </a:moveTo>
                      <a:cubicBezTo>
                        <a:pt x="76195" y="17851"/>
                        <a:pt x="76195" y="17851"/>
                        <a:pt x="76195" y="17851"/>
                      </a:cubicBezTo>
                      <a:cubicBezTo>
                        <a:pt x="67270" y="17851"/>
                        <a:pt x="52394" y="23801"/>
                        <a:pt x="25616" y="50578"/>
                      </a:cubicBezTo>
                      <a:cubicBezTo>
                        <a:pt x="4790" y="74380"/>
                        <a:pt x="1815" y="83305"/>
                        <a:pt x="7766" y="92231"/>
                      </a:cubicBezTo>
                      <a:cubicBezTo>
                        <a:pt x="13716" y="101157"/>
                        <a:pt x="25616" y="104132"/>
                        <a:pt x="34542" y="107107"/>
                      </a:cubicBezTo>
                      <a:cubicBezTo>
                        <a:pt x="34542" y="92231"/>
                        <a:pt x="49418" y="68429"/>
                        <a:pt x="94047" y="32727"/>
                      </a:cubicBezTo>
                      <a:cubicBezTo>
                        <a:pt x="94047" y="32727"/>
                        <a:pt x="94047" y="26777"/>
                        <a:pt x="88096" y="20826"/>
                      </a:cubicBezTo>
                      <a:cubicBezTo>
                        <a:pt x="85120" y="17851"/>
                        <a:pt x="82146" y="17851"/>
                        <a:pt x="76195" y="17851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617C7594-995F-451E-98F7-2A190BDA9E01}"/>
                    </a:ext>
                  </a:extLst>
                </p:cNvPr>
                <p:cNvSpPr/>
                <p:nvPr/>
              </p:nvSpPr>
              <p:spPr>
                <a:xfrm>
                  <a:off x="13852337" y="10322359"/>
                  <a:ext cx="93463" cy="110083"/>
                </a:xfrm>
                <a:custGeom>
                  <a:avLst/>
                  <a:gdLst>
                    <a:gd name="connsiteX0" fmla="*/ 25034 w 93463"/>
                    <a:gd name="connsiteY0" fmla="*/ 110083 h 110083"/>
                    <a:gd name="connsiteX1" fmla="*/ 25034 w 93463"/>
                    <a:gd name="connsiteY1" fmla="*/ 110083 h 110083"/>
                    <a:gd name="connsiteX2" fmla="*/ 1232 w 93463"/>
                    <a:gd name="connsiteY2" fmla="*/ 83306 h 110083"/>
                    <a:gd name="connsiteX3" fmla="*/ 4207 w 93463"/>
                    <a:gd name="connsiteY3" fmla="*/ 56530 h 110083"/>
                    <a:gd name="connsiteX4" fmla="*/ 63711 w 93463"/>
                    <a:gd name="connsiteY4" fmla="*/ 0 h 110083"/>
                    <a:gd name="connsiteX5" fmla="*/ 78587 w 93463"/>
                    <a:gd name="connsiteY5" fmla="*/ 2975 h 110083"/>
                    <a:gd name="connsiteX6" fmla="*/ 93463 w 93463"/>
                    <a:gd name="connsiteY6" fmla="*/ 32727 h 110083"/>
                    <a:gd name="connsiteX7" fmla="*/ 87513 w 93463"/>
                    <a:gd name="connsiteY7" fmla="*/ 38678 h 110083"/>
                    <a:gd name="connsiteX8" fmla="*/ 81563 w 93463"/>
                    <a:gd name="connsiteY8" fmla="*/ 32727 h 110083"/>
                    <a:gd name="connsiteX9" fmla="*/ 69662 w 93463"/>
                    <a:gd name="connsiteY9" fmla="*/ 11902 h 110083"/>
                    <a:gd name="connsiteX10" fmla="*/ 63711 w 93463"/>
                    <a:gd name="connsiteY10" fmla="*/ 8926 h 110083"/>
                    <a:gd name="connsiteX11" fmla="*/ 10158 w 93463"/>
                    <a:gd name="connsiteY11" fmla="*/ 59504 h 110083"/>
                    <a:gd name="connsiteX12" fmla="*/ 7182 w 93463"/>
                    <a:gd name="connsiteY12" fmla="*/ 77356 h 110083"/>
                    <a:gd name="connsiteX13" fmla="*/ 22058 w 93463"/>
                    <a:gd name="connsiteY13" fmla="*/ 95207 h 110083"/>
                    <a:gd name="connsiteX14" fmla="*/ 25034 w 93463"/>
                    <a:gd name="connsiteY14" fmla="*/ 104132 h 110083"/>
                    <a:gd name="connsiteX15" fmla="*/ 25034 w 93463"/>
                    <a:gd name="connsiteY15" fmla="*/ 110083 h 1100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93463" h="110083">
                      <a:moveTo>
                        <a:pt x="25034" y="110083"/>
                      </a:moveTo>
                      <a:cubicBezTo>
                        <a:pt x="25034" y="110083"/>
                        <a:pt x="22058" y="110083"/>
                        <a:pt x="25034" y="110083"/>
                      </a:cubicBezTo>
                      <a:cubicBezTo>
                        <a:pt x="22058" y="110083"/>
                        <a:pt x="4207" y="101158"/>
                        <a:pt x="1232" y="83306"/>
                      </a:cubicBezTo>
                      <a:cubicBezTo>
                        <a:pt x="-1743" y="74380"/>
                        <a:pt x="1232" y="65455"/>
                        <a:pt x="4207" y="56530"/>
                      </a:cubicBezTo>
                      <a:cubicBezTo>
                        <a:pt x="22058" y="29752"/>
                        <a:pt x="51810" y="5951"/>
                        <a:pt x="63711" y="0"/>
                      </a:cubicBezTo>
                      <a:cubicBezTo>
                        <a:pt x="66686" y="0"/>
                        <a:pt x="72637" y="0"/>
                        <a:pt x="78587" y="2975"/>
                      </a:cubicBezTo>
                      <a:cubicBezTo>
                        <a:pt x="87513" y="8926"/>
                        <a:pt x="93463" y="23802"/>
                        <a:pt x="93463" y="32727"/>
                      </a:cubicBezTo>
                      <a:cubicBezTo>
                        <a:pt x="93463" y="35703"/>
                        <a:pt x="90489" y="38678"/>
                        <a:pt x="87513" y="38678"/>
                      </a:cubicBezTo>
                      <a:cubicBezTo>
                        <a:pt x="84538" y="38678"/>
                        <a:pt x="81563" y="35703"/>
                        <a:pt x="81563" y="32727"/>
                      </a:cubicBezTo>
                      <a:cubicBezTo>
                        <a:pt x="81563" y="29752"/>
                        <a:pt x="75613" y="17851"/>
                        <a:pt x="69662" y="11902"/>
                      </a:cubicBezTo>
                      <a:cubicBezTo>
                        <a:pt x="69662" y="11902"/>
                        <a:pt x="66686" y="8926"/>
                        <a:pt x="63711" y="8926"/>
                      </a:cubicBezTo>
                      <a:cubicBezTo>
                        <a:pt x="54786" y="11902"/>
                        <a:pt x="25034" y="32727"/>
                        <a:pt x="10158" y="59504"/>
                      </a:cubicBezTo>
                      <a:cubicBezTo>
                        <a:pt x="7182" y="65455"/>
                        <a:pt x="4207" y="71406"/>
                        <a:pt x="7182" y="77356"/>
                      </a:cubicBezTo>
                      <a:cubicBezTo>
                        <a:pt x="10158" y="89256"/>
                        <a:pt x="22058" y="95207"/>
                        <a:pt x="22058" y="95207"/>
                      </a:cubicBezTo>
                      <a:cubicBezTo>
                        <a:pt x="25034" y="95207"/>
                        <a:pt x="25034" y="101158"/>
                        <a:pt x="25034" y="104132"/>
                      </a:cubicBezTo>
                      <a:cubicBezTo>
                        <a:pt x="28009" y="107108"/>
                        <a:pt x="28009" y="110083"/>
                        <a:pt x="25034" y="110083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343889B4-F06F-4CDF-B46C-C589D5D78C82}"/>
                  </a:ext>
                </a:extLst>
              </p:cNvPr>
              <p:cNvSpPr/>
              <p:nvPr/>
            </p:nvSpPr>
            <p:spPr>
              <a:xfrm>
                <a:off x="13829767" y="10303393"/>
                <a:ext cx="95206" cy="84421"/>
              </a:xfrm>
              <a:custGeom>
                <a:avLst/>
                <a:gdLst>
                  <a:gd name="connsiteX0" fmla="*/ 32727 w 95206"/>
                  <a:gd name="connsiteY0" fmla="*/ 84421 h 84421"/>
                  <a:gd name="connsiteX1" fmla="*/ 32727 w 95206"/>
                  <a:gd name="connsiteY1" fmla="*/ 84421 h 84421"/>
                  <a:gd name="connsiteX2" fmla="*/ 0 w 95206"/>
                  <a:gd name="connsiteY2" fmla="*/ 54669 h 84421"/>
                  <a:gd name="connsiteX3" fmla="*/ 38678 w 95206"/>
                  <a:gd name="connsiteY3" fmla="*/ 10041 h 84421"/>
                  <a:gd name="connsiteX4" fmla="*/ 68430 w 95206"/>
                  <a:gd name="connsiteY4" fmla="*/ 1116 h 84421"/>
                  <a:gd name="connsiteX5" fmla="*/ 95207 w 95206"/>
                  <a:gd name="connsiteY5" fmla="*/ 24917 h 84421"/>
                  <a:gd name="connsiteX6" fmla="*/ 92232 w 95206"/>
                  <a:gd name="connsiteY6" fmla="*/ 30868 h 84421"/>
                  <a:gd name="connsiteX7" fmla="*/ 86281 w 95206"/>
                  <a:gd name="connsiteY7" fmla="*/ 27892 h 84421"/>
                  <a:gd name="connsiteX8" fmla="*/ 68430 w 95206"/>
                  <a:gd name="connsiteY8" fmla="*/ 13016 h 84421"/>
                  <a:gd name="connsiteX9" fmla="*/ 47603 w 95206"/>
                  <a:gd name="connsiteY9" fmla="*/ 21942 h 84421"/>
                  <a:gd name="connsiteX10" fmla="*/ 14876 w 95206"/>
                  <a:gd name="connsiteY10" fmla="*/ 57645 h 84421"/>
                  <a:gd name="connsiteX11" fmla="*/ 35703 w 95206"/>
                  <a:gd name="connsiteY11" fmla="*/ 75496 h 84421"/>
                  <a:gd name="connsiteX12" fmla="*/ 41653 w 95206"/>
                  <a:gd name="connsiteY12" fmla="*/ 81446 h 84421"/>
                  <a:gd name="connsiteX13" fmla="*/ 32727 w 95206"/>
                  <a:gd name="connsiteY13" fmla="*/ 84421 h 84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5206" h="84421">
                    <a:moveTo>
                      <a:pt x="32727" y="84421"/>
                    </a:moveTo>
                    <a:cubicBezTo>
                      <a:pt x="32727" y="84421"/>
                      <a:pt x="32727" y="84421"/>
                      <a:pt x="32727" y="84421"/>
                    </a:cubicBezTo>
                    <a:cubicBezTo>
                      <a:pt x="20827" y="81446"/>
                      <a:pt x="0" y="75496"/>
                      <a:pt x="0" y="54669"/>
                    </a:cubicBezTo>
                    <a:cubicBezTo>
                      <a:pt x="2975" y="42768"/>
                      <a:pt x="23802" y="21942"/>
                      <a:pt x="38678" y="10041"/>
                    </a:cubicBezTo>
                    <a:cubicBezTo>
                      <a:pt x="50579" y="1116"/>
                      <a:pt x="59504" y="-1860"/>
                      <a:pt x="68430" y="1116"/>
                    </a:cubicBezTo>
                    <a:cubicBezTo>
                      <a:pt x="86281" y="7066"/>
                      <a:pt x="95207" y="24917"/>
                      <a:pt x="95207" y="24917"/>
                    </a:cubicBezTo>
                    <a:cubicBezTo>
                      <a:pt x="95207" y="27892"/>
                      <a:pt x="95207" y="30868"/>
                      <a:pt x="92232" y="30868"/>
                    </a:cubicBezTo>
                    <a:cubicBezTo>
                      <a:pt x="89256" y="30868"/>
                      <a:pt x="86281" y="30868"/>
                      <a:pt x="86281" y="27892"/>
                    </a:cubicBezTo>
                    <a:cubicBezTo>
                      <a:pt x="86281" y="27892"/>
                      <a:pt x="80331" y="15992"/>
                      <a:pt x="68430" y="13016"/>
                    </a:cubicBezTo>
                    <a:cubicBezTo>
                      <a:pt x="65455" y="13016"/>
                      <a:pt x="59504" y="13016"/>
                      <a:pt x="47603" y="21942"/>
                    </a:cubicBezTo>
                    <a:cubicBezTo>
                      <a:pt x="29752" y="33842"/>
                      <a:pt x="14876" y="51694"/>
                      <a:pt x="14876" y="57645"/>
                    </a:cubicBezTo>
                    <a:cubicBezTo>
                      <a:pt x="11901" y="72521"/>
                      <a:pt x="35703" y="75496"/>
                      <a:pt x="35703" y="75496"/>
                    </a:cubicBezTo>
                    <a:cubicBezTo>
                      <a:pt x="38678" y="75496"/>
                      <a:pt x="41653" y="78470"/>
                      <a:pt x="41653" y="81446"/>
                    </a:cubicBezTo>
                    <a:cubicBezTo>
                      <a:pt x="38678" y="81446"/>
                      <a:pt x="35703" y="84421"/>
                      <a:pt x="32727" y="84421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1" name="图形 1">
              <a:extLst>
                <a:ext uri="{FF2B5EF4-FFF2-40B4-BE49-F238E27FC236}">
                  <a16:creationId xmlns:a16="http://schemas.microsoft.com/office/drawing/2014/main" id="{024A3570-10DD-4C79-B85A-910EA30960BE}"/>
                </a:ext>
              </a:extLst>
            </p:cNvPr>
            <p:cNvGrpSpPr/>
            <p:nvPr/>
          </p:nvGrpSpPr>
          <p:grpSpPr>
            <a:xfrm>
              <a:off x="13938702" y="10221202"/>
              <a:ext cx="75817" cy="214215"/>
              <a:chOff x="13938702" y="10221202"/>
              <a:chExt cx="75817" cy="214215"/>
            </a:xfrm>
          </p:grpSpPr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51BF4E1B-8318-400F-8A4C-6E26980D1185}"/>
                  </a:ext>
                </a:extLst>
              </p:cNvPr>
              <p:cNvSpPr/>
              <p:nvPr/>
            </p:nvSpPr>
            <p:spPr>
              <a:xfrm>
                <a:off x="13938702" y="10221202"/>
                <a:ext cx="71477" cy="206639"/>
              </a:xfrm>
              <a:custGeom>
                <a:avLst/>
                <a:gdLst>
                  <a:gd name="connsiteX0" fmla="*/ 60652 w 71477"/>
                  <a:gd name="connsiteY0" fmla="*/ 59504 h 206639"/>
                  <a:gd name="connsiteX1" fmla="*/ 16024 w 71477"/>
                  <a:gd name="connsiteY1" fmla="*/ 0 h 206639"/>
                  <a:gd name="connsiteX2" fmla="*/ 4123 w 71477"/>
                  <a:gd name="connsiteY2" fmla="*/ 89256 h 206639"/>
                  <a:gd name="connsiteX3" fmla="*/ 16024 w 71477"/>
                  <a:gd name="connsiteY3" fmla="*/ 184463 h 206639"/>
                  <a:gd name="connsiteX4" fmla="*/ 39825 w 71477"/>
                  <a:gd name="connsiteY4" fmla="*/ 202315 h 206639"/>
                  <a:gd name="connsiteX5" fmla="*/ 66602 w 71477"/>
                  <a:gd name="connsiteY5" fmla="*/ 145785 h 206639"/>
                  <a:gd name="connsiteX6" fmla="*/ 60652 w 71477"/>
                  <a:gd name="connsiteY6" fmla="*/ 59504 h 206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1477" h="206639">
                    <a:moveTo>
                      <a:pt x="60652" y="59504"/>
                    </a:moveTo>
                    <a:cubicBezTo>
                      <a:pt x="57676" y="50579"/>
                      <a:pt x="18999" y="0"/>
                      <a:pt x="16024" y="0"/>
                    </a:cubicBezTo>
                    <a:cubicBezTo>
                      <a:pt x="-7778" y="20827"/>
                      <a:pt x="1148" y="74380"/>
                      <a:pt x="4123" y="89256"/>
                    </a:cubicBezTo>
                    <a:cubicBezTo>
                      <a:pt x="10073" y="110083"/>
                      <a:pt x="30900" y="163636"/>
                      <a:pt x="16024" y="184463"/>
                    </a:cubicBezTo>
                    <a:cubicBezTo>
                      <a:pt x="7098" y="199339"/>
                      <a:pt x="27924" y="214215"/>
                      <a:pt x="39825" y="202315"/>
                    </a:cubicBezTo>
                    <a:cubicBezTo>
                      <a:pt x="54701" y="187439"/>
                      <a:pt x="66602" y="166612"/>
                      <a:pt x="66602" y="145785"/>
                    </a:cubicBezTo>
                    <a:cubicBezTo>
                      <a:pt x="72553" y="124959"/>
                      <a:pt x="75528" y="95207"/>
                      <a:pt x="60652" y="59504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38832D17-BD14-4D52-B8BF-1731CC140BD1}"/>
                  </a:ext>
                </a:extLst>
              </p:cNvPr>
              <p:cNvSpPr/>
              <p:nvPr/>
            </p:nvSpPr>
            <p:spPr>
              <a:xfrm>
                <a:off x="13942825" y="10322359"/>
                <a:ext cx="71693" cy="113058"/>
              </a:xfrm>
              <a:custGeom>
                <a:avLst/>
                <a:gdLst>
                  <a:gd name="connsiteX0" fmla="*/ 26777 w 71693"/>
                  <a:gd name="connsiteY0" fmla="*/ 113058 h 113058"/>
                  <a:gd name="connsiteX1" fmla="*/ 17851 w 71693"/>
                  <a:gd name="connsiteY1" fmla="*/ 110083 h 113058"/>
                  <a:gd name="connsiteX2" fmla="*/ 8925 w 71693"/>
                  <a:gd name="connsiteY2" fmla="*/ 83306 h 113058"/>
                  <a:gd name="connsiteX3" fmla="*/ 0 w 71693"/>
                  <a:gd name="connsiteY3" fmla="*/ 5951 h 113058"/>
                  <a:gd name="connsiteX4" fmla="*/ 2974 w 71693"/>
                  <a:gd name="connsiteY4" fmla="*/ 0 h 113058"/>
                  <a:gd name="connsiteX5" fmla="*/ 8925 w 71693"/>
                  <a:gd name="connsiteY5" fmla="*/ 2975 h 113058"/>
                  <a:gd name="connsiteX6" fmla="*/ 17851 w 71693"/>
                  <a:gd name="connsiteY6" fmla="*/ 86282 h 113058"/>
                  <a:gd name="connsiteX7" fmla="*/ 20826 w 71693"/>
                  <a:gd name="connsiteY7" fmla="*/ 98182 h 113058"/>
                  <a:gd name="connsiteX8" fmla="*/ 41653 w 71693"/>
                  <a:gd name="connsiteY8" fmla="*/ 89256 h 113058"/>
                  <a:gd name="connsiteX9" fmla="*/ 59504 w 71693"/>
                  <a:gd name="connsiteY9" fmla="*/ 5951 h 113058"/>
                  <a:gd name="connsiteX10" fmla="*/ 62479 w 71693"/>
                  <a:gd name="connsiteY10" fmla="*/ 0 h 113058"/>
                  <a:gd name="connsiteX11" fmla="*/ 68429 w 71693"/>
                  <a:gd name="connsiteY11" fmla="*/ 2975 h 113058"/>
                  <a:gd name="connsiteX12" fmla="*/ 47603 w 71693"/>
                  <a:gd name="connsiteY12" fmla="*/ 95207 h 113058"/>
                  <a:gd name="connsiteX13" fmla="*/ 26777 w 71693"/>
                  <a:gd name="connsiteY13" fmla="*/ 113058 h 113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1693" h="113058">
                    <a:moveTo>
                      <a:pt x="26777" y="113058"/>
                    </a:moveTo>
                    <a:cubicBezTo>
                      <a:pt x="23801" y="113058"/>
                      <a:pt x="20826" y="113058"/>
                      <a:pt x="17851" y="110083"/>
                    </a:cubicBezTo>
                    <a:cubicBezTo>
                      <a:pt x="11901" y="107108"/>
                      <a:pt x="5950" y="98182"/>
                      <a:pt x="8925" y="83306"/>
                    </a:cubicBezTo>
                    <a:cubicBezTo>
                      <a:pt x="14876" y="65455"/>
                      <a:pt x="5950" y="20827"/>
                      <a:pt x="0" y="5951"/>
                    </a:cubicBezTo>
                    <a:cubicBezTo>
                      <a:pt x="0" y="2975"/>
                      <a:pt x="0" y="0"/>
                      <a:pt x="2974" y="0"/>
                    </a:cubicBezTo>
                    <a:cubicBezTo>
                      <a:pt x="5950" y="0"/>
                      <a:pt x="8925" y="0"/>
                      <a:pt x="8925" y="2975"/>
                    </a:cubicBezTo>
                    <a:cubicBezTo>
                      <a:pt x="8925" y="5951"/>
                      <a:pt x="26777" y="59504"/>
                      <a:pt x="17851" y="86282"/>
                    </a:cubicBezTo>
                    <a:cubicBezTo>
                      <a:pt x="17851" y="89256"/>
                      <a:pt x="14876" y="95207"/>
                      <a:pt x="20826" y="98182"/>
                    </a:cubicBezTo>
                    <a:cubicBezTo>
                      <a:pt x="26777" y="101158"/>
                      <a:pt x="35702" y="98182"/>
                      <a:pt x="41653" y="89256"/>
                    </a:cubicBezTo>
                    <a:cubicBezTo>
                      <a:pt x="56529" y="65455"/>
                      <a:pt x="68429" y="38678"/>
                      <a:pt x="59504" y="5951"/>
                    </a:cubicBezTo>
                    <a:cubicBezTo>
                      <a:pt x="59504" y="2975"/>
                      <a:pt x="59504" y="0"/>
                      <a:pt x="62479" y="0"/>
                    </a:cubicBezTo>
                    <a:cubicBezTo>
                      <a:pt x="65454" y="0"/>
                      <a:pt x="68429" y="0"/>
                      <a:pt x="68429" y="2975"/>
                    </a:cubicBezTo>
                    <a:cubicBezTo>
                      <a:pt x="80330" y="41654"/>
                      <a:pt x="56529" y="80331"/>
                      <a:pt x="47603" y="95207"/>
                    </a:cubicBezTo>
                    <a:cubicBezTo>
                      <a:pt x="44628" y="107108"/>
                      <a:pt x="35702" y="113058"/>
                      <a:pt x="26777" y="113058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7B24874B-13B1-4B3C-9A89-5F5FDB17298B}"/>
                </a:ext>
              </a:extLst>
            </p:cNvPr>
            <p:cNvSpPr/>
            <p:nvPr/>
          </p:nvSpPr>
          <p:spPr>
            <a:xfrm>
              <a:off x="12736780" y="8929963"/>
              <a:ext cx="768689" cy="919338"/>
            </a:xfrm>
            <a:custGeom>
              <a:avLst/>
              <a:gdLst>
                <a:gd name="connsiteX0" fmla="*/ 286706 w 768689"/>
                <a:gd name="connsiteY0" fmla="*/ 0 h 919338"/>
                <a:gd name="connsiteX1" fmla="*/ 316458 w 768689"/>
                <a:gd name="connsiteY1" fmla="*/ 544462 h 919338"/>
                <a:gd name="connsiteX2" fmla="*/ 768690 w 768689"/>
                <a:gd name="connsiteY2" fmla="*/ 803306 h 919338"/>
                <a:gd name="connsiteX3" fmla="*/ 664557 w 768689"/>
                <a:gd name="connsiteY3" fmla="*/ 919339 h 919338"/>
                <a:gd name="connsiteX4" fmla="*/ 66541 w 768689"/>
                <a:gd name="connsiteY4" fmla="*/ 636694 h 919338"/>
                <a:gd name="connsiteX5" fmla="*/ 1087 w 768689"/>
                <a:gd name="connsiteY5" fmla="*/ 29752 h 919338"/>
                <a:gd name="connsiteX6" fmla="*/ 286706 w 768689"/>
                <a:gd name="connsiteY6" fmla="*/ 0 h 919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8689" h="919338">
                  <a:moveTo>
                    <a:pt x="286706" y="0"/>
                  </a:moveTo>
                  <a:lnTo>
                    <a:pt x="316458" y="544462"/>
                  </a:lnTo>
                  <a:lnTo>
                    <a:pt x="768690" y="803306"/>
                  </a:lnTo>
                  <a:lnTo>
                    <a:pt x="664557" y="919339"/>
                  </a:lnTo>
                  <a:cubicBezTo>
                    <a:pt x="664557" y="919339"/>
                    <a:pt x="146872" y="731901"/>
                    <a:pt x="66541" y="636694"/>
                  </a:cubicBezTo>
                  <a:cubicBezTo>
                    <a:pt x="-13789" y="541488"/>
                    <a:pt x="1087" y="29752"/>
                    <a:pt x="1087" y="29752"/>
                  </a:cubicBezTo>
                  <a:lnTo>
                    <a:pt x="286706" y="0"/>
                  </a:ln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3" name="图形 1">
              <a:extLst>
                <a:ext uri="{FF2B5EF4-FFF2-40B4-BE49-F238E27FC236}">
                  <a16:creationId xmlns:a16="http://schemas.microsoft.com/office/drawing/2014/main" id="{37CAF3E2-D724-46D5-AFBE-E4AA3A00E826}"/>
                </a:ext>
              </a:extLst>
            </p:cNvPr>
            <p:cNvGrpSpPr/>
            <p:nvPr/>
          </p:nvGrpSpPr>
          <p:grpSpPr>
            <a:xfrm>
              <a:off x="13378279" y="9706379"/>
              <a:ext cx="359255" cy="301551"/>
              <a:chOff x="13378279" y="9706379"/>
              <a:chExt cx="359255" cy="301551"/>
            </a:xfrm>
          </p:grpSpPr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5E6B35CE-0937-4919-8E48-FBB044008E04}"/>
                  </a:ext>
                </a:extLst>
              </p:cNvPr>
              <p:cNvSpPr/>
              <p:nvPr/>
            </p:nvSpPr>
            <p:spPr>
              <a:xfrm>
                <a:off x="13378279" y="9706379"/>
                <a:ext cx="352342" cy="301551"/>
              </a:xfrm>
              <a:custGeom>
                <a:avLst/>
                <a:gdLst>
                  <a:gd name="connsiteX0" fmla="*/ 20083 w 352342"/>
                  <a:gd name="connsiteY0" fmla="*/ 145898 h 301551"/>
                  <a:gd name="connsiteX1" fmla="*/ 94463 w 352342"/>
                  <a:gd name="connsiteY1" fmla="*/ 205402 h 301551"/>
                  <a:gd name="connsiteX2" fmla="*/ 162893 w 352342"/>
                  <a:gd name="connsiteY2" fmla="*/ 273831 h 301551"/>
                  <a:gd name="connsiteX3" fmla="*/ 210496 w 352342"/>
                  <a:gd name="connsiteY3" fmla="*/ 300609 h 301551"/>
                  <a:gd name="connsiteX4" fmla="*/ 189670 w 352342"/>
                  <a:gd name="connsiteY4" fmla="*/ 238129 h 301551"/>
                  <a:gd name="connsiteX5" fmla="*/ 234298 w 352342"/>
                  <a:gd name="connsiteY5" fmla="*/ 270857 h 301551"/>
                  <a:gd name="connsiteX6" fmla="*/ 302727 w 352342"/>
                  <a:gd name="connsiteY6" fmla="*/ 300609 h 301551"/>
                  <a:gd name="connsiteX7" fmla="*/ 311653 w 352342"/>
                  <a:gd name="connsiteY7" fmla="*/ 285733 h 301551"/>
                  <a:gd name="connsiteX8" fmla="*/ 344380 w 352342"/>
                  <a:gd name="connsiteY8" fmla="*/ 288707 h 301551"/>
                  <a:gd name="connsiteX9" fmla="*/ 326529 w 352342"/>
                  <a:gd name="connsiteY9" fmla="*/ 226229 h 301551"/>
                  <a:gd name="connsiteX10" fmla="*/ 287851 w 352342"/>
                  <a:gd name="connsiteY10" fmla="*/ 178625 h 301551"/>
                  <a:gd name="connsiteX11" fmla="*/ 326529 w 352342"/>
                  <a:gd name="connsiteY11" fmla="*/ 196477 h 301551"/>
                  <a:gd name="connsiteX12" fmla="*/ 347355 w 352342"/>
                  <a:gd name="connsiteY12" fmla="*/ 196477 h 301551"/>
                  <a:gd name="connsiteX13" fmla="*/ 308678 w 352342"/>
                  <a:gd name="connsiteY13" fmla="*/ 131022 h 301551"/>
                  <a:gd name="connsiteX14" fmla="*/ 85538 w 352342"/>
                  <a:gd name="connsiteY14" fmla="*/ 113 h 301551"/>
                  <a:gd name="connsiteX15" fmla="*/ 2231 w 352342"/>
                  <a:gd name="connsiteY15" fmla="*/ 92344 h 301551"/>
                  <a:gd name="connsiteX16" fmla="*/ 20083 w 352342"/>
                  <a:gd name="connsiteY16" fmla="*/ 145898 h 301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52342" h="301551">
                    <a:moveTo>
                      <a:pt x="20083" y="145898"/>
                    </a:moveTo>
                    <a:cubicBezTo>
                      <a:pt x="43885" y="166725"/>
                      <a:pt x="70661" y="184575"/>
                      <a:pt x="94463" y="205402"/>
                    </a:cubicBezTo>
                    <a:cubicBezTo>
                      <a:pt x="118265" y="226229"/>
                      <a:pt x="139091" y="253005"/>
                      <a:pt x="162893" y="273831"/>
                    </a:cubicBezTo>
                    <a:cubicBezTo>
                      <a:pt x="171818" y="282757"/>
                      <a:pt x="195620" y="306559"/>
                      <a:pt x="210496" y="300609"/>
                    </a:cubicBezTo>
                    <a:cubicBezTo>
                      <a:pt x="231322" y="294658"/>
                      <a:pt x="210496" y="264906"/>
                      <a:pt x="189670" y="238129"/>
                    </a:cubicBezTo>
                    <a:cubicBezTo>
                      <a:pt x="204546" y="250030"/>
                      <a:pt x="219422" y="261931"/>
                      <a:pt x="234298" y="270857"/>
                    </a:cubicBezTo>
                    <a:cubicBezTo>
                      <a:pt x="249174" y="282757"/>
                      <a:pt x="281901" y="306559"/>
                      <a:pt x="302727" y="300609"/>
                    </a:cubicBezTo>
                    <a:cubicBezTo>
                      <a:pt x="308678" y="297634"/>
                      <a:pt x="311653" y="294658"/>
                      <a:pt x="311653" y="285733"/>
                    </a:cubicBezTo>
                    <a:cubicBezTo>
                      <a:pt x="326529" y="294658"/>
                      <a:pt x="338430" y="297634"/>
                      <a:pt x="344380" y="288707"/>
                    </a:cubicBezTo>
                    <a:cubicBezTo>
                      <a:pt x="356282" y="270857"/>
                      <a:pt x="335455" y="238129"/>
                      <a:pt x="326529" y="226229"/>
                    </a:cubicBezTo>
                    <a:cubicBezTo>
                      <a:pt x="314628" y="208377"/>
                      <a:pt x="302727" y="193501"/>
                      <a:pt x="287851" y="178625"/>
                    </a:cubicBezTo>
                    <a:cubicBezTo>
                      <a:pt x="299752" y="184575"/>
                      <a:pt x="314628" y="193501"/>
                      <a:pt x="326529" y="196477"/>
                    </a:cubicBezTo>
                    <a:cubicBezTo>
                      <a:pt x="332479" y="199451"/>
                      <a:pt x="341405" y="202427"/>
                      <a:pt x="347355" y="196477"/>
                    </a:cubicBezTo>
                    <a:cubicBezTo>
                      <a:pt x="368182" y="178625"/>
                      <a:pt x="317603" y="139947"/>
                      <a:pt x="308678" y="131022"/>
                    </a:cubicBezTo>
                    <a:cubicBezTo>
                      <a:pt x="240248" y="77468"/>
                      <a:pt x="159918" y="44741"/>
                      <a:pt x="85538" y="113"/>
                    </a:cubicBezTo>
                    <a:cubicBezTo>
                      <a:pt x="85538" y="-2863"/>
                      <a:pt x="11157" y="53666"/>
                      <a:pt x="2231" y="92344"/>
                    </a:cubicBezTo>
                    <a:cubicBezTo>
                      <a:pt x="-3719" y="122096"/>
                      <a:pt x="2231" y="128046"/>
                      <a:pt x="20083" y="145898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89A4D8DC-86D1-4FB3-ABC0-0EF55877FD92}"/>
                  </a:ext>
                </a:extLst>
              </p:cNvPr>
              <p:cNvSpPr/>
              <p:nvPr/>
            </p:nvSpPr>
            <p:spPr>
              <a:xfrm>
                <a:off x="13594726" y="9777896"/>
                <a:ext cx="142809" cy="136859"/>
              </a:xfrm>
              <a:custGeom>
                <a:avLst/>
                <a:gdLst>
                  <a:gd name="connsiteX0" fmla="*/ 121984 w 142809"/>
                  <a:gd name="connsiteY0" fmla="*/ 136860 h 136859"/>
                  <a:gd name="connsiteX1" fmla="*/ 68429 w 142809"/>
                  <a:gd name="connsiteY1" fmla="*/ 113057 h 136859"/>
                  <a:gd name="connsiteX2" fmla="*/ 5951 w 142809"/>
                  <a:gd name="connsiteY2" fmla="*/ 65455 h 136859"/>
                  <a:gd name="connsiteX3" fmla="*/ 0 w 142809"/>
                  <a:gd name="connsiteY3" fmla="*/ 59504 h 136859"/>
                  <a:gd name="connsiteX4" fmla="*/ 5951 w 142809"/>
                  <a:gd name="connsiteY4" fmla="*/ 53553 h 136859"/>
                  <a:gd name="connsiteX5" fmla="*/ 77356 w 142809"/>
                  <a:gd name="connsiteY5" fmla="*/ 101157 h 136859"/>
                  <a:gd name="connsiteX6" fmla="*/ 130909 w 142809"/>
                  <a:gd name="connsiteY6" fmla="*/ 119008 h 136859"/>
                  <a:gd name="connsiteX7" fmla="*/ 133884 w 142809"/>
                  <a:gd name="connsiteY7" fmla="*/ 116033 h 136859"/>
                  <a:gd name="connsiteX8" fmla="*/ 8925 w 142809"/>
                  <a:gd name="connsiteY8" fmla="*/ 8925 h 136859"/>
                  <a:gd name="connsiteX9" fmla="*/ 5951 w 142809"/>
                  <a:gd name="connsiteY9" fmla="*/ 2975 h 136859"/>
                  <a:gd name="connsiteX10" fmla="*/ 11901 w 142809"/>
                  <a:gd name="connsiteY10" fmla="*/ 0 h 136859"/>
                  <a:gd name="connsiteX11" fmla="*/ 142810 w 142809"/>
                  <a:gd name="connsiteY11" fmla="*/ 116033 h 136859"/>
                  <a:gd name="connsiteX12" fmla="*/ 133884 w 142809"/>
                  <a:gd name="connsiteY12" fmla="*/ 130909 h 136859"/>
                  <a:gd name="connsiteX13" fmla="*/ 121984 w 142809"/>
                  <a:gd name="connsiteY13" fmla="*/ 136860 h 136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2809" h="136859">
                    <a:moveTo>
                      <a:pt x="121984" y="136860"/>
                    </a:moveTo>
                    <a:cubicBezTo>
                      <a:pt x="98181" y="136860"/>
                      <a:pt x="71405" y="116033"/>
                      <a:pt x="68429" y="113057"/>
                    </a:cubicBezTo>
                    <a:cubicBezTo>
                      <a:pt x="41653" y="92232"/>
                      <a:pt x="11901" y="68429"/>
                      <a:pt x="5951" y="65455"/>
                    </a:cubicBezTo>
                    <a:cubicBezTo>
                      <a:pt x="2975" y="65455"/>
                      <a:pt x="0" y="62480"/>
                      <a:pt x="0" y="59504"/>
                    </a:cubicBezTo>
                    <a:cubicBezTo>
                      <a:pt x="0" y="56529"/>
                      <a:pt x="2975" y="53553"/>
                      <a:pt x="5951" y="53553"/>
                    </a:cubicBezTo>
                    <a:cubicBezTo>
                      <a:pt x="20827" y="53553"/>
                      <a:pt x="62480" y="92232"/>
                      <a:pt x="77356" y="101157"/>
                    </a:cubicBezTo>
                    <a:cubicBezTo>
                      <a:pt x="86281" y="107108"/>
                      <a:pt x="119008" y="127934"/>
                      <a:pt x="130909" y="119008"/>
                    </a:cubicBezTo>
                    <a:cubicBezTo>
                      <a:pt x="130909" y="119008"/>
                      <a:pt x="133884" y="116033"/>
                      <a:pt x="133884" y="116033"/>
                    </a:cubicBezTo>
                    <a:cubicBezTo>
                      <a:pt x="133884" y="101157"/>
                      <a:pt x="95207" y="56529"/>
                      <a:pt x="8925" y="8925"/>
                    </a:cubicBezTo>
                    <a:cubicBezTo>
                      <a:pt x="5951" y="8925"/>
                      <a:pt x="5951" y="2975"/>
                      <a:pt x="5951" y="2975"/>
                    </a:cubicBezTo>
                    <a:cubicBezTo>
                      <a:pt x="5951" y="0"/>
                      <a:pt x="11901" y="0"/>
                      <a:pt x="11901" y="0"/>
                    </a:cubicBezTo>
                    <a:cubicBezTo>
                      <a:pt x="86281" y="41653"/>
                      <a:pt x="142810" y="89256"/>
                      <a:pt x="142810" y="116033"/>
                    </a:cubicBezTo>
                    <a:cubicBezTo>
                      <a:pt x="142810" y="121984"/>
                      <a:pt x="139835" y="127934"/>
                      <a:pt x="133884" y="130909"/>
                    </a:cubicBezTo>
                    <a:cubicBezTo>
                      <a:pt x="130909" y="136860"/>
                      <a:pt x="124959" y="136860"/>
                      <a:pt x="121984" y="136860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AD23657F-283A-42A4-BB15-026E8B7ACF4C}"/>
                  </a:ext>
                </a:extLst>
              </p:cNvPr>
              <p:cNvSpPr/>
              <p:nvPr/>
            </p:nvSpPr>
            <p:spPr>
              <a:xfrm>
                <a:off x="13576874" y="9876078"/>
                <a:ext cx="120330" cy="124959"/>
              </a:xfrm>
              <a:custGeom>
                <a:avLst/>
                <a:gdLst>
                  <a:gd name="connsiteX0" fmla="*/ 113058 w 120330"/>
                  <a:gd name="connsiteY0" fmla="*/ 124959 h 124959"/>
                  <a:gd name="connsiteX1" fmla="*/ 110083 w 120330"/>
                  <a:gd name="connsiteY1" fmla="*/ 121984 h 124959"/>
                  <a:gd name="connsiteX2" fmla="*/ 2975 w 120330"/>
                  <a:gd name="connsiteY2" fmla="*/ 8926 h 124959"/>
                  <a:gd name="connsiteX3" fmla="*/ 0 w 120330"/>
                  <a:gd name="connsiteY3" fmla="*/ 2975 h 124959"/>
                  <a:gd name="connsiteX4" fmla="*/ 5951 w 120330"/>
                  <a:gd name="connsiteY4" fmla="*/ 0 h 124959"/>
                  <a:gd name="connsiteX5" fmla="*/ 119008 w 120330"/>
                  <a:gd name="connsiteY5" fmla="*/ 116034 h 124959"/>
                  <a:gd name="connsiteX6" fmla="*/ 119008 w 120330"/>
                  <a:gd name="connsiteY6" fmla="*/ 124959 h 124959"/>
                  <a:gd name="connsiteX7" fmla="*/ 113058 w 120330"/>
                  <a:gd name="connsiteY7" fmla="*/ 124959 h 124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0330" h="124959">
                    <a:moveTo>
                      <a:pt x="113058" y="124959"/>
                    </a:moveTo>
                    <a:cubicBezTo>
                      <a:pt x="110083" y="124959"/>
                      <a:pt x="110083" y="124959"/>
                      <a:pt x="110083" y="121984"/>
                    </a:cubicBezTo>
                    <a:cubicBezTo>
                      <a:pt x="110083" y="121984"/>
                      <a:pt x="32727" y="20827"/>
                      <a:pt x="2975" y="8926"/>
                    </a:cubicBezTo>
                    <a:cubicBezTo>
                      <a:pt x="0" y="8926"/>
                      <a:pt x="0" y="2975"/>
                      <a:pt x="0" y="2975"/>
                    </a:cubicBezTo>
                    <a:cubicBezTo>
                      <a:pt x="0" y="0"/>
                      <a:pt x="5951" y="0"/>
                      <a:pt x="5951" y="0"/>
                    </a:cubicBezTo>
                    <a:cubicBezTo>
                      <a:pt x="38678" y="14876"/>
                      <a:pt x="116033" y="113058"/>
                      <a:pt x="119008" y="116034"/>
                    </a:cubicBezTo>
                    <a:cubicBezTo>
                      <a:pt x="121984" y="119008"/>
                      <a:pt x="119008" y="121984"/>
                      <a:pt x="119008" y="124959"/>
                    </a:cubicBezTo>
                    <a:cubicBezTo>
                      <a:pt x="113058" y="124959"/>
                      <a:pt x="113058" y="124959"/>
                      <a:pt x="113058" y="124959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0A07CC70-A1CD-477D-A670-5BD787D994DA}"/>
                  </a:ext>
                </a:extLst>
              </p:cNvPr>
              <p:cNvSpPr/>
              <p:nvPr/>
            </p:nvSpPr>
            <p:spPr>
              <a:xfrm>
                <a:off x="13521090" y="9906574"/>
                <a:ext cx="55041" cy="43884"/>
              </a:xfrm>
              <a:custGeom>
                <a:avLst/>
                <a:gdLst>
                  <a:gd name="connsiteX0" fmla="*/ 46860 w 55041"/>
                  <a:gd name="connsiteY0" fmla="*/ 43884 h 43884"/>
                  <a:gd name="connsiteX1" fmla="*/ 43884 w 55041"/>
                  <a:gd name="connsiteY1" fmla="*/ 43884 h 43884"/>
                  <a:gd name="connsiteX2" fmla="*/ 2232 w 55041"/>
                  <a:gd name="connsiteY2" fmla="*/ 11158 h 43884"/>
                  <a:gd name="connsiteX3" fmla="*/ 2232 w 55041"/>
                  <a:gd name="connsiteY3" fmla="*/ 2232 h 43884"/>
                  <a:gd name="connsiteX4" fmla="*/ 11157 w 55041"/>
                  <a:gd name="connsiteY4" fmla="*/ 2232 h 43884"/>
                  <a:gd name="connsiteX5" fmla="*/ 52810 w 55041"/>
                  <a:gd name="connsiteY5" fmla="*/ 34959 h 43884"/>
                  <a:gd name="connsiteX6" fmla="*/ 52810 w 55041"/>
                  <a:gd name="connsiteY6" fmla="*/ 43884 h 43884"/>
                  <a:gd name="connsiteX7" fmla="*/ 46860 w 55041"/>
                  <a:gd name="connsiteY7" fmla="*/ 43884 h 4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041" h="43884">
                    <a:moveTo>
                      <a:pt x="46860" y="43884"/>
                    </a:moveTo>
                    <a:cubicBezTo>
                      <a:pt x="46860" y="43884"/>
                      <a:pt x="43884" y="43884"/>
                      <a:pt x="43884" y="43884"/>
                    </a:cubicBezTo>
                    <a:lnTo>
                      <a:pt x="2232" y="11158"/>
                    </a:lnTo>
                    <a:cubicBezTo>
                      <a:pt x="-744" y="8182"/>
                      <a:pt x="-744" y="5207"/>
                      <a:pt x="2232" y="2232"/>
                    </a:cubicBezTo>
                    <a:cubicBezTo>
                      <a:pt x="5207" y="-744"/>
                      <a:pt x="8181" y="-744"/>
                      <a:pt x="11157" y="2232"/>
                    </a:cubicBezTo>
                    <a:lnTo>
                      <a:pt x="52810" y="34959"/>
                    </a:lnTo>
                    <a:cubicBezTo>
                      <a:pt x="55785" y="37934"/>
                      <a:pt x="55785" y="40910"/>
                      <a:pt x="52810" y="43884"/>
                    </a:cubicBezTo>
                    <a:cubicBezTo>
                      <a:pt x="49835" y="43884"/>
                      <a:pt x="49835" y="43884"/>
                      <a:pt x="46860" y="43884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CFDDB0D3-1CEA-4C62-9929-927C977521AE}"/>
                  </a:ext>
                </a:extLst>
              </p:cNvPr>
              <p:cNvSpPr/>
              <p:nvPr/>
            </p:nvSpPr>
            <p:spPr>
              <a:xfrm>
                <a:off x="13483411" y="9797491"/>
                <a:ext cx="70894" cy="90488"/>
              </a:xfrm>
              <a:custGeom>
                <a:avLst/>
                <a:gdLst>
                  <a:gd name="connsiteX0" fmla="*/ 7183 w 70894"/>
                  <a:gd name="connsiteY0" fmla="*/ 90489 h 90488"/>
                  <a:gd name="connsiteX1" fmla="*/ 1232 w 70894"/>
                  <a:gd name="connsiteY1" fmla="*/ 87513 h 90488"/>
                  <a:gd name="connsiteX2" fmla="*/ 4207 w 70894"/>
                  <a:gd name="connsiteY2" fmla="*/ 78587 h 90488"/>
                  <a:gd name="connsiteX3" fmla="*/ 60736 w 70894"/>
                  <a:gd name="connsiteY3" fmla="*/ 4207 h 90488"/>
                  <a:gd name="connsiteX4" fmla="*/ 66687 w 70894"/>
                  <a:gd name="connsiteY4" fmla="*/ 1232 h 90488"/>
                  <a:gd name="connsiteX5" fmla="*/ 69662 w 70894"/>
                  <a:gd name="connsiteY5" fmla="*/ 7182 h 90488"/>
                  <a:gd name="connsiteX6" fmla="*/ 7183 w 70894"/>
                  <a:gd name="connsiteY6" fmla="*/ 90489 h 90488"/>
                  <a:gd name="connsiteX7" fmla="*/ 7183 w 70894"/>
                  <a:gd name="connsiteY7" fmla="*/ 90489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0894" h="90488">
                    <a:moveTo>
                      <a:pt x="7183" y="90489"/>
                    </a:moveTo>
                    <a:cubicBezTo>
                      <a:pt x="4207" y="90489"/>
                      <a:pt x="4207" y="90489"/>
                      <a:pt x="1232" y="87513"/>
                    </a:cubicBezTo>
                    <a:cubicBezTo>
                      <a:pt x="-1742" y="84538"/>
                      <a:pt x="1232" y="81563"/>
                      <a:pt x="4207" y="78587"/>
                    </a:cubicBezTo>
                    <a:cubicBezTo>
                      <a:pt x="48836" y="51810"/>
                      <a:pt x="60736" y="4207"/>
                      <a:pt x="60736" y="4207"/>
                    </a:cubicBezTo>
                    <a:cubicBezTo>
                      <a:pt x="60736" y="1232"/>
                      <a:pt x="63712" y="-1743"/>
                      <a:pt x="66687" y="1232"/>
                    </a:cubicBezTo>
                    <a:cubicBezTo>
                      <a:pt x="69662" y="1232"/>
                      <a:pt x="72638" y="4207"/>
                      <a:pt x="69662" y="7182"/>
                    </a:cubicBezTo>
                    <a:cubicBezTo>
                      <a:pt x="69662" y="10158"/>
                      <a:pt x="60736" y="63711"/>
                      <a:pt x="7183" y="90489"/>
                    </a:cubicBezTo>
                    <a:cubicBezTo>
                      <a:pt x="10158" y="90489"/>
                      <a:pt x="7183" y="90489"/>
                      <a:pt x="7183" y="90489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2FBF13BC-358C-45E3-B217-CF2677ACF4FC}"/>
                </a:ext>
              </a:extLst>
            </p:cNvPr>
            <p:cNvSpPr/>
            <p:nvPr/>
          </p:nvSpPr>
          <p:spPr>
            <a:xfrm>
              <a:off x="12981833" y="8926987"/>
              <a:ext cx="74380" cy="574215"/>
            </a:xfrm>
            <a:custGeom>
              <a:avLst/>
              <a:gdLst>
                <a:gd name="connsiteX0" fmla="*/ 5951 w 74380"/>
                <a:gd name="connsiteY0" fmla="*/ 574215 h 574215"/>
                <a:gd name="connsiteX1" fmla="*/ 0 w 74380"/>
                <a:gd name="connsiteY1" fmla="*/ 571240 h 574215"/>
                <a:gd name="connsiteX2" fmla="*/ 2975 w 74380"/>
                <a:gd name="connsiteY2" fmla="*/ 565289 h 574215"/>
                <a:gd name="connsiteX3" fmla="*/ 59504 w 74380"/>
                <a:gd name="connsiteY3" fmla="*/ 547438 h 574215"/>
                <a:gd name="connsiteX4" fmla="*/ 32727 w 74380"/>
                <a:gd name="connsiteY4" fmla="*/ 5951 h 574215"/>
                <a:gd name="connsiteX5" fmla="*/ 38678 w 74380"/>
                <a:gd name="connsiteY5" fmla="*/ 0 h 574215"/>
                <a:gd name="connsiteX6" fmla="*/ 38678 w 74380"/>
                <a:gd name="connsiteY6" fmla="*/ 0 h 574215"/>
                <a:gd name="connsiteX7" fmla="*/ 44628 w 74380"/>
                <a:gd name="connsiteY7" fmla="*/ 5951 h 574215"/>
                <a:gd name="connsiteX8" fmla="*/ 74380 w 74380"/>
                <a:gd name="connsiteY8" fmla="*/ 550413 h 574215"/>
                <a:gd name="connsiteX9" fmla="*/ 71405 w 74380"/>
                <a:gd name="connsiteY9" fmla="*/ 556364 h 574215"/>
                <a:gd name="connsiteX10" fmla="*/ 5951 w 74380"/>
                <a:gd name="connsiteY10" fmla="*/ 574215 h 574215"/>
                <a:gd name="connsiteX11" fmla="*/ 5951 w 74380"/>
                <a:gd name="connsiteY11" fmla="*/ 574215 h 574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380" h="574215">
                  <a:moveTo>
                    <a:pt x="5951" y="574215"/>
                  </a:moveTo>
                  <a:cubicBezTo>
                    <a:pt x="2975" y="574215"/>
                    <a:pt x="0" y="571240"/>
                    <a:pt x="0" y="571240"/>
                  </a:cubicBezTo>
                  <a:cubicBezTo>
                    <a:pt x="0" y="568265"/>
                    <a:pt x="0" y="565289"/>
                    <a:pt x="2975" y="565289"/>
                  </a:cubicBezTo>
                  <a:cubicBezTo>
                    <a:pt x="17851" y="562314"/>
                    <a:pt x="50579" y="550413"/>
                    <a:pt x="59504" y="547438"/>
                  </a:cubicBezTo>
                  <a:lnTo>
                    <a:pt x="32727" y="5951"/>
                  </a:lnTo>
                  <a:cubicBezTo>
                    <a:pt x="32727" y="2975"/>
                    <a:pt x="35703" y="0"/>
                    <a:pt x="38678" y="0"/>
                  </a:cubicBezTo>
                  <a:cubicBezTo>
                    <a:pt x="38678" y="0"/>
                    <a:pt x="38678" y="0"/>
                    <a:pt x="38678" y="0"/>
                  </a:cubicBezTo>
                  <a:cubicBezTo>
                    <a:pt x="41653" y="0"/>
                    <a:pt x="44628" y="2975"/>
                    <a:pt x="44628" y="5951"/>
                  </a:cubicBezTo>
                  <a:lnTo>
                    <a:pt x="74380" y="550413"/>
                  </a:lnTo>
                  <a:cubicBezTo>
                    <a:pt x="74380" y="553389"/>
                    <a:pt x="74380" y="556364"/>
                    <a:pt x="71405" y="556364"/>
                  </a:cubicBezTo>
                  <a:cubicBezTo>
                    <a:pt x="68430" y="556364"/>
                    <a:pt x="26777" y="571240"/>
                    <a:pt x="5951" y="574215"/>
                  </a:cubicBezTo>
                  <a:cubicBezTo>
                    <a:pt x="5951" y="574215"/>
                    <a:pt x="5951" y="574215"/>
                    <a:pt x="5951" y="574215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8677A99D-8E28-4EA5-8473-7EBB91AF8ABB}"/>
                </a:ext>
              </a:extLst>
            </p:cNvPr>
            <p:cNvSpPr/>
            <p:nvPr/>
          </p:nvSpPr>
          <p:spPr>
            <a:xfrm>
              <a:off x="12678363" y="8561490"/>
              <a:ext cx="410578" cy="576198"/>
            </a:xfrm>
            <a:custGeom>
              <a:avLst/>
              <a:gdLst>
                <a:gd name="connsiteX0" fmla="*/ 0 w 410578"/>
                <a:gd name="connsiteY0" fmla="*/ 564837 h 576198"/>
                <a:gd name="connsiteX1" fmla="*/ 160661 w 410578"/>
                <a:gd name="connsiteY1" fmla="*/ 2523 h 576198"/>
                <a:gd name="connsiteX2" fmla="*/ 410578 w 410578"/>
                <a:gd name="connsiteY2" fmla="*/ 520209 h 576198"/>
                <a:gd name="connsiteX3" fmla="*/ 0 w 410578"/>
                <a:gd name="connsiteY3" fmla="*/ 564837 h 57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578" h="576198">
                  <a:moveTo>
                    <a:pt x="0" y="564837"/>
                  </a:moveTo>
                  <a:cubicBezTo>
                    <a:pt x="0" y="564837"/>
                    <a:pt x="23801" y="41200"/>
                    <a:pt x="160661" y="2523"/>
                  </a:cubicBezTo>
                  <a:cubicBezTo>
                    <a:pt x="321322" y="-42106"/>
                    <a:pt x="410578" y="520209"/>
                    <a:pt x="410578" y="520209"/>
                  </a:cubicBezTo>
                  <a:cubicBezTo>
                    <a:pt x="410578" y="520209"/>
                    <a:pt x="205289" y="606490"/>
                    <a:pt x="0" y="564837"/>
                  </a:cubicBezTo>
                  <a:close/>
                </a:path>
              </a:pathLst>
            </a:custGeom>
            <a:solidFill>
              <a:srgbClr val="D1615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86D11556-BFFC-47A7-9247-C1B12164B4C7}"/>
                </a:ext>
              </a:extLst>
            </p:cNvPr>
            <p:cNvSpPr/>
            <p:nvPr/>
          </p:nvSpPr>
          <p:spPr>
            <a:xfrm>
              <a:off x="12675387" y="8558062"/>
              <a:ext cx="416528" cy="592065"/>
            </a:xfrm>
            <a:custGeom>
              <a:avLst/>
              <a:gdLst>
                <a:gd name="connsiteX0" fmla="*/ 127934 w 416528"/>
                <a:gd name="connsiteY0" fmla="*/ 592066 h 592065"/>
                <a:gd name="connsiteX1" fmla="*/ 2975 w 416528"/>
                <a:gd name="connsiteY1" fmla="*/ 574215 h 592065"/>
                <a:gd name="connsiteX2" fmla="*/ 0 w 416528"/>
                <a:gd name="connsiteY2" fmla="*/ 574215 h 592065"/>
                <a:gd name="connsiteX3" fmla="*/ 0 w 416528"/>
                <a:gd name="connsiteY3" fmla="*/ 571240 h 592065"/>
                <a:gd name="connsiteX4" fmla="*/ 32727 w 416528"/>
                <a:gd name="connsiteY4" fmla="*/ 276694 h 592065"/>
                <a:gd name="connsiteX5" fmla="*/ 38677 w 416528"/>
                <a:gd name="connsiteY5" fmla="*/ 273719 h 592065"/>
                <a:gd name="connsiteX6" fmla="*/ 41653 w 416528"/>
                <a:gd name="connsiteY6" fmla="*/ 279669 h 592065"/>
                <a:gd name="connsiteX7" fmla="*/ 8925 w 416528"/>
                <a:gd name="connsiteY7" fmla="*/ 568265 h 592065"/>
                <a:gd name="connsiteX8" fmla="*/ 407603 w 416528"/>
                <a:gd name="connsiteY8" fmla="*/ 523637 h 592065"/>
                <a:gd name="connsiteX9" fmla="*/ 321322 w 416528"/>
                <a:gd name="connsiteY9" fmla="*/ 187438 h 592065"/>
                <a:gd name="connsiteX10" fmla="*/ 163636 w 416528"/>
                <a:gd name="connsiteY10" fmla="*/ 11901 h 592065"/>
                <a:gd name="connsiteX11" fmla="*/ 157686 w 416528"/>
                <a:gd name="connsiteY11" fmla="*/ 5950 h 592065"/>
                <a:gd name="connsiteX12" fmla="*/ 163636 w 416528"/>
                <a:gd name="connsiteY12" fmla="*/ 0 h 592065"/>
                <a:gd name="connsiteX13" fmla="*/ 163636 w 416528"/>
                <a:gd name="connsiteY13" fmla="*/ 0 h 592065"/>
                <a:gd name="connsiteX14" fmla="*/ 330248 w 416528"/>
                <a:gd name="connsiteY14" fmla="*/ 181488 h 592065"/>
                <a:gd name="connsiteX15" fmla="*/ 416529 w 416528"/>
                <a:gd name="connsiteY15" fmla="*/ 523637 h 592065"/>
                <a:gd name="connsiteX16" fmla="*/ 416529 w 416528"/>
                <a:gd name="connsiteY16" fmla="*/ 526612 h 592065"/>
                <a:gd name="connsiteX17" fmla="*/ 413554 w 416528"/>
                <a:gd name="connsiteY17" fmla="*/ 529587 h 592065"/>
                <a:gd name="connsiteX18" fmla="*/ 127934 w 416528"/>
                <a:gd name="connsiteY18" fmla="*/ 592066 h 592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16528" h="592065">
                  <a:moveTo>
                    <a:pt x="127934" y="592066"/>
                  </a:moveTo>
                  <a:cubicBezTo>
                    <a:pt x="86281" y="592066"/>
                    <a:pt x="41653" y="586116"/>
                    <a:pt x="2975" y="574215"/>
                  </a:cubicBezTo>
                  <a:lnTo>
                    <a:pt x="0" y="574215"/>
                  </a:lnTo>
                  <a:lnTo>
                    <a:pt x="0" y="571240"/>
                  </a:lnTo>
                  <a:cubicBezTo>
                    <a:pt x="0" y="568265"/>
                    <a:pt x="5950" y="392727"/>
                    <a:pt x="32727" y="276694"/>
                  </a:cubicBezTo>
                  <a:cubicBezTo>
                    <a:pt x="32727" y="273719"/>
                    <a:pt x="35702" y="270744"/>
                    <a:pt x="38677" y="273719"/>
                  </a:cubicBezTo>
                  <a:cubicBezTo>
                    <a:pt x="41653" y="273719"/>
                    <a:pt x="44628" y="276694"/>
                    <a:pt x="41653" y="279669"/>
                  </a:cubicBezTo>
                  <a:cubicBezTo>
                    <a:pt x="17851" y="383801"/>
                    <a:pt x="8925" y="541488"/>
                    <a:pt x="8925" y="568265"/>
                  </a:cubicBezTo>
                  <a:cubicBezTo>
                    <a:pt x="169586" y="621818"/>
                    <a:pt x="374876" y="538513"/>
                    <a:pt x="407603" y="523637"/>
                  </a:cubicBezTo>
                  <a:cubicBezTo>
                    <a:pt x="401653" y="496859"/>
                    <a:pt x="368925" y="342149"/>
                    <a:pt x="321322" y="187438"/>
                  </a:cubicBezTo>
                  <a:cubicBezTo>
                    <a:pt x="270744" y="20826"/>
                    <a:pt x="163636" y="11901"/>
                    <a:pt x="163636" y="11901"/>
                  </a:cubicBezTo>
                  <a:cubicBezTo>
                    <a:pt x="160661" y="11901"/>
                    <a:pt x="157686" y="8926"/>
                    <a:pt x="157686" y="5950"/>
                  </a:cubicBezTo>
                  <a:cubicBezTo>
                    <a:pt x="157686" y="2975"/>
                    <a:pt x="160661" y="0"/>
                    <a:pt x="163636" y="0"/>
                  </a:cubicBezTo>
                  <a:cubicBezTo>
                    <a:pt x="163636" y="0"/>
                    <a:pt x="163636" y="0"/>
                    <a:pt x="163636" y="0"/>
                  </a:cubicBezTo>
                  <a:cubicBezTo>
                    <a:pt x="169586" y="0"/>
                    <a:pt x="279669" y="8926"/>
                    <a:pt x="330248" y="181488"/>
                  </a:cubicBezTo>
                  <a:cubicBezTo>
                    <a:pt x="380826" y="351074"/>
                    <a:pt x="416529" y="520661"/>
                    <a:pt x="416529" y="523637"/>
                  </a:cubicBezTo>
                  <a:lnTo>
                    <a:pt x="416529" y="526612"/>
                  </a:lnTo>
                  <a:lnTo>
                    <a:pt x="413554" y="529587"/>
                  </a:lnTo>
                  <a:cubicBezTo>
                    <a:pt x="413554" y="529587"/>
                    <a:pt x="273718" y="592066"/>
                    <a:pt x="127934" y="592066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376507629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图形 1">
            <a:extLst>
              <a:ext uri="{FF2B5EF4-FFF2-40B4-BE49-F238E27FC236}">
                <a16:creationId xmlns:a16="http://schemas.microsoft.com/office/drawing/2014/main" id="{0ABFD0E1-2F66-48B3-9406-CBDAF50C759C}"/>
              </a:ext>
            </a:extLst>
          </p:cNvPr>
          <p:cNvGrpSpPr/>
          <p:nvPr/>
        </p:nvGrpSpPr>
        <p:grpSpPr>
          <a:xfrm>
            <a:off x="6346599" y="2182169"/>
            <a:ext cx="3321362" cy="4675831"/>
            <a:chOff x="23130263" y="7833304"/>
            <a:chExt cx="3321362" cy="4675831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69109715-910F-42B7-BCBF-A353E9C76AE8}"/>
                </a:ext>
              </a:extLst>
            </p:cNvPr>
            <p:cNvSpPr/>
            <p:nvPr/>
          </p:nvSpPr>
          <p:spPr>
            <a:xfrm>
              <a:off x="24356049" y="10280706"/>
              <a:ext cx="764628" cy="2079669"/>
            </a:xfrm>
            <a:custGeom>
              <a:avLst/>
              <a:gdLst>
                <a:gd name="connsiteX0" fmla="*/ 0 w 764628"/>
                <a:gd name="connsiteY0" fmla="*/ 1936860 h 2079669"/>
                <a:gd name="connsiteX1" fmla="*/ 187438 w 764628"/>
                <a:gd name="connsiteY1" fmla="*/ 868761 h 2079669"/>
                <a:gd name="connsiteX2" fmla="*/ 425454 w 764628"/>
                <a:gd name="connsiteY2" fmla="*/ 0 h 2079669"/>
                <a:gd name="connsiteX3" fmla="*/ 764628 w 764628"/>
                <a:gd name="connsiteY3" fmla="*/ 232067 h 2079669"/>
                <a:gd name="connsiteX4" fmla="*/ 490909 w 764628"/>
                <a:gd name="connsiteY4" fmla="*/ 1014546 h 2079669"/>
                <a:gd name="connsiteX5" fmla="*/ 116032 w 764628"/>
                <a:gd name="connsiteY5" fmla="*/ 2079669 h 2079669"/>
                <a:gd name="connsiteX6" fmla="*/ 0 w 764628"/>
                <a:gd name="connsiteY6" fmla="*/ 1936860 h 2079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4628" h="2079669">
                  <a:moveTo>
                    <a:pt x="0" y="1936860"/>
                  </a:moveTo>
                  <a:cubicBezTo>
                    <a:pt x="0" y="1936860"/>
                    <a:pt x="172562" y="907438"/>
                    <a:pt x="187438" y="868761"/>
                  </a:cubicBezTo>
                  <a:cubicBezTo>
                    <a:pt x="202314" y="833058"/>
                    <a:pt x="425454" y="0"/>
                    <a:pt x="425454" y="0"/>
                  </a:cubicBezTo>
                  <a:lnTo>
                    <a:pt x="764628" y="232067"/>
                  </a:lnTo>
                  <a:cubicBezTo>
                    <a:pt x="764628" y="232067"/>
                    <a:pt x="538512" y="916364"/>
                    <a:pt x="490909" y="1014546"/>
                  </a:cubicBezTo>
                  <a:cubicBezTo>
                    <a:pt x="473057" y="1053223"/>
                    <a:pt x="116032" y="2079669"/>
                    <a:pt x="116032" y="2079669"/>
                  </a:cubicBezTo>
                  <a:lnTo>
                    <a:pt x="0" y="1936860"/>
                  </a:ln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D2052C3F-8EBC-4472-B5DD-6DEDD8D417DE}"/>
                </a:ext>
              </a:extLst>
            </p:cNvPr>
            <p:cNvSpPr/>
            <p:nvPr/>
          </p:nvSpPr>
          <p:spPr>
            <a:xfrm>
              <a:off x="25203743" y="10474095"/>
              <a:ext cx="497098" cy="1919008"/>
            </a:xfrm>
            <a:custGeom>
              <a:avLst/>
              <a:gdLst>
                <a:gd name="connsiteX0" fmla="*/ 446520 w 497098"/>
                <a:gd name="connsiteY0" fmla="*/ 1919008 h 1919008"/>
                <a:gd name="connsiteX1" fmla="*/ 285858 w 497098"/>
                <a:gd name="connsiteY1" fmla="*/ 963967 h 1919008"/>
                <a:gd name="connsiteX2" fmla="*/ 497099 w 497098"/>
                <a:gd name="connsiteY2" fmla="*/ 20827 h 1919008"/>
                <a:gd name="connsiteX3" fmla="*/ 101395 w 497098"/>
                <a:gd name="connsiteY3" fmla="*/ 0 h 1919008"/>
                <a:gd name="connsiteX4" fmla="*/ 239 w 497098"/>
                <a:gd name="connsiteY4" fmla="*/ 955042 h 1919008"/>
                <a:gd name="connsiteX5" fmla="*/ 300734 w 497098"/>
                <a:gd name="connsiteY5" fmla="*/ 1892232 h 1919008"/>
                <a:gd name="connsiteX6" fmla="*/ 446520 w 497098"/>
                <a:gd name="connsiteY6" fmla="*/ 1919008 h 1919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7098" h="1919008">
                  <a:moveTo>
                    <a:pt x="446520" y="1919008"/>
                  </a:moveTo>
                  <a:cubicBezTo>
                    <a:pt x="446520" y="1919008"/>
                    <a:pt x="282884" y="993719"/>
                    <a:pt x="285858" y="963967"/>
                  </a:cubicBezTo>
                  <a:cubicBezTo>
                    <a:pt x="288835" y="934215"/>
                    <a:pt x="497099" y="20827"/>
                    <a:pt x="497099" y="20827"/>
                  </a:cubicBezTo>
                  <a:lnTo>
                    <a:pt x="101395" y="0"/>
                  </a:lnTo>
                  <a:cubicBezTo>
                    <a:pt x="101395" y="0"/>
                    <a:pt x="-5712" y="883637"/>
                    <a:pt x="239" y="955042"/>
                  </a:cubicBezTo>
                  <a:cubicBezTo>
                    <a:pt x="6190" y="1026446"/>
                    <a:pt x="300734" y="1892232"/>
                    <a:pt x="300734" y="1892232"/>
                  </a:cubicBezTo>
                  <a:lnTo>
                    <a:pt x="446520" y="1919008"/>
                  </a:ln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" name="图形 1">
              <a:extLst>
                <a:ext uri="{FF2B5EF4-FFF2-40B4-BE49-F238E27FC236}">
                  <a16:creationId xmlns:a16="http://schemas.microsoft.com/office/drawing/2014/main" id="{C280467B-3F41-4C0A-90FB-7A637C5E1F72}"/>
                </a:ext>
              </a:extLst>
            </p:cNvPr>
            <p:cNvGrpSpPr/>
            <p:nvPr/>
          </p:nvGrpSpPr>
          <p:grpSpPr>
            <a:xfrm>
              <a:off x="24012088" y="12187814"/>
              <a:ext cx="502878" cy="253094"/>
              <a:chOff x="24012088" y="12187814"/>
              <a:chExt cx="502878" cy="253094"/>
            </a:xfrm>
          </p:grpSpPr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0AAD296F-FD49-4202-BBC6-D7708AE4E6BF}"/>
                  </a:ext>
                </a:extLst>
              </p:cNvPr>
              <p:cNvSpPr/>
              <p:nvPr/>
            </p:nvSpPr>
            <p:spPr>
              <a:xfrm>
                <a:off x="24028776" y="12190789"/>
                <a:ext cx="481983" cy="211239"/>
              </a:xfrm>
              <a:custGeom>
                <a:avLst/>
                <a:gdLst>
                  <a:gd name="connsiteX0" fmla="*/ 481984 w 481983"/>
                  <a:gd name="connsiteY0" fmla="*/ 107108 h 211239"/>
                  <a:gd name="connsiteX1" fmla="*/ 330247 w 481983"/>
                  <a:gd name="connsiteY1" fmla="*/ 0 h 211239"/>
                  <a:gd name="connsiteX2" fmla="*/ 181487 w 481983"/>
                  <a:gd name="connsiteY2" fmla="*/ 26777 h 211239"/>
                  <a:gd name="connsiteX3" fmla="*/ 0 w 481983"/>
                  <a:gd name="connsiteY3" fmla="*/ 38677 h 211239"/>
                  <a:gd name="connsiteX4" fmla="*/ 443305 w 481983"/>
                  <a:gd name="connsiteY4" fmla="*/ 211240 h 211239"/>
                  <a:gd name="connsiteX5" fmla="*/ 481984 w 481983"/>
                  <a:gd name="connsiteY5" fmla="*/ 107108 h 2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1983" h="211239">
                    <a:moveTo>
                      <a:pt x="481984" y="107108"/>
                    </a:moveTo>
                    <a:cubicBezTo>
                      <a:pt x="481984" y="107108"/>
                      <a:pt x="362976" y="80330"/>
                      <a:pt x="330247" y="0"/>
                    </a:cubicBezTo>
                    <a:cubicBezTo>
                      <a:pt x="330247" y="0"/>
                      <a:pt x="226115" y="32727"/>
                      <a:pt x="181487" y="26777"/>
                    </a:cubicBezTo>
                    <a:cubicBezTo>
                      <a:pt x="136859" y="17851"/>
                      <a:pt x="38677" y="-20827"/>
                      <a:pt x="0" y="38677"/>
                    </a:cubicBezTo>
                    <a:lnTo>
                      <a:pt x="443305" y="211240"/>
                    </a:lnTo>
                    <a:cubicBezTo>
                      <a:pt x="443305" y="208264"/>
                      <a:pt x="481984" y="157686"/>
                      <a:pt x="481984" y="107108"/>
                    </a:cubicBezTo>
                    <a:close/>
                  </a:path>
                </a:pathLst>
              </a:custGeom>
              <a:solidFill>
                <a:srgbClr val="7E94B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3E9AEDAC-4D7F-4C78-A5B5-C53CD1CE6602}"/>
                  </a:ext>
                </a:extLst>
              </p:cNvPr>
              <p:cNvSpPr/>
              <p:nvPr/>
            </p:nvSpPr>
            <p:spPr>
              <a:xfrm rot="-4120324">
                <a:off x="24219602" y="12095543"/>
                <a:ext cx="44627" cy="476025"/>
              </a:xfrm>
              <a:custGeom>
                <a:avLst/>
                <a:gdLst>
                  <a:gd name="connsiteX0" fmla="*/ -1 w 44627"/>
                  <a:gd name="connsiteY0" fmla="*/ 0 h 476025"/>
                  <a:gd name="connsiteX1" fmla="*/ 44627 w 44627"/>
                  <a:gd name="connsiteY1" fmla="*/ 0 h 476025"/>
                  <a:gd name="connsiteX2" fmla="*/ 44627 w 44627"/>
                  <a:gd name="connsiteY2" fmla="*/ 476026 h 476025"/>
                  <a:gd name="connsiteX3" fmla="*/ -1 w 44627"/>
                  <a:gd name="connsiteY3" fmla="*/ 476026 h 476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27" h="476025">
                    <a:moveTo>
                      <a:pt x="-1" y="0"/>
                    </a:moveTo>
                    <a:lnTo>
                      <a:pt x="44627" y="0"/>
                    </a:lnTo>
                    <a:lnTo>
                      <a:pt x="44627" y="476026"/>
                    </a:lnTo>
                    <a:lnTo>
                      <a:pt x="-1" y="476026"/>
                    </a:lnTo>
                    <a:close/>
                  </a:path>
                </a:pathLst>
              </a:custGeom>
              <a:solidFill>
                <a:srgbClr val="38333D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F6FD3C71-7A8F-4A4F-93D2-E1572D021640}"/>
                  </a:ext>
                </a:extLst>
              </p:cNvPr>
              <p:cNvSpPr/>
              <p:nvPr/>
            </p:nvSpPr>
            <p:spPr>
              <a:xfrm>
                <a:off x="24353072" y="12187814"/>
                <a:ext cx="161893" cy="116032"/>
              </a:xfrm>
              <a:custGeom>
                <a:avLst/>
                <a:gdLst>
                  <a:gd name="connsiteX0" fmla="*/ 157687 w 161893"/>
                  <a:gd name="connsiteY0" fmla="*/ 116033 h 116032"/>
                  <a:gd name="connsiteX1" fmla="*/ 157687 w 161893"/>
                  <a:gd name="connsiteY1" fmla="*/ 116033 h 116032"/>
                  <a:gd name="connsiteX2" fmla="*/ 0 w 161893"/>
                  <a:gd name="connsiteY2" fmla="*/ 5951 h 116032"/>
                  <a:gd name="connsiteX3" fmla="*/ 2976 w 161893"/>
                  <a:gd name="connsiteY3" fmla="*/ 0 h 116032"/>
                  <a:gd name="connsiteX4" fmla="*/ 8927 w 161893"/>
                  <a:gd name="connsiteY4" fmla="*/ 2975 h 116032"/>
                  <a:gd name="connsiteX5" fmla="*/ 157687 w 161893"/>
                  <a:gd name="connsiteY5" fmla="*/ 110083 h 116032"/>
                  <a:gd name="connsiteX6" fmla="*/ 160662 w 161893"/>
                  <a:gd name="connsiteY6" fmla="*/ 116033 h 116032"/>
                  <a:gd name="connsiteX7" fmla="*/ 157687 w 161893"/>
                  <a:gd name="connsiteY7" fmla="*/ 116033 h 116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1893" h="116032">
                    <a:moveTo>
                      <a:pt x="157687" y="116033"/>
                    </a:moveTo>
                    <a:cubicBezTo>
                      <a:pt x="157687" y="116033"/>
                      <a:pt x="157687" y="116033"/>
                      <a:pt x="157687" y="116033"/>
                    </a:cubicBezTo>
                    <a:cubicBezTo>
                      <a:pt x="151737" y="116033"/>
                      <a:pt x="44628" y="89256"/>
                      <a:pt x="0" y="5951"/>
                    </a:cubicBezTo>
                    <a:cubicBezTo>
                      <a:pt x="0" y="2975"/>
                      <a:pt x="0" y="0"/>
                      <a:pt x="2976" y="0"/>
                    </a:cubicBezTo>
                    <a:cubicBezTo>
                      <a:pt x="5951" y="0"/>
                      <a:pt x="8927" y="0"/>
                      <a:pt x="8927" y="2975"/>
                    </a:cubicBezTo>
                    <a:cubicBezTo>
                      <a:pt x="50579" y="83305"/>
                      <a:pt x="157687" y="107108"/>
                      <a:pt x="157687" y="110083"/>
                    </a:cubicBezTo>
                    <a:cubicBezTo>
                      <a:pt x="160662" y="110083"/>
                      <a:pt x="163636" y="113057"/>
                      <a:pt x="160662" y="116033"/>
                    </a:cubicBezTo>
                    <a:cubicBezTo>
                      <a:pt x="163636" y="113057"/>
                      <a:pt x="160662" y="116033"/>
                      <a:pt x="157687" y="11603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6449E6D8-0F94-4FF1-B638-03F49403F09F}"/>
                  </a:ext>
                </a:extLst>
              </p:cNvPr>
              <p:cNvSpPr/>
              <p:nvPr/>
            </p:nvSpPr>
            <p:spPr>
              <a:xfrm>
                <a:off x="24311420" y="12196739"/>
                <a:ext cx="25033" cy="41653"/>
              </a:xfrm>
              <a:custGeom>
                <a:avLst/>
                <a:gdLst>
                  <a:gd name="connsiteX0" fmla="*/ 20827 w 25033"/>
                  <a:gd name="connsiteY0" fmla="*/ 41654 h 41653"/>
                  <a:gd name="connsiteX1" fmla="*/ 14876 w 25033"/>
                  <a:gd name="connsiteY1" fmla="*/ 38678 h 41653"/>
                  <a:gd name="connsiteX2" fmla="*/ 0 w 25033"/>
                  <a:gd name="connsiteY2" fmla="*/ 5951 h 41653"/>
                  <a:gd name="connsiteX3" fmla="*/ 2974 w 25033"/>
                  <a:gd name="connsiteY3" fmla="*/ 0 h 41653"/>
                  <a:gd name="connsiteX4" fmla="*/ 8925 w 25033"/>
                  <a:gd name="connsiteY4" fmla="*/ 2975 h 41653"/>
                  <a:gd name="connsiteX5" fmla="*/ 23801 w 25033"/>
                  <a:gd name="connsiteY5" fmla="*/ 35703 h 41653"/>
                  <a:gd name="connsiteX6" fmla="*/ 20827 w 25033"/>
                  <a:gd name="connsiteY6" fmla="*/ 41654 h 41653"/>
                  <a:gd name="connsiteX7" fmla="*/ 20827 w 25033"/>
                  <a:gd name="connsiteY7" fmla="*/ 41654 h 4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033" h="41653">
                    <a:moveTo>
                      <a:pt x="20827" y="41654"/>
                    </a:moveTo>
                    <a:cubicBezTo>
                      <a:pt x="17851" y="41654"/>
                      <a:pt x="17851" y="41654"/>
                      <a:pt x="14876" y="38678"/>
                    </a:cubicBezTo>
                    <a:lnTo>
                      <a:pt x="0" y="5951"/>
                    </a:lnTo>
                    <a:cubicBezTo>
                      <a:pt x="0" y="2975"/>
                      <a:pt x="0" y="0"/>
                      <a:pt x="2974" y="0"/>
                    </a:cubicBezTo>
                    <a:cubicBezTo>
                      <a:pt x="5951" y="0"/>
                      <a:pt x="8925" y="0"/>
                      <a:pt x="8925" y="2975"/>
                    </a:cubicBezTo>
                    <a:lnTo>
                      <a:pt x="23801" y="35703"/>
                    </a:lnTo>
                    <a:cubicBezTo>
                      <a:pt x="26776" y="38678"/>
                      <a:pt x="23801" y="41654"/>
                      <a:pt x="20827" y="41654"/>
                    </a:cubicBezTo>
                    <a:cubicBezTo>
                      <a:pt x="20827" y="41654"/>
                      <a:pt x="20827" y="41654"/>
                      <a:pt x="20827" y="41654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3F3480B7-CAAE-4463-B123-84ABDC6D8519}"/>
                  </a:ext>
                </a:extLst>
              </p:cNvPr>
              <p:cNvSpPr/>
              <p:nvPr/>
            </p:nvSpPr>
            <p:spPr>
              <a:xfrm>
                <a:off x="24266792" y="12208641"/>
                <a:ext cx="25033" cy="41652"/>
              </a:xfrm>
              <a:custGeom>
                <a:avLst/>
                <a:gdLst>
                  <a:gd name="connsiteX0" fmla="*/ 20827 w 25033"/>
                  <a:gd name="connsiteY0" fmla="*/ 41653 h 41652"/>
                  <a:gd name="connsiteX1" fmla="*/ 14876 w 25033"/>
                  <a:gd name="connsiteY1" fmla="*/ 38677 h 41652"/>
                  <a:gd name="connsiteX2" fmla="*/ 0 w 25033"/>
                  <a:gd name="connsiteY2" fmla="*/ 5950 h 41652"/>
                  <a:gd name="connsiteX3" fmla="*/ 2974 w 25033"/>
                  <a:gd name="connsiteY3" fmla="*/ 0 h 41652"/>
                  <a:gd name="connsiteX4" fmla="*/ 8925 w 25033"/>
                  <a:gd name="connsiteY4" fmla="*/ 2974 h 41652"/>
                  <a:gd name="connsiteX5" fmla="*/ 23801 w 25033"/>
                  <a:gd name="connsiteY5" fmla="*/ 35702 h 41652"/>
                  <a:gd name="connsiteX6" fmla="*/ 20827 w 25033"/>
                  <a:gd name="connsiteY6" fmla="*/ 41653 h 41652"/>
                  <a:gd name="connsiteX7" fmla="*/ 20827 w 25033"/>
                  <a:gd name="connsiteY7" fmla="*/ 41653 h 41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033" h="41652">
                    <a:moveTo>
                      <a:pt x="20827" y="41653"/>
                    </a:moveTo>
                    <a:cubicBezTo>
                      <a:pt x="17851" y="41653"/>
                      <a:pt x="17851" y="41653"/>
                      <a:pt x="14876" y="38677"/>
                    </a:cubicBezTo>
                    <a:lnTo>
                      <a:pt x="0" y="5950"/>
                    </a:lnTo>
                    <a:cubicBezTo>
                      <a:pt x="0" y="2974"/>
                      <a:pt x="0" y="0"/>
                      <a:pt x="2974" y="0"/>
                    </a:cubicBezTo>
                    <a:cubicBezTo>
                      <a:pt x="5951" y="0"/>
                      <a:pt x="8925" y="0"/>
                      <a:pt x="8925" y="2974"/>
                    </a:cubicBezTo>
                    <a:lnTo>
                      <a:pt x="23801" y="35702"/>
                    </a:lnTo>
                    <a:cubicBezTo>
                      <a:pt x="26776" y="35702"/>
                      <a:pt x="23801" y="38677"/>
                      <a:pt x="20827" y="41653"/>
                    </a:cubicBezTo>
                    <a:cubicBezTo>
                      <a:pt x="20827" y="41653"/>
                      <a:pt x="20827" y="41653"/>
                      <a:pt x="20827" y="41653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" name="图形 1">
              <a:extLst>
                <a:ext uri="{FF2B5EF4-FFF2-40B4-BE49-F238E27FC236}">
                  <a16:creationId xmlns:a16="http://schemas.microsoft.com/office/drawing/2014/main" id="{428E68B3-2479-470B-8854-BA1C14ED0037}"/>
                </a:ext>
              </a:extLst>
            </p:cNvPr>
            <p:cNvGrpSpPr/>
            <p:nvPr/>
          </p:nvGrpSpPr>
          <p:grpSpPr>
            <a:xfrm>
              <a:off x="25186130" y="12301615"/>
              <a:ext cx="483967" cy="207520"/>
              <a:chOff x="25186130" y="12301615"/>
              <a:chExt cx="483967" cy="207520"/>
            </a:xfrm>
          </p:grpSpPr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B4344235-F414-4F44-AA1A-74200AE0995A}"/>
                  </a:ext>
                </a:extLst>
              </p:cNvPr>
              <p:cNvSpPr/>
              <p:nvPr/>
            </p:nvSpPr>
            <p:spPr>
              <a:xfrm>
                <a:off x="25186130" y="12312773"/>
                <a:ext cx="483967" cy="154710"/>
              </a:xfrm>
              <a:custGeom>
                <a:avLst/>
                <a:gdLst>
                  <a:gd name="connsiteX0" fmla="*/ 476033 w 483967"/>
                  <a:gd name="connsiteY0" fmla="*/ 44628 h 154710"/>
                  <a:gd name="connsiteX1" fmla="*/ 294546 w 483967"/>
                  <a:gd name="connsiteY1" fmla="*/ 0 h 154710"/>
                  <a:gd name="connsiteX2" fmla="*/ 163636 w 483967"/>
                  <a:gd name="connsiteY2" fmla="*/ 77355 h 154710"/>
                  <a:gd name="connsiteX3" fmla="*/ 0 w 483967"/>
                  <a:gd name="connsiteY3" fmla="*/ 154710 h 154710"/>
                  <a:gd name="connsiteX4" fmla="*/ 476033 w 483967"/>
                  <a:gd name="connsiteY4" fmla="*/ 154710 h 154710"/>
                  <a:gd name="connsiteX5" fmla="*/ 476033 w 483967"/>
                  <a:gd name="connsiteY5" fmla="*/ 44628 h 154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3967" h="154710">
                    <a:moveTo>
                      <a:pt x="476033" y="44628"/>
                    </a:moveTo>
                    <a:cubicBezTo>
                      <a:pt x="476033" y="44628"/>
                      <a:pt x="354050" y="62479"/>
                      <a:pt x="294546" y="0"/>
                    </a:cubicBezTo>
                    <a:cubicBezTo>
                      <a:pt x="294546" y="0"/>
                      <a:pt x="208264" y="68429"/>
                      <a:pt x="163636" y="77355"/>
                    </a:cubicBezTo>
                    <a:cubicBezTo>
                      <a:pt x="119008" y="86281"/>
                      <a:pt x="11902" y="83305"/>
                      <a:pt x="0" y="154710"/>
                    </a:cubicBezTo>
                    <a:lnTo>
                      <a:pt x="476033" y="154710"/>
                    </a:lnTo>
                    <a:cubicBezTo>
                      <a:pt x="476033" y="151735"/>
                      <a:pt x="493885" y="92231"/>
                      <a:pt x="476033" y="44628"/>
                    </a:cubicBezTo>
                    <a:close/>
                  </a:path>
                </a:pathLst>
              </a:custGeom>
              <a:solidFill>
                <a:srgbClr val="7E94B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41D0AB5E-C4E8-42F8-9D71-784F6403BA7F}"/>
                  </a:ext>
                </a:extLst>
              </p:cNvPr>
              <p:cNvSpPr/>
              <p:nvPr/>
            </p:nvSpPr>
            <p:spPr>
              <a:xfrm>
                <a:off x="25186131" y="12464508"/>
                <a:ext cx="476033" cy="44628"/>
              </a:xfrm>
              <a:custGeom>
                <a:avLst/>
                <a:gdLst>
                  <a:gd name="connsiteX0" fmla="*/ -1 w 476033"/>
                  <a:gd name="connsiteY0" fmla="*/ 0 h 44628"/>
                  <a:gd name="connsiteX1" fmla="*/ 476032 w 476033"/>
                  <a:gd name="connsiteY1" fmla="*/ 0 h 44628"/>
                  <a:gd name="connsiteX2" fmla="*/ 476032 w 476033"/>
                  <a:gd name="connsiteY2" fmla="*/ 44628 h 44628"/>
                  <a:gd name="connsiteX3" fmla="*/ -1 w 476033"/>
                  <a:gd name="connsiteY3" fmla="*/ 44628 h 44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033" h="44628">
                    <a:moveTo>
                      <a:pt x="-1" y="0"/>
                    </a:moveTo>
                    <a:lnTo>
                      <a:pt x="476032" y="0"/>
                    </a:lnTo>
                    <a:lnTo>
                      <a:pt x="476032" y="44628"/>
                    </a:lnTo>
                    <a:lnTo>
                      <a:pt x="-1" y="44628"/>
                    </a:lnTo>
                    <a:close/>
                  </a:path>
                </a:pathLst>
              </a:custGeom>
              <a:solidFill>
                <a:srgbClr val="38333D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DC445D9E-5576-41B0-A2DC-722B2CFA9CB0}"/>
                  </a:ext>
                </a:extLst>
              </p:cNvPr>
              <p:cNvSpPr/>
              <p:nvPr/>
            </p:nvSpPr>
            <p:spPr>
              <a:xfrm>
                <a:off x="25472495" y="12301615"/>
                <a:ext cx="192644" cy="61735"/>
              </a:xfrm>
              <a:custGeom>
                <a:avLst/>
                <a:gdLst>
                  <a:gd name="connsiteX0" fmla="*/ 153967 w 192644"/>
                  <a:gd name="connsiteY0" fmla="*/ 61736 h 61735"/>
                  <a:gd name="connsiteX1" fmla="*/ 2231 w 192644"/>
                  <a:gd name="connsiteY1" fmla="*/ 11158 h 61735"/>
                  <a:gd name="connsiteX2" fmla="*/ 2231 w 192644"/>
                  <a:gd name="connsiteY2" fmla="*/ 2232 h 61735"/>
                  <a:gd name="connsiteX3" fmla="*/ 11156 w 192644"/>
                  <a:gd name="connsiteY3" fmla="*/ 2232 h 61735"/>
                  <a:gd name="connsiteX4" fmla="*/ 186694 w 192644"/>
                  <a:gd name="connsiteY4" fmla="*/ 46860 h 61735"/>
                  <a:gd name="connsiteX5" fmla="*/ 192645 w 192644"/>
                  <a:gd name="connsiteY5" fmla="*/ 52810 h 61735"/>
                  <a:gd name="connsiteX6" fmla="*/ 186694 w 192644"/>
                  <a:gd name="connsiteY6" fmla="*/ 58760 h 61735"/>
                  <a:gd name="connsiteX7" fmla="*/ 153967 w 192644"/>
                  <a:gd name="connsiteY7" fmla="*/ 61736 h 61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644" h="61735">
                    <a:moveTo>
                      <a:pt x="153967" y="61736"/>
                    </a:moveTo>
                    <a:cubicBezTo>
                      <a:pt x="115288" y="61736"/>
                      <a:pt x="49835" y="55786"/>
                      <a:pt x="2231" y="11158"/>
                    </a:cubicBezTo>
                    <a:cubicBezTo>
                      <a:pt x="-744" y="8182"/>
                      <a:pt x="-744" y="5207"/>
                      <a:pt x="2231" y="2232"/>
                    </a:cubicBezTo>
                    <a:cubicBezTo>
                      <a:pt x="5207" y="-744"/>
                      <a:pt x="8182" y="-744"/>
                      <a:pt x="11156" y="2232"/>
                    </a:cubicBezTo>
                    <a:cubicBezTo>
                      <a:pt x="76611" y="61736"/>
                      <a:pt x="186694" y="46860"/>
                      <a:pt x="186694" y="46860"/>
                    </a:cubicBezTo>
                    <a:cubicBezTo>
                      <a:pt x="189669" y="46860"/>
                      <a:pt x="192645" y="49835"/>
                      <a:pt x="192645" y="52810"/>
                    </a:cubicBezTo>
                    <a:cubicBezTo>
                      <a:pt x="192645" y="55786"/>
                      <a:pt x="189669" y="58760"/>
                      <a:pt x="186694" y="58760"/>
                    </a:cubicBezTo>
                    <a:cubicBezTo>
                      <a:pt x="186694" y="61736"/>
                      <a:pt x="174792" y="61736"/>
                      <a:pt x="153967" y="61736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B183D062-59C7-4954-BD55-7F01BB23636A}"/>
                  </a:ext>
                </a:extLst>
              </p:cNvPr>
              <p:cNvSpPr/>
              <p:nvPr/>
            </p:nvSpPr>
            <p:spPr>
              <a:xfrm>
                <a:off x="25439767" y="12328392"/>
                <a:ext cx="37190" cy="40909"/>
              </a:xfrm>
              <a:custGeom>
                <a:avLst/>
                <a:gdLst>
                  <a:gd name="connsiteX0" fmla="*/ 29008 w 37190"/>
                  <a:gd name="connsiteY0" fmla="*/ 40909 h 40909"/>
                  <a:gd name="connsiteX1" fmla="*/ 26034 w 37190"/>
                  <a:gd name="connsiteY1" fmla="*/ 37934 h 40909"/>
                  <a:gd name="connsiteX2" fmla="*/ 2232 w 37190"/>
                  <a:gd name="connsiteY2" fmla="*/ 11157 h 40909"/>
                  <a:gd name="connsiteX3" fmla="*/ 2232 w 37190"/>
                  <a:gd name="connsiteY3" fmla="*/ 2231 h 40909"/>
                  <a:gd name="connsiteX4" fmla="*/ 11157 w 37190"/>
                  <a:gd name="connsiteY4" fmla="*/ 2231 h 40909"/>
                  <a:gd name="connsiteX5" fmla="*/ 34959 w 37190"/>
                  <a:gd name="connsiteY5" fmla="*/ 29008 h 40909"/>
                  <a:gd name="connsiteX6" fmla="*/ 34959 w 37190"/>
                  <a:gd name="connsiteY6" fmla="*/ 37934 h 40909"/>
                  <a:gd name="connsiteX7" fmla="*/ 29008 w 37190"/>
                  <a:gd name="connsiteY7" fmla="*/ 40909 h 40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190" h="40909">
                    <a:moveTo>
                      <a:pt x="29008" y="40909"/>
                    </a:moveTo>
                    <a:cubicBezTo>
                      <a:pt x="29008" y="40909"/>
                      <a:pt x="26034" y="40909"/>
                      <a:pt x="26034" y="37934"/>
                    </a:cubicBezTo>
                    <a:lnTo>
                      <a:pt x="2232" y="11157"/>
                    </a:lnTo>
                    <a:cubicBezTo>
                      <a:pt x="-744" y="8182"/>
                      <a:pt x="-744" y="5206"/>
                      <a:pt x="2232" y="2231"/>
                    </a:cubicBezTo>
                    <a:cubicBezTo>
                      <a:pt x="5207" y="-744"/>
                      <a:pt x="8183" y="-744"/>
                      <a:pt x="11157" y="2231"/>
                    </a:cubicBezTo>
                    <a:lnTo>
                      <a:pt x="34959" y="29008"/>
                    </a:lnTo>
                    <a:cubicBezTo>
                      <a:pt x="37935" y="31983"/>
                      <a:pt x="37935" y="34958"/>
                      <a:pt x="34959" y="37934"/>
                    </a:cubicBezTo>
                    <a:cubicBezTo>
                      <a:pt x="31984" y="37934"/>
                      <a:pt x="31984" y="40909"/>
                      <a:pt x="29008" y="4090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37C57327-2BF3-43C6-9708-3E3AD113A15E}"/>
                  </a:ext>
                </a:extLst>
              </p:cNvPr>
              <p:cNvSpPr/>
              <p:nvPr/>
            </p:nvSpPr>
            <p:spPr>
              <a:xfrm>
                <a:off x="25404065" y="12352194"/>
                <a:ext cx="37189" cy="40908"/>
              </a:xfrm>
              <a:custGeom>
                <a:avLst/>
                <a:gdLst>
                  <a:gd name="connsiteX0" fmla="*/ 29008 w 37189"/>
                  <a:gd name="connsiteY0" fmla="*/ 40909 h 40908"/>
                  <a:gd name="connsiteX1" fmla="*/ 26032 w 37189"/>
                  <a:gd name="connsiteY1" fmla="*/ 37933 h 40908"/>
                  <a:gd name="connsiteX2" fmla="*/ 2231 w 37189"/>
                  <a:gd name="connsiteY2" fmla="*/ 11157 h 40908"/>
                  <a:gd name="connsiteX3" fmla="*/ 2231 w 37189"/>
                  <a:gd name="connsiteY3" fmla="*/ 2232 h 40908"/>
                  <a:gd name="connsiteX4" fmla="*/ 11156 w 37189"/>
                  <a:gd name="connsiteY4" fmla="*/ 2232 h 40908"/>
                  <a:gd name="connsiteX5" fmla="*/ 34957 w 37189"/>
                  <a:gd name="connsiteY5" fmla="*/ 29008 h 40908"/>
                  <a:gd name="connsiteX6" fmla="*/ 34957 w 37189"/>
                  <a:gd name="connsiteY6" fmla="*/ 37933 h 40908"/>
                  <a:gd name="connsiteX7" fmla="*/ 29008 w 37189"/>
                  <a:gd name="connsiteY7" fmla="*/ 40909 h 40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189" h="40908">
                    <a:moveTo>
                      <a:pt x="29008" y="40909"/>
                    </a:moveTo>
                    <a:cubicBezTo>
                      <a:pt x="29008" y="40909"/>
                      <a:pt x="26032" y="40909"/>
                      <a:pt x="26032" y="37933"/>
                    </a:cubicBezTo>
                    <a:lnTo>
                      <a:pt x="2231" y="11157"/>
                    </a:lnTo>
                    <a:cubicBezTo>
                      <a:pt x="-744" y="8181"/>
                      <a:pt x="-744" y="5207"/>
                      <a:pt x="2231" y="2232"/>
                    </a:cubicBezTo>
                    <a:cubicBezTo>
                      <a:pt x="5205" y="-744"/>
                      <a:pt x="8182" y="-744"/>
                      <a:pt x="11156" y="2232"/>
                    </a:cubicBezTo>
                    <a:lnTo>
                      <a:pt x="34957" y="29008"/>
                    </a:lnTo>
                    <a:cubicBezTo>
                      <a:pt x="37934" y="31984"/>
                      <a:pt x="37934" y="34959"/>
                      <a:pt x="34957" y="37933"/>
                    </a:cubicBezTo>
                    <a:cubicBezTo>
                      <a:pt x="31983" y="40909"/>
                      <a:pt x="29008" y="40909"/>
                      <a:pt x="29008" y="40909"/>
                    </a:cubicBezTo>
                    <a:close/>
                  </a:path>
                </a:pathLst>
              </a:custGeom>
              <a:solidFill>
                <a:srgbClr val="38343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0FED3020-5F03-48F0-8ED3-B303AF8F5D68}"/>
                </a:ext>
              </a:extLst>
            </p:cNvPr>
            <p:cNvSpPr/>
            <p:nvPr/>
          </p:nvSpPr>
          <p:spPr>
            <a:xfrm>
              <a:off x="24486957" y="10018888"/>
              <a:ext cx="1268638" cy="1338842"/>
            </a:xfrm>
            <a:custGeom>
              <a:avLst/>
              <a:gdLst>
                <a:gd name="connsiteX0" fmla="*/ 639669 w 1268638"/>
                <a:gd name="connsiteY0" fmla="*/ 1318016 h 1338842"/>
                <a:gd name="connsiteX1" fmla="*/ 806282 w 1268638"/>
                <a:gd name="connsiteY1" fmla="*/ 1335868 h 1338842"/>
                <a:gd name="connsiteX2" fmla="*/ 844959 w 1268638"/>
                <a:gd name="connsiteY2" fmla="*/ 1338843 h 1338842"/>
                <a:gd name="connsiteX3" fmla="*/ 901489 w 1268638"/>
                <a:gd name="connsiteY3" fmla="*/ 1338843 h 1338842"/>
                <a:gd name="connsiteX4" fmla="*/ 943141 w 1268638"/>
                <a:gd name="connsiteY4" fmla="*/ 1338843 h 1338842"/>
                <a:gd name="connsiteX5" fmla="*/ 1118679 w 1268638"/>
                <a:gd name="connsiteY5" fmla="*/ 1318016 h 1338842"/>
                <a:gd name="connsiteX6" fmla="*/ 1261488 w 1268638"/>
                <a:gd name="connsiteY6" fmla="*/ 0 h 1338842"/>
                <a:gd name="connsiteX7" fmla="*/ 1148431 w 1268638"/>
                <a:gd name="connsiteY7" fmla="*/ 5950 h 1338842"/>
                <a:gd name="connsiteX8" fmla="*/ 1109754 w 1268638"/>
                <a:gd name="connsiteY8" fmla="*/ 8925 h 1338842"/>
                <a:gd name="connsiteX9" fmla="*/ 1026446 w 1268638"/>
                <a:gd name="connsiteY9" fmla="*/ 11901 h 1338842"/>
                <a:gd name="connsiteX10" fmla="*/ 990745 w 1268638"/>
                <a:gd name="connsiteY10" fmla="*/ 11901 h 1338842"/>
                <a:gd name="connsiteX11" fmla="*/ 267769 w 1268638"/>
                <a:gd name="connsiteY11" fmla="*/ 20826 h 1338842"/>
                <a:gd name="connsiteX12" fmla="*/ 0 w 1268638"/>
                <a:gd name="connsiteY12" fmla="*/ 1109752 h 1338842"/>
                <a:gd name="connsiteX13" fmla="*/ 428430 w 1268638"/>
                <a:gd name="connsiteY13" fmla="*/ 1276364 h 1338842"/>
                <a:gd name="connsiteX14" fmla="*/ 693225 w 1268638"/>
                <a:gd name="connsiteY14" fmla="*/ 493884 h 1338842"/>
                <a:gd name="connsiteX15" fmla="*/ 639669 w 1268638"/>
                <a:gd name="connsiteY15" fmla="*/ 1318016 h 1338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68638" h="1338842">
                  <a:moveTo>
                    <a:pt x="639669" y="1318016"/>
                  </a:moveTo>
                  <a:cubicBezTo>
                    <a:pt x="639669" y="1318016"/>
                    <a:pt x="708101" y="1329917"/>
                    <a:pt x="806282" y="1335868"/>
                  </a:cubicBezTo>
                  <a:cubicBezTo>
                    <a:pt x="818182" y="1335868"/>
                    <a:pt x="833058" y="1338843"/>
                    <a:pt x="844959" y="1338843"/>
                  </a:cubicBezTo>
                  <a:cubicBezTo>
                    <a:pt x="862810" y="1338843"/>
                    <a:pt x="883637" y="1338843"/>
                    <a:pt x="901489" y="1338843"/>
                  </a:cubicBezTo>
                  <a:cubicBezTo>
                    <a:pt x="913389" y="1338843"/>
                    <a:pt x="928265" y="1338843"/>
                    <a:pt x="943141" y="1338843"/>
                  </a:cubicBezTo>
                  <a:cubicBezTo>
                    <a:pt x="999671" y="1335868"/>
                    <a:pt x="1059175" y="1329917"/>
                    <a:pt x="1118679" y="1318016"/>
                  </a:cubicBezTo>
                  <a:cubicBezTo>
                    <a:pt x="1127604" y="1169256"/>
                    <a:pt x="1306116" y="95206"/>
                    <a:pt x="1261488" y="0"/>
                  </a:cubicBezTo>
                  <a:cubicBezTo>
                    <a:pt x="1222811" y="2975"/>
                    <a:pt x="1184134" y="2975"/>
                    <a:pt x="1148431" y="5950"/>
                  </a:cubicBezTo>
                  <a:cubicBezTo>
                    <a:pt x="1136529" y="5950"/>
                    <a:pt x="1124630" y="5950"/>
                    <a:pt x="1109754" y="8925"/>
                  </a:cubicBezTo>
                  <a:cubicBezTo>
                    <a:pt x="1082976" y="8925"/>
                    <a:pt x="1053224" y="11901"/>
                    <a:pt x="1026446" y="11901"/>
                  </a:cubicBezTo>
                  <a:cubicBezTo>
                    <a:pt x="1014547" y="11901"/>
                    <a:pt x="1002645" y="11901"/>
                    <a:pt x="990745" y="11901"/>
                  </a:cubicBezTo>
                  <a:cubicBezTo>
                    <a:pt x="496860" y="29752"/>
                    <a:pt x="267769" y="20826"/>
                    <a:pt x="267769" y="20826"/>
                  </a:cubicBezTo>
                  <a:lnTo>
                    <a:pt x="0" y="1109752"/>
                  </a:lnTo>
                  <a:cubicBezTo>
                    <a:pt x="0" y="1109752"/>
                    <a:pt x="273719" y="1282314"/>
                    <a:pt x="428430" y="1276364"/>
                  </a:cubicBezTo>
                  <a:cubicBezTo>
                    <a:pt x="580165" y="868760"/>
                    <a:pt x="684298" y="508761"/>
                    <a:pt x="693225" y="493884"/>
                  </a:cubicBezTo>
                  <a:cubicBezTo>
                    <a:pt x="705124" y="461157"/>
                    <a:pt x="639669" y="1318016"/>
                    <a:pt x="639669" y="1318016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183E6391-1835-4A5D-8496-E7670DF864BE}"/>
                </a:ext>
              </a:extLst>
            </p:cNvPr>
            <p:cNvSpPr/>
            <p:nvPr/>
          </p:nvSpPr>
          <p:spPr>
            <a:xfrm>
              <a:off x="25168941" y="10158723"/>
              <a:ext cx="17189" cy="357024"/>
            </a:xfrm>
            <a:custGeom>
              <a:avLst/>
              <a:gdLst>
                <a:gd name="connsiteX0" fmla="*/ 11240 w 17189"/>
                <a:gd name="connsiteY0" fmla="*/ 357025 h 357024"/>
                <a:gd name="connsiteX1" fmla="*/ 5290 w 17189"/>
                <a:gd name="connsiteY1" fmla="*/ 351075 h 357024"/>
                <a:gd name="connsiteX2" fmla="*/ 5290 w 17189"/>
                <a:gd name="connsiteY2" fmla="*/ 5951 h 357024"/>
                <a:gd name="connsiteX3" fmla="*/ 11240 w 17189"/>
                <a:gd name="connsiteY3" fmla="*/ 0 h 357024"/>
                <a:gd name="connsiteX4" fmla="*/ 17189 w 17189"/>
                <a:gd name="connsiteY4" fmla="*/ 5951 h 357024"/>
                <a:gd name="connsiteX5" fmla="*/ 17189 w 17189"/>
                <a:gd name="connsiteY5" fmla="*/ 348100 h 357024"/>
                <a:gd name="connsiteX6" fmla="*/ 11240 w 17189"/>
                <a:gd name="connsiteY6" fmla="*/ 357025 h 357024"/>
                <a:gd name="connsiteX7" fmla="*/ 11240 w 17189"/>
                <a:gd name="connsiteY7" fmla="*/ 357025 h 35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89" h="357024">
                  <a:moveTo>
                    <a:pt x="11240" y="357025"/>
                  </a:moveTo>
                  <a:cubicBezTo>
                    <a:pt x="8264" y="357025"/>
                    <a:pt x="5290" y="354050"/>
                    <a:pt x="5290" y="351075"/>
                  </a:cubicBezTo>
                  <a:cubicBezTo>
                    <a:pt x="-6612" y="249918"/>
                    <a:pt x="5290" y="8926"/>
                    <a:pt x="5290" y="5951"/>
                  </a:cubicBezTo>
                  <a:cubicBezTo>
                    <a:pt x="5290" y="2975"/>
                    <a:pt x="8264" y="0"/>
                    <a:pt x="11240" y="0"/>
                  </a:cubicBezTo>
                  <a:cubicBezTo>
                    <a:pt x="14215" y="0"/>
                    <a:pt x="17189" y="2975"/>
                    <a:pt x="17189" y="5951"/>
                  </a:cubicBezTo>
                  <a:cubicBezTo>
                    <a:pt x="17189" y="8926"/>
                    <a:pt x="5290" y="246943"/>
                    <a:pt x="17189" y="348100"/>
                  </a:cubicBezTo>
                  <a:cubicBezTo>
                    <a:pt x="14215" y="354050"/>
                    <a:pt x="14215" y="357025"/>
                    <a:pt x="11240" y="357025"/>
                  </a:cubicBezTo>
                  <a:cubicBezTo>
                    <a:pt x="11240" y="357025"/>
                    <a:pt x="11240" y="357025"/>
                    <a:pt x="11240" y="357025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D6A9166D-DB8B-49A1-A9CC-E0AEED7E30A7}"/>
                </a:ext>
              </a:extLst>
            </p:cNvPr>
            <p:cNvSpPr/>
            <p:nvPr/>
          </p:nvSpPr>
          <p:spPr>
            <a:xfrm>
              <a:off x="25064147" y="10093269"/>
              <a:ext cx="118264" cy="330248"/>
            </a:xfrm>
            <a:custGeom>
              <a:avLst/>
              <a:gdLst>
                <a:gd name="connsiteX0" fmla="*/ 110083 w 118264"/>
                <a:gd name="connsiteY0" fmla="*/ 330248 h 330248"/>
                <a:gd name="connsiteX1" fmla="*/ 107107 w 118264"/>
                <a:gd name="connsiteY1" fmla="*/ 330248 h 330248"/>
                <a:gd name="connsiteX2" fmla="*/ 32727 w 118264"/>
                <a:gd name="connsiteY2" fmla="*/ 267769 h 330248"/>
                <a:gd name="connsiteX3" fmla="*/ 0 w 118264"/>
                <a:gd name="connsiteY3" fmla="*/ 5950 h 330248"/>
                <a:gd name="connsiteX4" fmla="*/ 5951 w 118264"/>
                <a:gd name="connsiteY4" fmla="*/ 0 h 330248"/>
                <a:gd name="connsiteX5" fmla="*/ 11902 w 118264"/>
                <a:gd name="connsiteY5" fmla="*/ 5950 h 330248"/>
                <a:gd name="connsiteX6" fmla="*/ 44628 w 118264"/>
                <a:gd name="connsiteY6" fmla="*/ 261818 h 330248"/>
                <a:gd name="connsiteX7" fmla="*/ 116034 w 118264"/>
                <a:gd name="connsiteY7" fmla="*/ 321322 h 330248"/>
                <a:gd name="connsiteX8" fmla="*/ 116034 w 118264"/>
                <a:gd name="connsiteY8" fmla="*/ 330248 h 330248"/>
                <a:gd name="connsiteX9" fmla="*/ 110083 w 118264"/>
                <a:gd name="connsiteY9" fmla="*/ 330248 h 330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264" h="330248">
                  <a:moveTo>
                    <a:pt x="110083" y="330248"/>
                  </a:moveTo>
                  <a:cubicBezTo>
                    <a:pt x="110083" y="330248"/>
                    <a:pt x="107107" y="330248"/>
                    <a:pt x="107107" y="330248"/>
                  </a:cubicBezTo>
                  <a:cubicBezTo>
                    <a:pt x="104132" y="327273"/>
                    <a:pt x="44628" y="282645"/>
                    <a:pt x="32727" y="267769"/>
                  </a:cubicBezTo>
                  <a:cubicBezTo>
                    <a:pt x="20827" y="252893"/>
                    <a:pt x="2974" y="47603"/>
                    <a:pt x="0" y="5950"/>
                  </a:cubicBezTo>
                  <a:cubicBezTo>
                    <a:pt x="0" y="2975"/>
                    <a:pt x="2974" y="0"/>
                    <a:pt x="5951" y="0"/>
                  </a:cubicBezTo>
                  <a:cubicBezTo>
                    <a:pt x="8925" y="0"/>
                    <a:pt x="11902" y="2975"/>
                    <a:pt x="11902" y="5950"/>
                  </a:cubicBezTo>
                  <a:cubicBezTo>
                    <a:pt x="20827" y="98181"/>
                    <a:pt x="35703" y="249917"/>
                    <a:pt x="44628" y="261818"/>
                  </a:cubicBezTo>
                  <a:cubicBezTo>
                    <a:pt x="53553" y="273718"/>
                    <a:pt x="98181" y="309421"/>
                    <a:pt x="116034" y="321322"/>
                  </a:cubicBezTo>
                  <a:cubicBezTo>
                    <a:pt x="119008" y="324297"/>
                    <a:pt x="119008" y="327273"/>
                    <a:pt x="116034" y="330248"/>
                  </a:cubicBezTo>
                  <a:cubicBezTo>
                    <a:pt x="113057" y="330248"/>
                    <a:pt x="110083" y="330248"/>
                    <a:pt x="110083" y="330248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" name="图形 1">
              <a:extLst>
                <a:ext uri="{FF2B5EF4-FFF2-40B4-BE49-F238E27FC236}">
                  <a16:creationId xmlns:a16="http://schemas.microsoft.com/office/drawing/2014/main" id="{C5EA80B5-28CB-4CC6-BBC9-2F8585B92C4D}"/>
                </a:ext>
              </a:extLst>
            </p:cNvPr>
            <p:cNvGrpSpPr/>
            <p:nvPr/>
          </p:nvGrpSpPr>
          <p:grpSpPr>
            <a:xfrm>
              <a:off x="23130263" y="11226822"/>
              <a:ext cx="1053223" cy="862809"/>
              <a:chOff x="23130263" y="11226822"/>
              <a:chExt cx="1053223" cy="862809"/>
            </a:xfrm>
          </p:grpSpPr>
          <p:grpSp>
            <p:nvGrpSpPr>
              <p:cNvPr id="52" name="图形 1">
                <a:extLst>
                  <a:ext uri="{FF2B5EF4-FFF2-40B4-BE49-F238E27FC236}">
                    <a16:creationId xmlns:a16="http://schemas.microsoft.com/office/drawing/2014/main" id="{8FDBB3BC-8548-4A7B-85F7-BC0D7A13E925}"/>
                  </a:ext>
                </a:extLst>
              </p:cNvPr>
              <p:cNvGrpSpPr/>
              <p:nvPr/>
            </p:nvGrpSpPr>
            <p:grpSpPr>
              <a:xfrm>
                <a:off x="23287949" y="11284448"/>
                <a:ext cx="729268" cy="735677"/>
                <a:chOff x="23287949" y="11284448"/>
                <a:chExt cx="729268" cy="735677"/>
              </a:xfrm>
            </p:grpSpPr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1BAA6820-9C12-4DB5-A579-01B6BEFE4594}"/>
                    </a:ext>
                  </a:extLst>
                </p:cNvPr>
                <p:cNvSpPr/>
                <p:nvPr/>
              </p:nvSpPr>
              <p:spPr>
                <a:xfrm>
                  <a:off x="23287949" y="11284448"/>
                  <a:ext cx="729268" cy="735677"/>
                </a:xfrm>
                <a:custGeom>
                  <a:avLst/>
                  <a:gdLst>
                    <a:gd name="connsiteX0" fmla="*/ 17852 w 729268"/>
                    <a:gd name="connsiteY0" fmla="*/ 260721 h 735677"/>
                    <a:gd name="connsiteX1" fmla="*/ 0 w 729268"/>
                    <a:gd name="connsiteY1" fmla="*/ 364853 h 735677"/>
                    <a:gd name="connsiteX2" fmla="*/ 41654 w 729268"/>
                    <a:gd name="connsiteY2" fmla="*/ 540390 h 735677"/>
                    <a:gd name="connsiteX3" fmla="*/ 243967 w 729268"/>
                    <a:gd name="connsiteY3" fmla="*/ 715928 h 735677"/>
                    <a:gd name="connsiteX4" fmla="*/ 255869 w 729268"/>
                    <a:gd name="connsiteY4" fmla="*/ 718902 h 735677"/>
                    <a:gd name="connsiteX5" fmla="*/ 422480 w 729268"/>
                    <a:gd name="connsiteY5" fmla="*/ 730804 h 735677"/>
                    <a:gd name="connsiteX6" fmla="*/ 645620 w 729268"/>
                    <a:gd name="connsiteY6" fmla="*/ 605845 h 735677"/>
                    <a:gd name="connsiteX7" fmla="*/ 714050 w 729268"/>
                    <a:gd name="connsiteY7" fmla="*/ 477911 h 735677"/>
                    <a:gd name="connsiteX8" fmla="*/ 722975 w 729268"/>
                    <a:gd name="connsiteY8" fmla="*/ 439233 h 735677"/>
                    <a:gd name="connsiteX9" fmla="*/ 669422 w 729268"/>
                    <a:gd name="connsiteY9" fmla="*/ 165515 h 735677"/>
                    <a:gd name="connsiteX10" fmla="*/ 538514 w 729268"/>
                    <a:gd name="connsiteY10" fmla="*/ 46507 h 735677"/>
                    <a:gd name="connsiteX11" fmla="*/ 470082 w 729268"/>
                    <a:gd name="connsiteY11" fmla="*/ 16754 h 735677"/>
                    <a:gd name="connsiteX12" fmla="*/ 249918 w 729268"/>
                    <a:gd name="connsiteY12" fmla="*/ 16754 h 735677"/>
                    <a:gd name="connsiteX13" fmla="*/ 101158 w 729268"/>
                    <a:gd name="connsiteY13" fmla="*/ 108985 h 735677"/>
                    <a:gd name="connsiteX14" fmla="*/ 17852 w 729268"/>
                    <a:gd name="connsiteY14" fmla="*/ 260721 h 7356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29268" h="735677">
                      <a:moveTo>
                        <a:pt x="17852" y="260721"/>
                      </a:moveTo>
                      <a:cubicBezTo>
                        <a:pt x="5951" y="296424"/>
                        <a:pt x="0" y="332126"/>
                        <a:pt x="0" y="364853"/>
                      </a:cubicBezTo>
                      <a:cubicBezTo>
                        <a:pt x="0" y="427333"/>
                        <a:pt x="14876" y="486837"/>
                        <a:pt x="41654" y="540390"/>
                      </a:cubicBezTo>
                      <a:cubicBezTo>
                        <a:pt x="83305" y="620721"/>
                        <a:pt x="154711" y="683201"/>
                        <a:pt x="243967" y="715928"/>
                      </a:cubicBezTo>
                      <a:cubicBezTo>
                        <a:pt x="246942" y="718902"/>
                        <a:pt x="252893" y="718902"/>
                        <a:pt x="255869" y="718902"/>
                      </a:cubicBezTo>
                      <a:cubicBezTo>
                        <a:pt x="312397" y="736754"/>
                        <a:pt x="368926" y="739729"/>
                        <a:pt x="422480" y="730804"/>
                      </a:cubicBezTo>
                      <a:cubicBezTo>
                        <a:pt x="508761" y="715928"/>
                        <a:pt x="589091" y="671300"/>
                        <a:pt x="645620" y="605845"/>
                      </a:cubicBezTo>
                      <a:cubicBezTo>
                        <a:pt x="675372" y="570142"/>
                        <a:pt x="699174" y="525514"/>
                        <a:pt x="714050" y="477911"/>
                      </a:cubicBezTo>
                      <a:cubicBezTo>
                        <a:pt x="717026" y="466010"/>
                        <a:pt x="722975" y="451134"/>
                        <a:pt x="722975" y="439233"/>
                      </a:cubicBezTo>
                      <a:cubicBezTo>
                        <a:pt x="740827" y="341052"/>
                        <a:pt x="720000" y="245845"/>
                        <a:pt x="669422" y="165515"/>
                      </a:cubicBezTo>
                      <a:cubicBezTo>
                        <a:pt x="636695" y="114936"/>
                        <a:pt x="592067" y="73283"/>
                        <a:pt x="538514" y="46507"/>
                      </a:cubicBezTo>
                      <a:cubicBezTo>
                        <a:pt x="517687" y="34605"/>
                        <a:pt x="493885" y="25680"/>
                        <a:pt x="470082" y="16754"/>
                      </a:cubicBezTo>
                      <a:cubicBezTo>
                        <a:pt x="395702" y="-7048"/>
                        <a:pt x="318347" y="-4072"/>
                        <a:pt x="249918" y="16754"/>
                      </a:cubicBezTo>
                      <a:cubicBezTo>
                        <a:pt x="193388" y="34605"/>
                        <a:pt x="142810" y="64357"/>
                        <a:pt x="101158" y="108985"/>
                      </a:cubicBezTo>
                      <a:cubicBezTo>
                        <a:pt x="65455" y="150639"/>
                        <a:pt x="35703" y="201217"/>
                        <a:pt x="17852" y="260721"/>
                      </a:cubicBezTo>
                      <a:close/>
                    </a:path>
                  </a:pathLst>
                </a:custGeom>
                <a:solidFill>
                  <a:srgbClr val="F6EBEB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10C3E1F7-60EE-4E5A-AEEF-813C44CA2D8E}"/>
                    </a:ext>
                  </a:extLst>
                </p:cNvPr>
                <p:cNvSpPr/>
                <p:nvPr/>
              </p:nvSpPr>
              <p:spPr>
                <a:xfrm>
                  <a:off x="23287949" y="11304177"/>
                  <a:ext cx="722974" cy="715948"/>
                </a:xfrm>
                <a:custGeom>
                  <a:avLst/>
                  <a:gdLst>
                    <a:gd name="connsiteX0" fmla="*/ 0 w 722974"/>
                    <a:gd name="connsiteY0" fmla="*/ 345124 h 715948"/>
                    <a:gd name="connsiteX1" fmla="*/ 41654 w 722974"/>
                    <a:gd name="connsiteY1" fmla="*/ 520661 h 715948"/>
                    <a:gd name="connsiteX2" fmla="*/ 59504 w 722974"/>
                    <a:gd name="connsiteY2" fmla="*/ 526612 h 715948"/>
                    <a:gd name="connsiteX3" fmla="*/ 226117 w 722974"/>
                    <a:gd name="connsiteY3" fmla="*/ 651571 h 715948"/>
                    <a:gd name="connsiteX4" fmla="*/ 243967 w 722974"/>
                    <a:gd name="connsiteY4" fmla="*/ 696199 h 715948"/>
                    <a:gd name="connsiteX5" fmla="*/ 255869 w 722974"/>
                    <a:gd name="connsiteY5" fmla="*/ 699174 h 715948"/>
                    <a:gd name="connsiteX6" fmla="*/ 422480 w 722974"/>
                    <a:gd name="connsiteY6" fmla="*/ 711075 h 715948"/>
                    <a:gd name="connsiteX7" fmla="*/ 443307 w 722974"/>
                    <a:gd name="connsiteY7" fmla="*/ 672397 h 715948"/>
                    <a:gd name="connsiteX8" fmla="*/ 606943 w 722974"/>
                    <a:gd name="connsiteY8" fmla="*/ 580165 h 715948"/>
                    <a:gd name="connsiteX9" fmla="*/ 645620 w 722974"/>
                    <a:gd name="connsiteY9" fmla="*/ 586116 h 715948"/>
                    <a:gd name="connsiteX10" fmla="*/ 714050 w 722974"/>
                    <a:gd name="connsiteY10" fmla="*/ 458183 h 715948"/>
                    <a:gd name="connsiteX11" fmla="*/ 722975 w 722974"/>
                    <a:gd name="connsiteY11" fmla="*/ 419504 h 715948"/>
                    <a:gd name="connsiteX12" fmla="*/ 678347 w 722974"/>
                    <a:gd name="connsiteY12" fmla="*/ 383802 h 715948"/>
                    <a:gd name="connsiteX13" fmla="*/ 651571 w 722974"/>
                    <a:gd name="connsiteY13" fmla="*/ 202315 h 715948"/>
                    <a:gd name="connsiteX14" fmla="*/ 669422 w 722974"/>
                    <a:gd name="connsiteY14" fmla="*/ 148760 h 715948"/>
                    <a:gd name="connsiteX15" fmla="*/ 669422 w 722974"/>
                    <a:gd name="connsiteY15" fmla="*/ 148760 h 715948"/>
                    <a:gd name="connsiteX16" fmla="*/ 538514 w 722974"/>
                    <a:gd name="connsiteY16" fmla="*/ 29752 h 715948"/>
                    <a:gd name="connsiteX17" fmla="*/ 493885 w 722974"/>
                    <a:gd name="connsiteY17" fmla="*/ 50579 h 715948"/>
                    <a:gd name="connsiteX18" fmla="*/ 300497 w 722974"/>
                    <a:gd name="connsiteY18" fmla="*/ 35703 h 715948"/>
                    <a:gd name="connsiteX19" fmla="*/ 249918 w 722974"/>
                    <a:gd name="connsiteY19" fmla="*/ 0 h 715948"/>
                    <a:gd name="connsiteX20" fmla="*/ 101158 w 722974"/>
                    <a:gd name="connsiteY20" fmla="*/ 92232 h 715948"/>
                    <a:gd name="connsiteX21" fmla="*/ 110083 w 722974"/>
                    <a:gd name="connsiteY21" fmla="*/ 142810 h 715948"/>
                    <a:gd name="connsiteX22" fmla="*/ 29752 w 722974"/>
                    <a:gd name="connsiteY22" fmla="*/ 318347 h 715948"/>
                    <a:gd name="connsiteX23" fmla="*/ 0 w 722974"/>
                    <a:gd name="connsiteY23" fmla="*/ 345124 h 715948"/>
                    <a:gd name="connsiteX24" fmla="*/ 514710 w 722974"/>
                    <a:gd name="connsiteY24" fmla="*/ 160662 h 715948"/>
                    <a:gd name="connsiteX25" fmla="*/ 449257 w 722974"/>
                    <a:gd name="connsiteY25" fmla="*/ 252893 h 715948"/>
                    <a:gd name="connsiteX26" fmla="*/ 315373 w 722974"/>
                    <a:gd name="connsiteY26" fmla="*/ 240992 h 715948"/>
                    <a:gd name="connsiteX27" fmla="*/ 255869 w 722974"/>
                    <a:gd name="connsiteY27" fmla="*/ 145786 h 715948"/>
                    <a:gd name="connsiteX28" fmla="*/ 318347 w 722974"/>
                    <a:gd name="connsiteY28" fmla="*/ 53554 h 715948"/>
                    <a:gd name="connsiteX29" fmla="*/ 487935 w 722974"/>
                    <a:gd name="connsiteY29" fmla="*/ 65455 h 715948"/>
                    <a:gd name="connsiteX30" fmla="*/ 514710 w 722974"/>
                    <a:gd name="connsiteY30" fmla="*/ 160662 h 715948"/>
                    <a:gd name="connsiteX31" fmla="*/ 666447 w 722974"/>
                    <a:gd name="connsiteY31" fmla="*/ 389752 h 715948"/>
                    <a:gd name="connsiteX32" fmla="*/ 595041 w 722974"/>
                    <a:gd name="connsiteY32" fmla="*/ 455207 h 715948"/>
                    <a:gd name="connsiteX33" fmla="*/ 490909 w 722974"/>
                    <a:gd name="connsiteY33" fmla="*/ 410579 h 715948"/>
                    <a:gd name="connsiteX34" fmla="*/ 464133 w 722974"/>
                    <a:gd name="connsiteY34" fmla="*/ 264794 h 715948"/>
                    <a:gd name="connsiteX35" fmla="*/ 523637 w 722974"/>
                    <a:gd name="connsiteY35" fmla="*/ 181488 h 715948"/>
                    <a:gd name="connsiteX36" fmla="*/ 636695 w 722974"/>
                    <a:gd name="connsiteY36" fmla="*/ 217191 h 715948"/>
                    <a:gd name="connsiteX37" fmla="*/ 666447 w 722974"/>
                    <a:gd name="connsiteY37" fmla="*/ 389752 h 715948"/>
                    <a:gd name="connsiteX38" fmla="*/ 357025 w 722974"/>
                    <a:gd name="connsiteY38" fmla="*/ 609917 h 715948"/>
                    <a:gd name="connsiteX39" fmla="*/ 362976 w 722974"/>
                    <a:gd name="connsiteY39" fmla="*/ 496860 h 715948"/>
                    <a:gd name="connsiteX40" fmla="*/ 484958 w 722974"/>
                    <a:gd name="connsiteY40" fmla="*/ 425455 h 715948"/>
                    <a:gd name="connsiteX41" fmla="*/ 589091 w 722974"/>
                    <a:gd name="connsiteY41" fmla="*/ 470083 h 715948"/>
                    <a:gd name="connsiteX42" fmla="*/ 592067 w 722974"/>
                    <a:gd name="connsiteY42" fmla="*/ 571240 h 715948"/>
                    <a:gd name="connsiteX43" fmla="*/ 437356 w 722974"/>
                    <a:gd name="connsiteY43" fmla="*/ 657521 h 715948"/>
                    <a:gd name="connsiteX44" fmla="*/ 357025 w 722974"/>
                    <a:gd name="connsiteY44" fmla="*/ 609917 h 715948"/>
                    <a:gd name="connsiteX45" fmla="*/ 133884 w 722974"/>
                    <a:gd name="connsiteY45" fmla="*/ 422480 h 715948"/>
                    <a:gd name="connsiteX46" fmla="*/ 243967 w 722974"/>
                    <a:gd name="connsiteY46" fmla="*/ 398678 h 715948"/>
                    <a:gd name="connsiteX47" fmla="*/ 345125 w 722974"/>
                    <a:gd name="connsiteY47" fmla="*/ 496860 h 715948"/>
                    <a:gd name="connsiteX48" fmla="*/ 339174 w 722974"/>
                    <a:gd name="connsiteY48" fmla="*/ 603968 h 715948"/>
                    <a:gd name="connsiteX49" fmla="*/ 246942 w 722974"/>
                    <a:gd name="connsiteY49" fmla="*/ 639669 h 715948"/>
                    <a:gd name="connsiteX50" fmla="*/ 101158 w 722974"/>
                    <a:gd name="connsiteY50" fmla="*/ 529587 h 715948"/>
                    <a:gd name="connsiteX51" fmla="*/ 133884 w 722974"/>
                    <a:gd name="connsiteY51" fmla="*/ 422480 h 715948"/>
                    <a:gd name="connsiteX52" fmla="*/ 59504 w 722974"/>
                    <a:gd name="connsiteY52" fmla="*/ 315372 h 715948"/>
                    <a:gd name="connsiteX53" fmla="*/ 130910 w 722974"/>
                    <a:gd name="connsiteY53" fmla="*/ 160662 h 715948"/>
                    <a:gd name="connsiteX54" fmla="*/ 238017 w 722974"/>
                    <a:gd name="connsiteY54" fmla="*/ 160662 h 715948"/>
                    <a:gd name="connsiteX55" fmla="*/ 291570 w 722974"/>
                    <a:gd name="connsiteY55" fmla="*/ 246943 h 715948"/>
                    <a:gd name="connsiteX56" fmla="*/ 229091 w 722974"/>
                    <a:gd name="connsiteY56" fmla="*/ 383802 h 715948"/>
                    <a:gd name="connsiteX57" fmla="*/ 124959 w 722974"/>
                    <a:gd name="connsiteY57" fmla="*/ 404628 h 715948"/>
                    <a:gd name="connsiteX58" fmla="*/ 59504 w 722974"/>
                    <a:gd name="connsiteY58" fmla="*/ 315372 h 715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</a:cxnLst>
                  <a:rect l="l" t="t" r="r" b="b"/>
                  <a:pathLst>
                    <a:path w="722974" h="715948">
                      <a:moveTo>
                        <a:pt x="0" y="345124"/>
                      </a:moveTo>
                      <a:cubicBezTo>
                        <a:pt x="0" y="407604"/>
                        <a:pt x="14876" y="467108"/>
                        <a:pt x="41654" y="520661"/>
                      </a:cubicBezTo>
                      <a:lnTo>
                        <a:pt x="59504" y="526612"/>
                      </a:lnTo>
                      <a:lnTo>
                        <a:pt x="226117" y="651571"/>
                      </a:lnTo>
                      <a:lnTo>
                        <a:pt x="243967" y="696199"/>
                      </a:lnTo>
                      <a:cubicBezTo>
                        <a:pt x="246942" y="699174"/>
                        <a:pt x="252893" y="699174"/>
                        <a:pt x="255869" y="699174"/>
                      </a:cubicBezTo>
                      <a:cubicBezTo>
                        <a:pt x="312397" y="717025"/>
                        <a:pt x="368926" y="720000"/>
                        <a:pt x="422480" y="711075"/>
                      </a:cubicBezTo>
                      <a:lnTo>
                        <a:pt x="443307" y="672397"/>
                      </a:lnTo>
                      <a:lnTo>
                        <a:pt x="606943" y="580165"/>
                      </a:lnTo>
                      <a:lnTo>
                        <a:pt x="645620" y="586116"/>
                      </a:lnTo>
                      <a:cubicBezTo>
                        <a:pt x="675372" y="550413"/>
                        <a:pt x="699174" y="505785"/>
                        <a:pt x="714050" y="458183"/>
                      </a:cubicBezTo>
                      <a:cubicBezTo>
                        <a:pt x="717026" y="446281"/>
                        <a:pt x="722975" y="431405"/>
                        <a:pt x="722975" y="419504"/>
                      </a:cubicBezTo>
                      <a:lnTo>
                        <a:pt x="678347" y="383802"/>
                      </a:lnTo>
                      <a:lnTo>
                        <a:pt x="651571" y="202315"/>
                      </a:lnTo>
                      <a:lnTo>
                        <a:pt x="669422" y="148760"/>
                      </a:lnTo>
                      <a:lnTo>
                        <a:pt x="669422" y="148760"/>
                      </a:lnTo>
                      <a:cubicBezTo>
                        <a:pt x="636695" y="98182"/>
                        <a:pt x="592067" y="56530"/>
                        <a:pt x="538514" y="29752"/>
                      </a:cubicBezTo>
                      <a:lnTo>
                        <a:pt x="493885" y="50579"/>
                      </a:lnTo>
                      <a:lnTo>
                        <a:pt x="300497" y="35703"/>
                      </a:lnTo>
                      <a:lnTo>
                        <a:pt x="249918" y="0"/>
                      </a:lnTo>
                      <a:cubicBezTo>
                        <a:pt x="193388" y="17851"/>
                        <a:pt x="142810" y="47603"/>
                        <a:pt x="101158" y="92232"/>
                      </a:cubicBezTo>
                      <a:lnTo>
                        <a:pt x="110083" y="142810"/>
                      </a:lnTo>
                      <a:lnTo>
                        <a:pt x="29752" y="318347"/>
                      </a:lnTo>
                      <a:lnTo>
                        <a:pt x="0" y="345124"/>
                      </a:lnTo>
                      <a:close/>
                      <a:moveTo>
                        <a:pt x="514710" y="160662"/>
                      </a:moveTo>
                      <a:lnTo>
                        <a:pt x="449257" y="252893"/>
                      </a:lnTo>
                      <a:lnTo>
                        <a:pt x="315373" y="240992"/>
                      </a:lnTo>
                      <a:lnTo>
                        <a:pt x="255869" y="145786"/>
                      </a:lnTo>
                      <a:lnTo>
                        <a:pt x="318347" y="53554"/>
                      </a:lnTo>
                      <a:lnTo>
                        <a:pt x="487935" y="65455"/>
                      </a:lnTo>
                      <a:lnTo>
                        <a:pt x="514710" y="160662"/>
                      </a:lnTo>
                      <a:close/>
                      <a:moveTo>
                        <a:pt x="666447" y="389752"/>
                      </a:moveTo>
                      <a:lnTo>
                        <a:pt x="595041" y="455207"/>
                      </a:lnTo>
                      <a:lnTo>
                        <a:pt x="490909" y="410579"/>
                      </a:lnTo>
                      <a:lnTo>
                        <a:pt x="464133" y="264794"/>
                      </a:lnTo>
                      <a:lnTo>
                        <a:pt x="523637" y="181488"/>
                      </a:lnTo>
                      <a:lnTo>
                        <a:pt x="636695" y="217191"/>
                      </a:lnTo>
                      <a:lnTo>
                        <a:pt x="666447" y="389752"/>
                      </a:lnTo>
                      <a:close/>
                      <a:moveTo>
                        <a:pt x="357025" y="609917"/>
                      </a:moveTo>
                      <a:lnTo>
                        <a:pt x="362976" y="496860"/>
                      </a:lnTo>
                      <a:lnTo>
                        <a:pt x="484958" y="425455"/>
                      </a:lnTo>
                      <a:lnTo>
                        <a:pt x="589091" y="470083"/>
                      </a:lnTo>
                      <a:lnTo>
                        <a:pt x="592067" y="571240"/>
                      </a:lnTo>
                      <a:lnTo>
                        <a:pt x="437356" y="657521"/>
                      </a:lnTo>
                      <a:lnTo>
                        <a:pt x="357025" y="609917"/>
                      </a:lnTo>
                      <a:close/>
                      <a:moveTo>
                        <a:pt x="133884" y="422480"/>
                      </a:moveTo>
                      <a:lnTo>
                        <a:pt x="243967" y="398678"/>
                      </a:lnTo>
                      <a:lnTo>
                        <a:pt x="345125" y="496860"/>
                      </a:lnTo>
                      <a:lnTo>
                        <a:pt x="339174" y="603968"/>
                      </a:lnTo>
                      <a:lnTo>
                        <a:pt x="246942" y="639669"/>
                      </a:lnTo>
                      <a:lnTo>
                        <a:pt x="101158" y="529587"/>
                      </a:lnTo>
                      <a:lnTo>
                        <a:pt x="133884" y="422480"/>
                      </a:lnTo>
                      <a:close/>
                      <a:moveTo>
                        <a:pt x="59504" y="315372"/>
                      </a:moveTo>
                      <a:lnTo>
                        <a:pt x="130910" y="160662"/>
                      </a:lnTo>
                      <a:lnTo>
                        <a:pt x="238017" y="160662"/>
                      </a:lnTo>
                      <a:lnTo>
                        <a:pt x="291570" y="246943"/>
                      </a:lnTo>
                      <a:lnTo>
                        <a:pt x="229091" y="383802"/>
                      </a:lnTo>
                      <a:lnTo>
                        <a:pt x="124959" y="404628"/>
                      </a:lnTo>
                      <a:lnTo>
                        <a:pt x="59504" y="315372"/>
                      </a:lnTo>
                      <a:close/>
                    </a:path>
                  </a:pathLst>
                </a:custGeom>
                <a:solidFill>
                  <a:srgbClr val="38333D"/>
                </a:solidFill>
                <a:ln w="297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64B5A10A-9C83-4F43-AB1B-74F13641887D}"/>
                  </a:ext>
                </a:extLst>
              </p:cNvPr>
              <p:cNvSpPr/>
              <p:nvPr/>
            </p:nvSpPr>
            <p:spPr>
              <a:xfrm>
                <a:off x="23784809" y="11226822"/>
                <a:ext cx="321730" cy="568263"/>
              </a:xfrm>
              <a:custGeom>
                <a:avLst/>
                <a:gdLst>
                  <a:gd name="connsiteX0" fmla="*/ 300495 w 321730"/>
                  <a:gd name="connsiteY0" fmla="*/ 568264 h 568263"/>
                  <a:gd name="connsiteX1" fmla="*/ 270743 w 321730"/>
                  <a:gd name="connsiteY1" fmla="*/ 223141 h 568263"/>
                  <a:gd name="connsiteX2" fmla="*/ 5951 w 321730"/>
                  <a:gd name="connsiteY2" fmla="*/ 0 h 568263"/>
                  <a:gd name="connsiteX3" fmla="*/ 0 w 321730"/>
                  <a:gd name="connsiteY3" fmla="*/ 17851 h 568263"/>
                  <a:gd name="connsiteX4" fmla="*/ 252893 w 321730"/>
                  <a:gd name="connsiteY4" fmla="*/ 229090 h 568263"/>
                  <a:gd name="connsiteX5" fmla="*/ 282645 w 321730"/>
                  <a:gd name="connsiteY5" fmla="*/ 559339 h 568263"/>
                  <a:gd name="connsiteX6" fmla="*/ 300495 w 321730"/>
                  <a:gd name="connsiteY6" fmla="*/ 568264 h 568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1730" h="568263">
                    <a:moveTo>
                      <a:pt x="300495" y="568264"/>
                    </a:moveTo>
                    <a:cubicBezTo>
                      <a:pt x="336198" y="452231"/>
                      <a:pt x="327273" y="330247"/>
                      <a:pt x="270743" y="223141"/>
                    </a:cubicBezTo>
                    <a:cubicBezTo>
                      <a:pt x="214215" y="116033"/>
                      <a:pt x="121983" y="35702"/>
                      <a:pt x="5951" y="0"/>
                    </a:cubicBezTo>
                    <a:lnTo>
                      <a:pt x="0" y="17851"/>
                    </a:lnTo>
                    <a:cubicBezTo>
                      <a:pt x="110083" y="53553"/>
                      <a:pt x="199339" y="127934"/>
                      <a:pt x="252893" y="229090"/>
                    </a:cubicBezTo>
                    <a:cubicBezTo>
                      <a:pt x="306446" y="330247"/>
                      <a:pt x="315371" y="449255"/>
                      <a:pt x="282645" y="559339"/>
                    </a:cubicBezTo>
                    <a:lnTo>
                      <a:pt x="300495" y="568264"/>
                    </a:ln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3E8D91A3-BA1C-40DD-A0CA-37CF5CDCC61C}"/>
                  </a:ext>
                </a:extLst>
              </p:cNvPr>
              <p:cNvSpPr/>
              <p:nvPr/>
            </p:nvSpPr>
            <p:spPr>
              <a:xfrm>
                <a:off x="23204235" y="11524343"/>
                <a:ext cx="321730" cy="565289"/>
              </a:xfrm>
              <a:custGeom>
                <a:avLst/>
                <a:gdLst>
                  <a:gd name="connsiteX0" fmla="*/ 315780 w 321730"/>
                  <a:gd name="connsiteY0" fmla="*/ 565289 h 565289"/>
                  <a:gd name="connsiteX1" fmla="*/ 321730 w 321730"/>
                  <a:gd name="connsiteY1" fmla="*/ 547438 h 565289"/>
                  <a:gd name="connsiteX2" fmla="*/ 68838 w 321730"/>
                  <a:gd name="connsiteY2" fmla="*/ 336198 h 565289"/>
                  <a:gd name="connsiteX3" fmla="*/ 39086 w 321730"/>
                  <a:gd name="connsiteY3" fmla="*/ 5950 h 565289"/>
                  <a:gd name="connsiteX4" fmla="*/ 21235 w 321730"/>
                  <a:gd name="connsiteY4" fmla="*/ 0 h 565289"/>
                  <a:gd name="connsiteX5" fmla="*/ 50987 w 321730"/>
                  <a:gd name="connsiteY5" fmla="*/ 345123 h 565289"/>
                  <a:gd name="connsiteX6" fmla="*/ 315780 w 321730"/>
                  <a:gd name="connsiteY6" fmla="*/ 565289 h 565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1730" h="565289">
                    <a:moveTo>
                      <a:pt x="315780" y="565289"/>
                    </a:moveTo>
                    <a:lnTo>
                      <a:pt x="321730" y="547438"/>
                    </a:lnTo>
                    <a:cubicBezTo>
                      <a:pt x="211647" y="511735"/>
                      <a:pt x="122391" y="437355"/>
                      <a:pt x="68838" y="336198"/>
                    </a:cubicBezTo>
                    <a:cubicBezTo>
                      <a:pt x="15284" y="235041"/>
                      <a:pt x="6359" y="116033"/>
                      <a:pt x="39086" y="5950"/>
                    </a:cubicBezTo>
                    <a:lnTo>
                      <a:pt x="21235" y="0"/>
                    </a:lnTo>
                    <a:cubicBezTo>
                      <a:pt x="-14468" y="116033"/>
                      <a:pt x="-5542" y="238017"/>
                      <a:pt x="50987" y="345123"/>
                    </a:cubicBezTo>
                    <a:cubicBezTo>
                      <a:pt x="104541" y="452231"/>
                      <a:pt x="199748" y="529586"/>
                      <a:pt x="315780" y="565289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EF2226B2-BE7C-4FEC-99A4-B64B9BB4BB12}"/>
                  </a:ext>
                </a:extLst>
              </p:cNvPr>
              <p:cNvSpPr/>
              <p:nvPr/>
            </p:nvSpPr>
            <p:spPr>
              <a:xfrm>
                <a:off x="23130263" y="11729632"/>
                <a:ext cx="193388" cy="330248"/>
              </a:xfrm>
              <a:custGeom>
                <a:avLst/>
                <a:gdLst>
                  <a:gd name="connsiteX0" fmla="*/ 181487 w 193388"/>
                  <a:gd name="connsiteY0" fmla="*/ 330248 h 330248"/>
                  <a:gd name="connsiteX1" fmla="*/ 193388 w 193388"/>
                  <a:gd name="connsiteY1" fmla="*/ 315372 h 330248"/>
                  <a:gd name="connsiteX2" fmla="*/ 20827 w 193388"/>
                  <a:gd name="connsiteY2" fmla="*/ 0 h 330248"/>
                  <a:gd name="connsiteX3" fmla="*/ 0 w 193388"/>
                  <a:gd name="connsiteY3" fmla="*/ 2975 h 330248"/>
                  <a:gd name="connsiteX4" fmla="*/ 181487 w 193388"/>
                  <a:gd name="connsiteY4" fmla="*/ 330248 h 330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388" h="330248">
                    <a:moveTo>
                      <a:pt x="181487" y="330248"/>
                    </a:moveTo>
                    <a:lnTo>
                      <a:pt x="193388" y="315372"/>
                    </a:lnTo>
                    <a:cubicBezTo>
                      <a:pt x="98181" y="235041"/>
                      <a:pt x="38677" y="124958"/>
                      <a:pt x="20827" y="0"/>
                    </a:cubicBezTo>
                    <a:lnTo>
                      <a:pt x="0" y="2975"/>
                    </a:lnTo>
                    <a:cubicBezTo>
                      <a:pt x="20827" y="130909"/>
                      <a:pt x="86282" y="246942"/>
                      <a:pt x="181487" y="330248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727BB898-549A-465F-B12D-41F912EEB874}"/>
                  </a:ext>
                </a:extLst>
              </p:cNvPr>
              <p:cNvSpPr/>
              <p:nvPr/>
            </p:nvSpPr>
            <p:spPr>
              <a:xfrm>
                <a:off x="23984148" y="11253599"/>
                <a:ext cx="199339" cy="362974"/>
              </a:xfrm>
              <a:custGeom>
                <a:avLst/>
                <a:gdLst>
                  <a:gd name="connsiteX0" fmla="*/ 178512 w 199339"/>
                  <a:gd name="connsiteY0" fmla="*/ 362975 h 362974"/>
                  <a:gd name="connsiteX1" fmla="*/ 199339 w 199339"/>
                  <a:gd name="connsiteY1" fmla="*/ 360000 h 362974"/>
                  <a:gd name="connsiteX2" fmla="*/ 11900 w 199339"/>
                  <a:gd name="connsiteY2" fmla="*/ 0 h 362974"/>
                  <a:gd name="connsiteX3" fmla="*/ 0 w 199339"/>
                  <a:gd name="connsiteY3" fmla="*/ 14876 h 362974"/>
                  <a:gd name="connsiteX4" fmla="*/ 178512 w 199339"/>
                  <a:gd name="connsiteY4" fmla="*/ 362975 h 362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339" h="362974">
                    <a:moveTo>
                      <a:pt x="178512" y="362975"/>
                    </a:moveTo>
                    <a:lnTo>
                      <a:pt x="199339" y="360000"/>
                    </a:lnTo>
                    <a:cubicBezTo>
                      <a:pt x="187438" y="220165"/>
                      <a:pt x="119008" y="89256"/>
                      <a:pt x="11900" y="0"/>
                    </a:cubicBezTo>
                    <a:lnTo>
                      <a:pt x="0" y="14876"/>
                    </a:lnTo>
                    <a:cubicBezTo>
                      <a:pt x="101156" y="101157"/>
                      <a:pt x="166611" y="229090"/>
                      <a:pt x="178512" y="362975"/>
                    </a:cubicBezTo>
                    <a:close/>
                  </a:path>
                </a:pathLst>
              </a:custGeom>
              <a:solidFill>
                <a:srgbClr val="F6EBEB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DD22BBD2-914E-40F9-A1BA-51E0CDD2DAC9}"/>
                </a:ext>
              </a:extLst>
            </p:cNvPr>
            <p:cNvSpPr/>
            <p:nvPr/>
          </p:nvSpPr>
          <p:spPr>
            <a:xfrm>
              <a:off x="25388446" y="9998062"/>
              <a:ext cx="245271" cy="1359669"/>
            </a:xfrm>
            <a:custGeom>
              <a:avLst/>
              <a:gdLst>
                <a:gd name="connsiteX0" fmla="*/ 0 w 245271"/>
                <a:gd name="connsiteY0" fmla="*/ 1359669 h 1359669"/>
                <a:gd name="connsiteX1" fmla="*/ 41652 w 245271"/>
                <a:gd name="connsiteY1" fmla="*/ 1359669 h 1359669"/>
                <a:gd name="connsiteX2" fmla="*/ 184461 w 245271"/>
                <a:gd name="connsiteY2" fmla="*/ 743801 h 1359669"/>
                <a:gd name="connsiteX3" fmla="*/ 243965 w 245271"/>
                <a:gd name="connsiteY3" fmla="*/ 26776 h 1359669"/>
                <a:gd name="connsiteX4" fmla="*/ 243965 w 245271"/>
                <a:gd name="connsiteY4" fmla="*/ 17851 h 1359669"/>
                <a:gd name="connsiteX5" fmla="*/ 205288 w 245271"/>
                <a:gd name="connsiteY5" fmla="*/ 17851 h 1359669"/>
                <a:gd name="connsiteX6" fmla="*/ 205288 w 245271"/>
                <a:gd name="connsiteY6" fmla="*/ 26776 h 1359669"/>
                <a:gd name="connsiteX7" fmla="*/ 154709 w 245271"/>
                <a:gd name="connsiteY7" fmla="*/ 669421 h 1359669"/>
                <a:gd name="connsiteX8" fmla="*/ 0 w 245271"/>
                <a:gd name="connsiteY8" fmla="*/ 1359669 h 1359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271" h="1359669">
                  <a:moveTo>
                    <a:pt x="0" y="1359669"/>
                  </a:moveTo>
                  <a:cubicBezTo>
                    <a:pt x="11900" y="1359669"/>
                    <a:pt x="26776" y="1359669"/>
                    <a:pt x="41652" y="1359669"/>
                  </a:cubicBezTo>
                  <a:cubicBezTo>
                    <a:pt x="127934" y="1157355"/>
                    <a:pt x="157686" y="960992"/>
                    <a:pt x="184461" y="743801"/>
                  </a:cubicBezTo>
                  <a:cubicBezTo>
                    <a:pt x="214213" y="505785"/>
                    <a:pt x="252893" y="267768"/>
                    <a:pt x="243965" y="26776"/>
                  </a:cubicBezTo>
                  <a:cubicBezTo>
                    <a:pt x="243965" y="23802"/>
                    <a:pt x="243965" y="20826"/>
                    <a:pt x="243965" y="17851"/>
                  </a:cubicBezTo>
                  <a:cubicBezTo>
                    <a:pt x="243965" y="-5950"/>
                    <a:pt x="205288" y="-5950"/>
                    <a:pt x="205288" y="17851"/>
                  </a:cubicBezTo>
                  <a:cubicBezTo>
                    <a:pt x="205288" y="20826"/>
                    <a:pt x="205288" y="23802"/>
                    <a:pt x="205288" y="26776"/>
                  </a:cubicBezTo>
                  <a:cubicBezTo>
                    <a:pt x="211239" y="243967"/>
                    <a:pt x="181487" y="455207"/>
                    <a:pt x="154709" y="669421"/>
                  </a:cubicBezTo>
                  <a:cubicBezTo>
                    <a:pt x="124957" y="913388"/>
                    <a:pt x="98181" y="1136529"/>
                    <a:pt x="0" y="1359669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595B12E9-AEE3-4FD8-9732-A9CA382516F6}"/>
                </a:ext>
              </a:extLst>
            </p:cNvPr>
            <p:cNvSpPr/>
            <p:nvPr/>
          </p:nvSpPr>
          <p:spPr>
            <a:xfrm>
              <a:off x="25293239" y="10017400"/>
              <a:ext cx="220164" cy="1343306"/>
            </a:xfrm>
            <a:custGeom>
              <a:avLst/>
              <a:gdLst>
                <a:gd name="connsiteX0" fmla="*/ 0 w 220164"/>
                <a:gd name="connsiteY0" fmla="*/ 1340331 h 1343306"/>
                <a:gd name="connsiteX1" fmla="*/ 38677 w 220164"/>
                <a:gd name="connsiteY1" fmla="*/ 1343306 h 1343306"/>
                <a:gd name="connsiteX2" fmla="*/ 220164 w 220164"/>
                <a:gd name="connsiteY2" fmla="*/ 19339 h 1343306"/>
                <a:gd name="connsiteX3" fmla="*/ 220164 w 220164"/>
                <a:gd name="connsiteY3" fmla="*/ 13389 h 1343306"/>
                <a:gd name="connsiteX4" fmla="*/ 184463 w 220164"/>
                <a:gd name="connsiteY4" fmla="*/ 13389 h 1343306"/>
                <a:gd name="connsiteX5" fmla="*/ 184463 w 220164"/>
                <a:gd name="connsiteY5" fmla="*/ 16364 h 1343306"/>
                <a:gd name="connsiteX6" fmla="*/ 0 w 220164"/>
                <a:gd name="connsiteY6" fmla="*/ 1340331 h 1343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164" h="1343306">
                  <a:moveTo>
                    <a:pt x="0" y="1340331"/>
                  </a:moveTo>
                  <a:cubicBezTo>
                    <a:pt x="11900" y="1340331"/>
                    <a:pt x="26776" y="1343306"/>
                    <a:pt x="38677" y="1343306"/>
                  </a:cubicBezTo>
                  <a:cubicBezTo>
                    <a:pt x="178512" y="914876"/>
                    <a:pt x="199339" y="465620"/>
                    <a:pt x="220164" y="19339"/>
                  </a:cubicBezTo>
                  <a:cubicBezTo>
                    <a:pt x="220164" y="16364"/>
                    <a:pt x="220164" y="16364"/>
                    <a:pt x="220164" y="13389"/>
                  </a:cubicBezTo>
                  <a:cubicBezTo>
                    <a:pt x="217190" y="-4463"/>
                    <a:pt x="187438" y="-4463"/>
                    <a:pt x="184463" y="13389"/>
                  </a:cubicBezTo>
                  <a:cubicBezTo>
                    <a:pt x="184463" y="13389"/>
                    <a:pt x="184463" y="16364"/>
                    <a:pt x="184463" y="16364"/>
                  </a:cubicBezTo>
                  <a:cubicBezTo>
                    <a:pt x="163636" y="462645"/>
                    <a:pt x="139835" y="911901"/>
                    <a:pt x="0" y="1340331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804241F9-CB68-4A7A-B72D-1DC4DE3CE67D}"/>
                </a:ext>
              </a:extLst>
            </p:cNvPr>
            <p:cNvSpPr/>
            <p:nvPr/>
          </p:nvSpPr>
          <p:spPr>
            <a:xfrm>
              <a:off x="23894892" y="8810979"/>
              <a:ext cx="1021087" cy="884603"/>
            </a:xfrm>
            <a:custGeom>
              <a:avLst/>
              <a:gdLst>
                <a:gd name="connsiteX0" fmla="*/ 1011570 w 1021087"/>
                <a:gd name="connsiteY0" fmla="*/ 273695 h 884603"/>
                <a:gd name="connsiteX1" fmla="*/ 874710 w 1021087"/>
                <a:gd name="connsiteY1" fmla="*/ 2951 h 884603"/>
                <a:gd name="connsiteX2" fmla="*/ 595041 w 1021087"/>
                <a:gd name="connsiteY2" fmla="*/ 368901 h 884603"/>
                <a:gd name="connsiteX3" fmla="*/ 413553 w 1021087"/>
                <a:gd name="connsiteY3" fmla="*/ 678322 h 884603"/>
                <a:gd name="connsiteX4" fmla="*/ 35703 w 1021087"/>
                <a:gd name="connsiteY4" fmla="*/ 717001 h 884603"/>
                <a:gd name="connsiteX5" fmla="*/ 0 w 1021087"/>
                <a:gd name="connsiteY5" fmla="*/ 868736 h 884603"/>
                <a:gd name="connsiteX6" fmla="*/ 541488 w 1021087"/>
                <a:gd name="connsiteY6" fmla="*/ 868736 h 884603"/>
                <a:gd name="connsiteX7" fmla="*/ 1011570 w 1021087"/>
                <a:gd name="connsiteY7" fmla="*/ 273695 h 884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1087" h="884603">
                  <a:moveTo>
                    <a:pt x="1011570" y="273695"/>
                  </a:moveTo>
                  <a:cubicBezTo>
                    <a:pt x="1053222" y="136835"/>
                    <a:pt x="949090" y="-23826"/>
                    <a:pt x="874710" y="2951"/>
                  </a:cubicBezTo>
                  <a:cubicBezTo>
                    <a:pt x="791404" y="35678"/>
                    <a:pt x="675372" y="220141"/>
                    <a:pt x="595041" y="368901"/>
                  </a:cubicBezTo>
                  <a:cubicBezTo>
                    <a:pt x="544462" y="464108"/>
                    <a:pt x="428429" y="681298"/>
                    <a:pt x="413553" y="678322"/>
                  </a:cubicBezTo>
                  <a:cubicBezTo>
                    <a:pt x="407604" y="678322"/>
                    <a:pt x="35703" y="717001"/>
                    <a:pt x="35703" y="717001"/>
                  </a:cubicBezTo>
                  <a:cubicBezTo>
                    <a:pt x="41652" y="776505"/>
                    <a:pt x="0" y="868736"/>
                    <a:pt x="0" y="868736"/>
                  </a:cubicBezTo>
                  <a:cubicBezTo>
                    <a:pt x="0" y="868736"/>
                    <a:pt x="467108" y="904438"/>
                    <a:pt x="541488" y="868736"/>
                  </a:cubicBezTo>
                  <a:cubicBezTo>
                    <a:pt x="633719" y="824108"/>
                    <a:pt x="958017" y="446257"/>
                    <a:pt x="1011570" y="273695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B730BE2A-561F-46AB-B8F1-4E750DA75CF4}"/>
                </a:ext>
              </a:extLst>
            </p:cNvPr>
            <p:cNvSpPr/>
            <p:nvPr/>
          </p:nvSpPr>
          <p:spPr>
            <a:xfrm>
              <a:off x="24492907" y="8651364"/>
              <a:ext cx="463410" cy="596945"/>
            </a:xfrm>
            <a:custGeom>
              <a:avLst/>
              <a:gdLst>
                <a:gd name="connsiteX0" fmla="*/ 362976 w 463410"/>
                <a:gd name="connsiteY0" fmla="*/ 596946 h 596945"/>
                <a:gd name="connsiteX1" fmla="*/ 425454 w 463410"/>
                <a:gd name="connsiteY1" fmla="*/ 13805 h 596945"/>
                <a:gd name="connsiteX2" fmla="*/ 0 w 463410"/>
                <a:gd name="connsiteY2" fmla="*/ 400582 h 596945"/>
                <a:gd name="connsiteX3" fmla="*/ 362976 w 463410"/>
                <a:gd name="connsiteY3" fmla="*/ 596946 h 596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3410" h="596945">
                  <a:moveTo>
                    <a:pt x="362976" y="596946"/>
                  </a:moveTo>
                  <a:cubicBezTo>
                    <a:pt x="362976" y="596946"/>
                    <a:pt x="538514" y="103061"/>
                    <a:pt x="425454" y="13805"/>
                  </a:cubicBezTo>
                  <a:cubicBezTo>
                    <a:pt x="291570" y="-87352"/>
                    <a:pt x="0" y="400582"/>
                    <a:pt x="0" y="400582"/>
                  </a:cubicBezTo>
                  <a:cubicBezTo>
                    <a:pt x="0" y="400582"/>
                    <a:pt x="157686" y="561243"/>
                    <a:pt x="362976" y="596946"/>
                  </a:cubicBezTo>
                  <a:close/>
                </a:path>
              </a:pathLst>
            </a:custGeom>
            <a:solidFill>
              <a:srgbClr val="70868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1BF1C9A2-642D-43EB-BB86-A725F1EC803D}"/>
                </a:ext>
              </a:extLst>
            </p:cNvPr>
            <p:cNvSpPr/>
            <p:nvPr/>
          </p:nvSpPr>
          <p:spPr>
            <a:xfrm>
              <a:off x="25108775" y="8391316"/>
              <a:ext cx="261817" cy="253003"/>
            </a:xfrm>
            <a:custGeom>
              <a:avLst/>
              <a:gdLst>
                <a:gd name="connsiteX0" fmla="*/ 0 w 261817"/>
                <a:gd name="connsiteY0" fmla="*/ 32862 h 253003"/>
                <a:gd name="connsiteX1" fmla="*/ 5951 w 261817"/>
                <a:gd name="connsiteY1" fmla="*/ 211374 h 253003"/>
                <a:gd name="connsiteX2" fmla="*/ 261818 w 261817"/>
                <a:gd name="connsiteY2" fmla="*/ 199473 h 253003"/>
                <a:gd name="connsiteX3" fmla="*/ 246942 w 261817"/>
                <a:gd name="connsiteY3" fmla="*/ 134 h 253003"/>
                <a:gd name="connsiteX4" fmla="*/ 0 w 261817"/>
                <a:gd name="connsiteY4" fmla="*/ 32862 h 253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817" h="253003">
                  <a:moveTo>
                    <a:pt x="0" y="32862"/>
                  </a:moveTo>
                  <a:cubicBezTo>
                    <a:pt x="0" y="32862"/>
                    <a:pt x="5951" y="136994"/>
                    <a:pt x="5951" y="211374"/>
                  </a:cubicBezTo>
                  <a:cubicBezTo>
                    <a:pt x="5951" y="211374"/>
                    <a:pt x="116034" y="312531"/>
                    <a:pt x="261818" y="199473"/>
                  </a:cubicBezTo>
                  <a:cubicBezTo>
                    <a:pt x="261818" y="139969"/>
                    <a:pt x="249918" y="62614"/>
                    <a:pt x="246942" y="134"/>
                  </a:cubicBezTo>
                  <a:cubicBezTo>
                    <a:pt x="249918" y="-2841"/>
                    <a:pt x="50579" y="44762"/>
                    <a:pt x="0" y="32862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B433DAFC-2853-4400-AB4E-FB6E5E2853FD}"/>
                </a:ext>
              </a:extLst>
            </p:cNvPr>
            <p:cNvSpPr/>
            <p:nvPr/>
          </p:nvSpPr>
          <p:spPr>
            <a:xfrm>
              <a:off x="25364643" y="8272442"/>
              <a:ext cx="71405" cy="133884"/>
            </a:xfrm>
            <a:custGeom>
              <a:avLst/>
              <a:gdLst>
                <a:gd name="connsiteX0" fmla="*/ 71406 w 71405"/>
                <a:gd name="connsiteY0" fmla="*/ 0 h 133884"/>
                <a:gd name="connsiteX1" fmla="*/ 0 w 71405"/>
                <a:gd name="connsiteY1" fmla="*/ 133884 h 133884"/>
                <a:gd name="connsiteX2" fmla="*/ 0 w 71405"/>
                <a:gd name="connsiteY2" fmla="*/ 50579 h 133884"/>
                <a:gd name="connsiteX3" fmla="*/ 71406 w 71405"/>
                <a:gd name="connsiteY3" fmla="*/ 0 h 13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05" h="133884">
                  <a:moveTo>
                    <a:pt x="71406" y="0"/>
                  </a:moveTo>
                  <a:cubicBezTo>
                    <a:pt x="71406" y="0"/>
                    <a:pt x="53555" y="116033"/>
                    <a:pt x="0" y="133884"/>
                  </a:cubicBezTo>
                  <a:lnTo>
                    <a:pt x="0" y="50579"/>
                  </a:lnTo>
                  <a:lnTo>
                    <a:pt x="71406" y="0"/>
                  </a:ln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E540F01D-DA2B-4406-AFB6-9D651FDAA9BA}"/>
                </a:ext>
              </a:extLst>
            </p:cNvPr>
            <p:cNvSpPr/>
            <p:nvPr/>
          </p:nvSpPr>
          <p:spPr>
            <a:xfrm>
              <a:off x="24991210" y="8052277"/>
              <a:ext cx="105664" cy="235557"/>
            </a:xfrm>
            <a:custGeom>
              <a:avLst/>
              <a:gdLst>
                <a:gd name="connsiteX0" fmla="*/ 10459 w 105664"/>
                <a:gd name="connsiteY0" fmla="*/ 0 h 235557"/>
                <a:gd name="connsiteX1" fmla="*/ 43186 w 105664"/>
                <a:gd name="connsiteY1" fmla="*/ 232066 h 235557"/>
                <a:gd name="connsiteX2" fmla="*/ 105664 w 105664"/>
                <a:gd name="connsiteY2" fmla="*/ 17851 h 235557"/>
                <a:gd name="connsiteX3" fmla="*/ 10459 w 105664"/>
                <a:gd name="connsiteY3" fmla="*/ 0 h 235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664" h="235557">
                  <a:moveTo>
                    <a:pt x="10459" y="0"/>
                  </a:moveTo>
                  <a:cubicBezTo>
                    <a:pt x="10459" y="0"/>
                    <a:pt x="-28220" y="190413"/>
                    <a:pt x="43186" y="232066"/>
                  </a:cubicBezTo>
                  <a:cubicBezTo>
                    <a:pt x="102690" y="267769"/>
                    <a:pt x="105664" y="17851"/>
                    <a:pt x="105664" y="17851"/>
                  </a:cubicBezTo>
                  <a:lnTo>
                    <a:pt x="10459" y="0"/>
                  </a:ln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09F833BF-F9C0-4CB3-9664-30843C5622A8}"/>
                </a:ext>
              </a:extLst>
            </p:cNvPr>
            <p:cNvSpPr/>
            <p:nvPr/>
          </p:nvSpPr>
          <p:spPr>
            <a:xfrm>
              <a:off x="25025113" y="7928365"/>
              <a:ext cx="414139" cy="554303"/>
            </a:xfrm>
            <a:custGeom>
              <a:avLst/>
              <a:gdLst>
                <a:gd name="connsiteX0" fmla="*/ 15233 w 414139"/>
                <a:gd name="connsiteY0" fmla="*/ 168540 h 554303"/>
                <a:gd name="connsiteX1" fmla="*/ 3332 w 414139"/>
                <a:gd name="connsiteY1" fmla="*/ 412506 h 554303"/>
                <a:gd name="connsiteX2" fmla="*/ 152092 w 414139"/>
                <a:gd name="connsiteY2" fmla="*/ 552341 h 554303"/>
                <a:gd name="connsiteX3" fmla="*/ 369282 w 414139"/>
                <a:gd name="connsiteY3" fmla="*/ 421432 h 554303"/>
                <a:gd name="connsiteX4" fmla="*/ 413910 w 414139"/>
                <a:gd name="connsiteY4" fmla="*/ 204242 h 554303"/>
                <a:gd name="connsiteX5" fmla="*/ 214573 w 414139"/>
                <a:gd name="connsiteY5" fmla="*/ 1928 h 554303"/>
                <a:gd name="connsiteX6" fmla="*/ 15233 w 414139"/>
                <a:gd name="connsiteY6" fmla="*/ 168540 h 554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4139" h="554303">
                  <a:moveTo>
                    <a:pt x="15233" y="168540"/>
                  </a:moveTo>
                  <a:cubicBezTo>
                    <a:pt x="15233" y="168540"/>
                    <a:pt x="-8568" y="338126"/>
                    <a:pt x="3332" y="412506"/>
                  </a:cubicBezTo>
                  <a:cubicBezTo>
                    <a:pt x="15233" y="489862"/>
                    <a:pt x="104489" y="546391"/>
                    <a:pt x="152092" y="552341"/>
                  </a:cubicBezTo>
                  <a:cubicBezTo>
                    <a:pt x="217547" y="561267"/>
                    <a:pt x="324654" y="543416"/>
                    <a:pt x="369282" y="421432"/>
                  </a:cubicBezTo>
                  <a:cubicBezTo>
                    <a:pt x="393085" y="350027"/>
                    <a:pt x="413910" y="254820"/>
                    <a:pt x="413910" y="204242"/>
                  </a:cubicBezTo>
                  <a:cubicBezTo>
                    <a:pt x="416886" y="112011"/>
                    <a:pt x="393085" y="34655"/>
                    <a:pt x="214573" y="1928"/>
                  </a:cubicBezTo>
                  <a:cubicBezTo>
                    <a:pt x="134242" y="-15923"/>
                    <a:pt x="36060" y="94159"/>
                    <a:pt x="15233" y="168540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68592ADA-85FE-437D-BCCD-D8AC25CB9766}"/>
                </a:ext>
              </a:extLst>
            </p:cNvPr>
            <p:cNvSpPr/>
            <p:nvPr/>
          </p:nvSpPr>
          <p:spPr>
            <a:xfrm>
              <a:off x="25153404" y="8181953"/>
              <a:ext cx="53553" cy="135116"/>
            </a:xfrm>
            <a:custGeom>
              <a:avLst/>
              <a:gdLst>
                <a:gd name="connsiteX0" fmla="*/ 35703 w 53553"/>
                <a:gd name="connsiteY0" fmla="*/ 135117 h 135116"/>
                <a:gd name="connsiteX1" fmla="*/ 5951 w 53553"/>
                <a:gd name="connsiteY1" fmla="*/ 126191 h 135116"/>
                <a:gd name="connsiteX2" fmla="*/ 0 w 53553"/>
                <a:gd name="connsiteY2" fmla="*/ 114290 h 135116"/>
                <a:gd name="connsiteX3" fmla="*/ 20827 w 53553"/>
                <a:gd name="connsiteY3" fmla="*/ 4208 h 135116"/>
                <a:gd name="connsiteX4" fmla="*/ 26778 w 53553"/>
                <a:gd name="connsiteY4" fmla="*/ 1232 h 135116"/>
                <a:gd name="connsiteX5" fmla="*/ 29752 w 53553"/>
                <a:gd name="connsiteY5" fmla="*/ 7183 h 135116"/>
                <a:gd name="connsiteX6" fmla="*/ 8925 w 53553"/>
                <a:gd name="connsiteY6" fmla="*/ 114290 h 135116"/>
                <a:gd name="connsiteX7" fmla="*/ 8925 w 53553"/>
                <a:gd name="connsiteY7" fmla="*/ 117266 h 135116"/>
                <a:gd name="connsiteX8" fmla="*/ 47603 w 53553"/>
                <a:gd name="connsiteY8" fmla="*/ 120241 h 135116"/>
                <a:gd name="connsiteX9" fmla="*/ 53553 w 53553"/>
                <a:gd name="connsiteY9" fmla="*/ 126191 h 135116"/>
                <a:gd name="connsiteX10" fmla="*/ 47603 w 53553"/>
                <a:gd name="connsiteY10" fmla="*/ 132142 h 135116"/>
                <a:gd name="connsiteX11" fmla="*/ 35703 w 53553"/>
                <a:gd name="connsiteY11" fmla="*/ 135117 h 13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553" h="135116">
                  <a:moveTo>
                    <a:pt x="35703" y="135117"/>
                  </a:moveTo>
                  <a:cubicBezTo>
                    <a:pt x="23801" y="135117"/>
                    <a:pt x="11902" y="132142"/>
                    <a:pt x="5951" y="126191"/>
                  </a:cubicBezTo>
                  <a:cubicBezTo>
                    <a:pt x="2974" y="123216"/>
                    <a:pt x="0" y="117266"/>
                    <a:pt x="0" y="114290"/>
                  </a:cubicBezTo>
                  <a:cubicBezTo>
                    <a:pt x="0" y="93464"/>
                    <a:pt x="20827" y="7183"/>
                    <a:pt x="20827" y="4208"/>
                  </a:cubicBezTo>
                  <a:cubicBezTo>
                    <a:pt x="20827" y="1232"/>
                    <a:pt x="23801" y="-1743"/>
                    <a:pt x="26778" y="1232"/>
                  </a:cubicBezTo>
                  <a:cubicBezTo>
                    <a:pt x="29752" y="1232"/>
                    <a:pt x="32727" y="4208"/>
                    <a:pt x="29752" y="7183"/>
                  </a:cubicBezTo>
                  <a:cubicBezTo>
                    <a:pt x="29752" y="7183"/>
                    <a:pt x="8925" y="96439"/>
                    <a:pt x="8925" y="114290"/>
                  </a:cubicBezTo>
                  <a:cubicBezTo>
                    <a:pt x="8925" y="114290"/>
                    <a:pt x="8925" y="117266"/>
                    <a:pt x="8925" y="117266"/>
                  </a:cubicBezTo>
                  <a:cubicBezTo>
                    <a:pt x="14876" y="123216"/>
                    <a:pt x="35703" y="123216"/>
                    <a:pt x="47603" y="120241"/>
                  </a:cubicBezTo>
                  <a:cubicBezTo>
                    <a:pt x="50579" y="120241"/>
                    <a:pt x="53553" y="123216"/>
                    <a:pt x="53553" y="126191"/>
                  </a:cubicBezTo>
                  <a:cubicBezTo>
                    <a:pt x="53553" y="129166"/>
                    <a:pt x="50579" y="132142"/>
                    <a:pt x="47603" y="132142"/>
                  </a:cubicBezTo>
                  <a:cubicBezTo>
                    <a:pt x="50579" y="135117"/>
                    <a:pt x="41654" y="135117"/>
                    <a:pt x="35703" y="135117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3C9CF836-1AFA-4773-AA03-B56DCFA4BFBD}"/>
                </a:ext>
              </a:extLst>
            </p:cNvPr>
            <p:cNvSpPr/>
            <p:nvPr/>
          </p:nvSpPr>
          <p:spPr>
            <a:xfrm>
              <a:off x="25090341" y="8158801"/>
              <a:ext cx="40019" cy="39844"/>
            </a:xfrm>
            <a:custGeom>
              <a:avLst/>
              <a:gdLst>
                <a:gd name="connsiteX0" fmla="*/ 39261 w 40019"/>
                <a:gd name="connsiteY0" fmla="*/ 24385 h 39844"/>
                <a:gd name="connsiteX1" fmla="*/ 15460 w 40019"/>
                <a:gd name="connsiteY1" fmla="*/ 39261 h 39844"/>
                <a:gd name="connsiteX2" fmla="*/ 584 w 40019"/>
                <a:gd name="connsiteY2" fmla="*/ 15460 h 39844"/>
                <a:gd name="connsiteX3" fmla="*/ 24385 w 40019"/>
                <a:gd name="connsiteY3" fmla="*/ 584 h 39844"/>
                <a:gd name="connsiteX4" fmla="*/ 39261 w 40019"/>
                <a:gd name="connsiteY4" fmla="*/ 24385 h 39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19" h="39844">
                  <a:moveTo>
                    <a:pt x="39261" y="24385"/>
                  </a:moveTo>
                  <a:cubicBezTo>
                    <a:pt x="36285" y="33311"/>
                    <a:pt x="24385" y="42236"/>
                    <a:pt x="15460" y="39261"/>
                  </a:cubicBezTo>
                  <a:cubicBezTo>
                    <a:pt x="6533" y="36286"/>
                    <a:pt x="-2392" y="27360"/>
                    <a:pt x="584" y="15460"/>
                  </a:cubicBezTo>
                  <a:cubicBezTo>
                    <a:pt x="3558" y="6534"/>
                    <a:pt x="15460" y="-2392"/>
                    <a:pt x="24385" y="584"/>
                  </a:cubicBezTo>
                  <a:cubicBezTo>
                    <a:pt x="36285" y="3559"/>
                    <a:pt x="42236" y="12484"/>
                    <a:pt x="39261" y="24385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EDFA48A7-E05E-4184-A397-0005E8491C92}"/>
                </a:ext>
              </a:extLst>
            </p:cNvPr>
            <p:cNvSpPr/>
            <p:nvPr/>
          </p:nvSpPr>
          <p:spPr>
            <a:xfrm>
              <a:off x="25268853" y="8182602"/>
              <a:ext cx="39261" cy="39844"/>
            </a:xfrm>
            <a:custGeom>
              <a:avLst/>
              <a:gdLst>
                <a:gd name="connsiteX0" fmla="*/ 39261 w 39261"/>
                <a:gd name="connsiteY0" fmla="*/ 24385 h 39844"/>
                <a:gd name="connsiteX1" fmla="*/ 15460 w 39261"/>
                <a:gd name="connsiteY1" fmla="*/ 39261 h 39844"/>
                <a:gd name="connsiteX2" fmla="*/ 584 w 39261"/>
                <a:gd name="connsiteY2" fmla="*/ 15460 h 39844"/>
                <a:gd name="connsiteX3" fmla="*/ 24385 w 39261"/>
                <a:gd name="connsiteY3" fmla="*/ 583 h 39844"/>
                <a:gd name="connsiteX4" fmla="*/ 39261 w 39261"/>
                <a:gd name="connsiteY4" fmla="*/ 24385 h 39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61" h="39844">
                  <a:moveTo>
                    <a:pt x="39261" y="24385"/>
                  </a:moveTo>
                  <a:cubicBezTo>
                    <a:pt x="36285" y="33311"/>
                    <a:pt x="27360" y="42237"/>
                    <a:pt x="15460" y="39261"/>
                  </a:cubicBezTo>
                  <a:cubicBezTo>
                    <a:pt x="6533" y="36286"/>
                    <a:pt x="-2392" y="24385"/>
                    <a:pt x="584" y="15460"/>
                  </a:cubicBezTo>
                  <a:cubicBezTo>
                    <a:pt x="3558" y="6534"/>
                    <a:pt x="12484" y="-2391"/>
                    <a:pt x="24385" y="583"/>
                  </a:cubicBezTo>
                  <a:cubicBezTo>
                    <a:pt x="33311" y="3559"/>
                    <a:pt x="39261" y="15460"/>
                    <a:pt x="39261" y="24385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7D1FF9D9-A923-4FF9-821F-7CA19BC00DCB}"/>
                </a:ext>
              </a:extLst>
            </p:cNvPr>
            <p:cNvSpPr/>
            <p:nvPr/>
          </p:nvSpPr>
          <p:spPr>
            <a:xfrm>
              <a:off x="25067866" y="8110203"/>
              <a:ext cx="89744" cy="31329"/>
            </a:xfrm>
            <a:custGeom>
              <a:avLst/>
              <a:gdLst>
                <a:gd name="connsiteX0" fmla="*/ 8183 w 89744"/>
                <a:gd name="connsiteY0" fmla="*/ 31330 h 31329"/>
                <a:gd name="connsiteX1" fmla="*/ 2232 w 89744"/>
                <a:gd name="connsiteY1" fmla="*/ 28354 h 31329"/>
                <a:gd name="connsiteX2" fmla="*/ 2232 w 89744"/>
                <a:gd name="connsiteY2" fmla="*/ 16454 h 31329"/>
                <a:gd name="connsiteX3" fmla="*/ 85538 w 89744"/>
                <a:gd name="connsiteY3" fmla="*/ 10503 h 31329"/>
                <a:gd name="connsiteX4" fmla="*/ 88512 w 89744"/>
                <a:gd name="connsiteY4" fmla="*/ 22404 h 31329"/>
                <a:gd name="connsiteX5" fmla="*/ 76612 w 89744"/>
                <a:gd name="connsiteY5" fmla="*/ 25379 h 31329"/>
                <a:gd name="connsiteX6" fmla="*/ 11157 w 89744"/>
                <a:gd name="connsiteY6" fmla="*/ 28354 h 31329"/>
                <a:gd name="connsiteX7" fmla="*/ 8183 w 89744"/>
                <a:gd name="connsiteY7" fmla="*/ 31330 h 31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1329">
                  <a:moveTo>
                    <a:pt x="8183" y="31330"/>
                  </a:moveTo>
                  <a:cubicBezTo>
                    <a:pt x="5207" y="31330"/>
                    <a:pt x="5207" y="31330"/>
                    <a:pt x="2232" y="28354"/>
                  </a:cubicBezTo>
                  <a:cubicBezTo>
                    <a:pt x="-744" y="25379"/>
                    <a:pt x="-744" y="19429"/>
                    <a:pt x="2232" y="16454"/>
                  </a:cubicBezTo>
                  <a:cubicBezTo>
                    <a:pt x="29008" y="-10323"/>
                    <a:pt x="70662" y="1578"/>
                    <a:pt x="85538" y="10503"/>
                  </a:cubicBezTo>
                  <a:cubicBezTo>
                    <a:pt x="88512" y="13478"/>
                    <a:pt x="91488" y="16454"/>
                    <a:pt x="88512" y="22404"/>
                  </a:cubicBezTo>
                  <a:cubicBezTo>
                    <a:pt x="85538" y="25379"/>
                    <a:pt x="82563" y="28354"/>
                    <a:pt x="76612" y="25379"/>
                  </a:cubicBezTo>
                  <a:cubicBezTo>
                    <a:pt x="73636" y="25379"/>
                    <a:pt x="37935" y="4553"/>
                    <a:pt x="11157" y="28354"/>
                  </a:cubicBezTo>
                  <a:cubicBezTo>
                    <a:pt x="11157" y="31330"/>
                    <a:pt x="8183" y="31330"/>
                    <a:pt x="8183" y="31330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DE4F4AF4-1F56-4B04-AAD2-3F205D03D28B}"/>
                </a:ext>
              </a:extLst>
            </p:cNvPr>
            <p:cNvSpPr/>
            <p:nvPr/>
          </p:nvSpPr>
          <p:spPr>
            <a:xfrm>
              <a:off x="25250353" y="8117177"/>
              <a:ext cx="89744" cy="36256"/>
            </a:xfrm>
            <a:custGeom>
              <a:avLst/>
              <a:gdLst>
                <a:gd name="connsiteX0" fmla="*/ 84537 w 89744"/>
                <a:gd name="connsiteY0" fmla="*/ 36257 h 36256"/>
                <a:gd name="connsiteX1" fmla="*/ 78588 w 89744"/>
                <a:gd name="connsiteY1" fmla="*/ 33282 h 36256"/>
                <a:gd name="connsiteX2" fmla="*/ 13134 w 89744"/>
                <a:gd name="connsiteY2" fmla="*/ 24356 h 36256"/>
                <a:gd name="connsiteX3" fmla="*/ 1232 w 89744"/>
                <a:gd name="connsiteY3" fmla="*/ 21381 h 36256"/>
                <a:gd name="connsiteX4" fmla="*/ 4208 w 89744"/>
                <a:gd name="connsiteY4" fmla="*/ 9480 h 36256"/>
                <a:gd name="connsiteX5" fmla="*/ 87514 w 89744"/>
                <a:gd name="connsiteY5" fmla="*/ 21381 h 36256"/>
                <a:gd name="connsiteX6" fmla="*/ 87514 w 89744"/>
                <a:gd name="connsiteY6" fmla="*/ 33282 h 36256"/>
                <a:gd name="connsiteX7" fmla="*/ 84537 w 89744"/>
                <a:gd name="connsiteY7" fmla="*/ 36257 h 36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6256">
                  <a:moveTo>
                    <a:pt x="84537" y="36257"/>
                  </a:moveTo>
                  <a:cubicBezTo>
                    <a:pt x="81563" y="36257"/>
                    <a:pt x="81563" y="36257"/>
                    <a:pt x="78588" y="33282"/>
                  </a:cubicBezTo>
                  <a:cubicBezTo>
                    <a:pt x="78588" y="33282"/>
                    <a:pt x="48836" y="3530"/>
                    <a:pt x="13134" y="24356"/>
                  </a:cubicBezTo>
                  <a:cubicBezTo>
                    <a:pt x="10157" y="27331"/>
                    <a:pt x="4208" y="24356"/>
                    <a:pt x="1232" y="21381"/>
                  </a:cubicBezTo>
                  <a:cubicBezTo>
                    <a:pt x="-1742" y="18406"/>
                    <a:pt x="1232" y="12455"/>
                    <a:pt x="4208" y="9480"/>
                  </a:cubicBezTo>
                  <a:cubicBezTo>
                    <a:pt x="42886" y="-11346"/>
                    <a:pt x="75612" y="6504"/>
                    <a:pt x="87514" y="21381"/>
                  </a:cubicBezTo>
                  <a:cubicBezTo>
                    <a:pt x="90488" y="24356"/>
                    <a:pt x="90488" y="30306"/>
                    <a:pt x="87514" y="33282"/>
                  </a:cubicBezTo>
                  <a:cubicBezTo>
                    <a:pt x="87514" y="36257"/>
                    <a:pt x="87514" y="36257"/>
                    <a:pt x="84537" y="36257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DD238E49-9F8C-48FA-ACFB-692D04B37E3B}"/>
                </a:ext>
              </a:extLst>
            </p:cNvPr>
            <p:cNvSpPr/>
            <p:nvPr/>
          </p:nvSpPr>
          <p:spPr>
            <a:xfrm>
              <a:off x="25093899" y="8427897"/>
              <a:ext cx="243223" cy="58760"/>
            </a:xfrm>
            <a:custGeom>
              <a:avLst/>
              <a:gdLst>
                <a:gd name="connsiteX0" fmla="*/ 113057 w 243223"/>
                <a:gd name="connsiteY0" fmla="*/ 58760 h 58760"/>
                <a:gd name="connsiteX1" fmla="*/ 95207 w 243223"/>
                <a:gd name="connsiteY1" fmla="*/ 58760 h 58760"/>
                <a:gd name="connsiteX2" fmla="*/ 2974 w 243223"/>
                <a:gd name="connsiteY2" fmla="*/ 23058 h 58760"/>
                <a:gd name="connsiteX3" fmla="*/ 0 w 243223"/>
                <a:gd name="connsiteY3" fmla="*/ 14132 h 58760"/>
                <a:gd name="connsiteX4" fmla="*/ 8925 w 243223"/>
                <a:gd name="connsiteY4" fmla="*/ 11157 h 58760"/>
                <a:gd name="connsiteX5" fmla="*/ 95207 w 243223"/>
                <a:gd name="connsiteY5" fmla="*/ 43884 h 58760"/>
                <a:gd name="connsiteX6" fmla="*/ 232066 w 243223"/>
                <a:gd name="connsiteY6" fmla="*/ 2231 h 58760"/>
                <a:gd name="connsiteX7" fmla="*/ 240991 w 243223"/>
                <a:gd name="connsiteY7" fmla="*/ 2231 h 58760"/>
                <a:gd name="connsiteX8" fmla="*/ 240991 w 243223"/>
                <a:gd name="connsiteY8" fmla="*/ 11157 h 58760"/>
                <a:gd name="connsiteX9" fmla="*/ 113057 w 243223"/>
                <a:gd name="connsiteY9" fmla="*/ 58760 h 58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3223" h="58760">
                  <a:moveTo>
                    <a:pt x="113057" y="58760"/>
                  </a:moveTo>
                  <a:cubicBezTo>
                    <a:pt x="107107" y="58760"/>
                    <a:pt x="101158" y="58760"/>
                    <a:pt x="95207" y="58760"/>
                  </a:cubicBezTo>
                  <a:cubicBezTo>
                    <a:pt x="53553" y="55785"/>
                    <a:pt x="5951" y="26033"/>
                    <a:pt x="2974" y="23058"/>
                  </a:cubicBezTo>
                  <a:cubicBezTo>
                    <a:pt x="0" y="20083"/>
                    <a:pt x="0" y="17107"/>
                    <a:pt x="0" y="14132"/>
                  </a:cubicBezTo>
                  <a:cubicBezTo>
                    <a:pt x="2974" y="11157"/>
                    <a:pt x="5951" y="11157"/>
                    <a:pt x="8925" y="11157"/>
                  </a:cubicBezTo>
                  <a:cubicBezTo>
                    <a:pt x="8925" y="11157"/>
                    <a:pt x="56530" y="40909"/>
                    <a:pt x="95207" y="43884"/>
                  </a:cubicBezTo>
                  <a:cubicBezTo>
                    <a:pt x="172562" y="52810"/>
                    <a:pt x="232066" y="2231"/>
                    <a:pt x="232066" y="2231"/>
                  </a:cubicBezTo>
                  <a:cubicBezTo>
                    <a:pt x="235042" y="-744"/>
                    <a:pt x="238017" y="-744"/>
                    <a:pt x="240991" y="2231"/>
                  </a:cubicBezTo>
                  <a:cubicBezTo>
                    <a:pt x="243967" y="5207"/>
                    <a:pt x="243967" y="8182"/>
                    <a:pt x="240991" y="11157"/>
                  </a:cubicBezTo>
                  <a:cubicBezTo>
                    <a:pt x="238017" y="14132"/>
                    <a:pt x="187438" y="58760"/>
                    <a:pt x="113057" y="58760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FFCA4594-CB21-474E-8CCC-AE895B701241}"/>
                </a:ext>
              </a:extLst>
            </p:cNvPr>
            <p:cNvSpPr/>
            <p:nvPr/>
          </p:nvSpPr>
          <p:spPr>
            <a:xfrm>
              <a:off x="25370593" y="7957070"/>
              <a:ext cx="109921" cy="261818"/>
            </a:xfrm>
            <a:custGeom>
              <a:avLst/>
              <a:gdLst>
                <a:gd name="connsiteX0" fmla="*/ 0 w 109921"/>
                <a:gd name="connsiteY0" fmla="*/ 121983 h 261818"/>
                <a:gd name="connsiteX1" fmla="*/ 41654 w 109921"/>
                <a:gd name="connsiteY1" fmla="*/ 261818 h 261818"/>
                <a:gd name="connsiteX2" fmla="*/ 101158 w 109921"/>
                <a:gd name="connsiteY2" fmla="*/ 166611 h 261818"/>
                <a:gd name="connsiteX3" fmla="*/ 50579 w 109921"/>
                <a:gd name="connsiteY3" fmla="*/ 0 h 261818"/>
                <a:gd name="connsiteX4" fmla="*/ 0 w 109921"/>
                <a:gd name="connsiteY4" fmla="*/ 121983 h 261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21" h="261818">
                  <a:moveTo>
                    <a:pt x="0" y="121983"/>
                  </a:moveTo>
                  <a:cubicBezTo>
                    <a:pt x="0" y="121983"/>
                    <a:pt x="50579" y="232066"/>
                    <a:pt x="41654" y="261818"/>
                  </a:cubicBezTo>
                  <a:cubicBezTo>
                    <a:pt x="41654" y="261818"/>
                    <a:pt x="86282" y="220165"/>
                    <a:pt x="101158" y="166611"/>
                  </a:cubicBezTo>
                  <a:cubicBezTo>
                    <a:pt x="119008" y="110083"/>
                    <a:pt x="113057" y="17851"/>
                    <a:pt x="50579" y="0"/>
                  </a:cubicBezTo>
                  <a:cubicBezTo>
                    <a:pt x="50579" y="0"/>
                    <a:pt x="38677" y="107107"/>
                    <a:pt x="0" y="121983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A586458F-EC9C-49F2-8CD6-5D87D4BFEE64}"/>
                </a:ext>
              </a:extLst>
            </p:cNvPr>
            <p:cNvSpPr/>
            <p:nvPr/>
          </p:nvSpPr>
          <p:spPr>
            <a:xfrm>
              <a:off x="24947632" y="7833304"/>
              <a:ext cx="481877" cy="245749"/>
            </a:xfrm>
            <a:custGeom>
              <a:avLst/>
              <a:gdLst>
                <a:gd name="connsiteX0" fmla="*/ 422961 w 481877"/>
                <a:gd name="connsiteY0" fmla="*/ 245749 h 245749"/>
                <a:gd name="connsiteX1" fmla="*/ 303953 w 481877"/>
                <a:gd name="connsiteY1" fmla="*/ 204096 h 245749"/>
                <a:gd name="connsiteX2" fmla="*/ 481 w 481877"/>
                <a:gd name="connsiteY2" fmla="*/ 168394 h 245749"/>
                <a:gd name="connsiteX3" fmla="*/ 360482 w 481877"/>
                <a:gd name="connsiteY3" fmla="*/ 13683 h 245749"/>
                <a:gd name="connsiteX4" fmla="*/ 473540 w 481877"/>
                <a:gd name="connsiteY4" fmla="*/ 123766 h 245749"/>
                <a:gd name="connsiteX5" fmla="*/ 422961 w 481877"/>
                <a:gd name="connsiteY5" fmla="*/ 245749 h 245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1877" h="245749">
                  <a:moveTo>
                    <a:pt x="422961" y="245749"/>
                  </a:moveTo>
                  <a:cubicBezTo>
                    <a:pt x="422961" y="245749"/>
                    <a:pt x="330730" y="204096"/>
                    <a:pt x="303953" y="204096"/>
                  </a:cubicBezTo>
                  <a:cubicBezTo>
                    <a:pt x="205771" y="204096"/>
                    <a:pt x="15357" y="299303"/>
                    <a:pt x="481" y="168394"/>
                  </a:cubicBezTo>
                  <a:cubicBezTo>
                    <a:pt x="-11418" y="61286"/>
                    <a:pt x="199820" y="-36896"/>
                    <a:pt x="360482" y="13683"/>
                  </a:cubicBezTo>
                  <a:cubicBezTo>
                    <a:pt x="434863" y="37485"/>
                    <a:pt x="467589" y="88063"/>
                    <a:pt x="473540" y="123766"/>
                  </a:cubicBezTo>
                  <a:cubicBezTo>
                    <a:pt x="473540" y="123766"/>
                    <a:pt x="512217" y="236824"/>
                    <a:pt x="422961" y="245749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90AE1D26-B552-41C5-8B80-857CFFF5C215}"/>
                </a:ext>
              </a:extLst>
            </p:cNvPr>
            <p:cNvSpPr/>
            <p:nvPr/>
          </p:nvSpPr>
          <p:spPr>
            <a:xfrm>
              <a:off x="25396777" y="8190131"/>
              <a:ext cx="78667" cy="109714"/>
            </a:xfrm>
            <a:custGeom>
              <a:avLst/>
              <a:gdLst>
                <a:gd name="connsiteX0" fmla="*/ 15470 w 78667"/>
                <a:gd name="connsiteY0" fmla="*/ 13881 h 109714"/>
                <a:gd name="connsiteX1" fmla="*/ 71997 w 78667"/>
                <a:gd name="connsiteY1" fmla="*/ 7931 h 109714"/>
                <a:gd name="connsiteX2" fmla="*/ 12493 w 78667"/>
                <a:gd name="connsiteY2" fmla="*/ 106113 h 109714"/>
                <a:gd name="connsiteX3" fmla="*/ 15470 w 78667"/>
                <a:gd name="connsiteY3" fmla="*/ 13881 h 10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667" h="109714">
                  <a:moveTo>
                    <a:pt x="15470" y="13881"/>
                  </a:moveTo>
                  <a:cubicBezTo>
                    <a:pt x="15470" y="13881"/>
                    <a:pt x="48196" y="-12896"/>
                    <a:pt x="71997" y="7931"/>
                  </a:cubicBezTo>
                  <a:cubicBezTo>
                    <a:pt x="95801" y="28757"/>
                    <a:pt x="51172" y="129914"/>
                    <a:pt x="12493" y="106113"/>
                  </a:cubicBezTo>
                  <a:cubicBezTo>
                    <a:pt x="-17259" y="82311"/>
                    <a:pt x="15470" y="13881"/>
                    <a:pt x="15470" y="13881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C97B2C2E-003E-4DE5-A24D-CB12B9E88F57}"/>
                </a:ext>
              </a:extLst>
            </p:cNvPr>
            <p:cNvSpPr/>
            <p:nvPr/>
          </p:nvSpPr>
          <p:spPr>
            <a:xfrm>
              <a:off x="25364643" y="7977896"/>
              <a:ext cx="70844" cy="232066"/>
            </a:xfrm>
            <a:custGeom>
              <a:avLst/>
              <a:gdLst>
                <a:gd name="connsiteX0" fmla="*/ 47604 w 70844"/>
                <a:gd name="connsiteY0" fmla="*/ 232066 h 232066"/>
                <a:gd name="connsiteX1" fmla="*/ 41654 w 70844"/>
                <a:gd name="connsiteY1" fmla="*/ 226116 h 232066"/>
                <a:gd name="connsiteX2" fmla="*/ 0 w 70844"/>
                <a:gd name="connsiteY2" fmla="*/ 107108 h 232066"/>
                <a:gd name="connsiteX3" fmla="*/ 0 w 70844"/>
                <a:gd name="connsiteY3" fmla="*/ 101157 h 232066"/>
                <a:gd name="connsiteX4" fmla="*/ 2976 w 70844"/>
                <a:gd name="connsiteY4" fmla="*/ 98182 h 232066"/>
                <a:gd name="connsiteX5" fmla="*/ 53555 w 70844"/>
                <a:gd name="connsiteY5" fmla="*/ 62480 h 232066"/>
                <a:gd name="connsiteX6" fmla="*/ 56530 w 70844"/>
                <a:gd name="connsiteY6" fmla="*/ 5950 h 232066"/>
                <a:gd name="connsiteX7" fmla="*/ 59504 w 70844"/>
                <a:gd name="connsiteY7" fmla="*/ 0 h 232066"/>
                <a:gd name="connsiteX8" fmla="*/ 65455 w 70844"/>
                <a:gd name="connsiteY8" fmla="*/ 2975 h 232066"/>
                <a:gd name="connsiteX9" fmla="*/ 62480 w 70844"/>
                <a:gd name="connsiteY9" fmla="*/ 68430 h 232066"/>
                <a:gd name="connsiteX10" fmla="*/ 14876 w 70844"/>
                <a:gd name="connsiteY10" fmla="*/ 107108 h 232066"/>
                <a:gd name="connsiteX11" fmla="*/ 53555 w 70844"/>
                <a:gd name="connsiteY11" fmla="*/ 226116 h 232066"/>
                <a:gd name="connsiteX12" fmla="*/ 47604 w 70844"/>
                <a:gd name="connsiteY12" fmla="*/ 232066 h 232066"/>
                <a:gd name="connsiteX13" fmla="*/ 47604 w 70844"/>
                <a:gd name="connsiteY13" fmla="*/ 232066 h 232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0844" h="232066">
                  <a:moveTo>
                    <a:pt x="47604" y="232066"/>
                  </a:moveTo>
                  <a:cubicBezTo>
                    <a:pt x="44628" y="232066"/>
                    <a:pt x="41654" y="229091"/>
                    <a:pt x="41654" y="226116"/>
                  </a:cubicBezTo>
                  <a:cubicBezTo>
                    <a:pt x="38679" y="166612"/>
                    <a:pt x="0" y="107108"/>
                    <a:pt x="0" y="107108"/>
                  </a:cubicBezTo>
                  <a:cubicBezTo>
                    <a:pt x="0" y="104132"/>
                    <a:pt x="0" y="104132"/>
                    <a:pt x="0" y="101157"/>
                  </a:cubicBezTo>
                  <a:cubicBezTo>
                    <a:pt x="0" y="98182"/>
                    <a:pt x="2976" y="98182"/>
                    <a:pt x="2976" y="98182"/>
                  </a:cubicBezTo>
                  <a:cubicBezTo>
                    <a:pt x="2976" y="98182"/>
                    <a:pt x="35703" y="89256"/>
                    <a:pt x="53555" y="62480"/>
                  </a:cubicBezTo>
                  <a:cubicBezTo>
                    <a:pt x="62480" y="47603"/>
                    <a:pt x="62480" y="26777"/>
                    <a:pt x="56530" y="5950"/>
                  </a:cubicBezTo>
                  <a:cubicBezTo>
                    <a:pt x="56530" y="2975"/>
                    <a:pt x="56530" y="0"/>
                    <a:pt x="59504" y="0"/>
                  </a:cubicBezTo>
                  <a:cubicBezTo>
                    <a:pt x="62480" y="0"/>
                    <a:pt x="65455" y="0"/>
                    <a:pt x="65455" y="2975"/>
                  </a:cubicBezTo>
                  <a:cubicBezTo>
                    <a:pt x="74380" y="26777"/>
                    <a:pt x="71406" y="50578"/>
                    <a:pt x="62480" y="68430"/>
                  </a:cubicBezTo>
                  <a:cubicBezTo>
                    <a:pt x="50579" y="92232"/>
                    <a:pt x="26778" y="104132"/>
                    <a:pt x="14876" y="107108"/>
                  </a:cubicBezTo>
                  <a:cubicBezTo>
                    <a:pt x="23803" y="124959"/>
                    <a:pt x="50579" y="175537"/>
                    <a:pt x="53555" y="226116"/>
                  </a:cubicBezTo>
                  <a:cubicBezTo>
                    <a:pt x="53555" y="229091"/>
                    <a:pt x="50579" y="232066"/>
                    <a:pt x="47604" y="232066"/>
                  </a:cubicBezTo>
                  <a:cubicBezTo>
                    <a:pt x="47604" y="232066"/>
                    <a:pt x="47604" y="232066"/>
                    <a:pt x="47604" y="232066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04A64DF0-A536-4905-B3CD-1346B9294A74}"/>
                </a:ext>
              </a:extLst>
            </p:cNvPr>
            <p:cNvSpPr/>
            <p:nvPr/>
          </p:nvSpPr>
          <p:spPr>
            <a:xfrm>
              <a:off x="25065890" y="8001865"/>
              <a:ext cx="191645" cy="41485"/>
            </a:xfrm>
            <a:custGeom>
              <a:avLst/>
              <a:gdLst>
                <a:gd name="connsiteX0" fmla="*/ 185695 w 191645"/>
                <a:gd name="connsiteY0" fmla="*/ 41486 h 41485"/>
                <a:gd name="connsiteX1" fmla="*/ 185695 w 191645"/>
                <a:gd name="connsiteY1" fmla="*/ 41486 h 41485"/>
                <a:gd name="connsiteX2" fmla="*/ 10159 w 191645"/>
                <a:gd name="connsiteY2" fmla="*/ 29585 h 41485"/>
                <a:gd name="connsiteX3" fmla="*/ 1232 w 191645"/>
                <a:gd name="connsiteY3" fmla="*/ 26609 h 41485"/>
                <a:gd name="connsiteX4" fmla="*/ 4208 w 191645"/>
                <a:gd name="connsiteY4" fmla="*/ 17684 h 41485"/>
                <a:gd name="connsiteX5" fmla="*/ 188672 w 191645"/>
                <a:gd name="connsiteY5" fmla="*/ 29585 h 41485"/>
                <a:gd name="connsiteX6" fmla="*/ 191646 w 191645"/>
                <a:gd name="connsiteY6" fmla="*/ 38511 h 41485"/>
                <a:gd name="connsiteX7" fmla="*/ 185695 w 191645"/>
                <a:gd name="connsiteY7" fmla="*/ 41486 h 41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1645" h="41485">
                  <a:moveTo>
                    <a:pt x="185695" y="41486"/>
                  </a:moveTo>
                  <a:cubicBezTo>
                    <a:pt x="185695" y="41486"/>
                    <a:pt x="185695" y="41486"/>
                    <a:pt x="185695" y="41486"/>
                  </a:cubicBezTo>
                  <a:cubicBezTo>
                    <a:pt x="182721" y="41486"/>
                    <a:pt x="75612" y="-12068"/>
                    <a:pt x="10159" y="29585"/>
                  </a:cubicBezTo>
                  <a:cubicBezTo>
                    <a:pt x="7183" y="32560"/>
                    <a:pt x="4208" y="29585"/>
                    <a:pt x="1232" y="26609"/>
                  </a:cubicBezTo>
                  <a:cubicBezTo>
                    <a:pt x="-1742" y="23635"/>
                    <a:pt x="1232" y="20659"/>
                    <a:pt x="4208" y="17684"/>
                  </a:cubicBezTo>
                  <a:cubicBezTo>
                    <a:pt x="75612" y="-26944"/>
                    <a:pt x="185695" y="26609"/>
                    <a:pt x="188672" y="29585"/>
                  </a:cubicBezTo>
                  <a:cubicBezTo>
                    <a:pt x="191646" y="29585"/>
                    <a:pt x="191646" y="35535"/>
                    <a:pt x="191646" y="38511"/>
                  </a:cubicBezTo>
                  <a:cubicBezTo>
                    <a:pt x="191646" y="41486"/>
                    <a:pt x="188672" y="41486"/>
                    <a:pt x="185695" y="41486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857B32EB-933B-42EC-8BC1-4D8B0526EC35}"/>
                </a:ext>
              </a:extLst>
            </p:cNvPr>
            <p:cNvSpPr/>
            <p:nvPr/>
          </p:nvSpPr>
          <p:spPr>
            <a:xfrm>
              <a:off x="24733102" y="8549136"/>
              <a:ext cx="1042120" cy="1529076"/>
            </a:xfrm>
            <a:custGeom>
              <a:avLst/>
              <a:gdLst>
                <a:gd name="connsiteX0" fmla="*/ 655343 w 1042120"/>
                <a:gd name="connsiteY0" fmla="*/ 0 h 1529076"/>
                <a:gd name="connsiteX1" fmla="*/ 375673 w 1042120"/>
                <a:gd name="connsiteY1" fmla="*/ 0 h 1529076"/>
                <a:gd name="connsiteX2" fmla="*/ 84103 w 1042120"/>
                <a:gd name="connsiteY2" fmla="*/ 127934 h 1529076"/>
                <a:gd name="connsiteX3" fmla="*/ 798 w 1042120"/>
                <a:gd name="connsiteY3" fmla="*/ 1499504 h 1529076"/>
                <a:gd name="connsiteX4" fmla="*/ 1042120 w 1042120"/>
                <a:gd name="connsiteY4" fmla="*/ 1475702 h 1529076"/>
                <a:gd name="connsiteX5" fmla="*/ 929061 w 1042120"/>
                <a:gd name="connsiteY5" fmla="*/ 101157 h 1529076"/>
                <a:gd name="connsiteX6" fmla="*/ 655343 w 1042120"/>
                <a:gd name="connsiteY6" fmla="*/ 0 h 1529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2120" h="1529076">
                  <a:moveTo>
                    <a:pt x="655343" y="0"/>
                  </a:moveTo>
                  <a:cubicBezTo>
                    <a:pt x="655343" y="0"/>
                    <a:pt x="488731" y="53554"/>
                    <a:pt x="375673" y="0"/>
                  </a:cubicBezTo>
                  <a:cubicBezTo>
                    <a:pt x="375673" y="0"/>
                    <a:pt x="107905" y="95207"/>
                    <a:pt x="84103" y="127934"/>
                  </a:cubicBezTo>
                  <a:cubicBezTo>
                    <a:pt x="60302" y="157686"/>
                    <a:pt x="-8129" y="1434050"/>
                    <a:pt x="798" y="1499504"/>
                  </a:cubicBezTo>
                  <a:cubicBezTo>
                    <a:pt x="798" y="1499504"/>
                    <a:pt x="479805" y="1579835"/>
                    <a:pt x="1042120" y="1475702"/>
                  </a:cubicBezTo>
                  <a:cubicBezTo>
                    <a:pt x="1042120" y="1127604"/>
                    <a:pt x="970714" y="133884"/>
                    <a:pt x="929061" y="101157"/>
                  </a:cubicBezTo>
                  <a:cubicBezTo>
                    <a:pt x="887409" y="68430"/>
                    <a:pt x="655343" y="0"/>
                    <a:pt x="655343" y="0"/>
                  </a:cubicBezTo>
                  <a:close/>
                </a:path>
              </a:pathLst>
            </a:custGeom>
            <a:solidFill>
              <a:srgbClr val="70868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A813629C-619E-4A0F-AD99-D887ED63D920}"/>
                </a:ext>
              </a:extLst>
            </p:cNvPr>
            <p:cNvSpPr/>
            <p:nvPr/>
          </p:nvSpPr>
          <p:spPr>
            <a:xfrm>
              <a:off x="24766627" y="8672862"/>
              <a:ext cx="51810" cy="721232"/>
            </a:xfrm>
            <a:custGeom>
              <a:avLst/>
              <a:gdLst>
                <a:gd name="connsiteX0" fmla="*/ 5951 w 51810"/>
                <a:gd name="connsiteY0" fmla="*/ 721233 h 721232"/>
                <a:gd name="connsiteX1" fmla="*/ 5951 w 51810"/>
                <a:gd name="connsiteY1" fmla="*/ 721233 h 721232"/>
                <a:gd name="connsiteX2" fmla="*/ 0 w 51810"/>
                <a:gd name="connsiteY2" fmla="*/ 715282 h 721232"/>
                <a:gd name="connsiteX3" fmla="*/ 41654 w 51810"/>
                <a:gd name="connsiteY3" fmla="*/ 4208 h 721232"/>
                <a:gd name="connsiteX4" fmla="*/ 47603 w 51810"/>
                <a:gd name="connsiteY4" fmla="*/ 1232 h 721232"/>
                <a:gd name="connsiteX5" fmla="*/ 50579 w 51810"/>
                <a:gd name="connsiteY5" fmla="*/ 7183 h 721232"/>
                <a:gd name="connsiteX6" fmla="*/ 8925 w 51810"/>
                <a:gd name="connsiteY6" fmla="*/ 718257 h 721232"/>
                <a:gd name="connsiteX7" fmla="*/ 5951 w 51810"/>
                <a:gd name="connsiteY7" fmla="*/ 721233 h 721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810" h="721232">
                  <a:moveTo>
                    <a:pt x="5951" y="721233"/>
                  </a:moveTo>
                  <a:cubicBezTo>
                    <a:pt x="5951" y="721233"/>
                    <a:pt x="5951" y="721233"/>
                    <a:pt x="5951" y="721233"/>
                  </a:cubicBezTo>
                  <a:cubicBezTo>
                    <a:pt x="2974" y="721233"/>
                    <a:pt x="0" y="718257"/>
                    <a:pt x="0" y="715282"/>
                  </a:cubicBezTo>
                  <a:cubicBezTo>
                    <a:pt x="0" y="688505"/>
                    <a:pt x="35703" y="42885"/>
                    <a:pt x="41654" y="4208"/>
                  </a:cubicBezTo>
                  <a:cubicBezTo>
                    <a:pt x="41654" y="1232"/>
                    <a:pt x="44628" y="-1743"/>
                    <a:pt x="47603" y="1232"/>
                  </a:cubicBezTo>
                  <a:cubicBezTo>
                    <a:pt x="50579" y="1232"/>
                    <a:pt x="53553" y="4208"/>
                    <a:pt x="50579" y="7183"/>
                  </a:cubicBezTo>
                  <a:cubicBezTo>
                    <a:pt x="41654" y="45860"/>
                    <a:pt x="8925" y="712306"/>
                    <a:pt x="8925" y="718257"/>
                  </a:cubicBezTo>
                  <a:cubicBezTo>
                    <a:pt x="11902" y="718257"/>
                    <a:pt x="8925" y="721233"/>
                    <a:pt x="5951" y="721233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A5996915-0306-422B-9F29-091CDEF51FF1}"/>
                </a:ext>
              </a:extLst>
            </p:cNvPr>
            <p:cNvSpPr/>
            <p:nvPr/>
          </p:nvSpPr>
          <p:spPr>
            <a:xfrm>
              <a:off x="25115470" y="8368392"/>
              <a:ext cx="118264" cy="29008"/>
            </a:xfrm>
            <a:custGeom>
              <a:avLst/>
              <a:gdLst>
                <a:gd name="connsiteX0" fmla="*/ 55784 w 118264"/>
                <a:gd name="connsiteY0" fmla="*/ 29008 h 29008"/>
                <a:gd name="connsiteX1" fmla="*/ 2231 w 118264"/>
                <a:gd name="connsiteY1" fmla="*/ 11157 h 29008"/>
                <a:gd name="connsiteX2" fmla="*/ 2231 w 118264"/>
                <a:gd name="connsiteY2" fmla="*/ 2231 h 29008"/>
                <a:gd name="connsiteX3" fmla="*/ 11156 w 118264"/>
                <a:gd name="connsiteY3" fmla="*/ 2231 h 29008"/>
                <a:gd name="connsiteX4" fmla="*/ 109339 w 118264"/>
                <a:gd name="connsiteY4" fmla="*/ 5207 h 29008"/>
                <a:gd name="connsiteX5" fmla="*/ 118265 w 118264"/>
                <a:gd name="connsiteY5" fmla="*/ 8182 h 29008"/>
                <a:gd name="connsiteX6" fmla="*/ 115288 w 118264"/>
                <a:gd name="connsiteY6" fmla="*/ 17107 h 29008"/>
                <a:gd name="connsiteX7" fmla="*/ 55784 w 118264"/>
                <a:gd name="connsiteY7" fmla="*/ 29008 h 29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264" h="29008">
                  <a:moveTo>
                    <a:pt x="55784" y="29008"/>
                  </a:moveTo>
                  <a:cubicBezTo>
                    <a:pt x="37934" y="29008"/>
                    <a:pt x="20083" y="26033"/>
                    <a:pt x="2231" y="11157"/>
                  </a:cubicBezTo>
                  <a:cubicBezTo>
                    <a:pt x="-744" y="8182"/>
                    <a:pt x="-744" y="5207"/>
                    <a:pt x="2231" y="2231"/>
                  </a:cubicBezTo>
                  <a:cubicBezTo>
                    <a:pt x="5207" y="-744"/>
                    <a:pt x="8182" y="-744"/>
                    <a:pt x="11156" y="2231"/>
                  </a:cubicBezTo>
                  <a:cubicBezTo>
                    <a:pt x="46859" y="31983"/>
                    <a:pt x="109339" y="5207"/>
                    <a:pt x="109339" y="5207"/>
                  </a:cubicBezTo>
                  <a:cubicBezTo>
                    <a:pt x="112314" y="5207"/>
                    <a:pt x="115288" y="5207"/>
                    <a:pt x="118265" y="8182"/>
                  </a:cubicBezTo>
                  <a:cubicBezTo>
                    <a:pt x="118265" y="11157"/>
                    <a:pt x="118265" y="14132"/>
                    <a:pt x="115288" y="17107"/>
                  </a:cubicBezTo>
                  <a:cubicBezTo>
                    <a:pt x="112314" y="17107"/>
                    <a:pt x="85536" y="29008"/>
                    <a:pt x="55784" y="29008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48E61C22-89A4-467F-977D-44F5FBC592FD}"/>
                </a:ext>
              </a:extLst>
            </p:cNvPr>
            <p:cNvSpPr/>
            <p:nvPr/>
          </p:nvSpPr>
          <p:spPr>
            <a:xfrm>
              <a:off x="25784148" y="8840706"/>
              <a:ext cx="667477" cy="1077025"/>
            </a:xfrm>
            <a:custGeom>
              <a:avLst/>
              <a:gdLst>
                <a:gd name="connsiteX0" fmla="*/ 0 w 667477"/>
                <a:gd name="connsiteY0" fmla="*/ 178512 h 1077025"/>
                <a:gd name="connsiteX1" fmla="*/ 401653 w 667477"/>
                <a:gd name="connsiteY1" fmla="*/ 523637 h 1077025"/>
                <a:gd name="connsiteX2" fmla="*/ 124959 w 667477"/>
                <a:gd name="connsiteY2" fmla="*/ 984794 h 1077025"/>
                <a:gd name="connsiteX3" fmla="*/ 220164 w 667477"/>
                <a:gd name="connsiteY3" fmla="*/ 1077025 h 1077025"/>
                <a:gd name="connsiteX4" fmla="*/ 666445 w 667477"/>
                <a:gd name="connsiteY4" fmla="*/ 490909 h 1077025"/>
                <a:gd name="connsiteX5" fmla="*/ 190412 w 667477"/>
                <a:gd name="connsiteY5" fmla="*/ 0 h 1077025"/>
                <a:gd name="connsiteX6" fmla="*/ 0 w 667477"/>
                <a:gd name="connsiteY6" fmla="*/ 178512 h 107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7477" h="1077025">
                  <a:moveTo>
                    <a:pt x="0" y="178512"/>
                  </a:moveTo>
                  <a:lnTo>
                    <a:pt x="401653" y="523637"/>
                  </a:lnTo>
                  <a:lnTo>
                    <a:pt x="124959" y="984794"/>
                  </a:lnTo>
                  <a:lnTo>
                    <a:pt x="220164" y="1077025"/>
                  </a:lnTo>
                  <a:cubicBezTo>
                    <a:pt x="220164" y="1077025"/>
                    <a:pt x="636693" y="612893"/>
                    <a:pt x="666445" y="490909"/>
                  </a:cubicBezTo>
                  <a:cubicBezTo>
                    <a:pt x="693223" y="368925"/>
                    <a:pt x="190412" y="0"/>
                    <a:pt x="190412" y="0"/>
                  </a:cubicBezTo>
                  <a:lnTo>
                    <a:pt x="0" y="178512"/>
                  </a:ln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35A43F2B-C102-4F6B-905E-53FCEFF02B3F}"/>
                </a:ext>
              </a:extLst>
            </p:cNvPr>
            <p:cNvSpPr/>
            <p:nvPr/>
          </p:nvSpPr>
          <p:spPr>
            <a:xfrm>
              <a:off x="25855552" y="9081698"/>
              <a:ext cx="398678" cy="288594"/>
            </a:xfrm>
            <a:custGeom>
              <a:avLst/>
              <a:gdLst>
                <a:gd name="connsiteX0" fmla="*/ 330249 w 398678"/>
                <a:gd name="connsiteY0" fmla="*/ 288595 h 288594"/>
                <a:gd name="connsiteX1" fmla="*/ 327273 w 398678"/>
                <a:gd name="connsiteY1" fmla="*/ 288595 h 288594"/>
                <a:gd name="connsiteX2" fmla="*/ 0 w 398678"/>
                <a:gd name="connsiteY2" fmla="*/ 8925 h 288594"/>
                <a:gd name="connsiteX3" fmla="*/ 5951 w 398678"/>
                <a:gd name="connsiteY3" fmla="*/ 0 h 288594"/>
                <a:gd name="connsiteX4" fmla="*/ 330249 w 398678"/>
                <a:gd name="connsiteY4" fmla="*/ 276694 h 288594"/>
                <a:gd name="connsiteX5" fmla="*/ 392728 w 398678"/>
                <a:gd name="connsiteY5" fmla="*/ 264793 h 288594"/>
                <a:gd name="connsiteX6" fmla="*/ 398678 w 398678"/>
                <a:gd name="connsiteY6" fmla="*/ 267769 h 288594"/>
                <a:gd name="connsiteX7" fmla="*/ 395704 w 398678"/>
                <a:gd name="connsiteY7" fmla="*/ 273718 h 288594"/>
                <a:gd name="connsiteX8" fmla="*/ 330249 w 398678"/>
                <a:gd name="connsiteY8" fmla="*/ 288595 h 288594"/>
                <a:gd name="connsiteX9" fmla="*/ 330249 w 398678"/>
                <a:gd name="connsiteY9" fmla="*/ 288595 h 288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8678" h="288594">
                  <a:moveTo>
                    <a:pt x="330249" y="288595"/>
                  </a:moveTo>
                  <a:cubicBezTo>
                    <a:pt x="330249" y="288595"/>
                    <a:pt x="327273" y="288595"/>
                    <a:pt x="327273" y="288595"/>
                  </a:cubicBezTo>
                  <a:cubicBezTo>
                    <a:pt x="238017" y="214215"/>
                    <a:pt x="0" y="8925"/>
                    <a:pt x="0" y="8925"/>
                  </a:cubicBezTo>
                  <a:lnTo>
                    <a:pt x="5951" y="0"/>
                  </a:lnTo>
                  <a:cubicBezTo>
                    <a:pt x="5951" y="0"/>
                    <a:pt x="240993" y="202314"/>
                    <a:pt x="330249" y="276694"/>
                  </a:cubicBezTo>
                  <a:cubicBezTo>
                    <a:pt x="339174" y="276694"/>
                    <a:pt x="374877" y="270744"/>
                    <a:pt x="392728" y="264793"/>
                  </a:cubicBezTo>
                  <a:cubicBezTo>
                    <a:pt x="395704" y="264793"/>
                    <a:pt x="398678" y="264793"/>
                    <a:pt x="398678" y="267769"/>
                  </a:cubicBezTo>
                  <a:cubicBezTo>
                    <a:pt x="398678" y="270744"/>
                    <a:pt x="398678" y="273718"/>
                    <a:pt x="395704" y="273718"/>
                  </a:cubicBezTo>
                  <a:cubicBezTo>
                    <a:pt x="377852" y="282645"/>
                    <a:pt x="333224" y="288595"/>
                    <a:pt x="330249" y="288595"/>
                  </a:cubicBezTo>
                  <a:cubicBezTo>
                    <a:pt x="330249" y="288595"/>
                    <a:pt x="330249" y="288595"/>
                    <a:pt x="330249" y="288595"/>
                  </a:cubicBezTo>
                  <a:close/>
                </a:path>
              </a:pathLst>
            </a:custGeom>
            <a:solidFill>
              <a:srgbClr val="E87952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F0B6014B-06B9-4DDE-B5DD-34FA08F72EAD}"/>
                </a:ext>
              </a:extLst>
            </p:cNvPr>
            <p:cNvSpPr/>
            <p:nvPr/>
          </p:nvSpPr>
          <p:spPr>
            <a:xfrm>
              <a:off x="25481063" y="8618574"/>
              <a:ext cx="573827" cy="525603"/>
            </a:xfrm>
            <a:custGeom>
              <a:avLst/>
              <a:gdLst>
                <a:gd name="connsiteX0" fmla="*/ 573828 w 573827"/>
                <a:gd name="connsiteY0" fmla="*/ 222133 h 525603"/>
                <a:gd name="connsiteX1" fmla="*/ 26391 w 573827"/>
                <a:gd name="connsiteY1" fmla="*/ 16844 h 525603"/>
                <a:gd name="connsiteX2" fmla="*/ 294159 w 573827"/>
                <a:gd name="connsiteY2" fmla="*/ 525604 h 525603"/>
                <a:gd name="connsiteX3" fmla="*/ 573828 w 573827"/>
                <a:gd name="connsiteY3" fmla="*/ 222133 h 525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3827" h="525603">
                  <a:moveTo>
                    <a:pt x="573828" y="222133"/>
                  </a:moveTo>
                  <a:cubicBezTo>
                    <a:pt x="573828" y="222133"/>
                    <a:pt x="139448" y="-72412"/>
                    <a:pt x="26391" y="16844"/>
                  </a:cubicBezTo>
                  <a:cubicBezTo>
                    <a:pt x="-104519" y="120976"/>
                    <a:pt x="294159" y="525604"/>
                    <a:pt x="294159" y="525604"/>
                  </a:cubicBezTo>
                  <a:cubicBezTo>
                    <a:pt x="294159" y="525604"/>
                    <a:pt x="487548" y="412546"/>
                    <a:pt x="573828" y="222133"/>
                  </a:cubicBezTo>
                  <a:close/>
                </a:path>
              </a:pathLst>
            </a:custGeom>
            <a:solidFill>
              <a:srgbClr val="70868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395C8035-EE5C-4AF0-9A00-D1C4E1D98B62}"/>
                </a:ext>
              </a:extLst>
            </p:cNvPr>
            <p:cNvSpPr/>
            <p:nvPr/>
          </p:nvSpPr>
          <p:spPr>
            <a:xfrm>
              <a:off x="25482044" y="8626492"/>
              <a:ext cx="405492" cy="523636"/>
            </a:xfrm>
            <a:custGeom>
              <a:avLst/>
              <a:gdLst>
                <a:gd name="connsiteX0" fmla="*/ 290202 w 405492"/>
                <a:gd name="connsiteY0" fmla="*/ 523636 h 523636"/>
                <a:gd name="connsiteX1" fmla="*/ 287228 w 405492"/>
                <a:gd name="connsiteY1" fmla="*/ 520661 h 523636"/>
                <a:gd name="connsiteX2" fmla="*/ 64087 w 405492"/>
                <a:gd name="connsiteY2" fmla="*/ 246942 h 523636"/>
                <a:gd name="connsiteX3" fmla="*/ 16483 w 405492"/>
                <a:gd name="connsiteY3" fmla="*/ 2975 h 523636"/>
                <a:gd name="connsiteX4" fmla="*/ 25410 w 405492"/>
                <a:gd name="connsiteY4" fmla="*/ 0 h 523636"/>
                <a:gd name="connsiteX5" fmla="*/ 28385 w 405492"/>
                <a:gd name="connsiteY5" fmla="*/ 8926 h 523636"/>
                <a:gd name="connsiteX6" fmla="*/ 73013 w 405492"/>
                <a:gd name="connsiteY6" fmla="*/ 238017 h 523636"/>
                <a:gd name="connsiteX7" fmla="*/ 293179 w 405492"/>
                <a:gd name="connsiteY7" fmla="*/ 505785 h 523636"/>
                <a:gd name="connsiteX8" fmla="*/ 394335 w 405492"/>
                <a:gd name="connsiteY8" fmla="*/ 431405 h 523636"/>
                <a:gd name="connsiteX9" fmla="*/ 403260 w 405492"/>
                <a:gd name="connsiteY9" fmla="*/ 431405 h 523636"/>
                <a:gd name="connsiteX10" fmla="*/ 403260 w 405492"/>
                <a:gd name="connsiteY10" fmla="*/ 440331 h 523636"/>
                <a:gd name="connsiteX11" fmla="*/ 296153 w 405492"/>
                <a:gd name="connsiteY11" fmla="*/ 520661 h 523636"/>
                <a:gd name="connsiteX12" fmla="*/ 290202 w 405492"/>
                <a:gd name="connsiteY12" fmla="*/ 523636 h 523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5492" h="523636">
                  <a:moveTo>
                    <a:pt x="290202" y="523636"/>
                  </a:moveTo>
                  <a:lnTo>
                    <a:pt x="287228" y="520661"/>
                  </a:lnTo>
                  <a:cubicBezTo>
                    <a:pt x="287228" y="520661"/>
                    <a:pt x="171194" y="389752"/>
                    <a:pt x="64087" y="246942"/>
                  </a:cubicBezTo>
                  <a:cubicBezTo>
                    <a:pt x="-43021" y="101157"/>
                    <a:pt x="16483" y="8926"/>
                    <a:pt x="16483" y="2975"/>
                  </a:cubicBezTo>
                  <a:cubicBezTo>
                    <a:pt x="19459" y="0"/>
                    <a:pt x="22434" y="0"/>
                    <a:pt x="25410" y="0"/>
                  </a:cubicBezTo>
                  <a:cubicBezTo>
                    <a:pt x="28385" y="2975"/>
                    <a:pt x="28385" y="5950"/>
                    <a:pt x="28385" y="8926"/>
                  </a:cubicBezTo>
                  <a:cubicBezTo>
                    <a:pt x="28385" y="8926"/>
                    <a:pt x="-28145" y="101157"/>
                    <a:pt x="73013" y="238017"/>
                  </a:cubicBezTo>
                  <a:cubicBezTo>
                    <a:pt x="168220" y="368925"/>
                    <a:pt x="272352" y="484959"/>
                    <a:pt x="293179" y="505785"/>
                  </a:cubicBezTo>
                  <a:cubicBezTo>
                    <a:pt x="308055" y="496859"/>
                    <a:pt x="355657" y="467107"/>
                    <a:pt x="394335" y="431405"/>
                  </a:cubicBezTo>
                  <a:cubicBezTo>
                    <a:pt x="397311" y="428430"/>
                    <a:pt x="400285" y="428430"/>
                    <a:pt x="403260" y="431405"/>
                  </a:cubicBezTo>
                  <a:cubicBezTo>
                    <a:pt x="406236" y="434380"/>
                    <a:pt x="406236" y="437355"/>
                    <a:pt x="403260" y="440331"/>
                  </a:cubicBezTo>
                  <a:cubicBezTo>
                    <a:pt x="355657" y="484959"/>
                    <a:pt x="296153" y="520661"/>
                    <a:pt x="296153" y="520661"/>
                  </a:cubicBezTo>
                  <a:lnTo>
                    <a:pt x="290202" y="523636"/>
                  </a:ln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358B2F2E-85F4-4FF0-A271-4EC502D4217B}"/>
                </a:ext>
              </a:extLst>
            </p:cNvPr>
            <p:cNvSpPr/>
            <p:nvPr/>
          </p:nvSpPr>
          <p:spPr>
            <a:xfrm>
              <a:off x="23707312" y="9493313"/>
              <a:ext cx="274006" cy="202188"/>
            </a:xfrm>
            <a:custGeom>
              <a:avLst/>
              <a:gdLst>
                <a:gd name="connsiteX0" fmla="*/ 122125 w 274006"/>
                <a:gd name="connsiteY0" fmla="*/ 195327 h 202188"/>
                <a:gd name="connsiteX1" fmla="*/ 256009 w 274006"/>
                <a:gd name="connsiteY1" fmla="*/ 183427 h 202188"/>
                <a:gd name="connsiteX2" fmla="*/ 273860 w 274006"/>
                <a:gd name="connsiteY2" fmla="*/ 46567 h 202188"/>
                <a:gd name="connsiteX3" fmla="*/ 6091 w 274006"/>
                <a:gd name="connsiteY3" fmla="*/ 22766 h 202188"/>
                <a:gd name="connsiteX4" fmla="*/ 12042 w 274006"/>
                <a:gd name="connsiteY4" fmla="*/ 70368 h 202188"/>
                <a:gd name="connsiteX5" fmla="*/ 12042 w 274006"/>
                <a:gd name="connsiteY5" fmla="*/ 123922 h 202188"/>
                <a:gd name="connsiteX6" fmla="*/ 35843 w 274006"/>
                <a:gd name="connsiteY6" fmla="*/ 150699 h 202188"/>
                <a:gd name="connsiteX7" fmla="*/ 77497 w 274006"/>
                <a:gd name="connsiteY7" fmla="*/ 183427 h 202188"/>
                <a:gd name="connsiteX8" fmla="*/ 122125 w 274006"/>
                <a:gd name="connsiteY8" fmla="*/ 195327 h 202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4006" h="202188">
                  <a:moveTo>
                    <a:pt x="122125" y="195327"/>
                  </a:moveTo>
                  <a:cubicBezTo>
                    <a:pt x="166753" y="192352"/>
                    <a:pt x="226257" y="219128"/>
                    <a:pt x="256009" y="183427"/>
                  </a:cubicBezTo>
                  <a:cubicBezTo>
                    <a:pt x="276836" y="159624"/>
                    <a:pt x="273860" y="46567"/>
                    <a:pt x="273860" y="46567"/>
                  </a:cubicBezTo>
                  <a:cubicBezTo>
                    <a:pt x="238159" y="-27813"/>
                    <a:pt x="71546" y="4914"/>
                    <a:pt x="6091" y="22766"/>
                  </a:cubicBezTo>
                  <a:cubicBezTo>
                    <a:pt x="-2834" y="25740"/>
                    <a:pt x="-2834" y="67394"/>
                    <a:pt x="12042" y="70368"/>
                  </a:cubicBezTo>
                  <a:cubicBezTo>
                    <a:pt x="32869" y="73344"/>
                    <a:pt x="6091" y="114996"/>
                    <a:pt x="12042" y="123922"/>
                  </a:cubicBezTo>
                  <a:cubicBezTo>
                    <a:pt x="17993" y="135823"/>
                    <a:pt x="35843" y="150699"/>
                    <a:pt x="35843" y="150699"/>
                  </a:cubicBezTo>
                  <a:cubicBezTo>
                    <a:pt x="47745" y="165575"/>
                    <a:pt x="74522" y="174500"/>
                    <a:pt x="77497" y="183427"/>
                  </a:cubicBezTo>
                  <a:cubicBezTo>
                    <a:pt x="86422" y="198303"/>
                    <a:pt x="95347" y="198303"/>
                    <a:pt x="122125" y="195327"/>
                  </a:cubicBezTo>
                  <a:close/>
                </a:path>
              </a:pathLst>
            </a:custGeom>
            <a:solidFill>
              <a:srgbClr val="F49F84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8" name="图形 1">
              <a:extLst>
                <a:ext uri="{FF2B5EF4-FFF2-40B4-BE49-F238E27FC236}">
                  <a16:creationId xmlns:a16="http://schemas.microsoft.com/office/drawing/2014/main" id="{43986AA3-CEC0-4F44-BFB7-8432ECC97203}"/>
                </a:ext>
              </a:extLst>
            </p:cNvPr>
            <p:cNvGrpSpPr/>
            <p:nvPr/>
          </p:nvGrpSpPr>
          <p:grpSpPr>
            <a:xfrm>
              <a:off x="23656976" y="9497576"/>
              <a:ext cx="217088" cy="194499"/>
              <a:chOff x="23656976" y="9497576"/>
              <a:chExt cx="217088" cy="194499"/>
            </a:xfrm>
          </p:grpSpPr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B81B2D4D-530B-448F-A765-6050AF3FEC78}"/>
                  </a:ext>
                </a:extLst>
              </p:cNvPr>
              <p:cNvSpPr/>
              <p:nvPr/>
            </p:nvSpPr>
            <p:spPr>
              <a:xfrm>
                <a:off x="23656976" y="9504177"/>
                <a:ext cx="160558" cy="89320"/>
              </a:xfrm>
              <a:custGeom>
                <a:avLst/>
                <a:gdLst>
                  <a:gd name="connsiteX0" fmla="*/ 2873 w 160558"/>
                  <a:gd name="connsiteY0" fmla="*/ 44628 h 89320"/>
                  <a:gd name="connsiteX1" fmla="*/ 95106 w 160558"/>
                  <a:gd name="connsiteY1" fmla="*/ 5951 h 89320"/>
                  <a:gd name="connsiteX2" fmla="*/ 109982 w 160558"/>
                  <a:gd name="connsiteY2" fmla="*/ 0 h 89320"/>
                  <a:gd name="connsiteX3" fmla="*/ 127832 w 160558"/>
                  <a:gd name="connsiteY3" fmla="*/ 0 h 89320"/>
                  <a:gd name="connsiteX4" fmla="*/ 160559 w 160558"/>
                  <a:gd name="connsiteY4" fmla="*/ 35703 h 89320"/>
                  <a:gd name="connsiteX5" fmla="*/ 124858 w 160558"/>
                  <a:gd name="connsiteY5" fmla="*/ 65455 h 89320"/>
                  <a:gd name="connsiteX6" fmla="*/ 62377 w 160558"/>
                  <a:gd name="connsiteY6" fmla="*/ 83306 h 89320"/>
                  <a:gd name="connsiteX7" fmla="*/ 14775 w 160558"/>
                  <a:gd name="connsiteY7" fmla="*/ 83306 h 89320"/>
                  <a:gd name="connsiteX8" fmla="*/ 2873 w 160558"/>
                  <a:gd name="connsiteY8" fmla="*/ 44628 h 89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0558" h="89320">
                    <a:moveTo>
                      <a:pt x="2873" y="44628"/>
                    </a:moveTo>
                    <a:cubicBezTo>
                      <a:pt x="20726" y="20827"/>
                      <a:pt x="59403" y="17851"/>
                      <a:pt x="95106" y="5951"/>
                    </a:cubicBezTo>
                    <a:cubicBezTo>
                      <a:pt x="98080" y="5951"/>
                      <a:pt x="107006" y="0"/>
                      <a:pt x="109982" y="0"/>
                    </a:cubicBezTo>
                    <a:cubicBezTo>
                      <a:pt x="115931" y="0"/>
                      <a:pt x="121882" y="0"/>
                      <a:pt x="127832" y="0"/>
                    </a:cubicBezTo>
                    <a:cubicBezTo>
                      <a:pt x="145683" y="2975"/>
                      <a:pt x="160559" y="17851"/>
                      <a:pt x="160559" y="35703"/>
                    </a:cubicBezTo>
                    <a:cubicBezTo>
                      <a:pt x="160559" y="53554"/>
                      <a:pt x="136758" y="59504"/>
                      <a:pt x="124858" y="65455"/>
                    </a:cubicBezTo>
                    <a:cubicBezTo>
                      <a:pt x="104031" y="74380"/>
                      <a:pt x="83204" y="80331"/>
                      <a:pt x="62377" y="83306"/>
                    </a:cubicBezTo>
                    <a:cubicBezTo>
                      <a:pt x="47501" y="86282"/>
                      <a:pt x="29651" y="95207"/>
                      <a:pt x="14775" y="83306"/>
                    </a:cubicBezTo>
                    <a:cubicBezTo>
                      <a:pt x="-101" y="71406"/>
                      <a:pt x="-3077" y="53554"/>
                      <a:pt x="2873" y="44628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F174C225-1831-4369-A365-226473415A55}"/>
                  </a:ext>
                </a:extLst>
              </p:cNvPr>
              <p:cNvSpPr/>
              <p:nvPr/>
            </p:nvSpPr>
            <p:spPr>
              <a:xfrm>
                <a:off x="23695654" y="9542855"/>
                <a:ext cx="160559" cy="89319"/>
              </a:xfrm>
              <a:custGeom>
                <a:avLst/>
                <a:gdLst>
                  <a:gd name="connsiteX0" fmla="*/ 2872 w 160559"/>
                  <a:gd name="connsiteY0" fmla="*/ 44628 h 89319"/>
                  <a:gd name="connsiteX1" fmla="*/ 101056 w 160559"/>
                  <a:gd name="connsiteY1" fmla="*/ 0 h 89319"/>
                  <a:gd name="connsiteX2" fmla="*/ 109981 w 160559"/>
                  <a:gd name="connsiteY2" fmla="*/ 0 h 89319"/>
                  <a:gd name="connsiteX3" fmla="*/ 127832 w 160559"/>
                  <a:gd name="connsiteY3" fmla="*/ 0 h 89319"/>
                  <a:gd name="connsiteX4" fmla="*/ 160560 w 160559"/>
                  <a:gd name="connsiteY4" fmla="*/ 35702 h 89319"/>
                  <a:gd name="connsiteX5" fmla="*/ 124857 w 160559"/>
                  <a:gd name="connsiteY5" fmla="*/ 65454 h 89319"/>
                  <a:gd name="connsiteX6" fmla="*/ 62377 w 160559"/>
                  <a:gd name="connsiteY6" fmla="*/ 83305 h 89319"/>
                  <a:gd name="connsiteX7" fmla="*/ 14774 w 160559"/>
                  <a:gd name="connsiteY7" fmla="*/ 83305 h 89319"/>
                  <a:gd name="connsiteX8" fmla="*/ 2872 w 160559"/>
                  <a:gd name="connsiteY8" fmla="*/ 44628 h 89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0559" h="89319">
                    <a:moveTo>
                      <a:pt x="2872" y="44628"/>
                    </a:moveTo>
                    <a:cubicBezTo>
                      <a:pt x="20725" y="11901"/>
                      <a:pt x="65353" y="11901"/>
                      <a:pt x="101056" y="0"/>
                    </a:cubicBezTo>
                    <a:cubicBezTo>
                      <a:pt x="104030" y="0"/>
                      <a:pt x="107005" y="0"/>
                      <a:pt x="109981" y="0"/>
                    </a:cubicBezTo>
                    <a:cubicBezTo>
                      <a:pt x="115932" y="0"/>
                      <a:pt x="121881" y="0"/>
                      <a:pt x="127832" y="0"/>
                    </a:cubicBezTo>
                    <a:cubicBezTo>
                      <a:pt x="145684" y="2975"/>
                      <a:pt x="160560" y="17851"/>
                      <a:pt x="160560" y="35702"/>
                    </a:cubicBezTo>
                    <a:cubicBezTo>
                      <a:pt x="160560" y="53553"/>
                      <a:pt x="136757" y="59504"/>
                      <a:pt x="124857" y="65454"/>
                    </a:cubicBezTo>
                    <a:cubicBezTo>
                      <a:pt x="104030" y="74380"/>
                      <a:pt x="83203" y="80330"/>
                      <a:pt x="62377" y="83305"/>
                    </a:cubicBezTo>
                    <a:cubicBezTo>
                      <a:pt x="47501" y="86281"/>
                      <a:pt x="29650" y="95206"/>
                      <a:pt x="14774" y="83305"/>
                    </a:cubicBezTo>
                    <a:cubicBezTo>
                      <a:pt x="-102" y="71405"/>
                      <a:pt x="-3076" y="56529"/>
                      <a:pt x="2872" y="44628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DA0A1B3C-5FC0-4852-B008-EEBDE845A6CC}"/>
                  </a:ext>
                </a:extLst>
              </p:cNvPr>
              <p:cNvSpPr/>
              <p:nvPr/>
            </p:nvSpPr>
            <p:spPr>
              <a:xfrm>
                <a:off x="23725184" y="9587483"/>
                <a:ext cx="136979" cy="79094"/>
              </a:xfrm>
              <a:custGeom>
                <a:avLst/>
                <a:gdLst>
                  <a:gd name="connsiteX0" fmla="*/ 3095 w 136979"/>
                  <a:gd name="connsiteY0" fmla="*/ 41653 h 79094"/>
                  <a:gd name="connsiteX1" fmla="*/ 86402 w 136979"/>
                  <a:gd name="connsiteY1" fmla="*/ 0 h 79094"/>
                  <a:gd name="connsiteX2" fmla="*/ 95327 w 136979"/>
                  <a:gd name="connsiteY2" fmla="*/ 0 h 79094"/>
                  <a:gd name="connsiteX3" fmla="*/ 110203 w 136979"/>
                  <a:gd name="connsiteY3" fmla="*/ 0 h 79094"/>
                  <a:gd name="connsiteX4" fmla="*/ 136979 w 136979"/>
                  <a:gd name="connsiteY4" fmla="*/ 29752 h 79094"/>
                  <a:gd name="connsiteX5" fmla="*/ 104253 w 136979"/>
                  <a:gd name="connsiteY5" fmla="*/ 56529 h 79094"/>
                  <a:gd name="connsiteX6" fmla="*/ 50699 w 136979"/>
                  <a:gd name="connsiteY6" fmla="*/ 74380 h 79094"/>
                  <a:gd name="connsiteX7" fmla="*/ 9046 w 136979"/>
                  <a:gd name="connsiteY7" fmla="*/ 74380 h 79094"/>
                  <a:gd name="connsiteX8" fmla="*/ 3095 w 136979"/>
                  <a:gd name="connsiteY8" fmla="*/ 41653 h 79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6979" h="79094">
                    <a:moveTo>
                      <a:pt x="3095" y="41653"/>
                    </a:moveTo>
                    <a:cubicBezTo>
                      <a:pt x="17971" y="11901"/>
                      <a:pt x="56650" y="11901"/>
                      <a:pt x="86402" y="0"/>
                    </a:cubicBezTo>
                    <a:cubicBezTo>
                      <a:pt x="89377" y="0"/>
                      <a:pt x="92351" y="0"/>
                      <a:pt x="95327" y="0"/>
                    </a:cubicBezTo>
                    <a:cubicBezTo>
                      <a:pt x="101278" y="0"/>
                      <a:pt x="104253" y="0"/>
                      <a:pt x="110203" y="0"/>
                    </a:cubicBezTo>
                    <a:cubicBezTo>
                      <a:pt x="125079" y="2975"/>
                      <a:pt x="136979" y="14876"/>
                      <a:pt x="136979" y="29752"/>
                    </a:cubicBezTo>
                    <a:cubicBezTo>
                      <a:pt x="136979" y="44628"/>
                      <a:pt x="116154" y="50578"/>
                      <a:pt x="104253" y="56529"/>
                    </a:cubicBezTo>
                    <a:cubicBezTo>
                      <a:pt x="86402" y="62480"/>
                      <a:pt x="68550" y="68429"/>
                      <a:pt x="50699" y="74380"/>
                    </a:cubicBezTo>
                    <a:cubicBezTo>
                      <a:pt x="38798" y="77356"/>
                      <a:pt x="23922" y="83305"/>
                      <a:pt x="9046" y="74380"/>
                    </a:cubicBezTo>
                    <a:cubicBezTo>
                      <a:pt x="120" y="65454"/>
                      <a:pt x="-2854" y="50578"/>
                      <a:pt x="3095" y="41653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2D878052-CE63-4942-8AFB-CBD1B8D61742}"/>
                  </a:ext>
                </a:extLst>
              </p:cNvPr>
              <p:cNvSpPr/>
              <p:nvPr/>
            </p:nvSpPr>
            <p:spPr>
              <a:xfrm>
                <a:off x="23759354" y="9635087"/>
                <a:ext cx="102809" cy="56989"/>
              </a:xfrm>
              <a:custGeom>
                <a:avLst/>
                <a:gdLst>
                  <a:gd name="connsiteX0" fmla="*/ 1654 w 102809"/>
                  <a:gd name="connsiteY0" fmla="*/ 29752 h 56989"/>
                  <a:gd name="connsiteX1" fmla="*/ 64132 w 102809"/>
                  <a:gd name="connsiteY1" fmla="*/ 0 h 56989"/>
                  <a:gd name="connsiteX2" fmla="*/ 70083 w 102809"/>
                  <a:gd name="connsiteY2" fmla="*/ 0 h 56989"/>
                  <a:gd name="connsiteX3" fmla="*/ 81985 w 102809"/>
                  <a:gd name="connsiteY3" fmla="*/ 0 h 56989"/>
                  <a:gd name="connsiteX4" fmla="*/ 102810 w 102809"/>
                  <a:gd name="connsiteY4" fmla="*/ 20826 h 56989"/>
                  <a:gd name="connsiteX5" fmla="*/ 79008 w 102809"/>
                  <a:gd name="connsiteY5" fmla="*/ 41653 h 56989"/>
                  <a:gd name="connsiteX6" fmla="*/ 40331 w 102809"/>
                  <a:gd name="connsiteY6" fmla="*/ 53553 h 56989"/>
                  <a:gd name="connsiteX7" fmla="*/ 10579 w 102809"/>
                  <a:gd name="connsiteY7" fmla="*/ 53553 h 56989"/>
                  <a:gd name="connsiteX8" fmla="*/ 1654 w 102809"/>
                  <a:gd name="connsiteY8" fmla="*/ 29752 h 56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2809" h="56989">
                    <a:moveTo>
                      <a:pt x="1654" y="29752"/>
                    </a:moveTo>
                    <a:cubicBezTo>
                      <a:pt x="13553" y="8925"/>
                      <a:pt x="40331" y="5950"/>
                      <a:pt x="64132" y="0"/>
                    </a:cubicBezTo>
                    <a:cubicBezTo>
                      <a:pt x="67109" y="0"/>
                      <a:pt x="67109" y="0"/>
                      <a:pt x="70083" y="0"/>
                    </a:cubicBezTo>
                    <a:cubicBezTo>
                      <a:pt x="73058" y="0"/>
                      <a:pt x="76034" y="0"/>
                      <a:pt x="81985" y="0"/>
                    </a:cubicBezTo>
                    <a:cubicBezTo>
                      <a:pt x="93884" y="2974"/>
                      <a:pt x="102810" y="11901"/>
                      <a:pt x="102810" y="20826"/>
                    </a:cubicBezTo>
                    <a:cubicBezTo>
                      <a:pt x="102810" y="32727"/>
                      <a:pt x="87934" y="35702"/>
                      <a:pt x="79008" y="41653"/>
                    </a:cubicBezTo>
                    <a:cubicBezTo>
                      <a:pt x="67109" y="47603"/>
                      <a:pt x="52233" y="50578"/>
                      <a:pt x="40331" y="53553"/>
                    </a:cubicBezTo>
                    <a:cubicBezTo>
                      <a:pt x="31406" y="56529"/>
                      <a:pt x="19504" y="59504"/>
                      <a:pt x="10579" y="53553"/>
                    </a:cubicBezTo>
                    <a:cubicBezTo>
                      <a:pt x="-1323" y="47603"/>
                      <a:pt x="-1323" y="38677"/>
                      <a:pt x="1654" y="29752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1B152AE0-3B30-47E1-8B41-9FF4F024FDCB}"/>
                  </a:ext>
                </a:extLst>
              </p:cNvPr>
              <p:cNvSpPr/>
              <p:nvPr/>
            </p:nvSpPr>
            <p:spPr>
              <a:xfrm>
                <a:off x="23685459" y="9497576"/>
                <a:ext cx="175223" cy="134535"/>
              </a:xfrm>
              <a:custGeom>
                <a:avLst/>
                <a:gdLst>
                  <a:gd name="connsiteX0" fmla="*/ 45796 w 175223"/>
                  <a:gd name="connsiteY0" fmla="*/ 134535 h 134535"/>
                  <a:gd name="connsiteX1" fmla="*/ 7118 w 175223"/>
                  <a:gd name="connsiteY1" fmla="*/ 116684 h 134535"/>
                  <a:gd name="connsiteX2" fmla="*/ 1168 w 175223"/>
                  <a:gd name="connsiteY2" fmla="*/ 92882 h 134535"/>
                  <a:gd name="connsiteX3" fmla="*/ 13067 w 175223"/>
                  <a:gd name="connsiteY3" fmla="*/ 83956 h 134535"/>
                  <a:gd name="connsiteX4" fmla="*/ 123150 w 175223"/>
                  <a:gd name="connsiteY4" fmla="*/ 42304 h 134535"/>
                  <a:gd name="connsiteX5" fmla="*/ 123150 w 175223"/>
                  <a:gd name="connsiteY5" fmla="*/ 24452 h 134535"/>
                  <a:gd name="connsiteX6" fmla="*/ 114225 w 175223"/>
                  <a:gd name="connsiteY6" fmla="*/ 15527 h 134535"/>
                  <a:gd name="connsiteX7" fmla="*/ 13067 w 175223"/>
                  <a:gd name="connsiteY7" fmla="*/ 36353 h 134535"/>
                  <a:gd name="connsiteX8" fmla="*/ 4142 w 175223"/>
                  <a:gd name="connsiteY8" fmla="*/ 33378 h 134535"/>
                  <a:gd name="connsiteX9" fmla="*/ 7118 w 175223"/>
                  <a:gd name="connsiteY9" fmla="*/ 24452 h 134535"/>
                  <a:gd name="connsiteX10" fmla="*/ 117200 w 175223"/>
                  <a:gd name="connsiteY10" fmla="*/ 3626 h 134535"/>
                  <a:gd name="connsiteX11" fmla="*/ 132076 w 175223"/>
                  <a:gd name="connsiteY11" fmla="*/ 18502 h 134535"/>
                  <a:gd name="connsiteX12" fmla="*/ 135052 w 175223"/>
                  <a:gd name="connsiteY12" fmla="*/ 33378 h 134535"/>
                  <a:gd name="connsiteX13" fmla="*/ 135052 w 175223"/>
                  <a:gd name="connsiteY13" fmla="*/ 33378 h 134535"/>
                  <a:gd name="connsiteX14" fmla="*/ 173729 w 175223"/>
                  <a:gd name="connsiteY14" fmla="*/ 66105 h 134535"/>
                  <a:gd name="connsiteX15" fmla="*/ 120176 w 175223"/>
                  <a:gd name="connsiteY15" fmla="*/ 113708 h 134535"/>
                  <a:gd name="connsiteX16" fmla="*/ 45796 w 175223"/>
                  <a:gd name="connsiteY16" fmla="*/ 134535 h 134535"/>
                  <a:gd name="connsiteX17" fmla="*/ 13067 w 175223"/>
                  <a:gd name="connsiteY17" fmla="*/ 95857 h 134535"/>
                  <a:gd name="connsiteX18" fmla="*/ 13067 w 175223"/>
                  <a:gd name="connsiteY18" fmla="*/ 95857 h 134535"/>
                  <a:gd name="connsiteX19" fmla="*/ 16044 w 175223"/>
                  <a:gd name="connsiteY19" fmla="*/ 110733 h 134535"/>
                  <a:gd name="connsiteX20" fmla="*/ 117200 w 175223"/>
                  <a:gd name="connsiteY20" fmla="*/ 107758 h 134535"/>
                  <a:gd name="connsiteX21" fmla="*/ 164804 w 175223"/>
                  <a:gd name="connsiteY21" fmla="*/ 75031 h 134535"/>
                  <a:gd name="connsiteX22" fmla="*/ 135052 w 175223"/>
                  <a:gd name="connsiteY22" fmla="*/ 51229 h 134535"/>
                  <a:gd name="connsiteX23" fmla="*/ 135052 w 175223"/>
                  <a:gd name="connsiteY23" fmla="*/ 51229 h 134535"/>
                  <a:gd name="connsiteX24" fmla="*/ 13067 w 175223"/>
                  <a:gd name="connsiteY24" fmla="*/ 95857 h 134535"/>
                  <a:gd name="connsiteX25" fmla="*/ 13067 w 175223"/>
                  <a:gd name="connsiteY25" fmla="*/ 95857 h 134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75223" h="134535">
                    <a:moveTo>
                      <a:pt x="45796" y="134535"/>
                    </a:moveTo>
                    <a:cubicBezTo>
                      <a:pt x="27943" y="134535"/>
                      <a:pt x="13067" y="128584"/>
                      <a:pt x="7118" y="116684"/>
                    </a:cubicBezTo>
                    <a:cubicBezTo>
                      <a:pt x="1168" y="107758"/>
                      <a:pt x="-1809" y="98832"/>
                      <a:pt x="1168" y="92882"/>
                    </a:cubicBezTo>
                    <a:cubicBezTo>
                      <a:pt x="4142" y="86932"/>
                      <a:pt x="10093" y="83956"/>
                      <a:pt x="13067" y="83956"/>
                    </a:cubicBezTo>
                    <a:cubicBezTo>
                      <a:pt x="75548" y="72056"/>
                      <a:pt x="114225" y="57180"/>
                      <a:pt x="123150" y="42304"/>
                    </a:cubicBezTo>
                    <a:cubicBezTo>
                      <a:pt x="126127" y="36353"/>
                      <a:pt x="126127" y="33378"/>
                      <a:pt x="123150" y="24452"/>
                    </a:cubicBezTo>
                    <a:cubicBezTo>
                      <a:pt x="123150" y="21477"/>
                      <a:pt x="120176" y="18502"/>
                      <a:pt x="114225" y="15527"/>
                    </a:cubicBezTo>
                    <a:cubicBezTo>
                      <a:pt x="90424" y="6601"/>
                      <a:pt x="33894" y="27427"/>
                      <a:pt x="13067" y="36353"/>
                    </a:cubicBezTo>
                    <a:cubicBezTo>
                      <a:pt x="10093" y="36353"/>
                      <a:pt x="7118" y="36353"/>
                      <a:pt x="4142" y="33378"/>
                    </a:cubicBezTo>
                    <a:cubicBezTo>
                      <a:pt x="4142" y="30403"/>
                      <a:pt x="4142" y="27427"/>
                      <a:pt x="7118" y="24452"/>
                    </a:cubicBezTo>
                    <a:cubicBezTo>
                      <a:pt x="10093" y="24452"/>
                      <a:pt x="84473" y="-11250"/>
                      <a:pt x="117200" y="3626"/>
                    </a:cubicBezTo>
                    <a:cubicBezTo>
                      <a:pt x="123150" y="6601"/>
                      <a:pt x="129101" y="12551"/>
                      <a:pt x="132076" y="18502"/>
                    </a:cubicBezTo>
                    <a:cubicBezTo>
                      <a:pt x="132076" y="21477"/>
                      <a:pt x="135052" y="27427"/>
                      <a:pt x="135052" y="33378"/>
                    </a:cubicBezTo>
                    <a:cubicBezTo>
                      <a:pt x="135052" y="33378"/>
                      <a:pt x="135052" y="33378"/>
                      <a:pt x="135052" y="33378"/>
                    </a:cubicBezTo>
                    <a:cubicBezTo>
                      <a:pt x="135052" y="33378"/>
                      <a:pt x="167779" y="45279"/>
                      <a:pt x="173729" y="66105"/>
                    </a:cubicBezTo>
                    <a:cubicBezTo>
                      <a:pt x="182655" y="92882"/>
                      <a:pt x="149928" y="104783"/>
                      <a:pt x="120176" y="113708"/>
                    </a:cubicBezTo>
                    <a:cubicBezTo>
                      <a:pt x="96375" y="125609"/>
                      <a:pt x="69597" y="134535"/>
                      <a:pt x="45796" y="134535"/>
                    </a:cubicBezTo>
                    <a:close/>
                    <a:moveTo>
                      <a:pt x="13067" y="95857"/>
                    </a:moveTo>
                    <a:cubicBezTo>
                      <a:pt x="13067" y="95857"/>
                      <a:pt x="13067" y="95857"/>
                      <a:pt x="13067" y="95857"/>
                    </a:cubicBezTo>
                    <a:cubicBezTo>
                      <a:pt x="10093" y="98832"/>
                      <a:pt x="10093" y="101808"/>
                      <a:pt x="16044" y="110733"/>
                    </a:cubicBezTo>
                    <a:cubicBezTo>
                      <a:pt x="27943" y="128584"/>
                      <a:pt x="63646" y="125609"/>
                      <a:pt x="117200" y="107758"/>
                    </a:cubicBezTo>
                    <a:cubicBezTo>
                      <a:pt x="155879" y="92882"/>
                      <a:pt x="167779" y="86932"/>
                      <a:pt x="164804" y="75031"/>
                    </a:cubicBezTo>
                    <a:cubicBezTo>
                      <a:pt x="161828" y="63130"/>
                      <a:pt x="141003" y="54204"/>
                      <a:pt x="135052" y="51229"/>
                    </a:cubicBezTo>
                    <a:cubicBezTo>
                      <a:pt x="135052" y="51229"/>
                      <a:pt x="135052" y="51229"/>
                      <a:pt x="135052" y="51229"/>
                    </a:cubicBezTo>
                    <a:cubicBezTo>
                      <a:pt x="123150" y="60155"/>
                      <a:pt x="105300" y="78006"/>
                      <a:pt x="13067" y="95857"/>
                    </a:cubicBezTo>
                    <a:lnTo>
                      <a:pt x="13067" y="95857"/>
                    </a:ln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C44D999B-E933-47C1-9410-FA71B5866242}"/>
                  </a:ext>
                </a:extLst>
              </p:cNvPr>
              <p:cNvSpPr/>
              <p:nvPr/>
            </p:nvSpPr>
            <p:spPr>
              <a:xfrm>
                <a:off x="23717867" y="9579301"/>
                <a:ext cx="156197" cy="91487"/>
              </a:xfrm>
              <a:custGeom>
                <a:avLst/>
                <a:gdLst>
                  <a:gd name="connsiteX0" fmla="*/ 28264 w 156197"/>
                  <a:gd name="connsiteY0" fmla="*/ 91488 h 91487"/>
                  <a:gd name="connsiteX1" fmla="*/ 28264 w 156197"/>
                  <a:gd name="connsiteY1" fmla="*/ 91488 h 91487"/>
                  <a:gd name="connsiteX2" fmla="*/ 4463 w 156197"/>
                  <a:gd name="connsiteY2" fmla="*/ 76612 h 91487"/>
                  <a:gd name="connsiteX3" fmla="*/ 4463 w 156197"/>
                  <a:gd name="connsiteY3" fmla="*/ 46860 h 91487"/>
                  <a:gd name="connsiteX4" fmla="*/ 13388 w 156197"/>
                  <a:gd name="connsiteY4" fmla="*/ 43884 h 91487"/>
                  <a:gd name="connsiteX5" fmla="*/ 16363 w 156197"/>
                  <a:gd name="connsiteY5" fmla="*/ 52810 h 91487"/>
                  <a:gd name="connsiteX6" fmla="*/ 19339 w 156197"/>
                  <a:gd name="connsiteY6" fmla="*/ 70662 h 91487"/>
                  <a:gd name="connsiteX7" fmla="*/ 28264 w 156197"/>
                  <a:gd name="connsiteY7" fmla="*/ 79587 h 91487"/>
                  <a:gd name="connsiteX8" fmla="*/ 126446 w 156197"/>
                  <a:gd name="connsiteY8" fmla="*/ 49835 h 91487"/>
                  <a:gd name="connsiteX9" fmla="*/ 141322 w 156197"/>
                  <a:gd name="connsiteY9" fmla="*/ 34959 h 91487"/>
                  <a:gd name="connsiteX10" fmla="*/ 129420 w 156197"/>
                  <a:gd name="connsiteY10" fmla="*/ 11158 h 91487"/>
                  <a:gd name="connsiteX11" fmla="*/ 129420 w 156197"/>
                  <a:gd name="connsiteY11" fmla="*/ 2232 h 91487"/>
                  <a:gd name="connsiteX12" fmla="*/ 138347 w 156197"/>
                  <a:gd name="connsiteY12" fmla="*/ 2232 h 91487"/>
                  <a:gd name="connsiteX13" fmla="*/ 156198 w 156197"/>
                  <a:gd name="connsiteY13" fmla="*/ 34959 h 91487"/>
                  <a:gd name="connsiteX14" fmla="*/ 138347 w 156197"/>
                  <a:gd name="connsiteY14" fmla="*/ 61736 h 91487"/>
                  <a:gd name="connsiteX15" fmla="*/ 28264 w 156197"/>
                  <a:gd name="connsiteY15" fmla="*/ 91488 h 91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6197" h="91487">
                    <a:moveTo>
                      <a:pt x="28264" y="91488"/>
                    </a:moveTo>
                    <a:cubicBezTo>
                      <a:pt x="28264" y="91488"/>
                      <a:pt x="28264" y="91488"/>
                      <a:pt x="28264" y="91488"/>
                    </a:cubicBezTo>
                    <a:cubicBezTo>
                      <a:pt x="16363" y="91488"/>
                      <a:pt x="10412" y="85538"/>
                      <a:pt x="4463" y="76612"/>
                    </a:cubicBezTo>
                    <a:cubicBezTo>
                      <a:pt x="-1488" y="64711"/>
                      <a:pt x="-1488" y="52810"/>
                      <a:pt x="4463" y="46860"/>
                    </a:cubicBezTo>
                    <a:cubicBezTo>
                      <a:pt x="7438" y="43884"/>
                      <a:pt x="10412" y="43884"/>
                      <a:pt x="13388" y="43884"/>
                    </a:cubicBezTo>
                    <a:cubicBezTo>
                      <a:pt x="16363" y="46860"/>
                      <a:pt x="16363" y="49835"/>
                      <a:pt x="16363" y="52810"/>
                    </a:cubicBezTo>
                    <a:cubicBezTo>
                      <a:pt x="16363" y="55786"/>
                      <a:pt x="13388" y="64711"/>
                      <a:pt x="19339" y="70662"/>
                    </a:cubicBezTo>
                    <a:cubicBezTo>
                      <a:pt x="22314" y="73636"/>
                      <a:pt x="25288" y="79587"/>
                      <a:pt x="28264" y="79587"/>
                    </a:cubicBezTo>
                    <a:cubicBezTo>
                      <a:pt x="43140" y="79587"/>
                      <a:pt x="90743" y="70662"/>
                      <a:pt x="126446" y="49835"/>
                    </a:cubicBezTo>
                    <a:cubicBezTo>
                      <a:pt x="135371" y="43884"/>
                      <a:pt x="138347" y="40910"/>
                      <a:pt x="141322" y="34959"/>
                    </a:cubicBezTo>
                    <a:cubicBezTo>
                      <a:pt x="141322" y="23058"/>
                      <a:pt x="129420" y="11158"/>
                      <a:pt x="129420" y="11158"/>
                    </a:cubicBezTo>
                    <a:cubicBezTo>
                      <a:pt x="126446" y="8182"/>
                      <a:pt x="126446" y="5207"/>
                      <a:pt x="129420" y="2232"/>
                    </a:cubicBezTo>
                    <a:cubicBezTo>
                      <a:pt x="132397" y="-744"/>
                      <a:pt x="135371" y="-744"/>
                      <a:pt x="138347" y="2232"/>
                    </a:cubicBezTo>
                    <a:cubicBezTo>
                      <a:pt x="138347" y="2232"/>
                      <a:pt x="156198" y="17108"/>
                      <a:pt x="156198" y="34959"/>
                    </a:cubicBezTo>
                    <a:cubicBezTo>
                      <a:pt x="156198" y="43884"/>
                      <a:pt x="150247" y="52810"/>
                      <a:pt x="138347" y="61736"/>
                    </a:cubicBezTo>
                    <a:cubicBezTo>
                      <a:pt x="96694" y="82562"/>
                      <a:pt x="49091" y="91488"/>
                      <a:pt x="28264" y="91488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9" name="图形 1">
              <a:extLst>
                <a:ext uri="{FF2B5EF4-FFF2-40B4-BE49-F238E27FC236}">
                  <a16:creationId xmlns:a16="http://schemas.microsoft.com/office/drawing/2014/main" id="{DE02FA0C-FC37-4D67-A048-7206572EEABC}"/>
                </a:ext>
              </a:extLst>
            </p:cNvPr>
            <p:cNvGrpSpPr/>
            <p:nvPr/>
          </p:nvGrpSpPr>
          <p:grpSpPr>
            <a:xfrm>
              <a:off x="23777089" y="9497090"/>
              <a:ext cx="160986" cy="117170"/>
              <a:chOff x="23777089" y="9497090"/>
              <a:chExt cx="160986" cy="117170"/>
            </a:xfrm>
          </p:grpSpPr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EF20C513-5468-4AD7-BC40-47A604A51D6E}"/>
                  </a:ext>
                </a:extLst>
              </p:cNvPr>
              <p:cNvSpPr/>
              <p:nvPr/>
            </p:nvSpPr>
            <p:spPr>
              <a:xfrm>
                <a:off x="23784208" y="9501815"/>
                <a:ext cx="153867" cy="107552"/>
              </a:xfrm>
              <a:custGeom>
                <a:avLst/>
                <a:gdLst>
                  <a:gd name="connsiteX0" fmla="*/ 12502 w 153867"/>
                  <a:gd name="connsiteY0" fmla="*/ 106495 h 107552"/>
                  <a:gd name="connsiteX1" fmla="*/ 33327 w 153867"/>
                  <a:gd name="connsiteY1" fmla="*/ 85669 h 107552"/>
                  <a:gd name="connsiteX2" fmla="*/ 92831 w 153867"/>
                  <a:gd name="connsiteY2" fmla="*/ 58892 h 107552"/>
                  <a:gd name="connsiteX3" fmla="*/ 152335 w 153867"/>
                  <a:gd name="connsiteY3" fmla="*/ 79718 h 107552"/>
                  <a:gd name="connsiteX4" fmla="*/ 125560 w 153867"/>
                  <a:gd name="connsiteY4" fmla="*/ 5338 h 107552"/>
                  <a:gd name="connsiteX5" fmla="*/ 18451 w 153867"/>
                  <a:gd name="connsiteY5" fmla="*/ 23189 h 107552"/>
                  <a:gd name="connsiteX6" fmla="*/ 12502 w 153867"/>
                  <a:gd name="connsiteY6" fmla="*/ 106495 h 107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3867" h="107552">
                    <a:moveTo>
                      <a:pt x="12502" y="106495"/>
                    </a:moveTo>
                    <a:cubicBezTo>
                      <a:pt x="21427" y="112446"/>
                      <a:pt x="27378" y="91619"/>
                      <a:pt x="33327" y="85669"/>
                    </a:cubicBezTo>
                    <a:cubicBezTo>
                      <a:pt x="51179" y="67817"/>
                      <a:pt x="66056" y="58892"/>
                      <a:pt x="92831" y="58892"/>
                    </a:cubicBezTo>
                    <a:cubicBezTo>
                      <a:pt x="107707" y="58892"/>
                      <a:pt x="137459" y="76743"/>
                      <a:pt x="152335" y="79718"/>
                    </a:cubicBezTo>
                    <a:cubicBezTo>
                      <a:pt x="158286" y="82693"/>
                      <a:pt x="146386" y="11289"/>
                      <a:pt x="125560" y="5338"/>
                    </a:cubicBezTo>
                    <a:cubicBezTo>
                      <a:pt x="95808" y="-3587"/>
                      <a:pt x="42254" y="-3587"/>
                      <a:pt x="18451" y="23189"/>
                    </a:cubicBezTo>
                    <a:cubicBezTo>
                      <a:pt x="3575" y="38065"/>
                      <a:pt x="-11301" y="97570"/>
                      <a:pt x="12502" y="106495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FDC950E7-E06E-44BE-9C05-6BA8C10C2916}"/>
                  </a:ext>
                </a:extLst>
              </p:cNvPr>
              <p:cNvSpPr/>
              <p:nvPr/>
            </p:nvSpPr>
            <p:spPr>
              <a:xfrm>
                <a:off x="23777089" y="9497090"/>
                <a:ext cx="136885" cy="117170"/>
              </a:xfrm>
              <a:custGeom>
                <a:avLst/>
                <a:gdLst>
                  <a:gd name="connsiteX0" fmla="*/ 19621 w 136885"/>
                  <a:gd name="connsiteY0" fmla="*/ 117171 h 117170"/>
                  <a:gd name="connsiteX1" fmla="*/ 19621 w 136885"/>
                  <a:gd name="connsiteY1" fmla="*/ 117171 h 117170"/>
                  <a:gd name="connsiteX2" fmla="*/ 4745 w 136885"/>
                  <a:gd name="connsiteY2" fmla="*/ 105270 h 117170"/>
                  <a:gd name="connsiteX3" fmla="*/ 19621 w 136885"/>
                  <a:gd name="connsiteY3" fmla="*/ 24939 h 117170"/>
                  <a:gd name="connsiteX4" fmla="*/ 132678 w 136885"/>
                  <a:gd name="connsiteY4" fmla="*/ 4113 h 117170"/>
                  <a:gd name="connsiteX5" fmla="*/ 135653 w 136885"/>
                  <a:gd name="connsiteY5" fmla="*/ 10063 h 117170"/>
                  <a:gd name="connsiteX6" fmla="*/ 129702 w 136885"/>
                  <a:gd name="connsiteY6" fmla="*/ 13038 h 117170"/>
                  <a:gd name="connsiteX7" fmla="*/ 28546 w 136885"/>
                  <a:gd name="connsiteY7" fmla="*/ 27914 h 117170"/>
                  <a:gd name="connsiteX8" fmla="*/ 13670 w 136885"/>
                  <a:gd name="connsiteY8" fmla="*/ 96344 h 117170"/>
                  <a:gd name="connsiteX9" fmla="*/ 19621 w 136885"/>
                  <a:gd name="connsiteY9" fmla="*/ 102295 h 117170"/>
                  <a:gd name="connsiteX10" fmla="*/ 34497 w 136885"/>
                  <a:gd name="connsiteY10" fmla="*/ 87418 h 117170"/>
                  <a:gd name="connsiteX11" fmla="*/ 96976 w 136885"/>
                  <a:gd name="connsiteY11" fmla="*/ 54691 h 117170"/>
                  <a:gd name="connsiteX12" fmla="*/ 102926 w 136885"/>
                  <a:gd name="connsiteY12" fmla="*/ 57666 h 117170"/>
                  <a:gd name="connsiteX13" fmla="*/ 129702 w 136885"/>
                  <a:gd name="connsiteY13" fmla="*/ 93369 h 117170"/>
                  <a:gd name="connsiteX14" fmla="*/ 132678 w 136885"/>
                  <a:gd name="connsiteY14" fmla="*/ 99319 h 117170"/>
                  <a:gd name="connsiteX15" fmla="*/ 126728 w 136885"/>
                  <a:gd name="connsiteY15" fmla="*/ 102295 h 117170"/>
                  <a:gd name="connsiteX16" fmla="*/ 94001 w 136885"/>
                  <a:gd name="connsiteY16" fmla="*/ 63617 h 117170"/>
                  <a:gd name="connsiteX17" fmla="*/ 43422 w 136885"/>
                  <a:gd name="connsiteY17" fmla="*/ 93369 h 117170"/>
                  <a:gd name="connsiteX18" fmla="*/ 19621 w 136885"/>
                  <a:gd name="connsiteY18" fmla="*/ 117171 h 117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36885" h="117170">
                    <a:moveTo>
                      <a:pt x="19621" y="117171"/>
                    </a:moveTo>
                    <a:cubicBezTo>
                      <a:pt x="19621" y="117171"/>
                      <a:pt x="19621" y="117171"/>
                      <a:pt x="19621" y="117171"/>
                    </a:cubicBezTo>
                    <a:cubicBezTo>
                      <a:pt x="13670" y="117171"/>
                      <a:pt x="7719" y="114195"/>
                      <a:pt x="4745" y="105270"/>
                    </a:cubicBezTo>
                    <a:cubicBezTo>
                      <a:pt x="-4182" y="90394"/>
                      <a:pt x="-1206" y="54691"/>
                      <a:pt x="19621" y="24939"/>
                    </a:cubicBezTo>
                    <a:cubicBezTo>
                      <a:pt x="46397" y="-13738"/>
                      <a:pt x="129702" y="4113"/>
                      <a:pt x="132678" y="4113"/>
                    </a:cubicBezTo>
                    <a:cubicBezTo>
                      <a:pt x="135653" y="4113"/>
                      <a:pt x="138629" y="7088"/>
                      <a:pt x="135653" y="10063"/>
                    </a:cubicBezTo>
                    <a:cubicBezTo>
                      <a:pt x="135653" y="13038"/>
                      <a:pt x="132678" y="16014"/>
                      <a:pt x="129702" y="13038"/>
                    </a:cubicBezTo>
                    <a:cubicBezTo>
                      <a:pt x="129702" y="13038"/>
                      <a:pt x="49373" y="-4813"/>
                      <a:pt x="28546" y="27914"/>
                    </a:cubicBezTo>
                    <a:cubicBezTo>
                      <a:pt x="10694" y="54691"/>
                      <a:pt x="7719" y="84443"/>
                      <a:pt x="13670" y="96344"/>
                    </a:cubicBezTo>
                    <a:cubicBezTo>
                      <a:pt x="16645" y="102295"/>
                      <a:pt x="19621" y="102295"/>
                      <a:pt x="19621" y="102295"/>
                    </a:cubicBezTo>
                    <a:cubicBezTo>
                      <a:pt x="22595" y="102295"/>
                      <a:pt x="28546" y="96344"/>
                      <a:pt x="34497" y="87418"/>
                    </a:cubicBezTo>
                    <a:cubicBezTo>
                      <a:pt x="46397" y="72542"/>
                      <a:pt x="64249" y="51716"/>
                      <a:pt x="96976" y="54691"/>
                    </a:cubicBezTo>
                    <a:cubicBezTo>
                      <a:pt x="99950" y="54691"/>
                      <a:pt x="99950" y="57666"/>
                      <a:pt x="102926" y="57666"/>
                    </a:cubicBezTo>
                    <a:cubicBezTo>
                      <a:pt x="102926" y="57666"/>
                      <a:pt x="111852" y="84443"/>
                      <a:pt x="129702" y="93369"/>
                    </a:cubicBezTo>
                    <a:cubicBezTo>
                      <a:pt x="132678" y="93369"/>
                      <a:pt x="132678" y="96344"/>
                      <a:pt x="132678" y="99319"/>
                    </a:cubicBezTo>
                    <a:cubicBezTo>
                      <a:pt x="132678" y="102295"/>
                      <a:pt x="129702" y="102295"/>
                      <a:pt x="126728" y="102295"/>
                    </a:cubicBezTo>
                    <a:cubicBezTo>
                      <a:pt x="108877" y="96344"/>
                      <a:pt x="96976" y="72542"/>
                      <a:pt x="94001" y="63617"/>
                    </a:cubicBezTo>
                    <a:cubicBezTo>
                      <a:pt x="70198" y="63617"/>
                      <a:pt x="55322" y="78493"/>
                      <a:pt x="43422" y="93369"/>
                    </a:cubicBezTo>
                    <a:cubicBezTo>
                      <a:pt x="34497" y="111220"/>
                      <a:pt x="28546" y="117171"/>
                      <a:pt x="19621" y="117171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0" name="图形 1">
              <a:extLst>
                <a:ext uri="{FF2B5EF4-FFF2-40B4-BE49-F238E27FC236}">
                  <a16:creationId xmlns:a16="http://schemas.microsoft.com/office/drawing/2014/main" id="{D48AAA1B-1CF5-4D71-ADAB-1C2C07A986CC}"/>
                </a:ext>
              </a:extLst>
            </p:cNvPr>
            <p:cNvGrpSpPr/>
            <p:nvPr/>
          </p:nvGrpSpPr>
          <p:grpSpPr>
            <a:xfrm>
              <a:off x="25726269" y="9804582"/>
              <a:ext cx="299151" cy="226206"/>
              <a:chOff x="25726269" y="9804582"/>
              <a:chExt cx="299151" cy="226206"/>
            </a:xfrm>
          </p:grpSpPr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B5891D4C-7F07-4B6C-9F7D-0B4C38D070A1}"/>
                  </a:ext>
                </a:extLst>
              </p:cNvPr>
              <p:cNvSpPr/>
              <p:nvPr/>
            </p:nvSpPr>
            <p:spPr>
              <a:xfrm>
                <a:off x="25726269" y="9804582"/>
                <a:ext cx="186934" cy="89346"/>
              </a:xfrm>
              <a:custGeom>
                <a:avLst/>
                <a:gdLst>
                  <a:gd name="connsiteX0" fmla="*/ 63829 w 186934"/>
                  <a:gd name="connsiteY0" fmla="*/ 11991 h 89346"/>
                  <a:gd name="connsiteX1" fmla="*/ 4325 w 186934"/>
                  <a:gd name="connsiteY1" fmla="*/ 62570 h 89346"/>
                  <a:gd name="connsiteX2" fmla="*/ 22176 w 186934"/>
                  <a:gd name="connsiteY2" fmla="*/ 89347 h 89346"/>
                  <a:gd name="connsiteX3" fmla="*/ 84654 w 186934"/>
                  <a:gd name="connsiteY3" fmla="*/ 62570 h 89346"/>
                  <a:gd name="connsiteX4" fmla="*/ 150109 w 186934"/>
                  <a:gd name="connsiteY4" fmla="*/ 47694 h 89346"/>
                  <a:gd name="connsiteX5" fmla="*/ 159034 w 186934"/>
                  <a:gd name="connsiteY5" fmla="*/ 35794 h 89346"/>
                  <a:gd name="connsiteX6" fmla="*/ 182837 w 186934"/>
                  <a:gd name="connsiteY6" fmla="*/ 14967 h 89346"/>
                  <a:gd name="connsiteX7" fmla="*/ 63829 w 186934"/>
                  <a:gd name="connsiteY7" fmla="*/ 11991 h 89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6934" h="89346">
                    <a:moveTo>
                      <a:pt x="63829" y="11991"/>
                    </a:moveTo>
                    <a:cubicBezTo>
                      <a:pt x="40026" y="23893"/>
                      <a:pt x="22176" y="44719"/>
                      <a:pt x="4325" y="62570"/>
                    </a:cubicBezTo>
                    <a:cubicBezTo>
                      <a:pt x="-7576" y="74471"/>
                      <a:pt x="7300" y="89347"/>
                      <a:pt x="22176" y="89347"/>
                    </a:cubicBezTo>
                    <a:cubicBezTo>
                      <a:pt x="45977" y="86372"/>
                      <a:pt x="63829" y="71496"/>
                      <a:pt x="84654" y="62570"/>
                    </a:cubicBezTo>
                    <a:cubicBezTo>
                      <a:pt x="105481" y="53645"/>
                      <a:pt x="129282" y="59595"/>
                      <a:pt x="150109" y="47694"/>
                    </a:cubicBezTo>
                    <a:cubicBezTo>
                      <a:pt x="156060" y="44719"/>
                      <a:pt x="156060" y="41744"/>
                      <a:pt x="159034" y="35794"/>
                    </a:cubicBezTo>
                    <a:cubicBezTo>
                      <a:pt x="167961" y="26867"/>
                      <a:pt x="197714" y="23893"/>
                      <a:pt x="182837" y="14967"/>
                    </a:cubicBezTo>
                    <a:cubicBezTo>
                      <a:pt x="144158" y="-8834"/>
                      <a:pt x="90605" y="91"/>
                      <a:pt x="63829" y="11991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0DB1BF08-8031-4198-9D92-C79DD66D96CE}"/>
                  </a:ext>
                </a:extLst>
              </p:cNvPr>
              <p:cNvSpPr/>
              <p:nvPr/>
            </p:nvSpPr>
            <p:spPr>
              <a:xfrm>
                <a:off x="25766295" y="9806612"/>
                <a:ext cx="259125" cy="217475"/>
              </a:xfrm>
              <a:custGeom>
                <a:avLst/>
                <a:gdLst>
                  <a:gd name="connsiteX0" fmla="*/ 124959 w 259125"/>
                  <a:gd name="connsiteY0" fmla="*/ 203350 h 217475"/>
                  <a:gd name="connsiteX1" fmla="*/ 77356 w 259125"/>
                  <a:gd name="connsiteY1" fmla="*/ 188474 h 217475"/>
                  <a:gd name="connsiteX2" fmla="*/ 41654 w 259125"/>
                  <a:gd name="connsiteY2" fmla="*/ 152772 h 217475"/>
                  <a:gd name="connsiteX3" fmla="*/ 0 w 259125"/>
                  <a:gd name="connsiteY3" fmla="*/ 143846 h 217475"/>
                  <a:gd name="connsiteX4" fmla="*/ 5951 w 259125"/>
                  <a:gd name="connsiteY4" fmla="*/ 123020 h 217475"/>
                  <a:gd name="connsiteX5" fmla="*/ 2976 w 259125"/>
                  <a:gd name="connsiteY5" fmla="*/ 123020 h 217475"/>
                  <a:gd name="connsiteX6" fmla="*/ 71406 w 259125"/>
                  <a:gd name="connsiteY6" fmla="*/ 45665 h 217475"/>
                  <a:gd name="connsiteX7" fmla="*/ 74380 w 259125"/>
                  <a:gd name="connsiteY7" fmla="*/ 42689 h 217475"/>
                  <a:gd name="connsiteX8" fmla="*/ 74380 w 259125"/>
                  <a:gd name="connsiteY8" fmla="*/ 42689 h 217475"/>
                  <a:gd name="connsiteX9" fmla="*/ 148760 w 259125"/>
                  <a:gd name="connsiteY9" fmla="*/ 1036 h 217475"/>
                  <a:gd name="connsiteX10" fmla="*/ 258843 w 259125"/>
                  <a:gd name="connsiteY10" fmla="*/ 81367 h 217475"/>
                  <a:gd name="connsiteX11" fmla="*/ 208264 w 259125"/>
                  <a:gd name="connsiteY11" fmla="*/ 170624 h 217475"/>
                  <a:gd name="connsiteX12" fmla="*/ 208264 w 259125"/>
                  <a:gd name="connsiteY12" fmla="*/ 170624 h 217475"/>
                  <a:gd name="connsiteX13" fmla="*/ 151737 w 259125"/>
                  <a:gd name="connsiteY13" fmla="*/ 215252 h 217475"/>
                  <a:gd name="connsiteX14" fmla="*/ 124959 w 259125"/>
                  <a:gd name="connsiteY14" fmla="*/ 203350 h 217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9125" h="217475">
                    <a:moveTo>
                      <a:pt x="124959" y="203350"/>
                    </a:moveTo>
                    <a:cubicBezTo>
                      <a:pt x="83307" y="221202"/>
                      <a:pt x="77356" y="188474"/>
                      <a:pt x="77356" y="188474"/>
                    </a:cubicBezTo>
                    <a:cubicBezTo>
                      <a:pt x="26778" y="197400"/>
                      <a:pt x="41654" y="152772"/>
                      <a:pt x="41654" y="152772"/>
                    </a:cubicBezTo>
                    <a:cubicBezTo>
                      <a:pt x="41654" y="152772"/>
                      <a:pt x="5951" y="173598"/>
                      <a:pt x="0" y="143846"/>
                    </a:cubicBezTo>
                    <a:cubicBezTo>
                      <a:pt x="0" y="137896"/>
                      <a:pt x="2976" y="131945"/>
                      <a:pt x="5951" y="123020"/>
                    </a:cubicBezTo>
                    <a:cubicBezTo>
                      <a:pt x="5951" y="123020"/>
                      <a:pt x="2976" y="123020"/>
                      <a:pt x="2976" y="123020"/>
                    </a:cubicBezTo>
                    <a:cubicBezTo>
                      <a:pt x="2976" y="123020"/>
                      <a:pt x="29752" y="81367"/>
                      <a:pt x="71406" y="45665"/>
                    </a:cubicBezTo>
                    <a:cubicBezTo>
                      <a:pt x="74380" y="42689"/>
                      <a:pt x="74380" y="42689"/>
                      <a:pt x="74380" y="42689"/>
                    </a:cubicBezTo>
                    <a:lnTo>
                      <a:pt x="74380" y="42689"/>
                    </a:lnTo>
                    <a:cubicBezTo>
                      <a:pt x="92232" y="30788"/>
                      <a:pt x="127935" y="9962"/>
                      <a:pt x="148760" y="1036"/>
                    </a:cubicBezTo>
                    <a:cubicBezTo>
                      <a:pt x="172563" y="-7889"/>
                      <a:pt x="249918" y="42689"/>
                      <a:pt x="258843" y="81367"/>
                    </a:cubicBezTo>
                    <a:cubicBezTo>
                      <a:pt x="261820" y="99218"/>
                      <a:pt x="240993" y="140872"/>
                      <a:pt x="208264" y="170624"/>
                    </a:cubicBezTo>
                    <a:lnTo>
                      <a:pt x="208264" y="170624"/>
                    </a:lnTo>
                    <a:cubicBezTo>
                      <a:pt x="208264" y="170624"/>
                      <a:pt x="181489" y="209301"/>
                      <a:pt x="151737" y="215252"/>
                    </a:cubicBezTo>
                    <a:cubicBezTo>
                      <a:pt x="127935" y="224177"/>
                      <a:pt x="124959" y="203350"/>
                      <a:pt x="124959" y="203350"/>
                    </a:cubicBezTo>
                    <a:close/>
                  </a:path>
                </a:pathLst>
              </a:custGeom>
              <a:solidFill>
                <a:srgbClr val="F49F84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1555A483-45EB-4489-9266-0A1CBA861FC9}"/>
                  </a:ext>
                </a:extLst>
              </p:cNvPr>
              <p:cNvSpPr/>
              <p:nvPr/>
            </p:nvSpPr>
            <p:spPr>
              <a:xfrm>
                <a:off x="25760020" y="9844095"/>
                <a:ext cx="228672" cy="186694"/>
              </a:xfrm>
              <a:custGeom>
                <a:avLst/>
                <a:gdLst>
                  <a:gd name="connsiteX0" fmla="*/ 152061 w 228672"/>
                  <a:gd name="connsiteY0" fmla="*/ 186694 h 186694"/>
                  <a:gd name="connsiteX1" fmla="*/ 134211 w 228672"/>
                  <a:gd name="connsiteY1" fmla="*/ 180743 h 186694"/>
                  <a:gd name="connsiteX2" fmla="*/ 125283 w 228672"/>
                  <a:gd name="connsiteY2" fmla="*/ 171818 h 186694"/>
                  <a:gd name="connsiteX3" fmla="*/ 89582 w 228672"/>
                  <a:gd name="connsiteY3" fmla="*/ 171818 h 186694"/>
                  <a:gd name="connsiteX4" fmla="*/ 77681 w 228672"/>
                  <a:gd name="connsiteY4" fmla="*/ 156942 h 186694"/>
                  <a:gd name="connsiteX5" fmla="*/ 44954 w 228672"/>
                  <a:gd name="connsiteY5" fmla="*/ 148017 h 186694"/>
                  <a:gd name="connsiteX6" fmla="*/ 39004 w 228672"/>
                  <a:gd name="connsiteY6" fmla="*/ 124215 h 186694"/>
                  <a:gd name="connsiteX7" fmla="*/ 12226 w 228672"/>
                  <a:gd name="connsiteY7" fmla="*/ 124215 h 186694"/>
                  <a:gd name="connsiteX8" fmla="*/ 326 w 228672"/>
                  <a:gd name="connsiteY8" fmla="*/ 106363 h 186694"/>
                  <a:gd name="connsiteX9" fmla="*/ 77681 w 228672"/>
                  <a:gd name="connsiteY9" fmla="*/ 2231 h 186694"/>
                  <a:gd name="connsiteX10" fmla="*/ 86606 w 228672"/>
                  <a:gd name="connsiteY10" fmla="*/ 2231 h 186694"/>
                  <a:gd name="connsiteX11" fmla="*/ 86606 w 228672"/>
                  <a:gd name="connsiteY11" fmla="*/ 11157 h 186694"/>
                  <a:gd name="connsiteX12" fmla="*/ 12226 w 228672"/>
                  <a:gd name="connsiteY12" fmla="*/ 106363 h 186694"/>
                  <a:gd name="connsiteX13" fmla="*/ 18177 w 228672"/>
                  <a:gd name="connsiteY13" fmla="*/ 115289 h 186694"/>
                  <a:gd name="connsiteX14" fmla="*/ 44954 w 228672"/>
                  <a:gd name="connsiteY14" fmla="*/ 109338 h 186694"/>
                  <a:gd name="connsiteX15" fmla="*/ 50903 w 228672"/>
                  <a:gd name="connsiteY15" fmla="*/ 109338 h 186694"/>
                  <a:gd name="connsiteX16" fmla="*/ 53880 w 228672"/>
                  <a:gd name="connsiteY16" fmla="*/ 115289 h 186694"/>
                  <a:gd name="connsiteX17" fmla="*/ 56854 w 228672"/>
                  <a:gd name="connsiteY17" fmla="*/ 139091 h 186694"/>
                  <a:gd name="connsiteX18" fmla="*/ 83632 w 228672"/>
                  <a:gd name="connsiteY18" fmla="*/ 142066 h 186694"/>
                  <a:gd name="connsiteX19" fmla="*/ 89582 w 228672"/>
                  <a:gd name="connsiteY19" fmla="*/ 148017 h 186694"/>
                  <a:gd name="connsiteX20" fmla="*/ 98508 w 228672"/>
                  <a:gd name="connsiteY20" fmla="*/ 159917 h 186694"/>
                  <a:gd name="connsiteX21" fmla="*/ 128260 w 228672"/>
                  <a:gd name="connsiteY21" fmla="*/ 156942 h 186694"/>
                  <a:gd name="connsiteX22" fmla="*/ 134211 w 228672"/>
                  <a:gd name="connsiteY22" fmla="*/ 156942 h 186694"/>
                  <a:gd name="connsiteX23" fmla="*/ 137185 w 228672"/>
                  <a:gd name="connsiteY23" fmla="*/ 159917 h 186694"/>
                  <a:gd name="connsiteX24" fmla="*/ 143136 w 228672"/>
                  <a:gd name="connsiteY24" fmla="*/ 168843 h 186694"/>
                  <a:gd name="connsiteX25" fmla="*/ 163963 w 228672"/>
                  <a:gd name="connsiteY25" fmla="*/ 168843 h 186694"/>
                  <a:gd name="connsiteX26" fmla="*/ 217516 w 228672"/>
                  <a:gd name="connsiteY26" fmla="*/ 124215 h 186694"/>
                  <a:gd name="connsiteX27" fmla="*/ 226441 w 228672"/>
                  <a:gd name="connsiteY27" fmla="*/ 124215 h 186694"/>
                  <a:gd name="connsiteX28" fmla="*/ 226441 w 228672"/>
                  <a:gd name="connsiteY28" fmla="*/ 133141 h 186694"/>
                  <a:gd name="connsiteX29" fmla="*/ 166937 w 228672"/>
                  <a:gd name="connsiteY29" fmla="*/ 180743 h 186694"/>
                  <a:gd name="connsiteX30" fmla="*/ 152061 w 228672"/>
                  <a:gd name="connsiteY30" fmla="*/ 186694 h 186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28672" h="186694">
                    <a:moveTo>
                      <a:pt x="152061" y="186694"/>
                    </a:moveTo>
                    <a:cubicBezTo>
                      <a:pt x="146110" y="186694"/>
                      <a:pt x="140160" y="183719"/>
                      <a:pt x="134211" y="180743"/>
                    </a:cubicBezTo>
                    <a:cubicBezTo>
                      <a:pt x="131234" y="177769"/>
                      <a:pt x="128260" y="174793"/>
                      <a:pt x="125283" y="171818"/>
                    </a:cubicBezTo>
                    <a:cubicBezTo>
                      <a:pt x="110407" y="177769"/>
                      <a:pt x="98508" y="174793"/>
                      <a:pt x="89582" y="171818"/>
                    </a:cubicBezTo>
                    <a:cubicBezTo>
                      <a:pt x="83632" y="168843"/>
                      <a:pt x="77681" y="162893"/>
                      <a:pt x="77681" y="156942"/>
                    </a:cubicBezTo>
                    <a:cubicBezTo>
                      <a:pt x="62805" y="159917"/>
                      <a:pt x="50903" y="156942"/>
                      <a:pt x="44954" y="148017"/>
                    </a:cubicBezTo>
                    <a:cubicBezTo>
                      <a:pt x="39004" y="142066"/>
                      <a:pt x="39004" y="133141"/>
                      <a:pt x="39004" y="124215"/>
                    </a:cubicBezTo>
                    <a:cubicBezTo>
                      <a:pt x="30078" y="127190"/>
                      <a:pt x="21151" y="130165"/>
                      <a:pt x="12226" y="124215"/>
                    </a:cubicBezTo>
                    <a:cubicBezTo>
                      <a:pt x="6275" y="121239"/>
                      <a:pt x="326" y="118265"/>
                      <a:pt x="326" y="106363"/>
                    </a:cubicBezTo>
                    <a:cubicBezTo>
                      <a:pt x="-5625" y="73637"/>
                      <a:pt x="71730" y="8182"/>
                      <a:pt x="77681" y="2231"/>
                    </a:cubicBezTo>
                    <a:cubicBezTo>
                      <a:pt x="80655" y="-744"/>
                      <a:pt x="83632" y="-744"/>
                      <a:pt x="86606" y="2231"/>
                    </a:cubicBezTo>
                    <a:cubicBezTo>
                      <a:pt x="89582" y="5206"/>
                      <a:pt x="89582" y="8182"/>
                      <a:pt x="86606" y="11157"/>
                    </a:cubicBezTo>
                    <a:cubicBezTo>
                      <a:pt x="56854" y="37934"/>
                      <a:pt x="9251" y="85537"/>
                      <a:pt x="12226" y="106363"/>
                    </a:cubicBezTo>
                    <a:cubicBezTo>
                      <a:pt x="12226" y="115289"/>
                      <a:pt x="18177" y="115289"/>
                      <a:pt x="18177" y="115289"/>
                    </a:cubicBezTo>
                    <a:cubicBezTo>
                      <a:pt x="27102" y="118265"/>
                      <a:pt x="39004" y="112314"/>
                      <a:pt x="44954" y="109338"/>
                    </a:cubicBezTo>
                    <a:cubicBezTo>
                      <a:pt x="47929" y="109338"/>
                      <a:pt x="50903" y="109338"/>
                      <a:pt x="50903" y="109338"/>
                    </a:cubicBezTo>
                    <a:cubicBezTo>
                      <a:pt x="53880" y="112314"/>
                      <a:pt x="53880" y="112314"/>
                      <a:pt x="53880" y="115289"/>
                    </a:cubicBezTo>
                    <a:cubicBezTo>
                      <a:pt x="50903" y="118265"/>
                      <a:pt x="50903" y="133141"/>
                      <a:pt x="56854" y="139091"/>
                    </a:cubicBezTo>
                    <a:cubicBezTo>
                      <a:pt x="62805" y="145041"/>
                      <a:pt x="74706" y="145041"/>
                      <a:pt x="83632" y="142066"/>
                    </a:cubicBezTo>
                    <a:cubicBezTo>
                      <a:pt x="86606" y="142066"/>
                      <a:pt x="89582" y="145041"/>
                      <a:pt x="89582" y="148017"/>
                    </a:cubicBezTo>
                    <a:cubicBezTo>
                      <a:pt x="89582" y="148017"/>
                      <a:pt x="92557" y="156942"/>
                      <a:pt x="98508" y="159917"/>
                    </a:cubicBezTo>
                    <a:cubicBezTo>
                      <a:pt x="104458" y="162893"/>
                      <a:pt x="116358" y="162893"/>
                      <a:pt x="128260" y="156942"/>
                    </a:cubicBezTo>
                    <a:cubicBezTo>
                      <a:pt x="131234" y="156942"/>
                      <a:pt x="131234" y="156942"/>
                      <a:pt x="134211" y="156942"/>
                    </a:cubicBezTo>
                    <a:cubicBezTo>
                      <a:pt x="137185" y="156942"/>
                      <a:pt x="137185" y="159917"/>
                      <a:pt x="137185" y="159917"/>
                    </a:cubicBezTo>
                    <a:cubicBezTo>
                      <a:pt x="137185" y="159917"/>
                      <a:pt x="137185" y="165867"/>
                      <a:pt x="143136" y="168843"/>
                    </a:cubicBezTo>
                    <a:cubicBezTo>
                      <a:pt x="146110" y="171818"/>
                      <a:pt x="155036" y="171818"/>
                      <a:pt x="163963" y="168843"/>
                    </a:cubicBezTo>
                    <a:cubicBezTo>
                      <a:pt x="190738" y="162893"/>
                      <a:pt x="214540" y="127190"/>
                      <a:pt x="217516" y="124215"/>
                    </a:cubicBezTo>
                    <a:cubicBezTo>
                      <a:pt x="220490" y="121239"/>
                      <a:pt x="223467" y="121239"/>
                      <a:pt x="226441" y="124215"/>
                    </a:cubicBezTo>
                    <a:cubicBezTo>
                      <a:pt x="229416" y="127190"/>
                      <a:pt x="229416" y="130165"/>
                      <a:pt x="226441" y="133141"/>
                    </a:cubicBezTo>
                    <a:cubicBezTo>
                      <a:pt x="226441" y="136115"/>
                      <a:pt x="196689" y="174793"/>
                      <a:pt x="166937" y="180743"/>
                    </a:cubicBezTo>
                    <a:cubicBezTo>
                      <a:pt x="158012" y="186694"/>
                      <a:pt x="155036" y="186694"/>
                      <a:pt x="152061" y="186694"/>
                    </a:cubicBezTo>
                    <a:close/>
                  </a:path>
                </a:pathLst>
              </a:custGeom>
              <a:solidFill>
                <a:srgbClr val="E87952"/>
              </a:solidFill>
              <a:ln w="297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69" name="图形 1">
            <a:extLst>
              <a:ext uri="{FF2B5EF4-FFF2-40B4-BE49-F238E27FC236}">
                <a16:creationId xmlns:a16="http://schemas.microsoft.com/office/drawing/2014/main" id="{ED9D4323-D57F-4D30-96CE-6D73C3C2AD1C}"/>
              </a:ext>
            </a:extLst>
          </p:cNvPr>
          <p:cNvGrpSpPr/>
          <p:nvPr/>
        </p:nvGrpSpPr>
        <p:grpSpPr>
          <a:xfrm>
            <a:off x="1996847" y="1933654"/>
            <a:ext cx="4040330" cy="4924346"/>
            <a:chOff x="18780511" y="7584789"/>
            <a:chExt cx="4040330" cy="4924346"/>
          </a:xfrm>
        </p:grpSpPr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5C07C1BC-432C-48BB-AC4B-32198122E286}"/>
                </a:ext>
              </a:extLst>
            </p:cNvPr>
            <p:cNvSpPr/>
            <p:nvPr/>
          </p:nvSpPr>
          <p:spPr>
            <a:xfrm>
              <a:off x="18780511" y="12152111"/>
              <a:ext cx="4040330" cy="357024"/>
            </a:xfrm>
            <a:custGeom>
              <a:avLst/>
              <a:gdLst>
                <a:gd name="connsiteX0" fmla="*/ 0 w 4040330"/>
                <a:gd name="connsiteY0" fmla="*/ 342149 h 357024"/>
                <a:gd name="connsiteX1" fmla="*/ 4040330 w 4040330"/>
                <a:gd name="connsiteY1" fmla="*/ 357025 h 357024"/>
                <a:gd name="connsiteX2" fmla="*/ 3397686 w 4040330"/>
                <a:gd name="connsiteY2" fmla="*/ 17851 h 357024"/>
                <a:gd name="connsiteX3" fmla="*/ 645620 w 4040330"/>
                <a:gd name="connsiteY3" fmla="*/ 0 h 35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40330" h="357024">
                  <a:moveTo>
                    <a:pt x="0" y="342149"/>
                  </a:moveTo>
                  <a:lnTo>
                    <a:pt x="4040330" y="357025"/>
                  </a:lnTo>
                  <a:lnTo>
                    <a:pt x="3397686" y="17851"/>
                  </a:lnTo>
                  <a:lnTo>
                    <a:pt x="645620" y="0"/>
                  </a:lnTo>
                  <a:close/>
                </a:path>
              </a:pathLst>
            </a:custGeom>
            <a:solidFill>
              <a:srgbClr val="708686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5D25992F-34CE-4399-80C6-75056CD1F2ED}"/>
                </a:ext>
              </a:extLst>
            </p:cNvPr>
            <p:cNvSpPr/>
            <p:nvPr/>
          </p:nvSpPr>
          <p:spPr>
            <a:xfrm>
              <a:off x="21580005" y="12063092"/>
              <a:ext cx="408135" cy="276917"/>
            </a:xfrm>
            <a:custGeom>
              <a:avLst/>
              <a:gdLst>
                <a:gd name="connsiteX0" fmla="*/ 172738 w 408135"/>
                <a:gd name="connsiteY0" fmla="*/ 124722 h 276917"/>
                <a:gd name="connsiteX1" fmla="*/ 128110 w 408135"/>
                <a:gd name="connsiteY1" fmla="*/ 5714 h 276917"/>
                <a:gd name="connsiteX2" fmla="*/ 176 w 408135"/>
                <a:gd name="connsiteY2" fmla="*/ 17615 h 276917"/>
                <a:gd name="connsiteX3" fmla="*/ 29929 w 408135"/>
                <a:gd name="connsiteY3" fmla="*/ 157450 h 276917"/>
                <a:gd name="connsiteX4" fmla="*/ 32903 w 408135"/>
                <a:gd name="connsiteY4" fmla="*/ 264557 h 276917"/>
                <a:gd name="connsiteX5" fmla="*/ 407778 w 408135"/>
                <a:gd name="connsiteY5" fmla="*/ 270507 h 276917"/>
                <a:gd name="connsiteX6" fmla="*/ 172738 w 408135"/>
                <a:gd name="connsiteY6" fmla="*/ 124722 h 276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135" h="276917">
                  <a:moveTo>
                    <a:pt x="172738" y="124722"/>
                  </a:moveTo>
                  <a:cubicBezTo>
                    <a:pt x="163813" y="103895"/>
                    <a:pt x="134061" y="14639"/>
                    <a:pt x="128110" y="5714"/>
                  </a:cubicBezTo>
                  <a:cubicBezTo>
                    <a:pt x="116208" y="-9162"/>
                    <a:pt x="3151" y="8689"/>
                    <a:pt x="176" y="17615"/>
                  </a:cubicBezTo>
                  <a:cubicBezTo>
                    <a:pt x="-2800" y="41417"/>
                    <a:pt x="32903" y="151499"/>
                    <a:pt x="29929" y="157450"/>
                  </a:cubicBezTo>
                  <a:cubicBezTo>
                    <a:pt x="29929" y="157450"/>
                    <a:pt x="6125" y="258607"/>
                    <a:pt x="32903" y="264557"/>
                  </a:cubicBezTo>
                  <a:cubicBezTo>
                    <a:pt x="59681" y="270507"/>
                    <a:pt x="404804" y="285383"/>
                    <a:pt x="407778" y="270507"/>
                  </a:cubicBezTo>
                  <a:cubicBezTo>
                    <a:pt x="416705" y="213978"/>
                    <a:pt x="256043" y="184226"/>
                    <a:pt x="172738" y="124722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DEE7BC95-5296-4DF7-A064-C2B272C2C9B8}"/>
                </a:ext>
              </a:extLst>
            </p:cNvPr>
            <p:cNvSpPr/>
            <p:nvPr/>
          </p:nvSpPr>
          <p:spPr>
            <a:xfrm>
              <a:off x="19580485" y="12065420"/>
              <a:ext cx="402219" cy="271614"/>
            </a:xfrm>
            <a:custGeom>
              <a:avLst/>
              <a:gdLst>
                <a:gd name="connsiteX0" fmla="*/ 235397 w 402219"/>
                <a:gd name="connsiteY0" fmla="*/ 122394 h 271614"/>
                <a:gd name="connsiteX1" fmla="*/ 274076 w 402219"/>
                <a:gd name="connsiteY1" fmla="*/ 9337 h 271614"/>
                <a:gd name="connsiteX2" fmla="*/ 402010 w 402219"/>
                <a:gd name="connsiteY2" fmla="*/ 6361 h 271614"/>
                <a:gd name="connsiteX3" fmla="*/ 378209 w 402219"/>
                <a:gd name="connsiteY3" fmla="*/ 152146 h 271614"/>
                <a:gd name="connsiteX4" fmla="*/ 375232 w 402219"/>
                <a:gd name="connsiteY4" fmla="*/ 259254 h 271614"/>
                <a:gd name="connsiteX5" fmla="*/ 357 w 402219"/>
                <a:gd name="connsiteY5" fmla="*/ 265204 h 271614"/>
                <a:gd name="connsiteX6" fmla="*/ 235397 w 402219"/>
                <a:gd name="connsiteY6" fmla="*/ 122394 h 271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219" h="271614">
                  <a:moveTo>
                    <a:pt x="235397" y="122394"/>
                  </a:moveTo>
                  <a:cubicBezTo>
                    <a:pt x="244324" y="101567"/>
                    <a:pt x="265149" y="21237"/>
                    <a:pt x="274076" y="9337"/>
                  </a:cubicBezTo>
                  <a:cubicBezTo>
                    <a:pt x="285976" y="-5539"/>
                    <a:pt x="402010" y="411"/>
                    <a:pt x="402010" y="6361"/>
                  </a:cubicBezTo>
                  <a:cubicBezTo>
                    <a:pt x="404984" y="30163"/>
                    <a:pt x="375232" y="146195"/>
                    <a:pt x="378209" y="152146"/>
                  </a:cubicBezTo>
                  <a:cubicBezTo>
                    <a:pt x="378209" y="152146"/>
                    <a:pt x="402010" y="253303"/>
                    <a:pt x="375232" y="259254"/>
                  </a:cubicBezTo>
                  <a:cubicBezTo>
                    <a:pt x="348456" y="265204"/>
                    <a:pt x="3331" y="280080"/>
                    <a:pt x="357" y="265204"/>
                  </a:cubicBezTo>
                  <a:cubicBezTo>
                    <a:pt x="-8568" y="211650"/>
                    <a:pt x="152092" y="181898"/>
                    <a:pt x="235397" y="122394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29ADDF71-274F-4DC5-90A9-68BBF44B3DD5}"/>
                </a:ext>
              </a:extLst>
            </p:cNvPr>
            <p:cNvSpPr/>
            <p:nvPr/>
          </p:nvSpPr>
          <p:spPr>
            <a:xfrm>
              <a:off x="20185510" y="7841596"/>
              <a:ext cx="570538" cy="935021"/>
            </a:xfrm>
            <a:custGeom>
              <a:avLst/>
              <a:gdLst>
                <a:gd name="connsiteX0" fmla="*/ 278969 w 570538"/>
                <a:gd name="connsiteY0" fmla="*/ 862251 h 935021"/>
                <a:gd name="connsiteX1" fmla="*/ 189713 w 570538"/>
                <a:gd name="connsiteY1" fmla="*/ 344565 h 935021"/>
                <a:gd name="connsiteX2" fmla="*/ 570539 w 570538"/>
                <a:gd name="connsiteY2" fmla="*/ 85722 h 935021"/>
                <a:gd name="connsiteX3" fmla="*/ 528885 w 570538"/>
                <a:gd name="connsiteY3" fmla="*/ 2417 h 935021"/>
                <a:gd name="connsiteX4" fmla="*/ 32025 w 570538"/>
                <a:gd name="connsiteY4" fmla="*/ 246383 h 935021"/>
                <a:gd name="connsiteX5" fmla="*/ 26076 w 570538"/>
                <a:gd name="connsiteY5" fmla="*/ 787871 h 935021"/>
                <a:gd name="connsiteX6" fmla="*/ 278969 w 570538"/>
                <a:gd name="connsiteY6" fmla="*/ 862251 h 935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0538" h="935021">
                  <a:moveTo>
                    <a:pt x="278969" y="862251"/>
                  </a:moveTo>
                  <a:cubicBezTo>
                    <a:pt x="264093" y="752169"/>
                    <a:pt x="189713" y="344565"/>
                    <a:pt x="189713" y="344565"/>
                  </a:cubicBezTo>
                  <a:cubicBezTo>
                    <a:pt x="189713" y="344565"/>
                    <a:pt x="570539" y="91673"/>
                    <a:pt x="570539" y="85722"/>
                  </a:cubicBezTo>
                  <a:cubicBezTo>
                    <a:pt x="549712" y="23243"/>
                    <a:pt x="564588" y="-9484"/>
                    <a:pt x="528885" y="2417"/>
                  </a:cubicBezTo>
                  <a:cubicBezTo>
                    <a:pt x="519960" y="5392"/>
                    <a:pt x="204589" y="73821"/>
                    <a:pt x="32025" y="246383"/>
                  </a:cubicBezTo>
                  <a:cubicBezTo>
                    <a:pt x="-15577" y="293987"/>
                    <a:pt x="-3676" y="642086"/>
                    <a:pt x="26076" y="787871"/>
                  </a:cubicBezTo>
                  <a:cubicBezTo>
                    <a:pt x="40952" y="868202"/>
                    <a:pt x="299794" y="1028863"/>
                    <a:pt x="278969" y="862251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8BDD3EBC-4519-43DF-9D5C-B939AC1BD710}"/>
                </a:ext>
              </a:extLst>
            </p:cNvPr>
            <p:cNvSpPr/>
            <p:nvPr/>
          </p:nvSpPr>
          <p:spPr>
            <a:xfrm>
              <a:off x="20756049" y="7874230"/>
              <a:ext cx="666445" cy="781800"/>
            </a:xfrm>
            <a:custGeom>
              <a:avLst/>
              <a:gdLst>
                <a:gd name="connsiteX0" fmla="*/ 0 w 666445"/>
                <a:gd name="connsiteY0" fmla="*/ 172096 h 781800"/>
                <a:gd name="connsiteX1" fmla="*/ 327273 w 666445"/>
                <a:gd name="connsiteY1" fmla="*/ 2509 h 781800"/>
                <a:gd name="connsiteX2" fmla="*/ 568264 w 666445"/>
                <a:gd name="connsiteY2" fmla="*/ 416063 h 781800"/>
                <a:gd name="connsiteX3" fmla="*/ 666445 w 666445"/>
                <a:gd name="connsiteY3" fmla="*/ 704658 h 781800"/>
                <a:gd name="connsiteX4" fmla="*/ 345123 w 666445"/>
                <a:gd name="connsiteY4" fmla="*/ 701683 h 781800"/>
                <a:gd name="connsiteX5" fmla="*/ 148760 w 666445"/>
                <a:gd name="connsiteY5" fmla="*/ 228625 h 781800"/>
                <a:gd name="connsiteX6" fmla="*/ 0 w 666445"/>
                <a:gd name="connsiteY6" fmla="*/ 172096 h 78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445" h="781800">
                  <a:moveTo>
                    <a:pt x="0" y="172096"/>
                  </a:moveTo>
                  <a:cubicBezTo>
                    <a:pt x="0" y="172096"/>
                    <a:pt x="32727" y="-24268"/>
                    <a:pt x="327273" y="2509"/>
                  </a:cubicBezTo>
                  <a:cubicBezTo>
                    <a:pt x="508760" y="17385"/>
                    <a:pt x="598016" y="288129"/>
                    <a:pt x="568264" y="416063"/>
                  </a:cubicBezTo>
                  <a:cubicBezTo>
                    <a:pt x="538512" y="543997"/>
                    <a:pt x="559339" y="654079"/>
                    <a:pt x="666445" y="704658"/>
                  </a:cubicBezTo>
                  <a:cubicBezTo>
                    <a:pt x="666445" y="704658"/>
                    <a:pt x="455206" y="880195"/>
                    <a:pt x="345123" y="701683"/>
                  </a:cubicBezTo>
                  <a:cubicBezTo>
                    <a:pt x="300495" y="627303"/>
                    <a:pt x="285619" y="267302"/>
                    <a:pt x="148760" y="228625"/>
                  </a:cubicBezTo>
                  <a:cubicBezTo>
                    <a:pt x="86280" y="210774"/>
                    <a:pt x="0" y="172096"/>
                    <a:pt x="0" y="172096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A10B0E3C-E107-43CA-8C52-EC83058B1B81}"/>
                </a:ext>
              </a:extLst>
            </p:cNvPr>
            <p:cNvSpPr/>
            <p:nvPr/>
          </p:nvSpPr>
          <p:spPr>
            <a:xfrm>
              <a:off x="21229105" y="8418227"/>
              <a:ext cx="193388" cy="163636"/>
            </a:xfrm>
            <a:custGeom>
              <a:avLst/>
              <a:gdLst>
                <a:gd name="connsiteX0" fmla="*/ 184463 w 193388"/>
                <a:gd name="connsiteY0" fmla="*/ 163636 h 163636"/>
                <a:gd name="connsiteX1" fmla="*/ 0 w 193388"/>
                <a:gd name="connsiteY1" fmla="*/ 5950 h 163636"/>
                <a:gd name="connsiteX2" fmla="*/ 2976 w 193388"/>
                <a:gd name="connsiteY2" fmla="*/ 0 h 163636"/>
                <a:gd name="connsiteX3" fmla="*/ 8927 w 193388"/>
                <a:gd name="connsiteY3" fmla="*/ 2975 h 163636"/>
                <a:gd name="connsiteX4" fmla="*/ 187439 w 193388"/>
                <a:gd name="connsiteY4" fmla="*/ 151735 h 163636"/>
                <a:gd name="connsiteX5" fmla="*/ 193388 w 193388"/>
                <a:gd name="connsiteY5" fmla="*/ 157686 h 163636"/>
                <a:gd name="connsiteX6" fmla="*/ 187439 w 193388"/>
                <a:gd name="connsiteY6" fmla="*/ 163636 h 163636"/>
                <a:gd name="connsiteX7" fmla="*/ 184463 w 193388"/>
                <a:gd name="connsiteY7" fmla="*/ 163636 h 163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3388" h="163636">
                  <a:moveTo>
                    <a:pt x="184463" y="163636"/>
                  </a:moveTo>
                  <a:cubicBezTo>
                    <a:pt x="154711" y="163636"/>
                    <a:pt x="44628" y="151735"/>
                    <a:pt x="0" y="5950"/>
                  </a:cubicBezTo>
                  <a:cubicBezTo>
                    <a:pt x="0" y="2975"/>
                    <a:pt x="0" y="0"/>
                    <a:pt x="2976" y="0"/>
                  </a:cubicBezTo>
                  <a:cubicBezTo>
                    <a:pt x="5951" y="0"/>
                    <a:pt x="8927" y="0"/>
                    <a:pt x="8927" y="2975"/>
                  </a:cubicBezTo>
                  <a:cubicBezTo>
                    <a:pt x="56530" y="163636"/>
                    <a:pt x="184463" y="154711"/>
                    <a:pt x="187439" y="151735"/>
                  </a:cubicBezTo>
                  <a:cubicBezTo>
                    <a:pt x="190414" y="151735"/>
                    <a:pt x="193388" y="154711"/>
                    <a:pt x="193388" y="157686"/>
                  </a:cubicBezTo>
                  <a:cubicBezTo>
                    <a:pt x="193388" y="160661"/>
                    <a:pt x="190414" y="163636"/>
                    <a:pt x="187439" y="163636"/>
                  </a:cubicBezTo>
                  <a:cubicBezTo>
                    <a:pt x="193388" y="163636"/>
                    <a:pt x="190414" y="163636"/>
                    <a:pt x="184463" y="163636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BAD77662-995F-4AA0-B731-86D22E78BF60}"/>
                </a:ext>
              </a:extLst>
            </p:cNvPr>
            <p:cNvSpPr/>
            <p:nvPr/>
          </p:nvSpPr>
          <p:spPr>
            <a:xfrm>
              <a:off x="20681635" y="8027230"/>
              <a:ext cx="225991" cy="146860"/>
            </a:xfrm>
            <a:custGeom>
              <a:avLst/>
              <a:gdLst>
                <a:gd name="connsiteX0" fmla="*/ 33 w 225991"/>
                <a:gd name="connsiteY0" fmla="*/ 66699 h 146860"/>
                <a:gd name="connsiteX1" fmla="*/ 116065 w 225991"/>
                <a:gd name="connsiteY1" fmla="*/ 1245 h 146860"/>
                <a:gd name="connsiteX2" fmla="*/ 220197 w 225991"/>
                <a:gd name="connsiteY2" fmla="*/ 120253 h 146860"/>
                <a:gd name="connsiteX3" fmla="*/ 33 w 225991"/>
                <a:gd name="connsiteY3" fmla="*/ 66699 h 146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5991" h="146860">
                  <a:moveTo>
                    <a:pt x="33" y="66699"/>
                  </a:moveTo>
                  <a:cubicBezTo>
                    <a:pt x="33" y="66699"/>
                    <a:pt x="23834" y="-10656"/>
                    <a:pt x="116065" y="1245"/>
                  </a:cubicBezTo>
                  <a:cubicBezTo>
                    <a:pt x="175569" y="10170"/>
                    <a:pt x="246975" y="54799"/>
                    <a:pt x="220197" y="120253"/>
                  </a:cubicBezTo>
                  <a:cubicBezTo>
                    <a:pt x="196396" y="188683"/>
                    <a:pt x="-2943" y="108352"/>
                    <a:pt x="33" y="66699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7ACB37EA-860B-48C1-95D3-1835289A7677}"/>
                </a:ext>
              </a:extLst>
            </p:cNvPr>
            <p:cNvSpPr/>
            <p:nvPr/>
          </p:nvSpPr>
          <p:spPr>
            <a:xfrm>
              <a:off x="20178858" y="8503193"/>
              <a:ext cx="363957" cy="447750"/>
            </a:xfrm>
            <a:custGeom>
              <a:avLst/>
              <a:gdLst>
                <a:gd name="connsiteX0" fmla="*/ 0 w 363957"/>
                <a:gd name="connsiteY0" fmla="*/ 114372 h 447750"/>
                <a:gd name="connsiteX1" fmla="*/ 255869 w 363957"/>
                <a:gd name="connsiteY1" fmla="*/ 447596 h 447750"/>
                <a:gd name="connsiteX2" fmla="*/ 339174 w 363957"/>
                <a:gd name="connsiteY2" fmla="*/ 1315 h 447750"/>
                <a:gd name="connsiteX3" fmla="*/ 0 w 363957"/>
                <a:gd name="connsiteY3" fmla="*/ 114372 h 44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957" h="447750">
                  <a:moveTo>
                    <a:pt x="0" y="114372"/>
                  </a:moveTo>
                  <a:cubicBezTo>
                    <a:pt x="47604" y="286935"/>
                    <a:pt x="178512" y="453546"/>
                    <a:pt x="255869" y="447596"/>
                  </a:cubicBezTo>
                  <a:cubicBezTo>
                    <a:pt x="357025" y="441645"/>
                    <a:pt x="392728" y="167926"/>
                    <a:pt x="339174" y="1315"/>
                  </a:cubicBezTo>
                  <a:cubicBezTo>
                    <a:pt x="267769" y="-10586"/>
                    <a:pt x="83305" y="60819"/>
                    <a:pt x="0" y="114372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5DE1D91E-29E3-4AF3-B46A-86ECB5B0DDDC}"/>
                </a:ext>
              </a:extLst>
            </p:cNvPr>
            <p:cNvSpPr/>
            <p:nvPr/>
          </p:nvSpPr>
          <p:spPr>
            <a:xfrm>
              <a:off x="19818858" y="9667813"/>
              <a:ext cx="1945784" cy="2463471"/>
            </a:xfrm>
            <a:custGeom>
              <a:avLst/>
              <a:gdLst>
                <a:gd name="connsiteX0" fmla="*/ 1252561 w 1945784"/>
                <a:gd name="connsiteY0" fmla="*/ 0 h 2463471"/>
                <a:gd name="connsiteX1" fmla="*/ 600992 w 1945784"/>
                <a:gd name="connsiteY1" fmla="*/ 0 h 2463471"/>
                <a:gd name="connsiteX2" fmla="*/ 484958 w 1945784"/>
                <a:gd name="connsiteY2" fmla="*/ 449256 h 2463471"/>
                <a:gd name="connsiteX3" fmla="*/ 0 w 1945784"/>
                <a:gd name="connsiteY3" fmla="*/ 2463472 h 2463471"/>
                <a:gd name="connsiteX4" fmla="*/ 175536 w 1945784"/>
                <a:gd name="connsiteY4" fmla="*/ 2463472 h 2463471"/>
                <a:gd name="connsiteX5" fmla="*/ 943141 w 1945784"/>
                <a:gd name="connsiteY5" fmla="*/ 645620 h 2463471"/>
                <a:gd name="connsiteX6" fmla="*/ 1755372 w 1945784"/>
                <a:gd name="connsiteY6" fmla="*/ 2454546 h 2463471"/>
                <a:gd name="connsiteX7" fmla="*/ 1945784 w 1945784"/>
                <a:gd name="connsiteY7" fmla="*/ 2454546 h 2463471"/>
                <a:gd name="connsiteX8" fmla="*/ 1386446 w 1945784"/>
                <a:gd name="connsiteY8" fmla="*/ 374876 h 2463471"/>
                <a:gd name="connsiteX9" fmla="*/ 1252561 w 1945784"/>
                <a:gd name="connsiteY9" fmla="*/ 0 h 246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45784" h="2463471">
                  <a:moveTo>
                    <a:pt x="1252561" y="0"/>
                  </a:moveTo>
                  <a:lnTo>
                    <a:pt x="600992" y="0"/>
                  </a:lnTo>
                  <a:cubicBezTo>
                    <a:pt x="600992" y="0"/>
                    <a:pt x="505785" y="297521"/>
                    <a:pt x="484958" y="449256"/>
                  </a:cubicBezTo>
                  <a:cubicBezTo>
                    <a:pt x="467108" y="598017"/>
                    <a:pt x="0" y="2463472"/>
                    <a:pt x="0" y="2463472"/>
                  </a:cubicBezTo>
                  <a:lnTo>
                    <a:pt x="175536" y="2463472"/>
                  </a:lnTo>
                  <a:lnTo>
                    <a:pt x="943141" y="645620"/>
                  </a:lnTo>
                  <a:lnTo>
                    <a:pt x="1755372" y="2454546"/>
                  </a:lnTo>
                  <a:lnTo>
                    <a:pt x="1945784" y="2454546"/>
                  </a:lnTo>
                  <a:cubicBezTo>
                    <a:pt x="1945784" y="2454546"/>
                    <a:pt x="1419174" y="511736"/>
                    <a:pt x="1386446" y="374876"/>
                  </a:cubicBezTo>
                  <a:cubicBezTo>
                    <a:pt x="1353719" y="258843"/>
                    <a:pt x="1252561" y="0"/>
                    <a:pt x="1252561" y="0"/>
                  </a:cubicBezTo>
                  <a:close/>
                </a:path>
              </a:pathLst>
            </a:custGeom>
            <a:solidFill>
              <a:srgbClr val="F1DDBA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22A93319-B18B-453E-BC67-BB197935B563}"/>
                </a:ext>
              </a:extLst>
            </p:cNvPr>
            <p:cNvSpPr/>
            <p:nvPr/>
          </p:nvSpPr>
          <p:spPr>
            <a:xfrm>
              <a:off x="20738196" y="10123021"/>
              <a:ext cx="839008" cy="2002313"/>
            </a:xfrm>
            <a:custGeom>
              <a:avLst/>
              <a:gdLst>
                <a:gd name="connsiteX0" fmla="*/ 833058 w 839008"/>
                <a:gd name="connsiteY0" fmla="*/ 2002314 h 2002313"/>
                <a:gd name="connsiteX1" fmla="*/ 827109 w 839008"/>
                <a:gd name="connsiteY1" fmla="*/ 1999338 h 2002313"/>
                <a:gd name="connsiteX2" fmla="*/ 14876 w 839008"/>
                <a:gd name="connsiteY2" fmla="*/ 190413 h 2002313"/>
                <a:gd name="connsiteX3" fmla="*/ 0 w 839008"/>
                <a:gd name="connsiteY3" fmla="*/ 5950 h 2002313"/>
                <a:gd name="connsiteX4" fmla="*/ 5951 w 839008"/>
                <a:gd name="connsiteY4" fmla="*/ 0 h 2002313"/>
                <a:gd name="connsiteX5" fmla="*/ 11902 w 839008"/>
                <a:gd name="connsiteY5" fmla="*/ 5950 h 2002313"/>
                <a:gd name="connsiteX6" fmla="*/ 26778 w 839008"/>
                <a:gd name="connsiteY6" fmla="*/ 187438 h 2002313"/>
                <a:gd name="connsiteX7" fmla="*/ 839009 w 839008"/>
                <a:gd name="connsiteY7" fmla="*/ 1993388 h 2002313"/>
                <a:gd name="connsiteX8" fmla="*/ 833058 w 839008"/>
                <a:gd name="connsiteY8" fmla="*/ 2002314 h 2002313"/>
                <a:gd name="connsiteX9" fmla="*/ 833058 w 839008"/>
                <a:gd name="connsiteY9" fmla="*/ 2002314 h 2002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9008" h="2002313">
                  <a:moveTo>
                    <a:pt x="833058" y="2002314"/>
                  </a:moveTo>
                  <a:cubicBezTo>
                    <a:pt x="830083" y="2002314"/>
                    <a:pt x="830083" y="2002314"/>
                    <a:pt x="827109" y="1999338"/>
                  </a:cubicBezTo>
                  <a:lnTo>
                    <a:pt x="14876" y="190413"/>
                  </a:lnTo>
                  <a:lnTo>
                    <a:pt x="0" y="5950"/>
                  </a:lnTo>
                  <a:cubicBezTo>
                    <a:pt x="0" y="2975"/>
                    <a:pt x="2976" y="0"/>
                    <a:pt x="5951" y="0"/>
                  </a:cubicBezTo>
                  <a:cubicBezTo>
                    <a:pt x="8927" y="0"/>
                    <a:pt x="11902" y="2975"/>
                    <a:pt x="11902" y="5950"/>
                  </a:cubicBezTo>
                  <a:lnTo>
                    <a:pt x="26778" y="187438"/>
                  </a:lnTo>
                  <a:lnTo>
                    <a:pt x="839009" y="1993388"/>
                  </a:lnTo>
                  <a:cubicBezTo>
                    <a:pt x="839009" y="1999338"/>
                    <a:pt x="839009" y="2002314"/>
                    <a:pt x="833058" y="2002314"/>
                  </a:cubicBezTo>
                  <a:cubicBezTo>
                    <a:pt x="836034" y="2002314"/>
                    <a:pt x="833058" y="2002314"/>
                    <a:pt x="833058" y="2002314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2122C28A-8976-45E5-ADCF-8C2EFA6D4059}"/>
                </a:ext>
              </a:extLst>
            </p:cNvPr>
            <p:cNvSpPr/>
            <p:nvPr/>
          </p:nvSpPr>
          <p:spPr>
            <a:xfrm>
              <a:off x="20328699" y="8738168"/>
              <a:ext cx="800778" cy="1013943"/>
            </a:xfrm>
            <a:custGeom>
              <a:avLst/>
              <a:gdLst>
                <a:gd name="connsiteX0" fmla="*/ 757597 w 800778"/>
                <a:gd name="connsiteY0" fmla="*/ 382208 h 1013943"/>
                <a:gd name="connsiteX1" fmla="*/ 742721 w 800778"/>
                <a:gd name="connsiteY1" fmla="*/ 66836 h 1013943"/>
                <a:gd name="connsiteX2" fmla="*/ 382722 w 800778"/>
                <a:gd name="connsiteY2" fmla="*/ 4357 h 1013943"/>
                <a:gd name="connsiteX3" fmla="*/ 88176 w 800778"/>
                <a:gd name="connsiteY3" fmla="*/ 102539 h 1013943"/>
                <a:gd name="connsiteX4" fmla="*/ 49498 w 800778"/>
                <a:gd name="connsiteY4" fmla="*/ 638076 h 1013943"/>
                <a:gd name="connsiteX5" fmla="*/ 64374 w 800778"/>
                <a:gd name="connsiteY5" fmla="*/ 998076 h 1013943"/>
                <a:gd name="connsiteX6" fmla="*/ 766522 w 800778"/>
                <a:gd name="connsiteY6" fmla="*/ 998076 h 1013943"/>
                <a:gd name="connsiteX7" fmla="*/ 757597 w 800778"/>
                <a:gd name="connsiteY7" fmla="*/ 382208 h 1013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0778" h="1013943">
                  <a:moveTo>
                    <a:pt x="757597" y="382208"/>
                  </a:moveTo>
                  <a:cubicBezTo>
                    <a:pt x="766522" y="352456"/>
                    <a:pt x="858755" y="129315"/>
                    <a:pt x="742721" y="66836"/>
                  </a:cubicBezTo>
                  <a:cubicBezTo>
                    <a:pt x="641565" y="13283"/>
                    <a:pt x="498754" y="-10519"/>
                    <a:pt x="382722" y="4357"/>
                  </a:cubicBezTo>
                  <a:cubicBezTo>
                    <a:pt x="254788" y="19233"/>
                    <a:pt x="126853" y="40059"/>
                    <a:pt x="88176" y="102539"/>
                  </a:cubicBezTo>
                  <a:cubicBezTo>
                    <a:pt x="-21907" y="284027"/>
                    <a:pt x="-21907" y="444688"/>
                    <a:pt x="49498" y="638076"/>
                  </a:cubicBezTo>
                  <a:cubicBezTo>
                    <a:pt x="70325" y="694605"/>
                    <a:pt x="49498" y="870142"/>
                    <a:pt x="64374" y="998076"/>
                  </a:cubicBezTo>
                  <a:cubicBezTo>
                    <a:pt x="64374" y="998076"/>
                    <a:pt x="382722" y="1033778"/>
                    <a:pt x="766522" y="998076"/>
                  </a:cubicBezTo>
                  <a:cubicBezTo>
                    <a:pt x="736770" y="786836"/>
                    <a:pt x="751646" y="403035"/>
                    <a:pt x="757597" y="382208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7138F1FA-B4EB-46D1-93DE-04E791C43898}"/>
                </a:ext>
              </a:extLst>
            </p:cNvPr>
            <p:cNvSpPr/>
            <p:nvPr/>
          </p:nvSpPr>
          <p:spPr>
            <a:xfrm>
              <a:off x="20483894" y="8078433"/>
              <a:ext cx="317106" cy="584407"/>
            </a:xfrm>
            <a:custGeom>
              <a:avLst/>
              <a:gdLst>
                <a:gd name="connsiteX0" fmla="*/ 230501 w 317106"/>
                <a:gd name="connsiteY0" fmla="*/ 295166 h 584407"/>
                <a:gd name="connsiteX1" fmla="*/ 278105 w 317106"/>
                <a:gd name="connsiteY1" fmla="*/ 155331 h 584407"/>
                <a:gd name="connsiteX2" fmla="*/ 316782 w 317106"/>
                <a:gd name="connsiteY2" fmla="*/ 9546 h 584407"/>
                <a:gd name="connsiteX3" fmla="*/ 10337 w 317106"/>
                <a:gd name="connsiteY3" fmla="*/ 179133 h 584407"/>
                <a:gd name="connsiteX4" fmla="*/ 182898 w 317106"/>
                <a:gd name="connsiteY4" fmla="*/ 506405 h 584407"/>
                <a:gd name="connsiteX5" fmla="*/ 278105 w 317106"/>
                <a:gd name="connsiteY5" fmla="*/ 556984 h 584407"/>
                <a:gd name="connsiteX6" fmla="*/ 230501 w 317106"/>
                <a:gd name="connsiteY6" fmla="*/ 295166 h 584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7106" h="584407">
                  <a:moveTo>
                    <a:pt x="230501" y="295166"/>
                  </a:moveTo>
                  <a:cubicBezTo>
                    <a:pt x="239426" y="244588"/>
                    <a:pt x="254302" y="199959"/>
                    <a:pt x="278105" y="155331"/>
                  </a:cubicBezTo>
                  <a:cubicBezTo>
                    <a:pt x="301906" y="107728"/>
                    <a:pt x="319757" y="9546"/>
                    <a:pt x="316782" y="9546"/>
                  </a:cubicBezTo>
                  <a:cubicBezTo>
                    <a:pt x="206699" y="-29132"/>
                    <a:pt x="43063" y="54174"/>
                    <a:pt x="10337" y="179133"/>
                  </a:cubicBezTo>
                  <a:cubicBezTo>
                    <a:pt x="-4539" y="241612"/>
                    <a:pt x="-34292" y="426075"/>
                    <a:pt x="182898" y="506405"/>
                  </a:cubicBezTo>
                  <a:cubicBezTo>
                    <a:pt x="278105" y="586736"/>
                    <a:pt x="266204" y="607563"/>
                    <a:pt x="278105" y="556984"/>
                  </a:cubicBezTo>
                  <a:cubicBezTo>
                    <a:pt x="284054" y="512356"/>
                    <a:pt x="221575" y="348720"/>
                    <a:pt x="230501" y="295166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6209A414-FCB0-4F73-A1C0-25F6996E1EC8}"/>
                </a:ext>
              </a:extLst>
            </p:cNvPr>
            <p:cNvSpPr/>
            <p:nvPr/>
          </p:nvSpPr>
          <p:spPr>
            <a:xfrm>
              <a:off x="20551912" y="8116863"/>
              <a:ext cx="412400" cy="554568"/>
            </a:xfrm>
            <a:custGeom>
              <a:avLst/>
              <a:gdLst>
                <a:gd name="connsiteX0" fmla="*/ 7772 w 412400"/>
                <a:gd name="connsiteY0" fmla="*/ 179381 h 554568"/>
                <a:gd name="connsiteX1" fmla="*/ 19673 w 412400"/>
                <a:gd name="connsiteY1" fmla="*/ 429298 h 554568"/>
                <a:gd name="connsiteX2" fmla="*/ 165459 w 412400"/>
                <a:gd name="connsiteY2" fmla="*/ 554257 h 554568"/>
                <a:gd name="connsiteX3" fmla="*/ 376698 w 412400"/>
                <a:gd name="connsiteY3" fmla="*/ 414422 h 554568"/>
                <a:gd name="connsiteX4" fmla="*/ 412401 w 412400"/>
                <a:gd name="connsiteY4" fmla="*/ 194257 h 554568"/>
                <a:gd name="connsiteX5" fmla="*/ 204136 w 412400"/>
                <a:gd name="connsiteY5" fmla="*/ 868 h 554568"/>
                <a:gd name="connsiteX6" fmla="*/ 7772 w 412400"/>
                <a:gd name="connsiteY6" fmla="*/ 179381 h 55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400" h="554568">
                  <a:moveTo>
                    <a:pt x="7772" y="179381"/>
                  </a:moveTo>
                  <a:cubicBezTo>
                    <a:pt x="7772" y="179381"/>
                    <a:pt x="-16030" y="363843"/>
                    <a:pt x="19673" y="429298"/>
                  </a:cubicBezTo>
                  <a:cubicBezTo>
                    <a:pt x="55376" y="494753"/>
                    <a:pt x="114880" y="551281"/>
                    <a:pt x="165459" y="554257"/>
                  </a:cubicBezTo>
                  <a:cubicBezTo>
                    <a:pt x="230912" y="560207"/>
                    <a:pt x="340995" y="479877"/>
                    <a:pt x="376698" y="414422"/>
                  </a:cubicBezTo>
                  <a:cubicBezTo>
                    <a:pt x="412401" y="348967"/>
                    <a:pt x="412401" y="244835"/>
                    <a:pt x="412401" y="194257"/>
                  </a:cubicBezTo>
                  <a:cubicBezTo>
                    <a:pt x="409425" y="102026"/>
                    <a:pt x="382649" y="24670"/>
                    <a:pt x="204136" y="868"/>
                  </a:cubicBezTo>
                  <a:cubicBezTo>
                    <a:pt x="117855" y="-11032"/>
                    <a:pt x="25624" y="102026"/>
                    <a:pt x="7772" y="179381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D7E12DAE-ECE3-4777-8FB4-1E1F0D72A56A}"/>
                </a:ext>
              </a:extLst>
            </p:cNvPr>
            <p:cNvSpPr/>
            <p:nvPr/>
          </p:nvSpPr>
          <p:spPr>
            <a:xfrm>
              <a:off x="20681668" y="8378317"/>
              <a:ext cx="53553" cy="129166"/>
            </a:xfrm>
            <a:custGeom>
              <a:avLst/>
              <a:gdLst>
                <a:gd name="connsiteX0" fmla="*/ 29752 w 53553"/>
                <a:gd name="connsiteY0" fmla="*/ 129166 h 129166"/>
                <a:gd name="connsiteX1" fmla="*/ 5951 w 53553"/>
                <a:gd name="connsiteY1" fmla="*/ 123216 h 129166"/>
                <a:gd name="connsiteX2" fmla="*/ 0 w 53553"/>
                <a:gd name="connsiteY2" fmla="*/ 111315 h 129166"/>
                <a:gd name="connsiteX3" fmla="*/ 26776 w 53553"/>
                <a:gd name="connsiteY3" fmla="*/ 4208 h 129166"/>
                <a:gd name="connsiteX4" fmla="*/ 32727 w 53553"/>
                <a:gd name="connsiteY4" fmla="*/ 1232 h 129166"/>
                <a:gd name="connsiteX5" fmla="*/ 35703 w 53553"/>
                <a:gd name="connsiteY5" fmla="*/ 7183 h 129166"/>
                <a:gd name="connsiteX6" fmla="*/ 8925 w 53553"/>
                <a:gd name="connsiteY6" fmla="*/ 111315 h 129166"/>
                <a:gd name="connsiteX7" fmla="*/ 8925 w 53553"/>
                <a:gd name="connsiteY7" fmla="*/ 114290 h 129166"/>
                <a:gd name="connsiteX8" fmla="*/ 47603 w 53553"/>
                <a:gd name="connsiteY8" fmla="*/ 114290 h 129166"/>
                <a:gd name="connsiteX9" fmla="*/ 53553 w 53553"/>
                <a:gd name="connsiteY9" fmla="*/ 120241 h 129166"/>
                <a:gd name="connsiteX10" fmla="*/ 47603 w 53553"/>
                <a:gd name="connsiteY10" fmla="*/ 126191 h 129166"/>
                <a:gd name="connsiteX11" fmla="*/ 29752 w 53553"/>
                <a:gd name="connsiteY11" fmla="*/ 129166 h 129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553" h="129166">
                  <a:moveTo>
                    <a:pt x="29752" y="129166"/>
                  </a:moveTo>
                  <a:cubicBezTo>
                    <a:pt x="20827" y="129166"/>
                    <a:pt x="11900" y="129166"/>
                    <a:pt x="5951" y="123216"/>
                  </a:cubicBezTo>
                  <a:cubicBezTo>
                    <a:pt x="2974" y="120241"/>
                    <a:pt x="0" y="117265"/>
                    <a:pt x="0" y="111315"/>
                  </a:cubicBezTo>
                  <a:cubicBezTo>
                    <a:pt x="0" y="90489"/>
                    <a:pt x="26776" y="7183"/>
                    <a:pt x="26776" y="4208"/>
                  </a:cubicBezTo>
                  <a:cubicBezTo>
                    <a:pt x="26776" y="1232"/>
                    <a:pt x="29752" y="-1743"/>
                    <a:pt x="32727" y="1232"/>
                  </a:cubicBezTo>
                  <a:cubicBezTo>
                    <a:pt x="35703" y="1232"/>
                    <a:pt x="38677" y="4208"/>
                    <a:pt x="35703" y="7183"/>
                  </a:cubicBezTo>
                  <a:cubicBezTo>
                    <a:pt x="29752" y="30985"/>
                    <a:pt x="8925" y="93464"/>
                    <a:pt x="8925" y="111315"/>
                  </a:cubicBezTo>
                  <a:cubicBezTo>
                    <a:pt x="8925" y="111315"/>
                    <a:pt x="8925" y="114290"/>
                    <a:pt x="8925" y="114290"/>
                  </a:cubicBezTo>
                  <a:cubicBezTo>
                    <a:pt x="14876" y="120241"/>
                    <a:pt x="35703" y="117265"/>
                    <a:pt x="47603" y="114290"/>
                  </a:cubicBezTo>
                  <a:cubicBezTo>
                    <a:pt x="50579" y="114290"/>
                    <a:pt x="53553" y="114290"/>
                    <a:pt x="53553" y="120241"/>
                  </a:cubicBezTo>
                  <a:cubicBezTo>
                    <a:pt x="53553" y="123216"/>
                    <a:pt x="53553" y="126191"/>
                    <a:pt x="47603" y="126191"/>
                  </a:cubicBezTo>
                  <a:cubicBezTo>
                    <a:pt x="50579" y="129166"/>
                    <a:pt x="41652" y="129166"/>
                    <a:pt x="29752" y="129166"/>
                  </a:cubicBezTo>
                  <a:close/>
                </a:path>
              </a:pathLst>
            </a:custGeom>
            <a:solidFill>
              <a:srgbClr val="E58777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72661579-4FB6-4973-89C2-DC99DA27DCD3}"/>
                </a:ext>
              </a:extLst>
            </p:cNvPr>
            <p:cNvSpPr/>
            <p:nvPr/>
          </p:nvSpPr>
          <p:spPr>
            <a:xfrm>
              <a:off x="20666792" y="8558062"/>
              <a:ext cx="104132" cy="53553"/>
            </a:xfrm>
            <a:custGeom>
              <a:avLst/>
              <a:gdLst>
                <a:gd name="connsiteX0" fmla="*/ 104132 w 104132"/>
                <a:gd name="connsiteY0" fmla="*/ 0 h 53553"/>
                <a:gd name="connsiteX1" fmla="*/ 0 w 104132"/>
                <a:gd name="connsiteY1" fmla="*/ 0 h 53553"/>
                <a:gd name="connsiteX2" fmla="*/ 50579 w 104132"/>
                <a:gd name="connsiteY2" fmla="*/ 53554 h 53553"/>
                <a:gd name="connsiteX3" fmla="*/ 104132 w 104132"/>
                <a:gd name="connsiteY3" fmla="*/ 0 h 5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132" h="53553">
                  <a:moveTo>
                    <a:pt x="104132" y="0"/>
                  </a:moveTo>
                  <a:cubicBezTo>
                    <a:pt x="50579" y="23802"/>
                    <a:pt x="0" y="0"/>
                    <a:pt x="0" y="0"/>
                  </a:cubicBezTo>
                  <a:cubicBezTo>
                    <a:pt x="0" y="0"/>
                    <a:pt x="14876" y="53554"/>
                    <a:pt x="50579" y="53554"/>
                  </a:cubicBezTo>
                  <a:cubicBezTo>
                    <a:pt x="89256" y="50578"/>
                    <a:pt x="104132" y="0"/>
                    <a:pt x="104132" y="0"/>
                  </a:cubicBezTo>
                  <a:close/>
                </a:path>
              </a:pathLst>
            </a:custGeom>
            <a:solidFill>
              <a:srgbClr val="FFFFFF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349E01CF-039A-4488-9416-B549728D4A11}"/>
                </a:ext>
              </a:extLst>
            </p:cNvPr>
            <p:cNvSpPr/>
            <p:nvPr/>
          </p:nvSpPr>
          <p:spPr>
            <a:xfrm>
              <a:off x="20612480" y="8352189"/>
              <a:ext cx="40193" cy="40019"/>
            </a:xfrm>
            <a:custGeom>
              <a:avLst/>
              <a:gdLst>
                <a:gd name="connsiteX0" fmla="*/ 39436 w 40193"/>
                <a:gd name="connsiteY0" fmla="*/ 24385 h 40019"/>
                <a:gd name="connsiteX1" fmla="*/ 15635 w 40193"/>
                <a:gd name="connsiteY1" fmla="*/ 39261 h 40019"/>
                <a:gd name="connsiteX2" fmla="*/ 759 w 40193"/>
                <a:gd name="connsiteY2" fmla="*/ 15460 h 40019"/>
                <a:gd name="connsiteX3" fmla="*/ 24560 w 40193"/>
                <a:gd name="connsiteY3" fmla="*/ 584 h 40019"/>
                <a:gd name="connsiteX4" fmla="*/ 39436 w 40193"/>
                <a:gd name="connsiteY4" fmla="*/ 24385 h 4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93" h="40019">
                  <a:moveTo>
                    <a:pt x="39436" y="24385"/>
                  </a:moveTo>
                  <a:cubicBezTo>
                    <a:pt x="36460" y="36286"/>
                    <a:pt x="27534" y="42236"/>
                    <a:pt x="15635" y="39261"/>
                  </a:cubicBezTo>
                  <a:cubicBezTo>
                    <a:pt x="3733" y="36286"/>
                    <a:pt x="-2218" y="27360"/>
                    <a:pt x="759" y="15460"/>
                  </a:cubicBezTo>
                  <a:cubicBezTo>
                    <a:pt x="3733" y="6534"/>
                    <a:pt x="12658" y="-2392"/>
                    <a:pt x="24560" y="584"/>
                  </a:cubicBezTo>
                  <a:cubicBezTo>
                    <a:pt x="36460" y="3559"/>
                    <a:pt x="42410" y="12484"/>
                    <a:pt x="39436" y="24385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87E4C6CD-155D-4D09-87D6-44933C4394A2}"/>
                </a:ext>
              </a:extLst>
            </p:cNvPr>
            <p:cNvSpPr/>
            <p:nvPr/>
          </p:nvSpPr>
          <p:spPr>
            <a:xfrm>
              <a:off x="20799918" y="8358139"/>
              <a:ext cx="39435" cy="40019"/>
            </a:xfrm>
            <a:custGeom>
              <a:avLst/>
              <a:gdLst>
                <a:gd name="connsiteX0" fmla="*/ 39436 w 39435"/>
                <a:gd name="connsiteY0" fmla="*/ 24385 h 40019"/>
                <a:gd name="connsiteX1" fmla="*/ 15635 w 39435"/>
                <a:gd name="connsiteY1" fmla="*/ 39261 h 40019"/>
                <a:gd name="connsiteX2" fmla="*/ 759 w 39435"/>
                <a:gd name="connsiteY2" fmla="*/ 15460 h 40019"/>
                <a:gd name="connsiteX3" fmla="*/ 24560 w 39435"/>
                <a:gd name="connsiteY3" fmla="*/ 584 h 40019"/>
                <a:gd name="connsiteX4" fmla="*/ 39436 w 39435"/>
                <a:gd name="connsiteY4" fmla="*/ 24385 h 4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35" h="40019">
                  <a:moveTo>
                    <a:pt x="39436" y="24385"/>
                  </a:moveTo>
                  <a:cubicBezTo>
                    <a:pt x="36461" y="36286"/>
                    <a:pt x="27534" y="42236"/>
                    <a:pt x="15635" y="39261"/>
                  </a:cubicBezTo>
                  <a:cubicBezTo>
                    <a:pt x="3733" y="36286"/>
                    <a:pt x="-2218" y="27360"/>
                    <a:pt x="759" y="15460"/>
                  </a:cubicBezTo>
                  <a:cubicBezTo>
                    <a:pt x="3733" y="6534"/>
                    <a:pt x="12658" y="-2392"/>
                    <a:pt x="24560" y="584"/>
                  </a:cubicBezTo>
                  <a:cubicBezTo>
                    <a:pt x="33485" y="3559"/>
                    <a:pt x="39436" y="15460"/>
                    <a:pt x="39436" y="24385"/>
                  </a:cubicBezTo>
                  <a:close/>
                </a:path>
              </a:pathLst>
            </a:custGeom>
            <a:solidFill>
              <a:srgbClr val="38333D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7DF47977-1EDE-4D14-A9E2-608953EF216A}"/>
                </a:ext>
              </a:extLst>
            </p:cNvPr>
            <p:cNvSpPr/>
            <p:nvPr/>
          </p:nvSpPr>
          <p:spPr>
            <a:xfrm>
              <a:off x="20587205" y="8304032"/>
              <a:ext cx="89744" cy="33864"/>
            </a:xfrm>
            <a:custGeom>
              <a:avLst/>
              <a:gdLst>
                <a:gd name="connsiteX0" fmla="*/ 8182 w 89744"/>
                <a:gd name="connsiteY0" fmla="*/ 33864 h 33864"/>
                <a:gd name="connsiteX1" fmla="*/ 2231 w 89744"/>
                <a:gd name="connsiteY1" fmla="*/ 30889 h 33864"/>
                <a:gd name="connsiteX2" fmla="*/ 2231 w 89744"/>
                <a:gd name="connsiteY2" fmla="*/ 18988 h 33864"/>
                <a:gd name="connsiteX3" fmla="*/ 85538 w 89744"/>
                <a:gd name="connsiteY3" fmla="*/ 10062 h 33864"/>
                <a:gd name="connsiteX4" fmla="*/ 88513 w 89744"/>
                <a:gd name="connsiteY4" fmla="*/ 18988 h 33864"/>
                <a:gd name="connsiteX5" fmla="*/ 79587 w 89744"/>
                <a:gd name="connsiteY5" fmla="*/ 21963 h 33864"/>
                <a:gd name="connsiteX6" fmla="*/ 14132 w 89744"/>
                <a:gd name="connsiteY6" fmla="*/ 27913 h 33864"/>
                <a:gd name="connsiteX7" fmla="*/ 8182 w 89744"/>
                <a:gd name="connsiteY7" fmla="*/ 33864 h 33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3864">
                  <a:moveTo>
                    <a:pt x="8182" y="33864"/>
                  </a:moveTo>
                  <a:cubicBezTo>
                    <a:pt x="5207" y="33864"/>
                    <a:pt x="5207" y="33864"/>
                    <a:pt x="2231" y="30889"/>
                  </a:cubicBezTo>
                  <a:cubicBezTo>
                    <a:pt x="-744" y="27913"/>
                    <a:pt x="-744" y="21963"/>
                    <a:pt x="2231" y="18988"/>
                  </a:cubicBezTo>
                  <a:cubicBezTo>
                    <a:pt x="29008" y="-10764"/>
                    <a:pt x="67686" y="1137"/>
                    <a:pt x="85538" y="10062"/>
                  </a:cubicBezTo>
                  <a:cubicBezTo>
                    <a:pt x="88513" y="13037"/>
                    <a:pt x="91487" y="16013"/>
                    <a:pt x="88513" y="18988"/>
                  </a:cubicBezTo>
                  <a:cubicBezTo>
                    <a:pt x="85538" y="21963"/>
                    <a:pt x="82562" y="24938"/>
                    <a:pt x="79587" y="21963"/>
                  </a:cubicBezTo>
                  <a:cubicBezTo>
                    <a:pt x="76611" y="21963"/>
                    <a:pt x="37934" y="1137"/>
                    <a:pt x="14132" y="27913"/>
                  </a:cubicBezTo>
                  <a:cubicBezTo>
                    <a:pt x="14132" y="33864"/>
                    <a:pt x="11158" y="33864"/>
                    <a:pt x="8182" y="33864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88D12E8D-6783-4AB2-9BE2-B944FCC4E33C}"/>
                </a:ext>
              </a:extLst>
            </p:cNvPr>
            <p:cNvSpPr/>
            <p:nvPr/>
          </p:nvSpPr>
          <p:spPr>
            <a:xfrm>
              <a:off x="20772667" y="8302497"/>
              <a:ext cx="89744" cy="35399"/>
            </a:xfrm>
            <a:custGeom>
              <a:avLst/>
              <a:gdLst>
                <a:gd name="connsiteX0" fmla="*/ 84537 w 89744"/>
                <a:gd name="connsiteY0" fmla="*/ 35400 h 35399"/>
                <a:gd name="connsiteX1" fmla="*/ 78588 w 89744"/>
                <a:gd name="connsiteY1" fmla="*/ 32424 h 35399"/>
                <a:gd name="connsiteX2" fmla="*/ 13134 w 89744"/>
                <a:gd name="connsiteY2" fmla="*/ 26474 h 35399"/>
                <a:gd name="connsiteX3" fmla="*/ 1232 w 89744"/>
                <a:gd name="connsiteY3" fmla="*/ 23499 h 35399"/>
                <a:gd name="connsiteX4" fmla="*/ 4208 w 89744"/>
                <a:gd name="connsiteY4" fmla="*/ 11598 h 35399"/>
                <a:gd name="connsiteX5" fmla="*/ 87514 w 89744"/>
                <a:gd name="connsiteY5" fmla="*/ 20524 h 35399"/>
                <a:gd name="connsiteX6" fmla="*/ 87514 w 89744"/>
                <a:gd name="connsiteY6" fmla="*/ 32424 h 35399"/>
                <a:gd name="connsiteX7" fmla="*/ 84537 w 89744"/>
                <a:gd name="connsiteY7" fmla="*/ 35400 h 3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44" h="35399">
                  <a:moveTo>
                    <a:pt x="84537" y="35400"/>
                  </a:moveTo>
                  <a:cubicBezTo>
                    <a:pt x="81563" y="35400"/>
                    <a:pt x="81563" y="35400"/>
                    <a:pt x="78588" y="32424"/>
                  </a:cubicBezTo>
                  <a:cubicBezTo>
                    <a:pt x="78588" y="32424"/>
                    <a:pt x="48836" y="2672"/>
                    <a:pt x="13134" y="26474"/>
                  </a:cubicBezTo>
                  <a:cubicBezTo>
                    <a:pt x="10157" y="29449"/>
                    <a:pt x="4208" y="26474"/>
                    <a:pt x="1232" y="23499"/>
                  </a:cubicBezTo>
                  <a:cubicBezTo>
                    <a:pt x="-1742" y="20524"/>
                    <a:pt x="1232" y="14573"/>
                    <a:pt x="4208" y="11598"/>
                  </a:cubicBezTo>
                  <a:cubicBezTo>
                    <a:pt x="39909" y="-12204"/>
                    <a:pt x="75612" y="5648"/>
                    <a:pt x="87514" y="20524"/>
                  </a:cubicBezTo>
                  <a:cubicBezTo>
                    <a:pt x="90488" y="23499"/>
                    <a:pt x="90488" y="29449"/>
                    <a:pt x="87514" y="32424"/>
                  </a:cubicBezTo>
                  <a:cubicBezTo>
                    <a:pt x="87514" y="35400"/>
                    <a:pt x="84537" y="35400"/>
                    <a:pt x="84537" y="35400"/>
                  </a:cubicBezTo>
                  <a:close/>
                </a:path>
              </a:pathLst>
            </a:custGeom>
            <a:solidFill>
              <a:srgbClr val="664540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36C2A864-41E0-48C8-B8E4-E2BEDD675C80}"/>
                </a:ext>
              </a:extLst>
            </p:cNvPr>
            <p:cNvSpPr/>
            <p:nvPr/>
          </p:nvSpPr>
          <p:spPr>
            <a:xfrm>
              <a:off x="20532688" y="8085316"/>
              <a:ext cx="270029" cy="252580"/>
            </a:xfrm>
            <a:custGeom>
              <a:avLst/>
              <a:gdLst>
                <a:gd name="connsiteX0" fmla="*/ 267989 w 270029"/>
                <a:gd name="connsiteY0" fmla="*/ 2663 h 252580"/>
                <a:gd name="connsiteX1" fmla="*/ 232286 w 270029"/>
                <a:gd name="connsiteY1" fmla="*/ 127622 h 252580"/>
                <a:gd name="connsiteX2" fmla="*/ 220 w 270029"/>
                <a:gd name="connsiteY2" fmla="*/ 252581 h 252580"/>
                <a:gd name="connsiteX3" fmla="*/ 267989 w 270029"/>
                <a:gd name="connsiteY3" fmla="*/ 2663 h 25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029" h="252580">
                  <a:moveTo>
                    <a:pt x="267989" y="2663"/>
                  </a:moveTo>
                  <a:cubicBezTo>
                    <a:pt x="267989" y="2663"/>
                    <a:pt x="282865" y="88944"/>
                    <a:pt x="232286" y="127622"/>
                  </a:cubicBezTo>
                  <a:cubicBezTo>
                    <a:pt x="232286" y="127622"/>
                    <a:pt x="26996" y="169275"/>
                    <a:pt x="220" y="252581"/>
                  </a:cubicBezTo>
                  <a:cubicBezTo>
                    <a:pt x="220" y="249605"/>
                    <a:pt x="-17632" y="-30064"/>
                    <a:pt x="267989" y="2663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4A33CF27-514F-48DF-9E91-3ABC0D899A67}"/>
                </a:ext>
              </a:extLst>
            </p:cNvPr>
            <p:cNvSpPr/>
            <p:nvPr/>
          </p:nvSpPr>
          <p:spPr>
            <a:xfrm>
              <a:off x="20764974" y="8087979"/>
              <a:ext cx="218843" cy="306929"/>
            </a:xfrm>
            <a:custGeom>
              <a:avLst/>
              <a:gdLst>
                <a:gd name="connsiteX0" fmla="*/ 0 w 218843"/>
                <a:gd name="connsiteY0" fmla="*/ 124959 h 306929"/>
                <a:gd name="connsiteX1" fmla="*/ 136859 w 218843"/>
                <a:gd name="connsiteY1" fmla="*/ 178512 h 306929"/>
                <a:gd name="connsiteX2" fmla="*/ 193388 w 218843"/>
                <a:gd name="connsiteY2" fmla="*/ 294546 h 306929"/>
                <a:gd name="connsiteX3" fmla="*/ 217190 w 218843"/>
                <a:gd name="connsiteY3" fmla="*/ 291570 h 306929"/>
                <a:gd name="connsiteX4" fmla="*/ 32727 w 218843"/>
                <a:gd name="connsiteY4" fmla="*/ 0 h 306929"/>
                <a:gd name="connsiteX5" fmla="*/ 0 w 218843"/>
                <a:gd name="connsiteY5" fmla="*/ 124959 h 306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8843" h="306929">
                  <a:moveTo>
                    <a:pt x="0" y="124959"/>
                  </a:moveTo>
                  <a:cubicBezTo>
                    <a:pt x="0" y="124959"/>
                    <a:pt x="89256" y="172562"/>
                    <a:pt x="136859" y="178512"/>
                  </a:cubicBezTo>
                  <a:cubicBezTo>
                    <a:pt x="187438" y="184463"/>
                    <a:pt x="193388" y="294546"/>
                    <a:pt x="193388" y="294546"/>
                  </a:cubicBezTo>
                  <a:cubicBezTo>
                    <a:pt x="193388" y="294546"/>
                    <a:pt x="214215" y="324298"/>
                    <a:pt x="217190" y="291570"/>
                  </a:cubicBezTo>
                  <a:cubicBezTo>
                    <a:pt x="223141" y="214215"/>
                    <a:pt x="223141" y="20826"/>
                    <a:pt x="32727" y="0"/>
                  </a:cubicBezTo>
                  <a:cubicBezTo>
                    <a:pt x="35703" y="0"/>
                    <a:pt x="23801" y="119008"/>
                    <a:pt x="0" y="124959"/>
                  </a:cubicBezTo>
                  <a:close/>
                </a:path>
              </a:pathLst>
            </a:custGeom>
            <a:solidFill>
              <a:srgbClr val="D3977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8987DC3D-E1BB-4A80-A004-AADFB63B9371}"/>
                </a:ext>
              </a:extLst>
            </p:cNvPr>
            <p:cNvSpPr/>
            <p:nvPr/>
          </p:nvSpPr>
          <p:spPr>
            <a:xfrm>
              <a:off x="20761999" y="8129632"/>
              <a:ext cx="151734" cy="139834"/>
            </a:xfrm>
            <a:custGeom>
              <a:avLst/>
              <a:gdLst>
                <a:gd name="connsiteX0" fmla="*/ 142810 w 151734"/>
                <a:gd name="connsiteY0" fmla="*/ 139835 h 139834"/>
                <a:gd name="connsiteX1" fmla="*/ 142810 w 151734"/>
                <a:gd name="connsiteY1" fmla="*/ 139835 h 139834"/>
                <a:gd name="connsiteX2" fmla="*/ 47603 w 151734"/>
                <a:gd name="connsiteY2" fmla="*/ 107107 h 139834"/>
                <a:gd name="connsiteX3" fmla="*/ 2974 w 151734"/>
                <a:gd name="connsiteY3" fmla="*/ 83305 h 139834"/>
                <a:gd name="connsiteX4" fmla="*/ 0 w 151734"/>
                <a:gd name="connsiteY4" fmla="*/ 80330 h 139834"/>
                <a:gd name="connsiteX5" fmla="*/ 0 w 151734"/>
                <a:gd name="connsiteY5" fmla="*/ 74380 h 139834"/>
                <a:gd name="connsiteX6" fmla="*/ 26776 w 151734"/>
                <a:gd name="connsiteY6" fmla="*/ 5950 h 139834"/>
                <a:gd name="connsiteX7" fmla="*/ 32727 w 151734"/>
                <a:gd name="connsiteY7" fmla="*/ 0 h 139834"/>
                <a:gd name="connsiteX8" fmla="*/ 38677 w 151734"/>
                <a:gd name="connsiteY8" fmla="*/ 5950 h 139834"/>
                <a:gd name="connsiteX9" fmla="*/ 14876 w 151734"/>
                <a:gd name="connsiteY9" fmla="*/ 74380 h 139834"/>
                <a:gd name="connsiteX10" fmla="*/ 53553 w 151734"/>
                <a:gd name="connsiteY10" fmla="*/ 95207 h 139834"/>
                <a:gd name="connsiteX11" fmla="*/ 145784 w 151734"/>
                <a:gd name="connsiteY11" fmla="*/ 124959 h 139834"/>
                <a:gd name="connsiteX12" fmla="*/ 151735 w 151734"/>
                <a:gd name="connsiteY12" fmla="*/ 130909 h 139834"/>
                <a:gd name="connsiteX13" fmla="*/ 142810 w 151734"/>
                <a:gd name="connsiteY13" fmla="*/ 139835 h 13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1734" h="139834">
                  <a:moveTo>
                    <a:pt x="142810" y="139835"/>
                  </a:moveTo>
                  <a:cubicBezTo>
                    <a:pt x="142810" y="139835"/>
                    <a:pt x="142810" y="139835"/>
                    <a:pt x="142810" y="139835"/>
                  </a:cubicBezTo>
                  <a:cubicBezTo>
                    <a:pt x="107107" y="133884"/>
                    <a:pt x="71404" y="119008"/>
                    <a:pt x="47603" y="107107"/>
                  </a:cubicBezTo>
                  <a:cubicBezTo>
                    <a:pt x="20825" y="95207"/>
                    <a:pt x="2974" y="83305"/>
                    <a:pt x="2974" y="83305"/>
                  </a:cubicBezTo>
                  <a:cubicBezTo>
                    <a:pt x="2974" y="83305"/>
                    <a:pt x="0" y="80330"/>
                    <a:pt x="0" y="80330"/>
                  </a:cubicBezTo>
                  <a:cubicBezTo>
                    <a:pt x="0" y="77355"/>
                    <a:pt x="0" y="77355"/>
                    <a:pt x="0" y="74380"/>
                  </a:cubicBezTo>
                  <a:cubicBezTo>
                    <a:pt x="5949" y="68429"/>
                    <a:pt x="23801" y="29752"/>
                    <a:pt x="26776" y="5950"/>
                  </a:cubicBezTo>
                  <a:cubicBezTo>
                    <a:pt x="26776" y="2975"/>
                    <a:pt x="29752" y="0"/>
                    <a:pt x="32727" y="0"/>
                  </a:cubicBezTo>
                  <a:cubicBezTo>
                    <a:pt x="35701" y="0"/>
                    <a:pt x="38677" y="2975"/>
                    <a:pt x="38677" y="5950"/>
                  </a:cubicBezTo>
                  <a:cubicBezTo>
                    <a:pt x="38677" y="29752"/>
                    <a:pt x="23801" y="62479"/>
                    <a:pt x="14876" y="74380"/>
                  </a:cubicBezTo>
                  <a:cubicBezTo>
                    <a:pt x="20825" y="77355"/>
                    <a:pt x="35701" y="86281"/>
                    <a:pt x="53553" y="95207"/>
                  </a:cubicBezTo>
                  <a:cubicBezTo>
                    <a:pt x="77355" y="107107"/>
                    <a:pt x="113057" y="121983"/>
                    <a:pt x="145784" y="124959"/>
                  </a:cubicBezTo>
                  <a:cubicBezTo>
                    <a:pt x="148760" y="124959"/>
                    <a:pt x="151735" y="127934"/>
                    <a:pt x="151735" y="130909"/>
                  </a:cubicBezTo>
                  <a:cubicBezTo>
                    <a:pt x="145784" y="139835"/>
                    <a:pt x="145784" y="139835"/>
                    <a:pt x="142810" y="139835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7D87FB9D-441A-4D5C-B419-CC30ED5EC996}"/>
                </a:ext>
              </a:extLst>
            </p:cNvPr>
            <p:cNvSpPr/>
            <p:nvPr/>
          </p:nvSpPr>
          <p:spPr>
            <a:xfrm>
              <a:off x="20604312" y="8564012"/>
              <a:ext cx="300496" cy="218897"/>
            </a:xfrm>
            <a:custGeom>
              <a:avLst/>
              <a:gdLst>
                <a:gd name="connsiteX0" fmla="*/ 53555 w 300496"/>
                <a:gd name="connsiteY0" fmla="*/ 59504 h 218897"/>
                <a:gd name="connsiteX1" fmla="*/ 0 w 300496"/>
                <a:gd name="connsiteY1" fmla="*/ 196364 h 218897"/>
                <a:gd name="connsiteX2" fmla="*/ 300497 w 300496"/>
                <a:gd name="connsiteY2" fmla="*/ 181488 h 218897"/>
                <a:gd name="connsiteX3" fmla="*/ 249918 w 300496"/>
                <a:gd name="connsiteY3" fmla="*/ 0 h 218897"/>
                <a:gd name="connsiteX4" fmla="*/ 53555 w 300496"/>
                <a:gd name="connsiteY4" fmla="*/ 59504 h 218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496" h="218897">
                  <a:moveTo>
                    <a:pt x="53555" y="59504"/>
                  </a:moveTo>
                  <a:cubicBezTo>
                    <a:pt x="53555" y="59504"/>
                    <a:pt x="59504" y="166612"/>
                    <a:pt x="0" y="196364"/>
                  </a:cubicBezTo>
                  <a:cubicBezTo>
                    <a:pt x="0" y="196364"/>
                    <a:pt x="175538" y="255868"/>
                    <a:pt x="300497" y="181488"/>
                  </a:cubicBezTo>
                  <a:cubicBezTo>
                    <a:pt x="246944" y="139835"/>
                    <a:pt x="249918" y="59504"/>
                    <a:pt x="249918" y="0"/>
                  </a:cubicBezTo>
                  <a:cubicBezTo>
                    <a:pt x="249918" y="0"/>
                    <a:pt x="104132" y="65454"/>
                    <a:pt x="53555" y="59504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43BAEFEC-90A5-4889-971B-849887B4A031}"/>
                </a:ext>
              </a:extLst>
            </p:cNvPr>
            <p:cNvSpPr/>
            <p:nvPr/>
          </p:nvSpPr>
          <p:spPr>
            <a:xfrm>
              <a:off x="20646709" y="8598482"/>
              <a:ext cx="217678" cy="78587"/>
            </a:xfrm>
            <a:custGeom>
              <a:avLst/>
              <a:gdLst>
                <a:gd name="connsiteX0" fmla="*/ 70662 w 217678"/>
                <a:gd name="connsiteY0" fmla="*/ 78588 h 78587"/>
                <a:gd name="connsiteX1" fmla="*/ 2231 w 217678"/>
                <a:gd name="connsiteY1" fmla="*/ 51811 h 78587"/>
                <a:gd name="connsiteX2" fmla="*/ 2231 w 217678"/>
                <a:gd name="connsiteY2" fmla="*/ 42885 h 78587"/>
                <a:gd name="connsiteX3" fmla="*/ 11158 w 217678"/>
                <a:gd name="connsiteY3" fmla="*/ 42885 h 78587"/>
                <a:gd name="connsiteX4" fmla="*/ 79587 w 217678"/>
                <a:gd name="connsiteY4" fmla="*/ 66687 h 78587"/>
                <a:gd name="connsiteX5" fmla="*/ 207521 w 217678"/>
                <a:gd name="connsiteY5" fmla="*/ 1232 h 78587"/>
                <a:gd name="connsiteX6" fmla="*/ 216446 w 217678"/>
                <a:gd name="connsiteY6" fmla="*/ 4208 h 78587"/>
                <a:gd name="connsiteX7" fmla="*/ 213472 w 217678"/>
                <a:gd name="connsiteY7" fmla="*/ 13133 h 78587"/>
                <a:gd name="connsiteX8" fmla="*/ 79587 w 217678"/>
                <a:gd name="connsiteY8" fmla="*/ 78588 h 78587"/>
                <a:gd name="connsiteX9" fmla="*/ 70662 w 217678"/>
                <a:gd name="connsiteY9" fmla="*/ 78588 h 78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678" h="78587">
                  <a:moveTo>
                    <a:pt x="70662" y="78588"/>
                  </a:moveTo>
                  <a:cubicBezTo>
                    <a:pt x="31983" y="78588"/>
                    <a:pt x="5207" y="51811"/>
                    <a:pt x="2231" y="51811"/>
                  </a:cubicBezTo>
                  <a:cubicBezTo>
                    <a:pt x="-744" y="48836"/>
                    <a:pt x="-744" y="45860"/>
                    <a:pt x="2231" y="42885"/>
                  </a:cubicBezTo>
                  <a:cubicBezTo>
                    <a:pt x="5207" y="39910"/>
                    <a:pt x="8182" y="39910"/>
                    <a:pt x="11158" y="42885"/>
                  </a:cubicBezTo>
                  <a:cubicBezTo>
                    <a:pt x="11158" y="42885"/>
                    <a:pt x="43884" y="72637"/>
                    <a:pt x="79587" y="66687"/>
                  </a:cubicBezTo>
                  <a:cubicBezTo>
                    <a:pt x="118265" y="60736"/>
                    <a:pt x="207521" y="1232"/>
                    <a:pt x="207521" y="1232"/>
                  </a:cubicBezTo>
                  <a:cubicBezTo>
                    <a:pt x="210495" y="-1743"/>
                    <a:pt x="213472" y="1232"/>
                    <a:pt x="216446" y="4208"/>
                  </a:cubicBezTo>
                  <a:cubicBezTo>
                    <a:pt x="219422" y="7183"/>
                    <a:pt x="216446" y="10158"/>
                    <a:pt x="213472" y="13133"/>
                  </a:cubicBezTo>
                  <a:cubicBezTo>
                    <a:pt x="210495" y="16108"/>
                    <a:pt x="121239" y="75612"/>
                    <a:pt x="79587" y="78588"/>
                  </a:cubicBezTo>
                  <a:cubicBezTo>
                    <a:pt x="79587" y="78588"/>
                    <a:pt x="76611" y="78588"/>
                    <a:pt x="70662" y="78588"/>
                  </a:cubicBezTo>
                  <a:close/>
                </a:path>
              </a:pathLst>
            </a:custGeom>
            <a:solidFill>
              <a:srgbClr val="E58777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06CA3B06-0CC9-4CF4-971C-632C5D21D2A5}"/>
                </a:ext>
              </a:extLst>
            </p:cNvPr>
            <p:cNvSpPr/>
            <p:nvPr/>
          </p:nvSpPr>
          <p:spPr>
            <a:xfrm>
              <a:off x="20326811" y="8837731"/>
              <a:ext cx="98988" cy="541487"/>
            </a:xfrm>
            <a:custGeom>
              <a:avLst/>
              <a:gdLst>
                <a:gd name="connsiteX0" fmla="*/ 54360 w 98988"/>
                <a:gd name="connsiteY0" fmla="*/ 541488 h 541487"/>
                <a:gd name="connsiteX1" fmla="*/ 48411 w 98988"/>
                <a:gd name="connsiteY1" fmla="*/ 538513 h 541487"/>
                <a:gd name="connsiteX2" fmla="*/ 33535 w 98988"/>
                <a:gd name="connsiteY2" fmla="*/ 484959 h 541487"/>
                <a:gd name="connsiteX3" fmla="*/ 807 w 98988"/>
                <a:gd name="connsiteY3" fmla="*/ 339174 h 541487"/>
                <a:gd name="connsiteX4" fmla="*/ 87089 w 98988"/>
                <a:gd name="connsiteY4" fmla="*/ 2975 h 541487"/>
                <a:gd name="connsiteX5" fmla="*/ 96014 w 98988"/>
                <a:gd name="connsiteY5" fmla="*/ 0 h 541487"/>
                <a:gd name="connsiteX6" fmla="*/ 98989 w 98988"/>
                <a:gd name="connsiteY6" fmla="*/ 8926 h 541487"/>
                <a:gd name="connsiteX7" fmla="*/ 12709 w 98988"/>
                <a:gd name="connsiteY7" fmla="*/ 339174 h 541487"/>
                <a:gd name="connsiteX8" fmla="*/ 45435 w 98988"/>
                <a:gd name="connsiteY8" fmla="*/ 484959 h 541487"/>
                <a:gd name="connsiteX9" fmla="*/ 60311 w 98988"/>
                <a:gd name="connsiteY9" fmla="*/ 538513 h 541487"/>
                <a:gd name="connsiteX10" fmla="*/ 54360 w 98988"/>
                <a:gd name="connsiteY10" fmla="*/ 541488 h 541487"/>
                <a:gd name="connsiteX11" fmla="*/ 54360 w 98988"/>
                <a:gd name="connsiteY11" fmla="*/ 541488 h 54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8988" h="541487">
                  <a:moveTo>
                    <a:pt x="54360" y="541488"/>
                  </a:moveTo>
                  <a:cubicBezTo>
                    <a:pt x="51386" y="541488"/>
                    <a:pt x="48411" y="538513"/>
                    <a:pt x="48411" y="538513"/>
                  </a:cubicBezTo>
                  <a:cubicBezTo>
                    <a:pt x="42461" y="520661"/>
                    <a:pt x="39484" y="502810"/>
                    <a:pt x="33535" y="484959"/>
                  </a:cubicBezTo>
                  <a:cubicBezTo>
                    <a:pt x="18659" y="434380"/>
                    <a:pt x="3783" y="383802"/>
                    <a:pt x="807" y="339174"/>
                  </a:cubicBezTo>
                  <a:cubicBezTo>
                    <a:pt x="-5144" y="217190"/>
                    <a:pt x="21634" y="104132"/>
                    <a:pt x="87089" y="2975"/>
                  </a:cubicBezTo>
                  <a:cubicBezTo>
                    <a:pt x="90063" y="0"/>
                    <a:pt x="93040" y="0"/>
                    <a:pt x="96014" y="0"/>
                  </a:cubicBezTo>
                  <a:cubicBezTo>
                    <a:pt x="98989" y="2975"/>
                    <a:pt x="98989" y="5951"/>
                    <a:pt x="98989" y="8926"/>
                  </a:cubicBezTo>
                  <a:cubicBezTo>
                    <a:pt x="36510" y="110083"/>
                    <a:pt x="6758" y="220166"/>
                    <a:pt x="12709" y="339174"/>
                  </a:cubicBezTo>
                  <a:cubicBezTo>
                    <a:pt x="15683" y="383802"/>
                    <a:pt x="30559" y="434380"/>
                    <a:pt x="45435" y="484959"/>
                  </a:cubicBezTo>
                  <a:cubicBezTo>
                    <a:pt x="51386" y="502810"/>
                    <a:pt x="57337" y="520661"/>
                    <a:pt x="60311" y="538513"/>
                  </a:cubicBezTo>
                  <a:cubicBezTo>
                    <a:pt x="60311" y="538513"/>
                    <a:pt x="60311" y="541488"/>
                    <a:pt x="54360" y="541488"/>
                  </a:cubicBezTo>
                  <a:cubicBezTo>
                    <a:pt x="57337" y="541488"/>
                    <a:pt x="54360" y="541488"/>
                    <a:pt x="54360" y="541488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3FA32B17-9337-43CD-89F5-DCC4A2B1A2E8}"/>
                </a:ext>
              </a:extLst>
            </p:cNvPr>
            <p:cNvSpPr/>
            <p:nvPr/>
          </p:nvSpPr>
          <p:spPr>
            <a:xfrm>
              <a:off x="20446626" y="9266350"/>
              <a:ext cx="390985" cy="35513"/>
            </a:xfrm>
            <a:custGeom>
              <a:avLst/>
              <a:gdLst>
                <a:gd name="connsiteX0" fmla="*/ 5951 w 390985"/>
                <a:gd name="connsiteY0" fmla="*/ 35513 h 35513"/>
                <a:gd name="connsiteX1" fmla="*/ 0 w 390985"/>
                <a:gd name="connsiteY1" fmla="*/ 32538 h 35513"/>
                <a:gd name="connsiteX2" fmla="*/ 2976 w 390985"/>
                <a:gd name="connsiteY2" fmla="*/ 26587 h 35513"/>
                <a:gd name="connsiteX3" fmla="*/ 386777 w 390985"/>
                <a:gd name="connsiteY3" fmla="*/ 14687 h 35513"/>
                <a:gd name="connsiteX4" fmla="*/ 389753 w 390985"/>
                <a:gd name="connsiteY4" fmla="*/ 20637 h 35513"/>
                <a:gd name="connsiteX5" fmla="*/ 383802 w 390985"/>
                <a:gd name="connsiteY5" fmla="*/ 23613 h 35513"/>
                <a:gd name="connsiteX6" fmla="*/ 5951 w 390985"/>
                <a:gd name="connsiteY6" fmla="*/ 35513 h 35513"/>
                <a:gd name="connsiteX7" fmla="*/ 5951 w 390985"/>
                <a:gd name="connsiteY7" fmla="*/ 35513 h 35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985" h="35513">
                  <a:moveTo>
                    <a:pt x="5951" y="35513"/>
                  </a:moveTo>
                  <a:cubicBezTo>
                    <a:pt x="2976" y="35513"/>
                    <a:pt x="2976" y="35513"/>
                    <a:pt x="0" y="32538"/>
                  </a:cubicBezTo>
                  <a:cubicBezTo>
                    <a:pt x="0" y="29563"/>
                    <a:pt x="0" y="26587"/>
                    <a:pt x="2976" y="26587"/>
                  </a:cubicBezTo>
                  <a:cubicBezTo>
                    <a:pt x="86282" y="-3165"/>
                    <a:pt x="288595" y="-9115"/>
                    <a:pt x="386777" y="14687"/>
                  </a:cubicBezTo>
                  <a:cubicBezTo>
                    <a:pt x="389753" y="14687"/>
                    <a:pt x="392728" y="17662"/>
                    <a:pt x="389753" y="20637"/>
                  </a:cubicBezTo>
                  <a:cubicBezTo>
                    <a:pt x="389753" y="23613"/>
                    <a:pt x="386777" y="26587"/>
                    <a:pt x="383802" y="23613"/>
                  </a:cubicBezTo>
                  <a:cubicBezTo>
                    <a:pt x="288595" y="-189"/>
                    <a:pt x="89256" y="5761"/>
                    <a:pt x="5951" y="35513"/>
                  </a:cubicBezTo>
                  <a:cubicBezTo>
                    <a:pt x="5951" y="35513"/>
                    <a:pt x="5951" y="35513"/>
                    <a:pt x="5951" y="35513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60496938-D2A4-4204-984F-5408860DC910}"/>
                </a:ext>
              </a:extLst>
            </p:cNvPr>
            <p:cNvSpPr/>
            <p:nvPr/>
          </p:nvSpPr>
          <p:spPr>
            <a:xfrm>
              <a:off x="20577536" y="8745500"/>
              <a:ext cx="351074" cy="62479"/>
            </a:xfrm>
            <a:custGeom>
              <a:avLst/>
              <a:gdLst>
                <a:gd name="connsiteX0" fmla="*/ 35703 w 351074"/>
                <a:gd name="connsiteY0" fmla="*/ 8926 h 62479"/>
                <a:gd name="connsiteX1" fmla="*/ 327273 w 351074"/>
                <a:gd name="connsiteY1" fmla="*/ 0 h 62479"/>
                <a:gd name="connsiteX2" fmla="*/ 351074 w 351074"/>
                <a:gd name="connsiteY2" fmla="*/ 8926 h 62479"/>
                <a:gd name="connsiteX3" fmla="*/ 166611 w 351074"/>
                <a:gd name="connsiteY3" fmla="*/ 62479 h 62479"/>
                <a:gd name="connsiteX4" fmla="*/ 0 w 351074"/>
                <a:gd name="connsiteY4" fmla="*/ 14876 h 62479"/>
                <a:gd name="connsiteX5" fmla="*/ 35703 w 351074"/>
                <a:gd name="connsiteY5" fmla="*/ 8926 h 62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1074" h="62479">
                  <a:moveTo>
                    <a:pt x="35703" y="8926"/>
                  </a:moveTo>
                  <a:cubicBezTo>
                    <a:pt x="35703" y="8926"/>
                    <a:pt x="145784" y="65454"/>
                    <a:pt x="327273" y="0"/>
                  </a:cubicBezTo>
                  <a:lnTo>
                    <a:pt x="351074" y="8926"/>
                  </a:lnTo>
                  <a:cubicBezTo>
                    <a:pt x="351074" y="8926"/>
                    <a:pt x="273719" y="62479"/>
                    <a:pt x="166611" y="62479"/>
                  </a:cubicBezTo>
                  <a:cubicBezTo>
                    <a:pt x="65455" y="62479"/>
                    <a:pt x="0" y="14876"/>
                    <a:pt x="0" y="14876"/>
                  </a:cubicBezTo>
                  <a:cubicBezTo>
                    <a:pt x="0" y="14876"/>
                    <a:pt x="17851" y="8926"/>
                    <a:pt x="35703" y="8926"/>
                  </a:cubicBezTo>
                  <a:close/>
                </a:path>
              </a:pathLst>
            </a:custGeom>
            <a:solidFill>
              <a:srgbClr val="F6EBE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1328EC41-6C1D-4664-8C77-0FD7279230DF}"/>
                </a:ext>
              </a:extLst>
            </p:cNvPr>
            <p:cNvSpPr/>
            <p:nvPr/>
          </p:nvSpPr>
          <p:spPr>
            <a:xfrm>
              <a:off x="20924312" y="8366200"/>
              <a:ext cx="77033" cy="111296"/>
            </a:xfrm>
            <a:custGeom>
              <a:avLst/>
              <a:gdLst>
                <a:gd name="connsiteX0" fmla="*/ 13223 w 77033"/>
                <a:gd name="connsiteY0" fmla="*/ 16325 h 111296"/>
                <a:gd name="connsiteX1" fmla="*/ 69753 w 77033"/>
                <a:gd name="connsiteY1" fmla="*/ 7399 h 111296"/>
                <a:gd name="connsiteX2" fmla="*/ 13223 w 77033"/>
                <a:gd name="connsiteY2" fmla="*/ 108556 h 111296"/>
                <a:gd name="connsiteX3" fmla="*/ 13223 w 77033"/>
                <a:gd name="connsiteY3" fmla="*/ 16325 h 111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033" h="111296">
                  <a:moveTo>
                    <a:pt x="13223" y="16325"/>
                  </a:moveTo>
                  <a:cubicBezTo>
                    <a:pt x="13223" y="16325"/>
                    <a:pt x="45952" y="-13427"/>
                    <a:pt x="69753" y="7399"/>
                  </a:cubicBezTo>
                  <a:cubicBezTo>
                    <a:pt x="93554" y="25250"/>
                    <a:pt x="54877" y="129382"/>
                    <a:pt x="13223" y="108556"/>
                  </a:cubicBezTo>
                  <a:cubicBezTo>
                    <a:pt x="-16529" y="90705"/>
                    <a:pt x="13223" y="16325"/>
                    <a:pt x="13223" y="16325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D8908E3F-51F2-4EE4-B708-14CC62ECB1A1}"/>
                </a:ext>
              </a:extLst>
            </p:cNvPr>
            <p:cNvSpPr/>
            <p:nvPr/>
          </p:nvSpPr>
          <p:spPr>
            <a:xfrm>
              <a:off x="20526957" y="8204012"/>
              <a:ext cx="246941" cy="154710"/>
            </a:xfrm>
            <a:custGeom>
              <a:avLst/>
              <a:gdLst>
                <a:gd name="connsiteX0" fmla="*/ 5951 w 246941"/>
                <a:gd name="connsiteY0" fmla="*/ 154711 h 154710"/>
                <a:gd name="connsiteX1" fmla="*/ 5951 w 246941"/>
                <a:gd name="connsiteY1" fmla="*/ 154711 h 154710"/>
                <a:gd name="connsiteX2" fmla="*/ 0 w 246941"/>
                <a:gd name="connsiteY2" fmla="*/ 148760 h 154710"/>
                <a:gd name="connsiteX3" fmla="*/ 107107 w 246941"/>
                <a:gd name="connsiteY3" fmla="*/ 44628 h 154710"/>
                <a:gd name="connsiteX4" fmla="*/ 238017 w 246941"/>
                <a:gd name="connsiteY4" fmla="*/ 0 h 154710"/>
                <a:gd name="connsiteX5" fmla="*/ 246942 w 246941"/>
                <a:gd name="connsiteY5" fmla="*/ 2975 h 154710"/>
                <a:gd name="connsiteX6" fmla="*/ 243967 w 246941"/>
                <a:gd name="connsiteY6" fmla="*/ 11901 h 154710"/>
                <a:gd name="connsiteX7" fmla="*/ 113057 w 246941"/>
                <a:gd name="connsiteY7" fmla="*/ 56529 h 154710"/>
                <a:gd name="connsiteX8" fmla="*/ 14876 w 246941"/>
                <a:gd name="connsiteY8" fmla="*/ 151735 h 154710"/>
                <a:gd name="connsiteX9" fmla="*/ 5951 w 246941"/>
                <a:gd name="connsiteY9" fmla="*/ 154711 h 15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941" h="154710">
                  <a:moveTo>
                    <a:pt x="5951" y="154711"/>
                  </a:moveTo>
                  <a:cubicBezTo>
                    <a:pt x="5951" y="154711"/>
                    <a:pt x="5951" y="154711"/>
                    <a:pt x="5951" y="154711"/>
                  </a:cubicBezTo>
                  <a:cubicBezTo>
                    <a:pt x="2974" y="154711"/>
                    <a:pt x="0" y="151735"/>
                    <a:pt x="0" y="148760"/>
                  </a:cubicBezTo>
                  <a:cubicBezTo>
                    <a:pt x="11902" y="80330"/>
                    <a:pt x="59504" y="59504"/>
                    <a:pt x="107107" y="44628"/>
                  </a:cubicBezTo>
                  <a:cubicBezTo>
                    <a:pt x="172562" y="26777"/>
                    <a:pt x="235042" y="0"/>
                    <a:pt x="238017" y="0"/>
                  </a:cubicBezTo>
                  <a:cubicBezTo>
                    <a:pt x="240991" y="0"/>
                    <a:pt x="243967" y="0"/>
                    <a:pt x="246942" y="2975"/>
                  </a:cubicBezTo>
                  <a:cubicBezTo>
                    <a:pt x="246942" y="5950"/>
                    <a:pt x="246942" y="8925"/>
                    <a:pt x="243967" y="11901"/>
                  </a:cubicBezTo>
                  <a:cubicBezTo>
                    <a:pt x="243967" y="11901"/>
                    <a:pt x="178512" y="35702"/>
                    <a:pt x="113057" y="56529"/>
                  </a:cubicBezTo>
                  <a:cubicBezTo>
                    <a:pt x="59504" y="71405"/>
                    <a:pt x="23801" y="95207"/>
                    <a:pt x="14876" y="151735"/>
                  </a:cubicBezTo>
                  <a:cubicBezTo>
                    <a:pt x="11902" y="151735"/>
                    <a:pt x="8925" y="154711"/>
                    <a:pt x="5951" y="154711"/>
                  </a:cubicBezTo>
                  <a:close/>
                </a:path>
              </a:pathLst>
            </a:custGeom>
            <a:solidFill>
              <a:srgbClr val="6C5D6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26C8F78D-796C-4E6F-9240-3E90F28652F1}"/>
                </a:ext>
              </a:extLst>
            </p:cNvPr>
            <p:cNvSpPr/>
            <p:nvPr/>
          </p:nvSpPr>
          <p:spPr>
            <a:xfrm>
              <a:off x="20800677" y="7835086"/>
              <a:ext cx="516942" cy="1014589"/>
            </a:xfrm>
            <a:custGeom>
              <a:avLst/>
              <a:gdLst>
                <a:gd name="connsiteX0" fmla="*/ 413553 w 516942"/>
                <a:gd name="connsiteY0" fmla="*/ 949091 h 1014589"/>
                <a:gd name="connsiteX1" fmla="*/ 205288 w 516942"/>
                <a:gd name="connsiteY1" fmla="*/ 827108 h 1014589"/>
                <a:gd name="connsiteX2" fmla="*/ 303471 w 516942"/>
                <a:gd name="connsiteY2" fmla="*/ 398678 h 1014589"/>
                <a:gd name="connsiteX3" fmla="*/ 0 w 516942"/>
                <a:gd name="connsiteY3" fmla="*/ 101157 h 1014589"/>
                <a:gd name="connsiteX4" fmla="*/ 35703 w 516942"/>
                <a:gd name="connsiteY4" fmla="*/ 0 h 1014589"/>
                <a:gd name="connsiteX5" fmla="*/ 502809 w 516942"/>
                <a:gd name="connsiteY5" fmla="*/ 351074 h 1014589"/>
                <a:gd name="connsiteX6" fmla="*/ 413553 w 516942"/>
                <a:gd name="connsiteY6" fmla="*/ 949091 h 1014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6942" h="1014589">
                  <a:moveTo>
                    <a:pt x="413553" y="949091"/>
                  </a:moveTo>
                  <a:cubicBezTo>
                    <a:pt x="324296" y="1103802"/>
                    <a:pt x="175536" y="952066"/>
                    <a:pt x="205288" y="827108"/>
                  </a:cubicBezTo>
                  <a:cubicBezTo>
                    <a:pt x="232066" y="705124"/>
                    <a:pt x="279668" y="473058"/>
                    <a:pt x="303471" y="398678"/>
                  </a:cubicBezTo>
                  <a:cubicBezTo>
                    <a:pt x="276694" y="312397"/>
                    <a:pt x="0" y="101157"/>
                    <a:pt x="0" y="101157"/>
                  </a:cubicBezTo>
                  <a:cubicBezTo>
                    <a:pt x="20827" y="77356"/>
                    <a:pt x="35703" y="0"/>
                    <a:pt x="35703" y="0"/>
                  </a:cubicBezTo>
                  <a:cubicBezTo>
                    <a:pt x="35703" y="0"/>
                    <a:pt x="434379" y="243967"/>
                    <a:pt x="502809" y="351074"/>
                  </a:cubicBezTo>
                  <a:cubicBezTo>
                    <a:pt x="538512" y="401653"/>
                    <a:pt x="505785" y="785455"/>
                    <a:pt x="413553" y="949091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2CD7F166-8961-4385-A8B9-E6B2D0D8A60E}"/>
                </a:ext>
              </a:extLst>
            </p:cNvPr>
            <p:cNvSpPr/>
            <p:nvPr/>
          </p:nvSpPr>
          <p:spPr>
            <a:xfrm>
              <a:off x="20943296" y="8526114"/>
              <a:ext cx="372091" cy="424729"/>
            </a:xfrm>
            <a:custGeom>
              <a:avLst/>
              <a:gdLst>
                <a:gd name="connsiteX0" fmla="*/ 372091 w 372091"/>
                <a:gd name="connsiteY0" fmla="*/ 136080 h 424729"/>
                <a:gd name="connsiteX1" fmla="*/ 101348 w 372091"/>
                <a:gd name="connsiteY1" fmla="*/ 424675 h 424729"/>
                <a:gd name="connsiteX2" fmla="*/ 41844 w 372091"/>
                <a:gd name="connsiteY2" fmla="*/ 2195 h 424729"/>
                <a:gd name="connsiteX3" fmla="*/ 372091 w 372091"/>
                <a:gd name="connsiteY3" fmla="*/ 136080 h 424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2091" h="424729">
                  <a:moveTo>
                    <a:pt x="372091" y="136080"/>
                  </a:moveTo>
                  <a:cubicBezTo>
                    <a:pt x="321512" y="308642"/>
                    <a:pt x="178703" y="427650"/>
                    <a:pt x="101348" y="424675"/>
                  </a:cubicBezTo>
                  <a:cubicBezTo>
                    <a:pt x="190" y="418724"/>
                    <a:pt x="-35513" y="186658"/>
                    <a:pt x="41844" y="2195"/>
                  </a:cubicBezTo>
                  <a:cubicBezTo>
                    <a:pt x="113248" y="-15656"/>
                    <a:pt x="291760" y="79551"/>
                    <a:pt x="372091" y="136080"/>
                  </a:cubicBezTo>
                  <a:close/>
                </a:path>
              </a:pathLst>
            </a:custGeom>
            <a:solidFill>
              <a:srgbClr val="7F95BC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351CBDDD-3728-46F4-B42A-6BDBAEF68C6D}"/>
                </a:ext>
              </a:extLst>
            </p:cNvPr>
            <p:cNvSpPr/>
            <p:nvPr/>
          </p:nvSpPr>
          <p:spPr>
            <a:xfrm>
              <a:off x="20945271" y="8521981"/>
              <a:ext cx="179702" cy="425832"/>
            </a:xfrm>
            <a:custGeom>
              <a:avLst/>
              <a:gdLst>
                <a:gd name="connsiteX0" fmla="*/ 72595 w 179702"/>
                <a:gd name="connsiteY0" fmla="*/ 425833 h 425832"/>
                <a:gd name="connsiteX1" fmla="*/ 72595 w 179702"/>
                <a:gd name="connsiteY1" fmla="*/ 425833 h 425832"/>
                <a:gd name="connsiteX2" fmla="*/ 24993 w 179702"/>
                <a:gd name="connsiteY2" fmla="*/ 378229 h 425832"/>
                <a:gd name="connsiteX3" fmla="*/ 36893 w 179702"/>
                <a:gd name="connsiteY3" fmla="*/ 3353 h 425832"/>
                <a:gd name="connsiteX4" fmla="*/ 36893 w 179702"/>
                <a:gd name="connsiteY4" fmla="*/ 3353 h 425832"/>
                <a:gd name="connsiteX5" fmla="*/ 36893 w 179702"/>
                <a:gd name="connsiteY5" fmla="*/ 3353 h 425832"/>
                <a:gd name="connsiteX6" fmla="*/ 176728 w 179702"/>
                <a:gd name="connsiteY6" fmla="*/ 39056 h 425832"/>
                <a:gd name="connsiteX7" fmla="*/ 179702 w 179702"/>
                <a:gd name="connsiteY7" fmla="*/ 45006 h 425832"/>
                <a:gd name="connsiteX8" fmla="*/ 173753 w 179702"/>
                <a:gd name="connsiteY8" fmla="*/ 47981 h 425832"/>
                <a:gd name="connsiteX9" fmla="*/ 45818 w 179702"/>
                <a:gd name="connsiteY9" fmla="*/ 12279 h 425832"/>
                <a:gd name="connsiteX10" fmla="*/ 33918 w 179702"/>
                <a:gd name="connsiteY10" fmla="*/ 375254 h 425832"/>
                <a:gd name="connsiteX11" fmla="*/ 72595 w 179702"/>
                <a:gd name="connsiteY11" fmla="*/ 416907 h 425832"/>
                <a:gd name="connsiteX12" fmla="*/ 75570 w 179702"/>
                <a:gd name="connsiteY12" fmla="*/ 422857 h 425832"/>
                <a:gd name="connsiteX13" fmla="*/ 72595 w 179702"/>
                <a:gd name="connsiteY13" fmla="*/ 425833 h 42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9702" h="425832">
                  <a:moveTo>
                    <a:pt x="72595" y="425833"/>
                  </a:moveTo>
                  <a:cubicBezTo>
                    <a:pt x="69621" y="425833"/>
                    <a:pt x="69621" y="425833"/>
                    <a:pt x="72595" y="425833"/>
                  </a:cubicBezTo>
                  <a:cubicBezTo>
                    <a:pt x="51769" y="419882"/>
                    <a:pt x="36893" y="402031"/>
                    <a:pt x="24993" y="378229"/>
                  </a:cubicBezTo>
                  <a:cubicBezTo>
                    <a:pt x="-16661" y="288973"/>
                    <a:pt x="-1785" y="95584"/>
                    <a:pt x="36893" y="3353"/>
                  </a:cubicBezTo>
                  <a:lnTo>
                    <a:pt x="36893" y="3353"/>
                  </a:lnTo>
                  <a:lnTo>
                    <a:pt x="36893" y="3353"/>
                  </a:lnTo>
                  <a:cubicBezTo>
                    <a:pt x="39869" y="378"/>
                    <a:pt x="66645" y="-11523"/>
                    <a:pt x="176728" y="39056"/>
                  </a:cubicBezTo>
                  <a:cubicBezTo>
                    <a:pt x="179702" y="39056"/>
                    <a:pt x="179702" y="45006"/>
                    <a:pt x="179702" y="45006"/>
                  </a:cubicBezTo>
                  <a:cubicBezTo>
                    <a:pt x="179702" y="47981"/>
                    <a:pt x="173753" y="47981"/>
                    <a:pt x="173753" y="47981"/>
                  </a:cubicBezTo>
                  <a:cubicBezTo>
                    <a:pt x="81521" y="6328"/>
                    <a:pt x="51769" y="9304"/>
                    <a:pt x="45818" y="12279"/>
                  </a:cubicBezTo>
                  <a:cubicBezTo>
                    <a:pt x="7141" y="104510"/>
                    <a:pt x="-4759" y="288973"/>
                    <a:pt x="33918" y="375254"/>
                  </a:cubicBezTo>
                  <a:cubicBezTo>
                    <a:pt x="45818" y="399055"/>
                    <a:pt x="57719" y="413931"/>
                    <a:pt x="72595" y="416907"/>
                  </a:cubicBezTo>
                  <a:cubicBezTo>
                    <a:pt x="75570" y="416907"/>
                    <a:pt x="78546" y="419882"/>
                    <a:pt x="75570" y="422857"/>
                  </a:cubicBezTo>
                  <a:cubicBezTo>
                    <a:pt x="75570" y="422857"/>
                    <a:pt x="72595" y="425833"/>
                    <a:pt x="72595" y="425833"/>
                  </a:cubicBezTo>
                  <a:close/>
                </a:path>
              </a:pathLst>
            </a:custGeom>
            <a:solidFill>
              <a:srgbClr val="38343B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64783541-33F6-4808-996C-E3E0E489B7B8}"/>
                </a:ext>
              </a:extLst>
            </p:cNvPr>
            <p:cNvSpPr/>
            <p:nvPr/>
          </p:nvSpPr>
          <p:spPr>
            <a:xfrm>
              <a:off x="20690594" y="7584789"/>
              <a:ext cx="108595" cy="345504"/>
            </a:xfrm>
            <a:custGeom>
              <a:avLst/>
              <a:gdLst>
                <a:gd name="connsiteX0" fmla="*/ 98181 w 108595"/>
                <a:gd name="connsiteY0" fmla="*/ 62860 h 345504"/>
                <a:gd name="connsiteX1" fmla="*/ 80331 w 108595"/>
                <a:gd name="connsiteY1" fmla="*/ 45009 h 345504"/>
                <a:gd name="connsiteX2" fmla="*/ 62479 w 108595"/>
                <a:gd name="connsiteY2" fmla="*/ 6331 h 345504"/>
                <a:gd name="connsiteX3" fmla="*/ 26778 w 108595"/>
                <a:gd name="connsiteY3" fmla="*/ 15257 h 345504"/>
                <a:gd name="connsiteX4" fmla="*/ 20827 w 108595"/>
                <a:gd name="connsiteY4" fmla="*/ 56909 h 345504"/>
                <a:gd name="connsiteX5" fmla="*/ 0 w 108595"/>
                <a:gd name="connsiteY5" fmla="*/ 80711 h 345504"/>
                <a:gd name="connsiteX6" fmla="*/ 2974 w 108595"/>
                <a:gd name="connsiteY6" fmla="*/ 306827 h 345504"/>
                <a:gd name="connsiteX7" fmla="*/ 41654 w 108595"/>
                <a:gd name="connsiteY7" fmla="*/ 345504 h 345504"/>
                <a:gd name="connsiteX8" fmla="*/ 101158 w 108595"/>
                <a:gd name="connsiteY8" fmla="*/ 274099 h 345504"/>
                <a:gd name="connsiteX9" fmla="*/ 98181 w 108595"/>
                <a:gd name="connsiteY9" fmla="*/ 62860 h 345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595" h="345504">
                  <a:moveTo>
                    <a:pt x="98181" y="62860"/>
                  </a:moveTo>
                  <a:cubicBezTo>
                    <a:pt x="95207" y="53934"/>
                    <a:pt x="86282" y="47984"/>
                    <a:pt x="80331" y="45009"/>
                  </a:cubicBezTo>
                  <a:cubicBezTo>
                    <a:pt x="77355" y="30133"/>
                    <a:pt x="71406" y="18231"/>
                    <a:pt x="62479" y="6331"/>
                  </a:cubicBezTo>
                  <a:cubicBezTo>
                    <a:pt x="53553" y="-5570"/>
                    <a:pt x="32727" y="380"/>
                    <a:pt x="26778" y="15257"/>
                  </a:cubicBezTo>
                  <a:cubicBezTo>
                    <a:pt x="23801" y="30133"/>
                    <a:pt x="23801" y="42033"/>
                    <a:pt x="20827" y="56909"/>
                  </a:cubicBezTo>
                  <a:cubicBezTo>
                    <a:pt x="8925" y="56909"/>
                    <a:pt x="0" y="65835"/>
                    <a:pt x="0" y="80711"/>
                  </a:cubicBezTo>
                  <a:cubicBezTo>
                    <a:pt x="0" y="146165"/>
                    <a:pt x="2974" y="241372"/>
                    <a:pt x="2974" y="306827"/>
                  </a:cubicBezTo>
                  <a:cubicBezTo>
                    <a:pt x="2974" y="321703"/>
                    <a:pt x="32727" y="345504"/>
                    <a:pt x="41654" y="345504"/>
                  </a:cubicBezTo>
                  <a:cubicBezTo>
                    <a:pt x="80331" y="345504"/>
                    <a:pt x="98181" y="312777"/>
                    <a:pt x="101158" y="274099"/>
                  </a:cubicBezTo>
                  <a:cubicBezTo>
                    <a:pt x="110083" y="223521"/>
                    <a:pt x="113057" y="116413"/>
                    <a:pt x="98181" y="62860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57D7B4BD-7A7B-4D58-8160-4937D750AEA4}"/>
                </a:ext>
              </a:extLst>
            </p:cNvPr>
            <p:cNvSpPr/>
            <p:nvPr/>
          </p:nvSpPr>
          <p:spPr>
            <a:xfrm>
              <a:off x="20748951" y="7584789"/>
              <a:ext cx="105278" cy="345504"/>
            </a:xfrm>
            <a:custGeom>
              <a:avLst/>
              <a:gdLst>
                <a:gd name="connsiteX0" fmla="*/ 10072 w 105278"/>
                <a:gd name="connsiteY0" fmla="*/ 62860 h 345504"/>
                <a:gd name="connsiteX1" fmla="*/ 27924 w 105278"/>
                <a:gd name="connsiteY1" fmla="*/ 45009 h 345504"/>
                <a:gd name="connsiteX2" fmla="*/ 45775 w 105278"/>
                <a:gd name="connsiteY2" fmla="*/ 6331 h 345504"/>
                <a:gd name="connsiteX3" fmla="*/ 78501 w 105278"/>
                <a:gd name="connsiteY3" fmla="*/ 15257 h 345504"/>
                <a:gd name="connsiteX4" fmla="*/ 84452 w 105278"/>
                <a:gd name="connsiteY4" fmla="*/ 56909 h 345504"/>
                <a:gd name="connsiteX5" fmla="*/ 105279 w 105278"/>
                <a:gd name="connsiteY5" fmla="*/ 80711 h 345504"/>
                <a:gd name="connsiteX6" fmla="*/ 102304 w 105278"/>
                <a:gd name="connsiteY6" fmla="*/ 306827 h 345504"/>
                <a:gd name="connsiteX7" fmla="*/ 66601 w 105278"/>
                <a:gd name="connsiteY7" fmla="*/ 345504 h 345504"/>
                <a:gd name="connsiteX8" fmla="*/ 10072 w 105278"/>
                <a:gd name="connsiteY8" fmla="*/ 274099 h 345504"/>
                <a:gd name="connsiteX9" fmla="*/ 10072 w 105278"/>
                <a:gd name="connsiteY9" fmla="*/ 62860 h 345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5278" h="345504">
                  <a:moveTo>
                    <a:pt x="10072" y="62860"/>
                  </a:moveTo>
                  <a:cubicBezTo>
                    <a:pt x="13048" y="53934"/>
                    <a:pt x="18997" y="47984"/>
                    <a:pt x="27924" y="45009"/>
                  </a:cubicBezTo>
                  <a:cubicBezTo>
                    <a:pt x="30899" y="30133"/>
                    <a:pt x="36849" y="18231"/>
                    <a:pt x="45775" y="6331"/>
                  </a:cubicBezTo>
                  <a:cubicBezTo>
                    <a:pt x="54700" y="-5570"/>
                    <a:pt x="75527" y="380"/>
                    <a:pt x="78501" y="15257"/>
                  </a:cubicBezTo>
                  <a:cubicBezTo>
                    <a:pt x="81477" y="30133"/>
                    <a:pt x="81477" y="42033"/>
                    <a:pt x="84452" y="56909"/>
                  </a:cubicBezTo>
                  <a:cubicBezTo>
                    <a:pt x="93377" y="56909"/>
                    <a:pt x="105279" y="65835"/>
                    <a:pt x="105279" y="80711"/>
                  </a:cubicBezTo>
                  <a:cubicBezTo>
                    <a:pt x="105279" y="146165"/>
                    <a:pt x="102304" y="241372"/>
                    <a:pt x="102304" y="306827"/>
                  </a:cubicBezTo>
                  <a:cubicBezTo>
                    <a:pt x="102304" y="321703"/>
                    <a:pt x="75527" y="345504"/>
                    <a:pt x="66601" y="345504"/>
                  </a:cubicBezTo>
                  <a:cubicBezTo>
                    <a:pt x="27924" y="345504"/>
                    <a:pt x="13048" y="312777"/>
                    <a:pt x="10072" y="274099"/>
                  </a:cubicBezTo>
                  <a:cubicBezTo>
                    <a:pt x="-1828" y="223521"/>
                    <a:pt x="-4804" y="116413"/>
                    <a:pt x="10072" y="62860"/>
                  </a:cubicBezTo>
                  <a:close/>
                </a:path>
              </a:pathLst>
            </a:custGeom>
            <a:solidFill>
              <a:srgbClr val="F5A398"/>
            </a:solidFill>
            <a:ln w="297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309834579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2" name="图形 1">
            <a:extLst>
              <a:ext uri="{FF2B5EF4-FFF2-40B4-BE49-F238E27FC236}">
                <a16:creationId xmlns:a16="http://schemas.microsoft.com/office/drawing/2014/main" id="{642B4E27-4193-4C43-9A4D-E25F56DEE238}"/>
              </a:ext>
            </a:extLst>
          </p:cNvPr>
          <p:cNvGrpSpPr/>
          <p:nvPr/>
        </p:nvGrpSpPr>
        <p:grpSpPr>
          <a:xfrm>
            <a:off x="2851579" y="1968517"/>
            <a:ext cx="6921835" cy="4888958"/>
            <a:chOff x="2508679" y="1765302"/>
            <a:chExt cx="6921835" cy="4888958"/>
          </a:xfrm>
        </p:grpSpPr>
        <p:grpSp>
          <p:nvGrpSpPr>
            <p:cNvPr id="163" name="图形 1">
              <a:extLst>
                <a:ext uri="{FF2B5EF4-FFF2-40B4-BE49-F238E27FC236}">
                  <a16:creationId xmlns:a16="http://schemas.microsoft.com/office/drawing/2014/main" id="{642B4E27-4193-4C43-9A4D-E25F56DEE238}"/>
                </a:ext>
              </a:extLst>
            </p:cNvPr>
            <p:cNvGrpSpPr/>
            <p:nvPr/>
          </p:nvGrpSpPr>
          <p:grpSpPr>
            <a:xfrm>
              <a:off x="6604109" y="3595442"/>
              <a:ext cx="361053" cy="249539"/>
              <a:chOff x="6604109" y="3595442"/>
              <a:chExt cx="361053" cy="249539"/>
            </a:xfrm>
          </p:grpSpPr>
          <p:grpSp>
            <p:nvGrpSpPr>
              <p:cNvPr id="164" name="图形 1">
                <a:extLst>
                  <a:ext uri="{FF2B5EF4-FFF2-40B4-BE49-F238E27FC236}">
                    <a16:creationId xmlns:a16="http://schemas.microsoft.com/office/drawing/2014/main" id="{642B4E27-4193-4C43-9A4D-E25F56DEE238}"/>
                  </a:ext>
                </a:extLst>
              </p:cNvPr>
              <p:cNvGrpSpPr/>
              <p:nvPr/>
            </p:nvGrpSpPr>
            <p:grpSpPr>
              <a:xfrm>
                <a:off x="6604109" y="3595442"/>
                <a:ext cx="361053" cy="246427"/>
                <a:chOff x="6604109" y="3595442"/>
                <a:chExt cx="361053" cy="246427"/>
              </a:xfrm>
            </p:grpSpPr>
            <p:sp>
              <p:nvSpPr>
                <p:cNvPr id="165" name="任意多边形: 形状 164">
                  <a:extLst>
                    <a:ext uri="{FF2B5EF4-FFF2-40B4-BE49-F238E27FC236}">
                      <a16:creationId xmlns:a16="http://schemas.microsoft.com/office/drawing/2014/main" id="{8643A93E-3216-4E00-BEC9-F2BD05AF2F64}"/>
                    </a:ext>
                  </a:extLst>
                </p:cNvPr>
                <p:cNvSpPr/>
                <p:nvPr/>
              </p:nvSpPr>
              <p:spPr>
                <a:xfrm>
                  <a:off x="6604109" y="3595442"/>
                  <a:ext cx="352366" cy="246427"/>
                </a:xfrm>
                <a:custGeom>
                  <a:avLst/>
                  <a:gdLst>
                    <a:gd name="connsiteX0" fmla="*/ 268927 w 352366"/>
                    <a:gd name="connsiteY0" fmla="*/ 240282 h 246427"/>
                    <a:gd name="connsiteX1" fmla="*/ 262756 w 352366"/>
                    <a:gd name="connsiteY1" fmla="*/ 218682 h 246427"/>
                    <a:gd name="connsiteX2" fmla="*/ 256585 w 352366"/>
                    <a:gd name="connsiteY2" fmla="*/ 212511 h 246427"/>
                    <a:gd name="connsiteX3" fmla="*/ 281270 w 352366"/>
                    <a:gd name="connsiteY3" fmla="*/ 221768 h 246427"/>
                    <a:gd name="connsiteX4" fmla="*/ 327556 w 352366"/>
                    <a:gd name="connsiteY4" fmla="*/ 227939 h 246427"/>
                    <a:gd name="connsiteX5" fmla="*/ 324470 w 352366"/>
                    <a:gd name="connsiteY5" fmla="*/ 215596 h 246427"/>
                    <a:gd name="connsiteX6" fmla="*/ 321385 w 352366"/>
                    <a:gd name="connsiteY6" fmla="*/ 212511 h 246427"/>
                    <a:gd name="connsiteX7" fmla="*/ 349156 w 352366"/>
                    <a:gd name="connsiteY7" fmla="*/ 200168 h 246427"/>
                    <a:gd name="connsiteX8" fmla="*/ 342985 w 352366"/>
                    <a:gd name="connsiteY8" fmla="*/ 172396 h 246427"/>
                    <a:gd name="connsiteX9" fmla="*/ 290528 w 352366"/>
                    <a:gd name="connsiteY9" fmla="*/ 147711 h 246427"/>
                    <a:gd name="connsiteX10" fmla="*/ 216470 w 352366"/>
                    <a:gd name="connsiteY10" fmla="*/ 116853 h 246427"/>
                    <a:gd name="connsiteX11" fmla="*/ 275099 w 352366"/>
                    <a:gd name="connsiteY11" fmla="*/ 123025 h 246427"/>
                    <a:gd name="connsiteX12" fmla="*/ 318299 w 352366"/>
                    <a:gd name="connsiteY12" fmla="*/ 126111 h 246427"/>
                    <a:gd name="connsiteX13" fmla="*/ 299784 w 352366"/>
                    <a:gd name="connsiteY13" fmla="*/ 95253 h 246427"/>
                    <a:gd name="connsiteX14" fmla="*/ 114641 w 352366"/>
                    <a:gd name="connsiteY14" fmla="*/ 55139 h 246427"/>
                    <a:gd name="connsiteX15" fmla="*/ 182528 w 352366"/>
                    <a:gd name="connsiteY15" fmla="*/ 42796 h 246427"/>
                    <a:gd name="connsiteX16" fmla="*/ 191784 w 352366"/>
                    <a:gd name="connsiteY16" fmla="*/ 15025 h 246427"/>
                    <a:gd name="connsiteX17" fmla="*/ 12813 w 352366"/>
                    <a:gd name="connsiteY17" fmla="*/ 55139 h 246427"/>
                    <a:gd name="connsiteX18" fmla="*/ 12813 w 352366"/>
                    <a:gd name="connsiteY18" fmla="*/ 55139 h 246427"/>
                    <a:gd name="connsiteX19" fmla="*/ 9727 w 352366"/>
                    <a:gd name="connsiteY19" fmla="*/ 55139 h 246427"/>
                    <a:gd name="connsiteX20" fmla="*/ 25156 w 352366"/>
                    <a:gd name="connsiteY20" fmla="*/ 163139 h 246427"/>
                    <a:gd name="connsiteX21" fmla="*/ 151670 w 352366"/>
                    <a:gd name="connsiteY21" fmla="*/ 215596 h 246427"/>
                    <a:gd name="connsiteX22" fmla="*/ 268927 w 352366"/>
                    <a:gd name="connsiteY22" fmla="*/ 240282 h 246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352366" h="246427">
                      <a:moveTo>
                        <a:pt x="268927" y="240282"/>
                      </a:moveTo>
                      <a:cubicBezTo>
                        <a:pt x="272013" y="234111"/>
                        <a:pt x="268927" y="224853"/>
                        <a:pt x="262756" y="218682"/>
                      </a:cubicBezTo>
                      <a:cubicBezTo>
                        <a:pt x="259670" y="215596"/>
                        <a:pt x="259670" y="215596"/>
                        <a:pt x="256585" y="212511"/>
                      </a:cubicBezTo>
                      <a:cubicBezTo>
                        <a:pt x="265842" y="215596"/>
                        <a:pt x="275099" y="218682"/>
                        <a:pt x="281270" y="221768"/>
                      </a:cubicBezTo>
                      <a:cubicBezTo>
                        <a:pt x="299784" y="227939"/>
                        <a:pt x="315213" y="237196"/>
                        <a:pt x="327556" y="227939"/>
                      </a:cubicBezTo>
                      <a:cubicBezTo>
                        <a:pt x="327556" y="227939"/>
                        <a:pt x="327556" y="215596"/>
                        <a:pt x="324470" y="215596"/>
                      </a:cubicBezTo>
                      <a:cubicBezTo>
                        <a:pt x="324470" y="215596"/>
                        <a:pt x="324470" y="215596"/>
                        <a:pt x="321385" y="212511"/>
                      </a:cubicBezTo>
                      <a:cubicBezTo>
                        <a:pt x="333727" y="212511"/>
                        <a:pt x="342985" y="209425"/>
                        <a:pt x="349156" y="200168"/>
                      </a:cubicBezTo>
                      <a:cubicBezTo>
                        <a:pt x="355327" y="190911"/>
                        <a:pt x="352242" y="181654"/>
                        <a:pt x="342985" y="172396"/>
                      </a:cubicBezTo>
                      <a:cubicBezTo>
                        <a:pt x="327556" y="160053"/>
                        <a:pt x="305956" y="153882"/>
                        <a:pt x="290528" y="147711"/>
                      </a:cubicBezTo>
                      <a:cubicBezTo>
                        <a:pt x="265842" y="138454"/>
                        <a:pt x="241156" y="126111"/>
                        <a:pt x="216470" y="116853"/>
                      </a:cubicBezTo>
                      <a:cubicBezTo>
                        <a:pt x="234985" y="119939"/>
                        <a:pt x="256585" y="123025"/>
                        <a:pt x="275099" y="123025"/>
                      </a:cubicBezTo>
                      <a:cubicBezTo>
                        <a:pt x="287442" y="123025"/>
                        <a:pt x="309042" y="132282"/>
                        <a:pt x="318299" y="126111"/>
                      </a:cubicBezTo>
                      <a:cubicBezTo>
                        <a:pt x="333727" y="116853"/>
                        <a:pt x="309042" y="101425"/>
                        <a:pt x="299784" y="95253"/>
                      </a:cubicBezTo>
                      <a:cubicBezTo>
                        <a:pt x="238070" y="64396"/>
                        <a:pt x="176356" y="73653"/>
                        <a:pt x="114641" y="55139"/>
                      </a:cubicBezTo>
                      <a:cubicBezTo>
                        <a:pt x="133156" y="42796"/>
                        <a:pt x="154756" y="42796"/>
                        <a:pt x="182528" y="42796"/>
                      </a:cubicBezTo>
                      <a:cubicBezTo>
                        <a:pt x="194870" y="42796"/>
                        <a:pt x="194870" y="15025"/>
                        <a:pt x="191784" y="15025"/>
                      </a:cubicBezTo>
                      <a:cubicBezTo>
                        <a:pt x="133156" y="-12747"/>
                        <a:pt x="49842" y="-3489"/>
                        <a:pt x="12813" y="55139"/>
                      </a:cubicBezTo>
                      <a:cubicBezTo>
                        <a:pt x="12813" y="55139"/>
                        <a:pt x="12813" y="55139"/>
                        <a:pt x="12813" y="55139"/>
                      </a:cubicBezTo>
                      <a:cubicBezTo>
                        <a:pt x="9727" y="55139"/>
                        <a:pt x="9727" y="55139"/>
                        <a:pt x="9727" y="55139"/>
                      </a:cubicBezTo>
                      <a:cubicBezTo>
                        <a:pt x="-11873" y="76739"/>
                        <a:pt x="6641" y="135368"/>
                        <a:pt x="25156" y="163139"/>
                      </a:cubicBezTo>
                      <a:cubicBezTo>
                        <a:pt x="52927" y="203253"/>
                        <a:pt x="111556" y="203253"/>
                        <a:pt x="151670" y="215596"/>
                      </a:cubicBezTo>
                      <a:cubicBezTo>
                        <a:pt x="179442" y="231025"/>
                        <a:pt x="259670" y="258796"/>
                        <a:pt x="268927" y="240282"/>
                      </a:cubicBezTo>
                      <a:close/>
                    </a:path>
                  </a:pathLst>
                </a:custGeom>
                <a:solidFill>
                  <a:srgbClr val="F49F84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6" name="任意多边形: 形状 165">
                  <a:extLst>
                    <a:ext uri="{FF2B5EF4-FFF2-40B4-BE49-F238E27FC236}">
                      <a16:creationId xmlns:a16="http://schemas.microsoft.com/office/drawing/2014/main" id="{F45ECF56-632B-4C14-A079-DA2A3D3C7340}"/>
                    </a:ext>
                  </a:extLst>
                </p:cNvPr>
                <p:cNvSpPr/>
                <p:nvPr/>
              </p:nvSpPr>
              <p:spPr>
                <a:xfrm>
                  <a:off x="6672465" y="3673989"/>
                  <a:ext cx="50649" cy="41392"/>
                </a:xfrm>
                <a:custGeom>
                  <a:avLst/>
                  <a:gdLst>
                    <a:gd name="connsiteX0" fmla="*/ 12343 w 50649"/>
                    <a:gd name="connsiteY0" fmla="*/ 41392 h 41392"/>
                    <a:gd name="connsiteX1" fmla="*/ 6172 w 50649"/>
                    <a:gd name="connsiteY1" fmla="*/ 41392 h 41392"/>
                    <a:gd name="connsiteX2" fmla="*/ 0 w 50649"/>
                    <a:gd name="connsiteY2" fmla="*/ 35221 h 41392"/>
                    <a:gd name="connsiteX3" fmla="*/ 6172 w 50649"/>
                    <a:gd name="connsiteY3" fmla="*/ 29050 h 41392"/>
                    <a:gd name="connsiteX4" fmla="*/ 40114 w 50649"/>
                    <a:gd name="connsiteY4" fmla="*/ 4364 h 41392"/>
                    <a:gd name="connsiteX5" fmla="*/ 46286 w 50649"/>
                    <a:gd name="connsiteY5" fmla="*/ 1278 h 41392"/>
                    <a:gd name="connsiteX6" fmla="*/ 49372 w 50649"/>
                    <a:gd name="connsiteY6" fmla="*/ 7450 h 41392"/>
                    <a:gd name="connsiteX7" fmla="*/ 12343 w 50649"/>
                    <a:gd name="connsiteY7" fmla="*/ 41392 h 41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649" h="41392">
                      <a:moveTo>
                        <a:pt x="12343" y="41392"/>
                      </a:moveTo>
                      <a:cubicBezTo>
                        <a:pt x="9257" y="41392"/>
                        <a:pt x="9257" y="41392"/>
                        <a:pt x="6172" y="41392"/>
                      </a:cubicBezTo>
                      <a:cubicBezTo>
                        <a:pt x="3086" y="41392"/>
                        <a:pt x="0" y="38307"/>
                        <a:pt x="0" y="35221"/>
                      </a:cubicBezTo>
                      <a:cubicBezTo>
                        <a:pt x="0" y="32135"/>
                        <a:pt x="3086" y="29050"/>
                        <a:pt x="6172" y="29050"/>
                      </a:cubicBezTo>
                      <a:cubicBezTo>
                        <a:pt x="33943" y="32135"/>
                        <a:pt x="40114" y="7450"/>
                        <a:pt x="40114" y="4364"/>
                      </a:cubicBezTo>
                      <a:cubicBezTo>
                        <a:pt x="40114" y="1278"/>
                        <a:pt x="43200" y="-1808"/>
                        <a:pt x="46286" y="1278"/>
                      </a:cubicBezTo>
                      <a:cubicBezTo>
                        <a:pt x="49372" y="1278"/>
                        <a:pt x="52458" y="4364"/>
                        <a:pt x="49372" y="7450"/>
                      </a:cubicBezTo>
                      <a:cubicBezTo>
                        <a:pt x="49372" y="22878"/>
                        <a:pt x="37029" y="41392"/>
                        <a:pt x="12343" y="41392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7" name="任意多边形: 形状 166">
                  <a:extLst>
                    <a:ext uri="{FF2B5EF4-FFF2-40B4-BE49-F238E27FC236}">
                      <a16:creationId xmlns:a16="http://schemas.microsoft.com/office/drawing/2014/main" id="{09F26392-684D-47DE-BDF6-00E511E673E5}"/>
                    </a:ext>
                  </a:extLst>
                </p:cNvPr>
                <p:cNvSpPr/>
                <p:nvPr/>
              </p:nvSpPr>
              <p:spPr>
                <a:xfrm>
                  <a:off x="6817494" y="3711018"/>
                  <a:ext cx="147669" cy="100021"/>
                </a:xfrm>
                <a:custGeom>
                  <a:avLst/>
                  <a:gdLst>
                    <a:gd name="connsiteX0" fmla="*/ 123429 w 147669"/>
                    <a:gd name="connsiteY0" fmla="*/ 100021 h 100021"/>
                    <a:gd name="connsiteX1" fmla="*/ 114171 w 147669"/>
                    <a:gd name="connsiteY1" fmla="*/ 100021 h 100021"/>
                    <a:gd name="connsiteX2" fmla="*/ 111085 w 147669"/>
                    <a:gd name="connsiteY2" fmla="*/ 93849 h 100021"/>
                    <a:gd name="connsiteX3" fmla="*/ 117257 w 147669"/>
                    <a:gd name="connsiteY3" fmla="*/ 90764 h 100021"/>
                    <a:gd name="connsiteX4" fmla="*/ 132685 w 147669"/>
                    <a:gd name="connsiteY4" fmla="*/ 87678 h 100021"/>
                    <a:gd name="connsiteX5" fmla="*/ 132685 w 147669"/>
                    <a:gd name="connsiteY5" fmla="*/ 72250 h 100021"/>
                    <a:gd name="connsiteX6" fmla="*/ 3085 w 147669"/>
                    <a:gd name="connsiteY6" fmla="*/ 10535 h 100021"/>
                    <a:gd name="connsiteX7" fmla="*/ 0 w 147669"/>
                    <a:gd name="connsiteY7" fmla="*/ 4364 h 100021"/>
                    <a:gd name="connsiteX8" fmla="*/ 6171 w 147669"/>
                    <a:gd name="connsiteY8" fmla="*/ 1278 h 100021"/>
                    <a:gd name="connsiteX9" fmla="*/ 108000 w 147669"/>
                    <a:gd name="connsiteY9" fmla="*/ 13621 h 100021"/>
                    <a:gd name="connsiteX10" fmla="*/ 114171 w 147669"/>
                    <a:gd name="connsiteY10" fmla="*/ 19792 h 100021"/>
                    <a:gd name="connsiteX11" fmla="*/ 108000 w 147669"/>
                    <a:gd name="connsiteY11" fmla="*/ 25964 h 100021"/>
                    <a:gd name="connsiteX12" fmla="*/ 52457 w 147669"/>
                    <a:gd name="connsiteY12" fmla="*/ 22878 h 100021"/>
                    <a:gd name="connsiteX13" fmla="*/ 145028 w 147669"/>
                    <a:gd name="connsiteY13" fmla="*/ 72250 h 100021"/>
                    <a:gd name="connsiteX14" fmla="*/ 141943 w 147669"/>
                    <a:gd name="connsiteY14" fmla="*/ 100021 h 100021"/>
                    <a:gd name="connsiteX15" fmla="*/ 123429 w 147669"/>
                    <a:gd name="connsiteY15" fmla="*/ 100021 h 1000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47669" h="100021">
                      <a:moveTo>
                        <a:pt x="123429" y="100021"/>
                      </a:moveTo>
                      <a:cubicBezTo>
                        <a:pt x="120343" y="100021"/>
                        <a:pt x="117257" y="100021"/>
                        <a:pt x="114171" y="100021"/>
                      </a:cubicBezTo>
                      <a:cubicBezTo>
                        <a:pt x="111085" y="100021"/>
                        <a:pt x="108000" y="96935"/>
                        <a:pt x="111085" y="93849"/>
                      </a:cubicBezTo>
                      <a:cubicBezTo>
                        <a:pt x="111085" y="90764"/>
                        <a:pt x="114171" y="87678"/>
                        <a:pt x="117257" y="90764"/>
                      </a:cubicBezTo>
                      <a:cubicBezTo>
                        <a:pt x="123429" y="90764"/>
                        <a:pt x="129600" y="90764"/>
                        <a:pt x="132685" y="87678"/>
                      </a:cubicBezTo>
                      <a:cubicBezTo>
                        <a:pt x="135771" y="84592"/>
                        <a:pt x="135771" y="78421"/>
                        <a:pt x="132685" y="72250"/>
                      </a:cubicBezTo>
                      <a:cubicBezTo>
                        <a:pt x="129600" y="62992"/>
                        <a:pt x="61714" y="32135"/>
                        <a:pt x="3085" y="10535"/>
                      </a:cubicBezTo>
                      <a:cubicBezTo>
                        <a:pt x="0" y="10535"/>
                        <a:pt x="0" y="7450"/>
                        <a:pt x="0" y="4364"/>
                      </a:cubicBezTo>
                      <a:cubicBezTo>
                        <a:pt x="0" y="1278"/>
                        <a:pt x="3085" y="-1808"/>
                        <a:pt x="6171" y="1278"/>
                      </a:cubicBezTo>
                      <a:cubicBezTo>
                        <a:pt x="43200" y="7450"/>
                        <a:pt x="108000" y="13621"/>
                        <a:pt x="108000" y="13621"/>
                      </a:cubicBezTo>
                      <a:cubicBezTo>
                        <a:pt x="111085" y="13621"/>
                        <a:pt x="114171" y="16707"/>
                        <a:pt x="114171" y="19792"/>
                      </a:cubicBezTo>
                      <a:cubicBezTo>
                        <a:pt x="114171" y="22878"/>
                        <a:pt x="111085" y="25964"/>
                        <a:pt x="108000" y="25964"/>
                      </a:cubicBezTo>
                      <a:cubicBezTo>
                        <a:pt x="104914" y="25964"/>
                        <a:pt x="80228" y="25964"/>
                        <a:pt x="52457" y="22878"/>
                      </a:cubicBezTo>
                      <a:cubicBezTo>
                        <a:pt x="92571" y="38307"/>
                        <a:pt x="138857" y="59907"/>
                        <a:pt x="145028" y="72250"/>
                      </a:cubicBezTo>
                      <a:cubicBezTo>
                        <a:pt x="151200" y="87678"/>
                        <a:pt x="145028" y="93849"/>
                        <a:pt x="141943" y="100021"/>
                      </a:cubicBezTo>
                      <a:cubicBezTo>
                        <a:pt x="138857" y="96935"/>
                        <a:pt x="129600" y="100021"/>
                        <a:pt x="123429" y="100021"/>
                      </a:cubicBezTo>
                      <a:close/>
                    </a:path>
                  </a:pathLst>
                </a:custGeom>
                <a:solidFill>
                  <a:srgbClr val="E87952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68" name="任意多边形: 形状 167">
                <a:extLst>
                  <a:ext uri="{FF2B5EF4-FFF2-40B4-BE49-F238E27FC236}">
                    <a16:creationId xmlns:a16="http://schemas.microsoft.com/office/drawing/2014/main" id="{A8D632E7-DEE5-4DB1-9F3C-9B8A007F6E33}"/>
                  </a:ext>
                </a:extLst>
              </p:cNvPr>
              <p:cNvSpPr/>
              <p:nvPr/>
            </p:nvSpPr>
            <p:spPr>
              <a:xfrm>
                <a:off x="6765036" y="3770924"/>
                <a:ext cx="114943" cy="74057"/>
              </a:xfrm>
              <a:custGeom>
                <a:avLst/>
                <a:gdLst>
                  <a:gd name="connsiteX0" fmla="*/ 89486 w 114943"/>
                  <a:gd name="connsiteY0" fmla="*/ 74057 h 74057"/>
                  <a:gd name="connsiteX1" fmla="*/ 6172 w 114943"/>
                  <a:gd name="connsiteY1" fmla="*/ 55543 h 74057"/>
                  <a:gd name="connsiteX2" fmla="*/ 3086 w 114943"/>
                  <a:gd name="connsiteY2" fmla="*/ 49371 h 74057"/>
                  <a:gd name="connsiteX3" fmla="*/ 9257 w 114943"/>
                  <a:gd name="connsiteY3" fmla="*/ 46286 h 74057"/>
                  <a:gd name="connsiteX4" fmla="*/ 101829 w 114943"/>
                  <a:gd name="connsiteY4" fmla="*/ 61714 h 74057"/>
                  <a:gd name="connsiteX5" fmla="*/ 104915 w 114943"/>
                  <a:gd name="connsiteY5" fmla="*/ 52457 h 74057"/>
                  <a:gd name="connsiteX6" fmla="*/ 89486 w 114943"/>
                  <a:gd name="connsiteY6" fmla="*/ 40114 h 74057"/>
                  <a:gd name="connsiteX7" fmla="*/ 52458 w 114943"/>
                  <a:gd name="connsiteY7" fmla="*/ 27771 h 74057"/>
                  <a:gd name="connsiteX8" fmla="*/ 3086 w 114943"/>
                  <a:gd name="connsiteY8" fmla="*/ 12343 h 74057"/>
                  <a:gd name="connsiteX9" fmla="*/ 0 w 114943"/>
                  <a:gd name="connsiteY9" fmla="*/ 3086 h 74057"/>
                  <a:gd name="connsiteX10" fmla="*/ 9257 w 114943"/>
                  <a:gd name="connsiteY10" fmla="*/ 0 h 74057"/>
                  <a:gd name="connsiteX11" fmla="*/ 55543 w 114943"/>
                  <a:gd name="connsiteY11" fmla="*/ 15429 h 74057"/>
                  <a:gd name="connsiteX12" fmla="*/ 92571 w 114943"/>
                  <a:gd name="connsiteY12" fmla="*/ 27771 h 74057"/>
                  <a:gd name="connsiteX13" fmla="*/ 114172 w 114943"/>
                  <a:gd name="connsiteY13" fmla="*/ 46286 h 74057"/>
                  <a:gd name="connsiteX14" fmla="*/ 111086 w 114943"/>
                  <a:gd name="connsiteY14" fmla="*/ 64800 h 74057"/>
                  <a:gd name="connsiteX15" fmla="*/ 89486 w 114943"/>
                  <a:gd name="connsiteY15" fmla="*/ 74057 h 74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4943" h="74057">
                    <a:moveTo>
                      <a:pt x="89486" y="74057"/>
                    </a:moveTo>
                    <a:cubicBezTo>
                      <a:pt x="64800" y="74057"/>
                      <a:pt x="24686" y="61714"/>
                      <a:pt x="6172" y="55543"/>
                    </a:cubicBezTo>
                    <a:cubicBezTo>
                      <a:pt x="3086" y="55543"/>
                      <a:pt x="0" y="52457"/>
                      <a:pt x="3086" y="49371"/>
                    </a:cubicBezTo>
                    <a:cubicBezTo>
                      <a:pt x="3086" y="46286"/>
                      <a:pt x="6172" y="46286"/>
                      <a:pt x="9257" y="46286"/>
                    </a:cubicBezTo>
                    <a:cubicBezTo>
                      <a:pt x="55543" y="61714"/>
                      <a:pt x="98743" y="67886"/>
                      <a:pt x="101829" y="61714"/>
                    </a:cubicBezTo>
                    <a:cubicBezTo>
                      <a:pt x="104915" y="58629"/>
                      <a:pt x="104915" y="55543"/>
                      <a:pt x="104915" y="52457"/>
                    </a:cubicBezTo>
                    <a:cubicBezTo>
                      <a:pt x="104915" y="49371"/>
                      <a:pt x="98743" y="43200"/>
                      <a:pt x="89486" y="40114"/>
                    </a:cubicBezTo>
                    <a:cubicBezTo>
                      <a:pt x="83315" y="37029"/>
                      <a:pt x="67886" y="33943"/>
                      <a:pt x="52458" y="27771"/>
                    </a:cubicBezTo>
                    <a:cubicBezTo>
                      <a:pt x="30857" y="21600"/>
                      <a:pt x="12343" y="15429"/>
                      <a:pt x="3086" y="12343"/>
                    </a:cubicBezTo>
                    <a:cubicBezTo>
                      <a:pt x="0" y="12343"/>
                      <a:pt x="0" y="6172"/>
                      <a:pt x="0" y="3086"/>
                    </a:cubicBezTo>
                    <a:cubicBezTo>
                      <a:pt x="0" y="0"/>
                      <a:pt x="6172" y="0"/>
                      <a:pt x="9257" y="0"/>
                    </a:cubicBezTo>
                    <a:cubicBezTo>
                      <a:pt x="15429" y="3086"/>
                      <a:pt x="37029" y="9257"/>
                      <a:pt x="55543" y="15429"/>
                    </a:cubicBezTo>
                    <a:cubicBezTo>
                      <a:pt x="70972" y="21600"/>
                      <a:pt x="86400" y="24686"/>
                      <a:pt x="92571" y="27771"/>
                    </a:cubicBezTo>
                    <a:cubicBezTo>
                      <a:pt x="104915" y="33943"/>
                      <a:pt x="111086" y="40114"/>
                      <a:pt x="114172" y="46286"/>
                    </a:cubicBezTo>
                    <a:cubicBezTo>
                      <a:pt x="114172" y="49371"/>
                      <a:pt x="117257" y="55543"/>
                      <a:pt x="111086" y="64800"/>
                    </a:cubicBezTo>
                    <a:cubicBezTo>
                      <a:pt x="108000" y="70972"/>
                      <a:pt x="98743" y="74057"/>
                      <a:pt x="89486" y="7405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9" name="任意多边形: 形状 168">
                <a:extLst>
                  <a:ext uri="{FF2B5EF4-FFF2-40B4-BE49-F238E27FC236}">
                    <a16:creationId xmlns:a16="http://schemas.microsoft.com/office/drawing/2014/main" id="{53E1C740-3BCB-498F-B6C8-20221C9ADA57}"/>
                  </a:ext>
                </a:extLst>
              </p:cNvPr>
              <p:cNvSpPr/>
              <p:nvPr/>
            </p:nvSpPr>
            <p:spPr>
              <a:xfrm>
                <a:off x="6780465" y="3746239"/>
                <a:ext cx="151200" cy="86399"/>
              </a:xfrm>
              <a:custGeom>
                <a:avLst/>
                <a:gdLst>
                  <a:gd name="connsiteX0" fmla="*/ 145029 w 151200"/>
                  <a:gd name="connsiteY0" fmla="*/ 86400 h 86399"/>
                  <a:gd name="connsiteX1" fmla="*/ 89486 w 151200"/>
                  <a:gd name="connsiteY1" fmla="*/ 74057 h 86399"/>
                  <a:gd name="connsiteX2" fmla="*/ 86400 w 151200"/>
                  <a:gd name="connsiteY2" fmla="*/ 67886 h 86399"/>
                  <a:gd name="connsiteX3" fmla="*/ 92571 w 151200"/>
                  <a:gd name="connsiteY3" fmla="*/ 64800 h 86399"/>
                  <a:gd name="connsiteX4" fmla="*/ 148114 w 151200"/>
                  <a:gd name="connsiteY4" fmla="*/ 77143 h 86399"/>
                  <a:gd name="connsiteX5" fmla="*/ 148114 w 151200"/>
                  <a:gd name="connsiteY5" fmla="*/ 74057 h 86399"/>
                  <a:gd name="connsiteX6" fmla="*/ 132686 w 151200"/>
                  <a:gd name="connsiteY6" fmla="*/ 52457 h 86399"/>
                  <a:gd name="connsiteX7" fmla="*/ 70972 w 151200"/>
                  <a:gd name="connsiteY7" fmla="*/ 33943 h 86399"/>
                  <a:gd name="connsiteX8" fmla="*/ 58629 w 151200"/>
                  <a:gd name="connsiteY8" fmla="*/ 30857 h 86399"/>
                  <a:gd name="connsiteX9" fmla="*/ 3086 w 151200"/>
                  <a:gd name="connsiteY9" fmla="*/ 9257 h 86399"/>
                  <a:gd name="connsiteX10" fmla="*/ 0 w 151200"/>
                  <a:gd name="connsiteY10" fmla="*/ 3086 h 86399"/>
                  <a:gd name="connsiteX11" fmla="*/ 6172 w 151200"/>
                  <a:gd name="connsiteY11" fmla="*/ 0 h 86399"/>
                  <a:gd name="connsiteX12" fmla="*/ 58629 w 151200"/>
                  <a:gd name="connsiteY12" fmla="*/ 21600 h 86399"/>
                  <a:gd name="connsiteX13" fmla="*/ 67886 w 151200"/>
                  <a:gd name="connsiteY13" fmla="*/ 24686 h 86399"/>
                  <a:gd name="connsiteX14" fmla="*/ 132686 w 151200"/>
                  <a:gd name="connsiteY14" fmla="*/ 46286 h 86399"/>
                  <a:gd name="connsiteX15" fmla="*/ 151200 w 151200"/>
                  <a:gd name="connsiteY15" fmla="*/ 74057 h 86399"/>
                  <a:gd name="connsiteX16" fmla="*/ 145029 w 151200"/>
                  <a:gd name="connsiteY16" fmla="*/ 86400 h 86399"/>
                  <a:gd name="connsiteX17" fmla="*/ 145029 w 151200"/>
                  <a:gd name="connsiteY17" fmla="*/ 86400 h 86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1200" h="86399">
                    <a:moveTo>
                      <a:pt x="145029" y="86400"/>
                    </a:moveTo>
                    <a:cubicBezTo>
                      <a:pt x="129600" y="86400"/>
                      <a:pt x="101829" y="77143"/>
                      <a:pt x="89486" y="74057"/>
                    </a:cubicBezTo>
                    <a:cubicBezTo>
                      <a:pt x="86400" y="74057"/>
                      <a:pt x="86400" y="70971"/>
                      <a:pt x="86400" y="67886"/>
                    </a:cubicBezTo>
                    <a:cubicBezTo>
                      <a:pt x="86400" y="64800"/>
                      <a:pt x="89486" y="64800"/>
                      <a:pt x="92571" y="64800"/>
                    </a:cubicBezTo>
                    <a:cubicBezTo>
                      <a:pt x="117257" y="74057"/>
                      <a:pt x="145029" y="80229"/>
                      <a:pt x="148114" y="77143"/>
                    </a:cubicBezTo>
                    <a:cubicBezTo>
                      <a:pt x="148114" y="77143"/>
                      <a:pt x="151200" y="74057"/>
                      <a:pt x="148114" y="74057"/>
                    </a:cubicBezTo>
                    <a:cubicBezTo>
                      <a:pt x="148114" y="67886"/>
                      <a:pt x="141943" y="58628"/>
                      <a:pt x="132686" y="52457"/>
                    </a:cubicBezTo>
                    <a:cubicBezTo>
                      <a:pt x="123429" y="46286"/>
                      <a:pt x="89486" y="37028"/>
                      <a:pt x="70972" y="33943"/>
                    </a:cubicBezTo>
                    <a:cubicBezTo>
                      <a:pt x="64800" y="33943"/>
                      <a:pt x="61714" y="30857"/>
                      <a:pt x="58629" y="30857"/>
                    </a:cubicBezTo>
                    <a:cubicBezTo>
                      <a:pt x="49372" y="27771"/>
                      <a:pt x="6172" y="9257"/>
                      <a:pt x="3086" y="9257"/>
                    </a:cubicBezTo>
                    <a:cubicBezTo>
                      <a:pt x="0" y="9257"/>
                      <a:pt x="0" y="3086"/>
                      <a:pt x="0" y="3086"/>
                    </a:cubicBezTo>
                    <a:cubicBezTo>
                      <a:pt x="0" y="0"/>
                      <a:pt x="6172" y="0"/>
                      <a:pt x="6172" y="0"/>
                    </a:cubicBezTo>
                    <a:cubicBezTo>
                      <a:pt x="18514" y="6171"/>
                      <a:pt x="52458" y="21600"/>
                      <a:pt x="58629" y="21600"/>
                    </a:cubicBezTo>
                    <a:cubicBezTo>
                      <a:pt x="61714" y="21600"/>
                      <a:pt x="64800" y="24686"/>
                      <a:pt x="67886" y="24686"/>
                    </a:cubicBezTo>
                    <a:cubicBezTo>
                      <a:pt x="92571" y="30857"/>
                      <a:pt x="123429" y="40114"/>
                      <a:pt x="132686" y="46286"/>
                    </a:cubicBezTo>
                    <a:cubicBezTo>
                      <a:pt x="141943" y="52457"/>
                      <a:pt x="151200" y="64800"/>
                      <a:pt x="151200" y="74057"/>
                    </a:cubicBezTo>
                    <a:cubicBezTo>
                      <a:pt x="151200" y="80229"/>
                      <a:pt x="148114" y="83314"/>
                      <a:pt x="145029" y="86400"/>
                    </a:cubicBezTo>
                    <a:cubicBezTo>
                      <a:pt x="154286" y="86400"/>
                      <a:pt x="151200" y="86400"/>
                      <a:pt x="145029" y="86400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70224DDA-7749-4B13-840B-351782E5ECBF}"/>
                </a:ext>
              </a:extLst>
            </p:cNvPr>
            <p:cNvSpPr/>
            <p:nvPr/>
          </p:nvSpPr>
          <p:spPr>
            <a:xfrm>
              <a:off x="5249951" y="2339153"/>
              <a:ext cx="265371" cy="258857"/>
            </a:xfrm>
            <a:custGeom>
              <a:avLst/>
              <a:gdLst>
                <a:gd name="connsiteX0" fmla="*/ 249943 w 265371"/>
                <a:gd name="connsiteY0" fmla="*/ 6171 h 258857"/>
                <a:gd name="connsiteX1" fmla="*/ 265371 w 265371"/>
                <a:gd name="connsiteY1" fmla="*/ 206743 h 258857"/>
                <a:gd name="connsiteX2" fmla="*/ 0 w 265371"/>
                <a:gd name="connsiteY2" fmla="*/ 206743 h 258857"/>
                <a:gd name="connsiteX3" fmla="*/ 15429 w 265371"/>
                <a:gd name="connsiteY3" fmla="*/ 0 h 258857"/>
                <a:gd name="connsiteX4" fmla="*/ 249943 w 265371"/>
                <a:gd name="connsiteY4" fmla="*/ 6171 h 25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371" h="258857">
                  <a:moveTo>
                    <a:pt x="249943" y="6171"/>
                  </a:moveTo>
                  <a:cubicBezTo>
                    <a:pt x="249943" y="6171"/>
                    <a:pt x="262286" y="129600"/>
                    <a:pt x="265371" y="206743"/>
                  </a:cubicBezTo>
                  <a:cubicBezTo>
                    <a:pt x="265371" y="206743"/>
                    <a:pt x="154286" y="324000"/>
                    <a:pt x="0" y="206743"/>
                  </a:cubicBezTo>
                  <a:cubicBezTo>
                    <a:pt x="3086" y="138857"/>
                    <a:pt x="12343" y="64800"/>
                    <a:pt x="15429" y="0"/>
                  </a:cubicBezTo>
                  <a:cubicBezTo>
                    <a:pt x="18514" y="0"/>
                    <a:pt x="197486" y="18514"/>
                    <a:pt x="249943" y="6171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71" name="图形 1">
              <a:extLst>
                <a:ext uri="{FF2B5EF4-FFF2-40B4-BE49-F238E27FC236}">
                  <a16:creationId xmlns:a16="http://schemas.microsoft.com/office/drawing/2014/main" id="{642B4E27-4193-4C43-9A4D-E25F56DEE238}"/>
                </a:ext>
              </a:extLst>
            </p:cNvPr>
            <p:cNvGrpSpPr/>
            <p:nvPr/>
          </p:nvGrpSpPr>
          <p:grpSpPr>
            <a:xfrm>
              <a:off x="7120567" y="4538095"/>
              <a:ext cx="2309948" cy="2050921"/>
              <a:chOff x="7120567" y="4538095"/>
              <a:chExt cx="2309948" cy="2050921"/>
            </a:xfrm>
          </p:grpSpPr>
          <p:grpSp>
            <p:nvGrpSpPr>
              <p:cNvPr id="172" name="图形 1">
                <a:extLst>
                  <a:ext uri="{FF2B5EF4-FFF2-40B4-BE49-F238E27FC236}">
                    <a16:creationId xmlns:a16="http://schemas.microsoft.com/office/drawing/2014/main" id="{642B4E27-4193-4C43-9A4D-E25F56DEE238}"/>
                  </a:ext>
                </a:extLst>
              </p:cNvPr>
              <p:cNvGrpSpPr/>
              <p:nvPr/>
            </p:nvGrpSpPr>
            <p:grpSpPr>
              <a:xfrm>
                <a:off x="8190354" y="4608291"/>
                <a:ext cx="1240160" cy="1980725"/>
                <a:chOff x="8190354" y="4608291"/>
                <a:chExt cx="1240160" cy="1980725"/>
              </a:xfrm>
            </p:grpSpPr>
            <p:sp>
              <p:nvSpPr>
                <p:cNvPr id="173" name="任意多边形: 形状 172">
                  <a:extLst>
                    <a:ext uri="{FF2B5EF4-FFF2-40B4-BE49-F238E27FC236}">
                      <a16:creationId xmlns:a16="http://schemas.microsoft.com/office/drawing/2014/main" id="{15D92D73-2ECF-4FA6-BB74-02E4FD3F609E}"/>
                    </a:ext>
                  </a:extLst>
                </p:cNvPr>
                <p:cNvSpPr/>
                <p:nvPr/>
              </p:nvSpPr>
              <p:spPr>
                <a:xfrm>
                  <a:off x="8504568" y="4993864"/>
                  <a:ext cx="596632" cy="1595152"/>
                </a:xfrm>
                <a:custGeom>
                  <a:avLst/>
                  <a:gdLst>
                    <a:gd name="connsiteX0" fmla="*/ 568583 w 596632"/>
                    <a:gd name="connsiteY0" fmla="*/ 8260 h 1595152"/>
                    <a:gd name="connsiteX1" fmla="*/ 192126 w 596632"/>
                    <a:gd name="connsiteY1" fmla="*/ 727232 h 1595152"/>
                    <a:gd name="connsiteX2" fmla="*/ 811 w 596632"/>
                    <a:gd name="connsiteY2" fmla="*/ 1575803 h 1595152"/>
                    <a:gd name="connsiteX3" fmla="*/ 31669 w 596632"/>
                    <a:gd name="connsiteY3" fmla="*/ 1585061 h 1595152"/>
                    <a:gd name="connsiteX4" fmla="*/ 213726 w 596632"/>
                    <a:gd name="connsiteY4" fmla="*/ 761175 h 1595152"/>
                    <a:gd name="connsiteX5" fmla="*/ 593269 w 596632"/>
                    <a:gd name="connsiteY5" fmla="*/ 26775 h 1595152"/>
                    <a:gd name="connsiteX6" fmla="*/ 568583 w 596632"/>
                    <a:gd name="connsiteY6" fmla="*/ 8260 h 15951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6632" h="1595152">
                      <a:moveTo>
                        <a:pt x="568583" y="8260"/>
                      </a:moveTo>
                      <a:cubicBezTo>
                        <a:pt x="408126" y="227346"/>
                        <a:pt x="281611" y="468032"/>
                        <a:pt x="192126" y="727232"/>
                      </a:cubicBezTo>
                      <a:cubicBezTo>
                        <a:pt x="99554" y="1004946"/>
                        <a:pt x="90297" y="1298089"/>
                        <a:pt x="811" y="1575803"/>
                      </a:cubicBezTo>
                      <a:cubicBezTo>
                        <a:pt x="-5360" y="1594317"/>
                        <a:pt x="25497" y="1603575"/>
                        <a:pt x="31669" y="1585061"/>
                      </a:cubicBezTo>
                      <a:cubicBezTo>
                        <a:pt x="118069" y="1316603"/>
                        <a:pt x="127325" y="1029632"/>
                        <a:pt x="213726" y="761175"/>
                      </a:cubicBezTo>
                      <a:cubicBezTo>
                        <a:pt x="300126" y="495803"/>
                        <a:pt x="429726" y="248946"/>
                        <a:pt x="593269" y="26775"/>
                      </a:cubicBezTo>
                      <a:cubicBezTo>
                        <a:pt x="605611" y="5175"/>
                        <a:pt x="580926" y="-10254"/>
                        <a:pt x="568583" y="8260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4" name="任意多边形: 形状 173">
                  <a:extLst>
                    <a:ext uri="{FF2B5EF4-FFF2-40B4-BE49-F238E27FC236}">
                      <a16:creationId xmlns:a16="http://schemas.microsoft.com/office/drawing/2014/main" id="{697ED3ED-150B-44F5-8F7F-8F35544D4618}"/>
                    </a:ext>
                  </a:extLst>
                </p:cNvPr>
                <p:cNvSpPr/>
                <p:nvPr/>
              </p:nvSpPr>
              <p:spPr>
                <a:xfrm>
                  <a:off x="9057722" y="4628162"/>
                  <a:ext cx="346439" cy="400675"/>
                </a:xfrm>
                <a:custGeom>
                  <a:avLst/>
                  <a:gdLst>
                    <a:gd name="connsiteX0" fmla="*/ 333257 w 346439"/>
                    <a:gd name="connsiteY0" fmla="*/ 22191 h 400675"/>
                    <a:gd name="connsiteX1" fmla="*/ 296229 w 346439"/>
                    <a:gd name="connsiteY1" fmla="*/ 591 h 400675"/>
                    <a:gd name="connsiteX2" fmla="*/ 0 w 346439"/>
                    <a:gd name="connsiteY2" fmla="*/ 370877 h 400675"/>
                    <a:gd name="connsiteX3" fmla="*/ 43200 w 346439"/>
                    <a:gd name="connsiteY3" fmla="*/ 398648 h 400675"/>
                    <a:gd name="connsiteX4" fmla="*/ 67886 w 346439"/>
                    <a:gd name="connsiteY4" fmla="*/ 395563 h 400675"/>
                    <a:gd name="connsiteX5" fmla="*/ 299314 w 346439"/>
                    <a:gd name="connsiteY5" fmla="*/ 259791 h 400675"/>
                    <a:gd name="connsiteX6" fmla="*/ 333257 w 346439"/>
                    <a:gd name="connsiteY6" fmla="*/ 22191 h 400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6439" h="400675">
                      <a:moveTo>
                        <a:pt x="333257" y="22191"/>
                      </a:moveTo>
                      <a:cubicBezTo>
                        <a:pt x="327086" y="6763"/>
                        <a:pt x="311657" y="-2494"/>
                        <a:pt x="296229" y="591"/>
                      </a:cubicBezTo>
                      <a:cubicBezTo>
                        <a:pt x="120343" y="43791"/>
                        <a:pt x="3086" y="191905"/>
                        <a:pt x="0" y="370877"/>
                      </a:cubicBezTo>
                      <a:cubicBezTo>
                        <a:pt x="0" y="395563"/>
                        <a:pt x="24686" y="404820"/>
                        <a:pt x="43200" y="398648"/>
                      </a:cubicBezTo>
                      <a:cubicBezTo>
                        <a:pt x="49372" y="401734"/>
                        <a:pt x="58629" y="401734"/>
                        <a:pt x="67886" y="395563"/>
                      </a:cubicBezTo>
                      <a:cubicBezTo>
                        <a:pt x="148114" y="346191"/>
                        <a:pt x="237600" y="340020"/>
                        <a:pt x="299314" y="259791"/>
                      </a:cubicBezTo>
                      <a:cubicBezTo>
                        <a:pt x="348686" y="191905"/>
                        <a:pt x="357943" y="102420"/>
                        <a:pt x="333257" y="22191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5" name="任意多边形: 形状 174">
                  <a:extLst>
                    <a:ext uri="{FF2B5EF4-FFF2-40B4-BE49-F238E27FC236}">
                      <a16:creationId xmlns:a16="http://schemas.microsoft.com/office/drawing/2014/main" id="{FAB1479D-2F96-49BB-AD59-FEFF9B305AFA}"/>
                    </a:ext>
                  </a:extLst>
                </p:cNvPr>
                <p:cNvSpPr/>
                <p:nvPr/>
              </p:nvSpPr>
              <p:spPr>
                <a:xfrm>
                  <a:off x="8791685" y="4608291"/>
                  <a:ext cx="638830" cy="614336"/>
                </a:xfrm>
                <a:custGeom>
                  <a:avLst/>
                  <a:gdLst>
                    <a:gd name="connsiteX0" fmla="*/ 636323 w 638830"/>
                    <a:gd name="connsiteY0" fmla="*/ 501834 h 614336"/>
                    <a:gd name="connsiteX1" fmla="*/ 451180 w 638830"/>
                    <a:gd name="connsiteY1" fmla="*/ 461719 h 614336"/>
                    <a:gd name="connsiteX2" fmla="*/ 225923 w 638830"/>
                    <a:gd name="connsiteY2" fmla="*/ 508005 h 614336"/>
                    <a:gd name="connsiteX3" fmla="*/ 74723 w 638830"/>
                    <a:gd name="connsiteY3" fmla="*/ 14291 h 614336"/>
                    <a:gd name="connsiteX4" fmla="*/ 19180 w 638830"/>
                    <a:gd name="connsiteY4" fmla="*/ 20462 h 614336"/>
                    <a:gd name="connsiteX5" fmla="*/ 145694 w 638830"/>
                    <a:gd name="connsiteY5" fmla="*/ 545034 h 614336"/>
                    <a:gd name="connsiteX6" fmla="*/ 158037 w 638830"/>
                    <a:gd name="connsiteY6" fmla="*/ 594405 h 614336"/>
                    <a:gd name="connsiteX7" fmla="*/ 636323 w 638830"/>
                    <a:gd name="connsiteY7" fmla="*/ 501834 h 6143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8830" h="614336">
                      <a:moveTo>
                        <a:pt x="636323" y="501834"/>
                      </a:moveTo>
                      <a:cubicBezTo>
                        <a:pt x="620894" y="437034"/>
                        <a:pt x="494380" y="458634"/>
                        <a:pt x="451180" y="461719"/>
                      </a:cubicBezTo>
                      <a:cubicBezTo>
                        <a:pt x="370952" y="464805"/>
                        <a:pt x="296894" y="480234"/>
                        <a:pt x="225923" y="508005"/>
                      </a:cubicBezTo>
                      <a:cubicBezTo>
                        <a:pt x="210494" y="332119"/>
                        <a:pt x="185809" y="159319"/>
                        <a:pt x="74723" y="14291"/>
                      </a:cubicBezTo>
                      <a:cubicBezTo>
                        <a:pt x="59294" y="-4224"/>
                        <a:pt x="25351" y="-7309"/>
                        <a:pt x="19180" y="20462"/>
                      </a:cubicBezTo>
                      <a:cubicBezTo>
                        <a:pt x="-24020" y="227205"/>
                        <a:pt x="666" y="390748"/>
                        <a:pt x="145694" y="545034"/>
                      </a:cubicBezTo>
                      <a:cubicBezTo>
                        <a:pt x="133351" y="560462"/>
                        <a:pt x="133351" y="588234"/>
                        <a:pt x="158037" y="594405"/>
                      </a:cubicBezTo>
                      <a:cubicBezTo>
                        <a:pt x="222837" y="612919"/>
                        <a:pt x="676437" y="656119"/>
                        <a:pt x="636323" y="501834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6" name="任意多边形: 形状 175">
                  <a:extLst>
                    <a:ext uri="{FF2B5EF4-FFF2-40B4-BE49-F238E27FC236}">
                      <a16:creationId xmlns:a16="http://schemas.microsoft.com/office/drawing/2014/main" id="{A6B22DA4-1C9D-4B52-BE3A-3E891F070876}"/>
                    </a:ext>
                  </a:extLst>
                </p:cNvPr>
                <p:cNvSpPr/>
                <p:nvPr/>
              </p:nvSpPr>
              <p:spPr>
                <a:xfrm>
                  <a:off x="8624951" y="4930611"/>
                  <a:ext cx="621362" cy="512906"/>
                </a:xfrm>
                <a:custGeom>
                  <a:avLst/>
                  <a:gdLst>
                    <a:gd name="connsiteX0" fmla="*/ 488314 w 621362"/>
                    <a:gd name="connsiteY0" fmla="*/ 355400 h 512906"/>
                    <a:gd name="connsiteX1" fmla="*/ 281572 w 621362"/>
                    <a:gd name="connsiteY1" fmla="*/ 377000 h 512906"/>
                    <a:gd name="connsiteX2" fmla="*/ 192086 w 621362"/>
                    <a:gd name="connsiteY2" fmla="*/ 133228 h 512906"/>
                    <a:gd name="connsiteX3" fmla="*/ 40886 w 621362"/>
                    <a:gd name="connsiteY3" fmla="*/ 6714 h 512906"/>
                    <a:gd name="connsiteX4" fmla="*/ 19286 w 621362"/>
                    <a:gd name="connsiteY4" fmla="*/ 219628 h 512906"/>
                    <a:gd name="connsiteX5" fmla="*/ 198257 w 621362"/>
                    <a:gd name="connsiteY5" fmla="*/ 451057 h 512906"/>
                    <a:gd name="connsiteX6" fmla="*/ 213686 w 621362"/>
                    <a:gd name="connsiteY6" fmla="*/ 497343 h 512906"/>
                    <a:gd name="connsiteX7" fmla="*/ 513000 w 621362"/>
                    <a:gd name="connsiteY7" fmla="*/ 497343 h 512906"/>
                    <a:gd name="connsiteX8" fmla="*/ 621000 w 621362"/>
                    <a:gd name="connsiteY8" fmla="*/ 426371 h 512906"/>
                    <a:gd name="connsiteX9" fmla="*/ 488314 w 621362"/>
                    <a:gd name="connsiteY9" fmla="*/ 355400 h 512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21362" h="512906">
                      <a:moveTo>
                        <a:pt x="488314" y="355400"/>
                      </a:moveTo>
                      <a:cubicBezTo>
                        <a:pt x="417343" y="346143"/>
                        <a:pt x="346371" y="346143"/>
                        <a:pt x="281572" y="377000"/>
                      </a:cubicBezTo>
                      <a:cubicBezTo>
                        <a:pt x="272314" y="290600"/>
                        <a:pt x="241457" y="207285"/>
                        <a:pt x="192086" y="133228"/>
                      </a:cubicBezTo>
                      <a:cubicBezTo>
                        <a:pt x="167400" y="96200"/>
                        <a:pt x="99514" y="-30315"/>
                        <a:pt x="40886" y="6714"/>
                      </a:cubicBezTo>
                      <a:cubicBezTo>
                        <a:pt x="-20829" y="40657"/>
                        <a:pt x="771" y="170257"/>
                        <a:pt x="19286" y="219628"/>
                      </a:cubicBezTo>
                      <a:cubicBezTo>
                        <a:pt x="50143" y="315285"/>
                        <a:pt x="121115" y="389343"/>
                        <a:pt x="198257" y="451057"/>
                      </a:cubicBezTo>
                      <a:cubicBezTo>
                        <a:pt x="189000" y="466485"/>
                        <a:pt x="192086" y="491171"/>
                        <a:pt x="213686" y="497343"/>
                      </a:cubicBezTo>
                      <a:cubicBezTo>
                        <a:pt x="309343" y="525114"/>
                        <a:pt x="417343" y="509685"/>
                        <a:pt x="513000" y="497343"/>
                      </a:cubicBezTo>
                      <a:cubicBezTo>
                        <a:pt x="553115" y="491171"/>
                        <a:pt x="627171" y="485000"/>
                        <a:pt x="621000" y="426371"/>
                      </a:cubicBezTo>
                      <a:cubicBezTo>
                        <a:pt x="614829" y="367742"/>
                        <a:pt x="534600" y="361571"/>
                        <a:pt x="488314" y="355400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7" name="任意多边形: 形状 176">
                  <a:extLst>
                    <a:ext uri="{FF2B5EF4-FFF2-40B4-BE49-F238E27FC236}">
                      <a16:creationId xmlns:a16="http://schemas.microsoft.com/office/drawing/2014/main" id="{A06150D8-2CF5-4DD0-AE00-15AE5622C96B}"/>
                    </a:ext>
                  </a:extLst>
                </p:cNvPr>
                <p:cNvSpPr/>
                <p:nvPr/>
              </p:nvSpPr>
              <p:spPr>
                <a:xfrm>
                  <a:off x="8516524" y="5220424"/>
                  <a:ext cx="698905" cy="466654"/>
                </a:xfrm>
                <a:custGeom>
                  <a:avLst/>
                  <a:gdLst>
                    <a:gd name="connsiteX0" fmla="*/ 698570 w 698905"/>
                    <a:gd name="connsiteY0" fmla="*/ 312443 h 466654"/>
                    <a:gd name="connsiteX1" fmla="*/ 519599 w 698905"/>
                    <a:gd name="connsiteY1" fmla="*/ 269244 h 466654"/>
                    <a:gd name="connsiteX2" fmla="*/ 285084 w 698905"/>
                    <a:gd name="connsiteY2" fmla="*/ 346386 h 466654"/>
                    <a:gd name="connsiteX3" fmla="*/ 223370 w 698905"/>
                    <a:gd name="connsiteY3" fmla="*/ 158158 h 466654"/>
                    <a:gd name="connsiteX4" fmla="*/ 47484 w 698905"/>
                    <a:gd name="connsiteY4" fmla="*/ 786 h 466654"/>
                    <a:gd name="connsiteX5" fmla="*/ 13542 w 698905"/>
                    <a:gd name="connsiteY5" fmla="*/ 16215 h 466654"/>
                    <a:gd name="connsiteX6" fmla="*/ 38227 w 698905"/>
                    <a:gd name="connsiteY6" fmla="*/ 238386 h 466654"/>
                    <a:gd name="connsiteX7" fmla="*/ 198684 w 698905"/>
                    <a:gd name="connsiteY7" fmla="*/ 423529 h 466654"/>
                    <a:gd name="connsiteX8" fmla="*/ 226456 w 698905"/>
                    <a:gd name="connsiteY8" fmla="*/ 457472 h 466654"/>
                    <a:gd name="connsiteX9" fmla="*/ 565884 w 698905"/>
                    <a:gd name="connsiteY9" fmla="*/ 451301 h 466654"/>
                    <a:gd name="connsiteX10" fmla="*/ 698570 w 698905"/>
                    <a:gd name="connsiteY10" fmla="*/ 312443 h 466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98905" h="466654">
                      <a:moveTo>
                        <a:pt x="698570" y="312443"/>
                      </a:moveTo>
                      <a:cubicBezTo>
                        <a:pt x="689313" y="226044"/>
                        <a:pt x="578227" y="259986"/>
                        <a:pt x="519599" y="269244"/>
                      </a:cubicBezTo>
                      <a:cubicBezTo>
                        <a:pt x="439370" y="284672"/>
                        <a:pt x="352970" y="303186"/>
                        <a:pt x="285084" y="346386"/>
                      </a:cubicBezTo>
                      <a:cubicBezTo>
                        <a:pt x="288170" y="278501"/>
                        <a:pt x="266570" y="216786"/>
                        <a:pt x="223370" y="158158"/>
                      </a:cubicBezTo>
                      <a:cubicBezTo>
                        <a:pt x="183256" y="102615"/>
                        <a:pt x="112284" y="25472"/>
                        <a:pt x="47484" y="786"/>
                      </a:cubicBezTo>
                      <a:cubicBezTo>
                        <a:pt x="35141" y="-2299"/>
                        <a:pt x="19713" y="3872"/>
                        <a:pt x="13542" y="16215"/>
                      </a:cubicBezTo>
                      <a:cubicBezTo>
                        <a:pt x="-17316" y="77929"/>
                        <a:pt x="10456" y="179758"/>
                        <a:pt x="38227" y="238386"/>
                      </a:cubicBezTo>
                      <a:cubicBezTo>
                        <a:pt x="72170" y="315529"/>
                        <a:pt x="127713" y="377244"/>
                        <a:pt x="198684" y="423529"/>
                      </a:cubicBezTo>
                      <a:cubicBezTo>
                        <a:pt x="195599" y="442044"/>
                        <a:pt x="204856" y="460558"/>
                        <a:pt x="226456" y="457472"/>
                      </a:cubicBezTo>
                      <a:cubicBezTo>
                        <a:pt x="340627" y="445129"/>
                        <a:pt x="451713" y="488329"/>
                        <a:pt x="565884" y="451301"/>
                      </a:cubicBezTo>
                      <a:cubicBezTo>
                        <a:pt x="624513" y="435872"/>
                        <a:pt x="704741" y="386501"/>
                        <a:pt x="698570" y="312443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8" name="任意多边形: 形状 177">
                  <a:extLst>
                    <a:ext uri="{FF2B5EF4-FFF2-40B4-BE49-F238E27FC236}">
                      <a16:creationId xmlns:a16="http://schemas.microsoft.com/office/drawing/2014/main" id="{BBD27D84-45CC-48FD-A8A6-31D2AAD5BEBC}"/>
                    </a:ext>
                  </a:extLst>
                </p:cNvPr>
                <p:cNvSpPr/>
                <p:nvPr/>
              </p:nvSpPr>
              <p:spPr>
                <a:xfrm>
                  <a:off x="8343160" y="5667838"/>
                  <a:ext cx="655153" cy="381662"/>
                </a:xfrm>
                <a:custGeom>
                  <a:avLst/>
                  <a:gdLst>
                    <a:gd name="connsiteX0" fmla="*/ 541763 w 655153"/>
                    <a:gd name="connsiteY0" fmla="*/ 170516 h 381662"/>
                    <a:gd name="connsiteX1" fmla="*/ 316505 w 655153"/>
                    <a:gd name="connsiteY1" fmla="*/ 238401 h 381662"/>
                    <a:gd name="connsiteX2" fmla="*/ 180734 w 655153"/>
                    <a:gd name="connsiteY2" fmla="*/ 53259 h 381662"/>
                    <a:gd name="connsiteX3" fmla="*/ 17191 w 655153"/>
                    <a:gd name="connsiteY3" fmla="*/ 28573 h 381662"/>
                    <a:gd name="connsiteX4" fmla="*/ 57305 w 655153"/>
                    <a:gd name="connsiteY4" fmla="*/ 195201 h 381662"/>
                    <a:gd name="connsiteX5" fmla="*/ 273305 w 655153"/>
                    <a:gd name="connsiteY5" fmla="*/ 300116 h 381662"/>
                    <a:gd name="connsiteX6" fmla="*/ 273305 w 655153"/>
                    <a:gd name="connsiteY6" fmla="*/ 300116 h 381662"/>
                    <a:gd name="connsiteX7" fmla="*/ 288734 w 655153"/>
                    <a:gd name="connsiteY7" fmla="*/ 315544 h 381662"/>
                    <a:gd name="connsiteX8" fmla="*/ 297991 w 655153"/>
                    <a:gd name="connsiteY8" fmla="*/ 324801 h 381662"/>
                    <a:gd name="connsiteX9" fmla="*/ 523248 w 655153"/>
                    <a:gd name="connsiteY9" fmla="*/ 374173 h 381662"/>
                    <a:gd name="connsiteX10" fmla="*/ 652848 w 655153"/>
                    <a:gd name="connsiteY10" fmla="*/ 238401 h 381662"/>
                    <a:gd name="connsiteX11" fmla="*/ 541763 w 655153"/>
                    <a:gd name="connsiteY11" fmla="*/ 170516 h 381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655153" h="381662">
                      <a:moveTo>
                        <a:pt x="541763" y="170516"/>
                      </a:moveTo>
                      <a:cubicBezTo>
                        <a:pt x="467705" y="179773"/>
                        <a:pt x="375134" y="185944"/>
                        <a:pt x="316505" y="238401"/>
                      </a:cubicBezTo>
                      <a:cubicBezTo>
                        <a:pt x="282562" y="167430"/>
                        <a:pt x="242448" y="102630"/>
                        <a:pt x="180734" y="53259"/>
                      </a:cubicBezTo>
                      <a:cubicBezTo>
                        <a:pt x="137534" y="19315"/>
                        <a:pt x="60391" y="-33142"/>
                        <a:pt x="17191" y="28573"/>
                      </a:cubicBezTo>
                      <a:cubicBezTo>
                        <a:pt x="-22923" y="84116"/>
                        <a:pt x="14105" y="158173"/>
                        <a:pt x="57305" y="195201"/>
                      </a:cubicBezTo>
                      <a:cubicBezTo>
                        <a:pt x="115934" y="244573"/>
                        <a:pt x="196162" y="275430"/>
                        <a:pt x="273305" y="300116"/>
                      </a:cubicBezTo>
                      <a:cubicBezTo>
                        <a:pt x="273305" y="300116"/>
                        <a:pt x="273305" y="300116"/>
                        <a:pt x="273305" y="300116"/>
                      </a:cubicBezTo>
                      <a:cubicBezTo>
                        <a:pt x="276391" y="309373"/>
                        <a:pt x="282562" y="312458"/>
                        <a:pt x="288734" y="315544"/>
                      </a:cubicBezTo>
                      <a:cubicBezTo>
                        <a:pt x="291820" y="318630"/>
                        <a:pt x="294906" y="321716"/>
                        <a:pt x="297991" y="324801"/>
                      </a:cubicBezTo>
                      <a:cubicBezTo>
                        <a:pt x="362791" y="368001"/>
                        <a:pt x="443019" y="395773"/>
                        <a:pt x="523248" y="374173"/>
                      </a:cubicBezTo>
                      <a:cubicBezTo>
                        <a:pt x="584963" y="355659"/>
                        <a:pt x="643591" y="303201"/>
                        <a:pt x="652848" y="238401"/>
                      </a:cubicBezTo>
                      <a:cubicBezTo>
                        <a:pt x="668277" y="152001"/>
                        <a:pt x="603477" y="161259"/>
                        <a:pt x="541763" y="170516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9" name="任意多边形: 形状 178">
                  <a:extLst>
                    <a:ext uri="{FF2B5EF4-FFF2-40B4-BE49-F238E27FC236}">
                      <a16:creationId xmlns:a16="http://schemas.microsoft.com/office/drawing/2014/main" id="{731A3397-8557-494D-848D-2D68E37DD210}"/>
                    </a:ext>
                  </a:extLst>
                </p:cNvPr>
                <p:cNvSpPr/>
                <p:nvPr/>
              </p:nvSpPr>
              <p:spPr>
                <a:xfrm>
                  <a:off x="8190354" y="6056722"/>
                  <a:ext cx="831458" cy="309091"/>
                </a:xfrm>
                <a:custGeom>
                  <a:avLst/>
                  <a:gdLst>
                    <a:gd name="connsiteX0" fmla="*/ 830339 w 831458"/>
                    <a:gd name="connsiteY0" fmla="*/ 148831 h 309091"/>
                    <a:gd name="connsiteX1" fmla="*/ 657539 w 831458"/>
                    <a:gd name="connsiteY1" fmla="*/ 114888 h 309091"/>
                    <a:gd name="connsiteX2" fmla="*/ 413768 w 831458"/>
                    <a:gd name="connsiteY2" fmla="*/ 195117 h 309091"/>
                    <a:gd name="connsiteX3" fmla="*/ 15711 w 831458"/>
                    <a:gd name="connsiteY3" fmla="*/ 59345 h 309091"/>
                    <a:gd name="connsiteX4" fmla="*/ 413768 w 831458"/>
                    <a:gd name="connsiteY4" fmla="*/ 284602 h 309091"/>
                    <a:gd name="connsiteX5" fmla="*/ 423025 w 831458"/>
                    <a:gd name="connsiteY5" fmla="*/ 281517 h 309091"/>
                    <a:gd name="connsiteX6" fmla="*/ 691482 w 831458"/>
                    <a:gd name="connsiteY6" fmla="*/ 293859 h 309091"/>
                    <a:gd name="connsiteX7" fmla="*/ 830339 w 831458"/>
                    <a:gd name="connsiteY7" fmla="*/ 148831 h 309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31458" h="309091">
                      <a:moveTo>
                        <a:pt x="830339" y="148831"/>
                      </a:moveTo>
                      <a:cubicBezTo>
                        <a:pt x="817997" y="77859"/>
                        <a:pt x="703825" y="111802"/>
                        <a:pt x="657539" y="114888"/>
                      </a:cubicBezTo>
                      <a:cubicBezTo>
                        <a:pt x="568054" y="121060"/>
                        <a:pt x="484739" y="136488"/>
                        <a:pt x="413768" y="195117"/>
                      </a:cubicBezTo>
                      <a:cubicBezTo>
                        <a:pt x="345882" y="96374"/>
                        <a:pt x="92854" y="-98026"/>
                        <a:pt x="15711" y="59345"/>
                      </a:cubicBezTo>
                      <a:cubicBezTo>
                        <a:pt x="-83032" y="263002"/>
                        <a:pt x="311939" y="281517"/>
                        <a:pt x="413768" y="284602"/>
                      </a:cubicBezTo>
                      <a:cubicBezTo>
                        <a:pt x="416854" y="284602"/>
                        <a:pt x="419939" y="284602"/>
                        <a:pt x="423025" y="281517"/>
                      </a:cubicBezTo>
                      <a:cubicBezTo>
                        <a:pt x="509425" y="312374"/>
                        <a:pt x="601997" y="318545"/>
                        <a:pt x="691482" y="293859"/>
                      </a:cubicBezTo>
                      <a:cubicBezTo>
                        <a:pt x="750111" y="275345"/>
                        <a:pt x="842682" y="225974"/>
                        <a:pt x="830339" y="148831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80" name="图形 1">
                <a:extLst>
                  <a:ext uri="{FF2B5EF4-FFF2-40B4-BE49-F238E27FC236}">
                    <a16:creationId xmlns:a16="http://schemas.microsoft.com/office/drawing/2014/main" id="{642B4E27-4193-4C43-9A4D-E25F56DEE238}"/>
                  </a:ext>
                </a:extLst>
              </p:cNvPr>
              <p:cNvGrpSpPr/>
              <p:nvPr/>
            </p:nvGrpSpPr>
            <p:grpSpPr>
              <a:xfrm>
                <a:off x="7120567" y="4538095"/>
                <a:ext cx="1315421" cy="2026235"/>
                <a:chOff x="7120567" y="4538095"/>
                <a:chExt cx="1315421" cy="2026235"/>
              </a:xfrm>
            </p:grpSpPr>
            <p:sp>
              <p:nvSpPr>
                <p:cNvPr id="181" name="任意多边形: 形状 180">
                  <a:extLst>
                    <a:ext uri="{FF2B5EF4-FFF2-40B4-BE49-F238E27FC236}">
                      <a16:creationId xmlns:a16="http://schemas.microsoft.com/office/drawing/2014/main" id="{02E51661-C6C8-4559-A89B-7399899E3EA2}"/>
                    </a:ext>
                  </a:extLst>
                </p:cNvPr>
                <p:cNvSpPr/>
                <p:nvPr/>
              </p:nvSpPr>
              <p:spPr>
                <a:xfrm>
                  <a:off x="7494320" y="4992648"/>
                  <a:ext cx="823642" cy="1571682"/>
                </a:xfrm>
                <a:custGeom>
                  <a:avLst/>
                  <a:gdLst>
                    <a:gd name="connsiteX0" fmla="*/ 822831 w 823642"/>
                    <a:gd name="connsiteY0" fmla="*/ 1552334 h 1571682"/>
                    <a:gd name="connsiteX1" fmla="*/ 572888 w 823642"/>
                    <a:gd name="connsiteY1" fmla="*/ 685248 h 1571682"/>
                    <a:gd name="connsiteX2" fmla="*/ 29802 w 823642"/>
                    <a:gd name="connsiteY2" fmla="*/ 6391 h 1571682"/>
                    <a:gd name="connsiteX3" fmla="*/ 2031 w 823642"/>
                    <a:gd name="connsiteY3" fmla="*/ 21819 h 1571682"/>
                    <a:gd name="connsiteX4" fmla="*/ 532774 w 823642"/>
                    <a:gd name="connsiteY4" fmla="*/ 675991 h 1571682"/>
                    <a:gd name="connsiteX5" fmla="*/ 791974 w 823642"/>
                    <a:gd name="connsiteY5" fmla="*/ 1561591 h 1571682"/>
                    <a:gd name="connsiteX6" fmla="*/ 822831 w 823642"/>
                    <a:gd name="connsiteY6" fmla="*/ 1552334 h 15716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3642" h="1571682">
                      <a:moveTo>
                        <a:pt x="822831" y="1552334"/>
                      </a:moveTo>
                      <a:cubicBezTo>
                        <a:pt x="751859" y="1262277"/>
                        <a:pt x="702488" y="953705"/>
                        <a:pt x="572888" y="685248"/>
                      </a:cubicBezTo>
                      <a:cubicBezTo>
                        <a:pt x="443288" y="419877"/>
                        <a:pt x="199517" y="243991"/>
                        <a:pt x="29802" y="6391"/>
                      </a:cubicBezTo>
                      <a:cubicBezTo>
                        <a:pt x="17460" y="-9038"/>
                        <a:pt x="-7226" y="6391"/>
                        <a:pt x="2031" y="21819"/>
                      </a:cubicBezTo>
                      <a:cubicBezTo>
                        <a:pt x="168660" y="250162"/>
                        <a:pt x="403174" y="422962"/>
                        <a:pt x="532774" y="675991"/>
                      </a:cubicBezTo>
                      <a:cubicBezTo>
                        <a:pt x="671631" y="947533"/>
                        <a:pt x="721002" y="1268448"/>
                        <a:pt x="791974" y="1561591"/>
                      </a:cubicBezTo>
                      <a:cubicBezTo>
                        <a:pt x="798145" y="1580105"/>
                        <a:pt x="829002" y="1570848"/>
                        <a:pt x="822831" y="1552334"/>
                      </a:cubicBezTo>
                      <a:close/>
                    </a:path>
                  </a:pathLst>
                </a:custGeom>
                <a:solidFill>
                  <a:srgbClr val="6C5D68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2" name="任意多边形: 形状 181">
                  <a:extLst>
                    <a:ext uri="{FF2B5EF4-FFF2-40B4-BE49-F238E27FC236}">
                      <a16:creationId xmlns:a16="http://schemas.microsoft.com/office/drawing/2014/main" id="{055529EB-E994-4315-A5CB-7031299D379B}"/>
                    </a:ext>
                  </a:extLst>
                </p:cNvPr>
                <p:cNvSpPr/>
                <p:nvPr/>
              </p:nvSpPr>
              <p:spPr>
                <a:xfrm>
                  <a:off x="7120567" y="4538095"/>
                  <a:ext cx="437498" cy="538761"/>
                </a:xfrm>
                <a:custGeom>
                  <a:avLst/>
                  <a:gdLst>
                    <a:gd name="connsiteX0" fmla="*/ 437499 w 437498"/>
                    <a:gd name="connsiteY0" fmla="*/ 494887 h 538761"/>
                    <a:gd name="connsiteX1" fmla="*/ 273956 w 437498"/>
                    <a:gd name="connsiteY1" fmla="*/ 152373 h 538761"/>
                    <a:gd name="connsiteX2" fmla="*/ 33270 w 437498"/>
                    <a:gd name="connsiteY2" fmla="*/ 13516 h 538761"/>
                    <a:gd name="connsiteX3" fmla="*/ 88813 w 437498"/>
                    <a:gd name="connsiteY3" fmla="*/ 275801 h 538761"/>
                    <a:gd name="connsiteX4" fmla="*/ 375784 w 437498"/>
                    <a:gd name="connsiteY4" fmla="*/ 535001 h 538761"/>
                    <a:gd name="connsiteX5" fmla="*/ 415898 w 437498"/>
                    <a:gd name="connsiteY5" fmla="*/ 522658 h 538761"/>
                    <a:gd name="connsiteX6" fmla="*/ 437499 w 437498"/>
                    <a:gd name="connsiteY6" fmla="*/ 494887 h 5387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7498" h="538761">
                      <a:moveTo>
                        <a:pt x="437499" y="494887"/>
                      </a:moveTo>
                      <a:cubicBezTo>
                        <a:pt x="422070" y="362201"/>
                        <a:pt x="360356" y="251115"/>
                        <a:pt x="273956" y="152373"/>
                      </a:cubicBezTo>
                      <a:cubicBezTo>
                        <a:pt x="230755" y="103001"/>
                        <a:pt x="116584" y="-45113"/>
                        <a:pt x="33270" y="13516"/>
                      </a:cubicBezTo>
                      <a:cubicBezTo>
                        <a:pt x="-53130" y="72144"/>
                        <a:pt x="51784" y="223344"/>
                        <a:pt x="88813" y="275801"/>
                      </a:cubicBezTo>
                      <a:cubicBezTo>
                        <a:pt x="169041" y="389973"/>
                        <a:pt x="249270" y="473287"/>
                        <a:pt x="375784" y="535001"/>
                      </a:cubicBezTo>
                      <a:cubicBezTo>
                        <a:pt x="391213" y="544258"/>
                        <a:pt x="409727" y="535001"/>
                        <a:pt x="415898" y="522658"/>
                      </a:cubicBezTo>
                      <a:cubicBezTo>
                        <a:pt x="428241" y="519573"/>
                        <a:pt x="437499" y="513401"/>
                        <a:pt x="437499" y="494887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3" name="任意多边形: 形状 182">
                  <a:extLst>
                    <a:ext uri="{FF2B5EF4-FFF2-40B4-BE49-F238E27FC236}">
                      <a16:creationId xmlns:a16="http://schemas.microsoft.com/office/drawing/2014/main" id="{CD898979-087D-4FF4-A591-558C3F39406D}"/>
                    </a:ext>
                  </a:extLst>
                </p:cNvPr>
                <p:cNvSpPr/>
                <p:nvPr/>
              </p:nvSpPr>
              <p:spPr>
                <a:xfrm>
                  <a:off x="7183618" y="4657306"/>
                  <a:ext cx="705443" cy="699816"/>
                </a:xfrm>
                <a:custGeom>
                  <a:avLst/>
                  <a:gdLst>
                    <a:gd name="connsiteX0" fmla="*/ 664504 w 705443"/>
                    <a:gd name="connsiteY0" fmla="*/ 5390 h 699816"/>
                    <a:gd name="connsiteX1" fmla="*/ 476275 w 705443"/>
                    <a:gd name="connsiteY1" fmla="*/ 150418 h 699816"/>
                    <a:gd name="connsiteX2" fmla="*/ 457761 w 705443"/>
                    <a:gd name="connsiteY2" fmla="*/ 523790 h 699816"/>
                    <a:gd name="connsiteX3" fmla="*/ 460847 w 705443"/>
                    <a:gd name="connsiteY3" fmla="*/ 526876 h 699816"/>
                    <a:gd name="connsiteX4" fmla="*/ 4161 w 705443"/>
                    <a:gd name="connsiteY4" fmla="*/ 560818 h 699816"/>
                    <a:gd name="connsiteX5" fmla="*/ 241761 w 705443"/>
                    <a:gd name="connsiteY5" fmla="*/ 696590 h 699816"/>
                    <a:gd name="connsiteX6" fmla="*/ 491704 w 705443"/>
                    <a:gd name="connsiteY6" fmla="*/ 594761 h 699816"/>
                    <a:gd name="connsiteX7" fmla="*/ 504047 w 705443"/>
                    <a:gd name="connsiteY7" fmla="*/ 582418 h 699816"/>
                    <a:gd name="connsiteX8" fmla="*/ 504047 w 705443"/>
                    <a:gd name="connsiteY8" fmla="*/ 582418 h 699816"/>
                    <a:gd name="connsiteX9" fmla="*/ 695361 w 705443"/>
                    <a:gd name="connsiteY9" fmla="*/ 246076 h 699816"/>
                    <a:gd name="connsiteX10" fmla="*/ 664504 w 705443"/>
                    <a:gd name="connsiteY10" fmla="*/ 5390 h 699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05443" h="699816">
                      <a:moveTo>
                        <a:pt x="664504" y="5390"/>
                      </a:moveTo>
                      <a:cubicBezTo>
                        <a:pt x="596618" y="-28553"/>
                        <a:pt x="504047" y="107219"/>
                        <a:pt x="476275" y="150418"/>
                      </a:cubicBezTo>
                      <a:cubicBezTo>
                        <a:pt x="408390" y="264590"/>
                        <a:pt x="408390" y="403447"/>
                        <a:pt x="457761" y="523790"/>
                      </a:cubicBezTo>
                      <a:cubicBezTo>
                        <a:pt x="457761" y="523790"/>
                        <a:pt x="457761" y="523790"/>
                        <a:pt x="460847" y="526876"/>
                      </a:cubicBezTo>
                      <a:cubicBezTo>
                        <a:pt x="359018" y="486761"/>
                        <a:pt x="-45210" y="400361"/>
                        <a:pt x="4161" y="560818"/>
                      </a:cubicBezTo>
                      <a:cubicBezTo>
                        <a:pt x="28847" y="641047"/>
                        <a:pt x="170790" y="684247"/>
                        <a:pt x="241761" y="696590"/>
                      </a:cubicBezTo>
                      <a:cubicBezTo>
                        <a:pt x="352847" y="715104"/>
                        <a:pt x="408390" y="650304"/>
                        <a:pt x="491704" y="594761"/>
                      </a:cubicBezTo>
                      <a:cubicBezTo>
                        <a:pt x="497876" y="591676"/>
                        <a:pt x="500961" y="585504"/>
                        <a:pt x="504047" y="582418"/>
                      </a:cubicBezTo>
                      <a:cubicBezTo>
                        <a:pt x="504047" y="582418"/>
                        <a:pt x="504047" y="582418"/>
                        <a:pt x="504047" y="582418"/>
                      </a:cubicBezTo>
                      <a:cubicBezTo>
                        <a:pt x="605876" y="496018"/>
                        <a:pt x="673761" y="378761"/>
                        <a:pt x="695361" y="246076"/>
                      </a:cubicBezTo>
                      <a:cubicBezTo>
                        <a:pt x="701533" y="199790"/>
                        <a:pt x="726218" y="36247"/>
                        <a:pt x="664504" y="5390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4" name="任意多边形: 形状 183">
                  <a:extLst>
                    <a:ext uri="{FF2B5EF4-FFF2-40B4-BE49-F238E27FC236}">
                      <a16:creationId xmlns:a16="http://schemas.microsoft.com/office/drawing/2014/main" id="{7F48F629-86F4-4C52-8928-688AC4CCBEFF}"/>
                    </a:ext>
                  </a:extLst>
                </p:cNvPr>
                <p:cNvSpPr/>
                <p:nvPr/>
              </p:nvSpPr>
              <p:spPr>
                <a:xfrm>
                  <a:off x="7436853" y="4908698"/>
                  <a:ext cx="673527" cy="730454"/>
                </a:xfrm>
                <a:custGeom>
                  <a:avLst/>
                  <a:gdLst>
                    <a:gd name="connsiteX0" fmla="*/ 642698 w 673527"/>
                    <a:gd name="connsiteY0" fmla="*/ 3941 h 730454"/>
                    <a:gd name="connsiteX1" fmla="*/ 472983 w 673527"/>
                    <a:gd name="connsiteY1" fmla="*/ 148969 h 730454"/>
                    <a:gd name="connsiteX2" fmla="*/ 402012 w 673527"/>
                    <a:gd name="connsiteY2" fmla="*/ 451369 h 730454"/>
                    <a:gd name="connsiteX3" fmla="*/ 386583 w 673527"/>
                    <a:gd name="connsiteY3" fmla="*/ 460626 h 730454"/>
                    <a:gd name="connsiteX4" fmla="*/ 84183 w 673527"/>
                    <a:gd name="connsiteY4" fmla="*/ 559369 h 730454"/>
                    <a:gd name="connsiteX5" fmla="*/ 19383 w 673527"/>
                    <a:gd name="connsiteY5" fmla="*/ 707484 h 730454"/>
                    <a:gd name="connsiteX6" fmla="*/ 238469 w 673527"/>
                    <a:gd name="connsiteY6" fmla="*/ 695141 h 730454"/>
                    <a:gd name="connsiteX7" fmla="*/ 432869 w 673527"/>
                    <a:gd name="connsiteY7" fmla="*/ 506912 h 730454"/>
                    <a:gd name="connsiteX8" fmla="*/ 435955 w 673527"/>
                    <a:gd name="connsiteY8" fmla="*/ 503826 h 730454"/>
                    <a:gd name="connsiteX9" fmla="*/ 466812 w 673527"/>
                    <a:gd name="connsiteY9" fmla="*/ 482226 h 730454"/>
                    <a:gd name="connsiteX10" fmla="*/ 639612 w 673527"/>
                    <a:gd name="connsiteY10" fmla="*/ 216855 h 730454"/>
                    <a:gd name="connsiteX11" fmla="*/ 642698 w 673527"/>
                    <a:gd name="connsiteY11" fmla="*/ 3941 h 730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673527" h="730454">
                      <a:moveTo>
                        <a:pt x="642698" y="3941"/>
                      </a:moveTo>
                      <a:cubicBezTo>
                        <a:pt x="571726" y="-23831"/>
                        <a:pt x="497669" y="102684"/>
                        <a:pt x="472983" y="148969"/>
                      </a:cubicBezTo>
                      <a:cubicBezTo>
                        <a:pt x="420526" y="241541"/>
                        <a:pt x="398926" y="343369"/>
                        <a:pt x="402012" y="451369"/>
                      </a:cubicBezTo>
                      <a:cubicBezTo>
                        <a:pt x="395840" y="451369"/>
                        <a:pt x="392755" y="457541"/>
                        <a:pt x="386583" y="460626"/>
                      </a:cubicBezTo>
                      <a:cubicBezTo>
                        <a:pt x="281669" y="472969"/>
                        <a:pt x="173669" y="503826"/>
                        <a:pt x="84183" y="559369"/>
                      </a:cubicBezTo>
                      <a:cubicBezTo>
                        <a:pt x="40983" y="587141"/>
                        <a:pt x="-36160" y="655026"/>
                        <a:pt x="19383" y="707484"/>
                      </a:cubicBezTo>
                      <a:cubicBezTo>
                        <a:pt x="71840" y="753769"/>
                        <a:pt x="182926" y="719826"/>
                        <a:pt x="238469" y="695141"/>
                      </a:cubicBezTo>
                      <a:cubicBezTo>
                        <a:pt x="324869" y="658112"/>
                        <a:pt x="392755" y="590226"/>
                        <a:pt x="432869" y="506912"/>
                      </a:cubicBezTo>
                      <a:cubicBezTo>
                        <a:pt x="432869" y="506912"/>
                        <a:pt x="435955" y="503826"/>
                        <a:pt x="435955" y="503826"/>
                      </a:cubicBezTo>
                      <a:cubicBezTo>
                        <a:pt x="448298" y="503826"/>
                        <a:pt x="463726" y="497655"/>
                        <a:pt x="466812" y="482226"/>
                      </a:cubicBezTo>
                      <a:cubicBezTo>
                        <a:pt x="543955" y="408169"/>
                        <a:pt x="605669" y="318684"/>
                        <a:pt x="639612" y="216855"/>
                      </a:cubicBezTo>
                      <a:cubicBezTo>
                        <a:pt x="651955" y="173655"/>
                        <a:pt x="707498" y="28626"/>
                        <a:pt x="642698" y="3941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5" name="任意多边形: 形状 184">
                  <a:extLst>
                    <a:ext uri="{FF2B5EF4-FFF2-40B4-BE49-F238E27FC236}">
                      <a16:creationId xmlns:a16="http://schemas.microsoft.com/office/drawing/2014/main" id="{442B1159-737A-4BB0-8767-80501C60BDAE}"/>
                    </a:ext>
                  </a:extLst>
                </p:cNvPr>
                <p:cNvSpPr/>
                <p:nvPr/>
              </p:nvSpPr>
              <p:spPr>
                <a:xfrm>
                  <a:off x="7547028" y="5100388"/>
                  <a:ext cx="824166" cy="805967"/>
                </a:xfrm>
                <a:custGeom>
                  <a:avLst/>
                  <a:gdLst>
                    <a:gd name="connsiteX0" fmla="*/ 816409 w 824166"/>
                    <a:gd name="connsiteY0" fmla="*/ 22080 h 805967"/>
                    <a:gd name="connsiteX1" fmla="*/ 785552 w 824166"/>
                    <a:gd name="connsiteY1" fmla="*/ 480 h 805967"/>
                    <a:gd name="connsiteX2" fmla="*/ 572638 w 824166"/>
                    <a:gd name="connsiteY2" fmla="*/ 154765 h 805967"/>
                    <a:gd name="connsiteX3" fmla="*/ 446123 w 824166"/>
                    <a:gd name="connsiteY3" fmla="*/ 491108 h 805967"/>
                    <a:gd name="connsiteX4" fmla="*/ 446123 w 824166"/>
                    <a:gd name="connsiteY4" fmla="*/ 503451 h 805967"/>
                    <a:gd name="connsiteX5" fmla="*/ 443038 w 824166"/>
                    <a:gd name="connsiteY5" fmla="*/ 506537 h 805967"/>
                    <a:gd name="connsiteX6" fmla="*/ 433780 w 824166"/>
                    <a:gd name="connsiteY6" fmla="*/ 506537 h 805967"/>
                    <a:gd name="connsiteX7" fmla="*/ 48066 w 824166"/>
                    <a:gd name="connsiteY7" fmla="*/ 617622 h 805967"/>
                    <a:gd name="connsiteX8" fmla="*/ 38809 w 824166"/>
                    <a:gd name="connsiteY8" fmla="*/ 784251 h 805967"/>
                    <a:gd name="connsiteX9" fmla="*/ 288752 w 824166"/>
                    <a:gd name="connsiteY9" fmla="*/ 759565 h 805967"/>
                    <a:gd name="connsiteX10" fmla="*/ 486238 w 824166"/>
                    <a:gd name="connsiteY10" fmla="*/ 549737 h 805967"/>
                    <a:gd name="connsiteX11" fmla="*/ 501666 w 824166"/>
                    <a:gd name="connsiteY11" fmla="*/ 543565 h 805967"/>
                    <a:gd name="connsiteX12" fmla="*/ 748523 w 824166"/>
                    <a:gd name="connsiteY12" fmla="*/ 284365 h 805967"/>
                    <a:gd name="connsiteX13" fmla="*/ 816409 w 824166"/>
                    <a:gd name="connsiteY13" fmla="*/ 22080 h 8059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24166" h="805967">
                      <a:moveTo>
                        <a:pt x="816409" y="22080"/>
                      </a:moveTo>
                      <a:cubicBezTo>
                        <a:pt x="813323" y="9737"/>
                        <a:pt x="800980" y="-2606"/>
                        <a:pt x="785552" y="480"/>
                      </a:cubicBezTo>
                      <a:cubicBezTo>
                        <a:pt x="702238" y="9737"/>
                        <a:pt x="618923" y="93051"/>
                        <a:pt x="572638" y="154765"/>
                      </a:cubicBezTo>
                      <a:cubicBezTo>
                        <a:pt x="498580" y="253508"/>
                        <a:pt x="476980" y="373851"/>
                        <a:pt x="446123" y="491108"/>
                      </a:cubicBezTo>
                      <a:cubicBezTo>
                        <a:pt x="446123" y="497280"/>
                        <a:pt x="446123" y="500365"/>
                        <a:pt x="446123" y="503451"/>
                      </a:cubicBezTo>
                      <a:cubicBezTo>
                        <a:pt x="446123" y="503451"/>
                        <a:pt x="443038" y="506537"/>
                        <a:pt x="443038" y="506537"/>
                      </a:cubicBezTo>
                      <a:cubicBezTo>
                        <a:pt x="439952" y="506537"/>
                        <a:pt x="436866" y="506537"/>
                        <a:pt x="433780" y="506537"/>
                      </a:cubicBezTo>
                      <a:cubicBezTo>
                        <a:pt x="313437" y="531223"/>
                        <a:pt x="146809" y="540480"/>
                        <a:pt x="48066" y="617622"/>
                      </a:cubicBezTo>
                      <a:cubicBezTo>
                        <a:pt x="-4391" y="660823"/>
                        <a:pt x="-22905" y="741051"/>
                        <a:pt x="38809" y="784251"/>
                      </a:cubicBezTo>
                      <a:cubicBezTo>
                        <a:pt x="103609" y="830537"/>
                        <a:pt x="223952" y="793508"/>
                        <a:pt x="288752" y="759565"/>
                      </a:cubicBezTo>
                      <a:cubicBezTo>
                        <a:pt x="375152" y="713280"/>
                        <a:pt x="433780" y="633051"/>
                        <a:pt x="486238" y="549737"/>
                      </a:cubicBezTo>
                      <a:cubicBezTo>
                        <a:pt x="492409" y="549737"/>
                        <a:pt x="495495" y="546651"/>
                        <a:pt x="501666" y="543565"/>
                      </a:cubicBezTo>
                      <a:cubicBezTo>
                        <a:pt x="584980" y="463337"/>
                        <a:pt x="686809" y="383108"/>
                        <a:pt x="748523" y="284365"/>
                      </a:cubicBezTo>
                      <a:cubicBezTo>
                        <a:pt x="791723" y="222651"/>
                        <a:pt x="844181" y="102308"/>
                        <a:pt x="816409" y="22080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6" name="任意多边形: 形状 185">
                  <a:extLst>
                    <a:ext uri="{FF2B5EF4-FFF2-40B4-BE49-F238E27FC236}">
                      <a16:creationId xmlns:a16="http://schemas.microsoft.com/office/drawing/2014/main" id="{DCD82995-C861-4BE5-B802-D8A0D94A2AE6}"/>
                    </a:ext>
                  </a:extLst>
                </p:cNvPr>
                <p:cNvSpPr/>
                <p:nvPr/>
              </p:nvSpPr>
              <p:spPr>
                <a:xfrm>
                  <a:off x="7814161" y="5509385"/>
                  <a:ext cx="621826" cy="571100"/>
                </a:xfrm>
                <a:custGeom>
                  <a:avLst/>
                  <a:gdLst>
                    <a:gd name="connsiteX0" fmla="*/ 607904 w 621826"/>
                    <a:gd name="connsiteY0" fmla="*/ 23483 h 571100"/>
                    <a:gd name="connsiteX1" fmla="*/ 561618 w 621826"/>
                    <a:gd name="connsiteY1" fmla="*/ 4968 h 571100"/>
                    <a:gd name="connsiteX2" fmla="*/ 314761 w 621826"/>
                    <a:gd name="connsiteY2" fmla="*/ 399940 h 571100"/>
                    <a:gd name="connsiteX3" fmla="*/ 6190 w 621826"/>
                    <a:gd name="connsiteY3" fmla="*/ 514112 h 571100"/>
                    <a:gd name="connsiteX4" fmla="*/ 351790 w 621826"/>
                    <a:gd name="connsiteY4" fmla="*/ 470911 h 571100"/>
                    <a:gd name="connsiteX5" fmla="*/ 373390 w 621826"/>
                    <a:gd name="connsiteY5" fmla="*/ 467826 h 571100"/>
                    <a:gd name="connsiteX6" fmla="*/ 607904 w 621826"/>
                    <a:gd name="connsiteY6" fmla="*/ 23483 h 571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1826" h="571100">
                      <a:moveTo>
                        <a:pt x="607904" y="23483"/>
                      </a:moveTo>
                      <a:cubicBezTo>
                        <a:pt x="601732" y="4968"/>
                        <a:pt x="580132" y="-7375"/>
                        <a:pt x="561618" y="4968"/>
                      </a:cubicBezTo>
                      <a:cubicBezTo>
                        <a:pt x="419675" y="94454"/>
                        <a:pt x="364132" y="245654"/>
                        <a:pt x="314761" y="399940"/>
                      </a:cubicBezTo>
                      <a:cubicBezTo>
                        <a:pt x="216018" y="387597"/>
                        <a:pt x="-43182" y="365997"/>
                        <a:pt x="6190" y="514112"/>
                      </a:cubicBezTo>
                      <a:cubicBezTo>
                        <a:pt x="52475" y="649883"/>
                        <a:pt x="265390" y="504854"/>
                        <a:pt x="351790" y="470911"/>
                      </a:cubicBezTo>
                      <a:cubicBezTo>
                        <a:pt x="357961" y="473997"/>
                        <a:pt x="367218" y="470911"/>
                        <a:pt x="373390" y="467826"/>
                      </a:cubicBezTo>
                      <a:cubicBezTo>
                        <a:pt x="530761" y="378340"/>
                        <a:pt x="666532" y="217883"/>
                        <a:pt x="607904" y="23483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7" name="任意多边形: 形状 186">
                  <a:extLst>
                    <a:ext uri="{FF2B5EF4-FFF2-40B4-BE49-F238E27FC236}">
                      <a16:creationId xmlns:a16="http://schemas.microsoft.com/office/drawing/2014/main" id="{412F9419-C730-4527-BE9D-5500AF1EECB6}"/>
                    </a:ext>
                  </a:extLst>
                </p:cNvPr>
                <p:cNvSpPr/>
                <p:nvPr/>
              </p:nvSpPr>
              <p:spPr>
                <a:xfrm>
                  <a:off x="7936907" y="5978530"/>
                  <a:ext cx="444041" cy="348312"/>
                </a:xfrm>
                <a:custGeom>
                  <a:avLst/>
                  <a:gdLst>
                    <a:gd name="connsiteX0" fmla="*/ 408015 w 444041"/>
                    <a:gd name="connsiteY0" fmla="*/ 4852 h 348312"/>
                    <a:gd name="connsiteX1" fmla="*/ 312358 w 444041"/>
                    <a:gd name="connsiteY1" fmla="*/ 72737 h 348312"/>
                    <a:gd name="connsiteX2" fmla="*/ 275330 w 444041"/>
                    <a:gd name="connsiteY2" fmla="*/ 239366 h 348312"/>
                    <a:gd name="connsiteX3" fmla="*/ 145730 w 444041"/>
                    <a:gd name="connsiteY3" fmla="*/ 205423 h 348312"/>
                    <a:gd name="connsiteX4" fmla="*/ 6873 w 444041"/>
                    <a:gd name="connsiteY4" fmla="*/ 248623 h 348312"/>
                    <a:gd name="connsiteX5" fmla="*/ 74758 w 444041"/>
                    <a:gd name="connsiteY5" fmla="*/ 344280 h 348312"/>
                    <a:gd name="connsiteX6" fmla="*/ 303101 w 444041"/>
                    <a:gd name="connsiteY6" fmla="*/ 322680 h 348312"/>
                    <a:gd name="connsiteX7" fmla="*/ 324701 w 444041"/>
                    <a:gd name="connsiteY7" fmla="*/ 294909 h 348312"/>
                    <a:gd name="connsiteX8" fmla="*/ 333958 w 444041"/>
                    <a:gd name="connsiteY8" fmla="*/ 285651 h 348312"/>
                    <a:gd name="connsiteX9" fmla="*/ 432701 w 444041"/>
                    <a:gd name="connsiteY9" fmla="*/ 131366 h 348312"/>
                    <a:gd name="connsiteX10" fmla="*/ 408015 w 444041"/>
                    <a:gd name="connsiteY10" fmla="*/ 4852 h 348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44041" h="348312">
                      <a:moveTo>
                        <a:pt x="408015" y="4852"/>
                      </a:moveTo>
                      <a:cubicBezTo>
                        <a:pt x="364815" y="-16748"/>
                        <a:pt x="327787" y="38794"/>
                        <a:pt x="312358" y="72737"/>
                      </a:cubicBezTo>
                      <a:cubicBezTo>
                        <a:pt x="287672" y="125194"/>
                        <a:pt x="278415" y="183823"/>
                        <a:pt x="275330" y="239366"/>
                      </a:cubicBezTo>
                      <a:cubicBezTo>
                        <a:pt x="235215" y="217766"/>
                        <a:pt x="192015" y="208509"/>
                        <a:pt x="145730" y="205423"/>
                      </a:cubicBezTo>
                      <a:cubicBezTo>
                        <a:pt x="99444" y="202337"/>
                        <a:pt x="31558" y="196166"/>
                        <a:pt x="6873" y="248623"/>
                      </a:cubicBezTo>
                      <a:cubicBezTo>
                        <a:pt x="-17813" y="297995"/>
                        <a:pt x="28472" y="338109"/>
                        <a:pt x="74758" y="344280"/>
                      </a:cubicBezTo>
                      <a:cubicBezTo>
                        <a:pt x="148815" y="356623"/>
                        <a:pt x="232129" y="338109"/>
                        <a:pt x="303101" y="322680"/>
                      </a:cubicBezTo>
                      <a:cubicBezTo>
                        <a:pt x="318529" y="319594"/>
                        <a:pt x="324701" y="307252"/>
                        <a:pt x="324701" y="294909"/>
                      </a:cubicBezTo>
                      <a:cubicBezTo>
                        <a:pt x="327787" y="291823"/>
                        <a:pt x="330873" y="288737"/>
                        <a:pt x="333958" y="285651"/>
                      </a:cubicBezTo>
                      <a:cubicBezTo>
                        <a:pt x="367901" y="236280"/>
                        <a:pt x="411101" y="186909"/>
                        <a:pt x="432701" y="131366"/>
                      </a:cubicBezTo>
                      <a:cubicBezTo>
                        <a:pt x="448129" y="94337"/>
                        <a:pt x="454301" y="26452"/>
                        <a:pt x="408015" y="4852"/>
                      </a:cubicBezTo>
                      <a:close/>
                    </a:path>
                  </a:pathLst>
                </a:custGeom>
                <a:solidFill>
                  <a:srgbClr val="70868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8B0F01C4-9048-42CC-B082-661C2F2FBE45}"/>
                </a:ext>
              </a:extLst>
            </p:cNvPr>
            <p:cNvSpPr/>
            <p:nvPr/>
          </p:nvSpPr>
          <p:spPr>
            <a:xfrm>
              <a:off x="5634425" y="2616651"/>
              <a:ext cx="1007182" cy="1166616"/>
            </a:xfrm>
            <a:custGeom>
              <a:avLst/>
              <a:gdLst>
                <a:gd name="connsiteX0" fmla="*/ 106154 w 1007182"/>
                <a:gd name="connsiteY0" fmla="*/ 6388 h 1166616"/>
                <a:gd name="connsiteX1" fmla="*/ 411640 w 1007182"/>
                <a:gd name="connsiteY1" fmla="*/ 416788 h 1166616"/>
                <a:gd name="connsiteX2" fmla="*/ 547411 w 1007182"/>
                <a:gd name="connsiteY2" fmla="*/ 805588 h 1166616"/>
                <a:gd name="connsiteX3" fmla="*/ 1007183 w 1007182"/>
                <a:gd name="connsiteY3" fmla="*/ 1003074 h 1166616"/>
                <a:gd name="connsiteX4" fmla="*/ 982497 w 1007182"/>
                <a:gd name="connsiteY4" fmla="*/ 1166617 h 1166616"/>
                <a:gd name="connsiteX5" fmla="*/ 312897 w 1007182"/>
                <a:gd name="connsiteY5" fmla="*/ 1033931 h 1166616"/>
                <a:gd name="connsiteX6" fmla="*/ 106154 w 1007182"/>
                <a:gd name="connsiteY6" fmla="*/ 6388 h 116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7182" h="1166616">
                  <a:moveTo>
                    <a:pt x="106154" y="6388"/>
                  </a:moveTo>
                  <a:cubicBezTo>
                    <a:pt x="232669" y="-49155"/>
                    <a:pt x="359183" y="271760"/>
                    <a:pt x="411640" y="416788"/>
                  </a:cubicBezTo>
                  <a:cubicBezTo>
                    <a:pt x="451754" y="527874"/>
                    <a:pt x="547411" y="805588"/>
                    <a:pt x="547411" y="805588"/>
                  </a:cubicBezTo>
                  <a:lnTo>
                    <a:pt x="1007183" y="1003074"/>
                  </a:lnTo>
                  <a:lnTo>
                    <a:pt x="982497" y="1166617"/>
                  </a:lnTo>
                  <a:cubicBezTo>
                    <a:pt x="982497" y="1166617"/>
                    <a:pt x="430154" y="1089474"/>
                    <a:pt x="312897" y="1033931"/>
                  </a:cubicBezTo>
                  <a:cubicBezTo>
                    <a:pt x="183297" y="972217"/>
                    <a:pt x="-177732" y="132902"/>
                    <a:pt x="106154" y="6388"/>
                  </a:cubicBezTo>
                  <a:close/>
                </a:path>
              </a:pathLst>
            </a:custGeom>
            <a:solidFill>
              <a:srgbClr val="D16156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087BC017-1781-4204-B218-848276E89316}"/>
                </a:ext>
              </a:extLst>
            </p:cNvPr>
            <p:cNvSpPr/>
            <p:nvPr/>
          </p:nvSpPr>
          <p:spPr>
            <a:xfrm>
              <a:off x="5518408" y="2231153"/>
              <a:ext cx="70971" cy="138857"/>
            </a:xfrm>
            <a:custGeom>
              <a:avLst/>
              <a:gdLst>
                <a:gd name="connsiteX0" fmla="*/ 70972 w 70971"/>
                <a:gd name="connsiteY0" fmla="*/ 0 h 138857"/>
                <a:gd name="connsiteX1" fmla="*/ 0 w 70971"/>
                <a:gd name="connsiteY1" fmla="*/ 138857 h 138857"/>
                <a:gd name="connsiteX2" fmla="*/ 0 w 70971"/>
                <a:gd name="connsiteY2" fmla="*/ 52457 h 138857"/>
                <a:gd name="connsiteX3" fmla="*/ 70972 w 70971"/>
                <a:gd name="connsiteY3" fmla="*/ 0 h 13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971" h="138857">
                  <a:moveTo>
                    <a:pt x="70972" y="0"/>
                  </a:moveTo>
                  <a:cubicBezTo>
                    <a:pt x="70972" y="0"/>
                    <a:pt x="52457" y="120343"/>
                    <a:pt x="0" y="138857"/>
                  </a:cubicBezTo>
                  <a:lnTo>
                    <a:pt x="0" y="52457"/>
                  </a:lnTo>
                  <a:lnTo>
                    <a:pt x="70972" y="0"/>
                  </a:ln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183AD150-08D7-4EF1-9A26-4753B23BFA47}"/>
                </a:ext>
              </a:extLst>
            </p:cNvPr>
            <p:cNvSpPr/>
            <p:nvPr/>
          </p:nvSpPr>
          <p:spPr>
            <a:xfrm>
              <a:off x="5128018" y="2005896"/>
              <a:ext cx="109589" cy="244306"/>
            </a:xfrm>
            <a:custGeom>
              <a:avLst/>
              <a:gdLst>
                <a:gd name="connsiteX0" fmla="*/ 10847 w 109589"/>
                <a:gd name="connsiteY0" fmla="*/ 0 h 244306"/>
                <a:gd name="connsiteX1" fmla="*/ 44790 w 109589"/>
                <a:gd name="connsiteY1" fmla="*/ 240686 h 244306"/>
                <a:gd name="connsiteX2" fmla="*/ 109590 w 109589"/>
                <a:gd name="connsiteY2" fmla="*/ 18514 h 244306"/>
                <a:gd name="connsiteX3" fmla="*/ 10847 w 109589"/>
                <a:gd name="connsiteY3" fmla="*/ 0 h 244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589" h="244306">
                  <a:moveTo>
                    <a:pt x="10847" y="0"/>
                  </a:moveTo>
                  <a:cubicBezTo>
                    <a:pt x="10847" y="0"/>
                    <a:pt x="-29267" y="197486"/>
                    <a:pt x="44790" y="240686"/>
                  </a:cubicBezTo>
                  <a:cubicBezTo>
                    <a:pt x="106504" y="277714"/>
                    <a:pt x="109590" y="18514"/>
                    <a:pt x="109590" y="18514"/>
                  </a:cubicBezTo>
                  <a:lnTo>
                    <a:pt x="10847" y="0"/>
                  </a:ln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3D2BE424-B9FC-4A58-B2DD-3517B5574ABF}"/>
                </a:ext>
              </a:extLst>
            </p:cNvPr>
            <p:cNvSpPr/>
            <p:nvPr/>
          </p:nvSpPr>
          <p:spPr>
            <a:xfrm>
              <a:off x="5157635" y="1877335"/>
              <a:ext cx="431982" cy="574268"/>
            </a:xfrm>
            <a:custGeom>
              <a:avLst/>
              <a:gdLst>
                <a:gd name="connsiteX0" fmla="*/ 18259 w 431982"/>
                <a:gd name="connsiteY0" fmla="*/ 174846 h 574268"/>
                <a:gd name="connsiteX1" fmla="*/ 5916 w 431982"/>
                <a:gd name="connsiteY1" fmla="*/ 427875 h 574268"/>
                <a:gd name="connsiteX2" fmla="*/ 160202 w 431982"/>
                <a:gd name="connsiteY2" fmla="*/ 572904 h 574268"/>
                <a:gd name="connsiteX3" fmla="*/ 385459 w 431982"/>
                <a:gd name="connsiteY3" fmla="*/ 437132 h 574268"/>
                <a:gd name="connsiteX4" fmla="*/ 431744 w 431982"/>
                <a:gd name="connsiteY4" fmla="*/ 211875 h 574268"/>
                <a:gd name="connsiteX5" fmla="*/ 225001 w 431982"/>
                <a:gd name="connsiteY5" fmla="*/ 2046 h 574268"/>
                <a:gd name="connsiteX6" fmla="*/ 18259 w 431982"/>
                <a:gd name="connsiteY6" fmla="*/ 174846 h 574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1982" h="574268">
                  <a:moveTo>
                    <a:pt x="18259" y="174846"/>
                  </a:moveTo>
                  <a:cubicBezTo>
                    <a:pt x="18259" y="174846"/>
                    <a:pt x="-12598" y="353818"/>
                    <a:pt x="5916" y="427875"/>
                  </a:cubicBezTo>
                  <a:cubicBezTo>
                    <a:pt x="21344" y="495761"/>
                    <a:pt x="110830" y="566732"/>
                    <a:pt x="160202" y="572904"/>
                  </a:cubicBezTo>
                  <a:cubicBezTo>
                    <a:pt x="228087" y="582161"/>
                    <a:pt x="348430" y="545132"/>
                    <a:pt x="385459" y="437132"/>
                  </a:cubicBezTo>
                  <a:cubicBezTo>
                    <a:pt x="410144" y="363075"/>
                    <a:pt x="431744" y="261246"/>
                    <a:pt x="431744" y="211875"/>
                  </a:cubicBezTo>
                  <a:cubicBezTo>
                    <a:pt x="434830" y="116218"/>
                    <a:pt x="410144" y="35989"/>
                    <a:pt x="225001" y="2046"/>
                  </a:cubicBezTo>
                  <a:cubicBezTo>
                    <a:pt x="141687" y="-16468"/>
                    <a:pt x="42944" y="94618"/>
                    <a:pt x="18259" y="174846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56213870-C865-4C29-92A7-5612DFEF9983}"/>
                </a:ext>
              </a:extLst>
            </p:cNvPr>
            <p:cNvSpPr/>
            <p:nvPr/>
          </p:nvSpPr>
          <p:spPr>
            <a:xfrm>
              <a:off x="5293151" y="2140389"/>
              <a:ext cx="55542" cy="140135"/>
            </a:xfrm>
            <a:custGeom>
              <a:avLst/>
              <a:gdLst>
                <a:gd name="connsiteX0" fmla="*/ 37029 w 55542"/>
                <a:gd name="connsiteY0" fmla="*/ 140135 h 140135"/>
                <a:gd name="connsiteX1" fmla="*/ 6172 w 55542"/>
                <a:gd name="connsiteY1" fmla="*/ 130878 h 140135"/>
                <a:gd name="connsiteX2" fmla="*/ 0 w 55542"/>
                <a:gd name="connsiteY2" fmla="*/ 118535 h 140135"/>
                <a:gd name="connsiteX3" fmla="*/ 21600 w 55542"/>
                <a:gd name="connsiteY3" fmla="*/ 4364 h 140135"/>
                <a:gd name="connsiteX4" fmla="*/ 27771 w 55542"/>
                <a:gd name="connsiteY4" fmla="*/ 1278 h 140135"/>
                <a:gd name="connsiteX5" fmla="*/ 30857 w 55542"/>
                <a:gd name="connsiteY5" fmla="*/ 7450 h 140135"/>
                <a:gd name="connsiteX6" fmla="*/ 9257 w 55542"/>
                <a:gd name="connsiteY6" fmla="*/ 118535 h 140135"/>
                <a:gd name="connsiteX7" fmla="*/ 9257 w 55542"/>
                <a:gd name="connsiteY7" fmla="*/ 121621 h 140135"/>
                <a:gd name="connsiteX8" fmla="*/ 49372 w 55542"/>
                <a:gd name="connsiteY8" fmla="*/ 124707 h 140135"/>
                <a:gd name="connsiteX9" fmla="*/ 55543 w 55542"/>
                <a:gd name="connsiteY9" fmla="*/ 130878 h 140135"/>
                <a:gd name="connsiteX10" fmla="*/ 49372 w 55542"/>
                <a:gd name="connsiteY10" fmla="*/ 137050 h 140135"/>
                <a:gd name="connsiteX11" fmla="*/ 37029 w 55542"/>
                <a:gd name="connsiteY11" fmla="*/ 140135 h 140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542" h="140135">
                  <a:moveTo>
                    <a:pt x="37029" y="140135"/>
                  </a:moveTo>
                  <a:cubicBezTo>
                    <a:pt x="24686" y="140135"/>
                    <a:pt x="12343" y="137050"/>
                    <a:pt x="6172" y="130878"/>
                  </a:cubicBezTo>
                  <a:cubicBezTo>
                    <a:pt x="3086" y="127792"/>
                    <a:pt x="0" y="121621"/>
                    <a:pt x="0" y="118535"/>
                  </a:cubicBezTo>
                  <a:cubicBezTo>
                    <a:pt x="0" y="96935"/>
                    <a:pt x="21600" y="7450"/>
                    <a:pt x="21600" y="4364"/>
                  </a:cubicBezTo>
                  <a:cubicBezTo>
                    <a:pt x="21600" y="1278"/>
                    <a:pt x="24686" y="-1808"/>
                    <a:pt x="27771" y="1278"/>
                  </a:cubicBezTo>
                  <a:cubicBezTo>
                    <a:pt x="30857" y="1278"/>
                    <a:pt x="33943" y="4364"/>
                    <a:pt x="30857" y="7450"/>
                  </a:cubicBezTo>
                  <a:cubicBezTo>
                    <a:pt x="30857" y="7450"/>
                    <a:pt x="9257" y="100021"/>
                    <a:pt x="9257" y="118535"/>
                  </a:cubicBezTo>
                  <a:cubicBezTo>
                    <a:pt x="9257" y="118535"/>
                    <a:pt x="9257" y="121621"/>
                    <a:pt x="9257" y="121621"/>
                  </a:cubicBezTo>
                  <a:cubicBezTo>
                    <a:pt x="15429" y="127792"/>
                    <a:pt x="37029" y="127792"/>
                    <a:pt x="49372" y="124707"/>
                  </a:cubicBezTo>
                  <a:cubicBezTo>
                    <a:pt x="52457" y="124707"/>
                    <a:pt x="55543" y="127792"/>
                    <a:pt x="55543" y="130878"/>
                  </a:cubicBezTo>
                  <a:cubicBezTo>
                    <a:pt x="55543" y="133964"/>
                    <a:pt x="52457" y="137050"/>
                    <a:pt x="49372" y="137050"/>
                  </a:cubicBezTo>
                  <a:cubicBezTo>
                    <a:pt x="55543" y="137050"/>
                    <a:pt x="46286" y="140135"/>
                    <a:pt x="37029" y="140135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F4331CBC-4469-4D83-9EC5-4F227AABA5CA}"/>
                </a:ext>
              </a:extLst>
            </p:cNvPr>
            <p:cNvSpPr/>
            <p:nvPr/>
          </p:nvSpPr>
          <p:spPr>
            <a:xfrm>
              <a:off x="5230831" y="2113291"/>
              <a:ext cx="40719" cy="41324"/>
            </a:xfrm>
            <a:custGeom>
              <a:avLst/>
              <a:gdLst>
                <a:gd name="connsiteX0" fmla="*/ 40720 w 40719"/>
                <a:gd name="connsiteY0" fmla="*/ 25291 h 41324"/>
                <a:gd name="connsiteX1" fmla="*/ 16034 w 40719"/>
                <a:gd name="connsiteY1" fmla="*/ 40720 h 41324"/>
                <a:gd name="connsiteX2" fmla="*/ 605 w 40719"/>
                <a:gd name="connsiteY2" fmla="*/ 16034 h 41324"/>
                <a:gd name="connsiteX3" fmla="*/ 25291 w 40719"/>
                <a:gd name="connsiteY3" fmla="*/ 605 h 41324"/>
                <a:gd name="connsiteX4" fmla="*/ 40720 w 40719"/>
                <a:gd name="connsiteY4" fmla="*/ 25291 h 41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19" h="41324">
                  <a:moveTo>
                    <a:pt x="40720" y="25291"/>
                  </a:moveTo>
                  <a:cubicBezTo>
                    <a:pt x="37634" y="34548"/>
                    <a:pt x="28377" y="43805"/>
                    <a:pt x="16034" y="40720"/>
                  </a:cubicBezTo>
                  <a:cubicBezTo>
                    <a:pt x="6777" y="37634"/>
                    <a:pt x="-2480" y="28377"/>
                    <a:pt x="605" y="16034"/>
                  </a:cubicBezTo>
                  <a:cubicBezTo>
                    <a:pt x="3691" y="6777"/>
                    <a:pt x="12948" y="-2480"/>
                    <a:pt x="25291" y="605"/>
                  </a:cubicBezTo>
                  <a:cubicBezTo>
                    <a:pt x="34548" y="3691"/>
                    <a:pt x="40720" y="16034"/>
                    <a:pt x="40720" y="25291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4" name="任意多边形: 形状 193">
              <a:extLst>
                <a:ext uri="{FF2B5EF4-FFF2-40B4-BE49-F238E27FC236}">
                  <a16:creationId xmlns:a16="http://schemas.microsoft.com/office/drawing/2014/main" id="{B51ECECB-1756-4AA0-A37E-7DECBC66366A}"/>
                </a:ext>
              </a:extLst>
            </p:cNvPr>
            <p:cNvSpPr/>
            <p:nvPr/>
          </p:nvSpPr>
          <p:spPr>
            <a:xfrm>
              <a:off x="5412888" y="2141062"/>
              <a:ext cx="41505" cy="41324"/>
            </a:xfrm>
            <a:custGeom>
              <a:avLst/>
              <a:gdLst>
                <a:gd name="connsiteX0" fmla="*/ 40720 w 41505"/>
                <a:gd name="connsiteY0" fmla="*/ 25291 h 41324"/>
                <a:gd name="connsiteX1" fmla="*/ 16034 w 41505"/>
                <a:gd name="connsiteY1" fmla="*/ 40720 h 41324"/>
                <a:gd name="connsiteX2" fmla="*/ 605 w 41505"/>
                <a:gd name="connsiteY2" fmla="*/ 16034 h 41324"/>
                <a:gd name="connsiteX3" fmla="*/ 25291 w 41505"/>
                <a:gd name="connsiteY3" fmla="*/ 605 h 41324"/>
                <a:gd name="connsiteX4" fmla="*/ 40720 w 41505"/>
                <a:gd name="connsiteY4" fmla="*/ 25291 h 41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5" h="41324">
                  <a:moveTo>
                    <a:pt x="40720" y="25291"/>
                  </a:moveTo>
                  <a:cubicBezTo>
                    <a:pt x="37634" y="34548"/>
                    <a:pt x="28377" y="43805"/>
                    <a:pt x="16034" y="40720"/>
                  </a:cubicBezTo>
                  <a:cubicBezTo>
                    <a:pt x="6777" y="37634"/>
                    <a:pt x="-2480" y="28377"/>
                    <a:pt x="605" y="16034"/>
                  </a:cubicBezTo>
                  <a:cubicBezTo>
                    <a:pt x="3691" y="6777"/>
                    <a:pt x="12948" y="-2480"/>
                    <a:pt x="25291" y="605"/>
                  </a:cubicBezTo>
                  <a:cubicBezTo>
                    <a:pt x="37634" y="3691"/>
                    <a:pt x="43805" y="12948"/>
                    <a:pt x="40720" y="25291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5" name="任意多边形: 形状 194">
              <a:extLst>
                <a:ext uri="{FF2B5EF4-FFF2-40B4-BE49-F238E27FC236}">
                  <a16:creationId xmlns:a16="http://schemas.microsoft.com/office/drawing/2014/main" id="{312F86E5-92FC-45F1-96E8-1014ECFB4398}"/>
                </a:ext>
              </a:extLst>
            </p:cNvPr>
            <p:cNvSpPr/>
            <p:nvPr/>
          </p:nvSpPr>
          <p:spPr>
            <a:xfrm>
              <a:off x="5207522" y="2065974"/>
              <a:ext cx="93078" cy="32493"/>
            </a:xfrm>
            <a:custGeom>
              <a:avLst/>
              <a:gdLst>
                <a:gd name="connsiteX0" fmla="*/ 8486 w 93078"/>
                <a:gd name="connsiteY0" fmla="*/ 32494 h 32493"/>
                <a:gd name="connsiteX1" fmla="*/ 2314 w 93078"/>
                <a:gd name="connsiteY1" fmla="*/ 29408 h 32493"/>
                <a:gd name="connsiteX2" fmla="*/ 2314 w 93078"/>
                <a:gd name="connsiteY2" fmla="*/ 17065 h 32493"/>
                <a:gd name="connsiteX3" fmla="*/ 88714 w 93078"/>
                <a:gd name="connsiteY3" fmla="*/ 10894 h 32493"/>
                <a:gd name="connsiteX4" fmla="*/ 91800 w 93078"/>
                <a:gd name="connsiteY4" fmla="*/ 23236 h 32493"/>
                <a:gd name="connsiteX5" fmla="*/ 79457 w 93078"/>
                <a:gd name="connsiteY5" fmla="*/ 26322 h 32493"/>
                <a:gd name="connsiteX6" fmla="*/ 11571 w 93078"/>
                <a:gd name="connsiteY6" fmla="*/ 29408 h 32493"/>
                <a:gd name="connsiteX7" fmla="*/ 8486 w 93078"/>
                <a:gd name="connsiteY7" fmla="*/ 32494 h 32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2493">
                  <a:moveTo>
                    <a:pt x="8486" y="32494"/>
                  </a:moveTo>
                  <a:cubicBezTo>
                    <a:pt x="5400" y="32494"/>
                    <a:pt x="5400" y="32494"/>
                    <a:pt x="2314" y="29408"/>
                  </a:cubicBezTo>
                  <a:cubicBezTo>
                    <a:pt x="-771" y="26322"/>
                    <a:pt x="-771" y="20151"/>
                    <a:pt x="2314" y="17065"/>
                  </a:cubicBezTo>
                  <a:cubicBezTo>
                    <a:pt x="30086" y="-10706"/>
                    <a:pt x="73286" y="1636"/>
                    <a:pt x="88714" y="10894"/>
                  </a:cubicBezTo>
                  <a:cubicBezTo>
                    <a:pt x="91800" y="13979"/>
                    <a:pt x="94886" y="17065"/>
                    <a:pt x="91800" y="23236"/>
                  </a:cubicBezTo>
                  <a:cubicBezTo>
                    <a:pt x="88714" y="26322"/>
                    <a:pt x="85628" y="29408"/>
                    <a:pt x="79457" y="26322"/>
                  </a:cubicBezTo>
                  <a:cubicBezTo>
                    <a:pt x="76371" y="26322"/>
                    <a:pt x="39343" y="4722"/>
                    <a:pt x="11571" y="29408"/>
                  </a:cubicBezTo>
                  <a:cubicBezTo>
                    <a:pt x="11571" y="29408"/>
                    <a:pt x="8486" y="32494"/>
                    <a:pt x="8486" y="32494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6" name="任意多边形: 形状 195">
              <a:extLst>
                <a:ext uri="{FF2B5EF4-FFF2-40B4-BE49-F238E27FC236}">
                  <a16:creationId xmlns:a16="http://schemas.microsoft.com/office/drawing/2014/main" id="{B82620C7-998A-4BFF-A36C-AEBCDDE65E14}"/>
                </a:ext>
              </a:extLst>
            </p:cNvPr>
            <p:cNvSpPr/>
            <p:nvPr/>
          </p:nvSpPr>
          <p:spPr>
            <a:xfrm>
              <a:off x="5396787" y="2073207"/>
              <a:ext cx="93078" cy="37603"/>
            </a:xfrm>
            <a:custGeom>
              <a:avLst/>
              <a:gdLst>
                <a:gd name="connsiteX0" fmla="*/ 87678 w 93078"/>
                <a:gd name="connsiteY0" fmla="*/ 37603 h 37603"/>
                <a:gd name="connsiteX1" fmla="*/ 81507 w 93078"/>
                <a:gd name="connsiteY1" fmla="*/ 34518 h 37603"/>
                <a:gd name="connsiteX2" fmla="*/ 13621 w 93078"/>
                <a:gd name="connsiteY2" fmla="*/ 25261 h 37603"/>
                <a:gd name="connsiteX3" fmla="*/ 1278 w 93078"/>
                <a:gd name="connsiteY3" fmla="*/ 22175 h 37603"/>
                <a:gd name="connsiteX4" fmla="*/ 4364 w 93078"/>
                <a:gd name="connsiteY4" fmla="*/ 9832 h 37603"/>
                <a:gd name="connsiteX5" fmla="*/ 90764 w 93078"/>
                <a:gd name="connsiteY5" fmla="*/ 22175 h 37603"/>
                <a:gd name="connsiteX6" fmla="*/ 90764 w 93078"/>
                <a:gd name="connsiteY6" fmla="*/ 34518 h 37603"/>
                <a:gd name="connsiteX7" fmla="*/ 87678 w 93078"/>
                <a:gd name="connsiteY7" fmla="*/ 37603 h 37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7603">
                  <a:moveTo>
                    <a:pt x="87678" y="37603"/>
                  </a:moveTo>
                  <a:cubicBezTo>
                    <a:pt x="84593" y="37603"/>
                    <a:pt x="84593" y="37603"/>
                    <a:pt x="81507" y="34518"/>
                  </a:cubicBezTo>
                  <a:cubicBezTo>
                    <a:pt x="81507" y="34518"/>
                    <a:pt x="50650" y="3661"/>
                    <a:pt x="13621" y="25261"/>
                  </a:cubicBezTo>
                  <a:cubicBezTo>
                    <a:pt x="10535" y="28346"/>
                    <a:pt x="4364" y="25261"/>
                    <a:pt x="1278" y="22175"/>
                  </a:cubicBezTo>
                  <a:cubicBezTo>
                    <a:pt x="-1808" y="19089"/>
                    <a:pt x="1278" y="12918"/>
                    <a:pt x="4364" y="9832"/>
                  </a:cubicBezTo>
                  <a:cubicBezTo>
                    <a:pt x="44478" y="-11768"/>
                    <a:pt x="78421" y="6746"/>
                    <a:pt x="90764" y="22175"/>
                  </a:cubicBezTo>
                  <a:cubicBezTo>
                    <a:pt x="93850" y="25261"/>
                    <a:pt x="93850" y="31432"/>
                    <a:pt x="90764" y="34518"/>
                  </a:cubicBezTo>
                  <a:cubicBezTo>
                    <a:pt x="90764" y="37603"/>
                    <a:pt x="87678" y="37603"/>
                    <a:pt x="87678" y="37603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7" name="任意多边形: 形状 196">
              <a:extLst>
                <a:ext uri="{FF2B5EF4-FFF2-40B4-BE49-F238E27FC236}">
                  <a16:creationId xmlns:a16="http://schemas.microsoft.com/office/drawing/2014/main" id="{1A7FFD5C-CE09-4C72-BC6C-4C98769BA78A}"/>
                </a:ext>
              </a:extLst>
            </p:cNvPr>
            <p:cNvSpPr/>
            <p:nvPr/>
          </p:nvSpPr>
          <p:spPr>
            <a:xfrm>
              <a:off x="5548650" y="2145785"/>
              <a:ext cx="81588" cy="113790"/>
            </a:xfrm>
            <a:custGeom>
              <a:avLst/>
              <a:gdLst>
                <a:gd name="connsiteX0" fmla="*/ 16043 w 81588"/>
                <a:gd name="connsiteY0" fmla="*/ 14397 h 113790"/>
                <a:gd name="connsiteX1" fmla="*/ 74672 w 81588"/>
                <a:gd name="connsiteY1" fmla="*/ 8225 h 113790"/>
                <a:gd name="connsiteX2" fmla="*/ 12958 w 81588"/>
                <a:gd name="connsiteY2" fmla="*/ 110054 h 113790"/>
                <a:gd name="connsiteX3" fmla="*/ 16043 w 81588"/>
                <a:gd name="connsiteY3" fmla="*/ 14397 h 11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588" h="113790">
                  <a:moveTo>
                    <a:pt x="16043" y="14397"/>
                  </a:moveTo>
                  <a:cubicBezTo>
                    <a:pt x="16043" y="14397"/>
                    <a:pt x="49986" y="-13375"/>
                    <a:pt x="74672" y="8225"/>
                  </a:cubicBezTo>
                  <a:cubicBezTo>
                    <a:pt x="99357" y="29825"/>
                    <a:pt x="53072" y="134740"/>
                    <a:pt x="12958" y="110054"/>
                  </a:cubicBezTo>
                  <a:cubicBezTo>
                    <a:pt x="-17900" y="88454"/>
                    <a:pt x="16043" y="14397"/>
                    <a:pt x="16043" y="14397"/>
                  </a:cubicBezTo>
                  <a:close/>
                </a:path>
              </a:pathLst>
            </a:custGeom>
            <a:solidFill>
              <a:srgbClr val="F49F84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8" name="任意多边形: 形状 197">
              <a:extLst>
                <a:ext uri="{FF2B5EF4-FFF2-40B4-BE49-F238E27FC236}">
                  <a16:creationId xmlns:a16="http://schemas.microsoft.com/office/drawing/2014/main" id="{C20DC7CB-69E5-4DCE-9094-396C2E363EF6}"/>
                </a:ext>
              </a:extLst>
            </p:cNvPr>
            <p:cNvSpPr/>
            <p:nvPr/>
          </p:nvSpPr>
          <p:spPr>
            <a:xfrm>
              <a:off x="5119087" y="1765302"/>
              <a:ext cx="516273" cy="410308"/>
            </a:xfrm>
            <a:custGeom>
              <a:avLst/>
              <a:gdLst>
                <a:gd name="connsiteX0" fmla="*/ 461035 w 516273"/>
                <a:gd name="connsiteY0" fmla="*/ 144937 h 410308"/>
                <a:gd name="connsiteX1" fmla="*/ 445607 w 516273"/>
                <a:gd name="connsiteY1" fmla="*/ 101737 h 410308"/>
                <a:gd name="connsiteX2" fmla="*/ 433264 w 516273"/>
                <a:gd name="connsiteY2" fmla="*/ 104823 h 410308"/>
                <a:gd name="connsiteX3" fmla="*/ 402407 w 516273"/>
                <a:gd name="connsiteY3" fmla="*/ 83223 h 410308"/>
                <a:gd name="connsiteX4" fmla="*/ 390064 w 516273"/>
                <a:gd name="connsiteY4" fmla="*/ 61623 h 410308"/>
                <a:gd name="connsiteX5" fmla="*/ 362292 w 516273"/>
                <a:gd name="connsiteY5" fmla="*/ 27680 h 410308"/>
                <a:gd name="connsiteX6" fmla="*/ 328349 w 516273"/>
                <a:gd name="connsiteY6" fmla="*/ 24594 h 410308"/>
                <a:gd name="connsiteX7" fmla="*/ 272807 w 516273"/>
                <a:gd name="connsiteY7" fmla="*/ 9166 h 410308"/>
                <a:gd name="connsiteX8" fmla="*/ 260464 w 516273"/>
                <a:gd name="connsiteY8" fmla="*/ 2994 h 410308"/>
                <a:gd name="connsiteX9" fmla="*/ 133950 w 516273"/>
                <a:gd name="connsiteY9" fmla="*/ 33851 h 410308"/>
                <a:gd name="connsiteX10" fmla="*/ 72235 w 516273"/>
                <a:gd name="connsiteY10" fmla="*/ 55451 h 410308"/>
                <a:gd name="connsiteX11" fmla="*/ 53721 w 516273"/>
                <a:gd name="connsiteY11" fmla="*/ 98651 h 410308"/>
                <a:gd name="connsiteX12" fmla="*/ 32121 w 516273"/>
                <a:gd name="connsiteY12" fmla="*/ 126423 h 410308"/>
                <a:gd name="connsiteX13" fmla="*/ 22864 w 516273"/>
                <a:gd name="connsiteY13" fmla="*/ 160366 h 410308"/>
                <a:gd name="connsiteX14" fmla="*/ 25950 w 516273"/>
                <a:gd name="connsiteY14" fmla="*/ 197394 h 410308"/>
                <a:gd name="connsiteX15" fmla="*/ 4349 w 516273"/>
                <a:gd name="connsiteY15" fmla="*/ 240594 h 410308"/>
                <a:gd name="connsiteX16" fmla="*/ 16692 w 516273"/>
                <a:gd name="connsiteY16" fmla="*/ 339337 h 410308"/>
                <a:gd name="connsiteX17" fmla="*/ 25950 w 516273"/>
                <a:gd name="connsiteY17" fmla="*/ 342423 h 410308"/>
                <a:gd name="connsiteX18" fmla="*/ 32121 w 516273"/>
                <a:gd name="connsiteY18" fmla="*/ 373280 h 410308"/>
                <a:gd name="connsiteX19" fmla="*/ 53721 w 516273"/>
                <a:gd name="connsiteY19" fmla="*/ 317737 h 410308"/>
                <a:gd name="connsiteX20" fmla="*/ 84578 w 516273"/>
                <a:gd name="connsiteY20" fmla="*/ 308480 h 410308"/>
                <a:gd name="connsiteX21" fmla="*/ 103092 w 516273"/>
                <a:gd name="connsiteY21" fmla="*/ 286880 h 410308"/>
                <a:gd name="connsiteX22" fmla="*/ 106178 w 516273"/>
                <a:gd name="connsiteY22" fmla="*/ 271451 h 410308"/>
                <a:gd name="connsiteX23" fmla="*/ 115435 w 516273"/>
                <a:gd name="connsiteY23" fmla="*/ 268366 h 410308"/>
                <a:gd name="connsiteX24" fmla="*/ 121607 w 516273"/>
                <a:gd name="connsiteY24" fmla="*/ 268366 h 410308"/>
                <a:gd name="connsiteX25" fmla="*/ 127778 w 516273"/>
                <a:gd name="connsiteY25" fmla="*/ 265280 h 410308"/>
                <a:gd name="connsiteX26" fmla="*/ 137035 w 516273"/>
                <a:gd name="connsiteY26" fmla="*/ 262194 h 410308"/>
                <a:gd name="connsiteX27" fmla="*/ 149378 w 516273"/>
                <a:gd name="connsiteY27" fmla="*/ 265280 h 410308"/>
                <a:gd name="connsiteX28" fmla="*/ 161721 w 516273"/>
                <a:gd name="connsiteY28" fmla="*/ 268366 h 410308"/>
                <a:gd name="connsiteX29" fmla="*/ 198749 w 516273"/>
                <a:gd name="connsiteY29" fmla="*/ 262194 h 410308"/>
                <a:gd name="connsiteX30" fmla="*/ 251207 w 516273"/>
                <a:gd name="connsiteY30" fmla="*/ 246766 h 410308"/>
                <a:gd name="connsiteX31" fmla="*/ 266635 w 516273"/>
                <a:gd name="connsiteY31" fmla="*/ 249851 h 410308"/>
                <a:gd name="connsiteX32" fmla="*/ 303664 w 516273"/>
                <a:gd name="connsiteY32" fmla="*/ 228251 h 410308"/>
                <a:gd name="connsiteX33" fmla="*/ 316007 w 516273"/>
                <a:gd name="connsiteY33" fmla="*/ 231337 h 410308"/>
                <a:gd name="connsiteX34" fmla="*/ 393150 w 516273"/>
                <a:gd name="connsiteY34" fmla="*/ 262194 h 410308"/>
                <a:gd name="connsiteX35" fmla="*/ 402407 w 516273"/>
                <a:gd name="connsiteY35" fmla="*/ 265280 h 410308"/>
                <a:gd name="connsiteX36" fmla="*/ 448692 w 516273"/>
                <a:gd name="connsiteY36" fmla="*/ 410308 h 410308"/>
                <a:gd name="connsiteX37" fmla="*/ 510407 w 516273"/>
                <a:gd name="connsiteY37" fmla="*/ 311566 h 410308"/>
                <a:gd name="connsiteX38" fmla="*/ 461035 w 516273"/>
                <a:gd name="connsiteY38" fmla="*/ 144937 h 410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16273" h="410308">
                  <a:moveTo>
                    <a:pt x="461035" y="144937"/>
                  </a:moveTo>
                  <a:cubicBezTo>
                    <a:pt x="464121" y="129508"/>
                    <a:pt x="461035" y="114080"/>
                    <a:pt x="445607" y="101737"/>
                  </a:cubicBezTo>
                  <a:cubicBezTo>
                    <a:pt x="430178" y="89394"/>
                    <a:pt x="433264" y="101737"/>
                    <a:pt x="433264" y="104823"/>
                  </a:cubicBezTo>
                  <a:cubicBezTo>
                    <a:pt x="424007" y="98651"/>
                    <a:pt x="414749" y="89394"/>
                    <a:pt x="402407" y="83223"/>
                  </a:cubicBezTo>
                  <a:cubicBezTo>
                    <a:pt x="396235" y="77051"/>
                    <a:pt x="393150" y="70880"/>
                    <a:pt x="390064" y="61623"/>
                  </a:cubicBezTo>
                  <a:cubicBezTo>
                    <a:pt x="383892" y="49280"/>
                    <a:pt x="374635" y="36937"/>
                    <a:pt x="362292" y="27680"/>
                  </a:cubicBezTo>
                  <a:cubicBezTo>
                    <a:pt x="349950" y="21508"/>
                    <a:pt x="340692" y="24594"/>
                    <a:pt x="328349" y="24594"/>
                  </a:cubicBezTo>
                  <a:cubicBezTo>
                    <a:pt x="306749" y="24594"/>
                    <a:pt x="291321" y="18423"/>
                    <a:pt x="272807" y="9166"/>
                  </a:cubicBezTo>
                  <a:cubicBezTo>
                    <a:pt x="269721" y="6080"/>
                    <a:pt x="263549" y="2994"/>
                    <a:pt x="260464" y="2994"/>
                  </a:cubicBezTo>
                  <a:cubicBezTo>
                    <a:pt x="217264" y="-12434"/>
                    <a:pt x="177150" y="36937"/>
                    <a:pt x="133950" y="33851"/>
                  </a:cubicBezTo>
                  <a:cubicBezTo>
                    <a:pt x="109264" y="33851"/>
                    <a:pt x="84578" y="27680"/>
                    <a:pt x="72235" y="55451"/>
                  </a:cubicBezTo>
                  <a:cubicBezTo>
                    <a:pt x="62978" y="70880"/>
                    <a:pt x="66064" y="83223"/>
                    <a:pt x="53721" y="98651"/>
                  </a:cubicBezTo>
                  <a:cubicBezTo>
                    <a:pt x="47549" y="107908"/>
                    <a:pt x="38292" y="117166"/>
                    <a:pt x="32121" y="126423"/>
                  </a:cubicBezTo>
                  <a:cubicBezTo>
                    <a:pt x="25950" y="135680"/>
                    <a:pt x="22864" y="148023"/>
                    <a:pt x="22864" y="160366"/>
                  </a:cubicBezTo>
                  <a:cubicBezTo>
                    <a:pt x="25950" y="178880"/>
                    <a:pt x="35207" y="178880"/>
                    <a:pt x="25950" y="197394"/>
                  </a:cubicBezTo>
                  <a:cubicBezTo>
                    <a:pt x="19778" y="212823"/>
                    <a:pt x="10521" y="222080"/>
                    <a:pt x="4349" y="240594"/>
                  </a:cubicBezTo>
                  <a:cubicBezTo>
                    <a:pt x="-4908" y="274537"/>
                    <a:pt x="1264" y="308480"/>
                    <a:pt x="16692" y="339337"/>
                  </a:cubicBezTo>
                  <a:cubicBezTo>
                    <a:pt x="19778" y="342423"/>
                    <a:pt x="22864" y="342423"/>
                    <a:pt x="25950" y="342423"/>
                  </a:cubicBezTo>
                  <a:cubicBezTo>
                    <a:pt x="29035" y="360937"/>
                    <a:pt x="32121" y="373280"/>
                    <a:pt x="32121" y="373280"/>
                  </a:cubicBezTo>
                  <a:cubicBezTo>
                    <a:pt x="29035" y="354766"/>
                    <a:pt x="38292" y="336251"/>
                    <a:pt x="53721" y="317737"/>
                  </a:cubicBezTo>
                  <a:cubicBezTo>
                    <a:pt x="62978" y="314651"/>
                    <a:pt x="75321" y="311566"/>
                    <a:pt x="84578" y="308480"/>
                  </a:cubicBezTo>
                  <a:cubicBezTo>
                    <a:pt x="93835" y="302308"/>
                    <a:pt x="96921" y="296137"/>
                    <a:pt x="103092" y="286880"/>
                  </a:cubicBezTo>
                  <a:cubicBezTo>
                    <a:pt x="100007" y="274537"/>
                    <a:pt x="103092" y="274537"/>
                    <a:pt x="106178" y="271451"/>
                  </a:cubicBezTo>
                  <a:cubicBezTo>
                    <a:pt x="109264" y="271451"/>
                    <a:pt x="112349" y="268366"/>
                    <a:pt x="115435" y="268366"/>
                  </a:cubicBezTo>
                  <a:cubicBezTo>
                    <a:pt x="118521" y="268366"/>
                    <a:pt x="118521" y="268366"/>
                    <a:pt x="121607" y="268366"/>
                  </a:cubicBezTo>
                  <a:cubicBezTo>
                    <a:pt x="124692" y="265280"/>
                    <a:pt x="124692" y="265280"/>
                    <a:pt x="127778" y="265280"/>
                  </a:cubicBezTo>
                  <a:cubicBezTo>
                    <a:pt x="130864" y="265280"/>
                    <a:pt x="133950" y="262194"/>
                    <a:pt x="137035" y="262194"/>
                  </a:cubicBezTo>
                  <a:cubicBezTo>
                    <a:pt x="140121" y="262194"/>
                    <a:pt x="146292" y="262194"/>
                    <a:pt x="149378" y="265280"/>
                  </a:cubicBezTo>
                  <a:cubicBezTo>
                    <a:pt x="152464" y="265280"/>
                    <a:pt x="158635" y="268366"/>
                    <a:pt x="161721" y="268366"/>
                  </a:cubicBezTo>
                  <a:cubicBezTo>
                    <a:pt x="174064" y="268366"/>
                    <a:pt x="186407" y="265280"/>
                    <a:pt x="198749" y="262194"/>
                  </a:cubicBezTo>
                  <a:cubicBezTo>
                    <a:pt x="217264" y="252937"/>
                    <a:pt x="229607" y="237509"/>
                    <a:pt x="251207" y="246766"/>
                  </a:cubicBezTo>
                  <a:cubicBezTo>
                    <a:pt x="257378" y="243680"/>
                    <a:pt x="260464" y="249851"/>
                    <a:pt x="266635" y="249851"/>
                  </a:cubicBezTo>
                  <a:cubicBezTo>
                    <a:pt x="282064" y="252937"/>
                    <a:pt x="294407" y="243680"/>
                    <a:pt x="303664" y="228251"/>
                  </a:cubicBezTo>
                  <a:cubicBezTo>
                    <a:pt x="306749" y="228251"/>
                    <a:pt x="312921" y="231337"/>
                    <a:pt x="316007" y="231337"/>
                  </a:cubicBezTo>
                  <a:cubicBezTo>
                    <a:pt x="337607" y="249851"/>
                    <a:pt x="365378" y="259108"/>
                    <a:pt x="393150" y="262194"/>
                  </a:cubicBezTo>
                  <a:cubicBezTo>
                    <a:pt x="399321" y="265280"/>
                    <a:pt x="402407" y="265280"/>
                    <a:pt x="402407" y="265280"/>
                  </a:cubicBezTo>
                  <a:cubicBezTo>
                    <a:pt x="402407" y="265280"/>
                    <a:pt x="454864" y="379451"/>
                    <a:pt x="448692" y="410308"/>
                  </a:cubicBezTo>
                  <a:cubicBezTo>
                    <a:pt x="448692" y="410308"/>
                    <a:pt x="494978" y="367109"/>
                    <a:pt x="510407" y="311566"/>
                  </a:cubicBezTo>
                  <a:cubicBezTo>
                    <a:pt x="522749" y="256023"/>
                    <a:pt x="519664" y="166537"/>
                    <a:pt x="461035" y="144937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9" name="任意多边形: 形状 198">
              <a:extLst>
                <a:ext uri="{FF2B5EF4-FFF2-40B4-BE49-F238E27FC236}">
                  <a16:creationId xmlns:a16="http://schemas.microsoft.com/office/drawing/2014/main" id="{82D100E3-AFB8-496A-9330-583AF3B67DAA}"/>
                </a:ext>
              </a:extLst>
            </p:cNvPr>
            <p:cNvSpPr/>
            <p:nvPr/>
          </p:nvSpPr>
          <p:spPr>
            <a:xfrm>
              <a:off x="5515322" y="1925667"/>
              <a:ext cx="73475" cy="240685"/>
            </a:xfrm>
            <a:custGeom>
              <a:avLst/>
              <a:gdLst>
                <a:gd name="connsiteX0" fmla="*/ 49371 w 73475"/>
                <a:gd name="connsiteY0" fmla="*/ 240686 h 240685"/>
                <a:gd name="connsiteX1" fmla="*/ 43200 w 73475"/>
                <a:gd name="connsiteY1" fmla="*/ 234514 h 240685"/>
                <a:gd name="connsiteX2" fmla="*/ 0 w 73475"/>
                <a:gd name="connsiteY2" fmla="*/ 111086 h 240685"/>
                <a:gd name="connsiteX3" fmla="*/ 0 w 73475"/>
                <a:gd name="connsiteY3" fmla="*/ 104914 h 240685"/>
                <a:gd name="connsiteX4" fmla="*/ 3086 w 73475"/>
                <a:gd name="connsiteY4" fmla="*/ 101829 h 240685"/>
                <a:gd name="connsiteX5" fmla="*/ 55543 w 73475"/>
                <a:gd name="connsiteY5" fmla="*/ 64800 h 240685"/>
                <a:gd name="connsiteX6" fmla="*/ 58629 w 73475"/>
                <a:gd name="connsiteY6" fmla="*/ 6171 h 240685"/>
                <a:gd name="connsiteX7" fmla="*/ 61714 w 73475"/>
                <a:gd name="connsiteY7" fmla="*/ 0 h 240685"/>
                <a:gd name="connsiteX8" fmla="*/ 67886 w 73475"/>
                <a:gd name="connsiteY8" fmla="*/ 3086 h 240685"/>
                <a:gd name="connsiteX9" fmla="*/ 64800 w 73475"/>
                <a:gd name="connsiteY9" fmla="*/ 70971 h 240685"/>
                <a:gd name="connsiteX10" fmla="*/ 12343 w 73475"/>
                <a:gd name="connsiteY10" fmla="*/ 111086 h 240685"/>
                <a:gd name="connsiteX11" fmla="*/ 52457 w 73475"/>
                <a:gd name="connsiteY11" fmla="*/ 234514 h 240685"/>
                <a:gd name="connsiteX12" fmla="*/ 49371 w 73475"/>
                <a:gd name="connsiteY12" fmla="*/ 240686 h 240685"/>
                <a:gd name="connsiteX13" fmla="*/ 49371 w 73475"/>
                <a:gd name="connsiteY13" fmla="*/ 240686 h 240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475" h="240685">
                  <a:moveTo>
                    <a:pt x="49371" y="240686"/>
                  </a:moveTo>
                  <a:cubicBezTo>
                    <a:pt x="46286" y="240686"/>
                    <a:pt x="43200" y="237600"/>
                    <a:pt x="43200" y="234514"/>
                  </a:cubicBezTo>
                  <a:cubicBezTo>
                    <a:pt x="40114" y="172800"/>
                    <a:pt x="0" y="111086"/>
                    <a:pt x="0" y="111086"/>
                  </a:cubicBezTo>
                  <a:cubicBezTo>
                    <a:pt x="0" y="111086"/>
                    <a:pt x="0" y="108000"/>
                    <a:pt x="0" y="104914"/>
                  </a:cubicBezTo>
                  <a:cubicBezTo>
                    <a:pt x="0" y="101829"/>
                    <a:pt x="3086" y="101829"/>
                    <a:pt x="3086" y="101829"/>
                  </a:cubicBezTo>
                  <a:cubicBezTo>
                    <a:pt x="3086" y="101829"/>
                    <a:pt x="37028" y="92571"/>
                    <a:pt x="55543" y="64800"/>
                  </a:cubicBezTo>
                  <a:cubicBezTo>
                    <a:pt x="64800" y="49371"/>
                    <a:pt x="64800" y="27771"/>
                    <a:pt x="58629" y="6171"/>
                  </a:cubicBezTo>
                  <a:cubicBezTo>
                    <a:pt x="58629" y="3086"/>
                    <a:pt x="58629" y="0"/>
                    <a:pt x="61714" y="0"/>
                  </a:cubicBezTo>
                  <a:cubicBezTo>
                    <a:pt x="64800" y="0"/>
                    <a:pt x="67886" y="0"/>
                    <a:pt x="67886" y="3086"/>
                  </a:cubicBezTo>
                  <a:cubicBezTo>
                    <a:pt x="77143" y="27771"/>
                    <a:pt x="74057" y="52457"/>
                    <a:pt x="64800" y="70971"/>
                  </a:cubicBezTo>
                  <a:cubicBezTo>
                    <a:pt x="52457" y="95657"/>
                    <a:pt x="24686" y="108000"/>
                    <a:pt x="12343" y="111086"/>
                  </a:cubicBezTo>
                  <a:cubicBezTo>
                    <a:pt x="21600" y="129600"/>
                    <a:pt x="49371" y="182057"/>
                    <a:pt x="52457" y="234514"/>
                  </a:cubicBezTo>
                  <a:cubicBezTo>
                    <a:pt x="55543" y="237600"/>
                    <a:pt x="52457" y="240686"/>
                    <a:pt x="49371" y="240686"/>
                  </a:cubicBezTo>
                  <a:cubicBezTo>
                    <a:pt x="49371" y="240686"/>
                    <a:pt x="49371" y="240686"/>
                    <a:pt x="49371" y="240686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0" name="任意多边形: 形状 199">
              <a:extLst>
                <a:ext uri="{FF2B5EF4-FFF2-40B4-BE49-F238E27FC236}">
                  <a16:creationId xmlns:a16="http://schemas.microsoft.com/office/drawing/2014/main" id="{79EB9F88-4F5A-4179-8E6F-84CB1FAB3263}"/>
                </a:ext>
              </a:extLst>
            </p:cNvPr>
            <p:cNvSpPr/>
            <p:nvPr/>
          </p:nvSpPr>
          <p:spPr>
            <a:xfrm>
              <a:off x="5285701" y="2339925"/>
              <a:ext cx="120849" cy="33171"/>
            </a:xfrm>
            <a:custGeom>
              <a:avLst/>
              <a:gdLst>
                <a:gd name="connsiteX0" fmla="*/ 47564 w 120849"/>
                <a:gd name="connsiteY0" fmla="*/ 33171 h 33171"/>
                <a:gd name="connsiteX1" fmla="*/ 4364 w 120849"/>
                <a:gd name="connsiteY1" fmla="*/ 27000 h 33171"/>
                <a:gd name="connsiteX2" fmla="*/ 1278 w 120849"/>
                <a:gd name="connsiteY2" fmla="*/ 20829 h 33171"/>
                <a:gd name="connsiteX3" fmla="*/ 7449 w 120849"/>
                <a:gd name="connsiteY3" fmla="*/ 17743 h 33171"/>
                <a:gd name="connsiteX4" fmla="*/ 109278 w 120849"/>
                <a:gd name="connsiteY4" fmla="*/ 2314 h 33171"/>
                <a:gd name="connsiteX5" fmla="*/ 118535 w 120849"/>
                <a:gd name="connsiteY5" fmla="*/ 2314 h 33171"/>
                <a:gd name="connsiteX6" fmla="*/ 118535 w 120849"/>
                <a:gd name="connsiteY6" fmla="*/ 11571 h 33171"/>
                <a:gd name="connsiteX7" fmla="*/ 47564 w 120849"/>
                <a:gd name="connsiteY7" fmla="*/ 33171 h 33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849" h="33171">
                  <a:moveTo>
                    <a:pt x="47564" y="33171"/>
                  </a:moveTo>
                  <a:cubicBezTo>
                    <a:pt x="25964" y="33171"/>
                    <a:pt x="7449" y="27000"/>
                    <a:pt x="4364" y="27000"/>
                  </a:cubicBezTo>
                  <a:cubicBezTo>
                    <a:pt x="1278" y="27000"/>
                    <a:pt x="-1808" y="23914"/>
                    <a:pt x="1278" y="20829"/>
                  </a:cubicBezTo>
                  <a:cubicBezTo>
                    <a:pt x="1278" y="17743"/>
                    <a:pt x="4364" y="14657"/>
                    <a:pt x="7449" y="17743"/>
                  </a:cubicBezTo>
                  <a:cubicBezTo>
                    <a:pt x="7449" y="17743"/>
                    <a:pt x="72250" y="36257"/>
                    <a:pt x="109278" y="2314"/>
                  </a:cubicBezTo>
                  <a:cubicBezTo>
                    <a:pt x="112364" y="-771"/>
                    <a:pt x="115449" y="-771"/>
                    <a:pt x="118535" y="2314"/>
                  </a:cubicBezTo>
                  <a:cubicBezTo>
                    <a:pt x="121621" y="5400"/>
                    <a:pt x="121621" y="8486"/>
                    <a:pt x="118535" y="11571"/>
                  </a:cubicBezTo>
                  <a:cubicBezTo>
                    <a:pt x="96935" y="30086"/>
                    <a:pt x="69164" y="33171"/>
                    <a:pt x="47564" y="33171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1" name="任意多边形: 形状 200">
              <a:extLst>
                <a:ext uri="{FF2B5EF4-FFF2-40B4-BE49-F238E27FC236}">
                  <a16:creationId xmlns:a16="http://schemas.microsoft.com/office/drawing/2014/main" id="{349558B3-DEBA-4D57-A0F4-A61B357B5308}"/>
                </a:ext>
              </a:extLst>
            </p:cNvPr>
            <p:cNvSpPr/>
            <p:nvPr/>
          </p:nvSpPr>
          <p:spPr>
            <a:xfrm>
              <a:off x="5219094" y="1897771"/>
              <a:ext cx="262285" cy="74182"/>
            </a:xfrm>
            <a:custGeom>
              <a:avLst/>
              <a:gdLst>
                <a:gd name="connsiteX0" fmla="*/ 6171 w 262285"/>
                <a:gd name="connsiteY0" fmla="*/ 74182 h 74182"/>
                <a:gd name="connsiteX1" fmla="*/ 0 w 262285"/>
                <a:gd name="connsiteY1" fmla="*/ 68011 h 74182"/>
                <a:gd name="connsiteX2" fmla="*/ 6171 w 262285"/>
                <a:gd name="connsiteY2" fmla="*/ 61839 h 74182"/>
                <a:gd name="connsiteX3" fmla="*/ 55543 w 262285"/>
                <a:gd name="connsiteY3" fmla="*/ 43325 h 74182"/>
                <a:gd name="connsiteX4" fmla="*/ 64800 w 262285"/>
                <a:gd name="connsiteY4" fmla="*/ 37154 h 74182"/>
                <a:gd name="connsiteX5" fmla="*/ 101828 w 262285"/>
                <a:gd name="connsiteY5" fmla="*/ 15554 h 74182"/>
                <a:gd name="connsiteX6" fmla="*/ 101828 w 262285"/>
                <a:gd name="connsiteY6" fmla="*/ 15554 h 74182"/>
                <a:gd name="connsiteX7" fmla="*/ 132686 w 262285"/>
                <a:gd name="connsiteY7" fmla="*/ 24811 h 74182"/>
                <a:gd name="connsiteX8" fmla="*/ 160457 w 262285"/>
                <a:gd name="connsiteY8" fmla="*/ 34068 h 74182"/>
                <a:gd name="connsiteX9" fmla="*/ 182057 w 262285"/>
                <a:gd name="connsiteY9" fmla="*/ 18639 h 74182"/>
                <a:gd name="connsiteX10" fmla="*/ 203657 w 262285"/>
                <a:gd name="connsiteY10" fmla="*/ 3211 h 74182"/>
                <a:gd name="connsiteX11" fmla="*/ 243771 w 262285"/>
                <a:gd name="connsiteY11" fmla="*/ 9382 h 74182"/>
                <a:gd name="connsiteX12" fmla="*/ 262286 w 262285"/>
                <a:gd name="connsiteY12" fmla="*/ 43325 h 74182"/>
                <a:gd name="connsiteX13" fmla="*/ 259200 w 262285"/>
                <a:gd name="connsiteY13" fmla="*/ 49496 h 74182"/>
                <a:gd name="connsiteX14" fmla="*/ 253028 w 262285"/>
                <a:gd name="connsiteY14" fmla="*/ 46411 h 74182"/>
                <a:gd name="connsiteX15" fmla="*/ 237600 w 262285"/>
                <a:gd name="connsiteY15" fmla="*/ 18639 h 74182"/>
                <a:gd name="connsiteX16" fmla="*/ 209828 w 262285"/>
                <a:gd name="connsiteY16" fmla="*/ 12468 h 74182"/>
                <a:gd name="connsiteX17" fmla="*/ 191314 w 262285"/>
                <a:gd name="connsiteY17" fmla="*/ 27896 h 74182"/>
                <a:gd name="connsiteX18" fmla="*/ 163543 w 262285"/>
                <a:gd name="connsiteY18" fmla="*/ 46411 h 74182"/>
                <a:gd name="connsiteX19" fmla="*/ 129600 w 262285"/>
                <a:gd name="connsiteY19" fmla="*/ 37154 h 74182"/>
                <a:gd name="connsiteX20" fmla="*/ 104914 w 262285"/>
                <a:gd name="connsiteY20" fmla="*/ 27896 h 74182"/>
                <a:gd name="connsiteX21" fmla="*/ 74057 w 262285"/>
                <a:gd name="connsiteY21" fmla="*/ 46411 h 74182"/>
                <a:gd name="connsiteX22" fmla="*/ 61714 w 262285"/>
                <a:gd name="connsiteY22" fmla="*/ 52582 h 74182"/>
                <a:gd name="connsiteX23" fmla="*/ 6171 w 262285"/>
                <a:gd name="connsiteY23" fmla="*/ 74182 h 74182"/>
                <a:gd name="connsiteX24" fmla="*/ 6171 w 262285"/>
                <a:gd name="connsiteY24" fmla="*/ 74182 h 7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2285" h="74182">
                  <a:moveTo>
                    <a:pt x="6171" y="74182"/>
                  </a:moveTo>
                  <a:cubicBezTo>
                    <a:pt x="3086" y="74182"/>
                    <a:pt x="0" y="71096"/>
                    <a:pt x="0" y="68011"/>
                  </a:cubicBezTo>
                  <a:cubicBezTo>
                    <a:pt x="0" y="64925"/>
                    <a:pt x="3086" y="61839"/>
                    <a:pt x="6171" y="61839"/>
                  </a:cubicBezTo>
                  <a:cubicBezTo>
                    <a:pt x="24686" y="61839"/>
                    <a:pt x="40114" y="52582"/>
                    <a:pt x="55543" y="43325"/>
                  </a:cubicBezTo>
                  <a:cubicBezTo>
                    <a:pt x="58628" y="40239"/>
                    <a:pt x="61714" y="37154"/>
                    <a:pt x="64800" y="37154"/>
                  </a:cubicBezTo>
                  <a:cubicBezTo>
                    <a:pt x="77143" y="27896"/>
                    <a:pt x="86400" y="15554"/>
                    <a:pt x="101828" y="15554"/>
                  </a:cubicBezTo>
                  <a:cubicBezTo>
                    <a:pt x="101828" y="15554"/>
                    <a:pt x="101828" y="15554"/>
                    <a:pt x="101828" y="15554"/>
                  </a:cubicBezTo>
                  <a:cubicBezTo>
                    <a:pt x="114171" y="15554"/>
                    <a:pt x="123429" y="21725"/>
                    <a:pt x="132686" y="24811"/>
                  </a:cubicBezTo>
                  <a:cubicBezTo>
                    <a:pt x="141943" y="30982"/>
                    <a:pt x="151200" y="34068"/>
                    <a:pt x="160457" y="34068"/>
                  </a:cubicBezTo>
                  <a:cubicBezTo>
                    <a:pt x="169714" y="34068"/>
                    <a:pt x="175886" y="24811"/>
                    <a:pt x="182057" y="18639"/>
                  </a:cubicBezTo>
                  <a:cubicBezTo>
                    <a:pt x="188229" y="12468"/>
                    <a:pt x="194400" y="6296"/>
                    <a:pt x="203657" y="3211"/>
                  </a:cubicBezTo>
                  <a:cubicBezTo>
                    <a:pt x="216000" y="-2961"/>
                    <a:pt x="231429" y="125"/>
                    <a:pt x="243771" y="9382"/>
                  </a:cubicBezTo>
                  <a:cubicBezTo>
                    <a:pt x="253028" y="18639"/>
                    <a:pt x="259200" y="27896"/>
                    <a:pt x="262286" y="43325"/>
                  </a:cubicBezTo>
                  <a:cubicBezTo>
                    <a:pt x="262286" y="46411"/>
                    <a:pt x="262286" y="49496"/>
                    <a:pt x="259200" y="49496"/>
                  </a:cubicBezTo>
                  <a:cubicBezTo>
                    <a:pt x="256114" y="49496"/>
                    <a:pt x="253028" y="49496"/>
                    <a:pt x="253028" y="46411"/>
                  </a:cubicBezTo>
                  <a:cubicBezTo>
                    <a:pt x="249943" y="34068"/>
                    <a:pt x="246857" y="24811"/>
                    <a:pt x="237600" y="18639"/>
                  </a:cubicBezTo>
                  <a:cubicBezTo>
                    <a:pt x="228343" y="12468"/>
                    <a:pt x="219086" y="9382"/>
                    <a:pt x="209828" y="12468"/>
                  </a:cubicBezTo>
                  <a:cubicBezTo>
                    <a:pt x="203657" y="15554"/>
                    <a:pt x="197486" y="21725"/>
                    <a:pt x="191314" y="27896"/>
                  </a:cubicBezTo>
                  <a:cubicBezTo>
                    <a:pt x="182057" y="37154"/>
                    <a:pt x="175886" y="43325"/>
                    <a:pt x="163543" y="46411"/>
                  </a:cubicBezTo>
                  <a:cubicBezTo>
                    <a:pt x="151200" y="49496"/>
                    <a:pt x="138857" y="43325"/>
                    <a:pt x="129600" y="37154"/>
                  </a:cubicBezTo>
                  <a:cubicBezTo>
                    <a:pt x="120343" y="34068"/>
                    <a:pt x="114171" y="27896"/>
                    <a:pt x="104914" y="27896"/>
                  </a:cubicBezTo>
                  <a:cubicBezTo>
                    <a:pt x="92571" y="27896"/>
                    <a:pt x="83314" y="37154"/>
                    <a:pt x="74057" y="46411"/>
                  </a:cubicBezTo>
                  <a:cubicBezTo>
                    <a:pt x="67886" y="46411"/>
                    <a:pt x="64800" y="49496"/>
                    <a:pt x="61714" y="52582"/>
                  </a:cubicBezTo>
                  <a:cubicBezTo>
                    <a:pt x="46286" y="64925"/>
                    <a:pt x="24686" y="74182"/>
                    <a:pt x="6171" y="74182"/>
                  </a:cubicBezTo>
                  <a:cubicBezTo>
                    <a:pt x="6171" y="74182"/>
                    <a:pt x="6171" y="74182"/>
                    <a:pt x="6171" y="74182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2" name="任意多边形: 形状 201">
              <a:extLst>
                <a:ext uri="{FF2B5EF4-FFF2-40B4-BE49-F238E27FC236}">
                  <a16:creationId xmlns:a16="http://schemas.microsoft.com/office/drawing/2014/main" id="{EAC2B722-72AE-4A55-A6AD-4A9FC13D5161}"/>
                </a:ext>
              </a:extLst>
            </p:cNvPr>
            <p:cNvSpPr/>
            <p:nvPr/>
          </p:nvSpPr>
          <p:spPr>
            <a:xfrm>
              <a:off x="5197494" y="1807805"/>
              <a:ext cx="291428" cy="77748"/>
            </a:xfrm>
            <a:custGeom>
              <a:avLst/>
              <a:gdLst>
                <a:gd name="connsiteX0" fmla="*/ 6172 w 291428"/>
                <a:gd name="connsiteY0" fmla="*/ 77748 h 77748"/>
                <a:gd name="connsiteX1" fmla="*/ 6172 w 291428"/>
                <a:gd name="connsiteY1" fmla="*/ 77748 h 77748"/>
                <a:gd name="connsiteX2" fmla="*/ 0 w 291428"/>
                <a:gd name="connsiteY2" fmla="*/ 71577 h 77748"/>
                <a:gd name="connsiteX3" fmla="*/ 15429 w 291428"/>
                <a:gd name="connsiteY3" fmla="*/ 43805 h 77748"/>
                <a:gd name="connsiteX4" fmla="*/ 77143 w 291428"/>
                <a:gd name="connsiteY4" fmla="*/ 31462 h 77748"/>
                <a:gd name="connsiteX5" fmla="*/ 120343 w 291428"/>
                <a:gd name="connsiteY5" fmla="*/ 16034 h 77748"/>
                <a:gd name="connsiteX6" fmla="*/ 151200 w 291428"/>
                <a:gd name="connsiteY6" fmla="*/ 605 h 77748"/>
                <a:gd name="connsiteX7" fmla="*/ 203657 w 291428"/>
                <a:gd name="connsiteY7" fmla="*/ 16034 h 77748"/>
                <a:gd name="connsiteX8" fmla="*/ 231429 w 291428"/>
                <a:gd name="connsiteY8" fmla="*/ 22205 h 77748"/>
                <a:gd name="connsiteX9" fmla="*/ 290057 w 291428"/>
                <a:gd name="connsiteY9" fmla="*/ 46891 h 77748"/>
                <a:gd name="connsiteX10" fmla="*/ 290057 w 291428"/>
                <a:gd name="connsiteY10" fmla="*/ 56148 h 77748"/>
                <a:gd name="connsiteX11" fmla="*/ 280800 w 291428"/>
                <a:gd name="connsiteY11" fmla="*/ 56148 h 77748"/>
                <a:gd name="connsiteX12" fmla="*/ 234514 w 291428"/>
                <a:gd name="connsiteY12" fmla="*/ 37634 h 77748"/>
                <a:gd name="connsiteX13" fmla="*/ 194400 w 291428"/>
                <a:gd name="connsiteY13" fmla="*/ 28377 h 77748"/>
                <a:gd name="connsiteX14" fmla="*/ 148114 w 291428"/>
                <a:gd name="connsiteY14" fmla="*/ 16034 h 77748"/>
                <a:gd name="connsiteX15" fmla="*/ 123429 w 291428"/>
                <a:gd name="connsiteY15" fmla="*/ 28377 h 77748"/>
                <a:gd name="connsiteX16" fmla="*/ 77143 w 291428"/>
                <a:gd name="connsiteY16" fmla="*/ 43805 h 77748"/>
                <a:gd name="connsiteX17" fmla="*/ 24686 w 291428"/>
                <a:gd name="connsiteY17" fmla="*/ 53062 h 77748"/>
                <a:gd name="connsiteX18" fmla="*/ 12343 w 291428"/>
                <a:gd name="connsiteY18" fmla="*/ 71577 h 77748"/>
                <a:gd name="connsiteX19" fmla="*/ 6172 w 291428"/>
                <a:gd name="connsiteY19" fmla="*/ 77748 h 77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1428" h="77748">
                  <a:moveTo>
                    <a:pt x="6172" y="77748"/>
                  </a:moveTo>
                  <a:cubicBezTo>
                    <a:pt x="6172" y="77748"/>
                    <a:pt x="6172" y="77748"/>
                    <a:pt x="6172" y="77748"/>
                  </a:cubicBezTo>
                  <a:cubicBezTo>
                    <a:pt x="3086" y="77748"/>
                    <a:pt x="0" y="74662"/>
                    <a:pt x="0" y="71577"/>
                  </a:cubicBezTo>
                  <a:cubicBezTo>
                    <a:pt x="0" y="59234"/>
                    <a:pt x="6172" y="49977"/>
                    <a:pt x="15429" y="43805"/>
                  </a:cubicBezTo>
                  <a:cubicBezTo>
                    <a:pt x="33943" y="31462"/>
                    <a:pt x="61714" y="28377"/>
                    <a:pt x="77143" y="31462"/>
                  </a:cubicBezTo>
                  <a:cubicBezTo>
                    <a:pt x="89486" y="34548"/>
                    <a:pt x="104914" y="25291"/>
                    <a:pt x="120343" y="16034"/>
                  </a:cubicBezTo>
                  <a:cubicBezTo>
                    <a:pt x="132686" y="9862"/>
                    <a:pt x="141943" y="3691"/>
                    <a:pt x="151200" y="605"/>
                  </a:cubicBezTo>
                  <a:cubicBezTo>
                    <a:pt x="175886" y="-2480"/>
                    <a:pt x="191314" y="6777"/>
                    <a:pt x="203657" y="16034"/>
                  </a:cubicBezTo>
                  <a:cubicBezTo>
                    <a:pt x="216000" y="22205"/>
                    <a:pt x="222172" y="28377"/>
                    <a:pt x="231429" y="22205"/>
                  </a:cubicBezTo>
                  <a:cubicBezTo>
                    <a:pt x="262286" y="9862"/>
                    <a:pt x="290057" y="43805"/>
                    <a:pt x="290057" y="46891"/>
                  </a:cubicBezTo>
                  <a:cubicBezTo>
                    <a:pt x="293143" y="49977"/>
                    <a:pt x="290057" y="53062"/>
                    <a:pt x="290057" y="56148"/>
                  </a:cubicBezTo>
                  <a:cubicBezTo>
                    <a:pt x="286972" y="59234"/>
                    <a:pt x="283886" y="56148"/>
                    <a:pt x="280800" y="56148"/>
                  </a:cubicBezTo>
                  <a:cubicBezTo>
                    <a:pt x="280800" y="56148"/>
                    <a:pt x="256114" y="25291"/>
                    <a:pt x="234514" y="37634"/>
                  </a:cubicBezTo>
                  <a:cubicBezTo>
                    <a:pt x="219086" y="43805"/>
                    <a:pt x="206743" y="37634"/>
                    <a:pt x="194400" y="28377"/>
                  </a:cubicBezTo>
                  <a:cubicBezTo>
                    <a:pt x="182057" y="22205"/>
                    <a:pt x="169714" y="12948"/>
                    <a:pt x="148114" y="16034"/>
                  </a:cubicBezTo>
                  <a:cubicBezTo>
                    <a:pt x="141943" y="16034"/>
                    <a:pt x="132686" y="22205"/>
                    <a:pt x="123429" y="28377"/>
                  </a:cubicBezTo>
                  <a:cubicBezTo>
                    <a:pt x="108000" y="34548"/>
                    <a:pt x="89486" y="46891"/>
                    <a:pt x="77143" y="43805"/>
                  </a:cubicBezTo>
                  <a:cubicBezTo>
                    <a:pt x="64800" y="40720"/>
                    <a:pt x="40114" y="43805"/>
                    <a:pt x="24686" y="53062"/>
                  </a:cubicBezTo>
                  <a:cubicBezTo>
                    <a:pt x="18514" y="59234"/>
                    <a:pt x="12343" y="65405"/>
                    <a:pt x="12343" y="71577"/>
                  </a:cubicBezTo>
                  <a:cubicBezTo>
                    <a:pt x="12343" y="77748"/>
                    <a:pt x="9257" y="77748"/>
                    <a:pt x="6172" y="77748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03" name="图形 1">
              <a:extLst>
                <a:ext uri="{FF2B5EF4-FFF2-40B4-BE49-F238E27FC236}">
                  <a16:creationId xmlns:a16="http://schemas.microsoft.com/office/drawing/2014/main" id="{642B4E27-4193-4C43-9A4D-E25F56DEE238}"/>
                </a:ext>
              </a:extLst>
            </p:cNvPr>
            <p:cNvGrpSpPr/>
            <p:nvPr/>
          </p:nvGrpSpPr>
          <p:grpSpPr>
            <a:xfrm>
              <a:off x="4307298" y="5921667"/>
              <a:ext cx="439560" cy="561415"/>
              <a:chOff x="4307298" y="5921667"/>
              <a:chExt cx="439560" cy="561415"/>
            </a:xfrm>
          </p:grpSpPr>
          <p:sp>
            <p:nvSpPr>
              <p:cNvPr id="204" name="任意多边形: 形状 203">
                <a:extLst>
                  <a:ext uri="{FF2B5EF4-FFF2-40B4-BE49-F238E27FC236}">
                    <a16:creationId xmlns:a16="http://schemas.microsoft.com/office/drawing/2014/main" id="{9D765405-A8A7-4B5F-9A0F-652272210356}"/>
                  </a:ext>
                </a:extLst>
              </p:cNvPr>
              <p:cNvSpPr/>
              <p:nvPr/>
            </p:nvSpPr>
            <p:spPr>
              <a:xfrm>
                <a:off x="4398294" y="5921667"/>
                <a:ext cx="265371" cy="259199"/>
              </a:xfrm>
              <a:custGeom>
                <a:avLst/>
                <a:gdLst>
                  <a:gd name="connsiteX0" fmla="*/ 12343 w 265371"/>
                  <a:gd name="connsiteY0" fmla="*/ 157371 h 259199"/>
                  <a:gd name="connsiteX1" fmla="*/ 114171 w 265371"/>
                  <a:gd name="connsiteY1" fmla="*/ 0 h 259199"/>
                  <a:gd name="connsiteX2" fmla="*/ 265372 w 265371"/>
                  <a:gd name="connsiteY2" fmla="*/ 104914 h 259199"/>
                  <a:gd name="connsiteX3" fmla="*/ 141943 w 265371"/>
                  <a:gd name="connsiteY3" fmla="*/ 259200 h 259199"/>
                  <a:gd name="connsiteX4" fmla="*/ 0 w 265371"/>
                  <a:gd name="connsiteY4" fmla="*/ 197486 h 259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5371" h="259199">
                    <a:moveTo>
                      <a:pt x="12343" y="157371"/>
                    </a:moveTo>
                    <a:lnTo>
                      <a:pt x="114171" y="0"/>
                    </a:lnTo>
                    <a:lnTo>
                      <a:pt x="265372" y="104914"/>
                    </a:lnTo>
                    <a:lnTo>
                      <a:pt x="141943" y="259200"/>
                    </a:lnTo>
                    <a:lnTo>
                      <a:pt x="0" y="197486"/>
                    </a:ln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5" name="任意多边形: 形状 204">
                <a:extLst>
                  <a:ext uri="{FF2B5EF4-FFF2-40B4-BE49-F238E27FC236}">
                    <a16:creationId xmlns:a16="http://schemas.microsoft.com/office/drawing/2014/main" id="{24A4704F-D2CC-4535-BDBA-7C42AD9CA92E}"/>
                  </a:ext>
                </a:extLst>
              </p:cNvPr>
              <p:cNvSpPr/>
              <p:nvPr/>
            </p:nvSpPr>
            <p:spPr>
              <a:xfrm>
                <a:off x="4333494" y="6069782"/>
                <a:ext cx="413365" cy="376457"/>
              </a:xfrm>
              <a:custGeom>
                <a:avLst/>
                <a:gdLst>
                  <a:gd name="connsiteX0" fmla="*/ 64800 w 413365"/>
                  <a:gd name="connsiteY0" fmla="*/ 0 h 376457"/>
                  <a:gd name="connsiteX1" fmla="*/ 246857 w 413365"/>
                  <a:gd name="connsiteY1" fmla="*/ 67886 h 376457"/>
                  <a:gd name="connsiteX2" fmla="*/ 311657 w 413365"/>
                  <a:gd name="connsiteY2" fmla="*/ 212914 h 376457"/>
                  <a:gd name="connsiteX3" fmla="*/ 407314 w 413365"/>
                  <a:gd name="connsiteY3" fmla="*/ 376457 h 376457"/>
                  <a:gd name="connsiteX4" fmla="*/ 0 w 413365"/>
                  <a:gd name="connsiteY4" fmla="*/ 95657 h 376457"/>
                  <a:gd name="connsiteX5" fmla="*/ 64800 w 413365"/>
                  <a:gd name="connsiteY5" fmla="*/ 0 h 376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3365" h="376457">
                    <a:moveTo>
                      <a:pt x="64800" y="0"/>
                    </a:moveTo>
                    <a:cubicBezTo>
                      <a:pt x="64800" y="0"/>
                      <a:pt x="157371" y="86400"/>
                      <a:pt x="246857" y="67886"/>
                    </a:cubicBezTo>
                    <a:cubicBezTo>
                      <a:pt x="246857" y="67886"/>
                      <a:pt x="277714" y="178971"/>
                      <a:pt x="311657" y="212914"/>
                    </a:cubicBezTo>
                    <a:cubicBezTo>
                      <a:pt x="342514" y="246857"/>
                      <a:pt x="438172" y="308571"/>
                      <a:pt x="407314" y="376457"/>
                    </a:cubicBezTo>
                    <a:lnTo>
                      <a:pt x="0" y="95657"/>
                    </a:lnTo>
                    <a:cubicBezTo>
                      <a:pt x="0" y="92571"/>
                      <a:pt x="21600" y="30857"/>
                      <a:pt x="64800" y="0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6" name="任意多边形: 形状 205">
                <a:extLst>
                  <a:ext uri="{FF2B5EF4-FFF2-40B4-BE49-F238E27FC236}">
                    <a16:creationId xmlns:a16="http://schemas.microsoft.com/office/drawing/2014/main" id="{DB3BC0AE-C713-4A2E-B887-D73045CAF98A}"/>
                  </a:ext>
                </a:extLst>
              </p:cNvPr>
              <p:cNvSpPr/>
              <p:nvPr/>
            </p:nvSpPr>
            <p:spPr>
              <a:xfrm rot="-3319574">
                <a:off x="4500337" y="6076757"/>
                <a:ext cx="46285" cy="493711"/>
              </a:xfrm>
              <a:custGeom>
                <a:avLst/>
                <a:gdLst>
                  <a:gd name="connsiteX0" fmla="*/ 0 w 46285"/>
                  <a:gd name="connsiteY0" fmla="*/ 0 h 493711"/>
                  <a:gd name="connsiteX1" fmla="*/ 46285 w 46285"/>
                  <a:gd name="connsiteY1" fmla="*/ 0 h 493711"/>
                  <a:gd name="connsiteX2" fmla="*/ 46285 w 46285"/>
                  <a:gd name="connsiteY2" fmla="*/ 493712 h 493711"/>
                  <a:gd name="connsiteX3" fmla="*/ 0 w 46285"/>
                  <a:gd name="connsiteY3" fmla="*/ 493712 h 493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285" h="493711">
                    <a:moveTo>
                      <a:pt x="0" y="0"/>
                    </a:moveTo>
                    <a:lnTo>
                      <a:pt x="46285" y="0"/>
                    </a:lnTo>
                    <a:lnTo>
                      <a:pt x="46285" y="493712"/>
                    </a:lnTo>
                    <a:lnTo>
                      <a:pt x="0" y="493712"/>
                    </a:ln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7" name="任意多边形: 形状 206">
                <a:extLst>
                  <a:ext uri="{FF2B5EF4-FFF2-40B4-BE49-F238E27FC236}">
                    <a16:creationId xmlns:a16="http://schemas.microsoft.com/office/drawing/2014/main" id="{1600044A-F17C-4484-9B46-37D23717FF17}"/>
                  </a:ext>
                </a:extLst>
              </p:cNvPr>
              <p:cNvSpPr/>
              <p:nvPr/>
            </p:nvSpPr>
            <p:spPr>
              <a:xfrm>
                <a:off x="4392894" y="6061296"/>
                <a:ext cx="193628" cy="82542"/>
              </a:xfrm>
              <a:custGeom>
                <a:avLst/>
                <a:gdLst>
                  <a:gd name="connsiteX0" fmla="*/ 168943 w 193628"/>
                  <a:gd name="connsiteY0" fmla="*/ 82543 h 82542"/>
                  <a:gd name="connsiteX1" fmla="*/ 2314 w 193628"/>
                  <a:gd name="connsiteY1" fmla="*/ 11571 h 82542"/>
                  <a:gd name="connsiteX2" fmla="*/ 2314 w 193628"/>
                  <a:gd name="connsiteY2" fmla="*/ 2314 h 82542"/>
                  <a:gd name="connsiteX3" fmla="*/ 11571 w 193628"/>
                  <a:gd name="connsiteY3" fmla="*/ 2314 h 82542"/>
                  <a:gd name="connsiteX4" fmla="*/ 187457 w 193628"/>
                  <a:gd name="connsiteY4" fmla="*/ 70200 h 82542"/>
                  <a:gd name="connsiteX5" fmla="*/ 193629 w 193628"/>
                  <a:gd name="connsiteY5" fmla="*/ 76372 h 82542"/>
                  <a:gd name="connsiteX6" fmla="*/ 187457 w 193628"/>
                  <a:gd name="connsiteY6" fmla="*/ 82543 h 82542"/>
                  <a:gd name="connsiteX7" fmla="*/ 168943 w 193628"/>
                  <a:gd name="connsiteY7" fmla="*/ 82543 h 82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3628" h="82542">
                    <a:moveTo>
                      <a:pt x="168943" y="82543"/>
                    </a:moveTo>
                    <a:cubicBezTo>
                      <a:pt x="79457" y="82543"/>
                      <a:pt x="5400" y="14657"/>
                      <a:pt x="2314" y="11571"/>
                    </a:cubicBez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0" y="-771"/>
                      <a:pt x="8486" y="-771"/>
                      <a:pt x="11571" y="2314"/>
                    </a:cubicBezTo>
                    <a:cubicBezTo>
                      <a:pt x="11571" y="2314"/>
                      <a:pt x="97971" y="79457"/>
                      <a:pt x="187457" y="70200"/>
                    </a:cubicBezTo>
                    <a:cubicBezTo>
                      <a:pt x="190543" y="70200"/>
                      <a:pt x="193629" y="73286"/>
                      <a:pt x="193629" y="76372"/>
                    </a:cubicBezTo>
                    <a:cubicBezTo>
                      <a:pt x="193629" y="79457"/>
                      <a:pt x="190543" y="82543"/>
                      <a:pt x="187457" y="82543"/>
                    </a:cubicBezTo>
                    <a:cubicBezTo>
                      <a:pt x="181286" y="82543"/>
                      <a:pt x="175114" y="82543"/>
                      <a:pt x="168943" y="82543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8" name="任意多边形: 形状 207">
                <a:extLst>
                  <a:ext uri="{FF2B5EF4-FFF2-40B4-BE49-F238E27FC236}">
                    <a16:creationId xmlns:a16="http://schemas.microsoft.com/office/drawing/2014/main" id="{3FA219A9-26AD-4ED5-BFA0-9FAB2081D456}"/>
                  </a:ext>
                </a:extLst>
              </p:cNvPr>
              <p:cNvSpPr/>
              <p:nvPr/>
            </p:nvSpPr>
            <p:spPr>
              <a:xfrm>
                <a:off x="4552579" y="6177782"/>
                <a:ext cx="46285" cy="15428"/>
              </a:xfrm>
              <a:custGeom>
                <a:avLst/>
                <a:gdLst>
                  <a:gd name="connsiteX0" fmla="*/ 6172 w 46285"/>
                  <a:gd name="connsiteY0" fmla="*/ 15429 h 15428"/>
                  <a:gd name="connsiteX1" fmla="*/ 0 w 46285"/>
                  <a:gd name="connsiteY1" fmla="*/ 12343 h 15428"/>
                  <a:gd name="connsiteX2" fmla="*/ 3086 w 46285"/>
                  <a:gd name="connsiteY2" fmla="*/ 6171 h 15428"/>
                  <a:gd name="connsiteX3" fmla="*/ 40114 w 46285"/>
                  <a:gd name="connsiteY3" fmla="*/ 0 h 15428"/>
                  <a:gd name="connsiteX4" fmla="*/ 46286 w 46285"/>
                  <a:gd name="connsiteY4" fmla="*/ 3085 h 15428"/>
                  <a:gd name="connsiteX5" fmla="*/ 43200 w 46285"/>
                  <a:gd name="connsiteY5" fmla="*/ 9257 h 15428"/>
                  <a:gd name="connsiteX6" fmla="*/ 6172 w 46285"/>
                  <a:gd name="connsiteY6" fmla="*/ 15429 h 15428"/>
                  <a:gd name="connsiteX7" fmla="*/ 6172 w 46285"/>
                  <a:gd name="connsiteY7" fmla="*/ 15429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285" h="15428">
                    <a:moveTo>
                      <a:pt x="6172" y="15429"/>
                    </a:moveTo>
                    <a:cubicBezTo>
                      <a:pt x="3086" y="15429"/>
                      <a:pt x="0" y="12343"/>
                      <a:pt x="0" y="12343"/>
                    </a:cubicBezTo>
                    <a:cubicBezTo>
                      <a:pt x="0" y="9257"/>
                      <a:pt x="0" y="6171"/>
                      <a:pt x="3086" y="6171"/>
                    </a:cubicBezTo>
                    <a:lnTo>
                      <a:pt x="40114" y="0"/>
                    </a:lnTo>
                    <a:cubicBezTo>
                      <a:pt x="43200" y="0"/>
                      <a:pt x="46286" y="0"/>
                      <a:pt x="46286" y="3085"/>
                    </a:cubicBezTo>
                    <a:cubicBezTo>
                      <a:pt x="46286" y="6171"/>
                      <a:pt x="46286" y="9257"/>
                      <a:pt x="43200" y="9257"/>
                    </a:cubicBezTo>
                    <a:lnTo>
                      <a:pt x="6172" y="15429"/>
                    </a:lnTo>
                    <a:cubicBezTo>
                      <a:pt x="6172" y="15429"/>
                      <a:pt x="6172" y="15429"/>
                      <a:pt x="6172" y="154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9" name="任意多边形: 形状 208">
                <a:extLst>
                  <a:ext uri="{FF2B5EF4-FFF2-40B4-BE49-F238E27FC236}">
                    <a16:creationId xmlns:a16="http://schemas.microsoft.com/office/drawing/2014/main" id="{307584BD-320F-4340-8EED-DA1637B7A467}"/>
                  </a:ext>
                </a:extLst>
              </p:cNvPr>
              <p:cNvSpPr/>
              <p:nvPr/>
            </p:nvSpPr>
            <p:spPr>
              <a:xfrm>
                <a:off x="4568008" y="6224068"/>
                <a:ext cx="46285" cy="15428"/>
              </a:xfrm>
              <a:custGeom>
                <a:avLst/>
                <a:gdLst>
                  <a:gd name="connsiteX0" fmla="*/ 6172 w 46285"/>
                  <a:gd name="connsiteY0" fmla="*/ 15429 h 15428"/>
                  <a:gd name="connsiteX1" fmla="*/ 0 w 46285"/>
                  <a:gd name="connsiteY1" fmla="*/ 12343 h 15428"/>
                  <a:gd name="connsiteX2" fmla="*/ 3086 w 46285"/>
                  <a:gd name="connsiteY2" fmla="*/ 6171 h 15428"/>
                  <a:gd name="connsiteX3" fmla="*/ 40114 w 46285"/>
                  <a:gd name="connsiteY3" fmla="*/ 0 h 15428"/>
                  <a:gd name="connsiteX4" fmla="*/ 46286 w 46285"/>
                  <a:gd name="connsiteY4" fmla="*/ 3085 h 15428"/>
                  <a:gd name="connsiteX5" fmla="*/ 43200 w 46285"/>
                  <a:gd name="connsiteY5" fmla="*/ 9257 h 15428"/>
                  <a:gd name="connsiteX6" fmla="*/ 6172 w 46285"/>
                  <a:gd name="connsiteY6" fmla="*/ 15429 h 15428"/>
                  <a:gd name="connsiteX7" fmla="*/ 6172 w 46285"/>
                  <a:gd name="connsiteY7" fmla="*/ 15429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285" h="15428">
                    <a:moveTo>
                      <a:pt x="6172" y="15429"/>
                    </a:moveTo>
                    <a:cubicBezTo>
                      <a:pt x="3086" y="15429"/>
                      <a:pt x="0" y="12343"/>
                      <a:pt x="0" y="12343"/>
                    </a:cubicBezTo>
                    <a:cubicBezTo>
                      <a:pt x="0" y="9257"/>
                      <a:pt x="0" y="6171"/>
                      <a:pt x="3086" y="6171"/>
                    </a:cubicBezTo>
                    <a:lnTo>
                      <a:pt x="40114" y="0"/>
                    </a:lnTo>
                    <a:cubicBezTo>
                      <a:pt x="43200" y="0"/>
                      <a:pt x="46286" y="0"/>
                      <a:pt x="46286" y="3085"/>
                    </a:cubicBezTo>
                    <a:cubicBezTo>
                      <a:pt x="46286" y="6171"/>
                      <a:pt x="46286" y="9257"/>
                      <a:pt x="43200" y="9257"/>
                    </a:cubicBezTo>
                    <a:lnTo>
                      <a:pt x="6172" y="15429"/>
                    </a:lnTo>
                    <a:cubicBezTo>
                      <a:pt x="6172" y="15429"/>
                      <a:pt x="6172" y="15429"/>
                      <a:pt x="6172" y="154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10" name="图形 1">
              <a:extLst>
                <a:ext uri="{FF2B5EF4-FFF2-40B4-BE49-F238E27FC236}">
                  <a16:creationId xmlns:a16="http://schemas.microsoft.com/office/drawing/2014/main" id="{642B4E27-4193-4C43-9A4D-E25F56DEE238}"/>
                </a:ext>
              </a:extLst>
            </p:cNvPr>
            <p:cNvGrpSpPr/>
            <p:nvPr/>
          </p:nvGrpSpPr>
          <p:grpSpPr>
            <a:xfrm>
              <a:off x="5553379" y="6273439"/>
              <a:ext cx="501942" cy="345600"/>
              <a:chOff x="5553379" y="6273439"/>
              <a:chExt cx="501942" cy="345600"/>
            </a:xfrm>
          </p:grpSpPr>
          <p:sp>
            <p:nvSpPr>
              <p:cNvPr id="211" name="任意多边形: 形状 210">
                <a:extLst>
                  <a:ext uri="{FF2B5EF4-FFF2-40B4-BE49-F238E27FC236}">
                    <a16:creationId xmlns:a16="http://schemas.microsoft.com/office/drawing/2014/main" id="{12ECE901-54F5-4D6E-B99D-0DDD22F5CA87}"/>
                  </a:ext>
                </a:extLst>
              </p:cNvPr>
              <p:cNvSpPr/>
              <p:nvPr/>
            </p:nvSpPr>
            <p:spPr>
              <a:xfrm>
                <a:off x="5570865" y="6273439"/>
                <a:ext cx="185142" cy="225257"/>
              </a:xfrm>
              <a:custGeom>
                <a:avLst/>
                <a:gdLst>
                  <a:gd name="connsiteX0" fmla="*/ 6172 w 185142"/>
                  <a:gd name="connsiteY0" fmla="*/ 188229 h 225257"/>
                  <a:gd name="connsiteX1" fmla="*/ 0 w 185142"/>
                  <a:gd name="connsiteY1" fmla="*/ 0 h 225257"/>
                  <a:gd name="connsiteX2" fmla="*/ 185143 w 185142"/>
                  <a:gd name="connsiteY2" fmla="*/ 0 h 225257"/>
                  <a:gd name="connsiteX3" fmla="*/ 169714 w 185142"/>
                  <a:gd name="connsiteY3" fmla="*/ 197486 h 225257"/>
                  <a:gd name="connsiteX4" fmla="*/ 18514 w 185142"/>
                  <a:gd name="connsiteY4" fmla="*/ 225257 h 225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142" h="225257">
                    <a:moveTo>
                      <a:pt x="6172" y="188229"/>
                    </a:moveTo>
                    <a:lnTo>
                      <a:pt x="0" y="0"/>
                    </a:lnTo>
                    <a:lnTo>
                      <a:pt x="185143" y="0"/>
                    </a:lnTo>
                    <a:lnTo>
                      <a:pt x="169714" y="197486"/>
                    </a:lnTo>
                    <a:lnTo>
                      <a:pt x="18514" y="225257"/>
                    </a:ln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2" name="任意多边形: 形状 211">
                <a:extLst>
                  <a:ext uri="{FF2B5EF4-FFF2-40B4-BE49-F238E27FC236}">
                    <a16:creationId xmlns:a16="http://schemas.microsoft.com/office/drawing/2014/main" id="{88235813-7EEA-4411-B3A2-6CCD212786ED}"/>
                  </a:ext>
                </a:extLst>
              </p:cNvPr>
              <p:cNvSpPr/>
              <p:nvPr/>
            </p:nvSpPr>
            <p:spPr>
              <a:xfrm>
                <a:off x="5553379" y="6415382"/>
                <a:ext cx="501942" cy="160457"/>
              </a:xfrm>
              <a:custGeom>
                <a:avLst/>
                <a:gdLst>
                  <a:gd name="connsiteX0" fmla="*/ 8229 w 501942"/>
                  <a:gd name="connsiteY0" fmla="*/ 46286 h 160457"/>
                  <a:gd name="connsiteX1" fmla="*/ 196457 w 501942"/>
                  <a:gd name="connsiteY1" fmla="*/ 0 h 160457"/>
                  <a:gd name="connsiteX2" fmla="*/ 332229 w 501942"/>
                  <a:gd name="connsiteY2" fmla="*/ 80228 h 160457"/>
                  <a:gd name="connsiteX3" fmla="*/ 501943 w 501942"/>
                  <a:gd name="connsiteY3" fmla="*/ 160457 h 160457"/>
                  <a:gd name="connsiteX4" fmla="*/ 8229 w 501942"/>
                  <a:gd name="connsiteY4" fmla="*/ 160457 h 160457"/>
                  <a:gd name="connsiteX5" fmla="*/ 8229 w 501942"/>
                  <a:gd name="connsiteY5" fmla="*/ 46286 h 160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942" h="160457">
                    <a:moveTo>
                      <a:pt x="8229" y="46286"/>
                    </a:moveTo>
                    <a:cubicBezTo>
                      <a:pt x="8229" y="46286"/>
                      <a:pt x="134743" y="64800"/>
                      <a:pt x="196457" y="0"/>
                    </a:cubicBezTo>
                    <a:cubicBezTo>
                      <a:pt x="196457" y="0"/>
                      <a:pt x="285943" y="70972"/>
                      <a:pt x="332229" y="80228"/>
                    </a:cubicBezTo>
                    <a:cubicBezTo>
                      <a:pt x="378514" y="89486"/>
                      <a:pt x="489600" y="86400"/>
                      <a:pt x="501943" y="160457"/>
                    </a:cubicBezTo>
                    <a:lnTo>
                      <a:pt x="8229" y="160457"/>
                    </a:lnTo>
                    <a:cubicBezTo>
                      <a:pt x="8229" y="157371"/>
                      <a:pt x="-10286" y="95657"/>
                      <a:pt x="8229" y="46286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3" name="任意多边形: 形状 212">
                <a:extLst>
                  <a:ext uri="{FF2B5EF4-FFF2-40B4-BE49-F238E27FC236}">
                    <a16:creationId xmlns:a16="http://schemas.microsoft.com/office/drawing/2014/main" id="{669CE14C-C2B1-4883-9922-D80343BFB321}"/>
                  </a:ext>
                </a:extLst>
              </p:cNvPr>
              <p:cNvSpPr/>
              <p:nvPr/>
            </p:nvSpPr>
            <p:spPr>
              <a:xfrm>
                <a:off x="5561608" y="6572753"/>
                <a:ext cx="493714" cy="46285"/>
              </a:xfrm>
              <a:custGeom>
                <a:avLst/>
                <a:gdLst>
                  <a:gd name="connsiteX0" fmla="*/ 0 w 493714"/>
                  <a:gd name="connsiteY0" fmla="*/ 0 h 46285"/>
                  <a:gd name="connsiteX1" fmla="*/ 493714 w 493714"/>
                  <a:gd name="connsiteY1" fmla="*/ 0 h 46285"/>
                  <a:gd name="connsiteX2" fmla="*/ 493714 w 493714"/>
                  <a:gd name="connsiteY2" fmla="*/ 46286 h 46285"/>
                  <a:gd name="connsiteX3" fmla="*/ 0 w 493714"/>
                  <a:gd name="connsiteY3" fmla="*/ 46286 h 4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714" h="46285">
                    <a:moveTo>
                      <a:pt x="0" y="0"/>
                    </a:moveTo>
                    <a:lnTo>
                      <a:pt x="493714" y="0"/>
                    </a:lnTo>
                    <a:lnTo>
                      <a:pt x="493714" y="46286"/>
                    </a:lnTo>
                    <a:lnTo>
                      <a:pt x="0" y="46286"/>
                    </a:lnTo>
                    <a:close/>
                  </a:path>
                </a:pathLst>
              </a:custGeom>
              <a:solidFill>
                <a:srgbClr val="38333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4" name="任意多边形: 形状 213">
                <a:extLst>
                  <a:ext uri="{FF2B5EF4-FFF2-40B4-BE49-F238E27FC236}">
                    <a16:creationId xmlns:a16="http://schemas.microsoft.com/office/drawing/2014/main" id="{F0C40F3B-EC0B-4004-A35D-8B7E48B36CE9}"/>
                  </a:ext>
                </a:extLst>
              </p:cNvPr>
              <p:cNvSpPr/>
              <p:nvPr/>
            </p:nvSpPr>
            <p:spPr>
              <a:xfrm>
                <a:off x="5555436" y="6403810"/>
                <a:ext cx="202885" cy="64028"/>
              </a:xfrm>
              <a:custGeom>
                <a:avLst/>
                <a:gdLst>
                  <a:gd name="connsiteX0" fmla="*/ 43200 w 202885"/>
                  <a:gd name="connsiteY0" fmla="*/ 64029 h 64028"/>
                  <a:gd name="connsiteX1" fmla="*/ 6172 w 202885"/>
                  <a:gd name="connsiteY1" fmla="*/ 60943 h 64028"/>
                  <a:gd name="connsiteX2" fmla="*/ 0 w 202885"/>
                  <a:gd name="connsiteY2" fmla="*/ 54771 h 64028"/>
                  <a:gd name="connsiteX3" fmla="*/ 6172 w 202885"/>
                  <a:gd name="connsiteY3" fmla="*/ 48600 h 64028"/>
                  <a:gd name="connsiteX4" fmla="*/ 191314 w 202885"/>
                  <a:gd name="connsiteY4" fmla="*/ 2314 h 64028"/>
                  <a:gd name="connsiteX5" fmla="*/ 200571 w 202885"/>
                  <a:gd name="connsiteY5" fmla="*/ 2314 h 64028"/>
                  <a:gd name="connsiteX6" fmla="*/ 200571 w 202885"/>
                  <a:gd name="connsiteY6" fmla="*/ 11572 h 64028"/>
                  <a:gd name="connsiteX7" fmla="*/ 43200 w 202885"/>
                  <a:gd name="connsiteY7" fmla="*/ 64029 h 6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885" h="64028">
                    <a:moveTo>
                      <a:pt x="43200" y="64029"/>
                    </a:moveTo>
                    <a:cubicBezTo>
                      <a:pt x="21600" y="64029"/>
                      <a:pt x="9257" y="60943"/>
                      <a:pt x="6172" y="60943"/>
                    </a:cubicBezTo>
                    <a:cubicBezTo>
                      <a:pt x="3086" y="60943"/>
                      <a:pt x="0" y="57857"/>
                      <a:pt x="0" y="54771"/>
                    </a:cubicBezTo>
                    <a:cubicBezTo>
                      <a:pt x="0" y="51686"/>
                      <a:pt x="3086" y="48600"/>
                      <a:pt x="6172" y="48600"/>
                    </a:cubicBezTo>
                    <a:cubicBezTo>
                      <a:pt x="6172" y="48600"/>
                      <a:pt x="120343" y="64029"/>
                      <a:pt x="191314" y="2314"/>
                    </a:cubicBezTo>
                    <a:cubicBezTo>
                      <a:pt x="194400" y="-771"/>
                      <a:pt x="197486" y="-771"/>
                      <a:pt x="200571" y="2314"/>
                    </a:cubicBezTo>
                    <a:cubicBezTo>
                      <a:pt x="203657" y="5400"/>
                      <a:pt x="203657" y="8486"/>
                      <a:pt x="200571" y="11572"/>
                    </a:cubicBezTo>
                    <a:cubicBezTo>
                      <a:pt x="151200" y="57857"/>
                      <a:pt x="83314" y="64029"/>
                      <a:pt x="43200" y="64029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5" name="任意多边形: 形状 214">
                <a:extLst>
                  <a:ext uri="{FF2B5EF4-FFF2-40B4-BE49-F238E27FC236}">
                    <a16:creationId xmlns:a16="http://schemas.microsoft.com/office/drawing/2014/main" id="{CA2CE36E-C1C8-4895-BFF3-A566FA3E3353}"/>
                  </a:ext>
                </a:extLst>
              </p:cNvPr>
              <p:cNvSpPr/>
              <p:nvPr/>
            </p:nvSpPr>
            <p:spPr>
              <a:xfrm>
                <a:off x="5753694" y="6431582"/>
                <a:ext cx="41657" cy="42428"/>
              </a:xfrm>
              <a:custGeom>
                <a:avLst/>
                <a:gdLst>
                  <a:gd name="connsiteX0" fmla="*/ 5400 w 41657"/>
                  <a:gd name="connsiteY0" fmla="*/ 42428 h 42428"/>
                  <a:gd name="connsiteX1" fmla="*/ 2314 w 41657"/>
                  <a:gd name="connsiteY1" fmla="*/ 39343 h 42428"/>
                  <a:gd name="connsiteX2" fmla="*/ 2314 w 41657"/>
                  <a:gd name="connsiteY2" fmla="*/ 30086 h 42428"/>
                  <a:gd name="connsiteX3" fmla="*/ 30086 w 41657"/>
                  <a:gd name="connsiteY3" fmla="*/ 2314 h 42428"/>
                  <a:gd name="connsiteX4" fmla="*/ 39343 w 41657"/>
                  <a:gd name="connsiteY4" fmla="*/ 2314 h 42428"/>
                  <a:gd name="connsiteX5" fmla="*/ 39343 w 41657"/>
                  <a:gd name="connsiteY5" fmla="*/ 11571 h 42428"/>
                  <a:gd name="connsiteX6" fmla="*/ 11571 w 41657"/>
                  <a:gd name="connsiteY6" fmla="*/ 39343 h 42428"/>
                  <a:gd name="connsiteX7" fmla="*/ 5400 w 41657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7" h="42428">
                    <a:moveTo>
                      <a:pt x="5400" y="42428"/>
                    </a:moveTo>
                    <a:cubicBezTo>
                      <a:pt x="5400" y="42428"/>
                      <a:pt x="2314" y="42428"/>
                      <a:pt x="2314" y="39343"/>
                    </a:cubicBezTo>
                    <a:cubicBezTo>
                      <a:pt x="-771" y="36257"/>
                      <a:pt x="-771" y="33171"/>
                      <a:pt x="2314" y="30086"/>
                    </a:cubicBezTo>
                    <a:lnTo>
                      <a:pt x="30086" y="2314"/>
                    </a:lnTo>
                    <a:cubicBezTo>
                      <a:pt x="33171" y="-771"/>
                      <a:pt x="36257" y="-771"/>
                      <a:pt x="39343" y="2314"/>
                    </a:cubicBezTo>
                    <a:cubicBezTo>
                      <a:pt x="42429" y="5400"/>
                      <a:pt x="42429" y="8486"/>
                      <a:pt x="39343" y="11571"/>
                    </a:cubicBezTo>
                    <a:lnTo>
                      <a:pt x="11571" y="39343"/>
                    </a:lnTo>
                    <a:cubicBezTo>
                      <a:pt x="8486" y="39343"/>
                      <a:pt x="8486" y="42428"/>
                      <a:pt x="5400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6" name="任意多边形: 形状 215">
                <a:extLst>
                  <a:ext uri="{FF2B5EF4-FFF2-40B4-BE49-F238E27FC236}">
                    <a16:creationId xmlns:a16="http://schemas.microsoft.com/office/drawing/2014/main" id="{DB81B86F-98E0-4A92-AE1C-DD6D9BA27F6E}"/>
                  </a:ext>
                </a:extLst>
              </p:cNvPr>
              <p:cNvSpPr/>
              <p:nvPr/>
            </p:nvSpPr>
            <p:spPr>
              <a:xfrm>
                <a:off x="5793808" y="6456267"/>
                <a:ext cx="41657" cy="42428"/>
              </a:xfrm>
              <a:custGeom>
                <a:avLst/>
                <a:gdLst>
                  <a:gd name="connsiteX0" fmla="*/ 5400 w 41657"/>
                  <a:gd name="connsiteY0" fmla="*/ 42428 h 42428"/>
                  <a:gd name="connsiteX1" fmla="*/ 2314 w 41657"/>
                  <a:gd name="connsiteY1" fmla="*/ 39343 h 42428"/>
                  <a:gd name="connsiteX2" fmla="*/ 2314 w 41657"/>
                  <a:gd name="connsiteY2" fmla="*/ 30086 h 42428"/>
                  <a:gd name="connsiteX3" fmla="*/ 30086 w 41657"/>
                  <a:gd name="connsiteY3" fmla="*/ 2314 h 42428"/>
                  <a:gd name="connsiteX4" fmla="*/ 39343 w 41657"/>
                  <a:gd name="connsiteY4" fmla="*/ 2314 h 42428"/>
                  <a:gd name="connsiteX5" fmla="*/ 39343 w 41657"/>
                  <a:gd name="connsiteY5" fmla="*/ 11571 h 42428"/>
                  <a:gd name="connsiteX6" fmla="*/ 11571 w 41657"/>
                  <a:gd name="connsiteY6" fmla="*/ 39343 h 42428"/>
                  <a:gd name="connsiteX7" fmla="*/ 5400 w 41657"/>
                  <a:gd name="connsiteY7" fmla="*/ 42428 h 4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57" h="42428">
                    <a:moveTo>
                      <a:pt x="5400" y="42428"/>
                    </a:moveTo>
                    <a:cubicBezTo>
                      <a:pt x="5400" y="42428"/>
                      <a:pt x="2314" y="42428"/>
                      <a:pt x="2314" y="39343"/>
                    </a:cubicBezTo>
                    <a:cubicBezTo>
                      <a:pt x="-771" y="36257"/>
                      <a:pt x="-771" y="33171"/>
                      <a:pt x="2314" y="30086"/>
                    </a:cubicBezTo>
                    <a:lnTo>
                      <a:pt x="30086" y="2314"/>
                    </a:lnTo>
                    <a:cubicBezTo>
                      <a:pt x="33171" y="-771"/>
                      <a:pt x="36257" y="-771"/>
                      <a:pt x="39343" y="2314"/>
                    </a:cubicBezTo>
                    <a:cubicBezTo>
                      <a:pt x="42429" y="5400"/>
                      <a:pt x="42429" y="8485"/>
                      <a:pt x="39343" y="11571"/>
                    </a:cubicBezTo>
                    <a:lnTo>
                      <a:pt x="11571" y="39343"/>
                    </a:lnTo>
                    <a:cubicBezTo>
                      <a:pt x="8486" y="42428"/>
                      <a:pt x="5400" y="42428"/>
                      <a:pt x="5400" y="42428"/>
                    </a:cubicBezTo>
                    <a:close/>
                  </a:path>
                </a:pathLst>
              </a:custGeom>
              <a:solidFill>
                <a:srgbClr val="38343B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17" name="任意多边形: 形状 216">
              <a:extLst>
                <a:ext uri="{FF2B5EF4-FFF2-40B4-BE49-F238E27FC236}">
                  <a16:creationId xmlns:a16="http://schemas.microsoft.com/office/drawing/2014/main" id="{AD4F7DFB-E272-4775-A03C-7B1BB9F562D5}"/>
                </a:ext>
              </a:extLst>
            </p:cNvPr>
            <p:cNvSpPr/>
            <p:nvPr/>
          </p:nvSpPr>
          <p:spPr>
            <a:xfrm>
              <a:off x="4410636" y="4033210"/>
              <a:ext cx="1492289" cy="2320457"/>
            </a:xfrm>
            <a:custGeom>
              <a:avLst/>
              <a:gdLst>
                <a:gd name="connsiteX0" fmla="*/ 1484229 w 1492289"/>
                <a:gd name="connsiteY0" fmla="*/ 18514 h 2320457"/>
                <a:gd name="connsiteX1" fmla="*/ 1471886 w 1492289"/>
                <a:gd name="connsiteY1" fmla="*/ 1419429 h 2320457"/>
                <a:gd name="connsiteX2" fmla="*/ 1400914 w 1492289"/>
                <a:gd name="connsiteY2" fmla="*/ 2320457 h 2320457"/>
                <a:gd name="connsiteX3" fmla="*/ 1101600 w 1492289"/>
                <a:gd name="connsiteY3" fmla="*/ 2320457 h 2320457"/>
                <a:gd name="connsiteX4" fmla="*/ 1061486 w 1492289"/>
                <a:gd name="connsiteY4" fmla="*/ 1444114 h 2320457"/>
                <a:gd name="connsiteX5" fmla="*/ 984343 w 1492289"/>
                <a:gd name="connsiteY5" fmla="*/ 506057 h 2320457"/>
                <a:gd name="connsiteX6" fmla="*/ 762172 w 1492289"/>
                <a:gd name="connsiteY6" fmla="*/ 1317600 h 2320457"/>
                <a:gd name="connsiteX7" fmla="*/ 678857 w 1492289"/>
                <a:gd name="connsiteY7" fmla="*/ 1496571 h 2320457"/>
                <a:gd name="connsiteX8" fmla="*/ 259200 w 1492289"/>
                <a:gd name="connsiteY8" fmla="*/ 2092114 h 2320457"/>
                <a:gd name="connsiteX9" fmla="*/ 0 w 1492289"/>
                <a:gd name="connsiteY9" fmla="*/ 1913143 h 2320457"/>
                <a:gd name="connsiteX10" fmla="*/ 354857 w 1492289"/>
                <a:gd name="connsiteY10" fmla="*/ 1280571 h 2320457"/>
                <a:gd name="connsiteX11" fmla="*/ 453600 w 1492289"/>
                <a:gd name="connsiteY11" fmla="*/ 0 h 2320457"/>
                <a:gd name="connsiteX12" fmla="*/ 1484229 w 1492289"/>
                <a:gd name="connsiteY12" fmla="*/ 18514 h 2320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92289" h="2320457">
                  <a:moveTo>
                    <a:pt x="1484229" y="18514"/>
                  </a:moveTo>
                  <a:cubicBezTo>
                    <a:pt x="1484229" y="18514"/>
                    <a:pt x="1508914" y="1104686"/>
                    <a:pt x="1471886" y="1419429"/>
                  </a:cubicBezTo>
                  <a:cubicBezTo>
                    <a:pt x="1441029" y="1694057"/>
                    <a:pt x="1400914" y="2320457"/>
                    <a:pt x="1400914" y="2320457"/>
                  </a:cubicBezTo>
                  <a:lnTo>
                    <a:pt x="1101600" y="2320457"/>
                  </a:lnTo>
                  <a:cubicBezTo>
                    <a:pt x="1101600" y="2320457"/>
                    <a:pt x="1067657" y="1542857"/>
                    <a:pt x="1061486" y="1444114"/>
                  </a:cubicBezTo>
                  <a:cubicBezTo>
                    <a:pt x="1058400" y="1302172"/>
                    <a:pt x="999772" y="536914"/>
                    <a:pt x="984343" y="506057"/>
                  </a:cubicBezTo>
                  <a:cubicBezTo>
                    <a:pt x="972000" y="481371"/>
                    <a:pt x="820800" y="1076914"/>
                    <a:pt x="762172" y="1317600"/>
                  </a:cubicBezTo>
                  <a:cubicBezTo>
                    <a:pt x="746743" y="1382400"/>
                    <a:pt x="718972" y="1441029"/>
                    <a:pt x="678857" y="1496571"/>
                  </a:cubicBezTo>
                  <a:lnTo>
                    <a:pt x="259200" y="2092114"/>
                  </a:lnTo>
                  <a:lnTo>
                    <a:pt x="0" y="1913143"/>
                  </a:lnTo>
                  <a:lnTo>
                    <a:pt x="354857" y="1280571"/>
                  </a:lnTo>
                  <a:cubicBezTo>
                    <a:pt x="354857" y="1280571"/>
                    <a:pt x="407314" y="98743"/>
                    <a:pt x="453600" y="0"/>
                  </a:cubicBezTo>
                  <a:cubicBezTo>
                    <a:pt x="1157143" y="30857"/>
                    <a:pt x="1484229" y="18514"/>
                    <a:pt x="1484229" y="18514"/>
                  </a:cubicBezTo>
                  <a:close/>
                </a:path>
              </a:pathLst>
            </a:custGeom>
            <a:solidFill>
              <a:srgbClr val="F1DDBA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8" name="任意多边形: 形状 217">
              <a:extLst>
                <a:ext uri="{FF2B5EF4-FFF2-40B4-BE49-F238E27FC236}">
                  <a16:creationId xmlns:a16="http://schemas.microsoft.com/office/drawing/2014/main" id="{3EC26445-8506-4E11-83CC-E358D138BA9B}"/>
                </a:ext>
              </a:extLst>
            </p:cNvPr>
            <p:cNvSpPr/>
            <p:nvPr/>
          </p:nvSpPr>
          <p:spPr>
            <a:xfrm>
              <a:off x="5385722" y="4178239"/>
              <a:ext cx="70971" cy="370285"/>
            </a:xfrm>
            <a:custGeom>
              <a:avLst/>
              <a:gdLst>
                <a:gd name="connsiteX0" fmla="*/ 6172 w 70971"/>
                <a:gd name="connsiteY0" fmla="*/ 370286 h 370285"/>
                <a:gd name="connsiteX1" fmla="*/ 6172 w 70971"/>
                <a:gd name="connsiteY1" fmla="*/ 370286 h 370285"/>
                <a:gd name="connsiteX2" fmla="*/ 0 w 70971"/>
                <a:gd name="connsiteY2" fmla="*/ 361028 h 370285"/>
                <a:gd name="connsiteX3" fmla="*/ 58629 w 70971"/>
                <a:gd name="connsiteY3" fmla="*/ 6171 h 370285"/>
                <a:gd name="connsiteX4" fmla="*/ 64800 w 70971"/>
                <a:gd name="connsiteY4" fmla="*/ 0 h 370285"/>
                <a:gd name="connsiteX5" fmla="*/ 70972 w 70971"/>
                <a:gd name="connsiteY5" fmla="*/ 6171 h 370285"/>
                <a:gd name="connsiteX6" fmla="*/ 12343 w 70971"/>
                <a:gd name="connsiteY6" fmla="*/ 364114 h 370285"/>
                <a:gd name="connsiteX7" fmla="*/ 6172 w 70971"/>
                <a:gd name="connsiteY7" fmla="*/ 370286 h 37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71" h="370285">
                  <a:moveTo>
                    <a:pt x="6172" y="370286"/>
                  </a:moveTo>
                  <a:cubicBezTo>
                    <a:pt x="6172" y="370286"/>
                    <a:pt x="6172" y="370286"/>
                    <a:pt x="6172" y="370286"/>
                  </a:cubicBezTo>
                  <a:cubicBezTo>
                    <a:pt x="0" y="367200"/>
                    <a:pt x="0" y="364114"/>
                    <a:pt x="0" y="361028"/>
                  </a:cubicBezTo>
                  <a:cubicBezTo>
                    <a:pt x="49372" y="246857"/>
                    <a:pt x="58629" y="9257"/>
                    <a:pt x="58629" y="6171"/>
                  </a:cubicBezTo>
                  <a:cubicBezTo>
                    <a:pt x="58629" y="3086"/>
                    <a:pt x="61714" y="0"/>
                    <a:pt x="64800" y="0"/>
                  </a:cubicBezTo>
                  <a:cubicBezTo>
                    <a:pt x="67886" y="0"/>
                    <a:pt x="70972" y="3086"/>
                    <a:pt x="70972" y="6171"/>
                  </a:cubicBezTo>
                  <a:cubicBezTo>
                    <a:pt x="70972" y="15429"/>
                    <a:pt x="61714" y="246857"/>
                    <a:pt x="12343" y="364114"/>
                  </a:cubicBezTo>
                  <a:cubicBezTo>
                    <a:pt x="12343" y="367200"/>
                    <a:pt x="9257" y="370286"/>
                    <a:pt x="6172" y="370286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9" name="任意多边形: 形状 218">
              <a:extLst>
                <a:ext uri="{FF2B5EF4-FFF2-40B4-BE49-F238E27FC236}">
                  <a16:creationId xmlns:a16="http://schemas.microsoft.com/office/drawing/2014/main" id="{6601DB74-1F29-4455-8ED7-516471AC0A79}"/>
                </a:ext>
              </a:extLst>
            </p:cNvPr>
            <p:cNvSpPr/>
            <p:nvPr/>
          </p:nvSpPr>
          <p:spPr>
            <a:xfrm>
              <a:off x="5415301" y="4107267"/>
              <a:ext cx="158649" cy="361028"/>
            </a:xfrm>
            <a:custGeom>
              <a:avLst/>
              <a:gdLst>
                <a:gd name="connsiteX0" fmla="*/ 7450 w 158649"/>
                <a:gd name="connsiteY0" fmla="*/ 361028 h 361028"/>
                <a:gd name="connsiteX1" fmla="*/ 1278 w 158649"/>
                <a:gd name="connsiteY1" fmla="*/ 357943 h 361028"/>
                <a:gd name="connsiteX2" fmla="*/ 4364 w 158649"/>
                <a:gd name="connsiteY2" fmla="*/ 348686 h 361028"/>
                <a:gd name="connsiteX3" fmla="*/ 112364 w 158649"/>
                <a:gd name="connsiteY3" fmla="*/ 271543 h 361028"/>
                <a:gd name="connsiteX4" fmla="*/ 146307 w 158649"/>
                <a:gd name="connsiteY4" fmla="*/ 6171 h 361028"/>
                <a:gd name="connsiteX5" fmla="*/ 152478 w 158649"/>
                <a:gd name="connsiteY5" fmla="*/ 0 h 361028"/>
                <a:gd name="connsiteX6" fmla="*/ 158650 w 158649"/>
                <a:gd name="connsiteY6" fmla="*/ 6171 h 361028"/>
                <a:gd name="connsiteX7" fmla="*/ 124707 w 158649"/>
                <a:gd name="connsiteY7" fmla="*/ 277714 h 361028"/>
                <a:gd name="connsiteX8" fmla="*/ 13621 w 158649"/>
                <a:gd name="connsiteY8" fmla="*/ 357943 h 361028"/>
                <a:gd name="connsiteX9" fmla="*/ 7450 w 158649"/>
                <a:gd name="connsiteY9" fmla="*/ 361028 h 36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8649" h="361028">
                  <a:moveTo>
                    <a:pt x="7450" y="361028"/>
                  </a:moveTo>
                  <a:cubicBezTo>
                    <a:pt x="4364" y="361028"/>
                    <a:pt x="4364" y="361028"/>
                    <a:pt x="1278" y="357943"/>
                  </a:cubicBezTo>
                  <a:cubicBezTo>
                    <a:pt x="-1808" y="354857"/>
                    <a:pt x="1278" y="351771"/>
                    <a:pt x="4364" y="348686"/>
                  </a:cubicBezTo>
                  <a:cubicBezTo>
                    <a:pt x="44478" y="324000"/>
                    <a:pt x="103107" y="280800"/>
                    <a:pt x="112364" y="271543"/>
                  </a:cubicBezTo>
                  <a:cubicBezTo>
                    <a:pt x="121621" y="259200"/>
                    <a:pt x="137050" y="101829"/>
                    <a:pt x="146307" y="6171"/>
                  </a:cubicBezTo>
                  <a:cubicBezTo>
                    <a:pt x="146307" y="3086"/>
                    <a:pt x="149393" y="0"/>
                    <a:pt x="152478" y="0"/>
                  </a:cubicBezTo>
                  <a:cubicBezTo>
                    <a:pt x="155564" y="0"/>
                    <a:pt x="158650" y="3086"/>
                    <a:pt x="158650" y="6171"/>
                  </a:cubicBezTo>
                  <a:cubicBezTo>
                    <a:pt x="155564" y="49371"/>
                    <a:pt x="133964" y="262286"/>
                    <a:pt x="124707" y="277714"/>
                  </a:cubicBezTo>
                  <a:cubicBezTo>
                    <a:pt x="112364" y="293143"/>
                    <a:pt x="22878" y="351771"/>
                    <a:pt x="13621" y="357943"/>
                  </a:cubicBezTo>
                  <a:cubicBezTo>
                    <a:pt x="10535" y="361028"/>
                    <a:pt x="7450" y="361028"/>
                    <a:pt x="7450" y="361028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0" name="任意多边形: 形状 219">
              <a:extLst>
                <a:ext uri="{FF2B5EF4-FFF2-40B4-BE49-F238E27FC236}">
                  <a16:creationId xmlns:a16="http://schemas.microsoft.com/office/drawing/2014/main" id="{4AB57C27-225A-4894-A782-28274DEBBFF8}"/>
                </a:ext>
              </a:extLst>
            </p:cNvPr>
            <p:cNvSpPr/>
            <p:nvPr/>
          </p:nvSpPr>
          <p:spPr>
            <a:xfrm>
              <a:off x="4833379" y="2505782"/>
              <a:ext cx="1083912" cy="1585870"/>
            </a:xfrm>
            <a:custGeom>
              <a:avLst/>
              <a:gdLst>
                <a:gd name="connsiteX0" fmla="*/ 401143 w 1083912"/>
                <a:gd name="connsiteY0" fmla="*/ 0 h 1585870"/>
                <a:gd name="connsiteX1" fmla="*/ 694286 w 1083912"/>
                <a:gd name="connsiteY1" fmla="*/ 0 h 1585870"/>
                <a:gd name="connsiteX2" fmla="*/ 996686 w 1083912"/>
                <a:gd name="connsiteY2" fmla="*/ 132686 h 1585870"/>
                <a:gd name="connsiteX3" fmla="*/ 1083086 w 1083912"/>
                <a:gd name="connsiteY3" fmla="*/ 1555200 h 1585870"/>
                <a:gd name="connsiteX4" fmla="*/ 0 w 1083912"/>
                <a:gd name="connsiteY4" fmla="*/ 1530514 h 1585870"/>
                <a:gd name="connsiteX5" fmla="*/ 117257 w 1083912"/>
                <a:gd name="connsiteY5" fmla="*/ 104914 h 1585870"/>
                <a:gd name="connsiteX6" fmla="*/ 401143 w 1083912"/>
                <a:gd name="connsiteY6" fmla="*/ 0 h 158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3912" h="1585870">
                  <a:moveTo>
                    <a:pt x="401143" y="0"/>
                  </a:moveTo>
                  <a:cubicBezTo>
                    <a:pt x="401143" y="0"/>
                    <a:pt x="577029" y="55543"/>
                    <a:pt x="694286" y="0"/>
                  </a:cubicBezTo>
                  <a:cubicBezTo>
                    <a:pt x="694286" y="0"/>
                    <a:pt x="972000" y="98743"/>
                    <a:pt x="996686" y="132686"/>
                  </a:cubicBezTo>
                  <a:cubicBezTo>
                    <a:pt x="1021371" y="163543"/>
                    <a:pt x="1092343" y="1487314"/>
                    <a:pt x="1083086" y="1555200"/>
                  </a:cubicBezTo>
                  <a:cubicBezTo>
                    <a:pt x="1083086" y="1555200"/>
                    <a:pt x="586286" y="1638514"/>
                    <a:pt x="0" y="1530514"/>
                  </a:cubicBezTo>
                  <a:cubicBezTo>
                    <a:pt x="0" y="1169486"/>
                    <a:pt x="74057" y="135771"/>
                    <a:pt x="117257" y="104914"/>
                  </a:cubicBezTo>
                  <a:cubicBezTo>
                    <a:pt x="160457" y="70971"/>
                    <a:pt x="401143" y="0"/>
                    <a:pt x="401143" y="0"/>
                  </a:cubicBezTo>
                  <a:close/>
                </a:path>
              </a:pathLst>
            </a:custGeom>
            <a:solidFill>
              <a:srgbClr val="F6EBE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1" name="任意多边形: 形状 220">
              <a:extLst>
                <a:ext uri="{FF2B5EF4-FFF2-40B4-BE49-F238E27FC236}">
                  <a16:creationId xmlns:a16="http://schemas.microsoft.com/office/drawing/2014/main" id="{8291D904-BD3A-43C8-91EC-11607CF8394D}"/>
                </a:ext>
              </a:extLst>
            </p:cNvPr>
            <p:cNvSpPr/>
            <p:nvPr/>
          </p:nvSpPr>
          <p:spPr>
            <a:xfrm>
              <a:off x="4784008" y="2505782"/>
              <a:ext cx="526980" cy="1607657"/>
            </a:xfrm>
            <a:custGeom>
              <a:avLst/>
              <a:gdLst>
                <a:gd name="connsiteX0" fmla="*/ 450514 w 526980"/>
                <a:gd name="connsiteY0" fmla="*/ 0 h 1607657"/>
                <a:gd name="connsiteX1" fmla="*/ 129600 w 526980"/>
                <a:gd name="connsiteY1" fmla="*/ 95657 h 1607657"/>
                <a:gd name="connsiteX2" fmla="*/ 0 w 526980"/>
                <a:gd name="connsiteY2" fmla="*/ 1542857 h 1607657"/>
                <a:gd name="connsiteX3" fmla="*/ 499886 w 526980"/>
                <a:gd name="connsiteY3" fmla="*/ 1607657 h 1607657"/>
                <a:gd name="connsiteX4" fmla="*/ 450514 w 526980"/>
                <a:gd name="connsiteY4" fmla="*/ 0 h 160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6980" h="1607657">
                  <a:moveTo>
                    <a:pt x="450514" y="0"/>
                  </a:moveTo>
                  <a:cubicBezTo>
                    <a:pt x="450514" y="0"/>
                    <a:pt x="194400" y="80229"/>
                    <a:pt x="129600" y="95657"/>
                  </a:cubicBezTo>
                  <a:cubicBezTo>
                    <a:pt x="64800" y="111086"/>
                    <a:pt x="0" y="1542857"/>
                    <a:pt x="0" y="1542857"/>
                  </a:cubicBezTo>
                  <a:cubicBezTo>
                    <a:pt x="0" y="1542857"/>
                    <a:pt x="370286" y="1601486"/>
                    <a:pt x="499886" y="1607657"/>
                  </a:cubicBezTo>
                  <a:cubicBezTo>
                    <a:pt x="499886" y="1607657"/>
                    <a:pt x="586286" y="462857"/>
                    <a:pt x="450514" y="0"/>
                  </a:cubicBezTo>
                  <a:close/>
                </a:path>
              </a:pathLst>
            </a:custGeom>
            <a:solidFill>
              <a:srgbClr val="D16156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2" name="任意多边形: 形状 221">
              <a:extLst>
                <a:ext uri="{FF2B5EF4-FFF2-40B4-BE49-F238E27FC236}">
                  <a16:creationId xmlns:a16="http://schemas.microsoft.com/office/drawing/2014/main" id="{49538473-E05B-4E57-9EA0-B7BCD58066E3}"/>
                </a:ext>
              </a:extLst>
            </p:cNvPr>
            <p:cNvSpPr/>
            <p:nvPr/>
          </p:nvSpPr>
          <p:spPr>
            <a:xfrm>
              <a:off x="4753151" y="5304525"/>
              <a:ext cx="155563" cy="64799"/>
            </a:xfrm>
            <a:custGeom>
              <a:avLst/>
              <a:gdLst>
                <a:gd name="connsiteX0" fmla="*/ 46286 w 155563"/>
                <a:gd name="connsiteY0" fmla="*/ 64800 h 64799"/>
                <a:gd name="connsiteX1" fmla="*/ 43200 w 155563"/>
                <a:gd name="connsiteY1" fmla="*/ 61714 h 64799"/>
                <a:gd name="connsiteX2" fmla="*/ 0 w 155563"/>
                <a:gd name="connsiteY2" fmla="*/ 0 h 64799"/>
                <a:gd name="connsiteX3" fmla="*/ 151200 w 155563"/>
                <a:gd name="connsiteY3" fmla="*/ 27771 h 64799"/>
                <a:gd name="connsiteX4" fmla="*/ 154286 w 155563"/>
                <a:gd name="connsiteY4" fmla="*/ 33943 h 64799"/>
                <a:gd name="connsiteX5" fmla="*/ 148114 w 155563"/>
                <a:gd name="connsiteY5" fmla="*/ 37028 h 64799"/>
                <a:gd name="connsiteX6" fmla="*/ 21600 w 155563"/>
                <a:gd name="connsiteY6" fmla="*/ 15429 h 64799"/>
                <a:gd name="connsiteX7" fmla="*/ 49372 w 155563"/>
                <a:gd name="connsiteY7" fmla="*/ 55543 h 64799"/>
                <a:gd name="connsiteX8" fmla="*/ 49372 w 155563"/>
                <a:gd name="connsiteY8" fmla="*/ 64800 h 64799"/>
                <a:gd name="connsiteX9" fmla="*/ 46286 w 155563"/>
                <a:gd name="connsiteY9" fmla="*/ 64800 h 6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5563" h="64799">
                  <a:moveTo>
                    <a:pt x="46286" y="64800"/>
                  </a:moveTo>
                  <a:cubicBezTo>
                    <a:pt x="43200" y="64800"/>
                    <a:pt x="43200" y="64800"/>
                    <a:pt x="43200" y="61714"/>
                  </a:cubicBezTo>
                  <a:lnTo>
                    <a:pt x="0" y="0"/>
                  </a:lnTo>
                  <a:lnTo>
                    <a:pt x="151200" y="27771"/>
                  </a:lnTo>
                  <a:cubicBezTo>
                    <a:pt x="154286" y="27771"/>
                    <a:pt x="157372" y="30857"/>
                    <a:pt x="154286" y="33943"/>
                  </a:cubicBezTo>
                  <a:cubicBezTo>
                    <a:pt x="154286" y="37028"/>
                    <a:pt x="151200" y="40114"/>
                    <a:pt x="148114" y="37028"/>
                  </a:cubicBezTo>
                  <a:lnTo>
                    <a:pt x="21600" y="15429"/>
                  </a:lnTo>
                  <a:lnTo>
                    <a:pt x="49372" y="55543"/>
                  </a:lnTo>
                  <a:cubicBezTo>
                    <a:pt x="52457" y="58628"/>
                    <a:pt x="49372" y="61714"/>
                    <a:pt x="49372" y="64800"/>
                  </a:cubicBezTo>
                  <a:cubicBezTo>
                    <a:pt x="49372" y="64800"/>
                    <a:pt x="49372" y="64800"/>
                    <a:pt x="46286" y="64800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3" name="任意多边形: 形状 222">
              <a:extLst>
                <a:ext uri="{FF2B5EF4-FFF2-40B4-BE49-F238E27FC236}">
                  <a16:creationId xmlns:a16="http://schemas.microsoft.com/office/drawing/2014/main" id="{94D4D02F-F4B7-4288-920A-FA23C8AF977F}"/>
                </a:ext>
              </a:extLst>
            </p:cNvPr>
            <p:cNvSpPr/>
            <p:nvPr/>
          </p:nvSpPr>
          <p:spPr>
            <a:xfrm>
              <a:off x="5527665" y="2505782"/>
              <a:ext cx="441257" cy="1620438"/>
            </a:xfrm>
            <a:custGeom>
              <a:avLst/>
              <a:gdLst>
                <a:gd name="connsiteX0" fmla="*/ 0 w 441257"/>
                <a:gd name="connsiteY0" fmla="*/ 0 h 1620438"/>
                <a:gd name="connsiteX1" fmla="*/ 160457 w 441257"/>
                <a:gd name="connsiteY1" fmla="*/ 1620000 h 1620438"/>
                <a:gd name="connsiteX2" fmla="*/ 441257 w 441257"/>
                <a:gd name="connsiteY2" fmla="*/ 1592229 h 1620438"/>
                <a:gd name="connsiteX3" fmla="*/ 302400 w 441257"/>
                <a:gd name="connsiteY3" fmla="*/ 132686 h 1620438"/>
                <a:gd name="connsiteX4" fmla="*/ 0 w 441257"/>
                <a:gd name="connsiteY4" fmla="*/ 0 h 1620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1257" h="1620438">
                  <a:moveTo>
                    <a:pt x="0" y="0"/>
                  </a:moveTo>
                  <a:cubicBezTo>
                    <a:pt x="0" y="0"/>
                    <a:pt x="206743" y="789943"/>
                    <a:pt x="160457" y="1620000"/>
                  </a:cubicBezTo>
                  <a:cubicBezTo>
                    <a:pt x="160457" y="1620000"/>
                    <a:pt x="361028" y="1626172"/>
                    <a:pt x="441257" y="1592229"/>
                  </a:cubicBezTo>
                  <a:cubicBezTo>
                    <a:pt x="441257" y="1592229"/>
                    <a:pt x="348686" y="185143"/>
                    <a:pt x="302400" y="132686"/>
                  </a:cubicBezTo>
                  <a:cubicBezTo>
                    <a:pt x="256114" y="7714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16156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4" name="任意多边形: 形状 223">
              <a:extLst>
                <a:ext uri="{FF2B5EF4-FFF2-40B4-BE49-F238E27FC236}">
                  <a16:creationId xmlns:a16="http://schemas.microsoft.com/office/drawing/2014/main" id="{927BBDAD-92AB-4E99-B5AC-77A77EF3F1C1}"/>
                </a:ext>
              </a:extLst>
            </p:cNvPr>
            <p:cNvSpPr/>
            <p:nvPr/>
          </p:nvSpPr>
          <p:spPr>
            <a:xfrm>
              <a:off x="5823894" y="2632296"/>
              <a:ext cx="124706" cy="1095428"/>
            </a:xfrm>
            <a:custGeom>
              <a:avLst/>
              <a:gdLst>
                <a:gd name="connsiteX0" fmla="*/ 120343 w 124706"/>
                <a:gd name="connsiteY0" fmla="*/ 1095429 h 1095428"/>
                <a:gd name="connsiteX1" fmla="*/ 114171 w 124706"/>
                <a:gd name="connsiteY1" fmla="*/ 1089257 h 1095428"/>
                <a:gd name="connsiteX2" fmla="*/ 74057 w 124706"/>
                <a:gd name="connsiteY2" fmla="*/ 601714 h 1095428"/>
                <a:gd name="connsiteX3" fmla="*/ 0 w 124706"/>
                <a:gd name="connsiteY3" fmla="*/ 6171 h 1095428"/>
                <a:gd name="connsiteX4" fmla="*/ 3086 w 124706"/>
                <a:gd name="connsiteY4" fmla="*/ 0 h 1095428"/>
                <a:gd name="connsiteX5" fmla="*/ 9257 w 124706"/>
                <a:gd name="connsiteY5" fmla="*/ 3086 h 1095428"/>
                <a:gd name="connsiteX6" fmla="*/ 83314 w 124706"/>
                <a:gd name="connsiteY6" fmla="*/ 598629 h 1095428"/>
                <a:gd name="connsiteX7" fmla="*/ 123429 w 124706"/>
                <a:gd name="connsiteY7" fmla="*/ 1086172 h 1095428"/>
                <a:gd name="connsiteX8" fmla="*/ 120343 w 124706"/>
                <a:gd name="connsiteY8" fmla="*/ 1095429 h 1095428"/>
                <a:gd name="connsiteX9" fmla="*/ 120343 w 124706"/>
                <a:gd name="connsiteY9" fmla="*/ 1095429 h 109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706" h="1095428">
                  <a:moveTo>
                    <a:pt x="120343" y="1095429"/>
                  </a:moveTo>
                  <a:cubicBezTo>
                    <a:pt x="117257" y="1095429"/>
                    <a:pt x="114171" y="1092343"/>
                    <a:pt x="114171" y="1089257"/>
                  </a:cubicBezTo>
                  <a:cubicBezTo>
                    <a:pt x="114171" y="1086172"/>
                    <a:pt x="83314" y="709714"/>
                    <a:pt x="74057" y="601714"/>
                  </a:cubicBezTo>
                  <a:cubicBezTo>
                    <a:pt x="74057" y="595543"/>
                    <a:pt x="6171" y="46286"/>
                    <a:pt x="0" y="6171"/>
                  </a:cubicBezTo>
                  <a:cubicBezTo>
                    <a:pt x="0" y="3086"/>
                    <a:pt x="0" y="0"/>
                    <a:pt x="3086" y="0"/>
                  </a:cubicBezTo>
                  <a:cubicBezTo>
                    <a:pt x="6171" y="0"/>
                    <a:pt x="9257" y="0"/>
                    <a:pt x="9257" y="3086"/>
                  </a:cubicBezTo>
                  <a:cubicBezTo>
                    <a:pt x="18514" y="43200"/>
                    <a:pt x="80229" y="577029"/>
                    <a:pt x="83314" y="598629"/>
                  </a:cubicBezTo>
                  <a:cubicBezTo>
                    <a:pt x="92571" y="706629"/>
                    <a:pt x="123429" y="1083086"/>
                    <a:pt x="123429" y="1086172"/>
                  </a:cubicBezTo>
                  <a:cubicBezTo>
                    <a:pt x="126514" y="1092343"/>
                    <a:pt x="123429" y="1095429"/>
                    <a:pt x="120343" y="1095429"/>
                  </a:cubicBezTo>
                  <a:cubicBezTo>
                    <a:pt x="120343" y="1095429"/>
                    <a:pt x="120343" y="1095429"/>
                    <a:pt x="120343" y="1095429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5" name="任意多边形: 形状 224">
              <a:extLst>
                <a:ext uri="{FF2B5EF4-FFF2-40B4-BE49-F238E27FC236}">
                  <a16:creationId xmlns:a16="http://schemas.microsoft.com/office/drawing/2014/main" id="{8C45BE70-E08A-47C2-AF0F-06265AED132E}"/>
                </a:ext>
              </a:extLst>
            </p:cNvPr>
            <p:cNvSpPr/>
            <p:nvPr/>
          </p:nvSpPr>
          <p:spPr>
            <a:xfrm>
              <a:off x="5240694" y="2394696"/>
              <a:ext cx="246857" cy="61714"/>
            </a:xfrm>
            <a:custGeom>
              <a:avLst/>
              <a:gdLst>
                <a:gd name="connsiteX0" fmla="*/ 104914 w 246857"/>
                <a:gd name="connsiteY0" fmla="*/ 61714 h 61714"/>
                <a:gd name="connsiteX1" fmla="*/ 80229 w 246857"/>
                <a:gd name="connsiteY1" fmla="*/ 58629 h 61714"/>
                <a:gd name="connsiteX2" fmla="*/ 24686 w 246857"/>
                <a:gd name="connsiteY2" fmla="*/ 37029 h 61714"/>
                <a:gd name="connsiteX3" fmla="*/ 3086 w 246857"/>
                <a:gd name="connsiteY3" fmla="*/ 24686 h 61714"/>
                <a:gd name="connsiteX4" fmla="*/ 0 w 246857"/>
                <a:gd name="connsiteY4" fmla="*/ 15429 h 61714"/>
                <a:gd name="connsiteX5" fmla="*/ 9257 w 246857"/>
                <a:gd name="connsiteY5" fmla="*/ 12343 h 61714"/>
                <a:gd name="connsiteX6" fmla="*/ 18514 w 246857"/>
                <a:gd name="connsiteY6" fmla="*/ 18514 h 61714"/>
                <a:gd name="connsiteX7" fmla="*/ 24686 w 246857"/>
                <a:gd name="connsiteY7" fmla="*/ 18514 h 61714"/>
                <a:gd name="connsiteX8" fmla="*/ 33943 w 246857"/>
                <a:gd name="connsiteY8" fmla="*/ 24686 h 61714"/>
                <a:gd name="connsiteX9" fmla="*/ 83314 w 246857"/>
                <a:gd name="connsiteY9" fmla="*/ 46286 h 61714"/>
                <a:gd name="connsiteX10" fmla="*/ 95657 w 246857"/>
                <a:gd name="connsiteY10" fmla="*/ 46286 h 61714"/>
                <a:gd name="connsiteX11" fmla="*/ 188229 w 246857"/>
                <a:gd name="connsiteY11" fmla="*/ 21600 h 61714"/>
                <a:gd name="connsiteX12" fmla="*/ 237600 w 246857"/>
                <a:gd name="connsiteY12" fmla="*/ 0 h 61714"/>
                <a:gd name="connsiteX13" fmla="*/ 246857 w 246857"/>
                <a:gd name="connsiteY13" fmla="*/ 3086 h 61714"/>
                <a:gd name="connsiteX14" fmla="*/ 243771 w 246857"/>
                <a:gd name="connsiteY14" fmla="*/ 12343 h 61714"/>
                <a:gd name="connsiteX15" fmla="*/ 191314 w 246857"/>
                <a:gd name="connsiteY15" fmla="*/ 37029 h 61714"/>
                <a:gd name="connsiteX16" fmla="*/ 117257 w 246857"/>
                <a:gd name="connsiteY16" fmla="*/ 61714 h 61714"/>
                <a:gd name="connsiteX17" fmla="*/ 104914 w 246857"/>
                <a:gd name="connsiteY17" fmla="*/ 61714 h 61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6857" h="61714">
                  <a:moveTo>
                    <a:pt x="104914" y="61714"/>
                  </a:moveTo>
                  <a:cubicBezTo>
                    <a:pt x="95657" y="61714"/>
                    <a:pt x="89486" y="61714"/>
                    <a:pt x="80229" y="58629"/>
                  </a:cubicBezTo>
                  <a:cubicBezTo>
                    <a:pt x="55543" y="55543"/>
                    <a:pt x="37028" y="43200"/>
                    <a:pt x="24686" y="37029"/>
                  </a:cubicBezTo>
                  <a:cubicBezTo>
                    <a:pt x="12343" y="30857"/>
                    <a:pt x="3086" y="24686"/>
                    <a:pt x="3086" y="24686"/>
                  </a:cubicBezTo>
                  <a:cubicBezTo>
                    <a:pt x="0" y="21600"/>
                    <a:pt x="0" y="18514"/>
                    <a:pt x="0" y="15429"/>
                  </a:cubicBezTo>
                  <a:cubicBezTo>
                    <a:pt x="3086" y="12343"/>
                    <a:pt x="6171" y="12343"/>
                    <a:pt x="9257" y="12343"/>
                  </a:cubicBezTo>
                  <a:cubicBezTo>
                    <a:pt x="9257" y="12343"/>
                    <a:pt x="12343" y="15429"/>
                    <a:pt x="18514" y="18514"/>
                  </a:cubicBezTo>
                  <a:cubicBezTo>
                    <a:pt x="21600" y="18514"/>
                    <a:pt x="21600" y="18514"/>
                    <a:pt x="24686" y="18514"/>
                  </a:cubicBezTo>
                  <a:cubicBezTo>
                    <a:pt x="24686" y="18514"/>
                    <a:pt x="27771" y="21600"/>
                    <a:pt x="33943" y="24686"/>
                  </a:cubicBezTo>
                  <a:cubicBezTo>
                    <a:pt x="46286" y="30857"/>
                    <a:pt x="64800" y="40114"/>
                    <a:pt x="83314" y="46286"/>
                  </a:cubicBezTo>
                  <a:cubicBezTo>
                    <a:pt x="86400" y="46286"/>
                    <a:pt x="92571" y="46286"/>
                    <a:pt x="95657" y="46286"/>
                  </a:cubicBezTo>
                  <a:cubicBezTo>
                    <a:pt x="120343" y="46286"/>
                    <a:pt x="160457" y="33943"/>
                    <a:pt x="188229" y="21600"/>
                  </a:cubicBezTo>
                  <a:cubicBezTo>
                    <a:pt x="216000" y="9257"/>
                    <a:pt x="237600" y="0"/>
                    <a:pt x="237600" y="0"/>
                  </a:cubicBezTo>
                  <a:cubicBezTo>
                    <a:pt x="240686" y="0"/>
                    <a:pt x="243771" y="0"/>
                    <a:pt x="246857" y="3086"/>
                  </a:cubicBezTo>
                  <a:cubicBezTo>
                    <a:pt x="246857" y="6171"/>
                    <a:pt x="246857" y="9257"/>
                    <a:pt x="243771" y="12343"/>
                  </a:cubicBezTo>
                  <a:cubicBezTo>
                    <a:pt x="240686" y="12343"/>
                    <a:pt x="219086" y="24686"/>
                    <a:pt x="191314" y="37029"/>
                  </a:cubicBezTo>
                  <a:cubicBezTo>
                    <a:pt x="166629" y="46286"/>
                    <a:pt x="135771" y="58629"/>
                    <a:pt x="117257" y="61714"/>
                  </a:cubicBezTo>
                  <a:cubicBezTo>
                    <a:pt x="111086" y="61714"/>
                    <a:pt x="108000" y="61714"/>
                    <a:pt x="104914" y="61714"/>
                  </a:cubicBezTo>
                  <a:close/>
                </a:path>
              </a:pathLst>
            </a:custGeom>
            <a:solidFill>
              <a:srgbClr val="E87952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6" name="任意多边形: 形状 225">
              <a:extLst>
                <a:ext uri="{FF2B5EF4-FFF2-40B4-BE49-F238E27FC236}">
                  <a16:creationId xmlns:a16="http://schemas.microsoft.com/office/drawing/2014/main" id="{CBADBD54-14DB-4C0A-AB42-CC4597F567B3}"/>
                </a:ext>
              </a:extLst>
            </p:cNvPr>
            <p:cNvSpPr/>
            <p:nvPr/>
          </p:nvSpPr>
          <p:spPr>
            <a:xfrm>
              <a:off x="4854979" y="3740067"/>
              <a:ext cx="240685" cy="216000"/>
            </a:xfrm>
            <a:custGeom>
              <a:avLst/>
              <a:gdLst>
                <a:gd name="connsiteX0" fmla="*/ 43200 w 240685"/>
                <a:gd name="connsiteY0" fmla="*/ 216000 h 216000"/>
                <a:gd name="connsiteX1" fmla="*/ 40114 w 240685"/>
                <a:gd name="connsiteY1" fmla="*/ 212914 h 216000"/>
                <a:gd name="connsiteX2" fmla="*/ 0 w 240685"/>
                <a:gd name="connsiteY2" fmla="*/ 166629 h 216000"/>
                <a:gd name="connsiteX3" fmla="*/ 0 w 240685"/>
                <a:gd name="connsiteY3" fmla="*/ 163543 h 216000"/>
                <a:gd name="connsiteX4" fmla="*/ 3086 w 240685"/>
                <a:gd name="connsiteY4" fmla="*/ 160457 h 216000"/>
                <a:gd name="connsiteX5" fmla="*/ 166629 w 240685"/>
                <a:gd name="connsiteY5" fmla="*/ 3086 h 216000"/>
                <a:gd name="connsiteX6" fmla="*/ 169714 w 240685"/>
                <a:gd name="connsiteY6" fmla="*/ 0 h 216000"/>
                <a:gd name="connsiteX7" fmla="*/ 172800 w 240685"/>
                <a:gd name="connsiteY7" fmla="*/ 0 h 216000"/>
                <a:gd name="connsiteX8" fmla="*/ 237600 w 240685"/>
                <a:gd name="connsiteY8" fmla="*/ 30857 h 216000"/>
                <a:gd name="connsiteX9" fmla="*/ 240686 w 240685"/>
                <a:gd name="connsiteY9" fmla="*/ 33943 h 216000"/>
                <a:gd name="connsiteX10" fmla="*/ 240686 w 240685"/>
                <a:gd name="connsiteY10" fmla="*/ 37029 h 216000"/>
                <a:gd name="connsiteX11" fmla="*/ 43200 w 240685"/>
                <a:gd name="connsiteY11" fmla="*/ 216000 h 216000"/>
                <a:gd name="connsiteX12" fmla="*/ 43200 w 240685"/>
                <a:gd name="connsiteY12" fmla="*/ 216000 h 216000"/>
                <a:gd name="connsiteX13" fmla="*/ 12343 w 240685"/>
                <a:gd name="connsiteY13" fmla="*/ 163543 h 216000"/>
                <a:gd name="connsiteX14" fmla="*/ 43200 w 240685"/>
                <a:gd name="connsiteY14" fmla="*/ 203657 h 216000"/>
                <a:gd name="connsiteX15" fmla="*/ 222171 w 240685"/>
                <a:gd name="connsiteY15" fmla="*/ 33943 h 216000"/>
                <a:gd name="connsiteX16" fmla="*/ 169714 w 240685"/>
                <a:gd name="connsiteY16" fmla="*/ 9257 h 216000"/>
                <a:gd name="connsiteX17" fmla="*/ 12343 w 240685"/>
                <a:gd name="connsiteY17" fmla="*/ 163543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685" h="216000">
                  <a:moveTo>
                    <a:pt x="43200" y="216000"/>
                  </a:moveTo>
                  <a:cubicBezTo>
                    <a:pt x="40114" y="216000"/>
                    <a:pt x="40114" y="216000"/>
                    <a:pt x="40114" y="212914"/>
                  </a:cubicBezTo>
                  <a:lnTo>
                    <a:pt x="0" y="166629"/>
                  </a:lnTo>
                  <a:cubicBezTo>
                    <a:pt x="0" y="166629"/>
                    <a:pt x="0" y="163543"/>
                    <a:pt x="0" y="163543"/>
                  </a:cubicBezTo>
                  <a:cubicBezTo>
                    <a:pt x="0" y="160457"/>
                    <a:pt x="0" y="160457"/>
                    <a:pt x="3086" y="160457"/>
                  </a:cubicBezTo>
                  <a:cubicBezTo>
                    <a:pt x="3086" y="160457"/>
                    <a:pt x="132686" y="77143"/>
                    <a:pt x="166629" y="3086"/>
                  </a:cubicBezTo>
                  <a:cubicBezTo>
                    <a:pt x="166629" y="3086"/>
                    <a:pt x="169714" y="0"/>
                    <a:pt x="169714" y="0"/>
                  </a:cubicBezTo>
                  <a:cubicBezTo>
                    <a:pt x="169714" y="0"/>
                    <a:pt x="172800" y="0"/>
                    <a:pt x="172800" y="0"/>
                  </a:cubicBezTo>
                  <a:lnTo>
                    <a:pt x="237600" y="30857"/>
                  </a:lnTo>
                  <a:cubicBezTo>
                    <a:pt x="237600" y="30857"/>
                    <a:pt x="240686" y="33943"/>
                    <a:pt x="240686" y="33943"/>
                  </a:cubicBezTo>
                  <a:cubicBezTo>
                    <a:pt x="240686" y="33943"/>
                    <a:pt x="240686" y="37029"/>
                    <a:pt x="240686" y="37029"/>
                  </a:cubicBezTo>
                  <a:cubicBezTo>
                    <a:pt x="237600" y="37029"/>
                    <a:pt x="172800" y="154286"/>
                    <a:pt x="43200" y="216000"/>
                  </a:cubicBezTo>
                  <a:cubicBezTo>
                    <a:pt x="43200" y="216000"/>
                    <a:pt x="43200" y="216000"/>
                    <a:pt x="43200" y="216000"/>
                  </a:cubicBezTo>
                  <a:close/>
                  <a:moveTo>
                    <a:pt x="12343" y="163543"/>
                  </a:moveTo>
                  <a:lnTo>
                    <a:pt x="43200" y="203657"/>
                  </a:lnTo>
                  <a:cubicBezTo>
                    <a:pt x="148114" y="151200"/>
                    <a:pt x="209829" y="58629"/>
                    <a:pt x="222171" y="33943"/>
                  </a:cubicBezTo>
                  <a:lnTo>
                    <a:pt x="169714" y="9257"/>
                  </a:lnTo>
                  <a:cubicBezTo>
                    <a:pt x="138857" y="77143"/>
                    <a:pt x="37028" y="148114"/>
                    <a:pt x="12343" y="163543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7" name="任意多边形: 形状 226">
              <a:extLst>
                <a:ext uri="{FF2B5EF4-FFF2-40B4-BE49-F238E27FC236}">
                  <a16:creationId xmlns:a16="http://schemas.microsoft.com/office/drawing/2014/main" id="{7E0558B8-6A66-469A-B0DF-D2CBD59743C4}"/>
                </a:ext>
              </a:extLst>
            </p:cNvPr>
            <p:cNvSpPr/>
            <p:nvPr/>
          </p:nvSpPr>
          <p:spPr>
            <a:xfrm>
              <a:off x="5811551" y="3715382"/>
              <a:ext cx="149392" cy="209828"/>
            </a:xfrm>
            <a:custGeom>
              <a:avLst/>
              <a:gdLst>
                <a:gd name="connsiteX0" fmla="*/ 145028 w 149392"/>
                <a:gd name="connsiteY0" fmla="*/ 209829 h 209828"/>
                <a:gd name="connsiteX1" fmla="*/ 145028 w 149392"/>
                <a:gd name="connsiteY1" fmla="*/ 209829 h 209828"/>
                <a:gd name="connsiteX2" fmla="*/ 0 w 149392"/>
                <a:gd name="connsiteY2" fmla="*/ 80229 h 209828"/>
                <a:gd name="connsiteX3" fmla="*/ 0 w 149392"/>
                <a:gd name="connsiteY3" fmla="*/ 77143 h 209828"/>
                <a:gd name="connsiteX4" fmla="*/ 12343 w 149392"/>
                <a:gd name="connsiteY4" fmla="*/ 3086 h 209828"/>
                <a:gd name="connsiteX5" fmla="*/ 15429 w 149392"/>
                <a:gd name="connsiteY5" fmla="*/ 0 h 209828"/>
                <a:gd name="connsiteX6" fmla="*/ 21600 w 149392"/>
                <a:gd name="connsiteY6" fmla="*/ 3086 h 209828"/>
                <a:gd name="connsiteX7" fmla="*/ 132686 w 149392"/>
                <a:gd name="connsiteY7" fmla="*/ 108000 h 209828"/>
                <a:gd name="connsiteX8" fmla="*/ 135771 w 149392"/>
                <a:gd name="connsiteY8" fmla="*/ 117257 h 209828"/>
                <a:gd name="connsiteX9" fmla="*/ 126514 w 149392"/>
                <a:gd name="connsiteY9" fmla="*/ 120343 h 209828"/>
                <a:gd name="connsiteX10" fmla="*/ 18514 w 149392"/>
                <a:gd name="connsiteY10" fmla="*/ 21600 h 209828"/>
                <a:gd name="connsiteX11" fmla="*/ 9257 w 149392"/>
                <a:gd name="connsiteY11" fmla="*/ 80229 h 209828"/>
                <a:gd name="connsiteX12" fmla="*/ 141943 w 149392"/>
                <a:gd name="connsiteY12" fmla="*/ 200572 h 209828"/>
                <a:gd name="connsiteX13" fmla="*/ 148114 w 149392"/>
                <a:gd name="connsiteY13" fmla="*/ 206743 h 209828"/>
                <a:gd name="connsiteX14" fmla="*/ 145028 w 149392"/>
                <a:gd name="connsiteY14" fmla="*/ 209829 h 209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9392" h="209828">
                  <a:moveTo>
                    <a:pt x="145028" y="209829"/>
                  </a:moveTo>
                  <a:cubicBezTo>
                    <a:pt x="145028" y="209829"/>
                    <a:pt x="145028" y="209829"/>
                    <a:pt x="145028" y="209829"/>
                  </a:cubicBezTo>
                  <a:cubicBezTo>
                    <a:pt x="52457" y="200572"/>
                    <a:pt x="3086" y="86400"/>
                    <a:pt x="0" y="80229"/>
                  </a:cubicBezTo>
                  <a:cubicBezTo>
                    <a:pt x="0" y="80229"/>
                    <a:pt x="0" y="77143"/>
                    <a:pt x="0" y="77143"/>
                  </a:cubicBezTo>
                  <a:lnTo>
                    <a:pt x="12343" y="3086"/>
                  </a:lnTo>
                  <a:cubicBezTo>
                    <a:pt x="12343" y="0"/>
                    <a:pt x="15429" y="0"/>
                    <a:pt x="15429" y="0"/>
                  </a:cubicBezTo>
                  <a:cubicBezTo>
                    <a:pt x="18514" y="0"/>
                    <a:pt x="18514" y="0"/>
                    <a:pt x="21600" y="3086"/>
                  </a:cubicBezTo>
                  <a:cubicBezTo>
                    <a:pt x="64800" y="61714"/>
                    <a:pt x="132686" y="108000"/>
                    <a:pt x="132686" y="108000"/>
                  </a:cubicBezTo>
                  <a:cubicBezTo>
                    <a:pt x="135771" y="111086"/>
                    <a:pt x="135771" y="114171"/>
                    <a:pt x="135771" y="117257"/>
                  </a:cubicBezTo>
                  <a:cubicBezTo>
                    <a:pt x="132686" y="120343"/>
                    <a:pt x="129600" y="120343"/>
                    <a:pt x="126514" y="120343"/>
                  </a:cubicBezTo>
                  <a:cubicBezTo>
                    <a:pt x="123429" y="117257"/>
                    <a:pt x="61714" y="77143"/>
                    <a:pt x="18514" y="21600"/>
                  </a:cubicBezTo>
                  <a:lnTo>
                    <a:pt x="9257" y="80229"/>
                  </a:lnTo>
                  <a:cubicBezTo>
                    <a:pt x="15429" y="92572"/>
                    <a:pt x="61714" y="194400"/>
                    <a:pt x="141943" y="200572"/>
                  </a:cubicBezTo>
                  <a:cubicBezTo>
                    <a:pt x="145028" y="200572"/>
                    <a:pt x="148114" y="203657"/>
                    <a:pt x="148114" y="206743"/>
                  </a:cubicBezTo>
                  <a:cubicBezTo>
                    <a:pt x="151200" y="206743"/>
                    <a:pt x="148114" y="209829"/>
                    <a:pt x="145028" y="209829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28" name="图形 1">
              <a:extLst>
                <a:ext uri="{FF2B5EF4-FFF2-40B4-BE49-F238E27FC236}">
                  <a16:creationId xmlns:a16="http://schemas.microsoft.com/office/drawing/2014/main" id="{642B4E27-4193-4C43-9A4D-E25F56DEE238}"/>
                </a:ext>
              </a:extLst>
            </p:cNvPr>
            <p:cNvGrpSpPr/>
            <p:nvPr/>
          </p:nvGrpSpPr>
          <p:grpSpPr>
            <a:xfrm>
              <a:off x="3815094" y="6261096"/>
              <a:ext cx="386485" cy="393163"/>
              <a:chOff x="3815094" y="6261096"/>
              <a:chExt cx="386485" cy="393163"/>
            </a:xfrm>
          </p:grpSpPr>
          <p:grpSp>
            <p:nvGrpSpPr>
              <p:cNvPr id="229" name="图形 1">
                <a:extLst>
                  <a:ext uri="{FF2B5EF4-FFF2-40B4-BE49-F238E27FC236}">
                    <a16:creationId xmlns:a16="http://schemas.microsoft.com/office/drawing/2014/main" id="{642B4E27-4193-4C43-9A4D-E25F56DEE238}"/>
                  </a:ext>
                </a:extLst>
              </p:cNvPr>
              <p:cNvGrpSpPr/>
              <p:nvPr/>
            </p:nvGrpSpPr>
            <p:grpSpPr>
              <a:xfrm>
                <a:off x="3815094" y="6261096"/>
                <a:ext cx="386485" cy="393163"/>
                <a:chOff x="3815094" y="6261096"/>
                <a:chExt cx="386485" cy="393163"/>
              </a:xfrm>
            </p:grpSpPr>
            <p:sp>
              <p:nvSpPr>
                <p:cNvPr id="230" name="任意多边形: 形状 229">
                  <a:extLst>
                    <a:ext uri="{FF2B5EF4-FFF2-40B4-BE49-F238E27FC236}">
                      <a16:creationId xmlns:a16="http://schemas.microsoft.com/office/drawing/2014/main" id="{DD71DFBE-A8F1-44E6-BC92-6EC7FD21C32D}"/>
                    </a:ext>
                  </a:extLst>
                </p:cNvPr>
                <p:cNvSpPr/>
                <p:nvPr/>
              </p:nvSpPr>
              <p:spPr>
                <a:xfrm>
                  <a:off x="3832618" y="6387610"/>
                  <a:ext cx="368961" cy="266649"/>
                </a:xfrm>
                <a:custGeom>
                  <a:avLst/>
                  <a:gdLst>
                    <a:gd name="connsiteX0" fmla="*/ 139848 w 368961"/>
                    <a:gd name="connsiteY0" fmla="*/ 0 h 266649"/>
                    <a:gd name="connsiteX1" fmla="*/ 260190 w 368961"/>
                    <a:gd name="connsiteY1" fmla="*/ 166629 h 266649"/>
                    <a:gd name="connsiteX2" fmla="*/ 41105 w 368961"/>
                    <a:gd name="connsiteY2" fmla="*/ 37029 h 266649"/>
                    <a:gd name="connsiteX3" fmla="*/ 19505 w 368961"/>
                    <a:gd name="connsiteY3" fmla="*/ 21600 h 266649"/>
                    <a:gd name="connsiteX4" fmla="*/ 990 w 368961"/>
                    <a:gd name="connsiteY4" fmla="*/ 98743 h 266649"/>
                    <a:gd name="connsiteX5" fmla="*/ 13333 w 368961"/>
                    <a:gd name="connsiteY5" fmla="*/ 222172 h 266649"/>
                    <a:gd name="connsiteX6" fmla="*/ 31848 w 368961"/>
                    <a:gd name="connsiteY6" fmla="*/ 240686 h 266649"/>
                    <a:gd name="connsiteX7" fmla="*/ 201562 w 368961"/>
                    <a:gd name="connsiteY7" fmla="*/ 262286 h 266649"/>
                    <a:gd name="connsiteX8" fmla="*/ 362019 w 368961"/>
                    <a:gd name="connsiteY8" fmla="*/ 265372 h 266649"/>
                    <a:gd name="connsiteX9" fmla="*/ 362019 w 368961"/>
                    <a:gd name="connsiteY9" fmla="*/ 219086 h 266649"/>
                    <a:gd name="connsiteX10" fmla="*/ 139848 w 368961"/>
                    <a:gd name="connsiteY10" fmla="*/ 0 h 2666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8961" h="266649">
                      <a:moveTo>
                        <a:pt x="139848" y="0"/>
                      </a:moveTo>
                      <a:cubicBezTo>
                        <a:pt x="139848" y="0"/>
                        <a:pt x="275619" y="157372"/>
                        <a:pt x="260190" y="166629"/>
                      </a:cubicBezTo>
                      <a:cubicBezTo>
                        <a:pt x="241676" y="175886"/>
                        <a:pt x="41105" y="37029"/>
                        <a:pt x="41105" y="37029"/>
                      </a:cubicBezTo>
                      <a:lnTo>
                        <a:pt x="19505" y="21600"/>
                      </a:lnTo>
                      <a:cubicBezTo>
                        <a:pt x="19505" y="21600"/>
                        <a:pt x="-5181" y="70972"/>
                        <a:pt x="990" y="98743"/>
                      </a:cubicBezTo>
                      <a:cubicBezTo>
                        <a:pt x="4076" y="120343"/>
                        <a:pt x="10248" y="188229"/>
                        <a:pt x="13333" y="222172"/>
                      </a:cubicBezTo>
                      <a:cubicBezTo>
                        <a:pt x="13333" y="231429"/>
                        <a:pt x="22590" y="240686"/>
                        <a:pt x="31848" y="240686"/>
                      </a:cubicBezTo>
                      <a:cubicBezTo>
                        <a:pt x="71962" y="243772"/>
                        <a:pt x="167619" y="256114"/>
                        <a:pt x="201562" y="262286"/>
                      </a:cubicBezTo>
                      <a:cubicBezTo>
                        <a:pt x="223162" y="265372"/>
                        <a:pt x="349676" y="268458"/>
                        <a:pt x="362019" y="265372"/>
                      </a:cubicBezTo>
                      <a:cubicBezTo>
                        <a:pt x="371276" y="265372"/>
                        <a:pt x="371276" y="225257"/>
                        <a:pt x="362019" y="219086"/>
                      </a:cubicBezTo>
                      <a:cubicBezTo>
                        <a:pt x="281790" y="172800"/>
                        <a:pt x="139848" y="0"/>
                        <a:pt x="139848" y="0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1" name="任意多边形: 形状 230">
                  <a:extLst>
                    <a:ext uri="{FF2B5EF4-FFF2-40B4-BE49-F238E27FC236}">
                      <a16:creationId xmlns:a16="http://schemas.microsoft.com/office/drawing/2014/main" id="{A91C864C-D131-4D66-91CE-6D19E2ED460D}"/>
                    </a:ext>
                  </a:extLst>
                </p:cNvPr>
                <p:cNvSpPr/>
                <p:nvPr/>
              </p:nvSpPr>
              <p:spPr>
                <a:xfrm>
                  <a:off x="3815094" y="6261096"/>
                  <a:ext cx="276865" cy="297991"/>
                </a:xfrm>
                <a:custGeom>
                  <a:avLst/>
                  <a:gdLst>
                    <a:gd name="connsiteX0" fmla="*/ 104914 w 276865"/>
                    <a:gd name="connsiteY0" fmla="*/ 0 h 297991"/>
                    <a:gd name="connsiteX1" fmla="*/ 154286 w 276865"/>
                    <a:gd name="connsiteY1" fmla="*/ 129600 h 297991"/>
                    <a:gd name="connsiteX2" fmla="*/ 274629 w 276865"/>
                    <a:gd name="connsiteY2" fmla="*/ 296228 h 297991"/>
                    <a:gd name="connsiteX3" fmla="*/ 37029 w 276865"/>
                    <a:gd name="connsiteY3" fmla="*/ 151200 h 297991"/>
                    <a:gd name="connsiteX4" fmla="*/ 0 w 276865"/>
                    <a:gd name="connsiteY4" fmla="*/ 0 h 297991"/>
                    <a:gd name="connsiteX5" fmla="*/ 104914 w 276865"/>
                    <a:gd name="connsiteY5" fmla="*/ 0 h 2979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6865" h="297991">
                      <a:moveTo>
                        <a:pt x="104914" y="0"/>
                      </a:moveTo>
                      <a:lnTo>
                        <a:pt x="154286" y="129600"/>
                      </a:lnTo>
                      <a:cubicBezTo>
                        <a:pt x="154286" y="129600"/>
                        <a:pt x="296229" y="280800"/>
                        <a:pt x="274629" y="296228"/>
                      </a:cubicBezTo>
                      <a:cubicBezTo>
                        <a:pt x="253029" y="314743"/>
                        <a:pt x="33943" y="182057"/>
                        <a:pt x="37029" y="151200"/>
                      </a:cubicBezTo>
                      <a:cubicBezTo>
                        <a:pt x="37029" y="101829"/>
                        <a:pt x="0" y="0"/>
                        <a:pt x="0" y="0"/>
                      </a:cubicBezTo>
                      <a:lnTo>
                        <a:pt x="104914" y="0"/>
                      </a:lnTo>
                      <a:close/>
                    </a:path>
                  </a:pathLst>
                </a:custGeom>
                <a:solidFill>
                  <a:srgbClr val="F5A398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32" name="任意多边形: 形状 231">
                <a:extLst>
                  <a:ext uri="{FF2B5EF4-FFF2-40B4-BE49-F238E27FC236}">
                    <a16:creationId xmlns:a16="http://schemas.microsoft.com/office/drawing/2014/main" id="{B748B6DE-AB9F-4DE4-AF31-B787BA5521BD}"/>
                  </a:ext>
                </a:extLst>
              </p:cNvPr>
              <p:cNvSpPr/>
              <p:nvPr/>
            </p:nvSpPr>
            <p:spPr>
              <a:xfrm>
                <a:off x="3840551" y="6514896"/>
                <a:ext cx="159685" cy="107228"/>
              </a:xfrm>
              <a:custGeom>
                <a:avLst/>
                <a:gdLst>
                  <a:gd name="connsiteX0" fmla="*/ 150429 w 159685"/>
                  <a:gd name="connsiteY0" fmla="*/ 107229 h 107228"/>
                  <a:gd name="connsiteX1" fmla="*/ 150429 w 159685"/>
                  <a:gd name="connsiteY1" fmla="*/ 107229 h 107228"/>
                  <a:gd name="connsiteX2" fmla="*/ 2314 w 159685"/>
                  <a:gd name="connsiteY2" fmla="*/ 11571 h 107228"/>
                  <a:gd name="connsiteX3" fmla="*/ 2314 w 159685"/>
                  <a:gd name="connsiteY3" fmla="*/ 2314 h 107228"/>
                  <a:gd name="connsiteX4" fmla="*/ 11571 w 159685"/>
                  <a:gd name="connsiteY4" fmla="*/ 2314 h 107228"/>
                  <a:gd name="connsiteX5" fmla="*/ 156600 w 159685"/>
                  <a:gd name="connsiteY5" fmla="*/ 94886 h 107228"/>
                  <a:gd name="connsiteX6" fmla="*/ 159686 w 159685"/>
                  <a:gd name="connsiteY6" fmla="*/ 101057 h 107228"/>
                  <a:gd name="connsiteX7" fmla="*/ 150429 w 159685"/>
                  <a:gd name="connsiteY7" fmla="*/ 107229 h 107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9685" h="107228">
                    <a:moveTo>
                      <a:pt x="150429" y="107229"/>
                    </a:moveTo>
                    <a:cubicBezTo>
                      <a:pt x="150429" y="107229"/>
                      <a:pt x="150429" y="107229"/>
                      <a:pt x="150429" y="107229"/>
                    </a:cubicBezTo>
                    <a:cubicBezTo>
                      <a:pt x="110314" y="88714"/>
                      <a:pt x="5400" y="14657"/>
                      <a:pt x="2314" y="11571"/>
                    </a:cubicBez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0" y="-771"/>
                      <a:pt x="8486" y="-771"/>
                      <a:pt x="11571" y="2314"/>
                    </a:cubicBezTo>
                    <a:cubicBezTo>
                      <a:pt x="11571" y="2314"/>
                      <a:pt x="119571" y="76371"/>
                      <a:pt x="156600" y="94886"/>
                    </a:cubicBezTo>
                    <a:cubicBezTo>
                      <a:pt x="159686" y="94886"/>
                      <a:pt x="159686" y="101057"/>
                      <a:pt x="159686" y="101057"/>
                    </a:cubicBezTo>
                    <a:cubicBezTo>
                      <a:pt x="153514" y="104143"/>
                      <a:pt x="153514" y="107229"/>
                      <a:pt x="150429" y="107229"/>
                    </a:cubicBezTo>
                    <a:close/>
                  </a:path>
                </a:pathLst>
              </a:custGeom>
              <a:solidFill>
                <a:srgbClr val="6C5D6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33" name="任意多边形: 形状 232">
              <a:extLst>
                <a:ext uri="{FF2B5EF4-FFF2-40B4-BE49-F238E27FC236}">
                  <a16:creationId xmlns:a16="http://schemas.microsoft.com/office/drawing/2014/main" id="{0187EEFA-01B9-423C-9540-3528C6C0C732}"/>
                </a:ext>
              </a:extLst>
            </p:cNvPr>
            <p:cNvSpPr/>
            <p:nvPr/>
          </p:nvSpPr>
          <p:spPr>
            <a:xfrm>
              <a:off x="3894769" y="2988290"/>
              <a:ext cx="860565" cy="757552"/>
            </a:xfrm>
            <a:custGeom>
              <a:avLst/>
              <a:gdLst>
                <a:gd name="connsiteX0" fmla="*/ 250497 w 860565"/>
                <a:gd name="connsiteY0" fmla="*/ 79091 h 757552"/>
                <a:gd name="connsiteX1" fmla="*/ 454154 w 860565"/>
                <a:gd name="connsiteY1" fmla="*/ 535777 h 757552"/>
                <a:gd name="connsiteX2" fmla="*/ 805925 w 860565"/>
                <a:gd name="connsiteY2" fmla="*/ 566634 h 757552"/>
                <a:gd name="connsiteX3" fmla="*/ 846040 w 860565"/>
                <a:gd name="connsiteY3" fmla="*/ 702406 h 757552"/>
                <a:gd name="connsiteX4" fmla="*/ 293697 w 860565"/>
                <a:gd name="connsiteY4" fmla="*/ 720920 h 757552"/>
                <a:gd name="connsiteX5" fmla="*/ 3639 w 860565"/>
                <a:gd name="connsiteY5" fmla="*/ 119206 h 757552"/>
                <a:gd name="connsiteX6" fmla="*/ 250497 w 860565"/>
                <a:gd name="connsiteY6" fmla="*/ 79091 h 757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0565" h="757552">
                  <a:moveTo>
                    <a:pt x="250497" y="79091"/>
                  </a:moveTo>
                  <a:cubicBezTo>
                    <a:pt x="284439" y="162406"/>
                    <a:pt x="423297" y="501834"/>
                    <a:pt x="454154" y="535777"/>
                  </a:cubicBezTo>
                  <a:cubicBezTo>
                    <a:pt x="497354" y="585149"/>
                    <a:pt x="805925" y="560463"/>
                    <a:pt x="805925" y="566634"/>
                  </a:cubicBezTo>
                  <a:cubicBezTo>
                    <a:pt x="802840" y="637606"/>
                    <a:pt x="895411" y="653034"/>
                    <a:pt x="846040" y="702406"/>
                  </a:cubicBezTo>
                  <a:cubicBezTo>
                    <a:pt x="839868" y="708577"/>
                    <a:pt x="500439" y="810406"/>
                    <a:pt x="293697" y="720920"/>
                  </a:cubicBezTo>
                  <a:cubicBezTo>
                    <a:pt x="207297" y="683891"/>
                    <a:pt x="65354" y="254977"/>
                    <a:pt x="3639" y="119206"/>
                  </a:cubicBezTo>
                  <a:cubicBezTo>
                    <a:pt x="-30303" y="38977"/>
                    <a:pt x="182611" y="-81366"/>
                    <a:pt x="250497" y="79091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34" name="图形 1">
              <a:extLst>
                <a:ext uri="{FF2B5EF4-FFF2-40B4-BE49-F238E27FC236}">
                  <a16:creationId xmlns:a16="http://schemas.microsoft.com/office/drawing/2014/main" id="{642B4E27-4193-4C43-9A4D-E25F56DEE238}"/>
                </a:ext>
              </a:extLst>
            </p:cNvPr>
            <p:cNvGrpSpPr/>
            <p:nvPr/>
          </p:nvGrpSpPr>
          <p:grpSpPr>
            <a:xfrm>
              <a:off x="2508679" y="5881553"/>
              <a:ext cx="365271" cy="508880"/>
              <a:chOff x="2508679" y="5881553"/>
              <a:chExt cx="365271" cy="508880"/>
            </a:xfrm>
          </p:grpSpPr>
          <p:sp>
            <p:nvSpPr>
              <p:cNvPr id="235" name="任意多边形: 形状 234">
                <a:extLst>
                  <a:ext uri="{FF2B5EF4-FFF2-40B4-BE49-F238E27FC236}">
                    <a16:creationId xmlns:a16="http://schemas.microsoft.com/office/drawing/2014/main" id="{9239C4AF-448D-4076-B04A-05FCD14BD4B8}"/>
                  </a:ext>
                </a:extLst>
              </p:cNvPr>
              <p:cNvSpPr/>
              <p:nvPr/>
            </p:nvSpPr>
            <p:spPr>
              <a:xfrm>
                <a:off x="2508679" y="5980044"/>
                <a:ext cx="266528" cy="410389"/>
              </a:xfrm>
              <a:custGeom>
                <a:avLst/>
                <a:gdLst>
                  <a:gd name="connsiteX0" fmla="*/ 266529 w 266528"/>
                  <a:gd name="connsiteY0" fmla="*/ 98995 h 410389"/>
                  <a:gd name="connsiteX1" fmla="*/ 161614 w 266528"/>
                  <a:gd name="connsiteY1" fmla="*/ 274881 h 410389"/>
                  <a:gd name="connsiteX2" fmla="*/ 192471 w 266528"/>
                  <a:gd name="connsiteY2" fmla="*/ 24938 h 410389"/>
                  <a:gd name="connsiteX3" fmla="*/ 198643 w 266528"/>
                  <a:gd name="connsiteY3" fmla="*/ 252 h 410389"/>
                  <a:gd name="connsiteX4" fmla="*/ 118414 w 266528"/>
                  <a:gd name="connsiteY4" fmla="*/ 12595 h 410389"/>
                  <a:gd name="connsiteX5" fmla="*/ 10414 w 266528"/>
                  <a:gd name="connsiteY5" fmla="*/ 71223 h 410389"/>
                  <a:gd name="connsiteX6" fmla="*/ 1157 w 266528"/>
                  <a:gd name="connsiteY6" fmla="*/ 95909 h 410389"/>
                  <a:gd name="connsiteX7" fmla="*/ 50529 w 266528"/>
                  <a:gd name="connsiteY7" fmla="*/ 259452 h 410389"/>
                  <a:gd name="connsiteX8" fmla="*/ 109157 w 266528"/>
                  <a:gd name="connsiteY8" fmla="*/ 407566 h 410389"/>
                  <a:gd name="connsiteX9" fmla="*/ 152357 w 266528"/>
                  <a:gd name="connsiteY9" fmla="*/ 389052 h 410389"/>
                  <a:gd name="connsiteX10" fmla="*/ 266529 w 266528"/>
                  <a:gd name="connsiteY10" fmla="*/ 98995 h 410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6528" h="410389">
                    <a:moveTo>
                      <a:pt x="266529" y="98995"/>
                    </a:moveTo>
                    <a:cubicBezTo>
                      <a:pt x="266529" y="98995"/>
                      <a:pt x="177043" y="287223"/>
                      <a:pt x="161614" y="274881"/>
                    </a:cubicBezTo>
                    <a:cubicBezTo>
                      <a:pt x="146186" y="262538"/>
                      <a:pt x="192471" y="24938"/>
                      <a:pt x="192471" y="24938"/>
                    </a:cubicBezTo>
                    <a:lnTo>
                      <a:pt x="198643" y="252"/>
                    </a:lnTo>
                    <a:cubicBezTo>
                      <a:pt x="198643" y="252"/>
                      <a:pt x="143100" y="-2834"/>
                      <a:pt x="118414" y="12595"/>
                    </a:cubicBezTo>
                    <a:cubicBezTo>
                      <a:pt x="99900" y="24938"/>
                      <a:pt x="38186" y="55795"/>
                      <a:pt x="10414" y="71223"/>
                    </a:cubicBezTo>
                    <a:cubicBezTo>
                      <a:pt x="1157" y="77395"/>
                      <a:pt x="-1929" y="86652"/>
                      <a:pt x="1157" y="95909"/>
                    </a:cubicBezTo>
                    <a:cubicBezTo>
                      <a:pt x="13500" y="132938"/>
                      <a:pt x="41271" y="228595"/>
                      <a:pt x="50529" y="259452"/>
                    </a:cubicBezTo>
                    <a:cubicBezTo>
                      <a:pt x="56700" y="281052"/>
                      <a:pt x="106071" y="398309"/>
                      <a:pt x="109157" y="407566"/>
                    </a:cubicBezTo>
                    <a:cubicBezTo>
                      <a:pt x="115329" y="416823"/>
                      <a:pt x="149271" y="401395"/>
                      <a:pt x="152357" y="389052"/>
                    </a:cubicBezTo>
                    <a:cubicBezTo>
                      <a:pt x="164700" y="296481"/>
                      <a:pt x="266529" y="98995"/>
                      <a:pt x="266529" y="98995"/>
                    </a:cubicBezTo>
                    <a:close/>
                  </a:path>
                </a:pathLst>
              </a:custGeom>
              <a:solidFill>
                <a:srgbClr val="F1DDBA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6" name="任意多边形: 形状 235">
                <a:extLst>
                  <a:ext uri="{FF2B5EF4-FFF2-40B4-BE49-F238E27FC236}">
                    <a16:creationId xmlns:a16="http://schemas.microsoft.com/office/drawing/2014/main" id="{99801D03-0DE6-4FB8-A9C6-A386BDAA44CE}"/>
                  </a:ext>
                </a:extLst>
              </p:cNvPr>
              <p:cNvSpPr/>
              <p:nvPr/>
            </p:nvSpPr>
            <p:spPr>
              <a:xfrm>
                <a:off x="2661798" y="5881553"/>
                <a:ext cx="212153" cy="370867"/>
              </a:xfrm>
              <a:custGeom>
                <a:avLst/>
                <a:gdLst>
                  <a:gd name="connsiteX0" fmla="*/ 212153 w 212153"/>
                  <a:gd name="connsiteY0" fmla="*/ 98743 h 370867"/>
                  <a:gd name="connsiteX1" fmla="*/ 113410 w 212153"/>
                  <a:gd name="connsiteY1" fmla="*/ 194400 h 370867"/>
                  <a:gd name="connsiteX2" fmla="*/ 8496 w 212153"/>
                  <a:gd name="connsiteY2" fmla="*/ 370286 h 370867"/>
                  <a:gd name="connsiteX3" fmla="*/ 48610 w 212153"/>
                  <a:gd name="connsiteY3" fmla="*/ 92571 h 370867"/>
                  <a:gd name="connsiteX4" fmla="*/ 172039 w 212153"/>
                  <a:gd name="connsiteY4" fmla="*/ 0 h 370867"/>
                  <a:gd name="connsiteX5" fmla="*/ 212153 w 212153"/>
                  <a:gd name="connsiteY5" fmla="*/ 98743 h 370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2153" h="370867">
                    <a:moveTo>
                      <a:pt x="212153" y="98743"/>
                    </a:moveTo>
                    <a:lnTo>
                      <a:pt x="113410" y="194400"/>
                    </a:lnTo>
                    <a:cubicBezTo>
                      <a:pt x="113410" y="194400"/>
                      <a:pt x="33182" y="382628"/>
                      <a:pt x="8496" y="370286"/>
                    </a:cubicBezTo>
                    <a:cubicBezTo>
                      <a:pt x="-16190" y="357943"/>
                      <a:pt x="17753" y="104914"/>
                      <a:pt x="48610" y="92571"/>
                    </a:cubicBezTo>
                    <a:cubicBezTo>
                      <a:pt x="94896" y="70972"/>
                      <a:pt x="172039" y="0"/>
                      <a:pt x="172039" y="0"/>
                    </a:cubicBezTo>
                    <a:lnTo>
                      <a:pt x="212153" y="98743"/>
                    </a:ln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37" name="任意多边形: 形状 236">
              <a:extLst>
                <a:ext uri="{FF2B5EF4-FFF2-40B4-BE49-F238E27FC236}">
                  <a16:creationId xmlns:a16="http://schemas.microsoft.com/office/drawing/2014/main" id="{4671E2C4-736B-416C-BBE3-1AD84CC75149}"/>
                </a:ext>
              </a:extLst>
            </p:cNvPr>
            <p:cNvSpPr/>
            <p:nvPr/>
          </p:nvSpPr>
          <p:spPr>
            <a:xfrm>
              <a:off x="2568465" y="6009875"/>
              <a:ext cx="38306" cy="183335"/>
            </a:xfrm>
            <a:custGeom>
              <a:avLst/>
              <a:gdLst>
                <a:gd name="connsiteX0" fmla="*/ 6171 w 38306"/>
                <a:gd name="connsiteY0" fmla="*/ 183335 h 183335"/>
                <a:gd name="connsiteX1" fmla="*/ 6171 w 38306"/>
                <a:gd name="connsiteY1" fmla="*/ 183335 h 183335"/>
                <a:gd name="connsiteX2" fmla="*/ 0 w 38306"/>
                <a:gd name="connsiteY2" fmla="*/ 177164 h 183335"/>
                <a:gd name="connsiteX3" fmla="*/ 27771 w 38306"/>
                <a:gd name="connsiteY3" fmla="*/ 4364 h 183335"/>
                <a:gd name="connsiteX4" fmla="*/ 33943 w 38306"/>
                <a:gd name="connsiteY4" fmla="*/ 1278 h 183335"/>
                <a:gd name="connsiteX5" fmla="*/ 37029 w 38306"/>
                <a:gd name="connsiteY5" fmla="*/ 7449 h 183335"/>
                <a:gd name="connsiteX6" fmla="*/ 9257 w 38306"/>
                <a:gd name="connsiteY6" fmla="*/ 177164 h 183335"/>
                <a:gd name="connsiteX7" fmla="*/ 6171 w 38306"/>
                <a:gd name="connsiteY7" fmla="*/ 183335 h 183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306" h="183335">
                  <a:moveTo>
                    <a:pt x="6171" y="183335"/>
                  </a:moveTo>
                  <a:cubicBezTo>
                    <a:pt x="6171" y="183335"/>
                    <a:pt x="6171" y="183335"/>
                    <a:pt x="6171" y="183335"/>
                  </a:cubicBezTo>
                  <a:cubicBezTo>
                    <a:pt x="3086" y="183335"/>
                    <a:pt x="0" y="180250"/>
                    <a:pt x="0" y="177164"/>
                  </a:cubicBezTo>
                  <a:cubicBezTo>
                    <a:pt x="3086" y="133964"/>
                    <a:pt x="27771" y="10535"/>
                    <a:pt x="27771" y="4364"/>
                  </a:cubicBezTo>
                  <a:cubicBezTo>
                    <a:pt x="27771" y="1278"/>
                    <a:pt x="30857" y="-1807"/>
                    <a:pt x="33943" y="1278"/>
                  </a:cubicBezTo>
                  <a:cubicBezTo>
                    <a:pt x="37029" y="1278"/>
                    <a:pt x="40114" y="4364"/>
                    <a:pt x="37029" y="7449"/>
                  </a:cubicBezTo>
                  <a:cubicBezTo>
                    <a:pt x="37029" y="7449"/>
                    <a:pt x="12343" y="137050"/>
                    <a:pt x="9257" y="177164"/>
                  </a:cubicBezTo>
                  <a:cubicBezTo>
                    <a:pt x="12343" y="180250"/>
                    <a:pt x="9257" y="183335"/>
                    <a:pt x="6171" y="183335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8" name="任意多边形: 形状 237">
              <a:extLst>
                <a:ext uri="{FF2B5EF4-FFF2-40B4-BE49-F238E27FC236}">
                  <a16:creationId xmlns:a16="http://schemas.microsoft.com/office/drawing/2014/main" id="{98A03BA4-53E9-4AAE-A406-CA03060E3A68}"/>
                </a:ext>
              </a:extLst>
            </p:cNvPr>
            <p:cNvSpPr/>
            <p:nvPr/>
          </p:nvSpPr>
          <p:spPr>
            <a:xfrm>
              <a:off x="2710408" y="3798696"/>
              <a:ext cx="1420635" cy="2551885"/>
            </a:xfrm>
            <a:custGeom>
              <a:avLst/>
              <a:gdLst>
                <a:gd name="connsiteX0" fmla="*/ 623314 w 1420635"/>
                <a:gd name="connsiteY0" fmla="*/ 0 h 2551885"/>
                <a:gd name="connsiteX1" fmla="*/ 1299086 w 1420635"/>
                <a:gd name="connsiteY1" fmla="*/ 0 h 2551885"/>
                <a:gd name="connsiteX2" fmla="*/ 1419429 w 1420635"/>
                <a:gd name="connsiteY2" fmla="*/ 465943 h 2551885"/>
                <a:gd name="connsiteX3" fmla="*/ 1237371 w 1420635"/>
                <a:gd name="connsiteY3" fmla="*/ 2514857 h 2551885"/>
                <a:gd name="connsiteX4" fmla="*/ 1061486 w 1420635"/>
                <a:gd name="connsiteY4" fmla="*/ 2551886 h 2551885"/>
                <a:gd name="connsiteX5" fmla="*/ 953486 w 1420635"/>
                <a:gd name="connsiteY5" fmla="*/ 820800 h 2551885"/>
                <a:gd name="connsiteX6" fmla="*/ 864000 w 1420635"/>
                <a:gd name="connsiteY6" fmla="*/ 1749600 h 2551885"/>
                <a:gd name="connsiteX7" fmla="*/ 836229 w 1420635"/>
                <a:gd name="connsiteY7" fmla="*/ 1792800 h 2551885"/>
                <a:gd name="connsiteX8" fmla="*/ 129600 w 1420635"/>
                <a:gd name="connsiteY8" fmla="*/ 2301943 h 2551885"/>
                <a:gd name="connsiteX9" fmla="*/ 0 w 1420635"/>
                <a:gd name="connsiteY9" fmla="*/ 2070515 h 2551885"/>
                <a:gd name="connsiteX10" fmla="*/ 524571 w 1420635"/>
                <a:gd name="connsiteY10" fmla="*/ 1675543 h 2551885"/>
                <a:gd name="connsiteX11" fmla="*/ 487543 w 1420635"/>
                <a:gd name="connsiteY11" fmla="*/ 419657 h 2551885"/>
                <a:gd name="connsiteX12" fmla="*/ 623314 w 1420635"/>
                <a:gd name="connsiteY12" fmla="*/ 0 h 2551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20635" h="2551885">
                  <a:moveTo>
                    <a:pt x="623314" y="0"/>
                  </a:moveTo>
                  <a:lnTo>
                    <a:pt x="1299086" y="0"/>
                  </a:lnTo>
                  <a:cubicBezTo>
                    <a:pt x="1299086" y="0"/>
                    <a:pt x="1397829" y="308571"/>
                    <a:pt x="1419429" y="465943"/>
                  </a:cubicBezTo>
                  <a:cubicBezTo>
                    <a:pt x="1437943" y="620229"/>
                    <a:pt x="1237371" y="2514857"/>
                    <a:pt x="1237371" y="2514857"/>
                  </a:cubicBezTo>
                  <a:lnTo>
                    <a:pt x="1061486" y="2551886"/>
                  </a:lnTo>
                  <a:lnTo>
                    <a:pt x="953486" y="820800"/>
                  </a:lnTo>
                  <a:cubicBezTo>
                    <a:pt x="953486" y="820800"/>
                    <a:pt x="882514" y="1592229"/>
                    <a:pt x="864000" y="1749600"/>
                  </a:cubicBezTo>
                  <a:cubicBezTo>
                    <a:pt x="860914" y="1768114"/>
                    <a:pt x="851657" y="1783543"/>
                    <a:pt x="836229" y="1792800"/>
                  </a:cubicBezTo>
                  <a:lnTo>
                    <a:pt x="129600" y="2301943"/>
                  </a:lnTo>
                  <a:lnTo>
                    <a:pt x="0" y="2070515"/>
                  </a:lnTo>
                  <a:lnTo>
                    <a:pt x="524571" y="1675543"/>
                  </a:lnTo>
                  <a:cubicBezTo>
                    <a:pt x="524571" y="1675543"/>
                    <a:pt x="493714" y="484457"/>
                    <a:pt x="487543" y="419657"/>
                  </a:cubicBezTo>
                  <a:cubicBezTo>
                    <a:pt x="478286" y="299314"/>
                    <a:pt x="623314" y="0"/>
                    <a:pt x="623314" y="0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9" name="任意多边形: 形状 238">
              <a:extLst>
                <a:ext uri="{FF2B5EF4-FFF2-40B4-BE49-F238E27FC236}">
                  <a16:creationId xmlns:a16="http://schemas.microsoft.com/office/drawing/2014/main" id="{C5A27264-B747-4224-B834-FAA2659007E6}"/>
                </a:ext>
              </a:extLst>
            </p:cNvPr>
            <p:cNvSpPr/>
            <p:nvPr/>
          </p:nvSpPr>
          <p:spPr>
            <a:xfrm>
              <a:off x="3580579" y="4187496"/>
              <a:ext cx="132685" cy="1234285"/>
            </a:xfrm>
            <a:custGeom>
              <a:avLst/>
              <a:gdLst>
                <a:gd name="connsiteX0" fmla="*/ 6171 w 132685"/>
                <a:gd name="connsiteY0" fmla="*/ 1234286 h 1234285"/>
                <a:gd name="connsiteX1" fmla="*/ 6171 w 132685"/>
                <a:gd name="connsiteY1" fmla="*/ 1234286 h 1234285"/>
                <a:gd name="connsiteX2" fmla="*/ 0 w 132685"/>
                <a:gd name="connsiteY2" fmla="*/ 1225029 h 1234285"/>
                <a:gd name="connsiteX3" fmla="*/ 77143 w 132685"/>
                <a:gd name="connsiteY3" fmla="*/ 428914 h 1234285"/>
                <a:gd name="connsiteX4" fmla="*/ 120343 w 132685"/>
                <a:gd name="connsiteY4" fmla="*/ 6172 h 1234285"/>
                <a:gd name="connsiteX5" fmla="*/ 126514 w 132685"/>
                <a:gd name="connsiteY5" fmla="*/ 0 h 1234285"/>
                <a:gd name="connsiteX6" fmla="*/ 132686 w 132685"/>
                <a:gd name="connsiteY6" fmla="*/ 6172 h 1234285"/>
                <a:gd name="connsiteX7" fmla="*/ 89486 w 132685"/>
                <a:gd name="connsiteY7" fmla="*/ 428914 h 1234285"/>
                <a:gd name="connsiteX8" fmla="*/ 12343 w 132685"/>
                <a:gd name="connsiteY8" fmla="*/ 1228114 h 1234285"/>
                <a:gd name="connsiteX9" fmla="*/ 6171 w 132685"/>
                <a:gd name="connsiteY9" fmla="*/ 1234286 h 1234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2685" h="1234285">
                  <a:moveTo>
                    <a:pt x="6171" y="1234286"/>
                  </a:moveTo>
                  <a:cubicBezTo>
                    <a:pt x="6171" y="1234286"/>
                    <a:pt x="3086" y="1234286"/>
                    <a:pt x="6171" y="1234286"/>
                  </a:cubicBezTo>
                  <a:cubicBezTo>
                    <a:pt x="0" y="1231200"/>
                    <a:pt x="0" y="1228114"/>
                    <a:pt x="0" y="1225029"/>
                  </a:cubicBezTo>
                  <a:cubicBezTo>
                    <a:pt x="6171" y="1206514"/>
                    <a:pt x="55543" y="644914"/>
                    <a:pt x="77143" y="428914"/>
                  </a:cubicBezTo>
                  <a:lnTo>
                    <a:pt x="120343" y="6172"/>
                  </a:lnTo>
                  <a:cubicBezTo>
                    <a:pt x="120343" y="3086"/>
                    <a:pt x="123429" y="0"/>
                    <a:pt x="126514" y="0"/>
                  </a:cubicBezTo>
                  <a:cubicBezTo>
                    <a:pt x="129600" y="0"/>
                    <a:pt x="132686" y="3086"/>
                    <a:pt x="132686" y="6172"/>
                  </a:cubicBezTo>
                  <a:lnTo>
                    <a:pt x="89486" y="428914"/>
                  </a:lnTo>
                  <a:cubicBezTo>
                    <a:pt x="83314" y="509143"/>
                    <a:pt x="18514" y="1209600"/>
                    <a:pt x="12343" y="1228114"/>
                  </a:cubicBezTo>
                  <a:cubicBezTo>
                    <a:pt x="9257" y="1234286"/>
                    <a:pt x="6171" y="1234286"/>
                    <a:pt x="6171" y="1234286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9F947C2A-0FC9-437F-A399-2614202F5371}"/>
                </a:ext>
              </a:extLst>
            </p:cNvPr>
            <p:cNvSpPr/>
            <p:nvPr/>
          </p:nvSpPr>
          <p:spPr>
            <a:xfrm>
              <a:off x="3352236" y="2425553"/>
              <a:ext cx="249942" cy="370285"/>
            </a:xfrm>
            <a:custGeom>
              <a:avLst/>
              <a:gdLst>
                <a:gd name="connsiteX0" fmla="*/ 0 w 249942"/>
                <a:gd name="connsiteY0" fmla="*/ 0 h 370285"/>
                <a:gd name="connsiteX1" fmla="*/ 123429 w 249942"/>
                <a:gd name="connsiteY1" fmla="*/ 364114 h 370285"/>
                <a:gd name="connsiteX2" fmla="*/ 203657 w 249942"/>
                <a:gd name="connsiteY2" fmla="*/ 370286 h 370285"/>
                <a:gd name="connsiteX3" fmla="*/ 249943 w 249942"/>
                <a:gd name="connsiteY3" fmla="*/ 253029 h 370285"/>
                <a:gd name="connsiteX4" fmla="*/ 157372 w 249942"/>
                <a:gd name="connsiteY4" fmla="*/ 114171 h 370285"/>
                <a:gd name="connsiteX5" fmla="*/ 0 w 249942"/>
                <a:gd name="connsiteY5" fmla="*/ 0 h 37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942" h="370285">
                  <a:moveTo>
                    <a:pt x="0" y="0"/>
                  </a:moveTo>
                  <a:cubicBezTo>
                    <a:pt x="0" y="0"/>
                    <a:pt x="0" y="185143"/>
                    <a:pt x="123429" y="364114"/>
                  </a:cubicBezTo>
                  <a:lnTo>
                    <a:pt x="203657" y="370286"/>
                  </a:lnTo>
                  <a:lnTo>
                    <a:pt x="249943" y="253029"/>
                  </a:lnTo>
                  <a:lnTo>
                    <a:pt x="157372" y="114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id="{01A95DD6-F6EB-4CB3-84BC-0D448E8EAE33}"/>
                </a:ext>
              </a:extLst>
            </p:cNvPr>
            <p:cNvSpPr/>
            <p:nvPr/>
          </p:nvSpPr>
          <p:spPr>
            <a:xfrm>
              <a:off x="3840207" y="2882242"/>
              <a:ext cx="406887" cy="425824"/>
            </a:xfrm>
            <a:custGeom>
              <a:avLst/>
              <a:gdLst>
                <a:gd name="connsiteX0" fmla="*/ 52030 w 406887"/>
                <a:gd name="connsiteY0" fmla="*/ 425825 h 425824"/>
                <a:gd name="connsiteX1" fmla="*/ 58201 w 406887"/>
                <a:gd name="connsiteY1" fmla="*/ 15425 h 425824"/>
                <a:gd name="connsiteX2" fmla="*/ 406887 w 406887"/>
                <a:gd name="connsiteY2" fmla="*/ 296225 h 425824"/>
                <a:gd name="connsiteX3" fmla="*/ 52030 w 406887"/>
                <a:gd name="connsiteY3" fmla="*/ 425825 h 425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887" h="425824">
                  <a:moveTo>
                    <a:pt x="52030" y="425825"/>
                  </a:moveTo>
                  <a:cubicBezTo>
                    <a:pt x="-31284" y="259196"/>
                    <a:pt x="-3513" y="64796"/>
                    <a:pt x="58201" y="15425"/>
                  </a:cubicBezTo>
                  <a:cubicBezTo>
                    <a:pt x="141516" y="-49375"/>
                    <a:pt x="335916" y="98739"/>
                    <a:pt x="406887" y="296225"/>
                  </a:cubicBezTo>
                  <a:cubicBezTo>
                    <a:pt x="363687" y="357939"/>
                    <a:pt x="153859" y="410396"/>
                    <a:pt x="52030" y="425825"/>
                  </a:cubicBezTo>
                  <a:close/>
                </a:path>
              </a:pathLst>
            </a:custGeom>
            <a:solidFill>
              <a:srgbClr val="F6EBE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2" name="任意多边形: 形状 241">
              <a:extLst>
                <a:ext uri="{FF2B5EF4-FFF2-40B4-BE49-F238E27FC236}">
                  <a16:creationId xmlns:a16="http://schemas.microsoft.com/office/drawing/2014/main" id="{F1472491-3501-4654-A5B6-ED4B80BD1E43}"/>
                </a:ext>
              </a:extLst>
            </p:cNvPr>
            <p:cNvSpPr/>
            <p:nvPr/>
          </p:nvSpPr>
          <p:spPr>
            <a:xfrm>
              <a:off x="3276595" y="2828349"/>
              <a:ext cx="830520" cy="998209"/>
            </a:xfrm>
            <a:custGeom>
              <a:avLst/>
              <a:gdLst>
                <a:gd name="connsiteX0" fmla="*/ 44785 w 830520"/>
                <a:gd name="connsiteY0" fmla="*/ 396404 h 998209"/>
                <a:gd name="connsiteX1" fmla="*/ 60213 w 830520"/>
                <a:gd name="connsiteY1" fmla="*/ 69319 h 998209"/>
                <a:gd name="connsiteX2" fmla="*/ 433585 w 830520"/>
                <a:gd name="connsiteY2" fmla="*/ 4519 h 998209"/>
                <a:gd name="connsiteX3" fmla="*/ 739070 w 830520"/>
                <a:gd name="connsiteY3" fmla="*/ 106347 h 998209"/>
                <a:gd name="connsiteX4" fmla="*/ 779185 w 830520"/>
                <a:gd name="connsiteY4" fmla="*/ 661776 h 998209"/>
                <a:gd name="connsiteX5" fmla="*/ 735985 w 830520"/>
                <a:gd name="connsiteY5" fmla="*/ 991947 h 998209"/>
                <a:gd name="connsiteX6" fmla="*/ 50956 w 830520"/>
                <a:gd name="connsiteY6" fmla="*/ 976519 h 998209"/>
                <a:gd name="connsiteX7" fmla="*/ 44785 w 830520"/>
                <a:gd name="connsiteY7" fmla="*/ 396404 h 998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0520" h="998209">
                  <a:moveTo>
                    <a:pt x="44785" y="396404"/>
                  </a:moveTo>
                  <a:cubicBezTo>
                    <a:pt x="35527" y="365547"/>
                    <a:pt x="-60130" y="134119"/>
                    <a:pt x="60213" y="69319"/>
                  </a:cubicBezTo>
                  <a:cubicBezTo>
                    <a:pt x="165127" y="13776"/>
                    <a:pt x="313242" y="-10910"/>
                    <a:pt x="433585" y="4519"/>
                  </a:cubicBezTo>
                  <a:cubicBezTo>
                    <a:pt x="566270" y="19947"/>
                    <a:pt x="698956" y="41547"/>
                    <a:pt x="739070" y="106347"/>
                  </a:cubicBezTo>
                  <a:cubicBezTo>
                    <a:pt x="853242" y="294576"/>
                    <a:pt x="853242" y="461204"/>
                    <a:pt x="779185" y="661776"/>
                  </a:cubicBezTo>
                  <a:cubicBezTo>
                    <a:pt x="757585" y="720404"/>
                    <a:pt x="751413" y="856176"/>
                    <a:pt x="735985" y="991947"/>
                  </a:cubicBezTo>
                  <a:cubicBezTo>
                    <a:pt x="735985" y="991947"/>
                    <a:pt x="449013" y="1013547"/>
                    <a:pt x="50956" y="976519"/>
                  </a:cubicBezTo>
                  <a:cubicBezTo>
                    <a:pt x="81813" y="754347"/>
                    <a:pt x="54042" y="421090"/>
                    <a:pt x="44785" y="396404"/>
                  </a:cubicBezTo>
                  <a:close/>
                </a:path>
              </a:pathLst>
            </a:custGeom>
            <a:solidFill>
              <a:srgbClr val="F6EBE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3" name="任意多边形: 形状 242">
              <a:extLst>
                <a:ext uri="{FF2B5EF4-FFF2-40B4-BE49-F238E27FC236}">
                  <a16:creationId xmlns:a16="http://schemas.microsoft.com/office/drawing/2014/main" id="{0908CC60-4AB2-4884-89A9-26FF45847AA7}"/>
                </a:ext>
              </a:extLst>
            </p:cNvPr>
            <p:cNvSpPr/>
            <p:nvPr/>
          </p:nvSpPr>
          <p:spPr>
            <a:xfrm>
              <a:off x="3620302" y="2126578"/>
              <a:ext cx="325172" cy="597921"/>
            </a:xfrm>
            <a:custGeom>
              <a:avLst/>
              <a:gdLst>
                <a:gd name="connsiteX0" fmla="*/ 145420 w 325172"/>
                <a:gd name="connsiteY0" fmla="*/ 582861 h 597921"/>
                <a:gd name="connsiteX1" fmla="*/ 324391 w 325172"/>
                <a:gd name="connsiteY1" fmla="*/ 234175 h 597921"/>
                <a:gd name="connsiteX2" fmla="*/ 391 w 325172"/>
                <a:gd name="connsiteY2" fmla="*/ 8918 h 597921"/>
                <a:gd name="connsiteX3" fmla="*/ 37420 w 325172"/>
                <a:gd name="connsiteY3" fmla="*/ 178632 h 597921"/>
                <a:gd name="connsiteX4" fmla="*/ 86791 w 325172"/>
                <a:gd name="connsiteY4" fmla="*/ 323661 h 597921"/>
                <a:gd name="connsiteX5" fmla="*/ 145420 w 325172"/>
                <a:gd name="connsiteY5" fmla="*/ 582861 h 597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5172" h="597921">
                  <a:moveTo>
                    <a:pt x="145420" y="582861"/>
                  </a:moveTo>
                  <a:cubicBezTo>
                    <a:pt x="302791" y="552004"/>
                    <a:pt x="330563" y="298975"/>
                    <a:pt x="324391" y="234175"/>
                  </a:cubicBezTo>
                  <a:cubicBezTo>
                    <a:pt x="302791" y="67547"/>
                    <a:pt x="117648" y="-31196"/>
                    <a:pt x="391" y="8918"/>
                  </a:cubicBezTo>
                  <a:cubicBezTo>
                    <a:pt x="-2694" y="8918"/>
                    <a:pt x="12734" y="129261"/>
                    <a:pt x="37420" y="178632"/>
                  </a:cubicBezTo>
                  <a:cubicBezTo>
                    <a:pt x="59020" y="224918"/>
                    <a:pt x="77534" y="274290"/>
                    <a:pt x="86791" y="323661"/>
                  </a:cubicBezTo>
                  <a:cubicBezTo>
                    <a:pt x="96048" y="379204"/>
                    <a:pt x="46677" y="666175"/>
                    <a:pt x="145420" y="582861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4" name="任意多边形: 形状 243">
              <a:extLst>
                <a:ext uri="{FF2B5EF4-FFF2-40B4-BE49-F238E27FC236}">
                  <a16:creationId xmlns:a16="http://schemas.microsoft.com/office/drawing/2014/main" id="{1BB6BA57-BBFE-40FC-9C23-9FC6279AD942}"/>
                </a:ext>
              </a:extLst>
            </p:cNvPr>
            <p:cNvSpPr/>
            <p:nvPr/>
          </p:nvSpPr>
          <p:spPr>
            <a:xfrm>
              <a:off x="3450979" y="2183967"/>
              <a:ext cx="427717" cy="575166"/>
            </a:xfrm>
            <a:custGeom>
              <a:avLst/>
              <a:gdLst>
                <a:gd name="connsiteX0" fmla="*/ 419657 w 427717"/>
                <a:gd name="connsiteY0" fmla="*/ 186043 h 575166"/>
                <a:gd name="connsiteX1" fmla="*/ 407314 w 427717"/>
                <a:gd name="connsiteY1" fmla="*/ 445243 h 575166"/>
                <a:gd name="connsiteX2" fmla="*/ 256114 w 427717"/>
                <a:gd name="connsiteY2" fmla="*/ 574843 h 575166"/>
                <a:gd name="connsiteX3" fmla="*/ 37029 w 427717"/>
                <a:gd name="connsiteY3" fmla="*/ 429815 h 575166"/>
                <a:gd name="connsiteX4" fmla="*/ 0 w 427717"/>
                <a:gd name="connsiteY4" fmla="*/ 201472 h 575166"/>
                <a:gd name="connsiteX5" fmla="*/ 216000 w 427717"/>
                <a:gd name="connsiteY5" fmla="*/ 901 h 575166"/>
                <a:gd name="connsiteX6" fmla="*/ 419657 w 427717"/>
                <a:gd name="connsiteY6" fmla="*/ 186043 h 575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717" h="575166">
                  <a:moveTo>
                    <a:pt x="419657" y="186043"/>
                  </a:moveTo>
                  <a:cubicBezTo>
                    <a:pt x="419657" y="186043"/>
                    <a:pt x="444343" y="377358"/>
                    <a:pt x="407314" y="445243"/>
                  </a:cubicBezTo>
                  <a:cubicBezTo>
                    <a:pt x="370286" y="513129"/>
                    <a:pt x="308571" y="571758"/>
                    <a:pt x="256114" y="574843"/>
                  </a:cubicBezTo>
                  <a:cubicBezTo>
                    <a:pt x="188229" y="581015"/>
                    <a:pt x="74057" y="497701"/>
                    <a:pt x="37029" y="429815"/>
                  </a:cubicBezTo>
                  <a:cubicBezTo>
                    <a:pt x="0" y="361929"/>
                    <a:pt x="0" y="253929"/>
                    <a:pt x="0" y="201472"/>
                  </a:cubicBezTo>
                  <a:cubicBezTo>
                    <a:pt x="3086" y="105815"/>
                    <a:pt x="30857" y="25586"/>
                    <a:pt x="216000" y="901"/>
                  </a:cubicBezTo>
                  <a:cubicBezTo>
                    <a:pt x="302400" y="-11442"/>
                    <a:pt x="398057" y="105815"/>
                    <a:pt x="419657" y="186043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id="{B9AA6F8D-912D-4F75-BAFF-284C458F0C42}"/>
                </a:ext>
              </a:extLst>
            </p:cNvPr>
            <p:cNvSpPr/>
            <p:nvPr/>
          </p:nvSpPr>
          <p:spPr>
            <a:xfrm>
              <a:off x="3679322" y="2456410"/>
              <a:ext cx="55542" cy="132685"/>
            </a:xfrm>
            <a:custGeom>
              <a:avLst/>
              <a:gdLst>
                <a:gd name="connsiteX0" fmla="*/ 30857 w 55542"/>
                <a:gd name="connsiteY0" fmla="*/ 132686 h 132685"/>
                <a:gd name="connsiteX1" fmla="*/ 6171 w 55542"/>
                <a:gd name="connsiteY1" fmla="*/ 129600 h 132685"/>
                <a:gd name="connsiteX2" fmla="*/ 0 w 55542"/>
                <a:gd name="connsiteY2" fmla="*/ 123429 h 132685"/>
                <a:gd name="connsiteX3" fmla="*/ 6171 w 55542"/>
                <a:gd name="connsiteY3" fmla="*/ 117257 h 132685"/>
                <a:gd name="connsiteX4" fmla="*/ 46286 w 55542"/>
                <a:gd name="connsiteY4" fmla="*/ 117257 h 132685"/>
                <a:gd name="connsiteX5" fmla="*/ 46286 w 55542"/>
                <a:gd name="connsiteY5" fmla="*/ 114171 h 132685"/>
                <a:gd name="connsiteX6" fmla="*/ 18514 w 55542"/>
                <a:gd name="connsiteY6" fmla="*/ 6171 h 132685"/>
                <a:gd name="connsiteX7" fmla="*/ 21600 w 55542"/>
                <a:gd name="connsiteY7" fmla="*/ 0 h 132685"/>
                <a:gd name="connsiteX8" fmla="*/ 27771 w 55542"/>
                <a:gd name="connsiteY8" fmla="*/ 3086 h 132685"/>
                <a:gd name="connsiteX9" fmla="*/ 55543 w 55542"/>
                <a:gd name="connsiteY9" fmla="*/ 114171 h 132685"/>
                <a:gd name="connsiteX10" fmla="*/ 49371 w 55542"/>
                <a:gd name="connsiteY10" fmla="*/ 126514 h 132685"/>
                <a:gd name="connsiteX11" fmla="*/ 30857 w 55542"/>
                <a:gd name="connsiteY11" fmla="*/ 132686 h 132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542" h="132685">
                  <a:moveTo>
                    <a:pt x="30857" y="132686"/>
                  </a:moveTo>
                  <a:cubicBezTo>
                    <a:pt x="18514" y="132686"/>
                    <a:pt x="9257" y="129600"/>
                    <a:pt x="6171" y="129600"/>
                  </a:cubicBezTo>
                  <a:cubicBezTo>
                    <a:pt x="3086" y="129600"/>
                    <a:pt x="0" y="126514"/>
                    <a:pt x="0" y="123429"/>
                  </a:cubicBezTo>
                  <a:cubicBezTo>
                    <a:pt x="0" y="120343"/>
                    <a:pt x="3086" y="117257"/>
                    <a:pt x="6171" y="117257"/>
                  </a:cubicBezTo>
                  <a:cubicBezTo>
                    <a:pt x="18514" y="120343"/>
                    <a:pt x="40114" y="120343"/>
                    <a:pt x="46286" y="117257"/>
                  </a:cubicBezTo>
                  <a:cubicBezTo>
                    <a:pt x="46286" y="117257"/>
                    <a:pt x="46286" y="114171"/>
                    <a:pt x="46286" y="114171"/>
                  </a:cubicBezTo>
                  <a:cubicBezTo>
                    <a:pt x="46286" y="98743"/>
                    <a:pt x="24686" y="30857"/>
                    <a:pt x="18514" y="6171"/>
                  </a:cubicBezTo>
                  <a:cubicBezTo>
                    <a:pt x="18514" y="3086"/>
                    <a:pt x="18514" y="0"/>
                    <a:pt x="21600" y="0"/>
                  </a:cubicBezTo>
                  <a:cubicBezTo>
                    <a:pt x="24686" y="0"/>
                    <a:pt x="27771" y="0"/>
                    <a:pt x="27771" y="3086"/>
                  </a:cubicBezTo>
                  <a:cubicBezTo>
                    <a:pt x="27771" y="6171"/>
                    <a:pt x="55543" y="92571"/>
                    <a:pt x="55543" y="114171"/>
                  </a:cubicBezTo>
                  <a:cubicBezTo>
                    <a:pt x="55543" y="120343"/>
                    <a:pt x="52457" y="123429"/>
                    <a:pt x="49371" y="126514"/>
                  </a:cubicBezTo>
                  <a:cubicBezTo>
                    <a:pt x="49371" y="132686"/>
                    <a:pt x="40114" y="132686"/>
                    <a:pt x="30857" y="132686"/>
                  </a:cubicBezTo>
                  <a:close/>
                </a:path>
              </a:pathLst>
            </a:custGeom>
            <a:solidFill>
              <a:srgbClr val="E58777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6" name="任意多边形: 形状 245">
              <a:extLst>
                <a:ext uri="{FF2B5EF4-FFF2-40B4-BE49-F238E27FC236}">
                  <a16:creationId xmlns:a16="http://schemas.microsoft.com/office/drawing/2014/main" id="{77E38929-B0FA-49F1-9C24-DB717F2860DE}"/>
                </a:ext>
              </a:extLst>
            </p:cNvPr>
            <p:cNvSpPr/>
            <p:nvPr/>
          </p:nvSpPr>
          <p:spPr>
            <a:xfrm>
              <a:off x="3651551" y="2641553"/>
              <a:ext cx="108000" cy="55542"/>
            </a:xfrm>
            <a:custGeom>
              <a:avLst/>
              <a:gdLst>
                <a:gd name="connsiteX0" fmla="*/ 0 w 108000"/>
                <a:gd name="connsiteY0" fmla="*/ 0 h 55542"/>
                <a:gd name="connsiteX1" fmla="*/ 108000 w 108000"/>
                <a:gd name="connsiteY1" fmla="*/ 0 h 55542"/>
                <a:gd name="connsiteX2" fmla="*/ 55543 w 108000"/>
                <a:gd name="connsiteY2" fmla="*/ 55543 h 55542"/>
                <a:gd name="connsiteX3" fmla="*/ 0 w 108000"/>
                <a:gd name="connsiteY3" fmla="*/ 0 h 5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000" h="55542">
                  <a:moveTo>
                    <a:pt x="0" y="0"/>
                  </a:moveTo>
                  <a:cubicBezTo>
                    <a:pt x="55543" y="24686"/>
                    <a:pt x="108000" y="0"/>
                    <a:pt x="108000" y="0"/>
                  </a:cubicBezTo>
                  <a:cubicBezTo>
                    <a:pt x="108000" y="0"/>
                    <a:pt x="92571" y="55543"/>
                    <a:pt x="55543" y="55543"/>
                  </a:cubicBezTo>
                  <a:cubicBezTo>
                    <a:pt x="12343" y="5245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7" name="任意多边形: 形状 246">
              <a:extLst>
                <a:ext uri="{FF2B5EF4-FFF2-40B4-BE49-F238E27FC236}">
                  <a16:creationId xmlns:a16="http://schemas.microsoft.com/office/drawing/2014/main" id="{FC66738C-D3FF-4733-A1BD-444C067445C5}"/>
                </a:ext>
              </a:extLst>
            </p:cNvPr>
            <p:cNvSpPr/>
            <p:nvPr/>
          </p:nvSpPr>
          <p:spPr>
            <a:xfrm>
              <a:off x="3771107" y="2428034"/>
              <a:ext cx="41505" cy="41505"/>
            </a:xfrm>
            <a:custGeom>
              <a:avLst/>
              <a:gdLst>
                <a:gd name="connsiteX0" fmla="*/ 786 w 41505"/>
                <a:gd name="connsiteY0" fmla="*/ 25291 h 41505"/>
                <a:gd name="connsiteX1" fmla="*/ 25472 w 41505"/>
                <a:gd name="connsiteY1" fmla="*/ 40720 h 41505"/>
                <a:gd name="connsiteX2" fmla="*/ 40901 w 41505"/>
                <a:gd name="connsiteY2" fmla="*/ 16034 h 41505"/>
                <a:gd name="connsiteX3" fmla="*/ 16215 w 41505"/>
                <a:gd name="connsiteY3" fmla="*/ 605 h 41505"/>
                <a:gd name="connsiteX4" fmla="*/ 786 w 41505"/>
                <a:gd name="connsiteY4" fmla="*/ 25291 h 4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5" h="41505">
                  <a:moveTo>
                    <a:pt x="786" y="25291"/>
                  </a:moveTo>
                  <a:cubicBezTo>
                    <a:pt x="3872" y="37634"/>
                    <a:pt x="13129" y="43805"/>
                    <a:pt x="25472" y="40720"/>
                  </a:cubicBezTo>
                  <a:cubicBezTo>
                    <a:pt x="34729" y="37634"/>
                    <a:pt x="43986" y="28377"/>
                    <a:pt x="40901" y="16034"/>
                  </a:cubicBezTo>
                  <a:cubicBezTo>
                    <a:pt x="37815" y="6777"/>
                    <a:pt x="28558" y="-2480"/>
                    <a:pt x="16215" y="605"/>
                  </a:cubicBezTo>
                  <a:cubicBezTo>
                    <a:pt x="3872" y="3691"/>
                    <a:pt x="-2299" y="16034"/>
                    <a:pt x="786" y="25291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8" name="任意多边形: 形状 247">
              <a:extLst>
                <a:ext uri="{FF2B5EF4-FFF2-40B4-BE49-F238E27FC236}">
                  <a16:creationId xmlns:a16="http://schemas.microsoft.com/office/drawing/2014/main" id="{BCE93FE5-5945-495A-ADD0-AD298014FBA7}"/>
                </a:ext>
              </a:extLst>
            </p:cNvPr>
            <p:cNvSpPr/>
            <p:nvPr/>
          </p:nvSpPr>
          <p:spPr>
            <a:xfrm>
              <a:off x="3579793" y="2434024"/>
              <a:ext cx="41505" cy="41505"/>
            </a:xfrm>
            <a:custGeom>
              <a:avLst/>
              <a:gdLst>
                <a:gd name="connsiteX0" fmla="*/ 786 w 41505"/>
                <a:gd name="connsiteY0" fmla="*/ 25472 h 41505"/>
                <a:gd name="connsiteX1" fmla="*/ 25472 w 41505"/>
                <a:gd name="connsiteY1" fmla="*/ 40901 h 41505"/>
                <a:gd name="connsiteX2" fmla="*/ 40901 w 41505"/>
                <a:gd name="connsiteY2" fmla="*/ 16215 h 41505"/>
                <a:gd name="connsiteX3" fmla="*/ 16215 w 41505"/>
                <a:gd name="connsiteY3" fmla="*/ 786 h 41505"/>
                <a:gd name="connsiteX4" fmla="*/ 786 w 41505"/>
                <a:gd name="connsiteY4" fmla="*/ 25472 h 4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5" h="41505">
                  <a:moveTo>
                    <a:pt x="786" y="25472"/>
                  </a:moveTo>
                  <a:cubicBezTo>
                    <a:pt x="3872" y="34729"/>
                    <a:pt x="13129" y="43986"/>
                    <a:pt x="25472" y="40901"/>
                  </a:cubicBezTo>
                  <a:cubicBezTo>
                    <a:pt x="34729" y="37815"/>
                    <a:pt x="43986" y="28558"/>
                    <a:pt x="40901" y="16215"/>
                  </a:cubicBezTo>
                  <a:cubicBezTo>
                    <a:pt x="37815" y="3872"/>
                    <a:pt x="28558" y="-2299"/>
                    <a:pt x="16215" y="786"/>
                  </a:cubicBezTo>
                  <a:cubicBezTo>
                    <a:pt x="3872" y="3872"/>
                    <a:pt x="-2299" y="16215"/>
                    <a:pt x="786" y="25472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9" name="任意多边形: 形状 248">
              <a:extLst>
                <a:ext uri="{FF2B5EF4-FFF2-40B4-BE49-F238E27FC236}">
                  <a16:creationId xmlns:a16="http://schemas.microsoft.com/office/drawing/2014/main" id="{5B5C6838-AC47-411A-8DA6-862CF366F40D}"/>
                </a:ext>
              </a:extLst>
            </p:cNvPr>
            <p:cNvSpPr/>
            <p:nvPr/>
          </p:nvSpPr>
          <p:spPr>
            <a:xfrm>
              <a:off x="3745930" y="2382353"/>
              <a:ext cx="93078" cy="30857"/>
            </a:xfrm>
            <a:custGeom>
              <a:avLst/>
              <a:gdLst>
                <a:gd name="connsiteX0" fmla="*/ 84592 w 93078"/>
                <a:gd name="connsiteY0" fmla="*/ 30857 h 30857"/>
                <a:gd name="connsiteX1" fmla="*/ 78421 w 93078"/>
                <a:gd name="connsiteY1" fmla="*/ 27771 h 30857"/>
                <a:gd name="connsiteX2" fmla="*/ 10535 w 93078"/>
                <a:gd name="connsiteY2" fmla="*/ 21600 h 30857"/>
                <a:gd name="connsiteX3" fmla="*/ 1278 w 93078"/>
                <a:gd name="connsiteY3" fmla="*/ 18514 h 30857"/>
                <a:gd name="connsiteX4" fmla="*/ 4364 w 93078"/>
                <a:gd name="connsiteY4" fmla="*/ 9257 h 30857"/>
                <a:gd name="connsiteX5" fmla="*/ 90764 w 93078"/>
                <a:gd name="connsiteY5" fmla="*/ 18514 h 30857"/>
                <a:gd name="connsiteX6" fmla="*/ 90764 w 93078"/>
                <a:gd name="connsiteY6" fmla="*/ 30857 h 30857"/>
                <a:gd name="connsiteX7" fmla="*/ 84592 w 93078"/>
                <a:gd name="connsiteY7" fmla="*/ 30857 h 3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0857">
                  <a:moveTo>
                    <a:pt x="84592" y="30857"/>
                  </a:moveTo>
                  <a:cubicBezTo>
                    <a:pt x="81507" y="30857"/>
                    <a:pt x="81507" y="30857"/>
                    <a:pt x="78421" y="27771"/>
                  </a:cubicBezTo>
                  <a:cubicBezTo>
                    <a:pt x="53735" y="0"/>
                    <a:pt x="13621" y="18514"/>
                    <a:pt x="10535" y="21600"/>
                  </a:cubicBezTo>
                  <a:cubicBezTo>
                    <a:pt x="7450" y="24686"/>
                    <a:pt x="1278" y="21600"/>
                    <a:pt x="1278" y="18514"/>
                  </a:cubicBezTo>
                  <a:cubicBezTo>
                    <a:pt x="-1808" y="15429"/>
                    <a:pt x="1278" y="9257"/>
                    <a:pt x="4364" y="9257"/>
                  </a:cubicBezTo>
                  <a:cubicBezTo>
                    <a:pt x="22878" y="0"/>
                    <a:pt x="62992" y="-9257"/>
                    <a:pt x="90764" y="18514"/>
                  </a:cubicBezTo>
                  <a:cubicBezTo>
                    <a:pt x="93850" y="21600"/>
                    <a:pt x="93850" y="27771"/>
                    <a:pt x="90764" y="30857"/>
                  </a:cubicBezTo>
                  <a:cubicBezTo>
                    <a:pt x="87678" y="30857"/>
                    <a:pt x="84592" y="30857"/>
                    <a:pt x="84592" y="30857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0" name="任意多边形: 形状 249">
              <a:extLst>
                <a:ext uri="{FF2B5EF4-FFF2-40B4-BE49-F238E27FC236}">
                  <a16:creationId xmlns:a16="http://schemas.microsoft.com/office/drawing/2014/main" id="{FF059B45-8B56-47F2-80E8-866620A6F5A9}"/>
                </a:ext>
              </a:extLst>
            </p:cNvPr>
            <p:cNvSpPr/>
            <p:nvPr/>
          </p:nvSpPr>
          <p:spPr>
            <a:xfrm>
              <a:off x="3550494" y="2377210"/>
              <a:ext cx="93078" cy="36000"/>
            </a:xfrm>
            <a:custGeom>
              <a:avLst/>
              <a:gdLst>
                <a:gd name="connsiteX0" fmla="*/ 8486 w 93078"/>
                <a:gd name="connsiteY0" fmla="*/ 36000 h 36000"/>
                <a:gd name="connsiteX1" fmla="*/ 2314 w 93078"/>
                <a:gd name="connsiteY1" fmla="*/ 32914 h 36000"/>
                <a:gd name="connsiteX2" fmla="*/ 2314 w 93078"/>
                <a:gd name="connsiteY2" fmla="*/ 20571 h 36000"/>
                <a:gd name="connsiteX3" fmla="*/ 88714 w 93078"/>
                <a:gd name="connsiteY3" fmla="*/ 11314 h 36000"/>
                <a:gd name="connsiteX4" fmla="*/ 91800 w 93078"/>
                <a:gd name="connsiteY4" fmla="*/ 23657 h 36000"/>
                <a:gd name="connsiteX5" fmla="*/ 79457 w 93078"/>
                <a:gd name="connsiteY5" fmla="*/ 26743 h 36000"/>
                <a:gd name="connsiteX6" fmla="*/ 11571 w 93078"/>
                <a:gd name="connsiteY6" fmla="*/ 32914 h 36000"/>
                <a:gd name="connsiteX7" fmla="*/ 8486 w 93078"/>
                <a:gd name="connsiteY7" fmla="*/ 36000 h 3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078" h="36000">
                  <a:moveTo>
                    <a:pt x="8486" y="36000"/>
                  </a:moveTo>
                  <a:cubicBezTo>
                    <a:pt x="5400" y="36000"/>
                    <a:pt x="5400" y="36000"/>
                    <a:pt x="2314" y="32914"/>
                  </a:cubicBezTo>
                  <a:cubicBezTo>
                    <a:pt x="-771" y="29829"/>
                    <a:pt x="-771" y="23657"/>
                    <a:pt x="2314" y="20571"/>
                  </a:cubicBezTo>
                  <a:cubicBezTo>
                    <a:pt x="14657" y="8229"/>
                    <a:pt x="51686" y="-13371"/>
                    <a:pt x="88714" y="11314"/>
                  </a:cubicBezTo>
                  <a:cubicBezTo>
                    <a:pt x="91800" y="14400"/>
                    <a:pt x="94886" y="17486"/>
                    <a:pt x="91800" y="23657"/>
                  </a:cubicBezTo>
                  <a:cubicBezTo>
                    <a:pt x="88714" y="26743"/>
                    <a:pt x="85629" y="29829"/>
                    <a:pt x="79457" y="26743"/>
                  </a:cubicBezTo>
                  <a:cubicBezTo>
                    <a:pt x="42429" y="2057"/>
                    <a:pt x="14657" y="32914"/>
                    <a:pt x="11571" y="32914"/>
                  </a:cubicBezTo>
                  <a:cubicBezTo>
                    <a:pt x="14657" y="36000"/>
                    <a:pt x="11571" y="36000"/>
                    <a:pt x="8486" y="36000"/>
                  </a:cubicBezTo>
                  <a:close/>
                </a:path>
              </a:pathLst>
            </a:custGeom>
            <a:solidFill>
              <a:srgbClr val="664540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1" name="任意多边形: 形状 250">
              <a:extLst>
                <a:ext uri="{FF2B5EF4-FFF2-40B4-BE49-F238E27FC236}">
                  <a16:creationId xmlns:a16="http://schemas.microsoft.com/office/drawing/2014/main" id="{FED5FB03-A334-4887-832E-A75383ED2ECB}"/>
                </a:ext>
              </a:extLst>
            </p:cNvPr>
            <p:cNvSpPr/>
            <p:nvPr/>
          </p:nvSpPr>
          <p:spPr>
            <a:xfrm>
              <a:off x="3617524" y="2132888"/>
              <a:ext cx="278148" cy="280322"/>
            </a:xfrm>
            <a:custGeom>
              <a:avLst/>
              <a:gdLst>
                <a:gd name="connsiteX0" fmla="*/ 3170 w 278148"/>
                <a:gd name="connsiteY0" fmla="*/ 2608 h 280322"/>
                <a:gd name="connsiteX1" fmla="*/ 37113 w 278148"/>
                <a:gd name="connsiteY1" fmla="*/ 150722 h 280322"/>
                <a:gd name="connsiteX2" fmla="*/ 277799 w 278148"/>
                <a:gd name="connsiteY2" fmla="*/ 280322 h 280322"/>
                <a:gd name="connsiteX3" fmla="*/ 3170 w 278148"/>
                <a:gd name="connsiteY3" fmla="*/ 2608 h 280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148" h="280322">
                  <a:moveTo>
                    <a:pt x="3170" y="2608"/>
                  </a:moveTo>
                  <a:cubicBezTo>
                    <a:pt x="3170" y="2608"/>
                    <a:pt x="-15344" y="110608"/>
                    <a:pt x="37113" y="150722"/>
                  </a:cubicBezTo>
                  <a:cubicBezTo>
                    <a:pt x="37113" y="150722"/>
                    <a:pt x="250027" y="193922"/>
                    <a:pt x="277799" y="280322"/>
                  </a:cubicBezTo>
                  <a:cubicBezTo>
                    <a:pt x="277799" y="277236"/>
                    <a:pt x="299399" y="-31335"/>
                    <a:pt x="3170" y="2608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2" name="任意多边形: 形状 251">
              <a:extLst>
                <a:ext uri="{FF2B5EF4-FFF2-40B4-BE49-F238E27FC236}">
                  <a16:creationId xmlns:a16="http://schemas.microsoft.com/office/drawing/2014/main" id="{B8292E7A-0EFA-41B1-A879-7CF24445385B}"/>
                </a:ext>
              </a:extLst>
            </p:cNvPr>
            <p:cNvSpPr/>
            <p:nvPr/>
          </p:nvSpPr>
          <p:spPr>
            <a:xfrm>
              <a:off x="3353914" y="2135496"/>
              <a:ext cx="300722" cy="355322"/>
            </a:xfrm>
            <a:custGeom>
              <a:avLst/>
              <a:gdLst>
                <a:gd name="connsiteX0" fmla="*/ 300722 w 300722"/>
                <a:gd name="connsiteY0" fmla="*/ 148114 h 355322"/>
                <a:gd name="connsiteX1" fmla="*/ 158780 w 300722"/>
                <a:gd name="connsiteY1" fmla="*/ 203657 h 355322"/>
                <a:gd name="connsiteX2" fmla="*/ 100151 w 300722"/>
                <a:gd name="connsiteY2" fmla="*/ 324000 h 355322"/>
                <a:gd name="connsiteX3" fmla="*/ 10665 w 300722"/>
                <a:gd name="connsiteY3" fmla="*/ 345600 h 355322"/>
                <a:gd name="connsiteX4" fmla="*/ 269865 w 300722"/>
                <a:gd name="connsiteY4" fmla="*/ 0 h 355322"/>
                <a:gd name="connsiteX5" fmla="*/ 300722 w 300722"/>
                <a:gd name="connsiteY5" fmla="*/ 148114 h 355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0722" h="355322">
                  <a:moveTo>
                    <a:pt x="300722" y="148114"/>
                  </a:moveTo>
                  <a:cubicBezTo>
                    <a:pt x="300722" y="148114"/>
                    <a:pt x="208151" y="197486"/>
                    <a:pt x="158780" y="203657"/>
                  </a:cubicBezTo>
                  <a:cubicBezTo>
                    <a:pt x="106322" y="209829"/>
                    <a:pt x="100151" y="324000"/>
                    <a:pt x="100151" y="324000"/>
                  </a:cubicBezTo>
                  <a:cubicBezTo>
                    <a:pt x="100151" y="324000"/>
                    <a:pt x="26094" y="376457"/>
                    <a:pt x="10665" y="345600"/>
                  </a:cubicBezTo>
                  <a:cubicBezTo>
                    <a:pt x="-23278" y="277714"/>
                    <a:pt x="13751" y="0"/>
                    <a:pt x="269865" y="0"/>
                  </a:cubicBezTo>
                  <a:cubicBezTo>
                    <a:pt x="266780" y="0"/>
                    <a:pt x="276037" y="141943"/>
                    <a:pt x="300722" y="148114"/>
                  </a:cubicBez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3" name="任意多边形: 形状 252">
              <a:extLst>
                <a:ext uri="{FF2B5EF4-FFF2-40B4-BE49-F238E27FC236}">
                  <a16:creationId xmlns:a16="http://schemas.microsoft.com/office/drawing/2014/main" id="{1182DFB0-43DF-4D89-B809-ACEE5D1853FB}"/>
                </a:ext>
              </a:extLst>
            </p:cNvPr>
            <p:cNvSpPr/>
            <p:nvPr/>
          </p:nvSpPr>
          <p:spPr>
            <a:xfrm>
              <a:off x="3503437" y="2132410"/>
              <a:ext cx="155657" cy="209828"/>
            </a:xfrm>
            <a:custGeom>
              <a:avLst/>
              <a:gdLst>
                <a:gd name="connsiteX0" fmla="*/ 6171 w 155657"/>
                <a:gd name="connsiteY0" fmla="*/ 209829 h 209828"/>
                <a:gd name="connsiteX1" fmla="*/ 0 w 155657"/>
                <a:gd name="connsiteY1" fmla="*/ 203657 h 209828"/>
                <a:gd name="connsiteX2" fmla="*/ 6171 w 155657"/>
                <a:gd name="connsiteY2" fmla="*/ 197486 h 209828"/>
                <a:gd name="connsiteX3" fmla="*/ 101829 w 155657"/>
                <a:gd name="connsiteY3" fmla="*/ 166629 h 209828"/>
                <a:gd name="connsiteX4" fmla="*/ 141943 w 155657"/>
                <a:gd name="connsiteY4" fmla="*/ 145029 h 209828"/>
                <a:gd name="connsiteX5" fmla="*/ 126514 w 155657"/>
                <a:gd name="connsiteY5" fmla="*/ 123429 h 209828"/>
                <a:gd name="connsiteX6" fmla="*/ 114171 w 155657"/>
                <a:gd name="connsiteY6" fmla="*/ 80229 h 209828"/>
                <a:gd name="connsiteX7" fmla="*/ 111086 w 155657"/>
                <a:gd name="connsiteY7" fmla="*/ 43200 h 209828"/>
                <a:gd name="connsiteX8" fmla="*/ 108000 w 155657"/>
                <a:gd name="connsiteY8" fmla="*/ 6171 h 209828"/>
                <a:gd name="connsiteX9" fmla="*/ 114171 w 155657"/>
                <a:gd name="connsiteY9" fmla="*/ 0 h 209828"/>
                <a:gd name="connsiteX10" fmla="*/ 120343 w 155657"/>
                <a:gd name="connsiteY10" fmla="*/ 6171 h 209828"/>
                <a:gd name="connsiteX11" fmla="*/ 123429 w 155657"/>
                <a:gd name="connsiteY11" fmla="*/ 46286 h 209828"/>
                <a:gd name="connsiteX12" fmla="*/ 126514 w 155657"/>
                <a:gd name="connsiteY12" fmla="*/ 83314 h 209828"/>
                <a:gd name="connsiteX13" fmla="*/ 135771 w 155657"/>
                <a:gd name="connsiteY13" fmla="*/ 123429 h 209828"/>
                <a:gd name="connsiteX14" fmla="*/ 154286 w 155657"/>
                <a:gd name="connsiteY14" fmla="*/ 148114 h 209828"/>
                <a:gd name="connsiteX15" fmla="*/ 154286 w 155657"/>
                <a:gd name="connsiteY15" fmla="*/ 151200 h 209828"/>
                <a:gd name="connsiteX16" fmla="*/ 151200 w 155657"/>
                <a:gd name="connsiteY16" fmla="*/ 154286 h 209828"/>
                <a:gd name="connsiteX17" fmla="*/ 104914 w 155657"/>
                <a:gd name="connsiteY17" fmla="*/ 178971 h 209828"/>
                <a:gd name="connsiteX18" fmla="*/ 6171 w 155657"/>
                <a:gd name="connsiteY18" fmla="*/ 209829 h 209828"/>
                <a:gd name="connsiteX19" fmla="*/ 6171 w 155657"/>
                <a:gd name="connsiteY19" fmla="*/ 209829 h 209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5657" h="209828">
                  <a:moveTo>
                    <a:pt x="6171" y="209829"/>
                  </a:moveTo>
                  <a:cubicBezTo>
                    <a:pt x="3086" y="209829"/>
                    <a:pt x="0" y="206743"/>
                    <a:pt x="0" y="203657"/>
                  </a:cubicBezTo>
                  <a:cubicBezTo>
                    <a:pt x="0" y="200571"/>
                    <a:pt x="3086" y="197486"/>
                    <a:pt x="6171" y="197486"/>
                  </a:cubicBezTo>
                  <a:cubicBezTo>
                    <a:pt x="33943" y="194400"/>
                    <a:pt x="67886" y="182057"/>
                    <a:pt x="101829" y="166629"/>
                  </a:cubicBezTo>
                  <a:cubicBezTo>
                    <a:pt x="120343" y="157371"/>
                    <a:pt x="132686" y="151200"/>
                    <a:pt x="141943" y="145029"/>
                  </a:cubicBezTo>
                  <a:cubicBezTo>
                    <a:pt x="135771" y="138857"/>
                    <a:pt x="129600" y="132686"/>
                    <a:pt x="126514" y="123429"/>
                  </a:cubicBezTo>
                  <a:cubicBezTo>
                    <a:pt x="120343" y="108000"/>
                    <a:pt x="117257" y="92571"/>
                    <a:pt x="114171" y="80229"/>
                  </a:cubicBezTo>
                  <a:cubicBezTo>
                    <a:pt x="114171" y="74057"/>
                    <a:pt x="114171" y="58629"/>
                    <a:pt x="111086" y="43200"/>
                  </a:cubicBezTo>
                  <a:cubicBezTo>
                    <a:pt x="111086" y="27771"/>
                    <a:pt x="111086" y="12343"/>
                    <a:pt x="108000" y="6171"/>
                  </a:cubicBezTo>
                  <a:cubicBezTo>
                    <a:pt x="108000" y="3086"/>
                    <a:pt x="111086" y="0"/>
                    <a:pt x="114171" y="0"/>
                  </a:cubicBezTo>
                  <a:cubicBezTo>
                    <a:pt x="117257" y="0"/>
                    <a:pt x="120343" y="3086"/>
                    <a:pt x="120343" y="6171"/>
                  </a:cubicBezTo>
                  <a:cubicBezTo>
                    <a:pt x="120343" y="12343"/>
                    <a:pt x="120343" y="27771"/>
                    <a:pt x="123429" y="46286"/>
                  </a:cubicBezTo>
                  <a:cubicBezTo>
                    <a:pt x="123429" y="61714"/>
                    <a:pt x="123429" y="77143"/>
                    <a:pt x="126514" y="83314"/>
                  </a:cubicBezTo>
                  <a:cubicBezTo>
                    <a:pt x="129600" y="98743"/>
                    <a:pt x="129600" y="111086"/>
                    <a:pt x="135771" y="123429"/>
                  </a:cubicBezTo>
                  <a:cubicBezTo>
                    <a:pt x="138857" y="132686"/>
                    <a:pt x="148114" y="138857"/>
                    <a:pt x="154286" y="148114"/>
                  </a:cubicBezTo>
                  <a:cubicBezTo>
                    <a:pt x="154286" y="148114"/>
                    <a:pt x="157371" y="151200"/>
                    <a:pt x="154286" y="151200"/>
                  </a:cubicBezTo>
                  <a:cubicBezTo>
                    <a:pt x="154286" y="154286"/>
                    <a:pt x="154286" y="154286"/>
                    <a:pt x="151200" y="154286"/>
                  </a:cubicBezTo>
                  <a:cubicBezTo>
                    <a:pt x="151200" y="154286"/>
                    <a:pt x="132686" y="166629"/>
                    <a:pt x="104914" y="178971"/>
                  </a:cubicBezTo>
                  <a:cubicBezTo>
                    <a:pt x="70971" y="194400"/>
                    <a:pt x="37029" y="206743"/>
                    <a:pt x="6171" y="209829"/>
                  </a:cubicBezTo>
                  <a:cubicBezTo>
                    <a:pt x="9257" y="209829"/>
                    <a:pt x="9257" y="209829"/>
                    <a:pt x="6171" y="209829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4" name="任意多边形: 形状 253">
              <a:extLst>
                <a:ext uri="{FF2B5EF4-FFF2-40B4-BE49-F238E27FC236}">
                  <a16:creationId xmlns:a16="http://schemas.microsoft.com/office/drawing/2014/main" id="{C05A9A05-A06D-48E4-A488-A07E7457B95B}"/>
                </a:ext>
              </a:extLst>
            </p:cNvPr>
            <p:cNvSpPr/>
            <p:nvPr/>
          </p:nvSpPr>
          <p:spPr>
            <a:xfrm>
              <a:off x="3506522" y="2647725"/>
              <a:ext cx="314742" cy="330171"/>
            </a:xfrm>
            <a:custGeom>
              <a:avLst/>
              <a:gdLst>
                <a:gd name="connsiteX0" fmla="*/ 259200 w 314742"/>
                <a:gd name="connsiteY0" fmla="*/ 61714 h 330171"/>
                <a:gd name="connsiteX1" fmla="*/ 314743 w 314742"/>
                <a:gd name="connsiteY1" fmla="*/ 203657 h 330171"/>
                <a:gd name="connsiteX2" fmla="*/ 197486 w 314742"/>
                <a:gd name="connsiteY2" fmla="*/ 330171 h 330171"/>
                <a:gd name="connsiteX3" fmla="*/ 0 w 314742"/>
                <a:gd name="connsiteY3" fmla="*/ 188229 h 330171"/>
                <a:gd name="connsiteX4" fmla="*/ 52457 w 314742"/>
                <a:gd name="connsiteY4" fmla="*/ 0 h 330171"/>
                <a:gd name="connsiteX5" fmla="*/ 259200 w 314742"/>
                <a:gd name="connsiteY5" fmla="*/ 61714 h 330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4742" h="330171">
                  <a:moveTo>
                    <a:pt x="259200" y="61714"/>
                  </a:moveTo>
                  <a:cubicBezTo>
                    <a:pt x="259200" y="61714"/>
                    <a:pt x="253029" y="172800"/>
                    <a:pt x="314743" y="203657"/>
                  </a:cubicBezTo>
                  <a:lnTo>
                    <a:pt x="197486" y="330171"/>
                  </a:lnTo>
                  <a:cubicBezTo>
                    <a:pt x="197486" y="330171"/>
                    <a:pt x="55543" y="219086"/>
                    <a:pt x="0" y="188229"/>
                  </a:cubicBezTo>
                  <a:cubicBezTo>
                    <a:pt x="55543" y="145029"/>
                    <a:pt x="52457" y="61714"/>
                    <a:pt x="52457" y="0"/>
                  </a:cubicBezTo>
                  <a:cubicBezTo>
                    <a:pt x="55543" y="0"/>
                    <a:pt x="206743" y="67886"/>
                    <a:pt x="259200" y="61714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5" name="任意多边形: 形状 254">
              <a:extLst>
                <a:ext uri="{FF2B5EF4-FFF2-40B4-BE49-F238E27FC236}">
                  <a16:creationId xmlns:a16="http://schemas.microsoft.com/office/drawing/2014/main" id="{DCC9C0E6-C88B-4719-86F2-7F6AFDF27BB8}"/>
                </a:ext>
              </a:extLst>
            </p:cNvPr>
            <p:cNvSpPr/>
            <p:nvPr/>
          </p:nvSpPr>
          <p:spPr>
            <a:xfrm>
              <a:off x="3552808" y="2684753"/>
              <a:ext cx="224485" cy="80228"/>
            </a:xfrm>
            <a:custGeom>
              <a:avLst/>
              <a:gdLst>
                <a:gd name="connsiteX0" fmla="*/ 151200 w 224485"/>
                <a:gd name="connsiteY0" fmla="*/ 80229 h 80228"/>
                <a:gd name="connsiteX1" fmla="*/ 141943 w 224485"/>
                <a:gd name="connsiteY1" fmla="*/ 80229 h 80228"/>
                <a:gd name="connsiteX2" fmla="*/ 3086 w 224485"/>
                <a:gd name="connsiteY2" fmla="*/ 12343 h 80228"/>
                <a:gd name="connsiteX3" fmla="*/ 0 w 224485"/>
                <a:gd name="connsiteY3" fmla="*/ 3086 h 80228"/>
                <a:gd name="connsiteX4" fmla="*/ 9257 w 224485"/>
                <a:gd name="connsiteY4" fmla="*/ 0 h 80228"/>
                <a:gd name="connsiteX5" fmla="*/ 141943 w 224485"/>
                <a:gd name="connsiteY5" fmla="*/ 67886 h 80228"/>
                <a:gd name="connsiteX6" fmla="*/ 212914 w 224485"/>
                <a:gd name="connsiteY6" fmla="*/ 43200 h 80228"/>
                <a:gd name="connsiteX7" fmla="*/ 222171 w 224485"/>
                <a:gd name="connsiteY7" fmla="*/ 43200 h 80228"/>
                <a:gd name="connsiteX8" fmla="*/ 222171 w 224485"/>
                <a:gd name="connsiteY8" fmla="*/ 52457 h 80228"/>
                <a:gd name="connsiteX9" fmla="*/ 151200 w 224485"/>
                <a:gd name="connsiteY9" fmla="*/ 80229 h 8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485" h="80228">
                  <a:moveTo>
                    <a:pt x="151200" y="80229"/>
                  </a:moveTo>
                  <a:cubicBezTo>
                    <a:pt x="148114" y="80229"/>
                    <a:pt x="145029" y="80229"/>
                    <a:pt x="141943" y="80229"/>
                  </a:cubicBezTo>
                  <a:cubicBezTo>
                    <a:pt x="98743" y="74057"/>
                    <a:pt x="6171" y="12343"/>
                    <a:pt x="3086" y="12343"/>
                  </a:cubicBezTo>
                  <a:cubicBezTo>
                    <a:pt x="0" y="9257"/>
                    <a:pt x="0" y="6171"/>
                    <a:pt x="0" y="3086"/>
                  </a:cubicBezTo>
                  <a:cubicBezTo>
                    <a:pt x="3086" y="0"/>
                    <a:pt x="6171" y="0"/>
                    <a:pt x="9257" y="0"/>
                  </a:cubicBezTo>
                  <a:cubicBezTo>
                    <a:pt x="9257" y="0"/>
                    <a:pt x="104914" y="61714"/>
                    <a:pt x="141943" y="67886"/>
                  </a:cubicBezTo>
                  <a:cubicBezTo>
                    <a:pt x="178971" y="74057"/>
                    <a:pt x="212914" y="43200"/>
                    <a:pt x="212914" y="43200"/>
                  </a:cubicBezTo>
                  <a:cubicBezTo>
                    <a:pt x="216000" y="40114"/>
                    <a:pt x="219086" y="40114"/>
                    <a:pt x="222171" y="43200"/>
                  </a:cubicBezTo>
                  <a:cubicBezTo>
                    <a:pt x="225257" y="46286"/>
                    <a:pt x="225257" y="49371"/>
                    <a:pt x="222171" y="52457"/>
                  </a:cubicBezTo>
                  <a:cubicBezTo>
                    <a:pt x="219086" y="55543"/>
                    <a:pt x="188229" y="80229"/>
                    <a:pt x="151200" y="80229"/>
                  </a:cubicBezTo>
                  <a:close/>
                </a:path>
              </a:pathLst>
            </a:custGeom>
            <a:solidFill>
              <a:srgbClr val="E58777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6" name="任意多边形: 形状 255">
              <a:extLst>
                <a:ext uri="{FF2B5EF4-FFF2-40B4-BE49-F238E27FC236}">
                  <a16:creationId xmlns:a16="http://schemas.microsoft.com/office/drawing/2014/main" id="{86909A79-EE4F-41EF-9680-05BA6A0DD844}"/>
                </a:ext>
              </a:extLst>
            </p:cNvPr>
            <p:cNvSpPr/>
            <p:nvPr/>
          </p:nvSpPr>
          <p:spPr>
            <a:xfrm>
              <a:off x="3577494" y="3376149"/>
              <a:ext cx="405506" cy="36832"/>
            </a:xfrm>
            <a:custGeom>
              <a:avLst/>
              <a:gdLst>
                <a:gd name="connsiteX0" fmla="*/ 401143 w 405506"/>
                <a:gd name="connsiteY0" fmla="*/ 36832 h 36832"/>
                <a:gd name="connsiteX1" fmla="*/ 401143 w 405506"/>
                <a:gd name="connsiteY1" fmla="*/ 36832 h 36832"/>
                <a:gd name="connsiteX2" fmla="*/ 6171 w 405506"/>
                <a:gd name="connsiteY2" fmla="*/ 24489 h 36832"/>
                <a:gd name="connsiteX3" fmla="*/ 0 w 405506"/>
                <a:gd name="connsiteY3" fmla="*/ 21404 h 36832"/>
                <a:gd name="connsiteX4" fmla="*/ 3086 w 405506"/>
                <a:gd name="connsiteY4" fmla="*/ 15232 h 36832"/>
                <a:gd name="connsiteX5" fmla="*/ 401143 w 405506"/>
                <a:gd name="connsiteY5" fmla="*/ 27575 h 36832"/>
                <a:gd name="connsiteX6" fmla="*/ 404229 w 405506"/>
                <a:gd name="connsiteY6" fmla="*/ 33747 h 36832"/>
                <a:gd name="connsiteX7" fmla="*/ 401143 w 405506"/>
                <a:gd name="connsiteY7" fmla="*/ 36832 h 3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5506" h="36832">
                  <a:moveTo>
                    <a:pt x="401143" y="36832"/>
                  </a:moveTo>
                  <a:cubicBezTo>
                    <a:pt x="401143" y="36832"/>
                    <a:pt x="401143" y="36832"/>
                    <a:pt x="401143" y="36832"/>
                  </a:cubicBezTo>
                  <a:cubicBezTo>
                    <a:pt x="314743" y="5975"/>
                    <a:pt x="108000" y="-196"/>
                    <a:pt x="6171" y="24489"/>
                  </a:cubicBezTo>
                  <a:cubicBezTo>
                    <a:pt x="3086" y="24489"/>
                    <a:pt x="0" y="24489"/>
                    <a:pt x="0" y="21404"/>
                  </a:cubicBezTo>
                  <a:cubicBezTo>
                    <a:pt x="0" y="18318"/>
                    <a:pt x="0" y="15232"/>
                    <a:pt x="3086" y="15232"/>
                  </a:cubicBezTo>
                  <a:cubicBezTo>
                    <a:pt x="104914" y="-9454"/>
                    <a:pt x="314743" y="-3282"/>
                    <a:pt x="401143" y="27575"/>
                  </a:cubicBezTo>
                  <a:cubicBezTo>
                    <a:pt x="404229" y="27575"/>
                    <a:pt x="404229" y="30661"/>
                    <a:pt x="404229" y="33747"/>
                  </a:cubicBezTo>
                  <a:cubicBezTo>
                    <a:pt x="407314" y="36832"/>
                    <a:pt x="404229" y="36832"/>
                    <a:pt x="401143" y="36832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7" name="任意多边形: 形状 256">
              <a:extLst>
                <a:ext uri="{FF2B5EF4-FFF2-40B4-BE49-F238E27FC236}">
                  <a16:creationId xmlns:a16="http://schemas.microsoft.com/office/drawing/2014/main" id="{38FDBB7F-8F93-4578-B9F4-6A209CFA816B}"/>
                </a:ext>
              </a:extLst>
            </p:cNvPr>
            <p:cNvSpPr/>
            <p:nvPr/>
          </p:nvSpPr>
          <p:spPr>
            <a:xfrm>
              <a:off x="3412571" y="2442565"/>
              <a:ext cx="78522" cy="115430"/>
            </a:xfrm>
            <a:custGeom>
              <a:avLst/>
              <a:gdLst>
                <a:gd name="connsiteX0" fmla="*/ 66180 w 78522"/>
                <a:gd name="connsiteY0" fmla="*/ 16931 h 115430"/>
                <a:gd name="connsiteX1" fmla="*/ 7551 w 78522"/>
                <a:gd name="connsiteY1" fmla="*/ 7674 h 115430"/>
                <a:gd name="connsiteX2" fmla="*/ 66180 w 78522"/>
                <a:gd name="connsiteY2" fmla="*/ 112588 h 115430"/>
                <a:gd name="connsiteX3" fmla="*/ 66180 w 78522"/>
                <a:gd name="connsiteY3" fmla="*/ 16931 h 115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22" h="115430">
                  <a:moveTo>
                    <a:pt x="66180" y="16931"/>
                  </a:moveTo>
                  <a:cubicBezTo>
                    <a:pt x="66180" y="16931"/>
                    <a:pt x="32237" y="-13926"/>
                    <a:pt x="7551" y="7674"/>
                  </a:cubicBezTo>
                  <a:cubicBezTo>
                    <a:pt x="-17135" y="26188"/>
                    <a:pt x="22980" y="134188"/>
                    <a:pt x="66180" y="112588"/>
                  </a:cubicBezTo>
                  <a:cubicBezTo>
                    <a:pt x="93951" y="94074"/>
                    <a:pt x="66180" y="16931"/>
                    <a:pt x="66180" y="16931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8" name="任意多边形: 形状 257">
              <a:extLst>
                <a:ext uri="{FF2B5EF4-FFF2-40B4-BE49-F238E27FC236}">
                  <a16:creationId xmlns:a16="http://schemas.microsoft.com/office/drawing/2014/main" id="{CF96F041-F385-4972-8308-E1B2C99EEC5F}"/>
                </a:ext>
              </a:extLst>
            </p:cNvPr>
            <p:cNvSpPr/>
            <p:nvPr/>
          </p:nvSpPr>
          <p:spPr>
            <a:xfrm>
              <a:off x="3779873" y="2322446"/>
              <a:ext cx="149392" cy="164820"/>
            </a:xfrm>
            <a:custGeom>
              <a:avLst/>
              <a:gdLst>
                <a:gd name="connsiteX0" fmla="*/ 143221 w 149392"/>
                <a:gd name="connsiteY0" fmla="*/ 164821 h 164820"/>
                <a:gd name="connsiteX1" fmla="*/ 137050 w 149392"/>
                <a:gd name="connsiteY1" fmla="*/ 161735 h 164820"/>
                <a:gd name="connsiteX2" fmla="*/ 4364 w 149392"/>
                <a:gd name="connsiteY2" fmla="*/ 10535 h 164820"/>
                <a:gd name="connsiteX3" fmla="*/ 1278 w 149392"/>
                <a:gd name="connsiteY3" fmla="*/ 4364 h 164820"/>
                <a:gd name="connsiteX4" fmla="*/ 7450 w 149392"/>
                <a:gd name="connsiteY4" fmla="*/ 1278 h 164820"/>
                <a:gd name="connsiteX5" fmla="*/ 149392 w 149392"/>
                <a:gd name="connsiteY5" fmla="*/ 161735 h 164820"/>
                <a:gd name="connsiteX6" fmla="*/ 143221 w 149392"/>
                <a:gd name="connsiteY6" fmla="*/ 164821 h 164820"/>
                <a:gd name="connsiteX7" fmla="*/ 143221 w 149392"/>
                <a:gd name="connsiteY7" fmla="*/ 164821 h 16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392" h="164820">
                  <a:moveTo>
                    <a:pt x="143221" y="164821"/>
                  </a:moveTo>
                  <a:cubicBezTo>
                    <a:pt x="140135" y="164821"/>
                    <a:pt x="137050" y="161735"/>
                    <a:pt x="137050" y="161735"/>
                  </a:cubicBezTo>
                  <a:cubicBezTo>
                    <a:pt x="112364" y="38307"/>
                    <a:pt x="4364" y="10535"/>
                    <a:pt x="4364" y="10535"/>
                  </a:cubicBezTo>
                  <a:cubicBezTo>
                    <a:pt x="1278" y="10535"/>
                    <a:pt x="-1808" y="7450"/>
                    <a:pt x="1278" y="4364"/>
                  </a:cubicBezTo>
                  <a:cubicBezTo>
                    <a:pt x="1278" y="1278"/>
                    <a:pt x="4364" y="-1808"/>
                    <a:pt x="7450" y="1278"/>
                  </a:cubicBezTo>
                  <a:cubicBezTo>
                    <a:pt x="7450" y="1278"/>
                    <a:pt x="124707" y="32135"/>
                    <a:pt x="149392" y="161735"/>
                  </a:cubicBezTo>
                  <a:cubicBezTo>
                    <a:pt x="149392" y="161735"/>
                    <a:pt x="149392" y="164821"/>
                    <a:pt x="143221" y="164821"/>
                  </a:cubicBezTo>
                  <a:cubicBezTo>
                    <a:pt x="143221" y="164821"/>
                    <a:pt x="143221" y="164821"/>
                    <a:pt x="143221" y="164821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9" name="任意多边形: 形状 258">
              <a:extLst>
                <a:ext uri="{FF2B5EF4-FFF2-40B4-BE49-F238E27FC236}">
                  <a16:creationId xmlns:a16="http://schemas.microsoft.com/office/drawing/2014/main" id="{8C164965-C597-4353-800E-4AA2C727AE4E}"/>
                </a:ext>
              </a:extLst>
            </p:cNvPr>
            <p:cNvSpPr/>
            <p:nvPr/>
          </p:nvSpPr>
          <p:spPr>
            <a:xfrm>
              <a:off x="3447894" y="2265096"/>
              <a:ext cx="111085" cy="188228"/>
            </a:xfrm>
            <a:custGeom>
              <a:avLst/>
              <a:gdLst>
                <a:gd name="connsiteX0" fmla="*/ 6171 w 111085"/>
                <a:gd name="connsiteY0" fmla="*/ 188229 h 188228"/>
                <a:gd name="connsiteX1" fmla="*/ 6171 w 111085"/>
                <a:gd name="connsiteY1" fmla="*/ 188229 h 188228"/>
                <a:gd name="connsiteX2" fmla="*/ 0 w 111085"/>
                <a:gd name="connsiteY2" fmla="*/ 182057 h 188228"/>
                <a:gd name="connsiteX3" fmla="*/ 52457 w 111085"/>
                <a:gd name="connsiteY3" fmla="*/ 67886 h 188228"/>
                <a:gd name="connsiteX4" fmla="*/ 101829 w 111085"/>
                <a:gd name="connsiteY4" fmla="*/ 3086 h 188228"/>
                <a:gd name="connsiteX5" fmla="*/ 108000 w 111085"/>
                <a:gd name="connsiteY5" fmla="*/ 0 h 188228"/>
                <a:gd name="connsiteX6" fmla="*/ 111086 w 111085"/>
                <a:gd name="connsiteY6" fmla="*/ 6171 h 188228"/>
                <a:gd name="connsiteX7" fmla="*/ 55543 w 111085"/>
                <a:gd name="connsiteY7" fmla="*/ 74057 h 188228"/>
                <a:gd name="connsiteX8" fmla="*/ 9257 w 111085"/>
                <a:gd name="connsiteY8" fmla="*/ 182057 h 188228"/>
                <a:gd name="connsiteX9" fmla="*/ 6171 w 111085"/>
                <a:gd name="connsiteY9" fmla="*/ 188229 h 188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1085" h="188228">
                  <a:moveTo>
                    <a:pt x="6171" y="188229"/>
                  </a:moveTo>
                  <a:cubicBezTo>
                    <a:pt x="6171" y="188229"/>
                    <a:pt x="3086" y="188229"/>
                    <a:pt x="6171" y="188229"/>
                  </a:cubicBezTo>
                  <a:cubicBezTo>
                    <a:pt x="3086" y="188229"/>
                    <a:pt x="0" y="185143"/>
                    <a:pt x="0" y="182057"/>
                  </a:cubicBezTo>
                  <a:cubicBezTo>
                    <a:pt x="0" y="166629"/>
                    <a:pt x="12343" y="95657"/>
                    <a:pt x="52457" y="67886"/>
                  </a:cubicBezTo>
                  <a:cubicBezTo>
                    <a:pt x="83314" y="46286"/>
                    <a:pt x="101829" y="3086"/>
                    <a:pt x="101829" y="3086"/>
                  </a:cubicBezTo>
                  <a:cubicBezTo>
                    <a:pt x="101829" y="0"/>
                    <a:pt x="108000" y="0"/>
                    <a:pt x="108000" y="0"/>
                  </a:cubicBezTo>
                  <a:cubicBezTo>
                    <a:pt x="111086" y="0"/>
                    <a:pt x="111086" y="6171"/>
                    <a:pt x="111086" y="6171"/>
                  </a:cubicBezTo>
                  <a:cubicBezTo>
                    <a:pt x="111086" y="9257"/>
                    <a:pt x="89486" y="49371"/>
                    <a:pt x="55543" y="74057"/>
                  </a:cubicBezTo>
                  <a:cubicBezTo>
                    <a:pt x="18514" y="98743"/>
                    <a:pt x="9257" y="166629"/>
                    <a:pt x="9257" y="182057"/>
                  </a:cubicBezTo>
                  <a:cubicBezTo>
                    <a:pt x="9257" y="188229"/>
                    <a:pt x="9257" y="188229"/>
                    <a:pt x="6171" y="188229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0" name="任意多边形: 形状 259">
              <a:extLst>
                <a:ext uri="{FF2B5EF4-FFF2-40B4-BE49-F238E27FC236}">
                  <a16:creationId xmlns:a16="http://schemas.microsoft.com/office/drawing/2014/main" id="{C20675B2-2A47-4B22-A6BC-5F6A2F78A8EE}"/>
                </a:ext>
              </a:extLst>
            </p:cNvPr>
            <p:cNvSpPr/>
            <p:nvPr/>
          </p:nvSpPr>
          <p:spPr>
            <a:xfrm>
              <a:off x="3484922" y="2839039"/>
              <a:ext cx="364114" cy="157371"/>
            </a:xfrm>
            <a:custGeom>
              <a:avLst/>
              <a:gdLst>
                <a:gd name="connsiteX0" fmla="*/ 327086 w 364114"/>
                <a:gd name="connsiteY0" fmla="*/ 6171 h 157371"/>
                <a:gd name="connsiteX1" fmla="*/ 222171 w 364114"/>
                <a:gd name="connsiteY1" fmla="*/ 123429 h 157371"/>
                <a:gd name="connsiteX2" fmla="*/ 24686 w 364114"/>
                <a:gd name="connsiteY2" fmla="*/ 0 h 157371"/>
                <a:gd name="connsiteX3" fmla="*/ 0 w 364114"/>
                <a:gd name="connsiteY3" fmla="*/ 9257 h 157371"/>
                <a:gd name="connsiteX4" fmla="*/ 225257 w 364114"/>
                <a:gd name="connsiteY4" fmla="*/ 157371 h 157371"/>
                <a:gd name="connsiteX5" fmla="*/ 364114 w 364114"/>
                <a:gd name="connsiteY5" fmla="*/ 15429 h 157371"/>
                <a:gd name="connsiteX6" fmla="*/ 327086 w 364114"/>
                <a:gd name="connsiteY6" fmla="*/ 6171 h 15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114" h="157371">
                  <a:moveTo>
                    <a:pt x="327086" y="6171"/>
                  </a:moveTo>
                  <a:lnTo>
                    <a:pt x="222171" y="123429"/>
                  </a:lnTo>
                  <a:cubicBezTo>
                    <a:pt x="222171" y="123429"/>
                    <a:pt x="89486" y="21600"/>
                    <a:pt x="24686" y="0"/>
                  </a:cubicBezTo>
                  <a:lnTo>
                    <a:pt x="0" y="9257"/>
                  </a:lnTo>
                  <a:lnTo>
                    <a:pt x="225257" y="157371"/>
                  </a:lnTo>
                  <a:lnTo>
                    <a:pt x="364114" y="15429"/>
                  </a:lnTo>
                  <a:cubicBezTo>
                    <a:pt x="364114" y="12343"/>
                    <a:pt x="348686" y="6171"/>
                    <a:pt x="327086" y="6171"/>
                  </a:cubicBezTo>
                  <a:close/>
                </a:path>
              </a:pathLst>
            </a:custGeom>
            <a:solidFill>
              <a:srgbClr val="D16156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1" name="任意多边形: 形状 260">
              <a:extLst>
                <a:ext uri="{FF2B5EF4-FFF2-40B4-BE49-F238E27FC236}">
                  <a16:creationId xmlns:a16="http://schemas.microsoft.com/office/drawing/2014/main" id="{C8C59231-5F8A-4223-BF12-61F22A4451E8}"/>
                </a:ext>
              </a:extLst>
            </p:cNvPr>
            <p:cNvSpPr/>
            <p:nvPr/>
          </p:nvSpPr>
          <p:spPr>
            <a:xfrm>
              <a:off x="3201037" y="3774010"/>
              <a:ext cx="938057" cy="193028"/>
            </a:xfrm>
            <a:custGeom>
              <a:avLst/>
              <a:gdLst>
                <a:gd name="connsiteX0" fmla="*/ 126514 w 938057"/>
                <a:gd name="connsiteY0" fmla="*/ 0 h 193028"/>
                <a:gd name="connsiteX1" fmla="*/ 0 w 938057"/>
                <a:gd name="connsiteY1" fmla="*/ 132686 h 193028"/>
                <a:gd name="connsiteX2" fmla="*/ 938057 w 938057"/>
                <a:gd name="connsiteY2" fmla="*/ 132686 h 193028"/>
                <a:gd name="connsiteX3" fmla="*/ 808457 w 938057"/>
                <a:gd name="connsiteY3" fmla="*/ 43200 h 193028"/>
                <a:gd name="connsiteX4" fmla="*/ 126514 w 938057"/>
                <a:gd name="connsiteY4" fmla="*/ 0 h 193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8057" h="193028">
                  <a:moveTo>
                    <a:pt x="126514" y="0"/>
                  </a:moveTo>
                  <a:lnTo>
                    <a:pt x="0" y="132686"/>
                  </a:lnTo>
                  <a:cubicBezTo>
                    <a:pt x="0" y="132686"/>
                    <a:pt x="428914" y="268457"/>
                    <a:pt x="938057" y="132686"/>
                  </a:cubicBezTo>
                  <a:lnTo>
                    <a:pt x="808457" y="43200"/>
                  </a:lnTo>
                  <a:cubicBezTo>
                    <a:pt x="808457" y="43200"/>
                    <a:pt x="219086" y="24686"/>
                    <a:pt x="126514" y="0"/>
                  </a:cubicBezTo>
                  <a:close/>
                </a:path>
              </a:pathLst>
            </a:custGeom>
            <a:solidFill>
              <a:srgbClr val="F6EBE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2" name="任意多边形: 形状 261">
              <a:extLst>
                <a:ext uri="{FF2B5EF4-FFF2-40B4-BE49-F238E27FC236}">
                  <a16:creationId xmlns:a16="http://schemas.microsoft.com/office/drawing/2014/main" id="{1C6E4A1A-0C59-489A-9034-A46C64C7B5E5}"/>
                </a:ext>
              </a:extLst>
            </p:cNvPr>
            <p:cNvSpPr/>
            <p:nvPr/>
          </p:nvSpPr>
          <p:spPr>
            <a:xfrm>
              <a:off x="3696558" y="3794332"/>
              <a:ext cx="319106" cy="29049"/>
            </a:xfrm>
            <a:custGeom>
              <a:avLst/>
              <a:gdLst>
                <a:gd name="connsiteX0" fmla="*/ 312935 w 319106"/>
                <a:gd name="connsiteY0" fmla="*/ 29050 h 29049"/>
                <a:gd name="connsiteX1" fmla="*/ 312935 w 319106"/>
                <a:gd name="connsiteY1" fmla="*/ 29050 h 29049"/>
                <a:gd name="connsiteX2" fmla="*/ 4364 w 319106"/>
                <a:gd name="connsiteY2" fmla="*/ 10535 h 29049"/>
                <a:gd name="connsiteX3" fmla="*/ 1278 w 319106"/>
                <a:gd name="connsiteY3" fmla="*/ 4364 h 29049"/>
                <a:gd name="connsiteX4" fmla="*/ 7450 w 319106"/>
                <a:gd name="connsiteY4" fmla="*/ 1278 h 29049"/>
                <a:gd name="connsiteX5" fmla="*/ 312935 w 319106"/>
                <a:gd name="connsiteY5" fmla="*/ 19792 h 29049"/>
                <a:gd name="connsiteX6" fmla="*/ 319107 w 319106"/>
                <a:gd name="connsiteY6" fmla="*/ 25964 h 29049"/>
                <a:gd name="connsiteX7" fmla="*/ 312935 w 319106"/>
                <a:gd name="connsiteY7" fmla="*/ 29050 h 2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9106" h="29049">
                  <a:moveTo>
                    <a:pt x="312935" y="29050"/>
                  </a:moveTo>
                  <a:cubicBezTo>
                    <a:pt x="312935" y="29050"/>
                    <a:pt x="312935" y="29050"/>
                    <a:pt x="312935" y="29050"/>
                  </a:cubicBezTo>
                  <a:cubicBezTo>
                    <a:pt x="309850" y="29050"/>
                    <a:pt x="100021" y="25964"/>
                    <a:pt x="4364" y="10535"/>
                  </a:cubicBezTo>
                  <a:cubicBezTo>
                    <a:pt x="1278" y="10535"/>
                    <a:pt x="-1808" y="7449"/>
                    <a:pt x="1278" y="4364"/>
                  </a:cubicBezTo>
                  <a:cubicBezTo>
                    <a:pt x="1278" y="1278"/>
                    <a:pt x="4364" y="-1808"/>
                    <a:pt x="7450" y="1278"/>
                  </a:cubicBezTo>
                  <a:cubicBezTo>
                    <a:pt x="103107" y="19792"/>
                    <a:pt x="312935" y="19792"/>
                    <a:pt x="312935" y="19792"/>
                  </a:cubicBezTo>
                  <a:cubicBezTo>
                    <a:pt x="316021" y="19792"/>
                    <a:pt x="319107" y="22878"/>
                    <a:pt x="319107" y="25964"/>
                  </a:cubicBezTo>
                  <a:cubicBezTo>
                    <a:pt x="316021" y="25964"/>
                    <a:pt x="316021" y="29050"/>
                    <a:pt x="312935" y="29050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3" name="任意多边形: 形状 262">
              <a:extLst>
                <a:ext uri="{FF2B5EF4-FFF2-40B4-BE49-F238E27FC236}">
                  <a16:creationId xmlns:a16="http://schemas.microsoft.com/office/drawing/2014/main" id="{C22AC042-9425-4240-8F6E-925A3C05A711}"/>
                </a:ext>
              </a:extLst>
            </p:cNvPr>
            <p:cNvSpPr/>
            <p:nvPr/>
          </p:nvSpPr>
          <p:spPr>
            <a:xfrm>
              <a:off x="3475665" y="2749553"/>
              <a:ext cx="242280" cy="416571"/>
            </a:xfrm>
            <a:custGeom>
              <a:avLst/>
              <a:gdLst>
                <a:gd name="connsiteX0" fmla="*/ 33943 w 242280"/>
                <a:gd name="connsiteY0" fmla="*/ 0 h 416571"/>
                <a:gd name="connsiteX1" fmla="*/ 212914 w 242280"/>
                <a:gd name="connsiteY1" fmla="*/ 197486 h 416571"/>
                <a:gd name="connsiteX2" fmla="*/ 231429 w 242280"/>
                <a:gd name="connsiteY2" fmla="*/ 394971 h 416571"/>
                <a:gd name="connsiteX3" fmla="*/ 185143 w 242280"/>
                <a:gd name="connsiteY3" fmla="*/ 394971 h 416571"/>
                <a:gd name="connsiteX4" fmla="*/ 108000 w 242280"/>
                <a:gd name="connsiteY4" fmla="*/ 416571 h 416571"/>
                <a:gd name="connsiteX5" fmla="*/ 64800 w 242280"/>
                <a:gd name="connsiteY5" fmla="*/ 388800 h 416571"/>
                <a:gd name="connsiteX6" fmla="*/ 0 w 242280"/>
                <a:gd name="connsiteY6" fmla="*/ 37029 h 416571"/>
                <a:gd name="connsiteX7" fmla="*/ 33943 w 242280"/>
                <a:gd name="connsiteY7" fmla="*/ 0 h 41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280" h="416571">
                  <a:moveTo>
                    <a:pt x="33943" y="0"/>
                  </a:moveTo>
                  <a:cubicBezTo>
                    <a:pt x="33943" y="0"/>
                    <a:pt x="175886" y="92571"/>
                    <a:pt x="212914" y="197486"/>
                  </a:cubicBezTo>
                  <a:cubicBezTo>
                    <a:pt x="249943" y="305486"/>
                    <a:pt x="246857" y="385714"/>
                    <a:pt x="231429" y="394971"/>
                  </a:cubicBezTo>
                  <a:cubicBezTo>
                    <a:pt x="219086" y="404229"/>
                    <a:pt x="203657" y="385714"/>
                    <a:pt x="185143" y="394971"/>
                  </a:cubicBezTo>
                  <a:cubicBezTo>
                    <a:pt x="166629" y="404229"/>
                    <a:pt x="120343" y="416571"/>
                    <a:pt x="108000" y="416571"/>
                  </a:cubicBezTo>
                  <a:cubicBezTo>
                    <a:pt x="92571" y="416571"/>
                    <a:pt x="58629" y="401143"/>
                    <a:pt x="64800" y="388800"/>
                  </a:cubicBezTo>
                  <a:cubicBezTo>
                    <a:pt x="70971" y="376457"/>
                    <a:pt x="24686" y="64800"/>
                    <a:pt x="0" y="37029"/>
                  </a:cubicBezTo>
                  <a:lnTo>
                    <a:pt x="33943" y="0"/>
                  </a:lnTo>
                  <a:close/>
                </a:path>
              </a:pathLst>
            </a:custGeom>
            <a:solidFill>
              <a:srgbClr val="38333D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4" name="任意多边形: 形状 263">
              <a:extLst>
                <a:ext uri="{FF2B5EF4-FFF2-40B4-BE49-F238E27FC236}">
                  <a16:creationId xmlns:a16="http://schemas.microsoft.com/office/drawing/2014/main" id="{80217F4F-FFF2-44B5-9EF8-C7B019818C83}"/>
                </a:ext>
              </a:extLst>
            </p:cNvPr>
            <p:cNvSpPr/>
            <p:nvPr/>
          </p:nvSpPr>
          <p:spPr>
            <a:xfrm>
              <a:off x="3522722" y="2787353"/>
              <a:ext cx="150428" cy="270771"/>
            </a:xfrm>
            <a:custGeom>
              <a:avLst/>
              <a:gdLst>
                <a:gd name="connsiteX0" fmla="*/ 144257 w 150428"/>
                <a:gd name="connsiteY0" fmla="*/ 270771 h 270771"/>
                <a:gd name="connsiteX1" fmla="*/ 138086 w 150428"/>
                <a:gd name="connsiteY1" fmla="*/ 264600 h 270771"/>
                <a:gd name="connsiteX2" fmla="*/ 2314 w 150428"/>
                <a:gd name="connsiteY2" fmla="*/ 11571 h 270771"/>
                <a:gd name="connsiteX3" fmla="*/ 2314 w 150428"/>
                <a:gd name="connsiteY3" fmla="*/ 2314 h 270771"/>
                <a:gd name="connsiteX4" fmla="*/ 11571 w 150428"/>
                <a:gd name="connsiteY4" fmla="*/ 2314 h 270771"/>
                <a:gd name="connsiteX5" fmla="*/ 150429 w 150428"/>
                <a:gd name="connsiteY5" fmla="*/ 261514 h 270771"/>
                <a:gd name="connsiteX6" fmla="*/ 144257 w 150428"/>
                <a:gd name="connsiteY6" fmla="*/ 270771 h 270771"/>
                <a:gd name="connsiteX7" fmla="*/ 144257 w 150428"/>
                <a:gd name="connsiteY7" fmla="*/ 270771 h 27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0428" h="270771">
                  <a:moveTo>
                    <a:pt x="144257" y="270771"/>
                  </a:moveTo>
                  <a:cubicBezTo>
                    <a:pt x="141171" y="270771"/>
                    <a:pt x="138086" y="267686"/>
                    <a:pt x="138086" y="264600"/>
                  </a:cubicBezTo>
                  <a:cubicBezTo>
                    <a:pt x="131914" y="147343"/>
                    <a:pt x="5400" y="11571"/>
                    <a:pt x="2314" y="11571"/>
                  </a:cubicBezTo>
                  <a:cubicBezTo>
                    <a:pt x="-771" y="8486"/>
                    <a:pt x="-771" y="5400"/>
                    <a:pt x="2314" y="2314"/>
                  </a:cubicBezTo>
                  <a:cubicBezTo>
                    <a:pt x="5400" y="-771"/>
                    <a:pt x="8486" y="-771"/>
                    <a:pt x="11571" y="2314"/>
                  </a:cubicBezTo>
                  <a:cubicBezTo>
                    <a:pt x="17743" y="8486"/>
                    <a:pt x="144257" y="141171"/>
                    <a:pt x="150429" y="261514"/>
                  </a:cubicBezTo>
                  <a:cubicBezTo>
                    <a:pt x="150429" y="267686"/>
                    <a:pt x="147343" y="267686"/>
                    <a:pt x="144257" y="270771"/>
                  </a:cubicBezTo>
                  <a:cubicBezTo>
                    <a:pt x="144257" y="270771"/>
                    <a:pt x="144257" y="270771"/>
                    <a:pt x="144257" y="270771"/>
                  </a:cubicBezTo>
                  <a:close/>
                </a:path>
              </a:pathLst>
            </a:custGeom>
            <a:solidFill>
              <a:srgbClr val="6C5D6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5" name="任意多边形: 形状 264">
              <a:extLst>
                <a:ext uri="{FF2B5EF4-FFF2-40B4-BE49-F238E27FC236}">
                  <a16:creationId xmlns:a16="http://schemas.microsoft.com/office/drawing/2014/main" id="{9707D0D4-BDC1-48D7-A692-9B5A03B1C618}"/>
                </a:ext>
              </a:extLst>
            </p:cNvPr>
            <p:cNvSpPr/>
            <p:nvPr/>
          </p:nvSpPr>
          <p:spPr>
            <a:xfrm>
              <a:off x="3461923" y="2736605"/>
              <a:ext cx="106313" cy="79790"/>
            </a:xfrm>
            <a:custGeom>
              <a:avLst/>
              <a:gdLst>
                <a:gd name="connsiteX0" fmla="*/ 106314 w 106313"/>
                <a:gd name="connsiteY0" fmla="*/ 16034 h 79790"/>
                <a:gd name="connsiteX1" fmla="*/ 87800 w 106313"/>
                <a:gd name="connsiteY1" fmla="*/ 605 h 79790"/>
                <a:gd name="connsiteX2" fmla="*/ 10657 w 106313"/>
                <a:gd name="connsiteY2" fmla="*/ 25291 h 79790"/>
                <a:gd name="connsiteX3" fmla="*/ 4485 w 106313"/>
                <a:gd name="connsiteY3" fmla="*/ 53062 h 79790"/>
                <a:gd name="connsiteX4" fmla="*/ 23000 w 106313"/>
                <a:gd name="connsiteY4" fmla="*/ 77748 h 79790"/>
                <a:gd name="connsiteX5" fmla="*/ 90885 w 106313"/>
                <a:gd name="connsiteY5" fmla="*/ 56148 h 79790"/>
                <a:gd name="connsiteX6" fmla="*/ 100142 w 106313"/>
                <a:gd name="connsiteY6" fmla="*/ 40720 h 79790"/>
                <a:gd name="connsiteX7" fmla="*/ 106314 w 106313"/>
                <a:gd name="connsiteY7" fmla="*/ 16034 h 79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313" h="79790">
                  <a:moveTo>
                    <a:pt x="106314" y="16034"/>
                  </a:moveTo>
                  <a:cubicBezTo>
                    <a:pt x="106314" y="6777"/>
                    <a:pt x="97057" y="-2480"/>
                    <a:pt x="87800" y="605"/>
                  </a:cubicBezTo>
                  <a:cubicBezTo>
                    <a:pt x="63114" y="9862"/>
                    <a:pt x="35342" y="16034"/>
                    <a:pt x="10657" y="25291"/>
                  </a:cubicBezTo>
                  <a:cubicBezTo>
                    <a:pt x="-1686" y="28377"/>
                    <a:pt x="-1686" y="46891"/>
                    <a:pt x="4485" y="53062"/>
                  </a:cubicBezTo>
                  <a:cubicBezTo>
                    <a:pt x="-7858" y="62320"/>
                    <a:pt x="7571" y="87005"/>
                    <a:pt x="23000" y="77748"/>
                  </a:cubicBezTo>
                  <a:cubicBezTo>
                    <a:pt x="44600" y="65405"/>
                    <a:pt x="66200" y="59234"/>
                    <a:pt x="90885" y="56148"/>
                  </a:cubicBezTo>
                  <a:cubicBezTo>
                    <a:pt x="100142" y="56148"/>
                    <a:pt x="103228" y="46891"/>
                    <a:pt x="100142" y="40720"/>
                  </a:cubicBezTo>
                  <a:cubicBezTo>
                    <a:pt x="103228" y="31462"/>
                    <a:pt x="106314" y="22205"/>
                    <a:pt x="106314" y="16034"/>
                  </a:cubicBezTo>
                  <a:close/>
                </a:path>
              </a:pathLst>
            </a:custGeom>
            <a:solidFill>
              <a:srgbClr val="D16156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6" name="任意多边形: 形状 265">
              <a:extLst>
                <a:ext uri="{FF2B5EF4-FFF2-40B4-BE49-F238E27FC236}">
                  <a16:creationId xmlns:a16="http://schemas.microsoft.com/office/drawing/2014/main" id="{D2F361BB-31D2-46B1-ABA7-A63708CFADAB}"/>
                </a:ext>
              </a:extLst>
            </p:cNvPr>
            <p:cNvSpPr/>
            <p:nvPr/>
          </p:nvSpPr>
          <p:spPr>
            <a:xfrm>
              <a:off x="3228808" y="5471153"/>
              <a:ext cx="116485" cy="37028"/>
            </a:xfrm>
            <a:custGeom>
              <a:avLst/>
              <a:gdLst>
                <a:gd name="connsiteX0" fmla="*/ 111086 w 116485"/>
                <a:gd name="connsiteY0" fmla="*/ 37029 h 37028"/>
                <a:gd name="connsiteX1" fmla="*/ 108000 w 116485"/>
                <a:gd name="connsiteY1" fmla="*/ 37029 h 37028"/>
                <a:gd name="connsiteX2" fmla="*/ 6171 w 116485"/>
                <a:gd name="connsiteY2" fmla="*/ 12343 h 37028"/>
                <a:gd name="connsiteX3" fmla="*/ 0 w 116485"/>
                <a:gd name="connsiteY3" fmla="*/ 6172 h 37028"/>
                <a:gd name="connsiteX4" fmla="*/ 6171 w 116485"/>
                <a:gd name="connsiteY4" fmla="*/ 0 h 37028"/>
                <a:gd name="connsiteX5" fmla="*/ 114171 w 116485"/>
                <a:gd name="connsiteY5" fmla="*/ 27771 h 37028"/>
                <a:gd name="connsiteX6" fmla="*/ 114171 w 116485"/>
                <a:gd name="connsiteY6" fmla="*/ 37029 h 37028"/>
                <a:gd name="connsiteX7" fmla="*/ 111086 w 116485"/>
                <a:gd name="connsiteY7" fmla="*/ 37029 h 37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485" h="37028">
                  <a:moveTo>
                    <a:pt x="111086" y="37029"/>
                  </a:moveTo>
                  <a:cubicBezTo>
                    <a:pt x="111086" y="37029"/>
                    <a:pt x="108000" y="37029"/>
                    <a:pt x="108000" y="37029"/>
                  </a:cubicBezTo>
                  <a:cubicBezTo>
                    <a:pt x="80229" y="18514"/>
                    <a:pt x="6171" y="12343"/>
                    <a:pt x="6171" y="12343"/>
                  </a:cubicBezTo>
                  <a:cubicBezTo>
                    <a:pt x="3086" y="12343"/>
                    <a:pt x="0" y="9257"/>
                    <a:pt x="0" y="6172"/>
                  </a:cubicBezTo>
                  <a:cubicBezTo>
                    <a:pt x="0" y="3086"/>
                    <a:pt x="3086" y="0"/>
                    <a:pt x="6171" y="0"/>
                  </a:cubicBezTo>
                  <a:cubicBezTo>
                    <a:pt x="9257" y="0"/>
                    <a:pt x="83314" y="6172"/>
                    <a:pt x="114171" y="27771"/>
                  </a:cubicBezTo>
                  <a:cubicBezTo>
                    <a:pt x="117257" y="30857"/>
                    <a:pt x="117257" y="33943"/>
                    <a:pt x="114171" y="37029"/>
                  </a:cubicBezTo>
                  <a:cubicBezTo>
                    <a:pt x="114171" y="37029"/>
                    <a:pt x="114171" y="37029"/>
                    <a:pt x="111086" y="37029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7" name="任意多边形: 形状 266">
              <a:extLst>
                <a:ext uri="{FF2B5EF4-FFF2-40B4-BE49-F238E27FC236}">
                  <a16:creationId xmlns:a16="http://schemas.microsoft.com/office/drawing/2014/main" id="{1335375C-CDCB-448A-98EE-EBDF65FE3A1B}"/>
                </a:ext>
              </a:extLst>
            </p:cNvPr>
            <p:cNvSpPr/>
            <p:nvPr/>
          </p:nvSpPr>
          <p:spPr>
            <a:xfrm>
              <a:off x="2810232" y="3055039"/>
              <a:ext cx="609890" cy="1005942"/>
            </a:xfrm>
            <a:custGeom>
              <a:avLst/>
              <a:gdLst>
                <a:gd name="connsiteX0" fmla="*/ 554347 w 609890"/>
                <a:gd name="connsiteY0" fmla="*/ 132686 h 1005942"/>
                <a:gd name="connsiteX1" fmla="*/ 255033 w 609890"/>
                <a:gd name="connsiteY1" fmla="*/ 586286 h 1005942"/>
                <a:gd name="connsiteX2" fmla="*/ 609890 w 609890"/>
                <a:gd name="connsiteY2" fmla="*/ 922629 h 1005942"/>
                <a:gd name="connsiteX3" fmla="*/ 486462 w 609890"/>
                <a:gd name="connsiteY3" fmla="*/ 1005943 h 1005942"/>
                <a:gd name="connsiteX4" fmla="*/ 5090 w 609890"/>
                <a:gd name="connsiteY4" fmla="*/ 614057 h 1005942"/>
                <a:gd name="connsiteX5" fmla="*/ 322919 w 609890"/>
                <a:gd name="connsiteY5" fmla="*/ 0 h 1005942"/>
                <a:gd name="connsiteX6" fmla="*/ 554347 w 609890"/>
                <a:gd name="connsiteY6" fmla="*/ 132686 h 1005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890" h="1005942">
                  <a:moveTo>
                    <a:pt x="554347" y="132686"/>
                  </a:moveTo>
                  <a:lnTo>
                    <a:pt x="255033" y="586286"/>
                  </a:lnTo>
                  <a:lnTo>
                    <a:pt x="609890" y="922629"/>
                  </a:lnTo>
                  <a:lnTo>
                    <a:pt x="486462" y="1005943"/>
                  </a:lnTo>
                  <a:cubicBezTo>
                    <a:pt x="486462" y="1005943"/>
                    <a:pt x="57547" y="718971"/>
                    <a:pt x="5090" y="614057"/>
                  </a:cubicBezTo>
                  <a:cubicBezTo>
                    <a:pt x="-47367" y="509143"/>
                    <a:pt x="322919" y="0"/>
                    <a:pt x="322919" y="0"/>
                  </a:cubicBezTo>
                  <a:lnTo>
                    <a:pt x="554347" y="132686"/>
                  </a:ln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8" name="任意多边形: 形状 267">
              <a:extLst>
                <a:ext uri="{FF2B5EF4-FFF2-40B4-BE49-F238E27FC236}">
                  <a16:creationId xmlns:a16="http://schemas.microsoft.com/office/drawing/2014/main" id="{9D269185-DD3D-4DB4-844F-ED1F701A2538}"/>
                </a:ext>
              </a:extLst>
            </p:cNvPr>
            <p:cNvSpPr/>
            <p:nvPr/>
          </p:nvSpPr>
          <p:spPr>
            <a:xfrm>
              <a:off x="3008444" y="3159953"/>
              <a:ext cx="362306" cy="487542"/>
            </a:xfrm>
            <a:custGeom>
              <a:avLst/>
              <a:gdLst>
                <a:gd name="connsiteX0" fmla="*/ 53735 w 362306"/>
                <a:gd name="connsiteY0" fmla="*/ 487543 h 487542"/>
                <a:gd name="connsiteX1" fmla="*/ 4364 w 362306"/>
                <a:gd name="connsiteY1" fmla="*/ 481372 h 487542"/>
                <a:gd name="connsiteX2" fmla="*/ 1278 w 362306"/>
                <a:gd name="connsiteY2" fmla="*/ 475200 h 487542"/>
                <a:gd name="connsiteX3" fmla="*/ 7450 w 362306"/>
                <a:gd name="connsiteY3" fmla="*/ 472114 h 487542"/>
                <a:gd name="connsiteX4" fmla="*/ 50650 w 362306"/>
                <a:gd name="connsiteY4" fmla="*/ 478286 h 487542"/>
                <a:gd name="connsiteX5" fmla="*/ 349964 w 362306"/>
                <a:gd name="connsiteY5" fmla="*/ 3086 h 487542"/>
                <a:gd name="connsiteX6" fmla="*/ 359221 w 362306"/>
                <a:gd name="connsiteY6" fmla="*/ 0 h 487542"/>
                <a:gd name="connsiteX7" fmla="*/ 362307 w 362306"/>
                <a:gd name="connsiteY7" fmla="*/ 9257 h 487542"/>
                <a:gd name="connsiteX8" fmla="*/ 59907 w 362306"/>
                <a:gd name="connsiteY8" fmla="*/ 487543 h 487542"/>
                <a:gd name="connsiteX9" fmla="*/ 53735 w 362306"/>
                <a:gd name="connsiteY9" fmla="*/ 487543 h 487542"/>
                <a:gd name="connsiteX10" fmla="*/ 53735 w 362306"/>
                <a:gd name="connsiteY10" fmla="*/ 487543 h 487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2306" h="487542">
                  <a:moveTo>
                    <a:pt x="53735" y="487543"/>
                  </a:moveTo>
                  <a:cubicBezTo>
                    <a:pt x="50650" y="487543"/>
                    <a:pt x="22878" y="487543"/>
                    <a:pt x="4364" y="481372"/>
                  </a:cubicBezTo>
                  <a:cubicBezTo>
                    <a:pt x="1278" y="481372"/>
                    <a:pt x="-1808" y="478286"/>
                    <a:pt x="1278" y="475200"/>
                  </a:cubicBezTo>
                  <a:cubicBezTo>
                    <a:pt x="1278" y="472114"/>
                    <a:pt x="4364" y="469029"/>
                    <a:pt x="7450" y="472114"/>
                  </a:cubicBezTo>
                  <a:cubicBezTo>
                    <a:pt x="19792" y="475200"/>
                    <a:pt x="41392" y="478286"/>
                    <a:pt x="50650" y="478286"/>
                  </a:cubicBezTo>
                  <a:cubicBezTo>
                    <a:pt x="109278" y="391886"/>
                    <a:pt x="346878" y="9257"/>
                    <a:pt x="349964" y="3086"/>
                  </a:cubicBezTo>
                  <a:cubicBezTo>
                    <a:pt x="353050" y="0"/>
                    <a:pt x="356135" y="0"/>
                    <a:pt x="359221" y="0"/>
                  </a:cubicBezTo>
                  <a:cubicBezTo>
                    <a:pt x="362307" y="3086"/>
                    <a:pt x="362307" y="6171"/>
                    <a:pt x="362307" y="9257"/>
                  </a:cubicBezTo>
                  <a:cubicBezTo>
                    <a:pt x="359221" y="12343"/>
                    <a:pt x="118535" y="404229"/>
                    <a:pt x="59907" y="487543"/>
                  </a:cubicBezTo>
                  <a:cubicBezTo>
                    <a:pt x="59907" y="484457"/>
                    <a:pt x="56821" y="487543"/>
                    <a:pt x="53735" y="487543"/>
                  </a:cubicBezTo>
                  <a:cubicBezTo>
                    <a:pt x="56821" y="487543"/>
                    <a:pt x="56821" y="487543"/>
                    <a:pt x="53735" y="487543"/>
                  </a:cubicBezTo>
                  <a:close/>
                </a:path>
              </a:pathLst>
            </a:custGeom>
            <a:solidFill>
              <a:srgbClr val="E58777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9" name="任意多边形: 形状 268">
              <a:extLst>
                <a:ext uri="{FF2B5EF4-FFF2-40B4-BE49-F238E27FC236}">
                  <a16:creationId xmlns:a16="http://schemas.microsoft.com/office/drawing/2014/main" id="{D035DDDE-020C-4FF5-9925-BA2123716022}"/>
                </a:ext>
              </a:extLst>
            </p:cNvPr>
            <p:cNvSpPr/>
            <p:nvPr/>
          </p:nvSpPr>
          <p:spPr>
            <a:xfrm>
              <a:off x="3031322" y="2874246"/>
              <a:ext cx="454753" cy="443078"/>
            </a:xfrm>
            <a:custGeom>
              <a:avLst/>
              <a:gdLst>
                <a:gd name="connsiteX0" fmla="*/ 0 w 454753"/>
                <a:gd name="connsiteY0" fmla="*/ 211650 h 443078"/>
                <a:gd name="connsiteX1" fmla="*/ 407314 w 454753"/>
                <a:gd name="connsiteY1" fmla="*/ 7993 h 443078"/>
                <a:gd name="connsiteX2" fmla="*/ 299314 w 454753"/>
                <a:gd name="connsiteY2" fmla="*/ 443079 h 443078"/>
                <a:gd name="connsiteX3" fmla="*/ 0 w 454753"/>
                <a:gd name="connsiteY3" fmla="*/ 211650 h 44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4753" h="443078">
                  <a:moveTo>
                    <a:pt x="0" y="211650"/>
                  </a:moveTo>
                  <a:cubicBezTo>
                    <a:pt x="117257" y="66621"/>
                    <a:pt x="333257" y="-29036"/>
                    <a:pt x="407314" y="7993"/>
                  </a:cubicBezTo>
                  <a:cubicBezTo>
                    <a:pt x="502971" y="57364"/>
                    <a:pt x="447429" y="294964"/>
                    <a:pt x="299314" y="443079"/>
                  </a:cubicBezTo>
                  <a:cubicBezTo>
                    <a:pt x="225257" y="427650"/>
                    <a:pt x="58629" y="298050"/>
                    <a:pt x="0" y="211650"/>
                  </a:cubicBezTo>
                  <a:close/>
                </a:path>
              </a:pathLst>
            </a:custGeom>
            <a:solidFill>
              <a:srgbClr val="F6EBE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0" name="任意多边形: 形状 269">
              <a:extLst>
                <a:ext uri="{FF2B5EF4-FFF2-40B4-BE49-F238E27FC236}">
                  <a16:creationId xmlns:a16="http://schemas.microsoft.com/office/drawing/2014/main" id="{51E3DE0C-D52C-4CF1-84B0-675880B122C8}"/>
                </a:ext>
              </a:extLst>
            </p:cNvPr>
            <p:cNvSpPr/>
            <p:nvPr/>
          </p:nvSpPr>
          <p:spPr>
            <a:xfrm>
              <a:off x="3189465" y="2883010"/>
              <a:ext cx="304784" cy="440485"/>
            </a:xfrm>
            <a:custGeom>
              <a:avLst/>
              <a:gdLst>
                <a:gd name="connsiteX0" fmla="*/ 141171 w 304784"/>
                <a:gd name="connsiteY0" fmla="*/ 440486 h 440485"/>
                <a:gd name="connsiteX1" fmla="*/ 141171 w 304784"/>
                <a:gd name="connsiteY1" fmla="*/ 440486 h 440485"/>
                <a:gd name="connsiteX2" fmla="*/ 2314 w 304784"/>
                <a:gd name="connsiteY2" fmla="*/ 366429 h 440485"/>
                <a:gd name="connsiteX3" fmla="*/ 2314 w 304784"/>
                <a:gd name="connsiteY3" fmla="*/ 357171 h 440485"/>
                <a:gd name="connsiteX4" fmla="*/ 11571 w 304784"/>
                <a:gd name="connsiteY4" fmla="*/ 357171 h 440485"/>
                <a:gd name="connsiteX5" fmla="*/ 141171 w 304784"/>
                <a:gd name="connsiteY5" fmla="*/ 428143 h 440485"/>
                <a:gd name="connsiteX6" fmla="*/ 283114 w 304784"/>
                <a:gd name="connsiteY6" fmla="*/ 168943 h 440485"/>
                <a:gd name="connsiteX7" fmla="*/ 286200 w 304784"/>
                <a:gd name="connsiteY7" fmla="*/ 159686 h 440485"/>
                <a:gd name="connsiteX8" fmla="*/ 261514 w 304784"/>
                <a:gd name="connsiteY8" fmla="*/ 11571 h 440485"/>
                <a:gd name="connsiteX9" fmla="*/ 261514 w 304784"/>
                <a:gd name="connsiteY9" fmla="*/ 2314 h 440485"/>
                <a:gd name="connsiteX10" fmla="*/ 270771 w 304784"/>
                <a:gd name="connsiteY10" fmla="*/ 2314 h 440485"/>
                <a:gd name="connsiteX11" fmla="*/ 298543 w 304784"/>
                <a:gd name="connsiteY11" fmla="*/ 159686 h 440485"/>
                <a:gd name="connsiteX12" fmla="*/ 295457 w 304784"/>
                <a:gd name="connsiteY12" fmla="*/ 168943 h 440485"/>
                <a:gd name="connsiteX13" fmla="*/ 141171 w 304784"/>
                <a:gd name="connsiteY13" fmla="*/ 440486 h 440485"/>
                <a:gd name="connsiteX14" fmla="*/ 141171 w 304784"/>
                <a:gd name="connsiteY14" fmla="*/ 440486 h 440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4784" h="440485">
                  <a:moveTo>
                    <a:pt x="141171" y="440486"/>
                  </a:moveTo>
                  <a:lnTo>
                    <a:pt x="141171" y="440486"/>
                  </a:lnTo>
                  <a:cubicBezTo>
                    <a:pt x="110314" y="434314"/>
                    <a:pt x="64029" y="415800"/>
                    <a:pt x="2314" y="366429"/>
                  </a:cubicBezTo>
                  <a:cubicBezTo>
                    <a:pt x="-771" y="363343"/>
                    <a:pt x="-771" y="360257"/>
                    <a:pt x="2314" y="357171"/>
                  </a:cubicBezTo>
                  <a:cubicBezTo>
                    <a:pt x="5400" y="354086"/>
                    <a:pt x="8486" y="354086"/>
                    <a:pt x="11571" y="357171"/>
                  </a:cubicBezTo>
                  <a:cubicBezTo>
                    <a:pt x="67114" y="403457"/>
                    <a:pt x="113400" y="421971"/>
                    <a:pt x="141171" y="428143"/>
                  </a:cubicBezTo>
                  <a:cubicBezTo>
                    <a:pt x="165857" y="406543"/>
                    <a:pt x="267686" y="276943"/>
                    <a:pt x="283114" y="168943"/>
                  </a:cubicBezTo>
                  <a:cubicBezTo>
                    <a:pt x="283114" y="165857"/>
                    <a:pt x="283114" y="162771"/>
                    <a:pt x="286200" y="159686"/>
                  </a:cubicBezTo>
                  <a:cubicBezTo>
                    <a:pt x="292371" y="125743"/>
                    <a:pt x="304714" y="57857"/>
                    <a:pt x="261514" y="11571"/>
                  </a:cubicBezTo>
                  <a:cubicBezTo>
                    <a:pt x="258429" y="8486"/>
                    <a:pt x="258429" y="5400"/>
                    <a:pt x="261514" y="2314"/>
                  </a:cubicBezTo>
                  <a:cubicBezTo>
                    <a:pt x="264600" y="-771"/>
                    <a:pt x="267686" y="-771"/>
                    <a:pt x="270771" y="2314"/>
                  </a:cubicBezTo>
                  <a:cubicBezTo>
                    <a:pt x="317057" y="51686"/>
                    <a:pt x="304714" y="125743"/>
                    <a:pt x="298543" y="159686"/>
                  </a:cubicBezTo>
                  <a:cubicBezTo>
                    <a:pt x="298543" y="162771"/>
                    <a:pt x="298543" y="165857"/>
                    <a:pt x="295457" y="168943"/>
                  </a:cubicBezTo>
                  <a:cubicBezTo>
                    <a:pt x="276943" y="280029"/>
                    <a:pt x="172029" y="415800"/>
                    <a:pt x="141171" y="440486"/>
                  </a:cubicBezTo>
                  <a:lnTo>
                    <a:pt x="141171" y="440486"/>
                  </a:ln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1" name="任意多边形: 形状 270">
              <a:extLst>
                <a:ext uri="{FF2B5EF4-FFF2-40B4-BE49-F238E27FC236}">
                  <a16:creationId xmlns:a16="http://schemas.microsoft.com/office/drawing/2014/main" id="{D3DAE7CA-110F-4D2C-AC3D-CE6CB8318A3E}"/>
                </a:ext>
              </a:extLst>
            </p:cNvPr>
            <p:cNvSpPr/>
            <p:nvPr/>
          </p:nvSpPr>
          <p:spPr>
            <a:xfrm>
              <a:off x="3359926" y="3926802"/>
              <a:ext cx="153372" cy="87893"/>
            </a:xfrm>
            <a:custGeom>
              <a:avLst/>
              <a:gdLst>
                <a:gd name="connsiteX0" fmla="*/ 152767 w 153372"/>
                <a:gd name="connsiteY0" fmla="*/ 69379 h 87893"/>
                <a:gd name="connsiteX1" fmla="*/ 109567 w 153372"/>
                <a:gd name="connsiteY1" fmla="*/ 10751 h 87893"/>
                <a:gd name="connsiteX2" fmla="*/ 4653 w 153372"/>
                <a:gd name="connsiteY2" fmla="*/ 4579 h 87893"/>
                <a:gd name="connsiteX3" fmla="*/ 13910 w 153372"/>
                <a:gd name="connsiteY3" fmla="*/ 35436 h 87893"/>
                <a:gd name="connsiteX4" fmla="*/ 20082 w 153372"/>
                <a:gd name="connsiteY4" fmla="*/ 50865 h 87893"/>
                <a:gd name="connsiteX5" fmla="*/ 50939 w 153372"/>
                <a:gd name="connsiteY5" fmla="*/ 60122 h 87893"/>
                <a:gd name="connsiteX6" fmla="*/ 87967 w 153372"/>
                <a:gd name="connsiteY6" fmla="*/ 60122 h 87893"/>
                <a:gd name="connsiteX7" fmla="*/ 109567 w 153372"/>
                <a:gd name="connsiteY7" fmla="*/ 78636 h 87893"/>
                <a:gd name="connsiteX8" fmla="*/ 137339 w 153372"/>
                <a:gd name="connsiteY8" fmla="*/ 87894 h 87893"/>
                <a:gd name="connsiteX9" fmla="*/ 152767 w 153372"/>
                <a:gd name="connsiteY9" fmla="*/ 69379 h 87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3372" h="87893">
                  <a:moveTo>
                    <a:pt x="152767" y="69379"/>
                  </a:moveTo>
                  <a:cubicBezTo>
                    <a:pt x="143510" y="44694"/>
                    <a:pt x="137339" y="20008"/>
                    <a:pt x="109567" y="10751"/>
                  </a:cubicBezTo>
                  <a:cubicBezTo>
                    <a:pt x="81796" y="1493"/>
                    <a:pt x="35510" y="-4678"/>
                    <a:pt x="4653" y="4579"/>
                  </a:cubicBezTo>
                  <a:cubicBezTo>
                    <a:pt x="-7690" y="7665"/>
                    <a:pt x="7739" y="29265"/>
                    <a:pt x="13910" y="35436"/>
                  </a:cubicBezTo>
                  <a:cubicBezTo>
                    <a:pt x="13910" y="41608"/>
                    <a:pt x="13910" y="47779"/>
                    <a:pt x="20082" y="50865"/>
                  </a:cubicBezTo>
                  <a:cubicBezTo>
                    <a:pt x="29339" y="57036"/>
                    <a:pt x="38596" y="60122"/>
                    <a:pt x="50939" y="60122"/>
                  </a:cubicBezTo>
                  <a:cubicBezTo>
                    <a:pt x="63282" y="63208"/>
                    <a:pt x="75624" y="57036"/>
                    <a:pt x="87967" y="60122"/>
                  </a:cubicBezTo>
                  <a:cubicBezTo>
                    <a:pt x="97224" y="63208"/>
                    <a:pt x="100310" y="72465"/>
                    <a:pt x="109567" y="78636"/>
                  </a:cubicBezTo>
                  <a:cubicBezTo>
                    <a:pt x="118824" y="84808"/>
                    <a:pt x="128082" y="87894"/>
                    <a:pt x="137339" y="87894"/>
                  </a:cubicBezTo>
                  <a:cubicBezTo>
                    <a:pt x="146596" y="87894"/>
                    <a:pt x="155853" y="78636"/>
                    <a:pt x="152767" y="69379"/>
                  </a:cubicBezTo>
                  <a:close/>
                </a:path>
              </a:pathLst>
            </a:custGeom>
            <a:solidFill>
              <a:srgbClr val="F5A398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72" name="图形 1">
              <a:extLst>
                <a:ext uri="{FF2B5EF4-FFF2-40B4-BE49-F238E27FC236}">
                  <a16:creationId xmlns:a16="http://schemas.microsoft.com/office/drawing/2014/main" id="{642B4E27-4193-4C43-9A4D-E25F56DEE238}"/>
                </a:ext>
              </a:extLst>
            </p:cNvPr>
            <p:cNvGrpSpPr/>
            <p:nvPr/>
          </p:nvGrpSpPr>
          <p:grpSpPr>
            <a:xfrm>
              <a:off x="3267944" y="3964181"/>
              <a:ext cx="835254" cy="1138658"/>
              <a:chOff x="3267944" y="3964181"/>
              <a:chExt cx="835254" cy="1138658"/>
            </a:xfrm>
          </p:grpSpPr>
          <p:sp>
            <p:nvSpPr>
              <p:cNvPr id="273" name="任意多边形: 形状 272">
                <a:extLst>
                  <a:ext uri="{FF2B5EF4-FFF2-40B4-BE49-F238E27FC236}">
                    <a16:creationId xmlns:a16="http://schemas.microsoft.com/office/drawing/2014/main" id="{273D752D-9218-4973-A4B5-7CB4CCF9F836}"/>
                  </a:ext>
                </a:extLst>
              </p:cNvPr>
              <p:cNvSpPr/>
              <p:nvPr/>
            </p:nvSpPr>
            <p:spPr>
              <a:xfrm>
                <a:off x="3267944" y="3964181"/>
                <a:ext cx="626323" cy="812905"/>
              </a:xfrm>
              <a:custGeom>
                <a:avLst/>
                <a:gdLst>
                  <a:gd name="connsiteX0" fmla="*/ 624292 w 626323"/>
                  <a:gd name="connsiteY0" fmla="*/ 528801 h 812905"/>
                  <a:gd name="connsiteX1" fmla="*/ 355835 w 626323"/>
                  <a:gd name="connsiteY1" fmla="*/ 102972 h 812905"/>
                  <a:gd name="connsiteX2" fmla="*/ 65778 w 626323"/>
                  <a:gd name="connsiteY2" fmla="*/ 22743 h 812905"/>
                  <a:gd name="connsiteX3" fmla="*/ 10235 w 626323"/>
                  <a:gd name="connsiteY3" fmla="*/ 352915 h 812905"/>
                  <a:gd name="connsiteX4" fmla="*/ 179949 w 626323"/>
                  <a:gd name="connsiteY4" fmla="*/ 806515 h 812905"/>
                  <a:gd name="connsiteX5" fmla="*/ 207721 w 626323"/>
                  <a:gd name="connsiteY5" fmla="*/ 791086 h 812905"/>
                  <a:gd name="connsiteX6" fmla="*/ 62692 w 626323"/>
                  <a:gd name="connsiteY6" fmla="*/ 464001 h 812905"/>
                  <a:gd name="connsiteX7" fmla="*/ 34921 w 626323"/>
                  <a:gd name="connsiteY7" fmla="*/ 272686 h 812905"/>
                  <a:gd name="connsiteX8" fmla="*/ 81207 w 626323"/>
                  <a:gd name="connsiteY8" fmla="*/ 53600 h 812905"/>
                  <a:gd name="connsiteX9" fmla="*/ 281778 w 626323"/>
                  <a:gd name="connsiteY9" fmla="*/ 81372 h 812905"/>
                  <a:gd name="connsiteX10" fmla="*/ 399035 w 626323"/>
                  <a:gd name="connsiteY10" fmla="*/ 229486 h 812905"/>
                  <a:gd name="connsiteX11" fmla="*/ 596521 w 626323"/>
                  <a:gd name="connsiteY11" fmla="*/ 547315 h 812905"/>
                  <a:gd name="connsiteX12" fmla="*/ 624292 w 626323"/>
                  <a:gd name="connsiteY12" fmla="*/ 528801 h 812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26323" h="812905">
                    <a:moveTo>
                      <a:pt x="624292" y="528801"/>
                    </a:moveTo>
                    <a:cubicBezTo>
                      <a:pt x="540978" y="386858"/>
                      <a:pt x="460749" y="229486"/>
                      <a:pt x="355835" y="102972"/>
                    </a:cubicBezTo>
                    <a:cubicBezTo>
                      <a:pt x="294121" y="28915"/>
                      <a:pt x="161435" y="-35885"/>
                      <a:pt x="65778" y="22743"/>
                    </a:cubicBezTo>
                    <a:cubicBezTo>
                      <a:pt x="-23708" y="78286"/>
                      <a:pt x="978" y="266515"/>
                      <a:pt x="10235" y="352915"/>
                    </a:cubicBezTo>
                    <a:cubicBezTo>
                      <a:pt x="31835" y="516458"/>
                      <a:pt x="96635" y="667658"/>
                      <a:pt x="179949" y="806515"/>
                    </a:cubicBezTo>
                    <a:cubicBezTo>
                      <a:pt x="189207" y="821943"/>
                      <a:pt x="216978" y="806515"/>
                      <a:pt x="207721" y="791086"/>
                    </a:cubicBezTo>
                    <a:cubicBezTo>
                      <a:pt x="146006" y="689258"/>
                      <a:pt x="93549" y="581258"/>
                      <a:pt x="62692" y="464001"/>
                    </a:cubicBezTo>
                    <a:cubicBezTo>
                      <a:pt x="47264" y="402286"/>
                      <a:pt x="34921" y="337486"/>
                      <a:pt x="34921" y="272686"/>
                    </a:cubicBezTo>
                    <a:cubicBezTo>
                      <a:pt x="31835" y="214058"/>
                      <a:pt x="25664" y="90629"/>
                      <a:pt x="81207" y="53600"/>
                    </a:cubicBezTo>
                    <a:cubicBezTo>
                      <a:pt x="139835" y="13486"/>
                      <a:pt x="229321" y="44343"/>
                      <a:pt x="281778" y="81372"/>
                    </a:cubicBezTo>
                    <a:cubicBezTo>
                      <a:pt x="334235" y="118400"/>
                      <a:pt x="365092" y="177029"/>
                      <a:pt x="399035" y="229486"/>
                    </a:cubicBezTo>
                    <a:cubicBezTo>
                      <a:pt x="466921" y="334400"/>
                      <a:pt x="531721" y="442400"/>
                      <a:pt x="596521" y="547315"/>
                    </a:cubicBezTo>
                    <a:cubicBezTo>
                      <a:pt x="608864" y="562743"/>
                      <a:pt x="633549" y="547315"/>
                      <a:pt x="624292" y="528801"/>
                    </a:cubicBezTo>
                    <a:close/>
                  </a:path>
                </a:pathLst>
              </a:custGeom>
              <a:solidFill>
                <a:srgbClr val="C1524D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274" name="图形 1">
                <a:extLst>
                  <a:ext uri="{FF2B5EF4-FFF2-40B4-BE49-F238E27FC236}">
                    <a16:creationId xmlns:a16="http://schemas.microsoft.com/office/drawing/2014/main" id="{642B4E27-4193-4C43-9A4D-E25F56DEE238}"/>
                  </a:ext>
                </a:extLst>
              </p:cNvPr>
              <p:cNvGrpSpPr/>
              <p:nvPr/>
            </p:nvGrpSpPr>
            <p:grpSpPr>
              <a:xfrm>
                <a:off x="3410098" y="4474467"/>
                <a:ext cx="693100" cy="628372"/>
                <a:chOff x="3410098" y="4474467"/>
                <a:chExt cx="693100" cy="628372"/>
              </a:xfrm>
            </p:grpSpPr>
            <p:sp>
              <p:nvSpPr>
                <p:cNvPr id="275" name="任意多边形: 形状 274">
                  <a:extLst>
                    <a:ext uri="{FF2B5EF4-FFF2-40B4-BE49-F238E27FC236}">
                      <a16:creationId xmlns:a16="http://schemas.microsoft.com/office/drawing/2014/main" id="{A52109A9-E0AC-4663-8F4E-F4B7E80A55E2}"/>
                    </a:ext>
                  </a:extLst>
                </p:cNvPr>
                <p:cNvSpPr/>
                <p:nvPr/>
              </p:nvSpPr>
              <p:spPr>
                <a:xfrm>
                  <a:off x="3442205" y="4548053"/>
                  <a:ext cx="660993" cy="554786"/>
                </a:xfrm>
                <a:custGeom>
                  <a:avLst/>
                  <a:gdLst>
                    <a:gd name="connsiteX0" fmla="*/ 604318 w 660993"/>
                    <a:gd name="connsiteY0" fmla="*/ 142414 h 554786"/>
                    <a:gd name="connsiteX1" fmla="*/ 487060 w 660993"/>
                    <a:gd name="connsiteY1" fmla="*/ 471 h 554786"/>
                    <a:gd name="connsiteX2" fmla="*/ 101346 w 660993"/>
                    <a:gd name="connsiteY2" fmla="*/ 170186 h 554786"/>
                    <a:gd name="connsiteX3" fmla="*/ 8775 w 660993"/>
                    <a:gd name="connsiteY3" fmla="*/ 333728 h 554786"/>
                    <a:gd name="connsiteX4" fmla="*/ 150718 w 660993"/>
                    <a:gd name="connsiteY4" fmla="*/ 546643 h 554786"/>
                    <a:gd name="connsiteX5" fmla="*/ 388318 w 660993"/>
                    <a:gd name="connsiteY5" fmla="*/ 484928 h 554786"/>
                    <a:gd name="connsiteX6" fmla="*/ 551860 w 660993"/>
                    <a:gd name="connsiteY6" fmla="*/ 398528 h 554786"/>
                    <a:gd name="connsiteX7" fmla="*/ 641346 w 660993"/>
                    <a:gd name="connsiteY7" fmla="*/ 339900 h 554786"/>
                    <a:gd name="connsiteX8" fmla="*/ 604318 w 660993"/>
                    <a:gd name="connsiteY8" fmla="*/ 142414 h 554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60993" h="554786">
                      <a:moveTo>
                        <a:pt x="604318" y="142414"/>
                      </a:moveTo>
                      <a:cubicBezTo>
                        <a:pt x="579632" y="99214"/>
                        <a:pt x="539518" y="15900"/>
                        <a:pt x="487060" y="471"/>
                      </a:cubicBezTo>
                      <a:cubicBezTo>
                        <a:pt x="483975" y="-8786"/>
                        <a:pt x="190832" y="120814"/>
                        <a:pt x="101346" y="170186"/>
                      </a:cubicBezTo>
                      <a:cubicBezTo>
                        <a:pt x="21118" y="213385"/>
                        <a:pt x="-18997" y="238071"/>
                        <a:pt x="8775" y="333728"/>
                      </a:cubicBezTo>
                      <a:cubicBezTo>
                        <a:pt x="30375" y="404700"/>
                        <a:pt x="76660" y="515786"/>
                        <a:pt x="150718" y="546643"/>
                      </a:cubicBezTo>
                      <a:cubicBezTo>
                        <a:pt x="215518" y="577500"/>
                        <a:pt x="329689" y="512700"/>
                        <a:pt x="388318" y="484928"/>
                      </a:cubicBezTo>
                      <a:cubicBezTo>
                        <a:pt x="443860" y="460243"/>
                        <a:pt x="499403" y="429385"/>
                        <a:pt x="551860" y="398528"/>
                      </a:cubicBezTo>
                      <a:cubicBezTo>
                        <a:pt x="582718" y="383100"/>
                        <a:pt x="619746" y="364585"/>
                        <a:pt x="641346" y="339900"/>
                      </a:cubicBezTo>
                      <a:cubicBezTo>
                        <a:pt x="690718" y="275100"/>
                        <a:pt x="635175" y="197957"/>
                        <a:pt x="604318" y="142414"/>
                      </a:cubicBezTo>
                      <a:close/>
                    </a:path>
                  </a:pathLst>
                </a:custGeom>
                <a:solidFill>
                  <a:srgbClr val="C1524D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6" name="任意多边形: 形状 275">
                  <a:extLst>
                    <a:ext uri="{FF2B5EF4-FFF2-40B4-BE49-F238E27FC236}">
                      <a16:creationId xmlns:a16="http://schemas.microsoft.com/office/drawing/2014/main" id="{25E97931-DF4A-4CDD-93BE-D44C10233B6E}"/>
                    </a:ext>
                  </a:extLst>
                </p:cNvPr>
                <p:cNvSpPr/>
                <p:nvPr/>
              </p:nvSpPr>
              <p:spPr>
                <a:xfrm>
                  <a:off x="3410098" y="4474467"/>
                  <a:ext cx="644055" cy="454847"/>
                </a:xfrm>
                <a:custGeom>
                  <a:avLst/>
                  <a:gdLst>
                    <a:gd name="connsiteX0" fmla="*/ 16196 w 644055"/>
                    <a:gd name="connsiteY0" fmla="*/ 234514 h 454847"/>
                    <a:gd name="connsiteX1" fmla="*/ 28539 w 644055"/>
                    <a:gd name="connsiteY1" fmla="*/ 453600 h 454847"/>
                    <a:gd name="connsiteX2" fmla="*/ 642596 w 644055"/>
                    <a:gd name="connsiteY2" fmla="*/ 160457 h 454847"/>
                    <a:gd name="connsiteX3" fmla="*/ 506824 w 644055"/>
                    <a:gd name="connsiteY3" fmla="*/ 0 h 454847"/>
                    <a:gd name="connsiteX4" fmla="*/ 16196 w 644055"/>
                    <a:gd name="connsiteY4" fmla="*/ 234514 h 454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4055" h="454847">
                      <a:moveTo>
                        <a:pt x="16196" y="234514"/>
                      </a:moveTo>
                      <a:cubicBezTo>
                        <a:pt x="-8490" y="259200"/>
                        <a:pt x="-5404" y="432000"/>
                        <a:pt x="28539" y="453600"/>
                      </a:cubicBezTo>
                      <a:cubicBezTo>
                        <a:pt x="65567" y="475200"/>
                        <a:pt x="627167" y="209828"/>
                        <a:pt x="642596" y="160457"/>
                      </a:cubicBezTo>
                      <a:cubicBezTo>
                        <a:pt x="658024" y="111086"/>
                        <a:pt x="546939" y="0"/>
                        <a:pt x="506824" y="0"/>
                      </a:cubicBezTo>
                      <a:cubicBezTo>
                        <a:pt x="466710" y="3086"/>
                        <a:pt x="96424" y="157371"/>
                        <a:pt x="16196" y="234514"/>
                      </a:cubicBezTo>
                      <a:close/>
                    </a:path>
                  </a:pathLst>
                </a:custGeom>
                <a:solidFill>
                  <a:srgbClr val="D16156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7" name="任意多边形: 形状 276">
                  <a:extLst>
                    <a:ext uri="{FF2B5EF4-FFF2-40B4-BE49-F238E27FC236}">
                      <a16:creationId xmlns:a16="http://schemas.microsoft.com/office/drawing/2014/main" id="{212279F0-0310-409A-BC7A-7DA829A6DB73}"/>
                    </a:ext>
                  </a:extLst>
                </p:cNvPr>
                <p:cNvSpPr/>
                <p:nvPr/>
              </p:nvSpPr>
              <p:spPr>
                <a:xfrm>
                  <a:off x="3535014" y="4860902"/>
                  <a:ext cx="63358" cy="63358"/>
                </a:xfrm>
                <a:custGeom>
                  <a:avLst/>
                  <a:gdLst>
                    <a:gd name="connsiteX0" fmla="*/ 60994 w 63358"/>
                    <a:gd name="connsiteY0" fmla="*/ 17793 h 63358"/>
                    <a:gd name="connsiteX1" fmla="*/ 17793 w 63358"/>
                    <a:gd name="connsiteY1" fmla="*/ 2365 h 63358"/>
                    <a:gd name="connsiteX2" fmla="*/ 2365 w 63358"/>
                    <a:gd name="connsiteY2" fmla="*/ 45565 h 63358"/>
                    <a:gd name="connsiteX3" fmla="*/ 45565 w 63358"/>
                    <a:gd name="connsiteY3" fmla="*/ 60993 h 63358"/>
                    <a:gd name="connsiteX4" fmla="*/ 60994 w 63358"/>
                    <a:gd name="connsiteY4" fmla="*/ 17793 h 633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3358" h="63358">
                      <a:moveTo>
                        <a:pt x="60994" y="17793"/>
                      </a:moveTo>
                      <a:cubicBezTo>
                        <a:pt x="54822" y="2365"/>
                        <a:pt x="33222" y="-3806"/>
                        <a:pt x="17793" y="2365"/>
                      </a:cubicBezTo>
                      <a:cubicBezTo>
                        <a:pt x="2365" y="8536"/>
                        <a:pt x="-3807" y="30136"/>
                        <a:pt x="2365" y="45565"/>
                      </a:cubicBezTo>
                      <a:cubicBezTo>
                        <a:pt x="8536" y="60993"/>
                        <a:pt x="30136" y="67165"/>
                        <a:pt x="45565" y="60993"/>
                      </a:cubicBezTo>
                      <a:cubicBezTo>
                        <a:pt x="60994" y="54822"/>
                        <a:pt x="67165" y="36308"/>
                        <a:pt x="60994" y="17793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8" name="任意多边形: 形状 277">
                  <a:extLst>
                    <a:ext uri="{FF2B5EF4-FFF2-40B4-BE49-F238E27FC236}">
                      <a16:creationId xmlns:a16="http://schemas.microsoft.com/office/drawing/2014/main" id="{6902E9AB-0777-4AAE-97B1-29A5B0252163}"/>
                    </a:ext>
                  </a:extLst>
                </p:cNvPr>
                <p:cNvSpPr/>
                <p:nvPr/>
              </p:nvSpPr>
              <p:spPr>
                <a:xfrm>
                  <a:off x="3902214" y="4685017"/>
                  <a:ext cx="65246" cy="63358"/>
                </a:xfrm>
                <a:custGeom>
                  <a:avLst/>
                  <a:gdLst>
                    <a:gd name="connsiteX0" fmla="*/ 60993 w 65246"/>
                    <a:gd name="connsiteY0" fmla="*/ 17794 h 63358"/>
                    <a:gd name="connsiteX1" fmla="*/ 17793 w 65246"/>
                    <a:gd name="connsiteY1" fmla="*/ 2365 h 63358"/>
                    <a:gd name="connsiteX2" fmla="*/ 2365 w 65246"/>
                    <a:gd name="connsiteY2" fmla="*/ 45565 h 63358"/>
                    <a:gd name="connsiteX3" fmla="*/ 45565 w 65246"/>
                    <a:gd name="connsiteY3" fmla="*/ 60993 h 63358"/>
                    <a:gd name="connsiteX4" fmla="*/ 60993 w 65246"/>
                    <a:gd name="connsiteY4" fmla="*/ 17794 h 633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5246" h="63358">
                      <a:moveTo>
                        <a:pt x="60993" y="17794"/>
                      </a:moveTo>
                      <a:cubicBezTo>
                        <a:pt x="54822" y="2365"/>
                        <a:pt x="33222" y="-3807"/>
                        <a:pt x="17793" y="2365"/>
                      </a:cubicBezTo>
                      <a:cubicBezTo>
                        <a:pt x="2365" y="8536"/>
                        <a:pt x="-3807" y="30136"/>
                        <a:pt x="2365" y="45565"/>
                      </a:cubicBezTo>
                      <a:cubicBezTo>
                        <a:pt x="8536" y="60993"/>
                        <a:pt x="30136" y="67165"/>
                        <a:pt x="45565" y="60993"/>
                      </a:cubicBezTo>
                      <a:cubicBezTo>
                        <a:pt x="64079" y="54822"/>
                        <a:pt x="70251" y="36308"/>
                        <a:pt x="60993" y="17794"/>
                      </a:cubicBezTo>
                      <a:close/>
                    </a:path>
                  </a:pathLst>
                </a:custGeom>
                <a:solidFill>
                  <a:srgbClr val="F1DDBA"/>
                </a:solidFill>
                <a:ln w="308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279" name="图形 1">
              <a:extLst>
                <a:ext uri="{FF2B5EF4-FFF2-40B4-BE49-F238E27FC236}">
                  <a16:creationId xmlns:a16="http://schemas.microsoft.com/office/drawing/2014/main" id="{642B4E27-4193-4C43-9A4D-E25F56DEE238}"/>
                </a:ext>
              </a:extLst>
            </p:cNvPr>
            <p:cNvGrpSpPr/>
            <p:nvPr/>
          </p:nvGrpSpPr>
          <p:grpSpPr>
            <a:xfrm>
              <a:off x="3262751" y="3937429"/>
              <a:ext cx="203657" cy="182180"/>
              <a:chOff x="3262751" y="3937429"/>
              <a:chExt cx="203657" cy="182180"/>
            </a:xfrm>
          </p:grpSpPr>
          <p:sp>
            <p:nvSpPr>
              <p:cNvPr id="280" name="任意多边形: 形状 279">
                <a:extLst>
                  <a:ext uri="{FF2B5EF4-FFF2-40B4-BE49-F238E27FC236}">
                    <a16:creationId xmlns:a16="http://schemas.microsoft.com/office/drawing/2014/main" id="{C0F20018-283E-44CF-8A6C-EF92CE3009BF}"/>
                  </a:ext>
                </a:extLst>
              </p:cNvPr>
              <p:cNvSpPr/>
              <p:nvPr/>
            </p:nvSpPr>
            <p:spPr>
              <a:xfrm>
                <a:off x="3265537" y="3937429"/>
                <a:ext cx="196617" cy="176009"/>
              </a:xfrm>
              <a:custGeom>
                <a:avLst/>
                <a:gdLst>
                  <a:gd name="connsiteX0" fmla="*/ 194699 w 196617"/>
                  <a:gd name="connsiteY0" fmla="*/ 95781 h 176009"/>
                  <a:gd name="connsiteX1" fmla="*/ 108299 w 196617"/>
                  <a:gd name="connsiteY1" fmla="*/ 124 h 176009"/>
                  <a:gd name="connsiteX2" fmla="*/ 299 w 196617"/>
                  <a:gd name="connsiteY2" fmla="*/ 68009 h 176009"/>
                  <a:gd name="connsiteX3" fmla="*/ 28070 w 196617"/>
                  <a:gd name="connsiteY3" fmla="*/ 160581 h 176009"/>
                  <a:gd name="connsiteX4" fmla="*/ 65099 w 196617"/>
                  <a:gd name="connsiteY4" fmla="*/ 176009 h 176009"/>
                  <a:gd name="connsiteX5" fmla="*/ 83613 w 196617"/>
                  <a:gd name="connsiteY5" fmla="*/ 166752 h 176009"/>
                  <a:gd name="connsiteX6" fmla="*/ 102128 w 196617"/>
                  <a:gd name="connsiteY6" fmla="*/ 163667 h 176009"/>
                  <a:gd name="connsiteX7" fmla="*/ 114470 w 196617"/>
                  <a:gd name="connsiteY7" fmla="*/ 151324 h 176009"/>
                  <a:gd name="connsiteX8" fmla="*/ 136070 w 196617"/>
                  <a:gd name="connsiteY8" fmla="*/ 142066 h 176009"/>
                  <a:gd name="connsiteX9" fmla="*/ 151499 w 196617"/>
                  <a:gd name="connsiteY9" fmla="*/ 135895 h 176009"/>
                  <a:gd name="connsiteX10" fmla="*/ 160756 w 196617"/>
                  <a:gd name="connsiteY10" fmla="*/ 120467 h 176009"/>
                  <a:gd name="connsiteX11" fmla="*/ 194699 w 196617"/>
                  <a:gd name="connsiteY11" fmla="*/ 95781 h 176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6617" h="176009">
                    <a:moveTo>
                      <a:pt x="194699" y="95781"/>
                    </a:moveTo>
                    <a:cubicBezTo>
                      <a:pt x="207042" y="77267"/>
                      <a:pt x="157670" y="27895"/>
                      <a:pt x="108299" y="124"/>
                    </a:cubicBezTo>
                    <a:cubicBezTo>
                      <a:pt x="102128" y="-2962"/>
                      <a:pt x="3385" y="52581"/>
                      <a:pt x="299" y="68009"/>
                    </a:cubicBezTo>
                    <a:cubicBezTo>
                      <a:pt x="-2787" y="95781"/>
                      <a:pt x="18813" y="151324"/>
                      <a:pt x="28070" y="160581"/>
                    </a:cubicBezTo>
                    <a:cubicBezTo>
                      <a:pt x="40413" y="172924"/>
                      <a:pt x="49670" y="176009"/>
                      <a:pt x="65099" y="176009"/>
                    </a:cubicBezTo>
                    <a:cubicBezTo>
                      <a:pt x="80528" y="172924"/>
                      <a:pt x="74356" y="169838"/>
                      <a:pt x="83613" y="166752"/>
                    </a:cubicBezTo>
                    <a:cubicBezTo>
                      <a:pt x="89785" y="163667"/>
                      <a:pt x="95956" y="166752"/>
                      <a:pt x="102128" y="163667"/>
                    </a:cubicBezTo>
                    <a:cubicBezTo>
                      <a:pt x="108299" y="160581"/>
                      <a:pt x="108299" y="157495"/>
                      <a:pt x="114470" y="151324"/>
                    </a:cubicBezTo>
                    <a:cubicBezTo>
                      <a:pt x="126813" y="142066"/>
                      <a:pt x="117556" y="145152"/>
                      <a:pt x="136070" y="142066"/>
                    </a:cubicBezTo>
                    <a:cubicBezTo>
                      <a:pt x="142242" y="142066"/>
                      <a:pt x="148413" y="138981"/>
                      <a:pt x="151499" y="135895"/>
                    </a:cubicBezTo>
                    <a:cubicBezTo>
                      <a:pt x="157670" y="132809"/>
                      <a:pt x="160756" y="126638"/>
                      <a:pt x="160756" y="120467"/>
                    </a:cubicBezTo>
                    <a:cubicBezTo>
                      <a:pt x="176185" y="117381"/>
                      <a:pt x="185442" y="108124"/>
                      <a:pt x="194699" y="95781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1" name="任意多边形: 形状 280">
                <a:extLst>
                  <a:ext uri="{FF2B5EF4-FFF2-40B4-BE49-F238E27FC236}">
                    <a16:creationId xmlns:a16="http://schemas.microsoft.com/office/drawing/2014/main" id="{9989C8AA-CFF1-4B8E-BE05-B868C927A105}"/>
                  </a:ext>
                </a:extLst>
              </p:cNvPr>
              <p:cNvSpPr/>
              <p:nvPr/>
            </p:nvSpPr>
            <p:spPr>
              <a:xfrm>
                <a:off x="3262751" y="3950667"/>
                <a:ext cx="203657" cy="168942"/>
              </a:xfrm>
              <a:custGeom>
                <a:avLst/>
                <a:gdLst>
                  <a:gd name="connsiteX0" fmla="*/ 61714 w 203657"/>
                  <a:gd name="connsiteY0" fmla="*/ 168943 h 168942"/>
                  <a:gd name="connsiteX1" fmla="*/ 27771 w 203657"/>
                  <a:gd name="connsiteY1" fmla="*/ 153514 h 168942"/>
                  <a:gd name="connsiteX2" fmla="*/ 0 w 203657"/>
                  <a:gd name="connsiteY2" fmla="*/ 76371 h 168942"/>
                  <a:gd name="connsiteX3" fmla="*/ 6171 w 203657"/>
                  <a:gd name="connsiteY3" fmla="*/ 70200 h 168942"/>
                  <a:gd name="connsiteX4" fmla="*/ 12343 w 203657"/>
                  <a:gd name="connsiteY4" fmla="*/ 76371 h 168942"/>
                  <a:gd name="connsiteX5" fmla="*/ 37029 w 203657"/>
                  <a:gd name="connsiteY5" fmla="*/ 144257 h 168942"/>
                  <a:gd name="connsiteX6" fmla="*/ 86400 w 203657"/>
                  <a:gd name="connsiteY6" fmla="*/ 147343 h 168942"/>
                  <a:gd name="connsiteX7" fmla="*/ 92571 w 203657"/>
                  <a:gd name="connsiteY7" fmla="*/ 147343 h 168942"/>
                  <a:gd name="connsiteX8" fmla="*/ 108000 w 203657"/>
                  <a:gd name="connsiteY8" fmla="*/ 147343 h 168942"/>
                  <a:gd name="connsiteX9" fmla="*/ 120343 w 203657"/>
                  <a:gd name="connsiteY9" fmla="*/ 131914 h 168942"/>
                  <a:gd name="connsiteX10" fmla="*/ 126514 w 203657"/>
                  <a:gd name="connsiteY10" fmla="*/ 128828 h 168942"/>
                  <a:gd name="connsiteX11" fmla="*/ 151200 w 203657"/>
                  <a:gd name="connsiteY11" fmla="*/ 122657 h 168942"/>
                  <a:gd name="connsiteX12" fmla="*/ 157371 w 203657"/>
                  <a:gd name="connsiteY12" fmla="*/ 107229 h 168942"/>
                  <a:gd name="connsiteX13" fmla="*/ 160457 w 203657"/>
                  <a:gd name="connsiteY13" fmla="*/ 101057 h 168942"/>
                  <a:gd name="connsiteX14" fmla="*/ 166629 w 203657"/>
                  <a:gd name="connsiteY14" fmla="*/ 101057 h 168942"/>
                  <a:gd name="connsiteX15" fmla="*/ 182057 w 203657"/>
                  <a:gd name="connsiteY15" fmla="*/ 94886 h 168942"/>
                  <a:gd name="connsiteX16" fmla="*/ 191314 w 203657"/>
                  <a:gd name="connsiteY16" fmla="*/ 73286 h 168942"/>
                  <a:gd name="connsiteX17" fmla="*/ 135771 w 203657"/>
                  <a:gd name="connsiteY17" fmla="*/ 11571 h 168942"/>
                  <a:gd name="connsiteX18" fmla="*/ 135771 w 203657"/>
                  <a:gd name="connsiteY18" fmla="*/ 2314 h 168942"/>
                  <a:gd name="connsiteX19" fmla="*/ 145029 w 203657"/>
                  <a:gd name="connsiteY19" fmla="*/ 2314 h 168942"/>
                  <a:gd name="connsiteX20" fmla="*/ 203657 w 203657"/>
                  <a:gd name="connsiteY20" fmla="*/ 70200 h 168942"/>
                  <a:gd name="connsiteX21" fmla="*/ 188229 w 203657"/>
                  <a:gd name="connsiteY21" fmla="*/ 104143 h 168942"/>
                  <a:gd name="connsiteX22" fmla="*/ 166629 w 203657"/>
                  <a:gd name="connsiteY22" fmla="*/ 113400 h 168942"/>
                  <a:gd name="connsiteX23" fmla="*/ 157371 w 203657"/>
                  <a:gd name="connsiteY23" fmla="*/ 128828 h 168942"/>
                  <a:gd name="connsiteX24" fmla="*/ 126514 w 203657"/>
                  <a:gd name="connsiteY24" fmla="*/ 138086 h 168942"/>
                  <a:gd name="connsiteX25" fmla="*/ 111086 w 203657"/>
                  <a:gd name="connsiteY25" fmla="*/ 156600 h 168942"/>
                  <a:gd name="connsiteX26" fmla="*/ 86400 w 203657"/>
                  <a:gd name="connsiteY26" fmla="*/ 156600 h 168942"/>
                  <a:gd name="connsiteX27" fmla="*/ 61714 w 203657"/>
                  <a:gd name="connsiteY27" fmla="*/ 168943 h 168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03657" h="168942">
                    <a:moveTo>
                      <a:pt x="61714" y="168943"/>
                    </a:moveTo>
                    <a:cubicBezTo>
                      <a:pt x="49371" y="168943"/>
                      <a:pt x="40114" y="165857"/>
                      <a:pt x="27771" y="153514"/>
                    </a:cubicBezTo>
                    <a:cubicBezTo>
                      <a:pt x="3086" y="125743"/>
                      <a:pt x="0" y="79457"/>
                      <a:pt x="0" y="76371"/>
                    </a:cubicBezTo>
                    <a:cubicBezTo>
                      <a:pt x="0" y="73286"/>
                      <a:pt x="3086" y="70200"/>
                      <a:pt x="6171" y="70200"/>
                    </a:cubicBezTo>
                    <a:cubicBezTo>
                      <a:pt x="9257" y="70200"/>
                      <a:pt x="12343" y="73286"/>
                      <a:pt x="12343" y="76371"/>
                    </a:cubicBezTo>
                    <a:cubicBezTo>
                      <a:pt x="12343" y="76371"/>
                      <a:pt x="15429" y="119571"/>
                      <a:pt x="37029" y="144257"/>
                    </a:cubicBezTo>
                    <a:cubicBezTo>
                      <a:pt x="58629" y="168943"/>
                      <a:pt x="83314" y="150429"/>
                      <a:pt x="86400" y="147343"/>
                    </a:cubicBezTo>
                    <a:cubicBezTo>
                      <a:pt x="89486" y="147343"/>
                      <a:pt x="89486" y="147343"/>
                      <a:pt x="92571" y="147343"/>
                    </a:cubicBezTo>
                    <a:cubicBezTo>
                      <a:pt x="98743" y="150429"/>
                      <a:pt x="104914" y="150429"/>
                      <a:pt x="108000" y="147343"/>
                    </a:cubicBezTo>
                    <a:cubicBezTo>
                      <a:pt x="117257" y="144257"/>
                      <a:pt x="120343" y="131914"/>
                      <a:pt x="120343" y="131914"/>
                    </a:cubicBezTo>
                    <a:cubicBezTo>
                      <a:pt x="120343" y="128828"/>
                      <a:pt x="123429" y="128828"/>
                      <a:pt x="126514" y="128828"/>
                    </a:cubicBezTo>
                    <a:cubicBezTo>
                      <a:pt x="138857" y="128828"/>
                      <a:pt x="148114" y="125743"/>
                      <a:pt x="151200" y="122657"/>
                    </a:cubicBezTo>
                    <a:cubicBezTo>
                      <a:pt x="157371" y="116486"/>
                      <a:pt x="157371" y="110314"/>
                      <a:pt x="157371" y="107229"/>
                    </a:cubicBezTo>
                    <a:cubicBezTo>
                      <a:pt x="157371" y="104143"/>
                      <a:pt x="157371" y="104143"/>
                      <a:pt x="160457" y="101057"/>
                    </a:cubicBezTo>
                    <a:cubicBezTo>
                      <a:pt x="160457" y="101057"/>
                      <a:pt x="163543" y="101057"/>
                      <a:pt x="166629" y="101057"/>
                    </a:cubicBezTo>
                    <a:cubicBezTo>
                      <a:pt x="169714" y="101057"/>
                      <a:pt x="178971" y="101057"/>
                      <a:pt x="182057" y="94886"/>
                    </a:cubicBezTo>
                    <a:cubicBezTo>
                      <a:pt x="188229" y="88714"/>
                      <a:pt x="194400" y="79457"/>
                      <a:pt x="191314" y="73286"/>
                    </a:cubicBezTo>
                    <a:cubicBezTo>
                      <a:pt x="191314" y="60943"/>
                      <a:pt x="160457" y="30086"/>
                      <a:pt x="135771" y="11571"/>
                    </a:cubicBezTo>
                    <a:cubicBezTo>
                      <a:pt x="132686" y="8486"/>
                      <a:pt x="132686" y="5400"/>
                      <a:pt x="135771" y="2314"/>
                    </a:cubicBezTo>
                    <a:cubicBezTo>
                      <a:pt x="138857" y="-771"/>
                      <a:pt x="141943" y="-771"/>
                      <a:pt x="145029" y="2314"/>
                    </a:cubicBezTo>
                    <a:cubicBezTo>
                      <a:pt x="154286" y="11571"/>
                      <a:pt x="200571" y="51686"/>
                      <a:pt x="203657" y="70200"/>
                    </a:cubicBezTo>
                    <a:cubicBezTo>
                      <a:pt x="203657" y="82543"/>
                      <a:pt x="200571" y="94886"/>
                      <a:pt x="188229" y="104143"/>
                    </a:cubicBezTo>
                    <a:cubicBezTo>
                      <a:pt x="182057" y="110314"/>
                      <a:pt x="172800" y="113400"/>
                      <a:pt x="166629" y="113400"/>
                    </a:cubicBezTo>
                    <a:cubicBezTo>
                      <a:pt x="166629" y="116486"/>
                      <a:pt x="163543" y="122657"/>
                      <a:pt x="157371" y="128828"/>
                    </a:cubicBezTo>
                    <a:cubicBezTo>
                      <a:pt x="151200" y="135000"/>
                      <a:pt x="138857" y="138086"/>
                      <a:pt x="126514" y="138086"/>
                    </a:cubicBezTo>
                    <a:cubicBezTo>
                      <a:pt x="123429" y="144257"/>
                      <a:pt x="120343" y="153514"/>
                      <a:pt x="111086" y="156600"/>
                    </a:cubicBezTo>
                    <a:cubicBezTo>
                      <a:pt x="104914" y="159686"/>
                      <a:pt x="95657" y="159686"/>
                      <a:pt x="86400" y="156600"/>
                    </a:cubicBezTo>
                    <a:cubicBezTo>
                      <a:pt x="83314" y="162771"/>
                      <a:pt x="70971" y="168943"/>
                      <a:pt x="61714" y="16894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82" name="图形 1">
              <a:extLst>
                <a:ext uri="{FF2B5EF4-FFF2-40B4-BE49-F238E27FC236}">
                  <a16:creationId xmlns:a16="http://schemas.microsoft.com/office/drawing/2014/main" id="{642B4E27-4193-4C43-9A4D-E25F56DEE238}"/>
                </a:ext>
              </a:extLst>
            </p:cNvPr>
            <p:cNvGrpSpPr/>
            <p:nvPr/>
          </p:nvGrpSpPr>
          <p:grpSpPr>
            <a:xfrm>
              <a:off x="4953310" y="4057729"/>
              <a:ext cx="349252" cy="349049"/>
              <a:chOff x="4953310" y="4057729"/>
              <a:chExt cx="349252" cy="349049"/>
            </a:xfrm>
          </p:grpSpPr>
          <p:sp>
            <p:nvSpPr>
              <p:cNvPr id="283" name="任意多边形: 形状 282">
                <a:extLst>
                  <a:ext uri="{FF2B5EF4-FFF2-40B4-BE49-F238E27FC236}">
                    <a16:creationId xmlns:a16="http://schemas.microsoft.com/office/drawing/2014/main" id="{4B52DBE6-8818-4113-84E7-59BBB94CC434}"/>
                  </a:ext>
                </a:extLst>
              </p:cNvPr>
              <p:cNvSpPr/>
              <p:nvPr/>
            </p:nvSpPr>
            <p:spPr>
              <a:xfrm>
                <a:off x="4953310" y="4057729"/>
                <a:ext cx="344668" cy="349049"/>
              </a:xfrm>
              <a:custGeom>
                <a:avLst/>
                <a:gdLst>
                  <a:gd name="connsiteX0" fmla="*/ 12755 w 344668"/>
                  <a:gd name="connsiteY0" fmla="*/ 123596 h 349049"/>
                  <a:gd name="connsiteX1" fmla="*/ 74469 w 344668"/>
                  <a:gd name="connsiteY1" fmla="*/ 200739 h 349049"/>
                  <a:gd name="connsiteX2" fmla="*/ 130012 w 344668"/>
                  <a:gd name="connsiteY2" fmla="*/ 287139 h 349049"/>
                  <a:gd name="connsiteX3" fmla="*/ 170126 w 344668"/>
                  <a:gd name="connsiteY3" fmla="*/ 327253 h 349049"/>
                  <a:gd name="connsiteX4" fmla="*/ 163955 w 344668"/>
                  <a:gd name="connsiteY4" fmla="*/ 259367 h 349049"/>
                  <a:gd name="connsiteX5" fmla="*/ 200983 w 344668"/>
                  <a:gd name="connsiteY5" fmla="*/ 302567 h 349049"/>
                  <a:gd name="connsiteX6" fmla="*/ 265783 w 344668"/>
                  <a:gd name="connsiteY6" fmla="*/ 348853 h 349049"/>
                  <a:gd name="connsiteX7" fmla="*/ 278126 w 344668"/>
                  <a:gd name="connsiteY7" fmla="*/ 336510 h 349049"/>
                  <a:gd name="connsiteX8" fmla="*/ 308983 w 344668"/>
                  <a:gd name="connsiteY8" fmla="*/ 345767 h 349049"/>
                  <a:gd name="connsiteX9" fmla="*/ 305898 w 344668"/>
                  <a:gd name="connsiteY9" fmla="*/ 277882 h 349049"/>
                  <a:gd name="connsiteX10" fmla="*/ 278126 w 344668"/>
                  <a:gd name="connsiteY10" fmla="*/ 222339 h 349049"/>
                  <a:gd name="connsiteX11" fmla="*/ 315155 w 344668"/>
                  <a:gd name="connsiteY11" fmla="*/ 250110 h 349049"/>
                  <a:gd name="connsiteX12" fmla="*/ 336755 w 344668"/>
                  <a:gd name="connsiteY12" fmla="*/ 256281 h 349049"/>
                  <a:gd name="connsiteX13" fmla="*/ 312069 w 344668"/>
                  <a:gd name="connsiteY13" fmla="*/ 182225 h 349049"/>
                  <a:gd name="connsiteX14" fmla="*/ 117669 w 344668"/>
                  <a:gd name="connsiteY14" fmla="*/ 167 h 349049"/>
                  <a:gd name="connsiteX15" fmla="*/ 12755 w 344668"/>
                  <a:gd name="connsiteY15" fmla="*/ 77310 h 349049"/>
                  <a:gd name="connsiteX16" fmla="*/ 12755 w 344668"/>
                  <a:gd name="connsiteY16" fmla="*/ 123596 h 349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44668" h="349049">
                    <a:moveTo>
                      <a:pt x="12755" y="123596"/>
                    </a:moveTo>
                    <a:cubicBezTo>
                      <a:pt x="31269" y="151367"/>
                      <a:pt x="55955" y="172967"/>
                      <a:pt x="74469" y="200739"/>
                    </a:cubicBezTo>
                    <a:cubicBezTo>
                      <a:pt x="92983" y="228510"/>
                      <a:pt x="108412" y="259367"/>
                      <a:pt x="130012" y="287139"/>
                    </a:cubicBezTo>
                    <a:cubicBezTo>
                      <a:pt x="136183" y="296396"/>
                      <a:pt x="154698" y="327253"/>
                      <a:pt x="170126" y="327253"/>
                    </a:cubicBezTo>
                    <a:cubicBezTo>
                      <a:pt x="191726" y="324167"/>
                      <a:pt x="179383" y="290225"/>
                      <a:pt x="163955" y="259367"/>
                    </a:cubicBezTo>
                    <a:cubicBezTo>
                      <a:pt x="176298" y="274796"/>
                      <a:pt x="188641" y="290225"/>
                      <a:pt x="200983" y="302567"/>
                    </a:cubicBezTo>
                    <a:cubicBezTo>
                      <a:pt x="213326" y="317996"/>
                      <a:pt x="241098" y="351939"/>
                      <a:pt x="265783" y="348853"/>
                    </a:cubicBezTo>
                    <a:cubicBezTo>
                      <a:pt x="275040" y="348853"/>
                      <a:pt x="278126" y="342682"/>
                      <a:pt x="278126" y="336510"/>
                    </a:cubicBezTo>
                    <a:cubicBezTo>
                      <a:pt x="290469" y="348853"/>
                      <a:pt x="302812" y="351939"/>
                      <a:pt x="308983" y="345767"/>
                    </a:cubicBezTo>
                    <a:cubicBezTo>
                      <a:pt x="324412" y="330339"/>
                      <a:pt x="312069" y="293310"/>
                      <a:pt x="305898" y="277882"/>
                    </a:cubicBezTo>
                    <a:cubicBezTo>
                      <a:pt x="299726" y="259367"/>
                      <a:pt x="287383" y="240853"/>
                      <a:pt x="278126" y="222339"/>
                    </a:cubicBezTo>
                    <a:cubicBezTo>
                      <a:pt x="290469" y="231596"/>
                      <a:pt x="302812" y="243939"/>
                      <a:pt x="315155" y="250110"/>
                    </a:cubicBezTo>
                    <a:cubicBezTo>
                      <a:pt x="321326" y="253196"/>
                      <a:pt x="327498" y="259367"/>
                      <a:pt x="336755" y="256281"/>
                    </a:cubicBezTo>
                    <a:cubicBezTo>
                      <a:pt x="361441" y="240853"/>
                      <a:pt x="321326" y="194567"/>
                      <a:pt x="312069" y="182225"/>
                    </a:cubicBezTo>
                    <a:cubicBezTo>
                      <a:pt x="256526" y="111253"/>
                      <a:pt x="182469" y="61882"/>
                      <a:pt x="117669" y="167"/>
                    </a:cubicBezTo>
                    <a:cubicBezTo>
                      <a:pt x="117669" y="-2918"/>
                      <a:pt x="31269" y="37196"/>
                      <a:pt x="12755" y="77310"/>
                    </a:cubicBezTo>
                    <a:cubicBezTo>
                      <a:pt x="-5759" y="98910"/>
                      <a:pt x="-2674" y="105082"/>
                      <a:pt x="12755" y="123596"/>
                    </a:cubicBezTo>
                    <a:close/>
                  </a:path>
                </a:pathLst>
              </a:custGeom>
              <a:solidFill>
                <a:srgbClr val="F49F84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4" name="任意多边形: 形状 283">
                <a:extLst>
                  <a:ext uri="{FF2B5EF4-FFF2-40B4-BE49-F238E27FC236}">
                    <a16:creationId xmlns:a16="http://schemas.microsoft.com/office/drawing/2014/main" id="{E80A4D94-0A00-4302-A843-0A155658AC71}"/>
                  </a:ext>
                </a:extLst>
              </p:cNvPr>
              <p:cNvSpPr/>
              <p:nvPr/>
            </p:nvSpPr>
            <p:spPr>
              <a:xfrm>
                <a:off x="5165358" y="4157410"/>
                <a:ext cx="137204" cy="162771"/>
              </a:xfrm>
              <a:custGeom>
                <a:avLst/>
                <a:gdLst>
                  <a:gd name="connsiteX0" fmla="*/ 115450 w 137204"/>
                  <a:gd name="connsiteY0" fmla="*/ 162772 h 162771"/>
                  <a:gd name="connsiteX1" fmla="*/ 59907 w 137204"/>
                  <a:gd name="connsiteY1" fmla="*/ 125743 h 162771"/>
                  <a:gd name="connsiteX2" fmla="*/ 4364 w 137204"/>
                  <a:gd name="connsiteY2" fmla="*/ 64029 h 162771"/>
                  <a:gd name="connsiteX3" fmla="*/ 1278 w 137204"/>
                  <a:gd name="connsiteY3" fmla="*/ 57857 h 162771"/>
                  <a:gd name="connsiteX4" fmla="*/ 7450 w 137204"/>
                  <a:gd name="connsiteY4" fmla="*/ 54772 h 162771"/>
                  <a:gd name="connsiteX5" fmla="*/ 66078 w 137204"/>
                  <a:gd name="connsiteY5" fmla="*/ 119571 h 162771"/>
                  <a:gd name="connsiteX6" fmla="*/ 118535 w 137204"/>
                  <a:gd name="connsiteY6" fmla="*/ 150429 h 162771"/>
                  <a:gd name="connsiteX7" fmla="*/ 121621 w 137204"/>
                  <a:gd name="connsiteY7" fmla="*/ 147343 h 162771"/>
                  <a:gd name="connsiteX8" fmla="*/ 19792 w 137204"/>
                  <a:gd name="connsiteY8" fmla="*/ 11571 h 162771"/>
                  <a:gd name="connsiteX9" fmla="*/ 19792 w 137204"/>
                  <a:gd name="connsiteY9" fmla="*/ 2314 h 162771"/>
                  <a:gd name="connsiteX10" fmla="*/ 29050 w 137204"/>
                  <a:gd name="connsiteY10" fmla="*/ 2314 h 162771"/>
                  <a:gd name="connsiteX11" fmla="*/ 137050 w 137204"/>
                  <a:gd name="connsiteY11" fmla="*/ 150429 h 162771"/>
                  <a:gd name="connsiteX12" fmla="*/ 127792 w 137204"/>
                  <a:gd name="connsiteY12" fmla="*/ 162772 h 162771"/>
                  <a:gd name="connsiteX13" fmla="*/ 115450 w 137204"/>
                  <a:gd name="connsiteY13" fmla="*/ 162772 h 162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7204" h="162771">
                    <a:moveTo>
                      <a:pt x="115450" y="162772"/>
                    </a:moveTo>
                    <a:cubicBezTo>
                      <a:pt x="90764" y="162772"/>
                      <a:pt x="62992" y="131914"/>
                      <a:pt x="59907" y="125743"/>
                    </a:cubicBezTo>
                    <a:cubicBezTo>
                      <a:pt x="38307" y="97972"/>
                      <a:pt x="13621" y="67114"/>
                      <a:pt x="4364" y="64029"/>
                    </a:cubicBezTo>
                    <a:cubicBezTo>
                      <a:pt x="1278" y="64029"/>
                      <a:pt x="-1808" y="60943"/>
                      <a:pt x="1278" y="57857"/>
                    </a:cubicBezTo>
                    <a:cubicBezTo>
                      <a:pt x="1278" y="54772"/>
                      <a:pt x="4364" y="51686"/>
                      <a:pt x="7450" y="54772"/>
                    </a:cubicBezTo>
                    <a:cubicBezTo>
                      <a:pt x="19792" y="57857"/>
                      <a:pt x="56821" y="104143"/>
                      <a:pt x="66078" y="119571"/>
                    </a:cubicBezTo>
                    <a:cubicBezTo>
                      <a:pt x="75335" y="128829"/>
                      <a:pt x="103107" y="156600"/>
                      <a:pt x="118535" y="150429"/>
                    </a:cubicBezTo>
                    <a:cubicBezTo>
                      <a:pt x="118535" y="150429"/>
                      <a:pt x="121621" y="150429"/>
                      <a:pt x="121621" y="147343"/>
                    </a:cubicBezTo>
                    <a:cubicBezTo>
                      <a:pt x="124707" y="131914"/>
                      <a:pt x="93850" y="76371"/>
                      <a:pt x="19792" y="11571"/>
                    </a:cubicBezTo>
                    <a:cubicBezTo>
                      <a:pt x="16707" y="8486"/>
                      <a:pt x="16707" y="5400"/>
                      <a:pt x="19792" y="2314"/>
                    </a:cubicBezTo>
                    <a:cubicBezTo>
                      <a:pt x="22878" y="-771"/>
                      <a:pt x="25964" y="-771"/>
                      <a:pt x="29050" y="2314"/>
                    </a:cubicBezTo>
                    <a:cubicBezTo>
                      <a:pt x="96935" y="60943"/>
                      <a:pt x="140135" y="122657"/>
                      <a:pt x="137050" y="150429"/>
                    </a:cubicBezTo>
                    <a:cubicBezTo>
                      <a:pt x="137050" y="156600"/>
                      <a:pt x="130878" y="159686"/>
                      <a:pt x="127792" y="162772"/>
                    </a:cubicBezTo>
                    <a:cubicBezTo>
                      <a:pt x="121621" y="162772"/>
                      <a:pt x="118535" y="162772"/>
                      <a:pt x="115450" y="162772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5" name="任意多边形: 形状 284">
                <a:extLst>
                  <a:ext uri="{FF2B5EF4-FFF2-40B4-BE49-F238E27FC236}">
                    <a16:creationId xmlns:a16="http://schemas.microsoft.com/office/drawing/2014/main" id="{FF84EEA6-AC06-4B13-85AB-D07F5811CA76}"/>
                  </a:ext>
                </a:extLst>
              </p:cNvPr>
              <p:cNvSpPr/>
              <p:nvPr/>
            </p:nvSpPr>
            <p:spPr>
              <a:xfrm>
                <a:off x="5136551" y="4246896"/>
                <a:ext cx="97971" cy="153514"/>
              </a:xfrm>
              <a:custGeom>
                <a:avLst/>
                <a:gdLst>
                  <a:gd name="connsiteX0" fmla="*/ 91800 w 97971"/>
                  <a:gd name="connsiteY0" fmla="*/ 153514 h 153514"/>
                  <a:gd name="connsiteX1" fmla="*/ 85629 w 97971"/>
                  <a:gd name="connsiteY1" fmla="*/ 150429 h 153514"/>
                  <a:gd name="connsiteX2" fmla="*/ 2314 w 97971"/>
                  <a:gd name="connsiteY2" fmla="*/ 11571 h 153514"/>
                  <a:gd name="connsiteX3" fmla="*/ 2314 w 97971"/>
                  <a:gd name="connsiteY3" fmla="*/ 2314 h 153514"/>
                  <a:gd name="connsiteX4" fmla="*/ 11571 w 97971"/>
                  <a:gd name="connsiteY4" fmla="*/ 2314 h 153514"/>
                  <a:gd name="connsiteX5" fmla="*/ 97972 w 97971"/>
                  <a:gd name="connsiteY5" fmla="*/ 147343 h 153514"/>
                  <a:gd name="connsiteX6" fmla="*/ 91800 w 97971"/>
                  <a:gd name="connsiteY6" fmla="*/ 153514 h 153514"/>
                  <a:gd name="connsiteX7" fmla="*/ 91800 w 97971"/>
                  <a:gd name="connsiteY7" fmla="*/ 153514 h 153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971" h="153514">
                    <a:moveTo>
                      <a:pt x="91800" y="153514"/>
                    </a:moveTo>
                    <a:cubicBezTo>
                      <a:pt x="88714" y="153514"/>
                      <a:pt x="88714" y="153514"/>
                      <a:pt x="85629" y="150429"/>
                    </a:cubicBezTo>
                    <a:cubicBezTo>
                      <a:pt x="85629" y="150429"/>
                      <a:pt x="30086" y="33171"/>
                      <a:pt x="2314" y="11571"/>
                    </a:cubicBez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0" y="-771"/>
                      <a:pt x="8486" y="-771"/>
                      <a:pt x="11571" y="2314"/>
                    </a:cubicBezTo>
                    <a:cubicBezTo>
                      <a:pt x="42429" y="23914"/>
                      <a:pt x="97972" y="141171"/>
                      <a:pt x="97972" y="147343"/>
                    </a:cubicBezTo>
                    <a:cubicBezTo>
                      <a:pt x="97972" y="147343"/>
                      <a:pt x="97972" y="150429"/>
                      <a:pt x="91800" y="153514"/>
                    </a:cubicBezTo>
                    <a:cubicBezTo>
                      <a:pt x="94886" y="153514"/>
                      <a:pt x="91800" y="153514"/>
                      <a:pt x="91800" y="153514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6" name="任意多边形: 形状 285">
                <a:extLst>
                  <a:ext uri="{FF2B5EF4-FFF2-40B4-BE49-F238E27FC236}">
                    <a16:creationId xmlns:a16="http://schemas.microsoft.com/office/drawing/2014/main" id="{F3EA00C1-AC3E-4316-873A-FF77D0A8564B}"/>
                  </a:ext>
                </a:extLst>
              </p:cNvPr>
              <p:cNvSpPr/>
              <p:nvPr/>
            </p:nvSpPr>
            <p:spPr>
              <a:xfrm>
                <a:off x="5077922" y="4265410"/>
                <a:ext cx="47828" cy="57857"/>
              </a:xfrm>
              <a:custGeom>
                <a:avLst/>
                <a:gdLst>
                  <a:gd name="connsiteX0" fmla="*/ 39343 w 47828"/>
                  <a:gd name="connsiteY0" fmla="*/ 57857 h 57857"/>
                  <a:gd name="connsiteX1" fmla="*/ 36257 w 47828"/>
                  <a:gd name="connsiteY1" fmla="*/ 54772 h 57857"/>
                  <a:gd name="connsiteX2" fmla="*/ 2314 w 47828"/>
                  <a:gd name="connsiteY2" fmla="*/ 11571 h 57857"/>
                  <a:gd name="connsiteX3" fmla="*/ 2314 w 47828"/>
                  <a:gd name="connsiteY3" fmla="*/ 2314 h 57857"/>
                  <a:gd name="connsiteX4" fmla="*/ 11571 w 47828"/>
                  <a:gd name="connsiteY4" fmla="*/ 2314 h 57857"/>
                  <a:gd name="connsiteX5" fmla="*/ 45514 w 47828"/>
                  <a:gd name="connsiteY5" fmla="*/ 45514 h 57857"/>
                  <a:gd name="connsiteX6" fmla="*/ 45514 w 47828"/>
                  <a:gd name="connsiteY6" fmla="*/ 54772 h 57857"/>
                  <a:gd name="connsiteX7" fmla="*/ 39343 w 47828"/>
                  <a:gd name="connsiteY7" fmla="*/ 57857 h 57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828" h="57857">
                    <a:moveTo>
                      <a:pt x="39343" y="57857"/>
                    </a:moveTo>
                    <a:cubicBezTo>
                      <a:pt x="36257" y="57857"/>
                      <a:pt x="36257" y="57857"/>
                      <a:pt x="36257" y="54772"/>
                    </a:cubicBezTo>
                    <a:lnTo>
                      <a:pt x="2314" y="11571"/>
                    </a:lnTo>
                    <a:cubicBezTo>
                      <a:pt x="-771" y="8486"/>
                      <a:pt x="-771" y="5400"/>
                      <a:pt x="2314" y="2314"/>
                    </a:cubicBezTo>
                    <a:cubicBezTo>
                      <a:pt x="5400" y="-771"/>
                      <a:pt x="8486" y="-771"/>
                      <a:pt x="11571" y="2314"/>
                    </a:cubicBezTo>
                    <a:lnTo>
                      <a:pt x="45514" y="45514"/>
                    </a:lnTo>
                    <a:cubicBezTo>
                      <a:pt x="48600" y="48600"/>
                      <a:pt x="48600" y="51686"/>
                      <a:pt x="45514" y="54772"/>
                    </a:cubicBezTo>
                    <a:cubicBezTo>
                      <a:pt x="42429" y="57857"/>
                      <a:pt x="42429" y="57857"/>
                      <a:pt x="39343" y="57857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7" name="任意多边形: 形状 286">
                <a:extLst>
                  <a:ext uri="{FF2B5EF4-FFF2-40B4-BE49-F238E27FC236}">
                    <a16:creationId xmlns:a16="http://schemas.microsoft.com/office/drawing/2014/main" id="{4A30E8BD-5BE4-404F-80DB-90CD91BD09BC}"/>
                  </a:ext>
                </a:extLst>
              </p:cNvPr>
              <p:cNvSpPr/>
              <p:nvPr/>
            </p:nvSpPr>
            <p:spPr>
              <a:xfrm>
                <a:off x="5046294" y="4165896"/>
                <a:ext cx="86400" cy="77142"/>
              </a:xfrm>
              <a:custGeom>
                <a:avLst/>
                <a:gdLst>
                  <a:gd name="connsiteX0" fmla="*/ 6172 w 86400"/>
                  <a:gd name="connsiteY0" fmla="*/ 77143 h 77142"/>
                  <a:gd name="connsiteX1" fmla="*/ 0 w 86400"/>
                  <a:gd name="connsiteY1" fmla="*/ 74057 h 77142"/>
                  <a:gd name="connsiteX2" fmla="*/ 3086 w 86400"/>
                  <a:gd name="connsiteY2" fmla="*/ 67886 h 77142"/>
                  <a:gd name="connsiteX3" fmla="*/ 77143 w 86400"/>
                  <a:gd name="connsiteY3" fmla="*/ 3086 h 77142"/>
                  <a:gd name="connsiteX4" fmla="*/ 83314 w 86400"/>
                  <a:gd name="connsiteY4" fmla="*/ 0 h 77142"/>
                  <a:gd name="connsiteX5" fmla="*/ 86400 w 86400"/>
                  <a:gd name="connsiteY5" fmla="*/ 6171 h 77142"/>
                  <a:gd name="connsiteX6" fmla="*/ 6172 w 86400"/>
                  <a:gd name="connsiteY6" fmla="*/ 77143 h 77142"/>
                  <a:gd name="connsiteX7" fmla="*/ 6172 w 86400"/>
                  <a:gd name="connsiteY7" fmla="*/ 77143 h 77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6400" h="77142">
                    <a:moveTo>
                      <a:pt x="6172" y="77143"/>
                    </a:moveTo>
                    <a:cubicBezTo>
                      <a:pt x="3086" y="77143"/>
                      <a:pt x="0" y="74057"/>
                      <a:pt x="0" y="74057"/>
                    </a:cubicBezTo>
                    <a:cubicBezTo>
                      <a:pt x="0" y="70971"/>
                      <a:pt x="0" y="67886"/>
                      <a:pt x="3086" y="67886"/>
                    </a:cubicBezTo>
                    <a:cubicBezTo>
                      <a:pt x="52457" y="52457"/>
                      <a:pt x="77143" y="6171"/>
                      <a:pt x="77143" y="3086"/>
                    </a:cubicBezTo>
                    <a:cubicBezTo>
                      <a:pt x="77143" y="0"/>
                      <a:pt x="80229" y="0"/>
                      <a:pt x="83314" y="0"/>
                    </a:cubicBezTo>
                    <a:cubicBezTo>
                      <a:pt x="86400" y="0"/>
                      <a:pt x="86400" y="6171"/>
                      <a:pt x="86400" y="6171"/>
                    </a:cubicBezTo>
                    <a:cubicBezTo>
                      <a:pt x="86400" y="9257"/>
                      <a:pt x="64800" y="58629"/>
                      <a:pt x="6172" y="77143"/>
                    </a:cubicBezTo>
                    <a:cubicBezTo>
                      <a:pt x="9257" y="77143"/>
                      <a:pt x="6172" y="77143"/>
                      <a:pt x="6172" y="77143"/>
                    </a:cubicBezTo>
                    <a:close/>
                  </a:path>
                </a:pathLst>
              </a:custGeom>
              <a:solidFill>
                <a:srgbClr val="E87952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88" name="任意多边形: 形状 287">
              <a:extLst>
                <a:ext uri="{FF2B5EF4-FFF2-40B4-BE49-F238E27FC236}">
                  <a16:creationId xmlns:a16="http://schemas.microsoft.com/office/drawing/2014/main" id="{2CE8A278-052F-424C-BA0A-C45ACBF56DC3}"/>
                </a:ext>
              </a:extLst>
            </p:cNvPr>
            <p:cNvSpPr/>
            <p:nvPr/>
          </p:nvSpPr>
          <p:spPr>
            <a:xfrm>
              <a:off x="4442651" y="2585196"/>
              <a:ext cx="656926" cy="1617728"/>
            </a:xfrm>
            <a:custGeom>
              <a:avLst/>
              <a:gdLst>
                <a:gd name="connsiteX0" fmla="*/ 594386 w 656926"/>
                <a:gd name="connsiteY0" fmla="*/ 13157 h 1617728"/>
                <a:gd name="connsiteX1" fmla="*/ 582043 w 656926"/>
                <a:gd name="connsiteY1" fmla="*/ 537729 h 1617728"/>
                <a:gd name="connsiteX2" fmla="*/ 384557 w 656926"/>
                <a:gd name="connsiteY2" fmla="*/ 963557 h 1617728"/>
                <a:gd name="connsiteX3" fmla="*/ 646843 w 656926"/>
                <a:gd name="connsiteY3" fmla="*/ 1472700 h 1617728"/>
                <a:gd name="connsiteX4" fmla="*/ 523414 w 656926"/>
                <a:gd name="connsiteY4" fmla="*/ 1617729 h 1617728"/>
                <a:gd name="connsiteX5" fmla="*/ 1929 w 656926"/>
                <a:gd name="connsiteY5" fmla="*/ 972814 h 1617728"/>
                <a:gd name="connsiteX6" fmla="*/ 594386 w 656926"/>
                <a:gd name="connsiteY6" fmla="*/ 13157 h 16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6926" h="1617728">
                  <a:moveTo>
                    <a:pt x="594386" y="13157"/>
                  </a:moveTo>
                  <a:cubicBezTo>
                    <a:pt x="717814" y="74871"/>
                    <a:pt x="628329" y="414300"/>
                    <a:pt x="582043" y="537729"/>
                  </a:cubicBezTo>
                  <a:cubicBezTo>
                    <a:pt x="541929" y="648814"/>
                    <a:pt x="384557" y="963557"/>
                    <a:pt x="384557" y="963557"/>
                  </a:cubicBezTo>
                  <a:lnTo>
                    <a:pt x="646843" y="1472700"/>
                  </a:lnTo>
                  <a:lnTo>
                    <a:pt x="523414" y="1617729"/>
                  </a:lnTo>
                  <a:cubicBezTo>
                    <a:pt x="523414" y="1617729"/>
                    <a:pt x="35872" y="1136357"/>
                    <a:pt x="1929" y="972814"/>
                  </a:cubicBezTo>
                  <a:cubicBezTo>
                    <a:pt x="-28928" y="833957"/>
                    <a:pt x="316672" y="-122614"/>
                    <a:pt x="594386" y="13157"/>
                  </a:cubicBezTo>
                  <a:close/>
                </a:path>
              </a:pathLst>
            </a:custGeom>
            <a:solidFill>
              <a:srgbClr val="D16156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9" name="任意多边形: 形状 288">
              <a:extLst>
                <a:ext uri="{FF2B5EF4-FFF2-40B4-BE49-F238E27FC236}">
                  <a16:creationId xmlns:a16="http://schemas.microsoft.com/office/drawing/2014/main" id="{4A028145-72A7-4F7D-8899-8199436E7950}"/>
                </a:ext>
              </a:extLst>
            </p:cNvPr>
            <p:cNvSpPr/>
            <p:nvPr/>
          </p:nvSpPr>
          <p:spPr>
            <a:xfrm>
              <a:off x="4817951" y="2577105"/>
              <a:ext cx="282006" cy="1348104"/>
            </a:xfrm>
            <a:custGeom>
              <a:avLst/>
              <a:gdLst>
                <a:gd name="connsiteX0" fmla="*/ 200571 w 282006"/>
                <a:gd name="connsiteY0" fmla="*/ 1348105 h 1348104"/>
                <a:gd name="connsiteX1" fmla="*/ 194400 w 282006"/>
                <a:gd name="connsiteY1" fmla="*/ 1345019 h 1348104"/>
                <a:gd name="connsiteX2" fmla="*/ 0 w 282006"/>
                <a:gd name="connsiteY2" fmla="*/ 971648 h 1348104"/>
                <a:gd name="connsiteX3" fmla="*/ 0 w 282006"/>
                <a:gd name="connsiteY3" fmla="*/ 968562 h 1348104"/>
                <a:gd name="connsiteX4" fmla="*/ 197486 w 282006"/>
                <a:gd name="connsiteY4" fmla="*/ 542733 h 1348104"/>
                <a:gd name="connsiteX5" fmla="*/ 271543 w 282006"/>
                <a:gd name="connsiteY5" fmla="*/ 169362 h 1348104"/>
                <a:gd name="connsiteX6" fmla="*/ 212914 w 282006"/>
                <a:gd name="connsiteY6" fmla="*/ 27419 h 1348104"/>
                <a:gd name="connsiteX7" fmla="*/ 135771 w 282006"/>
                <a:gd name="connsiteY7" fmla="*/ 11990 h 1348104"/>
                <a:gd name="connsiteX8" fmla="*/ 129600 w 282006"/>
                <a:gd name="connsiteY8" fmla="*/ 8905 h 1348104"/>
                <a:gd name="connsiteX9" fmla="*/ 132686 w 282006"/>
                <a:gd name="connsiteY9" fmla="*/ 2733 h 1348104"/>
                <a:gd name="connsiteX10" fmla="*/ 219086 w 282006"/>
                <a:gd name="connsiteY10" fmla="*/ 18162 h 1348104"/>
                <a:gd name="connsiteX11" fmla="*/ 280800 w 282006"/>
                <a:gd name="connsiteY11" fmla="*/ 166276 h 1348104"/>
                <a:gd name="connsiteX12" fmla="*/ 206743 w 282006"/>
                <a:gd name="connsiteY12" fmla="*/ 545819 h 1348104"/>
                <a:gd name="connsiteX13" fmla="*/ 9257 w 282006"/>
                <a:gd name="connsiteY13" fmla="*/ 968562 h 1348104"/>
                <a:gd name="connsiteX14" fmla="*/ 200571 w 282006"/>
                <a:gd name="connsiteY14" fmla="*/ 1335762 h 1348104"/>
                <a:gd name="connsiteX15" fmla="*/ 200571 w 282006"/>
                <a:gd name="connsiteY15" fmla="*/ 1348105 h 1348104"/>
                <a:gd name="connsiteX16" fmla="*/ 200571 w 282006"/>
                <a:gd name="connsiteY16" fmla="*/ 1348105 h 1348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2006" h="1348104">
                  <a:moveTo>
                    <a:pt x="200571" y="1348105"/>
                  </a:moveTo>
                  <a:cubicBezTo>
                    <a:pt x="197486" y="1348105"/>
                    <a:pt x="197486" y="1348105"/>
                    <a:pt x="194400" y="1345019"/>
                  </a:cubicBezTo>
                  <a:lnTo>
                    <a:pt x="0" y="971648"/>
                  </a:lnTo>
                  <a:lnTo>
                    <a:pt x="0" y="968562"/>
                  </a:lnTo>
                  <a:cubicBezTo>
                    <a:pt x="3086" y="965476"/>
                    <a:pt x="160457" y="632219"/>
                    <a:pt x="197486" y="542733"/>
                  </a:cubicBezTo>
                  <a:cubicBezTo>
                    <a:pt x="197486" y="539648"/>
                    <a:pt x="283886" y="351419"/>
                    <a:pt x="271543" y="169362"/>
                  </a:cubicBezTo>
                  <a:cubicBezTo>
                    <a:pt x="265371" y="98391"/>
                    <a:pt x="246857" y="52105"/>
                    <a:pt x="212914" y="27419"/>
                  </a:cubicBezTo>
                  <a:cubicBezTo>
                    <a:pt x="175886" y="2733"/>
                    <a:pt x="135771" y="11990"/>
                    <a:pt x="135771" y="11990"/>
                  </a:cubicBezTo>
                  <a:cubicBezTo>
                    <a:pt x="132686" y="11990"/>
                    <a:pt x="129600" y="11990"/>
                    <a:pt x="129600" y="8905"/>
                  </a:cubicBezTo>
                  <a:cubicBezTo>
                    <a:pt x="129600" y="5819"/>
                    <a:pt x="129600" y="2733"/>
                    <a:pt x="132686" y="2733"/>
                  </a:cubicBezTo>
                  <a:cubicBezTo>
                    <a:pt x="135771" y="2733"/>
                    <a:pt x="178971" y="-9609"/>
                    <a:pt x="219086" y="18162"/>
                  </a:cubicBezTo>
                  <a:cubicBezTo>
                    <a:pt x="256114" y="42848"/>
                    <a:pt x="277714" y="95305"/>
                    <a:pt x="280800" y="166276"/>
                  </a:cubicBezTo>
                  <a:cubicBezTo>
                    <a:pt x="293143" y="351419"/>
                    <a:pt x="206743" y="542733"/>
                    <a:pt x="206743" y="545819"/>
                  </a:cubicBezTo>
                  <a:cubicBezTo>
                    <a:pt x="169714" y="629133"/>
                    <a:pt x="24686" y="937705"/>
                    <a:pt x="9257" y="968562"/>
                  </a:cubicBezTo>
                  <a:lnTo>
                    <a:pt x="200571" y="1335762"/>
                  </a:lnTo>
                  <a:cubicBezTo>
                    <a:pt x="206743" y="1341933"/>
                    <a:pt x="206743" y="1348105"/>
                    <a:pt x="200571" y="1348105"/>
                  </a:cubicBezTo>
                  <a:cubicBezTo>
                    <a:pt x="200571" y="1348105"/>
                    <a:pt x="200571" y="1348105"/>
                    <a:pt x="200571" y="1348105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0" name="任意多边形: 形状 289">
              <a:extLst>
                <a:ext uri="{FF2B5EF4-FFF2-40B4-BE49-F238E27FC236}">
                  <a16:creationId xmlns:a16="http://schemas.microsoft.com/office/drawing/2014/main" id="{B83B62E5-6C66-45E5-9EE8-5AC72B16411A}"/>
                </a:ext>
              </a:extLst>
            </p:cNvPr>
            <p:cNvSpPr/>
            <p:nvPr/>
          </p:nvSpPr>
          <p:spPr>
            <a:xfrm>
              <a:off x="4437652" y="2842125"/>
              <a:ext cx="336327" cy="1157142"/>
            </a:xfrm>
            <a:custGeom>
              <a:avLst/>
              <a:gdLst>
                <a:gd name="connsiteX0" fmla="*/ 327842 w 336327"/>
                <a:gd name="connsiteY0" fmla="*/ 1157143 h 1157142"/>
                <a:gd name="connsiteX1" fmla="*/ 324756 w 336327"/>
                <a:gd name="connsiteY1" fmla="*/ 1154057 h 1157142"/>
                <a:gd name="connsiteX2" fmla="*/ 3842 w 336327"/>
                <a:gd name="connsiteY2" fmla="*/ 715886 h 1157142"/>
                <a:gd name="connsiteX3" fmla="*/ 263042 w 336327"/>
                <a:gd name="connsiteY3" fmla="*/ 3086 h 1157142"/>
                <a:gd name="connsiteX4" fmla="*/ 272299 w 336327"/>
                <a:gd name="connsiteY4" fmla="*/ 0 h 1157142"/>
                <a:gd name="connsiteX5" fmla="*/ 275385 w 336327"/>
                <a:gd name="connsiteY5" fmla="*/ 9257 h 1157142"/>
                <a:gd name="connsiteX6" fmla="*/ 16185 w 336327"/>
                <a:gd name="connsiteY6" fmla="*/ 712800 h 1157142"/>
                <a:gd name="connsiteX7" fmla="*/ 334013 w 336327"/>
                <a:gd name="connsiteY7" fmla="*/ 1147886 h 1157142"/>
                <a:gd name="connsiteX8" fmla="*/ 334013 w 336327"/>
                <a:gd name="connsiteY8" fmla="*/ 1157143 h 1157142"/>
                <a:gd name="connsiteX9" fmla="*/ 327842 w 336327"/>
                <a:gd name="connsiteY9" fmla="*/ 1157143 h 115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6327" h="1157142">
                  <a:moveTo>
                    <a:pt x="327842" y="1157143"/>
                  </a:moveTo>
                  <a:cubicBezTo>
                    <a:pt x="327842" y="1157143"/>
                    <a:pt x="324756" y="1157143"/>
                    <a:pt x="324756" y="1154057"/>
                  </a:cubicBezTo>
                  <a:cubicBezTo>
                    <a:pt x="312413" y="1141714"/>
                    <a:pt x="43956" y="879429"/>
                    <a:pt x="3842" y="715886"/>
                  </a:cubicBezTo>
                  <a:cubicBezTo>
                    <a:pt x="-36273" y="552343"/>
                    <a:pt x="250699" y="27771"/>
                    <a:pt x="263042" y="3086"/>
                  </a:cubicBezTo>
                  <a:cubicBezTo>
                    <a:pt x="263042" y="0"/>
                    <a:pt x="269213" y="0"/>
                    <a:pt x="272299" y="0"/>
                  </a:cubicBezTo>
                  <a:cubicBezTo>
                    <a:pt x="275385" y="0"/>
                    <a:pt x="275385" y="6171"/>
                    <a:pt x="275385" y="9257"/>
                  </a:cubicBezTo>
                  <a:cubicBezTo>
                    <a:pt x="272299" y="15429"/>
                    <a:pt x="-20844" y="552343"/>
                    <a:pt x="16185" y="712800"/>
                  </a:cubicBezTo>
                  <a:cubicBezTo>
                    <a:pt x="56299" y="873257"/>
                    <a:pt x="330927" y="1144800"/>
                    <a:pt x="334013" y="1147886"/>
                  </a:cubicBezTo>
                  <a:cubicBezTo>
                    <a:pt x="337099" y="1150972"/>
                    <a:pt x="337099" y="1154057"/>
                    <a:pt x="334013" y="1157143"/>
                  </a:cubicBezTo>
                  <a:cubicBezTo>
                    <a:pt x="327842" y="1157143"/>
                    <a:pt x="327842" y="1157143"/>
                    <a:pt x="327842" y="1157143"/>
                  </a:cubicBezTo>
                  <a:close/>
                </a:path>
              </a:pathLst>
            </a:custGeom>
            <a:solidFill>
              <a:srgbClr val="38343B"/>
            </a:solidFill>
            <a:ln w="30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91" name="图形 1">
              <a:extLst>
                <a:ext uri="{FF2B5EF4-FFF2-40B4-BE49-F238E27FC236}">
                  <a16:creationId xmlns:a16="http://schemas.microsoft.com/office/drawing/2014/main" id="{642B4E27-4193-4C43-9A4D-E25F56DEE238}"/>
                </a:ext>
              </a:extLst>
            </p:cNvPr>
            <p:cNvGrpSpPr/>
            <p:nvPr/>
          </p:nvGrpSpPr>
          <p:grpSpPr>
            <a:xfrm>
              <a:off x="4792857" y="3446924"/>
              <a:ext cx="123961" cy="173293"/>
              <a:chOff x="4792857" y="3446924"/>
              <a:chExt cx="123961" cy="173293"/>
            </a:xfrm>
          </p:grpSpPr>
          <p:sp>
            <p:nvSpPr>
              <p:cNvPr id="292" name="任意多边形: 形状 291">
                <a:extLst>
                  <a:ext uri="{FF2B5EF4-FFF2-40B4-BE49-F238E27FC236}">
                    <a16:creationId xmlns:a16="http://schemas.microsoft.com/office/drawing/2014/main" id="{87367249-9B50-4BE0-B4D6-9A080EA78837}"/>
                  </a:ext>
                </a:extLst>
              </p:cNvPr>
              <p:cNvSpPr/>
              <p:nvPr/>
            </p:nvSpPr>
            <p:spPr>
              <a:xfrm>
                <a:off x="4796952" y="3447718"/>
                <a:ext cx="119866" cy="172500"/>
              </a:xfrm>
              <a:custGeom>
                <a:avLst/>
                <a:gdLst>
                  <a:gd name="connsiteX0" fmla="*/ 11741 w 119866"/>
                  <a:gd name="connsiteY0" fmla="*/ 134978 h 172500"/>
                  <a:gd name="connsiteX1" fmla="*/ 11741 w 119866"/>
                  <a:gd name="connsiteY1" fmla="*/ 110292 h 172500"/>
                  <a:gd name="connsiteX2" fmla="*/ 2484 w 119866"/>
                  <a:gd name="connsiteY2" fmla="*/ 101035 h 172500"/>
                  <a:gd name="connsiteX3" fmla="*/ 11741 w 119866"/>
                  <a:gd name="connsiteY3" fmla="*/ 60921 h 172500"/>
                  <a:gd name="connsiteX4" fmla="*/ 14827 w 119866"/>
                  <a:gd name="connsiteY4" fmla="*/ 57835 h 172500"/>
                  <a:gd name="connsiteX5" fmla="*/ 11741 w 119866"/>
                  <a:gd name="connsiteY5" fmla="*/ 54749 h 172500"/>
                  <a:gd name="connsiteX6" fmla="*/ 20999 w 119866"/>
                  <a:gd name="connsiteY6" fmla="*/ 14635 h 172500"/>
                  <a:gd name="connsiteX7" fmla="*/ 30256 w 119866"/>
                  <a:gd name="connsiteY7" fmla="*/ 8464 h 172500"/>
                  <a:gd name="connsiteX8" fmla="*/ 42599 w 119866"/>
                  <a:gd name="connsiteY8" fmla="*/ 8464 h 172500"/>
                  <a:gd name="connsiteX9" fmla="*/ 110484 w 119866"/>
                  <a:gd name="connsiteY9" fmla="*/ 5378 h 172500"/>
                  <a:gd name="connsiteX10" fmla="*/ 116656 w 119866"/>
                  <a:gd name="connsiteY10" fmla="*/ 39321 h 172500"/>
                  <a:gd name="connsiteX11" fmla="*/ 101227 w 119866"/>
                  <a:gd name="connsiteY11" fmla="*/ 54749 h 172500"/>
                  <a:gd name="connsiteX12" fmla="*/ 104313 w 119866"/>
                  <a:gd name="connsiteY12" fmla="*/ 85607 h 172500"/>
                  <a:gd name="connsiteX13" fmla="*/ 95056 w 119866"/>
                  <a:gd name="connsiteY13" fmla="*/ 97949 h 172500"/>
                  <a:gd name="connsiteX14" fmla="*/ 101227 w 119866"/>
                  <a:gd name="connsiteY14" fmla="*/ 125721 h 172500"/>
                  <a:gd name="connsiteX15" fmla="*/ 85799 w 119866"/>
                  <a:gd name="connsiteY15" fmla="*/ 138064 h 172500"/>
                  <a:gd name="connsiteX16" fmla="*/ 88884 w 119866"/>
                  <a:gd name="connsiteY16" fmla="*/ 159664 h 172500"/>
                  <a:gd name="connsiteX17" fmla="*/ 70370 w 119866"/>
                  <a:gd name="connsiteY17" fmla="*/ 168921 h 172500"/>
                  <a:gd name="connsiteX18" fmla="*/ 42599 w 119866"/>
                  <a:gd name="connsiteY18" fmla="*/ 172007 h 172500"/>
                  <a:gd name="connsiteX19" fmla="*/ 20999 w 119866"/>
                  <a:gd name="connsiteY19" fmla="*/ 165835 h 172500"/>
                  <a:gd name="connsiteX20" fmla="*/ 24084 w 119866"/>
                  <a:gd name="connsiteY20" fmla="*/ 144235 h 172500"/>
                  <a:gd name="connsiteX21" fmla="*/ 11741 w 119866"/>
                  <a:gd name="connsiteY21" fmla="*/ 134978 h 17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866" h="172500">
                    <a:moveTo>
                      <a:pt x="11741" y="134978"/>
                    </a:moveTo>
                    <a:cubicBezTo>
                      <a:pt x="8656" y="128806"/>
                      <a:pt x="8656" y="119549"/>
                      <a:pt x="11741" y="110292"/>
                    </a:cubicBezTo>
                    <a:cubicBezTo>
                      <a:pt x="8656" y="110292"/>
                      <a:pt x="5570" y="107206"/>
                      <a:pt x="2484" y="101035"/>
                    </a:cubicBezTo>
                    <a:cubicBezTo>
                      <a:pt x="-3687" y="88692"/>
                      <a:pt x="2484" y="70178"/>
                      <a:pt x="11741" y="60921"/>
                    </a:cubicBezTo>
                    <a:cubicBezTo>
                      <a:pt x="11741" y="60921"/>
                      <a:pt x="14827" y="60921"/>
                      <a:pt x="14827" y="57835"/>
                    </a:cubicBezTo>
                    <a:cubicBezTo>
                      <a:pt x="14827" y="57835"/>
                      <a:pt x="14827" y="57835"/>
                      <a:pt x="11741" y="54749"/>
                    </a:cubicBezTo>
                    <a:cubicBezTo>
                      <a:pt x="5570" y="42407"/>
                      <a:pt x="11741" y="23892"/>
                      <a:pt x="20999" y="14635"/>
                    </a:cubicBezTo>
                    <a:cubicBezTo>
                      <a:pt x="24084" y="11549"/>
                      <a:pt x="27170" y="8464"/>
                      <a:pt x="30256" y="8464"/>
                    </a:cubicBezTo>
                    <a:cubicBezTo>
                      <a:pt x="33341" y="8464"/>
                      <a:pt x="39513" y="8464"/>
                      <a:pt x="42599" y="8464"/>
                    </a:cubicBezTo>
                    <a:cubicBezTo>
                      <a:pt x="67284" y="5378"/>
                      <a:pt x="91970" y="-6965"/>
                      <a:pt x="110484" y="5378"/>
                    </a:cubicBezTo>
                    <a:cubicBezTo>
                      <a:pt x="119741" y="11549"/>
                      <a:pt x="122827" y="23892"/>
                      <a:pt x="116656" y="39321"/>
                    </a:cubicBezTo>
                    <a:cubicBezTo>
                      <a:pt x="113570" y="45492"/>
                      <a:pt x="107398" y="51664"/>
                      <a:pt x="101227" y="54749"/>
                    </a:cubicBezTo>
                    <a:cubicBezTo>
                      <a:pt x="107398" y="60921"/>
                      <a:pt x="110484" y="73264"/>
                      <a:pt x="104313" y="85607"/>
                    </a:cubicBezTo>
                    <a:cubicBezTo>
                      <a:pt x="101227" y="91778"/>
                      <a:pt x="98141" y="94864"/>
                      <a:pt x="95056" y="97949"/>
                    </a:cubicBezTo>
                    <a:cubicBezTo>
                      <a:pt x="101227" y="104121"/>
                      <a:pt x="104313" y="113378"/>
                      <a:pt x="101227" y="125721"/>
                    </a:cubicBezTo>
                    <a:cubicBezTo>
                      <a:pt x="98141" y="131892"/>
                      <a:pt x="91970" y="134978"/>
                      <a:pt x="85799" y="138064"/>
                    </a:cubicBezTo>
                    <a:cubicBezTo>
                      <a:pt x="91970" y="141149"/>
                      <a:pt x="95056" y="150407"/>
                      <a:pt x="88884" y="159664"/>
                    </a:cubicBezTo>
                    <a:cubicBezTo>
                      <a:pt x="85799" y="168921"/>
                      <a:pt x="76541" y="168921"/>
                      <a:pt x="70370" y="168921"/>
                    </a:cubicBezTo>
                    <a:cubicBezTo>
                      <a:pt x="61113" y="172007"/>
                      <a:pt x="51856" y="172007"/>
                      <a:pt x="42599" y="172007"/>
                    </a:cubicBezTo>
                    <a:cubicBezTo>
                      <a:pt x="36427" y="172007"/>
                      <a:pt x="27170" y="175092"/>
                      <a:pt x="20999" y="165835"/>
                    </a:cubicBezTo>
                    <a:cubicBezTo>
                      <a:pt x="17913" y="159664"/>
                      <a:pt x="20999" y="150407"/>
                      <a:pt x="24084" y="144235"/>
                    </a:cubicBezTo>
                    <a:cubicBezTo>
                      <a:pt x="20999" y="144235"/>
                      <a:pt x="14827" y="144235"/>
                      <a:pt x="11741" y="134978"/>
                    </a:cubicBezTo>
                    <a:close/>
                  </a:path>
                </a:pathLst>
              </a:custGeom>
              <a:solidFill>
                <a:srgbClr val="F5A398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3" name="任意多边形: 形状 292">
                <a:extLst>
                  <a:ext uri="{FF2B5EF4-FFF2-40B4-BE49-F238E27FC236}">
                    <a16:creationId xmlns:a16="http://schemas.microsoft.com/office/drawing/2014/main" id="{C32515CD-22EF-4229-9049-053092FA7B22}"/>
                  </a:ext>
                </a:extLst>
              </p:cNvPr>
              <p:cNvSpPr/>
              <p:nvPr/>
            </p:nvSpPr>
            <p:spPr>
              <a:xfrm>
                <a:off x="4792857" y="3446924"/>
                <a:ext cx="120750" cy="117257"/>
              </a:xfrm>
              <a:custGeom>
                <a:avLst/>
                <a:gdLst>
                  <a:gd name="connsiteX0" fmla="*/ 31265 w 120750"/>
                  <a:gd name="connsiteY0" fmla="*/ 117257 h 117257"/>
                  <a:gd name="connsiteX1" fmla="*/ 408 w 120750"/>
                  <a:gd name="connsiteY1" fmla="*/ 95657 h 117257"/>
                  <a:gd name="connsiteX2" fmla="*/ 12751 w 120750"/>
                  <a:gd name="connsiteY2" fmla="*/ 55543 h 117257"/>
                  <a:gd name="connsiteX3" fmla="*/ 9665 w 120750"/>
                  <a:gd name="connsiteY3" fmla="*/ 43200 h 117257"/>
                  <a:gd name="connsiteX4" fmla="*/ 15837 w 120750"/>
                  <a:gd name="connsiteY4" fmla="*/ 21600 h 117257"/>
                  <a:gd name="connsiteX5" fmla="*/ 89894 w 120750"/>
                  <a:gd name="connsiteY5" fmla="*/ 0 h 117257"/>
                  <a:gd name="connsiteX6" fmla="*/ 89894 w 120750"/>
                  <a:gd name="connsiteY6" fmla="*/ 0 h 117257"/>
                  <a:gd name="connsiteX7" fmla="*/ 96065 w 120750"/>
                  <a:gd name="connsiteY7" fmla="*/ 6171 h 117257"/>
                  <a:gd name="connsiteX8" fmla="*/ 89894 w 120750"/>
                  <a:gd name="connsiteY8" fmla="*/ 12343 h 117257"/>
                  <a:gd name="connsiteX9" fmla="*/ 25094 w 120750"/>
                  <a:gd name="connsiteY9" fmla="*/ 30857 h 117257"/>
                  <a:gd name="connsiteX10" fmla="*/ 22008 w 120750"/>
                  <a:gd name="connsiteY10" fmla="*/ 43200 h 117257"/>
                  <a:gd name="connsiteX11" fmla="*/ 28179 w 120750"/>
                  <a:gd name="connsiteY11" fmla="*/ 58629 h 117257"/>
                  <a:gd name="connsiteX12" fmla="*/ 105322 w 120750"/>
                  <a:gd name="connsiteY12" fmla="*/ 49372 h 117257"/>
                  <a:gd name="connsiteX13" fmla="*/ 114579 w 120750"/>
                  <a:gd name="connsiteY13" fmla="*/ 52457 h 117257"/>
                  <a:gd name="connsiteX14" fmla="*/ 120751 w 120750"/>
                  <a:gd name="connsiteY14" fmla="*/ 74057 h 117257"/>
                  <a:gd name="connsiteX15" fmla="*/ 49779 w 120750"/>
                  <a:gd name="connsiteY15" fmla="*/ 117257 h 117257"/>
                  <a:gd name="connsiteX16" fmla="*/ 31265 w 120750"/>
                  <a:gd name="connsiteY16" fmla="*/ 117257 h 117257"/>
                  <a:gd name="connsiteX17" fmla="*/ 22008 w 120750"/>
                  <a:gd name="connsiteY17" fmla="*/ 64800 h 117257"/>
                  <a:gd name="connsiteX18" fmla="*/ 12751 w 120750"/>
                  <a:gd name="connsiteY18" fmla="*/ 92571 h 117257"/>
                  <a:gd name="connsiteX19" fmla="*/ 49779 w 120750"/>
                  <a:gd name="connsiteY19" fmla="*/ 101829 h 117257"/>
                  <a:gd name="connsiteX20" fmla="*/ 111494 w 120750"/>
                  <a:gd name="connsiteY20" fmla="*/ 70972 h 117257"/>
                  <a:gd name="connsiteX21" fmla="*/ 108408 w 120750"/>
                  <a:gd name="connsiteY21" fmla="*/ 58629 h 117257"/>
                  <a:gd name="connsiteX22" fmla="*/ 22008 w 120750"/>
                  <a:gd name="connsiteY22" fmla="*/ 64800 h 117257"/>
                  <a:gd name="connsiteX23" fmla="*/ 22008 w 120750"/>
                  <a:gd name="connsiteY23" fmla="*/ 64800 h 117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0750" h="117257">
                    <a:moveTo>
                      <a:pt x="31265" y="117257"/>
                    </a:moveTo>
                    <a:cubicBezTo>
                      <a:pt x="15837" y="117257"/>
                      <a:pt x="3494" y="114171"/>
                      <a:pt x="408" y="95657"/>
                    </a:cubicBezTo>
                    <a:cubicBezTo>
                      <a:pt x="-2678" y="77143"/>
                      <a:pt x="12751" y="58629"/>
                      <a:pt x="12751" y="55543"/>
                    </a:cubicBezTo>
                    <a:cubicBezTo>
                      <a:pt x="9665" y="52457"/>
                      <a:pt x="9665" y="46286"/>
                      <a:pt x="9665" y="43200"/>
                    </a:cubicBezTo>
                    <a:cubicBezTo>
                      <a:pt x="9665" y="37029"/>
                      <a:pt x="9665" y="27771"/>
                      <a:pt x="15837" y="21600"/>
                    </a:cubicBezTo>
                    <a:cubicBezTo>
                      <a:pt x="34351" y="0"/>
                      <a:pt x="83722" y="0"/>
                      <a:pt x="89894" y="0"/>
                    </a:cubicBezTo>
                    <a:cubicBezTo>
                      <a:pt x="89894" y="0"/>
                      <a:pt x="89894" y="0"/>
                      <a:pt x="89894" y="0"/>
                    </a:cubicBezTo>
                    <a:cubicBezTo>
                      <a:pt x="92979" y="0"/>
                      <a:pt x="96065" y="3086"/>
                      <a:pt x="96065" y="6171"/>
                    </a:cubicBezTo>
                    <a:cubicBezTo>
                      <a:pt x="96065" y="9257"/>
                      <a:pt x="92979" y="12343"/>
                      <a:pt x="89894" y="12343"/>
                    </a:cubicBezTo>
                    <a:cubicBezTo>
                      <a:pt x="74465" y="12343"/>
                      <a:pt x="37436" y="15429"/>
                      <a:pt x="25094" y="30857"/>
                    </a:cubicBezTo>
                    <a:cubicBezTo>
                      <a:pt x="22008" y="33943"/>
                      <a:pt x="22008" y="37029"/>
                      <a:pt x="22008" y="43200"/>
                    </a:cubicBezTo>
                    <a:cubicBezTo>
                      <a:pt x="22008" y="49372"/>
                      <a:pt x="25094" y="55543"/>
                      <a:pt x="28179" y="58629"/>
                    </a:cubicBezTo>
                    <a:cubicBezTo>
                      <a:pt x="34351" y="64800"/>
                      <a:pt x="55951" y="64800"/>
                      <a:pt x="105322" y="49372"/>
                    </a:cubicBezTo>
                    <a:cubicBezTo>
                      <a:pt x="108408" y="49372"/>
                      <a:pt x="111494" y="49372"/>
                      <a:pt x="114579" y="52457"/>
                    </a:cubicBezTo>
                    <a:cubicBezTo>
                      <a:pt x="120751" y="55543"/>
                      <a:pt x="120751" y="64800"/>
                      <a:pt x="120751" y="74057"/>
                    </a:cubicBezTo>
                    <a:cubicBezTo>
                      <a:pt x="120751" y="89486"/>
                      <a:pt x="105322" y="111086"/>
                      <a:pt x="49779" y="117257"/>
                    </a:cubicBezTo>
                    <a:cubicBezTo>
                      <a:pt x="43608" y="114171"/>
                      <a:pt x="37436" y="117257"/>
                      <a:pt x="31265" y="117257"/>
                    </a:cubicBezTo>
                    <a:close/>
                    <a:moveTo>
                      <a:pt x="22008" y="64800"/>
                    </a:moveTo>
                    <a:cubicBezTo>
                      <a:pt x="18922" y="70972"/>
                      <a:pt x="12751" y="83314"/>
                      <a:pt x="12751" y="92571"/>
                    </a:cubicBezTo>
                    <a:cubicBezTo>
                      <a:pt x="12751" y="101829"/>
                      <a:pt x="18922" y="104914"/>
                      <a:pt x="49779" y="101829"/>
                    </a:cubicBezTo>
                    <a:cubicBezTo>
                      <a:pt x="86808" y="98743"/>
                      <a:pt x="108408" y="86400"/>
                      <a:pt x="111494" y="70972"/>
                    </a:cubicBezTo>
                    <a:cubicBezTo>
                      <a:pt x="111494" y="61714"/>
                      <a:pt x="111494" y="58629"/>
                      <a:pt x="108408" y="58629"/>
                    </a:cubicBezTo>
                    <a:cubicBezTo>
                      <a:pt x="65208" y="74057"/>
                      <a:pt x="37436" y="74057"/>
                      <a:pt x="22008" y="64800"/>
                    </a:cubicBezTo>
                    <a:cubicBezTo>
                      <a:pt x="22008" y="64800"/>
                      <a:pt x="22008" y="64800"/>
                      <a:pt x="22008" y="64800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4" name="任意多边形: 形状 293">
                <a:extLst>
                  <a:ext uri="{FF2B5EF4-FFF2-40B4-BE49-F238E27FC236}">
                    <a16:creationId xmlns:a16="http://schemas.microsoft.com/office/drawing/2014/main" id="{515198E2-07A0-4CFF-8A9D-D233B1549151}"/>
                  </a:ext>
                </a:extLst>
              </p:cNvPr>
              <p:cNvSpPr/>
              <p:nvPr/>
            </p:nvSpPr>
            <p:spPr>
              <a:xfrm>
                <a:off x="4797421" y="3540267"/>
                <a:ext cx="106929" cy="60942"/>
              </a:xfrm>
              <a:custGeom>
                <a:avLst/>
                <a:gdLst>
                  <a:gd name="connsiteX0" fmla="*/ 39044 w 106929"/>
                  <a:gd name="connsiteY0" fmla="*/ 60943 h 60942"/>
                  <a:gd name="connsiteX1" fmla="*/ 26701 w 106929"/>
                  <a:gd name="connsiteY1" fmla="*/ 60943 h 60942"/>
                  <a:gd name="connsiteX2" fmla="*/ 5101 w 106929"/>
                  <a:gd name="connsiteY2" fmla="*/ 48600 h 60942"/>
                  <a:gd name="connsiteX3" fmla="*/ 2015 w 106929"/>
                  <a:gd name="connsiteY3" fmla="*/ 14657 h 60942"/>
                  <a:gd name="connsiteX4" fmla="*/ 8187 w 106929"/>
                  <a:gd name="connsiteY4" fmla="*/ 11571 h 60942"/>
                  <a:gd name="connsiteX5" fmla="*/ 11272 w 106929"/>
                  <a:gd name="connsiteY5" fmla="*/ 17743 h 60942"/>
                  <a:gd name="connsiteX6" fmla="*/ 11272 w 106929"/>
                  <a:gd name="connsiteY6" fmla="*/ 42429 h 60942"/>
                  <a:gd name="connsiteX7" fmla="*/ 23615 w 106929"/>
                  <a:gd name="connsiteY7" fmla="*/ 48600 h 60942"/>
                  <a:gd name="connsiteX8" fmla="*/ 91501 w 106929"/>
                  <a:gd name="connsiteY8" fmla="*/ 36257 h 60942"/>
                  <a:gd name="connsiteX9" fmla="*/ 94587 w 106929"/>
                  <a:gd name="connsiteY9" fmla="*/ 30086 h 60942"/>
                  <a:gd name="connsiteX10" fmla="*/ 88415 w 106929"/>
                  <a:gd name="connsiteY10" fmla="*/ 11571 h 60942"/>
                  <a:gd name="connsiteX11" fmla="*/ 88415 w 106929"/>
                  <a:gd name="connsiteY11" fmla="*/ 2314 h 60942"/>
                  <a:gd name="connsiteX12" fmla="*/ 97672 w 106929"/>
                  <a:gd name="connsiteY12" fmla="*/ 2314 h 60942"/>
                  <a:gd name="connsiteX13" fmla="*/ 106929 w 106929"/>
                  <a:gd name="connsiteY13" fmla="*/ 30086 h 60942"/>
                  <a:gd name="connsiteX14" fmla="*/ 97672 w 106929"/>
                  <a:gd name="connsiteY14" fmla="*/ 48600 h 60942"/>
                  <a:gd name="connsiteX15" fmla="*/ 39044 w 106929"/>
                  <a:gd name="connsiteY15" fmla="*/ 60943 h 60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6929" h="60942">
                    <a:moveTo>
                      <a:pt x="39044" y="60943"/>
                    </a:moveTo>
                    <a:cubicBezTo>
                      <a:pt x="35958" y="60943"/>
                      <a:pt x="32872" y="60943"/>
                      <a:pt x="26701" y="60943"/>
                    </a:cubicBezTo>
                    <a:cubicBezTo>
                      <a:pt x="17444" y="60943"/>
                      <a:pt x="11272" y="54772"/>
                      <a:pt x="5101" y="48600"/>
                    </a:cubicBezTo>
                    <a:cubicBezTo>
                      <a:pt x="-4156" y="36257"/>
                      <a:pt x="2015" y="14657"/>
                      <a:pt x="2015" y="14657"/>
                    </a:cubicBezTo>
                    <a:cubicBezTo>
                      <a:pt x="2015" y="11571"/>
                      <a:pt x="5101" y="8486"/>
                      <a:pt x="8187" y="11571"/>
                    </a:cubicBezTo>
                    <a:cubicBezTo>
                      <a:pt x="11272" y="11571"/>
                      <a:pt x="14358" y="14657"/>
                      <a:pt x="11272" y="17743"/>
                    </a:cubicBezTo>
                    <a:cubicBezTo>
                      <a:pt x="11272" y="20829"/>
                      <a:pt x="8187" y="33171"/>
                      <a:pt x="11272" y="42429"/>
                    </a:cubicBezTo>
                    <a:cubicBezTo>
                      <a:pt x="14358" y="45514"/>
                      <a:pt x="17444" y="48600"/>
                      <a:pt x="23615" y="48600"/>
                    </a:cubicBezTo>
                    <a:cubicBezTo>
                      <a:pt x="51387" y="51686"/>
                      <a:pt x="82244" y="42429"/>
                      <a:pt x="91501" y="36257"/>
                    </a:cubicBezTo>
                    <a:cubicBezTo>
                      <a:pt x="94587" y="36257"/>
                      <a:pt x="94587" y="33171"/>
                      <a:pt x="94587" y="30086"/>
                    </a:cubicBezTo>
                    <a:cubicBezTo>
                      <a:pt x="94587" y="20829"/>
                      <a:pt x="91501" y="14657"/>
                      <a:pt x="88415" y="11571"/>
                    </a:cubicBezTo>
                    <a:cubicBezTo>
                      <a:pt x="85330" y="8486"/>
                      <a:pt x="85330" y="5400"/>
                      <a:pt x="88415" y="2314"/>
                    </a:cubicBezTo>
                    <a:cubicBezTo>
                      <a:pt x="91501" y="-771"/>
                      <a:pt x="94587" y="-771"/>
                      <a:pt x="97672" y="2314"/>
                    </a:cubicBezTo>
                    <a:cubicBezTo>
                      <a:pt x="103844" y="5400"/>
                      <a:pt x="106929" y="20829"/>
                      <a:pt x="106929" y="30086"/>
                    </a:cubicBezTo>
                    <a:cubicBezTo>
                      <a:pt x="106929" y="39343"/>
                      <a:pt x="103844" y="45514"/>
                      <a:pt x="97672" y="48600"/>
                    </a:cubicBezTo>
                    <a:cubicBezTo>
                      <a:pt x="94587" y="51686"/>
                      <a:pt x="63729" y="60943"/>
                      <a:pt x="39044" y="60943"/>
                    </a:cubicBezTo>
                    <a:close/>
                  </a:path>
                </a:pathLst>
              </a:custGeom>
              <a:solidFill>
                <a:srgbClr val="E58777"/>
              </a:solidFill>
              <a:ln w="308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52471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​​">
  <a:themeElements>
    <a:clrScheme name="自定义 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EADE4"/>
      </a:accent1>
      <a:accent2>
        <a:srgbClr val="4A535D"/>
      </a:accent2>
      <a:accent3>
        <a:srgbClr val="697685"/>
      </a:accent3>
      <a:accent4>
        <a:srgbClr val="8A95A2"/>
      </a:accent4>
      <a:accent5>
        <a:srgbClr val="2EADE4"/>
      </a:accent5>
      <a:accent6>
        <a:srgbClr val="4A535D"/>
      </a:accent6>
      <a:hlink>
        <a:srgbClr val="7F7F7F"/>
      </a:hlink>
      <a:folHlink>
        <a:srgbClr val="61ADC0"/>
      </a:folHlink>
    </a:clrScheme>
    <a:fontScheme name="自定义 2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1</TotalTime>
  <Words>3</Words>
  <Application>Microsoft Office PowerPoint</Application>
  <PresentationFormat>宽屏</PresentationFormat>
  <Paragraphs>3</Paragraphs>
  <Slides>124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4</vt:i4>
      </vt:variant>
    </vt:vector>
  </HeadingPairs>
  <TitlesOfParts>
    <vt:vector size="131" baseType="lpstr">
      <vt:lpstr>等线</vt:lpstr>
      <vt:lpstr>等线 Light</vt:lpstr>
      <vt:lpstr>微软雅黑</vt:lpstr>
      <vt:lpstr>Arial</vt:lpstr>
      <vt:lpstr>Office 主题​​</vt:lpstr>
      <vt:lpstr>1_Office 主题​​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璞 石</dc:creator>
  <cp:lastModifiedBy>璞 石</cp:lastModifiedBy>
  <cp:revision>16</cp:revision>
  <dcterms:created xsi:type="dcterms:W3CDTF">2021-01-17T01:22:59Z</dcterms:created>
  <dcterms:modified xsi:type="dcterms:W3CDTF">2021-01-18T01:23:26Z</dcterms:modified>
</cp:coreProperties>
</file>